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" ContentType="image/tiff"/>
  <Default Extension="tif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415.xml" ContentType="application/vnd.openxmlformats-officedocument.presentationml.tags+xml"/>
  <Override PartName="/ppt/notesSlides/notesSlide5.xml" ContentType="application/vnd.openxmlformats-officedocument.presentationml.notesSlide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media/image126.jpg" ContentType="image/jpg"/>
  <Override PartName="/ppt/media/image132.jpg" ContentType="image/jpg"/>
  <Override PartName="/ppt/media/image134.jpg" ContentType="image/jpg"/>
  <Override PartName="/ppt/media/image135.jpg" ContentType="image/jpg"/>
  <Override PartName="/ppt/media/image151.jpg" ContentType="image/jpg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72" r:id="rId2"/>
    <p:sldMasterId id="2147483701" r:id="rId3"/>
  </p:sldMasterIdLst>
  <p:notesMasterIdLst>
    <p:notesMasterId r:id="rId31"/>
  </p:notesMasterIdLst>
  <p:sldIdLst>
    <p:sldId id="256" r:id="rId4"/>
    <p:sldId id="2147479065" r:id="rId5"/>
    <p:sldId id="2147476444" r:id="rId6"/>
    <p:sldId id="2147475972" r:id="rId7"/>
    <p:sldId id="1504" r:id="rId8"/>
    <p:sldId id="257" r:id="rId9"/>
    <p:sldId id="2147476363" r:id="rId10"/>
    <p:sldId id="2147476311" r:id="rId11"/>
    <p:sldId id="587" r:id="rId12"/>
    <p:sldId id="1708" r:id="rId13"/>
    <p:sldId id="2147475967" r:id="rId14"/>
    <p:sldId id="2147481295" r:id="rId15"/>
    <p:sldId id="2147476328" r:id="rId16"/>
    <p:sldId id="2147481300" r:id="rId17"/>
    <p:sldId id="2147481580" r:id="rId18"/>
    <p:sldId id="2147481301" r:id="rId19"/>
    <p:sldId id="996" r:id="rId20"/>
    <p:sldId id="2147476037" r:id="rId21"/>
    <p:sldId id="2147481576" r:id="rId22"/>
    <p:sldId id="2147476083" r:id="rId23"/>
    <p:sldId id="267" r:id="rId24"/>
    <p:sldId id="2147476084" r:id="rId25"/>
    <p:sldId id="264" r:id="rId26"/>
    <p:sldId id="2147476080" r:id="rId27"/>
    <p:sldId id="266" r:id="rId28"/>
    <p:sldId id="2147481579" r:id="rId29"/>
    <p:sldId id="2147475831" r:id="rId30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CDF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6497073-DD2D-4D0A-8C2F-BC6B2C331854}" v="84" dt="2025-11-26T23:35:39.71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7" autoAdjust="0"/>
    <p:restoredTop sz="97325" autoAdjust="0"/>
  </p:normalViewPr>
  <p:slideViewPr>
    <p:cSldViewPr snapToGrid="0">
      <p:cViewPr varScale="1">
        <p:scale>
          <a:sx n="113" d="100"/>
          <a:sy n="113" d="100"/>
        </p:scale>
        <p:origin x="840" y="30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21" Type="http://schemas.openxmlformats.org/officeDocument/2006/relationships/slide" Target="slides/slide18.xml"/><Relationship Id="rId34" Type="http://schemas.openxmlformats.org/officeDocument/2006/relationships/theme" Target="theme/theme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presProps" Target="presProps.xml"/><Relationship Id="rId37" Type="http://schemas.microsoft.com/office/2015/10/relationships/revisionInfo" Target="revisionInfo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microsoft.com/office/2016/11/relationships/changesInfo" Target="changesInfos/changesInfo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tableStyles" Target="tableStyles.xml"/><Relationship Id="rId8" Type="http://schemas.openxmlformats.org/officeDocument/2006/relationships/slide" Target="slides/slide5.xml"/><Relationship Id="rId3" Type="http://schemas.openxmlformats.org/officeDocument/2006/relationships/slideMaster" Target="slideMasters/slideMaster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leš Jakubec" userId="f9076b39-23b9-49be-9fd0-a8e45338f8b4" providerId="ADAL" clId="{BF5C4079-3CD0-4F69-A84E-7918EA6D589B}"/>
    <pc:docChg chg="undo custSel addSld delSld modSld sldOrd">
      <pc:chgData name="Aleš Jakubec" userId="f9076b39-23b9-49be-9fd0-a8e45338f8b4" providerId="ADAL" clId="{BF5C4079-3CD0-4F69-A84E-7918EA6D589B}" dt="2025-11-26T23:36:53.739" v="1745" actId="47"/>
      <pc:docMkLst>
        <pc:docMk/>
      </pc:docMkLst>
      <pc:sldChg chg="modSp mod">
        <pc:chgData name="Aleš Jakubec" userId="f9076b39-23b9-49be-9fd0-a8e45338f8b4" providerId="ADAL" clId="{BF5C4079-3CD0-4F69-A84E-7918EA6D589B}" dt="2025-11-26T15:36:50.081" v="80" actId="20577"/>
        <pc:sldMkLst>
          <pc:docMk/>
          <pc:sldMk cId="2408390562" sldId="256"/>
        </pc:sldMkLst>
        <pc:spChg chg="mod">
          <ac:chgData name="Aleš Jakubec" userId="f9076b39-23b9-49be-9fd0-a8e45338f8b4" providerId="ADAL" clId="{BF5C4079-3CD0-4F69-A84E-7918EA6D589B}" dt="2025-11-26T15:36:50.081" v="80" actId="20577"/>
          <ac:spMkLst>
            <pc:docMk/>
            <pc:sldMk cId="2408390562" sldId="256"/>
            <ac:spMk id="2" creationId="{7C75D1AC-4D6B-411B-82C5-CF113C32D659}"/>
          </ac:spMkLst>
        </pc:spChg>
        <pc:spChg chg="mod">
          <ac:chgData name="Aleš Jakubec" userId="f9076b39-23b9-49be-9fd0-a8e45338f8b4" providerId="ADAL" clId="{BF5C4079-3CD0-4F69-A84E-7918EA6D589B}" dt="2025-11-26T15:36:19.348" v="56" actId="20577"/>
          <ac:spMkLst>
            <pc:docMk/>
            <pc:sldMk cId="2408390562" sldId="256"/>
            <ac:spMk id="3" creationId="{DE1BBD0C-ED35-4B59-A4C9-F638F6469DFC}"/>
          </ac:spMkLst>
        </pc:spChg>
        <pc:spChg chg="mod">
          <ac:chgData name="Aleš Jakubec" userId="f9076b39-23b9-49be-9fd0-a8e45338f8b4" providerId="ADAL" clId="{BF5C4079-3CD0-4F69-A84E-7918EA6D589B}" dt="2025-11-26T15:36:43.920" v="68" actId="20577"/>
          <ac:spMkLst>
            <pc:docMk/>
            <pc:sldMk cId="2408390562" sldId="256"/>
            <ac:spMk id="4" creationId="{45978986-C03B-4703-B30B-F1A862CA4A6C}"/>
          </ac:spMkLst>
        </pc:spChg>
      </pc:sldChg>
      <pc:sldChg chg="addSp delSp modSp new mod ord modClrScheme chgLayout">
        <pc:chgData name="Aleš Jakubec" userId="f9076b39-23b9-49be-9fd0-a8e45338f8b4" providerId="ADAL" clId="{BF5C4079-3CD0-4F69-A84E-7918EA6D589B}" dt="2025-11-26T22:34:59.119" v="1706" actId="5793"/>
        <pc:sldMkLst>
          <pc:docMk/>
          <pc:sldMk cId="3386950963" sldId="257"/>
        </pc:sldMkLst>
        <pc:spChg chg="mod ord">
          <ac:chgData name="Aleš Jakubec" userId="f9076b39-23b9-49be-9fd0-a8e45338f8b4" providerId="ADAL" clId="{BF5C4079-3CD0-4F69-A84E-7918EA6D589B}" dt="2025-11-26T15:37:41.328" v="82" actId="700"/>
          <ac:spMkLst>
            <pc:docMk/>
            <pc:sldMk cId="3386950963" sldId="257"/>
            <ac:spMk id="2" creationId="{A6F22E70-30AA-EA81-C449-0FF91D910742}"/>
          </ac:spMkLst>
        </pc:spChg>
        <pc:spChg chg="mod ord">
          <ac:chgData name="Aleš Jakubec" userId="f9076b39-23b9-49be-9fd0-a8e45338f8b4" providerId="ADAL" clId="{BF5C4079-3CD0-4F69-A84E-7918EA6D589B}" dt="2025-11-26T15:37:41.328" v="82" actId="700"/>
          <ac:spMkLst>
            <pc:docMk/>
            <pc:sldMk cId="3386950963" sldId="257"/>
            <ac:spMk id="3" creationId="{C560EC5C-A5E0-EDF3-514A-BB324D151573}"/>
          </ac:spMkLst>
        </pc:spChg>
        <pc:spChg chg="del mod ord">
          <ac:chgData name="Aleš Jakubec" userId="f9076b39-23b9-49be-9fd0-a8e45338f8b4" providerId="ADAL" clId="{BF5C4079-3CD0-4F69-A84E-7918EA6D589B}" dt="2025-11-26T15:37:41.328" v="82" actId="700"/>
          <ac:spMkLst>
            <pc:docMk/>
            <pc:sldMk cId="3386950963" sldId="257"/>
            <ac:spMk id="4" creationId="{F17DED01-438B-6900-CB5D-0FDB4F028FEF}"/>
          </ac:spMkLst>
        </pc:spChg>
        <pc:spChg chg="del mod ord">
          <ac:chgData name="Aleš Jakubec" userId="f9076b39-23b9-49be-9fd0-a8e45338f8b4" providerId="ADAL" clId="{BF5C4079-3CD0-4F69-A84E-7918EA6D589B}" dt="2025-11-26T15:37:41.328" v="82" actId="700"/>
          <ac:spMkLst>
            <pc:docMk/>
            <pc:sldMk cId="3386950963" sldId="257"/>
            <ac:spMk id="5" creationId="{CBE8B358-16E5-932A-8EF7-77FD20C317AE}"/>
          </ac:spMkLst>
        </pc:spChg>
        <pc:spChg chg="del mod ord">
          <ac:chgData name="Aleš Jakubec" userId="f9076b39-23b9-49be-9fd0-a8e45338f8b4" providerId="ADAL" clId="{BF5C4079-3CD0-4F69-A84E-7918EA6D589B}" dt="2025-11-26T15:37:41.328" v="82" actId="700"/>
          <ac:spMkLst>
            <pc:docMk/>
            <pc:sldMk cId="3386950963" sldId="257"/>
            <ac:spMk id="6" creationId="{3767CCAD-1A89-977F-FADC-856C6B4C9FF8}"/>
          </ac:spMkLst>
        </pc:spChg>
        <pc:spChg chg="del">
          <ac:chgData name="Aleš Jakubec" userId="f9076b39-23b9-49be-9fd0-a8e45338f8b4" providerId="ADAL" clId="{BF5C4079-3CD0-4F69-A84E-7918EA6D589B}" dt="2025-11-26T15:37:41.328" v="82" actId="700"/>
          <ac:spMkLst>
            <pc:docMk/>
            <pc:sldMk cId="3386950963" sldId="257"/>
            <ac:spMk id="7" creationId="{86F3E4FA-060A-58BB-4A30-FD7CC8AAD744}"/>
          </ac:spMkLst>
        </pc:spChg>
        <pc:spChg chg="add mod ord">
          <ac:chgData name="Aleš Jakubec" userId="f9076b39-23b9-49be-9fd0-a8e45338f8b4" providerId="ADAL" clId="{BF5C4079-3CD0-4F69-A84E-7918EA6D589B}" dt="2025-11-26T22:23:28.804" v="1184" actId="20577"/>
          <ac:spMkLst>
            <pc:docMk/>
            <pc:sldMk cId="3386950963" sldId="257"/>
            <ac:spMk id="8" creationId="{E1856DA2-5FB9-E1E3-3AE2-4480036A1E22}"/>
          </ac:spMkLst>
        </pc:spChg>
        <pc:spChg chg="add mod ord">
          <ac:chgData name="Aleš Jakubec" userId="f9076b39-23b9-49be-9fd0-a8e45338f8b4" providerId="ADAL" clId="{BF5C4079-3CD0-4F69-A84E-7918EA6D589B}" dt="2025-11-26T22:34:59.119" v="1706" actId="5793"/>
          <ac:spMkLst>
            <pc:docMk/>
            <pc:sldMk cId="3386950963" sldId="257"/>
            <ac:spMk id="9" creationId="{DEFFB584-CFCA-960F-3128-DD6220BB79C1}"/>
          </ac:spMkLst>
        </pc:spChg>
        <pc:spChg chg="add mod ord">
          <ac:chgData name="Aleš Jakubec" userId="f9076b39-23b9-49be-9fd0-a8e45338f8b4" providerId="ADAL" clId="{BF5C4079-3CD0-4F69-A84E-7918EA6D589B}" dt="2025-11-26T15:37:41.328" v="82" actId="700"/>
          <ac:spMkLst>
            <pc:docMk/>
            <pc:sldMk cId="3386950963" sldId="257"/>
            <ac:spMk id="10" creationId="{4F98471B-F063-5D68-3291-6359C1DCB951}"/>
          </ac:spMkLst>
        </pc:spChg>
        <pc:picChg chg="add del mod">
          <ac:chgData name="Aleš Jakubec" userId="f9076b39-23b9-49be-9fd0-a8e45338f8b4" providerId="ADAL" clId="{BF5C4079-3CD0-4F69-A84E-7918EA6D589B}" dt="2025-11-26T22:27:17.795" v="1238" actId="478"/>
          <ac:picMkLst>
            <pc:docMk/>
            <pc:sldMk cId="3386950963" sldId="257"/>
            <ac:picMk id="4" creationId="{89972D35-EAFA-0450-0D1C-ABB4DF336CE2}"/>
          </ac:picMkLst>
        </pc:picChg>
      </pc:sldChg>
      <pc:sldChg chg="delSp modSp add del mod">
        <pc:chgData name="Aleš Jakubec" userId="f9076b39-23b9-49be-9fd0-a8e45338f8b4" providerId="ADAL" clId="{BF5C4079-3CD0-4F69-A84E-7918EA6D589B}" dt="2025-11-26T22:36:07.153" v="1714" actId="47"/>
        <pc:sldMkLst>
          <pc:docMk/>
          <pc:sldMk cId="1987338115" sldId="258"/>
        </pc:sldMkLst>
        <pc:spChg chg="mod">
          <ac:chgData name="Aleš Jakubec" userId="f9076b39-23b9-49be-9fd0-a8e45338f8b4" providerId="ADAL" clId="{BF5C4079-3CD0-4F69-A84E-7918EA6D589B}" dt="2025-11-26T16:08:57.710" v="549" actId="20577"/>
          <ac:spMkLst>
            <pc:docMk/>
            <pc:sldMk cId="1987338115" sldId="258"/>
            <ac:spMk id="8" creationId="{2605B1D5-D1CF-505A-DB9B-D82616DEB606}"/>
          </ac:spMkLst>
        </pc:spChg>
        <pc:spChg chg="del">
          <ac:chgData name="Aleš Jakubec" userId="f9076b39-23b9-49be-9fd0-a8e45338f8b4" providerId="ADAL" clId="{BF5C4079-3CD0-4F69-A84E-7918EA6D589B}" dt="2025-11-26T21:35:41.611" v="812" actId="478"/>
          <ac:spMkLst>
            <pc:docMk/>
            <pc:sldMk cId="1987338115" sldId="258"/>
            <ac:spMk id="9" creationId="{2245BB54-BF83-6B50-1126-ADB14048CAE8}"/>
          </ac:spMkLst>
        </pc:spChg>
      </pc:sldChg>
      <pc:sldChg chg="modSp add del mod">
        <pc:chgData name="Aleš Jakubec" userId="f9076b39-23b9-49be-9fd0-a8e45338f8b4" providerId="ADAL" clId="{BF5C4079-3CD0-4F69-A84E-7918EA6D589B}" dt="2025-11-26T22:36:09.272" v="1715" actId="47"/>
        <pc:sldMkLst>
          <pc:docMk/>
          <pc:sldMk cId="3208768150" sldId="259"/>
        </pc:sldMkLst>
        <pc:spChg chg="mod">
          <ac:chgData name="Aleš Jakubec" userId="f9076b39-23b9-49be-9fd0-a8e45338f8b4" providerId="ADAL" clId="{BF5C4079-3CD0-4F69-A84E-7918EA6D589B}" dt="2025-11-26T21:37:21.627" v="933" actId="14100"/>
          <ac:spMkLst>
            <pc:docMk/>
            <pc:sldMk cId="3208768150" sldId="259"/>
            <ac:spMk id="8" creationId="{D6D11EF7-0E2C-AB35-A604-E4FE3395B787}"/>
          </ac:spMkLst>
        </pc:spChg>
      </pc:sldChg>
      <pc:sldChg chg="modSp add del mod ord">
        <pc:chgData name="Aleš Jakubec" userId="f9076b39-23b9-49be-9fd0-a8e45338f8b4" providerId="ADAL" clId="{BF5C4079-3CD0-4F69-A84E-7918EA6D589B}" dt="2025-11-26T22:36:05.461" v="1713" actId="47"/>
        <pc:sldMkLst>
          <pc:docMk/>
          <pc:sldMk cId="1498226814" sldId="260"/>
        </pc:sldMkLst>
        <pc:spChg chg="mod">
          <ac:chgData name="Aleš Jakubec" userId="f9076b39-23b9-49be-9fd0-a8e45338f8b4" providerId="ADAL" clId="{BF5C4079-3CD0-4F69-A84E-7918EA6D589B}" dt="2025-11-26T16:09:17.076" v="631" actId="20577"/>
          <ac:spMkLst>
            <pc:docMk/>
            <pc:sldMk cId="1498226814" sldId="260"/>
            <ac:spMk id="8" creationId="{572309D8-D455-2AB3-1E78-D710FF1513C7}"/>
          </ac:spMkLst>
        </pc:spChg>
      </pc:sldChg>
      <pc:sldChg chg="modSp add del mod ord">
        <pc:chgData name="Aleš Jakubec" userId="f9076b39-23b9-49be-9fd0-a8e45338f8b4" providerId="ADAL" clId="{BF5C4079-3CD0-4F69-A84E-7918EA6D589B}" dt="2025-11-26T22:36:10.688" v="1716" actId="47"/>
        <pc:sldMkLst>
          <pc:docMk/>
          <pc:sldMk cId="3483931393" sldId="261"/>
        </pc:sldMkLst>
        <pc:spChg chg="mod">
          <ac:chgData name="Aleš Jakubec" userId="f9076b39-23b9-49be-9fd0-a8e45338f8b4" providerId="ADAL" clId="{BF5C4079-3CD0-4F69-A84E-7918EA6D589B}" dt="2025-11-26T16:09:33.801" v="673" actId="6549"/>
          <ac:spMkLst>
            <pc:docMk/>
            <pc:sldMk cId="3483931393" sldId="261"/>
            <ac:spMk id="8" creationId="{3D6E33A0-660F-435E-4CD0-1C8E16757851}"/>
          </ac:spMkLst>
        </pc:spChg>
      </pc:sldChg>
      <pc:sldChg chg="add">
        <pc:chgData name="Aleš Jakubec" userId="f9076b39-23b9-49be-9fd0-a8e45338f8b4" providerId="ADAL" clId="{BF5C4079-3CD0-4F69-A84E-7918EA6D589B}" dt="2025-11-26T16:03:17.116" v="509"/>
        <pc:sldMkLst>
          <pc:docMk/>
          <pc:sldMk cId="3082736857" sldId="264"/>
        </pc:sldMkLst>
      </pc:sldChg>
      <pc:sldChg chg="add">
        <pc:chgData name="Aleš Jakubec" userId="f9076b39-23b9-49be-9fd0-a8e45338f8b4" providerId="ADAL" clId="{BF5C4079-3CD0-4F69-A84E-7918EA6D589B}" dt="2025-11-26T16:03:17.116" v="509"/>
        <pc:sldMkLst>
          <pc:docMk/>
          <pc:sldMk cId="1483091894" sldId="266"/>
        </pc:sldMkLst>
      </pc:sldChg>
      <pc:sldChg chg="add">
        <pc:chgData name="Aleš Jakubec" userId="f9076b39-23b9-49be-9fd0-a8e45338f8b4" providerId="ADAL" clId="{BF5C4079-3CD0-4F69-A84E-7918EA6D589B}" dt="2025-11-26T15:56:10.900" v="408"/>
        <pc:sldMkLst>
          <pc:docMk/>
          <pc:sldMk cId="0" sldId="267"/>
        </pc:sldMkLst>
      </pc:sldChg>
      <pc:sldChg chg="addSp delSp modSp add mod ord">
        <pc:chgData name="Aleš Jakubec" userId="f9076b39-23b9-49be-9fd0-a8e45338f8b4" providerId="ADAL" clId="{BF5C4079-3CD0-4F69-A84E-7918EA6D589B}" dt="2025-11-26T22:35:33.288" v="1712"/>
        <pc:sldMkLst>
          <pc:docMk/>
          <pc:sldMk cId="1831598103" sldId="587"/>
        </pc:sldMkLst>
        <pc:spChg chg="add del mod">
          <ac:chgData name="Aleš Jakubec" userId="f9076b39-23b9-49be-9fd0-a8e45338f8b4" providerId="ADAL" clId="{BF5C4079-3CD0-4F69-A84E-7918EA6D589B}" dt="2025-11-26T21:10:40.262" v="730"/>
          <ac:spMkLst>
            <pc:docMk/>
            <pc:sldMk cId="1831598103" sldId="587"/>
            <ac:spMk id="2" creationId="{FF0F8B63-B5D3-AFC6-FA06-CC6CFC3C0C6B}"/>
          </ac:spMkLst>
        </pc:spChg>
        <pc:spChg chg="mod">
          <ac:chgData name="Aleš Jakubec" userId="f9076b39-23b9-49be-9fd0-a8e45338f8b4" providerId="ADAL" clId="{BF5C4079-3CD0-4F69-A84E-7918EA6D589B}" dt="2025-11-26T21:37:35.259" v="975" actId="20577"/>
          <ac:spMkLst>
            <pc:docMk/>
            <pc:sldMk cId="1831598103" sldId="587"/>
            <ac:spMk id="4" creationId="{00000000-0000-0000-0000-000000000000}"/>
          </ac:spMkLst>
        </pc:spChg>
        <pc:spChg chg="add mod">
          <ac:chgData name="Aleš Jakubec" userId="f9076b39-23b9-49be-9fd0-a8e45338f8b4" providerId="ADAL" clId="{BF5C4079-3CD0-4F69-A84E-7918EA6D589B}" dt="2025-11-26T21:38:06.535" v="1027" actId="6549"/>
          <ac:spMkLst>
            <pc:docMk/>
            <pc:sldMk cId="1831598103" sldId="587"/>
            <ac:spMk id="5" creationId="{F2868D56-C45A-E7E7-D20E-FFB7CB9F6851}"/>
          </ac:spMkLst>
        </pc:spChg>
        <pc:spChg chg="add mod">
          <ac:chgData name="Aleš Jakubec" userId="f9076b39-23b9-49be-9fd0-a8e45338f8b4" providerId="ADAL" clId="{BF5C4079-3CD0-4F69-A84E-7918EA6D589B}" dt="2025-11-26T21:38:31.061" v="1033" actId="14100"/>
          <ac:spMkLst>
            <pc:docMk/>
            <pc:sldMk cId="1831598103" sldId="587"/>
            <ac:spMk id="6" creationId="{DB9C5516-451D-AFD5-563A-F9284FEFD886}"/>
          </ac:spMkLst>
        </pc:spChg>
        <pc:picChg chg="add mod">
          <ac:chgData name="Aleš Jakubec" userId="f9076b39-23b9-49be-9fd0-a8e45338f8b4" providerId="ADAL" clId="{BF5C4079-3CD0-4F69-A84E-7918EA6D589B}" dt="2025-11-26T21:12:17.297" v="742" actId="14100"/>
          <ac:picMkLst>
            <pc:docMk/>
            <pc:sldMk cId="1831598103" sldId="587"/>
            <ac:picMk id="3" creationId="{820CF616-D226-8121-180C-5EED3E9E37BC}"/>
          </ac:picMkLst>
        </pc:picChg>
        <pc:picChg chg="del">
          <ac:chgData name="Aleš Jakubec" userId="f9076b39-23b9-49be-9fd0-a8e45338f8b4" providerId="ADAL" clId="{BF5C4079-3CD0-4F69-A84E-7918EA6D589B}" dt="2025-11-26T21:10:37.126" v="729" actId="478"/>
          <ac:picMkLst>
            <pc:docMk/>
            <pc:sldMk cId="1831598103" sldId="587"/>
            <ac:picMk id="10" creationId="{00000000-0000-0000-0000-000000000000}"/>
          </ac:picMkLst>
        </pc:picChg>
      </pc:sldChg>
      <pc:sldChg chg="addSp delSp modSp add mod">
        <pc:chgData name="Aleš Jakubec" userId="f9076b39-23b9-49be-9fd0-a8e45338f8b4" providerId="ADAL" clId="{BF5C4079-3CD0-4F69-A84E-7918EA6D589B}" dt="2025-11-26T21:52:47.561" v="1106" actId="1076"/>
        <pc:sldMkLst>
          <pc:docMk/>
          <pc:sldMk cId="1809659842" sldId="996"/>
        </pc:sldMkLst>
        <pc:spChg chg="del mod">
          <ac:chgData name="Aleš Jakubec" userId="f9076b39-23b9-49be-9fd0-a8e45338f8b4" providerId="ADAL" clId="{BF5C4079-3CD0-4F69-A84E-7918EA6D589B}" dt="2025-11-26T21:51:20.517" v="1047" actId="478"/>
          <ac:spMkLst>
            <pc:docMk/>
            <pc:sldMk cId="1809659842" sldId="996"/>
            <ac:spMk id="4" creationId="{00000000-0000-0000-0000-000000000000}"/>
          </ac:spMkLst>
        </pc:spChg>
        <pc:spChg chg="del">
          <ac:chgData name="Aleš Jakubec" userId="f9076b39-23b9-49be-9fd0-a8e45338f8b4" providerId="ADAL" clId="{BF5C4079-3CD0-4F69-A84E-7918EA6D589B}" dt="2025-11-26T21:51:37.065" v="1050" actId="478"/>
          <ac:spMkLst>
            <pc:docMk/>
            <pc:sldMk cId="1809659842" sldId="996"/>
            <ac:spMk id="7" creationId="{5C00804F-F121-24A8-558E-D6571FEE095A}"/>
          </ac:spMkLst>
        </pc:spChg>
        <pc:spChg chg="mod">
          <ac:chgData name="Aleš Jakubec" userId="f9076b39-23b9-49be-9fd0-a8e45338f8b4" providerId="ADAL" clId="{BF5C4079-3CD0-4F69-A84E-7918EA6D589B}" dt="2025-11-26T21:52:45.723" v="1105" actId="14100"/>
          <ac:spMkLst>
            <pc:docMk/>
            <pc:sldMk cId="1809659842" sldId="996"/>
            <ac:spMk id="10" creationId="{20880B0C-3813-071F-3161-A07DE26BDDD2}"/>
          </ac:spMkLst>
        </pc:spChg>
        <pc:spChg chg="mod">
          <ac:chgData name="Aleš Jakubec" userId="f9076b39-23b9-49be-9fd0-a8e45338f8b4" providerId="ADAL" clId="{BF5C4079-3CD0-4F69-A84E-7918EA6D589B}" dt="2025-11-26T21:52:39.458" v="1102" actId="1076"/>
          <ac:spMkLst>
            <pc:docMk/>
            <pc:sldMk cId="1809659842" sldId="996"/>
            <ac:spMk id="14" creationId="{03FB63DB-DEFE-0404-50B7-6036EF4242D2}"/>
          </ac:spMkLst>
        </pc:spChg>
        <pc:spChg chg="mod">
          <ac:chgData name="Aleš Jakubec" userId="f9076b39-23b9-49be-9fd0-a8e45338f8b4" providerId="ADAL" clId="{BF5C4079-3CD0-4F69-A84E-7918EA6D589B}" dt="2025-11-26T21:52:19.796" v="1101" actId="6549"/>
          <ac:spMkLst>
            <pc:docMk/>
            <pc:sldMk cId="1809659842" sldId="996"/>
            <ac:spMk id="19" creationId="{F111DDE7-F579-BF76-952D-EF7FBCDB2DE1}"/>
          </ac:spMkLst>
        </pc:spChg>
        <pc:spChg chg="mod">
          <ac:chgData name="Aleš Jakubec" userId="f9076b39-23b9-49be-9fd0-a8e45338f8b4" providerId="ADAL" clId="{BF5C4079-3CD0-4F69-A84E-7918EA6D589B}" dt="2025-11-26T21:52:11.542" v="1083" actId="20577"/>
          <ac:spMkLst>
            <pc:docMk/>
            <pc:sldMk cId="1809659842" sldId="996"/>
            <ac:spMk id="20" creationId="{898A49DA-EF44-F07F-D80F-A97D241EC5FC}"/>
          </ac:spMkLst>
        </pc:spChg>
        <pc:picChg chg="mod">
          <ac:chgData name="Aleš Jakubec" userId="f9076b39-23b9-49be-9fd0-a8e45338f8b4" providerId="ADAL" clId="{BF5C4079-3CD0-4F69-A84E-7918EA6D589B}" dt="2025-11-26T21:52:47.561" v="1106" actId="1076"/>
          <ac:picMkLst>
            <pc:docMk/>
            <pc:sldMk cId="1809659842" sldId="996"/>
            <ac:picMk id="2" creationId="{2ED2C04D-A4E5-A378-A3A2-4C16597DAB9D}"/>
          </ac:picMkLst>
        </pc:picChg>
        <pc:picChg chg="add mod">
          <ac:chgData name="Aleš Jakubec" userId="f9076b39-23b9-49be-9fd0-a8e45338f8b4" providerId="ADAL" clId="{BF5C4079-3CD0-4F69-A84E-7918EA6D589B}" dt="2025-11-26T21:51:16.126" v="1045" actId="1076"/>
          <ac:picMkLst>
            <pc:docMk/>
            <pc:sldMk cId="1809659842" sldId="996"/>
            <ac:picMk id="9" creationId="{59BD0CAD-785E-4373-E46E-DD3DA4D8303E}"/>
          </ac:picMkLst>
        </pc:picChg>
        <pc:picChg chg="mod">
          <ac:chgData name="Aleš Jakubec" userId="f9076b39-23b9-49be-9fd0-a8e45338f8b4" providerId="ADAL" clId="{BF5C4079-3CD0-4F69-A84E-7918EA6D589B}" dt="2025-11-26T21:52:40.878" v="1103" actId="1076"/>
          <ac:picMkLst>
            <pc:docMk/>
            <pc:sldMk cId="1809659842" sldId="996"/>
            <ac:picMk id="11" creationId="{4F1D4413-4973-DF9E-0E1E-083D3325C718}"/>
          </ac:picMkLst>
        </pc:picChg>
        <pc:picChg chg="del">
          <ac:chgData name="Aleš Jakubec" userId="f9076b39-23b9-49be-9fd0-a8e45338f8b4" providerId="ADAL" clId="{BF5C4079-3CD0-4F69-A84E-7918EA6D589B}" dt="2025-11-26T21:51:07.376" v="1041" actId="478"/>
          <ac:picMkLst>
            <pc:docMk/>
            <pc:sldMk cId="1809659842" sldId="996"/>
            <ac:picMk id="1028" creationId="{6A624E79-8B94-F888-D30B-719EC4589D80}"/>
          </ac:picMkLst>
        </pc:picChg>
      </pc:sldChg>
      <pc:sldChg chg="addSp delSp modSp add mod ord delAnim modAnim">
        <pc:chgData name="Aleš Jakubec" userId="f9076b39-23b9-49be-9fd0-a8e45338f8b4" providerId="ADAL" clId="{BF5C4079-3CD0-4F69-A84E-7918EA6D589B}" dt="2025-11-26T22:22:47.832" v="1175"/>
        <pc:sldMkLst>
          <pc:docMk/>
          <pc:sldMk cId="3770386389" sldId="1504"/>
        </pc:sldMkLst>
        <pc:spChg chg="del">
          <ac:chgData name="Aleš Jakubec" userId="f9076b39-23b9-49be-9fd0-a8e45338f8b4" providerId="ADAL" clId="{BF5C4079-3CD0-4F69-A84E-7918EA6D589B}" dt="2025-11-26T22:18:32.726" v="1132" actId="478"/>
          <ac:spMkLst>
            <pc:docMk/>
            <pc:sldMk cId="3770386389" sldId="1504"/>
            <ac:spMk id="2" creationId="{2C2570A9-1E82-4DDF-B110-D16A52C53EA1}"/>
          </ac:spMkLst>
        </pc:spChg>
        <pc:spChg chg="del">
          <ac:chgData name="Aleš Jakubec" userId="f9076b39-23b9-49be-9fd0-a8e45338f8b4" providerId="ADAL" clId="{BF5C4079-3CD0-4F69-A84E-7918EA6D589B}" dt="2025-11-26T22:18:41.695" v="1134" actId="478"/>
          <ac:spMkLst>
            <pc:docMk/>
            <pc:sldMk cId="3770386389" sldId="1504"/>
            <ac:spMk id="4" creationId="{5246DD3A-4FA5-4569-B8BE-97FC9C48A3C7}"/>
          </ac:spMkLst>
        </pc:spChg>
        <pc:spChg chg="add del mod">
          <ac:chgData name="Aleš Jakubec" userId="f9076b39-23b9-49be-9fd0-a8e45338f8b4" providerId="ADAL" clId="{BF5C4079-3CD0-4F69-A84E-7918EA6D589B}" dt="2025-11-26T22:18:37.583" v="1133" actId="478"/>
          <ac:spMkLst>
            <pc:docMk/>
            <pc:sldMk cId="3770386389" sldId="1504"/>
            <ac:spMk id="5" creationId="{47933D8D-F62D-56E4-8EB7-5407D1625C73}"/>
          </ac:spMkLst>
        </pc:spChg>
        <pc:spChg chg="add del mod">
          <ac:chgData name="Aleš Jakubec" userId="f9076b39-23b9-49be-9fd0-a8e45338f8b4" providerId="ADAL" clId="{BF5C4079-3CD0-4F69-A84E-7918EA6D589B}" dt="2025-11-26T22:18:43.981" v="1135" actId="478"/>
          <ac:spMkLst>
            <pc:docMk/>
            <pc:sldMk cId="3770386389" sldId="1504"/>
            <ac:spMk id="7" creationId="{96C61DAE-9E3B-DD94-5F20-AA50A168E443}"/>
          </ac:spMkLst>
        </pc:spChg>
        <pc:spChg chg="add mod">
          <ac:chgData name="Aleš Jakubec" userId="f9076b39-23b9-49be-9fd0-a8e45338f8b4" providerId="ADAL" clId="{BF5C4079-3CD0-4F69-A84E-7918EA6D589B}" dt="2025-11-26T22:18:47.174" v="1137" actId="1076"/>
          <ac:spMkLst>
            <pc:docMk/>
            <pc:sldMk cId="3770386389" sldId="1504"/>
            <ac:spMk id="8" creationId="{4F4665E1-AA74-5736-82B8-4B00E13EE434}"/>
          </ac:spMkLst>
        </pc:spChg>
        <pc:spChg chg="add mod">
          <ac:chgData name="Aleš Jakubec" userId="f9076b39-23b9-49be-9fd0-a8e45338f8b4" providerId="ADAL" clId="{BF5C4079-3CD0-4F69-A84E-7918EA6D589B}" dt="2025-11-26T22:19:04.984" v="1140" actId="1076"/>
          <ac:spMkLst>
            <pc:docMk/>
            <pc:sldMk cId="3770386389" sldId="1504"/>
            <ac:spMk id="9" creationId="{59A194D8-4380-CD34-FE2F-324B760D5E7E}"/>
          </ac:spMkLst>
        </pc:spChg>
        <pc:spChg chg="add mod">
          <ac:chgData name="Aleš Jakubec" userId="f9076b39-23b9-49be-9fd0-a8e45338f8b4" providerId="ADAL" clId="{BF5C4079-3CD0-4F69-A84E-7918EA6D589B}" dt="2025-11-26T22:19:12.928" v="1141"/>
          <ac:spMkLst>
            <pc:docMk/>
            <pc:sldMk cId="3770386389" sldId="1504"/>
            <ac:spMk id="10" creationId="{46298F0D-6960-5A0B-FF2F-AD887661D3A4}"/>
          </ac:spMkLst>
        </pc:spChg>
        <pc:spChg chg="add del mod">
          <ac:chgData name="Aleš Jakubec" userId="f9076b39-23b9-49be-9fd0-a8e45338f8b4" providerId="ADAL" clId="{BF5C4079-3CD0-4F69-A84E-7918EA6D589B}" dt="2025-11-26T22:19:29.837" v="1143" actId="478"/>
          <ac:spMkLst>
            <pc:docMk/>
            <pc:sldMk cId="3770386389" sldId="1504"/>
            <ac:spMk id="16" creationId="{B4D79D83-56EF-8C0C-C0EE-47C0DE6A4F47}"/>
          </ac:spMkLst>
        </pc:spChg>
        <pc:spChg chg="add mod">
          <ac:chgData name="Aleš Jakubec" userId="f9076b39-23b9-49be-9fd0-a8e45338f8b4" providerId="ADAL" clId="{BF5C4079-3CD0-4F69-A84E-7918EA6D589B}" dt="2025-11-26T22:19:51.672" v="1148" actId="1076"/>
          <ac:spMkLst>
            <pc:docMk/>
            <pc:sldMk cId="3770386389" sldId="1504"/>
            <ac:spMk id="19" creationId="{D501A383-4CED-FF2B-7E60-F4754AB73A0A}"/>
          </ac:spMkLst>
        </pc:spChg>
        <pc:spChg chg="add mod">
          <ac:chgData name="Aleš Jakubec" userId="f9076b39-23b9-49be-9fd0-a8e45338f8b4" providerId="ADAL" clId="{BF5C4079-3CD0-4F69-A84E-7918EA6D589B}" dt="2025-11-26T22:20:01.947" v="1149" actId="255"/>
          <ac:spMkLst>
            <pc:docMk/>
            <pc:sldMk cId="3770386389" sldId="1504"/>
            <ac:spMk id="25" creationId="{0D1B2917-BF5B-E121-BCF1-8F27E921B56A}"/>
          </ac:spMkLst>
        </pc:spChg>
        <pc:spChg chg="mod">
          <ac:chgData name="Aleš Jakubec" userId="f9076b39-23b9-49be-9fd0-a8e45338f8b4" providerId="ADAL" clId="{BF5C4079-3CD0-4F69-A84E-7918EA6D589B}" dt="2025-11-26T22:22:22.528" v="1169" actId="1076"/>
          <ac:spMkLst>
            <pc:docMk/>
            <pc:sldMk cId="3770386389" sldId="1504"/>
            <ac:spMk id="57" creationId="{5BB2FA6F-EAA8-4D32-8DA9-7EC6398DDDBB}"/>
          </ac:spMkLst>
        </pc:spChg>
        <pc:spChg chg="mod">
          <ac:chgData name="Aleš Jakubec" userId="f9076b39-23b9-49be-9fd0-a8e45338f8b4" providerId="ADAL" clId="{BF5C4079-3CD0-4F69-A84E-7918EA6D589B}" dt="2025-11-26T22:22:22.528" v="1169" actId="1076"/>
          <ac:spMkLst>
            <pc:docMk/>
            <pc:sldMk cId="3770386389" sldId="1504"/>
            <ac:spMk id="58" creationId="{41034D0D-926A-4E32-9C12-10BBC4C8BF80}"/>
          </ac:spMkLst>
        </pc:spChg>
        <pc:spChg chg="mod">
          <ac:chgData name="Aleš Jakubec" userId="f9076b39-23b9-49be-9fd0-a8e45338f8b4" providerId="ADAL" clId="{BF5C4079-3CD0-4F69-A84E-7918EA6D589B}" dt="2025-11-26T22:22:22.528" v="1169" actId="1076"/>
          <ac:spMkLst>
            <pc:docMk/>
            <pc:sldMk cId="3770386389" sldId="1504"/>
            <ac:spMk id="59" creationId="{6561AE68-B429-468F-AF54-8B7F1290203B}"/>
          </ac:spMkLst>
        </pc:spChg>
        <pc:grpChg chg="mod">
          <ac:chgData name="Aleš Jakubec" userId="f9076b39-23b9-49be-9fd0-a8e45338f8b4" providerId="ADAL" clId="{BF5C4079-3CD0-4F69-A84E-7918EA6D589B}" dt="2025-11-26T22:22:15.970" v="1168" actId="1076"/>
          <ac:grpSpMkLst>
            <pc:docMk/>
            <pc:sldMk cId="3770386389" sldId="1504"/>
            <ac:grpSpMk id="12" creationId="{15344313-D172-4678-9D0A-04556FBA55B9}"/>
          </ac:grpSpMkLst>
        </pc:grpChg>
        <pc:grpChg chg="del">
          <ac:chgData name="Aleš Jakubec" userId="f9076b39-23b9-49be-9fd0-a8e45338f8b4" providerId="ADAL" clId="{BF5C4079-3CD0-4F69-A84E-7918EA6D589B}" dt="2025-11-26T22:20:59.582" v="1158" actId="478"/>
          <ac:grpSpMkLst>
            <pc:docMk/>
            <pc:sldMk cId="3770386389" sldId="1504"/>
            <ac:grpSpMk id="13" creationId="{083A5EE4-3E0D-4FEF-84F7-F7904A4CABF1}"/>
          </ac:grpSpMkLst>
        </pc:grpChg>
        <pc:grpChg chg="mod">
          <ac:chgData name="Aleš Jakubec" userId="f9076b39-23b9-49be-9fd0-a8e45338f8b4" providerId="ADAL" clId="{BF5C4079-3CD0-4F69-A84E-7918EA6D589B}" dt="2025-11-26T22:22:22.528" v="1169" actId="1076"/>
          <ac:grpSpMkLst>
            <pc:docMk/>
            <pc:sldMk cId="3770386389" sldId="1504"/>
            <ac:grpSpMk id="14" creationId="{309DA0AF-48D3-47EE-87BC-AD4262AE4746}"/>
          </ac:grpSpMkLst>
        </pc:grpChg>
        <pc:grpChg chg="mod">
          <ac:chgData name="Aleš Jakubec" userId="f9076b39-23b9-49be-9fd0-a8e45338f8b4" providerId="ADAL" clId="{BF5C4079-3CD0-4F69-A84E-7918EA6D589B}" dt="2025-11-26T22:22:29.415" v="1170" actId="1076"/>
          <ac:grpSpMkLst>
            <pc:docMk/>
            <pc:sldMk cId="3770386389" sldId="1504"/>
            <ac:grpSpMk id="15" creationId="{8EDCF66B-E21D-42BA-9A22-B6F39DDD9576}"/>
          </ac:grpSpMkLst>
        </pc:grpChg>
        <pc:grpChg chg="mod">
          <ac:chgData name="Aleš Jakubec" userId="f9076b39-23b9-49be-9fd0-a8e45338f8b4" providerId="ADAL" clId="{BF5C4079-3CD0-4F69-A84E-7918EA6D589B}" dt="2025-11-26T22:20:54.101" v="1155" actId="1076"/>
          <ac:grpSpMkLst>
            <pc:docMk/>
            <pc:sldMk cId="3770386389" sldId="1504"/>
            <ac:grpSpMk id="17" creationId="{3080A513-0CF3-49AE-ADF5-56CE4C06C3C1}"/>
          </ac:grpSpMkLst>
        </pc:grpChg>
        <pc:grpChg chg="mod">
          <ac:chgData name="Aleš Jakubec" userId="f9076b39-23b9-49be-9fd0-a8e45338f8b4" providerId="ADAL" clId="{BF5C4079-3CD0-4F69-A84E-7918EA6D589B}" dt="2025-11-26T22:21:48.796" v="1166" actId="1076"/>
          <ac:grpSpMkLst>
            <pc:docMk/>
            <pc:sldMk cId="3770386389" sldId="1504"/>
            <ac:grpSpMk id="18" creationId="{AA226137-C7E7-48AE-8E65-56A5F2EE4734}"/>
          </ac:grpSpMkLst>
        </pc:grpChg>
        <pc:grpChg chg="mod">
          <ac:chgData name="Aleš Jakubec" userId="f9076b39-23b9-49be-9fd0-a8e45338f8b4" providerId="ADAL" clId="{BF5C4079-3CD0-4F69-A84E-7918EA6D589B}" dt="2025-11-26T22:22:33.895" v="1172" actId="14100"/>
          <ac:grpSpMkLst>
            <pc:docMk/>
            <pc:sldMk cId="3770386389" sldId="1504"/>
            <ac:grpSpMk id="33" creationId="{C84FDCF6-52D8-B70A-EA52-764DA18532F1}"/>
          </ac:grpSpMkLst>
        </pc:grpChg>
        <pc:grpChg chg="mod">
          <ac:chgData name="Aleš Jakubec" userId="f9076b39-23b9-49be-9fd0-a8e45338f8b4" providerId="ADAL" clId="{BF5C4079-3CD0-4F69-A84E-7918EA6D589B}" dt="2025-11-26T22:20:54.101" v="1155" actId="1076"/>
          <ac:grpSpMkLst>
            <pc:docMk/>
            <pc:sldMk cId="3770386389" sldId="1504"/>
            <ac:grpSpMk id="40" creationId="{54187F38-CAF0-203B-6CAF-398FB02AE27B}"/>
          </ac:grpSpMkLst>
        </pc:grpChg>
        <pc:picChg chg="mod">
          <ac:chgData name="Aleš Jakubec" userId="f9076b39-23b9-49be-9fd0-a8e45338f8b4" providerId="ADAL" clId="{BF5C4079-3CD0-4F69-A84E-7918EA6D589B}" dt="2025-11-26T22:22:15.970" v="1168" actId="1076"/>
          <ac:picMkLst>
            <pc:docMk/>
            <pc:sldMk cId="3770386389" sldId="1504"/>
            <ac:picMk id="20" creationId="{FF8EA10D-0261-6EE5-9A04-564268563D86}"/>
          </ac:picMkLst>
        </pc:picChg>
        <pc:picChg chg="mod">
          <ac:chgData name="Aleš Jakubec" userId="f9076b39-23b9-49be-9fd0-a8e45338f8b4" providerId="ADAL" clId="{BF5C4079-3CD0-4F69-A84E-7918EA6D589B}" dt="2025-11-26T22:22:15.970" v="1168" actId="1076"/>
          <ac:picMkLst>
            <pc:docMk/>
            <pc:sldMk cId="3770386389" sldId="1504"/>
            <ac:picMk id="21" creationId="{B543E64A-EB01-C625-838F-B6B26C59CBC4}"/>
          </ac:picMkLst>
        </pc:picChg>
        <pc:picChg chg="del">
          <ac:chgData name="Aleš Jakubec" userId="f9076b39-23b9-49be-9fd0-a8e45338f8b4" providerId="ADAL" clId="{BF5C4079-3CD0-4F69-A84E-7918EA6D589B}" dt="2025-11-26T22:20:56.559" v="1156" actId="478"/>
          <ac:picMkLst>
            <pc:docMk/>
            <pc:sldMk cId="3770386389" sldId="1504"/>
            <ac:picMk id="22" creationId="{541224BC-718A-9093-3B0A-34E6FC8041A1}"/>
          </ac:picMkLst>
        </pc:picChg>
        <pc:picChg chg="del">
          <ac:chgData name="Aleš Jakubec" userId="f9076b39-23b9-49be-9fd0-a8e45338f8b4" providerId="ADAL" clId="{BF5C4079-3CD0-4F69-A84E-7918EA6D589B}" dt="2025-11-26T22:20:57.996" v="1157" actId="478"/>
          <ac:picMkLst>
            <pc:docMk/>
            <pc:sldMk cId="3770386389" sldId="1504"/>
            <ac:picMk id="23" creationId="{2B396C08-57C4-CF72-5B5B-F3C775678E2F}"/>
          </ac:picMkLst>
        </pc:picChg>
        <pc:picChg chg="mod">
          <ac:chgData name="Aleš Jakubec" userId="f9076b39-23b9-49be-9fd0-a8e45338f8b4" providerId="ADAL" clId="{BF5C4079-3CD0-4F69-A84E-7918EA6D589B}" dt="2025-11-26T22:22:22.528" v="1169" actId="1076"/>
          <ac:picMkLst>
            <pc:docMk/>
            <pc:sldMk cId="3770386389" sldId="1504"/>
            <ac:picMk id="24" creationId="{E8A99933-C684-A0AD-DF7F-CD57A0B23D85}"/>
          </ac:picMkLst>
        </pc:picChg>
        <pc:picChg chg="mod">
          <ac:chgData name="Aleš Jakubec" userId="f9076b39-23b9-49be-9fd0-a8e45338f8b4" providerId="ADAL" clId="{BF5C4079-3CD0-4F69-A84E-7918EA6D589B}" dt="2025-11-26T22:22:22.528" v="1169" actId="1076"/>
          <ac:picMkLst>
            <pc:docMk/>
            <pc:sldMk cId="3770386389" sldId="1504"/>
            <ac:picMk id="30" creationId="{C8353559-0B04-5311-512F-C66DEFC74A73}"/>
          </ac:picMkLst>
        </pc:picChg>
        <pc:picChg chg="mod">
          <ac:chgData name="Aleš Jakubec" userId="f9076b39-23b9-49be-9fd0-a8e45338f8b4" providerId="ADAL" clId="{BF5C4079-3CD0-4F69-A84E-7918EA6D589B}" dt="2025-11-26T22:21:51.426" v="1167" actId="1076"/>
          <ac:picMkLst>
            <pc:docMk/>
            <pc:sldMk cId="3770386389" sldId="1504"/>
            <ac:picMk id="31" creationId="{2DC6126F-51DB-42C3-AF67-BDCF2AFAE0EA}"/>
          </ac:picMkLst>
        </pc:picChg>
        <pc:picChg chg="mod">
          <ac:chgData name="Aleš Jakubec" userId="f9076b39-23b9-49be-9fd0-a8e45338f8b4" providerId="ADAL" clId="{BF5C4079-3CD0-4F69-A84E-7918EA6D589B}" dt="2025-11-26T22:21:38.350" v="1165" actId="1076"/>
          <ac:picMkLst>
            <pc:docMk/>
            <pc:sldMk cId="3770386389" sldId="1504"/>
            <ac:picMk id="32" creationId="{75558CC1-AED5-CFC4-2545-FE60893F2A39}"/>
          </ac:picMkLst>
        </pc:picChg>
        <pc:picChg chg="mod">
          <ac:chgData name="Aleš Jakubec" userId="f9076b39-23b9-49be-9fd0-a8e45338f8b4" providerId="ADAL" clId="{BF5C4079-3CD0-4F69-A84E-7918EA6D589B}" dt="2025-11-26T22:20:54.101" v="1155" actId="1076"/>
          <ac:picMkLst>
            <pc:docMk/>
            <pc:sldMk cId="3770386389" sldId="1504"/>
            <ac:picMk id="46" creationId="{77ECD4E5-D460-9B20-4969-E43962FE722A}"/>
          </ac:picMkLst>
        </pc:picChg>
        <pc:picChg chg="mod">
          <ac:chgData name="Aleš Jakubec" userId="f9076b39-23b9-49be-9fd0-a8e45338f8b4" providerId="ADAL" clId="{BF5C4079-3CD0-4F69-A84E-7918EA6D589B}" dt="2025-11-26T22:20:54.101" v="1155" actId="1076"/>
          <ac:picMkLst>
            <pc:docMk/>
            <pc:sldMk cId="3770386389" sldId="1504"/>
            <ac:picMk id="49" creationId="{C4C560A0-6D40-10E3-07B0-E0BC87757980}"/>
          </ac:picMkLst>
        </pc:picChg>
      </pc:sldChg>
      <pc:sldChg chg="modSp add del mod ord modTransition setBg">
        <pc:chgData name="Aleš Jakubec" userId="f9076b39-23b9-49be-9fd0-a8e45338f8b4" providerId="ADAL" clId="{BF5C4079-3CD0-4F69-A84E-7918EA6D589B}" dt="2025-11-26T21:54:00.702" v="1125"/>
        <pc:sldMkLst>
          <pc:docMk/>
          <pc:sldMk cId="977442431" sldId="1708"/>
        </pc:sldMkLst>
        <pc:spChg chg="mod">
          <ac:chgData name="Aleš Jakubec" userId="f9076b39-23b9-49be-9fd0-a8e45338f8b4" providerId="ADAL" clId="{BF5C4079-3CD0-4F69-A84E-7918EA6D589B}" dt="2025-11-26T21:53:45.308" v="1123" actId="20577"/>
          <ac:spMkLst>
            <pc:docMk/>
            <pc:sldMk cId="977442431" sldId="1708"/>
            <ac:spMk id="5" creationId="{089E239F-D588-750C-293E-CE052EFB0D0F}"/>
          </ac:spMkLst>
        </pc:spChg>
        <pc:spChg chg="mod">
          <ac:chgData name="Aleš Jakubec" userId="f9076b39-23b9-49be-9fd0-a8e45338f8b4" providerId="ADAL" clId="{BF5C4079-3CD0-4F69-A84E-7918EA6D589B}" dt="2025-11-26T20:33:01.360" v="690"/>
          <ac:spMkLst>
            <pc:docMk/>
            <pc:sldMk cId="977442431" sldId="1708"/>
            <ac:spMk id="6" creationId="{5A818011-8F24-D6AB-3690-A25A80448622}"/>
          </ac:spMkLst>
        </pc:spChg>
        <pc:spChg chg="mod">
          <ac:chgData name="Aleš Jakubec" userId="f9076b39-23b9-49be-9fd0-a8e45338f8b4" providerId="ADAL" clId="{BF5C4079-3CD0-4F69-A84E-7918EA6D589B}" dt="2025-11-26T20:33:01.360" v="690"/>
          <ac:spMkLst>
            <pc:docMk/>
            <pc:sldMk cId="977442431" sldId="1708"/>
            <ac:spMk id="7" creationId="{4F981B0F-3159-9BCB-66A2-1B105B729EF7}"/>
          </ac:spMkLst>
        </pc:spChg>
      </pc:sldChg>
      <pc:sldChg chg="modSp add mod">
        <pc:chgData name="Aleš Jakubec" userId="f9076b39-23b9-49be-9fd0-a8e45338f8b4" providerId="ADAL" clId="{BF5C4079-3CD0-4F69-A84E-7918EA6D589B}" dt="2025-11-26T15:43:52.649" v="115" actId="27636"/>
        <pc:sldMkLst>
          <pc:docMk/>
          <pc:sldMk cId="3239891477" sldId="2147475831"/>
        </pc:sldMkLst>
        <pc:spChg chg="mod">
          <ac:chgData name="Aleš Jakubec" userId="f9076b39-23b9-49be-9fd0-a8e45338f8b4" providerId="ADAL" clId="{BF5C4079-3CD0-4F69-A84E-7918EA6D589B}" dt="2025-11-26T15:43:52.649" v="111" actId="27636"/>
          <ac:spMkLst>
            <pc:docMk/>
            <pc:sldMk cId="3239891477" sldId="2147475831"/>
            <ac:spMk id="4" creationId="{8E378705-F155-1167-85AC-69143ED83D8E}"/>
          </ac:spMkLst>
        </pc:spChg>
        <pc:spChg chg="mod">
          <ac:chgData name="Aleš Jakubec" userId="f9076b39-23b9-49be-9fd0-a8e45338f8b4" providerId="ADAL" clId="{BF5C4079-3CD0-4F69-A84E-7918EA6D589B}" dt="2025-11-26T15:43:52.649" v="113" actId="27636"/>
          <ac:spMkLst>
            <pc:docMk/>
            <pc:sldMk cId="3239891477" sldId="2147475831"/>
            <ac:spMk id="5" creationId="{834C2275-2B98-486D-B5B3-FBDB582702CE}"/>
          </ac:spMkLst>
        </pc:spChg>
        <pc:spChg chg="mod">
          <ac:chgData name="Aleš Jakubec" userId="f9076b39-23b9-49be-9fd0-a8e45338f8b4" providerId="ADAL" clId="{BF5C4079-3CD0-4F69-A84E-7918EA6D589B}" dt="2025-11-26T15:43:52.649" v="108" actId="27636"/>
          <ac:spMkLst>
            <pc:docMk/>
            <pc:sldMk cId="3239891477" sldId="2147475831"/>
            <ac:spMk id="6" creationId="{EB3FB008-C1DC-1D96-59DF-6A1EB8C72362}"/>
          </ac:spMkLst>
        </pc:spChg>
        <pc:spChg chg="mod">
          <ac:chgData name="Aleš Jakubec" userId="f9076b39-23b9-49be-9fd0-a8e45338f8b4" providerId="ADAL" clId="{BF5C4079-3CD0-4F69-A84E-7918EA6D589B}" dt="2025-11-26T15:43:52.649" v="112" actId="27636"/>
          <ac:spMkLst>
            <pc:docMk/>
            <pc:sldMk cId="3239891477" sldId="2147475831"/>
            <ac:spMk id="7" creationId="{95F9CA30-D0B9-44FB-0A4A-BCA0FEEF7800}"/>
          </ac:spMkLst>
        </pc:spChg>
        <pc:spChg chg="mod">
          <ac:chgData name="Aleš Jakubec" userId="f9076b39-23b9-49be-9fd0-a8e45338f8b4" providerId="ADAL" clId="{BF5C4079-3CD0-4F69-A84E-7918EA6D589B}" dt="2025-11-26T15:43:52.649" v="110" actId="27636"/>
          <ac:spMkLst>
            <pc:docMk/>
            <pc:sldMk cId="3239891477" sldId="2147475831"/>
            <ac:spMk id="8" creationId="{32AE1DBE-5988-A811-F361-90B074F75EB5}"/>
          </ac:spMkLst>
        </pc:spChg>
        <pc:spChg chg="mod">
          <ac:chgData name="Aleš Jakubec" userId="f9076b39-23b9-49be-9fd0-a8e45338f8b4" providerId="ADAL" clId="{BF5C4079-3CD0-4F69-A84E-7918EA6D589B}" dt="2025-11-26T15:43:52.649" v="109" actId="27636"/>
          <ac:spMkLst>
            <pc:docMk/>
            <pc:sldMk cId="3239891477" sldId="2147475831"/>
            <ac:spMk id="9" creationId="{78BDAD17-B7B4-FF58-AFB2-17403888EA38}"/>
          </ac:spMkLst>
        </pc:spChg>
        <pc:spChg chg="mod">
          <ac:chgData name="Aleš Jakubec" userId="f9076b39-23b9-49be-9fd0-a8e45338f8b4" providerId="ADAL" clId="{BF5C4079-3CD0-4F69-A84E-7918EA6D589B}" dt="2025-11-26T15:43:52.649" v="114" actId="27636"/>
          <ac:spMkLst>
            <pc:docMk/>
            <pc:sldMk cId="3239891477" sldId="2147475831"/>
            <ac:spMk id="10" creationId="{74C4DAEC-8B4F-FA4A-3BF8-5D98CB631D06}"/>
          </ac:spMkLst>
        </pc:spChg>
        <pc:spChg chg="mod">
          <ac:chgData name="Aleš Jakubec" userId="f9076b39-23b9-49be-9fd0-a8e45338f8b4" providerId="ADAL" clId="{BF5C4079-3CD0-4F69-A84E-7918EA6D589B}" dt="2025-11-26T15:43:52.649" v="115" actId="27636"/>
          <ac:spMkLst>
            <pc:docMk/>
            <pc:sldMk cId="3239891477" sldId="2147475831"/>
            <ac:spMk id="11" creationId="{09444D54-80D7-75B9-C01C-6853C187D4E2}"/>
          </ac:spMkLst>
        </pc:spChg>
      </pc:sldChg>
      <pc:sldChg chg="add">
        <pc:chgData name="Aleš Jakubec" userId="f9076b39-23b9-49be-9fd0-a8e45338f8b4" providerId="ADAL" clId="{BF5C4079-3CD0-4F69-A84E-7918EA6D589B}" dt="2025-11-26T16:11:20.931" v="686"/>
        <pc:sldMkLst>
          <pc:docMk/>
          <pc:sldMk cId="4125786630" sldId="2147475967"/>
        </pc:sldMkLst>
      </pc:sldChg>
      <pc:sldChg chg="add">
        <pc:chgData name="Aleš Jakubec" userId="f9076b39-23b9-49be-9fd0-a8e45338f8b4" providerId="ADAL" clId="{BF5C4079-3CD0-4F69-A84E-7918EA6D589B}" dt="2025-11-26T15:41:57.490" v="106"/>
        <pc:sldMkLst>
          <pc:docMk/>
          <pc:sldMk cId="2872389202" sldId="2147475972"/>
        </pc:sldMkLst>
      </pc:sldChg>
      <pc:sldChg chg="add">
        <pc:chgData name="Aleš Jakubec" userId="f9076b39-23b9-49be-9fd0-a8e45338f8b4" providerId="ADAL" clId="{BF5C4079-3CD0-4F69-A84E-7918EA6D589B}" dt="2025-11-26T20:33:33.676" v="693"/>
        <pc:sldMkLst>
          <pc:docMk/>
          <pc:sldMk cId="2744246579" sldId="2147476037"/>
        </pc:sldMkLst>
      </pc:sldChg>
      <pc:sldChg chg="add">
        <pc:chgData name="Aleš Jakubec" userId="f9076b39-23b9-49be-9fd0-a8e45338f8b4" providerId="ADAL" clId="{BF5C4079-3CD0-4F69-A84E-7918EA6D589B}" dt="2025-11-26T16:03:17.116" v="509"/>
        <pc:sldMkLst>
          <pc:docMk/>
          <pc:sldMk cId="2774724705" sldId="2147476080"/>
        </pc:sldMkLst>
      </pc:sldChg>
      <pc:sldChg chg="modSp add mod">
        <pc:chgData name="Aleš Jakubec" userId="f9076b39-23b9-49be-9fd0-a8e45338f8b4" providerId="ADAL" clId="{BF5C4079-3CD0-4F69-A84E-7918EA6D589B}" dt="2025-11-26T15:59:14.312" v="508" actId="20577"/>
        <pc:sldMkLst>
          <pc:docMk/>
          <pc:sldMk cId="0" sldId="2147476083"/>
        </pc:sldMkLst>
        <pc:spChg chg="mod">
          <ac:chgData name="Aleš Jakubec" userId="f9076b39-23b9-49be-9fd0-a8e45338f8b4" providerId="ADAL" clId="{BF5C4079-3CD0-4F69-A84E-7918EA6D589B}" dt="2025-11-26T15:59:14.312" v="508" actId="20577"/>
          <ac:spMkLst>
            <pc:docMk/>
            <pc:sldMk cId="0" sldId="2147476083"/>
            <ac:spMk id="8" creationId="{00000000-0000-0000-0000-000000000000}"/>
          </ac:spMkLst>
        </pc:spChg>
      </pc:sldChg>
      <pc:sldChg chg="modSp add mod">
        <pc:chgData name="Aleš Jakubec" userId="f9076b39-23b9-49be-9fd0-a8e45338f8b4" providerId="ADAL" clId="{BF5C4079-3CD0-4F69-A84E-7918EA6D589B}" dt="2025-11-26T15:57:21.932" v="442" actId="6549"/>
        <pc:sldMkLst>
          <pc:docMk/>
          <pc:sldMk cId="0" sldId="2147476084"/>
        </pc:sldMkLst>
        <pc:spChg chg="mod">
          <ac:chgData name="Aleš Jakubec" userId="f9076b39-23b9-49be-9fd0-a8e45338f8b4" providerId="ADAL" clId="{BF5C4079-3CD0-4F69-A84E-7918EA6D589B}" dt="2025-11-26T15:57:21.932" v="442" actId="6549"/>
          <ac:spMkLst>
            <pc:docMk/>
            <pc:sldMk cId="0" sldId="2147476084"/>
            <ac:spMk id="2" creationId="{00000000-0000-0000-0000-000000000000}"/>
          </ac:spMkLst>
        </pc:spChg>
      </pc:sldChg>
      <pc:sldChg chg="modSp add mod ord setBg">
        <pc:chgData name="Aleš Jakubec" userId="f9076b39-23b9-49be-9fd0-a8e45338f8b4" providerId="ADAL" clId="{BF5C4079-3CD0-4F69-A84E-7918EA6D589B}" dt="2025-11-26T22:35:30.239" v="1710"/>
        <pc:sldMkLst>
          <pc:docMk/>
          <pc:sldMk cId="3913716171" sldId="2147476311"/>
        </pc:sldMkLst>
        <pc:spChg chg="mod">
          <ac:chgData name="Aleš Jakubec" userId="f9076b39-23b9-49be-9fd0-a8e45338f8b4" providerId="ADAL" clId="{BF5C4079-3CD0-4F69-A84E-7918EA6D589B}" dt="2025-11-26T21:36:26.958" v="932" actId="20577"/>
          <ac:spMkLst>
            <pc:docMk/>
            <pc:sldMk cId="3913716171" sldId="2147476311"/>
            <ac:spMk id="6" creationId="{88B80F95-1E0F-AB96-D9D9-F1FBB0E1F672}"/>
          </ac:spMkLst>
        </pc:spChg>
        <pc:spChg chg="mod">
          <ac:chgData name="Aleš Jakubec" userId="f9076b39-23b9-49be-9fd0-a8e45338f8b4" providerId="ADAL" clId="{BF5C4079-3CD0-4F69-A84E-7918EA6D589B}" dt="2025-11-26T21:36:12.451" v="887" actId="20577"/>
          <ac:spMkLst>
            <pc:docMk/>
            <pc:sldMk cId="3913716171" sldId="2147476311"/>
            <ac:spMk id="7" creationId="{76420993-8B72-9D2F-6F1F-EBDC469BF05C}"/>
          </ac:spMkLst>
        </pc:spChg>
      </pc:sldChg>
      <pc:sldChg chg="add">
        <pc:chgData name="Aleš Jakubec" userId="f9076b39-23b9-49be-9fd0-a8e45338f8b4" providerId="ADAL" clId="{BF5C4079-3CD0-4F69-A84E-7918EA6D589B}" dt="2025-11-26T16:12:20.470" v="689"/>
        <pc:sldMkLst>
          <pc:docMk/>
          <pc:sldMk cId="13502363" sldId="2147476328"/>
        </pc:sldMkLst>
      </pc:sldChg>
      <pc:sldChg chg="add ord">
        <pc:chgData name="Aleš Jakubec" userId="f9076b39-23b9-49be-9fd0-a8e45338f8b4" providerId="ADAL" clId="{BF5C4079-3CD0-4F69-A84E-7918EA6D589B}" dt="2025-11-26T22:35:22.423" v="1708"/>
        <pc:sldMkLst>
          <pc:docMk/>
          <pc:sldMk cId="263098019" sldId="2147476363"/>
        </pc:sldMkLst>
      </pc:sldChg>
      <pc:sldChg chg="add">
        <pc:chgData name="Aleš Jakubec" userId="f9076b39-23b9-49be-9fd0-a8e45338f8b4" providerId="ADAL" clId="{BF5C4079-3CD0-4F69-A84E-7918EA6D589B}" dt="2025-11-26T15:38:44.211" v="87"/>
        <pc:sldMkLst>
          <pc:docMk/>
          <pc:sldMk cId="1667003111" sldId="2147476444"/>
        </pc:sldMkLst>
      </pc:sldChg>
      <pc:sldChg chg="add">
        <pc:chgData name="Aleš Jakubec" userId="f9076b39-23b9-49be-9fd0-a8e45338f8b4" providerId="ADAL" clId="{BF5C4079-3CD0-4F69-A84E-7918EA6D589B}" dt="2025-11-26T15:39:40.314" v="88"/>
        <pc:sldMkLst>
          <pc:docMk/>
          <pc:sldMk cId="1297989060" sldId="2147479065"/>
        </pc:sldMkLst>
      </pc:sldChg>
      <pc:sldChg chg="add setBg">
        <pc:chgData name="Aleš Jakubec" userId="f9076b39-23b9-49be-9fd0-a8e45338f8b4" providerId="ADAL" clId="{BF5C4079-3CD0-4F69-A84E-7918EA6D589B}" dt="2025-11-26T16:11:50.855" v="688"/>
        <pc:sldMkLst>
          <pc:docMk/>
          <pc:sldMk cId="3121254843" sldId="2147481295"/>
        </pc:sldMkLst>
      </pc:sldChg>
      <pc:sldChg chg="add">
        <pc:chgData name="Aleš Jakubec" userId="f9076b39-23b9-49be-9fd0-a8e45338f8b4" providerId="ADAL" clId="{BF5C4079-3CD0-4F69-A84E-7918EA6D589B}" dt="2025-11-26T16:11:30.287" v="687"/>
        <pc:sldMkLst>
          <pc:docMk/>
          <pc:sldMk cId="154868928" sldId="2147481300"/>
        </pc:sldMkLst>
      </pc:sldChg>
      <pc:sldChg chg="add">
        <pc:chgData name="Aleš Jakubec" userId="f9076b39-23b9-49be-9fd0-a8e45338f8b4" providerId="ADAL" clId="{BF5C4079-3CD0-4F69-A84E-7918EA6D589B}" dt="2025-11-26T16:11:30.287" v="687"/>
        <pc:sldMkLst>
          <pc:docMk/>
          <pc:sldMk cId="2499328284" sldId="2147481301"/>
        </pc:sldMkLst>
      </pc:sldChg>
      <pc:sldChg chg="modSp add del mod">
        <pc:chgData name="Aleš Jakubec" userId="f9076b39-23b9-49be-9fd0-a8e45338f8b4" providerId="ADAL" clId="{BF5C4079-3CD0-4F69-A84E-7918EA6D589B}" dt="2025-11-26T22:22:42.703" v="1173" actId="47"/>
        <pc:sldMkLst>
          <pc:docMk/>
          <pc:sldMk cId="534562037" sldId="2147481575"/>
        </pc:sldMkLst>
        <pc:spChg chg="mod">
          <ac:chgData name="Aleš Jakubec" userId="f9076b39-23b9-49be-9fd0-a8e45338f8b4" providerId="ADAL" clId="{BF5C4079-3CD0-4F69-A84E-7918EA6D589B}" dt="2025-11-26T22:18:55.413" v="1138" actId="14100"/>
          <ac:spMkLst>
            <pc:docMk/>
            <pc:sldMk cId="534562037" sldId="2147481575"/>
            <ac:spMk id="10" creationId="{9EA9B97C-D27F-74B1-9EF2-973416A235A8}"/>
          </ac:spMkLst>
        </pc:spChg>
        <pc:spChg chg="mod">
          <ac:chgData name="Aleš Jakubec" userId="f9076b39-23b9-49be-9fd0-a8e45338f8b4" providerId="ADAL" clId="{BF5C4079-3CD0-4F69-A84E-7918EA6D589B}" dt="2025-11-26T15:41:06.780" v="105" actId="1076"/>
          <ac:spMkLst>
            <pc:docMk/>
            <pc:sldMk cId="534562037" sldId="2147481575"/>
            <ac:spMk id="20" creationId="{79C8BBEA-AB79-07CE-4D0F-FE684EA72270}"/>
          </ac:spMkLst>
        </pc:spChg>
      </pc:sldChg>
      <pc:sldChg chg="add">
        <pc:chgData name="Aleš Jakubec" userId="f9076b39-23b9-49be-9fd0-a8e45338f8b4" providerId="ADAL" clId="{BF5C4079-3CD0-4F69-A84E-7918EA6D589B}" dt="2025-11-26T16:08:17.557" v="510"/>
        <pc:sldMkLst>
          <pc:docMk/>
          <pc:sldMk cId="0" sldId="2147481576"/>
        </pc:sldMkLst>
      </pc:sldChg>
      <pc:sldChg chg="add del">
        <pc:chgData name="Aleš Jakubec" userId="f9076b39-23b9-49be-9fd0-a8e45338f8b4" providerId="ADAL" clId="{BF5C4079-3CD0-4F69-A84E-7918EA6D589B}" dt="2025-11-26T16:08:47.597" v="512" actId="47"/>
        <pc:sldMkLst>
          <pc:docMk/>
          <pc:sldMk cId="471909813" sldId="2147481577"/>
        </pc:sldMkLst>
      </pc:sldChg>
      <pc:sldChg chg="modSp add mod">
        <pc:chgData name="Aleš Jakubec" userId="f9076b39-23b9-49be-9fd0-a8e45338f8b4" providerId="ADAL" clId="{BF5C4079-3CD0-4F69-A84E-7918EA6D589B}" dt="2025-11-26T16:09:52.895" v="685" actId="20577"/>
        <pc:sldMkLst>
          <pc:docMk/>
          <pc:sldMk cId="1850672757" sldId="2147481577"/>
        </pc:sldMkLst>
        <pc:spChg chg="mod">
          <ac:chgData name="Aleš Jakubec" userId="f9076b39-23b9-49be-9fd0-a8e45338f8b4" providerId="ADAL" clId="{BF5C4079-3CD0-4F69-A84E-7918EA6D589B}" dt="2025-11-26T16:09:52.895" v="685" actId="20577"/>
          <ac:spMkLst>
            <pc:docMk/>
            <pc:sldMk cId="1850672757" sldId="2147481577"/>
            <ac:spMk id="8" creationId="{8D6BE614-5773-458B-8225-8C8EBE6749D0}"/>
          </ac:spMkLst>
        </pc:spChg>
      </pc:sldChg>
      <pc:sldChg chg="add del ord">
        <pc:chgData name="Aleš Jakubec" userId="f9076b39-23b9-49be-9fd0-a8e45338f8b4" providerId="ADAL" clId="{BF5C4079-3CD0-4F69-A84E-7918EA6D589B}" dt="2025-11-26T23:36:53.739" v="1745" actId="47"/>
        <pc:sldMkLst>
          <pc:docMk/>
          <pc:sldMk cId="3406917215" sldId="2147481578"/>
        </pc:sldMkLst>
      </pc:sldChg>
      <pc:sldChg chg="add ord">
        <pc:chgData name="Aleš Jakubec" userId="f9076b39-23b9-49be-9fd0-a8e45338f8b4" providerId="ADAL" clId="{BF5C4079-3CD0-4F69-A84E-7918EA6D589B}" dt="2025-11-26T21:50:42.014" v="1040"/>
        <pc:sldMkLst>
          <pc:docMk/>
          <pc:sldMk cId="1938972036" sldId="2147481579"/>
        </pc:sldMkLst>
      </pc:sldChg>
      <pc:sldChg chg="addSp delSp modSp add mod ord">
        <pc:chgData name="Aleš Jakubec" userId="f9076b39-23b9-49be-9fd0-a8e45338f8b4" providerId="ADAL" clId="{BF5C4079-3CD0-4F69-A84E-7918EA6D589B}" dt="2025-11-26T23:36:40.349" v="1744"/>
        <pc:sldMkLst>
          <pc:docMk/>
          <pc:sldMk cId="1479270361" sldId="2147481580"/>
        </pc:sldMkLst>
        <pc:spChg chg="mod">
          <ac:chgData name="Aleš Jakubec" userId="f9076b39-23b9-49be-9fd0-a8e45338f8b4" providerId="ADAL" clId="{BF5C4079-3CD0-4F69-A84E-7918EA6D589B}" dt="2025-11-26T23:36:09.675" v="1734" actId="6549"/>
          <ac:spMkLst>
            <pc:docMk/>
            <pc:sldMk cId="1479270361" sldId="2147481580"/>
            <ac:spMk id="2" creationId="{D18052C5-A117-0101-58F1-02A49929C5A3}"/>
          </ac:spMkLst>
        </pc:spChg>
        <pc:spChg chg="mod">
          <ac:chgData name="Aleš Jakubec" userId="f9076b39-23b9-49be-9fd0-a8e45338f8b4" providerId="ADAL" clId="{BF5C4079-3CD0-4F69-A84E-7918EA6D589B}" dt="2025-11-26T23:35:50.869" v="1727" actId="20577"/>
          <ac:spMkLst>
            <pc:docMk/>
            <pc:sldMk cId="1479270361" sldId="2147481580"/>
            <ac:spMk id="3" creationId="{631F31C7-3EAB-211D-2EC2-7FCC2AAA7C47}"/>
          </ac:spMkLst>
        </pc:spChg>
        <pc:spChg chg="mod">
          <ac:chgData name="Aleš Jakubec" userId="f9076b39-23b9-49be-9fd0-a8e45338f8b4" providerId="ADAL" clId="{BF5C4079-3CD0-4F69-A84E-7918EA6D589B}" dt="2025-11-26T23:36:21.504" v="1739" actId="20577"/>
          <ac:spMkLst>
            <pc:docMk/>
            <pc:sldMk cId="1479270361" sldId="2147481580"/>
            <ac:spMk id="7" creationId="{1A3A5166-0301-6718-D67A-840E6945D28E}"/>
          </ac:spMkLst>
        </pc:spChg>
        <pc:picChg chg="add mod">
          <ac:chgData name="Aleš Jakubec" userId="f9076b39-23b9-49be-9fd0-a8e45338f8b4" providerId="ADAL" clId="{BF5C4079-3CD0-4F69-A84E-7918EA6D589B}" dt="2025-11-26T23:36:28.684" v="1742" actId="14100"/>
          <ac:picMkLst>
            <pc:docMk/>
            <pc:sldMk cId="1479270361" sldId="2147481580"/>
            <ac:picMk id="4" creationId="{7360270D-82F7-7FE2-47DF-23C7480A6D5E}"/>
          </ac:picMkLst>
        </pc:picChg>
        <pc:picChg chg="add mod">
          <ac:chgData name="Aleš Jakubec" userId="f9076b39-23b9-49be-9fd0-a8e45338f8b4" providerId="ADAL" clId="{BF5C4079-3CD0-4F69-A84E-7918EA6D589B}" dt="2025-11-26T23:35:48.016" v="1726" actId="1076"/>
          <ac:picMkLst>
            <pc:docMk/>
            <pc:sldMk cId="1479270361" sldId="2147481580"/>
            <ac:picMk id="6" creationId="{F3498E12-7224-CD8B-0EB3-C711109A6403}"/>
          </ac:picMkLst>
        </pc:picChg>
        <pc:picChg chg="del">
          <ac:chgData name="Aleš Jakubec" userId="f9076b39-23b9-49be-9fd0-a8e45338f8b4" providerId="ADAL" clId="{BF5C4079-3CD0-4F69-A84E-7918EA6D589B}" dt="2025-11-26T23:35:38.772" v="1720" actId="478"/>
          <ac:picMkLst>
            <pc:docMk/>
            <pc:sldMk cId="1479270361" sldId="2147481580"/>
            <ac:picMk id="10" creationId="{EFAD2802-3B0B-3332-6733-D9D465E9D7C3}"/>
          </ac:picMkLst>
        </pc:picChg>
        <pc:picChg chg="del">
          <ac:chgData name="Aleš Jakubec" userId="f9076b39-23b9-49be-9fd0-a8e45338f8b4" providerId="ADAL" clId="{BF5C4079-3CD0-4F69-A84E-7918EA6D589B}" dt="2025-11-26T23:35:10.998" v="1717" actId="478"/>
          <ac:picMkLst>
            <pc:docMk/>
            <pc:sldMk cId="1479270361" sldId="2147481580"/>
            <ac:picMk id="12" creationId="{A8DEEE39-21B4-EE84-32F0-B4C78F180F6E}"/>
          </ac:picMkLst>
        </pc:picChg>
      </pc:sldChg>
      <pc:sldMasterChg chg="delSldLayout">
        <pc:chgData name="Aleš Jakubec" userId="f9076b39-23b9-49be-9fd0-a8e45338f8b4" providerId="ADAL" clId="{BF5C4079-3CD0-4F69-A84E-7918EA6D589B}" dt="2025-11-26T22:22:42.703" v="1173" actId="47"/>
        <pc:sldMasterMkLst>
          <pc:docMk/>
          <pc:sldMasterMk cId="249218447" sldId="2147483648"/>
        </pc:sldMasterMkLst>
        <pc:sldLayoutChg chg="del">
          <pc:chgData name="Aleš Jakubec" userId="f9076b39-23b9-49be-9fd0-a8e45338f8b4" providerId="ADAL" clId="{BF5C4079-3CD0-4F69-A84E-7918EA6D589B}" dt="2025-11-26T22:22:42.703" v="1173" actId="47"/>
          <pc:sldLayoutMkLst>
            <pc:docMk/>
            <pc:sldMasterMk cId="249218447" sldId="2147483648"/>
            <pc:sldLayoutMk cId="3807722059" sldId="2147483668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54FC841-184F-4607-9878-D501C1A91C8B}" type="datetimeFigureOut">
              <a:rPr lang="de-DE" smtClean="0"/>
              <a:t>27.11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AD66703-DD7F-4F9E-BBEB-B07210500650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383726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860B486-4D78-5E1A-3174-9FF4F99BE4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48E02711-8A5A-C691-B7C5-354D2CB9F95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1D1850E5-59C5-0DC7-C6F9-29F84E9AC31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8DCE937-813D-E0FA-208D-38EB34B210B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D66703-DD7F-4F9E-BBEB-B07210500650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599526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is slide illustrates our global footprint — or more precisely, our </a:t>
            </a:r>
            <a:r>
              <a:rPr lang="en-US" i="1" dirty="0" err="1"/>
              <a:t>glocal</a:t>
            </a:r>
            <a:r>
              <a:rPr lang="en-US" dirty="0"/>
              <a:t> presence: the combination of global reach with local customer proximity.</a:t>
            </a:r>
          </a:p>
          <a:p>
            <a:r>
              <a:rPr lang="en-US" b="1" dirty="0"/>
              <a:t>Our three strong regions</a:t>
            </a:r>
            <a:r>
              <a:rPr lang="en-US" dirty="0"/>
              <a:t> are:</a:t>
            </a:r>
          </a:p>
          <a:p>
            <a:r>
              <a:rPr lang="en-US" b="1" dirty="0"/>
              <a:t>Americas</a:t>
            </a:r>
            <a:endParaRPr lang="en-US" dirty="0"/>
          </a:p>
          <a:p>
            <a:r>
              <a:rPr lang="en-US" b="1" dirty="0"/>
              <a:t>Europe</a:t>
            </a:r>
            <a:endParaRPr lang="en-US" dirty="0"/>
          </a:p>
          <a:p>
            <a:r>
              <a:rPr lang="en-US" b="1" dirty="0"/>
              <a:t>APAC (Asia-Pacific)</a:t>
            </a:r>
            <a:endParaRPr lang="en-US" dirty="0"/>
          </a:p>
          <a:p>
            <a:r>
              <a:rPr lang="en-US" dirty="0"/>
              <a:t>Across the globe, we operate with:</a:t>
            </a:r>
          </a:p>
          <a:p>
            <a:r>
              <a:rPr lang="en-US" b="1" dirty="0"/>
              <a:t>25 production sites</a:t>
            </a:r>
            <a:r>
              <a:rPr lang="en-US" dirty="0"/>
              <a:t>,</a:t>
            </a:r>
          </a:p>
          <a:p>
            <a:r>
              <a:rPr lang="en-US" b="1" dirty="0"/>
              <a:t>49 sales offices</a:t>
            </a:r>
            <a:r>
              <a:rPr lang="en-US" dirty="0"/>
              <a:t>,</a:t>
            </a:r>
          </a:p>
          <a:p>
            <a:r>
              <a:rPr lang="en-US" dirty="0"/>
              <a:t>active presence in </a:t>
            </a:r>
            <a:r>
              <a:rPr lang="en-US" b="1" dirty="0"/>
              <a:t>40 countries</a:t>
            </a:r>
            <a:r>
              <a:rPr lang="en-US" dirty="0"/>
              <a:t>,</a:t>
            </a:r>
          </a:p>
          <a:p>
            <a:r>
              <a:rPr lang="en-US" dirty="0"/>
              <a:t>and employees from </a:t>
            </a:r>
            <a:r>
              <a:rPr lang="en-US" b="1" dirty="0"/>
              <a:t>130 nationalities</a:t>
            </a:r>
            <a:r>
              <a:rPr lang="en-US" dirty="0"/>
              <a:t>.</a:t>
            </a:r>
          </a:p>
          <a:p>
            <a:r>
              <a:rPr lang="en-US" dirty="0"/>
              <a:t>This international structure, supported by </a:t>
            </a:r>
            <a:r>
              <a:rPr lang="en-US" i="1" dirty="0"/>
              <a:t>end-to-end processes</a:t>
            </a:r>
            <a:r>
              <a:rPr lang="en-US" dirty="0"/>
              <a:t>, ensures:</a:t>
            </a:r>
          </a:p>
          <a:p>
            <a:r>
              <a:rPr lang="en-US" dirty="0"/>
              <a:t>high </a:t>
            </a:r>
            <a:r>
              <a:rPr lang="en-US" b="1" dirty="0"/>
              <a:t>speed</a:t>
            </a:r>
            <a:r>
              <a:rPr lang="en-US" dirty="0"/>
              <a:t>,</a:t>
            </a:r>
          </a:p>
          <a:p>
            <a:r>
              <a:rPr lang="en-US" dirty="0"/>
              <a:t>strong </a:t>
            </a:r>
            <a:r>
              <a:rPr lang="en-US" b="1" dirty="0"/>
              <a:t>customer focus</a:t>
            </a:r>
            <a:r>
              <a:rPr lang="en-US" dirty="0"/>
              <a:t>,</a:t>
            </a:r>
          </a:p>
          <a:p>
            <a:r>
              <a:rPr lang="en-US" dirty="0"/>
              <a:t>and seamless project execution — wherever our customers are.</a:t>
            </a:r>
          </a:p>
          <a:p>
            <a:r>
              <a:rPr lang="en-US" dirty="0"/>
              <a:t>Some key highlights include:</a:t>
            </a:r>
          </a:p>
          <a:p>
            <a:r>
              <a:rPr lang="en-US" b="1" dirty="0"/>
              <a:t>Telford, UK</a:t>
            </a:r>
            <a:r>
              <a:rPr lang="en-US" dirty="0"/>
              <a:t>: New building with 13,000 m²</a:t>
            </a:r>
          </a:p>
          <a:p>
            <a:r>
              <a:rPr lang="en-US" b="1" dirty="0"/>
              <a:t>Shanghai, China</a:t>
            </a:r>
            <a:r>
              <a:rPr lang="en-US" dirty="0"/>
              <a:t>: Facility expansion of 13,000 m²</a:t>
            </a:r>
          </a:p>
          <a:p>
            <a:r>
              <a:rPr lang="en-US" b="1" dirty="0"/>
              <a:t>Xi’an, China</a:t>
            </a:r>
            <a:r>
              <a:rPr lang="en-US" dirty="0"/>
              <a:t>: New building with 27,000 m²</a:t>
            </a:r>
          </a:p>
          <a:p>
            <a:r>
              <a:rPr lang="en-US" b="1" dirty="0"/>
              <a:t>India</a:t>
            </a:r>
            <a:r>
              <a:rPr lang="en-US" dirty="0"/>
              <a:t>: Development of an IT/Digital Hub with 2,800 m²</a:t>
            </a:r>
          </a:p>
          <a:p>
            <a:r>
              <a:rPr lang="en-US" dirty="0"/>
              <a:t>These investments reflect our commitment to being close to our markets and leading in technology worldwide.</a:t>
            </a:r>
          </a:p>
          <a:p>
            <a:pPr marL="0" indent="0" algn="l">
              <a:buFontTx/>
              <a:buNone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D66703-DD7F-4F9E-BBEB-B07210500650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2406840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D66703-DD7F-4F9E-BBEB-B07210500650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9862198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>
              <a:latin typeface="Corbel" panose="020B0503020204020204" pitchFamily="34" charset="0"/>
            </a:endParaRPr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pfzeil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um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ußzeil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D0C4986-5504-4132-8EBD-03CFE2B37CBB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8058061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634286-4010-FD3A-58DA-2FC98A8776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>
            <a:extLst>
              <a:ext uri="{FF2B5EF4-FFF2-40B4-BE49-F238E27FC236}">
                <a16:creationId xmlns:a16="http://schemas.microsoft.com/office/drawing/2014/main" id="{92976E52-3C1C-E932-04F3-C9EBF85387C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>
            <a:extLst>
              <a:ext uri="{FF2B5EF4-FFF2-40B4-BE49-F238E27FC236}">
                <a16:creationId xmlns:a16="http://schemas.microsoft.com/office/drawing/2014/main" id="{643F55E7-5134-BF68-777D-D714A8E3006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Proč měnit zrovna ventilátory</a:t>
            </a:r>
            <a:r>
              <a:rPr lang="cs-CZ" baseline="0" dirty="0"/>
              <a:t> a proč EC ventilátory </a:t>
            </a:r>
          </a:p>
          <a:p>
            <a:r>
              <a:rPr lang="cs-CZ" baseline="0" dirty="0"/>
              <a:t>Protože ventilátory ve VZT spotřebovávají až 50 % veškeré dodané energie </a:t>
            </a:r>
          </a:p>
          <a:p>
            <a:r>
              <a:rPr lang="cs-CZ" baseline="0" dirty="0"/>
              <a:t>Ale vedou nás k tomu také další důvody: </a:t>
            </a:r>
          </a:p>
          <a:p>
            <a:pPr marL="171450" indent="-171450">
              <a:buFontTx/>
              <a:buChar char="-"/>
            </a:pPr>
            <a:r>
              <a:rPr lang="cs-CZ" baseline="0" dirty="0"/>
              <a:t>optimalizace či </a:t>
            </a:r>
            <a:r>
              <a:rPr lang="cs-CZ" baseline="0" dirty="0" err="1"/>
              <a:t>připadné</a:t>
            </a:r>
            <a:r>
              <a:rPr lang="cs-CZ" baseline="0" dirty="0"/>
              <a:t> navýšení výkonu jednotek (v našem případě na návrhové (štítkové hodnoty)</a:t>
            </a:r>
          </a:p>
          <a:p>
            <a:pPr marL="171450" indent="-171450">
              <a:buFontTx/>
              <a:buChar char="-"/>
            </a:pPr>
            <a:r>
              <a:rPr lang="cs-CZ" baseline="0" dirty="0"/>
              <a:t>Kontrolní měření fy. LUWEX z roku 2019</a:t>
            </a:r>
          </a:p>
          <a:p>
            <a:pPr marL="171450" indent="-171450">
              <a:buFontTx/>
              <a:buChar char="-"/>
            </a:pPr>
            <a:r>
              <a:rPr lang="cs-CZ" baseline="0" dirty="0"/>
              <a:t>Závěr zprávy tvrdí: </a:t>
            </a:r>
            <a:r>
              <a:rPr lang="cs-CZ" b="1" baseline="0" dirty="0"/>
              <a:t>Tam, kde bylo zjištěn velký tlak v potrubí či nesoulad s profesí </a:t>
            </a:r>
            <a:r>
              <a:rPr lang="cs-CZ" b="1" baseline="0" dirty="0" err="1"/>
              <a:t>MaR</a:t>
            </a:r>
            <a:r>
              <a:rPr lang="cs-CZ" b="1" baseline="0" dirty="0"/>
              <a:t>, je tento stav zvýrazněn žlutě.</a:t>
            </a:r>
          </a:p>
          <a:p>
            <a:pPr marL="171450" indent="-171450">
              <a:buFontTx/>
              <a:buChar char="-"/>
            </a:pPr>
            <a:r>
              <a:rPr lang="cs-CZ" b="0" baseline="0" dirty="0"/>
              <a:t>Náš návrh počítá s uvedením do návrhového (projektovaného) stavu – jen tak je možno zajistit bezproblémový stav</a:t>
            </a:r>
          </a:p>
          <a:p>
            <a:pPr marL="171450" indent="-171450">
              <a:buFontTx/>
              <a:buChar char="-"/>
            </a:pPr>
            <a:r>
              <a:rPr lang="cs-CZ" baseline="0" dirty="0"/>
              <a:t>Úspora energií </a:t>
            </a:r>
          </a:p>
          <a:p>
            <a:pPr marL="171450" indent="-171450">
              <a:buFontTx/>
              <a:buChar char="-"/>
            </a:pPr>
            <a:r>
              <a:rPr lang="cs-CZ" baseline="0" dirty="0"/>
              <a:t>Ale také legislativní požadavky, ke kterým se dostanu za pár slajdů  </a:t>
            </a:r>
            <a:endParaRPr lang="cs-CZ" dirty="0"/>
          </a:p>
        </p:txBody>
      </p:sp>
      <p:sp>
        <p:nvSpPr>
          <p:cNvPr id="4" name="Zástupný symbol pro záhlaví 3">
            <a:extLst>
              <a:ext uri="{FF2B5EF4-FFF2-40B4-BE49-F238E27FC236}">
                <a16:creationId xmlns:a16="http://schemas.microsoft.com/office/drawing/2014/main" id="{68E52CB5-1C60-055A-E1A4-84BDE207CFAE}"/>
              </a:ext>
            </a:extLst>
          </p:cNvPr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opfzeile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BB87F004-0812-1D0C-B88F-FB47A5557DE4}"/>
              </a:ext>
            </a:extLst>
          </p:cNvPr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um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F34A834E-EA6C-A11F-A672-4B08870ECD7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ußzeile</a:t>
            </a:r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0BC7637E-56BA-A3A7-1B65-52C5D1434AB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D0C4986-5504-4132-8EBD-03CFE2B37CBB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1920627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C442D4-8417-5376-8C82-1C8068AC0F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A9E570B7-216E-4E93-2319-4C2FAF9284B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94A1DC13-1132-19F9-1B7C-C64E4AEAAB2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Calibri"/>
              <a:cs typeface="Calibri"/>
            </a:endParaRP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F801F531-A9D9-2F92-886A-220AEC1FE0B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D66703-DD7F-4F9E-BBEB-B07210500650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2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9123009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Poslední</a:t>
            </a:r>
            <a:r>
              <a:rPr lang="cs-CZ" baseline="0" dirty="0"/>
              <a:t> realizace </a:t>
            </a:r>
            <a:r>
              <a:rPr lang="cs-CZ" baseline="0" dirty="0" err="1"/>
              <a:t>retrofitu</a:t>
            </a:r>
            <a:r>
              <a:rPr lang="cs-CZ" baseline="0" dirty="0"/>
              <a:t> </a:t>
            </a:r>
            <a:r>
              <a:rPr lang="cs-CZ" baseline="0" dirty="0" err="1"/>
              <a:t>ebm</a:t>
            </a:r>
            <a:r>
              <a:rPr lang="cs-CZ" baseline="0" dirty="0"/>
              <a:t> </a:t>
            </a:r>
            <a:r>
              <a:rPr lang="cs-CZ" baseline="0" dirty="0" err="1"/>
              <a:t>papst</a:t>
            </a:r>
            <a:r>
              <a:rPr lang="cs-CZ" baseline="0" dirty="0"/>
              <a:t> ve světě</a:t>
            </a:r>
          </a:p>
          <a:p>
            <a:pPr marL="171450" indent="-171450">
              <a:buFontTx/>
              <a:buChar char="-"/>
            </a:pPr>
            <a:r>
              <a:rPr lang="cs-CZ" baseline="0" dirty="0"/>
              <a:t>Projekt z léta 2020 </a:t>
            </a:r>
          </a:p>
          <a:p>
            <a:pPr marL="171450" indent="-171450">
              <a:buFontTx/>
              <a:buChar char="-"/>
            </a:pPr>
            <a:r>
              <a:rPr lang="cs-CZ" baseline="0" dirty="0"/>
              <a:t>Renovace nákupního centra v </a:t>
            </a:r>
            <a:r>
              <a:rPr lang="cs-CZ" baseline="0" dirty="0" err="1"/>
              <a:t>Birkdale</a:t>
            </a:r>
            <a:r>
              <a:rPr lang="cs-CZ" baseline="0" dirty="0"/>
              <a:t>, sice v Austrálii, ale je to poslední </a:t>
            </a:r>
            <a:r>
              <a:rPr lang="cs-CZ" baseline="0" dirty="0" err="1"/>
              <a:t>veklá</a:t>
            </a:r>
            <a:r>
              <a:rPr lang="cs-CZ" baseline="0" dirty="0"/>
              <a:t> realizace a reference</a:t>
            </a:r>
          </a:p>
          <a:p>
            <a:pPr marL="171450" indent="-171450">
              <a:buFontTx/>
              <a:buChar char="-"/>
            </a:pPr>
            <a:r>
              <a:rPr lang="cs-CZ" baseline="0" dirty="0"/>
              <a:t>- doufám, že další </a:t>
            </a:r>
            <a:r>
              <a:rPr lang="cs-CZ" baseline="0" dirty="0" err="1"/>
              <a:t>úspésnou</a:t>
            </a:r>
            <a:r>
              <a:rPr lang="cs-CZ" baseline="0" dirty="0"/>
              <a:t> bude i OC Chodov </a:t>
            </a:r>
          </a:p>
          <a:p>
            <a:pPr marL="171450" indent="-171450">
              <a:buFontTx/>
              <a:buChar char="-"/>
            </a:pPr>
            <a:endParaRPr lang="cs-CZ" dirty="0"/>
          </a:p>
        </p:txBody>
      </p:sp>
      <p:sp>
        <p:nvSpPr>
          <p:cNvPr id="4" name="Zástupný symbol pro záhlaví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opfzeile</a:t>
            </a:r>
          </a:p>
        </p:txBody>
      </p:sp>
      <p:sp>
        <p:nvSpPr>
          <p:cNvPr id="5" name="Zástupný symbol pro datum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um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ußzeile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D0C4986-5504-4132-8EBD-03CFE2B37CBB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3971077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60FF27-1135-C273-B177-748294EE0F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>
            <a:extLst>
              <a:ext uri="{FF2B5EF4-FFF2-40B4-BE49-F238E27FC236}">
                <a16:creationId xmlns:a16="http://schemas.microsoft.com/office/drawing/2014/main" id="{A3DD8D1D-946B-4CCA-2FCC-096F8E7ED6A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>
            <a:extLst>
              <a:ext uri="{FF2B5EF4-FFF2-40B4-BE49-F238E27FC236}">
                <a16:creationId xmlns:a16="http://schemas.microsoft.com/office/drawing/2014/main" id="{9751102E-1CDB-19CA-CE88-0946B07D32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Proč měnit zrovna ventilátory</a:t>
            </a:r>
            <a:r>
              <a:rPr lang="cs-CZ" baseline="0" dirty="0"/>
              <a:t> a proč EC ventilátory </a:t>
            </a:r>
          </a:p>
          <a:p>
            <a:r>
              <a:rPr lang="cs-CZ" baseline="0" dirty="0"/>
              <a:t>Protože ventilátory ve VZT spotřebovávají až 50 % veškeré dodané energie </a:t>
            </a:r>
          </a:p>
          <a:p>
            <a:r>
              <a:rPr lang="cs-CZ" baseline="0" dirty="0"/>
              <a:t>Ale vedou nás k tomu také další důvody: </a:t>
            </a:r>
          </a:p>
          <a:p>
            <a:pPr marL="171450" indent="-171450">
              <a:buFontTx/>
              <a:buChar char="-"/>
            </a:pPr>
            <a:r>
              <a:rPr lang="cs-CZ" baseline="0" dirty="0"/>
              <a:t>optimalizace či </a:t>
            </a:r>
            <a:r>
              <a:rPr lang="cs-CZ" baseline="0" dirty="0" err="1"/>
              <a:t>připadné</a:t>
            </a:r>
            <a:r>
              <a:rPr lang="cs-CZ" baseline="0" dirty="0"/>
              <a:t> navýšení výkonu jednotek (v našem případě na návrhové (štítkové hodnoty)</a:t>
            </a:r>
          </a:p>
          <a:p>
            <a:pPr marL="171450" indent="-171450">
              <a:buFontTx/>
              <a:buChar char="-"/>
            </a:pPr>
            <a:r>
              <a:rPr lang="cs-CZ" baseline="0" dirty="0"/>
              <a:t>Kontrolní měření fy. LUWEX z roku 2019</a:t>
            </a:r>
          </a:p>
          <a:p>
            <a:pPr marL="171450" indent="-171450">
              <a:buFontTx/>
              <a:buChar char="-"/>
            </a:pPr>
            <a:r>
              <a:rPr lang="cs-CZ" baseline="0" dirty="0"/>
              <a:t>Závěr zprávy tvrdí: </a:t>
            </a:r>
            <a:r>
              <a:rPr lang="cs-CZ" b="1" baseline="0" dirty="0"/>
              <a:t>Tam, kde bylo zjištěn velký tlak v potrubí či nesoulad s profesí </a:t>
            </a:r>
            <a:r>
              <a:rPr lang="cs-CZ" b="1" baseline="0" dirty="0" err="1"/>
              <a:t>MaR</a:t>
            </a:r>
            <a:r>
              <a:rPr lang="cs-CZ" b="1" baseline="0" dirty="0"/>
              <a:t>, je tento stav zvýrazněn žlutě.</a:t>
            </a:r>
          </a:p>
          <a:p>
            <a:pPr marL="171450" indent="-171450">
              <a:buFontTx/>
              <a:buChar char="-"/>
            </a:pPr>
            <a:r>
              <a:rPr lang="cs-CZ" b="0" baseline="0" dirty="0"/>
              <a:t>Náš návrh počítá s uvedením do návrhového (projektovaného) stavu – jen tak je možno zajistit bezproblémový stav</a:t>
            </a:r>
          </a:p>
          <a:p>
            <a:pPr marL="171450" indent="-171450">
              <a:buFontTx/>
              <a:buChar char="-"/>
            </a:pPr>
            <a:r>
              <a:rPr lang="cs-CZ" baseline="0" dirty="0"/>
              <a:t>Úspora energií </a:t>
            </a:r>
          </a:p>
          <a:p>
            <a:pPr marL="171450" indent="-171450">
              <a:buFontTx/>
              <a:buChar char="-"/>
            </a:pPr>
            <a:r>
              <a:rPr lang="cs-CZ" baseline="0" dirty="0"/>
              <a:t>Ale také legislativní požadavky, ke kterým se dostanu za pár slajdů  </a:t>
            </a:r>
            <a:endParaRPr lang="cs-CZ" dirty="0"/>
          </a:p>
        </p:txBody>
      </p:sp>
      <p:sp>
        <p:nvSpPr>
          <p:cNvPr id="4" name="Zástupný symbol pro záhlaví 3">
            <a:extLst>
              <a:ext uri="{FF2B5EF4-FFF2-40B4-BE49-F238E27FC236}">
                <a16:creationId xmlns:a16="http://schemas.microsoft.com/office/drawing/2014/main" id="{783ED6F9-C223-E0AE-437F-13794D32C32A}"/>
              </a:ext>
            </a:extLst>
          </p:cNvPr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opfzeile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099BE028-6BE1-4635-32A3-7A21CE055DED}"/>
              </a:ext>
            </a:extLst>
          </p:cNvPr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um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A7B4D67E-B81A-6DB0-C988-FDA8BC953A2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ußzeile</a:t>
            </a:r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F84431FD-4518-BF29-10BE-E90916EC932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D0C4986-5504-4132-8EBD-03CFE2B37CBB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199427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hyperlink" Target="https://twitter.com/ebmpapstusa" TargetMode="External"/><Relationship Id="rId18" Type="http://schemas.openxmlformats.org/officeDocument/2006/relationships/image" Target="../media/image17.svg"/><Relationship Id="rId26" Type="http://schemas.microsoft.com/office/2007/relationships/hdphoto" Target="../media/hdphoto1.wdp"/><Relationship Id="rId3" Type="http://schemas.openxmlformats.org/officeDocument/2006/relationships/image" Target="../media/image3.svg"/><Relationship Id="rId21" Type="http://schemas.openxmlformats.org/officeDocument/2006/relationships/image" Target="../media/image20.png"/><Relationship Id="rId7" Type="http://schemas.openxmlformats.org/officeDocument/2006/relationships/hyperlink" Target="https://www.instagram.com/ebmpapst/" TargetMode="External"/><Relationship Id="rId12" Type="http://schemas.openxmlformats.org/officeDocument/2006/relationships/image" Target="../media/image13.svg"/><Relationship Id="rId17" Type="http://schemas.openxmlformats.org/officeDocument/2006/relationships/image" Target="../media/image16.png"/><Relationship Id="rId25" Type="http://schemas.openxmlformats.org/officeDocument/2006/relationships/image" Target="../media/image24.png"/><Relationship Id="rId2" Type="http://schemas.openxmlformats.org/officeDocument/2006/relationships/image" Target="../media/image2.png"/><Relationship Id="rId16" Type="http://schemas.openxmlformats.org/officeDocument/2006/relationships/hyperlink" Target="https://www.youtube.com/user/ebmpapstusa" TargetMode="External"/><Relationship Id="rId20" Type="http://schemas.openxmlformats.org/officeDocument/2006/relationships/image" Target="../media/image19.sv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svg"/><Relationship Id="rId11" Type="http://schemas.openxmlformats.org/officeDocument/2006/relationships/image" Target="../media/image12.png"/><Relationship Id="rId24" Type="http://schemas.openxmlformats.org/officeDocument/2006/relationships/image" Target="../media/image23.svg"/><Relationship Id="rId5" Type="http://schemas.openxmlformats.org/officeDocument/2006/relationships/image" Target="../media/image8.png"/><Relationship Id="rId15" Type="http://schemas.openxmlformats.org/officeDocument/2006/relationships/image" Target="../media/image15.svg"/><Relationship Id="rId23" Type="http://schemas.openxmlformats.org/officeDocument/2006/relationships/image" Target="../media/image22.png"/><Relationship Id="rId28" Type="http://schemas.openxmlformats.org/officeDocument/2006/relationships/image" Target="../media/image26.svg"/><Relationship Id="rId10" Type="http://schemas.openxmlformats.org/officeDocument/2006/relationships/hyperlink" Target="https://www.linkedin.com/company/ebm-papst-inc" TargetMode="External"/><Relationship Id="rId19" Type="http://schemas.openxmlformats.org/officeDocument/2006/relationships/image" Target="../media/image18.png"/><Relationship Id="rId4" Type="http://schemas.openxmlformats.org/officeDocument/2006/relationships/hyperlink" Target="https://www.facebook.com/ebmpapstDE" TargetMode="External"/><Relationship Id="rId9" Type="http://schemas.openxmlformats.org/officeDocument/2006/relationships/image" Target="../media/image11.svg"/><Relationship Id="rId14" Type="http://schemas.openxmlformats.org/officeDocument/2006/relationships/image" Target="../media/image14.png"/><Relationship Id="rId22" Type="http://schemas.openxmlformats.org/officeDocument/2006/relationships/image" Target="../media/image21.svg"/><Relationship Id="rId27" Type="http://schemas.openxmlformats.org/officeDocument/2006/relationships/image" Target="../media/image25.pn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9.jpe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image" Target="../media/image41.jpe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g"/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eg"/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eg"/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jpe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g"/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560FC8AF-B025-4A7D-8A57-659CF06FE2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17548" y="6591301"/>
            <a:ext cx="9000000" cy="266700"/>
          </a:xfrm>
        </p:spPr>
        <p:txBody>
          <a:bodyPr lIns="0"/>
          <a:lstStyle>
            <a:lvl1pPr>
              <a:defRPr>
                <a:solidFill>
                  <a:prstClr val="black">
                    <a:alpha val="0"/>
                  </a:prst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1" name="Foliennummernplatzhalter 4">
            <a:extLst>
              <a:ext uri="{FF2B5EF4-FFF2-40B4-BE49-F238E27FC236}">
                <a16:creationId xmlns:a16="http://schemas.microsoft.com/office/drawing/2014/main" id="{1B06957C-6F81-415B-ABAB-9FD3FB91DD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591300"/>
            <a:ext cx="590550" cy="266700"/>
          </a:xfrm>
        </p:spPr>
        <p:txBody>
          <a:bodyPr/>
          <a:lstStyle>
            <a:lvl1pPr>
              <a:defRPr>
                <a:solidFill>
                  <a:prstClr val="black">
                    <a:alpha val="0"/>
                  </a:prstClr>
                </a:solidFill>
              </a:defRPr>
            </a:lvl1pPr>
          </a:lstStyle>
          <a:p>
            <a:fld id="{5AFF31D0-8A17-47C0-8D09-D01303A85034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8" name="Grafik 7" descr="Ein Bild, das Text, Baum, draußen, Schild enthält.&#10;&#10;Automatisch generierte Beschreibung">
            <a:extLst>
              <a:ext uri="{FF2B5EF4-FFF2-40B4-BE49-F238E27FC236}">
                <a16:creationId xmlns:a16="http://schemas.microsoft.com/office/drawing/2014/main" id="{81ED6EE7-0C34-40C2-A0CA-6CCF844759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3200" cy="4572001"/>
          </a:xfrm>
          <a:custGeom>
            <a:avLst/>
            <a:gdLst>
              <a:gd name="connsiteX0" fmla="*/ 0 w 12190413"/>
              <a:gd name="connsiteY0" fmla="*/ 0 h 4572001"/>
              <a:gd name="connsiteX1" fmla="*/ 12190413 w 12190413"/>
              <a:gd name="connsiteY1" fmla="*/ 0 h 4572001"/>
              <a:gd name="connsiteX2" fmla="*/ 12190413 w 12190413"/>
              <a:gd name="connsiteY2" fmla="*/ 4572001 h 4572001"/>
              <a:gd name="connsiteX3" fmla="*/ 0 w 12190413"/>
              <a:gd name="connsiteY3" fmla="*/ 4572001 h 4572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0413" h="4572001">
                <a:moveTo>
                  <a:pt x="0" y="0"/>
                </a:moveTo>
                <a:lnTo>
                  <a:pt x="12190413" y="0"/>
                </a:lnTo>
                <a:lnTo>
                  <a:pt x="12190413" y="4572001"/>
                </a:lnTo>
                <a:lnTo>
                  <a:pt x="0" y="4572001"/>
                </a:lnTo>
                <a:close/>
              </a:path>
            </a:pathLst>
          </a:custGeom>
        </p:spPr>
      </p:pic>
      <p:pic>
        <p:nvPicPr>
          <p:cNvPr id="31" name="Grafik 30">
            <a:extLst>
              <a:ext uri="{FF2B5EF4-FFF2-40B4-BE49-F238E27FC236}">
                <a16:creationId xmlns:a16="http://schemas.microsoft.com/office/drawing/2014/main" id="{BD562275-0AB9-4107-A76F-75038F33B18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12037" y="3217730"/>
            <a:ext cx="2515974" cy="1804386"/>
          </a:xfrm>
          <a:prstGeom prst="rect">
            <a:avLst/>
          </a:prstGeom>
        </p:spPr>
      </p:pic>
      <p:sp>
        <p:nvSpPr>
          <p:cNvPr id="40" name="Textplatzhalter 38">
            <a:extLst>
              <a:ext uri="{FF2B5EF4-FFF2-40B4-BE49-F238E27FC236}">
                <a16:creationId xmlns:a16="http://schemas.microsoft.com/office/drawing/2014/main" id="{AE7DA3A8-B67F-4B51-A124-CFE77B35B35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20000" y="4578405"/>
            <a:ext cx="7920000" cy="774000"/>
          </a:xfrm>
        </p:spPr>
        <p:txBody>
          <a:bodyPr lIns="0" rIns="0" bIns="0" anchor="b"/>
          <a:lstStyle>
            <a:lvl1pPr marL="0" indent="0">
              <a:buNone/>
              <a:defRPr kumimoji="0" lang="de-DE" sz="2400" b="0" i="1" u="none" strike="noStrike" kern="120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Arial" panose="020B0604020202020204" pitchFamily="34" charset="0"/>
              </a:defRPr>
            </a:lvl1pPr>
            <a:lvl2pPr>
              <a:defRPr kumimoji="0" lang="de-DE" sz="2400" b="0" i="1" u="none" strike="noStrike" kern="1200" cap="none" spc="0" normalizeH="0" baseline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Arial" panose="020B0604020202020204" pitchFamily="34" charset="0"/>
              </a:defRPr>
            </a:lvl2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13" name="Titel 51">
            <a:extLst>
              <a:ext uri="{FF2B5EF4-FFF2-40B4-BE49-F238E27FC236}">
                <a16:creationId xmlns:a16="http://schemas.microsoft.com/office/drawing/2014/main" id="{492A8011-82ED-4AD9-A6B4-B0FB181372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5446800"/>
            <a:ext cx="7920000" cy="810195"/>
          </a:xfrm>
        </p:spPr>
        <p:txBody>
          <a:bodyPr tIns="0" rIns="0" bIns="0"/>
          <a:lstStyle>
            <a:lvl1pPr>
              <a:lnSpc>
                <a:spcPct val="90000"/>
              </a:lnSpc>
              <a:defRPr kumimoji="0" lang="de-DE" sz="3600" b="1" i="0" u="none" strike="noStrike" kern="120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cs-CZ"/>
              <a:t>Kliknutím lze upravit styl.</a:t>
            </a:r>
            <a:endParaRPr lang="de-DE" dirty="0"/>
          </a:p>
        </p:txBody>
      </p:sp>
      <p:sp>
        <p:nvSpPr>
          <p:cNvPr id="9" name="Textplatzhalter 11">
            <a:extLst>
              <a:ext uri="{FF2B5EF4-FFF2-40B4-BE49-F238E27FC236}">
                <a16:creationId xmlns:a16="http://schemas.microsoft.com/office/drawing/2014/main" id="{88D52CC3-FE03-4507-A4BA-90523B4E7E2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231086" y="5608958"/>
            <a:ext cx="2515974" cy="591389"/>
          </a:xfrm>
        </p:spPr>
        <p:txBody>
          <a:bodyPr rIns="0" bIns="0" anchor="t" anchorCtr="0"/>
          <a:lstStyle>
            <a:lvl1pPr marL="0" indent="0" algn="r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itchFamily="34" charset="0"/>
              <a:buNone/>
              <a:defRPr lang="de-DE" sz="1800" b="0" i="0" kern="1200" dirty="0">
                <a:solidFill>
                  <a:prstClr val="white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30545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715ACC1-3B6D-456F-AC94-D767551325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666000"/>
            <a:ext cx="11252200" cy="463550"/>
          </a:xfrm>
        </p:spPr>
        <p:txBody>
          <a:bodyPr tIns="0" rIns="0" bIns="0"/>
          <a:lstStyle/>
          <a:p>
            <a:r>
              <a:rPr lang="cs-CZ"/>
              <a:t>Kliknutím lze upravit styl.</a:t>
            </a:r>
            <a:endParaRPr lang="de-DE" dirty="0"/>
          </a:p>
        </p:txBody>
      </p:sp>
      <p:sp>
        <p:nvSpPr>
          <p:cNvPr id="6" name="Textplatzhalter 11">
            <a:extLst>
              <a:ext uri="{FF2B5EF4-FFF2-40B4-BE49-F238E27FC236}">
                <a16:creationId xmlns:a16="http://schemas.microsoft.com/office/drawing/2014/main" id="{78B5DF19-4DDB-4563-A77B-46E270F7784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8000" y="396000"/>
            <a:ext cx="11252200" cy="185432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lang="de-DE" sz="1400" i="1" kern="1200" spc="1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9" name="Fußzeilenplatzhalter 3">
            <a:extLst>
              <a:ext uri="{FF2B5EF4-FFF2-40B4-BE49-F238E27FC236}">
                <a16:creationId xmlns:a16="http://schemas.microsoft.com/office/drawing/2014/main" id="{2DC0D06E-B3FA-4C56-A7EE-EEAD846EFA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17548" y="6591300"/>
            <a:ext cx="9000000" cy="266700"/>
          </a:xfrm>
        </p:spPr>
        <p:txBody>
          <a:bodyPr lIns="0"/>
          <a:lstStyle/>
          <a:p>
            <a:endParaRPr lang="de-DE" dirty="0"/>
          </a:p>
        </p:txBody>
      </p:sp>
      <p:sp>
        <p:nvSpPr>
          <p:cNvPr id="10" name="Foliennummernplatzhalter 4">
            <a:extLst>
              <a:ext uri="{FF2B5EF4-FFF2-40B4-BE49-F238E27FC236}">
                <a16:creationId xmlns:a16="http://schemas.microsoft.com/office/drawing/2014/main" id="{0CEDB34E-0C5F-4A31-9AF5-C7E15C2A38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591300"/>
            <a:ext cx="469898" cy="266700"/>
          </a:xfrm>
        </p:spPr>
        <p:txBody>
          <a:bodyPr/>
          <a:lstStyle/>
          <a:p>
            <a:fld id="{5AFF31D0-8A17-47C0-8D09-D01303A85034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08811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 2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A5DA13C5-0BAC-438F-A164-0F4F4C8F4316}"/>
              </a:ext>
            </a:extLst>
          </p:cNvPr>
          <p:cNvSpPr/>
          <p:nvPr userDrawn="1"/>
        </p:nvSpPr>
        <p:spPr>
          <a:xfrm>
            <a:off x="0" y="6591300"/>
            <a:ext cx="12192000" cy="266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bg1"/>
              </a:solidFill>
            </a:endParaRP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5FC5719F-86F8-4BEA-9BD7-EA8081B7BF0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217335" y="5778000"/>
            <a:ext cx="1505915" cy="1080000"/>
          </a:xfrm>
          <a:prstGeom prst="rect">
            <a:avLst/>
          </a:prstGeom>
        </p:spPr>
      </p:pic>
      <p:sp>
        <p:nvSpPr>
          <p:cNvPr id="7" name="Fußzeilenplatzhalter 3">
            <a:extLst>
              <a:ext uri="{FF2B5EF4-FFF2-40B4-BE49-F238E27FC236}">
                <a16:creationId xmlns:a16="http://schemas.microsoft.com/office/drawing/2014/main" id="{C7A75BF0-6C31-4D8B-A368-AABFF7BF10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17548" y="6591301"/>
            <a:ext cx="9000000" cy="266700"/>
          </a:xfrm>
        </p:spPr>
        <p:txBody>
          <a:bodyPr lIns="0"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endParaRPr lang="de-DE"/>
          </a:p>
        </p:txBody>
      </p:sp>
      <p:sp>
        <p:nvSpPr>
          <p:cNvPr id="8" name="Foliennummernplatzhalter 4">
            <a:extLst>
              <a:ext uri="{FF2B5EF4-FFF2-40B4-BE49-F238E27FC236}">
                <a16:creationId xmlns:a16="http://schemas.microsoft.com/office/drawing/2014/main" id="{4480875F-C126-4034-8588-C279638660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591300"/>
            <a:ext cx="590550" cy="266700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5AFF31D0-8A17-47C0-8D09-D01303A85034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715ACC1-3B6D-456F-AC94-D767551325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666000"/>
            <a:ext cx="11252200" cy="463550"/>
          </a:xfrm>
        </p:spPr>
        <p:txBody>
          <a:bodyPr tIns="0" rIns="0" b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de-DE" dirty="0"/>
          </a:p>
        </p:txBody>
      </p:sp>
      <p:sp>
        <p:nvSpPr>
          <p:cNvPr id="6" name="Textplatzhalter 11">
            <a:extLst>
              <a:ext uri="{FF2B5EF4-FFF2-40B4-BE49-F238E27FC236}">
                <a16:creationId xmlns:a16="http://schemas.microsoft.com/office/drawing/2014/main" id="{78B5DF19-4DDB-4563-A77B-46E270F7784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8000" y="396000"/>
            <a:ext cx="11252200" cy="185432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lang="de-DE" sz="1400" i="1" kern="1200" spc="1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</p:spTree>
    <p:extLst>
      <p:ext uri="{BB962C8B-B14F-4D97-AF65-F5344CB8AC3E}">
        <p14:creationId xmlns:p14="http://schemas.microsoft.com/office/powerpoint/2010/main" val="1777651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ußzeilenplatzhalter 3">
            <a:extLst>
              <a:ext uri="{FF2B5EF4-FFF2-40B4-BE49-F238E27FC236}">
                <a16:creationId xmlns:a16="http://schemas.microsoft.com/office/drawing/2014/main" id="{15F7782F-5CC1-487A-A24D-D88116613A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17548" y="6591301"/>
            <a:ext cx="9000000" cy="266700"/>
          </a:xfrm>
        </p:spPr>
        <p:txBody>
          <a:bodyPr lIns="0"/>
          <a:lstStyle>
            <a:lvl1pPr>
              <a:defRPr>
                <a:solidFill>
                  <a:prstClr val="black">
                    <a:alpha val="0"/>
                  </a:prstClr>
                </a:solidFill>
              </a:defRPr>
            </a:lvl1pPr>
          </a:lstStyle>
          <a:p>
            <a:endParaRPr lang="de-DE"/>
          </a:p>
        </p:txBody>
      </p:sp>
      <p:sp>
        <p:nvSpPr>
          <p:cNvPr id="7" name="Foliennummernplatzhalter 4">
            <a:extLst>
              <a:ext uri="{FF2B5EF4-FFF2-40B4-BE49-F238E27FC236}">
                <a16:creationId xmlns:a16="http://schemas.microsoft.com/office/drawing/2014/main" id="{4CC21C85-C0A0-4B72-AF24-5A175C3946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591300"/>
            <a:ext cx="590550" cy="266700"/>
          </a:xfrm>
        </p:spPr>
        <p:txBody>
          <a:bodyPr/>
          <a:lstStyle>
            <a:lvl1pPr>
              <a:defRPr>
                <a:solidFill>
                  <a:prstClr val="black">
                    <a:alpha val="0"/>
                  </a:prstClr>
                </a:solidFill>
              </a:defRPr>
            </a:lvl1pPr>
          </a:lstStyle>
          <a:p>
            <a:fld id="{5AFF31D0-8A17-47C0-8D09-D01303A85034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0F55C712-992B-4CF4-8D2E-4554CA018BE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0" y="0"/>
            <a:ext cx="12193200" cy="6858000"/>
          </a:xfrm>
          <a:custGeom>
            <a:avLst/>
            <a:gdLst>
              <a:gd name="connsiteX0" fmla="*/ 622301 w 12193200"/>
              <a:gd name="connsiteY0" fmla="*/ 4278554 h 6858000"/>
              <a:gd name="connsiteX1" fmla="*/ 622301 w 12193200"/>
              <a:gd name="connsiteY1" fmla="*/ 6042554 h 6858000"/>
              <a:gd name="connsiteX2" fmla="*/ 8784325 w 12193200"/>
              <a:gd name="connsiteY2" fmla="*/ 6042554 h 6858000"/>
              <a:gd name="connsiteX3" fmla="*/ 8784325 w 12193200"/>
              <a:gd name="connsiteY3" fmla="*/ 6427263 h 6858000"/>
              <a:gd name="connsiteX4" fmla="*/ 10944325 w 12193200"/>
              <a:gd name="connsiteY4" fmla="*/ 6427263 h 6858000"/>
              <a:gd name="connsiteX5" fmla="*/ 10944325 w 12193200"/>
              <a:gd name="connsiteY5" fmla="*/ 6042554 h 6858000"/>
              <a:gd name="connsiteX6" fmla="*/ 11494301 w 12193200"/>
              <a:gd name="connsiteY6" fmla="*/ 6042554 h 6858000"/>
              <a:gd name="connsiteX7" fmla="*/ 11494301 w 12193200"/>
              <a:gd name="connsiteY7" fmla="*/ 4278554 h 6858000"/>
              <a:gd name="connsiteX8" fmla="*/ 0 w 12193200"/>
              <a:gd name="connsiteY8" fmla="*/ 0 h 6858000"/>
              <a:gd name="connsiteX9" fmla="*/ 11602650 w 12193200"/>
              <a:gd name="connsiteY9" fmla="*/ 0 h 6858000"/>
              <a:gd name="connsiteX10" fmla="*/ 12190413 w 12193200"/>
              <a:gd name="connsiteY10" fmla="*/ 0 h 6858000"/>
              <a:gd name="connsiteX11" fmla="*/ 12193200 w 12193200"/>
              <a:gd name="connsiteY11" fmla="*/ 0 h 6858000"/>
              <a:gd name="connsiteX12" fmla="*/ 12193200 w 12193200"/>
              <a:gd name="connsiteY12" fmla="*/ 6858000 h 6858000"/>
              <a:gd name="connsiteX13" fmla="*/ 12190413 w 12193200"/>
              <a:gd name="connsiteY13" fmla="*/ 6858000 h 6858000"/>
              <a:gd name="connsiteX14" fmla="*/ 0 w 12193200"/>
              <a:gd name="connsiteY1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193200" h="6858000">
                <a:moveTo>
                  <a:pt x="622301" y="4278554"/>
                </a:moveTo>
                <a:lnTo>
                  <a:pt x="622301" y="6042554"/>
                </a:lnTo>
                <a:lnTo>
                  <a:pt x="8784325" y="6042554"/>
                </a:lnTo>
                <a:lnTo>
                  <a:pt x="8784325" y="6427263"/>
                </a:lnTo>
                <a:lnTo>
                  <a:pt x="10944325" y="6427263"/>
                </a:lnTo>
                <a:lnTo>
                  <a:pt x="10944325" y="6042554"/>
                </a:lnTo>
                <a:lnTo>
                  <a:pt x="11494301" y="6042554"/>
                </a:lnTo>
                <a:lnTo>
                  <a:pt x="11494301" y="4278554"/>
                </a:lnTo>
                <a:close/>
                <a:moveTo>
                  <a:pt x="0" y="0"/>
                </a:moveTo>
                <a:lnTo>
                  <a:pt x="11602650" y="0"/>
                </a:lnTo>
                <a:lnTo>
                  <a:pt x="12190413" y="0"/>
                </a:lnTo>
                <a:lnTo>
                  <a:pt x="12193200" y="0"/>
                </a:lnTo>
                <a:lnTo>
                  <a:pt x="12193200" y="6858000"/>
                </a:lnTo>
                <a:lnTo>
                  <a:pt x="1219041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>
            <a:noFill/>
          </a:ln>
        </p:spPr>
        <p:txBody>
          <a:bodyPr wrap="square"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na ikonu přidáte obrázek.</a:t>
            </a:r>
            <a:endParaRPr lang="de-DE" dirty="0"/>
          </a:p>
        </p:txBody>
      </p:sp>
      <p:sp>
        <p:nvSpPr>
          <p:cNvPr id="14" name="Textplatzhalter 14">
            <a:extLst>
              <a:ext uri="{FF2B5EF4-FFF2-40B4-BE49-F238E27FC236}">
                <a16:creationId xmlns:a16="http://schemas.microsoft.com/office/drawing/2014/main" id="{AACA3CFD-CFFB-499A-9AF2-4D578607A3A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84356" y="4668578"/>
            <a:ext cx="7200000" cy="252000"/>
          </a:xfrm>
        </p:spPr>
        <p:txBody>
          <a:bodyPr rIns="0" bIns="0"/>
          <a:lstStyle>
            <a:lvl1pPr marL="0" indent="0">
              <a:buNone/>
              <a:defRPr sz="18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pic>
        <p:nvPicPr>
          <p:cNvPr id="16" name="Picture 75" descr="C:\Users\bertscha\Desktop\ebmpapst_logobox_claim_2021_rgb.jpg">
            <a:extLst>
              <a:ext uri="{FF2B5EF4-FFF2-40B4-BE49-F238E27FC236}">
                <a16:creationId xmlns:a16="http://schemas.microsoft.com/office/drawing/2014/main" id="{AE18E105-64C2-4ED7-B9F9-7E23EE6921D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84325" y="4875954"/>
            <a:ext cx="2160000" cy="15434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itel 16">
            <a:extLst>
              <a:ext uri="{FF2B5EF4-FFF2-40B4-BE49-F238E27FC236}">
                <a16:creationId xmlns:a16="http://schemas.microsoft.com/office/drawing/2014/main" id="{B4D1915B-D0F4-41D7-A172-187516DBB3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4355" y="4992070"/>
            <a:ext cx="7200000" cy="522702"/>
          </a:xfrm>
        </p:spPr>
        <p:txBody>
          <a:bodyPr lIns="0" tIns="0" rIns="0" bIns="0"/>
          <a:lstStyle>
            <a:lvl1pPr>
              <a:defRPr lang="de-DE" sz="28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cs-CZ"/>
              <a:t>Kliknutím lze upravit styl.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47156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+ Tex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ußzeilenplatzhalter 3">
            <a:extLst>
              <a:ext uri="{FF2B5EF4-FFF2-40B4-BE49-F238E27FC236}">
                <a16:creationId xmlns:a16="http://schemas.microsoft.com/office/drawing/2014/main" id="{E9AEB9F4-D754-4890-99E2-E61655A40F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17548" y="6591301"/>
            <a:ext cx="5040000" cy="266700"/>
          </a:xfrm>
        </p:spPr>
        <p:txBody>
          <a:bodyPr lIns="0"/>
          <a:lstStyle>
            <a:lvl1pPr>
              <a:defRPr>
                <a:solidFill>
                  <a:prstClr val="black">
                    <a:alpha val="0"/>
                  </a:prst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9" name="Foliennummernplatzhalter 4">
            <a:extLst>
              <a:ext uri="{FF2B5EF4-FFF2-40B4-BE49-F238E27FC236}">
                <a16:creationId xmlns:a16="http://schemas.microsoft.com/office/drawing/2014/main" id="{BEBBBF50-B3E2-4C64-B016-2E406F60D8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591300"/>
            <a:ext cx="590550" cy="266700"/>
          </a:xfrm>
        </p:spPr>
        <p:txBody>
          <a:bodyPr/>
          <a:lstStyle>
            <a:lvl1pPr>
              <a:defRPr>
                <a:solidFill>
                  <a:prstClr val="black">
                    <a:alpha val="0"/>
                  </a:prstClr>
                </a:solidFill>
              </a:defRPr>
            </a:lvl1pPr>
          </a:lstStyle>
          <a:p>
            <a:fld id="{5AFF31D0-8A17-47C0-8D09-D01303A85034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2826782-0FCB-4016-8299-5FDE1BCDCE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666000"/>
            <a:ext cx="5161280" cy="463550"/>
          </a:xfrm>
        </p:spPr>
        <p:txBody>
          <a:bodyPr tIns="0" rIns="0" b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de-DE" dirty="0"/>
          </a:p>
        </p:txBody>
      </p:sp>
      <p:sp>
        <p:nvSpPr>
          <p:cNvPr id="6" name="Textplatzhalter 11">
            <a:extLst>
              <a:ext uri="{FF2B5EF4-FFF2-40B4-BE49-F238E27FC236}">
                <a16:creationId xmlns:a16="http://schemas.microsoft.com/office/drawing/2014/main" id="{192F6119-D982-441E-A808-B28DACE4930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8000" y="396000"/>
            <a:ext cx="5163250" cy="185432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lang="de-DE" sz="1400" i="1" kern="1200" spc="1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A7E86299-F4AF-410B-BED1-BF6D1CCBD32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000" y="1825625"/>
            <a:ext cx="51632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de-DE" dirty="0"/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27184223-23D2-43D7-9637-FBFD0E363F4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-1"/>
            <a:ext cx="6096000" cy="6858001"/>
          </a:xfrm>
          <a:solidFill>
            <a:schemeClr val="bg2">
              <a:lumMod val="75000"/>
            </a:schemeClr>
          </a:solidFill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na ikonu přidáte obrázek.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90204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+ Text 2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hteck 17">
            <a:extLst>
              <a:ext uri="{FF2B5EF4-FFF2-40B4-BE49-F238E27FC236}">
                <a16:creationId xmlns:a16="http://schemas.microsoft.com/office/drawing/2014/main" id="{CB8345DD-A484-42CA-B538-6BDE2F6958D2}"/>
              </a:ext>
            </a:extLst>
          </p:cNvPr>
          <p:cNvSpPr/>
          <p:nvPr userDrawn="1"/>
        </p:nvSpPr>
        <p:spPr>
          <a:xfrm>
            <a:off x="0" y="6591300"/>
            <a:ext cx="12192000" cy="266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bg1"/>
              </a:solidFill>
            </a:endParaRPr>
          </a:p>
        </p:txBody>
      </p:sp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5BA69C42-2231-4DF8-A6BF-99ECF6098B9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591300"/>
          </a:xfrm>
          <a:custGeom>
            <a:avLst/>
            <a:gdLst>
              <a:gd name="connsiteX0" fmla="*/ 0 w 12192000"/>
              <a:gd name="connsiteY0" fmla="*/ 0 h 6591300"/>
              <a:gd name="connsiteX1" fmla="*/ 12192000 w 12192000"/>
              <a:gd name="connsiteY1" fmla="*/ 0 h 6591300"/>
              <a:gd name="connsiteX2" fmla="*/ 12192000 w 12192000"/>
              <a:gd name="connsiteY2" fmla="*/ 6591300 h 6591300"/>
              <a:gd name="connsiteX3" fmla="*/ 12190413 w 12192000"/>
              <a:gd name="connsiteY3" fmla="*/ 6591300 h 6591300"/>
              <a:gd name="connsiteX4" fmla="*/ 12190413 w 12192000"/>
              <a:gd name="connsiteY4" fmla="*/ 1638299 h 6591300"/>
              <a:gd name="connsiteX5" fmla="*/ 6095207 w 12192000"/>
              <a:gd name="connsiteY5" fmla="*/ 1638299 h 6591300"/>
              <a:gd name="connsiteX6" fmla="*/ 6095207 w 12192000"/>
              <a:gd name="connsiteY6" fmla="*/ 6591300 h 6591300"/>
              <a:gd name="connsiteX7" fmla="*/ 0 w 12192000"/>
              <a:gd name="connsiteY7" fmla="*/ 6591300 h 6591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591300">
                <a:moveTo>
                  <a:pt x="0" y="0"/>
                </a:moveTo>
                <a:lnTo>
                  <a:pt x="12192000" y="0"/>
                </a:lnTo>
                <a:lnTo>
                  <a:pt x="12192000" y="6591300"/>
                </a:lnTo>
                <a:lnTo>
                  <a:pt x="12190413" y="6591300"/>
                </a:lnTo>
                <a:lnTo>
                  <a:pt x="12190413" y="1638299"/>
                </a:lnTo>
                <a:lnTo>
                  <a:pt x="6095207" y="1638299"/>
                </a:lnTo>
                <a:lnTo>
                  <a:pt x="6095207" y="6591300"/>
                </a:lnTo>
                <a:lnTo>
                  <a:pt x="0" y="659130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na ikonu přidáte obrázek.</a:t>
            </a:r>
            <a:endParaRPr lang="de-DE"/>
          </a:p>
        </p:txBody>
      </p:sp>
      <p:sp>
        <p:nvSpPr>
          <p:cNvPr id="25" name="Titel 1">
            <a:extLst>
              <a:ext uri="{FF2B5EF4-FFF2-40B4-BE49-F238E27FC236}">
                <a16:creationId xmlns:a16="http://schemas.microsoft.com/office/drawing/2014/main" id="{49B44C9D-74EB-41DB-8A08-AE19D6FC47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6496" y="2237893"/>
            <a:ext cx="5250563" cy="463550"/>
          </a:xfrm>
        </p:spPr>
        <p:txBody>
          <a:bodyPr tIns="0" rIns="0" b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de-DE" dirty="0"/>
          </a:p>
        </p:txBody>
      </p:sp>
      <p:sp>
        <p:nvSpPr>
          <p:cNvPr id="26" name="Textplatzhalter 11">
            <a:extLst>
              <a:ext uri="{FF2B5EF4-FFF2-40B4-BE49-F238E27FC236}">
                <a16:creationId xmlns:a16="http://schemas.microsoft.com/office/drawing/2014/main" id="{D1AEFCC5-DE92-44E8-A9A5-FCAE767DA2B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4596" y="1965551"/>
            <a:ext cx="5252567" cy="185432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lang="de-DE" sz="1400" i="1" kern="1200" spc="1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30" name="Fußzeilenplatzhalter 3">
            <a:extLst>
              <a:ext uri="{FF2B5EF4-FFF2-40B4-BE49-F238E27FC236}">
                <a16:creationId xmlns:a16="http://schemas.microsoft.com/office/drawing/2014/main" id="{BEF6FB92-3925-44BB-BF7C-EE427077331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717548" y="6591301"/>
            <a:ext cx="9000000" cy="266700"/>
          </a:xfrm>
        </p:spPr>
        <p:txBody>
          <a:bodyPr lIns="0"/>
          <a:lstStyle/>
          <a:p>
            <a:endParaRPr lang="de-DE" dirty="0"/>
          </a:p>
        </p:txBody>
      </p:sp>
      <p:sp>
        <p:nvSpPr>
          <p:cNvPr id="31" name="Foliennummernplatzhalter 4">
            <a:extLst>
              <a:ext uri="{FF2B5EF4-FFF2-40B4-BE49-F238E27FC236}">
                <a16:creationId xmlns:a16="http://schemas.microsoft.com/office/drawing/2014/main" id="{38D06532-7068-460F-A4B8-CC2EA0162F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591300"/>
            <a:ext cx="469899" cy="266700"/>
          </a:xfrm>
        </p:spPr>
        <p:txBody>
          <a:bodyPr/>
          <a:lstStyle/>
          <a:p>
            <a:fld id="{5AFF31D0-8A17-47C0-8D09-D01303A85034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B4859CDC-F747-48C7-9495-9E01A771D1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96496" y="3051198"/>
            <a:ext cx="5250562" cy="251140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de-DE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DAE823CB-F6D9-4750-832B-EB82EE005A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224000" y="5778000"/>
            <a:ext cx="1505915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4450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(4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DE69A0A2-0FBC-4D77-BDFC-7CFC719867D7}"/>
              </a:ext>
            </a:extLst>
          </p:cNvPr>
          <p:cNvSpPr/>
          <p:nvPr userDrawn="1"/>
        </p:nvSpPr>
        <p:spPr>
          <a:xfrm>
            <a:off x="0" y="6591300"/>
            <a:ext cx="12192000" cy="266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bg1"/>
              </a:solidFill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F371802B-3416-45A5-9286-B0A0B43389B7}"/>
              </a:ext>
            </a:extLst>
          </p:cNvPr>
          <p:cNvSpPr/>
          <p:nvPr userDrawn="1"/>
        </p:nvSpPr>
        <p:spPr bwMode="gray">
          <a:xfrm flipV="1">
            <a:off x="0" y="0"/>
            <a:ext cx="12193200" cy="34380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 dirty="0">
              <a:solidFill>
                <a:prstClr val="white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A6E9D1D-4446-4A68-97AC-F1FEBD748C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666000"/>
            <a:ext cx="11252200" cy="463550"/>
          </a:xfrm>
        </p:spPr>
        <p:txBody>
          <a:bodyPr tIns="0" rIns="0" bIns="0"/>
          <a:lstStyle/>
          <a:p>
            <a:r>
              <a:rPr lang="cs-CZ"/>
              <a:t>Kliknutím lze upravit styl.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AF8A9D3-6560-48DC-A7C4-E927E32B75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17549" y="6591301"/>
            <a:ext cx="9000000" cy="266700"/>
          </a:xfrm>
        </p:spPr>
        <p:txBody>
          <a:bodyPr lIns="0"/>
          <a:lstStyle/>
          <a:p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1C19EF9-DF0F-4F66-BF5F-0D3DBEA0A6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F31D0-8A17-47C0-8D09-D01303A85034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Textplatzhalter 11">
            <a:extLst>
              <a:ext uri="{FF2B5EF4-FFF2-40B4-BE49-F238E27FC236}">
                <a16:creationId xmlns:a16="http://schemas.microsoft.com/office/drawing/2014/main" id="{2B182C75-5990-40CD-8B31-2BBDEF255FF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8000" y="396000"/>
            <a:ext cx="11252200" cy="185432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lang="de-DE" sz="1400" i="1" kern="1200" spc="1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F6A1AFEA-1B9E-41EC-B8B9-FE4828D70B0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224000" y="5778000"/>
            <a:ext cx="1505915" cy="1080000"/>
          </a:xfrm>
          <a:prstGeom prst="rect">
            <a:avLst/>
          </a:prstGeom>
        </p:spPr>
      </p:pic>
      <p:sp>
        <p:nvSpPr>
          <p:cNvPr id="21" name="Bildplatzhalter 16">
            <a:extLst>
              <a:ext uri="{FF2B5EF4-FFF2-40B4-BE49-F238E27FC236}">
                <a16:creationId xmlns:a16="http://schemas.microsoft.com/office/drawing/2014/main" id="{4F9C69BD-29C3-4A65-9AC6-A311F807A54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8000" y="2568349"/>
            <a:ext cx="2617787" cy="2249714"/>
          </a:xfrm>
          <a:solidFill>
            <a:schemeClr val="bg2">
              <a:lumMod val="75000"/>
            </a:schemeClr>
          </a:solidFill>
        </p:spPr>
        <p:txBody>
          <a:bodyPr lIns="108000" tIns="108000" r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na ikonu přidáte obrázek.</a:t>
            </a:r>
            <a:endParaRPr lang="de-DE" dirty="0"/>
          </a:p>
        </p:txBody>
      </p:sp>
      <p:sp>
        <p:nvSpPr>
          <p:cNvPr id="22" name="Bildplatzhalter 16">
            <a:extLst>
              <a:ext uri="{FF2B5EF4-FFF2-40B4-BE49-F238E27FC236}">
                <a16:creationId xmlns:a16="http://schemas.microsoft.com/office/drawing/2014/main" id="{12964B37-5293-4C54-8D38-B2A185221EA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345850" y="2568349"/>
            <a:ext cx="2617787" cy="2249714"/>
          </a:xfrm>
          <a:solidFill>
            <a:schemeClr val="bg2">
              <a:lumMod val="75000"/>
            </a:schemeClr>
          </a:solidFill>
        </p:spPr>
        <p:txBody>
          <a:bodyPr lIns="108000" tIns="108000" r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na ikonu přidáte obrázek.</a:t>
            </a:r>
            <a:endParaRPr lang="de-DE"/>
          </a:p>
        </p:txBody>
      </p:sp>
      <p:sp>
        <p:nvSpPr>
          <p:cNvPr id="23" name="Bildplatzhalter 16">
            <a:extLst>
              <a:ext uri="{FF2B5EF4-FFF2-40B4-BE49-F238E27FC236}">
                <a16:creationId xmlns:a16="http://schemas.microsoft.com/office/drawing/2014/main" id="{CCFB5438-2218-4D36-A433-AB7A4F2394E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23700" y="2568349"/>
            <a:ext cx="2617787" cy="2249714"/>
          </a:xfrm>
          <a:solidFill>
            <a:schemeClr val="bg2">
              <a:lumMod val="75000"/>
            </a:schemeClr>
          </a:solidFill>
        </p:spPr>
        <p:txBody>
          <a:bodyPr lIns="108000" tIns="108000" r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na ikonu přidáte obrázek.</a:t>
            </a:r>
            <a:endParaRPr lang="de-DE"/>
          </a:p>
        </p:txBody>
      </p:sp>
      <p:sp>
        <p:nvSpPr>
          <p:cNvPr id="24" name="Bildplatzhalter 16">
            <a:extLst>
              <a:ext uri="{FF2B5EF4-FFF2-40B4-BE49-F238E27FC236}">
                <a16:creationId xmlns:a16="http://schemas.microsoft.com/office/drawing/2014/main" id="{E91A8329-1CAE-46EA-BE18-EC2526F5E23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9101550" y="2568349"/>
            <a:ext cx="2617787" cy="2249714"/>
          </a:xfrm>
          <a:solidFill>
            <a:schemeClr val="bg2">
              <a:lumMod val="75000"/>
            </a:schemeClr>
          </a:solidFill>
        </p:spPr>
        <p:txBody>
          <a:bodyPr lIns="108000" tIns="108000" r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na ikonu přidáte obrázek.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76357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ußzeilenplatzhalter 3">
            <a:extLst>
              <a:ext uri="{FF2B5EF4-FFF2-40B4-BE49-F238E27FC236}">
                <a16:creationId xmlns:a16="http://schemas.microsoft.com/office/drawing/2014/main" id="{242B14FC-BAD7-458C-8A69-B8616C0014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17548" y="6591301"/>
            <a:ext cx="9000000" cy="266700"/>
          </a:xfrm>
        </p:spPr>
        <p:txBody>
          <a:bodyPr lIns="0"/>
          <a:lstStyle>
            <a:lvl1pPr>
              <a:defRPr>
                <a:solidFill>
                  <a:prstClr val="black">
                    <a:alpha val="0"/>
                  </a:prstClr>
                </a:solidFill>
              </a:defRPr>
            </a:lvl1pPr>
          </a:lstStyle>
          <a:p>
            <a:endParaRPr lang="de-DE"/>
          </a:p>
        </p:txBody>
      </p:sp>
      <p:sp>
        <p:nvSpPr>
          <p:cNvPr id="17" name="Foliennummernplatzhalter 4">
            <a:extLst>
              <a:ext uri="{FF2B5EF4-FFF2-40B4-BE49-F238E27FC236}">
                <a16:creationId xmlns:a16="http://schemas.microsoft.com/office/drawing/2014/main" id="{20C97C16-F30B-4385-A2C6-74B27D82C8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591300"/>
            <a:ext cx="590550" cy="266700"/>
          </a:xfrm>
        </p:spPr>
        <p:txBody>
          <a:bodyPr/>
          <a:lstStyle>
            <a:lvl1pPr>
              <a:defRPr>
                <a:solidFill>
                  <a:prstClr val="black">
                    <a:alpha val="0"/>
                  </a:prstClr>
                </a:solidFill>
              </a:defRPr>
            </a:lvl1pPr>
          </a:lstStyle>
          <a:p>
            <a:fld id="{5AFF31D0-8A17-47C0-8D09-D01303A85034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BB1C90-E3F3-41FC-B0C5-032AFAF0CD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000" y="666000"/>
            <a:ext cx="9033188" cy="463550"/>
          </a:xfrm>
        </p:spPr>
        <p:txBody>
          <a:bodyPr tIns="0" rIns="0" b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Contact </a:t>
            </a:r>
            <a:r>
              <a:rPr lang="de-DE" dirty="0" err="1"/>
              <a:t>person</a:t>
            </a:r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EE36201C-ECB9-435F-82B4-E65C8C2941DF}"/>
              </a:ext>
            </a:extLst>
          </p:cNvPr>
          <p:cNvPicPr>
            <a:picLocks/>
          </p:cNvPicPr>
          <p:nvPr userDrawn="1"/>
        </p:nvPicPr>
        <p:blipFill rotWithShape="1">
          <a:blip r:embed="rId2"/>
          <a:srcRect t="35054" b="14808"/>
          <a:stretch/>
        </p:blipFill>
        <p:spPr>
          <a:xfrm>
            <a:off x="0" y="3419997"/>
            <a:ext cx="12193200" cy="3438003"/>
          </a:xfrm>
          <a:custGeom>
            <a:avLst/>
            <a:gdLst>
              <a:gd name="connsiteX0" fmla="*/ 0 w 12190413"/>
              <a:gd name="connsiteY0" fmla="*/ 0 h 4572000"/>
              <a:gd name="connsiteX1" fmla="*/ 12190413 w 12190413"/>
              <a:gd name="connsiteY1" fmla="*/ 0 h 4572000"/>
              <a:gd name="connsiteX2" fmla="*/ 12190413 w 12190413"/>
              <a:gd name="connsiteY2" fmla="*/ 4572000 h 4572000"/>
              <a:gd name="connsiteX3" fmla="*/ 11974286 w 12190413"/>
              <a:gd name="connsiteY3" fmla="*/ 4572000 h 4572000"/>
              <a:gd name="connsiteX4" fmla="*/ 11747062 w 12190413"/>
              <a:gd name="connsiteY4" fmla="*/ 4572000 h 4572000"/>
              <a:gd name="connsiteX5" fmla="*/ 9231087 w 12190413"/>
              <a:gd name="connsiteY5" fmla="*/ 4572000 h 4572000"/>
              <a:gd name="connsiteX6" fmla="*/ 8157029 w 12190413"/>
              <a:gd name="connsiteY6" fmla="*/ 4572000 h 4572000"/>
              <a:gd name="connsiteX7" fmla="*/ 0 w 12190413"/>
              <a:gd name="connsiteY7" fmla="*/ 4572000 h 457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0413" h="4572000">
                <a:moveTo>
                  <a:pt x="0" y="0"/>
                </a:moveTo>
                <a:lnTo>
                  <a:pt x="12190413" y="0"/>
                </a:lnTo>
                <a:lnTo>
                  <a:pt x="12190413" y="4572000"/>
                </a:lnTo>
                <a:lnTo>
                  <a:pt x="11974286" y="4572000"/>
                </a:lnTo>
                <a:lnTo>
                  <a:pt x="11747062" y="4572000"/>
                </a:lnTo>
                <a:lnTo>
                  <a:pt x="9231087" y="4572000"/>
                </a:lnTo>
                <a:lnTo>
                  <a:pt x="8157029" y="4572000"/>
                </a:lnTo>
                <a:lnTo>
                  <a:pt x="0" y="4572000"/>
                </a:lnTo>
                <a:close/>
              </a:path>
            </a:pathLst>
          </a:custGeom>
        </p:spPr>
      </p:pic>
      <p:pic>
        <p:nvPicPr>
          <p:cNvPr id="9" name="Picture 75" descr="C:\Users\bertscha\Desktop\ebmpapst_logobox_claim_2021_rgb.jpg">
            <a:extLst>
              <a:ext uri="{FF2B5EF4-FFF2-40B4-BE49-F238E27FC236}">
                <a16:creationId xmlns:a16="http://schemas.microsoft.com/office/drawing/2014/main" id="{A731F31D-E80C-4A3B-B082-EE40572110B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01188" y="1977340"/>
            <a:ext cx="2689223" cy="19216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FBF6C823-B124-43DE-84E1-20821E9F5A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7999" y="1994400"/>
            <a:ext cx="3405600" cy="216000"/>
          </a:xfrm>
        </p:spPr>
        <p:txBody>
          <a:bodyPr anchor="ctr" anchorCtr="0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First name Last name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462C95B6-04B8-43D4-BA39-C997916CB5D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7999" y="2238000"/>
            <a:ext cx="3405600" cy="216000"/>
          </a:xfrm>
        </p:spPr>
        <p:txBody>
          <a:bodyPr anchor="ctr" anchorCtr="0"/>
          <a:lstStyle>
            <a:lvl1pPr marL="0" indent="0"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Firstname.lastname@de.ebmpapst.com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1143D578-F89E-49AF-B03C-E2D1CADB137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46399" y="2481600"/>
            <a:ext cx="2527200" cy="216000"/>
          </a:xfrm>
        </p:spPr>
        <p:txBody>
          <a:bodyPr anchor="ctr" anchorCtr="0"/>
          <a:lstStyle>
            <a:lvl1pPr marL="0" indent="0"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+49 7938 81-66X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7CE6DB51-4CC3-4DB1-BDCC-BAB653EB1BD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346399" y="2725200"/>
            <a:ext cx="2527200" cy="216000"/>
          </a:xfrm>
        </p:spPr>
        <p:txBody>
          <a:bodyPr anchor="ctr" anchorCtr="0"/>
          <a:lstStyle>
            <a:lvl1pPr marL="0" indent="0"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+49 7938 81-66X</a:t>
            </a:r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EDBCFF63-A9DF-4427-AC57-7809FCC3FD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0374" y="1994400"/>
            <a:ext cx="3405600" cy="216000"/>
          </a:xfrm>
        </p:spPr>
        <p:txBody>
          <a:bodyPr anchor="ctr" anchorCtr="0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ebm-papst </a:t>
            </a:r>
            <a:r>
              <a:rPr lang="en-US" noProof="0" dirty="0" err="1"/>
              <a:t>Mulfingen</a:t>
            </a:r>
            <a:r>
              <a:rPr lang="en-US" noProof="0" dirty="0"/>
              <a:t> GmbH &amp; Co. KG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C49A9ED-A113-4217-B2CB-61E4A10F7BE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230374" y="2238000"/>
            <a:ext cx="3405600" cy="216000"/>
          </a:xfrm>
        </p:spPr>
        <p:txBody>
          <a:bodyPr anchor="ctr" anchorCtr="0"/>
          <a:lstStyle>
            <a:lvl1pPr marL="0" indent="0"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Street X</a:t>
            </a:r>
          </a:p>
        </p:txBody>
      </p:sp>
      <p:sp>
        <p:nvSpPr>
          <p:cNvPr id="33" name="Text Placeholder 9">
            <a:extLst>
              <a:ext uri="{FF2B5EF4-FFF2-40B4-BE49-F238E27FC236}">
                <a16:creationId xmlns:a16="http://schemas.microsoft.com/office/drawing/2014/main" id="{856CEDCE-A340-4BA5-9EB7-9F2134E0B4F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30374" y="2481600"/>
            <a:ext cx="3405600" cy="216000"/>
          </a:xfrm>
        </p:spPr>
        <p:txBody>
          <a:bodyPr anchor="ctr" anchorCtr="0"/>
          <a:lstStyle>
            <a:lvl1pPr marL="0" indent="0"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XXXXX Location</a:t>
            </a:r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F4D53BF4-1D54-43E5-A8C4-41EB8493ADB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230374" y="2725200"/>
            <a:ext cx="3405600" cy="216000"/>
          </a:xfrm>
        </p:spPr>
        <p:txBody>
          <a:bodyPr anchor="ctr" anchorCtr="0"/>
          <a:lstStyle>
            <a:lvl1pPr marL="0" indent="0"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www.ebmpapst.com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D96F6AC3-AF28-4DFC-B668-F5ADE9E22E05}"/>
              </a:ext>
            </a:extLst>
          </p:cNvPr>
          <p:cNvSpPr txBox="1"/>
          <p:nvPr userDrawn="1"/>
        </p:nvSpPr>
        <p:spPr>
          <a:xfrm>
            <a:off x="467999" y="2481600"/>
            <a:ext cx="875610" cy="216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US" sz="1400" b="1" kern="1200" noProof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hone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024AC50F-510A-4B4D-A897-C2915D24D27C}"/>
              </a:ext>
            </a:extLst>
          </p:cNvPr>
          <p:cNvSpPr txBox="1"/>
          <p:nvPr userDrawn="1"/>
        </p:nvSpPr>
        <p:spPr>
          <a:xfrm>
            <a:off x="467998" y="2725200"/>
            <a:ext cx="875611" cy="216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US" sz="1400" b="1" kern="1200" noProof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ll Phone</a:t>
            </a:r>
          </a:p>
        </p:txBody>
      </p:sp>
    </p:spTree>
    <p:extLst>
      <p:ext uri="{BB962C8B-B14F-4D97-AF65-F5344CB8AC3E}">
        <p14:creationId xmlns:p14="http://schemas.microsoft.com/office/powerpoint/2010/main" val="545258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 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ußzeilenplatzhalter 3">
            <a:extLst>
              <a:ext uri="{FF2B5EF4-FFF2-40B4-BE49-F238E27FC236}">
                <a16:creationId xmlns:a16="http://schemas.microsoft.com/office/drawing/2014/main" id="{7F07214C-2D3D-480C-97AB-548B8983DD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17547" y="6591301"/>
            <a:ext cx="9000000" cy="266700"/>
          </a:xfrm>
        </p:spPr>
        <p:txBody>
          <a:bodyPr lIns="0"/>
          <a:lstStyle>
            <a:lvl1pPr>
              <a:defRPr>
                <a:solidFill>
                  <a:prstClr val="black">
                    <a:alpha val="0"/>
                  </a:prstClr>
                </a:solidFill>
              </a:defRPr>
            </a:lvl1pPr>
          </a:lstStyle>
          <a:p>
            <a:endParaRPr lang="de-DE" noProof="0"/>
          </a:p>
        </p:txBody>
      </p:sp>
      <p:sp>
        <p:nvSpPr>
          <p:cNvPr id="26" name="Foliennummernplatzhalter 4">
            <a:extLst>
              <a:ext uri="{FF2B5EF4-FFF2-40B4-BE49-F238E27FC236}">
                <a16:creationId xmlns:a16="http://schemas.microsoft.com/office/drawing/2014/main" id="{625CA272-1CDF-4830-9399-FE9B7971C8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591300"/>
            <a:ext cx="590550" cy="266700"/>
          </a:xfrm>
        </p:spPr>
        <p:txBody>
          <a:bodyPr/>
          <a:lstStyle>
            <a:lvl1pPr>
              <a:defRPr>
                <a:solidFill>
                  <a:prstClr val="black">
                    <a:alpha val="0"/>
                  </a:prstClr>
                </a:solidFill>
              </a:defRPr>
            </a:lvl1pPr>
          </a:lstStyle>
          <a:p>
            <a:fld id="{5AFF31D0-8A17-47C0-8D09-D01303A85034}" type="slidenum">
              <a:rPr lang="de-DE" noProof="0" smtClean="0"/>
              <a:pPr/>
              <a:t>‹#›</a:t>
            </a:fld>
            <a:endParaRPr lang="de-DE" noProof="0"/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B5F37A95-7F4B-47A6-A09C-8F94846FD21A}"/>
              </a:ext>
            </a:extLst>
          </p:cNvPr>
          <p:cNvGrpSpPr/>
          <p:nvPr userDrawn="1"/>
        </p:nvGrpSpPr>
        <p:grpSpPr>
          <a:xfrm>
            <a:off x="0" y="0"/>
            <a:ext cx="12193200" cy="4572001"/>
            <a:chOff x="0" y="0"/>
            <a:chExt cx="12190414" cy="4572001"/>
          </a:xfrm>
        </p:grpSpPr>
        <p:pic>
          <p:nvPicPr>
            <p:cNvPr id="6" name="Grafik 5">
              <a:extLst>
                <a:ext uri="{FF2B5EF4-FFF2-40B4-BE49-F238E27FC236}">
                  <a16:creationId xmlns:a16="http://schemas.microsoft.com/office/drawing/2014/main" id="{E5D56806-66D7-44A2-9BC7-89B8FCE4314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l="371" t="30424" r="371" b="2670"/>
            <a:stretch/>
          </p:blipFill>
          <p:spPr>
            <a:xfrm>
              <a:off x="1008064" y="0"/>
              <a:ext cx="10174286" cy="4572001"/>
            </a:xfrm>
            <a:custGeom>
              <a:avLst/>
              <a:gdLst>
                <a:gd name="connsiteX0" fmla="*/ 0 w 12190413"/>
                <a:gd name="connsiteY0" fmla="*/ 0 h 4572000"/>
                <a:gd name="connsiteX1" fmla="*/ 12190413 w 12190413"/>
                <a:gd name="connsiteY1" fmla="*/ 0 h 4572000"/>
                <a:gd name="connsiteX2" fmla="*/ 12190413 w 12190413"/>
                <a:gd name="connsiteY2" fmla="*/ 4572000 h 4572000"/>
                <a:gd name="connsiteX3" fmla="*/ 11974286 w 12190413"/>
                <a:gd name="connsiteY3" fmla="*/ 4572000 h 4572000"/>
                <a:gd name="connsiteX4" fmla="*/ 11747062 w 12190413"/>
                <a:gd name="connsiteY4" fmla="*/ 4572000 h 4572000"/>
                <a:gd name="connsiteX5" fmla="*/ 9231087 w 12190413"/>
                <a:gd name="connsiteY5" fmla="*/ 4572000 h 4572000"/>
                <a:gd name="connsiteX6" fmla="*/ 8157029 w 12190413"/>
                <a:gd name="connsiteY6" fmla="*/ 4572000 h 4572000"/>
                <a:gd name="connsiteX7" fmla="*/ 0 w 12190413"/>
                <a:gd name="connsiteY7" fmla="*/ 4572000 h 4572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0413" h="4572000">
                  <a:moveTo>
                    <a:pt x="0" y="0"/>
                  </a:moveTo>
                  <a:lnTo>
                    <a:pt x="12190413" y="0"/>
                  </a:lnTo>
                  <a:lnTo>
                    <a:pt x="12190413" y="4572000"/>
                  </a:lnTo>
                  <a:lnTo>
                    <a:pt x="11974286" y="4572000"/>
                  </a:lnTo>
                  <a:lnTo>
                    <a:pt x="11747062" y="4572000"/>
                  </a:lnTo>
                  <a:lnTo>
                    <a:pt x="9231087" y="4572000"/>
                  </a:lnTo>
                  <a:lnTo>
                    <a:pt x="8157029" y="4572000"/>
                  </a:lnTo>
                  <a:lnTo>
                    <a:pt x="0" y="4572000"/>
                  </a:lnTo>
                  <a:close/>
                </a:path>
              </a:pathLst>
            </a:custGeom>
          </p:spPr>
        </p:pic>
        <p:pic>
          <p:nvPicPr>
            <p:cNvPr id="7" name="Grafik 6">
              <a:extLst>
                <a:ext uri="{FF2B5EF4-FFF2-40B4-BE49-F238E27FC236}">
                  <a16:creationId xmlns:a16="http://schemas.microsoft.com/office/drawing/2014/main" id="{86076466-2F22-4032-BC89-FA3157C5E39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l="371" t="30424" r="92365" b="2670"/>
            <a:stretch/>
          </p:blipFill>
          <p:spPr>
            <a:xfrm>
              <a:off x="0" y="0"/>
              <a:ext cx="1752600" cy="4572001"/>
            </a:xfrm>
            <a:custGeom>
              <a:avLst/>
              <a:gdLst>
                <a:gd name="connsiteX0" fmla="*/ 0 w 12190413"/>
                <a:gd name="connsiteY0" fmla="*/ 0 h 4572000"/>
                <a:gd name="connsiteX1" fmla="*/ 12190413 w 12190413"/>
                <a:gd name="connsiteY1" fmla="*/ 0 h 4572000"/>
                <a:gd name="connsiteX2" fmla="*/ 12190413 w 12190413"/>
                <a:gd name="connsiteY2" fmla="*/ 4572000 h 4572000"/>
                <a:gd name="connsiteX3" fmla="*/ 11974286 w 12190413"/>
                <a:gd name="connsiteY3" fmla="*/ 4572000 h 4572000"/>
                <a:gd name="connsiteX4" fmla="*/ 11747062 w 12190413"/>
                <a:gd name="connsiteY4" fmla="*/ 4572000 h 4572000"/>
                <a:gd name="connsiteX5" fmla="*/ 9231087 w 12190413"/>
                <a:gd name="connsiteY5" fmla="*/ 4572000 h 4572000"/>
                <a:gd name="connsiteX6" fmla="*/ 8157029 w 12190413"/>
                <a:gd name="connsiteY6" fmla="*/ 4572000 h 4572000"/>
                <a:gd name="connsiteX7" fmla="*/ 0 w 12190413"/>
                <a:gd name="connsiteY7" fmla="*/ 4572000 h 4572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0413" h="4572000">
                  <a:moveTo>
                    <a:pt x="0" y="0"/>
                  </a:moveTo>
                  <a:lnTo>
                    <a:pt x="12190413" y="0"/>
                  </a:lnTo>
                  <a:lnTo>
                    <a:pt x="12190413" y="4572000"/>
                  </a:lnTo>
                  <a:lnTo>
                    <a:pt x="11974286" y="4572000"/>
                  </a:lnTo>
                  <a:lnTo>
                    <a:pt x="11747062" y="4572000"/>
                  </a:lnTo>
                  <a:lnTo>
                    <a:pt x="9231087" y="4572000"/>
                  </a:lnTo>
                  <a:lnTo>
                    <a:pt x="8157029" y="4572000"/>
                  </a:lnTo>
                  <a:lnTo>
                    <a:pt x="0" y="4572000"/>
                  </a:lnTo>
                  <a:close/>
                </a:path>
              </a:pathLst>
            </a:custGeom>
          </p:spPr>
        </p:pic>
        <p:pic>
          <p:nvPicPr>
            <p:cNvPr id="8" name="Grafik 7">
              <a:extLst>
                <a:ext uri="{FF2B5EF4-FFF2-40B4-BE49-F238E27FC236}">
                  <a16:creationId xmlns:a16="http://schemas.microsoft.com/office/drawing/2014/main" id="{69048E10-4977-4FF6-AC75-2A1A3F5E649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l="91916" t="30424" r="371" b="2670"/>
            <a:stretch/>
          </p:blipFill>
          <p:spPr>
            <a:xfrm>
              <a:off x="10391774" y="0"/>
              <a:ext cx="1798640" cy="4572001"/>
            </a:xfrm>
            <a:custGeom>
              <a:avLst/>
              <a:gdLst>
                <a:gd name="connsiteX0" fmla="*/ 0 w 12190413"/>
                <a:gd name="connsiteY0" fmla="*/ 0 h 4572000"/>
                <a:gd name="connsiteX1" fmla="*/ 12190413 w 12190413"/>
                <a:gd name="connsiteY1" fmla="*/ 0 h 4572000"/>
                <a:gd name="connsiteX2" fmla="*/ 12190413 w 12190413"/>
                <a:gd name="connsiteY2" fmla="*/ 4572000 h 4572000"/>
                <a:gd name="connsiteX3" fmla="*/ 11974286 w 12190413"/>
                <a:gd name="connsiteY3" fmla="*/ 4572000 h 4572000"/>
                <a:gd name="connsiteX4" fmla="*/ 11747062 w 12190413"/>
                <a:gd name="connsiteY4" fmla="*/ 4572000 h 4572000"/>
                <a:gd name="connsiteX5" fmla="*/ 9231087 w 12190413"/>
                <a:gd name="connsiteY5" fmla="*/ 4572000 h 4572000"/>
                <a:gd name="connsiteX6" fmla="*/ 8157029 w 12190413"/>
                <a:gd name="connsiteY6" fmla="*/ 4572000 h 4572000"/>
                <a:gd name="connsiteX7" fmla="*/ 0 w 12190413"/>
                <a:gd name="connsiteY7" fmla="*/ 4572000 h 4572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0413" h="4572000">
                  <a:moveTo>
                    <a:pt x="0" y="0"/>
                  </a:moveTo>
                  <a:lnTo>
                    <a:pt x="12190413" y="0"/>
                  </a:lnTo>
                  <a:lnTo>
                    <a:pt x="12190413" y="4572000"/>
                  </a:lnTo>
                  <a:lnTo>
                    <a:pt x="11974286" y="4572000"/>
                  </a:lnTo>
                  <a:lnTo>
                    <a:pt x="11747062" y="4572000"/>
                  </a:lnTo>
                  <a:lnTo>
                    <a:pt x="9231087" y="4572000"/>
                  </a:lnTo>
                  <a:lnTo>
                    <a:pt x="8157029" y="4572000"/>
                  </a:lnTo>
                  <a:lnTo>
                    <a:pt x="0" y="4572000"/>
                  </a:lnTo>
                  <a:close/>
                </a:path>
              </a:pathLst>
            </a:custGeom>
          </p:spPr>
        </p:pic>
      </p:grpSp>
      <p:pic>
        <p:nvPicPr>
          <p:cNvPr id="9" name="Grafik 8">
            <a:extLst>
              <a:ext uri="{FF2B5EF4-FFF2-40B4-BE49-F238E27FC236}">
                <a16:creationId xmlns:a16="http://schemas.microsoft.com/office/drawing/2014/main" id="{3BFA3CBE-DC81-465D-A9B4-147E272543B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903346" y="3594376"/>
            <a:ext cx="1822010" cy="1306694"/>
          </a:xfrm>
          <a:prstGeom prst="rect">
            <a:avLst/>
          </a:prstGeom>
        </p:spPr>
      </p:pic>
      <p:sp>
        <p:nvSpPr>
          <p:cNvPr id="10" name="Titel 1">
            <a:extLst>
              <a:ext uri="{FF2B5EF4-FFF2-40B4-BE49-F238E27FC236}">
                <a16:creationId xmlns:a16="http://schemas.microsoft.com/office/drawing/2014/main" id="{43B64341-B567-4E1E-A6A2-DEBAC169D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000" y="4850072"/>
            <a:ext cx="9117010" cy="463550"/>
          </a:xfrm>
        </p:spPr>
        <p:txBody>
          <a:bodyPr vert="horz" wrap="square" tIns="0" rIns="0" bIns="0"/>
          <a:lstStyle>
            <a:lvl1pPr>
              <a:defRPr b="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hank you for your attention.</a:t>
            </a:r>
            <a:endParaRPr lang="de-DE" noProof="0" dirty="0"/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9FB42B3A-E7A2-4B3F-B84A-E8F44E0726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7999" y="5478917"/>
            <a:ext cx="3405600" cy="216000"/>
          </a:xfrm>
        </p:spPr>
        <p:txBody>
          <a:bodyPr anchor="ctr" anchorCtr="0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First name Last name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43C241B6-C2E5-409C-8BB9-4C6FD43763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7999" y="5722517"/>
            <a:ext cx="3405600" cy="216000"/>
          </a:xfrm>
        </p:spPr>
        <p:txBody>
          <a:bodyPr anchor="ctr" anchorCtr="0"/>
          <a:lstStyle>
            <a:lvl1pPr marL="0" indent="0"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Firstname.lastname@de.ebmpapst.com</a:t>
            </a:r>
          </a:p>
        </p:txBody>
      </p:sp>
      <p:sp>
        <p:nvSpPr>
          <p:cNvPr id="27" name="Text Placeholder 9">
            <a:extLst>
              <a:ext uri="{FF2B5EF4-FFF2-40B4-BE49-F238E27FC236}">
                <a16:creationId xmlns:a16="http://schemas.microsoft.com/office/drawing/2014/main" id="{F72DCE3B-1D12-4FFF-8C40-52A76995D59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46399" y="5966117"/>
            <a:ext cx="2527200" cy="216000"/>
          </a:xfrm>
        </p:spPr>
        <p:txBody>
          <a:bodyPr anchor="ctr" anchorCtr="0"/>
          <a:lstStyle>
            <a:lvl1pPr marL="0" indent="0"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+49 7938 81-66X</a:t>
            </a:r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C0CD2E22-2184-4877-9781-1F1CFBA6DD3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346399" y="6209717"/>
            <a:ext cx="2527200" cy="216000"/>
          </a:xfrm>
        </p:spPr>
        <p:txBody>
          <a:bodyPr anchor="ctr" anchorCtr="0"/>
          <a:lstStyle>
            <a:lvl1pPr marL="0" indent="0"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+49 7938 81-66X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8C96CA74-E8CD-40F2-8A83-7E8B94D03D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47200" y="5478917"/>
            <a:ext cx="3405600" cy="216000"/>
          </a:xfrm>
        </p:spPr>
        <p:txBody>
          <a:bodyPr anchor="ctr" anchorCtr="0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ebm-papst </a:t>
            </a:r>
            <a:r>
              <a:rPr lang="en-US" noProof="0" dirty="0" err="1"/>
              <a:t>Mulfingen</a:t>
            </a:r>
            <a:r>
              <a:rPr lang="en-US" noProof="0" dirty="0"/>
              <a:t> GmbH &amp; Co. KG</a:t>
            </a:r>
          </a:p>
        </p:txBody>
      </p:sp>
      <p:sp>
        <p:nvSpPr>
          <p:cNvPr id="30" name="Text Placeholder 9">
            <a:extLst>
              <a:ext uri="{FF2B5EF4-FFF2-40B4-BE49-F238E27FC236}">
                <a16:creationId xmlns:a16="http://schemas.microsoft.com/office/drawing/2014/main" id="{BD52C443-913D-4289-B806-62D3BCDC0A3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147200" y="5722517"/>
            <a:ext cx="3405600" cy="216000"/>
          </a:xfrm>
        </p:spPr>
        <p:txBody>
          <a:bodyPr anchor="ctr" anchorCtr="0"/>
          <a:lstStyle>
            <a:lvl1pPr marL="0" indent="0"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Street X</a:t>
            </a:r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5F1C0BF7-5E59-4166-BDE4-DBFE0FC2CB8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147200" y="5966117"/>
            <a:ext cx="3405600" cy="216000"/>
          </a:xfrm>
        </p:spPr>
        <p:txBody>
          <a:bodyPr anchor="ctr" anchorCtr="0"/>
          <a:lstStyle>
            <a:lvl1pPr marL="0" indent="0"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XXXXX Location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3E7D7F26-6297-46E7-9D7A-6C1DFF3EBFE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147200" y="6209717"/>
            <a:ext cx="3405600" cy="216000"/>
          </a:xfrm>
        </p:spPr>
        <p:txBody>
          <a:bodyPr anchor="ctr" anchorCtr="0"/>
          <a:lstStyle>
            <a:lvl1pPr marL="0" indent="0"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www.ebmpapst.com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5558372D-30AD-467E-A388-E26940D9A507}"/>
              </a:ext>
            </a:extLst>
          </p:cNvPr>
          <p:cNvSpPr txBox="1"/>
          <p:nvPr userDrawn="1"/>
        </p:nvSpPr>
        <p:spPr>
          <a:xfrm>
            <a:off x="467999" y="5966117"/>
            <a:ext cx="875610" cy="216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US" sz="1400" b="1" kern="1200" noProof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hone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21878D29-73B1-4BC8-AC74-D50AA607F59E}"/>
              </a:ext>
            </a:extLst>
          </p:cNvPr>
          <p:cNvSpPr txBox="1"/>
          <p:nvPr userDrawn="1"/>
        </p:nvSpPr>
        <p:spPr>
          <a:xfrm>
            <a:off x="467998" y="6209717"/>
            <a:ext cx="875611" cy="216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US" sz="1400" b="1" kern="1200" noProof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ll Phone</a:t>
            </a:r>
          </a:p>
        </p:txBody>
      </p:sp>
    </p:spTree>
    <p:extLst>
      <p:ext uri="{BB962C8B-B14F-4D97-AF65-F5344CB8AC3E}">
        <p14:creationId xmlns:p14="http://schemas.microsoft.com/office/powerpoint/2010/main" val="3492256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len Dan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5EC2ABD4-BB1A-4B17-AFEA-60B6A52E91D4}"/>
              </a:ext>
            </a:extLst>
          </p:cNvPr>
          <p:cNvSpPr/>
          <p:nvPr userDrawn="1"/>
        </p:nvSpPr>
        <p:spPr>
          <a:xfrm>
            <a:off x="0" y="6591300"/>
            <a:ext cx="12192000" cy="266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noProof="0">
              <a:solidFill>
                <a:schemeClr val="bg1"/>
              </a:solidFill>
            </a:endParaRPr>
          </a:p>
        </p:txBody>
      </p:sp>
      <p:sp>
        <p:nvSpPr>
          <p:cNvPr id="11" name="Fußzeilenplatzhalter 3">
            <a:extLst>
              <a:ext uri="{FF2B5EF4-FFF2-40B4-BE49-F238E27FC236}">
                <a16:creationId xmlns:a16="http://schemas.microsoft.com/office/drawing/2014/main" id="{6B946854-69B0-4E09-8959-AC7F4A4C3A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17549" y="6591301"/>
            <a:ext cx="9000000" cy="266700"/>
          </a:xfrm>
        </p:spPr>
        <p:txBody>
          <a:bodyPr lIns="0"/>
          <a:lstStyle/>
          <a:p>
            <a:endParaRPr lang="de-DE" noProof="0"/>
          </a:p>
        </p:txBody>
      </p:sp>
      <p:sp>
        <p:nvSpPr>
          <p:cNvPr id="12" name="Foliennummernplatzhalter 4">
            <a:extLst>
              <a:ext uri="{FF2B5EF4-FFF2-40B4-BE49-F238E27FC236}">
                <a16:creationId xmlns:a16="http://schemas.microsoft.com/office/drawing/2014/main" id="{9F2FD8B8-AA8E-4DF6-AFC0-810BF2F291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591300"/>
            <a:ext cx="471600" cy="266700"/>
          </a:xfrm>
        </p:spPr>
        <p:txBody>
          <a:bodyPr/>
          <a:lstStyle/>
          <a:p>
            <a:fld id="{5AFF31D0-8A17-47C0-8D09-D01303A85034}" type="slidenum">
              <a:rPr lang="de-DE" noProof="0" smtClean="0"/>
              <a:pPr/>
              <a:t>‹#›</a:t>
            </a:fld>
            <a:endParaRPr lang="de-DE" noProof="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9A82FDEF-6993-40F7-8705-6D439F27155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215809" y="5778000"/>
            <a:ext cx="1505915" cy="1080000"/>
          </a:xfrm>
          <a:prstGeom prst="rect">
            <a:avLst/>
          </a:prstGeom>
        </p:spPr>
      </p:pic>
      <p:pic>
        <p:nvPicPr>
          <p:cNvPr id="14" name="Grafik 13">
            <a:hlinkClick r:id="rId4"/>
            <a:extLst>
              <a:ext uri="{FF2B5EF4-FFF2-40B4-BE49-F238E27FC236}">
                <a16:creationId xmlns:a16="http://schemas.microsoft.com/office/drawing/2014/main" id="{9440B01B-5C16-4E4E-882C-2AC91858530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98954" y="4604794"/>
            <a:ext cx="455257" cy="455255"/>
          </a:xfrm>
          <a:prstGeom prst="rect">
            <a:avLst/>
          </a:prstGeom>
        </p:spPr>
      </p:pic>
      <p:pic>
        <p:nvPicPr>
          <p:cNvPr id="15" name="Grafik 14">
            <a:hlinkClick r:id="rId7"/>
            <a:extLst>
              <a:ext uri="{FF2B5EF4-FFF2-40B4-BE49-F238E27FC236}">
                <a16:creationId xmlns:a16="http://schemas.microsoft.com/office/drawing/2014/main" id="{76E5D815-6F61-4427-BA50-B016941B668E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307589" y="4604794"/>
            <a:ext cx="455257" cy="455255"/>
          </a:xfrm>
          <a:prstGeom prst="rect">
            <a:avLst/>
          </a:prstGeom>
        </p:spPr>
      </p:pic>
      <p:pic>
        <p:nvPicPr>
          <p:cNvPr id="16" name="Grafik 15">
            <a:hlinkClick r:id="rId10"/>
            <a:extLst>
              <a:ext uri="{FF2B5EF4-FFF2-40B4-BE49-F238E27FC236}">
                <a16:creationId xmlns:a16="http://schemas.microsoft.com/office/drawing/2014/main" id="{945FEAE9-4A77-41BB-84EF-14EC76599A5E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916224" y="4659830"/>
            <a:ext cx="370208" cy="325182"/>
          </a:xfrm>
          <a:prstGeom prst="rect">
            <a:avLst/>
          </a:prstGeom>
        </p:spPr>
      </p:pic>
      <p:pic>
        <p:nvPicPr>
          <p:cNvPr id="17" name="Grafik 16">
            <a:hlinkClick r:id="rId13"/>
            <a:extLst>
              <a:ext uri="{FF2B5EF4-FFF2-40B4-BE49-F238E27FC236}">
                <a16:creationId xmlns:a16="http://schemas.microsoft.com/office/drawing/2014/main" id="{69B0034B-F767-4B8C-BF6E-438130CF3855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439810" y="4649245"/>
            <a:ext cx="425239" cy="350197"/>
          </a:xfrm>
          <a:prstGeom prst="rect">
            <a:avLst/>
          </a:prstGeom>
        </p:spPr>
      </p:pic>
      <p:pic>
        <p:nvPicPr>
          <p:cNvPr id="18" name="Grafik 17">
            <a:hlinkClick r:id="rId16"/>
            <a:extLst>
              <a:ext uri="{FF2B5EF4-FFF2-40B4-BE49-F238E27FC236}">
                <a16:creationId xmlns:a16="http://schemas.microsoft.com/office/drawing/2014/main" id="{5723DF4F-D876-45F2-9B4D-E34C42F0FC63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7018427" y="4594211"/>
            <a:ext cx="425241" cy="480270"/>
          </a:xfrm>
          <a:prstGeom prst="rect">
            <a:avLst/>
          </a:prstGeom>
        </p:spPr>
      </p:pic>
      <p:sp>
        <p:nvSpPr>
          <p:cNvPr id="350" name="Titel 9">
            <a:extLst>
              <a:ext uri="{FF2B5EF4-FFF2-40B4-BE49-F238E27FC236}">
                <a16:creationId xmlns:a16="http://schemas.microsoft.com/office/drawing/2014/main" id="{47E84EBA-9DB2-4B56-B673-FF496CA36A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7549" y="579119"/>
            <a:ext cx="10912846" cy="1415433"/>
          </a:xfrm>
        </p:spPr>
        <p:txBody>
          <a:bodyPr tIns="0" rIns="0" bIns="0" anchor="ctr"/>
          <a:lstStyle>
            <a:lvl1pPr>
              <a:defRPr sz="8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hank you</a:t>
            </a:r>
          </a:p>
        </p:txBody>
      </p:sp>
      <p:sp>
        <p:nvSpPr>
          <p:cNvPr id="354" name="Text Placeholder 9">
            <a:extLst>
              <a:ext uri="{FF2B5EF4-FFF2-40B4-BE49-F238E27FC236}">
                <a16:creationId xmlns:a16="http://schemas.microsoft.com/office/drawing/2014/main" id="{7E8D712B-FECF-4E5F-A814-A3D3E98B22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13999" y="2800055"/>
            <a:ext cx="3405600" cy="216000"/>
          </a:xfrm>
        </p:spPr>
        <p:txBody>
          <a:bodyPr anchor="ctr" anchorCtr="0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First name Last name</a:t>
            </a:r>
          </a:p>
        </p:txBody>
      </p:sp>
      <p:sp>
        <p:nvSpPr>
          <p:cNvPr id="355" name="Text Placeholder 9">
            <a:extLst>
              <a:ext uri="{FF2B5EF4-FFF2-40B4-BE49-F238E27FC236}">
                <a16:creationId xmlns:a16="http://schemas.microsoft.com/office/drawing/2014/main" id="{0BA7C211-ADFD-4D96-9665-A98B5650EE8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3999" y="3043655"/>
            <a:ext cx="3405600" cy="216000"/>
          </a:xfrm>
        </p:spPr>
        <p:txBody>
          <a:bodyPr anchor="ctr" anchorCtr="0"/>
          <a:lstStyle>
            <a:lvl1pPr marL="0" indent="0"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Firstname.lastname@de.ebmpapst.com</a:t>
            </a:r>
          </a:p>
        </p:txBody>
      </p:sp>
      <p:sp>
        <p:nvSpPr>
          <p:cNvPr id="356" name="Text Placeholder 9">
            <a:extLst>
              <a:ext uri="{FF2B5EF4-FFF2-40B4-BE49-F238E27FC236}">
                <a16:creationId xmlns:a16="http://schemas.microsoft.com/office/drawing/2014/main" id="{D46D4174-7D41-472F-B51D-2C694106B73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592399" y="3287255"/>
            <a:ext cx="2527200" cy="216000"/>
          </a:xfrm>
        </p:spPr>
        <p:txBody>
          <a:bodyPr anchor="ctr" anchorCtr="0"/>
          <a:lstStyle>
            <a:lvl1pPr marL="0" indent="0"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+49 7938 81-66X</a:t>
            </a:r>
          </a:p>
        </p:txBody>
      </p:sp>
      <p:sp>
        <p:nvSpPr>
          <p:cNvPr id="357" name="Text Placeholder 9">
            <a:extLst>
              <a:ext uri="{FF2B5EF4-FFF2-40B4-BE49-F238E27FC236}">
                <a16:creationId xmlns:a16="http://schemas.microsoft.com/office/drawing/2014/main" id="{4198C1A1-D02E-4183-9F19-D77F067D912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92399" y="3530855"/>
            <a:ext cx="2527200" cy="216000"/>
          </a:xfrm>
        </p:spPr>
        <p:txBody>
          <a:bodyPr anchor="ctr" anchorCtr="0"/>
          <a:lstStyle>
            <a:lvl1pPr marL="0" indent="0"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+49 7938 81-66X</a:t>
            </a:r>
          </a:p>
        </p:txBody>
      </p:sp>
      <p:sp>
        <p:nvSpPr>
          <p:cNvPr id="358" name="Text Placeholder 9">
            <a:extLst>
              <a:ext uri="{FF2B5EF4-FFF2-40B4-BE49-F238E27FC236}">
                <a16:creationId xmlns:a16="http://schemas.microsoft.com/office/drawing/2014/main" id="{C5E87640-23E3-48B6-86AC-00B8DF5A3CD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92799" y="2800055"/>
            <a:ext cx="4114869" cy="216000"/>
          </a:xfrm>
        </p:spPr>
        <p:txBody>
          <a:bodyPr anchor="ctr" anchorCtr="0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ebm-papst Mulfingen GmbH &amp; Co. KGaA &amp; Co. KG</a:t>
            </a:r>
          </a:p>
        </p:txBody>
      </p:sp>
      <p:sp>
        <p:nvSpPr>
          <p:cNvPr id="359" name="Text Placeholder 9">
            <a:extLst>
              <a:ext uri="{FF2B5EF4-FFF2-40B4-BE49-F238E27FC236}">
                <a16:creationId xmlns:a16="http://schemas.microsoft.com/office/drawing/2014/main" id="{89F085CD-17F3-4605-B5C7-D7EF62CDF5C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92799" y="3043655"/>
            <a:ext cx="4114869" cy="216000"/>
          </a:xfrm>
        </p:spPr>
        <p:txBody>
          <a:bodyPr anchor="ctr" anchorCtr="0"/>
          <a:lstStyle>
            <a:lvl1pPr marL="0" indent="0"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Street X</a:t>
            </a:r>
          </a:p>
        </p:txBody>
      </p:sp>
      <p:sp>
        <p:nvSpPr>
          <p:cNvPr id="371" name="Text Placeholder 9">
            <a:extLst>
              <a:ext uri="{FF2B5EF4-FFF2-40B4-BE49-F238E27FC236}">
                <a16:creationId xmlns:a16="http://schemas.microsoft.com/office/drawing/2014/main" id="{2AA160EF-B089-407B-A321-B0975C94F34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92799" y="3287255"/>
            <a:ext cx="4114869" cy="216000"/>
          </a:xfrm>
        </p:spPr>
        <p:txBody>
          <a:bodyPr anchor="ctr" anchorCtr="0"/>
          <a:lstStyle>
            <a:lvl1pPr marL="0" indent="0"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XXXXX Location</a:t>
            </a:r>
          </a:p>
        </p:txBody>
      </p:sp>
      <p:sp>
        <p:nvSpPr>
          <p:cNvPr id="372" name="Text Placeholder 9">
            <a:extLst>
              <a:ext uri="{FF2B5EF4-FFF2-40B4-BE49-F238E27FC236}">
                <a16:creationId xmlns:a16="http://schemas.microsoft.com/office/drawing/2014/main" id="{10612CCB-181F-4089-BB92-BF891451A6B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492799" y="3530855"/>
            <a:ext cx="4114869" cy="216000"/>
          </a:xfrm>
        </p:spPr>
        <p:txBody>
          <a:bodyPr anchor="ctr" anchorCtr="0"/>
          <a:lstStyle>
            <a:lvl1pPr marL="0" indent="0"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www.ebmpapst.com</a:t>
            </a:r>
          </a:p>
        </p:txBody>
      </p:sp>
      <p:sp>
        <p:nvSpPr>
          <p:cNvPr id="373" name="TextBox 372">
            <a:extLst>
              <a:ext uri="{FF2B5EF4-FFF2-40B4-BE49-F238E27FC236}">
                <a16:creationId xmlns:a16="http://schemas.microsoft.com/office/drawing/2014/main" id="{EA377664-B0D0-4839-B88C-58230A211057}"/>
              </a:ext>
            </a:extLst>
          </p:cNvPr>
          <p:cNvSpPr txBox="1"/>
          <p:nvPr userDrawn="1"/>
        </p:nvSpPr>
        <p:spPr>
          <a:xfrm>
            <a:off x="713999" y="3287255"/>
            <a:ext cx="875610" cy="216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US" sz="1400" b="1" kern="1200" noProof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hone</a:t>
            </a:r>
          </a:p>
        </p:txBody>
      </p:sp>
      <p:sp>
        <p:nvSpPr>
          <p:cNvPr id="374" name="TextBox 373">
            <a:extLst>
              <a:ext uri="{FF2B5EF4-FFF2-40B4-BE49-F238E27FC236}">
                <a16:creationId xmlns:a16="http://schemas.microsoft.com/office/drawing/2014/main" id="{765FFC4A-1DB1-4C4F-ACA1-436A7D43BD30}"/>
              </a:ext>
            </a:extLst>
          </p:cNvPr>
          <p:cNvSpPr txBox="1"/>
          <p:nvPr userDrawn="1"/>
        </p:nvSpPr>
        <p:spPr>
          <a:xfrm>
            <a:off x="713998" y="3530855"/>
            <a:ext cx="875611" cy="216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US" sz="1400" b="1" kern="1200" noProof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ll Phone</a:t>
            </a:r>
          </a:p>
        </p:txBody>
      </p:sp>
      <p:sp>
        <p:nvSpPr>
          <p:cNvPr id="375" name="Text Placeholder 9">
            <a:extLst>
              <a:ext uri="{FF2B5EF4-FFF2-40B4-BE49-F238E27FC236}">
                <a16:creationId xmlns:a16="http://schemas.microsoft.com/office/drawing/2014/main" id="{98C3BD28-5C64-4F34-B9E4-78BBD28370E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6400" y="2235600"/>
            <a:ext cx="3405600" cy="522000"/>
          </a:xfrm>
        </p:spPr>
        <p:txBody>
          <a:bodyPr anchor="t" anchorCtr="0"/>
          <a:lstStyle>
            <a:lvl1pPr marL="0" indent="0">
              <a:buNone/>
              <a:defRPr sz="2400" b="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ontact Person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2967C23B-5DBE-40C0-9030-7100EC709B3A}"/>
              </a:ext>
            </a:extLst>
          </p:cNvPr>
          <p:cNvPicPr>
            <a:picLocks noChangeAspect="1"/>
          </p:cNvPicPr>
          <p:nvPr userDrawn="1"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687213" y="5307052"/>
            <a:ext cx="462932" cy="462932"/>
          </a:xfrm>
          <a:prstGeom prst="rect">
            <a:avLst/>
          </a:prstGeom>
        </p:spPr>
      </p:pic>
      <p:pic>
        <p:nvPicPr>
          <p:cNvPr id="377" name="Graphic 376">
            <a:extLst>
              <a:ext uri="{FF2B5EF4-FFF2-40B4-BE49-F238E27FC236}">
                <a16:creationId xmlns:a16="http://schemas.microsoft.com/office/drawing/2014/main" id="{33DA4650-6E58-4ABD-8270-7C0E917BAE93}"/>
              </a:ext>
            </a:extLst>
          </p:cNvPr>
          <p:cNvPicPr>
            <a:picLocks noChangeAspect="1"/>
          </p:cNvPicPr>
          <p:nvPr userDrawn="1"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2305049" y="5311506"/>
            <a:ext cx="454025" cy="454025"/>
          </a:xfrm>
          <a:prstGeom prst="rect">
            <a:avLst/>
          </a:prstGeom>
        </p:spPr>
      </p:pic>
      <p:pic>
        <p:nvPicPr>
          <p:cNvPr id="379" name="Graphic 378">
            <a:extLst>
              <a:ext uri="{FF2B5EF4-FFF2-40B4-BE49-F238E27FC236}">
                <a16:creationId xmlns:a16="http://schemas.microsoft.com/office/drawing/2014/main" id="{3C0EA681-04AC-4257-9458-CFB95953382C}"/>
              </a:ext>
            </a:extLst>
          </p:cNvPr>
          <p:cNvPicPr>
            <a:picLocks noChangeAspect="1"/>
          </p:cNvPicPr>
          <p:nvPr userDrawn="1"/>
        </p:nvPicPr>
        <p:blipFill>
          <a:blip r:embed="rId23">
            <a:extLs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3870325" y="5307537"/>
            <a:ext cx="461963" cy="461963"/>
          </a:xfrm>
          <a:prstGeom prst="rect">
            <a:avLst/>
          </a:prstGeom>
        </p:spPr>
      </p:pic>
      <p:pic>
        <p:nvPicPr>
          <p:cNvPr id="382" name="Grafik 23">
            <a:extLst>
              <a:ext uri="{FF2B5EF4-FFF2-40B4-BE49-F238E27FC236}">
                <a16:creationId xmlns:a16="http://schemas.microsoft.com/office/drawing/2014/main" id="{A6A8DA19-1DF5-4328-A255-0E4F6B2160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5">
            <a:extLst>
              <a:ext uri="{BEBA8EAE-BF5A-486C-A8C5-ECC9F3942E4B}">
                <a14:imgProps xmlns:a14="http://schemas.microsoft.com/office/drawing/2010/main">
                  <a14:imgLayer r:embed="rId26">
                    <a14:imgEffect>
                      <a14:colorTemperature colorTemp="1500"/>
                    </a14:imgEffect>
                    <a14:imgEffect>
                      <a14:saturation sat="0"/>
                    </a14:imgEffect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rcRect l="46263" b="13998"/>
          <a:stretch/>
        </p:blipFill>
        <p:spPr>
          <a:xfrm>
            <a:off x="5337849" y="5250911"/>
            <a:ext cx="574105" cy="575214"/>
          </a:xfrm>
          <a:prstGeom prst="rect">
            <a:avLst/>
          </a:prstGeom>
        </p:spPr>
      </p:pic>
      <p:pic>
        <p:nvPicPr>
          <p:cNvPr id="385" name="Graphic 384">
            <a:extLst>
              <a:ext uri="{FF2B5EF4-FFF2-40B4-BE49-F238E27FC236}">
                <a16:creationId xmlns:a16="http://schemas.microsoft.com/office/drawing/2014/main" id="{5ED4EAD7-2DF3-4584-9EAC-4F4FEBFD73F5}"/>
              </a:ext>
            </a:extLst>
          </p:cNvPr>
          <p:cNvPicPr>
            <a:picLocks noChangeAspect="1"/>
          </p:cNvPicPr>
          <p:nvPr userDrawn="1"/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6996588" y="5308965"/>
            <a:ext cx="459106" cy="459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0571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239779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ußzeilenplatzhalter 3">
            <a:extLst>
              <a:ext uri="{FF2B5EF4-FFF2-40B4-BE49-F238E27FC236}">
                <a16:creationId xmlns:a16="http://schemas.microsoft.com/office/drawing/2014/main" id="{986384DB-333B-4F49-8581-1F897C64E0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17548" y="6591301"/>
            <a:ext cx="9000000" cy="266700"/>
          </a:xfrm>
        </p:spPr>
        <p:txBody>
          <a:bodyPr lIns="0"/>
          <a:lstStyle>
            <a:lvl1pPr>
              <a:defRPr>
                <a:solidFill>
                  <a:prstClr val="black">
                    <a:alpha val="0"/>
                  </a:prst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8" name="Foliennummernplatzhalter 4">
            <a:extLst>
              <a:ext uri="{FF2B5EF4-FFF2-40B4-BE49-F238E27FC236}">
                <a16:creationId xmlns:a16="http://schemas.microsoft.com/office/drawing/2014/main" id="{473A2062-25A1-4740-9E35-61BC9E6508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591300"/>
            <a:ext cx="590550" cy="266700"/>
          </a:xfrm>
        </p:spPr>
        <p:txBody>
          <a:bodyPr/>
          <a:lstStyle>
            <a:lvl1pPr>
              <a:defRPr>
                <a:solidFill>
                  <a:prstClr val="black">
                    <a:alpha val="0"/>
                  </a:prstClr>
                </a:solidFill>
              </a:defRPr>
            </a:lvl1pPr>
          </a:lstStyle>
          <a:p>
            <a:fld id="{5AFF31D0-8A17-47C0-8D09-D01303A85034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8682E812-FDC9-44E1-986C-068C9AAE972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3200" cy="4572000"/>
          </a:xfrm>
          <a:custGeom>
            <a:avLst/>
            <a:gdLst>
              <a:gd name="connsiteX0" fmla="*/ 0 w 12193200"/>
              <a:gd name="connsiteY0" fmla="*/ 0 h 4572000"/>
              <a:gd name="connsiteX1" fmla="*/ 12193200 w 12193200"/>
              <a:gd name="connsiteY1" fmla="*/ 0 h 4572000"/>
              <a:gd name="connsiteX2" fmla="*/ 12193200 w 12193200"/>
              <a:gd name="connsiteY2" fmla="*/ 2885179 h 4572000"/>
              <a:gd name="connsiteX3" fmla="*/ 12193200 w 12193200"/>
              <a:gd name="connsiteY3" fmla="*/ 4572000 h 4572000"/>
              <a:gd name="connsiteX4" fmla="*/ 12011025 w 12193200"/>
              <a:gd name="connsiteY4" fmla="*/ 4572000 h 4572000"/>
              <a:gd name="connsiteX5" fmla="*/ 11750530 w 12193200"/>
              <a:gd name="connsiteY5" fmla="*/ 4572000 h 4572000"/>
              <a:gd name="connsiteX6" fmla="*/ 11728011 w 12193200"/>
              <a:gd name="connsiteY6" fmla="*/ 4572000 h 4572000"/>
              <a:gd name="connsiteX7" fmla="*/ 11728011 w 12193200"/>
              <a:gd name="connsiteY7" fmla="*/ 3227255 h 4572000"/>
              <a:gd name="connsiteX8" fmla="*/ 9212037 w 12193200"/>
              <a:gd name="connsiteY8" fmla="*/ 3227255 h 4572000"/>
              <a:gd name="connsiteX9" fmla="*/ 9212037 w 12193200"/>
              <a:gd name="connsiteY9" fmla="*/ 4572000 h 4572000"/>
              <a:gd name="connsiteX10" fmla="*/ 8867775 w 12193200"/>
              <a:gd name="connsiteY10" fmla="*/ 4572000 h 4572000"/>
              <a:gd name="connsiteX11" fmla="*/ 7889806 w 12193200"/>
              <a:gd name="connsiteY11" fmla="*/ 4572000 h 4572000"/>
              <a:gd name="connsiteX12" fmla="*/ 0 w 12193200"/>
              <a:gd name="connsiteY12" fmla="*/ 4572000 h 457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193200" h="4572000">
                <a:moveTo>
                  <a:pt x="0" y="0"/>
                </a:moveTo>
                <a:lnTo>
                  <a:pt x="12193200" y="0"/>
                </a:lnTo>
                <a:lnTo>
                  <a:pt x="12193200" y="2885179"/>
                </a:lnTo>
                <a:lnTo>
                  <a:pt x="12193200" y="4572000"/>
                </a:lnTo>
                <a:lnTo>
                  <a:pt x="12011025" y="4572000"/>
                </a:lnTo>
                <a:lnTo>
                  <a:pt x="11750530" y="4572000"/>
                </a:lnTo>
                <a:lnTo>
                  <a:pt x="11728011" y="4572000"/>
                </a:lnTo>
                <a:lnTo>
                  <a:pt x="11728011" y="3227255"/>
                </a:lnTo>
                <a:lnTo>
                  <a:pt x="9212037" y="3227255"/>
                </a:lnTo>
                <a:lnTo>
                  <a:pt x="9212037" y="4572000"/>
                </a:lnTo>
                <a:lnTo>
                  <a:pt x="8867775" y="4572000"/>
                </a:lnTo>
                <a:lnTo>
                  <a:pt x="7889806" y="4572000"/>
                </a:lnTo>
                <a:lnTo>
                  <a:pt x="0" y="457200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na ikonu přidáte obrázek.</a:t>
            </a:r>
            <a:endParaRPr lang="de-DE"/>
          </a:p>
        </p:txBody>
      </p:sp>
      <p:sp>
        <p:nvSpPr>
          <p:cNvPr id="40" name="Textplatzhalter 38">
            <a:extLst>
              <a:ext uri="{FF2B5EF4-FFF2-40B4-BE49-F238E27FC236}">
                <a16:creationId xmlns:a16="http://schemas.microsoft.com/office/drawing/2014/main" id="{AE7DA3A8-B67F-4B51-A124-CFE77B35B35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20000" y="4578404"/>
            <a:ext cx="7920000" cy="774000"/>
          </a:xfrm>
        </p:spPr>
        <p:txBody>
          <a:bodyPr lIns="0" rIns="0" bIns="0" anchor="b"/>
          <a:lstStyle>
            <a:lvl1pPr marL="0" indent="0">
              <a:buNone/>
              <a:defRPr kumimoji="0" lang="de-DE" sz="2400" b="0" i="1" u="none" strike="noStrike" kern="120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Arial" panose="020B0604020202020204" pitchFamily="34" charset="0"/>
              </a:defRPr>
            </a:lvl1pPr>
            <a:lvl2pPr>
              <a:defRPr kumimoji="0" lang="de-DE" sz="2400" b="0" i="1" u="none" strike="noStrike" kern="1200" cap="none" spc="0" normalizeH="0" baseline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Arial" panose="020B0604020202020204" pitchFamily="34" charset="0"/>
              </a:defRPr>
            </a:lvl2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25" name="Titel 51">
            <a:extLst>
              <a:ext uri="{FF2B5EF4-FFF2-40B4-BE49-F238E27FC236}">
                <a16:creationId xmlns:a16="http://schemas.microsoft.com/office/drawing/2014/main" id="{51596D46-AFE4-4BF3-8F27-5888B8B801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5446800"/>
            <a:ext cx="7920000" cy="810195"/>
          </a:xfrm>
        </p:spPr>
        <p:txBody>
          <a:bodyPr tIns="0" rIns="0" bIns="0"/>
          <a:lstStyle>
            <a:lvl1pPr>
              <a:lnSpc>
                <a:spcPct val="90000"/>
              </a:lnSpc>
              <a:defRPr kumimoji="0" lang="de-DE" sz="3600" b="1" i="0" u="none" strike="noStrike" kern="120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cs-CZ"/>
              <a:t>Kliknutím lze upravit styl.</a:t>
            </a:r>
            <a:endParaRPr lang="de-DE" dirty="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11F37B7F-EF81-4803-9F5A-DE3E34C0CFE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12037" y="3217730"/>
            <a:ext cx="2515974" cy="1804386"/>
          </a:xfrm>
          <a:prstGeom prst="rect">
            <a:avLst/>
          </a:prstGeom>
        </p:spPr>
      </p:pic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6AD0451F-1635-444A-96DF-566FF0CBC42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231086" y="5608958"/>
            <a:ext cx="2515974" cy="591389"/>
          </a:xfrm>
        </p:spPr>
        <p:txBody>
          <a:bodyPr rIns="0" bIns="0" anchor="t" anchorCtr="0"/>
          <a:lstStyle>
            <a:lvl1pPr marL="0" indent="0" algn="r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itchFamily="34" charset="0"/>
              <a:buNone/>
              <a:defRPr lang="de-DE" sz="1800" b="0" i="0" kern="1200" dirty="0">
                <a:solidFill>
                  <a:prstClr val="white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132906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Vielen D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5EC2ABD4-BB1A-4B17-AFEA-60B6A52E91D4}"/>
              </a:ext>
            </a:extLst>
          </p:cNvPr>
          <p:cNvSpPr/>
          <p:nvPr userDrawn="1"/>
        </p:nvSpPr>
        <p:spPr>
          <a:xfrm>
            <a:off x="0" y="6591300"/>
            <a:ext cx="12192000" cy="266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noProof="0">
              <a:solidFill>
                <a:schemeClr val="bg1"/>
              </a:solidFill>
            </a:endParaRPr>
          </a:p>
        </p:txBody>
      </p:sp>
      <p:sp>
        <p:nvSpPr>
          <p:cNvPr id="350" name="Titel 9">
            <a:extLst>
              <a:ext uri="{FF2B5EF4-FFF2-40B4-BE49-F238E27FC236}">
                <a16:creationId xmlns:a16="http://schemas.microsoft.com/office/drawing/2014/main" id="{47E84EBA-9DB2-4B56-B673-FF496CA36A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7549" y="579119"/>
            <a:ext cx="10912846" cy="1415433"/>
          </a:xfrm>
        </p:spPr>
        <p:txBody>
          <a:bodyPr tIns="0" rIns="0" bIns="0" anchor="ctr"/>
          <a:lstStyle>
            <a:lvl1pPr>
              <a:defRPr sz="8000"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Vielen Dank</a:t>
            </a:r>
          </a:p>
        </p:txBody>
      </p:sp>
      <p:sp>
        <p:nvSpPr>
          <p:cNvPr id="360" name="Textplatzhalter 14">
            <a:extLst>
              <a:ext uri="{FF2B5EF4-FFF2-40B4-BE49-F238E27FC236}">
                <a16:creationId xmlns:a16="http://schemas.microsoft.com/office/drawing/2014/main" id="{A66A8D19-BDD4-4807-9AD6-8237B2E39D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7549" y="2237014"/>
            <a:ext cx="10912846" cy="522701"/>
          </a:xfrm>
        </p:spPr>
        <p:txBody>
          <a:bodyPr wrap="square" lIns="0" rIns="0" bIns="0"/>
          <a:lstStyle>
            <a:lvl1pPr marL="0" indent="0">
              <a:buNone/>
              <a:defRPr sz="24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dirty="0"/>
              <a:t>Ansprechpartner</a:t>
            </a:r>
          </a:p>
        </p:txBody>
      </p:sp>
      <p:sp>
        <p:nvSpPr>
          <p:cNvPr id="361" name="Textplatzhalter 15">
            <a:extLst>
              <a:ext uri="{FF2B5EF4-FFF2-40B4-BE49-F238E27FC236}">
                <a16:creationId xmlns:a16="http://schemas.microsoft.com/office/drawing/2014/main" id="{F294217D-1598-4BD5-B083-7CE0C660B38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7549" y="3047503"/>
            <a:ext cx="3403601" cy="216000"/>
          </a:xfrm>
        </p:spPr>
        <p:txBody>
          <a:bodyPr wrap="square" lIns="0" rIns="0" bIns="0" anchor="ctr"/>
          <a:lstStyle>
            <a:lvl1pPr marL="0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dirty="0"/>
              <a:t>vorname.nachname@XX.ebmpapst.com</a:t>
            </a:r>
          </a:p>
        </p:txBody>
      </p:sp>
      <p:sp>
        <p:nvSpPr>
          <p:cNvPr id="362" name="Textplatzhalter 15">
            <a:extLst>
              <a:ext uri="{FF2B5EF4-FFF2-40B4-BE49-F238E27FC236}">
                <a16:creationId xmlns:a16="http://schemas.microsoft.com/office/drawing/2014/main" id="{84108662-B24A-4B49-94B8-0BEFA94049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17549" y="2804039"/>
            <a:ext cx="3403601" cy="216000"/>
          </a:xfrm>
        </p:spPr>
        <p:txBody>
          <a:bodyPr wrap="square" lIns="0" rIns="0" bIns="0" anchor="ctr" anchorCtr="0"/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dirty="0"/>
              <a:t>Vorname Nachname</a:t>
            </a:r>
          </a:p>
        </p:txBody>
      </p:sp>
      <p:sp>
        <p:nvSpPr>
          <p:cNvPr id="363" name="Textplatzhalter 15">
            <a:extLst>
              <a:ext uri="{FF2B5EF4-FFF2-40B4-BE49-F238E27FC236}">
                <a16:creationId xmlns:a16="http://schemas.microsoft.com/office/drawing/2014/main" id="{F1CE4BDA-BE0B-43A2-8425-8BFA01D0B8E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374214" y="3290967"/>
            <a:ext cx="2753360" cy="216000"/>
          </a:xfrm>
        </p:spPr>
        <p:txBody>
          <a:bodyPr lIns="0" rIns="0" bIns="0" anchor="ctr"/>
          <a:lstStyle>
            <a:lvl1pPr marL="0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dirty="0"/>
              <a:t>+49 7938 81-66X</a:t>
            </a:r>
          </a:p>
        </p:txBody>
      </p:sp>
      <p:sp>
        <p:nvSpPr>
          <p:cNvPr id="364" name="Textfeld 363">
            <a:extLst>
              <a:ext uri="{FF2B5EF4-FFF2-40B4-BE49-F238E27FC236}">
                <a16:creationId xmlns:a16="http://schemas.microsoft.com/office/drawing/2014/main" id="{90801091-104E-44F3-BBA0-68F05FD5404D}"/>
              </a:ext>
            </a:extLst>
          </p:cNvPr>
          <p:cNvSpPr txBox="1"/>
          <p:nvPr userDrawn="1"/>
        </p:nvSpPr>
        <p:spPr>
          <a:xfrm>
            <a:off x="717549" y="3290967"/>
            <a:ext cx="968374" cy="216000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Wingdings" panose="05000000000000000000" pitchFamily="2" charset="2"/>
              <a:buNone/>
            </a:pPr>
            <a:r>
              <a:rPr lang="de-DE" sz="1400" b="1" kern="1200" noProof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Telefon </a:t>
            </a:r>
          </a:p>
        </p:txBody>
      </p:sp>
      <p:sp>
        <p:nvSpPr>
          <p:cNvPr id="365" name="Textplatzhalter 15">
            <a:extLst>
              <a:ext uri="{FF2B5EF4-FFF2-40B4-BE49-F238E27FC236}">
                <a16:creationId xmlns:a16="http://schemas.microsoft.com/office/drawing/2014/main" id="{75835C4E-2BF3-4B47-BABA-E84FB73EDD6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374214" y="3534432"/>
            <a:ext cx="2753360" cy="216000"/>
          </a:xfrm>
        </p:spPr>
        <p:txBody>
          <a:bodyPr lIns="0" rIns="0" bIns="0" anchor="ctr"/>
          <a:lstStyle>
            <a:lvl1pPr marL="0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dirty="0"/>
              <a:t>+49 7938 81-66X</a:t>
            </a:r>
          </a:p>
        </p:txBody>
      </p:sp>
      <p:sp>
        <p:nvSpPr>
          <p:cNvPr id="366" name="Textfeld 365">
            <a:extLst>
              <a:ext uri="{FF2B5EF4-FFF2-40B4-BE49-F238E27FC236}">
                <a16:creationId xmlns:a16="http://schemas.microsoft.com/office/drawing/2014/main" id="{8AA49472-1122-4FC4-89A9-5AAC636EC682}"/>
              </a:ext>
            </a:extLst>
          </p:cNvPr>
          <p:cNvSpPr txBox="1"/>
          <p:nvPr userDrawn="1"/>
        </p:nvSpPr>
        <p:spPr>
          <a:xfrm>
            <a:off x="717549" y="3534432"/>
            <a:ext cx="968374" cy="216000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Wingdings" panose="05000000000000000000" pitchFamily="2" charset="2"/>
              <a:buNone/>
            </a:pPr>
            <a:r>
              <a:rPr lang="de-DE" sz="1400" b="1" kern="1200" noProof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Mobil </a:t>
            </a:r>
          </a:p>
        </p:txBody>
      </p:sp>
      <p:sp>
        <p:nvSpPr>
          <p:cNvPr id="367" name="Textplatzhalter 15">
            <a:extLst>
              <a:ext uri="{FF2B5EF4-FFF2-40B4-BE49-F238E27FC236}">
                <a16:creationId xmlns:a16="http://schemas.microsoft.com/office/drawing/2014/main" id="{28351D3A-EBCD-4E92-8439-A63F5D5D3E4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492062" y="3047503"/>
            <a:ext cx="3240000" cy="216000"/>
          </a:xfrm>
        </p:spPr>
        <p:txBody>
          <a:bodyPr lIns="0" rIns="0" bIns="0" anchor="ctr"/>
          <a:lstStyle>
            <a:lvl1pPr marL="0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dirty="0"/>
              <a:t>Straße X</a:t>
            </a:r>
          </a:p>
        </p:txBody>
      </p:sp>
      <p:sp>
        <p:nvSpPr>
          <p:cNvPr id="368" name="Textplatzhalter 15">
            <a:extLst>
              <a:ext uri="{FF2B5EF4-FFF2-40B4-BE49-F238E27FC236}">
                <a16:creationId xmlns:a16="http://schemas.microsoft.com/office/drawing/2014/main" id="{39777EB7-589B-4C8B-AF87-B21DBCACE8E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492062" y="2804039"/>
            <a:ext cx="5566338" cy="216000"/>
          </a:xfrm>
        </p:spPr>
        <p:txBody>
          <a:bodyPr lIns="0" rIns="0" bIns="0" anchor="ctr" anchorCtr="0"/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dirty="0"/>
              <a:t>ebm-papst Mulfingen GmbH &amp; Co. KGaA &amp; Co. KG</a:t>
            </a:r>
          </a:p>
        </p:txBody>
      </p:sp>
      <p:sp>
        <p:nvSpPr>
          <p:cNvPr id="369" name="Textplatzhalter 15">
            <a:extLst>
              <a:ext uri="{FF2B5EF4-FFF2-40B4-BE49-F238E27FC236}">
                <a16:creationId xmlns:a16="http://schemas.microsoft.com/office/drawing/2014/main" id="{0603C130-8714-45A5-A7BC-61B8F26352C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92062" y="3290967"/>
            <a:ext cx="3240000" cy="216000"/>
          </a:xfrm>
        </p:spPr>
        <p:txBody>
          <a:bodyPr lIns="0" rIns="0" bIns="0" anchor="ctr"/>
          <a:lstStyle>
            <a:lvl1pPr marL="0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dirty="0"/>
              <a:t>XXXXX Ort</a:t>
            </a:r>
          </a:p>
        </p:txBody>
      </p:sp>
      <p:sp>
        <p:nvSpPr>
          <p:cNvPr id="370" name="Textplatzhalter 15">
            <a:extLst>
              <a:ext uri="{FF2B5EF4-FFF2-40B4-BE49-F238E27FC236}">
                <a16:creationId xmlns:a16="http://schemas.microsoft.com/office/drawing/2014/main" id="{14147677-660B-4D07-B3AD-9C9667A3C0F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492062" y="3534432"/>
            <a:ext cx="3240000" cy="216000"/>
          </a:xfrm>
        </p:spPr>
        <p:txBody>
          <a:bodyPr lIns="0" rIns="0" bIns="0" anchor="ctr"/>
          <a:lstStyle>
            <a:lvl1pPr marL="0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dirty="0"/>
              <a:t>www.ebmpapst.com</a:t>
            </a:r>
          </a:p>
        </p:txBody>
      </p:sp>
    </p:spTree>
    <p:extLst>
      <p:ext uri="{BB962C8B-B14F-4D97-AF65-F5344CB8AC3E}">
        <p14:creationId xmlns:p14="http://schemas.microsoft.com/office/powerpoint/2010/main" val="363623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800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500" b="0" i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27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900" b="0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pPr marL="95875">
              <a:lnSpc>
                <a:spcPts val="955"/>
              </a:lnSpc>
            </a:pPr>
            <a:fld id="{81D60167-4931-47E6-BA6A-407CBD079E47}" type="slidenum">
              <a:rPr lang="cs-CZ" spc="-50" smtClean="0"/>
              <a:pPr marL="95875">
                <a:lnSpc>
                  <a:spcPts val="955"/>
                </a:lnSpc>
              </a:pPr>
              <a:t>‹#›</a:t>
            </a:fld>
            <a:endParaRPr lang="cs-CZ" spc="-50" dirty="0"/>
          </a:p>
        </p:txBody>
      </p:sp>
    </p:spTree>
    <p:extLst>
      <p:ext uri="{BB962C8B-B14F-4D97-AF65-F5344CB8AC3E}">
        <p14:creationId xmlns:p14="http://schemas.microsoft.com/office/powerpoint/2010/main" val="401842009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Photo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310FED02-0259-420E-80E1-2066F5A390A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 bwMode="gray">
          <a:xfrm>
            <a:off x="646991" y="1834356"/>
            <a:ext cx="5347397" cy="4557713"/>
          </a:xfrm>
        </p:spPr>
        <p:txBody>
          <a:bodyPr tIns="648000" anchor="ctr"/>
          <a:lstStyle>
            <a:lvl1pPr algn="ctr">
              <a:defRPr/>
            </a:lvl1pPr>
          </a:lstStyle>
          <a:p>
            <a:r>
              <a:rPr lang="cs-CZ"/>
              <a:t>Kliknutím na ikonu přidáte obrázek.</a:t>
            </a:r>
            <a:endParaRPr lang="de-DE" dirty="0"/>
          </a:p>
        </p:txBody>
      </p:sp>
      <p:sp>
        <p:nvSpPr>
          <p:cNvPr id="47" name="Picture Placeholder 8"/>
          <p:cNvSpPr>
            <a:spLocks noGrp="1"/>
          </p:cNvSpPr>
          <p:nvPr>
            <p:ph type="pic" sz="quarter" idx="15"/>
          </p:nvPr>
        </p:nvSpPr>
        <p:spPr bwMode="gray">
          <a:xfrm>
            <a:off x="6189675" y="1836738"/>
            <a:ext cx="5347397" cy="4557713"/>
          </a:xfrm>
        </p:spPr>
        <p:txBody>
          <a:bodyPr tIns="648000" anchor="ctr"/>
          <a:lstStyle>
            <a:lvl1pPr algn="ctr">
              <a:defRPr/>
            </a:lvl1pPr>
          </a:lstStyle>
          <a:p>
            <a:r>
              <a:rPr lang="cs-CZ"/>
              <a:t>Kliknutím na ikonu přidáte obrázek.</a:t>
            </a:r>
            <a:endParaRPr lang="de-DE" dirty="0"/>
          </a:p>
        </p:txBody>
      </p:sp>
      <p:sp>
        <p:nvSpPr>
          <p:cNvPr id="48" name="Subtitle 2"/>
          <p:cNvSpPr>
            <a:spLocks noGrp="1"/>
          </p:cNvSpPr>
          <p:nvPr>
            <p:ph type="subTitle" idx="1"/>
          </p:nvPr>
        </p:nvSpPr>
        <p:spPr bwMode="gray">
          <a:xfrm>
            <a:off x="628731" y="1152797"/>
            <a:ext cx="8839416" cy="345805"/>
          </a:xfrm>
        </p:spPr>
        <p:txBody>
          <a:bodyPr anchor="ctr"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cs-CZ"/>
              <a:t>Kliknutím můžete upravit styl předlohy.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>
          <a:solidFill>
            <a:schemeClr val="accent6"/>
          </a:solidFill>
        </p:spPr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7958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platzhalter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78"/>
          <a:stretch>
            <a:fillRect/>
          </a:stretch>
        </p:blipFill>
        <p:spPr bwMode="gray">
          <a:xfrm>
            <a:off x="-9526" y="2490788"/>
            <a:ext cx="12201526" cy="4367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uppieren 37"/>
          <p:cNvGrpSpPr>
            <a:grpSpLocks/>
          </p:cNvGrpSpPr>
          <p:nvPr/>
        </p:nvGrpSpPr>
        <p:grpSpPr bwMode="auto">
          <a:xfrm>
            <a:off x="520768" y="-215900"/>
            <a:ext cx="11147289" cy="195262"/>
            <a:chOff x="520716" y="-215558"/>
            <a:chExt cx="11145805" cy="194423"/>
          </a:xfrm>
        </p:grpSpPr>
        <p:grpSp>
          <p:nvGrpSpPr>
            <p:cNvPr id="7" name="Gruppieren 38"/>
            <p:cNvGrpSpPr>
              <a:grpSpLocks/>
            </p:cNvGrpSpPr>
            <p:nvPr/>
          </p:nvGrpSpPr>
          <p:grpSpPr bwMode="auto">
            <a:xfrm>
              <a:off x="520716" y="-215558"/>
              <a:ext cx="257143" cy="194423"/>
              <a:chOff x="-187945" y="5594515"/>
              <a:chExt cx="192882" cy="194423"/>
            </a:xfrm>
          </p:grpSpPr>
          <p:cxnSp>
            <p:nvCxnSpPr>
              <p:cNvPr id="18" name="Gerade Verbindung 17"/>
              <p:cNvCxnSpPr/>
              <p:nvPr userDrawn="1"/>
            </p:nvCxnSpPr>
            <p:spPr bwMode="gray">
              <a:xfrm rot="5400000">
                <a:off x="-152348" y="5728083"/>
                <a:ext cx="121712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9" name="Rechteck 18"/>
              <p:cNvSpPr/>
              <p:nvPr userDrawn="1"/>
            </p:nvSpPr>
            <p:spPr bwMode="gray">
              <a:xfrm>
                <a:off x="-187945" y="5594515"/>
                <a:ext cx="192905" cy="60066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de-DE" sz="600" dirty="0">
                    <a:solidFill>
                      <a:schemeClr val="tx1"/>
                    </a:solidFill>
                    <a:cs typeface="Arial" panose="020B0604020202020204" pitchFamily="34" charset="0"/>
                  </a:rPr>
                  <a:t>15,12</a:t>
                </a:r>
              </a:p>
            </p:txBody>
          </p:sp>
        </p:grpSp>
        <p:grpSp>
          <p:nvGrpSpPr>
            <p:cNvPr id="8" name="Gruppieren 39"/>
            <p:cNvGrpSpPr>
              <a:grpSpLocks/>
            </p:cNvGrpSpPr>
            <p:nvPr/>
          </p:nvGrpSpPr>
          <p:grpSpPr bwMode="auto">
            <a:xfrm>
              <a:off x="5867416" y="-215558"/>
              <a:ext cx="257143" cy="194423"/>
              <a:chOff x="-187945" y="5594515"/>
              <a:chExt cx="192882" cy="194423"/>
            </a:xfrm>
          </p:grpSpPr>
          <p:cxnSp>
            <p:nvCxnSpPr>
              <p:cNvPr id="16" name="Gerade Verbindung 15"/>
              <p:cNvCxnSpPr/>
              <p:nvPr userDrawn="1"/>
            </p:nvCxnSpPr>
            <p:spPr bwMode="gray">
              <a:xfrm rot="5400000">
                <a:off x="-152360" y="5728083"/>
                <a:ext cx="121712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" name="Rechteck 16"/>
              <p:cNvSpPr/>
              <p:nvPr userDrawn="1"/>
            </p:nvSpPr>
            <p:spPr bwMode="gray">
              <a:xfrm>
                <a:off x="-187957" y="5594515"/>
                <a:ext cx="192905" cy="60066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de-DE" sz="600" dirty="0">
                    <a:solidFill>
                      <a:schemeClr val="tx1"/>
                    </a:solidFill>
                    <a:cs typeface="Arial" panose="020B0604020202020204" pitchFamily="34" charset="0"/>
                  </a:rPr>
                  <a:t>0,27</a:t>
                </a:r>
              </a:p>
            </p:txBody>
          </p:sp>
        </p:grpSp>
        <p:grpSp>
          <p:nvGrpSpPr>
            <p:cNvPr id="9" name="Gruppieren 40"/>
            <p:cNvGrpSpPr>
              <a:grpSpLocks/>
            </p:cNvGrpSpPr>
            <p:nvPr/>
          </p:nvGrpSpPr>
          <p:grpSpPr bwMode="auto">
            <a:xfrm>
              <a:off x="6062678" y="-215558"/>
              <a:ext cx="257143" cy="194423"/>
              <a:chOff x="-187945" y="5594515"/>
              <a:chExt cx="192882" cy="194423"/>
            </a:xfrm>
          </p:grpSpPr>
          <p:cxnSp>
            <p:nvCxnSpPr>
              <p:cNvPr id="14" name="Gerade Verbindung 13"/>
              <p:cNvCxnSpPr/>
              <p:nvPr userDrawn="1"/>
            </p:nvCxnSpPr>
            <p:spPr bwMode="gray">
              <a:xfrm rot="5400000">
                <a:off x="-152360" y="5728083"/>
                <a:ext cx="121712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" name="Rechteck 14"/>
              <p:cNvSpPr/>
              <p:nvPr userDrawn="1"/>
            </p:nvSpPr>
            <p:spPr bwMode="gray">
              <a:xfrm>
                <a:off x="-187956" y="5594515"/>
                <a:ext cx="192905" cy="60066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de-DE" sz="600" dirty="0">
                    <a:solidFill>
                      <a:schemeClr val="tx1"/>
                    </a:solidFill>
                    <a:cs typeface="Arial" panose="020B0604020202020204" pitchFamily="34" charset="0"/>
                  </a:rPr>
                  <a:t>0,27</a:t>
                </a:r>
              </a:p>
            </p:txBody>
          </p:sp>
        </p:grpSp>
        <p:grpSp>
          <p:nvGrpSpPr>
            <p:cNvPr id="11" name="Gruppieren 41"/>
            <p:cNvGrpSpPr>
              <a:grpSpLocks/>
            </p:cNvGrpSpPr>
            <p:nvPr/>
          </p:nvGrpSpPr>
          <p:grpSpPr bwMode="auto">
            <a:xfrm>
              <a:off x="11409378" y="-215558"/>
              <a:ext cx="257143" cy="194423"/>
              <a:chOff x="-187945" y="5594515"/>
              <a:chExt cx="192882" cy="194423"/>
            </a:xfrm>
          </p:grpSpPr>
          <p:cxnSp>
            <p:nvCxnSpPr>
              <p:cNvPr id="12" name="Gerade Verbindung 11"/>
              <p:cNvCxnSpPr/>
              <p:nvPr userDrawn="1"/>
            </p:nvCxnSpPr>
            <p:spPr bwMode="gray">
              <a:xfrm rot="5400000">
                <a:off x="-152372" y="5728083"/>
                <a:ext cx="121712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3" name="Rechteck 12"/>
              <p:cNvSpPr/>
              <p:nvPr userDrawn="1"/>
            </p:nvSpPr>
            <p:spPr bwMode="gray">
              <a:xfrm>
                <a:off x="-187968" y="5594515"/>
                <a:ext cx="192905" cy="60066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de-DE" sz="600" dirty="0">
                    <a:solidFill>
                      <a:schemeClr val="tx1"/>
                    </a:solidFill>
                    <a:cs typeface="Arial" panose="020B0604020202020204" pitchFamily="34" charset="0"/>
                  </a:rPr>
                  <a:t>15,12</a:t>
                </a:r>
              </a:p>
            </p:txBody>
          </p:sp>
        </p:grpSp>
      </p:grpSp>
      <p:grpSp>
        <p:nvGrpSpPr>
          <p:cNvPr id="20" name="Gruppieren 50"/>
          <p:cNvGrpSpPr>
            <a:grpSpLocks/>
          </p:cNvGrpSpPr>
          <p:nvPr/>
        </p:nvGrpSpPr>
        <p:grpSpPr bwMode="auto">
          <a:xfrm>
            <a:off x="9061042" y="830263"/>
            <a:ext cx="3130958" cy="2233612"/>
            <a:chOff x="9299549" y="1855781"/>
            <a:chExt cx="2978142" cy="2125659"/>
          </a:xfrm>
        </p:grpSpPr>
        <p:sp>
          <p:nvSpPr>
            <p:cNvPr id="21" name="Rectangle 6"/>
            <p:cNvSpPr>
              <a:spLocks noChangeArrowheads="1"/>
            </p:cNvSpPr>
            <p:nvPr userDrawn="1"/>
          </p:nvSpPr>
          <p:spPr bwMode="gray">
            <a:xfrm>
              <a:off x="9299549" y="1855781"/>
              <a:ext cx="2978142" cy="159384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endParaRPr lang="de-DE" altLang="de-DE" sz="1800"/>
            </a:p>
          </p:txBody>
        </p:sp>
        <p:sp>
          <p:nvSpPr>
            <p:cNvPr id="22" name="Freeform 7"/>
            <p:cNvSpPr>
              <a:spLocks noEditPoints="1"/>
            </p:cNvSpPr>
            <p:nvPr userDrawn="1"/>
          </p:nvSpPr>
          <p:spPr bwMode="gray">
            <a:xfrm>
              <a:off x="9839298" y="2489191"/>
              <a:ext cx="206375" cy="333374"/>
            </a:xfrm>
            <a:custGeom>
              <a:avLst/>
              <a:gdLst>
                <a:gd name="T0" fmla="*/ 206375 w 55"/>
                <a:gd name="T1" fmla="*/ 179797 h 89"/>
                <a:gd name="T2" fmla="*/ 206375 w 55"/>
                <a:gd name="T3" fmla="*/ 161068 h 89"/>
                <a:gd name="T4" fmla="*/ 105064 w 55"/>
                <a:gd name="T5" fmla="*/ 0 h 89"/>
                <a:gd name="T6" fmla="*/ 0 w 55"/>
                <a:gd name="T7" fmla="*/ 164814 h 89"/>
                <a:gd name="T8" fmla="*/ 105064 w 55"/>
                <a:gd name="T9" fmla="*/ 333374 h 89"/>
                <a:gd name="T10" fmla="*/ 202623 w 55"/>
                <a:gd name="T11" fmla="*/ 221001 h 89"/>
                <a:gd name="T12" fmla="*/ 138834 w 55"/>
                <a:gd name="T13" fmla="*/ 221001 h 89"/>
                <a:gd name="T14" fmla="*/ 101311 w 55"/>
                <a:gd name="T15" fmla="*/ 280933 h 89"/>
                <a:gd name="T16" fmla="*/ 67541 w 55"/>
                <a:gd name="T17" fmla="*/ 206018 h 89"/>
                <a:gd name="T18" fmla="*/ 67541 w 55"/>
                <a:gd name="T19" fmla="*/ 179797 h 89"/>
                <a:gd name="T20" fmla="*/ 206375 w 55"/>
                <a:gd name="T21" fmla="*/ 179797 h 89"/>
                <a:gd name="T22" fmla="*/ 67541 w 55"/>
                <a:gd name="T23" fmla="*/ 131102 h 89"/>
                <a:gd name="T24" fmla="*/ 67541 w 55"/>
                <a:gd name="T25" fmla="*/ 119865 h 89"/>
                <a:gd name="T26" fmla="*/ 105064 w 55"/>
                <a:gd name="T27" fmla="*/ 56187 h 89"/>
                <a:gd name="T28" fmla="*/ 138834 w 55"/>
                <a:gd name="T29" fmla="*/ 131102 h 89"/>
                <a:gd name="T30" fmla="*/ 67541 w 55"/>
                <a:gd name="T31" fmla="*/ 131102 h 89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5" h="89">
                  <a:moveTo>
                    <a:pt x="55" y="48"/>
                  </a:moveTo>
                  <a:cubicBezTo>
                    <a:pt x="55" y="43"/>
                    <a:pt x="55" y="43"/>
                    <a:pt x="55" y="43"/>
                  </a:cubicBezTo>
                  <a:cubicBezTo>
                    <a:pt x="55" y="17"/>
                    <a:pt x="50" y="0"/>
                    <a:pt x="28" y="0"/>
                  </a:cubicBezTo>
                  <a:cubicBezTo>
                    <a:pt x="4" y="0"/>
                    <a:pt x="0" y="21"/>
                    <a:pt x="0" y="44"/>
                  </a:cubicBezTo>
                  <a:cubicBezTo>
                    <a:pt x="0" y="65"/>
                    <a:pt x="1" y="89"/>
                    <a:pt x="28" y="89"/>
                  </a:cubicBezTo>
                  <a:cubicBezTo>
                    <a:pt x="45" y="89"/>
                    <a:pt x="53" y="78"/>
                    <a:pt x="54" y="59"/>
                  </a:cubicBezTo>
                  <a:cubicBezTo>
                    <a:pt x="37" y="59"/>
                    <a:pt x="37" y="59"/>
                    <a:pt x="37" y="59"/>
                  </a:cubicBezTo>
                  <a:cubicBezTo>
                    <a:pt x="36" y="69"/>
                    <a:pt x="34" y="75"/>
                    <a:pt x="27" y="75"/>
                  </a:cubicBezTo>
                  <a:cubicBezTo>
                    <a:pt x="21" y="75"/>
                    <a:pt x="18" y="65"/>
                    <a:pt x="18" y="55"/>
                  </a:cubicBezTo>
                  <a:cubicBezTo>
                    <a:pt x="18" y="48"/>
                    <a:pt x="18" y="48"/>
                    <a:pt x="18" y="48"/>
                  </a:cubicBezTo>
                  <a:lnTo>
                    <a:pt x="55" y="48"/>
                  </a:lnTo>
                  <a:close/>
                  <a:moveTo>
                    <a:pt x="18" y="35"/>
                  </a:moveTo>
                  <a:cubicBezTo>
                    <a:pt x="18" y="32"/>
                    <a:pt x="18" y="32"/>
                    <a:pt x="18" y="32"/>
                  </a:cubicBezTo>
                  <a:cubicBezTo>
                    <a:pt x="18" y="24"/>
                    <a:pt x="20" y="15"/>
                    <a:pt x="28" y="15"/>
                  </a:cubicBezTo>
                  <a:cubicBezTo>
                    <a:pt x="35" y="15"/>
                    <a:pt x="37" y="22"/>
                    <a:pt x="37" y="35"/>
                  </a:cubicBezTo>
                  <a:lnTo>
                    <a:pt x="18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gray">
            <a:xfrm>
              <a:off x="10072660" y="2392354"/>
              <a:ext cx="209549" cy="430210"/>
            </a:xfrm>
            <a:custGeom>
              <a:avLst/>
              <a:gdLst>
                <a:gd name="T0" fmla="*/ 67355 w 56"/>
                <a:gd name="T1" fmla="*/ 265608 h 115"/>
                <a:gd name="T2" fmla="*/ 104775 w 56"/>
                <a:gd name="T3" fmla="*/ 160861 h 115"/>
                <a:gd name="T4" fmla="*/ 138452 w 56"/>
                <a:gd name="T5" fmla="*/ 265608 h 115"/>
                <a:gd name="T6" fmla="*/ 104775 w 56"/>
                <a:gd name="T7" fmla="*/ 370355 h 115"/>
                <a:gd name="T8" fmla="*/ 67355 w 56"/>
                <a:gd name="T9" fmla="*/ 265608 h 115"/>
                <a:gd name="T10" fmla="*/ 0 w 56"/>
                <a:gd name="T11" fmla="*/ 422728 h 115"/>
                <a:gd name="T12" fmla="*/ 63613 w 56"/>
                <a:gd name="T13" fmla="*/ 422728 h 115"/>
                <a:gd name="T14" fmla="*/ 63613 w 56"/>
                <a:gd name="T15" fmla="*/ 389059 h 115"/>
                <a:gd name="T16" fmla="*/ 63613 w 56"/>
                <a:gd name="T17" fmla="*/ 389059 h 115"/>
                <a:gd name="T18" fmla="*/ 127226 w 56"/>
                <a:gd name="T19" fmla="*/ 430210 h 115"/>
                <a:gd name="T20" fmla="*/ 209549 w 56"/>
                <a:gd name="T21" fmla="*/ 265608 h 115"/>
                <a:gd name="T22" fmla="*/ 127226 w 56"/>
                <a:gd name="T23" fmla="*/ 97265 h 115"/>
                <a:gd name="T24" fmla="*/ 67355 w 56"/>
                <a:gd name="T25" fmla="*/ 134674 h 115"/>
                <a:gd name="T26" fmla="*/ 67355 w 56"/>
                <a:gd name="T27" fmla="*/ 134674 h 115"/>
                <a:gd name="T28" fmla="*/ 67355 w 56"/>
                <a:gd name="T29" fmla="*/ 0 h 115"/>
                <a:gd name="T30" fmla="*/ 0 w 56"/>
                <a:gd name="T31" fmla="*/ 0 h 115"/>
                <a:gd name="T32" fmla="*/ 0 w 56"/>
                <a:gd name="T33" fmla="*/ 422728 h 11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56" h="115">
                  <a:moveTo>
                    <a:pt x="18" y="71"/>
                  </a:moveTo>
                  <a:cubicBezTo>
                    <a:pt x="18" y="52"/>
                    <a:pt x="20" y="43"/>
                    <a:pt x="28" y="43"/>
                  </a:cubicBezTo>
                  <a:cubicBezTo>
                    <a:pt x="36" y="43"/>
                    <a:pt x="37" y="52"/>
                    <a:pt x="37" y="71"/>
                  </a:cubicBezTo>
                  <a:cubicBezTo>
                    <a:pt x="37" y="89"/>
                    <a:pt x="36" y="99"/>
                    <a:pt x="28" y="99"/>
                  </a:cubicBezTo>
                  <a:cubicBezTo>
                    <a:pt x="20" y="99"/>
                    <a:pt x="18" y="89"/>
                    <a:pt x="18" y="71"/>
                  </a:cubicBezTo>
                  <a:close/>
                  <a:moveTo>
                    <a:pt x="0" y="113"/>
                  </a:moveTo>
                  <a:cubicBezTo>
                    <a:pt x="17" y="113"/>
                    <a:pt x="17" y="113"/>
                    <a:pt x="17" y="113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21" y="112"/>
                    <a:pt x="27" y="115"/>
                    <a:pt x="34" y="115"/>
                  </a:cubicBezTo>
                  <a:cubicBezTo>
                    <a:pt x="49" y="115"/>
                    <a:pt x="56" y="102"/>
                    <a:pt x="56" y="71"/>
                  </a:cubicBezTo>
                  <a:cubicBezTo>
                    <a:pt x="56" y="39"/>
                    <a:pt x="49" y="26"/>
                    <a:pt x="34" y="26"/>
                  </a:cubicBezTo>
                  <a:cubicBezTo>
                    <a:pt x="27" y="26"/>
                    <a:pt x="22" y="29"/>
                    <a:pt x="18" y="36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24" name="Freeform 9"/>
            <p:cNvSpPr>
              <a:spLocks/>
            </p:cNvSpPr>
            <p:nvPr userDrawn="1"/>
          </p:nvSpPr>
          <p:spPr bwMode="gray">
            <a:xfrm>
              <a:off x="10312371" y="2486016"/>
              <a:ext cx="330199" cy="330198"/>
            </a:xfrm>
            <a:custGeom>
              <a:avLst/>
              <a:gdLst>
                <a:gd name="T0" fmla="*/ 0 w 88"/>
                <a:gd name="T1" fmla="*/ 330198 h 88"/>
                <a:gd name="T2" fmla="*/ 67541 w 88"/>
                <a:gd name="T3" fmla="*/ 330198 h 88"/>
                <a:gd name="T4" fmla="*/ 67541 w 88"/>
                <a:gd name="T5" fmla="*/ 120072 h 88"/>
                <a:gd name="T6" fmla="*/ 105063 w 88"/>
                <a:gd name="T7" fmla="*/ 67541 h 88"/>
                <a:gd name="T8" fmla="*/ 131329 w 88"/>
                <a:gd name="T9" fmla="*/ 108815 h 88"/>
                <a:gd name="T10" fmla="*/ 131329 w 88"/>
                <a:gd name="T11" fmla="*/ 330198 h 88"/>
                <a:gd name="T12" fmla="*/ 198870 w 88"/>
                <a:gd name="T13" fmla="*/ 330198 h 88"/>
                <a:gd name="T14" fmla="*/ 198870 w 88"/>
                <a:gd name="T15" fmla="*/ 120072 h 88"/>
                <a:gd name="T16" fmla="*/ 236392 w 88"/>
                <a:gd name="T17" fmla="*/ 67541 h 88"/>
                <a:gd name="T18" fmla="*/ 262658 w 88"/>
                <a:gd name="T19" fmla="*/ 108815 h 88"/>
                <a:gd name="T20" fmla="*/ 262658 w 88"/>
                <a:gd name="T21" fmla="*/ 330198 h 88"/>
                <a:gd name="T22" fmla="*/ 330199 w 88"/>
                <a:gd name="T23" fmla="*/ 330198 h 88"/>
                <a:gd name="T24" fmla="*/ 330199 w 88"/>
                <a:gd name="T25" fmla="*/ 97559 h 88"/>
                <a:gd name="T26" fmla="*/ 262658 w 88"/>
                <a:gd name="T27" fmla="*/ 3752 h 88"/>
                <a:gd name="T28" fmla="*/ 195118 w 88"/>
                <a:gd name="T29" fmla="*/ 52532 h 88"/>
                <a:gd name="T30" fmla="*/ 195118 w 88"/>
                <a:gd name="T31" fmla="*/ 52532 h 88"/>
                <a:gd name="T32" fmla="*/ 135081 w 88"/>
                <a:gd name="T33" fmla="*/ 3752 h 88"/>
                <a:gd name="T34" fmla="*/ 63788 w 88"/>
                <a:gd name="T35" fmla="*/ 45027 h 88"/>
                <a:gd name="T36" fmla="*/ 63788 w 88"/>
                <a:gd name="T37" fmla="*/ 45027 h 88"/>
                <a:gd name="T38" fmla="*/ 63788 w 88"/>
                <a:gd name="T39" fmla="*/ 11257 h 88"/>
                <a:gd name="T40" fmla="*/ 0 w 88"/>
                <a:gd name="T41" fmla="*/ 11257 h 88"/>
                <a:gd name="T42" fmla="*/ 0 w 88"/>
                <a:gd name="T43" fmla="*/ 330198 h 88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88" h="88">
                  <a:moveTo>
                    <a:pt x="0" y="88"/>
                  </a:moveTo>
                  <a:cubicBezTo>
                    <a:pt x="18" y="88"/>
                    <a:pt x="18" y="88"/>
                    <a:pt x="18" y="88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22"/>
                    <a:pt x="22" y="18"/>
                    <a:pt x="28" y="18"/>
                  </a:cubicBezTo>
                  <a:cubicBezTo>
                    <a:pt x="33" y="18"/>
                    <a:pt x="35" y="22"/>
                    <a:pt x="35" y="29"/>
                  </a:cubicBezTo>
                  <a:cubicBezTo>
                    <a:pt x="35" y="88"/>
                    <a:pt x="35" y="88"/>
                    <a:pt x="35" y="88"/>
                  </a:cubicBezTo>
                  <a:cubicBezTo>
                    <a:pt x="53" y="88"/>
                    <a:pt x="53" y="88"/>
                    <a:pt x="53" y="88"/>
                  </a:cubicBezTo>
                  <a:cubicBezTo>
                    <a:pt x="53" y="32"/>
                    <a:pt x="53" y="32"/>
                    <a:pt x="53" y="32"/>
                  </a:cubicBezTo>
                  <a:cubicBezTo>
                    <a:pt x="53" y="22"/>
                    <a:pt x="57" y="18"/>
                    <a:pt x="63" y="18"/>
                  </a:cubicBezTo>
                  <a:cubicBezTo>
                    <a:pt x="68" y="18"/>
                    <a:pt x="70" y="22"/>
                    <a:pt x="70" y="29"/>
                  </a:cubicBezTo>
                  <a:cubicBezTo>
                    <a:pt x="70" y="88"/>
                    <a:pt x="70" y="88"/>
                    <a:pt x="70" y="88"/>
                  </a:cubicBezTo>
                  <a:cubicBezTo>
                    <a:pt x="88" y="88"/>
                    <a:pt x="88" y="88"/>
                    <a:pt x="88" y="88"/>
                  </a:cubicBezTo>
                  <a:cubicBezTo>
                    <a:pt x="88" y="26"/>
                    <a:pt x="88" y="26"/>
                    <a:pt x="88" y="26"/>
                  </a:cubicBezTo>
                  <a:cubicBezTo>
                    <a:pt x="88" y="10"/>
                    <a:pt x="83" y="1"/>
                    <a:pt x="70" y="1"/>
                  </a:cubicBezTo>
                  <a:cubicBezTo>
                    <a:pt x="62" y="0"/>
                    <a:pt x="54" y="6"/>
                    <a:pt x="52" y="14"/>
                  </a:cubicBezTo>
                  <a:cubicBezTo>
                    <a:pt x="52" y="14"/>
                    <a:pt x="52" y="14"/>
                    <a:pt x="52" y="14"/>
                  </a:cubicBezTo>
                  <a:cubicBezTo>
                    <a:pt x="51" y="6"/>
                    <a:pt x="44" y="0"/>
                    <a:pt x="36" y="1"/>
                  </a:cubicBezTo>
                  <a:cubicBezTo>
                    <a:pt x="28" y="1"/>
                    <a:pt x="21" y="5"/>
                    <a:pt x="17" y="12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0" y="3"/>
                    <a:pt x="0" y="3"/>
                    <a:pt x="0" y="3"/>
                  </a:cubicBezTo>
                  <a:lnTo>
                    <a:pt x="0" y="8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25" name="Freeform 10"/>
            <p:cNvSpPr>
              <a:spLocks noEditPoints="1"/>
            </p:cNvSpPr>
            <p:nvPr userDrawn="1"/>
          </p:nvSpPr>
          <p:spPr bwMode="gray">
            <a:xfrm>
              <a:off x="10698133" y="2489191"/>
              <a:ext cx="209549" cy="431799"/>
            </a:xfrm>
            <a:custGeom>
              <a:avLst/>
              <a:gdLst>
                <a:gd name="T0" fmla="*/ 67355 w 56"/>
                <a:gd name="T1" fmla="*/ 168965 h 115"/>
                <a:gd name="T2" fmla="*/ 104775 w 56"/>
                <a:gd name="T3" fmla="*/ 63831 h 115"/>
                <a:gd name="T4" fmla="*/ 142194 w 56"/>
                <a:gd name="T5" fmla="*/ 168965 h 115"/>
                <a:gd name="T6" fmla="*/ 104775 w 56"/>
                <a:gd name="T7" fmla="*/ 274098 h 115"/>
                <a:gd name="T8" fmla="*/ 67355 w 56"/>
                <a:gd name="T9" fmla="*/ 168965 h 115"/>
                <a:gd name="T10" fmla="*/ 0 w 56"/>
                <a:gd name="T11" fmla="*/ 431799 h 115"/>
                <a:gd name="T12" fmla="*/ 67355 w 56"/>
                <a:gd name="T13" fmla="*/ 431799 h 115"/>
                <a:gd name="T14" fmla="*/ 67355 w 56"/>
                <a:gd name="T15" fmla="*/ 296627 h 115"/>
                <a:gd name="T16" fmla="*/ 71097 w 56"/>
                <a:gd name="T17" fmla="*/ 296627 h 115"/>
                <a:gd name="T18" fmla="*/ 127226 w 56"/>
                <a:gd name="T19" fmla="*/ 334175 h 115"/>
                <a:gd name="T20" fmla="*/ 209549 w 56"/>
                <a:gd name="T21" fmla="*/ 168965 h 115"/>
                <a:gd name="T22" fmla="*/ 127226 w 56"/>
                <a:gd name="T23" fmla="*/ 0 h 115"/>
                <a:gd name="T24" fmla="*/ 67355 w 56"/>
                <a:gd name="T25" fmla="*/ 41303 h 115"/>
                <a:gd name="T26" fmla="*/ 67355 w 56"/>
                <a:gd name="T27" fmla="*/ 41303 h 115"/>
                <a:gd name="T28" fmla="*/ 67355 w 56"/>
                <a:gd name="T29" fmla="*/ 7510 h 115"/>
                <a:gd name="T30" fmla="*/ 0 w 56"/>
                <a:gd name="T31" fmla="*/ 7510 h 115"/>
                <a:gd name="T32" fmla="*/ 0 w 56"/>
                <a:gd name="T33" fmla="*/ 431799 h 11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56" h="115">
                  <a:moveTo>
                    <a:pt x="18" y="45"/>
                  </a:moveTo>
                  <a:cubicBezTo>
                    <a:pt x="18" y="26"/>
                    <a:pt x="20" y="17"/>
                    <a:pt x="28" y="17"/>
                  </a:cubicBezTo>
                  <a:cubicBezTo>
                    <a:pt x="36" y="17"/>
                    <a:pt x="38" y="26"/>
                    <a:pt x="38" y="45"/>
                  </a:cubicBezTo>
                  <a:cubicBezTo>
                    <a:pt x="38" y="63"/>
                    <a:pt x="36" y="73"/>
                    <a:pt x="28" y="73"/>
                  </a:cubicBezTo>
                  <a:cubicBezTo>
                    <a:pt x="20" y="73"/>
                    <a:pt x="18" y="63"/>
                    <a:pt x="18" y="45"/>
                  </a:cubicBezTo>
                  <a:close/>
                  <a:moveTo>
                    <a:pt x="0" y="115"/>
                  </a:moveTo>
                  <a:cubicBezTo>
                    <a:pt x="18" y="115"/>
                    <a:pt x="18" y="115"/>
                    <a:pt x="18" y="115"/>
                  </a:cubicBezTo>
                  <a:cubicBezTo>
                    <a:pt x="18" y="79"/>
                    <a:pt x="18" y="79"/>
                    <a:pt x="18" y="79"/>
                  </a:cubicBezTo>
                  <a:cubicBezTo>
                    <a:pt x="19" y="79"/>
                    <a:pt x="19" y="79"/>
                    <a:pt x="19" y="79"/>
                  </a:cubicBezTo>
                  <a:cubicBezTo>
                    <a:pt x="23" y="86"/>
                    <a:pt x="27" y="89"/>
                    <a:pt x="34" y="89"/>
                  </a:cubicBezTo>
                  <a:cubicBezTo>
                    <a:pt x="49" y="89"/>
                    <a:pt x="56" y="76"/>
                    <a:pt x="56" y="45"/>
                  </a:cubicBezTo>
                  <a:cubicBezTo>
                    <a:pt x="56" y="13"/>
                    <a:pt x="49" y="0"/>
                    <a:pt x="34" y="0"/>
                  </a:cubicBezTo>
                  <a:cubicBezTo>
                    <a:pt x="27" y="0"/>
                    <a:pt x="22" y="3"/>
                    <a:pt x="18" y="11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0" y="2"/>
                    <a:pt x="0" y="2"/>
                    <a:pt x="0" y="2"/>
                  </a:cubicBezTo>
                  <a:lnTo>
                    <a:pt x="0" y="115"/>
                  </a:lnTo>
                  <a:close/>
                </a:path>
              </a:pathLst>
            </a:custGeom>
            <a:solidFill>
              <a:srgbClr val="007C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26" name="Freeform 11"/>
            <p:cNvSpPr>
              <a:spLocks noEditPoints="1"/>
            </p:cNvSpPr>
            <p:nvPr userDrawn="1"/>
          </p:nvSpPr>
          <p:spPr bwMode="gray">
            <a:xfrm>
              <a:off x="10931495" y="2489191"/>
              <a:ext cx="206375" cy="333374"/>
            </a:xfrm>
            <a:custGeom>
              <a:avLst/>
              <a:gdLst>
                <a:gd name="T0" fmla="*/ 67541 w 55"/>
                <a:gd name="T1" fmla="*/ 104882 h 89"/>
                <a:gd name="T2" fmla="*/ 67541 w 55"/>
                <a:gd name="T3" fmla="*/ 97390 h 89"/>
                <a:gd name="T4" fmla="*/ 101311 w 55"/>
                <a:gd name="T5" fmla="*/ 56187 h 89"/>
                <a:gd name="T6" fmla="*/ 131330 w 55"/>
                <a:gd name="T7" fmla="*/ 93644 h 89"/>
                <a:gd name="T8" fmla="*/ 105064 w 55"/>
                <a:gd name="T9" fmla="*/ 131102 h 89"/>
                <a:gd name="T10" fmla="*/ 67541 w 55"/>
                <a:gd name="T11" fmla="*/ 142339 h 89"/>
                <a:gd name="T12" fmla="*/ 0 w 55"/>
                <a:gd name="T13" fmla="*/ 243475 h 89"/>
                <a:gd name="T14" fmla="*/ 63789 w 55"/>
                <a:gd name="T15" fmla="*/ 333374 h 89"/>
                <a:gd name="T16" fmla="*/ 131330 w 55"/>
                <a:gd name="T17" fmla="*/ 292170 h 89"/>
                <a:gd name="T18" fmla="*/ 131330 w 55"/>
                <a:gd name="T19" fmla="*/ 292170 h 89"/>
                <a:gd name="T20" fmla="*/ 142586 w 55"/>
                <a:gd name="T21" fmla="*/ 325882 h 89"/>
                <a:gd name="T22" fmla="*/ 206375 w 55"/>
                <a:gd name="T23" fmla="*/ 325882 h 89"/>
                <a:gd name="T24" fmla="*/ 198870 w 55"/>
                <a:gd name="T25" fmla="*/ 265950 h 89"/>
                <a:gd name="T26" fmla="*/ 198870 w 55"/>
                <a:gd name="T27" fmla="*/ 97390 h 89"/>
                <a:gd name="T28" fmla="*/ 101311 w 55"/>
                <a:gd name="T29" fmla="*/ 0 h 89"/>
                <a:gd name="T30" fmla="*/ 7505 w 55"/>
                <a:gd name="T31" fmla="*/ 97390 h 89"/>
                <a:gd name="T32" fmla="*/ 7505 w 55"/>
                <a:gd name="T33" fmla="*/ 104882 h 89"/>
                <a:gd name="T34" fmla="*/ 67541 w 55"/>
                <a:gd name="T35" fmla="*/ 104882 h 89"/>
                <a:gd name="T36" fmla="*/ 131330 w 55"/>
                <a:gd name="T37" fmla="*/ 228492 h 89"/>
                <a:gd name="T38" fmla="*/ 93807 w 55"/>
                <a:gd name="T39" fmla="*/ 280933 h 89"/>
                <a:gd name="T40" fmla="*/ 90055 w 55"/>
                <a:gd name="T41" fmla="*/ 280933 h 89"/>
                <a:gd name="T42" fmla="*/ 63789 w 55"/>
                <a:gd name="T43" fmla="*/ 235984 h 89"/>
                <a:gd name="T44" fmla="*/ 105064 w 55"/>
                <a:gd name="T45" fmla="*/ 183543 h 89"/>
                <a:gd name="T46" fmla="*/ 135082 w 55"/>
                <a:gd name="T47" fmla="*/ 168560 h 89"/>
                <a:gd name="T48" fmla="*/ 135082 w 55"/>
                <a:gd name="T49" fmla="*/ 228492 h 89"/>
                <a:gd name="T50" fmla="*/ 131330 w 55"/>
                <a:gd name="T51" fmla="*/ 228492 h 8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55" h="89">
                  <a:moveTo>
                    <a:pt x="18" y="28"/>
                  </a:moveTo>
                  <a:cubicBezTo>
                    <a:pt x="18" y="26"/>
                    <a:pt x="18" y="26"/>
                    <a:pt x="18" y="26"/>
                  </a:cubicBezTo>
                  <a:cubicBezTo>
                    <a:pt x="18" y="19"/>
                    <a:pt x="21" y="15"/>
                    <a:pt x="27" y="15"/>
                  </a:cubicBezTo>
                  <a:cubicBezTo>
                    <a:pt x="32" y="15"/>
                    <a:pt x="35" y="19"/>
                    <a:pt x="35" y="25"/>
                  </a:cubicBezTo>
                  <a:cubicBezTo>
                    <a:pt x="36" y="30"/>
                    <a:pt x="33" y="34"/>
                    <a:pt x="28" y="35"/>
                  </a:cubicBezTo>
                  <a:cubicBezTo>
                    <a:pt x="18" y="38"/>
                    <a:pt x="18" y="38"/>
                    <a:pt x="18" y="38"/>
                  </a:cubicBezTo>
                  <a:cubicBezTo>
                    <a:pt x="5" y="42"/>
                    <a:pt x="0" y="49"/>
                    <a:pt x="0" y="65"/>
                  </a:cubicBezTo>
                  <a:cubicBezTo>
                    <a:pt x="0" y="76"/>
                    <a:pt x="4" y="89"/>
                    <a:pt x="17" y="89"/>
                  </a:cubicBezTo>
                  <a:cubicBezTo>
                    <a:pt x="26" y="89"/>
                    <a:pt x="31" y="87"/>
                    <a:pt x="35" y="78"/>
                  </a:cubicBezTo>
                  <a:cubicBezTo>
                    <a:pt x="35" y="78"/>
                    <a:pt x="35" y="78"/>
                    <a:pt x="35" y="78"/>
                  </a:cubicBezTo>
                  <a:cubicBezTo>
                    <a:pt x="36" y="81"/>
                    <a:pt x="37" y="84"/>
                    <a:pt x="38" y="87"/>
                  </a:cubicBezTo>
                  <a:cubicBezTo>
                    <a:pt x="55" y="87"/>
                    <a:pt x="55" y="87"/>
                    <a:pt x="55" y="87"/>
                  </a:cubicBezTo>
                  <a:cubicBezTo>
                    <a:pt x="53" y="82"/>
                    <a:pt x="53" y="76"/>
                    <a:pt x="53" y="71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53" y="11"/>
                    <a:pt x="49" y="0"/>
                    <a:pt x="27" y="0"/>
                  </a:cubicBezTo>
                  <a:cubicBezTo>
                    <a:pt x="13" y="0"/>
                    <a:pt x="2" y="6"/>
                    <a:pt x="2" y="26"/>
                  </a:cubicBezTo>
                  <a:cubicBezTo>
                    <a:pt x="2" y="28"/>
                    <a:pt x="2" y="28"/>
                    <a:pt x="2" y="28"/>
                  </a:cubicBezTo>
                  <a:lnTo>
                    <a:pt x="18" y="28"/>
                  </a:lnTo>
                  <a:close/>
                  <a:moveTo>
                    <a:pt x="35" y="61"/>
                  </a:moveTo>
                  <a:cubicBezTo>
                    <a:pt x="36" y="68"/>
                    <a:pt x="31" y="74"/>
                    <a:pt x="25" y="75"/>
                  </a:cubicBezTo>
                  <a:cubicBezTo>
                    <a:pt x="24" y="75"/>
                    <a:pt x="24" y="75"/>
                    <a:pt x="24" y="75"/>
                  </a:cubicBezTo>
                  <a:cubicBezTo>
                    <a:pt x="19" y="75"/>
                    <a:pt x="17" y="69"/>
                    <a:pt x="17" y="63"/>
                  </a:cubicBezTo>
                  <a:cubicBezTo>
                    <a:pt x="16" y="56"/>
                    <a:pt x="21" y="50"/>
                    <a:pt x="28" y="49"/>
                  </a:cubicBezTo>
                  <a:cubicBezTo>
                    <a:pt x="30" y="48"/>
                    <a:pt x="33" y="46"/>
                    <a:pt x="36" y="45"/>
                  </a:cubicBezTo>
                  <a:cubicBezTo>
                    <a:pt x="36" y="61"/>
                    <a:pt x="36" y="61"/>
                    <a:pt x="36" y="61"/>
                  </a:cubicBezTo>
                  <a:lnTo>
                    <a:pt x="35" y="61"/>
                  </a:lnTo>
                  <a:close/>
                </a:path>
              </a:pathLst>
            </a:custGeom>
            <a:solidFill>
              <a:srgbClr val="007C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27" name="Freeform 12"/>
            <p:cNvSpPr>
              <a:spLocks noEditPoints="1"/>
            </p:cNvSpPr>
            <p:nvPr userDrawn="1"/>
          </p:nvSpPr>
          <p:spPr bwMode="gray">
            <a:xfrm>
              <a:off x="11166444" y="2489191"/>
              <a:ext cx="211137" cy="431799"/>
            </a:xfrm>
            <a:custGeom>
              <a:avLst/>
              <a:gdLst>
                <a:gd name="T0" fmla="*/ 71636 w 56"/>
                <a:gd name="T1" fmla="*/ 168965 h 115"/>
                <a:gd name="T2" fmla="*/ 105569 w 56"/>
                <a:gd name="T3" fmla="*/ 63831 h 115"/>
                <a:gd name="T4" fmla="*/ 143272 w 56"/>
                <a:gd name="T5" fmla="*/ 168965 h 115"/>
                <a:gd name="T6" fmla="*/ 105569 w 56"/>
                <a:gd name="T7" fmla="*/ 274098 h 115"/>
                <a:gd name="T8" fmla="*/ 71636 w 56"/>
                <a:gd name="T9" fmla="*/ 168965 h 115"/>
                <a:gd name="T10" fmla="*/ 0 w 56"/>
                <a:gd name="T11" fmla="*/ 431799 h 115"/>
                <a:gd name="T12" fmla="*/ 71636 w 56"/>
                <a:gd name="T13" fmla="*/ 431799 h 115"/>
                <a:gd name="T14" fmla="*/ 71636 w 56"/>
                <a:gd name="T15" fmla="*/ 296627 h 115"/>
                <a:gd name="T16" fmla="*/ 71636 w 56"/>
                <a:gd name="T17" fmla="*/ 296627 h 115"/>
                <a:gd name="T18" fmla="*/ 128190 w 56"/>
                <a:gd name="T19" fmla="*/ 334175 h 115"/>
                <a:gd name="T20" fmla="*/ 211137 w 56"/>
                <a:gd name="T21" fmla="*/ 168965 h 115"/>
                <a:gd name="T22" fmla="*/ 128190 w 56"/>
                <a:gd name="T23" fmla="*/ 0 h 115"/>
                <a:gd name="T24" fmla="*/ 67865 w 56"/>
                <a:gd name="T25" fmla="*/ 41303 h 115"/>
                <a:gd name="T26" fmla="*/ 67865 w 56"/>
                <a:gd name="T27" fmla="*/ 41303 h 115"/>
                <a:gd name="T28" fmla="*/ 67865 w 56"/>
                <a:gd name="T29" fmla="*/ 7510 h 115"/>
                <a:gd name="T30" fmla="*/ 0 w 56"/>
                <a:gd name="T31" fmla="*/ 7510 h 115"/>
                <a:gd name="T32" fmla="*/ 0 w 56"/>
                <a:gd name="T33" fmla="*/ 431799 h 11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56" h="115">
                  <a:moveTo>
                    <a:pt x="19" y="45"/>
                  </a:moveTo>
                  <a:cubicBezTo>
                    <a:pt x="19" y="26"/>
                    <a:pt x="20" y="17"/>
                    <a:pt x="28" y="17"/>
                  </a:cubicBezTo>
                  <a:cubicBezTo>
                    <a:pt x="37" y="17"/>
                    <a:pt x="38" y="26"/>
                    <a:pt x="38" y="45"/>
                  </a:cubicBezTo>
                  <a:cubicBezTo>
                    <a:pt x="38" y="63"/>
                    <a:pt x="36" y="73"/>
                    <a:pt x="28" y="73"/>
                  </a:cubicBezTo>
                  <a:cubicBezTo>
                    <a:pt x="20" y="73"/>
                    <a:pt x="19" y="63"/>
                    <a:pt x="19" y="45"/>
                  </a:cubicBezTo>
                  <a:close/>
                  <a:moveTo>
                    <a:pt x="0" y="115"/>
                  </a:moveTo>
                  <a:cubicBezTo>
                    <a:pt x="19" y="115"/>
                    <a:pt x="19" y="115"/>
                    <a:pt x="19" y="115"/>
                  </a:cubicBezTo>
                  <a:cubicBezTo>
                    <a:pt x="19" y="79"/>
                    <a:pt x="19" y="79"/>
                    <a:pt x="19" y="79"/>
                  </a:cubicBezTo>
                  <a:cubicBezTo>
                    <a:pt x="19" y="79"/>
                    <a:pt x="19" y="79"/>
                    <a:pt x="19" y="79"/>
                  </a:cubicBezTo>
                  <a:cubicBezTo>
                    <a:pt x="22" y="85"/>
                    <a:pt x="28" y="89"/>
                    <a:pt x="34" y="89"/>
                  </a:cubicBezTo>
                  <a:cubicBezTo>
                    <a:pt x="49" y="89"/>
                    <a:pt x="56" y="76"/>
                    <a:pt x="56" y="45"/>
                  </a:cubicBezTo>
                  <a:cubicBezTo>
                    <a:pt x="56" y="13"/>
                    <a:pt x="49" y="0"/>
                    <a:pt x="34" y="0"/>
                  </a:cubicBezTo>
                  <a:cubicBezTo>
                    <a:pt x="27" y="0"/>
                    <a:pt x="22" y="3"/>
                    <a:pt x="18" y="11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15"/>
                    <a:pt x="0" y="115"/>
                    <a:pt x="0" y="115"/>
                  </a:cubicBezTo>
                  <a:close/>
                </a:path>
              </a:pathLst>
            </a:custGeom>
            <a:solidFill>
              <a:srgbClr val="007C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28" name="Freeform 13"/>
            <p:cNvSpPr>
              <a:spLocks/>
            </p:cNvSpPr>
            <p:nvPr userDrawn="1"/>
          </p:nvSpPr>
          <p:spPr bwMode="gray">
            <a:xfrm>
              <a:off x="11396631" y="2489191"/>
              <a:ext cx="198438" cy="333374"/>
            </a:xfrm>
            <a:custGeom>
              <a:avLst/>
              <a:gdLst>
                <a:gd name="T0" fmla="*/ 0 w 53"/>
                <a:gd name="T1" fmla="*/ 221001 h 89"/>
                <a:gd name="T2" fmla="*/ 0 w 53"/>
                <a:gd name="T3" fmla="*/ 232238 h 89"/>
                <a:gd name="T4" fmla="*/ 101091 w 53"/>
                <a:gd name="T5" fmla="*/ 333374 h 89"/>
                <a:gd name="T6" fmla="*/ 198438 w 53"/>
                <a:gd name="T7" fmla="*/ 235984 h 89"/>
                <a:gd name="T8" fmla="*/ 138532 w 53"/>
                <a:gd name="T9" fmla="*/ 142339 h 89"/>
                <a:gd name="T10" fmla="*/ 97347 w 53"/>
                <a:gd name="T11" fmla="*/ 127356 h 89"/>
                <a:gd name="T12" fmla="*/ 67394 w 53"/>
                <a:gd name="T13" fmla="*/ 89899 h 89"/>
                <a:gd name="T14" fmla="*/ 97347 w 53"/>
                <a:gd name="T15" fmla="*/ 56187 h 89"/>
                <a:gd name="T16" fmla="*/ 101091 w 53"/>
                <a:gd name="T17" fmla="*/ 56187 h 89"/>
                <a:gd name="T18" fmla="*/ 131044 w 53"/>
                <a:gd name="T19" fmla="*/ 104882 h 89"/>
                <a:gd name="T20" fmla="*/ 190950 w 53"/>
                <a:gd name="T21" fmla="*/ 104882 h 89"/>
                <a:gd name="T22" fmla="*/ 190950 w 53"/>
                <a:gd name="T23" fmla="*/ 89899 h 89"/>
                <a:gd name="T24" fmla="*/ 101091 w 53"/>
                <a:gd name="T25" fmla="*/ 0 h 89"/>
                <a:gd name="T26" fmla="*/ 3744 w 53"/>
                <a:gd name="T27" fmla="*/ 93644 h 89"/>
                <a:gd name="T28" fmla="*/ 59906 w 53"/>
                <a:gd name="T29" fmla="*/ 183543 h 89"/>
                <a:gd name="T30" fmla="*/ 108579 w 53"/>
                <a:gd name="T31" fmla="*/ 206018 h 89"/>
                <a:gd name="T32" fmla="*/ 134788 w 53"/>
                <a:gd name="T33" fmla="*/ 239730 h 89"/>
                <a:gd name="T34" fmla="*/ 97347 w 53"/>
                <a:gd name="T35" fmla="*/ 280933 h 89"/>
                <a:gd name="T36" fmla="*/ 63650 w 53"/>
                <a:gd name="T37" fmla="*/ 232238 h 89"/>
                <a:gd name="T38" fmla="*/ 63650 w 53"/>
                <a:gd name="T39" fmla="*/ 221001 h 89"/>
                <a:gd name="T40" fmla="*/ 0 w 53"/>
                <a:gd name="T41" fmla="*/ 221001 h 89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53" h="89">
                  <a:moveTo>
                    <a:pt x="0" y="59"/>
                  </a:moveTo>
                  <a:cubicBezTo>
                    <a:pt x="0" y="62"/>
                    <a:pt x="0" y="62"/>
                    <a:pt x="0" y="62"/>
                  </a:cubicBezTo>
                  <a:cubicBezTo>
                    <a:pt x="0" y="79"/>
                    <a:pt x="6" y="89"/>
                    <a:pt x="27" y="89"/>
                  </a:cubicBezTo>
                  <a:cubicBezTo>
                    <a:pt x="42" y="89"/>
                    <a:pt x="53" y="81"/>
                    <a:pt x="53" y="63"/>
                  </a:cubicBezTo>
                  <a:cubicBezTo>
                    <a:pt x="53" y="50"/>
                    <a:pt x="49" y="43"/>
                    <a:pt x="37" y="38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0" y="31"/>
                    <a:pt x="18" y="28"/>
                    <a:pt x="18" y="24"/>
                  </a:cubicBezTo>
                  <a:cubicBezTo>
                    <a:pt x="18" y="19"/>
                    <a:pt x="21" y="15"/>
                    <a:pt x="26" y="15"/>
                  </a:cubicBezTo>
                  <a:cubicBezTo>
                    <a:pt x="26" y="15"/>
                    <a:pt x="27" y="15"/>
                    <a:pt x="27" y="15"/>
                  </a:cubicBezTo>
                  <a:cubicBezTo>
                    <a:pt x="33" y="15"/>
                    <a:pt x="35" y="19"/>
                    <a:pt x="35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4"/>
                    <a:pt x="51" y="24"/>
                    <a:pt x="51" y="24"/>
                  </a:cubicBezTo>
                  <a:cubicBezTo>
                    <a:pt x="51" y="9"/>
                    <a:pt x="43" y="0"/>
                    <a:pt x="27" y="0"/>
                  </a:cubicBezTo>
                  <a:cubicBezTo>
                    <a:pt x="8" y="0"/>
                    <a:pt x="1" y="11"/>
                    <a:pt x="1" y="25"/>
                  </a:cubicBezTo>
                  <a:cubicBezTo>
                    <a:pt x="0" y="36"/>
                    <a:pt x="6" y="46"/>
                    <a:pt x="16" y="49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33" y="56"/>
                    <a:pt x="36" y="60"/>
                    <a:pt x="36" y="64"/>
                  </a:cubicBezTo>
                  <a:cubicBezTo>
                    <a:pt x="36" y="71"/>
                    <a:pt x="32" y="75"/>
                    <a:pt x="26" y="75"/>
                  </a:cubicBezTo>
                  <a:cubicBezTo>
                    <a:pt x="20" y="75"/>
                    <a:pt x="17" y="70"/>
                    <a:pt x="17" y="62"/>
                  </a:cubicBezTo>
                  <a:cubicBezTo>
                    <a:pt x="17" y="59"/>
                    <a:pt x="17" y="59"/>
                    <a:pt x="17" y="59"/>
                  </a:cubicBezTo>
                  <a:lnTo>
                    <a:pt x="0" y="59"/>
                  </a:lnTo>
                  <a:close/>
                </a:path>
              </a:pathLst>
            </a:custGeom>
            <a:solidFill>
              <a:srgbClr val="007C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29" name="Freeform 14"/>
            <p:cNvSpPr>
              <a:spLocks/>
            </p:cNvSpPr>
            <p:nvPr userDrawn="1"/>
          </p:nvSpPr>
          <p:spPr bwMode="gray">
            <a:xfrm>
              <a:off x="11598243" y="2406642"/>
              <a:ext cx="146050" cy="412749"/>
            </a:xfrm>
            <a:custGeom>
              <a:avLst/>
              <a:gdLst>
                <a:gd name="T0" fmla="*/ 37449 w 39"/>
                <a:gd name="T1" fmla="*/ 90054 h 110"/>
                <a:gd name="T2" fmla="*/ 0 w 39"/>
                <a:gd name="T3" fmla="*/ 90054 h 110"/>
                <a:gd name="T4" fmla="*/ 0 w 39"/>
                <a:gd name="T5" fmla="*/ 146338 h 110"/>
                <a:gd name="T6" fmla="*/ 37449 w 39"/>
                <a:gd name="T7" fmla="*/ 146338 h 110"/>
                <a:gd name="T8" fmla="*/ 37449 w 39"/>
                <a:gd name="T9" fmla="*/ 330199 h 110"/>
                <a:gd name="T10" fmla="*/ 101112 w 39"/>
                <a:gd name="T11" fmla="*/ 412749 h 110"/>
                <a:gd name="T12" fmla="*/ 146050 w 39"/>
                <a:gd name="T13" fmla="*/ 408997 h 110"/>
                <a:gd name="T14" fmla="*/ 146050 w 39"/>
                <a:gd name="T15" fmla="*/ 352713 h 110"/>
                <a:gd name="T16" fmla="*/ 131071 w 39"/>
                <a:gd name="T17" fmla="*/ 352713 h 110"/>
                <a:gd name="T18" fmla="*/ 104856 w 39"/>
                <a:gd name="T19" fmla="*/ 318942 h 110"/>
                <a:gd name="T20" fmla="*/ 104856 w 39"/>
                <a:gd name="T21" fmla="*/ 146338 h 110"/>
                <a:gd name="T22" fmla="*/ 146050 w 39"/>
                <a:gd name="T23" fmla="*/ 146338 h 110"/>
                <a:gd name="T24" fmla="*/ 146050 w 39"/>
                <a:gd name="T25" fmla="*/ 90054 h 110"/>
                <a:gd name="T26" fmla="*/ 104856 w 39"/>
                <a:gd name="T27" fmla="*/ 90054 h 110"/>
                <a:gd name="T28" fmla="*/ 104856 w 39"/>
                <a:gd name="T29" fmla="*/ 0 h 110"/>
                <a:gd name="T30" fmla="*/ 37449 w 39"/>
                <a:gd name="T31" fmla="*/ 0 h 110"/>
                <a:gd name="T32" fmla="*/ 37449 w 39"/>
                <a:gd name="T33" fmla="*/ 90054 h 110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39" h="110">
                  <a:moveTo>
                    <a:pt x="10" y="24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88"/>
                    <a:pt x="10" y="88"/>
                    <a:pt x="10" y="88"/>
                  </a:cubicBezTo>
                  <a:cubicBezTo>
                    <a:pt x="10" y="105"/>
                    <a:pt x="12" y="110"/>
                    <a:pt x="27" y="110"/>
                  </a:cubicBezTo>
                  <a:cubicBezTo>
                    <a:pt x="31" y="110"/>
                    <a:pt x="35" y="110"/>
                    <a:pt x="39" y="109"/>
                  </a:cubicBezTo>
                  <a:cubicBezTo>
                    <a:pt x="39" y="94"/>
                    <a:pt x="39" y="94"/>
                    <a:pt x="39" y="94"/>
                  </a:cubicBezTo>
                  <a:cubicBezTo>
                    <a:pt x="37" y="94"/>
                    <a:pt x="36" y="94"/>
                    <a:pt x="35" y="94"/>
                  </a:cubicBezTo>
                  <a:cubicBezTo>
                    <a:pt x="29" y="94"/>
                    <a:pt x="28" y="92"/>
                    <a:pt x="28" y="85"/>
                  </a:cubicBezTo>
                  <a:cubicBezTo>
                    <a:pt x="28" y="39"/>
                    <a:pt x="28" y="39"/>
                    <a:pt x="28" y="39"/>
                  </a:cubicBezTo>
                  <a:cubicBezTo>
                    <a:pt x="39" y="39"/>
                    <a:pt x="39" y="39"/>
                    <a:pt x="39" y="39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24"/>
                    <a:pt x="10" y="24"/>
                    <a:pt x="10" y="24"/>
                  </a:cubicBezTo>
                  <a:close/>
                </a:path>
              </a:pathLst>
            </a:custGeom>
            <a:solidFill>
              <a:srgbClr val="007C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30" name="Rectangle 15"/>
            <p:cNvSpPr>
              <a:spLocks noChangeArrowheads="1"/>
            </p:cNvSpPr>
            <p:nvPr userDrawn="1"/>
          </p:nvSpPr>
          <p:spPr bwMode="gray">
            <a:xfrm>
              <a:off x="9299549" y="3449630"/>
              <a:ext cx="2978142" cy="531810"/>
            </a:xfrm>
            <a:prstGeom prst="rect">
              <a:avLst/>
            </a:prstGeom>
            <a:solidFill>
              <a:srgbClr val="007C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endParaRPr lang="de-DE" altLang="de-DE" sz="1800"/>
            </a:p>
          </p:txBody>
        </p:sp>
        <p:sp>
          <p:nvSpPr>
            <p:cNvPr id="31" name="Freeform 16"/>
            <p:cNvSpPr>
              <a:spLocks/>
            </p:cNvSpPr>
            <p:nvPr userDrawn="1"/>
          </p:nvSpPr>
          <p:spPr bwMode="gray">
            <a:xfrm>
              <a:off x="9850407" y="3644891"/>
              <a:ext cx="76200" cy="127000"/>
            </a:xfrm>
            <a:custGeom>
              <a:avLst/>
              <a:gdLst>
                <a:gd name="T0" fmla="*/ 76200 w 20"/>
                <a:gd name="T1" fmla="*/ 127000 h 34"/>
                <a:gd name="T2" fmla="*/ 64770 w 20"/>
                <a:gd name="T3" fmla="*/ 127000 h 34"/>
                <a:gd name="T4" fmla="*/ 53340 w 20"/>
                <a:gd name="T5" fmla="*/ 127000 h 34"/>
                <a:gd name="T6" fmla="*/ 34290 w 20"/>
                <a:gd name="T7" fmla="*/ 123265 h 34"/>
                <a:gd name="T8" fmla="*/ 22860 w 20"/>
                <a:gd name="T9" fmla="*/ 112059 h 34"/>
                <a:gd name="T10" fmla="*/ 19050 w 20"/>
                <a:gd name="T11" fmla="*/ 97118 h 34"/>
                <a:gd name="T12" fmla="*/ 19050 w 20"/>
                <a:gd name="T13" fmla="*/ 44824 h 34"/>
                <a:gd name="T14" fmla="*/ 0 w 20"/>
                <a:gd name="T15" fmla="*/ 44824 h 34"/>
                <a:gd name="T16" fmla="*/ 0 w 20"/>
                <a:gd name="T17" fmla="*/ 26147 h 34"/>
                <a:gd name="T18" fmla="*/ 19050 w 20"/>
                <a:gd name="T19" fmla="*/ 26147 h 34"/>
                <a:gd name="T20" fmla="*/ 19050 w 20"/>
                <a:gd name="T21" fmla="*/ 0 h 34"/>
                <a:gd name="T22" fmla="*/ 41910 w 20"/>
                <a:gd name="T23" fmla="*/ 0 h 34"/>
                <a:gd name="T24" fmla="*/ 41910 w 20"/>
                <a:gd name="T25" fmla="*/ 26147 h 34"/>
                <a:gd name="T26" fmla="*/ 72390 w 20"/>
                <a:gd name="T27" fmla="*/ 26147 h 34"/>
                <a:gd name="T28" fmla="*/ 72390 w 20"/>
                <a:gd name="T29" fmla="*/ 44824 h 34"/>
                <a:gd name="T30" fmla="*/ 41910 w 20"/>
                <a:gd name="T31" fmla="*/ 44824 h 34"/>
                <a:gd name="T32" fmla="*/ 41910 w 20"/>
                <a:gd name="T33" fmla="*/ 93382 h 34"/>
                <a:gd name="T34" fmla="*/ 45720 w 20"/>
                <a:gd name="T35" fmla="*/ 100853 h 34"/>
                <a:gd name="T36" fmla="*/ 57150 w 20"/>
                <a:gd name="T37" fmla="*/ 108324 h 34"/>
                <a:gd name="T38" fmla="*/ 64770 w 20"/>
                <a:gd name="T39" fmla="*/ 108324 h 34"/>
                <a:gd name="T40" fmla="*/ 72390 w 20"/>
                <a:gd name="T41" fmla="*/ 104588 h 34"/>
                <a:gd name="T42" fmla="*/ 76200 w 20"/>
                <a:gd name="T43" fmla="*/ 127000 h 34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20" h="34">
                  <a:moveTo>
                    <a:pt x="20" y="34"/>
                  </a:moveTo>
                  <a:cubicBezTo>
                    <a:pt x="19" y="34"/>
                    <a:pt x="18" y="34"/>
                    <a:pt x="17" y="34"/>
                  </a:cubicBezTo>
                  <a:cubicBezTo>
                    <a:pt x="16" y="34"/>
                    <a:pt x="15" y="34"/>
                    <a:pt x="14" y="34"/>
                  </a:cubicBezTo>
                  <a:cubicBezTo>
                    <a:pt x="12" y="34"/>
                    <a:pt x="10" y="34"/>
                    <a:pt x="9" y="33"/>
                  </a:cubicBezTo>
                  <a:cubicBezTo>
                    <a:pt x="7" y="32"/>
                    <a:pt x="6" y="31"/>
                    <a:pt x="6" y="30"/>
                  </a:cubicBezTo>
                  <a:cubicBezTo>
                    <a:pt x="5" y="29"/>
                    <a:pt x="5" y="27"/>
                    <a:pt x="5" y="26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12"/>
                    <a:pt x="19" y="12"/>
                    <a:pt x="19" y="12"/>
                  </a:cubicBezTo>
                  <a:cubicBezTo>
                    <a:pt x="11" y="12"/>
                    <a:pt x="11" y="12"/>
                    <a:pt x="11" y="12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6"/>
                    <a:pt x="12" y="27"/>
                    <a:pt x="12" y="27"/>
                  </a:cubicBezTo>
                  <a:cubicBezTo>
                    <a:pt x="13" y="28"/>
                    <a:pt x="14" y="29"/>
                    <a:pt x="15" y="29"/>
                  </a:cubicBezTo>
                  <a:cubicBezTo>
                    <a:pt x="16" y="29"/>
                    <a:pt x="17" y="29"/>
                    <a:pt x="17" y="29"/>
                  </a:cubicBezTo>
                  <a:cubicBezTo>
                    <a:pt x="18" y="28"/>
                    <a:pt x="19" y="28"/>
                    <a:pt x="19" y="28"/>
                  </a:cubicBezTo>
                  <a:lnTo>
                    <a:pt x="20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32" name="Freeform 17"/>
            <p:cNvSpPr>
              <a:spLocks/>
            </p:cNvSpPr>
            <p:nvPr userDrawn="1"/>
          </p:nvSpPr>
          <p:spPr bwMode="gray">
            <a:xfrm>
              <a:off x="9944072" y="3621076"/>
              <a:ext cx="90487" cy="150812"/>
            </a:xfrm>
            <a:custGeom>
              <a:avLst/>
              <a:gdLst>
                <a:gd name="T0" fmla="*/ 22622 w 24"/>
                <a:gd name="T1" fmla="*/ 41473 h 40"/>
                <a:gd name="T2" fmla="*/ 22622 w 24"/>
                <a:gd name="T3" fmla="*/ 52784 h 40"/>
                <a:gd name="T4" fmla="*/ 22622 w 24"/>
                <a:gd name="T5" fmla="*/ 64095 h 40"/>
                <a:gd name="T6" fmla="*/ 22622 w 24"/>
                <a:gd name="T7" fmla="*/ 64095 h 40"/>
                <a:gd name="T8" fmla="*/ 30162 w 24"/>
                <a:gd name="T9" fmla="*/ 56555 h 40"/>
                <a:gd name="T10" fmla="*/ 37703 w 24"/>
                <a:gd name="T11" fmla="*/ 52784 h 40"/>
                <a:gd name="T12" fmla="*/ 45244 w 24"/>
                <a:gd name="T13" fmla="*/ 49014 h 40"/>
                <a:gd name="T14" fmla="*/ 56554 w 24"/>
                <a:gd name="T15" fmla="*/ 49014 h 40"/>
                <a:gd name="T16" fmla="*/ 64095 w 24"/>
                <a:gd name="T17" fmla="*/ 49014 h 40"/>
                <a:gd name="T18" fmla="*/ 71636 w 24"/>
                <a:gd name="T19" fmla="*/ 52784 h 40"/>
                <a:gd name="T20" fmla="*/ 79176 w 24"/>
                <a:gd name="T21" fmla="*/ 56555 h 40"/>
                <a:gd name="T22" fmla="*/ 86717 w 24"/>
                <a:gd name="T23" fmla="*/ 64095 h 40"/>
                <a:gd name="T24" fmla="*/ 90487 w 24"/>
                <a:gd name="T25" fmla="*/ 75406 h 40"/>
                <a:gd name="T26" fmla="*/ 90487 w 24"/>
                <a:gd name="T27" fmla="*/ 86717 h 40"/>
                <a:gd name="T28" fmla="*/ 90487 w 24"/>
                <a:gd name="T29" fmla="*/ 150812 h 40"/>
                <a:gd name="T30" fmla="*/ 64095 w 24"/>
                <a:gd name="T31" fmla="*/ 150812 h 40"/>
                <a:gd name="T32" fmla="*/ 64095 w 24"/>
                <a:gd name="T33" fmla="*/ 90487 h 40"/>
                <a:gd name="T34" fmla="*/ 64095 w 24"/>
                <a:gd name="T35" fmla="*/ 82947 h 40"/>
                <a:gd name="T36" fmla="*/ 64095 w 24"/>
                <a:gd name="T37" fmla="*/ 75406 h 40"/>
                <a:gd name="T38" fmla="*/ 56554 w 24"/>
                <a:gd name="T39" fmla="*/ 71636 h 40"/>
                <a:gd name="T40" fmla="*/ 49014 w 24"/>
                <a:gd name="T41" fmla="*/ 67865 h 40"/>
                <a:gd name="T42" fmla="*/ 33933 w 24"/>
                <a:gd name="T43" fmla="*/ 71636 h 40"/>
                <a:gd name="T44" fmla="*/ 22622 w 24"/>
                <a:gd name="T45" fmla="*/ 82947 h 40"/>
                <a:gd name="T46" fmla="*/ 22622 w 24"/>
                <a:gd name="T47" fmla="*/ 150812 h 40"/>
                <a:gd name="T48" fmla="*/ 0 w 24"/>
                <a:gd name="T49" fmla="*/ 150812 h 40"/>
                <a:gd name="T50" fmla="*/ 0 w 24"/>
                <a:gd name="T51" fmla="*/ 0 h 40"/>
                <a:gd name="T52" fmla="*/ 22622 w 24"/>
                <a:gd name="T53" fmla="*/ 0 h 40"/>
                <a:gd name="T54" fmla="*/ 22622 w 24"/>
                <a:gd name="T55" fmla="*/ 41473 h 4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24" h="40">
                  <a:moveTo>
                    <a:pt x="6" y="11"/>
                  </a:moveTo>
                  <a:cubicBezTo>
                    <a:pt x="6" y="12"/>
                    <a:pt x="6" y="13"/>
                    <a:pt x="6" y="14"/>
                  </a:cubicBezTo>
                  <a:cubicBezTo>
                    <a:pt x="6" y="15"/>
                    <a:pt x="6" y="16"/>
                    <a:pt x="6" y="17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7" y="16"/>
                    <a:pt x="7" y="16"/>
                    <a:pt x="8" y="15"/>
                  </a:cubicBezTo>
                  <a:cubicBezTo>
                    <a:pt x="8" y="15"/>
                    <a:pt x="9" y="14"/>
                    <a:pt x="10" y="14"/>
                  </a:cubicBezTo>
                  <a:cubicBezTo>
                    <a:pt x="10" y="14"/>
                    <a:pt x="11" y="13"/>
                    <a:pt x="12" y="13"/>
                  </a:cubicBezTo>
                  <a:cubicBezTo>
                    <a:pt x="13" y="13"/>
                    <a:pt x="14" y="13"/>
                    <a:pt x="15" y="13"/>
                  </a:cubicBezTo>
                  <a:cubicBezTo>
                    <a:pt x="15" y="13"/>
                    <a:pt x="16" y="13"/>
                    <a:pt x="17" y="13"/>
                  </a:cubicBezTo>
                  <a:cubicBezTo>
                    <a:pt x="18" y="13"/>
                    <a:pt x="19" y="13"/>
                    <a:pt x="19" y="14"/>
                  </a:cubicBezTo>
                  <a:cubicBezTo>
                    <a:pt x="20" y="14"/>
                    <a:pt x="21" y="15"/>
                    <a:pt x="21" y="15"/>
                  </a:cubicBezTo>
                  <a:cubicBezTo>
                    <a:pt x="22" y="16"/>
                    <a:pt x="22" y="16"/>
                    <a:pt x="23" y="17"/>
                  </a:cubicBezTo>
                  <a:cubicBezTo>
                    <a:pt x="23" y="18"/>
                    <a:pt x="23" y="19"/>
                    <a:pt x="24" y="20"/>
                  </a:cubicBezTo>
                  <a:cubicBezTo>
                    <a:pt x="24" y="21"/>
                    <a:pt x="24" y="22"/>
                    <a:pt x="24" y="23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17" y="40"/>
                    <a:pt x="17" y="40"/>
                    <a:pt x="17" y="40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3"/>
                    <a:pt x="17" y="22"/>
                    <a:pt x="17" y="22"/>
                  </a:cubicBezTo>
                  <a:cubicBezTo>
                    <a:pt x="17" y="21"/>
                    <a:pt x="17" y="21"/>
                    <a:pt x="17" y="20"/>
                  </a:cubicBezTo>
                  <a:cubicBezTo>
                    <a:pt x="17" y="20"/>
                    <a:pt x="16" y="19"/>
                    <a:pt x="15" y="19"/>
                  </a:cubicBezTo>
                  <a:cubicBezTo>
                    <a:pt x="14" y="18"/>
                    <a:pt x="14" y="18"/>
                    <a:pt x="13" y="18"/>
                  </a:cubicBezTo>
                  <a:cubicBezTo>
                    <a:pt x="12" y="18"/>
                    <a:pt x="10" y="18"/>
                    <a:pt x="9" y="19"/>
                  </a:cubicBezTo>
                  <a:cubicBezTo>
                    <a:pt x="8" y="20"/>
                    <a:pt x="7" y="20"/>
                    <a:pt x="6" y="22"/>
                  </a:cubicBezTo>
                  <a:cubicBezTo>
                    <a:pt x="6" y="40"/>
                    <a:pt x="6" y="40"/>
                    <a:pt x="6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" y="0"/>
                    <a:pt x="6" y="0"/>
                    <a:pt x="6" y="0"/>
                  </a:cubicBezTo>
                  <a:lnTo>
                    <a:pt x="6" y="1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33" name="Freeform 18"/>
            <p:cNvSpPr>
              <a:spLocks noEditPoints="1"/>
            </p:cNvSpPr>
            <p:nvPr userDrawn="1"/>
          </p:nvSpPr>
          <p:spPr bwMode="gray">
            <a:xfrm>
              <a:off x="10053611" y="3670288"/>
              <a:ext cx="90487" cy="101599"/>
            </a:xfrm>
            <a:custGeom>
              <a:avLst/>
              <a:gdLst>
                <a:gd name="T0" fmla="*/ 56554 w 24"/>
                <a:gd name="T1" fmla="*/ 82784 h 27"/>
                <a:gd name="T2" fmla="*/ 71636 w 24"/>
                <a:gd name="T3" fmla="*/ 82784 h 27"/>
                <a:gd name="T4" fmla="*/ 86717 w 24"/>
                <a:gd name="T5" fmla="*/ 79021 h 27"/>
                <a:gd name="T6" fmla="*/ 86717 w 24"/>
                <a:gd name="T7" fmla="*/ 97836 h 27"/>
                <a:gd name="T8" fmla="*/ 71636 w 24"/>
                <a:gd name="T9" fmla="*/ 101599 h 27"/>
                <a:gd name="T10" fmla="*/ 52784 w 24"/>
                <a:gd name="T11" fmla="*/ 101599 h 27"/>
                <a:gd name="T12" fmla="*/ 33933 w 24"/>
                <a:gd name="T13" fmla="*/ 101599 h 27"/>
                <a:gd name="T14" fmla="*/ 15081 w 24"/>
                <a:gd name="T15" fmla="*/ 90310 h 27"/>
                <a:gd name="T16" fmla="*/ 3770 w 24"/>
                <a:gd name="T17" fmla="*/ 75259 h 27"/>
                <a:gd name="T18" fmla="*/ 0 w 24"/>
                <a:gd name="T19" fmla="*/ 52681 h 27"/>
                <a:gd name="T20" fmla="*/ 3770 w 24"/>
                <a:gd name="T21" fmla="*/ 30103 h 27"/>
                <a:gd name="T22" fmla="*/ 15081 w 24"/>
                <a:gd name="T23" fmla="*/ 11289 h 27"/>
                <a:gd name="T24" fmla="*/ 30162 w 24"/>
                <a:gd name="T25" fmla="*/ 3763 h 27"/>
                <a:gd name="T26" fmla="*/ 49014 w 24"/>
                <a:gd name="T27" fmla="*/ 0 h 27"/>
                <a:gd name="T28" fmla="*/ 64095 w 24"/>
                <a:gd name="T29" fmla="*/ 3763 h 27"/>
                <a:gd name="T30" fmla="*/ 79176 w 24"/>
                <a:gd name="T31" fmla="*/ 11289 h 27"/>
                <a:gd name="T32" fmla="*/ 86717 w 24"/>
                <a:gd name="T33" fmla="*/ 26340 h 27"/>
                <a:gd name="T34" fmla="*/ 90487 w 24"/>
                <a:gd name="T35" fmla="*/ 48918 h 27"/>
                <a:gd name="T36" fmla="*/ 90487 w 24"/>
                <a:gd name="T37" fmla="*/ 56444 h 27"/>
                <a:gd name="T38" fmla="*/ 26392 w 24"/>
                <a:gd name="T39" fmla="*/ 56444 h 27"/>
                <a:gd name="T40" fmla="*/ 30162 w 24"/>
                <a:gd name="T41" fmla="*/ 67733 h 27"/>
                <a:gd name="T42" fmla="*/ 37703 w 24"/>
                <a:gd name="T43" fmla="*/ 79021 h 27"/>
                <a:gd name="T44" fmla="*/ 45244 w 24"/>
                <a:gd name="T45" fmla="*/ 82784 h 27"/>
                <a:gd name="T46" fmla="*/ 56554 w 24"/>
                <a:gd name="T47" fmla="*/ 82784 h 27"/>
                <a:gd name="T48" fmla="*/ 49014 w 24"/>
                <a:gd name="T49" fmla="*/ 18815 h 27"/>
                <a:gd name="T50" fmla="*/ 37703 w 24"/>
                <a:gd name="T51" fmla="*/ 18815 h 27"/>
                <a:gd name="T52" fmla="*/ 33933 w 24"/>
                <a:gd name="T53" fmla="*/ 22578 h 27"/>
                <a:gd name="T54" fmla="*/ 30162 w 24"/>
                <a:gd name="T55" fmla="*/ 30103 h 27"/>
                <a:gd name="T56" fmla="*/ 26392 w 24"/>
                <a:gd name="T57" fmla="*/ 37629 h 27"/>
                <a:gd name="T58" fmla="*/ 67865 w 24"/>
                <a:gd name="T59" fmla="*/ 37629 h 27"/>
                <a:gd name="T60" fmla="*/ 64095 w 24"/>
                <a:gd name="T61" fmla="*/ 30103 h 27"/>
                <a:gd name="T62" fmla="*/ 60325 w 24"/>
                <a:gd name="T63" fmla="*/ 22578 h 27"/>
                <a:gd name="T64" fmla="*/ 49014 w 24"/>
                <a:gd name="T65" fmla="*/ 18815 h 2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4" h="27">
                  <a:moveTo>
                    <a:pt x="15" y="22"/>
                  </a:moveTo>
                  <a:cubicBezTo>
                    <a:pt x="17" y="22"/>
                    <a:pt x="18" y="22"/>
                    <a:pt x="19" y="22"/>
                  </a:cubicBezTo>
                  <a:cubicBezTo>
                    <a:pt x="21" y="21"/>
                    <a:pt x="22" y="21"/>
                    <a:pt x="23" y="21"/>
                  </a:cubicBezTo>
                  <a:cubicBezTo>
                    <a:pt x="23" y="26"/>
                    <a:pt x="23" y="26"/>
                    <a:pt x="23" y="26"/>
                  </a:cubicBezTo>
                  <a:cubicBezTo>
                    <a:pt x="22" y="26"/>
                    <a:pt x="21" y="27"/>
                    <a:pt x="19" y="27"/>
                  </a:cubicBezTo>
                  <a:cubicBezTo>
                    <a:pt x="17" y="27"/>
                    <a:pt x="16" y="27"/>
                    <a:pt x="14" y="27"/>
                  </a:cubicBezTo>
                  <a:cubicBezTo>
                    <a:pt x="12" y="27"/>
                    <a:pt x="10" y="27"/>
                    <a:pt x="9" y="27"/>
                  </a:cubicBezTo>
                  <a:cubicBezTo>
                    <a:pt x="7" y="26"/>
                    <a:pt x="5" y="25"/>
                    <a:pt x="4" y="24"/>
                  </a:cubicBezTo>
                  <a:cubicBezTo>
                    <a:pt x="3" y="23"/>
                    <a:pt x="2" y="22"/>
                    <a:pt x="1" y="20"/>
                  </a:cubicBezTo>
                  <a:cubicBezTo>
                    <a:pt x="0" y="18"/>
                    <a:pt x="0" y="16"/>
                    <a:pt x="0" y="14"/>
                  </a:cubicBezTo>
                  <a:cubicBezTo>
                    <a:pt x="0" y="12"/>
                    <a:pt x="0" y="10"/>
                    <a:pt x="1" y="8"/>
                  </a:cubicBezTo>
                  <a:cubicBezTo>
                    <a:pt x="2" y="6"/>
                    <a:pt x="3" y="5"/>
                    <a:pt x="4" y="3"/>
                  </a:cubicBezTo>
                  <a:cubicBezTo>
                    <a:pt x="5" y="2"/>
                    <a:pt x="6" y="1"/>
                    <a:pt x="8" y="1"/>
                  </a:cubicBezTo>
                  <a:cubicBezTo>
                    <a:pt x="9" y="0"/>
                    <a:pt x="11" y="0"/>
                    <a:pt x="13" y="0"/>
                  </a:cubicBezTo>
                  <a:cubicBezTo>
                    <a:pt x="14" y="0"/>
                    <a:pt x="16" y="0"/>
                    <a:pt x="17" y="1"/>
                  </a:cubicBezTo>
                  <a:cubicBezTo>
                    <a:pt x="19" y="1"/>
                    <a:pt x="20" y="2"/>
                    <a:pt x="21" y="3"/>
                  </a:cubicBezTo>
                  <a:cubicBezTo>
                    <a:pt x="22" y="4"/>
                    <a:pt x="23" y="5"/>
                    <a:pt x="23" y="7"/>
                  </a:cubicBezTo>
                  <a:cubicBezTo>
                    <a:pt x="24" y="9"/>
                    <a:pt x="24" y="11"/>
                    <a:pt x="24" y="13"/>
                  </a:cubicBezTo>
                  <a:cubicBezTo>
                    <a:pt x="24" y="14"/>
                    <a:pt x="24" y="15"/>
                    <a:pt x="24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6"/>
                    <a:pt x="7" y="17"/>
                    <a:pt x="8" y="18"/>
                  </a:cubicBezTo>
                  <a:cubicBezTo>
                    <a:pt x="8" y="19"/>
                    <a:pt x="9" y="20"/>
                    <a:pt x="10" y="21"/>
                  </a:cubicBezTo>
                  <a:cubicBezTo>
                    <a:pt x="10" y="21"/>
                    <a:pt x="11" y="21"/>
                    <a:pt x="12" y="22"/>
                  </a:cubicBezTo>
                  <a:cubicBezTo>
                    <a:pt x="13" y="22"/>
                    <a:pt x="14" y="22"/>
                    <a:pt x="15" y="22"/>
                  </a:cubicBezTo>
                  <a:close/>
                  <a:moveTo>
                    <a:pt x="13" y="5"/>
                  </a:moveTo>
                  <a:cubicBezTo>
                    <a:pt x="12" y="5"/>
                    <a:pt x="11" y="5"/>
                    <a:pt x="10" y="5"/>
                  </a:cubicBezTo>
                  <a:cubicBezTo>
                    <a:pt x="10" y="5"/>
                    <a:pt x="9" y="6"/>
                    <a:pt x="9" y="6"/>
                  </a:cubicBezTo>
                  <a:cubicBezTo>
                    <a:pt x="8" y="7"/>
                    <a:pt x="8" y="7"/>
                    <a:pt x="8" y="8"/>
                  </a:cubicBezTo>
                  <a:cubicBezTo>
                    <a:pt x="7" y="9"/>
                    <a:pt x="7" y="10"/>
                    <a:pt x="7" y="1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8" y="10"/>
                    <a:pt x="17" y="9"/>
                    <a:pt x="17" y="8"/>
                  </a:cubicBezTo>
                  <a:cubicBezTo>
                    <a:pt x="17" y="7"/>
                    <a:pt x="17" y="7"/>
                    <a:pt x="16" y="6"/>
                  </a:cubicBezTo>
                  <a:cubicBezTo>
                    <a:pt x="15" y="5"/>
                    <a:pt x="14" y="5"/>
                    <a:pt x="13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34" name="Freeform 19"/>
            <p:cNvSpPr>
              <a:spLocks noEditPoints="1"/>
            </p:cNvSpPr>
            <p:nvPr userDrawn="1"/>
          </p:nvSpPr>
          <p:spPr bwMode="gray">
            <a:xfrm>
              <a:off x="10202835" y="3670288"/>
              <a:ext cx="90487" cy="101599"/>
            </a:xfrm>
            <a:custGeom>
              <a:avLst/>
              <a:gdLst>
                <a:gd name="T0" fmla="*/ 56554 w 24"/>
                <a:gd name="T1" fmla="*/ 82784 h 27"/>
                <a:gd name="T2" fmla="*/ 71636 w 24"/>
                <a:gd name="T3" fmla="*/ 82784 h 27"/>
                <a:gd name="T4" fmla="*/ 86717 w 24"/>
                <a:gd name="T5" fmla="*/ 79021 h 27"/>
                <a:gd name="T6" fmla="*/ 86717 w 24"/>
                <a:gd name="T7" fmla="*/ 97836 h 27"/>
                <a:gd name="T8" fmla="*/ 71636 w 24"/>
                <a:gd name="T9" fmla="*/ 101599 h 27"/>
                <a:gd name="T10" fmla="*/ 52784 w 24"/>
                <a:gd name="T11" fmla="*/ 101599 h 27"/>
                <a:gd name="T12" fmla="*/ 33933 w 24"/>
                <a:gd name="T13" fmla="*/ 101599 h 27"/>
                <a:gd name="T14" fmla="*/ 15081 w 24"/>
                <a:gd name="T15" fmla="*/ 90310 h 27"/>
                <a:gd name="T16" fmla="*/ 3770 w 24"/>
                <a:gd name="T17" fmla="*/ 75259 h 27"/>
                <a:gd name="T18" fmla="*/ 0 w 24"/>
                <a:gd name="T19" fmla="*/ 52681 h 27"/>
                <a:gd name="T20" fmla="*/ 3770 w 24"/>
                <a:gd name="T21" fmla="*/ 30103 h 27"/>
                <a:gd name="T22" fmla="*/ 15081 w 24"/>
                <a:gd name="T23" fmla="*/ 11289 h 27"/>
                <a:gd name="T24" fmla="*/ 30162 w 24"/>
                <a:gd name="T25" fmla="*/ 3763 h 27"/>
                <a:gd name="T26" fmla="*/ 49014 w 24"/>
                <a:gd name="T27" fmla="*/ 0 h 27"/>
                <a:gd name="T28" fmla="*/ 64095 w 24"/>
                <a:gd name="T29" fmla="*/ 3763 h 27"/>
                <a:gd name="T30" fmla="*/ 79176 w 24"/>
                <a:gd name="T31" fmla="*/ 11289 h 27"/>
                <a:gd name="T32" fmla="*/ 86717 w 24"/>
                <a:gd name="T33" fmla="*/ 26340 h 27"/>
                <a:gd name="T34" fmla="*/ 90487 w 24"/>
                <a:gd name="T35" fmla="*/ 48918 h 27"/>
                <a:gd name="T36" fmla="*/ 90487 w 24"/>
                <a:gd name="T37" fmla="*/ 56444 h 27"/>
                <a:gd name="T38" fmla="*/ 26392 w 24"/>
                <a:gd name="T39" fmla="*/ 56444 h 27"/>
                <a:gd name="T40" fmla="*/ 30162 w 24"/>
                <a:gd name="T41" fmla="*/ 67733 h 27"/>
                <a:gd name="T42" fmla="*/ 37703 w 24"/>
                <a:gd name="T43" fmla="*/ 79021 h 27"/>
                <a:gd name="T44" fmla="*/ 45244 w 24"/>
                <a:gd name="T45" fmla="*/ 82784 h 27"/>
                <a:gd name="T46" fmla="*/ 56554 w 24"/>
                <a:gd name="T47" fmla="*/ 82784 h 27"/>
                <a:gd name="T48" fmla="*/ 49014 w 24"/>
                <a:gd name="T49" fmla="*/ 18815 h 27"/>
                <a:gd name="T50" fmla="*/ 37703 w 24"/>
                <a:gd name="T51" fmla="*/ 18815 h 27"/>
                <a:gd name="T52" fmla="*/ 33933 w 24"/>
                <a:gd name="T53" fmla="*/ 22578 h 27"/>
                <a:gd name="T54" fmla="*/ 30162 w 24"/>
                <a:gd name="T55" fmla="*/ 30103 h 27"/>
                <a:gd name="T56" fmla="*/ 26392 w 24"/>
                <a:gd name="T57" fmla="*/ 37629 h 27"/>
                <a:gd name="T58" fmla="*/ 67865 w 24"/>
                <a:gd name="T59" fmla="*/ 37629 h 27"/>
                <a:gd name="T60" fmla="*/ 64095 w 24"/>
                <a:gd name="T61" fmla="*/ 30103 h 27"/>
                <a:gd name="T62" fmla="*/ 60325 w 24"/>
                <a:gd name="T63" fmla="*/ 22578 h 27"/>
                <a:gd name="T64" fmla="*/ 49014 w 24"/>
                <a:gd name="T65" fmla="*/ 18815 h 2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4" h="27">
                  <a:moveTo>
                    <a:pt x="15" y="22"/>
                  </a:moveTo>
                  <a:cubicBezTo>
                    <a:pt x="17" y="22"/>
                    <a:pt x="18" y="22"/>
                    <a:pt x="19" y="22"/>
                  </a:cubicBezTo>
                  <a:cubicBezTo>
                    <a:pt x="21" y="21"/>
                    <a:pt x="22" y="21"/>
                    <a:pt x="23" y="21"/>
                  </a:cubicBezTo>
                  <a:cubicBezTo>
                    <a:pt x="23" y="26"/>
                    <a:pt x="23" y="26"/>
                    <a:pt x="23" y="26"/>
                  </a:cubicBezTo>
                  <a:cubicBezTo>
                    <a:pt x="22" y="26"/>
                    <a:pt x="21" y="27"/>
                    <a:pt x="19" y="27"/>
                  </a:cubicBezTo>
                  <a:cubicBezTo>
                    <a:pt x="17" y="27"/>
                    <a:pt x="16" y="27"/>
                    <a:pt x="14" y="27"/>
                  </a:cubicBezTo>
                  <a:cubicBezTo>
                    <a:pt x="12" y="27"/>
                    <a:pt x="10" y="27"/>
                    <a:pt x="9" y="27"/>
                  </a:cubicBezTo>
                  <a:cubicBezTo>
                    <a:pt x="7" y="26"/>
                    <a:pt x="5" y="25"/>
                    <a:pt x="4" y="24"/>
                  </a:cubicBezTo>
                  <a:cubicBezTo>
                    <a:pt x="3" y="23"/>
                    <a:pt x="2" y="22"/>
                    <a:pt x="1" y="20"/>
                  </a:cubicBezTo>
                  <a:cubicBezTo>
                    <a:pt x="0" y="18"/>
                    <a:pt x="0" y="16"/>
                    <a:pt x="0" y="14"/>
                  </a:cubicBezTo>
                  <a:cubicBezTo>
                    <a:pt x="0" y="12"/>
                    <a:pt x="0" y="10"/>
                    <a:pt x="1" y="8"/>
                  </a:cubicBezTo>
                  <a:cubicBezTo>
                    <a:pt x="2" y="6"/>
                    <a:pt x="3" y="5"/>
                    <a:pt x="4" y="3"/>
                  </a:cubicBezTo>
                  <a:cubicBezTo>
                    <a:pt x="5" y="2"/>
                    <a:pt x="6" y="1"/>
                    <a:pt x="8" y="1"/>
                  </a:cubicBezTo>
                  <a:cubicBezTo>
                    <a:pt x="9" y="0"/>
                    <a:pt x="11" y="0"/>
                    <a:pt x="13" y="0"/>
                  </a:cubicBezTo>
                  <a:cubicBezTo>
                    <a:pt x="14" y="0"/>
                    <a:pt x="16" y="0"/>
                    <a:pt x="17" y="1"/>
                  </a:cubicBezTo>
                  <a:cubicBezTo>
                    <a:pt x="19" y="1"/>
                    <a:pt x="20" y="2"/>
                    <a:pt x="21" y="3"/>
                  </a:cubicBezTo>
                  <a:cubicBezTo>
                    <a:pt x="22" y="4"/>
                    <a:pt x="23" y="5"/>
                    <a:pt x="23" y="7"/>
                  </a:cubicBezTo>
                  <a:cubicBezTo>
                    <a:pt x="24" y="9"/>
                    <a:pt x="24" y="11"/>
                    <a:pt x="24" y="13"/>
                  </a:cubicBezTo>
                  <a:cubicBezTo>
                    <a:pt x="24" y="14"/>
                    <a:pt x="24" y="15"/>
                    <a:pt x="24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6"/>
                    <a:pt x="7" y="17"/>
                    <a:pt x="8" y="18"/>
                  </a:cubicBezTo>
                  <a:cubicBezTo>
                    <a:pt x="8" y="19"/>
                    <a:pt x="9" y="20"/>
                    <a:pt x="10" y="21"/>
                  </a:cubicBezTo>
                  <a:cubicBezTo>
                    <a:pt x="10" y="21"/>
                    <a:pt x="11" y="21"/>
                    <a:pt x="12" y="22"/>
                  </a:cubicBezTo>
                  <a:cubicBezTo>
                    <a:pt x="13" y="22"/>
                    <a:pt x="14" y="22"/>
                    <a:pt x="15" y="22"/>
                  </a:cubicBezTo>
                  <a:close/>
                  <a:moveTo>
                    <a:pt x="13" y="5"/>
                  </a:moveTo>
                  <a:cubicBezTo>
                    <a:pt x="12" y="5"/>
                    <a:pt x="11" y="5"/>
                    <a:pt x="10" y="5"/>
                  </a:cubicBezTo>
                  <a:cubicBezTo>
                    <a:pt x="10" y="5"/>
                    <a:pt x="9" y="6"/>
                    <a:pt x="9" y="6"/>
                  </a:cubicBezTo>
                  <a:cubicBezTo>
                    <a:pt x="8" y="7"/>
                    <a:pt x="8" y="7"/>
                    <a:pt x="8" y="8"/>
                  </a:cubicBezTo>
                  <a:cubicBezTo>
                    <a:pt x="7" y="9"/>
                    <a:pt x="7" y="10"/>
                    <a:pt x="7" y="1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8" y="10"/>
                    <a:pt x="17" y="9"/>
                    <a:pt x="17" y="8"/>
                  </a:cubicBezTo>
                  <a:cubicBezTo>
                    <a:pt x="17" y="7"/>
                    <a:pt x="17" y="7"/>
                    <a:pt x="16" y="6"/>
                  </a:cubicBezTo>
                  <a:cubicBezTo>
                    <a:pt x="15" y="5"/>
                    <a:pt x="14" y="5"/>
                    <a:pt x="13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35" name="Freeform 20"/>
            <p:cNvSpPr>
              <a:spLocks/>
            </p:cNvSpPr>
            <p:nvPr userDrawn="1"/>
          </p:nvSpPr>
          <p:spPr bwMode="gray">
            <a:xfrm>
              <a:off x="10315546" y="3670288"/>
              <a:ext cx="90487" cy="101599"/>
            </a:xfrm>
            <a:custGeom>
              <a:avLst/>
              <a:gdLst>
                <a:gd name="T0" fmla="*/ 22622 w 24"/>
                <a:gd name="T1" fmla="*/ 15052 h 27"/>
                <a:gd name="T2" fmla="*/ 22622 w 24"/>
                <a:gd name="T3" fmla="*/ 15052 h 27"/>
                <a:gd name="T4" fmla="*/ 30162 w 24"/>
                <a:gd name="T5" fmla="*/ 7526 h 27"/>
                <a:gd name="T6" fmla="*/ 33933 w 24"/>
                <a:gd name="T7" fmla="*/ 3763 h 27"/>
                <a:gd name="T8" fmla="*/ 45244 w 24"/>
                <a:gd name="T9" fmla="*/ 0 h 27"/>
                <a:gd name="T10" fmla="*/ 56554 w 24"/>
                <a:gd name="T11" fmla="*/ 0 h 27"/>
                <a:gd name="T12" fmla="*/ 67865 w 24"/>
                <a:gd name="T13" fmla="*/ 0 h 27"/>
                <a:gd name="T14" fmla="*/ 75406 w 24"/>
                <a:gd name="T15" fmla="*/ 3763 h 27"/>
                <a:gd name="T16" fmla="*/ 82946 w 24"/>
                <a:gd name="T17" fmla="*/ 11289 h 27"/>
                <a:gd name="T18" fmla="*/ 86717 w 24"/>
                <a:gd name="T19" fmla="*/ 22578 h 27"/>
                <a:gd name="T20" fmla="*/ 90487 w 24"/>
                <a:gd name="T21" fmla="*/ 26340 h 27"/>
                <a:gd name="T22" fmla="*/ 90487 w 24"/>
                <a:gd name="T23" fmla="*/ 37629 h 27"/>
                <a:gd name="T24" fmla="*/ 90487 w 24"/>
                <a:gd name="T25" fmla="*/ 101599 h 27"/>
                <a:gd name="T26" fmla="*/ 67865 w 24"/>
                <a:gd name="T27" fmla="*/ 101599 h 27"/>
                <a:gd name="T28" fmla="*/ 67865 w 24"/>
                <a:gd name="T29" fmla="*/ 41392 h 27"/>
                <a:gd name="T30" fmla="*/ 67865 w 24"/>
                <a:gd name="T31" fmla="*/ 33866 h 27"/>
                <a:gd name="T32" fmla="*/ 64095 w 24"/>
                <a:gd name="T33" fmla="*/ 30103 h 27"/>
                <a:gd name="T34" fmla="*/ 60325 w 24"/>
                <a:gd name="T35" fmla="*/ 22578 h 27"/>
                <a:gd name="T36" fmla="*/ 49014 w 24"/>
                <a:gd name="T37" fmla="*/ 18815 h 27"/>
                <a:gd name="T38" fmla="*/ 37703 w 24"/>
                <a:gd name="T39" fmla="*/ 22578 h 27"/>
                <a:gd name="T40" fmla="*/ 26392 w 24"/>
                <a:gd name="T41" fmla="*/ 33866 h 27"/>
                <a:gd name="T42" fmla="*/ 26392 w 24"/>
                <a:gd name="T43" fmla="*/ 101599 h 27"/>
                <a:gd name="T44" fmla="*/ 0 w 24"/>
                <a:gd name="T45" fmla="*/ 101599 h 27"/>
                <a:gd name="T46" fmla="*/ 0 w 24"/>
                <a:gd name="T47" fmla="*/ 0 h 27"/>
                <a:gd name="T48" fmla="*/ 18851 w 24"/>
                <a:gd name="T49" fmla="*/ 0 h 27"/>
                <a:gd name="T50" fmla="*/ 22622 w 24"/>
                <a:gd name="T51" fmla="*/ 15052 h 27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24" h="27">
                  <a:moveTo>
                    <a:pt x="6" y="4"/>
                  </a:move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7" y="3"/>
                    <a:pt x="8" y="2"/>
                  </a:cubicBezTo>
                  <a:cubicBezTo>
                    <a:pt x="8" y="2"/>
                    <a:pt x="9" y="1"/>
                    <a:pt x="9" y="1"/>
                  </a:cubicBezTo>
                  <a:cubicBezTo>
                    <a:pt x="10" y="1"/>
                    <a:pt x="11" y="0"/>
                    <a:pt x="12" y="0"/>
                  </a:cubicBezTo>
                  <a:cubicBezTo>
                    <a:pt x="13" y="0"/>
                    <a:pt x="14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8" y="0"/>
                    <a:pt x="19" y="1"/>
                    <a:pt x="20" y="1"/>
                  </a:cubicBezTo>
                  <a:cubicBezTo>
                    <a:pt x="21" y="2"/>
                    <a:pt x="21" y="2"/>
                    <a:pt x="22" y="3"/>
                  </a:cubicBezTo>
                  <a:cubicBezTo>
                    <a:pt x="23" y="4"/>
                    <a:pt x="23" y="5"/>
                    <a:pt x="23" y="6"/>
                  </a:cubicBezTo>
                  <a:cubicBezTo>
                    <a:pt x="24" y="6"/>
                    <a:pt x="24" y="7"/>
                    <a:pt x="24" y="7"/>
                  </a:cubicBezTo>
                  <a:cubicBezTo>
                    <a:pt x="24" y="8"/>
                    <a:pt x="24" y="9"/>
                    <a:pt x="24" y="10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18" y="10"/>
                    <a:pt x="18" y="9"/>
                    <a:pt x="18" y="9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7" y="7"/>
                    <a:pt x="16" y="6"/>
                    <a:pt x="16" y="6"/>
                  </a:cubicBezTo>
                  <a:cubicBezTo>
                    <a:pt x="15" y="5"/>
                    <a:pt x="14" y="5"/>
                    <a:pt x="13" y="5"/>
                  </a:cubicBezTo>
                  <a:cubicBezTo>
                    <a:pt x="12" y="5"/>
                    <a:pt x="11" y="6"/>
                    <a:pt x="10" y="6"/>
                  </a:cubicBezTo>
                  <a:cubicBezTo>
                    <a:pt x="9" y="7"/>
                    <a:pt x="7" y="8"/>
                    <a:pt x="7" y="9"/>
                  </a:cubicBezTo>
                  <a:cubicBezTo>
                    <a:pt x="7" y="27"/>
                    <a:pt x="7" y="27"/>
                    <a:pt x="7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" y="0"/>
                    <a:pt x="5" y="0"/>
                    <a:pt x="5" y="0"/>
                  </a:cubicBezTo>
                  <a:lnTo>
                    <a:pt x="6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36" name="Freeform 21"/>
            <p:cNvSpPr>
              <a:spLocks noEditPoints="1"/>
            </p:cNvSpPr>
            <p:nvPr userDrawn="1"/>
          </p:nvSpPr>
          <p:spPr bwMode="gray">
            <a:xfrm>
              <a:off x="10428259" y="3670293"/>
              <a:ext cx="90487" cy="150812"/>
            </a:xfrm>
            <a:custGeom>
              <a:avLst/>
              <a:gdLst>
                <a:gd name="T0" fmla="*/ 67865 w 24"/>
                <a:gd name="T1" fmla="*/ 101798 h 40"/>
                <a:gd name="T2" fmla="*/ 67865 w 24"/>
                <a:gd name="T3" fmla="*/ 98028 h 40"/>
                <a:gd name="T4" fmla="*/ 67865 w 24"/>
                <a:gd name="T5" fmla="*/ 94258 h 40"/>
                <a:gd name="T6" fmla="*/ 67865 w 24"/>
                <a:gd name="T7" fmla="*/ 94258 h 40"/>
                <a:gd name="T8" fmla="*/ 64095 w 24"/>
                <a:gd name="T9" fmla="*/ 98028 h 40"/>
                <a:gd name="T10" fmla="*/ 56554 w 24"/>
                <a:gd name="T11" fmla="*/ 98028 h 40"/>
                <a:gd name="T12" fmla="*/ 49014 w 24"/>
                <a:gd name="T13" fmla="*/ 101798 h 40"/>
                <a:gd name="T14" fmla="*/ 26392 w 24"/>
                <a:gd name="T15" fmla="*/ 101798 h 40"/>
                <a:gd name="T16" fmla="*/ 11311 w 24"/>
                <a:gd name="T17" fmla="*/ 90487 h 40"/>
                <a:gd name="T18" fmla="*/ 3770 w 24"/>
                <a:gd name="T19" fmla="*/ 75406 h 40"/>
                <a:gd name="T20" fmla="*/ 0 w 24"/>
                <a:gd name="T21" fmla="*/ 52784 h 40"/>
                <a:gd name="T22" fmla="*/ 3770 w 24"/>
                <a:gd name="T23" fmla="*/ 30162 h 40"/>
                <a:gd name="T24" fmla="*/ 11311 w 24"/>
                <a:gd name="T25" fmla="*/ 11311 h 40"/>
                <a:gd name="T26" fmla="*/ 26392 w 24"/>
                <a:gd name="T27" fmla="*/ 3770 h 40"/>
                <a:gd name="T28" fmla="*/ 41473 w 24"/>
                <a:gd name="T29" fmla="*/ 0 h 40"/>
                <a:gd name="T30" fmla="*/ 56554 w 24"/>
                <a:gd name="T31" fmla="*/ 3770 h 40"/>
                <a:gd name="T32" fmla="*/ 67865 w 24"/>
                <a:gd name="T33" fmla="*/ 11311 h 40"/>
                <a:gd name="T34" fmla="*/ 67865 w 24"/>
                <a:gd name="T35" fmla="*/ 11311 h 40"/>
                <a:gd name="T36" fmla="*/ 71636 w 24"/>
                <a:gd name="T37" fmla="*/ 0 h 40"/>
                <a:gd name="T38" fmla="*/ 90487 w 24"/>
                <a:gd name="T39" fmla="*/ 0 h 40"/>
                <a:gd name="T40" fmla="*/ 90487 w 24"/>
                <a:gd name="T41" fmla="*/ 101798 h 40"/>
                <a:gd name="T42" fmla="*/ 90487 w 24"/>
                <a:gd name="T43" fmla="*/ 116879 h 40"/>
                <a:gd name="T44" fmla="*/ 86717 w 24"/>
                <a:gd name="T45" fmla="*/ 128190 h 40"/>
                <a:gd name="T46" fmla="*/ 79176 w 24"/>
                <a:gd name="T47" fmla="*/ 139501 h 40"/>
                <a:gd name="T48" fmla="*/ 67865 w 24"/>
                <a:gd name="T49" fmla="*/ 147042 h 40"/>
                <a:gd name="T50" fmla="*/ 52784 w 24"/>
                <a:gd name="T51" fmla="*/ 150812 h 40"/>
                <a:gd name="T52" fmla="*/ 33933 w 24"/>
                <a:gd name="T53" fmla="*/ 150812 h 40"/>
                <a:gd name="T54" fmla="*/ 26392 w 24"/>
                <a:gd name="T55" fmla="*/ 150812 h 40"/>
                <a:gd name="T56" fmla="*/ 15081 w 24"/>
                <a:gd name="T57" fmla="*/ 150812 h 40"/>
                <a:gd name="T58" fmla="*/ 7541 w 24"/>
                <a:gd name="T59" fmla="*/ 147042 h 40"/>
                <a:gd name="T60" fmla="*/ 3770 w 24"/>
                <a:gd name="T61" fmla="*/ 147042 h 40"/>
                <a:gd name="T62" fmla="*/ 3770 w 24"/>
                <a:gd name="T63" fmla="*/ 128190 h 40"/>
                <a:gd name="T64" fmla="*/ 18851 w 24"/>
                <a:gd name="T65" fmla="*/ 131961 h 40"/>
                <a:gd name="T66" fmla="*/ 33933 w 24"/>
                <a:gd name="T67" fmla="*/ 131961 h 40"/>
                <a:gd name="T68" fmla="*/ 56554 w 24"/>
                <a:gd name="T69" fmla="*/ 124420 h 40"/>
                <a:gd name="T70" fmla="*/ 67865 w 24"/>
                <a:gd name="T71" fmla="*/ 105568 h 40"/>
                <a:gd name="T72" fmla="*/ 67865 w 24"/>
                <a:gd name="T73" fmla="*/ 101798 h 40"/>
                <a:gd name="T74" fmla="*/ 45244 w 24"/>
                <a:gd name="T75" fmla="*/ 82947 h 40"/>
                <a:gd name="T76" fmla="*/ 52784 w 24"/>
                <a:gd name="T77" fmla="*/ 82947 h 40"/>
                <a:gd name="T78" fmla="*/ 60325 w 24"/>
                <a:gd name="T79" fmla="*/ 79176 h 40"/>
                <a:gd name="T80" fmla="*/ 64095 w 24"/>
                <a:gd name="T81" fmla="*/ 75406 h 40"/>
                <a:gd name="T82" fmla="*/ 67865 w 24"/>
                <a:gd name="T83" fmla="*/ 75406 h 40"/>
                <a:gd name="T84" fmla="*/ 67865 w 24"/>
                <a:gd name="T85" fmla="*/ 30162 h 40"/>
                <a:gd name="T86" fmla="*/ 60325 w 24"/>
                <a:gd name="T87" fmla="*/ 22622 h 40"/>
                <a:gd name="T88" fmla="*/ 45244 w 24"/>
                <a:gd name="T89" fmla="*/ 18852 h 40"/>
                <a:gd name="T90" fmla="*/ 41473 w 24"/>
                <a:gd name="T91" fmla="*/ 18852 h 40"/>
                <a:gd name="T92" fmla="*/ 37703 w 24"/>
                <a:gd name="T93" fmla="*/ 18852 h 40"/>
                <a:gd name="T94" fmla="*/ 30162 w 24"/>
                <a:gd name="T95" fmla="*/ 22622 h 40"/>
                <a:gd name="T96" fmla="*/ 26392 w 24"/>
                <a:gd name="T97" fmla="*/ 30162 h 40"/>
                <a:gd name="T98" fmla="*/ 26392 w 24"/>
                <a:gd name="T99" fmla="*/ 37703 h 40"/>
                <a:gd name="T100" fmla="*/ 22622 w 24"/>
                <a:gd name="T101" fmla="*/ 52784 h 40"/>
                <a:gd name="T102" fmla="*/ 26392 w 24"/>
                <a:gd name="T103" fmla="*/ 64095 h 40"/>
                <a:gd name="T104" fmla="*/ 30162 w 24"/>
                <a:gd name="T105" fmla="*/ 75406 h 40"/>
                <a:gd name="T106" fmla="*/ 37703 w 24"/>
                <a:gd name="T107" fmla="*/ 79176 h 40"/>
                <a:gd name="T108" fmla="*/ 45244 w 24"/>
                <a:gd name="T109" fmla="*/ 82947 h 4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24" h="40">
                  <a:moveTo>
                    <a:pt x="18" y="27"/>
                  </a:moveTo>
                  <a:cubicBezTo>
                    <a:pt x="18" y="26"/>
                    <a:pt x="18" y="26"/>
                    <a:pt x="18" y="26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7" y="25"/>
                    <a:pt x="17" y="26"/>
                  </a:cubicBezTo>
                  <a:cubicBezTo>
                    <a:pt x="16" y="26"/>
                    <a:pt x="16" y="26"/>
                    <a:pt x="15" y="26"/>
                  </a:cubicBezTo>
                  <a:cubicBezTo>
                    <a:pt x="14" y="27"/>
                    <a:pt x="14" y="27"/>
                    <a:pt x="13" y="27"/>
                  </a:cubicBezTo>
                  <a:cubicBezTo>
                    <a:pt x="11" y="27"/>
                    <a:pt x="9" y="27"/>
                    <a:pt x="7" y="27"/>
                  </a:cubicBezTo>
                  <a:cubicBezTo>
                    <a:pt x="5" y="26"/>
                    <a:pt x="4" y="25"/>
                    <a:pt x="3" y="24"/>
                  </a:cubicBezTo>
                  <a:cubicBezTo>
                    <a:pt x="2" y="23"/>
                    <a:pt x="1" y="22"/>
                    <a:pt x="1" y="20"/>
                  </a:cubicBezTo>
                  <a:cubicBezTo>
                    <a:pt x="0" y="18"/>
                    <a:pt x="0" y="16"/>
                    <a:pt x="0" y="14"/>
                  </a:cubicBezTo>
                  <a:cubicBezTo>
                    <a:pt x="0" y="12"/>
                    <a:pt x="0" y="10"/>
                    <a:pt x="1" y="8"/>
                  </a:cubicBezTo>
                  <a:cubicBezTo>
                    <a:pt x="1" y="6"/>
                    <a:pt x="2" y="5"/>
                    <a:pt x="3" y="3"/>
                  </a:cubicBezTo>
                  <a:cubicBezTo>
                    <a:pt x="4" y="2"/>
                    <a:pt x="5" y="1"/>
                    <a:pt x="7" y="1"/>
                  </a:cubicBezTo>
                  <a:cubicBezTo>
                    <a:pt x="8" y="0"/>
                    <a:pt x="10" y="0"/>
                    <a:pt x="11" y="0"/>
                  </a:cubicBezTo>
                  <a:cubicBezTo>
                    <a:pt x="13" y="0"/>
                    <a:pt x="14" y="0"/>
                    <a:pt x="15" y="1"/>
                  </a:cubicBezTo>
                  <a:cubicBezTo>
                    <a:pt x="17" y="1"/>
                    <a:pt x="18" y="2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4" y="28"/>
                    <a:pt x="24" y="30"/>
                    <a:pt x="24" y="31"/>
                  </a:cubicBezTo>
                  <a:cubicBezTo>
                    <a:pt x="24" y="32"/>
                    <a:pt x="23" y="33"/>
                    <a:pt x="23" y="34"/>
                  </a:cubicBezTo>
                  <a:cubicBezTo>
                    <a:pt x="22" y="35"/>
                    <a:pt x="21" y="36"/>
                    <a:pt x="21" y="37"/>
                  </a:cubicBezTo>
                  <a:cubicBezTo>
                    <a:pt x="20" y="37"/>
                    <a:pt x="19" y="38"/>
                    <a:pt x="18" y="39"/>
                  </a:cubicBezTo>
                  <a:cubicBezTo>
                    <a:pt x="16" y="39"/>
                    <a:pt x="15" y="39"/>
                    <a:pt x="14" y="40"/>
                  </a:cubicBezTo>
                  <a:cubicBezTo>
                    <a:pt x="12" y="40"/>
                    <a:pt x="11" y="40"/>
                    <a:pt x="9" y="40"/>
                  </a:cubicBezTo>
                  <a:cubicBezTo>
                    <a:pt x="7" y="40"/>
                    <a:pt x="7" y="40"/>
                    <a:pt x="7" y="40"/>
                  </a:cubicBezTo>
                  <a:cubicBezTo>
                    <a:pt x="6" y="40"/>
                    <a:pt x="5" y="40"/>
                    <a:pt x="4" y="40"/>
                  </a:cubicBezTo>
                  <a:cubicBezTo>
                    <a:pt x="2" y="39"/>
                    <a:pt x="2" y="39"/>
                    <a:pt x="2" y="39"/>
                  </a:cubicBezTo>
                  <a:cubicBezTo>
                    <a:pt x="2" y="39"/>
                    <a:pt x="1" y="39"/>
                    <a:pt x="1" y="39"/>
                  </a:cubicBezTo>
                  <a:cubicBezTo>
                    <a:pt x="1" y="34"/>
                    <a:pt x="1" y="34"/>
                    <a:pt x="1" y="34"/>
                  </a:cubicBezTo>
                  <a:cubicBezTo>
                    <a:pt x="2" y="34"/>
                    <a:pt x="3" y="34"/>
                    <a:pt x="5" y="35"/>
                  </a:cubicBezTo>
                  <a:cubicBezTo>
                    <a:pt x="6" y="35"/>
                    <a:pt x="7" y="35"/>
                    <a:pt x="9" y="35"/>
                  </a:cubicBezTo>
                  <a:cubicBezTo>
                    <a:pt x="11" y="35"/>
                    <a:pt x="13" y="34"/>
                    <a:pt x="15" y="33"/>
                  </a:cubicBezTo>
                  <a:cubicBezTo>
                    <a:pt x="17" y="32"/>
                    <a:pt x="18" y="30"/>
                    <a:pt x="18" y="28"/>
                  </a:cubicBezTo>
                  <a:lnTo>
                    <a:pt x="18" y="27"/>
                  </a:lnTo>
                  <a:close/>
                  <a:moveTo>
                    <a:pt x="12" y="22"/>
                  </a:moveTo>
                  <a:cubicBezTo>
                    <a:pt x="13" y="22"/>
                    <a:pt x="14" y="22"/>
                    <a:pt x="14" y="22"/>
                  </a:cubicBezTo>
                  <a:cubicBezTo>
                    <a:pt x="15" y="22"/>
                    <a:pt x="15" y="22"/>
                    <a:pt x="16" y="21"/>
                  </a:cubicBezTo>
                  <a:cubicBezTo>
                    <a:pt x="16" y="21"/>
                    <a:pt x="17" y="21"/>
                    <a:pt x="17" y="20"/>
                  </a:cubicBezTo>
                  <a:cubicBezTo>
                    <a:pt x="17" y="20"/>
                    <a:pt x="18" y="20"/>
                    <a:pt x="18" y="20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7"/>
                    <a:pt x="16" y="6"/>
                    <a:pt x="16" y="6"/>
                  </a:cubicBezTo>
                  <a:cubicBezTo>
                    <a:pt x="15" y="5"/>
                    <a:pt x="13" y="5"/>
                    <a:pt x="12" y="5"/>
                  </a:cubicBezTo>
                  <a:cubicBezTo>
                    <a:pt x="12" y="5"/>
                    <a:pt x="11" y="5"/>
                    <a:pt x="11" y="5"/>
                  </a:cubicBezTo>
                  <a:cubicBezTo>
                    <a:pt x="11" y="5"/>
                    <a:pt x="10" y="5"/>
                    <a:pt x="10" y="5"/>
                  </a:cubicBezTo>
                  <a:cubicBezTo>
                    <a:pt x="9" y="6"/>
                    <a:pt x="9" y="6"/>
                    <a:pt x="8" y="6"/>
                  </a:cubicBezTo>
                  <a:cubicBezTo>
                    <a:pt x="8" y="7"/>
                    <a:pt x="8" y="7"/>
                    <a:pt x="7" y="8"/>
                  </a:cubicBezTo>
                  <a:cubicBezTo>
                    <a:pt x="7" y="9"/>
                    <a:pt x="7" y="10"/>
                    <a:pt x="7" y="10"/>
                  </a:cubicBezTo>
                  <a:cubicBezTo>
                    <a:pt x="6" y="11"/>
                    <a:pt x="6" y="12"/>
                    <a:pt x="6" y="14"/>
                  </a:cubicBezTo>
                  <a:cubicBezTo>
                    <a:pt x="6" y="15"/>
                    <a:pt x="6" y="16"/>
                    <a:pt x="7" y="17"/>
                  </a:cubicBezTo>
                  <a:cubicBezTo>
                    <a:pt x="7" y="18"/>
                    <a:pt x="7" y="19"/>
                    <a:pt x="8" y="20"/>
                  </a:cubicBezTo>
                  <a:cubicBezTo>
                    <a:pt x="8" y="20"/>
                    <a:pt x="9" y="21"/>
                    <a:pt x="10" y="21"/>
                  </a:cubicBezTo>
                  <a:cubicBezTo>
                    <a:pt x="11" y="22"/>
                    <a:pt x="11" y="22"/>
                    <a:pt x="12" y="2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37" name="Freeform 22"/>
            <p:cNvSpPr>
              <a:spLocks noEditPoints="1"/>
            </p:cNvSpPr>
            <p:nvPr userDrawn="1"/>
          </p:nvSpPr>
          <p:spPr bwMode="gray">
            <a:xfrm>
              <a:off x="10548905" y="3621082"/>
              <a:ext cx="22225" cy="150812"/>
            </a:xfrm>
            <a:custGeom>
              <a:avLst/>
              <a:gdLst>
                <a:gd name="T0" fmla="*/ 0 w 14"/>
                <a:gd name="T1" fmla="*/ 0 h 95"/>
                <a:gd name="T2" fmla="*/ 22225 w 14"/>
                <a:gd name="T3" fmla="*/ 0 h 95"/>
                <a:gd name="T4" fmla="*/ 22225 w 14"/>
                <a:gd name="T5" fmla="*/ 26987 h 95"/>
                <a:gd name="T6" fmla="*/ 0 w 14"/>
                <a:gd name="T7" fmla="*/ 26987 h 95"/>
                <a:gd name="T8" fmla="*/ 0 w 14"/>
                <a:gd name="T9" fmla="*/ 0 h 95"/>
                <a:gd name="T10" fmla="*/ 0 w 14"/>
                <a:gd name="T11" fmla="*/ 49212 h 95"/>
                <a:gd name="T12" fmla="*/ 22225 w 14"/>
                <a:gd name="T13" fmla="*/ 49212 h 95"/>
                <a:gd name="T14" fmla="*/ 22225 w 14"/>
                <a:gd name="T15" fmla="*/ 150812 h 95"/>
                <a:gd name="T16" fmla="*/ 0 w 14"/>
                <a:gd name="T17" fmla="*/ 150812 h 95"/>
                <a:gd name="T18" fmla="*/ 0 w 14"/>
                <a:gd name="T19" fmla="*/ 49212 h 9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4" h="95">
                  <a:moveTo>
                    <a:pt x="0" y="0"/>
                  </a:moveTo>
                  <a:lnTo>
                    <a:pt x="14" y="0"/>
                  </a:lnTo>
                  <a:lnTo>
                    <a:pt x="14" y="17"/>
                  </a:lnTo>
                  <a:lnTo>
                    <a:pt x="0" y="17"/>
                  </a:lnTo>
                  <a:lnTo>
                    <a:pt x="0" y="0"/>
                  </a:lnTo>
                  <a:close/>
                  <a:moveTo>
                    <a:pt x="0" y="31"/>
                  </a:moveTo>
                  <a:lnTo>
                    <a:pt x="14" y="31"/>
                  </a:lnTo>
                  <a:lnTo>
                    <a:pt x="14" y="95"/>
                  </a:lnTo>
                  <a:lnTo>
                    <a:pt x="0" y="95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38" name="Freeform 23"/>
            <p:cNvSpPr>
              <a:spLocks/>
            </p:cNvSpPr>
            <p:nvPr userDrawn="1"/>
          </p:nvSpPr>
          <p:spPr bwMode="gray">
            <a:xfrm>
              <a:off x="10596527" y="3670293"/>
              <a:ext cx="90487" cy="101600"/>
            </a:xfrm>
            <a:custGeom>
              <a:avLst/>
              <a:gdLst>
                <a:gd name="T0" fmla="*/ 22622 w 24"/>
                <a:gd name="T1" fmla="*/ 15052 h 27"/>
                <a:gd name="T2" fmla="*/ 22622 w 24"/>
                <a:gd name="T3" fmla="*/ 15052 h 27"/>
                <a:gd name="T4" fmla="*/ 30162 w 24"/>
                <a:gd name="T5" fmla="*/ 7526 h 27"/>
                <a:gd name="T6" fmla="*/ 37703 w 24"/>
                <a:gd name="T7" fmla="*/ 3763 h 27"/>
                <a:gd name="T8" fmla="*/ 45244 w 24"/>
                <a:gd name="T9" fmla="*/ 0 h 27"/>
                <a:gd name="T10" fmla="*/ 56554 w 24"/>
                <a:gd name="T11" fmla="*/ 0 h 27"/>
                <a:gd name="T12" fmla="*/ 67865 w 24"/>
                <a:gd name="T13" fmla="*/ 0 h 27"/>
                <a:gd name="T14" fmla="*/ 75406 w 24"/>
                <a:gd name="T15" fmla="*/ 3763 h 27"/>
                <a:gd name="T16" fmla="*/ 82946 w 24"/>
                <a:gd name="T17" fmla="*/ 11289 h 27"/>
                <a:gd name="T18" fmla="*/ 90487 w 24"/>
                <a:gd name="T19" fmla="*/ 22578 h 27"/>
                <a:gd name="T20" fmla="*/ 90487 w 24"/>
                <a:gd name="T21" fmla="*/ 26341 h 27"/>
                <a:gd name="T22" fmla="*/ 90487 w 24"/>
                <a:gd name="T23" fmla="*/ 37630 h 27"/>
                <a:gd name="T24" fmla="*/ 90487 w 24"/>
                <a:gd name="T25" fmla="*/ 101600 h 27"/>
                <a:gd name="T26" fmla="*/ 67865 w 24"/>
                <a:gd name="T27" fmla="*/ 101600 h 27"/>
                <a:gd name="T28" fmla="*/ 67865 w 24"/>
                <a:gd name="T29" fmla="*/ 41393 h 27"/>
                <a:gd name="T30" fmla="*/ 67865 w 24"/>
                <a:gd name="T31" fmla="*/ 33867 h 27"/>
                <a:gd name="T32" fmla="*/ 64095 w 24"/>
                <a:gd name="T33" fmla="*/ 30104 h 27"/>
                <a:gd name="T34" fmla="*/ 60325 w 24"/>
                <a:gd name="T35" fmla="*/ 22578 h 27"/>
                <a:gd name="T36" fmla="*/ 52784 w 24"/>
                <a:gd name="T37" fmla="*/ 18815 h 27"/>
                <a:gd name="T38" fmla="*/ 37703 w 24"/>
                <a:gd name="T39" fmla="*/ 22578 h 27"/>
                <a:gd name="T40" fmla="*/ 26392 w 24"/>
                <a:gd name="T41" fmla="*/ 33867 h 27"/>
                <a:gd name="T42" fmla="*/ 26392 w 24"/>
                <a:gd name="T43" fmla="*/ 101600 h 27"/>
                <a:gd name="T44" fmla="*/ 0 w 24"/>
                <a:gd name="T45" fmla="*/ 101600 h 27"/>
                <a:gd name="T46" fmla="*/ 0 w 24"/>
                <a:gd name="T47" fmla="*/ 0 h 27"/>
                <a:gd name="T48" fmla="*/ 22622 w 24"/>
                <a:gd name="T49" fmla="*/ 0 h 27"/>
                <a:gd name="T50" fmla="*/ 22622 w 24"/>
                <a:gd name="T51" fmla="*/ 15052 h 27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24" h="27">
                  <a:moveTo>
                    <a:pt x="6" y="4"/>
                  </a:moveTo>
                  <a:cubicBezTo>
                    <a:pt x="6" y="4"/>
                    <a:pt x="6" y="4"/>
                    <a:pt x="6" y="4"/>
                  </a:cubicBezTo>
                  <a:cubicBezTo>
                    <a:pt x="7" y="4"/>
                    <a:pt x="7" y="3"/>
                    <a:pt x="8" y="2"/>
                  </a:cubicBezTo>
                  <a:cubicBezTo>
                    <a:pt x="8" y="2"/>
                    <a:pt x="9" y="1"/>
                    <a:pt x="10" y="1"/>
                  </a:cubicBezTo>
                  <a:cubicBezTo>
                    <a:pt x="11" y="1"/>
                    <a:pt x="11" y="0"/>
                    <a:pt x="12" y="0"/>
                  </a:cubicBezTo>
                  <a:cubicBezTo>
                    <a:pt x="13" y="0"/>
                    <a:pt x="14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1"/>
                    <a:pt x="20" y="1"/>
                  </a:cubicBezTo>
                  <a:cubicBezTo>
                    <a:pt x="21" y="2"/>
                    <a:pt x="22" y="2"/>
                    <a:pt x="22" y="3"/>
                  </a:cubicBezTo>
                  <a:cubicBezTo>
                    <a:pt x="23" y="4"/>
                    <a:pt x="23" y="5"/>
                    <a:pt x="24" y="6"/>
                  </a:cubicBezTo>
                  <a:cubicBezTo>
                    <a:pt x="24" y="6"/>
                    <a:pt x="24" y="7"/>
                    <a:pt x="24" y="7"/>
                  </a:cubicBezTo>
                  <a:cubicBezTo>
                    <a:pt x="24" y="8"/>
                    <a:pt x="24" y="9"/>
                    <a:pt x="24" y="10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18" y="10"/>
                    <a:pt x="18" y="10"/>
                    <a:pt x="18" y="9"/>
                  </a:cubicBezTo>
                  <a:cubicBezTo>
                    <a:pt x="18" y="8"/>
                    <a:pt x="18" y="8"/>
                    <a:pt x="17" y="8"/>
                  </a:cubicBezTo>
                  <a:cubicBezTo>
                    <a:pt x="17" y="7"/>
                    <a:pt x="17" y="6"/>
                    <a:pt x="16" y="6"/>
                  </a:cubicBezTo>
                  <a:cubicBezTo>
                    <a:pt x="15" y="5"/>
                    <a:pt x="14" y="5"/>
                    <a:pt x="14" y="5"/>
                  </a:cubicBezTo>
                  <a:cubicBezTo>
                    <a:pt x="12" y="5"/>
                    <a:pt x="11" y="6"/>
                    <a:pt x="10" y="6"/>
                  </a:cubicBezTo>
                  <a:cubicBezTo>
                    <a:pt x="9" y="7"/>
                    <a:pt x="8" y="8"/>
                    <a:pt x="7" y="9"/>
                  </a:cubicBezTo>
                  <a:cubicBezTo>
                    <a:pt x="7" y="27"/>
                    <a:pt x="7" y="27"/>
                    <a:pt x="7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" y="0"/>
                    <a:pt x="6" y="0"/>
                    <a:pt x="6" y="0"/>
                  </a:cubicBezTo>
                  <a:lnTo>
                    <a:pt x="6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39" name="Freeform 24"/>
            <p:cNvSpPr>
              <a:spLocks noEditPoints="1"/>
            </p:cNvSpPr>
            <p:nvPr userDrawn="1"/>
          </p:nvSpPr>
          <p:spPr bwMode="gray">
            <a:xfrm>
              <a:off x="10709241" y="3670293"/>
              <a:ext cx="90487" cy="101600"/>
            </a:xfrm>
            <a:custGeom>
              <a:avLst/>
              <a:gdLst>
                <a:gd name="T0" fmla="*/ 56554 w 24"/>
                <a:gd name="T1" fmla="*/ 82785 h 27"/>
                <a:gd name="T2" fmla="*/ 71636 w 24"/>
                <a:gd name="T3" fmla="*/ 82785 h 27"/>
                <a:gd name="T4" fmla="*/ 86717 w 24"/>
                <a:gd name="T5" fmla="*/ 79022 h 27"/>
                <a:gd name="T6" fmla="*/ 86717 w 24"/>
                <a:gd name="T7" fmla="*/ 97837 h 27"/>
                <a:gd name="T8" fmla="*/ 71636 w 24"/>
                <a:gd name="T9" fmla="*/ 101600 h 27"/>
                <a:gd name="T10" fmla="*/ 49014 w 24"/>
                <a:gd name="T11" fmla="*/ 101600 h 27"/>
                <a:gd name="T12" fmla="*/ 30162 w 24"/>
                <a:gd name="T13" fmla="*/ 101600 h 27"/>
                <a:gd name="T14" fmla="*/ 3770 w 24"/>
                <a:gd name="T15" fmla="*/ 75259 h 27"/>
                <a:gd name="T16" fmla="*/ 0 w 24"/>
                <a:gd name="T17" fmla="*/ 52681 h 27"/>
                <a:gd name="T18" fmla="*/ 3770 w 24"/>
                <a:gd name="T19" fmla="*/ 30104 h 27"/>
                <a:gd name="T20" fmla="*/ 15081 w 24"/>
                <a:gd name="T21" fmla="*/ 11289 h 27"/>
                <a:gd name="T22" fmla="*/ 30162 w 24"/>
                <a:gd name="T23" fmla="*/ 3763 h 27"/>
                <a:gd name="T24" fmla="*/ 45244 w 24"/>
                <a:gd name="T25" fmla="*/ 0 h 27"/>
                <a:gd name="T26" fmla="*/ 64095 w 24"/>
                <a:gd name="T27" fmla="*/ 0 h 27"/>
                <a:gd name="T28" fmla="*/ 79176 w 24"/>
                <a:gd name="T29" fmla="*/ 11289 h 27"/>
                <a:gd name="T30" fmla="*/ 86717 w 24"/>
                <a:gd name="T31" fmla="*/ 26341 h 27"/>
                <a:gd name="T32" fmla="*/ 90487 w 24"/>
                <a:gd name="T33" fmla="*/ 48919 h 27"/>
                <a:gd name="T34" fmla="*/ 90487 w 24"/>
                <a:gd name="T35" fmla="*/ 56444 h 27"/>
                <a:gd name="T36" fmla="*/ 22622 w 24"/>
                <a:gd name="T37" fmla="*/ 56444 h 27"/>
                <a:gd name="T38" fmla="*/ 26392 w 24"/>
                <a:gd name="T39" fmla="*/ 67733 h 27"/>
                <a:gd name="T40" fmla="*/ 33933 w 24"/>
                <a:gd name="T41" fmla="*/ 75259 h 27"/>
                <a:gd name="T42" fmla="*/ 45244 w 24"/>
                <a:gd name="T43" fmla="*/ 82785 h 27"/>
                <a:gd name="T44" fmla="*/ 56554 w 24"/>
                <a:gd name="T45" fmla="*/ 82785 h 27"/>
                <a:gd name="T46" fmla="*/ 45244 w 24"/>
                <a:gd name="T47" fmla="*/ 18815 h 27"/>
                <a:gd name="T48" fmla="*/ 37703 w 24"/>
                <a:gd name="T49" fmla="*/ 18815 h 27"/>
                <a:gd name="T50" fmla="*/ 30162 w 24"/>
                <a:gd name="T51" fmla="*/ 22578 h 27"/>
                <a:gd name="T52" fmla="*/ 26392 w 24"/>
                <a:gd name="T53" fmla="*/ 30104 h 27"/>
                <a:gd name="T54" fmla="*/ 26392 w 24"/>
                <a:gd name="T55" fmla="*/ 37630 h 27"/>
                <a:gd name="T56" fmla="*/ 64095 w 24"/>
                <a:gd name="T57" fmla="*/ 37630 h 27"/>
                <a:gd name="T58" fmla="*/ 64095 w 24"/>
                <a:gd name="T59" fmla="*/ 30104 h 27"/>
                <a:gd name="T60" fmla="*/ 60325 w 24"/>
                <a:gd name="T61" fmla="*/ 22578 h 27"/>
                <a:gd name="T62" fmla="*/ 45244 w 24"/>
                <a:gd name="T63" fmla="*/ 18815 h 27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4" h="27">
                  <a:moveTo>
                    <a:pt x="15" y="22"/>
                  </a:moveTo>
                  <a:cubicBezTo>
                    <a:pt x="16" y="22"/>
                    <a:pt x="17" y="22"/>
                    <a:pt x="19" y="22"/>
                  </a:cubicBezTo>
                  <a:cubicBezTo>
                    <a:pt x="20" y="21"/>
                    <a:pt x="21" y="21"/>
                    <a:pt x="23" y="21"/>
                  </a:cubicBezTo>
                  <a:cubicBezTo>
                    <a:pt x="23" y="26"/>
                    <a:pt x="23" y="26"/>
                    <a:pt x="23" y="26"/>
                  </a:cubicBezTo>
                  <a:cubicBezTo>
                    <a:pt x="21" y="26"/>
                    <a:pt x="20" y="27"/>
                    <a:pt x="19" y="27"/>
                  </a:cubicBezTo>
                  <a:cubicBezTo>
                    <a:pt x="17" y="27"/>
                    <a:pt x="15" y="27"/>
                    <a:pt x="13" y="27"/>
                  </a:cubicBezTo>
                  <a:cubicBezTo>
                    <a:pt x="12" y="27"/>
                    <a:pt x="10" y="27"/>
                    <a:pt x="8" y="27"/>
                  </a:cubicBezTo>
                  <a:cubicBezTo>
                    <a:pt x="5" y="26"/>
                    <a:pt x="2" y="23"/>
                    <a:pt x="1" y="20"/>
                  </a:cubicBezTo>
                  <a:cubicBezTo>
                    <a:pt x="0" y="18"/>
                    <a:pt x="0" y="16"/>
                    <a:pt x="0" y="14"/>
                  </a:cubicBezTo>
                  <a:cubicBezTo>
                    <a:pt x="0" y="12"/>
                    <a:pt x="0" y="10"/>
                    <a:pt x="1" y="8"/>
                  </a:cubicBezTo>
                  <a:cubicBezTo>
                    <a:pt x="2" y="6"/>
                    <a:pt x="2" y="4"/>
                    <a:pt x="4" y="3"/>
                  </a:cubicBezTo>
                  <a:cubicBezTo>
                    <a:pt x="5" y="2"/>
                    <a:pt x="6" y="1"/>
                    <a:pt x="8" y="1"/>
                  </a:cubicBezTo>
                  <a:cubicBezTo>
                    <a:pt x="9" y="0"/>
                    <a:pt x="11" y="0"/>
                    <a:pt x="12" y="0"/>
                  </a:cubicBezTo>
                  <a:cubicBezTo>
                    <a:pt x="14" y="0"/>
                    <a:pt x="15" y="0"/>
                    <a:pt x="17" y="0"/>
                  </a:cubicBezTo>
                  <a:cubicBezTo>
                    <a:pt x="18" y="1"/>
                    <a:pt x="20" y="2"/>
                    <a:pt x="21" y="3"/>
                  </a:cubicBezTo>
                  <a:cubicBezTo>
                    <a:pt x="22" y="4"/>
                    <a:pt x="22" y="5"/>
                    <a:pt x="23" y="7"/>
                  </a:cubicBezTo>
                  <a:cubicBezTo>
                    <a:pt x="24" y="9"/>
                    <a:pt x="24" y="11"/>
                    <a:pt x="24" y="13"/>
                  </a:cubicBezTo>
                  <a:cubicBezTo>
                    <a:pt x="24" y="14"/>
                    <a:pt x="24" y="15"/>
                    <a:pt x="24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6"/>
                    <a:pt x="7" y="17"/>
                    <a:pt x="7" y="18"/>
                  </a:cubicBezTo>
                  <a:cubicBezTo>
                    <a:pt x="8" y="19"/>
                    <a:pt x="8" y="20"/>
                    <a:pt x="9" y="20"/>
                  </a:cubicBezTo>
                  <a:cubicBezTo>
                    <a:pt x="10" y="21"/>
                    <a:pt x="11" y="21"/>
                    <a:pt x="12" y="22"/>
                  </a:cubicBezTo>
                  <a:cubicBezTo>
                    <a:pt x="13" y="22"/>
                    <a:pt x="14" y="22"/>
                    <a:pt x="15" y="22"/>
                  </a:cubicBezTo>
                  <a:close/>
                  <a:moveTo>
                    <a:pt x="12" y="5"/>
                  </a:moveTo>
                  <a:cubicBezTo>
                    <a:pt x="11" y="5"/>
                    <a:pt x="11" y="5"/>
                    <a:pt x="10" y="5"/>
                  </a:cubicBezTo>
                  <a:cubicBezTo>
                    <a:pt x="9" y="5"/>
                    <a:pt x="9" y="6"/>
                    <a:pt x="8" y="6"/>
                  </a:cubicBezTo>
                  <a:cubicBezTo>
                    <a:pt x="8" y="7"/>
                    <a:pt x="8" y="7"/>
                    <a:pt x="7" y="8"/>
                  </a:cubicBezTo>
                  <a:cubicBezTo>
                    <a:pt x="7" y="9"/>
                    <a:pt x="7" y="10"/>
                    <a:pt x="7" y="1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7" y="10"/>
                    <a:pt x="17" y="9"/>
                    <a:pt x="17" y="8"/>
                  </a:cubicBezTo>
                  <a:cubicBezTo>
                    <a:pt x="17" y="7"/>
                    <a:pt x="16" y="7"/>
                    <a:pt x="16" y="6"/>
                  </a:cubicBezTo>
                  <a:cubicBezTo>
                    <a:pt x="15" y="5"/>
                    <a:pt x="14" y="5"/>
                    <a:pt x="12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40" name="Freeform 25"/>
            <p:cNvSpPr>
              <a:spLocks noEditPoints="1"/>
            </p:cNvSpPr>
            <p:nvPr userDrawn="1"/>
          </p:nvSpPr>
          <p:spPr bwMode="gray">
            <a:xfrm>
              <a:off x="10814012" y="3670293"/>
              <a:ext cx="90487" cy="101600"/>
            </a:xfrm>
            <a:custGeom>
              <a:avLst/>
              <a:gdLst>
                <a:gd name="T0" fmla="*/ 56554 w 24"/>
                <a:gd name="T1" fmla="*/ 82785 h 27"/>
                <a:gd name="T2" fmla="*/ 71636 w 24"/>
                <a:gd name="T3" fmla="*/ 82785 h 27"/>
                <a:gd name="T4" fmla="*/ 86717 w 24"/>
                <a:gd name="T5" fmla="*/ 79022 h 27"/>
                <a:gd name="T6" fmla="*/ 86717 w 24"/>
                <a:gd name="T7" fmla="*/ 97837 h 27"/>
                <a:gd name="T8" fmla="*/ 71636 w 24"/>
                <a:gd name="T9" fmla="*/ 101600 h 27"/>
                <a:gd name="T10" fmla="*/ 52784 w 24"/>
                <a:gd name="T11" fmla="*/ 101600 h 27"/>
                <a:gd name="T12" fmla="*/ 33933 w 24"/>
                <a:gd name="T13" fmla="*/ 101600 h 27"/>
                <a:gd name="T14" fmla="*/ 15081 w 24"/>
                <a:gd name="T15" fmla="*/ 90311 h 27"/>
                <a:gd name="T16" fmla="*/ 3770 w 24"/>
                <a:gd name="T17" fmla="*/ 75259 h 27"/>
                <a:gd name="T18" fmla="*/ 0 w 24"/>
                <a:gd name="T19" fmla="*/ 52681 h 27"/>
                <a:gd name="T20" fmla="*/ 3770 w 24"/>
                <a:gd name="T21" fmla="*/ 30104 h 27"/>
                <a:gd name="T22" fmla="*/ 15081 w 24"/>
                <a:gd name="T23" fmla="*/ 11289 h 27"/>
                <a:gd name="T24" fmla="*/ 30162 w 24"/>
                <a:gd name="T25" fmla="*/ 3763 h 27"/>
                <a:gd name="T26" fmla="*/ 49014 w 24"/>
                <a:gd name="T27" fmla="*/ 0 h 27"/>
                <a:gd name="T28" fmla="*/ 64095 w 24"/>
                <a:gd name="T29" fmla="*/ 3763 h 27"/>
                <a:gd name="T30" fmla="*/ 79176 w 24"/>
                <a:gd name="T31" fmla="*/ 11289 h 27"/>
                <a:gd name="T32" fmla="*/ 86717 w 24"/>
                <a:gd name="T33" fmla="*/ 26341 h 27"/>
                <a:gd name="T34" fmla="*/ 90487 w 24"/>
                <a:gd name="T35" fmla="*/ 48919 h 27"/>
                <a:gd name="T36" fmla="*/ 90487 w 24"/>
                <a:gd name="T37" fmla="*/ 56444 h 27"/>
                <a:gd name="T38" fmla="*/ 26392 w 24"/>
                <a:gd name="T39" fmla="*/ 56444 h 27"/>
                <a:gd name="T40" fmla="*/ 30162 w 24"/>
                <a:gd name="T41" fmla="*/ 67733 h 27"/>
                <a:gd name="T42" fmla="*/ 33933 w 24"/>
                <a:gd name="T43" fmla="*/ 79022 h 27"/>
                <a:gd name="T44" fmla="*/ 45244 w 24"/>
                <a:gd name="T45" fmla="*/ 82785 h 27"/>
                <a:gd name="T46" fmla="*/ 56554 w 24"/>
                <a:gd name="T47" fmla="*/ 82785 h 27"/>
                <a:gd name="T48" fmla="*/ 49014 w 24"/>
                <a:gd name="T49" fmla="*/ 18815 h 27"/>
                <a:gd name="T50" fmla="*/ 41473 w 24"/>
                <a:gd name="T51" fmla="*/ 18815 h 27"/>
                <a:gd name="T52" fmla="*/ 33933 w 24"/>
                <a:gd name="T53" fmla="*/ 22578 h 27"/>
                <a:gd name="T54" fmla="*/ 30162 w 24"/>
                <a:gd name="T55" fmla="*/ 30104 h 27"/>
                <a:gd name="T56" fmla="*/ 26392 w 24"/>
                <a:gd name="T57" fmla="*/ 37630 h 27"/>
                <a:gd name="T58" fmla="*/ 67865 w 24"/>
                <a:gd name="T59" fmla="*/ 37630 h 27"/>
                <a:gd name="T60" fmla="*/ 64095 w 24"/>
                <a:gd name="T61" fmla="*/ 30104 h 27"/>
                <a:gd name="T62" fmla="*/ 60325 w 24"/>
                <a:gd name="T63" fmla="*/ 22578 h 27"/>
                <a:gd name="T64" fmla="*/ 49014 w 24"/>
                <a:gd name="T65" fmla="*/ 18815 h 2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4" h="27">
                  <a:moveTo>
                    <a:pt x="15" y="22"/>
                  </a:moveTo>
                  <a:cubicBezTo>
                    <a:pt x="17" y="22"/>
                    <a:pt x="18" y="22"/>
                    <a:pt x="19" y="22"/>
                  </a:cubicBezTo>
                  <a:cubicBezTo>
                    <a:pt x="21" y="21"/>
                    <a:pt x="22" y="21"/>
                    <a:pt x="23" y="21"/>
                  </a:cubicBezTo>
                  <a:cubicBezTo>
                    <a:pt x="23" y="26"/>
                    <a:pt x="23" y="26"/>
                    <a:pt x="23" y="26"/>
                  </a:cubicBezTo>
                  <a:cubicBezTo>
                    <a:pt x="22" y="26"/>
                    <a:pt x="21" y="27"/>
                    <a:pt x="19" y="27"/>
                  </a:cubicBezTo>
                  <a:cubicBezTo>
                    <a:pt x="18" y="27"/>
                    <a:pt x="16" y="27"/>
                    <a:pt x="14" y="27"/>
                  </a:cubicBezTo>
                  <a:cubicBezTo>
                    <a:pt x="12" y="27"/>
                    <a:pt x="10" y="27"/>
                    <a:pt x="9" y="27"/>
                  </a:cubicBezTo>
                  <a:cubicBezTo>
                    <a:pt x="7" y="26"/>
                    <a:pt x="6" y="25"/>
                    <a:pt x="4" y="24"/>
                  </a:cubicBezTo>
                  <a:cubicBezTo>
                    <a:pt x="3" y="23"/>
                    <a:pt x="2" y="22"/>
                    <a:pt x="1" y="20"/>
                  </a:cubicBezTo>
                  <a:cubicBezTo>
                    <a:pt x="0" y="18"/>
                    <a:pt x="0" y="16"/>
                    <a:pt x="0" y="14"/>
                  </a:cubicBezTo>
                  <a:cubicBezTo>
                    <a:pt x="0" y="12"/>
                    <a:pt x="0" y="10"/>
                    <a:pt x="1" y="8"/>
                  </a:cubicBezTo>
                  <a:cubicBezTo>
                    <a:pt x="2" y="6"/>
                    <a:pt x="3" y="5"/>
                    <a:pt x="4" y="3"/>
                  </a:cubicBezTo>
                  <a:cubicBezTo>
                    <a:pt x="5" y="2"/>
                    <a:pt x="6" y="1"/>
                    <a:pt x="8" y="1"/>
                  </a:cubicBezTo>
                  <a:cubicBezTo>
                    <a:pt x="9" y="0"/>
                    <a:pt x="11" y="0"/>
                    <a:pt x="13" y="0"/>
                  </a:cubicBezTo>
                  <a:cubicBezTo>
                    <a:pt x="14" y="0"/>
                    <a:pt x="16" y="0"/>
                    <a:pt x="17" y="1"/>
                  </a:cubicBezTo>
                  <a:cubicBezTo>
                    <a:pt x="19" y="1"/>
                    <a:pt x="20" y="2"/>
                    <a:pt x="21" y="3"/>
                  </a:cubicBezTo>
                  <a:cubicBezTo>
                    <a:pt x="22" y="4"/>
                    <a:pt x="23" y="5"/>
                    <a:pt x="23" y="7"/>
                  </a:cubicBezTo>
                  <a:cubicBezTo>
                    <a:pt x="24" y="9"/>
                    <a:pt x="24" y="11"/>
                    <a:pt x="24" y="13"/>
                  </a:cubicBezTo>
                  <a:cubicBezTo>
                    <a:pt x="24" y="14"/>
                    <a:pt x="24" y="15"/>
                    <a:pt x="24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6"/>
                    <a:pt x="7" y="17"/>
                    <a:pt x="8" y="18"/>
                  </a:cubicBezTo>
                  <a:cubicBezTo>
                    <a:pt x="8" y="19"/>
                    <a:pt x="9" y="20"/>
                    <a:pt x="9" y="21"/>
                  </a:cubicBezTo>
                  <a:cubicBezTo>
                    <a:pt x="10" y="21"/>
                    <a:pt x="11" y="21"/>
                    <a:pt x="12" y="22"/>
                  </a:cubicBezTo>
                  <a:cubicBezTo>
                    <a:pt x="13" y="22"/>
                    <a:pt x="14" y="22"/>
                    <a:pt x="15" y="22"/>
                  </a:cubicBezTo>
                  <a:close/>
                  <a:moveTo>
                    <a:pt x="13" y="5"/>
                  </a:moveTo>
                  <a:cubicBezTo>
                    <a:pt x="12" y="5"/>
                    <a:pt x="11" y="5"/>
                    <a:pt x="11" y="5"/>
                  </a:cubicBezTo>
                  <a:cubicBezTo>
                    <a:pt x="10" y="5"/>
                    <a:pt x="9" y="6"/>
                    <a:pt x="9" y="6"/>
                  </a:cubicBezTo>
                  <a:cubicBezTo>
                    <a:pt x="8" y="7"/>
                    <a:pt x="8" y="7"/>
                    <a:pt x="8" y="8"/>
                  </a:cubicBezTo>
                  <a:cubicBezTo>
                    <a:pt x="8" y="9"/>
                    <a:pt x="7" y="10"/>
                    <a:pt x="7" y="1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8" y="10"/>
                    <a:pt x="17" y="9"/>
                    <a:pt x="17" y="8"/>
                  </a:cubicBezTo>
                  <a:cubicBezTo>
                    <a:pt x="17" y="7"/>
                    <a:pt x="17" y="7"/>
                    <a:pt x="16" y="6"/>
                  </a:cubicBezTo>
                  <a:cubicBezTo>
                    <a:pt x="15" y="5"/>
                    <a:pt x="14" y="5"/>
                    <a:pt x="13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41" name="Freeform 26"/>
            <p:cNvSpPr>
              <a:spLocks/>
            </p:cNvSpPr>
            <p:nvPr userDrawn="1"/>
          </p:nvSpPr>
          <p:spPr bwMode="gray">
            <a:xfrm>
              <a:off x="10926727" y="3670293"/>
              <a:ext cx="60325" cy="101600"/>
            </a:xfrm>
            <a:custGeom>
              <a:avLst/>
              <a:gdLst>
                <a:gd name="T0" fmla="*/ 60325 w 16"/>
                <a:gd name="T1" fmla="*/ 18815 h 27"/>
                <a:gd name="T2" fmla="*/ 56555 w 16"/>
                <a:gd name="T3" fmla="*/ 18815 h 27"/>
                <a:gd name="T4" fmla="*/ 37703 w 16"/>
                <a:gd name="T5" fmla="*/ 22578 h 27"/>
                <a:gd name="T6" fmla="*/ 26392 w 16"/>
                <a:gd name="T7" fmla="*/ 33867 h 27"/>
                <a:gd name="T8" fmla="*/ 26392 w 16"/>
                <a:gd name="T9" fmla="*/ 101600 h 27"/>
                <a:gd name="T10" fmla="*/ 0 w 16"/>
                <a:gd name="T11" fmla="*/ 101600 h 27"/>
                <a:gd name="T12" fmla="*/ 0 w 16"/>
                <a:gd name="T13" fmla="*/ 0 h 27"/>
                <a:gd name="T14" fmla="*/ 22622 w 16"/>
                <a:gd name="T15" fmla="*/ 0 h 27"/>
                <a:gd name="T16" fmla="*/ 22622 w 16"/>
                <a:gd name="T17" fmla="*/ 15052 h 27"/>
                <a:gd name="T18" fmla="*/ 22622 w 16"/>
                <a:gd name="T19" fmla="*/ 15052 h 27"/>
                <a:gd name="T20" fmla="*/ 33933 w 16"/>
                <a:gd name="T21" fmla="*/ 3763 h 27"/>
                <a:gd name="T22" fmla="*/ 52784 w 16"/>
                <a:gd name="T23" fmla="*/ 0 h 27"/>
                <a:gd name="T24" fmla="*/ 60325 w 16"/>
                <a:gd name="T25" fmla="*/ 0 h 27"/>
                <a:gd name="T26" fmla="*/ 60325 w 16"/>
                <a:gd name="T27" fmla="*/ 18815 h 2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6" h="27">
                  <a:moveTo>
                    <a:pt x="16" y="5"/>
                  </a:moveTo>
                  <a:cubicBezTo>
                    <a:pt x="15" y="5"/>
                    <a:pt x="15" y="5"/>
                    <a:pt x="15" y="5"/>
                  </a:cubicBezTo>
                  <a:cubicBezTo>
                    <a:pt x="14" y="5"/>
                    <a:pt x="12" y="6"/>
                    <a:pt x="10" y="6"/>
                  </a:cubicBezTo>
                  <a:cubicBezTo>
                    <a:pt x="9" y="7"/>
                    <a:pt x="8" y="8"/>
                    <a:pt x="7" y="9"/>
                  </a:cubicBezTo>
                  <a:cubicBezTo>
                    <a:pt x="7" y="27"/>
                    <a:pt x="7" y="27"/>
                    <a:pt x="7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7" y="3"/>
                    <a:pt x="8" y="2"/>
                    <a:pt x="9" y="1"/>
                  </a:cubicBezTo>
                  <a:cubicBezTo>
                    <a:pt x="11" y="0"/>
                    <a:pt x="12" y="0"/>
                    <a:pt x="14" y="0"/>
                  </a:cubicBezTo>
                  <a:cubicBezTo>
                    <a:pt x="15" y="0"/>
                    <a:pt x="15" y="0"/>
                    <a:pt x="16" y="0"/>
                  </a:cubicBezTo>
                  <a:lnTo>
                    <a:pt x="16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42" name="Freeform 27"/>
            <p:cNvSpPr>
              <a:spLocks/>
            </p:cNvSpPr>
            <p:nvPr userDrawn="1"/>
          </p:nvSpPr>
          <p:spPr bwMode="gray">
            <a:xfrm>
              <a:off x="11009280" y="3632194"/>
              <a:ext cx="41275" cy="57150"/>
            </a:xfrm>
            <a:custGeom>
              <a:avLst/>
              <a:gdLst>
                <a:gd name="T0" fmla="*/ 15875 w 26"/>
                <a:gd name="T1" fmla="*/ 0 h 36"/>
                <a:gd name="T2" fmla="*/ 41275 w 26"/>
                <a:gd name="T3" fmla="*/ 0 h 36"/>
                <a:gd name="T4" fmla="*/ 19050 w 26"/>
                <a:gd name="T5" fmla="*/ 57150 h 36"/>
                <a:gd name="T6" fmla="*/ 0 w 26"/>
                <a:gd name="T7" fmla="*/ 57150 h 36"/>
                <a:gd name="T8" fmla="*/ 15875 w 26"/>
                <a:gd name="T9" fmla="*/ 0 h 3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6" h="36">
                  <a:moveTo>
                    <a:pt x="10" y="0"/>
                  </a:moveTo>
                  <a:lnTo>
                    <a:pt x="26" y="0"/>
                  </a:lnTo>
                  <a:lnTo>
                    <a:pt x="12" y="36"/>
                  </a:lnTo>
                  <a:lnTo>
                    <a:pt x="0" y="36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43" name="Freeform 28"/>
            <p:cNvSpPr>
              <a:spLocks/>
            </p:cNvSpPr>
            <p:nvPr userDrawn="1"/>
          </p:nvSpPr>
          <p:spPr bwMode="gray">
            <a:xfrm>
              <a:off x="11055319" y="3667119"/>
              <a:ext cx="74613" cy="104775"/>
            </a:xfrm>
            <a:custGeom>
              <a:avLst/>
              <a:gdLst>
                <a:gd name="T0" fmla="*/ 48498 w 20"/>
                <a:gd name="T1" fmla="*/ 74839 h 28"/>
                <a:gd name="T2" fmla="*/ 48498 w 20"/>
                <a:gd name="T3" fmla="*/ 71097 h 28"/>
                <a:gd name="T4" fmla="*/ 41037 w 20"/>
                <a:gd name="T5" fmla="*/ 67355 h 28"/>
                <a:gd name="T6" fmla="*/ 33576 w 20"/>
                <a:gd name="T7" fmla="*/ 63613 h 28"/>
                <a:gd name="T8" fmla="*/ 26115 w 20"/>
                <a:gd name="T9" fmla="*/ 59871 h 28"/>
                <a:gd name="T10" fmla="*/ 18653 w 20"/>
                <a:gd name="T11" fmla="*/ 59871 h 28"/>
                <a:gd name="T12" fmla="*/ 7461 w 20"/>
                <a:gd name="T13" fmla="*/ 52388 h 28"/>
                <a:gd name="T14" fmla="*/ 3731 w 20"/>
                <a:gd name="T15" fmla="*/ 44904 h 28"/>
                <a:gd name="T16" fmla="*/ 0 w 20"/>
                <a:gd name="T17" fmla="*/ 33678 h 28"/>
                <a:gd name="T18" fmla="*/ 3731 w 20"/>
                <a:gd name="T19" fmla="*/ 18710 h 28"/>
                <a:gd name="T20" fmla="*/ 11192 w 20"/>
                <a:gd name="T21" fmla="*/ 11226 h 28"/>
                <a:gd name="T22" fmla="*/ 22384 w 20"/>
                <a:gd name="T23" fmla="*/ 3742 h 28"/>
                <a:gd name="T24" fmla="*/ 37307 w 20"/>
                <a:gd name="T25" fmla="*/ 0 h 28"/>
                <a:gd name="T26" fmla="*/ 55960 w 20"/>
                <a:gd name="T27" fmla="*/ 3742 h 28"/>
                <a:gd name="T28" fmla="*/ 70882 w 20"/>
                <a:gd name="T29" fmla="*/ 7484 h 28"/>
                <a:gd name="T30" fmla="*/ 70882 w 20"/>
                <a:gd name="T31" fmla="*/ 26194 h 28"/>
                <a:gd name="T32" fmla="*/ 63421 w 20"/>
                <a:gd name="T33" fmla="*/ 26194 h 28"/>
                <a:gd name="T34" fmla="*/ 55960 w 20"/>
                <a:gd name="T35" fmla="*/ 22452 h 28"/>
                <a:gd name="T36" fmla="*/ 48498 w 20"/>
                <a:gd name="T37" fmla="*/ 22452 h 28"/>
                <a:gd name="T38" fmla="*/ 41037 w 20"/>
                <a:gd name="T39" fmla="*/ 22452 h 28"/>
                <a:gd name="T40" fmla="*/ 33576 w 20"/>
                <a:gd name="T41" fmla="*/ 22452 h 28"/>
                <a:gd name="T42" fmla="*/ 29845 w 20"/>
                <a:gd name="T43" fmla="*/ 26194 h 28"/>
                <a:gd name="T44" fmla="*/ 26115 w 20"/>
                <a:gd name="T45" fmla="*/ 26194 h 28"/>
                <a:gd name="T46" fmla="*/ 26115 w 20"/>
                <a:gd name="T47" fmla="*/ 29936 h 28"/>
                <a:gd name="T48" fmla="*/ 26115 w 20"/>
                <a:gd name="T49" fmla="*/ 37420 h 28"/>
                <a:gd name="T50" fmla="*/ 29845 w 20"/>
                <a:gd name="T51" fmla="*/ 41162 h 28"/>
                <a:gd name="T52" fmla="*/ 37307 w 20"/>
                <a:gd name="T53" fmla="*/ 41162 h 28"/>
                <a:gd name="T54" fmla="*/ 44768 w 20"/>
                <a:gd name="T55" fmla="*/ 44904 h 28"/>
                <a:gd name="T56" fmla="*/ 55960 w 20"/>
                <a:gd name="T57" fmla="*/ 48646 h 28"/>
                <a:gd name="T58" fmla="*/ 63421 w 20"/>
                <a:gd name="T59" fmla="*/ 52388 h 28"/>
                <a:gd name="T60" fmla="*/ 70882 w 20"/>
                <a:gd name="T61" fmla="*/ 59871 h 28"/>
                <a:gd name="T62" fmla="*/ 74613 w 20"/>
                <a:gd name="T63" fmla="*/ 71097 h 28"/>
                <a:gd name="T64" fmla="*/ 70882 w 20"/>
                <a:gd name="T65" fmla="*/ 86065 h 28"/>
                <a:gd name="T66" fmla="*/ 59690 w 20"/>
                <a:gd name="T67" fmla="*/ 97291 h 28"/>
                <a:gd name="T68" fmla="*/ 48498 w 20"/>
                <a:gd name="T69" fmla="*/ 104775 h 28"/>
                <a:gd name="T70" fmla="*/ 29845 w 20"/>
                <a:gd name="T71" fmla="*/ 104775 h 28"/>
                <a:gd name="T72" fmla="*/ 14923 w 20"/>
                <a:gd name="T73" fmla="*/ 104775 h 28"/>
                <a:gd name="T74" fmla="*/ 0 w 20"/>
                <a:gd name="T75" fmla="*/ 101033 h 28"/>
                <a:gd name="T76" fmla="*/ 0 w 20"/>
                <a:gd name="T77" fmla="*/ 82323 h 28"/>
                <a:gd name="T78" fmla="*/ 14923 w 20"/>
                <a:gd name="T79" fmla="*/ 86065 h 28"/>
                <a:gd name="T80" fmla="*/ 29845 w 20"/>
                <a:gd name="T81" fmla="*/ 86065 h 28"/>
                <a:gd name="T82" fmla="*/ 37307 w 20"/>
                <a:gd name="T83" fmla="*/ 86065 h 28"/>
                <a:gd name="T84" fmla="*/ 44768 w 20"/>
                <a:gd name="T85" fmla="*/ 86065 h 28"/>
                <a:gd name="T86" fmla="*/ 48498 w 20"/>
                <a:gd name="T87" fmla="*/ 82323 h 28"/>
                <a:gd name="T88" fmla="*/ 48498 w 20"/>
                <a:gd name="T89" fmla="*/ 74839 h 2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20" h="28">
                  <a:moveTo>
                    <a:pt x="13" y="20"/>
                  </a:moveTo>
                  <a:cubicBezTo>
                    <a:pt x="13" y="19"/>
                    <a:pt x="13" y="19"/>
                    <a:pt x="13" y="19"/>
                  </a:cubicBezTo>
                  <a:cubicBezTo>
                    <a:pt x="12" y="18"/>
                    <a:pt x="12" y="18"/>
                    <a:pt x="11" y="18"/>
                  </a:cubicBezTo>
                  <a:cubicBezTo>
                    <a:pt x="11" y="17"/>
                    <a:pt x="10" y="17"/>
                    <a:pt x="9" y="17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6" y="16"/>
                    <a:pt x="6" y="16"/>
                    <a:pt x="5" y="16"/>
                  </a:cubicBezTo>
                  <a:cubicBezTo>
                    <a:pt x="4" y="15"/>
                    <a:pt x="3" y="15"/>
                    <a:pt x="2" y="14"/>
                  </a:cubicBezTo>
                  <a:cubicBezTo>
                    <a:pt x="2" y="14"/>
                    <a:pt x="1" y="13"/>
                    <a:pt x="1" y="12"/>
                  </a:cubicBezTo>
                  <a:cubicBezTo>
                    <a:pt x="0" y="11"/>
                    <a:pt x="0" y="10"/>
                    <a:pt x="0" y="9"/>
                  </a:cubicBezTo>
                  <a:cubicBezTo>
                    <a:pt x="0" y="8"/>
                    <a:pt x="0" y="6"/>
                    <a:pt x="1" y="5"/>
                  </a:cubicBezTo>
                  <a:cubicBezTo>
                    <a:pt x="2" y="4"/>
                    <a:pt x="2" y="3"/>
                    <a:pt x="3" y="3"/>
                  </a:cubicBezTo>
                  <a:cubicBezTo>
                    <a:pt x="4" y="2"/>
                    <a:pt x="5" y="1"/>
                    <a:pt x="6" y="1"/>
                  </a:cubicBezTo>
                  <a:cubicBezTo>
                    <a:pt x="7" y="1"/>
                    <a:pt x="9" y="0"/>
                    <a:pt x="10" y="0"/>
                  </a:cubicBezTo>
                  <a:cubicBezTo>
                    <a:pt x="12" y="0"/>
                    <a:pt x="13" y="1"/>
                    <a:pt x="15" y="1"/>
                  </a:cubicBezTo>
                  <a:cubicBezTo>
                    <a:pt x="16" y="1"/>
                    <a:pt x="17" y="1"/>
                    <a:pt x="19" y="2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0" y="6"/>
                    <a:pt x="9" y="6"/>
                    <a:pt x="9" y="6"/>
                  </a:cubicBezTo>
                  <a:cubicBezTo>
                    <a:pt x="8" y="6"/>
                    <a:pt x="8" y="6"/>
                    <a:pt x="8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9"/>
                    <a:pt x="7" y="9"/>
                    <a:pt x="7" y="10"/>
                  </a:cubicBezTo>
                  <a:cubicBezTo>
                    <a:pt x="7" y="10"/>
                    <a:pt x="8" y="11"/>
                    <a:pt x="8" y="11"/>
                  </a:cubicBezTo>
                  <a:cubicBezTo>
                    <a:pt x="9" y="11"/>
                    <a:pt x="10" y="11"/>
                    <a:pt x="10" y="11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12"/>
                    <a:pt x="14" y="12"/>
                    <a:pt x="15" y="13"/>
                  </a:cubicBezTo>
                  <a:cubicBezTo>
                    <a:pt x="16" y="13"/>
                    <a:pt x="16" y="13"/>
                    <a:pt x="17" y="14"/>
                  </a:cubicBezTo>
                  <a:cubicBezTo>
                    <a:pt x="18" y="15"/>
                    <a:pt x="18" y="15"/>
                    <a:pt x="19" y="16"/>
                  </a:cubicBezTo>
                  <a:cubicBezTo>
                    <a:pt x="19" y="17"/>
                    <a:pt x="20" y="18"/>
                    <a:pt x="20" y="19"/>
                  </a:cubicBezTo>
                  <a:cubicBezTo>
                    <a:pt x="20" y="21"/>
                    <a:pt x="19" y="22"/>
                    <a:pt x="19" y="23"/>
                  </a:cubicBezTo>
                  <a:cubicBezTo>
                    <a:pt x="18" y="25"/>
                    <a:pt x="17" y="25"/>
                    <a:pt x="16" y="26"/>
                  </a:cubicBezTo>
                  <a:cubicBezTo>
                    <a:pt x="15" y="27"/>
                    <a:pt x="14" y="28"/>
                    <a:pt x="13" y="28"/>
                  </a:cubicBezTo>
                  <a:cubicBezTo>
                    <a:pt x="11" y="28"/>
                    <a:pt x="10" y="28"/>
                    <a:pt x="8" y="28"/>
                  </a:cubicBezTo>
                  <a:cubicBezTo>
                    <a:pt x="7" y="28"/>
                    <a:pt x="5" y="28"/>
                    <a:pt x="4" y="28"/>
                  </a:cubicBezTo>
                  <a:cubicBezTo>
                    <a:pt x="2" y="28"/>
                    <a:pt x="1" y="27"/>
                    <a:pt x="0" y="27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2" y="22"/>
                    <a:pt x="3" y="23"/>
                    <a:pt x="4" y="23"/>
                  </a:cubicBezTo>
                  <a:cubicBezTo>
                    <a:pt x="5" y="23"/>
                    <a:pt x="7" y="23"/>
                    <a:pt x="8" y="23"/>
                  </a:cubicBezTo>
                  <a:cubicBezTo>
                    <a:pt x="8" y="23"/>
                    <a:pt x="9" y="23"/>
                    <a:pt x="10" y="23"/>
                  </a:cubicBezTo>
                  <a:cubicBezTo>
                    <a:pt x="11" y="23"/>
                    <a:pt x="11" y="23"/>
                    <a:pt x="12" y="23"/>
                  </a:cubicBezTo>
                  <a:cubicBezTo>
                    <a:pt x="12" y="22"/>
                    <a:pt x="13" y="22"/>
                    <a:pt x="13" y="22"/>
                  </a:cubicBezTo>
                  <a:cubicBezTo>
                    <a:pt x="13" y="21"/>
                    <a:pt x="13" y="21"/>
                    <a:pt x="13" y="2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44" name="Freeform 29"/>
            <p:cNvSpPr>
              <a:spLocks/>
            </p:cNvSpPr>
            <p:nvPr userDrawn="1"/>
          </p:nvSpPr>
          <p:spPr bwMode="gray">
            <a:xfrm>
              <a:off x="11185488" y="3670293"/>
              <a:ext cx="76200" cy="101600"/>
            </a:xfrm>
            <a:custGeom>
              <a:avLst/>
              <a:gdLst>
                <a:gd name="T0" fmla="*/ 76200 w 20"/>
                <a:gd name="T1" fmla="*/ 97837 h 27"/>
                <a:gd name="T2" fmla="*/ 64770 w 20"/>
                <a:gd name="T3" fmla="*/ 101600 h 27"/>
                <a:gd name="T4" fmla="*/ 53340 w 20"/>
                <a:gd name="T5" fmla="*/ 101600 h 27"/>
                <a:gd name="T6" fmla="*/ 30480 w 20"/>
                <a:gd name="T7" fmla="*/ 97837 h 27"/>
                <a:gd name="T8" fmla="*/ 15240 w 20"/>
                <a:gd name="T9" fmla="*/ 90311 h 27"/>
                <a:gd name="T10" fmla="*/ 3810 w 20"/>
                <a:gd name="T11" fmla="*/ 75259 h 27"/>
                <a:gd name="T12" fmla="*/ 0 w 20"/>
                <a:gd name="T13" fmla="*/ 52681 h 27"/>
                <a:gd name="T14" fmla="*/ 3810 w 20"/>
                <a:gd name="T15" fmla="*/ 30104 h 27"/>
                <a:gd name="T16" fmla="*/ 15240 w 20"/>
                <a:gd name="T17" fmla="*/ 11289 h 27"/>
                <a:gd name="T18" fmla="*/ 34290 w 20"/>
                <a:gd name="T19" fmla="*/ 3763 h 27"/>
                <a:gd name="T20" fmla="*/ 53340 w 20"/>
                <a:gd name="T21" fmla="*/ 0 h 27"/>
                <a:gd name="T22" fmla="*/ 64770 w 20"/>
                <a:gd name="T23" fmla="*/ 0 h 27"/>
                <a:gd name="T24" fmla="*/ 76200 w 20"/>
                <a:gd name="T25" fmla="*/ 3763 h 27"/>
                <a:gd name="T26" fmla="*/ 76200 w 20"/>
                <a:gd name="T27" fmla="*/ 22578 h 27"/>
                <a:gd name="T28" fmla="*/ 64770 w 20"/>
                <a:gd name="T29" fmla="*/ 18815 h 27"/>
                <a:gd name="T30" fmla="*/ 57150 w 20"/>
                <a:gd name="T31" fmla="*/ 18815 h 27"/>
                <a:gd name="T32" fmla="*/ 45720 w 20"/>
                <a:gd name="T33" fmla="*/ 22578 h 27"/>
                <a:gd name="T34" fmla="*/ 34290 w 20"/>
                <a:gd name="T35" fmla="*/ 26341 h 27"/>
                <a:gd name="T36" fmla="*/ 26670 w 20"/>
                <a:gd name="T37" fmla="*/ 37630 h 27"/>
                <a:gd name="T38" fmla="*/ 26670 w 20"/>
                <a:gd name="T39" fmla="*/ 52681 h 27"/>
                <a:gd name="T40" fmla="*/ 26670 w 20"/>
                <a:gd name="T41" fmla="*/ 63970 h 27"/>
                <a:gd name="T42" fmla="*/ 34290 w 20"/>
                <a:gd name="T43" fmla="*/ 75259 h 27"/>
                <a:gd name="T44" fmla="*/ 41910 w 20"/>
                <a:gd name="T45" fmla="*/ 79022 h 27"/>
                <a:gd name="T46" fmla="*/ 53340 w 20"/>
                <a:gd name="T47" fmla="*/ 82785 h 27"/>
                <a:gd name="T48" fmla="*/ 68580 w 20"/>
                <a:gd name="T49" fmla="*/ 82785 h 27"/>
                <a:gd name="T50" fmla="*/ 76200 w 20"/>
                <a:gd name="T51" fmla="*/ 79022 h 27"/>
                <a:gd name="T52" fmla="*/ 76200 w 20"/>
                <a:gd name="T53" fmla="*/ 97837 h 27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20" h="27">
                  <a:moveTo>
                    <a:pt x="20" y="26"/>
                  </a:moveTo>
                  <a:cubicBezTo>
                    <a:pt x="19" y="26"/>
                    <a:pt x="18" y="27"/>
                    <a:pt x="17" y="27"/>
                  </a:cubicBezTo>
                  <a:cubicBezTo>
                    <a:pt x="16" y="27"/>
                    <a:pt x="15" y="27"/>
                    <a:pt x="14" y="27"/>
                  </a:cubicBezTo>
                  <a:cubicBezTo>
                    <a:pt x="12" y="27"/>
                    <a:pt x="10" y="27"/>
                    <a:pt x="8" y="26"/>
                  </a:cubicBezTo>
                  <a:cubicBezTo>
                    <a:pt x="7" y="26"/>
                    <a:pt x="5" y="25"/>
                    <a:pt x="4" y="24"/>
                  </a:cubicBezTo>
                  <a:cubicBezTo>
                    <a:pt x="3" y="23"/>
                    <a:pt x="2" y="22"/>
                    <a:pt x="1" y="20"/>
                  </a:cubicBezTo>
                  <a:cubicBezTo>
                    <a:pt x="0" y="18"/>
                    <a:pt x="0" y="16"/>
                    <a:pt x="0" y="14"/>
                  </a:cubicBezTo>
                  <a:cubicBezTo>
                    <a:pt x="0" y="12"/>
                    <a:pt x="0" y="10"/>
                    <a:pt x="1" y="8"/>
                  </a:cubicBezTo>
                  <a:cubicBezTo>
                    <a:pt x="2" y="6"/>
                    <a:pt x="3" y="4"/>
                    <a:pt x="4" y="3"/>
                  </a:cubicBezTo>
                  <a:cubicBezTo>
                    <a:pt x="6" y="2"/>
                    <a:pt x="7" y="1"/>
                    <a:pt x="9" y="1"/>
                  </a:cubicBezTo>
                  <a:cubicBezTo>
                    <a:pt x="10" y="0"/>
                    <a:pt x="12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1"/>
                    <a:pt x="20" y="1"/>
                  </a:cubicBezTo>
                  <a:cubicBezTo>
                    <a:pt x="20" y="6"/>
                    <a:pt x="20" y="6"/>
                    <a:pt x="20" y="6"/>
                  </a:cubicBezTo>
                  <a:cubicBezTo>
                    <a:pt x="19" y="6"/>
                    <a:pt x="18" y="6"/>
                    <a:pt x="17" y="5"/>
                  </a:cubicBezTo>
                  <a:cubicBezTo>
                    <a:pt x="16" y="5"/>
                    <a:pt x="15" y="5"/>
                    <a:pt x="15" y="5"/>
                  </a:cubicBezTo>
                  <a:cubicBezTo>
                    <a:pt x="14" y="5"/>
                    <a:pt x="13" y="5"/>
                    <a:pt x="12" y="6"/>
                  </a:cubicBezTo>
                  <a:cubicBezTo>
                    <a:pt x="11" y="6"/>
                    <a:pt x="10" y="6"/>
                    <a:pt x="9" y="7"/>
                  </a:cubicBezTo>
                  <a:cubicBezTo>
                    <a:pt x="8" y="8"/>
                    <a:pt x="8" y="9"/>
                    <a:pt x="7" y="10"/>
                  </a:cubicBezTo>
                  <a:cubicBezTo>
                    <a:pt x="7" y="11"/>
                    <a:pt x="7" y="12"/>
                    <a:pt x="7" y="14"/>
                  </a:cubicBezTo>
                  <a:cubicBezTo>
                    <a:pt x="7" y="15"/>
                    <a:pt x="7" y="16"/>
                    <a:pt x="7" y="17"/>
                  </a:cubicBezTo>
                  <a:cubicBezTo>
                    <a:pt x="7" y="18"/>
                    <a:pt x="8" y="19"/>
                    <a:pt x="9" y="20"/>
                  </a:cubicBezTo>
                  <a:cubicBezTo>
                    <a:pt x="9" y="20"/>
                    <a:pt x="10" y="21"/>
                    <a:pt x="11" y="21"/>
                  </a:cubicBezTo>
                  <a:cubicBezTo>
                    <a:pt x="12" y="22"/>
                    <a:pt x="13" y="22"/>
                    <a:pt x="14" y="22"/>
                  </a:cubicBezTo>
                  <a:cubicBezTo>
                    <a:pt x="16" y="22"/>
                    <a:pt x="17" y="22"/>
                    <a:pt x="18" y="22"/>
                  </a:cubicBezTo>
                  <a:cubicBezTo>
                    <a:pt x="19" y="22"/>
                    <a:pt x="19" y="21"/>
                    <a:pt x="20" y="21"/>
                  </a:cubicBezTo>
                  <a:lnTo>
                    <a:pt x="20" y="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45" name="Freeform 30"/>
            <p:cNvSpPr>
              <a:spLocks/>
            </p:cNvSpPr>
            <p:nvPr userDrawn="1"/>
          </p:nvSpPr>
          <p:spPr bwMode="gray">
            <a:xfrm>
              <a:off x="11283903" y="3621079"/>
              <a:ext cx="88900" cy="150812"/>
            </a:xfrm>
            <a:custGeom>
              <a:avLst/>
              <a:gdLst>
                <a:gd name="T0" fmla="*/ 25929 w 24"/>
                <a:gd name="T1" fmla="*/ 41473 h 40"/>
                <a:gd name="T2" fmla="*/ 25929 w 24"/>
                <a:gd name="T3" fmla="*/ 52784 h 40"/>
                <a:gd name="T4" fmla="*/ 22225 w 24"/>
                <a:gd name="T5" fmla="*/ 64095 h 40"/>
                <a:gd name="T6" fmla="*/ 22225 w 24"/>
                <a:gd name="T7" fmla="*/ 64095 h 40"/>
                <a:gd name="T8" fmla="*/ 29633 w 24"/>
                <a:gd name="T9" fmla="*/ 56555 h 40"/>
                <a:gd name="T10" fmla="*/ 37042 w 24"/>
                <a:gd name="T11" fmla="*/ 52784 h 40"/>
                <a:gd name="T12" fmla="*/ 44450 w 24"/>
                <a:gd name="T13" fmla="*/ 49014 h 40"/>
                <a:gd name="T14" fmla="*/ 55563 w 24"/>
                <a:gd name="T15" fmla="*/ 49014 h 40"/>
                <a:gd name="T16" fmla="*/ 62971 w 24"/>
                <a:gd name="T17" fmla="*/ 49014 h 40"/>
                <a:gd name="T18" fmla="*/ 74083 w 24"/>
                <a:gd name="T19" fmla="*/ 52784 h 40"/>
                <a:gd name="T20" fmla="*/ 77788 w 24"/>
                <a:gd name="T21" fmla="*/ 56555 h 40"/>
                <a:gd name="T22" fmla="*/ 85196 w 24"/>
                <a:gd name="T23" fmla="*/ 64095 h 40"/>
                <a:gd name="T24" fmla="*/ 88900 w 24"/>
                <a:gd name="T25" fmla="*/ 75406 h 40"/>
                <a:gd name="T26" fmla="*/ 88900 w 24"/>
                <a:gd name="T27" fmla="*/ 86717 h 40"/>
                <a:gd name="T28" fmla="*/ 88900 w 24"/>
                <a:gd name="T29" fmla="*/ 150812 h 40"/>
                <a:gd name="T30" fmla="*/ 66675 w 24"/>
                <a:gd name="T31" fmla="*/ 150812 h 40"/>
                <a:gd name="T32" fmla="*/ 66675 w 24"/>
                <a:gd name="T33" fmla="*/ 90487 h 40"/>
                <a:gd name="T34" fmla="*/ 66675 w 24"/>
                <a:gd name="T35" fmla="*/ 82947 h 40"/>
                <a:gd name="T36" fmla="*/ 62971 w 24"/>
                <a:gd name="T37" fmla="*/ 75406 h 40"/>
                <a:gd name="T38" fmla="*/ 59267 w 24"/>
                <a:gd name="T39" fmla="*/ 71636 h 40"/>
                <a:gd name="T40" fmla="*/ 48154 w 24"/>
                <a:gd name="T41" fmla="*/ 67865 h 40"/>
                <a:gd name="T42" fmla="*/ 37042 w 24"/>
                <a:gd name="T43" fmla="*/ 71636 h 40"/>
                <a:gd name="T44" fmla="*/ 25929 w 24"/>
                <a:gd name="T45" fmla="*/ 82947 h 40"/>
                <a:gd name="T46" fmla="*/ 25929 w 24"/>
                <a:gd name="T47" fmla="*/ 150812 h 40"/>
                <a:gd name="T48" fmla="*/ 0 w 24"/>
                <a:gd name="T49" fmla="*/ 150812 h 40"/>
                <a:gd name="T50" fmla="*/ 0 w 24"/>
                <a:gd name="T51" fmla="*/ 0 h 40"/>
                <a:gd name="T52" fmla="*/ 25929 w 24"/>
                <a:gd name="T53" fmla="*/ 0 h 40"/>
                <a:gd name="T54" fmla="*/ 25929 w 24"/>
                <a:gd name="T55" fmla="*/ 41473 h 4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24" h="40">
                  <a:moveTo>
                    <a:pt x="7" y="11"/>
                  </a:moveTo>
                  <a:cubicBezTo>
                    <a:pt x="7" y="12"/>
                    <a:pt x="7" y="13"/>
                    <a:pt x="7" y="14"/>
                  </a:cubicBezTo>
                  <a:cubicBezTo>
                    <a:pt x="7" y="15"/>
                    <a:pt x="7" y="16"/>
                    <a:pt x="6" y="17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7" y="16"/>
                    <a:pt x="7" y="16"/>
                    <a:pt x="8" y="15"/>
                  </a:cubicBezTo>
                  <a:cubicBezTo>
                    <a:pt x="8" y="15"/>
                    <a:pt x="9" y="14"/>
                    <a:pt x="10" y="14"/>
                  </a:cubicBezTo>
                  <a:cubicBezTo>
                    <a:pt x="10" y="14"/>
                    <a:pt x="11" y="13"/>
                    <a:pt x="12" y="13"/>
                  </a:cubicBezTo>
                  <a:cubicBezTo>
                    <a:pt x="13" y="13"/>
                    <a:pt x="14" y="13"/>
                    <a:pt x="15" y="13"/>
                  </a:cubicBezTo>
                  <a:cubicBezTo>
                    <a:pt x="16" y="13"/>
                    <a:pt x="16" y="13"/>
                    <a:pt x="17" y="13"/>
                  </a:cubicBezTo>
                  <a:cubicBezTo>
                    <a:pt x="18" y="13"/>
                    <a:pt x="19" y="13"/>
                    <a:pt x="20" y="14"/>
                  </a:cubicBezTo>
                  <a:cubicBezTo>
                    <a:pt x="20" y="14"/>
                    <a:pt x="21" y="15"/>
                    <a:pt x="21" y="15"/>
                  </a:cubicBezTo>
                  <a:cubicBezTo>
                    <a:pt x="22" y="16"/>
                    <a:pt x="23" y="16"/>
                    <a:pt x="23" y="17"/>
                  </a:cubicBezTo>
                  <a:cubicBezTo>
                    <a:pt x="23" y="18"/>
                    <a:pt x="24" y="19"/>
                    <a:pt x="24" y="20"/>
                  </a:cubicBezTo>
                  <a:cubicBezTo>
                    <a:pt x="24" y="21"/>
                    <a:pt x="24" y="22"/>
                    <a:pt x="24" y="23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18" y="40"/>
                    <a:pt x="18" y="40"/>
                    <a:pt x="18" y="40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8" y="23"/>
                    <a:pt x="18" y="22"/>
                    <a:pt x="18" y="22"/>
                  </a:cubicBezTo>
                  <a:cubicBezTo>
                    <a:pt x="17" y="21"/>
                    <a:pt x="17" y="21"/>
                    <a:pt x="17" y="20"/>
                  </a:cubicBezTo>
                  <a:cubicBezTo>
                    <a:pt x="17" y="20"/>
                    <a:pt x="16" y="19"/>
                    <a:pt x="16" y="19"/>
                  </a:cubicBezTo>
                  <a:cubicBezTo>
                    <a:pt x="15" y="18"/>
                    <a:pt x="14" y="18"/>
                    <a:pt x="13" y="18"/>
                  </a:cubicBezTo>
                  <a:cubicBezTo>
                    <a:pt x="12" y="18"/>
                    <a:pt x="11" y="18"/>
                    <a:pt x="10" y="19"/>
                  </a:cubicBezTo>
                  <a:cubicBezTo>
                    <a:pt x="8" y="20"/>
                    <a:pt x="8" y="20"/>
                    <a:pt x="7" y="22"/>
                  </a:cubicBezTo>
                  <a:cubicBezTo>
                    <a:pt x="7" y="40"/>
                    <a:pt x="7" y="40"/>
                    <a:pt x="7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lnTo>
                    <a:pt x="7" y="1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46" name="Freeform 31"/>
            <p:cNvSpPr>
              <a:spLocks noEditPoints="1"/>
            </p:cNvSpPr>
            <p:nvPr userDrawn="1"/>
          </p:nvSpPr>
          <p:spPr bwMode="gray">
            <a:xfrm>
              <a:off x="11396618" y="3670291"/>
              <a:ext cx="96838" cy="101599"/>
            </a:xfrm>
            <a:custGeom>
              <a:avLst/>
              <a:gdLst>
                <a:gd name="T0" fmla="*/ 96838 w 26"/>
                <a:gd name="T1" fmla="*/ 48918 h 27"/>
                <a:gd name="T2" fmla="*/ 93113 w 26"/>
                <a:gd name="T3" fmla="*/ 71496 h 27"/>
                <a:gd name="T4" fmla="*/ 85664 w 26"/>
                <a:gd name="T5" fmla="*/ 86547 h 27"/>
                <a:gd name="T6" fmla="*/ 70766 w 26"/>
                <a:gd name="T7" fmla="*/ 97836 h 27"/>
                <a:gd name="T8" fmla="*/ 48419 w 26"/>
                <a:gd name="T9" fmla="*/ 101599 h 27"/>
                <a:gd name="T10" fmla="*/ 29796 w 26"/>
                <a:gd name="T11" fmla="*/ 97836 h 27"/>
                <a:gd name="T12" fmla="*/ 14898 w 26"/>
                <a:gd name="T13" fmla="*/ 86547 h 27"/>
                <a:gd name="T14" fmla="*/ 3725 w 26"/>
                <a:gd name="T15" fmla="*/ 71496 h 27"/>
                <a:gd name="T16" fmla="*/ 3725 w 26"/>
                <a:gd name="T17" fmla="*/ 30103 h 27"/>
                <a:gd name="T18" fmla="*/ 14898 w 26"/>
                <a:gd name="T19" fmla="*/ 11289 h 27"/>
                <a:gd name="T20" fmla="*/ 29796 w 26"/>
                <a:gd name="T21" fmla="*/ 3763 h 27"/>
                <a:gd name="T22" fmla="*/ 48419 w 26"/>
                <a:gd name="T23" fmla="*/ 0 h 27"/>
                <a:gd name="T24" fmla="*/ 70766 w 26"/>
                <a:gd name="T25" fmla="*/ 3763 h 27"/>
                <a:gd name="T26" fmla="*/ 85664 w 26"/>
                <a:gd name="T27" fmla="*/ 11289 h 27"/>
                <a:gd name="T28" fmla="*/ 93113 w 26"/>
                <a:gd name="T29" fmla="*/ 30103 h 27"/>
                <a:gd name="T30" fmla="*/ 96838 w 26"/>
                <a:gd name="T31" fmla="*/ 48918 h 27"/>
                <a:gd name="T32" fmla="*/ 70766 w 26"/>
                <a:gd name="T33" fmla="*/ 48918 h 27"/>
                <a:gd name="T34" fmla="*/ 70766 w 26"/>
                <a:gd name="T35" fmla="*/ 37629 h 27"/>
                <a:gd name="T36" fmla="*/ 67042 w 26"/>
                <a:gd name="T37" fmla="*/ 26340 h 27"/>
                <a:gd name="T38" fmla="*/ 59593 w 26"/>
                <a:gd name="T39" fmla="*/ 18815 h 27"/>
                <a:gd name="T40" fmla="*/ 48419 w 26"/>
                <a:gd name="T41" fmla="*/ 18815 h 27"/>
                <a:gd name="T42" fmla="*/ 37245 w 26"/>
                <a:gd name="T43" fmla="*/ 18815 h 27"/>
                <a:gd name="T44" fmla="*/ 29796 w 26"/>
                <a:gd name="T45" fmla="*/ 26340 h 27"/>
                <a:gd name="T46" fmla="*/ 26072 w 26"/>
                <a:gd name="T47" fmla="*/ 37629 h 27"/>
                <a:gd name="T48" fmla="*/ 26072 w 26"/>
                <a:gd name="T49" fmla="*/ 63970 h 27"/>
                <a:gd name="T50" fmla="*/ 29796 w 26"/>
                <a:gd name="T51" fmla="*/ 75259 h 27"/>
                <a:gd name="T52" fmla="*/ 37245 w 26"/>
                <a:gd name="T53" fmla="*/ 79021 h 27"/>
                <a:gd name="T54" fmla="*/ 59593 w 26"/>
                <a:gd name="T55" fmla="*/ 79021 h 27"/>
                <a:gd name="T56" fmla="*/ 67042 w 26"/>
                <a:gd name="T57" fmla="*/ 75259 h 27"/>
                <a:gd name="T58" fmla="*/ 70766 w 26"/>
                <a:gd name="T59" fmla="*/ 63970 h 27"/>
                <a:gd name="T60" fmla="*/ 70766 w 26"/>
                <a:gd name="T61" fmla="*/ 48918 h 27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26" h="27">
                  <a:moveTo>
                    <a:pt x="26" y="13"/>
                  </a:moveTo>
                  <a:cubicBezTo>
                    <a:pt x="26" y="15"/>
                    <a:pt x="26" y="17"/>
                    <a:pt x="25" y="19"/>
                  </a:cubicBezTo>
                  <a:cubicBezTo>
                    <a:pt x="25" y="21"/>
                    <a:pt x="24" y="22"/>
                    <a:pt x="23" y="23"/>
                  </a:cubicBezTo>
                  <a:cubicBezTo>
                    <a:pt x="21" y="25"/>
                    <a:pt x="20" y="26"/>
                    <a:pt x="19" y="26"/>
                  </a:cubicBezTo>
                  <a:cubicBezTo>
                    <a:pt x="17" y="27"/>
                    <a:pt x="15" y="27"/>
                    <a:pt x="13" y="27"/>
                  </a:cubicBezTo>
                  <a:cubicBezTo>
                    <a:pt x="11" y="27"/>
                    <a:pt x="9" y="27"/>
                    <a:pt x="8" y="26"/>
                  </a:cubicBezTo>
                  <a:cubicBezTo>
                    <a:pt x="6" y="26"/>
                    <a:pt x="5" y="25"/>
                    <a:pt x="4" y="23"/>
                  </a:cubicBezTo>
                  <a:cubicBezTo>
                    <a:pt x="2" y="22"/>
                    <a:pt x="2" y="21"/>
                    <a:pt x="1" y="19"/>
                  </a:cubicBezTo>
                  <a:cubicBezTo>
                    <a:pt x="0" y="15"/>
                    <a:pt x="0" y="11"/>
                    <a:pt x="1" y="8"/>
                  </a:cubicBezTo>
                  <a:cubicBezTo>
                    <a:pt x="2" y="6"/>
                    <a:pt x="2" y="5"/>
                    <a:pt x="4" y="3"/>
                  </a:cubicBezTo>
                  <a:cubicBezTo>
                    <a:pt x="5" y="2"/>
                    <a:pt x="6" y="1"/>
                    <a:pt x="8" y="1"/>
                  </a:cubicBezTo>
                  <a:cubicBezTo>
                    <a:pt x="10" y="0"/>
                    <a:pt x="11" y="0"/>
                    <a:pt x="13" y="0"/>
                  </a:cubicBezTo>
                  <a:cubicBezTo>
                    <a:pt x="15" y="0"/>
                    <a:pt x="17" y="0"/>
                    <a:pt x="19" y="1"/>
                  </a:cubicBezTo>
                  <a:cubicBezTo>
                    <a:pt x="20" y="1"/>
                    <a:pt x="22" y="2"/>
                    <a:pt x="23" y="3"/>
                  </a:cubicBezTo>
                  <a:cubicBezTo>
                    <a:pt x="24" y="5"/>
                    <a:pt x="25" y="6"/>
                    <a:pt x="25" y="8"/>
                  </a:cubicBezTo>
                  <a:cubicBezTo>
                    <a:pt x="26" y="10"/>
                    <a:pt x="26" y="12"/>
                    <a:pt x="26" y="13"/>
                  </a:cubicBezTo>
                  <a:close/>
                  <a:moveTo>
                    <a:pt x="19" y="13"/>
                  </a:moveTo>
                  <a:cubicBezTo>
                    <a:pt x="19" y="12"/>
                    <a:pt x="19" y="11"/>
                    <a:pt x="19" y="10"/>
                  </a:cubicBezTo>
                  <a:cubicBezTo>
                    <a:pt x="19" y="9"/>
                    <a:pt x="18" y="8"/>
                    <a:pt x="18" y="7"/>
                  </a:cubicBezTo>
                  <a:cubicBezTo>
                    <a:pt x="17" y="6"/>
                    <a:pt x="16" y="6"/>
                    <a:pt x="16" y="5"/>
                  </a:cubicBezTo>
                  <a:cubicBezTo>
                    <a:pt x="15" y="5"/>
                    <a:pt x="14" y="5"/>
                    <a:pt x="13" y="5"/>
                  </a:cubicBezTo>
                  <a:cubicBezTo>
                    <a:pt x="12" y="5"/>
                    <a:pt x="11" y="5"/>
                    <a:pt x="10" y="5"/>
                  </a:cubicBezTo>
                  <a:cubicBezTo>
                    <a:pt x="9" y="6"/>
                    <a:pt x="9" y="6"/>
                    <a:pt x="8" y="7"/>
                  </a:cubicBezTo>
                  <a:cubicBezTo>
                    <a:pt x="8" y="8"/>
                    <a:pt x="7" y="9"/>
                    <a:pt x="7" y="10"/>
                  </a:cubicBezTo>
                  <a:cubicBezTo>
                    <a:pt x="6" y="12"/>
                    <a:pt x="6" y="15"/>
                    <a:pt x="7" y="17"/>
                  </a:cubicBezTo>
                  <a:cubicBezTo>
                    <a:pt x="7" y="18"/>
                    <a:pt x="8" y="19"/>
                    <a:pt x="8" y="20"/>
                  </a:cubicBezTo>
                  <a:cubicBezTo>
                    <a:pt x="9" y="21"/>
                    <a:pt x="9" y="21"/>
                    <a:pt x="10" y="21"/>
                  </a:cubicBezTo>
                  <a:cubicBezTo>
                    <a:pt x="12" y="22"/>
                    <a:pt x="14" y="22"/>
                    <a:pt x="16" y="21"/>
                  </a:cubicBezTo>
                  <a:cubicBezTo>
                    <a:pt x="16" y="21"/>
                    <a:pt x="17" y="21"/>
                    <a:pt x="18" y="20"/>
                  </a:cubicBezTo>
                  <a:cubicBezTo>
                    <a:pt x="18" y="19"/>
                    <a:pt x="19" y="18"/>
                    <a:pt x="19" y="17"/>
                  </a:cubicBezTo>
                  <a:cubicBezTo>
                    <a:pt x="19" y="16"/>
                    <a:pt x="19" y="15"/>
                    <a:pt x="19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47" name="Freeform 32"/>
            <p:cNvSpPr>
              <a:spLocks noEditPoints="1"/>
            </p:cNvSpPr>
            <p:nvPr userDrawn="1"/>
          </p:nvSpPr>
          <p:spPr bwMode="gray">
            <a:xfrm>
              <a:off x="11515669" y="3621081"/>
              <a:ext cx="26988" cy="150812"/>
            </a:xfrm>
            <a:custGeom>
              <a:avLst/>
              <a:gdLst>
                <a:gd name="T0" fmla="*/ 0 w 17"/>
                <a:gd name="T1" fmla="*/ 0 h 95"/>
                <a:gd name="T2" fmla="*/ 26988 w 17"/>
                <a:gd name="T3" fmla="*/ 0 h 95"/>
                <a:gd name="T4" fmla="*/ 26988 w 17"/>
                <a:gd name="T5" fmla="*/ 26987 h 95"/>
                <a:gd name="T6" fmla="*/ 0 w 17"/>
                <a:gd name="T7" fmla="*/ 26987 h 95"/>
                <a:gd name="T8" fmla="*/ 0 w 17"/>
                <a:gd name="T9" fmla="*/ 0 h 95"/>
                <a:gd name="T10" fmla="*/ 0 w 17"/>
                <a:gd name="T11" fmla="*/ 49212 h 95"/>
                <a:gd name="T12" fmla="*/ 22225 w 17"/>
                <a:gd name="T13" fmla="*/ 49212 h 95"/>
                <a:gd name="T14" fmla="*/ 22225 w 17"/>
                <a:gd name="T15" fmla="*/ 150812 h 95"/>
                <a:gd name="T16" fmla="*/ 0 w 17"/>
                <a:gd name="T17" fmla="*/ 150812 h 95"/>
                <a:gd name="T18" fmla="*/ 0 w 17"/>
                <a:gd name="T19" fmla="*/ 49212 h 9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7" h="95">
                  <a:moveTo>
                    <a:pt x="0" y="0"/>
                  </a:move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  <a:lnTo>
                    <a:pt x="0" y="0"/>
                  </a:lnTo>
                  <a:close/>
                  <a:moveTo>
                    <a:pt x="0" y="31"/>
                  </a:moveTo>
                  <a:lnTo>
                    <a:pt x="14" y="31"/>
                  </a:lnTo>
                  <a:lnTo>
                    <a:pt x="14" y="95"/>
                  </a:lnTo>
                  <a:lnTo>
                    <a:pt x="0" y="95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48" name="Freeform 33"/>
            <p:cNvSpPr>
              <a:spLocks/>
            </p:cNvSpPr>
            <p:nvPr userDrawn="1"/>
          </p:nvSpPr>
          <p:spPr bwMode="gray">
            <a:xfrm>
              <a:off x="11560123" y="3670310"/>
              <a:ext cx="79375" cy="101600"/>
            </a:xfrm>
            <a:custGeom>
              <a:avLst/>
              <a:gdLst>
                <a:gd name="T0" fmla="*/ 79375 w 21"/>
                <a:gd name="T1" fmla="*/ 97837 h 27"/>
                <a:gd name="T2" fmla="*/ 68036 w 21"/>
                <a:gd name="T3" fmla="*/ 101600 h 27"/>
                <a:gd name="T4" fmla="*/ 52917 w 21"/>
                <a:gd name="T5" fmla="*/ 101600 h 27"/>
                <a:gd name="T6" fmla="*/ 34018 w 21"/>
                <a:gd name="T7" fmla="*/ 97837 h 27"/>
                <a:gd name="T8" fmla="*/ 15119 w 21"/>
                <a:gd name="T9" fmla="*/ 90311 h 27"/>
                <a:gd name="T10" fmla="*/ 3780 w 21"/>
                <a:gd name="T11" fmla="*/ 75259 h 27"/>
                <a:gd name="T12" fmla="*/ 0 w 21"/>
                <a:gd name="T13" fmla="*/ 52681 h 27"/>
                <a:gd name="T14" fmla="*/ 7560 w 21"/>
                <a:gd name="T15" fmla="*/ 30104 h 27"/>
                <a:gd name="T16" fmla="*/ 34018 w 21"/>
                <a:gd name="T17" fmla="*/ 3763 h 27"/>
                <a:gd name="T18" fmla="*/ 52917 w 21"/>
                <a:gd name="T19" fmla="*/ 0 h 27"/>
                <a:gd name="T20" fmla="*/ 64256 w 21"/>
                <a:gd name="T21" fmla="*/ 0 h 27"/>
                <a:gd name="T22" fmla="*/ 75595 w 21"/>
                <a:gd name="T23" fmla="*/ 3763 h 27"/>
                <a:gd name="T24" fmla="*/ 75595 w 21"/>
                <a:gd name="T25" fmla="*/ 22578 h 27"/>
                <a:gd name="T26" fmla="*/ 68036 w 21"/>
                <a:gd name="T27" fmla="*/ 18815 h 27"/>
                <a:gd name="T28" fmla="*/ 56696 w 21"/>
                <a:gd name="T29" fmla="*/ 18815 h 27"/>
                <a:gd name="T30" fmla="*/ 45357 w 21"/>
                <a:gd name="T31" fmla="*/ 22578 h 27"/>
                <a:gd name="T32" fmla="*/ 34018 w 21"/>
                <a:gd name="T33" fmla="*/ 26341 h 27"/>
                <a:gd name="T34" fmla="*/ 30238 w 21"/>
                <a:gd name="T35" fmla="*/ 37630 h 27"/>
                <a:gd name="T36" fmla="*/ 26458 w 21"/>
                <a:gd name="T37" fmla="*/ 52681 h 27"/>
                <a:gd name="T38" fmla="*/ 26458 w 21"/>
                <a:gd name="T39" fmla="*/ 63970 h 27"/>
                <a:gd name="T40" fmla="*/ 34018 w 21"/>
                <a:gd name="T41" fmla="*/ 75259 h 27"/>
                <a:gd name="T42" fmla="*/ 41577 w 21"/>
                <a:gd name="T43" fmla="*/ 79022 h 27"/>
                <a:gd name="T44" fmla="*/ 56696 w 21"/>
                <a:gd name="T45" fmla="*/ 82785 h 27"/>
                <a:gd name="T46" fmla="*/ 68036 w 21"/>
                <a:gd name="T47" fmla="*/ 82785 h 27"/>
                <a:gd name="T48" fmla="*/ 79375 w 21"/>
                <a:gd name="T49" fmla="*/ 79022 h 27"/>
                <a:gd name="T50" fmla="*/ 79375 w 21"/>
                <a:gd name="T51" fmla="*/ 97837 h 27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21" h="27">
                  <a:moveTo>
                    <a:pt x="21" y="26"/>
                  </a:moveTo>
                  <a:cubicBezTo>
                    <a:pt x="20" y="26"/>
                    <a:pt x="19" y="27"/>
                    <a:pt x="18" y="27"/>
                  </a:cubicBezTo>
                  <a:cubicBezTo>
                    <a:pt x="16" y="27"/>
                    <a:pt x="15" y="27"/>
                    <a:pt x="14" y="27"/>
                  </a:cubicBezTo>
                  <a:cubicBezTo>
                    <a:pt x="12" y="27"/>
                    <a:pt x="10" y="27"/>
                    <a:pt x="9" y="26"/>
                  </a:cubicBezTo>
                  <a:cubicBezTo>
                    <a:pt x="7" y="26"/>
                    <a:pt x="5" y="25"/>
                    <a:pt x="4" y="24"/>
                  </a:cubicBezTo>
                  <a:cubicBezTo>
                    <a:pt x="3" y="23"/>
                    <a:pt x="2" y="22"/>
                    <a:pt x="1" y="20"/>
                  </a:cubicBezTo>
                  <a:cubicBezTo>
                    <a:pt x="1" y="18"/>
                    <a:pt x="0" y="16"/>
                    <a:pt x="0" y="14"/>
                  </a:cubicBezTo>
                  <a:cubicBezTo>
                    <a:pt x="0" y="12"/>
                    <a:pt x="1" y="10"/>
                    <a:pt x="2" y="8"/>
                  </a:cubicBezTo>
                  <a:cubicBezTo>
                    <a:pt x="3" y="4"/>
                    <a:pt x="6" y="2"/>
                    <a:pt x="9" y="1"/>
                  </a:cubicBezTo>
                  <a:cubicBezTo>
                    <a:pt x="11" y="0"/>
                    <a:pt x="12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1"/>
                    <a:pt x="20" y="1"/>
                  </a:cubicBezTo>
                  <a:cubicBezTo>
                    <a:pt x="20" y="6"/>
                    <a:pt x="20" y="6"/>
                    <a:pt x="20" y="6"/>
                  </a:cubicBezTo>
                  <a:cubicBezTo>
                    <a:pt x="19" y="6"/>
                    <a:pt x="19" y="6"/>
                    <a:pt x="18" y="5"/>
                  </a:cubicBezTo>
                  <a:cubicBezTo>
                    <a:pt x="17" y="5"/>
                    <a:pt x="16" y="5"/>
                    <a:pt x="15" y="5"/>
                  </a:cubicBezTo>
                  <a:cubicBezTo>
                    <a:pt x="14" y="5"/>
                    <a:pt x="13" y="5"/>
                    <a:pt x="12" y="6"/>
                  </a:cubicBezTo>
                  <a:cubicBezTo>
                    <a:pt x="11" y="6"/>
                    <a:pt x="10" y="6"/>
                    <a:pt x="9" y="7"/>
                  </a:cubicBezTo>
                  <a:cubicBezTo>
                    <a:pt x="9" y="8"/>
                    <a:pt x="8" y="9"/>
                    <a:pt x="8" y="10"/>
                  </a:cubicBezTo>
                  <a:cubicBezTo>
                    <a:pt x="7" y="11"/>
                    <a:pt x="7" y="12"/>
                    <a:pt x="7" y="14"/>
                  </a:cubicBezTo>
                  <a:cubicBezTo>
                    <a:pt x="7" y="15"/>
                    <a:pt x="7" y="16"/>
                    <a:pt x="7" y="17"/>
                  </a:cubicBezTo>
                  <a:cubicBezTo>
                    <a:pt x="8" y="18"/>
                    <a:pt x="8" y="19"/>
                    <a:pt x="9" y="20"/>
                  </a:cubicBezTo>
                  <a:cubicBezTo>
                    <a:pt x="10" y="20"/>
                    <a:pt x="10" y="21"/>
                    <a:pt x="11" y="21"/>
                  </a:cubicBezTo>
                  <a:cubicBezTo>
                    <a:pt x="12" y="22"/>
                    <a:pt x="14" y="22"/>
                    <a:pt x="15" y="22"/>
                  </a:cubicBezTo>
                  <a:cubicBezTo>
                    <a:pt x="16" y="22"/>
                    <a:pt x="17" y="22"/>
                    <a:pt x="18" y="22"/>
                  </a:cubicBezTo>
                  <a:cubicBezTo>
                    <a:pt x="19" y="22"/>
                    <a:pt x="20" y="21"/>
                    <a:pt x="21" y="21"/>
                  </a:cubicBezTo>
                  <a:lnTo>
                    <a:pt x="21" y="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49" name="Freeform 34"/>
            <p:cNvSpPr>
              <a:spLocks noEditPoints="1"/>
            </p:cNvSpPr>
            <p:nvPr userDrawn="1"/>
          </p:nvSpPr>
          <p:spPr bwMode="gray">
            <a:xfrm>
              <a:off x="11655425" y="3670300"/>
              <a:ext cx="88900" cy="101600"/>
            </a:xfrm>
            <a:custGeom>
              <a:avLst/>
              <a:gdLst>
                <a:gd name="T0" fmla="*/ 55563 w 24"/>
                <a:gd name="T1" fmla="*/ 82785 h 27"/>
                <a:gd name="T2" fmla="*/ 70379 w 24"/>
                <a:gd name="T3" fmla="*/ 82785 h 27"/>
                <a:gd name="T4" fmla="*/ 85196 w 24"/>
                <a:gd name="T5" fmla="*/ 79022 h 27"/>
                <a:gd name="T6" fmla="*/ 85196 w 24"/>
                <a:gd name="T7" fmla="*/ 97837 h 27"/>
                <a:gd name="T8" fmla="*/ 70379 w 24"/>
                <a:gd name="T9" fmla="*/ 101600 h 27"/>
                <a:gd name="T10" fmla="*/ 48154 w 24"/>
                <a:gd name="T11" fmla="*/ 101600 h 27"/>
                <a:gd name="T12" fmla="*/ 29633 w 24"/>
                <a:gd name="T13" fmla="*/ 101600 h 27"/>
                <a:gd name="T14" fmla="*/ 14817 w 24"/>
                <a:gd name="T15" fmla="*/ 90311 h 27"/>
                <a:gd name="T16" fmla="*/ 3704 w 24"/>
                <a:gd name="T17" fmla="*/ 75259 h 27"/>
                <a:gd name="T18" fmla="*/ 0 w 24"/>
                <a:gd name="T19" fmla="*/ 52681 h 27"/>
                <a:gd name="T20" fmla="*/ 3704 w 24"/>
                <a:gd name="T21" fmla="*/ 30104 h 27"/>
                <a:gd name="T22" fmla="*/ 14817 w 24"/>
                <a:gd name="T23" fmla="*/ 11289 h 27"/>
                <a:gd name="T24" fmla="*/ 29633 w 24"/>
                <a:gd name="T25" fmla="*/ 3763 h 27"/>
                <a:gd name="T26" fmla="*/ 44450 w 24"/>
                <a:gd name="T27" fmla="*/ 0 h 27"/>
                <a:gd name="T28" fmla="*/ 62971 w 24"/>
                <a:gd name="T29" fmla="*/ 0 h 27"/>
                <a:gd name="T30" fmla="*/ 77788 w 24"/>
                <a:gd name="T31" fmla="*/ 11289 h 27"/>
                <a:gd name="T32" fmla="*/ 85196 w 24"/>
                <a:gd name="T33" fmla="*/ 26341 h 27"/>
                <a:gd name="T34" fmla="*/ 88900 w 24"/>
                <a:gd name="T35" fmla="*/ 48919 h 27"/>
                <a:gd name="T36" fmla="*/ 88900 w 24"/>
                <a:gd name="T37" fmla="*/ 56444 h 27"/>
                <a:gd name="T38" fmla="*/ 25929 w 24"/>
                <a:gd name="T39" fmla="*/ 56444 h 27"/>
                <a:gd name="T40" fmla="*/ 25929 w 24"/>
                <a:gd name="T41" fmla="*/ 67733 h 27"/>
                <a:gd name="T42" fmla="*/ 33338 w 24"/>
                <a:gd name="T43" fmla="*/ 75259 h 27"/>
                <a:gd name="T44" fmla="*/ 44450 w 24"/>
                <a:gd name="T45" fmla="*/ 82785 h 27"/>
                <a:gd name="T46" fmla="*/ 55563 w 24"/>
                <a:gd name="T47" fmla="*/ 82785 h 27"/>
                <a:gd name="T48" fmla="*/ 44450 w 24"/>
                <a:gd name="T49" fmla="*/ 18815 h 27"/>
                <a:gd name="T50" fmla="*/ 37042 w 24"/>
                <a:gd name="T51" fmla="*/ 18815 h 27"/>
                <a:gd name="T52" fmla="*/ 29633 w 24"/>
                <a:gd name="T53" fmla="*/ 22578 h 27"/>
                <a:gd name="T54" fmla="*/ 25929 w 24"/>
                <a:gd name="T55" fmla="*/ 30104 h 27"/>
                <a:gd name="T56" fmla="*/ 25929 w 24"/>
                <a:gd name="T57" fmla="*/ 37630 h 27"/>
                <a:gd name="T58" fmla="*/ 62971 w 24"/>
                <a:gd name="T59" fmla="*/ 37630 h 27"/>
                <a:gd name="T60" fmla="*/ 62971 w 24"/>
                <a:gd name="T61" fmla="*/ 30104 h 27"/>
                <a:gd name="T62" fmla="*/ 59267 w 24"/>
                <a:gd name="T63" fmla="*/ 22578 h 27"/>
                <a:gd name="T64" fmla="*/ 51858 w 24"/>
                <a:gd name="T65" fmla="*/ 18815 h 27"/>
                <a:gd name="T66" fmla="*/ 44450 w 24"/>
                <a:gd name="T67" fmla="*/ 18815 h 27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24" h="27">
                  <a:moveTo>
                    <a:pt x="15" y="22"/>
                  </a:moveTo>
                  <a:cubicBezTo>
                    <a:pt x="16" y="22"/>
                    <a:pt x="17" y="22"/>
                    <a:pt x="19" y="22"/>
                  </a:cubicBezTo>
                  <a:cubicBezTo>
                    <a:pt x="20" y="21"/>
                    <a:pt x="21" y="21"/>
                    <a:pt x="23" y="21"/>
                  </a:cubicBezTo>
                  <a:cubicBezTo>
                    <a:pt x="23" y="26"/>
                    <a:pt x="23" y="26"/>
                    <a:pt x="23" y="26"/>
                  </a:cubicBezTo>
                  <a:cubicBezTo>
                    <a:pt x="21" y="26"/>
                    <a:pt x="20" y="27"/>
                    <a:pt x="19" y="27"/>
                  </a:cubicBezTo>
                  <a:cubicBezTo>
                    <a:pt x="17" y="27"/>
                    <a:pt x="15" y="27"/>
                    <a:pt x="13" y="27"/>
                  </a:cubicBezTo>
                  <a:cubicBezTo>
                    <a:pt x="12" y="27"/>
                    <a:pt x="10" y="27"/>
                    <a:pt x="8" y="27"/>
                  </a:cubicBezTo>
                  <a:cubicBezTo>
                    <a:pt x="7" y="26"/>
                    <a:pt x="5" y="25"/>
                    <a:pt x="4" y="24"/>
                  </a:cubicBezTo>
                  <a:cubicBezTo>
                    <a:pt x="3" y="23"/>
                    <a:pt x="2" y="22"/>
                    <a:pt x="1" y="20"/>
                  </a:cubicBezTo>
                  <a:cubicBezTo>
                    <a:pt x="0" y="18"/>
                    <a:pt x="0" y="16"/>
                    <a:pt x="0" y="14"/>
                  </a:cubicBezTo>
                  <a:cubicBezTo>
                    <a:pt x="0" y="12"/>
                    <a:pt x="0" y="10"/>
                    <a:pt x="1" y="8"/>
                  </a:cubicBezTo>
                  <a:cubicBezTo>
                    <a:pt x="2" y="6"/>
                    <a:pt x="3" y="4"/>
                    <a:pt x="4" y="3"/>
                  </a:cubicBezTo>
                  <a:cubicBezTo>
                    <a:pt x="5" y="2"/>
                    <a:pt x="6" y="1"/>
                    <a:pt x="8" y="1"/>
                  </a:cubicBezTo>
                  <a:cubicBezTo>
                    <a:pt x="9" y="0"/>
                    <a:pt x="11" y="0"/>
                    <a:pt x="12" y="0"/>
                  </a:cubicBezTo>
                  <a:cubicBezTo>
                    <a:pt x="14" y="0"/>
                    <a:pt x="15" y="0"/>
                    <a:pt x="17" y="0"/>
                  </a:cubicBezTo>
                  <a:cubicBezTo>
                    <a:pt x="18" y="1"/>
                    <a:pt x="20" y="2"/>
                    <a:pt x="21" y="3"/>
                  </a:cubicBezTo>
                  <a:cubicBezTo>
                    <a:pt x="22" y="4"/>
                    <a:pt x="22" y="5"/>
                    <a:pt x="23" y="7"/>
                  </a:cubicBezTo>
                  <a:cubicBezTo>
                    <a:pt x="24" y="9"/>
                    <a:pt x="24" y="11"/>
                    <a:pt x="24" y="13"/>
                  </a:cubicBezTo>
                  <a:cubicBezTo>
                    <a:pt x="24" y="14"/>
                    <a:pt x="24" y="15"/>
                    <a:pt x="24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6"/>
                    <a:pt x="7" y="17"/>
                    <a:pt x="7" y="18"/>
                  </a:cubicBezTo>
                  <a:cubicBezTo>
                    <a:pt x="8" y="19"/>
                    <a:pt x="8" y="20"/>
                    <a:pt x="9" y="20"/>
                  </a:cubicBezTo>
                  <a:cubicBezTo>
                    <a:pt x="10" y="21"/>
                    <a:pt x="11" y="21"/>
                    <a:pt x="12" y="22"/>
                  </a:cubicBezTo>
                  <a:cubicBezTo>
                    <a:pt x="13" y="22"/>
                    <a:pt x="14" y="22"/>
                    <a:pt x="15" y="22"/>
                  </a:cubicBezTo>
                  <a:close/>
                  <a:moveTo>
                    <a:pt x="12" y="5"/>
                  </a:moveTo>
                  <a:cubicBezTo>
                    <a:pt x="11" y="5"/>
                    <a:pt x="11" y="5"/>
                    <a:pt x="10" y="5"/>
                  </a:cubicBezTo>
                  <a:cubicBezTo>
                    <a:pt x="9" y="5"/>
                    <a:pt x="9" y="6"/>
                    <a:pt x="8" y="6"/>
                  </a:cubicBezTo>
                  <a:cubicBezTo>
                    <a:pt x="8" y="7"/>
                    <a:pt x="7" y="7"/>
                    <a:pt x="7" y="8"/>
                  </a:cubicBezTo>
                  <a:cubicBezTo>
                    <a:pt x="7" y="9"/>
                    <a:pt x="7" y="10"/>
                    <a:pt x="7" y="1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7" y="10"/>
                    <a:pt x="17" y="9"/>
                    <a:pt x="17" y="8"/>
                  </a:cubicBezTo>
                  <a:cubicBezTo>
                    <a:pt x="17" y="7"/>
                    <a:pt x="16" y="7"/>
                    <a:pt x="16" y="6"/>
                  </a:cubicBezTo>
                  <a:cubicBezTo>
                    <a:pt x="15" y="6"/>
                    <a:pt x="15" y="5"/>
                    <a:pt x="14" y="5"/>
                  </a:cubicBezTo>
                  <a:cubicBezTo>
                    <a:pt x="14" y="5"/>
                    <a:pt x="13" y="5"/>
                    <a:pt x="12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</p:grpSp>
      <p:pic>
        <p:nvPicPr>
          <p:cNvPr id="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486094" y="3429000"/>
            <a:ext cx="9219813" cy="3429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51" name="Gruppieren 111"/>
          <p:cNvGrpSpPr>
            <a:grpSpLocks/>
          </p:cNvGrpSpPr>
          <p:nvPr/>
        </p:nvGrpSpPr>
        <p:grpSpPr bwMode="auto">
          <a:xfrm>
            <a:off x="-312778" y="1739901"/>
            <a:ext cx="271498" cy="4748213"/>
            <a:chOff x="-312083" y="1740297"/>
            <a:chExt cx="271280" cy="4748555"/>
          </a:xfrm>
        </p:grpSpPr>
        <p:grpSp>
          <p:nvGrpSpPr>
            <p:cNvPr id="52" name="Gruppieren 112"/>
            <p:cNvGrpSpPr>
              <a:grpSpLocks/>
            </p:cNvGrpSpPr>
            <p:nvPr/>
          </p:nvGrpSpPr>
          <p:grpSpPr bwMode="auto">
            <a:xfrm>
              <a:off x="-312083" y="6295970"/>
              <a:ext cx="271280" cy="192882"/>
              <a:chOff x="-312083" y="6295970"/>
              <a:chExt cx="271280" cy="192882"/>
            </a:xfrm>
          </p:grpSpPr>
          <p:cxnSp>
            <p:nvCxnSpPr>
              <p:cNvPr id="56" name="Gerade Verbindung 55"/>
              <p:cNvCxnSpPr/>
              <p:nvPr userDrawn="1"/>
            </p:nvCxnSpPr>
            <p:spPr bwMode="gray">
              <a:xfrm>
                <a:off x="-202619" y="6393595"/>
                <a:ext cx="161816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7" name="Rechteck 56"/>
              <p:cNvSpPr/>
              <p:nvPr userDrawn="1"/>
            </p:nvSpPr>
            <p:spPr bwMode="gray">
              <a:xfrm rot="16200000">
                <a:off x="-368473" y="6353140"/>
                <a:ext cx="192102" cy="79321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de-DE" sz="600" dirty="0">
                    <a:solidFill>
                      <a:schemeClr val="tx1"/>
                    </a:solidFill>
                    <a:cs typeface="Arial" panose="020B0604020202020204" pitchFamily="34" charset="0"/>
                  </a:rPr>
                  <a:t>8,24</a:t>
                </a:r>
              </a:p>
            </p:txBody>
          </p:sp>
        </p:grpSp>
        <p:grpSp>
          <p:nvGrpSpPr>
            <p:cNvPr id="53" name="Gruppieren 113"/>
            <p:cNvGrpSpPr>
              <a:grpSpLocks/>
            </p:cNvGrpSpPr>
            <p:nvPr/>
          </p:nvGrpSpPr>
          <p:grpSpPr bwMode="auto">
            <a:xfrm>
              <a:off x="-312083" y="1740297"/>
              <a:ext cx="271280" cy="192882"/>
              <a:chOff x="-312083" y="1703784"/>
              <a:chExt cx="271280" cy="192882"/>
            </a:xfrm>
          </p:grpSpPr>
          <p:cxnSp>
            <p:nvCxnSpPr>
              <p:cNvPr id="54" name="Gerade Verbindung 53"/>
              <p:cNvCxnSpPr/>
              <p:nvPr userDrawn="1"/>
            </p:nvCxnSpPr>
            <p:spPr bwMode="gray">
              <a:xfrm>
                <a:off x="-202619" y="1800629"/>
                <a:ext cx="161816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5" name="Rechteck 54"/>
              <p:cNvSpPr/>
              <p:nvPr userDrawn="1"/>
            </p:nvSpPr>
            <p:spPr bwMode="gray">
              <a:xfrm rot="16200000">
                <a:off x="-368473" y="1760174"/>
                <a:ext cx="192102" cy="79321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de-DE" sz="600" dirty="0">
                    <a:solidFill>
                      <a:schemeClr val="tx1"/>
                    </a:solidFill>
                    <a:cs typeface="Arial" panose="020B0604020202020204" pitchFamily="34" charset="0"/>
                  </a:rPr>
                  <a:t>4,42</a:t>
                </a:r>
              </a:p>
            </p:txBody>
          </p:sp>
        </p:grpSp>
      </p:grpSp>
      <p:sp>
        <p:nvSpPr>
          <p:cNvPr id="65" name="Titel 64"/>
          <p:cNvSpPr>
            <a:spLocks noGrp="1"/>
          </p:cNvSpPr>
          <p:nvPr>
            <p:ph type="ctrTitle"/>
          </p:nvPr>
        </p:nvSpPr>
        <p:spPr bwMode="gray">
          <a:xfrm>
            <a:off x="-1" y="1"/>
            <a:ext cx="12192000" cy="2504834"/>
          </a:xfrm>
          <a:custGeom>
            <a:avLst/>
            <a:gdLst>
              <a:gd name="connsiteX0" fmla="*/ 0 w 12190413"/>
              <a:gd name="connsiteY0" fmla="*/ 0 h 2504834"/>
              <a:gd name="connsiteX1" fmla="*/ 12190413 w 12190413"/>
              <a:gd name="connsiteY1" fmla="*/ 0 h 2504834"/>
              <a:gd name="connsiteX2" fmla="*/ 12190413 w 12190413"/>
              <a:gd name="connsiteY2" fmla="*/ 829996 h 2504834"/>
              <a:gd name="connsiteX3" fmla="*/ 9060657 w 12190413"/>
              <a:gd name="connsiteY3" fmla="*/ 829996 h 2504834"/>
              <a:gd name="connsiteX4" fmla="*/ 9060657 w 12190413"/>
              <a:gd name="connsiteY4" fmla="*/ 2504830 h 2504834"/>
              <a:gd name="connsiteX5" fmla="*/ 12190413 w 12190413"/>
              <a:gd name="connsiteY5" fmla="*/ 2504830 h 2504834"/>
              <a:gd name="connsiteX6" fmla="*/ 12190413 w 12190413"/>
              <a:gd name="connsiteY6" fmla="*/ 2504834 h 2504834"/>
              <a:gd name="connsiteX7" fmla="*/ 0 w 12190413"/>
              <a:gd name="connsiteY7" fmla="*/ 2504834 h 25048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0413" h="2504834">
                <a:moveTo>
                  <a:pt x="0" y="0"/>
                </a:moveTo>
                <a:lnTo>
                  <a:pt x="12190413" y="0"/>
                </a:lnTo>
                <a:lnTo>
                  <a:pt x="12190413" y="829996"/>
                </a:lnTo>
                <a:lnTo>
                  <a:pt x="9060657" y="829996"/>
                </a:lnTo>
                <a:lnTo>
                  <a:pt x="9060657" y="2504830"/>
                </a:lnTo>
                <a:lnTo>
                  <a:pt x="12190413" y="2504830"/>
                </a:lnTo>
                <a:lnTo>
                  <a:pt x="12190413" y="2504834"/>
                </a:lnTo>
                <a:lnTo>
                  <a:pt x="0" y="2504834"/>
                </a:lnTo>
                <a:close/>
              </a:path>
            </a:pathLst>
          </a:custGeom>
          <a:solidFill>
            <a:schemeClr val="accent6"/>
          </a:solidFill>
        </p:spPr>
        <p:txBody>
          <a:bodyPr lIns="619200" tIns="482400" rIns="3456000" anchor="t">
            <a:noAutofit/>
          </a:bodyPr>
          <a:lstStyle>
            <a:lvl1pPr algn="l">
              <a:defRPr sz="3200"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628732" y="1616101"/>
            <a:ext cx="7863876" cy="288000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 bwMode="gray">
          <a:xfrm>
            <a:off x="632704" y="2001655"/>
            <a:ext cx="7859903" cy="216000"/>
          </a:xfrm>
        </p:spPr>
        <p:txBody>
          <a:bodyPr/>
          <a:lstStyle>
            <a:lvl1pPr marL="3175" indent="0">
              <a:spcBef>
                <a:spcPts val="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1pPr>
            <a:lvl2pPr marL="3175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2pPr>
            <a:lvl3pPr marL="3175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3pPr>
            <a:lvl4pPr marL="3175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4pPr>
            <a:lvl5pPr marL="3175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5pPr>
            <a:lvl6pPr marL="3175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6pPr>
            <a:lvl7pPr marL="3175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7pPr>
            <a:lvl8pPr marL="3175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8pPr>
            <a:lvl9pPr marL="3175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8" name="Datumsplatzhalt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pPr>
              <a:defRPr/>
            </a:pPr>
            <a:r>
              <a:rPr lang="de-DE"/>
              <a:t>Datum</a:t>
            </a:r>
            <a:endParaRPr lang="de-DE" dirty="0"/>
          </a:p>
        </p:txBody>
      </p:sp>
      <p:sp>
        <p:nvSpPr>
          <p:cNvPr id="59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 dirty="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>
              <a:defRPr/>
            </a:pPr>
            <a:endParaRPr lang="de-DE"/>
          </a:p>
        </p:txBody>
      </p:sp>
      <p:sp>
        <p:nvSpPr>
          <p:cNvPr id="60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 smtClean="0"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pPr>
              <a:defRPr/>
            </a:pPr>
            <a:fld id="{FC502AD6-D8F7-4E14-97C2-F46807DB647A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98668886"/>
      </p:ext>
    </p:extLst>
  </p:cSld>
  <p:clrMapOvr>
    <a:masterClrMapping/>
  </p:clrMapOvr>
  <p:transition spd="med"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n.jovcic\Pictures\Bild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816" b="23730"/>
          <a:stretch>
            <a:fillRect/>
          </a:stretch>
        </p:blipFill>
        <p:spPr bwMode="gray">
          <a:xfrm>
            <a:off x="1" y="2505076"/>
            <a:ext cx="12192000" cy="4352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uppieren 37"/>
          <p:cNvGrpSpPr>
            <a:grpSpLocks/>
          </p:cNvGrpSpPr>
          <p:nvPr/>
        </p:nvGrpSpPr>
        <p:grpSpPr bwMode="auto">
          <a:xfrm>
            <a:off x="9061042" y="830263"/>
            <a:ext cx="3130958" cy="2233612"/>
            <a:chOff x="9299549" y="1855781"/>
            <a:chExt cx="2978142" cy="2125659"/>
          </a:xfrm>
        </p:grpSpPr>
        <p:sp>
          <p:nvSpPr>
            <p:cNvPr id="7" name="Rectangle 6"/>
            <p:cNvSpPr>
              <a:spLocks noChangeArrowheads="1"/>
            </p:cNvSpPr>
            <p:nvPr userDrawn="1"/>
          </p:nvSpPr>
          <p:spPr bwMode="gray">
            <a:xfrm>
              <a:off x="9299549" y="1855781"/>
              <a:ext cx="2978142" cy="159384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endParaRPr lang="de-DE" altLang="de-DE" sz="1800"/>
            </a:p>
          </p:txBody>
        </p:sp>
        <p:sp>
          <p:nvSpPr>
            <p:cNvPr id="8" name="Freeform 7"/>
            <p:cNvSpPr>
              <a:spLocks noEditPoints="1"/>
            </p:cNvSpPr>
            <p:nvPr userDrawn="1"/>
          </p:nvSpPr>
          <p:spPr bwMode="gray">
            <a:xfrm>
              <a:off x="9839298" y="2489191"/>
              <a:ext cx="206375" cy="333374"/>
            </a:xfrm>
            <a:custGeom>
              <a:avLst/>
              <a:gdLst>
                <a:gd name="T0" fmla="*/ 206375 w 55"/>
                <a:gd name="T1" fmla="*/ 179797 h 89"/>
                <a:gd name="T2" fmla="*/ 206375 w 55"/>
                <a:gd name="T3" fmla="*/ 161068 h 89"/>
                <a:gd name="T4" fmla="*/ 105064 w 55"/>
                <a:gd name="T5" fmla="*/ 0 h 89"/>
                <a:gd name="T6" fmla="*/ 0 w 55"/>
                <a:gd name="T7" fmla="*/ 164814 h 89"/>
                <a:gd name="T8" fmla="*/ 105064 w 55"/>
                <a:gd name="T9" fmla="*/ 333374 h 89"/>
                <a:gd name="T10" fmla="*/ 202623 w 55"/>
                <a:gd name="T11" fmla="*/ 221001 h 89"/>
                <a:gd name="T12" fmla="*/ 138834 w 55"/>
                <a:gd name="T13" fmla="*/ 221001 h 89"/>
                <a:gd name="T14" fmla="*/ 101311 w 55"/>
                <a:gd name="T15" fmla="*/ 280933 h 89"/>
                <a:gd name="T16" fmla="*/ 67541 w 55"/>
                <a:gd name="T17" fmla="*/ 206018 h 89"/>
                <a:gd name="T18" fmla="*/ 67541 w 55"/>
                <a:gd name="T19" fmla="*/ 179797 h 89"/>
                <a:gd name="T20" fmla="*/ 206375 w 55"/>
                <a:gd name="T21" fmla="*/ 179797 h 89"/>
                <a:gd name="T22" fmla="*/ 67541 w 55"/>
                <a:gd name="T23" fmla="*/ 131102 h 89"/>
                <a:gd name="T24" fmla="*/ 67541 w 55"/>
                <a:gd name="T25" fmla="*/ 119865 h 89"/>
                <a:gd name="T26" fmla="*/ 105064 w 55"/>
                <a:gd name="T27" fmla="*/ 56187 h 89"/>
                <a:gd name="T28" fmla="*/ 138834 w 55"/>
                <a:gd name="T29" fmla="*/ 131102 h 89"/>
                <a:gd name="T30" fmla="*/ 67541 w 55"/>
                <a:gd name="T31" fmla="*/ 131102 h 89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5" h="89">
                  <a:moveTo>
                    <a:pt x="55" y="48"/>
                  </a:moveTo>
                  <a:cubicBezTo>
                    <a:pt x="55" y="43"/>
                    <a:pt x="55" y="43"/>
                    <a:pt x="55" y="43"/>
                  </a:cubicBezTo>
                  <a:cubicBezTo>
                    <a:pt x="55" y="17"/>
                    <a:pt x="50" y="0"/>
                    <a:pt x="28" y="0"/>
                  </a:cubicBezTo>
                  <a:cubicBezTo>
                    <a:pt x="4" y="0"/>
                    <a:pt x="0" y="21"/>
                    <a:pt x="0" y="44"/>
                  </a:cubicBezTo>
                  <a:cubicBezTo>
                    <a:pt x="0" y="65"/>
                    <a:pt x="1" y="89"/>
                    <a:pt x="28" y="89"/>
                  </a:cubicBezTo>
                  <a:cubicBezTo>
                    <a:pt x="45" y="89"/>
                    <a:pt x="53" y="78"/>
                    <a:pt x="54" y="59"/>
                  </a:cubicBezTo>
                  <a:cubicBezTo>
                    <a:pt x="37" y="59"/>
                    <a:pt x="37" y="59"/>
                    <a:pt x="37" y="59"/>
                  </a:cubicBezTo>
                  <a:cubicBezTo>
                    <a:pt x="36" y="69"/>
                    <a:pt x="34" y="75"/>
                    <a:pt x="27" y="75"/>
                  </a:cubicBezTo>
                  <a:cubicBezTo>
                    <a:pt x="21" y="75"/>
                    <a:pt x="18" y="65"/>
                    <a:pt x="18" y="55"/>
                  </a:cubicBezTo>
                  <a:cubicBezTo>
                    <a:pt x="18" y="48"/>
                    <a:pt x="18" y="48"/>
                    <a:pt x="18" y="48"/>
                  </a:cubicBezTo>
                  <a:lnTo>
                    <a:pt x="55" y="48"/>
                  </a:lnTo>
                  <a:close/>
                  <a:moveTo>
                    <a:pt x="18" y="35"/>
                  </a:moveTo>
                  <a:cubicBezTo>
                    <a:pt x="18" y="32"/>
                    <a:pt x="18" y="32"/>
                    <a:pt x="18" y="32"/>
                  </a:cubicBezTo>
                  <a:cubicBezTo>
                    <a:pt x="18" y="24"/>
                    <a:pt x="20" y="15"/>
                    <a:pt x="28" y="15"/>
                  </a:cubicBezTo>
                  <a:cubicBezTo>
                    <a:pt x="35" y="15"/>
                    <a:pt x="37" y="22"/>
                    <a:pt x="37" y="35"/>
                  </a:cubicBezTo>
                  <a:lnTo>
                    <a:pt x="18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9" name="Freeform 8"/>
            <p:cNvSpPr>
              <a:spLocks noEditPoints="1"/>
            </p:cNvSpPr>
            <p:nvPr userDrawn="1"/>
          </p:nvSpPr>
          <p:spPr bwMode="gray">
            <a:xfrm>
              <a:off x="10072660" y="2392354"/>
              <a:ext cx="209549" cy="430210"/>
            </a:xfrm>
            <a:custGeom>
              <a:avLst/>
              <a:gdLst>
                <a:gd name="T0" fmla="*/ 67355 w 56"/>
                <a:gd name="T1" fmla="*/ 265608 h 115"/>
                <a:gd name="T2" fmla="*/ 104775 w 56"/>
                <a:gd name="T3" fmla="*/ 160861 h 115"/>
                <a:gd name="T4" fmla="*/ 138452 w 56"/>
                <a:gd name="T5" fmla="*/ 265608 h 115"/>
                <a:gd name="T6" fmla="*/ 104775 w 56"/>
                <a:gd name="T7" fmla="*/ 370355 h 115"/>
                <a:gd name="T8" fmla="*/ 67355 w 56"/>
                <a:gd name="T9" fmla="*/ 265608 h 115"/>
                <a:gd name="T10" fmla="*/ 0 w 56"/>
                <a:gd name="T11" fmla="*/ 422728 h 115"/>
                <a:gd name="T12" fmla="*/ 63613 w 56"/>
                <a:gd name="T13" fmla="*/ 422728 h 115"/>
                <a:gd name="T14" fmla="*/ 63613 w 56"/>
                <a:gd name="T15" fmla="*/ 389059 h 115"/>
                <a:gd name="T16" fmla="*/ 63613 w 56"/>
                <a:gd name="T17" fmla="*/ 389059 h 115"/>
                <a:gd name="T18" fmla="*/ 127226 w 56"/>
                <a:gd name="T19" fmla="*/ 430210 h 115"/>
                <a:gd name="T20" fmla="*/ 209549 w 56"/>
                <a:gd name="T21" fmla="*/ 265608 h 115"/>
                <a:gd name="T22" fmla="*/ 127226 w 56"/>
                <a:gd name="T23" fmla="*/ 97265 h 115"/>
                <a:gd name="T24" fmla="*/ 67355 w 56"/>
                <a:gd name="T25" fmla="*/ 134674 h 115"/>
                <a:gd name="T26" fmla="*/ 67355 w 56"/>
                <a:gd name="T27" fmla="*/ 134674 h 115"/>
                <a:gd name="T28" fmla="*/ 67355 w 56"/>
                <a:gd name="T29" fmla="*/ 0 h 115"/>
                <a:gd name="T30" fmla="*/ 0 w 56"/>
                <a:gd name="T31" fmla="*/ 0 h 115"/>
                <a:gd name="T32" fmla="*/ 0 w 56"/>
                <a:gd name="T33" fmla="*/ 422728 h 11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56" h="115">
                  <a:moveTo>
                    <a:pt x="18" y="71"/>
                  </a:moveTo>
                  <a:cubicBezTo>
                    <a:pt x="18" y="52"/>
                    <a:pt x="20" y="43"/>
                    <a:pt x="28" y="43"/>
                  </a:cubicBezTo>
                  <a:cubicBezTo>
                    <a:pt x="36" y="43"/>
                    <a:pt x="37" y="52"/>
                    <a:pt x="37" y="71"/>
                  </a:cubicBezTo>
                  <a:cubicBezTo>
                    <a:pt x="37" y="89"/>
                    <a:pt x="36" y="99"/>
                    <a:pt x="28" y="99"/>
                  </a:cubicBezTo>
                  <a:cubicBezTo>
                    <a:pt x="20" y="99"/>
                    <a:pt x="18" y="89"/>
                    <a:pt x="18" y="71"/>
                  </a:cubicBezTo>
                  <a:close/>
                  <a:moveTo>
                    <a:pt x="0" y="113"/>
                  </a:moveTo>
                  <a:cubicBezTo>
                    <a:pt x="17" y="113"/>
                    <a:pt x="17" y="113"/>
                    <a:pt x="17" y="113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21" y="112"/>
                    <a:pt x="27" y="115"/>
                    <a:pt x="34" y="115"/>
                  </a:cubicBezTo>
                  <a:cubicBezTo>
                    <a:pt x="49" y="115"/>
                    <a:pt x="56" y="102"/>
                    <a:pt x="56" y="71"/>
                  </a:cubicBezTo>
                  <a:cubicBezTo>
                    <a:pt x="56" y="39"/>
                    <a:pt x="49" y="26"/>
                    <a:pt x="34" y="26"/>
                  </a:cubicBezTo>
                  <a:cubicBezTo>
                    <a:pt x="27" y="26"/>
                    <a:pt x="22" y="29"/>
                    <a:pt x="18" y="36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0" name="Freeform 9"/>
            <p:cNvSpPr>
              <a:spLocks/>
            </p:cNvSpPr>
            <p:nvPr userDrawn="1"/>
          </p:nvSpPr>
          <p:spPr bwMode="gray">
            <a:xfrm>
              <a:off x="10312371" y="2486016"/>
              <a:ext cx="330199" cy="330198"/>
            </a:xfrm>
            <a:custGeom>
              <a:avLst/>
              <a:gdLst>
                <a:gd name="T0" fmla="*/ 0 w 88"/>
                <a:gd name="T1" fmla="*/ 330198 h 88"/>
                <a:gd name="T2" fmla="*/ 67541 w 88"/>
                <a:gd name="T3" fmla="*/ 330198 h 88"/>
                <a:gd name="T4" fmla="*/ 67541 w 88"/>
                <a:gd name="T5" fmla="*/ 120072 h 88"/>
                <a:gd name="T6" fmla="*/ 105063 w 88"/>
                <a:gd name="T7" fmla="*/ 67541 h 88"/>
                <a:gd name="T8" fmla="*/ 131329 w 88"/>
                <a:gd name="T9" fmla="*/ 108815 h 88"/>
                <a:gd name="T10" fmla="*/ 131329 w 88"/>
                <a:gd name="T11" fmla="*/ 330198 h 88"/>
                <a:gd name="T12" fmla="*/ 198870 w 88"/>
                <a:gd name="T13" fmla="*/ 330198 h 88"/>
                <a:gd name="T14" fmla="*/ 198870 w 88"/>
                <a:gd name="T15" fmla="*/ 120072 h 88"/>
                <a:gd name="T16" fmla="*/ 236392 w 88"/>
                <a:gd name="T17" fmla="*/ 67541 h 88"/>
                <a:gd name="T18" fmla="*/ 262658 w 88"/>
                <a:gd name="T19" fmla="*/ 108815 h 88"/>
                <a:gd name="T20" fmla="*/ 262658 w 88"/>
                <a:gd name="T21" fmla="*/ 330198 h 88"/>
                <a:gd name="T22" fmla="*/ 330199 w 88"/>
                <a:gd name="T23" fmla="*/ 330198 h 88"/>
                <a:gd name="T24" fmla="*/ 330199 w 88"/>
                <a:gd name="T25" fmla="*/ 97559 h 88"/>
                <a:gd name="T26" fmla="*/ 262658 w 88"/>
                <a:gd name="T27" fmla="*/ 3752 h 88"/>
                <a:gd name="T28" fmla="*/ 195118 w 88"/>
                <a:gd name="T29" fmla="*/ 52532 h 88"/>
                <a:gd name="T30" fmla="*/ 195118 w 88"/>
                <a:gd name="T31" fmla="*/ 52532 h 88"/>
                <a:gd name="T32" fmla="*/ 135081 w 88"/>
                <a:gd name="T33" fmla="*/ 3752 h 88"/>
                <a:gd name="T34" fmla="*/ 63788 w 88"/>
                <a:gd name="T35" fmla="*/ 45027 h 88"/>
                <a:gd name="T36" fmla="*/ 63788 w 88"/>
                <a:gd name="T37" fmla="*/ 45027 h 88"/>
                <a:gd name="T38" fmla="*/ 63788 w 88"/>
                <a:gd name="T39" fmla="*/ 11257 h 88"/>
                <a:gd name="T40" fmla="*/ 0 w 88"/>
                <a:gd name="T41" fmla="*/ 11257 h 88"/>
                <a:gd name="T42" fmla="*/ 0 w 88"/>
                <a:gd name="T43" fmla="*/ 330198 h 88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88" h="88">
                  <a:moveTo>
                    <a:pt x="0" y="88"/>
                  </a:moveTo>
                  <a:cubicBezTo>
                    <a:pt x="18" y="88"/>
                    <a:pt x="18" y="88"/>
                    <a:pt x="18" y="88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22"/>
                    <a:pt x="22" y="18"/>
                    <a:pt x="28" y="18"/>
                  </a:cubicBezTo>
                  <a:cubicBezTo>
                    <a:pt x="33" y="18"/>
                    <a:pt x="35" y="22"/>
                    <a:pt x="35" y="29"/>
                  </a:cubicBezTo>
                  <a:cubicBezTo>
                    <a:pt x="35" y="88"/>
                    <a:pt x="35" y="88"/>
                    <a:pt x="35" y="88"/>
                  </a:cubicBezTo>
                  <a:cubicBezTo>
                    <a:pt x="53" y="88"/>
                    <a:pt x="53" y="88"/>
                    <a:pt x="53" y="88"/>
                  </a:cubicBezTo>
                  <a:cubicBezTo>
                    <a:pt x="53" y="32"/>
                    <a:pt x="53" y="32"/>
                    <a:pt x="53" y="32"/>
                  </a:cubicBezTo>
                  <a:cubicBezTo>
                    <a:pt x="53" y="22"/>
                    <a:pt x="57" y="18"/>
                    <a:pt x="63" y="18"/>
                  </a:cubicBezTo>
                  <a:cubicBezTo>
                    <a:pt x="68" y="18"/>
                    <a:pt x="70" y="22"/>
                    <a:pt x="70" y="29"/>
                  </a:cubicBezTo>
                  <a:cubicBezTo>
                    <a:pt x="70" y="88"/>
                    <a:pt x="70" y="88"/>
                    <a:pt x="70" y="88"/>
                  </a:cubicBezTo>
                  <a:cubicBezTo>
                    <a:pt x="88" y="88"/>
                    <a:pt x="88" y="88"/>
                    <a:pt x="88" y="88"/>
                  </a:cubicBezTo>
                  <a:cubicBezTo>
                    <a:pt x="88" y="26"/>
                    <a:pt x="88" y="26"/>
                    <a:pt x="88" y="26"/>
                  </a:cubicBezTo>
                  <a:cubicBezTo>
                    <a:pt x="88" y="10"/>
                    <a:pt x="83" y="1"/>
                    <a:pt x="70" y="1"/>
                  </a:cubicBezTo>
                  <a:cubicBezTo>
                    <a:pt x="62" y="0"/>
                    <a:pt x="54" y="6"/>
                    <a:pt x="52" y="14"/>
                  </a:cubicBezTo>
                  <a:cubicBezTo>
                    <a:pt x="52" y="14"/>
                    <a:pt x="52" y="14"/>
                    <a:pt x="52" y="14"/>
                  </a:cubicBezTo>
                  <a:cubicBezTo>
                    <a:pt x="51" y="6"/>
                    <a:pt x="44" y="0"/>
                    <a:pt x="36" y="1"/>
                  </a:cubicBezTo>
                  <a:cubicBezTo>
                    <a:pt x="28" y="1"/>
                    <a:pt x="21" y="5"/>
                    <a:pt x="17" y="12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0" y="3"/>
                    <a:pt x="0" y="3"/>
                    <a:pt x="0" y="3"/>
                  </a:cubicBezTo>
                  <a:lnTo>
                    <a:pt x="0" y="8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1" name="Freeform 10"/>
            <p:cNvSpPr>
              <a:spLocks noEditPoints="1"/>
            </p:cNvSpPr>
            <p:nvPr userDrawn="1"/>
          </p:nvSpPr>
          <p:spPr bwMode="gray">
            <a:xfrm>
              <a:off x="10698133" y="2489191"/>
              <a:ext cx="209549" cy="431799"/>
            </a:xfrm>
            <a:custGeom>
              <a:avLst/>
              <a:gdLst>
                <a:gd name="T0" fmla="*/ 67355 w 56"/>
                <a:gd name="T1" fmla="*/ 168965 h 115"/>
                <a:gd name="T2" fmla="*/ 104775 w 56"/>
                <a:gd name="T3" fmla="*/ 63831 h 115"/>
                <a:gd name="T4" fmla="*/ 142194 w 56"/>
                <a:gd name="T5" fmla="*/ 168965 h 115"/>
                <a:gd name="T6" fmla="*/ 104775 w 56"/>
                <a:gd name="T7" fmla="*/ 274098 h 115"/>
                <a:gd name="T8" fmla="*/ 67355 w 56"/>
                <a:gd name="T9" fmla="*/ 168965 h 115"/>
                <a:gd name="T10" fmla="*/ 0 w 56"/>
                <a:gd name="T11" fmla="*/ 431799 h 115"/>
                <a:gd name="T12" fmla="*/ 67355 w 56"/>
                <a:gd name="T13" fmla="*/ 431799 h 115"/>
                <a:gd name="T14" fmla="*/ 67355 w 56"/>
                <a:gd name="T15" fmla="*/ 296627 h 115"/>
                <a:gd name="T16" fmla="*/ 71097 w 56"/>
                <a:gd name="T17" fmla="*/ 296627 h 115"/>
                <a:gd name="T18" fmla="*/ 127226 w 56"/>
                <a:gd name="T19" fmla="*/ 334175 h 115"/>
                <a:gd name="T20" fmla="*/ 209549 w 56"/>
                <a:gd name="T21" fmla="*/ 168965 h 115"/>
                <a:gd name="T22" fmla="*/ 127226 w 56"/>
                <a:gd name="T23" fmla="*/ 0 h 115"/>
                <a:gd name="T24" fmla="*/ 67355 w 56"/>
                <a:gd name="T25" fmla="*/ 41303 h 115"/>
                <a:gd name="T26" fmla="*/ 67355 w 56"/>
                <a:gd name="T27" fmla="*/ 41303 h 115"/>
                <a:gd name="T28" fmla="*/ 67355 w 56"/>
                <a:gd name="T29" fmla="*/ 7510 h 115"/>
                <a:gd name="T30" fmla="*/ 0 w 56"/>
                <a:gd name="T31" fmla="*/ 7510 h 115"/>
                <a:gd name="T32" fmla="*/ 0 w 56"/>
                <a:gd name="T33" fmla="*/ 431799 h 11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56" h="115">
                  <a:moveTo>
                    <a:pt x="18" y="45"/>
                  </a:moveTo>
                  <a:cubicBezTo>
                    <a:pt x="18" y="26"/>
                    <a:pt x="20" y="17"/>
                    <a:pt x="28" y="17"/>
                  </a:cubicBezTo>
                  <a:cubicBezTo>
                    <a:pt x="36" y="17"/>
                    <a:pt x="38" y="26"/>
                    <a:pt x="38" y="45"/>
                  </a:cubicBezTo>
                  <a:cubicBezTo>
                    <a:pt x="38" y="63"/>
                    <a:pt x="36" y="73"/>
                    <a:pt x="28" y="73"/>
                  </a:cubicBezTo>
                  <a:cubicBezTo>
                    <a:pt x="20" y="73"/>
                    <a:pt x="18" y="63"/>
                    <a:pt x="18" y="45"/>
                  </a:cubicBezTo>
                  <a:close/>
                  <a:moveTo>
                    <a:pt x="0" y="115"/>
                  </a:moveTo>
                  <a:cubicBezTo>
                    <a:pt x="18" y="115"/>
                    <a:pt x="18" y="115"/>
                    <a:pt x="18" y="115"/>
                  </a:cubicBezTo>
                  <a:cubicBezTo>
                    <a:pt x="18" y="79"/>
                    <a:pt x="18" y="79"/>
                    <a:pt x="18" y="79"/>
                  </a:cubicBezTo>
                  <a:cubicBezTo>
                    <a:pt x="19" y="79"/>
                    <a:pt x="19" y="79"/>
                    <a:pt x="19" y="79"/>
                  </a:cubicBezTo>
                  <a:cubicBezTo>
                    <a:pt x="23" y="86"/>
                    <a:pt x="27" y="89"/>
                    <a:pt x="34" y="89"/>
                  </a:cubicBezTo>
                  <a:cubicBezTo>
                    <a:pt x="49" y="89"/>
                    <a:pt x="56" y="76"/>
                    <a:pt x="56" y="45"/>
                  </a:cubicBezTo>
                  <a:cubicBezTo>
                    <a:pt x="56" y="13"/>
                    <a:pt x="49" y="0"/>
                    <a:pt x="34" y="0"/>
                  </a:cubicBezTo>
                  <a:cubicBezTo>
                    <a:pt x="27" y="0"/>
                    <a:pt x="22" y="3"/>
                    <a:pt x="18" y="11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0" y="2"/>
                    <a:pt x="0" y="2"/>
                    <a:pt x="0" y="2"/>
                  </a:cubicBezTo>
                  <a:lnTo>
                    <a:pt x="0" y="115"/>
                  </a:lnTo>
                  <a:close/>
                </a:path>
              </a:pathLst>
            </a:custGeom>
            <a:solidFill>
              <a:srgbClr val="007C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2" name="Freeform 11"/>
            <p:cNvSpPr>
              <a:spLocks noEditPoints="1"/>
            </p:cNvSpPr>
            <p:nvPr userDrawn="1"/>
          </p:nvSpPr>
          <p:spPr bwMode="gray">
            <a:xfrm>
              <a:off x="10931495" y="2489191"/>
              <a:ext cx="206375" cy="333374"/>
            </a:xfrm>
            <a:custGeom>
              <a:avLst/>
              <a:gdLst>
                <a:gd name="T0" fmla="*/ 67541 w 55"/>
                <a:gd name="T1" fmla="*/ 104882 h 89"/>
                <a:gd name="T2" fmla="*/ 67541 w 55"/>
                <a:gd name="T3" fmla="*/ 97390 h 89"/>
                <a:gd name="T4" fmla="*/ 101311 w 55"/>
                <a:gd name="T5" fmla="*/ 56187 h 89"/>
                <a:gd name="T6" fmla="*/ 131330 w 55"/>
                <a:gd name="T7" fmla="*/ 93644 h 89"/>
                <a:gd name="T8" fmla="*/ 105064 w 55"/>
                <a:gd name="T9" fmla="*/ 131102 h 89"/>
                <a:gd name="T10" fmla="*/ 67541 w 55"/>
                <a:gd name="T11" fmla="*/ 142339 h 89"/>
                <a:gd name="T12" fmla="*/ 0 w 55"/>
                <a:gd name="T13" fmla="*/ 243475 h 89"/>
                <a:gd name="T14" fmla="*/ 63789 w 55"/>
                <a:gd name="T15" fmla="*/ 333374 h 89"/>
                <a:gd name="T16" fmla="*/ 131330 w 55"/>
                <a:gd name="T17" fmla="*/ 292170 h 89"/>
                <a:gd name="T18" fmla="*/ 131330 w 55"/>
                <a:gd name="T19" fmla="*/ 292170 h 89"/>
                <a:gd name="T20" fmla="*/ 142586 w 55"/>
                <a:gd name="T21" fmla="*/ 325882 h 89"/>
                <a:gd name="T22" fmla="*/ 206375 w 55"/>
                <a:gd name="T23" fmla="*/ 325882 h 89"/>
                <a:gd name="T24" fmla="*/ 198870 w 55"/>
                <a:gd name="T25" fmla="*/ 265950 h 89"/>
                <a:gd name="T26" fmla="*/ 198870 w 55"/>
                <a:gd name="T27" fmla="*/ 97390 h 89"/>
                <a:gd name="T28" fmla="*/ 101311 w 55"/>
                <a:gd name="T29" fmla="*/ 0 h 89"/>
                <a:gd name="T30" fmla="*/ 7505 w 55"/>
                <a:gd name="T31" fmla="*/ 97390 h 89"/>
                <a:gd name="T32" fmla="*/ 7505 w 55"/>
                <a:gd name="T33" fmla="*/ 104882 h 89"/>
                <a:gd name="T34" fmla="*/ 67541 w 55"/>
                <a:gd name="T35" fmla="*/ 104882 h 89"/>
                <a:gd name="T36" fmla="*/ 131330 w 55"/>
                <a:gd name="T37" fmla="*/ 228492 h 89"/>
                <a:gd name="T38" fmla="*/ 93807 w 55"/>
                <a:gd name="T39" fmla="*/ 280933 h 89"/>
                <a:gd name="T40" fmla="*/ 90055 w 55"/>
                <a:gd name="T41" fmla="*/ 280933 h 89"/>
                <a:gd name="T42" fmla="*/ 63789 w 55"/>
                <a:gd name="T43" fmla="*/ 235984 h 89"/>
                <a:gd name="T44" fmla="*/ 105064 w 55"/>
                <a:gd name="T45" fmla="*/ 183543 h 89"/>
                <a:gd name="T46" fmla="*/ 135082 w 55"/>
                <a:gd name="T47" fmla="*/ 168560 h 89"/>
                <a:gd name="T48" fmla="*/ 135082 w 55"/>
                <a:gd name="T49" fmla="*/ 228492 h 89"/>
                <a:gd name="T50" fmla="*/ 131330 w 55"/>
                <a:gd name="T51" fmla="*/ 228492 h 8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55" h="89">
                  <a:moveTo>
                    <a:pt x="18" y="28"/>
                  </a:moveTo>
                  <a:cubicBezTo>
                    <a:pt x="18" y="26"/>
                    <a:pt x="18" y="26"/>
                    <a:pt x="18" y="26"/>
                  </a:cubicBezTo>
                  <a:cubicBezTo>
                    <a:pt x="18" y="19"/>
                    <a:pt x="21" y="15"/>
                    <a:pt x="27" y="15"/>
                  </a:cubicBezTo>
                  <a:cubicBezTo>
                    <a:pt x="32" y="15"/>
                    <a:pt x="35" y="19"/>
                    <a:pt x="35" y="25"/>
                  </a:cubicBezTo>
                  <a:cubicBezTo>
                    <a:pt x="36" y="30"/>
                    <a:pt x="33" y="34"/>
                    <a:pt x="28" y="35"/>
                  </a:cubicBezTo>
                  <a:cubicBezTo>
                    <a:pt x="18" y="38"/>
                    <a:pt x="18" y="38"/>
                    <a:pt x="18" y="38"/>
                  </a:cubicBezTo>
                  <a:cubicBezTo>
                    <a:pt x="5" y="42"/>
                    <a:pt x="0" y="49"/>
                    <a:pt x="0" y="65"/>
                  </a:cubicBezTo>
                  <a:cubicBezTo>
                    <a:pt x="0" y="76"/>
                    <a:pt x="4" y="89"/>
                    <a:pt x="17" y="89"/>
                  </a:cubicBezTo>
                  <a:cubicBezTo>
                    <a:pt x="26" y="89"/>
                    <a:pt x="31" y="87"/>
                    <a:pt x="35" y="78"/>
                  </a:cubicBezTo>
                  <a:cubicBezTo>
                    <a:pt x="35" y="78"/>
                    <a:pt x="35" y="78"/>
                    <a:pt x="35" y="78"/>
                  </a:cubicBezTo>
                  <a:cubicBezTo>
                    <a:pt x="36" y="81"/>
                    <a:pt x="37" y="84"/>
                    <a:pt x="38" y="87"/>
                  </a:cubicBezTo>
                  <a:cubicBezTo>
                    <a:pt x="55" y="87"/>
                    <a:pt x="55" y="87"/>
                    <a:pt x="55" y="87"/>
                  </a:cubicBezTo>
                  <a:cubicBezTo>
                    <a:pt x="53" y="82"/>
                    <a:pt x="53" y="76"/>
                    <a:pt x="53" y="71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53" y="11"/>
                    <a:pt x="49" y="0"/>
                    <a:pt x="27" y="0"/>
                  </a:cubicBezTo>
                  <a:cubicBezTo>
                    <a:pt x="13" y="0"/>
                    <a:pt x="2" y="6"/>
                    <a:pt x="2" y="26"/>
                  </a:cubicBezTo>
                  <a:cubicBezTo>
                    <a:pt x="2" y="28"/>
                    <a:pt x="2" y="28"/>
                    <a:pt x="2" y="28"/>
                  </a:cubicBezTo>
                  <a:lnTo>
                    <a:pt x="18" y="28"/>
                  </a:lnTo>
                  <a:close/>
                  <a:moveTo>
                    <a:pt x="35" y="61"/>
                  </a:moveTo>
                  <a:cubicBezTo>
                    <a:pt x="36" y="68"/>
                    <a:pt x="31" y="74"/>
                    <a:pt x="25" y="75"/>
                  </a:cubicBezTo>
                  <a:cubicBezTo>
                    <a:pt x="24" y="75"/>
                    <a:pt x="24" y="75"/>
                    <a:pt x="24" y="75"/>
                  </a:cubicBezTo>
                  <a:cubicBezTo>
                    <a:pt x="19" y="75"/>
                    <a:pt x="17" y="69"/>
                    <a:pt x="17" y="63"/>
                  </a:cubicBezTo>
                  <a:cubicBezTo>
                    <a:pt x="16" y="56"/>
                    <a:pt x="21" y="50"/>
                    <a:pt x="28" y="49"/>
                  </a:cubicBezTo>
                  <a:cubicBezTo>
                    <a:pt x="30" y="48"/>
                    <a:pt x="33" y="46"/>
                    <a:pt x="36" y="45"/>
                  </a:cubicBezTo>
                  <a:cubicBezTo>
                    <a:pt x="36" y="61"/>
                    <a:pt x="36" y="61"/>
                    <a:pt x="36" y="61"/>
                  </a:cubicBezTo>
                  <a:lnTo>
                    <a:pt x="35" y="61"/>
                  </a:lnTo>
                  <a:close/>
                </a:path>
              </a:pathLst>
            </a:custGeom>
            <a:solidFill>
              <a:srgbClr val="007C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3" name="Freeform 12"/>
            <p:cNvSpPr>
              <a:spLocks noEditPoints="1"/>
            </p:cNvSpPr>
            <p:nvPr userDrawn="1"/>
          </p:nvSpPr>
          <p:spPr bwMode="gray">
            <a:xfrm>
              <a:off x="11166444" y="2489191"/>
              <a:ext cx="211137" cy="431799"/>
            </a:xfrm>
            <a:custGeom>
              <a:avLst/>
              <a:gdLst>
                <a:gd name="T0" fmla="*/ 71636 w 56"/>
                <a:gd name="T1" fmla="*/ 168965 h 115"/>
                <a:gd name="T2" fmla="*/ 105569 w 56"/>
                <a:gd name="T3" fmla="*/ 63831 h 115"/>
                <a:gd name="T4" fmla="*/ 143272 w 56"/>
                <a:gd name="T5" fmla="*/ 168965 h 115"/>
                <a:gd name="T6" fmla="*/ 105569 w 56"/>
                <a:gd name="T7" fmla="*/ 274098 h 115"/>
                <a:gd name="T8" fmla="*/ 71636 w 56"/>
                <a:gd name="T9" fmla="*/ 168965 h 115"/>
                <a:gd name="T10" fmla="*/ 0 w 56"/>
                <a:gd name="T11" fmla="*/ 431799 h 115"/>
                <a:gd name="T12" fmla="*/ 71636 w 56"/>
                <a:gd name="T13" fmla="*/ 431799 h 115"/>
                <a:gd name="T14" fmla="*/ 71636 w 56"/>
                <a:gd name="T15" fmla="*/ 296627 h 115"/>
                <a:gd name="T16" fmla="*/ 71636 w 56"/>
                <a:gd name="T17" fmla="*/ 296627 h 115"/>
                <a:gd name="T18" fmla="*/ 128190 w 56"/>
                <a:gd name="T19" fmla="*/ 334175 h 115"/>
                <a:gd name="T20" fmla="*/ 211137 w 56"/>
                <a:gd name="T21" fmla="*/ 168965 h 115"/>
                <a:gd name="T22" fmla="*/ 128190 w 56"/>
                <a:gd name="T23" fmla="*/ 0 h 115"/>
                <a:gd name="T24" fmla="*/ 67865 w 56"/>
                <a:gd name="T25" fmla="*/ 41303 h 115"/>
                <a:gd name="T26" fmla="*/ 67865 w 56"/>
                <a:gd name="T27" fmla="*/ 41303 h 115"/>
                <a:gd name="T28" fmla="*/ 67865 w 56"/>
                <a:gd name="T29" fmla="*/ 7510 h 115"/>
                <a:gd name="T30" fmla="*/ 0 w 56"/>
                <a:gd name="T31" fmla="*/ 7510 h 115"/>
                <a:gd name="T32" fmla="*/ 0 w 56"/>
                <a:gd name="T33" fmla="*/ 431799 h 11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56" h="115">
                  <a:moveTo>
                    <a:pt x="19" y="45"/>
                  </a:moveTo>
                  <a:cubicBezTo>
                    <a:pt x="19" y="26"/>
                    <a:pt x="20" y="17"/>
                    <a:pt x="28" y="17"/>
                  </a:cubicBezTo>
                  <a:cubicBezTo>
                    <a:pt x="37" y="17"/>
                    <a:pt x="38" y="26"/>
                    <a:pt x="38" y="45"/>
                  </a:cubicBezTo>
                  <a:cubicBezTo>
                    <a:pt x="38" y="63"/>
                    <a:pt x="36" y="73"/>
                    <a:pt x="28" y="73"/>
                  </a:cubicBezTo>
                  <a:cubicBezTo>
                    <a:pt x="20" y="73"/>
                    <a:pt x="19" y="63"/>
                    <a:pt x="19" y="45"/>
                  </a:cubicBezTo>
                  <a:close/>
                  <a:moveTo>
                    <a:pt x="0" y="115"/>
                  </a:moveTo>
                  <a:cubicBezTo>
                    <a:pt x="19" y="115"/>
                    <a:pt x="19" y="115"/>
                    <a:pt x="19" y="115"/>
                  </a:cubicBezTo>
                  <a:cubicBezTo>
                    <a:pt x="19" y="79"/>
                    <a:pt x="19" y="79"/>
                    <a:pt x="19" y="79"/>
                  </a:cubicBezTo>
                  <a:cubicBezTo>
                    <a:pt x="19" y="79"/>
                    <a:pt x="19" y="79"/>
                    <a:pt x="19" y="79"/>
                  </a:cubicBezTo>
                  <a:cubicBezTo>
                    <a:pt x="22" y="85"/>
                    <a:pt x="28" y="89"/>
                    <a:pt x="34" y="89"/>
                  </a:cubicBezTo>
                  <a:cubicBezTo>
                    <a:pt x="49" y="89"/>
                    <a:pt x="56" y="76"/>
                    <a:pt x="56" y="45"/>
                  </a:cubicBezTo>
                  <a:cubicBezTo>
                    <a:pt x="56" y="13"/>
                    <a:pt x="49" y="0"/>
                    <a:pt x="34" y="0"/>
                  </a:cubicBezTo>
                  <a:cubicBezTo>
                    <a:pt x="27" y="0"/>
                    <a:pt x="22" y="3"/>
                    <a:pt x="18" y="11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15"/>
                    <a:pt x="0" y="115"/>
                    <a:pt x="0" y="115"/>
                  </a:cubicBezTo>
                  <a:close/>
                </a:path>
              </a:pathLst>
            </a:custGeom>
            <a:solidFill>
              <a:srgbClr val="007C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4" name="Freeform 13"/>
            <p:cNvSpPr>
              <a:spLocks/>
            </p:cNvSpPr>
            <p:nvPr userDrawn="1"/>
          </p:nvSpPr>
          <p:spPr bwMode="gray">
            <a:xfrm>
              <a:off x="11396631" y="2489191"/>
              <a:ext cx="198438" cy="333374"/>
            </a:xfrm>
            <a:custGeom>
              <a:avLst/>
              <a:gdLst>
                <a:gd name="T0" fmla="*/ 0 w 53"/>
                <a:gd name="T1" fmla="*/ 221001 h 89"/>
                <a:gd name="T2" fmla="*/ 0 w 53"/>
                <a:gd name="T3" fmla="*/ 232238 h 89"/>
                <a:gd name="T4" fmla="*/ 101091 w 53"/>
                <a:gd name="T5" fmla="*/ 333374 h 89"/>
                <a:gd name="T6" fmla="*/ 198438 w 53"/>
                <a:gd name="T7" fmla="*/ 235984 h 89"/>
                <a:gd name="T8" fmla="*/ 138532 w 53"/>
                <a:gd name="T9" fmla="*/ 142339 h 89"/>
                <a:gd name="T10" fmla="*/ 97347 w 53"/>
                <a:gd name="T11" fmla="*/ 127356 h 89"/>
                <a:gd name="T12" fmla="*/ 67394 w 53"/>
                <a:gd name="T13" fmla="*/ 89899 h 89"/>
                <a:gd name="T14" fmla="*/ 97347 w 53"/>
                <a:gd name="T15" fmla="*/ 56187 h 89"/>
                <a:gd name="T16" fmla="*/ 101091 w 53"/>
                <a:gd name="T17" fmla="*/ 56187 h 89"/>
                <a:gd name="T18" fmla="*/ 131044 w 53"/>
                <a:gd name="T19" fmla="*/ 104882 h 89"/>
                <a:gd name="T20" fmla="*/ 190950 w 53"/>
                <a:gd name="T21" fmla="*/ 104882 h 89"/>
                <a:gd name="T22" fmla="*/ 190950 w 53"/>
                <a:gd name="T23" fmla="*/ 89899 h 89"/>
                <a:gd name="T24" fmla="*/ 101091 w 53"/>
                <a:gd name="T25" fmla="*/ 0 h 89"/>
                <a:gd name="T26" fmla="*/ 3744 w 53"/>
                <a:gd name="T27" fmla="*/ 93644 h 89"/>
                <a:gd name="T28" fmla="*/ 59906 w 53"/>
                <a:gd name="T29" fmla="*/ 183543 h 89"/>
                <a:gd name="T30" fmla="*/ 108579 w 53"/>
                <a:gd name="T31" fmla="*/ 206018 h 89"/>
                <a:gd name="T32" fmla="*/ 134788 w 53"/>
                <a:gd name="T33" fmla="*/ 239730 h 89"/>
                <a:gd name="T34" fmla="*/ 97347 w 53"/>
                <a:gd name="T35" fmla="*/ 280933 h 89"/>
                <a:gd name="T36" fmla="*/ 63650 w 53"/>
                <a:gd name="T37" fmla="*/ 232238 h 89"/>
                <a:gd name="T38" fmla="*/ 63650 w 53"/>
                <a:gd name="T39" fmla="*/ 221001 h 89"/>
                <a:gd name="T40" fmla="*/ 0 w 53"/>
                <a:gd name="T41" fmla="*/ 221001 h 89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53" h="89">
                  <a:moveTo>
                    <a:pt x="0" y="59"/>
                  </a:moveTo>
                  <a:cubicBezTo>
                    <a:pt x="0" y="62"/>
                    <a:pt x="0" y="62"/>
                    <a:pt x="0" y="62"/>
                  </a:cubicBezTo>
                  <a:cubicBezTo>
                    <a:pt x="0" y="79"/>
                    <a:pt x="6" y="89"/>
                    <a:pt x="27" y="89"/>
                  </a:cubicBezTo>
                  <a:cubicBezTo>
                    <a:pt x="42" y="89"/>
                    <a:pt x="53" y="81"/>
                    <a:pt x="53" y="63"/>
                  </a:cubicBezTo>
                  <a:cubicBezTo>
                    <a:pt x="53" y="50"/>
                    <a:pt x="49" y="43"/>
                    <a:pt x="37" y="38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0" y="31"/>
                    <a:pt x="18" y="28"/>
                    <a:pt x="18" y="24"/>
                  </a:cubicBezTo>
                  <a:cubicBezTo>
                    <a:pt x="18" y="19"/>
                    <a:pt x="21" y="15"/>
                    <a:pt x="26" y="15"/>
                  </a:cubicBezTo>
                  <a:cubicBezTo>
                    <a:pt x="26" y="15"/>
                    <a:pt x="27" y="15"/>
                    <a:pt x="27" y="15"/>
                  </a:cubicBezTo>
                  <a:cubicBezTo>
                    <a:pt x="33" y="15"/>
                    <a:pt x="35" y="19"/>
                    <a:pt x="35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4"/>
                    <a:pt x="51" y="24"/>
                    <a:pt x="51" y="24"/>
                  </a:cubicBezTo>
                  <a:cubicBezTo>
                    <a:pt x="51" y="9"/>
                    <a:pt x="43" y="0"/>
                    <a:pt x="27" y="0"/>
                  </a:cubicBezTo>
                  <a:cubicBezTo>
                    <a:pt x="8" y="0"/>
                    <a:pt x="1" y="11"/>
                    <a:pt x="1" y="25"/>
                  </a:cubicBezTo>
                  <a:cubicBezTo>
                    <a:pt x="0" y="36"/>
                    <a:pt x="6" y="46"/>
                    <a:pt x="16" y="49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33" y="56"/>
                    <a:pt x="36" y="60"/>
                    <a:pt x="36" y="64"/>
                  </a:cubicBezTo>
                  <a:cubicBezTo>
                    <a:pt x="36" y="71"/>
                    <a:pt x="32" y="75"/>
                    <a:pt x="26" y="75"/>
                  </a:cubicBezTo>
                  <a:cubicBezTo>
                    <a:pt x="20" y="75"/>
                    <a:pt x="17" y="70"/>
                    <a:pt x="17" y="62"/>
                  </a:cubicBezTo>
                  <a:cubicBezTo>
                    <a:pt x="17" y="59"/>
                    <a:pt x="17" y="59"/>
                    <a:pt x="17" y="59"/>
                  </a:cubicBezTo>
                  <a:lnTo>
                    <a:pt x="0" y="59"/>
                  </a:lnTo>
                  <a:close/>
                </a:path>
              </a:pathLst>
            </a:custGeom>
            <a:solidFill>
              <a:srgbClr val="007C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5" name="Freeform 14"/>
            <p:cNvSpPr>
              <a:spLocks/>
            </p:cNvSpPr>
            <p:nvPr userDrawn="1"/>
          </p:nvSpPr>
          <p:spPr bwMode="gray">
            <a:xfrm>
              <a:off x="11598243" y="2406642"/>
              <a:ext cx="146050" cy="412749"/>
            </a:xfrm>
            <a:custGeom>
              <a:avLst/>
              <a:gdLst>
                <a:gd name="T0" fmla="*/ 37449 w 39"/>
                <a:gd name="T1" fmla="*/ 90054 h 110"/>
                <a:gd name="T2" fmla="*/ 0 w 39"/>
                <a:gd name="T3" fmla="*/ 90054 h 110"/>
                <a:gd name="T4" fmla="*/ 0 w 39"/>
                <a:gd name="T5" fmla="*/ 146338 h 110"/>
                <a:gd name="T6" fmla="*/ 37449 w 39"/>
                <a:gd name="T7" fmla="*/ 146338 h 110"/>
                <a:gd name="T8" fmla="*/ 37449 w 39"/>
                <a:gd name="T9" fmla="*/ 330199 h 110"/>
                <a:gd name="T10" fmla="*/ 101112 w 39"/>
                <a:gd name="T11" fmla="*/ 412749 h 110"/>
                <a:gd name="T12" fmla="*/ 146050 w 39"/>
                <a:gd name="T13" fmla="*/ 408997 h 110"/>
                <a:gd name="T14" fmla="*/ 146050 w 39"/>
                <a:gd name="T15" fmla="*/ 352713 h 110"/>
                <a:gd name="T16" fmla="*/ 131071 w 39"/>
                <a:gd name="T17" fmla="*/ 352713 h 110"/>
                <a:gd name="T18" fmla="*/ 104856 w 39"/>
                <a:gd name="T19" fmla="*/ 318942 h 110"/>
                <a:gd name="T20" fmla="*/ 104856 w 39"/>
                <a:gd name="T21" fmla="*/ 146338 h 110"/>
                <a:gd name="T22" fmla="*/ 146050 w 39"/>
                <a:gd name="T23" fmla="*/ 146338 h 110"/>
                <a:gd name="T24" fmla="*/ 146050 w 39"/>
                <a:gd name="T25" fmla="*/ 90054 h 110"/>
                <a:gd name="T26" fmla="*/ 104856 w 39"/>
                <a:gd name="T27" fmla="*/ 90054 h 110"/>
                <a:gd name="T28" fmla="*/ 104856 w 39"/>
                <a:gd name="T29" fmla="*/ 0 h 110"/>
                <a:gd name="T30" fmla="*/ 37449 w 39"/>
                <a:gd name="T31" fmla="*/ 0 h 110"/>
                <a:gd name="T32" fmla="*/ 37449 w 39"/>
                <a:gd name="T33" fmla="*/ 90054 h 110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39" h="110">
                  <a:moveTo>
                    <a:pt x="10" y="24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88"/>
                    <a:pt x="10" y="88"/>
                    <a:pt x="10" y="88"/>
                  </a:cubicBezTo>
                  <a:cubicBezTo>
                    <a:pt x="10" y="105"/>
                    <a:pt x="12" y="110"/>
                    <a:pt x="27" y="110"/>
                  </a:cubicBezTo>
                  <a:cubicBezTo>
                    <a:pt x="31" y="110"/>
                    <a:pt x="35" y="110"/>
                    <a:pt x="39" y="109"/>
                  </a:cubicBezTo>
                  <a:cubicBezTo>
                    <a:pt x="39" y="94"/>
                    <a:pt x="39" y="94"/>
                    <a:pt x="39" y="94"/>
                  </a:cubicBezTo>
                  <a:cubicBezTo>
                    <a:pt x="37" y="94"/>
                    <a:pt x="36" y="94"/>
                    <a:pt x="35" y="94"/>
                  </a:cubicBezTo>
                  <a:cubicBezTo>
                    <a:pt x="29" y="94"/>
                    <a:pt x="28" y="92"/>
                    <a:pt x="28" y="85"/>
                  </a:cubicBezTo>
                  <a:cubicBezTo>
                    <a:pt x="28" y="39"/>
                    <a:pt x="28" y="39"/>
                    <a:pt x="28" y="39"/>
                  </a:cubicBezTo>
                  <a:cubicBezTo>
                    <a:pt x="39" y="39"/>
                    <a:pt x="39" y="39"/>
                    <a:pt x="39" y="39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24"/>
                    <a:pt x="10" y="24"/>
                    <a:pt x="10" y="24"/>
                  </a:cubicBezTo>
                  <a:close/>
                </a:path>
              </a:pathLst>
            </a:custGeom>
            <a:solidFill>
              <a:srgbClr val="007C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6" name="Rectangle 15"/>
            <p:cNvSpPr>
              <a:spLocks noChangeArrowheads="1"/>
            </p:cNvSpPr>
            <p:nvPr userDrawn="1"/>
          </p:nvSpPr>
          <p:spPr bwMode="gray">
            <a:xfrm>
              <a:off x="9299549" y="3449630"/>
              <a:ext cx="2978142" cy="531810"/>
            </a:xfrm>
            <a:prstGeom prst="rect">
              <a:avLst/>
            </a:prstGeom>
            <a:solidFill>
              <a:srgbClr val="007C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endParaRPr lang="de-DE" altLang="de-DE" sz="1800"/>
            </a:p>
          </p:txBody>
        </p:sp>
        <p:sp>
          <p:nvSpPr>
            <p:cNvPr id="17" name="Freeform 16"/>
            <p:cNvSpPr>
              <a:spLocks/>
            </p:cNvSpPr>
            <p:nvPr userDrawn="1"/>
          </p:nvSpPr>
          <p:spPr bwMode="gray">
            <a:xfrm>
              <a:off x="9850407" y="3644891"/>
              <a:ext cx="76200" cy="127000"/>
            </a:xfrm>
            <a:custGeom>
              <a:avLst/>
              <a:gdLst>
                <a:gd name="T0" fmla="*/ 76200 w 20"/>
                <a:gd name="T1" fmla="*/ 127000 h 34"/>
                <a:gd name="T2" fmla="*/ 64770 w 20"/>
                <a:gd name="T3" fmla="*/ 127000 h 34"/>
                <a:gd name="T4" fmla="*/ 53340 w 20"/>
                <a:gd name="T5" fmla="*/ 127000 h 34"/>
                <a:gd name="T6" fmla="*/ 34290 w 20"/>
                <a:gd name="T7" fmla="*/ 123265 h 34"/>
                <a:gd name="T8" fmla="*/ 22860 w 20"/>
                <a:gd name="T9" fmla="*/ 112059 h 34"/>
                <a:gd name="T10" fmla="*/ 19050 w 20"/>
                <a:gd name="T11" fmla="*/ 97118 h 34"/>
                <a:gd name="T12" fmla="*/ 19050 w 20"/>
                <a:gd name="T13" fmla="*/ 44824 h 34"/>
                <a:gd name="T14" fmla="*/ 0 w 20"/>
                <a:gd name="T15" fmla="*/ 44824 h 34"/>
                <a:gd name="T16" fmla="*/ 0 w 20"/>
                <a:gd name="T17" fmla="*/ 26147 h 34"/>
                <a:gd name="T18" fmla="*/ 19050 w 20"/>
                <a:gd name="T19" fmla="*/ 26147 h 34"/>
                <a:gd name="T20" fmla="*/ 19050 w 20"/>
                <a:gd name="T21" fmla="*/ 0 h 34"/>
                <a:gd name="T22" fmla="*/ 41910 w 20"/>
                <a:gd name="T23" fmla="*/ 0 h 34"/>
                <a:gd name="T24" fmla="*/ 41910 w 20"/>
                <a:gd name="T25" fmla="*/ 26147 h 34"/>
                <a:gd name="T26" fmla="*/ 72390 w 20"/>
                <a:gd name="T27" fmla="*/ 26147 h 34"/>
                <a:gd name="T28" fmla="*/ 72390 w 20"/>
                <a:gd name="T29" fmla="*/ 44824 h 34"/>
                <a:gd name="T30" fmla="*/ 41910 w 20"/>
                <a:gd name="T31" fmla="*/ 44824 h 34"/>
                <a:gd name="T32" fmla="*/ 41910 w 20"/>
                <a:gd name="T33" fmla="*/ 93382 h 34"/>
                <a:gd name="T34" fmla="*/ 45720 w 20"/>
                <a:gd name="T35" fmla="*/ 100853 h 34"/>
                <a:gd name="T36" fmla="*/ 57150 w 20"/>
                <a:gd name="T37" fmla="*/ 108324 h 34"/>
                <a:gd name="T38" fmla="*/ 64770 w 20"/>
                <a:gd name="T39" fmla="*/ 108324 h 34"/>
                <a:gd name="T40" fmla="*/ 72390 w 20"/>
                <a:gd name="T41" fmla="*/ 104588 h 34"/>
                <a:gd name="T42" fmla="*/ 76200 w 20"/>
                <a:gd name="T43" fmla="*/ 127000 h 34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20" h="34">
                  <a:moveTo>
                    <a:pt x="20" y="34"/>
                  </a:moveTo>
                  <a:cubicBezTo>
                    <a:pt x="19" y="34"/>
                    <a:pt x="18" y="34"/>
                    <a:pt x="17" y="34"/>
                  </a:cubicBezTo>
                  <a:cubicBezTo>
                    <a:pt x="16" y="34"/>
                    <a:pt x="15" y="34"/>
                    <a:pt x="14" y="34"/>
                  </a:cubicBezTo>
                  <a:cubicBezTo>
                    <a:pt x="12" y="34"/>
                    <a:pt x="10" y="34"/>
                    <a:pt x="9" y="33"/>
                  </a:cubicBezTo>
                  <a:cubicBezTo>
                    <a:pt x="7" y="32"/>
                    <a:pt x="6" y="31"/>
                    <a:pt x="6" y="30"/>
                  </a:cubicBezTo>
                  <a:cubicBezTo>
                    <a:pt x="5" y="29"/>
                    <a:pt x="5" y="27"/>
                    <a:pt x="5" y="26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12"/>
                    <a:pt x="19" y="12"/>
                    <a:pt x="19" y="12"/>
                  </a:cubicBezTo>
                  <a:cubicBezTo>
                    <a:pt x="11" y="12"/>
                    <a:pt x="11" y="12"/>
                    <a:pt x="11" y="12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6"/>
                    <a:pt x="12" y="27"/>
                    <a:pt x="12" y="27"/>
                  </a:cubicBezTo>
                  <a:cubicBezTo>
                    <a:pt x="13" y="28"/>
                    <a:pt x="14" y="29"/>
                    <a:pt x="15" y="29"/>
                  </a:cubicBezTo>
                  <a:cubicBezTo>
                    <a:pt x="16" y="29"/>
                    <a:pt x="17" y="29"/>
                    <a:pt x="17" y="29"/>
                  </a:cubicBezTo>
                  <a:cubicBezTo>
                    <a:pt x="18" y="28"/>
                    <a:pt x="19" y="28"/>
                    <a:pt x="19" y="28"/>
                  </a:cubicBezTo>
                  <a:lnTo>
                    <a:pt x="20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8" name="Freeform 17"/>
            <p:cNvSpPr>
              <a:spLocks/>
            </p:cNvSpPr>
            <p:nvPr userDrawn="1"/>
          </p:nvSpPr>
          <p:spPr bwMode="gray">
            <a:xfrm>
              <a:off x="9944072" y="3621076"/>
              <a:ext cx="90487" cy="150812"/>
            </a:xfrm>
            <a:custGeom>
              <a:avLst/>
              <a:gdLst>
                <a:gd name="T0" fmla="*/ 22622 w 24"/>
                <a:gd name="T1" fmla="*/ 41473 h 40"/>
                <a:gd name="T2" fmla="*/ 22622 w 24"/>
                <a:gd name="T3" fmla="*/ 52784 h 40"/>
                <a:gd name="T4" fmla="*/ 22622 w 24"/>
                <a:gd name="T5" fmla="*/ 64095 h 40"/>
                <a:gd name="T6" fmla="*/ 22622 w 24"/>
                <a:gd name="T7" fmla="*/ 64095 h 40"/>
                <a:gd name="T8" fmla="*/ 30162 w 24"/>
                <a:gd name="T9" fmla="*/ 56555 h 40"/>
                <a:gd name="T10" fmla="*/ 37703 w 24"/>
                <a:gd name="T11" fmla="*/ 52784 h 40"/>
                <a:gd name="T12" fmla="*/ 45244 w 24"/>
                <a:gd name="T13" fmla="*/ 49014 h 40"/>
                <a:gd name="T14" fmla="*/ 56554 w 24"/>
                <a:gd name="T15" fmla="*/ 49014 h 40"/>
                <a:gd name="T16" fmla="*/ 64095 w 24"/>
                <a:gd name="T17" fmla="*/ 49014 h 40"/>
                <a:gd name="T18" fmla="*/ 71636 w 24"/>
                <a:gd name="T19" fmla="*/ 52784 h 40"/>
                <a:gd name="T20" fmla="*/ 79176 w 24"/>
                <a:gd name="T21" fmla="*/ 56555 h 40"/>
                <a:gd name="T22" fmla="*/ 86717 w 24"/>
                <a:gd name="T23" fmla="*/ 64095 h 40"/>
                <a:gd name="T24" fmla="*/ 90487 w 24"/>
                <a:gd name="T25" fmla="*/ 75406 h 40"/>
                <a:gd name="T26" fmla="*/ 90487 w 24"/>
                <a:gd name="T27" fmla="*/ 86717 h 40"/>
                <a:gd name="T28" fmla="*/ 90487 w 24"/>
                <a:gd name="T29" fmla="*/ 150812 h 40"/>
                <a:gd name="T30" fmla="*/ 64095 w 24"/>
                <a:gd name="T31" fmla="*/ 150812 h 40"/>
                <a:gd name="T32" fmla="*/ 64095 w 24"/>
                <a:gd name="T33" fmla="*/ 90487 h 40"/>
                <a:gd name="T34" fmla="*/ 64095 w 24"/>
                <a:gd name="T35" fmla="*/ 82947 h 40"/>
                <a:gd name="T36" fmla="*/ 64095 w 24"/>
                <a:gd name="T37" fmla="*/ 75406 h 40"/>
                <a:gd name="T38" fmla="*/ 56554 w 24"/>
                <a:gd name="T39" fmla="*/ 71636 h 40"/>
                <a:gd name="T40" fmla="*/ 49014 w 24"/>
                <a:gd name="T41" fmla="*/ 67865 h 40"/>
                <a:gd name="T42" fmla="*/ 33933 w 24"/>
                <a:gd name="T43" fmla="*/ 71636 h 40"/>
                <a:gd name="T44" fmla="*/ 22622 w 24"/>
                <a:gd name="T45" fmla="*/ 82947 h 40"/>
                <a:gd name="T46" fmla="*/ 22622 w 24"/>
                <a:gd name="T47" fmla="*/ 150812 h 40"/>
                <a:gd name="T48" fmla="*/ 0 w 24"/>
                <a:gd name="T49" fmla="*/ 150812 h 40"/>
                <a:gd name="T50" fmla="*/ 0 w 24"/>
                <a:gd name="T51" fmla="*/ 0 h 40"/>
                <a:gd name="T52" fmla="*/ 22622 w 24"/>
                <a:gd name="T53" fmla="*/ 0 h 40"/>
                <a:gd name="T54" fmla="*/ 22622 w 24"/>
                <a:gd name="T55" fmla="*/ 41473 h 4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24" h="40">
                  <a:moveTo>
                    <a:pt x="6" y="11"/>
                  </a:moveTo>
                  <a:cubicBezTo>
                    <a:pt x="6" y="12"/>
                    <a:pt x="6" y="13"/>
                    <a:pt x="6" y="14"/>
                  </a:cubicBezTo>
                  <a:cubicBezTo>
                    <a:pt x="6" y="15"/>
                    <a:pt x="6" y="16"/>
                    <a:pt x="6" y="17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7" y="16"/>
                    <a:pt x="7" y="16"/>
                    <a:pt x="8" y="15"/>
                  </a:cubicBezTo>
                  <a:cubicBezTo>
                    <a:pt x="8" y="15"/>
                    <a:pt x="9" y="14"/>
                    <a:pt x="10" y="14"/>
                  </a:cubicBezTo>
                  <a:cubicBezTo>
                    <a:pt x="10" y="14"/>
                    <a:pt x="11" y="13"/>
                    <a:pt x="12" y="13"/>
                  </a:cubicBezTo>
                  <a:cubicBezTo>
                    <a:pt x="13" y="13"/>
                    <a:pt x="14" y="13"/>
                    <a:pt x="15" y="13"/>
                  </a:cubicBezTo>
                  <a:cubicBezTo>
                    <a:pt x="15" y="13"/>
                    <a:pt x="16" y="13"/>
                    <a:pt x="17" y="13"/>
                  </a:cubicBezTo>
                  <a:cubicBezTo>
                    <a:pt x="18" y="13"/>
                    <a:pt x="19" y="13"/>
                    <a:pt x="19" y="14"/>
                  </a:cubicBezTo>
                  <a:cubicBezTo>
                    <a:pt x="20" y="14"/>
                    <a:pt x="21" y="15"/>
                    <a:pt x="21" y="15"/>
                  </a:cubicBezTo>
                  <a:cubicBezTo>
                    <a:pt x="22" y="16"/>
                    <a:pt x="22" y="16"/>
                    <a:pt x="23" y="17"/>
                  </a:cubicBezTo>
                  <a:cubicBezTo>
                    <a:pt x="23" y="18"/>
                    <a:pt x="23" y="19"/>
                    <a:pt x="24" y="20"/>
                  </a:cubicBezTo>
                  <a:cubicBezTo>
                    <a:pt x="24" y="21"/>
                    <a:pt x="24" y="22"/>
                    <a:pt x="24" y="23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17" y="40"/>
                    <a:pt x="17" y="40"/>
                    <a:pt x="17" y="40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3"/>
                    <a:pt x="17" y="22"/>
                    <a:pt x="17" y="22"/>
                  </a:cubicBezTo>
                  <a:cubicBezTo>
                    <a:pt x="17" y="21"/>
                    <a:pt x="17" y="21"/>
                    <a:pt x="17" y="20"/>
                  </a:cubicBezTo>
                  <a:cubicBezTo>
                    <a:pt x="17" y="20"/>
                    <a:pt x="16" y="19"/>
                    <a:pt x="15" y="19"/>
                  </a:cubicBezTo>
                  <a:cubicBezTo>
                    <a:pt x="14" y="18"/>
                    <a:pt x="14" y="18"/>
                    <a:pt x="13" y="18"/>
                  </a:cubicBezTo>
                  <a:cubicBezTo>
                    <a:pt x="12" y="18"/>
                    <a:pt x="10" y="18"/>
                    <a:pt x="9" y="19"/>
                  </a:cubicBezTo>
                  <a:cubicBezTo>
                    <a:pt x="8" y="20"/>
                    <a:pt x="7" y="20"/>
                    <a:pt x="6" y="22"/>
                  </a:cubicBezTo>
                  <a:cubicBezTo>
                    <a:pt x="6" y="40"/>
                    <a:pt x="6" y="40"/>
                    <a:pt x="6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" y="0"/>
                    <a:pt x="6" y="0"/>
                    <a:pt x="6" y="0"/>
                  </a:cubicBezTo>
                  <a:lnTo>
                    <a:pt x="6" y="1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9" name="Freeform 18"/>
            <p:cNvSpPr>
              <a:spLocks noEditPoints="1"/>
            </p:cNvSpPr>
            <p:nvPr userDrawn="1"/>
          </p:nvSpPr>
          <p:spPr bwMode="gray">
            <a:xfrm>
              <a:off x="10053611" y="3670288"/>
              <a:ext cx="90487" cy="101599"/>
            </a:xfrm>
            <a:custGeom>
              <a:avLst/>
              <a:gdLst>
                <a:gd name="T0" fmla="*/ 56554 w 24"/>
                <a:gd name="T1" fmla="*/ 82784 h 27"/>
                <a:gd name="T2" fmla="*/ 71636 w 24"/>
                <a:gd name="T3" fmla="*/ 82784 h 27"/>
                <a:gd name="T4" fmla="*/ 86717 w 24"/>
                <a:gd name="T5" fmla="*/ 79021 h 27"/>
                <a:gd name="T6" fmla="*/ 86717 w 24"/>
                <a:gd name="T7" fmla="*/ 97836 h 27"/>
                <a:gd name="T8" fmla="*/ 71636 w 24"/>
                <a:gd name="T9" fmla="*/ 101599 h 27"/>
                <a:gd name="T10" fmla="*/ 52784 w 24"/>
                <a:gd name="T11" fmla="*/ 101599 h 27"/>
                <a:gd name="T12" fmla="*/ 33933 w 24"/>
                <a:gd name="T13" fmla="*/ 101599 h 27"/>
                <a:gd name="T14" fmla="*/ 15081 w 24"/>
                <a:gd name="T15" fmla="*/ 90310 h 27"/>
                <a:gd name="T16" fmla="*/ 3770 w 24"/>
                <a:gd name="T17" fmla="*/ 75259 h 27"/>
                <a:gd name="T18" fmla="*/ 0 w 24"/>
                <a:gd name="T19" fmla="*/ 52681 h 27"/>
                <a:gd name="T20" fmla="*/ 3770 w 24"/>
                <a:gd name="T21" fmla="*/ 30103 h 27"/>
                <a:gd name="T22" fmla="*/ 15081 w 24"/>
                <a:gd name="T23" fmla="*/ 11289 h 27"/>
                <a:gd name="T24" fmla="*/ 30162 w 24"/>
                <a:gd name="T25" fmla="*/ 3763 h 27"/>
                <a:gd name="T26" fmla="*/ 49014 w 24"/>
                <a:gd name="T27" fmla="*/ 0 h 27"/>
                <a:gd name="T28" fmla="*/ 64095 w 24"/>
                <a:gd name="T29" fmla="*/ 3763 h 27"/>
                <a:gd name="T30" fmla="*/ 79176 w 24"/>
                <a:gd name="T31" fmla="*/ 11289 h 27"/>
                <a:gd name="T32" fmla="*/ 86717 w 24"/>
                <a:gd name="T33" fmla="*/ 26340 h 27"/>
                <a:gd name="T34" fmla="*/ 90487 w 24"/>
                <a:gd name="T35" fmla="*/ 48918 h 27"/>
                <a:gd name="T36" fmla="*/ 90487 w 24"/>
                <a:gd name="T37" fmla="*/ 56444 h 27"/>
                <a:gd name="T38" fmla="*/ 26392 w 24"/>
                <a:gd name="T39" fmla="*/ 56444 h 27"/>
                <a:gd name="T40" fmla="*/ 30162 w 24"/>
                <a:gd name="T41" fmla="*/ 67733 h 27"/>
                <a:gd name="T42" fmla="*/ 37703 w 24"/>
                <a:gd name="T43" fmla="*/ 79021 h 27"/>
                <a:gd name="T44" fmla="*/ 45244 w 24"/>
                <a:gd name="T45" fmla="*/ 82784 h 27"/>
                <a:gd name="T46" fmla="*/ 56554 w 24"/>
                <a:gd name="T47" fmla="*/ 82784 h 27"/>
                <a:gd name="T48" fmla="*/ 49014 w 24"/>
                <a:gd name="T49" fmla="*/ 18815 h 27"/>
                <a:gd name="T50" fmla="*/ 37703 w 24"/>
                <a:gd name="T51" fmla="*/ 18815 h 27"/>
                <a:gd name="T52" fmla="*/ 33933 w 24"/>
                <a:gd name="T53" fmla="*/ 22578 h 27"/>
                <a:gd name="T54" fmla="*/ 30162 w 24"/>
                <a:gd name="T55" fmla="*/ 30103 h 27"/>
                <a:gd name="T56" fmla="*/ 26392 w 24"/>
                <a:gd name="T57" fmla="*/ 37629 h 27"/>
                <a:gd name="T58" fmla="*/ 67865 w 24"/>
                <a:gd name="T59" fmla="*/ 37629 h 27"/>
                <a:gd name="T60" fmla="*/ 64095 w 24"/>
                <a:gd name="T61" fmla="*/ 30103 h 27"/>
                <a:gd name="T62" fmla="*/ 60325 w 24"/>
                <a:gd name="T63" fmla="*/ 22578 h 27"/>
                <a:gd name="T64" fmla="*/ 49014 w 24"/>
                <a:gd name="T65" fmla="*/ 18815 h 2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4" h="27">
                  <a:moveTo>
                    <a:pt x="15" y="22"/>
                  </a:moveTo>
                  <a:cubicBezTo>
                    <a:pt x="17" y="22"/>
                    <a:pt x="18" y="22"/>
                    <a:pt x="19" y="22"/>
                  </a:cubicBezTo>
                  <a:cubicBezTo>
                    <a:pt x="21" y="21"/>
                    <a:pt x="22" y="21"/>
                    <a:pt x="23" y="21"/>
                  </a:cubicBezTo>
                  <a:cubicBezTo>
                    <a:pt x="23" y="26"/>
                    <a:pt x="23" y="26"/>
                    <a:pt x="23" y="26"/>
                  </a:cubicBezTo>
                  <a:cubicBezTo>
                    <a:pt x="22" y="26"/>
                    <a:pt x="21" y="27"/>
                    <a:pt x="19" y="27"/>
                  </a:cubicBezTo>
                  <a:cubicBezTo>
                    <a:pt x="17" y="27"/>
                    <a:pt x="16" y="27"/>
                    <a:pt x="14" y="27"/>
                  </a:cubicBezTo>
                  <a:cubicBezTo>
                    <a:pt x="12" y="27"/>
                    <a:pt x="10" y="27"/>
                    <a:pt x="9" y="27"/>
                  </a:cubicBezTo>
                  <a:cubicBezTo>
                    <a:pt x="7" y="26"/>
                    <a:pt x="5" y="25"/>
                    <a:pt x="4" y="24"/>
                  </a:cubicBezTo>
                  <a:cubicBezTo>
                    <a:pt x="3" y="23"/>
                    <a:pt x="2" y="22"/>
                    <a:pt x="1" y="20"/>
                  </a:cubicBezTo>
                  <a:cubicBezTo>
                    <a:pt x="0" y="18"/>
                    <a:pt x="0" y="16"/>
                    <a:pt x="0" y="14"/>
                  </a:cubicBezTo>
                  <a:cubicBezTo>
                    <a:pt x="0" y="12"/>
                    <a:pt x="0" y="10"/>
                    <a:pt x="1" y="8"/>
                  </a:cubicBezTo>
                  <a:cubicBezTo>
                    <a:pt x="2" y="6"/>
                    <a:pt x="3" y="5"/>
                    <a:pt x="4" y="3"/>
                  </a:cubicBezTo>
                  <a:cubicBezTo>
                    <a:pt x="5" y="2"/>
                    <a:pt x="6" y="1"/>
                    <a:pt x="8" y="1"/>
                  </a:cubicBezTo>
                  <a:cubicBezTo>
                    <a:pt x="9" y="0"/>
                    <a:pt x="11" y="0"/>
                    <a:pt x="13" y="0"/>
                  </a:cubicBezTo>
                  <a:cubicBezTo>
                    <a:pt x="14" y="0"/>
                    <a:pt x="16" y="0"/>
                    <a:pt x="17" y="1"/>
                  </a:cubicBezTo>
                  <a:cubicBezTo>
                    <a:pt x="19" y="1"/>
                    <a:pt x="20" y="2"/>
                    <a:pt x="21" y="3"/>
                  </a:cubicBezTo>
                  <a:cubicBezTo>
                    <a:pt x="22" y="4"/>
                    <a:pt x="23" y="5"/>
                    <a:pt x="23" y="7"/>
                  </a:cubicBezTo>
                  <a:cubicBezTo>
                    <a:pt x="24" y="9"/>
                    <a:pt x="24" y="11"/>
                    <a:pt x="24" y="13"/>
                  </a:cubicBezTo>
                  <a:cubicBezTo>
                    <a:pt x="24" y="14"/>
                    <a:pt x="24" y="15"/>
                    <a:pt x="24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6"/>
                    <a:pt x="7" y="17"/>
                    <a:pt x="8" y="18"/>
                  </a:cubicBezTo>
                  <a:cubicBezTo>
                    <a:pt x="8" y="19"/>
                    <a:pt x="9" y="20"/>
                    <a:pt x="10" y="21"/>
                  </a:cubicBezTo>
                  <a:cubicBezTo>
                    <a:pt x="10" y="21"/>
                    <a:pt x="11" y="21"/>
                    <a:pt x="12" y="22"/>
                  </a:cubicBezTo>
                  <a:cubicBezTo>
                    <a:pt x="13" y="22"/>
                    <a:pt x="14" y="22"/>
                    <a:pt x="15" y="22"/>
                  </a:cubicBezTo>
                  <a:close/>
                  <a:moveTo>
                    <a:pt x="13" y="5"/>
                  </a:moveTo>
                  <a:cubicBezTo>
                    <a:pt x="12" y="5"/>
                    <a:pt x="11" y="5"/>
                    <a:pt x="10" y="5"/>
                  </a:cubicBezTo>
                  <a:cubicBezTo>
                    <a:pt x="10" y="5"/>
                    <a:pt x="9" y="6"/>
                    <a:pt x="9" y="6"/>
                  </a:cubicBezTo>
                  <a:cubicBezTo>
                    <a:pt x="8" y="7"/>
                    <a:pt x="8" y="7"/>
                    <a:pt x="8" y="8"/>
                  </a:cubicBezTo>
                  <a:cubicBezTo>
                    <a:pt x="7" y="9"/>
                    <a:pt x="7" y="10"/>
                    <a:pt x="7" y="1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8" y="10"/>
                    <a:pt x="17" y="9"/>
                    <a:pt x="17" y="8"/>
                  </a:cubicBezTo>
                  <a:cubicBezTo>
                    <a:pt x="17" y="7"/>
                    <a:pt x="17" y="7"/>
                    <a:pt x="16" y="6"/>
                  </a:cubicBezTo>
                  <a:cubicBezTo>
                    <a:pt x="15" y="5"/>
                    <a:pt x="14" y="5"/>
                    <a:pt x="13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20" name="Freeform 19"/>
            <p:cNvSpPr>
              <a:spLocks noEditPoints="1"/>
            </p:cNvSpPr>
            <p:nvPr userDrawn="1"/>
          </p:nvSpPr>
          <p:spPr bwMode="gray">
            <a:xfrm>
              <a:off x="10202835" y="3670288"/>
              <a:ext cx="90487" cy="101599"/>
            </a:xfrm>
            <a:custGeom>
              <a:avLst/>
              <a:gdLst>
                <a:gd name="T0" fmla="*/ 56554 w 24"/>
                <a:gd name="T1" fmla="*/ 82784 h 27"/>
                <a:gd name="T2" fmla="*/ 71636 w 24"/>
                <a:gd name="T3" fmla="*/ 82784 h 27"/>
                <a:gd name="T4" fmla="*/ 86717 w 24"/>
                <a:gd name="T5" fmla="*/ 79021 h 27"/>
                <a:gd name="T6" fmla="*/ 86717 w 24"/>
                <a:gd name="T7" fmla="*/ 97836 h 27"/>
                <a:gd name="T8" fmla="*/ 71636 w 24"/>
                <a:gd name="T9" fmla="*/ 101599 h 27"/>
                <a:gd name="T10" fmla="*/ 52784 w 24"/>
                <a:gd name="T11" fmla="*/ 101599 h 27"/>
                <a:gd name="T12" fmla="*/ 33933 w 24"/>
                <a:gd name="T13" fmla="*/ 101599 h 27"/>
                <a:gd name="T14" fmla="*/ 15081 w 24"/>
                <a:gd name="T15" fmla="*/ 90310 h 27"/>
                <a:gd name="T16" fmla="*/ 3770 w 24"/>
                <a:gd name="T17" fmla="*/ 75259 h 27"/>
                <a:gd name="T18" fmla="*/ 0 w 24"/>
                <a:gd name="T19" fmla="*/ 52681 h 27"/>
                <a:gd name="T20" fmla="*/ 3770 w 24"/>
                <a:gd name="T21" fmla="*/ 30103 h 27"/>
                <a:gd name="T22" fmla="*/ 15081 w 24"/>
                <a:gd name="T23" fmla="*/ 11289 h 27"/>
                <a:gd name="T24" fmla="*/ 30162 w 24"/>
                <a:gd name="T25" fmla="*/ 3763 h 27"/>
                <a:gd name="T26" fmla="*/ 49014 w 24"/>
                <a:gd name="T27" fmla="*/ 0 h 27"/>
                <a:gd name="T28" fmla="*/ 64095 w 24"/>
                <a:gd name="T29" fmla="*/ 3763 h 27"/>
                <a:gd name="T30" fmla="*/ 79176 w 24"/>
                <a:gd name="T31" fmla="*/ 11289 h 27"/>
                <a:gd name="T32" fmla="*/ 86717 w 24"/>
                <a:gd name="T33" fmla="*/ 26340 h 27"/>
                <a:gd name="T34" fmla="*/ 90487 w 24"/>
                <a:gd name="T35" fmla="*/ 48918 h 27"/>
                <a:gd name="T36" fmla="*/ 90487 w 24"/>
                <a:gd name="T37" fmla="*/ 56444 h 27"/>
                <a:gd name="T38" fmla="*/ 26392 w 24"/>
                <a:gd name="T39" fmla="*/ 56444 h 27"/>
                <a:gd name="T40" fmla="*/ 30162 w 24"/>
                <a:gd name="T41" fmla="*/ 67733 h 27"/>
                <a:gd name="T42" fmla="*/ 37703 w 24"/>
                <a:gd name="T43" fmla="*/ 79021 h 27"/>
                <a:gd name="T44" fmla="*/ 45244 w 24"/>
                <a:gd name="T45" fmla="*/ 82784 h 27"/>
                <a:gd name="T46" fmla="*/ 56554 w 24"/>
                <a:gd name="T47" fmla="*/ 82784 h 27"/>
                <a:gd name="T48" fmla="*/ 49014 w 24"/>
                <a:gd name="T49" fmla="*/ 18815 h 27"/>
                <a:gd name="T50" fmla="*/ 37703 w 24"/>
                <a:gd name="T51" fmla="*/ 18815 h 27"/>
                <a:gd name="T52" fmla="*/ 33933 w 24"/>
                <a:gd name="T53" fmla="*/ 22578 h 27"/>
                <a:gd name="T54" fmla="*/ 30162 w 24"/>
                <a:gd name="T55" fmla="*/ 30103 h 27"/>
                <a:gd name="T56" fmla="*/ 26392 w 24"/>
                <a:gd name="T57" fmla="*/ 37629 h 27"/>
                <a:gd name="T58" fmla="*/ 67865 w 24"/>
                <a:gd name="T59" fmla="*/ 37629 h 27"/>
                <a:gd name="T60" fmla="*/ 64095 w 24"/>
                <a:gd name="T61" fmla="*/ 30103 h 27"/>
                <a:gd name="T62" fmla="*/ 60325 w 24"/>
                <a:gd name="T63" fmla="*/ 22578 h 27"/>
                <a:gd name="T64" fmla="*/ 49014 w 24"/>
                <a:gd name="T65" fmla="*/ 18815 h 2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4" h="27">
                  <a:moveTo>
                    <a:pt x="15" y="22"/>
                  </a:moveTo>
                  <a:cubicBezTo>
                    <a:pt x="17" y="22"/>
                    <a:pt x="18" y="22"/>
                    <a:pt x="19" y="22"/>
                  </a:cubicBezTo>
                  <a:cubicBezTo>
                    <a:pt x="21" y="21"/>
                    <a:pt x="22" y="21"/>
                    <a:pt x="23" y="21"/>
                  </a:cubicBezTo>
                  <a:cubicBezTo>
                    <a:pt x="23" y="26"/>
                    <a:pt x="23" y="26"/>
                    <a:pt x="23" y="26"/>
                  </a:cubicBezTo>
                  <a:cubicBezTo>
                    <a:pt x="22" y="26"/>
                    <a:pt x="21" y="27"/>
                    <a:pt x="19" y="27"/>
                  </a:cubicBezTo>
                  <a:cubicBezTo>
                    <a:pt x="17" y="27"/>
                    <a:pt x="16" y="27"/>
                    <a:pt x="14" y="27"/>
                  </a:cubicBezTo>
                  <a:cubicBezTo>
                    <a:pt x="12" y="27"/>
                    <a:pt x="10" y="27"/>
                    <a:pt x="9" y="27"/>
                  </a:cubicBezTo>
                  <a:cubicBezTo>
                    <a:pt x="7" y="26"/>
                    <a:pt x="5" y="25"/>
                    <a:pt x="4" y="24"/>
                  </a:cubicBezTo>
                  <a:cubicBezTo>
                    <a:pt x="3" y="23"/>
                    <a:pt x="2" y="22"/>
                    <a:pt x="1" y="20"/>
                  </a:cubicBezTo>
                  <a:cubicBezTo>
                    <a:pt x="0" y="18"/>
                    <a:pt x="0" y="16"/>
                    <a:pt x="0" y="14"/>
                  </a:cubicBezTo>
                  <a:cubicBezTo>
                    <a:pt x="0" y="12"/>
                    <a:pt x="0" y="10"/>
                    <a:pt x="1" y="8"/>
                  </a:cubicBezTo>
                  <a:cubicBezTo>
                    <a:pt x="2" y="6"/>
                    <a:pt x="3" y="5"/>
                    <a:pt x="4" y="3"/>
                  </a:cubicBezTo>
                  <a:cubicBezTo>
                    <a:pt x="5" y="2"/>
                    <a:pt x="6" y="1"/>
                    <a:pt x="8" y="1"/>
                  </a:cubicBezTo>
                  <a:cubicBezTo>
                    <a:pt x="9" y="0"/>
                    <a:pt x="11" y="0"/>
                    <a:pt x="13" y="0"/>
                  </a:cubicBezTo>
                  <a:cubicBezTo>
                    <a:pt x="14" y="0"/>
                    <a:pt x="16" y="0"/>
                    <a:pt x="17" y="1"/>
                  </a:cubicBezTo>
                  <a:cubicBezTo>
                    <a:pt x="19" y="1"/>
                    <a:pt x="20" y="2"/>
                    <a:pt x="21" y="3"/>
                  </a:cubicBezTo>
                  <a:cubicBezTo>
                    <a:pt x="22" y="4"/>
                    <a:pt x="23" y="5"/>
                    <a:pt x="23" y="7"/>
                  </a:cubicBezTo>
                  <a:cubicBezTo>
                    <a:pt x="24" y="9"/>
                    <a:pt x="24" y="11"/>
                    <a:pt x="24" y="13"/>
                  </a:cubicBezTo>
                  <a:cubicBezTo>
                    <a:pt x="24" y="14"/>
                    <a:pt x="24" y="15"/>
                    <a:pt x="24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6"/>
                    <a:pt x="7" y="17"/>
                    <a:pt x="8" y="18"/>
                  </a:cubicBezTo>
                  <a:cubicBezTo>
                    <a:pt x="8" y="19"/>
                    <a:pt x="9" y="20"/>
                    <a:pt x="10" y="21"/>
                  </a:cubicBezTo>
                  <a:cubicBezTo>
                    <a:pt x="10" y="21"/>
                    <a:pt x="11" y="21"/>
                    <a:pt x="12" y="22"/>
                  </a:cubicBezTo>
                  <a:cubicBezTo>
                    <a:pt x="13" y="22"/>
                    <a:pt x="14" y="22"/>
                    <a:pt x="15" y="22"/>
                  </a:cubicBezTo>
                  <a:close/>
                  <a:moveTo>
                    <a:pt x="13" y="5"/>
                  </a:moveTo>
                  <a:cubicBezTo>
                    <a:pt x="12" y="5"/>
                    <a:pt x="11" y="5"/>
                    <a:pt x="10" y="5"/>
                  </a:cubicBezTo>
                  <a:cubicBezTo>
                    <a:pt x="10" y="5"/>
                    <a:pt x="9" y="6"/>
                    <a:pt x="9" y="6"/>
                  </a:cubicBezTo>
                  <a:cubicBezTo>
                    <a:pt x="8" y="7"/>
                    <a:pt x="8" y="7"/>
                    <a:pt x="8" y="8"/>
                  </a:cubicBezTo>
                  <a:cubicBezTo>
                    <a:pt x="7" y="9"/>
                    <a:pt x="7" y="10"/>
                    <a:pt x="7" y="1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8" y="10"/>
                    <a:pt x="17" y="9"/>
                    <a:pt x="17" y="8"/>
                  </a:cubicBezTo>
                  <a:cubicBezTo>
                    <a:pt x="17" y="7"/>
                    <a:pt x="17" y="7"/>
                    <a:pt x="16" y="6"/>
                  </a:cubicBezTo>
                  <a:cubicBezTo>
                    <a:pt x="15" y="5"/>
                    <a:pt x="14" y="5"/>
                    <a:pt x="13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21" name="Freeform 20"/>
            <p:cNvSpPr>
              <a:spLocks/>
            </p:cNvSpPr>
            <p:nvPr userDrawn="1"/>
          </p:nvSpPr>
          <p:spPr bwMode="gray">
            <a:xfrm>
              <a:off x="10315546" y="3670288"/>
              <a:ext cx="90487" cy="101599"/>
            </a:xfrm>
            <a:custGeom>
              <a:avLst/>
              <a:gdLst>
                <a:gd name="T0" fmla="*/ 22622 w 24"/>
                <a:gd name="T1" fmla="*/ 15052 h 27"/>
                <a:gd name="T2" fmla="*/ 22622 w 24"/>
                <a:gd name="T3" fmla="*/ 15052 h 27"/>
                <a:gd name="T4" fmla="*/ 30162 w 24"/>
                <a:gd name="T5" fmla="*/ 7526 h 27"/>
                <a:gd name="T6" fmla="*/ 33933 w 24"/>
                <a:gd name="T7" fmla="*/ 3763 h 27"/>
                <a:gd name="T8" fmla="*/ 45244 w 24"/>
                <a:gd name="T9" fmla="*/ 0 h 27"/>
                <a:gd name="T10" fmla="*/ 56554 w 24"/>
                <a:gd name="T11" fmla="*/ 0 h 27"/>
                <a:gd name="T12" fmla="*/ 67865 w 24"/>
                <a:gd name="T13" fmla="*/ 0 h 27"/>
                <a:gd name="T14" fmla="*/ 75406 w 24"/>
                <a:gd name="T15" fmla="*/ 3763 h 27"/>
                <a:gd name="T16" fmla="*/ 82946 w 24"/>
                <a:gd name="T17" fmla="*/ 11289 h 27"/>
                <a:gd name="T18" fmla="*/ 86717 w 24"/>
                <a:gd name="T19" fmla="*/ 22578 h 27"/>
                <a:gd name="T20" fmla="*/ 90487 w 24"/>
                <a:gd name="T21" fmla="*/ 26340 h 27"/>
                <a:gd name="T22" fmla="*/ 90487 w 24"/>
                <a:gd name="T23" fmla="*/ 37629 h 27"/>
                <a:gd name="T24" fmla="*/ 90487 w 24"/>
                <a:gd name="T25" fmla="*/ 101599 h 27"/>
                <a:gd name="T26" fmla="*/ 67865 w 24"/>
                <a:gd name="T27" fmla="*/ 101599 h 27"/>
                <a:gd name="T28" fmla="*/ 67865 w 24"/>
                <a:gd name="T29" fmla="*/ 41392 h 27"/>
                <a:gd name="T30" fmla="*/ 67865 w 24"/>
                <a:gd name="T31" fmla="*/ 33866 h 27"/>
                <a:gd name="T32" fmla="*/ 64095 w 24"/>
                <a:gd name="T33" fmla="*/ 30103 h 27"/>
                <a:gd name="T34" fmla="*/ 60325 w 24"/>
                <a:gd name="T35" fmla="*/ 22578 h 27"/>
                <a:gd name="T36" fmla="*/ 49014 w 24"/>
                <a:gd name="T37" fmla="*/ 18815 h 27"/>
                <a:gd name="T38" fmla="*/ 37703 w 24"/>
                <a:gd name="T39" fmla="*/ 22578 h 27"/>
                <a:gd name="T40" fmla="*/ 26392 w 24"/>
                <a:gd name="T41" fmla="*/ 33866 h 27"/>
                <a:gd name="T42" fmla="*/ 26392 w 24"/>
                <a:gd name="T43" fmla="*/ 101599 h 27"/>
                <a:gd name="T44" fmla="*/ 0 w 24"/>
                <a:gd name="T45" fmla="*/ 101599 h 27"/>
                <a:gd name="T46" fmla="*/ 0 w 24"/>
                <a:gd name="T47" fmla="*/ 0 h 27"/>
                <a:gd name="T48" fmla="*/ 18851 w 24"/>
                <a:gd name="T49" fmla="*/ 0 h 27"/>
                <a:gd name="T50" fmla="*/ 22622 w 24"/>
                <a:gd name="T51" fmla="*/ 15052 h 27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24" h="27">
                  <a:moveTo>
                    <a:pt x="6" y="4"/>
                  </a:move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7" y="3"/>
                    <a:pt x="8" y="2"/>
                  </a:cubicBezTo>
                  <a:cubicBezTo>
                    <a:pt x="8" y="2"/>
                    <a:pt x="9" y="1"/>
                    <a:pt x="9" y="1"/>
                  </a:cubicBezTo>
                  <a:cubicBezTo>
                    <a:pt x="10" y="1"/>
                    <a:pt x="11" y="0"/>
                    <a:pt x="12" y="0"/>
                  </a:cubicBezTo>
                  <a:cubicBezTo>
                    <a:pt x="13" y="0"/>
                    <a:pt x="14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8" y="0"/>
                    <a:pt x="19" y="1"/>
                    <a:pt x="20" y="1"/>
                  </a:cubicBezTo>
                  <a:cubicBezTo>
                    <a:pt x="21" y="2"/>
                    <a:pt x="21" y="2"/>
                    <a:pt x="22" y="3"/>
                  </a:cubicBezTo>
                  <a:cubicBezTo>
                    <a:pt x="23" y="4"/>
                    <a:pt x="23" y="5"/>
                    <a:pt x="23" y="6"/>
                  </a:cubicBezTo>
                  <a:cubicBezTo>
                    <a:pt x="24" y="6"/>
                    <a:pt x="24" y="7"/>
                    <a:pt x="24" y="7"/>
                  </a:cubicBezTo>
                  <a:cubicBezTo>
                    <a:pt x="24" y="8"/>
                    <a:pt x="24" y="9"/>
                    <a:pt x="24" y="10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18" y="10"/>
                    <a:pt x="18" y="9"/>
                    <a:pt x="18" y="9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7" y="7"/>
                    <a:pt x="16" y="6"/>
                    <a:pt x="16" y="6"/>
                  </a:cubicBezTo>
                  <a:cubicBezTo>
                    <a:pt x="15" y="5"/>
                    <a:pt x="14" y="5"/>
                    <a:pt x="13" y="5"/>
                  </a:cubicBezTo>
                  <a:cubicBezTo>
                    <a:pt x="12" y="5"/>
                    <a:pt x="11" y="6"/>
                    <a:pt x="10" y="6"/>
                  </a:cubicBezTo>
                  <a:cubicBezTo>
                    <a:pt x="9" y="7"/>
                    <a:pt x="7" y="8"/>
                    <a:pt x="7" y="9"/>
                  </a:cubicBezTo>
                  <a:cubicBezTo>
                    <a:pt x="7" y="27"/>
                    <a:pt x="7" y="27"/>
                    <a:pt x="7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" y="0"/>
                    <a:pt x="5" y="0"/>
                    <a:pt x="5" y="0"/>
                  </a:cubicBezTo>
                  <a:lnTo>
                    <a:pt x="6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22" name="Freeform 21"/>
            <p:cNvSpPr>
              <a:spLocks noEditPoints="1"/>
            </p:cNvSpPr>
            <p:nvPr userDrawn="1"/>
          </p:nvSpPr>
          <p:spPr bwMode="gray">
            <a:xfrm>
              <a:off x="10428259" y="3670293"/>
              <a:ext cx="90487" cy="150812"/>
            </a:xfrm>
            <a:custGeom>
              <a:avLst/>
              <a:gdLst>
                <a:gd name="T0" fmla="*/ 67865 w 24"/>
                <a:gd name="T1" fmla="*/ 101798 h 40"/>
                <a:gd name="T2" fmla="*/ 67865 w 24"/>
                <a:gd name="T3" fmla="*/ 98028 h 40"/>
                <a:gd name="T4" fmla="*/ 67865 w 24"/>
                <a:gd name="T5" fmla="*/ 94258 h 40"/>
                <a:gd name="T6" fmla="*/ 67865 w 24"/>
                <a:gd name="T7" fmla="*/ 94258 h 40"/>
                <a:gd name="T8" fmla="*/ 64095 w 24"/>
                <a:gd name="T9" fmla="*/ 98028 h 40"/>
                <a:gd name="T10" fmla="*/ 56554 w 24"/>
                <a:gd name="T11" fmla="*/ 98028 h 40"/>
                <a:gd name="T12" fmla="*/ 49014 w 24"/>
                <a:gd name="T13" fmla="*/ 101798 h 40"/>
                <a:gd name="T14" fmla="*/ 26392 w 24"/>
                <a:gd name="T15" fmla="*/ 101798 h 40"/>
                <a:gd name="T16" fmla="*/ 11311 w 24"/>
                <a:gd name="T17" fmla="*/ 90487 h 40"/>
                <a:gd name="T18" fmla="*/ 3770 w 24"/>
                <a:gd name="T19" fmla="*/ 75406 h 40"/>
                <a:gd name="T20" fmla="*/ 0 w 24"/>
                <a:gd name="T21" fmla="*/ 52784 h 40"/>
                <a:gd name="T22" fmla="*/ 3770 w 24"/>
                <a:gd name="T23" fmla="*/ 30162 h 40"/>
                <a:gd name="T24" fmla="*/ 11311 w 24"/>
                <a:gd name="T25" fmla="*/ 11311 h 40"/>
                <a:gd name="T26" fmla="*/ 26392 w 24"/>
                <a:gd name="T27" fmla="*/ 3770 h 40"/>
                <a:gd name="T28" fmla="*/ 41473 w 24"/>
                <a:gd name="T29" fmla="*/ 0 h 40"/>
                <a:gd name="T30" fmla="*/ 56554 w 24"/>
                <a:gd name="T31" fmla="*/ 3770 h 40"/>
                <a:gd name="T32" fmla="*/ 67865 w 24"/>
                <a:gd name="T33" fmla="*/ 11311 h 40"/>
                <a:gd name="T34" fmla="*/ 67865 w 24"/>
                <a:gd name="T35" fmla="*/ 11311 h 40"/>
                <a:gd name="T36" fmla="*/ 71636 w 24"/>
                <a:gd name="T37" fmla="*/ 0 h 40"/>
                <a:gd name="T38" fmla="*/ 90487 w 24"/>
                <a:gd name="T39" fmla="*/ 0 h 40"/>
                <a:gd name="T40" fmla="*/ 90487 w 24"/>
                <a:gd name="T41" fmla="*/ 101798 h 40"/>
                <a:gd name="T42" fmla="*/ 90487 w 24"/>
                <a:gd name="T43" fmla="*/ 116879 h 40"/>
                <a:gd name="T44" fmla="*/ 86717 w 24"/>
                <a:gd name="T45" fmla="*/ 128190 h 40"/>
                <a:gd name="T46" fmla="*/ 79176 w 24"/>
                <a:gd name="T47" fmla="*/ 139501 h 40"/>
                <a:gd name="T48" fmla="*/ 67865 w 24"/>
                <a:gd name="T49" fmla="*/ 147042 h 40"/>
                <a:gd name="T50" fmla="*/ 52784 w 24"/>
                <a:gd name="T51" fmla="*/ 150812 h 40"/>
                <a:gd name="T52" fmla="*/ 33933 w 24"/>
                <a:gd name="T53" fmla="*/ 150812 h 40"/>
                <a:gd name="T54" fmla="*/ 26392 w 24"/>
                <a:gd name="T55" fmla="*/ 150812 h 40"/>
                <a:gd name="T56" fmla="*/ 15081 w 24"/>
                <a:gd name="T57" fmla="*/ 150812 h 40"/>
                <a:gd name="T58" fmla="*/ 7541 w 24"/>
                <a:gd name="T59" fmla="*/ 147042 h 40"/>
                <a:gd name="T60" fmla="*/ 3770 w 24"/>
                <a:gd name="T61" fmla="*/ 147042 h 40"/>
                <a:gd name="T62" fmla="*/ 3770 w 24"/>
                <a:gd name="T63" fmla="*/ 128190 h 40"/>
                <a:gd name="T64" fmla="*/ 18851 w 24"/>
                <a:gd name="T65" fmla="*/ 131961 h 40"/>
                <a:gd name="T66" fmla="*/ 33933 w 24"/>
                <a:gd name="T67" fmla="*/ 131961 h 40"/>
                <a:gd name="T68" fmla="*/ 56554 w 24"/>
                <a:gd name="T69" fmla="*/ 124420 h 40"/>
                <a:gd name="T70" fmla="*/ 67865 w 24"/>
                <a:gd name="T71" fmla="*/ 105568 h 40"/>
                <a:gd name="T72" fmla="*/ 67865 w 24"/>
                <a:gd name="T73" fmla="*/ 101798 h 40"/>
                <a:gd name="T74" fmla="*/ 45244 w 24"/>
                <a:gd name="T75" fmla="*/ 82947 h 40"/>
                <a:gd name="T76" fmla="*/ 52784 w 24"/>
                <a:gd name="T77" fmla="*/ 82947 h 40"/>
                <a:gd name="T78" fmla="*/ 60325 w 24"/>
                <a:gd name="T79" fmla="*/ 79176 h 40"/>
                <a:gd name="T80" fmla="*/ 64095 w 24"/>
                <a:gd name="T81" fmla="*/ 75406 h 40"/>
                <a:gd name="T82" fmla="*/ 67865 w 24"/>
                <a:gd name="T83" fmla="*/ 75406 h 40"/>
                <a:gd name="T84" fmla="*/ 67865 w 24"/>
                <a:gd name="T85" fmla="*/ 30162 h 40"/>
                <a:gd name="T86" fmla="*/ 60325 w 24"/>
                <a:gd name="T87" fmla="*/ 22622 h 40"/>
                <a:gd name="T88" fmla="*/ 45244 w 24"/>
                <a:gd name="T89" fmla="*/ 18852 h 40"/>
                <a:gd name="T90" fmla="*/ 41473 w 24"/>
                <a:gd name="T91" fmla="*/ 18852 h 40"/>
                <a:gd name="T92" fmla="*/ 37703 w 24"/>
                <a:gd name="T93" fmla="*/ 18852 h 40"/>
                <a:gd name="T94" fmla="*/ 30162 w 24"/>
                <a:gd name="T95" fmla="*/ 22622 h 40"/>
                <a:gd name="T96" fmla="*/ 26392 w 24"/>
                <a:gd name="T97" fmla="*/ 30162 h 40"/>
                <a:gd name="T98" fmla="*/ 26392 w 24"/>
                <a:gd name="T99" fmla="*/ 37703 h 40"/>
                <a:gd name="T100" fmla="*/ 22622 w 24"/>
                <a:gd name="T101" fmla="*/ 52784 h 40"/>
                <a:gd name="T102" fmla="*/ 26392 w 24"/>
                <a:gd name="T103" fmla="*/ 64095 h 40"/>
                <a:gd name="T104" fmla="*/ 30162 w 24"/>
                <a:gd name="T105" fmla="*/ 75406 h 40"/>
                <a:gd name="T106" fmla="*/ 37703 w 24"/>
                <a:gd name="T107" fmla="*/ 79176 h 40"/>
                <a:gd name="T108" fmla="*/ 45244 w 24"/>
                <a:gd name="T109" fmla="*/ 82947 h 4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24" h="40">
                  <a:moveTo>
                    <a:pt x="18" y="27"/>
                  </a:moveTo>
                  <a:cubicBezTo>
                    <a:pt x="18" y="26"/>
                    <a:pt x="18" y="26"/>
                    <a:pt x="18" y="26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7" y="25"/>
                    <a:pt x="17" y="26"/>
                  </a:cubicBezTo>
                  <a:cubicBezTo>
                    <a:pt x="16" y="26"/>
                    <a:pt x="16" y="26"/>
                    <a:pt x="15" y="26"/>
                  </a:cubicBezTo>
                  <a:cubicBezTo>
                    <a:pt x="14" y="27"/>
                    <a:pt x="14" y="27"/>
                    <a:pt x="13" y="27"/>
                  </a:cubicBezTo>
                  <a:cubicBezTo>
                    <a:pt x="11" y="27"/>
                    <a:pt x="9" y="27"/>
                    <a:pt x="7" y="27"/>
                  </a:cubicBezTo>
                  <a:cubicBezTo>
                    <a:pt x="5" y="26"/>
                    <a:pt x="4" y="25"/>
                    <a:pt x="3" y="24"/>
                  </a:cubicBezTo>
                  <a:cubicBezTo>
                    <a:pt x="2" y="23"/>
                    <a:pt x="1" y="22"/>
                    <a:pt x="1" y="20"/>
                  </a:cubicBezTo>
                  <a:cubicBezTo>
                    <a:pt x="0" y="18"/>
                    <a:pt x="0" y="16"/>
                    <a:pt x="0" y="14"/>
                  </a:cubicBezTo>
                  <a:cubicBezTo>
                    <a:pt x="0" y="12"/>
                    <a:pt x="0" y="10"/>
                    <a:pt x="1" y="8"/>
                  </a:cubicBezTo>
                  <a:cubicBezTo>
                    <a:pt x="1" y="6"/>
                    <a:pt x="2" y="5"/>
                    <a:pt x="3" y="3"/>
                  </a:cubicBezTo>
                  <a:cubicBezTo>
                    <a:pt x="4" y="2"/>
                    <a:pt x="5" y="1"/>
                    <a:pt x="7" y="1"/>
                  </a:cubicBezTo>
                  <a:cubicBezTo>
                    <a:pt x="8" y="0"/>
                    <a:pt x="10" y="0"/>
                    <a:pt x="11" y="0"/>
                  </a:cubicBezTo>
                  <a:cubicBezTo>
                    <a:pt x="13" y="0"/>
                    <a:pt x="14" y="0"/>
                    <a:pt x="15" y="1"/>
                  </a:cubicBezTo>
                  <a:cubicBezTo>
                    <a:pt x="17" y="1"/>
                    <a:pt x="18" y="2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4" y="28"/>
                    <a:pt x="24" y="30"/>
                    <a:pt x="24" y="31"/>
                  </a:cubicBezTo>
                  <a:cubicBezTo>
                    <a:pt x="24" y="32"/>
                    <a:pt x="23" y="33"/>
                    <a:pt x="23" y="34"/>
                  </a:cubicBezTo>
                  <a:cubicBezTo>
                    <a:pt x="22" y="35"/>
                    <a:pt x="21" y="36"/>
                    <a:pt x="21" y="37"/>
                  </a:cubicBezTo>
                  <a:cubicBezTo>
                    <a:pt x="20" y="37"/>
                    <a:pt x="19" y="38"/>
                    <a:pt x="18" y="39"/>
                  </a:cubicBezTo>
                  <a:cubicBezTo>
                    <a:pt x="16" y="39"/>
                    <a:pt x="15" y="39"/>
                    <a:pt x="14" y="40"/>
                  </a:cubicBezTo>
                  <a:cubicBezTo>
                    <a:pt x="12" y="40"/>
                    <a:pt x="11" y="40"/>
                    <a:pt x="9" y="40"/>
                  </a:cubicBezTo>
                  <a:cubicBezTo>
                    <a:pt x="7" y="40"/>
                    <a:pt x="7" y="40"/>
                    <a:pt x="7" y="40"/>
                  </a:cubicBezTo>
                  <a:cubicBezTo>
                    <a:pt x="6" y="40"/>
                    <a:pt x="5" y="40"/>
                    <a:pt x="4" y="40"/>
                  </a:cubicBezTo>
                  <a:cubicBezTo>
                    <a:pt x="2" y="39"/>
                    <a:pt x="2" y="39"/>
                    <a:pt x="2" y="39"/>
                  </a:cubicBezTo>
                  <a:cubicBezTo>
                    <a:pt x="2" y="39"/>
                    <a:pt x="1" y="39"/>
                    <a:pt x="1" y="39"/>
                  </a:cubicBezTo>
                  <a:cubicBezTo>
                    <a:pt x="1" y="34"/>
                    <a:pt x="1" y="34"/>
                    <a:pt x="1" y="34"/>
                  </a:cubicBezTo>
                  <a:cubicBezTo>
                    <a:pt x="2" y="34"/>
                    <a:pt x="3" y="34"/>
                    <a:pt x="5" y="35"/>
                  </a:cubicBezTo>
                  <a:cubicBezTo>
                    <a:pt x="6" y="35"/>
                    <a:pt x="7" y="35"/>
                    <a:pt x="9" y="35"/>
                  </a:cubicBezTo>
                  <a:cubicBezTo>
                    <a:pt x="11" y="35"/>
                    <a:pt x="13" y="34"/>
                    <a:pt x="15" y="33"/>
                  </a:cubicBezTo>
                  <a:cubicBezTo>
                    <a:pt x="17" y="32"/>
                    <a:pt x="18" y="30"/>
                    <a:pt x="18" y="28"/>
                  </a:cubicBezTo>
                  <a:lnTo>
                    <a:pt x="18" y="27"/>
                  </a:lnTo>
                  <a:close/>
                  <a:moveTo>
                    <a:pt x="12" y="22"/>
                  </a:moveTo>
                  <a:cubicBezTo>
                    <a:pt x="13" y="22"/>
                    <a:pt x="14" y="22"/>
                    <a:pt x="14" y="22"/>
                  </a:cubicBezTo>
                  <a:cubicBezTo>
                    <a:pt x="15" y="22"/>
                    <a:pt x="15" y="22"/>
                    <a:pt x="16" y="21"/>
                  </a:cubicBezTo>
                  <a:cubicBezTo>
                    <a:pt x="16" y="21"/>
                    <a:pt x="17" y="21"/>
                    <a:pt x="17" y="20"/>
                  </a:cubicBezTo>
                  <a:cubicBezTo>
                    <a:pt x="17" y="20"/>
                    <a:pt x="18" y="20"/>
                    <a:pt x="18" y="20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7"/>
                    <a:pt x="16" y="6"/>
                    <a:pt x="16" y="6"/>
                  </a:cubicBezTo>
                  <a:cubicBezTo>
                    <a:pt x="15" y="5"/>
                    <a:pt x="13" y="5"/>
                    <a:pt x="12" y="5"/>
                  </a:cubicBezTo>
                  <a:cubicBezTo>
                    <a:pt x="12" y="5"/>
                    <a:pt x="11" y="5"/>
                    <a:pt x="11" y="5"/>
                  </a:cubicBezTo>
                  <a:cubicBezTo>
                    <a:pt x="11" y="5"/>
                    <a:pt x="10" y="5"/>
                    <a:pt x="10" y="5"/>
                  </a:cubicBezTo>
                  <a:cubicBezTo>
                    <a:pt x="9" y="6"/>
                    <a:pt x="9" y="6"/>
                    <a:pt x="8" y="6"/>
                  </a:cubicBezTo>
                  <a:cubicBezTo>
                    <a:pt x="8" y="7"/>
                    <a:pt x="8" y="7"/>
                    <a:pt x="7" y="8"/>
                  </a:cubicBezTo>
                  <a:cubicBezTo>
                    <a:pt x="7" y="9"/>
                    <a:pt x="7" y="10"/>
                    <a:pt x="7" y="10"/>
                  </a:cubicBezTo>
                  <a:cubicBezTo>
                    <a:pt x="6" y="11"/>
                    <a:pt x="6" y="12"/>
                    <a:pt x="6" y="14"/>
                  </a:cubicBezTo>
                  <a:cubicBezTo>
                    <a:pt x="6" y="15"/>
                    <a:pt x="6" y="16"/>
                    <a:pt x="7" y="17"/>
                  </a:cubicBezTo>
                  <a:cubicBezTo>
                    <a:pt x="7" y="18"/>
                    <a:pt x="7" y="19"/>
                    <a:pt x="8" y="20"/>
                  </a:cubicBezTo>
                  <a:cubicBezTo>
                    <a:pt x="8" y="20"/>
                    <a:pt x="9" y="21"/>
                    <a:pt x="10" y="21"/>
                  </a:cubicBezTo>
                  <a:cubicBezTo>
                    <a:pt x="11" y="22"/>
                    <a:pt x="11" y="22"/>
                    <a:pt x="12" y="2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23" name="Freeform 22"/>
            <p:cNvSpPr>
              <a:spLocks noEditPoints="1"/>
            </p:cNvSpPr>
            <p:nvPr userDrawn="1"/>
          </p:nvSpPr>
          <p:spPr bwMode="gray">
            <a:xfrm>
              <a:off x="10548905" y="3621082"/>
              <a:ext cx="22225" cy="150812"/>
            </a:xfrm>
            <a:custGeom>
              <a:avLst/>
              <a:gdLst>
                <a:gd name="T0" fmla="*/ 0 w 14"/>
                <a:gd name="T1" fmla="*/ 0 h 95"/>
                <a:gd name="T2" fmla="*/ 22225 w 14"/>
                <a:gd name="T3" fmla="*/ 0 h 95"/>
                <a:gd name="T4" fmla="*/ 22225 w 14"/>
                <a:gd name="T5" fmla="*/ 26987 h 95"/>
                <a:gd name="T6" fmla="*/ 0 w 14"/>
                <a:gd name="T7" fmla="*/ 26987 h 95"/>
                <a:gd name="T8" fmla="*/ 0 w 14"/>
                <a:gd name="T9" fmla="*/ 0 h 95"/>
                <a:gd name="T10" fmla="*/ 0 w 14"/>
                <a:gd name="T11" fmla="*/ 49212 h 95"/>
                <a:gd name="T12" fmla="*/ 22225 w 14"/>
                <a:gd name="T13" fmla="*/ 49212 h 95"/>
                <a:gd name="T14" fmla="*/ 22225 w 14"/>
                <a:gd name="T15" fmla="*/ 150812 h 95"/>
                <a:gd name="T16" fmla="*/ 0 w 14"/>
                <a:gd name="T17" fmla="*/ 150812 h 95"/>
                <a:gd name="T18" fmla="*/ 0 w 14"/>
                <a:gd name="T19" fmla="*/ 49212 h 9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4" h="95">
                  <a:moveTo>
                    <a:pt x="0" y="0"/>
                  </a:moveTo>
                  <a:lnTo>
                    <a:pt x="14" y="0"/>
                  </a:lnTo>
                  <a:lnTo>
                    <a:pt x="14" y="17"/>
                  </a:lnTo>
                  <a:lnTo>
                    <a:pt x="0" y="17"/>
                  </a:lnTo>
                  <a:lnTo>
                    <a:pt x="0" y="0"/>
                  </a:lnTo>
                  <a:close/>
                  <a:moveTo>
                    <a:pt x="0" y="31"/>
                  </a:moveTo>
                  <a:lnTo>
                    <a:pt x="14" y="31"/>
                  </a:lnTo>
                  <a:lnTo>
                    <a:pt x="14" y="95"/>
                  </a:lnTo>
                  <a:lnTo>
                    <a:pt x="0" y="95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24" name="Freeform 23"/>
            <p:cNvSpPr>
              <a:spLocks/>
            </p:cNvSpPr>
            <p:nvPr userDrawn="1"/>
          </p:nvSpPr>
          <p:spPr bwMode="gray">
            <a:xfrm>
              <a:off x="10596527" y="3670293"/>
              <a:ext cx="90487" cy="101600"/>
            </a:xfrm>
            <a:custGeom>
              <a:avLst/>
              <a:gdLst>
                <a:gd name="T0" fmla="*/ 22622 w 24"/>
                <a:gd name="T1" fmla="*/ 15052 h 27"/>
                <a:gd name="T2" fmla="*/ 22622 w 24"/>
                <a:gd name="T3" fmla="*/ 15052 h 27"/>
                <a:gd name="T4" fmla="*/ 30162 w 24"/>
                <a:gd name="T5" fmla="*/ 7526 h 27"/>
                <a:gd name="T6" fmla="*/ 37703 w 24"/>
                <a:gd name="T7" fmla="*/ 3763 h 27"/>
                <a:gd name="T8" fmla="*/ 45244 w 24"/>
                <a:gd name="T9" fmla="*/ 0 h 27"/>
                <a:gd name="T10" fmla="*/ 56554 w 24"/>
                <a:gd name="T11" fmla="*/ 0 h 27"/>
                <a:gd name="T12" fmla="*/ 67865 w 24"/>
                <a:gd name="T13" fmla="*/ 0 h 27"/>
                <a:gd name="T14" fmla="*/ 75406 w 24"/>
                <a:gd name="T15" fmla="*/ 3763 h 27"/>
                <a:gd name="T16" fmla="*/ 82946 w 24"/>
                <a:gd name="T17" fmla="*/ 11289 h 27"/>
                <a:gd name="T18" fmla="*/ 90487 w 24"/>
                <a:gd name="T19" fmla="*/ 22578 h 27"/>
                <a:gd name="T20" fmla="*/ 90487 w 24"/>
                <a:gd name="T21" fmla="*/ 26341 h 27"/>
                <a:gd name="T22" fmla="*/ 90487 w 24"/>
                <a:gd name="T23" fmla="*/ 37630 h 27"/>
                <a:gd name="T24" fmla="*/ 90487 w 24"/>
                <a:gd name="T25" fmla="*/ 101600 h 27"/>
                <a:gd name="T26" fmla="*/ 67865 w 24"/>
                <a:gd name="T27" fmla="*/ 101600 h 27"/>
                <a:gd name="T28" fmla="*/ 67865 w 24"/>
                <a:gd name="T29" fmla="*/ 41393 h 27"/>
                <a:gd name="T30" fmla="*/ 67865 w 24"/>
                <a:gd name="T31" fmla="*/ 33867 h 27"/>
                <a:gd name="T32" fmla="*/ 64095 w 24"/>
                <a:gd name="T33" fmla="*/ 30104 h 27"/>
                <a:gd name="T34" fmla="*/ 60325 w 24"/>
                <a:gd name="T35" fmla="*/ 22578 h 27"/>
                <a:gd name="T36" fmla="*/ 52784 w 24"/>
                <a:gd name="T37" fmla="*/ 18815 h 27"/>
                <a:gd name="T38" fmla="*/ 37703 w 24"/>
                <a:gd name="T39" fmla="*/ 22578 h 27"/>
                <a:gd name="T40" fmla="*/ 26392 w 24"/>
                <a:gd name="T41" fmla="*/ 33867 h 27"/>
                <a:gd name="T42" fmla="*/ 26392 w 24"/>
                <a:gd name="T43" fmla="*/ 101600 h 27"/>
                <a:gd name="T44" fmla="*/ 0 w 24"/>
                <a:gd name="T45" fmla="*/ 101600 h 27"/>
                <a:gd name="T46" fmla="*/ 0 w 24"/>
                <a:gd name="T47" fmla="*/ 0 h 27"/>
                <a:gd name="T48" fmla="*/ 22622 w 24"/>
                <a:gd name="T49" fmla="*/ 0 h 27"/>
                <a:gd name="T50" fmla="*/ 22622 w 24"/>
                <a:gd name="T51" fmla="*/ 15052 h 27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24" h="27">
                  <a:moveTo>
                    <a:pt x="6" y="4"/>
                  </a:moveTo>
                  <a:cubicBezTo>
                    <a:pt x="6" y="4"/>
                    <a:pt x="6" y="4"/>
                    <a:pt x="6" y="4"/>
                  </a:cubicBezTo>
                  <a:cubicBezTo>
                    <a:pt x="7" y="4"/>
                    <a:pt x="7" y="3"/>
                    <a:pt x="8" y="2"/>
                  </a:cubicBezTo>
                  <a:cubicBezTo>
                    <a:pt x="8" y="2"/>
                    <a:pt x="9" y="1"/>
                    <a:pt x="10" y="1"/>
                  </a:cubicBezTo>
                  <a:cubicBezTo>
                    <a:pt x="11" y="1"/>
                    <a:pt x="11" y="0"/>
                    <a:pt x="12" y="0"/>
                  </a:cubicBezTo>
                  <a:cubicBezTo>
                    <a:pt x="13" y="0"/>
                    <a:pt x="14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1"/>
                    <a:pt x="20" y="1"/>
                  </a:cubicBezTo>
                  <a:cubicBezTo>
                    <a:pt x="21" y="2"/>
                    <a:pt x="22" y="2"/>
                    <a:pt x="22" y="3"/>
                  </a:cubicBezTo>
                  <a:cubicBezTo>
                    <a:pt x="23" y="4"/>
                    <a:pt x="23" y="5"/>
                    <a:pt x="24" y="6"/>
                  </a:cubicBezTo>
                  <a:cubicBezTo>
                    <a:pt x="24" y="6"/>
                    <a:pt x="24" y="7"/>
                    <a:pt x="24" y="7"/>
                  </a:cubicBezTo>
                  <a:cubicBezTo>
                    <a:pt x="24" y="8"/>
                    <a:pt x="24" y="9"/>
                    <a:pt x="24" y="10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18" y="10"/>
                    <a:pt x="18" y="10"/>
                    <a:pt x="18" y="9"/>
                  </a:cubicBezTo>
                  <a:cubicBezTo>
                    <a:pt x="18" y="8"/>
                    <a:pt x="18" y="8"/>
                    <a:pt x="17" y="8"/>
                  </a:cubicBezTo>
                  <a:cubicBezTo>
                    <a:pt x="17" y="7"/>
                    <a:pt x="17" y="6"/>
                    <a:pt x="16" y="6"/>
                  </a:cubicBezTo>
                  <a:cubicBezTo>
                    <a:pt x="15" y="5"/>
                    <a:pt x="14" y="5"/>
                    <a:pt x="14" y="5"/>
                  </a:cubicBezTo>
                  <a:cubicBezTo>
                    <a:pt x="12" y="5"/>
                    <a:pt x="11" y="6"/>
                    <a:pt x="10" y="6"/>
                  </a:cubicBezTo>
                  <a:cubicBezTo>
                    <a:pt x="9" y="7"/>
                    <a:pt x="8" y="8"/>
                    <a:pt x="7" y="9"/>
                  </a:cubicBezTo>
                  <a:cubicBezTo>
                    <a:pt x="7" y="27"/>
                    <a:pt x="7" y="27"/>
                    <a:pt x="7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" y="0"/>
                    <a:pt x="6" y="0"/>
                    <a:pt x="6" y="0"/>
                  </a:cubicBezTo>
                  <a:lnTo>
                    <a:pt x="6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25" name="Freeform 24"/>
            <p:cNvSpPr>
              <a:spLocks noEditPoints="1"/>
            </p:cNvSpPr>
            <p:nvPr userDrawn="1"/>
          </p:nvSpPr>
          <p:spPr bwMode="gray">
            <a:xfrm>
              <a:off x="10709241" y="3670293"/>
              <a:ext cx="90487" cy="101600"/>
            </a:xfrm>
            <a:custGeom>
              <a:avLst/>
              <a:gdLst>
                <a:gd name="T0" fmla="*/ 56554 w 24"/>
                <a:gd name="T1" fmla="*/ 82785 h 27"/>
                <a:gd name="T2" fmla="*/ 71636 w 24"/>
                <a:gd name="T3" fmla="*/ 82785 h 27"/>
                <a:gd name="T4" fmla="*/ 86717 w 24"/>
                <a:gd name="T5" fmla="*/ 79022 h 27"/>
                <a:gd name="T6" fmla="*/ 86717 w 24"/>
                <a:gd name="T7" fmla="*/ 97837 h 27"/>
                <a:gd name="T8" fmla="*/ 71636 w 24"/>
                <a:gd name="T9" fmla="*/ 101600 h 27"/>
                <a:gd name="T10" fmla="*/ 49014 w 24"/>
                <a:gd name="T11" fmla="*/ 101600 h 27"/>
                <a:gd name="T12" fmla="*/ 30162 w 24"/>
                <a:gd name="T13" fmla="*/ 101600 h 27"/>
                <a:gd name="T14" fmla="*/ 3770 w 24"/>
                <a:gd name="T15" fmla="*/ 75259 h 27"/>
                <a:gd name="T16" fmla="*/ 0 w 24"/>
                <a:gd name="T17" fmla="*/ 52681 h 27"/>
                <a:gd name="T18" fmla="*/ 3770 w 24"/>
                <a:gd name="T19" fmla="*/ 30104 h 27"/>
                <a:gd name="T20" fmla="*/ 15081 w 24"/>
                <a:gd name="T21" fmla="*/ 11289 h 27"/>
                <a:gd name="T22" fmla="*/ 30162 w 24"/>
                <a:gd name="T23" fmla="*/ 3763 h 27"/>
                <a:gd name="T24" fmla="*/ 45244 w 24"/>
                <a:gd name="T25" fmla="*/ 0 h 27"/>
                <a:gd name="T26" fmla="*/ 64095 w 24"/>
                <a:gd name="T27" fmla="*/ 0 h 27"/>
                <a:gd name="T28" fmla="*/ 79176 w 24"/>
                <a:gd name="T29" fmla="*/ 11289 h 27"/>
                <a:gd name="T30" fmla="*/ 86717 w 24"/>
                <a:gd name="T31" fmla="*/ 26341 h 27"/>
                <a:gd name="T32" fmla="*/ 90487 w 24"/>
                <a:gd name="T33" fmla="*/ 48919 h 27"/>
                <a:gd name="T34" fmla="*/ 90487 w 24"/>
                <a:gd name="T35" fmla="*/ 56444 h 27"/>
                <a:gd name="T36" fmla="*/ 22622 w 24"/>
                <a:gd name="T37" fmla="*/ 56444 h 27"/>
                <a:gd name="T38" fmla="*/ 26392 w 24"/>
                <a:gd name="T39" fmla="*/ 67733 h 27"/>
                <a:gd name="T40" fmla="*/ 33933 w 24"/>
                <a:gd name="T41" fmla="*/ 75259 h 27"/>
                <a:gd name="T42" fmla="*/ 45244 w 24"/>
                <a:gd name="T43" fmla="*/ 82785 h 27"/>
                <a:gd name="T44" fmla="*/ 56554 w 24"/>
                <a:gd name="T45" fmla="*/ 82785 h 27"/>
                <a:gd name="T46" fmla="*/ 45244 w 24"/>
                <a:gd name="T47" fmla="*/ 18815 h 27"/>
                <a:gd name="T48" fmla="*/ 37703 w 24"/>
                <a:gd name="T49" fmla="*/ 18815 h 27"/>
                <a:gd name="T50" fmla="*/ 30162 w 24"/>
                <a:gd name="T51" fmla="*/ 22578 h 27"/>
                <a:gd name="T52" fmla="*/ 26392 w 24"/>
                <a:gd name="T53" fmla="*/ 30104 h 27"/>
                <a:gd name="T54" fmla="*/ 26392 w 24"/>
                <a:gd name="T55" fmla="*/ 37630 h 27"/>
                <a:gd name="T56" fmla="*/ 64095 w 24"/>
                <a:gd name="T57" fmla="*/ 37630 h 27"/>
                <a:gd name="T58" fmla="*/ 64095 w 24"/>
                <a:gd name="T59" fmla="*/ 30104 h 27"/>
                <a:gd name="T60" fmla="*/ 60325 w 24"/>
                <a:gd name="T61" fmla="*/ 22578 h 27"/>
                <a:gd name="T62" fmla="*/ 45244 w 24"/>
                <a:gd name="T63" fmla="*/ 18815 h 27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4" h="27">
                  <a:moveTo>
                    <a:pt x="15" y="22"/>
                  </a:moveTo>
                  <a:cubicBezTo>
                    <a:pt x="16" y="22"/>
                    <a:pt x="17" y="22"/>
                    <a:pt x="19" y="22"/>
                  </a:cubicBezTo>
                  <a:cubicBezTo>
                    <a:pt x="20" y="21"/>
                    <a:pt x="21" y="21"/>
                    <a:pt x="23" y="21"/>
                  </a:cubicBezTo>
                  <a:cubicBezTo>
                    <a:pt x="23" y="26"/>
                    <a:pt x="23" y="26"/>
                    <a:pt x="23" y="26"/>
                  </a:cubicBezTo>
                  <a:cubicBezTo>
                    <a:pt x="21" y="26"/>
                    <a:pt x="20" y="27"/>
                    <a:pt x="19" y="27"/>
                  </a:cubicBezTo>
                  <a:cubicBezTo>
                    <a:pt x="17" y="27"/>
                    <a:pt x="15" y="27"/>
                    <a:pt x="13" y="27"/>
                  </a:cubicBezTo>
                  <a:cubicBezTo>
                    <a:pt x="12" y="27"/>
                    <a:pt x="10" y="27"/>
                    <a:pt x="8" y="27"/>
                  </a:cubicBezTo>
                  <a:cubicBezTo>
                    <a:pt x="5" y="26"/>
                    <a:pt x="2" y="23"/>
                    <a:pt x="1" y="20"/>
                  </a:cubicBezTo>
                  <a:cubicBezTo>
                    <a:pt x="0" y="18"/>
                    <a:pt x="0" y="16"/>
                    <a:pt x="0" y="14"/>
                  </a:cubicBezTo>
                  <a:cubicBezTo>
                    <a:pt x="0" y="12"/>
                    <a:pt x="0" y="10"/>
                    <a:pt x="1" y="8"/>
                  </a:cubicBezTo>
                  <a:cubicBezTo>
                    <a:pt x="2" y="6"/>
                    <a:pt x="2" y="4"/>
                    <a:pt x="4" y="3"/>
                  </a:cubicBezTo>
                  <a:cubicBezTo>
                    <a:pt x="5" y="2"/>
                    <a:pt x="6" y="1"/>
                    <a:pt x="8" y="1"/>
                  </a:cubicBezTo>
                  <a:cubicBezTo>
                    <a:pt x="9" y="0"/>
                    <a:pt x="11" y="0"/>
                    <a:pt x="12" y="0"/>
                  </a:cubicBezTo>
                  <a:cubicBezTo>
                    <a:pt x="14" y="0"/>
                    <a:pt x="15" y="0"/>
                    <a:pt x="17" y="0"/>
                  </a:cubicBezTo>
                  <a:cubicBezTo>
                    <a:pt x="18" y="1"/>
                    <a:pt x="20" y="2"/>
                    <a:pt x="21" y="3"/>
                  </a:cubicBezTo>
                  <a:cubicBezTo>
                    <a:pt x="22" y="4"/>
                    <a:pt x="22" y="5"/>
                    <a:pt x="23" y="7"/>
                  </a:cubicBezTo>
                  <a:cubicBezTo>
                    <a:pt x="24" y="9"/>
                    <a:pt x="24" y="11"/>
                    <a:pt x="24" y="13"/>
                  </a:cubicBezTo>
                  <a:cubicBezTo>
                    <a:pt x="24" y="14"/>
                    <a:pt x="24" y="15"/>
                    <a:pt x="24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6"/>
                    <a:pt x="7" y="17"/>
                    <a:pt x="7" y="18"/>
                  </a:cubicBezTo>
                  <a:cubicBezTo>
                    <a:pt x="8" y="19"/>
                    <a:pt x="8" y="20"/>
                    <a:pt x="9" y="20"/>
                  </a:cubicBezTo>
                  <a:cubicBezTo>
                    <a:pt x="10" y="21"/>
                    <a:pt x="11" y="21"/>
                    <a:pt x="12" y="22"/>
                  </a:cubicBezTo>
                  <a:cubicBezTo>
                    <a:pt x="13" y="22"/>
                    <a:pt x="14" y="22"/>
                    <a:pt x="15" y="22"/>
                  </a:cubicBezTo>
                  <a:close/>
                  <a:moveTo>
                    <a:pt x="12" y="5"/>
                  </a:moveTo>
                  <a:cubicBezTo>
                    <a:pt x="11" y="5"/>
                    <a:pt x="11" y="5"/>
                    <a:pt x="10" y="5"/>
                  </a:cubicBezTo>
                  <a:cubicBezTo>
                    <a:pt x="9" y="5"/>
                    <a:pt x="9" y="6"/>
                    <a:pt x="8" y="6"/>
                  </a:cubicBezTo>
                  <a:cubicBezTo>
                    <a:pt x="8" y="7"/>
                    <a:pt x="8" y="7"/>
                    <a:pt x="7" y="8"/>
                  </a:cubicBezTo>
                  <a:cubicBezTo>
                    <a:pt x="7" y="9"/>
                    <a:pt x="7" y="10"/>
                    <a:pt x="7" y="1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7" y="10"/>
                    <a:pt x="17" y="9"/>
                    <a:pt x="17" y="8"/>
                  </a:cubicBezTo>
                  <a:cubicBezTo>
                    <a:pt x="17" y="7"/>
                    <a:pt x="16" y="7"/>
                    <a:pt x="16" y="6"/>
                  </a:cubicBezTo>
                  <a:cubicBezTo>
                    <a:pt x="15" y="5"/>
                    <a:pt x="14" y="5"/>
                    <a:pt x="12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26" name="Freeform 25"/>
            <p:cNvSpPr>
              <a:spLocks noEditPoints="1"/>
            </p:cNvSpPr>
            <p:nvPr userDrawn="1"/>
          </p:nvSpPr>
          <p:spPr bwMode="gray">
            <a:xfrm>
              <a:off x="10814012" y="3670293"/>
              <a:ext cx="90487" cy="101600"/>
            </a:xfrm>
            <a:custGeom>
              <a:avLst/>
              <a:gdLst>
                <a:gd name="T0" fmla="*/ 56554 w 24"/>
                <a:gd name="T1" fmla="*/ 82785 h 27"/>
                <a:gd name="T2" fmla="*/ 71636 w 24"/>
                <a:gd name="T3" fmla="*/ 82785 h 27"/>
                <a:gd name="T4" fmla="*/ 86717 w 24"/>
                <a:gd name="T5" fmla="*/ 79022 h 27"/>
                <a:gd name="T6" fmla="*/ 86717 w 24"/>
                <a:gd name="T7" fmla="*/ 97837 h 27"/>
                <a:gd name="T8" fmla="*/ 71636 w 24"/>
                <a:gd name="T9" fmla="*/ 101600 h 27"/>
                <a:gd name="T10" fmla="*/ 52784 w 24"/>
                <a:gd name="T11" fmla="*/ 101600 h 27"/>
                <a:gd name="T12" fmla="*/ 33933 w 24"/>
                <a:gd name="T13" fmla="*/ 101600 h 27"/>
                <a:gd name="T14" fmla="*/ 15081 w 24"/>
                <a:gd name="T15" fmla="*/ 90311 h 27"/>
                <a:gd name="T16" fmla="*/ 3770 w 24"/>
                <a:gd name="T17" fmla="*/ 75259 h 27"/>
                <a:gd name="T18" fmla="*/ 0 w 24"/>
                <a:gd name="T19" fmla="*/ 52681 h 27"/>
                <a:gd name="T20" fmla="*/ 3770 w 24"/>
                <a:gd name="T21" fmla="*/ 30104 h 27"/>
                <a:gd name="T22" fmla="*/ 15081 w 24"/>
                <a:gd name="T23" fmla="*/ 11289 h 27"/>
                <a:gd name="T24" fmla="*/ 30162 w 24"/>
                <a:gd name="T25" fmla="*/ 3763 h 27"/>
                <a:gd name="T26" fmla="*/ 49014 w 24"/>
                <a:gd name="T27" fmla="*/ 0 h 27"/>
                <a:gd name="T28" fmla="*/ 64095 w 24"/>
                <a:gd name="T29" fmla="*/ 3763 h 27"/>
                <a:gd name="T30" fmla="*/ 79176 w 24"/>
                <a:gd name="T31" fmla="*/ 11289 h 27"/>
                <a:gd name="T32" fmla="*/ 86717 w 24"/>
                <a:gd name="T33" fmla="*/ 26341 h 27"/>
                <a:gd name="T34" fmla="*/ 90487 w 24"/>
                <a:gd name="T35" fmla="*/ 48919 h 27"/>
                <a:gd name="T36" fmla="*/ 90487 w 24"/>
                <a:gd name="T37" fmla="*/ 56444 h 27"/>
                <a:gd name="T38" fmla="*/ 26392 w 24"/>
                <a:gd name="T39" fmla="*/ 56444 h 27"/>
                <a:gd name="T40" fmla="*/ 30162 w 24"/>
                <a:gd name="T41" fmla="*/ 67733 h 27"/>
                <a:gd name="T42" fmla="*/ 33933 w 24"/>
                <a:gd name="T43" fmla="*/ 79022 h 27"/>
                <a:gd name="T44" fmla="*/ 45244 w 24"/>
                <a:gd name="T45" fmla="*/ 82785 h 27"/>
                <a:gd name="T46" fmla="*/ 56554 w 24"/>
                <a:gd name="T47" fmla="*/ 82785 h 27"/>
                <a:gd name="T48" fmla="*/ 49014 w 24"/>
                <a:gd name="T49" fmla="*/ 18815 h 27"/>
                <a:gd name="T50" fmla="*/ 41473 w 24"/>
                <a:gd name="T51" fmla="*/ 18815 h 27"/>
                <a:gd name="T52" fmla="*/ 33933 w 24"/>
                <a:gd name="T53" fmla="*/ 22578 h 27"/>
                <a:gd name="T54" fmla="*/ 30162 w 24"/>
                <a:gd name="T55" fmla="*/ 30104 h 27"/>
                <a:gd name="T56" fmla="*/ 26392 w 24"/>
                <a:gd name="T57" fmla="*/ 37630 h 27"/>
                <a:gd name="T58" fmla="*/ 67865 w 24"/>
                <a:gd name="T59" fmla="*/ 37630 h 27"/>
                <a:gd name="T60" fmla="*/ 64095 w 24"/>
                <a:gd name="T61" fmla="*/ 30104 h 27"/>
                <a:gd name="T62" fmla="*/ 60325 w 24"/>
                <a:gd name="T63" fmla="*/ 22578 h 27"/>
                <a:gd name="T64" fmla="*/ 49014 w 24"/>
                <a:gd name="T65" fmla="*/ 18815 h 2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4" h="27">
                  <a:moveTo>
                    <a:pt x="15" y="22"/>
                  </a:moveTo>
                  <a:cubicBezTo>
                    <a:pt x="17" y="22"/>
                    <a:pt x="18" y="22"/>
                    <a:pt x="19" y="22"/>
                  </a:cubicBezTo>
                  <a:cubicBezTo>
                    <a:pt x="21" y="21"/>
                    <a:pt x="22" y="21"/>
                    <a:pt x="23" y="21"/>
                  </a:cubicBezTo>
                  <a:cubicBezTo>
                    <a:pt x="23" y="26"/>
                    <a:pt x="23" y="26"/>
                    <a:pt x="23" y="26"/>
                  </a:cubicBezTo>
                  <a:cubicBezTo>
                    <a:pt x="22" y="26"/>
                    <a:pt x="21" y="27"/>
                    <a:pt x="19" y="27"/>
                  </a:cubicBezTo>
                  <a:cubicBezTo>
                    <a:pt x="18" y="27"/>
                    <a:pt x="16" y="27"/>
                    <a:pt x="14" y="27"/>
                  </a:cubicBezTo>
                  <a:cubicBezTo>
                    <a:pt x="12" y="27"/>
                    <a:pt x="10" y="27"/>
                    <a:pt x="9" y="27"/>
                  </a:cubicBezTo>
                  <a:cubicBezTo>
                    <a:pt x="7" y="26"/>
                    <a:pt x="6" y="25"/>
                    <a:pt x="4" y="24"/>
                  </a:cubicBezTo>
                  <a:cubicBezTo>
                    <a:pt x="3" y="23"/>
                    <a:pt x="2" y="22"/>
                    <a:pt x="1" y="20"/>
                  </a:cubicBezTo>
                  <a:cubicBezTo>
                    <a:pt x="0" y="18"/>
                    <a:pt x="0" y="16"/>
                    <a:pt x="0" y="14"/>
                  </a:cubicBezTo>
                  <a:cubicBezTo>
                    <a:pt x="0" y="12"/>
                    <a:pt x="0" y="10"/>
                    <a:pt x="1" y="8"/>
                  </a:cubicBezTo>
                  <a:cubicBezTo>
                    <a:pt x="2" y="6"/>
                    <a:pt x="3" y="5"/>
                    <a:pt x="4" y="3"/>
                  </a:cubicBezTo>
                  <a:cubicBezTo>
                    <a:pt x="5" y="2"/>
                    <a:pt x="6" y="1"/>
                    <a:pt x="8" y="1"/>
                  </a:cubicBezTo>
                  <a:cubicBezTo>
                    <a:pt x="9" y="0"/>
                    <a:pt x="11" y="0"/>
                    <a:pt x="13" y="0"/>
                  </a:cubicBezTo>
                  <a:cubicBezTo>
                    <a:pt x="14" y="0"/>
                    <a:pt x="16" y="0"/>
                    <a:pt x="17" y="1"/>
                  </a:cubicBezTo>
                  <a:cubicBezTo>
                    <a:pt x="19" y="1"/>
                    <a:pt x="20" y="2"/>
                    <a:pt x="21" y="3"/>
                  </a:cubicBezTo>
                  <a:cubicBezTo>
                    <a:pt x="22" y="4"/>
                    <a:pt x="23" y="5"/>
                    <a:pt x="23" y="7"/>
                  </a:cubicBezTo>
                  <a:cubicBezTo>
                    <a:pt x="24" y="9"/>
                    <a:pt x="24" y="11"/>
                    <a:pt x="24" y="13"/>
                  </a:cubicBezTo>
                  <a:cubicBezTo>
                    <a:pt x="24" y="14"/>
                    <a:pt x="24" y="15"/>
                    <a:pt x="24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6"/>
                    <a:pt x="7" y="17"/>
                    <a:pt x="8" y="18"/>
                  </a:cubicBezTo>
                  <a:cubicBezTo>
                    <a:pt x="8" y="19"/>
                    <a:pt x="9" y="20"/>
                    <a:pt x="9" y="21"/>
                  </a:cubicBezTo>
                  <a:cubicBezTo>
                    <a:pt x="10" y="21"/>
                    <a:pt x="11" y="21"/>
                    <a:pt x="12" y="22"/>
                  </a:cubicBezTo>
                  <a:cubicBezTo>
                    <a:pt x="13" y="22"/>
                    <a:pt x="14" y="22"/>
                    <a:pt x="15" y="22"/>
                  </a:cubicBezTo>
                  <a:close/>
                  <a:moveTo>
                    <a:pt x="13" y="5"/>
                  </a:moveTo>
                  <a:cubicBezTo>
                    <a:pt x="12" y="5"/>
                    <a:pt x="11" y="5"/>
                    <a:pt x="11" y="5"/>
                  </a:cubicBezTo>
                  <a:cubicBezTo>
                    <a:pt x="10" y="5"/>
                    <a:pt x="9" y="6"/>
                    <a:pt x="9" y="6"/>
                  </a:cubicBezTo>
                  <a:cubicBezTo>
                    <a:pt x="8" y="7"/>
                    <a:pt x="8" y="7"/>
                    <a:pt x="8" y="8"/>
                  </a:cubicBezTo>
                  <a:cubicBezTo>
                    <a:pt x="8" y="9"/>
                    <a:pt x="7" y="10"/>
                    <a:pt x="7" y="1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8" y="10"/>
                    <a:pt x="17" y="9"/>
                    <a:pt x="17" y="8"/>
                  </a:cubicBezTo>
                  <a:cubicBezTo>
                    <a:pt x="17" y="7"/>
                    <a:pt x="17" y="7"/>
                    <a:pt x="16" y="6"/>
                  </a:cubicBezTo>
                  <a:cubicBezTo>
                    <a:pt x="15" y="5"/>
                    <a:pt x="14" y="5"/>
                    <a:pt x="13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27" name="Freeform 26"/>
            <p:cNvSpPr>
              <a:spLocks/>
            </p:cNvSpPr>
            <p:nvPr userDrawn="1"/>
          </p:nvSpPr>
          <p:spPr bwMode="gray">
            <a:xfrm>
              <a:off x="10926727" y="3670293"/>
              <a:ext cx="60325" cy="101600"/>
            </a:xfrm>
            <a:custGeom>
              <a:avLst/>
              <a:gdLst>
                <a:gd name="T0" fmla="*/ 60325 w 16"/>
                <a:gd name="T1" fmla="*/ 18815 h 27"/>
                <a:gd name="T2" fmla="*/ 56555 w 16"/>
                <a:gd name="T3" fmla="*/ 18815 h 27"/>
                <a:gd name="T4" fmla="*/ 37703 w 16"/>
                <a:gd name="T5" fmla="*/ 22578 h 27"/>
                <a:gd name="T6" fmla="*/ 26392 w 16"/>
                <a:gd name="T7" fmla="*/ 33867 h 27"/>
                <a:gd name="T8" fmla="*/ 26392 w 16"/>
                <a:gd name="T9" fmla="*/ 101600 h 27"/>
                <a:gd name="T10" fmla="*/ 0 w 16"/>
                <a:gd name="T11" fmla="*/ 101600 h 27"/>
                <a:gd name="T12" fmla="*/ 0 w 16"/>
                <a:gd name="T13" fmla="*/ 0 h 27"/>
                <a:gd name="T14" fmla="*/ 22622 w 16"/>
                <a:gd name="T15" fmla="*/ 0 h 27"/>
                <a:gd name="T16" fmla="*/ 22622 w 16"/>
                <a:gd name="T17" fmla="*/ 15052 h 27"/>
                <a:gd name="T18" fmla="*/ 22622 w 16"/>
                <a:gd name="T19" fmla="*/ 15052 h 27"/>
                <a:gd name="T20" fmla="*/ 33933 w 16"/>
                <a:gd name="T21" fmla="*/ 3763 h 27"/>
                <a:gd name="T22" fmla="*/ 52784 w 16"/>
                <a:gd name="T23" fmla="*/ 0 h 27"/>
                <a:gd name="T24" fmla="*/ 60325 w 16"/>
                <a:gd name="T25" fmla="*/ 0 h 27"/>
                <a:gd name="T26" fmla="*/ 60325 w 16"/>
                <a:gd name="T27" fmla="*/ 18815 h 2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6" h="27">
                  <a:moveTo>
                    <a:pt x="16" y="5"/>
                  </a:moveTo>
                  <a:cubicBezTo>
                    <a:pt x="15" y="5"/>
                    <a:pt x="15" y="5"/>
                    <a:pt x="15" y="5"/>
                  </a:cubicBezTo>
                  <a:cubicBezTo>
                    <a:pt x="14" y="5"/>
                    <a:pt x="12" y="6"/>
                    <a:pt x="10" y="6"/>
                  </a:cubicBezTo>
                  <a:cubicBezTo>
                    <a:pt x="9" y="7"/>
                    <a:pt x="8" y="8"/>
                    <a:pt x="7" y="9"/>
                  </a:cubicBezTo>
                  <a:cubicBezTo>
                    <a:pt x="7" y="27"/>
                    <a:pt x="7" y="27"/>
                    <a:pt x="7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7" y="3"/>
                    <a:pt x="8" y="2"/>
                    <a:pt x="9" y="1"/>
                  </a:cubicBezTo>
                  <a:cubicBezTo>
                    <a:pt x="11" y="0"/>
                    <a:pt x="12" y="0"/>
                    <a:pt x="14" y="0"/>
                  </a:cubicBezTo>
                  <a:cubicBezTo>
                    <a:pt x="15" y="0"/>
                    <a:pt x="15" y="0"/>
                    <a:pt x="16" y="0"/>
                  </a:cubicBezTo>
                  <a:lnTo>
                    <a:pt x="16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28" name="Freeform 27"/>
            <p:cNvSpPr>
              <a:spLocks/>
            </p:cNvSpPr>
            <p:nvPr userDrawn="1"/>
          </p:nvSpPr>
          <p:spPr bwMode="gray">
            <a:xfrm>
              <a:off x="11009280" y="3632194"/>
              <a:ext cx="41275" cy="57150"/>
            </a:xfrm>
            <a:custGeom>
              <a:avLst/>
              <a:gdLst>
                <a:gd name="T0" fmla="*/ 15875 w 26"/>
                <a:gd name="T1" fmla="*/ 0 h 36"/>
                <a:gd name="T2" fmla="*/ 41275 w 26"/>
                <a:gd name="T3" fmla="*/ 0 h 36"/>
                <a:gd name="T4" fmla="*/ 19050 w 26"/>
                <a:gd name="T5" fmla="*/ 57150 h 36"/>
                <a:gd name="T6" fmla="*/ 0 w 26"/>
                <a:gd name="T7" fmla="*/ 57150 h 36"/>
                <a:gd name="T8" fmla="*/ 15875 w 26"/>
                <a:gd name="T9" fmla="*/ 0 h 3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6" h="36">
                  <a:moveTo>
                    <a:pt x="10" y="0"/>
                  </a:moveTo>
                  <a:lnTo>
                    <a:pt x="26" y="0"/>
                  </a:lnTo>
                  <a:lnTo>
                    <a:pt x="12" y="36"/>
                  </a:lnTo>
                  <a:lnTo>
                    <a:pt x="0" y="36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29" name="Freeform 28"/>
            <p:cNvSpPr>
              <a:spLocks/>
            </p:cNvSpPr>
            <p:nvPr userDrawn="1"/>
          </p:nvSpPr>
          <p:spPr bwMode="gray">
            <a:xfrm>
              <a:off x="11055319" y="3667119"/>
              <a:ext cx="74613" cy="104775"/>
            </a:xfrm>
            <a:custGeom>
              <a:avLst/>
              <a:gdLst>
                <a:gd name="T0" fmla="*/ 48498 w 20"/>
                <a:gd name="T1" fmla="*/ 74839 h 28"/>
                <a:gd name="T2" fmla="*/ 48498 w 20"/>
                <a:gd name="T3" fmla="*/ 71097 h 28"/>
                <a:gd name="T4" fmla="*/ 41037 w 20"/>
                <a:gd name="T5" fmla="*/ 67355 h 28"/>
                <a:gd name="T6" fmla="*/ 33576 w 20"/>
                <a:gd name="T7" fmla="*/ 63613 h 28"/>
                <a:gd name="T8" fmla="*/ 26115 w 20"/>
                <a:gd name="T9" fmla="*/ 59871 h 28"/>
                <a:gd name="T10" fmla="*/ 18653 w 20"/>
                <a:gd name="T11" fmla="*/ 59871 h 28"/>
                <a:gd name="T12" fmla="*/ 7461 w 20"/>
                <a:gd name="T13" fmla="*/ 52388 h 28"/>
                <a:gd name="T14" fmla="*/ 3731 w 20"/>
                <a:gd name="T15" fmla="*/ 44904 h 28"/>
                <a:gd name="T16" fmla="*/ 0 w 20"/>
                <a:gd name="T17" fmla="*/ 33678 h 28"/>
                <a:gd name="T18" fmla="*/ 3731 w 20"/>
                <a:gd name="T19" fmla="*/ 18710 h 28"/>
                <a:gd name="T20" fmla="*/ 11192 w 20"/>
                <a:gd name="T21" fmla="*/ 11226 h 28"/>
                <a:gd name="T22" fmla="*/ 22384 w 20"/>
                <a:gd name="T23" fmla="*/ 3742 h 28"/>
                <a:gd name="T24" fmla="*/ 37307 w 20"/>
                <a:gd name="T25" fmla="*/ 0 h 28"/>
                <a:gd name="T26" fmla="*/ 55960 w 20"/>
                <a:gd name="T27" fmla="*/ 3742 h 28"/>
                <a:gd name="T28" fmla="*/ 70882 w 20"/>
                <a:gd name="T29" fmla="*/ 7484 h 28"/>
                <a:gd name="T30" fmla="*/ 70882 w 20"/>
                <a:gd name="T31" fmla="*/ 26194 h 28"/>
                <a:gd name="T32" fmla="*/ 63421 w 20"/>
                <a:gd name="T33" fmla="*/ 26194 h 28"/>
                <a:gd name="T34" fmla="*/ 55960 w 20"/>
                <a:gd name="T35" fmla="*/ 22452 h 28"/>
                <a:gd name="T36" fmla="*/ 48498 w 20"/>
                <a:gd name="T37" fmla="*/ 22452 h 28"/>
                <a:gd name="T38" fmla="*/ 41037 w 20"/>
                <a:gd name="T39" fmla="*/ 22452 h 28"/>
                <a:gd name="T40" fmla="*/ 33576 w 20"/>
                <a:gd name="T41" fmla="*/ 22452 h 28"/>
                <a:gd name="T42" fmla="*/ 29845 w 20"/>
                <a:gd name="T43" fmla="*/ 26194 h 28"/>
                <a:gd name="T44" fmla="*/ 26115 w 20"/>
                <a:gd name="T45" fmla="*/ 26194 h 28"/>
                <a:gd name="T46" fmla="*/ 26115 w 20"/>
                <a:gd name="T47" fmla="*/ 29936 h 28"/>
                <a:gd name="T48" fmla="*/ 26115 w 20"/>
                <a:gd name="T49" fmla="*/ 37420 h 28"/>
                <a:gd name="T50" fmla="*/ 29845 w 20"/>
                <a:gd name="T51" fmla="*/ 41162 h 28"/>
                <a:gd name="T52" fmla="*/ 37307 w 20"/>
                <a:gd name="T53" fmla="*/ 41162 h 28"/>
                <a:gd name="T54" fmla="*/ 44768 w 20"/>
                <a:gd name="T55" fmla="*/ 44904 h 28"/>
                <a:gd name="T56" fmla="*/ 55960 w 20"/>
                <a:gd name="T57" fmla="*/ 48646 h 28"/>
                <a:gd name="T58" fmla="*/ 63421 w 20"/>
                <a:gd name="T59" fmla="*/ 52388 h 28"/>
                <a:gd name="T60" fmla="*/ 70882 w 20"/>
                <a:gd name="T61" fmla="*/ 59871 h 28"/>
                <a:gd name="T62" fmla="*/ 74613 w 20"/>
                <a:gd name="T63" fmla="*/ 71097 h 28"/>
                <a:gd name="T64" fmla="*/ 70882 w 20"/>
                <a:gd name="T65" fmla="*/ 86065 h 28"/>
                <a:gd name="T66" fmla="*/ 59690 w 20"/>
                <a:gd name="T67" fmla="*/ 97291 h 28"/>
                <a:gd name="T68" fmla="*/ 48498 w 20"/>
                <a:gd name="T69" fmla="*/ 104775 h 28"/>
                <a:gd name="T70" fmla="*/ 29845 w 20"/>
                <a:gd name="T71" fmla="*/ 104775 h 28"/>
                <a:gd name="T72" fmla="*/ 14923 w 20"/>
                <a:gd name="T73" fmla="*/ 104775 h 28"/>
                <a:gd name="T74" fmla="*/ 0 w 20"/>
                <a:gd name="T75" fmla="*/ 101033 h 28"/>
                <a:gd name="T76" fmla="*/ 0 w 20"/>
                <a:gd name="T77" fmla="*/ 82323 h 28"/>
                <a:gd name="T78" fmla="*/ 14923 w 20"/>
                <a:gd name="T79" fmla="*/ 86065 h 28"/>
                <a:gd name="T80" fmla="*/ 29845 w 20"/>
                <a:gd name="T81" fmla="*/ 86065 h 28"/>
                <a:gd name="T82" fmla="*/ 37307 w 20"/>
                <a:gd name="T83" fmla="*/ 86065 h 28"/>
                <a:gd name="T84" fmla="*/ 44768 w 20"/>
                <a:gd name="T85" fmla="*/ 86065 h 28"/>
                <a:gd name="T86" fmla="*/ 48498 w 20"/>
                <a:gd name="T87" fmla="*/ 82323 h 28"/>
                <a:gd name="T88" fmla="*/ 48498 w 20"/>
                <a:gd name="T89" fmla="*/ 74839 h 2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20" h="28">
                  <a:moveTo>
                    <a:pt x="13" y="20"/>
                  </a:moveTo>
                  <a:cubicBezTo>
                    <a:pt x="13" y="19"/>
                    <a:pt x="13" y="19"/>
                    <a:pt x="13" y="19"/>
                  </a:cubicBezTo>
                  <a:cubicBezTo>
                    <a:pt x="12" y="18"/>
                    <a:pt x="12" y="18"/>
                    <a:pt x="11" y="18"/>
                  </a:cubicBezTo>
                  <a:cubicBezTo>
                    <a:pt x="11" y="17"/>
                    <a:pt x="10" y="17"/>
                    <a:pt x="9" y="17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6" y="16"/>
                    <a:pt x="6" y="16"/>
                    <a:pt x="5" y="16"/>
                  </a:cubicBezTo>
                  <a:cubicBezTo>
                    <a:pt x="4" y="15"/>
                    <a:pt x="3" y="15"/>
                    <a:pt x="2" y="14"/>
                  </a:cubicBezTo>
                  <a:cubicBezTo>
                    <a:pt x="2" y="14"/>
                    <a:pt x="1" y="13"/>
                    <a:pt x="1" y="12"/>
                  </a:cubicBezTo>
                  <a:cubicBezTo>
                    <a:pt x="0" y="11"/>
                    <a:pt x="0" y="10"/>
                    <a:pt x="0" y="9"/>
                  </a:cubicBezTo>
                  <a:cubicBezTo>
                    <a:pt x="0" y="8"/>
                    <a:pt x="0" y="6"/>
                    <a:pt x="1" y="5"/>
                  </a:cubicBezTo>
                  <a:cubicBezTo>
                    <a:pt x="2" y="4"/>
                    <a:pt x="2" y="3"/>
                    <a:pt x="3" y="3"/>
                  </a:cubicBezTo>
                  <a:cubicBezTo>
                    <a:pt x="4" y="2"/>
                    <a:pt x="5" y="1"/>
                    <a:pt x="6" y="1"/>
                  </a:cubicBezTo>
                  <a:cubicBezTo>
                    <a:pt x="7" y="1"/>
                    <a:pt x="9" y="0"/>
                    <a:pt x="10" y="0"/>
                  </a:cubicBezTo>
                  <a:cubicBezTo>
                    <a:pt x="12" y="0"/>
                    <a:pt x="13" y="1"/>
                    <a:pt x="15" y="1"/>
                  </a:cubicBezTo>
                  <a:cubicBezTo>
                    <a:pt x="16" y="1"/>
                    <a:pt x="17" y="1"/>
                    <a:pt x="19" y="2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0" y="6"/>
                    <a:pt x="9" y="6"/>
                    <a:pt x="9" y="6"/>
                  </a:cubicBezTo>
                  <a:cubicBezTo>
                    <a:pt x="8" y="6"/>
                    <a:pt x="8" y="6"/>
                    <a:pt x="8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9"/>
                    <a:pt x="7" y="9"/>
                    <a:pt x="7" y="10"/>
                  </a:cubicBezTo>
                  <a:cubicBezTo>
                    <a:pt x="7" y="10"/>
                    <a:pt x="8" y="11"/>
                    <a:pt x="8" y="11"/>
                  </a:cubicBezTo>
                  <a:cubicBezTo>
                    <a:pt x="9" y="11"/>
                    <a:pt x="10" y="11"/>
                    <a:pt x="10" y="11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12"/>
                    <a:pt x="14" y="12"/>
                    <a:pt x="15" y="13"/>
                  </a:cubicBezTo>
                  <a:cubicBezTo>
                    <a:pt x="16" y="13"/>
                    <a:pt x="16" y="13"/>
                    <a:pt x="17" y="14"/>
                  </a:cubicBezTo>
                  <a:cubicBezTo>
                    <a:pt x="18" y="15"/>
                    <a:pt x="18" y="15"/>
                    <a:pt x="19" y="16"/>
                  </a:cubicBezTo>
                  <a:cubicBezTo>
                    <a:pt x="19" y="17"/>
                    <a:pt x="20" y="18"/>
                    <a:pt x="20" y="19"/>
                  </a:cubicBezTo>
                  <a:cubicBezTo>
                    <a:pt x="20" y="21"/>
                    <a:pt x="19" y="22"/>
                    <a:pt x="19" y="23"/>
                  </a:cubicBezTo>
                  <a:cubicBezTo>
                    <a:pt x="18" y="25"/>
                    <a:pt x="17" y="25"/>
                    <a:pt x="16" y="26"/>
                  </a:cubicBezTo>
                  <a:cubicBezTo>
                    <a:pt x="15" y="27"/>
                    <a:pt x="14" y="28"/>
                    <a:pt x="13" y="28"/>
                  </a:cubicBezTo>
                  <a:cubicBezTo>
                    <a:pt x="11" y="28"/>
                    <a:pt x="10" y="28"/>
                    <a:pt x="8" y="28"/>
                  </a:cubicBezTo>
                  <a:cubicBezTo>
                    <a:pt x="7" y="28"/>
                    <a:pt x="5" y="28"/>
                    <a:pt x="4" y="28"/>
                  </a:cubicBezTo>
                  <a:cubicBezTo>
                    <a:pt x="2" y="28"/>
                    <a:pt x="1" y="27"/>
                    <a:pt x="0" y="27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2" y="22"/>
                    <a:pt x="3" y="23"/>
                    <a:pt x="4" y="23"/>
                  </a:cubicBezTo>
                  <a:cubicBezTo>
                    <a:pt x="5" y="23"/>
                    <a:pt x="7" y="23"/>
                    <a:pt x="8" y="23"/>
                  </a:cubicBezTo>
                  <a:cubicBezTo>
                    <a:pt x="8" y="23"/>
                    <a:pt x="9" y="23"/>
                    <a:pt x="10" y="23"/>
                  </a:cubicBezTo>
                  <a:cubicBezTo>
                    <a:pt x="11" y="23"/>
                    <a:pt x="11" y="23"/>
                    <a:pt x="12" y="23"/>
                  </a:cubicBezTo>
                  <a:cubicBezTo>
                    <a:pt x="12" y="22"/>
                    <a:pt x="13" y="22"/>
                    <a:pt x="13" y="22"/>
                  </a:cubicBezTo>
                  <a:cubicBezTo>
                    <a:pt x="13" y="21"/>
                    <a:pt x="13" y="21"/>
                    <a:pt x="13" y="2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30" name="Freeform 29"/>
            <p:cNvSpPr>
              <a:spLocks/>
            </p:cNvSpPr>
            <p:nvPr userDrawn="1"/>
          </p:nvSpPr>
          <p:spPr bwMode="gray">
            <a:xfrm>
              <a:off x="11185488" y="3670293"/>
              <a:ext cx="76200" cy="101600"/>
            </a:xfrm>
            <a:custGeom>
              <a:avLst/>
              <a:gdLst>
                <a:gd name="T0" fmla="*/ 76200 w 20"/>
                <a:gd name="T1" fmla="*/ 97837 h 27"/>
                <a:gd name="T2" fmla="*/ 64770 w 20"/>
                <a:gd name="T3" fmla="*/ 101600 h 27"/>
                <a:gd name="T4" fmla="*/ 53340 w 20"/>
                <a:gd name="T5" fmla="*/ 101600 h 27"/>
                <a:gd name="T6" fmla="*/ 30480 w 20"/>
                <a:gd name="T7" fmla="*/ 97837 h 27"/>
                <a:gd name="T8" fmla="*/ 15240 w 20"/>
                <a:gd name="T9" fmla="*/ 90311 h 27"/>
                <a:gd name="T10" fmla="*/ 3810 w 20"/>
                <a:gd name="T11" fmla="*/ 75259 h 27"/>
                <a:gd name="T12" fmla="*/ 0 w 20"/>
                <a:gd name="T13" fmla="*/ 52681 h 27"/>
                <a:gd name="T14" fmla="*/ 3810 w 20"/>
                <a:gd name="T15" fmla="*/ 30104 h 27"/>
                <a:gd name="T16" fmla="*/ 15240 w 20"/>
                <a:gd name="T17" fmla="*/ 11289 h 27"/>
                <a:gd name="T18" fmla="*/ 34290 w 20"/>
                <a:gd name="T19" fmla="*/ 3763 h 27"/>
                <a:gd name="T20" fmla="*/ 53340 w 20"/>
                <a:gd name="T21" fmla="*/ 0 h 27"/>
                <a:gd name="T22" fmla="*/ 64770 w 20"/>
                <a:gd name="T23" fmla="*/ 0 h 27"/>
                <a:gd name="T24" fmla="*/ 76200 w 20"/>
                <a:gd name="T25" fmla="*/ 3763 h 27"/>
                <a:gd name="T26" fmla="*/ 76200 w 20"/>
                <a:gd name="T27" fmla="*/ 22578 h 27"/>
                <a:gd name="T28" fmla="*/ 64770 w 20"/>
                <a:gd name="T29" fmla="*/ 18815 h 27"/>
                <a:gd name="T30" fmla="*/ 57150 w 20"/>
                <a:gd name="T31" fmla="*/ 18815 h 27"/>
                <a:gd name="T32" fmla="*/ 45720 w 20"/>
                <a:gd name="T33" fmla="*/ 22578 h 27"/>
                <a:gd name="T34" fmla="*/ 34290 w 20"/>
                <a:gd name="T35" fmla="*/ 26341 h 27"/>
                <a:gd name="T36" fmla="*/ 26670 w 20"/>
                <a:gd name="T37" fmla="*/ 37630 h 27"/>
                <a:gd name="T38" fmla="*/ 26670 w 20"/>
                <a:gd name="T39" fmla="*/ 52681 h 27"/>
                <a:gd name="T40" fmla="*/ 26670 w 20"/>
                <a:gd name="T41" fmla="*/ 63970 h 27"/>
                <a:gd name="T42" fmla="*/ 34290 w 20"/>
                <a:gd name="T43" fmla="*/ 75259 h 27"/>
                <a:gd name="T44" fmla="*/ 41910 w 20"/>
                <a:gd name="T45" fmla="*/ 79022 h 27"/>
                <a:gd name="T46" fmla="*/ 53340 w 20"/>
                <a:gd name="T47" fmla="*/ 82785 h 27"/>
                <a:gd name="T48" fmla="*/ 68580 w 20"/>
                <a:gd name="T49" fmla="*/ 82785 h 27"/>
                <a:gd name="T50" fmla="*/ 76200 w 20"/>
                <a:gd name="T51" fmla="*/ 79022 h 27"/>
                <a:gd name="T52" fmla="*/ 76200 w 20"/>
                <a:gd name="T53" fmla="*/ 97837 h 27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20" h="27">
                  <a:moveTo>
                    <a:pt x="20" y="26"/>
                  </a:moveTo>
                  <a:cubicBezTo>
                    <a:pt x="19" y="26"/>
                    <a:pt x="18" y="27"/>
                    <a:pt x="17" y="27"/>
                  </a:cubicBezTo>
                  <a:cubicBezTo>
                    <a:pt x="16" y="27"/>
                    <a:pt x="15" y="27"/>
                    <a:pt x="14" y="27"/>
                  </a:cubicBezTo>
                  <a:cubicBezTo>
                    <a:pt x="12" y="27"/>
                    <a:pt x="10" y="27"/>
                    <a:pt x="8" y="26"/>
                  </a:cubicBezTo>
                  <a:cubicBezTo>
                    <a:pt x="7" y="26"/>
                    <a:pt x="5" y="25"/>
                    <a:pt x="4" y="24"/>
                  </a:cubicBezTo>
                  <a:cubicBezTo>
                    <a:pt x="3" y="23"/>
                    <a:pt x="2" y="22"/>
                    <a:pt x="1" y="20"/>
                  </a:cubicBezTo>
                  <a:cubicBezTo>
                    <a:pt x="0" y="18"/>
                    <a:pt x="0" y="16"/>
                    <a:pt x="0" y="14"/>
                  </a:cubicBezTo>
                  <a:cubicBezTo>
                    <a:pt x="0" y="12"/>
                    <a:pt x="0" y="10"/>
                    <a:pt x="1" y="8"/>
                  </a:cubicBezTo>
                  <a:cubicBezTo>
                    <a:pt x="2" y="6"/>
                    <a:pt x="3" y="4"/>
                    <a:pt x="4" y="3"/>
                  </a:cubicBezTo>
                  <a:cubicBezTo>
                    <a:pt x="6" y="2"/>
                    <a:pt x="7" y="1"/>
                    <a:pt x="9" y="1"/>
                  </a:cubicBezTo>
                  <a:cubicBezTo>
                    <a:pt x="10" y="0"/>
                    <a:pt x="12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1"/>
                    <a:pt x="20" y="1"/>
                  </a:cubicBezTo>
                  <a:cubicBezTo>
                    <a:pt x="20" y="6"/>
                    <a:pt x="20" y="6"/>
                    <a:pt x="20" y="6"/>
                  </a:cubicBezTo>
                  <a:cubicBezTo>
                    <a:pt x="19" y="6"/>
                    <a:pt x="18" y="6"/>
                    <a:pt x="17" y="5"/>
                  </a:cubicBezTo>
                  <a:cubicBezTo>
                    <a:pt x="16" y="5"/>
                    <a:pt x="15" y="5"/>
                    <a:pt x="15" y="5"/>
                  </a:cubicBezTo>
                  <a:cubicBezTo>
                    <a:pt x="14" y="5"/>
                    <a:pt x="13" y="5"/>
                    <a:pt x="12" y="6"/>
                  </a:cubicBezTo>
                  <a:cubicBezTo>
                    <a:pt x="11" y="6"/>
                    <a:pt x="10" y="6"/>
                    <a:pt x="9" y="7"/>
                  </a:cubicBezTo>
                  <a:cubicBezTo>
                    <a:pt x="8" y="8"/>
                    <a:pt x="8" y="9"/>
                    <a:pt x="7" y="10"/>
                  </a:cubicBezTo>
                  <a:cubicBezTo>
                    <a:pt x="7" y="11"/>
                    <a:pt x="7" y="12"/>
                    <a:pt x="7" y="14"/>
                  </a:cubicBezTo>
                  <a:cubicBezTo>
                    <a:pt x="7" y="15"/>
                    <a:pt x="7" y="16"/>
                    <a:pt x="7" y="17"/>
                  </a:cubicBezTo>
                  <a:cubicBezTo>
                    <a:pt x="7" y="18"/>
                    <a:pt x="8" y="19"/>
                    <a:pt x="9" y="20"/>
                  </a:cubicBezTo>
                  <a:cubicBezTo>
                    <a:pt x="9" y="20"/>
                    <a:pt x="10" y="21"/>
                    <a:pt x="11" y="21"/>
                  </a:cubicBezTo>
                  <a:cubicBezTo>
                    <a:pt x="12" y="22"/>
                    <a:pt x="13" y="22"/>
                    <a:pt x="14" y="22"/>
                  </a:cubicBezTo>
                  <a:cubicBezTo>
                    <a:pt x="16" y="22"/>
                    <a:pt x="17" y="22"/>
                    <a:pt x="18" y="22"/>
                  </a:cubicBezTo>
                  <a:cubicBezTo>
                    <a:pt x="19" y="22"/>
                    <a:pt x="19" y="21"/>
                    <a:pt x="20" y="21"/>
                  </a:cubicBezTo>
                  <a:lnTo>
                    <a:pt x="20" y="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31" name="Freeform 30"/>
            <p:cNvSpPr>
              <a:spLocks/>
            </p:cNvSpPr>
            <p:nvPr userDrawn="1"/>
          </p:nvSpPr>
          <p:spPr bwMode="gray">
            <a:xfrm>
              <a:off x="11283903" y="3621079"/>
              <a:ext cx="88900" cy="150812"/>
            </a:xfrm>
            <a:custGeom>
              <a:avLst/>
              <a:gdLst>
                <a:gd name="T0" fmla="*/ 25929 w 24"/>
                <a:gd name="T1" fmla="*/ 41473 h 40"/>
                <a:gd name="T2" fmla="*/ 25929 w 24"/>
                <a:gd name="T3" fmla="*/ 52784 h 40"/>
                <a:gd name="T4" fmla="*/ 22225 w 24"/>
                <a:gd name="T5" fmla="*/ 64095 h 40"/>
                <a:gd name="T6" fmla="*/ 22225 w 24"/>
                <a:gd name="T7" fmla="*/ 64095 h 40"/>
                <a:gd name="T8" fmla="*/ 29633 w 24"/>
                <a:gd name="T9" fmla="*/ 56555 h 40"/>
                <a:gd name="T10" fmla="*/ 37042 w 24"/>
                <a:gd name="T11" fmla="*/ 52784 h 40"/>
                <a:gd name="T12" fmla="*/ 44450 w 24"/>
                <a:gd name="T13" fmla="*/ 49014 h 40"/>
                <a:gd name="T14" fmla="*/ 55563 w 24"/>
                <a:gd name="T15" fmla="*/ 49014 h 40"/>
                <a:gd name="T16" fmla="*/ 62971 w 24"/>
                <a:gd name="T17" fmla="*/ 49014 h 40"/>
                <a:gd name="T18" fmla="*/ 74083 w 24"/>
                <a:gd name="T19" fmla="*/ 52784 h 40"/>
                <a:gd name="T20" fmla="*/ 77788 w 24"/>
                <a:gd name="T21" fmla="*/ 56555 h 40"/>
                <a:gd name="T22" fmla="*/ 85196 w 24"/>
                <a:gd name="T23" fmla="*/ 64095 h 40"/>
                <a:gd name="T24" fmla="*/ 88900 w 24"/>
                <a:gd name="T25" fmla="*/ 75406 h 40"/>
                <a:gd name="T26" fmla="*/ 88900 w 24"/>
                <a:gd name="T27" fmla="*/ 86717 h 40"/>
                <a:gd name="T28" fmla="*/ 88900 w 24"/>
                <a:gd name="T29" fmla="*/ 150812 h 40"/>
                <a:gd name="T30" fmla="*/ 66675 w 24"/>
                <a:gd name="T31" fmla="*/ 150812 h 40"/>
                <a:gd name="T32" fmla="*/ 66675 w 24"/>
                <a:gd name="T33" fmla="*/ 90487 h 40"/>
                <a:gd name="T34" fmla="*/ 66675 w 24"/>
                <a:gd name="T35" fmla="*/ 82947 h 40"/>
                <a:gd name="T36" fmla="*/ 62971 w 24"/>
                <a:gd name="T37" fmla="*/ 75406 h 40"/>
                <a:gd name="T38" fmla="*/ 59267 w 24"/>
                <a:gd name="T39" fmla="*/ 71636 h 40"/>
                <a:gd name="T40" fmla="*/ 48154 w 24"/>
                <a:gd name="T41" fmla="*/ 67865 h 40"/>
                <a:gd name="T42" fmla="*/ 37042 w 24"/>
                <a:gd name="T43" fmla="*/ 71636 h 40"/>
                <a:gd name="T44" fmla="*/ 25929 w 24"/>
                <a:gd name="T45" fmla="*/ 82947 h 40"/>
                <a:gd name="T46" fmla="*/ 25929 w 24"/>
                <a:gd name="T47" fmla="*/ 150812 h 40"/>
                <a:gd name="T48" fmla="*/ 0 w 24"/>
                <a:gd name="T49" fmla="*/ 150812 h 40"/>
                <a:gd name="T50" fmla="*/ 0 w 24"/>
                <a:gd name="T51" fmla="*/ 0 h 40"/>
                <a:gd name="T52" fmla="*/ 25929 w 24"/>
                <a:gd name="T53" fmla="*/ 0 h 40"/>
                <a:gd name="T54" fmla="*/ 25929 w 24"/>
                <a:gd name="T55" fmla="*/ 41473 h 4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24" h="40">
                  <a:moveTo>
                    <a:pt x="7" y="11"/>
                  </a:moveTo>
                  <a:cubicBezTo>
                    <a:pt x="7" y="12"/>
                    <a:pt x="7" y="13"/>
                    <a:pt x="7" y="14"/>
                  </a:cubicBezTo>
                  <a:cubicBezTo>
                    <a:pt x="7" y="15"/>
                    <a:pt x="7" y="16"/>
                    <a:pt x="6" y="17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7" y="16"/>
                    <a:pt x="7" y="16"/>
                    <a:pt x="8" y="15"/>
                  </a:cubicBezTo>
                  <a:cubicBezTo>
                    <a:pt x="8" y="15"/>
                    <a:pt x="9" y="14"/>
                    <a:pt x="10" y="14"/>
                  </a:cubicBezTo>
                  <a:cubicBezTo>
                    <a:pt x="10" y="14"/>
                    <a:pt x="11" y="13"/>
                    <a:pt x="12" y="13"/>
                  </a:cubicBezTo>
                  <a:cubicBezTo>
                    <a:pt x="13" y="13"/>
                    <a:pt x="14" y="13"/>
                    <a:pt x="15" y="13"/>
                  </a:cubicBezTo>
                  <a:cubicBezTo>
                    <a:pt x="16" y="13"/>
                    <a:pt x="16" y="13"/>
                    <a:pt x="17" y="13"/>
                  </a:cubicBezTo>
                  <a:cubicBezTo>
                    <a:pt x="18" y="13"/>
                    <a:pt x="19" y="13"/>
                    <a:pt x="20" y="14"/>
                  </a:cubicBezTo>
                  <a:cubicBezTo>
                    <a:pt x="20" y="14"/>
                    <a:pt x="21" y="15"/>
                    <a:pt x="21" y="15"/>
                  </a:cubicBezTo>
                  <a:cubicBezTo>
                    <a:pt x="22" y="16"/>
                    <a:pt x="23" y="16"/>
                    <a:pt x="23" y="17"/>
                  </a:cubicBezTo>
                  <a:cubicBezTo>
                    <a:pt x="23" y="18"/>
                    <a:pt x="24" y="19"/>
                    <a:pt x="24" y="20"/>
                  </a:cubicBezTo>
                  <a:cubicBezTo>
                    <a:pt x="24" y="21"/>
                    <a:pt x="24" y="22"/>
                    <a:pt x="24" y="23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18" y="40"/>
                    <a:pt x="18" y="40"/>
                    <a:pt x="18" y="40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8" y="23"/>
                    <a:pt x="18" y="22"/>
                    <a:pt x="18" y="22"/>
                  </a:cubicBezTo>
                  <a:cubicBezTo>
                    <a:pt x="17" y="21"/>
                    <a:pt x="17" y="21"/>
                    <a:pt x="17" y="20"/>
                  </a:cubicBezTo>
                  <a:cubicBezTo>
                    <a:pt x="17" y="20"/>
                    <a:pt x="16" y="19"/>
                    <a:pt x="16" y="19"/>
                  </a:cubicBezTo>
                  <a:cubicBezTo>
                    <a:pt x="15" y="18"/>
                    <a:pt x="14" y="18"/>
                    <a:pt x="13" y="18"/>
                  </a:cubicBezTo>
                  <a:cubicBezTo>
                    <a:pt x="12" y="18"/>
                    <a:pt x="11" y="18"/>
                    <a:pt x="10" y="19"/>
                  </a:cubicBezTo>
                  <a:cubicBezTo>
                    <a:pt x="8" y="20"/>
                    <a:pt x="8" y="20"/>
                    <a:pt x="7" y="22"/>
                  </a:cubicBezTo>
                  <a:cubicBezTo>
                    <a:pt x="7" y="40"/>
                    <a:pt x="7" y="40"/>
                    <a:pt x="7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lnTo>
                    <a:pt x="7" y="1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32" name="Freeform 31"/>
            <p:cNvSpPr>
              <a:spLocks noEditPoints="1"/>
            </p:cNvSpPr>
            <p:nvPr userDrawn="1"/>
          </p:nvSpPr>
          <p:spPr bwMode="gray">
            <a:xfrm>
              <a:off x="11396618" y="3670291"/>
              <a:ext cx="96838" cy="101599"/>
            </a:xfrm>
            <a:custGeom>
              <a:avLst/>
              <a:gdLst>
                <a:gd name="T0" fmla="*/ 96838 w 26"/>
                <a:gd name="T1" fmla="*/ 48918 h 27"/>
                <a:gd name="T2" fmla="*/ 93113 w 26"/>
                <a:gd name="T3" fmla="*/ 71496 h 27"/>
                <a:gd name="T4" fmla="*/ 85664 w 26"/>
                <a:gd name="T5" fmla="*/ 86547 h 27"/>
                <a:gd name="T6" fmla="*/ 70766 w 26"/>
                <a:gd name="T7" fmla="*/ 97836 h 27"/>
                <a:gd name="T8" fmla="*/ 48419 w 26"/>
                <a:gd name="T9" fmla="*/ 101599 h 27"/>
                <a:gd name="T10" fmla="*/ 29796 w 26"/>
                <a:gd name="T11" fmla="*/ 97836 h 27"/>
                <a:gd name="T12" fmla="*/ 14898 w 26"/>
                <a:gd name="T13" fmla="*/ 86547 h 27"/>
                <a:gd name="T14" fmla="*/ 3725 w 26"/>
                <a:gd name="T15" fmla="*/ 71496 h 27"/>
                <a:gd name="T16" fmla="*/ 3725 w 26"/>
                <a:gd name="T17" fmla="*/ 30103 h 27"/>
                <a:gd name="T18" fmla="*/ 14898 w 26"/>
                <a:gd name="T19" fmla="*/ 11289 h 27"/>
                <a:gd name="T20" fmla="*/ 29796 w 26"/>
                <a:gd name="T21" fmla="*/ 3763 h 27"/>
                <a:gd name="T22" fmla="*/ 48419 w 26"/>
                <a:gd name="T23" fmla="*/ 0 h 27"/>
                <a:gd name="T24" fmla="*/ 70766 w 26"/>
                <a:gd name="T25" fmla="*/ 3763 h 27"/>
                <a:gd name="T26" fmla="*/ 85664 w 26"/>
                <a:gd name="T27" fmla="*/ 11289 h 27"/>
                <a:gd name="T28" fmla="*/ 93113 w 26"/>
                <a:gd name="T29" fmla="*/ 30103 h 27"/>
                <a:gd name="T30" fmla="*/ 96838 w 26"/>
                <a:gd name="T31" fmla="*/ 48918 h 27"/>
                <a:gd name="T32" fmla="*/ 70766 w 26"/>
                <a:gd name="T33" fmla="*/ 48918 h 27"/>
                <a:gd name="T34" fmla="*/ 70766 w 26"/>
                <a:gd name="T35" fmla="*/ 37629 h 27"/>
                <a:gd name="T36" fmla="*/ 67042 w 26"/>
                <a:gd name="T37" fmla="*/ 26340 h 27"/>
                <a:gd name="T38" fmla="*/ 59593 w 26"/>
                <a:gd name="T39" fmla="*/ 18815 h 27"/>
                <a:gd name="T40" fmla="*/ 48419 w 26"/>
                <a:gd name="T41" fmla="*/ 18815 h 27"/>
                <a:gd name="T42" fmla="*/ 37245 w 26"/>
                <a:gd name="T43" fmla="*/ 18815 h 27"/>
                <a:gd name="T44" fmla="*/ 29796 w 26"/>
                <a:gd name="T45" fmla="*/ 26340 h 27"/>
                <a:gd name="T46" fmla="*/ 26072 w 26"/>
                <a:gd name="T47" fmla="*/ 37629 h 27"/>
                <a:gd name="T48" fmla="*/ 26072 w 26"/>
                <a:gd name="T49" fmla="*/ 63970 h 27"/>
                <a:gd name="T50" fmla="*/ 29796 w 26"/>
                <a:gd name="T51" fmla="*/ 75259 h 27"/>
                <a:gd name="T52" fmla="*/ 37245 w 26"/>
                <a:gd name="T53" fmla="*/ 79021 h 27"/>
                <a:gd name="T54" fmla="*/ 59593 w 26"/>
                <a:gd name="T55" fmla="*/ 79021 h 27"/>
                <a:gd name="T56" fmla="*/ 67042 w 26"/>
                <a:gd name="T57" fmla="*/ 75259 h 27"/>
                <a:gd name="T58" fmla="*/ 70766 w 26"/>
                <a:gd name="T59" fmla="*/ 63970 h 27"/>
                <a:gd name="T60" fmla="*/ 70766 w 26"/>
                <a:gd name="T61" fmla="*/ 48918 h 27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26" h="27">
                  <a:moveTo>
                    <a:pt x="26" y="13"/>
                  </a:moveTo>
                  <a:cubicBezTo>
                    <a:pt x="26" y="15"/>
                    <a:pt x="26" y="17"/>
                    <a:pt x="25" y="19"/>
                  </a:cubicBezTo>
                  <a:cubicBezTo>
                    <a:pt x="25" y="21"/>
                    <a:pt x="24" y="22"/>
                    <a:pt x="23" y="23"/>
                  </a:cubicBezTo>
                  <a:cubicBezTo>
                    <a:pt x="21" y="25"/>
                    <a:pt x="20" y="26"/>
                    <a:pt x="19" y="26"/>
                  </a:cubicBezTo>
                  <a:cubicBezTo>
                    <a:pt x="17" y="27"/>
                    <a:pt x="15" y="27"/>
                    <a:pt x="13" y="27"/>
                  </a:cubicBezTo>
                  <a:cubicBezTo>
                    <a:pt x="11" y="27"/>
                    <a:pt x="9" y="27"/>
                    <a:pt x="8" y="26"/>
                  </a:cubicBezTo>
                  <a:cubicBezTo>
                    <a:pt x="6" y="26"/>
                    <a:pt x="5" y="25"/>
                    <a:pt x="4" y="23"/>
                  </a:cubicBezTo>
                  <a:cubicBezTo>
                    <a:pt x="2" y="22"/>
                    <a:pt x="2" y="21"/>
                    <a:pt x="1" y="19"/>
                  </a:cubicBezTo>
                  <a:cubicBezTo>
                    <a:pt x="0" y="15"/>
                    <a:pt x="0" y="11"/>
                    <a:pt x="1" y="8"/>
                  </a:cubicBezTo>
                  <a:cubicBezTo>
                    <a:pt x="2" y="6"/>
                    <a:pt x="2" y="5"/>
                    <a:pt x="4" y="3"/>
                  </a:cubicBezTo>
                  <a:cubicBezTo>
                    <a:pt x="5" y="2"/>
                    <a:pt x="6" y="1"/>
                    <a:pt x="8" y="1"/>
                  </a:cubicBezTo>
                  <a:cubicBezTo>
                    <a:pt x="10" y="0"/>
                    <a:pt x="11" y="0"/>
                    <a:pt x="13" y="0"/>
                  </a:cubicBezTo>
                  <a:cubicBezTo>
                    <a:pt x="15" y="0"/>
                    <a:pt x="17" y="0"/>
                    <a:pt x="19" y="1"/>
                  </a:cubicBezTo>
                  <a:cubicBezTo>
                    <a:pt x="20" y="1"/>
                    <a:pt x="22" y="2"/>
                    <a:pt x="23" y="3"/>
                  </a:cubicBezTo>
                  <a:cubicBezTo>
                    <a:pt x="24" y="5"/>
                    <a:pt x="25" y="6"/>
                    <a:pt x="25" y="8"/>
                  </a:cubicBezTo>
                  <a:cubicBezTo>
                    <a:pt x="26" y="10"/>
                    <a:pt x="26" y="12"/>
                    <a:pt x="26" y="13"/>
                  </a:cubicBezTo>
                  <a:close/>
                  <a:moveTo>
                    <a:pt x="19" y="13"/>
                  </a:moveTo>
                  <a:cubicBezTo>
                    <a:pt x="19" y="12"/>
                    <a:pt x="19" y="11"/>
                    <a:pt x="19" y="10"/>
                  </a:cubicBezTo>
                  <a:cubicBezTo>
                    <a:pt x="19" y="9"/>
                    <a:pt x="18" y="8"/>
                    <a:pt x="18" y="7"/>
                  </a:cubicBezTo>
                  <a:cubicBezTo>
                    <a:pt x="17" y="6"/>
                    <a:pt x="16" y="6"/>
                    <a:pt x="16" y="5"/>
                  </a:cubicBezTo>
                  <a:cubicBezTo>
                    <a:pt x="15" y="5"/>
                    <a:pt x="14" y="5"/>
                    <a:pt x="13" y="5"/>
                  </a:cubicBezTo>
                  <a:cubicBezTo>
                    <a:pt x="12" y="5"/>
                    <a:pt x="11" y="5"/>
                    <a:pt x="10" y="5"/>
                  </a:cubicBezTo>
                  <a:cubicBezTo>
                    <a:pt x="9" y="6"/>
                    <a:pt x="9" y="6"/>
                    <a:pt x="8" y="7"/>
                  </a:cubicBezTo>
                  <a:cubicBezTo>
                    <a:pt x="8" y="8"/>
                    <a:pt x="7" y="9"/>
                    <a:pt x="7" y="10"/>
                  </a:cubicBezTo>
                  <a:cubicBezTo>
                    <a:pt x="6" y="12"/>
                    <a:pt x="6" y="15"/>
                    <a:pt x="7" y="17"/>
                  </a:cubicBezTo>
                  <a:cubicBezTo>
                    <a:pt x="7" y="18"/>
                    <a:pt x="8" y="19"/>
                    <a:pt x="8" y="20"/>
                  </a:cubicBezTo>
                  <a:cubicBezTo>
                    <a:pt x="9" y="21"/>
                    <a:pt x="9" y="21"/>
                    <a:pt x="10" y="21"/>
                  </a:cubicBezTo>
                  <a:cubicBezTo>
                    <a:pt x="12" y="22"/>
                    <a:pt x="14" y="22"/>
                    <a:pt x="16" y="21"/>
                  </a:cubicBezTo>
                  <a:cubicBezTo>
                    <a:pt x="16" y="21"/>
                    <a:pt x="17" y="21"/>
                    <a:pt x="18" y="20"/>
                  </a:cubicBezTo>
                  <a:cubicBezTo>
                    <a:pt x="18" y="19"/>
                    <a:pt x="19" y="18"/>
                    <a:pt x="19" y="17"/>
                  </a:cubicBezTo>
                  <a:cubicBezTo>
                    <a:pt x="19" y="16"/>
                    <a:pt x="19" y="15"/>
                    <a:pt x="19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33" name="Freeform 32"/>
            <p:cNvSpPr>
              <a:spLocks noEditPoints="1"/>
            </p:cNvSpPr>
            <p:nvPr userDrawn="1"/>
          </p:nvSpPr>
          <p:spPr bwMode="gray">
            <a:xfrm>
              <a:off x="11515669" y="3621081"/>
              <a:ext cx="26988" cy="150812"/>
            </a:xfrm>
            <a:custGeom>
              <a:avLst/>
              <a:gdLst>
                <a:gd name="T0" fmla="*/ 0 w 17"/>
                <a:gd name="T1" fmla="*/ 0 h 95"/>
                <a:gd name="T2" fmla="*/ 26988 w 17"/>
                <a:gd name="T3" fmla="*/ 0 h 95"/>
                <a:gd name="T4" fmla="*/ 26988 w 17"/>
                <a:gd name="T5" fmla="*/ 26987 h 95"/>
                <a:gd name="T6" fmla="*/ 0 w 17"/>
                <a:gd name="T7" fmla="*/ 26987 h 95"/>
                <a:gd name="T8" fmla="*/ 0 w 17"/>
                <a:gd name="T9" fmla="*/ 0 h 95"/>
                <a:gd name="T10" fmla="*/ 0 w 17"/>
                <a:gd name="T11" fmla="*/ 49212 h 95"/>
                <a:gd name="T12" fmla="*/ 22225 w 17"/>
                <a:gd name="T13" fmla="*/ 49212 h 95"/>
                <a:gd name="T14" fmla="*/ 22225 w 17"/>
                <a:gd name="T15" fmla="*/ 150812 h 95"/>
                <a:gd name="T16" fmla="*/ 0 w 17"/>
                <a:gd name="T17" fmla="*/ 150812 h 95"/>
                <a:gd name="T18" fmla="*/ 0 w 17"/>
                <a:gd name="T19" fmla="*/ 49212 h 9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7" h="95">
                  <a:moveTo>
                    <a:pt x="0" y="0"/>
                  </a:move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  <a:lnTo>
                    <a:pt x="0" y="0"/>
                  </a:lnTo>
                  <a:close/>
                  <a:moveTo>
                    <a:pt x="0" y="31"/>
                  </a:moveTo>
                  <a:lnTo>
                    <a:pt x="14" y="31"/>
                  </a:lnTo>
                  <a:lnTo>
                    <a:pt x="14" y="95"/>
                  </a:lnTo>
                  <a:lnTo>
                    <a:pt x="0" y="95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34" name="Freeform 33"/>
            <p:cNvSpPr>
              <a:spLocks/>
            </p:cNvSpPr>
            <p:nvPr userDrawn="1"/>
          </p:nvSpPr>
          <p:spPr bwMode="gray">
            <a:xfrm>
              <a:off x="11560123" y="3670310"/>
              <a:ext cx="79375" cy="101600"/>
            </a:xfrm>
            <a:custGeom>
              <a:avLst/>
              <a:gdLst>
                <a:gd name="T0" fmla="*/ 79375 w 21"/>
                <a:gd name="T1" fmla="*/ 97837 h 27"/>
                <a:gd name="T2" fmla="*/ 68036 w 21"/>
                <a:gd name="T3" fmla="*/ 101600 h 27"/>
                <a:gd name="T4" fmla="*/ 52917 w 21"/>
                <a:gd name="T5" fmla="*/ 101600 h 27"/>
                <a:gd name="T6" fmla="*/ 34018 w 21"/>
                <a:gd name="T7" fmla="*/ 97837 h 27"/>
                <a:gd name="T8" fmla="*/ 15119 w 21"/>
                <a:gd name="T9" fmla="*/ 90311 h 27"/>
                <a:gd name="T10" fmla="*/ 3780 w 21"/>
                <a:gd name="T11" fmla="*/ 75259 h 27"/>
                <a:gd name="T12" fmla="*/ 0 w 21"/>
                <a:gd name="T13" fmla="*/ 52681 h 27"/>
                <a:gd name="T14" fmla="*/ 7560 w 21"/>
                <a:gd name="T15" fmla="*/ 30104 h 27"/>
                <a:gd name="T16" fmla="*/ 34018 w 21"/>
                <a:gd name="T17" fmla="*/ 3763 h 27"/>
                <a:gd name="T18" fmla="*/ 52917 w 21"/>
                <a:gd name="T19" fmla="*/ 0 h 27"/>
                <a:gd name="T20" fmla="*/ 64256 w 21"/>
                <a:gd name="T21" fmla="*/ 0 h 27"/>
                <a:gd name="T22" fmla="*/ 75595 w 21"/>
                <a:gd name="T23" fmla="*/ 3763 h 27"/>
                <a:gd name="T24" fmla="*/ 75595 w 21"/>
                <a:gd name="T25" fmla="*/ 22578 h 27"/>
                <a:gd name="T26" fmla="*/ 68036 w 21"/>
                <a:gd name="T27" fmla="*/ 18815 h 27"/>
                <a:gd name="T28" fmla="*/ 56696 w 21"/>
                <a:gd name="T29" fmla="*/ 18815 h 27"/>
                <a:gd name="T30" fmla="*/ 45357 w 21"/>
                <a:gd name="T31" fmla="*/ 22578 h 27"/>
                <a:gd name="T32" fmla="*/ 34018 w 21"/>
                <a:gd name="T33" fmla="*/ 26341 h 27"/>
                <a:gd name="T34" fmla="*/ 30238 w 21"/>
                <a:gd name="T35" fmla="*/ 37630 h 27"/>
                <a:gd name="T36" fmla="*/ 26458 w 21"/>
                <a:gd name="T37" fmla="*/ 52681 h 27"/>
                <a:gd name="T38" fmla="*/ 26458 w 21"/>
                <a:gd name="T39" fmla="*/ 63970 h 27"/>
                <a:gd name="T40" fmla="*/ 34018 w 21"/>
                <a:gd name="T41" fmla="*/ 75259 h 27"/>
                <a:gd name="T42" fmla="*/ 41577 w 21"/>
                <a:gd name="T43" fmla="*/ 79022 h 27"/>
                <a:gd name="T44" fmla="*/ 56696 w 21"/>
                <a:gd name="T45" fmla="*/ 82785 h 27"/>
                <a:gd name="T46" fmla="*/ 68036 w 21"/>
                <a:gd name="T47" fmla="*/ 82785 h 27"/>
                <a:gd name="T48" fmla="*/ 79375 w 21"/>
                <a:gd name="T49" fmla="*/ 79022 h 27"/>
                <a:gd name="T50" fmla="*/ 79375 w 21"/>
                <a:gd name="T51" fmla="*/ 97837 h 27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21" h="27">
                  <a:moveTo>
                    <a:pt x="21" y="26"/>
                  </a:moveTo>
                  <a:cubicBezTo>
                    <a:pt x="20" y="26"/>
                    <a:pt x="19" y="27"/>
                    <a:pt x="18" y="27"/>
                  </a:cubicBezTo>
                  <a:cubicBezTo>
                    <a:pt x="16" y="27"/>
                    <a:pt x="15" y="27"/>
                    <a:pt x="14" y="27"/>
                  </a:cubicBezTo>
                  <a:cubicBezTo>
                    <a:pt x="12" y="27"/>
                    <a:pt x="10" y="27"/>
                    <a:pt x="9" y="26"/>
                  </a:cubicBezTo>
                  <a:cubicBezTo>
                    <a:pt x="7" y="26"/>
                    <a:pt x="5" y="25"/>
                    <a:pt x="4" y="24"/>
                  </a:cubicBezTo>
                  <a:cubicBezTo>
                    <a:pt x="3" y="23"/>
                    <a:pt x="2" y="22"/>
                    <a:pt x="1" y="20"/>
                  </a:cubicBezTo>
                  <a:cubicBezTo>
                    <a:pt x="1" y="18"/>
                    <a:pt x="0" y="16"/>
                    <a:pt x="0" y="14"/>
                  </a:cubicBezTo>
                  <a:cubicBezTo>
                    <a:pt x="0" y="12"/>
                    <a:pt x="1" y="10"/>
                    <a:pt x="2" y="8"/>
                  </a:cubicBezTo>
                  <a:cubicBezTo>
                    <a:pt x="3" y="4"/>
                    <a:pt x="6" y="2"/>
                    <a:pt x="9" y="1"/>
                  </a:cubicBezTo>
                  <a:cubicBezTo>
                    <a:pt x="11" y="0"/>
                    <a:pt x="12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1"/>
                    <a:pt x="20" y="1"/>
                  </a:cubicBezTo>
                  <a:cubicBezTo>
                    <a:pt x="20" y="6"/>
                    <a:pt x="20" y="6"/>
                    <a:pt x="20" y="6"/>
                  </a:cubicBezTo>
                  <a:cubicBezTo>
                    <a:pt x="19" y="6"/>
                    <a:pt x="19" y="6"/>
                    <a:pt x="18" y="5"/>
                  </a:cubicBezTo>
                  <a:cubicBezTo>
                    <a:pt x="17" y="5"/>
                    <a:pt x="16" y="5"/>
                    <a:pt x="15" y="5"/>
                  </a:cubicBezTo>
                  <a:cubicBezTo>
                    <a:pt x="14" y="5"/>
                    <a:pt x="13" y="5"/>
                    <a:pt x="12" y="6"/>
                  </a:cubicBezTo>
                  <a:cubicBezTo>
                    <a:pt x="11" y="6"/>
                    <a:pt x="10" y="6"/>
                    <a:pt x="9" y="7"/>
                  </a:cubicBezTo>
                  <a:cubicBezTo>
                    <a:pt x="9" y="8"/>
                    <a:pt x="8" y="9"/>
                    <a:pt x="8" y="10"/>
                  </a:cubicBezTo>
                  <a:cubicBezTo>
                    <a:pt x="7" y="11"/>
                    <a:pt x="7" y="12"/>
                    <a:pt x="7" y="14"/>
                  </a:cubicBezTo>
                  <a:cubicBezTo>
                    <a:pt x="7" y="15"/>
                    <a:pt x="7" y="16"/>
                    <a:pt x="7" y="17"/>
                  </a:cubicBezTo>
                  <a:cubicBezTo>
                    <a:pt x="8" y="18"/>
                    <a:pt x="8" y="19"/>
                    <a:pt x="9" y="20"/>
                  </a:cubicBezTo>
                  <a:cubicBezTo>
                    <a:pt x="10" y="20"/>
                    <a:pt x="10" y="21"/>
                    <a:pt x="11" y="21"/>
                  </a:cubicBezTo>
                  <a:cubicBezTo>
                    <a:pt x="12" y="22"/>
                    <a:pt x="14" y="22"/>
                    <a:pt x="15" y="22"/>
                  </a:cubicBezTo>
                  <a:cubicBezTo>
                    <a:pt x="16" y="22"/>
                    <a:pt x="17" y="22"/>
                    <a:pt x="18" y="22"/>
                  </a:cubicBezTo>
                  <a:cubicBezTo>
                    <a:pt x="19" y="22"/>
                    <a:pt x="20" y="21"/>
                    <a:pt x="21" y="21"/>
                  </a:cubicBezTo>
                  <a:lnTo>
                    <a:pt x="21" y="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35" name="Freeform 34"/>
            <p:cNvSpPr>
              <a:spLocks noEditPoints="1"/>
            </p:cNvSpPr>
            <p:nvPr userDrawn="1"/>
          </p:nvSpPr>
          <p:spPr bwMode="gray">
            <a:xfrm>
              <a:off x="11655425" y="3670300"/>
              <a:ext cx="88900" cy="101600"/>
            </a:xfrm>
            <a:custGeom>
              <a:avLst/>
              <a:gdLst>
                <a:gd name="T0" fmla="*/ 55563 w 24"/>
                <a:gd name="T1" fmla="*/ 82785 h 27"/>
                <a:gd name="T2" fmla="*/ 70379 w 24"/>
                <a:gd name="T3" fmla="*/ 82785 h 27"/>
                <a:gd name="T4" fmla="*/ 85196 w 24"/>
                <a:gd name="T5" fmla="*/ 79022 h 27"/>
                <a:gd name="T6" fmla="*/ 85196 w 24"/>
                <a:gd name="T7" fmla="*/ 97837 h 27"/>
                <a:gd name="T8" fmla="*/ 70379 w 24"/>
                <a:gd name="T9" fmla="*/ 101600 h 27"/>
                <a:gd name="T10" fmla="*/ 48154 w 24"/>
                <a:gd name="T11" fmla="*/ 101600 h 27"/>
                <a:gd name="T12" fmla="*/ 29633 w 24"/>
                <a:gd name="T13" fmla="*/ 101600 h 27"/>
                <a:gd name="T14" fmla="*/ 14817 w 24"/>
                <a:gd name="T15" fmla="*/ 90311 h 27"/>
                <a:gd name="T16" fmla="*/ 3704 w 24"/>
                <a:gd name="T17" fmla="*/ 75259 h 27"/>
                <a:gd name="T18" fmla="*/ 0 w 24"/>
                <a:gd name="T19" fmla="*/ 52681 h 27"/>
                <a:gd name="T20" fmla="*/ 3704 w 24"/>
                <a:gd name="T21" fmla="*/ 30104 h 27"/>
                <a:gd name="T22" fmla="*/ 14817 w 24"/>
                <a:gd name="T23" fmla="*/ 11289 h 27"/>
                <a:gd name="T24" fmla="*/ 29633 w 24"/>
                <a:gd name="T25" fmla="*/ 3763 h 27"/>
                <a:gd name="T26" fmla="*/ 44450 w 24"/>
                <a:gd name="T27" fmla="*/ 0 h 27"/>
                <a:gd name="T28" fmla="*/ 62971 w 24"/>
                <a:gd name="T29" fmla="*/ 0 h 27"/>
                <a:gd name="T30" fmla="*/ 77788 w 24"/>
                <a:gd name="T31" fmla="*/ 11289 h 27"/>
                <a:gd name="T32" fmla="*/ 85196 w 24"/>
                <a:gd name="T33" fmla="*/ 26341 h 27"/>
                <a:gd name="T34" fmla="*/ 88900 w 24"/>
                <a:gd name="T35" fmla="*/ 48919 h 27"/>
                <a:gd name="T36" fmla="*/ 88900 w 24"/>
                <a:gd name="T37" fmla="*/ 56444 h 27"/>
                <a:gd name="T38" fmla="*/ 25929 w 24"/>
                <a:gd name="T39" fmla="*/ 56444 h 27"/>
                <a:gd name="T40" fmla="*/ 25929 w 24"/>
                <a:gd name="T41" fmla="*/ 67733 h 27"/>
                <a:gd name="T42" fmla="*/ 33338 w 24"/>
                <a:gd name="T43" fmla="*/ 75259 h 27"/>
                <a:gd name="T44" fmla="*/ 44450 w 24"/>
                <a:gd name="T45" fmla="*/ 82785 h 27"/>
                <a:gd name="T46" fmla="*/ 55563 w 24"/>
                <a:gd name="T47" fmla="*/ 82785 h 27"/>
                <a:gd name="T48" fmla="*/ 44450 w 24"/>
                <a:gd name="T49" fmla="*/ 18815 h 27"/>
                <a:gd name="T50" fmla="*/ 37042 w 24"/>
                <a:gd name="T51" fmla="*/ 18815 h 27"/>
                <a:gd name="T52" fmla="*/ 29633 w 24"/>
                <a:gd name="T53" fmla="*/ 22578 h 27"/>
                <a:gd name="T54" fmla="*/ 25929 w 24"/>
                <a:gd name="T55" fmla="*/ 30104 h 27"/>
                <a:gd name="T56" fmla="*/ 25929 w 24"/>
                <a:gd name="T57" fmla="*/ 37630 h 27"/>
                <a:gd name="T58" fmla="*/ 62971 w 24"/>
                <a:gd name="T59" fmla="*/ 37630 h 27"/>
                <a:gd name="T60" fmla="*/ 62971 w 24"/>
                <a:gd name="T61" fmla="*/ 30104 h 27"/>
                <a:gd name="T62" fmla="*/ 59267 w 24"/>
                <a:gd name="T63" fmla="*/ 22578 h 27"/>
                <a:gd name="T64" fmla="*/ 51858 w 24"/>
                <a:gd name="T65" fmla="*/ 18815 h 27"/>
                <a:gd name="T66" fmla="*/ 44450 w 24"/>
                <a:gd name="T67" fmla="*/ 18815 h 27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24" h="27">
                  <a:moveTo>
                    <a:pt x="15" y="22"/>
                  </a:moveTo>
                  <a:cubicBezTo>
                    <a:pt x="16" y="22"/>
                    <a:pt x="17" y="22"/>
                    <a:pt x="19" y="22"/>
                  </a:cubicBezTo>
                  <a:cubicBezTo>
                    <a:pt x="20" y="21"/>
                    <a:pt x="21" y="21"/>
                    <a:pt x="23" y="21"/>
                  </a:cubicBezTo>
                  <a:cubicBezTo>
                    <a:pt x="23" y="26"/>
                    <a:pt x="23" y="26"/>
                    <a:pt x="23" y="26"/>
                  </a:cubicBezTo>
                  <a:cubicBezTo>
                    <a:pt x="21" y="26"/>
                    <a:pt x="20" y="27"/>
                    <a:pt x="19" y="27"/>
                  </a:cubicBezTo>
                  <a:cubicBezTo>
                    <a:pt x="17" y="27"/>
                    <a:pt x="15" y="27"/>
                    <a:pt x="13" y="27"/>
                  </a:cubicBezTo>
                  <a:cubicBezTo>
                    <a:pt x="12" y="27"/>
                    <a:pt x="10" y="27"/>
                    <a:pt x="8" y="27"/>
                  </a:cubicBezTo>
                  <a:cubicBezTo>
                    <a:pt x="7" y="26"/>
                    <a:pt x="5" y="25"/>
                    <a:pt x="4" y="24"/>
                  </a:cubicBezTo>
                  <a:cubicBezTo>
                    <a:pt x="3" y="23"/>
                    <a:pt x="2" y="22"/>
                    <a:pt x="1" y="20"/>
                  </a:cubicBezTo>
                  <a:cubicBezTo>
                    <a:pt x="0" y="18"/>
                    <a:pt x="0" y="16"/>
                    <a:pt x="0" y="14"/>
                  </a:cubicBezTo>
                  <a:cubicBezTo>
                    <a:pt x="0" y="12"/>
                    <a:pt x="0" y="10"/>
                    <a:pt x="1" y="8"/>
                  </a:cubicBezTo>
                  <a:cubicBezTo>
                    <a:pt x="2" y="6"/>
                    <a:pt x="3" y="4"/>
                    <a:pt x="4" y="3"/>
                  </a:cubicBezTo>
                  <a:cubicBezTo>
                    <a:pt x="5" y="2"/>
                    <a:pt x="6" y="1"/>
                    <a:pt x="8" y="1"/>
                  </a:cubicBezTo>
                  <a:cubicBezTo>
                    <a:pt x="9" y="0"/>
                    <a:pt x="11" y="0"/>
                    <a:pt x="12" y="0"/>
                  </a:cubicBezTo>
                  <a:cubicBezTo>
                    <a:pt x="14" y="0"/>
                    <a:pt x="15" y="0"/>
                    <a:pt x="17" y="0"/>
                  </a:cubicBezTo>
                  <a:cubicBezTo>
                    <a:pt x="18" y="1"/>
                    <a:pt x="20" y="2"/>
                    <a:pt x="21" y="3"/>
                  </a:cubicBezTo>
                  <a:cubicBezTo>
                    <a:pt x="22" y="4"/>
                    <a:pt x="22" y="5"/>
                    <a:pt x="23" y="7"/>
                  </a:cubicBezTo>
                  <a:cubicBezTo>
                    <a:pt x="24" y="9"/>
                    <a:pt x="24" y="11"/>
                    <a:pt x="24" y="13"/>
                  </a:cubicBezTo>
                  <a:cubicBezTo>
                    <a:pt x="24" y="14"/>
                    <a:pt x="24" y="15"/>
                    <a:pt x="24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6"/>
                    <a:pt x="7" y="17"/>
                    <a:pt x="7" y="18"/>
                  </a:cubicBezTo>
                  <a:cubicBezTo>
                    <a:pt x="8" y="19"/>
                    <a:pt x="8" y="20"/>
                    <a:pt x="9" y="20"/>
                  </a:cubicBezTo>
                  <a:cubicBezTo>
                    <a:pt x="10" y="21"/>
                    <a:pt x="11" y="21"/>
                    <a:pt x="12" y="22"/>
                  </a:cubicBezTo>
                  <a:cubicBezTo>
                    <a:pt x="13" y="22"/>
                    <a:pt x="14" y="22"/>
                    <a:pt x="15" y="22"/>
                  </a:cubicBezTo>
                  <a:close/>
                  <a:moveTo>
                    <a:pt x="12" y="5"/>
                  </a:moveTo>
                  <a:cubicBezTo>
                    <a:pt x="11" y="5"/>
                    <a:pt x="11" y="5"/>
                    <a:pt x="10" y="5"/>
                  </a:cubicBezTo>
                  <a:cubicBezTo>
                    <a:pt x="9" y="5"/>
                    <a:pt x="9" y="6"/>
                    <a:pt x="8" y="6"/>
                  </a:cubicBezTo>
                  <a:cubicBezTo>
                    <a:pt x="8" y="7"/>
                    <a:pt x="7" y="7"/>
                    <a:pt x="7" y="8"/>
                  </a:cubicBezTo>
                  <a:cubicBezTo>
                    <a:pt x="7" y="9"/>
                    <a:pt x="7" y="10"/>
                    <a:pt x="7" y="1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7" y="10"/>
                    <a:pt x="17" y="9"/>
                    <a:pt x="17" y="8"/>
                  </a:cubicBezTo>
                  <a:cubicBezTo>
                    <a:pt x="17" y="7"/>
                    <a:pt x="16" y="7"/>
                    <a:pt x="16" y="6"/>
                  </a:cubicBezTo>
                  <a:cubicBezTo>
                    <a:pt x="15" y="6"/>
                    <a:pt x="15" y="5"/>
                    <a:pt x="14" y="5"/>
                  </a:cubicBezTo>
                  <a:cubicBezTo>
                    <a:pt x="14" y="5"/>
                    <a:pt x="13" y="5"/>
                    <a:pt x="12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</p:grpSp>
      <p:grpSp>
        <p:nvGrpSpPr>
          <p:cNvPr id="36" name="Gruppieren 67"/>
          <p:cNvGrpSpPr>
            <a:grpSpLocks/>
          </p:cNvGrpSpPr>
          <p:nvPr/>
        </p:nvGrpSpPr>
        <p:grpSpPr bwMode="auto">
          <a:xfrm>
            <a:off x="520768" y="-215900"/>
            <a:ext cx="11147289" cy="195262"/>
            <a:chOff x="520716" y="-215558"/>
            <a:chExt cx="11145805" cy="194423"/>
          </a:xfrm>
        </p:grpSpPr>
        <p:grpSp>
          <p:nvGrpSpPr>
            <p:cNvPr id="37" name="Gruppieren 68"/>
            <p:cNvGrpSpPr>
              <a:grpSpLocks/>
            </p:cNvGrpSpPr>
            <p:nvPr/>
          </p:nvGrpSpPr>
          <p:grpSpPr bwMode="auto">
            <a:xfrm>
              <a:off x="520716" y="-215558"/>
              <a:ext cx="257143" cy="194423"/>
              <a:chOff x="-187945" y="5594515"/>
              <a:chExt cx="192882" cy="194423"/>
            </a:xfrm>
          </p:grpSpPr>
          <p:cxnSp>
            <p:nvCxnSpPr>
              <p:cNvPr id="47" name="Gerade Verbindung 46"/>
              <p:cNvCxnSpPr/>
              <p:nvPr userDrawn="1"/>
            </p:nvCxnSpPr>
            <p:spPr bwMode="gray">
              <a:xfrm rot="5400000">
                <a:off x="-152348" y="5728083"/>
                <a:ext cx="121712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8" name="Rechteck 47"/>
              <p:cNvSpPr/>
              <p:nvPr userDrawn="1"/>
            </p:nvSpPr>
            <p:spPr bwMode="gray">
              <a:xfrm>
                <a:off x="-187945" y="5594515"/>
                <a:ext cx="192905" cy="60066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de-DE" sz="600" dirty="0">
                    <a:solidFill>
                      <a:schemeClr val="tx1"/>
                    </a:solidFill>
                    <a:cs typeface="Arial" panose="020B0604020202020204" pitchFamily="34" charset="0"/>
                  </a:rPr>
                  <a:t>15,12</a:t>
                </a:r>
              </a:p>
            </p:txBody>
          </p:sp>
        </p:grpSp>
        <p:grpSp>
          <p:nvGrpSpPr>
            <p:cNvPr id="38" name="Gruppieren 69"/>
            <p:cNvGrpSpPr>
              <a:grpSpLocks/>
            </p:cNvGrpSpPr>
            <p:nvPr/>
          </p:nvGrpSpPr>
          <p:grpSpPr bwMode="auto">
            <a:xfrm>
              <a:off x="5867416" y="-215558"/>
              <a:ext cx="257143" cy="194423"/>
              <a:chOff x="-187945" y="5594515"/>
              <a:chExt cx="192882" cy="194423"/>
            </a:xfrm>
          </p:grpSpPr>
          <p:cxnSp>
            <p:nvCxnSpPr>
              <p:cNvPr id="45" name="Gerade Verbindung 44"/>
              <p:cNvCxnSpPr/>
              <p:nvPr userDrawn="1"/>
            </p:nvCxnSpPr>
            <p:spPr bwMode="gray">
              <a:xfrm rot="5400000">
                <a:off x="-152360" y="5728083"/>
                <a:ext cx="121712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6" name="Rechteck 45"/>
              <p:cNvSpPr/>
              <p:nvPr userDrawn="1"/>
            </p:nvSpPr>
            <p:spPr bwMode="gray">
              <a:xfrm>
                <a:off x="-187957" y="5594515"/>
                <a:ext cx="192905" cy="60066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de-DE" sz="600" dirty="0">
                    <a:solidFill>
                      <a:schemeClr val="tx1"/>
                    </a:solidFill>
                    <a:cs typeface="Arial" panose="020B0604020202020204" pitchFamily="34" charset="0"/>
                  </a:rPr>
                  <a:t>0,27</a:t>
                </a:r>
              </a:p>
            </p:txBody>
          </p:sp>
        </p:grpSp>
        <p:grpSp>
          <p:nvGrpSpPr>
            <p:cNvPr id="39" name="Gruppieren 100"/>
            <p:cNvGrpSpPr>
              <a:grpSpLocks/>
            </p:cNvGrpSpPr>
            <p:nvPr/>
          </p:nvGrpSpPr>
          <p:grpSpPr bwMode="auto">
            <a:xfrm>
              <a:off x="6062678" y="-215558"/>
              <a:ext cx="257143" cy="194423"/>
              <a:chOff x="-187945" y="5594515"/>
              <a:chExt cx="192882" cy="194423"/>
            </a:xfrm>
          </p:grpSpPr>
          <p:cxnSp>
            <p:nvCxnSpPr>
              <p:cNvPr id="43" name="Gerade Verbindung 42"/>
              <p:cNvCxnSpPr/>
              <p:nvPr userDrawn="1"/>
            </p:nvCxnSpPr>
            <p:spPr bwMode="gray">
              <a:xfrm rot="5400000">
                <a:off x="-152360" y="5728083"/>
                <a:ext cx="121712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4" name="Rechteck 43"/>
              <p:cNvSpPr/>
              <p:nvPr userDrawn="1"/>
            </p:nvSpPr>
            <p:spPr bwMode="gray">
              <a:xfrm>
                <a:off x="-187956" y="5594515"/>
                <a:ext cx="192905" cy="60066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de-DE" sz="600" dirty="0">
                    <a:solidFill>
                      <a:schemeClr val="tx1"/>
                    </a:solidFill>
                    <a:cs typeface="Arial" panose="020B0604020202020204" pitchFamily="34" charset="0"/>
                  </a:rPr>
                  <a:t>0,27</a:t>
                </a:r>
              </a:p>
            </p:txBody>
          </p:sp>
        </p:grpSp>
        <p:grpSp>
          <p:nvGrpSpPr>
            <p:cNvPr id="40" name="Gruppieren 101"/>
            <p:cNvGrpSpPr>
              <a:grpSpLocks/>
            </p:cNvGrpSpPr>
            <p:nvPr/>
          </p:nvGrpSpPr>
          <p:grpSpPr bwMode="auto">
            <a:xfrm>
              <a:off x="11409378" y="-215558"/>
              <a:ext cx="257143" cy="194423"/>
              <a:chOff x="-187945" y="5594515"/>
              <a:chExt cx="192882" cy="194423"/>
            </a:xfrm>
          </p:grpSpPr>
          <p:cxnSp>
            <p:nvCxnSpPr>
              <p:cNvPr id="41" name="Gerade Verbindung 40"/>
              <p:cNvCxnSpPr/>
              <p:nvPr userDrawn="1"/>
            </p:nvCxnSpPr>
            <p:spPr bwMode="gray">
              <a:xfrm rot="5400000">
                <a:off x="-152372" y="5728083"/>
                <a:ext cx="121712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2" name="Rechteck 41"/>
              <p:cNvSpPr/>
              <p:nvPr userDrawn="1"/>
            </p:nvSpPr>
            <p:spPr bwMode="gray">
              <a:xfrm>
                <a:off x="-187968" y="5594515"/>
                <a:ext cx="192905" cy="60066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de-DE" sz="600" dirty="0">
                    <a:solidFill>
                      <a:schemeClr val="tx1"/>
                    </a:solidFill>
                    <a:cs typeface="Arial" panose="020B0604020202020204" pitchFamily="34" charset="0"/>
                  </a:rPr>
                  <a:t>15,12</a:t>
                </a:r>
              </a:p>
            </p:txBody>
          </p:sp>
        </p:grpSp>
      </p:grpSp>
      <p:grpSp>
        <p:nvGrpSpPr>
          <p:cNvPr id="49" name="Gruppieren 110"/>
          <p:cNvGrpSpPr>
            <a:grpSpLocks/>
          </p:cNvGrpSpPr>
          <p:nvPr/>
        </p:nvGrpSpPr>
        <p:grpSpPr bwMode="auto">
          <a:xfrm>
            <a:off x="-312778" y="1739901"/>
            <a:ext cx="271498" cy="4748213"/>
            <a:chOff x="-312083" y="1740297"/>
            <a:chExt cx="271280" cy="4748555"/>
          </a:xfrm>
        </p:grpSpPr>
        <p:grpSp>
          <p:nvGrpSpPr>
            <p:cNvPr id="50" name="Gruppieren 111"/>
            <p:cNvGrpSpPr>
              <a:grpSpLocks/>
            </p:cNvGrpSpPr>
            <p:nvPr/>
          </p:nvGrpSpPr>
          <p:grpSpPr bwMode="auto">
            <a:xfrm>
              <a:off x="-312083" y="6295970"/>
              <a:ext cx="271280" cy="192882"/>
              <a:chOff x="-312083" y="6295970"/>
              <a:chExt cx="271280" cy="192882"/>
            </a:xfrm>
          </p:grpSpPr>
          <p:cxnSp>
            <p:nvCxnSpPr>
              <p:cNvPr id="54" name="Gerade Verbindung 53"/>
              <p:cNvCxnSpPr/>
              <p:nvPr userDrawn="1"/>
            </p:nvCxnSpPr>
            <p:spPr bwMode="gray">
              <a:xfrm>
                <a:off x="-202619" y="6393595"/>
                <a:ext cx="161816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5" name="Rechteck 54"/>
              <p:cNvSpPr/>
              <p:nvPr userDrawn="1"/>
            </p:nvSpPr>
            <p:spPr bwMode="gray">
              <a:xfrm rot="16200000">
                <a:off x="-368473" y="6353140"/>
                <a:ext cx="192102" cy="79321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de-DE" sz="600" dirty="0">
                    <a:solidFill>
                      <a:schemeClr val="tx1"/>
                    </a:solidFill>
                    <a:cs typeface="Arial" panose="020B0604020202020204" pitchFamily="34" charset="0"/>
                  </a:rPr>
                  <a:t>8,24</a:t>
                </a:r>
              </a:p>
            </p:txBody>
          </p:sp>
        </p:grpSp>
        <p:grpSp>
          <p:nvGrpSpPr>
            <p:cNvPr id="51" name="Gruppieren 112"/>
            <p:cNvGrpSpPr>
              <a:grpSpLocks/>
            </p:cNvGrpSpPr>
            <p:nvPr/>
          </p:nvGrpSpPr>
          <p:grpSpPr bwMode="auto">
            <a:xfrm>
              <a:off x="-312083" y="1740297"/>
              <a:ext cx="271280" cy="192882"/>
              <a:chOff x="-312083" y="1703784"/>
              <a:chExt cx="271280" cy="192882"/>
            </a:xfrm>
          </p:grpSpPr>
          <p:cxnSp>
            <p:nvCxnSpPr>
              <p:cNvPr id="52" name="Gerade Verbindung 51"/>
              <p:cNvCxnSpPr/>
              <p:nvPr userDrawn="1"/>
            </p:nvCxnSpPr>
            <p:spPr bwMode="gray">
              <a:xfrm>
                <a:off x="-202619" y="1800629"/>
                <a:ext cx="161816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3" name="Rechteck 52"/>
              <p:cNvSpPr/>
              <p:nvPr userDrawn="1"/>
            </p:nvSpPr>
            <p:spPr bwMode="gray">
              <a:xfrm rot="16200000">
                <a:off x="-368473" y="1760174"/>
                <a:ext cx="192102" cy="79321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de-DE" sz="600" dirty="0">
                    <a:solidFill>
                      <a:schemeClr val="tx1"/>
                    </a:solidFill>
                    <a:cs typeface="Arial" panose="020B0604020202020204" pitchFamily="34" charset="0"/>
                  </a:rPr>
                  <a:t>4,42</a:t>
                </a:r>
              </a:p>
            </p:txBody>
          </p:sp>
        </p:grpSp>
      </p:grpSp>
      <p:sp>
        <p:nvSpPr>
          <p:cNvPr id="78" name="Titel 77"/>
          <p:cNvSpPr>
            <a:spLocks noGrp="1"/>
          </p:cNvSpPr>
          <p:nvPr>
            <p:ph type="ctrTitle"/>
          </p:nvPr>
        </p:nvSpPr>
        <p:spPr bwMode="gray">
          <a:xfrm>
            <a:off x="-1" y="1"/>
            <a:ext cx="12192000" cy="2504834"/>
          </a:xfrm>
          <a:custGeom>
            <a:avLst/>
            <a:gdLst>
              <a:gd name="connsiteX0" fmla="*/ 0 w 12190413"/>
              <a:gd name="connsiteY0" fmla="*/ 0 h 2504834"/>
              <a:gd name="connsiteX1" fmla="*/ 12190413 w 12190413"/>
              <a:gd name="connsiteY1" fmla="*/ 0 h 2504834"/>
              <a:gd name="connsiteX2" fmla="*/ 12190413 w 12190413"/>
              <a:gd name="connsiteY2" fmla="*/ 829996 h 2504834"/>
              <a:gd name="connsiteX3" fmla="*/ 9060657 w 12190413"/>
              <a:gd name="connsiteY3" fmla="*/ 829996 h 2504834"/>
              <a:gd name="connsiteX4" fmla="*/ 9060657 w 12190413"/>
              <a:gd name="connsiteY4" fmla="*/ 2504830 h 2504834"/>
              <a:gd name="connsiteX5" fmla="*/ 12190413 w 12190413"/>
              <a:gd name="connsiteY5" fmla="*/ 2504830 h 2504834"/>
              <a:gd name="connsiteX6" fmla="*/ 12190413 w 12190413"/>
              <a:gd name="connsiteY6" fmla="*/ 2504834 h 2504834"/>
              <a:gd name="connsiteX7" fmla="*/ 0 w 12190413"/>
              <a:gd name="connsiteY7" fmla="*/ 2504834 h 25048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0413" h="2504834">
                <a:moveTo>
                  <a:pt x="0" y="0"/>
                </a:moveTo>
                <a:lnTo>
                  <a:pt x="12190413" y="0"/>
                </a:lnTo>
                <a:lnTo>
                  <a:pt x="12190413" y="829996"/>
                </a:lnTo>
                <a:lnTo>
                  <a:pt x="9060657" y="829996"/>
                </a:lnTo>
                <a:lnTo>
                  <a:pt x="9060657" y="2504830"/>
                </a:lnTo>
                <a:lnTo>
                  <a:pt x="12190413" y="2504830"/>
                </a:lnTo>
                <a:lnTo>
                  <a:pt x="12190413" y="2504834"/>
                </a:lnTo>
                <a:lnTo>
                  <a:pt x="0" y="2504834"/>
                </a:lnTo>
                <a:close/>
              </a:path>
            </a:pathLst>
          </a:custGeom>
          <a:solidFill>
            <a:schemeClr val="accent4"/>
          </a:solidFill>
        </p:spPr>
        <p:txBody>
          <a:bodyPr lIns="619200" tIns="482400" rIns="3456000" anchor="t">
            <a:noAutofit/>
          </a:bodyPr>
          <a:lstStyle>
            <a:lvl1pPr algn="l">
              <a:defRPr sz="3200"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628732" y="1616101"/>
            <a:ext cx="7863876" cy="288000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de-DE" dirty="0"/>
          </a:p>
        </p:txBody>
      </p:sp>
      <p:sp>
        <p:nvSpPr>
          <p:cNvPr id="57" name="Textplatzhalter 9"/>
          <p:cNvSpPr>
            <a:spLocks noGrp="1"/>
          </p:cNvSpPr>
          <p:nvPr>
            <p:ph type="body" sz="quarter" idx="13"/>
          </p:nvPr>
        </p:nvSpPr>
        <p:spPr bwMode="gray">
          <a:xfrm>
            <a:off x="632704" y="2001655"/>
            <a:ext cx="7859903" cy="216000"/>
          </a:xfrm>
        </p:spPr>
        <p:txBody>
          <a:bodyPr/>
          <a:lstStyle>
            <a:lvl1pPr marL="3175" indent="0">
              <a:spcBef>
                <a:spcPts val="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1pPr>
            <a:lvl2pPr marL="3175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2pPr>
            <a:lvl3pPr marL="3175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3pPr>
            <a:lvl4pPr marL="3175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4pPr>
            <a:lvl5pPr marL="3175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5pPr>
            <a:lvl6pPr marL="3175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6pPr>
            <a:lvl7pPr marL="3175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7pPr>
            <a:lvl8pPr marL="3175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8pPr>
            <a:lvl9pPr marL="3175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6" name="Datumsplatzhalt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pPr>
              <a:defRPr/>
            </a:pPr>
            <a:r>
              <a:rPr lang="de-DE"/>
              <a:t>Datum</a:t>
            </a:r>
            <a:endParaRPr lang="de-DE" dirty="0"/>
          </a:p>
        </p:txBody>
      </p:sp>
      <p:sp>
        <p:nvSpPr>
          <p:cNvPr id="58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 dirty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>
              <a:defRPr/>
            </a:pPr>
            <a:endParaRPr lang="de-DE"/>
          </a:p>
        </p:txBody>
      </p:sp>
      <p:sp>
        <p:nvSpPr>
          <p:cNvPr id="59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 smtClean="0"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pPr>
              <a:defRPr/>
            </a:pPr>
            <a:fld id="{C9B9D322-B709-42FE-8A2F-038DD17D1D50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31984923"/>
      </p:ext>
    </p:extLst>
  </p:cSld>
  <p:clrMapOvr>
    <a:masterClrMapping/>
  </p:clrMapOvr>
  <p:transition spd="med"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 bwMode="gray">
          <a:xfrm>
            <a:off x="628732" y="1766888"/>
            <a:ext cx="10908340" cy="4625181"/>
          </a:xfrm>
        </p:spPr>
        <p:txBody>
          <a:bodyPr/>
          <a:lstStyle>
            <a:lvl1pPr marL="360000" indent="-360000">
              <a:spcBef>
                <a:spcPts val="1000"/>
              </a:spcBef>
              <a:buClr>
                <a:schemeClr val="tx1"/>
              </a:buClr>
              <a:buSzPct val="120000"/>
              <a:buFont typeface="+mj-lt"/>
              <a:buAutoNum type="arabicPeriod"/>
              <a:defRPr sz="2000"/>
            </a:lvl1pPr>
            <a:lvl2pPr marL="360000" indent="-360000">
              <a:spcBef>
                <a:spcPts val="1000"/>
              </a:spcBef>
              <a:buClr>
                <a:schemeClr val="tx1"/>
              </a:buClr>
              <a:buSzPct val="120000"/>
              <a:buFont typeface="+mj-lt"/>
              <a:buAutoNum type="arabicPeriod"/>
              <a:defRPr sz="2000"/>
            </a:lvl2pPr>
            <a:lvl3pPr marL="360000" indent="-360000">
              <a:spcBef>
                <a:spcPts val="1000"/>
              </a:spcBef>
              <a:buClr>
                <a:schemeClr val="tx1"/>
              </a:buClr>
              <a:buSzPct val="120000"/>
              <a:buFont typeface="+mj-lt"/>
              <a:buAutoNum type="arabicPeriod"/>
              <a:defRPr sz="2000"/>
            </a:lvl3pPr>
            <a:lvl4pPr marL="360000" indent="-360000">
              <a:spcBef>
                <a:spcPts val="1000"/>
              </a:spcBef>
              <a:buClr>
                <a:schemeClr val="tx1"/>
              </a:buClr>
              <a:buSzPct val="120000"/>
              <a:buFont typeface="+mj-lt"/>
              <a:buAutoNum type="arabicPeriod"/>
              <a:defRPr sz="2000"/>
            </a:lvl4pPr>
            <a:lvl5pPr marL="360000" indent="-360000">
              <a:spcBef>
                <a:spcPts val="1000"/>
              </a:spcBef>
              <a:buClr>
                <a:schemeClr val="tx1"/>
              </a:buClr>
              <a:buSzPct val="120000"/>
              <a:buFont typeface="+mj-lt"/>
              <a:buAutoNum type="arabicPeriod"/>
              <a:defRPr sz="2000"/>
            </a:lvl5pPr>
            <a:lvl6pPr marL="360000" indent="-360000">
              <a:spcBef>
                <a:spcPts val="1000"/>
              </a:spcBef>
              <a:buClr>
                <a:schemeClr val="tx1"/>
              </a:buClr>
              <a:buSzPct val="120000"/>
              <a:buFont typeface="+mj-lt"/>
              <a:buAutoNum type="arabicPeriod"/>
              <a:defRPr sz="2000"/>
            </a:lvl6pPr>
            <a:lvl7pPr marL="360000" indent="-360000">
              <a:spcBef>
                <a:spcPts val="1000"/>
              </a:spcBef>
              <a:buClr>
                <a:schemeClr val="tx1"/>
              </a:buClr>
              <a:buSzPct val="120000"/>
              <a:buFont typeface="+mj-lt"/>
              <a:buAutoNum type="arabicPeriod"/>
              <a:defRPr sz="2000"/>
            </a:lvl7pPr>
            <a:lvl8pPr marL="360000" indent="-360000">
              <a:spcBef>
                <a:spcPts val="1000"/>
              </a:spcBef>
              <a:buClr>
                <a:schemeClr val="tx1"/>
              </a:buClr>
              <a:buSzPct val="120000"/>
              <a:buFont typeface="+mj-lt"/>
              <a:buAutoNum type="arabicPeriod"/>
              <a:defRPr sz="2000"/>
            </a:lvl8pPr>
            <a:lvl9pPr marL="360000" indent="-360000">
              <a:spcBef>
                <a:spcPts val="1000"/>
              </a:spcBef>
              <a:buClr>
                <a:schemeClr val="tx1"/>
              </a:buClr>
              <a:buSzPct val="120000"/>
              <a:buFont typeface="+mj-lt"/>
              <a:buAutoNum type="arabicPeriod"/>
              <a:defRPr sz="20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2" name="Untertitel 2"/>
          <p:cNvSpPr>
            <a:spLocks noGrp="1"/>
          </p:cNvSpPr>
          <p:nvPr>
            <p:ph type="subTitle" idx="1"/>
          </p:nvPr>
        </p:nvSpPr>
        <p:spPr bwMode="gray">
          <a:xfrm>
            <a:off x="628731" y="1152797"/>
            <a:ext cx="8839416" cy="345805"/>
          </a:xfrm>
        </p:spPr>
        <p:txBody>
          <a:bodyPr anchor="ctr"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Datum</a:t>
            </a:r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FB524EF-13DD-48F5-862A-B189D612DB55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28966196"/>
      </p:ext>
    </p:extLst>
  </p:cSld>
  <p:clrMapOvr>
    <a:masterClrMapping/>
  </p:clrMapOvr>
  <p:transition spd="med"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171578" y="3026471"/>
            <a:ext cx="10020422" cy="1126802"/>
          </a:xfrm>
          <a:solidFill>
            <a:schemeClr val="tx2"/>
          </a:solidFill>
        </p:spPr>
        <p:txBody>
          <a:bodyPr lIns="432000" tIns="46800" rIns="684000" bIns="46800"/>
          <a:lstStyle>
            <a:lvl1pPr>
              <a:defRPr baseline="0"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 bwMode="gray">
          <a:xfrm>
            <a:off x="646991" y="3026471"/>
            <a:ext cx="1126947" cy="1126802"/>
          </a:xfrm>
          <a:solidFill>
            <a:schemeClr val="tx2"/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540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540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5400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buNone/>
              <a:defRPr sz="5400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5400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5400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buNone/>
              <a:defRPr sz="5400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buNone/>
              <a:defRPr sz="5400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buNone/>
              <a:defRPr sz="54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Datum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 smtClean="0"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pPr>
              <a:defRPr/>
            </a:pPr>
            <a:fld id="{B588B951-3BF3-4D5D-B10C-A9517560257B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62117025"/>
      </p:ext>
    </p:extLst>
  </p:cSld>
  <p:clrMapOvr>
    <a:masterClrMapping/>
  </p:clrMapOvr>
  <p:transition spd="med"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 bwMode="gray">
          <a:xfrm>
            <a:off x="628732" y="1765748"/>
            <a:ext cx="10908339" cy="4626322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6" name="Untertitel 2"/>
          <p:cNvSpPr>
            <a:spLocks noGrp="1"/>
          </p:cNvSpPr>
          <p:nvPr>
            <p:ph type="subTitle" idx="1"/>
          </p:nvPr>
        </p:nvSpPr>
        <p:spPr bwMode="gray">
          <a:xfrm>
            <a:off x="628731" y="1152797"/>
            <a:ext cx="8839416" cy="345805"/>
          </a:xfrm>
        </p:spPr>
        <p:txBody>
          <a:bodyPr anchor="ctr"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solidFill>
            <a:schemeClr val="accent2"/>
          </a:solidFill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Datum</a:t>
            </a:r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BE022FB-5030-479E-9168-9EA88F81BF37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31930849"/>
      </p:ext>
    </p:extLst>
  </p:cSld>
  <p:clrMapOvr>
    <a:masterClrMapping/>
  </p:clrMapOvr>
  <p:transition spd="med"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 bwMode="gray">
          <a:xfrm>
            <a:off x="6170623" y="1765748"/>
            <a:ext cx="5366449" cy="462632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 bwMode="gray">
          <a:xfrm>
            <a:off x="646993" y="1834357"/>
            <a:ext cx="5347395" cy="4557712"/>
          </a:xfrm>
        </p:spPr>
        <p:txBody>
          <a:bodyPr tIns="648000"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de-DE" noProof="0"/>
              <a:t>Bild durch Klicken auf Symbol hinzufügen</a:t>
            </a:r>
          </a:p>
        </p:txBody>
      </p:sp>
      <p:sp>
        <p:nvSpPr>
          <p:cNvPr id="46" name="Untertitel 2"/>
          <p:cNvSpPr>
            <a:spLocks noGrp="1"/>
          </p:cNvSpPr>
          <p:nvPr>
            <p:ph type="subTitle" idx="1"/>
          </p:nvPr>
        </p:nvSpPr>
        <p:spPr bwMode="gray">
          <a:xfrm>
            <a:off x="628731" y="1152797"/>
            <a:ext cx="8839416" cy="345805"/>
          </a:xfrm>
        </p:spPr>
        <p:txBody>
          <a:bodyPr anchor="ctr"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solidFill>
            <a:schemeClr val="accent3"/>
          </a:solidFill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6" name="Datumsplatzhalt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Datum</a:t>
            </a:r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65B49A1-3796-456D-80C3-467C217D8036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00496154"/>
      </p:ext>
    </p:extLst>
  </p:cSld>
  <p:clrMapOvr>
    <a:masterClrMapping/>
  </p:clrMapOvr>
  <p:transition spd="med"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+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 bwMode="gray">
          <a:xfrm>
            <a:off x="7698506" y="1765748"/>
            <a:ext cx="3838566" cy="462632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 bwMode="gray">
          <a:xfrm>
            <a:off x="646991" y="1834356"/>
            <a:ext cx="6877658" cy="4557713"/>
          </a:xfrm>
        </p:spPr>
        <p:txBody>
          <a:bodyPr tIns="648000"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de-DE" noProof="0"/>
              <a:t>Bild durch Klicken auf Symbol hinzufügen</a:t>
            </a:r>
          </a:p>
        </p:txBody>
      </p:sp>
      <p:sp>
        <p:nvSpPr>
          <p:cNvPr id="47" name="Untertitel 2"/>
          <p:cNvSpPr>
            <a:spLocks noGrp="1"/>
          </p:cNvSpPr>
          <p:nvPr>
            <p:ph type="subTitle" idx="1"/>
          </p:nvPr>
        </p:nvSpPr>
        <p:spPr bwMode="gray">
          <a:xfrm>
            <a:off x="628731" y="1152797"/>
            <a:ext cx="8839416" cy="345805"/>
          </a:xfrm>
        </p:spPr>
        <p:txBody>
          <a:bodyPr anchor="ctr"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solidFill>
            <a:schemeClr val="accent4"/>
          </a:solidFill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6" name="Datumsplatzhalt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Datum</a:t>
            </a:r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ABB19CF-0E10-4B5E-A505-F9BFF7BC1502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92499172"/>
      </p:ext>
    </p:extLst>
  </p:cSld>
  <p:clrMapOvr>
    <a:masterClrMapping/>
  </p:clrMapOvr>
  <p:transition spd="med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ußzeilenplatzhalter 3">
            <a:extLst>
              <a:ext uri="{FF2B5EF4-FFF2-40B4-BE49-F238E27FC236}">
                <a16:creationId xmlns:a16="http://schemas.microsoft.com/office/drawing/2014/main" id="{59371768-18BA-4052-9BFA-DCB2C8A72C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17548" y="6591301"/>
            <a:ext cx="9000000" cy="266700"/>
          </a:xfrm>
        </p:spPr>
        <p:txBody>
          <a:bodyPr lIns="0"/>
          <a:lstStyle>
            <a:lvl1pPr>
              <a:defRPr>
                <a:solidFill>
                  <a:prstClr val="black">
                    <a:alpha val="0"/>
                  </a:prstClr>
                </a:solidFill>
              </a:defRPr>
            </a:lvl1pPr>
          </a:lstStyle>
          <a:p>
            <a:endParaRPr lang="de-DE"/>
          </a:p>
        </p:txBody>
      </p:sp>
      <p:sp>
        <p:nvSpPr>
          <p:cNvPr id="11" name="Foliennummernplatzhalter 4">
            <a:extLst>
              <a:ext uri="{FF2B5EF4-FFF2-40B4-BE49-F238E27FC236}">
                <a16:creationId xmlns:a16="http://schemas.microsoft.com/office/drawing/2014/main" id="{DF21D1AB-E31C-4E5D-A811-2795EEABF2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591300"/>
            <a:ext cx="590550" cy="266700"/>
          </a:xfrm>
        </p:spPr>
        <p:txBody>
          <a:bodyPr/>
          <a:lstStyle>
            <a:lvl1pPr>
              <a:defRPr>
                <a:solidFill>
                  <a:prstClr val="black">
                    <a:alpha val="0"/>
                  </a:prstClr>
                </a:solidFill>
              </a:defRPr>
            </a:lvl1pPr>
          </a:lstStyle>
          <a:p>
            <a:fld id="{5AFF31D0-8A17-47C0-8D09-D01303A85034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E62D8395-8471-4701-AEC3-A77A2CD30195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4" t="12822" b="24071"/>
          <a:stretch/>
        </p:blipFill>
        <p:spPr bwMode="gray">
          <a:xfrm>
            <a:off x="0" y="2505075"/>
            <a:ext cx="12193200" cy="4352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75" descr="C:\Users\bertscha\Desktop\ebmpapst_logobox_claim_2021_rgb.jpg">
            <a:extLst>
              <a:ext uri="{FF2B5EF4-FFF2-40B4-BE49-F238E27FC236}">
                <a16:creationId xmlns:a16="http://schemas.microsoft.com/office/drawing/2014/main" id="{E1CD40B8-4BB6-4026-BAD4-E2D761D2EFE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59862" y="826915"/>
            <a:ext cx="3130549" cy="22369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itel 1">
            <a:extLst>
              <a:ext uri="{FF2B5EF4-FFF2-40B4-BE49-F238E27FC236}">
                <a16:creationId xmlns:a16="http://schemas.microsoft.com/office/drawing/2014/main" id="{5364E8ED-CF86-4BF0-A2F6-0DE4D39554B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68000" y="1208498"/>
            <a:ext cx="8100000" cy="982137"/>
          </a:xfrm>
          <a:noFill/>
        </p:spPr>
        <p:txBody>
          <a:bodyPr wrap="square" lIns="0" tIns="0" rIns="0" bIns="0" anchor="t" anchorCtr="0">
            <a:noAutofit/>
          </a:bodyPr>
          <a:lstStyle>
            <a:lvl1pPr>
              <a:lnSpc>
                <a:spcPct val="100000"/>
              </a:lnSpc>
              <a:defRPr lang="de-DE" sz="3600" b="1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 lvl="0" fontAlgn="base">
              <a:spcAft>
                <a:spcPct val="0"/>
              </a:spcAft>
            </a:pPr>
            <a:r>
              <a:rPr lang="cs-CZ"/>
              <a:t>Kliknutím lze upravit styl.</a:t>
            </a:r>
            <a:endParaRPr lang="de-DE" dirty="0"/>
          </a:p>
        </p:txBody>
      </p:sp>
      <p:sp>
        <p:nvSpPr>
          <p:cNvPr id="10" name="Untertitel 2">
            <a:extLst>
              <a:ext uri="{FF2B5EF4-FFF2-40B4-BE49-F238E27FC236}">
                <a16:creationId xmlns:a16="http://schemas.microsoft.com/office/drawing/2014/main" id="{71804CE4-F9C5-4536-B253-754FF073B67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68000" y="795135"/>
            <a:ext cx="8100000" cy="288000"/>
          </a:xfrm>
          <a:noFill/>
        </p:spPr>
        <p:txBody>
          <a:bodyPr wrap="square"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buNone/>
              <a:defRPr lang="de-DE" sz="2400" i="1" dirty="0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>
                <a:tab pos="1076325" algn="l"/>
              </a:tabLst>
              <a:defRPr/>
            </a:pPr>
            <a:r>
              <a:rPr lang="cs-CZ"/>
              <a:t>Kliknutím můžete upravit styl předlohy.</a:t>
            </a:r>
            <a:endParaRPr lang="de-DE" dirty="0"/>
          </a:p>
        </p:txBody>
      </p:sp>
      <p:sp>
        <p:nvSpPr>
          <p:cNvPr id="14" name="Textplatzhalter 11">
            <a:extLst>
              <a:ext uri="{FF2B5EF4-FFF2-40B4-BE49-F238E27FC236}">
                <a16:creationId xmlns:a16="http://schemas.microsoft.com/office/drawing/2014/main" id="{DA3424B8-8611-43C8-8C1D-1CB36468602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8000" y="5608958"/>
            <a:ext cx="2515974" cy="591389"/>
          </a:xfrm>
        </p:spPr>
        <p:txBody>
          <a:bodyPr rIns="0" bIns="0" anchor="t" anchorCtr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itchFamily="34" charset="0"/>
              <a:buNone/>
              <a:defRPr lang="de-DE" sz="1800" b="0" i="0" kern="1200" dirty="0">
                <a:solidFill>
                  <a:prstClr val="white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647227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+ Tex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 bwMode="gray">
          <a:xfrm>
            <a:off x="4096237" y="1765748"/>
            <a:ext cx="7440834" cy="462632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 bwMode="gray">
          <a:xfrm>
            <a:off x="646991" y="1834356"/>
            <a:ext cx="3275390" cy="4557713"/>
          </a:xfrm>
        </p:spPr>
        <p:txBody>
          <a:bodyPr tIns="648000"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de-DE" noProof="0"/>
              <a:t>Bild durch Klicken auf Symbol hinzufügen</a:t>
            </a:r>
          </a:p>
        </p:txBody>
      </p:sp>
      <p:sp>
        <p:nvSpPr>
          <p:cNvPr id="47" name="Untertitel 2"/>
          <p:cNvSpPr>
            <a:spLocks noGrp="1"/>
          </p:cNvSpPr>
          <p:nvPr>
            <p:ph type="subTitle" idx="1"/>
          </p:nvPr>
        </p:nvSpPr>
        <p:spPr bwMode="gray">
          <a:xfrm>
            <a:off x="628731" y="1152797"/>
            <a:ext cx="8839416" cy="345805"/>
          </a:xfrm>
        </p:spPr>
        <p:txBody>
          <a:bodyPr anchor="ctr"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solidFill>
            <a:schemeClr val="accent5"/>
          </a:solidFill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6" name="Datumsplatzhalt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Datum</a:t>
            </a:r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9C8EA78-252F-42F8-A307-D40851C46AD4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80669522"/>
      </p:ext>
    </p:extLst>
  </p:cSld>
  <p:clrMapOvr>
    <a:masterClrMapping/>
  </p:clrMapOvr>
  <p:transition spd="med"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 bwMode="gray">
          <a:xfrm>
            <a:off x="646991" y="1834356"/>
            <a:ext cx="5347397" cy="4557713"/>
          </a:xfrm>
        </p:spPr>
        <p:txBody>
          <a:bodyPr tIns="648000"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47" name="Bildplatzhalter 8"/>
          <p:cNvSpPr>
            <a:spLocks noGrp="1"/>
          </p:cNvSpPr>
          <p:nvPr>
            <p:ph type="pic" sz="quarter" idx="15"/>
          </p:nvPr>
        </p:nvSpPr>
        <p:spPr bwMode="gray">
          <a:xfrm>
            <a:off x="6189675" y="1836738"/>
            <a:ext cx="5347397" cy="4557713"/>
          </a:xfrm>
        </p:spPr>
        <p:txBody>
          <a:bodyPr tIns="648000"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48" name="Untertitel 2"/>
          <p:cNvSpPr>
            <a:spLocks noGrp="1"/>
          </p:cNvSpPr>
          <p:nvPr>
            <p:ph type="subTitle" idx="1"/>
          </p:nvPr>
        </p:nvSpPr>
        <p:spPr bwMode="gray">
          <a:xfrm>
            <a:off x="628731" y="1152797"/>
            <a:ext cx="8839416" cy="345805"/>
          </a:xfrm>
        </p:spPr>
        <p:txBody>
          <a:bodyPr anchor="ctr"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solidFill>
            <a:schemeClr val="accent6"/>
          </a:solidFill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6" name="Datumsplatzhalter 3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Datum</a:t>
            </a:r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E967CEB-4F56-4119-A99C-C60B299C67D8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45876515"/>
      </p:ext>
    </p:extLst>
  </p:cSld>
  <p:clrMapOvr>
    <a:masterClrMapping/>
  </p:clrMapOvr>
  <p:transition spd="med"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 bwMode="gray">
          <a:xfrm>
            <a:off x="646992" y="1834356"/>
            <a:ext cx="5346603" cy="2178268"/>
          </a:xfrm>
        </p:spPr>
        <p:txBody>
          <a:bodyPr tIns="648000"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51" name="Bildplatzhalter 8"/>
          <p:cNvSpPr>
            <a:spLocks noGrp="1"/>
          </p:cNvSpPr>
          <p:nvPr>
            <p:ph type="pic" sz="quarter" idx="15"/>
          </p:nvPr>
        </p:nvSpPr>
        <p:spPr bwMode="gray">
          <a:xfrm>
            <a:off x="6190468" y="1834356"/>
            <a:ext cx="5346603" cy="2178268"/>
          </a:xfrm>
        </p:spPr>
        <p:txBody>
          <a:bodyPr tIns="648000"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53" name="Bildplatzhalter 8"/>
          <p:cNvSpPr>
            <a:spLocks noGrp="1"/>
          </p:cNvSpPr>
          <p:nvPr>
            <p:ph type="pic" sz="quarter" idx="16"/>
          </p:nvPr>
        </p:nvSpPr>
        <p:spPr bwMode="gray">
          <a:xfrm>
            <a:off x="646992" y="4213802"/>
            <a:ext cx="5346603" cy="2178268"/>
          </a:xfrm>
        </p:spPr>
        <p:txBody>
          <a:bodyPr tIns="648000"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54" name="Bildplatzhalter 8"/>
          <p:cNvSpPr>
            <a:spLocks noGrp="1"/>
          </p:cNvSpPr>
          <p:nvPr>
            <p:ph type="pic" sz="quarter" idx="17"/>
          </p:nvPr>
        </p:nvSpPr>
        <p:spPr bwMode="gray">
          <a:xfrm>
            <a:off x="6190468" y="4213802"/>
            <a:ext cx="5346603" cy="2178268"/>
          </a:xfrm>
        </p:spPr>
        <p:txBody>
          <a:bodyPr tIns="648000"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55" name="Untertitel 2"/>
          <p:cNvSpPr>
            <a:spLocks noGrp="1"/>
          </p:cNvSpPr>
          <p:nvPr>
            <p:ph type="subTitle" idx="1"/>
          </p:nvPr>
        </p:nvSpPr>
        <p:spPr bwMode="gray">
          <a:xfrm>
            <a:off x="628731" y="1152797"/>
            <a:ext cx="8839416" cy="345805"/>
          </a:xfrm>
        </p:spPr>
        <p:txBody>
          <a:bodyPr anchor="ctr"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solidFill>
            <a:schemeClr val="accent1"/>
          </a:solidFill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Datumsplatzhalter 3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Datum</a:t>
            </a:r>
            <a:endParaRPr lang="de-DE" dirty="0"/>
          </a:p>
        </p:txBody>
      </p:sp>
      <p:sp>
        <p:nvSpPr>
          <p:cNvPr id="10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9011E6F-76DF-4D51-8C18-5F787CBA6260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19870055"/>
      </p:ext>
    </p:extLst>
  </p:cSld>
  <p:clrMapOvr>
    <a:masterClrMapping/>
  </p:clrMapOvr>
  <p:transition spd="med"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/>
          <p:cNvSpPr>
            <a:spLocks noGrp="1"/>
          </p:cNvSpPr>
          <p:nvPr>
            <p:ph type="pic" sz="quarter" idx="13"/>
          </p:nvPr>
        </p:nvSpPr>
        <p:spPr bwMode="gray">
          <a:xfrm>
            <a:off x="0" y="1118807"/>
            <a:ext cx="12196764" cy="5739193"/>
          </a:xfrm>
          <a:custGeom>
            <a:avLst/>
            <a:gdLst/>
            <a:ahLst/>
            <a:cxnLst/>
            <a:rect l="l" t="t" r="r" b="b"/>
            <a:pathLst>
              <a:path w="12190413" h="5734431">
                <a:moveTo>
                  <a:pt x="0" y="0"/>
                </a:moveTo>
                <a:lnTo>
                  <a:pt x="10090800" y="0"/>
                </a:lnTo>
                <a:lnTo>
                  <a:pt x="10090800" y="5142"/>
                </a:lnTo>
                <a:lnTo>
                  <a:pt x="10090800" y="374896"/>
                </a:lnTo>
                <a:lnTo>
                  <a:pt x="12190413" y="374896"/>
                </a:lnTo>
                <a:lnTo>
                  <a:pt x="12190413" y="5734431"/>
                </a:lnTo>
                <a:lnTo>
                  <a:pt x="1" y="5734431"/>
                </a:lnTo>
                <a:lnTo>
                  <a:pt x="1" y="465666"/>
                </a:lnTo>
                <a:lnTo>
                  <a:pt x="0" y="465666"/>
                </a:lnTo>
                <a:close/>
              </a:path>
            </a:pathLst>
          </a:custGeom>
        </p:spPr>
        <p:txBody>
          <a:bodyPr tIns="648000" rtlCol="0" anchor="ctr">
            <a:noAutofit/>
          </a:bodyPr>
          <a:lstStyle>
            <a:lvl1pPr>
              <a:defRPr lang="de-DE"/>
            </a:lvl1pPr>
          </a:lstStyle>
          <a:p>
            <a:pPr lvl="0"/>
            <a:r>
              <a:rPr lang="de-DE" noProof="0"/>
              <a:t>Bild durch Klicken auf Symbol hinzufügen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solidFill>
            <a:schemeClr val="accent2"/>
          </a:solidFill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Datum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0C1A157-FC9E-47CB-A6AB-7D9E66792251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32845195"/>
      </p:ext>
    </p:extLst>
  </p:cSld>
  <p:clrMapOvr>
    <a:masterClrMapping/>
  </p:clrMapOvr>
  <p:transition spd="med"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Untertitel 2"/>
          <p:cNvSpPr>
            <a:spLocks noGrp="1"/>
          </p:cNvSpPr>
          <p:nvPr>
            <p:ph type="subTitle" idx="1"/>
          </p:nvPr>
        </p:nvSpPr>
        <p:spPr bwMode="gray">
          <a:xfrm>
            <a:off x="628731" y="1152797"/>
            <a:ext cx="8839416" cy="345805"/>
          </a:xfrm>
        </p:spPr>
        <p:txBody>
          <a:bodyPr anchor="ctr"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solidFill>
            <a:schemeClr val="accent3"/>
          </a:solidFill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Datum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55D8F01-0BAE-4E87-9667-E232837E7047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53563065"/>
      </p:ext>
    </p:extLst>
  </p:cSld>
  <p:clrMapOvr>
    <a:masterClrMapping/>
  </p:clrMapOvr>
  <p:transition spd="med"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platzhalter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78"/>
          <a:stretch>
            <a:fillRect/>
          </a:stretch>
        </p:blipFill>
        <p:spPr bwMode="gray">
          <a:xfrm>
            <a:off x="-9526" y="2490788"/>
            <a:ext cx="12201526" cy="4367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uppieren 37"/>
          <p:cNvGrpSpPr>
            <a:grpSpLocks/>
          </p:cNvGrpSpPr>
          <p:nvPr/>
        </p:nvGrpSpPr>
        <p:grpSpPr bwMode="auto">
          <a:xfrm>
            <a:off x="9061042" y="830263"/>
            <a:ext cx="3130958" cy="2233612"/>
            <a:chOff x="9299549" y="1855781"/>
            <a:chExt cx="2978142" cy="2125659"/>
          </a:xfrm>
        </p:grpSpPr>
        <p:sp>
          <p:nvSpPr>
            <p:cNvPr id="10" name="Rectangle 6"/>
            <p:cNvSpPr>
              <a:spLocks noChangeArrowheads="1"/>
            </p:cNvSpPr>
            <p:nvPr userDrawn="1"/>
          </p:nvSpPr>
          <p:spPr bwMode="gray">
            <a:xfrm>
              <a:off x="9299549" y="1855781"/>
              <a:ext cx="2978142" cy="159384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endParaRPr lang="de-DE" altLang="de-DE" sz="1800"/>
            </a:p>
          </p:txBody>
        </p:sp>
        <p:sp>
          <p:nvSpPr>
            <p:cNvPr id="11" name="Freeform 7"/>
            <p:cNvSpPr>
              <a:spLocks noEditPoints="1"/>
            </p:cNvSpPr>
            <p:nvPr userDrawn="1"/>
          </p:nvSpPr>
          <p:spPr bwMode="gray">
            <a:xfrm>
              <a:off x="9839298" y="2489191"/>
              <a:ext cx="206375" cy="333374"/>
            </a:xfrm>
            <a:custGeom>
              <a:avLst/>
              <a:gdLst>
                <a:gd name="T0" fmla="*/ 206375 w 55"/>
                <a:gd name="T1" fmla="*/ 179797 h 89"/>
                <a:gd name="T2" fmla="*/ 206375 w 55"/>
                <a:gd name="T3" fmla="*/ 161068 h 89"/>
                <a:gd name="T4" fmla="*/ 105064 w 55"/>
                <a:gd name="T5" fmla="*/ 0 h 89"/>
                <a:gd name="T6" fmla="*/ 0 w 55"/>
                <a:gd name="T7" fmla="*/ 164814 h 89"/>
                <a:gd name="T8" fmla="*/ 105064 w 55"/>
                <a:gd name="T9" fmla="*/ 333374 h 89"/>
                <a:gd name="T10" fmla="*/ 202623 w 55"/>
                <a:gd name="T11" fmla="*/ 221001 h 89"/>
                <a:gd name="T12" fmla="*/ 138834 w 55"/>
                <a:gd name="T13" fmla="*/ 221001 h 89"/>
                <a:gd name="T14" fmla="*/ 101311 w 55"/>
                <a:gd name="T15" fmla="*/ 280933 h 89"/>
                <a:gd name="T16" fmla="*/ 67541 w 55"/>
                <a:gd name="T17" fmla="*/ 206018 h 89"/>
                <a:gd name="T18" fmla="*/ 67541 w 55"/>
                <a:gd name="T19" fmla="*/ 179797 h 89"/>
                <a:gd name="T20" fmla="*/ 206375 w 55"/>
                <a:gd name="T21" fmla="*/ 179797 h 89"/>
                <a:gd name="T22" fmla="*/ 67541 w 55"/>
                <a:gd name="T23" fmla="*/ 131102 h 89"/>
                <a:gd name="T24" fmla="*/ 67541 w 55"/>
                <a:gd name="T25" fmla="*/ 119865 h 89"/>
                <a:gd name="T26" fmla="*/ 105064 w 55"/>
                <a:gd name="T27" fmla="*/ 56187 h 89"/>
                <a:gd name="T28" fmla="*/ 138834 w 55"/>
                <a:gd name="T29" fmla="*/ 131102 h 89"/>
                <a:gd name="T30" fmla="*/ 67541 w 55"/>
                <a:gd name="T31" fmla="*/ 131102 h 89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5" h="89">
                  <a:moveTo>
                    <a:pt x="55" y="48"/>
                  </a:moveTo>
                  <a:cubicBezTo>
                    <a:pt x="55" y="43"/>
                    <a:pt x="55" y="43"/>
                    <a:pt x="55" y="43"/>
                  </a:cubicBezTo>
                  <a:cubicBezTo>
                    <a:pt x="55" y="17"/>
                    <a:pt x="50" y="0"/>
                    <a:pt x="28" y="0"/>
                  </a:cubicBezTo>
                  <a:cubicBezTo>
                    <a:pt x="4" y="0"/>
                    <a:pt x="0" y="21"/>
                    <a:pt x="0" y="44"/>
                  </a:cubicBezTo>
                  <a:cubicBezTo>
                    <a:pt x="0" y="65"/>
                    <a:pt x="1" y="89"/>
                    <a:pt x="28" y="89"/>
                  </a:cubicBezTo>
                  <a:cubicBezTo>
                    <a:pt x="45" y="89"/>
                    <a:pt x="53" y="78"/>
                    <a:pt x="54" y="59"/>
                  </a:cubicBezTo>
                  <a:cubicBezTo>
                    <a:pt x="37" y="59"/>
                    <a:pt x="37" y="59"/>
                    <a:pt x="37" y="59"/>
                  </a:cubicBezTo>
                  <a:cubicBezTo>
                    <a:pt x="36" y="69"/>
                    <a:pt x="34" y="75"/>
                    <a:pt x="27" y="75"/>
                  </a:cubicBezTo>
                  <a:cubicBezTo>
                    <a:pt x="21" y="75"/>
                    <a:pt x="18" y="65"/>
                    <a:pt x="18" y="55"/>
                  </a:cubicBezTo>
                  <a:cubicBezTo>
                    <a:pt x="18" y="48"/>
                    <a:pt x="18" y="48"/>
                    <a:pt x="18" y="48"/>
                  </a:cubicBezTo>
                  <a:lnTo>
                    <a:pt x="55" y="48"/>
                  </a:lnTo>
                  <a:close/>
                  <a:moveTo>
                    <a:pt x="18" y="35"/>
                  </a:moveTo>
                  <a:cubicBezTo>
                    <a:pt x="18" y="32"/>
                    <a:pt x="18" y="32"/>
                    <a:pt x="18" y="32"/>
                  </a:cubicBezTo>
                  <a:cubicBezTo>
                    <a:pt x="18" y="24"/>
                    <a:pt x="20" y="15"/>
                    <a:pt x="28" y="15"/>
                  </a:cubicBezTo>
                  <a:cubicBezTo>
                    <a:pt x="35" y="15"/>
                    <a:pt x="37" y="22"/>
                    <a:pt x="37" y="35"/>
                  </a:cubicBezTo>
                  <a:lnTo>
                    <a:pt x="18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gray">
            <a:xfrm>
              <a:off x="10072660" y="2392354"/>
              <a:ext cx="209549" cy="430210"/>
            </a:xfrm>
            <a:custGeom>
              <a:avLst/>
              <a:gdLst>
                <a:gd name="T0" fmla="*/ 67355 w 56"/>
                <a:gd name="T1" fmla="*/ 265608 h 115"/>
                <a:gd name="T2" fmla="*/ 104775 w 56"/>
                <a:gd name="T3" fmla="*/ 160861 h 115"/>
                <a:gd name="T4" fmla="*/ 138452 w 56"/>
                <a:gd name="T5" fmla="*/ 265608 h 115"/>
                <a:gd name="T6" fmla="*/ 104775 w 56"/>
                <a:gd name="T7" fmla="*/ 370355 h 115"/>
                <a:gd name="T8" fmla="*/ 67355 w 56"/>
                <a:gd name="T9" fmla="*/ 265608 h 115"/>
                <a:gd name="T10" fmla="*/ 0 w 56"/>
                <a:gd name="T11" fmla="*/ 422728 h 115"/>
                <a:gd name="T12" fmla="*/ 63613 w 56"/>
                <a:gd name="T13" fmla="*/ 422728 h 115"/>
                <a:gd name="T14" fmla="*/ 63613 w 56"/>
                <a:gd name="T15" fmla="*/ 389059 h 115"/>
                <a:gd name="T16" fmla="*/ 63613 w 56"/>
                <a:gd name="T17" fmla="*/ 389059 h 115"/>
                <a:gd name="T18" fmla="*/ 127226 w 56"/>
                <a:gd name="T19" fmla="*/ 430210 h 115"/>
                <a:gd name="T20" fmla="*/ 209549 w 56"/>
                <a:gd name="T21" fmla="*/ 265608 h 115"/>
                <a:gd name="T22" fmla="*/ 127226 w 56"/>
                <a:gd name="T23" fmla="*/ 97265 h 115"/>
                <a:gd name="T24" fmla="*/ 67355 w 56"/>
                <a:gd name="T25" fmla="*/ 134674 h 115"/>
                <a:gd name="T26" fmla="*/ 67355 w 56"/>
                <a:gd name="T27" fmla="*/ 134674 h 115"/>
                <a:gd name="T28" fmla="*/ 67355 w 56"/>
                <a:gd name="T29" fmla="*/ 0 h 115"/>
                <a:gd name="T30" fmla="*/ 0 w 56"/>
                <a:gd name="T31" fmla="*/ 0 h 115"/>
                <a:gd name="T32" fmla="*/ 0 w 56"/>
                <a:gd name="T33" fmla="*/ 422728 h 11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56" h="115">
                  <a:moveTo>
                    <a:pt x="18" y="71"/>
                  </a:moveTo>
                  <a:cubicBezTo>
                    <a:pt x="18" y="52"/>
                    <a:pt x="20" y="43"/>
                    <a:pt x="28" y="43"/>
                  </a:cubicBezTo>
                  <a:cubicBezTo>
                    <a:pt x="36" y="43"/>
                    <a:pt x="37" y="52"/>
                    <a:pt x="37" y="71"/>
                  </a:cubicBezTo>
                  <a:cubicBezTo>
                    <a:pt x="37" y="89"/>
                    <a:pt x="36" y="99"/>
                    <a:pt x="28" y="99"/>
                  </a:cubicBezTo>
                  <a:cubicBezTo>
                    <a:pt x="20" y="99"/>
                    <a:pt x="18" y="89"/>
                    <a:pt x="18" y="71"/>
                  </a:cubicBezTo>
                  <a:close/>
                  <a:moveTo>
                    <a:pt x="0" y="113"/>
                  </a:moveTo>
                  <a:cubicBezTo>
                    <a:pt x="17" y="113"/>
                    <a:pt x="17" y="113"/>
                    <a:pt x="17" y="113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21" y="112"/>
                    <a:pt x="27" y="115"/>
                    <a:pt x="34" y="115"/>
                  </a:cubicBezTo>
                  <a:cubicBezTo>
                    <a:pt x="49" y="115"/>
                    <a:pt x="56" y="102"/>
                    <a:pt x="56" y="71"/>
                  </a:cubicBezTo>
                  <a:cubicBezTo>
                    <a:pt x="56" y="39"/>
                    <a:pt x="49" y="26"/>
                    <a:pt x="34" y="26"/>
                  </a:cubicBezTo>
                  <a:cubicBezTo>
                    <a:pt x="27" y="26"/>
                    <a:pt x="22" y="29"/>
                    <a:pt x="18" y="36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3" name="Freeform 9"/>
            <p:cNvSpPr>
              <a:spLocks/>
            </p:cNvSpPr>
            <p:nvPr userDrawn="1"/>
          </p:nvSpPr>
          <p:spPr bwMode="gray">
            <a:xfrm>
              <a:off x="10312371" y="2486016"/>
              <a:ext cx="330199" cy="330198"/>
            </a:xfrm>
            <a:custGeom>
              <a:avLst/>
              <a:gdLst>
                <a:gd name="T0" fmla="*/ 0 w 88"/>
                <a:gd name="T1" fmla="*/ 330198 h 88"/>
                <a:gd name="T2" fmla="*/ 67541 w 88"/>
                <a:gd name="T3" fmla="*/ 330198 h 88"/>
                <a:gd name="T4" fmla="*/ 67541 w 88"/>
                <a:gd name="T5" fmla="*/ 120072 h 88"/>
                <a:gd name="T6" fmla="*/ 105063 w 88"/>
                <a:gd name="T7" fmla="*/ 67541 h 88"/>
                <a:gd name="T8" fmla="*/ 131329 w 88"/>
                <a:gd name="T9" fmla="*/ 108815 h 88"/>
                <a:gd name="T10" fmla="*/ 131329 w 88"/>
                <a:gd name="T11" fmla="*/ 330198 h 88"/>
                <a:gd name="T12" fmla="*/ 198870 w 88"/>
                <a:gd name="T13" fmla="*/ 330198 h 88"/>
                <a:gd name="T14" fmla="*/ 198870 w 88"/>
                <a:gd name="T15" fmla="*/ 120072 h 88"/>
                <a:gd name="T16" fmla="*/ 236392 w 88"/>
                <a:gd name="T17" fmla="*/ 67541 h 88"/>
                <a:gd name="T18" fmla="*/ 262658 w 88"/>
                <a:gd name="T19" fmla="*/ 108815 h 88"/>
                <a:gd name="T20" fmla="*/ 262658 w 88"/>
                <a:gd name="T21" fmla="*/ 330198 h 88"/>
                <a:gd name="T22" fmla="*/ 330199 w 88"/>
                <a:gd name="T23" fmla="*/ 330198 h 88"/>
                <a:gd name="T24" fmla="*/ 330199 w 88"/>
                <a:gd name="T25" fmla="*/ 97559 h 88"/>
                <a:gd name="T26" fmla="*/ 262658 w 88"/>
                <a:gd name="T27" fmla="*/ 3752 h 88"/>
                <a:gd name="T28" fmla="*/ 195118 w 88"/>
                <a:gd name="T29" fmla="*/ 52532 h 88"/>
                <a:gd name="T30" fmla="*/ 195118 w 88"/>
                <a:gd name="T31" fmla="*/ 52532 h 88"/>
                <a:gd name="T32" fmla="*/ 135081 w 88"/>
                <a:gd name="T33" fmla="*/ 3752 h 88"/>
                <a:gd name="T34" fmla="*/ 63788 w 88"/>
                <a:gd name="T35" fmla="*/ 45027 h 88"/>
                <a:gd name="T36" fmla="*/ 63788 w 88"/>
                <a:gd name="T37" fmla="*/ 45027 h 88"/>
                <a:gd name="T38" fmla="*/ 63788 w 88"/>
                <a:gd name="T39" fmla="*/ 11257 h 88"/>
                <a:gd name="T40" fmla="*/ 0 w 88"/>
                <a:gd name="T41" fmla="*/ 11257 h 88"/>
                <a:gd name="T42" fmla="*/ 0 w 88"/>
                <a:gd name="T43" fmla="*/ 330198 h 88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88" h="88">
                  <a:moveTo>
                    <a:pt x="0" y="88"/>
                  </a:moveTo>
                  <a:cubicBezTo>
                    <a:pt x="18" y="88"/>
                    <a:pt x="18" y="88"/>
                    <a:pt x="18" y="88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22"/>
                    <a:pt x="22" y="18"/>
                    <a:pt x="28" y="18"/>
                  </a:cubicBezTo>
                  <a:cubicBezTo>
                    <a:pt x="33" y="18"/>
                    <a:pt x="35" y="22"/>
                    <a:pt x="35" y="29"/>
                  </a:cubicBezTo>
                  <a:cubicBezTo>
                    <a:pt x="35" y="88"/>
                    <a:pt x="35" y="88"/>
                    <a:pt x="35" y="88"/>
                  </a:cubicBezTo>
                  <a:cubicBezTo>
                    <a:pt x="53" y="88"/>
                    <a:pt x="53" y="88"/>
                    <a:pt x="53" y="88"/>
                  </a:cubicBezTo>
                  <a:cubicBezTo>
                    <a:pt x="53" y="32"/>
                    <a:pt x="53" y="32"/>
                    <a:pt x="53" y="32"/>
                  </a:cubicBezTo>
                  <a:cubicBezTo>
                    <a:pt x="53" y="22"/>
                    <a:pt x="57" y="18"/>
                    <a:pt x="63" y="18"/>
                  </a:cubicBezTo>
                  <a:cubicBezTo>
                    <a:pt x="68" y="18"/>
                    <a:pt x="70" y="22"/>
                    <a:pt x="70" y="29"/>
                  </a:cubicBezTo>
                  <a:cubicBezTo>
                    <a:pt x="70" y="88"/>
                    <a:pt x="70" y="88"/>
                    <a:pt x="70" y="88"/>
                  </a:cubicBezTo>
                  <a:cubicBezTo>
                    <a:pt x="88" y="88"/>
                    <a:pt x="88" y="88"/>
                    <a:pt x="88" y="88"/>
                  </a:cubicBezTo>
                  <a:cubicBezTo>
                    <a:pt x="88" y="26"/>
                    <a:pt x="88" y="26"/>
                    <a:pt x="88" y="26"/>
                  </a:cubicBezTo>
                  <a:cubicBezTo>
                    <a:pt x="88" y="10"/>
                    <a:pt x="83" y="1"/>
                    <a:pt x="70" y="1"/>
                  </a:cubicBezTo>
                  <a:cubicBezTo>
                    <a:pt x="62" y="0"/>
                    <a:pt x="54" y="6"/>
                    <a:pt x="52" y="14"/>
                  </a:cubicBezTo>
                  <a:cubicBezTo>
                    <a:pt x="52" y="14"/>
                    <a:pt x="52" y="14"/>
                    <a:pt x="52" y="14"/>
                  </a:cubicBezTo>
                  <a:cubicBezTo>
                    <a:pt x="51" y="6"/>
                    <a:pt x="44" y="0"/>
                    <a:pt x="36" y="1"/>
                  </a:cubicBezTo>
                  <a:cubicBezTo>
                    <a:pt x="28" y="1"/>
                    <a:pt x="21" y="5"/>
                    <a:pt x="17" y="12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0" y="3"/>
                    <a:pt x="0" y="3"/>
                    <a:pt x="0" y="3"/>
                  </a:cubicBezTo>
                  <a:lnTo>
                    <a:pt x="0" y="8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gray">
            <a:xfrm>
              <a:off x="10698133" y="2489191"/>
              <a:ext cx="209549" cy="431799"/>
            </a:xfrm>
            <a:custGeom>
              <a:avLst/>
              <a:gdLst>
                <a:gd name="T0" fmla="*/ 67355 w 56"/>
                <a:gd name="T1" fmla="*/ 168965 h 115"/>
                <a:gd name="T2" fmla="*/ 104775 w 56"/>
                <a:gd name="T3" fmla="*/ 63831 h 115"/>
                <a:gd name="T4" fmla="*/ 142194 w 56"/>
                <a:gd name="T5" fmla="*/ 168965 h 115"/>
                <a:gd name="T6" fmla="*/ 104775 w 56"/>
                <a:gd name="T7" fmla="*/ 274098 h 115"/>
                <a:gd name="T8" fmla="*/ 67355 w 56"/>
                <a:gd name="T9" fmla="*/ 168965 h 115"/>
                <a:gd name="T10" fmla="*/ 0 w 56"/>
                <a:gd name="T11" fmla="*/ 431799 h 115"/>
                <a:gd name="T12" fmla="*/ 67355 w 56"/>
                <a:gd name="T13" fmla="*/ 431799 h 115"/>
                <a:gd name="T14" fmla="*/ 67355 w 56"/>
                <a:gd name="T15" fmla="*/ 296627 h 115"/>
                <a:gd name="T16" fmla="*/ 71097 w 56"/>
                <a:gd name="T17" fmla="*/ 296627 h 115"/>
                <a:gd name="T18" fmla="*/ 127226 w 56"/>
                <a:gd name="T19" fmla="*/ 334175 h 115"/>
                <a:gd name="T20" fmla="*/ 209549 w 56"/>
                <a:gd name="T21" fmla="*/ 168965 h 115"/>
                <a:gd name="T22" fmla="*/ 127226 w 56"/>
                <a:gd name="T23" fmla="*/ 0 h 115"/>
                <a:gd name="T24" fmla="*/ 67355 w 56"/>
                <a:gd name="T25" fmla="*/ 41303 h 115"/>
                <a:gd name="T26" fmla="*/ 67355 w 56"/>
                <a:gd name="T27" fmla="*/ 41303 h 115"/>
                <a:gd name="T28" fmla="*/ 67355 w 56"/>
                <a:gd name="T29" fmla="*/ 7510 h 115"/>
                <a:gd name="T30" fmla="*/ 0 w 56"/>
                <a:gd name="T31" fmla="*/ 7510 h 115"/>
                <a:gd name="T32" fmla="*/ 0 w 56"/>
                <a:gd name="T33" fmla="*/ 431799 h 11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56" h="115">
                  <a:moveTo>
                    <a:pt x="18" y="45"/>
                  </a:moveTo>
                  <a:cubicBezTo>
                    <a:pt x="18" y="26"/>
                    <a:pt x="20" y="17"/>
                    <a:pt x="28" y="17"/>
                  </a:cubicBezTo>
                  <a:cubicBezTo>
                    <a:pt x="36" y="17"/>
                    <a:pt x="38" y="26"/>
                    <a:pt x="38" y="45"/>
                  </a:cubicBezTo>
                  <a:cubicBezTo>
                    <a:pt x="38" y="63"/>
                    <a:pt x="36" y="73"/>
                    <a:pt x="28" y="73"/>
                  </a:cubicBezTo>
                  <a:cubicBezTo>
                    <a:pt x="20" y="73"/>
                    <a:pt x="18" y="63"/>
                    <a:pt x="18" y="45"/>
                  </a:cubicBezTo>
                  <a:close/>
                  <a:moveTo>
                    <a:pt x="0" y="115"/>
                  </a:moveTo>
                  <a:cubicBezTo>
                    <a:pt x="18" y="115"/>
                    <a:pt x="18" y="115"/>
                    <a:pt x="18" y="115"/>
                  </a:cubicBezTo>
                  <a:cubicBezTo>
                    <a:pt x="18" y="79"/>
                    <a:pt x="18" y="79"/>
                    <a:pt x="18" y="79"/>
                  </a:cubicBezTo>
                  <a:cubicBezTo>
                    <a:pt x="19" y="79"/>
                    <a:pt x="19" y="79"/>
                    <a:pt x="19" y="79"/>
                  </a:cubicBezTo>
                  <a:cubicBezTo>
                    <a:pt x="23" y="86"/>
                    <a:pt x="27" y="89"/>
                    <a:pt x="34" y="89"/>
                  </a:cubicBezTo>
                  <a:cubicBezTo>
                    <a:pt x="49" y="89"/>
                    <a:pt x="56" y="76"/>
                    <a:pt x="56" y="45"/>
                  </a:cubicBezTo>
                  <a:cubicBezTo>
                    <a:pt x="56" y="13"/>
                    <a:pt x="49" y="0"/>
                    <a:pt x="34" y="0"/>
                  </a:cubicBezTo>
                  <a:cubicBezTo>
                    <a:pt x="27" y="0"/>
                    <a:pt x="22" y="3"/>
                    <a:pt x="18" y="11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0" y="2"/>
                    <a:pt x="0" y="2"/>
                    <a:pt x="0" y="2"/>
                  </a:cubicBezTo>
                  <a:lnTo>
                    <a:pt x="0" y="115"/>
                  </a:lnTo>
                  <a:close/>
                </a:path>
              </a:pathLst>
            </a:custGeom>
            <a:solidFill>
              <a:srgbClr val="007C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5" name="Freeform 11"/>
            <p:cNvSpPr>
              <a:spLocks noEditPoints="1"/>
            </p:cNvSpPr>
            <p:nvPr userDrawn="1"/>
          </p:nvSpPr>
          <p:spPr bwMode="gray">
            <a:xfrm>
              <a:off x="10931495" y="2489191"/>
              <a:ext cx="206375" cy="333374"/>
            </a:xfrm>
            <a:custGeom>
              <a:avLst/>
              <a:gdLst>
                <a:gd name="T0" fmla="*/ 67541 w 55"/>
                <a:gd name="T1" fmla="*/ 104882 h 89"/>
                <a:gd name="T2" fmla="*/ 67541 w 55"/>
                <a:gd name="T3" fmla="*/ 97390 h 89"/>
                <a:gd name="T4" fmla="*/ 101311 w 55"/>
                <a:gd name="T5" fmla="*/ 56187 h 89"/>
                <a:gd name="T6" fmla="*/ 131330 w 55"/>
                <a:gd name="T7" fmla="*/ 93644 h 89"/>
                <a:gd name="T8" fmla="*/ 105064 w 55"/>
                <a:gd name="T9" fmla="*/ 131102 h 89"/>
                <a:gd name="T10" fmla="*/ 67541 w 55"/>
                <a:gd name="T11" fmla="*/ 142339 h 89"/>
                <a:gd name="T12" fmla="*/ 0 w 55"/>
                <a:gd name="T13" fmla="*/ 243475 h 89"/>
                <a:gd name="T14" fmla="*/ 63789 w 55"/>
                <a:gd name="T15" fmla="*/ 333374 h 89"/>
                <a:gd name="T16" fmla="*/ 131330 w 55"/>
                <a:gd name="T17" fmla="*/ 292170 h 89"/>
                <a:gd name="T18" fmla="*/ 131330 w 55"/>
                <a:gd name="T19" fmla="*/ 292170 h 89"/>
                <a:gd name="T20" fmla="*/ 142586 w 55"/>
                <a:gd name="T21" fmla="*/ 325882 h 89"/>
                <a:gd name="T22" fmla="*/ 206375 w 55"/>
                <a:gd name="T23" fmla="*/ 325882 h 89"/>
                <a:gd name="T24" fmla="*/ 198870 w 55"/>
                <a:gd name="T25" fmla="*/ 265950 h 89"/>
                <a:gd name="T26" fmla="*/ 198870 w 55"/>
                <a:gd name="T27" fmla="*/ 97390 h 89"/>
                <a:gd name="T28" fmla="*/ 101311 w 55"/>
                <a:gd name="T29" fmla="*/ 0 h 89"/>
                <a:gd name="T30" fmla="*/ 7505 w 55"/>
                <a:gd name="T31" fmla="*/ 97390 h 89"/>
                <a:gd name="T32" fmla="*/ 7505 w 55"/>
                <a:gd name="T33" fmla="*/ 104882 h 89"/>
                <a:gd name="T34" fmla="*/ 67541 w 55"/>
                <a:gd name="T35" fmla="*/ 104882 h 89"/>
                <a:gd name="T36" fmla="*/ 131330 w 55"/>
                <a:gd name="T37" fmla="*/ 228492 h 89"/>
                <a:gd name="T38" fmla="*/ 93807 w 55"/>
                <a:gd name="T39" fmla="*/ 280933 h 89"/>
                <a:gd name="T40" fmla="*/ 90055 w 55"/>
                <a:gd name="T41" fmla="*/ 280933 h 89"/>
                <a:gd name="T42" fmla="*/ 63789 w 55"/>
                <a:gd name="T43" fmla="*/ 235984 h 89"/>
                <a:gd name="T44" fmla="*/ 105064 w 55"/>
                <a:gd name="T45" fmla="*/ 183543 h 89"/>
                <a:gd name="T46" fmla="*/ 135082 w 55"/>
                <a:gd name="T47" fmla="*/ 168560 h 89"/>
                <a:gd name="T48" fmla="*/ 135082 w 55"/>
                <a:gd name="T49" fmla="*/ 228492 h 89"/>
                <a:gd name="T50" fmla="*/ 131330 w 55"/>
                <a:gd name="T51" fmla="*/ 228492 h 8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55" h="89">
                  <a:moveTo>
                    <a:pt x="18" y="28"/>
                  </a:moveTo>
                  <a:cubicBezTo>
                    <a:pt x="18" y="26"/>
                    <a:pt x="18" y="26"/>
                    <a:pt x="18" y="26"/>
                  </a:cubicBezTo>
                  <a:cubicBezTo>
                    <a:pt x="18" y="19"/>
                    <a:pt x="21" y="15"/>
                    <a:pt x="27" y="15"/>
                  </a:cubicBezTo>
                  <a:cubicBezTo>
                    <a:pt x="32" y="15"/>
                    <a:pt x="35" y="19"/>
                    <a:pt x="35" y="25"/>
                  </a:cubicBezTo>
                  <a:cubicBezTo>
                    <a:pt x="36" y="30"/>
                    <a:pt x="33" y="34"/>
                    <a:pt x="28" y="35"/>
                  </a:cubicBezTo>
                  <a:cubicBezTo>
                    <a:pt x="18" y="38"/>
                    <a:pt x="18" y="38"/>
                    <a:pt x="18" y="38"/>
                  </a:cubicBezTo>
                  <a:cubicBezTo>
                    <a:pt x="5" y="42"/>
                    <a:pt x="0" y="49"/>
                    <a:pt x="0" y="65"/>
                  </a:cubicBezTo>
                  <a:cubicBezTo>
                    <a:pt x="0" y="76"/>
                    <a:pt x="4" y="89"/>
                    <a:pt x="17" y="89"/>
                  </a:cubicBezTo>
                  <a:cubicBezTo>
                    <a:pt x="26" y="89"/>
                    <a:pt x="31" y="87"/>
                    <a:pt x="35" y="78"/>
                  </a:cubicBezTo>
                  <a:cubicBezTo>
                    <a:pt x="35" y="78"/>
                    <a:pt x="35" y="78"/>
                    <a:pt x="35" y="78"/>
                  </a:cubicBezTo>
                  <a:cubicBezTo>
                    <a:pt x="36" y="81"/>
                    <a:pt x="37" y="84"/>
                    <a:pt x="38" y="87"/>
                  </a:cubicBezTo>
                  <a:cubicBezTo>
                    <a:pt x="55" y="87"/>
                    <a:pt x="55" y="87"/>
                    <a:pt x="55" y="87"/>
                  </a:cubicBezTo>
                  <a:cubicBezTo>
                    <a:pt x="53" y="82"/>
                    <a:pt x="53" y="76"/>
                    <a:pt x="53" y="71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53" y="11"/>
                    <a:pt x="49" y="0"/>
                    <a:pt x="27" y="0"/>
                  </a:cubicBezTo>
                  <a:cubicBezTo>
                    <a:pt x="13" y="0"/>
                    <a:pt x="2" y="6"/>
                    <a:pt x="2" y="26"/>
                  </a:cubicBezTo>
                  <a:cubicBezTo>
                    <a:pt x="2" y="28"/>
                    <a:pt x="2" y="28"/>
                    <a:pt x="2" y="28"/>
                  </a:cubicBezTo>
                  <a:lnTo>
                    <a:pt x="18" y="28"/>
                  </a:lnTo>
                  <a:close/>
                  <a:moveTo>
                    <a:pt x="35" y="61"/>
                  </a:moveTo>
                  <a:cubicBezTo>
                    <a:pt x="36" y="68"/>
                    <a:pt x="31" y="74"/>
                    <a:pt x="25" y="75"/>
                  </a:cubicBezTo>
                  <a:cubicBezTo>
                    <a:pt x="24" y="75"/>
                    <a:pt x="24" y="75"/>
                    <a:pt x="24" y="75"/>
                  </a:cubicBezTo>
                  <a:cubicBezTo>
                    <a:pt x="19" y="75"/>
                    <a:pt x="17" y="69"/>
                    <a:pt x="17" y="63"/>
                  </a:cubicBezTo>
                  <a:cubicBezTo>
                    <a:pt x="16" y="56"/>
                    <a:pt x="21" y="50"/>
                    <a:pt x="28" y="49"/>
                  </a:cubicBezTo>
                  <a:cubicBezTo>
                    <a:pt x="30" y="48"/>
                    <a:pt x="33" y="46"/>
                    <a:pt x="36" y="45"/>
                  </a:cubicBezTo>
                  <a:cubicBezTo>
                    <a:pt x="36" y="61"/>
                    <a:pt x="36" y="61"/>
                    <a:pt x="36" y="61"/>
                  </a:cubicBezTo>
                  <a:lnTo>
                    <a:pt x="35" y="61"/>
                  </a:lnTo>
                  <a:close/>
                </a:path>
              </a:pathLst>
            </a:custGeom>
            <a:solidFill>
              <a:srgbClr val="007C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6" name="Freeform 12"/>
            <p:cNvSpPr>
              <a:spLocks noEditPoints="1"/>
            </p:cNvSpPr>
            <p:nvPr userDrawn="1"/>
          </p:nvSpPr>
          <p:spPr bwMode="gray">
            <a:xfrm>
              <a:off x="11166444" y="2489191"/>
              <a:ext cx="211137" cy="431799"/>
            </a:xfrm>
            <a:custGeom>
              <a:avLst/>
              <a:gdLst>
                <a:gd name="T0" fmla="*/ 71636 w 56"/>
                <a:gd name="T1" fmla="*/ 168965 h 115"/>
                <a:gd name="T2" fmla="*/ 105569 w 56"/>
                <a:gd name="T3" fmla="*/ 63831 h 115"/>
                <a:gd name="T4" fmla="*/ 143272 w 56"/>
                <a:gd name="T5" fmla="*/ 168965 h 115"/>
                <a:gd name="T6" fmla="*/ 105569 w 56"/>
                <a:gd name="T7" fmla="*/ 274098 h 115"/>
                <a:gd name="T8" fmla="*/ 71636 w 56"/>
                <a:gd name="T9" fmla="*/ 168965 h 115"/>
                <a:gd name="T10" fmla="*/ 0 w 56"/>
                <a:gd name="T11" fmla="*/ 431799 h 115"/>
                <a:gd name="T12" fmla="*/ 71636 w 56"/>
                <a:gd name="T13" fmla="*/ 431799 h 115"/>
                <a:gd name="T14" fmla="*/ 71636 w 56"/>
                <a:gd name="T15" fmla="*/ 296627 h 115"/>
                <a:gd name="T16" fmla="*/ 71636 w 56"/>
                <a:gd name="T17" fmla="*/ 296627 h 115"/>
                <a:gd name="T18" fmla="*/ 128190 w 56"/>
                <a:gd name="T19" fmla="*/ 334175 h 115"/>
                <a:gd name="T20" fmla="*/ 211137 w 56"/>
                <a:gd name="T21" fmla="*/ 168965 h 115"/>
                <a:gd name="T22" fmla="*/ 128190 w 56"/>
                <a:gd name="T23" fmla="*/ 0 h 115"/>
                <a:gd name="T24" fmla="*/ 67865 w 56"/>
                <a:gd name="T25" fmla="*/ 41303 h 115"/>
                <a:gd name="T26" fmla="*/ 67865 w 56"/>
                <a:gd name="T27" fmla="*/ 41303 h 115"/>
                <a:gd name="T28" fmla="*/ 67865 w 56"/>
                <a:gd name="T29" fmla="*/ 7510 h 115"/>
                <a:gd name="T30" fmla="*/ 0 w 56"/>
                <a:gd name="T31" fmla="*/ 7510 h 115"/>
                <a:gd name="T32" fmla="*/ 0 w 56"/>
                <a:gd name="T33" fmla="*/ 431799 h 11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56" h="115">
                  <a:moveTo>
                    <a:pt x="19" y="45"/>
                  </a:moveTo>
                  <a:cubicBezTo>
                    <a:pt x="19" y="26"/>
                    <a:pt x="20" y="17"/>
                    <a:pt x="28" y="17"/>
                  </a:cubicBezTo>
                  <a:cubicBezTo>
                    <a:pt x="37" y="17"/>
                    <a:pt x="38" y="26"/>
                    <a:pt x="38" y="45"/>
                  </a:cubicBezTo>
                  <a:cubicBezTo>
                    <a:pt x="38" y="63"/>
                    <a:pt x="36" y="73"/>
                    <a:pt x="28" y="73"/>
                  </a:cubicBezTo>
                  <a:cubicBezTo>
                    <a:pt x="20" y="73"/>
                    <a:pt x="19" y="63"/>
                    <a:pt x="19" y="45"/>
                  </a:cubicBezTo>
                  <a:close/>
                  <a:moveTo>
                    <a:pt x="0" y="115"/>
                  </a:moveTo>
                  <a:cubicBezTo>
                    <a:pt x="19" y="115"/>
                    <a:pt x="19" y="115"/>
                    <a:pt x="19" y="115"/>
                  </a:cubicBezTo>
                  <a:cubicBezTo>
                    <a:pt x="19" y="79"/>
                    <a:pt x="19" y="79"/>
                    <a:pt x="19" y="79"/>
                  </a:cubicBezTo>
                  <a:cubicBezTo>
                    <a:pt x="19" y="79"/>
                    <a:pt x="19" y="79"/>
                    <a:pt x="19" y="79"/>
                  </a:cubicBezTo>
                  <a:cubicBezTo>
                    <a:pt x="22" y="85"/>
                    <a:pt x="28" y="89"/>
                    <a:pt x="34" y="89"/>
                  </a:cubicBezTo>
                  <a:cubicBezTo>
                    <a:pt x="49" y="89"/>
                    <a:pt x="56" y="76"/>
                    <a:pt x="56" y="45"/>
                  </a:cubicBezTo>
                  <a:cubicBezTo>
                    <a:pt x="56" y="13"/>
                    <a:pt x="49" y="0"/>
                    <a:pt x="34" y="0"/>
                  </a:cubicBezTo>
                  <a:cubicBezTo>
                    <a:pt x="27" y="0"/>
                    <a:pt x="22" y="3"/>
                    <a:pt x="18" y="11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15"/>
                    <a:pt x="0" y="115"/>
                    <a:pt x="0" y="115"/>
                  </a:cubicBezTo>
                  <a:close/>
                </a:path>
              </a:pathLst>
            </a:custGeom>
            <a:solidFill>
              <a:srgbClr val="007C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7" name="Freeform 13"/>
            <p:cNvSpPr>
              <a:spLocks/>
            </p:cNvSpPr>
            <p:nvPr userDrawn="1"/>
          </p:nvSpPr>
          <p:spPr bwMode="gray">
            <a:xfrm>
              <a:off x="11396631" y="2489191"/>
              <a:ext cx="198438" cy="333374"/>
            </a:xfrm>
            <a:custGeom>
              <a:avLst/>
              <a:gdLst>
                <a:gd name="T0" fmla="*/ 0 w 53"/>
                <a:gd name="T1" fmla="*/ 221001 h 89"/>
                <a:gd name="T2" fmla="*/ 0 w 53"/>
                <a:gd name="T3" fmla="*/ 232238 h 89"/>
                <a:gd name="T4" fmla="*/ 101091 w 53"/>
                <a:gd name="T5" fmla="*/ 333374 h 89"/>
                <a:gd name="T6" fmla="*/ 198438 w 53"/>
                <a:gd name="T7" fmla="*/ 235984 h 89"/>
                <a:gd name="T8" fmla="*/ 138532 w 53"/>
                <a:gd name="T9" fmla="*/ 142339 h 89"/>
                <a:gd name="T10" fmla="*/ 97347 w 53"/>
                <a:gd name="T11" fmla="*/ 127356 h 89"/>
                <a:gd name="T12" fmla="*/ 67394 w 53"/>
                <a:gd name="T13" fmla="*/ 89899 h 89"/>
                <a:gd name="T14" fmla="*/ 97347 w 53"/>
                <a:gd name="T15" fmla="*/ 56187 h 89"/>
                <a:gd name="T16" fmla="*/ 101091 w 53"/>
                <a:gd name="T17" fmla="*/ 56187 h 89"/>
                <a:gd name="T18" fmla="*/ 131044 w 53"/>
                <a:gd name="T19" fmla="*/ 104882 h 89"/>
                <a:gd name="T20" fmla="*/ 190950 w 53"/>
                <a:gd name="T21" fmla="*/ 104882 h 89"/>
                <a:gd name="T22" fmla="*/ 190950 w 53"/>
                <a:gd name="T23" fmla="*/ 89899 h 89"/>
                <a:gd name="T24" fmla="*/ 101091 w 53"/>
                <a:gd name="T25" fmla="*/ 0 h 89"/>
                <a:gd name="T26" fmla="*/ 3744 w 53"/>
                <a:gd name="T27" fmla="*/ 93644 h 89"/>
                <a:gd name="T28" fmla="*/ 59906 w 53"/>
                <a:gd name="T29" fmla="*/ 183543 h 89"/>
                <a:gd name="T30" fmla="*/ 108579 w 53"/>
                <a:gd name="T31" fmla="*/ 206018 h 89"/>
                <a:gd name="T32" fmla="*/ 134788 w 53"/>
                <a:gd name="T33" fmla="*/ 239730 h 89"/>
                <a:gd name="T34" fmla="*/ 97347 w 53"/>
                <a:gd name="T35" fmla="*/ 280933 h 89"/>
                <a:gd name="T36" fmla="*/ 63650 w 53"/>
                <a:gd name="T37" fmla="*/ 232238 h 89"/>
                <a:gd name="T38" fmla="*/ 63650 w 53"/>
                <a:gd name="T39" fmla="*/ 221001 h 89"/>
                <a:gd name="T40" fmla="*/ 0 w 53"/>
                <a:gd name="T41" fmla="*/ 221001 h 89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53" h="89">
                  <a:moveTo>
                    <a:pt x="0" y="59"/>
                  </a:moveTo>
                  <a:cubicBezTo>
                    <a:pt x="0" y="62"/>
                    <a:pt x="0" y="62"/>
                    <a:pt x="0" y="62"/>
                  </a:cubicBezTo>
                  <a:cubicBezTo>
                    <a:pt x="0" y="79"/>
                    <a:pt x="6" y="89"/>
                    <a:pt x="27" y="89"/>
                  </a:cubicBezTo>
                  <a:cubicBezTo>
                    <a:pt x="42" y="89"/>
                    <a:pt x="53" y="81"/>
                    <a:pt x="53" y="63"/>
                  </a:cubicBezTo>
                  <a:cubicBezTo>
                    <a:pt x="53" y="50"/>
                    <a:pt x="49" y="43"/>
                    <a:pt x="37" y="38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0" y="31"/>
                    <a:pt x="18" y="28"/>
                    <a:pt x="18" y="24"/>
                  </a:cubicBezTo>
                  <a:cubicBezTo>
                    <a:pt x="18" y="19"/>
                    <a:pt x="21" y="15"/>
                    <a:pt x="26" y="15"/>
                  </a:cubicBezTo>
                  <a:cubicBezTo>
                    <a:pt x="26" y="15"/>
                    <a:pt x="27" y="15"/>
                    <a:pt x="27" y="15"/>
                  </a:cubicBezTo>
                  <a:cubicBezTo>
                    <a:pt x="33" y="15"/>
                    <a:pt x="35" y="19"/>
                    <a:pt x="35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4"/>
                    <a:pt x="51" y="24"/>
                    <a:pt x="51" y="24"/>
                  </a:cubicBezTo>
                  <a:cubicBezTo>
                    <a:pt x="51" y="9"/>
                    <a:pt x="43" y="0"/>
                    <a:pt x="27" y="0"/>
                  </a:cubicBezTo>
                  <a:cubicBezTo>
                    <a:pt x="8" y="0"/>
                    <a:pt x="1" y="11"/>
                    <a:pt x="1" y="25"/>
                  </a:cubicBezTo>
                  <a:cubicBezTo>
                    <a:pt x="0" y="36"/>
                    <a:pt x="6" y="46"/>
                    <a:pt x="16" y="49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33" y="56"/>
                    <a:pt x="36" y="60"/>
                    <a:pt x="36" y="64"/>
                  </a:cubicBezTo>
                  <a:cubicBezTo>
                    <a:pt x="36" y="71"/>
                    <a:pt x="32" y="75"/>
                    <a:pt x="26" y="75"/>
                  </a:cubicBezTo>
                  <a:cubicBezTo>
                    <a:pt x="20" y="75"/>
                    <a:pt x="17" y="70"/>
                    <a:pt x="17" y="62"/>
                  </a:cubicBezTo>
                  <a:cubicBezTo>
                    <a:pt x="17" y="59"/>
                    <a:pt x="17" y="59"/>
                    <a:pt x="17" y="59"/>
                  </a:cubicBezTo>
                  <a:lnTo>
                    <a:pt x="0" y="59"/>
                  </a:lnTo>
                  <a:close/>
                </a:path>
              </a:pathLst>
            </a:custGeom>
            <a:solidFill>
              <a:srgbClr val="007C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8" name="Freeform 14"/>
            <p:cNvSpPr>
              <a:spLocks/>
            </p:cNvSpPr>
            <p:nvPr userDrawn="1"/>
          </p:nvSpPr>
          <p:spPr bwMode="gray">
            <a:xfrm>
              <a:off x="11598243" y="2406642"/>
              <a:ext cx="146050" cy="412749"/>
            </a:xfrm>
            <a:custGeom>
              <a:avLst/>
              <a:gdLst>
                <a:gd name="T0" fmla="*/ 37449 w 39"/>
                <a:gd name="T1" fmla="*/ 90054 h 110"/>
                <a:gd name="T2" fmla="*/ 0 w 39"/>
                <a:gd name="T3" fmla="*/ 90054 h 110"/>
                <a:gd name="T4" fmla="*/ 0 w 39"/>
                <a:gd name="T5" fmla="*/ 146338 h 110"/>
                <a:gd name="T6" fmla="*/ 37449 w 39"/>
                <a:gd name="T7" fmla="*/ 146338 h 110"/>
                <a:gd name="T8" fmla="*/ 37449 w 39"/>
                <a:gd name="T9" fmla="*/ 330199 h 110"/>
                <a:gd name="T10" fmla="*/ 101112 w 39"/>
                <a:gd name="T11" fmla="*/ 412749 h 110"/>
                <a:gd name="T12" fmla="*/ 146050 w 39"/>
                <a:gd name="T13" fmla="*/ 408997 h 110"/>
                <a:gd name="T14" fmla="*/ 146050 w 39"/>
                <a:gd name="T15" fmla="*/ 352713 h 110"/>
                <a:gd name="T16" fmla="*/ 131071 w 39"/>
                <a:gd name="T17" fmla="*/ 352713 h 110"/>
                <a:gd name="T18" fmla="*/ 104856 w 39"/>
                <a:gd name="T19" fmla="*/ 318942 h 110"/>
                <a:gd name="T20" fmla="*/ 104856 w 39"/>
                <a:gd name="T21" fmla="*/ 146338 h 110"/>
                <a:gd name="T22" fmla="*/ 146050 w 39"/>
                <a:gd name="T23" fmla="*/ 146338 h 110"/>
                <a:gd name="T24" fmla="*/ 146050 w 39"/>
                <a:gd name="T25" fmla="*/ 90054 h 110"/>
                <a:gd name="T26" fmla="*/ 104856 w 39"/>
                <a:gd name="T27" fmla="*/ 90054 h 110"/>
                <a:gd name="T28" fmla="*/ 104856 w 39"/>
                <a:gd name="T29" fmla="*/ 0 h 110"/>
                <a:gd name="T30" fmla="*/ 37449 w 39"/>
                <a:gd name="T31" fmla="*/ 0 h 110"/>
                <a:gd name="T32" fmla="*/ 37449 w 39"/>
                <a:gd name="T33" fmla="*/ 90054 h 110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39" h="110">
                  <a:moveTo>
                    <a:pt x="10" y="24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88"/>
                    <a:pt x="10" y="88"/>
                    <a:pt x="10" y="88"/>
                  </a:cubicBezTo>
                  <a:cubicBezTo>
                    <a:pt x="10" y="105"/>
                    <a:pt x="12" y="110"/>
                    <a:pt x="27" y="110"/>
                  </a:cubicBezTo>
                  <a:cubicBezTo>
                    <a:pt x="31" y="110"/>
                    <a:pt x="35" y="110"/>
                    <a:pt x="39" y="109"/>
                  </a:cubicBezTo>
                  <a:cubicBezTo>
                    <a:pt x="39" y="94"/>
                    <a:pt x="39" y="94"/>
                    <a:pt x="39" y="94"/>
                  </a:cubicBezTo>
                  <a:cubicBezTo>
                    <a:pt x="37" y="94"/>
                    <a:pt x="36" y="94"/>
                    <a:pt x="35" y="94"/>
                  </a:cubicBezTo>
                  <a:cubicBezTo>
                    <a:pt x="29" y="94"/>
                    <a:pt x="28" y="92"/>
                    <a:pt x="28" y="85"/>
                  </a:cubicBezTo>
                  <a:cubicBezTo>
                    <a:pt x="28" y="39"/>
                    <a:pt x="28" y="39"/>
                    <a:pt x="28" y="39"/>
                  </a:cubicBezTo>
                  <a:cubicBezTo>
                    <a:pt x="39" y="39"/>
                    <a:pt x="39" y="39"/>
                    <a:pt x="39" y="39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24"/>
                    <a:pt x="10" y="24"/>
                    <a:pt x="10" y="24"/>
                  </a:cubicBezTo>
                  <a:close/>
                </a:path>
              </a:pathLst>
            </a:custGeom>
            <a:solidFill>
              <a:srgbClr val="007C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9" name="Rectangle 15"/>
            <p:cNvSpPr>
              <a:spLocks noChangeArrowheads="1"/>
            </p:cNvSpPr>
            <p:nvPr userDrawn="1"/>
          </p:nvSpPr>
          <p:spPr bwMode="gray">
            <a:xfrm>
              <a:off x="9299549" y="3449630"/>
              <a:ext cx="2978142" cy="531810"/>
            </a:xfrm>
            <a:prstGeom prst="rect">
              <a:avLst/>
            </a:prstGeom>
            <a:solidFill>
              <a:srgbClr val="007C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endParaRPr lang="de-DE" altLang="de-DE" sz="1800"/>
            </a:p>
          </p:txBody>
        </p:sp>
        <p:sp>
          <p:nvSpPr>
            <p:cNvPr id="20" name="Freeform 16"/>
            <p:cNvSpPr>
              <a:spLocks/>
            </p:cNvSpPr>
            <p:nvPr userDrawn="1"/>
          </p:nvSpPr>
          <p:spPr bwMode="gray">
            <a:xfrm>
              <a:off x="9850407" y="3644891"/>
              <a:ext cx="76200" cy="127000"/>
            </a:xfrm>
            <a:custGeom>
              <a:avLst/>
              <a:gdLst>
                <a:gd name="T0" fmla="*/ 76200 w 20"/>
                <a:gd name="T1" fmla="*/ 127000 h 34"/>
                <a:gd name="T2" fmla="*/ 64770 w 20"/>
                <a:gd name="T3" fmla="*/ 127000 h 34"/>
                <a:gd name="T4" fmla="*/ 53340 w 20"/>
                <a:gd name="T5" fmla="*/ 127000 h 34"/>
                <a:gd name="T6" fmla="*/ 34290 w 20"/>
                <a:gd name="T7" fmla="*/ 123265 h 34"/>
                <a:gd name="T8" fmla="*/ 22860 w 20"/>
                <a:gd name="T9" fmla="*/ 112059 h 34"/>
                <a:gd name="T10" fmla="*/ 19050 w 20"/>
                <a:gd name="T11" fmla="*/ 97118 h 34"/>
                <a:gd name="T12" fmla="*/ 19050 w 20"/>
                <a:gd name="T13" fmla="*/ 44824 h 34"/>
                <a:gd name="T14" fmla="*/ 0 w 20"/>
                <a:gd name="T15" fmla="*/ 44824 h 34"/>
                <a:gd name="T16" fmla="*/ 0 w 20"/>
                <a:gd name="T17" fmla="*/ 26147 h 34"/>
                <a:gd name="T18" fmla="*/ 19050 w 20"/>
                <a:gd name="T19" fmla="*/ 26147 h 34"/>
                <a:gd name="T20" fmla="*/ 19050 w 20"/>
                <a:gd name="T21" fmla="*/ 0 h 34"/>
                <a:gd name="T22" fmla="*/ 41910 w 20"/>
                <a:gd name="T23" fmla="*/ 0 h 34"/>
                <a:gd name="T24" fmla="*/ 41910 w 20"/>
                <a:gd name="T25" fmla="*/ 26147 h 34"/>
                <a:gd name="T26" fmla="*/ 72390 w 20"/>
                <a:gd name="T27" fmla="*/ 26147 h 34"/>
                <a:gd name="T28" fmla="*/ 72390 w 20"/>
                <a:gd name="T29" fmla="*/ 44824 h 34"/>
                <a:gd name="T30" fmla="*/ 41910 w 20"/>
                <a:gd name="T31" fmla="*/ 44824 h 34"/>
                <a:gd name="T32" fmla="*/ 41910 w 20"/>
                <a:gd name="T33" fmla="*/ 93382 h 34"/>
                <a:gd name="T34" fmla="*/ 45720 w 20"/>
                <a:gd name="T35" fmla="*/ 100853 h 34"/>
                <a:gd name="T36" fmla="*/ 57150 w 20"/>
                <a:gd name="T37" fmla="*/ 108324 h 34"/>
                <a:gd name="T38" fmla="*/ 64770 w 20"/>
                <a:gd name="T39" fmla="*/ 108324 h 34"/>
                <a:gd name="T40" fmla="*/ 72390 w 20"/>
                <a:gd name="T41" fmla="*/ 104588 h 34"/>
                <a:gd name="T42" fmla="*/ 76200 w 20"/>
                <a:gd name="T43" fmla="*/ 127000 h 34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20" h="34">
                  <a:moveTo>
                    <a:pt x="20" y="34"/>
                  </a:moveTo>
                  <a:cubicBezTo>
                    <a:pt x="19" y="34"/>
                    <a:pt x="18" y="34"/>
                    <a:pt x="17" y="34"/>
                  </a:cubicBezTo>
                  <a:cubicBezTo>
                    <a:pt x="16" y="34"/>
                    <a:pt x="15" y="34"/>
                    <a:pt x="14" y="34"/>
                  </a:cubicBezTo>
                  <a:cubicBezTo>
                    <a:pt x="12" y="34"/>
                    <a:pt x="10" y="34"/>
                    <a:pt x="9" y="33"/>
                  </a:cubicBezTo>
                  <a:cubicBezTo>
                    <a:pt x="7" y="32"/>
                    <a:pt x="6" y="31"/>
                    <a:pt x="6" y="30"/>
                  </a:cubicBezTo>
                  <a:cubicBezTo>
                    <a:pt x="5" y="29"/>
                    <a:pt x="5" y="27"/>
                    <a:pt x="5" y="26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12"/>
                    <a:pt x="19" y="12"/>
                    <a:pt x="19" y="12"/>
                  </a:cubicBezTo>
                  <a:cubicBezTo>
                    <a:pt x="11" y="12"/>
                    <a:pt x="11" y="12"/>
                    <a:pt x="11" y="12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6"/>
                    <a:pt x="12" y="27"/>
                    <a:pt x="12" y="27"/>
                  </a:cubicBezTo>
                  <a:cubicBezTo>
                    <a:pt x="13" y="28"/>
                    <a:pt x="14" y="29"/>
                    <a:pt x="15" y="29"/>
                  </a:cubicBezTo>
                  <a:cubicBezTo>
                    <a:pt x="16" y="29"/>
                    <a:pt x="17" y="29"/>
                    <a:pt x="17" y="29"/>
                  </a:cubicBezTo>
                  <a:cubicBezTo>
                    <a:pt x="18" y="28"/>
                    <a:pt x="19" y="28"/>
                    <a:pt x="19" y="28"/>
                  </a:cubicBezTo>
                  <a:lnTo>
                    <a:pt x="20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21" name="Freeform 17"/>
            <p:cNvSpPr>
              <a:spLocks/>
            </p:cNvSpPr>
            <p:nvPr userDrawn="1"/>
          </p:nvSpPr>
          <p:spPr bwMode="gray">
            <a:xfrm>
              <a:off x="9944072" y="3621076"/>
              <a:ext cx="90487" cy="150812"/>
            </a:xfrm>
            <a:custGeom>
              <a:avLst/>
              <a:gdLst>
                <a:gd name="T0" fmla="*/ 22622 w 24"/>
                <a:gd name="T1" fmla="*/ 41473 h 40"/>
                <a:gd name="T2" fmla="*/ 22622 w 24"/>
                <a:gd name="T3" fmla="*/ 52784 h 40"/>
                <a:gd name="T4" fmla="*/ 22622 w 24"/>
                <a:gd name="T5" fmla="*/ 64095 h 40"/>
                <a:gd name="T6" fmla="*/ 22622 w 24"/>
                <a:gd name="T7" fmla="*/ 64095 h 40"/>
                <a:gd name="T8" fmla="*/ 30162 w 24"/>
                <a:gd name="T9" fmla="*/ 56555 h 40"/>
                <a:gd name="T10" fmla="*/ 37703 w 24"/>
                <a:gd name="T11" fmla="*/ 52784 h 40"/>
                <a:gd name="T12" fmla="*/ 45244 w 24"/>
                <a:gd name="T13" fmla="*/ 49014 h 40"/>
                <a:gd name="T14" fmla="*/ 56554 w 24"/>
                <a:gd name="T15" fmla="*/ 49014 h 40"/>
                <a:gd name="T16" fmla="*/ 64095 w 24"/>
                <a:gd name="T17" fmla="*/ 49014 h 40"/>
                <a:gd name="T18" fmla="*/ 71636 w 24"/>
                <a:gd name="T19" fmla="*/ 52784 h 40"/>
                <a:gd name="T20" fmla="*/ 79176 w 24"/>
                <a:gd name="T21" fmla="*/ 56555 h 40"/>
                <a:gd name="T22" fmla="*/ 86717 w 24"/>
                <a:gd name="T23" fmla="*/ 64095 h 40"/>
                <a:gd name="T24" fmla="*/ 90487 w 24"/>
                <a:gd name="T25" fmla="*/ 75406 h 40"/>
                <a:gd name="T26" fmla="*/ 90487 w 24"/>
                <a:gd name="T27" fmla="*/ 86717 h 40"/>
                <a:gd name="T28" fmla="*/ 90487 w 24"/>
                <a:gd name="T29" fmla="*/ 150812 h 40"/>
                <a:gd name="T30" fmla="*/ 64095 w 24"/>
                <a:gd name="T31" fmla="*/ 150812 h 40"/>
                <a:gd name="T32" fmla="*/ 64095 w 24"/>
                <a:gd name="T33" fmla="*/ 90487 h 40"/>
                <a:gd name="T34" fmla="*/ 64095 w 24"/>
                <a:gd name="T35" fmla="*/ 82947 h 40"/>
                <a:gd name="T36" fmla="*/ 64095 w 24"/>
                <a:gd name="T37" fmla="*/ 75406 h 40"/>
                <a:gd name="T38" fmla="*/ 56554 w 24"/>
                <a:gd name="T39" fmla="*/ 71636 h 40"/>
                <a:gd name="T40" fmla="*/ 49014 w 24"/>
                <a:gd name="T41" fmla="*/ 67865 h 40"/>
                <a:gd name="T42" fmla="*/ 33933 w 24"/>
                <a:gd name="T43" fmla="*/ 71636 h 40"/>
                <a:gd name="T44" fmla="*/ 22622 w 24"/>
                <a:gd name="T45" fmla="*/ 82947 h 40"/>
                <a:gd name="T46" fmla="*/ 22622 w 24"/>
                <a:gd name="T47" fmla="*/ 150812 h 40"/>
                <a:gd name="T48" fmla="*/ 0 w 24"/>
                <a:gd name="T49" fmla="*/ 150812 h 40"/>
                <a:gd name="T50" fmla="*/ 0 w 24"/>
                <a:gd name="T51" fmla="*/ 0 h 40"/>
                <a:gd name="T52" fmla="*/ 22622 w 24"/>
                <a:gd name="T53" fmla="*/ 0 h 40"/>
                <a:gd name="T54" fmla="*/ 22622 w 24"/>
                <a:gd name="T55" fmla="*/ 41473 h 4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24" h="40">
                  <a:moveTo>
                    <a:pt x="6" y="11"/>
                  </a:moveTo>
                  <a:cubicBezTo>
                    <a:pt x="6" y="12"/>
                    <a:pt x="6" y="13"/>
                    <a:pt x="6" y="14"/>
                  </a:cubicBezTo>
                  <a:cubicBezTo>
                    <a:pt x="6" y="15"/>
                    <a:pt x="6" y="16"/>
                    <a:pt x="6" y="17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7" y="16"/>
                    <a:pt x="7" y="16"/>
                    <a:pt x="8" y="15"/>
                  </a:cubicBezTo>
                  <a:cubicBezTo>
                    <a:pt x="8" y="15"/>
                    <a:pt x="9" y="14"/>
                    <a:pt x="10" y="14"/>
                  </a:cubicBezTo>
                  <a:cubicBezTo>
                    <a:pt x="10" y="14"/>
                    <a:pt x="11" y="13"/>
                    <a:pt x="12" y="13"/>
                  </a:cubicBezTo>
                  <a:cubicBezTo>
                    <a:pt x="13" y="13"/>
                    <a:pt x="14" y="13"/>
                    <a:pt x="15" y="13"/>
                  </a:cubicBezTo>
                  <a:cubicBezTo>
                    <a:pt x="15" y="13"/>
                    <a:pt x="16" y="13"/>
                    <a:pt x="17" y="13"/>
                  </a:cubicBezTo>
                  <a:cubicBezTo>
                    <a:pt x="18" y="13"/>
                    <a:pt x="19" y="13"/>
                    <a:pt x="19" y="14"/>
                  </a:cubicBezTo>
                  <a:cubicBezTo>
                    <a:pt x="20" y="14"/>
                    <a:pt x="21" y="15"/>
                    <a:pt x="21" y="15"/>
                  </a:cubicBezTo>
                  <a:cubicBezTo>
                    <a:pt x="22" y="16"/>
                    <a:pt x="22" y="16"/>
                    <a:pt x="23" y="17"/>
                  </a:cubicBezTo>
                  <a:cubicBezTo>
                    <a:pt x="23" y="18"/>
                    <a:pt x="23" y="19"/>
                    <a:pt x="24" y="20"/>
                  </a:cubicBezTo>
                  <a:cubicBezTo>
                    <a:pt x="24" y="21"/>
                    <a:pt x="24" y="22"/>
                    <a:pt x="24" y="23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17" y="40"/>
                    <a:pt x="17" y="40"/>
                    <a:pt x="17" y="40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3"/>
                    <a:pt x="17" y="22"/>
                    <a:pt x="17" y="22"/>
                  </a:cubicBezTo>
                  <a:cubicBezTo>
                    <a:pt x="17" y="21"/>
                    <a:pt x="17" y="21"/>
                    <a:pt x="17" y="20"/>
                  </a:cubicBezTo>
                  <a:cubicBezTo>
                    <a:pt x="17" y="20"/>
                    <a:pt x="16" y="19"/>
                    <a:pt x="15" y="19"/>
                  </a:cubicBezTo>
                  <a:cubicBezTo>
                    <a:pt x="14" y="18"/>
                    <a:pt x="14" y="18"/>
                    <a:pt x="13" y="18"/>
                  </a:cubicBezTo>
                  <a:cubicBezTo>
                    <a:pt x="12" y="18"/>
                    <a:pt x="10" y="18"/>
                    <a:pt x="9" y="19"/>
                  </a:cubicBezTo>
                  <a:cubicBezTo>
                    <a:pt x="8" y="20"/>
                    <a:pt x="7" y="20"/>
                    <a:pt x="6" y="22"/>
                  </a:cubicBezTo>
                  <a:cubicBezTo>
                    <a:pt x="6" y="40"/>
                    <a:pt x="6" y="40"/>
                    <a:pt x="6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" y="0"/>
                    <a:pt x="6" y="0"/>
                    <a:pt x="6" y="0"/>
                  </a:cubicBezTo>
                  <a:lnTo>
                    <a:pt x="6" y="1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22" name="Freeform 18"/>
            <p:cNvSpPr>
              <a:spLocks noEditPoints="1"/>
            </p:cNvSpPr>
            <p:nvPr userDrawn="1"/>
          </p:nvSpPr>
          <p:spPr bwMode="gray">
            <a:xfrm>
              <a:off x="10053611" y="3670288"/>
              <a:ext cx="90487" cy="101599"/>
            </a:xfrm>
            <a:custGeom>
              <a:avLst/>
              <a:gdLst>
                <a:gd name="T0" fmla="*/ 56554 w 24"/>
                <a:gd name="T1" fmla="*/ 82784 h 27"/>
                <a:gd name="T2" fmla="*/ 71636 w 24"/>
                <a:gd name="T3" fmla="*/ 82784 h 27"/>
                <a:gd name="T4" fmla="*/ 86717 w 24"/>
                <a:gd name="T5" fmla="*/ 79021 h 27"/>
                <a:gd name="T6" fmla="*/ 86717 w 24"/>
                <a:gd name="T7" fmla="*/ 97836 h 27"/>
                <a:gd name="T8" fmla="*/ 71636 w 24"/>
                <a:gd name="T9" fmla="*/ 101599 h 27"/>
                <a:gd name="T10" fmla="*/ 52784 w 24"/>
                <a:gd name="T11" fmla="*/ 101599 h 27"/>
                <a:gd name="T12" fmla="*/ 33933 w 24"/>
                <a:gd name="T13" fmla="*/ 101599 h 27"/>
                <a:gd name="T14" fmla="*/ 15081 w 24"/>
                <a:gd name="T15" fmla="*/ 90310 h 27"/>
                <a:gd name="T16" fmla="*/ 3770 w 24"/>
                <a:gd name="T17" fmla="*/ 75259 h 27"/>
                <a:gd name="T18" fmla="*/ 0 w 24"/>
                <a:gd name="T19" fmla="*/ 52681 h 27"/>
                <a:gd name="T20" fmla="*/ 3770 w 24"/>
                <a:gd name="T21" fmla="*/ 30103 h 27"/>
                <a:gd name="T22" fmla="*/ 15081 w 24"/>
                <a:gd name="T23" fmla="*/ 11289 h 27"/>
                <a:gd name="T24" fmla="*/ 30162 w 24"/>
                <a:gd name="T25" fmla="*/ 3763 h 27"/>
                <a:gd name="T26" fmla="*/ 49014 w 24"/>
                <a:gd name="T27" fmla="*/ 0 h 27"/>
                <a:gd name="T28" fmla="*/ 64095 w 24"/>
                <a:gd name="T29" fmla="*/ 3763 h 27"/>
                <a:gd name="T30" fmla="*/ 79176 w 24"/>
                <a:gd name="T31" fmla="*/ 11289 h 27"/>
                <a:gd name="T32" fmla="*/ 86717 w 24"/>
                <a:gd name="T33" fmla="*/ 26340 h 27"/>
                <a:gd name="T34" fmla="*/ 90487 w 24"/>
                <a:gd name="T35" fmla="*/ 48918 h 27"/>
                <a:gd name="T36" fmla="*/ 90487 w 24"/>
                <a:gd name="T37" fmla="*/ 56444 h 27"/>
                <a:gd name="T38" fmla="*/ 26392 w 24"/>
                <a:gd name="T39" fmla="*/ 56444 h 27"/>
                <a:gd name="T40" fmla="*/ 30162 w 24"/>
                <a:gd name="T41" fmla="*/ 67733 h 27"/>
                <a:gd name="T42" fmla="*/ 37703 w 24"/>
                <a:gd name="T43" fmla="*/ 79021 h 27"/>
                <a:gd name="T44" fmla="*/ 45244 w 24"/>
                <a:gd name="T45" fmla="*/ 82784 h 27"/>
                <a:gd name="T46" fmla="*/ 56554 w 24"/>
                <a:gd name="T47" fmla="*/ 82784 h 27"/>
                <a:gd name="T48" fmla="*/ 49014 w 24"/>
                <a:gd name="T49" fmla="*/ 18815 h 27"/>
                <a:gd name="T50" fmla="*/ 37703 w 24"/>
                <a:gd name="T51" fmla="*/ 18815 h 27"/>
                <a:gd name="T52" fmla="*/ 33933 w 24"/>
                <a:gd name="T53" fmla="*/ 22578 h 27"/>
                <a:gd name="T54" fmla="*/ 30162 w 24"/>
                <a:gd name="T55" fmla="*/ 30103 h 27"/>
                <a:gd name="T56" fmla="*/ 26392 w 24"/>
                <a:gd name="T57" fmla="*/ 37629 h 27"/>
                <a:gd name="T58" fmla="*/ 67865 w 24"/>
                <a:gd name="T59" fmla="*/ 37629 h 27"/>
                <a:gd name="T60" fmla="*/ 64095 w 24"/>
                <a:gd name="T61" fmla="*/ 30103 h 27"/>
                <a:gd name="T62" fmla="*/ 60325 w 24"/>
                <a:gd name="T63" fmla="*/ 22578 h 27"/>
                <a:gd name="T64" fmla="*/ 49014 w 24"/>
                <a:gd name="T65" fmla="*/ 18815 h 2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4" h="27">
                  <a:moveTo>
                    <a:pt x="15" y="22"/>
                  </a:moveTo>
                  <a:cubicBezTo>
                    <a:pt x="17" y="22"/>
                    <a:pt x="18" y="22"/>
                    <a:pt x="19" y="22"/>
                  </a:cubicBezTo>
                  <a:cubicBezTo>
                    <a:pt x="21" y="21"/>
                    <a:pt x="22" y="21"/>
                    <a:pt x="23" y="21"/>
                  </a:cubicBezTo>
                  <a:cubicBezTo>
                    <a:pt x="23" y="26"/>
                    <a:pt x="23" y="26"/>
                    <a:pt x="23" y="26"/>
                  </a:cubicBezTo>
                  <a:cubicBezTo>
                    <a:pt x="22" y="26"/>
                    <a:pt x="21" y="27"/>
                    <a:pt x="19" y="27"/>
                  </a:cubicBezTo>
                  <a:cubicBezTo>
                    <a:pt x="17" y="27"/>
                    <a:pt x="16" y="27"/>
                    <a:pt x="14" y="27"/>
                  </a:cubicBezTo>
                  <a:cubicBezTo>
                    <a:pt x="12" y="27"/>
                    <a:pt x="10" y="27"/>
                    <a:pt x="9" y="27"/>
                  </a:cubicBezTo>
                  <a:cubicBezTo>
                    <a:pt x="7" y="26"/>
                    <a:pt x="5" y="25"/>
                    <a:pt x="4" y="24"/>
                  </a:cubicBezTo>
                  <a:cubicBezTo>
                    <a:pt x="3" y="23"/>
                    <a:pt x="2" y="22"/>
                    <a:pt x="1" y="20"/>
                  </a:cubicBezTo>
                  <a:cubicBezTo>
                    <a:pt x="0" y="18"/>
                    <a:pt x="0" y="16"/>
                    <a:pt x="0" y="14"/>
                  </a:cubicBezTo>
                  <a:cubicBezTo>
                    <a:pt x="0" y="12"/>
                    <a:pt x="0" y="10"/>
                    <a:pt x="1" y="8"/>
                  </a:cubicBezTo>
                  <a:cubicBezTo>
                    <a:pt x="2" y="6"/>
                    <a:pt x="3" y="5"/>
                    <a:pt x="4" y="3"/>
                  </a:cubicBezTo>
                  <a:cubicBezTo>
                    <a:pt x="5" y="2"/>
                    <a:pt x="6" y="1"/>
                    <a:pt x="8" y="1"/>
                  </a:cubicBezTo>
                  <a:cubicBezTo>
                    <a:pt x="9" y="0"/>
                    <a:pt x="11" y="0"/>
                    <a:pt x="13" y="0"/>
                  </a:cubicBezTo>
                  <a:cubicBezTo>
                    <a:pt x="14" y="0"/>
                    <a:pt x="16" y="0"/>
                    <a:pt x="17" y="1"/>
                  </a:cubicBezTo>
                  <a:cubicBezTo>
                    <a:pt x="19" y="1"/>
                    <a:pt x="20" y="2"/>
                    <a:pt x="21" y="3"/>
                  </a:cubicBezTo>
                  <a:cubicBezTo>
                    <a:pt x="22" y="4"/>
                    <a:pt x="23" y="5"/>
                    <a:pt x="23" y="7"/>
                  </a:cubicBezTo>
                  <a:cubicBezTo>
                    <a:pt x="24" y="9"/>
                    <a:pt x="24" y="11"/>
                    <a:pt x="24" y="13"/>
                  </a:cubicBezTo>
                  <a:cubicBezTo>
                    <a:pt x="24" y="14"/>
                    <a:pt x="24" y="15"/>
                    <a:pt x="24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6"/>
                    <a:pt x="7" y="17"/>
                    <a:pt x="8" y="18"/>
                  </a:cubicBezTo>
                  <a:cubicBezTo>
                    <a:pt x="8" y="19"/>
                    <a:pt x="9" y="20"/>
                    <a:pt x="10" y="21"/>
                  </a:cubicBezTo>
                  <a:cubicBezTo>
                    <a:pt x="10" y="21"/>
                    <a:pt x="11" y="21"/>
                    <a:pt x="12" y="22"/>
                  </a:cubicBezTo>
                  <a:cubicBezTo>
                    <a:pt x="13" y="22"/>
                    <a:pt x="14" y="22"/>
                    <a:pt x="15" y="22"/>
                  </a:cubicBezTo>
                  <a:close/>
                  <a:moveTo>
                    <a:pt x="13" y="5"/>
                  </a:moveTo>
                  <a:cubicBezTo>
                    <a:pt x="12" y="5"/>
                    <a:pt x="11" y="5"/>
                    <a:pt x="10" y="5"/>
                  </a:cubicBezTo>
                  <a:cubicBezTo>
                    <a:pt x="10" y="5"/>
                    <a:pt x="9" y="6"/>
                    <a:pt x="9" y="6"/>
                  </a:cubicBezTo>
                  <a:cubicBezTo>
                    <a:pt x="8" y="7"/>
                    <a:pt x="8" y="7"/>
                    <a:pt x="8" y="8"/>
                  </a:cubicBezTo>
                  <a:cubicBezTo>
                    <a:pt x="7" y="9"/>
                    <a:pt x="7" y="10"/>
                    <a:pt x="7" y="1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8" y="10"/>
                    <a:pt x="17" y="9"/>
                    <a:pt x="17" y="8"/>
                  </a:cubicBezTo>
                  <a:cubicBezTo>
                    <a:pt x="17" y="7"/>
                    <a:pt x="17" y="7"/>
                    <a:pt x="16" y="6"/>
                  </a:cubicBezTo>
                  <a:cubicBezTo>
                    <a:pt x="15" y="5"/>
                    <a:pt x="14" y="5"/>
                    <a:pt x="13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23" name="Freeform 19"/>
            <p:cNvSpPr>
              <a:spLocks noEditPoints="1"/>
            </p:cNvSpPr>
            <p:nvPr userDrawn="1"/>
          </p:nvSpPr>
          <p:spPr bwMode="gray">
            <a:xfrm>
              <a:off x="10202835" y="3670288"/>
              <a:ext cx="90487" cy="101599"/>
            </a:xfrm>
            <a:custGeom>
              <a:avLst/>
              <a:gdLst>
                <a:gd name="T0" fmla="*/ 56554 w 24"/>
                <a:gd name="T1" fmla="*/ 82784 h 27"/>
                <a:gd name="T2" fmla="*/ 71636 w 24"/>
                <a:gd name="T3" fmla="*/ 82784 h 27"/>
                <a:gd name="T4" fmla="*/ 86717 w 24"/>
                <a:gd name="T5" fmla="*/ 79021 h 27"/>
                <a:gd name="T6" fmla="*/ 86717 w 24"/>
                <a:gd name="T7" fmla="*/ 97836 h 27"/>
                <a:gd name="T8" fmla="*/ 71636 w 24"/>
                <a:gd name="T9" fmla="*/ 101599 h 27"/>
                <a:gd name="T10" fmla="*/ 52784 w 24"/>
                <a:gd name="T11" fmla="*/ 101599 h 27"/>
                <a:gd name="T12" fmla="*/ 33933 w 24"/>
                <a:gd name="T13" fmla="*/ 101599 h 27"/>
                <a:gd name="T14" fmla="*/ 15081 w 24"/>
                <a:gd name="T15" fmla="*/ 90310 h 27"/>
                <a:gd name="T16" fmla="*/ 3770 w 24"/>
                <a:gd name="T17" fmla="*/ 75259 h 27"/>
                <a:gd name="T18" fmla="*/ 0 w 24"/>
                <a:gd name="T19" fmla="*/ 52681 h 27"/>
                <a:gd name="T20" fmla="*/ 3770 w 24"/>
                <a:gd name="T21" fmla="*/ 30103 h 27"/>
                <a:gd name="T22" fmla="*/ 15081 w 24"/>
                <a:gd name="T23" fmla="*/ 11289 h 27"/>
                <a:gd name="T24" fmla="*/ 30162 w 24"/>
                <a:gd name="T25" fmla="*/ 3763 h 27"/>
                <a:gd name="T26" fmla="*/ 49014 w 24"/>
                <a:gd name="T27" fmla="*/ 0 h 27"/>
                <a:gd name="T28" fmla="*/ 64095 w 24"/>
                <a:gd name="T29" fmla="*/ 3763 h 27"/>
                <a:gd name="T30" fmla="*/ 79176 w 24"/>
                <a:gd name="T31" fmla="*/ 11289 h 27"/>
                <a:gd name="T32" fmla="*/ 86717 w 24"/>
                <a:gd name="T33" fmla="*/ 26340 h 27"/>
                <a:gd name="T34" fmla="*/ 90487 w 24"/>
                <a:gd name="T35" fmla="*/ 48918 h 27"/>
                <a:gd name="T36" fmla="*/ 90487 w 24"/>
                <a:gd name="T37" fmla="*/ 56444 h 27"/>
                <a:gd name="T38" fmla="*/ 26392 w 24"/>
                <a:gd name="T39" fmla="*/ 56444 h 27"/>
                <a:gd name="T40" fmla="*/ 30162 w 24"/>
                <a:gd name="T41" fmla="*/ 67733 h 27"/>
                <a:gd name="T42" fmla="*/ 37703 w 24"/>
                <a:gd name="T43" fmla="*/ 79021 h 27"/>
                <a:gd name="T44" fmla="*/ 45244 w 24"/>
                <a:gd name="T45" fmla="*/ 82784 h 27"/>
                <a:gd name="T46" fmla="*/ 56554 w 24"/>
                <a:gd name="T47" fmla="*/ 82784 h 27"/>
                <a:gd name="T48" fmla="*/ 49014 w 24"/>
                <a:gd name="T49" fmla="*/ 18815 h 27"/>
                <a:gd name="T50" fmla="*/ 37703 w 24"/>
                <a:gd name="T51" fmla="*/ 18815 h 27"/>
                <a:gd name="T52" fmla="*/ 33933 w 24"/>
                <a:gd name="T53" fmla="*/ 22578 h 27"/>
                <a:gd name="T54" fmla="*/ 30162 w 24"/>
                <a:gd name="T55" fmla="*/ 30103 h 27"/>
                <a:gd name="T56" fmla="*/ 26392 w 24"/>
                <a:gd name="T57" fmla="*/ 37629 h 27"/>
                <a:gd name="T58" fmla="*/ 67865 w 24"/>
                <a:gd name="T59" fmla="*/ 37629 h 27"/>
                <a:gd name="T60" fmla="*/ 64095 w 24"/>
                <a:gd name="T61" fmla="*/ 30103 h 27"/>
                <a:gd name="T62" fmla="*/ 60325 w 24"/>
                <a:gd name="T63" fmla="*/ 22578 h 27"/>
                <a:gd name="T64" fmla="*/ 49014 w 24"/>
                <a:gd name="T65" fmla="*/ 18815 h 2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4" h="27">
                  <a:moveTo>
                    <a:pt x="15" y="22"/>
                  </a:moveTo>
                  <a:cubicBezTo>
                    <a:pt x="17" y="22"/>
                    <a:pt x="18" y="22"/>
                    <a:pt x="19" y="22"/>
                  </a:cubicBezTo>
                  <a:cubicBezTo>
                    <a:pt x="21" y="21"/>
                    <a:pt x="22" y="21"/>
                    <a:pt x="23" y="21"/>
                  </a:cubicBezTo>
                  <a:cubicBezTo>
                    <a:pt x="23" y="26"/>
                    <a:pt x="23" y="26"/>
                    <a:pt x="23" y="26"/>
                  </a:cubicBezTo>
                  <a:cubicBezTo>
                    <a:pt x="22" y="26"/>
                    <a:pt x="21" y="27"/>
                    <a:pt x="19" y="27"/>
                  </a:cubicBezTo>
                  <a:cubicBezTo>
                    <a:pt x="17" y="27"/>
                    <a:pt x="16" y="27"/>
                    <a:pt x="14" y="27"/>
                  </a:cubicBezTo>
                  <a:cubicBezTo>
                    <a:pt x="12" y="27"/>
                    <a:pt x="10" y="27"/>
                    <a:pt x="9" y="27"/>
                  </a:cubicBezTo>
                  <a:cubicBezTo>
                    <a:pt x="7" y="26"/>
                    <a:pt x="5" y="25"/>
                    <a:pt x="4" y="24"/>
                  </a:cubicBezTo>
                  <a:cubicBezTo>
                    <a:pt x="3" y="23"/>
                    <a:pt x="2" y="22"/>
                    <a:pt x="1" y="20"/>
                  </a:cubicBezTo>
                  <a:cubicBezTo>
                    <a:pt x="0" y="18"/>
                    <a:pt x="0" y="16"/>
                    <a:pt x="0" y="14"/>
                  </a:cubicBezTo>
                  <a:cubicBezTo>
                    <a:pt x="0" y="12"/>
                    <a:pt x="0" y="10"/>
                    <a:pt x="1" y="8"/>
                  </a:cubicBezTo>
                  <a:cubicBezTo>
                    <a:pt x="2" y="6"/>
                    <a:pt x="3" y="5"/>
                    <a:pt x="4" y="3"/>
                  </a:cubicBezTo>
                  <a:cubicBezTo>
                    <a:pt x="5" y="2"/>
                    <a:pt x="6" y="1"/>
                    <a:pt x="8" y="1"/>
                  </a:cubicBezTo>
                  <a:cubicBezTo>
                    <a:pt x="9" y="0"/>
                    <a:pt x="11" y="0"/>
                    <a:pt x="13" y="0"/>
                  </a:cubicBezTo>
                  <a:cubicBezTo>
                    <a:pt x="14" y="0"/>
                    <a:pt x="16" y="0"/>
                    <a:pt x="17" y="1"/>
                  </a:cubicBezTo>
                  <a:cubicBezTo>
                    <a:pt x="19" y="1"/>
                    <a:pt x="20" y="2"/>
                    <a:pt x="21" y="3"/>
                  </a:cubicBezTo>
                  <a:cubicBezTo>
                    <a:pt x="22" y="4"/>
                    <a:pt x="23" y="5"/>
                    <a:pt x="23" y="7"/>
                  </a:cubicBezTo>
                  <a:cubicBezTo>
                    <a:pt x="24" y="9"/>
                    <a:pt x="24" y="11"/>
                    <a:pt x="24" y="13"/>
                  </a:cubicBezTo>
                  <a:cubicBezTo>
                    <a:pt x="24" y="14"/>
                    <a:pt x="24" y="15"/>
                    <a:pt x="24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6"/>
                    <a:pt x="7" y="17"/>
                    <a:pt x="8" y="18"/>
                  </a:cubicBezTo>
                  <a:cubicBezTo>
                    <a:pt x="8" y="19"/>
                    <a:pt x="9" y="20"/>
                    <a:pt x="10" y="21"/>
                  </a:cubicBezTo>
                  <a:cubicBezTo>
                    <a:pt x="10" y="21"/>
                    <a:pt x="11" y="21"/>
                    <a:pt x="12" y="22"/>
                  </a:cubicBezTo>
                  <a:cubicBezTo>
                    <a:pt x="13" y="22"/>
                    <a:pt x="14" y="22"/>
                    <a:pt x="15" y="22"/>
                  </a:cubicBezTo>
                  <a:close/>
                  <a:moveTo>
                    <a:pt x="13" y="5"/>
                  </a:moveTo>
                  <a:cubicBezTo>
                    <a:pt x="12" y="5"/>
                    <a:pt x="11" y="5"/>
                    <a:pt x="10" y="5"/>
                  </a:cubicBezTo>
                  <a:cubicBezTo>
                    <a:pt x="10" y="5"/>
                    <a:pt x="9" y="6"/>
                    <a:pt x="9" y="6"/>
                  </a:cubicBezTo>
                  <a:cubicBezTo>
                    <a:pt x="8" y="7"/>
                    <a:pt x="8" y="7"/>
                    <a:pt x="8" y="8"/>
                  </a:cubicBezTo>
                  <a:cubicBezTo>
                    <a:pt x="7" y="9"/>
                    <a:pt x="7" y="10"/>
                    <a:pt x="7" y="1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8" y="10"/>
                    <a:pt x="17" y="9"/>
                    <a:pt x="17" y="8"/>
                  </a:cubicBezTo>
                  <a:cubicBezTo>
                    <a:pt x="17" y="7"/>
                    <a:pt x="17" y="7"/>
                    <a:pt x="16" y="6"/>
                  </a:cubicBezTo>
                  <a:cubicBezTo>
                    <a:pt x="15" y="5"/>
                    <a:pt x="14" y="5"/>
                    <a:pt x="13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24" name="Freeform 20"/>
            <p:cNvSpPr>
              <a:spLocks/>
            </p:cNvSpPr>
            <p:nvPr userDrawn="1"/>
          </p:nvSpPr>
          <p:spPr bwMode="gray">
            <a:xfrm>
              <a:off x="10315546" y="3670288"/>
              <a:ext cx="90487" cy="101599"/>
            </a:xfrm>
            <a:custGeom>
              <a:avLst/>
              <a:gdLst>
                <a:gd name="T0" fmla="*/ 22622 w 24"/>
                <a:gd name="T1" fmla="*/ 15052 h 27"/>
                <a:gd name="T2" fmla="*/ 22622 w 24"/>
                <a:gd name="T3" fmla="*/ 15052 h 27"/>
                <a:gd name="T4" fmla="*/ 30162 w 24"/>
                <a:gd name="T5" fmla="*/ 7526 h 27"/>
                <a:gd name="T6" fmla="*/ 33933 w 24"/>
                <a:gd name="T7" fmla="*/ 3763 h 27"/>
                <a:gd name="T8" fmla="*/ 45244 w 24"/>
                <a:gd name="T9" fmla="*/ 0 h 27"/>
                <a:gd name="T10" fmla="*/ 56554 w 24"/>
                <a:gd name="T11" fmla="*/ 0 h 27"/>
                <a:gd name="T12" fmla="*/ 67865 w 24"/>
                <a:gd name="T13" fmla="*/ 0 h 27"/>
                <a:gd name="T14" fmla="*/ 75406 w 24"/>
                <a:gd name="T15" fmla="*/ 3763 h 27"/>
                <a:gd name="T16" fmla="*/ 82946 w 24"/>
                <a:gd name="T17" fmla="*/ 11289 h 27"/>
                <a:gd name="T18" fmla="*/ 86717 w 24"/>
                <a:gd name="T19" fmla="*/ 22578 h 27"/>
                <a:gd name="T20" fmla="*/ 90487 w 24"/>
                <a:gd name="T21" fmla="*/ 26340 h 27"/>
                <a:gd name="T22" fmla="*/ 90487 w 24"/>
                <a:gd name="T23" fmla="*/ 37629 h 27"/>
                <a:gd name="T24" fmla="*/ 90487 w 24"/>
                <a:gd name="T25" fmla="*/ 101599 h 27"/>
                <a:gd name="T26" fmla="*/ 67865 w 24"/>
                <a:gd name="T27" fmla="*/ 101599 h 27"/>
                <a:gd name="T28" fmla="*/ 67865 w 24"/>
                <a:gd name="T29" fmla="*/ 41392 h 27"/>
                <a:gd name="T30" fmla="*/ 67865 w 24"/>
                <a:gd name="T31" fmla="*/ 33866 h 27"/>
                <a:gd name="T32" fmla="*/ 64095 w 24"/>
                <a:gd name="T33" fmla="*/ 30103 h 27"/>
                <a:gd name="T34" fmla="*/ 60325 w 24"/>
                <a:gd name="T35" fmla="*/ 22578 h 27"/>
                <a:gd name="T36" fmla="*/ 49014 w 24"/>
                <a:gd name="T37" fmla="*/ 18815 h 27"/>
                <a:gd name="T38" fmla="*/ 37703 w 24"/>
                <a:gd name="T39" fmla="*/ 22578 h 27"/>
                <a:gd name="T40" fmla="*/ 26392 w 24"/>
                <a:gd name="T41" fmla="*/ 33866 h 27"/>
                <a:gd name="T42" fmla="*/ 26392 w 24"/>
                <a:gd name="T43" fmla="*/ 101599 h 27"/>
                <a:gd name="T44" fmla="*/ 0 w 24"/>
                <a:gd name="T45" fmla="*/ 101599 h 27"/>
                <a:gd name="T46" fmla="*/ 0 w 24"/>
                <a:gd name="T47" fmla="*/ 0 h 27"/>
                <a:gd name="T48" fmla="*/ 18851 w 24"/>
                <a:gd name="T49" fmla="*/ 0 h 27"/>
                <a:gd name="T50" fmla="*/ 22622 w 24"/>
                <a:gd name="T51" fmla="*/ 15052 h 27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24" h="27">
                  <a:moveTo>
                    <a:pt x="6" y="4"/>
                  </a:move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7" y="3"/>
                    <a:pt x="8" y="2"/>
                  </a:cubicBezTo>
                  <a:cubicBezTo>
                    <a:pt x="8" y="2"/>
                    <a:pt x="9" y="1"/>
                    <a:pt x="9" y="1"/>
                  </a:cubicBezTo>
                  <a:cubicBezTo>
                    <a:pt x="10" y="1"/>
                    <a:pt x="11" y="0"/>
                    <a:pt x="12" y="0"/>
                  </a:cubicBezTo>
                  <a:cubicBezTo>
                    <a:pt x="13" y="0"/>
                    <a:pt x="14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8" y="0"/>
                    <a:pt x="19" y="1"/>
                    <a:pt x="20" y="1"/>
                  </a:cubicBezTo>
                  <a:cubicBezTo>
                    <a:pt x="21" y="2"/>
                    <a:pt x="21" y="2"/>
                    <a:pt x="22" y="3"/>
                  </a:cubicBezTo>
                  <a:cubicBezTo>
                    <a:pt x="23" y="4"/>
                    <a:pt x="23" y="5"/>
                    <a:pt x="23" y="6"/>
                  </a:cubicBezTo>
                  <a:cubicBezTo>
                    <a:pt x="24" y="6"/>
                    <a:pt x="24" y="7"/>
                    <a:pt x="24" y="7"/>
                  </a:cubicBezTo>
                  <a:cubicBezTo>
                    <a:pt x="24" y="8"/>
                    <a:pt x="24" y="9"/>
                    <a:pt x="24" y="10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18" y="10"/>
                    <a:pt x="18" y="9"/>
                    <a:pt x="18" y="9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7" y="7"/>
                    <a:pt x="16" y="6"/>
                    <a:pt x="16" y="6"/>
                  </a:cubicBezTo>
                  <a:cubicBezTo>
                    <a:pt x="15" y="5"/>
                    <a:pt x="14" y="5"/>
                    <a:pt x="13" y="5"/>
                  </a:cubicBezTo>
                  <a:cubicBezTo>
                    <a:pt x="12" y="5"/>
                    <a:pt x="11" y="6"/>
                    <a:pt x="10" y="6"/>
                  </a:cubicBezTo>
                  <a:cubicBezTo>
                    <a:pt x="9" y="7"/>
                    <a:pt x="7" y="8"/>
                    <a:pt x="7" y="9"/>
                  </a:cubicBezTo>
                  <a:cubicBezTo>
                    <a:pt x="7" y="27"/>
                    <a:pt x="7" y="27"/>
                    <a:pt x="7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" y="0"/>
                    <a:pt x="5" y="0"/>
                    <a:pt x="5" y="0"/>
                  </a:cubicBezTo>
                  <a:lnTo>
                    <a:pt x="6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25" name="Freeform 21"/>
            <p:cNvSpPr>
              <a:spLocks noEditPoints="1"/>
            </p:cNvSpPr>
            <p:nvPr userDrawn="1"/>
          </p:nvSpPr>
          <p:spPr bwMode="gray">
            <a:xfrm>
              <a:off x="10428259" y="3670293"/>
              <a:ext cx="90487" cy="150812"/>
            </a:xfrm>
            <a:custGeom>
              <a:avLst/>
              <a:gdLst>
                <a:gd name="T0" fmla="*/ 67865 w 24"/>
                <a:gd name="T1" fmla="*/ 101798 h 40"/>
                <a:gd name="T2" fmla="*/ 67865 w 24"/>
                <a:gd name="T3" fmla="*/ 98028 h 40"/>
                <a:gd name="T4" fmla="*/ 67865 w 24"/>
                <a:gd name="T5" fmla="*/ 94258 h 40"/>
                <a:gd name="T6" fmla="*/ 67865 w 24"/>
                <a:gd name="T7" fmla="*/ 94258 h 40"/>
                <a:gd name="T8" fmla="*/ 64095 w 24"/>
                <a:gd name="T9" fmla="*/ 98028 h 40"/>
                <a:gd name="T10" fmla="*/ 56554 w 24"/>
                <a:gd name="T11" fmla="*/ 98028 h 40"/>
                <a:gd name="T12" fmla="*/ 49014 w 24"/>
                <a:gd name="T13" fmla="*/ 101798 h 40"/>
                <a:gd name="T14" fmla="*/ 26392 w 24"/>
                <a:gd name="T15" fmla="*/ 101798 h 40"/>
                <a:gd name="T16" fmla="*/ 11311 w 24"/>
                <a:gd name="T17" fmla="*/ 90487 h 40"/>
                <a:gd name="T18" fmla="*/ 3770 w 24"/>
                <a:gd name="T19" fmla="*/ 75406 h 40"/>
                <a:gd name="T20" fmla="*/ 0 w 24"/>
                <a:gd name="T21" fmla="*/ 52784 h 40"/>
                <a:gd name="T22" fmla="*/ 3770 w 24"/>
                <a:gd name="T23" fmla="*/ 30162 h 40"/>
                <a:gd name="T24" fmla="*/ 11311 w 24"/>
                <a:gd name="T25" fmla="*/ 11311 h 40"/>
                <a:gd name="T26" fmla="*/ 26392 w 24"/>
                <a:gd name="T27" fmla="*/ 3770 h 40"/>
                <a:gd name="T28" fmla="*/ 41473 w 24"/>
                <a:gd name="T29" fmla="*/ 0 h 40"/>
                <a:gd name="T30" fmla="*/ 56554 w 24"/>
                <a:gd name="T31" fmla="*/ 3770 h 40"/>
                <a:gd name="T32" fmla="*/ 67865 w 24"/>
                <a:gd name="T33" fmla="*/ 11311 h 40"/>
                <a:gd name="T34" fmla="*/ 67865 w 24"/>
                <a:gd name="T35" fmla="*/ 11311 h 40"/>
                <a:gd name="T36" fmla="*/ 71636 w 24"/>
                <a:gd name="T37" fmla="*/ 0 h 40"/>
                <a:gd name="T38" fmla="*/ 90487 w 24"/>
                <a:gd name="T39" fmla="*/ 0 h 40"/>
                <a:gd name="T40" fmla="*/ 90487 w 24"/>
                <a:gd name="T41" fmla="*/ 101798 h 40"/>
                <a:gd name="T42" fmla="*/ 90487 w 24"/>
                <a:gd name="T43" fmla="*/ 116879 h 40"/>
                <a:gd name="T44" fmla="*/ 86717 w 24"/>
                <a:gd name="T45" fmla="*/ 128190 h 40"/>
                <a:gd name="T46" fmla="*/ 79176 w 24"/>
                <a:gd name="T47" fmla="*/ 139501 h 40"/>
                <a:gd name="T48" fmla="*/ 67865 w 24"/>
                <a:gd name="T49" fmla="*/ 147042 h 40"/>
                <a:gd name="T50" fmla="*/ 52784 w 24"/>
                <a:gd name="T51" fmla="*/ 150812 h 40"/>
                <a:gd name="T52" fmla="*/ 33933 w 24"/>
                <a:gd name="T53" fmla="*/ 150812 h 40"/>
                <a:gd name="T54" fmla="*/ 26392 w 24"/>
                <a:gd name="T55" fmla="*/ 150812 h 40"/>
                <a:gd name="T56" fmla="*/ 15081 w 24"/>
                <a:gd name="T57" fmla="*/ 150812 h 40"/>
                <a:gd name="T58" fmla="*/ 7541 w 24"/>
                <a:gd name="T59" fmla="*/ 147042 h 40"/>
                <a:gd name="T60" fmla="*/ 3770 w 24"/>
                <a:gd name="T61" fmla="*/ 147042 h 40"/>
                <a:gd name="T62" fmla="*/ 3770 w 24"/>
                <a:gd name="T63" fmla="*/ 128190 h 40"/>
                <a:gd name="T64" fmla="*/ 18851 w 24"/>
                <a:gd name="T65" fmla="*/ 131961 h 40"/>
                <a:gd name="T66" fmla="*/ 33933 w 24"/>
                <a:gd name="T67" fmla="*/ 131961 h 40"/>
                <a:gd name="T68" fmla="*/ 56554 w 24"/>
                <a:gd name="T69" fmla="*/ 124420 h 40"/>
                <a:gd name="T70" fmla="*/ 67865 w 24"/>
                <a:gd name="T71" fmla="*/ 105568 h 40"/>
                <a:gd name="T72" fmla="*/ 67865 w 24"/>
                <a:gd name="T73" fmla="*/ 101798 h 40"/>
                <a:gd name="T74" fmla="*/ 45244 w 24"/>
                <a:gd name="T75" fmla="*/ 82947 h 40"/>
                <a:gd name="T76" fmla="*/ 52784 w 24"/>
                <a:gd name="T77" fmla="*/ 82947 h 40"/>
                <a:gd name="T78" fmla="*/ 60325 w 24"/>
                <a:gd name="T79" fmla="*/ 79176 h 40"/>
                <a:gd name="T80" fmla="*/ 64095 w 24"/>
                <a:gd name="T81" fmla="*/ 75406 h 40"/>
                <a:gd name="T82" fmla="*/ 67865 w 24"/>
                <a:gd name="T83" fmla="*/ 75406 h 40"/>
                <a:gd name="T84" fmla="*/ 67865 w 24"/>
                <a:gd name="T85" fmla="*/ 30162 h 40"/>
                <a:gd name="T86" fmla="*/ 60325 w 24"/>
                <a:gd name="T87" fmla="*/ 22622 h 40"/>
                <a:gd name="T88" fmla="*/ 45244 w 24"/>
                <a:gd name="T89" fmla="*/ 18852 h 40"/>
                <a:gd name="T90" fmla="*/ 41473 w 24"/>
                <a:gd name="T91" fmla="*/ 18852 h 40"/>
                <a:gd name="T92" fmla="*/ 37703 w 24"/>
                <a:gd name="T93" fmla="*/ 18852 h 40"/>
                <a:gd name="T94" fmla="*/ 30162 w 24"/>
                <a:gd name="T95" fmla="*/ 22622 h 40"/>
                <a:gd name="T96" fmla="*/ 26392 w 24"/>
                <a:gd name="T97" fmla="*/ 30162 h 40"/>
                <a:gd name="T98" fmla="*/ 26392 w 24"/>
                <a:gd name="T99" fmla="*/ 37703 h 40"/>
                <a:gd name="T100" fmla="*/ 22622 w 24"/>
                <a:gd name="T101" fmla="*/ 52784 h 40"/>
                <a:gd name="T102" fmla="*/ 26392 w 24"/>
                <a:gd name="T103" fmla="*/ 64095 h 40"/>
                <a:gd name="T104" fmla="*/ 30162 w 24"/>
                <a:gd name="T105" fmla="*/ 75406 h 40"/>
                <a:gd name="T106" fmla="*/ 37703 w 24"/>
                <a:gd name="T107" fmla="*/ 79176 h 40"/>
                <a:gd name="T108" fmla="*/ 45244 w 24"/>
                <a:gd name="T109" fmla="*/ 82947 h 4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24" h="40">
                  <a:moveTo>
                    <a:pt x="18" y="27"/>
                  </a:moveTo>
                  <a:cubicBezTo>
                    <a:pt x="18" y="26"/>
                    <a:pt x="18" y="26"/>
                    <a:pt x="18" y="26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7" y="25"/>
                    <a:pt x="17" y="26"/>
                  </a:cubicBezTo>
                  <a:cubicBezTo>
                    <a:pt x="16" y="26"/>
                    <a:pt x="16" y="26"/>
                    <a:pt x="15" y="26"/>
                  </a:cubicBezTo>
                  <a:cubicBezTo>
                    <a:pt x="14" y="27"/>
                    <a:pt x="14" y="27"/>
                    <a:pt x="13" y="27"/>
                  </a:cubicBezTo>
                  <a:cubicBezTo>
                    <a:pt x="11" y="27"/>
                    <a:pt x="9" y="27"/>
                    <a:pt x="7" y="27"/>
                  </a:cubicBezTo>
                  <a:cubicBezTo>
                    <a:pt x="5" y="26"/>
                    <a:pt x="4" y="25"/>
                    <a:pt x="3" y="24"/>
                  </a:cubicBezTo>
                  <a:cubicBezTo>
                    <a:pt x="2" y="23"/>
                    <a:pt x="1" y="22"/>
                    <a:pt x="1" y="20"/>
                  </a:cubicBezTo>
                  <a:cubicBezTo>
                    <a:pt x="0" y="18"/>
                    <a:pt x="0" y="16"/>
                    <a:pt x="0" y="14"/>
                  </a:cubicBezTo>
                  <a:cubicBezTo>
                    <a:pt x="0" y="12"/>
                    <a:pt x="0" y="10"/>
                    <a:pt x="1" y="8"/>
                  </a:cubicBezTo>
                  <a:cubicBezTo>
                    <a:pt x="1" y="6"/>
                    <a:pt x="2" y="5"/>
                    <a:pt x="3" y="3"/>
                  </a:cubicBezTo>
                  <a:cubicBezTo>
                    <a:pt x="4" y="2"/>
                    <a:pt x="5" y="1"/>
                    <a:pt x="7" y="1"/>
                  </a:cubicBezTo>
                  <a:cubicBezTo>
                    <a:pt x="8" y="0"/>
                    <a:pt x="10" y="0"/>
                    <a:pt x="11" y="0"/>
                  </a:cubicBezTo>
                  <a:cubicBezTo>
                    <a:pt x="13" y="0"/>
                    <a:pt x="14" y="0"/>
                    <a:pt x="15" y="1"/>
                  </a:cubicBezTo>
                  <a:cubicBezTo>
                    <a:pt x="17" y="1"/>
                    <a:pt x="18" y="2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4" y="28"/>
                    <a:pt x="24" y="30"/>
                    <a:pt x="24" y="31"/>
                  </a:cubicBezTo>
                  <a:cubicBezTo>
                    <a:pt x="24" y="32"/>
                    <a:pt x="23" y="33"/>
                    <a:pt x="23" y="34"/>
                  </a:cubicBezTo>
                  <a:cubicBezTo>
                    <a:pt x="22" y="35"/>
                    <a:pt x="21" y="36"/>
                    <a:pt x="21" y="37"/>
                  </a:cubicBezTo>
                  <a:cubicBezTo>
                    <a:pt x="20" y="37"/>
                    <a:pt x="19" y="38"/>
                    <a:pt x="18" y="39"/>
                  </a:cubicBezTo>
                  <a:cubicBezTo>
                    <a:pt x="16" y="39"/>
                    <a:pt x="15" y="39"/>
                    <a:pt x="14" y="40"/>
                  </a:cubicBezTo>
                  <a:cubicBezTo>
                    <a:pt x="12" y="40"/>
                    <a:pt x="11" y="40"/>
                    <a:pt x="9" y="40"/>
                  </a:cubicBezTo>
                  <a:cubicBezTo>
                    <a:pt x="7" y="40"/>
                    <a:pt x="7" y="40"/>
                    <a:pt x="7" y="40"/>
                  </a:cubicBezTo>
                  <a:cubicBezTo>
                    <a:pt x="6" y="40"/>
                    <a:pt x="5" y="40"/>
                    <a:pt x="4" y="40"/>
                  </a:cubicBezTo>
                  <a:cubicBezTo>
                    <a:pt x="2" y="39"/>
                    <a:pt x="2" y="39"/>
                    <a:pt x="2" y="39"/>
                  </a:cubicBezTo>
                  <a:cubicBezTo>
                    <a:pt x="2" y="39"/>
                    <a:pt x="1" y="39"/>
                    <a:pt x="1" y="39"/>
                  </a:cubicBezTo>
                  <a:cubicBezTo>
                    <a:pt x="1" y="34"/>
                    <a:pt x="1" y="34"/>
                    <a:pt x="1" y="34"/>
                  </a:cubicBezTo>
                  <a:cubicBezTo>
                    <a:pt x="2" y="34"/>
                    <a:pt x="3" y="34"/>
                    <a:pt x="5" y="35"/>
                  </a:cubicBezTo>
                  <a:cubicBezTo>
                    <a:pt x="6" y="35"/>
                    <a:pt x="7" y="35"/>
                    <a:pt x="9" y="35"/>
                  </a:cubicBezTo>
                  <a:cubicBezTo>
                    <a:pt x="11" y="35"/>
                    <a:pt x="13" y="34"/>
                    <a:pt x="15" y="33"/>
                  </a:cubicBezTo>
                  <a:cubicBezTo>
                    <a:pt x="17" y="32"/>
                    <a:pt x="18" y="30"/>
                    <a:pt x="18" y="28"/>
                  </a:cubicBezTo>
                  <a:lnTo>
                    <a:pt x="18" y="27"/>
                  </a:lnTo>
                  <a:close/>
                  <a:moveTo>
                    <a:pt x="12" y="22"/>
                  </a:moveTo>
                  <a:cubicBezTo>
                    <a:pt x="13" y="22"/>
                    <a:pt x="14" y="22"/>
                    <a:pt x="14" y="22"/>
                  </a:cubicBezTo>
                  <a:cubicBezTo>
                    <a:pt x="15" y="22"/>
                    <a:pt x="15" y="22"/>
                    <a:pt x="16" y="21"/>
                  </a:cubicBezTo>
                  <a:cubicBezTo>
                    <a:pt x="16" y="21"/>
                    <a:pt x="17" y="21"/>
                    <a:pt x="17" y="20"/>
                  </a:cubicBezTo>
                  <a:cubicBezTo>
                    <a:pt x="17" y="20"/>
                    <a:pt x="18" y="20"/>
                    <a:pt x="18" y="20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7"/>
                    <a:pt x="16" y="6"/>
                    <a:pt x="16" y="6"/>
                  </a:cubicBezTo>
                  <a:cubicBezTo>
                    <a:pt x="15" y="5"/>
                    <a:pt x="13" y="5"/>
                    <a:pt x="12" y="5"/>
                  </a:cubicBezTo>
                  <a:cubicBezTo>
                    <a:pt x="12" y="5"/>
                    <a:pt x="11" y="5"/>
                    <a:pt x="11" y="5"/>
                  </a:cubicBezTo>
                  <a:cubicBezTo>
                    <a:pt x="11" y="5"/>
                    <a:pt x="10" y="5"/>
                    <a:pt x="10" y="5"/>
                  </a:cubicBezTo>
                  <a:cubicBezTo>
                    <a:pt x="9" y="6"/>
                    <a:pt x="9" y="6"/>
                    <a:pt x="8" y="6"/>
                  </a:cubicBezTo>
                  <a:cubicBezTo>
                    <a:pt x="8" y="7"/>
                    <a:pt x="8" y="7"/>
                    <a:pt x="7" y="8"/>
                  </a:cubicBezTo>
                  <a:cubicBezTo>
                    <a:pt x="7" y="9"/>
                    <a:pt x="7" y="10"/>
                    <a:pt x="7" y="10"/>
                  </a:cubicBezTo>
                  <a:cubicBezTo>
                    <a:pt x="6" y="11"/>
                    <a:pt x="6" y="12"/>
                    <a:pt x="6" y="14"/>
                  </a:cubicBezTo>
                  <a:cubicBezTo>
                    <a:pt x="6" y="15"/>
                    <a:pt x="6" y="16"/>
                    <a:pt x="7" y="17"/>
                  </a:cubicBezTo>
                  <a:cubicBezTo>
                    <a:pt x="7" y="18"/>
                    <a:pt x="7" y="19"/>
                    <a:pt x="8" y="20"/>
                  </a:cubicBezTo>
                  <a:cubicBezTo>
                    <a:pt x="8" y="20"/>
                    <a:pt x="9" y="21"/>
                    <a:pt x="10" y="21"/>
                  </a:cubicBezTo>
                  <a:cubicBezTo>
                    <a:pt x="11" y="22"/>
                    <a:pt x="11" y="22"/>
                    <a:pt x="12" y="2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26" name="Freeform 22"/>
            <p:cNvSpPr>
              <a:spLocks noEditPoints="1"/>
            </p:cNvSpPr>
            <p:nvPr userDrawn="1"/>
          </p:nvSpPr>
          <p:spPr bwMode="gray">
            <a:xfrm>
              <a:off x="10548905" y="3621082"/>
              <a:ext cx="22225" cy="150812"/>
            </a:xfrm>
            <a:custGeom>
              <a:avLst/>
              <a:gdLst>
                <a:gd name="T0" fmla="*/ 0 w 14"/>
                <a:gd name="T1" fmla="*/ 0 h 95"/>
                <a:gd name="T2" fmla="*/ 22225 w 14"/>
                <a:gd name="T3" fmla="*/ 0 h 95"/>
                <a:gd name="T4" fmla="*/ 22225 w 14"/>
                <a:gd name="T5" fmla="*/ 26987 h 95"/>
                <a:gd name="T6" fmla="*/ 0 w 14"/>
                <a:gd name="T7" fmla="*/ 26987 h 95"/>
                <a:gd name="T8" fmla="*/ 0 w 14"/>
                <a:gd name="T9" fmla="*/ 0 h 95"/>
                <a:gd name="T10" fmla="*/ 0 w 14"/>
                <a:gd name="T11" fmla="*/ 49212 h 95"/>
                <a:gd name="T12" fmla="*/ 22225 w 14"/>
                <a:gd name="T13" fmla="*/ 49212 h 95"/>
                <a:gd name="T14" fmla="*/ 22225 w 14"/>
                <a:gd name="T15" fmla="*/ 150812 h 95"/>
                <a:gd name="T16" fmla="*/ 0 w 14"/>
                <a:gd name="T17" fmla="*/ 150812 h 95"/>
                <a:gd name="T18" fmla="*/ 0 w 14"/>
                <a:gd name="T19" fmla="*/ 49212 h 9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4" h="95">
                  <a:moveTo>
                    <a:pt x="0" y="0"/>
                  </a:moveTo>
                  <a:lnTo>
                    <a:pt x="14" y="0"/>
                  </a:lnTo>
                  <a:lnTo>
                    <a:pt x="14" y="17"/>
                  </a:lnTo>
                  <a:lnTo>
                    <a:pt x="0" y="17"/>
                  </a:lnTo>
                  <a:lnTo>
                    <a:pt x="0" y="0"/>
                  </a:lnTo>
                  <a:close/>
                  <a:moveTo>
                    <a:pt x="0" y="31"/>
                  </a:moveTo>
                  <a:lnTo>
                    <a:pt x="14" y="31"/>
                  </a:lnTo>
                  <a:lnTo>
                    <a:pt x="14" y="95"/>
                  </a:lnTo>
                  <a:lnTo>
                    <a:pt x="0" y="95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27" name="Freeform 23"/>
            <p:cNvSpPr>
              <a:spLocks/>
            </p:cNvSpPr>
            <p:nvPr userDrawn="1"/>
          </p:nvSpPr>
          <p:spPr bwMode="gray">
            <a:xfrm>
              <a:off x="10596527" y="3670293"/>
              <a:ext cx="90487" cy="101600"/>
            </a:xfrm>
            <a:custGeom>
              <a:avLst/>
              <a:gdLst>
                <a:gd name="T0" fmla="*/ 22622 w 24"/>
                <a:gd name="T1" fmla="*/ 15052 h 27"/>
                <a:gd name="T2" fmla="*/ 22622 w 24"/>
                <a:gd name="T3" fmla="*/ 15052 h 27"/>
                <a:gd name="T4" fmla="*/ 30162 w 24"/>
                <a:gd name="T5" fmla="*/ 7526 h 27"/>
                <a:gd name="T6" fmla="*/ 37703 w 24"/>
                <a:gd name="T7" fmla="*/ 3763 h 27"/>
                <a:gd name="T8" fmla="*/ 45244 w 24"/>
                <a:gd name="T9" fmla="*/ 0 h 27"/>
                <a:gd name="T10" fmla="*/ 56554 w 24"/>
                <a:gd name="T11" fmla="*/ 0 h 27"/>
                <a:gd name="T12" fmla="*/ 67865 w 24"/>
                <a:gd name="T13" fmla="*/ 0 h 27"/>
                <a:gd name="T14" fmla="*/ 75406 w 24"/>
                <a:gd name="T15" fmla="*/ 3763 h 27"/>
                <a:gd name="T16" fmla="*/ 82946 w 24"/>
                <a:gd name="T17" fmla="*/ 11289 h 27"/>
                <a:gd name="T18" fmla="*/ 90487 w 24"/>
                <a:gd name="T19" fmla="*/ 22578 h 27"/>
                <a:gd name="T20" fmla="*/ 90487 w 24"/>
                <a:gd name="T21" fmla="*/ 26341 h 27"/>
                <a:gd name="T22" fmla="*/ 90487 w 24"/>
                <a:gd name="T23" fmla="*/ 37630 h 27"/>
                <a:gd name="T24" fmla="*/ 90487 w 24"/>
                <a:gd name="T25" fmla="*/ 101600 h 27"/>
                <a:gd name="T26" fmla="*/ 67865 w 24"/>
                <a:gd name="T27" fmla="*/ 101600 h 27"/>
                <a:gd name="T28" fmla="*/ 67865 w 24"/>
                <a:gd name="T29" fmla="*/ 41393 h 27"/>
                <a:gd name="T30" fmla="*/ 67865 w 24"/>
                <a:gd name="T31" fmla="*/ 33867 h 27"/>
                <a:gd name="T32" fmla="*/ 64095 w 24"/>
                <a:gd name="T33" fmla="*/ 30104 h 27"/>
                <a:gd name="T34" fmla="*/ 60325 w 24"/>
                <a:gd name="T35" fmla="*/ 22578 h 27"/>
                <a:gd name="T36" fmla="*/ 52784 w 24"/>
                <a:gd name="T37" fmla="*/ 18815 h 27"/>
                <a:gd name="T38" fmla="*/ 37703 w 24"/>
                <a:gd name="T39" fmla="*/ 22578 h 27"/>
                <a:gd name="T40" fmla="*/ 26392 w 24"/>
                <a:gd name="T41" fmla="*/ 33867 h 27"/>
                <a:gd name="T42" fmla="*/ 26392 w 24"/>
                <a:gd name="T43" fmla="*/ 101600 h 27"/>
                <a:gd name="T44" fmla="*/ 0 w 24"/>
                <a:gd name="T45" fmla="*/ 101600 h 27"/>
                <a:gd name="T46" fmla="*/ 0 w 24"/>
                <a:gd name="T47" fmla="*/ 0 h 27"/>
                <a:gd name="T48" fmla="*/ 22622 w 24"/>
                <a:gd name="T49" fmla="*/ 0 h 27"/>
                <a:gd name="T50" fmla="*/ 22622 w 24"/>
                <a:gd name="T51" fmla="*/ 15052 h 27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24" h="27">
                  <a:moveTo>
                    <a:pt x="6" y="4"/>
                  </a:moveTo>
                  <a:cubicBezTo>
                    <a:pt x="6" y="4"/>
                    <a:pt x="6" y="4"/>
                    <a:pt x="6" y="4"/>
                  </a:cubicBezTo>
                  <a:cubicBezTo>
                    <a:pt x="7" y="4"/>
                    <a:pt x="7" y="3"/>
                    <a:pt x="8" y="2"/>
                  </a:cubicBezTo>
                  <a:cubicBezTo>
                    <a:pt x="8" y="2"/>
                    <a:pt x="9" y="1"/>
                    <a:pt x="10" y="1"/>
                  </a:cubicBezTo>
                  <a:cubicBezTo>
                    <a:pt x="11" y="1"/>
                    <a:pt x="11" y="0"/>
                    <a:pt x="12" y="0"/>
                  </a:cubicBezTo>
                  <a:cubicBezTo>
                    <a:pt x="13" y="0"/>
                    <a:pt x="14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1"/>
                    <a:pt x="20" y="1"/>
                  </a:cubicBezTo>
                  <a:cubicBezTo>
                    <a:pt x="21" y="2"/>
                    <a:pt x="22" y="2"/>
                    <a:pt x="22" y="3"/>
                  </a:cubicBezTo>
                  <a:cubicBezTo>
                    <a:pt x="23" y="4"/>
                    <a:pt x="23" y="5"/>
                    <a:pt x="24" y="6"/>
                  </a:cubicBezTo>
                  <a:cubicBezTo>
                    <a:pt x="24" y="6"/>
                    <a:pt x="24" y="7"/>
                    <a:pt x="24" y="7"/>
                  </a:cubicBezTo>
                  <a:cubicBezTo>
                    <a:pt x="24" y="8"/>
                    <a:pt x="24" y="9"/>
                    <a:pt x="24" y="10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18" y="10"/>
                    <a:pt x="18" y="10"/>
                    <a:pt x="18" y="9"/>
                  </a:cubicBezTo>
                  <a:cubicBezTo>
                    <a:pt x="18" y="8"/>
                    <a:pt x="18" y="8"/>
                    <a:pt x="17" y="8"/>
                  </a:cubicBezTo>
                  <a:cubicBezTo>
                    <a:pt x="17" y="7"/>
                    <a:pt x="17" y="6"/>
                    <a:pt x="16" y="6"/>
                  </a:cubicBezTo>
                  <a:cubicBezTo>
                    <a:pt x="15" y="5"/>
                    <a:pt x="14" y="5"/>
                    <a:pt x="14" y="5"/>
                  </a:cubicBezTo>
                  <a:cubicBezTo>
                    <a:pt x="12" y="5"/>
                    <a:pt x="11" y="6"/>
                    <a:pt x="10" y="6"/>
                  </a:cubicBezTo>
                  <a:cubicBezTo>
                    <a:pt x="9" y="7"/>
                    <a:pt x="8" y="8"/>
                    <a:pt x="7" y="9"/>
                  </a:cubicBezTo>
                  <a:cubicBezTo>
                    <a:pt x="7" y="27"/>
                    <a:pt x="7" y="27"/>
                    <a:pt x="7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" y="0"/>
                    <a:pt x="6" y="0"/>
                    <a:pt x="6" y="0"/>
                  </a:cubicBezTo>
                  <a:lnTo>
                    <a:pt x="6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28" name="Freeform 24"/>
            <p:cNvSpPr>
              <a:spLocks noEditPoints="1"/>
            </p:cNvSpPr>
            <p:nvPr userDrawn="1"/>
          </p:nvSpPr>
          <p:spPr bwMode="gray">
            <a:xfrm>
              <a:off x="10709241" y="3670293"/>
              <a:ext cx="90487" cy="101600"/>
            </a:xfrm>
            <a:custGeom>
              <a:avLst/>
              <a:gdLst>
                <a:gd name="T0" fmla="*/ 56554 w 24"/>
                <a:gd name="T1" fmla="*/ 82785 h 27"/>
                <a:gd name="T2" fmla="*/ 71636 w 24"/>
                <a:gd name="T3" fmla="*/ 82785 h 27"/>
                <a:gd name="T4" fmla="*/ 86717 w 24"/>
                <a:gd name="T5" fmla="*/ 79022 h 27"/>
                <a:gd name="T6" fmla="*/ 86717 w 24"/>
                <a:gd name="T7" fmla="*/ 97837 h 27"/>
                <a:gd name="T8" fmla="*/ 71636 w 24"/>
                <a:gd name="T9" fmla="*/ 101600 h 27"/>
                <a:gd name="T10" fmla="*/ 49014 w 24"/>
                <a:gd name="T11" fmla="*/ 101600 h 27"/>
                <a:gd name="T12" fmla="*/ 30162 w 24"/>
                <a:gd name="T13" fmla="*/ 101600 h 27"/>
                <a:gd name="T14" fmla="*/ 3770 w 24"/>
                <a:gd name="T15" fmla="*/ 75259 h 27"/>
                <a:gd name="T16" fmla="*/ 0 w 24"/>
                <a:gd name="T17" fmla="*/ 52681 h 27"/>
                <a:gd name="T18" fmla="*/ 3770 w 24"/>
                <a:gd name="T19" fmla="*/ 30104 h 27"/>
                <a:gd name="T20" fmla="*/ 15081 w 24"/>
                <a:gd name="T21" fmla="*/ 11289 h 27"/>
                <a:gd name="T22" fmla="*/ 30162 w 24"/>
                <a:gd name="T23" fmla="*/ 3763 h 27"/>
                <a:gd name="T24" fmla="*/ 45244 w 24"/>
                <a:gd name="T25" fmla="*/ 0 h 27"/>
                <a:gd name="T26" fmla="*/ 64095 w 24"/>
                <a:gd name="T27" fmla="*/ 0 h 27"/>
                <a:gd name="T28" fmla="*/ 79176 w 24"/>
                <a:gd name="T29" fmla="*/ 11289 h 27"/>
                <a:gd name="T30" fmla="*/ 86717 w 24"/>
                <a:gd name="T31" fmla="*/ 26341 h 27"/>
                <a:gd name="T32" fmla="*/ 90487 w 24"/>
                <a:gd name="T33" fmla="*/ 48919 h 27"/>
                <a:gd name="T34" fmla="*/ 90487 w 24"/>
                <a:gd name="T35" fmla="*/ 56444 h 27"/>
                <a:gd name="T36" fmla="*/ 22622 w 24"/>
                <a:gd name="T37" fmla="*/ 56444 h 27"/>
                <a:gd name="T38" fmla="*/ 26392 w 24"/>
                <a:gd name="T39" fmla="*/ 67733 h 27"/>
                <a:gd name="T40" fmla="*/ 33933 w 24"/>
                <a:gd name="T41" fmla="*/ 75259 h 27"/>
                <a:gd name="T42" fmla="*/ 45244 w 24"/>
                <a:gd name="T43" fmla="*/ 82785 h 27"/>
                <a:gd name="T44" fmla="*/ 56554 w 24"/>
                <a:gd name="T45" fmla="*/ 82785 h 27"/>
                <a:gd name="T46" fmla="*/ 45244 w 24"/>
                <a:gd name="T47" fmla="*/ 18815 h 27"/>
                <a:gd name="T48" fmla="*/ 37703 w 24"/>
                <a:gd name="T49" fmla="*/ 18815 h 27"/>
                <a:gd name="T50" fmla="*/ 30162 w 24"/>
                <a:gd name="T51" fmla="*/ 22578 h 27"/>
                <a:gd name="T52" fmla="*/ 26392 w 24"/>
                <a:gd name="T53" fmla="*/ 30104 h 27"/>
                <a:gd name="T54" fmla="*/ 26392 w 24"/>
                <a:gd name="T55" fmla="*/ 37630 h 27"/>
                <a:gd name="T56" fmla="*/ 64095 w 24"/>
                <a:gd name="T57" fmla="*/ 37630 h 27"/>
                <a:gd name="T58" fmla="*/ 64095 w 24"/>
                <a:gd name="T59" fmla="*/ 30104 h 27"/>
                <a:gd name="T60" fmla="*/ 60325 w 24"/>
                <a:gd name="T61" fmla="*/ 22578 h 27"/>
                <a:gd name="T62" fmla="*/ 45244 w 24"/>
                <a:gd name="T63" fmla="*/ 18815 h 27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4" h="27">
                  <a:moveTo>
                    <a:pt x="15" y="22"/>
                  </a:moveTo>
                  <a:cubicBezTo>
                    <a:pt x="16" y="22"/>
                    <a:pt x="17" y="22"/>
                    <a:pt x="19" y="22"/>
                  </a:cubicBezTo>
                  <a:cubicBezTo>
                    <a:pt x="20" y="21"/>
                    <a:pt x="21" y="21"/>
                    <a:pt x="23" y="21"/>
                  </a:cubicBezTo>
                  <a:cubicBezTo>
                    <a:pt x="23" y="26"/>
                    <a:pt x="23" y="26"/>
                    <a:pt x="23" y="26"/>
                  </a:cubicBezTo>
                  <a:cubicBezTo>
                    <a:pt x="21" y="26"/>
                    <a:pt x="20" y="27"/>
                    <a:pt x="19" y="27"/>
                  </a:cubicBezTo>
                  <a:cubicBezTo>
                    <a:pt x="17" y="27"/>
                    <a:pt x="15" y="27"/>
                    <a:pt x="13" y="27"/>
                  </a:cubicBezTo>
                  <a:cubicBezTo>
                    <a:pt x="12" y="27"/>
                    <a:pt x="10" y="27"/>
                    <a:pt x="8" y="27"/>
                  </a:cubicBezTo>
                  <a:cubicBezTo>
                    <a:pt x="5" y="26"/>
                    <a:pt x="2" y="23"/>
                    <a:pt x="1" y="20"/>
                  </a:cubicBezTo>
                  <a:cubicBezTo>
                    <a:pt x="0" y="18"/>
                    <a:pt x="0" y="16"/>
                    <a:pt x="0" y="14"/>
                  </a:cubicBezTo>
                  <a:cubicBezTo>
                    <a:pt x="0" y="12"/>
                    <a:pt x="0" y="10"/>
                    <a:pt x="1" y="8"/>
                  </a:cubicBezTo>
                  <a:cubicBezTo>
                    <a:pt x="2" y="6"/>
                    <a:pt x="2" y="4"/>
                    <a:pt x="4" y="3"/>
                  </a:cubicBezTo>
                  <a:cubicBezTo>
                    <a:pt x="5" y="2"/>
                    <a:pt x="6" y="1"/>
                    <a:pt x="8" y="1"/>
                  </a:cubicBezTo>
                  <a:cubicBezTo>
                    <a:pt x="9" y="0"/>
                    <a:pt x="11" y="0"/>
                    <a:pt x="12" y="0"/>
                  </a:cubicBezTo>
                  <a:cubicBezTo>
                    <a:pt x="14" y="0"/>
                    <a:pt x="15" y="0"/>
                    <a:pt x="17" y="0"/>
                  </a:cubicBezTo>
                  <a:cubicBezTo>
                    <a:pt x="18" y="1"/>
                    <a:pt x="20" y="2"/>
                    <a:pt x="21" y="3"/>
                  </a:cubicBezTo>
                  <a:cubicBezTo>
                    <a:pt x="22" y="4"/>
                    <a:pt x="22" y="5"/>
                    <a:pt x="23" y="7"/>
                  </a:cubicBezTo>
                  <a:cubicBezTo>
                    <a:pt x="24" y="9"/>
                    <a:pt x="24" y="11"/>
                    <a:pt x="24" y="13"/>
                  </a:cubicBezTo>
                  <a:cubicBezTo>
                    <a:pt x="24" y="14"/>
                    <a:pt x="24" y="15"/>
                    <a:pt x="24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6"/>
                    <a:pt x="7" y="17"/>
                    <a:pt x="7" y="18"/>
                  </a:cubicBezTo>
                  <a:cubicBezTo>
                    <a:pt x="8" y="19"/>
                    <a:pt x="8" y="20"/>
                    <a:pt x="9" y="20"/>
                  </a:cubicBezTo>
                  <a:cubicBezTo>
                    <a:pt x="10" y="21"/>
                    <a:pt x="11" y="21"/>
                    <a:pt x="12" y="22"/>
                  </a:cubicBezTo>
                  <a:cubicBezTo>
                    <a:pt x="13" y="22"/>
                    <a:pt x="14" y="22"/>
                    <a:pt x="15" y="22"/>
                  </a:cubicBezTo>
                  <a:close/>
                  <a:moveTo>
                    <a:pt x="12" y="5"/>
                  </a:moveTo>
                  <a:cubicBezTo>
                    <a:pt x="11" y="5"/>
                    <a:pt x="11" y="5"/>
                    <a:pt x="10" y="5"/>
                  </a:cubicBezTo>
                  <a:cubicBezTo>
                    <a:pt x="9" y="5"/>
                    <a:pt x="9" y="6"/>
                    <a:pt x="8" y="6"/>
                  </a:cubicBezTo>
                  <a:cubicBezTo>
                    <a:pt x="8" y="7"/>
                    <a:pt x="8" y="7"/>
                    <a:pt x="7" y="8"/>
                  </a:cubicBezTo>
                  <a:cubicBezTo>
                    <a:pt x="7" y="9"/>
                    <a:pt x="7" y="10"/>
                    <a:pt x="7" y="1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7" y="10"/>
                    <a:pt x="17" y="9"/>
                    <a:pt x="17" y="8"/>
                  </a:cubicBezTo>
                  <a:cubicBezTo>
                    <a:pt x="17" y="7"/>
                    <a:pt x="16" y="7"/>
                    <a:pt x="16" y="6"/>
                  </a:cubicBezTo>
                  <a:cubicBezTo>
                    <a:pt x="15" y="5"/>
                    <a:pt x="14" y="5"/>
                    <a:pt x="12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29" name="Freeform 25"/>
            <p:cNvSpPr>
              <a:spLocks noEditPoints="1"/>
            </p:cNvSpPr>
            <p:nvPr userDrawn="1"/>
          </p:nvSpPr>
          <p:spPr bwMode="gray">
            <a:xfrm>
              <a:off x="10814012" y="3670293"/>
              <a:ext cx="90487" cy="101600"/>
            </a:xfrm>
            <a:custGeom>
              <a:avLst/>
              <a:gdLst>
                <a:gd name="T0" fmla="*/ 56554 w 24"/>
                <a:gd name="T1" fmla="*/ 82785 h 27"/>
                <a:gd name="T2" fmla="*/ 71636 w 24"/>
                <a:gd name="T3" fmla="*/ 82785 h 27"/>
                <a:gd name="T4" fmla="*/ 86717 w 24"/>
                <a:gd name="T5" fmla="*/ 79022 h 27"/>
                <a:gd name="T6" fmla="*/ 86717 w 24"/>
                <a:gd name="T7" fmla="*/ 97837 h 27"/>
                <a:gd name="T8" fmla="*/ 71636 w 24"/>
                <a:gd name="T9" fmla="*/ 101600 h 27"/>
                <a:gd name="T10" fmla="*/ 52784 w 24"/>
                <a:gd name="T11" fmla="*/ 101600 h 27"/>
                <a:gd name="T12" fmla="*/ 33933 w 24"/>
                <a:gd name="T13" fmla="*/ 101600 h 27"/>
                <a:gd name="T14" fmla="*/ 15081 w 24"/>
                <a:gd name="T15" fmla="*/ 90311 h 27"/>
                <a:gd name="T16" fmla="*/ 3770 w 24"/>
                <a:gd name="T17" fmla="*/ 75259 h 27"/>
                <a:gd name="T18" fmla="*/ 0 w 24"/>
                <a:gd name="T19" fmla="*/ 52681 h 27"/>
                <a:gd name="T20" fmla="*/ 3770 w 24"/>
                <a:gd name="T21" fmla="*/ 30104 h 27"/>
                <a:gd name="T22" fmla="*/ 15081 w 24"/>
                <a:gd name="T23" fmla="*/ 11289 h 27"/>
                <a:gd name="T24" fmla="*/ 30162 w 24"/>
                <a:gd name="T25" fmla="*/ 3763 h 27"/>
                <a:gd name="T26" fmla="*/ 49014 w 24"/>
                <a:gd name="T27" fmla="*/ 0 h 27"/>
                <a:gd name="T28" fmla="*/ 64095 w 24"/>
                <a:gd name="T29" fmla="*/ 3763 h 27"/>
                <a:gd name="T30" fmla="*/ 79176 w 24"/>
                <a:gd name="T31" fmla="*/ 11289 h 27"/>
                <a:gd name="T32" fmla="*/ 86717 w 24"/>
                <a:gd name="T33" fmla="*/ 26341 h 27"/>
                <a:gd name="T34" fmla="*/ 90487 w 24"/>
                <a:gd name="T35" fmla="*/ 48919 h 27"/>
                <a:gd name="T36" fmla="*/ 90487 w 24"/>
                <a:gd name="T37" fmla="*/ 56444 h 27"/>
                <a:gd name="T38" fmla="*/ 26392 w 24"/>
                <a:gd name="T39" fmla="*/ 56444 h 27"/>
                <a:gd name="T40" fmla="*/ 30162 w 24"/>
                <a:gd name="T41" fmla="*/ 67733 h 27"/>
                <a:gd name="T42" fmla="*/ 33933 w 24"/>
                <a:gd name="T43" fmla="*/ 79022 h 27"/>
                <a:gd name="T44" fmla="*/ 45244 w 24"/>
                <a:gd name="T45" fmla="*/ 82785 h 27"/>
                <a:gd name="T46" fmla="*/ 56554 w 24"/>
                <a:gd name="T47" fmla="*/ 82785 h 27"/>
                <a:gd name="T48" fmla="*/ 49014 w 24"/>
                <a:gd name="T49" fmla="*/ 18815 h 27"/>
                <a:gd name="T50" fmla="*/ 41473 w 24"/>
                <a:gd name="T51" fmla="*/ 18815 h 27"/>
                <a:gd name="T52" fmla="*/ 33933 w 24"/>
                <a:gd name="T53" fmla="*/ 22578 h 27"/>
                <a:gd name="T54" fmla="*/ 30162 w 24"/>
                <a:gd name="T55" fmla="*/ 30104 h 27"/>
                <a:gd name="T56" fmla="*/ 26392 w 24"/>
                <a:gd name="T57" fmla="*/ 37630 h 27"/>
                <a:gd name="T58" fmla="*/ 67865 w 24"/>
                <a:gd name="T59" fmla="*/ 37630 h 27"/>
                <a:gd name="T60" fmla="*/ 64095 w 24"/>
                <a:gd name="T61" fmla="*/ 30104 h 27"/>
                <a:gd name="T62" fmla="*/ 60325 w 24"/>
                <a:gd name="T63" fmla="*/ 22578 h 27"/>
                <a:gd name="T64" fmla="*/ 49014 w 24"/>
                <a:gd name="T65" fmla="*/ 18815 h 2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4" h="27">
                  <a:moveTo>
                    <a:pt x="15" y="22"/>
                  </a:moveTo>
                  <a:cubicBezTo>
                    <a:pt x="17" y="22"/>
                    <a:pt x="18" y="22"/>
                    <a:pt x="19" y="22"/>
                  </a:cubicBezTo>
                  <a:cubicBezTo>
                    <a:pt x="21" y="21"/>
                    <a:pt x="22" y="21"/>
                    <a:pt x="23" y="21"/>
                  </a:cubicBezTo>
                  <a:cubicBezTo>
                    <a:pt x="23" y="26"/>
                    <a:pt x="23" y="26"/>
                    <a:pt x="23" y="26"/>
                  </a:cubicBezTo>
                  <a:cubicBezTo>
                    <a:pt x="22" y="26"/>
                    <a:pt x="21" y="27"/>
                    <a:pt x="19" y="27"/>
                  </a:cubicBezTo>
                  <a:cubicBezTo>
                    <a:pt x="18" y="27"/>
                    <a:pt x="16" y="27"/>
                    <a:pt x="14" y="27"/>
                  </a:cubicBezTo>
                  <a:cubicBezTo>
                    <a:pt x="12" y="27"/>
                    <a:pt x="10" y="27"/>
                    <a:pt x="9" y="27"/>
                  </a:cubicBezTo>
                  <a:cubicBezTo>
                    <a:pt x="7" y="26"/>
                    <a:pt x="6" y="25"/>
                    <a:pt x="4" y="24"/>
                  </a:cubicBezTo>
                  <a:cubicBezTo>
                    <a:pt x="3" y="23"/>
                    <a:pt x="2" y="22"/>
                    <a:pt x="1" y="20"/>
                  </a:cubicBezTo>
                  <a:cubicBezTo>
                    <a:pt x="0" y="18"/>
                    <a:pt x="0" y="16"/>
                    <a:pt x="0" y="14"/>
                  </a:cubicBezTo>
                  <a:cubicBezTo>
                    <a:pt x="0" y="12"/>
                    <a:pt x="0" y="10"/>
                    <a:pt x="1" y="8"/>
                  </a:cubicBezTo>
                  <a:cubicBezTo>
                    <a:pt x="2" y="6"/>
                    <a:pt x="3" y="5"/>
                    <a:pt x="4" y="3"/>
                  </a:cubicBezTo>
                  <a:cubicBezTo>
                    <a:pt x="5" y="2"/>
                    <a:pt x="6" y="1"/>
                    <a:pt x="8" y="1"/>
                  </a:cubicBezTo>
                  <a:cubicBezTo>
                    <a:pt x="9" y="0"/>
                    <a:pt x="11" y="0"/>
                    <a:pt x="13" y="0"/>
                  </a:cubicBezTo>
                  <a:cubicBezTo>
                    <a:pt x="14" y="0"/>
                    <a:pt x="16" y="0"/>
                    <a:pt x="17" y="1"/>
                  </a:cubicBezTo>
                  <a:cubicBezTo>
                    <a:pt x="19" y="1"/>
                    <a:pt x="20" y="2"/>
                    <a:pt x="21" y="3"/>
                  </a:cubicBezTo>
                  <a:cubicBezTo>
                    <a:pt x="22" y="4"/>
                    <a:pt x="23" y="5"/>
                    <a:pt x="23" y="7"/>
                  </a:cubicBezTo>
                  <a:cubicBezTo>
                    <a:pt x="24" y="9"/>
                    <a:pt x="24" y="11"/>
                    <a:pt x="24" y="13"/>
                  </a:cubicBezTo>
                  <a:cubicBezTo>
                    <a:pt x="24" y="14"/>
                    <a:pt x="24" y="15"/>
                    <a:pt x="24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6"/>
                    <a:pt x="7" y="17"/>
                    <a:pt x="8" y="18"/>
                  </a:cubicBezTo>
                  <a:cubicBezTo>
                    <a:pt x="8" y="19"/>
                    <a:pt x="9" y="20"/>
                    <a:pt x="9" y="21"/>
                  </a:cubicBezTo>
                  <a:cubicBezTo>
                    <a:pt x="10" y="21"/>
                    <a:pt x="11" y="21"/>
                    <a:pt x="12" y="22"/>
                  </a:cubicBezTo>
                  <a:cubicBezTo>
                    <a:pt x="13" y="22"/>
                    <a:pt x="14" y="22"/>
                    <a:pt x="15" y="22"/>
                  </a:cubicBezTo>
                  <a:close/>
                  <a:moveTo>
                    <a:pt x="13" y="5"/>
                  </a:moveTo>
                  <a:cubicBezTo>
                    <a:pt x="12" y="5"/>
                    <a:pt x="11" y="5"/>
                    <a:pt x="11" y="5"/>
                  </a:cubicBezTo>
                  <a:cubicBezTo>
                    <a:pt x="10" y="5"/>
                    <a:pt x="9" y="6"/>
                    <a:pt x="9" y="6"/>
                  </a:cubicBezTo>
                  <a:cubicBezTo>
                    <a:pt x="8" y="7"/>
                    <a:pt x="8" y="7"/>
                    <a:pt x="8" y="8"/>
                  </a:cubicBezTo>
                  <a:cubicBezTo>
                    <a:pt x="8" y="9"/>
                    <a:pt x="7" y="10"/>
                    <a:pt x="7" y="1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8" y="10"/>
                    <a:pt x="17" y="9"/>
                    <a:pt x="17" y="8"/>
                  </a:cubicBezTo>
                  <a:cubicBezTo>
                    <a:pt x="17" y="7"/>
                    <a:pt x="17" y="7"/>
                    <a:pt x="16" y="6"/>
                  </a:cubicBezTo>
                  <a:cubicBezTo>
                    <a:pt x="15" y="5"/>
                    <a:pt x="14" y="5"/>
                    <a:pt x="13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30" name="Freeform 26"/>
            <p:cNvSpPr>
              <a:spLocks/>
            </p:cNvSpPr>
            <p:nvPr userDrawn="1"/>
          </p:nvSpPr>
          <p:spPr bwMode="gray">
            <a:xfrm>
              <a:off x="10926727" y="3670293"/>
              <a:ext cx="60325" cy="101600"/>
            </a:xfrm>
            <a:custGeom>
              <a:avLst/>
              <a:gdLst>
                <a:gd name="T0" fmla="*/ 60325 w 16"/>
                <a:gd name="T1" fmla="*/ 18815 h 27"/>
                <a:gd name="T2" fmla="*/ 56555 w 16"/>
                <a:gd name="T3" fmla="*/ 18815 h 27"/>
                <a:gd name="T4" fmla="*/ 37703 w 16"/>
                <a:gd name="T5" fmla="*/ 22578 h 27"/>
                <a:gd name="T6" fmla="*/ 26392 w 16"/>
                <a:gd name="T7" fmla="*/ 33867 h 27"/>
                <a:gd name="T8" fmla="*/ 26392 w 16"/>
                <a:gd name="T9" fmla="*/ 101600 h 27"/>
                <a:gd name="T10" fmla="*/ 0 w 16"/>
                <a:gd name="T11" fmla="*/ 101600 h 27"/>
                <a:gd name="T12" fmla="*/ 0 w 16"/>
                <a:gd name="T13" fmla="*/ 0 h 27"/>
                <a:gd name="T14" fmla="*/ 22622 w 16"/>
                <a:gd name="T15" fmla="*/ 0 h 27"/>
                <a:gd name="T16" fmla="*/ 22622 w 16"/>
                <a:gd name="T17" fmla="*/ 15052 h 27"/>
                <a:gd name="T18" fmla="*/ 22622 w 16"/>
                <a:gd name="T19" fmla="*/ 15052 h 27"/>
                <a:gd name="T20" fmla="*/ 33933 w 16"/>
                <a:gd name="T21" fmla="*/ 3763 h 27"/>
                <a:gd name="T22" fmla="*/ 52784 w 16"/>
                <a:gd name="T23" fmla="*/ 0 h 27"/>
                <a:gd name="T24" fmla="*/ 60325 w 16"/>
                <a:gd name="T25" fmla="*/ 0 h 27"/>
                <a:gd name="T26" fmla="*/ 60325 w 16"/>
                <a:gd name="T27" fmla="*/ 18815 h 2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6" h="27">
                  <a:moveTo>
                    <a:pt x="16" y="5"/>
                  </a:moveTo>
                  <a:cubicBezTo>
                    <a:pt x="15" y="5"/>
                    <a:pt x="15" y="5"/>
                    <a:pt x="15" y="5"/>
                  </a:cubicBezTo>
                  <a:cubicBezTo>
                    <a:pt x="14" y="5"/>
                    <a:pt x="12" y="6"/>
                    <a:pt x="10" y="6"/>
                  </a:cubicBezTo>
                  <a:cubicBezTo>
                    <a:pt x="9" y="7"/>
                    <a:pt x="8" y="8"/>
                    <a:pt x="7" y="9"/>
                  </a:cubicBezTo>
                  <a:cubicBezTo>
                    <a:pt x="7" y="27"/>
                    <a:pt x="7" y="27"/>
                    <a:pt x="7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7" y="3"/>
                    <a:pt x="8" y="2"/>
                    <a:pt x="9" y="1"/>
                  </a:cubicBezTo>
                  <a:cubicBezTo>
                    <a:pt x="11" y="0"/>
                    <a:pt x="12" y="0"/>
                    <a:pt x="14" y="0"/>
                  </a:cubicBezTo>
                  <a:cubicBezTo>
                    <a:pt x="15" y="0"/>
                    <a:pt x="15" y="0"/>
                    <a:pt x="16" y="0"/>
                  </a:cubicBezTo>
                  <a:lnTo>
                    <a:pt x="16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31" name="Freeform 27"/>
            <p:cNvSpPr>
              <a:spLocks/>
            </p:cNvSpPr>
            <p:nvPr userDrawn="1"/>
          </p:nvSpPr>
          <p:spPr bwMode="gray">
            <a:xfrm>
              <a:off x="11009280" y="3632194"/>
              <a:ext cx="41275" cy="57150"/>
            </a:xfrm>
            <a:custGeom>
              <a:avLst/>
              <a:gdLst>
                <a:gd name="T0" fmla="*/ 15875 w 26"/>
                <a:gd name="T1" fmla="*/ 0 h 36"/>
                <a:gd name="T2" fmla="*/ 41275 w 26"/>
                <a:gd name="T3" fmla="*/ 0 h 36"/>
                <a:gd name="T4" fmla="*/ 19050 w 26"/>
                <a:gd name="T5" fmla="*/ 57150 h 36"/>
                <a:gd name="T6" fmla="*/ 0 w 26"/>
                <a:gd name="T7" fmla="*/ 57150 h 36"/>
                <a:gd name="T8" fmla="*/ 15875 w 26"/>
                <a:gd name="T9" fmla="*/ 0 h 3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6" h="36">
                  <a:moveTo>
                    <a:pt x="10" y="0"/>
                  </a:moveTo>
                  <a:lnTo>
                    <a:pt x="26" y="0"/>
                  </a:lnTo>
                  <a:lnTo>
                    <a:pt x="12" y="36"/>
                  </a:lnTo>
                  <a:lnTo>
                    <a:pt x="0" y="36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32" name="Freeform 28"/>
            <p:cNvSpPr>
              <a:spLocks/>
            </p:cNvSpPr>
            <p:nvPr userDrawn="1"/>
          </p:nvSpPr>
          <p:spPr bwMode="gray">
            <a:xfrm>
              <a:off x="11055319" y="3667119"/>
              <a:ext cx="74613" cy="104775"/>
            </a:xfrm>
            <a:custGeom>
              <a:avLst/>
              <a:gdLst>
                <a:gd name="T0" fmla="*/ 48498 w 20"/>
                <a:gd name="T1" fmla="*/ 74839 h 28"/>
                <a:gd name="T2" fmla="*/ 48498 w 20"/>
                <a:gd name="T3" fmla="*/ 71097 h 28"/>
                <a:gd name="T4" fmla="*/ 41037 w 20"/>
                <a:gd name="T5" fmla="*/ 67355 h 28"/>
                <a:gd name="T6" fmla="*/ 33576 w 20"/>
                <a:gd name="T7" fmla="*/ 63613 h 28"/>
                <a:gd name="T8" fmla="*/ 26115 w 20"/>
                <a:gd name="T9" fmla="*/ 59871 h 28"/>
                <a:gd name="T10" fmla="*/ 18653 w 20"/>
                <a:gd name="T11" fmla="*/ 59871 h 28"/>
                <a:gd name="T12" fmla="*/ 7461 w 20"/>
                <a:gd name="T13" fmla="*/ 52388 h 28"/>
                <a:gd name="T14" fmla="*/ 3731 w 20"/>
                <a:gd name="T15" fmla="*/ 44904 h 28"/>
                <a:gd name="T16" fmla="*/ 0 w 20"/>
                <a:gd name="T17" fmla="*/ 33678 h 28"/>
                <a:gd name="T18" fmla="*/ 3731 w 20"/>
                <a:gd name="T19" fmla="*/ 18710 h 28"/>
                <a:gd name="T20" fmla="*/ 11192 w 20"/>
                <a:gd name="T21" fmla="*/ 11226 h 28"/>
                <a:gd name="T22" fmla="*/ 22384 w 20"/>
                <a:gd name="T23" fmla="*/ 3742 h 28"/>
                <a:gd name="T24" fmla="*/ 37307 w 20"/>
                <a:gd name="T25" fmla="*/ 0 h 28"/>
                <a:gd name="T26" fmla="*/ 55960 w 20"/>
                <a:gd name="T27" fmla="*/ 3742 h 28"/>
                <a:gd name="T28" fmla="*/ 70882 w 20"/>
                <a:gd name="T29" fmla="*/ 7484 h 28"/>
                <a:gd name="T30" fmla="*/ 70882 w 20"/>
                <a:gd name="T31" fmla="*/ 26194 h 28"/>
                <a:gd name="T32" fmla="*/ 63421 w 20"/>
                <a:gd name="T33" fmla="*/ 26194 h 28"/>
                <a:gd name="T34" fmla="*/ 55960 w 20"/>
                <a:gd name="T35" fmla="*/ 22452 h 28"/>
                <a:gd name="T36" fmla="*/ 48498 w 20"/>
                <a:gd name="T37" fmla="*/ 22452 h 28"/>
                <a:gd name="T38" fmla="*/ 41037 w 20"/>
                <a:gd name="T39" fmla="*/ 22452 h 28"/>
                <a:gd name="T40" fmla="*/ 33576 w 20"/>
                <a:gd name="T41" fmla="*/ 22452 h 28"/>
                <a:gd name="T42" fmla="*/ 29845 w 20"/>
                <a:gd name="T43" fmla="*/ 26194 h 28"/>
                <a:gd name="T44" fmla="*/ 26115 w 20"/>
                <a:gd name="T45" fmla="*/ 26194 h 28"/>
                <a:gd name="T46" fmla="*/ 26115 w 20"/>
                <a:gd name="T47" fmla="*/ 29936 h 28"/>
                <a:gd name="T48" fmla="*/ 26115 w 20"/>
                <a:gd name="T49" fmla="*/ 37420 h 28"/>
                <a:gd name="T50" fmla="*/ 29845 w 20"/>
                <a:gd name="T51" fmla="*/ 41162 h 28"/>
                <a:gd name="T52" fmla="*/ 37307 w 20"/>
                <a:gd name="T53" fmla="*/ 41162 h 28"/>
                <a:gd name="T54" fmla="*/ 44768 w 20"/>
                <a:gd name="T55" fmla="*/ 44904 h 28"/>
                <a:gd name="T56" fmla="*/ 55960 w 20"/>
                <a:gd name="T57" fmla="*/ 48646 h 28"/>
                <a:gd name="T58" fmla="*/ 63421 w 20"/>
                <a:gd name="T59" fmla="*/ 52388 h 28"/>
                <a:gd name="T60" fmla="*/ 70882 w 20"/>
                <a:gd name="T61" fmla="*/ 59871 h 28"/>
                <a:gd name="T62" fmla="*/ 74613 w 20"/>
                <a:gd name="T63" fmla="*/ 71097 h 28"/>
                <a:gd name="T64" fmla="*/ 70882 w 20"/>
                <a:gd name="T65" fmla="*/ 86065 h 28"/>
                <a:gd name="T66" fmla="*/ 59690 w 20"/>
                <a:gd name="T67" fmla="*/ 97291 h 28"/>
                <a:gd name="T68" fmla="*/ 48498 w 20"/>
                <a:gd name="T69" fmla="*/ 104775 h 28"/>
                <a:gd name="T70" fmla="*/ 29845 w 20"/>
                <a:gd name="T71" fmla="*/ 104775 h 28"/>
                <a:gd name="T72" fmla="*/ 14923 w 20"/>
                <a:gd name="T73" fmla="*/ 104775 h 28"/>
                <a:gd name="T74" fmla="*/ 0 w 20"/>
                <a:gd name="T75" fmla="*/ 101033 h 28"/>
                <a:gd name="T76" fmla="*/ 0 w 20"/>
                <a:gd name="T77" fmla="*/ 82323 h 28"/>
                <a:gd name="T78" fmla="*/ 14923 w 20"/>
                <a:gd name="T79" fmla="*/ 86065 h 28"/>
                <a:gd name="T80" fmla="*/ 29845 w 20"/>
                <a:gd name="T81" fmla="*/ 86065 h 28"/>
                <a:gd name="T82" fmla="*/ 37307 w 20"/>
                <a:gd name="T83" fmla="*/ 86065 h 28"/>
                <a:gd name="T84" fmla="*/ 44768 w 20"/>
                <a:gd name="T85" fmla="*/ 86065 h 28"/>
                <a:gd name="T86" fmla="*/ 48498 w 20"/>
                <a:gd name="T87" fmla="*/ 82323 h 28"/>
                <a:gd name="T88" fmla="*/ 48498 w 20"/>
                <a:gd name="T89" fmla="*/ 74839 h 2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20" h="28">
                  <a:moveTo>
                    <a:pt x="13" y="20"/>
                  </a:moveTo>
                  <a:cubicBezTo>
                    <a:pt x="13" y="19"/>
                    <a:pt x="13" y="19"/>
                    <a:pt x="13" y="19"/>
                  </a:cubicBezTo>
                  <a:cubicBezTo>
                    <a:pt x="12" y="18"/>
                    <a:pt x="12" y="18"/>
                    <a:pt x="11" y="18"/>
                  </a:cubicBezTo>
                  <a:cubicBezTo>
                    <a:pt x="11" y="17"/>
                    <a:pt x="10" y="17"/>
                    <a:pt x="9" y="17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6" y="16"/>
                    <a:pt x="6" y="16"/>
                    <a:pt x="5" y="16"/>
                  </a:cubicBezTo>
                  <a:cubicBezTo>
                    <a:pt x="4" y="15"/>
                    <a:pt x="3" y="15"/>
                    <a:pt x="2" y="14"/>
                  </a:cubicBezTo>
                  <a:cubicBezTo>
                    <a:pt x="2" y="14"/>
                    <a:pt x="1" y="13"/>
                    <a:pt x="1" y="12"/>
                  </a:cubicBezTo>
                  <a:cubicBezTo>
                    <a:pt x="0" y="11"/>
                    <a:pt x="0" y="10"/>
                    <a:pt x="0" y="9"/>
                  </a:cubicBezTo>
                  <a:cubicBezTo>
                    <a:pt x="0" y="8"/>
                    <a:pt x="0" y="6"/>
                    <a:pt x="1" y="5"/>
                  </a:cubicBezTo>
                  <a:cubicBezTo>
                    <a:pt x="2" y="4"/>
                    <a:pt x="2" y="3"/>
                    <a:pt x="3" y="3"/>
                  </a:cubicBezTo>
                  <a:cubicBezTo>
                    <a:pt x="4" y="2"/>
                    <a:pt x="5" y="1"/>
                    <a:pt x="6" y="1"/>
                  </a:cubicBezTo>
                  <a:cubicBezTo>
                    <a:pt x="7" y="1"/>
                    <a:pt x="9" y="0"/>
                    <a:pt x="10" y="0"/>
                  </a:cubicBezTo>
                  <a:cubicBezTo>
                    <a:pt x="12" y="0"/>
                    <a:pt x="13" y="1"/>
                    <a:pt x="15" y="1"/>
                  </a:cubicBezTo>
                  <a:cubicBezTo>
                    <a:pt x="16" y="1"/>
                    <a:pt x="17" y="1"/>
                    <a:pt x="19" y="2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0" y="6"/>
                    <a:pt x="9" y="6"/>
                    <a:pt x="9" y="6"/>
                  </a:cubicBezTo>
                  <a:cubicBezTo>
                    <a:pt x="8" y="6"/>
                    <a:pt x="8" y="6"/>
                    <a:pt x="8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9"/>
                    <a:pt x="7" y="9"/>
                    <a:pt x="7" y="10"/>
                  </a:cubicBezTo>
                  <a:cubicBezTo>
                    <a:pt x="7" y="10"/>
                    <a:pt x="8" y="11"/>
                    <a:pt x="8" y="11"/>
                  </a:cubicBezTo>
                  <a:cubicBezTo>
                    <a:pt x="9" y="11"/>
                    <a:pt x="10" y="11"/>
                    <a:pt x="10" y="11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12"/>
                    <a:pt x="14" y="12"/>
                    <a:pt x="15" y="13"/>
                  </a:cubicBezTo>
                  <a:cubicBezTo>
                    <a:pt x="16" y="13"/>
                    <a:pt x="16" y="13"/>
                    <a:pt x="17" y="14"/>
                  </a:cubicBezTo>
                  <a:cubicBezTo>
                    <a:pt x="18" y="15"/>
                    <a:pt x="18" y="15"/>
                    <a:pt x="19" y="16"/>
                  </a:cubicBezTo>
                  <a:cubicBezTo>
                    <a:pt x="19" y="17"/>
                    <a:pt x="20" y="18"/>
                    <a:pt x="20" y="19"/>
                  </a:cubicBezTo>
                  <a:cubicBezTo>
                    <a:pt x="20" y="21"/>
                    <a:pt x="19" y="22"/>
                    <a:pt x="19" y="23"/>
                  </a:cubicBezTo>
                  <a:cubicBezTo>
                    <a:pt x="18" y="25"/>
                    <a:pt x="17" y="25"/>
                    <a:pt x="16" y="26"/>
                  </a:cubicBezTo>
                  <a:cubicBezTo>
                    <a:pt x="15" y="27"/>
                    <a:pt x="14" y="28"/>
                    <a:pt x="13" y="28"/>
                  </a:cubicBezTo>
                  <a:cubicBezTo>
                    <a:pt x="11" y="28"/>
                    <a:pt x="10" y="28"/>
                    <a:pt x="8" y="28"/>
                  </a:cubicBezTo>
                  <a:cubicBezTo>
                    <a:pt x="7" y="28"/>
                    <a:pt x="5" y="28"/>
                    <a:pt x="4" y="28"/>
                  </a:cubicBezTo>
                  <a:cubicBezTo>
                    <a:pt x="2" y="28"/>
                    <a:pt x="1" y="27"/>
                    <a:pt x="0" y="27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2" y="22"/>
                    <a:pt x="3" y="23"/>
                    <a:pt x="4" y="23"/>
                  </a:cubicBezTo>
                  <a:cubicBezTo>
                    <a:pt x="5" y="23"/>
                    <a:pt x="7" y="23"/>
                    <a:pt x="8" y="23"/>
                  </a:cubicBezTo>
                  <a:cubicBezTo>
                    <a:pt x="8" y="23"/>
                    <a:pt x="9" y="23"/>
                    <a:pt x="10" y="23"/>
                  </a:cubicBezTo>
                  <a:cubicBezTo>
                    <a:pt x="11" y="23"/>
                    <a:pt x="11" y="23"/>
                    <a:pt x="12" y="23"/>
                  </a:cubicBezTo>
                  <a:cubicBezTo>
                    <a:pt x="12" y="22"/>
                    <a:pt x="13" y="22"/>
                    <a:pt x="13" y="22"/>
                  </a:cubicBezTo>
                  <a:cubicBezTo>
                    <a:pt x="13" y="21"/>
                    <a:pt x="13" y="21"/>
                    <a:pt x="13" y="2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33" name="Freeform 29"/>
            <p:cNvSpPr>
              <a:spLocks/>
            </p:cNvSpPr>
            <p:nvPr userDrawn="1"/>
          </p:nvSpPr>
          <p:spPr bwMode="gray">
            <a:xfrm>
              <a:off x="11185488" y="3670293"/>
              <a:ext cx="76200" cy="101600"/>
            </a:xfrm>
            <a:custGeom>
              <a:avLst/>
              <a:gdLst>
                <a:gd name="T0" fmla="*/ 76200 w 20"/>
                <a:gd name="T1" fmla="*/ 97837 h 27"/>
                <a:gd name="T2" fmla="*/ 64770 w 20"/>
                <a:gd name="T3" fmla="*/ 101600 h 27"/>
                <a:gd name="T4" fmla="*/ 53340 w 20"/>
                <a:gd name="T5" fmla="*/ 101600 h 27"/>
                <a:gd name="T6" fmla="*/ 30480 w 20"/>
                <a:gd name="T7" fmla="*/ 97837 h 27"/>
                <a:gd name="T8" fmla="*/ 15240 w 20"/>
                <a:gd name="T9" fmla="*/ 90311 h 27"/>
                <a:gd name="T10" fmla="*/ 3810 w 20"/>
                <a:gd name="T11" fmla="*/ 75259 h 27"/>
                <a:gd name="T12" fmla="*/ 0 w 20"/>
                <a:gd name="T13" fmla="*/ 52681 h 27"/>
                <a:gd name="T14" fmla="*/ 3810 w 20"/>
                <a:gd name="T15" fmla="*/ 30104 h 27"/>
                <a:gd name="T16" fmla="*/ 15240 w 20"/>
                <a:gd name="T17" fmla="*/ 11289 h 27"/>
                <a:gd name="T18" fmla="*/ 34290 w 20"/>
                <a:gd name="T19" fmla="*/ 3763 h 27"/>
                <a:gd name="T20" fmla="*/ 53340 w 20"/>
                <a:gd name="T21" fmla="*/ 0 h 27"/>
                <a:gd name="T22" fmla="*/ 64770 w 20"/>
                <a:gd name="T23" fmla="*/ 0 h 27"/>
                <a:gd name="T24" fmla="*/ 76200 w 20"/>
                <a:gd name="T25" fmla="*/ 3763 h 27"/>
                <a:gd name="T26" fmla="*/ 76200 w 20"/>
                <a:gd name="T27" fmla="*/ 22578 h 27"/>
                <a:gd name="T28" fmla="*/ 64770 w 20"/>
                <a:gd name="T29" fmla="*/ 18815 h 27"/>
                <a:gd name="T30" fmla="*/ 57150 w 20"/>
                <a:gd name="T31" fmla="*/ 18815 h 27"/>
                <a:gd name="T32" fmla="*/ 45720 w 20"/>
                <a:gd name="T33" fmla="*/ 22578 h 27"/>
                <a:gd name="T34" fmla="*/ 34290 w 20"/>
                <a:gd name="T35" fmla="*/ 26341 h 27"/>
                <a:gd name="T36" fmla="*/ 26670 w 20"/>
                <a:gd name="T37" fmla="*/ 37630 h 27"/>
                <a:gd name="T38" fmla="*/ 26670 w 20"/>
                <a:gd name="T39" fmla="*/ 52681 h 27"/>
                <a:gd name="T40" fmla="*/ 26670 w 20"/>
                <a:gd name="T41" fmla="*/ 63970 h 27"/>
                <a:gd name="T42" fmla="*/ 34290 w 20"/>
                <a:gd name="T43" fmla="*/ 75259 h 27"/>
                <a:gd name="T44" fmla="*/ 41910 w 20"/>
                <a:gd name="T45" fmla="*/ 79022 h 27"/>
                <a:gd name="T46" fmla="*/ 53340 w 20"/>
                <a:gd name="T47" fmla="*/ 82785 h 27"/>
                <a:gd name="T48" fmla="*/ 68580 w 20"/>
                <a:gd name="T49" fmla="*/ 82785 h 27"/>
                <a:gd name="T50" fmla="*/ 76200 w 20"/>
                <a:gd name="T51" fmla="*/ 79022 h 27"/>
                <a:gd name="T52" fmla="*/ 76200 w 20"/>
                <a:gd name="T53" fmla="*/ 97837 h 27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20" h="27">
                  <a:moveTo>
                    <a:pt x="20" y="26"/>
                  </a:moveTo>
                  <a:cubicBezTo>
                    <a:pt x="19" y="26"/>
                    <a:pt x="18" y="27"/>
                    <a:pt x="17" y="27"/>
                  </a:cubicBezTo>
                  <a:cubicBezTo>
                    <a:pt x="16" y="27"/>
                    <a:pt x="15" y="27"/>
                    <a:pt x="14" y="27"/>
                  </a:cubicBezTo>
                  <a:cubicBezTo>
                    <a:pt x="12" y="27"/>
                    <a:pt x="10" y="27"/>
                    <a:pt x="8" y="26"/>
                  </a:cubicBezTo>
                  <a:cubicBezTo>
                    <a:pt x="7" y="26"/>
                    <a:pt x="5" y="25"/>
                    <a:pt x="4" y="24"/>
                  </a:cubicBezTo>
                  <a:cubicBezTo>
                    <a:pt x="3" y="23"/>
                    <a:pt x="2" y="22"/>
                    <a:pt x="1" y="20"/>
                  </a:cubicBezTo>
                  <a:cubicBezTo>
                    <a:pt x="0" y="18"/>
                    <a:pt x="0" y="16"/>
                    <a:pt x="0" y="14"/>
                  </a:cubicBezTo>
                  <a:cubicBezTo>
                    <a:pt x="0" y="12"/>
                    <a:pt x="0" y="10"/>
                    <a:pt x="1" y="8"/>
                  </a:cubicBezTo>
                  <a:cubicBezTo>
                    <a:pt x="2" y="6"/>
                    <a:pt x="3" y="4"/>
                    <a:pt x="4" y="3"/>
                  </a:cubicBezTo>
                  <a:cubicBezTo>
                    <a:pt x="6" y="2"/>
                    <a:pt x="7" y="1"/>
                    <a:pt x="9" y="1"/>
                  </a:cubicBezTo>
                  <a:cubicBezTo>
                    <a:pt x="10" y="0"/>
                    <a:pt x="12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1"/>
                    <a:pt x="20" y="1"/>
                  </a:cubicBezTo>
                  <a:cubicBezTo>
                    <a:pt x="20" y="6"/>
                    <a:pt x="20" y="6"/>
                    <a:pt x="20" y="6"/>
                  </a:cubicBezTo>
                  <a:cubicBezTo>
                    <a:pt x="19" y="6"/>
                    <a:pt x="18" y="6"/>
                    <a:pt x="17" y="5"/>
                  </a:cubicBezTo>
                  <a:cubicBezTo>
                    <a:pt x="16" y="5"/>
                    <a:pt x="15" y="5"/>
                    <a:pt x="15" y="5"/>
                  </a:cubicBezTo>
                  <a:cubicBezTo>
                    <a:pt x="14" y="5"/>
                    <a:pt x="13" y="5"/>
                    <a:pt x="12" y="6"/>
                  </a:cubicBezTo>
                  <a:cubicBezTo>
                    <a:pt x="11" y="6"/>
                    <a:pt x="10" y="6"/>
                    <a:pt x="9" y="7"/>
                  </a:cubicBezTo>
                  <a:cubicBezTo>
                    <a:pt x="8" y="8"/>
                    <a:pt x="8" y="9"/>
                    <a:pt x="7" y="10"/>
                  </a:cubicBezTo>
                  <a:cubicBezTo>
                    <a:pt x="7" y="11"/>
                    <a:pt x="7" y="12"/>
                    <a:pt x="7" y="14"/>
                  </a:cubicBezTo>
                  <a:cubicBezTo>
                    <a:pt x="7" y="15"/>
                    <a:pt x="7" y="16"/>
                    <a:pt x="7" y="17"/>
                  </a:cubicBezTo>
                  <a:cubicBezTo>
                    <a:pt x="7" y="18"/>
                    <a:pt x="8" y="19"/>
                    <a:pt x="9" y="20"/>
                  </a:cubicBezTo>
                  <a:cubicBezTo>
                    <a:pt x="9" y="20"/>
                    <a:pt x="10" y="21"/>
                    <a:pt x="11" y="21"/>
                  </a:cubicBezTo>
                  <a:cubicBezTo>
                    <a:pt x="12" y="22"/>
                    <a:pt x="13" y="22"/>
                    <a:pt x="14" y="22"/>
                  </a:cubicBezTo>
                  <a:cubicBezTo>
                    <a:pt x="16" y="22"/>
                    <a:pt x="17" y="22"/>
                    <a:pt x="18" y="22"/>
                  </a:cubicBezTo>
                  <a:cubicBezTo>
                    <a:pt x="19" y="22"/>
                    <a:pt x="19" y="21"/>
                    <a:pt x="20" y="21"/>
                  </a:cubicBezTo>
                  <a:lnTo>
                    <a:pt x="20" y="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34" name="Freeform 30"/>
            <p:cNvSpPr>
              <a:spLocks/>
            </p:cNvSpPr>
            <p:nvPr userDrawn="1"/>
          </p:nvSpPr>
          <p:spPr bwMode="gray">
            <a:xfrm>
              <a:off x="11283903" y="3621079"/>
              <a:ext cx="88900" cy="150812"/>
            </a:xfrm>
            <a:custGeom>
              <a:avLst/>
              <a:gdLst>
                <a:gd name="T0" fmla="*/ 25929 w 24"/>
                <a:gd name="T1" fmla="*/ 41473 h 40"/>
                <a:gd name="T2" fmla="*/ 25929 w 24"/>
                <a:gd name="T3" fmla="*/ 52784 h 40"/>
                <a:gd name="T4" fmla="*/ 22225 w 24"/>
                <a:gd name="T5" fmla="*/ 64095 h 40"/>
                <a:gd name="T6" fmla="*/ 22225 w 24"/>
                <a:gd name="T7" fmla="*/ 64095 h 40"/>
                <a:gd name="T8" fmla="*/ 29633 w 24"/>
                <a:gd name="T9" fmla="*/ 56555 h 40"/>
                <a:gd name="T10" fmla="*/ 37042 w 24"/>
                <a:gd name="T11" fmla="*/ 52784 h 40"/>
                <a:gd name="T12" fmla="*/ 44450 w 24"/>
                <a:gd name="T13" fmla="*/ 49014 h 40"/>
                <a:gd name="T14" fmla="*/ 55563 w 24"/>
                <a:gd name="T15" fmla="*/ 49014 h 40"/>
                <a:gd name="T16" fmla="*/ 62971 w 24"/>
                <a:gd name="T17" fmla="*/ 49014 h 40"/>
                <a:gd name="T18" fmla="*/ 74083 w 24"/>
                <a:gd name="T19" fmla="*/ 52784 h 40"/>
                <a:gd name="T20" fmla="*/ 77788 w 24"/>
                <a:gd name="T21" fmla="*/ 56555 h 40"/>
                <a:gd name="T22" fmla="*/ 85196 w 24"/>
                <a:gd name="T23" fmla="*/ 64095 h 40"/>
                <a:gd name="T24" fmla="*/ 88900 w 24"/>
                <a:gd name="T25" fmla="*/ 75406 h 40"/>
                <a:gd name="T26" fmla="*/ 88900 w 24"/>
                <a:gd name="T27" fmla="*/ 86717 h 40"/>
                <a:gd name="T28" fmla="*/ 88900 w 24"/>
                <a:gd name="T29" fmla="*/ 150812 h 40"/>
                <a:gd name="T30" fmla="*/ 66675 w 24"/>
                <a:gd name="T31" fmla="*/ 150812 h 40"/>
                <a:gd name="T32" fmla="*/ 66675 w 24"/>
                <a:gd name="T33" fmla="*/ 90487 h 40"/>
                <a:gd name="T34" fmla="*/ 66675 w 24"/>
                <a:gd name="T35" fmla="*/ 82947 h 40"/>
                <a:gd name="T36" fmla="*/ 62971 w 24"/>
                <a:gd name="T37" fmla="*/ 75406 h 40"/>
                <a:gd name="T38" fmla="*/ 59267 w 24"/>
                <a:gd name="T39" fmla="*/ 71636 h 40"/>
                <a:gd name="T40" fmla="*/ 48154 w 24"/>
                <a:gd name="T41" fmla="*/ 67865 h 40"/>
                <a:gd name="T42" fmla="*/ 37042 w 24"/>
                <a:gd name="T43" fmla="*/ 71636 h 40"/>
                <a:gd name="T44" fmla="*/ 25929 w 24"/>
                <a:gd name="T45" fmla="*/ 82947 h 40"/>
                <a:gd name="T46" fmla="*/ 25929 w 24"/>
                <a:gd name="T47" fmla="*/ 150812 h 40"/>
                <a:gd name="T48" fmla="*/ 0 w 24"/>
                <a:gd name="T49" fmla="*/ 150812 h 40"/>
                <a:gd name="T50" fmla="*/ 0 w 24"/>
                <a:gd name="T51" fmla="*/ 0 h 40"/>
                <a:gd name="T52" fmla="*/ 25929 w 24"/>
                <a:gd name="T53" fmla="*/ 0 h 40"/>
                <a:gd name="T54" fmla="*/ 25929 w 24"/>
                <a:gd name="T55" fmla="*/ 41473 h 4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24" h="40">
                  <a:moveTo>
                    <a:pt x="7" y="11"/>
                  </a:moveTo>
                  <a:cubicBezTo>
                    <a:pt x="7" y="12"/>
                    <a:pt x="7" y="13"/>
                    <a:pt x="7" y="14"/>
                  </a:cubicBezTo>
                  <a:cubicBezTo>
                    <a:pt x="7" y="15"/>
                    <a:pt x="7" y="16"/>
                    <a:pt x="6" y="17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7" y="16"/>
                    <a:pt x="7" y="16"/>
                    <a:pt x="8" y="15"/>
                  </a:cubicBezTo>
                  <a:cubicBezTo>
                    <a:pt x="8" y="15"/>
                    <a:pt x="9" y="14"/>
                    <a:pt x="10" y="14"/>
                  </a:cubicBezTo>
                  <a:cubicBezTo>
                    <a:pt x="10" y="14"/>
                    <a:pt x="11" y="13"/>
                    <a:pt x="12" y="13"/>
                  </a:cubicBezTo>
                  <a:cubicBezTo>
                    <a:pt x="13" y="13"/>
                    <a:pt x="14" y="13"/>
                    <a:pt x="15" y="13"/>
                  </a:cubicBezTo>
                  <a:cubicBezTo>
                    <a:pt x="16" y="13"/>
                    <a:pt x="16" y="13"/>
                    <a:pt x="17" y="13"/>
                  </a:cubicBezTo>
                  <a:cubicBezTo>
                    <a:pt x="18" y="13"/>
                    <a:pt x="19" y="13"/>
                    <a:pt x="20" y="14"/>
                  </a:cubicBezTo>
                  <a:cubicBezTo>
                    <a:pt x="20" y="14"/>
                    <a:pt x="21" y="15"/>
                    <a:pt x="21" y="15"/>
                  </a:cubicBezTo>
                  <a:cubicBezTo>
                    <a:pt x="22" y="16"/>
                    <a:pt x="23" y="16"/>
                    <a:pt x="23" y="17"/>
                  </a:cubicBezTo>
                  <a:cubicBezTo>
                    <a:pt x="23" y="18"/>
                    <a:pt x="24" y="19"/>
                    <a:pt x="24" y="20"/>
                  </a:cubicBezTo>
                  <a:cubicBezTo>
                    <a:pt x="24" y="21"/>
                    <a:pt x="24" y="22"/>
                    <a:pt x="24" y="23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18" y="40"/>
                    <a:pt x="18" y="40"/>
                    <a:pt x="18" y="40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8" y="23"/>
                    <a:pt x="18" y="22"/>
                    <a:pt x="18" y="22"/>
                  </a:cubicBezTo>
                  <a:cubicBezTo>
                    <a:pt x="17" y="21"/>
                    <a:pt x="17" y="21"/>
                    <a:pt x="17" y="20"/>
                  </a:cubicBezTo>
                  <a:cubicBezTo>
                    <a:pt x="17" y="20"/>
                    <a:pt x="16" y="19"/>
                    <a:pt x="16" y="19"/>
                  </a:cubicBezTo>
                  <a:cubicBezTo>
                    <a:pt x="15" y="18"/>
                    <a:pt x="14" y="18"/>
                    <a:pt x="13" y="18"/>
                  </a:cubicBezTo>
                  <a:cubicBezTo>
                    <a:pt x="12" y="18"/>
                    <a:pt x="11" y="18"/>
                    <a:pt x="10" y="19"/>
                  </a:cubicBezTo>
                  <a:cubicBezTo>
                    <a:pt x="8" y="20"/>
                    <a:pt x="8" y="20"/>
                    <a:pt x="7" y="22"/>
                  </a:cubicBezTo>
                  <a:cubicBezTo>
                    <a:pt x="7" y="40"/>
                    <a:pt x="7" y="40"/>
                    <a:pt x="7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lnTo>
                    <a:pt x="7" y="1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35" name="Freeform 31"/>
            <p:cNvSpPr>
              <a:spLocks noEditPoints="1"/>
            </p:cNvSpPr>
            <p:nvPr userDrawn="1"/>
          </p:nvSpPr>
          <p:spPr bwMode="gray">
            <a:xfrm>
              <a:off x="11396618" y="3670291"/>
              <a:ext cx="96838" cy="101599"/>
            </a:xfrm>
            <a:custGeom>
              <a:avLst/>
              <a:gdLst>
                <a:gd name="T0" fmla="*/ 96838 w 26"/>
                <a:gd name="T1" fmla="*/ 48918 h 27"/>
                <a:gd name="T2" fmla="*/ 93113 w 26"/>
                <a:gd name="T3" fmla="*/ 71496 h 27"/>
                <a:gd name="T4" fmla="*/ 85664 w 26"/>
                <a:gd name="T5" fmla="*/ 86547 h 27"/>
                <a:gd name="T6" fmla="*/ 70766 w 26"/>
                <a:gd name="T7" fmla="*/ 97836 h 27"/>
                <a:gd name="T8" fmla="*/ 48419 w 26"/>
                <a:gd name="T9" fmla="*/ 101599 h 27"/>
                <a:gd name="T10" fmla="*/ 29796 w 26"/>
                <a:gd name="T11" fmla="*/ 97836 h 27"/>
                <a:gd name="T12" fmla="*/ 14898 w 26"/>
                <a:gd name="T13" fmla="*/ 86547 h 27"/>
                <a:gd name="T14" fmla="*/ 3725 w 26"/>
                <a:gd name="T15" fmla="*/ 71496 h 27"/>
                <a:gd name="T16" fmla="*/ 3725 w 26"/>
                <a:gd name="T17" fmla="*/ 30103 h 27"/>
                <a:gd name="T18" fmla="*/ 14898 w 26"/>
                <a:gd name="T19" fmla="*/ 11289 h 27"/>
                <a:gd name="T20" fmla="*/ 29796 w 26"/>
                <a:gd name="T21" fmla="*/ 3763 h 27"/>
                <a:gd name="T22" fmla="*/ 48419 w 26"/>
                <a:gd name="T23" fmla="*/ 0 h 27"/>
                <a:gd name="T24" fmla="*/ 70766 w 26"/>
                <a:gd name="T25" fmla="*/ 3763 h 27"/>
                <a:gd name="T26" fmla="*/ 85664 w 26"/>
                <a:gd name="T27" fmla="*/ 11289 h 27"/>
                <a:gd name="T28" fmla="*/ 93113 w 26"/>
                <a:gd name="T29" fmla="*/ 30103 h 27"/>
                <a:gd name="T30" fmla="*/ 96838 w 26"/>
                <a:gd name="T31" fmla="*/ 48918 h 27"/>
                <a:gd name="T32" fmla="*/ 70766 w 26"/>
                <a:gd name="T33" fmla="*/ 48918 h 27"/>
                <a:gd name="T34" fmla="*/ 70766 w 26"/>
                <a:gd name="T35" fmla="*/ 37629 h 27"/>
                <a:gd name="T36" fmla="*/ 67042 w 26"/>
                <a:gd name="T37" fmla="*/ 26340 h 27"/>
                <a:gd name="T38" fmla="*/ 59593 w 26"/>
                <a:gd name="T39" fmla="*/ 18815 h 27"/>
                <a:gd name="T40" fmla="*/ 48419 w 26"/>
                <a:gd name="T41" fmla="*/ 18815 h 27"/>
                <a:gd name="T42" fmla="*/ 37245 w 26"/>
                <a:gd name="T43" fmla="*/ 18815 h 27"/>
                <a:gd name="T44" fmla="*/ 29796 w 26"/>
                <a:gd name="T45" fmla="*/ 26340 h 27"/>
                <a:gd name="T46" fmla="*/ 26072 w 26"/>
                <a:gd name="T47" fmla="*/ 37629 h 27"/>
                <a:gd name="T48" fmla="*/ 26072 w 26"/>
                <a:gd name="T49" fmla="*/ 63970 h 27"/>
                <a:gd name="T50" fmla="*/ 29796 w 26"/>
                <a:gd name="T51" fmla="*/ 75259 h 27"/>
                <a:gd name="T52" fmla="*/ 37245 w 26"/>
                <a:gd name="T53" fmla="*/ 79021 h 27"/>
                <a:gd name="T54" fmla="*/ 59593 w 26"/>
                <a:gd name="T55" fmla="*/ 79021 h 27"/>
                <a:gd name="T56" fmla="*/ 67042 w 26"/>
                <a:gd name="T57" fmla="*/ 75259 h 27"/>
                <a:gd name="T58" fmla="*/ 70766 w 26"/>
                <a:gd name="T59" fmla="*/ 63970 h 27"/>
                <a:gd name="T60" fmla="*/ 70766 w 26"/>
                <a:gd name="T61" fmla="*/ 48918 h 27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26" h="27">
                  <a:moveTo>
                    <a:pt x="26" y="13"/>
                  </a:moveTo>
                  <a:cubicBezTo>
                    <a:pt x="26" y="15"/>
                    <a:pt x="26" y="17"/>
                    <a:pt x="25" y="19"/>
                  </a:cubicBezTo>
                  <a:cubicBezTo>
                    <a:pt x="25" y="21"/>
                    <a:pt x="24" y="22"/>
                    <a:pt x="23" y="23"/>
                  </a:cubicBezTo>
                  <a:cubicBezTo>
                    <a:pt x="21" y="25"/>
                    <a:pt x="20" y="26"/>
                    <a:pt x="19" y="26"/>
                  </a:cubicBezTo>
                  <a:cubicBezTo>
                    <a:pt x="17" y="27"/>
                    <a:pt x="15" y="27"/>
                    <a:pt x="13" y="27"/>
                  </a:cubicBezTo>
                  <a:cubicBezTo>
                    <a:pt x="11" y="27"/>
                    <a:pt x="9" y="27"/>
                    <a:pt x="8" y="26"/>
                  </a:cubicBezTo>
                  <a:cubicBezTo>
                    <a:pt x="6" y="26"/>
                    <a:pt x="5" y="25"/>
                    <a:pt x="4" y="23"/>
                  </a:cubicBezTo>
                  <a:cubicBezTo>
                    <a:pt x="2" y="22"/>
                    <a:pt x="2" y="21"/>
                    <a:pt x="1" y="19"/>
                  </a:cubicBezTo>
                  <a:cubicBezTo>
                    <a:pt x="0" y="15"/>
                    <a:pt x="0" y="11"/>
                    <a:pt x="1" y="8"/>
                  </a:cubicBezTo>
                  <a:cubicBezTo>
                    <a:pt x="2" y="6"/>
                    <a:pt x="2" y="5"/>
                    <a:pt x="4" y="3"/>
                  </a:cubicBezTo>
                  <a:cubicBezTo>
                    <a:pt x="5" y="2"/>
                    <a:pt x="6" y="1"/>
                    <a:pt x="8" y="1"/>
                  </a:cubicBezTo>
                  <a:cubicBezTo>
                    <a:pt x="10" y="0"/>
                    <a:pt x="11" y="0"/>
                    <a:pt x="13" y="0"/>
                  </a:cubicBezTo>
                  <a:cubicBezTo>
                    <a:pt x="15" y="0"/>
                    <a:pt x="17" y="0"/>
                    <a:pt x="19" y="1"/>
                  </a:cubicBezTo>
                  <a:cubicBezTo>
                    <a:pt x="20" y="1"/>
                    <a:pt x="22" y="2"/>
                    <a:pt x="23" y="3"/>
                  </a:cubicBezTo>
                  <a:cubicBezTo>
                    <a:pt x="24" y="5"/>
                    <a:pt x="25" y="6"/>
                    <a:pt x="25" y="8"/>
                  </a:cubicBezTo>
                  <a:cubicBezTo>
                    <a:pt x="26" y="10"/>
                    <a:pt x="26" y="12"/>
                    <a:pt x="26" y="13"/>
                  </a:cubicBezTo>
                  <a:close/>
                  <a:moveTo>
                    <a:pt x="19" y="13"/>
                  </a:moveTo>
                  <a:cubicBezTo>
                    <a:pt x="19" y="12"/>
                    <a:pt x="19" y="11"/>
                    <a:pt x="19" y="10"/>
                  </a:cubicBezTo>
                  <a:cubicBezTo>
                    <a:pt x="19" y="9"/>
                    <a:pt x="18" y="8"/>
                    <a:pt x="18" y="7"/>
                  </a:cubicBezTo>
                  <a:cubicBezTo>
                    <a:pt x="17" y="6"/>
                    <a:pt x="16" y="6"/>
                    <a:pt x="16" y="5"/>
                  </a:cubicBezTo>
                  <a:cubicBezTo>
                    <a:pt x="15" y="5"/>
                    <a:pt x="14" y="5"/>
                    <a:pt x="13" y="5"/>
                  </a:cubicBezTo>
                  <a:cubicBezTo>
                    <a:pt x="12" y="5"/>
                    <a:pt x="11" y="5"/>
                    <a:pt x="10" y="5"/>
                  </a:cubicBezTo>
                  <a:cubicBezTo>
                    <a:pt x="9" y="6"/>
                    <a:pt x="9" y="6"/>
                    <a:pt x="8" y="7"/>
                  </a:cubicBezTo>
                  <a:cubicBezTo>
                    <a:pt x="8" y="8"/>
                    <a:pt x="7" y="9"/>
                    <a:pt x="7" y="10"/>
                  </a:cubicBezTo>
                  <a:cubicBezTo>
                    <a:pt x="6" y="12"/>
                    <a:pt x="6" y="15"/>
                    <a:pt x="7" y="17"/>
                  </a:cubicBezTo>
                  <a:cubicBezTo>
                    <a:pt x="7" y="18"/>
                    <a:pt x="8" y="19"/>
                    <a:pt x="8" y="20"/>
                  </a:cubicBezTo>
                  <a:cubicBezTo>
                    <a:pt x="9" y="21"/>
                    <a:pt x="9" y="21"/>
                    <a:pt x="10" y="21"/>
                  </a:cubicBezTo>
                  <a:cubicBezTo>
                    <a:pt x="12" y="22"/>
                    <a:pt x="14" y="22"/>
                    <a:pt x="16" y="21"/>
                  </a:cubicBezTo>
                  <a:cubicBezTo>
                    <a:pt x="16" y="21"/>
                    <a:pt x="17" y="21"/>
                    <a:pt x="18" y="20"/>
                  </a:cubicBezTo>
                  <a:cubicBezTo>
                    <a:pt x="18" y="19"/>
                    <a:pt x="19" y="18"/>
                    <a:pt x="19" y="17"/>
                  </a:cubicBezTo>
                  <a:cubicBezTo>
                    <a:pt x="19" y="16"/>
                    <a:pt x="19" y="15"/>
                    <a:pt x="19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36" name="Freeform 32"/>
            <p:cNvSpPr>
              <a:spLocks noEditPoints="1"/>
            </p:cNvSpPr>
            <p:nvPr userDrawn="1"/>
          </p:nvSpPr>
          <p:spPr bwMode="gray">
            <a:xfrm>
              <a:off x="11515669" y="3621081"/>
              <a:ext cx="26988" cy="150812"/>
            </a:xfrm>
            <a:custGeom>
              <a:avLst/>
              <a:gdLst>
                <a:gd name="T0" fmla="*/ 0 w 17"/>
                <a:gd name="T1" fmla="*/ 0 h 95"/>
                <a:gd name="T2" fmla="*/ 26988 w 17"/>
                <a:gd name="T3" fmla="*/ 0 h 95"/>
                <a:gd name="T4" fmla="*/ 26988 w 17"/>
                <a:gd name="T5" fmla="*/ 26987 h 95"/>
                <a:gd name="T6" fmla="*/ 0 w 17"/>
                <a:gd name="T7" fmla="*/ 26987 h 95"/>
                <a:gd name="T8" fmla="*/ 0 w 17"/>
                <a:gd name="T9" fmla="*/ 0 h 95"/>
                <a:gd name="T10" fmla="*/ 0 w 17"/>
                <a:gd name="T11" fmla="*/ 49212 h 95"/>
                <a:gd name="T12" fmla="*/ 22225 w 17"/>
                <a:gd name="T13" fmla="*/ 49212 h 95"/>
                <a:gd name="T14" fmla="*/ 22225 w 17"/>
                <a:gd name="T15" fmla="*/ 150812 h 95"/>
                <a:gd name="T16" fmla="*/ 0 w 17"/>
                <a:gd name="T17" fmla="*/ 150812 h 95"/>
                <a:gd name="T18" fmla="*/ 0 w 17"/>
                <a:gd name="T19" fmla="*/ 49212 h 9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7" h="95">
                  <a:moveTo>
                    <a:pt x="0" y="0"/>
                  </a:move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  <a:lnTo>
                    <a:pt x="0" y="0"/>
                  </a:lnTo>
                  <a:close/>
                  <a:moveTo>
                    <a:pt x="0" y="31"/>
                  </a:moveTo>
                  <a:lnTo>
                    <a:pt x="14" y="31"/>
                  </a:lnTo>
                  <a:lnTo>
                    <a:pt x="14" y="95"/>
                  </a:lnTo>
                  <a:lnTo>
                    <a:pt x="0" y="95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37" name="Freeform 33"/>
            <p:cNvSpPr>
              <a:spLocks/>
            </p:cNvSpPr>
            <p:nvPr userDrawn="1"/>
          </p:nvSpPr>
          <p:spPr bwMode="gray">
            <a:xfrm>
              <a:off x="11560123" y="3670310"/>
              <a:ext cx="79375" cy="101600"/>
            </a:xfrm>
            <a:custGeom>
              <a:avLst/>
              <a:gdLst>
                <a:gd name="T0" fmla="*/ 79375 w 21"/>
                <a:gd name="T1" fmla="*/ 97837 h 27"/>
                <a:gd name="T2" fmla="*/ 68036 w 21"/>
                <a:gd name="T3" fmla="*/ 101600 h 27"/>
                <a:gd name="T4" fmla="*/ 52917 w 21"/>
                <a:gd name="T5" fmla="*/ 101600 h 27"/>
                <a:gd name="T6" fmla="*/ 34018 w 21"/>
                <a:gd name="T7" fmla="*/ 97837 h 27"/>
                <a:gd name="T8" fmla="*/ 15119 w 21"/>
                <a:gd name="T9" fmla="*/ 90311 h 27"/>
                <a:gd name="T10" fmla="*/ 3780 w 21"/>
                <a:gd name="T11" fmla="*/ 75259 h 27"/>
                <a:gd name="T12" fmla="*/ 0 w 21"/>
                <a:gd name="T13" fmla="*/ 52681 h 27"/>
                <a:gd name="T14" fmla="*/ 7560 w 21"/>
                <a:gd name="T15" fmla="*/ 30104 h 27"/>
                <a:gd name="T16" fmla="*/ 34018 w 21"/>
                <a:gd name="T17" fmla="*/ 3763 h 27"/>
                <a:gd name="T18" fmla="*/ 52917 w 21"/>
                <a:gd name="T19" fmla="*/ 0 h 27"/>
                <a:gd name="T20" fmla="*/ 64256 w 21"/>
                <a:gd name="T21" fmla="*/ 0 h 27"/>
                <a:gd name="T22" fmla="*/ 75595 w 21"/>
                <a:gd name="T23" fmla="*/ 3763 h 27"/>
                <a:gd name="T24" fmla="*/ 75595 w 21"/>
                <a:gd name="T25" fmla="*/ 22578 h 27"/>
                <a:gd name="T26" fmla="*/ 68036 w 21"/>
                <a:gd name="T27" fmla="*/ 18815 h 27"/>
                <a:gd name="T28" fmla="*/ 56696 w 21"/>
                <a:gd name="T29" fmla="*/ 18815 h 27"/>
                <a:gd name="T30" fmla="*/ 45357 w 21"/>
                <a:gd name="T31" fmla="*/ 22578 h 27"/>
                <a:gd name="T32" fmla="*/ 34018 w 21"/>
                <a:gd name="T33" fmla="*/ 26341 h 27"/>
                <a:gd name="T34" fmla="*/ 30238 w 21"/>
                <a:gd name="T35" fmla="*/ 37630 h 27"/>
                <a:gd name="T36" fmla="*/ 26458 w 21"/>
                <a:gd name="T37" fmla="*/ 52681 h 27"/>
                <a:gd name="T38" fmla="*/ 26458 w 21"/>
                <a:gd name="T39" fmla="*/ 63970 h 27"/>
                <a:gd name="T40" fmla="*/ 34018 w 21"/>
                <a:gd name="T41" fmla="*/ 75259 h 27"/>
                <a:gd name="T42" fmla="*/ 41577 w 21"/>
                <a:gd name="T43" fmla="*/ 79022 h 27"/>
                <a:gd name="T44" fmla="*/ 56696 w 21"/>
                <a:gd name="T45" fmla="*/ 82785 h 27"/>
                <a:gd name="T46" fmla="*/ 68036 w 21"/>
                <a:gd name="T47" fmla="*/ 82785 h 27"/>
                <a:gd name="T48" fmla="*/ 79375 w 21"/>
                <a:gd name="T49" fmla="*/ 79022 h 27"/>
                <a:gd name="T50" fmla="*/ 79375 w 21"/>
                <a:gd name="T51" fmla="*/ 97837 h 27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21" h="27">
                  <a:moveTo>
                    <a:pt x="21" y="26"/>
                  </a:moveTo>
                  <a:cubicBezTo>
                    <a:pt x="20" y="26"/>
                    <a:pt x="19" y="27"/>
                    <a:pt x="18" y="27"/>
                  </a:cubicBezTo>
                  <a:cubicBezTo>
                    <a:pt x="16" y="27"/>
                    <a:pt x="15" y="27"/>
                    <a:pt x="14" y="27"/>
                  </a:cubicBezTo>
                  <a:cubicBezTo>
                    <a:pt x="12" y="27"/>
                    <a:pt x="10" y="27"/>
                    <a:pt x="9" y="26"/>
                  </a:cubicBezTo>
                  <a:cubicBezTo>
                    <a:pt x="7" y="26"/>
                    <a:pt x="5" y="25"/>
                    <a:pt x="4" y="24"/>
                  </a:cubicBezTo>
                  <a:cubicBezTo>
                    <a:pt x="3" y="23"/>
                    <a:pt x="2" y="22"/>
                    <a:pt x="1" y="20"/>
                  </a:cubicBezTo>
                  <a:cubicBezTo>
                    <a:pt x="1" y="18"/>
                    <a:pt x="0" y="16"/>
                    <a:pt x="0" y="14"/>
                  </a:cubicBezTo>
                  <a:cubicBezTo>
                    <a:pt x="0" y="12"/>
                    <a:pt x="1" y="10"/>
                    <a:pt x="2" y="8"/>
                  </a:cubicBezTo>
                  <a:cubicBezTo>
                    <a:pt x="3" y="4"/>
                    <a:pt x="6" y="2"/>
                    <a:pt x="9" y="1"/>
                  </a:cubicBezTo>
                  <a:cubicBezTo>
                    <a:pt x="11" y="0"/>
                    <a:pt x="12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1"/>
                    <a:pt x="20" y="1"/>
                  </a:cubicBezTo>
                  <a:cubicBezTo>
                    <a:pt x="20" y="6"/>
                    <a:pt x="20" y="6"/>
                    <a:pt x="20" y="6"/>
                  </a:cubicBezTo>
                  <a:cubicBezTo>
                    <a:pt x="19" y="6"/>
                    <a:pt x="19" y="6"/>
                    <a:pt x="18" y="5"/>
                  </a:cubicBezTo>
                  <a:cubicBezTo>
                    <a:pt x="17" y="5"/>
                    <a:pt x="16" y="5"/>
                    <a:pt x="15" y="5"/>
                  </a:cubicBezTo>
                  <a:cubicBezTo>
                    <a:pt x="14" y="5"/>
                    <a:pt x="13" y="5"/>
                    <a:pt x="12" y="6"/>
                  </a:cubicBezTo>
                  <a:cubicBezTo>
                    <a:pt x="11" y="6"/>
                    <a:pt x="10" y="6"/>
                    <a:pt x="9" y="7"/>
                  </a:cubicBezTo>
                  <a:cubicBezTo>
                    <a:pt x="9" y="8"/>
                    <a:pt x="8" y="9"/>
                    <a:pt x="8" y="10"/>
                  </a:cubicBezTo>
                  <a:cubicBezTo>
                    <a:pt x="7" y="11"/>
                    <a:pt x="7" y="12"/>
                    <a:pt x="7" y="14"/>
                  </a:cubicBezTo>
                  <a:cubicBezTo>
                    <a:pt x="7" y="15"/>
                    <a:pt x="7" y="16"/>
                    <a:pt x="7" y="17"/>
                  </a:cubicBezTo>
                  <a:cubicBezTo>
                    <a:pt x="8" y="18"/>
                    <a:pt x="8" y="19"/>
                    <a:pt x="9" y="20"/>
                  </a:cubicBezTo>
                  <a:cubicBezTo>
                    <a:pt x="10" y="20"/>
                    <a:pt x="10" y="21"/>
                    <a:pt x="11" y="21"/>
                  </a:cubicBezTo>
                  <a:cubicBezTo>
                    <a:pt x="12" y="22"/>
                    <a:pt x="14" y="22"/>
                    <a:pt x="15" y="22"/>
                  </a:cubicBezTo>
                  <a:cubicBezTo>
                    <a:pt x="16" y="22"/>
                    <a:pt x="17" y="22"/>
                    <a:pt x="18" y="22"/>
                  </a:cubicBezTo>
                  <a:cubicBezTo>
                    <a:pt x="19" y="22"/>
                    <a:pt x="20" y="21"/>
                    <a:pt x="21" y="21"/>
                  </a:cubicBezTo>
                  <a:lnTo>
                    <a:pt x="21" y="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38" name="Freeform 34"/>
            <p:cNvSpPr>
              <a:spLocks noEditPoints="1"/>
            </p:cNvSpPr>
            <p:nvPr userDrawn="1"/>
          </p:nvSpPr>
          <p:spPr bwMode="gray">
            <a:xfrm>
              <a:off x="11655425" y="3670300"/>
              <a:ext cx="88900" cy="101600"/>
            </a:xfrm>
            <a:custGeom>
              <a:avLst/>
              <a:gdLst>
                <a:gd name="T0" fmla="*/ 55563 w 24"/>
                <a:gd name="T1" fmla="*/ 82785 h 27"/>
                <a:gd name="T2" fmla="*/ 70379 w 24"/>
                <a:gd name="T3" fmla="*/ 82785 h 27"/>
                <a:gd name="T4" fmla="*/ 85196 w 24"/>
                <a:gd name="T5" fmla="*/ 79022 h 27"/>
                <a:gd name="T6" fmla="*/ 85196 w 24"/>
                <a:gd name="T7" fmla="*/ 97837 h 27"/>
                <a:gd name="T8" fmla="*/ 70379 w 24"/>
                <a:gd name="T9" fmla="*/ 101600 h 27"/>
                <a:gd name="T10" fmla="*/ 48154 w 24"/>
                <a:gd name="T11" fmla="*/ 101600 h 27"/>
                <a:gd name="T12" fmla="*/ 29633 w 24"/>
                <a:gd name="T13" fmla="*/ 101600 h 27"/>
                <a:gd name="T14" fmla="*/ 14817 w 24"/>
                <a:gd name="T15" fmla="*/ 90311 h 27"/>
                <a:gd name="T16" fmla="*/ 3704 w 24"/>
                <a:gd name="T17" fmla="*/ 75259 h 27"/>
                <a:gd name="T18" fmla="*/ 0 w 24"/>
                <a:gd name="T19" fmla="*/ 52681 h 27"/>
                <a:gd name="T20" fmla="*/ 3704 w 24"/>
                <a:gd name="T21" fmla="*/ 30104 h 27"/>
                <a:gd name="T22" fmla="*/ 14817 w 24"/>
                <a:gd name="T23" fmla="*/ 11289 h 27"/>
                <a:gd name="T24" fmla="*/ 29633 w 24"/>
                <a:gd name="T25" fmla="*/ 3763 h 27"/>
                <a:gd name="T26" fmla="*/ 44450 w 24"/>
                <a:gd name="T27" fmla="*/ 0 h 27"/>
                <a:gd name="T28" fmla="*/ 62971 w 24"/>
                <a:gd name="T29" fmla="*/ 0 h 27"/>
                <a:gd name="T30" fmla="*/ 77788 w 24"/>
                <a:gd name="T31" fmla="*/ 11289 h 27"/>
                <a:gd name="T32" fmla="*/ 85196 w 24"/>
                <a:gd name="T33" fmla="*/ 26341 h 27"/>
                <a:gd name="T34" fmla="*/ 88900 w 24"/>
                <a:gd name="T35" fmla="*/ 48919 h 27"/>
                <a:gd name="T36" fmla="*/ 88900 w 24"/>
                <a:gd name="T37" fmla="*/ 56444 h 27"/>
                <a:gd name="T38" fmla="*/ 25929 w 24"/>
                <a:gd name="T39" fmla="*/ 56444 h 27"/>
                <a:gd name="T40" fmla="*/ 25929 w 24"/>
                <a:gd name="T41" fmla="*/ 67733 h 27"/>
                <a:gd name="T42" fmla="*/ 33338 w 24"/>
                <a:gd name="T43" fmla="*/ 75259 h 27"/>
                <a:gd name="T44" fmla="*/ 44450 w 24"/>
                <a:gd name="T45" fmla="*/ 82785 h 27"/>
                <a:gd name="T46" fmla="*/ 55563 w 24"/>
                <a:gd name="T47" fmla="*/ 82785 h 27"/>
                <a:gd name="T48" fmla="*/ 44450 w 24"/>
                <a:gd name="T49" fmla="*/ 18815 h 27"/>
                <a:gd name="T50" fmla="*/ 37042 w 24"/>
                <a:gd name="T51" fmla="*/ 18815 h 27"/>
                <a:gd name="T52" fmla="*/ 29633 w 24"/>
                <a:gd name="T53" fmla="*/ 22578 h 27"/>
                <a:gd name="T54" fmla="*/ 25929 w 24"/>
                <a:gd name="T55" fmla="*/ 30104 h 27"/>
                <a:gd name="T56" fmla="*/ 25929 w 24"/>
                <a:gd name="T57" fmla="*/ 37630 h 27"/>
                <a:gd name="T58" fmla="*/ 62971 w 24"/>
                <a:gd name="T59" fmla="*/ 37630 h 27"/>
                <a:gd name="T60" fmla="*/ 62971 w 24"/>
                <a:gd name="T61" fmla="*/ 30104 h 27"/>
                <a:gd name="T62" fmla="*/ 59267 w 24"/>
                <a:gd name="T63" fmla="*/ 22578 h 27"/>
                <a:gd name="T64" fmla="*/ 51858 w 24"/>
                <a:gd name="T65" fmla="*/ 18815 h 27"/>
                <a:gd name="T66" fmla="*/ 44450 w 24"/>
                <a:gd name="T67" fmla="*/ 18815 h 27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24" h="27">
                  <a:moveTo>
                    <a:pt x="15" y="22"/>
                  </a:moveTo>
                  <a:cubicBezTo>
                    <a:pt x="16" y="22"/>
                    <a:pt x="17" y="22"/>
                    <a:pt x="19" y="22"/>
                  </a:cubicBezTo>
                  <a:cubicBezTo>
                    <a:pt x="20" y="21"/>
                    <a:pt x="21" y="21"/>
                    <a:pt x="23" y="21"/>
                  </a:cubicBezTo>
                  <a:cubicBezTo>
                    <a:pt x="23" y="26"/>
                    <a:pt x="23" y="26"/>
                    <a:pt x="23" y="26"/>
                  </a:cubicBezTo>
                  <a:cubicBezTo>
                    <a:pt x="21" y="26"/>
                    <a:pt x="20" y="27"/>
                    <a:pt x="19" y="27"/>
                  </a:cubicBezTo>
                  <a:cubicBezTo>
                    <a:pt x="17" y="27"/>
                    <a:pt x="15" y="27"/>
                    <a:pt x="13" y="27"/>
                  </a:cubicBezTo>
                  <a:cubicBezTo>
                    <a:pt x="12" y="27"/>
                    <a:pt x="10" y="27"/>
                    <a:pt x="8" y="27"/>
                  </a:cubicBezTo>
                  <a:cubicBezTo>
                    <a:pt x="7" y="26"/>
                    <a:pt x="5" y="25"/>
                    <a:pt x="4" y="24"/>
                  </a:cubicBezTo>
                  <a:cubicBezTo>
                    <a:pt x="3" y="23"/>
                    <a:pt x="2" y="22"/>
                    <a:pt x="1" y="20"/>
                  </a:cubicBezTo>
                  <a:cubicBezTo>
                    <a:pt x="0" y="18"/>
                    <a:pt x="0" y="16"/>
                    <a:pt x="0" y="14"/>
                  </a:cubicBezTo>
                  <a:cubicBezTo>
                    <a:pt x="0" y="12"/>
                    <a:pt x="0" y="10"/>
                    <a:pt x="1" y="8"/>
                  </a:cubicBezTo>
                  <a:cubicBezTo>
                    <a:pt x="2" y="6"/>
                    <a:pt x="3" y="4"/>
                    <a:pt x="4" y="3"/>
                  </a:cubicBezTo>
                  <a:cubicBezTo>
                    <a:pt x="5" y="2"/>
                    <a:pt x="6" y="1"/>
                    <a:pt x="8" y="1"/>
                  </a:cubicBezTo>
                  <a:cubicBezTo>
                    <a:pt x="9" y="0"/>
                    <a:pt x="11" y="0"/>
                    <a:pt x="12" y="0"/>
                  </a:cubicBezTo>
                  <a:cubicBezTo>
                    <a:pt x="14" y="0"/>
                    <a:pt x="15" y="0"/>
                    <a:pt x="17" y="0"/>
                  </a:cubicBezTo>
                  <a:cubicBezTo>
                    <a:pt x="18" y="1"/>
                    <a:pt x="20" y="2"/>
                    <a:pt x="21" y="3"/>
                  </a:cubicBezTo>
                  <a:cubicBezTo>
                    <a:pt x="22" y="4"/>
                    <a:pt x="22" y="5"/>
                    <a:pt x="23" y="7"/>
                  </a:cubicBezTo>
                  <a:cubicBezTo>
                    <a:pt x="24" y="9"/>
                    <a:pt x="24" y="11"/>
                    <a:pt x="24" y="13"/>
                  </a:cubicBezTo>
                  <a:cubicBezTo>
                    <a:pt x="24" y="14"/>
                    <a:pt x="24" y="15"/>
                    <a:pt x="24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6"/>
                    <a:pt x="7" y="17"/>
                    <a:pt x="7" y="18"/>
                  </a:cubicBezTo>
                  <a:cubicBezTo>
                    <a:pt x="8" y="19"/>
                    <a:pt x="8" y="20"/>
                    <a:pt x="9" y="20"/>
                  </a:cubicBezTo>
                  <a:cubicBezTo>
                    <a:pt x="10" y="21"/>
                    <a:pt x="11" y="21"/>
                    <a:pt x="12" y="22"/>
                  </a:cubicBezTo>
                  <a:cubicBezTo>
                    <a:pt x="13" y="22"/>
                    <a:pt x="14" y="22"/>
                    <a:pt x="15" y="22"/>
                  </a:cubicBezTo>
                  <a:close/>
                  <a:moveTo>
                    <a:pt x="12" y="5"/>
                  </a:moveTo>
                  <a:cubicBezTo>
                    <a:pt x="11" y="5"/>
                    <a:pt x="11" y="5"/>
                    <a:pt x="10" y="5"/>
                  </a:cubicBezTo>
                  <a:cubicBezTo>
                    <a:pt x="9" y="5"/>
                    <a:pt x="9" y="6"/>
                    <a:pt x="8" y="6"/>
                  </a:cubicBezTo>
                  <a:cubicBezTo>
                    <a:pt x="8" y="7"/>
                    <a:pt x="7" y="7"/>
                    <a:pt x="7" y="8"/>
                  </a:cubicBezTo>
                  <a:cubicBezTo>
                    <a:pt x="7" y="9"/>
                    <a:pt x="7" y="10"/>
                    <a:pt x="7" y="1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7" y="10"/>
                    <a:pt x="17" y="9"/>
                    <a:pt x="17" y="8"/>
                  </a:cubicBezTo>
                  <a:cubicBezTo>
                    <a:pt x="17" y="7"/>
                    <a:pt x="16" y="7"/>
                    <a:pt x="16" y="6"/>
                  </a:cubicBezTo>
                  <a:cubicBezTo>
                    <a:pt x="15" y="6"/>
                    <a:pt x="15" y="5"/>
                    <a:pt x="14" y="5"/>
                  </a:cubicBezTo>
                  <a:cubicBezTo>
                    <a:pt x="14" y="5"/>
                    <a:pt x="13" y="5"/>
                    <a:pt x="12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</p:grpSp>
      <p:sp>
        <p:nvSpPr>
          <p:cNvPr id="39" name="Rechteck 38"/>
          <p:cNvSpPr/>
          <p:nvPr/>
        </p:nvSpPr>
        <p:spPr bwMode="gray">
          <a:xfrm>
            <a:off x="633496" y="4951413"/>
            <a:ext cx="3135720" cy="119856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600" dirty="0">
                <a:solidFill>
                  <a:schemeClr val="tx1"/>
                </a:solidFill>
                <a:cs typeface="Arial" panose="020B0604020202020204" pitchFamily="34" charset="0"/>
              </a:rPr>
              <a:t>Telefon</a:t>
            </a:r>
          </a:p>
          <a:p>
            <a:pPr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600" dirty="0">
                <a:solidFill>
                  <a:schemeClr val="tx1"/>
                </a:solidFill>
                <a:cs typeface="Arial" panose="020B0604020202020204" pitchFamily="34" charset="0"/>
              </a:rPr>
              <a:t>Fax</a:t>
            </a:r>
          </a:p>
        </p:txBody>
      </p:sp>
      <p:sp>
        <p:nvSpPr>
          <p:cNvPr id="40" name="Rechteck 39"/>
          <p:cNvSpPr/>
          <p:nvPr/>
        </p:nvSpPr>
        <p:spPr bwMode="gray">
          <a:xfrm>
            <a:off x="4912364" y="3081339"/>
            <a:ext cx="3761278" cy="288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fontAlgn="auto">
              <a:lnSpc>
                <a:spcPct val="130000"/>
              </a:lnSpc>
              <a:spcBef>
                <a:spcPts val="0"/>
              </a:spcBef>
              <a:spcAft>
                <a:spcPts val="900"/>
              </a:spcAft>
              <a:defRPr/>
            </a:pPr>
            <a:r>
              <a:rPr lang="de-DE" sz="1600" b="1" dirty="0">
                <a:solidFill>
                  <a:schemeClr val="tx1"/>
                </a:solidFill>
                <a:cs typeface="Arial" panose="020B0604020202020204" pitchFamily="34" charset="0"/>
              </a:rPr>
              <a:t>Ansprechpartner</a:t>
            </a:r>
            <a:endParaRPr lang="de-DE" sz="1600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65" name="Titel 64"/>
          <p:cNvSpPr>
            <a:spLocks noGrp="1"/>
          </p:cNvSpPr>
          <p:nvPr>
            <p:ph type="ctrTitle"/>
          </p:nvPr>
        </p:nvSpPr>
        <p:spPr bwMode="gray">
          <a:xfrm>
            <a:off x="-1" y="1"/>
            <a:ext cx="12192000" cy="2504834"/>
          </a:xfrm>
          <a:custGeom>
            <a:avLst/>
            <a:gdLst>
              <a:gd name="connsiteX0" fmla="*/ 0 w 12190413"/>
              <a:gd name="connsiteY0" fmla="*/ 0 h 2504834"/>
              <a:gd name="connsiteX1" fmla="*/ 12190413 w 12190413"/>
              <a:gd name="connsiteY1" fmla="*/ 0 h 2504834"/>
              <a:gd name="connsiteX2" fmla="*/ 12190413 w 12190413"/>
              <a:gd name="connsiteY2" fmla="*/ 829996 h 2504834"/>
              <a:gd name="connsiteX3" fmla="*/ 9060657 w 12190413"/>
              <a:gd name="connsiteY3" fmla="*/ 829996 h 2504834"/>
              <a:gd name="connsiteX4" fmla="*/ 9060657 w 12190413"/>
              <a:gd name="connsiteY4" fmla="*/ 2504830 h 2504834"/>
              <a:gd name="connsiteX5" fmla="*/ 12190413 w 12190413"/>
              <a:gd name="connsiteY5" fmla="*/ 2504830 h 2504834"/>
              <a:gd name="connsiteX6" fmla="*/ 12190413 w 12190413"/>
              <a:gd name="connsiteY6" fmla="*/ 2504834 h 2504834"/>
              <a:gd name="connsiteX7" fmla="*/ 0 w 12190413"/>
              <a:gd name="connsiteY7" fmla="*/ 2504834 h 25048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0413" h="2504834">
                <a:moveTo>
                  <a:pt x="0" y="0"/>
                </a:moveTo>
                <a:lnTo>
                  <a:pt x="12190413" y="0"/>
                </a:lnTo>
                <a:lnTo>
                  <a:pt x="12190413" y="829996"/>
                </a:lnTo>
                <a:lnTo>
                  <a:pt x="9060657" y="829996"/>
                </a:lnTo>
                <a:lnTo>
                  <a:pt x="9060657" y="2504830"/>
                </a:lnTo>
                <a:lnTo>
                  <a:pt x="12190413" y="2504830"/>
                </a:lnTo>
                <a:lnTo>
                  <a:pt x="12190413" y="2504834"/>
                </a:lnTo>
                <a:lnTo>
                  <a:pt x="0" y="2504834"/>
                </a:lnTo>
                <a:close/>
              </a:path>
            </a:pathLst>
          </a:custGeom>
          <a:solidFill>
            <a:schemeClr val="accent6"/>
          </a:solidFill>
        </p:spPr>
        <p:txBody>
          <a:bodyPr lIns="619200" tIns="720000" rIns="3456000" anchor="t">
            <a:noAutofit/>
          </a:bodyPr>
          <a:lstStyle>
            <a:lvl1pPr algn="l">
              <a:defRPr sz="3200"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64" name="Textplatzhalter 7"/>
          <p:cNvSpPr>
            <a:spLocks noGrp="1"/>
          </p:cNvSpPr>
          <p:nvPr>
            <p:ph type="body" sz="quarter" idx="13"/>
          </p:nvPr>
        </p:nvSpPr>
        <p:spPr bwMode="gray">
          <a:xfrm>
            <a:off x="632703" y="3164177"/>
            <a:ext cx="3600469" cy="1152000"/>
          </a:xfrm>
        </p:spPr>
        <p:txBody>
          <a:bodyPr/>
          <a:lstStyle>
            <a:lvl1pPr marL="1588" indent="0"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600" b="1"/>
            </a:lvl1pPr>
            <a:lvl2pPr marL="1588" indent="0">
              <a:spcBef>
                <a:spcPts val="0"/>
              </a:spcBef>
              <a:buNone/>
              <a:defRPr sz="1600"/>
            </a:lvl2pPr>
            <a:lvl3pPr marL="1588" indent="0">
              <a:spcBef>
                <a:spcPts val="0"/>
              </a:spcBef>
              <a:buNone/>
              <a:defRPr sz="1600"/>
            </a:lvl3pPr>
            <a:lvl4pPr marL="1588" indent="0">
              <a:spcBef>
                <a:spcPts val="0"/>
              </a:spcBef>
              <a:buNone/>
              <a:defRPr sz="1600"/>
            </a:lvl4pPr>
            <a:lvl5pPr marL="1588" indent="0">
              <a:spcBef>
                <a:spcPts val="0"/>
              </a:spcBef>
              <a:buNone/>
              <a:defRPr sz="1600"/>
            </a:lvl5pPr>
            <a:lvl6pPr marL="1588" indent="0">
              <a:spcBef>
                <a:spcPts val="0"/>
              </a:spcBef>
              <a:buNone/>
              <a:defRPr sz="1600"/>
            </a:lvl6pPr>
            <a:lvl7pPr marL="1588" indent="0">
              <a:spcBef>
                <a:spcPts val="0"/>
              </a:spcBef>
              <a:buNone/>
              <a:defRPr sz="1600"/>
            </a:lvl7pPr>
            <a:lvl8pPr marL="1588" indent="0">
              <a:spcBef>
                <a:spcPts val="0"/>
              </a:spcBef>
              <a:buNone/>
              <a:defRPr sz="1600"/>
            </a:lvl8pPr>
            <a:lvl9pPr marL="1588" indent="0">
              <a:spcBef>
                <a:spcPts val="0"/>
              </a:spcBef>
              <a:buNone/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6" name="Textplatzhalter 7"/>
          <p:cNvSpPr>
            <a:spLocks noGrp="1"/>
          </p:cNvSpPr>
          <p:nvPr>
            <p:ph type="body" sz="quarter" idx="14"/>
          </p:nvPr>
        </p:nvSpPr>
        <p:spPr bwMode="gray">
          <a:xfrm>
            <a:off x="4912349" y="3547551"/>
            <a:ext cx="3600469" cy="1152000"/>
          </a:xfrm>
        </p:spPr>
        <p:txBody>
          <a:bodyPr/>
          <a:lstStyle>
            <a:lvl1pPr marL="1588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/>
            </a:lvl1pPr>
            <a:lvl2pPr marL="1588" indent="0">
              <a:spcBef>
                <a:spcPts val="0"/>
              </a:spcBef>
              <a:buNone/>
              <a:defRPr sz="1600"/>
            </a:lvl2pPr>
            <a:lvl3pPr marL="1588" indent="0">
              <a:spcBef>
                <a:spcPts val="0"/>
              </a:spcBef>
              <a:buNone/>
              <a:defRPr sz="1600"/>
            </a:lvl3pPr>
            <a:lvl4pPr marL="1588" indent="0">
              <a:spcBef>
                <a:spcPts val="0"/>
              </a:spcBef>
              <a:buNone/>
              <a:defRPr sz="1600"/>
            </a:lvl4pPr>
            <a:lvl5pPr marL="1588" indent="0">
              <a:spcBef>
                <a:spcPts val="0"/>
              </a:spcBef>
              <a:buNone/>
              <a:defRPr sz="1600"/>
            </a:lvl5pPr>
            <a:lvl6pPr marL="1588" indent="0">
              <a:spcBef>
                <a:spcPts val="0"/>
              </a:spcBef>
              <a:buNone/>
              <a:defRPr sz="1600"/>
            </a:lvl6pPr>
            <a:lvl7pPr marL="1588" indent="0">
              <a:spcBef>
                <a:spcPts val="0"/>
              </a:spcBef>
              <a:buNone/>
              <a:defRPr sz="1600"/>
            </a:lvl7pPr>
            <a:lvl8pPr marL="1588" indent="0">
              <a:spcBef>
                <a:spcPts val="0"/>
              </a:spcBef>
              <a:buNone/>
              <a:defRPr sz="1600"/>
            </a:lvl8pPr>
            <a:lvl9pPr marL="1588" indent="0">
              <a:spcBef>
                <a:spcPts val="0"/>
              </a:spcBef>
              <a:buNone/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7" name="Textplatzhalter 7"/>
          <p:cNvSpPr>
            <a:spLocks noGrp="1"/>
          </p:cNvSpPr>
          <p:nvPr>
            <p:ph type="body" sz="quarter" idx="15"/>
          </p:nvPr>
        </p:nvSpPr>
        <p:spPr bwMode="gray">
          <a:xfrm>
            <a:off x="1532821" y="4950620"/>
            <a:ext cx="2700351" cy="252000"/>
          </a:xfrm>
        </p:spPr>
        <p:txBody>
          <a:bodyPr/>
          <a:lstStyle>
            <a:lvl1pPr marL="1588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/>
            </a:lvl1pPr>
            <a:lvl2pPr marL="1588" indent="0">
              <a:spcBef>
                <a:spcPts val="0"/>
              </a:spcBef>
              <a:buNone/>
              <a:defRPr sz="1600"/>
            </a:lvl2pPr>
            <a:lvl3pPr marL="1588" indent="0">
              <a:spcBef>
                <a:spcPts val="0"/>
              </a:spcBef>
              <a:buNone/>
              <a:defRPr sz="1600"/>
            </a:lvl3pPr>
            <a:lvl4pPr marL="1588" indent="0">
              <a:spcBef>
                <a:spcPts val="0"/>
              </a:spcBef>
              <a:buNone/>
              <a:defRPr sz="1600"/>
            </a:lvl4pPr>
            <a:lvl5pPr marL="1588" indent="0">
              <a:spcBef>
                <a:spcPts val="0"/>
              </a:spcBef>
              <a:buNone/>
              <a:defRPr sz="1600"/>
            </a:lvl5pPr>
            <a:lvl6pPr marL="1588" indent="0">
              <a:spcBef>
                <a:spcPts val="0"/>
              </a:spcBef>
              <a:buNone/>
              <a:defRPr sz="1600"/>
            </a:lvl6pPr>
            <a:lvl7pPr marL="1588" indent="0">
              <a:spcBef>
                <a:spcPts val="0"/>
              </a:spcBef>
              <a:buNone/>
              <a:defRPr sz="1600"/>
            </a:lvl7pPr>
            <a:lvl8pPr marL="1588" indent="0">
              <a:spcBef>
                <a:spcPts val="0"/>
              </a:spcBef>
              <a:buNone/>
              <a:defRPr sz="1600"/>
            </a:lvl8pPr>
            <a:lvl9pPr marL="1588" indent="0">
              <a:spcBef>
                <a:spcPts val="0"/>
              </a:spcBef>
              <a:buNone/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8" name="Textplatzhalter 7"/>
          <p:cNvSpPr>
            <a:spLocks noGrp="1"/>
          </p:cNvSpPr>
          <p:nvPr>
            <p:ph type="body" sz="quarter" idx="16"/>
          </p:nvPr>
        </p:nvSpPr>
        <p:spPr bwMode="gray">
          <a:xfrm>
            <a:off x="1532821" y="5218781"/>
            <a:ext cx="2700351" cy="252000"/>
          </a:xfrm>
        </p:spPr>
        <p:txBody>
          <a:bodyPr/>
          <a:lstStyle>
            <a:lvl1pPr marL="1588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/>
            </a:lvl1pPr>
            <a:lvl2pPr marL="1588" indent="0">
              <a:spcBef>
                <a:spcPts val="0"/>
              </a:spcBef>
              <a:buNone/>
              <a:defRPr sz="1600"/>
            </a:lvl2pPr>
            <a:lvl3pPr marL="1588" indent="0">
              <a:spcBef>
                <a:spcPts val="0"/>
              </a:spcBef>
              <a:buNone/>
              <a:defRPr sz="1600"/>
            </a:lvl3pPr>
            <a:lvl4pPr marL="1588" indent="0">
              <a:spcBef>
                <a:spcPts val="0"/>
              </a:spcBef>
              <a:buNone/>
              <a:defRPr sz="1600"/>
            </a:lvl4pPr>
            <a:lvl5pPr marL="1588" indent="0">
              <a:spcBef>
                <a:spcPts val="0"/>
              </a:spcBef>
              <a:buNone/>
              <a:defRPr sz="1600"/>
            </a:lvl5pPr>
            <a:lvl6pPr marL="1588" indent="0">
              <a:spcBef>
                <a:spcPts val="0"/>
              </a:spcBef>
              <a:buNone/>
              <a:defRPr sz="1600"/>
            </a:lvl6pPr>
            <a:lvl7pPr marL="1588" indent="0">
              <a:spcBef>
                <a:spcPts val="0"/>
              </a:spcBef>
              <a:buNone/>
              <a:defRPr sz="1600"/>
            </a:lvl7pPr>
            <a:lvl8pPr marL="1588" indent="0">
              <a:spcBef>
                <a:spcPts val="0"/>
              </a:spcBef>
              <a:buNone/>
              <a:defRPr sz="1600"/>
            </a:lvl8pPr>
            <a:lvl9pPr marL="1588" indent="0">
              <a:spcBef>
                <a:spcPts val="0"/>
              </a:spcBef>
              <a:buNone/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9" name="Textplatzhalter 7"/>
          <p:cNvSpPr>
            <a:spLocks noGrp="1"/>
          </p:cNvSpPr>
          <p:nvPr>
            <p:ph type="body" sz="quarter" idx="17"/>
          </p:nvPr>
        </p:nvSpPr>
        <p:spPr bwMode="gray">
          <a:xfrm>
            <a:off x="632703" y="5487880"/>
            <a:ext cx="3600469" cy="504000"/>
          </a:xfrm>
        </p:spPr>
        <p:txBody>
          <a:bodyPr/>
          <a:lstStyle>
            <a:lvl1pPr marL="1588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/>
            </a:lvl1pPr>
            <a:lvl2pPr marL="1588" indent="0">
              <a:spcBef>
                <a:spcPts val="0"/>
              </a:spcBef>
              <a:buNone/>
              <a:defRPr sz="1600"/>
            </a:lvl2pPr>
            <a:lvl3pPr marL="1588" indent="0">
              <a:spcBef>
                <a:spcPts val="0"/>
              </a:spcBef>
              <a:buNone/>
              <a:defRPr sz="1600"/>
            </a:lvl3pPr>
            <a:lvl4pPr marL="1588" indent="0">
              <a:spcBef>
                <a:spcPts val="0"/>
              </a:spcBef>
              <a:buNone/>
              <a:defRPr sz="1600"/>
            </a:lvl4pPr>
            <a:lvl5pPr marL="1588" indent="0">
              <a:spcBef>
                <a:spcPts val="0"/>
              </a:spcBef>
              <a:buNone/>
              <a:defRPr sz="1600"/>
            </a:lvl5pPr>
            <a:lvl6pPr marL="1588" indent="0">
              <a:spcBef>
                <a:spcPts val="0"/>
              </a:spcBef>
              <a:buNone/>
              <a:defRPr sz="1600"/>
            </a:lvl6pPr>
            <a:lvl7pPr marL="1588" indent="0">
              <a:spcBef>
                <a:spcPts val="0"/>
              </a:spcBef>
              <a:buNone/>
              <a:defRPr sz="1600"/>
            </a:lvl7pPr>
            <a:lvl8pPr marL="1588" indent="0">
              <a:spcBef>
                <a:spcPts val="0"/>
              </a:spcBef>
              <a:buNone/>
              <a:defRPr sz="1600"/>
            </a:lvl8pPr>
            <a:lvl9pPr marL="1588" indent="0">
              <a:spcBef>
                <a:spcPts val="0"/>
              </a:spcBef>
              <a:buNone/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1" name="Datumsplatzhalter 3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>
              <a:defRPr/>
            </a:pPr>
            <a:r>
              <a:rPr lang="de-DE"/>
              <a:t>Datum</a:t>
            </a:r>
            <a:endParaRPr lang="de-DE" dirty="0"/>
          </a:p>
        </p:txBody>
      </p:sp>
      <p:sp>
        <p:nvSpPr>
          <p:cNvPr id="42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 dirty="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>
              <a:defRPr/>
            </a:pPr>
            <a:endParaRPr lang="de-DE"/>
          </a:p>
        </p:txBody>
      </p:sp>
      <p:sp>
        <p:nvSpPr>
          <p:cNvPr id="43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>
              <a:defRPr/>
            </a:pPr>
            <a:fld id="{6A0A73A5-F39A-4C95-93F3-195A493D3AAD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83287205"/>
      </p:ext>
    </p:extLst>
  </p:cSld>
  <p:clrMapOvr>
    <a:masterClrMapping/>
  </p:clrMapOvr>
  <p:transition spd="med"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G_Folie_Säulendiagramm_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7652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93A11243-3298-46D7-BD32-7A304EE6C61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gray">
          <a:xfrm>
            <a:off x="1" y="-7706"/>
            <a:ext cx="12192000" cy="6865705"/>
          </a:xfrm>
          <a:custGeom>
            <a:avLst/>
            <a:gdLst>
              <a:gd name="connsiteX0" fmla="*/ 8784325 w 12190413"/>
              <a:gd name="connsiteY0" fmla="*/ 4883660 h 6865705"/>
              <a:gd name="connsiteX1" fmla="*/ 8784325 w 12190413"/>
              <a:gd name="connsiteY1" fmla="*/ 6427263 h 6865705"/>
              <a:gd name="connsiteX2" fmla="*/ 10944325 w 12190413"/>
              <a:gd name="connsiteY2" fmla="*/ 6427263 h 6865705"/>
              <a:gd name="connsiteX3" fmla="*/ 10944325 w 12190413"/>
              <a:gd name="connsiteY3" fmla="*/ 4883660 h 6865705"/>
              <a:gd name="connsiteX4" fmla="*/ 0 w 12190413"/>
              <a:gd name="connsiteY4" fmla="*/ 0 h 6865705"/>
              <a:gd name="connsiteX5" fmla="*/ 12190413 w 12190413"/>
              <a:gd name="connsiteY5" fmla="*/ 0 h 6865705"/>
              <a:gd name="connsiteX6" fmla="*/ 12190413 w 12190413"/>
              <a:gd name="connsiteY6" fmla="*/ 6865705 h 6865705"/>
              <a:gd name="connsiteX7" fmla="*/ 0 w 12190413"/>
              <a:gd name="connsiteY7" fmla="*/ 6865705 h 6865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0413" h="6865705">
                <a:moveTo>
                  <a:pt x="8784325" y="4883660"/>
                </a:moveTo>
                <a:lnTo>
                  <a:pt x="8784325" y="6427263"/>
                </a:lnTo>
                <a:lnTo>
                  <a:pt x="10944325" y="6427263"/>
                </a:lnTo>
                <a:lnTo>
                  <a:pt x="10944325" y="4883660"/>
                </a:lnTo>
                <a:close/>
                <a:moveTo>
                  <a:pt x="0" y="0"/>
                </a:moveTo>
                <a:lnTo>
                  <a:pt x="12190413" y="0"/>
                </a:lnTo>
                <a:lnTo>
                  <a:pt x="12190413" y="6865705"/>
                </a:lnTo>
                <a:lnTo>
                  <a:pt x="0" y="6865705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/>
          <a:p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4B5FC1B4-0473-47E8-846B-AD7E5EE24C8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622382" y="4270848"/>
            <a:ext cx="10873415" cy="1764000"/>
          </a:xfrm>
          <a:custGeom>
            <a:avLst/>
            <a:gdLst>
              <a:gd name="connsiteX0" fmla="*/ 0 w 10872000"/>
              <a:gd name="connsiteY0" fmla="*/ 0 h 1764000"/>
              <a:gd name="connsiteX1" fmla="*/ 10872000 w 10872000"/>
              <a:gd name="connsiteY1" fmla="*/ 0 h 1764000"/>
              <a:gd name="connsiteX2" fmla="*/ 10872000 w 10872000"/>
              <a:gd name="connsiteY2" fmla="*/ 1764000 h 1764000"/>
              <a:gd name="connsiteX3" fmla="*/ 10322024 w 10872000"/>
              <a:gd name="connsiteY3" fmla="*/ 1764000 h 1764000"/>
              <a:gd name="connsiteX4" fmla="*/ 10322024 w 10872000"/>
              <a:gd name="connsiteY4" fmla="*/ 605106 h 1764000"/>
              <a:gd name="connsiteX5" fmla="*/ 8162024 w 10872000"/>
              <a:gd name="connsiteY5" fmla="*/ 605106 h 1764000"/>
              <a:gd name="connsiteX6" fmla="*/ 8162024 w 10872000"/>
              <a:gd name="connsiteY6" fmla="*/ 1764000 h 1764000"/>
              <a:gd name="connsiteX7" fmla="*/ 0 w 10872000"/>
              <a:gd name="connsiteY7" fmla="*/ 1764000 h 176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872000" h="1764000">
                <a:moveTo>
                  <a:pt x="0" y="0"/>
                </a:moveTo>
                <a:lnTo>
                  <a:pt x="10872000" y="0"/>
                </a:lnTo>
                <a:lnTo>
                  <a:pt x="10872000" y="1764000"/>
                </a:lnTo>
                <a:lnTo>
                  <a:pt x="10322024" y="1764000"/>
                </a:lnTo>
                <a:lnTo>
                  <a:pt x="10322024" y="605106"/>
                </a:lnTo>
                <a:lnTo>
                  <a:pt x="8162024" y="605106"/>
                </a:lnTo>
                <a:lnTo>
                  <a:pt x="8162024" y="1764000"/>
                </a:lnTo>
                <a:lnTo>
                  <a:pt x="0" y="176400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endParaRPr lang="de-DE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9D8C0EEE-7F2E-4220-AB42-0038A39C705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85469" y="4875955"/>
            <a:ext cx="2160281" cy="1543603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F44EF97-2398-47DE-AB44-434E736BED3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84485" y="4589050"/>
            <a:ext cx="7557377" cy="522701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Headline</a:t>
            </a:r>
          </a:p>
        </p:txBody>
      </p:sp>
      <p:sp>
        <p:nvSpPr>
          <p:cNvPr id="16" name="Textplatzhalter 14">
            <a:extLst>
              <a:ext uri="{FF2B5EF4-FFF2-40B4-BE49-F238E27FC236}">
                <a16:creationId xmlns:a16="http://schemas.microsoft.com/office/drawing/2014/main" id="{20FDF11C-B938-44D7-B045-AEF9749B191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4485" y="5104004"/>
            <a:ext cx="7557376" cy="814197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Subheadline</a:t>
            </a:r>
          </a:p>
        </p:txBody>
      </p:sp>
    </p:spTree>
    <p:extLst>
      <p:ext uri="{BB962C8B-B14F-4D97-AF65-F5344CB8AC3E}">
        <p14:creationId xmlns:p14="http://schemas.microsoft.com/office/powerpoint/2010/main" val="3705118309"/>
      </p:ext>
    </p:extLst>
  </p:cSld>
  <p:clrMapOvr>
    <a:masterClrMapping/>
  </p:clrMapOvr>
  <p:transition spd="med"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Bildplatzhalter 40">
            <a:extLst>
              <a:ext uri="{FF2B5EF4-FFF2-40B4-BE49-F238E27FC236}">
                <a16:creationId xmlns:a16="http://schemas.microsoft.com/office/drawing/2014/main" id="{BA3AE964-FDF6-4140-81E0-E02657A4820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1" y="1761115"/>
            <a:ext cx="12192000" cy="5096887"/>
          </a:xfrm>
          <a:custGeom>
            <a:avLst/>
            <a:gdLst>
              <a:gd name="connsiteX0" fmla="*/ 9395043 w 12190413"/>
              <a:gd name="connsiteY0" fmla="*/ 2708 h 5096887"/>
              <a:gd name="connsiteX1" fmla="*/ 9395043 w 12190413"/>
              <a:gd name="connsiteY1" fmla="*/ 456194 h 5096887"/>
              <a:gd name="connsiteX2" fmla="*/ 11891963 w 12190413"/>
              <a:gd name="connsiteY2" fmla="*/ 456194 h 5096887"/>
              <a:gd name="connsiteX3" fmla="*/ 11891963 w 12190413"/>
              <a:gd name="connsiteY3" fmla="*/ 2708 h 5096887"/>
              <a:gd name="connsiteX4" fmla="*/ 0 w 12190413"/>
              <a:gd name="connsiteY4" fmla="*/ 0 h 5096887"/>
              <a:gd name="connsiteX5" fmla="*/ 12190413 w 12190413"/>
              <a:gd name="connsiteY5" fmla="*/ 0 h 5096887"/>
              <a:gd name="connsiteX6" fmla="*/ 12190413 w 12190413"/>
              <a:gd name="connsiteY6" fmla="*/ 5096887 h 5096887"/>
              <a:gd name="connsiteX7" fmla="*/ 0 w 12190413"/>
              <a:gd name="connsiteY7" fmla="*/ 5096887 h 50968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0413" h="5096887">
                <a:moveTo>
                  <a:pt x="9395043" y="2708"/>
                </a:moveTo>
                <a:lnTo>
                  <a:pt x="9395043" y="456194"/>
                </a:lnTo>
                <a:lnTo>
                  <a:pt x="11891963" y="456194"/>
                </a:lnTo>
                <a:lnTo>
                  <a:pt x="11891963" y="2708"/>
                </a:lnTo>
                <a:close/>
                <a:moveTo>
                  <a:pt x="0" y="0"/>
                </a:moveTo>
                <a:lnTo>
                  <a:pt x="12190413" y="0"/>
                </a:lnTo>
                <a:lnTo>
                  <a:pt x="12190413" y="5096887"/>
                </a:lnTo>
                <a:lnTo>
                  <a:pt x="0" y="5096887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/>
          <a:p>
            <a:endParaRPr lang="de-DE" dirty="0"/>
          </a:p>
        </p:txBody>
      </p:sp>
      <p:sp>
        <p:nvSpPr>
          <p:cNvPr id="39" name="Titel 38">
            <a:extLst>
              <a:ext uri="{FF2B5EF4-FFF2-40B4-BE49-F238E27FC236}">
                <a16:creationId xmlns:a16="http://schemas.microsoft.com/office/drawing/2014/main" id="{ED96EB8F-9F3F-4A2B-BF42-45E49280C3A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-1" y="-1"/>
            <a:ext cx="12192001" cy="1763823"/>
          </a:xfrm>
          <a:custGeom>
            <a:avLst/>
            <a:gdLst>
              <a:gd name="connsiteX0" fmla="*/ 0 w 12190414"/>
              <a:gd name="connsiteY0" fmla="*/ 0 h 1763823"/>
              <a:gd name="connsiteX1" fmla="*/ 12190414 w 12190414"/>
              <a:gd name="connsiteY1" fmla="*/ 0 h 1763823"/>
              <a:gd name="connsiteX2" fmla="*/ 12190414 w 12190414"/>
              <a:gd name="connsiteY2" fmla="*/ 1763823 h 1763823"/>
              <a:gd name="connsiteX3" fmla="*/ 11891964 w 12190414"/>
              <a:gd name="connsiteY3" fmla="*/ 1763823 h 1763823"/>
              <a:gd name="connsiteX4" fmla="*/ 11891964 w 12190414"/>
              <a:gd name="connsiteY4" fmla="*/ 404717 h 1763823"/>
              <a:gd name="connsiteX5" fmla="*/ 9395044 w 12190414"/>
              <a:gd name="connsiteY5" fmla="*/ 404717 h 1763823"/>
              <a:gd name="connsiteX6" fmla="*/ 9395044 w 12190414"/>
              <a:gd name="connsiteY6" fmla="*/ 1763823 h 1763823"/>
              <a:gd name="connsiteX7" fmla="*/ 0 w 12190414"/>
              <a:gd name="connsiteY7" fmla="*/ 1763823 h 17638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0414" h="1763823">
                <a:moveTo>
                  <a:pt x="0" y="0"/>
                </a:moveTo>
                <a:lnTo>
                  <a:pt x="12190414" y="0"/>
                </a:lnTo>
                <a:lnTo>
                  <a:pt x="12190414" y="1763823"/>
                </a:lnTo>
                <a:lnTo>
                  <a:pt x="11891964" y="1763823"/>
                </a:lnTo>
                <a:lnTo>
                  <a:pt x="11891964" y="404717"/>
                </a:lnTo>
                <a:lnTo>
                  <a:pt x="9395044" y="404717"/>
                </a:lnTo>
                <a:lnTo>
                  <a:pt x="9395044" y="1763823"/>
                </a:lnTo>
                <a:lnTo>
                  <a:pt x="0" y="176382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/>
          <a:p>
            <a:endParaRPr lang="de-DE" dirty="0"/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C7A772C5-8646-40DD-AFD8-5E6D58BB3D6C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9396266" y="404716"/>
            <a:ext cx="2497245" cy="1359106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endParaRPr lang="de-DE" altLang="de-DE" sz="1800"/>
          </a:p>
        </p:txBody>
      </p:sp>
      <p:sp>
        <p:nvSpPr>
          <p:cNvPr id="10" name="Freeform 7">
            <a:extLst>
              <a:ext uri="{FF2B5EF4-FFF2-40B4-BE49-F238E27FC236}">
                <a16:creationId xmlns:a16="http://schemas.microsoft.com/office/drawing/2014/main" id="{45E4A78B-D07D-4172-8F22-B46A131BB9A4}"/>
              </a:ext>
            </a:extLst>
          </p:cNvPr>
          <p:cNvSpPr>
            <a:spLocks noEditPoints="1"/>
          </p:cNvSpPr>
          <p:nvPr userDrawn="1"/>
        </p:nvSpPr>
        <p:spPr bwMode="gray">
          <a:xfrm>
            <a:off x="9848858" y="944839"/>
            <a:ext cx="173051" cy="284275"/>
          </a:xfrm>
          <a:custGeom>
            <a:avLst/>
            <a:gdLst>
              <a:gd name="T0" fmla="*/ 206375 w 55"/>
              <a:gd name="T1" fmla="*/ 179798 h 89"/>
              <a:gd name="T2" fmla="*/ 206375 w 55"/>
              <a:gd name="T3" fmla="*/ 161069 h 89"/>
              <a:gd name="T4" fmla="*/ 105064 w 55"/>
              <a:gd name="T5" fmla="*/ 0 h 89"/>
              <a:gd name="T6" fmla="*/ 0 w 55"/>
              <a:gd name="T7" fmla="*/ 164815 h 89"/>
              <a:gd name="T8" fmla="*/ 105064 w 55"/>
              <a:gd name="T9" fmla="*/ 333375 h 89"/>
              <a:gd name="T10" fmla="*/ 202623 w 55"/>
              <a:gd name="T11" fmla="*/ 221001 h 89"/>
              <a:gd name="T12" fmla="*/ 138834 w 55"/>
              <a:gd name="T13" fmla="*/ 221001 h 89"/>
              <a:gd name="T14" fmla="*/ 101311 w 55"/>
              <a:gd name="T15" fmla="*/ 280934 h 89"/>
              <a:gd name="T16" fmla="*/ 67541 w 55"/>
              <a:gd name="T17" fmla="*/ 206018 h 89"/>
              <a:gd name="T18" fmla="*/ 67541 w 55"/>
              <a:gd name="T19" fmla="*/ 179798 h 89"/>
              <a:gd name="T20" fmla="*/ 206375 w 55"/>
              <a:gd name="T21" fmla="*/ 179798 h 89"/>
              <a:gd name="T22" fmla="*/ 67541 w 55"/>
              <a:gd name="T23" fmla="*/ 131103 h 89"/>
              <a:gd name="T24" fmla="*/ 67541 w 55"/>
              <a:gd name="T25" fmla="*/ 119865 h 89"/>
              <a:gd name="T26" fmla="*/ 105064 w 55"/>
              <a:gd name="T27" fmla="*/ 56187 h 89"/>
              <a:gd name="T28" fmla="*/ 138834 w 55"/>
              <a:gd name="T29" fmla="*/ 131103 h 89"/>
              <a:gd name="T30" fmla="*/ 67541 w 55"/>
              <a:gd name="T31" fmla="*/ 131103 h 89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55" h="89">
                <a:moveTo>
                  <a:pt x="55" y="48"/>
                </a:moveTo>
                <a:cubicBezTo>
                  <a:pt x="55" y="43"/>
                  <a:pt x="55" y="43"/>
                  <a:pt x="55" y="43"/>
                </a:cubicBezTo>
                <a:cubicBezTo>
                  <a:pt x="55" y="17"/>
                  <a:pt x="50" y="0"/>
                  <a:pt x="28" y="0"/>
                </a:cubicBezTo>
                <a:cubicBezTo>
                  <a:pt x="4" y="0"/>
                  <a:pt x="0" y="21"/>
                  <a:pt x="0" y="44"/>
                </a:cubicBezTo>
                <a:cubicBezTo>
                  <a:pt x="0" y="65"/>
                  <a:pt x="1" y="89"/>
                  <a:pt x="28" y="89"/>
                </a:cubicBezTo>
                <a:cubicBezTo>
                  <a:pt x="45" y="89"/>
                  <a:pt x="53" y="78"/>
                  <a:pt x="54" y="59"/>
                </a:cubicBezTo>
                <a:cubicBezTo>
                  <a:pt x="37" y="59"/>
                  <a:pt x="37" y="59"/>
                  <a:pt x="37" y="59"/>
                </a:cubicBezTo>
                <a:cubicBezTo>
                  <a:pt x="36" y="69"/>
                  <a:pt x="34" y="75"/>
                  <a:pt x="27" y="75"/>
                </a:cubicBezTo>
                <a:cubicBezTo>
                  <a:pt x="21" y="75"/>
                  <a:pt x="18" y="65"/>
                  <a:pt x="18" y="55"/>
                </a:cubicBezTo>
                <a:cubicBezTo>
                  <a:pt x="18" y="48"/>
                  <a:pt x="18" y="48"/>
                  <a:pt x="18" y="48"/>
                </a:cubicBezTo>
                <a:lnTo>
                  <a:pt x="55" y="48"/>
                </a:lnTo>
                <a:close/>
                <a:moveTo>
                  <a:pt x="18" y="35"/>
                </a:moveTo>
                <a:cubicBezTo>
                  <a:pt x="18" y="32"/>
                  <a:pt x="18" y="32"/>
                  <a:pt x="18" y="32"/>
                </a:cubicBezTo>
                <a:cubicBezTo>
                  <a:pt x="18" y="24"/>
                  <a:pt x="20" y="15"/>
                  <a:pt x="28" y="15"/>
                </a:cubicBezTo>
                <a:cubicBezTo>
                  <a:pt x="35" y="15"/>
                  <a:pt x="37" y="22"/>
                  <a:pt x="37" y="35"/>
                </a:cubicBezTo>
                <a:lnTo>
                  <a:pt x="18" y="35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 sz="1800"/>
          </a:p>
        </p:txBody>
      </p:sp>
      <p:sp>
        <p:nvSpPr>
          <p:cNvPr id="11" name="Freeform 8">
            <a:extLst>
              <a:ext uri="{FF2B5EF4-FFF2-40B4-BE49-F238E27FC236}">
                <a16:creationId xmlns:a16="http://schemas.microsoft.com/office/drawing/2014/main" id="{03BC9DE1-2EEB-49C8-821E-6C79028A39D2}"/>
              </a:ext>
            </a:extLst>
          </p:cNvPr>
          <p:cNvSpPr>
            <a:spLocks noEditPoints="1"/>
          </p:cNvSpPr>
          <p:nvPr userDrawn="1"/>
        </p:nvSpPr>
        <p:spPr bwMode="gray">
          <a:xfrm>
            <a:off x="10044539" y="862264"/>
            <a:ext cx="175712" cy="366850"/>
          </a:xfrm>
          <a:custGeom>
            <a:avLst/>
            <a:gdLst>
              <a:gd name="T0" fmla="*/ 67355 w 56"/>
              <a:gd name="T1" fmla="*/ 265609 h 115"/>
              <a:gd name="T2" fmla="*/ 104775 w 56"/>
              <a:gd name="T3" fmla="*/ 160862 h 115"/>
              <a:gd name="T4" fmla="*/ 138453 w 56"/>
              <a:gd name="T5" fmla="*/ 265609 h 115"/>
              <a:gd name="T6" fmla="*/ 104775 w 56"/>
              <a:gd name="T7" fmla="*/ 370356 h 115"/>
              <a:gd name="T8" fmla="*/ 67355 w 56"/>
              <a:gd name="T9" fmla="*/ 265609 h 115"/>
              <a:gd name="T10" fmla="*/ 0 w 56"/>
              <a:gd name="T11" fmla="*/ 422730 h 115"/>
              <a:gd name="T12" fmla="*/ 63613 w 56"/>
              <a:gd name="T13" fmla="*/ 422730 h 115"/>
              <a:gd name="T14" fmla="*/ 63613 w 56"/>
              <a:gd name="T15" fmla="*/ 389061 h 115"/>
              <a:gd name="T16" fmla="*/ 63613 w 56"/>
              <a:gd name="T17" fmla="*/ 389061 h 115"/>
              <a:gd name="T18" fmla="*/ 127227 w 56"/>
              <a:gd name="T19" fmla="*/ 430212 h 115"/>
              <a:gd name="T20" fmla="*/ 209550 w 56"/>
              <a:gd name="T21" fmla="*/ 265609 h 115"/>
              <a:gd name="T22" fmla="*/ 127227 w 56"/>
              <a:gd name="T23" fmla="*/ 97265 h 115"/>
              <a:gd name="T24" fmla="*/ 67355 w 56"/>
              <a:gd name="T25" fmla="*/ 134675 h 115"/>
              <a:gd name="T26" fmla="*/ 67355 w 56"/>
              <a:gd name="T27" fmla="*/ 134675 h 115"/>
              <a:gd name="T28" fmla="*/ 67355 w 56"/>
              <a:gd name="T29" fmla="*/ 0 h 115"/>
              <a:gd name="T30" fmla="*/ 0 w 56"/>
              <a:gd name="T31" fmla="*/ 0 h 115"/>
              <a:gd name="T32" fmla="*/ 0 w 56"/>
              <a:gd name="T33" fmla="*/ 422730 h 115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56" h="115">
                <a:moveTo>
                  <a:pt x="18" y="71"/>
                </a:moveTo>
                <a:cubicBezTo>
                  <a:pt x="18" y="52"/>
                  <a:pt x="20" y="43"/>
                  <a:pt x="28" y="43"/>
                </a:cubicBezTo>
                <a:cubicBezTo>
                  <a:pt x="36" y="43"/>
                  <a:pt x="37" y="52"/>
                  <a:pt x="37" y="71"/>
                </a:cubicBezTo>
                <a:cubicBezTo>
                  <a:pt x="37" y="89"/>
                  <a:pt x="36" y="99"/>
                  <a:pt x="28" y="99"/>
                </a:cubicBezTo>
                <a:cubicBezTo>
                  <a:pt x="20" y="99"/>
                  <a:pt x="18" y="89"/>
                  <a:pt x="18" y="71"/>
                </a:cubicBezTo>
                <a:close/>
                <a:moveTo>
                  <a:pt x="0" y="113"/>
                </a:moveTo>
                <a:cubicBezTo>
                  <a:pt x="17" y="113"/>
                  <a:pt x="17" y="113"/>
                  <a:pt x="17" y="113"/>
                </a:cubicBezTo>
                <a:cubicBezTo>
                  <a:pt x="17" y="104"/>
                  <a:pt x="17" y="104"/>
                  <a:pt x="17" y="104"/>
                </a:cubicBezTo>
                <a:cubicBezTo>
                  <a:pt x="17" y="104"/>
                  <a:pt x="17" y="104"/>
                  <a:pt x="17" y="104"/>
                </a:cubicBezTo>
                <a:cubicBezTo>
                  <a:pt x="21" y="112"/>
                  <a:pt x="27" y="115"/>
                  <a:pt x="34" y="115"/>
                </a:cubicBezTo>
                <a:cubicBezTo>
                  <a:pt x="49" y="115"/>
                  <a:pt x="56" y="102"/>
                  <a:pt x="56" y="71"/>
                </a:cubicBezTo>
                <a:cubicBezTo>
                  <a:pt x="56" y="39"/>
                  <a:pt x="49" y="26"/>
                  <a:pt x="34" y="26"/>
                </a:cubicBezTo>
                <a:cubicBezTo>
                  <a:pt x="27" y="26"/>
                  <a:pt x="22" y="29"/>
                  <a:pt x="18" y="36"/>
                </a:cubicBezTo>
                <a:cubicBezTo>
                  <a:pt x="18" y="36"/>
                  <a:pt x="18" y="36"/>
                  <a:pt x="18" y="36"/>
                </a:cubicBezTo>
                <a:cubicBezTo>
                  <a:pt x="18" y="0"/>
                  <a:pt x="18" y="0"/>
                  <a:pt x="18" y="0"/>
                </a:cubicBezTo>
                <a:cubicBezTo>
                  <a:pt x="0" y="0"/>
                  <a:pt x="0" y="0"/>
                  <a:pt x="0" y="0"/>
                </a:cubicBezTo>
                <a:lnTo>
                  <a:pt x="0" y="113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 sz="1800"/>
          </a:p>
        </p:txBody>
      </p:sp>
      <p:sp>
        <p:nvSpPr>
          <p:cNvPr id="12" name="Freeform 9">
            <a:extLst>
              <a:ext uri="{FF2B5EF4-FFF2-40B4-BE49-F238E27FC236}">
                <a16:creationId xmlns:a16="http://schemas.microsoft.com/office/drawing/2014/main" id="{B044879D-04F3-4D03-872C-D671BF163B88}"/>
              </a:ext>
            </a:extLst>
          </p:cNvPr>
          <p:cNvSpPr>
            <a:spLocks/>
          </p:cNvSpPr>
          <p:nvPr userDrawn="1"/>
        </p:nvSpPr>
        <p:spPr bwMode="gray">
          <a:xfrm>
            <a:off x="10245543" y="942131"/>
            <a:ext cx="276880" cy="281568"/>
          </a:xfrm>
          <a:custGeom>
            <a:avLst/>
            <a:gdLst>
              <a:gd name="T0" fmla="*/ 0 w 88"/>
              <a:gd name="T1" fmla="*/ 330200 h 88"/>
              <a:gd name="T2" fmla="*/ 67541 w 88"/>
              <a:gd name="T3" fmla="*/ 330200 h 88"/>
              <a:gd name="T4" fmla="*/ 67541 w 88"/>
              <a:gd name="T5" fmla="*/ 120073 h 88"/>
              <a:gd name="T6" fmla="*/ 105064 w 88"/>
              <a:gd name="T7" fmla="*/ 67541 h 88"/>
              <a:gd name="T8" fmla="*/ 131330 w 88"/>
              <a:gd name="T9" fmla="*/ 108816 h 88"/>
              <a:gd name="T10" fmla="*/ 131330 w 88"/>
              <a:gd name="T11" fmla="*/ 330200 h 88"/>
              <a:gd name="T12" fmla="*/ 198870 w 88"/>
              <a:gd name="T13" fmla="*/ 330200 h 88"/>
              <a:gd name="T14" fmla="*/ 198870 w 88"/>
              <a:gd name="T15" fmla="*/ 120073 h 88"/>
              <a:gd name="T16" fmla="*/ 236393 w 88"/>
              <a:gd name="T17" fmla="*/ 67541 h 88"/>
              <a:gd name="T18" fmla="*/ 262659 w 88"/>
              <a:gd name="T19" fmla="*/ 108816 h 88"/>
              <a:gd name="T20" fmla="*/ 262659 w 88"/>
              <a:gd name="T21" fmla="*/ 330200 h 88"/>
              <a:gd name="T22" fmla="*/ 330200 w 88"/>
              <a:gd name="T23" fmla="*/ 330200 h 88"/>
              <a:gd name="T24" fmla="*/ 330200 w 88"/>
              <a:gd name="T25" fmla="*/ 97559 h 88"/>
              <a:gd name="T26" fmla="*/ 262659 w 88"/>
              <a:gd name="T27" fmla="*/ 3752 h 88"/>
              <a:gd name="T28" fmla="*/ 195118 w 88"/>
              <a:gd name="T29" fmla="*/ 52532 h 88"/>
              <a:gd name="T30" fmla="*/ 195118 w 88"/>
              <a:gd name="T31" fmla="*/ 52532 h 88"/>
              <a:gd name="T32" fmla="*/ 135082 w 88"/>
              <a:gd name="T33" fmla="*/ 3752 h 88"/>
              <a:gd name="T34" fmla="*/ 63789 w 88"/>
              <a:gd name="T35" fmla="*/ 45027 h 88"/>
              <a:gd name="T36" fmla="*/ 63789 w 88"/>
              <a:gd name="T37" fmla="*/ 45027 h 88"/>
              <a:gd name="T38" fmla="*/ 63789 w 88"/>
              <a:gd name="T39" fmla="*/ 11257 h 88"/>
              <a:gd name="T40" fmla="*/ 0 w 88"/>
              <a:gd name="T41" fmla="*/ 11257 h 88"/>
              <a:gd name="T42" fmla="*/ 0 w 88"/>
              <a:gd name="T43" fmla="*/ 330200 h 88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88" h="88">
                <a:moveTo>
                  <a:pt x="0" y="88"/>
                </a:moveTo>
                <a:cubicBezTo>
                  <a:pt x="18" y="88"/>
                  <a:pt x="18" y="88"/>
                  <a:pt x="18" y="88"/>
                </a:cubicBezTo>
                <a:cubicBezTo>
                  <a:pt x="18" y="32"/>
                  <a:pt x="18" y="32"/>
                  <a:pt x="18" y="32"/>
                </a:cubicBezTo>
                <a:cubicBezTo>
                  <a:pt x="18" y="22"/>
                  <a:pt x="22" y="18"/>
                  <a:pt x="28" y="18"/>
                </a:cubicBezTo>
                <a:cubicBezTo>
                  <a:pt x="33" y="18"/>
                  <a:pt x="35" y="22"/>
                  <a:pt x="35" y="29"/>
                </a:cubicBezTo>
                <a:cubicBezTo>
                  <a:pt x="35" y="88"/>
                  <a:pt x="35" y="88"/>
                  <a:pt x="35" y="88"/>
                </a:cubicBezTo>
                <a:cubicBezTo>
                  <a:pt x="53" y="88"/>
                  <a:pt x="53" y="88"/>
                  <a:pt x="53" y="88"/>
                </a:cubicBezTo>
                <a:cubicBezTo>
                  <a:pt x="53" y="32"/>
                  <a:pt x="53" y="32"/>
                  <a:pt x="53" y="32"/>
                </a:cubicBezTo>
                <a:cubicBezTo>
                  <a:pt x="53" y="22"/>
                  <a:pt x="57" y="18"/>
                  <a:pt x="63" y="18"/>
                </a:cubicBezTo>
                <a:cubicBezTo>
                  <a:pt x="68" y="18"/>
                  <a:pt x="70" y="22"/>
                  <a:pt x="70" y="29"/>
                </a:cubicBezTo>
                <a:cubicBezTo>
                  <a:pt x="70" y="88"/>
                  <a:pt x="70" y="88"/>
                  <a:pt x="70" y="88"/>
                </a:cubicBezTo>
                <a:cubicBezTo>
                  <a:pt x="88" y="88"/>
                  <a:pt x="88" y="88"/>
                  <a:pt x="88" y="88"/>
                </a:cubicBezTo>
                <a:cubicBezTo>
                  <a:pt x="88" y="26"/>
                  <a:pt x="88" y="26"/>
                  <a:pt x="88" y="26"/>
                </a:cubicBezTo>
                <a:cubicBezTo>
                  <a:pt x="88" y="10"/>
                  <a:pt x="83" y="1"/>
                  <a:pt x="70" y="1"/>
                </a:cubicBezTo>
                <a:cubicBezTo>
                  <a:pt x="62" y="0"/>
                  <a:pt x="54" y="6"/>
                  <a:pt x="52" y="14"/>
                </a:cubicBezTo>
                <a:cubicBezTo>
                  <a:pt x="52" y="14"/>
                  <a:pt x="52" y="14"/>
                  <a:pt x="52" y="14"/>
                </a:cubicBezTo>
                <a:cubicBezTo>
                  <a:pt x="51" y="6"/>
                  <a:pt x="44" y="0"/>
                  <a:pt x="36" y="1"/>
                </a:cubicBezTo>
                <a:cubicBezTo>
                  <a:pt x="28" y="1"/>
                  <a:pt x="21" y="5"/>
                  <a:pt x="17" y="12"/>
                </a:cubicBezTo>
                <a:cubicBezTo>
                  <a:pt x="17" y="12"/>
                  <a:pt x="17" y="12"/>
                  <a:pt x="17" y="12"/>
                </a:cubicBezTo>
                <a:cubicBezTo>
                  <a:pt x="17" y="3"/>
                  <a:pt x="17" y="3"/>
                  <a:pt x="17" y="3"/>
                </a:cubicBezTo>
                <a:cubicBezTo>
                  <a:pt x="0" y="3"/>
                  <a:pt x="0" y="3"/>
                  <a:pt x="0" y="3"/>
                </a:cubicBezTo>
                <a:lnTo>
                  <a:pt x="0" y="8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 sz="1800"/>
          </a:p>
        </p:txBody>
      </p:sp>
      <p:sp>
        <p:nvSpPr>
          <p:cNvPr id="13" name="Freeform 10">
            <a:extLst>
              <a:ext uri="{FF2B5EF4-FFF2-40B4-BE49-F238E27FC236}">
                <a16:creationId xmlns:a16="http://schemas.microsoft.com/office/drawing/2014/main" id="{320EBEDA-1DB4-40A7-9B52-C55399F1A3FF}"/>
              </a:ext>
            </a:extLst>
          </p:cNvPr>
          <p:cNvSpPr>
            <a:spLocks noEditPoints="1"/>
          </p:cNvSpPr>
          <p:nvPr userDrawn="1"/>
        </p:nvSpPr>
        <p:spPr bwMode="gray">
          <a:xfrm>
            <a:off x="10569014" y="944838"/>
            <a:ext cx="175712" cy="368204"/>
          </a:xfrm>
          <a:custGeom>
            <a:avLst/>
            <a:gdLst>
              <a:gd name="T0" fmla="*/ 67355 w 56"/>
              <a:gd name="T1" fmla="*/ 168965 h 115"/>
              <a:gd name="T2" fmla="*/ 104775 w 56"/>
              <a:gd name="T3" fmla="*/ 63831 h 115"/>
              <a:gd name="T4" fmla="*/ 142195 w 56"/>
              <a:gd name="T5" fmla="*/ 168965 h 115"/>
              <a:gd name="T6" fmla="*/ 104775 w 56"/>
              <a:gd name="T7" fmla="*/ 274099 h 115"/>
              <a:gd name="T8" fmla="*/ 67355 w 56"/>
              <a:gd name="T9" fmla="*/ 168965 h 115"/>
              <a:gd name="T10" fmla="*/ 0 w 56"/>
              <a:gd name="T11" fmla="*/ 431800 h 115"/>
              <a:gd name="T12" fmla="*/ 67355 w 56"/>
              <a:gd name="T13" fmla="*/ 431800 h 115"/>
              <a:gd name="T14" fmla="*/ 67355 w 56"/>
              <a:gd name="T15" fmla="*/ 296628 h 115"/>
              <a:gd name="T16" fmla="*/ 71097 w 56"/>
              <a:gd name="T17" fmla="*/ 296628 h 115"/>
              <a:gd name="T18" fmla="*/ 127227 w 56"/>
              <a:gd name="T19" fmla="*/ 334176 h 115"/>
              <a:gd name="T20" fmla="*/ 209550 w 56"/>
              <a:gd name="T21" fmla="*/ 168965 h 115"/>
              <a:gd name="T22" fmla="*/ 127227 w 56"/>
              <a:gd name="T23" fmla="*/ 0 h 115"/>
              <a:gd name="T24" fmla="*/ 67355 w 56"/>
              <a:gd name="T25" fmla="*/ 41303 h 115"/>
              <a:gd name="T26" fmla="*/ 67355 w 56"/>
              <a:gd name="T27" fmla="*/ 41303 h 115"/>
              <a:gd name="T28" fmla="*/ 67355 w 56"/>
              <a:gd name="T29" fmla="*/ 7510 h 115"/>
              <a:gd name="T30" fmla="*/ 0 w 56"/>
              <a:gd name="T31" fmla="*/ 7510 h 115"/>
              <a:gd name="T32" fmla="*/ 0 w 56"/>
              <a:gd name="T33" fmla="*/ 431800 h 115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56" h="115">
                <a:moveTo>
                  <a:pt x="18" y="45"/>
                </a:moveTo>
                <a:cubicBezTo>
                  <a:pt x="18" y="26"/>
                  <a:pt x="20" y="17"/>
                  <a:pt x="28" y="17"/>
                </a:cubicBezTo>
                <a:cubicBezTo>
                  <a:pt x="36" y="17"/>
                  <a:pt x="38" y="26"/>
                  <a:pt x="38" y="45"/>
                </a:cubicBezTo>
                <a:cubicBezTo>
                  <a:pt x="38" y="63"/>
                  <a:pt x="36" y="73"/>
                  <a:pt x="28" y="73"/>
                </a:cubicBezTo>
                <a:cubicBezTo>
                  <a:pt x="20" y="73"/>
                  <a:pt x="18" y="63"/>
                  <a:pt x="18" y="45"/>
                </a:cubicBezTo>
                <a:close/>
                <a:moveTo>
                  <a:pt x="0" y="115"/>
                </a:moveTo>
                <a:cubicBezTo>
                  <a:pt x="18" y="115"/>
                  <a:pt x="18" y="115"/>
                  <a:pt x="18" y="115"/>
                </a:cubicBezTo>
                <a:cubicBezTo>
                  <a:pt x="18" y="79"/>
                  <a:pt x="18" y="79"/>
                  <a:pt x="18" y="79"/>
                </a:cubicBezTo>
                <a:cubicBezTo>
                  <a:pt x="19" y="79"/>
                  <a:pt x="19" y="79"/>
                  <a:pt x="19" y="79"/>
                </a:cubicBezTo>
                <a:cubicBezTo>
                  <a:pt x="23" y="86"/>
                  <a:pt x="27" y="89"/>
                  <a:pt x="34" y="89"/>
                </a:cubicBezTo>
                <a:cubicBezTo>
                  <a:pt x="49" y="89"/>
                  <a:pt x="56" y="76"/>
                  <a:pt x="56" y="45"/>
                </a:cubicBezTo>
                <a:cubicBezTo>
                  <a:pt x="56" y="13"/>
                  <a:pt x="49" y="0"/>
                  <a:pt x="34" y="0"/>
                </a:cubicBezTo>
                <a:cubicBezTo>
                  <a:pt x="27" y="0"/>
                  <a:pt x="22" y="3"/>
                  <a:pt x="18" y="11"/>
                </a:cubicBezTo>
                <a:cubicBezTo>
                  <a:pt x="18" y="11"/>
                  <a:pt x="18" y="11"/>
                  <a:pt x="18" y="11"/>
                </a:cubicBezTo>
                <a:cubicBezTo>
                  <a:pt x="18" y="2"/>
                  <a:pt x="18" y="2"/>
                  <a:pt x="18" y="2"/>
                </a:cubicBezTo>
                <a:cubicBezTo>
                  <a:pt x="0" y="2"/>
                  <a:pt x="0" y="2"/>
                  <a:pt x="0" y="2"/>
                </a:cubicBezTo>
                <a:lnTo>
                  <a:pt x="0" y="115"/>
                </a:lnTo>
                <a:close/>
              </a:path>
            </a:pathLst>
          </a:custGeom>
          <a:solidFill>
            <a:srgbClr val="007CB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 sz="1800"/>
          </a:p>
        </p:txBody>
      </p:sp>
      <p:sp>
        <p:nvSpPr>
          <p:cNvPr id="14" name="Freeform 11">
            <a:extLst>
              <a:ext uri="{FF2B5EF4-FFF2-40B4-BE49-F238E27FC236}">
                <a16:creationId xmlns:a16="http://schemas.microsoft.com/office/drawing/2014/main" id="{471BE05E-2FA0-4F9D-95EF-6F48735974A7}"/>
              </a:ext>
            </a:extLst>
          </p:cNvPr>
          <p:cNvSpPr>
            <a:spLocks noEditPoints="1"/>
          </p:cNvSpPr>
          <p:nvPr userDrawn="1"/>
        </p:nvSpPr>
        <p:spPr bwMode="gray">
          <a:xfrm>
            <a:off x="10764692" y="944839"/>
            <a:ext cx="173051" cy="284275"/>
          </a:xfrm>
          <a:custGeom>
            <a:avLst/>
            <a:gdLst>
              <a:gd name="T0" fmla="*/ 67541 w 55"/>
              <a:gd name="T1" fmla="*/ 104882 h 89"/>
              <a:gd name="T2" fmla="*/ 67541 w 55"/>
              <a:gd name="T3" fmla="*/ 97390 h 89"/>
              <a:gd name="T4" fmla="*/ 101311 w 55"/>
              <a:gd name="T5" fmla="*/ 56187 h 89"/>
              <a:gd name="T6" fmla="*/ 131330 w 55"/>
              <a:gd name="T7" fmla="*/ 93645 h 89"/>
              <a:gd name="T8" fmla="*/ 105064 w 55"/>
              <a:gd name="T9" fmla="*/ 131103 h 89"/>
              <a:gd name="T10" fmla="*/ 67541 w 55"/>
              <a:gd name="T11" fmla="*/ 142340 h 89"/>
              <a:gd name="T12" fmla="*/ 0 w 55"/>
              <a:gd name="T13" fmla="*/ 243476 h 89"/>
              <a:gd name="T14" fmla="*/ 63789 w 55"/>
              <a:gd name="T15" fmla="*/ 333375 h 89"/>
              <a:gd name="T16" fmla="*/ 131330 w 55"/>
              <a:gd name="T17" fmla="*/ 292171 h 89"/>
              <a:gd name="T18" fmla="*/ 131330 w 55"/>
              <a:gd name="T19" fmla="*/ 292171 h 89"/>
              <a:gd name="T20" fmla="*/ 142586 w 55"/>
              <a:gd name="T21" fmla="*/ 325883 h 89"/>
              <a:gd name="T22" fmla="*/ 206375 w 55"/>
              <a:gd name="T23" fmla="*/ 325883 h 89"/>
              <a:gd name="T24" fmla="*/ 198870 w 55"/>
              <a:gd name="T25" fmla="*/ 265951 h 89"/>
              <a:gd name="T26" fmla="*/ 198870 w 55"/>
              <a:gd name="T27" fmla="*/ 97390 h 89"/>
              <a:gd name="T28" fmla="*/ 101311 w 55"/>
              <a:gd name="T29" fmla="*/ 0 h 89"/>
              <a:gd name="T30" fmla="*/ 7505 w 55"/>
              <a:gd name="T31" fmla="*/ 97390 h 89"/>
              <a:gd name="T32" fmla="*/ 7505 w 55"/>
              <a:gd name="T33" fmla="*/ 104882 h 89"/>
              <a:gd name="T34" fmla="*/ 67541 w 55"/>
              <a:gd name="T35" fmla="*/ 104882 h 89"/>
              <a:gd name="T36" fmla="*/ 131330 w 55"/>
              <a:gd name="T37" fmla="*/ 228493 h 89"/>
              <a:gd name="T38" fmla="*/ 93807 w 55"/>
              <a:gd name="T39" fmla="*/ 280934 h 89"/>
              <a:gd name="T40" fmla="*/ 90055 w 55"/>
              <a:gd name="T41" fmla="*/ 280934 h 89"/>
              <a:gd name="T42" fmla="*/ 63789 w 55"/>
              <a:gd name="T43" fmla="*/ 235985 h 89"/>
              <a:gd name="T44" fmla="*/ 105064 w 55"/>
              <a:gd name="T45" fmla="*/ 183544 h 89"/>
              <a:gd name="T46" fmla="*/ 135082 w 55"/>
              <a:gd name="T47" fmla="*/ 168560 h 89"/>
              <a:gd name="T48" fmla="*/ 135082 w 55"/>
              <a:gd name="T49" fmla="*/ 228493 h 89"/>
              <a:gd name="T50" fmla="*/ 131330 w 55"/>
              <a:gd name="T51" fmla="*/ 228493 h 89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55" h="89">
                <a:moveTo>
                  <a:pt x="18" y="28"/>
                </a:moveTo>
                <a:cubicBezTo>
                  <a:pt x="18" y="26"/>
                  <a:pt x="18" y="26"/>
                  <a:pt x="18" y="26"/>
                </a:cubicBezTo>
                <a:cubicBezTo>
                  <a:pt x="18" y="19"/>
                  <a:pt x="21" y="15"/>
                  <a:pt x="27" y="15"/>
                </a:cubicBezTo>
                <a:cubicBezTo>
                  <a:pt x="32" y="15"/>
                  <a:pt x="35" y="19"/>
                  <a:pt x="35" y="25"/>
                </a:cubicBezTo>
                <a:cubicBezTo>
                  <a:pt x="36" y="30"/>
                  <a:pt x="33" y="34"/>
                  <a:pt x="28" y="35"/>
                </a:cubicBezTo>
                <a:cubicBezTo>
                  <a:pt x="18" y="38"/>
                  <a:pt x="18" y="38"/>
                  <a:pt x="18" y="38"/>
                </a:cubicBezTo>
                <a:cubicBezTo>
                  <a:pt x="5" y="42"/>
                  <a:pt x="0" y="49"/>
                  <a:pt x="0" y="65"/>
                </a:cubicBezTo>
                <a:cubicBezTo>
                  <a:pt x="0" y="76"/>
                  <a:pt x="4" y="89"/>
                  <a:pt x="17" y="89"/>
                </a:cubicBezTo>
                <a:cubicBezTo>
                  <a:pt x="26" y="89"/>
                  <a:pt x="31" y="87"/>
                  <a:pt x="35" y="78"/>
                </a:cubicBezTo>
                <a:cubicBezTo>
                  <a:pt x="35" y="78"/>
                  <a:pt x="35" y="78"/>
                  <a:pt x="35" y="78"/>
                </a:cubicBezTo>
                <a:cubicBezTo>
                  <a:pt x="36" y="81"/>
                  <a:pt x="37" y="84"/>
                  <a:pt x="38" y="87"/>
                </a:cubicBezTo>
                <a:cubicBezTo>
                  <a:pt x="55" y="87"/>
                  <a:pt x="55" y="87"/>
                  <a:pt x="55" y="87"/>
                </a:cubicBezTo>
                <a:cubicBezTo>
                  <a:pt x="53" y="82"/>
                  <a:pt x="53" y="76"/>
                  <a:pt x="53" y="71"/>
                </a:cubicBezTo>
                <a:cubicBezTo>
                  <a:pt x="53" y="26"/>
                  <a:pt x="53" y="26"/>
                  <a:pt x="53" y="26"/>
                </a:cubicBezTo>
                <a:cubicBezTo>
                  <a:pt x="53" y="11"/>
                  <a:pt x="49" y="0"/>
                  <a:pt x="27" y="0"/>
                </a:cubicBezTo>
                <a:cubicBezTo>
                  <a:pt x="13" y="0"/>
                  <a:pt x="2" y="6"/>
                  <a:pt x="2" y="26"/>
                </a:cubicBezTo>
                <a:cubicBezTo>
                  <a:pt x="2" y="28"/>
                  <a:pt x="2" y="28"/>
                  <a:pt x="2" y="28"/>
                </a:cubicBezTo>
                <a:lnTo>
                  <a:pt x="18" y="28"/>
                </a:lnTo>
                <a:close/>
                <a:moveTo>
                  <a:pt x="35" y="61"/>
                </a:moveTo>
                <a:cubicBezTo>
                  <a:pt x="36" y="68"/>
                  <a:pt x="31" y="74"/>
                  <a:pt x="25" y="75"/>
                </a:cubicBezTo>
                <a:cubicBezTo>
                  <a:pt x="24" y="75"/>
                  <a:pt x="24" y="75"/>
                  <a:pt x="24" y="75"/>
                </a:cubicBezTo>
                <a:cubicBezTo>
                  <a:pt x="19" y="75"/>
                  <a:pt x="17" y="69"/>
                  <a:pt x="17" y="63"/>
                </a:cubicBezTo>
                <a:cubicBezTo>
                  <a:pt x="16" y="56"/>
                  <a:pt x="21" y="50"/>
                  <a:pt x="28" y="49"/>
                </a:cubicBezTo>
                <a:cubicBezTo>
                  <a:pt x="30" y="48"/>
                  <a:pt x="33" y="46"/>
                  <a:pt x="36" y="45"/>
                </a:cubicBezTo>
                <a:cubicBezTo>
                  <a:pt x="36" y="61"/>
                  <a:pt x="36" y="61"/>
                  <a:pt x="36" y="61"/>
                </a:cubicBezTo>
                <a:lnTo>
                  <a:pt x="35" y="61"/>
                </a:lnTo>
                <a:close/>
              </a:path>
            </a:pathLst>
          </a:custGeom>
          <a:solidFill>
            <a:srgbClr val="007CB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 sz="1800"/>
          </a:p>
        </p:txBody>
      </p:sp>
      <p:sp>
        <p:nvSpPr>
          <p:cNvPr id="15" name="Freeform 12">
            <a:extLst>
              <a:ext uri="{FF2B5EF4-FFF2-40B4-BE49-F238E27FC236}">
                <a16:creationId xmlns:a16="http://schemas.microsoft.com/office/drawing/2014/main" id="{95801FC4-404B-4073-81FD-2C519E5B18A0}"/>
              </a:ext>
            </a:extLst>
          </p:cNvPr>
          <p:cNvSpPr>
            <a:spLocks noEditPoints="1"/>
          </p:cNvSpPr>
          <p:nvPr userDrawn="1"/>
        </p:nvSpPr>
        <p:spPr bwMode="gray">
          <a:xfrm>
            <a:off x="10961703" y="944838"/>
            <a:ext cx="177044" cy="368204"/>
          </a:xfrm>
          <a:custGeom>
            <a:avLst/>
            <a:gdLst>
              <a:gd name="T0" fmla="*/ 71636 w 56"/>
              <a:gd name="T1" fmla="*/ 168965 h 115"/>
              <a:gd name="T2" fmla="*/ 105569 w 56"/>
              <a:gd name="T3" fmla="*/ 63831 h 115"/>
              <a:gd name="T4" fmla="*/ 143272 w 56"/>
              <a:gd name="T5" fmla="*/ 168965 h 115"/>
              <a:gd name="T6" fmla="*/ 105569 w 56"/>
              <a:gd name="T7" fmla="*/ 274099 h 115"/>
              <a:gd name="T8" fmla="*/ 71636 w 56"/>
              <a:gd name="T9" fmla="*/ 168965 h 115"/>
              <a:gd name="T10" fmla="*/ 0 w 56"/>
              <a:gd name="T11" fmla="*/ 431800 h 115"/>
              <a:gd name="T12" fmla="*/ 71636 w 56"/>
              <a:gd name="T13" fmla="*/ 431800 h 115"/>
              <a:gd name="T14" fmla="*/ 71636 w 56"/>
              <a:gd name="T15" fmla="*/ 296628 h 115"/>
              <a:gd name="T16" fmla="*/ 71636 w 56"/>
              <a:gd name="T17" fmla="*/ 296628 h 115"/>
              <a:gd name="T18" fmla="*/ 128191 w 56"/>
              <a:gd name="T19" fmla="*/ 334176 h 115"/>
              <a:gd name="T20" fmla="*/ 211138 w 56"/>
              <a:gd name="T21" fmla="*/ 168965 h 115"/>
              <a:gd name="T22" fmla="*/ 128191 w 56"/>
              <a:gd name="T23" fmla="*/ 0 h 115"/>
              <a:gd name="T24" fmla="*/ 67866 w 56"/>
              <a:gd name="T25" fmla="*/ 41303 h 115"/>
              <a:gd name="T26" fmla="*/ 67866 w 56"/>
              <a:gd name="T27" fmla="*/ 41303 h 115"/>
              <a:gd name="T28" fmla="*/ 67866 w 56"/>
              <a:gd name="T29" fmla="*/ 7510 h 115"/>
              <a:gd name="T30" fmla="*/ 0 w 56"/>
              <a:gd name="T31" fmla="*/ 7510 h 115"/>
              <a:gd name="T32" fmla="*/ 0 w 56"/>
              <a:gd name="T33" fmla="*/ 431800 h 115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56" h="115">
                <a:moveTo>
                  <a:pt x="19" y="45"/>
                </a:moveTo>
                <a:cubicBezTo>
                  <a:pt x="19" y="26"/>
                  <a:pt x="20" y="17"/>
                  <a:pt x="28" y="17"/>
                </a:cubicBezTo>
                <a:cubicBezTo>
                  <a:pt x="37" y="17"/>
                  <a:pt x="38" y="26"/>
                  <a:pt x="38" y="45"/>
                </a:cubicBezTo>
                <a:cubicBezTo>
                  <a:pt x="38" y="63"/>
                  <a:pt x="36" y="73"/>
                  <a:pt x="28" y="73"/>
                </a:cubicBezTo>
                <a:cubicBezTo>
                  <a:pt x="20" y="73"/>
                  <a:pt x="19" y="63"/>
                  <a:pt x="19" y="45"/>
                </a:cubicBezTo>
                <a:close/>
                <a:moveTo>
                  <a:pt x="0" y="115"/>
                </a:moveTo>
                <a:cubicBezTo>
                  <a:pt x="19" y="115"/>
                  <a:pt x="19" y="115"/>
                  <a:pt x="19" y="115"/>
                </a:cubicBezTo>
                <a:cubicBezTo>
                  <a:pt x="19" y="79"/>
                  <a:pt x="19" y="79"/>
                  <a:pt x="19" y="79"/>
                </a:cubicBezTo>
                <a:cubicBezTo>
                  <a:pt x="19" y="79"/>
                  <a:pt x="19" y="79"/>
                  <a:pt x="19" y="79"/>
                </a:cubicBezTo>
                <a:cubicBezTo>
                  <a:pt x="22" y="85"/>
                  <a:pt x="28" y="89"/>
                  <a:pt x="34" y="89"/>
                </a:cubicBezTo>
                <a:cubicBezTo>
                  <a:pt x="49" y="89"/>
                  <a:pt x="56" y="76"/>
                  <a:pt x="56" y="45"/>
                </a:cubicBezTo>
                <a:cubicBezTo>
                  <a:pt x="56" y="13"/>
                  <a:pt x="49" y="0"/>
                  <a:pt x="34" y="0"/>
                </a:cubicBezTo>
                <a:cubicBezTo>
                  <a:pt x="27" y="0"/>
                  <a:pt x="22" y="3"/>
                  <a:pt x="18" y="11"/>
                </a:cubicBezTo>
                <a:cubicBezTo>
                  <a:pt x="18" y="11"/>
                  <a:pt x="18" y="11"/>
                  <a:pt x="18" y="11"/>
                </a:cubicBezTo>
                <a:cubicBezTo>
                  <a:pt x="18" y="2"/>
                  <a:pt x="18" y="2"/>
                  <a:pt x="18" y="2"/>
                </a:cubicBezTo>
                <a:cubicBezTo>
                  <a:pt x="0" y="2"/>
                  <a:pt x="0" y="2"/>
                  <a:pt x="0" y="2"/>
                </a:cubicBezTo>
                <a:cubicBezTo>
                  <a:pt x="0" y="115"/>
                  <a:pt x="0" y="115"/>
                  <a:pt x="0" y="115"/>
                </a:cubicBezTo>
                <a:close/>
              </a:path>
            </a:pathLst>
          </a:custGeom>
          <a:solidFill>
            <a:srgbClr val="007CB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 sz="1800"/>
          </a:p>
        </p:txBody>
      </p:sp>
      <p:sp>
        <p:nvSpPr>
          <p:cNvPr id="16" name="Freeform 13">
            <a:extLst>
              <a:ext uri="{FF2B5EF4-FFF2-40B4-BE49-F238E27FC236}">
                <a16:creationId xmlns:a16="http://schemas.microsoft.com/office/drawing/2014/main" id="{51E9CE5E-B7BA-4F57-A711-5EC8A1C8E6F8}"/>
              </a:ext>
            </a:extLst>
          </p:cNvPr>
          <p:cNvSpPr>
            <a:spLocks/>
          </p:cNvSpPr>
          <p:nvPr userDrawn="1"/>
        </p:nvSpPr>
        <p:spPr bwMode="gray">
          <a:xfrm>
            <a:off x="11154721" y="944839"/>
            <a:ext cx="166395" cy="284275"/>
          </a:xfrm>
          <a:custGeom>
            <a:avLst/>
            <a:gdLst>
              <a:gd name="T0" fmla="*/ 0 w 53"/>
              <a:gd name="T1" fmla="*/ 221001 h 89"/>
              <a:gd name="T2" fmla="*/ 0 w 53"/>
              <a:gd name="T3" fmla="*/ 232239 h 89"/>
              <a:gd name="T4" fmla="*/ 101091 w 53"/>
              <a:gd name="T5" fmla="*/ 333375 h 89"/>
              <a:gd name="T6" fmla="*/ 198438 w 53"/>
              <a:gd name="T7" fmla="*/ 235985 h 89"/>
              <a:gd name="T8" fmla="*/ 138532 w 53"/>
              <a:gd name="T9" fmla="*/ 142340 h 89"/>
              <a:gd name="T10" fmla="*/ 97347 w 53"/>
              <a:gd name="T11" fmla="*/ 127357 h 89"/>
              <a:gd name="T12" fmla="*/ 67394 w 53"/>
              <a:gd name="T13" fmla="*/ 89899 h 89"/>
              <a:gd name="T14" fmla="*/ 97347 w 53"/>
              <a:gd name="T15" fmla="*/ 56187 h 89"/>
              <a:gd name="T16" fmla="*/ 101091 w 53"/>
              <a:gd name="T17" fmla="*/ 56187 h 89"/>
              <a:gd name="T18" fmla="*/ 131044 w 53"/>
              <a:gd name="T19" fmla="*/ 104882 h 89"/>
              <a:gd name="T20" fmla="*/ 190950 w 53"/>
              <a:gd name="T21" fmla="*/ 104882 h 89"/>
              <a:gd name="T22" fmla="*/ 190950 w 53"/>
              <a:gd name="T23" fmla="*/ 89899 h 89"/>
              <a:gd name="T24" fmla="*/ 101091 w 53"/>
              <a:gd name="T25" fmla="*/ 0 h 89"/>
              <a:gd name="T26" fmla="*/ 3744 w 53"/>
              <a:gd name="T27" fmla="*/ 93645 h 89"/>
              <a:gd name="T28" fmla="*/ 59906 w 53"/>
              <a:gd name="T29" fmla="*/ 183544 h 89"/>
              <a:gd name="T30" fmla="*/ 108579 w 53"/>
              <a:gd name="T31" fmla="*/ 206018 h 89"/>
              <a:gd name="T32" fmla="*/ 134788 w 53"/>
              <a:gd name="T33" fmla="*/ 239730 h 89"/>
              <a:gd name="T34" fmla="*/ 97347 w 53"/>
              <a:gd name="T35" fmla="*/ 280934 h 89"/>
              <a:gd name="T36" fmla="*/ 63650 w 53"/>
              <a:gd name="T37" fmla="*/ 232239 h 89"/>
              <a:gd name="T38" fmla="*/ 63650 w 53"/>
              <a:gd name="T39" fmla="*/ 221001 h 89"/>
              <a:gd name="T40" fmla="*/ 0 w 53"/>
              <a:gd name="T41" fmla="*/ 221001 h 89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53" h="89">
                <a:moveTo>
                  <a:pt x="0" y="59"/>
                </a:moveTo>
                <a:cubicBezTo>
                  <a:pt x="0" y="62"/>
                  <a:pt x="0" y="62"/>
                  <a:pt x="0" y="62"/>
                </a:cubicBezTo>
                <a:cubicBezTo>
                  <a:pt x="0" y="79"/>
                  <a:pt x="6" y="89"/>
                  <a:pt x="27" y="89"/>
                </a:cubicBezTo>
                <a:cubicBezTo>
                  <a:pt x="42" y="89"/>
                  <a:pt x="53" y="81"/>
                  <a:pt x="53" y="63"/>
                </a:cubicBezTo>
                <a:cubicBezTo>
                  <a:pt x="53" y="50"/>
                  <a:pt x="49" y="43"/>
                  <a:pt x="37" y="38"/>
                </a:cubicBezTo>
                <a:cubicBezTo>
                  <a:pt x="26" y="34"/>
                  <a:pt x="26" y="34"/>
                  <a:pt x="26" y="34"/>
                </a:cubicBezTo>
                <a:cubicBezTo>
                  <a:pt x="20" y="31"/>
                  <a:pt x="18" y="28"/>
                  <a:pt x="18" y="24"/>
                </a:cubicBezTo>
                <a:cubicBezTo>
                  <a:pt x="18" y="19"/>
                  <a:pt x="21" y="15"/>
                  <a:pt x="26" y="15"/>
                </a:cubicBezTo>
                <a:cubicBezTo>
                  <a:pt x="26" y="15"/>
                  <a:pt x="27" y="15"/>
                  <a:pt x="27" y="15"/>
                </a:cubicBezTo>
                <a:cubicBezTo>
                  <a:pt x="33" y="15"/>
                  <a:pt x="35" y="19"/>
                  <a:pt x="35" y="28"/>
                </a:cubicBezTo>
                <a:cubicBezTo>
                  <a:pt x="51" y="28"/>
                  <a:pt x="51" y="28"/>
                  <a:pt x="51" y="28"/>
                </a:cubicBezTo>
                <a:cubicBezTo>
                  <a:pt x="51" y="24"/>
                  <a:pt x="51" y="24"/>
                  <a:pt x="51" y="24"/>
                </a:cubicBezTo>
                <a:cubicBezTo>
                  <a:pt x="51" y="9"/>
                  <a:pt x="43" y="0"/>
                  <a:pt x="27" y="0"/>
                </a:cubicBezTo>
                <a:cubicBezTo>
                  <a:pt x="8" y="0"/>
                  <a:pt x="1" y="11"/>
                  <a:pt x="1" y="25"/>
                </a:cubicBezTo>
                <a:cubicBezTo>
                  <a:pt x="0" y="36"/>
                  <a:pt x="6" y="46"/>
                  <a:pt x="16" y="49"/>
                </a:cubicBezTo>
                <a:cubicBezTo>
                  <a:pt x="29" y="55"/>
                  <a:pt x="29" y="55"/>
                  <a:pt x="29" y="55"/>
                </a:cubicBezTo>
                <a:cubicBezTo>
                  <a:pt x="33" y="56"/>
                  <a:pt x="36" y="60"/>
                  <a:pt x="36" y="64"/>
                </a:cubicBezTo>
                <a:cubicBezTo>
                  <a:pt x="36" y="71"/>
                  <a:pt x="32" y="75"/>
                  <a:pt x="26" y="75"/>
                </a:cubicBezTo>
                <a:cubicBezTo>
                  <a:pt x="20" y="75"/>
                  <a:pt x="17" y="70"/>
                  <a:pt x="17" y="62"/>
                </a:cubicBezTo>
                <a:cubicBezTo>
                  <a:pt x="17" y="59"/>
                  <a:pt x="17" y="59"/>
                  <a:pt x="17" y="59"/>
                </a:cubicBezTo>
                <a:lnTo>
                  <a:pt x="0" y="59"/>
                </a:lnTo>
                <a:close/>
              </a:path>
            </a:pathLst>
          </a:custGeom>
          <a:solidFill>
            <a:srgbClr val="007CB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 sz="1800"/>
          </a:p>
        </p:txBody>
      </p:sp>
      <p:sp>
        <p:nvSpPr>
          <p:cNvPr id="17" name="Freeform 14">
            <a:extLst>
              <a:ext uri="{FF2B5EF4-FFF2-40B4-BE49-F238E27FC236}">
                <a16:creationId xmlns:a16="http://schemas.microsoft.com/office/drawing/2014/main" id="{BED4F034-77EC-4EA3-81BF-574B85B039DF}"/>
              </a:ext>
            </a:extLst>
          </p:cNvPr>
          <p:cNvSpPr>
            <a:spLocks/>
          </p:cNvSpPr>
          <p:nvPr userDrawn="1"/>
        </p:nvSpPr>
        <p:spPr bwMode="gray">
          <a:xfrm>
            <a:off x="11323777" y="874446"/>
            <a:ext cx="122466" cy="351960"/>
          </a:xfrm>
          <a:custGeom>
            <a:avLst/>
            <a:gdLst>
              <a:gd name="T0" fmla="*/ 37449 w 39"/>
              <a:gd name="T1" fmla="*/ 90055 h 110"/>
              <a:gd name="T2" fmla="*/ 0 w 39"/>
              <a:gd name="T3" fmla="*/ 90055 h 110"/>
              <a:gd name="T4" fmla="*/ 0 w 39"/>
              <a:gd name="T5" fmla="*/ 146339 h 110"/>
              <a:gd name="T6" fmla="*/ 37449 w 39"/>
              <a:gd name="T7" fmla="*/ 146339 h 110"/>
              <a:gd name="T8" fmla="*/ 37449 w 39"/>
              <a:gd name="T9" fmla="*/ 330200 h 110"/>
              <a:gd name="T10" fmla="*/ 101112 w 39"/>
              <a:gd name="T11" fmla="*/ 412750 h 110"/>
              <a:gd name="T12" fmla="*/ 146050 w 39"/>
              <a:gd name="T13" fmla="*/ 408998 h 110"/>
              <a:gd name="T14" fmla="*/ 146050 w 39"/>
              <a:gd name="T15" fmla="*/ 352714 h 110"/>
              <a:gd name="T16" fmla="*/ 131071 w 39"/>
              <a:gd name="T17" fmla="*/ 352714 h 110"/>
              <a:gd name="T18" fmla="*/ 104856 w 39"/>
              <a:gd name="T19" fmla="*/ 318943 h 110"/>
              <a:gd name="T20" fmla="*/ 104856 w 39"/>
              <a:gd name="T21" fmla="*/ 146339 h 110"/>
              <a:gd name="T22" fmla="*/ 146050 w 39"/>
              <a:gd name="T23" fmla="*/ 146339 h 110"/>
              <a:gd name="T24" fmla="*/ 146050 w 39"/>
              <a:gd name="T25" fmla="*/ 90055 h 110"/>
              <a:gd name="T26" fmla="*/ 104856 w 39"/>
              <a:gd name="T27" fmla="*/ 90055 h 110"/>
              <a:gd name="T28" fmla="*/ 104856 w 39"/>
              <a:gd name="T29" fmla="*/ 0 h 110"/>
              <a:gd name="T30" fmla="*/ 37449 w 39"/>
              <a:gd name="T31" fmla="*/ 0 h 110"/>
              <a:gd name="T32" fmla="*/ 37449 w 39"/>
              <a:gd name="T33" fmla="*/ 90055 h 110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39" h="110">
                <a:moveTo>
                  <a:pt x="10" y="24"/>
                </a:moveTo>
                <a:cubicBezTo>
                  <a:pt x="0" y="24"/>
                  <a:pt x="0" y="24"/>
                  <a:pt x="0" y="24"/>
                </a:cubicBezTo>
                <a:cubicBezTo>
                  <a:pt x="0" y="39"/>
                  <a:pt x="0" y="39"/>
                  <a:pt x="0" y="39"/>
                </a:cubicBezTo>
                <a:cubicBezTo>
                  <a:pt x="10" y="39"/>
                  <a:pt x="10" y="39"/>
                  <a:pt x="10" y="39"/>
                </a:cubicBezTo>
                <a:cubicBezTo>
                  <a:pt x="10" y="88"/>
                  <a:pt x="10" y="88"/>
                  <a:pt x="10" y="88"/>
                </a:cubicBezTo>
                <a:cubicBezTo>
                  <a:pt x="10" y="105"/>
                  <a:pt x="12" y="110"/>
                  <a:pt x="27" y="110"/>
                </a:cubicBezTo>
                <a:cubicBezTo>
                  <a:pt x="31" y="110"/>
                  <a:pt x="35" y="110"/>
                  <a:pt x="39" y="109"/>
                </a:cubicBezTo>
                <a:cubicBezTo>
                  <a:pt x="39" y="94"/>
                  <a:pt x="39" y="94"/>
                  <a:pt x="39" y="94"/>
                </a:cubicBezTo>
                <a:cubicBezTo>
                  <a:pt x="37" y="94"/>
                  <a:pt x="36" y="94"/>
                  <a:pt x="35" y="94"/>
                </a:cubicBezTo>
                <a:cubicBezTo>
                  <a:pt x="29" y="94"/>
                  <a:pt x="28" y="92"/>
                  <a:pt x="28" y="85"/>
                </a:cubicBezTo>
                <a:cubicBezTo>
                  <a:pt x="28" y="39"/>
                  <a:pt x="28" y="39"/>
                  <a:pt x="28" y="39"/>
                </a:cubicBezTo>
                <a:cubicBezTo>
                  <a:pt x="39" y="39"/>
                  <a:pt x="39" y="39"/>
                  <a:pt x="39" y="39"/>
                </a:cubicBezTo>
                <a:cubicBezTo>
                  <a:pt x="39" y="24"/>
                  <a:pt x="39" y="24"/>
                  <a:pt x="39" y="24"/>
                </a:cubicBezTo>
                <a:cubicBezTo>
                  <a:pt x="28" y="24"/>
                  <a:pt x="28" y="24"/>
                  <a:pt x="28" y="24"/>
                </a:cubicBezTo>
                <a:cubicBezTo>
                  <a:pt x="28" y="0"/>
                  <a:pt x="28" y="0"/>
                  <a:pt x="28" y="0"/>
                </a:cubicBezTo>
                <a:cubicBezTo>
                  <a:pt x="10" y="0"/>
                  <a:pt x="10" y="0"/>
                  <a:pt x="10" y="0"/>
                </a:cubicBezTo>
                <a:cubicBezTo>
                  <a:pt x="10" y="24"/>
                  <a:pt x="10" y="24"/>
                  <a:pt x="10" y="24"/>
                </a:cubicBezTo>
                <a:close/>
              </a:path>
            </a:pathLst>
          </a:custGeom>
          <a:solidFill>
            <a:srgbClr val="007CB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 sz="1800"/>
          </a:p>
        </p:txBody>
      </p:sp>
      <p:sp>
        <p:nvSpPr>
          <p:cNvPr id="18" name="Rectangle 15">
            <a:extLst>
              <a:ext uri="{FF2B5EF4-FFF2-40B4-BE49-F238E27FC236}">
                <a16:creationId xmlns:a16="http://schemas.microsoft.com/office/drawing/2014/main" id="{77BDBCF5-6910-4561-8C8D-681424214559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9396266" y="1763822"/>
            <a:ext cx="2497245" cy="453486"/>
          </a:xfrm>
          <a:prstGeom prst="rect">
            <a:avLst/>
          </a:prstGeom>
          <a:solidFill>
            <a:srgbClr val="007CB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endParaRPr lang="de-DE" altLang="de-DE" sz="1800"/>
          </a:p>
        </p:txBody>
      </p:sp>
      <p:sp>
        <p:nvSpPr>
          <p:cNvPr id="19" name="Freeform 16">
            <a:extLst>
              <a:ext uri="{FF2B5EF4-FFF2-40B4-BE49-F238E27FC236}">
                <a16:creationId xmlns:a16="http://schemas.microsoft.com/office/drawing/2014/main" id="{68A0AD9F-091A-4FFE-8928-7E1A6E121F7F}"/>
              </a:ext>
            </a:extLst>
          </p:cNvPr>
          <p:cNvSpPr>
            <a:spLocks/>
          </p:cNvSpPr>
          <p:nvPr userDrawn="1"/>
        </p:nvSpPr>
        <p:spPr bwMode="gray">
          <a:xfrm>
            <a:off x="9858178" y="1930326"/>
            <a:ext cx="63895" cy="108295"/>
          </a:xfrm>
          <a:custGeom>
            <a:avLst/>
            <a:gdLst>
              <a:gd name="T0" fmla="*/ 76200 w 20"/>
              <a:gd name="T1" fmla="*/ 127000 h 34"/>
              <a:gd name="T2" fmla="*/ 64770 w 20"/>
              <a:gd name="T3" fmla="*/ 127000 h 34"/>
              <a:gd name="T4" fmla="*/ 53340 w 20"/>
              <a:gd name="T5" fmla="*/ 127000 h 34"/>
              <a:gd name="T6" fmla="*/ 34290 w 20"/>
              <a:gd name="T7" fmla="*/ 123265 h 34"/>
              <a:gd name="T8" fmla="*/ 22860 w 20"/>
              <a:gd name="T9" fmla="*/ 112059 h 34"/>
              <a:gd name="T10" fmla="*/ 19050 w 20"/>
              <a:gd name="T11" fmla="*/ 97118 h 34"/>
              <a:gd name="T12" fmla="*/ 19050 w 20"/>
              <a:gd name="T13" fmla="*/ 44824 h 34"/>
              <a:gd name="T14" fmla="*/ 0 w 20"/>
              <a:gd name="T15" fmla="*/ 44824 h 34"/>
              <a:gd name="T16" fmla="*/ 0 w 20"/>
              <a:gd name="T17" fmla="*/ 26147 h 34"/>
              <a:gd name="T18" fmla="*/ 19050 w 20"/>
              <a:gd name="T19" fmla="*/ 26147 h 34"/>
              <a:gd name="T20" fmla="*/ 19050 w 20"/>
              <a:gd name="T21" fmla="*/ 0 h 34"/>
              <a:gd name="T22" fmla="*/ 41910 w 20"/>
              <a:gd name="T23" fmla="*/ 0 h 34"/>
              <a:gd name="T24" fmla="*/ 41910 w 20"/>
              <a:gd name="T25" fmla="*/ 26147 h 34"/>
              <a:gd name="T26" fmla="*/ 72390 w 20"/>
              <a:gd name="T27" fmla="*/ 26147 h 34"/>
              <a:gd name="T28" fmla="*/ 72390 w 20"/>
              <a:gd name="T29" fmla="*/ 44824 h 34"/>
              <a:gd name="T30" fmla="*/ 41910 w 20"/>
              <a:gd name="T31" fmla="*/ 44824 h 34"/>
              <a:gd name="T32" fmla="*/ 41910 w 20"/>
              <a:gd name="T33" fmla="*/ 93382 h 34"/>
              <a:gd name="T34" fmla="*/ 45720 w 20"/>
              <a:gd name="T35" fmla="*/ 100853 h 34"/>
              <a:gd name="T36" fmla="*/ 57150 w 20"/>
              <a:gd name="T37" fmla="*/ 108324 h 34"/>
              <a:gd name="T38" fmla="*/ 64770 w 20"/>
              <a:gd name="T39" fmla="*/ 108324 h 34"/>
              <a:gd name="T40" fmla="*/ 72390 w 20"/>
              <a:gd name="T41" fmla="*/ 104588 h 34"/>
              <a:gd name="T42" fmla="*/ 76200 w 20"/>
              <a:gd name="T43" fmla="*/ 127000 h 34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20" h="34">
                <a:moveTo>
                  <a:pt x="20" y="34"/>
                </a:moveTo>
                <a:cubicBezTo>
                  <a:pt x="19" y="34"/>
                  <a:pt x="18" y="34"/>
                  <a:pt x="17" y="34"/>
                </a:cubicBezTo>
                <a:cubicBezTo>
                  <a:pt x="16" y="34"/>
                  <a:pt x="15" y="34"/>
                  <a:pt x="14" y="34"/>
                </a:cubicBezTo>
                <a:cubicBezTo>
                  <a:pt x="12" y="34"/>
                  <a:pt x="10" y="34"/>
                  <a:pt x="9" y="33"/>
                </a:cubicBezTo>
                <a:cubicBezTo>
                  <a:pt x="7" y="32"/>
                  <a:pt x="6" y="31"/>
                  <a:pt x="6" y="30"/>
                </a:cubicBezTo>
                <a:cubicBezTo>
                  <a:pt x="5" y="29"/>
                  <a:pt x="5" y="27"/>
                  <a:pt x="5" y="26"/>
                </a:cubicBezTo>
                <a:cubicBezTo>
                  <a:pt x="5" y="12"/>
                  <a:pt x="5" y="12"/>
                  <a:pt x="5" y="12"/>
                </a:cubicBezTo>
                <a:cubicBezTo>
                  <a:pt x="0" y="12"/>
                  <a:pt x="0" y="12"/>
                  <a:pt x="0" y="12"/>
                </a:cubicBezTo>
                <a:cubicBezTo>
                  <a:pt x="0" y="7"/>
                  <a:pt x="0" y="7"/>
                  <a:pt x="0" y="7"/>
                </a:cubicBezTo>
                <a:cubicBezTo>
                  <a:pt x="5" y="7"/>
                  <a:pt x="5" y="7"/>
                  <a:pt x="5" y="7"/>
                </a:cubicBezTo>
                <a:cubicBezTo>
                  <a:pt x="5" y="0"/>
                  <a:pt x="5" y="0"/>
                  <a:pt x="5" y="0"/>
                </a:cubicBezTo>
                <a:cubicBezTo>
                  <a:pt x="11" y="0"/>
                  <a:pt x="11" y="0"/>
                  <a:pt x="11" y="0"/>
                </a:cubicBezTo>
                <a:cubicBezTo>
                  <a:pt x="11" y="7"/>
                  <a:pt x="11" y="7"/>
                  <a:pt x="11" y="7"/>
                </a:cubicBezTo>
                <a:cubicBezTo>
                  <a:pt x="19" y="7"/>
                  <a:pt x="19" y="7"/>
                  <a:pt x="19" y="7"/>
                </a:cubicBezTo>
                <a:cubicBezTo>
                  <a:pt x="19" y="12"/>
                  <a:pt x="19" y="12"/>
                  <a:pt x="19" y="12"/>
                </a:cubicBezTo>
                <a:cubicBezTo>
                  <a:pt x="11" y="12"/>
                  <a:pt x="11" y="12"/>
                  <a:pt x="11" y="12"/>
                </a:cubicBezTo>
                <a:cubicBezTo>
                  <a:pt x="11" y="25"/>
                  <a:pt x="11" y="25"/>
                  <a:pt x="11" y="25"/>
                </a:cubicBezTo>
                <a:cubicBezTo>
                  <a:pt x="11" y="26"/>
                  <a:pt x="12" y="27"/>
                  <a:pt x="12" y="27"/>
                </a:cubicBezTo>
                <a:cubicBezTo>
                  <a:pt x="13" y="28"/>
                  <a:pt x="14" y="29"/>
                  <a:pt x="15" y="29"/>
                </a:cubicBezTo>
                <a:cubicBezTo>
                  <a:pt x="16" y="29"/>
                  <a:pt x="17" y="29"/>
                  <a:pt x="17" y="29"/>
                </a:cubicBezTo>
                <a:cubicBezTo>
                  <a:pt x="18" y="28"/>
                  <a:pt x="19" y="28"/>
                  <a:pt x="19" y="28"/>
                </a:cubicBezTo>
                <a:lnTo>
                  <a:pt x="20" y="3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 sz="1800"/>
          </a:p>
        </p:txBody>
      </p:sp>
      <p:sp>
        <p:nvSpPr>
          <p:cNvPr id="20" name="Freeform 17">
            <a:extLst>
              <a:ext uri="{FF2B5EF4-FFF2-40B4-BE49-F238E27FC236}">
                <a16:creationId xmlns:a16="http://schemas.microsoft.com/office/drawing/2014/main" id="{69F51EE6-6370-4654-A3EB-1763BE04E6DE}"/>
              </a:ext>
            </a:extLst>
          </p:cNvPr>
          <p:cNvSpPr>
            <a:spLocks/>
          </p:cNvSpPr>
          <p:nvPr userDrawn="1"/>
        </p:nvSpPr>
        <p:spPr bwMode="gray">
          <a:xfrm>
            <a:off x="9936714" y="1910021"/>
            <a:ext cx="75876" cy="128600"/>
          </a:xfrm>
          <a:custGeom>
            <a:avLst/>
            <a:gdLst>
              <a:gd name="T0" fmla="*/ 22622 w 24"/>
              <a:gd name="T1" fmla="*/ 41473 h 40"/>
              <a:gd name="T2" fmla="*/ 22622 w 24"/>
              <a:gd name="T3" fmla="*/ 52784 h 40"/>
              <a:gd name="T4" fmla="*/ 22622 w 24"/>
              <a:gd name="T5" fmla="*/ 64095 h 40"/>
              <a:gd name="T6" fmla="*/ 22622 w 24"/>
              <a:gd name="T7" fmla="*/ 64095 h 40"/>
              <a:gd name="T8" fmla="*/ 30163 w 24"/>
              <a:gd name="T9" fmla="*/ 56555 h 40"/>
              <a:gd name="T10" fmla="*/ 37703 w 24"/>
              <a:gd name="T11" fmla="*/ 52784 h 40"/>
              <a:gd name="T12" fmla="*/ 45244 w 24"/>
              <a:gd name="T13" fmla="*/ 49014 h 40"/>
              <a:gd name="T14" fmla="*/ 56555 w 24"/>
              <a:gd name="T15" fmla="*/ 49014 h 40"/>
              <a:gd name="T16" fmla="*/ 64096 w 24"/>
              <a:gd name="T17" fmla="*/ 49014 h 40"/>
              <a:gd name="T18" fmla="*/ 71636 w 24"/>
              <a:gd name="T19" fmla="*/ 52784 h 40"/>
              <a:gd name="T20" fmla="*/ 79177 w 24"/>
              <a:gd name="T21" fmla="*/ 56555 h 40"/>
              <a:gd name="T22" fmla="*/ 86718 w 24"/>
              <a:gd name="T23" fmla="*/ 64095 h 40"/>
              <a:gd name="T24" fmla="*/ 90488 w 24"/>
              <a:gd name="T25" fmla="*/ 75406 h 40"/>
              <a:gd name="T26" fmla="*/ 90488 w 24"/>
              <a:gd name="T27" fmla="*/ 86717 h 40"/>
              <a:gd name="T28" fmla="*/ 90488 w 24"/>
              <a:gd name="T29" fmla="*/ 150812 h 40"/>
              <a:gd name="T30" fmla="*/ 64096 w 24"/>
              <a:gd name="T31" fmla="*/ 150812 h 40"/>
              <a:gd name="T32" fmla="*/ 64096 w 24"/>
              <a:gd name="T33" fmla="*/ 90487 h 40"/>
              <a:gd name="T34" fmla="*/ 64096 w 24"/>
              <a:gd name="T35" fmla="*/ 82947 h 40"/>
              <a:gd name="T36" fmla="*/ 64096 w 24"/>
              <a:gd name="T37" fmla="*/ 75406 h 40"/>
              <a:gd name="T38" fmla="*/ 56555 w 24"/>
              <a:gd name="T39" fmla="*/ 71636 h 40"/>
              <a:gd name="T40" fmla="*/ 49014 w 24"/>
              <a:gd name="T41" fmla="*/ 67865 h 40"/>
              <a:gd name="T42" fmla="*/ 33933 w 24"/>
              <a:gd name="T43" fmla="*/ 71636 h 40"/>
              <a:gd name="T44" fmla="*/ 22622 w 24"/>
              <a:gd name="T45" fmla="*/ 82947 h 40"/>
              <a:gd name="T46" fmla="*/ 22622 w 24"/>
              <a:gd name="T47" fmla="*/ 150812 h 40"/>
              <a:gd name="T48" fmla="*/ 0 w 24"/>
              <a:gd name="T49" fmla="*/ 150812 h 40"/>
              <a:gd name="T50" fmla="*/ 0 w 24"/>
              <a:gd name="T51" fmla="*/ 0 h 40"/>
              <a:gd name="T52" fmla="*/ 22622 w 24"/>
              <a:gd name="T53" fmla="*/ 0 h 40"/>
              <a:gd name="T54" fmla="*/ 22622 w 24"/>
              <a:gd name="T55" fmla="*/ 41473 h 40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4" h="40">
                <a:moveTo>
                  <a:pt x="6" y="11"/>
                </a:moveTo>
                <a:cubicBezTo>
                  <a:pt x="6" y="12"/>
                  <a:pt x="6" y="13"/>
                  <a:pt x="6" y="14"/>
                </a:cubicBezTo>
                <a:cubicBezTo>
                  <a:pt x="6" y="15"/>
                  <a:pt x="6" y="16"/>
                  <a:pt x="6" y="17"/>
                </a:cubicBezTo>
                <a:cubicBezTo>
                  <a:pt x="6" y="17"/>
                  <a:pt x="6" y="17"/>
                  <a:pt x="6" y="17"/>
                </a:cubicBezTo>
                <a:cubicBezTo>
                  <a:pt x="7" y="16"/>
                  <a:pt x="7" y="16"/>
                  <a:pt x="8" y="15"/>
                </a:cubicBezTo>
                <a:cubicBezTo>
                  <a:pt x="8" y="15"/>
                  <a:pt x="9" y="14"/>
                  <a:pt x="10" y="14"/>
                </a:cubicBezTo>
                <a:cubicBezTo>
                  <a:pt x="10" y="14"/>
                  <a:pt x="11" y="13"/>
                  <a:pt x="12" y="13"/>
                </a:cubicBezTo>
                <a:cubicBezTo>
                  <a:pt x="13" y="13"/>
                  <a:pt x="14" y="13"/>
                  <a:pt x="15" y="13"/>
                </a:cubicBezTo>
                <a:cubicBezTo>
                  <a:pt x="15" y="13"/>
                  <a:pt x="16" y="13"/>
                  <a:pt x="17" y="13"/>
                </a:cubicBezTo>
                <a:cubicBezTo>
                  <a:pt x="18" y="13"/>
                  <a:pt x="19" y="13"/>
                  <a:pt x="19" y="14"/>
                </a:cubicBezTo>
                <a:cubicBezTo>
                  <a:pt x="20" y="14"/>
                  <a:pt x="21" y="15"/>
                  <a:pt x="21" y="15"/>
                </a:cubicBezTo>
                <a:cubicBezTo>
                  <a:pt x="22" y="16"/>
                  <a:pt x="22" y="16"/>
                  <a:pt x="23" y="17"/>
                </a:cubicBezTo>
                <a:cubicBezTo>
                  <a:pt x="23" y="18"/>
                  <a:pt x="23" y="19"/>
                  <a:pt x="24" y="20"/>
                </a:cubicBezTo>
                <a:cubicBezTo>
                  <a:pt x="24" y="21"/>
                  <a:pt x="24" y="22"/>
                  <a:pt x="24" y="23"/>
                </a:cubicBezTo>
                <a:cubicBezTo>
                  <a:pt x="24" y="40"/>
                  <a:pt x="24" y="40"/>
                  <a:pt x="24" y="40"/>
                </a:cubicBezTo>
                <a:cubicBezTo>
                  <a:pt x="17" y="40"/>
                  <a:pt x="17" y="40"/>
                  <a:pt x="17" y="40"/>
                </a:cubicBezTo>
                <a:cubicBezTo>
                  <a:pt x="17" y="24"/>
                  <a:pt x="17" y="24"/>
                  <a:pt x="17" y="24"/>
                </a:cubicBezTo>
                <a:cubicBezTo>
                  <a:pt x="17" y="23"/>
                  <a:pt x="17" y="22"/>
                  <a:pt x="17" y="22"/>
                </a:cubicBezTo>
                <a:cubicBezTo>
                  <a:pt x="17" y="21"/>
                  <a:pt x="17" y="21"/>
                  <a:pt x="17" y="20"/>
                </a:cubicBezTo>
                <a:cubicBezTo>
                  <a:pt x="17" y="20"/>
                  <a:pt x="16" y="19"/>
                  <a:pt x="15" y="19"/>
                </a:cubicBezTo>
                <a:cubicBezTo>
                  <a:pt x="14" y="18"/>
                  <a:pt x="14" y="18"/>
                  <a:pt x="13" y="18"/>
                </a:cubicBezTo>
                <a:cubicBezTo>
                  <a:pt x="12" y="18"/>
                  <a:pt x="10" y="18"/>
                  <a:pt x="9" y="19"/>
                </a:cubicBezTo>
                <a:cubicBezTo>
                  <a:pt x="8" y="20"/>
                  <a:pt x="7" y="20"/>
                  <a:pt x="6" y="22"/>
                </a:cubicBezTo>
                <a:cubicBezTo>
                  <a:pt x="6" y="40"/>
                  <a:pt x="6" y="40"/>
                  <a:pt x="6" y="40"/>
                </a:cubicBezTo>
                <a:cubicBezTo>
                  <a:pt x="0" y="40"/>
                  <a:pt x="0" y="40"/>
                  <a:pt x="0" y="40"/>
                </a:cubicBezTo>
                <a:cubicBezTo>
                  <a:pt x="0" y="0"/>
                  <a:pt x="0" y="0"/>
                  <a:pt x="0" y="0"/>
                </a:cubicBezTo>
                <a:cubicBezTo>
                  <a:pt x="6" y="0"/>
                  <a:pt x="6" y="0"/>
                  <a:pt x="6" y="0"/>
                </a:cubicBezTo>
                <a:lnTo>
                  <a:pt x="6" y="1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 sz="1800"/>
          </a:p>
        </p:txBody>
      </p:sp>
      <p:sp>
        <p:nvSpPr>
          <p:cNvPr id="21" name="Freeform 18">
            <a:extLst>
              <a:ext uri="{FF2B5EF4-FFF2-40B4-BE49-F238E27FC236}">
                <a16:creationId xmlns:a16="http://schemas.microsoft.com/office/drawing/2014/main" id="{D2B6DD1D-979B-4C23-8537-615252B04BAC}"/>
              </a:ext>
            </a:extLst>
          </p:cNvPr>
          <p:cNvSpPr>
            <a:spLocks noEditPoints="1"/>
          </p:cNvSpPr>
          <p:nvPr userDrawn="1"/>
        </p:nvSpPr>
        <p:spPr bwMode="gray">
          <a:xfrm>
            <a:off x="10028564" y="1951985"/>
            <a:ext cx="75876" cy="86636"/>
          </a:xfrm>
          <a:custGeom>
            <a:avLst/>
            <a:gdLst>
              <a:gd name="T0" fmla="*/ 56555 w 24"/>
              <a:gd name="T1" fmla="*/ 82785 h 27"/>
              <a:gd name="T2" fmla="*/ 71636 w 24"/>
              <a:gd name="T3" fmla="*/ 82785 h 27"/>
              <a:gd name="T4" fmla="*/ 86718 w 24"/>
              <a:gd name="T5" fmla="*/ 79022 h 27"/>
              <a:gd name="T6" fmla="*/ 86718 w 24"/>
              <a:gd name="T7" fmla="*/ 97837 h 27"/>
              <a:gd name="T8" fmla="*/ 71636 w 24"/>
              <a:gd name="T9" fmla="*/ 101600 h 27"/>
              <a:gd name="T10" fmla="*/ 52785 w 24"/>
              <a:gd name="T11" fmla="*/ 101600 h 27"/>
              <a:gd name="T12" fmla="*/ 33933 w 24"/>
              <a:gd name="T13" fmla="*/ 101600 h 27"/>
              <a:gd name="T14" fmla="*/ 15081 w 24"/>
              <a:gd name="T15" fmla="*/ 90311 h 27"/>
              <a:gd name="T16" fmla="*/ 3770 w 24"/>
              <a:gd name="T17" fmla="*/ 75259 h 27"/>
              <a:gd name="T18" fmla="*/ 0 w 24"/>
              <a:gd name="T19" fmla="*/ 52681 h 27"/>
              <a:gd name="T20" fmla="*/ 3770 w 24"/>
              <a:gd name="T21" fmla="*/ 30104 h 27"/>
              <a:gd name="T22" fmla="*/ 15081 w 24"/>
              <a:gd name="T23" fmla="*/ 11289 h 27"/>
              <a:gd name="T24" fmla="*/ 30163 w 24"/>
              <a:gd name="T25" fmla="*/ 3763 h 27"/>
              <a:gd name="T26" fmla="*/ 49014 w 24"/>
              <a:gd name="T27" fmla="*/ 0 h 27"/>
              <a:gd name="T28" fmla="*/ 64096 w 24"/>
              <a:gd name="T29" fmla="*/ 3763 h 27"/>
              <a:gd name="T30" fmla="*/ 79177 w 24"/>
              <a:gd name="T31" fmla="*/ 11289 h 27"/>
              <a:gd name="T32" fmla="*/ 86718 w 24"/>
              <a:gd name="T33" fmla="*/ 26341 h 27"/>
              <a:gd name="T34" fmla="*/ 90488 w 24"/>
              <a:gd name="T35" fmla="*/ 48919 h 27"/>
              <a:gd name="T36" fmla="*/ 90488 w 24"/>
              <a:gd name="T37" fmla="*/ 56444 h 27"/>
              <a:gd name="T38" fmla="*/ 26392 w 24"/>
              <a:gd name="T39" fmla="*/ 56444 h 27"/>
              <a:gd name="T40" fmla="*/ 30163 w 24"/>
              <a:gd name="T41" fmla="*/ 67733 h 27"/>
              <a:gd name="T42" fmla="*/ 37703 w 24"/>
              <a:gd name="T43" fmla="*/ 79022 h 27"/>
              <a:gd name="T44" fmla="*/ 45244 w 24"/>
              <a:gd name="T45" fmla="*/ 82785 h 27"/>
              <a:gd name="T46" fmla="*/ 56555 w 24"/>
              <a:gd name="T47" fmla="*/ 82785 h 27"/>
              <a:gd name="T48" fmla="*/ 49014 w 24"/>
              <a:gd name="T49" fmla="*/ 18815 h 27"/>
              <a:gd name="T50" fmla="*/ 37703 w 24"/>
              <a:gd name="T51" fmla="*/ 18815 h 27"/>
              <a:gd name="T52" fmla="*/ 33933 w 24"/>
              <a:gd name="T53" fmla="*/ 22578 h 27"/>
              <a:gd name="T54" fmla="*/ 30163 w 24"/>
              <a:gd name="T55" fmla="*/ 30104 h 27"/>
              <a:gd name="T56" fmla="*/ 26392 w 24"/>
              <a:gd name="T57" fmla="*/ 37630 h 27"/>
              <a:gd name="T58" fmla="*/ 67866 w 24"/>
              <a:gd name="T59" fmla="*/ 37630 h 27"/>
              <a:gd name="T60" fmla="*/ 64096 w 24"/>
              <a:gd name="T61" fmla="*/ 30104 h 27"/>
              <a:gd name="T62" fmla="*/ 60325 w 24"/>
              <a:gd name="T63" fmla="*/ 22578 h 27"/>
              <a:gd name="T64" fmla="*/ 49014 w 24"/>
              <a:gd name="T65" fmla="*/ 18815 h 27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24" h="27">
                <a:moveTo>
                  <a:pt x="15" y="22"/>
                </a:moveTo>
                <a:cubicBezTo>
                  <a:pt x="17" y="22"/>
                  <a:pt x="18" y="22"/>
                  <a:pt x="19" y="22"/>
                </a:cubicBezTo>
                <a:cubicBezTo>
                  <a:pt x="21" y="21"/>
                  <a:pt x="22" y="21"/>
                  <a:pt x="23" y="21"/>
                </a:cubicBezTo>
                <a:cubicBezTo>
                  <a:pt x="23" y="26"/>
                  <a:pt x="23" y="26"/>
                  <a:pt x="23" y="26"/>
                </a:cubicBezTo>
                <a:cubicBezTo>
                  <a:pt x="22" y="26"/>
                  <a:pt x="21" y="27"/>
                  <a:pt x="19" y="27"/>
                </a:cubicBezTo>
                <a:cubicBezTo>
                  <a:pt x="17" y="27"/>
                  <a:pt x="16" y="27"/>
                  <a:pt x="14" y="27"/>
                </a:cubicBezTo>
                <a:cubicBezTo>
                  <a:pt x="12" y="27"/>
                  <a:pt x="10" y="27"/>
                  <a:pt x="9" y="27"/>
                </a:cubicBezTo>
                <a:cubicBezTo>
                  <a:pt x="7" y="26"/>
                  <a:pt x="5" y="25"/>
                  <a:pt x="4" y="24"/>
                </a:cubicBezTo>
                <a:cubicBezTo>
                  <a:pt x="3" y="23"/>
                  <a:pt x="2" y="22"/>
                  <a:pt x="1" y="20"/>
                </a:cubicBezTo>
                <a:cubicBezTo>
                  <a:pt x="0" y="18"/>
                  <a:pt x="0" y="16"/>
                  <a:pt x="0" y="14"/>
                </a:cubicBezTo>
                <a:cubicBezTo>
                  <a:pt x="0" y="12"/>
                  <a:pt x="0" y="10"/>
                  <a:pt x="1" y="8"/>
                </a:cubicBezTo>
                <a:cubicBezTo>
                  <a:pt x="2" y="6"/>
                  <a:pt x="3" y="5"/>
                  <a:pt x="4" y="3"/>
                </a:cubicBezTo>
                <a:cubicBezTo>
                  <a:pt x="5" y="2"/>
                  <a:pt x="6" y="1"/>
                  <a:pt x="8" y="1"/>
                </a:cubicBezTo>
                <a:cubicBezTo>
                  <a:pt x="9" y="0"/>
                  <a:pt x="11" y="0"/>
                  <a:pt x="13" y="0"/>
                </a:cubicBezTo>
                <a:cubicBezTo>
                  <a:pt x="14" y="0"/>
                  <a:pt x="16" y="0"/>
                  <a:pt x="17" y="1"/>
                </a:cubicBezTo>
                <a:cubicBezTo>
                  <a:pt x="19" y="1"/>
                  <a:pt x="20" y="2"/>
                  <a:pt x="21" y="3"/>
                </a:cubicBezTo>
                <a:cubicBezTo>
                  <a:pt x="22" y="4"/>
                  <a:pt x="23" y="5"/>
                  <a:pt x="23" y="7"/>
                </a:cubicBezTo>
                <a:cubicBezTo>
                  <a:pt x="24" y="9"/>
                  <a:pt x="24" y="11"/>
                  <a:pt x="24" y="13"/>
                </a:cubicBezTo>
                <a:cubicBezTo>
                  <a:pt x="24" y="14"/>
                  <a:pt x="24" y="15"/>
                  <a:pt x="24" y="15"/>
                </a:cubicBezTo>
                <a:cubicBezTo>
                  <a:pt x="7" y="15"/>
                  <a:pt x="7" y="15"/>
                  <a:pt x="7" y="15"/>
                </a:cubicBezTo>
                <a:cubicBezTo>
                  <a:pt x="7" y="16"/>
                  <a:pt x="7" y="17"/>
                  <a:pt x="8" y="18"/>
                </a:cubicBezTo>
                <a:cubicBezTo>
                  <a:pt x="8" y="19"/>
                  <a:pt x="9" y="20"/>
                  <a:pt x="10" y="21"/>
                </a:cubicBezTo>
                <a:cubicBezTo>
                  <a:pt x="10" y="21"/>
                  <a:pt x="11" y="21"/>
                  <a:pt x="12" y="22"/>
                </a:cubicBezTo>
                <a:cubicBezTo>
                  <a:pt x="13" y="22"/>
                  <a:pt x="14" y="22"/>
                  <a:pt x="15" y="22"/>
                </a:cubicBezTo>
                <a:close/>
                <a:moveTo>
                  <a:pt x="13" y="5"/>
                </a:moveTo>
                <a:cubicBezTo>
                  <a:pt x="12" y="5"/>
                  <a:pt x="11" y="5"/>
                  <a:pt x="10" y="5"/>
                </a:cubicBezTo>
                <a:cubicBezTo>
                  <a:pt x="10" y="5"/>
                  <a:pt x="9" y="6"/>
                  <a:pt x="9" y="6"/>
                </a:cubicBezTo>
                <a:cubicBezTo>
                  <a:pt x="8" y="7"/>
                  <a:pt x="8" y="7"/>
                  <a:pt x="8" y="8"/>
                </a:cubicBezTo>
                <a:cubicBezTo>
                  <a:pt x="7" y="9"/>
                  <a:pt x="7" y="10"/>
                  <a:pt x="7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10"/>
                  <a:pt x="17" y="9"/>
                  <a:pt x="17" y="8"/>
                </a:cubicBezTo>
                <a:cubicBezTo>
                  <a:pt x="17" y="7"/>
                  <a:pt x="17" y="7"/>
                  <a:pt x="16" y="6"/>
                </a:cubicBezTo>
                <a:cubicBezTo>
                  <a:pt x="15" y="5"/>
                  <a:pt x="14" y="5"/>
                  <a:pt x="13" y="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 sz="1800"/>
          </a:p>
        </p:txBody>
      </p:sp>
      <p:sp>
        <p:nvSpPr>
          <p:cNvPr id="22" name="Freeform 19">
            <a:extLst>
              <a:ext uri="{FF2B5EF4-FFF2-40B4-BE49-F238E27FC236}">
                <a16:creationId xmlns:a16="http://schemas.microsoft.com/office/drawing/2014/main" id="{BE7E7D6B-DCE4-4A16-9728-023998A0FD59}"/>
              </a:ext>
            </a:extLst>
          </p:cNvPr>
          <p:cNvSpPr>
            <a:spLocks noEditPoints="1"/>
          </p:cNvSpPr>
          <p:nvPr userDrawn="1"/>
        </p:nvSpPr>
        <p:spPr bwMode="gray">
          <a:xfrm>
            <a:off x="10153694" y="1951985"/>
            <a:ext cx="75876" cy="86636"/>
          </a:xfrm>
          <a:custGeom>
            <a:avLst/>
            <a:gdLst>
              <a:gd name="T0" fmla="*/ 56555 w 24"/>
              <a:gd name="T1" fmla="*/ 82785 h 27"/>
              <a:gd name="T2" fmla="*/ 71636 w 24"/>
              <a:gd name="T3" fmla="*/ 82785 h 27"/>
              <a:gd name="T4" fmla="*/ 86718 w 24"/>
              <a:gd name="T5" fmla="*/ 79022 h 27"/>
              <a:gd name="T6" fmla="*/ 86718 w 24"/>
              <a:gd name="T7" fmla="*/ 97837 h 27"/>
              <a:gd name="T8" fmla="*/ 71636 w 24"/>
              <a:gd name="T9" fmla="*/ 101600 h 27"/>
              <a:gd name="T10" fmla="*/ 52785 w 24"/>
              <a:gd name="T11" fmla="*/ 101600 h 27"/>
              <a:gd name="T12" fmla="*/ 33933 w 24"/>
              <a:gd name="T13" fmla="*/ 101600 h 27"/>
              <a:gd name="T14" fmla="*/ 15081 w 24"/>
              <a:gd name="T15" fmla="*/ 90311 h 27"/>
              <a:gd name="T16" fmla="*/ 3770 w 24"/>
              <a:gd name="T17" fmla="*/ 75259 h 27"/>
              <a:gd name="T18" fmla="*/ 0 w 24"/>
              <a:gd name="T19" fmla="*/ 52681 h 27"/>
              <a:gd name="T20" fmla="*/ 3770 w 24"/>
              <a:gd name="T21" fmla="*/ 30104 h 27"/>
              <a:gd name="T22" fmla="*/ 15081 w 24"/>
              <a:gd name="T23" fmla="*/ 11289 h 27"/>
              <a:gd name="T24" fmla="*/ 30163 w 24"/>
              <a:gd name="T25" fmla="*/ 3763 h 27"/>
              <a:gd name="T26" fmla="*/ 49014 w 24"/>
              <a:gd name="T27" fmla="*/ 0 h 27"/>
              <a:gd name="T28" fmla="*/ 64096 w 24"/>
              <a:gd name="T29" fmla="*/ 3763 h 27"/>
              <a:gd name="T30" fmla="*/ 79177 w 24"/>
              <a:gd name="T31" fmla="*/ 11289 h 27"/>
              <a:gd name="T32" fmla="*/ 86718 w 24"/>
              <a:gd name="T33" fmla="*/ 26341 h 27"/>
              <a:gd name="T34" fmla="*/ 90488 w 24"/>
              <a:gd name="T35" fmla="*/ 48919 h 27"/>
              <a:gd name="T36" fmla="*/ 90488 w 24"/>
              <a:gd name="T37" fmla="*/ 56444 h 27"/>
              <a:gd name="T38" fmla="*/ 26392 w 24"/>
              <a:gd name="T39" fmla="*/ 56444 h 27"/>
              <a:gd name="T40" fmla="*/ 30163 w 24"/>
              <a:gd name="T41" fmla="*/ 67733 h 27"/>
              <a:gd name="T42" fmla="*/ 37703 w 24"/>
              <a:gd name="T43" fmla="*/ 79022 h 27"/>
              <a:gd name="T44" fmla="*/ 45244 w 24"/>
              <a:gd name="T45" fmla="*/ 82785 h 27"/>
              <a:gd name="T46" fmla="*/ 56555 w 24"/>
              <a:gd name="T47" fmla="*/ 82785 h 27"/>
              <a:gd name="T48" fmla="*/ 49014 w 24"/>
              <a:gd name="T49" fmla="*/ 18815 h 27"/>
              <a:gd name="T50" fmla="*/ 37703 w 24"/>
              <a:gd name="T51" fmla="*/ 18815 h 27"/>
              <a:gd name="T52" fmla="*/ 33933 w 24"/>
              <a:gd name="T53" fmla="*/ 22578 h 27"/>
              <a:gd name="T54" fmla="*/ 30163 w 24"/>
              <a:gd name="T55" fmla="*/ 30104 h 27"/>
              <a:gd name="T56" fmla="*/ 26392 w 24"/>
              <a:gd name="T57" fmla="*/ 37630 h 27"/>
              <a:gd name="T58" fmla="*/ 67866 w 24"/>
              <a:gd name="T59" fmla="*/ 37630 h 27"/>
              <a:gd name="T60" fmla="*/ 64096 w 24"/>
              <a:gd name="T61" fmla="*/ 30104 h 27"/>
              <a:gd name="T62" fmla="*/ 60325 w 24"/>
              <a:gd name="T63" fmla="*/ 22578 h 27"/>
              <a:gd name="T64" fmla="*/ 49014 w 24"/>
              <a:gd name="T65" fmla="*/ 18815 h 27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24" h="27">
                <a:moveTo>
                  <a:pt x="15" y="22"/>
                </a:moveTo>
                <a:cubicBezTo>
                  <a:pt x="17" y="22"/>
                  <a:pt x="18" y="22"/>
                  <a:pt x="19" y="22"/>
                </a:cubicBezTo>
                <a:cubicBezTo>
                  <a:pt x="21" y="21"/>
                  <a:pt x="22" y="21"/>
                  <a:pt x="23" y="21"/>
                </a:cubicBezTo>
                <a:cubicBezTo>
                  <a:pt x="23" y="26"/>
                  <a:pt x="23" y="26"/>
                  <a:pt x="23" y="26"/>
                </a:cubicBezTo>
                <a:cubicBezTo>
                  <a:pt x="22" y="26"/>
                  <a:pt x="21" y="27"/>
                  <a:pt x="19" y="27"/>
                </a:cubicBezTo>
                <a:cubicBezTo>
                  <a:pt x="17" y="27"/>
                  <a:pt x="16" y="27"/>
                  <a:pt x="14" y="27"/>
                </a:cubicBezTo>
                <a:cubicBezTo>
                  <a:pt x="12" y="27"/>
                  <a:pt x="10" y="27"/>
                  <a:pt x="9" y="27"/>
                </a:cubicBezTo>
                <a:cubicBezTo>
                  <a:pt x="7" y="26"/>
                  <a:pt x="5" y="25"/>
                  <a:pt x="4" y="24"/>
                </a:cubicBezTo>
                <a:cubicBezTo>
                  <a:pt x="3" y="23"/>
                  <a:pt x="2" y="22"/>
                  <a:pt x="1" y="20"/>
                </a:cubicBezTo>
                <a:cubicBezTo>
                  <a:pt x="0" y="18"/>
                  <a:pt x="0" y="16"/>
                  <a:pt x="0" y="14"/>
                </a:cubicBezTo>
                <a:cubicBezTo>
                  <a:pt x="0" y="12"/>
                  <a:pt x="0" y="10"/>
                  <a:pt x="1" y="8"/>
                </a:cubicBezTo>
                <a:cubicBezTo>
                  <a:pt x="2" y="6"/>
                  <a:pt x="3" y="5"/>
                  <a:pt x="4" y="3"/>
                </a:cubicBezTo>
                <a:cubicBezTo>
                  <a:pt x="5" y="2"/>
                  <a:pt x="6" y="1"/>
                  <a:pt x="8" y="1"/>
                </a:cubicBezTo>
                <a:cubicBezTo>
                  <a:pt x="9" y="0"/>
                  <a:pt x="11" y="0"/>
                  <a:pt x="13" y="0"/>
                </a:cubicBezTo>
                <a:cubicBezTo>
                  <a:pt x="14" y="0"/>
                  <a:pt x="16" y="0"/>
                  <a:pt x="17" y="1"/>
                </a:cubicBezTo>
                <a:cubicBezTo>
                  <a:pt x="19" y="1"/>
                  <a:pt x="20" y="2"/>
                  <a:pt x="21" y="3"/>
                </a:cubicBezTo>
                <a:cubicBezTo>
                  <a:pt x="22" y="4"/>
                  <a:pt x="23" y="5"/>
                  <a:pt x="23" y="7"/>
                </a:cubicBezTo>
                <a:cubicBezTo>
                  <a:pt x="24" y="9"/>
                  <a:pt x="24" y="11"/>
                  <a:pt x="24" y="13"/>
                </a:cubicBezTo>
                <a:cubicBezTo>
                  <a:pt x="24" y="14"/>
                  <a:pt x="24" y="15"/>
                  <a:pt x="24" y="15"/>
                </a:cubicBezTo>
                <a:cubicBezTo>
                  <a:pt x="7" y="15"/>
                  <a:pt x="7" y="15"/>
                  <a:pt x="7" y="15"/>
                </a:cubicBezTo>
                <a:cubicBezTo>
                  <a:pt x="7" y="16"/>
                  <a:pt x="7" y="17"/>
                  <a:pt x="8" y="18"/>
                </a:cubicBezTo>
                <a:cubicBezTo>
                  <a:pt x="8" y="19"/>
                  <a:pt x="9" y="20"/>
                  <a:pt x="10" y="21"/>
                </a:cubicBezTo>
                <a:cubicBezTo>
                  <a:pt x="10" y="21"/>
                  <a:pt x="11" y="21"/>
                  <a:pt x="12" y="22"/>
                </a:cubicBezTo>
                <a:cubicBezTo>
                  <a:pt x="13" y="22"/>
                  <a:pt x="14" y="22"/>
                  <a:pt x="15" y="22"/>
                </a:cubicBezTo>
                <a:close/>
                <a:moveTo>
                  <a:pt x="13" y="5"/>
                </a:moveTo>
                <a:cubicBezTo>
                  <a:pt x="12" y="5"/>
                  <a:pt x="11" y="5"/>
                  <a:pt x="10" y="5"/>
                </a:cubicBezTo>
                <a:cubicBezTo>
                  <a:pt x="10" y="5"/>
                  <a:pt x="9" y="6"/>
                  <a:pt x="9" y="6"/>
                </a:cubicBezTo>
                <a:cubicBezTo>
                  <a:pt x="8" y="7"/>
                  <a:pt x="8" y="7"/>
                  <a:pt x="8" y="8"/>
                </a:cubicBezTo>
                <a:cubicBezTo>
                  <a:pt x="7" y="9"/>
                  <a:pt x="7" y="10"/>
                  <a:pt x="7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10"/>
                  <a:pt x="17" y="9"/>
                  <a:pt x="17" y="8"/>
                </a:cubicBezTo>
                <a:cubicBezTo>
                  <a:pt x="17" y="7"/>
                  <a:pt x="17" y="7"/>
                  <a:pt x="16" y="6"/>
                </a:cubicBezTo>
                <a:cubicBezTo>
                  <a:pt x="15" y="5"/>
                  <a:pt x="14" y="5"/>
                  <a:pt x="13" y="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 sz="1800"/>
          </a:p>
        </p:txBody>
      </p:sp>
      <p:sp>
        <p:nvSpPr>
          <p:cNvPr id="23" name="Freeform 20">
            <a:extLst>
              <a:ext uri="{FF2B5EF4-FFF2-40B4-BE49-F238E27FC236}">
                <a16:creationId xmlns:a16="http://schemas.microsoft.com/office/drawing/2014/main" id="{264E798D-65CD-47B8-AA59-1F49BCC52C47}"/>
              </a:ext>
            </a:extLst>
          </p:cNvPr>
          <p:cNvSpPr>
            <a:spLocks/>
          </p:cNvSpPr>
          <p:nvPr userDrawn="1"/>
        </p:nvSpPr>
        <p:spPr bwMode="gray">
          <a:xfrm>
            <a:off x="10248205" y="1951985"/>
            <a:ext cx="75876" cy="86636"/>
          </a:xfrm>
          <a:custGeom>
            <a:avLst/>
            <a:gdLst>
              <a:gd name="T0" fmla="*/ 22622 w 24"/>
              <a:gd name="T1" fmla="*/ 15052 h 27"/>
              <a:gd name="T2" fmla="*/ 22622 w 24"/>
              <a:gd name="T3" fmla="*/ 15052 h 27"/>
              <a:gd name="T4" fmla="*/ 30163 w 24"/>
              <a:gd name="T5" fmla="*/ 7526 h 27"/>
              <a:gd name="T6" fmla="*/ 33933 w 24"/>
              <a:gd name="T7" fmla="*/ 3763 h 27"/>
              <a:gd name="T8" fmla="*/ 45244 w 24"/>
              <a:gd name="T9" fmla="*/ 0 h 27"/>
              <a:gd name="T10" fmla="*/ 56555 w 24"/>
              <a:gd name="T11" fmla="*/ 0 h 27"/>
              <a:gd name="T12" fmla="*/ 67866 w 24"/>
              <a:gd name="T13" fmla="*/ 0 h 27"/>
              <a:gd name="T14" fmla="*/ 75407 w 24"/>
              <a:gd name="T15" fmla="*/ 3763 h 27"/>
              <a:gd name="T16" fmla="*/ 82947 w 24"/>
              <a:gd name="T17" fmla="*/ 11289 h 27"/>
              <a:gd name="T18" fmla="*/ 86718 w 24"/>
              <a:gd name="T19" fmla="*/ 22578 h 27"/>
              <a:gd name="T20" fmla="*/ 90488 w 24"/>
              <a:gd name="T21" fmla="*/ 26341 h 27"/>
              <a:gd name="T22" fmla="*/ 90488 w 24"/>
              <a:gd name="T23" fmla="*/ 37630 h 27"/>
              <a:gd name="T24" fmla="*/ 90488 w 24"/>
              <a:gd name="T25" fmla="*/ 101600 h 27"/>
              <a:gd name="T26" fmla="*/ 67866 w 24"/>
              <a:gd name="T27" fmla="*/ 101600 h 27"/>
              <a:gd name="T28" fmla="*/ 67866 w 24"/>
              <a:gd name="T29" fmla="*/ 41393 h 27"/>
              <a:gd name="T30" fmla="*/ 67866 w 24"/>
              <a:gd name="T31" fmla="*/ 33867 h 27"/>
              <a:gd name="T32" fmla="*/ 64096 w 24"/>
              <a:gd name="T33" fmla="*/ 30104 h 27"/>
              <a:gd name="T34" fmla="*/ 60325 w 24"/>
              <a:gd name="T35" fmla="*/ 22578 h 27"/>
              <a:gd name="T36" fmla="*/ 49014 w 24"/>
              <a:gd name="T37" fmla="*/ 18815 h 27"/>
              <a:gd name="T38" fmla="*/ 37703 w 24"/>
              <a:gd name="T39" fmla="*/ 22578 h 27"/>
              <a:gd name="T40" fmla="*/ 26392 w 24"/>
              <a:gd name="T41" fmla="*/ 33867 h 27"/>
              <a:gd name="T42" fmla="*/ 26392 w 24"/>
              <a:gd name="T43" fmla="*/ 101600 h 27"/>
              <a:gd name="T44" fmla="*/ 0 w 24"/>
              <a:gd name="T45" fmla="*/ 101600 h 27"/>
              <a:gd name="T46" fmla="*/ 0 w 24"/>
              <a:gd name="T47" fmla="*/ 0 h 27"/>
              <a:gd name="T48" fmla="*/ 18852 w 24"/>
              <a:gd name="T49" fmla="*/ 0 h 27"/>
              <a:gd name="T50" fmla="*/ 22622 w 24"/>
              <a:gd name="T51" fmla="*/ 15052 h 27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24" h="27">
                <a:moveTo>
                  <a:pt x="6" y="4"/>
                </a:moveTo>
                <a:cubicBezTo>
                  <a:pt x="6" y="4"/>
                  <a:pt x="6" y="4"/>
                  <a:pt x="6" y="4"/>
                </a:cubicBezTo>
                <a:cubicBezTo>
                  <a:pt x="6" y="3"/>
                  <a:pt x="7" y="3"/>
                  <a:pt x="8" y="2"/>
                </a:cubicBezTo>
                <a:cubicBezTo>
                  <a:pt x="8" y="2"/>
                  <a:pt x="9" y="1"/>
                  <a:pt x="9" y="1"/>
                </a:cubicBezTo>
                <a:cubicBezTo>
                  <a:pt x="10" y="1"/>
                  <a:pt x="11" y="0"/>
                  <a:pt x="12" y="0"/>
                </a:cubicBezTo>
                <a:cubicBezTo>
                  <a:pt x="13" y="0"/>
                  <a:pt x="14" y="0"/>
                  <a:pt x="15" y="0"/>
                </a:cubicBezTo>
                <a:cubicBezTo>
                  <a:pt x="16" y="0"/>
                  <a:pt x="17" y="0"/>
                  <a:pt x="18" y="0"/>
                </a:cubicBezTo>
                <a:cubicBezTo>
                  <a:pt x="18" y="0"/>
                  <a:pt x="19" y="1"/>
                  <a:pt x="20" y="1"/>
                </a:cubicBezTo>
                <a:cubicBezTo>
                  <a:pt x="21" y="2"/>
                  <a:pt x="21" y="2"/>
                  <a:pt x="22" y="3"/>
                </a:cubicBezTo>
                <a:cubicBezTo>
                  <a:pt x="23" y="4"/>
                  <a:pt x="23" y="5"/>
                  <a:pt x="23" y="6"/>
                </a:cubicBezTo>
                <a:cubicBezTo>
                  <a:pt x="24" y="6"/>
                  <a:pt x="24" y="7"/>
                  <a:pt x="24" y="7"/>
                </a:cubicBezTo>
                <a:cubicBezTo>
                  <a:pt x="24" y="8"/>
                  <a:pt x="24" y="9"/>
                  <a:pt x="24" y="10"/>
                </a:cubicBezTo>
                <a:cubicBezTo>
                  <a:pt x="24" y="27"/>
                  <a:pt x="24" y="27"/>
                  <a:pt x="24" y="27"/>
                </a:cubicBezTo>
                <a:cubicBezTo>
                  <a:pt x="18" y="27"/>
                  <a:pt x="18" y="27"/>
                  <a:pt x="18" y="27"/>
                </a:cubicBezTo>
                <a:cubicBezTo>
                  <a:pt x="18" y="11"/>
                  <a:pt x="18" y="11"/>
                  <a:pt x="18" y="11"/>
                </a:cubicBezTo>
                <a:cubicBezTo>
                  <a:pt x="18" y="10"/>
                  <a:pt x="18" y="9"/>
                  <a:pt x="18" y="9"/>
                </a:cubicBezTo>
                <a:cubicBezTo>
                  <a:pt x="17" y="8"/>
                  <a:pt x="17" y="8"/>
                  <a:pt x="17" y="8"/>
                </a:cubicBezTo>
                <a:cubicBezTo>
                  <a:pt x="17" y="7"/>
                  <a:pt x="16" y="6"/>
                  <a:pt x="16" y="6"/>
                </a:cubicBezTo>
                <a:cubicBezTo>
                  <a:pt x="15" y="5"/>
                  <a:pt x="14" y="5"/>
                  <a:pt x="13" y="5"/>
                </a:cubicBezTo>
                <a:cubicBezTo>
                  <a:pt x="12" y="5"/>
                  <a:pt x="11" y="6"/>
                  <a:pt x="10" y="6"/>
                </a:cubicBezTo>
                <a:cubicBezTo>
                  <a:pt x="9" y="7"/>
                  <a:pt x="7" y="8"/>
                  <a:pt x="7" y="9"/>
                </a:cubicBezTo>
                <a:cubicBezTo>
                  <a:pt x="7" y="27"/>
                  <a:pt x="7" y="27"/>
                  <a:pt x="7" y="27"/>
                </a:cubicBezTo>
                <a:cubicBezTo>
                  <a:pt x="0" y="27"/>
                  <a:pt x="0" y="27"/>
                  <a:pt x="0" y="27"/>
                </a:cubicBezTo>
                <a:cubicBezTo>
                  <a:pt x="0" y="0"/>
                  <a:pt x="0" y="0"/>
                  <a:pt x="0" y="0"/>
                </a:cubicBezTo>
                <a:cubicBezTo>
                  <a:pt x="5" y="0"/>
                  <a:pt x="5" y="0"/>
                  <a:pt x="5" y="0"/>
                </a:cubicBezTo>
                <a:lnTo>
                  <a:pt x="6" y="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 sz="1800"/>
          </a:p>
        </p:txBody>
      </p:sp>
      <p:sp>
        <p:nvSpPr>
          <p:cNvPr id="24" name="Freeform 21">
            <a:extLst>
              <a:ext uri="{FF2B5EF4-FFF2-40B4-BE49-F238E27FC236}">
                <a16:creationId xmlns:a16="http://schemas.microsoft.com/office/drawing/2014/main" id="{4318A81F-F6BC-4EE5-A724-2480CD8626DA}"/>
              </a:ext>
            </a:extLst>
          </p:cNvPr>
          <p:cNvSpPr>
            <a:spLocks noEditPoints="1"/>
          </p:cNvSpPr>
          <p:nvPr userDrawn="1"/>
        </p:nvSpPr>
        <p:spPr bwMode="gray">
          <a:xfrm>
            <a:off x="10342717" y="1951985"/>
            <a:ext cx="75876" cy="128600"/>
          </a:xfrm>
          <a:custGeom>
            <a:avLst/>
            <a:gdLst>
              <a:gd name="T0" fmla="*/ 67866 w 24"/>
              <a:gd name="T1" fmla="*/ 101798 h 40"/>
              <a:gd name="T2" fmla="*/ 67866 w 24"/>
              <a:gd name="T3" fmla="*/ 98028 h 40"/>
              <a:gd name="T4" fmla="*/ 67866 w 24"/>
              <a:gd name="T5" fmla="*/ 94258 h 40"/>
              <a:gd name="T6" fmla="*/ 67866 w 24"/>
              <a:gd name="T7" fmla="*/ 94258 h 40"/>
              <a:gd name="T8" fmla="*/ 64096 w 24"/>
              <a:gd name="T9" fmla="*/ 98028 h 40"/>
              <a:gd name="T10" fmla="*/ 56555 w 24"/>
              <a:gd name="T11" fmla="*/ 98028 h 40"/>
              <a:gd name="T12" fmla="*/ 49014 w 24"/>
              <a:gd name="T13" fmla="*/ 101798 h 40"/>
              <a:gd name="T14" fmla="*/ 26392 w 24"/>
              <a:gd name="T15" fmla="*/ 101798 h 40"/>
              <a:gd name="T16" fmla="*/ 11311 w 24"/>
              <a:gd name="T17" fmla="*/ 90487 h 40"/>
              <a:gd name="T18" fmla="*/ 3770 w 24"/>
              <a:gd name="T19" fmla="*/ 75406 h 40"/>
              <a:gd name="T20" fmla="*/ 0 w 24"/>
              <a:gd name="T21" fmla="*/ 52784 h 40"/>
              <a:gd name="T22" fmla="*/ 3770 w 24"/>
              <a:gd name="T23" fmla="*/ 30162 h 40"/>
              <a:gd name="T24" fmla="*/ 11311 w 24"/>
              <a:gd name="T25" fmla="*/ 11311 h 40"/>
              <a:gd name="T26" fmla="*/ 26392 w 24"/>
              <a:gd name="T27" fmla="*/ 3770 h 40"/>
              <a:gd name="T28" fmla="*/ 41474 w 24"/>
              <a:gd name="T29" fmla="*/ 0 h 40"/>
              <a:gd name="T30" fmla="*/ 56555 w 24"/>
              <a:gd name="T31" fmla="*/ 3770 h 40"/>
              <a:gd name="T32" fmla="*/ 67866 w 24"/>
              <a:gd name="T33" fmla="*/ 11311 h 40"/>
              <a:gd name="T34" fmla="*/ 67866 w 24"/>
              <a:gd name="T35" fmla="*/ 11311 h 40"/>
              <a:gd name="T36" fmla="*/ 71636 w 24"/>
              <a:gd name="T37" fmla="*/ 0 h 40"/>
              <a:gd name="T38" fmla="*/ 90488 w 24"/>
              <a:gd name="T39" fmla="*/ 0 h 40"/>
              <a:gd name="T40" fmla="*/ 90488 w 24"/>
              <a:gd name="T41" fmla="*/ 101798 h 40"/>
              <a:gd name="T42" fmla="*/ 90488 w 24"/>
              <a:gd name="T43" fmla="*/ 116879 h 40"/>
              <a:gd name="T44" fmla="*/ 86718 w 24"/>
              <a:gd name="T45" fmla="*/ 128190 h 40"/>
              <a:gd name="T46" fmla="*/ 79177 w 24"/>
              <a:gd name="T47" fmla="*/ 139501 h 40"/>
              <a:gd name="T48" fmla="*/ 67866 w 24"/>
              <a:gd name="T49" fmla="*/ 147042 h 40"/>
              <a:gd name="T50" fmla="*/ 52785 w 24"/>
              <a:gd name="T51" fmla="*/ 150812 h 40"/>
              <a:gd name="T52" fmla="*/ 33933 w 24"/>
              <a:gd name="T53" fmla="*/ 150812 h 40"/>
              <a:gd name="T54" fmla="*/ 26392 w 24"/>
              <a:gd name="T55" fmla="*/ 150812 h 40"/>
              <a:gd name="T56" fmla="*/ 15081 w 24"/>
              <a:gd name="T57" fmla="*/ 150812 h 40"/>
              <a:gd name="T58" fmla="*/ 7541 w 24"/>
              <a:gd name="T59" fmla="*/ 147042 h 40"/>
              <a:gd name="T60" fmla="*/ 3770 w 24"/>
              <a:gd name="T61" fmla="*/ 147042 h 40"/>
              <a:gd name="T62" fmla="*/ 3770 w 24"/>
              <a:gd name="T63" fmla="*/ 128190 h 40"/>
              <a:gd name="T64" fmla="*/ 18852 w 24"/>
              <a:gd name="T65" fmla="*/ 131961 h 40"/>
              <a:gd name="T66" fmla="*/ 33933 w 24"/>
              <a:gd name="T67" fmla="*/ 131961 h 40"/>
              <a:gd name="T68" fmla="*/ 56555 w 24"/>
              <a:gd name="T69" fmla="*/ 124420 h 40"/>
              <a:gd name="T70" fmla="*/ 67866 w 24"/>
              <a:gd name="T71" fmla="*/ 105568 h 40"/>
              <a:gd name="T72" fmla="*/ 67866 w 24"/>
              <a:gd name="T73" fmla="*/ 101798 h 40"/>
              <a:gd name="T74" fmla="*/ 45244 w 24"/>
              <a:gd name="T75" fmla="*/ 82947 h 40"/>
              <a:gd name="T76" fmla="*/ 52785 w 24"/>
              <a:gd name="T77" fmla="*/ 82947 h 40"/>
              <a:gd name="T78" fmla="*/ 60325 w 24"/>
              <a:gd name="T79" fmla="*/ 79176 h 40"/>
              <a:gd name="T80" fmla="*/ 64096 w 24"/>
              <a:gd name="T81" fmla="*/ 75406 h 40"/>
              <a:gd name="T82" fmla="*/ 67866 w 24"/>
              <a:gd name="T83" fmla="*/ 75406 h 40"/>
              <a:gd name="T84" fmla="*/ 67866 w 24"/>
              <a:gd name="T85" fmla="*/ 30162 h 40"/>
              <a:gd name="T86" fmla="*/ 60325 w 24"/>
              <a:gd name="T87" fmla="*/ 22622 h 40"/>
              <a:gd name="T88" fmla="*/ 45244 w 24"/>
              <a:gd name="T89" fmla="*/ 18852 h 40"/>
              <a:gd name="T90" fmla="*/ 41474 w 24"/>
              <a:gd name="T91" fmla="*/ 18852 h 40"/>
              <a:gd name="T92" fmla="*/ 37703 w 24"/>
              <a:gd name="T93" fmla="*/ 18852 h 40"/>
              <a:gd name="T94" fmla="*/ 30163 w 24"/>
              <a:gd name="T95" fmla="*/ 22622 h 40"/>
              <a:gd name="T96" fmla="*/ 26392 w 24"/>
              <a:gd name="T97" fmla="*/ 30162 h 40"/>
              <a:gd name="T98" fmla="*/ 26392 w 24"/>
              <a:gd name="T99" fmla="*/ 37703 h 40"/>
              <a:gd name="T100" fmla="*/ 22622 w 24"/>
              <a:gd name="T101" fmla="*/ 52784 h 40"/>
              <a:gd name="T102" fmla="*/ 26392 w 24"/>
              <a:gd name="T103" fmla="*/ 64095 h 40"/>
              <a:gd name="T104" fmla="*/ 30163 w 24"/>
              <a:gd name="T105" fmla="*/ 75406 h 40"/>
              <a:gd name="T106" fmla="*/ 37703 w 24"/>
              <a:gd name="T107" fmla="*/ 79176 h 40"/>
              <a:gd name="T108" fmla="*/ 45244 w 24"/>
              <a:gd name="T109" fmla="*/ 82947 h 40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24" h="40">
                <a:moveTo>
                  <a:pt x="18" y="27"/>
                </a:moveTo>
                <a:cubicBezTo>
                  <a:pt x="18" y="26"/>
                  <a:pt x="18" y="26"/>
                  <a:pt x="18" y="26"/>
                </a:cubicBezTo>
                <a:cubicBezTo>
                  <a:pt x="18" y="25"/>
                  <a:pt x="18" y="25"/>
                  <a:pt x="18" y="25"/>
                </a:cubicBezTo>
                <a:cubicBezTo>
                  <a:pt x="18" y="25"/>
                  <a:pt x="18" y="25"/>
                  <a:pt x="18" y="25"/>
                </a:cubicBezTo>
                <a:cubicBezTo>
                  <a:pt x="18" y="25"/>
                  <a:pt x="17" y="25"/>
                  <a:pt x="17" y="26"/>
                </a:cubicBezTo>
                <a:cubicBezTo>
                  <a:pt x="16" y="26"/>
                  <a:pt x="16" y="26"/>
                  <a:pt x="15" y="26"/>
                </a:cubicBezTo>
                <a:cubicBezTo>
                  <a:pt x="14" y="27"/>
                  <a:pt x="14" y="27"/>
                  <a:pt x="13" y="27"/>
                </a:cubicBezTo>
                <a:cubicBezTo>
                  <a:pt x="11" y="27"/>
                  <a:pt x="9" y="27"/>
                  <a:pt x="7" y="27"/>
                </a:cubicBezTo>
                <a:cubicBezTo>
                  <a:pt x="5" y="26"/>
                  <a:pt x="4" y="25"/>
                  <a:pt x="3" y="24"/>
                </a:cubicBezTo>
                <a:cubicBezTo>
                  <a:pt x="2" y="23"/>
                  <a:pt x="1" y="22"/>
                  <a:pt x="1" y="20"/>
                </a:cubicBezTo>
                <a:cubicBezTo>
                  <a:pt x="0" y="18"/>
                  <a:pt x="0" y="16"/>
                  <a:pt x="0" y="14"/>
                </a:cubicBezTo>
                <a:cubicBezTo>
                  <a:pt x="0" y="12"/>
                  <a:pt x="0" y="10"/>
                  <a:pt x="1" y="8"/>
                </a:cubicBezTo>
                <a:cubicBezTo>
                  <a:pt x="1" y="6"/>
                  <a:pt x="2" y="5"/>
                  <a:pt x="3" y="3"/>
                </a:cubicBezTo>
                <a:cubicBezTo>
                  <a:pt x="4" y="2"/>
                  <a:pt x="5" y="1"/>
                  <a:pt x="7" y="1"/>
                </a:cubicBezTo>
                <a:cubicBezTo>
                  <a:pt x="8" y="0"/>
                  <a:pt x="10" y="0"/>
                  <a:pt x="11" y="0"/>
                </a:cubicBezTo>
                <a:cubicBezTo>
                  <a:pt x="13" y="0"/>
                  <a:pt x="14" y="0"/>
                  <a:pt x="15" y="1"/>
                </a:cubicBezTo>
                <a:cubicBezTo>
                  <a:pt x="17" y="1"/>
                  <a:pt x="18" y="2"/>
                  <a:pt x="18" y="3"/>
                </a:cubicBezTo>
                <a:cubicBezTo>
                  <a:pt x="18" y="3"/>
                  <a:pt x="18" y="3"/>
                  <a:pt x="18" y="3"/>
                </a:cubicBezTo>
                <a:cubicBezTo>
                  <a:pt x="19" y="0"/>
                  <a:pt x="19" y="0"/>
                  <a:pt x="19" y="0"/>
                </a:cubicBezTo>
                <a:cubicBezTo>
                  <a:pt x="24" y="0"/>
                  <a:pt x="24" y="0"/>
                  <a:pt x="24" y="0"/>
                </a:cubicBezTo>
                <a:cubicBezTo>
                  <a:pt x="24" y="27"/>
                  <a:pt x="24" y="27"/>
                  <a:pt x="24" y="27"/>
                </a:cubicBezTo>
                <a:cubicBezTo>
                  <a:pt x="24" y="28"/>
                  <a:pt x="24" y="30"/>
                  <a:pt x="24" y="31"/>
                </a:cubicBezTo>
                <a:cubicBezTo>
                  <a:pt x="24" y="32"/>
                  <a:pt x="23" y="33"/>
                  <a:pt x="23" y="34"/>
                </a:cubicBezTo>
                <a:cubicBezTo>
                  <a:pt x="22" y="35"/>
                  <a:pt x="21" y="36"/>
                  <a:pt x="21" y="37"/>
                </a:cubicBezTo>
                <a:cubicBezTo>
                  <a:pt x="20" y="37"/>
                  <a:pt x="19" y="38"/>
                  <a:pt x="18" y="39"/>
                </a:cubicBezTo>
                <a:cubicBezTo>
                  <a:pt x="16" y="39"/>
                  <a:pt x="15" y="39"/>
                  <a:pt x="14" y="40"/>
                </a:cubicBezTo>
                <a:cubicBezTo>
                  <a:pt x="12" y="40"/>
                  <a:pt x="11" y="40"/>
                  <a:pt x="9" y="40"/>
                </a:cubicBezTo>
                <a:cubicBezTo>
                  <a:pt x="7" y="40"/>
                  <a:pt x="7" y="40"/>
                  <a:pt x="7" y="40"/>
                </a:cubicBezTo>
                <a:cubicBezTo>
                  <a:pt x="6" y="40"/>
                  <a:pt x="5" y="40"/>
                  <a:pt x="4" y="40"/>
                </a:cubicBezTo>
                <a:cubicBezTo>
                  <a:pt x="2" y="39"/>
                  <a:pt x="2" y="39"/>
                  <a:pt x="2" y="39"/>
                </a:cubicBezTo>
                <a:cubicBezTo>
                  <a:pt x="2" y="39"/>
                  <a:pt x="1" y="39"/>
                  <a:pt x="1" y="39"/>
                </a:cubicBezTo>
                <a:cubicBezTo>
                  <a:pt x="1" y="34"/>
                  <a:pt x="1" y="34"/>
                  <a:pt x="1" y="34"/>
                </a:cubicBezTo>
                <a:cubicBezTo>
                  <a:pt x="2" y="34"/>
                  <a:pt x="3" y="34"/>
                  <a:pt x="5" y="35"/>
                </a:cubicBezTo>
                <a:cubicBezTo>
                  <a:pt x="6" y="35"/>
                  <a:pt x="7" y="35"/>
                  <a:pt x="9" y="35"/>
                </a:cubicBezTo>
                <a:cubicBezTo>
                  <a:pt x="11" y="35"/>
                  <a:pt x="13" y="34"/>
                  <a:pt x="15" y="33"/>
                </a:cubicBezTo>
                <a:cubicBezTo>
                  <a:pt x="17" y="32"/>
                  <a:pt x="18" y="30"/>
                  <a:pt x="18" y="28"/>
                </a:cubicBezTo>
                <a:lnTo>
                  <a:pt x="18" y="27"/>
                </a:lnTo>
                <a:close/>
                <a:moveTo>
                  <a:pt x="12" y="22"/>
                </a:moveTo>
                <a:cubicBezTo>
                  <a:pt x="13" y="22"/>
                  <a:pt x="14" y="22"/>
                  <a:pt x="14" y="22"/>
                </a:cubicBezTo>
                <a:cubicBezTo>
                  <a:pt x="15" y="22"/>
                  <a:pt x="15" y="22"/>
                  <a:pt x="16" y="21"/>
                </a:cubicBezTo>
                <a:cubicBezTo>
                  <a:pt x="16" y="21"/>
                  <a:pt x="17" y="21"/>
                  <a:pt x="17" y="20"/>
                </a:cubicBezTo>
                <a:cubicBezTo>
                  <a:pt x="17" y="20"/>
                  <a:pt x="18" y="20"/>
                  <a:pt x="18" y="20"/>
                </a:cubicBezTo>
                <a:cubicBezTo>
                  <a:pt x="18" y="8"/>
                  <a:pt x="18" y="8"/>
                  <a:pt x="18" y="8"/>
                </a:cubicBezTo>
                <a:cubicBezTo>
                  <a:pt x="17" y="7"/>
                  <a:pt x="16" y="6"/>
                  <a:pt x="16" y="6"/>
                </a:cubicBezTo>
                <a:cubicBezTo>
                  <a:pt x="15" y="5"/>
                  <a:pt x="13" y="5"/>
                  <a:pt x="12" y="5"/>
                </a:cubicBezTo>
                <a:cubicBezTo>
                  <a:pt x="12" y="5"/>
                  <a:pt x="11" y="5"/>
                  <a:pt x="11" y="5"/>
                </a:cubicBezTo>
                <a:cubicBezTo>
                  <a:pt x="11" y="5"/>
                  <a:pt x="10" y="5"/>
                  <a:pt x="10" y="5"/>
                </a:cubicBezTo>
                <a:cubicBezTo>
                  <a:pt x="9" y="6"/>
                  <a:pt x="9" y="6"/>
                  <a:pt x="8" y="6"/>
                </a:cubicBezTo>
                <a:cubicBezTo>
                  <a:pt x="8" y="7"/>
                  <a:pt x="8" y="7"/>
                  <a:pt x="7" y="8"/>
                </a:cubicBezTo>
                <a:cubicBezTo>
                  <a:pt x="7" y="9"/>
                  <a:pt x="7" y="10"/>
                  <a:pt x="7" y="10"/>
                </a:cubicBezTo>
                <a:cubicBezTo>
                  <a:pt x="6" y="11"/>
                  <a:pt x="6" y="12"/>
                  <a:pt x="6" y="14"/>
                </a:cubicBezTo>
                <a:cubicBezTo>
                  <a:pt x="6" y="15"/>
                  <a:pt x="6" y="16"/>
                  <a:pt x="7" y="17"/>
                </a:cubicBezTo>
                <a:cubicBezTo>
                  <a:pt x="7" y="18"/>
                  <a:pt x="7" y="19"/>
                  <a:pt x="8" y="20"/>
                </a:cubicBezTo>
                <a:cubicBezTo>
                  <a:pt x="8" y="20"/>
                  <a:pt x="9" y="21"/>
                  <a:pt x="10" y="21"/>
                </a:cubicBezTo>
                <a:cubicBezTo>
                  <a:pt x="11" y="22"/>
                  <a:pt x="11" y="22"/>
                  <a:pt x="12" y="2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 sz="1800"/>
          </a:p>
        </p:txBody>
      </p:sp>
      <p:sp>
        <p:nvSpPr>
          <p:cNvPr id="25" name="Freeform 22">
            <a:extLst>
              <a:ext uri="{FF2B5EF4-FFF2-40B4-BE49-F238E27FC236}">
                <a16:creationId xmlns:a16="http://schemas.microsoft.com/office/drawing/2014/main" id="{9134F9F6-8F0B-4565-B5E7-5B158ABD54EF}"/>
              </a:ext>
            </a:extLst>
          </p:cNvPr>
          <p:cNvSpPr>
            <a:spLocks noEditPoints="1"/>
          </p:cNvSpPr>
          <p:nvPr userDrawn="1"/>
        </p:nvSpPr>
        <p:spPr bwMode="gray">
          <a:xfrm>
            <a:off x="10443885" y="1910021"/>
            <a:ext cx="18636" cy="128600"/>
          </a:xfrm>
          <a:custGeom>
            <a:avLst/>
            <a:gdLst>
              <a:gd name="T0" fmla="*/ 0 w 14"/>
              <a:gd name="T1" fmla="*/ 0 h 95"/>
              <a:gd name="T2" fmla="*/ 22225 w 14"/>
              <a:gd name="T3" fmla="*/ 0 h 95"/>
              <a:gd name="T4" fmla="*/ 22225 w 14"/>
              <a:gd name="T5" fmla="*/ 26987 h 95"/>
              <a:gd name="T6" fmla="*/ 0 w 14"/>
              <a:gd name="T7" fmla="*/ 26987 h 95"/>
              <a:gd name="T8" fmla="*/ 0 w 14"/>
              <a:gd name="T9" fmla="*/ 0 h 95"/>
              <a:gd name="T10" fmla="*/ 0 w 14"/>
              <a:gd name="T11" fmla="*/ 49212 h 95"/>
              <a:gd name="T12" fmla="*/ 22225 w 14"/>
              <a:gd name="T13" fmla="*/ 49212 h 95"/>
              <a:gd name="T14" fmla="*/ 22225 w 14"/>
              <a:gd name="T15" fmla="*/ 150812 h 95"/>
              <a:gd name="T16" fmla="*/ 0 w 14"/>
              <a:gd name="T17" fmla="*/ 150812 h 95"/>
              <a:gd name="T18" fmla="*/ 0 w 14"/>
              <a:gd name="T19" fmla="*/ 49212 h 9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14" h="95">
                <a:moveTo>
                  <a:pt x="0" y="0"/>
                </a:moveTo>
                <a:lnTo>
                  <a:pt x="14" y="0"/>
                </a:lnTo>
                <a:lnTo>
                  <a:pt x="14" y="17"/>
                </a:lnTo>
                <a:lnTo>
                  <a:pt x="0" y="17"/>
                </a:lnTo>
                <a:lnTo>
                  <a:pt x="0" y="0"/>
                </a:lnTo>
                <a:close/>
                <a:moveTo>
                  <a:pt x="0" y="31"/>
                </a:moveTo>
                <a:lnTo>
                  <a:pt x="14" y="31"/>
                </a:lnTo>
                <a:lnTo>
                  <a:pt x="14" y="95"/>
                </a:lnTo>
                <a:lnTo>
                  <a:pt x="0" y="95"/>
                </a:lnTo>
                <a:lnTo>
                  <a:pt x="0" y="3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 sz="1800"/>
          </a:p>
        </p:txBody>
      </p:sp>
      <p:sp>
        <p:nvSpPr>
          <p:cNvPr id="26" name="Freeform 23">
            <a:extLst>
              <a:ext uri="{FF2B5EF4-FFF2-40B4-BE49-F238E27FC236}">
                <a16:creationId xmlns:a16="http://schemas.microsoft.com/office/drawing/2014/main" id="{4D05AA15-472A-48EA-A070-B41A863DD992}"/>
              </a:ext>
            </a:extLst>
          </p:cNvPr>
          <p:cNvSpPr>
            <a:spLocks/>
          </p:cNvSpPr>
          <p:nvPr userDrawn="1"/>
        </p:nvSpPr>
        <p:spPr bwMode="gray">
          <a:xfrm>
            <a:off x="10483820" y="1951985"/>
            <a:ext cx="75876" cy="86636"/>
          </a:xfrm>
          <a:custGeom>
            <a:avLst/>
            <a:gdLst>
              <a:gd name="T0" fmla="*/ 22622 w 24"/>
              <a:gd name="T1" fmla="*/ 15052 h 27"/>
              <a:gd name="T2" fmla="*/ 22622 w 24"/>
              <a:gd name="T3" fmla="*/ 15052 h 27"/>
              <a:gd name="T4" fmla="*/ 30163 w 24"/>
              <a:gd name="T5" fmla="*/ 7526 h 27"/>
              <a:gd name="T6" fmla="*/ 37703 w 24"/>
              <a:gd name="T7" fmla="*/ 3763 h 27"/>
              <a:gd name="T8" fmla="*/ 45244 w 24"/>
              <a:gd name="T9" fmla="*/ 0 h 27"/>
              <a:gd name="T10" fmla="*/ 56555 w 24"/>
              <a:gd name="T11" fmla="*/ 0 h 27"/>
              <a:gd name="T12" fmla="*/ 67866 w 24"/>
              <a:gd name="T13" fmla="*/ 0 h 27"/>
              <a:gd name="T14" fmla="*/ 75407 w 24"/>
              <a:gd name="T15" fmla="*/ 3763 h 27"/>
              <a:gd name="T16" fmla="*/ 82947 w 24"/>
              <a:gd name="T17" fmla="*/ 11289 h 27"/>
              <a:gd name="T18" fmla="*/ 90488 w 24"/>
              <a:gd name="T19" fmla="*/ 22578 h 27"/>
              <a:gd name="T20" fmla="*/ 90488 w 24"/>
              <a:gd name="T21" fmla="*/ 26341 h 27"/>
              <a:gd name="T22" fmla="*/ 90488 w 24"/>
              <a:gd name="T23" fmla="*/ 37630 h 27"/>
              <a:gd name="T24" fmla="*/ 90488 w 24"/>
              <a:gd name="T25" fmla="*/ 101600 h 27"/>
              <a:gd name="T26" fmla="*/ 67866 w 24"/>
              <a:gd name="T27" fmla="*/ 101600 h 27"/>
              <a:gd name="T28" fmla="*/ 67866 w 24"/>
              <a:gd name="T29" fmla="*/ 41393 h 27"/>
              <a:gd name="T30" fmla="*/ 67866 w 24"/>
              <a:gd name="T31" fmla="*/ 33867 h 27"/>
              <a:gd name="T32" fmla="*/ 64096 w 24"/>
              <a:gd name="T33" fmla="*/ 30104 h 27"/>
              <a:gd name="T34" fmla="*/ 60325 w 24"/>
              <a:gd name="T35" fmla="*/ 22578 h 27"/>
              <a:gd name="T36" fmla="*/ 52785 w 24"/>
              <a:gd name="T37" fmla="*/ 18815 h 27"/>
              <a:gd name="T38" fmla="*/ 37703 w 24"/>
              <a:gd name="T39" fmla="*/ 22578 h 27"/>
              <a:gd name="T40" fmla="*/ 26392 w 24"/>
              <a:gd name="T41" fmla="*/ 33867 h 27"/>
              <a:gd name="T42" fmla="*/ 26392 w 24"/>
              <a:gd name="T43" fmla="*/ 101600 h 27"/>
              <a:gd name="T44" fmla="*/ 0 w 24"/>
              <a:gd name="T45" fmla="*/ 101600 h 27"/>
              <a:gd name="T46" fmla="*/ 0 w 24"/>
              <a:gd name="T47" fmla="*/ 0 h 27"/>
              <a:gd name="T48" fmla="*/ 22622 w 24"/>
              <a:gd name="T49" fmla="*/ 0 h 27"/>
              <a:gd name="T50" fmla="*/ 22622 w 24"/>
              <a:gd name="T51" fmla="*/ 15052 h 27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24" h="27">
                <a:moveTo>
                  <a:pt x="6" y="4"/>
                </a:moveTo>
                <a:cubicBezTo>
                  <a:pt x="6" y="4"/>
                  <a:pt x="6" y="4"/>
                  <a:pt x="6" y="4"/>
                </a:cubicBezTo>
                <a:cubicBezTo>
                  <a:pt x="7" y="4"/>
                  <a:pt x="7" y="3"/>
                  <a:pt x="8" y="2"/>
                </a:cubicBezTo>
                <a:cubicBezTo>
                  <a:pt x="8" y="2"/>
                  <a:pt x="9" y="1"/>
                  <a:pt x="10" y="1"/>
                </a:cubicBezTo>
                <a:cubicBezTo>
                  <a:pt x="11" y="1"/>
                  <a:pt x="11" y="0"/>
                  <a:pt x="12" y="0"/>
                </a:cubicBezTo>
                <a:cubicBezTo>
                  <a:pt x="13" y="0"/>
                  <a:pt x="14" y="0"/>
                  <a:pt x="15" y="0"/>
                </a:cubicBezTo>
                <a:cubicBezTo>
                  <a:pt x="16" y="0"/>
                  <a:pt x="17" y="0"/>
                  <a:pt x="18" y="0"/>
                </a:cubicBezTo>
                <a:cubicBezTo>
                  <a:pt x="19" y="0"/>
                  <a:pt x="20" y="1"/>
                  <a:pt x="20" y="1"/>
                </a:cubicBezTo>
                <a:cubicBezTo>
                  <a:pt x="21" y="2"/>
                  <a:pt x="22" y="2"/>
                  <a:pt x="22" y="3"/>
                </a:cubicBezTo>
                <a:cubicBezTo>
                  <a:pt x="23" y="4"/>
                  <a:pt x="23" y="5"/>
                  <a:pt x="24" y="6"/>
                </a:cubicBezTo>
                <a:cubicBezTo>
                  <a:pt x="24" y="6"/>
                  <a:pt x="24" y="7"/>
                  <a:pt x="24" y="7"/>
                </a:cubicBezTo>
                <a:cubicBezTo>
                  <a:pt x="24" y="8"/>
                  <a:pt x="24" y="9"/>
                  <a:pt x="24" y="10"/>
                </a:cubicBezTo>
                <a:cubicBezTo>
                  <a:pt x="24" y="27"/>
                  <a:pt x="24" y="27"/>
                  <a:pt x="24" y="27"/>
                </a:cubicBezTo>
                <a:cubicBezTo>
                  <a:pt x="18" y="27"/>
                  <a:pt x="18" y="27"/>
                  <a:pt x="18" y="27"/>
                </a:cubicBezTo>
                <a:cubicBezTo>
                  <a:pt x="18" y="11"/>
                  <a:pt x="18" y="11"/>
                  <a:pt x="18" y="11"/>
                </a:cubicBezTo>
                <a:cubicBezTo>
                  <a:pt x="18" y="10"/>
                  <a:pt x="18" y="10"/>
                  <a:pt x="18" y="9"/>
                </a:cubicBezTo>
                <a:cubicBezTo>
                  <a:pt x="18" y="8"/>
                  <a:pt x="18" y="8"/>
                  <a:pt x="17" y="8"/>
                </a:cubicBezTo>
                <a:cubicBezTo>
                  <a:pt x="17" y="7"/>
                  <a:pt x="17" y="6"/>
                  <a:pt x="16" y="6"/>
                </a:cubicBezTo>
                <a:cubicBezTo>
                  <a:pt x="15" y="5"/>
                  <a:pt x="14" y="5"/>
                  <a:pt x="14" y="5"/>
                </a:cubicBezTo>
                <a:cubicBezTo>
                  <a:pt x="12" y="5"/>
                  <a:pt x="11" y="6"/>
                  <a:pt x="10" y="6"/>
                </a:cubicBezTo>
                <a:cubicBezTo>
                  <a:pt x="9" y="7"/>
                  <a:pt x="8" y="8"/>
                  <a:pt x="7" y="9"/>
                </a:cubicBezTo>
                <a:cubicBezTo>
                  <a:pt x="7" y="27"/>
                  <a:pt x="7" y="27"/>
                  <a:pt x="7" y="27"/>
                </a:cubicBezTo>
                <a:cubicBezTo>
                  <a:pt x="0" y="27"/>
                  <a:pt x="0" y="27"/>
                  <a:pt x="0" y="27"/>
                </a:cubicBezTo>
                <a:cubicBezTo>
                  <a:pt x="0" y="0"/>
                  <a:pt x="0" y="0"/>
                  <a:pt x="0" y="0"/>
                </a:cubicBezTo>
                <a:cubicBezTo>
                  <a:pt x="6" y="0"/>
                  <a:pt x="6" y="0"/>
                  <a:pt x="6" y="0"/>
                </a:cubicBezTo>
                <a:lnTo>
                  <a:pt x="6" y="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 sz="1800"/>
          </a:p>
        </p:txBody>
      </p:sp>
      <p:sp>
        <p:nvSpPr>
          <p:cNvPr id="27" name="Freeform 24">
            <a:extLst>
              <a:ext uri="{FF2B5EF4-FFF2-40B4-BE49-F238E27FC236}">
                <a16:creationId xmlns:a16="http://schemas.microsoft.com/office/drawing/2014/main" id="{82FD320B-4656-44CD-B4AB-95F0E69976C0}"/>
              </a:ext>
            </a:extLst>
          </p:cNvPr>
          <p:cNvSpPr>
            <a:spLocks noEditPoints="1"/>
          </p:cNvSpPr>
          <p:nvPr userDrawn="1"/>
        </p:nvSpPr>
        <p:spPr bwMode="gray">
          <a:xfrm>
            <a:off x="10578331" y="1951985"/>
            <a:ext cx="75876" cy="86636"/>
          </a:xfrm>
          <a:custGeom>
            <a:avLst/>
            <a:gdLst>
              <a:gd name="T0" fmla="*/ 56555 w 24"/>
              <a:gd name="T1" fmla="*/ 82785 h 27"/>
              <a:gd name="T2" fmla="*/ 71636 w 24"/>
              <a:gd name="T3" fmla="*/ 82785 h 27"/>
              <a:gd name="T4" fmla="*/ 86718 w 24"/>
              <a:gd name="T5" fmla="*/ 79022 h 27"/>
              <a:gd name="T6" fmla="*/ 86718 w 24"/>
              <a:gd name="T7" fmla="*/ 97837 h 27"/>
              <a:gd name="T8" fmla="*/ 71636 w 24"/>
              <a:gd name="T9" fmla="*/ 101600 h 27"/>
              <a:gd name="T10" fmla="*/ 49014 w 24"/>
              <a:gd name="T11" fmla="*/ 101600 h 27"/>
              <a:gd name="T12" fmla="*/ 30163 w 24"/>
              <a:gd name="T13" fmla="*/ 101600 h 27"/>
              <a:gd name="T14" fmla="*/ 3770 w 24"/>
              <a:gd name="T15" fmla="*/ 75259 h 27"/>
              <a:gd name="T16" fmla="*/ 0 w 24"/>
              <a:gd name="T17" fmla="*/ 52681 h 27"/>
              <a:gd name="T18" fmla="*/ 3770 w 24"/>
              <a:gd name="T19" fmla="*/ 30104 h 27"/>
              <a:gd name="T20" fmla="*/ 15081 w 24"/>
              <a:gd name="T21" fmla="*/ 11289 h 27"/>
              <a:gd name="T22" fmla="*/ 30163 w 24"/>
              <a:gd name="T23" fmla="*/ 3763 h 27"/>
              <a:gd name="T24" fmla="*/ 45244 w 24"/>
              <a:gd name="T25" fmla="*/ 0 h 27"/>
              <a:gd name="T26" fmla="*/ 64096 w 24"/>
              <a:gd name="T27" fmla="*/ 0 h 27"/>
              <a:gd name="T28" fmla="*/ 79177 w 24"/>
              <a:gd name="T29" fmla="*/ 11289 h 27"/>
              <a:gd name="T30" fmla="*/ 86718 w 24"/>
              <a:gd name="T31" fmla="*/ 26341 h 27"/>
              <a:gd name="T32" fmla="*/ 90488 w 24"/>
              <a:gd name="T33" fmla="*/ 48919 h 27"/>
              <a:gd name="T34" fmla="*/ 90488 w 24"/>
              <a:gd name="T35" fmla="*/ 56444 h 27"/>
              <a:gd name="T36" fmla="*/ 22622 w 24"/>
              <a:gd name="T37" fmla="*/ 56444 h 27"/>
              <a:gd name="T38" fmla="*/ 26392 w 24"/>
              <a:gd name="T39" fmla="*/ 67733 h 27"/>
              <a:gd name="T40" fmla="*/ 33933 w 24"/>
              <a:gd name="T41" fmla="*/ 75259 h 27"/>
              <a:gd name="T42" fmla="*/ 45244 w 24"/>
              <a:gd name="T43" fmla="*/ 82785 h 27"/>
              <a:gd name="T44" fmla="*/ 56555 w 24"/>
              <a:gd name="T45" fmla="*/ 82785 h 27"/>
              <a:gd name="T46" fmla="*/ 45244 w 24"/>
              <a:gd name="T47" fmla="*/ 18815 h 27"/>
              <a:gd name="T48" fmla="*/ 37703 w 24"/>
              <a:gd name="T49" fmla="*/ 18815 h 27"/>
              <a:gd name="T50" fmla="*/ 30163 w 24"/>
              <a:gd name="T51" fmla="*/ 22578 h 27"/>
              <a:gd name="T52" fmla="*/ 26392 w 24"/>
              <a:gd name="T53" fmla="*/ 30104 h 27"/>
              <a:gd name="T54" fmla="*/ 26392 w 24"/>
              <a:gd name="T55" fmla="*/ 37630 h 27"/>
              <a:gd name="T56" fmla="*/ 64096 w 24"/>
              <a:gd name="T57" fmla="*/ 37630 h 27"/>
              <a:gd name="T58" fmla="*/ 64096 w 24"/>
              <a:gd name="T59" fmla="*/ 30104 h 27"/>
              <a:gd name="T60" fmla="*/ 60325 w 24"/>
              <a:gd name="T61" fmla="*/ 22578 h 27"/>
              <a:gd name="T62" fmla="*/ 45244 w 24"/>
              <a:gd name="T63" fmla="*/ 18815 h 2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4" h="27">
                <a:moveTo>
                  <a:pt x="15" y="22"/>
                </a:moveTo>
                <a:cubicBezTo>
                  <a:pt x="16" y="22"/>
                  <a:pt x="17" y="22"/>
                  <a:pt x="19" y="22"/>
                </a:cubicBezTo>
                <a:cubicBezTo>
                  <a:pt x="20" y="21"/>
                  <a:pt x="21" y="21"/>
                  <a:pt x="23" y="21"/>
                </a:cubicBezTo>
                <a:cubicBezTo>
                  <a:pt x="23" y="26"/>
                  <a:pt x="23" y="26"/>
                  <a:pt x="23" y="26"/>
                </a:cubicBezTo>
                <a:cubicBezTo>
                  <a:pt x="21" y="26"/>
                  <a:pt x="20" y="27"/>
                  <a:pt x="19" y="27"/>
                </a:cubicBezTo>
                <a:cubicBezTo>
                  <a:pt x="17" y="27"/>
                  <a:pt x="15" y="27"/>
                  <a:pt x="13" y="27"/>
                </a:cubicBezTo>
                <a:cubicBezTo>
                  <a:pt x="12" y="27"/>
                  <a:pt x="10" y="27"/>
                  <a:pt x="8" y="27"/>
                </a:cubicBezTo>
                <a:cubicBezTo>
                  <a:pt x="5" y="26"/>
                  <a:pt x="2" y="23"/>
                  <a:pt x="1" y="20"/>
                </a:cubicBezTo>
                <a:cubicBezTo>
                  <a:pt x="0" y="18"/>
                  <a:pt x="0" y="16"/>
                  <a:pt x="0" y="14"/>
                </a:cubicBezTo>
                <a:cubicBezTo>
                  <a:pt x="0" y="12"/>
                  <a:pt x="0" y="10"/>
                  <a:pt x="1" y="8"/>
                </a:cubicBezTo>
                <a:cubicBezTo>
                  <a:pt x="2" y="6"/>
                  <a:pt x="2" y="4"/>
                  <a:pt x="4" y="3"/>
                </a:cubicBezTo>
                <a:cubicBezTo>
                  <a:pt x="5" y="2"/>
                  <a:pt x="6" y="1"/>
                  <a:pt x="8" y="1"/>
                </a:cubicBezTo>
                <a:cubicBezTo>
                  <a:pt x="9" y="0"/>
                  <a:pt x="11" y="0"/>
                  <a:pt x="12" y="0"/>
                </a:cubicBezTo>
                <a:cubicBezTo>
                  <a:pt x="14" y="0"/>
                  <a:pt x="15" y="0"/>
                  <a:pt x="17" y="0"/>
                </a:cubicBezTo>
                <a:cubicBezTo>
                  <a:pt x="18" y="1"/>
                  <a:pt x="20" y="2"/>
                  <a:pt x="21" y="3"/>
                </a:cubicBezTo>
                <a:cubicBezTo>
                  <a:pt x="22" y="4"/>
                  <a:pt x="22" y="5"/>
                  <a:pt x="23" y="7"/>
                </a:cubicBezTo>
                <a:cubicBezTo>
                  <a:pt x="24" y="9"/>
                  <a:pt x="24" y="11"/>
                  <a:pt x="24" y="13"/>
                </a:cubicBezTo>
                <a:cubicBezTo>
                  <a:pt x="24" y="14"/>
                  <a:pt x="24" y="15"/>
                  <a:pt x="24" y="15"/>
                </a:cubicBezTo>
                <a:cubicBezTo>
                  <a:pt x="6" y="15"/>
                  <a:pt x="6" y="15"/>
                  <a:pt x="6" y="15"/>
                </a:cubicBezTo>
                <a:cubicBezTo>
                  <a:pt x="6" y="16"/>
                  <a:pt x="7" y="17"/>
                  <a:pt x="7" y="18"/>
                </a:cubicBezTo>
                <a:cubicBezTo>
                  <a:pt x="8" y="19"/>
                  <a:pt x="8" y="20"/>
                  <a:pt x="9" y="20"/>
                </a:cubicBezTo>
                <a:cubicBezTo>
                  <a:pt x="10" y="21"/>
                  <a:pt x="11" y="21"/>
                  <a:pt x="12" y="22"/>
                </a:cubicBezTo>
                <a:cubicBezTo>
                  <a:pt x="13" y="22"/>
                  <a:pt x="14" y="22"/>
                  <a:pt x="15" y="22"/>
                </a:cubicBezTo>
                <a:close/>
                <a:moveTo>
                  <a:pt x="12" y="5"/>
                </a:moveTo>
                <a:cubicBezTo>
                  <a:pt x="11" y="5"/>
                  <a:pt x="11" y="5"/>
                  <a:pt x="10" y="5"/>
                </a:cubicBezTo>
                <a:cubicBezTo>
                  <a:pt x="9" y="5"/>
                  <a:pt x="9" y="6"/>
                  <a:pt x="8" y="6"/>
                </a:cubicBezTo>
                <a:cubicBezTo>
                  <a:pt x="8" y="7"/>
                  <a:pt x="8" y="7"/>
                  <a:pt x="7" y="8"/>
                </a:cubicBezTo>
                <a:cubicBezTo>
                  <a:pt x="7" y="9"/>
                  <a:pt x="7" y="10"/>
                  <a:pt x="7" y="10"/>
                </a:cubicBezTo>
                <a:cubicBezTo>
                  <a:pt x="17" y="10"/>
                  <a:pt x="17" y="10"/>
                  <a:pt x="17" y="10"/>
                </a:cubicBezTo>
                <a:cubicBezTo>
                  <a:pt x="17" y="10"/>
                  <a:pt x="17" y="9"/>
                  <a:pt x="17" y="8"/>
                </a:cubicBezTo>
                <a:cubicBezTo>
                  <a:pt x="17" y="7"/>
                  <a:pt x="16" y="7"/>
                  <a:pt x="16" y="6"/>
                </a:cubicBezTo>
                <a:cubicBezTo>
                  <a:pt x="15" y="5"/>
                  <a:pt x="14" y="5"/>
                  <a:pt x="12" y="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 sz="1800"/>
          </a:p>
        </p:txBody>
      </p:sp>
      <p:sp>
        <p:nvSpPr>
          <p:cNvPr id="28" name="Freeform 25">
            <a:extLst>
              <a:ext uri="{FF2B5EF4-FFF2-40B4-BE49-F238E27FC236}">
                <a16:creationId xmlns:a16="http://schemas.microsoft.com/office/drawing/2014/main" id="{B6B95B87-97C0-4478-A1CA-D50AEB5102BF}"/>
              </a:ext>
            </a:extLst>
          </p:cNvPr>
          <p:cNvSpPr>
            <a:spLocks noEditPoints="1"/>
          </p:cNvSpPr>
          <p:nvPr userDrawn="1"/>
        </p:nvSpPr>
        <p:spPr bwMode="gray">
          <a:xfrm>
            <a:off x="10666187" y="1951985"/>
            <a:ext cx="75876" cy="86636"/>
          </a:xfrm>
          <a:custGeom>
            <a:avLst/>
            <a:gdLst>
              <a:gd name="T0" fmla="*/ 56555 w 24"/>
              <a:gd name="T1" fmla="*/ 82785 h 27"/>
              <a:gd name="T2" fmla="*/ 71636 w 24"/>
              <a:gd name="T3" fmla="*/ 82785 h 27"/>
              <a:gd name="T4" fmla="*/ 86718 w 24"/>
              <a:gd name="T5" fmla="*/ 79022 h 27"/>
              <a:gd name="T6" fmla="*/ 86718 w 24"/>
              <a:gd name="T7" fmla="*/ 97837 h 27"/>
              <a:gd name="T8" fmla="*/ 71636 w 24"/>
              <a:gd name="T9" fmla="*/ 101600 h 27"/>
              <a:gd name="T10" fmla="*/ 52785 w 24"/>
              <a:gd name="T11" fmla="*/ 101600 h 27"/>
              <a:gd name="T12" fmla="*/ 33933 w 24"/>
              <a:gd name="T13" fmla="*/ 101600 h 27"/>
              <a:gd name="T14" fmla="*/ 15081 w 24"/>
              <a:gd name="T15" fmla="*/ 90311 h 27"/>
              <a:gd name="T16" fmla="*/ 3770 w 24"/>
              <a:gd name="T17" fmla="*/ 75259 h 27"/>
              <a:gd name="T18" fmla="*/ 0 w 24"/>
              <a:gd name="T19" fmla="*/ 52681 h 27"/>
              <a:gd name="T20" fmla="*/ 3770 w 24"/>
              <a:gd name="T21" fmla="*/ 30104 h 27"/>
              <a:gd name="T22" fmla="*/ 15081 w 24"/>
              <a:gd name="T23" fmla="*/ 11289 h 27"/>
              <a:gd name="T24" fmla="*/ 30163 w 24"/>
              <a:gd name="T25" fmla="*/ 3763 h 27"/>
              <a:gd name="T26" fmla="*/ 49014 w 24"/>
              <a:gd name="T27" fmla="*/ 0 h 27"/>
              <a:gd name="T28" fmla="*/ 64096 w 24"/>
              <a:gd name="T29" fmla="*/ 3763 h 27"/>
              <a:gd name="T30" fmla="*/ 79177 w 24"/>
              <a:gd name="T31" fmla="*/ 11289 h 27"/>
              <a:gd name="T32" fmla="*/ 86718 w 24"/>
              <a:gd name="T33" fmla="*/ 26341 h 27"/>
              <a:gd name="T34" fmla="*/ 90488 w 24"/>
              <a:gd name="T35" fmla="*/ 48919 h 27"/>
              <a:gd name="T36" fmla="*/ 90488 w 24"/>
              <a:gd name="T37" fmla="*/ 56444 h 27"/>
              <a:gd name="T38" fmla="*/ 26392 w 24"/>
              <a:gd name="T39" fmla="*/ 56444 h 27"/>
              <a:gd name="T40" fmla="*/ 30163 w 24"/>
              <a:gd name="T41" fmla="*/ 67733 h 27"/>
              <a:gd name="T42" fmla="*/ 33933 w 24"/>
              <a:gd name="T43" fmla="*/ 79022 h 27"/>
              <a:gd name="T44" fmla="*/ 45244 w 24"/>
              <a:gd name="T45" fmla="*/ 82785 h 27"/>
              <a:gd name="T46" fmla="*/ 56555 w 24"/>
              <a:gd name="T47" fmla="*/ 82785 h 27"/>
              <a:gd name="T48" fmla="*/ 49014 w 24"/>
              <a:gd name="T49" fmla="*/ 18815 h 27"/>
              <a:gd name="T50" fmla="*/ 41474 w 24"/>
              <a:gd name="T51" fmla="*/ 18815 h 27"/>
              <a:gd name="T52" fmla="*/ 33933 w 24"/>
              <a:gd name="T53" fmla="*/ 22578 h 27"/>
              <a:gd name="T54" fmla="*/ 30163 w 24"/>
              <a:gd name="T55" fmla="*/ 30104 h 27"/>
              <a:gd name="T56" fmla="*/ 26392 w 24"/>
              <a:gd name="T57" fmla="*/ 37630 h 27"/>
              <a:gd name="T58" fmla="*/ 67866 w 24"/>
              <a:gd name="T59" fmla="*/ 37630 h 27"/>
              <a:gd name="T60" fmla="*/ 64096 w 24"/>
              <a:gd name="T61" fmla="*/ 30104 h 27"/>
              <a:gd name="T62" fmla="*/ 60325 w 24"/>
              <a:gd name="T63" fmla="*/ 22578 h 27"/>
              <a:gd name="T64" fmla="*/ 49014 w 24"/>
              <a:gd name="T65" fmla="*/ 18815 h 27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24" h="27">
                <a:moveTo>
                  <a:pt x="15" y="22"/>
                </a:moveTo>
                <a:cubicBezTo>
                  <a:pt x="17" y="22"/>
                  <a:pt x="18" y="22"/>
                  <a:pt x="19" y="22"/>
                </a:cubicBezTo>
                <a:cubicBezTo>
                  <a:pt x="21" y="21"/>
                  <a:pt x="22" y="21"/>
                  <a:pt x="23" y="21"/>
                </a:cubicBezTo>
                <a:cubicBezTo>
                  <a:pt x="23" y="26"/>
                  <a:pt x="23" y="26"/>
                  <a:pt x="23" y="26"/>
                </a:cubicBezTo>
                <a:cubicBezTo>
                  <a:pt x="22" y="26"/>
                  <a:pt x="21" y="27"/>
                  <a:pt x="19" y="27"/>
                </a:cubicBezTo>
                <a:cubicBezTo>
                  <a:pt x="18" y="27"/>
                  <a:pt x="16" y="27"/>
                  <a:pt x="14" y="27"/>
                </a:cubicBezTo>
                <a:cubicBezTo>
                  <a:pt x="12" y="27"/>
                  <a:pt x="10" y="27"/>
                  <a:pt x="9" y="27"/>
                </a:cubicBezTo>
                <a:cubicBezTo>
                  <a:pt x="7" y="26"/>
                  <a:pt x="6" y="25"/>
                  <a:pt x="4" y="24"/>
                </a:cubicBezTo>
                <a:cubicBezTo>
                  <a:pt x="3" y="23"/>
                  <a:pt x="2" y="22"/>
                  <a:pt x="1" y="20"/>
                </a:cubicBezTo>
                <a:cubicBezTo>
                  <a:pt x="0" y="18"/>
                  <a:pt x="0" y="16"/>
                  <a:pt x="0" y="14"/>
                </a:cubicBezTo>
                <a:cubicBezTo>
                  <a:pt x="0" y="12"/>
                  <a:pt x="0" y="10"/>
                  <a:pt x="1" y="8"/>
                </a:cubicBezTo>
                <a:cubicBezTo>
                  <a:pt x="2" y="6"/>
                  <a:pt x="3" y="5"/>
                  <a:pt x="4" y="3"/>
                </a:cubicBezTo>
                <a:cubicBezTo>
                  <a:pt x="5" y="2"/>
                  <a:pt x="6" y="1"/>
                  <a:pt x="8" y="1"/>
                </a:cubicBezTo>
                <a:cubicBezTo>
                  <a:pt x="9" y="0"/>
                  <a:pt x="11" y="0"/>
                  <a:pt x="13" y="0"/>
                </a:cubicBezTo>
                <a:cubicBezTo>
                  <a:pt x="14" y="0"/>
                  <a:pt x="16" y="0"/>
                  <a:pt x="17" y="1"/>
                </a:cubicBezTo>
                <a:cubicBezTo>
                  <a:pt x="19" y="1"/>
                  <a:pt x="20" y="2"/>
                  <a:pt x="21" y="3"/>
                </a:cubicBezTo>
                <a:cubicBezTo>
                  <a:pt x="22" y="4"/>
                  <a:pt x="23" y="5"/>
                  <a:pt x="23" y="7"/>
                </a:cubicBezTo>
                <a:cubicBezTo>
                  <a:pt x="24" y="9"/>
                  <a:pt x="24" y="11"/>
                  <a:pt x="24" y="13"/>
                </a:cubicBezTo>
                <a:cubicBezTo>
                  <a:pt x="24" y="14"/>
                  <a:pt x="24" y="15"/>
                  <a:pt x="24" y="15"/>
                </a:cubicBezTo>
                <a:cubicBezTo>
                  <a:pt x="7" y="15"/>
                  <a:pt x="7" y="15"/>
                  <a:pt x="7" y="15"/>
                </a:cubicBezTo>
                <a:cubicBezTo>
                  <a:pt x="7" y="16"/>
                  <a:pt x="7" y="17"/>
                  <a:pt x="8" y="18"/>
                </a:cubicBezTo>
                <a:cubicBezTo>
                  <a:pt x="8" y="19"/>
                  <a:pt x="9" y="20"/>
                  <a:pt x="9" y="21"/>
                </a:cubicBezTo>
                <a:cubicBezTo>
                  <a:pt x="10" y="21"/>
                  <a:pt x="11" y="21"/>
                  <a:pt x="12" y="22"/>
                </a:cubicBezTo>
                <a:cubicBezTo>
                  <a:pt x="13" y="22"/>
                  <a:pt x="14" y="22"/>
                  <a:pt x="15" y="22"/>
                </a:cubicBezTo>
                <a:close/>
                <a:moveTo>
                  <a:pt x="13" y="5"/>
                </a:moveTo>
                <a:cubicBezTo>
                  <a:pt x="12" y="5"/>
                  <a:pt x="11" y="5"/>
                  <a:pt x="11" y="5"/>
                </a:cubicBezTo>
                <a:cubicBezTo>
                  <a:pt x="10" y="5"/>
                  <a:pt x="9" y="6"/>
                  <a:pt x="9" y="6"/>
                </a:cubicBezTo>
                <a:cubicBezTo>
                  <a:pt x="8" y="7"/>
                  <a:pt x="8" y="7"/>
                  <a:pt x="8" y="8"/>
                </a:cubicBezTo>
                <a:cubicBezTo>
                  <a:pt x="8" y="9"/>
                  <a:pt x="7" y="10"/>
                  <a:pt x="7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10"/>
                  <a:pt x="17" y="9"/>
                  <a:pt x="17" y="8"/>
                </a:cubicBezTo>
                <a:cubicBezTo>
                  <a:pt x="17" y="7"/>
                  <a:pt x="17" y="7"/>
                  <a:pt x="16" y="6"/>
                </a:cubicBezTo>
                <a:cubicBezTo>
                  <a:pt x="15" y="5"/>
                  <a:pt x="14" y="5"/>
                  <a:pt x="13" y="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 sz="1800"/>
          </a:p>
        </p:txBody>
      </p:sp>
      <p:sp>
        <p:nvSpPr>
          <p:cNvPr id="29" name="Freeform 26">
            <a:extLst>
              <a:ext uri="{FF2B5EF4-FFF2-40B4-BE49-F238E27FC236}">
                <a16:creationId xmlns:a16="http://schemas.microsoft.com/office/drawing/2014/main" id="{2583321A-E9CD-4D1A-8D23-70E4191F2043}"/>
              </a:ext>
            </a:extLst>
          </p:cNvPr>
          <p:cNvSpPr>
            <a:spLocks/>
          </p:cNvSpPr>
          <p:nvPr userDrawn="1"/>
        </p:nvSpPr>
        <p:spPr bwMode="gray">
          <a:xfrm>
            <a:off x="10760700" y="1951985"/>
            <a:ext cx="50584" cy="86636"/>
          </a:xfrm>
          <a:custGeom>
            <a:avLst/>
            <a:gdLst>
              <a:gd name="T0" fmla="*/ 60325 w 16"/>
              <a:gd name="T1" fmla="*/ 18815 h 27"/>
              <a:gd name="T2" fmla="*/ 56555 w 16"/>
              <a:gd name="T3" fmla="*/ 18815 h 27"/>
              <a:gd name="T4" fmla="*/ 37703 w 16"/>
              <a:gd name="T5" fmla="*/ 22578 h 27"/>
              <a:gd name="T6" fmla="*/ 26392 w 16"/>
              <a:gd name="T7" fmla="*/ 33867 h 27"/>
              <a:gd name="T8" fmla="*/ 26392 w 16"/>
              <a:gd name="T9" fmla="*/ 101600 h 27"/>
              <a:gd name="T10" fmla="*/ 0 w 16"/>
              <a:gd name="T11" fmla="*/ 101600 h 27"/>
              <a:gd name="T12" fmla="*/ 0 w 16"/>
              <a:gd name="T13" fmla="*/ 0 h 27"/>
              <a:gd name="T14" fmla="*/ 22622 w 16"/>
              <a:gd name="T15" fmla="*/ 0 h 27"/>
              <a:gd name="T16" fmla="*/ 22622 w 16"/>
              <a:gd name="T17" fmla="*/ 15052 h 27"/>
              <a:gd name="T18" fmla="*/ 22622 w 16"/>
              <a:gd name="T19" fmla="*/ 15052 h 27"/>
              <a:gd name="T20" fmla="*/ 33933 w 16"/>
              <a:gd name="T21" fmla="*/ 3763 h 27"/>
              <a:gd name="T22" fmla="*/ 52784 w 16"/>
              <a:gd name="T23" fmla="*/ 0 h 27"/>
              <a:gd name="T24" fmla="*/ 60325 w 16"/>
              <a:gd name="T25" fmla="*/ 0 h 27"/>
              <a:gd name="T26" fmla="*/ 60325 w 16"/>
              <a:gd name="T27" fmla="*/ 18815 h 27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16" h="27">
                <a:moveTo>
                  <a:pt x="16" y="5"/>
                </a:moveTo>
                <a:cubicBezTo>
                  <a:pt x="15" y="5"/>
                  <a:pt x="15" y="5"/>
                  <a:pt x="15" y="5"/>
                </a:cubicBezTo>
                <a:cubicBezTo>
                  <a:pt x="14" y="5"/>
                  <a:pt x="12" y="6"/>
                  <a:pt x="10" y="6"/>
                </a:cubicBezTo>
                <a:cubicBezTo>
                  <a:pt x="9" y="7"/>
                  <a:pt x="8" y="8"/>
                  <a:pt x="7" y="9"/>
                </a:cubicBezTo>
                <a:cubicBezTo>
                  <a:pt x="7" y="27"/>
                  <a:pt x="7" y="27"/>
                  <a:pt x="7" y="27"/>
                </a:cubicBezTo>
                <a:cubicBezTo>
                  <a:pt x="0" y="27"/>
                  <a:pt x="0" y="27"/>
                  <a:pt x="0" y="27"/>
                </a:cubicBezTo>
                <a:cubicBezTo>
                  <a:pt x="0" y="0"/>
                  <a:pt x="0" y="0"/>
                  <a:pt x="0" y="0"/>
                </a:cubicBezTo>
                <a:cubicBezTo>
                  <a:pt x="6" y="0"/>
                  <a:pt x="6" y="0"/>
                  <a:pt x="6" y="0"/>
                </a:cubicBezTo>
                <a:cubicBezTo>
                  <a:pt x="6" y="4"/>
                  <a:pt x="6" y="4"/>
                  <a:pt x="6" y="4"/>
                </a:cubicBezTo>
                <a:cubicBezTo>
                  <a:pt x="6" y="4"/>
                  <a:pt x="6" y="4"/>
                  <a:pt x="6" y="4"/>
                </a:cubicBezTo>
                <a:cubicBezTo>
                  <a:pt x="7" y="3"/>
                  <a:pt x="8" y="2"/>
                  <a:pt x="9" y="1"/>
                </a:cubicBezTo>
                <a:cubicBezTo>
                  <a:pt x="11" y="0"/>
                  <a:pt x="12" y="0"/>
                  <a:pt x="14" y="0"/>
                </a:cubicBezTo>
                <a:cubicBezTo>
                  <a:pt x="15" y="0"/>
                  <a:pt x="15" y="0"/>
                  <a:pt x="16" y="0"/>
                </a:cubicBezTo>
                <a:lnTo>
                  <a:pt x="16" y="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 sz="1800"/>
          </a:p>
        </p:txBody>
      </p:sp>
      <p:sp>
        <p:nvSpPr>
          <p:cNvPr id="30" name="Freeform 27">
            <a:extLst>
              <a:ext uri="{FF2B5EF4-FFF2-40B4-BE49-F238E27FC236}">
                <a16:creationId xmlns:a16="http://schemas.microsoft.com/office/drawing/2014/main" id="{FFB8B19C-9D97-47B4-A377-E80B2C1048BB}"/>
              </a:ext>
            </a:extLst>
          </p:cNvPr>
          <p:cNvSpPr>
            <a:spLocks/>
          </p:cNvSpPr>
          <p:nvPr userDrawn="1"/>
        </p:nvSpPr>
        <p:spPr bwMode="gray">
          <a:xfrm>
            <a:off x="10829919" y="1919497"/>
            <a:ext cx="34611" cy="48733"/>
          </a:xfrm>
          <a:custGeom>
            <a:avLst/>
            <a:gdLst>
              <a:gd name="T0" fmla="*/ 15875 w 26"/>
              <a:gd name="T1" fmla="*/ 0 h 36"/>
              <a:gd name="T2" fmla="*/ 41275 w 26"/>
              <a:gd name="T3" fmla="*/ 0 h 36"/>
              <a:gd name="T4" fmla="*/ 19050 w 26"/>
              <a:gd name="T5" fmla="*/ 57150 h 36"/>
              <a:gd name="T6" fmla="*/ 0 w 26"/>
              <a:gd name="T7" fmla="*/ 57150 h 36"/>
              <a:gd name="T8" fmla="*/ 15875 w 26"/>
              <a:gd name="T9" fmla="*/ 0 h 3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6" h="36">
                <a:moveTo>
                  <a:pt x="10" y="0"/>
                </a:moveTo>
                <a:lnTo>
                  <a:pt x="26" y="0"/>
                </a:lnTo>
                <a:lnTo>
                  <a:pt x="12" y="36"/>
                </a:lnTo>
                <a:lnTo>
                  <a:pt x="0" y="36"/>
                </a:lnTo>
                <a:lnTo>
                  <a:pt x="10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 sz="1800"/>
          </a:p>
        </p:txBody>
      </p:sp>
      <p:sp>
        <p:nvSpPr>
          <p:cNvPr id="31" name="Freeform 28">
            <a:extLst>
              <a:ext uri="{FF2B5EF4-FFF2-40B4-BE49-F238E27FC236}">
                <a16:creationId xmlns:a16="http://schemas.microsoft.com/office/drawing/2014/main" id="{D99419A1-48E7-48A5-AD24-490EFFA70B56}"/>
              </a:ext>
            </a:extLst>
          </p:cNvPr>
          <p:cNvSpPr>
            <a:spLocks/>
          </p:cNvSpPr>
          <p:nvPr userDrawn="1"/>
        </p:nvSpPr>
        <p:spPr bwMode="gray">
          <a:xfrm>
            <a:off x="10868523" y="1949277"/>
            <a:ext cx="62565" cy="89344"/>
          </a:xfrm>
          <a:custGeom>
            <a:avLst/>
            <a:gdLst>
              <a:gd name="T0" fmla="*/ 48498 w 20"/>
              <a:gd name="T1" fmla="*/ 74839 h 28"/>
              <a:gd name="T2" fmla="*/ 48498 w 20"/>
              <a:gd name="T3" fmla="*/ 71097 h 28"/>
              <a:gd name="T4" fmla="*/ 41037 w 20"/>
              <a:gd name="T5" fmla="*/ 67355 h 28"/>
              <a:gd name="T6" fmla="*/ 33576 w 20"/>
              <a:gd name="T7" fmla="*/ 63613 h 28"/>
              <a:gd name="T8" fmla="*/ 26115 w 20"/>
              <a:gd name="T9" fmla="*/ 59871 h 28"/>
              <a:gd name="T10" fmla="*/ 18653 w 20"/>
              <a:gd name="T11" fmla="*/ 59871 h 28"/>
              <a:gd name="T12" fmla="*/ 7461 w 20"/>
              <a:gd name="T13" fmla="*/ 52388 h 28"/>
              <a:gd name="T14" fmla="*/ 3731 w 20"/>
              <a:gd name="T15" fmla="*/ 44904 h 28"/>
              <a:gd name="T16" fmla="*/ 0 w 20"/>
              <a:gd name="T17" fmla="*/ 33678 h 28"/>
              <a:gd name="T18" fmla="*/ 3731 w 20"/>
              <a:gd name="T19" fmla="*/ 18710 h 28"/>
              <a:gd name="T20" fmla="*/ 11192 w 20"/>
              <a:gd name="T21" fmla="*/ 11226 h 28"/>
              <a:gd name="T22" fmla="*/ 22384 w 20"/>
              <a:gd name="T23" fmla="*/ 3742 h 28"/>
              <a:gd name="T24" fmla="*/ 37307 w 20"/>
              <a:gd name="T25" fmla="*/ 0 h 28"/>
              <a:gd name="T26" fmla="*/ 55960 w 20"/>
              <a:gd name="T27" fmla="*/ 3742 h 28"/>
              <a:gd name="T28" fmla="*/ 70882 w 20"/>
              <a:gd name="T29" fmla="*/ 7484 h 28"/>
              <a:gd name="T30" fmla="*/ 70882 w 20"/>
              <a:gd name="T31" fmla="*/ 26194 h 28"/>
              <a:gd name="T32" fmla="*/ 63421 w 20"/>
              <a:gd name="T33" fmla="*/ 26194 h 28"/>
              <a:gd name="T34" fmla="*/ 55960 w 20"/>
              <a:gd name="T35" fmla="*/ 22452 h 28"/>
              <a:gd name="T36" fmla="*/ 48498 w 20"/>
              <a:gd name="T37" fmla="*/ 22452 h 28"/>
              <a:gd name="T38" fmla="*/ 41037 w 20"/>
              <a:gd name="T39" fmla="*/ 22452 h 28"/>
              <a:gd name="T40" fmla="*/ 33576 w 20"/>
              <a:gd name="T41" fmla="*/ 22452 h 28"/>
              <a:gd name="T42" fmla="*/ 29845 w 20"/>
              <a:gd name="T43" fmla="*/ 26194 h 28"/>
              <a:gd name="T44" fmla="*/ 26115 w 20"/>
              <a:gd name="T45" fmla="*/ 26194 h 28"/>
              <a:gd name="T46" fmla="*/ 26115 w 20"/>
              <a:gd name="T47" fmla="*/ 29936 h 28"/>
              <a:gd name="T48" fmla="*/ 26115 w 20"/>
              <a:gd name="T49" fmla="*/ 37420 h 28"/>
              <a:gd name="T50" fmla="*/ 29845 w 20"/>
              <a:gd name="T51" fmla="*/ 41162 h 28"/>
              <a:gd name="T52" fmla="*/ 37307 w 20"/>
              <a:gd name="T53" fmla="*/ 41162 h 28"/>
              <a:gd name="T54" fmla="*/ 44768 w 20"/>
              <a:gd name="T55" fmla="*/ 44904 h 28"/>
              <a:gd name="T56" fmla="*/ 55960 w 20"/>
              <a:gd name="T57" fmla="*/ 48646 h 28"/>
              <a:gd name="T58" fmla="*/ 63421 w 20"/>
              <a:gd name="T59" fmla="*/ 52388 h 28"/>
              <a:gd name="T60" fmla="*/ 70882 w 20"/>
              <a:gd name="T61" fmla="*/ 59871 h 28"/>
              <a:gd name="T62" fmla="*/ 74613 w 20"/>
              <a:gd name="T63" fmla="*/ 71097 h 28"/>
              <a:gd name="T64" fmla="*/ 70882 w 20"/>
              <a:gd name="T65" fmla="*/ 86065 h 28"/>
              <a:gd name="T66" fmla="*/ 59690 w 20"/>
              <a:gd name="T67" fmla="*/ 97291 h 28"/>
              <a:gd name="T68" fmla="*/ 48498 w 20"/>
              <a:gd name="T69" fmla="*/ 104775 h 28"/>
              <a:gd name="T70" fmla="*/ 29845 w 20"/>
              <a:gd name="T71" fmla="*/ 104775 h 28"/>
              <a:gd name="T72" fmla="*/ 14923 w 20"/>
              <a:gd name="T73" fmla="*/ 104775 h 28"/>
              <a:gd name="T74" fmla="*/ 0 w 20"/>
              <a:gd name="T75" fmla="*/ 101033 h 28"/>
              <a:gd name="T76" fmla="*/ 0 w 20"/>
              <a:gd name="T77" fmla="*/ 82323 h 28"/>
              <a:gd name="T78" fmla="*/ 14923 w 20"/>
              <a:gd name="T79" fmla="*/ 86065 h 28"/>
              <a:gd name="T80" fmla="*/ 29845 w 20"/>
              <a:gd name="T81" fmla="*/ 86065 h 28"/>
              <a:gd name="T82" fmla="*/ 37307 w 20"/>
              <a:gd name="T83" fmla="*/ 86065 h 28"/>
              <a:gd name="T84" fmla="*/ 44768 w 20"/>
              <a:gd name="T85" fmla="*/ 86065 h 28"/>
              <a:gd name="T86" fmla="*/ 48498 w 20"/>
              <a:gd name="T87" fmla="*/ 82323 h 28"/>
              <a:gd name="T88" fmla="*/ 48498 w 20"/>
              <a:gd name="T89" fmla="*/ 74839 h 28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20" h="28">
                <a:moveTo>
                  <a:pt x="13" y="20"/>
                </a:moveTo>
                <a:cubicBezTo>
                  <a:pt x="13" y="19"/>
                  <a:pt x="13" y="19"/>
                  <a:pt x="13" y="19"/>
                </a:cubicBezTo>
                <a:cubicBezTo>
                  <a:pt x="12" y="18"/>
                  <a:pt x="12" y="18"/>
                  <a:pt x="11" y="18"/>
                </a:cubicBezTo>
                <a:cubicBezTo>
                  <a:pt x="11" y="17"/>
                  <a:pt x="10" y="17"/>
                  <a:pt x="9" y="17"/>
                </a:cubicBezTo>
                <a:cubicBezTo>
                  <a:pt x="7" y="16"/>
                  <a:pt x="7" y="16"/>
                  <a:pt x="7" y="16"/>
                </a:cubicBezTo>
                <a:cubicBezTo>
                  <a:pt x="6" y="16"/>
                  <a:pt x="6" y="16"/>
                  <a:pt x="5" y="16"/>
                </a:cubicBezTo>
                <a:cubicBezTo>
                  <a:pt x="4" y="15"/>
                  <a:pt x="3" y="15"/>
                  <a:pt x="2" y="14"/>
                </a:cubicBezTo>
                <a:cubicBezTo>
                  <a:pt x="2" y="14"/>
                  <a:pt x="1" y="13"/>
                  <a:pt x="1" y="12"/>
                </a:cubicBezTo>
                <a:cubicBezTo>
                  <a:pt x="0" y="11"/>
                  <a:pt x="0" y="10"/>
                  <a:pt x="0" y="9"/>
                </a:cubicBezTo>
                <a:cubicBezTo>
                  <a:pt x="0" y="8"/>
                  <a:pt x="0" y="6"/>
                  <a:pt x="1" y="5"/>
                </a:cubicBezTo>
                <a:cubicBezTo>
                  <a:pt x="2" y="4"/>
                  <a:pt x="2" y="3"/>
                  <a:pt x="3" y="3"/>
                </a:cubicBezTo>
                <a:cubicBezTo>
                  <a:pt x="4" y="2"/>
                  <a:pt x="5" y="1"/>
                  <a:pt x="6" y="1"/>
                </a:cubicBezTo>
                <a:cubicBezTo>
                  <a:pt x="7" y="1"/>
                  <a:pt x="9" y="0"/>
                  <a:pt x="10" y="0"/>
                </a:cubicBezTo>
                <a:cubicBezTo>
                  <a:pt x="12" y="0"/>
                  <a:pt x="13" y="1"/>
                  <a:pt x="15" y="1"/>
                </a:cubicBezTo>
                <a:cubicBezTo>
                  <a:pt x="16" y="1"/>
                  <a:pt x="17" y="1"/>
                  <a:pt x="19" y="2"/>
                </a:cubicBezTo>
                <a:cubicBezTo>
                  <a:pt x="19" y="7"/>
                  <a:pt x="19" y="7"/>
                  <a:pt x="19" y="7"/>
                </a:cubicBezTo>
                <a:cubicBezTo>
                  <a:pt x="17" y="7"/>
                  <a:pt x="17" y="7"/>
                  <a:pt x="17" y="7"/>
                </a:cubicBezTo>
                <a:cubicBezTo>
                  <a:pt x="15" y="6"/>
                  <a:pt x="15" y="6"/>
                  <a:pt x="15" y="6"/>
                </a:cubicBezTo>
                <a:cubicBezTo>
                  <a:pt x="13" y="6"/>
                  <a:pt x="13" y="6"/>
                  <a:pt x="13" y="6"/>
                </a:cubicBezTo>
                <a:cubicBezTo>
                  <a:pt x="11" y="6"/>
                  <a:pt x="11" y="6"/>
                  <a:pt x="11" y="6"/>
                </a:cubicBezTo>
                <a:cubicBezTo>
                  <a:pt x="10" y="6"/>
                  <a:pt x="9" y="6"/>
                  <a:pt x="9" y="6"/>
                </a:cubicBezTo>
                <a:cubicBezTo>
                  <a:pt x="8" y="6"/>
                  <a:pt x="8" y="6"/>
                  <a:pt x="8" y="7"/>
                </a:cubicBezTo>
                <a:cubicBezTo>
                  <a:pt x="7" y="7"/>
                  <a:pt x="7" y="7"/>
                  <a:pt x="7" y="7"/>
                </a:cubicBezTo>
                <a:cubicBezTo>
                  <a:pt x="7" y="8"/>
                  <a:pt x="7" y="8"/>
                  <a:pt x="7" y="8"/>
                </a:cubicBezTo>
                <a:cubicBezTo>
                  <a:pt x="7" y="9"/>
                  <a:pt x="7" y="9"/>
                  <a:pt x="7" y="10"/>
                </a:cubicBezTo>
                <a:cubicBezTo>
                  <a:pt x="7" y="10"/>
                  <a:pt x="8" y="11"/>
                  <a:pt x="8" y="11"/>
                </a:cubicBezTo>
                <a:cubicBezTo>
                  <a:pt x="9" y="11"/>
                  <a:pt x="10" y="11"/>
                  <a:pt x="10" y="11"/>
                </a:cubicBezTo>
                <a:cubicBezTo>
                  <a:pt x="12" y="12"/>
                  <a:pt x="12" y="12"/>
                  <a:pt x="12" y="12"/>
                </a:cubicBezTo>
                <a:cubicBezTo>
                  <a:pt x="13" y="12"/>
                  <a:pt x="14" y="12"/>
                  <a:pt x="15" y="13"/>
                </a:cubicBezTo>
                <a:cubicBezTo>
                  <a:pt x="16" y="13"/>
                  <a:pt x="16" y="13"/>
                  <a:pt x="17" y="14"/>
                </a:cubicBezTo>
                <a:cubicBezTo>
                  <a:pt x="18" y="15"/>
                  <a:pt x="18" y="15"/>
                  <a:pt x="19" y="16"/>
                </a:cubicBezTo>
                <a:cubicBezTo>
                  <a:pt x="19" y="17"/>
                  <a:pt x="20" y="18"/>
                  <a:pt x="20" y="19"/>
                </a:cubicBezTo>
                <a:cubicBezTo>
                  <a:pt x="20" y="21"/>
                  <a:pt x="19" y="22"/>
                  <a:pt x="19" y="23"/>
                </a:cubicBezTo>
                <a:cubicBezTo>
                  <a:pt x="18" y="25"/>
                  <a:pt x="17" y="25"/>
                  <a:pt x="16" y="26"/>
                </a:cubicBezTo>
                <a:cubicBezTo>
                  <a:pt x="15" y="27"/>
                  <a:pt x="14" y="28"/>
                  <a:pt x="13" y="28"/>
                </a:cubicBezTo>
                <a:cubicBezTo>
                  <a:pt x="11" y="28"/>
                  <a:pt x="10" y="28"/>
                  <a:pt x="8" y="28"/>
                </a:cubicBezTo>
                <a:cubicBezTo>
                  <a:pt x="7" y="28"/>
                  <a:pt x="5" y="28"/>
                  <a:pt x="4" y="28"/>
                </a:cubicBezTo>
                <a:cubicBezTo>
                  <a:pt x="2" y="28"/>
                  <a:pt x="1" y="27"/>
                  <a:pt x="0" y="27"/>
                </a:cubicBezTo>
                <a:cubicBezTo>
                  <a:pt x="0" y="22"/>
                  <a:pt x="0" y="22"/>
                  <a:pt x="0" y="22"/>
                </a:cubicBezTo>
                <a:cubicBezTo>
                  <a:pt x="2" y="22"/>
                  <a:pt x="3" y="23"/>
                  <a:pt x="4" y="23"/>
                </a:cubicBezTo>
                <a:cubicBezTo>
                  <a:pt x="5" y="23"/>
                  <a:pt x="7" y="23"/>
                  <a:pt x="8" y="23"/>
                </a:cubicBezTo>
                <a:cubicBezTo>
                  <a:pt x="8" y="23"/>
                  <a:pt x="9" y="23"/>
                  <a:pt x="10" y="23"/>
                </a:cubicBezTo>
                <a:cubicBezTo>
                  <a:pt x="11" y="23"/>
                  <a:pt x="11" y="23"/>
                  <a:pt x="12" y="23"/>
                </a:cubicBezTo>
                <a:cubicBezTo>
                  <a:pt x="12" y="22"/>
                  <a:pt x="13" y="22"/>
                  <a:pt x="13" y="22"/>
                </a:cubicBezTo>
                <a:cubicBezTo>
                  <a:pt x="13" y="21"/>
                  <a:pt x="13" y="21"/>
                  <a:pt x="13" y="2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 sz="1800"/>
          </a:p>
        </p:txBody>
      </p:sp>
      <p:sp>
        <p:nvSpPr>
          <p:cNvPr id="32" name="Freeform 29">
            <a:extLst>
              <a:ext uri="{FF2B5EF4-FFF2-40B4-BE49-F238E27FC236}">
                <a16:creationId xmlns:a16="http://schemas.microsoft.com/office/drawing/2014/main" id="{1F952B9C-1814-4864-96B0-5EDF457F8BD9}"/>
              </a:ext>
            </a:extLst>
          </p:cNvPr>
          <p:cNvSpPr>
            <a:spLocks/>
          </p:cNvSpPr>
          <p:nvPr userDrawn="1"/>
        </p:nvSpPr>
        <p:spPr bwMode="gray">
          <a:xfrm>
            <a:off x="10977678" y="1951985"/>
            <a:ext cx="63895" cy="86636"/>
          </a:xfrm>
          <a:custGeom>
            <a:avLst/>
            <a:gdLst>
              <a:gd name="T0" fmla="*/ 76200 w 20"/>
              <a:gd name="T1" fmla="*/ 97837 h 27"/>
              <a:gd name="T2" fmla="*/ 64770 w 20"/>
              <a:gd name="T3" fmla="*/ 101600 h 27"/>
              <a:gd name="T4" fmla="*/ 53340 w 20"/>
              <a:gd name="T5" fmla="*/ 101600 h 27"/>
              <a:gd name="T6" fmla="*/ 30480 w 20"/>
              <a:gd name="T7" fmla="*/ 97837 h 27"/>
              <a:gd name="T8" fmla="*/ 15240 w 20"/>
              <a:gd name="T9" fmla="*/ 90311 h 27"/>
              <a:gd name="T10" fmla="*/ 3810 w 20"/>
              <a:gd name="T11" fmla="*/ 75259 h 27"/>
              <a:gd name="T12" fmla="*/ 0 w 20"/>
              <a:gd name="T13" fmla="*/ 52681 h 27"/>
              <a:gd name="T14" fmla="*/ 3810 w 20"/>
              <a:gd name="T15" fmla="*/ 30104 h 27"/>
              <a:gd name="T16" fmla="*/ 15240 w 20"/>
              <a:gd name="T17" fmla="*/ 11289 h 27"/>
              <a:gd name="T18" fmla="*/ 34290 w 20"/>
              <a:gd name="T19" fmla="*/ 3763 h 27"/>
              <a:gd name="T20" fmla="*/ 53340 w 20"/>
              <a:gd name="T21" fmla="*/ 0 h 27"/>
              <a:gd name="T22" fmla="*/ 64770 w 20"/>
              <a:gd name="T23" fmla="*/ 0 h 27"/>
              <a:gd name="T24" fmla="*/ 76200 w 20"/>
              <a:gd name="T25" fmla="*/ 3763 h 27"/>
              <a:gd name="T26" fmla="*/ 76200 w 20"/>
              <a:gd name="T27" fmla="*/ 22578 h 27"/>
              <a:gd name="T28" fmla="*/ 64770 w 20"/>
              <a:gd name="T29" fmla="*/ 18815 h 27"/>
              <a:gd name="T30" fmla="*/ 57150 w 20"/>
              <a:gd name="T31" fmla="*/ 18815 h 27"/>
              <a:gd name="T32" fmla="*/ 45720 w 20"/>
              <a:gd name="T33" fmla="*/ 22578 h 27"/>
              <a:gd name="T34" fmla="*/ 34290 w 20"/>
              <a:gd name="T35" fmla="*/ 26341 h 27"/>
              <a:gd name="T36" fmla="*/ 26670 w 20"/>
              <a:gd name="T37" fmla="*/ 37630 h 27"/>
              <a:gd name="T38" fmla="*/ 26670 w 20"/>
              <a:gd name="T39" fmla="*/ 52681 h 27"/>
              <a:gd name="T40" fmla="*/ 26670 w 20"/>
              <a:gd name="T41" fmla="*/ 63970 h 27"/>
              <a:gd name="T42" fmla="*/ 34290 w 20"/>
              <a:gd name="T43" fmla="*/ 75259 h 27"/>
              <a:gd name="T44" fmla="*/ 41910 w 20"/>
              <a:gd name="T45" fmla="*/ 79022 h 27"/>
              <a:gd name="T46" fmla="*/ 53340 w 20"/>
              <a:gd name="T47" fmla="*/ 82785 h 27"/>
              <a:gd name="T48" fmla="*/ 68580 w 20"/>
              <a:gd name="T49" fmla="*/ 82785 h 27"/>
              <a:gd name="T50" fmla="*/ 76200 w 20"/>
              <a:gd name="T51" fmla="*/ 79022 h 27"/>
              <a:gd name="T52" fmla="*/ 76200 w 20"/>
              <a:gd name="T53" fmla="*/ 97837 h 27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0" h="27">
                <a:moveTo>
                  <a:pt x="20" y="26"/>
                </a:moveTo>
                <a:cubicBezTo>
                  <a:pt x="19" y="26"/>
                  <a:pt x="18" y="27"/>
                  <a:pt x="17" y="27"/>
                </a:cubicBezTo>
                <a:cubicBezTo>
                  <a:pt x="16" y="27"/>
                  <a:pt x="15" y="27"/>
                  <a:pt x="14" y="27"/>
                </a:cubicBezTo>
                <a:cubicBezTo>
                  <a:pt x="12" y="27"/>
                  <a:pt x="10" y="27"/>
                  <a:pt x="8" y="26"/>
                </a:cubicBezTo>
                <a:cubicBezTo>
                  <a:pt x="7" y="26"/>
                  <a:pt x="5" y="25"/>
                  <a:pt x="4" y="24"/>
                </a:cubicBezTo>
                <a:cubicBezTo>
                  <a:pt x="3" y="23"/>
                  <a:pt x="2" y="22"/>
                  <a:pt x="1" y="20"/>
                </a:cubicBezTo>
                <a:cubicBezTo>
                  <a:pt x="0" y="18"/>
                  <a:pt x="0" y="16"/>
                  <a:pt x="0" y="14"/>
                </a:cubicBezTo>
                <a:cubicBezTo>
                  <a:pt x="0" y="12"/>
                  <a:pt x="0" y="10"/>
                  <a:pt x="1" y="8"/>
                </a:cubicBezTo>
                <a:cubicBezTo>
                  <a:pt x="2" y="6"/>
                  <a:pt x="3" y="4"/>
                  <a:pt x="4" y="3"/>
                </a:cubicBezTo>
                <a:cubicBezTo>
                  <a:pt x="6" y="2"/>
                  <a:pt x="7" y="1"/>
                  <a:pt x="9" y="1"/>
                </a:cubicBezTo>
                <a:cubicBezTo>
                  <a:pt x="10" y="0"/>
                  <a:pt x="12" y="0"/>
                  <a:pt x="14" y="0"/>
                </a:cubicBezTo>
                <a:cubicBezTo>
                  <a:pt x="15" y="0"/>
                  <a:pt x="16" y="0"/>
                  <a:pt x="17" y="0"/>
                </a:cubicBezTo>
                <a:cubicBezTo>
                  <a:pt x="18" y="0"/>
                  <a:pt x="19" y="1"/>
                  <a:pt x="20" y="1"/>
                </a:cubicBezTo>
                <a:cubicBezTo>
                  <a:pt x="20" y="6"/>
                  <a:pt x="20" y="6"/>
                  <a:pt x="20" y="6"/>
                </a:cubicBezTo>
                <a:cubicBezTo>
                  <a:pt x="19" y="6"/>
                  <a:pt x="18" y="6"/>
                  <a:pt x="17" y="5"/>
                </a:cubicBezTo>
                <a:cubicBezTo>
                  <a:pt x="16" y="5"/>
                  <a:pt x="15" y="5"/>
                  <a:pt x="15" y="5"/>
                </a:cubicBezTo>
                <a:cubicBezTo>
                  <a:pt x="14" y="5"/>
                  <a:pt x="13" y="5"/>
                  <a:pt x="12" y="6"/>
                </a:cubicBezTo>
                <a:cubicBezTo>
                  <a:pt x="11" y="6"/>
                  <a:pt x="10" y="6"/>
                  <a:pt x="9" y="7"/>
                </a:cubicBezTo>
                <a:cubicBezTo>
                  <a:pt x="8" y="8"/>
                  <a:pt x="8" y="9"/>
                  <a:pt x="7" y="10"/>
                </a:cubicBezTo>
                <a:cubicBezTo>
                  <a:pt x="7" y="11"/>
                  <a:pt x="7" y="12"/>
                  <a:pt x="7" y="14"/>
                </a:cubicBezTo>
                <a:cubicBezTo>
                  <a:pt x="7" y="15"/>
                  <a:pt x="7" y="16"/>
                  <a:pt x="7" y="17"/>
                </a:cubicBezTo>
                <a:cubicBezTo>
                  <a:pt x="7" y="18"/>
                  <a:pt x="8" y="19"/>
                  <a:pt x="9" y="20"/>
                </a:cubicBezTo>
                <a:cubicBezTo>
                  <a:pt x="9" y="20"/>
                  <a:pt x="10" y="21"/>
                  <a:pt x="11" y="21"/>
                </a:cubicBezTo>
                <a:cubicBezTo>
                  <a:pt x="12" y="22"/>
                  <a:pt x="13" y="22"/>
                  <a:pt x="14" y="22"/>
                </a:cubicBezTo>
                <a:cubicBezTo>
                  <a:pt x="16" y="22"/>
                  <a:pt x="17" y="22"/>
                  <a:pt x="18" y="22"/>
                </a:cubicBezTo>
                <a:cubicBezTo>
                  <a:pt x="19" y="22"/>
                  <a:pt x="19" y="21"/>
                  <a:pt x="20" y="21"/>
                </a:cubicBezTo>
                <a:lnTo>
                  <a:pt x="20" y="2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 sz="1800"/>
          </a:p>
        </p:txBody>
      </p:sp>
      <p:sp>
        <p:nvSpPr>
          <p:cNvPr id="33" name="Freeform 30">
            <a:extLst>
              <a:ext uri="{FF2B5EF4-FFF2-40B4-BE49-F238E27FC236}">
                <a16:creationId xmlns:a16="http://schemas.microsoft.com/office/drawing/2014/main" id="{EBC8BD41-22AA-40B9-A221-088A02BED64F}"/>
              </a:ext>
            </a:extLst>
          </p:cNvPr>
          <p:cNvSpPr>
            <a:spLocks/>
          </p:cNvSpPr>
          <p:nvPr userDrawn="1"/>
        </p:nvSpPr>
        <p:spPr bwMode="gray">
          <a:xfrm>
            <a:off x="11060209" y="1910021"/>
            <a:ext cx="74545" cy="128600"/>
          </a:xfrm>
          <a:custGeom>
            <a:avLst/>
            <a:gdLst>
              <a:gd name="T0" fmla="*/ 25929 w 24"/>
              <a:gd name="T1" fmla="*/ 41473 h 40"/>
              <a:gd name="T2" fmla="*/ 25929 w 24"/>
              <a:gd name="T3" fmla="*/ 52784 h 40"/>
              <a:gd name="T4" fmla="*/ 22225 w 24"/>
              <a:gd name="T5" fmla="*/ 64095 h 40"/>
              <a:gd name="T6" fmla="*/ 22225 w 24"/>
              <a:gd name="T7" fmla="*/ 64095 h 40"/>
              <a:gd name="T8" fmla="*/ 29633 w 24"/>
              <a:gd name="T9" fmla="*/ 56555 h 40"/>
              <a:gd name="T10" fmla="*/ 37042 w 24"/>
              <a:gd name="T11" fmla="*/ 52784 h 40"/>
              <a:gd name="T12" fmla="*/ 44450 w 24"/>
              <a:gd name="T13" fmla="*/ 49014 h 40"/>
              <a:gd name="T14" fmla="*/ 55563 w 24"/>
              <a:gd name="T15" fmla="*/ 49014 h 40"/>
              <a:gd name="T16" fmla="*/ 62971 w 24"/>
              <a:gd name="T17" fmla="*/ 49014 h 40"/>
              <a:gd name="T18" fmla="*/ 74083 w 24"/>
              <a:gd name="T19" fmla="*/ 52784 h 40"/>
              <a:gd name="T20" fmla="*/ 77788 w 24"/>
              <a:gd name="T21" fmla="*/ 56555 h 40"/>
              <a:gd name="T22" fmla="*/ 85196 w 24"/>
              <a:gd name="T23" fmla="*/ 64095 h 40"/>
              <a:gd name="T24" fmla="*/ 88900 w 24"/>
              <a:gd name="T25" fmla="*/ 75406 h 40"/>
              <a:gd name="T26" fmla="*/ 88900 w 24"/>
              <a:gd name="T27" fmla="*/ 86717 h 40"/>
              <a:gd name="T28" fmla="*/ 88900 w 24"/>
              <a:gd name="T29" fmla="*/ 150812 h 40"/>
              <a:gd name="T30" fmla="*/ 66675 w 24"/>
              <a:gd name="T31" fmla="*/ 150812 h 40"/>
              <a:gd name="T32" fmla="*/ 66675 w 24"/>
              <a:gd name="T33" fmla="*/ 90487 h 40"/>
              <a:gd name="T34" fmla="*/ 66675 w 24"/>
              <a:gd name="T35" fmla="*/ 82947 h 40"/>
              <a:gd name="T36" fmla="*/ 62971 w 24"/>
              <a:gd name="T37" fmla="*/ 75406 h 40"/>
              <a:gd name="T38" fmla="*/ 59267 w 24"/>
              <a:gd name="T39" fmla="*/ 71636 h 40"/>
              <a:gd name="T40" fmla="*/ 48154 w 24"/>
              <a:gd name="T41" fmla="*/ 67865 h 40"/>
              <a:gd name="T42" fmla="*/ 37042 w 24"/>
              <a:gd name="T43" fmla="*/ 71636 h 40"/>
              <a:gd name="T44" fmla="*/ 25929 w 24"/>
              <a:gd name="T45" fmla="*/ 82947 h 40"/>
              <a:gd name="T46" fmla="*/ 25929 w 24"/>
              <a:gd name="T47" fmla="*/ 150812 h 40"/>
              <a:gd name="T48" fmla="*/ 0 w 24"/>
              <a:gd name="T49" fmla="*/ 150812 h 40"/>
              <a:gd name="T50" fmla="*/ 0 w 24"/>
              <a:gd name="T51" fmla="*/ 0 h 40"/>
              <a:gd name="T52" fmla="*/ 25929 w 24"/>
              <a:gd name="T53" fmla="*/ 0 h 40"/>
              <a:gd name="T54" fmla="*/ 25929 w 24"/>
              <a:gd name="T55" fmla="*/ 41473 h 40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4" h="40">
                <a:moveTo>
                  <a:pt x="7" y="11"/>
                </a:moveTo>
                <a:cubicBezTo>
                  <a:pt x="7" y="12"/>
                  <a:pt x="7" y="13"/>
                  <a:pt x="7" y="14"/>
                </a:cubicBezTo>
                <a:cubicBezTo>
                  <a:pt x="7" y="15"/>
                  <a:pt x="7" y="16"/>
                  <a:pt x="6" y="17"/>
                </a:cubicBezTo>
                <a:cubicBezTo>
                  <a:pt x="6" y="17"/>
                  <a:pt x="6" y="17"/>
                  <a:pt x="6" y="17"/>
                </a:cubicBezTo>
                <a:cubicBezTo>
                  <a:pt x="7" y="16"/>
                  <a:pt x="7" y="16"/>
                  <a:pt x="8" y="15"/>
                </a:cubicBezTo>
                <a:cubicBezTo>
                  <a:pt x="8" y="15"/>
                  <a:pt x="9" y="14"/>
                  <a:pt x="10" y="14"/>
                </a:cubicBezTo>
                <a:cubicBezTo>
                  <a:pt x="10" y="14"/>
                  <a:pt x="11" y="13"/>
                  <a:pt x="12" y="13"/>
                </a:cubicBezTo>
                <a:cubicBezTo>
                  <a:pt x="13" y="13"/>
                  <a:pt x="14" y="13"/>
                  <a:pt x="15" y="13"/>
                </a:cubicBezTo>
                <a:cubicBezTo>
                  <a:pt x="16" y="13"/>
                  <a:pt x="16" y="13"/>
                  <a:pt x="17" y="13"/>
                </a:cubicBezTo>
                <a:cubicBezTo>
                  <a:pt x="18" y="13"/>
                  <a:pt x="19" y="13"/>
                  <a:pt x="20" y="14"/>
                </a:cubicBezTo>
                <a:cubicBezTo>
                  <a:pt x="20" y="14"/>
                  <a:pt x="21" y="15"/>
                  <a:pt x="21" y="15"/>
                </a:cubicBezTo>
                <a:cubicBezTo>
                  <a:pt x="22" y="16"/>
                  <a:pt x="23" y="16"/>
                  <a:pt x="23" y="17"/>
                </a:cubicBezTo>
                <a:cubicBezTo>
                  <a:pt x="23" y="18"/>
                  <a:pt x="24" y="19"/>
                  <a:pt x="24" y="20"/>
                </a:cubicBezTo>
                <a:cubicBezTo>
                  <a:pt x="24" y="21"/>
                  <a:pt x="24" y="22"/>
                  <a:pt x="24" y="23"/>
                </a:cubicBezTo>
                <a:cubicBezTo>
                  <a:pt x="24" y="40"/>
                  <a:pt x="24" y="40"/>
                  <a:pt x="24" y="40"/>
                </a:cubicBezTo>
                <a:cubicBezTo>
                  <a:pt x="18" y="40"/>
                  <a:pt x="18" y="40"/>
                  <a:pt x="18" y="40"/>
                </a:cubicBezTo>
                <a:cubicBezTo>
                  <a:pt x="18" y="24"/>
                  <a:pt x="18" y="24"/>
                  <a:pt x="18" y="24"/>
                </a:cubicBezTo>
                <a:cubicBezTo>
                  <a:pt x="18" y="23"/>
                  <a:pt x="18" y="22"/>
                  <a:pt x="18" y="22"/>
                </a:cubicBezTo>
                <a:cubicBezTo>
                  <a:pt x="17" y="21"/>
                  <a:pt x="17" y="21"/>
                  <a:pt x="17" y="20"/>
                </a:cubicBezTo>
                <a:cubicBezTo>
                  <a:pt x="17" y="20"/>
                  <a:pt x="16" y="19"/>
                  <a:pt x="16" y="19"/>
                </a:cubicBezTo>
                <a:cubicBezTo>
                  <a:pt x="15" y="18"/>
                  <a:pt x="14" y="18"/>
                  <a:pt x="13" y="18"/>
                </a:cubicBezTo>
                <a:cubicBezTo>
                  <a:pt x="12" y="18"/>
                  <a:pt x="11" y="18"/>
                  <a:pt x="10" y="19"/>
                </a:cubicBezTo>
                <a:cubicBezTo>
                  <a:pt x="8" y="20"/>
                  <a:pt x="8" y="20"/>
                  <a:pt x="7" y="22"/>
                </a:cubicBezTo>
                <a:cubicBezTo>
                  <a:pt x="7" y="40"/>
                  <a:pt x="7" y="40"/>
                  <a:pt x="7" y="40"/>
                </a:cubicBezTo>
                <a:cubicBezTo>
                  <a:pt x="0" y="40"/>
                  <a:pt x="0" y="40"/>
                  <a:pt x="0" y="40"/>
                </a:cubicBezTo>
                <a:cubicBezTo>
                  <a:pt x="0" y="0"/>
                  <a:pt x="0" y="0"/>
                  <a:pt x="0" y="0"/>
                </a:cubicBezTo>
                <a:cubicBezTo>
                  <a:pt x="7" y="0"/>
                  <a:pt x="7" y="0"/>
                  <a:pt x="7" y="0"/>
                </a:cubicBezTo>
                <a:lnTo>
                  <a:pt x="7" y="1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 sz="1800"/>
          </a:p>
        </p:txBody>
      </p:sp>
      <p:sp>
        <p:nvSpPr>
          <p:cNvPr id="34" name="Freeform 31">
            <a:extLst>
              <a:ext uri="{FF2B5EF4-FFF2-40B4-BE49-F238E27FC236}">
                <a16:creationId xmlns:a16="http://schemas.microsoft.com/office/drawing/2014/main" id="{A340B4F6-B4A2-41BF-916F-617D8C996783}"/>
              </a:ext>
            </a:extLst>
          </p:cNvPr>
          <p:cNvSpPr>
            <a:spLocks noEditPoints="1"/>
          </p:cNvSpPr>
          <p:nvPr userDrawn="1"/>
        </p:nvSpPr>
        <p:spPr bwMode="gray">
          <a:xfrm>
            <a:off x="11154721" y="1951985"/>
            <a:ext cx="81201" cy="86636"/>
          </a:xfrm>
          <a:custGeom>
            <a:avLst/>
            <a:gdLst>
              <a:gd name="T0" fmla="*/ 96838 w 26"/>
              <a:gd name="T1" fmla="*/ 48919 h 27"/>
              <a:gd name="T2" fmla="*/ 93113 w 26"/>
              <a:gd name="T3" fmla="*/ 71496 h 27"/>
              <a:gd name="T4" fmla="*/ 85664 w 26"/>
              <a:gd name="T5" fmla="*/ 86548 h 27"/>
              <a:gd name="T6" fmla="*/ 70766 w 26"/>
              <a:gd name="T7" fmla="*/ 97837 h 27"/>
              <a:gd name="T8" fmla="*/ 48419 w 26"/>
              <a:gd name="T9" fmla="*/ 101600 h 27"/>
              <a:gd name="T10" fmla="*/ 29796 w 26"/>
              <a:gd name="T11" fmla="*/ 97837 h 27"/>
              <a:gd name="T12" fmla="*/ 14898 w 26"/>
              <a:gd name="T13" fmla="*/ 86548 h 27"/>
              <a:gd name="T14" fmla="*/ 3725 w 26"/>
              <a:gd name="T15" fmla="*/ 71496 h 27"/>
              <a:gd name="T16" fmla="*/ 3725 w 26"/>
              <a:gd name="T17" fmla="*/ 30104 h 27"/>
              <a:gd name="T18" fmla="*/ 14898 w 26"/>
              <a:gd name="T19" fmla="*/ 11289 h 27"/>
              <a:gd name="T20" fmla="*/ 29796 w 26"/>
              <a:gd name="T21" fmla="*/ 3763 h 27"/>
              <a:gd name="T22" fmla="*/ 48419 w 26"/>
              <a:gd name="T23" fmla="*/ 0 h 27"/>
              <a:gd name="T24" fmla="*/ 70766 w 26"/>
              <a:gd name="T25" fmla="*/ 3763 h 27"/>
              <a:gd name="T26" fmla="*/ 85664 w 26"/>
              <a:gd name="T27" fmla="*/ 11289 h 27"/>
              <a:gd name="T28" fmla="*/ 93113 w 26"/>
              <a:gd name="T29" fmla="*/ 30104 h 27"/>
              <a:gd name="T30" fmla="*/ 96838 w 26"/>
              <a:gd name="T31" fmla="*/ 48919 h 27"/>
              <a:gd name="T32" fmla="*/ 70766 w 26"/>
              <a:gd name="T33" fmla="*/ 48919 h 27"/>
              <a:gd name="T34" fmla="*/ 70766 w 26"/>
              <a:gd name="T35" fmla="*/ 37630 h 27"/>
              <a:gd name="T36" fmla="*/ 67042 w 26"/>
              <a:gd name="T37" fmla="*/ 26341 h 27"/>
              <a:gd name="T38" fmla="*/ 59593 w 26"/>
              <a:gd name="T39" fmla="*/ 18815 h 27"/>
              <a:gd name="T40" fmla="*/ 48419 w 26"/>
              <a:gd name="T41" fmla="*/ 18815 h 27"/>
              <a:gd name="T42" fmla="*/ 37245 w 26"/>
              <a:gd name="T43" fmla="*/ 18815 h 27"/>
              <a:gd name="T44" fmla="*/ 29796 w 26"/>
              <a:gd name="T45" fmla="*/ 26341 h 27"/>
              <a:gd name="T46" fmla="*/ 26072 w 26"/>
              <a:gd name="T47" fmla="*/ 37630 h 27"/>
              <a:gd name="T48" fmla="*/ 26072 w 26"/>
              <a:gd name="T49" fmla="*/ 63970 h 27"/>
              <a:gd name="T50" fmla="*/ 29796 w 26"/>
              <a:gd name="T51" fmla="*/ 75259 h 27"/>
              <a:gd name="T52" fmla="*/ 37245 w 26"/>
              <a:gd name="T53" fmla="*/ 79022 h 27"/>
              <a:gd name="T54" fmla="*/ 59593 w 26"/>
              <a:gd name="T55" fmla="*/ 79022 h 27"/>
              <a:gd name="T56" fmla="*/ 67042 w 26"/>
              <a:gd name="T57" fmla="*/ 75259 h 27"/>
              <a:gd name="T58" fmla="*/ 70766 w 26"/>
              <a:gd name="T59" fmla="*/ 63970 h 27"/>
              <a:gd name="T60" fmla="*/ 70766 w 26"/>
              <a:gd name="T61" fmla="*/ 48919 h 2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6" h="27">
                <a:moveTo>
                  <a:pt x="26" y="13"/>
                </a:moveTo>
                <a:cubicBezTo>
                  <a:pt x="26" y="15"/>
                  <a:pt x="26" y="17"/>
                  <a:pt x="25" y="19"/>
                </a:cubicBezTo>
                <a:cubicBezTo>
                  <a:pt x="25" y="21"/>
                  <a:pt x="24" y="22"/>
                  <a:pt x="23" y="23"/>
                </a:cubicBezTo>
                <a:cubicBezTo>
                  <a:pt x="21" y="25"/>
                  <a:pt x="20" y="26"/>
                  <a:pt x="19" y="26"/>
                </a:cubicBezTo>
                <a:cubicBezTo>
                  <a:pt x="17" y="27"/>
                  <a:pt x="15" y="27"/>
                  <a:pt x="13" y="27"/>
                </a:cubicBezTo>
                <a:cubicBezTo>
                  <a:pt x="11" y="27"/>
                  <a:pt x="9" y="27"/>
                  <a:pt x="8" y="26"/>
                </a:cubicBezTo>
                <a:cubicBezTo>
                  <a:pt x="6" y="26"/>
                  <a:pt x="5" y="25"/>
                  <a:pt x="4" y="23"/>
                </a:cubicBezTo>
                <a:cubicBezTo>
                  <a:pt x="2" y="22"/>
                  <a:pt x="2" y="21"/>
                  <a:pt x="1" y="19"/>
                </a:cubicBezTo>
                <a:cubicBezTo>
                  <a:pt x="0" y="15"/>
                  <a:pt x="0" y="11"/>
                  <a:pt x="1" y="8"/>
                </a:cubicBezTo>
                <a:cubicBezTo>
                  <a:pt x="2" y="6"/>
                  <a:pt x="2" y="5"/>
                  <a:pt x="4" y="3"/>
                </a:cubicBezTo>
                <a:cubicBezTo>
                  <a:pt x="5" y="2"/>
                  <a:pt x="6" y="1"/>
                  <a:pt x="8" y="1"/>
                </a:cubicBezTo>
                <a:cubicBezTo>
                  <a:pt x="10" y="0"/>
                  <a:pt x="11" y="0"/>
                  <a:pt x="13" y="0"/>
                </a:cubicBezTo>
                <a:cubicBezTo>
                  <a:pt x="15" y="0"/>
                  <a:pt x="17" y="0"/>
                  <a:pt x="19" y="1"/>
                </a:cubicBezTo>
                <a:cubicBezTo>
                  <a:pt x="20" y="1"/>
                  <a:pt x="22" y="2"/>
                  <a:pt x="23" y="3"/>
                </a:cubicBezTo>
                <a:cubicBezTo>
                  <a:pt x="24" y="5"/>
                  <a:pt x="25" y="6"/>
                  <a:pt x="25" y="8"/>
                </a:cubicBezTo>
                <a:cubicBezTo>
                  <a:pt x="26" y="10"/>
                  <a:pt x="26" y="12"/>
                  <a:pt x="26" y="13"/>
                </a:cubicBezTo>
                <a:close/>
                <a:moveTo>
                  <a:pt x="19" y="13"/>
                </a:moveTo>
                <a:cubicBezTo>
                  <a:pt x="19" y="12"/>
                  <a:pt x="19" y="11"/>
                  <a:pt x="19" y="10"/>
                </a:cubicBezTo>
                <a:cubicBezTo>
                  <a:pt x="19" y="9"/>
                  <a:pt x="18" y="8"/>
                  <a:pt x="18" y="7"/>
                </a:cubicBezTo>
                <a:cubicBezTo>
                  <a:pt x="17" y="6"/>
                  <a:pt x="16" y="6"/>
                  <a:pt x="16" y="5"/>
                </a:cubicBezTo>
                <a:cubicBezTo>
                  <a:pt x="15" y="5"/>
                  <a:pt x="14" y="5"/>
                  <a:pt x="13" y="5"/>
                </a:cubicBezTo>
                <a:cubicBezTo>
                  <a:pt x="12" y="5"/>
                  <a:pt x="11" y="5"/>
                  <a:pt x="10" y="5"/>
                </a:cubicBezTo>
                <a:cubicBezTo>
                  <a:pt x="9" y="6"/>
                  <a:pt x="9" y="6"/>
                  <a:pt x="8" y="7"/>
                </a:cubicBezTo>
                <a:cubicBezTo>
                  <a:pt x="8" y="8"/>
                  <a:pt x="7" y="9"/>
                  <a:pt x="7" y="10"/>
                </a:cubicBezTo>
                <a:cubicBezTo>
                  <a:pt x="6" y="12"/>
                  <a:pt x="6" y="15"/>
                  <a:pt x="7" y="17"/>
                </a:cubicBezTo>
                <a:cubicBezTo>
                  <a:pt x="7" y="18"/>
                  <a:pt x="8" y="19"/>
                  <a:pt x="8" y="20"/>
                </a:cubicBezTo>
                <a:cubicBezTo>
                  <a:pt x="9" y="21"/>
                  <a:pt x="9" y="21"/>
                  <a:pt x="10" y="21"/>
                </a:cubicBezTo>
                <a:cubicBezTo>
                  <a:pt x="12" y="22"/>
                  <a:pt x="14" y="22"/>
                  <a:pt x="16" y="21"/>
                </a:cubicBezTo>
                <a:cubicBezTo>
                  <a:pt x="16" y="21"/>
                  <a:pt x="17" y="21"/>
                  <a:pt x="18" y="20"/>
                </a:cubicBezTo>
                <a:cubicBezTo>
                  <a:pt x="18" y="19"/>
                  <a:pt x="19" y="18"/>
                  <a:pt x="19" y="17"/>
                </a:cubicBezTo>
                <a:cubicBezTo>
                  <a:pt x="19" y="16"/>
                  <a:pt x="19" y="15"/>
                  <a:pt x="19" y="13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 sz="1800"/>
          </a:p>
        </p:txBody>
      </p:sp>
      <p:sp>
        <p:nvSpPr>
          <p:cNvPr id="35" name="Freeform 32">
            <a:extLst>
              <a:ext uri="{FF2B5EF4-FFF2-40B4-BE49-F238E27FC236}">
                <a16:creationId xmlns:a16="http://schemas.microsoft.com/office/drawing/2014/main" id="{B96D6857-8A0D-4DE9-A2CA-2C5050EA2EFE}"/>
              </a:ext>
            </a:extLst>
          </p:cNvPr>
          <p:cNvSpPr>
            <a:spLocks noEditPoints="1"/>
          </p:cNvSpPr>
          <p:nvPr userDrawn="1"/>
        </p:nvSpPr>
        <p:spPr bwMode="gray">
          <a:xfrm>
            <a:off x="11254557" y="1910021"/>
            <a:ext cx="22630" cy="128600"/>
          </a:xfrm>
          <a:custGeom>
            <a:avLst/>
            <a:gdLst>
              <a:gd name="T0" fmla="*/ 0 w 17"/>
              <a:gd name="T1" fmla="*/ 0 h 95"/>
              <a:gd name="T2" fmla="*/ 26988 w 17"/>
              <a:gd name="T3" fmla="*/ 0 h 95"/>
              <a:gd name="T4" fmla="*/ 26988 w 17"/>
              <a:gd name="T5" fmla="*/ 26987 h 95"/>
              <a:gd name="T6" fmla="*/ 0 w 17"/>
              <a:gd name="T7" fmla="*/ 26987 h 95"/>
              <a:gd name="T8" fmla="*/ 0 w 17"/>
              <a:gd name="T9" fmla="*/ 0 h 95"/>
              <a:gd name="T10" fmla="*/ 0 w 17"/>
              <a:gd name="T11" fmla="*/ 49212 h 95"/>
              <a:gd name="T12" fmla="*/ 22225 w 17"/>
              <a:gd name="T13" fmla="*/ 49212 h 95"/>
              <a:gd name="T14" fmla="*/ 22225 w 17"/>
              <a:gd name="T15" fmla="*/ 150812 h 95"/>
              <a:gd name="T16" fmla="*/ 0 w 17"/>
              <a:gd name="T17" fmla="*/ 150812 h 95"/>
              <a:gd name="T18" fmla="*/ 0 w 17"/>
              <a:gd name="T19" fmla="*/ 49212 h 9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17" h="95">
                <a:moveTo>
                  <a:pt x="0" y="0"/>
                </a:moveTo>
                <a:lnTo>
                  <a:pt x="17" y="0"/>
                </a:lnTo>
                <a:lnTo>
                  <a:pt x="17" y="17"/>
                </a:lnTo>
                <a:lnTo>
                  <a:pt x="0" y="17"/>
                </a:lnTo>
                <a:lnTo>
                  <a:pt x="0" y="0"/>
                </a:lnTo>
                <a:close/>
                <a:moveTo>
                  <a:pt x="0" y="31"/>
                </a:moveTo>
                <a:lnTo>
                  <a:pt x="14" y="31"/>
                </a:lnTo>
                <a:lnTo>
                  <a:pt x="14" y="95"/>
                </a:lnTo>
                <a:lnTo>
                  <a:pt x="0" y="95"/>
                </a:lnTo>
                <a:lnTo>
                  <a:pt x="0" y="3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 sz="1800"/>
          </a:p>
        </p:txBody>
      </p:sp>
      <p:sp>
        <p:nvSpPr>
          <p:cNvPr id="36" name="Freeform 33">
            <a:extLst>
              <a:ext uri="{FF2B5EF4-FFF2-40B4-BE49-F238E27FC236}">
                <a16:creationId xmlns:a16="http://schemas.microsoft.com/office/drawing/2014/main" id="{24D81610-F374-4CA2-9583-EC708B033AF3}"/>
              </a:ext>
            </a:extLst>
          </p:cNvPr>
          <p:cNvSpPr>
            <a:spLocks/>
          </p:cNvSpPr>
          <p:nvPr userDrawn="1"/>
        </p:nvSpPr>
        <p:spPr bwMode="gray">
          <a:xfrm>
            <a:off x="11291830" y="1951985"/>
            <a:ext cx="66558" cy="86636"/>
          </a:xfrm>
          <a:custGeom>
            <a:avLst/>
            <a:gdLst>
              <a:gd name="T0" fmla="*/ 79375 w 21"/>
              <a:gd name="T1" fmla="*/ 97837 h 27"/>
              <a:gd name="T2" fmla="*/ 68036 w 21"/>
              <a:gd name="T3" fmla="*/ 101600 h 27"/>
              <a:gd name="T4" fmla="*/ 52917 w 21"/>
              <a:gd name="T5" fmla="*/ 101600 h 27"/>
              <a:gd name="T6" fmla="*/ 34018 w 21"/>
              <a:gd name="T7" fmla="*/ 97837 h 27"/>
              <a:gd name="T8" fmla="*/ 15119 w 21"/>
              <a:gd name="T9" fmla="*/ 90311 h 27"/>
              <a:gd name="T10" fmla="*/ 3780 w 21"/>
              <a:gd name="T11" fmla="*/ 75259 h 27"/>
              <a:gd name="T12" fmla="*/ 0 w 21"/>
              <a:gd name="T13" fmla="*/ 52681 h 27"/>
              <a:gd name="T14" fmla="*/ 7560 w 21"/>
              <a:gd name="T15" fmla="*/ 30104 h 27"/>
              <a:gd name="T16" fmla="*/ 34018 w 21"/>
              <a:gd name="T17" fmla="*/ 3763 h 27"/>
              <a:gd name="T18" fmla="*/ 52917 w 21"/>
              <a:gd name="T19" fmla="*/ 0 h 27"/>
              <a:gd name="T20" fmla="*/ 64256 w 21"/>
              <a:gd name="T21" fmla="*/ 0 h 27"/>
              <a:gd name="T22" fmla="*/ 75595 w 21"/>
              <a:gd name="T23" fmla="*/ 3763 h 27"/>
              <a:gd name="T24" fmla="*/ 75595 w 21"/>
              <a:gd name="T25" fmla="*/ 22578 h 27"/>
              <a:gd name="T26" fmla="*/ 68036 w 21"/>
              <a:gd name="T27" fmla="*/ 18815 h 27"/>
              <a:gd name="T28" fmla="*/ 56696 w 21"/>
              <a:gd name="T29" fmla="*/ 18815 h 27"/>
              <a:gd name="T30" fmla="*/ 45357 w 21"/>
              <a:gd name="T31" fmla="*/ 22578 h 27"/>
              <a:gd name="T32" fmla="*/ 34018 w 21"/>
              <a:gd name="T33" fmla="*/ 26341 h 27"/>
              <a:gd name="T34" fmla="*/ 30238 w 21"/>
              <a:gd name="T35" fmla="*/ 37630 h 27"/>
              <a:gd name="T36" fmla="*/ 26458 w 21"/>
              <a:gd name="T37" fmla="*/ 52681 h 27"/>
              <a:gd name="T38" fmla="*/ 26458 w 21"/>
              <a:gd name="T39" fmla="*/ 63970 h 27"/>
              <a:gd name="T40" fmla="*/ 34018 w 21"/>
              <a:gd name="T41" fmla="*/ 75259 h 27"/>
              <a:gd name="T42" fmla="*/ 41577 w 21"/>
              <a:gd name="T43" fmla="*/ 79022 h 27"/>
              <a:gd name="T44" fmla="*/ 56696 w 21"/>
              <a:gd name="T45" fmla="*/ 82785 h 27"/>
              <a:gd name="T46" fmla="*/ 68036 w 21"/>
              <a:gd name="T47" fmla="*/ 82785 h 27"/>
              <a:gd name="T48" fmla="*/ 79375 w 21"/>
              <a:gd name="T49" fmla="*/ 79022 h 27"/>
              <a:gd name="T50" fmla="*/ 79375 w 21"/>
              <a:gd name="T51" fmla="*/ 97837 h 27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21" h="27">
                <a:moveTo>
                  <a:pt x="21" y="26"/>
                </a:moveTo>
                <a:cubicBezTo>
                  <a:pt x="20" y="26"/>
                  <a:pt x="19" y="27"/>
                  <a:pt x="18" y="27"/>
                </a:cubicBezTo>
                <a:cubicBezTo>
                  <a:pt x="16" y="27"/>
                  <a:pt x="15" y="27"/>
                  <a:pt x="14" y="27"/>
                </a:cubicBezTo>
                <a:cubicBezTo>
                  <a:pt x="12" y="27"/>
                  <a:pt x="10" y="27"/>
                  <a:pt x="9" y="26"/>
                </a:cubicBezTo>
                <a:cubicBezTo>
                  <a:pt x="7" y="26"/>
                  <a:pt x="5" y="25"/>
                  <a:pt x="4" y="24"/>
                </a:cubicBezTo>
                <a:cubicBezTo>
                  <a:pt x="3" y="23"/>
                  <a:pt x="2" y="22"/>
                  <a:pt x="1" y="20"/>
                </a:cubicBezTo>
                <a:cubicBezTo>
                  <a:pt x="1" y="18"/>
                  <a:pt x="0" y="16"/>
                  <a:pt x="0" y="14"/>
                </a:cubicBezTo>
                <a:cubicBezTo>
                  <a:pt x="0" y="12"/>
                  <a:pt x="1" y="10"/>
                  <a:pt x="2" y="8"/>
                </a:cubicBezTo>
                <a:cubicBezTo>
                  <a:pt x="3" y="4"/>
                  <a:pt x="6" y="2"/>
                  <a:pt x="9" y="1"/>
                </a:cubicBezTo>
                <a:cubicBezTo>
                  <a:pt x="11" y="0"/>
                  <a:pt x="12" y="0"/>
                  <a:pt x="14" y="0"/>
                </a:cubicBezTo>
                <a:cubicBezTo>
                  <a:pt x="15" y="0"/>
                  <a:pt x="16" y="0"/>
                  <a:pt x="17" y="0"/>
                </a:cubicBezTo>
                <a:cubicBezTo>
                  <a:pt x="18" y="0"/>
                  <a:pt x="19" y="1"/>
                  <a:pt x="20" y="1"/>
                </a:cubicBezTo>
                <a:cubicBezTo>
                  <a:pt x="20" y="6"/>
                  <a:pt x="20" y="6"/>
                  <a:pt x="20" y="6"/>
                </a:cubicBezTo>
                <a:cubicBezTo>
                  <a:pt x="19" y="6"/>
                  <a:pt x="19" y="6"/>
                  <a:pt x="18" y="5"/>
                </a:cubicBezTo>
                <a:cubicBezTo>
                  <a:pt x="17" y="5"/>
                  <a:pt x="16" y="5"/>
                  <a:pt x="15" y="5"/>
                </a:cubicBezTo>
                <a:cubicBezTo>
                  <a:pt x="14" y="5"/>
                  <a:pt x="13" y="5"/>
                  <a:pt x="12" y="6"/>
                </a:cubicBezTo>
                <a:cubicBezTo>
                  <a:pt x="11" y="6"/>
                  <a:pt x="10" y="6"/>
                  <a:pt x="9" y="7"/>
                </a:cubicBezTo>
                <a:cubicBezTo>
                  <a:pt x="9" y="8"/>
                  <a:pt x="8" y="9"/>
                  <a:pt x="8" y="10"/>
                </a:cubicBezTo>
                <a:cubicBezTo>
                  <a:pt x="7" y="11"/>
                  <a:pt x="7" y="12"/>
                  <a:pt x="7" y="14"/>
                </a:cubicBezTo>
                <a:cubicBezTo>
                  <a:pt x="7" y="15"/>
                  <a:pt x="7" y="16"/>
                  <a:pt x="7" y="17"/>
                </a:cubicBezTo>
                <a:cubicBezTo>
                  <a:pt x="8" y="18"/>
                  <a:pt x="8" y="19"/>
                  <a:pt x="9" y="20"/>
                </a:cubicBezTo>
                <a:cubicBezTo>
                  <a:pt x="10" y="20"/>
                  <a:pt x="10" y="21"/>
                  <a:pt x="11" y="21"/>
                </a:cubicBezTo>
                <a:cubicBezTo>
                  <a:pt x="12" y="22"/>
                  <a:pt x="14" y="22"/>
                  <a:pt x="15" y="22"/>
                </a:cubicBezTo>
                <a:cubicBezTo>
                  <a:pt x="16" y="22"/>
                  <a:pt x="17" y="22"/>
                  <a:pt x="18" y="22"/>
                </a:cubicBezTo>
                <a:cubicBezTo>
                  <a:pt x="19" y="22"/>
                  <a:pt x="20" y="21"/>
                  <a:pt x="21" y="21"/>
                </a:cubicBezTo>
                <a:lnTo>
                  <a:pt x="21" y="2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 sz="1800"/>
          </a:p>
        </p:txBody>
      </p:sp>
      <p:sp>
        <p:nvSpPr>
          <p:cNvPr id="37" name="Freeform 34">
            <a:extLst>
              <a:ext uri="{FF2B5EF4-FFF2-40B4-BE49-F238E27FC236}">
                <a16:creationId xmlns:a16="http://schemas.microsoft.com/office/drawing/2014/main" id="{91A463F5-51DE-4F20-B494-708056A6351B}"/>
              </a:ext>
            </a:extLst>
          </p:cNvPr>
          <p:cNvSpPr>
            <a:spLocks noEditPoints="1"/>
          </p:cNvSpPr>
          <p:nvPr userDrawn="1"/>
        </p:nvSpPr>
        <p:spPr bwMode="gray">
          <a:xfrm>
            <a:off x="11371700" y="1951985"/>
            <a:ext cx="74545" cy="86636"/>
          </a:xfrm>
          <a:custGeom>
            <a:avLst/>
            <a:gdLst>
              <a:gd name="T0" fmla="*/ 55563 w 24"/>
              <a:gd name="T1" fmla="*/ 82785 h 27"/>
              <a:gd name="T2" fmla="*/ 70379 w 24"/>
              <a:gd name="T3" fmla="*/ 82785 h 27"/>
              <a:gd name="T4" fmla="*/ 85196 w 24"/>
              <a:gd name="T5" fmla="*/ 79022 h 27"/>
              <a:gd name="T6" fmla="*/ 85196 w 24"/>
              <a:gd name="T7" fmla="*/ 97837 h 27"/>
              <a:gd name="T8" fmla="*/ 70379 w 24"/>
              <a:gd name="T9" fmla="*/ 101600 h 27"/>
              <a:gd name="T10" fmla="*/ 48154 w 24"/>
              <a:gd name="T11" fmla="*/ 101600 h 27"/>
              <a:gd name="T12" fmla="*/ 29633 w 24"/>
              <a:gd name="T13" fmla="*/ 101600 h 27"/>
              <a:gd name="T14" fmla="*/ 14817 w 24"/>
              <a:gd name="T15" fmla="*/ 90311 h 27"/>
              <a:gd name="T16" fmla="*/ 3704 w 24"/>
              <a:gd name="T17" fmla="*/ 75259 h 27"/>
              <a:gd name="T18" fmla="*/ 0 w 24"/>
              <a:gd name="T19" fmla="*/ 52681 h 27"/>
              <a:gd name="T20" fmla="*/ 3704 w 24"/>
              <a:gd name="T21" fmla="*/ 30104 h 27"/>
              <a:gd name="T22" fmla="*/ 14817 w 24"/>
              <a:gd name="T23" fmla="*/ 11289 h 27"/>
              <a:gd name="T24" fmla="*/ 29633 w 24"/>
              <a:gd name="T25" fmla="*/ 3763 h 27"/>
              <a:gd name="T26" fmla="*/ 44450 w 24"/>
              <a:gd name="T27" fmla="*/ 0 h 27"/>
              <a:gd name="T28" fmla="*/ 62971 w 24"/>
              <a:gd name="T29" fmla="*/ 0 h 27"/>
              <a:gd name="T30" fmla="*/ 77788 w 24"/>
              <a:gd name="T31" fmla="*/ 11289 h 27"/>
              <a:gd name="T32" fmla="*/ 85196 w 24"/>
              <a:gd name="T33" fmla="*/ 26341 h 27"/>
              <a:gd name="T34" fmla="*/ 88900 w 24"/>
              <a:gd name="T35" fmla="*/ 48919 h 27"/>
              <a:gd name="T36" fmla="*/ 88900 w 24"/>
              <a:gd name="T37" fmla="*/ 56444 h 27"/>
              <a:gd name="T38" fmla="*/ 25929 w 24"/>
              <a:gd name="T39" fmla="*/ 56444 h 27"/>
              <a:gd name="T40" fmla="*/ 25929 w 24"/>
              <a:gd name="T41" fmla="*/ 67733 h 27"/>
              <a:gd name="T42" fmla="*/ 33338 w 24"/>
              <a:gd name="T43" fmla="*/ 75259 h 27"/>
              <a:gd name="T44" fmla="*/ 44450 w 24"/>
              <a:gd name="T45" fmla="*/ 82785 h 27"/>
              <a:gd name="T46" fmla="*/ 55563 w 24"/>
              <a:gd name="T47" fmla="*/ 82785 h 27"/>
              <a:gd name="T48" fmla="*/ 44450 w 24"/>
              <a:gd name="T49" fmla="*/ 18815 h 27"/>
              <a:gd name="T50" fmla="*/ 37042 w 24"/>
              <a:gd name="T51" fmla="*/ 18815 h 27"/>
              <a:gd name="T52" fmla="*/ 29633 w 24"/>
              <a:gd name="T53" fmla="*/ 22578 h 27"/>
              <a:gd name="T54" fmla="*/ 25929 w 24"/>
              <a:gd name="T55" fmla="*/ 30104 h 27"/>
              <a:gd name="T56" fmla="*/ 25929 w 24"/>
              <a:gd name="T57" fmla="*/ 37630 h 27"/>
              <a:gd name="T58" fmla="*/ 62971 w 24"/>
              <a:gd name="T59" fmla="*/ 37630 h 27"/>
              <a:gd name="T60" fmla="*/ 62971 w 24"/>
              <a:gd name="T61" fmla="*/ 30104 h 27"/>
              <a:gd name="T62" fmla="*/ 59267 w 24"/>
              <a:gd name="T63" fmla="*/ 22578 h 27"/>
              <a:gd name="T64" fmla="*/ 51858 w 24"/>
              <a:gd name="T65" fmla="*/ 18815 h 27"/>
              <a:gd name="T66" fmla="*/ 44450 w 24"/>
              <a:gd name="T67" fmla="*/ 18815 h 27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4" h="27">
                <a:moveTo>
                  <a:pt x="15" y="22"/>
                </a:moveTo>
                <a:cubicBezTo>
                  <a:pt x="16" y="22"/>
                  <a:pt x="17" y="22"/>
                  <a:pt x="19" y="22"/>
                </a:cubicBezTo>
                <a:cubicBezTo>
                  <a:pt x="20" y="21"/>
                  <a:pt x="21" y="21"/>
                  <a:pt x="23" y="21"/>
                </a:cubicBezTo>
                <a:cubicBezTo>
                  <a:pt x="23" y="26"/>
                  <a:pt x="23" y="26"/>
                  <a:pt x="23" y="26"/>
                </a:cubicBezTo>
                <a:cubicBezTo>
                  <a:pt x="21" y="26"/>
                  <a:pt x="20" y="27"/>
                  <a:pt x="19" y="27"/>
                </a:cubicBezTo>
                <a:cubicBezTo>
                  <a:pt x="17" y="27"/>
                  <a:pt x="15" y="27"/>
                  <a:pt x="13" y="27"/>
                </a:cubicBezTo>
                <a:cubicBezTo>
                  <a:pt x="12" y="27"/>
                  <a:pt x="10" y="27"/>
                  <a:pt x="8" y="27"/>
                </a:cubicBezTo>
                <a:cubicBezTo>
                  <a:pt x="7" y="26"/>
                  <a:pt x="5" y="25"/>
                  <a:pt x="4" y="24"/>
                </a:cubicBezTo>
                <a:cubicBezTo>
                  <a:pt x="3" y="23"/>
                  <a:pt x="2" y="22"/>
                  <a:pt x="1" y="20"/>
                </a:cubicBezTo>
                <a:cubicBezTo>
                  <a:pt x="0" y="18"/>
                  <a:pt x="0" y="16"/>
                  <a:pt x="0" y="14"/>
                </a:cubicBezTo>
                <a:cubicBezTo>
                  <a:pt x="0" y="12"/>
                  <a:pt x="0" y="10"/>
                  <a:pt x="1" y="8"/>
                </a:cubicBezTo>
                <a:cubicBezTo>
                  <a:pt x="2" y="6"/>
                  <a:pt x="3" y="4"/>
                  <a:pt x="4" y="3"/>
                </a:cubicBezTo>
                <a:cubicBezTo>
                  <a:pt x="5" y="2"/>
                  <a:pt x="6" y="1"/>
                  <a:pt x="8" y="1"/>
                </a:cubicBezTo>
                <a:cubicBezTo>
                  <a:pt x="9" y="0"/>
                  <a:pt x="11" y="0"/>
                  <a:pt x="12" y="0"/>
                </a:cubicBezTo>
                <a:cubicBezTo>
                  <a:pt x="14" y="0"/>
                  <a:pt x="15" y="0"/>
                  <a:pt x="17" y="0"/>
                </a:cubicBezTo>
                <a:cubicBezTo>
                  <a:pt x="18" y="1"/>
                  <a:pt x="20" y="2"/>
                  <a:pt x="21" y="3"/>
                </a:cubicBezTo>
                <a:cubicBezTo>
                  <a:pt x="22" y="4"/>
                  <a:pt x="22" y="5"/>
                  <a:pt x="23" y="7"/>
                </a:cubicBezTo>
                <a:cubicBezTo>
                  <a:pt x="24" y="9"/>
                  <a:pt x="24" y="11"/>
                  <a:pt x="24" y="13"/>
                </a:cubicBezTo>
                <a:cubicBezTo>
                  <a:pt x="24" y="14"/>
                  <a:pt x="24" y="15"/>
                  <a:pt x="24" y="15"/>
                </a:cubicBezTo>
                <a:cubicBezTo>
                  <a:pt x="7" y="15"/>
                  <a:pt x="7" y="15"/>
                  <a:pt x="7" y="15"/>
                </a:cubicBezTo>
                <a:cubicBezTo>
                  <a:pt x="7" y="16"/>
                  <a:pt x="7" y="17"/>
                  <a:pt x="7" y="18"/>
                </a:cubicBezTo>
                <a:cubicBezTo>
                  <a:pt x="8" y="19"/>
                  <a:pt x="8" y="20"/>
                  <a:pt x="9" y="20"/>
                </a:cubicBezTo>
                <a:cubicBezTo>
                  <a:pt x="10" y="21"/>
                  <a:pt x="11" y="21"/>
                  <a:pt x="12" y="22"/>
                </a:cubicBezTo>
                <a:cubicBezTo>
                  <a:pt x="13" y="22"/>
                  <a:pt x="14" y="22"/>
                  <a:pt x="15" y="22"/>
                </a:cubicBezTo>
                <a:close/>
                <a:moveTo>
                  <a:pt x="12" y="5"/>
                </a:moveTo>
                <a:cubicBezTo>
                  <a:pt x="11" y="5"/>
                  <a:pt x="11" y="5"/>
                  <a:pt x="10" y="5"/>
                </a:cubicBezTo>
                <a:cubicBezTo>
                  <a:pt x="9" y="5"/>
                  <a:pt x="9" y="6"/>
                  <a:pt x="8" y="6"/>
                </a:cubicBezTo>
                <a:cubicBezTo>
                  <a:pt x="8" y="7"/>
                  <a:pt x="7" y="7"/>
                  <a:pt x="7" y="8"/>
                </a:cubicBezTo>
                <a:cubicBezTo>
                  <a:pt x="7" y="9"/>
                  <a:pt x="7" y="10"/>
                  <a:pt x="7" y="10"/>
                </a:cubicBezTo>
                <a:cubicBezTo>
                  <a:pt x="17" y="10"/>
                  <a:pt x="17" y="10"/>
                  <a:pt x="17" y="10"/>
                </a:cubicBezTo>
                <a:cubicBezTo>
                  <a:pt x="17" y="10"/>
                  <a:pt x="17" y="9"/>
                  <a:pt x="17" y="8"/>
                </a:cubicBezTo>
                <a:cubicBezTo>
                  <a:pt x="17" y="7"/>
                  <a:pt x="16" y="7"/>
                  <a:pt x="16" y="6"/>
                </a:cubicBezTo>
                <a:cubicBezTo>
                  <a:pt x="15" y="6"/>
                  <a:pt x="15" y="5"/>
                  <a:pt x="14" y="5"/>
                </a:cubicBezTo>
                <a:cubicBezTo>
                  <a:pt x="14" y="5"/>
                  <a:pt x="13" y="5"/>
                  <a:pt x="12" y="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 sz="1800"/>
          </a:p>
        </p:txBody>
      </p:sp>
    </p:spTree>
    <p:extLst>
      <p:ext uri="{BB962C8B-B14F-4D97-AF65-F5344CB8AC3E}">
        <p14:creationId xmlns:p14="http://schemas.microsoft.com/office/powerpoint/2010/main" val="3608447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39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+ Bil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itel 37">
            <a:extLst>
              <a:ext uri="{FF2B5EF4-FFF2-40B4-BE49-F238E27FC236}">
                <a16:creationId xmlns:a16="http://schemas.microsoft.com/office/drawing/2014/main" id="{3E47C947-6319-4AAA-A506-5B8FFA2CB0E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-2" y="-1"/>
            <a:ext cx="4064002" cy="6858001"/>
          </a:xfrm>
          <a:custGeom>
            <a:avLst/>
            <a:gdLst>
              <a:gd name="connsiteX0" fmla="*/ 0 w 5067302"/>
              <a:gd name="connsiteY0" fmla="*/ 0 h 1763823"/>
              <a:gd name="connsiteX1" fmla="*/ 5067302 w 5067302"/>
              <a:gd name="connsiteY1" fmla="*/ 0 h 1763823"/>
              <a:gd name="connsiteX2" fmla="*/ 5067302 w 5067302"/>
              <a:gd name="connsiteY2" fmla="*/ 1763823 h 1763823"/>
              <a:gd name="connsiteX3" fmla="*/ 0 w 5067302"/>
              <a:gd name="connsiteY3" fmla="*/ 1763823 h 17638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67302" h="1763823">
                <a:moveTo>
                  <a:pt x="0" y="0"/>
                </a:moveTo>
                <a:lnTo>
                  <a:pt x="5067302" y="0"/>
                </a:lnTo>
                <a:lnTo>
                  <a:pt x="5067302" y="1763823"/>
                </a:lnTo>
                <a:lnTo>
                  <a:pt x="0" y="176382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/>
          <a:p>
            <a:endParaRPr lang="de-DE" dirty="0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4F8C9509-ADD2-4E3D-B6AD-A6609AC823A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064530" y="0"/>
            <a:ext cx="8127471" cy="6858000"/>
          </a:xfrm>
        </p:spPr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28141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3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EAF8B8FC-AB27-4AFA-8413-AB975EE4D403}"/>
              </a:ext>
            </a:extLst>
          </p:cNvPr>
          <p:cNvSpPr/>
          <p:nvPr userDrawn="1"/>
        </p:nvSpPr>
        <p:spPr>
          <a:xfrm>
            <a:off x="0" y="6591300"/>
            <a:ext cx="12192000" cy="266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bg1"/>
              </a:solidFill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E6E12D6-CDD8-4FC4-819D-0F04FB455E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17548" y="6591300"/>
            <a:ext cx="9000000" cy="266700"/>
          </a:xfrm>
        </p:spPr>
        <p:txBody>
          <a:bodyPr lIns="0"/>
          <a:lstStyle/>
          <a:p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95F1940-C0F1-4BB6-8684-B7E5B015DE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F31D0-8A17-47C0-8D09-D01303A85034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37EDD0F1-6DCD-483F-AD39-A97F5B4C238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218920" y="5778000"/>
            <a:ext cx="1505915" cy="1080000"/>
          </a:xfrm>
          <a:prstGeom prst="rect">
            <a:avLst/>
          </a:prstGeom>
        </p:spPr>
      </p:pic>
      <p:sp>
        <p:nvSpPr>
          <p:cNvPr id="10" name="Titel 9">
            <a:extLst>
              <a:ext uri="{FF2B5EF4-FFF2-40B4-BE49-F238E27FC236}">
                <a16:creationId xmlns:a16="http://schemas.microsoft.com/office/drawing/2014/main" id="{31BD26EF-CFA8-418F-A317-8B350E4BCA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7548" y="1483844"/>
            <a:ext cx="4008881" cy="3625676"/>
          </a:xfrm>
        </p:spPr>
        <p:txBody>
          <a:bodyPr tIns="0" rIns="0" bIns="0" anchor="ctr"/>
          <a:lstStyle>
            <a:lvl1pPr>
              <a:defRPr sz="80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Agenda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B02248A2-9889-44CB-86F7-98142F39ADC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21829" y="1342628"/>
            <a:ext cx="515144" cy="649694"/>
          </a:xfrm>
        </p:spPr>
        <p:txBody>
          <a:bodyPr rIns="0" bIns="0" anchor="ctr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itchFamily="34" charset="0"/>
              <a:buNone/>
              <a:defRPr lang="de-DE" sz="2000" b="1" i="1" kern="1200" dirty="0">
                <a:solidFill>
                  <a:prstClr val="white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 err="1"/>
              <a:t>No</a:t>
            </a:r>
            <a:endParaRPr lang="de-DE" dirty="0"/>
          </a:p>
        </p:txBody>
      </p:sp>
      <p:sp>
        <p:nvSpPr>
          <p:cNvPr id="16" name="Textplatzhalter 11">
            <a:extLst>
              <a:ext uri="{FF2B5EF4-FFF2-40B4-BE49-F238E27FC236}">
                <a16:creationId xmlns:a16="http://schemas.microsoft.com/office/drawing/2014/main" id="{63C9A166-3F19-4D1A-8762-3917CDDF113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436973" y="1342628"/>
            <a:ext cx="6287027" cy="649694"/>
          </a:xfrm>
        </p:spPr>
        <p:txBody>
          <a:bodyPr lIns="72000" rIns="0" bIns="0" anchor="ctr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itchFamily="34" charset="0"/>
              <a:buNone/>
              <a:defRPr lang="de-DE" sz="1800" b="0" i="0" kern="1200" dirty="0">
                <a:solidFill>
                  <a:prstClr val="white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18" name="Textplatzhalter 11">
            <a:extLst>
              <a:ext uri="{FF2B5EF4-FFF2-40B4-BE49-F238E27FC236}">
                <a16:creationId xmlns:a16="http://schemas.microsoft.com/office/drawing/2014/main" id="{F61250E1-D61F-4ABA-AEB1-F4B7FD26562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921829" y="1993636"/>
            <a:ext cx="515144" cy="649694"/>
          </a:xfrm>
        </p:spPr>
        <p:txBody>
          <a:bodyPr rIns="0" bIns="0" anchor="ctr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itchFamily="34" charset="0"/>
              <a:buNone/>
              <a:defRPr lang="de-DE" sz="2000" b="1" i="1" kern="1200" dirty="0">
                <a:solidFill>
                  <a:prstClr val="white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 err="1"/>
              <a:t>No</a:t>
            </a:r>
            <a:endParaRPr lang="de-DE" dirty="0"/>
          </a:p>
        </p:txBody>
      </p:sp>
      <p:sp>
        <p:nvSpPr>
          <p:cNvPr id="19" name="Textplatzhalter 11">
            <a:extLst>
              <a:ext uri="{FF2B5EF4-FFF2-40B4-BE49-F238E27FC236}">
                <a16:creationId xmlns:a16="http://schemas.microsoft.com/office/drawing/2014/main" id="{DA78674F-1C81-444C-92B8-66177B87C89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436973" y="1993636"/>
            <a:ext cx="6287027" cy="649694"/>
          </a:xfrm>
        </p:spPr>
        <p:txBody>
          <a:bodyPr lIns="72000" rIns="0" bIns="0" anchor="ctr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itchFamily="34" charset="0"/>
              <a:buNone/>
              <a:defRPr lang="de-DE" sz="1800" b="0" i="0" kern="1200" dirty="0">
                <a:solidFill>
                  <a:prstClr val="white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20" name="Textplatzhalter 11">
            <a:extLst>
              <a:ext uri="{FF2B5EF4-FFF2-40B4-BE49-F238E27FC236}">
                <a16:creationId xmlns:a16="http://schemas.microsoft.com/office/drawing/2014/main" id="{977FA188-704D-4720-8A2F-1E1BA47488F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21829" y="2644644"/>
            <a:ext cx="515144" cy="649694"/>
          </a:xfrm>
        </p:spPr>
        <p:txBody>
          <a:bodyPr rIns="0" bIns="0" anchor="ctr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itchFamily="34" charset="0"/>
              <a:buNone/>
              <a:defRPr lang="de-DE" sz="2000" b="1" i="1" kern="1200" dirty="0">
                <a:solidFill>
                  <a:prstClr val="white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 err="1"/>
              <a:t>No</a:t>
            </a:r>
            <a:endParaRPr lang="de-DE" dirty="0"/>
          </a:p>
        </p:txBody>
      </p:sp>
      <p:sp>
        <p:nvSpPr>
          <p:cNvPr id="21" name="Textplatzhalter 11">
            <a:extLst>
              <a:ext uri="{FF2B5EF4-FFF2-40B4-BE49-F238E27FC236}">
                <a16:creationId xmlns:a16="http://schemas.microsoft.com/office/drawing/2014/main" id="{B9C286FB-A5B0-4F92-8415-103C1175658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436973" y="2644644"/>
            <a:ext cx="6287027" cy="649694"/>
          </a:xfrm>
        </p:spPr>
        <p:txBody>
          <a:bodyPr lIns="72000" rIns="0" bIns="0" anchor="ctr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itchFamily="34" charset="0"/>
              <a:buNone/>
              <a:defRPr lang="de-DE" sz="1800" b="0" i="0" kern="1200" dirty="0">
                <a:solidFill>
                  <a:prstClr val="white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22" name="Textplatzhalter 11">
            <a:extLst>
              <a:ext uri="{FF2B5EF4-FFF2-40B4-BE49-F238E27FC236}">
                <a16:creationId xmlns:a16="http://schemas.microsoft.com/office/drawing/2014/main" id="{E7ED72B3-C02A-4709-AA79-4EE709F806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21829" y="3295652"/>
            <a:ext cx="515144" cy="649694"/>
          </a:xfrm>
        </p:spPr>
        <p:txBody>
          <a:bodyPr rIns="0" bIns="0" anchor="ctr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itchFamily="34" charset="0"/>
              <a:buNone/>
              <a:defRPr lang="de-DE" sz="2000" b="1" i="1" kern="1200" dirty="0">
                <a:solidFill>
                  <a:prstClr val="white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 err="1"/>
              <a:t>No</a:t>
            </a:r>
            <a:endParaRPr lang="de-DE" dirty="0"/>
          </a:p>
        </p:txBody>
      </p:sp>
      <p:sp>
        <p:nvSpPr>
          <p:cNvPr id="23" name="Textplatzhalter 11">
            <a:extLst>
              <a:ext uri="{FF2B5EF4-FFF2-40B4-BE49-F238E27FC236}">
                <a16:creationId xmlns:a16="http://schemas.microsoft.com/office/drawing/2014/main" id="{29805AE4-81A1-409C-931C-3B0D2AF0A9F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436973" y="3295652"/>
            <a:ext cx="6287027" cy="649694"/>
          </a:xfrm>
        </p:spPr>
        <p:txBody>
          <a:bodyPr lIns="72000" rIns="0" bIns="0" anchor="ctr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itchFamily="34" charset="0"/>
              <a:buNone/>
              <a:defRPr lang="de-DE" sz="1800" b="0" i="0" kern="1200" dirty="0">
                <a:solidFill>
                  <a:prstClr val="white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24" name="Textplatzhalter 11">
            <a:extLst>
              <a:ext uri="{FF2B5EF4-FFF2-40B4-BE49-F238E27FC236}">
                <a16:creationId xmlns:a16="http://schemas.microsoft.com/office/drawing/2014/main" id="{905D187B-CE51-4809-8474-4C90F5D0576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921829" y="3946660"/>
            <a:ext cx="515144" cy="649694"/>
          </a:xfrm>
        </p:spPr>
        <p:txBody>
          <a:bodyPr rIns="0" bIns="0" anchor="ctr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itchFamily="34" charset="0"/>
              <a:buNone/>
              <a:defRPr lang="de-DE" sz="2000" b="1" i="1" kern="1200" dirty="0">
                <a:solidFill>
                  <a:prstClr val="white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 err="1"/>
              <a:t>No</a:t>
            </a:r>
            <a:endParaRPr lang="de-DE" dirty="0"/>
          </a:p>
        </p:txBody>
      </p:sp>
      <p:sp>
        <p:nvSpPr>
          <p:cNvPr id="25" name="Textplatzhalter 11">
            <a:extLst>
              <a:ext uri="{FF2B5EF4-FFF2-40B4-BE49-F238E27FC236}">
                <a16:creationId xmlns:a16="http://schemas.microsoft.com/office/drawing/2014/main" id="{6A8A888C-2EE2-47C8-AA4D-CBE50B87467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6973" y="3946660"/>
            <a:ext cx="6287027" cy="649694"/>
          </a:xfrm>
        </p:spPr>
        <p:txBody>
          <a:bodyPr lIns="72000" rIns="0" bIns="0" anchor="ctr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itchFamily="34" charset="0"/>
              <a:buNone/>
              <a:defRPr lang="de-DE" sz="1800" b="0" i="0" kern="1200" dirty="0">
                <a:solidFill>
                  <a:prstClr val="white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26" name="Textplatzhalter 11">
            <a:extLst>
              <a:ext uri="{FF2B5EF4-FFF2-40B4-BE49-F238E27FC236}">
                <a16:creationId xmlns:a16="http://schemas.microsoft.com/office/drawing/2014/main" id="{0C732A89-EE98-4F64-B4E7-596EF7063EE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921829" y="4597670"/>
            <a:ext cx="515144" cy="649694"/>
          </a:xfrm>
        </p:spPr>
        <p:txBody>
          <a:bodyPr rIns="0" bIns="0" anchor="ctr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itchFamily="34" charset="0"/>
              <a:buNone/>
              <a:defRPr lang="de-DE" sz="2000" b="1" i="1" kern="1200" dirty="0">
                <a:solidFill>
                  <a:prstClr val="white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 err="1"/>
              <a:t>No</a:t>
            </a:r>
            <a:endParaRPr lang="de-DE" dirty="0"/>
          </a:p>
        </p:txBody>
      </p:sp>
      <p:sp>
        <p:nvSpPr>
          <p:cNvPr id="27" name="Textplatzhalter 11">
            <a:extLst>
              <a:ext uri="{FF2B5EF4-FFF2-40B4-BE49-F238E27FC236}">
                <a16:creationId xmlns:a16="http://schemas.microsoft.com/office/drawing/2014/main" id="{90B7CA17-A010-43ED-B13B-BB0AE5037C3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436973" y="4597670"/>
            <a:ext cx="6287027" cy="649694"/>
          </a:xfrm>
        </p:spPr>
        <p:txBody>
          <a:bodyPr lIns="72000" rIns="0" bIns="0" anchor="ctr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itchFamily="34" charset="0"/>
              <a:buNone/>
              <a:defRPr lang="de-DE" sz="1800" b="0" i="0" kern="1200" dirty="0">
                <a:solidFill>
                  <a:prstClr val="white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</p:spTree>
    <p:extLst>
      <p:ext uri="{BB962C8B-B14F-4D97-AF65-F5344CB8AC3E}">
        <p14:creationId xmlns:p14="http://schemas.microsoft.com/office/powerpoint/2010/main" val="3193153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+ Tex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4F8C9509-ADD2-4E3D-B6AD-A6609AC823A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6095208" cy="6858000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8D8F1C8-7D3A-4848-A69A-E3F8C3D68E3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5207" y="0"/>
            <a:ext cx="6095205" cy="6858000"/>
          </a:xfrm>
          <a:solidFill>
            <a:schemeClr val="accent3"/>
          </a:solidFill>
        </p:spPr>
        <p:txBody>
          <a:bodyPr lIns="360000" tIns="360000" rIns="360000" bIns="360000" anchor="ctr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524996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3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>
            <a:extLst>
              <a:ext uri="{FF2B5EF4-FFF2-40B4-BE49-F238E27FC236}">
                <a16:creationId xmlns:a16="http://schemas.microsoft.com/office/drawing/2014/main" id="{C86CFFE5-DB5E-4B80-B7ED-14662A340361}"/>
              </a:ext>
            </a:extLst>
          </p:cNvPr>
          <p:cNvSpPr/>
          <p:nvPr userDrawn="1"/>
        </p:nvSpPr>
        <p:spPr bwMode="gray">
          <a:xfrm>
            <a:off x="1" y="1318258"/>
            <a:ext cx="6095205" cy="477347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 dirty="0" err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>
          <a:xfrm>
            <a:off x="639847" y="6492876"/>
            <a:ext cx="769408" cy="365125"/>
          </a:xfrm>
        </p:spPr>
        <p:txBody>
          <a:bodyPr/>
          <a:lstStyle/>
          <a:p>
            <a:r>
              <a:rPr lang="de-DE" dirty="0"/>
              <a:t>Datum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>
          <a:noFill/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310FED02-0259-420E-80E1-2066F5A390A1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16F0E3EA-E47F-455E-B0FC-E988EE1A9BC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" y="2717802"/>
            <a:ext cx="6095997" cy="876299"/>
          </a:xfrm>
          <a:noFill/>
        </p:spPr>
        <p:txBody>
          <a:bodyPr tIns="0" anchor="t"/>
          <a:lstStyle>
            <a:lvl1pPr marL="982663" indent="0"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5DA924E9-258B-499B-B056-BAE9CF3960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5789" y="-204820"/>
            <a:ext cx="2871930" cy="2172908"/>
          </a:xfrm>
          <a:prstGeom prst="rect">
            <a:avLst/>
          </a:prstGeom>
        </p:spPr>
      </p:pic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6AB78045-623A-4B18-BEAB-3E34D1CF3FA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5206" y="1318258"/>
            <a:ext cx="6095996" cy="4772980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7B8B188E-3CA5-40D9-AB24-F1F6AF588CA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" y="3626945"/>
            <a:ext cx="6095997" cy="998398"/>
          </a:xfrm>
          <a:noFill/>
        </p:spPr>
        <p:txBody>
          <a:bodyPr tIns="0" anchor="t"/>
          <a:lstStyle>
            <a:lvl1pPr marL="982663" indent="0">
              <a:defRPr sz="18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519181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elen D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" name="Bildplatzhalter 120">
            <a:extLst>
              <a:ext uri="{FF2B5EF4-FFF2-40B4-BE49-F238E27FC236}">
                <a16:creationId xmlns:a16="http://schemas.microsoft.com/office/drawing/2014/main" id="{84E2DE48-09B6-4270-89A7-639B0E438B03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 bwMode="gray">
          <a:xfrm>
            <a:off x="1" y="0"/>
            <a:ext cx="12192000" cy="6858000"/>
          </a:xfrm>
          <a:custGeom>
            <a:avLst/>
            <a:gdLst>
              <a:gd name="connsiteX0" fmla="*/ 9630984 w 12190413"/>
              <a:gd name="connsiteY0" fmla="*/ 5044902 h 6858000"/>
              <a:gd name="connsiteX1" fmla="*/ 9630984 w 12190413"/>
              <a:gd name="connsiteY1" fmla="*/ 6168572 h 6858000"/>
              <a:gd name="connsiteX2" fmla="*/ 9630984 w 12190413"/>
              <a:gd name="connsiteY2" fmla="*/ 6543502 h 6858000"/>
              <a:gd name="connsiteX3" fmla="*/ 11731247 w 12190413"/>
              <a:gd name="connsiteY3" fmla="*/ 6543502 h 6858000"/>
              <a:gd name="connsiteX4" fmla="*/ 11731247 w 12190413"/>
              <a:gd name="connsiteY4" fmla="*/ 6168572 h 6858000"/>
              <a:gd name="connsiteX5" fmla="*/ 11731247 w 12190413"/>
              <a:gd name="connsiteY5" fmla="*/ 5044902 h 6858000"/>
              <a:gd name="connsiteX6" fmla="*/ 0 w 12190413"/>
              <a:gd name="connsiteY6" fmla="*/ 0 h 6858000"/>
              <a:gd name="connsiteX7" fmla="*/ 12190413 w 12190413"/>
              <a:gd name="connsiteY7" fmla="*/ 0 h 6858000"/>
              <a:gd name="connsiteX8" fmla="*/ 12190413 w 12190413"/>
              <a:gd name="connsiteY8" fmla="*/ 6858000 h 6858000"/>
              <a:gd name="connsiteX9" fmla="*/ 0 w 12190413"/>
              <a:gd name="connsiteY9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0413" h="6858000">
                <a:moveTo>
                  <a:pt x="9630984" y="5044902"/>
                </a:moveTo>
                <a:lnTo>
                  <a:pt x="9630984" y="6168572"/>
                </a:lnTo>
                <a:lnTo>
                  <a:pt x="9630984" y="6543502"/>
                </a:lnTo>
                <a:lnTo>
                  <a:pt x="11731247" y="6543502"/>
                </a:lnTo>
                <a:lnTo>
                  <a:pt x="11731247" y="6168572"/>
                </a:lnTo>
                <a:lnTo>
                  <a:pt x="11731247" y="5044902"/>
                </a:lnTo>
                <a:close/>
                <a:moveTo>
                  <a:pt x="0" y="0"/>
                </a:moveTo>
                <a:lnTo>
                  <a:pt x="12190413" y="0"/>
                </a:lnTo>
                <a:lnTo>
                  <a:pt x="12190413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fld id="{310FED02-0259-420E-80E1-2066F5A390A1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de-DE"/>
              <a:t>Datum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endParaRPr lang="de-DE" dirty="0"/>
          </a:p>
        </p:txBody>
      </p:sp>
      <p:sp>
        <p:nvSpPr>
          <p:cNvPr id="49" name="Textplatzhalter 48">
            <a:extLst>
              <a:ext uri="{FF2B5EF4-FFF2-40B4-BE49-F238E27FC236}">
                <a16:creationId xmlns:a16="http://schemas.microsoft.com/office/drawing/2014/main" id="{192A3FFD-4A38-4E31-ADBA-828B76FFF5A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>
          <a:xfrm>
            <a:off x="281242" y="3720572"/>
            <a:ext cx="11629514" cy="2448000"/>
          </a:xfrm>
          <a:custGeom>
            <a:avLst/>
            <a:gdLst>
              <a:gd name="connsiteX0" fmla="*/ 0 w 11628000"/>
              <a:gd name="connsiteY0" fmla="*/ 0 h 2448000"/>
              <a:gd name="connsiteX1" fmla="*/ 11628000 w 11628000"/>
              <a:gd name="connsiteY1" fmla="*/ 0 h 2448000"/>
              <a:gd name="connsiteX2" fmla="*/ 11628000 w 11628000"/>
              <a:gd name="connsiteY2" fmla="*/ 2448000 h 2448000"/>
              <a:gd name="connsiteX3" fmla="*/ 11450041 w 11628000"/>
              <a:gd name="connsiteY3" fmla="*/ 2448000 h 2448000"/>
              <a:gd name="connsiteX4" fmla="*/ 11450041 w 11628000"/>
              <a:gd name="connsiteY4" fmla="*/ 1324330 h 2448000"/>
              <a:gd name="connsiteX5" fmla="*/ 9349778 w 11628000"/>
              <a:gd name="connsiteY5" fmla="*/ 1324330 h 2448000"/>
              <a:gd name="connsiteX6" fmla="*/ 9349778 w 11628000"/>
              <a:gd name="connsiteY6" fmla="*/ 2448000 h 2448000"/>
              <a:gd name="connsiteX7" fmla="*/ 0 w 11628000"/>
              <a:gd name="connsiteY7" fmla="*/ 2448000 h 244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628000" h="2448000">
                <a:moveTo>
                  <a:pt x="0" y="0"/>
                </a:moveTo>
                <a:lnTo>
                  <a:pt x="11628000" y="0"/>
                </a:lnTo>
                <a:lnTo>
                  <a:pt x="11628000" y="2448000"/>
                </a:lnTo>
                <a:lnTo>
                  <a:pt x="11450041" y="2448000"/>
                </a:lnTo>
                <a:lnTo>
                  <a:pt x="11450041" y="1324330"/>
                </a:lnTo>
                <a:lnTo>
                  <a:pt x="9349778" y="1324330"/>
                </a:lnTo>
                <a:lnTo>
                  <a:pt x="9349778" y="2448000"/>
                </a:lnTo>
                <a:lnTo>
                  <a:pt x="0" y="2448000"/>
                </a:lnTo>
                <a:close/>
              </a:path>
            </a:pathLst>
          </a:custGeom>
          <a:solidFill>
            <a:schemeClr val="accent2"/>
          </a:solidFill>
        </p:spPr>
        <p:txBody>
          <a:bodyPr vert="horz" wrap="square" lIns="0" tIns="0" rIns="0" bIns="0" rtlCol="0">
            <a:noAutofit/>
          </a:bodyPr>
          <a:lstStyle>
            <a:lvl1pPr>
              <a:defRPr lang="de-DE" smtClean="0">
                <a:solidFill>
                  <a:schemeClr val="tx1">
                    <a:alpha val="0"/>
                  </a:schemeClr>
                </a:solidFill>
              </a:defRPr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44" name="Textplatzhalter 43">
            <a:extLst>
              <a:ext uri="{FF2B5EF4-FFF2-40B4-BE49-F238E27FC236}">
                <a16:creationId xmlns:a16="http://schemas.microsoft.com/office/drawing/2014/main" id="{F98AA166-763E-46E5-9CA5-908F87C0842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45003" y="4058286"/>
            <a:ext cx="5051766" cy="441325"/>
          </a:xfrm>
        </p:spPr>
        <p:txBody>
          <a:bodyPr/>
          <a:lstStyle>
            <a:lvl1pPr>
              <a:defRPr sz="22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Vielen Dank für Ihre Aufmerksamkeit</a:t>
            </a:r>
          </a:p>
        </p:txBody>
      </p:sp>
      <p:sp>
        <p:nvSpPr>
          <p:cNvPr id="45" name="Textplatzhalter 43">
            <a:extLst>
              <a:ext uri="{FF2B5EF4-FFF2-40B4-BE49-F238E27FC236}">
                <a16:creationId xmlns:a16="http://schemas.microsoft.com/office/drawing/2014/main" id="{86E9ABC6-C697-471C-9897-E67A48CB538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45003" y="4657516"/>
            <a:ext cx="5058946" cy="396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ebm-papst </a:t>
            </a:r>
            <a:br>
              <a:rPr lang="de-DE" dirty="0"/>
            </a:br>
            <a:r>
              <a:rPr lang="de-DE" dirty="0"/>
              <a:t>xxx GmbH &amp; Co. KG</a:t>
            </a:r>
          </a:p>
        </p:txBody>
      </p:sp>
      <p:sp>
        <p:nvSpPr>
          <p:cNvPr id="46" name="Textplatzhalter 43">
            <a:extLst>
              <a:ext uri="{FF2B5EF4-FFF2-40B4-BE49-F238E27FC236}">
                <a16:creationId xmlns:a16="http://schemas.microsoft.com/office/drawing/2014/main" id="{ACB816B6-E4BB-47B3-B344-429F0E96C1F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92056" y="4657516"/>
            <a:ext cx="3197210" cy="216000"/>
          </a:xfrm>
        </p:spPr>
        <p:txBody>
          <a:bodyPr/>
          <a:lstStyle>
            <a:lvl1pPr>
              <a:spcBef>
                <a:spcPts val="0"/>
              </a:spcBef>
              <a:defRPr sz="1200" b="1">
                <a:solidFill>
                  <a:schemeClr val="bg1"/>
                </a:solidFill>
              </a:defRPr>
            </a:lvl1pPr>
          </a:lstStyle>
          <a:p>
            <a:r>
              <a:rPr lang="de-DE" dirty="0" err="1"/>
              <a:t>Ansprechparner</a:t>
            </a:r>
            <a:endParaRPr lang="de-DE" dirty="0"/>
          </a:p>
        </p:txBody>
      </p:sp>
      <p:sp>
        <p:nvSpPr>
          <p:cNvPr id="47" name="Textplatzhalter 43">
            <a:extLst>
              <a:ext uri="{FF2B5EF4-FFF2-40B4-BE49-F238E27FC236}">
                <a16:creationId xmlns:a16="http://schemas.microsoft.com/office/drawing/2014/main" id="{DECB980F-43E3-4207-A688-FCC583DCBCB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92056" y="4935929"/>
            <a:ext cx="3197210" cy="859953"/>
          </a:xfrm>
        </p:spPr>
        <p:txBody>
          <a:bodyPr/>
          <a:lstStyle>
            <a:lvl1pPr>
              <a:spcBef>
                <a:spcPts val="0"/>
              </a:spcBef>
              <a:defRPr sz="1200" b="0">
                <a:solidFill>
                  <a:schemeClr val="bg1"/>
                </a:solidFill>
              </a:defRPr>
            </a:lvl1pPr>
          </a:lstStyle>
          <a:p>
            <a:r>
              <a:rPr lang="de-DE" dirty="0" err="1"/>
              <a:t>Ansprechparner</a:t>
            </a:r>
            <a:endParaRPr lang="de-DE" dirty="0"/>
          </a:p>
        </p:txBody>
      </p:sp>
      <p:sp>
        <p:nvSpPr>
          <p:cNvPr id="48" name="Textplatzhalter 43">
            <a:extLst>
              <a:ext uri="{FF2B5EF4-FFF2-40B4-BE49-F238E27FC236}">
                <a16:creationId xmlns:a16="http://schemas.microsoft.com/office/drawing/2014/main" id="{F3AD85D2-6A25-4592-9981-9B804E203AC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45003" y="5115928"/>
            <a:ext cx="5058946" cy="679954"/>
          </a:xfrm>
        </p:spPr>
        <p:txBody>
          <a:bodyPr/>
          <a:lstStyle>
            <a:lvl1pPr>
              <a:spcBef>
                <a:spcPts val="0"/>
              </a:spcBef>
              <a:defRPr sz="1200" b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Straße</a:t>
            </a:r>
          </a:p>
        </p:txBody>
      </p:sp>
      <p:grpSp>
        <p:nvGrpSpPr>
          <p:cNvPr id="122" name="Gruppieren 70">
            <a:extLst>
              <a:ext uri="{FF2B5EF4-FFF2-40B4-BE49-F238E27FC236}">
                <a16:creationId xmlns:a16="http://schemas.microsoft.com/office/drawing/2014/main" id="{B8CC59E7-3C98-4F48-ABBA-241D6E795AE3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9632238" y="5044902"/>
            <a:ext cx="2100537" cy="1498598"/>
            <a:chOff x="9299523" y="1855792"/>
            <a:chExt cx="2978135" cy="2125665"/>
          </a:xfrm>
        </p:grpSpPr>
        <p:sp>
          <p:nvSpPr>
            <p:cNvPr id="123" name="Rectangle 6">
              <a:extLst>
                <a:ext uri="{FF2B5EF4-FFF2-40B4-BE49-F238E27FC236}">
                  <a16:creationId xmlns:a16="http://schemas.microsoft.com/office/drawing/2014/main" id="{5F3BFDB5-2483-4A51-96C0-14EFDC35AB3F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9299524" y="1855792"/>
              <a:ext cx="2978134" cy="1593854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endParaRPr lang="de-DE" altLang="de-DE" sz="1800"/>
            </a:p>
          </p:txBody>
        </p:sp>
        <p:sp>
          <p:nvSpPr>
            <p:cNvPr id="124" name="Freeform 7">
              <a:extLst>
                <a:ext uri="{FF2B5EF4-FFF2-40B4-BE49-F238E27FC236}">
                  <a16:creationId xmlns:a16="http://schemas.microsoft.com/office/drawing/2014/main" id="{B7862939-F7E9-4F5D-9045-91C1E3206543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9839272" y="2489206"/>
              <a:ext cx="206374" cy="333376"/>
            </a:xfrm>
            <a:custGeom>
              <a:avLst/>
              <a:gdLst>
                <a:gd name="T0" fmla="*/ 206375 w 55"/>
                <a:gd name="T1" fmla="*/ 179798 h 89"/>
                <a:gd name="T2" fmla="*/ 206375 w 55"/>
                <a:gd name="T3" fmla="*/ 161069 h 89"/>
                <a:gd name="T4" fmla="*/ 105064 w 55"/>
                <a:gd name="T5" fmla="*/ 0 h 89"/>
                <a:gd name="T6" fmla="*/ 0 w 55"/>
                <a:gd name="T7" fmla="*/ 164815 h 89"/>
                <a:gd name="T8" fmla="*/ 105064 w 55"/>
                <a:gd name="T9" fmla="*/ 333375 h 89"/>
                <a:gd name="T10" fmla="*/ 202623 w 55"/>
                <a:gd name="T11" fmla="*/ 221001 h 89"/>
                <a:gd name="T12" fmla="*/ 138834 w 55"/>
                <a:gd name="T13" fmla="*/ 221001 h 89"/>
                <a:gd name="T14" fmla="*/ 101311 w 55"/>
                <a:gd name="T15" fmla="*/ 280934 h 89"/>
                <a:gd name="T16" fmla="*/ 67541 w 55"/>
                <a:gd name="T17" fmla="*/ 206018 h 89"/>
                <a:gd name="T18" fmla="*/ 67541 w 55"/>
                <a:gd name="T19" fmla="*/ 179798 h 89"/>
                <a:gd name="T20" fmla="*/ 206375 w 55"/>
                <a:gd name="T21" fmla="*/ 179798 h 89"/>
                <a:gd name="T22" fmla="*/ 67541 w 55"/>
                <a:gd name="T23" fmla="*/ 131103 h 89"/>
                <a:gd name="T24" fmla="*/ 67541 w 55"/>
                <a:gd name="T25" fmla="*/ 119865 h 89"/>
                <a:gd name="T26" fmla="*/ 105064 w 55"/>
                <a:gd name="T27" fmla="*/ 56187 h 89"/>
                <a:gd name="T28" fmla="*/ 138834 w 55"/>
                <a:gd name="T29" fmla="*/ 131103 h 89"/>
                <a:gd name="T30" fmla="*/ 67541 w 55"/>
                <a:gd name="T31" fmla="*/ 131103 h 89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5" h="89">
                  <a:moveTo>
                    <a:pt x="55" y="48"/>
                  </a:moveTo>
                  <a:cubicBezTo>
                    <a:pt x="55" y="43"/>
                    <a:pt x="55" y="43"/>
                    <a:pt x="55" y="43"/>
                  </a:cubicBezTo>
                  <a:cubicBezTo>
                    <a:pt x="55" y="17"/>
                    <a:pt x="50" y="0"/>
                    <a:pt x="28" y="0"/>
                  </a:cubicBezTo>
                  <a:cubicBezTo>
                    <a:pt x="4" y="0"/>
                    <a:pt x="0" y="21"/>
                    <a:pt x="0" y="44"/>
                  </a:cubicBezTo>
                  <a:cubicBezTo>
                    <a:pt x="0" y="65"/>
                    <a:pt x="1" y="89"/>
                    <a:pt x="28" y="89"/>
                  </a:cubicBezTo>
                  <a:cubicBezTo>
                    <a:pt x="45" y="89"/>
                    <a:pt x="53" y="78"/>
                    <a:pt x="54" y="59"/>
                  </a:cubicBezTo>
                  <a:cubicBezTo>
                    <a:pt x="37" y="59"/>
                    <a:pt x="37" y="59"/>
                    <a:pt x="37" y="59"/>
                  </a:cubicBezTo>
                  <a:cubicBezTo>
                    <a:pt x="36" y="69"/>
                    <a:pt x="34" y="75"/>
                    <a:pt x="27" y="75"/>
                  </a:cubicBezTo>
                  <a:cubicBezTo>
                    <a:pt x="21" y="75"/>
                    <a:pt x="18" y="65"/>
                    <a:pt x="18" y="55"/>
                  </a:cubicBezTo>
                  <a:cubicBezTo>
                    <a:pt x="18" y="48"/>
                    <a:pt x="18" y="48"/>
                    <a:pt x="18" y="48"/>
                  </a:cubicBezTo>
                  <a:lnTo>
                    <a:pt x="55" y="48"/>
                  </a:lnTo>
                  <a:close/>
                  <a:moveTo>
                    <a:pt x="18" y="35"/>
                  </a:moveTo>
                  <a:cubicBezTo>
                    <a:pt x="18" y="32"/>
                    <a:pt x="18" y="32"/>
                    <a:pt x="18" y="32"/>
                  </a:cubicBezTo>
                  <a:cubicBezTo>
                    <a:pt x="18" y="24"/>
                    <a:pt x="20" y="15"/>
                    <a:pt x="28" y="15"/>
                  </a:cubicBezTo>
                  <a:cubicBezTo>
                    <a:pt x="35" y="15"/>
                    <a:pt x="37" y="22"/>
                    <a:pt x="37" y="35"/>
                  </a:cubicBezTo>
                  <a:lnTo>
                    <a:pt x="18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25" name="Freeform 8">
              <a:extLst>
                <a:ext uri="{FF2B5EF4-FFF2-40B4-BE49-F238E27FC236}">
                  <a16:creationId xmlns:a16="http://schemas.microsoft.com/office/drawing/2014/main" id="{942FDC6C-8224-41F9-915E-EA8B4E3C6AE4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10072633" y="2392368"/>
              <a:ext cx="209549" cy="430213"/>
            </a:xfrm>
            <a:custGeom>
              <a:avLst/>
              <a:gdLst>
                <a:gd name="T0" fmla="*/ 67355 w 56"/>
                <a:gd name="T1" fmla="*/ 265609 h 115"/>
                <a:gd name="T2" fmla="*/ 104775 w 56"/>
                <a:gd name="T3" fmla="*/ 160862 h 115"/>
                <a:gd name="T4" fmla="*/ 138453 w 56"/>
                <a:gd name="T5" fmla="*/ 265609 h 115"/>
                <a:gd name="T6" fmla="*/ 104775 w 56"/>
                <a:gd name="T7" fmla="*/ 370356 h 115"/>
                <a:gd name="T8" fmla="*/ 67355 w 56"/>
                <a:gd name="T9" fmla="*/ 265609 h 115"/>
                <a:gd name="T10" fmla="*/ 0 w 56"/>
                <a:gd name="T11" fmla="*/ 422730 h 115"/>
                <a:gd name="T12" fmla="*/ 63613 w 56"/>
                <a:gd name="T13" fmla="*/ 422730 h 115"/>
                <a:gd name="T14" fmla="*/ 63613 w 56"/>
                <a:gd name="T15" fmla="*/ 389061 h 115"/>
                <a:gd name="T16" fmla="*/ 63613 w 56"/>
                <a:gd name="T17" fmla="*/ 389061 h 115"/>
                <a:gd name="T18" fmla="*/ 127227 w 56"/>
                <a:gd name="T19" fmla="*/ 430212 h 115"/>
                <a:gd name="T20" fmla="*/ 209550 w 56"/>
                <a:gd name="T21" fmla="*/ 265609 h 115"/>
                <a:gd name="T22" fmla="*/ 127227 w 56"/>
                <a:gd name="T23" fmla="*/ 97265 h 115"/>
                <a:gd name="T24" fmla="*/ 67355 w 56"/>
                <a:gd name="T25" fmla="*/ 134675 h 115"/>
                <a:gd name="T26" fmla="*/ 67355 w 56"/>
                <a:gd name="T27" fmla="*/ 134675 h 115"/>
                <a:gd name="T28" fmla="*/ 67355 w 56"/>
                <a:gd name="T29" fmla="*/ 0 h 115"/>
                <a:gd name="T30" fmla="*/ 0 w 56"/>
                <a:gd name="T31" fmla="*/ 0 h 115"/>
                <a:gd name="T32" fmla="*/ 0 w 56"/>
                <a:gd name="T33" fmla="*/ 422730 h 11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56" h="115">
                  <a:moveTo>
                    <a:pt x="18" y="71"/>
                  </a:moveTo>
                  <a:cubicBezTo>
                    <a:pt x="18" y="52"/>
                    <a:pt x="20" y="43"/>
                    <a:pt x="28" y="43"/>
                  </a:cubicBezTo>
                  <a:cubicBezTo>
                    <a:pt x="36" y="43"/>
                    <a:pt x="37" y="52"/>
                    <a:pt x="37" y="71"/>
                  </a:cubicBezTo>
                  <a:cubicBezTo>
                    <a:pt x="37" y="89"/>
                    <a:pt x="36" y="99"/>
                    <a:pt x="28" y="99"/>
                  </a:cubicBezTo>
                  <a:cubicBezTo>
                    <a:pt x="20" y="99"/>
                    <a:pt x="18" y="89"/>
                    <a:pt x="18" y="71"/>
                  </a:cubicBezTo>
                  <a:close/>
                  <a:moveTo>
                    <a:pt x="0" y="113"/>
                  </a:moveTo>
                  <a:cubicBezTo>
                    <a:pt x="17" y="113"/>
                    <a:pt x="17" y="113"/>
                    <a:pt x="17" y="113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21" y="112"/>
                    <a:pt x="27" y="115"/>
                    <a:pt x="34" y="115"/>
                  </a:cubicBezTo>
                  <a:cubicBezTo>
                    <a:pt x="49" y="115"/>
                    <a:pt x="56" y="102"/>
                    <a:pt x="56" y="71"/>
                  </a:cubicBezTo>
                  <a:cubicBezTo>
                    <a:pt x="56" y="39"/>
                    <a:pt x="49" y="26"/>
                    <a:pt x="34" y="26"/>
                  </a:cubicBezTo>
                  <a:cubicBezTo>
                    <a:pt x="27" y="26"/>
                    <a:pt x="22" y="29"/>
                    <a:pt x="18" y="36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26" name="Freeform 9">
              <a:extLst>
                <a:ext uri="{FF2B5EF4-FFF2-40B4-BE49-F238E27FC236}">
                  <a16:creationId xmlns:a16="http://schemas.microsoft.com/office/drawing/2014/main" id="{CE49497D-12C6-4DF9-B124-D58510C20FC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0312345" y="2486032"/>
              <a:ext cx="330198" cy="330200"/>
            </a:xfrm>
            <a:custGeom>
              <a:avLst/>
              <a:gdLst>
                <a:gd name="T0" fmla="*/ 0 w 88"/>
                <a:gd name="T1" fmla="*/ 330200 h 88"/>
                <a:gd name="T2" fmla="*/ 67541 w 88"/>
                <a:gd name="T3" fmla="*/ 330200 h 88"/>
                <a:gd name="T4" fmla="*/ 67541 w 88"/>
                <a:gd name="T5" fmla="*/ 120073 h 88"/>
                <a:gd name="T6" fmla="*/ 105064 w 88"/>
                <a:gd name="T7" fmla="*/ 67541 h 88"/>
                <a:gd name="T8" fmla="*/ 131330 w 88"/>
                <a:gd name="T9" fmla="*/ 108816 h 88"/>
                <a:gd name="T10" fmla="*/ 131330 w 88"/>
                <a:gd name="T11" fmla="*/ 330200 h 88"/>
                <a:gd name="T12" fmla="*/ 198870 w 88"/>
                <a:gd name="T13" fmla="*/ 330200 h 88"/>
                <a:gd name="T14" fmla="*/ 198870 w 88"/>
                <a:gd name="T15" fmla="*/ 120073 h 88"/>
                <a:gd name="T16" fmla="*/ 236393 w 88"/>
                <a:gd name="T17" fmla="*/ 67541 h 88"/>
                <a:gd name="T18" fmla="*/ 262659 w 88"/>
                <a:gd name="T19" fmla="*/ 108816 h 88"/>
                <a:gd name="T20" fmla="*/ 262659 w 88"/>
                <a:gd name="T21" fmla="*/ 330200 h 88"/>
                <a:gd name="T22" fmla="*/ 330200 w 88"/>
                <a:gd name="T23" fmla="*/ 330200 h 88"/>
                <a:gd name="T24" fmla="*/ 330200 w 88"/>
                <a:gd name="T25" fmla="*/ 97559 h 88"/>
                <a:gd name="T26" fmla="*/ 262659 w 88"/>
                <a:gd name="T27" fmla="*/ 3752 h 88"/>
                <a:gd name="T28" fmla="*/ 195118 w 88"/>
                <a:gd name="T29" fmla="*/ 52532 h 88"/>
                <a:gd name="T30" fmla="*/ 195118 w 88"/>
                <a:gd name="T31" fmla="*/ 52532 h 88"/>
                <a:gd name="T32" fmla="*/ 135082 w 88"/>
                <a:gd name="T33" fmla="*/ 3752 h 88"/>
                <a:gd name="T34" fmla="*/ 63789 w 88"/>
                <a:gd name="T35" fmla="*/ 45027 h 88"/>
                <a:gd name="T36" fmla="*/ 63789 w 88"/>
                <a:gd name="T37" fmla="*/ 45027 h 88"/>
                <a:gd name="T38" fmla="*/ 63789 w 88"/>
                <a:gd name="T39" fmla="*/ 11257 h 88"/>
                <a:gd name="T40" fmla="*/ 0 w 88"/>
                <a:gd name="T41" fmla="*/ 11257 h 88"/>
                <a:gd name="T42" fmla="*/ 0 w 88"/>
                <a:gd name="T43" fmla="*/ 330200 h 88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88" h="88">
                  <a:moveTo>
                    <a:pt x="0" y="88"/>
                  </a:moveTo>
                  <a:cubicBezTo>
                    <a:pt x="18" y="88"/>
                    <a:pt x="18" y="88"/>
                    <a:pt x="18" y="88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22"/>
                    <a:pt x="22" y="18"/>
                    <a:pt x="28" y="18"/>
                  </a:cubicBezTo>
                  <a:cubicBezTo>
                    <a:pt x="33" y="18"/>
                    <a:pt x="35" y="22"/>
                    <a:pt x="35" y="29"/>
                  </a:cubicBezTo>
                  <a:cubicBezTo>
                    <a:pt x="35" y="88"/>
                    <a:pt x="35" y="88"/>
                    <a:pt x="35" y="88"/>
                  </a:cubicBezTo>
                  <a:cubicBezTo>
                    <a:pt x="53" y="88"/>
                    <a:pt x="53" y="88"/>
                    <a:pt x="53" y="88"/>
                  </a:cubicBezTo>
                  <a:cubicBezTo>
                    <a:pt x="53" y="32"/>
                    <a:pt x="53" y="32"/>
                    <a:pt x="53" y="32"/>
                  </a:cubicBezTo>
                  <a:cubicBezTo>
                    <a:pt x="53" y="22"/>
                    <a:pt x="57" y="18"/>
                    <a:pt x="63" y="18"/>
                  </a:cubicBezTo>
                  <a:cubicBezTo>
                    <a:pt x="68" y="18"/>
                    <a:pt x="70" y="22"/>
                    <a:pt x="70" y="29"/>
                  </a:cubicBezTo>
                  <a:cubicBezTo>
                    <a:pt x="70" y="88"/>
                    <a:pt x="70" y="88"/>
                    <a:pt x="70" y="88"/>
                  </a:cubicBezTo>
                  <a:cubicBezTo>
                    <a:pt x="88" y="88"/>
                    <a:pt x="88" y="88"/>
                    <a:pt x="88" y="88"/>
                  </a:cubicBezTo>
                  <a:cubicBezTo>
                    <a:pt x="88" y="26"/>
                    <a:pt x="88" y="26"/>
                    <a:pt x="88" y="26"/>
                  </a:cubicBezTo>
                  <a:cubicBezTo>
                    <a:pt x="88" y="10"/>
                    <a:pt x="83" y="1"/>
                    <a:pt x="70" y="1"/>
                  </a:cubicBezTo>
                  <a:cubicBezTo>
                    <a:pt x="62" y="0"/>
                    <a:pt x="54" y="6"/>
                    <a:pt x="52" y="14"/>
                  </a:cubicBezTo>
                  <a:cubicBezTo>
                    <a:pt x="52" y="14"/>
                    <a:pt x="52" y="14"/>
                    <a:pt x="52" y="14"/>
                  </a:cubicBezTo>
                  <a:cubicBezTo>
                    <a:pt x="51" y="6"/>
                    <a:pt x="44" y="0"/>
                    <a:pt x="36" y="1"/>
                  </a:cubicBezTo>
                  <a:cubicBezTo>
                    <a:pt x="28" y="1"/>
                    <a:pt x="21" y="5"/>
                    <a:pt x="17" y="12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0" y="3"/>
                    <a:pt x="0" y="3"/>
                    <a:pt x="0" y="3"/>
                  </a:cubicBezTo>
                  <a:lnTo>
                    <a:pt x="0" y="8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27" name="Freeform 10">
              <a:extLst>
                <a:ext uri="{FF2B5EF4-FFF2-40B4-BE49-F238E27FC236}">
                  <a16:creationId xmlns:a16="http://schemas.microsoft.com/office/drawing/2014/main" id="{E289D226-F71B-4113-B351-3EA395571F8E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10698105" y="2489206"/>
              <a:ext cx="209549" cy="431802"/>
            </a:xfrm>
            <a:custGeom>
              <a:avLst/>
              <a:gdLst>
                <a:gd name="T0" fmla="*/ 67355 w 56"/>
                <a:gd name="T1" fmla="*/ 168965 h 115"/>
                <a:gd name="T2" fmla="*/ 104775 w 56"/>
                <a:gd name="T3" fmla="*/ 63831 h 115"/>
                <a:gd name="T4" fmla="*/ 142195 w 56"/>
                <a:gd name="T5" fmla="*/ 168965 h 115"/>
                <a:gd name="T6" fmla="*/ 104775 w 56"/>
                <a:gd name="T7" fmla="*/ 274099 h 115"/>
                <a:gd name="T8" fmla="*/ 67355 w 56"/>
                <a:gd name="T9" fmla="*/ 168965 h 115"/>
                <a:gd name="T10" fmla="*/ 0 w 56"/>
                <a:gd name="T11" fmla="*/ 431800 h 115"/>
                <a:gd name="T12" fmla="*/ 67355 w 56"/>
                <a:gd name="T13" fmla="*/ 431800 h 115"/>
                <a:gd name="T14" fmla="*/ 67355 w 56"/>
                <a:gd name="T15" fmla="*/ 296628 h 115"/>
                <a:gd name="T16" fmla="*/ 71097 w 56"/>
                <a:gd name="T17" fmla="*/ 296628 h 115"/>
                <a:gd name="T18" fmla="*/ 127227 w 56"/>
                <a:gd name="T19" fmla="*/ 334176 h 115"/>
                <a:gd name="T20" fmla="*/ 209550 w 56"/>
                <a:gd name="T21" fmla="*/ 168965 h 115"/>
                <a:gd name="T22" fmla="*/ 127227 w 56"/>
                <a:gd name="T23" fmla="*/ 0 h 115"/>
                <a:gd name="T24" fmla="*/ 67355 w 56"/>
                <a:gd name="T25" fmla="*/ 41303 h 115"/>
                <a:gd name="T26" fmla="*/ 67355 w 56"/>
                <a:gd name="T27" fmla="*/ 41303 h 115"/>
                <a:gd name="T28" fmla="*/ 67355 w 56"/>
                <a:gd name="T29" fmla="*/ 7510 h 115"/>
                <a:gd name="T30" fmla="*/ 0 w 56"/>
                <a:gd name="T31" fmla="*/ 7510 h 115"/>
                <a:gd name="T32" fmla="*/ 0 w 56"/>
                <a:gd name="T33" fmla="*/ 431800 h 11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56" h="115">
                  <a:moveTo>
                    <a:pt x="18" y="45"/>
                  </a:moveTo>
                  <a:cubicBezTo>
                    <a:pt x="18" y="26"/>
                    <a:pt x="20" y="17"/>
                    <a:pt x="28" y="17"/>
                  </a:cubicBezTo>
                  <a:cubicBezTo>
                    <a:pt x="36" y="17"/>
                    <a:pt x="38" y="26"/>
                    <a:pt x="38" y="45"/>
                  </a:cubicBezTo>
                  <a:cubicBezTo>
                    <a:pt x="38" y="63"/>
                    <a:pt x="36" y="73"/>
                    <a:pt x="28" y="73"/>
                  </a:cubicBezTo>
                  <a:cubicBezTo>
                    <a:pt x="20" y="73"/>
                    <a:pt x="18" y="63"/>
                    <a:pt x="18" y="45"/>
                  </a:cubicBezTo>
                  <a:close/>
                  <a:moveTo>
                    <a:pt x="0" y="115"/>
                  </a:moveTo>
                  <a:cubicBezTo>
                    <a:pt x="18" y="115"/>
                    <a:pt x="18" y="115"/>
                    <a:pt x="18" y="115"/>
                  </a:cubicBezTo>
                  <a:cubicBezTo>
                    <a:pt x="18" y="79"/>
                    <a:pt x="18" y="79"/>
                    <a:pt x="18" y="79"/>
                  </a:cubicBezTo>
                  <a:cubicBezTo>
                    <a:pt x="19" y="79"/>
                    <a:pt x="19" y="79"/>
                    <a:pt x="19" y="79"/>
                  </a:cubicBezTo>
                  <a:cubicBezTo>
                    <a:pt x="23" y="86"/>
                    <a:pt x="27" y="89"/>
                    <a:pt x="34" y="89"/>
                  </a:cubicBezTo>
                  <a:cubicBezTo>
                    <a:pt x="49" y="89"/>
                    <a:pt x="56" y="76"/>
                    <a:pt x="56" y="45"/>
                  </a:cubicBezTo>
                  <a:cubicBezTo>
                    <a:pt x="56" y="13"/>
                    <a:pt x="49" y="0"/>
                    <a:pt x="34" y="0"/>
                  </a:cubicBezTo>
                  <a:cubicBezTo>
                    <a:pt x="27" y="0"/>
                    <a:pt x="22" y="3"/>
                    <a:pt x="18" y="11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0" y="2"/>
                    <a:pt x="0" y="2"/>
                    <a:pt x="0" y="2"/>
                  </a:cubicBezTo>
                  <a:lnTo>
                    <a:pt x="0" y="115"/>
                  </a:lnTo>
                  <a:close/>
                </a:path>
              </a:pathLst>
            </a:custGeom>
            <a:solidFill>
              <a:srgbClr val="007C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28" name="Freeform 11">
              <a:extLst>
                <a:ext uri="{FF2B5EF4-FFF2-40B4-BE49-F238E27FC236}">
                  <a16:creationId xmlns:a16="http://schemas.microsoft.com/office/drawing/2014/main" id="{9B95EE90-4205-4235-AA42-A385872C2D26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10931465" y="2489206"/>
              <a:ext cx="206374" cy="333376"/>
            </a:xfrm>
            <a:custGeom>
              <a:avLst/>
              <a:gdLst>
                <a:gd name="T0" fmla="*/ 67541 w 55"/>
                <a:gd name="T1" fmla="*/ 104882 h 89"/>
                <a:gd name="T2" fmla="*/ 67541 w 55"/>
                <a:gd name="T3" fmla="*/ 97390 h 89"/>
                <a:gd name="T4" fmla="*/ 101311 w 55"/>
                <a:gd name="T5" fmla="*/ 56187 h 89"/>
                <a:gd name="T6" fmla="*/ 131330 w 55"/>
                <a:gd name="T7" fmla="*/ 93645 h 89"/>
                <a:gd name="T8" fmla="*/ 105064 w 55"/>
                <a:gd name="T9" fmla="*/ 131103 h 89"/>
                <a:gd name="T10" fmla="*/ 67541 w 55"/>
                <a:gd name="T11" fmla="*/ 142340 h 89"/>
                <a:gd name="T12" fmla="*/ 0 w 55"/>
                <a:gd name="T13" fmla="*/ 243476 h 89"/>
                <a:gd name="T14" fmla="*/ 63789 w 55"/>
                <a:gd name="T15" fmla="*/ 333375 h 89"/>
                <a:gd name="T16" fmla="*/ 131330 w 55"/>
                <a:gd name="T17" fmla="*/ 292171 h 89"/>
                <a:gd name="T18" fmla="*/ 131330 w 55"/>
                <a:gd name="T19" fmla="*/ 292171 h 89"/>
                <a:gd name="T20" fmla="*/ 142586 w 55"/>
                <a:gd name="T21" fmla="*/ 325883 h 89"/>
                <a:gd name="T22" fmla="*/ 206375 w 55"/>
                <a:gd name="T23" fmla="*/ 325883 h 89"/>
                <a:gd name="T24" fmla="*/ 198870 w 55"/>
                <a:gd name="T25" fmla="*/ 265951 h 89"/>
                <a:gd name="T26" fmla="*/ 198870 w 55"/>
                <a:gd name="T27" fmla="*/ 97390 h 89"/>
                <a:gd name="T28" fmla="*/ 101311 w 55"/>
                <a:gd name="T29" fmla="*/ 0 h 89"/>
                <a:gd name="T30" fmla="*/ 7505 w 55"/>
                <a:gd name="T31" fmla="*/ 97390 h 89"/>
                <a:gd name="T32" fmla="*/ 7505 w 55"/>
                <a:gd name="T33" fmla="*/ 104882 h 89"/>
                <a:gd name="T34" fmla="*/ 67541 w 55"/>
                <a:gd name="T35" fmla="*/ 104882 h 89"/>
                <a:gd name="T36" fmla="*/ 131330 w 55"/>
                <a:gd name="T37" fmla="*/ 228493 h 89"/>
                <a:gd name="T38" fmla="*/ 93807 w 55"/>
                <a:gd name="T39" fmla="*/ 280934 h 89"/>
                <a:gd name="T40" fmla="*/ 90055 w 55"/>
                <a:gd name="T41" fmla="*/ 280934 h 89"/>
                <a:gd name="T42" fmla="*/ 63789 w 55"/>
                <a:gd name="T43" fmla="*/ 235985 h 89"/>
                <a:gd name="T44" fmla="*/ 105064 w 55"/>
                <a:gd name="T45" fmla="*/ 183544 h 89"/>
                <a:gd name="T46" fmla="*/ 135082 w 55"/>
                <a:gd name="T47" fmla="*/ 168560 h 89"/>
                <a:gd name="T48" fmla="*/ 135082 w 55"/>
                <a:gd name="T49" fmla="*/ 228493 h 89"/>
                <a:gd name="T50" fmla="*/ 131330 w 55"/>
                <a:gd name="T51" fmla="*/ 228493 h 8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55" h="89">
                  <a:moveTo>
                    <a:pt x="18" y="28"/>
                  </a:moveTo>
                  <a:cubicBezTo>
                    <a:pt x="18" y="26"/>
                    <a:pt x="18" y="26"/>
                    <a:pt x="18" y="26"/>
                  </a:cubicBezTo>
                  <a:cubicBezTo>
                    <a:pt x="18" y="19"/>
                    <a:pt x="21" y="15"/>
                    <a:pt x="27" y="15"/>
                  </a:cubicBezTo>
                  <a:cubicBezTo>
                    <a:pt x="32" y="15"/>
                    <a:pt x="35" y="19"/>
                    <a:pt x="35" y="25"/>
                  </a:cubicBezTo>
                  <a:cubicBezTo>
                    <a:pt x="36" y="30"/>
                    <a:pt x="33" y="34"/>
                    <a:pt x="28" y="35"/>
                  </a:cubicBezTo>
                  <a:cubicBezTo>
                    <a:pt x="18" y="38"/>
                    <a:pt x="18" y="38"/>
                    <a:pt x="18" y="38"/>
                  </a:cubicBezTo>
                  <a:cubicBezTo>
                    <a:pt x="5" y="42"/>
                    <a:pt x="0" y="49"/>
                    <a:pt x="0" y="65"/>
                  </a:cubicBezTo>
                  <a:cubicBezTo>
                    <a:pt x="0" y="76"/>
                    <a:pt x="4" y="89"/>
                    <a:pt x="17" y="89"/>
                  </a:cubicBezTo>
                  <a:cubicBezTo>
                    <a:pt x="26" y="89"/>
                    <a:pt x="31" y="87"/>
                    <a:pt x="35" y="78"/>
                  </a:cubicBezTo>
                  <a:cubicBezTo>
                    <a:pt x="35" y="78"/>
                    <a:pt x="35" y="78"/>
                    <a:pt x="35" y="78"/>
                  </a:cubicBezTo>
                  <a:cubicBezTo>
                    <a:pt x="36" y="81"/>
                    <a:pt x="37" y="84"/>
                    <a:pt x="38" y="87"/>
                  </a:cubicBezTo>
                  <a:cubicBezTo>
                    <a:pt x="55" y="87"/>
                    <a:pt x="55" y="87"/>
                    <a:pt x="55" y="87"/>
                  </a:cubicBezTo>
                  <a:cubicBezTo>
                    <a:pt x="53" y="82"/>
                    <a:pt x="53" y="76"/>
                    <a:pt x="53" y="71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53" y="11"/>
                    <a:pt x="49" y="0"/>
                    <a:pt x="27" y="0"/>
                  </a:cubicBezTo>
                  <a:cubicBezTo>
                    <a:pt x="13" y="0"/>
                    <a:pt x="2" y="6"/>
                    <a:pt x="2" y="26"/>
                  </a:cubicBezTo>
                  <a:cubicBezTo>
                    <a:pt x="2" y="28"/>
                    <a:pt x="2" y="28"/>
                    <a:pt x="2" y="28"/>
                  </a:cubicBezTo>
                  <a:lnTo>
                    <a:pt x="18" y="28"/>
                  </a:lnTo>
                  <a:close/>
                  <a:moveTo>
                    <a:pt x="35" y="61"/>
                  </a:moveTo>
                  <a:cubicBezTo>
                    <a:pt x="36" y="68"/>
                    <a:pt x="31" y="74"/>
                    <a:pt x="25" y="75"/>
                  </a:cubicBezTo>
                  <a:cubicBezTo>
                    <a:pt x="24" y="75"/>
                    <a:pt x="24" y="75"/>
                    <a:pt x="24" y="75"/>
                  </a:cubicBezTo>
                  <a:cubicBezTo>
                    <a:pt x="19" y="75"/>
                    <a:pt x="17" y="69"/>
                    <a:pt x="17" y="63"/>
                  </a:cubicBezTo>
                  <a:cubicBezTo>
                    <a:pt x="16" y="56"/>
                    <a:pt x="21" y="50"/>
                    <a:pt x="28" y="49"/>
                  </a:cubicBezTo>
                  <a:cubicBezTo>
                    <a:pt x="30" y="48"/>
                    <a:pt x="33" y="46"/>
                    <a:pt x="36" y="45"/>
                  </a:cubicBezTo>
                  <a:cubicBezTo>
                    <a:pt x="36" y="61"/>
                    <a:pt x="36" y="61"/>
                    <a:pt x="36" y="61"/>
                  </a:cubicBezTo>
                  <a:lnTo>
                    <a:pt x="35" y="61"/>
                  </a:lnTo>
                  <a:close/>
                </a:path>
              </a:pathLst>
            </a:custGeom>
            <a:solidFill>
              <a:srgbClr val="007C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29" name="Freeform 12">
              <a:extLst>
                <a:ext uri="{FF2B5EF4-FFF2-40B4-BE49-F238E27FC236}">
                  <a16:creationId xmlns:a16="http://schemas.microsoft.com/office/drawing/2014/main" id="{4D10F372-1620-4B54-BD42-998FC4A7F40D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11166415" y="2489206"/>
              <a:ext cx="211137" cy="431802"/>
            </a:xfrm>
            <a:custGeom>
              <a:avLst/>
              <a:gdLst>
                <a:gd name="T0" fmla="*/ 71636 w 56"/>
                <a:gd name="T1" fmla="*/ 168965 h 115"/>
                <a:gd name="T2" fmla="*/ 105569 w 56"/>
                <a:gd name="T3" fmla="*/ 63831 h 115"/>
                <a:gd name="T4" fmla="*/ 143272 w 56"/>
                <a:gd name="T5" fmla="*/ 168965 h 115"/>
                <a:gd name="T6" fmla="*/ 105569 w 56"/>
                <a:gd name="T7" fmla="*/ 274099 h 115"/>
                <a:gd name="T8" fmla="*/ 71636 w 56"/>
                <a:gd name="T9" fmla="*/ 168965 h 115"/>
                <a:gd name="T10" fmla="*/ 0 w 56"/>
                <a:gd name="T11" fmla="*/ 431800 h 115"/>
                <a:gd name="T12" fmla="*/ 71636 w 56"/>
                <a:gd name="T13" fmla="*/ 431800 h 115"/>
                <a:gd name="T14" fmla="*/ 71636 w 56"/>
                <a:gd name="T15" fmla="*/ 296628 h 115"/>
                <a:gd name="T16" fmla="*/ 71636 w 56"/>
                <a:gd name="T17" fmla="*/ 296628 h 115"/>
                <a:gd name="T18" fmla="*/ 128191 w 56"/>
                <a:gd name="T19" fmla="*/ 334176 h 115"/>
                <a:gd name="T20" fmla="*/ 211138 w 56"/>
                <a:gd name="T21" fmla="*/ 168965 h 115"/>
                <a:gd name="T22" fmla="*/ 128191 w 56"/>
                <a:gd name="T23" fmla="*/ 0 h 115"/>
                <a:gd name="T24" fmla="*/ 67866 w 56"/>
                <a:gd name="T25" fmla="*/ 41303 h 115"/>
                <a:gd name="T26" fmla="*/ 67866 w 56"/>
                <a:gd name="T27" fmla="*/ 41303 h 115"/>
                <a:gd name="T28" fmla="*/ 67866 w 56"/>
                <a:gd name="T29" fmla="*/ 7510 h 115"/>
                <a:gd name="T30" fmla="*/ 0 w 56"/>
                <a:gd name="T31" fmla="*/ 7510 h 115"/>
                <a:gd name="T32" fmla="*/ 0 w 56"/>
                <a:gd name="T33" fmla="*/ 431800 h 11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56" h="115">
                  <a:moveTo>
                    <a:pt x="19" y="45"/>
                  </a:moveTo>
                  <a:cubicBezTo>
                    <a:pt x="19" y="26"/>
                    <a:pt x="20" y="17"/>
                    <a:pt x="28" y="17"/>
                  </a:cubicBezTo>
                  <a:cubicBezTo>
                    <a:pt x="37" y="17"/>
                    <a:pt x="38" y="26"/>
                    <a:pt x="38" y="45"/>
                  </a:cubicBezTo>
                  <a:cubicBezTo>
                    <a:pt x="38" y="63"/>
                    <a:pt x="36" y="73"/>
                    <a:pt x="28" y="73"/>
                  </a:cubicBezTo>
                  <a:cubicBezTo>
                    <a:pt x="20" y="73"/>
                    <a:pt x="19" y="63"/>
                    <a:pt x="19" y="45"/>
                  </a:cubicBezTo>
                  <a:close/>
                  <a:moveTo>
                    <a:pt x="0" y="115"/>
                  </a:moveTo>
                  <a:cubicBezTo>
                    <a:pt x="19" y="115"/>
                    <a:pt x="19" y="115"/>
                    <a:pt x="19" y="115"/>
                  </a:cubicBezTo>
                  <a:cubicBezTo>
                    <a:pt x="19" y="79"/>
                    <a:pt x="19" y="79"/>
                    <a:pt x="19" y="79"/>
                  </a:cubicBezTo>
                  <a:cubicBezTo>
                    <a:pt x="19" y="79"/>
                    <a:pt x="19" y="79"/>
                    <a:pt x="19" y="79"/>
                  </a:cubicBezTo>
                  <a:cubicBezTo>
                    <a:pt x="22" y="85"/>
                    <a:pt x="28" y="89"/>
                    <a:pt x="34" y="89"/>
                  </a:cubicBezTo>
                  <a:cubicBezTo>
                    <a:pt x="49" y="89"/>
                    <a:pt x="56" y="76"/>
                    <a:pt x="56" y="45"/>
                  </a:cubicBezTo>
                  <a:cubicBezTo>
                    <a:pt x="56" y="13"/>
                    <a:pt x="49" y="0"/>
                    <a:pt x="34" y="0"/>
                  </a:cubicBezTo>
                  <a:cubicBezTo>
                    <a:pt x="27" y="0"/>
                    <a:pt x="22" y="3"/>
                    <a:pt x="18" y="11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15"/>
                    <a:pt x="0" y="115"/>
                    <a:pt x="0" y="115"/>
                  </a:cubicBezTo>
                  <a:close/>
                </a:path>
              </a:pathLst>
            </a:custGeom>
            <a:solidFill>
              <a:srgbClr val="007C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30" name="Freeform 13">
              <a:extLst>
                <a:ext uri="{FF2B5EF4-FFF2-40B4-BE49-F238E27FC236}">
                  <a16:creationId xmlns:a16="http://schemas.microsoft.com/office/drawing/2014/main" id="{71F86BD5-E3EA-44FD-B783-A701EB9C9555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1396601" y="2489206"/>
              <a:ext cx="198437" cy="333376"/>
            </a:xfrm>
            <a:custGeom>
              <a:avLst/>
              <a:gdLst>
                <a:gd name="T0" fmla="*/ 0 w 53"/>
                <a:gd name="T1" fmla="*/ 221001 h 89"/>
                <a:gd name="T2" fmla="*/ 0 w 53"/>
                <a:gd name="T3" fmla="*/ 232239 h 89"/>
                <a:gd name="T4" fmla="*/ 101091 w 53"/>
                <a:gd name="T5" fmla="*/ 333375 h 89"/>
                <a:gd name="T6" fmla="*/ 198438 w 53"/>
                <a:gd name="T7" fmla="*/ 235985 h 89"/>
                <a:gd name="T8" fmla="*/ 138532 w 53"/>
                <a:gd name="T9" fmla="*/ 142340 h 89"/>
                <a:gd name="T10" fmla="*/ 97347 w 53"/>
                <a:gd name="T11" fmla="*/ 127357 h 89"/>
                <a:gd name="T12" fmla="*/ 67394 w 53"/>
                <a:gd name="T13" fmla="*/ 89899 h 89"/>
                <a:gd name="T14" fmla="*/ 97347 w 53"/>
                <a:gd name="T15" fmla="*/ 56187 h 89"/>
                <a:gd name="T16" fmla="*/ 101091 w 53"/>
                <a:gd name="T17" fmla="*/ 56187 h 89"/>
                <a:gd name="T18" fmla="*/ 131044 w 53"/>
                <a:gd name="T19" fmla="*/ 104882 h 89"/>
                <a:gd name="T20" fmla="*/ 190950 w 53"/>
                <a:gd name="T21" fmla="*/ 104882 h 89"/>
                <a:gd name="T22" fmla="*/ 190950 w 53"/>
                <a:gd name="T23" fmla="*/ 89899 h 89"/>
                <a:gd name="T24" fmla="*/ 101091 w 53"/>
                <a:gd name="T25" fmla="*/ 0 h 89"/>
                <a:gd name="T26" fmla="*/ 3744 w 53"/>
                <a:gd name="T27" fmla="*/ 93645 h 89"/>
                <a:gd name="T28" fmla="*/ 59906 w 53"/>
                <a:gd name="T29" fmla="*/ 183544 h 89"/>
                <a:gd name="T30" fmla="*/ 108579 w 53"/>
                <a:gd name="T31" fmla="*/ 206018 h 89"/>
                <a:gd name="T32" fmla="*/ 134788 w 53"/>
                <a:gd name="T33" fmla="*/ 239730 h 89"/>
                <a:gd name="T34" fmla="*/ 97347 w 53"/>
                <a:gd name="T35" fmla="*/ 280934 h 89"/>
                <a:gd name="T36" fmla="*/ 63650 w 53"/>
                <a:gd name="T37" fmla="*/ 232239 h 89"/>
                <a:gd name="T38" fmla="*/ 63650 w 53"/>
                <a:gd name="T39" fmla="*/ 221001 h 89"/>
                <a:gd name="T40" fmla="*/ 0 w 53"/>
                <a:gd name="T41" fmla="*/ 221001 h 89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53" h="89">
                  <a:moveTo>
                    <a:pt x="0" y="59"/>
                  </a:moveTo>
                  <a:cubicBezTo>
                    <a:pt x="0" y="62"/>
                    <a:pt x="0" y="62"/>
                    <a:pt x="0" y="62"/>
                  </a:cubicBezTo>
                  <a:cubicBezTo>
                    <a:pt x="0" y="79"/>
                    <a:pt x="6" y="89"/>
                    <a:pt x="27" y="89"/>
                  </a:cubicBezTo>
                  <a:cubicBezTo>
                    <a:pt x="42" y="89"/>
                    <a:pt x="53" y="81"/>
                    <a:pt x="53" y="63"/>
                  </a:cubicBezTo>
                  <a:cubicBezTo>
                    <a:pt x="53" y="50"/>
                    <a:pt x="49" y="43"/>
                    <a:pt x="37" y="38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0" y="31"/>
                    <a:pt x="18" y="28"/>
                    <a:pt x="18" y="24"/>
                  </a:cubicBezTo>
                  <a:cubicBezTo>
                    <a:pt x="18" y="19"/>
                    <a:pt x="21" y="15"/>
                    <a:pt x="26" y="15"/>
                  </a:cubicBezTo>
                  <a:cubicBezTo>
                    <a:pt x="26" y="15"/>
                    <a:pt x="27" y="15"/>
                    <a:pt x="27" y="15"/>
                  </a:cubicBezTo>
                  <a:cubicBezTo>
                    <a:pt x="33" y="15"/>
                    <a:pt x="35" y="19"/>
                    <a:pt x="35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4"/>
                    <a:pt x="51" y="24"/>
                    <a:pt x="51" y="24"/>
                  </a:cubicBezTo>
                  <a:cubicBezTo>
                    <a:pt x="51" y="9"/>
                    <a:pt x="43" y="0"/>
                    <a:pt x="27" y="0"/>
                  </a:cubicBezTo>
                  <a:cubicBezTo>
                    <a:pt x="8" y="0"/>
                    <a:pt x="1" y="11"/>
                    <a:pt x="1" y="25"/>
                  </a:cubicBezTo>
                  <a:cubicBezTo>
                    <a:pt x="0" y="36"/>
                    <a:pt x="6" y="46"/>
                    <a:pt x="16" y="49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33" y="56"/>
                    <a:pt x="36" y="60"/>
                    <a:pt x="36" y="64"/>
                  </a:cubicBezTo>
                  <a:cubicBezTo>
                    <a:pt x="36" y="71"/>
                    <a:pt x="32" y="75"/>
                    <a:pt x="26" y="75"/>
                  </a:cubicBezTo>
                  <a:cubicBezTo>
                    <a:pt x="20" y="75"/>
                    <a:pt x="17" y="70"/>
                    <a:pt x="17" y="62"/>
                  </a:cubicBezTo>
                  <a:cubicBezTo>
                    <a:pt x="17" y="59"/>
                    <a:pt x="17" y="59"/>
                    <a:pt x="17" y="59"/>
                  </a:cubicBezTo>
                  <a:lnTo>
                    <a:pt x="0" y="59"/>
                  </a:lnTo>
                  <a:close/>
                </a:path>
              </a:pathLst>
            </a:custGeom>
            <a:solidFill>
              <a:srgbClr val="007C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31" name="Freeform 14">
              <a:extLst>
                <a:ext uri="{FF2B5EF4-FFF2-40B4-BE49-F238E27FC236}">
                  <a16:creationId xmlns:a16="http://schemas.microsoft.com/office/drawing/2014/main" id="{ADFE98AF-C9D3-4765-BF18-25E103D42A0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1598213" y="2406656"/>
              <a:ext cx="146049" cy="412751"/>
            </a:xfrm>
            <a:custGeom>
              <a:avLst/>
              <a:gdLst>
                <a:gd name="T0" fmla="*/ 37449 w 39"/>
                <a:gd name="T1" fmla="*/ 90055 h 110"/>
                <a:gd name="T2" fmla="*/ 0 w 39"/>
                <a:gd name="T3" fmla="*/ 90055 h 110"/>
                <a:gd name="T4" fmla="*/ 0 w 39"/>
                <a:gd name="T5" fmla="*/ 146339 h 110"/>
                <a:gd name="T6" fmla="*/ 37449 w 39"/>
                <a:gd name="T7" fmla="*/ 146339 h 110"/>
                <a:gd name="T8" fmla="*/ 37449 w 39"/>
                <a:gd name="T9" fmla="*/ 330200 h 110"/>
                <a:gd name="T10" fmla="*/ 101112 w 39"/>
                <a:gd name="T11" fmla="*/ 412750 h 110"/>
                <a:gd name="T12" fmla="*/ 146050 w 39"/>
                <a:gd name="T13" fmla="*/ 408998 h 110"/>
                <a:gd name="T14" fmla="*/ 146050 w 39"/>
                <a:gd name="T15" fmla="*/ 352714 h 110"/>
                <a:gd name="T16" fmla="*/ 131071 w 39"/>
                <a:gd name="T17" fmla="*/ 352714 h 110"/>
                <a:gd name="T18" fmla="*/ 104856 w 39"/>
                <a:gd name="T19" fmla="*/ 318943 h 110"/>
                <a:gd name="T20" fmla="*/ 104856 w 39"/>
                <a:gd name="T21" fmla="*/ 146339 h 110"/>
                <a:gd name="T22" fmla="*/ 146050 w 39"/>
                <a:gd name="T23" fmla="*/ 146339 h 110"/>
                <a:gd name="T24" fmla="*/ 146050 w 39"/>
                <a:gd name="T25" fmla="*/ 90055 h 110"/>
                <a:gd name="T26" fmla="*/ 104856 w 39"/>
                <a:gd name="T27" fmla="*/ 90055 h 110"/>
                <a:gd name="T28" fmla="*/ 104856 w 39"/>
                <a:gd name="T29" fmla="*/ 0 h 110"/>
                <a:gd name="T30" fmla="*/ 37449 w 39"/>
                <a:gd name="T31" fmla="*/ 0 h 110"/>
                <a:gd name="T32" fmla="*/ 37449 w 39"/>
                <a:gd name="T33" fmla="*/ 90055 h 110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39" h="110">
                  <a:moveTo>
                    <a:pt x="10" y="24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88"/>
                    <a:pt x="10" y="88"/>
                    <a:pt x="10" y="88"/>
                  </a:cubicBezTo>
                  <a:cubicBezTo>
                    <a:pt x="10" y="105"/>
                    <a:pt x="12" y="110"/>
                    <a:pt x="27" y="110"/>
                  </a:cubicBezTo>
                  <a:cubicBezTo>
                    <a:pt x="31" y="110"/>
                    <a:pt x="35" y="110"/>
                    <a:pt x="39" y="109"/>
                  </a:cubicBezTo>
                  <a:cubicBezTo>
                    <a:pt x="39" y="94"/>
                    <a:pt x="39" y="94"/>
                    <a:pt x="39" y="94"/>
                  </a:cubicBezTo>
                  <a:cubicBezTo>
                    <a:pt x="37" y="94"/>
                    <a:pt x="36" y="94"/>
                    <a:pt x="35" y="94"/>
                  </a:cubicBezTo>
                  <a:cubicBezTo>
                    <a:pt x="29" y="94"/>
                    <a:pt x="28" y="92"/>
                    <a:pt x="28" y="85"/>
                  </a:cubicBezTo>
                  <a:cubicBezTo>
                    <a:pt x="28" y="39"/>
                    <a:pt x="28" y="39"/>
                    <a:pt x="28" y="39"/>
                  </a:cubicBezTo>
                  <a:cubicBezTo>
                    <a:pt x="39" y="39"/>
                    <a:pt x="39" y="39"/>
                    <a:pt x="39" y="39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24"/>
                    <a:pt x="10" y="24"/>
                    <a:pt x="10" y="24"/>
                  </a:cubicBezTo>
                  <a:close/>
                </a:path>
              </a:pathLst>
            </a:custGeom>
            <a:solidFill>
              <a:srgbClr val="007C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32" name="Rectangle 15">
              <a:extLst>
                <a:ext uri="{FF2B5EF4-FFF2-40B4-BE49-F238E27FC236}">
                  <a16:creationId xmlns:a16="http://schemas.microsoft.com/office/drawing/2014/main" id="{E33F97A9-BFC6-4A48-A8CE-2AFB8D24BA1C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9299523" y="3449643"/>
              <a:ext cx="2978134" cy="531814"/>
            </a:xfrm>
            <a:prstGeom prst="rect">
              <a:avLst/>
            </a:prstGeom>
            <a:solidFill>
              <a:srgbClr val="007C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endParaRPr lang="de-DE" altLang="de-DE" sz="1800"/>
            </a:p>
          </p:txBody>
        </p:sp>
        <p:sp>
          <p:nvSpPr>
            <p:cNvPr id="133" name="Freeform 16">
              <a:extLst>
                <a:ext uri="{FF2B5EF4-FFF2-40B4-BE49-F238E27FC236}">
                  <a16:creationId xmlns:a16="http://schemas.microsoft.com/office/drawing/2014/main" id="{3DFCF82A-A34D-4510-AD79-D77DCEA8663C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850386" y="3644906"/>
              <a:ext cx="76199" cy="127000"/>
            </a:xfrm>
            <a:custGeom>
              <a:avLst/>
              <a:gdLst>
                <a:gd name="T0" fmla="*/ 76200 w 20"/>
                <a:gd name="T1" fmla="*/ 127000 h 34"/>
                <a:gd name="T2" fmla="*/ 64770 w 20"/>
                <a:gd name="T3" fmla="*/ 127000 h 34"/>
                <a:gd name="T4" fmla="*/ 53340 w 20"/>
                <a:gd name="T5" fmla="*/ 127000 h 34"/>
                <a:gd name="T6" fmla="*/ 34290 w 20"/>
                <a:gd name="T7" fmla="*/ 123265 h 34"/>
                <a:gd name="T8" fmla="*/ 22860 w 20"/>
                <a:gd name="T9" fmla="*/ 112059 h 34"/>
                <a:gd name="T10" fmla="*/ 19050 w 20"/>
                <a:gd name="T11" fmla="*/ 97118 h 34"/>
                <a:gd name="T12" fmla="*/ 19050 w 20"/>
                <a:gd name="T13" fmla="*/ 44824 h 34"/>
                <a:gd name="T14" fmla="*/ 0 w 20"/>
                <a:gd name="T15" fmla="*/ 44824 h 34"/>
                <a:gd name="T16" fmla="*/ 0 w 20"/>
                <a:gd name="T17" fmla="*/ 26147 h 34"/>
                <a:gd name="T18" fmla="*/ 19050 w 20"/>
                <a:gd name="T19" fmla="*/ 26147 h 34"/>
                <a:gd name="T20" fmla="*/ 19050 w 20"/>
                <a:gd name="T21" fmla="*/ 0 h 34"/>
                <a:gd name="T22" fmla="*/ 41910 w 20"/>
                <a:gd name="T23" fmla="*/ 0 h 34"/>
                <a:gd name="T24" fmla="*/ 41910 w 20"/>
                <a:gd name="T25" fmla="*/ 26147 h 34"/>
                <a:gd name="T26" fmla="*/ 72390 w 20"/>
                <a:gd name="T27" fmla="*/ 26147 h 34"/>
                <a:gd name="T28" fmla="*/ 72390 w 20"/>
                <a:gd name="T29" fmla="*/ 44824 h 34"/>
                <a:gd name="T30" fmla="*/ 41910 w 20"/>
                <a:gd name="T31" fmla="*/ 44824 h 34"/>
                <a:gd name="T32" fmla="*/ 41910 w 20"/>
                <a:gd name="T33" fmla="*/ 93382 h 34"/>
                <a:gd name="T34" fmla="*/ 45720 w 20"/>
                <a:gd name="T35" fmla="*/ 100853 h 34"/>
                <a:gd name="T36" fmla="*/ 57150 w 20"/>
                <a:gd name="T37" fmla="*/ 108324 h 34"/>
                <a:gd name="T38" fmla="*/ 64770 w 20"/>
                <a:gd name="T39" fmla="*/ 108324 h 34"/>
                <a:gd name="T40" fmla="*/ 72390 w 20"/>
                <a:gd name="T41" fmla="*/ 104588 h 34"/>
                <a:gd name="T42" fmla="*/ 76200 w 20"/>
                <a:gd name="T43" fmla="*/ 127000 h 34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20" h="34">
                  <a:moveTo>
                    <a:pt x="20" y="34"/>
                  </a:moveTo>
                  <a:cubicBezTo>
                    <a:pt x="19" y="34"/>
                    <a:pt x="18" y="34"/>
                    <a:pt x="17" y="34"/>
                  </a:cubicBezTo>
                  <a:cubicBezTo>
                    <a:pt x="16" y="34"/>
                    <a:pt x="15" y="34"/>
                    <a:pt x="14" y="34"/>
                  </a:cubicBezTo>
                  <a:cubicBezTo>
                    <a:pt x="12" y="34"/>
                    <a:pt x="10" y="34"/>
                    <a:pt x="9" y="33"/>
                  </a:cubicBezTo>
                  <a:cubicBezTo>
                    <a:pt x="7" y="32"/>
                    <a:pt x="6" y="31"/>
                    <a:pt x="6" y="30"/>
                  </a:cubicBezTo>
                  <a:cubicBezTo>
                    <a:pt x="5" y="29"/>
                    <a:pt x="5" y="27"/>
                    <a:pt x="5" y="26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12"/>
                    <a:pt x="19" y="12"/>
                    <a:pt x="19" y="12"/>
                  </a:cubicBezTo>
                  <a:cubicBezTo>
                    <a:pt x="11" y="12"/>
                    <a:pt x="11" y="12"/>
                    <a:pt x="11" y="12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6"/>
                    <a:pt x="12" y="27"/>
                    <a:pt x="12" y="27"/>
                  </a:cubicBezTo>
                  <a:cubicBezTo>
                    <a:pt x="13" y="28"/>
                    <a:pt x="14" y="29"/>
                    <a:pt x="15" y="29"/>
                  </a:cubicBezTo>
                  <a:cubicBezTo>
                    <a:pt x="16" y="29"/>
                    <a:pt x="17" y="29"/>
                    <a:pt x="17" y="29"/>
                  </a:cubicBezTo>
                  <a:cubicBezTo>
                    <a:pt x="18" y="28"/>
                    <a:pt x="19" y="28"/>
                    <a:pt x="19" y="28"/>
                  </a:cubicBezTo>
                  <a:lnTo>
                    <a:pt x="20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34" name="Freeform 17">
              <a:extLst>
                <a:ext uri="{FF2B5EF4-FFF2-40B4-BE49-F238E27FC236}">
                  <a16:creationId xmlns:a16="http://schemas.microsoft.com/office/drawing/2014/main" id="{9220066E-D48C-4539-9BE8-D3979F724E2C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944049" y="3621093"/>
              <a:ext cx="90487" cy="150812"/>
            </a:xfrm>
            <a:custGeom>
              <a:avLst/>
              <a:gdLst>
                <a:gd name="T0" fmla="*/ 22622 w 24"/>
                <a:gd name="T1" fmla="*/ 41473 h 40"/>
                <a:gd name="T2" fmla="*/ 22622 w 24"/>
                <a:gd name="T3" fmla="*/ 52784 h 40"/>
                <a:gd name="T4" fmla="*/ 22622 w 24"/>
                <a:gd name="T5" fmla="*/ 64095 h 40"/>
                <a:gd name="T6" fmla="*/ 22622 w 24"/>
                <a:gd name="T7" fmla="*/ 64095 h 40"/>
                <a:gd name="T8" fmla="*/ 30163 w 24"/>
                <a:gd name="T9" fmla="*/ 56555 h 40"/>
                <a:gd name="T10" fmla="*/ 37703 w 24"/>
                <a:gd name="T11" fmla="*/ 52784 h 40"/>
                <a:gd name="T12" fmla="*/ 45244 w 24"/>
                <a:gd name="T13" fmla="*/ 49014 h 40"/>
                <a:gd name="T14" fmla="*/ 56555 w 24"/>
                <a:gd name="T15" fmla="*/ 49014 h 40"/>
                <a:gd name="T16" fmla="*/ 64096 w 24"/>
                <a:gd name="T17" fmla="*/ 49014 h 40"/>
                <a:gd name="T18" fmla="*/ 71636 w 24"/>
                <a:gd name="T19" fmla="*/ 52784 h 40"/>
                <a:gd name="T20" fmla="*/ 79177 w 24"/>
                <a:gd name="T21" fmla="*/ 56555 h 40"/>
                <a:gd name="T22" fmla="*/ 86718 w 24"/>
                <a:gd name="T23" fmla="*/ 64095 h 40"/>
                <a:gd name="T24" fmla="*/ 90488 w 24"/>
                <a:gd name="T25" fmla="*/ 75406 h 40"/>
                <a:gd name="T26" fmla="*/ 90488 w 24"/>
                <a:gd name="T27" fmla="*/ 86717 h 40"/>
                <a:gd name="T28" fmla="*/ 90488 w 24"/>
                <a:gd name="T29" fmla="*/ 150812 h 40"/>
                <a:gd name="T30" fmla="*/ 64096 w 24"/>
                <a:gd name="T31" fmla="*/ 150812 h 40"/>
                <a:gd name="T32" fmla="*/ 64096 w 24"/>
                <a:gd name="T33" fmla="*/ 90487 h 40"/>
                <a:gd name="T34" fmla="*/ 64096 w 24"/>
                <a:gd name="T35" fmla="*/ 82947 h 40"/>
                <a:gd name="T36" fmla="*/ 64096 w 24"/>
                <a:gd name="T37" fmla="*/ 75406 h 40"/>
                <a:gd name="T38" fmla="*/ 56555 w 24"/>
                <a:gd name="T39" fmla="*/ 71636 h 40"/>
                <a:gd name="T40" fmla="*/ 49014 w 24"/>
                <a:gd name="T41" fmla="*/ 67865 h 40"/>
                <a:gd name="T42" fmla="*/ 33933 w 24"/>
                <a:gd name="T43" fmla="*/ 71636 h 40"/>
                <a:gd name="T44" fmla="*/ 22622 w 24"/>
                <a:gd name="T45" fmla="*/ 82947 h 40"/>
                <a:gd name="T46" fmla="*/ 22622 w 24"/>
                <a:gd name="T47" fmla="*/ 150812 h 40"/>
                <a:gd name="T48" fmla="*/ 0 w 24"/>
                <a:gd name="T49" fmla="*/ 150812 h 40"/>
                <a:gd name="T50" fmla="*/ 0 w 24"/>
                <a:gd name="T51" fmla="*/ 0 h 40"/>
                <a:gd name="T52" fmla="*/ 22622 w 24"/>
                <a:gd name="T53" fmla="*/ 0 h 40"/>
                <a:gd name="T54" fmla="*/ 22622 w 24"/>
                <a:gd name="T55" fmla="*/ 41473 h 4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24" h="40">
                  <a:moveTo>
                    <a:pt x="6" y="11"/>
                  </a:moveTo>
                  <a:cubicBezTo>
                    <a:pt x="6" y="12"/>
                    <a:pt x="6" y="13"/>
                    <a:pt x="6" y="14"/>
                  </a:cubicBezTo>
                  <a:cubicBezTo>
                    <a:pt x="6" y="15"/>
                    <a:pt x="6" y="16"/>
                    <a:pt x="6" y="17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7" y="16"/>
                    <a:pt x="7" y="16"/>
                    <a:pt x="8" y="15"/>
                  </a:cubicBezTo>
                  <a:cubicBezTo>
                    <a:pt x="8" y="15"/>
                    <a:pt x="9" y="14"/>
                    <a:pt x="10" y="14"/>
                  </a:cubicBezTo>
                  <a:cubicBezTo>
                    <a:pt x="10" y="14"/>
                    <a:pt x="11" y="13"/>
                    <a:pt x="12" y="13"/>
                  </a:cubicBezTo>
                  <a:cubicBezTo>
                    <a:pt x="13" y="13"/>
                    <a:pt x="14" y="13"/>
                    <a:pt x="15" y="13"/>
                  </a:cubicBezTo>
                  <a:cubicBezTo>
                    <a:pt x="15" y="13"/>
                    <a:pt x="16" y="13"/>
                    <a:pt x="17" y="13"/>
                  </a:cubicBezTo>
                  <a:cubicBezTo>
                    <a:pt x="18" y="13"/>
                    <a:pt x="19" y="13"/>
                    <a:pt x="19" y="14"/>
                  </a:cubicBezTo>
                  <a:cubicBezTo>
                    <a:pt x="20" y="14"/>
                    <a:pt x="21" y="15"/>
                    <a:pt x="21" y="15"/>
                  </a:cubicBezTo>
                  <a:cubicBezTo>
                    <a:pt x="22" y="16"/>
                    <a:pt x="22" y="16"/>
                    <a:pt x="23" y="17"/>
                  </a:cubicBezTo>
                  <a:cubicBezTo>
                    <a:pt x="23" y="18"/>
                    <a:pt x="23" y="19"/>
                    <a:pt x="24" y="20"/>
                  </a:cubicBezTo>
                  <a:cubicBezTo>
                    <a:pt x="24" y="21"/>
                    <a:pt x="24" y="22"/>
                    <a:pt x="24" y="23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17" y="40"/>
                    <a:pt x="17" y="40"/>
                    <a:pt x="17" y="40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3"/>
                    <a:pt x="17" y="22"/>
                    <a:pt x="17" y="22"/>
                  </a:cubicBezTo>
                  <a:cubicBezTo>
                    <a:pt x="17" y="21"/>
                    <a:pt x="17" y="21"/>
                    <a:pt x="17" y="20"/>
                  </a:cubicBezTo>
                  <a:cubicBezTo>
                    <a:pt x="17" y="20"/>
                    <a:pt x="16" y="19"/>
                    <a:pt x="15" y="19"/>
                  </a:cubicBezTo>
                  <a:cubicBezTo>
                    <a:pt x="14" y="18"/>
                    <a:pt x="14" y="18"/>
                    <a:pt x="13" y="18"/>
                  </a:cubicBezTo>
                  <a:cubicBezTo>
                    <a:pt x="12" y="18"/>
                    <a:pt x="10" y="18"/>
                    <a:pt x="9" y="19"/>
                  </a:cubicBezTo>
                  <a:cubicBezTo>
                    <a:pt x="8" y="20"/>
                    <a:pt x="7" y="20"/>
                    <a:pt x="6" y="22"/>
                  </a:cubicBezTo>
                  <a:cubicBezTo>
                    <a:pt x="6" y="40"/>
                    <a:pt x="6" y="40"/>
                    <a:pt x="6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" y="0"/>
                    <a:pt x="6" y="0"/>
                    <a:pt x="6" y="0"/>
                  </a:cubicBezTo>
                  <a:lnTo>
                    <a:pt x="6" y="1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35" name="Freeform 18">
              <a:extLst>
                <a:ext uri="{FF2B5EF4-FFF2-40B4-BE49-F238E27FC236}">
                  <a16:creationId xmlns:a16="http://schemas.microsoft.com/office/drawing/2014/main" id="{FDADB27E-8BCC-48F9-B387-8876E11962C9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10053585" y="3670306"/>
              <a:ext cx="90487" cy="101600"/>
            </a:xfrm>
            <a:custGeom>
              <a:avLst/>
              <a:gdLst>
                <a:gd name="T0" fmla="*/ 56555 w 24"/>
                <a:gd name="T1" fmla="*/ 82785 h 27"/>
                <a:gd name="T2" fmla="*/ 71636 w 24"/>
                <a:gd name="T3" fmla="*/ 82785 h 27"/>
                <a:gd name="T4" fmla="*/ 86718 w 24"/>
                <a:gd name="T5" fmla="*/ 79022 h 27"/>
                <a:gd name="T6" fmla="*/ 86718 w 24"/>
                <a:gd name="T7" fmla="*/ 97837 h 27"/>
                <a:gd name="T8" fmla="*/ 71636 w 24"/>
                <a:gd name="T9" fmla="*/ 101600 h 27"/>
                <a:gd name="T10" fmla="*/ 52785 w 24"/>
                <a:gd name="T11" fmla="*/ 101600 h 27"/>
                <a:gd name="T12" fmla="*/ 33933 w 24"/>
                <a:gd name="T13" fmla="*/ 101600 h 27"/>
                <a:gd name="T14" fmla="*/ 15081 w 24"/>
                <a:gd name="T15" fmla="*/ 90311 h 27"/>
                <a:gd name="T16" fmla="*/ 3770 w 24"/>
                <a:gd name="T17" fmla="*/ 75259 h 27"/>
                <a:gd name="T18" fmla="*/ 0 w 24"/>
                <a:gd name="T19" fmla="*/ 52681 h 27"/>
                <a:gd name="T20" fmla="*/ 3770 w 24"/>
                <a:gd name="T21" fmla="*/ 30104 h 27"/>
                <a:gd name="T22" fmla="*/ 15081 w 24"/>
                <a:gd name="T23" fmla="*/ 11289 h 27"/>
                <a:gd name="T24" fmla="*/ 30163 w 24"/>
                <a:gd name="T25" fmla="*/ 3763 h 27"/>
                <a:gd name="T26" fmla="*/ 49014 w 24"/>
                <a:gd name="T27" fmla="*/ 0 h 27"/>
                <a:gd name="T28" fmla="*/ 64096 w 24"/>
                <a:gd name="T29" fmla="*/ 3763 h 27"/>
                <a:gd name="T30" fmla="*/ 79177 w 24"/>
                <a:gd name="T31" fmla="*/ 11289 h 27"/>
                <a:gd name="T32" fmla="*/ 86718 w 24"/>
                <a:gd name="T33" fmla="*/ 26341 h 27"/>
                <a:gd name="T34" fmla="*/ 90488 w 24"/>
                <a:gd name="T35" fmla="*/ 48919 h 27"/>
                <a:gd name="T36" fmla="*/ 90488 w 24"/>
                <a:gd name="T37" fmla="*/ 56444 h 27"/>
                <a:gd name="T38" fmla="*/ 26392 w 24"/>
                <a:gd name="T39" fmla="*/ 56444 h 27"/>
                <a:gd name="T40" fmla="*/ 30163 w 24"/>
                <a:gd name="T41" fmla="*/ 67733 h 27"/>
                <a:gd name="T42" fmla="*/ 37703 w 24"/>
                <a:gd name="T43" fmla="*/ 79022 h 27"/>
                <a:gd name="T44" fmla="*/ 45244 w 24"/>
                <a:gd name="T45" fmla="*/ 82785 h 27"/>
                <a:gd name="T46" fmla="*/ 56555 w 24"/>
                <a:gd name="T47" fmla="*/ 82785 h 27"/>
                <a:gd name="T48" fmla="*/ 49014 w 24"/>
                <a:gd name="T49" fmla="*/ 18815 h 27"/>
                <a:gd name="T50" fmla="*/ 37703 w 24"/>
                <a:gd name="T51" fmla="*/ 18815 h 27"/>
                <a:gd name="T52" fmla="*/ 33933 w 24"/>
                <a:gd name="T53" fmla="*/ 22578 h 27"/>
                <a:gd name="T54" fmla="*/ 30163 w 24"/>
                <a:gd name="T55" fmla="*/ 30104 h 27"/>
                <a:gd name="T56" fmla="*/ 26392 w 24"/>
                <a:gd name="T57" fmla="*/ 37630 h 27"/>
                <a:gd name="T58" fmla="*/ 67866 w 24"/>
                <a:gd name="T59" fmla="*/ 37630 h 27"/>
                <a:gd name="T60" fmla="*/ 64096 w 24"/>
                <a:gd name="T61" fmla="*/ 30104 h 27"/>
                <a:gd name="T62" fmla="*/ 60325 w 24"/>
                <a:gd name="T63" fmla="*/ 22578 h 27"/>
                <a:gd name="T64" fmla="*/ 49014 w 24"/>
                <a:gd name="T65" fmla="*/ 18815 h 2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4" h="27">
                  <a:moveTo>
                    <a:pt x="15" y="22"/>
                  </a:moveTo>
                  <a:cubicBezTo>
                    <a:pt x="17" y="22"/>
                    <a:pt x="18" y="22"/>
                    <a:pt x="19" y="22"/>
                  </a:cubicBezTo>
                  <a:cubicBezTo>
                    <a:pt x="21" y="21"/>
                    <a:pt x="22" y="21"/>
                    <a:pt x="23" y="21"/>
                  </a:cubicBezTo>
                  <a:cubicBezTo>
                    <a:pt x="23" y="26"/>
                    <a:pt x="23" y="26"/>
                    <a:pt x="23" y="26"/>
                  </a:cubicBezTo>
                  <a:cubicBezTo>
                    <a:pt x="22" y="26"/>
                    <a:pt x="21" y="27"/>
                    <a:pt x="19" y="27"/>
                  </a:cubicBezTo>
                  <a:cubicBezTo>
                    <a:pt x="17" y="27"/>
                    <a:pt x="16" y="27"/>
                    <a:pt x="14" y="27"/>
                  </a:cubicBezTo>
                  <a:cubicBezTo>
                    <a:pt x="12" y="27"/>
                    <a:pt x="10" y="27"/>
                    <a:pt x="9" y="27"/>
                  </a:cubicBezTo>
                  <a:cubicBezTo>
                    <a:pt x="7" y="26"/>
                    <a:pt x="5" y="25"/>
                    <a:pt x="4" y="24"/>
                  </a:cubicBezTo>
                  <a:cubicBezTo>
                    <a:pt x="3" y="23"/>
                    <a:pt x="2" y="22"/>
                    <a:pt x="1" y="20"/>
                  </a:cubicBezTo>
                  <a:cubicBezTo>
                    <a:pt x="0" y="18"/>
                    <a:pt x="0" y="16"/>
                    <a:pt x="0" y="14"/>
                  </a:cubicBezTo>
                  <a:cubicBezTo>
                    <a:pt x="0" y="12"/>
                    <a:pt x="0" y="10"/>
                    <a:pt x="1" y="8"/>
                  </a:cubicBezTo>
                  <a:cubicBezTo>
                    <a:pt x="2" y="6"/>
                    <a:pt x="3" y="5"/>
                    <a:pt x="4" y="3"/>
                  </a:cubicBezTo>
                  <a:cubicBezTo>
                    <a:pt x="5" y="2"/>
                    <a:pt x="6" y="1"/>
                    <a:pt x="8" y="1"/>
                  </a:cubicBezTo>
                  <a:cubicBezTo>
                    <a:pt x="9" y="0"/>
                    <a:pt x="11" y="0"/>
                    <a:pt x="13" y="0"/>
                  </a:cubicBezTo>
                  <a:cubicBezTo>
                    <a:pt x="14" y="0"/>
                    <a:pt x="16" y="0"/>
                    <a:pt x="17" y="1"/>
                  </a:cubicBezTo>
                  <a:cubicBezTo>
                    <a:pt x="19" y="1"/>
                    <a:pt x="20" y="2"/>
                    <a:pt x="21" y="3"/>
                  </a:cubicBezTo>
                  <a:cubicBezTo>
                    <a:pt x="22" y="4"/>
                    <a:pt x="23" y="5"/>
                    <a:pt x="23" y="7"/>
                  </a:cubicBezTo>
                  <a:cubicBezTo>
                    <a:pt x="24" y="9"/>
                    <a:pt x="24" y="11"/>
                    <a:pt x="24" y="13"/>
                  </a:cubicBezTo>
                  <a:cubicBezTo>
                    <a:pt x="24" y="14"/>
                    <a:pt x="24" y="15"/>
                    <a:pt x="24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6"/>
                    <a:pt x="7" y="17"/>
                    <a:pt x="8" y="18"/>
                  </a:cubicBezTo>
                  <a:cubicBezTo>
                    <a:pt x="8" y="19"/>
                    <a:pt x="9" y="20"/>
                    <a:pt x="10" y="21"/>
                  </a:cubicBezTo>
                  <a:cubicBezTo>
                    <a:pt x="10" y="21"/>
                    <a:pt x="11" y="21"/>
                    <a:pt x="12" y="22"/>
                  </a:cubicBezTo>
                  <a:cubicBezTo>
                    <a:pt x="13" y="22"/>
                    <a:pt x="14" y="22"/>
                    <a:pt x="15" y="22"/>
                  </a:cubicBezTo>
                  <a:close/>
                  <a:moveTo>
                    <a:pt x="13" y="5"/>
                  </a:moveTo>
                  <a:cubicBezTo>
                    <a:pt x="12" y="5"/>
                    <a:pt x="11" y="5"/>
                    <a:pt x="10" y="5"/>
                  </a:cubicBezTo>
                  <a:cubicBezTo>
                    <a:pt x="10" y="5"/>
                    <a:pt x="9" y="6"/>
                    <a:pt x="9" y="6"/>
                  </a:cubicBezTo>
                  <a:cubicBezTo>
                    <a:pt x="8" y="7"/>
                    <a:pt x="8" y="7"/>
                    <a:pt x="8" y="8"/>
                  </a:cubicBezTo>
                  <a:cubicBezTo>
                    <a:pt x="7" y="9"/>
                    <a:pt x="7" y="10"/>
                    <a:pt x="7" y="1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8" y="10"/>
                    <a:pt x="17" y="9"/>
                    <a:pt x="17" y="8"/>
                  </a:cubicBezTo>
                  <a:cubicBezTo>
                    <a:pt x="17" y="7"/>
                    <a:pt x="17" y="7"/>
                    <a:pt x="16" y="6"/>
                  </a:cubicBezTo>
                  <a:cubicBezTo>
                    <a:pt x="15" y="5"/>
                    <a:pt x="14" y="5"/>
                    <a:pt x="13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36" name="Freeform 19">
              <a:extLst>
                <a:ext uri="{FF2B5EF4-FFF2-40B4-BE49-F238E27FC236}">
                  <a16:creationId xmlns:a16="http://schemas.microsoft.com/office/drawing/2014/main" id="{3C972AF6-3C8A-4E87-8765-2A05DF849AFF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10202812" y="3670306"/>
              <a:ext cx="90487" cy="101600"/>
            </a:xfrm>
            <a:custGeom>
              <a:avLst/>
              <a:gdLst>
                <a:gd name="T0" fmla="*/ 56555 w 24"/>
                <a:gd name="T1" fmla="*/ 82785 h 27"/>
                <a:gd name="T2" fmla="*/ 71636 w 24"/>
                <a:gd name="T3" fmla="*/ 82785 h 27"/>
                <a:gd name="T4" fmla="*/ 86718 w 24"/>
                <a:gd name="T5" fmla="*/ 79022 h 27"/>
                <a:gd name="T6" fmla="*/ 86718 w 24"/>
                <a:gd name="T7" fmla="*/ 97837 h 27"/>
                <a:gd name="T8" fmla="*/ 71636 w 24"/>
                <a:gd name="T9" fmla="*/ 101600 h 27"/>
                <a:gd name="T10" fmla="*/ 52785 w 24"/>
                <a:gd name="T11" fmla="*/ 101600 h 27"/>
                <a:gd name="T12" fmla="*/ 33933 w 24"/>
                <a:gd name="T13" fmla="*/ 101600 h 27"/>
                <a:gd name="T14" fmla="*/ 15081 w 24"/>
                <a:gd name="T15" fmla="*/ 90311 h 27"/>
                <a:gd name="T16" fmla="*/ 3770 w 24"/>
                <a:gd name="T17" fmla="*/ 75259 h 27"/>
                <a:gd name="T18" fmla="*/ 0 w 24"/>
                <a:gd name="T19" fmla="*/ 52681 h 27"/>
                <a:gd name="T20" fmla="*/ 3770 w 24"/>
                <a:gd name="T21" fmla="*/ 30104 h 27"/>
                <a:gd name="T22" fmla="*/ 15081 w 24"/>
                <a:gd name="T23" fmla="*/ 11289 h 27"/>
                <a:gd name="T24" fmla="*/ 30163 w 24"/>
                <a:gd name="T25" fmla="*/ 3763 h 27"/>
                <a:gd name="T26" fmla="*/ 49014 w 24"/>
                <a:gd name="T27" fmla="*/ 0 h 27"/>
                <a:gd name="T28" fmla="*/ 64096 w 24"/>
                <a:gd name="T29" fmla="*/ 3763 h 27"/>
                <a:gd name="T30" fmla="*/ 79177 w 24"/>
                <a:gd name="T31" fmla="*/ 11289 h 27"/>
                <a:gd name="T32" fmla="*/ 86718 w 24"/>
                <a:gd name="T33" fmla="*/ 26341 h 27"/>
                <a:gd name="T34" fmla="*/ 90488 w 24"/>
                <a:gd name="T35" fmla="*/ 48919 h 27"/>
                <a:gd name="T36" fmla="*/ 90488 w 24"/>
                <a:gd name="T37" fmla="*/ 56444 h 27"/>
                <a:gd name="T38" fmla="*/ 26392 w 24"/>
                <a:gd name="T39" fmla="*/ 56444 h 27"/>
                <a:gd name="T40" fmla="*/ 30163 w 24"/>
                <a:gd name="T41" fmla="*/ 67733 h 27"/>
                <a:gd name="T42" fmla="*/ 37703 w 24"/>
                <a:gd name="T43" fmla="*/ 79022 h 27"/>
                <a:gd name="T44" fmla="*/ 45244 w 24"/>
                <a:gd name="T45" fmla="*/ 82785 h 27"/>
                <a:gd name="T46" fmla="*/ 56555 w 24"/>
                <a:gd name="T47" fmla="*/ 82785 h 27"/>
                <a:gd name="T48" fmla="*/ 49014 w 24"/>
                <a:gd name="T49" fmla="*/ 18815 h 27"/>
                <a:gd name="T50" fmla="*/ 37703 w 24"/>
                <a:gd name="T51" fmla="*/ 18815 h 27"/>
                <a:gd name="T52" fmla="*/ 33933 w 24"/>
                <a:gd name="T53" fmla="*/ 22578 h 27"/>
                <a:gd name="T54" fmla="*/ 30163 w 24"/>
                <a:gd name="T55" fmla="*/ 30104 h 27"/>
                <a:gd name="T56" fmla="*/ 26392 w 24"/>
                <a:gd name="T57" fmla="*/ 37630 h 27"/>
                <a:gd name="T58" fmla="*/ 67866 w 24"/>
                <a:gd name="T59" fmla="*/ 37630 h 27"/>
                <a:gd name="T60" fmla="*/ 64096 w 24"/>
                <a:gd name="T61" fmla="*/ 30104 h 27"/>
                <a:gd name="T62" fmla="*/ 60325 w 24"/>
                <a:gd name="T63" fmla="*/ 22578 h 27"/>
                <a:gd name="T64" fmla="*/ 49014 w 24"/>
                <a:gd name="T65" fmla="*/ 18815 h 2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4" h="27">
                  <a:moveTo>
                    <a:pt x="15" y="22"/>
                  </a:moveTo>
                  <a:cubicBezTo>
                    <a:pt x="17" y="22"/>
                    <a:pt x="18" y="22"/>
                    <a:pt x="19" y="22"/>
                  </a:cubicBezTo>
                  <a:cubicBezTo>
                    <a:pt x="21" y="21"/>
                    <a:pt x="22" y="21"/>
                    <a:pt x="23" y="21"/>
                  </a:cubicBezTo>
                  <a:cubicBezTo>
                    <a:pt x="23" y="26"/>
                    <a:pt x="23" y="26"/>
                    <a:pt x="23" y="26"/>
                  </a:cubicBezTo>
                  <a:cubicBezTo>
                    <a:pt x="22" y="26"/>
                    <a:pt x="21" y="27"/>
                    <a:pt x="19" y="27"/>
                  </a:cubicBezTo>
                  <a:cubicBezTo>
                    <a:pt x="17" y="27"/>
                    <a:pt x="16" y="27"/>
                    <a:pt x="14" y="27"/>
                  </a:cubicBezTo>
                  <a:cubicBezTo>
                    <a:pt x="12" y="27"/>
                    <a:pt x="10" y="27"/>
                    <a:pt x="9" y="27"/>
                  </a:cubicBezTo>
                  <a:cubicBezTo>
                    <a:pt x="7" y="26"/>
                    <a:pt x="5" y="25"/>
                    <a:pt x="4" y="24"/>
                  </a:cubicBezTo>
                  <a:cubicBezTo>
                    <a:pt x="3" y="23"/>
                    <a:pt x="2" y="22"/>
                    <a:pt x="1" y="20"/>
                  </a:cubicBezTo>
                  <a:cubicBezTo>
                    <a:pt x="0" y="18"/>
                    <a:pt x="0" y="16"/>
                    <a:pt x="0" y="14"/>
                  </a:cubicBezTo>
                  <a:cubicBezTo>
                    <a:pt x="0" y="12"/>
                    <a:pt x="0" y="10"/>
                    <a:pt x="1" y="8"/>
                  </a:cubicBezTo>
                  <a:cubicBezTo>
                    <a:pt x="2" y="6"/>
                    <a:pt x="3" y="5"/>
                    <a:pt x="4" y="3"/>
                  </a:cubicBezTo>
                  <a:cubicBezTo>
                    <a:pt x="5" y="2"/>
                    <a:pt x="6" y="1"/>
                    <a:pt x="8" y="1"/>
                  </a:cubicBezTo>
                  <a:cubicBezTo>
                    <a:pt x="9" y="0"/>
                    <a:pt x="11" y="0"/>
                    <a:pt x="13" y="0"/>
                  </a:cubicBezTo>
                  <a:cubicBezTo>
                    <a:pt x="14" y="0"/>
                    <a:pt x="16" y="0"/>
                    <a:pt x="17" y="1"/>
                  </a:cubicBezTo>
                  <a:cubicBezTo>
                    <a:pt x="19" y="1"/>
                    <a:pt x="20" y="2"/>
                    <a:pt x="21" y="3"/>
                  </a:cubicBezTo>
                  <a:cubicBezTo>
                    <a:pt x="22" y="4"/>
                    <a:pt x="23" y="5"/>
                    <a:pt x="23" y="7"/>
                  </a:cubicBezTo>
                  <a:cubicBezTo>
                    <a:pt x="24" y="9"/>
                    <a:pt x="24" y="11"/>
                    <a:pt x="24" y="13"/>
                  </a:cubicBezTo>
                  <a:cubicBezTo>
                    <a:pt x="24" y="14"/>
                    <a:pt x="24" y="15"/>
                    <a:pt x="24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6"/>
                    <a:pt x="7" y="17"/>
                    <a:pt x="8" y="18"/>
                  </a:cubicBezTo>
                  <a:cubicBezTo>
                    <a:pt x="8" y="19"/>
                    <a:pt x="9" y="20"/>
                    <a:pt x="10" y="21"/>
                  </a:cubicBezTo>
                  <a:cubicBezTo>
                    <a:pt x="10" y="21"/>
                    <a:pt x="11" y="21"/>
                    <a:pt x="12" y="22"/>
                  </a:cubicBezTo>
                  <a:cubicBezTo>
                    <a:pt x="13" y="22"/>
                    <a:pt x="14" y="22"/>
                    <a:pt x="15" y="22"/>
                  </a:cubicBezTo>
                  <a:close/>
                  <a:moveTo>
                    <a:pt x="13" y="5"/>
                  </a:moveTo>
                  <a:cubicBezTo>
                    <a:pt x="12" y="5"/>
                    <a:pt x="11" y="5"/>
                    <a:pt x="10" y="5"/>
                  </a:cubicBezTo>
                  <a:cubicBezTo>
                    <a:pt x="10" y="5"/>
                    <a:pt x="9" y="6"/>
                    <a:pt x="9" y="6"/>
                  </a:cubicBezTo>
                  <a:cubicBezTo>
                    <a:pt x="8" y="7"/>
                    <a:pt x="8" y="7"/>
                    <a:pt x="8" y="8"/>
                  </a:cubicBezTo>
                  <a:cubicBezTo>
                    <a:pt x="7" y="9"/>
                    <a:pt x="7" y="10"/>
                    <a:pt x="7" y="1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8" y="10"/>
                    <a:pt x="17" y="9"/>
                    <a:pt x="17" y="8"/>
                  </a:cubicBezTo>
                  <a:cubicBezTo>
                    <a:pt x="17" y="7"/>
                    <a:pt x="17" y="7"/>
                    <a:pt x="16" y="6"/>
                  </a:cubicBezTo>
                  <a:cubicBezTo>
                    <a:pt x="15" y="5"/>
                    <a:pt x="14" y="5"/>
                    <a:pt x="13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37" name="Freeform 20">
              <a:extLst>
                <a:ext uri="{FF2B5EF4-FFF2-40B4-BE49-F238E27FC236}">
                  <a16:creationId xmlns:a16="http://schemas.microsoft.com/office/drawing/2014/main" id="{501229CA-4039-4574-A5D7-AA5AED1A0DC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0315527" y="3670306"/>
              <a:ext cx="90487" cy="101600"/>
            </a:xfrm>
            <a:custGeom>
              <a:avLst/>
              <a:gdLst>
                <a:gd name="T0" fmla="*/ 22622 w 24"/>
                <a:gd name="T1" fmla="*/ 15052 h 27"/>
                <a:gd name="T2" fmla="*/ 22622 w 24"/>
                <a:gd name="T3" fmla="*/ 15052 h 27"/>
                <a:gd name="T4" fmla="*/ 30163 w 24"/>
                <a:gd name="T5" fmla="*/ 7526 h 27"/>
                <a:gd name="T6" fmla="*/ 33933 w 24"/>
                <a:gd name="T7" fmla="*/ 3763 h 27"/>
                <a:gd name="T8" fmla="*/ 45244 w 24"/>
                <a:gd name="T9" fmla="*/ 0 h 27"/>
                <a:gd name="T10" fmla="*/ 56555 w 24"/>
                <a:gd name="T11" fmla="*/ 0 h 27"/>
                <a:gd name="T12" fmla="*/ 67866 w 24"/>
                <a:gd name="T13" fmla="*/ 0 h 27"/>
                <a:gd name="T14" fmla="*/ 75407 w 24"/>
                <a:gd name="T15" fmla="*/ 3763 h 27"/>
                <a:gd name="T16" fmla="*/ 82947 w 24"/>
                <a:gd name="T17" fmla="*/ 11289 h 27"/>
                <a:gd name="T18" fmla="*/ 86718 w 24"/>
                <a:gd name="T19" fmla="*/ 22578 h 27"/>
                <a:gd name="T20" fmla="*/ 90488 w 24"/>
                <a:gd name="T21" fmla="*/ 26341 h 27"/>
                <a:gd name="T22" fmla="*/ 90488 w 24"/>
                <a:gd name="T23" fmla="*/ 37630 h 27"/>
                <a:gd name="T24" fmla="*/ 90488 w 24"/>
                <a:gd name="T25" fmla="*/ 101600 h 27"/>
                <a:gd name="T26" fmla="*/ 67866 w 24"/>
                <a:gd name="T27" fmla="*/ 101600 h 27"/>
                <a:gd name="T28" fmla="*/ 67866 w 24"/>
                <a:gd name="T29" fmla="*/ 41393 h 27"/>
                <a:gd name="T30" fmla="*/ 67866 w 24"/>
                <a:gd name="T31" fmla="*/ 33867 h 27"/>
                <a:gd name="T32" fmla="*/ 64096 w 24"/>
                <a:gd name="T33" fmla="*/ 30104 h 27"/>
                <a:gd name="T34" fmla="*/ 60325 w 24"/>
                <a:gd name="T35" fmla="*/ 22578 h 27"/>
                <a:gd name="T36" fmla="*/ 49014 w 24"/>
                <a:gd name="T37" fmla="*/ 18815 h 27"/>
                <a:gd name="T38" fmla="*/ 37703 w 24"/>
                <a:gd name="T39" fmla="*/ 22578 h 27"/>
                <a:gd name="T40" fmla="*/ 26392 w 24"/>
                <a:gd name="T41" fmla="*/ 33867 h 27"/>
                <a:gd name="T42" fmla="*/ 26392 w 24"/>
                <a:gd name="T43" fmla="*/ 101600 h 27"/>
                <a:gd name="T44" fmla="*/ 0 w 24"/>
                <a:gd name="T45" fmla="*/ 101600 h 27"/>
                <a:gd name="T46" fmla="*/ 0 w 24"/>
                <a:gd name="T47" fmla="*/ 0 h 27"/>
                <a:gd name="T48" fmla="*/ 18852 w 24"/>
                <a:gd name="T49" fmla="*/ 0 h 27"/>
                <a:gd name="T50" fmla="*/ 22622 w 24"/>
                <a:gd name="T51" fmla="*/ 15052 h 27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24" h="27">
                  <a:moveTo>
                    <a:pt x="6" y="4"/>
                  </a:move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7" y="3"/>
                    <a:pt x="8" y="2"/>
                  </a:cubicBezTo>
                  <a:cubicBezTo>
                    <a:pt x="8" y="2"/>
                    <a:pt x="9" y="1"/>
                    <a:pt x="9" y="1"/>
                  </a:cubicBezTo>
                  <a:cubicBezTo>
                    <a:pt x="10" y="1"/>
                    <a:pt x="11" y="0"/>
                    <a:pt x="12" y="0"/>
                  </a:cubicBezTo>
                  <a:cubicBezTo>
                    <a:pt x="13" y="0"/>
                    <a:pt x="14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8" y="0"/>
                    <a:pt x="19" y="1"/>
                    <a:pt x="20" y="1"/>
                  </a:cubicBezTo>
                  <a:cubicBezTo>
                    <a:pt x="21" y="2"/>
                    <a:pt x="21" y="2"/>
                    <a:pt x="22" y="3"/>
                  </a:cubicBezTo>
                  <a:cubicBezTo>
                    <a:pt x="23" y="4"/>
                    <a:pt x="23" y="5"/>
                    <a:pt x="23" y="6"/>
                  </a:cubicBezTo>
                  <a:cubicBezTo>
                    <a:pt x="24" y="6"/>
                    <a:pt x="24" y="7"/>
                    <a:pt x="24" y="7"/>
                  </a:cubicBezTo>
                  <a:cubicBezTo>
                    <a:pt x="24" y="8"/>
                    <a:pt x="24" y="9"/>
                    <a:pt x="24" y="10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18" y="10"/>
                    <a:pt x="18" y="9"/>
                    <a:pt x="18" y="9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7" y="7"/>
                    <a:pt x="16" y="6"/>
                    <a:pt x="16" y="6"/>
                  </a:cubicBezTo>
                  <a:cubicBezTo>
                    <a:pt x="15" y="5"/>
                    <a:pt x="14" y="5"/>
                    <a:pt x="13" y="5"/>
                  </a:cubicBezTo>
                  <a:cubicBezTo>
                    <a:pt x="12" y="5"/>
                    <a:pt x="11" y="6"/>
                    <a:pt x="10" y="6"/>
                  </a:cubicBezTo>
                  <a:cubicBezTo>
                    <a:pt x="9" y="7"/>
                    <a:pt x="7" y="8"/>
                    <a:pt x="7" y="9"/>
                  </a:cubicBezTo>
                  <a:cubicBezTo>
                    <a:pt x="7" y="27"/>
                    <a:pt x="7" y="27"/>
                    <a:pt x="7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" y="0"/>
                    <a:pt x="5" y="0"/>
                    <a:pt x="5" y="0"/>
                  </a:cubicBezTo>
                  <a:lnTo>
                    <a:pt x="6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38" name="Freeform 21">
              <a:extLst>
                <a:ext uri="{FF2B5EF4-FFF2-40B4-BE49-F238E27FC236}">
                  <a16:creationId xmlns:a16="http://schemas.microsoft.com/office/drawing/2014/main" id="{90A6FD6D-02EA-4ADC-9FC6-73E4F8C7AF48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10428242" y="3670293"/>
              <a:ext cx="90487" cy="150812"/>
            </a:xfrm>
            <a:custGeom>
              <a:avLst/>
              <a:gdLst>
                <a:gd name="T0" fmla="*/ 67866 w 24"/>
                <a:gd name="T1" fmla="*/ 101798 h 40"/>
                <a:gd name="T2" fmla="*/ 67866 w 24"/>
                <a:gd name="T3" fmla="*/ 98028 h 40"/>
                <a:gd name="T4" fmla="*/ 67866 w 24"/>
                <a:gd name="T5" fmla="*/ 94258 h 40"/>
                <a:gd name="T6" fmla="*/ 67866 w 24"/>
                <a:gd name="T7" fmla="*/ 94258 h 40"/>
                <a:gd name="T8" fmla="*/ 64096 w 24"/>
                <a:gd name="T9" fmla="*/ 98028 h 40"/>
                <a:gd name="T10" fmla="*/ 56555 w 24"/>
                <a:gd name="T11" fmla="*/ 98028 h 40"/>
                <a:gd name="T12" fmla="*/ 49014 w 24"/>
                <a:gd name="T13" fmla="*/ 101798 h 40"/>
                <a:gd name="T14" fmla="*/ 26392 w 24"/>
                <a:gd name="T15" fmla="*/ 101798 h 40"/>
                <a:gd name="T16" fmla="*/ 11311 w 24"/>
                <a:gd name="T17" fmla="*/ 90487 h 40"/>
                <a:gd name="T18" fmla="*/ 3770 w 24"/>
                <a:gd name="T19" fmla="*/ 75406 h 40"/>
                <a:gd name="T20" fmla="*/ 0 w 24"/>
                <a:gd name="T21" fmla="*/ 52784 h 40"/>
                <a:gd name="T22" fmla="*/ 3770 w 24"/>
                <a:gd name="T23" fmla="*/ 30162 h 40"/>
                <a:gd name="T24" fmla="*/ 11311 w 24"/>
                <a:gd name="T25" fmla="*/ 11311 h 40"/>
                <a:gd name="T26" fmla="*/ 26392 w 24"/>
                <a:gd name="T27" fmla="*/ 3770 h 40"/>
                <a:gd name="T28" fmla="*/ 41474 w 24"/>
                <a:gd name="T29" fmla="*/ 0 h 40"/>
                <a:gd name="T30" fmla="*/ 56555 w 24"/>
                <a:gd name="T31" fmla="*/ 3770 h 40"/>
                <a:gd name="T32" fmla="*/ 67866 w 24"/>
                <a:gd name="T33" fmla="*/ 11311 h 40"/>
                <a:gd name="T34" fmla="*/ 67866 w 24"/>
                <a:gd name="T35" fmla="*/ 11311 h 40"/>
                <a:gd name="T36" fmla="*/ 71636 w 24"/>
                <a:gd name="T37" fmla="*/ 0 h 40"/>
                <a:gd name="T38" fmla="*/ 90488 w 24"/>
                <a:gd name="T39" fmla="*/ 0 h 40"/>
                <a:gd name="T40" fmla="*/ 90488 w 24"/>
                <a:gd name="T41" fmla="*/ 101798 h 40"/>
                <a:gd name="T42" fmla="*/ 90488 w 24"/>
                <a:gd name="T43" fmla="*/ 116879 h 40"/>
                <a:gd name="T44" fmla="*/ 86718 w 24"/>
                <a:gd name="T45" fmla="*/ 128190 h 40"/>
                <a:gd name="T46" fmla="*/ 79177 w 24"/>
                <a:gd name="T47" fmla="*/ 139501 h 40"/>
                <a:gd name="T48" fmla="*/ 67866 w 24"/>
                <a:gd name="T49" fmla="*/ 147042 h 40"/>
                <a:gd name="T50" fmla="*/ 52785 w 24"/>
                <a:gd name="T51" fmla="*/ 150812 h 40"/>
                <a:gd name="T52" fmla="*/ 33933 w 24"/>
                <a:gd name="T53" fmla="*/ 150812 h 40"/>
                <a:gd name="T54" fmla="*/ 26392 w 24"/>
                <a:gd name="T55" fmla="*/ 150812 h 40"/>
                <a:gd name="T56" fmla="*/ 15081 w 24"/>
                <a:gd name="T57" fmla="*/ 150812 h 40"/>
                <a:gd name="T58" fmla="*/ 7541 w 24"/>
                <a:gd name="T59" fmla="*/ 147042 h 40"/>
                <a:gd name="T60" fmla="*/ 3770 w 24"/>
                <a:gd name="T61" fmla="*/ 147042 h 40"/>
                <a:gd name="T62" fmla="*/ 3770 w 24"/>
                <a:gd name="T63" fmla="*/ 128190 h 40"/>
                <a:gd name="T64" fmla="*/ 18852 w 24"/>
                <a:gd name="T65" fmla="*/ 131961 h 40"/>
                <a:gd name="T66" fmla="*/ 33933 w 24"/>
                <a:gd name="T67" fmla="*/ 131961 h 40"/>
                <a:gd name="T68" fmla="*/ 56555 w 24"/>
                <a:gd name="T69" fmla="*/ 124420 h 40"/>
                <a:gd name="T70" fmla="*/ 67866 w 24"/>
                <a:gd name="T71" fmla="*/ 105568 h 40"/>
                <a:gd name="T72" fmla="*/ 67866 w 24"/>
                <a:gd name="T73" fmla="*/ 101798 h 40"/>
                <a:gd name="T74" fmla="*/ 45244 w 24"/>
                <a:gd name="T75" fmla="*/ 82947 h 40"/>
                <a:gd name="T76" fmla="*/ 52785 w 24"/>
                <a:gd name="T77" fmla="*/ 82947 h 40"/>
                <a:gd name="T78" fmla="*/ 60325 w 24"/>
                <a:gd name="T79" fmla="*/ 79176 h 40"/>
                <a:gd name="T80" fmla="*/ 64096 w 24"/>
                <a:gd name="T81" fmla="*/ 75406 h 40"/>
                <a:gd name="T82" fmla="*/ 67866 w 24"/>
                <a:gd name="T83" fmla="*/ 75406 h 40"/>
                <a:gd name="T84" fmla="*/ 67866 w 24"/>
                <a:gd name="T85" fmla="*/ 30162 h 40"/>
                <a:gd name="T86" fmla="*/ 60325 w 24"/>
                <a:gd name="T87" fmla="*/ 22622 h 40"/>
                <a:gd name="T88" fmla="*/ 45244 w 24"/>
                <a:gd name="T89" fmla="*/ 18852 h 40"/>
                <a:gd name="T90" fmla="*/ 41474 w 24"/>
                <a:gd name="T91" fmla="*/ 18852 h 40"/>
                <a:gd name="T92" fmla="*/ 37703 w 24"/>
                <a:gd name="T93" fmla="*/ 18852 h 40"/>
                <a:gd name="T94" fmla="*/ 30163 w 24"/>
                <a:gd name="T95" fmla="*/ 22622 h 40"/>
                <a:gd name="T96" fmla="*/ 26392 w 24"/>
                <a:gd name="T97" fmla="*/ 30162 h 40"/>
                <a:gd name="T98" fmla="*/ 26392 w 24"/>
                <a:gd name="T99" fmla="*/ 37703 h 40"/>
                <a:gd name="T100" fmla="*/ 22622 w 24"/>
                <a:gd name="T101" fmla="*/ 52784 h 40"/>
                <a:gd name="T102" fmla="*/ 26392 w 24"/>
                <a:gd name="T103" fmla="*/ 64095 h 40"/>
                <a:gd name="T104" fmla="*/ 30163 w 24"/>
                <a:gd name="T105" fmla="*/ 75406 h 40"/>
                <a:gd name="T106" fmla="*/ 37703 w 24"/>
                <a:gd name="T107" fmla="*/ 79176 h 40"/>
                <a:gd name="T108" fmla="*/ 45244 w 24"/>
                <a:gd name="T109" fmla="*/ 82947 h 4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24" h="40">
                  <a:moveTo>
                    <a:pt x="18" y="27"/>
                  </a:moveTo>
                  <a:cubicBezTo>
                    <a:pt x="18" y="26"/>
                    <a:pt x="18" y="26"/>
                    <a:pt x="18" y="26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7" y="25"/>
                    <a:pt x="17" y="26"/>
                  </a:cubicBezTo>
                  <a:cubicBezTo>
                    <a:pt x="16" y="26"/>
                    <a:pt x="16" y="26"/>
                    <a:pt x="15" y="26"/>
                  </a:cubicBezTo>
                  <a:cubicBezTo>
                    <a:pt x="14" y="27"/>
                    <a:pt x="14" y="27"/>
                    <a:pt x="13" y="27"/>
                  </a:cubicBezTo>
                  <a:cubicBezTo>
                    <a:pt x="11" y="27"/>
                    <a:pt x="9" y="27"/>
                    <a:pt x="7" y="27"/>
                  </a:cubicBezTo>
                  <a:cubicBezTo>
                    <a:pt x="5" y="26"/>
                    <a:pt x="4" y="25"/>
                    <a:pt x="3" y="24"/>
                  </a:cubicBezTo>
                  <a:cubicBezTo>
                    <a:pt x="2" y="23"/>
                    <a:pt x="1" y="22"/>
                    <a:pt x="1" y="20"/>
                  </a:cubicBezTo>
                  <a:cubicBezTo>
                    <a:pt x="0" y="18"/>
                    <a:pt x="0" y="16"/>
                    <a:pt x="0" y="14"/>
                  </a:cubicBezTo>
                  <a:cubicBezTo>
                    <a:pt x="0" y="12"/>
                    <a:pt x="0" y="10"/>
                    <a:pt x="1" y="8"/>
                  </a:cubicBezTo>
                  <a:cubicBezTo>
                    <a:pt x="1" y="6"/>
                    <a:pt x="2" y="5"/>
                    <a:pt x="3" y="3"/>
                  </a:cubicBezTo>
                  <a:cubicBezTo>
                    <a:pt x="4" y="2"/>
                    <a:pt x="5" y="1"/>
                    <a:pt x="7" y="1"/>
                  </a:cubicBezTo>
                  <a:cubicBezTo>
                    <a:pt x="8" y="0"/>
                    <a:pt x="10" y="0"/>
                    <a:pt x="11" y="0"/>
                  </a:cubicBezTo>
                  <a:cubicBezTo>
                    <a:pt x="13" y="0"/>
                    <a:pt x="14" y="0"/>
                    <a:pt x="15" y="1"/>
                  </a:cubicBezTo>
                  <a:cubicBezTo>
                    <a:pt x="17" y="1"/>
                    <a:pt x="18" y="2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4" y="28"/>
                    <a:pt x="24" y="30"/>
                    <a:pt x="24" y="31"/>
                  </a:cubicBezTo>
                  <a:cubicBezTo>
                    <a:pt x="24" y="32"/>
                    <a:pt x="23" y="33"/>
                    <a:pt x="23" y="34"/>
                  </a:cubicBezTo>
                  <a:cubicBezTo>
                    <a:pt x="22" y="35"/>
                    <a:pt x="21" y="36"/>
                    <a:pt x="21" y="37"/>
                  </a:cubicBezTo>
                  <a:cubicBezTo>
                    <a:pt x="20" y="37"/>
                    <a:pt x="19" y="38"/>
                    <a:pt x="18" y="39"/>
                  </a:cubicBezTo>
                  <a:cubicBezTo>
                    <a:pt x="16" y="39"/>
                    <a:pt x="15" y="39"/>
                    <a:pt x="14" y="40"/>
                  </a:cubicBezTo>
                  <a:cubicBezTo>
                    <a:pt x="12" y="40"/>
                    <a:pt x="11" y="40"/>
                    <a:pt x="9" y="40"/>
                  </a:cubicBezTo>
                  <a:cubicBezTo>
                    <a:pt x="7" y="40"/>
                    <a:pt x="7" y="40"/>
                    <a:pt x="7" y="40"/>
                  </a:cubicBezTo>
                  <a:cubicBezTo>
                    <a:pt x="6" y="40"/>
                    <a:pt x="5" y="40"/>
                    <a:pt x="4" y="40"/>
                  </a:cubicBezTo>
                  <a:cubicBezTo>
                    <a:pt x="2" y="39"/>
                    <a:pt x="2" y="39"/>
                    <a:pt x="2" y="39"/>
                  </a:cubicBezTo>
                  <a:cubicBezTo>
                    <a:pt x="2" y="39"/>
                    <a:pt x="1" y="39"/>
                    <a:pt x="1" y="39"/>
                  </a:cubicBezTo>
                  <a:cubicBezTo>
                    <a:pt x="1" y="34"/>
                    <a:pt x="1" y="34"/>
                    <a:pt x="1" y="34"/>
                  </a:cubicBezTo>
                  <a:cubicBezTo>
                    <a:pt x="2" y="34"/>
                    <a:pt x="3" y="34"/>
                    <a:pt x="5" y="35"/>
                  </a:cubicBezTo>
                  <a:cubicBezTo>
                    <a:pt x="6" y="35"/>
                    <a:pt x="7" y="35"/>
                    <a:pt x="9" y="35"/>
                  </a:cubicBezTo>
                  <a:cubicBezTo>
                    <a:pt x="11" y="35"/>
                    <a:pt x="13" y="34"/>
                    <a:pt x="15" y="33"/>
                  </a:cubicBezTo>
                  <a:cubicBezTo>
                    <a:pt x="17" y="32"/>
                    <a:pt x="18" y="30"/>
                    <a:pt x="18" y="28"/>
                  </a:cubicBezTo>
                  <a:lnTo>
                    <a:pt x="18" y="27"/>
                  </a:lnTo>
                  <a:close/>
                  <a:moveTo>
                    <a:pt x="12" y="22"/>
                  </a:moveTo>
                  <a:cubicBezTo>
                    <a:pt x="13" y="22"/>
                    <a:pt x="14" y="22"/>
                    <a:pt x="14" y="22"/>
                  </a:cubicBezTo>
                  <a:cubicBezTo>
                    <a:pt x="15" y="22"/>
                    <a:pt x="15" y="22"/>
                    <a:pt x="16" y="21"/>
                  </a:cubicBezTo>
                  <a:cubicBezTo>
                    <a:pt x="16" y="21"/>
                    <a:pt x="17" y="21"/>
                    <a:pt x="17" y="20"/>
                  </a:cubicBezTo>
                  <a:cubicBezTo>
                    <a:pt x="17" y="20"/>
                    <a:pt x="18" y="20"/>
                    <a:pt x="18" y="20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7"/>
                    <a:pt x="16" y="6"/>
                    <a:pt x="16" y="6"/>
                  </a:cubicBezTo>
                  <a:cubicBezTo>
                    <a:pt x="15" y="5"/>
                    <a:pt x="13" y="5"/>
                    <a:pt x="12" y="5"/>
                  </a:cubicBezTo>
                  <a:cubicBezTo>
                    <a:pt x="12" y="5"/>
                    <a:pt x="11" y="5"/>
                    <a:pt x="11" y="5"/>
                  </a:cubicBezTo>
                  <a:cubicBezTo>
                    <a:pt x="11" y="5"/>
                    <a:pt x="10" y="5"/>
                    <a:pt x="10" y="5"/>
                  </a:cubicBezTo>
                  <a:cubicBezTo>
                    <a:pt x="9" y="6"/>
                    <a:pt x="9" y="6"/>
                    <a:pt x="8" y="6"/>
                  </a:cubicBezTo>
                  <a:cubicBezTo>
                    <a:pt x="8" y="7"/>
                    <a:pt x="8" y="7"/>
                    <a:pt x="7" y="8"/>
                  </a:cubicBezTo>
                  <a:cubicBezTo>
                    <a:pt x="7" y="9"/>
                    <a:pt x="7" y="10"/>
                    <a:pt x="7" y="10"/>
                  </a:cubicBezTo>
                  <a:cubicBezTo>
                    <a:pt x="6" y="11"/>
                    <a:pt x="6" y="12"/>
                    <a:pt x="6" y="14"/>
                  </a:cubicBezTo>
                  <a:cubicBezTo>
                    <a:pt x="6" y="15"/>
                    <a:pt x="6" y="16"/>
                    <a:pt x="7" y="17"/>
                  </a:cubicBezTo>
                  <a:cubicBezTo>
                    <a:pt x="7" y="18"/>
                    <a:pt x="7" y="19"/>
                    <a:pt x="8" y="20"/>
                  </a:cubicBezTo>
                  <a:cubicBezTo>
                    <a:pt x="8" y="20"/>
                    <a:pt x="9" y="21"/>
                    <a:pt x="10" y="21"/>
                  </a:cubicBezTo>
                  <a:cubicBezTo>
                    <a:pt x="11" y="22"/>
                    <a:pt x="11" y="22"/>
                    <a:pt x="12" y="2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39" name="Freeform 22">
              <a:extLst>
                <a:ext uri="{FF2B5EF4-FFF2-40B4-BE49-F238E27FC236}">
                  <a16:creationId xmlns:a16="http://schemas.microsoft.com/office/drawing/2014/main" id="{924CC03A-74BF-4316-BBC0-8CD4B36FB9DB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10548895" y="3621076"/>
              <a:ext cx="22225" cy="150811"/>
            </a:xfrm>
            <a:custGeom>
              <a:avLst/>
              <a:gdLst>
                <a:gd name="T0" fmla="*/ 0 w 14"/>
                <a:gd name="T1" fmla="*/ 0 h 95"/>
                <a:gd name="T2" fmla="*/ 22225 w 14"/>
                <a:gd name="T3" fmla="*/ 0 h 95"/>
                <a:gd name="T4" fmla="*/ 22225 w 14"/>
                <a:gd name="T5" fmla="*/ 26987 h 95"/>
                <a:gd name="T6" fmla="*/ 0 w 14"/>
                <a:gd name="T7" fmla="*/ 26987 h 95"/>
                <a:gd name="T8" fmla="*/ 0 w 14"/>
                <a:gd name="T9" fmla="*/ 0 h 95"/>
                <a:gd name="T10" fmla="*/ 0 w 14"/>
                <a:gd name="T11" fmla="*/ 49212 h 95"/>
                <a:gd name="T12" fmla="*/ 22225 w 14"/>
                <a:gd name="T13" fmla="*/ 49212 h 95"/>
                <a:gd name="T14" fmla="*/ 22225 w 14"/>
                <a:gd name="T15" fmla="*/ 150812 h 95"/>
                <a:gd name="T16" fmla="*/ 0 w 14"/>
                <a:gd name="T17" fmla="*/ 150812 h 95"/>
                <a:gd name="T18" fmla="*/ 0 w 14"/>
                <a:gd name="T19" fmla="*/ 49212 h 9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4" h="95">
                  <a:moveTo>
                    <a:pt x="0" y="0"/>
                  </a:moveTo>
                  <a:lnTo>
                    <a:pt x="14" y="0"/>
                  </a:lnTo>
                  <a:lnTo>
                    <a:pt x="14" y="17"/>
                  </a:lnTo>
                  <a:lnTo>
                    <a:pt x="0" y="17"/>
                  </a:lnTo>
                  <a:lnTo>
                    <a:pt x="0" y="0"/>
                  </a:lnTo>
                  <a:close/>
                  <a:moveTo>
                    <a:pt x="0" y="31"/>
                  </a:moveTo>
                  <a:lnTo>
                    <a:pt x="14" y="31"/>
                  </a:lnTo>
                  <a:lnTo>
                    <a:pt x="14" y="95"/>
                  </a:lnTo>
                  <a:lnTo>
                    <a:pt x="0" y="95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40" name="Freeform 23">
              <a:extLst>
                <a:ext uri="{FF2B5EF4-FFF2-40B4-BE49-F238E27FC236}">
                  <a16:creationId xmlns:a16="http://schemas.microsoft.com/office/drawing/2014/main" id="{7F3B7EE3-BB6B-4376-8C06-11BFAC7FB540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0596519" y="3670289"/>
              <a:ext cx="90487" cy="101599"/>
            </a:xfrm>
            <a:custGeom>
              <a:avLst/>
              <a:gdLst>
                <a:gd name="T0" fmla="*/ 22622 w 24"/>
                <a:gd name="T1" fmla="*/ 15052 h 27"/>
                <a:gd name="T2" fmla="*/ 22622 w 24"/>
                <a:gd name="T3" fmla="*/ 15052 h 27"/>
                <a:gd name="T4" fmla="*/ 30163 w 24"/>
                <a:gd name="T5" fmla="*/ 7526 h 27"/>
                <a:gd name="T6" fmla="*/ 37703 w 24"/>
                <a:gd name="T7" fmla="*/ 3763 h 27"/>
                <a:gd name="T8" fmla="*/ 45244 w 24"/>
                <a:gd name="T9" fmla="*/ 0 h 27"/>
                <a:gd name="T10" fmla="*/ 56555 w 24"/>
                <a:gd name="T11" fmla="*/ 0 h 27"/>
                <a:gd name="T12" fmla="*/ 67866 w 24"/>
                <a:gd name="T13" fmla="*/ 0 h 27"/>
                <a:gd name="T14" fmla="*/ 75407 w 24"/>
                <a:gd name="T15" fmla="*/ 3763 h 27"/>
                <a:gd name="T16" fmla="*/ 82947 w 24"/>
                <a:gd name="T17" fmla="*/ 11289 h 27"/>
                <a:gd name="T18" fmla="*/ 90488 w 24"/>
                <a:gd name="T19" fmla="*/ 22578 h 27"/>
                <a:gd name="T20" fmla="*/ 90488 w 24"/>
                <a:gd name="T21" fmla="*/ 26341 h 27"/>
                <a:gd name="T22" fmla="*/ 90488 w 24"/>
                <a:gd name="T23" fmla="*/ 37630 h 27"/>
                <a:gd name="T24" fmla="*/ 90488 w 24"/>
                <a:gd name="T25" fmla="*/ 101600 h 27"/>
                <a:gd name="T26" fmla="*/ 67866 w 24"/>
                <a:gd name="T27" fmla="*/ 101600 h 27"/>
                <a:gd name="T28" fmla="*/ 67866 w 24"/>
                <a:gd name="T29" fmla="*/ 41393 h 27"/>
                <a:gd name="T30" fmla="*/ 67866 w 24"/>
                <a:gd name="T31" fmla="*/ 33867 h 27"/>
                <a:gd name="T32" fmla="*/ 64096 w 24"/>
                <a:gd name="T33" fmla="*/ 30104 h 27"/>
                <a:gd name="T34" fmla="*/ 60325 w 24"/>
                <a:gd name="T35" fmla="*/ 22578 h 27"/>
                <a:gd name="T36" fmla="*/ 52785 w 24"/>
                <a:gd name="T37" fmla="*/ 18815 h 27"/>
                <a:gd name="T38" fmla="*/ 37703 w 24"/>
                <a:gd name="T39" fmla="*/ 22578 h 27"/>
                <a:gd name="T40" fmla="*/ 26392 w 24"/>
                <a:gd name="T41" fmla="*/ 33867 h 27"/>
                <a:gd name="T42" fmla="*/ 26392 w 24"/>
                <a:gd name="T43" fmla="*/ 101600 h 27"/>
                <a:gd name="T44" fmla="*/ 0 w 24"/>
                <a:gd name="T45" fmla="*/ 101600 h 27"/>
                <a:gd name="T46" fmla="*/ 0 w 24"/>
                <a:gd name="T47" fmla="*/ 0 h 27"/>
                <a:gd name="T48" fmla="*/ 22622 w 24"/>
                <a:gd name="T49" fmla="*/ 0 h 27"/>
                <a:gd name="T50" fmla="*/ 22622 w 24"/>
                <a:gd name="T51" fmla="*/ 15052 h 27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24" h="27">
                  <a:moveTo>
                    <a:pt x="6" y="4"/>
                  </a:moveTo>
                  <a:cubicBezTo>
                    <a:pt x="6" y="4"/>
                    <a:pt x="6" y="4"/>
                    <a:pt x="6" y="4"/>
                  </a:cubicBezTo>
                  <a:cubicBezTo>
                    <a:pt x="7" y="4"/>
                    <a:pt x="7" y="3"/>
                    <a:pt x="8" y="2"/>
                  </a:cubicBezTo>
                  <a:cubicBezTo>
                    <a:pt x="8" y="2"/>
                    <a:pt x="9" y="1"/>
                    <a:pt x="10" y="1"/>
                  </a:cubicBezTo>
                  <a:cubicBezTo>
                    <a:pt x="11" y="1"/>
                    <a:pt x="11" y="0"/>
                    <a:pt x="12" y="0"/>
                  </a:cubicBezTo>
                  <a:cubicBezTo>
                    <a:pt x="13" y="0"/>
                    <a:pt x="14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1"/>
                    <a:pt x="20" y="1"/>
                  </a:cubicBezTo>
                  <a:cubicBezTo>
                    <a:pt x="21" y="2"/>
                    <a:pt x="22" y="2"/>
                    <a:pt x="22" y="3"/>
                  </a:cubicBezTo>
                  <a:cubicBezTo>
                    <a:pt x="23" y="4"/>
                    <a:pt x="23" y="5"/>
                    <a:pt x="24" y="6"/>
                  </a:cubicBezTo>
                  <a:cubicBezTo>
                    <a:pt x="24" y="6"/>
                    <a:pt x="24" y="7"/>
                    <a:pt x="24" y="7"/>
                  </a:cubicBezTo>
                  <a:cubicBezTo>
                    <a:pt x="24" y="8"/>
                    <a:pt x="24" y="9"/>
                    <a:pt x="24" y="10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18" y="10"/>
                    <a:pt x="18" y="10"/>
                    <a:pt x="18" y="9"/>
                  </a:cubicBezTo>
                  <a:cubicBezTo>
                    <a:pt x="18" y="8"/>
                    <a:pt x="18" y="8"/>
                    <a:pt x="17" y="8"/>
                  </a:cubicBezTo>
                  <a:cubicBezTo>
                    <a:pt x="17" y="7"/>
                    <a:pt x="17" y="6"/>
                    <a:pt x="16" y="6"/>
                  </a:cubicBezTo>
                  <a:cubicBezTo>
                    <a:pt x="15" y="5"/>
                    <a:pt x="14" y="5"/>
                    <a:pt x="14" y="5"/>
                  </a:cubicBezTo>
                  <a:cubicBezTo>
                    <a:pt x="12" y="5"/>
                    <a:pt x="11" y="6"/>
                    <a:pt x="10" y="6"/>
                  </a:cubicBezTo>
                  <a:cubicBezTo>
                    <a:pt x="9" y="7"/>
                    <a:pt x="8" y="8"/>
                    <a:pt x="7" y="9"/>
                  </a:cubicBezTo>
                  <a:cubicBezTo>
                    <a:pt x="7" y="27"/>
                    <a:pt x="7" y="27"/>
                    <a:pt x="7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" y="0"/>
                    <a:pt x="6" y="0"/>
                    <a:pt x="6" y="0"/>
                  </a:cubicBezTo>
                  <a:lnTo>
                    <a:pt x="6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41" name="Freeform 24">
              <a:extLst>
                <a:ext uri="{FF2B5EF4-FFF2-40B4-BE49-F238E27FC236}">
                  <a16:creationId xmlns:a16="http://schemas.microsoft.com/office/drawing/2014/main" id="{11404D83-C6B0-4547-9FC7-779FE2150E0C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10709226" y="3670289"/>
              <a:ext cx="90487" cy="101599"/>
            </a:xfrm>
            <a:custGeom>
              <a:avLst/>
              <a:gdLst>
                <a:gd name="T0" fmla="*/ 56555 w 24"/>
                <a:gd name="T1" fmla="*/ 82785 h 27"/>
                <a:gd name="T2" fmla="*/ 71636 w 24"/>
                <a:gd name="T3" fmla="*/ 82785 h 27"/>
                <a:gd name="T4" fmla="*/ 86718 w 24"/>
                <a:gd name="T5" fmla="*/ 79022 h 27"/>
                <a:gd name="T6" fmla="*/ 86718 w 24"/>
                <a:gd name="T7" fmla="*/ 97837 h 27"/>
                <a:gd name="T8" fmla="*/ 71636 w 24"/>
                <a:gd name="T9" fmla="*/ 101600 h 27"/>
                <a:gd name="T10" fmla="*/ 49014 w 24"/>
                <a:gd name="T11" fmla="*/ 101600 h 27"/>
                <a:gd name="T12" fmla="*/ 30163 w 24"/>
                <a:gd name="T13" fmla="*/ 101600 h 27"/>
                <a:gd name="T14" fmla="*/ 3770 w 24"/>
                <a:gd name="T15" fmla="*/ 75259 h 27"/>
                <a:gd name="T16" fmla="*/ 0 w 24"/>
                <a:gd name="T17" fmla="*/ 52681 h 27"/>
                <a:gd name="T18" fmla="*/ 3770 w 24"/>
                <a:gd name="T19" fmla="*/ 30104 h 27"/>
                <a:gd name="T20" fmla="*/ 15081 w 24"/>
                <a:gd name="T21" fmla="*/ 11289 h 27"/>
                <a:gd name="T22" fmla="*/ 30163 w 24"/>
                <a:gd name="T23" fmla="*/ 3763 h 27"/>
                <a:gd name="T24" fmla="*/ 45244 w 24"/>
                <a:gd name="T25" fmla="*/ 0 h 27"/>
                <a:gd name="T26" fmla="*/ 64096 w 24"/>
                <a:gd name="T27" fmla="*/ 0 h 27"/>
                <a:gd name="T28" fmla="*/ 79177 w 24"/>
                <a:gd name="T29" fmla="*/ 11289 h 27"/>
                <a:gd name="T30" fmla="*/ 86718 w 24"/>
                <a:gd name="T31" fmla="*/ 26341 h 27"/>
                <a:gd name="T32" fmla="*/ 90488 w 24"/>
                <a:gd name="T33" fmla="*/ 48919 h 27"/>
                <a:gd name="T34" fmla="*/ 90488 w 24"/>
                <a:gd name="T35" fmla="*/ 56444 h 27"/>
                <a:gd name="T36" fmla="*/ 22622 w 24"/>
                <a:gd name="T37" fmla="*/ 56444 h 27"/>
                <a:gd name="T38" fmla="*/ 26392 w 24"/>
                <a:gd name="T39" fmla="*/ 67733 h 27"/>
                <a:gd name="T40" fmla="*/ 33933 w 24"/>
                <a:gd name="T41" fmla="*/ 75259 h 27"/>
                <a:gd name="T42" fmla="*/ 45244 w 24"/>
                <a:gd name="T43" fmla="*/ 82785 h 27"/>
                <a:gd name="T44" fmla="*/ 56555 w 24"/>
                <a:gd name="T45" fmla="*/ 82785 h 27"/>
                <a:gd name="T46" fmla="*/ 45244 w 24"/>
                <a:gd name="T47" fmla="*/ 18815 h 27"/>
                <a:gd name="T48" fmla="*/ 37703 w 24"/>
                <a:gd name="T49" fmla="*/ 18815 h 27"/>
                <a:gd name="T50" fmla="*/ 30163 w 24"/>
                <a:gd name="T51" fmla="*/ 22578 h 27"/>
                <a:gd name="T52" fmla="*/ 26392 w 24"/>
                <a:gd name="T53" fmla="*/ 30104 h 27"/>
                <a:gd name="T54" fmla="*/ 26392 w 24"/>
                <a:gd name="T55" fmla="*/ 37630 h 27"/>
                <a:gd name="T56" fmla="*/ 64096 w 24"/>
                <a:gd name="T57" fmla="*/ 37630 h 27"/>
                <a:gd name="T58" fmla="*/ 64096 w 24"/>
                <a:gd name="T59" fmla="*/ 30104 h 27"/>
                <a:gd name="T60" fmla="*/ 60325 w 24"/>
                <a:gd name="T61" fmla="*/ 22578 h 27"/>
                <a:gd name="T62" fmla="*/ 45244 w 24"/>
                <a:gd name="T63" fmla="*/ 18815 h 27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4" h="27">
                  <a:moveTo>
                    <a:pt x="15" y="22"/>
                  </a:moveTo>
                  <a:cubicBezTo>
                    <a:pt x="16" y="22"/>
                    <a:pt x="17" y="22"/>
                    <a:pt x="19" y="22"/>
                  </a:cubicBezTo>
                  <a:cubicBezTo>
                    <a:pt x="20" y="21"/>
                    <a:pt x="21" y="21"/>
                    <a:pt x="23" y="21"/>
                  </a:cubicBezTo>
                  <a:cubicBezTo>
                    <a:pt x="23" y="26"/>
                    <a:pt x="23" y="26"/>
                    <a:pt x="23" y="26"/>
                  </a:cubicBezTo>
                  <a:cubicBezTo>
                    <a:pt x="21" y="26"/>
                    <a:pt x="20" y="27"/>
                    <a:pt x="19" y="27"/>
                  </a:cubicBezTo>
                  <a:cubicBezTo>
                    <a:pt x="17" y="27"/>
                    <a:pt x="15" y="27"/>
                    <a:pt x="13" y="27"/>
                  </a:cubicBezTo>
                  <a:cubicBezTo>
                    <a:pt x="12" y="27"/>
                    <a:pt x="10" y="27"/>
                    <a:pt x="8" y="27"/>
                  </a:cubicBezTo>
                  <a:cubicBezTo>
                    <a:pt x="5" y="26"/>
                    <a:pt x="2" y="23"/>
                    <a:pt x="1" y="20"/>
                  </a:cubicBezTo>
                  <a:cubicBezTo>
                    <a:pt x="0" y="18"/>
                    <a:pt x="0" y="16"/>
                    <a:pt x="0" y="14"/>
                  </a:cubicBezTo>
                  <a:cubicBezTo>
                    <a:pt x="0" y="12"/>
                    <a:pt x="0" y="10"/>
                    <a:pt x="1" y="8"/>
                  </a:cubicBezTo>
                  <a:cubicBezTo>
                    <a:pt x="2" y="6"/>
                    <a:pt x="2" y="4"/>
                    <a:pt x="4" y="3"/>
                  </a:cubicBezTo>
                  <a:cubicBezTo>
                    <a:pt x="5" y="2"/>
                    <a:pt x="6" y="1"/>
                    <a:pt x="8" y="1"/>
                  </a:cubicBezTo>
                  <a:cubicBezTo>
                    <a:pt x="9" y="0"/>
                    <a:pt x="11" y="0"/>
                    <a:pt x="12" y="0"/>
                  </a:cubicBezTo>
                  <a:cubicBezTo>
                    <a:pt x="14" y="0"/>
                    <a:pt x="15" y="0"/>
                    <a:pt x="17" y="0"/>
                  </a:cubicBezTo>
                  <a:cubicBezTo>
                    <a:pt x="18" y="1"/>
                    <a:pt x="20" y="2"/>
                    <a:pt x="21" y="3"/>
                  </a:cubicBezTo>
                  <a:cubicBezTo>
                    <a:pt x="22" y="4"/>
                    <a:pt x="22" y="5"/>
                    <a:pt x="23" y="7"/>
                  </a:cubicBezTo>
                  <a:cubicBezTo>
                    <a:pt x="24" y="9"/>
                    <a:pt x="24" y="11"/>
                    <a:pt x="24" y="13"/>
                  </a:cubicBezTo>
                  <a:cubicBezTo>
                    <a:pt x="24" y="14"/>
                    <a:pt x="24" y="15"/>
                    <a:pt x="24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6"/>
                    <a:pt x="7" y="17"/>
                    <a:pt x="7" y="18"/>
                  </a:cubicBezTo>
                  <a:cubicBezTo>
                    <a:pt x="8" y="19"/>
                    <a:pt x="8" y="20"/>
                    <a:pt x="9" y="20"/>
                  </a:cubicBezTo>
                  <a:cubicBezTo>
                    <a:pt x="10" y="21"/>
                    <a:pt x="11" y="21"/>
                    <a:pt x="12" y="22"/>
                  </a:cubicBezTo>
                  <a:cubicBezTo>
                    <a:pt x="13" y="22"/>
                    <a:pt x="14" y="22"/>
                    <a:pt x="15" y="22"/>
                  </a:cubicBezTo>
                  <a:close/>
                  <a:moveTo>
                    <a:pt x="12" y="5"/>
                  </a:moveTo>
                  <a:cubicBezTo>
                    <a:pt x="11" y="5"/>
                    <a:pt x="11" y="5"/>
                    <a:pt x="10" y="5"/>
                  </a:cubicBezTo>
                  <a:cubicBezTo>
                    <a:pt x="9" y="5"/>
                    <a:pt x="9" y="6"/>
                    <a:pt x="8" y="6"/>
                  </a:cubicBezTo>
                  <a:cubicBezTo>
                    <a:pt x="8" y="7"/>
                    <a:pt x="8" y="7"/>
                    <a:pt x="7" y="8"/>
                  </a:cubicBezTo>
                  <a:cubicBezTo>
                    <a:pt x="7" y="9"/>
                    <a:pt x="7" y="10"/>
                    <a:pt x="7" y="1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7" y="10"/>
                    <a:pt x="17" y="9"/>
                    <a:pt x="17" y="8"/>
                  </a:cubicBezTo>
                  <a:cubicBezTo>
                    <a:pt x="17" y="7"/>
                    <a:pt x="16" y="7"/>
                    <a:pt x="16" y="6"/>
                  </a:cubicBezTo>
                  <a:cubicBezTo>
                    <a:pt x="15" y="5"/>
                    <a:pt x="14" y="5"/>
                    <a:pt x="12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42" name="Freeform 25">
              <a:extLst>
                <a:ext uri="{FF2B5EF4-FFF2-40B4-BE49-F238E27FC236}">
                  <a16:creationId xmlns:a16="http://schemas.microsoft.com/office/drawing/2014/main" id="{3ED595E9-E989-4E50-A623-BDC2A3D8F04C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10814004" y="3670289"/>
              <a:ext cx="90487" cy="101599"/>
            </a:xfrm>
            <a:custGeom>
              <a:avLst/>
              <a:gdLst>
                <a:gd name="T0" fmla="*/ 56555 w 24"/>
                <a:gd name="T1" fmla="*/ 82785 h 27"/>
                <a:gd name="T2" fmla="*/ 71636 w 24"/>
                <a:gd name="T3" fmla="*/ 82785 h 27"/>
                <a:gd name="T4" fmla="*/ 86718 w 24"/>
                <a:gd name="T5" fmla="*/ 79022 h 27"/>
                <a:gd name="T6" fmla="*/ 86718 w 24"/>
                <a:gd name="T7" fmla="*/ 97837 h 27"/>
                <a:gd name="T8" fmla="*/ 71636 w 24"/>
                <a:gd name="T9" fmla="*/ 101600 h 27"/>
                <a:gd name="T10" fmla="*/ 52785 w 24"/>
                <a:gd name="T11" fmla="*/ 101600 h 27"/>
                <a:gd name="T12" fmla="*/ 33933 w 24"/>
                <a:gd name="T13" fmla="*/ 101600 h 27"/>
                <a:gd name="T14" fmla="*/ 15081 w 24"/>
                <a:gd name="T15" fmla="*/ 90311 h 27"/>
                <a:gd name="T16" fmla="*/ 3770 w 24"/>
                <a:gd name="T17" fmla="*/ 75259 h 27"/>
                <a:gd name="T18" fmla="*/ 0 w 24"/>
                <a:gd name="T19" fmla="*/ 52681 h 27"/>
                <a:gd name="T20" fmla="*/ 3770 w 24"/>
                <a:gd name="T21" fmla="*/ 30104 h 27"/>
                <a:gd name="T22" fmla="*/ 15081 w 24"/>
                <a:gd name="T23" fmla="*/ 11289 h 27"/>
                <a:gd name="T24" fmla="*/ 30163 w 24"/>
                <a:gd name="T25" fmla="*/ 3763 h 27"/>
                <a:gd name="T26" fmla="*/ 49014 w 24"/>
                <a:gd name="T27" fmla="*/ 0 h 27"/>
                <a:gd name="T28" fmla="*/ 64096 w 24"/>
                <a:gd name="T29" fmla="*/ 3763 h 27"/>
                <a:gd name="T30" fmla="*/ 79177 w 24"/>
                <a:gd name="T31" fmla="*/ 11289 h 27"/>
                <a:gd name="T32" fmla="*/ 86718 w 24"/>
                <a:gd name="T33" fmla="*/ 26341 h 27"/>
                <a:gd name="T34" fmla="*/ 90488 w 24"/>
                <a:gd name="T35" fmla="*/ 48919 h 27"/>
                <a:gd name="T36" fmla="*/ 90488 w 24"/>
                <a:gd name="T37" fmla="*/ 56444 h 27"/>
                <a:gd name="T38" fmla="*/ 26392 w 24"/>
                <a:gd name="T39" fmla="*/ 56444 h 27"/>
                <a:gd name="T40" fmla="*/ 30163 w 24"/>
                <a:gd name="T41" fmla="*/ 67733 h 27"/>
                <a:gd name="T42" fmla="*/ 33933 w 24"/>
                <a:gd name="T43" fmla="*/ 79022 h 27"/>
                <a:gd name="T44" fmla="*/ 45244 w 24"/>
                <a:gd name="T45" fmla="*/ 82785 h 27"/>
                <a:gd name="T46" fmla="*/ 56555 w 24"/>
                <a:gd name="T47" fmla="*/ 82785 h 27"/>
                <a:gd name="T48" fmla="*/ 49014 w 24"/>
                <a:gd name="T49" fmla="*/ 18815 h 27"/>
                <a:gd name="T50" fmla="*/ 41474 w 24"/>
                <a:gd name="T51" fmla="*/ 18815 h 27"/>
                <a:gd name="T52" fmla="*/ 33933 w 24"/>
                <a:gd name="T53" fmla="*/ 22578 h 27"/>
                <a:gd name="T54" fmla="*/ 30163 w 24"/>
                <a:gd name="T55" fmla="*/ 30104 h 27"/>
                <a:gd name="T56" fmla="*/ 26392 w 24"/>
                <a:gd name="T57" fmla="*/ 37630 h 27"/>
                <a:gd name="T58" fmla="*/ 67866 w 24"/>
                <a:gd name="T59" fmla="*/ 37630 h 27"/>
                <a:gd name="T60" fmla="*/ 64096 w 24"/>
                <a:gd name="T61" fmla="*/ 30104 h 27"/>
                <a:gd name="T62" fmla="*/ 60325 w 24"/>
                <a:gd name="T63" fmla="*/ 22578 h 27"/>
                <a:gd name="T64" fmla="*/ 49014 w 24"/>
                <a:gd name="T65" fmla="*/ 18815 h 2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4" h="27">
                  <a:moveTo>
                    <a:pt x="15" y="22"/>
                  </a:moveTo>
                  <a:cubicBezTo>
                    <a:pt x="17" y="22"/>
                    <a:pt x="18" y="22"/>
                    <a:pt x="19" y="22"/>
                  </a:cubicBezTo>
                  <a:cubicBezTo>
                    <a:pt x="21" y="21"/>
                    <a:pt x="22" y="21"/>
                    <a:pt x="23" y="21"/>
                  </a:cubicBezTo>
                  <a:cubicBezTo>
                    <a:pt x="23" y="26"/>
                    <a:pt x="23" y="26"/>
                    <a:pt x="23" y="26"/>
                  </a:cubicBezTo>
                  <a:cubicBezTo>
                    <a:pt x="22" y="26"/>
                    <a:pt x="21" y="27"/>
                    <a:pt x="19" y="27"/>
                  </a:cubicBezTo>
                  <a:cubicBezTo>
                    <a:pt x="18" y="27"/>
                    <a:pt x="16" y="27"/>
                    <a:pt x="14" y="27"/>
                  </a:cubicBezTo>
                  <a:cubicBezTo>
                    <a:pt x="12" y="27"/>
                    <a:pt x="10" y="27"/>
                    <a:pt x="9" y="27"/>
                  </a:cubicBezTo>
                  <a:cubicBezTo>
                    <a:pt x="7" y="26"/>
                    <a:pt x="6" y="25"/>
                    <a:pt x="4" y="24"/>
                  </a:cubicBezTo>
                  <a:cubicBezTo>
                    <a:pt x="3" y="23"/>
                    <a:pt x="2" y="22"/>
                    <a:pt x="1" y="20"/>
                  </a:cubicBezTo>
                  <a:cubicBezTo>
                    <a:pt x="0" y="18"/>
                    <a:pt x="0" y="16"/>
                    <a:pt x="0" y="14"/>
                  </a:cubicBezTo>
                  <a:cubicBezTo>
                    <a:pt x="0" y="12"/>
                    <a:pt x="0" y="10"/>
                    <a:pt x="1" y="8"/>
                  </a:cubicBezTo>
                  <a:cubicBezTo>
                    <a:pt x="2" y="6"/>
                    <a:pt x="3" y="5"/>
                    <a:pt x="4" y="3"/>
                  </a:cubicBezTo>
                  <a:cubicBezTo>
                    <a:pt x="5" y="2"/>
                    <a:pt x="6" y="1"/>
                    <a:pt x="8" y="1"/>
                  </a:cubicBezTo>
                  <a:cubicBezTo>
                    <a:pt x="9" y="0"/>
                    <a:pt x="11" y="0"/>
                    <a:pt x="13" y="0"/>
                  </a:cubicBezTo>
                  <a:cubicBezTo>
                    <a:pt x="14" y="0"/>
                    <a:pt x="16" y="0"/>
                    <a:pt x="17" y="1"/>
                  </a:cubicBezTo>
                  <a:cubicBezTo>
                    <a:pt x="19" y="1"/>
                    <a:pt x="20" y="2"/>
                    <a:pt x="21" y="3"/>
                  </a:cubicBezTo>
                  <a:cubicBezTo>
                    <a:pt x="22" y="4"/>
                    <a:pt x="23" y="5"/>
                    <a:pt x="23" y="7"/>
                  </a:cubicBezTo>
                  <a:cubicBezTo>
                    <a:pt x="24" y="9"/>
                    <a:pt x="24" y="11"/>
                    <a:pt x="24" y="13"/>
                  </a:cubicBezTo>
                  <a:cubicBezTo>
                    <a:pt x="24" y="14"/>
                    <a:pt x="24" y="15"/>
                    <a:pt x="24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6"/>
                    <a:pt x="7" y="17"/>
                    <a:pt x="8" y="18"/>
                  </a:cubicBezTo>
                  <a:cubicBezTo>
                    <a:pt x="8" y="19"/>
                    <a:pt x="9" y="20"/>
                    <a:pt x="9" y="21"/>
                  </a:cubicBezTo>
                  <a:cubicBezTo>
                    <a:pt x="10" y="21"/>
                    <a:pt x="11" y="21"/>
                    <a:pt x="12" y="22"/>
                  </a:cubicBezTo>
                  <a:cubicBezTo>
                    <a:pt x="13" y="22"/>
                    <a:pt x="14" y="22"/>
                    <a:pt x="15" y="22"/>
                  </a:cubicBezTo>
                  <a:close/>
                  <a:moveTo>
                    <a:pt x="13" y="5"/>
                  </a:moveTo>
                  <a:cubicBezTo>
                    <a:pt x="12" y="5"/>
                    <a:pt x="11" y="5"/>
                    <a:pt x="11" y="5"/>
                  </a:cubicBezTo>
                  <a:cubicBezTo>
                    <a:pt x="10" y="5"/>
                    <a:pt x="9" y="6"/>
                    <a:pt x="9" y="6"/>
                  </a:cubicBezTo>
                  <a:cubicBezTo>
                    <a:pt x="8" y="7"/>
                    <a:pt x="8" y="7"/>
                    <a:pt x="8" y="8"/>
                  </a:cubicBezTo>
                  <a:cubicBezTo>
                    <a:pt x="8" y="9"/>
                    <a:pt x="7" y="10"/>
                    <a:pt x="7" y="1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8" y="10"/>
                    <a:pt x="17" y="9"/>
                    <a:pt x="17" y="8"/>
                  </a:cubicBezTo>
                  <a:cubicBezTo>
                    <a:pt x="17" y="7"/>
                    <a:pt x="17" y="7"/>
                    <a:pt x="16" y="6"/>
                  </a:cubicBezTo>
                  <a:cubicBezTo>
                    <a:pt x="15" y="5"/>
                    <a:pt x="14" y="5"/>
                    <a:pt x="13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43" name="Freeform 26">
              <a:extLst>
                <a:ext uri="{FF2B5EF4-FFF2-40B4-BE49-F238E27FC236}">
                  <a16:creationId xmlns:a16="http://schemas.microsoft.com/office/drawing/2014/main" id="{AC66B078-AC9F-4853-9235-8EB6BEDC8130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0926715" y="3670289"/>
              <a:ext cx="60325" cy="101599"/>
            </a:xfrm>
            <a:custGeom>
              <a:avLst/>
              <a:gdLst>
                <a:gd name="T0" fmla="*/ 60325 w 16"/>
                <a:gd name="T1" fmla="*/ 18815 h 27"/>
                <a:gd name="T2" fmla="*/ 56555 w 16"/>
                <a:gd name="T3" fmla="*/ 18815 h 27"/>
                <a:gd name="T4" fmla="*/ 37703 w 16"/>
                <a:gd name="T5" fmla="*/ 22578 h 27"/>
                <a:gd name="T6" fmla="*/ 26392 w 16"/>
                <a:gd name="T7" fmla="*/ 33867 h 27"/>
                <a:gd name="T8" fmla="*/ 26392 w 16"/>
                <a:gd name="T9" fmla="*/ 101600 h 27"/>
                <a:gd name="T10" fmla="*/ 0 w 16"/>
                <a:gd name="T11" fmla="*/ 101600 h 27"/>
                <a:gd name="T12" fmla="*/ 0 w 16"/>
                <a:gd name="T13" fmla="*/ 0 h 27"/>
                <a:gd name="T14" fmla="*/ 22622 w 16"/>
                <a:gd name="T15" fmla="*/ 0 h 27"/>
                <a:gd name="T16" fmla="*/ 22622 w 16"/>
                <a:gd name="T17" fmla="*/ 15052 h 27"/>
                <a:gd name="T18" fmla="*/ 22622 w 16"/>
                <a:gd name="T19" fmla="*/ 15052 h 27"/>
                <a:gd name="T20" fmla="*/ 33933 w 16"/>
                <a:gd name="T21" fmla="*/ 3763 h 27"/>
                <a:gd name="T22" fmla="*/ 52784 w 16"/>
                <a:gd name="T23" fmla="*/ 0 h 27"/>
                <a:gd name="T24" fmla="*/ 60325 w 16"/>
                <a:gd name="T25" fmla="*/ 0 h 27"/>
                <a:gd name="T26" fmla="*/ 60325 w 16"/>
                <a:gd name="T27" fmla="*/ 18815 h 2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6" h="27">
                  <a:moveTo>
                    <a:pt x="16" y="5"/>
                  </a:moveTo>
                  <a:cubicBezTo>
                    <a:pt x="15" y="5"/>
                    <a:pt x="15" y="5"/>
                    <a:pt x="15" y="5"/>
                  </a:cubicBezTo>
                  <a:cubicBezTo>
                    <a:pt x="14" y="5"/>
                    <a:pt x="12" y="6"/>
                    <a:pt x="10" y="6"/>
                  </a:cubicBezTo>
                  <a:cubicBezTo>
                    <a:pt x="9" y="7"/>
                    <a:pt x="8" y="8"/>
                    <a:pt x="7" y="9"/>
                  </a:cubicBezTo>
                  <a:cubicBezTo>
                    <a:pt x="7" y="27"/>
                    <a:pt x="7" y="27"/>
                    <a:pt x="7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7" y="3"/>
                    <a:pt x="8" y="2"/>
                    <a:pt x="9" y="1"/>
                  </a:cubicBezTo>
                  <a:cubicBezTo>
                    <a:pt x="11" y="0"/>
                    <a:pt x="12" y="0"/>
                    <a:pt x="14" y="0"/>
                  </a:cubicBezTo>
                  <a:cubicBezTo>
                    <a:pt x="15" y="0"/>
                    <a:pt x="15" y="0"/>
                    <a:pt x="16" y="0"/>
                  </a:cubicBezTo>
                  <a:lnTo>
                    <a:pt x="16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44" name="Freeform 27">
              <a:extLst>
                <a:ext uri="{FF2B5EF4-FFF2-40B4-BE49-F238E27FC236}">
                  <a16:creationId xmlns:a16="http://schemas.microsoft.com/office/drawing/2014/main" id="{C960BF35-7A4A-427A-9F18-A30A48BD466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1009263" y="3632188"/>
              <a:ext cx="41275" cy="57150"/>
            </a:xfrm>
            <a:custGeom>
              <a:avLst/>
              <a:gdLst>
                <a:gd name="T0" fmla="*/ 15875 w 26"/>
                <a:gd name="T1" fmla="*/ 0 h 36"/>
                <a:gd name="T2" fmla="*/ 41275 w 26"/>
                <a:gd name="T3" fmla="*/ 0 h 36"/>
                <a:gd name="T4" fmla="*/ 19050 w 26"/>
                <a:gd name="T5" fmla="*/ 57150 h 36"/>
                <a:gd name="T6" fmla="*/ 0 w 26"/>
                <a:gd name="T7" fmla="*/ 57150 h 36"/>
                <a:gd name="T8" fmla="*/ 15875 w 26"/>
                <a:gd name="T9" fmla="*/ 0 h 3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6" h="36">
                  <a:moveTo>
                    <a:pt x="10" y="0"/>
                  </a:moveTo>
                  <a:lnTo>
                    <a:pt x="26" y="0"/>
                  </a:lnTo>
                  <a:lnTo>
                    <a:pt x="12" y="36"/>
                  </a:lnTo>
                  <a:lnTo>
                    <a:pt x="0" y="36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45" name="Freeform 28">
              <a:extLst>
                <a:ext uri="{FF2B5EF4-FFF2-40B4-BE49-F238E27FC236}">
                  <a16:creationId xmlns:a16="http://schemas.microsoft.com/office/drawing/2014/main" id="{92FE3C96-466F-4897-A702-41C75C1A263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1055305" y="3667114"/>
              <a:ext cx="74613" cy="104775"/>
            </a:xfrm>
            <a:custGeom>
              <a:avLst/>
              <a:gdLst>
                <a:gd name="T0" fmla="*/ 48498 w 20"/>
                <a:gd name="T1" fmla="*/ 74839 h 28"/>
                <a:gd name="T2" fmla="*/ 48498 w 20"/>
                <a:gd name="T3" fmla="*/ 71097 h 28"/>
                <a:gd name="T4" fmla="*/ 41037 w 20"/>
                <a:gd name="T5" fmla="*/ 67355 h 28"/>
                <a:gd name="T6" fmla="*/ 33576 w 20"/>
                <a:gd name="T7" fmla="*/ 63613 h 28"/>
                <a:gd name="T8" fmla="*/ 26115 w 20"/>
                <a:gd name="T9" fmla="*/ 59871 h 28"/>
                <a:gd name="T10" fmla="*/ 18653 w 20"/>
                <a:gd name="T11" fmla="*/ 59871 h 28"/>
                <a:gd name="T12" fmla="*/ 7461 w 20"/>
                <a:gd name="T13" fmla="*/ 52388 h 28"/>
                <a:gd name="T14" fmla="*/ 3731 w 20"/>
                <a:gd name="T15" fmla="*/ 44904 h 28"/>
                <a:gd name="T16" fmla="*/ 0 w 20"/>
                <a:gd name="T17" fmla="*/ 33678 h 28"/>
                <a:gd name="T18" fmla="*/ 3731 w 20"/>
                <a:gd name="T19" fmla="*/ 18710 h 28"/>
                <a:gd name="T20" fmla="*/ 11192 w 20"/>
                <a:gd name="T21" fmla="*/ 11226 h 28"/>
                <a:gd name="T22" fmla="*/ 22384 w 20"/>
                <a:gd name="T23" fmla="*/ 3742 h 28"/>
                <a:gd name="T24" fmla="*/ 37307 w 20"/>
                <a:gd name="T25" fmla="*/ 0 h 28"/>
                <a:gd name="T26" fmla="*/ 55960 w 20"/>
                <a:gd name="T27" fmla="*/ 3742 h 28"/>
                <a:gd name="T28" fmla="*/ 70882 w 20"/>
                <a:gd name="T29" fmla="*/ 7484 h 28"/>
                <a:gd name="T30" fmla="*/ 70882 w 20"/>
                <a:gd name="T31" fmla="*/ 26194 h 28"/>
                <a:gd name="T32" fmla="*/ 63421 w 20"/>
                <a:gd name="T33" fmla="*/ 26194 h 28"/>
                <a:gd name="T34" fmla="*/ 55960 w 20"/>
                <a:gd name="T35" fmla="*/ 22452 h 28"/>
                <a:gd name="T36" fmla="*/ 48498 w 20"/>
                <a:gd name="T37" fmla="*/ 22452 h 28"/>
                <a:gd name="T38" fmla="*/ 41037 w 20"/>
                <a:gd name="T39" fmla="*/ 22452 h 28"/>
                <a:gd name="T40" fmla="*/ 33576 w 20"/>
                <a:gd name="T41" fmla="*/ 22452 h 28"/>
                <a:gd name="T42" fmla="*/ 29845 w 20"/>
                <a:gd name="T43" fmla="*/ 26194 h 28"/>
                <a:gd name="T44" fmla="*/ 26115 w 20"/>
                <a:gd name="T45" fmla="*/ 26194 h 28"/>
                <a:gd name="T46" fmla="*/ 26115 w 20"/>
                <a:gd name="T47" fmla="*/ 29936 h 28"/>
                <a:gd name="T48" fmla="*/ 26115 w 20"/>
                <a:gd name="T49" fmla="*/ 37420 h 28"/>
                <a:gd name="T50" fmla="*/ 29845 w 20"/>
                <a:gd name="T51" fmla="*/ 41162 h 28"/>
                <a:gd name="T52" fmla="*/ 37307 w 20"/>
                <a:gd name="T53" fmla="*/ 41162 h 28"/>
                <a:gd name="T54" fmla="*/ 44768 w 20"/>
                <a:gd name="T55" fmla="*/ 44904 h 28"/>
                <a:gd name="T56" fmla="*/ 55960 w 20"/>
                <a:gd name="T57" fmla="*/ 48646 h 28"/>
                <a:gd name="T58" fmla="*/ 63421 w 20"/>
                <a:gd name="T59" fmla="*/ 52388 h 28"/>
                <a:gd name="T60" fmla="*/ 70882 w 20"/>
                <a:gd name="T61" fmla="*/ 59871 h 28"/>
                <a:gd name="T62" fmla="*/ 74613 w 20"/>
                <a:gd name="T63" fmla="*/ 71097 h 28"/>
                <a:gd name="T64" fmla="*/ 70882 w 20"/>
                <a:gd name="T65" fmla="*/ 86065 h 28"/>
                <a:gd name="T66" fmla="*/ 59690 w 20"/>
                <a:gd name="T67" fmla="*/ 97291 h 28"/>
                <a:gd name="T68" fmla="*/ 48498 w 20"/>
                <a:gd name="T69" fmla="*/ 104775 h 28"/>
                <a:gd name="T70" fmla="*/ 29845 w 20"/>
                <a:gd name="T71" fmla="*/ 104775 h 28"/>
                <a:gd name="T72" fmla="*/ 14923 w 20"/>
                <a:gd name="T73" fmla="*/ 104775 h 28"/>
                <a:gd name="T74" fmla="*/ 0 w 20"/>
                <a:gd name="T75" fmla="*/ 101033 h 28"/>
                <a:gd name="T76" fmla="*/ 0 w 20"/>
                <a:gd name="T77" fmla="*/ 82323 h 28"/>
                <a:gd name="T78" fmla="*/ 14923 w 20"/>
                <a:gd name="T79" fmla="*/ 86065 h 28"/>
                <a:gd name="T80" fmla="*/ 29845 w 20"/>
                <a:gd name="T81" fmla="*/ 86065 h 28"/>
                <a:gd name="T82" fmla="*/ 37307 w 20"/>
                <a:gd name="T83" fmla="*/ 86065 h 28"/>
                <a:gd name="T84" fmla="*/ 44768 w 20"/>
                <a:gd name="T85" fmla="*/ 86065 h 28"/>
                <a:gd name="T86" fmla="*/ 48498 w 20"/>
                <a:gd name="T87" fmla="*/ 82323 h 28"/>
                <a:gd name="T88" fmla="*/ 48498 w 20"/>
                <a:gd name="T89" fmla="*/ 74839 h 2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20" h="28">
                  <a:moveTo>
                    <a:pt x="13" y="20"/>
                  </a:moveTo>
                  <a:cubicBezTo>
                    <a:pt x="13" y="19"/>
                    <a:pt x="13" y="19"/>
                    <a:pt x="13" y="19"/>
                  </a:cubicBezTo>
                  <a:cubicBezTo>
                    <a:pt x="12" y="18"/>
                    <a:pt x="12" y="18"/>
                    <a:pt x="11" y="18"/>
                  </a:cubicBezTo>
                  <a:cubicBezTo>
                    <a:pt x="11" y="17"/>
                    <a:pt x="10" y="17"/>
                    <a:pt x="9" y="17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6" y="16"/>
                    <a:pt x="6" y="16"/>
                    <a:pt x="5" y="16"/>
                  </a:cubicBezTo>
                  <a:cubicBezTo>
                    <a:pt x="4" y="15"/>
                    <a:pt x="3" y="15"/>
                    <a:pt x="2" y="14"/>
                  </a:cubicBezTo>
                  <a:cubicBezTo>
                    <a:pt x="2" y="14"/>
                    <a:pt x="1" y="13"/>
                    <a:pt x="1" y="12"/>
                  </a:cubicBezTo>
                  <a:cubicBezTo>
                    <a:pt x="0" y="11"/>
                    <a:pt x="0" y="10"/>
                    <a:pt x="0" y="9"/>
                  </a:cubicBezTo>
                  <a:cubicBezTo>
                    <a:pt x="0" y="8"/>
                    <a:pt x="0" y="6"/>
                    <a:pt x="1" y="5"/>
                  </a:cubicBezTo>
                  <a:cubicBezTo>
                    <a:pt x="2" y="4"/>
                    <a:pt x="2" y="3"/>
                    <a:pt x="3" y="3"/>
                  </a:cubicBezTo>
                  <a:cubicBezTo>
                    <a:pt x="4" y="2"/>
                    <a:pt x="5" y="1"/>
                    <a:pt x="6" y="1"/>
                  </a:cubicBezTo>
                  <a:cubicBezTo>
                    <a:pt x="7" y="1"/>
                    <a:pt x="9" y="0"/>
                    <a:pt x="10" y="0"/>
                  </a:cubicBezTo>
                  <a:cubicBezTo>
                    <a:pt x="12" y="0"/>
                    <a:pt x="13" y="1"/>
                    <a:pt x="15" y="1"/>
                  </a:cubicBezTo>
                  <a:cubicBezTo>
                    <a:pt x="16" y="1"/>
                    <a:pt x="17" y="1"/>
                    <a:pt x="19" y="2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0" y="6"/>
                    <a:pt x="9" y="6"/>
                    <a:pt x="9" y="6"/>
                  </a:cubicBezTo>
                  <a:cubicBezTo>
                    <a:pt x="8" y="6"/>
                    <a:pt x="8" y="6"/>
                    <a:pt x="8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9"/>
                    <a:pt x="7" y="9"/>
                    <a:pt x="7" y="10"/>
                  </a:cubicBezTo>
                  <a:cubicBezTo>
                    <a:pt x="7" y="10"/>
                    <a:pt x="8" y="11"/>
                    <a:pt x="8" y="11"/>
                  </a:cubicBezTo>
                  <a:cubicBezTo>
                    <a:pt x="9" y="11"/>
                    <a:pt x="10" y="11"/>
                    <a:pt x="10" y="11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12"/>
                    <a:pt x="14" y="12"/>
                    <a:pt x="15" y="13"/>
                  </a:cubicBezTo>
                  <a:cubicBezTo>
                    <a:pt x="16" y="13"/>
                    <a:pt x="16" y="13"/>
                    <a:pt x="17" y="14"/>
                  </a:cubicBezTo>
                  <a:cubicBezTo>
                    <a:pt x="18" y="15"/>
                    <a:pt x="18" y="15"/>
                    <a:pt x="19" y="16"/>
                  </a:cubicBezTo>
                  <a:cubicBezTo>
                    <a:pt x="19" y="17"/>
                    <a:pt x="20" y="18"/>
                    <a:pt x="20" y="19"/>
                  </a:cubicBezTo>
                  <a:cubicBezTo>
                    <a:pt x="20" y="21"/>
                    <a:pt x="19" y="22"/>
                    <a:pt x="19" y="23"/>
                  </a:cubicBezTo>
                  <a:cubicBezTo>
                    <a:pt x="18" y="25"/>
                    <a:pt x="17" y="25"/>
                    <a:pt x="16" y="26"/>
                  </a:cubicBezTo>
                  <a:cubicBezTo>
                    <a:pt x="15" y="27"/>
                    <a:pt x="14" y="28"/>
                    <a:pt x="13" y="28"/>
                  </a:cubicBezTo>
                  <a:cubicBezTo>
                    <a:pt x="11" y="28"/>
                    <a:pt x="10" y="28"/>
                    <a:pt x="8" y="28"/>
                  </a:cubicBezTo>
                  <a:cubicBezTo>
                    <a:pt x="7" y="28"/>
                    <a:pt x="5" y="28"/>
                    <a:pt x="4" y="28"/>
                  </a:cubicBezTo>
                  <a:cubicBezTo>
                    <a:pt x="2" y="28"/>
                    <a:pt x="1" y="27"/>
                    <a:pt x="0" y="27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2" y="22"/>
                    <a:pt x="3" y="23"/>
                    <a:pt x="4" y="23"/>
                  </a:cubicBezTo>
                  <a:cubicBezTo>
                    <a:pt x="5" y="23"/>
                    <a:pt x="7" y="23"/>
                    <a:pt x="8" y="23"/>
                  </a:cubicBezTo>
                  <a:cubicBezTo>
                    <a:pt x="8" y="23"/>
                    <a:pt x="9" y="23"/>
                    <a:pt x="10" y="23"/>
                  </a:cubicBezTo>
                  <a:cubicBezTo>
                    <a:pt x="11" y="23"/>
                    <a:pt x="11" y="23"/>
                    <a:pt x="12" y="23"/>
                  </a:cubicBezTo>
                  <a:cubicBezTo>
                    <a:pt x="12" y="22"/>
                    <a:pt x="13" y="22"/>
                    <a:pt x="13" y="22"/>
                  </a:cubicBezTo>
                  <a:cubicBezTo>
                    <a:pt x="13" y="21"/>
                    <a:pt x="13" y="21"/>
                    <a:pt x="13" y="2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46" name="Freeform 29">
              <a:extLst>
                <a:ext uri="{FF2B5EF4-FFF2-40B4-BE49-F238E27FC236}">
                  <a16:creationId xmlns:a16="http://schemas.microsoft.com/office/drawing/2014/main" id="{D4BCC3EA-CDB6-415A-8CBE-8F4AC51D756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1185477" y="3670289"/>
              <a:ext cx="76200" cy="101599"/>
            </a:xfrm>
            <a:custGeom>
              <a:avLst/>
              <a:gdLst>
                <a:gd name="T0" fmla="*/ 76200 w 20"/>
                <a:gd name="T1" fmla="*/ 97837 h 27"/>
                <a:gd name="T2" fmla="*/ 64770 w 20"/>
                <a:gd name="T3" fmla="*/ 101600 h 27"/>
                <a:gd name="T4" fmla="*/ 53340 w 20"/>
                <a:gd name="T5" fmla="*/ 101600 h 27"/>
                <a:gd name="T6" fmla="*/ 30480 w 20"/>
                <a:gd name="T7" fmla="*/ 97837 h 27"/>
                <a:gd name="T8" fmla="*/ 15240 w 20"/>
                <a:gd name="T9" fmla="*/ 90311 h 27"/>
                <a:gd name="T10" fmla="*/ 3810 w 20"/>
                <a:gd name="T11" fmla="*/ 75259 h 27"/>
                <a:gd name="T12" fmla="*/ 0 w 20"/>
                <a:gd name="T13" fmla="*/ 52681 h 27"/>
                <a:gd name="T14" fmla="*/ 3810 w 20"/>
                <a:gd name="T15" fmla="*/ 30104 h 27"/>
                <a:gd name="T16" fmla="*/ 15240 w 20"/>
                <a:gd name="T17" fmla="*/ 11289 h 27"/>
                <a:gd name="T18" fmla="*/ 34290 w 20"/>
                <a:gd name="T19" fmla="*/ 3763 h 27"/>
                <a:gd name="T20" fmla="*/ 53340 w 20"/>
                <a:gd name="T21" fmla="*/ 0 h 27"/>
                <a:gd name="T22" fmla="*/ 64770 w 20"/>
                <a:gd name="T23" fmla="*/ 0 h 27"/>
                <a:gd name="T24" fmla="*/ 76200 w 20"/>
                <a:gd name="T25" fmla="*/ 3763 h 27"/>
                <a:gd name="T26" fmla="*/ 76200 w 20"/>
                <a:gd name="T27" fmla="*/ 22578 h 27"/>
                <a:gd name="T28" fmla="*/ 64770 w 20"/>
                <a:gd name="T29" fmla="*/ 18815 h 27"/>
                <a:gd name="T30" fmla="*/ 57150 w 20"/>
                <a:gd name="T31" fmla="*/ 18815 h 27"/>
                <a:gd name="T32" fmla="*/ 45720 w 20"/>
                <a:gd name="T33" fmla="*/ 22578 h 27"/>
                <a:gd name="T34" fmla="*/ 34290 w 20"/>
                <a:gd name="T35" fmla="*/ 26341 h 27"/>
                <a:gd name="T36" fmla="*/ 26670 w 20"/>
                <a:gd name="T37" fmla="*/ 37630 h 27"/>
                <a:gd name="T38" fmla="*/ 26670 w 20"/>
                <a:gd name="T39" fmla="*/ 52681 h 27"/>
                <a:gd name="T40" fmla="*/ 26670 w 20"/>
                <a:gd name="T41" fmla="*/ 63970 h 27"/>
                <a:gd name="T42" fmla="*/ 34290 w 20"/>
                <a:gd name="T43" fmla="*/ 75259 h 27"/>
                <a:gd name="T44" fmla="*/ 41910 w 20"/>
                <a:gd name="T45" fmla="*/ 79022 h 27"/>
                <a:gd name="T46" fmla="*/ 53340 w 20"/>
                <a:gd name="T47" fmla="*/ 82785 h 27"/>
                <a:gd name="T48" fmla="*/ 68580 w 20"/>
                <a:gd name="T49" fmla="*/ 82785 h 27"/>
                <a:gd name="T50" fmla="*/ 76200 w 20"/>
                <a:gd name="T51" fmla="*/ 79022 h 27"/>
                <a:gd name="T52" fmla="*/ 76200 w 20"/>
                <a:gd name="T53" fmla="*/ 97837 h 27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20" h="27">
                  <a:moveTo>
                    <a:pt x="20" y="26"/>
                  </a:moveTo>
                  <a:cubicBezTo>
                    <a:pt x="19" y="26"/>
                    <a:pt x="18" y="27"/>
                    <a:pt x="17" y="27"/>
                  </a:cubicBezTo>
                  <a:cubicBezTo>
                    <a:pt x="16" y="27"/>
                    <a:pt x="15" y="27"/>
                    <a:pt x="14" y="27"/>
                  </a:cubicBezTo>
                  <a:cubicBezTo>
                    <a:pt x="12" y="27"/>
                    <a:pt x="10" y="27"/>
                    <a:pt x="8" y="26"/>
                  </a:cubicBezTo>
                  <a:cubicBezTo>
                    <a:pt x="7" y="26"/>
                    <a:pt x="5" y="25"/>
                    <a:pt x="4" y="24"/>
                  </a:cubicBezTo>
                  <a:cubicBezTo>
                    <a:pt x="3" y="23"/>
                    <a:pt x="2" y="22"/>
                    <a:pt x="1" y="20"/>
                  </a:cubicBezTo>
                  <a:cubicBezTo>
                    <a:pt x="0" y="18"/>
                    <a:pt x="0" y="16"/>
                    <a:pt x="0" y="14"/>
                  </a:cubicBezTo>
                  <a:cubicBezTo>
                    <a:pt x="0" y="12"/>
                    <a:pt x="0" y="10"/>
                    <a:pt x="1" y="8"/>
                  </a:cubicBezTo>
                  <a:cubicBezTo>
                    <a:pt x="2" y="6"/>
                    <a:pt x="3" y="4"/>
                    <a:pt x="4" y="3"/>
                  </a:cubicBezTo>
                  <a:cubicBezTo>
                    <a:pt x="6" y="2"/>
                    <a:pt x="7" y="1"/>
                    <a:pt x="9" y="1"/>
                  </a:cubicBezTo>
                  <a:cubicBezTo>
                    <a:pt x="10" y="0"/>
                    <a:pt x="12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1"/>
                    <a:pt x="20" y="1"/>
                  </a:cubicBezTo>
                  <a:cubicBezTo>
                    <a:pt x="20" y="6"/>
                    <a:pt x="20" y="6"/>
                    <a:pt x="20" y="6"/>
                  </a:cubicBezTo>
                  <a:cubicBezTo>
                    <a:pt x="19" y="6"/>
                    <a:pt x="18" y="6"/>
                    <a:pt x="17" y="5"/>
                  </a:cubicBezTo>
                  <a:cubicBezTo>
                    <a:pt x="16" y="5"/>
                    <a:pt x="15" y="5"/>
                    <a:pt x="15" y="5"/>
                  </a:cubicBezTo>
                  <a:cubicBezTo>
                    <a:pt x="14" y="5"/>
                    <a:pt x="13" y="5"/>
                    <a:pt x="12" y="6"/>
                  </a:cubicBezTo>
                  <a:cubicBezTo>
                    <a:pt x="11" y="6"/>
                    <a:pt x="10" y="6"/>
                    <a:pt x="9" y="7"/>
                  </a:cubicBezTo>
                  <a:cubicBezTo>
                    <a:pt x="8" y="8"/>
                    <a:pt x="8" y="9"/>
                    <a:pt x="7" y="10"/>
                  </a:cubicBezTo>
                  <a:cubicBezTo>
                    <a:pt x="7" y="11"/>
                    <a:pt x="7" y="12"/>
                    <a:pt x="7" y="14"/>
                  </a:cubicBezTo>
                  <a:cubicBezTo>
                    <a:pt x="7" y="15"/>
                    <a:pt x="7" y="16"/>
                    <a:pt x="7" y="17"/>
                  </a:cubicBezTo>
                  <a:cubicBezTo>
                    <a:pt x="7" y="18"/>
                    <a:pt x="8" y="19"/>
                    <a:pt x="9" y="20"/>
                  </a:cubicBezTo>
                  <a:cubicBezTo>
                    <a:pt x="9" y="20"/>
                    <a:pt x="10" y="21"/>
                    <a:pt x="11" y="21"/>
                  </a:cubicBezTo>
                  <a:cubicBezTo>
                    <a:pt x="12" y="22"/>
                    <a:pt x="13" y="22"/>
                    <a:pt x="14" y="22"/>
                  </a:cubicBezTo>
                  <a:cubicBezTo>
                    <a:pt x="16" y="22"/>
                    <a:pt x="17" y="22"/>
                    <a:pt x="18" y="22"/>
                  </a:cubicBezTo>
                  <a:cubicBezTo>
                    <a:pt x="19" y="22"/>
                    <a:pt x="19" y="21"/>
                    <a:pt x="20" y="21"/>
                  </a:cubicBezTo>
                  <a:lnTo>
                    <a:pt x="20" y="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47" name="Freeform 30">
              <a:extLst>
                <a:ext uri="{FF2B5EF4-FFF2-40B4-BE49-F238E27FC236}">
                  <a16:creationId xmlns:a16="http://schemas.microsoft.com/office/drawing/2014/main" id="{EF31D31F-4A67-4A83-819A-FF855DE004E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1283912" y="3621079"/>
              <a:ext cx="88899" cy="150812"/>
            </a:xfrm>
            <a:custGeom>
              <a:avLst/>
              <a:gdLst>
                <a:gd name="T0" fmla="*/ 25929 w 24"/>
                <a:gd name="T1" fmla="*/ 41473 h 40"/>
                <a:gd name="T2" fmla="*/ 25929 w 24"/>
                <a:gd name="T3" fmla="*/ 52784 h 40"/>
                <a:gd name="T4" fmla="*/ 22225 w 24"/>
                <a:gd name="T5" fmla="*/ 64095 h 40"/>
                <a:gd name="T6" fmla="*/ 22225 w 24"/>
                <a:gd name="T7" fmla="*/ 64095 h 40"/>
                <a:gd name="T8" fmla="*/ 29633 w 24"/>
                <a:gd name="T9" fmla="*/ 56555 h 40"/>
                <a:gd name="T10" fmla="*/ 37042 w 24"/>
                <a:gd name="T11" fmla="*/ 52784 h 40"/>
                <a:gd name="T12" fmla="*/ 44450 w 24"/>
                <a:gd name="T13" fmla="*/ 49014 h 40"/>
                <a:gd name="T14" fmla="*/ 55563 w 24"/>
                <a:gd name="T15" fmla="*/ 49014 h 40"/>
                <a:gd name="T16" fmla="*/ 62971 w 24"/>
                <a:gd name="T17" fmla="*/ 49014 h 40"/>
                <a:gd name="T18" fmla="*/ 74083 w 24"/>
                <a:gd name="T19" fmla="*/ 52784 h 40"/>
                <a:gd name="T20" fmla="*/ 77788 w 24"/>
                <a:gd name="T21" fmla="*/ 56555 h 40"/>
                <a:gd name="T22" fmla="*/ 85196 w 24"/>
                <a:gd name="T23" fmla="*/ 64095 h 40"/>
                <a:gd name="T24" fmla="*/ 88900 w 24"/>
                <a:gd name="T25" fmla="*/ 75406 h 40"/>
                <a:gd name="T26" fmla="*/ 88900 w 24"/>
                <a:gd name="T27" fmla="*/ 86717 h 40"/>
                <a:gd name="T28" fmla="*/ 88900 w 24"/>
                <a:gd name="T29" fmla="*/ 150812 h 40"/>
                <a:gd name="T30" fmla="*/ 66675 w 24"/>
                <a:gd name="T31" fmla="*/ 150812 h 40"/>
                <a:gd name="T32" fmla="*/ 66675 w 24"/>
                <a:gd name="T33" fmla="*/ 90487 h 40"/>
                <a:gd name="T34" fmla="*/ 66675 w 24"/>
                <a:gd name="T35" fmla="*/ 82947 h 40"/>
                <a:gd name="T36" fmla="*/ 62971 w 24"/>
                <a:gd name="T37" fmla="*/ 75406 h 40"/>
                <a:gd name="T38" fmla="*/ 59267 w 24"/>
                <a:gd name="T39" fmla="*/ 71636 h 40"/>
                <a:gd name="T40" fmla="*/ 48154 w 24"/>
                <a:gd name="T41" fmla="*/ 67865 h 40"/>
                <a:gd name="T42" fmla="*/ 37042 w 24"/>
                <a:gd name="T43" fmla="*/ 71636 h 40"/>
                <a:gd name="T44" fmla="*/ 25929 w 24"/>
                <a:gd name="T45" fmla="*/ 82947 h 40"/>
                <a:gd name="T46" fmla="*/ 25929 w 24"/>
                <a:gd name="T47" fmla="*/ 150812 h 40"/>
                <a:gd name="T48" fmla="*/ 0 w 24"/>
                <a:gd name="T49" fmla="*/ 150812 h 40"/>
                <a:gd name="T50" fmla="*/ 0 w 24"/>
                <a:gd name="T51" fmla="*/ 0 h 40"/>
                <a:gd name="T52" fmla="*/ 25929 w 24"/>
                <a:gd name="T53" fmla="*/ 0 h 40"/>
                <a:gd name="T54" fmla="*/ 25929 w 24"/>
                <a:gd name="T55" fmla="*/ 41473 h 4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24" h="40">
                  <a:moveTo>
                    <a:pt x="7" y="11"/>
                  </a:moveTo>
                  <a:cubicBezTo>
                    <a:pt x="7" y="12"/>
                    <a:pt x="7" y="13"/>
                    <a:pt x="7" y="14"/>
                  </a:cubicBezTo>
                  <a:cubicBezTo>
                    <a:pt x="7" y="15"/>
                    <a:pt x="7" y="16"/>
                    <a:pt x="6" y="17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7" y="16"/>
                    <a:pt x="7" y="16"/>
                    <a:pt x="8" y="15"/>
                  </a:cubicBezTo>
                  <a:cubicBezTo>
                    <a:pt x="8" y="15"/>
                    <a:pt x="9" y="14"/>
                    <a:pt x="10" y="14"/>
                  </a:cubicBezTo>
                  <a:cubicBezTo>
                    <a:pt x="10" y="14"/>
                    <a:pt x="11" y="13"/>
                    <a:pt x="12" y="13"/>
                  </a:cubicBezTo>
                  <a:cubicBezTo>
                    <a:pt x="13" y="13"/>
                    <a:pt x="14" y="13"/>
                    <a:pt x="15" y="13"/>
                  </a:cubicBezTo>
                  <a:cubicBezTo>
                    <a:pt x="16" y="13"/>
                    <a:pt x="16" y="13"/>
                    <a:pt x="17" y="13"/>
                  </a:cubicBezTo>
                  <a:cubicBezTo>
                    <a:pt x="18" y="13"/>
                    <a:pt x="19" y="13"/>
                    <a:pt x="20" y="14"/>
                  </a:cubicBezTo>
                  <a:cubicBezTo>
                    <a:pt x="20" y="14"/>
                    <a:pt x="21" y="15"/>
                    <a:pt x="21" y="15"/>
                  </a:cubicBezTo>
                  <a:cubicBezTo>
                    <a:pt x="22" y="16"/>
                    <a:pt x="23" y="16"/>
                    <a:pt x="23" y="17"/>
                  </a:cubicBezTo>
                  <a:cubicBezTo>
                    <a:pt x="23" y="18"/>
                    <a:pt x="24" y="19"/>
                    <a:pt x="24" y="20"/>
                  </a:cubicBezTo>
                  <a:cubicBezTo>
                    <a:pt x="24" y="21"/>
                    <a:pt x="24" y="22"/>
                    <a:pt x="24" y="23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18" y="40"/>
                    <a:pt x="18" y="40"/>
                    <a:pt x="18" y="40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8" y="23"/>
                    <a:pt x="18" y="22"/>
                    <a:pt x="18" y="22"/>
                  </a:cubicBezTo>
                  <a:cubicBezTo>
                    <a:pt x="17" y="21"/>
                    <a:pt x="17" y="21"/>
                    <a:pt x="17" y="20"/>
                  </a:cubicBezTo>
                  <a:cubicBezTo>
                    <a:pt x="17" y="20"/>
                    <a:pt x="16" y="19"/>
                    <a:pt x="16" y="19"/>
                  </a:cubicBezTo>
                  <a:cubicBezTo>
                    <a:pt x="15" y="18"/>
                    <a:pt x="14" y="18"/>
                    <a:pt x="13" y="18"/>
                  </a:cubicBezTo>
                  <a:cubicBezTo>
                    <a:pt x="12" y="18"/>
                    <a:pt x="11" y="18"/>
                    <a:pt x="10" y="19"/>
                  </a:cubicBezTo>
                  <a:cubicBezTo>
                    <a:pt x="8" y="20"/>
                    <a:pt x="8" y="20"/>
                    <a:pt x="7" y="22"/>
                  </a:cubicBezTo>
                  <a:cubicBezTo>
                    <a:pt x="7" y="40"/>
                    <a:pt x="7" y="40"/>
                    <a:pt x="7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lnTo>
                    <a:pt x="7" y="1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48" name="Freeform 31">
              <a:extLst>
                <a:ext uri="{FF2B5EF4-FFF2-40B4-BE49-F238E27FC236}">
                  <a16:creationId xmlns:a16="http://schemas.microsoft.com/office/drawing/2014/main" id="{4F1177CA-2DE4-40E5-881E-D6C078E26B9D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11396613" y="3670291"/>
              <a:ext cx="96837" cy="101599"/>
            </a:xfrm>
            <a:custGeom>
              <a:avLst/>
              <a:gdLst>
                <a:gd name="T0" fmla="*/ 96838 w 26"/>
                <a:gd name="T1" fmla="*/ 48919 h 27"/>
                <a:gd name="T2" fmla="*/ 93113 w 26"/>
                <a:gd name="T3" fmla="*/ 71496 h 27"/>
                <a:gd name="T4" fmla="*/ 85664 w 26"/>
                <a:gd name="T5" fmla="*/ 86548 h 27"/>
                <a:gd name="T6" fmla="*/ 70766 w 26"/>
                <a:gd name="T7" fmla="*/ 97837 h 27"/>
                <a:gd name="T8" fmla="*/ 48419 w 26"/>
                <a:gd name="T9" fmla="*/ 101600 h 27"/>
                <a:gd name="T10" fmla="*/ 29796 w 26"/>
                <a:gd name="T11" fmla="*/ 97837 h 27"/>
                <a:gd name="T12" fmla="*/ 14898 w 26"/>
                <a:gd name="T13" fmla="*/ 86548 h 27"/>
                <a:gd name="T14" fmla="*/ 3725 w 26"/>
                <a:gd name="T15" fmla="*/ 71496 h 27"/>
                <a:gd name="T16" fmla="*/ 3725 w 26"/>
                <a:gd name="T17" fmla="*/ 30104 h 27"/>
                <a:gd name="T18" fmla="*/ 14898 w 26"/>
                <a:gd name="T19" fmla="*/ 11289 h 27"/>
                <a:gd name="T20" fmla="*/ 29796 w 26"/>
                <a:gd name="T21" fmla="*/ 3763 h 27"/>
                <a:gd name="T22" fmla="*/ 48419 w 26"/>
                <a:gd name="T23" fmla="*/ 0 h 27"/>
                <a:gd name="T24" fmla="*/ 70766 w 26"/>
                <a:gd name="T25" fmla="*/ 3763 h 27"/>
                <a:gd name="T26" fmla="*/ 85664 w 26"/>
                <a:gd name="T27" fmla="*/ 11289 h 27"/>
                <a:gd name="T28" fmla="*/ 93113 w 26"/>
                <a:gd name="T29" fmla="*/ 30104 h 27"/>
                <a:gd name="T30" fmla="*/ 96838 w 26"/>
                <a:gd name="T31" fmla="*/ 48919 h 27"/>
                <a:gd name="T32" fmla="*/ 70766 w 26"/>
                <a:gd name="T33" fmla="*/ 48919 h 27"/>
                <a:gd name="T34" fmla="*/ 70766 w 26"/>
                <a:gd name="T35" fmla="*/ 37630 h 27"/>
                <a:gd name="T36" fmla="*/ 67042 w 26"/>
                <a:gd name="T37" fmla="*/ 26341 h 27"/>
                <a:gd name="T38" fmla="*/ 59593 w 26"/>
                <a:gd name="T39" fmla="*/ 18815 h 27"/>
                <a:gd name="T40" fmla="*/ 48419 w 26"/>
                <a:gd name="T41" fmla="*/ 18815 h 27"/>
                <a:gd name="T42" fmla="*/ 37245 w 26"/>
                <a:gd name="T43" fmla="*/ 18815 h 27"/>
                <a:gd name="T44" fmla="*/ 29796 w 26"/>
                <a:gd name="T45" fmla="*/ 26341 h 27"/>
                <a:gd name="T46" fmla="*/ 26072 w 26"/>
                <a:gd name="T47" fmla="*/ 37630 h 27"/>
                <a:gd name="T48" fmla="*/ 26072 w 26"/>
                <a:gd name="T49" fmla="*/ 63970 h 27"/>
                <a:gd name="T50" fmla="*/ 29796 w 26"/>
                <a:gd name="T51" fmla="*/ 75259 h 27"/>
                <a:gd name="T52" fmla="*/ 37245 w 26"/>
                <a:gd name="T53" fmla="*/ 79022 h 27"/>
                <a:gd name="T54" fmla="*/ 59593 w 26"/>
                <a:gd name="T55" fmla="*/ 79022 h 27"/>
                <a:gd name="T56" fmla="*/ 67042 w 26"/>
                <a:gd name="T57" fmla="*/ 75259 h 27"/>
                <a:gd name="T58" fmla="*/ 70766 w 26"/>
                <a:gd name="T59" fmla="*/ 63970 h 27"/>
                <a:gd name="T60" fmla="*/ 70766 w 26"/>
                <a:gd name="T61" fmla="*/ 48919 h 27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26" h="27">
                  <a:moveTo>
                    <a:pt x="26" y="13"/>
                  </a:moveTo>
                  <a:cubicBezTo>
                    <a:pt x="26" y="15"/>
                    <a:pt x="26" y="17"/>
                    <a:pt x="25" y="19"/>
                  </a:cubicBezTo>
                  <a:cubicBezTo>
                    <a:pt x="25" y="21"/>
                    <a:pt x="24" y="22"/>
                    <a:pt x="23" y="23"/>
                  </a:cubicBezTo>
                  <a:cubicBezTo>
                    <a:pt x="21" y="25"/>
                    <a:pt x="20" y="26"/>
                    <a:pt x="19" y="26"/>
                  </a:cubicBezTo>
                  <a:cubicBezTo>
                    <a:pt x="17" y="27"/>
                    <a:pt x="15" y="27"/>
                    <a:pt x="13" y="27"/>
                  </a:cubicBezTo>
                  <a:cubicBezTo>
                    <a:pt x="11" y="27"/>
                    <a:pt x="9" y="27"/>
                    <a:pt x="8" y="26"/>
                  </a:cubicBezTo>
                  <a:cubicBezTo>
                    <a:pt x="6" y="26"/>
                    <a:pt x="5" y="25"/>
                    <a:pt x="4" y="23"/>
                  </a:cubicBezTo>
                  <a:cubicBezTo>
                    <a:pt x="2" y="22"/>
                    <a:pt x="2" y="21"/>
                    <a:pt x="1" y="19"/>
                  </a:cubicBezTo>
                  <a:cubicBezTo>
                    <a:pt x="0" y="15"/>
                    <a:pt x="0" y="11"/>
                    <a:pt x="1" y="8"/>
                  </a:cubicBezTo>
                  <a:cubicBezTo>
                    <a:pt x="2" y="6"/>
                    <a:pt x="2" y="5"/>
                    <a:pt x="4" y="3"/>
                  </a:cubicBezTo>
                  <a:cubicBezTo>
                    <a:pt x="5" y="2"/>
                    <a:pt x="6" y="1"/>
                    <a:pt x="8" y="1"/>
                  </a:cubicBezTo>
                  <a:cubicBezTo>
                    <a:pt x="10" y="0"/>
                    <a:pt x="11" y="0"/>
                    <a:pt x="13" y="0"/>
                  </a:cubicBezTo>
                  <a:cubicBezTo>
                    <a:pt x="15" y="0"/>
                    <a:pt x="17" y="0"/>
                    <a:pt x="19" y="1"/>
                  </a:cubicBezTo>
                  <a:cubicBezTo>
                    <a:pt x="20" y="1"/>
                    <a:pt x="22" y="2"/>
                    <a:pt x="23" y="3"/>
                  </a:cubicBezTo>
                  <a:cubicBezTo>
                    <a:pt x="24" y="5"/>
                    <a:pt x="25" y="6"/>
                    <a:pt x="25" y="8"/>
                  </a:cubicBezTo>
                  <a:cubicBezTo>
                    <a:pt x="26" y="10"/>
                    <a:pt x="26" y="12"/>
                    <a:pt x="26" y="13"/>
                  </a:cubicBezTo>
                  <a:close/>
                  <a:moveTo>
                    <a:pt x="19" y="13"/>
                  </a:moveTo>
                  <a:cubicBezTo>
                    <a:pt x="19" y="12"/>
                    <a:pt x="19" y="11"/>
                    <a:pt x="19" y="10"/>
                  </a:cubicBezTo>
                  <a:cubicBezTo>
                    <a:pt x="19" y="9"/>
                    <a:pt x="18" y="8"/>
                    <a:pt x="18" y="7"/>
                  </a:cubicBezTo>
                  <a:cubicBezTo>
                    <a:pt x="17" y="6"/>
                    <a:pt x="16" y="6"/>
                    <a:pt x="16" y="5"/>
                  </a:cubicBezTo>
                  <a:cubicBezTo>
                    <a:pt x="15" y="5"/>
                    <a:pt x="14" y="5"/>
                    <a:pt x="13" y="5"/>
                  </a:cubicBezTo>
                  <a:cubicBezTo>
                    <a:pt x="12" y="5"/>
                    <a:pt x="11" y="5"/>
                    <a:pt x="10" y="5"/>
                  </a:cubicBezTo>
                  <a:cubicBezTo>
                    <a:pt x="9" y="6"/>
                    <a:pt x="9" y="6"/>
                    <a:pt x="8" y="7"/>
                  </a:cubicBezTo>
                  <a:cubicBezTo>
                    <a:pt x="8" y="8"/>
                    <a:pt x="7" y="9"/>
                    <a:pt x="7" y="10"/>
                  </a:cubicBezTo>
                  <a:cubicBezTo>
                    <a:pt x="6" y="12"/>
                    <a:pt x="6" y="15"/>
                    <a:pt x="7" y="17"/>
                  </a:cubicBezTo>
                  <a:cubicBezTo>
                    <a:pt x="7" y="18"/>
                    <a:pt x="8" y="19"/>
                    <a:pt x="8" y="20"/>
                  </a:cubicBezTo>
                  <a:cubicBezTo>
                    <a:pt x="9" y="21"/>
                    <a:pt x="9" y="21"/>
                    <a:pt x="10" y="21"/>
                  </a:cubicBezTo>
                  <a:cubicBezTo>
                    <a:pt x="12" y="22"/>
                    <a:pt x="14" y="22"/>
                    <a:pt x="16" y="21"/>
                  </a:cubicBezTo>
                  <a:cubicBezTo>
                    <a:pt x="16" y="21"/>
                    <a:pt x="17" y="21"/>
                    <a:pt x="18" y="20"/>
                  </a:cubicBezTo>
                  <a:cubicBezTo>
                    <a:pt x="18" y="19"/>
                    <a:pt x="19" y="18"/>
                    <a:pt x="19" y="17"/>
                  </a:cubicBezTo>
                  <a:cubicBezTo>
                    <a:pt x="19" y="16"/>
                    <a:pt x="19" y="15"/>
                    <a:pt x="19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49" name="Freeform 32">
              <a:extLst>
                <a:ext uri="{FF2B5EF4-FFF2-40B4-BE49-F238E27FC236}">
                  <a16:creationId xmlns:a16="http://schemas.microsoft.com/office/drawing/2014/main" id="{2A127DBF-1F71-420A-B625-E7A6FAEEA4D4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11515670" y="3621086"/>
              <a:ext cx="26988" cy="150812"/>
            </a:xfrm>
            <a:custGeom>
              <a:avLst/>
              <a:gdLst>
                <a:gd name="T0" fmla="*/ 0 w 17"/>
                <a:gd name="T1" fmla="*/ 0 h 95"/>
                <a:gd name="T2" fmla="*/ 26988 w 17"/>
                <a:gd name="T3" fmla="*/ 0 h 95"/>
                <a:gd name="T4" fmla="*/ 26988 w 17"/>
                <a:gd name="T5" fmla="*/ 26987 h 95"/>
                <a:gd name="T6" fmla="*/ 0 w 17"/>
                <a:gd name="T7" fmla="*/ 26987 h 95"/>
                <a:gd name="T8" fmla="*/ 0 w 17"/>
                <a:gd name="T9" fmla="*/ 0 h 95"/>
                <a:gd name="T10" fmla="*/ 0 w 17"/>
                <a:gd name="T11" fmla="*/ 49212 h 95"/>
                <a:gd name="T12" fmla="*/ 22225 w 17"/>
                <a:gd name="T13" fmla="*/ 49212 h 95"/>
                <a:gd name="T14" fmla="*/ 22225 w 17"/>
                <a:gd name="T15" fmla="*/ 150812 h 95"/>
                <a:gd name="T16" fmla="*/ 0 w 17"/>
                <a:gd name="T17" fmla="*/ 150812 h 95"/>
                <a:gd name="T18" fmla="*/ 0 w 17"/>
                <a:gd name="T19" fmla="*/ 49212 h 9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7" h="95">
                  <a:moveTo>
                    <a:pt x="0" y="0"/>
                  </a:move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  <a:lnTo>
                    <a:pt x="0" y="0"/>
                  </a:lnTo>
                  <a:close/>
                  <a:moveTo>
                    <a:pt x="0" y="31"/>
                  </a:moveTo>
                  <a:lnTo>
                    <a:pt x="14" y="31"/>
                  </a:lnTo>
                  <a:lnTo>
                    <a:pt x="14" y="95"/>
                  </a:lnTo>
                  <a:lnTo>
                    <a:pt x="0" y="95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50" name="Freeform 33">
              <a:extLst>
                <a:ext uri="{FF2B5EF4-FFF2-40B4-BE49-F238E27FC236}">
                  <a16:creationId xmlns:a16="http://schemas.microsoft.com/office/drawing/2014/main" id="{C2F744D9-FF7C-4F14-AD28-7389D733E49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1560121" y="3670284"/>
              <a:ext cx="79374" cy="101599"/>
            </a:xfrm>
            <a:custGeom>
              <a:avLst/>
              <a:gdLst>
                <a:gd name="T0" fmla="*/ 79375 w 21"/>
                <a:gd name="T1" fmla="*/ 97837 h 27"/>
                <a:gd name="T2" fmla="*/ 68036 w 21"/>
                <a:gd name="T3" fmla="*/ 101600 h 27"/>
                <a:gd name="T4" fmla="*/ 52917 w 21"/>
                <a:gd name="T5" fmla="*/ 101600 h 27"/>
                <a:gd name="T6" fmla="*/ 34018 w 21"/>
                <a:gd name="T7" fmla="*/ 97837 h 27"/>
                <a:gd name="T8" fmla="*/ 15119 w 21"/>
                <a:gd name="T9" fmla="*/ 90311 h 27"/>
                <a:gd name="T10" fmla="*/ 3780 w 21"/>
                <a:gd name="T11" fmla="*/ 75259 h 27"/>
                <a:gd name="T12" fmla="*/ 0 w 21"/>
                <a:gd name="T13" fmla="*/ 52681 h 27"/>
                <a:gd name="T14" fmla="*/ 7560 w 21"/>
                <a:gd name="T15" fmla="*/ 30104 h 27"/>
                <a:gd name="T16" fmla="*/ 34018 w 21"/>
                <a:gd name="T17" fmla="*/ 3763 h 27"/>
                <a:gd name="T18" fmla="*/ 52917 w 21"/>
                <a:gd name="T19" fmla="*/ 0 h 27"/>
                <a:gd name="T20" fmla="*/ 64256 w 21"/>
                <a:gd name="T21" fmla="*/ 0 h 27"/>
                <a:gd name="T22" fmla="*/ 75595 w 21"/>
                <a:gd name="T23" fmla="*/ 3763 h 27"/>
                <a:gd name="T24" fmla="*/ 75595 w 21"/>
                <a:gd name="T25" fmla="*/ 22578 h 27"/>
                <a:gd name="T26" fmla="*/ 68036 w 21"/>
                <a:gd name="T27" fmla="*/ 18815 h 27"/>
                <a:gd name="T28" fmla="*/ 56696 w 21"/>
                <a:gd name="T29" fmla="*/ 18815 h 27"/>
                <a:gd name="T30" fmla="*/ 45357 w 21"/>
                <a:gd name="T31" fmla="*/ 22578 h 27"/>
                <a:gd name="T32" fmla="*/ 34018 w 21"/>
                <a:gd name="T33" fmla="*/ 26341 h 27"/>
                <a:gd name="T34" fmla="*/ 30238 w 21"/>
                <a:gd name="T35" fmla="*/ 37630 h 27"/>
                <a:gd name="T36" fmla="*/ 26458 w 21"/>
                <a:gd name="T37" fmla="*/ 52681 h 27"/>
                <a:gd name="T38" fmla="*/ 26458 w 21"/>
                <a:gd name="T39" fmla="*/ 63970 h 27"/>
                <a:gd name="T40" fmla="*/ 34018 w 21"/>
                <a:gd name="T41" fmla="*/ 75259 h 27"/>
                <a:gd name="T42" fmla="*/ 41577 w 21"/>
                <a:gd name="T43" fmla="*/ 79022 h 27"/>
                <a:gd name="T44" fmla="*/ 56696 w 21"/>
                <a:gd name="T45" fmla="*/ 82785 h 27"/>
                <a:gd name="T46" fmla="*/ 68036 w 21"/>
                <a:gd name="T47" fmla="*/ 82785 h 27"/>
                <a:gd name="T48" fmla="*/ 79375 w 21"/>
                <a:gd name="T49" fmla="*/ 79022 h 27"/>
                <a:gd name="T50" fmla="*/ 79375 w 21"/>
                <a:gd name="T51" fmla="*/ 97837 h 27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21" h="27">
                  <a:moveTo>
                    <a:pt x="21" y="26"/>
                  </a:moveTo>
                  <a:cubicBezTo>
                    <a:pt x="20" y="26"/>
                    <a:pt x="19" y="27"/>
                    <a:pt x="18" y="27"/>
                  </a:cubicBezTo>
                  <a:cubicBezTo>
                    <a:pt x="16" y="27"/>
                    <a:pt x="15" y="27"/>
                    <a:pt x="14" y="27"/>
                  </a:cubicBezTo>
                  <a:cubicBezTo>
                    <a:pt x="12" y="27"/>
                    <a:pt x="10" y="27"/>
                    <a:pt x="9" y="26"/>
                  </a:cubicBezTo>
                  <a:cubicBezTo>
                    <a:pt x="7" y="26"/>
                    <a:pt x="5" y="25"/>
                    <a:pt x="4" y="24"/>
                  </a:cubicBezTo>
                  <a:cubicBezTo>
                    <a:pt x="3" y="23"/>
                    <a:pt x="2" y="22"/>
                    <a:pt x="1" y="20"/>
                  </a:cubicBezTo>
                  <a:cubicBezTo>
                    <a:pt x="1" y="18"/>
                    <a:pt x="0" y="16"/>
                    <a:pt x="0" y="14"/>
                  </a:cubicBezTo>
                  <a:cubicBezTo>
                    <a:pt x="0" y="12"/>
                    <a:pt x="1" y="10"/>
                    <a:pt x="2" y="8"/>
                  </a:cubicBezTo>
                  <a:cubicBezTo>
                    <a:pt x="3" y="4"/>
                    <a:pt x="6" y="2"/>
                    <a:pt x="9" y="1"/>
                  </a:cubicBezTo>
                  <a:cubicBezTo>
                    <a:pt x="11" y="0"/>
                    <a:pt x="12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1"/>
                    <a:pt x="20" y="1"/>
                  </a:cubicBezTo>
                  <a:cubicBezTo>
                    <a:pt x="20" y="6"/>
                    <a:pt x="20" y="6"/>
                    <a:pt x="20" y="6"/>
                  </a:cubicBezTo>
                  <a:cubicBezTo>
                    <a:pt x="19" y="6"/>
                    <a:pt x="19" y="6"/>
                    <a:pt x="18" y="5"/>
                  </a:cubicBezTo>
                  <a:cubicBezTo>
                    <a:pt x="17" y="5"/>
                    <a:pt x="16" y="5"/>
                    <a:pt x="15" y="5"/>
                  </a:cubicBezTo>
                  <a:cubicBezTo>
                    <a:pt x="14" y="5"/>
                    <a:pt x="13" y="5"/>
                    <a:pt x="12" y="6"/>
                  </a:cubicBezTo>
                  <a:cubicBezTo>
                    <a:pt x="11" y="6"/>
                    <a:pt x="10" y="6"/>
                    <a:pt x="9" y="7"/>
                  </a:cubicBezTo>
                  <a:cubicBezTo>
                    <a:pt x="9" y="8"/>
                    <a:pt x="8" y="9"/>
                    <a:pt x="8" y="10"/>
                  </a:cubicBezTo>
                  <a:cubicBezTo>
                    <a:pt x="7" y="11"/>
                    <a:pt x="7" y="12"/>
                    <a:pt x="7" y="14"/>
                  </a:cubicBezTo>
                  <a:cubicBezTo>
                    <a:pt x="7" y="15"/>
                    <a:pt x="7" y="16"/>
                    <a:pt x="7" y="17"/>
                  </a:cubicBezTo>
                  <a:cubicBezTo>
                    <a:pt x="8" y="18"/>
                    <a:pt x="8" y="19"/>
                    <a:pt x="9" y="20"/>
                  </a:cubicBezTo>
                  <a:cubicBezTo>
                    <a:pt x="10" y="20"/>
                    <a:pt x="10" y="21"/>
                    <a:pt x="11" y="21"/>
                  </a:cubicBezTo>
                  <a:cubicBezTo>
                    <a:pt x="12" y="22"/>
                    <a:pt x="14" y="22"/>
                    <a:pt x="15" y="22"/>
                  </a:cubicBezTo>
                  <a:cubicBezTo>
                    <a:pt x="16" y="22"/>
                    <a:pt x="17" y="22"/>
                    <a:pt x="18" y="22"/>
                  </a:cubicBezTo>
                  <a:cubicBezTo>
                    <a:pt x="19" y="22"/>
                    <a:pt x="20" y="21"/>
                    <a:pt x="21" y="21"/>
                  </a:cubicBezTo>
                  <a:lnTo>
                    <a:pt x="21" y="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51" name="Freeform 34">
              <a:extLst>
                <a:ext uri="{FF2B5EF4-FFF2-40B4-BE49-F238E27FC236}">
                  <a16:creationId xmlns:a16="http://schemas.microsoft.com/office/drawing/2014/main" id="{1167D8F6-D100-4A0E-B5D7-76EFFC4FA1F0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11655425" y="3670300"/>
              <a:ext cx="88899" cy="101599"/>
            </a:xfrm>
            <a:custGeom>
              <a:avLst/>
              <a:gdLst>
                <a:gd name="T0" fmla="*/ 55563 w 24"/>
                <a:gd name="T1" fmla="*/ 82785 h 27"/>
                <a:gd name="T2" fmla="*/ 70379 w 24"/>
                <a:gd name="T3" fmla="*/ 82785 h 27"/>
                <a:gd name="T4" fmla="*/ 85196 w 24"/>
                <a:gd name="T5" fmla="*/ 79022 h 27"/>
                <a:gd name="T6" fmla="*/ 85196 w 24"/>
                <a:gd name="T7" fmla="*/ 97837 h 27"/>
                <a:gd name="T8" fmla="*/ 70379 w 24"/>
                <a:gd name="T9" fmla="*/ 101600 h 27"/>
                <a:gd name="T10" fmla="*/ 48154 w 24"/>
                <a:gd name="T11" fmla="*/ 101600 h 27"/>
                <a:gd name="T12" fmla="*/ 29633 w 24"/>
                <a:gd name="T13" fmla="*/ 101600 h 27"/>
                <a:gd name="T14" fmla="*/ 14817 w 24"/>
                <a:gd name="T15" fmla="*/ 90311 h 27"/>
                <a:gd name="T16" fmla="*/ 3704 w 24"/>
                <a:gd name="T17" fmla="*/ 75259 h 27"/>
                <a:gd name="T18" fmla="*/ 0 w 24"/>
                <a:gd name="T19" fmla="*/ 52681 h 27"/>
                <a:gd name="T20" fmla="*/ 3704 w 24"/>
                <a:gd name="T21" fmla="*/ 30104 h 27"/>
                <a:gd name="T22" fmla="*/ 14817 w 24"/>
                <a:gd name="T23" fmla="*/ 11289 h 27"/>
                <a:gd name="T24" fmla="*/ 29633 w 24"/>
                <a:gd name="T25" fmla="*/ 3763 h 27"/>
                <a:gd name="T26" fmla="*/ 44450 w 24"/>
                <a:gd name="T27" fmla="*/ 0 h 27"/>
                <a:gd name="T28" fmla="*/ 62971 w 24"/>
                <a:gd name="T29" fmla="*/ 0 h 27"/>
                <a:gd name="T30" fmla="*/ 77788 w 24"/>
                <a:gd name="T31" fmla="*/ 11289 h 27"/>
                <a:gd name="T32" fmla="*/ 85196 w 24"/>
                <a:gd name="T33" fmla="*/ 26341 h 27"/>
                <a:gd name="T34" fmla="*/ 88900 w 24"/>
                <a:gd name="T35" fmla="*/ 48919 h 27"/>
                <a:gd name="T36" fmla="*/ 88900 w 24"/>
                <a:gd name="T37" fmla="*/ 56444 h 27"/>
                <a:gd name="T38" fmla="*/ 25929 w 24"/>
                <a:gd name="T39" fmla="*/ 56444 h 27"/>
                <a:gd name="T40" fmla="*/ 25929 w 24"/>
                <a:gd name="T41" fmla="*/ 67733 h 27"/>
                <a:gd name="T42" fmla="*/ 33338 w 24"/>
                <a:gd name="T43" fmla="*/ 75259 h 27"/>
                <a:gd name="T44" fmla="*/ 44450 w 24"/>
                <a:gd name="T45" fmla="*/ 82785 h 27"/>
                <a:gd name="T46" fmla="*/ 55563 w 24"/>
                <a:gd name="T47" fmla="*/ 82785 h 27"/>
                <a:gd name="T48" fmla="*/ 44450 w 24"/>
                <a:gd name="T49" fmla="*/ 18815 h 27"/>
                <a:gd name="T50" fmla="*/ 37042 w 24"/>
                <a:gd name="T51" fmla="*/ 18815 h 27"/>
                <a:gd name="T52" fmla="*/ 29633 w 24"/>
                <a:gd name="T53" fmla="*/ 22578 h 27"/>
                <a:gd name="T54" fmla="*/ 25929 w 24"/>
                <a:gd name="T55" fmla="*/ 30104 h 27"/>
                <a:gd name="T56" fmla="*/ 25929 w 24"/>
                <a:gd name="T57" fmla="*/ 37630 h 27"/>
                <a:gd name="T58" fmla="*/ 62971 w 24"/>
                <a:gd name="T59" fmla="*/ 37630 h 27"/>
                <a:gd name="T60" fmla="*/ 62971 w 24"/>
                <a:gd name="T61" fmla="*/ 30104 h 27"/>
                <a:gd name="T62" fmla="*/ 59267 w 24"/>
                <a:gd name="T63" fmla="*/ 22578 h 27"/>
                <a:gd name="T64" fmla="*/ 51858 w 24"/>
                <a:gd name="T65" fmla="*/ 18815 h 27"/>
                <a:gd name="T66" fmla="*/ 44450 w 24"/>
                <a:gd name="T67" fmla="*/ 18815 h 27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24" h="27">
                  <a:moveTo>
                    <a:pt x="15" y="22"/>
                  </a:moveTo>
                  <a:cubicBezTo>
                    <a:pt x="16" y="22"/>
                    <a:pt x="17" y="22"/>
                    <a:pt x="19" y="22"/>
                  </a:cubicBezTo>
                  <a:cubicBezTo>
                    <a:pt x="20" y="21"/>
                    <a:pt x="21" y="21"/>
                    <a:pt x="23" y="21"/>
                  </a:cubicBezTo>
                  <a:cubicBezTo>
                    <a:pt x="23" y="26"/>
                    <a:pt x="23" y="26"/>
                    <a:pt x="23" y="26"/>
                  </a:cubicBezTo>
                  <a:cubicBezTo>
                    <a:pt x="21" y="26"/>
                    <a:pt x="20" y="27"/>
                    <a:pt x="19" y="27"/>
                  </a:cubicBezTo>
                  <a:cubicBezTo>
                    <a:pt x="17" y="27"/>
                    <a:pt x="15" y="27"/>
                    <a:pt x="13" y="27"/>
                  </a:cubicBezTo>
                  <a:cubicBezTo>
                    <a:pt x="12" y="27"/>
                    <a:pt x="10" y="27"/>
                    <a:pt x="8" y="27"/>
                  </a:cubicBezTo>
                  <a:cubicBezTo>
                    <a:pt x="7" y="26"/>
                    <a:pt x="5" y="25"/>
                    <a:pt x="4" y="24"/>
                  </a:cubicBezTo>
                  <a:cubicBezTo>
                    <a:pt x="3" y="23"/>
                    <a:pt x="2" y="22"/>
                    <a:pt x="1" y="20"/>
                  </a:cubicBezTo>
                  <a:cubicBezTo>
                    <a:pt x="0" y="18"/>
                    <a:pt x="0" y="16"/>
                    <a:pt x="0" y="14"/>
                  </a:cubicBezTo>
                  <a:cubicBezTo>
                    <a:pt x="0" y="12"/>
                    <a:pt x="0" y="10"/>
                    <a:pt x="1" y="8"/>
                  </a:cubicBezTo>
                  <a:cubicBezTo>
                    <a:pt x="2" y="6"/>
                    <a:pt x="3" y="4"/>
                    <a:pt x="4" y="3"/>
                  </a:cubicBezTo>
                  <a:cubicBezTo>
                    <a:pt x="5" y="2"/>
                    <a:pt x="6" y="1"/>
                    <a:pt x="8" y="1"/>
                  </a:cubicBezTo>
                  <a:cubicBezTo>
                    <a:pt x="9" y="0"/>
                    <a:pt x="11" y="0"/>
                    <a:pt x="12" y="0"/>
                  </a:cubicBezTo>
                  <a:cubicBezTo>
                    <a:pt x="14" y="0"/>
                    <a:pt x="15" y="0"/>
                    <a:pt x="17" y="0"/>
                  </a:cubicBezTo>
                  <a:cubicBezTo>
                    <a:pt x="18" y="1"/>
                    <a:pt x="20" y="2"/>
                    <a:pt x="21" y="3"/>
                  </a:cubicBezTo>
                  <a:cubicBezTo>
                    <a:pt x="22" y="4"/>
                    <a:pt x="22" y="5"/>
                    <a:pt x="23" y="7"/>
                  </a:cubicBezTo>
                  <a:cubicBezTo>
                    <a:pt x="24" y="9"/>
                    <a:pt x="24" y="11"/>
                    <a:pt x="24" y="13"/>
                  </a:cubicBezTo>
                  <a:cubicBezTo>
                    <a:pt x="24" y="14"/>
                    <a:pt x="24" y="15"/>
                    <a:pt x="24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6"/>
                    <a:pt x="7" y="17"/>
                    <a:pt x="7" y="18"/>
                  </a:cubicBezTo>
                  <a:cubicBezTo>
                    <a:pt x="8" y="19"/>
                    <a:pt x="8" y="20"/>
                    <a:pt x="9" y="20"/>
                  </a:cubicBezTo>
                  <a:cubicBezTo>
                    <a:pt x="10" y="21"/>
                    <a:pt x="11" y="21"/>
                    <a:pt x="12" y="22"/>
                  </a:cubicBezTo>
                  <a:cubicBezTo>
                    <a:pt x="13" y="22"/>
                    <a:pt x="14" y="22"/>
                    <a:pt x="15" y="22"/>
                  </a:cubicBezTo>
                  <a:close/>
                  <a:moveTo>
                    <a:pt x="12" y="5"/>
                  </a:moveTo>
                  <a:cubicBezTo>
                    <a:pt x="11" y="5"/>
                    <a:pt x="11" y="5"/>
                    <a:pt x="10" y="5"/>
                  </a:cubicBezTo>
                  <a:cubicBezTo>
                    <a:pt x="9" y="5"/>
                    <a:pt x="9" y="6"/>
                    <a:pt x="8" y="6"/>
                  </a:cubicBezTo>
                  <a:cubicBezTo>
                    <a:pt x="8" y="7"/>
                    <a:pt x="7" y="7"/>
                    <a:pt x="7" y="8"/>
                  </a:cubicBezTo>
                  <a:cubicBezTo>
                    <a:pt x="7" y="9"/>
                    <a:pt x="7" y="10"/>
                    <a:pt x="7" y="1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7" y="10"/>
                    <a:pt x="17" y="9"/>
                    <a:pt x="17" y="8"/>
                  </a:cubicBezTo>
                  <a:cubicBezTo>
                    <a:pt x="17" y="7"/>
                    <a:pt x="16" y="7"/>
                    <a:pt x="16" y="6"/>
                  </a:cubicBezTo>
                  <a:cubicBezTo>
                    <a:pt x="15" y="6"/>
                    <a:pt x="15" y="5"/>
                    <a:pt x="14" y="5"/>
                  </a:cubicBezTo>
                  <a:cubicBezTo>
                    <a:pt x="14" y="5"/>
                    <a:pt x="13" y="5"/>
                    <a:pt x="12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</p:grpSp>
    </p:spTree>
    <p:extLst>
      <p:ext uri="{BB962C8B-B14F-4D97-AF65-F5344CB8AC3E}">
        <p14:creationId xmlns:p14="http://schemas.microsoft.com/office/powerpoint/2010/main" val="241583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39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54FC3941-ECBD-4FFC-A0B7-E2225DC5B6CC}" type="datetime1">
              <a:rPr lang="en-US" smtClean="0"/>
              <a:pPr/>
              <a:t>11/27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310FED02-0259-420E-80E1-2066F5A390A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2" name="Bildplatzhalter 21">
            <a:extLst>
              <a:ext uri="{FF2B5EF4-FFF2-40B4-BE49-F238E27FC236}">
                <a16:creationId xmlns:a16="http://schemas.microsoft.com/office/drawing/2014/main" id="{D080AA77-8AA1-4FF3-A9E6-446E14C55C49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 bwMode="gray">
          <a:xfrm>
            <a:off x="1" y="3429000"/>
            <a:ext cx="12192000" cy="3429000"/>
          </a:xfrm>
          <a:custGeom>
            <a:avLst/>
            <a:gdLst>
              <a:gd name="connsiteX0" fmla="*/ 0 w 12190413"/>
              <a:gd name="connsiteY0" fmla="*/ 0 h 3429000"/>
              <a:gd name="connsiteX1" fmla="*/ 9306436 w 12190413"/>
              <a:gd name="connsiteY1" fmla="*/ 0 h 3429000"/>
              <a:gd name="connsiteX2" fmla="*/ 9306436 w 12190413"/>
              <a:gd name="connsiteY2" fmla="*/ 1089714 h 3429000"/>
              <a:gd name="connsiteX3" fmla="*/ 11544257 w 12190413"/>
              <a:gd name="connsiteY3" fmla="*/ 1089714 h 3429000"/>
              <a:gd name="connsiteX4" fmla="*/ 11544257 w 12190413"/>
              <a:gd name="connsiteY4" fmla="*/ 0 h 3429000"/>
              <a:gd name="connsiteX5" fmla="*/ 12190413 w 12190413"/>
              <a:gd name="connsiteY5" fmla="*/ 0 h 3429000"/>
              <a:gd name="connsiteX6" fmla="*/ 12190413 w 12190413"/>
              <a:gd name="connsiteY6" fmla="*/ 3429000 h 3429000"/>
              <a:gd name="connsiteX7" fmla="*/ 0 w 12190413"/>
              <a:gd name="connsiteY7" fmla="*/ 3429000 h 342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0413" h="3429000">
                <a:moveTo>
                  <a:pt x="0" y="0"/>
                </a:moveTo>
                <a:lnTo>
                  <a:pt x="9306436" y="0"/>
                </a:lnTo>
                <a:lnTo>
                  <a:pt x="9306436" y="1089714"/>
                </a:lnTo>
                <a:lnTo>
                  <a:pt x="11544257" y="1089714"/>
                </a:lnTo>
                <a:lnTo>
                  <a:pt x="11544257" y="0"/>
                </a:lnTo>
                <a:lnTo>
                  <a:pt x="12190413" y="0"/>
                </a:lnTo>
                <a:lnTo>
                  <a:pt x="12190413" y="3429000"/>
                </a:lnTo>
                <a:lnTo>
                  <a:pt x="0" y="3429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27" name="Textplatzhalter 26">
            <a:extLst>
              <a:ext uri="{FF2B5EF4-FFF2-40B4-BE49-F238E27FC236}">
                <a16:creationId xmlns:a16="http://schemas.microsoft.com/office/drawing/2014/main" id="{177B8027-3662-4193-ACA6-07BF02C9CDC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>
          <a:xfrm>
            <a:off x="1" y="0"/>
            <a:ext cx="12192000" cy="3429000"/>
          </a:xfrm>
          <a:custGeom>
            <a:avLst/>
            <a:gdLst>
              <a:gd name="connsiteX0" fmla="*/ 0 w 12190413"/>
              <a:gd name="connsiteY0" fmla="*/ 0 h 3429000"/>
              <a:gd name="connsiteX1" fmla="*/ 12190413 w 12190413"/>
              <a:gd name="connsiteY1" fmla="*/ 0 h 3429000"/>
              <a:gd name="connsiteX2" fmla="*/ 12190413 w 12190413"/>
              <a:gd name="connsiteY2" fmla="*/ 3429000 h 3429000"/>
              <a:gd name="connsiteX3" fmla="*/ 11544257 w 12190413"/>
              <a:gd name="connsiteY3" fmla="*/ 3429000 h 3429000"/>
              <a:gd name="connsiteX4" fmla="*/ 11544257 w 12190413"/>
              <a:gd name="connsiteY4" fmla="*/ 2064330 h 3429000"/>
              <a:gd name="connsiteX5" fmla="*/ 9306436 w 12190413"/>
              <a:gd name="connsiteY5" fmla="*/ 2064330 h 3429000"/>
              <a:gd name="connsiteX6" fmla="*/ 9306436 w 12190413"/>
              <a:gd name="connsiteY6" fmla="*/ 3429000 h 3429000"/>
              <a:gd name="connsiteX7" fmla="*/ 0 w 12190413"/>
              <a:gd name="connsiteY7" fmla="*/ 3429000 h 342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0413" h="3429000">
                <a:moveTo>
                  <a:pt x="0" y="0"/>
                </a:moveTo>
                <a:lnTo>
                  <a:pt x="12190413" y="0"/>
                </a:lnTo>
                <a:lnTo>
                  <a:pt x="12190413" y="3429000"/>
                </a:lnTo>
                <a:lnTo>
                  <a:pt x="11544257" y="3429000"/>
                </a:lnTo>
                <a:lnTo>
                  <a:pt x="11544257" y="2064330"/>
                </a:lnTo>
                <a:lnTo>
                  <a:pt x="9306436" y="2064330"/>
                </a:lnTo>
                <a:lnTo>
                  <a:pt x="9306436" y="3429000"/>
                </a:lnTo>
                <a:lnTo>
                  <a:pt x="0" y="3429000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pic>
        <p:nvPicPr>
          <p:cNvPr id="29" name="Grafik 28">
            <a:extLst>
              <a:ext uri="{FF2B5EF4-FFF2-40B4-BE49-F238E27FC236}">
                <a16:creationId xmlns:a16="http://schemas.microsoft.com/office/drawing/2014/main" id="{3651CA2D-684C-4BA5-A802-6041B7E93F7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307648" y="2064330"/>
            <a:ext cx="2238112" cy="2454384"/>
          </a:xfrm>
          <a:prstGeom prst="rect">
            <a:avLst/>
          </a:prstGeom>
        </p:spPr>
      </p:pic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0985914E-B393-4DDA-B1EF-2F62547D6AA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50960" y="696258"/>
            <a:ext cx="7859148" cy="655638"/>
          </a:xfrm>
        </p:spPr>
        <p:txBody>
          <a:bodyPr/>
          <a:lstStyle>
            <a:lvl1pPr>
              <a:defRPr sz="4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Click to </a:t>
            </a:r>
            <a:r>
              <a:rPr lang="de-DE" dirty="0" err="1"/>
              <a:t>edit</a:t>
            </a:r>
            <a:r>
              <a:rPr lang="de-DE" dirty="0"/>
              <a:t> Master title style</a:t>
            </a:r>
            <a:endParaRPr lang="en-US" dirty="0"/>
          </a:p>
        </p:txBody>
      </p:sp>
      <p:sp>
        <p:nvSpPr>
          <p:cNvPr id="76" name="Textplatzhalter 32">
            <a:extLst>
              <a:ext uri="{FF2B5EF4-FFF2-40B4-BE49-F238E27FC236}">
                <a16:creationId xmlns:a16="http://schemas.microsoft.com/office/drawing/2014/main" id="{EA6D9735-0F83-4A1E-8183-538AB88FD0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0960" y="1322143"/>
            <a:ext cx="7859148" cy="655638"/>
          </a:xfrm>
        </p:spPr>
        <p:txBody>
          <a:bodyPr/>
          <a:lstStyle>
            <a:lvl1pPr>
              <a:defRPr sz="2600" b="0" i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Click to </a:t>
            </a:r>
            <a:r>
              <a:rPr lang="de-DE" dirty="0" err="1"/>
              <a:t>edit</a:t>
            </a:r>
            <a:r>
              <a:rPr lang="de-DE" dirty="0"/>
              <a:t> Master title style</a:t>
            </a:r>
            <a:endParaRPr lang="en-US" dirty="0"/>
          </a:p>
        </p:txBody>
      </p:sp>
      <p:sp>
        <p:nvSpPr>
          <p:cNvPr id="84" name="Textplatzhalter 32">
            <a:extLst>
              <a:ext uri="{FF2B5EF4-FFF2-40B4-BE49-F238E27FC236}">
                <a16:creationId xmlns:a16="http://schemas.microsoft.com/office/drawing/2014/main" id="{90F0C332-D6C4-47A1-99B7-7EDD23930A8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50959" y="2276010"/>
            <a:ext cx="3816497" cy="757699"/>
          </a:xfrm>
        </p:spPr>
        <p:txBody>
          <a:bodyPr/>
          <a:lstStyle>
            <a:lvl1pPr>
              <a:defRPr sz="12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err="1"/>
              <a:t>Adress</a:t>
            </a:r>
            <a:endParaRPr lang="en-US" dirty="0"/>
          </a:p>
        </p:txBody>
      </p:sp>
      <p:sp>
        <p:nvSpPr>
          <p:cNvPr id="85" name="Textplatzhalter 32">
            <a:extLst>
              <a:ext uri="{FF2B5EF4-FFF2-40B4-BE49-F238E27FC236}">
                <a16:creationId xmlns:a16="http://schemas.microsoft.com/office/drawing/2014/main" id="{6D49C6A5-2F81-4E33-A819-8461C76079D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693611" y="2276009"/>
            <a:ext cx="3816497" cy="757699"/>
          </a:xfrm>
        </p:spPr>
        <p:txBody>
          <a:bodyPr/>
          <a:lstStyle>
            <a:lvl1pPr>
              <a:defRPr sz="12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ontact</a:t>
            </a:r>
          </a:p>
        </p:txBody>
      </p:sp>
    </p:spTree>
    <p:extLst>
      <p:ext uri="{BB962C8B-B14F-4D97-AF65-F5344CB8AC3E}">
        <p14:creationId xmlns:p14="http://schemas.microsoft.com/office/powerpoint/2010/main" val="2854289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3">
            <a:extLst>
              <a:ext uri="{FF2B5EF4-FFF2-40B4-BE49-F238E27FC236}">
                <a16:creationId xmlns:a16="http://schemas.microsoft.com/office/drawing/2014/main" id="{01A60C81-A32A-45E6-961A-947D519F4060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639848" y="6492878"/>
            <a:ext cx="77003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noProof="0"/>
              <a:t>Date</a:t>
            </a:r>
            <a:endParaRPr lang="en-US" noProof="0" dirty="0"/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710F37E4-AE89-4C73-B41B-3FD2937270C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734741" y="6492878"/>
            <a:ext cx="257208" cy="365125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9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fld id="{20AEB338-9A01-4568-801D-896C2E978281}" type="slidenum">
              <a:rPr lang="en-US" noProof="0" smtClean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93A11243-3298-46D7-BD32-7A304EE6C61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2" y="-7706"/>
            <a:ext cx="12192000" cy="6865705"/>
          </a:xfrm>
          <a:custGeom>
            <a:avLst/>
            <a:gdLst>
              <a:gd name="connsiteX0" fmla="*/ 8784325 w 12190413"/>
              <a:gd name="connsiteY0" fmla="*/ 4883660 h 6865705"/>
              <a:gd name="connsiteX1" fmla="*/ 8784325 w 12190413"/>
              <a:gd name="connsiteY1" fmla="*/ 6427263 h 6865705"/>
              <a:gd name="connsiteX2" fmla="*/ 10944325 w 12190413"/>
              <a:gd name="connsiteY2" fmla="*/ 6427263 h 6865705"/>
              <a:gd name="connsiteX3" fmla="*/ 10944325 w 12190413"/>
              <a:gd name="connsiteY3" fmla="*/ 4883660 h 6865705"/>
              <a:gd name="connsiteX4" fmla="*/ 0 w 12190413"/>
              <a:gd name="connsiteY4" fmla="*/ 0 h 6865705"/>
              <a:gd name="connsiteX5" fmla="*/ 12190413 w 12190413"/>
              <a:gd name="connsiteY5" fmla="*/ 0 h 6865705"/>
              <a:gd name="connsiteX6" fmla="*/ 12190413 w 12190413"/>
              <a:gd name="connsiteY6" fmla="*/ 6865705 h 6865705"/>
              <a:gd name="connsiteX7" fmla="*/ 0 w 12190413"/>
              <a:gd name="connsiteY7" fmla="*/ 6865705 h 6865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0413" h="6865705">
                <a:moveTo>
                  <a:pt x="8784325" y="4883660"/>
                </a:moveTo>
                <a:lnTo>
                  <a:pt x="8784325" y="6427263"/>
                </a:lnTo>
                <a:lnTo>
                  <a:pt x="10944325" y="6427263"/>
                </a:lnTo>
                <a:lnTo>
                  <a:pt x="10944325" y="4883660"/>
                </a:lnTo>
                <a:close/>
                <a:moveTo>
                  <a:pt x="0" y="0"/>
                </a:moveTo>
                <a:lnTo>
                  <a:pt x="12190413" y="0"/>
                </a:lnTo>
                <a:lnTo>
                  <a:pt x="12190413" y="6865705"/>
                </a:lnTo>
                <a:lnTo>
                  <a:pt x="0" y="6865705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4B5FC1B4-0473-47E8-846B-AD7E5EE24C8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622382" y="4270848"/>
            <a:ext cx="10873415" cy="1764000"/>
          </a:xfrm>
          <a:custGeom>
            <a:avLst/>
            <a:gdLst>
              <a:gd name="connsiteX0" fmla="*/ 0 w 10872000"/>
              <a:gd name="connsiteY0" fmla="*/ 0 h 1764000"/>
              <a:gd name="connsiteX1" fmla="*/ 10872000 w 10872000"/>
              <a:gd name="connsiteY1" fmla="*/ 0 h 1764000"/>
              <a:gd name="connsiteX2" fmla="*/ 10872000 w 10872000"/>
              <a:gd name="connsiteY2" fmla="*/ 1764000 h 1764000"/>
              <a:gd name="connsiteX3" fmla="*/ 10322024 w 10872000"/>
              <a:gd name="connsiteY3" fmla="*/ 1764000 h 1764000"/>
              <a:gd name="connsiteX4" fmla="*/ 10322024 w 10872000"/>
              <a:gd name="connsiteY4" fmla="*/ 605106 h 1764000"/>
              <a:gd name="connsiteX5" fmla="*/ 8162024 w 10872000"/>
              <a:gd name="connsiteY5" fmla="*/ 605106 h 1764000"/>
              <a:gd name="connsiteX6" fmla="*/ 8162024 w 10872000"/>
              <a:gd name="connsiteY6" fmla="*/ 1764000 h 1764000"/>
              <a:gd name="connsiteX7" fmla="*/ 0 w 10872000"/>
              <a:gd name="connsiteY7" fmla="*/ 1764000 h 176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872000" h="1764000">
                <a:moveTo>
                  <a:pt x="0" y="0"/>
                </a:moveTo>
                <a:lnTo>
                  <a:pt x="10872000" y="0"/>
                </a:lnTo>
                <a:lnTo>
                  <a:pt x="10872000" y="1764000"/>
                </a:lnTo>
                <a:lnTo>
                  <a:pt x="10322024" y="1764000"/>
                </a:lnTo>
                <a:lnTo>
                  <a:pt x="10322024" y="605106"/>
                </a:lnTo>
                <a:lnTo>
                  <a:pt x="8162024" y="605106"/>
                </a:lnTo>
                <a:lnTo>
                  <a:pt x="8162024" y="1764000"/>
                </a:lnTo>
                <a:lnTo>
                  <a:pt x="0" y="176400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F44EF97-2398-47DE-AB44-434E736BED3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84486" y="4589052"/>
            <a:ext cx="7557377" cy="522701"/>
          </a:xfrm>
        </p:spPr>
        <p:txBody>
          <a:bodyPr/>
          <a:lstStyle>
            <a:lvl1pPr>
              <a:defRPr sz="28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Headline</a:t>
            </a:r>
          </a:p>
        </p:txBody>
      </p:sp>
      <p:sp>
        <p:nvSpPr>
          <p:cNvPr id="16" name="Textplatzhalter 14">
            <a:extLst>
              <a:ext uri="{FF2B5EF4-FFF2-40B4-BE49-F238E27FC236}">
                <a16:creationId xmlns:a16="http://schemas.microsoft.com/office/drawing/2014/main" id="{20FDF11C-B938-44D7-B045-AEF9749B191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4485" y="5104006"/>
            <a:ext cx="7557376" cy="814197"/>
          </a:xfrm>
        </p:spPr>
        <p:txBody>
          <a:bodyPr/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Headline</a:t>
            </a:r>
          </a:p>
        </p:txBody>
      </p:sp>
      <p:pic>
        <p:nvPicPr>
          <p:cNvPr id="11" name="Picture 75" descr="C:\Users\bertscha\Desktop\ebmpapst_logobox_claim_2021_rgb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785470" y="4875955"/>
            <a:ext cx="2160281" cy="15434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03639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Photo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310FED02-0259-420E-80E1-2066F5A390A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6170624" y="1765748"/>
            <a:ext cx="5366449" cy="462632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 bwMode="gray">
          <a:xfrm>
            <a:off x="646994" y="1834357"/>
            <a:ext cx="5347395" cy="4557712"/>
          </a:xfrm>
        </p:spPr>
        <p:txBody>
          <a:bodyPr tIns="648000"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46" name="Subtitle 2"/>
          <p:cNvSpPr>
            <a:spLocks noGrp="1"/>
          </p:cNvSpPr>
          <p:nvPr>
            <p:ph type="subTitle" idx="1"/>
          </p:nvPr>
        </p:nvSpPr>
        <p:spPr bwMode="gray">
          <a:xfrm>
            <a:off x="628731" y="1152799"/>
            <a:ext cx="8839416" cy="345805"/>
          </a:xfrm>
        </p:spPr>
        <p:txBody>
          <a:bodyPr anchor="ctr"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>
          <a:solidFill>
            <a:schemeClr val="accent3"/>
          </a:solidFill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1101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1" y="1121189"/>
            <a:ext cx="12194381" cy="5736811"/>
          </a:xfrm>
          <a:custGeom>
            <a:avLst/>
            <a:gdLst/>
            <a:ahLst/>
            <a:cxnLst/>
            <a:rect l="l" t="t" r="r" b="b"/>
            <a:pathLst>
              <a:path w="12190413" h="5734431">
                <a:moveTo>
                  <a:pt x="0" y="0"/>
                </a:moveTo>
                <a:lnTo>
                  <a:pt x="10090800" y="0"/>
                </a:lnTo>
                <a:lnTo>
                  <a:pt x="10090800" y="5142"/>
                </a:lnTo>
                <a:lnTo>
                  <a:pt x="10090800" y="374896"/>
                </a:lnTo>
                <a:lnTo>
                  <a:pt x="12190413" y="374896"/>
                </a:lnTo>
                <a:lnTo>
                  <a:pt x="12190413" y="5734431"/>
                </a:lnTo>
                <a:lnTo>
                  <a:pt x="1" y="5734431"/>
                </a:lnTo>
                <a:lnTo>
                  <a:pt x="1" y="465666"/>
                </a:lnTo>
                <a:lnTo>
                  <a:pt x="0" y="465666"/>
                </a:lnTo>
                <a:close/>
              </a:path>
            </a:pathLst>
          </a:custGeom>
        </p:spPr>
        <p:txBody>
          <a:bodyPr vert="horz" lIns="0" tIns="648000" rIns="0" bIns="0" rtlCol="0" anchor="ctr">
            <a:noAutofit/>
          </a:bodyPr>
          <a:lstStyle>
            <a:lvl1pPr>
              <a:defRPr lang="de-DE" dirty="0"/>
            </a:lvl1pPr>
          </a:lstStyle>
          <a:p>
            <a:pPr lvl="0" algn="ctr"/>
            <a:r>
              <a:rPr lang="en-US" dirty="0"/>
              <a:t>Click icon to add picture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310FED02-0259-420E-80E1-2066F5A390A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>
          <a:solidFill>
            <a:schemeClr val="accent2"/>
          </a:solidFill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36626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ild + Tex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DB81C09-D1EA-4598-8AAA-C4907579E6D8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639849" y="6492880"/>
            <a:ext cx="77003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de-DE">
                <a:solidFill>
                  <a:prstClr val="black"/>
                </a:solidFill>
              </a:rPr>
              <a:t>Datum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5" name="Foliennummernplatzhalter 5">
            <a:extLst>
              <a:ext uri="{FF2B5EF4-FFF2-40B4-BE49-F238E27FC236}">
                <a16:creationId xmlns:a16="http://schemas.microsoft.com/office/drawing/2014/main" id="{D81DD930-751F-478A-9EDF-530D387422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734741" y="6492880"/>
            <a:ext cx="257208" cy="365125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9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fld id="{20AEB338-9A01-4568-801D-896C2E978281}" type="slidenum">
              <a:rPr lang="de-DE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4F8C9509-ADD2-4E3D-B6AD-A6609AC823A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" y="0"/>
            <a:ext cx="6095208" cy="6858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8D8F1C8-7D3A-4848-A69A-E3F8C3D68E3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5209" y="0"/>
            <a:ext cx="6095205" cy="6858000"/>
          </a:xfrm>
          <a:solidFill>
            <a:schemeClr val="accent3"/>
          </a:solidFill>
        </p:spPr>
        <p:txBody>
          <a:bodyPr lIns="360000" tIns="360000" rIns="360000" bIns="360000" anchor="ctr"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8" name="Textplatzhalter 14">
            <a:extLst>
              <a:ext uri="{FF2B5EF4-FFF2-40B4-BE49-F238E27FC236}">
                <a16:creationId xmlns:a16="http://schemas.microsoft.com/office/drawing/2014/main" id="{46DFEB28-1E0B-42E4-845D-2B17733DFEC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09706" y="362283"/>
            <a:ext cx="5225037" cy="522701"/>
          </a:xfrm>
        </p:spPr>
        <p:txBody>
          <a:bodyPr/>
          <a:lstStyle>
            <a:lvl1pPr>
              <a:defRPr sz="28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Headline</a:t>
            </a:r>
          </a:p>
        </p:txBody>
      </p:sp>
      <p:sp>
        <p:nvSpPr>
          <p:cNvPr id="9" name="Textplatzhalter 14">
            <a:extLst>
              <a:ext uri="{FF2B5EF4-FFF2-40B4-BE49-F238E27FC236}">
                <a16:creationId xmlns:a16="http://schemas.microsoft.com/office/drawing/2014/main" id="{F853B40C-9BA2-4E1A-A463-E3DDAB30255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09704" y="877234"/>
            <a:ext cx="5225036" cy="814197"/>
          </a:xfrm>
        </p:spPr>
        <p:txBody>
          <a:bodyPr/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Headline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CFC8ABA9-467D-4A73-954E-7589332F1B6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509706" y="1765748"/>
            <a:ext cx="5225037" cy="462632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705428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39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" y="4"/>
            <a:ext cx="12192000" cy="6857999"/>
          </a:xfrm>
          <a:custGeom>
            <a:avLst/>
            <a:gdLst>
              <a:gd name="connsiteX0" fmla="*/ 0 w 9144000"/>
              <a:gd name="connsiteY0" fmla="*/ 0 h 5143499"/>
              <a:gd name="connsiteX1" fmla="*/ 9144000 w 9144000"/>
              <a:gd name="connsiteY1" fmla="*/ 0 h 5143499"/>
              <a:gd name="connsiteX2" fmla="*/ 9144000 w 9144000"/>
              <a:gd name="connsiteY2" fmla="*/ 5143499 h 5143499"/>
              <a:gd name="connsiteX3" fmla="*/ 0 w 9144000"/>
              <a:gd name="connsiteY3" fmla="*/ 5143499 h 5143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5143499">
                <a:moveTo>
                  <a:pt x="0" y="0"/>
                </a:moveTo>
                <a:lnTo>
                  <a:pt x="9144000" y="0"/>
                </a:lnTo>
                <a:lnTo>
                  <a:pt x="9144000" y="5143499"/>
                </a:lnTo>
                <a:lnTo>
                  <a:pt x="0" y="5143499"/>
                </a:lnTo>
                <a:close/>
              </a:path>
            </a:pathLst>
          </a:cu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852635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epnutím lze upravit styl předlohy nadpisů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Rectangle 106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D57F430-2A15-4AC2-AE95-0B9818275553}" type="datetime1">
              <a:rPr lang="de-DE"/>
              <a:pPr>
                <a:defRPr/>
              </a:pPr>
              <a:t>27.11.2025</a:t>
            </a:fld>
            <a:endParaRPr lang="de-DE"/>
          </a:p>
        </p:txBody>
      </p:sp>
      <p:sp>
        <p:nvSpPr>
          <p:cNvPr id="5" name="Rectangle 106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ghjghjgj</a:t>
            </a:r>
          </a:p>
        </p:txBody>
      </p:sp>
      <p:sp>
        <p:nvSpPr>
          <p:cNvPr id="6" name="Rectangle 106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DEFD35E-380B-433D-9A1D-868264181744}" type="slidenum">
              <a:rPr lang="de-DE" altLang="cs-CZ"/>
              <a:pPr>
                <a:defRPr/>
              </a:pPr>
              <a:t>‹#›</a:t>
            </a:fld>
            <a:endParaRPr lang="de-DE" altLang="cs-CZ"/>
          </a:p>
        </p:txBody>
      </p:sp>
    </p:spTree>
    <p:extLst>
      <p:ext uri="{BB962C8B-B14F-4D97-AF65-F5344CB8AC3E}">
        <p14:creationId xmlns:p14="http://schemas.microsoft.com/office/powerpoint/2010/main" val="4032182234"/>
      </p:ext>
    </p:extLst>
  </p:cSld>
  <p:clrMapOvr>
    <a:masterClrMapping/>
  </p:clrMapOvr>
  <p:transition spd="slow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D08358C-B3C2-45F9-8482-6305AE7A17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000" y="665480"/>
            <a:ext cx="9180000" cy="463550"/>
          </a:xfrm>
        </p:spPr>
        <p:txBody>
          <a:bodyPr tIns="0" rIns="0" bIns="0"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Agenda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56EB678-2B23-4186-8C51-CBF2F5D6EE02}"/>
              </a:ext>
            </a:extLst>
          </p:cNvPr>
          <p:cNvSpPr/>
          <p:nvPr userDrawn="1"/>
        </p:nvSpPr>
        <p:spPr bwMode="gray">
          <a:xfrm flipV="1">
            <a:off x="-2" y="1332000"/>
            <a:ext cx="12193200" cy="552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 dirty="0" err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Picture 2" descr="C:\Users\bertscha\Desktop\ebmpapst_logobox_claim_2021_rgb.jpg">
            <a:extLst>
              <a:ext uri="{FF2B5EF4-FFF2-40B4-BE49-F238E27FC236}">
                <a16:creationId xmlns:a16="http://schemas.microsoft.com/office/drawing/2014/main" id="{D7C054A4-CDAE-4351-9389-CDDFF862E40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66132" y="390991"/>
            <a:ext cx="1760096" cy="12576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platzhalter 15">
            <a:extLst>
              <a:ext uri="{FF2B5EF4-FFF2-40B4-BE49-F238E27FC236}">
                <a16:creationId xmlns:a16="http://schemas.microsoft.com/office/drawing/2014/main" id="{4185C6F8-1793-4497-8BAE-36306B30E03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79500" y="2663825"/>
            <a:ext cx="3168650" cy="612775"/>
          </a:xfrm>
          <a:solidFill>
            <a:schemeClr val="bg2"/>
          </a:solidFill>
        </p:spPr>
        <p:txBody>
          <a:bodyPr lIns="108000" tIns="0" rIns="0" bIns="0" anchor="ctr"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20" name="Textplatzhalter 15">
            <a:extLst>
              <a:ext uri="{FF2B5EF4-FFF2-40B4-BE49-F238E27FC236}">
                <a16:creationId xmlns:a16="http://schemas.microsoft.com/office/drawing/2014/main" id="{642D1EB7-368C-4E81-84AB-4CA4535A42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7997" y="2663825"/>
            <a:ext cx="611501" cy="612775"/>
          </a:xfrm>
          <a:solidFill>
            <a:schemeClr val="accent1"/>
          </a:solidFill>
        </p:spPr>
        <p:txBody>
          <a:bodyPr tIns="0" rIns="0" bIns="0" anchor="ctr"/>
          <a:lstStyle>
            <a:lvl1pPr marL="0" indent="0" algn="ctr">
              <a:lnSpc>
                <a:spcPct val="100000"/>
              </a:lnSpc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o</a:t>
            </a:r>
            <a:endParaRPr lang="de-DE" dirty="0"/>
          </a:p>
        </p:txBody>
      </p:sp>
      <p:sp>
        <p:nvSpPr>
          <p:cNvPr id="21" name="Textplatzhalter 15">
            <a:extLst>
              <a:ext uri="{FF2B5EF4-FFF2-40B4-BE49-F238E27FC236}">
                <a16:creationId xmlns:a16="http://schemas.microsoft.com/office/drawing/2014/main" id="{E66A1DD2-616C-45F0-A9F4-B974496601C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079500" y="3324911"/>
            <a:ext cx="3168650" cy="612775"/>
          </a:xfrm>
          <a:solidFill>
            <a:schemeClr val="bg2"/>
          </a:solidFill>
        </p:spPr>
        <p:txBody>
          <a:bodyPr lIns="108000" tIns="0" rIns="0" bIns="0" anchor="ctr"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22" name="Textplatzhalter 15">
            <a:extLst>
              <a:ext uri="{FF2B5EF4-FFF2-40B4-BE49-F238E27FC236}">
                <a16:creationId xmlns:a16="http://schemas.microsoft.com/office/drawing/2014/main" id="{8A790956-606A-4103-ADC7-890FC3C740B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7997" y="3324911"/>
            <a:ext cx="611501" cy="612775"/>
          </a:xfrm>
          <a:solidFill>
            <a:schemeClr val="accent1"/>
          </a:solidFill>
        </p:spPr>
        <p:txBody>
          <a:bodyPr tIns="0" rIns="0" bIns="0" anchor="ctr"/>
          <a:lstStyle>
            <a:lvl1pPr marL="0" indent="0" algn="ctr">
              <a:lnSpc>
                <a:spcPct val="100000"/>
              </a:lnSpc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o</a:t>
            </a:r>
            <a:endParaRPr lang="de-DE" dirty="0"/>
          </a:p>
        </p:txBody>
      </p:sp>
      <p:sp>
        <p:nvSpPr>
          <p:cNvPr id="23" name="Textplatzhalter 15">
            <a:extLst>
              <a:ext uri="{FF2B5EF4-FFF2-40B4-BE49-F238E27FC236}">
                <a16:creationId xmlns:a16="http://schemas.microsoft.com/office/drawing/2014/main" id="{FEEFDEF9-82BA-46FB-A62C-6161D40CC86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079500" y="3985997"/>
            <a:ext cx="3168650" cy="612775"/>
          </a:xfrm>
          <a:solidFill>
            <a:schemeClr val="bg2"/>
          </a:solidFill>
        </p:spPr>
        <p:txBody>
          <a:bodyPr lIns="108000" tIns="0" rIns="0" bIns="0" anchor="ctr"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24" name="Textplatzhalter 15">
            <a:extLst>
              <a:ext uri="{FF2B5EF4-FFF2-40B4-BE49-F238E27FC236}">
                <a16:creationId xmlns:a16="http://schemas.microsoft.com/office/drawing/2014/main" id="{3BF66E6B-D962-41A1-B33C-571F41C1E1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67997" y="3985997"/>
            <a:ext cx="611501" cy="612775"/>
          </a:xfrm>
          <a:solidFill>
            <a:schemeClr val="accent1"/>
          </a:solidFill>
        </p:spPr>
        <p:txBody>
          <a:bodyPr tIns="0" rIns="0" bIns="0" anchor="ctr"/>
          <a:lstStyle>
            <a:lvl1pPr marL="0" indent="0" algn="ctr">
              <a:lnSpc>
                <a:spcPct val="100000"/>
              </a:lnSpc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o</a:t>
            </a:r>
            <a:endParaRPr lang="de-DE" dirty="0"/>
          </a:p>
        </p:txBody>
      </p:sp>
      <p:sp>
        <p:nvSpPr>
          <p:cNvPr id="25" name="Textplatzhalter 15">
            <a:extLst>
              <a:ext uri="{FF2B5EF4-FFF2-40B4-BE49-F238E27FC236}">
                <a16:creationId xmlns:a16="http://schemas.microsoft.com/office/drawing/2014/main" id="{9E834A2E-E85C-4D87-A5B1-53BE4E60A40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079500" y="4647084"/>
            <a:ext cx="3168650" cy="612775"/>
          </a:xfrm>
          <a:solidFill>
            <a:schemeClr val="bg2"/>
          </a:solidFill>
        </p:spPr>
        <p:txBody>
          <a:bodyPr lIns="108000" tIns="0" rIns="0" bIns="0" anchor="ctr"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26" name="Textplatzhalter 15">
            <a:extLst>
              <a:ext uri="{FF2B5EF4-FFF2-40B4-BE49-F238E27FC236}">
                <a16:creationId xmlns:a16="http://schemas.microsoft.com/office/drawing/2014/main" id="{4DFC1085-2BD5-4C38-993F-A99FB9051A2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67997" y="4647084"/>
            <a:ext cx="611501" cy="612775"/>
          </a:xfrm>
          <a:solidFill>
            <a:schemeClr val="accent1"/>
          </a:solidFill>
        </p:spPr>
        <p:txBody>
          <a:bodyPr tIns="0" rIns="0" bIns="0" anchor="ctr"/>
          <a:lstStyle>
            <a:lvl1pPr marL="0" indent="0" algn="ctr">
              <a:lnSpc>
                <a:spcPct val="100000"/>
              </a:lnSpc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o</a:t>
            </a:r>
            <a:endParaRPr lang="de-DE" dirty="0"/>
          </a:p>
        </p:txBody>
      </p:sp>
      <p:sp>
        <p:nvSpPr>
          <p:cNvPr id="27" name="Textplatzhalter 15">
            <a:extLst>
              <a:ext uri="{FF2B5EF4-FFF2-40B4-BE49-F238E27FC236}">
                <a16:creationId xmlns:a16="http://schemas.microsoft.com/office/drawing/2014/main" id="{7A7E4599-0B0D-44DA-9E2A-1FD9E35CB3F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101624" y="2663825"/>
            <a:ext cx="3168650" cy="612775"/>
          </a:xfrm>
          <a:solidFill>
            <a:schemeClr val="bg2"/>
          </a:solidFill>
        </p:spPr>
        <p:txBody>
          <a:bodyPr lIns="108000" tIns="0" rIns="0" bIns="0" anchor="ctr"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28" name="Textplatzhalter 15">
            <a:extLst>
              <a:ext uri="{FF2B5EF4-FFF2-40B4-BE49-F238E27FC236}">
                <a16:creationId xmlns:a16="http://schemas.microsoft.com/office/drawing/2014/main" id="{DF36D5EE-6BCB-49DD-9EF9-BBCCABEA157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490121" y="2663825"/>
            <a:ext cx="611501" cy="612775"/>
          </a:xfrm>
          <a:solidFill>
            <a:schemeClr val="accent1"/>
          </a:solidFill>
        </p:spPr>
        <p:txBody>
          <a:bodyPr tIns="0" rIns="0" bIns="0" anchor="ctr"/>
          <a:lstStyle>
            <a:lvl1pPr marL="0" indent="0" algn="ctr">
              <a:lnSpc>
                <a:spcPct val="100000"/>
              </a:lnSpc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o</a:t>
            </a:r>
            <a:endParaRPr lang="de-DE" dirty="0"/>
          </a:p>
        </p:txBody>
      </p:sp>
      <p:sp>
        <p:nvSpPr>
          <p:cNvPr id="29" name="Textplatzhalter 15">
            <a:extLst>
              <a:ext uri="{FF2B5EF4-FFF2-40B4-BE49-F238E27FC236}">
                <a16:creationId xmlns:a16="http://schemas.microsoft.com/office/drawing/2014/main" id="{FA86A247-6831-46E5-99A6-903E54CFE27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101624" y="3324911"/>
            <a:ext cx="3168650" cy="612775"/>
          </a:xfrm>
          <a:solidFill>
            <a:schemeClr val="bg2"/>
          </a:solidFill>
        </p:spPr>
        <p:txBody>
          <a:bodyPr lIns="108000" tIns="0" rIns="0" bIns="0" anchor="ctr"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30" name="Textplatzhalter 15">
            <a:extLst>
              <a:ext uri="{FF2B5EF4-FFF2-40B4-BE49-F238E27FC236}">
                <a16:creationId xmlns:a16="http://schemas.microsoft.com/office/drawing/2014/main" id="{C52EBF37-C66D-4B97-A9F2-5E40D17701C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90121" y="3324911"/>
            <a:ext cx="611501" cy="612775"/>
          </a:xfrm>
          <a:solidFill>
            <a:schemeClr val="accent1"/>
          </a:solidFill>
        </p:spPr>
        <p:txBody>
          <a:bodyPr tIns="0" rIns="0" bIns="0" anchor="ctr"/>
          <a:lstStyle>
            <a:lvl1pPr marL="0" indent="0" algn="ctr">
              <a:lnSpc>
                <a:spcPct val="100000"/>
              </a:lnSpc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o</a:t>
            </a:r>
            <a:endParaRPr lang="de-DE" dirty="0"/>
          </a:p>
        </p:txBody>
      </p:sp>
      <p:sp>
        <p:nvSpPr>
          <p:cNvPr id="31" name="Textplatzhalter 15">
            <a:extLst>
              <a:ext uri="{FF2B5EF4-FFF2-40B4-BE49-F238E27FC236}">
                <a16:creationId xmlns:a16="http://schemas.microsoft.com/office/drawing/2014/main" id="{FC362E6D-4359-4B5B-84AC-760037A8089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101624" y="3985997"/>
            <a:ext cx="3168650" cy="612775"/>
          </a:xfrm>
          <a:solidFill>
            <a:schemeClr val="bg2"/>
          </a:solidFill>
        </p:spPr>
        <p:txBody>
          <a:bodyPr lIns="108000" tIns="0" rIns="0" bIns="0" anchor="ctr"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32" name="Textplatzhalter 15">
            <a:extLst>
              <a:ext uri="{FF2B5EF4-FFF2-40B4-BE49-F238E27FC236}">
                <a16:creationId xmlns:a16="http://schemas.microsoft.com/office/drawing/2014/main" id="{FF946C46-E3E9-4431-8314-DD7BAD3BD93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490121" y="3985997"/>
            <a:ext cx="611501" cy="612775"/>
          </a:xfrm>
          <a:solidFill>
            <a:schemeClr val="accent1"/>
          </a:solidFill>
        </p:spPr>
        <p:txBody>
          <a:bodyPr tIns="0" rIns="0" bIns="0" anchor="ctr"/>
          <a:lstStyle>
            <a:lvl1pPr marL="0" indent="0" algn="ctr">
              <a:lnSpc>
                <a:spcPct val="100000"/>
              </a:lnSpc>
              <a:buNone/>
              <a:tabLst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o</a:t>
            </a:r>
            <a:endParaRPr lang="de-DE" dirty="0"/>
          </a:p>
        </p:txBody>
      </p:sp>
      <p:sp>
        <p:nvSpPr>
          <p:cNvPr id="33" name="Textplatzhalter 15">
            <a:extLst>
              <a:ext uri="{FF2B5EF4-FFF2-40B4-BE49-F238E27FC236}">
                <a16:creationId xmlns:a16="http://schemas.microsoft.com/office/drawing/2014/main" id="{4E971C38-D40D-4592-BE74-63525F83549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101624" y="4647084"/>
            <a:ext cx="3168650" cy="612775"/>
          </a:xfrm>
          <a:solidFill>
            <a:schemeClr val="bg2"/>
          </a:solidFill>
        </p:spPr>
        <p:txBody>
          <a:bodyPr lIns="108000" tIns="0" rIns="0" bIns="0" anchor="ctr"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34" name="Textplatzhalter 15">
            <a:extLst>
              <a:ext uri="{FF2B5EF4-FFF2-40B4-BE49-F238E27FC236}">
                <a16:creationId xmlns:a16="http://schemas.microsoft.com/office/drawing/2014/main" id="{8863D9C0-8991-452B-8260-9B8C554DC04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490121" y="4647084"/>
            <a:ext cx="611501" cy="612775"/>
          </a:xfrm>
          <a:solidFill>
            <a:schemeClr val="accent1"/>
          </a:solidFill>
        </p:spPr>
        <p:txBody>
          <a:bodyPr tIns="0" rIns="0" bIns="0" anchor="ctr"/>
          <a:lstStyle>
            <a:lvl1pPr marL="0" indent="0" algn="ctr">
              <a:lnSpc>
                <a:spcPct val="100000"/>
              </a:lnSpc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o</a:t>
            </a:r>
            <a:endParaRPr lang="de-DE" dirty="0"/>
          </a:p>
        </p:txBody>
      </p:sp>
      <p:sp>
        <p:nvSpPr>
          <p:cNvPr id="38" name="Textplatzhalter 11">
            <a:extLst>
              <a:ext uri="{FF2B5EF4-FFF2-40B4-BE49-F238E27FC236}">
                <a16:creationId xmlns:a16="http://schemas.microsoft.com/office/drawing/2014/main" id="{289A4DA1-82D9-483D-8B04-CE875225DEF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8000" y="396000"/>
            <a:ext cx="9180000" cy="185432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lang="de-DE" sz="1400" i="1" kern="1200" spc="1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0" name="Fußzeilenplatzhalter 3">
            <a:extLst>
              <a:ext uri="{FF2B5EF4-FFF2-40B4-BE49-F238E27FC236}">
                <a16:creationId xmlns:a16="http://schemas.microsoft.com/office/drawing/2014/main" id="{766CE2EA-22E6-4D99-A426-A96CB6ADFC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17548" y="6591300"/>
            <a:ext cx="9000000" cy="266700"/>
          </a:xfrm>
        </p:spPr>
        <p:txBody>
          <a:bodyPr lIns="0"/>
          <a:lstStyle/>
          <a:p>
            <a:endParaRPr lang="de-DE" dirty="0"/>
          </a:p>
        </p:txBody>
      </p:sp>
      <p:sp>
        <p:nvSpPr>
          <p:cNvPr id="41" name="Foliennummernplatzhalter 4">
            <a:extLst>
              <a:ext uri="{FF2B5EF4-FFF2-40B4-BE49-F238E27FC236}">
                <a16:creationId xmlns:a16="http://schemas.microsoft.com/office/drawing/2014/main" id="{CD78E22E-1589-4AAC-8E51-A1C852FA74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591300"/>
            <a:ext cx="469898" cy="266700"/>
          </a:xfrm>
        </p:spPr>
        <p:txBody>
          <a:bodyPr/>
          <a:lstStyle/>
          <a:p>
            <a:fld id="{5AFF31D0-8A17-47C0-8D09-D01303A85034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57392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epnutím lze upravit styl předlohy nadpisů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sz="half" idx="1"/>
          </p:nvPr>
        </p:nvSpPr>
        <p:spPr>
          <a:xfrm>
            <a:off x="1007535" y="1689100"/>
            <a:ext cx="5135033" cy="44831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6345768" y="1689100"/>
            <a:ext cx="5135033" cy="44831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Rectangle 106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8E4C753-77AE-419C-B63D-9BF2FB92E947}" type="datetime1">
              <a:rPr lang="de-DE"/>
              <a:pPr>
                <a:defRPr/>
              </a:pPr>
              <a:t>27.11.2025</a:t>
            </a:fld>
            <a:endParaRPr lang="de-DE"/>
          </a:p>
        </p:txBody>
      </p:sp>
      <p:sp>
        <p:nvSpPr>
          <p:cNvPr id="6" name="Rectangle 106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ghjghjgj</a:t>
            </a:r>
          </a:p>
        </p:txBody>
      </p:sp>
      <p:sp>
        <p:nvSpPr>
          <p:cNvPr id="7" name="Rectangle 106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7734F56-24D1-4251-8652-ECF9BCB00C96}" type="slidenum">
              <a:rPr lang="de-DE" altLang="cs-CZ"/>
              <a:pPr>
                <a:defRPr/>
              </a:pPr>
              <a:t>‹#›</a:t>
            </a:fld>
            <a:endParaRPr lang="de-DE" altLang="cs-CZ"/>
          </a:p>
        </p:txBody>
      </p:sp>
    </p:spTree>
    <p:extLst>
      <p:ext uri="{BB962C8B-B14F-4D97-AF65-F5344CB8AC3E}">
        <p14:creationId xmlns:p14="http://schemas.microsoft.com/office/powerpoint/2010/main" val="832625278"/>
      </p:ext>
    </p:extLst>
  </p:cSld>
  <p:clrMapOvr>
    <a:masterClrMapping/>
  </p:clrMapOvr>
  <p:transition spd="slow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platzhalter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78"/>
          <a:stretch>
            <a:fillRect/>
          </a:stretch>
        </p:blipFill>
        <p:spPr bwMode="gray">
          <a:xfrm>
            <a:off x="-9526" y="2490788"/>
            <a:ext cx="12201526" cy="4367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uppieren 37"/>
          <p:cNvGrpSpPr>
            <a:grpSpLocks/>
          </p:cNvGrpSpPr>
          <p:nvPr/>
        </p:nvGrpSpPr>
        <p:grpSpPr bwMode="auto">
          <a:xfrm>
            <a:off x="520769" y="-215900"/>
            <a:ext cx="11147289" cy="195262"/>
            <a:chOff x="520716" y="-215558"/>
            <a:chExt cx="11145805" cy="194423"/>
          </a:xfrm>
        </p:grpSpPr>
        <p:grpSp>
          <p:nvGrpSpPr>
            <p:cNvPr id="7" name="Gruppieren 38"/>
            <p:cNvGrpSpPr>
              <a:grpSpLocks/>
            </p:cNvGrpSpPr>
            <p:nvPr/>
          </p:nvGrpSpPr>
          <p:grpSpPr bwMode="auto">
            <a:xfrm>
              <a:off x="520716" y="-215558"/>
              <a:ext cx="257143" cy="194423"/>
              <a:chOff x="-187945" y="5594515"/>
              <a:chExt cx="192882" cy="194423"/>
            </a:xfrm>
          </p:grpSpPr>
          <p:cxnSp>
            <p:nvCxnSpPr>
              <p:cNvPr id="18" name="Gerade Verbindung 17"/>
              <p:cNvCxnSpPr/>
              <p:nvPr userDrawn="1"/>
            </p:nvCxnSpPr>
            <p:spPr bwMode="gray">
              <a:xfrm rot="5400000">
                <a:off x="-152348" y="5728083"/>
                <a:ext cx="121712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9" name="Rechteck 18"/>
              <p:cNvSpPr/>
              <p:nvPr userDrawn="1"/>
            </p:nvSpPr>
            <p:spPr bwMode="gray">
              <a:xfrm>
                <a:off x="-187945" y="5594515"/>
                <a:ext cx="192905" cy="60066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algn="ctr">
                  <a:defRPr/>
                </a:pPr>
                <a:r>
                  <a:rPr lang="de-DE" sz="600" dirty="0">
                    <a:solidFill>
                      <a:prstClr val="black"/>
                    </a:solidFill>
                    <a:cs typeface="Arial" panose="020B0604020202020204" pitchFamily="34" charset="0"/>
                  </a:rPr>
                  <a:t>15,12</a:t>
                </a:r>
              </a:p>
            </p:txBody>
          </p:sp>
        </p:grpSp>
        <p:grpSp>
          <p:nvGrpSpPr>
            <p:cNvPr id="8" name="Gruppieren 39"/>
            <p:cNvGrpSpPr>
              <a:grpSpLocks/>
            </p:cNvGrpSpPr>
            <p:nvPr/>
          </p:nvGrpSpPr>
          <p:grpSpPr bwMode="auto">
            <a:xfrm>
              <a:off x="5867416" y="-215558"/>
              <a:ext cx="257143" cy="194423"/>
              <a:chOff x="-187945" y="5594515"/>
              <a:chExt cx="192882" cy="194423"/>
            </a:xfrm>
          </p:grpSpPr>
          <p:cxnSp>
            <p:nvCxnSpPr>
              <p:cNvPr id="16" name="Gerade Verbindung 15"/>
              <p:cNvCxnSpPr/>
              <p:nvPr userDrawn="1"/>
            </p:nvCxnSpPr>
            <p:spPr bwMode="gray">
              <a:xfrm rot="5400000">
                <a:off x="-152360" y="5728083"/>
                <a:ext cx="121712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" name="Rechteck 16"/>
              <p:cNvSpPr/>
              <p:nvPr userDrawn="1"/>
            </p:nvSpPr>
            <p:spPr bwMode="gray">
              <a:xfrm>
                <a:off x="-187957" y="5594515"/>
                <a:ext cx="192905" cy="60066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algn="ctr">
                  <a:defRPr/>
                </a:pPr>
                <a:r>
                  <a:rPr lang="de-DE" sz="600" dirty="0">
                    <a:solidFill>
                      <a:prstClr val="black"/>
                    </a:solidFill>
                    <a:cs typeface="Arial" panose="020B0604020202020204" pitchFamily="34" charset="0"/>
                  </a:rPr>
                  <a:t>0,27</a:t>
                </a:r>
              </a:p>
            </p:txBody>
          </p:sp>
        </p:grpSp>
        <p:grpSp>
          <p:nvGrpSpPr>
            <p:cNvPr id="9" name="Gruppieren 40"/>
            <p:cNvGrpSpPr>
              <a:grpSpLocks/>
            </p:cNvGrpSpPr>
            <p:nvPr/>
          </p:nvGrpSpPr>
          <p:grpSpPr bwMode="auto">
            <a:xfrm>
              <a:off x="6062678" y="-215558"/>
              <a:ext cx="257143" cy="194423"/>
              <a:chOff x="-187945" y="5594515"/>
              <a:chExt cx="192882" cy="194423"/>
            </a:xfrm>
          </p:grpSpPr>
          <p:cxnSp>
            <p:nvCxnSpPr>
              <p:cNvPr id="14" name="Gerade Verbindung 13"/>
              <p:cNvCxnSpPr/>
              <p:nvPr userDrawn="1"/>
            </p:nvCxnSpPr>
            <p:spPr bwMode="gray">
              <a:xfrm rot="5400000">
                <a:off x="-152360" y="5728083"/>
                <a:ext cx="121712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" name="Rechteck 14"/>
              <p:cNvSpPr/>
              <p:nvPr userDrawn="1"/>
            </p:nvSpPr>
            <p:spPr bwMode="gray">
              <a:xfrm>
                <a:off x="-187956" y="5594515"/>
                <a:ext cx="192905" cy="60066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algn="ctr">
                  <a:defRPr/>
                </a:pPr>
                <a:r>
                  <a:rPr lang="de-DE" sz="600" dirty="0">
                    <a:solidFill>
                      <a:prstClr val="black"/>
                    </a:solidFill>
                    <a:cs typeface="Arial" panose="020B0604020202020204" pitchFamily="34" charset="0"/>
                  </a:rPr>
                  <a:t>0,27</a:t>
                </a:r>
              </a:p>
            </p:txBody>
          </p:sp>
        </p:grpSp>
        <p:grpSp>
          <p:nvGrpSpPr>
            <p:cNvPr id="11" name="Gruppieren 41"/>
            <p:cNvGrpSpPr>
              <a:grpSpLocks/>
            </p:cNvGrpSpPr>
            <p:nvPr/>
          </p:nvGrpSpPr>
          <p:grpSpPr bwMode="auto">
            <a:xfrm>
              <a:off x="11409378" y="-215558"/>
              <a:ext cx="257143" cy="194423"/>
              <a:chOff x="-187945" y="5594515"/>
              <a:chExt cx="192882" cy="194423"/>
            </a:xfrm>
          </p:grpSpPr>
          <p:cxnSp>
            <p:nvCxnSpPr>
              <p:cNvPr id="12" name="Gerade Verbindung 11"/>
              <p:cNvCxnSpPr/>
              <p:nvPr userDrawn="1"/>
            </p:nvCxnSpPr>
            <p:spPr bwMode="gray">
              <a:xfrm rot="5400000">
                <a:off x="-152372" y="5728083"/>
                <a:ext cx="121712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3" name="Rechteck 12"/>
              <p:cNvSpPr/>
              <p:nvPr userDrawn="1"/>
            </p:nvSpPr>
            <p:spPr bwMode="gray">
              <a:xfrm>
                <a:off x="-187968" y="5594515"/>
                <a:ext cx="192905" cy="60066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algn="ctr">
                  <a:defRPr/>
                </a:pPr>
                <a:r>
                  <a:rPr lang="de-DE" sz="600" dirty="0">
                    <a:solidFill>
                      <a:prstClr val="black"/>
                    </a:solidFill>
                    <a:cs typeface="Arial" panose="020B0604020202020204" pitchFamily="34" charset="0"/>
                  </a:rPr>
                  <a:t>15,12</a:t>
                </a:r>
              </a:p>
            </p:txBody>
          </p:sp>
        </p:grpSp>
      </p:grpSp>
      <p:pic>
        <p:nvPicPr>
          <p:cNvPr id="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486095" y="3429000"/>
            <a:ext cx="9219813" cy="3429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51" name="Gruppieren 111"/>
          <p:cNvGrpSpPr>
            <a:grpSpLocks/>
          </p:cNvGrpSpPr>
          <p:nvPr/>
        </p:nvGrpSpPr>
        <p:grpSpPr bwMode="auto">
          <a:xfrm>
            <a:off x="-312777" y="1739903"/>
            <a:ext cx="271498" cy="4748213"/>
            <a:chOff x="-312083" y="1740297"/>
            <a:chExt cx="271280" cy="4748555"/>
          </a:xfrm>
        </p:grpSpPr>
        <p:grpSp>
          <p:nvGrpSpPr>
            <p:cNvPr id="52" name="Gruppieren 112"/>
            <p:cNvGrpSpPr>
              <a:grpSpLocks/>
            </p:cNvGrpSpPr>
            <p:nvPr/>
          </p:nvGrpSpPr>
          <p:grpSpPr bwMode="auto">
            <a:xfrm>
              <a:off x="-312083" y="6295970"/>
              <a:ext cx="271280" cy="192882"/>
              <a:chOff x="-312083" y="6295970"/>
              <a:chExt cx="271280" cy="192882"/>
            </a:xfrm>
          </p:grpSpPr>
          <p:cxnSp>
            <p:nvCxnSpPr>
              <p:cNvPr id="56" name="Gerade Verbindung 55"/>
              <p:cNvCxnSpPr/>
              <p:nvPr userDrawn="1"/>
            </p:nvCxnSpPr>
            <p:spPr bwMode="gray">
              <a:xfrm>
                <a:off x="-202619" y="6393595"/>
                <a:ext cx="161816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7" name="Rechteck 56"/>
              <p:cNvSpPr/>
              <p:nvPr userDrawn="1"/>
            </p:nvSpPr>
            <p:spPr bwMode="gray">
              <a:xfrm rot="16200000">
                <a:off x="-368473" y="6353140"/>
                <a:ext cx="192102" cy="79321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algn="ctr">
                  <a:defRPr/>
                </a:pPr>
                <a:r>
                  <a:rPr lang="de-DE" sz="600" dirty="0">
                    <a:solidFill>
                      <a:prstClr val="black"/>
                    </a:solidFill>
                    <a:cs typeface="Arial" panose="020B0604020202020204" pitchFamily="34" charset="0"/>
                  </a:rPr>
                  <a:t>8,24</a:t>
                </a:r>
              </a:p>
            </p:txBody>
          </p:sp>
        </p:grpSp>
        <p:grpSp>
          <p:nvGrpSpPr>
            <p:cNvPr id="53" name="Gruppieren 113"/>
            <p:cNvGrpSpPr>
              <a:grpSpLocks/>
            </p:cNvGrpSpPr>
            <p:nvPr/>
          </p:nvGrpSpPr>
          <p:grpSpPr bwMode="auto">
            <a:xfrm>
              <a:off x="-312083" y="1740297"/>
              <a:ext cx="271280" cy="192882"/>
              <a:chOff x="-312083" y="1703784"/>
              <a:chExt cx="271280" cy="192882"/>
            </a:xfrm>
          </p:grpSpPr>
          <p:cxnSp>
            <p:nvCxnSpPr>
              <p:cNvPr id="54" name="Gerade Verbindung 53"/>
              <p:cNvCxnSpPr/>
              <p:nvPr userDrawn="1"/>
            </p:nvCxnSpPr>
            <p:spPr bwMode="gray">
              <a:xfrm>
                <a:off x="-202619" y="1800629"/>
                <a:ext cx="161816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5" name="Rechteck 54"/>
              <p:cNvSpPr/>
              <p:nvPr userDrawn="1"/>
            </p:nvSpPr>
            <p:spPr bwMode="gray">
              <a:xfrm rot="16200000">
                <a:off x="-368473" y="1760174"/>
                <a:ext cx="192102" cy="79321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algn="ctr">
                  <a:defRPr/>
                </a:pPr>
                <a:r>
                  <a:rPr lang="de-DE" sz="600" dirty="0">
                    <a:solidFill>
                      <a:prstClr val="black"/>
                    </a:solidFill>
                    <a:cs typeface="Arial" panose="020B0604020202020204" pitchFamily="34" charset="0"/>
                  </a:rPr>
                  <a:t>4,42</a:t>
                </a:r>
              </a:p>
            </p:txBody>
          </p:sp>
        </p:grpSp>
      </p:grpSp>
      <p:sp>
        <p:nvSpPr>
          <p:cNvPr id="65" name="Titel 64"/>
          <p:cNvSpPr>
            <a:spLocks noGrp="1"/>
          </p:cNvSpPr>
          <p:nvPr>
            <p:ph type="ctrTitle"/>
          </p:nvPr>
        </p:nvSpPr>
        <p:spPr bwMode="gray">
          <a:xfrm>
            <a:off x="-1" y="1"/>
            <a:ext cx="12192000" cy="2504834"/>
          </a:xfrm>
          <a:custGeom>
            <a:avLst/>
            <a:gdLst>
              <a:gd name="connsiteX0" fmla="*/ 0 w 12190413"/>
              <a:gd name="connsiteY0" fmla="*/ 0 h 2504834"/>
              <a:gd name="connsiteX1" fmla="*/ 12190413 w 12190413"/>
              <a:gd name="connsiteY1" fmla="*/ 0 h 2504834"/>
              <a:gd name="connsiteX2" fmla="*/ 12190413 w 12190413"/>
              <a:gd name="connsiteY2" fmla="*/ 829996 h 2504834"/>
              <a:gd name="connsiteX3" fmla="*/ 9060657 w 12190413"/>
              <a:gd name="connsiteY3" fmla="*/ 829996 h 2504834"/>
              <a:gd name="connsiteX4" fmla="*/ 9060657 w 12190413"/>
              <a:gd name="connsiteY4" fmla="*/ 2504830 h 2504834"/>
              <a:gd name="connsiteX5" fmla="*/ 12190413 w 12190413"/>
              <a:gd name="connsiteY5" fmla="*/ 2504830 h 2504834"/>
              <a:gd name="connsiteX6" fmla="*/ 12190413 w 12190413"/>
              <a:gd name="connsiteY6" fmla="*/ 2504834 h 2504834"/>
              <a:gd name="connsiteX7" fmla="*/ 0 w 12190413"/>
              <a:gd name="connsiteY7" fmla="*/ 2504834 h 25048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0413" h="2504834">
                <a:moveTo>
                  <a:pt x="0" y="0"/>
                </a:moveTo>
                <a:lnTo>
                  <a:pt x="12190413" y="0"/>
                </a:lnTo>
                <a:lnTo>
                  <a:pt x="12190413" y="829996"/>
                </a:lnTo>
                <a:lnTo>
                  <a:pt x="9060657" y="829996"/>
                </a:lnTo>
                <a:lnTo>
                  <a:pt x="9060657" y="2504830"/>
                </a:lnTo>
                <a:lnTo>
                  <a:pt x="12190413" y="2504830"/>
                </a:lnTo>
                <a:lnTo>
                  <a:pt x="12190413" y="2504834"/>
                </a:lnTo>
                <a:lnTo>
                  <a:pt x="0" y="2504834"/>
                </a:lnTo>
                <a:close/>
              </a:path>
            </a:pathLst>
          </a:custGeom>
          <a:solidFill>
            <a:schemeClr val="accent6"/>
          </a:solidFill>
        </p:spPr>
        <p:txBody>
          <a:bodyPr lIns="619200" tIns="482400" rIns="3456000" anchor="t">
            <a:noAutofit/>
          </a:bodyPr>
          <a:lstStyle>
            <a:lvl1pPr algn="l">
              <a:defRPr sz="3200"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628732" y="1616101"/>
            <a:ext cx="7863876" cy="288000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 bwMode="gray">
          <a:xfrm>
            <a:off x="632704" y="2001655"/>
            <a:ext cx="7859903" cy="216000"/>
          </a:xfrm>
        </p:spPr>
        <p:txBody>
          <a:bodyPr/>
          <a:lstStyle>
            <a:lvl1pPr marL="3175" indent="0">
              <a:spcBef>
                <a:spcPts val="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1pPr>
            <a:lvl2pPr marL="3175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2pPr>
            <a:lvl3pPr marL="3175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3pPr>
            <a:lvl4pPr marL="3175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4pPr>
            <a:lvl5pPr marL="3175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5pPr>
            <a:lvl6pPr marL="3175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6pPr>
            <a:lvl7pPr marL="3175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7pPr>
            <a:lvl8pPr marL="3175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8pPr>
            <a:lvl9pPr marL="3175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8" name="Datumsplatzhalt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pPr>
              <a:defRPr/>
            </a:pPr>
            <a:r>
              <a:rPr lang="de-DE"/>
              <a:t>Datum</a:t>
            </a:r>
            <a:endParaRPr lang="de-DE" dirty="0"/>
          </a:p>
        </p:txBody>
      </p:sp>
      <p:sp>
        <p:nvSpPr>
          <p:cNvPr id="59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 dirty="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>
              <a:defRPr/>
            </a:pPr>
            <a:endParaRPr lang="de-DE">
              <a:solidFill>
                <a:prstClr val="black"/>
              </a:solidFill>
            </a:endParaRPr>
          </a:p>
        </p:txBody>
      </p:sp>
      <p:sp>
        <p:nvSpPr>
          <p:cNvPr id="60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 smtClean="0"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pPr>
              <a:defRPr/>
            </a:pPr>
            <a:fld id="{FC502AD6-D8F7-4E14-97C2-F46807DB647A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pic>
        <p:nvPicPr>
          <p:cNvPr id="62" name="Picture 75" descr="C:\Users\bertscha\Desktop\ebmpapst_logobox_claim_2021_rgb.jp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061043" y="826915"/>
            <a:ext cx="3130957" cy="22369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28576151"/>
      </p:ext>
    </p:extLst>
  </p:cSld>
  <p:clrMapOvr>
    <a:masterClrMapping/>
  </p:clrMapOvr>
  <p:transition spd="med"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n.jovcic\Pictures\Bild1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2" y="2505078"/>
            <a:ext cx="12192000" cy="4352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6" name="Gruppieren 67"/>
          <p:cNvGrpSpPr>
            <a:grpSpLocks/>
          </p:cNvGrpSpPr>
          <p:nvPr/>
        </p:nvGrpSpPr>
        <p:grpSpPr bwMode="auto">
          <a:xfrm>
            <a:off x="520769" y="-215900"/>
            <a:ext cx="11147289" cy="195262"/>
            <a:chOff x="520716" y="-215558"/>
            <a:chExt cx="11145805" cy="194423"/>
          </a:xfrm>
        </p:grpSpPr>
        <p:grpSp>
          <p:nvGrpSpPr>
            <p:cNvPr id="37" name="Gruppieren 68"/>
            <p:cNvGrpSpPr>
              <a:grpSpLocks/>
            </p:cNvGrpSpPr>
            <p:nvPr/>
          </p:nvGrpSpPr>
          <p:grpSpPr bwMode="auto">
            <a:xfrm>
              <a:off x="520716" y="-215558"/>
              <a:ext cx="257143" cy="194423"/>
              <a:chOff x="-187945" y="5594515"/>
              <a:chExt cx="192882" cy="194423"/>
            </a:xfrm>
          </p:grpSpPr>
          <p:cxnSp>
            <p:nvCxnSpPr>
              <p:cNvPr id="47" name="Gerade Verbindung 46"/>
              <p:cNvCxnSpPr/>
              <p:nvPr userDrawn="1"/>
            </p:nvCxnSpPr>
            <p:spPr bwMode="gray">
              <a:xfrm rot="5400000">
                <a:off x="-152348" y="5728083"/>
                <a:ext cx="121712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8" name="Rechteck 47"/>
              <p:cNvSpPr/>
              <p:nvPr userDrawn="1"/>
            </p:nvSpPr>
            <p:spPr bwMode="gray">
              <a:xfrm>
                <a:off x="-187945" y="5594515"/>
                <a:ext cx="192905" cy="60066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algn="ctr">
                  <a:defRPr/>
                </a:pPr>
                <a:r>
                  <a:rPr lang="de-DE" sz="600" dirty="0">
                    <a:solidFill>
                      <a:prstClr val="black"/>
                    </a:solidFill>
                    <a:cs typeface="Arial" panose="020B0604020202020204" pitchFamily="34" charset="0"/>
                  </a:rPr>
                  <a:t>15,12</a:t>
                </a:r>
              </a:p>
            </p:txBody>
          </p:sp>
        </p:grpSp>
        <p:grpSp>
          <p:nvGrpSpPr>
            <p:cNvPr id="38" name="Gruppieren 69"/>
            <p:cNvGrpSpPr>
              <a:grpSpLocks/>
            </p:cNvGrpSpPr>
            <p:nvPr/>
          </p:nvGrpSpPr>
          <p:grpSpPr bwMode="auto">
            <a:xfrm>
              <a:off x="5867416" y="-215558"/>
              <a:ext cx="257143" cy="194423"/>
              <a:chOff x="-187945" y="5594515"/>
              <a:chExt cx="192882" cy="194423"/>
            </a:xfrm>
          </p:grpSpPr>
          <p:cxnSp>
            <p:nvCxnSpPr>
              <p:cNvPr id="45" name="Gerade Verbindung 44"/>
              <p:cNvCxnSpPr/>
              <p:nvPr userDrawn="1"/>
            </p:nvCxnSpPr>
            <p:spPr bwMode="gray">
              <a:xfrm rot="5400000">
                <a:off x="-152360" y="5728083"/>
                <a:ext cx="121712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6" name="Rechteck 45"/>
              <p:cNvSpPr/>
              <p:nvPr userDrawn="1"/>
            </p:nvSpPr>
            <p:spPr bwMode="gray">
              <a:xfrm>
                <a:off x="-187957" y="5594515"/>
                <a:ext cx="192905" cy="60066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algn="ctr">
                  <a:defRPr/>
                </a:pPr>
                <a:r>
                  <a:rPr lang="de-DE" sz="600" dirty="0">
                    <a:solidFill>
                      <a:prstClr val="black"/>
                    </a:solidFill>
                    <a:cs typeface="Arial" panose="020B0604020202020204" pitchFamily="34" charset="0"/>
                  </a:rPr>
                  <a:t>0,27</a:t>
                </a:r>
              </a:p>
            </p:txBody>
          </p:sp>
        </p:grpSp>
        <p:grpSp>
          <p:nvGrpSpPr>
            <p:cNvPr id="39" name="Gruppieren 100"/>
            <p:cNvGrpSpPr>
              <a:grpSpLocks/>
            </p:cNvGrpSpPr>
            <p:nvPr/>
          </p:nvGrpSpPr>
          <p:grpSpPr bwMode="auto">
            <a:xfrm>
              <a:off x="6062678" y="-215558"/>
              <a:ext cx="257143" cy="194423"/>
              <a:chOff x="-187945" y="5594515"/>
              <a:chExt cx="192882" cy="194423"/>
            </a:xfrm>
          </p:grpSpPr>
          <p:cxnSp>
            <p:nvCxnSpPr>
              <p:cNvPr id="43" name="Gerade Verbindung 42"/>
              <p:cNvCxnSpPr/>
              <p:nvPr userDrawn="1"/>
            </p:nvCxnSpPr>
            <p:spPr bwMode="gray">
              <a:xfrm rot="5400000">
                <a:off x="-152360" y="5728083"/>
                <a:ext cx="121712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4" name="Rechteck 43"/>
              <p:cNvSpPr/>
              <p:nvPr userDrawn="1"/>
            </p:nvSpPr>
            <p:spPr bwMode="gray">
              <a:xfrm>
                <a:off x="-187956" y="5594515"/>
                <a:ext cx="192905" cy="60066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algn="ctr">
                  <a:defRPr/>
                </a:pPr>
                <a:r>
                  <a:rPr lang="de-DE" sz="600" dirty="0">
                    <a:solidFill>
                      <a:prstClr val="black"/>
                    </a:solidFill>
                    <a:cs typeface="Arial" panose="020B0604020202020204" pitchFamily="34" charset="0"/>
                  </a:rPr>
                  <a:t>0,27</a:t>
                </a:r>
              </a:p>
            </p:txBody>
          </p:sp>
        </p:grpSp>
        <p:grpSp>
          <p:nvGrpSpPr>
            <p:cNvPr id="40" name="Gruppieren 101"/>
            <p:cNvGrpSpPr>
              <a:grpSpLocks/>
            </p:cNvGrpSpPr>
            <p:nvPr/>
          </p:nvGrpSpPr>
          <p:grpSpPr bwMode="auto">
            <a:xfrm>
              <a:off x="11409378" y="-215558"/>
              <a:ext cx="257143" cy="194423"/>
              <a:chOff x="-187945" y="5594515"/>
              <a:chExt cx="192882" cy="194423"/>
            </a:xfrm>
          </p:grpSpPr>
          <p:cxnSp>
            <p:nvCxnSpPr>
              <p:cNvPr id="41" name="Gerade Verbindung 40"/>
              <p:cNvCxnSpPr/>
              <p:nvPr userDrawn="1"/>
            </p:nvCxnSpPr>
            <p:spPr bwMode="gray">
              <a:xfrm rot="5400000">
                <a:off x="-152372" y="5728083"/>
                <a:ext cx="121712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2" name="Rechteck 41"/>
              <p:cNvSpPr/>
              <p:nvPr userDrawn="1"/>
            </p:nvSpPr>
            <p:spPr bwMode="gray">
              <a:xfrm>
                <a:off x="-187968" y="5594515"/>
                <a:ext cx="192905" cy="60066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algn="ctr">
                  <a:defRPr/>
                </a:pPr>
                <a:r>
                  <a:rPr lang="de-DE" sz="600" dirty="0">
                    <a:solidFill>
                      <a:prstClr val="black"/>
                    </a:solidFill>
                    <a:cs typeface="Arial" panose="020B0604020202020204" pitchFamily="34" charset="0"/>
                  </a:rPr>
                  <a:t>15,12</a:t>
                </a:r>
              </a:p>
            </p:txBody>
          </p:sp>
        </p:grpSp>
      </p:grpSp>
      <p:grpSp>
        <p:nvGrpSpPr>
          <p:cNvPr id="49" name="Gruppieren 110"/>
          <p:cNvGrpSpPr>
            <a:grpSpLocks/>
          </p:cNvGrpSpPr>
          <p:nvPr/>
        </p:nvGrpSpPr>
        <p:grpSpPr bwMode="auto">
          <a:xfrm>
            <a:off x="-312777" y="1739903"/>
            <a:ext cx="271498" cy="4748213"/>
            <a:chOff x="-312083" y="1740297"/>
            <a:chExt cx="271280" cy="4748555"/>
          </a:xfrm>
        </p:grpSpPr>
        <p:grpSp>
          <p:nvGrpSpPr>
            <p:cNvPr id="50" name="Gruppieren 111"/>
            <p:cNvGrpSpPr>
              <a:grpSpLocks/>
            </p:cNvGrpSpPr>
            <p:nvPr/>
          </p:nvGrpSpPr>
          <p:grpSpPr bwMode="auto">
            <a:xfrm>
              <a:off x="-312083" y="6295970"/>
              <a:ext cx="271280" cy="192882"/>
              <a:chOff x="-312083" y="6295970"/>
              <a:chExt cx="271280" cy="192882"/>
            </a:xfrm>
          </p:grpSpPr>
          <p:cxnSp>
            <p:nvCxnSpPr>
              <p:cNvPr id="54" name="Gerade Verbindung 53"/>
              <p:cNvCxnSpPr/>
              <p:nvPr userDrawn="1"/>
            </p:nvCxnSpPr>
            <p:spPr bwMode="gray">
              <a:xfrm>
                <a:off x="-202619" y="6393595"/>
                <a:ext cx="161816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5" name="Rechteck 54"/>
              <p:cNvSpPr/>
              <p:nvPr userDrawn="1"/>
            </p:nvSpPr>
            <p:spPr bwMode="gray">
              <a:xfrm rot="16200000">
                <a:off x="-368473" y="6353140"/>
                <a:ext cx="192102" cy="79321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algn="ctr">
                  <a:defRPr/>
                </a:pPr>
                <a:r>
                  <a:rPr lang="de-DE" sz="600" dirty="0">
                    <a:solidFill>
                      <a:prstClr val="black"/>
                    </a:solidFill>
                    <a:cs typeface="Arial" panose="020B0604020202020204" pitchFamily="34" charset="0"/>
                  </a:rPr>
                  <a:t>8,24</a:t>
                </a:r>
              </a:p>
            </p:txBody>
          </p:sp>
        </p:grpSp>
        <p:grpSp>
          <p:nvGrpSpPr>
            <p:cNvPr id="51" name="Gruppieren 112"/>
            <p:cNvGrpSpPr>
              <a:grpSpLocks/>
            </p:cNvGrpSpPr>
            <p:nvPr/>
          </p:nvGrpSpPr>
          <p:grpSpPr bwMode="auto">
            <a:xfrm>
              <a:off x="-312083" y="1740297"/>
              <a:ext cx="271280" cy="192882"/>
              <a:chOff x="-312083" y="1703784"/>
              <a:chExt cx="271280" cy="192882"/>
            </a:xfrm>
          </p:grpSpPr>
          <p:cxnSp>
            <p:nvCxnSpPr>
              <p:cNvPr id="52" name="Gerade Verbindung 51"/>
              <p:cNvCxnSpPr/>
              <p:nvPr userDrawn="1"/>
            </p:nvCxnSpPr>
            <p:spPr bwMode="gray">
              <a:xfrm>
                <a:off x="-202619" y="1800629"/>
                <a:ext cx="161816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3" name="Rechteck 52"/>
              <p:cNvSpPr/>
              <p:nvPr userDrawn="1"/>
            </p:nvSpPr>
            <p:spPr bwMode="gray">
              <a:xfrm rot="16200000">
                <a:off x="-368473" y="1760174"/>
                <a:ext cx="192102" cy="79321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algn="ctr">
                  <a:defRPr/>
                </a:pPr>
                <a:r>
                  <a:rPr lang="de-DE" sz="600" dirty="0">
                    <a:solidFill>
                      <a:prstClr val="black"/>
                    </a:solidFill>
                    <a:cs typeface="Arial" panose="020B0604020202020204" pitchFamily="34" charset="0"/>
                  </a:rPr>
                  <a:t>4,42</a:t>
                </a:r>
              </a:p>
            </p:txBody>
          </p:sp>
        </p:grpSp>
      </p:grpSp>
      <p:sp>
        <p:nvSpPr>
          <p:cNvPr id="78" name="Titel 77"/>
          <p:cNvSpPr>
            <a:spLocks noGrp="1"/>
          </p:cNvSpPr>
          <p:nvPr>
            <p:ph type="ctrTitle"/>
          </p:nvPr>
        </p:nvSpPr>
        <p:spPr bwMode="gray">
          <a:xfrm>
            <a:off x="-1" y="1"/>
            <a:ext cx="12192000" cy="2504834"/>
          </a:xfrm>
          <a:custGeom>
            <a:avLst/>
            <a:gdLst>
              <a:gd name="connsiteX0" fmla="*/ 0 w 12190413"/>
              <a:gd name="connsiteY0" fmla="*/ 0 h 2504834"/>
              <a:gd name="connsiteX1" fmla="*/ 12190413 w 12190413"/>
              <a:gd name="connsiteY1" fmla="*/ 0 h 2504834"/>
              <a:gd name="connsiteX2" fmla="*/ 12190413 w 12190413"/>
              <a:gd name="connsiteY2" fmla="*/ 829996 h 2504834"/>
              <a:gd name="connsiteX3" fmla="*/ 9060657 w 12190413"/>
              <a:gd name="connsiteY3" fmla="*/ 829996 h 2504834"/>
              <a:gd name="connsiteX4" fmla="*/ 9060657 w 12190413"/>
              <a:gd name="connsiteY4" fmla="*/ 2504830 h 2504834"/>
              <a:gd name="connsiteX5" fmla="*/ 12190413 w 12190413"/>
              <a:gd name="connsiteY5" fmla="*/ 2504830 h 2504834"/>
              <a:gd name="connsiteX6" fmla="*/ 12190413 w 12190413"/>
              <a:gd name="connsiteY6" fmla="*/ 2504834 h 2504834"/>
              <a:gd name="connsiteX7" fmla="*/ 0 w 12190413"/>
              <a:gd name="connsiteY7" fmla="*/ 2504834 h 25048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0413" h="2504834">
                <a:moveTo>
                  <a:pt x="0" y="0"/>
                </a:moveTo>
                <a:lnTo>
                  <a:pt x="12190413" y="0"/>
                </a:lnTo>
                <a:lnTo>
                  <a:pt x="12190413" y="829996"/>
                </a:lnTo>
                <a:lnTo>
                  <a:pt x="9060657" y="829996"/>
                </a:lnTo>
                <a:lnTo>
                  <a:pt x="9060657" y="2504830"/>
                </a:lnTo>
                <a:lnTo>
                  <a:pt x="12190413" y="2504830"/>
                </a:lnTo>
                <a:lnTo>
                  <a:pt x="12190413" y="2504834"/>
                </a:lnTo>
                <a:lnTo>
                  <a:pt x="0" y="2504834"/>
                </a:lnTo>
                <a:close/>
              </a:path>
            </a:pathLst>
          </a:custGeom>
          <a:solidFill>
            <a:schemeClr val="accent4"/>
          </a:solidFill>
        </p:spPr>
        <p:txBody>
          <a:bodyPr lIns="619200" tIns="482400" rIns="3456000" anchor="t">
            <a:noAutofit/>
          </a:bodyPr>
          <a:lstStyle>
            <a:lvl1pPr algn="l">
              <a:defRPr sz="3200"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628732" y="1616101"/>
            <a:ext cx="7863876" cy="288000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de-DE" dirty="0"/>
          </a:p>
        </p:txBody>
      </p:sp>
      <p:sp>
        <p:nvSpPr>
          <p:cNvPr id="57" name="Textplatzhalter 9"/>
          <p:cNvSpPr>
            <a:spLocks noGrp="1"/>
          </p:cNvSpPr>
          <p:nvPr>
            <p:ph type="body" sz="quarter" idx="13"/>
          </p:nvPr>
        </p:nvSpPr>
        <p:spPr bwMode="gray">
          <a:xfrm>
            <a:off x="632704" y="2001655"/>
            <a:ext cx="7859903" cy="216000"/>
          </a:xfrm>
        </p:spPr>
        <p:txBody>
          <a:bodyPr/>
          <a:lstStyle>
            <a:lvl1pPr marL="3175" indent="0">
              <a:spcBef>
                <a:spcPts val="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1pPr>
            <a:lvl2pPr marL="3175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2pPr>
            <a:lvl3pPr marL="3175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3pPr>
            <a:lvl4pPr marL="3175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4pPr>
            <a:lvl5pPr marL="3175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5pPr>
            <a:lvl6pPr marL="3175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6pPr>
            <a:lvl7pPr marL="3175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7pPr>
            <a:lvl8pPr marL="3175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8pPr>
            <a:lvl9pPr marL="3175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6" name="Datumsplatzhalt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pPr>
              <a:defRPr/>
            </a:pPr>
            <a:r>
              <a:rPr lang="de-DE"/>
              <a:t>Datum</a:t>
            </a:r>
            <a:endParaRPr lang="de-DE" dirty="0"/>
          </a:p>
        </p:txBody>
      </p:sp>
      <p:sp>
        <p:nvSpPr>
          <p:cNvPr id="58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 dirty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>
              <a:defRPr/>
            </a:pPr>
            <a:endParaRPr lang="de-DE">
              <a:solidFill>
                <a:prstClr val="white"/>
              </a:solidFill>
            </a:endParaRPr>
          </a:p>
        </p:txBody>
      </p:sp>
      <p:sp>
        <p:nvSpPr>
          <p:cNvPr id="59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 smtClean="0"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pPr>
              <a:defRPr/>
            </a:pPr>
            <a:fld id="{C9B9D322-B709-42FE-8A2F-038DD17D1D50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pic>
        <p:nvPicPr>
          <p:cNvPr id="61" name="Picture 75" descr="C:\Users\bertscha\Desktop\ebmpapst_logobox_claim_2021_rgb.jp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061043" y="826915"/>
            <a:ext cx="3130957" cy="22369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2402516"/>
      </p:ext>
    </p:extLst>
  </p:cSld>
  <p:clrMapOvr>
    <a:masterClrMapping/>
  </p:clrMapOvr>
  <p:transition spd="med"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1456B7B3-1BDB-4800-9F98-9BEDFDE2E5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43"/>
          <a:stretch/>
        </p:blipFill>
        <p:spPr>
          <a:xfrm>
            <a:off x="2" y="1440551"/>
            <a:ext cx="12192000" cy="5417451"/>
          </a:xfrm>
          <a:prstGeom prst="rect">
            <a:avLst/>
          </a:prstGeom>
        </p:spPr>
      </p:pic>
      <p:grpSp>
        <p:nvGrpSpPr>
          <p:cNvPr id="36" name="Gruppieren 67"/>
          <p:cNvGrpSpPr>
            <a:grpSpLocks/>
          </p:cNvGrpSpPr>
          <p:nvPr/>
        </p:nvGrpSpPr>
        <p:grpSpPr bwMode="auto">
          <a:xfrm>
            <a:off x="520769" y="-215900"/>
            <a:ext cx="11147289" cy="195262"/>
            <a:chOff x="520716" y="-215558"/>
            <a:chExt cx="11145805" cy="194423"/>
          </a:xfrm>
        </p:grpSpPr>
        <p:grpSp>
          <p:nvGrpSpPr>
            <p:cNvPr id="37" name="Gruppieren 68"/>
            <p:cNvGrpSpPr>
              <a:grpSpLocks/>
            </p:cNvGrpSpPr>
            <p:nvPr/>
          </p:nvGrpSpPr>
          <p:grpSpPr bwMode="auto">
            <a:xfrm>
              <a:off x="520716" y="-215558"/>
              <a:ext cx="257143" cy="194423"/>
              <a:chOff x="-187945" y="5594515"/>
              <a:chExt cx="192882" cy="194423"/>
            </a:xfrm>
          </p:grpSpPr>
          <p:cxnSp>
            <p:nvCxnSpPr>
              <p:cNvPr id="47" name="Gerade Verbindung 46"/>
              <p:cNvCxnSpPr/>
              <p:nvPr userDrawn="1"/>
            </p:nvCxnSpPr>
            <p:spPr bwMode="gray">
              <a:xfrm rot="5400000">
                <a:off x="-152348" y="5728083"/>
                <a:ext cx="121712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8" name="Rechteck 47"/>
              <p:cNvSpPr/>
              <p:nvPr userDrawn="1"/>
            </p:nvSpPr>
            <p:spPr bwMode="gray">
              <a:xfrm>
                <a:off x="-187945" y="5594515"/>
                <a:ext cx="192905" cy="60066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algn="ctr">
                  <a:defRPr/>
                </a:pPr>
                <a:r>
                  <a:rPr lang="de-DE" sz="600" dirty="0">
                    <a:solidFill>
                      <a:prstClr val="black"/>
                    </a:solidFill>
                    <a:cs typeface="Arial" panose="020B0604020202020204" pitchFamily="34" charset="0"/>
                  </a:rPr>
                  <a:t>15,12</a:t>
                </a:r>
              </a:p>
            </p:txBody>
          </p:sp>
        </p:grpSp>
        <p:grpSp>
          <p:nvGrpSpPr>
            <p:cNvPr id="38" name="Gruppieren 69"/>
            <p:cNvGrpSpPr>
              <a:grpSpLocks/>
            </p:cNvGrpSpPr>
            <p:nvPr/>
          </p:nvGrpSpPr>
          <p:grpSpPr bwMode="auto">
            <a:xfrm>
              <a:off x="5867416" y="-215558"/>
              <a:ext cx="257143" cy="194423"/>
              <a:chOff x="-187945" y="5594515"/>
              <a:chExt cx="192882" cy="194423"/>
            </a:xfrm>
          </p:grpSpPr>
          <p:cxnSp>
            <p:nvCxnSpPr>
              <p:cNvPr id="45" name="Gerade Verbindung 44"/>
              <p:cNvCxnSpPr/>
              <p:nvPr userDrawn="1"/>
            </p:nvCxnSpPr>
            <p:spPr bwMode="gray">
              <a:xfrm rot="5400000">
                <a:off x="-152360" y="5728083"/>
                <a:ext cx="121712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6" name="Rechteck 45"/>
              <p:cNvSpPr/>
              <p:nvPr userDrawn="1"/>
            </p:nvSpPr>
            <p:spPr bwMode="gray">
              <a:xfrm>
                <a:off x="-187957" y="5594515"/>
                <a:ext cx="192905" cy="60066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algn="ctr">
                  <a:defRPr/>
                </a:pPr>
                <a:r>
                  <a:rPr lang="de-DE" sz="600" dirty="0">
                    <a:solidFill>
                      <a:prstClr val="black"/>
                    </a:solidFill>
                    <a:cs typeface="Arial" panose="020B0604020202020204" pitchFamily="34" charset="0"/>
                  </a:rPr>
                  <a:t>0,27</a:t>
                </a:r>
              </a:p>
            </p:txBody>
          </p:sp>
        </p:grpSp>
        <p:grpSp>
          <p:nvGrpSpPr>
            <p:cNvPr id="39" name="Gruppieren 100"/>
            <p:cNvGrpSpPr>
              <a:grpSpLocks/>
            </p:cNvGrpSpPr>
            <p:nvPr/>
          </p:nvGrpSpPr>
          <p:grpSpPr bwMode="auto">
            <a:xfrm>
              <a:off x="6062678" y="-215558"/>
              <a:ext cx="257143" cy="194423"/>
              <a:chOff x="-187945" y="5594515"/>
              <a:chExt cx="192882" cy="194423"/>
            </a:xfrm>
          </p:grpSpPr>
          <p:cxnSp>
            <p:nvCxnSpPr>
              <p:cNvPr id="43" name="Gerade Verbindung 42"/>
              <p:cNvCxnSpPr/>
              <p:nvPr userDrawn="1"/>
            </p:nvCxnSpPr>
            <p:spPr bwMode="gray">
              <a:xfrm rot="5400000">
                <a:off x="-152360" y="5728083"/>
                <a:ext cx="121712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4" name="Rechteck 43"/>
              <p:cNvSpPr/>
              <p:nvPr userDrawn="1"/>
            </p:nvSpPr>
            <p:spPr bwMode="gray">
              <a:xfrm>
                <a:off x="-187956" y="5594515"/>
                <a:ext cx="192905" cy="60066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algn="ctr">
                  <a:defRPr/>
                </a:pPr>
                <a:r>
                  <a:rPr lang="de-DE" sz="600" dirty="0">
                    <a:solidFill>
                      <a:prstClr val="black"/>
                    </a:solidFill>
                    <a:cs typeface="Arial" panose="020B0604020202020204" pitchFamily="34" charset="0"/>
                  </a:rPr>
                  <a:t>0,27</a:t>
                </a:r>
              </a:p>
            </p:txBody>
          </p:sp>
        </p:grpSp>
        <p:grpSp>
          <p:nvGrpSpPr>
            <p:cNvPr id="40" name="Gruppieren 101"/>
            <p:cNvGrpSpPr>
              <a:grpSpLocks/>
            </p:cNvGrpSpPr>
            <p:nvPr/>
          </p:nvGrpSpPr>
          <p:grpSpPr bwMode="auto">
            <a:xfrm>
              <a:off x="11409378" y="-215558"/>
              <a:ext cx="257143" cy="194423"/>
              <a:chOff x="-187945" y="5594515"/>
              <a:chExt cx="192882" cy="194423"/>
            </a:xfrm>
          </p:grpSpPr>
          <p:cxnSp>
            <p:nvCxnSpPr>
              <p:cNvPr id="41" name="Gerade Verbindung 40"/>
              <p:cNvCxnSpPr/>
              <p:nvPr userDrawn="1"/>
            </p:nvCxnSpPr>
            <p:spPr bwMode="gray">
              <a:xfrm rot="5400000">
                <a:off x="-152372" y="5728083"/>
                <a:ext cx="121712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2" name="Rechteck 41"/>
              <p:cNvSpPr/>
              <p:nvPr userDrawn="1"/>
            </p:nvSpPr>
            <p:spPr bwMode="gray">
              <a:xfrm>
                <a:off x="-187968" y="5594515"/>
                <a:ext cx="192905" cy="60066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algn="ctr">
                  <a:defRPr/>
                </a:pPr>
                <a:r>
                  <a:rPr lang="de-DE" sz="600" dirty="0">
                    <a:solidFill>
                      <a:prstClr val="black"/>
                    </a:solidFill>
                    <a:cs typeface="Arial" panose="020B0604020202020204" pitchFamily="34" charset="0"/>
                  </a:rPr>
                  <a:t>15,12</a:t>
                </a:r>
              </a:p>
            </p:txBody>
          </p:sp>
        </p:grpSp>
      </p:grpSp>
      <p:grpSp>
        <p:nvGrpSpPr>
          <p:cNvPr id="49" name="Gruppieren 110"/>
          <p:cNvGrpSpPr>
            <a:grpSpLocks/>
          </p:cNvGrpSpPr>
          <p:nvPr/>
        </p:nvGrpSpPr>
        <p:grpSpPr bwMode="auto">
          <a:xfrm>
            <a:off x="-312777" y="1739903"/>
            <a:ext cx="271498" cy="4748213"/>
            <a:chOff x="-312083" y="1740297"/>
            <a:chExt cx="271280" cy="4748555"/>
          </a:xfrm>
        </p:grpSpPr>
        <p:grpSp>
          <p:nvGrpSpPr>
            <p:cNvPr id="50" name="Gruppieren 111"/>
            <p:cNvGrpSpPr>
              <a:grpSpLocks/>
            </p:cNvGrpSpPr>
            <p:nvPr/>
          </p:nvGrpSpPr>
          <p:grpSpPr bwMode="auto">
            <a:xfrm>
              <a:off x="-312083" y="6295970"/>
              <a:ext cx="271280" cy="192882"/>
              <a:chOff x="-312083" y="6295970"/>
              <a:chExt cx="271280" cy="192882"/>
            </a:xfrm>
          </p:grpSpPr>
          <p:cxnSp>
            <p:nvCxnSpPr>
              <p:cNvPr id="54" name="Gerade Verbindung 53"/>
              <p:cNvCxnSpPr/>
              <p:nvPr userDrawn="1"/>
            </p:nvCxnSpPr>
            <p:spPr bwMode="gray">
              <a:xfrm>
                <a:off x="-202619" y="6393595"/>
                <a:ext cx="161816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5" name="Rechteck 54"/>
              <p:cNvSpPr/>
              <p:nvPr userDrawn="1"/>
            </p:nvSpPr>
            <p:spPr bwMode="gray">
              <a:xfrm rot="16200000">
                <a:off x="-368473" y="6353140"/>
                <a:ext cx="192102" cy="79321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algn="ctr">
                  <a:defRPr/>
                </a:pPr>
                <a:r>
                  <a:rPr lang="de-DE" sz="600" dirty="0">
                    <a:solidFill>
                      <a:prstClr val="black"/>
                    </a:solidFill>
                    <a:cs typeface="Arial" panose="020B0604020202020204" pitchFamily="34" charset="0"/>
                  </a:rPr>
                  <a:t>8,24</a:t>
                </a:r>
              </a:p>
            </p:txBody>
          </p:sp>
        </p:grpSp>
        <p:grpSp>
          <p:nvGrpSpPr>
            <p:cNvPr id="51" name="Gruppieren 112"/>
            <p:cNvGrpSpPr>
              <a:grpSpLocks/>
            </p:cNvGrpSpPr>
            <p:nvPr/>
          </p:nvGrpSpPr>
          <p:grpSpPr bwMode="auto">
            <a:xfrm>
              <a:off x="-312083" y="1740297"/>
              <a:ext cx="271280" cy="192882"/>
              <a:chOff x="-312083" y="1703784"/>
              <a:chExt cx="271280" cy="192882"/>
            </a:xfrm>
          </p:grpSpPr>
          <p:cxnSp>
            <p:nvCxnSpPr>
              <p:cNvPr id="52" name="Gerade Verbindung 51"/>
              <p:cNvCxnSpPr/>
              <p:nvPr userDrawn="1"/>
            </p:nvCxnSpPr>
            <p:spPr bwMode="gray">
              <a:xfrm>
                <a:off x="-202619" y="1800629"/>
                <a:ext cx="161816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3" name="Rechteck 52"/>
              <p:cNvSpPr/>
              <p:nvPr userDrawn="1"/>
            </p:nvSpPr>
            <p:spPr bwMode="gray">
              <a:xfrm rot="16200000">
                <a:off x="-368473" y="1760174"/>
                <a:ext cx="192102" cy="79321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algn="ctr">
                  <a:defRPr/>
                </a:pPr>
                <a:r>
                  <a:rPr lang="de-DE" sz="600" dirty="0">
                    <a:solidFill>
                      <a:prstClr val="black"/>
                    </a:solidFill>
                    <a:cs typeface="Arial" panose="020B0604020202020204" pitchFamily="34" charset="0"/>
                  </a:rPr>
                  <a:t>4,42</a:t>
                </a:r>
              </a:p>
            </p:txBody>
          </p:sp>
        </p:grpSp>
      </p:grpSp>
      <p:sp>
        <p:nvSpPr>
          <p:cNvPr id="78" name="Titel 77"/>
          <p:cNvSpPr>
            <a:spLocks noGrp="1"/>
          </p:cNvSpPr>
          <p:nvPr>
            <p:ph type="ctrTitle"/>
          </p:nvPr>
        </p:nvSpPr>
        <p:spPr bwMode="gray">
          <a:xfrm>
            <a:off x="-1" y="1"/>
            <a:ext cx="12192000" cy="2504834"/>
          </a:xfrm>
          <a:custGeom>
            <a:avLst/>
            <a:gdLst>
              <a:gd name="connsiteX0" fmla="*/ 0 w 12190413"/>
              <a:gd name="connsiteY0" fmla="*/ 0 h 2504834"/>
              <a:gd name="connsiteX1" fmla="*/ 12190413 w 12190413"/>
              <a:gd name="connsiteY1" fmla="*/ 0 h 2504834"/>
              <a:gd name="connsiteX2" fmla="*/ 12190413 w 12190413"/>
              <a:gd name="connsiteY2" fmla="*/ 829996 h 2504834"/>
              <a:gd name="connsiteX3" fmla="*/ 9060657 w 12190413"/>
              <a:gd name="connsiteY3" fmla="*/ 829996 h 2504834"/>
              <a:gd name="connsiteX4" fmla="*/ 9060657 w 12190413"/>
              <a:gd name="connsiteY4" fmla="*/ 2504830 h 2504834"/>
              <a:gd name="connsiteX5" fmla="*/ 12190413 w 12190413"/>
              <a:gd name="connsiteY5" fmla="*/ 2504830 h 2504834"/>
              <a:gd name="connsiteX6" fmla="*/ 12190413 w 12190413"/>
              <a:gd name="connsiteY6" fmla="*/ 2504834 h 2504834"/>
              <a:gd name="connsiteX7" fmla="*/ 0 w 12190413"/>
              <a:gd name="connsiteY7" fmla="*/ 2504834 h 25048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0413" h="2504834">
                <a:moveTo>
                  <a:pt x="0" y="0"/>
                </a:moveTo>
                <a:lnTo>
                  <a:pt x="12190413" y="0"/>
                </a:lnTo>
                <a:lnTo>
                  <a:pt x="12190413" y="829996"/>
                </a:lnTo>
                <a:lnTo>
                  <a:pt x="9060657" y="829996"/>
                </a:lnTo>
                <a:lnTo>
                  <a:pt x="9060657" y="2504830"/>
                </a:lnTo>
                <a:lnTo>
                  <a:pt x="12190413" y="2504830"/>
                </a:lnTo>
                <a:lnTo>
                  <a:pt x="12190413" y="2504834"/>
                </a:lnTo>
                <a:lnTo>
                  <a:pt x="0" y="2504834"/>
                </a:lnTo>
                <a:close/>
              </a:path>
            </a:pathLst>
          </a:custGeom>
          <a:solidFill>
            <a:schemeClr val="accent1"/>
          </a:solidFill>
        </p:spPr>
        <p:txBody>
          <a:bodyPr lIns="619200" tIns="482400" rIns="3456000" anchor="t">
            <a:noAutofit/>
          </a:bodyPr>
          <a:lstStyle>
            <a:lvl1pPr algn="l">
              <a:defRPr sz="3200"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628732" y="1616101"/>
            <a:ext cx="7863876" cy="288000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de-DE" dirty="0"/>
          </a:p>
        </p:txBody>
      </p:sp>
      <p:sp>
        <p:nvSpPr>
          <p:cNvPr id="57" name="Textplatzhalter 9"/>
          <p:cNvSpPr>
            <a:spLocks noGrp="1"/>
          </p:cNvSpPr>
          <p:nvPr>
            <p:ph type="body" sz="quarter" idx="13"/>
          </p:nvPr>
        </p:nvSpPr>
        <p:spPr bwMode="gray">
          <a:xfrm>
            <a:off x="632704" y="2001655"/>
            <a:ext cx="7859903" cy="216000"/>
          </a:xfrm>
        </p:spPr>
        <p:txBody>
          <a:bodyPr/>
          <a:lstStyle>
            <a:lvl1pPr marL="3175" indent="0">
              <a:spcBef>
                <a:spcPts val="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1pPr>
            <a:lvl2pPr marL="3175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2pPr>
            <a:lvl3pPr marL="3175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3pPr>
            <a:lvl4pPr marL="3175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4pPr>
            <a:lvl5pPr marL="3175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5pPr>
            <a:lvl6pPr marL="3175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6pPr>
            <a:lvl7pPr marL="3175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7pPr>
            <a:lvl8pPr marL="3175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8pPr>
            <a:lvl9pPr marL="3175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6" name="Datumsplatzhalt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pPr>
              <a:defRPr/>
            </a:pPr>
            <a:r>
              <a:rPr lang="de-DE"/>
              <a:t>Datum</a:t>
            </a:r>
            <a:endParaRPr lang="de-DE" dirty="0"/>
          </a:p>
        </p:txBody>
      </p:sp>
      <p:sp>
        <p:nvSpPr>
          <p:cNvPr id="58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 dirty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>
              <a:defRPr/>
            </a:pPr>
            <a:endParaRPr lang="de-DE">
              <a:solidFill>
                <a:prstClr val="white"/>
              </a:solidFill>
            </a:endParaRPr>
          </a:p>
        </p:txBody>
      </p:sp>
      <p:sp>
        <p:nvSpPr>
          <p:cNvPr id="59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 smtClean="0"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pPr>
              <a:defRPr/>
            </a:pPr>
            <a:fld id="{C9B9D322-B709-42FE-8A2F-038DD17D1D50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pic>
        <p:nvPicPr>
          <p:cNvPr id="60" name="Picture 75" descr="C:\Users\bertscha\Desktop\ebmpapst_logobox_claim_2021_rgb.jp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061043" y="826915"/>
            <a:ext cx="3130957" cy="22369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7570930"/>
      </p:ext>
    </p:extLst>
  </p:cSld>
  <p:clrMapOvr>
    <a:masterClrMapping/>
  </p:clrMapOvr>
  <p:transition spd="med"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8732" y="1766888"/>
            <a:ext cx="10908340" cy="4625181"/>
          </a:xfrm>
        </p:spPr>
        <p:txBody>
          <a:bodyPr/>
          <a:lstStyle>
            <a:lvl1pPr marL="360000" indent="-360000">
              <a:spcBef>
                <a:spcPts val="1000"/>
              </a:spcBef>
              <a:buClr>
                <a:schemeClr val="tx1"/>
              </a:buClr>
              <a:buSzPct val="120000"/>
              <a:buFont typeface="+mj-lt"/>
              <a:buAutoNum type="arabicPeriod"/>
              <a:defRPr sz="2000"/>
            </a:lvl1pPr>
            <a:lvl2pPr marL="355600" indent="-355600">
              <a:spcBef>
                <a:spcPts val="1000"/>
              </a:spcBef>
              <a:buClr>
                <a:schemeClr val="tx1"/>
              </a:buClr>
              <a:buSzPct val="120000"/>
              <a:buFont typeface="+mj-lt"/>
              <a:buAutoNum type="arabicPeriod"/>
              <a:defRPr sz="2000"/>
            </a:lvl2pPr>
            <a:lvl3pPr marL="360000" indent="-360000">
              <a:spcBef>
                <a:spcPts val="1000"/>
              </a:spcBef>
              <a:buClr>
                <a:schemeClr val="tx1"/>
              </a:buClr>
              <a:buSzPct val="120000"/>
              <a:buFont typeface="+mj-lt"/>
              <a:buAutoNum type="arabicPeriod"/>
              <a:defRPr sz="2000"/>
            </a:lvl3pPr>
            <a:lvl4pPr marL="360000" indent="-360000">
              <a:spcBef>
                <a:spcPts val="1000"/>
              </a:spcBef>
              <a:buClr>
                <a:schemeClr val="tx1"/>
              </a:buClr>
              <a:buSzPct val="120000"/>
              <a:buFont typeface="+mj-lt"/>
              <a:buAutoNum type="arabicPeriod"/>
              <a:defRPr sz="2000"/>
            </a:lvl4pPr>
            <a:lvl5pPr marL="360000" indent="-360000">
              <a:spcBef>
                <a:spcPts val="1000"/>
              </a:spcBef>
              <a:buClr>
                <a:schemeClr val="tx1"/>
              </a:buClr>
              <a:buSzPct val="120000"/>
              <a:buFont typeface="+mj-lt"/>
              <a:buAutoNum type="arabicPeriod"/>
              <a:defRPr sz="2000"/>
            </a:lvl5pPr>
            <a:lvl6pPr marL="360000" indent="-360000">
              <a:spcBef>
                <a:spcPts val="1000"/>
              </a:spcBef>
              <a:buClr>
                <a:schemeClr val="tx1"/>
              </a:buClr>
              <a:buSzPct val="120000"/>
              <a:buFont typeface="+mj-lt"/>
              <a:buAutoNum type="arabicPeriod"/>
              <a:defRPr sz="2000"/>
            </a:lvl6pPr>
            <a:lvl7pPr marL="360000" indent="-360000">
              <a:spcBef>
                <a:spcPts val="1000"/>
              </a:spcBef>
              <a:buClr>
                <a:schemeClr val="tx1"/>
              </a:buClr>
              <a:buSzPct val="120000"/>
              <a:buFont typeface="+mj-lt"/>
              <a:buAutoNum type="arabicPeriod"/>
              <a:defRPr sz="2000"/>
            </a:lvl7pPr>
            <a:lvl8pPr marL="360000" indent="-360000">
              <a:spcBef>
                <a:spcPts val="1000"/>
              </a:spcBef>
              <a:buClr>
                <a:schemeClr val="tx1"/>
              </a:buClr>
              <a:buSzPct val="120000"/>
              <a:buFont typeface="+mj-lt"/>
              <a:buAutoNum type="arabicPeriod"/>
              <a:defRPr sz="2000"/>
            </a:lvl8pPr>
            <a:lvl9pPr marL="360000" indent="-360000">
              <a:spcBef>
                <a:spcPts val="1000"/>
              </a:spcBef>
              <a:buClr>
                <a:schemeClr val="tx1"/>
              </a:buClr>
              <a:buSzPct val="120000"/>
              <a:buFont typeface="+mj-lt"/>
              <a:buAutoNum type="arabicPeriod"/>
              <a:defRPr sz="20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2" name="Untertitel 2"/>
          <p:cNvSpPr>
            <a:spLocks noGrp="1"/>
          </p:cNvSpPr>
          <p:nvPr>
            <p:ph type="subTitle" idx="1"/>
          </p:nvPr>
        </p:nvSpPr>
        <p:spPr bwMode="gray">
          <a:xfrm>
            <a:off x="628731" y="1152799"/>
            <a:ext cx="8839416" cy="345805"/>
          </a:xfrm>
        </p:spPr>
        <p:txBody>
          <a:bodyPr anchor="ctr"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>
                <a:solidFill>
                  <a:prstClr val="black"/>
                </a:solidFill>
              </a:rPr>
              <a:t>Datum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>
              <a:solidFill>
                <a:prstClr val="black"/>
              </a:solidFill>
            </a:endParaRP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FB524EF-13DD-48F5-862A-B189D612DB55}" type="slidenum">
              <a:rPr lang="de-DE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5090531"/>
      </p:ext>
    </p:extLst>
  </p:cSld>
  <p:clrMapOvr>
    <a:masterClrMapping/>
  </p:clrMapOvr>
  <p:transition spd="med"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171578" y="3026471"/>
            <a:ext cx="10020422" cy="1126802"/>
          </a:xfrm>
          <a:solidFill>
            <a:schemeClr val="tx2"/>
          </a:solidFill>
        </p:spPr>
        <p:txBody>
          <a:bodyPr lIns="432000" tIns="46800" rIns="684000" bIns="46800"/>
          <a:lstStyle>
            <a:lvl1pPr>
              <a:defRPr baseline="0"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 bwMode="gray">
          <a:xfrm>
            <a:off x="646991" y="3026471"/>
            <a:ext cx="1126947" cy="1126802"/>
          </a:xfrm>
          <a:solidFill>
            <a:schemeClr val="tx2"/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540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540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5400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buNone/>
              <a:defRPr sz="5400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5400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5400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buNone/>
              <a:defRPr sz="5400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buNone/>
              <a:defRPr sz="5400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buNone/>
              <a:defRPr sz="54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>
                <a:solidFill>
                  <a:prstClr val="black"/>
                </a:solidFill>
              </a:rPr>
              <a:t>Datum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 smtClean="0"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pPr>
              <a:defRPr/>
            </a:pPr>
            <a:fld id="{B588B951-3BF3-4D5D-B10C-A9517560257B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1295419"/>
      </p:ext>
    </p:extLst>
  </p:cSld>
  <p:clrMapOvr>
    <a:masterClrMapping/>
  </p:clrMapOvr>
  <p:transition spd="med"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 bwMode="gray">
          <a:xfrm>
            <a:off x="628733" y="1765748"/>
            <a:ext cx="10908339" cy="4626322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6" name="Untertitel 2"/>
          <p:cNvSpPr>
            <a:spLocks noGrp="1"/>
          </p:cNvSpPr>
          <p:nvPr>
            <p:ph type="subTitle" idx="1"/>
          </p:nvPr>
        </p:nvSpPr>
        <p:spPr bwMode="gray">
          <a:xfrm>
            <a:off x="628731" y="1152799"/>
            <a:ext cx="8839416" cy="345805"/>
          </a:xfrm>
        </p:spPr>
        <p:txBody>
          <a:bodyPr anchor="ctr"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solidFill>
            <a:schemeClr val="accent2"/>
          </a:solidFill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>
                <a:solidFill>
                  <a:prstClr val="black"/>
                </a:solidFill>
              </a:rPr>
              <a:t>Datum</a:t>
            </a:r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>
              <a:solidFill>
                <a:prstClr val="black"/>
              </a:solidFill>
            </a:endParaRP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BE022FB-5030-479E-9168-9EA88F81BF37}" type="slidenum">
              <a:rPr lang="de-DE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3905986"/>
      </p:ext>
    </p:extLst>
  </p:cSld>
  <p:clrMapOvr>
    <a:masterClrMapping/>
  </p:clrMapOvr>
  <p:transition spd="med"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 bwMode="gray">
          <a:xfrm>
            <a:off x="6170624" y="1765748"/>
            <a:ext cx="5366449" cy="462632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 bwMode="gray">
          <a:xfrm>
            <a:off x="646994" y="1834357"/>
            <a:ext cx="5347395" cy="4557712"/>
          </a:xfrm>
        </p:spPr>
        <p:txBody>
          <a:bodyPr tIns="648000"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de-DE" noProof="0"/>
              <a:t>Bild durch Klicken auf Symbol hinzufügen</a:t>
            </a:r>
          </a:p>
        </p:txBody>
      </p:sp>
      <p:sp>
        <p:nvSpPr>
          <p:cNvPr id="46" name="Untertitel 2"/>
          <p:cNvSpPr>
            <a:spLocks noGrp="1"/>
          </p:cNvSpPr>
          <p:nvPr>
            <p:ph type="subTitle" idx="1"/>
          </p:nvPr>
        </p:nvSpPr>
        <p:spPr bwMode="gray">
          <a:xfrm>
            <a:off x="628731" y="1152799"/>
            <a:ext cx="8839416" cy="345805"/>
          </a:xfrm>
        </p:spPr>
        <p:txBody>
          <a:bodyPr anchor="ctr"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solidFill>
            <a:schemeClr val="accent3"/>
          </a:solidFill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6" name="Datumsplatzhalt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>
                <a:solidFill>
                  <a:prstClr val="black"/>
                </a:solidFill>
              </a:rPr>
              <a:t>Datum</a:t>
            </a:r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>
              <a:solidFill>
                <a:prstClr val="black"/>
              </a:solidFill>
            </a:endParaRPr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65B49A1-3796-456D-80C3-467C217D8036}" type="slidenum">
              <a:rPr lang="de-DE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1207320"/>
      </p:ext>
    </p:extLst>
  </p:cSld>
  <p:clrMapOvr>
    <a:masterClrMapping/>
  </p:clrMapOvr>
  <p:transition spd="med"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+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 bwMode="gray">
          <a:xfrm>
            <a:off x="7698506" y="1765748"/>
            <a:ext cx="3838566" cy="462632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 bwMode="gray">
          <a:xfrm>
            <a:off x="646992" y="1834358"/>
            <a:ext cx="6877658" cy="4557713"/>
          </a:xfrm>
        </p:spPr>
        <p:txBody>
          <a:bodyPr tIns="648000"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de-DE" noProof="0"/>
              <a:t>Bild durch Klicken auf Symbol hinzufügen</a:t>
            </a:r>
          </a:p>
        </p:txBody>
      </p:sp>
      <p:sp>
        <p:nvSpPr>
          <p:cNvPr id="47" name="Untertitel 2"/>
          <p:cNvSpPr>
            <a:spLocks noGrp="1"/>
          </p:cNvSpPr>
          <p:nvPr>
            <p:ph type="subTitle" idx="1"/>
          </p:nvPr>
        </p:nvSpPr>
        <p:spPr bwMode="gray">
          <a:xfrm>
            <a:off x="628731" y="1152799"/>
            <a:ext cx="8839416" cy="345805"/>
          </a:xfrm>
        </p:spPr>
        <p:txBody>
          <a:bodyPr anchor="ctr"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solidFill>
            <a:schemeClr val="accent4"/>
          </a:solidFill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6" name="Datumsplatzhalt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>
                <a:solidFill>
                  <a:prstClr val="black"/>
                </a:solidFill>
              </a:rPr>
              <a:t>Datum</a:t>
            </a:r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>
              <a:solidFill>
                <a:prstClr val="black"/>
              </a:solidFill>
            </a:endParaRPr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ABB19CF-0E10-4B5E-A505-F9BFF7BC1502}" type="slidenum">
              <a:rPr lang="de-DE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3008255"/>
      </p:ext>
    </p:extLst>
  </p:cSld>
  <p:clrMapOvr>
    <a:masterClrMapping/>
  </p:clrMapOvr>
  <p:transition spd="med"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+ Tex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 bwMode="gray">
          <a:xfrm>
            <a:off x="4096237" y="1765748"/>
            <a:ext cx="7440834" cy="462632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 bwMode="gray">
          <a:xfrm>
            <a:off x="646991" y="1834358"/>
            <a:ext cx="3275390" cy="4557713"/>
          </a:xfrm>
        </p:spPr>
        <p:txBody>
          <a:bodyPr tIns="648000"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de-DE" noProof="0"/>
              <a:t>Bild durch Klicken auf Symbol hinzufügen</a:t>
            </a:r>
          </a:p>
        </p:txBody>
      </p:sp>
      <p:sp>
        <p:nvSpPr>
          <p:cNvPr id="47" name="Untertitel 2"/>
          <p:cNvSpPr>
            <a:spLocks noGrp="1"/>
          </p:cNvSpPr>
          <p:nvPr>
            <p:ph type="subTitle" idx="1"/>
          </p:nvPr>
        </p:nvSpPr>
        <p:spPr bwMode="gray">
          <a:xfrm>
            <a:off x="628731" y="1152799"/>
            <a:ext cx="8839416" cy="345805"/>
          </a:xfrm>
        </p:spPr>
        <p:txBody>
          <a:bodyPr anchor="ctr"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solidFill>
            <a:schemeClr val="accent5"/>
          </a:solidFill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6" name="Datumsplatzhalt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>
                <a:solidFill>
                  <a:prstClr val="black"/>
                </a:solidFill>
              </a:rPr>
              <a:t>Datum</a:t>
            </a:r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>
              <a:solidFill>
                <a:prstClr val="black"/>
              </a:solidFill>
            </a:endParaRPr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9C8EA78-252F-42F8-A307-D40851C46AD4}" type="slidenum">
              <a:rPr lang="de-DE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6047730"/>
      </p:ext>
    </p:extLst>
  </p:cSld>
  <p:clrMapOvr>
    <a:masterClrMapping/>
  </p:clrMapOvr>
  <p:transition spd="med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EAF8B8FC-AB27-4AFA-8413-AB975EE4D403}"/>
              </a:ext>
            </a:extLst>
          </p:cNvPr>
          <p:cNvSpPr/>
          <p:nvPr userDrawn="1"/>
        </p:nvSpPr>
        <p:spPr>
          <a:xfrm>
            <a:off x="0" y="6591300"/>
            <a:ext cx="12192000" cy="266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bg1"/>
              </a:solidFill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E6E12D6-CDD8-4FC4-819D-0F04FB455E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17548" y="6591301"/>
            <a:ext cx="9000000" cy="266700"/>
          </a:xfrm>
        </p:spPr>
        <p:txBody>
          <a:bodyPr lIns="0"/>
          <a:lstStyle/>
          <a:p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95F1940-C0F1-4BB6-8684-B7E5B015DE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F31D0-8A17-47C0-8D09-D01303A85034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37EDD0F1-6DCD-483F-AD39-A97F5B4C238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217335" y="5778000"/>
            <a:ext cx="1505915" cy="1080000"/>
          </a:xfrm>
          <a:prstGeom prst="rect">
            <a:avLst/>
          </a:prstGeom>
        </p:spPr>
      </p:pic>
      <p:sp>
        <p:nvSpPr>
          <p:cNvPr id="30" name="Titel 1">
            <a:extLst>
              <a:ext uri="{FF2B5EF4-FFF2-40B4-BE49-F238E27FC236}">
                <a16:creationId xmlns:a16="http://schemas.microsoft.com/office/drawing/2014/main" id="{1F70734A-F270-4272-AA72-E5D80D2684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7548" y="2427682"/>
            <a:ext cx="10919020" cy="1149590"/>
          </a:xfrm>
        </p:spPr>
        <p:txBody>
          <a:bodyPr tIns="0" rIns="0" bIns="0"/>
          <a:lstStyle>
            <a:lvl1pPr>
              <a:defRPr kumimoji="0" lang="de-DE" sz="3200" b="0" i="1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cs-CZ"/>
              <a:t>Kliknutím lze upravit styl.</a:t>
            </a:r>
            <a:endParaRPr lang="de-DE" dirty="0"/>
          </a:p>
        </p:txBody>
      </p:sp>
      <p:sp>
        <p:nvSpPr>
          <p:cNvPr id="31" name="Textplatzhalter 6">
            <a:extLst>
              <a:ext uri="{FF2B5EF4-FFF2-40B4-BE49-F238E27FC236}">
                <a16:creationId xmlns:a16="http://schemas.microsoft.com/office/drawing/2014/main" id="{6367AA1A-B704-4D41-945F-A94DC8887D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17548" y="1513977"/>
            <a:ext cx="10919019" cy="914400"/>
          </a:xfrm>
        </p:spPr>
        <p:txBody>
          <a:bodyPr lIns="0" rIns="0" bIns="0" anchor="b"/>
          <a:lstStyle>
            <a:lvl1pPr marL="0" indent="0">
              <a:lnSpc>
                <a:spcPct val="100000"/>
              </a:lnSpc>
              <a:buNone/>
              <a:defRPr lang="de-DE" sz="8000" b="1" kern="1200" dirty="0">
                <a:solidFill>
                  <a:prstClr val="white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No.</a:t>
            </a:r>
          </a:p>
        </p:txBody>
      </p:sp>
    </p:spTree>
    <p:extLst>
      <p:ext uri="{BB962C8B-B14F-4D97-AF65-F5344CB8AC3E}">
        <p14:creationId xmlns:p14="http://schemas.microsoft.com/office/powerpoint/2010/main" val="3417595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 bwMode="gray">
          <a:xfrm>
            <a:off x="646992" y="1834358"/>
            <a:ext cx="5347397" cy="4557713"/>
          </a:xfrm>
        </p:spPr>
        <p:txBody>
          <a:bodyPr tIns="648000"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47" name="Bildplatzhalter 8"/>
          <p:cNvSpPr>
            <a:spLocks noGrp="1"/>
          </p:cNvSpPr>
          <p:nvPr>
            <p:ph type="pic" sz="quarter" idx="15"/>
          </p:nvPr>
        </p:nvSpPr>
        <p:spPr bwMode="gray">
          <a:xfrm>
            <a:off x="6189676" y="1836740"/>
            <a:ext cx="5347397" cy="4557713"/>
          </a:xfrm>
        </p:spPr>
        <p:txBody>
          <a:bodyPr tIns="648000"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48" name="Untertitel 2"/>
          <p:cNvSpPr>
            <a:spLocks noGrp="1"/>
          </p:cNvSpPr>
          <p:nvPr>
            <p:ph type="subTitle" idx="1"/>
          </p:nvPr>
        </p:nvSpPr>
        <p:spPr bwMode="gray">
          <a:xfrm>
            <a:off x="628731" y="1152799"/>
            <a:ext cx="8839416" cy="345805"/>
          </a:xfrm>
        </p:spPr>
        <p:txBody>
          <a:bodyPr anchor="ctr"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solidFill>
            <a:schemeClr val="accent6"/>
          </a:solidFill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6" name="Datumsplatzhalter 3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>
                <a:solidFill>
                  <a:prstClr val="black"/>
                </a:solidFill>
              </a:rPr>
              <a:t>Datum</a:t>
            </a:r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>
              <a:solidFill>
                <a:prstClr val="black"/>
              </a:solidFill>
            </a:endParaRPr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E967CEB-4F56-4119-A99C-C60B299C67D8}" type="slidenum">
              <a:rPr lang="de-DE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7910313"/>
      </p:ext>
    </p:extLst>
  </p:cSld>
  <p:clrMapOvr>
    <a:masterClrMapping/>
  </p:clrMapOvr>
  <p:transition spd="med"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 bwMode="gray">
          <a:xfrm>
            <a:off x="646993" y="1834356"/>
            <a:ext cx="5346603" cy="2178268"/>
          </a:xfrm>
        </p:spPr>
        <p:txBody>
          <a:bodyPr tIns="648000"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51" name="Bildplatzhalter 8"/>
          <p:cNvSpPr>
            <a:spLocks noGrp="1"/>
          </p:cNvSpPr>
          <p:nvPr>
            <p:ph type="pic" sz="quarter" idx="15"/>
          </p:nvPr>
        </p:nvSpPr>
        <p:spPr bwMode="gray">
          <a:xfrm>
            <a:off x="6190469" y="1834356"/>
            <a:ext cx="5346603" cy="2178268"/>
          </a:xfrm>
        </p:spPr>
        <p:txBody>
          <a:bodyPr tIns="648000"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53" name="Bildplatzhalter 8"/>
          <p:cNvSpPr>
            <a:spLocks noGrp="1"/>
          </p:cNvSpPr>
          <p:nvPr>
            <p:ph type="pic" sz="quarter" idx="16"/>
          </p:nvPr>
        </p:nvSpPr>
        <p:spPr bwMode="gray">
          <a:xfrm>
            <a:off x="646993" y="4213802"/>
            <a:ext cx="5346603" cy="2178268"/>
          </a:xfrm>
        </p:spPr>
        <p:txBody>
          <a:bodyPr tIns="648000"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54" name="Bildplatzhalter 8"/>
          <p:cNvSpPr>
            <a:spLocks noGrp="1"/>
          </p:cNvSpPr>
          <p:nvPr>
            <p:ph type="pic" sz="quarter" idx="17"/>
          </p:nvPr>
        </p:nvSpPr>
        <p:spPr bwMode="gray">
          <a:xfrm>
            <a:off x="6190469" y="4213802"/>
            <a:ext cx="5346603" cy="2178268"/>
          </a:xfrm>
        </p:spPr>
        <p:txBody>
          <a:bodyPr tIns="648000"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55" name="Untertitel 2"/>
          <p:cNvSpPr>
            <a:spLocks noGrp="1"/>
          </p:cNvSpPr>
          <p:nvPr>
            <p:ph type="subTitle" idx="1"/>
          </p:nvPr>
        </p:nvSpPr>
        <p:spPr bwMode="gray">
          <a:xfrm>
            <a:off x="628731" y="1152799"/>
            <a:ext cx="8839416" cy="345805"/>
          </a:xfrm>
        </p:spPr>
        <p:txBody>
          <a:bodyPr anchor="ctr"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solidFill>
            <a:schemeClr val="accent1"/>
          </a:solidFill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8" name="Datumsplatzhalter 3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>
                <a:solidFill>
                  <a:prstClr val="black"/>
                </a:solidFill>
              </a:rPr>
              <a:t>Datum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0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>
              <a:solidFill>
                <a:prstClr val="black"/>
              </a:solidFill>
            </a:endParaRPr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9011E6F-76DF-4D51-8C18-5F787CBA6260}" type="slidenum">
              <a:rPr lang="de-DE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4197809"/>
      </p:ext>
    </p:extLst>
  </p:cSld>
  <p:clrMapOvr>
    <a:masterClrMapping/>
  </p:clrMapOvr>
  <p:transition spd="med"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/>
          <p:cNvSpPr>
            <a:spLocks noGrp="1"/>
          </p:cNvSpPr>
          <p:nvPr>
            <p:ph type="pic" sz="quarter" idx="13"/>
          </p:nvPr>
        </p:nvSpPr>
        <p:spPr bwMode="gray">
          <a:xfrm>
            <a:off x="0" y="1118807"/>
            <a:ext cx="12196764" cy="5739193"/>
          </a:xfrm>
          <a:custGeom>
            <a:avLst/>
            <a:gdLst/>
            <a:ahLst/>
            <a:cxnLst/>
            <a:rect l="l" t="t" r="r" b="b"/>
            <a:pathLst>
              <a:path w="12190413" h="5734431">
                <a:moveTo>
                  <a:pt x="0" y="0"/>
                </a:moveTo>
                <a:lnTo>
                  <a:pt x="10090800" y="0"/>
                </a:lnTo>
                <a:lnTo>
                  <a:pt x="10090800" y="5142"/>
                </a:lnTo>
                <a:lnTo>
                  <a:pt x="10090800" y="374896"/>
                </a:lnTo>
                <a:lnTo>
                  <a:pt x="12190413" y="374896"/>
                </a:lnTo>
                <a:lnTo>
                  <a:pt x="12190413" y="5734431"/>
                </a:lnTo>
                <a:lnTo>
                  <a:pt x="1" y="5734431"/>
                </a:lnTo>
                <a:lnTo>
                  <a:pt x="1" y="465666"/>
                </a:lnTo>
                <a:lnTo>
                  <a:pt x="0" y="465666"/>
                </a:lnTo>
                <a:close/>
              </a:path>
            </a:pathLst>
          </a:custGeom>
        </p:spPr>
        <p:txBody>
          <a:bodyPr tIns="648000" rtlCol="0" anchor="ctr">
            <a:noAutofit/>
          </a:bodyPr>
          <a:lstStyle>
            <a:lvl1pPr>
              <a:defRPr lang="de-DE"/>
            </a:lvl1pPr>
          </a:lstStyle>
          <a:p>
            <a:pPr lvl="0"/>
            <a:r>
              <a:rPr lang="de-DE" noProof="0"/>
              <a:t>Bild durch Klicken auf Symbol hinzufügen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solidFill>
            <a:schemeClr val="accent2"/>
          </a:solidFill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>
                <a:solidFill>
                  <a:prstClr val="black"/>
                </a:solidFill>
              </a:rPr>
              <a:t>Datum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0C1A157-FC9E-47CB-A6AB-7D9E66792251}" type="slidenum">
              <a:rPr lang="de-DE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5069426"/>
      </p:ext>
    </p:extLst>
  </p:cSld>
  <p:clrMapOvr>
    <a:masterClrMapping/>
  </p:clrMapOvr>
  <p:transition spd="med"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Untertitel 2"/>
          <p:cNvSpPr>
            <a:spLocks noGrp="1"/>
          </p:cNvSpPr>
          <p:nvPr>
            <p:ph type="subTitle" idx="1"/>
          </p:nvPr>
        </p:nvSpPr>
        <p:spPr bwMode="gray">
          <a:xfrm>
            <a:off x="628731" y="1152799"/>
            <a:ext cx="8839416" cy="345805"/>
          </a:xfrm>
        </p:spPr>
        <p:txBody>
          <a:bodyPr anchor="ctr"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solidFill>
            <a:schemeClr val="accent3"/>
          </a:solidFill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dirty="0">
                <a:solidFill>
                  <a:prstClr val="black"/>
                </a:solidFill>
              </a:rPr>
              <a:t>Datum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55D8F01-0BAE-4E87-9667-E232837E7047}" type="slidenum">
              <a:rPr lang="de-DE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9609405"/>
      </p:ext>
    </p:extLst>
  </p:cSld>
  <p:clrMapOvr>
    <a:masterClrMapping/>
  </p:clrMapOvr>
  <p:transition spd="med"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G_Verlau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3">
            <a:extLst>
              <a:ext uri="{FF2B5EF4-FFF2-40B4-BE49-F238E27FC236}">
                <a16:creationId xmlns:a16="http://schemas.microsoft.com/office/drawing/2014/main" id="{A5BBDD2F-9241-40BC-8867-07700E98015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39848" y="6492878"/>
            <a:ext cx="770037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dirty="0">
                <a:solidFill>
                  <a:prstClr val="black"/>
                </a:solidFill>
              </a:rPr>
              <a:t>Datum</a:t>
            </a:r>
          </a:p>
        </p:txBody>
      </p:sp>
      <p:sp>
        <p:nvSpPr>
          <p:cNvPr id="4" name="Fußzeilenplatzhalter 4">
            <a:extLst>
              <a:ext uri="{FF2B5EF4-FFF2-40B4-BE49-F238E27FC236}">
                <a16:creationId xmlns:a16="http://schemas.microsoft.com/office/drawing/2014/main" id="{115D699D-F309-40CE-A11B-8EFD7E0666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11497" y="6492878"/>
            <a:ext cx="1002478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>
              <a:solidFill>
                <a:prstClr val="black"/>
              </a:solidFill>
            </a:endParaRPr>
          </a:p>
        </p:txBody>
      </p:sp>
      <p:sp>
        <p:nvSpPr>
          <p:cNvPr id="5" name="Foliennummernplatzhalter 5">
            <a:extLst>
              <a:ext uri="{FF2B5EF4-FFF2-40B4-BE49-F238E27FC236}">
                <a16:creationId xmlns:a16="http://schemas.microsoft.com/office/drawing/2014/main" id="{002B61F0-156D-4586-AE99-565DF5851C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34741" y="6492878"/>
            <a:ext cx="257208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55D8F01-0BAE-4E87-9667-E232837E7047}" type="slidenum">
              <a:rPr lang="de-DE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prstClr val="black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0144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93A11243-3298-46D7-BD32-7A304EE6C61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gray">
          <a:xfrm>
            <a:off x="2" y="-7705"/>
            <a:ext cx="12192000" cy="6865705"/>
          </a:xfrm>
          <a:custGeom>
            <a:avLst/>
            <a:gdLst>
              <a:gd name="connsiteX0" fmla="*/ 8784325 w 12190413"/>
              <a:gd name="connsiteY0" fmla="*/ 4883660 h 6865705"/>
              <a:gd name="connsiteX1" fmla="*/ 8784325 w 12190413"/>
              <a:gd name="connsiteY1" fmla="*/ 6427263 h 6865705"/>
              <a:gd name="connsiteX2" fmla="*/ 10944325 w 12190413"/>
              <a:gd name="connsiteY2" fmla="*/ 6427263 h 6865705"/>
              <a:gd name="connsiteX3" fmla="*/ 10944325 w 12190413"/>
              <a:gd name="connsiteY3" fmla="*/ 4883660 h 6865705"/>
              <a:gd name="connsiteX4" fmla="*/ 0 w 12190413"/>
              <a:gd name="connsiteY4" fmla="*/ 0 h 6865705"/>
              <a:gd name="connsiteX5" fmla="*/ 12190413 w 12190413"/>
              <a:gd name="connsiteY5" fmla="*/ 0 h 6865705"/>
              <a:gd name="connsiteX6" fmla="*/ 12190413 w 12190413"/>
              <a:gd name="connsiteY6" fmla="*/ 6865705 h 6865705"/>
              <a:gd name="connsiteX7" fmla="*/ 0 w 12190413"/>
              <a:gd name="connsiteY7" fmla="*/ 6865705 h 6865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0413" h="6865705">
                <a:moveTo>
                  <a:pt x="8784325" y="4883660"/>
                </a:moveTo>
                <a:lnTo>
                  <a:pt x="8784325" y="6427263"/>
                </a:lnTo>
                <a:lnTo>
                  <a:pt x="10944325" y="6427263"/>
                </a:lnTo>
                <a:lnTo>
                  <a:pt x="10944325" y="4883660"/>
                </a:lnTo>
                <a:close/>
                <a:moveTo>
                  <a:pt x="0" y="0"/>
                </a:moveTo>
                <a:lnTo>
                  <a:pt x="12190413" y="0"/>
                </a:lnTo>
                <a:lnTo>
                  <a:pt x="12190413" y="6865705"/>
                </a:lnTo>
                <a:lnTo>
                  <a:pt x="0" y="6865705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7" name="Datumsplatzhalter 3">
            <a:extLst>
              <a:ext uri="{FF2B5EF4-FFF2-40B4-BE49-F238E27FC236}">
                <a16:creationId xmlns:a16="http://schemas.microsoft.com/office/drawing/2014/main" id="{01A60C81-A32A-45E6-961A-947D519F4060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639848" y="6492878"/>
            <a:ext cx="77003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de-DE">
                <a:solidFill>
                  <a:prstClr val="black"/>
                </a:solidFill>
              </a:rPr>
              <a:t>Datum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710F37E4-AE89-4C73-B41B-3FD2937270C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734741" y="6492878"/>
            <a:ext cx="257208" cy="365125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9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fld id="{20AEB338-9A01-4568-801D-896C2E978281}" type="slidenum">
              <a:rPr lang="de-DE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4B5FC1B4-0473-47E8-846B-AD7E5EE24C8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622382" y="4270848"/>
            <a:ext cx="10873415" cy="1764000"/>
          </a:xfrm>
          <a:custGeom>
            <a:avLst/>
            <a:gdLst>
              <a:gd name="connsiteX0" fmla="*/ 0 w 10872000"/>
              <a:gd name="connsiteY0" fmla="*/ 0 h 1764000"/>
              <a:gd name="connsiteX1" fmla="*/ 10872000 w 10872000"/>
              <a:gd name="connsiteY1" fmla="*/ 0 h 1764000"/>
              <a:gd name="connsiteX2" fmla="*/ 10872000 w 10872000"/>
              <a:gd name="connsiteY2" fmla="*/ 1764000 h 1764000"/>
              <a:gd name="connsiteX3" fmla="*/ 10322024 w 10872000"/>
              <a:gd name="connsiteY3" fmla="*/ 1764000 h 1764000"/>
              <a:gd name="connsiteX4" fmla="*/ 10322024 w 10872000"/>
              <a:gd name="connsiteY4" fmla="*/ 605106 h 1764000"/>
              <a:gd name="connsiteX5" fmla="*/ 8162024 w 10872000"/>
              <a:gd name="connsiteY5" fmla="*/ 605106 h 1764000"/>
              <a:gd name="connsiteX6" fmla="*/ 8162024 w 10872000"/>
              <a:gd name="connsiteY6" fmla="*/ 1764000 h 1764000"/>
              <a:gd name="connsiteX7" fmla="*/ 0 w 10872000"/>
              <a:gd name="connsiteY7" fmla="*/ 1764000 h 176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872000" h="1764000">
                <a:moveTo>
                  <a:pt x="0" y="0"/>
                </a:moveTo>
                <a:lnTo>
                  <a:pt x="10872000" y="0"/>
                </a:lnTo>
                <a:lnTo>
                  <a:pt x="10872000" y="1764000"/>
                </a:lnTo>
                <a:lnTo>
                  <a:pt x="10322024" y="1764000"/>
                </a:lnTo>
                <a:lnTo>
                  <a:pt x="10322024" y="605106"/>
                </a:lnTo>
                <a:lnTo>
                  <a:pt x="8162024" y="605106"/>
                </a:lnTo>
                <a:lnTo>
                  <a:pt x="8162024" y="1764000"/>
                </a:lnTo>
                <a:lnTo>
                  <a:pt x="0" y="176400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F44EF97-2398-47DE-AB44-434E736BED3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84486" y="4589052"/>
            <a:ext cx="7557377" cy="522701"/>
          </a:xfrm>
        </p:spPr>
        <p:txBody>
          <a:bodyPr/>
          <a:lstStyle>
            <a:lvl1pPr>
              <a:defRPr sz="28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Headline</a:t>
            </a:r>
          </a:p>
        </p:txBody>
      </p:sp>
      <p:sp>
        <p:nvSpPr>
          <p:cNvPr id="16" name="Textplatzhalter 14">
            <a:extLst>
              <a:ext uri="{FF2B5EF4-FFF2-40B4-BE49-F238E27FC236}">
                <a16:creationId xmlns:a16="http://schemas.microsoft.com/office/drawing/2014/main" id="{20FDF11C-B938-44D7-B045-AEF9749B191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4485" y="5104006"/>
            <a:ext cx="7557376" cy="814197"/>
          </a:xfrm>
        </p:spPr>
        <p:txBody>
          <a:bodyPr/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Headline</a:t>
            </a:r>
          </a:p>
        </p:txBody>
      </p:sp>
      <p:pic>
        <p:nvPicPr>
          <p:cNvPr id="11" name="Picture 75" descr="C:\Users\bertscha\Desktop\ebmpapst_logobox_claim_2021_rgb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785470" y="4875954"/>
            <a:ext cx="2160281" cy="15434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62561930"/>
      </p:ext>
    </p:extLst>
  </p:cSld>
  <p:clrMapOvr>
    <a:masterClrMapping/>
  </p:clrMapOvr>
  <p:transition spd="med"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Bildplatzhalter 21">
            <a:extLst>
              <a:ext uri="{FF2B5EF4-FFF2-40B4-BE49-F238E27FC236}">
                <a16:creationId xmlns:a16="http://schemas.microsoft.com/office/drawing/2014/main" id="{EF45E2FA-05DB-48DB-86AF-50EE5E7485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2" y="0"/>
            <a:ext cx="12192000" cy="6858000"/>
          </a:xfrm>
          <a:custGeom>
            <a:avLst/>
            <a:gdLst>
              <a:gd name="connsiteX0" fmla="*/ 8784325 w 12190413"/>
              <a:gd name="connsiteY0" fmla="*/ 1055583 h 6858000"/>
              <a:gd name="connsiteX1" fmla="*/ 8784325 w 12190413"/>
              <a:gd name="connsiteY1" fmla="*/ 2599186 h 6858000"/>
              <a:gd name="connsiteX2" fmla="*/ 10944325 w 12190413"/>
              <a:gd name="connsiteY2" fmla="*/ 2599186 h 6858000"/>
              <a:gd name="connsiteX3" fmla="*/ 10944325 w 12190413"/>
              <a:gd name="connsiteY3" fmla="*/ 1055583 h 6858000"/>
              <a:gd name="connsiteX4" fmla="*/ 0 w 12190413"/>
              <a:gd name="connsiteY4" fmla="*/ 0 h 6858000"/>
              <a:gd name="connsiteX5" fmla="*/ 12190413 w 12190413"/>
              <a:gd name="connsiteY5" fmla="*/ 0 h 6858000"/>
              <a:gd name="connsiteX6" fmla="*/ 12190413 w 12190413"/>
              <a:gd name="connsiteY6" fmla="*/ 6858000 h 6858000"/>
              <a:gd name="connsiteX7" fmla="*/ 0 w 12190413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0413" h="6858000">
                <a:moveTo>
                  <a:pt x="8784325" y="1055583"/>
                </a:moveTo>
                <a:lnTo>
                  <a:pt x="8784325" y="2599186"/>
                </a:lnTo>
                <a:lnTo>
                  <a:pt x="10944325" y="2599186"/>
                </a:lnTo>
                <a:lnTo>
                  <a:pt x="10944325" y="1055583"/>
                </a:lnTo>
                <a:close/>
                <a:moveTo>
                  <a:pt x="0" y="0"/>
                </a:moveTo>
                <a:lnTo>
                  <a:pt x="12190413" y="0"/>
                </a:lnTo>
                <a:lnTo>
                  <a:pt x="12190413" y="6858000"/>
                </a:lnTo>
                <a:lnTo>
                  <a:pt x="0" y="685800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7" name="Datumsplatzhalter 3">
            <a:extLst>
              <a:ext uri="{FF2B5EF4-FFF2-40B4-BE49-F238E27FC236}">
                <a16:creationId xmlns:a16="http://schemas.microsoft.com/office/drawing/2014/main" id="{B6105D96-9F8C-4E9E-843C-1819516C7230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639848" y="6492878"/>
            <a:ext cx="77003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de-DE">
                <a:solidFill>
                  <a:prstClr val="black"/>
                </a:solidFill>
              </a:rPr>
              <a:t>Datum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59FFE9A7-C026-47DD-8074-4DF511C8CD9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734741" y="6492878"/>
            <a:ext cx="257208" cy="365125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9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fld id="{20AEB338-9A01-4568-801D-896C2E978281}" type="slidenum">
              <a:rPr lang="de-DE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4B5FC1B4-0473-47E8-846B-AD7E5EE24C8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622382" y="450477"/>
            <a:ext cx="10873415" cy="1764000"/>
          </a:xfrm>
          <a:custGeom>
            <a:avLst/>
            <a:gdLst>
              <a:gd name="connsiteX0" fmla="*/ 0 w 10872000"/>
              <a:gd name="connsiteY0" fmla="*/ 0 h 1764000"/>
              <a:gd name="connsiteX1" fmla="*/ 10872000 w 10872000"/>
              <a:gd name="connsiteY1" fmla="*/ 0 h 1764000"/>
              <a:gd name="connsiteX2" fmla="*/ 10872000 w 10872000"/>
              <a:gd name="connsiteY2" fmla="*/ 1764000 h 1764000"/>
              <a:gd name="connsiteX3" fmla="*/ 10322024 w 10872000"/>
              <a:gd name="connsiteY3" fmla="*/ 1764000 h 1764000"/>
              <a:gd name="connsiteX4" fmla="*/ 10322024 w 10872000"/>
              <a:gd name="connsiteY4" fmla="*/ 605106 h 1764000"/>
              <a:gd name="connsiteX5" fmla="*/ 8162024 w 10872000"/>
              <a:gd name="connsiteY5" fmla="*/ 605106 h 1764000"/>
              <a:gd name="connsiteX6" fmla="*/ 8162024 w 10872000"/>
              <a:gd name="connsiteY6" fmla="*/ 1764000 h 1764000"/>
              <a:gd name="connsiteX7" fmla="*/ 0 w 10872000"/>
              <a:gd name="connsiteY7" fmla="*/ 1764000 h 176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872000" h="1764000">
                <a:moveTo>
                  <a:pt x="0" y="0"/>
                </a:moveTo>
                <a:lnTo>
                  <a:pt x="10872000" y="0"/>
                </a:lnTo>
                <a:lnTo>
                  <a:pt x="10872000" y="1764000"/>
                </a:lnTo>
                <a:lnTo>
                  <a:pt x="10322024" y="1764000"/>
                </a:lnTo>
                <a:lnTo>
                  <a:pt x="10322024" y="605106"/>
                </a:lnTo>
                <a:lnTo>
                  <a:pt x="8162024" y="605106"/>
                </a:lnTo>
                <a:lnTo>
                  <a:pt x="8162024" y="1764000"/>
                </a:lnTo>
                <a:lnTo>
                  <a:pt x="0" y="1764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wrap="square">
            <a:noAutofit/>
          </a:bodyPr>
          <a:lstStyle>
            <a:lvl1pPr>
              <a:tabLst>
                <a:tab pos="5019675" algn="l"/>
              </a:tabLst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F44EF97-2398-47DE-AB44-434E736BED3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84486" y="768678"/>
            <a:ext cx="7557377" cy="522701"/>
          </a:xfrm>
        </p:spPr>
        <p:txBody>
          <a:bodyPr/>
          <a:lstStyle>
            <a:lvl1pPr>
              <a:defRPr sz="28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Headline</a:t>
            </a:r>
          </a:p>
        </p:txBody>
      </p:sp>
      <p:sp>
        <p:nvSpPr>
          <p:cNvPr id="16" name="Textplatzhalter 14">
            <a:extLst>
              <a:ext uri="{FF2B5EF4-FFF2-40B4-BE49-F238E27FC236}">
                <a16:creationId xmlns:a16="http://schemas.microsoft.com/office/drawing/2014/main" id="{20FDF11C-B938-44D7-B045-AEF9749B191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4485" y="1283635"/>
            <a:ext cx="7557376" cy="814197"/>
          </a:xfrm>
        </p:spPr>
        <p:txBody>
          <a:bodyPr/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Headline</a:t>
            </a:r>
          </a:p>
        </p:txBody>
      </p:sp>
      <p:pic>
        <p:nvPicPr>
          <p:cNvPr id="11" name="Picture 75" descr="C:\Users\bertscha\Desktop\ebmpapst_logobox_claim_2021_rgb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785470" y="1055740"/>
            <a:ext cx="2160281" cy="15434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58501053"/>
      </p:ext>
    </p:extLst>
  </p:cSld>
  <p:clrMapOvr>
    <a:masterClrMapping/>
  </p:clrMapOvr>
  <p:transition spd="med"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Bildplatzhalter 40">
            <a:extLst>
              <a:ext uri="{FF2B5EF4-FFF2-40B4-BE49-F238E27FC236}">
                <a16:creationId xmlns:a16="http://schemas.microsoft.com/office/drawing/2014/main" id="{BA3AE964-FDF6-4140-81E0-E02657A4820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2" y="1761117"/>
            <a:ext cx="12192000" cy="5096887"/>
          </a:xfrm>
          <a:custGeom>
            <a:avLst/>
            <a:gdLst>
              <a:gd name="connsiteX0" fmla="*/ 9395043 w 12190413"/>
              <a:gd name="connsiteY0" fmla="*/ 2708 h 5096887"/>
              <a:gd name="connsiteX1" fmla="*/ 9395043 w 12190413"/>
              <a:gd name="connsiteY1" fmla="*/ 456194 h 5096887"/>
              <a:gd name="connsiteX2" fmla="*/ 11891963 w 12190413"/>
              <a:gd name="connsiteY2" fmla="*/ 456194 h 5096887"/>
              <a:gd name="connsiteX3" fmla="*/ 11891963 w 12190413"/>
              <a:gd name="connsiteY3" fmla="*/ 2708 h 5096887"/>
              <a:gd name="connsiteX4" fmla="*/ 0 w 12190413"/>
              <a:gd name="connsiteY4" fmla="*/ 0 h 5096887"/>
              <a:gd name="connsiteX5" fmla="*/ 12190413 w 12190413"/>
              <a:gd name="connsiteY5" fmla="*/ 0 h 5096887"/>
              <a:gd name="connsiteX6" fmla="*/ 12190413 w 12190413"/>
              <a:gd name="connsiteY6" fmla="*/ 5096887 h 5096887"/>
              <a:gd name="connsiteX7" fmla="*/ 0 w 12190413"/>
              <a:gd name="connsiteY7" fmla="*/ 5096887 h 5096887"/>
              <a:gd name="connsiteX0" fmla="*/ 9395043 w 12190413"/>
              <a:gd name="connsiteY0" fmla="*/ 2708 h 5096887"/>
              <a:gd name="connsiteX1" fmla="*/ 9395043 w 12190413"/>
              <a:gd name="connsiteY1" fmla="*/ 447648 h 5096887"/>
              <a:gd name="connsiteX2" fmla="*/ 11891963 w 12190413"/>
              <a:gd name="connsiteY2" fmla="*/ 456194 h 5096887"/>
              <a:gd name="connsiteX3" fmla="*/ 11891963 w 12190413"/>
              <a:gd name="connsiteY3" fmla="*/ 2708 h 5096887"/>
              <a:gd name="connsiteX4" fmla="*/ 9395043 w 12190413"/>
              <a:gd name="connsiteY4" fmla="*/ 2708 h 5096887"/>
              <a:gd name="connsiteX5" fmla="*/ 0 w 12190413"/>
              <a:gd name="connsiteY5" fmla="*/ 0 h 5096887"/>
              <a:gd name="connsiteX6" fmla="*/ 12190413 w 12190413"/>
              <a:gd name="connsiteY6" fmla="*/ 0 h 5096887"/>
              <a:gd name="connsiteX7" fmla="*/ 12190413 w 12190413"/>
              <a:gd name="connsiteY7" fmla="*/ 5096887 h 5096887"/>
              <a:gd name="connsiteX8" fmla="*/ 0 w 12190413"/>
              <a:gd name="connsiteY8" fmla="*/ 5096887 h 5096887"/>
              <a:gd name="connsiteX9" fmla="*/ 0 w 12190413"/>
              <a:gd name="connsiteY9" fmla="*/ 0 h 5096887"/>
              <a:gd name="connsiteX0" fmla="*/ 9395043 w 12190413"/>
              <a:gd name="connsiteY0" fmla="*/ 2708 h 5096887"/>
              <a:gd name="connsiteX1" fmla="*/ 9395043 w 12190413"/>
              <a:gd name="connsiteY1" fmla="*/ 447648 h 5096887"/>
              <a:gd name="connsiteX2" fmla="*/ 11891963 w 12190413"/>
              <a:gd name="connsiteY2" fmla="*/ 444799 h 5096887"/>
              <a:gd name="connsiteX3" fmla="*/ 11891963 w 12190413"/>
              <a:gd name="connsiteY3" fmla="*/ 2708 h 5096887"/>
              <a:gd name="connsiteX4" fmla="*/ 9395043 w 12190413"/>
              <a:gd name="connsiteY4" fmla="*/ 2708 h 5096887"/>
              <a:gd name="connsiteX5" fmla="*/ 0 w 12190413"/>
              <a:gd name="connsiteY5" fmla="*/ 0 h 5096887"/>
              <a:gd name="connsiteX6" fmla="*/ 12190413 w 12190413"/>
              <a:gd name="connsiteY6" fmla="*/ 0 h 5096887"/>
              <a:gd name="connsiteX7" fmla="*/ 12190413 w 12190413"/>
              <a:gd name="connsiteY7" fmla="*/ 5096887 h 5096887"/>
              <a:gd name="connsiteX8" fmla="*/ 0 w 12190413"/>
              <a:gd name="connsiteY8" fmla="*/ 5096887 h 5096887"/>
              <a:gd name="connsiteX9" fmla="*/ 0 w 12190413"/>
              <a:gd name="connsiteY9" fmla="*/ 0 h 50968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0413" h="5096887">
                <a:moveTo>
                  <a:pt x="9395043" y="2708"/>
                </a:moveTo>
                <a:lnTo>
                  <a:pt x="9395043" y="447648"/>
                </a:lnTo>
                <a:lnTo>
                  <a:pt x="11891963" y="444799"/>
                </a:lnTo>
                <a:lnTo>
                  <a:pt x="11891963" y="2708"/>
                </a:lnTo>
                <a:lnTo>
                  <a:pt x="9395043" y="2708"/>
                </a:lnTo>
                <a:close/>
                <a:moveTo>
                  <a:pt x="0" y="0"/>
                </a:moveTo>
                <a:lnTo>
                  <a:pt x="12190413" y="0"/>
                </a:lnTo>
                <a:lnTo>
                  <a:pt x="12190413" y="5096887"/>
                </a:lnTo>
                <a:lnTo>
                  <a:pt x="0" y="5096887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8" name="Datumsplatzhalter 3">
            <a:extLst>
              <a:ext uri="{FF2B5EF4-FFF2-40B4-BE49-F238E27FC236}">
                <a16:creationId xmlns:a16="http://schemas.microsoft.com/office/drawing/2014/main" id="{A08A97F9-43A4-4356-AF53-CFE041B36859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639848" y="6492878"/>
            <a:ext cx="77003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de-DE">
                <a:solidFill>
                  <a:prstClr val="black"/>
                </a:solidFill>
              </a:rPr>
              <a:t>Datum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40" name="Foliennummernplatzhalter 5">
            <a:extLst>
              <a:ext uri="{FF2B5EF4-FFF2-40B4-BE49-F238E27FC236}">
                <a16:creationId xmlns:a16="http://schemas.microsoft.com/office/drawing/2014/main" id="{7ACB3357-5B20-48C4-A4EA-C1109329894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734741" y="6492878"/>
            <a:ext cx="257208" cy="365125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9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fld id="{20AEB338-9A01-4568-801D-896C2E978281}" type="slidenum">
              <a:rPr lang="de-DE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39" name="Titel 38">
            <a:extLst>
              <a:ext uri="{FF2B5EF4-FFF2-40B4-BE49-F238E27FC236}">
                <a16:creationId xmlns:a16="http://schemas.microsoft.com/office/drawing/2014/main" id="{ED96EB8F-9F3F-4A2B-BF42-45E49280C3A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-1" y="-1"/>
            <a:ext cx="12192001" cy="1763823"/>
          </a:xfrm>
          <a:custGeom>
            <a:avLst/>
            <a:gdLst>
              <a:gd name="connsiteX0" fmla="*/ 0 w 12190414"/>
              <a:gd name="connsiteY0" fmla="*/ 0 h 1763823"/>
              <a:gd name="connsiteX1" fmla="*/ 12190414 w 12190414"/>
              <a:gd name="connsiteY1" fmla="*/ 0 h 1763823"/>
              <a:gd name="connsiteX2" fmla="*/ 12190414 w 12190414"/>
              <a:gd name="connsiteY2" fmla="*/ 1763823 h 1763823"/>
              <a:gd name="connsiteX3" fmla="*/ 11891964 w 12190414"/>
              <a:gd name="connsiteY3" fmla="*/ 1763823 h 1763823"/>
              <a:gd name="connsiteX4" fmla="*/ 11891964 w 12190414"/>
              <a:gd name="connsiteY4" fmla="*/ 404717 h 1763823"/>
              <a:gd name="connsiteX5" fmla="*/ 9395044 w 12190414"/>
              <a:gd name="connsiteY5" fmla="*/ 404717 h 1763823"/>
              <a:gd name="connsiteX6" fmla="*/ 9395044 w 12190414"/>
              <a:gd name="connsiteY6" fmla="*/ 1763823 h 1763823"/>
              <a:gd name="connsiteX7" fmla="*/ 0 w 12190414"/>
              <a:gd name="connsiteY7" fmla="*/ 1763823 h 17638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0414" h="1763823">
                <a:moveTo>
                  <a:pt x="0" y="0"/>
                </a:moveTo>
                <a:lnTo>
                  <a:pt x="12190414" y="0"/>
                </a:lnTo>
                <a:lnTo>
                  <a:pt x="12190414" y="1763823"/>
                </a:lnTo>
                <a:lnTo>
                  <a:pt x="11891964" y="1763823"/>
                </a:lnTo>
                <a:lnTo>
                  <a:pt x="11891964" y="404717"/>
                </a:lnTo>
                <a:lnTo>
                  <a:pt x="9395044" y="404717"/>
                </a:lnTo>
                <a:lnTo>
                  <a:pt x="9395044" y="1763823"/>
                </a:lnTo>
                <a:lnTo>
                  <a:pt x="0" y="176382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Ins="3312000">
            <a:noAutofit/>
          </a:bodyPr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pic>
        <p:nvPicPr>
          <p:cNvPr id="43" name="Picture 75" descr="C:\Users\bertscha\Desktop\ebmpapst_logobox_claim_2021_rgb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96266" y="426194"/>
            <a:ext cx="2497245" cy="17841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96147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39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+ Bil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64DB5FF-5272-4B65-AAFA-D3B5F53809AF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639848" y="6492878"/>
            <a:ext cx="77003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de-DE">
                <a:solidFill>
                  <a:prstClr val="black"/>
                </a:solidFill>
              </a:rPr>
              <a:t>Datum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5" name="Foliennummernplatzhalter 5">
            <a:extLst>
              <a:ext uri="{FF2B5EF4-FFF2-40B4-BE49-F238E27FC236}">
                <a16:creationId xmlns:a16="http://schemas.microsoft.com/office/drawing/2014/main" id="{395ABEB7-296D-4A19-A864-258FBED11B5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734741" y="6492878"/>
            <a:ext cx="257208" cy="365125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9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fld id="{20AEB338-9A01-4568-801D-896C2E978281}" type="slidenum">
              <a:rPr lang="de-DE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38" name="Titel 37">
            <a:extLst>
              <a:ext uri="{FF2B5EF4-FFF2-40B4-BE49-F238E27FC236}">
                <a16:creationId xmlns:a16="http://schemas.microsoft.com/office/drawing/2014/main" id="{3E47C947-6319-4AAA-A506-5B8FFA2CB0E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-2" y="-1"/>
            <a:ext cx="4064002" cy="6858001"/>
          </a:xfrm>
          <a:custGeom>
            <a:avLst/>
            <a:gdLst>
              <a:gd name="connsiteX0" fmla="*/ 0 w 5067302"/>
              <a:gd name="connsiteY0" fmla="*/ 0 h 1763823"/>
              <a:gd name="connsiteX1" fmla="*/ 5067302 w 5067302"/>
              <a:gd name="connsiteY1" fmla="*/ 0 h 1763823"/>
              <a:gd name="connsiteX2" fmla="*/ 5067302 w 5067302"/>
              <a:gd name="connsiteY2" fmla="*/ 1763823 h 1763823"/>
              <a:gd name="connsiteX3" fmla="*/ 0 w 5067302"/>
              <a:gd name="connsiteY3" fmla="*/ 1763823 h 17638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67302" h="1763823">
                <a:moveTo>
                  <a:pt x="0" y="0"/>
                </a:moveTo>
                <a:lnTo>
                  <a:pt x="5067302" y="0"/>
                </a:lnTo>
                <a:lnTo>
                  <a:pt x="5067302" y="1763823"/>
                </a:lnTo>
                <a:lnTo>
                  <a:pt x="0" y="176382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4F8C9509-ADD2-4E3D-B6AD-A6609AC823A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064531" y="0"/>
            <a:ext cx="8127471" cy="6858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466895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39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+ Tex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DB81C09-D1EA-4598-8AAA-C4907579E6D8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639848" y="6492878"/>
            <a:ext cx="77003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de-DE">
                <a:solidFill>
                  <a:prstClr val="black"/>
                </a:solidFill>
              </a:rPr>
              <a:t>Datum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5" name="Foliennummernplatzhalter 5">
            <a:extLst>
              <a:ext uri="{FF2B5EF4-FFF2-40B4-BE49-F238E27FC236}">
                <a16:creationId xmlns:a16="http://schemas.microsoft.com/office/drawing/2014/main" id="{D81DD930-751F-478A-9EDF-530D387422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734741" y="6492878"/>
            <a:ext cx="257208" cy="365125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9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fld id="{20AEB338-9A01-4568-801D-896C2E978281}" type="slidenum">
              <a:rPr lang="de-DE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4F8C9509-ADD2-4E3D-B6AD-A6609AC823A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" y="0"/>
            <a:ext cx="6095208" cy="6858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8D8F1C8-7D3A-4848-A69A-E3F8C3D68E3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5208" y="0"/>
            <a:ext cx="6095205" cy="6858000"/>
          </a:xfrm>
          <a:solidFill>
            <a:schemeClr val="accent3"/>
          </a:solidFill>
        </p:spPr>
        <p:txBody>
          <a:bodyPr lIns="360000" tIns="360000" rIns="360000" bIns="360000" anchor="ctr"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8" name="Textplatzhalter 14">
            <a:extLst>
              <a:ext uri="{FF2B5EF4-FFF2-40B4-BE49-F238E27FC236}">
                <a16:creationId xmlns:a16="http://schemas.microsoft.com/office/drawing/2014/main" id="{46DFEB28-1E0B-42E4-845D-2B17733DFEC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09705" y="362281"/>
            <a:ext cx="5225037" cy="522701"/>
          </a:xfrm>
        </p:spPr>
        <p:txBody>
          <a:bodyPr/>
          <a:lstStyle>
            <a:lvl1pPr>
              <a:defRPr sz="28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Headline</a:t>
            </a:r>
          </a:p>
        </p:txBody>
      </p:sp>
      <p:sp>
        <p:nvSpPr>
          <p:cNvPr id="9" name="Textplatzhalter 14">
            <a:extLst>
              <a:ext uri="{FF2B5EF4-FFF2-40B4-BE49-F238E27FC236}">
                <a16:creationId xmlns:a16="http://schemas.microsoft.com/office/drawing/2014/main" id="{F853B40C-9BA2-4E1A-A463-E3DDAB30255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09704" y="877232"/>
            <a:ext cx="5225036" cy="814197"/>
          </a:xfrm>
        </p:spPr>
        <p:txBody>
          <a:bodyPr/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Headline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CFC8ABA9-467D-4A73-954E-7589332F1B6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509705" y="1765748"/>
            <a:ext cx="5225037" cy="462632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242932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39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D08358C-B3C2-45F9-8482-6305AE7A17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666000"/>
            <a:ext cx="9180000" cy="463550"/>
          </a:xfrm>
        </p:spPr>
        <p:txBody>
          <a:bodyPr tIns="0" rIns="0" b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de-DE" dirty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56EB678-2B23-4186-8C51-CBF2F5D6EE02}"/>
              </a:ext>
            </a:extLst>
          </p:cNvPr>
          <p:cNvSpPr/>
          <p:nvPr userDrawn="1"/>
        </p:nvSpPr>
        <p:spPr bwMode="gray">
          <a:xfrm flipV="1">
            <a:off x="0" y="1332000"/>
            <a:ext cx="12193200" cy="552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 dirty="0" err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B7463106-1F40-4B5F-B2CB-72B1618E2F8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8000" y="396000"/>
            <a:ext cx="9180000" cy="185432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lang="de-DE" sz="1400" i="1" kern="1200" spc="1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B50CBA0D-67FF-40A2-9F97-0E1DE13A1D7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000" y="1825625"/>
            <a:ext cx="1125220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de-DE" dirty="0"/>
          </a:p>
        </p:txBody>
      </p:sp>
      <p:pic>
        <p:nvPicPr>
          <p:cNvPr id="12" name="Picture 2" descr="C:\Users\bertscha\Desktop\ebmpapst_logobox_claim_2021_rgb.jpg">
            <a:extLst>
              <a:ext uri="{FF2B5EF4-FFF2-40B4-BE49-F238E27FC236}">
                <a16:creationId xmlns:a16="http://schemas.microsoft.com/office/drawing/2014/main" id="{DE3D5AE4-6523-482C-AC53-AEC42523B58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62957" y="390991"/>
            <a:ext cx="1760096" cy="12576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ußzeilenplatzhalter 3">
            <a:extLst>
              <a:ext uri="{FF2B5EF4-FFF2-40B4-BE49-F238E27FC236}">
                <a16:creationId xmlns:a16="http://schemas.microsoft.com/office/drawing/2014/main" id="{B0311132-6BA1-4DE3-8022-A639B7C8A0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17548" y="6591300"/>
            <a:ext cx="9000000" cy="266700"/>
          </a:xfrm>
        </p:spPr>
        <p:txBody>
          <a:bodyPr lIns="0"/>
          <a:lstStyle/>
          <a:p>
            <a:endParaRPr lang="de-DE" dirty="0"/>
          </a:p>
        </p:txBody>
      </p:sp>
      <p:sp>
        <p:nvSpPr>
          <p:cNvPr id="13" name="Foliennummernplatzhalter 4">
            <a:extLst>
              <a:ext uri="{FF2B5EF4-FFF2-40B4-BE49-F238E27FC236}">
                <a16:creationId xmlns:a16="http://schemas.microsoft.com/office/drawing/2014/main" id="{1D6321F2-B7EB-4BB3-9F1C-ED0B05C760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591300"/>
            <a:ext cx="469898" cy="266700"/>
          </a:xfrm>
        </p:spPr>
        <p:txBody>
          <a:bodyPr/>
          <a:lstStyle/>
          <a:p>
            <a:fld id="{5AFF31D0-8A17-47C0-8D09-D01303A85034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08355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platzhalter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78"/>
          <a:stretch>
            <a:fillRect/>
          </a:stretch>
        </p:blipFill>
        <p:spPr bwMode="gray">
          <a:xfrm>
            <a:off x="-9526" y="2490788"/>
            <a:ext cx="12201526" cy="4367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9" name="Rechteck 38"/>
          <p:cNvSpPr/>
          <p:nvPr/>
        </p:nvSpPr>
        <p:spPr bwMode="gray">
          <a:xfrm>
            <a:off x="633496" y="4951413"/>
            <a:ext cx="3135720" cy="119856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>
              <a:lnSpc>
                <a:spcPct val="110000"/>
              </a:lnSpc>
              <a:defRPr/>
            </a:pPr>
            <a:r>
              <a:rPr lang="de-DE" sz="1600" dirty="0">
                <a:solidFill>
                  <a:prstClr val="black"/>
                </a:solidFill>
                <a:cs typeface="Arial" panose="020B0604020202020204" pitchFamily="34" charset="0"/>
              </a:rPr>
              <a:t>Telefon</a:t>
            </a:r>
          </a:p>
          <a:p>
            <a:pPr>
              <a:lnSpc>
                <a:spcPct val="110000"/>
              </a:lnSpc>
              <a:defRPr/>
            </a:pPr>
            <a:r>
              <a:rPr lang="de-DE" sz="1600" dirty="0">
                <a:solidFill>
                  <a:prstClr val="black"/>
                </a:solidFill>
                <a:cs typeface="Arial" panose="020B0604020202020204" pitchFamily="34" charset="0"/>
              </a:rPr>
              <a:t>Fax</a:t>
            </a:r>
          </a:p>
        </p:txBody>
      </p:sp>
      <p:sp>
        <p:nvSpPr>
          <p:cNvPr id="40" name="Rechteck 39"/>
          <p:cNvSpPr/>
          <p:nvPr/>
        </p:nvSpPr>
        <p:spPr bwMode="gray">
          <a:xfrm>
            <a:off x="4912364" y="3081341"/>
            <a:ext cx="3761278" cy="288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>
              <a:lnSpc>
                <a:spcPct val="130000"/>
              </a:lnSpc>
              <a:spcAft>
                <a:spcPts val="900"/>
              </a:spcAft>
              <a:defRPr/>
            </a:pPr>
            <a:r>
              <a:rPr lang="de-DE" sz="1600" b="1" dirty="0">
                <a:solidFill>
                  <a:prstClr val="black"/>
                </a:solidFill>
                <a:cs typeface="Arial" panose="020B0604020202020204" pitchFamily="34" charset="0"/>
              </a:rPr>
              <a:t>Ansprechpartner</a:t>
            </a:r>
            <a:endParaRPr lang="de-DE" sz="16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65" name="Titel 64"/>
          <p:cNvSpPr>
            <a:spLocks noGrp="1"/>
          </p:cNvSpPr>
          <p:nvPr>
            <p:ph type="ctrTitle"/>
          </p:nvPr>
        </p:nvSpPr>
        <p:spPr bwMode="gray">
          <a:xfrm>
            <a:off x="-1" y="1"/>
            <a:ext cx="12192000" cy="2504834"/>
          </a:xfrm>
          <a:custGeom>
            <a:avLst/>
            <a:gdLst>
              <a:gd name="connsiteX0" fmla="*/ 0 w 12190413"/>
              <a:gd name="connsiteY0" fmla="*/ 0 h 2504834"/>
              <a:gd name="connsiteX1" fmla="*/ 12190413 w 12190413"/>
              <a:gd name="connsiteY1" fmla="*/ 0 h 2504834"/>
              <a:gd name="connsiteX2" fmla="*/ 12190413 w 12190413"/>
              <a:gd name="connsiteY2" fmla="*/ 829996 h 2504834"/>
              <a:gd name="connsiteX3" fmla="*/ 9060657 w 12190413"/>
              <a:gd name="connsiteY3" fmla="*/ 829996 h 2504834"/>
              <a:gd name="connsiteX4" fmla="*/ 9060657 w 12190413"/>
              <a:gd name="connsiteY4" fmla="*/ 2504830 h 2504834"/>
              <a:gd name="connsiteX5" fmla="*/ 12190413 w 12190413"/>
              <a:gd name="connsiteY5" fmla="*/ 2504830 h 2504834"/>
              <a:gd name="connsiteX6" fmla="*/ 12190413 w 12190413"/>
              <a:gd name="connsiteY6" fmla="*/ 2504834 h 2504834"/>
              <a:gd name="connsiteX7" fmla="*/ 0 w 12190413"/>
              <a:gd name="connsiteY7" fmla="*/ 2504834 h 25048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0413" h="2504834">
                <a:moveTo>
                  <a:pt x="0" y="0"/>
                </a:moveTo>
                <a:lnTo>
                  <a:pt x="12190413" y="0"/>
                </a:lnTo>
                <a:lnTo>
                  <a:pt x="12190413" y="829996"/>
                </a:lnTo>
                <a:lnTo>
                  <a:pt x="9060657" y="829996"/>
                </a:lnTo>
                <a:lnTo>
                  <a:pt x="9060657" y="2504830"/>
                </a:lnTo>
                <a:lnTo>
                  <a:pt x="12190413" y="2504830"/>
                </a:lnTo>
                <a:lnTo>
                  <a:pt x="12190413" y="2504834"/>
                </a:lnTo>
                <a:lnTo>
                  <a:pt x="0" y="2504834"/>
                </a:lnTo>
                <a:close/>
              </a:path>
            </a:pathLst>
          </a:custGeom>
          <a:solidFill>
            <a:schemeClr val="accent6"/>
          </a:solidFill>
        </p:spPr>
        <p:txBody>
          <a:bodyPr lIns="619200" tIns="720000" rIns="3456000" anchor="t">
            <a:noAutofit/>
          </a:bodyPr>
          <a:lstStyle>
            <a:lvl1pPr algn="l">
              <a:defRPr sz="3200"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64" name="Textplatzhalter 7"/>
          <p:cNvSpPr>
            <a:spLocks noGrp="1"/>
          </p:cNvSpPr>
          <p:nvPr>
            <p:ph type="body" sz="quarter" idx="13"/>
          </p:nvPr>
        </p:nvSpPr>
        <p:spPr bwMode="gray">
          <a:xfrm>
            <a:off x="632703" y="3164177"/>
            <a:ext cx="3600469" cy="1152000"/>
          </a:xfrm>
        </p:spPr>
        <p:txBody>
          <a:bodyPr/>
          <a:lstStyle>
            <a:lvl1pPr marL="1588" indent="0"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600" b="1"/>
            </a:lvl1pPr>
            <a:lvl2pPr marL="1588" indent="0">
              <a:spcBef>
                <a:spcPts val="0"/>
              </a:spcBef>
              <a:buNone/>
              <a:defRPr sz="1600"/>
            </a:lvl2pPr>
            <a:lvl3pPr marL="1588" indent="0">
              <a:spcBef>
                <a:spcPts val="0"/>
              </a:spcBef>
              <a:buNone/>
              <a:defRPr sz="1600"/>
            </a:lvl3pPr>
            <a:lvl4pPr marL="1588" indent="0">
              <a:spcBef>
                <a:spcPts val="0"/>
              </a:spcBef>
              <a:buNone/>
              <a:defRPr sz="1600"/>
            </a:lvl4pPr>
            <a:lvl5pPr marL="1588" indent="0">
              <a:spcBef>
                <a:spcPts val="0"/>
              </a:spcBef>
              <a:buNone/>
              <a:defRPr sz="1600"/>
            </a:lvl5pPr>
            <a:lvl6pPr marL="1588" indent="0">
              <a:spcBef>
                <a:spcPts val="0"/>
              </a:spcBef>
              <a:buNone/>
              <a:defRPr sz="1600"/>
            </a:lvl6pPr>
            <a:lvl7pPr marL="1588" indent="0">
              <a:spcBef>
                <a:spcPts val="0"/>
              </a:spcBef>
              <a:buNone/>
              <a:defRPr sz="1600"/>
            </a:lvl7pPr>
            <a:lvl8pPr marL="1588" indent="0">
              <a:spcBef>
                <a:spcPts val="0"/>
              </a:spcBef>
              <a:buNone/>
              <a:defRPr sz="1600"/>
            </a:lvl8pPr>
            <a:lvl9pPr marL="1588" indent="0">
              <a:spcBef>
                <a:spcPts val="0"/>
              </a:spcBef>
              <a:buNone/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6" name="Textplatzhalter 7"/>
          <p:cNvSpPr>
            <a:spLocks noGrp="1"/>
          </p:cNvSpPr>
          <p:nvPr>
            <p:ph type="body" sz="quarter" idx="14"/>
          </p:nvPr>
        </p:nvSpPr>
        <p:spPr bwMode="gray">
          <a:xfrm>
            <a:off x="4912349" y="3547551"/>
            <a:ext cx="3600469" cy="1152000"/>
          </a:xfrm>
        </p:spPr>
        <p:txBody>
          <a:bodyPr/>
          <a:lstStyle>
            <a:lvl1pPr marL="1588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/>
            </a:lvl1pPr>
            <a:lvl2pPr marL="1588" indent="0">
              <a:spcBef>
                <a:spcPts val="0"/>
              </a:spcBef>
              <a:buNone/>
              <a:defRPr sz="1600"/>
            </a:lvl2pPr>
            <a:lvl3pPr marL="1588" indent="0">
              <a:spcBef>
                <a:spcPts val="0"/>
              </a:spcBef>
              <a:buNone/>
              <a:defRPr sz="1600"/>
            </a:lvl3pPr>
            <a:lvl4pPr marL="1588" indent="0">
              <a:spcBef>
                <a:spcPts val="0"/>
              </a:spcBef>
              <a:buNone/>
              <a:defRPr sz="1600"/>
            </a:lvl4pPr>
            <a:lvl5pPr marL="1588" indent="0">
              <a:spcBef>
                <a:spcPts val="0"/>
              </a:spcBef>
              <a:buNone/>
              <a:defRPr sz="1600"/>
            </a:lvl5pPr>
            <a:lvl6pPr marL="1588" indent="0">
              <a:spcBef>
                <a:spcPts val="0"/>
              </a:spcBef>
              <a:buNone/>
              <a:defRPr sz="1600"/>
            </a:lvl6pPr>
            <a:lvl7pPr marL="1588" indent="0">
              <a:spcBef>
                <a:spcPts val="0"/>
              </a:spcBef>
              <a:buNone/>
              <a:defRPr sz="1600"/>
            </a:lvl7pPr>
            <a:lvl8pPr marL="1588" indent="0">
              <a:spcBef>
                <a:spcPts val="0"/>
              </a:spcBef>
              <a:buNone/>
              <a:defRPr sz="1600"/>
            </a:lvl8pPr>
            <a:lvl9pPr marL="1588" indent="0">
              <a:spcBef>
                <a:spcPts val="0"/>
              </a:spcBef>
              <a:buNone/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7" name="Textplatzhalter 7"/>
          <p:cNvSpPr>
            <a:spLocks noGrp="1"/>
          </p:cNvSpPr>
          <p:nvPr>
            <p:ph type="body" sz="quarter" idx="15"/>
          </p:nvPr>
        </p:nvSpPr>
        <p:spPr bwMode="gray">
          <a:xfrm>
            <a:off x="1532822" y="4950620"/>
            <a:ext cx="2700351" cy="252000"/>
          </a:xfrm>
        </p:spPr>
        <p:txBody>
          <a:bodyPr/>
          <a:lstStyle>
            <a:lvl1pPr marL="1588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/>
            </a:lvl1pPr>
            <a:lvl2pPr marL="1588" indent="0">
              <a:spcBef>
                <a:spcPts val="0"/>
              </a:spcBef>
              <a:buNone/>
              <a:defRPr sz="1600"/>
            </a:lvl2pPr>
            <a:lvl3pPr marL="1588" indent="0">
              <a:spcBef>
                <a:spcPts val="0"/>
              </a:spcBef>
              <a:buNone/>
              <a:defRPr sz="1600"/>
            </a:lvl3pPr>
            <a:lvl4pPr marL="1588" indent="0">
              <a:spcBef>
                <a:spcPts val="0"/>
              </a:spcBef>
              <a:buNone/>
              <a:defRPr sz="1600"/>
            </a:lvl4pPr>
            <a:lvl5pPr marL="1588" indent="0">
              <a:spcBef>
                <a:spcPts val="0"/>
              </a:spcBef>
              <a:buNone/>
              <a:defRPr sz="1600"/>
            </a:lvl5pPr>
            <a:lvl6pPr marL="1588" indent="0">
              <a:spcBef>
                <a:spcPts val="0"/>
              </a:spcBef>
              <a:buNone/>
              <a:defRPr sz="1600"/>
            </a:lvl6pPr>
            <a:lvl7pPr marL="1588" indent="0">
              <a:spcBef>
                <a:spcPts val="0"/>
              </a:spcBef>
              <a:buNone/>
              <a:defRPr sz="1600"/>
            </a:lvl7pPr>
            <a:lvl8pPr marL="1588" indent="0">
              <a:spcBef>
                <a:spcPts val="0"/>
              </a:spcBef>
              <a:buNone/>
              <a:defRPr sz="1600"/>
            </a:lvl8pPr>
            <a:lvl9pPr marL="1588" indent="0">
              <a:spcBef>
                <a:spcPts val="0"/>
              </a:spcBef>
              <a:buNone/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8" name="Textplatzhalter 7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1532822" y="5218781"/>
            <a:ext cx="2700351" cy="252000"/>
          </a:xfrm>
        </p:spPr>
        <p:txBody>
          <a:bodyPr/>
          <a:lstStyle>
            <a:lvl1pPr marL="1588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/>
            </a:lvl1pPr>
            <a:lvl2pPr marL="1588" indent="0">
              <a:spcBef>
                <a:spcPts val="0"/>
              </a:spcBef>
              <a:buNone/>
              <a:defRPr sz="1600"/>
            </a:lvl2pPr>
            <a:lvl3pPr marL="1588" indent="0">
              <a:spcBef>
                <a:spcPts val="0"/>
              </a:spcBef>
              <a:buNone/>
              <a:defRPr sz="1600"/>
            </a:lvl3pPr>
            <a:lvl4pPr marL="1588" indent="0">
              <a:spcBef>
                <a:spcPts val="0"/>
              </a:spcBef>
              <a:buNone/>
              <a:defRPr sz="1600"/>
            </a:lvl4pPr>
            <a:lvl5pPr marL="1588" indent="0">
              <a:spcBef>
                <a:spcPts val="0"/>
              </a:spcBef>
              <a:buNone/>
              <a:defRPr sz="1600"/>
            </a:lvl5pPr>
            <a:lvl6pPr marL="1588" indent="0">
              <a:spcBef>
                <a:spcPts val="0"/>
              </a:spcBef>
              <a:buNone/>
              <a:defRPr sz="1600"/>
            </a:lvl6pPr>
            <a:lvl7pPr marL="1588" indent="0">
              <a:spcBef>
                <a:spcPts val="0"/>
              </a:spcBef>
              <a:buNone/>
              <a:defRPr sz="1600"/>
            </a:lvl7pPr>
            <a:lvl8pPr marL="1588" indent="0">
              <a:spcBef>
                <a:spcPts val="0"/>
              </a:spcBef>
              <a:buNone/>
              <a:defRPr sz="1600"/>
            </a:lvl8pPr>
            <a:lvl9pPr marL="1588" indent="0">
              <a:spcBef>
                <a:spcPts val="0"/>
              </a:spcBef>
              <a:buNone/>
              <a:defRPr sz="1600"/>
            </a:lvl9pPr>
          </a:lstStyle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1" name="Datumsplatzhalter 3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>
              <a:defRPr/>
            </a:pPr>
            <a:r>
              <a:rPr lang="de-DE">
                <a:solidFill>
                  <a:prstClr val="black"/>
                </a:solidFill>
              </a:rPr>
              <a:t>Datum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42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 dirty="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>
              <a:defRPr/>
            </a:pPr>
            <a:endParaRPr lang="de-DE">
              <a:solidFill>
                <a:prstClr val="black"/>
              </a:solidFill>
            </a:endParaRPr>
          </a:p>
        </p:txBody>
      </p:sp>
      <p:sp>
        <p:nvSpPr>
          <p:cNvPr id="43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>
              <a:defRPr/>
            </a:pPr>
            <a:fld id="{6A0A73A5-F39A-4C95-93F3-195A493D3AAD}" type="slidenum">
              <a:rPr lang="de-DE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prstClr val="black"/>
              </a:solidFill>
            </a:endParaRPr>
          </a:p>
        </p:txBody>
      </p:sp>
      <p:pic>
        <p:nvPicPr>
          <p:cNvPr id="44" name="Picture 75" descr="C:\Users\bertscha\Desktop\ebmpapst_logobox_claim_2021_rgb.jp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061043" y="826915"/>
            <a:ext cx="3130957" cy="22369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7921513"/>
      </p:ext>
    </p:extLst>
  </p:cSld>
  <p:clrMapOvr>
    <a:masterClrMapping/>
  </p:clrMapOvr>
  <p:transition spd="med"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elen D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" name="Bildplatzhalter 120">
            <a:extLst>
              <a:ext uri="{FF2B5EF4-FFF2-40B4-BE49-F238E27FC236}">
                <a16:creationId xmlns:a16="http://schemas.microsoft.com/office/drawing/2014/main" id="{84E2DE48-09B6-4270-89A7-639B0E438B03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 bwMode="gray">
          <a:xfrm>
            <a:off x="2" y="0"/>
            <a:ext cx="12192000" cy="6858000"/>
          </a:xfrm>
          <a:custGeom>
            <a:avLst/>
            <a:gdLst>
              <a:gd name="connsiteX0" fmla="*/ 9630984 w 12190413"/>
              <a:gd name="connsiteY0" fmla="*/ 5044902 h 6858000"/>
              <a:gd name="connsiteX1" fmla="*/ 9630984 w 12190413"/>
              <a:gd name="connsiteY1" fmla="*/ 6168572 h 6858000"/>
              <a:gd name="connsiteX2" fmla="*/ 9630984 w 12190413"/>
              <a:gd name="connsiteY2" fmla="*/ 6543502 h 6858000"/>
              <a:gd name="connsiteX3" fmla="*/ 11731247 w 12190413"/>
              <a:gd name="connsiteY3" fmla="*/ 6543502 h 6858000"/>
              <a:gd name="connsiteX4" fmla="*/ 11731247 w 12190413"/>
              <a:gd name="connsiteY4" fmla="*/ 6168572 h 6858000"/>
              <a:gd name="connsiteX5" fmla="*/ 11731247 w 12190413"/>
              <a:gd name="connsiteY5" fmla="*/ 5044902 h 6858000"/>
              <a:gd name="connsiteX6" fmla="*/ 0 w 12190413"/>
              <a:gd name="connsiteY6" fmla="*/ 0 h 6858000"/>
              <a:gd name="connsiteX7" fmla="*/ 12190413 w 12190413"/>
              <a:gd name="connsiteY7" fmla="*/ 0 h 6858000"/>
              <a:gd name="connsiteX8" fmla="*/ 12190413 w 12190413"/>
              <a:gd name="connsiteY8" fmla="*/ 6858000 h 6858000"/>
              <a:gd name="connsiteX9" fmla="*/ 0 w 12190413"/>
              <a:gd name="connsiteY9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0413" h="6858000">
                <a:moveTo>
                  <a:pt x="9630984" y="5044902"/>
                </a:moveTo>
                <a:lnTo>
                  <a:pt x="9630984" y="6168572"/>
                </a:lnTo>
                <a:lnTo>
                  <a:pt x="9630984" y="6543502"/>
                </a:lnTo>
                <a:lnTo>
                  <a:pt x="11731247" y="6543502"/>
                </a:lnTo>
                <a:lnTo>
                  <a:pt x="11731247" y="6168572"/>
                </a:lnTo>
                <a:lnTo>
                  <a:pt x="11731247" y="5044902"/>
                </a:lnTo>
                <a:close/>
                <a:moveTo>
                  <a:pt x="0" y="0"/>
                </a:moveTo>
                <a:lnTo>
                  <a:pt x="12190413" y="0"/>
                </a:lnTo>
                <a:lnTo>
                  <a:pt x="12190413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fld id="{310FED02-0259-420E-80E1-2066F5A390A1}" type="slidenum">
              <a:rPr lang="de-DE" smtClean="0">
                <a:solidFill>
                  <a:prstClr val="black"/>
                </a:solidFill>
              </a:rPr>
              <a:pPr/>
              <a:t>‹#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de-DE">
                <a:solidFill>
                  <a:prstClr val="black"/>
                </a:solidFill>
              </a:rPr>
              <a:t>Datum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49" name="Textplatzhalter 48">
            <a:extLst>
              <a:ext uri="{FF2B5EF4-FFF2-40B4-BE49-F238E27FC236}">
                <a16:creationId xmlns:a16="http://schemas.microsoft.com/office/drawing/2014/main" id="{192A3FFD-4A38-4E31-ADBA-828B76FFF5A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>
          <a:xfrm>
            <a:off x="281242" y="3720572"/>
            <a:ext cx="11629514" cy="2448000"/>
          </a:xfrm>
          <a:custGeom>
            <a:avLst/>
            <a:gdLst>
              <a:gd name="connsiteX0" fmla="*/ 0 w 11628000"/>
              <a:gd name="connsiteY0" fmla="*/ 0 h 2448000"/>
              <a:gd name="connsiteX1" fmla="*/ 11628000 w 11628000"/>
              <a:gd name="connsiteY1" fmla="*/ 0 h 2448000"/>
              <a:gd name="connsiteX2" fmla="*/ 11628000 w 11628000"/>
              <a:gd name="connsiteY2" fmla="*/ 2448000 h 2448000"/>
              <a:gd name="connsiteX3" fmla="*/ 11450041 w 11628000"/>
              <a:gd name="connsiteY3" fmla="*/ 2448000 h 2448000"/>
              <a:gd name="connsiteX4" fmla="*/ 11450041 w 11628000"/>
              <a:gd name="connsiteY4" fmla="*/ 1324330 h 2448000"/>
              <a:gd name="connsiteX5" fmla="*/ 9349778 w 11628000"/>
              <a:gd name="connsiteY5" fmla="*/ 1324330 h 2448000"/>
              <a:gd name="connsiteX6" fmla="*/ 9349778 w 11628000"/>
              <a:gd name="connsiteY6" fmla="*/ 2448000 h 2448000"/>
              <a:gd name="connsiteX7" fmla="*/ 0 w 11628000"/>
              <a:gd name="connsiteY7" fmla="*/ 2448000 h 244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628000" h="2448000">
                <a:moveTo>
                  <a:pt x="0" y="0"/>
                </a:moveTo>
                <a:lnTo>
                  <a:pt x="11628000" y="0"/>
                </a:lnTo>
                <a:lnTo>
                  <a:pt x="11628000" y="2448000"/>
                </a:lnTo>
                <a:lnTo>
                  <a:pt x="11450041" y="2448000"/>
                </a:lnTo>
                <a:lnTo>
                  <a:pt x="11450041" y="1324330"/>
                </a:lnTo>
                <a:lnTo>
                  <a:pt x="9349778" y="1324330"/>
                </a:lnTo>
                <a:lnTo>
                  <a:pt x="9349778" y="2448000"/>
                </a:lnTo>
                <a:lnTo>
                  <a:pt x="0" y="2448000"/>
                </a:lnTo>
                <a:close/>
              </a:path>
            </a:pathLst>
          </a:custGeom>
          <a:solidFill>
            <a:schemeClr val="accent2"/>
          </a:solidFill>
        </p:spPr>
        <p:txBody>
          <a:bodyPr vert="horz" wrap="square" lIns="0" tIns="0" rIns="0" bIns="0" rtlCol="0">
            <a:noAutofit/>
          </a:bodyPr>
          <a:lstStyle>
            <a:lvl1pPr>
              <a:defRPr lang="de-DE" smtClean="0">
                <a:solidFill>
                  <a:schemeClr val="tx1">
                    <a:alpha val="0"/>
                  </a:schemeClr>
                </a:solidFill>
              </a:defRPr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4" name="Textplatzhalter 43">
            <a:extLst>
              <a:ext uri="{FF2B5EF4-FFF2-40B4-BE49-F238E27FC236}">
                <a16:creationId xmlns:a16="http://schemas.microsoft.com/office/drawing/2014/main" id="{F98AA166-763E-46E5-9CA5-908F87C0842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45003" y="4058288"/>
            <a:ext cx="5051766" cy="441325"/>
          </a:xfrm>
        </p:spPr>
        <p:txBody>
          <a:bodyPr/>
          <a:lstStyle>
            <a:lvl1pPr>
              <a:defRPr sz="22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Vielen Dank für Ihre Aufmerksamkeit</a:t>
            </a:r>
          </a:p>
        </p:txBody>
      </p:sp>
      <p:sp>
        <p:nvSpPr>
          <p:cNvPr id="45" name="Textplatzhalter 43">
            <a:extLst>
              <a:ext uri="{FF2B5EF4-FFF2-40B4-BE49-F238E27FC236}">
                <a16:creationId xmlns:a16="http://schemas.microsoft.com/office/drawing/2014/main" id="{86E9ABC6-C697-471C-9897-E67A48CB538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45003" y="4657516"/>
            <a:ext cx="5058946" cy="396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ebm-papst </a:t>
            </a:r>
            <a:br>
              <a:rPr lang="de-DE" dirty="0"/>
            </a:br>
            <a:r>
              <a:rPr lang="de-DE" dirty="0"/>
              <a:t>xxx GmbH &amp; Co. KG</a:t>
            </a:r>
          </a:p>
        </p:txBody>
      </p:sp>
      <p:sp>
        <p:nvSpPr>
          <p:cNvPr id="46" name="Textplatzhalter 43">
            <a:extLst>
              <a:ext uri="{FF2B5EF4-FFF2-40B4-BE49-F238E27FC236}">
                <a16:creationId xmlns:a16="http://schemas.microsoft.com/office/drawing/2014/main" id="{ACB816B6-E4BB-47B3-B344-429F0E96C1F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92056" y="4657516"/>
            <a:ext cx="3197210" cy="216000"/>
          </a:xfrm>
        </p:spPr>
        <p:txBody>
          <a:bodyPr/>
          <a:lstStyle>
            <a:lvl1pPr>
              <a:spcBef>
                <a:spcPts val="0"/>
              </a:spcBef>
              <a:defRPr sz="1200" b="1">
                <a:solidFill>
                  <a:schemeClr val="bg1"/>
                </a:solidFill>
              </a:defRPr>
            </a:lvl1pPr>
          </a:lstStyle>
          <a:p>
            <a:r>
              <a:rPr lang="de-DE" dirty="0" err="1"/>
              <a:t>Ansprechparner</a:t>
            </a:r>
            <a:endParaRPr lang="de-DE" dirty="0"/>
          </a:p>
        </p:txBody>
      </p:sp>
      <p:sp>
        <p:nvSpPr>
          <p:cNvPr id="47" name="Textplatzhalter 43">
            <a:extLst>
              <a:ext uri="{FF2B5EF4-FFF2-40B4-BE49-F238E27FC236}">
                <a16:creationId xmlns:a16="http://schemas.microsoft.com/office/drawing/2014/main" id="{DECB980F-43E3-4207-A688-FCC583DCBCB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92056" y="4935931"/>
            <a:ext cx="3197210" cy="859953"/>
          </a:xfrm>
        </p:spPr>
        <p:txBody>
          <a:bodyPr/>
          <a:lstStyle>
            <a:lvl1pPr>
              <a:spcBef>
                <a:spcPts val="0"/>
              </a:spcBef>
              <a:defRPr sz="1200" b="0">
                <a:solidFill>
                  <a:schemeClr val="bg1"/>
                </a:solidFill>
              </a:defRPr>
            </a:lvl1pPr>
          </a:lstStyle>
          <a:p>
            <a:r>
              <a:rPr lang="de-DE" dirty="0" err="1"/>
              <a:t>Ansprechparner</a:t>
            </a:r>
            <a:endParaRPr lang="de-DE" dirty="0"/>
          </a:p>
        </p:txBody>
      </p:sp>
      <p:sp>
        <p:nvSpPr>
          <p:cNvPr id="48" name="Textplatzhalter 43">
            <a:extLst>
              <a:ext uri="{FF2B5EF4-FFF2-40B4-BE49-F238E27FC236}">
                <a16:creationId xmlns:a16="http://schemas.microsoft.com/office/drawing/2014/main" id="{F3AD85D2-6A25-4592-9981-9B804E203AC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45003" y="5115928"/>
            <a:ext cx="5058946" cy="679954"/>
          </a:xfrm>
        </p:spPr>
        <p:txBody>
          <a:bodyPr/>
          <a:lstStyle>
            <a:lvl1pPr>
              <a:spcBef>
                <a:spcPts val="0"/>
              </a:spcBef>
              <a:defRPr sz="1200" b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Straße</a:t>
            </a:r>
          </a:p>
        </p:txBody>
      </p:sp>
      <p:pic>
        <p:nvPicPr>
          <p:cNvPr id="43" name="Picture 75" descr="C:\Users\bertscha\Desktop\ebmpapst_logobox_claim_2021_rgb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32239" y="5045501"/>
            <a:ext cx="2100535" cy="1500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39287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3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3">
            <a:extLst>
              <a:ext uri="{FF2B5EF4-FFF2-40B4-BE49-F238E27FC236}">
                <a16:creationId xmlns:a16="http://schemas.microsoft.com/office/drawing/2014/main" id="{01A60C81-A32A-45E6-961A-947D519F4060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639847" y="6492876"/>
            <a:ext cx="77003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noProof="0"/>
              <a:t>Date</a:t>
            </a:r>
            <a:endParaRPr lang="en-US" noProof="0" dirty="0"/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710F37E4-AE89-4C73-B41B-3FD2937270C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734741" y="6492876"/>
            <a:ext cx="257208" cy="365125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9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fld id="{20AEB338-9A01-4568-801D-896C2E978281}" type="slidenum">
              <a:rPr lang="en-US" noProof="0" smtClean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93A11243-3298-46D7-BD32-7A304EE6C61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1" y="-7706"/>
            <a:ext cx="12192000" cy="6865705"/>
          </a:xfrm>
          <a:custGeom>
            <a:avLst/>
            <a:gdLst>
              <a:gd name="connsiteX0" fmla="*/ 8784325 w 12190413"/>
              <a:gd name="connsiteY0" fmla="*/ 4883660 h 6865705"/>
              <a:gd name="connsiteX1" fmla="*/ 8784325 w 12190413"/>
              <a:gd name="connsiteY1" fmla="*/ 6427263 h 6865705"/>
              <a:gd name="connsiteX2" fmla="*/ 10944325 w 12190413"/>
              <a:gd name="connsiteY2" fmla="*/ 6427263 h 6865705"/>
              <a:gd name="connsiteX3" fmla="*/ 10944325 w 12190413"/>
              <a:gd name="connsiteY3" fmla="*/ 4883660 h 6865705"/>
              <a:gd name="connsiteX4" fmla="*/ 0 w 12190413"/>
              <a:gd name="connsiteY4" fmla="*/ 0 h 6865705"/>
              <a:gd name="connsiteX5" fmla="*/ 12190413 w 12190413"/>
              <a:gd name="connsiteY5" fmla="*/ 0 h 6865705"/>
              <a:gd name="connsiteX6" fmla="*/ 12190413 w 12190413"/>
              <a:gd name="connsiteY6" fmla="*/ 6865705 h 6865705"/>
              <a:gd name="connsiteX7" fmla="*/ 0 w 12190413"/>
              <a:gd name="connsiteY7" fmla="*/ 6865705 h 6865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0413" h="6865705">
                <a:moveTo>
                  <a:pt x="8784325" y="4883660"/>
                </a:moveTo>
                <a:lnTo>
                  <a:pt x="8784325" y="6427263"/>
                </a:lnTo>
                <a:lnTo>
                  <a:pt x="10944325" y="6427263"/>
                </a:lnTo>
                <a:lnTo>
                  <a:pt x="10944325" y="4883660"/>
                </a:lnTo>
                <a:close/>
                <a:moveTo>
                  <a:pt x="0" y="0"/>
                </a:moveTo>
                <a:lnTo>
                  <a:pt x="12190413" y="0"/>
                </a:lnTo>
                <a:lnTo>
                  <a:pt x="12190413" y="6865705"/>
                </a:lnTo>
                <a:lnTo>
                  <a:pt x="0" y="6865705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4B5FC1B4-0473-47E8-846B-AD7E5EE24C8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622382" y="4270848"/>
            <a:ext cx="10873415" cy="1764000"/>
          </a:xfrm>
          <a:custGeom>
            <a:avLst/>
            <a:gdLst>
              <a:gd name="connsiteX0" fmla="*/ 0 w 10872000"/>
              <a:gd name="connsiteY0" fmla="*/ 0 h 1764000"/>
              <a:gd name="connsiteX1" fmla="*/ 10872000 w 10872000"/>
              <a:gd name="connsiteY1" fmla="*/ 0 h 1764000"/>
              <a:gd name="connsiteX2" fmla="*/ 10872000 w 10872000"/>
              <a:gd name="connsiteY2" fmla="*/ 1764000 h 1764000"/>
              <a:gd name="connsiteX3" fmla="*/ 10322024 w 10872000"/>
              <a:gd name="connsiteY3" fmla="*/ 1764000 h 1764000"/>
              <a:gd name="connsiteX4" fmla="*/ 10322024 w 10872000"/>
              <a:gd name="connsiteY4" fmla="*/ 605106 h 1764000"/>
              <a:gd name="connsiteX5" fmla="*/ 8162024 w 10872000"/>
              <a:gd name="connsiteY5" fmla="*/ 605106 h 1764000"/>
              <a:gd name="connsiteX6" fmla="*/ 8162024 w 10872000"/>
              <a:gd name="connsiteY6" fmla="*/ 1764000 h 1764000"/>
              <a:gd name="connsiteX7" fmla="*/ 0 w 10872000"/>
              <a:gd name="connsiteY7" fmla="*/ 1764000 h 176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872000" h="1764000">
                <a:moveTo>
                  <a:pt x="0" y="0"/>
                </a:moveTo>
                <a:lnTo>
                  <a:pt x="10872000" y="0"/>
                </a:lnTo>
                <a:lnTo>
                  <a:pt x="10872000" y="1764000"/>
                </a:lnTo>
                <a:lnTo>
                  <a:pt x="10322024" y="1764000"/>
                </a:lnTo>
                <a:lnTo>
                  <a:pt x="10322024" y="605106"/>
                </a:lnTo>
                <a:lnTo>
                  <a:pt x="8162024" y="605106"/>
                </a:lnTo>
                <a:lnTo>
                  <a:pt x="8162024" y="1764000"/>
                </a:lnTo>
                <a:lnTo>
                  <a:pt x="0" y="176400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F44EF97-2398-47DE-AB44-434E736BED3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84485" y="4589050"/>
            <a:ext cx="7557377" cy="522701"/>
          </a:xfrm>
        </p:spPr>
        <p:txBody>
          <a:bodyPr/>
          <a:lstStyle>
            <a:lvl1pPr>
              <a:defRPr sz="28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Headline</a:t>
            </a:r>
          </a:p>
        </p:txBody>
      </p:sp>
      <p:sp>
        <p:nvSpPr>
          <p:cNvPr id="16" name="Textplatzhalter 14">
            <a:extLst>
              <a:ext uri="{FF2B5EF4-FFF2-40B4-BE49-F238E27FC236}">
                <a16:creationId xmlns:a16="http://schemas.microsoft.com/office/drawing/2014/main" id="{20FDF11C-B938-44D7-B045-AEF9749B191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4485" y="5104004"/>
            <a:ext cx="7557376" cy="814197"/>
          </a:xfrm>
        </p:spPr>
        <p:txBody>
          <a:bodyPr/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Headline</a:t>
            </a:r>
          </a:p>
        </p:txBody>
      </p:sp>
      <p:pic>
        <p:nvPicPr>
          <p:cNvPr id="11" name="Picture 75" descr="C:\Users\bertscha\Desktop\ebmpapst_logobox_claim_2021_rgb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785469" y="4875955"/>
            <a:ext cx="2160281" cy="15434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69383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171578" y="3026471"/>
            <a:ext cx="10020422" cy="1126802"/>
          </a:xfrm>
          <a:solidFill>
            <a:schemeClr val="tx2"/>
          </a:solidFill>
        </p:spPr>
        <p:txBody>
          <a:bodyPr lIns="432000" tIns="46800" rIns="684000" bIns="46800"/>
          <a:lstStyle>
            <a:lvl1pPr>
              <a:defRPr baseline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>
          <a:noFill/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310FED02-0259-420E-80E1-2066F5A390A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646991" y="3026471"/>
            <a:ext cx="1126947" cy="1126802"/>
          </a:xfrm>
          <a:solidFill>
            <a:schemeClr val="tx2"/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540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540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5400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buNone/>
              <a:defRPr sz="5400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5400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5400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buNone/>
              <a:defRPr sz="5400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buNone/>
              <a:defRPr sz="5400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buNone/>
              <a:defRPr sz="54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50832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Photo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310FED02-0259-420E-80E1-2066F5A390A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6170623" y="1765748"/>
            <a:ext cx="5366449" cy="462632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 bwMode="gray">
          <a:xfrm>
            <a:off x="646993" y="1834357"/>
            <a:ext cx="5347395" cy="4557712"/>
          </a:xfrm>
        </p:spPr>
        <p:txBody>
          <a:bodyPr tIns="648000"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46" name="Subtitle 2"/>
          <p:cNvSpPr>
            <a:spLocks noGrp="1"/>
          </p:cNvSpPr>
          <p:nvPr>
            <p:ph type="subTitle" idx="1"/>
          </p:nvPr>
        </p:nvSpPr>
        <p:spPr bwMode="gray">
          <a:xfrm>
            <a:off x="628731" y="1152797"/>
            <a:ext cx="8839416" cy="345805"/>
          </a:xfrm>
        </p:spPr>
        <p:txBody>
          <a:bodyPr anchor="ctr"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>
          <a:solidFill>
            <a:schemeClr val="accent3"/>
          </a:solidFill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6131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1" y="1121189"/>
            <a:ext cx="12194381" cy="5736811"/>
          </a:xfrm>
          <a:custGeom>
            <a:avLst/>
            <a:gdLst/>
            <a:ahLst/>
            <a:cxnLst/>
            <a:rect l="l" t="t" r="r" b="b"/>
            <a:pathLst>
              <a:path w="12190413" h="5734431">
                <a:moveTo>
                  <a:pt x="0" y="0"/>
                </a:moveTo>
                <a:lnTo>
                  <a:pt x="10090800" y="0"/>
                </a:lnTo>
                <a:lnTo>
                  <a:pt x="10090800" y="5142"/>
                </a:lnTo>
                <a:lnTo>
                  <a:pt x="10090800" y="374896"/>
                </a:lnTo>
                <a:lnTo>
                  <a:pt x="12190413" y="374896"/>
                </a:lnTo>
                <a:lnTo>
                  <a:pt x="12190413" y="5734431"/>
                </a:lnTo>
                <a:lnTo>
                  <a:pt x="1" y="5734431"/>
                </a:lnTo>
                <a:lnTo>
                  <a:pt x="1" y="465666"/>
                </a:lnTo>
                <a:lnTo>
                  <a:pt x="0" y="465666"/>
                </a:lnTo>
                <a:close/>
              </a:path>
            </a:pathLst>
          </a:custGeom>
        </p:spPr>
        <p:txBody>
          <a:bodyPr vert="horz" lIns="0" tIns="648000" rIns="0" bIns="0" rtlCol="0" anchor="ctr">
            <a:noAutofit/>
          </a:bodyPr>
          <a:lstStyle>
            <a:lvl1pPr>
              <a:defRPr lang="de-DE" dirty="0"/>
            </a:lvl1pPr>
          </a:lstStyle>
          <a:p>
            <a:pPr lvl="0" algn="ctr"/>
            <a:r>
              <a:rPr lang="en-US" dirty="0"/>
              <a:t>Click icon to add picture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310FED02-0259-420E-80E1-2066F5A390A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>
          <a:solidFill>
            <a:schemeClr val="accent2"/>
          </a:solidFill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23054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" name="Bildplatzhalter 120">
            <a:extLst>
              <a:ext uri="{FF2B5EF4-FFF2-40B4-BE49-F238E27FC236}">
                <a16:creationId xmlns:a16="http://schemas.microsoft.com/office/drawing/2014/main" id="{84E2DE48-09B6-4270-89A7-639B0E438B03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1" y="0"/>
            <a:ext cx="12192000" cy="6858000"/>
          </a:xfrm>
          <a:custGeom>
            <a:avLst/>
            <a:gdLst>
              <a:gd name="connsiteX0" fmla="*/ 9630984 w 12190413"/>
              <a:gd name="connsiteY0" fmla="*/ 5044902 h 6858000"/>
              <a:gd name="connsiteX1" fmla="*/ 9630984 w 12190413"/>
              <a:gd name="connsiteY1" fmla="*/ 6168572 h 6858000"/>
              <a:gd name="connsiteX2" fmla="*/ 9630984 w 12190413"/>
              <a:gd name="connsiteY2" fmla="*/ 6543502 h 6858000"/>
              <a:gd name="connsiteX3" fmla="*/ 11731247 w 12190413"/>
              <a:gd name="connsiteY3" fmla="*/ 6543502 h 6858000"/>
              <a:gd name="connsiteX4" fmla="*/ 11731247 w 12190413"/>
              <a:gd name="connsiteY4" fmla="*/ 6168572 h 6858000"/>
              <a:gd name="connsiteX5" fmla="*/ 11731247 w 12190413"/>
              <a:gd name="connsiteY5" fmla="*/ 5044902 h 6858000"/>
              <a:gd name="connsiteX6" fmla="*/ 0 w 12190413"/>
              <a:gd name="connsiteY6" fmla="*/ 0 h 6858000"/>
              <a:gd name="connsiteX7" fmla="*/ 12190413 w 12190413"/>
              <a:gd name="connsiteY7" fmla="*/ 0 h 6858000"/>
              <a:gd name="connsiteX8" fmla="*/ 12190413 w 12190413"/>
              <a:gd name="connsiteY8" fmla="*/ 6858000 h 6858000"/>
              <a:gd name="connsiteX9" fmla="*/ 0 w 12190413"/>
              <a:gd name="connsiteY9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0413" h="6858000">
                <a:moveTo>
                  <a:pt x="9630984" y="5044902"/>
                </a:moveTo>
                <a:lnTo>
                  <a:pt x="9630984" y="6168572"/>
                </a:lnTo>
                <a:lnTo>
                  <a:pt x="9630984" y="6543502"/>
                </a:lnTo>
                <a:lnTo>
                  <a:pt x="11731247" y="6543502"/>
                </a:lnTo>
                <a:lnTo>
                  <a:pt x="11731247" y="6168572"/>
                </a:lnTo>
                <a:lnTo>
                  <a:pt x="11731247" y="5044902"/>
                </a:lnTo>
                <a:close/>
                <a:moveTo>
                  <a:pt x="0" y="0"/>
                </a:moveTo>
                <a:lnTo>
                  <a:pt x="12190413" y="0"/>
                </a:lnTo>
                <a:lnTo>
                  <a:pt x="12190413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fld id="{310FED02-0259-420E-80E1-2066F5A390A1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/>
              <a:t>Dat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endParaRPr lang="en-US" noProof="0"/>
          </a:p>
        </p:txBody>
      </p:sp>
      <p:sp>
        <p:nvSpPr>
          <p:cNvPr id="49" name="Textplatzhalter 48">
            <a:extLst>
              <a:ext uri="{FF2B5EF4-FFF2-40B4-BE49-F238E27FC236}">
                <a16:creationId xmlns:a16="http://schemas.microsoft.com/office/drawing/2014/main" id="{192A3FFD-4A38-4E31-ADBA-828B76FFF5A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>
          <a:xfrm>
            <a:off x="281242" y="3720572"/>
            <a:ext cx="11629514" cy="2448000"/>
          </a:xfrm>
          <a:custGeom>
            <a:avLst/>
            <a:gdLst>
              <a:gd name="connsiteX0" fmla="*/ 0 w 11628000"/>
              <a:gd name="connsiteY0" fmla="*/ 0 h 2448000"/>
              <a:gd name="connsiteX1" fmla="*/ 11628000 w 11628000"/>
              <a:gd name="connsiteY1" fmla="*/ 0 h 2448000"/>
              <a:gd name="connsiteX2" fmla="*/ 11628000 w 11628000"/>
              <a:gd name="connsiteY2" fmla="*/ 2448000 h 2448000"/>
              <a:gd name="connsiteX3" fmla="*/ 11450041 w 11628000"/>
              <a:gd name="connsiteY3" fmla="*/ 2448000 h 2448000"/>
              <a:gd name="connsiteX4" fmla="*/ 11450041 w 11628000"/>
              <a:gd name="connsiteY4" fmla="*/ 1324330 h 2448000"/>
              <a:gd name="connsiteX5" fmla="*/ 9349778 w 11628000"/>
              <a:gd name="connsiteY5" fmla="*/ 1324330 h 2448000"/>
              <a:gd name="connsiteX6" fmla="*/ 9349778 w 11628000"/>
              <a:gd name="connsiteY6" fmla="*/ 2448000 h 2448000"/>
              <a:gd name="connsiteX7" fmla="*/ 0 w 11628000"/>
              <a:gd name="connsiteY7" fmla="*/ 2448000 h 244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628000" h="2448000">
                <a:moveTo>
                  <a:pt x="0" y="0"/>
                </a:moveTo>
                <a:lnTo>
                  <a:pt x="11628000" y="0"/>
                </a:lnTo>
                <a:lnTo>
                  <a:pt x="11628000" y="2448000"/>
                </a:lnTo>
                <a:lnTo>
                  <a:pt x="11450041" y="2448000"/>
                </a:lnTo>
                <a:lnTo>
                  <a:pt x="11450041" y="1324330"/>
                </a:lnTo>
                <a:lnTo>
                  <a:pt x="9349778" y="1324330"/>
                </a:lnTo>
                <a:lnTo>
                  <a:pt x="9349778" y="2448000"/>
                </a:lnTo>
                <a:lnTo>
                  <a:pt x="0" y="2448000"/>
                </a:lnTo>
                <a:close/>
              </a:path>
            </a:pathLst>
          </a:custGeom>
          <a:solidFill>
            <a:schemeClr val="accent2"/>
          </a:solidFill>
        </p:spPr>
        <p:txBody>
          <a:bodyPr vert="horz" wrap="square" lIns="0" tIns="0" rIns="0" bIns="0" rtlCol="0">
            <a:noAutofit/>
          </a:bodyPr>
          <a:lstStyle>
            <a:lvl1pPr>
              <a:defRPr lang="de-DE" smtClean="0">
                <a:solidFill>
                  <a:schemeClr val="tx1">
                    <a:alpha val="0"/>
                  </a:schemeClr>
                </a:solidFill>
              </a:defRPr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44" name="Textplatzhalter 43">
            <a:extLst>
              <a:ext uri="{FF2B5EF4-FFF2-40B4-BE49-F238E27FC236}">
                <a16:creationId xmlns:a16="http://schemas.microsoft.com/office/drawing/2014/main" id="{F98AA166-763E-46E5-9CA5-908F87C0842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45003" y="4058286"/>
            <a:ext cx="5051766" cy="441325"/>
          </a:xfrm>
        </p:spPr>
        <p:txBody>
          <a:bodyPr/>
          <a:lstStyle>
            <a:lvl1pPr>
              <a:defRPr sz="22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Thank you for your attention</a:t>
            </a:r>
          </a:p>
        </p:txBody>
      </p:sp>
      <p:sp>
        <p:nvSpPr>
          <p:cNvPr id="45" name="Textplatzhalter 43">
            <a:extLst>
              <a:ext uri="{FF2B5EF4-FFF2-40B4-BE49-F238E27FC236}">
                <a16:creationId xmlns:a16="http://schemas.microsoft.com/office/drawing/2014/main" id="{86E9ABC6-C697-471C-9897-E67A48CB538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45003" y="4657516"/>
            <a:ext cx="5058946" cy="396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ebm-papst </a:t>
            </a:r>
            <a:br>
              <a:rPr lang="en-US" noProof="0"/>
            </a:br>
            <a:r>
              <a:rPr lang="en-US" noProof="0"/>
              <a:t>xxx GmbH &amp; Co. KG</a:t>
            </a:r>
          </a:p>
        </p:txBody>
      </p:sp>
      <p:sp>
        <p:nvSpPr>
          <p:cNvPr id="46" name="Textplatzhalter 43">
            <a:extLst>
              <a:ext uri="{FF2B5EF4-FFF2-40B4-BE49-F238E27FC236}">
                <a16:creationId xmlns:a16="http://schemas.microsoft.com/office/drawing/2014/main" id="{ACB816B6-E4BB-47B3-B344-429F0E96C1F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92056" y="4657516"/>
            <a:ext cx="3197210" cy="216000"/>
          </a:xfrm>
        </p:spPr>
        <p:txBody>
          <a:bodyPr/>
          <a:lstStyle>
            <a:lvl1pPr>
              <a:spcBef>
                <a:spcPts val="0"/>
              </a:spcBef>
              <a:defRPr sz="1200" b="1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ontact</a:t>
            </a:r>
            <a:r>
              <a:rPr lang="de-DE" dirty="0"/>
              <a:t> </a:t>
            </a:r>
            <a:r>
              <a:rPr lang="de-DE" dirty="0" err="1"/>
              <a:t>person</a:t>
            </a:r>
            <a:endParaRPr lang="de-DE" dirty="0"/>
          </a:p>
        </p:txBody>
      </p:sp>
      <p:sp>
        <p:nvSpPr>
          <p:cNvPr id="47" name="Textplatzhalter 43">
            <a:extLst>
              <a:ext uri="{FF2B5EF4-FFF2-40B4-BE49-F238E27FC236}">
                <a16:creationId xmlns:a16="http://schemas.microsoft.com/office/drawing/2014/main" id="{DECB980F-43E3-4207-A688-FCC583DCBCB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92056" y="4935929"/>
            <a:ext cx="3197210" cy="859953"/>
          </a:xfrm>
        </p:spPr>
        <p:txBody>
          <a:bodyPr/>
          <a:lstStyle>
            <a:lvl1pPr>
              <a:spcBef>
                <a:spcPts val="0"/>
              </a:spcBef>
              <a:defRPr sz="1200" b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ontact person</a:t>
            </a:r>
          </a:p>
        </p:txBody>
      </p:sp>
      <p:sp>
        <p:nvSpPr>
          <p:cNvPr id="48" name="Textplatzhalter 43">
            <a:extLst>
              <a:ext uri="{FF2B5EF4-FFF2-40B4-BE49-F238E27FC236}">
                <a16:creationId xmlns:a16="http://schemas.microsoft.com/office/drawing/2014/main" id="{F3AD85D2-6A25-4592-9981-9B804E203AC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45003" y="5115928"/>
            <a:ext cx="5058946" cy="679954"/>
          </a:xfrm>
        </p:spPr>
        <p:txBody>
          <a:bodyPr/>
          <a:lstStyle>
            <a:lvl1pPr>
              <a:spcBef>
                <a:spcPts val="0"/>
              </a:spcBef>
              <a:defRPr sz="1200"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Street</a:t>
            </a:r>
          </a:p>
        </p:txBody>
      </p:sp>
      <p:pic>
        <p:nvPicPr>
          <p:cNvPr id="42" name="Picture 75" descr="C:\Users\bertscha\Desktop\ebmpapst_logobox_claim_2021_rgb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32239" y="5045501"/>
            <a:ext cx="2100535" cy="1500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20341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39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Photo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310FED02-0259-420E-80E1-2066F5A390A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 bwMode="gray">
          <a:xfrm>
            <a:off x="646991" y="1834356"/>
            <a:ext cx="5347397" cy="4557713"/>
          </a:xfrm>
        </p:spPr>
        <p:txBody>
          <a:bodyPr tIns="648000"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47" name="Picture Placeholder 8"/>
          <p:cNvSpPr>
            <a:spLocks noGrp="1"/>
          </p:cNvSpPr>
          <p:nvPr>
            <p:ph type="pic" sz="quarter" idx="15"/>
          </p:nvPr>
        </p:nvSpPr>
        <p:spPr bwMode="gray">
          <a:xfrm>
            <a:off x="6189675" y="1836738"/>
            <a:ext cx="5347397" cy="4557713"/>
          </a:xfrm>
        </p:spPr>
        <p:txBody>
          <a:bodyPr tIns="648000"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48" name="Subtitle 2"/>
          <p:cNvSpPr>
            <a:spLocks noGrp="1"/>
          </p:cNvSpPr>
          <p:nvPr>
            <p:ph type="subTitle" idx="1"/>
          </p:nvPr>
        </p:nvSpPr>
        <p:spPr bwMode="gray">
          <a:xfrm>
            <a:off x="628731" y="1152797"/>
            <a:ext cx="8839416" cy="345805"/>
          </a:xfrm>
        </p:spPr>
        <p:txBody>
          <a:bodyPr anchor="ctr"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>
          <a:solidFill>
            <a:schemeClr val="accent6"/>
          </a:solidFill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2769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Title 77"/>
          <p:cNvSpPr>
            <a:spLocks noGrp="1"/>
          </p:cNvSpPr>
          <p:nvPr>
            <p:ph type="ctrTitle"/>
          </p:nvPr>
        </p:nvSpPr>
        <p:spPr bwMode="gray">
          <a:xfrm>
            <a:off x="-1" y="1"/>
            <a:ext cx="12192000" cy="2504834"/>
          </a:xfrm>
          <a:custGeom>
            <a:avLst/>
            <a:gdLst>
              <a:gd name="connsiteX0" fmla="*/ 0 w 12190413"/>
              <a:gd name="connsiteY0" fmla="*/ 0 h 2504834"/>
              <a:gd name="connsiteX1" fmla="*/ 12190413 w 12190413"/>
              <a:gd name="connsiteY1" fmla="*/ 0 h 2504834"/>
              <a:gd name="connsiteX2" fmla="*/ 12190413 w 12190413"/>
              <a:gd name="connsiteY2" fmla="*/ 829996 h 2504834"/>
              <a:gd name="connsiteX3" fmla="*/ 9060657 w 12190413"/>
              <a:gd name="connsiteY3" fmla="*/ 829996 h 2504834"/>
              <a:gd name="connsiteX4" fmla="*/ 9060657 w 12190413"/>
              <a:gd name="connsiteY4" fmla="*/ 2504830 h 2504834"/>
              <a:gd name="connsiteX5" fmla="*/ 12190413 w 12190413"/>
              <a:gd name="connsiteY5" fmla="*/ 2504830 h 2504834"/>
              <a:gd name="connsiteX6" fmla="*/ 12190413 w 12190413"/>
              <a:gd name="connsiteY6" fmla="*/ 2504834 h 2504834"/>
              <a:gd name="connsiteX7" fmla="*/ 0 w 12190413"/>
              <a:gd name="connsiteY7" fmla="*/ 2504834 h 25048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0413" h="2504834">
                <a:moveTo>
                  <a:pt x="0" y="0"/>
                </a:moveTo>
                <a:lnTo>
                  <a:pt x="12190413" y="0"/>
                </a:lnTo>
                <a:lnTo>
                  <a:pt x="12190413" y="829996"/>
                </a:lnTo>
                <a:lnTo>
                  <a:pt x="9060657" y="829996"/>
                </a:lnTo>
                <a:lnTo>
                  <a:pt x="9060657" y="2504830"/>
                </a:lnTo>
                <a:lnTo>
                  <a:pt x="12190413" y="2504830"/>
                </a:lnTo>
                <a:lnTo>
                  <a:pt x="12190413" y="2504834"/>
                </a:lnTo>
                <a:lnTo>
                  <a:pt x="0" y="2504834"/>
                </a:lnTo>
                <a:close/>
              </a:path>
            </a:pathLst>
          </a:custGeom>
          <a:solidFill>
            <a:schemeClr val="accent4"/>
          </a:solidFill>
        </p:spPr>
        <p:txBody>
          <a:bodyPr wrap="square" lIns="619200" tIns="482400" rIns="3456000" anchor="t" anchorCtr="0">
            <a:noAutofit/>
          </a:bodyPr>
          <a:lstStyle>
            <a:lvl1pPr algn="l">
              <a:defRPr sz="320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pic>
        <p:nvPicPr>
          <p:cNvPr id="2050" name="Picture 2" descr="C:\Users\n.jovcic\Pictures\Bild1.png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-1" y="2504836"/>
            <a:ext cx="12192000" cy="43531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Dat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>
          <a:noFill/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310FED02-0259-420E-80E1-2066F5A390A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628732" y="1616101"/>
            <a:ext cx="7863876" cy="288000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 dirty="0"/>
          </a:p>
        </p:txBody>
      </p:sp>
      <p:grpSp>
        <p:nvGrpSpPr>
          <p:cNvPr id="97" name="Group 96"/>
          <p:cNvGrpSpPr/>
          <p:nvPr/>
        </p:nvGrpSpPr>
        <p:grpSpPr bwMode="gray">
          <a:xfrm>
            <a:off x="9061836" y="829998"/>
            <a:ext cx="3130164" cy="2233671"/>
            <a:chOff x="9299549" y="1855781"/>
            <a:chExt cx="2978142" cy="2125659"/>
          </a:xfrm>
        </p:grpSpPr>
        <p:sp>
          <p:nvSpPr>
            <p:cNvPr id="98" name="Rectangle 6"/>
            <p:cNvSpPr>
              <a:spLocks noChangeArrowheads="1"/>
            </p:cNvSpPr>
            <p:nvPr userDrawn="1"/>
          </p:nvSpPr>
          <p:spPr bwMode="gray">
            <a:xfrm>
              <a:off x="9299549" y="1855781"/>
              <a:ext cx="2978142" cy="159384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99" name="Freeform 7"/>
            <p:cNvSpPr>
              <a:spLocks noEditPoints="1"/>
            </p:cNvSpPr>
            <p:nvPr userDrawn="1"/>
          </p:nvSpPr>
          <p:spPr bwMode="gray">
            <a:xfrm>
              <a:off x="9839298" y="2489191"/>
              <a:ext cx="206375" cy="333374"/>
            </a:xfrm>
            <a:custGeom>
              <a:avLst/>
              <a:gdLst>
                <a:gd name="T0" fmla="*/ 55 w 55"/>
                <a:gd name="T1" fmla="*/ 48 h 89"/>
                <a:gd name="T2" fmla="*/ 55 w 55"/>
                <a:gd name="T3" fmla="*/ 43 h 89"/>
                <a:gd name="T4" fmla="*/ 28 w 55"/>
                <a:gd name="T5" fmla="*/ 0 h 89"/>
                <a:gd name="T6" fmla="*/ 0 w 55"/>
                <a:gd name="T7" fmla="*/ 44 h 89"/>
                <a:gd name="T8" fmla="*/ 28 w 55"/>
                <a:gd name="T9" fmla="*/ 89 h 89"/>
                <a:gd name="T10" fmla="*/ 54 w 55"/>
                <a:gd name="T11" fmla="*/ 59 h 89"/>
                <a:gd name="T12" fmla="*/ 37 w 55"/>
                <a:gd name="T13" fmla="*/ 59 h 89"/>
                <a:gd name="T14" fmla="*/ 27 w 55"/>
                <a:gd name="T15" fmla="*/ 75 h 89"/>
                <a:gd name="T16" fmla="*/ 18 w 55"/>
                <a:gd name="T17" fmla="*/ 55 h 89"/>
                <a:gd name="T18" fmla="*/ 18 w 55"/>
                <a:gd name="T19" fmla="*/ 48 h 89"/>
                <a:gd name="T20" fmla="*/ 55 w 55"/>
                <a:gd name="T21" fmla="*/ 48 h 89"/>
                <a:gd name="T22" fmla="*/ 18 w 55"/>
                <a:gd name="T23" fmla="*/ 35 h 89"/>
                <a:gd name="T24" fmla="*/ 18 w 55"/>
                <a:gd name="T25" fmla="*/ 32 h 89"/>
                <a:gd name="T26" fmla="*/ 28 w 55"/>
                <a:gd name="T27" fmla="*/ 15 h 89"/>
                <a:gd name="T28" fmla="*/ 37 w 55"/>
                <a:gd name="T29" fmla="*/ 35 h 89"/>
                <a:gd name="T30" fmla="*/ 18 w 55"/>
                <a:gd name="T31" fmla="*/ 35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5" h="89">
                  <a:moveTo>
                    <a:pt x="55" y="48"/>
                  </a:moveTo>
                  <a:cubicBezTo>
                    <a:pt x="55" y="43"/>
                    <a:pt x="55" y="43"/>
                    <a:pt x="55" y="43"/>
                  </a:cubicBezTo>
                  <a:cubicBezTo>
                    <a:pt x="55" y="17"/>
                    <a:pt x="50" y="0"/>
                    <a:pt x="28" y="0"/>
                  </a:cubicBezTo>
                  <a:cubicBezTo>
                    <a:pt x="4" y="0"/>
                    <a:pt x="0" y="21"/>
                    <a:pt x="0" y="44"/>
                  </a:cubicBezTo>
                  <a:cubicBezTo>
                    <a:pt x="0" y="65"/>
                    <a:pt x="1" y="89"/>
                    <a:pt x="28" y="89"/>
                  </a:cubicBezTo>
                  <a:cubicBezTo>
                    <a:pt x="45" y="89"/>
                    <a:pt x="53" y="78"/>
                    <a:pt x="54" y="59"/>
                  </a:cubicBezTo>
                  <a:cubicBezTo>
                    <a:pt x="37" y="59"/>
                    <a:pt x="37" y="59"/>
                    <a:pt x="37" y="59"/>
                  </a:cubicBezTo>
                  <a:cubicBezTo>
                    <a:pt x="36" y="69"/>
                    <a:pt x="34" y="75"/>
                    <a:pt x="27" y="75"/>
                  </a:cubicBezTo>
                  <a:cubicBezTo>
                    <a:pt x="21" y="75"/>
                    <a:pt x="18" y="65"/>
                    <a:pt x="18" y="55"/>
                  </a:cubicBezTo>
                  <a:cubicBezTo>
                    <a:pt x="18" y="48"/>
                    <a:pt x="18" y="48"/>
                    <a:pt x="18" y="48"/>
                  </a:cubicBezTo>
                  <a:lnTo>
                    <a:pt x="55" y="48"/>
                  </a:lnTo>
                  <a:close/>
                  <a:moveTo>
                    <a:pt x="18" y="35"/>
                  </a:moveTo>
                  <a:cubicBezTo>
                    <a:pt x="18" y="32"/>
                    <a:pt x="18" y="32"/>
                    <a:pt x="18" y="32"/>
                  </a:cubicBezTo>
                  <a:cubicBezTo>
                    <a:pt x="18" y="24"/>
                    <a:pt x="20" y="15"/>
                    <a:pt x="28" y="15"/>
                  </a:cubicBezTo>
                  <a:cubicBezTo>
                    <a:pt x="35" y="15"/>
                    <a:pt x="37" y="22"/>
                    <a:pt x="37" y="35"/>
                  </a:cubicBezTo>
                  <a:lnTo>
                    <a:pt x="18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00" name="Freeform 8"/>
            <p:cNvSpPr>
              <a:spLocks noEditPoints="1"/>
            </p:cNvSpPr>
            <p:nvPr userDrawn="1"/>
          </p:nvSpPr>
          <p:spPr bwMode="gray">
            <a:xfrm>
              <a:off x="10072660" y="2392354"/>
              <a:ext cx="209549" cy="430210"/>
            </a:xfrm>
            <a:custGeom>
              <a:avLst/>
              <a:gdLst>
                <a:gd name="T0" fmla="*/ 18 w 56"/>
                <a:gd name="T1" fmla="*/ 71 h 115"/>
                <a:gd name="T2" fmla="*/ 28 w 56"/>
                <a:gd name="T3" fmla="*/ 43 h 115"/>
                <a:gd name="T4" fmla="*/ 37 w 56"/>
                <a:gd name="T5" fmla="*/ 71 h 115"/>
                <a:gd name="T6" fmla="*/ 28 w 56"/>
                <a:gd name="T7" fmla="*/ 99 h 115"/>
                <a:gd name="T8" fmla="*/ 18 w 56"/>
                <a:gd name="T9" fmla="*/ 71 h 115"/>
                <a:gd name="T10" fmla="*/ 0 w 56"/>
                <a:gd name="T11" fmla="*/ 113 h 115"/>
                <a:gd name="T12" fmla="*/ 17 w 56"/>
                <a:gd name="T13" fmla="*/ 113 h 115"/>
                <a:gd name="T14" fmla="*/ 17 w 56"/>
                <a:gd name="T15" fmla="*/ 104 h 115"/>
                <a:gd name="T16" fmla="*/ 17 w 56"/>
                <a:gd name="T17" fmla="*/ 104 h 115"/>
                <a:gd name="T18" fmla="*/ 34 w 56"/>
                <a:gd name="T19" fmla="*/ 115 h 115"/>
                <a:gd name="T20" fmla="*/ 56 w 56"/>
                <a:gd name="T21" fmla="*/ 71 h 115"/>
                <a:gd name="T22" fmla="*/ 34 w 56"/>
                <a:gd name="T23" fmla="*/ 26 h 115"/>
                <a:gd name="T24" fmla="*/ 18 w 56"/>
                <a:gd name="T25" fmla="*/ 36 h 115"/>
                <a:gd name="T26" fmla="*/ 18 w 56"/>
                <a:gd name="T27" fmla="*/ 36 h 115"/>
                <a:gd name="T28" fmla="*/ 18 w 56"/>
                <a:gd name="T29" fmla="*/ 0 h 115"/>
                <a:gd name="T30" fmla="*/ 0 w 56"/>
                <a:gd name="T31" fmla="*/ 0 h 115"/>
                <a:gd name="T32" fmla="*/ 0 w 56"/>
                <a:gd name="T33" fmla="*/ 113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115">
                  <a:moveTo>
                    <a:pt x="18" y="71"/>
                  </a:moveTo>
                  <a:cubicBezTo>
                    <a:pt x="18" y="52"/>
                    <a:pt x="20" y="43"/>
                    <a:pt x="28" y="43"/>
                  </a:cubicBezTo>
                  <a:cubicBezTo>
                    <a:pt x="36" y="43"/>
                    <a:pt x="37" y="52"/>
                    <a:pt x="37" y="71"/>
                  </a:cubicBezTo>
                  <a:cubicBezTo>
                    <a:pt x="37" y="89"/>
                    <a:pt x="36" y="99"/>
                    <a:pt x="28" y="99"/>
                  </a:cubicBezTo>
                  <a:cubicBezTo>
                    <a:pt x="20" y="99"/>
                    <a:pt x="18" y="89"/>
                    <a:pt x="18" y="71"/>
                  </a:cubicBezTo>
                  <a:close/>
                  <a:moveTo>
                    <a:pt x="0" y="113"/>
                  </a:moveTo>
                  <a:cubicBezTo>
                    <a:pt x="17" y="113"/>
                    <a:pt x="17" y="113"/>
                    <a:pt x="17" y="113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21" y="112"/>
                    <a:pt x="27" y="115"/>
                    <a:pt x="34" y="115"/>
                  </a:cubicBezTo>
                  <a:cubicBezTo>
                    <a:pt x="49" y="115"/>
                    <a:pt x="56" y="102"/>
                    <a:pt x="56" y="71"/>
                  </a:cubicBezTo>
                  <a:cubicBezTo>
                    <a:pt x="56" y="39"/>
                    <a:pt x="49" y="26"/>
                    <a:pt x="34" y="26"/>
                  </a:cubicBezTo>
                  <a:cubicBezTo>
                    <a:pt x="27" y="26"/>
                    <a:pt x="22" y="29"/>
                    <a:pt x="18" y="36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01" name="Freeform 9"/>
            <p:cNvSpPr>
              <a:spLocks/>
            </p:cNvSpPr>
            <p:nvPr userDrawn="1"/>
          </p:nvSpPr>
          <p:spPr bwMode="gray">
            <a:xfrm>
              <a:off x="10312371" y="2486016"/>
              <a:ext cx="330199" cy="330198"/>
            </a:xfrm>
            <a:custGeom>
              <a:avLst/>
              <a:gdLst>
                <a:gd name="T0" fmla="*/ 0 w 88"/>
                <a:gd name="T1" fmla="*/ 88 h 88"/>
                <a:gd name="T2" fmla="*/ 18 w 88"/>
                <a:gd name="T3" fmla="*/ 88 h 88"/>
                <a:gd name="T4" fmla="*/ 18 w 88"/>
                <a:gd name="T5" fmla="*/ 32 h 88"/>
                <a:gd name="T6" fmla="*/ 28 w 88"/>
                <a:gd name="T7" fmla="*/ 18 h 88"/>
                <a:gd name="T8" fmla="*/ 35 w 88"/>
                <a:gd name="T9" fmla="*/ 29 h 88"/>
                <a:gd name="T10" fmla="*/ 35 w 88"/>
                <a:gd name="T11" fmla="*/ 88 h 88"/>
                <a:gd name="T12" fmla="*/ 53 w 88"/>
                <a:gd name="T13" fmla="*/ 88 h 88"/>
                <a:gd name="T14" fmla="*/ 53 w 88"/>
                <a:gd name="T15" fmla="*/ 32 h 88"/>
                <a:gd name="T16" fmla="*/ 63 w 88"/>
                <a:gd name="T17" fmla="*/ 18 h 88"/>
                <a:gd name="T18" fmla="*/ 70 w 88"/>
                <a:gd name="T19" fmla="*/ 29 h 88"/>
                <a:gd name="T20" fmla="*/ 70 w 88"/>
                <a:gd name="T21" fmla="*/ 88 h 88"/>
                <a:gd name="T22" fmla="*/ 88 w 88"/>
                <a:gd name="T23" fmla="*/ 88 h 88"/>
                <a:gd name="T24" fmla="*/ 88 w 88"/>
                <a:gd name="T25" fmla="*/ 26 h 88"/>
                <a:gd name="T26" fmla="*/ 70 w 88"/>
                <a:gd name="T27" fmla="*/ 1 h 88"/>
                <a:gd name="T28" fmla="*/ 52 w 88"/>
                <a:gd name="T29" fmla="*/ 14 h 88"/>
                <a:gd name="T30" fmla="*/ 52 w 88"/>
                <a:gd name="T31" fmla="*/ 14 h 88"/>
                <a:gd name="T32" fmla="*/ 36 w 88"/>
                <a:gd name="T33" fmla="*/ 1 h 88"/>
                <a:gd name="T34" fmla="*/ 17 w 88"/>
                <a:gd name="T35" fmla="*/ 12 h 88"/>
                <a:gd name="T36" fmla="*/ 17 w 88"/>
                <a:gd name="T37" fmla="*/ 12 h 88"/>
                <a:gd name="T38" fmla="*/ 17 w 88"/>
                <a:gd name="T39" fmla="*/ 3 h 88"/>
                <a:gd name="T40" fmla="*/ 0 w 88"/>
                <a:gd name="T41" fmla="*/ 3 h 88"/>
                <a:gd name="T42" fmla="*/ 0 w 88"/>
                <a:gd name="T43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8" h="88">
                  <a:moveTo>
                    <a:pt x="0" y="88"/>
                  </a:moveTo>
                  <a:cubicBezTo>
                    <a:pt x="18" y="88"/>
                    <a:pt x="18" y="88"/>
                    <a:pt x="18" y="88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22"/>
                    <a:pt x="22" y="18"/>
                    <a:pt x="28" y="18"/>
                  </a:cubicBezTo>
                  <a:cubicBezTo>
                    <a:pt x="33" y="18"/>
                    <a:pt x="35" y="22"/>
                    <a:pt x="35" y="29"/>
                  </a:cubicBezTo>
                  <a:cubicBezTo>
                    <a:pt x="35" y="88"/>
                    <a:pt x="35" y="88"/>
                    <a:pt x="35" y="88"/>
                  </a:cubicBezTo>
                  <a:cubicBezTo>
                    <a:pt x="53" y="88"/>
                    <a:pt x="53" y="88"/>
                    <a:pt x="53" y="88"/>
                  </a:cubicBezTo>
                  <a:cubicBezTo>
                    <a:pt x="53" y="32"/>
                    <a:pt x="53" y="32"/>
                    <a:pt x="53" y="32"/>
                  </a:cubicBezTo>
                  <a:cubicBezTo>
                    <a:pt x="53" y="22"/>
                    <a:pt x="57" y="18"/>
                    <a:pt x="63" y="18"/>
                  </a:cubicBezTo>
                  <a:cubicBezTo>
                    <a:pt x="68" y="18"/>
                    <a:pt x="70" y="22"/>
                    <a:pt x="70" y="29"/>
                  </a:cubicBezTo>
                  <a:cubicBezTo>
                    <a:pt x="70" y="88"/>
                    <a:pt x="70" y="88"/>
                    <a:pt x="70" y="88"/>
                  </a:cubicBezTo>
                  <a:cubicBezTo>
                    <a:pt x="88" y="88"/>
                    <a:pt x="88" y="88"/>
                    <a:pt x="88" y="88"/>
                  </a:cubicBezTo>
                  <a:cubicBezTo>
                    <a:pt x="88" y="26"/>
                    <a:pt x="88" y="26"/>
                    <a:pt x="88" y="26"/>
                  </a:cubicBezTo>
                  <a:cubicBezTo>
                    <a:pt x="88" y="10"/>
                    <a:pt x="83" y="1"/>
                    <a:pt x="70" y="1"/>
                  </a:cubicBezTo>
                  <a:cubicBezTo>
                    <a:pt x="62" y="0"/>
                    <a:pt x="54" y="6"/>
                    <a:pt x="52" y="14"/>
                  </a:cubicBezTo>
                  <a:cubicBezTo>
                    <a:pt x="52" y="14"/>
                    <a:pt x="52" y="14"/>
                    <a:pt x="52" y="14"/>
                  </a:cubicBezTo>
                  <a:cubicBezTo>
                    <a:pt x="51" y="6"/>
                    <a:pt x="44" y="0"/>
                    <a:pt x="36" y="1"/>
                  </a:cubicBezTo>
                  <a:cubicBezTo>
                    <a:pt x="28" y="1"/>
                    <a:pt x="21" y="5"/>
                    <a:pt x="17" y="12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0" y="3"/>
                    <a:pt x="0" y="3"/>
                    <a:pt x="0" y="3"/>
                  </a:cubicBezTo>
                  <a:lnTo>
                    <a:pt x="0" y="8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02" name="Freeform 10"/>
            <p:cNvSpPr>
              <a:spLocks noEditPoints="1"/>
            </p:cNvSpPr>
            <p:nvPr userDrawn="1"/>
          </p:nvSpPr>
          <p:spPr bwMode="gray">
            <a:xfrm>
              <a:off x="10698133" y="2489191"/>
              <a:ext cx="209549" cy="431799"/>
            </a:xfrm>
            <a:custGeom>
              <a:avLst/>
              <a:gdLst>
                <a:gd name="T0" fmla="*/ 18 w 56"/>
                <a:gd name="T1" fmla="*/ 45 h 115"/>
                <a:gd name="T2" fmla="*/ 28 w 56"/>
                <a:gd name="T3" fmla="*/ 17 h 115"/>
                <a:gd name="T4" fmla="*/ 38 w 56"/>
                <a:gd name="T5" fmla="*/ 45 h 115"/>
                <a:gd name="T6" fmla="*/ 28 w 56"/>
                <a:gd name="T7" fmla="*/ 73 h 115"/>
                <a:gd name="T8" fmla="*/ 18 w 56"/>
                <a:gd name="T9" fmla="*/ 45 h 115"/>
                <a:gd name="T10" fmla="*/ 0 w 56"/>
                <a:gd name="T11" fmla="*/ 115 h 115"/>
                <a:gd name="T12" fmla="*/ 18 w 56"/>
                <a:gd name="T13" fmla="*/ 115 h 115"/>
                <a:gd name="T14" fmla="*/ 18 w 56"/>
                <a:gd name="T15" fmla="*/ 79 h 115"/>
                <a:gd name="T16" fmla="*/ 19 w 56"/>
                <a:gd name="T17" fmla="*/ 79 h 115"/>
                <a:gd name="T18" fmla="*/ 34 w 56"/>
                <a:gd name="T19" fmla="*/ 89 h 115"/>
                <a:gd name="T20" fmla="*/ 56 w 56"/>
                <a:gd name="T21" fmla="*/ 45 h 115"/>
                <a:gd name="T22" fmla="*/ 34 w 56"/>
                <a:gd name="T23" fmla="*/ 0 h 115"/>
                <a:gd name="T24" fmla="*/ 18 w 56"/>
                <a:gd name="T25" fmla="*/ 11 h 115"/>
                <a:gd name="T26" fmla="*/ 18 w 56"/>
                <a:gd name="T27" fmla="*/ 11 h 115"/>
                <a:gd name="T28" fmla="*/ 18 w 56"/>
                <a:gd name="T29" fmla="*/ 2 h 115"/>
                <a:gd name="T30" fmla="*/ 0 w 56"/>
                <a:gd name="T31" fmla="*/ 2 h 115"/>
                <a:gd name="T32" fmla="*/ 0 w 56"/>
                <a:gd name="T33" fmla="*/ 11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115">
                  <a:moveTo>
                    <a:pt x="18" y="45"/>
                  </a:moveTo>
                  <a:cubicBezTo>
                    <a:pt x="18" y="26"/>
                    <a:pt x="20" y="17"/>
                    <a:pt x="28" y="17"/>
                  </a:cubicBezTo>
                  <a:cubicBezTo>
                    <a:pt x="36" y="17"/>
                    <a:pt x="38" y="26"/>
                    <a:pt x="38" y="45"/>
                  </a:cubicBezTo>
                  <a:cubicBezTo>
                    <a:pt x="38" y="63"/>
                    <a:pt x="36" y="73"/>
                    <a:pt x="28" y="73"/>
                  </a:cubicBezTo>
                  <a:cubicBezTo>
                    <a:pt x="20" y="73"/>
                    <a:pt x="18" y="63"/>
                    <a:pt x="18" y="45"/>
                  </a:cubicBezTo>
                  <a:close/>
                  <a:moveTo>
                    <a:pt x="0" y="115"/>
                  </a:moveTo>
                  <a:cubicBezTo>
                    <a:pt x="18" y="115"/>
                    <a:pt x="18" y="115"/>
                    <a:pt x="18" y="115"/>
                  </a:cubicBezTo>
                  <a:cubicBezTo>
                    <a:pt x="18" y="79"/>
                    <a:pt x="18" y="79"/>
                    <a:pt x="18" y="79"/>
                  </a:cubicBezTo>
                  <a:cubicBezTo>
                    <a:pt x="19" y="79"/>
                    <a:pt x="19" y="79"/>
                    <a:pt x="19" y="79"/>
                  </a:cubicBezTo>
                  <a:cubicBezTo>
                    <a:pt x="23" y="86"/>
                    <a:pt x="27" y="89"/>
                    <a:pt x="34" y="89"/>
                  </a:cubicBezTo>
                  <a:cubicBezTo>
                    <a:pt x="49" y="89"/>
                    <a:pt x="56" y="76"/>
                    <a:pt x="56" y="45"/>
                  </a:cubicBezTo>
                  <a:cubicBezTo>
                    <a:pt x="56" y="13"/>
                    <a:pt x="49" y="0"/>
                    <a:pt x="34" y="0"/>
                  </a:cubicBezTo>
                  <a:cubicBezTo>
                    <a:pt x="27" y="0"/>
                    <a:pt x="22" y="3"/>
                    <a:pt x="18" y="11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0" y="2"/>
                    <a:pt x="0" y="2"/>
                    <a:pt x="0" y="2"/>
                  </a:cubicBezTo>
                  <a:lnTo>
                    <a:pt x="0" y="115"/>
                  </a:lnTo>
                  <a:close/>
                </a:path>
              </a:pathLst>
            </a:custGeom>
            <a:solidFill>
              <a:srgbClr val="007C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03" name="Freeform 11"/>
            <p:cNvSpPr>
              <a:spLocks noEditPoints="1"/>
            </p:cNvSpPr>
            <p:nvPr userDrawn="1"/>
          </p:nvSpPr>
          <p:spPr bwMode="gray">
            <a:xfrm>
              <a:off x="10931495" y="2489191"/>
              <a:ext cx="206375" cy="333374"/>
            </a:xfrm>
            <a:custGeom>
              <a:avLst/>
              <a:gdLst>
                <a:gd name="T0" fmla="*/ 18 w 55"/>
                <a:gd name="T1" fmla="*/ 28 h 89"/>
                <a:gd name="T2" fmla="*/ 18 w 55"/>
                <a:gd name="T3" fmla="*/ 26 h 89"/>
                <a:gd name="T4" fmla="*/ 27 w 55"/>
                <a:gd name="T5" fmla="*/ 15 h 89"/>
                <a:gd name="T6" fmla="*/ 35 w 55"/>
                <a:gd name="T7" fmla="*/ 25 h 89"/>
                <a:gd name="T8" fmla="*/ 28 w 55"/>
                <a:gd name="T9" fmla="*/ 35 h 89"/>
                <a:gd name="T10" fmla="*/ 18 w 55"/>
                <a:gd name="T11" fmla="*/ 38 h 89"/>
                <a:gd name="T12" fmla="*/ 0 w 55"/>
                <a:gd name="T13" fmla="*/ 65 h 89"/>
                <a:gd name="T14" fmla="*/ 17 w 55"/>
                <a:gd name="T15" fmla="*/ 89 h 89"/>
                <a:gd name="T16" fmla="*/ 35 w 55"/>
                <a:gd name="T17" fmla="*/ 78 h 89"/>
                <a:gd name="T18" fmla="*/ 35 w 55"/>
                <a:gd name="T19" fmla="*/ 78 h 89"/>
                <a:gd name="T20" fmla="*/ 38 w 55"/>
                <a:gd name="T21" fmla="*/ 87 h 89"/>
                <a:gd name="T22" fmla="*/ 55 w 55"/>
                <a:gd name="T23" fmla="*/ 87 h 89"/>
                <a:gd name="T24" fmla="*/ 53 w 55"/>
                <a:gd name="T25" fmla="*/ 71 h 89"/>
                <a:gd name="T26" fmla="*/ 53 w 55"/>
                <a:gd name="T27" fmla="*/ 26 h 89"/>
                <a:gd name="T28" fmla="*/ 27 w 55"/>
                <a:gd name="T29" fmla="*/ 0 h 89"/>
                <a:gd name="T30" fmla="*/ 2 w 55"/>
                <a:gd name="T31" fmla="*/ 26 h 89"/>
                <a:gd name="T32" fmla="*/ 2 w 55"/>
                <a:gd name="T33" fmla="*/ 28 h 89"/>
                <a:gd name="T34" fmla="*/ 18 w 55"/>
                <a:gd name="T35" fmla="*/ 28 h 89"/>
                <a:gd name="T36" fmla="*/ 35 w 55"/>
                <a:gd name="T37" fmla="*/ 61 h 89"/>
                <a:gd name="T38" fmla="*/ 25 w 55"/>
                <a:gd name="T39" fmla="*/ 75 h 89"/>
                <a:gd name="T40" fmla="*/ 24 w 55"/>
                <a:gd name="T41" fmla="*/ 75 h 89"/>
                <a:gd name="T42" fmla="*/ 17 w 55"/>
                <a:gd name="T43" fmla="*/ 63 h 89"/>
                <a:gd name="T44" fmla="*/ 28 w 55"/>
                <a:gd name="T45" fmla="*/ 49 h 89"/>
                <a:gd name="T46" fmla="*/ 36 w 55"/>
                <a:gd name="T47" fmla="*/ 45 h 89"/>
                <a:gd name="T48" fmla="*/ 36 w 55"/>
                <a:gd name="T49" fmla="*/ 61 h 89"/>
                <a:gd name="T50" fmla="*/ 35 w 55"/>
                <a:gd name="T51" fmla="*/ 61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5" h="89">
                  <a:moveTo>
                    <a:pt x="18" y="28"/>
                  </a:moveTo>
                  <a:cubicBezTo>
                    <a:pt x="18" y="26"/>
                    <a:pt x="18" y="26"/>
                    <a:pt x="18" y="26"/>
                  </a:cubicBezTo>
                  <a:cubicBezTo>
                    <a:pt x="18" y="19"/>
                    <a:pt x="21" y="15"/>
                    <a:pt x="27" y="15"/>
                  </a:cubicBezTo>
                  <a:cubicBezTo>
                    <a:pt x="32" y="15"/>
                    <a:pt x="35" y="19"/>
                    <a:pt x="35" y="25"/>
                  </a:cubicBezTo>
                  <a:cubicBezTo>
                    <a:pt x="36" y="30"/>
                    <a:pt x="33" y="34"/>
                    <a:pt x="28" y="35"/>
                  </a:cubicBezTo>
                  <a:cubicBezTo>
                    <a:pt x="18" y="38"/>
                    <a:pt x="18" y="38"/>
                    <a:pt x="18" y="38"/>
                  </a:cubicBezTo>
                  <a:cubicBezTo>
                    <a:pt x="5" y="42"/>
                    <a:pt x="0" y="49"/>
                    <a:pt x="0" y="65"/>
                  </a:cubicBezTo>
                  <a:cubicBezTo>
                    <a:pt x="0" y="76"/>
                    <a:pt x="4" y="89"/>
                    <a:pt x="17" y="89"/>
                  </a:cubicBezTo>
                  <a:cubicBezTo>
                    <a:pt x="26" y="89"/>
                    <a:pt x="31" y="87"/>
                    <a:pt x="35" y="78"/>
                  </a:cubicBezTo>
                  <a:cubicBezTo>
                    <a:pt x="35" y="78"/>
                    <a:pt x="35" y="78"/>
                    <a:pt x="35" y="78"/>
                  </a:cubicBezTo>
                  <a:cubicBezTo>
                    <a:pt x="36" y="81"/>
                    <a:pt x="37" y="84"/>
                    <a:pt x="38" y="87"/>
                  </a:cubicBezTo>
                  <a:cubicBezTo>
                    <a:pt x="55" y="87"/>
                    <a:pt x="55" y="87"/>
                    <a:pt x="55" y="87"/>
                  </a:cubicBezTo>
                  <a:cubicBezTo>
                    <a:pt x="53" y="82"/>
                    <a:pt x="53" y="76"/>
                    <a:pt x="53" y="71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53" y="11"/>
                    <a:pt x="49" y="0"/>
                    <a:pt x="27" y="0"/>
                  </a:cubicBezTo>
                  <a:cubicBezTo>
                    <a:pt x="13" y="0"/>
                    <a:pt x="2" y="6"/>
                    <a:pt x="2" y="26"/>
                  </a:cubicBezTo>
                  <a:cubicBezTo>
                    <a:pt x="2" y="28"/>
                    <a:pt x="2" y="28"/>
                    <a:pt x="2" y="28"/>
                  </a:cubicBezTo>
                  <a:lnTo>
                    <a:pt x="18" y="28"/>
                  </a:lnTo>
                  <a:close/>
                  <a:moveTo>
                    <a:pt x="35" y="61"/>
                  </a:moveTo>
                  <a:cubicBezTo>
                    <a:pt x="36" y="68"/>
                    <a:pt x="31" y="74"/>
                    <a:pt x="25" y="75"/>
                  </a:cubicBezTo>
                  <a:cubicBezTo>
                    <a:pt x="24" y="75"/>
                    <a:pt x="24" y="75"/>
                    <a:pt x="24" y="75"/>
                  </a:cubicBezTo>
                  <a:cubicBezTo>
                    <a:pt x="19" y="75"/>
                    <a:pt x="17" y="69"/>
                    <a:pt x="17" y="63"/>
                  </a:cubicBezTo>
                  <a:cubicBezTo>
                    <a:pt x="16" y="56"/>
                    <a:pt x="21" y="50"/>
                    <a:pt x="28" y="49"/>
                  </a:cubicBezTo>
                  <a:cubicBezTo>
                    <a:pt x="30" y="48"/>
                    <a:pt x="33" y="46"/>
                    <a:pt x="36" y="45"/>
                  </a:cubicBezTo>
                  <a:cubicBezTo>
                    <a:pt x="36" y="61"/>
                    <a:pt x="36" y="61"/>
                    <a:pt x="36" y="61"/>
                  </a:cubicBezTo>
                  <a:lnTo>
                    <a:pt x="35" y="61"/>
                  </a:lnTo>
                  <a:close/>
                </a:path>
              </a:pathLst>
            </a:custGeom>
            <a:solidFill>
              <a:srgbClr val="007C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04" name="Freeform 12"/>
            <p:cNvSpPr>
              <a:spLocks noEditPoints="1"/>
            </p:cNvSpPr>
            <p:nvPr userDrawn="1"/>
          </p:nvSpPr>
          <p:spPr bwMode="gray">
            <a:xfrm>
              <a:off x="11166444" y="2489191"/>
              <a:ext cx="211137" cy="431799"/>
            </a:xfrm>
            <a:custGeom>
              <a:avLst/>
              <a:gdLst>
                <a:gd name="T0" fmla="*/ 19 w 56"/>
                <a:gd name="T1" fmla="*/ 45 h 115"/>
                <a:gd name="T2" fmla="*/ 28 w 56"/>
                <a:gd name="T3" fmla="*/ 17 h 115"/>
                <a:gd name="T4" fmla="*/ 38 w 56"/>
                <a:gd name="T5" fmla="*/ 45 h 115"/>
                <a:gd name="T6" fmla="*/ 28 w 56"/>
                <a:gd name="T7" fmla="*/ 73 h 115"/>
                <a:gd name="T8" fmla="*/ 19 w 56"/>
                <a:gd name="T9" fmla="*/ 45 h 115"/>
                <a:gd name="T10" fmla="*/ 0 w 56"/>
                <a:gd name="T11" fmla="*/ 115 h 115"/>
                <a:gd name="T12" fmla="*/ 19 w 56"/>
                <a:gd name="T13" fmla="*/ 115 h 115"/>
                <a:gd name="T14" fmla="*/ 19 w 56"/>
                <a:gd name="T15" fmla="*/ 79 h 115"/>
                <a:gd name="T16" fmla="*/ 19 w 56"/>
                <a:gd name="T17" fmla="*/ 79 h 115"/>
                <a:gd name="T18" fmla="*/ 34 w 56"/>
                <a:gd name="T19" fmla="*/ 89 h 115"/>
                <a:gd name="T20" fmla="*/ 56 w 56"/>
                <a:gd name="T21" fmla="*/ 45 h 115"/>
                <a:gd name="T22" fmla="*/ 34 w 56"/>
                <a:gd name="T23" fmla="*/ 0 h 115"/>
                <a:gd name="T24" fmla="*/ 18 w 56"/>
                <a:gd name="T25" fmla="*/ 11 h 115"/>
                <a:gd name="T26" fmla="*/ 18 w 56"/>
                <a:gd name="T27" fmla="*/ 11 h 115"/>
                <a:gd name="T28" fmla="*/ 18 w 56"/>
                <a:gd name="T29" fmla="*/ 2 h 115"/>
                <a:gd name="T30" fmla="*/ 0 w 56"/>
                <a:gd name="T31" fmla="*/ 2 h 115"/>
                <a:gd name="T32" fmla="*/ 0 w 56"/>
                <a:gd name="T33" fmla="*/ 11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115">
                  <a:moveTo>
                    <a:pt x="19" y="45"/>
                  </a:moveTo>
                  <a:cubicBezTo>
                    <a:pt x="19" y="26"/>
                    <a:pt x="20" y="17"/>
                    <a:pt x="28" y="17"/>
                  </a:cubicBezTo>
                  <a:cubicBezTo>
                    <a:pt x="37" y="17"/>
                    <a:pt x="38" y="26"/>
                    <a:pt x="38" y="45"/>
                  </a:cubicBezTo>
                  <a:cubicBezTo>
                    <a:pt x="38" y="63"/>
                    <a:pt x="36" y="73"/>
                    <a:pt x="28" y="73"/>
                  </a:cubicBezTo>
                  <a:cubicBezTo>
                    <a:pt x="20" y="73"/>
                    <a:pt x="19" y="63"/>
                    <a:pt x="19" y="45"/>
                  </a:cubicBezTo>
                  <a:close/>
                  <a:moveTo>
                    <a:pt x="0" y="115"/>
                  </a:moveTo>
                  <a:cubicBezTo>
                    <a:pt x="19" y="115"/>
                    <a:pt x="19" y="115"/>
                    <a:pt x="19" y="115"/>
                  </a:cubicBezTo>
                  <a:cubicBezTo>
                    <a:pt x="19" y="79"/>
                    <a:pt x="19" y="79"/>
                    <a:pt x="19" y="79"/>
                  </a:cubicBezTo>
                  <a:cubicBezTo>
                    <a:pt x="19" y="79"/>
                    <a:pt x="19" y="79"/>
                    <a:pt x="19" y="79"/>
                  </a:cubicBezTo>
                  <a:cubicBezTo>
                    <a:pt x="22" y="85"/>
                    <a:pt x="28" y="89"/>
                    <a:pt x="34" y="89"/>
                  </a:cubicBezTo>
                  <a:cubicBezTo>
                    <a:pt x="49" y="89"/>
                    <a:pt x="56" y="76"/>
                    <a:pt x="56" y="45"/>
                  </a:cubicBezTo>
                  <a:cubicBezTo>
                    <a:pt x="56" y="13"/>
                    <a:pt x="49" y="0"/>
                    <a:pt x="34" y="0"/>
                  </a:cubicBezTo>
                  <a:cubicBezTo>
                    <a:pt x="27" y="0"/>
                    <a:pt x="22" y="3"/>
                    <a:pt x="18" y="11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15"/>
                    <a:pt x="0" y="115"/>
                    <a:pt x="0" y="115"/>
                  </a:cubicBezTo>
                  <a:close/>
                </a:path>
              </a:pathLst>
            </a:custGeom>
            <a:solidFill>
              <a:srgbClr val="007C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05" name="Freeform 13"/>
            <p:cNvSpPr>
              <a:spLocks/>
            </p:cNvSpPr>
            <p:nvPr userDrawn="1"/>
          </p:nvSpPr>
          <p:spPr bwMode="gray">
            <a:xfrm>
              <a:off x="11396631" y="2489191"/>
              <a:ext cx="198438" cy="333374"/>
            </a:xfrm>
            <a:custGeom>
              <a:avLst/>
              <a:gdLst>
                <a:gd name="T0" fmla="*/ 0 w 53"/>
                <a:gd name="T1" fmla="*/ 59 h 89"/>
                <a:gd name="T2" fmla="*/ 0 w 53"/>
                <a:gd name="T3" fmla="*/ 62 h 89"/>
                <a:gd name="T4" fmla="*/ 27 w 53"/>
                <a:gd name="T5" fmla="*/ 89 h 89"/>
                <a:gd name="T6" fmla="*/ 53 w 53"/>
                <a:gd name="T7" fmla="*/ 63 h 89"/>
                <a:gd name="T8" fmla="*/ 37 w 53"/>
                <a:gd name="T9" fmla="*/ 38 h 89"/>
                <a:gd name="T10" fmla="*/ 26 w 53"/>
                <a:gd name="T11" fmla="*/ 34 h 89"/>
                <a:gd name="T12" fmla="*/ 18 w 53"/>
                <a:gd name="T13" fmla="*/ 24 h 89"/>
                <a:gd name="T14" fmla="*/ 26 w 53"/>
                <a:gd name="T15" fmla="*/ 15 h 89"/>
                <a:gd name="T16" fmla="*/ 27 w 53"/>
                <a:gd name="T17" fmla="*/ 15 h 89"/>
                <a:gd name="T18" fmla="*/ 35 w 53"/>
                <a:gd name="T19" fmla="*/ 28 h 89"/>
                <a:gd name="T20" fmla="*/ 51 w 53"/>
                <a:gd name="T21" fmla="*/ 28 h 89"/>
                <a:gd name="T22" fmla="*/ 51 w 53"/>
                <a:gd name="T23" fmla="*/ 24 h 89"/>
                <a:gd name="T24" fmla="*/ 27 w 53"/>
                <a:gd name="T25" fmla="*/ 0 h 89"/>
                <a:gd name="T26" fmla="*/ 1 w 53"/>
                <a:gd name="T27" fmla="*/ 25 h 89"/>
                <a:gd name="T28" fmla="*/ 16 w 53"/>
                <a:gd name="T29" fmla="*/ 49 h 89"/>
                <a:gd name="T30" fmla="*/ 29 w 53"/>
                <a:gd name="T31" fmla="*/ 55 h 89"/>
                <a:gd name="T32" fmla="*/ 36 w 53"/>
                <a:gd name="T33" fmla="*/ 64 h 89"/>
                <a:gd name="T34" fmla="*/ 26 w 53"/>
                <a:gd name="T35" fmla="*/ 75 h 89"/>
                <a:gd name="T36" fmla="*/ 17 w 53"/>
                <a:gd name="T37" fmla="*/ 62 h 89"/>
                <a:gd name="T38" fmla="*/ 17 w 53"/>
                <a:gd name="T39" fmla="*/ 59 h 89"/>
                <a:gd name="T40" fmla="*/ 0 w 53"/>
                <a:gd name="T41" fmla="*/ 59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3" h="89">
                  <a:moveTo>
                    <a:pt x="0" y="59"/>
                  </a:moveTo>
                  <a:cubicBezTo>
                    <a:pt x="0" y="62"/>
                    <a:pt x="0" y="62"/>
                    <a:pt x="0" y="62"/>
                  </a:cubicBezTo>
                  <a:cubicBezTo>
                    <a:pt x="0" y="79"/>
                    <a:pt x="6" y="89"/>
                    <a:pt x="27" y="89"/>
                  </a:cubicBezTo>
                  <a:cubicBezTo>
                    <a:pt x="42" y="89"/>
                    <a:pt x="53" y="81"/>
                    <a:pt x="53" y="63"/>
                  </a:cubicBezTo>
                  <a:cubicBezTo>
                    <a:pt x="53" y="50"/>
                    <a:pt x="49" y="43"/>
                    <a:pt x="37" y="38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0" y="31"/>
                    <a:pt x="18" y="28"/>
                    <a:pt x="18" y="24"/>
                  </a:cubicBezTo>
                  <a:cubicBezTo>
                    <a:pt x="18" y="19"/>
                    <a:pt x="21" y="15"/>
                    <a:pt x="26" y="15"/>
                  </a:cubicBezTo>
                  <a:cubicBezTo>
                    <a:pt x="26" y="15"/>
                    <a:pt x="27" y="15"/>
                    <a:pt x="27" y="15"/>
                  </a:cubicBezTo>
                  <a:cubicBezTo>
                    <a:pt x="33" y="15"/>
                    <a:pt x="35" y="19"/>
                    <a:pt x="35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4"/>
                    <a:pt x="51" y="24"/>
                    <a:pt x="51" y="24"/>
                  </a:cubicBezTo>
                  <a:cubicBezTo>
                    <a:pt x="51" y="9"/>
                    <a:pt x="43" y="0"/>
                    <a:pt x="27" y="0"/>
                  </a:cubicBezTo>
                  <a:cubicBezTo>
                    <a:pt x="8" y="0"/>
                    <a:pt x="1" y="11"/>
                    <a:pt x="1" y="25"/>
                  </a:cubicBezTo>
                  <a:cubicBezTo>
                    <a:pt x="0" y="36"/>
                    <a:pt x="6" y="46"/>
                    <a:pt x="16" y="49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33" y="56"/>
                    <a:pt x="36" y="60"/>
                    <a:pt x="36" y="64"/>
                  </a:cubicBezTo>
                  <a:cubicBezTo>
                    <a:pt x="36" y="71"/>
                    <a:pt x="32" y="75"/>
                    <a:pt x="26" y="75"/>
                  </a:cubicBezTo>
                  <a:cubicBezTo>
                    <a:pt x="20" y="75"/>
                    <a:pt x="17" y="70"/>
                    <a:pt x="17" y="62"/>
                  </a:cubicBezTo>
                  <a:cubicBezTo>
                    <a:pt x="17" y="59"/>
                    <a:pt x="17" y="59"/>
                    <a:pt x="17" y="59"/>
                  </a:cubicBezTo>
                  <a:lnTo>
                    <a:pt x="0" y="59"/>
                  </a:lnTo>
                  <a:close/>
                </a:path>
              </a:pathLst>
            </a:custGeom>
            <a:solidFill>
              <a:srgbClr val="007C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06" name="Freeform 14"/>
            <p:cNvSpPr>
              <a:spLocks/>
            </p:cNvSpPr>
            <p:nvPr userDrawn="1"/>
          </p:nvSpPr>
          <p:spPr bwMode="gray">
            <a:xfrm>
              <a:off x="11598243" y="2406642"/>
              <a:ext cx="146050" cy="412749"/>
            </a:xfrm>
            <a:custGeom>
              <a:avLst/>
              <a:gdLst>
                <a:gd name="T0" fmla="*/ 10 w 39"/>
                <a:gd name="T1" fmla="*/ 24 h 110"/>
                <a:gd name="T2" fmla="*/ 0 w 39"/>
                <a:gd name="T3" fmla="*/ 24 h 110"/>
                <a:gd name="T4" fmla="*/ 0 w 39"/>
                <a:gd name="T5" fmla="*/ 39 h 110"/>
                <a:gd name="T6" fmla="*/ 10 w 39"/>
                <a:gd name="T7" fmla="*/ 39 h 110"/>
                <a:gd name="T8" fmla="*/ 10 w 39"/>
                <a:gd name="T9" fmla="*/ 88 h 110"/>
                <a:gd name="T10" fmla="*/ 27 w 39"/>
                <a:gd name="T11" fmla="*/ 110 h 110"/>
                <a:gd name="T12" fmla="*/ 39 w 39"/>
                <a:gd name="T13" fmla="*/ 109 h 110"/>
                <a:gd name="T14" fmla="*/ 39 w 39"/>
                <a:gd name="T15" fmla="*/ 94 h 110"/>
                <a:gd name="T16" fmla="*/ 35 w 39"/>
                <a:gd name="T17" fmla="*/ 94 h 110"/>
                <a:gd name="T18" fmla="*/ 28 w 39"/>
                <a:gd name="T19" fmla="*/ 85 h 110"/>
                <a:gd name="T20" fmla="*/ 28 w 39"/>
                <a:gd name="T21" fmla="*/ 39 h 110"/>
                <a:gd name="T22" fmla="*/ 39 w 39"/>
                <a:gd name="T23" fmla="*/ 39 h 110"/>
                <a:gd name="T24" fmla="*/ 39 w 39"/>
                <a:gd name="T25" fmla="*/ 24 h 110"/>
                <a:gd name="T26" fmla="*/ 28 w 39"/>
                <a:gd name="T27" fmla="*/ 24 h 110"/>
                <a:gd name="T28" fmla="*/ 28 w 39"/>
                <a:gd name="T29" fmla="*/ 0 h 110"/>
                <a:gd name="T30" fmla="*/ 10 w 39"/>
                <a:gd name="T31" fmla="*/ 0 h 110"/>
                <a:gd name="T32" fmla="*/ 10 w 39"/>
                <a:gd name="T33" fmla="*/ 24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9" h="110">
                  <a:moveTo>
                    <a:pt x="10" y="24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88"/>
                    <a:pt x="10" y="88"/>
                    <a:pt x="10" y="88"/>
                  </a:cubicBezTo>
                  <a:cubicBezTo>
                    <a:pt x="10" y="105"/>
                    <a:pt x="12" y="110"/>
                    <a:pt x="27" y="110"/>
                  </a:cubicBezTo>
                  <a:cubicBezTo>
                    <a:pt x="31" y="110"/>
                    <a:pt x="35" y="110"/>
                    <a:pt x="39" y="109"/>
                  </a:cubicBezTo>
                  <a:cubicBezTo>
                    <a:pt x="39" y="94"/>
                    <a:pt x="39" y="94"/>
                    <a:pt x="39" y="94"/>
                  </a:cubicBezTo>
                  <a:cubicBezTo>
                    <a:pt x="37" y="94"/>
                    <a:pt x="36" y="94"/>
                    <a:pt x="35" y="94"/>
                  </a:cubicBezTo>
                  <a:cubicBezTo>
                    <a:pt x="29" y="94"/>
                    <a:pt x="28" y="92"/>
                    <a:pt x="28" y="85"/>
                  </a:cubicBezTo>
                  <a:cubicBezTo>
                    <a:pt x="28" y="39"/>
                    <a:pt x="28" y="39"/>
                    <a:pt x="28" y="39"/>
                  </a:cubicBezTo>
                  <a:cubicBezTo>
                    <a:pt x="39" y="39"/>
                    <a:pt x="39" y="39"/>
                    <a:pt x="39" y="39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24"/>
                    <a:pt x="10" y="24"/>
                    <a:pt x="10" y="24"/>
                  </a:cubicBezTo>
                  <a:close/>
                </a:path>
              </a:pathLst>
            </a:custGeom>
            <a:solidFill>
              <a:srgbClr val="007C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07" name="Rectangle 15"/>
            <p:cNvSpPr>
              <a:spLocks noChangeArrowheads="1"/>
            </p:cNvSpPr>
            <p:nvPr userDrawn="1"/>
          </p:nvSpPr>
          <p:spPr bwMode="gray">
            <a:xfrm>
              <a:off x="9299549" y="3449630"/>
              <a:ext cx="2978142" cy="531810"/>
            </a:xfrm>
            <a:prstGeom prst="rect">
              <a:avLst/>
            </a:prstGeom>
            <a:solidFill>
              <a:srgbClr val="007C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08" name="Freeform 16"/>
            <p:cNvSpPr>
              <a:spLocks/>
            </p:cNvSpPr>
            <p:nvPr userDrawn="1"/>
          </p:nvSpPr>
          <p:spPr bwMode="gray">
            <a:xfrm>
              <a:off x="9850407" y="3644891"/>
              <a:ext cx="76200" cy="127000"/>
            </a:xfrm>
            <a:custGeom>
              <a:avLst/>
              <a:gdLst>
                <a:gd name="T0" fmla="*/ 20 w 20"/>
                <a:gd name="T1" fmla="*/ 34 h 34"/>
                <a:gd name="T2" fmla="*/ 17 w 20"/>
                <a:gd name="T3" fmla="*/ 34 h 34"/>
                <a:gd name="T4" fmla="*/ 14 w 20"/>
                <a:gd name="T5" fmla="*/ 34 h 34"/>
                <a:gd name="T6" fmla="*/ 9 w 20"/>
                <a:gd name="T7" fmla="*/ 33 h 34"/>
                <a:gd name="T8" fmla="*/ 6 w 20"/>
                <a:gd name="T9" fmla="*/ 30 h 34"/>
                <a:gd name="T10" fmla="*/ 5 w 20"/>
                <a:gd name="T11" fmla="*/ 26 h 34"/>
                <a:gd name="T12" fmla="*/ 5 w 20"/>
                <a:gd name="T13" fmla="*/ 12 h 34"/>
                <a:gd name="T14" fmla="*/ 0 w 20"/>
                <a:gd name="T15" fmla="*/ 12 h 34"/>
                <a:gd name="T16" fmla="*/ 0 w 20"/>
                <a:gd name="T17" fmla="*/ 7 h 34"/>
                <a:gd name="T18" fmla="*/ 5 w 20"/>
                <a:gd name="T19" fmla="*/ 7 h 34"/>
                <a:gd name="T20" fmla="*/ 5 w 20"/>
                <a:gd name="T21" fmla="*/ 0 h 34"/>
                <a:gd name="T22" fmla="*/ 11 w 20"/>
                <a:gd name="T23" fmla="*/ 0 h 34"/>
                <a:gd name="T24" fmla="*/ 11 w 20"/>
                <a:gd name="T25" fmla="*/ 7 h 34"/>
                <a:gd name="T26" fmla="*/ 19 w 20"/>
                <a:gd name="T27" fmla="*/ 7 h 34"/>
                <a:gd name="T28" fmla="*/ 19 w 20"/>
                <a:gd name="T29" fmla="*/ 12 h 34"/>
                <a:gd name="T30" fmla="*/ 11 w 20"/>
                <a:gd name="T31" fmla="*/ 12 h 34"/>
                <a:gd name="T32" fmla="*/ 11 w 20"/>
                <a:gd name="T33" fmla="*/ 25 h 34"/>
                <a:gd name="T34" fmla="*/ 12 w 20"/>
                <a:gd name="T35" fmla="*/ 27 h 34"/>
                <a:gd name="T36" fmla="*/ 15 w 20"/>
                <a:gd name="T37" fmla="*/ 29 h 34"/>
                <a:gd name="T38" fmla="*/ 17 w 20"/>
                <a:gd name="T39" fmla="*/ 29 h 34"/>
                <a:gd name="T40" fmla="*/ 19 w 20"/>
                <a:gd name="T41" fmla="*/ 28 h 34"/>
                <a:gd name="T42" fmla="*/ 20 w 20"/>
                <a:gd name="T43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0" h="34">
                  <a:moveTo>
                    <a:pt x="20" y="34"/>
                  </a:moveTo>
                  <a:cubicBezTo>
                    <a:pt x="19" y="34"/>
                    <a:pt x="18" y="34"/>
                    <a:pt x="17" y="34"/>
                  </a:cubicBezTo>
                  <a:cubicBezTo>
                    <a:pt x="16" y="34"/>
                    <a:pt x="15" y="34"/>
                    <a:pt x="14" y="34"/>
                  </a:cubicBezTo>
                  <a:cubicBezTo>
                    <a:pt x="12" y="34"/>
                    <a:pt x="10" y="34"/>
                    <a:pt x="9" y="33"/>
                  </a:cubicBezTo>
                  <a:cubicBezTo>
                    <a:pt x="7" y="32"/>
                    <a:pt x="6" y="31"/>
                    <a:pt x="6" y="30"/>
                  </a:cubicBezTo>
                  <a:cubicBezTo>
                    <a:pt x="5" y="29"/>
                    <a:pt x="5" y="27"/>
                    <a:pt x="5" y="26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12"/>
                    <a:pt x="19" y="12"/>
                    <a:pt x="19" y="12"/>
                  </a:cubicBezTo>
                  <a:cubicBezTo>
                    <a:pt x="11" y="12"/>
                    <a:pt x="11" y="12"/>
                    <a:pt x="11" y="12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6"/>
                    <a:pt x="12" y="27"/>
                    <a:pt x="12" y="27"/>
                  </a:cubicBezTo>
                  <a:cubicBezTo>
                    <a:pt x="13" y="28"/>
                    <a:pt x="14" y="29"/>
                    <a:pt x="15" y="29"/>
                  </a:cubicBezTo>
                  <a:cubicBezTo>
                    <a:pt x="16" y="29"/>
                    <a:pt x="17" y="29"/>
                    <a:pt x="17" y="29"/>
                  </a:cubicBezTo>
                  <a:cubicBezTo>
                    <a:pt x="18" y="28"/>
                    <a:pt x="19" y="28"/>
                    <a:pt x="19" y="28"/>
                  </a:cubicBezTo>
                  <a:lnTo>
                    <a:pt x="20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09" name="Freeform 17"/>
            <p:cNvSpPr>
              <a:spLocks/>
            </p:cNvSpPr>
            <p:nvPr userDrawn="1"/>
          </p:nvSpPr>
          <p:spPr bwMode="gray">
            <a:xfrm>
              <a:off x="9944072" y="3621076"/>
              <a:ext cx="90487" cy="150812"/>
            </a:xfrm>
            <a:custGeom>
              <a:avLst/>
              <a:gdLst>
                <a:gd name="T0" fmla="*/ 6 w 24"/>
                <a:gd name="T1" fmla="*/ 11 h 40"/>
                <a:gd name="T2" fmla="*/ 6 w 24"/>
                <a:gd name="T3" fmla="*/ 14 h 40"/>
                <a:gd name="T4" fmla="*/ 6 w 24"/>
                <a:gd name="T5" fmla="*/ 17 h 40"/>
                <a:gd name="T6" fmla="*/ 6 w 24"/>
                <a:gd name="T7" fmla="*/ 17 h 40"/>
                <a:gd name="T8" fmla="*/ 8 w 24"/>
                <a:gd name="T9" fmla="*/ 15 h 40"/>
                <a:gd name="T10" fmla="*/ 10 w 24"/>
                <a:gd name="T11" fmla="*/ 14 h 40"/>
                <a:gd name="T12" fmla="*/ 12 w 24"/>
                <a:gd name="T13" fmla="*/ 13 h 40"/>
                <a:gd name="T14" fmla="*/ 15 w 24"/>
                <a:gd name="T15" fmla="*/ 13 h 40"/>
                <a:gd name="T16" fmla="*/ 17 w 24"/>
                <a:gd name="T17" fmla="*/ 13 h 40"/>
                <a:gd name="T18" fmla="*/ 19 w 24"/>
                <a:gd name="T19" fmla="*/ 14 h 40"/>
                <a:gd name="T20" fmla="*/ 21 w 24"/>
                <a:gd name="T21" fmla="*/ 15 h 40"/>
                <a:gd name="T22" fmla="*/ 23 w 24"/>
                <a:gd name="T23" fmla="*/ 17 h 40"/>
                <a:gd name="T24" fmla="*/ 24 w 24"/>
                <a:gd name="T25" fmla="*/ 20 h 40"/>
                <a:gd name="T26" fmla="*/ 24 w 24"/>
                <a:gd name="T27" fmla="*/ 23 h 40"/>
                <a:gd name="T28" fmla="*/ 24 w 24"/>
                <a:gd name="T29" fmla="*/ 40 h 40"/>
                <a:gd name="T30" fmla="*/ 17 w 24"/>
                <a:gd name="T31" fmla="*/ 40 h 40"/>
                <a:gd name="T32" fmla="*/ 17 w 24"/>
                <a:gd name="T33" fmla="*/ 24 h 40"/>
                <a:gd name="T34" fmla="*/ 17 w 24"/>
                <a:gd name="T35" fmla="*/ 22 h 40"/>
                <a:gd name="T36" fmla="*/ 17 w 24"/>
                <a:gd name="T37" fmla="*/ 20 h 40"/>
                <a:gd name="T38" fmla="*/ 15 w 24"/>
                <a:gd name="T39" fmla="*/ 19 h 40"/>
                <a:gd name="T40" fmla="*/ 13 w 24"/>
                <a:gd name="T41" fmla="*/ 18 h 40"/>
                <a:gd name="T42" fmla="*/ 9 w 24"/>
                <a:gd name="T43" fmla="*/ 19 h 40"/>
                <a:gd name="T44" fmla="*/ 6 w 24"/>
                <a:gd name="T45" fmla="*/ 22 h 40"/>
                <a:gd name="T46" fmla="*/ 6 w 24"/>
                <a:gd name="T47" fmla="*/ 40 h 40"/>
                <a:gd name="T48" fmla="*/ 0 w 24"/>
                <a:gd name="T49" fmla="*/ 40 h 40"/>
                <a:gd name="T50" fmla="*/ 0 w 24"/>
                <a:gd name="T51" fmla="*/ 0 h 40"/>
                <a:gd name="T52" fmla="*/ 6 w 24"/>
                <a:gd name="T53" fmla="*/ 0 h 40"/>
                <a:gd name="T54" fmla="*/ 6 w 24"/>
                <a:gd name="T55" fmla="*/ 11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4" h="40">
                  <a:moveTo>
                    <a:pt x="6" y="11"/>
                  </a:moveTo>
                  <a:cubicBezTo>
                    <a:pt x="6" y="12"/>
                    <a:pt x="6" y="13"/>
                    <a:pt x="6" y="14"/>
                  </a:cubicBezTo>
                  <a:cubicBezTo>
                    <a:pt x="6" y="15"/>
                    <a:pt x="6" y="16"/>
                    <a:pt x="6" y="17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7" y="16"/>
                    <a:pt x="7" y="16"/>
                    <a:pt x="8" y="15"/>
                  </a:cubicBezTo>
                  <a:cubicBezTo>
                    <a:pt x="8" y="15"/>
                    <a:pt x="9" y="14"/>
                    <a:pt x="10" y="14"/>
                  </a:cubicBezTo>
                  <a:cubicBezTo>
                    <a:pt x="10" y="14"/>
                    <a:pt x="11" y="13"/>
                    <a:pt x="12" y="13"/>
                  </a:cubicBezTo>
                  <a:cubicBezTo>
                    <a:pt x="13" y="13"/>
                    <a:pt x="14" y="13"/>
                    <a:pt x="15" y="13"/>
                  </a:cubicBezTo>
                  <a:cubicBezTo>
                    <a:pt x="15" y="13"/>
                    <a:pt x="16" y="13"/>
                    <a:pt x="17" y="13"/>
                  </a:cubicBezTo>
                  <a:cubicBezTo>
                    <a:pt x="18" y="13"/>
                    <a:pt x="19" y="13"/>
                    <a:pt x="19" y="14"/>
                  </a:cubicBezTo>
                  <a:cubicBezTo>
                    <a:pt x="20" y="14"/>
                    <a:pt x="21" y="15"/>
                    <a:pt x="21" y="15"/>
                  </a:cubicBezTo>
                  <a:cubicBezTo>
                    <a:pt x="22" y="16"/>
                    <a:pt x="22" y="16"/>
                    <a:pt x="23" y="17"/>
                  </a:cubicBezTo>
                  <a:cubicBezTo>
                    <a:pt x="23" y="18"/>
                    <a:pt x="23" y="19"/>
                    <a:pt x="24" y="20"/>
                  </a:cubicBezTo>
                  <a:cubicBezTo>
                    <a:pt x="24" y="21"/>
                    <a:pt x="24" y="22"/>
                    <a:pt x="24" y="23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17" y="40"/>
                    <a:pt x="17" y="40"/>
                    <a:pt x="17" y="40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3"/>
                    <a:pt x="17" y="22"/>
                    <a:pt x="17" y="22"/>
                  </a:cubicBezTo>
                  <a:cubicBezTo>
                    <a:pt x="17" y="21"/>
                    <a:pt x="17" y="21"/>
                    <a:pt x="17" y="20"/>
                  </a:cubicBezTo>
                  <a:cubicBezTo>
                    <a:pt x="17" y="20"/>
                    <a:pt x="16" y="19"/>
                    <a:pt x="15" y="19"/>
                  </a:cubicBezTo>
                  <a:cubicBezTo>
                    <a:pt x="14" y="18"/>
                    <a:pt x="14" y="18"/>
                    <a:pt x="13" y="18"/>
                  </a:cubicBezTo>
                  <a:cubicBezTo>
                    <a:pt x="12" y="18"/>
                    <a:pt x="10" y="18"/>
                    <a:pt x="9" y="19"/>
                  </a:cubicBezTo>
                  <a:cubicBezTo>
                    <a:pt x="8" y="20"/>
                    <a:pt x="7" y="20"/>
                    <a:pt x="6" y="22"/>
                  </a:cubicBezTo>
                  <a:cubicBezTo>
                    <a:pt x="6" y="40"/>
                    <a:pt x="6" y="40"/>
                    <a:pt x="6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" y="0"/>
                    <a:pt x="6" y="0"/>
                    <a:pt x="6" y="0"/>
                  </a:cubicBezTo>
                  <a:lnTo>
                    <a:pt x="6" y="1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10" name="Freeform 18"/>
            <p:cNvSpPr>
              <a:spLocks noEditPoints="1"/>
            </p:cNvSpPr>
            <p:nvPr userDrawn="1"/>
          </p:nvSpPr>
          <p:spPr bwMode="gray">
            <a:xfrm>
              <a:off x="10053611" y="3670288"/>
              <a:ext cx="90487" cy="101599"/>
            </a:xfrm>
            <a:custGeom>
              <a:avLst/>
              <a:gdLst>
                <a:gd name="T0" fmla="*/ 15 w 24"/>
                <a:gd name="T1" fmla="*/ 22 h 27"/>
                <a:gd name="T2" fmla="*/ 19 w 24"/>
                <a:gd name="T3" fmla="*/ 22 h 27"/>
                <a:gd name="T4" fmla="*/ 23 w 24"/>
                <a:gd name="T5" fmla="*/ 21 h 27"/>
                <a:gd name="T6" fmla="*/ 23 w 24"/>
                <a:gd name="T7" fmla="*/ 26 h 27"/>
                <a:gd name="T8" fmla="*/ 19 w 24"/>
                <a:gd name="T9" fmla="*/ 27 h 27"/>
                <a:gd name="T10" fmla="*/ 14 w 24"/>
                <a:gd name="T11" fmla="*/ 27 h 27"/>
                <a:gd name="T12" fmla="*/ 9 w 24"/>
                <a:gd name="T13" fmla="*/ 27 h 27"/>
                <a:gd name="T14" fmla="*/ 4 w 24"/>
                <a:gd name="T15" fmla="*/ 24 h 27"/>
                <a:gd name="T16" fmla="*/ 1 w 24"/>
                <a:gd name="T17" fmla="*/ 20 h 27"/>
                <a:gd name="T18" fmla="*/ 0 w 24"/>
                <a:gd name="T19" fmla="*/ 14 h 27"/>
                <a:gd name="T20" fmla="*/ 1 w 24"/>
                <a:gd name="T21" fmla="*/ 8 h 27"/>
                <a:gd name="T22" fmla="*/ 4 w 24"/>
                <a:gd name="T23" fmla="*/ 3 h 27"/>
                <a:gd name="T24" fmla="*/ 8 w 24"/>
                <a:gd name="T25" fmla="*/ 1 h 27"/>
                <a:gd name="T26" fmla="*/ 13 w 24"/>
                <a:gd name="T27" fmla="*/ 0 h 27"/>
                <a:gd name="T28" fmla="*/ 17 w 24"/>
                <a:gd name="T29" fmla="*/ 1 h 27"/>
                <a:gd name="T30" fmla="*/ 21 w 24"/>
                <a:gd name="T31" fmla="*/ 3 h 27"/>
                <a:gd name="T32" fmla="*/ 23 w 24"/>
                <a:gd name="T33" fmla="*/ 7 h 27"/>
                <a:gd name="T34" fmla="*/ 24 w 24"/>
                <a:gd name="T35" fmla="*/ 13 h 27"/>
                <a:gd name="T36" fmla="*/ 24 w 24"/>
                <a:gd name="T37" fmla="*/ 15 h 27"/>
                <a:gd name="T38" fmla="*/ 7 w 24"/>
                <a:gd name="T39" fmla="*/ 15 h 27"/>
                <a:gd name="T40" fmla="*/ 8 w 24"/>
                <a:gd name="T41" fmla="*/ 18 h 27"/>
                <a:gd name="T42" fmla="*/ 10 w 24"/>
                <a:gd name="T43" fmla="*/ 21 h 27"/>
                <a:gd name="T44" fmla="*/ 12 w 24"/>
                <a:gd name="T45" fmla="*/ 22 h 27"/>
                <a:gd name="T46" fmla="*/ 15 w 24"/>
                <a:gd name="T47" fmla="*/ 22 h 27"/>
                <a:gd name="T48" fmla="*/ 13 w 24"/>
                <a:gd name="T49" fmla="*/ 5 h 27"/>
                <a:gd name="T50" fmla="*/ 10 w 24"/>
                <a:gd name="T51" fmla="*/ 5 h 27"/>
                <a:gd name="T52" fmla="*/ 9 w 24"/>
                <a:gd name="T53" fmla="*/ 6 h 27"/>
                <a:gd name="T54" fmla="*/ 8 w 24"/>
                <a:gd name="T55" fmla="*/ 8 h 27"/>
                <a:gd name="T56" fmla="*/ 7 w 24"/>
                <a:gd name="T57" fmla="*/ 10 h 27"/>
                <a:gd name="T58" fmla="*/ 18 w 24"/>
                <a:gd name="T59" fmla="*/ 10 h 27"/>
                <a:gd name="T60" fmla="*/ 17 w 24"/>
                <a:gd name="T61" fmla="*/ 8 h 27"/>
                <a:gd name="T62" fmla="*/ 16 w 24"/>
                <a:gd name="T63" fmla="*/ 6 h 27"/>
                <a:gd name="T64" fmla="*/ 13 w 24"/>
                <a:gd name="T65" fmla="*/ 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4" h="27">
                  <a:moveTo>
                    <a:pt x="15" y="22"/>
                  </a:moveTo>
                  <a:cubicBezTo>
                    <a:pt x="17" y="22"/>
                    <a:pt x="18" y="22"/>
                    <a:pt x="19" y="22"/>
                  </a:cubicBezTo>
                  <a:cubicBezTo>
                    <a:pt x="21" y="21"/>
                    <a:pt x="22" y="21"/>
                    <a:pt x="23" y="21"/>
                  </a:cubicBezTo>
                  <a:cubicBezTo>
                    <a:pt x="23" y="26"/>
                    <a:pt x="23" y="26"/>
                    <a:pt x="23" y="26"/>
                  </a:cubicBezTo>
                  <a:cubicBezTo>
                    <a:pt x="22" y="26"/>
                    <a:pt x="21" y="27"/>
                    <a:pt x="19" y="27"/>
                  </a:cubicBezTo>
                  <a:cubicBezTo>
                    <a:pt x="17" y="27"/>
                    <a:pt x="16" y="27"/>
                    <a:pt x="14" y="27"/>
                  </a:cubicBezTo>
                  <a:cubicBezTo>
                    <a:pt x="12" y="27"/>
                    <a:pt x="10" y="27"/>
                    <a:pt x="9" y="27"/>
                  </a:cubicBezTo>
                  <a:cubicBezTo>
                    <a:pt x="7" y="26"/>
                    <a:pt x="5" y="25"/>
                    <a:pt x="4" y="24"/>
                  </a:cubicBezTo>
                  <a:cubicBezTo>
                    <a:pt x="3" y="23"/>
                    <a:pt x="2" y="22"/>
                    <a:pt x="1" y="20"/>
                  </a:cubicBezTo>
                  <a:cubicBezTo>
                    <a:pt x="0" y="18"/>
                    <a:pt x="0" y="16"/>
                    <a:pt x="0" y="14"/>
                  </a:cubicBezTo>
                  <a:cubicBezTo>
                    <a:pt x="0" y="12"/>
                    <a:pt x="0" y="10"/>
                    <a:pt x="1" y="8"/>
                  </a:cubicBezTo>
                  <a:cubicBezTo>
                    <a:pt x="2" y="6"/>
                    <a:pt x="3" y="5"/>
                    <a:pt x="4" y="3"/>
                  </a:cubicBezTo>
                  <a:cubicBezTo>
                    <a:pt x="5" y="2"/>
                    <a:pt x="6" y="1"/>
                    <a:pt x="8" y="1"/>
                  </a:cubicBezTo>
                  <a:cubicBezTo>
                    <a:pt x="9" y="0"/>
                    <a:pt x="11" y="0"/>
                    <a:pt x="13" y="0"/>
                  </a:cubicBezTo>
                  <a:cubicBezTo>
                    <a:pt x="14" y="0"/>
                    <a:pt x="16" y="0"/>
                    <a:pt x="17" y="1"/>
                  </a:cubicBezTo>
                  <a:cubicBezTo>
                    <a:pt x="19" y="1"/>
                    <a:pt x="20" y="2"/>
                    <a:pt x="21" y="3"/>
                  </a:cubicBezTo>
                  <a:cubicBezTo>
                    <a:pt x="22" y="4"/>
                    <a:pt x="23" y="5"/>
                    <a:pt x="23" y="7"/>
                  </a:cubicBezTo>
                  <a:cubicBezTo>
                    <a:pt x="24" y="9"/>
                    <a:pt x="24" y="11"/>
                    <a:pt x="24" y="13"/>
                  </a:cubicBezTo>
                  <a:cubicBezTo>
                    <a:pt x="24" y="14"/>
                    <a:pt x="24" y="15"/>
                    <a:pt x="24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6"/>
                    <a:pt x="7" y="17"/>
                    <a:pt x="8" y="18"/>
                  </a:cubicBezTo>
                  <a:cubicBezTo>
                    <a:pt x="8" y="19"/>
                    <a:pt x="9" y="20"/>
                    <a:pt x="10" y="21"/>
                  </a:cubicBezTo>
                  <a:cubicBezTo>
                    <a:pt x="10" y="21"/>
                    <a:pt x="11" y="21"/>
                    <a:pt x="12" y="22"/>
                  </a:cubicBezTo>
                  <a:cubicBezTo>
                    <a:pt x="13" y="22"/>
                    <a:pt x="14" y="22"/>
                    <a:pt x="15" y="22"/>
                  </a:cubicBezTo>
                  <a:close/>
                  <a:moveTo>
                    <a:pt x="13" y="5"/>
                  </a:moveTo>
                  <a:cubicBezTo>
                    <a:pt x="12" y="5"/>
                    <a:pt x="11" y="5"/>
                    <a:pt x="10" y="5"/>
                  </a:cubicBezTo>
                  <a:cubicBezTo>
                    <a:pt x="10" y="5"/>
                    <a:pt x="9" y="6"/>
                    <a:pt x="9" y="6"/>
                  </a:cubicBezTo>
                  <a:cubicBezTo>
                    <a:pt x="8" y="7"/>
                    <a:pt x="8" y="7"/>
                    <a:pt x="8" y="8"/>
                  </a:cubicBezTo>
                  <a:cubicBezTo>
                    <a:pt x="7" y="9"/>
                    <a:pt x="7" y="10"/>
                    <a:pt x="7" y="1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8" y="10"/>
                    <a:pt x="17" y="9"/>
                    <a:pt x="17" y="8"/>
                  </a:cubicBezTo>
                  <a:cubicBezTo>
                    <a:pt x="17" y="7"/>
                    <a:pt x="17" y="7"/>
                    <a:pt x="16" y="6"/>
                  </a:cubicBezTo>
                  <a:cubicBezTo>
                    <a:pt x="15" y="5"/>
                    <a:pt x="14" y="5"/>
                    <a:pt x="13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11" name="Freeform 19"/>
            <p:cNvSpPr>
              <a:spLocks noEditPoints="1"/>
            </p:cNvSpPr>
            <p:nvPr userDrawn="1"/>
          </p:nvSpPr>
          <p:spPr bwMode="gray">
            <a:xfrm>
              <a:off x="10202835" y="3670288"/>
              <a:ext cx="90487" cy="101599"/>
            </a:xfrm>
            <a:custGeom>
              <a:avLst/>
              <a:gdLst>
                <a:gd name="T0" fmla="*/ 15 w 24"/>
                <a:gd name="T1" fmla="*/ 22 h 27"/>
                <a:gd name="T2" fmla="*/ 19 w 24"/>
                <a:gd name="T3" fmla="*/ 22 h 27"/>
                <a:gd name="T4" fmla="*/ 23 w 24"/>
                <a:gd name="T5" fmla="*/ 21 h 27"/>
                <a:gd name="T6" fmla="*/ 23 w 24"/>
                <a:gd name="T7" fmla="*/ 26 h 27"/>
                <a:gd name="T8" fmla="*/ 19 w 24"/>
                <a:gd name="T9" fmla="*/ 27 h 27"/>
                <a:gd name="T10" fmla="*/ 14 w 24"/>
                <a:gd name="T11" fmla="*/ 27 h 27"/>
                <a:gd name="T12" fmla="*/ 9 w 24"/>
                <a:gd name="T13" fmla="*/ 27 h 27"/>
                <a:gd name="T14" fmla="*/ 4 w 24"/>
                <a:gd name="T15" fmla="*/ 24 h 27"/>
                <a:gd name="T16" fmla="*/ 1 w 24"/>
                <a:gd name="T17" fmla="*/ 20 h 27"/>
                <a:gd name="T18" fmla="*/ 0 w 24"/>
                <a:gd name="T19" fmla="*/ 14 h 27"/>
                <a:gd name="T20" fmla="*/ 1 w 24"/>
                <a:gd name="T21" fmla="*/ 8 h 27"/>
                <a:gd name="T22" fmla="*/ 4 w 24"/>
                <a:gd name="T23" fmla="*/ 3 h 27"/>
                <a:gd name="T24" fmla="*/ 8 w 24"/>
                <a:gd name="T25" fmla="*/ 1 h 27"/>
                <a:gd name="T26" fmla="*/ 13 w 24"/>
                <a:gd name="T27" fmla="*/ 0 h 27"/>
                <a:gd name="T28" fmla="*/ 17 w 24"/>
                <a:gd name="T29" fmla="*/ 1 h 27"/>
                <a:gd name="T30" fmla="*/ 21 w 24"/>
                <a:gd name="T31" fmla="*/ 3 h 27"/>
                <a:gd name="T32" fmla="*/ 23 w 24"/>
                <a:gd name="T33" fmla="*/ 7 h 27"/>
                <a:gd name="T34" fmla="*/ 24 w 24"/>
                <a:gd name="T35" fmla="*/ 13 h 27"/>
                <a:gd name="T36" fmla="*/ 24 w 24"/>
                <a:gd name="T37" fmla="*/ 15 h 27"/>
                <a:gd name="T38" fmla="*/ 7 w 24"/>
                <a:gd name="T39" fmla="*/ 15 h 27"/>
                <a:gd name="T40" fmla="*/ 8 w 24"/>
                <a:gd name="T41" fmla="*/ 18 h 27"/>
                <a:gd name="T42" fmla="*/ 10 w 24"/>
                <a:gd name="T43" fmla="*/ 21 h 27"/>
                <a:gd name="T44" fmla="*/ 12 w 24"/>
                <a:gd name="T45" fmla="*/ 22 h 27"/>
                <a:gd name="T46" fmla="*/ 15 w 24"/>
                <a:gd name="T47" fmla="*/ 22 h 27"/>
                <a:gd name="T48" fmla="*/ 13 w 24"/>
                <a:gd name="T49" fmla="*/ 5 h 27"/>
                <a:gd name="T50" fmla="*/ 10 w 24"/>
                <a:gd name="T51" fmla="*/ 5 h 27"/>
                <a:gd name="T52" fmla="*/ 9 w 24"/>
                <a:gd name="T53" fmla="*/ 6 h 27"/>
                <a:gd name="T54" fmla="*/ 8 w 24"/>
                <a:gd name="T55" fmla="*/ 8 h 27"/>
                <a:gd name="T56" fmla="*/ 7 w 24"/>
                <a:gd name="T57" fmla="*/ 10 h 27"/>
                <a:gd name="T58" fmla="*/ 18 w 24"/>
                <a:gd name="T59" fmla="*/ 10 h 27"/>
                <a:gd name="T60" fmla="*/ 17 w 24"/>
                <a:gd name="T61" fmla="*/ 8 h 27"/>
                <a:gd name="T62" fmla="*/ 16 w 24"/>
                <a:gd name="T63" fmla="*/ 6 h 27"/>
                <a:gd name="T64" fmla="*/ 13 w 24"/>
                <a:gd name="T65" fmla="*/ 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4" h="27">
                  <a:moveTo>
                    <a:pt x="15" y="22"/>
                  </a:moveTo>
                  <a:cubicBezTo>
                    <a:pt x="17" y="22"/>
                    <a:pt x="18" y="22"/>
                    <a:pt x="19" y="22"/>
                  </a:cubicBezTo>
                  <a:cubicBezTo>
                    <a:pt x="21" y="21"/>
                    <a:pt x="22" y="21"/>
                    <a:pt x="23" y="21"/>
                  </a:cubicBezTo>
                  <a:cubicBezTo>
                    <a:pt x="23" y="26"/>
                    <a:pt x="23" y="26"/>
                    <a:pt x="23" y="26"/>
                  </a:cubicBezTo>
                  <a:cubicBezTo>
                    <a:pt x="22" y="26"/>
                    <a:pt x="21" y="27"/>
                    <a:pt x="19" y="27"/>
                  </a:cubicBezTo>
                  <a:cubicBezTo>
                    <a:pt x="17" y="27"/>
                    <a:pt x="16" y="27"/>
                    <a:pt x="14" y="27"/>
                  </a:cubicBezTo>
                  <a:cubicBezTo>
                    <a:pt x="12" y="27"/>
                    <a:pt x="10" y="27"/>
                    <a:pt x="9" y="27"/>
                  </a:cubicBezTo>
                  <a:cubicBezTo>
                    <a:pt x="7" y="26"/>
                    <a:pt x="5" y="25"/>
                    <a:pt x="4" y="24"/>
                  </a:cubicBezTo>
                  <a:cubicBezTo>
                    <a:pt x="3" y="23"/>
                    <a:pt x="2" y="22"/>
                    <a:pt x="1" y="20"/>
                  </a:cubicBezTo>
                  <a:cubicBezTo>
                    <a:pt x="0" y="18"/>
                    <a:pt x="0" y="16"/>
                    <a:pt x="0" y="14"/>
                  </a:cubicBezTo>
                  <a:cubicBezTo>
                    <a:pt x="0" y="12"/>
                    <a:pt x="0" y="10"/>
                    <a:pt x="1" y="8"/>
                  </a:cubicBezTo>
                  <a:cubicBezTo>
                    <a:pt x="2" y="6"/>
                    <a:pt x="3" y="5"/>
                    <a:pt x="4" y="3"/>
                  </a:cubicBezTo>
                  <a:cubicBezTo>
                    <a:pt x="5" y="2"/>
                    <a:pt x="6" y="1"/>
                    <a:pt x="8" y="1"/>
                  </a:cubicBezTo>
                  <a:cubicBezTo>
                    <a:pt x="9" y="0"/>
                    <a:pt x="11" y="0"/>
                    <a:pt x="13" y="0"/>
                  </a:cubicBezTo>
                  <a:cubicBezTo>
                    <a:pt x="14" y="0"/>
                    <a:pt x="16" y="0"/>
                    <a:pt x="17" y="1"/>
                  </a:cubicBezTo>
                  <a:cubicBezTo>
                    <a:pt x="19" y="1"/>
                    <a:pt x="20" y="2"/>
                    <a:pt x="21" y="3"/>
                  </a:cubicBezTo>
                  <a:cubicBezTo>
                    <a:pt x="22" y="4"/>
                    <a:pt x="23" y="5"/>
                    <a:pt x="23" y="7"/>
                  </a:cubicBezTo>
                  <a:cubicBezTo>
                    <a:pt x="24" y="9"/>
                    <a:pt x="24" y="11"/>
                    <a:pt x="24" y="13"/>
                  </a:cubicBezTo>
                  <a:cubicBezTo>
                    <a:pt x="24" y="14"/>
                    <a:pt x="24" y="15"/>
                    <a:pt x="24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6"/>
                    <a:pt x="7" y="17"/>
                    <a:pt x="8" y="18"/>
                  </a:cubicBezTo>
                  <a:cubicBezTo>
                    <a:pt x="8" y="19"/>
                    <a:pt x="9" y="20"/>
                    <a:pt x="10" y="21"/>
                  </a:cubicBezTo>
                  <a:cubicBezTo>
                    <a:pt x="10" y="21"/>
                    <a:pt x="11" y="21"/>
                    <a:pt x="12" y="22"/>
                  </a:cubicBezTo>
                  <a:cubicBezTo>
                    <a:pt x="13" y="22"/>
                    <a:pt x="14" y="22"/>
                    <a:pt x="15" y="22"/>
                  </a:cubicBezTo>
                  <a:close/>
                  <a:moveTo>
                    <a:pt x="13" y="5"/>
                  </a:moveTo>
                  <a:cubicBezTo>
                    <a:pt x="12" y="5"/>
                    <a:pt x="11" y="5"/>
                    <a:pt x="10" y="5"/>
                  </a:cubicBezTo>
                  <a:cubicBezTo>
                    <a:pt x="10" y="5"/>
                    <a:pt x="9" y="6"/>
                    <a:pt x="9" y="6"/>
                  </a:cubicBezTo>
                  <a:cubicBezTo>
                    <a:pt x="8" y="7"/>
                    <a:pt x="8" y="7"/>
                    <a:pt x="8" y="8"/>
                  </a:cubicBezTo>
                  <a:cubicBezTo>
                    <a:pt x="7" y="9"/>
                    <a:pt x="7" y="10"/>
                    <a:pt x="7" y="1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8" y="10"/>
                    <a:pt x="17" y="9"/>
                    <a:pt x="17" y="8"/>
                  </a:cubicBezTo>
                  <a:cubicBezTo>
                    <a:pt x="17" y="7"/>
                    <a:pt x="17" y="7"/>
                    <a:pt x="16" y="6"/>
                  </a:cubicBezTo>
                  <a:cubicBezTo>
                    <a:pt x="15" y="5"/>
                    <a:pt x="14" y="5"/>
                    <a:pt x="13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12" name="Freeform 20"/>
            <p:cNvSpPr>
              <a:spLocks/>
            </p:cNvSpPr>
            <p:nvPr userDrawn="1"/>
          </p:nvSpPr>
          <p:spPr bwMode="gray">
            <a:xfrm>
              <a:off x="10315546" y="3670288"/>
              <a:ext cx="90487" cy="101599"/>
            </a:xfrm>
            <a:custGeom>
              <a:avLst/>
              <a:gdLst>
                <a:gd name="T0" fmla="*/ 6 w 24"/>
                <a:gd name="T1" fmla="*/ 4 h 27"/>
                <a:gd name="T2" fmla="*/ 6 w 24"/>
                <a:gd name="T3" fmla="*/ 4 h 27"/>
                <a:gd name="T4" fmla="*/ 8 w 24"/>
                <a:gd name="T5" fmla="*/ 2 h 27"/>
                <a:gd name="T6" fmla="*/ 9 w 24"/>
                <a:gd name="T7" fmla="*/ 1 h 27"/>
                <a:gd name="T8" fmla="*/ 12 w 24"/>
                <a:gd name="T9" fmla="*/ 0 h 27"/>
                <a:gd name="T10" fmla="*/ 15 w 24"/>
                <a:gd name="T11" fmla="*/ 0 h 27"/>
                <a:gd name="T12" fmla="*/ 18 w 24"/>
                <a:gd name="T13" fmla="*/ 0 h 27"/>
                <a:gd name="T14" fmla="*/ 20 w 24"/>
                <a:gd name="T15" fmla="*/ 1 h 27"/>
                <a:gd name="T16" fmla="*/ 22 w 24"/>
                <a:gd name="T17" fmla="*/ 3 h 27"/>
                <a:gd name="T18" fmla="*/ 23 w 24"/>
                <a:gd name="T19" fmla="*/ 6 h 27"/>
                <a:gd name="T20" fmla="*/ 24 w 24"/>
                <a:gd name="T21" fmla="*/ 7 h 27"/>
                <a:gd name="T22" fmla="*/ 24 w 24"/>
                <a:gd name="T23" fmla="*/ 10 h 27"/>
                <a:gd name="T24" fmla="*/ 24 w 24"/>
                <a:gd name="T25" fmla="*/ 27 h 27"/>
                <a:gd name="T26" fmla="*/ 18 w 24"/>
                <a:gd name="T27" fmla="*/ 27 h 27"/>
                <a:gd name="T28" fmla="*/ 18 w 24"/>
                <a:gd name="T29" fmla="*/ 11 h 27"/>
                <a:gd name="T30" fmla="*/ 18 w 24"/>
                <a:gd name="T31" fmla="*/ 9 h 27"/>
                <a:gd name="T32" fmla="*/ 17 w 24"/>
                <a:gd name="T33" fmla="*/ 8 h 27"/>
                <a:gd name="T34" fmla="*/ 16 w 24"/>
                <a:gd name="T35" fmla="*/ 6 h 27"/>
                <a:gd name="T36" fmla="*/ 13 w 24"/>
                <a:gd name="T37" fmla="*/ 5 h 27"/>
                <a:gd name="T38" fmla="*/ 10 w 24"/>
                <a:gd name="T39" fmla="*/ 6 h 27"/>
                <a:gd name="T40" fmla="*/ 7 w 24"/>
                <a:gd name="T41" fmla="*/ 9 h 27"/>
                <a:gd name="T42" fmla="*/ 7 w 24"/>
                <a:gd name="T43" fmla="*/ 27 h 27"/>
                <a:gd name="T44" fmla="*/ 0 w 24"/>
                <a:gd name="T45" fmla="*/ 27 h 27"/>
                <a:gd name="T46" fmla="*/ 0 w 24"/>
                <a:gd name="T47" fmla="*/ 0 h 27"/>
                <a:gd name="T48" fmla="*/ 5 w 24"/>
                <a:gd name="T49" fmla="*/ 0 h 27"/>
                <a:gd name="T50" fmla="*/ 6 w 24"/>
                <a:gd name="T51" fmla="*/ 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4" h="27">
                  <a:moveTo>
                    <a:pt x="6" y="4"/>
                  </a:move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7" y="3"/>
                    <a:pt x="8" y="2"/>
                  </a:cubicBezTo>
                  <a:cubicBezTo>
                    <a:pt x="8" y="2"/>
                    <a:pt x="9" y="1"/>
                    <a:pt x="9" y="1"/>
                  </a:cubicBezTo>
                  <a:cubicBezTo>
                    <a:pt x="10" y="1"/>
                    <a:pt x="11" y="0"/>
                    <a:pt x="12" y="0"/>
                  </a:cubicBezTo>
                  <a:cubicBezTo>
                    <a:pt x="13" y="0"/>
                    <a:pt x="14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8" y="0"/>
                    <a:pt x="19" y="1"/>
                    <a:pt x="20" y="1"/>
                  </a:cubicBezTo>
                  <a:cubicBezTo>
                    <a:pt x="21" y="2"/>
                    <a:pt x="21" y="2"/>
                    <a:pt x="22" y="3"/>
                  </a:cubicBezTo>
                  <a:cubicBezTo>
                    <a:pt x="23" y="4"/>
                    <a:pt x="23" y="5"/>
                    <a:pt x="23" y="6"/>
                  </a:cubicBezTo>
                  <a:cubicBezTo>
                    <a:pt x="24" y="6"/>
                    <a:pt x="24" y="7"/>
                    <a:pt x="24" y="7"/>
                  </a:cubicBezTo>
                  <a:cubicBezTo>
                    <a:pt x="24" y="8"/>
                    <a:pt x="24" y="9"/>
                    <a:pt x="24" y="10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18" y="10"/>
                    <a:pt x="18" y="9"/>
                    <a:pt x="18" y="9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7" y="7"/>
                    <a:pt x="16" y="6"/>
                    <a:pt x="16" y="6"/>
                  </a:cubicBezTo>
                  <a:cubicBezTo>
                    <a:pt x="15" y="5"/>
                    <a:pt x="14" y="5"/>
                    <a:pt x="13" y="5"/>
                  </a:cubicBezTo>
                  <a:cubicBezTo>
                    <a:pt x="12" y="5"/>
                    <a:pt x="11" y="6"/>
                    <a:pt x="10" y="6"/>
                  </a:cubicBezTo>
                  <a:cubicBezTo>
                    <a:pt x="9" y="7"/>
                    <a:pt x="7" y="8"/>
                    <a:pt x="7" y="9"/>
                  </a:cubicBezTo>
                  <a:cubicBezTo>
                    <a:pt x="7" y="27"/>
                    <a:pt x="7" y="27"/>
                    <a:pt x="7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" y="0"/>
                    <a:pt x="5" y="0"/>
                    <a:pt x="5" y="0"/>
                  </a:cubicBezTo>
                  <a:lnTo>
                    <a:pt x="6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13" name="Freeform 21"/>
            <p:cNvSpPr>
              <a:spLocks noEditPoints="1"/>
            </p:cNvSpPr>
            <p:nvPr userDrawn="1"/>
          </p:nvSpPr>
          <p:spPr bwMode="gray">
            <a:xfrm>
              <a:off x="10428259" y="3670293"/>
              <a:ext cx="90487" cy="150812"/>
            </a:xfrm>
            <a:custGeom>
              <a:avLst/>
              <a:gdLst>
                <a:gd name="T0" fmla="*/ 18 w 24"/>
                <a:gd name="T1" fmla="*/ 27 h 40"/>
                <a:gd name="T2" fmla="*/ 18 w 24"/>
                <a:gd name="T3" fmla="*/ 26 h 40"/>
                <a:gd name="T4" fmla="*/ 18 w 24"/>
                <a:gd name="T5" fmla="*/ 25 h 40"/>
                <a:gd name="T6" fmla="*/ 18 w 24"/>
                <a:gd name="T7" fmla="*/ 25 h 40"/>
                <a:gd name="T8" fmla="*/ 17 w 24"/>
                <a:gd name="T9" fmla="*/ 26 h 40"/>
                <a:gd name="T10" fmla="*/ 15 w 24"/>
                <a:gd name="T11" fmla="*/ 26 h 40"/>
                <a:gd name="T12" fmla="*/ 13 w 24"/>
                <a:gd name="T13" fmla="*/ 27 h 40"/>
                <a:gd name="T14" fmla="*/ 7 w 24"/>
                <a:gd name="T15" fmla="*/ 27 h 40"/>
                <a:gd name="T16" fmla="*/ 3 w 24"/>
                <a:gd name="T17" fmla="*/ 24 h 40"/>
                <a:gd name="T18" fmla="*/ 1 w 24"/>
                <a:gd name="T19" fmla="*/ 20 h 40"/>
                <a:gd name="T20" fmla="*/ 0 w 24"/>
                <a:gd name="T21" fmla="*/ 14 h 40"/>
                <a:gd name="T22" fmla="*/ 1 w 24"/>
                <a:gd name="T23" fmla="*/ 8 h 40"/>
                <a:gd name="T24" fmla="*/ 3 w 24"/>
                <a:gd name="T25" fmla="*/ 3 h 40"/>
                <a:gd name="T26" fmla="*/ 7 w 24"/>
                <a:gd name="T27" fmla="*/ 1 h 40"/>
                <a:gd name="T28" fmla="*/ 11 w 24"/>
                <a:gd name="T29" fmla="*/ 0 h 40"/>
                <a:gd name="T30" fmla="*/ 15 w 24"/>
                <a:gd name="T31" fmla="*/ 1 h 40"/>
                <a:gd name="T32" fmla="*/ 18 w 24"/>
                <a:gd name="T33" fmla="*/ 3 h 40"/>
                <a:gd name="T34" fmla="*/ 18 w 24"/>
                <a:gd name="T35" fmla="*/ 3 h 40"/>
                <a:gd name="T36" fmla="*/ 19 w 24"/>
                <a:gd name="T37" fmla="*/ 0 h 40"/>
                <a:gd name="T38" fmla="*/ 24 w 24"/>
                <a:gd name="T39" fmla="*/ 0 h 40"/>
                <a:gd name="T40" fmla="*/ 24 w 24"/>
                <a:gd name="T41" fmla="*/ 27 h 40"/>
                <a:gd name="T42" fmla="*/ 24 w 24"/>
                <a:gd name="T43" fmla="*/ 31 h 40"/>
                <a:gd name="T44" fmla="*/ 23 w 24"/>
                <a:gd name="T45" fmla="*/ 34 h 40"/>
                <a:gd name="T46" fmla="*/ 21 w 24"/>
                <a:gd name="T47" fmla="*/ 37 h 40"/>
                <a:gd name="T48" fmla="*/ 18 w 24"/>
                <a:gd name="T49" fmla="*/ 39 h 40"/>
                <a:gd name="T50" fmla="*/ 14 w 24"/>
                <a:gd name="T51" fmla="*/ 40 h 40"/>
                <a:gd name="T52" fmla="*/ 9 w 24"/>
                <a:gd name="T53" fmla="*/ 40 h 40"/>
                <a:gd name="T54" fmla="*/ 7 w 24"/>
                <a:gd name="T55" fmla="*/ 40 h 40"/>
                <a:gd name="T56" fmla="*/ 4 w 24"/>
                <a:gd name="T57" fmla="*/ 40 h 40"/>
                <a:gd name="T58" fmla="*/ 2 w 24"/>
                <a:gd name="T59" fmla="*/ 39 h 40"/>
                <a:gd name="T60" fmla="*/ 1 w 24"/>
                <a:gd name="T61" fmla="*/ 39 h 40"/>
                <a:gd name="T62" fmla="*/ 1 w 24"/>
                <a:gd name="T63" fmla="*/ 34 h 40"/>
                <a:gd name="T64" fmla="*/ 5 w 24"/>
                <a:gd name="T65" fmla="*/ 35 h 40"/>
                <a:gd name="T66" fmla="*/ 9 w 24"/>
                <a:gd name="T67" fmla="*/ 35 h 40"/>
                <a:gd name="T68" fmla="*/ 15 w 24"/>
                <a:gd name="T69" fmla="*/ 33 h 40"/>
                <a:gd name="T70" fmla="*/ 18 w 24"/>
                <a:gd name="T71" fmla="*/ 28 h 40"/>
                <a:gd name="T72" fmla="*/ 18 w 24"/>
                <a:gd name="T73" fmla="*/ 27 h 40"/>
                <a:gd name="T74" fmla="*/ 12 w 24"/>
                <a:gd name="T75" fmla="*/ 22 h 40"/>
                <a:gd name="T76" fmla="*/ 14 w 24"/>
                <a:gd name="T77" fmla="*/ 22 h 40"/>
                <a:gd name="T78" fmla="*/ 16 w 24"/>
                <a:gd name="T79" fmla="*/ 21 h 40"/>
                <a:gd name="T80" fmla="*/ 17 w 24"/>
                <a:gd name="T81" fmla="*/ 20 h 40"/>
                <a:gd name="T82" fmla="*/ 18 w 24"/>
                <a:gd name="T83" fmla="*/ 20 h 40"/>
                <a:gd name="T84" fmla="*/ 18 w 24"/>
                <a:gd name="T85" fmla="*/ 8 h 40"/>
                <a:gd name="T86" fmla="*/ 16 w 24"/>
                <a:gd name="T87" fmla="*/ 6 h 40"/>
                <a:gd name="T88" fmla="*/ 12 w 24"/>
                <a:gd name="T89" fmla="*/ 5 h 40"/>
                <a:gd name="T90" fmla="*/ 11 w 24"/>
                <a:gd name="T91" fmla="*/ 5 h 40"/>
                <a:gd name="T92" fmla="*/ 10 w 24"/>
                <a:gd name="T93" fmla="*/ 5 h 40"/>
                <a:gd name="T94" fmla="*/ 8 w 24"/>
                <a:gd name="T95" fmla="*/ 6 h 40"/>
                <a:gd name="T96" fmla="*/ 7 w 24"/>
                <a:gd name="T97" fmla="*/ 8 h 40"/>
                <a:gd name="T98" fmla="*/ 7 w 24"/>
                <a:gd name="T99" fmla="*/ 10 h 40"/>
                <a:gd name="T100" fmla="*/ 6 w 24"/>
                <a:gd name="T101" fmla="*/ 14 h 40"/>
                <a:gd name="T102" fmla="*/ 7 w 24"/>
                <a:gd name="T103" fmla="*/ 17 h 40"/>
                <a:gd name="T104" fmla="*/ 8 w 24"/>
                <a:gd name="T105" fmla="*/ 20 h 40"/>
                <a:gd name="T106" fmla="*/ 10 w 24"/>
                <a:gd name="T107" fmla="*/ 21 h 40"/>
                <a:gd name="T108" fmla="*/ 12 w 24"/>
                <a:gd name="T109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4" h="40">
                  <a:moveTo>
                    <a:pt x="18" y="27"/>
                  </a:moveTo>
                  <a:cubicBezTo>
                    <a:pt x="18" y="26"/>
                    <a:pt x="18" y="26"/>
                    <a:pt x="18" y="26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7" y="25"/>
                    <a:pt x="17" y="26"/>
                  </a:cubicBezTo>
                  <a:cubicBezTo>
                    <a:pt x="16" y="26"/>
                    <a:pt x="16" y="26"/>
                    <a:pt x="15" y="26"/>
                  </a:cubicBezTo>
                  <a:cubicBezTo>
                    <a:pt x="14" y="27"/>
                    <a:pt x="14" y="27"/>
                    <a:pt x="13" y="27"/>
                  </a:cubicBezTo>
                  <a:cubicBezTo>
                    <a:pt x="11" y="27"/>
                    <a:pt x="9" y="27"/>
                    <a:pt x="7" y="27"/>
                  </a:cubicBezTo>
                  <a:cubicBezTo>
                    <a:pt x="5" y="26"/>
                    <a:pt x="4" y="25"/>
                    <a:pt x="3" y="24"/>
                  </a:cubicBezTo>
                  <a:cubicBezTo>
                    <a:pt x="2" y="23"/>
                    <a:pt x="1" y="22"/>
                    <a:pt x="1" y="20"/>
                  </a:cubicBezTo>
                  <a:cubicBezTo>
                    <a:pt x="0" y="18"/>
                    <a:pt x="0" y="16"/>
                    <a:pt x="0" y="14"/>
                  </a:cubicBezTo>
                  <a:cubicBezTo>
                    <a:pt x="0" y="12"/>
                    <a:pt x="0" y="10"/>
                    <a:pt x="1" y="8"/>
                  </a:cubicBezTo>
                  <a:cubicBezTo>
                    <a:pt x="1" y="6"/>
                    <a:pt x="2" y="5"/>
                    <a:pt x="3" y="3"/>
                  </a:cubicBezTo>
                  <a:cubicBezTo>
                    <a:pt x="4" y="2"/>
                    <a:pt x="5" y="1"/>
                    <a:pt x="7" y="1"/>
                  </a:cubicBezTo>
                  <a:cubicBezTo>
                    <a:pt x="8" y="0"/>
                    <a:pt x="10" y="0"/>
                    <a:pt x="11" y="0"/>
                  </a:cubicBezTo>
                  <a:cubicBezTo>
                    <a:pt x="13" y="0"/>
                    <a:pt x="14" y="0"/>
                    <a:pt x="15" y="1"/>
                  </a:cubicBezTo>
                  <a:cubicBezTo>
                    <a:pt x="17" y="1"/>
                    <a:pt x="18" y="2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4" y="28"/>
                    <a:pt x="24" y="30"/>
                    <a:pt x="24" y="31"/>
                  </a:cubicBezTo>
                  <a:cubicBezTo>
                    <a:pt x="24" y="32"/>
                    <a:pt x="23" y="33"/>
                    <a:pt x="23" y="34"/>
                  </a:cubicBezTo>
                  <a:cubicBezTo>
                    <a:pt x="22" y="35"/>
                    <a:pt x="21" y="36"/>
                    <a:pt x="21" y="37"/>
                  </a:cubicBezTo>
                  <a:cubicBezTo>
                    <a:pt x="20" y="37"/>
                    <a:pt x="19" y="38"/>
                    <a:pt x="18" y="39"/>
                  </a:cubicBezTo>
                  <a:cubicBezTo>
                    <a:pt x="16" y="39"/>
                    <a:pt x="15" y="39"/>
                    <a:pt x="14" y="40"/>
                  </a:cubicBezTo>
                  <a:cubicBezTo>
                    <a:pt x="12" y="40"/>
                    <a:pt x="11" y="40"/>
                    <a:pt x="9" y="40"/>
                  </a:cubicBezTo>
                  <a:cubicBezTo>
                    <a:pt x="7" y="40"/>
                    <a:pt x="7" y="40"/>
                    <a:pt x="7" y="40"/>
                  </a:cubicBezTo>
                  <a:cubicBezTo>
                    <a:pt x="6" y="40"/>
                    <a:pt x="5" y="40"/>
                    <a:pt x="4" y="40"/>
                  </a:cubicBezTo>
                  <a:cubicBezTo>
                    <a:pt x="2" y="39"/>
                    <a:pt x="2" y="39"/>
                    <a:pt x="2" y="39"/>
                  </a:cubicBezTo>
                  <a:cubicBezTo>
                    <a:pt x="2" y="39"/>
                    <a:pt x="1" y="39"/>
                    <a:pt x="1" y="39"/>
                  </a:cubicBezTo>
                  <a:cubicBezTo>
                    <a:pt x="1" y="34"/>
                    <a:pt x="1" y="34"/>
                    <a:pt x="1" y="34"/>
                  </a:cubicBezTo>
                  <a:cubicBezTo>
                    <a:pt x="2" y="34"/>
                    <a:pt x="3" y="34"/>
                    <a:pt x="5" y="35"/>
                  </a:cubicBezTo>
                  <a:cubicBezTo>
                    <a:pt x="6" y="35"/>
                    <a:pt x="7" y="35"/>
                    <a:pt x="9" y="35"/>
                  </a:cubicBezTo>
                  <a:cubicBezTo>
                    <a:pt x="11" y="35"/>
                    <a:pt x="13" y="34"/>
                    <a:pt x="15" y="33"/>
                  </a:cubicBezTo>
                  <a:cubicBezTo>
                    <a:pt x="17" y="32"/>
                    <a:pt x="18" y="30"/>
                    <a:pt x="18" y="28"/>
                  </a:cubicBezTo>
                  <a:lnTo>
                    <a:pt x="18" y="27"/>
                  </a:lnTo>
                  <a:close/>
                  <a:moveTo>
                    <a:pt x="12" y="22"/>
                  </a:moveTo>
                  <a:cubicBezTo>
                    <a:pt x="13" y="22"/>
                    <a:pt x="14" y="22"/>
                    <a:pt x="14" y="22"/>
                  </a:cubicBezTo>
                  <a:cubicBezTo>
                    <a:pt x="15" y="22"/>
                    <a:pt x="15" y="22"/>
                    <a:pt x="16" y="21"/>
                  </a:cubicBezTo>
                  <a:cubicBezTo>
                    <a:pt x="16" y="21"/>
                    <a:pt x="17" y="21"/>
                    <a:pt x="17" y="20"/>
                  </a:cubicBezTo>
                  <a:cubicBezTo>
                    <a:pt x="17" y="20"/>
                    <a:pt x="18" y="20"/>
                    <a:pt x="18" y="20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7"/>
                    <a:pt x="16" y="6"/>
                    <a:pt x="16" y="6"/>
                  </a:cubicBezTo>
                  <a:cubicBezTo>
                    <a:pt x="15" y="5"/>
                    <a:pt x="13" y="5"/>
                    <a:pt x="12" y="5"/>
                  </a:cubicBezTo>
                  <a:cubicBezTo>
                    <a:pt x="12" y="5"/>
                    <a:pt x="11" y="5"/>
                    <a:pt x="11" y="5"/>
                  </a:cubicBezTo>
                  <a:cubicBezTo>
                    <a:pt x="11" y="5"/>
                    <a:pt x="10" y="5"/>
                    <a:pt x="10" y="5"/>
                  </a:cubicBezTo>
                  <a:cubicBezTo>
                    <a:pt x="9" y="6"/>
                    <a:pt x="9" y="6"/>
                    <a:pt x="8" y="6"/>
                  </a:cubicBezTo>
                  <a:cubicBezTo>
                    <a:pt x="8" y="7"/>
                    <a:pt x="8" y="7"/>
                    <a:pt x="7" y="8"/>
                  </a:cubicBezTo>
                  <a:cubicBezTo>
                    <a:pt x="7" y="9"/>
                    <a:pt x="7" y="10"/>
                    <a:pt x="7" y="10"/>
                  </a:cubicBezTo>
                  <a:cubicBezTo>
                    <a:pt x="6" y="11"/>
                    <a:pt x="6" y="12"/>
                    <a:pt x="6" y="14"/>
                  </a:cubicBezTo>
                  <a:cubicBezTo>
                    <a:pt x="6" y="15"/>
                    <a:pt x="6" y="16"/>
                    <a:pt x="7" y="17"/>
                  </a:cubicBezTo>
                  <a:cubicBezTo>
                    <a:pt x="7" y="18"/>
                    <a:pt x="7" y="19"/>
                    <a:pt x="8" y="20"/>
                  </a:cubicBezTo>
                  <a:cubicBezTo>
                    <a:pt x="8" y="20"/>
                    <a:pt x="9" y="21"/>
                    <a:pt x="10" y="21"/>
                  </a:cubicBezTo>
                  <a:cubicBezTo>
                    <a:pt x="11" y="22"/>
                    <a:pt x="11" y="22"/>
                    <a:pt x="12" y="2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14" name="Freeform 22"/>
            <p:cNvSpPr>
              <a:spLocks noEditPoints="1"/>
            </p:cNvSpPr>
            <p:nvPr userDrawn="1"/>
          </p:nvSpPr>
          <p:spPr bwMode="gray">
            <a:xfrm>
              <a:off x="10548905" y="3621082"/>
              <a:ext cx="22225" cy="150812"/>
            </a:xfrm>
            <a:custGeom>
              <a:avLst/>
              <a:gdLst>
                <a:gd name="T0" fmla="*/ 0 w 14"/>
                <a:gd name="T1" fmla="*/ 0 h 95"/>
                <a:gd name="T2" fmla="*/ 14 w 14"/>
                <a:gd name="T3" fmla="*/ 0 h 95"/>
                <a:gd name="T4" fmla="*/ 14 w 14"/>
                <a:gd name="T5" fmla="*/ 17 h 95"/>
                <a:gd name="T6" fmla="*/ 0 w 14"/>
                <a:gd name="T7" fmla="*/ 17 h 95"/>
                <a:gd name="T8" fmla="*/ 0 w 14"/>
                <a:gd name="T9" fmla="*/ 0 h 95"/>
                <a:gd name="T10" fmla="*/ 0 w 14"/>
                <a:gd name="T11" fmla="*/ 31 h 95"/>
                <a:gd name="T12" fmla="*/ 14 w 14"/>
                <a:gd name="T13" fmla="*/ 31 h 95"/>
                <a:gd name="T14" fmla="*/ 14 w 14"/>
                <a:gd name="T15" fmla="*/ 95 h 95"/>
                <a:gd name="T16" fmla="*/ 0 w 14"/>
                <a:gd name="T17" fmla="*/ 95 h 95"/>
                <a:gd name="T18" fmla="*/ 0 w 14"/>
                <a:gd name="T19" fmla="*/ 31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95">
                  <a:moveTo>
                    <a:pt x="0" y="0"/>
                  </a:moveTo>
                  <a:lnTo>
                    <a:pt x="14" y="0"/>
                  </a:lnTo>
                  <a:lnTo>
                    <a:pt x="14" y="17"/>
                  </a:lnTo>
                  <a:lnTo>
                    <a:pt x="0" y="17"/>
                  </a:lnTo>
                  <a:lnTo>
                    <a:pt x="0" y="0"/>
                  </a:lnTo>
                  <a:close/>
                  <a:moveTo>
                    <a:pt x="0" y="31"/>
                  </a:moveTo>
                  <a:lnTo>
                    <a:pt x="14" y="31"/>
                  </a:lnTo>
                  <a:lnTo>
                    <a:pt x="14" y="95"/>
                  </a:lnTo>
                  <a:lnTo>
                    <a:pt x="0" y="95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15" name="Freeform 23"/>
            <p:cNvSpPr>
              <a:spLocks/>
            </p:cNvSpPr>
            <p:nvPr userDrawn="1"/>
          </p:nvSpPr>
          <p:spPr bwMode="gray">
            <a:xfrm>
              <a:off x="10596527" y="3670293"/>
              <a:ext cx="90487" cy="101600"/>
            </a:xfrm>
            <a:custGeom>
              <a:avLst/>
              <a:gdLst>
                <a:gd name="T0" fmla="*/ 6 w 24"/>
                <a:gd name="T1" fmla="*/ 4 h 27"/>
                <a:gd name="T2" fmla="*/ 6 w 24"/>
                <a:gd name="T3" fmla="*/ 4 h 27"/>
                <a:gd name="T4" fmla="*/ 8 w 24"/>
                <a:gd name="T5" fmla="*/ 2 h 27"/>
                <a:gd name="T6" fmla="*/ 10 w 24"/>
                <a:gd name="T7" fmla="*/ 1 h 27"/>
                <a:gd name="T8" fmla="*/ 12 w 24"/>
                <a:gd name="T9" fmla="*/ 0 h 27"/>
                <a:gd name="T10" fmla="*/ 15 w 24"/>
                <a:gd name="T11" fmla="*/ 0 h 27"/>
                <a:gd name="T12" fmla="*/ 18 w 24"/>
                <a:gd name="T13" fmla="*/ 0 h 27"/>
                <a:gd name="T14" fmla="*/ 20 w 24"/>
                <a:gd name="T15" fmla="*/ 1 h 27"/>
                <a:gd name="T16" fmla="*/ 22 w 24"/>
                <a:gd name="T17" fmla="*/ 3 h 27"/>
                <a:gd name="T18" fmla="*/ 24 w 24"/>
                <a:gd name="T19" fmla="*/ 6 h 27"/>
                <a:gd name="T20" fmla="*/ 24 w 24"/>
                <a:gd name="T21" fmla="*/ 7 h 27"/>
                <a:gd name="T22" fmla="*/ 24 w 24"/>
                <a:gd name="T23" fmla="*/ 10 h 27"/>
                <a:gd name="T24" fmla="*/ 24 w 24"/>
                <a:gd name="T25" fmla="*/ 27 h 27"/>
                <a:gd name="T26" fmla="*/ 18 w 24"/>
                <a:gd name="T27" fmla="*/ 27 h 27"/>
                <a:gd name="T28" fmla="*/ 18 w 24"/>
                <a:gd name="T29" fmla="*/ 11 h 27"/>
                <a:gd name="T30" fmla="*/ 18 w 24"/>
                <a:gd name="T31" fmla="*/ 9 h 27"/>
                <a:gd name="T32" fmla="*/ 17 w 24"/>
                <a:gd name="T33" fmla="*/ 8 h 27"/>
                <a:gd name="T34" fmla="*/ 16 w 24"/>
                <a:gd name="T35" fmla="*/ 6 h 27"/>
                <a:gd name="T36" fmla="*/ 14 w 24"/>
                <a:gd name="T37" fmla="*/ 5 h 27"/>
                <a:gd name="T38" fmla="*/ 10 w 24"/>
                <a:gd name="T39" fmla="*/ 6 h 27"/>
                <a:gd name="T40" fmla="*/ 7 w 24"/>
                <a:gd name="T41" fmla="*/ 9 h 27"/>
                <a:gd name="T42" fmla="*/ 7 w 24"/>
                <a:gd name="T43" fmla="*/ 27 h 27"/>
                <a:gd name="T44" fmla="*/ 0 w 24"/>
                <a:gd name="T45" fmla="*/ 27 h 27"/>
                <a:gd name="T46" fmla="*/ 0 w 24"/>
                <a:gd name="T47" fmla="*/ 0 h 27"/>
                <a:gd name="T48" fmla="*/ 6 w 24"/>
                <a:gd name="T49" fmla="*/ 0 h 27"/>
                <a:gd name="T50" fmla="*/ 6 w 24"/>
                <a:gd name="T51" fmla="*/ 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4" h="27">
                  <a:moveTo>
                    <a:pt x="6" y="4"/>
                  </a:moveTo>
                  <a:cubicBezTo>
                    <a:pt x="6" y="4"/>
                    <a:pt x="6" y="4"/>
                    <a:pt x="6" y="4"/>
                  </a:cubicBezTo>
                  <a:cubicBezTo>
                    <a:pt x="7" y="4"/>
                    <a:pt x="7" y="3"/>
                    <a:pt x="8" y="2"/>
                  </a:cubicBezTo>
                  <a:cubicBezTo>
                    <a:pt x="8" y="2"/>
                    <a:pt x="9" y="1"/>
                    <a:pt x="10" y="1"/>
                  </a:cubicBezTo>
                  <a:cubicBezTo>
                    <a:pt x="11" y="1"/>
                    <a:pt x="11" y="0"/>
                    <a:pt x="12" y="0"/>
                  </a:cubicBezTo>
                  <a:cubicBezTo>
                    <a:pt x="13" y="0"/>
                    <a:pt x="14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1"/>
                    <a:pt x="20" y="1"/>
                  </a:cubicBezTo>
                  <a:cubicBezTo>
                    <a:pt x="21" y="2"/>
                    <a:pt x="22" y="2"/>
                    <a:pt x="22" y="3"/>
                  </a:cubicBezTo>
                  <a:cubicBezTo>
                    <a:pt x="23" y="4"/>
                    <a:pt x="23" y="5"/>
                    <a:pt x="24" y="6"/>
                  </a:cubicBezTo>
                  <a:cubicBezTo>
                    <a:pt x="24" y="6"/>
                    <a:pt x="24" y="7"/>
                    <a:pt x="24" y="7"/>
                  </a:cubicBezTo>
                  <a:cubicBezTo>
                    <a:pt x="24" y="8"/>
                    <a:pt x="24" y="9"/>
                    <a:pt x="24" y="10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18" y="10"/>
                    <a:pt x="18" y="10"/>
                    <a:pt x="18" y="9"/>
                  </a:cubicBezTo>
                  <a:cubicBezTo>
                    <a:pt x="18" y="8"/>
                    <a:pt x="18" y="8"/>
                    <a:pt x="17" y="8"/>
                  </a:cubicBezTo>
                  <a:cubicBezTo>
                    <a:pt x="17" y="7"/>
                    <a:pt x="17" y="6"/>
                    <a:pt x="16" y="6"/>
                  </a:cubicBezTo>
                  <a:cubicBezTo>
                    <a:pt x="15" y="5"/>
                    <a:pt x="14" y="5"/>
                    <a:pt x="14" y="5"/>
                  </a:cubicBezTo>
                  <a:cubicBezTo>
                    <a:pt x="12" y="5"/>
                    <a:pt x="11" y="6"/>
                    <a:pt x="10" y="6"/>
                  </a:cubicBezTo>
                  <a:cubicBezTo>
                    <a:pt x="9" y="7"/>
                    <a:pt x="8" y="8"/>
                    <a:pt x="7" y="9"/>
                  </a:cubicBezTo>
                  <a:cubicBezTo>
                    <a:pt x="7" y="27"/>
                    <a:pt x="7" y="27"/>
                    <a:pt x="7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" y="0"/>
                    <a:pt x="6" y="0"/>
                    <a:pt x="6" y="0"/>
                  </a:cubicBezTo>
                  <a:lnTo>
                    <a:pt x="6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16" name="Freeform 24"/>
            <p:cNvSpPr>
              <a:spLocks noEditPoints="1"/>
            </p:cNvSpPr>
            <p:nvPr userDrawn="1"/>
          </p:nvSpPr>
          <p:spPr bwMode="gray">
            <a:xfrm>
              <a:off x="10709241" y="3670293"/>
              <a:ext cx="90487" cy="101600"/>
            </a:xfrm>
            <a:custGeom>
              <a:avLst/>
              <a:gdLst>
                <a:gd name="T0" fmla="*/ 15 w 24"/>
                <a:gd name="T1" fmla="*/ 22 h 27"/>
                <a:gd name="T2" fmla="*/ 19 w 24"/>
                <a:gd name="T3" fmla="*/ 22 h 27"/>
                <a:gd name="T4" fmla="*/ 23 w 24"/>
                <a:gd name="T5" fmla="*/ 21 h 27"/>
                <a:gd name="T6" fmla="*/ 23 w 24"/>
                <a:gd name="T7" fmla="*/ 26 h 27"/>
                <a:gd name="T8" fmla="*/ 19 w 24"/>
                <a:gd name="T9" fmla="*/ 27 h 27"/>
                <a:gd name="T10" fmla="*/ 13 w 24"/>
                <a:gd name="T11" fmla="*/ 27 h 27"/>
                <a:gd name="T12" fmla="*/ 8 w 24"/>
                <a:gd name="T13" fmla="*/ 27 h 27"/>
                <a:gd name="T14" fmla="*/ 1 w 24"/>
                <a:gd name="T15" fmla="*/ 20 h 27"/>
                <a:gd name="T16" fmla="*/ 0 w 24"/>
                <a:gd name="T17" fmla="*/ 14 h 27"/>
                <a:gd name="T18" fmla="*/ 1 w 24"/>
                <a:gd name="T19" fmla="*/ 8 h 27"/>
                <a:gd name="T20" fmla="*/ 4 w 24"/>
                <a:gd name="T21" fmla="*/ 3 h 27"/>
                <a:gd name="T22" fmla="*/ 8 w 24"/>
                <a:gd name="T23" fmla="*/ 1 h 27"/>
                <a:gd name="T24" fmla="*/ 12 w 24"/>
                <a:gd name="T25" fmla="*/ 0 h 27"/>
                <a:gd name="T26" fmla="*/ 17 w 24"/>
                <a:gd name="T27" fmla="*/ 0 h 27"/>
                <a:gd name="T28" fmla="*/ 21 w 24"/>
                <a:gd name="T29" fmla="*/ 3 h 27"/>
                <a:gd name="T30" fmla="*/ 23 w 24"/>
                <a:gd name="T31" fmla="*/ 7 h 27"/>
                <a:gd name="T32" fmla="*/ 24 w 24"/>
                <a:gd name="T33" fmla="*/ 13 h 27"/>
                <a:gd name="T34" fmla="*/ 24 w 24"/>
                <a:gd name="T35" fmla="*/ 15 h 27"/>
                <a:gd name="T36" fmla="*/ 6 w 24"/>
                <a:gd name="T37" fmla="*/ 15 h 27"/>
                <a:gd name="T38" fmla="*/ 7 w 24"/>
                <a:gd name="T39" fmla="*/ 18 h 27"/>
                <a:gd name="T40" fmla="*/ 9 w 24"/>
                <a:gd name="T41" fmla="*/ 20 h 27"/>
                <a:gd name="T42" fmla="*/ 12 w 24"/>
                <a:gd name="T43" fmla="*/ 22 h 27"/>
                <a:gd name="T44" fmla="*/ 15 w 24"/>
                <a:gd name="T45" fmla="*/ 22 h 27"/>
                <a:gd name="T46" fmla="*/ 12 w 24"/>
                <a:gd name="T47" fmla="*/ 5 h 27"/>
                <a:gd name="T48" fmla="*/ 10 w 24"/>
                <a:gd name="T49" fmla="*/ 5 h 27"/>
                <a:gd name="T50" fmla="*/ 8 w 24"/>
                <a:gd name="T51" fmla="*/ 6 h 27"/>
                <a:gd name="T52" fmla="*/ 7 w 24"/>
                <a:gd name="T53" fmla="*/ 8 h 27"/>
                <a:gd name="T54" fmla="*/ 7 w 24"/>
                <a:gd name="T55" fmla="*/ 10 h 27"/>
                <a:gd name="T56" fmla="*/ 17 w 24"/>
                <a:gd name="T57" fmla="*/ 10 h 27"/>
                <a:gd name="T58" fmla="*/ 17 w 24"/>
                <a:gd name="T59" fmla="*/ 8 h 27"/>
                <a:gd name="T60" fmla="*/ 16 w 24"/>
                <a:gd name="T61" fmla="*/ 6 h 27"/>
                <a:gd name="T62" fmla="*/ 12 w 24"/>
                <a:gd name="T63" fmla="*/ 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" h="27">
                  <a:moveTo>
                    <a:pt x="15" y="22"/>
                  </a:moveTo>
                  <a:cubicBezTo>
                    <a:pt x="16" y="22"/>
                    <a:pt x="17" y="22"/>
                    <a:pt x="19" y="22"/>
                  </a:cubicBezTo>
                  <a:cubicBezTo>
                    <a:pt x="20" y="21"/>
                    <a:pt x="21" y="21"/>
                    <a:pt x="23" y="21"/>
                  </a:cubicBezTo>
                  <a:cubicBezTo>
                    <a:pt x="23" y="26"/>
                    <a:pt x="23" y="26"/>
                    <a:pt x="23" y="26"/>
                  </a:cubicBezTo>
                  <a:cubicBezTo>
                    <a:pt x="21" y="26"/>
                    <a:pt x="20" y="27"/>
                    <a:pt x="19" y="27"/>
                  </a:cubicBezTo>
                  <a:cubicBezTo>
                    <a:pt x="17" y="27"/>
                    <a:pt x="15" y="27"/>
                    <a:pt x="13" y="27"/>
                  </a:cubicBezTo>
                  <a:cubicBezTo>
                    <a:pt x="12" y="27"/>
                    <a:pt x="10" y="27"/>
                    <a:pt x="8" y="27"/>
                  </a:cubicBezTo>
                  <a:cubicBezTo>
                    <a:pt x="5" y="26"/>
                    <a:pt x="2" y="23"/>
                    <a:pt x="1" y="20"/>
                  </a:cubicBezTo>
                  <a:cubicBezTo>
                    <a:pt x="0" y="18"/>
                    <a:pt x="0" y="16"/>
                    <a:pt x="0" y="14"/>
                  </a:cubicBezTo>
                  <a:cubicBezTo>
                    <a:pt x="0" y="12"/>
                    <a:pt x="0" y="10"/>
                    <a:pt x="1" y="8"/>
                  </a:cubicBezTo>
                  <a:cubicBezTo>
                    <a:pt x="2" y="6"/>
                    <a:pt x="2" y="4"/>
                    <a:pt x="4" y="3"/>
                  </a:cubicBezTo>
                  <a:cubicBezTo>
                    <a:pt x="5" y="2"/>
                    <a:pt x="6" y="1"/>
                    <a:pt x="8" y="1"/>
                  </a:cubicBezTo>
                  <a:cubicBezTo>
                    <a:pt x="9" y="0"/>
                    <a:pt x="11" y="0"/>
                    <a:pt x="12" y="0"/>
                  </a:cubicBezTo>
                  <a:cubicBezTo>
                    <a:pt x="14" y="0"/>
                    <a:pt x="15" y="0"/>
                    <a:pt x="17" y="0"/>
                  </a:cubicBezTo>
                  <a:cubicBezTo>
                    <a:pt x="18" y="1"/>
                    <a:pt x="20" y="2"/>
                    <a:pt x="21" y="3"/>
                  </a:cubicBezTo>
                  <a:cubicBezTo>
                    <a:pt x="22" y="4"/>
                    <a:pt x="22" y="5"/>
                    <a:pt x="23" y="7"/>
                  </a:cubicBezTo>
                  <a:cubicBezTo>
                    <a:pt x="24" y="9"/>
                    <a:pt x="24" y="11"/>
                    <a:pt x="24" y="13"/>
                  </a:cubicBezTo>
                  <a:cubicBezTo>
                    <a:pt x="24" y="14"/>
                    <a:pt x="24" y="15"/>
                    <a:pt x="24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6"/>
                    <a:pt x="7" y="17"/>
                    <a:pt x="7" y="18"/>
                  </a:cubicBezTo>
                  <a:cubicBezTo>
                    <a:pt x="8" y="19"/>
                    <a:pt x="8" y="20"/>
                    <a:pt x="9" y="20"/>
                  </a:cubicBezTo>
                  <a:cubicBezTo>
                    <a:pt x="10" y="21"/>
                    <a:pt x="11" y="21"/>
                    <a:pt x="12" y="22"/>
                  </a:cubicBezTo>
                  <a:cubicBezTo>
                    <a:pt x="13" y="22"/>
                    <a:pt x="14" y="22"/>
                    <a:pt x="15" y="22"/>
                  </a:cubicBezTo>
                  <a:close/>
                  <a:moveTo>
                    <a:pt x="12" y="5"/>
                  </a:moveTo>
                  <a:cubicBezTo>
                    <a:pt x="11" y="5"/>
                    <a:pt x="11" y="5"/>
                    <a:pt x="10" y="5"/>
                  </a:cubicBezTo>
                  <a:cubicBezTo>
                    <a:pt x="9" y="5"/>
                    <a:pt x="9" y="6"/>
                    <a:pt x="8" y="6"/>
                  </a:cubicBezTo>
                  <a:cubicBezTo>
                    <a:pt x="8" y="7"/>
                    <a:pt x="8" y="7"/>
                    <a:pt x="7" y="8"/>
                  </a:cubicBezTo>
                  <a:cubicBezTo>
                    <a:pt x="7" y="9"/>
                    <a:pt x="7" y="10"/>
                    <a:pt x="7" y="1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7" y="10"/>
                    <a:pt x="17" y="9"/>
                    <a:pt x="17" y="8"/>
                  </a:cubicBezTo>
                  <a:cubicBezTo>
                    <a:pt x="17" y="7"/>
                    <a:pt x="16" y="7"/>
                    <a:pt x="16" y="6"/>
                  </a:cubicBezTo>
                  <a:cubicBezTo>
                    <a:pt x="15" y="5"/>
                    <a:pt x="14" y="5"/>
                    <a:pt x="12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17" name="Freeform 25"/>
            <p:cNvSpPr>
              <a:spLocks noEditPoints="1"/>
            </p:cNvSpPr>
            <p:nvPr userDrawn="1"/>
          </p:nvSpPr>
          <p:spPr bwMode="gray">
            <a:xfrm>
              <a:off x="10814012" y="3670293"/>
              <a:ext cx="90487" cy="101600"/>
            </a:xfrm>
            <a:custGeom>
              <a:avLst/>
              <a:gdLst>
                <a:gd name="T0" fmla="*/ 15 w 24"/>
                <a:gd name="T1" fmla="*/ 22 h 27"/>
                <a:gd name="T2" fmla="*/ 19 w 24"/>
                <a:gd name="T3" fmla="*/ 22 h 27"/>
                <a:gd name="T4" fmla="*/ 23 w 24"/>
                <a:gd name="T5" fmla="*/ 21 h 27"/>
                <a:gd name="T6" fmla="*/ 23 w 24"/>
                <a:gd name="T7" fmla="*/ 26 h 27"/>
                <a:gd name="T8" fmla="*/ 19 w 24"/>
                <a:gd name="T9" fmla="*/ 27 h 27"/>
                <a:gd name="T10" fmla="*/ 14 w 24"/>
                <a:gd name="T11" fmla="*/ 27 h 27"/>
                <a:gd name="T12" fmla="*/ 9 w 24"/>
                <a:gd name="T13" fmla="*/ 27 h 27"/>
                <a:gd name="T14" fmla="*/ 4 w 24"/>
                <a:gd name="T15" fmla="*/ 24 h 27"/>
                <a:gd name="T16" fmla="*/ 1 w 24"/>
                <a:gd name="T17" fmla="*/ 20 h 27"/>
                <a:gd name="T18" fmla="*/ 0 w 24"/>
                <a:gd name="T19" fmla="*/ 14 h 27"/>
                <a:gd name="T20" fmla="*/ 1 w 24"/>
                <a:gd name="T21" fmla="*/ 8 h 27"/>
                <a:gd name="T22" fmla="*/ 4 w 24"/>
                <a:gd name="T23" fmla="*/ 3 h 27"/>
                <a:gd name="T24" fmla="*/ 8 w 24"/>
                <a:gd name="T25" fmla="*/ 1 h 27"/>
                <a:gd name="T26" fmla="*/ 13 w 24"/>
                <a:gd name="T27" fmla="*/ 0 h 27"/>
                <a:gd name="T28" fmla="*/ 17 w 24"/>
                <a:gd name="T29" fmla="*/ 1 h 27"/>
                <a:gd name="T30" fmla="*/ 21 w 24"/>
                <a:gd name="T31" fmla="*/ 3 h 27"/>
                <a:gd name="T32" fmla="*/ 23 w 24"/>
                <a:gd name="T33" fmla="*/ 7 h 27"/>
                <a:gd name="T34" fmla="*/ 24 w 24"/>
                <a:gd name="T35" fmla="*/ 13 h 27"/>
                <a:gd name="T36" fmla="*/ 24 w 24"/>
                <a:gd name="T37" fmla="*/ 15 h 27"/>
                <a:gd name="T38" fmla="*/ 7 w 24"/>
                <a:gd name="T39" fmla="*/ 15 h 27"/>
                <a:gd name="T40" fmla="*/ 8 w 24"/>
                <a:gd name="T41" fmla="*/ 18 h 27"/>
                <a:gd name="T42" fmla="*/ 9 w 24"/>
                <a:gd name="T43" fmla="*/ 21 h 27"/>
                <a:gd name="T44" fmla="*/ 12 w 24"/>
                <a:gd name="T45" fmla="*/ 22 h 27"/>
                <a:gd name="T46" fmla="*/ 15 w 24"/>
                <a:gd name="T47" fmla="*/ 22 h 27"/>
                <a:gd name="T48" fmla="*/ 13 w 24"/>
                <a:gd name="T49" fmla="*/ 5 h 27"/>
                <a:gd name="T50" fmla="*/ 11 w 24"/>
                <a:gd name="T51" fmla="*/ 5 h 27"/>
                <a:gd name="T52" fmla="*/ 9 w 24"/>
                <a:gd name="T53" fmla="*/ 6 h 27"/>
                <a:gd name="T54" fmla="*/ 8 w 24"/>
                <a:gd name="T55" fmla="*/ 8 h 27"/>
                <a:gd name="T56" fmla="*/ 7 w 24"/>
                <a:gd name="T57" fmla="*/ 10 h 27"/>
                <a:gd name="T58" fmla="*/ 18 w 24"/>
                <a:gd name="T59" fmla="*/ 10 h 27"/>
                <a:gd name="T60" fmla="*/ 17 w 24"/>
                <a:gd name="T61" fmla="*/ 8 h 27"/>
                <a:gd name="T62" fmla="*/ 16 w 24"/>
                <a:gd name="T63" fmla="*/ 6 h 27"/>
                <a:gd name="T64" fmla="*/ 13 w 24"/>
                <a:gd name="T65" fmla="*/ 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4" h="27">
                  <a:moveTo>
                    <a:pt x="15" y="22"/>
                  </a:moveTo>
                  <a:cubicBezTo>
                    <a:pt x="17" y="22"/>
                    <a:pt x="18" y="22"/>
                    <a:pt x="19" y="22"/>
                  </a:cubicBezTo>
                  <a:cubicBezTo>
                    <a:pt x="21" y="21"/>
                    <a:pt x="22" y="21"/>
                    <a:pt x="23" y="21"/>
                  </a:cubicBezTo>
                  <a:cubicBezTo>
                    <a:pt x="23" y="26"/>
                    <a:pt x="23" y="26"/>
                    <a:pt x="23" y="26"/>
                  </a:cubicBezTo>
                  <a:cubicBezTo>
                    <a:pt x="22" y="26"/>
                    <a:pt x="21" y="27"/>
                    <a:pt x="19" y="27"/>
                  </a:cubicBezTo>
                  <a:cubicBezTo>
                    <a:pt x="18" y="27"/>
                    <a:pt x="16" y="27"/>
                    <a:pt x="14" y="27"/>
                  </a:cubicBezTo>
                  <a:cubicBezTo>
                    <a:pt x="12" y="27"/>
                    <a:pt x="10" y="27"/>
                    <a:pt x="9" y="27"/>
                  </a:cubicBezTo>
                  <a:cubicBezTo>
                    <a:pt x="7" y="26"/>
                    <a:pt x="6" y="25"/>
                    <a:pt x="4" y="24"/>
                  </a:cubicBezTo>
                  <a:cubicBezTo>
                    <a:pt x="3" y="23"/>
                    <a:pt x="2" y="22"/>
                    <a:pt x="1" y="20"/>
                  </a:cubicBezTo>
                  <a:cubicBezTo>
                    <a:pt x="0" y="18"/>
                    <a:pt x="0" y="16"/>
                    <a:pt x="0" y="14"/>
                  </a:cubicBezTo>
                  <a:cubicBezTo>
                    <a:pt x="0" y="12"/>
                    <a:pt x="0" y="10"/>
                    <a:pt x="1" y="8"/>
                  </a:cubicBezTo>
                  <a:cubicBezTo>
                    <a:pt x="2" y="6"/>
                    <a:pt x="3" y="5"/>
                    <a:pt x="4" y="3"/>
                  </a:cubicBezTo>
                  <a:cubicBezTo>
                    <a:pt x="5" y="2"/>
                    <a:pt x="6" y="1"/>
                    <a:pt x="8" y="1"/>
                  </a:cubicBezTo>
                  <a:cubicBezTo>
                    <a:pt x="9" y="0"/>
                    <a:pt x="11" y="0"/>
                    <a:pt x="13" y="0"/>
                  </a:cubicBezTo>
                  <a:cubicBezTo>
                    <a:pt x="14" y="0"/>
                    <a:pt x="16" y="0"/>
                    <a:pt x="17" y="1"/>
                  </a:cubicBezTo>
                  <a:cubicBezTo>
                    <a:pt x="19" y="1"/>
                    <a:pt x="20" y="2"/>
                    <a:pt x="21" y="3"/>
                  </a:cubicBezTo>
                  <a:cubicBezTo>
                    <a:pt x="22" y="4"/>
                    <a:pt x="23" y="5"/>
                    <a:pt x="23" y="7"/>
                  </a:cubicBezTo>
                  <a:cubicBezTo>
                    <a:pt x="24" y="9"/>
                    <a:pt x="24" y="11"/>
                    <a:pt x="24" y="13"/>
                  </a:cubicBezTo>
                  <a:cubicBezTo>
                    <a:pt x="24" y="14"/>
                    <a:pt x="24" y="15"/>
                    <a:pt x="24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6"/>
                    <a:pt x="7" y="17"/>
                    <a:pt x="8" y="18"/>
                  </a:cubicBezTo>
                  <a:cubicBezTo>
                    <a:pt x="8" y="19"/>
                    <a:pt x="9" y="20"/>
                    <a:pt x="9" y="21"/>
                  </a:cubicBezTo>
                  <a:cubicBezTo>
                    <a:pt x="10" y="21"/>
                    <a:pt x="11" y="21"/>
                    <a:pt x="12" y="22"/>
                  </a:cubicBezTo>
                  <a:cubicBezTo>
                    <a:pt x="13" y="22"/>
                    <a:pt x="14" y="22"/>
                    <a:pt x="15" y="22"/>
                  </a:cubicBezTo>
                  <a:close/>
                  <a:moveTo>
                    <a:pt x="13" y="5"/>
                  </a:moveTo>
                  <a:cubicBezTo>
                    <a:pt x="12" y="5"/>
                    <a:pt x="11" y="5"/>
                    <a:pt x="11" y="5"/>
                  </a:cubicBezTo>
                  <a:cubicBezTo>
                    <a:pt x="10" y="5"/>
                    <a:pt x="9" y="6"/>
                    <a:pt x="9" y="6"/>
                  </a:cubicBezTo>
                  <a:cubicBezTo>
                    <a:pt x="8" y="7"/>
                    <a:pt x="8" y="7"/>
                    <a:pt x="8" y="8"/>
                  </a:cubicBezTo>
                  <a:cubicBezTo>
                    <a:pt x="8" y="9"/>
                    <a:pt x="7" y="10"/>
                    <a:pt x="7" y="1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8" y="10"/>
                    <a:pt x="17" y="9"/>
                    <a:pt x="17" y="8"/>
                  </a:cubicBezTo>
                  <a:cubicBezTo>
                    <a:pt x="17" y="7"/>
                    <a:pt x="17" y="7"/>
                    <a:pt x="16" y="6"/>
                  </a:cubicBezTo>
                  <a:cubicBezTo>
                    <a:pt x="15" y="5"/>
                    <a:pt x="14" y="5"/>
                    <a:pt x="13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18" name="Freeform 26"/>
            <p:cNvSpPr>
              <a:spLocks/>
            </p:cNvSpPr>
            <p:nvPr userDrawn="1"/>
          </p:nvSpPr>
          <p:spPr bwMode="gray">
            <a:xfrm>
              <a:off x="10926727" y="3670293"/>
              <a:ext cx="60325" cy="101600"/>
            </a:xfrm>
            <a:custGeom>
              <a:avLst/>
              <a:gdLst>
                <a:gd name="T0" fmla="*/ 16 w 16"/>
                <a:gd name="T1" fmla="*/ 5 h 27"/>
                <a:gd name="T2" fmla="*/ 15 w 16"/>
                <a:gd name="T3" fmla="*/ 5 h 27"/>
                <a:gd name="T4" fmla="*/ 10 w 16"/>
                <a:gd name="T5" fmla="*/ 6 h 27"/>
                <a:gd name="T6" fmla="*/ 7 w 16"/>
                <a:gd name="T7" fmla="*/ 9 h 27"/>
                <a:gd name="T8" fmla="*/ 7 w 16"/>
                <a:gd name="T9" fmla="*/ 27 h 27"/>
                <a:gd name="T10" fmla="*/ 0 w 16"/>
                <a:gd name="T11" fmla="*/ 27 h 27"/>
                <a:gd name="T12" fmla="*/ 0 w 16"/>
                <a:gd name="T13" fmla="*/ 0 h 27"/>
                <a:gd name="T14" fmla="*/ 6 w 16"/>
                <a:gd name="T15" fmla="*/ 0 h 27"/>
                <a:gd name="T16" fmla="*/ 6 w 16"/>
                <a:gd name="T17" fmla="*/ 4 h 27"/>
                <a:gd name="T18" fmla="*/ 6 w 16"/>
                <a:gd name="T19" fmla="*/ 4 h 27"/>
                <a:gd name="T20" fmla="*/ 9 w 16"/>
                <a:gd name="T21" fmla="*/ 1 h 27"/>
                <a:gd name="T22" fmla="*/ 14 w 16"/>
                <a:gd name="T23" fmla="*/ 0 h 27"/>
                <a:gd name="T24" fmla="*/ 16 w 16"/>
                <a:gd name="T25" fmla="*/ 0 h 27"/>
                <a:gd name="T26" fmla="*/ 16 w 16"/>
                <a:gd name="T27" fmla="*/ 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27">
                  <a:moveTo>
                    <a:pt x="16" y="5"/>
                  </a:moveTo>
                  <a:cubicBezTo>
                    <a:pt x="15" y="5"/>
                    <a:pt x="15" y="5"/>
                    <a:pt x="15" y="5"/>
                  </a:cubicBezTo>
                  <a:cubicBezTo>
                    <a:pt x="14" y="5"/>
                    <a:pt x="12" y="6"/>
                    <a:pt x="10" y="6"/>
                  </a:cubicBezTo>
                  <a:cubicBezTo>
                    <a:pt x="9" y="7"/>
                    <a:pt x="8" y="8"/>
                    <a:pt x="7" y="9"/>
                  </a:cubicBezTo>
                  <a:cubicBezTo>
                    <a:pt x="7" y="27"/>
                    <a:pt x="7" y="27"/>
                    <a:pt x="7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7" y="3"/>
                    <a:pt x="8" y="2"/>
                    <a:pt x="9" y="1"/>
                  </a:cubicBezTo>
                  <a:cubicBezTo>
                    <a:pt x="11" y="0"/>
                    <a:pt x="12" y="0"/>
                    <a:pt x="14" y="0"/>
                  </a:cubicBezTo>
                  <a:cubicBezTo>
                    <a:pt x="15" y="0"/>
                    <a:pt x="15" y="0"/>
                    <a:pt x="16" y="0"/>
                  </a:cubicBezTo>
                  <a:lnTo>
                    <a:pt x="16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19" name="Freeform 27"/>
            <p:cNvSpPr>
              <a:spLocks/>
            </p:cNvSpPr>
            <p:nvPr userDrawn="1"/>
          </p:nvSpPr>
          <p:spPr bwMode="gray">
            <a:xfrm>
              <a:off x="11009280" y="3632194"/>
              <a:ext cx="41275" cy="57150"/>
            </a:xfrm>
            <a:custGeom>
              <a:avLst/>
              <a:gdLst>
                <a:gd name="T0" fmla="*/ 10 w 26"/>
                <a:gd name="T1" fmla="*/ 0 h 36"/>
                <a:gd name="T2" fmla="*/ 26 w 26"/>
                <a:gd name="T3" fmla="*/ 0 h 36"/>
                <a:gd name="T4" fmla="*/ 12 w 26"/>
                <a:gd name="T5" fmla="*/ 36 h 36"/>
                <a:gd name="T6" fmla="*/ 0 w 26"/>
                <a:gd name="T7" fmla="*/ 36 h 36"/>
                <a:gd name="T8" fmla="*/ 10 w 26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36">
                  <a:moveTo>
                    <a:pt x="10" y="0"/>
                  </a:moveTo>
                  <a:lnTo>
                    <a:pt x="26" y="0"/>
                  </a:lnTo>
                  <a:lnTo>
                    <a:pt x="12" y="36"/>
                  </a:lnTo>
                  <a:lnTo>
                    <a:pt x="0" y="36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20" name="Freeform 28"/>
            <p:cNvSpPr>
              <a:spLocks/>
            </p:cNvSpPr>
            <p:nvPr userDrawn="1"/>
          </p:nvSpPr>
          <p:spPr bwMode="gray">
            <a:xfrm>
              <a:off x="11055319" y="3667119"/>
              <a:ext cx="74613" cy="104775"/>
            </a:xfrm>
            <a:custGeom>
              <a:avLst/>
              <a:gdLst>
                <a:gd name="T0" fmla="*/ 13 w 20"/>
                <a:gd name="T1" fmla="*/ 20 h 28"/>
                <a:gd name="T2" fmla="*/ 13 w 20"/>
                <a:gd name="T3" fmla="*/ 19 h 28"/>
                <a:gd name="T4" fmla="*/ 11 w 20"/>
                <a:gd name="T5" fmla="*/ 18 h 28"/>
                <a:gd name="T6" fmla="*/ 9 w 20"/>
                <a:gd name="T7" fmla="*/ 17 h 28"/>
                <a:gd name="T8" fmla="*/ 7 w 20"/>
                <a:gd name="T9" fmla="*/ 16 h 28"/>
                <a:gd name="T10" fmla="*/ 5 w 20"/>
                <a:gd name="T11" fmla="*/ 16 h 28"/>
                <a:gd name="T12" fmla="*/ 2 w 20"/>
                <a:gd name="T13" fmla="*/ 14 h 28"/>
                <a:gd name="T14" fmla="*/ 1 w 20"/>
                <a:gd name="T15" fmla="*/ 12 h 28"/>
                <a:gd name="T16" fmla="*/ 0 w 20"/>
                <a:gd name="T17" fmla="*/ 9 h 28"/>
                <a:gd name="T18" fmla="*/ 1 w 20"/>
                <a:gd name="T19" fmla="*/ 5 h 28"/>
                <a:gd name="T20" fmla="*/ 3 w 20"/>
                <a:gd name="T21" fmla="*/ 3 h 28"/>
                <a:gd name="T22" fmla="*/ 6 w 20"/>
                <a:gd name="T23" fmla="*/ 1 h 28"/>
                <a:gd name="T24" fmla="*/ 10 w 20"/>
                <a:gd name="T25" fmla="*/ 0 h 28"/>
                <a:gd name="T26" fmla="*/ 15 w 20"/>
                <a:gd name="T27" fmla="*/ 1 h 28"/>
                <a:gd name="T28" fmla="*/ 19 w 20"/>
                <a:gd name="T29" fmla="*/ 2 h 28"/>
                <a:gd name="T30" fmla="*/ 19 w 20"/>
                <a:gd name="T31" fmla="*/ 7 h 28"/>
                <a:gd name="T32" fmla="*/ 17 w 20"/>
                <a:gd name="T33" fmla="*/ 7 h 28"/>
                <a:gd name="T34" fmla="*/ 15 w 20"/>
                <a:gd name="T35" fmla="*/ 6 h 28"/>
                <a:gd name="T36" fmla="*/ 13 w 20"/>
                <a:gd name="T37" fmla="*/ 6 h 28"/>
                <a:gd name="T38" fmla="*/ 11 w 20"/>
                <a:gd name="T39" fmla="*/ 6 h 28"/>
                <a:gd name="T40" fmla="*/ 9 w 20"/>
                <a:gd name="T41" fmla="*/ 6 h 28"/>
                <a:gd name="T42" fmla="*/ 8 w 20"/>
                <a:gd name="T43" fmla="*/ 7 h 28"/>
                <a:gd name="T44" fmla="*/ 7 w 20"/>
                <a:gd name="T45" fmla="*/ 7 h 28"/>
                <a:gd name="T46" fmla="*/ 7 w 20"/>
                <a:gd name="T47" fmla="*/ 8 h 28"/>
                <a:gd name="T48" fmla="*/ 7 w 20"/>
                <a:gd name="T49" fmla="*/ 10 h 28"/>
                <a:gd name="T50" fmla="*/ 8 w 20"/>
                <a:gd name="T51" fmla="*/ 11 h 28"/>
                <a:gd name="T52" fmla="*/ 10 w 20"/>
                <a:gd name="T53" fmla="*/ 11 h 28"/>
                <a:gd name="T54" fmla="*/ 12 w 20"/>
                <a:gd name="T55" fmla="*/ 12 h 28"/>
                <a:gd name="T56" fmla="*/ 15 w 20"/>
                <a:gd name="T57" fmla="*/ 13 h 28"/>
                <a:gd name="T58" fmla="*/ 17 w 20"/>
                <a:gd name="T59" fmla="*/ 14 h 28"/>
                <a:gd name="T60" fmla="*/ 19 w 20"/>
                <a:gd name="T61" fmla="*/ 16 h 28"/>
                <a:gd name="T62" fmla="*/ 20 w 20"/>
                <a:gd name="T63" fmla="*/ 19 h 28"/>
                <a:gd name="T64" fmla="*/ 19 w 20"/>
                <a:gd name="T65" fmla="*/ 23 h 28"/>
                <a:gd name="T66" fmla="*/ 16 w 20"/>
                <a:gd name="T67" fmla="*/ 26 h 28"/>
                <a:gd name="T68" fmla="*/ 13 w 20"/>
                <a:gd name="T69" fmla="*/ 28 h 28"/>
                <a:gd name="T70" fmla="*/ 8 w 20"/>
                <a:gd name="T71" fmla="*/ 28 h 28"/>
                <a:gd name="T72" fmla="*/ 4 w 20"/>
                <a:gd name="T73" fmla="*/ 28 h 28"/>
                <a:gd name="T74" fmla="*/ 0 w 20"/>
                <a:gd name="T75" fmla="*/ 27 h 28"/>
                <a:gd name="T76" fmla="*/ 0 w 20"/>
                <a:gd name="T77" fmla="*/ 22 h 28"/>
                <a:gd name="T78" fmla="*/ 4 w 20"/>
                <a:gd name="T79" fmla="*/ 23 h 28"/>
                <a:gd name="T80" fmla="*/ 8 w 20"/>
                <a:gd name="T81" fmla="*/ 23 h 28"/>
                <a:gd name="T82" fmla="*/ 10 w 20"/>
                <a:gd name="T83" fmla="*/ 23 h 28"/>
                <a:gd name="T84" fmla="*/ 12 w 20"/>
                <a:gd name="T85" fmla="*/ 23 h 28"/>
                <a:gd name="T86" fmla="*/ 13 w 20"/>
                <a:gd name="T87" fmla="*/ 22 h 28"/>
                <a:gd name="T88" fmla="*/ 13 w 20"/>
                <a:gd name="T89" fmla="*/ 2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" h="28">
                  <a:moveTo>
                    <a:pt x="13" y="20"/>
                  </a:moveTo>
                  <a:cubicBezTo>
                    <a:pt x="13" y="19"/>
                    <a:pt x="13" y="19"/>
                    <a:pt x="13" y="19"/>
                  </a:cubicBezTo>
                  <a:cubicBezTo>
                    <a:pt x="12" y="18"/>
                    <a:pt x="12" y="18"/>
                    <a:pt x="11" y="18"/>
                  </a:cubicBezTo>
                  <a:cubicBezTo>
                    <a:pt x="11" y="17"/>
                    <a:pt x="10" y="17"/>
                    <a:pt x="9" y="17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6" y="16"/>
                    <a:pt x="6" y="16"/>
                    <a:pt x="5" y="16"/>
                  </a:cubicBezTo>
                  <a:cubicBezTo>
                    <a:pt x="4" y="15"/>
                    <a:pt x="3" y="15"/>
                    <a:pt x="2" y="14"/>
                  </a:cubicBezTo>
                  <a:cubicBezTo>
                    <a:pt x="2" y="14"/>
                    <a:pt x="1" y="13"/>
                    <a:pt x="1" y="12"/>
                  </a:cubicBezTo>
                  <a:cubicBezTo>
                    <a:pt x="0" y="11"/>
                    <a:pt x="0" y="10"/>
                    <a:pt x="0" y="9"/>
                  </a:cubicBezTo>
                  <a:cubicBezTo>
                    <a:pt x="0" y="8"/>
                    <a:pt x="0" y="6"/>
                    <a:pt x="1" y="5"/>
                  </a:cubicBezTo>
                  <a:cubicBezTo>
                    <a:pt x="2" y="4"/>
                    <a:pt x="2" y="3"/>
                    <a:pt x="3" y="3"/>
                  </a:cubicBezTo>
                  <a:cubicBezTo>
                    <a:pt x="4" y="2"/>
                    <a:pt x="5" y="1"/>
                    <a:pt x="6" y="1"/>
                  </a:cubicBezTo>
                  <a:cubicBezTo>
                    <a:pt x="7" y="1"/>
                    <a:pt x="9" y="0"/>
                    <a:pt x="10" y="0"/>
                  </a:cubicBezTo>
                  <a:cubicBezTo>
                    <a:pt x="12" y="0"/>
                    <a:pt x="13" y="1"/>
                    <a:pt x="15" y="1"/>
                  </a:cubicBezTo>
                  <a:cubicBezTo>
                    <a:pt x="16" y="1"/>
                    <a:pt x="17" y="1"/>
                    <a:pt x="19" y="2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0" y="6"/>
                    <a:pt x="9" y="6"/>
                    <a:pt x="9" y="6"/>
                  </a:cubicBezTo>
                  <a:cubicBezTo>
                    <a:pt x="8" y="6"/>
                    <a:pt x="8" y="6"/>
                    <a:pt x="8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9"/>
                    <a:pt x="7" y="9"/>
                    <a:pt x="7" y="10"/>
                  </a:cubicBezTo>
                  <a:cubicBezTo>
                    <a:pt x="7" y="10"/>
                    <a:pt x="8" y="11"/>
                    <a:pt x="8" y="11"/>
                  </a:cubicBezTo>
                  <a:cubicBezTo>
                    <a:pt x="9" y="11"/>
                    <a:pt x="10" y="11"/>
                    <a:pt x="10" y="11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12"/>
                    <a:pt x="14" y="12"/>
                    <a:pt x="15" y="13"/>
                  </a:cubicBezTo>
                  <a:cubicBezTo>
                    <a:pt x="16" y="13"/>
                    <a:pt x="16" y="13"/>
                    <a:pt x="17" y="14"/>
                  </a:cubicBezTo>
                  <a:cubicBezTo>
                    <a:pt x="18" y="15"/>
                    <a:pt x="18" y="15"/>
                    <a:pt x="19" y="16"/>
                  </a:cubicBezTo>
                  <a:cubicBezTo>
                    <a:pt x="19" y="17"/>
                    <a:pt x="20" y="18"/>
                    <a:pt x="20" y="19"/>
                  </a:cubicBezTo>
                  <a:cubicBezTo>
                    <a:pt x="20" y="21"/>
                    <a:pt x="19" y="22"/>
                    <a:pt x="19" y="23"/>
                  </a:cubicBezTo>
                  <a:cubicBezTo>
                    <a:pt x="18" y="25"/>
                    <a:pt x="17" y="25"/>
                    <a:pt x="16" y="26"/>
                  </a:cubicBezTo>
                  <a:cubicBezTo>
                    <a:pt x="15" y="27"/>
                    <a:pt x="14" y="28"/>
                    <a:pt x="13" y="28"/>
                  </a:cubicBezTo>
                  <a:cubicBezTo>
                    <a:pt x="11" y="28"/>
                    <a:pt x="10" y="28"/>
                    <a:pt x="8" y="28"/>
                  </a:cubicBezTo>
                  <a:cubicBezTo>
                    <a:pt x="7" y="28"/>
                    <a:pt x="5" y="28"/>
                    <a:pt x="4" y="28"/>
                  </a:cubicBezTo>
                  <a:cubicBezTo>
                    <a:pt x="2" y="28"/>
                    <a:pt x="1" y="27"/>
                    <a:pt x="0" y="27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2" y="22"/>
                    <a:pt x="3" y="23"/>
                    <a:pt x="4" y="23"/>
                  </a:cubicBezTo>
                  <a:cubicBezTo>
                    <a:pt x="5" y="23"/>
                    <a:pt x="7" y="23"/>
                    <a:pt x="8" y="23"/>
                  </a:cubicBezTo>
                  <a:cubicBezTo>
                    <a:pt x="8" y="23"/>
                    <a:pt x="9" y="23"/>
                    <a:pt x="10" y="23"/>
                  </a:cubicBezTo>
                  <a:cubicBezTo>
                    <a:pt x="11" y="23"/>
                    <a:pt x="11" y="23"/>
                    <a:pt x="12" y="23"/>
                  </a:cubicBezTo>
                  <a:cubicBezTo>
                    <a:pt x="12" y="22"/>
                    <a:pt x="13" y="22"/>
                    <a:pt x="13" y="22"/>
                  </a:cubicBezTo>
                  <a:cubicBezTo>
                    <a:pt x="13" y="21"/>
                    <a:pt x="13" y="21"/>
                    <a:pt x="13" y="2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21" name="Freeform 29"/>
            <p:cNvSpPr>
              <a:spLocks/>
            </p:cNvSpPr>
            <p:nvPr userDrawn="1"/>
          </p:nvSpPr>
          <p:spPr bwMode="gray">
            <a:xfrm>
              <a:off x="11185488" y="3670293"/>
              <a:ext cx="76200" cy="101600"/>
            </a:xfrm>
            <a:custGeom>
              <a:avLst/>
              <a:gdLst>
                <a:gd name="T0" fmla="*/ 20 w 20"/>
                <a:gd name="T1" fmla="*/ 26 h 27"/>
                <a:gd name="T2" fmla="*/ 17 w 20"/>
                <a:gd name="T3" fmla="*/ 27 h 27"/>
                <a:gd name="T4" fmla="*/ 14 w 20"/>
                <a:gd name="T5" fmla="*/ 27 h 27"/>
                <a:gd name="T6" fmla="*/ 8 w 20"/>
                <a:gd name="T7" fmla="*/ 26 h 27"/>
                <a:gd name="T8" fmla="*/ 4 w 20"/>
                <a:gd name="T9" fmla="*/ 24 h 27"/>
                <a:gd name="T10" fmla="*/ 1 w 20"/>
                <a:gd name="T11" fmla="*/ 20 h 27"/>
                <a:gd name="T12" fmla="*/ 0 w 20"/>
                <a:gd name="T13" fmla="*/ 14 h 27"/>
                <a:gd name="T14" fmla="*/ 1 w 20"/>
                <a:gd name="T15" fmla="*/ 8 h 27"/>
                <a:gd name="T16" fmla="*/ 4 w 20"/>
                <a:gd name="T17" fmla="*/ 3 h 27"/>
                <a:gd name="T18" fmla="*/ 9 w 20"/>
                <a:gd name="T19" fmla="*/ 1 h 27"/>
                <a:gd name="T20" fmla="*/ 14 w 20"/>
                <a:gd name="T21" fmla="*/ 0 h 27"/>
                <a:gd name="T22" fmla="*/ 17 w 20"/>
                <a:gd name="T23" fmla="*/ 0 h 27"/>
                <a:gd name="T24" fmla="*/ 20 w 20"/>
                <a:gd name="T25" fmla="*/ 1 h 27"/>
                <a:gd name="T26" fmla="*/ 20 w 20"/>
                <a:gd name="T27" fmla="*/ 6 h 27"/>
                <a:gd name="T28" fmla="*/ 17 w 20"/>
                <a:gd name="T29" fmla="*/ 5 h 27"/>
                <a:gd name="T30" fmla="*/ 15 w 20"/>
                <a:gd name="T31" fmla="*/ 5 h 27"/>
                <a:gd name="T32" fmla="*/ 12 w 20"/>
                <a:gd name="T33" fmla="*/ 6 h 27"/>
                <a:gd name="T34" fmla="*/ 9 w 20"/>
                <a:gd name="T35" fmla="*/ 7 h 27"/>
                <a:gd name="T36" fmla="*/ 7 w 20"/>
                <a:gd name="T37" fmla="*/ 10 h 27"/>
                <a:gd name="T38" fmla="*/ 7 w 20"/>
                <a:gd name="T39" fmla="*/ 14 h 27"/>
                <a:gd name="T40" fmla="*/ 7 w 20"/>
                <a:gd name="T41" fmla="*/ 17 h 27"/>
                <a:gd name="T42" fmla="*/ 9 w 20"/>
                <a:gd name="T43" fmla="*/ 20 h 27"/>
                <a:gd name="T44" fmla="*/ 11 w 20"/>
                <a:gd name="T45" fmla="*/ 21 h 27"/>
                <a:gd name="T46" fmla="*/ 14 w 20"/>
                <a:gd name="T47" fmla="*/ 22 h 27"/>
                <a:gd name="T48" fmla="*/ 18 w 20"/>
                <a:gd name="T49" fmla="*/ 22 h 27"/>
                <a:gd name="T50" fmla="*/ 20 w 20"/>
                <a:gd name="T51" fmla="*/ 21 h 27"/>
                <a:gd name="T52" fmla="*/ 20 w 20"/>
                <a:gd name="T53" fmla="*/ 26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0" h="27">
                  <a:moveTo>
                    <a:pt x="20" y="26"/>
                  </a:moveTo>
                  <a:cubicBezTo>
                    <a:pt x="19" y="26"/>
                    <a:pt x="18" y="27"/>
                    <a:pt x="17" y="27"/>
                  </a:cubicBezTo>
                  <a:cubicBezTo>
                    <a:pt x="16" y="27"/>
                    <a:pt x="15" y="27"/>
                    <a:pt x="14" y="27"/>
                  </a:cubicBezTo>
                  <a:cubicBezTo>
                    <a:pt x="12" y="27"/>
                    <a:pt x="10" y="27"/>
                    <a:pt x="8" y="26"/>
                  </a:cubicBezTo>
                  <a:cubicBezTo>
                    <a:pt x="7" y="26"/>
                    <a:pt x="5" y="25"/>
                    <a:pt x="4" y="24"/>
                  </a:cubicBezTo>
                  <a:cubicBezTo>
                    <a:pt x="3" y="23"/>
                    <a:pt x="2" y="22"/>
                    <a:pt x="1" y="20"/>
                  </a:cubicBezTo>
                  <a:cubicBezTo>
                    <a:pt x="0" y="18"/>
                    <a:pt x="0" y="16"/>
                    <a:pt x="0" y="14"/>
                  </a:cubicBezTo>
                  <a:cubicBezTo>
                    <a:pt x="0" y="12"/>
                    <a:pt x="0" y="10"/>
                    <a:pt x="1" y="8"/>
                  </a:cubicBezTo>
                  <a:cubicBezTo>
                    <a:pt x="2" y="6"/>
                    <a:pt x="3" y="4"/>
                    <a:pt x="4" y="3"/>
                  </a:cubicBezTo>
                  <a:cubicBezTo>
                    <a:pt x="6" y="2"/>
                    <a:pt x="7" y="1"/>
                    <a:pt x="9" y="1"/>
                  </a:cubicBezTo>
                  <a:cubicBezTo>
                    <a:pt x="10" y="0"/>
                    <a:pt x="12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1"/>
                    <a:pt x="20" y="1"/>
                  </a:cubicBezTo>
                  <a:cubicBezTo>
                    <a:pt x="20" y="6"/>
                    <a:pt x="20" y="6"/>
                    <a:pt x="20" y="6"/>
                  </a:cubicBezTo>
                  <a:cubicBezTo>
                    <a:pt x="19" y="6"/>
                    <a:pt x="18" y="6"/>
                    <a:pt x="17" y="5"/>
                  </a:cubicBezTo>
                  <a:cubicBezTo>
                    <a:pt x="16" y="5"/>
                    <a:pt x="15" y="5"/>
                    <a:pt x="15" y="5"/>
                  </a:cubicBezTo>
                  <a:cubicBezTo>
                    <a:pt x="14" y="5"/>
                    <a:pt x="13" y="5"/>
                    <a:pt x="12" y="6"/>
                  </a:cubicBezTo>
                  <a:cubicBezTo>
                    <a:pt x="11" y="6"/>
                    <a:pt x="10" y="6"/>
                    <a:pt x="9" y="7"/>
                  </a:cubicBezTo>
                  <a:cubicBezTo>
                    <a:pt x="8" y="8"/>
                    <a:pt x="8" y="9"/>
                    <a:pt x="7" y="10"/>
                  </a:cubicBezTo>
                  <a:cubicBezTo>
                    <a:pt x="7" y="11"/>
                    <a:pt x="7" y="12"/>
                    <a:pt x="7" y="14"/>
                  </a:cubicBezTo>
                  <a:cubicBezTo>
                    <a:pt x="7" y="15"/>
                    <a:pt x="7" y="16"/>
                    <a:pt x="7" y="17"/>
                  </a:cubicBezTo>
                  <a:cubicBezTo>
                    <a:pt x="7" y="18"/>
                    <a:pt x="8" y="19"/>
                    <a:pt x="9" y="20"/>
                  </a:cubicBezTo>
                  <a:cubicBezTo>
                    <a:pt x="9" y="20"/>
                    <a:pt x="10" y="21"/>
                    <a:pt x="11" y="21"/>
                  </a:cubicBezTo>
                  <a:cubicBezTo>
                    <a:pt x="12" y="22"/>
                    <a:pt x="13" y="22"/>
                    <a:pt x="14" y="22"/>
                  </a:cubicBezTo>
                  <a:cubicBezTo>
                    <a:pt x="16" y="22"/>
                    <a:pt x="17" y="22"/>
                    <a:pt x="18" y="22"/>
                  </a:cubicBezTo>
                  <a:cubicBezTo>
                    <a:pt x="19" y="22"/>
                    <a:pt x="19" y="21"/>
                    <a:pt x="20" y="21"/>
                  </a:cubicBezTo>
                  <a:lnTo>
                    <a:pt x="20" y="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22" name="Freeform 30"/>
            <p:cNvSpPr>
              <a:spLocks/>
            </p:cNvSpPr>
            <p:nvPr userDrawn="1"/>
          </p:nvSpPr>
          <p:spPr bwMode="gray">
            <a:xfrm>
              <a:off x="11283903" y="3621079"/>
              <a:ext cx="88900" cy="150812"/>
            </a:xfrm>
            <a:custGeom>
              <a:avLst/>
              <a:gdLst>
                <a:gd name="T0" fmla="*/ 7 w 24"/>
                <a:gd name="T1" fmla="*/ 11 h 40"/>
                <a:gd name="T2" fmla="*/ 7 w 24"/>
                <a:gd name="T3" fmla="*/ 14 h 40"/>
                <a:gd name="T4" fmla="*/ 6 w 24"/>
                <a:gd name="T5" fmla="*/ 17 h 40"/>
                <a:gd name="T6" fmla="*/ 6 w 24"/>
                <a:gd name="T7" fmla="*/ 17 h 40"/>
                <a:gd name="T8" fmla="*/ 8 w 24"/>
                <a:gd name="T9" fmla="*/ 15 h 40"/>
                <a:gd name="T10" fmla="*/ 10 w 24"/>
                <a:gd name="T11" fmla="*/ 14 h 40"/>
                <a:gd name="T12" fmla="*/ 12 w 24"/>
                <a:gd name="T13" fmla="*/ 13 h 40"/>
                <a:gd name="T14" fmla="*/ 15 w 24"/>
                <a:gd name="T15" fmla="*/ 13 h 40"/>
                <a:gd name="T16" fmla="*/ 17 w 24"/>
                <a:gd name="T17" fmla="*/ 13 h 40"/>
                <a:gd name="T18" fmla="*/ 20 w 24"/>
                <a:gd name="T19" fmla="*/ 14 h 40"/>
                <a:gd name="T20" fmla="*/ 21 w 24"/>
                <a:gd name="T21" fmla="*/ 15 h 40"/>
                <a:gd name="T22" fmla="*/ 23 w 24"/>
                <a:gd name="T23" fmla="*/ 17 h 40"/>
                <a:gd name="T24" fmla="*/ 24 w 24"/>
                <a:gd name="T25" fmla="*/ 20 h 40"/>
                <a:gd name="T26" fmla="*/ 24 w 24"/>
                <a:gd name="T27" fmla="*/ 23 h 40"/>
                <a:gd name="T28" fmla="*/ 24 w 24"/>
                <a:gd name="T29" fmla="*/ 40 h 40"/>
                <a:gd name="T30" fmla="*/ 18 w 24"/>
                <a:gd name="T31" fmla="*/ 40 h 40"/>
                <a:gd name="T32" fmla="*/ 18 w 24"/>
                <a:gd name="T33" fmla="*/ 24 h 40"/>
                <a:gd name="T34" fmla="*/ 18 w 24"/>
                <a:gd name="T35" fmla="*/ 22 h 40"/>
                <a:gd name="T36" fmla="*/ 17 w 24"/>
                <a:gd name="T37" fmla="*/ 20 h 40"/>
                <a:gd name="T38" fmla="*/ 16 w 24"/>
                <a:gd name="T39" fmla="*/ 19 h 40"/>
                <a:gd name="T40" fmla="*/ 13 w 24"/>
                <a:gd name="T41" fmla="*/ 18 h 40"/>
                <a:gd name="T42" fmla="*/ 10 w 24"/>
                <a:gd name="T43" fmla="*/ 19 h 40"/>
                <a:gd name="T44" fmla="*/ 7 w 24"/>
                <a:gd name="T45" fmla="*/ 22 h 40"/>
                <a:gd name="T46" fmla="*/ 7 w 24"/>
                <a:gd name="T47" fmla="*/ 40 h 40"/>
                <a:gd name="T48" fmla="*/ 0 w 24"/>
                <a:gd name="T49" fmla="*/ 40 h 40"/>
                <a:gd name="T50" fmla="*/ 0 w 24"/>
                <a:gd name="T51" fmla="*/ 0 h 40"/>
                <a:gd name="T52" fmla="*/ 7 w 24"/>
                <a:gd name="T53" fmla="*/ 0 h 40"/>
                <a:gd name="T54" fmla="*/ 7 w 24"/>
                <a:gd name="T55" fmla="*/ 11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4" h="40">
                  <a:moveTo>
                    <a:pt x="7" y="11"/>
                  </a:moveTo>
                  <a:cubicBezTo>
                    <a:pt x="7" y="12"/>
                    <a:pt x="7" y="13"/>
                    <a:pt x="7" y="14"/>
                  </a:cubicBezTo>
                  <a:cubicBezTo>
                    <a:pt x="7" y="15"/>
                    <a:pt x="7" y="16"/>
                    <a:pt x="6" y="17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7" y="16"/>
                    <a:pt x="7" y="16"/>
                    <a:pt x="8" y="15"/>
                  </a:cubicBezTo>
                  <a:cubicBezTo>
                    <a:pt x="8" y="15"/>
                    <a:pt x="9" y="14"/>
                    <a:pt x="10" y="14"/>
                  </a:cubicBezTo>
                  <a:cubicBezTo>
                    <a:pt x="10" y="14"/>
                    <a:pt x="11" y="13"/>
                    <a:pt x="12" y="13"/>
                  </a:cubicBezTo>
                  <a:cubicBezTo>
                    <a:pt x="13" y="13"/>
                    <a:pt x="14" y="13"/>
                    <a:pt x="15" y="13"/>
                  </a:cubicBezTo>
                  <a:cubicBezTo>
                    <a:pt x="16" y="13"/>
                    <a:pt x="16" y="13"/>
                    <a:pt x="17" y="13"/>
                  </a:cubicBezTo>
                  <a:cubicBezTo>
                    <a:pt x="18" y="13"/>
                    <a:pt x="19" y="13"/>
                    <a:pt x="20" y="14"/>
                  </a:cubicBezTo>
                  <a:cubicBezTo>
                    <a:pt x="20" y="14"/>
                    <a:pt x="21" y="15"/>
                    <a:pt x="21" y="15"/>
                  </a:cubicBezTo>
                  <a:cubicBezTo>
                    <a:pt x="22" y="16"/>
                    <a:pt x="23" y="16"/>
                    <a:pt x="23" y="17"/>
                  </a:cubicBezTo>
                  <a:cubicBezTo>
                    <a:pt x="23" y="18"/>
                    <a:pt x="24" y="19"/>
                    <a:pt x="24" y="20"/>
                  </a:cubicBezTo>
                  <a:cubicBezTo>
                    <a:pt x="24" y="21"/>
                    <a:pt x="24" y="22"/>
                    <a:pt x="24" y="23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18" y="40"/>
                    <a:pt x="18" y="40"/>
                    <a:pt x="18" y="40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8" y="23"/>
                    <a:pt x="18" y="22"/>
                    <a:pt x="18" y="22"/>
                  </a:cubicBezTo>
                  <a:cubicBezTo>
                    <a:pt x="17" y="21"/>
                    <a:pt x="17" y="21"/>
                    <a:pt x="17" y="20"/>
                  </a:cubicBezTo>
                  <a:cubicBezTo>
                    <a:pt x="17" y="20"/>
                    <a:pt x="16" y="19"/>
                    <a:pt x="16" y="19"/>
                  </a:cubicBezTo>
                  <a:cubicBezTo>
                    <a:pt x="15" y="18"/>
                    <a:pt x="14" y="18"/>
                    <a:pt x="13" y="18"/>
                  </a:cubicBezTo>
                  <a:cubicBezTo>
                    <a:pt x="12" y="18"/>
                    <a:pt x="11" y="18"/>
                    <a:pt x="10" y="19"/>
                  </a:cubicBezTo>
                  <a:cubicBezTo>
                    <a:pt x="8" y="20"/>
                    <a:pt x="8" y="20"/>
                    <a:pt x="7" y="22"/>
                  </a:cubicBezTo>
                  <a:cubicBezTo>
                    <a:pt x="7" y="40"/>
                    <a:pt x="7" y="40"/>
                    <a:pt x="7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lnTo>
                    <a:pt x="7" y="1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23" name="Freeform 31"/>
            <p:cNvSpPr>
              <a:spLocks noEditPoints="1"/>
            </p:cNvSpPr>
            <p:nvPr userDrawn="1"/>
          </p:nvSpPr>
          <p:spPr bwMode="gray">
            <a:xfrm>
              <a:off x="11396618" y="3670291"/>
              <a:ext cx="96838" cy="101599"/>
            </a:xfrm>
            <a:custGeom>
              <a:avLst/>
              <a:gdLst>
                <a:gd name="T0" fmla="*/ 26 w 26"/>
                <a:gd name="T1" fmla="*/ 13 h 27"/>
                <a:gd name="T2" fmla="*/ 25 w 26"/>
                <a:gd name="T3" fmla="*/ 19 h 27"/>
                <a:gd name="T4" fmla="*/ 23 w 26"/>
                <a:gd name="T5" fmla="*/ 23 h 27"/>
                <a:gd name="T6" fmla="*/ 19 w 26"/>
                <a:gd name="T7" fmla="*/ 26 h 27"/>
                <a:gd name="T8" fmla="*/ 13 w 26"/>
                <a:gd name="T9" fmla="*/ 27 h 27"/>
                <a:gd name="T10" fmla="*/ 8 w 26"/>
                <a:gd name="T11" fmla="*/ 26 h 27"/>
                <a:gd name="T12" fmla="*/ 4 w 26"/>
                <a:gd name="T13" fmla="*/ 23 h 27"/>
                <a:gd name="T14" fmla="*/ 1 w 26"/>
                <a:gd name="T15" fmla="*/ 19 h 27"/>
                <a:gd name="T16" fmla="*/ 1 w 26"/>
                <a:gd name="T17" fmla="*/ 8 h 27"/>
                <a:gd name="T18" fmla="*/ 4 w 26"/>
                <a:gd name="T19" fmla="*/ 3 h 27"/>
                <a:gd name="T20" fmla="*/ 8 w 26"/>
                <a:gd name="T21" fmla="*/ 1 h 27"/>
                <a:gd name="T22" fmla="*/ 13 w 26"/>
                <a:gd name="T23" fmla="*/ 0 h 27"/>
                <a:gd name="T24" fmla="*/ 19 w 26"/>
                <a:gd name="T25" fmla="*/ 1 h 27"/>
                <a:gd name="T26" fmla="*/ 23 w 26"/>
                <a:gd name="T27" fmla="*/ 3 h 27"/>
                <a:gd name="T28" fmla="*/ 25 w 26"/>
                <a:gd name="T29" fmla="*/ 8 h 27"/>
                <a:gd name="T30" fmla="*/ 26 w 26"/>
                <a:gd name="T31" fmla="*/ 13 h 27"/>
                <a:gd name="T32" fmla="*/ 19 w 26"/>
                <a:gd name="T33" fmla="*/ 13 h 27"/>
                <a:gd name="T34" fmla="*/ 19 w 26"/>
                <a:gd name="T35" fmla="*/ 10 h 27"/>
                <a:gd name="T36" fmla="*/ 18 w 26"/>
                <a:gd name="T37" fmla="*/ 7 h 27"/>
                <a:gd name="T38" fmla="*/ 16 w 26"/>
                <a:gd name="T39" fmla="*/ 5 h 27"/>
                <a:gd name="T40" fmla="*/ 13 w 26"/>
                <a:gd name="T41" fmla="*/ 5 h 27"/>
                <a:gd name="T42" fmla="*/ 10 w 26"/>
                <a:gd name="T43" fmla="*/ 5 h 27"/>
                <a:gd name="T44" fmla="*/ 8 w 26"/>
                <a:gd name="T45" fmla="*/ 7 h 27"/>
                <a:gd name="T46" fmla="*/ 7 w 26"/>
                <a:gd name="T47" fmla="*/ 10 h 27"/>
                <a:gd name="T48" fmla="*/ 7 w 26"/>
                <a:gd name="T49" fmla="*/ 17 h 27"/>
                <a:gd name="T50" fmla="*/ 8 w 26"/>
                <a:gd name="T51" fmla="*/ 20 h 27"/>
                <a:gd name="T52" fmla="*/ 10 w 26"/>
                <a:gd name="T53" fmla="*/ 21 h 27"/>
                <a:gd name="T54" fmla="*/ 16 w 26"/>
                <a:gd name="T55" fmla="*/ 21 h 27"/>
                <a:gd name="T56" fmla="*/ 18 w 26"/>
                <a:gd name="T57" fmla="*/ 20 h 27"/>
                <a:gd name="T58" fmla="*/ 19 w 26"/>
                <a:gd name="T59" fmla="*/ 17 h 27"/>
                <a:gd name="T60" fmla="*/ 19 w 26"/>
                <a:gd name="T61" fmla="*/ 1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6" h="27">
                  <a:moveTo>
                    <a:pt x="26" y="13"/>
                  </a:moveTo>
                  <a:cubicBezTo>
                    <a:pt x="26" y="15"/>
                    <a:pt x="26" y="17"/>
                    <a:pt x="25" y="19"/>
                  </a:cubicBezTo>
                  <a:cubicBezTo>
                    <a:pt x="25" y="21"/>
                    <a:pt x="24" y="22"/>
                    <a:pt x="23" y="23"/>
                  </a:cubicBezTo>
                  <a:cubicBezTo>
                    <a:pt x="21" y="25"/>
                    <a:pt x="20" y="26"/>
                    <a:pt x="19" y="26"/>
                  </a:cubicBezTo>
                  <a:cubicBezTo>
                    <a:pt x="17" y="27"/>
                    <a:pt x="15" y="27"/>
                    <a:pt x="13" y="27"/>
                  </a:cubicBezTo>
                  <a:cubicBezTo>
                    <a:pt x="11" y="27"/>
                    <a:pt x="9" y="27"/>
                    <a:pt x="8" y="26"/>
                  </a:cubicBezTo>
                  <a:cubicBezTo>
                    <a:pt x="6" y="26"/>
                    <a:pt x="5" y="25"/>
                    <a:pt x="4" y="23"/>
                  </a:cubicBezTo>
                  <a:cubicBezTo>
                    <a:pt x="2" y="22"/>
                    <a:pt x="2" y="21"/>
                    <a:pt x="1" y="19"/>
                  </a:cubicBezTo>
                  <a:cubicBezTo>
                    <a:pt x="0" y="15"/>
                    <a:pt x="0" y="11"/>
                    <a:pt x="1" y="8"/>
                  </a:cubicBezTo>
                  <a:cubicBezTo>
                    <a:pt x="2" y="6"/>
                    <a:pt x="2" y="5"/>
                    <a:pt x="4" y="3"/>
                  </a:cubicBezTo>
                  <a:cubicBezTo>
                    <a:pt x="5" y="2"/>
                    <a:pt x="6" y="1"/>
                    <a:pt x="8" y="1"/>
                  </a:cubicBezTo>
                  <a:cubicBezTo>
                    <a:pt x="10" y="0"/>
                    <a:pt x="11" y="0"/>
                    <a:pt x="13" y="0"/>
                  </a:cubicBezTo>
                  <a:cubicBezTo>
                    <a:pt x="15" y="0"/>
                    <a:pt x="17" y="0"/>
                    <a:pt x="19" y="1"/>
                  </a:cubicBezTo>
                  <a:cubicBezTo>
                    <a:pt x="20" y="1"/>
                    <a:pt x="22" y="2"/>
                    <a:pt x="23" y="3"/>
                  </a:cubicBezTo>
                  <a:cubicBezTo>
                    <a:pt x="24" y="5"/>
                    <a:pt x="25" y="6"/>
                    <a:pt x="25" y="8"/>
                  </a:cubicBezTo>
                  <a:cubicBezTo>
                    <a:pt x="26" y="10"/>
                    <a:pt x="26" y="12"/>
                    <a:pt x="26" y="13"/>
                  </a:cubicBezTo>
                  <a:close/>
                  <a:moveTo>
                    <a:pt x="19" y="13"/>
                  </a:moveTo>
                  <a:cubicBezTo>
                    <a:pt x="19" y="12"/>
                    <a:pt x="19" y="11"/>
                    <a:pt x="19" y="10"/>
                  </a:cubicBezTo>
                  <a:cubicBezTo>
                    <a:pt x="19" y="9"/>
                    <a:pt x="18" y="8"/>
                    <a:pt x="18" y="7"/>
                  </a:cubicBezTo>
                  <a:cubicBezTo>
                    <a:pt x="17" y="6"/>
                    <a:pt x="16" y="6"/>
                    <a:pt x="16" y="5"/>
                  </a:cubicBezTo>
                  <a:cubicBezTo>
                    <a:pt x="15" y="5"/>
                    <a:pt x="14" y="5"/>
                    <a:pt x="13" y="5"/>
                  </a:cubicBezTo>
                  <a:cubicBezTo>
                    <a:pt x="12" y="5"/>
                    <a:pt x="11" y="5"/>
                    <a:pt x="10" y="5"/>
                  </a:cubicBezTo>
                  <a:cubicBezTo>
                    <a:pt x="9" y="6"/>
                    <a:pt x="9" y="6"/>
                    <a:pt x="8" y="7"/>
                  </a:cubicBezTo>
                  <a:cubicBezTo>
                    <a:pt x="8" y="8"/>
                    <a:pt x="7" y="9"/>
                    <a:pt x="7" y="10"/>
                  </a:cubicBezTo>
                  <a:cubicBezTo>
                    <a:pt x="6" y="12"/>
                    <a:pt x="6" y="15"/>
                    <a:pt x="7" y="17"/>
                  </a:cubicBezTo>
                  <a:cubicBezTo>
                    <a:pt x="7" y="18"/>
                    <a:pt x="8" y="19"/>
                    <a:pt x="8" y="20"/>
                  </a:cubicBezTo>
                  <a:cubicBezTo>
                    <a:pt x="9" y="21"/>
                    <a:pt x="9" y="21"/>
                    <a:pt x="10" y="21"/>
                  </a:cubicBezTo>
                  <a:cubicBezTo>
                    <a:pt x="12" y="22"/>
                    <a:pt x="14" y="22"/>
                    <a:pt x="16" y="21"/>
                  </a:cubicBezTo>
                  <a:cubicBezTo>
                    <a:pt x="16" y="21"/>
                    <a:pt x="17" y="21"/>
                    <a:pt x="18" y="20"/>
                  </a:cubicBezTo>
                  <a:cubicBezTo>
                    <a:pt x="18" y="19"/>
                    <a:pt x="19" y="18"/>
                    <a:pt x="19" y="17"/>
                  </a:cubicBezTo>
                  <a:cubicBezTo>
                    <a:pt x="19" y="16"/>
                    <a:pt x="19" y="15"/>
                    <a:pt x="19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24" name="Freeform 32"/>
            <p:cNvSpPr>
              <a:spLocks noEditPoints="1"/>
            </p:cNvSpPr>
            <p:nvPr userDrawn="1"/>
          </p:nvSpPr>
          <p:spPr bwMode="gray">
            <a:xfrm>
              <a:off x="11515669" y="3621081"/>
              <a:ext cx="26988" cy="150812"/>
            </a:xfrm>
            <a:custGeom>
              <a:avLst/>
              <a:gdLst>
                <a:gd name="T0" fmla="*/ 0 w 17"/>
                <a:gd name="T1" fmla="*/ 0 h 95"/>
                <a:gd name="T2" fmla="*/ 17 w 17"/>
                <a:gd name="T3" fmla="*/ 0 h 95"/>
                <a:gd name="T4" fmla="*/ 17 w 17"/>
                <a:gd name="T5" fmla="*/ 17 h 95"/>
                <a:gd name="T6" fmla="*/ 0 w 17"/>
                <a:gd name="T7" fmla="*/ 17 h 95"/>
                <a:gd name="T8" fmla="*/ 0 w 17"/>
                <a:gd name="T9" fmla="*/ 0 h 95"/>
                <a:gd name="T10" fmla="*/ 0 w 17"/>
                <a:gd name="T11" fmla="*/ 31 h 95"/>
                <a:gd name="T12" fmla="*/ 14 w 17"/>
                <a:gd name="T13" fmla="*/ 31 h 95"/>
                <a:gd name="T14" fmla="*/ 14 w 17"/>
                <a:gd name="T15" fmla="*/ 95 h 95"/>
                <a:gd name="T16" fmla="*/ 0 w 17"/>
                <a:gd name="T17" fmla="*/ 95 h 95"/>
                <a:gd name="T18" fmla="*/ 0 w 17"/>
                <a:gd name="T19" fmla="*/ 31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95">
                  <a:moveTo>
                    <a:pt x="0" y="0"/>
                  </a:move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  <a:lnTo>
                    <a:pt x="0" y="0"/>
                  </a:lnTo>
                  <a:close/>
                  <a:moveTo>
                    <a:pt x="0" y="31"/>
                  </a:moveTo>
                  <a:lnTo>
                    <a:pt x="14" y="31"/>
                  </a:lnTo>
                  <a:lnTo>
                    <a:pt x="14" y="95"/>
                  </a:lnTo>
                  <a:lnTo>
                    <a:pt x="0" y="95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25" name="Freeform 33"/>
            <p:cNvSpPr>
              <a:spLocks/>
            </p:cNvSpPr>
            <p:nvPr userDrawn="1"/>
          </p:nvSpPr>
          <p:spPr bwMode="gray">
            <a:xfrm>
              <a:off x="11560123" y="3670310"/>
              <a:ext cx="79375" cy="101600"/>
            </a:xfrm>
            <a:custGeom>
              <a:avLst/>
              <a:gdLst>
                <a:gd name="T0" fmla="*/ 21 w 21"/>
                <a:gd name="T1" fmla="*/ 26 h 27"/>
                <a:gd name="T2" fmla="*/ 18 w 21"/>
                <a:gd name="T3" fmla="*/ 27 h 27"/>
                <a:gd name="T4" fmla="*/ 14 w 21"/>
                <a:gd name="T5" fmla="*/ 27 h 27"/>
                <a:gd name="T6" fmla="*/ 9 w 21"/>
                <a:gd name="T7" fmla="*/ 26 h 27"/>
                <a:gd name="T8" fmla="*/ 4 w 21"/>
                <a:gd name="T9" fmla="*/ 24 h 27"/>
                <a:gd name="T10" fmla="*/ 1 w 21"/>
                <a:gd name="T11" fmla="*/ 20 h 27"/>
                <a:gd name="T12" fmla="*/ 0 w 21"/>
                <a:gd name="T13" fmla="*/ 14 h 27"/>
                <a:gd name="T14" fmla="*/ 2 w 21"/>
                <a:gd name="T15" fmla="*/ 8 h 27"/>
                <a:gd name="T16" fmla="*/ 9 w 21"/>
                <a:gd name="T17" fmla="*/ 1 h 27"/>
                <a:gd name="T18" fmla="*/ 14 w 21"/>
                <a:gd name="T19" fmla="*/ 0 h 27"/>
                <a:gd name="T20" fmla="*/ 17 w 21"/>
                <a:gd name="T21" fmla="*/ 0 h 27"/>
                <a:gd name="T22" fmla="*/ 20 w 21"/>
                <a:gd name="T23" fmla="*/ 1 h 27"/>
                <a:gd name="T24" fmla="*/ 20 w 21"/>
                <a:gd name="T25" fmla="*/ 6 h 27"/>
                <a:gd name="T26" fmla="*/ 18 w 21"/>
                <a:gd name="T27" fmla="*/ 5 h 27"/>
                <a:gd name="T28" fmla="*/ 15 w 21"/>
                <a:gd name="T29" fmla="*/ 5 h 27"/>
                <a:gd name="T30" fmla="*/ 12 w 21"/>
                <a:gd name="T31" fmla="*/ 6 h 27"/>
                <a:gd name="T32" fmla="*/ 9 w 21"/>
                <a:gd name="T33" fmla="*/ 7 h 27"/>
                <a:gd name="T34" fmla="*/ 8 w 21"/>
                <a:gd name="T35" fmla="*/ 10 h 27"/>
                <a:gd name="T36" fmla="*/ 7 w 21"/>
                <a:gd name="T37" fmla="*/ 14 h 27"/>
                <a:gd name="T38" fmla="*/ 7 w 21"/>
                <a:gd name="T39" fmla="*/ 17 h 27"/>
                <a:gd name="T40" fmla="*/ 9 w 21"/>
                <a:gd name="T41" fmla="*/ 20 h 27"/>
                <a:gd name="T42" fmla="*/ 11 w 21"/>
                <a:gd name="T43" fmla="*/ 21 h 27"/>
                <a:gd name="T44" fmla="*/ 15 w 21"/>
                <a:gd name="T45" fmla="*/ 22 h 27"/>
                <a:gd name="T46" fmla="*/ 18 w 21"/>
                <a:gd name="T47" fmla="*/ 22 h 27"/>
                <a:gd name="T48" fmla="*/ 21 w 21"/>
                <a:gd name="T49" fmla="*/ 21 h 27"/>
                <a:gd name="T50" fmla="*/ 21 w 21"/>
                <a:gd name="T51" fmla="*/ 26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1" h="27">
                  <a:moveTo>
                    <a:pt x="21" y="26"/>
                  </a:moveTo>
                  <a:cubicBezTo>
                    <a:pt x="20" y="26"/>
                    <a:pt x="19" y="27"/>
                    <a:pt x="18" y="27"/>
                  </a:cubicBezTo>
                  <a:cubicBezTo>
                    <a:pt x="16" y="27"/>
                    <a:pt x="15" y="27"/>
                    <a:pt x="14" y="27"/>
                  </a:cubicBezTo>
                  <a:cubicBezTo>
                    <a:pt x="12" y="27"/>
                    <a:pt x="10" y="27"/>
                    <a:pt x="9" y="26"/>
                  </a:cubicBezTo>
                  <a:cubicBezTo>
                    <a:pt x="7" y="26"/>
                    <a:pt x="5" y="25"/>
                    <a:pt x="4" y="24"/>
                  </a:cubicBezTo>
                  <a:cubicBezTo>
                    <a:pt x="3" y="23"/>
                    <a:pt x="2" y="22"/>
                    <a:pt x="1" y="20"/>
                  </a:cubicBezTo>
                  <a:cubicBezTo>
                    <a:pt x="1" y="18"/>
                    <a:pt x="0" y="16"/>
                    <a:pt x="0" y="14"/>
                  </a:cubicBezTo>
                  <a:cubicBezTo>
                    <a:pt x="0" y="12"/>
                    <a:pt x="1" y="10"/>
                    <a:pt x="2" y="8"/>
                  </a:cubicBezTo>
                  <a:cubicBezTo>
                    <a:pt x="3" y="4"/>
                    <a:pt x="6" y="2"/>
                    <a:pt x="9" y="1"/>
                  </a:cubicBezTo>
                  <a:cubicBezTo>
                    <a:pt x="11" y="0"/>
                    <a:pt x="12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1"/>
                    <a:pt x="20" y="1"/>
                  </a:cubicBezTo>
                  <a:cubicBezTo>
                    <a:pt x="20" y="6"/>
                    <a:pt x="20" y="6"/>
                    <a:pt x="20" y="6"/>
                  </a:cubicBezTo>
                  <a:cubicBezTo>
                    <a:pt x="19" y="6"/>
                    <a:pt x="19" y="6"/>
                    <a:pt x="18" y="5"/>
                  </a:cubicBezTo>
                  <a:cubicBezTo>
                    <a:pt x="17" y="5"/>
                    <a:pt x="16" y="5"/>
                    <a:pt x="15" y="5"/>
                  </a:cubicBezTo>
                  <a:cubicBezTo>
                    <a:pt x="14" y="5"/>
                    <a:pt x="13" y="5"/>
                    <a:pt x="12" y="6"/>
                  </a:cubicBezTo>
                  <a:cubicBezTo>
                    <a:pt x="11" y="6"/>
                    <a:pt x="10" y="6"/>
                    <a:pt x="9" y="7"/>
                  </a:cubicBezTo>
                  <a:cubicBezTo>
                    <a:pt x="9" y="8"/>
                    <a:pt x="8" y="9"/>
                    <a:pt x="8" y="10"/>
                  </a:cubicBezTo>
                  <a:cubicBezTo>
                    <a:pt x="7" y="11"/>
                    <a:pt x="7" y="12"/>
                    <a:pt x="7" y="14"/>
                  </a:cubicBezTo>
                  <a:cubicBezTo>
                    <a:pt x="7" y="15"/>
                    <a:pt x="7" y="16"/>
                    <a:pt x="7" y="17"/>
                  </a:cubicBezTo>
                  <a:cubicBezTo>
                    <a:pt x="8" y="18"/>
                    <a:pt x="8" y="19"/>
                    <a:pt x="9" y="20"/>
                  </a:cubicBezTo>
                  <a:cubicBezTo>
                    <a:pt x="10" y="20"/>
                    <a:pt x="10" y="21"/>
                    <a:pt x="11" y="21"/>
                  </a:cubicBezTo>
                  <a:cubicBezTo>
                    <a:pt x="12" y="22"/>
                    <a:pt x="14" y="22"/>
                    <a:pt x="15" y="22"/>
                  </a:cubicBezTo>
                  <a:cubicBezTo>
                    <a:pt x="16" y="22"/>
                    <a:pt x="17" y="22"/>
                    <a:pt x="18" y="22"/>
                  </a:cubicBezTo>
                  <a:cubicBezTo>
                    <a:pt x="19" y="22"/>
                    <a:pt x="20" y="21"/>
                    <a:pt x="21" y="21"/>
                  </a:cubicBezTo>
                  <a:lnTo>
                    <a:pt x="21" y="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26" name="Freeform 34"/>
            <p:cNvSpPr>
              <a:spLocks noEditPoints="1"/>
            </p:cNvSpPr>
            <p:nvPr userDrawn="1"/>
          </p:nvSpPr>
          <p:spPr bwMode="gray">
            <a:xfrm>
              <a:off x="11655425" y="3670300"/>
              <a:ext cx="88900" cy="101600"/>
            </a:xfrm>
            <a:custGeom>
              <a:avLst/>
              <a:gdLst>
                <a:gd name="T0" fmla="*/ 15 w 24"/>
                <a:gd name="T1" fmla="*/ 22 h 27"/>
                <a:gd name="T2" fmla="*/ 19 w 24"/>
                <a:gd name="T3" fmla="*/ 22 h 27"/>
                <a:gd name="T4" fmla="*/ 23 w 24"/>
                <a:gd name="T5" fmla="*/ 21 h 27"/>
                <a:gd name="T6" fmla="*/ 23 w 24"/>
                <a:gd name="T7" fmla="*/ 26 h 27"/>
                <a:gd name="T8" fmla="*/ 19 w 24"/>
                <a:gd name="T9" fmla="*/ 27 h 27"/>
                <a:gd name="T10" fmla="*/ 13 w 24"/>
                <a:gd name="T11" fmla="*/ 27 h 27"/>
                <a:gd name="T12" fmla="*/ 8 w 24"/>
                <a:gd name="T13" fmla="*/ 27 h 27"/>
                <a:gd name="T14" fmla="*/ 4 w 24"/>
                <a:gd name="T15" fmla="*/ 24 h 27"/>
                <a:gd name="T16" fmla="*/ 1 w 24"/>
                <a:gd name="T17" fmla="*/ 20 h 27"/>
                <a:gd name="T18" fmla="*/ 0 w 24"/>
                <a:gd name="T19" fmla="*/ 14 h 27"/>
                <a:gd name="T20" fmla="*/ 1 w 24"/>
                <a:gd name="T21" fmla="*/ 8 h 27"/>
                <a:gd name="T22" fmla="*/ 4 w 24"/>
                <a:gd name="T23" fmla="*/ 3 h 27"/>
                <a:gd name="T24" fmla="*/ 8 w 24"/>
                <a:gd name="T25" fmla="*/ 1 h 27"/>
                <a:gd name="T26" fmla="*/ 12 w 24"/>
                <a:gd name="T27" fmla="*/ 0 h 27"/>
                <a:gd name="T28" fmla="*/ 17 w 24"/>
                <a:gd name="T29" fmla="*/ 0 h 27"/>
                <a:gd name="T30" fmla="*/ 21 w 24"/>
                <a:gd name="T31" fmla="*/ 3 h 27"/>
                <a:gd name="T32" fmla="*/ 23 w 24"/>
                <a:gd name="T33" fmla="*/ 7 h 27"/>
                <a:gd name="T34" fmla="*/ 24 w 24"/>
                <a:gd name="T35" fmla="*/ 13 h 27"/>
                <a:gd name="T36" fmla="*/ 24 w 24"/>
                <a:gd name="T37" fmla="*/ 15 h 27"/>
                <a:gd name="T38" fmla="*/ 7 w 24"/>
                <a:gd name="T39" fmla="*/ 15 h 27"/>
                <a:gd name="T40" fmla="*/ 7 w 24"/>
                <a:gd name="T41" fmla="*/ 18 h 27"/>
                <a:gd name="T42" fmla="*/ 9 w 24"/>
                <a:gd name="T43" fmla="*/ 20 h 27"/>
                <a:gd name="T44" fmla="*/ 12 w 24"/>
                <a:gd name="T45" fmla="*/ 22 h 27"/>
                <a:gd name="T46" fmla="*/ 15 w 24"/>
                <a:gd name="T47" fmla="*/ 22 h 27"/>
                <a:gd name="T48" fmla="*/ 12 w 24"/>
                <a:gd name="T49" fmla="*/ 5 h 27"/>
                <a:gd name="T50" fmla="*/ 10 w 24"/>
                <a:gd name="T51" fmla="*/ 5 h 27"/>
                <a:gd name="T52" fmla="*/ 8 w 24"/>
                <a:gd name="T53" fmla="*/ 6 h 27"/>
                <a:gd name="T54" fmla="*/ 7 w 24"/>
                <a:gd name="T55" fmla="*/ 8 h 27"/>
                <a:gd name="T56" fmla="*/ 7 w 24"/>
                <a:gd name="T57" fmla="*/ 10 h 27"/>
                <a:gd name="T58" fmla="*/ 17 w 24"/>
                <a:gd name="T59" fmla="*/ 10 h 27"/>
                <a:gd name="T60" fmla="*/ 17 w 24"/>
                <a:gd name="T61" fmla="*/ 8 h 27"/>
                <a:gd name="T62" fmla="*/ 16 w 24"/>
                <a:gd name="T63" fmla="*/ 6 h 27"/>
                <a:gd name="T64" fmla="*/ 14 w 24"/>
                <a:gd name="T65" fmla="*/ 5 h 27"/>
                <a:gd name="T66" fmla="*/ 12 w 24"/>
                <a:gd name="T67" fmla="*/ 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" h="27">
                  <a:moveTo>
                    <a:pt x="15" y="22"/>
                  </a:moveTo>
                  <a:cubicBezTo>
                    <a:pt x="16" y="22"/>
                    <a:pt x="17" y="22"/>
                    <a:pt x="19" y="22"/>
                  </a:cubicBezTo>
                  <a:cubicBezTo>
                    <a:pt x="20" y="21"/>
                    <a:pt x="21" y="21"/>
                    <a:pt x="23" y="21"/>
                  </a:cubicBezTo>
                  <a:cubicBezTo>
                    <a:pt x="23" y="26"/>
                    <a:pt x="23" y="26"/>
                    <a:pt x="23" y="26"/>
                  </a:cubicBezTo>
                  <a:cubicBezTo>
                    <a:pt x="21" y="26"/>
                    <a:pt x="20" y="27"/>
                    <a:pt x="19" y="27"/>
                  </a:cubicBezTo>
                  <a:cubicBezTo>
                    <a:pt x="17" y="27"/>
                    <a:pt x="15" y="27"/>
                    <a:pt x="13" y="27"/>
                  </a:cubicBezTo>
                  <a:cubicBezTo>
                    <a:pt x="12" y="27"/>
                    <a:pt x="10" y="27"/>
                    <a:pt x="8" y="27"/>
                  </a:cubicBezTo>
                  <a:cubicBezTo>
                    <a:pt x="7" y="26"/>
                    <a:pt x="5" y="25"/>
                    <a:pt x="4" y="24"/>
                  </a:cubicBezTo>
                  <a:cubicBezTo>
                    <a:pt x="3" y="23"/>
                    <a:pt x="2" y="22"/>
                    <a:pt x="1" y="20"/>
                  </a:cubicBezTo>
                  <a:cubicBezTo>
                    <a:pt x="0" y="18"/>
                    <a:pt x="0" y="16"/>
                    <a:pt x="0" y="14"/>
                  </a:cubicBezTo>
                  <a:cubicBezTo>
                    <a:pt x="0" y="12"/>
                    <a:pt x="0" y="10"/>
                    <a:pt x="1" y="8"/>
                  </a:cubicBezTo>
                  <a:cubicBezTo>
                    <a:pt x="2" y="6"/>
                    <a:pt x="3" y="4"/>
                    <a:pt x="4" y="3"/>
                  </a:cubicBezTo>
                  <a:cubicBezTo>
                    <a:pt x="5" y="2"/>
                    <a:pt x="6" y="1"/>
                    <a:pt x="8" y="1"/>
                  </a:cubicBezTo>
                  <a:cubicBezTo>
                    <a:pt x="9" y="0"/>
                    <a:pt x="11" y="0"/>
                    <a:pt x="12" y="0"/>
                  </a:cubicBezTo>
                  <a:cubicBezTo>
                    <a:pt x="14" y="0"/>
                    <a:pt x="15" y="0"/>
                    <a:pt x="17" y="0"/>
                  </a:cubicBezTo>
                  <a:cubicBezTo>
                    <a:pt x="18" y="1"/>
                    <a:pt x="20" y="2"/>
                    <a:pt x="21" y="3"/>
                  </a:cubicBezTo>
                  <a:cubicBezTo>
                    <a:pt x="22" y="4"/>
                    <a:pt x="22" y="5"/>
                    <a:pt x="23" y="7"/>
                  </a:cubicBezTo>
                  <a:cubicBezTo>
                    <a:pt x="24" y="9"/>
                    <a:pt x="24" y="11"/>
                    <a:pt x="24" y="13"/>
                  </a:cubicBezTo>
                  <a:cubicBezTo>
                    <a:pt x="24" y="14"/>
                    <a:pt x="24" y="15"/>
                    <a:pt x="24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6"/>
                    <a:pt x="7" y="17"/>
                    <a:pt x="7" y="18"/>
                  </a:cubicBezTo>
                  <a:cubicBezTo>
                    <a:pt x="8" y="19"/>
                    <a:pt x="8" y="20"/>
                    <a:pt x="9" y="20"/>
                  </a:cubicBezTo>
                  <a:cubicBezTo>
                    <a:pt x="10" y="21"/>
                    <a:pt x="11" y="21"/>
                    <a:pt x="12" y="22"/>
                  </a:cubicBezTo>
                  <a:cubicBezTo>
                    <a:pt x="13" y="22"/>
                    <a:pt x="14" y="22"/>
                    <a:pt x="15" y="22"/>
                  </a:cubicBezTo>
                  <a:close/>
                  <a:moveTo>
                    <a:pt x="12" y="5"/>
                  </a:moveTo>
                  <a:cubicBezTo>
                    <a:pt x="11" y="5"/>
                    <a:pt x="11" y="5"/>
                    <a:pt x="10" y="5"/>
                  </a:cubicBezTo>
                  <a:cubicBezTo>
                    <a:pt x="9" y="5"/>
                    <a:pt x="9" y="6"/>
                    <a:pt x="8" y="6"/>
                  </a:cubicBezTo>
                  <a:cubicBezTo>
                    <a:pt x="8" y="7"/>
                    <a:pt x="7" y="7"/>
                    <a:pt x="7" y="8"/>
                  </a:cubicBezTo>
                  <a:cubicBezTo>
                    <a:pt x="7" y="9"/>
                    <a:pt x="7" y="10"/>
                    <a:pt x="7" y="1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7" y="10"/>
                    <a:pt x="17" y="9"/>
                    <a:pt x="17" y="8"/>
                  </a:cubicBezTo>
                  <a:cubicBezTo>
                    <a:pt x="17" y="7"/>
                    <a:pt x="16" y="7"/>
                    <a:pt x="16" y="6"/>
                  </a:cubicBezTo>
                  <a:cubicBezTo>
                    <a:pt x="15" y="6"/>
                    <a:pt x="15" y="5"/>
                    <a:pt x="14" y="5"/>
                  </a:cubicBezTo>
                  <a:cubicBezTo>
                    <a:pt x="14" y="5"/>
                    <a:pt x="13" y="5"/>
                    <a:pt x="12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</p:grpSp>
      <p:sp>
        <p:nvSpPr>
          <p:cNvPr id="57" name="Text Placeholder 9"/>
          <p:cNvSpPr>
            <a:spLocks noGrp="1"/>
          </p:cNvSpPr>
          <p:nvPr>
            <p:ph type="body" sz="quarter" idx="13"/>
          </p:nvPr>
        </p:nvSpPr>
        <p:spPr bwMode="gray">
          <a:xfrm>
            <a:off x="632704" y="2001655"/>
            <a:ext cx="7859903" cy="216000"/>
          </a:xfrm>
        </p:spPr>
        <p:txBody>
          <a:bodyPr/>
          <a:lstStyle>
            <a:lvl1pPr marL="3175" indent="0">
              <a:spcBef>
                <a:spcPts val="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1pPr>
            <a:lvl2pPr marL="3175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2pPr>
            <a:lvl3pPr marL="3175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3pPr>
            <a:lvl4pPr marL="3175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4pPr>
            <a:lvl5pPr marL="3175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5pPr>
            <a:lvl6pPr marL="3175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6pPr>
            <a:lvl7pPr marL="3175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7pPr>
            <a:lvl8pPr marL="3175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8pPr>
            <a:lvl9pPr marL="3175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grpSp>
        <p:nvGrpSpPr>
          <p:cNvPr id="77" name="Group 1"/>
          <p:cNvGrpSpPr/>
          <p:nvPr/>
        </p:nvGrpSpPr>
        <p:grpSpPr>
          <a:xfrm>
            <a:off x="520784" y="-215558"/>
            <a:ext cx="11147256" cy="194423"/>
            <a:chOff x="520716" y="-215558"/>
            <a:chExt cx="11145805" cy="194423"/>
          </a:xfrm>
        </p:grpSpPr>
        <p:grpSp>
          <p:nvGrpSpPr>
            <p:cNvPr id="79" name="Group 78"/>
            <p:cNvGrpSpPr/>
            <p:nvPr/>
          </p:nvGrpSpPr>
          <p:grpSpPr bwMode="gray">
            <a:xfrm>
              <a:off x="520716" y="-215558"/>
              <a:ext cx="257143" cy="194423"/>
              <a:chOff x="-187945" y="5594515"/>
              <a:chExt cx="192882" cy="194423"/>
            </a:xfrm>
          </p:grpSpPr>
          <p:cxnSp>
            <p:nvCxnSpPr>
              <p:cNvPr id="89" name="Straight Connector 88"/>
              <p:cNvCxnSpPr/>
              <p:nvPr userDrawn="1"/>
            </p:nvCxnSpPr>
            <p:spPr bwMode="gray">
              <a:xfrm rot="5400000">
                <a:off x="-152400" y="5728042"/>
                <a:ext cx="121793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0" name="Rectangle 89"/>
              <p:cNvSpPr/>
              <p:nvPr userDrawn="1"/>
            </p:nvSpPr>
            <p:spPr bwMode="gray">
              <a:xfrm>
                <a:off x="-187945" y="5594515"/>
                <a:ext cx="192882" cy="59531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b"/>
              <a:lstStyle/>
              <a:p>
                <a:pPr algn="ctr"/>
                <a:r>
                  <a:rPr lang="en-US" sz="600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5.95</a:t>
                </a:r>
              </a:p>
              <a:p>
                <a:pPr algn="ctr"/>
                <a:r>
                  <a:rPr lang="en-US" sz="600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15,12</a:t>
                </a:r>
              </a:p>
            </p:txBody>
          </p:sp>
        </p:grpSp>
        <p:grpSp>
          <p:nvGrpSpPr>
            <p:cNvPr id="80" name="Group 79"/>
            <p:cNvGrpSpPr/>
            <p:nvPr/>
          </p:nvGrpSpPr>
          <p:grpSpPr bwMode="gray">
            <a:xfrm>
              <a:off x="5867416" y="-215558"/>
              <a:ext cx="257143" cy="194423"/>
              <a:chOff x="-187945" y="5594515"/>
              <a:chExt cx="192882" cy="194423"/>
            </a:xfrm>
          </p:grpSpPr>
          <p:cxnSp>
            <p:nvCxnSpPr>
              <p:cNvPr id="87" name="Straight Connector 86"/>
              <p:cNvCxnSpPr/>
              <p:nvPr userDrawn="1"/>
            </p:nvCxnSpPr>
            <p:spPr bwMode="gray">
              <a:xfrm rot="5400000">
                <a:off x="-152400" y="5728042"/>
                <a:ext cx="121793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8" name="Rectangle 87"/>
              <p:cNvSpPr/>
              <p:nvPr userDrawn="1"/>
            </p:nvSpPr>
            <p:spPr bwMode="gray">
              <a:xfrm>
                <a:off x="-187945" y="5594515"/>
                <a:ext cx="192882" cy="59531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b"/>
              <a:lstStyle/>
              <a:p>
                <a:pPr algn="ctr"/>
                <a:r>
                  <a:rPr lang="en-US" sz="600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0.11</a:t>
                </a:r>
              </a:p>
              <a:p>
                <a:pPr algn="ctr"/>
                <a:r>
                  <a:rPr lang="en-US" sz="600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0,27</a:t>
                </a:r>
              </a:p>
            </p:txBody>
          </p:sp>
        </p:grpSp>
        <p:grpSp>
          <p:nvGrpSpPr>
            <p:cNvPr id="81" name="Group 80"/>
            <p:cNvGrpSpPr/>
            <p:nvPr/>
          </p:nvGrpSpPr>
          <p:grpSpPr bwMode="gray">
            <a:xfrm>
              <a:off x="6062678" y="-215558"/>
              <a:ext cx="257143" cy="194423"/>
              <a:chOff x="-187945" y="5594515"/>
              <a:chExt cx="192882" cy="194423"/>
            </a:xfrm>
          </p:grpSpPr>
          <p:cxnSp>
            <p:nvCxnSpPr>
              <p:cNvPr id="85" name="Straight Connector 84"/>
              <p:cNvCxnSpPr/>
              <p:nvPr userDrawn="1"/>
            </p:nvCxnSpPr>
            <p:spPr bwMode="gray">
              <a:xfrm rot="5400000">
                <a:off x="-152400" y="5728042"/>
                <a:ext cx="121793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6" name="Rectangle 85"/>
              <p:cNvSpPr/>
              <p:nvPr userDrawn="1"/>
            </p:nvSpPr>
            <p:spPr bwMode="gray">
              <a:xfrm>
                <a:off x="-187945" y="5594515"/>
                <a:ext cx="192882" cy="59531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b"/>
              <a:lstStyle/>
              <a:p>
                <a:pPr algn="ctr"/>
                <a:r>
                  <a:rPr lang="en-US" sz="600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0.11</a:t>
                </a:r>
              </a:p>
              <a:p>
                <a:pPr algn="ctr"/>
                <a:r>
                  <a:rPr lang="en-US" sz="600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0,27</a:t>
                </a:r>
              </a:p>
            </p:txBody>
          </p:sp>
        </p:grpSp>
        <p:grpSp>
          <p:nvGrpSpPr>
            <p:cNvPr id="82" name="Group 81"/>
            <p:cNvGrpSpPr/>
            <p:nvPr/>
          </p:nvGrpSpPr>
          <p:grpSpPr bwMode="gray">
            <a:xfrm>
              <a:off x="11409378" y="-215558"/>
              <a:ext cx="257143" cy="194423"/>
              <a:chOff x="-187945" y="5594515"/>
              <a:chExt cx="192882" cy="194423"/>
            </a:xfrm>
          </p:grpSpPr>
          <p:cxnSp>
            <p:nvCxnSpPr>
              <p:cNvPr id="83" name="Straight Connector 82"/>
              <p:cNvCxnSpPr/>
              <p:nvPr userDrawn="1"/>
            </p:nvCxnSpPr>
            <p:spPr bwMode="gray">
              <a:xfrm rot="5400000">
                <a:off x="-152400" y="5728042"/>
                <a:ext cx="121793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4" name="Rectangle 83"/>
              <p:cNvSpPr/>
              <p:nvPr userDrawn="1"/>
            </p:nvSpPr>
            <p:spPr bwMode="gray">
              <a:xfrm>
                <a:off x="-187945" y="5594515"/>
                <a:ext cx="192882" cy="59531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b"/>
              <a:lstStyle/>
              <a:p>
                <a:pPr algn="ctr"/>
                <a:r>
                  <a:rPr lang="en-US" sz="600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5.95</a:t>
                </a:r>
              </a:p>
              <a:p>
                <a:pPr algn="ctr"/>
                <a:r>
                  <a:rPr lang="en-US" sz="600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15,12</a:t>
                </a:r>
              </a:p>
            </p:txBody>
          </p:sp>
        </p:grpSp>
      </p:grpSp>
      <p:grpSp>
        <p:nvGrpSpPr>
          <p:cNvPr id="91" name="Group 6"/>
          <p:cNvGrpSpPr/>
          <p:nvPr/>
        </p:nvGrpSpPr>
        <p:grpSpPr>
          <a:xfrm>
            <a:off x="-312123" y="1740297"/>
            <a:ext cx="271315" cy="4748555"/>
            <a:chOff x="-312083" y="1740297"/>
            <a:chExt cx="271280" cy="4748555"/>
          </a:xfrm>
        </p:grpSpPr>
        <p:grpSp>
          <p:nvGrpSpPr>
            <p:cNvPr id="92" name="Group 91"/>
            <p:cNvGrpSpPr/>
            <p:nvPr/>
          </p:nvGrpSpPr>
          <p:grpSpPr bwMode="gray">
            <a:xfrm>
              <a:off x="-312083" y="6295970"/>
              <a:ext cx="271280" cy="192882"/>
              <a:chOff x="-312083" y="6295970"/>
              <a:chExt cx="271280" cy="192882"/>
            </a:xfrm>
          </p:grpSpPr>
          <p:cxnSp>
            <p:nvCxnSpPr>
              <p:cNvPr id="96" name="Straight Connector 95"/>
              <p:cNvCxnSpPr/>
              <p:nvPr userDrawn="1"/>
            </p:nvCxnSpPr>
            <p:spPr bwMode="gray">
              <a:xfrm>
                <a:off x="-203173" y="6392411"/>
                <a:ext cx="162370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7" name="Rectangle 126"/>
              <p:cNvSpPr/>
              <p:nvPr userDrawn="1"/>
            </p:nvSpPr>
            <p:spPr bwMode="gray">
              <a:xfrm rot="16200000">
                <a:off x="-368842" y="6352729"/>
                <a:ext cx="192882" cy="79364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b"/>
              <a:lstStyle/>
              <a:p>
                <a:pPr algn="ctr" rtl="0"/>
                <a:r>
                  <a:rPr lang="en-US" sz="600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3.24</a:t>
                </a:r>
              </a:p>
              <a:p>
                <a:pPr algn="ctr" rtl="0"/>
                <a:r>
                  <a:rPr lang="en-US" sz="600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8,24</a:t>
                </a:r>
              </a:p>
            </p:txBody>
          </p:sp>
        </p:grpSp>
        <p:grpSp>
          <p:nvGrpSpPr>
            <p:cNvPr id="93" name="Group 92"/>
            <p:cNvGrpSpPr/>
            <p:nvPr/>
          </p:nvGrpSpPr>
          <p:grpSpPr bwMode="gray">
            <a:xfrm>
              <a:off x="-312083" y="1740297"/>
              <a:ext cx="271280" cy="192882"/>
              <a:chOff x="-312083" y="1703784"/>
              <a:chExt cx="271280" cy="192882"/>
            </a:xfrm>
          </p:grpSpPr>
          <p:cxnSp>
            <p:nvCxnSpPr>
              <p:cNvPr id="94" name="Straight Connector 93"/>
              <p:cNvCxnSpPr/>
              <p:nvPr userDrawn="1"/>
            </p:nvCxnSpPr>
            <p:spPr bwMode="gray">
              <a:xfrm>
                <a:off x="-203173" y="1800225"/>
                <a:ext cx="162370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5" name="Rectangle 94"/>
              <p:cNvSpPr/>
              <p:nvPr userDrawn="1"/>
            </p:nvSpPr>
            <p:spPr bwMode="gray">
              <a:xfrm rot="16200000">
                <a:off x="-368842" y="1760543"/>
                <a:ext cx="192882" cy="79364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b"/>
              <a:lstStyle/>
              <a:p>
                <a:pPr algn="ctr" rtl="0"/>
                <a:r>
                  <a:rPr lang="en-US" sz="600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1.74</a:t>
                </a:r>
              </a:p>
              <a:p>
                <a:pPr algn="ctr" rtl="0"/>
                <a:r>
                  <a:rPr lang="en-US" sz="600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4,42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4434523"/>
      </p:ext>
    </p:extLst>
  </p:cSld>
  <p:clrMapOvr>
    <a:masterClrMapping/>
  </p:clrMapOvr>
  <p:transition spd="med"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40"/>
          <a:stretch/>
        </p:blipFill>
        <p:spPr>
          <a:xfrm>
            <a:off x="-1" y="1227439"/>
            <a:ext cx="12192000" cy="5634680"/>
          </a:xfrm>
          <a:prstGeom prst="rect">
            <a:avLst/>
          </a:prstGeom>
        </p:spPr>
      </p:pic>
      <p:sp>
        <p:nvSpPr>
          <p:cNvPr id="78" name="Title 77"/>
          <p:cNvSpPr>
            <a:spLocks noGrp="1"/>
          </p:cNvSpPr>
          <p:nvPr>
            <p:ph type="ctrTitle"/>
          </p:nvPr>
        </p:nvSpPr>
        <p:spPr bwMode="gray">
          <a:xfrm>
            <a:off x="-1" y="1"/>
            <a:ext cx="12192000" cy="2504834"/>
          </a:xfrm>
          <a:custGeom>
            <a:avLst/>
            <a:gdLst>
              <a:gd name="connsiteX0" fmla="*/ 0 w 12190413"/>
              <a:gd name="connsiteY0" fmla="*/ 0 h 2504834"/>
              <a:gd name="connsiteX1" fmla="*/ 12190413 w 12190413"/>
              <a:gd name="connsiteY1" fmla="*/ 0 h 2504834"/>
              <a:gd name="connsiteX2" fmla="*/ 12190413 w 12190413"/>
              <a:gd name="connsiteY2" fmla="*/ 829996 h 2504834"/>
              <a:gd name="connsiteX3" fmla="*/ 9060657 w 12190413"/>
              <a:gd name="connsiteY3" fmla="*/ 829996 h 2504834"/>
              <a:gd name="connsiteX4" fmla="*/ 9060657 w 12190413"/>
              <a:gd name="connsiteY4" fmla="*/ 2504830 h 2504834"/>
              <a:gd name="connsiteX5" fmla="*/ 12190413 w 12190413"/>
              <a:gd name="connsiteY5" fmla="*/ 2504830 h 2504834"/>
              <a:gd name="connsiteX6" fmla="*/ 12190413 w 12190413"/>
              <a:gd name="connsiteY6" fmla="*/ 2504834 h 2504834"/>
              <a:gd name="connsiteX7" fmla="*/ 0 w 12190413"/>
              <a:gd name="connsiteY7" fmla="*/ 2504834 h 25048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0413" h="2504834">
                <a:moveTo>
                  <a:pt x="0" y="0"/>
                </a:moveTo>
                <a:lnTo>
                  <a:pt x="12190413" y="0"/>
                </a:lnTo>
                <a:lnTo>
                  <a:pt x="12190413" y="829996"/>
                </a:lnTo>
                <a:lnTo>
                  <a:pt x="9060657" y="829996"/>
                </a:lnTo>
                <a:lnTo>
                  <a:pt x="9060657" y="2504830"/>
                </a:lnTo>
                <a:lnTo>
                  <a:pt x="12190413" y="2504830"/>
                </a:lnTo>
                <a:lnTo>
                  <a:pt x="12190413" y="2504834"/>
                </a:lnTo>
                <a:lnTo>
                  <a:pt x="0" y="2504834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619200" tIns="482400" rIns="3456000" anchor="t" anchorCtr="0">
            <a:noAutofit/>
          </a:bodyPr>
          <a:lstStyle>
            <a:lvl1pPr algn="l">
              <a:defRPr sz="320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Dat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>
          <a:noFill/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310FED02-0259-420E-80E1-2066F5A390A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628732" y="1616101"/>
            <a:ext cx="7863876" cy="288000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 dirty="0"/>
          </a:p>
        </p:txBody>
      </p:sp>
      <p:grpSp>
        <p:nvGrpSpPr>
          <p:cNvPr id="97" name="Group 96"/>
          <p:cNvGrpSpPr/>
          <p:nvPr/>
        </p:nvGrpSpPr>
        <p:grpSpPr bwMode="gray">
          <a:xfrm>
            <a:off x="9061836" y="829998"/>
            <a:ext cx="3130164" cy="2233671"/>
            <a:chOff x="9299549" y="1855781"/>
            <a:chExt cx="2978142" cy="2125659"/>
          </a:xfrm>
        </p:grpSpPr>
        <p:sp>
          <p:nvSpPr>
            <p:cNvPr id="98" name="Rectangle 6"/>
            <p:cNvSpPr>
              <a:spLocks noChangeArrowheads="1"/>
            </p:cNvSpPr>
            <p:nvPr userDrawn="1"/>
          </p:nvSpPr>
          <p:spPr bwMode="gray">
            <a:xfrm>
              <a:off x="9299549" y="1855781"/>
              <a:ext cx="2978142" cy="159384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99" name="Freeform 7"/>
            <p:cNvSpPr>
              <a:spLocks noEditPoints="1"/>
            </p:cNvSpPr>
            <p:nvPr userDrawn="1"/>
          </p:nvSpPr>
          <p:spPr bwMode="gray">
            <a:xfrm>
              <a:off x="9839298" y="2489191"/>
              <a:ext cx="206375" cy="333374"/>
            </a:xfrm>
            <a:custGeom>
              <a:avLst/>
              <a:gdLst>
                <a:gd name="T0" fmla="*/ 55 w 55"/>
                <a:gd name="T1" fmla="*/ 48 h 89"/>
                <a:gd name="T2" fmla="*/ 55 w 55"/>
                <a:gd name="T3" fmla="*/ 43 h 89"/>
                <a:gd name="T4" fmla="*/ 28 w 55"/>
                <a:gd name="T5" fmla="*/ 0 h 89"/>
                <a:gd name="T6" fmla="*/ 0 w 55"/>
                <a:gd name="T7" fmla="*/ 44 h 89"/>
                <a:gd name="T8" fmla="*/ 28 w 55"/>
                <a:gd name="T9" fmla="*/ 89 h 89"/>
                <a:gd name="T10" fmla="*/ 54 w 55"/>
                <a:gd name="T11" fmla="*/ 59 h 89"/>
                <a:gd name="T12" fmla="*/ 37 w 55"/>
                <a:gd name="T13" fmla="*/ 59 h 89"/>
                <a:gd name="T14" fmla="*/ 27 w 55"/>
                <a:gd name="T15" fmla="*/ 75 h 89"/>
                <a:gd name="T16" fmla="*/ 18 w 55"/>
                <a:gd name="T17" fmla="*/ 55 h 89"/>
                <a:gd name="T18" fmla="*/ 18 w 55"/>
                <a:gd name="T19" fmla="*/ 48 h 89"/>
                <a:gd name="T20" fmla="*/ 55 w 55"/>
                <a:gd name="T21" fmla="*/ 48 h 89"/>
                <a:gd name="T22" fmla="*/ 18 w 55"/>
                <a:gd name="T23" fmla="*/ 35 h 89"/>
                <a:gd name="T24" fmla="*/ 18 w 55"/>
                <a:gd name="T25" fmla="*/ 32 h 89"/>
                <a:gd name="T26" fmla="*/ 28 w 55"/>
                <a:gd name="T27" fmla="*/ 15 h 89"/>
                <a:gd name="T28" fmla="*/ 37 w 55"/>
                <a:gd name="T29" fmla="*/ 35 h 89"/>
                <a:gd name="T30" fmla="*/ 18 w 55"/>
                <a:gd name="T31" fmla="*/ 35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5" h="89">
                  <a:moveTo>
                    <a:pt x="55" y="48"/>
                  </a:moveTo>
                  <a:cubicBezTo>
                    <a:pt x="55" y="43"/>
                    <a:pt x="55" y="43"/>
                    <a:pt x="55" y="43"/>
                  </a:cubicBezTo>
                  <a:cubicBezTo>
                    <a:pt x="55" y="17"/>
                    <a:pt x="50" y="0"/>
                    <a:pt x="28" y="0"/>
                  </a:cubicBezTo>
                  <a:cubicBezTo>
                    <a:pt x="4" y="0"/>
                    <a:pt x="0" y="21"/>
                    <a:pt x="0" y="44"/>
                  </a:cubicBezTo>
                  <a:cubicBezTo>
                    <a:pt x="0" y="65"/>
                    <a:pt x="1" y="89"/>
                    <a:pt x="28" y="89"/>
                  </a:cubicBezTo>
                  <a:cubicBezTo>
                    <a:pt x="45" y="89"/>
                    <a:pt x="53" y="78"/>
                    <a:pt x="54" y="59"/>
                  </a:cubicBezTo>
                  <a:cubicBezTo>
                    <a:pt x="37" y="59"/>
                    <a:pt x="37" y="59"/>
                    <a:pt x="37" y="59"/>
                  </a:cubicBezTo>
                  <a:cubicBezTo>
                    <a:pt x="36" y="69"/>
                    <a:pt x="34" y="75"/>
                    <a:pt x="27" y="75"/>
                  </a:cubicBezTo>
                  <a:cubicBezTo>
                    <a:pt x="21" y="75"/>
                    <a:pt x="18" y="65"/>
                    <a:pt x="18" y="55"/>
                  </a:cubicBezTo>
                  <a:cubicBezTo>
                    <a:pt x="18" y="48"/>
                    <a:pt x="18" y="48"/>
                    <a:pt x="18" y="48"/>
                  </a:cubicBezTo>
                  <a:lnTo>
                    <a:pt x="55" y="48"/>
                  </a:lnTo>
                  <a:close/>
                  <a:moveTo>
                    <a:pt x="18" y="35"/>
                  </a:moveTo>
                  <a:cubicBezTo>
                    <a:pt x="18" y="32"/>
                    <a:pt x="18" y="32"/>
                    <a:pt x="18" y="32"/>
                  </a:cubicBezTo>
                  <a:cubicBezTo>
                    <a:pt x="18" y="24"/>
                    <a:pt x="20" y="15"/>
                    <a:pt x="28" y="15"/>
                  </a:cubicBezTo>
                  <a:cubicBezTo>
                    <a:pt x="35" y="15"/>
                    <a:pt x="37" y="22"/>
                    <a:pt x="37" y="35"/>
                  </a:cubicBezTo>
                  <a:lnTo>
                    <a:pt x="18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00" name="Freeform 8"/>
            <p:cNvSpPr>
              <a:spLocks noEditPoints="1"/>
            </p:cNvSpPr>
            <p:nvPr userDrawn="1"/>
          </p:nvSpPr>
          <p:spPr bwMode="gray">
            <a:xfrm>
              <a:off x="10072660" y="2392354"/>
              <a:ext cx="209549" cy="430210"/>
            </a:xfrm>
            <a:custGeom>
              <a:avLst/>
              <a:gdLst>
                <a:gd name="T0" fmla="*/ 18 w 56"/>
                <a:gd name="T1" fmla="*/ 71 h 115"/>
                <a:gd name="T2" fmla="*/ 28 w 56"/>
                <a:gd name="T3" fmla="*/ 43 h 115"/>
                <a:gd name="T4" fmla="*/ 37 w 56"/>
                <a:gd name="T5" fmla="*/ 71 h 115"/>
                <a:gd name="T6" fmla="*/ 28 w 56"/>
                <a:gd name="T7" fmla="*/ 99 h 115"/>
                <a:gd name="T8" fmla="*/ 18 w 56"/>
                <a:gd name="T9" fmla="*/ 71 h 115"/>
                <a:gd name="T10" fmla="*/ 0 w 56"/>
                <a:gd name="T11" fmla="*/ 113 h 115"/>
                <a:gd name="T12" fmla="*/ 17 w 56"/>
                <a:gd name="T13" fmla="*/ 113 h 115"/>
                <a:gd name="T14" fmla="*/ 17 w 56"/>
                <a:gd name="T15" fmla="*/ 104 h 115"/>
                <a:gd name="T16" fmla="*/ 17 w 56"/>
                <a:gd name="T17" fmla="*/ 104 h 115"/>
                <a:gd name="T18" fmla="*/ 34 w 56"/>
                <a:gd name="T19" fmla="*/ 115 h 115"/>
                <a:gd name="T20" fmla="*/ 56 w 56"/>
                <a:gd name="T21" fmla="*/ 71 h 115"/>
                <a:gd name="T22" fmla="*/ 34 w 56"/>
                <a:gd name="T23" fmla="*/ 26 h 115"/>
                <a:gd name="T24" fmla="*/ 18 w 56"/>
                <a:gd name="T25" fmla="*/ 36 h 115"/>
                <a:gd name="T26" fmla="*/ 18 w 56"/>
                <a:gd name="T27" fmla="*/ 36 h 115"/>
                <a:gd name="T28" fmla="*/ 18 w 56"/>
                <a:gd name="T29" fmla="*/ 0 h 115"/>
                <a:gd name="T30" fmla="*/ 0 w 56"/>
                <a:gd name="T31" fmla="*/ 0 h 115"/>
                <a:gd name="T32" fmla="*/ 0 w 56"/>
                <a:gd name="T33" fmla="*/ 113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115">
                  <a:moveTo>
                    <a:pt x="18" y="71"/>
                  </a:moveTo>
                  <a:cubicBezTo>
                    <a:pt x="18" y="52"/>
                    <a:pt x="20" y="43"/>
                    <a:pt x="28" y="43"/>
                  </a:cubicBezTo>
                  <a:cubicBezTo>
                    <a:pt x="36" y="43"/>
                    <a:pt x="37" y="52"/>
                    <a:pt x="37" y="71"/>
                  </a:cubicBezTo>
                  <a:cubicBezTo>
                    <a:pt x="37" y="89"/>
                    <a:pt x="36" y="99"/>
                    <a:pt x="28" y="99"/>
                  </a:cubicBezTo>
                  <a:cubicBezTo>
                    <a:pt x="20" y="99"/>
                    <a:pt x="18" y="89"/>
                    <a:pt x="18" y="71"/>
                  </a:cubicBezTo>
                  <a:close/>
                  <a:moveTo>
                    <a:pt x="0" y="113"/>
                  </a:moveTo>
                  <a:cubicBezTo>
                    <a:pt x="17" y="113"/>
                    <a:pt x="17" y="113"/>
                    <a:pt x="17" y="113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21" y="112"/>
                    <a:pt x="27" y="115"/>
                    <a:pt x="34" y="115"/>
                  </a:cubicBezTo>
                  <a:cubicBezTo>
                    <a:pt x="49" y="115"/>
                    <a:pt x="56" y="102"/>
                    <a:pt x="56" y="71"/>
                  </a:cubicBezTo>
                  <a:cubicBezTo>
                    <a:pt x="56" y="39"/>
                    <a:pt x="49" y="26"/>
                    <a:pt x="34" y="26"/>
                  </a:cubicBezTo>
                  <a:cubicBezTo>
                    <a:pt x="27" y="26"/>
                    <a:pt x="22" y="29"/>
                    <a:pt x="18" y="36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01" name="Freeform 9"/>
            <p:cNvSpPr>
              <a:spLocks/>
            </p:cNvSpPr>
            <p:nvPr userDrawn="1"/>
          </p:nvSpPr>
          <p:spPr bwMode="gray">
            <a:xfrm>
              <a:off x="10312371" y="2486016"/>
              <a:ext cx="330199" cy="330198"/>
            </a:xfrm>
            <a:custGeom>
              <a:avLst/>
              <a:gdLst>
                <a:gd name="T0" fmla="*/ 0 w 88"/>
                <a:gd name="T1" fmla="*/ 88 h 88"/>
                <a:gd name="T2" fmla="*/ 18 w 88"/>
                <a:gd name="T3" fmla="*/ 88 h 88"/>
                <a:gd name="T4" fmla="*/ 18 w 88"/>
                <a:gd name="T5" fmla="*/ 32 h 88"/>
                <a:gd name="T6" fmla="*/ 28 w 88"/>
                <a:gd name="T7" fmla="*/ 18 h 88"/>
                <a:gd name="T8" fmla="*/ 35 w 88"/>
                <a:gd name="T9" fmla="*/ 29 h 88"/>
                <a:gd name="T10" fmla="*/ 35 w 88"/>
                <a:gd name="T11" fmla="*/ 88 h 88"/>
                <a:gd name="T12" fmla="*/ 53 w 88"/>
                <a:gd name="T13" fmla="*/ 88 h 88"/>
                <a:gd name="T14" fmla="*/ 53 w 88"/>
                <a:gd name="T15" fmla="*/ 32 h 88"/>
                <a:gd name="T16" fmla="*/ 63 w 88"/>
                <a:gd name="T17" fmla="*/ 18 h 88"/>
                <a:gd name="T18" fmla="*/ 70 w 88"/>
                <a:gd name="T19" fmla="*/ 29 h 88"/>
                <a:gd name="T20" fmla="*/ 70 w 88"/>
                <a:gd name="T21" fmla="*/ 88 h 88"/>
                <a:gd name="T22" fmla="*/ 88 w 88"/>
                <a:gd name="T23" fmla="*/ 88 h 88"/>
                <a:gd name="T24" fmla="*/ 88 w 88"/>
                <a:gd name="T25" fmla="*/ 26 h 88"/>
                <a:gd name="T26" fmla="*/ 70 w 88"/>
                <a:gd name="T27" fmla="*/ 1 h 88"/>
                <a:gd name="T28" fmla="*/ 52 w 88"/>
                <a:gd name="T29" fmla="*/ 14 h 88"/>
                <a:gd name="T30" fmla="*/ 52 w 88"/>
                <a:gd name="T31" fmla="*/ 14 h 88"/>
                <a:gd name="T32" fmla="*/ 36 w 88"/>
                <a:gd name="T33" fmla="*/ 1 h 88"/>
                <a:gd name="T34" fmla="*/ 17 w 88"/>
                <a:gd name="T35" fmla="*/ 12 h 88"/>
                <a:gd name="T36" fmla="*/ 17 w 88"/>
                <a:gd name="T37" fmla="*/ 12 h 88"/>
                <a:gd name="T38" fmla="*/ 17 w 88"/>
                <a:gd name="T39" fmla="*/ 3 h 88"/>
                <a:gd name="T40" fmla="*/ 0 w 88"/>
                <a:gd name="T41" fmla="*/ 3 h 88"/>
                <a:gd name="T42" fmla="*/ 0 w 88"/>
                <a:gd name="T43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8" h="88">
                  <a:moveTo>
                    <a:pt x="0" y="88"/>
                  </a:moveTo>
                  <a:cubicBezTo>
                    <a:pt x="18" y="88"/>
                    <a:pt x="18" y="88"/>
                    <a:pt x="18" y="88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22"/>
                    <a:pt x="22" y="18"/>
                    <a:pt x="28" y="18"/>
                  </a:cubicBezTo>
                  <a:cubicBezTo>
                    <a:pt x="33" y="18"/>
                    <a:pt x="35" y="22"/>
                    <a:pt x="35" y="29"/>
                  </a:cubicBezTo>
                  <a:cubicBezTo>
                    <a:pt x="35" y="88"/>
                    <a:pt x="35" y="88"/>
                    <a:pt x="35" y="88"/>
                  </a:cubicBezTo>
                  <a:cubicBezTo>
                    <a:pt x="53" y="88"/>
                    <a:pt x="53" y="88"/>
                    <a:pt x="53" y="88"/>
                  </a:cubicBezTo>
                  <a:cubicBezTo>
                    <a:pt x="53" y="32"/>
                    <a:pt x="53" y="32"/>
                    <a:pt x="53" y="32"/>
                  </a:cubicBezTo>
                  <a:cubicBezTo>
                    <a:pt x="53" y="22"/>
                    <a:pt x="57" y="18"/>
                    <a:pt x="63" y="18"/>
                  </a:cubicBezTo>
                  <a:cubicBezTo>
                    <a:pt x="68" y="18"/>
                    <a:pt x="70" y="22"/>
                    <a:pt x="70" y="29"/>
                  </a:cubicBezTo>
                  <a:cubicBezTo>
                    <a:pt x="70" y="88"/>
                    <a:pt x="70" y="88"/>
                    <a:pt x="70" y="88"/>
                  </a:cubicBezTo>
                  <a:cubicBezTo>
                    <a:pt x="88" y="88"/>
                    <a:pt x="88" y="88"/>
                    <a:pt x="88" y="88"/>
                  </a:cubicBezTo>
                  <a:cubicBezTo>
                    <a:pt x="88" y="26"/>
                    <a:pt x="88" y="26"/>
                    <a:pt x="88" y="26"/>
                  </a:cubicBezTo>
                  <a:cubicBezTo>
                    <a:pt x="88" y="10"/>
                    <a:pt x="83" y="1"/>
                    <a:pt x="70" y="1"/>
                  </a:cubicBezTo>
                  <a:cubicBezTo>
                    <a:pt x="62" y="0"/>
                    <a:pt x="54" y="6"/>
                    <a:pt x="52" y="14"/>
                  </a:cubicBezTo>
                  <a:cubicBezTo>
                    <a:pt x="52" y="14"/>
                    <a:pt x="52" y="14"/>
                    <a:pt x="52" y="14"/>
                  </a:cubicBezTo>
                  <a:cubicBezTo>
                    <a:pt x="51" y="6"/>
                    <a:pt x="44" y="0"/>
                    <a:pt x="36" y="1"/>
                  </a:cubicBezTo>
                  <a:cubicBezTo>
                    <a:pt x="28" y="1"/>
                    <a:pt x="21" y="5"/>
                    <a:pt x="17" y="12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0" y="3"/>
                    <a:pt x="0" y="3"/>
                    <a:pt x="0" y="3"/>
                  </a:cubicBezTo>
                  <a:lnTo>
                    <a:pt x="0" y="8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02" name="Freeform 10"/>
            <p:cNvSpPr>
              <a:spLocks noEditPoints="1"/>
            </p:cNvSpPr>
            <p:nvPr userDrawn="1"/>
          </p:nvSpPr>
          <p:spPr bwMode="gray">
            <a:xfrm>
              <a:off x="10698133" y="2489191"/>
              <a:ext cx="209549" cy="431799"/>
            </a:xfrm>
            <a:custGeom>
              <a:avLst/>
              <a:gdLst>
                <a:gd name="T0" fmla="*/ 18 w 56"/>
                <a:gd name="T1" fmla="*/ 45 h 115"/>
                <a:gd name="T2" fmla="*/ 28 w 56"/>
                <a:gd name="T3" fmla="*/ 17 h 115"/>
                <a:gd name="T4" fmla="*/ 38 w 56"/>
                <a:gd name="T5" fmla="*/ 45 h 115"/>
                <a:gd name="T6" fmla="*/ 28 w 56"/>
                <a:gd name="T7" fmla="*/ 73 h 115"/>
                <a:gd name="T8" fmla="*/ 18 w 56"/>
                <a:gd name="T9" fmla="*/ 45 h 115"/>
                <a:gd name="T10" fmla="*/ 0 w 56"/>
                <a:gd name="T11" fmla="*/ 115 h 115"/>
                <a:gd name="T12" fmla="*/ 18 w 56"/>
                <a:gd name="T13" fmla="*/ 115 h 115"/>
                <a:gd name="T14" fmla="*/ 18 w 56"/>
                <a:gd name="T15" fmla="*/ 79 h 115"/>
                <a:gd name="T16" fmla="*/ 19 w 56"/>
                <a:gd name="T17" fmla="*/ 79 h 115"/>
                <a:gd name="T18" fmla="*/ 34 w 56"/>
                <a:gd name="T19" fmla="*/ 89 h 115"/>
                <a:gd name="T20" fmla="*/ 56 w 56"/>
                <a:gd name="T21" fmla="*/ 45 h 115"/>
                <a:gd name="T22" fmla="*/ 34 w 56"/>
                <a:gd name="T23" fmla="*/ 0 h 115"/>
                <a:gd name="T24" fmla="*/ 18 w 56"/>
                <a:gd name="T25" fmla="*/ 11 h 115"/>
                <a:gd name="T26" fmla="*/ 18 w 56"/>
                <a:gd name="T27" fmla="*/ 11 h 115"/>
                <a:gd name="T28" fmla="*/ 18 w 56"/>
                <a:gd name="T29" fmla="*/ 2 h 115"/>
                <a:gd name="T30" fmla="*/ 0 w 56"/>
                <a:gd name="T31" fmla="*/ 2 h 115"/>
                <a:gd name="T32" fmla="*/ 0 w 56"/>
                <a:gd name="T33" fmla="*/ 11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115">
                  <a:moveTo>
                    <a:pt x="18" y="45"/>
                  </a:moveTo>
                  <a:cubicBezTo>
                    <a:pt x="18" y="26"/>
                    <a:pt x="20" y="17"/>
                    <a:pt x="28" y="17"/>
                  </a:cubicBezTo>
                  <a:cubicBezTo>
                    <a:pt x="36" y="17"/>
                    <a:pt x="38" y="26"/>
                    <a:pt x="38" y="45"/>
                  </a:cubicBezTo>
                  <a:cubicBezTo>
                    <a:pt x="38" y="63"/>
                    <a:pt x="36" y="73"/>
                    <a:pt x="28" y="73"/>
                  </a:cubicBezTo>
                  <a:cubicBezTo>
                    <a:pt x="20" y="73"/>
                    <a:pt x="18" y="63"/>
                    <a:pt x="18" y="45"/>
                  </a:cubicBezTo>
                  <a:close/>
                  <a:moveTo>
                    <a:pt x="0" y="115"/>
                  </a:moveTo>
                  <a:cubicBezTo>
                    <a:pt x="18" y="115"/>
                    <a:pt x="18" y="115"/>
                    <a:pt x="18" y="115"/>
                  </a:cubicBezTo>
                  <a:cubicBezTo>
                    <a:pt x="18" y="79"/>
                    <a:pt x="18" y="79"/>
                    <a:pt x="18" y="79"/>
                  </a:cubicBezTo>
                  <a:cubicBezTo>
                    <a:pt x="19" y="79"/>
                    <a:pt x="19" y="79"/>
                    <a:pt x="19" y="79"/>
                  </a:cubicBezTo>
                  <a:cubicBezTo>
                    <a:pt x="23" y="86"/>
                    <a:pt x="27" y="89"/>
                    <a:pt x="34" y="89"/>
                  </a:cubicBezTo>
                  <a:cubicBezTo>
                    <a:pt x="49" y="89"/>
                    <a:pt x="56" y="76"/>
                    <a:pt x="56" y="45"/>
                  </a:cubicBezTo>
                  <a:cubicBezTo>
                    <a:pt x="56" y="13"/>
                    <a:pt x="49" y="0"/>
                    <a:pt x="34" y="0"/>
                  </a:cubicBezTo>
                  <a:cubicBezTo>
                    <a:pt x="27" y="0"/>
                    <a:pt x="22" y="3"/>
                    <a:pt x="18" y="11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0" y="2"/>
                    <a:pt x="0" y="2"/>
                    <a:pt x="0" y="2"/>
                  </a:cubicBezTo>
                  <a:lnTo>
                    <a:pt x="0" y="115"/>
                  </a:lnTo>
                  <a:close/>
                </a:path>
              </a:pathLst>
            </a:custGeom>
            <a:solidFill>
              <a:srgbClr val="007C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03" name="Freeform 11"/>
            <p:cNvSpPr>
              <a:spLocks noEditPoints="1"/>
            </p:cNvSpPr>
            <p:nvPr userDrawn="1"/>
          </p:nvSpPr>
          <p:spPr bwMode="gray">
            <a:xfrm>
              <a:off x="10931495" y="2489191"/>
              <a:ext cx="206375" cy="333374"/>
            </a:xfrm>
            <a:custGeom>
              <a:avLst/>
              <a:gdLst>
                <a:gd name="T0" fmla="*/ 18 w 55"/>
                <a:gd name="T1" fmla="*/ 28 h 89"/>
                <a:gd name="T2" fmla="*/ 18 w 55"/>
                <a:gd name="T3" fmla="*/ 26 h 89"/>
                <a:gd name="T4" fmla="*/ 27 w 55"/>
                <a:gd name="T5" fmla="*/ 15 h 89"/>
                <a:gd name="T6" fmla="*/ 35 w 55"/>
                <a:gd name="T7" fmla="*/ 25 h 89"/>
                <a:gd name="T8" fmla="*/ 28 w 55"/>
                <a:gd name="T9" fmla="*/ 35 h 89"/>
                <a:gd name="T10" fmla="*/ 18 w 55"/>
                <a:gd name="T11" fmla="*/ 38 h 89"/>
                <a:gd name="T12" fmla="*/ 0 w 55"/>
                <a:gd name="T13" fmla="*/ 65 h 89"/>
                <a:gd name="T14" fmla="*/ 17 w 55"/>
                <a:gd name="T15" fmla="*/ 89 h 89"/>
                <a:gd name="T16" fmla="*/ 35 w 55"/>
                <a:gd name="T17" fmla="*/ 78 h 89"/>
                <a:gd name="T18" fmla="*/ 35 w 55"/>
                <a:gd name="T19" fmla="*/ 78 h 89"/>
                <a:gd name="T20" fmla="*/ 38 w 55"/>
                <a:gd name="T21" fmla="*/ 87 h 89"/>
                <a:gd name="T22" fmla="*/ 55 w 55"/>
                <a:gd name="T23" fmla="*/ 87 h 89"/>
                <a:gd name="T24" fmla="*/ 53 w 55"/>
                <a:gd name="T25" fmla="*/ 71 h 89"/>
                <a:gd name="T26" fmla="*/ 53 w 55"/>
                <a:gd name="T27" fmla="*/ 26 h 89"/>
                <a:gd name="T28" fmla="*/ 27 w 55"/>
                <a:gd name="T29" fmla="*/ 0 h 89"/>
                <a:gd name="T30" fmla="*/ 2 w 55"/>
                <a:gd name="T31" fmla="*/ 26 h 89"/>
                <a:gd name="T32" fmla="*/ 2 w 55"/>
                <a:gd name="T33" fmla="*/ 28 h 89"/>
                <a:gd name="T34" fmla="*/ 18 w 55"/>
                <a:gd name="T35" fmla="*/ 28 h 89"/>
                <a:gd name="T36" fmla="*/ 35 w 55"/>
                <a:gd name="T37" fmla="*/ 61 h 89"/>
                <a:gd name="T38" fmla="*/ 25 w 55"/>
                <a:gd name="T39" fmla="*/ 75 h 89"/>
                <a:gd name="T40" fmla="*/ 24 w 55"/>
                <a:gd name="T41" fmla="*/ 75 h 89"/>
                <a:gd name="T42" fmla="*/ 17 w 55"/>
                <a:gd name="T43" fmla="*/ 63 h 89"/>
                <a:gd name="T44" fmla="*/ 28 w 55"/>
                <a:gd name="T45" fmla="*/ 49 h 89"/>
                <a:gd name="T46" fmla="*/ 36 w 55"/>
                <a:gd name="T47" fmla="*/ 45 h 89"/>
                <a:gd name="T48" fmla="*/ 36 w 55"/>
                <a:gd name="T49" fmla="*/ 61 h 89"/>
                <a:gd name="T50" fmla="*/ 35 w 55"/>
                <a:gd name="T51" fmla="*/ 61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5" h="89">
                  <a:moveTo>
                    <a:pt x="18" y="28"/>
                  </a:moveTo>
                  <a:cubicBezTo>
                    <a:pt x="18" y="26"/>
                    <a:pt x="18" y="26"/>
                    <a:pt x="18" y="26"/>
                  </a:cubicBezTo>
                  <a:cubicBezTo>
                    <a:pt x="18" y="19"/>
                    <a:pt x="21" y="15"/>
                    <a:pt x="27" y="15"/>
                  </a:cubicBezTo>
                  <a:cubicBezTo>
                    <a:pt x="32" y="15"/>
                    <a:pt x="35" y="19"/>
                    <a:pt x="35" y="25"/>
                  </a:cubicBezTo>
                  <a:cubicBezTo>
                    <a:pt x="36" y="30"/>
                    <a:pt x="33" y="34"/>
                    <a:pt x="28" y="35"/>
                  </a:cubicBezTo>
                  <a:cubicBezTo>
                    <a:pt x="18" y="38"/>
                    <a:pt x="18" y="38"/>
                    <a:pt x="18" y="38"/>
                  </a:cubicBezTo>
                  <a:cubicBezTo>
                    <a:pt x="5" y="42"/>
                    <a:pt x="0" y="49"/>
                    <a:pt x="0" y="65"/>
                  </a:cubicBezTo>
                  <a:cubicBezTo>
                    <a:pt x="0" y="76"/>
                    <a:pt x="4" y="89"/>
                    <a:pt x="17" y="89"/>
                  </a:cubicBezTo>
                  <a:cubicBezTo>
                    <a:pt x="26" y="89"/>
                    <a:pt x="31" y="87"/>
                    <a:pt x="35" y="78"/>
                  </a:cubicBezTo>
                  <a:cubicBezTo>
                    <a:pt x="35" y="78"/>
                    <a:pt x="35" y="78"/>
                    <a:pt x="35" y="78"/>
                  </a:cubicBezTo>
                  <a:cubicBezTo>
                    <a:pt x="36" y="81"/>
                    <a:pt x="37" y="84"/>
                    <a:pt x="38" y="87"/>
                  </a:cubicBezTo>
                  <a:cubicBezTo>
                    <a:pt x="55" y="87"/>
                    <a:pt x="55" y="87"/>
                    <a:pt x="55" y="87"/>
                  </a:cubicBezTo>
                  <a:cubicBezTo>
                    <a:pt x="53" y="82"/>
                    <a:pt x="53" y="76"/>
                    <a:pt x="53" y="71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53" y="11"/>
                    <a:pt x="49" y="0"/>
                    <a:pt x="27" y="0"/>
                  </a:cubicBezTo>
                  <a:cubicBezTo>
                    <a:pt x="13" y="0"/>
                    <a:pt x="2" y="6"/>
                    <a:pt x="2" y="26"/>
                  </a:cubicBezTo>
                  <a:cubicBezTo>
                    <a:pt x="2" y="28"/>
                    <a:pt x="2" y="28"/>
                    <a:pt x="2" y="28"/>
                  </a:cubicBezTo>
                  <a:lnTo>
                    <a:pt x="18" y="28"/>
                  </a:lnTo>
                  <a:close/>
                  <a:moveTo>
                    <a:pt x="35" y="61"/>
                  </a:moveTo>
                  <a:cubicBezTo>
                    <a:pt x="36" y="68"/>
                    <a:pt x="31" y="74"/>
                    <a:pt x="25" y="75"/>
                  </a:cubicBezTo>
                  <a:cubicBezTo>
                    <a:pt x="24" y="75"/>
                    <a:pt x="24" y="75"/>
                    <a:pt x="24" y="75"/>
                  </a:cubicBezTo>
                  <a:cubicBezTo>
                    <a:pt x="19" y="75"/>
                    <a:pt x="17" y="69"/>
                    <a:pt x="17" y="63"/>
                  </a:cubicBezTo>
                  <a:cubicBezTo>
                    <a:pt x="16" y="56"/>
                    <a:pt x="21" y="50"/>
                    <a:pt x="28" y="49"/>
                  </a:cubicBezTo>
                  <a:cubicBezTo>
                    <a:pt x="30" y="48"/>
                    <a:pt x="33" y="46"/>
                    <a:pt x="36" y="45"/>
                  </a:cubicBezTo>
                  <a:cubicBezTo>
                    <a:pt x="36" y="61"/>
                    <a:pt x="36" y="61"/>
                    <a:pt x="36" y="61"/>
                  </a:cubicBezTo>
                  <a:lnTo>
                    <a:pt x="35" y="61"/>
                  </a:lnTo>
                  <a:close/>
                </a:path>
              </a:pathLst>
            </a:custGeom>
            <a:solidFill>
              <a:srgbClr val="007C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04" name="Freeform 12"/>
            <p:cNvSpPr>
              <a:spLocks noEditPoints="1"/>
            </p:cNvSpPr>
            <p:nvPr userDrawn="1"/>
          </p:nvSpPr>
          <p:spPr bwMode="gray">
            <a:xfrm>
              <a:off x="11166444" y="2489191"/>
              <a:ext cx="211137" cy="431799"/>
            </a:xfrm>
            <a:custGeom>
              <a:avLst/>
              <a:gdLst>
                <a:gd name="T0" fmla="*/ 19 w 56"/>
                <a:gd name="T1" fmla="*/ 45 h 115"/>
                <a:gd name="T2" fmla="*/ 28 w 56"/>
                <a:gd name="T3" fmla="*/ 17 h 115"/>
                <a:gd name="T4" fmla="*/ 38 w 56"/>
                <a:gd name="T5" fmla="*/ 45 h 115"/>
                <a:gd name="T6" fmla="*/ 28 w 56"/>
                <a:gd name="T7" fmla="*/ 73 h 115"/>
                <a:gd name="T8" fmla="*/ 19 w 56"/>
                <a:gd name="T9" fmla="*/ 45 h 115"/>
                <a:gd name="T10" fmla="*/ 0 w 56"/>
                <a:gd name="T11" fmla="*/ 115 h 115"/>
                <a:gd name="T12" fmla="*/ 19 w 56"/>
                <a:gd name="T13" fmla="*/ 115 h 115"/>
                <a:gd name="T14" fmla="*/ 19 w 56"/>
                <a:gd name="T15" fmla="*/ 79 h 115"/>
                <a:gd name="T16" fmla="*/ 19 w 56"/>
                <a:gd name="T17" fmla="*/ 79 h 115"/>
                <a:gd name="T18" fmla="*/ 34 w 56"/>
                <a:gd name="T19" fmla="*/ 89 h 115"/>
                <a:gd name="T20" fmla="*/ 56 w 56"/>
                <a:gd name="T21" fmla="*/ 45 h 115"/>
                <a:gd name="T22" fmla="*/ 34 w 56"/>
                <a:gd name="T23" fmla="*/ 0 h 115"/>
                <a:gd name="T24" fmla="*/ 18 w 56"/>
                <a:gd name="T25" fmla="*/ 11 h 115"/>
                <a:gd name="T26" fmla="*/ 18 w 56"/>
                <a:gd name="T27" fmla="*/ 11 h 115"/>
                <a:gd name="T28" fmla="*/ 18 w 56"/>
                <a:gd name="T29" fmla="*/ 2 h 115"/>
                <a:gd name="T30" fmla="*/ 0 w 56"/>
                <a:gd name="T31" fmla="*/ 2 h 115"/>
                <a:gd name="T32" fmla="*/ 0 w 56"/>
                <a:gd name="T33" fmla="*/ 11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115">
                  <a:moveTo>
                    <a:pt x="19" y="45"/>
                  </a:moveTo>
                  <a:cubicBezTo>
                    <a:pt x="19" y="26"/>
                    <a:pt x="20" y="17"/>
                    <a:pt x="28" y="17"/>
                  </a:cubicBezTo>
                  <a:cubicBezTo>
                    <a:pt x="37" y="17"/>
                    <a:pt x="38" y="26"/>
                    <a:pt x="38" y="45"/>
                  </a:cubicBezTo>
                  <a:cubicBezTo>
                    <a:pt x="38" y="63"/>
                    <a:pt x="36" y="73"/>
                    <a:pt x="28" y="73"/>
                  </a:cubicBezTo>
                  <a:cubicBezTo>
                    <a:pt x="20" y="73"/>
                    <a:pt x="19" y="63"/>
                    <a:pt x="19" y="45"/>
                  </a:cubicBezTo>
                  <a:close/>
                  <a:moveTo>
                    <a:pt x="0" y="115"/>
                  </a:moveTo>
                  <a:cubicBezTo>
                    <a:pt x="19" y="115"/>
                    <a:pt x="19" y="115"/>
                    <a:pt x="19" y="115"/>
                  </a:cubicBezTo>
                  <a:cubicBezTo>
                    <a:pt x="19" y="79"/>
                    <a:pt x="19" y="79"/>
                    <a:pt x="19" y="79"/>
                  </a:cubicBezTo>
                  <a:cubicBezTo>
                    <a:pt x="19" y="79"/>
                    <a:pt x="19" y="79"/>
                    <a:pt x="19" y="79"/>
                  </a:cubicBezTo>
                  <a:cubicBezTo>
                    <a:pt x="22" y="85"/>
                    <a:pt x="28" y="89"/>
                    <a:pt x="34" y="89"/>
                  </a:cubicBezTo>
                  <a:cubicBezTo>
                    <a:pt x="49" y="89"/>
                    <a:pt x="56" y="76"/>
                    <a:pt x="56" y="45"/>
                  </a:cubicBezTo>
                  <a:cubicBezTo>
                    <a:pt x="56" y="13"/>
                    <a:pt x="49" y="0"/>
                    <a:pt x="34" y="0"/>
                  </a:cubicBezTo>
                  <a:cubicBezTo>
                    <a:pt x="27" y="0"/>
                    <a:pt x="22" y="3"/>
                    <a:pt x="18" y="11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15"/>
                    <a:pt x="0" y="115"/>
                    <a:pt x="0" y="115"/>
                  </a:cubicBezTo>
                  <a:close/>
                </a:path>
              </a:pathLst>
            </a:custGeom>
            <a:solidFill>
              <a:srgbClr val="007C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05" name="Freeform 13"/>
            <p:cNvSpPr>
              <a:spLocks/>
            </p:cNvSpPr>
            <p:nvPr userDrawn="1"/>
          </p:nvSpPr>
          <p:spPr bwMode="gray">
            <a:xfrm>
              <a:off x="11396631" y="2489191"/>
              <a:ext cx="198438" cy="333374"/>
            </a:xfrm>
            <a:custGeom>
              <a:avLst/>
              <a:gdLst>
                <a:gd name="T0" fmla="*/ 0 w 53"/>
                <a:gd name="T1" fmla="*/ 59 h 89"/>
                <a:gd name="T2" fmla="*/ 0 w 53"/>
                <a:gd name="T3" fmla="*/ 62 h 89"/>
                <a:gd name="T4" fmla="*/ 27 w 53"/>
                <a:gd name="T5" fmla="*/ 89 h 89"/>
                <a:gd name="T6" fmla="*/ 53 w 53"/>
                <a:gd name="T7" fmla="*/ 63 h 89"/>
                <a:gd name="T8" fmla="*/ 37 w 53"/>
                <a:gd name="T9" fmla="*/ 38 h 89"/>
                <a:gd name="T10" fmla="*/ 26 w 53"/>
                <a:gd name="T11" fmla="*/ 34 h 89"/>
                <a:gd name="T12" fmla="*/ 18 w 53"/>
                <a:gd name="T13" fmla="*/ 24 h 89"/>
                <a:gd name="T14" fmla="*/ 26 w 53"/>
                <a:gd name="T15" fmla="*/ 15 h 89"/>
                <a:gd name="T16" fmla="*/ 27 w 53"/>
                <a:gd name="T17" fmla="*/ 15 h 89"/>
                <a:gd name="T18" fmla="*/ 35 w 53"/>
                <a:gd name="T19" fmla="*/ 28 h 89"/>
                <a:gd name="T20" fmla="*/ 51 w 53"/>
                <a:gd name="T21" fmla="*/ 28 h 89"/>
                <a:gd name="T22" fmla="*/ 51 w 53"/>
                <a:gd name="T23" fmla="*/ 24 h 89"/>
                <a:gd name="T24" fmla="*/ 27 w 53"/>
                <a:gd name="T25" fmla="*/ 0 h 89"/>
                <a:gd name="T26" fmla="*/ 1 w 53"/>
                <a:gd name="T27" fmla="*/ 25 h 89"/>
                <a:gd name="T28" fmla="*/ 16 w 53"/>
                <a:gd name="T29" fmla="*/ 49 h 89"/>
                <a:gd name="T30" fmla="*/ 29 w 53"/>
                <a:gd name="T31" fmla="*/ 55 h 89"/>
                <a:gd name="T32" fmla="*/ 36 w 53"/>
                <a:gd name="T33" fmla="*/ 64 h 89"/>
                <a:gd name="T34" fmla="*/ 26 w 53"/>
                <a:gd name="T35" fmla="*/ 75 h 89"/>
                <a:gd name="T36" fmla="*/ 17 w 53"/>
                <a:gd name="T37" fmla="*/ 62 h 89"/>
                <a:gd name="T38" fmla="*/ 17 w 53"/>
                <a:gd name="T39" fmla="*/ 59 h 89"/>
                <a:gd name="T40" fmla="*/ 0 w 53"/>
                <a:gd name="T41" fmla="*/ 59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3" h="89">
                  <a:moveTo>
                    <a:pt x="0" y="59"/>
                  </a:moveTo>
                  <a:cubicBezTo>
                    <a:pt x="0" y="62"/>
                    <a:pt x="0" y="62"/>
                    <a:pt x="0" y="62"/>
                  </a:cubicBezTo>
                  <a:cubicBezTo>
                    <a:pt x="0" y="79"/>
                    <a:pt x="6" y="89"/>
                    <a:pt x="27" y="89"/>
                  </a:cubicBezTo>
                  <a:cubicBezTo>
                    <a:pt x="42" y="89"/>
                    <a:pt x="53" y="81"/>
                    <a:pt x="53" y="63"/>
                  </a:cubicBezTo>
                  <a:cubicBezTo>
                    <a:pt x="53" y="50"/>
                    <a:pt x="49" y="43"/>
                    <a:pt x="37" y="38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0" y="31"/>
                    <a:pt x="18" y="28"/>
                    <a:pt x="18" y="24"/>
                  </a:cubicBezTo>
                  <a:cubicBezTo>
                    <a:pt x="18" y="19"/>
                    <a:pt x="21" y="15"/>
                    <a:pt x="26" y="15"/>
                  </a:cubicBezTo>
                  <a:cubicBezTo>
                    <a:pt x="26" y="15"/>
                    <a:pt x="27" y="15"/>
                    <a:pt x="27" y="15"/>
                  </a:cubicBezTo>
                  <a:cubicBezTo>
                    <a:pt x="33" y="15"/>
                    <a:pt x="35" y="19"/>
                    <a:pt x="35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4"/>
                    <a:pt x="51" y="24"/>
                    <a:pt x="51" y="24"/>
                  </a:cubicBezTo>
                  <a:cubicBezTo>
                    <a:pt x="51" y="9"/>
                    <a:pt x="43" y="0"/>
                    <a:pt x="27" y="0"/>
                  </a:cubicBezTo>
                  <a:cubicBezTo>
                    <a:pt x="8" y="0"/>
                    <a:pt x="1" y="11"/>
                    <a:pt x="1" y="25"/>
                  </a:cubicBezTo>
                  <a:cubicBezTo>
                    <a:pt x="0" y="36"/>
                    <a:pt x="6" y="46"/>
                    <a:pt x="16" y="49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33" y="56"/>
                    <a:pt x="36" y="60"/>
                    <a:pt x="36" y="64"/>
                  </a:cubicBezTo>
                  <a:cubicBezTo>
                    <a:pt x="36" y="71"/>
                    <a:pt x="32" y="75"/>
                    <a:pt x="26" y="75"/>
                  </a:cubicBezTo>
                  <a:cubicBezTo>
                    <a:pt x="20" y="75"/>
                    <a:pt x="17" y="70"/>
                    <a:pt x="17" y="62"/>
                  </a:cubicBezTo>
                  <a:cubicBezTo>
                    <a:pt x="17" y="59"/>
                    <a:pt x="17" y="59"/>
                    <a:pt x="17" y="59"/>
                  </a:cubicBezTo>
                  <a:lnTo>
                    <a:pt x="0" y="59"/>
                  </a:lnTo>
                  <a:close/>
                </a:path>
              </a:pathLst>
            </a:custGeom>
            <a:solidFill>
              <a:srgbClr val="007C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06" name="Freeform 14"/>
            <p:cNvSpPr>
              <a:spLocks/>
            </p:cNvSpPr>
            <p:nvPr userDrawn="1"/>
          </p:nvSpPr>
          <p:spPr bwMode="gray">
            <a:xfrm>
              <a:off x="11598243" y="2406642"/>
              <a:ext cx="146050" cy="412749"/>
            </a:xfrm>
            <a:custGeom>
              <a:avLst/>
              <a:gdLst>
                <a:gd name="T0" fmla="*/ 10 w 39"/>
                <a:gd name="T1" fmla="*/ 24 h 110"/>
                <a:gd name="T2" fmla="*/ 0 w 39"/>
                <a:gd name="T3" fmla="*/ 24 h 110"/>
                <a:gd name="T4" fmla="*/ 0 w 39"/>
                <a:gd name="T5" fmla="*/ 39 h 110"/>
                <a:gd name="T6" fmla="*/ 10 w 39"/>
                <a:gd name="T7" fmla="*/ 39 h 110"/>
                <a:gd name="T8" fmla="*/ 10 w 39"/>
                <a:gd name="T9" fmla="*/ 88 h 110"/>
                <a:gd name="T10" fmla="*/ 27 w 39"/>
                <a:gd name="T11" fmla="*/ 110 h 110"/>
                <a:gd name="T12" fmla="*/ 39 w 39"/>
                <a:gd name="T13" fmla="*/ 109 h 110"/>
                <a:gd name="T14" fmla="*/ 39 w 39"/>
                <a:gd name="T15" fmla="*/ 94 h 110"/>
                <a:gd name="T16" fmla="*/ 35 w 39"/>
                <a:gd name="T17" fmla="*/ 94 h 110"/>
                <a:gd name="T18" fmla="*/ 28 w 39"/>
                <a:gd name="T19" fmla="*/ 85 h 110"/>
                <a:gd name="T20" fmla="*/ 28 w 39"/>
                <a:gd name="T21" fmla="*/ 39 h 110"/>
                <a:gd name="T22" fmla="*/ 39 w 39"/>
                <a:gd name="T23" fmla="*/ 39 h 110"/>
                <a:gd name="T24" fmla="*/ 39 w 39"/>
                <a:gd name="T25" fmla="*/ 24 h 110"/>
                <a:gd name="T26" fmla="*/ 28 w 39"/>
                <a:gd name="T27" fmla="*/ 24 h 110"/>
                <a:gd name="T28" fmla="*/ 28 w 39"/>
                <a:gd name="T29" fmla="*/ 0 h 110"/>
                <a:gd name="T30" fmla="*/ 10 w 39"/>
                <a:gd name="T31" fmla="*/ 0 h 110"/>
                <a:gd name="T32" fmla="*/ 10 w 39"/>
                <a:gd name="T33" fmla="*/ 24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9" h="110">
                  <a:moveTo>
                    <a:pt x="10" y="24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88"/>
                    <a:pt x="10" y="88"/>
                    <a:pt x="10" y="88"/>
                  </a:cubicBezTo>
                  <a:cubicBezTo>
                    <a:pt x="10" y="105"/>
                    <a:pt x="12" y="110"/>
                    <a:pt x="27" y="110"/>
                  </a:cubicBezTo>
                  <a:cubicBezTo>
                    <a:pt x="31" y="110"/>
                    <a:pt x="35" y="110"/>
                    <a:pt x="39" y="109"/>
                  </a:cubicBezTo>
                  <a:cubicBezTo>
                    <a:pt x="39" y="94"/>
                    <a:pt x="39" y="94"/>
                    <a:pt x="39" y="94"/>
                  </a:cubicBezTo>
                  <a:cubicBezTo>
                    <a:pt x="37" y="94"/>
                    <a:pt x="36" y="94"/>
                    <a:pt x="35" y="94"/>
                  </a:cubicBezTo>
                  <a:cubicBezTo>
                    <a:pt x="29" y="94"/>
                    <a:pt x="28" y="92"/>
                    <a:pt x="28" y="85"/>
                  </a:cubicBezTo>
                  <a:cubicBezTo>
                    <a:pt x="28" y="39"/>
                    <a:pt x="28" y="39"/>
                    <a:pt x="28" y="39"/>
                  </a:cubicBezTo>
                  <a:cubicBezTo>
                    <a:pt x="39" y="39"/>
                    <a:pt x="39" y="39"/>
                    <a:pt x="39" y="39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24"/>
                    <a:pt x="10" y="24"/>
                    <a:pt x="10" y="24"/>
                  </a:cubicBezTo>
                  <a:close/>
                </a:path>
              </a:pathLst>
            </a:custGeom>
            <a:solidFill>
              <a:srgbClr val="007C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07" name="Rectangle 15"/>
            <p:cNvSpPr>
              <a:spLocks noChangeArrowheads="1"/>
            </p:cNvSpPr>
            <p:nvPr userDrawn="1"/>
          </p:nvSpPr>
          <p:spPr bwMode="gray">
            <a:xfrm>
              <a:off x="9299549" y="3449630"/>
              <a:ext cx="2978142" cy="531810"/>
            </a:xfrm>
            <a:prstGeom prst="rect">
              <a:avLst/>
            </a:prstGeom>
            <a:solidFill>
              <a:srgbClr val="007C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08" name="Freeform 16"/>
            <p:cNvSpPr>
              <a:spLocks/>
            </p:cNvSpPr>
            <p:nvPr userDrawn="1"/>
          </p:nvSpPr>
          <p:spPr bwMode="gray">
            <a:xfrm>
              <a:off x="9850407" y="3644891"/>
              <a:ext cx="76200" cy="127000"/>
            </a:xfrm>
            <a:custGeom>
              <a:avLst/>
              <a:gdLst>
                <a:gd name="T0" fmla="*/ 20 w 20"/>
                <a:gd name="T1" fmla="*/ 34 h 34"/>
                <a:gd name="T2" fmla="*/ 17 w 20"/>
                <a:gd name="T3" fmla="*/ 34 h 34"/>
                <a:gd name="T4" fmla="*/ 14 w 20"/>
                <a:gd name="T5" fmla="*/ 34 h 34"/>
                <a:gd name="T6" fmla="*/ 9 w 20"/>
                <a:gd name="T7" fmla="*/ 33 h 34"/>
                <a:gd name="T8" fmla="*/ 6 w 20"/>
                <a:gd name="T9" fmla="*/ 30 h 34"/>
                <a:gd name="T10" fmla="*/ 5 w 20"/>
                <a:gd name="T11" fmla="*/ 26 h 34"/>
                <a:gd name="T12" fmla="*/ 5 w 20"/>
                <a:gd name="T13" fmla="*/ 12 h 34"/>
                <a:gd name="T14" fmla="*/ 0 w 20"/>
                <a:gd name="T15" fmla="*/ 12 h 34"/>
                <a:gd name="T16" fmla="*/ 0 w 20"/>
                <a:gd name="T17" fmla="*/ 7 h 34"/>
                <a:gd name="T18" fmla="*/ 5 w 20"/>
                <a:gd name="T19" fmla="*/ 7 h 34"/>
                <a:gd name="T20" fmla="*/ 5 w 20"/>
                <a:gd name="T21" fmla="*/ 0 h 34"/>
                <a:gd name="T22" fmla="*/ 11 w 20"/>
                <a:gd name="T23" fmla="*/ 0 h 34"/>
                <a:gd name="T24" fmla="*/ 11 w 20"/>
                <a:gd name="T25" fmla="*/ 7 h 34"/>
                <a:gd name="T26" fmla="*/ 19 w 20"/>
                <a:gd name="T27" fmla="*/ 7 h 34"/>
                <a:gd name="T28" fmla="*/ 19 w 20"/>
                <a:gd name="T29" fmla="*/ 12 h 34"/>
                <a:gd name="T30" fmla="*/ 11 w 20"/>
                <a:gd name="T31" fmla="*/ 12 h 34"/>
                <a:gd name="T32" fmla="*/ 11 w 20"/>
                <a:gd name="T33" fmla="*/ 25 h 34"/>
                <a:gd name="T34" fmla="*/ 12 w 20"/>
                <a:gd name="T35" fmla="*/ 27 h 34"/>
                <a:gd name="T36" fmla="*/ 15 w 20"/>
                <a:gd name="T37" fmla="*/ 29 h 34"/>
                <a:gd name="T38" fmla="*/ 17 w 20"/>
                <a:gd name="T39" fmla="*/ 29 h 34"/>
                <a:gd name="T40" fmla="*/ 19 w 20"/>
                <a:gd name="T41" fmla="*/ 28 h 34"/>
                <a:gd name="T42" fmla="*/ 20 w 20"/>
                <a:gd name="T43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0" h="34">
                  <a:moveTo>
                    <a:pt x="20" y="34"/>
                  </a:moveTo>
                  <a:cubicBezTo>
                    <a:pt x="19" y="34"/>
                    <a:pt x="18" y="34"/>
                    <a:pt x="17" y="34"/>
                  </a:cubicBezTo>
                  <a:cubicBezTo>
                    <a:pt x="16" y="34"/>
                    <a:pt x="15" y="34"/>
                    <a:pt x="14" y="34"/>
                  </a:cubicBezTo>
                  <a:cubicBezTo>
                    <a:pt x="12" y="34"/>
                    <a:pt x="10" y="34"/>
                    <a:pt x="9" y="33"/>
                  </a:cubicBezTo>
                  <a:cubicBezTo>
                    <a:pt x="7" y="32"/>
                    <a:pt x="6" y="31"/>
                    <a:pt x="6" y="30"/>
                  </a:cubicBezTo>
                  <a:cubicBezTo>
                    <a:pt x="5" y="29"/>
                    <a:pt x="5" y="27"/>
                    <a:pt x="5" y="26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12"/>
                    <a:pt x="19" y="12"/>
                    <a:pt x="19" y="12"/>
                  </a:cubicBezTo>
                  <a:cubicBezTo>
                    <a:pt x="11" y="12"/>
                    <a:pt x="11" y="12"/>
                    <a:pt x="11" y="12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6"/>
                    <a:pt x="12" y="27"/>
                    <a:pt x="12" y="27"/>
                  </a:cubicBezTo>
                  <a:cubicBezTo>
                    <a:pt x="13" y="28"/>
                    <a:pt x="14" y="29"/>
                    <a:pt x="15" y="29"/>
                  </a:cubicBezTo>
                  <a:cubicBezTo>
                    <a:pt x="16" y="29"/>
                    <a:pt x="17" y="29"/>
                    <a:pt x="17" y="29"/>
                  </a:cubicBezTo>
                  <a:cubicBezTo>
                    <a:pt x="18" y="28"/>
                    <a:pt x="19" y="28"/>
                    <a:pt x="19" y="28"/>
                  </a:cubicBezTo>
                  <a:lnTo>
                    <a:pt x="20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09" name="Freeform 17"/>
            <p:cNvSpPr>
              <a:spLocks/>
            </p:cNvSpPr>
            <p:nvPr userDrawn="1"/>
          </p:nvSpPr>
          <p:spPr bwMode="gray">
            <a:xfrm>
              <a:off x="9944072" y="3621076"/>
              <a:ext cx="90487" cy="150812"/>
            </a:xfrm>
            <a:custGeom>
              <a:avLst/>
              <a:gdLst>
                <a:gd name="T0" fmla="*/ 6 w 24"/>
                <a:gd name="T1" fmla="*/ 11 h 40"/>
                <a:gd name="T2" fmla="*/ 6 w 24"/>
                <a:gd name="T3" fmla="*/ 14 h 40"/>
                <a:gd name="T4" fmla="*/ 6 w 24"/>
                <a:gd name="T5" fmla="*/ 17 h 40"/>
                <a:gd name="T6" fmla="*/ 6 w 24"/>
                <a:gd name="T7" fmla="*/ 17 h 40"/>
                <a:gd name="T8" fmla="*/ 8 w 24"/>
                <a:gd name="T9" fmla="*/ 15 h 40"/>
                <a:gd name="T10" fmla="*/ 10 w 24"/>
                <a:gd name="T11" fmla="*/ 14 h 40"/>
                <a:gd name="T12" fmla="*/ 12 w 24"/>
                <a:gd name="T13" fmla="*/ 13 h 40"/>
                <a:gd name="T14" fmla="*/ 15 w 24"/>
                <a:gd name="T15" fmla="*/ 13 h 40"/>
                <a:gd name="T16" fmla="*/ 17 w 24"/>
                <a:gd name="T17" fmla="*/ 13 h 40"/>
                <a:gd name="T18" fmla="*/ 19 w 24"/>
                <a:gd name="T19" fmla="*/ 14 h 40"/>
                <a:gd name="T20" fmla="*/ 21 w 24"/>
                <a:gd name="T21" fmla="*/ 15 h 40"/>
                <a:gd name="T22" fmla="*/ 23 w 24"/>
                <a:gd name="T23" fmla="*/ 17 h 40"/>
                <a:gd name="T24" fmla="*/ 24 w 24"/>
                <a:gd name="T25" fmla="*/ 20 h 40"/>
                <a:gd name="T26" fmla="*/ 24 w 24"/>
                <a:gd name="T27" fmla="*/ 23 h 40"/>
                <a:gd name="T28" fmla="*/ 24 w 24"/>
                <a:gd name="T29" fmla="*/ 40 h 40"/>
                <a:gd name="T30" fmla="*/ 17 w 24"/>
                <a:gd name="T31" fmla="*/ 40 h 40"/>
                <a:gd name="T32" fmla="*/ 17 w 24"/>
                <a:gd name="T33" fmla="*/ 24 h 40"/>
                <a:gd name="T34" fmla="*/ 17 w 24"/>
                <a:gd name="T35" fmla="*/ 22 h 40"/>
                <a:gd name="T36" fmla="*/ 17 w 24"/>
                <a:gd name="T37" fmla="*/ 20 h 40"/>
                <a:gd name="T38" fmla="*/ 15 w 24"/>
                <a:gd name="T39" fmla="*/ 19 h 40"/>
                <a:gd name="T40" fmla="*/ 13 w 24"/>
                <a:gd name="T41" fmla="*/ 18 h 40"/>
                <a:gd name="T42" fmla="*/ 9 w 24"/>
                <a:gd name="T43" fmla="*/ 19 h 40"/>
                <a:gd name="T44" fmla="*/ 6 w 24"/>
                <a:gd name="T45" fmla="*/ 22 h 40"/>
                <a:gd name="T46" fmla="*/ 6 w 24"/>
                <a:gd name="T47" fmla="*/ 40 h 40"/>
                <a:gd name="T48" fmla="*/ 0 w 24"/>
                <a:gd name="T49" fmla="*/ 40 h 40"/>
                <a:gd name="T50" fmla="*/ 0 w 24"/>
                <a:gd name="T51" fmla="*/ 0 h 40"/>
                <a:gd name="T52" fmla="*/ 6 w 24"/>
                <a:gd name="T53" fmla="*/ 0 h 40"/>
                <a:gd name="T54" fmla="*/ 6 w 24"/>
                <a:gd name="T55" fmla="*/ 11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4" h="40">
                  <a:moveTo>
                    <a:pt x="6" y="11"/>
                  </a:moveTo>
                  <a:cubicBezTo>
                    <a:pt x="6" y="12"/>
                    <a:pt x="6" y="13"/>
                    <a:pt x="6" y="14"/>
                  </a:cubicBezTo>
                  <a:cubicBezTo>
                    <a:pt x="6" y="15"/>
                    <a:pt x="6" y="16"/>
                    <a:pt x="6" y="17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7" y="16"/>
                    <a:pt x="7" y="16"/>
                    <a:pt x="8" y="15"/>
                  </a:cubicBezTo>
                  <a:cubicBezTo>
                    <a:pt x="8" y="15"/>
                    <a:pt x="9" y="14"/>
                    <a:pt x="10" y="14"/>
                  </a:cubicBezTo>
                  <a:cubicBezTo>
                    <a:pt x="10" y="14"/>
                    <a:pt x="11" y="13"/>
                    <a:pt x="12" y="13"/>
                  </a:cubicBezTo>
                  <a:cubicBezTo>
                    <a:pt x="13" y="13"/>
                    <a:pt x="14" y="13"/>
                    <a:pt x="15" y="13"/>
                  </a:cubicBezTo>
                  <a:cubicBezTo>
                    <a:pt x="15" y="13"/>
                    <a:pt x="16" y="13"/>
                    <a:pt x="17" y="13"/>
                  </a:cubicBezTo>
                  <a:cubicBezTo>
                    <a:pt x="18" y="13"/>
                    <a:pt x="19" y="13"/>
                    <a:pt x="19" y="14"/>
                  </a:cubicBezTo>
                  <a:cubicBezTo>
                    <a:pt x="20" y="14"/>
                    <a:pt x="21" y="15"/>
                    <a:pt x="21" y="15"/>
                  </a:cubicBezTo>
                  <a:cubicBezTo>
                    <a:pt x="22" y="16"/>
                    <a:pt x="22" y="16"/>
                    <a:pt x="23" y="17"/>
                  </a:cubicBezTo>
                  <a:cubicBezTo>
                    <a:pt x="23" y="18"/>
                    <a:pt x="23" y="19"/>
                    <a:pt x="24" y="20"/>
                  </a:cubicBezTo>
                  <a:cubicBezTo>
                    <a:pt x="24" y="21"/>
                    <a:pt x="24" y="22"/>
                    <a:pt x="24" y="23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17" y="40"/>
                    <a:pt x="17" y="40"/>
                    <a:pt x="17" y="40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3"/>
                    <a:pt x="17" y="22"/>
                    <a:pt x="17" y="22"/>
                  </a:cubicBezTo>
                  <a:cubicBezTo>
                    <a:pt x="17" y="21"/>
                    <a:pt x="17" y="21"/>
                    <a:pt x="17" y="20"/>
                  </a:cubicBezTo>
                  <a:cubicBezTo>
                    <a:pt x="17" y="20"/>
                    <a:pt x="16" y="19"/>
                    <a:pt x="15" y="19"/>
                  </a:cubicBezTo>
                  <a:cubicBezTo>
                    <a:pt x="14" y="18"/>
                    <a:pt x="14" y="18"/>
                    <a:pt x="13" y="18"/>
                  </a:cubicBezTo>
                  <a:cubicBezTo>
                    <a:pt x="12" y="18"/>
                    <a:pt x="10" y="18"/>
                    <a:pt x="9" y="19"/>
                  </a:cubicBezTo>
                  <a:cubicBezTo>
                    <a:pt x="8" y="20"/>
                    <a:pt x="7" y="20"/>
                    <a:pt x="6" y="22"/>
                  </a:cubicBezTo>
                  <a:cubicBezTo>
                    <a:pt x="6" y="40"/>
                    <a:pt x="6" y="40"/>
                    <a:pt x="6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" y="0"/>
                    <a:pt x="6" y="0"/>
                    <a:pt x="6" y="0"/>
                  </a:cubicBezTo>
                  <a:lnTo>
                    <a:pt x="6" y="1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10" name="Freeform 18"/>
            <p:cNvSpPr>
              <a:spLocks noEditPoints="1"/>
            </p:cNvSpPr>
            <p:nvPr userDrawn="1"/>
          </p:nvSpPr>
          <p:spPr bwMode="gray">
            <a:xfrm>
              <a:off x="10053611" y="3670288"/>
              <a:ext cx="90487" cy="101599"/>
            </a:xfrm>
            <a:custGeom>
              <a:avLst/>
              <a:gdLst>
                <a:gd name="T0" fmla="*/ 15 w 24"/>
                <a:gd name="T1" fmla="*/ 22 h 27"/>
                <a:gd name="T2" fmla="*/ 19 w 24"/>
                <a:gd name="T3" fmla="*/ 22 h 27"/>
                <a:gd name="T4" fmla="*/ 23 w 24"/>
                <a:gd name="T5" fmla="*/ 21 h 27"/>
                <a:gd name="T6" fmla="*/ 23 w 24"/>
                <a:gd name="T7" fmla="*/ 26 h 27"/>
                <a:gd name="T8" fmla="*/ 19 w 24"/>
                <a:gd name="T9" fmla="*/ 27 h 27"/>
                <a:gd name="T10" fmla="*/ 14 w 24"/>
                <a:gd name="T11" fmla="*/ 27 h 27"/>
                <a:gd name="T12" fmla="*/ 9 w 24"/>
                <a:gd name="T13" fmla="*/ 27 h 27"/>
                <a:gd name="T14" fmla="*/ 4 w 24"/>
                <a:gd name="T15" fmla="*/ 24 h 27"/>
                <a:gd name="T16" fmla="*/ 1 w 24"/>
                <a:gd name="T17" fmla="*/ 20 h 27"/>
                <a:gd name="T18" fmla="*/ 0 w 24"/>
                <a:gd name="T19" fmla="*/ 14 h 27"/>
                <a:gd name="T20" fmla="*/ 1 w 24"/>
                <a:gd name="T21" fmla="*/ 8 h 27"/>
                <a:gd name="T22" fmla="*/ 4 w 24"/>
                <a:gd name="T23" fmla="*/ 3 h 27"/>
                <a:gd name="T24" fmla="*/ 8 w 24"/>
                <a:gd name="T25" fmla="*/ 1 h 27"/>
                <a:gd name="T26" fmla="*/ 13 w 24"/>
                <a:gd name="T27" fmla="*/ 0 h 27"/>
                <a:gd name="T28" fmla="*/ 17 w 24"/>
                <a:gd name="T29" fmla="*/ 1 h 27"/>
                <a:gd name="T30" fmla="*/ 21 w 24"/>
                <a:gd name="T31" fmla="*/ 3 h 27"/>
                <a:gd name="T32" fmla="*/ 23 w 24"/>
                <a:gd name="T33" fmla="*/ 7 h 27"/>
                <a:gd name="T34" fmla="*/ 24 w 24"/>
                <a:gd name="T35" fmla="*/ 13 h 27"/>
                <a:gd name="T36" fmla="*/ 24 w 24"/>
                <a:gd name="T37" fmla="*/ 15 h 27"/>
                <a:gd name="T38" fmla="*/ 7 w 24"/>
                <a:gd name="T39" fmla="*/ 15 h 27"/>
                <a:gd name="T40" fmla="*/ 8 w 24"/>
                <a:gd name="T41" fmla="*/ 18 h 27"/>
                <a:gd name="T42" fmla="*/ 10 w 24"/>
                <a:gd name="T43" fmla="*/ 21 h 27"/>
                <a:gd name="T44" fmla="*/ 12 w 24"/>
                <a:gd name="T45" fmla="*/ 22 h 27"/>
                <a:gd name="T46" fmla="*/ 15 w 24"/>
                <a:gd name="T47" fmla="*/ 22 h 27"/>
                <a:gd name="T48" fmla="*/ 13 w 24"/>
                <a:gd name="T49" fmla="*/ 5 h 27"/>
                <a:gd name="T50" fmla="*/ 10 w 24"/>
                <a:gd name="T51" fmla="*/ 5 h 27"/>
                <a:gd name="T52" fmla="*/ 9 w 24"/>
                <a:gd name="T53" fmla="*/ 6 h 27"/>
                <a:gd name="T54" fmla="*/ 8 w 24"/>
                <a:gd name="T55" fmla="*/ 8 h 27"/>
                <a:gd name="T56" fmla="*/ 7 w 24"/>
                <a:gd name="T57" fmla="*/ 10 h 27"/>
                <a:gd name="T58" fmla="*/ 18 w 24"/>
                <a:gd name="T59" fmla="*/ 10 h 27"/>
                <a:gd name="T60" fmla="*/ 17 w 24"/>
                <a:gd name="T61" fmla="*/ 8 h 27"/>
                <a:gd name="T62" fmla="*/ 16 w 24"/>
                <a:gd name="T63" fmla="*/ 6 h 27"/>
                <a:gd name="T64" fmla="*/ 13 w 24"/>
                <a:gd name="T65" fmla="*/ 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4" h="27">
                  <a:moveTo>
                    <a:pt x="15" y="22"/>
                  </a:moveTo>
                  <a:cubicBezTo>
                    <a:pt x="17" y="22"/>
                    <a:pt x="18" y="22"/>
                    <a:pt x="19" y="22"/>
                  </a:cubicBezTo>
                  <a:cubicBezTo>
                    <a:pt x="21" y="21"/>
                    <a:pt x="22" y="21"/>
                    <a:pt x="23" y="21"/>
                  </a:cubicBezTo>
                  <a:cubicBezTo>
                    <a:pt x="23" y="26"/>
                    <a:pt x="23" y="26"/>
                    <a:pt x="23" y="26"/>
                  </a:cubicBezTo>
                  <a:cubicBezTo>
                    <a:pt x="22" y="26"/>
                    <a:pt x="21" y="27"/>
                    <a:pt x="19" y="27"/>
                  </a:cubicBezTo>
                  <a:cubicBezTo>
                    <a:pt x="17" y="27"/>
                    <a:pt x="16" y="27"/>
                    <a:pt x="14" y="27"/>
                  </a:cubicBezTo>
                  <a:cubicBezTo>
                    <a:pt x="12" y="27"/>
                    <a:pt x="10" y="27"/>
                    <a:pt x="9" y="27"/>
                  </a:cubicBezTo>
                  <a:cubicBezTo>
                    <a:pt x="7" y="26"/>
                    <a:pt x="5" y="25"/>
                    <a:pt x="4" y="24"/>
                  </a:cubicBezTo>
                  <a:cubicBezTo>
                    <a:pt x="3" y="23"/>
                    <a:pt x="2" y="22"/>
                    <a:pt x="1" y="20"/>
                  </a:cubicBezTo>
                  <a:cubicBezTo>
                    <a:pt x="0" y="18"/>
                    <a:pt x="0" y="16"/>
                    <a:pt x="0" y="14"/>
                  </a:cubicBezTo>
                  <a:cubicBezTo>
                    <a:pt x="0" y="12"/>
                    <a:pt x="0" y="10"/>
                    <a:pt x="1" y="8"/>
                  </a:cubicBezTo>
                  <a:cubicBezTo>
                    <a:pt x="2" y="6"/>
                    <a:pt x="3" y="5"/>
                    <a:pt x="4" y="3"/>
                  </a:cubicBezTo>
                  <a:cubicBezTo>
                    <a:pt x="5" y="2"/>
                    <a:pt x="6" y="1"/>
                    <a:pt x="8" y="1"/>
                  </a:cubicBezTo>
                  <a:cubicBezTo>
                    <a:pt x="9" y="0"/>
                    <a:pt x="11" y="0"/>
                    <a:pt x="13" y="0"/>
                  </a:cubicBezTo>
                  <a:cubicBezTo>
                    <a:pt x="14" y="0"/>
                    <a:pt x="16" y="0"/>
                    <a:pt x="17" y="1"/>
                  </a:cubicBezTo>
                  <a:cubicBezTo>
                    <a:pt x="19" y="1"/>
                    <a:pt x="20" y="2"/>
                    <a:pt x="21" y="3"/>
                  </a:cubicBezTo>
                  <a:cubicBezTo>
                    <a:pt x="22" y="4"/>
                    <a:pt x="23" y="5"/>
                    <a:pt x="23" y="7"/>
                  </a:cubicBezTo>
                  <a:cubicBezTo>
                    <a:pt x="24" y="9"/>
                    <a:pt x="24" y="11"/>
                    <a:pt x="24" y="13"/>
                  </a:cubicBezTo>
                  <a:cubicBezTo>
                    <a:pt x="24" y="14"/>
                    <a:pt x="24" y="15"/>
                    <a:pt x="24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6"/>
                    <a:pt x="7" y="17"/>
                    <a:pt x="8" y="18"/>
                  </a:cubicBezTo>
                  <a:cubicBezTo>
                    <a:pt x="8" y="19"/>
                    <a:pt x="9" y="20"/>
                    <a:pt x="10" y="21"/>
                  </a:cubicBezTo>
                  <a:cubicBezTo>
                    <a:pt x="10" y="21"/>
                    <a:pt x="11" y="21"/>
                    <a:pt x="12" y="22"/>
                  </a:cubicBezTo>
                  <a:cubicBezTo>
                    <a:pt x="13" y="22"/>
                    <a:pt x="14" y="22"/>
                    <a:pt x="15" y="22"/>
                  </a:cubicBezTo>
                  <a:close/>
                  <a:moveTo>
                    <a:pt x="13" y="5"/>
                  </a:moveTo>
                  <a:cubicBezTo>
                    <a:pt x="12" y="5"/>
                    <a:pt x="11" y="5"/>
                    <a:pt x="10" y="5"/>
                  </a:cubicBezTo>
                  <a:cubicBezTo>
                    <a:pt x="10" y="5"/>
                    <a:pt x="9" y="6"/>
                    <a:pt x="9" y="6"/>
                  </a:cubicBezTo>
                  <a:cubicBezTo>
                    <a:pt x="8" y="7"/>
                    <a:pt x="8" y="7"/>
                    <a:pt x="8" y="8"/>
                  </a:cubicBezTo>
                  <a:cubicBezTo>
                    <a:pt x="7" y="9"/>
                    <a:pt x="7" y="10"/>
                    <a:pt x="7" y="1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8" y="10"/>
                    <a:pt x="17" y="9"/>
                    <a:pt x="17" y="8"/>
                  </a:cubicBezTo>
                  <a:cubicBezTo>
                    <a:pt x="17" y="7"/>
                    <a:pt x="17" y="7"/>
                    <a:pt x="16" y="6"/>
                  </a:cubicBezTo>
                  <a:cubicBezTo>
                    <a:pt x="15" y="5"/>
                    <a:pt x="14" y="5"/>
                    <a:pt x="13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11" name="Freeform 19"/>
            <p:cNvSpPr>
              <a:spLocks noEditPoints="1"/>
            </p:cNvSpPr>
            <p:nvPr userDrawn="1"/>
          </p:nvSpPr>
          <p:spPr bwMode="gray">
            <a:xfrm>
              <a:off x="10202835" y="3670288"/>
              <a:ext cx="90487" cy="101599"/>
            </a:xfrm>
            <a:custGeom>
              <a:avLst/>
              <a:gdLst>
                <a:gd name="T0" fmla="*/ 15 w 24"/>
                <a:gd name="T1" fmla="*/ 22 h 27"/>
                <a:gd name="T2" fmla="*/ 19 w 24"/>
                <a:gd name="T3" fmla="*/ 22 h 27"/>
                <a:gd name="T4" fmla="*/ 23 w 24"/>
                <a:gd name="T5" fmla="*/ 21 h 27"/>
                <a:gd name="T6" fmla="*/ 23 w 24"/>
                <a:gd name="T7" fmla="*/ 26 h 27"/>
                <a:gd name="T8" fmla="*/ 19 w 24"/>
                <a:gd name="T9" fmla="*/ 27 h 27"/>
                <a:gd name="T10" fmla="*/ 14 w 24"/>
                <a:gd name="T11" fmla="*/ 27 h 27"/>
                <a:gd name="T12" fmla="*/ 9 w 24"/>
                <a:gd name="T13" fmla="*/ 27 h 27"/>
                <a:gd name="T14" fmla="*/ 4 w 24"/>
                <a:gd name="T15" fmla="*/ 24 h 27"/>
                <a:gd name="T16" fmla="*/ 1 w 24"/>
                <a:gd name="T17" fmla="*/ 20 h 27"/>
                <a:gd name="T18" fmla="*/ 0 w 24"/>
                <a:gd name="T19" fmla="*/ 14 h 27"/>
                <a:gd name="T20" fmla="*/ 1 w 24"/>
                <a:gd name="T21" fmla="*/ 8 h 27"/>
                <a:gd name="T22" fmla="*/ 4 w 24"/>
                <a:gd name="T23" fmla="*/ 3 h 27"/>
                <a:gd name="T24" fmla="*/ 8 w 24"/>
                <a:gd name="T25" fmla="*/ 1 h 27"/>
                <a:gd name="T26" fmla="*/ 13 w 24"/>
                <a:gd name="T27" fmla="*/ 0 h 27"/>
                <a:gd name="T28" fmla="*/ 17 w 24"/>
                <a:gd name="T29" fmla="*/ 1 h 27"/>
                <a:gd name="T30" fmla="*/ 21 w 24"/>
                <a:gd name="T31" fmla="*/ 3 h 27"/>
                <a:gd name="T32" fmla="*/ 23 w 24"/>
                <a:gd name="T33" fmla="*/ 7 h 27"/>
                <a:gd name="T34" fmla="*/ 24 w 24"/>
                <a:gd name="T35" fmla="*/ 13 h 27"/>
                <a:gd name="T36" fmla="*/ 24 w 24"/>
                <a:gd name="T37" fmla="*/ 15 h 27"/>
                <a:gd name="T38" fmla="*/ 7 w 24"/>
                <a:gd name="T39" fmla="*/ 15 h 27"/>
                <a:gd name="T40" fmla="*/ 8 w 24"/>
                <a:gd name="T41" fmla="*/ 18 h 27"/>
                <a:gd name="T42" fmla="*/ 10 w 24"/>
                <a:gd name="T43" fmla="*/ 21 h 27"/>
                <a:gd name="T44" fmla="*/ 12 w 24"/>
                <a:gd name="T45" fmla="*/ 22 h 27"/>
                <a:gd name="T46" fmla="*/ 15 w 24"/>
                <a:gd name="T47" fmla="*/ 22 h 27"/>
                <a:gd name="T48" fmla="*/ 13 w 24"/>
                <a:gd name="T49" fmla="*/ 5 h 27"/>
                <a:gd name="T50" fmla="*/ 10 w 24"/>
                <a:gd name="T51" fmla="*/ 5 h 27"/>
                <a:gd name="T52" fmla="*/ 9 w 24"/>
                <a:gd name="T53" fmla="*/ 6 h 27"/>
                <a:gd name="T54" fmla="*/ 8 w 24"/>
                <a:gd name="T55" fmla="*/ 8 h 27"/>
                <a:gd name="T56" fmla="*/ 7 w 24"/>
                <a:gd name="T57" fmla="*/ 10 h 27"/>
                <a:gd name="T58" fmla="*/ 18 w 24"/>
                <a:gd name="T59" fmla="*/ 10 h 27"/>
                <a:gd name="T60" fmla="*/ 17 w 24"/>
                <a:gd name="T61" fmla="*/ 8 h 27"/>
                <a:gd name="T62" fmla="*/ 16 w 24"/>
                <a:gd name="T63" fmla="*/ 6 h 27"/>
                <a:gd name="T64" fmla="*/ 13 w 24"/>
                <a:gd name="T65" fmla="*/ 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4" h="27">
                  <a:moveTo>
                    <a:pt x="15" y="22"/>
                  </a:moveTo>
                  <a:cubicBezTo>
                    <a:pt x="17" y="22"/>
                    <a:pt x="18" y="22"/>
                    <a:pt x="19" y="22"/>
                  </a:cubicBezTo>
                  <a:cubicBezTo>
                    <a:pt x="21" y="21"/>
                    <a:pt x="22" y="21"/>
                    <a:pt x="23" y="21"/>
                  </a:cubicBezTo>
                  <a:cubicBezTo>
                    <a:pt x="23" y="26"/>
                    <a:pt x="23" y="26"/>
                    <a:pt x="23" y="26"/>
                  </a:cubicBezTo>
                  <a:cubicBezTo>
                    <a:pt x="22" y="26"/>
                    <a:pt x="21" y="27"/>
                    <a:pt x="19" y="27"/>
                  </a:cubicBezTo>
                  <a:cubicBezTo>
                    <a:pt x="17" y="27"/>
                    <a:pt x="16" y="27"/>
                    <a:pt x="14" y="27"/>
                  </a:cubicBezTo>
                  <a:cubicBezTo>
                    <a:pt x="12" y="27"/>
                    <a:pt x="10" y="27"/>
                    <a:pt x="9" y="27"/>
                  </a:cubicBezTo>
                  <a:cubicBezTo>
                    <a:pt x="7" y="26"/>
                    <a:pt x="5" y="25"/>
                    <a:pt x="4" y="24"/>
                  </a:cubicBezTo>
                  <a:cubicBezTo>
                    <a:pt x="3" y="23"/>
                    <a:pt x="2" y="22"/>
                    <a:pt x="1" y="20"/>
                  </a:cubicBezTo>
                  <a:cubicBezTo>
                    <a:pt x="0" y="18"/>
                    <a:pt x="0" y="16"/>
                    <a:pt x="0" y="14"/>
                  </a:cubicBezTo>
                  <a:cubicBezTo>
                    <a:pt x="0" y="12"/>
                    <a:pt x="0" y="10"/>
                    <a:pt x="1" y="8"/>
                  </a:cubicBezTo>
                  <a:cubicBezTo>
                    <a:pt x="2" y="6"/>
                    <a:pt x="3" y="5"/>
                    <a:pt x="4" y="3"/>
                  </a:cubicBezTo>
                  <a:cubicBezTo>
                    <a:pt x="5" y="2"/>
                    <a:pt x="6" y="1"/>
                    <a:pt x="8" y="1"/>
                  </a:cubicBezTo>
                  <a:cubicBezTo>
                    <a:pt x="9" y="0"/>
                    <a:pt x="11" y="0"/>
                    <a:pt x="13" y="0"/>
                  </a:cubicBezTo>
                  <a:cubicBezTo>
                    <a:pt x="14" y="0"/>
                    <a:pt x="16" y="0"/>
                    <a:pt x="17" y="1"/>
                  </a:cubicBezTo>
                  <a:cubicBezTo>
                    <a:pt x="19" y="1"/>
                    <a:pt x="20" y="2"/>
                    <a:pt x="21" y="3"/>
                  </a:cubicBezTo>
                  <a:cubicBezTo>
                    <a:pt x="22" y="4"/>
                    <a:pt x="23" y="5"/>
                    <a:pt x="23" y="7"/>
                  </a:cubicBezTo>
                  <a:cubicBezTo>
                    <a:pt x="24" y="9"/>
                    <a:pt x="24" y="11"/>
                    <a:pt x="24" y="13"/>
                  </a:cubicBezTo>
                  <a:cubicBezTo>
                    <a:pt x="24" y="14"/>
                    <a:pt x="24" y="15"/>
                    <a:pt x="24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6"/>
                    <a:pt x="7" y="17"/>
                    <a:pt x="8" y="18"/>
                  </a:cubicBezTo>
                  <a:cubicBezTo>
                    <a:pt x="8" y="19"/>
                    <a:pt x="9" y="20"/>
                    <a:pt x="10" y="21"/>
                  </a:cubicBezTo>
                  <a:cubicBezTo>
                    <a:pt x="10" y="21"/>
                    <a:pt x="11" y="21"/>
                    <a:pt x="12" y="22"/>
                  </a:cubicBezTo>
                  <a:cubicBezTo>
                    <a:pt x="13" y="22"/>
                    <a:pt x="14" y="22"/>
                    <a:pt x="15" y="22"/>
                  </a:cubicBezTo>
                  <a:close/>
                  <a:moveTo>
                    <a:pt x="13" y="5"/>
                  </a:moveTo>
                  <a:cubicBezTo>
                    <a:pt x="12" y="5"/>
                    <a:pt x="11" y="5"/>
                    <a:pt x="10" y="5"/>
                  </a:cubicBezTo>
                  <a:cubicBezTo>
                    <a:pt x="10" y="5"/>
                    <a:pt x="9" y="6"/>
                    <a:pt x="9" y="6"/>
                  </a:cubicBezTo>
                  <a:cubicBezTo>
                    <a:pt x="8" y="7"/>
                    <a:pt x="8" y="7"/>
                    <a:pt x="8" y="8"/>
                  </a:cubicBezTo>
                  <a:cubicBezTo>
                    <a:pt x="7" y="9"/>
                    <a:pt x="7" y="10"/>
                    <a:pt x="7" y="1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8" y="10"/>
                    <a:pt x="17" y="9"/>
                    <a:pt x="17" y="8"/>
                  </a:cubicBezTo>
                  <a:cubicBezTo>
                    <a:pt x="17" y="7"/>
                    <a:pt x="17" y="7"/>
                    <a:pt x="16" y="6"/>
                  </a:cubicBezTo>
                  <a:cubicBezTo>
                    <a:pt x="15" y="5"/>
                    <a:pt x="14" y="5"/>
                    <a:pt x="13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12" name="Freeform 20"/>
            <p:cNvSpPr>
              <a:spLocks/>
            </p:cNvSpPr>
            <p:nvPr userDrawn="1"/>
          </p:nvSpPr>
          <p:spPr bwMode="gray">
            <a:xfrm>
              <a:off x="10315546" y="3670288"/>
              <a:ext cx="90487" cy="101599"/>
            </a:xfrm>
            <a:custGeom>
              <a:avLst/>
              <a:gdLst>
                <a:gd name="T0" fmla="*/ 6 w 24"/>
                <a:gd name="T1" fmla="*/ 4 h 27"/>
                <a:gd name="T2" fmla="*/ 6 w 24"/>
                <a:gd name="T3" fmla="*/ 4 h 27"/>
                <a:gd name="T4" fmla="*/ 8 w 24"/>
                <a:gd name="T5" fmla="*/ 2 h 27"/>
                <a:gd name="T6" fmla="*/ 9 w 24"/>
                <a:gd name="T7" fmla="*/ 1 h 27"/>
                <a:gd name="T8" fmla="*/ 12 w 24"/>
                <a:gd name="T9" fmla="*/ 0 h 27"/>
                <a:gd name="T10" fmla="*/ 15 w 24"/>
                <a:gd name="T11" fmla="*/ 0 h 27"/>
                <a:gd name="T12" fmla="*/ 18 w 24"/>
                <a:gd name="T13" fmla="*/ 0 h 27"/>
                <a:gd name="T14" fmla="*/ 20 w 24"/>
                <a:gd name="T15" fmla="*/ 1 h 27"/>
                <a:gd name="T16" fmla="*/ 22 w 24"/>
                <a:gd name="T17" fmla="*/ 3 h 27"/>
                <a:gd name="T18" fmla="*/ 23 w 24"/>
                <a:gd name="T19" fmla="*/ 6 h 27"/>
                <a:gd name="T20" fmla="*/ 24 w 24"/>
                <a:gd name="T21" fmla="*/ 7 h 27"/>
                <a:gd name="T22" fmla="*/ 24 w 24"/>
                <a:gd name="T23" fmla="*/ 10 h 27"/>
                <a:gd name="T24" fmla="*/ 24 w 24"/>
                <a:gd name="T25" fmla="*/ 27 h 27"/>
                <a:gd name="T26" fmla="*/ 18 w 24"/>
                <a:gd name="T27" fmla="*/ 27 h 27"/>
                <a:gd name="T28" fmla="*/ 18 w 24"/>
                <a:gd name="T29" fmla="*/ 11 h 27"/>
                <a:gd name="T30" fmla="*/ 18 w 24"/>
                <a:gd name="T31" fmla="*/ 9 h 27"/>
                <a:gd name="T32" fmla="*/ 17 w 24"/>
                <a:gd name="T33" fmla="*/ 8 h 27"/>
                <a:gd name="T34" fmla="*/ 16 w 24"/>
                <a:gd name="T35" fmla="*/ 6 h 27"/>
                <a:gd name="T36" fmla="*/ 13 w 24"/>
                <a:gd name="T37" fmla="*/ 5 h 27"/>
                <a:gd name="T38" fmla="*/ 10 w 24"/>
                <a:gd name="T39" fmla="*/ 6 h 27"/>
                <a:gd name="T40" fmla="*/ 7 w 24"/>
                <a:gd name="T41" fmla="*/ 9 h 27"/>
                <a:gd name="T42" fmla="*/ 7 w 24"/>
                <a:gd name="T43" fmla="*/ 27 h 27"/>
                <a:gd name="T44" fmla="*/ 0 w 24"/>
                <a:gd name="T45" fmla="*/ 27 h 27"/>
                <a:gd name="T46" fmla="*/ 0 w 24"/>
                <a:gd name="T47" fmla="*/ 0 h 27"/>
                <a:gd name="T48" fmla="*/ 5 w 24"/>
                <a:gd name="T49" fmla="*/ 0 h 27"/>
                <a:gd name="T50" fmla="*/ 6 w 24"/>
                <a:gd name="T51" fmla="*/ 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4" h="27">
                  <a:moveTo>
                    <a:pt x="6" y="4"/>
                  </a:move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7" y="3"/>
                    <a:pt x="8" y="2"/>
                  </a:cubicBezTo>
                  <a:cubicBezTo>
                    <a:pt x="8" y="2"/>
                    <a:pt x="9" y="1"/>
                    <a:pt x="9" y="1"/>
                  </a:cubicBezTo>
                  <a:cubicBezTo>
                    <a:pt x="10" y="1"/>
                    <a:pt x="11" y="0"/>
                    <a:pt x="12" y="0"/>
                  </a:cubicBezTo>
                  <a:cubicBezTo>
                    <a:pt x="13" y="0"/>
                    <a:pt x="14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8" y="0"/>
                    <a:pt x="19" y="1"/>
                    <a:pt x="20" y="1"/>
                  </a:cubicBezTo>
                  <a:cubicBezTo>
                    <a:pt x="21" y="2"/>
                    <a:pt x="21" y="2"/>
                    <a:pt x="22" y="3"/>
                  </a:cubicBezTo>
                  <a:cubicBezTo>
                    <a:pt x="23" y="4"/>
                    <a:pt x="23" y="5"/>
                    <a:pt x="23" y="6"/>
                  </a:cubicBezTo>
                  <a:cubicBezTo>
                    <a:pt x="24" y="6"/>
                    <a:pt x="24" y="7"/>
                    <a:pt x="24" y="7"/>
                  </a:cubicBezTo>
                  <a:cubicBezTo>
                    <a:pt x="24" y="8"/>
                    <a:pt x="24" y="9"/>
                    <a:pt x="24" y="10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18" y="10"/>
                    <a:pt x="18" y="9"/>
                    <a:pt x="18" y="9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7" y="7"/>
                    <a:pt x="16" y="6"/>
                    <a:pt x="16" y="6"/>
                  </a:cubicBezTo>
                  <a:cubicBezTo>
                    <a:pt x="15" y="5"/>
                    <a:pt x="14" y="5"/>
                    <a:pt x="13" y="5"/>
                  </a:cubicBezTo>
                  <a:cubicBezTo>
                    <a:pt x="12" y="5"/>
                    <a:pt x="11" y="6"/>
                    <a:pt x="10" y="6"/>
                  </a:cubicBezTo>
                  <a:cubicBezTo>
                    <a:pt x="9" y="7"/>
                    <a:pt x="7" y="8"/>
                    <a:pt x="7" y="9"/>
                  </a:cubicBezTo>
                  <a:cubicBezTo>
                    <a:pt x="7" y="27"/>
                    <a:pt x="7" y="27"/>
                    <a:pt x="7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" y="0"/>
                    <a:pt x="5" y="0"/>
                    <a:pt x="5" y="0"/>
                  </a:cubicBezTo>
                  <a:lnTo>
                    <a:pt x="6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13" name="Freeform 21"/>
            <p:cNvSpPr>
              <a:spLocks noEditPoints="1"/>
            </p:cNvSpPr>
            <p:nvPr userDrawn="1"/>
          </p:nvSpPr>
          <p:spPr bwMode="gray">
            <a:xfrm>
              <a:off x="10428259" y="3670293"/>
              <a:ext cx="90487" cy="150812"/>
            </a:xfrm>
            <a:custGeom>
              <a:avLst/>
              <a:gdLst>
                <a:gd name="T0" fmla="*/ 18 w 24"/>
                <a:gd name="T1" fmla="*/ 27 h 40"/>
                <a:gd name="T2" fmla="*/ 18 w 24"/>
                <a:gd name="T3" fmla="*/ 26 h 40"/>
                <a:gd name="T4" fmla="*/ 18 w 24"/>
                <a:gd name="T5" fmla="*/ 25 h 40"/>
                <a:gd name="T6" fmla="*/ 18 w 24"/>
                <a:gd name="T7" fmla="*/ 25 h 40"/>
                <a:gd name="T8" fmla="*/ 17 w 24"/>
                <a:gd name="T9" fmla="*/ 26 h 40"/>
                <a:gd name="T10" fmla="*/ 15 w 24"/>
                <a:gd name="T11" fmla="*/ 26 h 40"/>
                <a:gd name="T12" fmla="*/ 13 w 24"/>
                <a:gd name="T13" fmla="*/ 27 h 40"/>
                <a:gd name="T14" fmla="*/ 7 w 24"/>
                <a:gd name="T15" fmla="*/ 27 h 40"/>
                <a:gd name="T16" fmla="*/ 3 w 24"/>
                <a:gd name="T17" fmla="*/ 24 h 40"/>
                <a:gd name="T18" fmla="*/ 1 w 24"/>
                <a:gd name="T19" fmla="*/ 20 h 40"/>
                <a:gd name="T20" fmla="*/ 0 w 24"/>
                <a:gd name="T21" fmla="*/ 14 h 40"/>
                <a:gd name="T22" fmla="*/ 1 w 24"/>
                <a:gd name="T23" fmla="*/ 8 h 40"/>
                <a:gd name="T24" fmla="*/ 3 w 24"/>
                <a:gd name="T25" fmla="*/ 3 h 40"/>
                <a:gd name="T26" fmla="*/ 7 w 24"/>
                <a:gd name="T27" fmla="*/ 1 h 40"/>
                <a:gd name="T28" fmla="*/ 11 w 24"/>
                <a:gd name="T29" fmla="*/ 0 h 40"/>
                <a:gd name="T30" fmla="*/ 15 w 24"/>
                <a:gd name="T31" fmla="*/ 1 h 40"/>
                <a:gd name="T32" fmla="*/ 18 w 24"/>
                <a:gd name="T33" fmla="*/ 3 h 40"/>
                <a:gd name="T34" fmla="*/ 18 w 24"/>
                <a:gd name="T35" fmla="*/ 3 h 40"/>
                <a:gd name="T36" fmla="*/ 19 w 24"/>
                <a:gd name="T37" fmla="*/ 0 h 40"/>
                <a:gd name="T38" fmla="*/ 24 w 24"/>
                <a:gd name="T39" fmla="*/ 0 h 40"/>
                <a:gd name="T40" fmla="*/ 24 w 24"/>
                <a:gd name="T41" fmla="*/ 27 h 40"/>
                <a:gd name="T42" fmla="*/ 24 w 24"/>
                <a:gd name="T43" fmla="*/ 31 h 40"/>
                <a:gd name="T44" fmla="*/ 23 w 24"/>
                <a:gd name="T45" fmla="*/ 34 h 40"/>
                <a:gd name="T46" fmla="*/ 21 w 24"/>
                <a:gd name="T47" fmla="*/ 37 h 40"/>
                <a:gd name="T48" fmla="*/ 18 w 24"/>
                <a:gd name="T49" fmla="*/ 39 h 40"/>
                <a:gd name="T50" fmla="*/ 14 w 24"/>
                <a:gd name="T51" fmla="*/ 40 h 40"/>
                <a:gd name="T52" fmla="*/ 9 w 24"/>
                <a:gd name="T53" fmla="*/ 40 h 40"/>
                <a:gd name="T54" fmla="*/ 7 w 24"/>
                <a:gd name="T55" fmla="*/ 40 h 40"/>
                <a:gd name="T56" fmla="*/ 4 w 24"/>
                <a:gd name="T57" fmla="*/ 40 h 40"/>
                <a:gd name="T58" fmla="*/ 2 w 24"/>
                <a:gd name="T59" fmla="*/ 39 h 40"/>
                <a:gd name="T60" fmla="*/ 1 w 24"/>
                <a:gd name="T61" fmla="*/ 39 h 40"/>
                <a:gd name="T62" fmla="*/ 1 w 24"/>
                <a:gd name="T63" fmla="*/ 34 h 40"/>
                <a:gd name="T64" fmla="*/ 5 w 24"/>
                <a:gd name="T65" fmla="*/ 35 h 40"/>
                <a:gd name="T66" fmla="*/ 9 w 24"/>
                <a:gd name="T67" fmla="*/ 35 h 40"/>
                <a:gd name="T68" fmla="*/ 15 w 24"/>
                <a:gd name="T69" fmla="*/ 33 h 40"/>
                <a:gd name="T70" fmla="*/ 18 w 24"/>
                <a:gd name="T71" fmla="*/ 28 h 40"/>
                <a:gd name="T72" fmla="*/ 18 w 24"/>
                <a:gd name="T73" fmla="*/ 27 h 40"/>
                <a:gd name="T74" fmla="*/ 12 w 24"/>
                <a:gd name="T75" fmla="*/ 22 h 40"/>
                <a:gd name="T76" fmla="*/ 14 w 24"/>
                <a:gd name="T77" fmla="*/ 22 h 40"/>
                <a:gd name="T78" fmla="*/ 16 w 24"/>
                <a:gd name="T79" fmla="*/ 21 h 40"/>
                <a:gd name="T80" fmla="*/ 17 w 24"/>
                <a:gd name="T81" fmla="*/ 20 h 40"/>
                <a:gd name="T82" fmla="*/ 18 w 24"/>
                <a:gd name="T83" fmla="*/ 20 h 40"/>
                <a:gd name="T84" fmla="*/ 18 w 24"/>
                <a:gd name="T85" fmla="*/ 8 h 40"/>
                <a:gd name="T86" fmla="*/ 16 w 24"/>
                <a:gd name="T87" fmla="*/ 6 h 40"/>
                <a:gd name="T88" fmla="*/ 12 w 24"/>
                <a:gd name="T89" fmla="*/ 5 h 40"/>
                <a:gd name="T90" fmla="*/ 11 w 24"/>
                <a:gd name="T91" fmla="*/ 5 h 40"/>
                <a:gd name="T92" fmla="*/ 10 w 24"/>
                <a:gd name="T93" fmla="*/ 5 h 40"/>
                <a:gd name="T94" fmla="*/ 8 w 24"/>
                <a:gd name="T95" fmla="*/ 6 h 40"/>
                <a:gd name="T96" fmla="*/ 7 w 24"/>
                <a:gd name="T97" fmla="*/ 8 h 40"/>
                <a:gd name="T98" fmla="*/ 7 w 24"/>
                <a:gd name="T99" fmla="*/ 10 h 40"/>
                <a:gd name="T100" fmla="*/ 6 w 24"/>
                <a:gd name="T101" fmla="*/ 14 h 40"/>
                <a:gd name="T102" fmla="*/ 7 w 24"/>
                <a:gd name="T103" fmla="*/ 17 h 40"/>
                <a:gd name="T104" fmla="*/ 8 w 24"/>
                <a:gd name="T105" fmla="*/ 20 h 40"/>
                <a:gd name="T106" fmla="*/ 10 w 24"/>
                <a:gd name="T107" fmla="*/ 21 h 40"/>
                <a:gd name="T108" fmla="*/ 12 w 24"/>
                <a:gd name="T109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4" h="40">
                  <a:moveTo>
                    <a:pt x="18" y="27"/>
                  </a:moveTo>
                  <a:cubicBezTo>
                    <a:pt x="18" y="26"/>
                    <a:pt x="18" y="26"/>
                    <a:pt x="18" y="26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7" y="25"/>
                    <a:pt x="17" y="26"/>
                  </a:cubicBezTo>
                  <a:cubicBezTo>
                    <a:pt x="16" y="26"/>
                    <a:pt x="16" y="26"/>
                    <a:pt x="15" y="26"/>
                  </a:cubicBezTo>
                  <a:cubicBezTo>
                    <a:pt x="14" y="27"/>
                    <a:pt x="14" y="27"/>
                    <a:pt x="13" y="27"/>
                  </a:cubicBezTo>
                  <a:cubicBezTo>
                    <a:pt x="11" y="27"/>
                    <a:pt x="9" y="27"/>
                    <a:pt x="7" y="27"/>
                  </a:cubicBezTo>
                  <a:cubicBezTo>
                    <a:pt x="5" y="26"/>
                    <a:pt x="4" y="25"/>
                    <a:pt x="3" y="24"/>
                  </a:cubicBezTo>
                  <a:cubicBezTo>
                    <a:pt x="2" y="23"/>
                    <a:pt x="1" y="22"/>
                    <a:pt x="1" y="20"/>
                  </a:cubicBezTo>
                  <a:cubicBezTo>
                    <a:pt x="0" y="18"/>
                    <a:pt x="0" y="16"/>
                    <a:pt x="0" y="14"/>
                  </a:cubicBezTo>
                  <a:cubicBezTo>
                    <a:pt x="0" y="12"/>
                    <a:pt x="0" y="10"/>
                    <a:pt x="1" y="8"/>
                  </a:cubicBezTo>
                  <a:cubicBezTo>
                    <a:pt x="1" y="6"/>
                    <a:pt x="2" y="5"/>
                    <a:pt x="3" y="3"/>
                  </a:cubicBezTo>
                  <a:cubicBezTo>
                    <a:pt x="4" y="2"/>
                    <a:pt x="5" y="1"/>
                    <a:pt x="7" y="1"/>
                  </a:cubicBezTo>
                  <a:cubicBezTo>
                    <a:pt x="8" y="0"/>
                    <a:pt x="10" y="0"/>
                    <a:pt x="11" y="0"/>
                  </a:cubicBezTo>
                  <a:cubicBezTo>
                    <a:pt x="13" y="0"/>
                    <a:pt x="14" y="0"/>
                    <a:pt x="15" y="1"/>
                  </a:cubicBezTo>
                  <a:cubicBezTo>
                    <a:pt x="17" y="1"/>
                    <a:pt x="18" y="2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4" y="28"/>
                    <a:pt x="24" y="30"/>
                    <a:pt x="24" y="31"/>
                  </a:cubicBezTo>
                  <a:cubicBezTo>
                    <a:pt x="24" y="32"/>
                    <a:pt x="23" y="33"/>
                    <a:pt x="23" y="34"/>
                  </a:cubicBezTo>
                  <a:cubicBezTo>
                    <a:pt x="22" y="35"/>
                    <a:pt x="21" y="36"/>
                    <a:pt x="21" y="37"/>
                  </a:cubicBezTo>
                  <a:cubicBezTo>
                    <a:pt x="20" y="37"/>
                    <a:pt x="19" y="38"/>
                    <a:pt x="18" y="39"/>
                  </a:cubicBezTo>
                  <a:cubicBezTo>
                    <a:pt x="16" y="39"/>
                    <a:pt x="15" y="39"/>
                    <a:pt x="14" y="40"/>
                  </a:cubicBezTo>
                  <a:cubicBezTo>
                    <a:pt x="12" y="40"/>
                    <a:pt x="11" y="40"/>
                    <a:pt x="9" y="40"/>
                  </a:cubicBezTo>
                  <a:cubicBezTo>
                    <a:pt x="7" y="40"/>
                    <a:pt x="7" y="40"/>
                    <a:pt x="7" y="40"/>
                  </a:cubicBezTo>
                  <a:cubicBezTo>
                    <a:pt x="6" y="40"/>
                    <a:pt x="5" y="40"/>
                    <a:pt x="4" y="40"/>
                  </a:cubicBezTo>
                  <a:cubicBezTo>
                    <a:pt x="2" y="39"/>
                    <a:pt x="2" y="39"/>
                    <a:pt x="2" y="39"/>
                  </a:cubicBezTo>
                  <a:cubicBezTo>
                    <a:pt x="2" y="39"/>
                    <a:pt x="1" y="39"/>
                    <a:pt x="1" y="39"/>
                  </a:cubicBezTo>
                  <a:cubicBezTo>
                    <a:pt x="1" y="34"/>
                    <a:pt x="1" y="34"/>
                    <a:pt x="1" y="34"/>
                  </a:cubicBezTo>
                  <a:cubicBezTo>
                    <a:pt x="2" y="34"/>
                    <a:pt x="3" y="34"/>
                    <a:pt x="5" y="35"/>
                  </a:cubicBezTo>
                  <a:cubicBezTo>
                    <a:pt x="6" y="35"/>
                    <a:pt x="7" y="35"/>
                    <a:pt x="9" y="35"/>
                  </a:cubicBezTo>
                  <a:cubicBezTo>
                    <a:pt x="11" y="35"/>
                    <a:pt x="13" y="34"/>
                    <a:pt x="15" y="33"/>
                  </a:cubicBezTo>
                  <a:cubicBezTo>
                    <a:pt x="17" y="32"/>
                    <a:pt x="18" y="30"/>
                    <a:pt x="18" y="28"/>
                  </a:cubicBezTo>
                  <a:lnTo>
                    <a:pt x="18" y="27"/>
                  </a:lnTo>
                  <a:close/>
                  <a:moveTo>
                    <a:pt x="12" y="22"/>
                  </a:moveTo>
                  <a:cubicBezTo>
                    <a:pt x="13" y="22"/>
                    <a:pt x="14" y="22"/>
                    <a:pt x="14" y="22"/>
                  </a:cubicBezTo>
                  <a:cubicBezTo>
                    <a:pt x="15" y="22"/>
                    <a:pt x="15" y="22"/>
                    <a:pt x="16" y="21"/>
                  </a:cubicBezTo>
                  <a:cubicBezTo>
                    <a:pt x="16" y="21"/>
                    <a:pt x="17" y="21"/>
                    <a:pt x="17" y="20"/>
                  </a:cubicBezTo>
                  <a:cubicBezTo>
                    <a:pt x="17" y="20"/>
                    <a:pt x="18" y="20"/>
                    <a:pt x="18" y="20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7"/>
                    <a:pt x="16" y="6"/>
                    <a:pt x="16" y="6"/>
                  </a:cubicBezTo>
                  <a:cubicBezTo>
                    <a:pt x="15" y="5"/>
                    <a:pt x="13" y="5"/>
                    <a:pt x="12" y="5"/>
                  </a:cubicBezTo>
                  <a:cubicBezTo>
                    <a:pt x="12" y="5"/>
                    <a:pt x="11" y="5"/>
                    <a:pt x="11" y="5"/>
                  </a:cubicBezTo>
                  <a:cubicBezTo>
                    <a:pt x="11" y="5"/>
                    <a:pt x="10" y="5"/>
                    <a:pt x="10" y="5"/>
                  </a:cubicBezTo>
                  <a:cubicBezTo>
                    <a:pt x="9" y="6"/>
                    <a:pt x="9" y="6"/>
                    <a:pt x="8" y="6"/>
                  </a:cubicBezTo>
                  <a:cubicBezTo>
                    <a:pt x="8" y="7"/>
                    <a:pt x="8" y="7"/>
                    <a:pt x="7" y="8"/>
                  </a:cubicBezTo>
                  <a:cubicBezTo>
                    <a:pt x="7" y="9"/>
                    <a:pt x="7" y="10"/>
                    <a:pt x="7" y="10"/>
                  </a:cubicBezTo>
                  <a:cubicBezTo>
                    <a:pt x="6" y="11"/>
                    <a:pt x="6" y="12"/>
                    <a:pt x="6" y="14"/>
                  </a:cubicBezTo>
                  <a:cubicBezTo>
                    <a:pt x="6" y="15"/>
                    <a:pt x="6" y="16"/>
                    <a:pt x="7" y="17"/>
                  </a:cubicBezTo>
                  <a:cubicBezTo>
                    <a:pt x="7" y="18"/>
                    <a:pt x="7" y="19"/>
                    <a:pt x="8" y="20"/>
                  </a:cubicBezTo>
                  <a:cubicBezTo>
                    <a:pt x="8" y="20"/>
                    <a:pt x="9" y="21"/>
                    <a:pt x="10" y="21"/>
                  </a:cubicBezTo>
                  <a:cubicBezTo>
                    <a:pt x="11" y="22"/>
                    <a:pt x="11" y="22"/>
                    <a:pt x="12" y="2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14" name="Freeform 22"/>
            <p:cNvSpPr>
              <a:spLocks noEditPoints="1"/>
            </p:cNvSpPr>
            <p:nvPr userDrawn="1"/>
          </p:nvSpPr>
          <p:spPr bwMode="gray">
            <a:xfrm>
              <a:off x="10548905" y="3621082"/>
              <a:ext cx="22225" cy="150812"/>
            </a:xfrm>
            <a:custGeom>
              <a:avLst/>
              <a:gdLst>
                <a:gd name="T0" fmla="*/ 0 w 14"/>
                <a:gd name="T1" fmla="*/ 0 h 95"/>
                <a:gd name="T2" fmla="*/ 14 w 14"/>
                <a:gd name="T3" fmla="*/ 0 h 95"/>
                <a:gd name="T4" fmla="*/ 14 w 14"/>
                <a:gd name="T5" fmla="*/ 17 h 95"/>
                <a:gd name="T6" fmla="*/ 0 w 14"/>
                <a:gd name="T7" fmla="*/ 17 h 95"/>
                <a:gd name="T8" fmla="*/ 0 w 14"/>
                <a:gd name="T9" fmla="*/ 0 h 95"/>
                <a:gd name="T10" fmla="*/ 0 w 14"/>
                <a:gd name="T11" fmla="*/ 31 h 95"/>
                <a:gd name="T12" fmla="*/ 14 w 14"/>
                <a:gd name="T13" fmla="*/ 31 h 95"/>
                <a:gd name="T14" fmla="*/ 14 w 14"/>
                <a:gd name="T15" fmla="*/ 95 h 95"/>
                <a:gd name="T16" fmla="*/ 0 w 14"/>
                <a:gd name="T17" fmla="*/ 95 h 95"/>
                <a:gd name="T18" fmla="*/ 0 w 14"/>
                <a:gd name="T19" fmla="*/ 31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95">
                  <a:moveTo>
                    <a:pt x="0" y="0"/>
                  </a:moveTo>
                  <a:lnTo>
                    <a:pt x="14" y="0"/>
                  </a:lnTo>
                  <a:lnTo>
                    <a:pt x="14" y="17"/>
                  </a:lnTo>
                  <a:lnTo>
                    <a:pt x="0" y="17"/>
                  </a:lnTo>
                  <a:lnTo>
                    <a:pt x="0" y="0"/>
                  </a:lnTo>
                  <a:close/>
                  <a:moveTo>
                    <a:pt x="0" y="31"/>
                  </a:moveTo>
                  <a:lnTo>
                    <a:pt x="14" y="31"/>
                  </a:lnTo>
                  <a:lnTo>
                    <a:pt x="14" y="95"/>
                  </a:lnTo>
                  <a:lnTo>
                    <a:pt x="0" y="95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15" name="Freeform 23"/>
            <p:cNvSpPr>
              <a:spLocks/>
            </p:cNvSpPr>
            <p:nvPr userDrawn="1"/>
          </p:nvSpPr>
          <p:spPr bwMode="gray">
            <a:xfrm>
              <a:off x="10596527" y="3670293"/>
              <a:ext cx="90487" cy="101600"/>
            </a:xfrm>
            <a:custGeom>
              <a:avLst/>
              <a:gdLst>
                <a:gd name="T0" fmla="*/ 6 w 24"/>
                <a:gd name="T1" fmla="*/ 4 h 27"/>
                <a:gd name="T2" fmla="*/ 6 w 24"/>
                <a:gd name="T3" fmla="*/ 4 h 27"/>
                <a:gd name="T4" fmla="*/ 8 w 24"/>
                <a:gd name="T5" fmla="*/ 2 h 27"/>
                <a:gd name="T6" fmla="*/ 10 w 24"/>
                <a:gd name="T7" fmla="*/ 1 h 27"/>
                <a:gd name="T8" fmla="*/ 12 w 24"/>
                <a:gd name="T9" fmla="*/ 0 h 27"/>
                <a:gd name="T10" fmla="*/ 15 w 24"/>
                <a:gd name="T11" fmla="*/ 0 h 27"/>
                <a:gd name="T12" fmla="*/ 18 w 24"/>
                <a:gd name="T13" fmla="*/ 0 h 27"/>
                <a:gd name="T14" fmla="*/ 20 w 24"/>
                <a:gd name="T15" fmla="*/ 1 h 27"/>
                <a:gd name="T16" fmla="*/ 22 w 24"/>
                <a:gd name="T17" fmla="*/ 3 h 27"/>
                <a:gd name="T18" fmla="*/ 24 w 24"/>
                <a:gd name="T19" fmla="*/ 6 h 27"/>
                <a:gd name="T20" fmla="*/ 24 w 24"/>
                <a:gd name="T21" fmla="*/ 7 h 27"/>
                <a:gd name="T22" fmla="*/ 24 w 24"/>
                <a:gd name="T23" fmla="*/ 10 h 27"/>
                <a:gd name="T24" fmla="*/ 24 w 24"/>
                <a:gd name="T25" fmla="*/ 27 h 27"/>
                <a:gd name="T26" fmla="*/ 18 w 24"/>
                <a:gd name="T27" fmla="*/ 27 h 27"/>
                <a:gd name="T28" fmla="*/ 18 w 24"/>
                <a:gd name="T29" fmla="*/ 11 h 27"/>
                <a:gd name="T30" fmla="*/ 18 w 24"/>
                <a:gd name="T31" fmla="*/ 9 h 27"/>
                <a:gd name="T32" fmla="*/ 17 w 24"/>
                <a:gd name="T33" fmla="*/ 8 h 27"/>
                <a:gd name="T34" fmla="*/ 16 w 24"/>
                <a:gd name="T35" fmla="*/ 6 h 27"/>
                <a:gd name="T36" fmla="*/ 14 w 24"/>
                <a:gd name="T37" fmla="*/ 5 h 27"/>
                <a:gd name="T38" fmla="*/ 10 w 24"/>
                <a:gd name="T39" fmla="*/ 6 h 27"/>
                <a:gd name="T40" fmla="*/ 7 w 24"/>
                <a:gd name="T41" fmla="*/ 9 h 27"/>
                <a:gd name="T42" fmla="*/ 7 w 24"/>
                <a:gd name="T43" fmla="*/ 27 h 27"/>
                <a:gd name="T44" fmla="*/ 0 w 24"/>
                <a:gd name="T45" fmla="*/ 27 h 27"/>
                <a:gd name="T46" fmla="*/ 0 w 24"/>
                <a:gd name="T47" fmla="*/ 0 h 27"/>
                <a:gd name="T48" fmla="*/ 6 w 24"/>
                <a:gd name="T49" fmla="*/ 0 h 27"/>
                <a:gd name="T50" fmla="*/ 6 w 24"/>
                <a:gd name="T51" fmla="*/ 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4" h="27">
                  <a:moveTo>
                    <a:pt x="6" y="4"/>
                  </a:moveTo>
                  <a:cubicBezTo>
                    <a:pt x="6" y="4"/>
                    <a:pt x="6" y="4"/>
                    <a:pt x="6" y="4"/>
                  </a:cubicBezTo>
                  <a:cubicBezTo>
                    <a:pt x="7" y="4"/>
                    <a:pt x="7" y="3"/>
                    <a:pt x="8" y="2"/>
                  </a:cubicBezTo>
                  <a:cubicBezTo>
                    <a:pt x="8" y="2"/>
                    <a:pt x="9" y="1"/>
                    <a:pt x="10" y="1"/>
                  </a:cubicBezTo>
                  <a:cubicBezTo>
                    <a:pt x="11" y="1"/>
                    <a:pt x="11" y="0"/>
                    <a:pt x="12" y="0"/>
                  </a:cubicBezTo>
                  <a:cubicBezTo>
                    <a:pt x="13" y="0"/>
                    <a:pt x="14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1"/>
                    <a:pt x="20" y="1"/>
                  </a:cubicBezTo>
                  <a:cubicBezTo>
                    <a:pt x="21" y="2"/>
                    <a:pt x="22" y="2"/>
                    <a:pt x="22" y="3"/>
                  </a:cubicBezTo>
                  <a:cubicBezTo>
                    <a:pt x="23" y="4"/>
                    <a:pt x="23" y="5"/>
                    <a:pt x="24" y="6"/>
                  </a:cubicBezTo>
                  <a:cubicBezTo>
                    <a:pt x="24" y="6"/>
                    <a:pt x="24" y="7"/>
                    <a:pt x="24" y="7"/>
                  </a:cubicBezTo>
                  <a:cubicBezTo>
                    <a:pt x="24" y="8"/>
                    <a:pt x="24" y="9"/>
                    <a:pt x="24" y="10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18" y="10"/>
                    <a:pt x="18" y="10"/>
                    <a:pt x="18" y="9"/>
                  </a:cubicBezTo>
                  <a:cubicBezTo>
                    <a:pt x="18" y="8"/>
                    <a:pt x="18" y="8"/>
                    <a:pt x="17" y="8"/>
                  </a:cubicBezTo>
                  <a:cubicBezTo>
                    <a:pt x="17" y="7"/>
                    <a:pt x="17" y="6"/>
                    <a:pt x="16" y="6"/>
                  </a:cubicBezTo>
                  <a:cubicBezTo>
                    <a:pt x="15" y="5"/>
                    <a:pt x="14" y="5"/>
                    <a:pt x="14" y="5"/>
                  </a:cubicBezTo>
                  <a:cubicBezTo>
                    <a:pt x="12" y="5"/>
                    <a:pt x="11" y="6"/>
                    <a:pt x="10" y="6"/>
                  </a:cubicBezTo>
                  <a:cubicBezTo>
                    <a:pt x="9" y="7"/>
                    <a:pt x="8" y="8"/>
                    <a:pt x="7" y="9"/>
                  </a:cubicBezTo>
                  <a:cubicBezTo>
                    <a:pt x="7" y="27"/>
                    <a:pt x="7" y="27"/>
                    <a:pt x="7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" y="0"/>
                    <a:pt x="6" y="0"/>
                    <a:pt x="6" y="0"/>
                  </a:cubicBezTo>
                  <a:lnTo>
                    <a:pt x="6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16" name="Freeform 24"/>
            <p:cNvSpPr>
              <a:spLocks noEditPoints="1"/>
            </p:cNvSpPr>
            <p:nvPr userDrawn="1"/>
          </p:nvSpPr>
          <p:spPr bwMode="gray">
            <a:xfrm>
              <a:off x="10709241" y="3670293"/>
              <a:ext cx="90487" cy="101600"/>
            </a:xfrm>
            <a:custGeom>
              <a:avLst/>
              <a:gdLst>
                <a:gd name="T0" fmla="*/ 15 w 24"/>
                <a:gd name="T1" fmla="*/ 22 h 27"/>
                <a:gd name="T2" fmla="*/ 19 w 24"/>
                <a:gd name="T3" fmla="*/ 22 h 27"/>
                <a:gd name="T4" fmla="*/ 23 w 24"/>
                <a:gd name="T5" fmla="*/ 21 h 27"/>
                <a:gd name="T6" fmla="*/ 23 w 24"/>
                <a:gd name="T7" fmla="*/ 26 h 27"/>
                <a:gd name="T8" fmla="*/ 19 w 24"/>
                <a:gd name="T9" fmla="*/ 27 h 27"/>
                <a:gd name="T10" fmla="*/ 13 w 24"/>
                <a:gd name="T11" fmla="*/ 27 h 27"/>
                <a:gd name="T12" fmla="*/ 8 w 24"/>
                <a:gd name="T13" fmla="*/ 27 h 27"/>
                <a:gd name="T14" fmla="*/ 1 w 24"/>
                <a:gd name="T15" fmla="*/ 20 h 27"/>
                <a:gd name="T16" fmla="*/ 0 w 24"/>
                <a:gd name="T17" fmla="*/ 14 h 27"/>
                <a:gd name="T18" fmla="*/ 1 w 24"/>
                <a:gd name="T19" fmla="*/ 8 h 27"/>
                <a:gd name="T20" fmla="*/ 4 w 24"/>
                <a:gd name="T21" fmla="*/ 3 h 27"/>
                <a:gd name="T22" fmla="*/ 8 w 24"/>
                <a:gd name="T23" fmla="*/ 1 h 27"/>
                <a:gd name="T24" fmla="*/ 12 w 24"/>
                <a:gd name="T25" fmla="*/ 0 h 27"/>
                <a:gd name="T26" fmla="*/ 17 w 24"/>
                <a:gd name="T27" fmla="*/ 0 h 27"/>
                <a:gd name="T28" fmla="*/ 21 w 24"/>
                <a:gd name="T29" fmla="*/ 3 h 27"/>
                <a:gd name="T30" fmla="*/ 23 w 24"/>
                <a:gd name="T31" fmla="*/ 7 h 27"/>
                <a:gd name="T32" fmla="*/ 24 w 24"/>
                <a:gd name="T33" fmla="*/ 13 h 27"/>
                <a:gd name="T34" fmla="*/ 24 w 24"/>
                <a:gd name="T35" fmla="*/ 15 h 27"/>
                <a:gd name="T36" fmla="*/ 6 w 24"/>
                <a:gd name="T37" fmla="*/ 15 h 27"/>
                <a:gd name="T38" fmla="*/ 7 w 24"/>
                <a:gd name="T39" fmla="*/ 18 h 27"/>
                <a:gd name="T40" fmla="*/ 9 w 24"/>
                <a:gd name="T41" fmla="*/ 20 h 27"/>
                <a:gd name="T42" fmla="*/ 12 w 24"/>
                <a:gd name="T43" fmla="*/ 22 h 27"/>
                <a:gd name="T44" fmla="*/ 15 w 24"/>
                <a:gd name="T45" fmla="*/ 22 h 27"/>
                <a:gd name="T46" fmla="*/ 12 w 24"/>
                <a:gd name="T47" fmla="*/ 5 h 27"/>
                <a:gd name="T48" fmla="*/ 10 w 24"/>
                <a:gd name="T49" fmla="*/ 5 h 27"/>
                <a:gd name="T50" fmla="*/ 8 w 24"/>
                <a:gd name="T51" fmla="*/ 6 h 27"/>
                <a:gd name="T52" fmla="*/ 7 w 24"/>
                <a:gd name="T53" fmla="*/ 8 h 27"/>
                <a:gd name="T54" fmla="*/ 7 w 24"/>
                <a:gd name="T55" fmla="*/ 10 h 27"/>
                <a:gd name="T56" fmla="*/ 17 w 24"/>
                <a:gd name="T57" fmla="*/ 10 h 27"/>
                <a:gd name="T58" fmla="*/ 17 w 24"/>
                <a:gd name="T59" fmla="*/ 8 h 27"/>
                <a:gd name="T60" fmla="*/ 16 w 24"/>
                <a:gd name="T61" fmla="*/ 6 h 27"/>
                <a:gd name="T62" fmla="*/ 12 w 24"/>
                <a:gd name="T63" fmla="*/ 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" h="27">
                  <a:moveTo>
                    <a:pt x="15" y="22"/>
                  </a:moveTo>
                  <a:cubicBezTo>
                    <a:pt x="16" y="22"/>
                    <a:pt x="17" y="22"/>
                    <a:pt x="19" y="22"/>
                  </a:cubicBezTo>
                  <a:cubicBezTo>
                    <a:pt x="20" y="21"/>
                    <a:pt x="21" y="21"/>
                    <a:pt x="23" y="21"/>
                  </a:cubicBezTo>
                  <a:cubicBezTo>
                    <a:pt x="23" y="26"/>
                    <a:pt x="23" y="26"/>
                    <a:pt x="23" y="26"/>
                  </a:cubicBezTo>
                  <a:cubicBezTo>
                    <a:pt x="21" y="26"/>
                    <a:pt x="20" y="27"/>
                    <a:pt x="19" y="27"/>
                  </a:cubicBezTo>
                  <a:cubicBezTo>
                    <a:pt x="17" y="27"/>
                    <a:pt x="15" y="27"/>
                    <a:pt x="13" y="27"/>
                  </a:cubicBezTo>
                  <a:cubicBezTo>
                    <a:pt x="12" y="27"/>
                    <a:pt x="10" y="27"/>
                    <a:pt x="8" y="27"/>
                  </a:cubicBezTo>
                  <a:cubicBezTo>
                    <a:pt x="5" y="26"/>
                    <a:pt x="2" y="23"/>
                    <a:pt x="1" y="20"/>
                  </a:cubicBezTo>
                  <a:cubicBezTo>
                    <a:pt x="0" y="18"/>
                    <a:pt x="0" y="16"/>
                    <a:pt x="0" y="14"/>
                  </a:cubicBezTo>
                  <a:cubicBezTo>
                    <a:pt x="0" y="12"/>
                    <a:pt x="0" y="10"/>
                    <a:pt x="1" y="8"/>
                  </a:cubicBezTo>
                  <a:cubicBezTo>
                    <a:pt x="2" y="6"/>
                    <a:pt x="2" y="4"/>
                    <a:pt x="4" y="3"/>
                  </a:cubicBezTo>
                  <a:cubicBezTo>
                    <a:pt x="5" y="2"/>
                    <a:pt x="6" y="1"/>
                    <a:pt x="8" y="1"/>
                  </a:cubicBezTo>
                  <a:cubicBezTo>
                    <a:pt x="9" y="0"/>
                    <a:pt x="11" y="0"/>
                    <a:pt x="12" y="0"/>
                  </a:cubicBezTo>
                  <a:cubicBezTo>
                    <a:pt x="14" y="0"/>
                    <a:pt x="15" y="0"/>
                    <a:pt x="17" y="0"/>
                  </a:cubicBezTo>
                  <a:cubicBezTo>
                    <a:pt x="18" y="1"/>
                    <a:pt x="20" y="2"/>
                    <a:pt x="21" y="3"/>
                  </a:cubicBezTo>
                  <a:cubicBezTo>
                    <a:pt x="22" y="4"/>
                    <a:pt x="22" y="5"/>
                    <a:pt x="23" y="7"/>
                  </a:cubicBezTo>
                  <a:cubicBezTo>
                    <a:pt x="24" y="9"/>
                    <a:pt x="24" y="11"/>
                    <a:pt x="24" y="13"/>
                  </a:cubicBezTo>
                  <a:cubicBezTo>
                    <a:pt x="24" y="14"/>
                    <a:pt x="24" y="15"/>
                    <a:pt x="24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6"/>
                    <a:pt x="7" y="17"/>
                    <a:pt x="7" y="18"/>
                  </a:cubicBezTo>
                  <a:cubicBezTo>
                    <a:pt x="8" y="19"/>
                    <a:pt x="8" y="20"/>
                    <a:pt x="9" y="20"/>
                  </a:cubicBezTo>
                  <a:cubicBezTo>
                    <a:pt x="10" y="21"/>
                    <a:pt x="11" y="21"/>
                    <a:pt x="12" y="22"/>
                  </a:cubicBezTo>
                  <a:cubicBezTo>
                    <a:pt x="13" y="22"/>
                    <a:pt x="14" y="22"/>
                    <a:pt x="15" y="22"/>
                  </a:cubicBezTo>
                  <a:close/>
                  <a:moveTo>
                    <a:pt x="12" y="5"/>
                  </a:moveTo>
                  <a:cubicBezTo>
                    <a:pt x="11" y="5"/>
                    <a:pt x="11" y="5"/>
                    <a:pt x="10" y="5"/>
                  </a:cubicBezTo>
                  <a:cubicBezTo>
                    <a:pt x="9" y="5"/>
                    <a:pt x="9" y="6"/>
                    <a:pt x="8" y="6"/>
                  </a:cubicBezTo>
                  <a:cubicBezTo>
                    <a:pt x="8" y="7"/>
                    <a:pt x="8" y="7"/>
                    <a:pt x="7" y="8"/>
                  </a:cubicBezTo>
                  <a:cubicBezTo>
                    <a:pt x="7" y="9"/>
                    <a:pt x="7" y="10"/>
                    <a:pt x="7" y="1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7" y="10"/>
                    <a:pt x="17" y="9"/>
                    <a:pt x="17" y="8"/>
                  </a:cubicBezTo>
                  <a:cubicBezTo>
                    <a:pt x="17" y="7"/>
                    <a:pt x="16" y="7"/>
                    <a:pt x="16" y="6"/>
                  </a:cubicBezTo>
                  <a:cubicBezTo>
                    <a:pt x="15" y="5"/>
                    <a:pt x="14" y="5"/>
                    <a:pt x="12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17" name="Freeform 25"/>
            <p:cNvSpPr>
              <a:spLocks noEditPoints="1"/>
            </p:cNvSpPr>
            <p:nvPr userDrawn="1"/>
          </p:nvSpPr>
          <p:spPr bwMode="gray">
            <a:xfrm>
              <a:off x="10814012" y="3670293"/>
              <a:ext cx="90487" cy="101600"/>
            </a:xfrm>
            <a:custGeom>
              <a:avLst/>
              <a:gdLst>
                <a:gd name="T0" fmla="*/ 15 w 24"/>
                <a:gd name="T1" fmla="*/ 22 h 27"/>
                <a:gd name="T2" fmla="*/ 19 w 24"/>
                <a:gd name="T3" fmla="*/ 22 h 27"/>
                <a:gd name="T4" fmla="*/ 23 w 24"/>
                <a:gd name="T5" fmla="*/ 21 h 27"/>
                <a:gd name="T6" fmla="*/ 23 w 24"/>
                <a:gd name="T7" fmla="*/ 26 h 27"/>
                <a:gd name="T8" fmla="*/ 19 w 24"/>
                <a:gd name="T9" fmla="*/ 27 h 27"/>
                <a:gd name="T10" fmla="*/ 14 w 24"/>
                <a:gd name="T11" fmla="*/ 27 h 27"/>
                <a:gd name="T12" fmla="*/ 9 w 24"/>
                <a:gd name="T13" fmla="*/ 27 h 27"/>
                <a:gd name="T14" fmla="*/ 4 w 24"/>
                <a:gd name="T15" fmla="*/ 24 h 27"/>
                <a:gd name="T16" fmla="*/ 1 w 24"/>
                <a:gd name="T17" fmla="*/ 20 h 27"/>
                <a:gd name="T18" fmla="*/ 0 w 24"/>
                <a:gd name="T19" fmla="*/ 14 h 27"/>
                <a:gd name="T20" fmla="*/ 1 w 24"/>
                <a:gd name="T21" fmla="*/ 8 h 27"/>
                <a:gd name="T22" fmla="*/ 4 w 24"/>
                <a:gd name="T23" fmla="*/ 3 h 27"/>
                <a:gd name="T24" fmla="*/ 8 w 24"/>
                <a:gd name="T25" fmla="*/ 1 h 27"/>
                <a:gd name="T26" fmla="*/ 13 w 24"/>
                <a:gd name="T27" fmla="*/ 0 h 27"/>
                <a:gd name="T28" fmla="*/ 17 w 24"/>
                <a:gd name="T29" fmla="*/ 1 h 27"/>
                <a:gd name="T30" fmla="*/ 21 w 24"/>
                <a:gd name="T31" fmla="*/ 3 h 27"/>
                <a:gd name="T32" fmla="*/ 23 w 24"/>
                <a:gd name="T33" fmla="*/ 7 h 27"/>
                <a:gd name="T34" fmla="*/ 24 w 24"/>
                <a:gd name="T35" fmla="*/ 13 h 27"/>
                <a:gd name="T36" fmla="*/ 24 w 24"/>
                <a:gd name="T37" fmla="*/ 15 h 27"/>
                <a:gd name="T38" fmla="*/ 7 w 24"/>
                <a:gd name="T39" fmla="*/ 15 h 27"/>
                <a:gd name="T40" fmla="*/ 8 w 24"/>
                <a:gd name="T41" fmla="*/ 18 h 27"/>
                <a:gd name="T42" fmla="*/ 9 w 24"/>
                <a:gd name="T43" fmla="*/ 21 h 27"/>
                <a:gd name="T44" fmla="*/ 12 w 24"/>
                <a:gd name="T45" fmla="*/ 22 h 27"/>
                <a:gd name="T46" fmla="*/ 15 w 24"/>
                <a:gd name="T47" fmla="*/ 22 h 27"/>
                <a:gd name="T48" fmla="*/ 13 w 24"/>
                <a:gd name="T49" fmla="*/ 5 h 27"/>
                <a:gd name="T50" fmla="*/ 11 w 24"/>
                <a:gd name="T51" fmla="*/ 5 h 27"/>
                <a:gd name="T52" fmla="*/ 9 w 24"/>
                <a:gd name="T53" fmla="*/ 6 h 27"/>
                <a:gd name="T54" fmla="*/ 8 w 24"/>
                <a:gd name="T55" fmla="*/ 8 h 27"/>
                <a:gd name="T56" fmla="*/ 7 w 24"/>
                <a:gd name="T57" fmla="*/ 10 h 27"/>
                <a:gd name="T58" fmla="*/ 18 w 24"/>
                <a:gd name="T59" fmla="*/ 10 h 27"/>
                <a:gd name="T60" fmla="*/ 17 w 24"/>
                <a:gd name="T61" fmla="*/ 8 h 27"/>
                <a:gd name="T62" fmla="*/ 16 w 24"/>
                <a:gd name="T63" fmla="*/ 6 h 27"/>
                <a:gd name="T64" fmla="*/ 13 w 24"/>
                <a:gd name="T65" fmla="*/ 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4" h="27">
                  <a:moveTo>
                    <a:pt x="15" y="22"/>
                  </a:moveTo>
                  <a:cubicBezTo>
                    <a:pt x="17" y="22"/>
                    <a:pt x="18" y="22"/>
                    <a:pt x="19" y="22"/>
                  </a:cubicBezTo>
                  <a:cubicBezTo>
                    <a:pt x="21" y="21"/>
                    <a:pt x="22" y="21"/>
                    <a:pt x="23" y="21"/>
                  </a:cubicBezTo>
                  <a:cubicBezTo>
                    <a:pt x="23" y="26"/>
                    <a:pt x="23" y="26"/>
                    <a:pt x="23" y="26"/>
                  </a:cubicBezTo>
                  <a:cubicBezTo>
                    <a:pt x="22" y="26"/>
                    <a:pt x="21" y="27"/>
                    <a:pt x="19" y="27"/>
                  </a:cubicBezTo>
                  <a:cubicBezTo>
                    <a:pt x="18" y="27"/>
                    <a:pt x="16" y="27"/>
                    <a:pt x="14" y="27"/>
                  </a:cubicBezTo>
                  <a:cubicBezTo>
                    <a:pt x="12" y="27"/>
                    <a:pt x="10" y="27"/>
                    <a:pt x="9" y="27"/>
                  </a:cubicBezTo>
                  <a:cubicBezTo>
                    <a:pt x="7" y="26"/>
                    <a:pt x="6" y="25"/>
                    <a:pt x="4" y="24"/>
                  </a:cubicBezTo>
                  <a:cubicBezTo>
                    <a:pt x="3" y="23"/>
                    <a:pt x="2" y="22"/>
                    <a:pt x="1" y="20"/>
                  </a:cubicBezTo>
                  <a:cubicBezTo>
                    <a:pt x="0" y="18"/>
                    <a:pt x="0" y="16"/>
                    <a:pt x="0" y="14"/>
                  </a:cubicBezTo>
                  <a:cubicBezTo>
                    <a:pt x="0" y="12"/>
                    <a:pt x="0" y="10"/>
                    <a:pt x="1" y="8"/>
                  </a:cubicBezTo>
                  <a:cubicBezTo>
                    <a:pt x="2" y="6"/>
                    <a:pt x="3" y="5"/>
                    <a:pt x="4" y="3"/>
                  </a:cubicBezTo>
                  <a:cubicBezTo>
                    <a:pt x="5" y="2"/>
                    <a:pt x="6" y="1"/>
                    <a:pt x="8" y="1"/>
                  </a:cubicBezTo>
                  <a:cubicBezTo>
                    <a:pt x="9" y="0"/>
                    <a:pt x="11" y="0"/>
                    <a:pt x="13" y="0"/>
                  </a:cubicBezTo>
                  <a:cubicBezTo>
                    <a:pt x="14" y="0"/>
                    <a:pt x="16" y="0"/>
                    <a:pt x="17" y="1"/>
                  </a:cubicBezTo>
                  <a:cubicBezTo>
                    <a:pt x="19" y="1"/>
                    <a:pt x="20" y="2"/>
                    <a:pt x="21" y="3"/>
                  </a:cubicBezTo>
                  <a:cubicBezTo>
                    <a:pt x="22" y="4"/>
                    <a:pt x="23" y="5"/>
                    <a:pt x="23" y="7"/>
                  </a:cubicBezTo>
                  <a:cubicBezTo>
                    <a:pt x="24" y="9"/>
                    <a:pt x="24" y="11"/>
                    <a:pt x="24" y="13"/>
                  </a:cubicBezTo>
                  <a:cubicBezTo>
                    <a:pt x="24" y="14"/>
                    <a:pt x="24" y="15"/>
                    <a:pt x="24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6"/>
                    <a:pt x="7" y="17"/>
                    <a:pt x="8" y="18"/>
                  </a:cubicBezTo>
                  <a:cubicBezTo>
                    <a:pt x="8" y="19"/>
                    <a:pt x="9" y="20"/>
                    <a:pt x="9" y="21"/>
                  </a:cubicBezTo>
                  <a:cubicBezTo>
                    <a:pt x="10" y="21"/>
                    <a:pt x="11" y="21"/>
                    <a:pt x="12" y="22"/>
                  </a:cubicBezTo>
                  <a:cubicBezTo>
                    <a:pt x="13" y="22"/>
                    <a:pt x="14" y="22"/>
                    <a:pt x="15" y="22"/>
                  </a:cubicBezTo>
                  <a:close/>
                  <a:moveTo>
                    <a:pt x="13" y="5"/>
                  </a:moveTo>
                  <a:cubicBezTo>
                    <a:pt x="12" y="5"/>
                    <a:pt x="11" y="5"/>
                    <a:pt x="11" y="5"/>
                  </a:cubicBezTo>
                  <a:cubicBezTo>
                    <a:pt x="10" y="5"/>
                    <a:pt x="9" y="6"/>
                    <a:pt x="9" y="6"/>
                  </a:cubicBezTo>
                  <a:cubicBezTo>
                    <a:pt x="8" y="7"/>
                    <a:pt x="8" y="7"/>
                    <a:pt x="8" y="8"/>
                  </a:cubicBezTo>
                  <a:cubicBezTo>
                    <a:pt x="8" y="9"/>
                    <a:pt x="7" y="10"/>
                    <a:pt x="7" y="1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8" y="10"/>
                    <a:pt x="17" y="9"/>
                    <a:pt x="17" y="8"/>
                  </a:cubicBezTo>
                  <a:cubicBezTo>
                    <a:pt x="17" y="7"/>
                    <a:pt x="17" y="7"/>
                    <a:pt x="16" y="6"/>
                  </a:cubicBezTo>
                  <a:cubicBezTo>
                    <a:pt x="15" y="5"/>
                    <a:pt x="14" y="5"/>
                    <a:pt x="13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18" name="Freeform 26"/>
            <p:cNvSpPr>
              <a:spLocks/>
            </p:cNvSpPr>
            <p:nvPr userDrawn="1"/>
          </p:nvSpPr>
          <p:spPr bwMode="gray">
            <a:xfrm>
              <a:off x="10926727" y="3670293"/>
              <a:ext cx="60325" cy="101600"/>
            </a:xfrm>
            <a:custGeom>
              <a:avLst/>
              <a:gdLst>
                <a:gd name="T0" fmla="*/ 16 w 16"/>
                <a:gd name="T1" fmla="*/ 5 h 27"/>
                <a:gd name="T2" fmla="*/ 15 w 16"/>
                <a:gd name="T3" fmla="*/ 5 h 27"/>
                <a:gd name="T4" fmla="*/ 10 w 16"/>
                <a:gd name="T5" fmla="*/ 6 h 27"/>
                <a:gd name="T6" fmla="*/ 7 w 16"/>
                <a:gd name="T7" fmla="*/ 9 h 27"/>
                <a:gd name="T8" fmla="*/ 7 w 16"/>
                <a:gd name="T9" fmla="*/ 27 h 27"/>
                <a:gd name="T10" fmla="*/ 0 w 16"/>
                <a:gd name="T11" fmla="*/ 27 h 27"/>
                <a:gd name="T12" fmla="*/ 0 w 16"/>
                <a:gd name="T13" fmla="*/ 0 h 27"/>
                <a:gd name="T14" fmla="*/ 6 w 16"/>
                <a:gd name="T15" fmla="*/ 0 h 27"/>
                <a:gd name="T16" fmla="*/ 6 w 16"/>
                <a:gd name="T17" fmla="*/ 4 h 27"/>
                <a:gd name="T18" fmla="*/ 6 w 16"/>
                <a:gd name="T19" fmla="*/ 4 h 27"/>
                <a:gd name="T20" fmla="*/ 9 w 16"/>
                <a:gd name="T21" fmla="*/ 1 h 27"/>
                <a:gd name="T22" fmla="*/ 14 w 16"/>
                <a:gd name="T23" fmla="*/ 0 h 27"/>
                <a:gd name="T24" fmla="*/ 16 w 16"/>
                <a:gd name="T25" fmla="*/ 0 h 27"/>
                <a:gd name="T26" fmla="*/ 16 w 16"/>
                <a:gd name="T27" fmla="*/ 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27">
                  <a:moveTo>
                    <a:pt x="16" y="5"/>
                  </a:moveTo>
                  <a:cubicBezTo>
                    <a:pt x="15" y="5"/>
                    <a:pt x="15" y="5"/>
                    <a:pt x="15" y="5"/>
                  </a:cubicBezTo>
                  <a:cubicBezTo>
                    <a:pt x="14" y="5"/>
                    <a:pt x="12" y="6"/>
                    <a:pt x="10" y="6"/>
                  </a:cubicBezTo>
                  <a:cubicBezTo>
                    <a:pt x="9" y="7"/>
                    <a:pt x="8" y="8"/>
                    <a:pt x="7" y="9"/>
                  </a:cubicBezTo>
                  <a:cubicBezTo>
                    <a:pt x="7" y="27"/>
                    <a:pt x="7" y="27"/>
                    <a:pt x="7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7" y="3"/>
                    <a:pt x="8" y="2"/>
                    <a:pt x="9" y="1"/>
                  </a:cubicBezTo>
                  <a:cubicBezTo>
                    <a:pt x="11" y="0"/>
                    <a:pt x="12" y="0"/>
                    <a:pt x="14" y="0"/>
                  </a:cubicBezTo>
                  <a:cubicBezTo>
                    <a:pt x="15" y="0"/>
                    <a:pt x="15" y="0"/>
                    <a:pt x="16" y="0"/>
                  </a:cubicBezTo>
                  <a:lnTo>
                    <a:pt x="16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19" name="Freeform 27"/>
            <p:cNvSpPr>
              <a:spLocks/>
            </p:cNvSpPr>
            <p:nvPr userDrawn="1"/>
          </p:nvSpPr>
          <p:spPr bwMode="gray">
            <a:xfrm>
              <a:off x="11009280" y="3632194"/>
              <a:ext cx="41275" cy="57150"/>
            </a:xfrm>
            <a:custGeom>
              <a:avLst/>
              <a:gdLst>
                <a:gd name="T0" fmla="*/ 10 w 26"/>
                <a:gd name="T1" fmla="*/ 0 h 36"/>
                <a:gd name="T2" fmla="*/ 26 w 26"/>
                <a:gd name="T3" fmla="*/ 0 h 36"/>
                <a:gd name="T4" fmla="*/ 12 w 26"/>
                <a:gd name="T5" fmla="*/ 36 h 36"/>
                <a:gd name="T6" fmla="*/ 0 w 26"/>
                <a:gd name="T7" fmla="*/ 36 h 36"/>
                <a:gd name="T8" fmla="*/ 10 w 26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36">
                  <a:moveTo>
                    <a:pt x="10" y="0"/>
                  </a:moveTo>
                  <a:lnTo>
                    <a:pt x="26" y="0"/>
                  </a:lnTo>
                  <a:lnTo>
                    <a:pt x="12" y="36"/>
                  </a:lnTo>
                  <a:lnTo>
                    <a:pt x="0" y="36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20" name="Freeform 28"/>
            <p:cNvSpPr>
              <a:spLocks/>
            </p:cNvSpPr>
            <p:nvPr userDrawn="1"/>
          </p:nvSpPr>
          <p:spPr bwMode="gray">
            <a:xfrm>
              <a:off x="11055319" y="3667119"/>
              <a:ext cx="74613" cy="104775"/>
            </a:xfrm>
            <a:custGeom>
              <a:avLst/>
              <a:gdLst>
                <a:gd name="T0" fmla="*/ 13 w 20"/>
                <a:gd name="T1" fmla="*/ 20 h 28"/>
                <a:gd name="T2" fmla="*/ 13 w 20"/>
                <a:gd name="T3" fmla="*/ 19 h 28"/>
                <a:gd name="T4" fmla="*/ 11 w 20"/>
                <a:gd name="T5" fmla="*/ 18 h 28"/>
                <a:gd name="T6" fmla="*/ 9 w 20"/>
                <a:gd name="T7" fmla="*/ 17 h 28"/>
                <a:gd name="T8" fmla="*/ 7 w 20"/>
                <a:gd name="T9" fmla="*/ 16 h 28"/>
                <a:gd name="T10" fmla="*/ 5 w 20"/>
                <a:gd name="T11" fmla="*/ 16 h 28"/>
                <a:gd name="T12" fmla="*/ 2 w 20"/>
                <a:gd name="T13" fmla="*/ 14 h 28"/>
                <a:gd name="T14" fmla="*/ 1 w 20"/>
                <a:gd name="T15" fmla="*/ 12 h 28"/>
                <a:gd name="T16" fmla="*/ 0 w 20"/>
                <a:gd name="T17" fmla="*/ 9 h 28"/>
                <a:gd name="T18" fmla="*/ 1 w 20"/>
                <a:gd name="T19" fmla="*/ 5 h 28"/>
                <a:gd name="T20" fmla="*/ 3 w 20"/>
                <a:gd name="T21" fmla="*/ 3 h 28"/>
                <a:gd name="T22" fmla="*/ 6 w 20"/>
                <a:gd name="T23" fmla="*/ 1 h 28"/>
                <a:gd name="T24" fmla="*/ 10 w 20"/>
                <a:gd name="T25" fmla="*/ 0 h 28"/>
                <a:gd name="T26" fmla="*/ 15 w 20"/>
                <a:gd name="T27" fmla="*/ 1 h 28"/>
                <a:gd name="T28" fmla="*/ 19 w 20"/>
                <a:gd name="T29" fmla="*/ 2 h 28"/>
                <a:gd name="T30" fmla="*/ 19 w 20"/>
                <a:gd name="T31" fmla="*/ 7 h 28"/>
                <a:gd name="T32" fmla="*/ 17 w 20"/>
                <a:gd name="T33" fmla="*/ 7 h 28"/>
                <a:gd name="T34" fmla="*/ 15 w 20"/>
                <a:gd name="T35" fmla="*/ 6 h 28"/>
                <a:gd name="T36" fmla="*/ 13 w 20"/>
                <a:gd name="T37" fmla="*/ 6 h 28"/>
                <a:gd name="T38" fmla="*/ 11 w 20"/>
                <a:gd name="T39" fmla="*/ 6 h 28"/>
                <a:gd name="T40" fmla="*/ 9 w 20"/>
                <a:gd name="T41" fmla="*/ 6 h 28"/>
                <a:gd name="T42" fmla="*/ 8 w 20"/>
                <a:gd name="T43" fmla="*/ 7 h 28"/>
                <a:gd name="T44" fmla="*/ 7 w 20"/>
                <a:gd name="T45" fmla="*/ 7 h 28"/>
                <a:gd name="T46" fmla="*/ 7 w 20"/>
                <a:gd name="T47" fmla="*/ 8 h 28"/>
                <a:gd name="T48" fmla="*/ 7 w 20"/>
                <a:gd name="T49" fmla="*/ 10 h 28"/>
                <a:gd name="T50" fmla="*/ 8 w 20"/>
                <a:gd name="T51" fmla="*/ 11 h 28"/>
                <a:gd name="T52" fmla="*/ 10 w 20"/>
                <a:gd name="T53" fmla="*/ 11 h 28"/>
                <a:gd name="T54" fmla="*/ 12 w 20"/>
                <a:gd name="T55" fmla="*/ 12 h 28"/>
                <a:gd name="T56" fmla="*/ 15 w 20"/>
                <a:gd name="T57" fmla="*/ 13 h 28"/>
                <a:gd name="T58" fmla="*/ 17 w 20"/>
                <a:gd name="T59" fmla="*/ 14 h 28"/>
                <a:gd name="T60" fmla="*/ 19 w 20"/>
                <a:gd name="T61" fmla="*/ 16 h 28"/>
                <a:gd name="T62" fmla="*/ 20 w 20"/>
                <a:gd name="T63" fmla="*/ 19 h 28"/>
                <a:gd name="T64" fmla="*/ 19 w 20"/>
                <a:gd name="T65" fmla="*/ 23 h 28"/>
                <a:gd name="T66" fmla="*/ 16 w 20"/>
                <a:gd name="T67" fmla="*/ 26 h 28"/>
                <a:gd name="T68" fmla="*/ 13 w 20"/>
                <a:gd name="T69" fmla="*/ 28 h 28"/>
                <a:gd name="T70" fmla="*/ 8 w 20"/>
                <a:gd name="T71" fmla="*/ 28 h 28"/>
                <a:gd name="T72" fmla="*/ 4 w 20"/>
                <a:gd name="T73" fmla="*/ 28 h 28"/>
                <a:gd name="T74" fmla="*/ 0 w 20"/>
                <a:gd name="T75" fmla="*/ 27 h 28"/>
                <a:gd name="T76" fmla="*/ 0 w 20"/>
                <a:gd name="T77" fmla="*/ 22 h 28"/>
                <a:gd name="T78" fmla="*/ 4 w 20"/>
                <a:gd name="T79" fmla="*/ 23 h 28"/>
                <a:gd name="T80" fmla="*/ 8 w 20"/>
                <a:gd name="T81" fmla="*/ 23 h 28"/>
                <a:gd name="T82" fmla="*/ 10 w 20"/>
                <a:gd name="T83" fmla="*/ 23 h 28"/>
                <a:gd name="T84" fmla="*/ 12 w 20"/>
                <a:gd name="T85" fmla="*/ 23 h 28"/>
                <a:gd name="T86" fmla="*/ 13 w 20"/>
                <a:gd name="T87" fmla="*/ 22 h 28"/>
                <a:gd name="T88" fmla="*/ 13 w 20"/>
                <a:gd name="T89" fmla="*/ 2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" h="28">
                  <a:moveTo>
                    <a:pt x="13" y="20"/>
                  </a:moveTo>
                  <a:cubicBezTo>
                    <a:pt x="13" y="19"/>
                    <a:pt x="13" y="19"/>
                    <a:pt x="13" y="19"/>
                  </a:cubicBezTo>
                  <a:cubicBezTo>
                    <a:pt x="12" y="18"/>
                    <a:pt x="12" y="18"/>
                    <a:pt x="11" y="18"/>
                  </a:cubicBezTo>
                  <a:cubicBezTo>
                    <a:pt x="11" y="17"/>
                    <a:pt x="10" y="17"/>
                    <a:pt x="9" y="17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6" y="16"/>
                    <a:pt x="6" y="16"/>
                    <a:pt x="5" y="16"/>
                  </a:cubicBezTo>
                  <a:cubicBezTo>
                    <a:pt x="4" y="15"/>
                    <a:pt x="3" y="15"/>
                    <a:pt x="2" y="14"/>
                  </a:cubicBezTo>
                  <a:cubicBezTo>
                    <a:pt x="2" y="14"/>
                    <a:pt x="1" y="13"/>
                    <a:pt x="1" y="12"/>
                  </a:cubicBezTo>
                  <a:cubicBezTo>
                    <a:pt x="0" y="11"/>
                    <a:pt x="0" y="10"/>
                    <a:pt x="0" y="9"/>
                  </a:cubicBezTo>
                  <a:cubicBezTo>
                    <a:pt x="0" y="8"/>
                    <a:pt x="0" y="6"/>
                    <a:pt x="1" y="5"/>
                  </a:cubicBezTo>
                  <a:cubicBezTo>
                    <a:pt x="2" y="4"/>
                    <a:pt x="2" y="3"/>
                    <a:pt x="3" y="3"/>
                  </a:cubicBezTo>
                  <a:cubicBezTo>
                    <a:pt x="4" y="2"/>
                    <a:pt x="5" y="1"/>
                    <a:pt x="6" y="1"/>
                  </a:cubicBezTo>
                  <a:cubicBezTo>
                    <a:pt x="7" y="1"/>
                    <a:pt x="9" y="0"/>
                    <a:pt x="10" y="0"/>
                  </a:cubicBezTo>
                  <a:cubicBezTo>
                    <a:pt x="12" y="0"/>
                    <a:pt x="13" y="1"/>
                    <a:pt x="15" y="1"/>
                  </a:cubicBezTo>
                  <a:cubicBezTo>
                    <a:pt x="16" y="1"/>
                    <a:pt x="17" y="1"/>
                    <a:pt x="19" y="2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0" y="6"/>
                    <a:pt x="9" y="6"/>
                    <a:pt x="9" y="6"/>
                  </a:cubicBezTo>
                  <a:cubicBezTo>
                    <a:pt x="8" y="6"/>
                    <a:pt x="8" y="6"/>
                    <a:pt x="8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9"/>
                    <a:pt x="7" y="9"/>
                    <a:pt x="7" y="10"/>
                  </a:cubicBezTo>
                  <a:cubicBezTo>
                    <a:pt x="7" y="10"/>
                    <a:pt x="8" y="11"/>
                    <a:pt x="8" y="11"/>
                  </a:cubicBezTo>
                  <a:cubicBezTo>
                    <a:pt x="9" y="11"/>
                    <a:pt x="10" y="11"/>
                    <a:pt x="10" y="11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12"/>
                    <a:pt x="14" y="12"/>
                    <a:pt x="15" y="13"/>
                  </a:cubicBezTo>
                  <a:cubicBezTo>
                    <a:pt x="16" y="13"/>
                    <a:pt x="16" y="13"/>
                    <a:pt x="17" y="14"/>
                  </a:cubicBezTo>
                  <a:cubicBezTo>
                    <a:pt x="18" y="15"/>
                    <a:pt x="18" y="15"/>
                    <a:pt x="19" y="16"/>
                  </a:cubicBezTo>
                  <a:cubicBezTo>
                    <a:pt x="19" y="17"/>
                    <a:pt x="20" y="18"/>
                    <a:pt x="20" y="19"/>
                  </a:cubicBezTo>
                  <a:cubicBezTo>
                    <a:pt x="20" y="21"/>
                    <a:pt x="19" y="22"/>
                    <a:pt x="19" y="23"/>
                  </a:cubicBezTo>
                  <a:cubicBezTo>
                    <a:pt x="18" y="25"/>
                    <a:pt x="17" y="25"/>
                    <a:pt x="16" y="26"/>
                  </a:cubicBezTo>
                  <a:cubicBezTo>
                    <a:pt x="15" y="27"/>
                    <a:pt x="14" y="28"/>
                    <a:pt x="13" y="28"/>
                  </a:cubicBezTo>
                  <a:cubicBezTo>
                    <a:pt x="11" y="28"/>
                    <a:pt x="10" y="28"/>
                    <a:pt x="8" y="28"/>
                  </a:cubicBezTo>
                  <a:cubicBezTo>
                    <a:pt x="7" y="28"/>
                    <a:pt x="5" y="28"/>
                    <a:pt x="4" y="28"/>
                  </a:cubicBezTo>
                  <a:cubicBezTo>
                    <a:pt x="2" y="28"/>
                    <a:pt x="1" y="27"/>
                    <a:pt x="0" y="27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2" y="22"/>
                    <a:pt x="3" y="23"/>
                    <a:pt x="4" y="23"/>
                  </a:cubicBezTo>
                  <a:cubicBezTo>
                    <a:pt x="5" y="23"/>
                    <a:pt x="7" y="23"/>
                    <a:pt x="8" y="23"/>
                  </a:cubicBezTo>
                  <a:cubicBezTo>
                    <a:pt x="8" y="23"/>
                    <a:pt x="9" y="23"/>
                    <a:pt x="10" y="23"/>
                  </a:cubicBezTo>
                  <a:cubicBezTo>
                    <a:pt x="11" y="23"/>
                    <a:pt x="11" y="23"/>
                    <a:pt x="12" y="23"/>
                  </a:cubicBezTo>
                  <a:cubicBezTo>
                    <a:pt x="12" y="22"/>
                    <a:pt x="13" y="22"/>
                    <a:pt x="13" y="22"/>
                  </a:cubicBezTo>
                  <a:cubicBezTo>
                    <a:pt x="13" y="21"/>
                    <a:pt x="13" y="21"/>
                    <a:pt x="13" y="2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21" name="Freeform 29"/>
            <p:cNvSpPr>
              <a:spLocks/>
            </p:cNvSpPr>
            <p:nvPr userDrawn="1"/>
          </p:nvSpPr>
          <p:spPr bwMode="gray">
            <a:xfrm>
              <a:off x="11185488" y="3670293"/>
              <a:ext cx="76200" cy="101600"/>
            </a:xfrm>
            <a:custGeom>
              <a:avLst/>
              <a:gdLst>
                <a:gd name="T0" fmla="*/ 20 w 20"/>
                <a:gd name="T1" fmla="*/ 26 h 27"/>
                <a:gd name="T2" fmla="*/ 17 w 20"/>
                <a:gd name="T3" fmla="*/ 27 h 27"/>
                <a:gd name="T4" fmla="*/ 14 w 20"/>
                <a:gd name="T5" fmla="*/ 27 h 27"/>
                <a:gd name="T6" fmla="*/ 8 w 20"/>
                <a:gd name="T7" fmla="*/ 26 h 27"/>
                <a:gd name="T8" fmla="*/ 4 w 20"/>
                <a:gd name="T9" fmla="*/ 24 h 27"/>
                <a:gd name="T10" fmla="*/ 1 w 20"/>
                <a:gd name="T11" fmla="*/ 20 h 27"/>
                <a:gd name="T12" fmla="*/ 0 w 20"/>
                <a:gd name="T13" fmla="*/ 14 h 27"/>
                <a:gd name="T14" fmla="*/ 1 w 20"/>
                <a:gd name="T15" fmla="*/ 8 h 27"/>
                <a:gd name="T16" fmla="*/ 4 w 20"/>
                <a:gd name="T17" fmla="*/ 3 h 27"/>
                <a:gd name="T18" fmla="*/ 9 w 20"/>
                <a:gd name="T19" fmla="*/ 1 h 27"/>
                <a:gd name="T20" fmla="*/ 14 w 20"/>
                <a:gd name="T21" fmla="*/ 0 h 27"/>
                <a:gd name="T22" fmla="*/ 17 w 20"/>
                <a:gd name="T23" fmla="*/ 0 h 27"/>
                <a:gd name="T24" fmla="*/ 20 w 20"/>
                <a:gd name="T25" fmla="*/ 1 h 27"/>
                <a:gd name="T26" fmla="*/ 20 w 20"/>
                <a:gd name="T27" fmla="*/ 6 h 27"/>
                <a:gd name="T28" fmla="*/ 17 w 20"/>
                <a:gd name="T29" fmla="*/ 5 h 27"/>
                <a:gd name="T30" fmla="*/ 15 w 20"/>
                <a:gd name="T31" fmla="*/ 5 h 27"/>
                <a:gd name="T32" fmla="*/ 12 w 20"/>
                <a:gd name="T33" fmla="*/ 6 h 27"/>
                <a:gd name="T34" fmla="*/ 9 w 20"/>
                <a:gd name="T35" fmla="*/ 7 h 27"/>
                <a:gd name="T36" fmla="*/ 7 w 20"/>
                <a:gd name="T37" fmla="*/ 10 h 27"/>
                <a:gd name="T38" fmla="*/ 7 w 20"/>
                <a:gd name="T39" fmla="*/ 14 h 27"/>
                <a:gd name="T40" fmla="*/ 7 w 20"/>
                <a:gd name="T41" fmla="*/ 17 h 27"/>
                <a:gd name="T42" fmla="*/ 9 w 20"/>
                <a:gd name="T43" fmla="*/ 20 h 27"/>
                <a:gd name="T44" fmla="*/ 11 w 20"/>
                <a:gd name="T45" fmla="*/ 21 h 27"/>
                <a:gd name="T46" fmla="*/ 14 w 20"/>
                <a:gd name="T47" fmla="*/ 22 h 27"/>
                <a:gd name="T48" fmla="*/ 18 w 20"/>
                <a:gd name="T49" fmla="*/ 22 h 27"/>
                <a:gd name="T50" fmla="*/ 20 w 20"/>
                <a:gd name="T51" fmla="*/ 21 h 27"/>
                <a:gd name="T52" fmla="*/ 20 w 20"/>
                <a:gd name="T53" fmla="*/ 26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0" h="27">
                  <a:moveTo>
                    <a:pt x="20" y="26"/>
                  </a:moveTo>
                  <a:cubicBezTo>
                    <a:pt x="19" y="26"/>
                    <a:pt x="18" y="27"/>
                    <a:pt x="17" y="27"/>
                  </a:cubicBezTo>
                  <a:cubicBezTo>
                    <a:pt x="16" y="27"/>
                    <a:pt x="15" y="27"/>
                    <a:pt x="14" y="27"/>
                  </a:cubicBezTo>
                  <a:cubicBezTo>
                    <a:pt x="12" y="27"/>
                    <a:pt x="10" y="27"/>
                    <a:pt x="8" y="26"/>
                  </a:cubicBezTo>
                  <a:cubicBezTo>
                    <a:pt x="7" y="26"/>
                    <a:pt x="5" y="25"/>
                    <a:pt x="4" y="24"/>
                  </a:cubicBezTo>
                  <a:cubicBezTo>
                    <a:pt x="3" y="23"/>
                    <a:pt x="2" y="22"/>
                    <a:pt x="1" y="20"/>
                  </a:cubicBezTo>
                  <a:cubicBezTo>
                    <a:pt x="0" y="18"/>
                    <a:pt x="0" y="16"/>
                    <a:pt x="0" y="14"/>
                  </a:cubicBezTo>
                  <a:cubicBezTo>
                    <a:pt x="0" y="12"/>
                    <a:pt x="0" y="10"/>
                    <a:pt x="1" y="8"/>
                  </a:cubicBezTo>
                  <a:cubicBezTo>
                    <a:pt x="2" y="6"/>
                    <a:pt x="3" y="4"/>
                    <a:pt x="4" y="3"/>
                  </a:cubicBezTo>
                  <a:cubicBezTo>
                    <a:pt x="6" y="2"/>
                    <a:pt x="7" y="1"/>
                    <a:pt x="9" y="1"/>
                  </a:cubicBezTo>
                  <a:cubicBezTo>
                    <a:pt x="10" y="0"/>
                    <a:pt x="12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1"/>
                    <a:pt x="20" y="1"/>
                  </a:cubicBezTo>
                  <a:cubicBezTo>
                    <a:pt x="20" y="6"/>
                    <a:pt x="20" y="6"/>
                    <a:pt x="20" y="6"/>
                  </a:cubicBezTo>
                  <a:cubicBezTo>
                    <a:pt x="19" y="6"/>
                    <a:pt x="18" y="6"/>
                    <a:pt x="17" y="5"/>
                  </a:cubicBezTo>
                  <a:cubicBezTo>
                    <a:pt x="16" y="5"/>
                    <a:pt x="15" y="5"/>
                    <a:pt x="15" y="5"/>
                  </a:cubicBezTo>
                  <a:cubicBezTo>
                    <a:pt x="14" y="5"/>
                    <a:pt x="13" y="5"/>
                    <a:pt x="12" y="6"/>
                  </a:cubicBezTo>
                  <a:cubicBezTo>
                    <a:pt x="11" y="6"/>
                    <a:pt x="10" y="6"/>
                    <a:pt x="9" y="7"/>
                  </a:cubicBezTo>
                  <a:cubicBezTo>
                    <a:pt x="8" y="8"/>
                    <a:pt x="8" y="9"/>
                    <a:pt x="7" y="10"/>
                  </a:cubicBezTo>
                  <a:cubicBezTo>
                    <a:pt x="7" y="11"/>
                    <a:pt x="7" y="12"/>
                    <a:pt x="7" y="14"/>
                  </a:cubicBezTo>
                  <a:cubicBezTo>
                    <a:pt x="7" y="15"/>
                    <a:pt x="7" y="16"/>
                    <a:pt x="7" y="17"/>
                  </a:cubicBezTo>
                  <a:cubicBezTo>
                    <a:pt x="7" y="18"/>
                    <a:pt x="8" y="19"/>
                    <a:pt x="9" y="20"/>
                  </a:cubicBezTo>
                  <a:cubicBezTo>
                    <a:pt x="9" y="20"/>
                    <a:pt x="10" y="21"/>
                    <a:pt x="11" y="21"/>
                  </a:cubicBezTo>
                  <a:cubicBezTo>
                    <a:pt x="12" y="22"/>
                    <a:pt x="13" y="22"/>
                    <a:pt x="14" y="22"/>
                  </a:cubicBezTo>
                  <a:cubicBezTo>
                    <a:pt x="16" y="22"/>
                    <a:pt x="17" y="22"/>
                    <a:pt x="18" y="22"/>
                  </a:cubicBezTo>
                  <a:cubicBezTo>
                    <a:pt x="19" y="22"/>
                    <a:pt x="19" y="21"/>
                    <a:pt x="20" y="21"/>
                  </a:cubicBezTo>
                  <a:lnTo>
                    <a:pt x="20" y="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22" name="Freeform 30"/>
            <p:cNvSpPr>
              <a:spLocks/>
            </p:cNvSpPr>
            <p:nvPr userDrawn="1"/>
          </p:nvSpPr>
          <p:spPr bwMode="gray">
            <a:xfrm>
              <a:off x="11283903" y="3621079"/>
              <a:ext cx="88900" cy="150812"/>
            </a:xfrm>
            <a:custGeom>
              <a:avLst/>
              <a:gdLst>
                <a:gd name="T0" fmla="*/ 7 w 24"/>
                <a:gd name="T1" fmla="*/ 11 h 40"/>
                <a:gd name="T2" fmla="*/ 7 w 24"/>
                <a:gd name="T3" fmla="*/ 14 h 40"/>
                <a:gd name="T4" fmla="*/ 6 w 24"/>
                <a:gd name="T5" fmla="*/ 17 h 40"/>
                <a:gd name="T6" fmla="*/ 6 w 24"/>
                <a:gd name="T7" fmla="*/ 17 h 40"/>
                <a:gd name="T8" fmla="*/ 8 w 24"/>
                <a:gd name="T9" fmla="*/ 15 h 40"/>
                <a:gd name="T10" fmla="*/ 10 w 24"/>
                <a:gd name="T11" fmla="*/ 14 h 40"/>
                <a:gd name="T12" fmla="*/ 12 w 24"/>
                <a:gd name="T13" fmla="*/ 13 h 40"/>
                <a:gd name="T14" fmla="*/ 15 w 24"/>
                <a:gd name="T15" fmla="*/ 13 h 40"/>
                <a:gd name="T16" fmla="*/ 17 w 24"/>
                <a:gd name="T17" fmla="*/ 13 h 40"/>
                <a:gd name="T18" fmla="*/ 20 w 24"/>
                <a:gd name="T19" fmla="*/ 14 h 40"/>
                <a:gd name="T20" fmla="*/ 21 w 24"/>
                <a:gd name="T21" fmla="*/ 15 h 40"/>
                <a:gd name="T22" fmla="*/ 23 w 24"/>
                <a:gd name="T23" fmla="*/ 17 h 40"/>
                <a:gd name="T24" fmla="*/ 24 w 24"/>
                <a:gd name="T25" fmla="*/ 20 h 40"/>
                <a:gd name="T26" fmla="*/ 24 w 24"/>
                <a:gd name="T27" fmla="*/ 23 h 40"/>
                <a:gd name="T28" fmla="*/ 24 w 24"/>
                <a:gd name="T29" fmla="*/ 40 h 40"/>
                <a:gd name="T30" fmla="*/ 18 w 24"/>
                <a:gd name="T31" fmla="*/ 40 h 40"/>
                <a:gd name="T32" fmla="*/ 18 w 24"/>
                <a:gd name="T33" fmla="*/ 24 h 40"/>
                <a:gd name="T34" fmla="*/ 18 w 24"/>
                <a:gd name="T35" fmla="*/ 22 h 40"/>
                <a:gd name="T36" fmla="*/ 17 w 24"/>
                <a:gd name="T37" fmla="*/ 20 h 40"/>
                <a:gd name="T38" fmla="*/ 16 w 24"/>
                <a:gd name="T39" fmla="*/ 19 h 40"/>
                <a:gd name="T40" fmla="*/ 13 w 24"/>
                <a:gd name="T41" fmla="*/ 18 h 40"/>
                <a:gd name="T42" fmla="*/ 10 w 24"/>
                <a:gd name="T43" fmla="*/ 19 h 40"/>
                <a:gd name="T44" fmla="*/ 7 w 24"/>
                <a:gd name="T45" fmla="*/ 22 h 40"/>
                <a:gd name="T46" fmla="*/ 7 w 24"/>
                <a:gd name="T47" fmla="*/ 40 h 40"/>
                <a:gd name="T48" fmla="*/ 0 w 24"/>
                <a:gd name="T49" fmla="*/ 40 h 40"/>
                <a:gd name="T50" fmla="*/ 0 w 24"/>
                <a:gd name="T51" fmla="*/ 0 h 40"/>
                <a:gd name="T52" fmla="*/ 7 w 24"/>
                <a:gd name="T53" fmla="*/ 0 h 40"/>
                <a:gd name="T54" fmla="*/ 7 w 24"/>
                <a:gd name="T55" fmla="*/ 11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4" h="40">
                  <a:moveTo>
                    <a:pt x="7" y="11"/>
                  </a:moveTo>
                  <a:cubicBezTo>
                    <a:pt x="7" y="12"/>
                    <a:pt x="7" y="13"/>
                    <a:pt x="7" y="14"/>
                  </a:cubicBezTo>
                  <a:cubicBezTo>
                    <a:pt x="7" y="15"/>
                    <a:pt x="7" y="16"/>
                    <a:pt x="6" y="17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7" y="16"/>
                    <a:pt x="7" y="16"/>
                    <a:pt x="8" y="15"/>
                  </a:cubicBezTo>
                  <a:cubicBezTo>
                    <a:pt x="8" y="15"/>
                    <a:pt x="9" y="14"/>
                    <a:pt x="10" y="14"/>
                  </a:cubicBezTo>
                  <a:cubicBezTo>
                    <a:pt x="10" y="14"/>
                    <a:pt x="11" y="13"/>
                    <a:pt x="12" y="13"/>
                  </a:cubicBezTo>
                  <a:cubicBezTo>
                    <a:pt x="13" y="13"/>
                    <a:pt x="14" y="13"/>
                    <a:pt x="15" y="13"/>
                  </a:cubicBezTo>
                  <a:cubicBezTo>
                    <a:pt x="16" y="13"/>
                    <a:pt x="16" y="13"/>
                    <a:pt x="17" y="13"/>
                  </a:cubicBezTo>
                  <a:cubicBezTo>
                    <a:pt x="18" y="13"/>
                    <a:pt x="19" y="13"/>
                    <a:pt x="20" y="14"/>
                  </a:cubicBezTo>
                  <a:cubicBezTo>
                    <a:pt x="20" y="14"/>
                    <a:pt x="21" y="15"/>
                    <a:pt x="21" y="15"/>
                  </a:cubicBezTo>
                  <a:cubicBezTo>
                    <a:pt x="22" y="16"/>
                    <a:pt x="23" y="16"/>
                    <a:pt x="23" y="17"/>
                  </a:cubicBezTo>
                  <a:cubicBezTo>
                    <a:pt x="23" y="18"/>
                    <a:pt x="24" y="19"/>
                    <a:pt x="24" y="20"/>
                  </a:cubicBezTo>
                  <a:cubicBezTo>
                    <a:pt x="24" y="21"/>
                    <a:pt x="24" y="22"/>
                    <a:pt x="24" y="23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18" y="40"/>
                    <a:pt x="18" y="40"/>
                    <a:pt x="18" y="40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8" y="23"/>
                    <a:pt x="18" y="22"/>
                    <a:pt x="18" y="22"/>
                  </a:cubicBezTo>
                  <a:cubicBezTo>
                    <a:pt x="17" y="21"/>
                    <a:pt x="17" y="21"/>
                    <a:pt x="17" y="20"/>
                  </a:cubicBezTo>
                  <a:cubicBezTo>
                    <a:pt x="17" y="20"/>
                    <a:pt x="16" y="19"/>
                    <a:pt x="16" y="19"/>
                  </a:cubicBezTo>
                  <a:cubicBezTo>
                    <a:pt x="15" y="18"/>
                    <a:pt x="14" y="18"/>
                    <a:pt x="13" y="18"/>
                  </a:cubicBezTo>
                  <a:cubicBezTo>
                    <a:pt x="12" y="18"/>
                    <a:pt x="11" y="18"/>
                    <a:pt x="10" y="19"/>
                  </a:cubicBezTo>
                  <a:cubicBezTo>
                    <a:pt x="8" y="20"/>
                    <a:pt x="8" y="20"/>
                    <a:pt x="7" y="22"/>
                  </a:cubicBezTo>
                  <a:cubicBezTo>
                    <a:pt x="7" y="40"/>
                    <a:pt x="7" y="40"/>
                    <a:pt x="7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lnTo>
                    <a:pt x="7" y="1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23" name="Freeform 31"/>
            <p:cNvSpPr>
              <a:spLocks noEditPoints="1"/>
            </p:cNvSpPr>
            <p:nvPr userDrawn="1"/>
          </p:nvSpPr>
          <p:spPr bwMode="gray">
            <a:xfrm>
              <a:off x="11396618" y="3670291"/>
              <a:ext cx="96838" cy="101599"/>
            </a:xfrm>
            <a:custGeom>
              <a:avLst/>
              <a:gdLst>
                <a:gd name="T0" fmla="*/ 26 w 26"/>
                <a:gd name="T1" fmla="*/ 13 h 27"/>
                <a:gd name="T2" fmla="*/ 25 w 26"/>
                <a:gd name="T3" fmla="*/ 19 h 27"/>
                <a:gd name="T4" fmla="*/ 23 w 26"/>
                <a:gd name="T5" fmla="*/ 23 h 27"/>
                <a:gd name="T6" fmla="*/ 19 w 26"/>
                <a:gd name="T7" fmla="*/ 26 h 27"/>
                <a:gd name="T8" fmla="*/ 13 w 26"/>
                <a:gd name="T9" fmla="*/ 27 h 27"/>
                <a:gd name="T10" fmla="*/ 8 w 26"/>
                <a:gd name="T11" fmla="*/ 26 h 27"/>
                <a:gd name="T12" fmla="*/ 4 w 26"/>
                <a:gd name="T13" fmla="*/ 23 h 27"/>
                <a:gd name="T14" fmla="*/ 1 w 26"/>
                <a:gd name="T15" fmla="*/ 19 h 27"/>
                <a:gd name="T16" fmla="*/ 1 w 26"/>
                <a:gd name="T17" fmla="*/ 8 h 27"/>
                <a:gd name="T18" fmla="*/ 4 w 26"/>
                <a:gd name="T19" fmla="*/ 3 h 27"/>
                <a:gd name="T20" fmla="*/ 8 w 26"/>
                <a:gd name="T21" fmla="*/ 1 h 27"/>
                <a:gd name="T22" fmla="*/ 13 w 26"/>
                <a:gd name="T23" fmla="*/ 0 h 27"/>
                <a:gd name="T24" fmla="*/ 19 w 26"/>
                <a:gd name="T25" fmla="*/ 1 h 27"/>
                <a:gd name="T26" fmla="*/ 23 w 26"/>
                <a:gd name="T27" fmla="*/ 3 h 27"/>
                <a:gd name="T28" fmla="*/ 25 w 26"/>
                <a:gd name="T29" fmla="*/ 8 h 27"/>
                <a:gd name="T30" fmla="*/ 26 w 26"/>
                <a:gd name="T31" fmla="*/ 13 h 27"/>
                <a:gd name="T32" fmla="*/ 19 w 26"/>
                <a:gd name="T33" fmla="*/ 13 h 27"/>
                <a:gd name="T34" fmla="*/ 19 w 26"/>
                <a:gd name="T35" fmla="*/ 10 h 27"/>
                <a:gd name="T36" fmla="*/ 18 w 26"/>
                <a:gd name="T37" fmla="*/ 7 h 27"/>
                <a:gd name="T38" fmla="*/ 16 w 26"/>
                <a:gd name="T39" fmla="*/ 5 h 27"/>
                <a:gd name="T40" fmla="*/ 13 w 26"/>
                <a:gd name="T41" fmla="*/ 5 h 27"/>
                <a:gd name="T42" fmla="*/ 10 w 26"/>
                <a:gd name="T43" fmla="*/ 5 h 27"/>
                <a:gd name="T44" fmla="*/ 8 w 26"/>
                <a:gd name="T45" fmla="*/ 7 h 27"/>
                <a:gd name="T46" fmla="*/ 7 w 26"/>
                <a:gd name="T47" fmla="*/ 10 h 27"/>
                <a:gd name="T48" fmla="*/ 7 w 26"/>
                <a:gd name="T49" fmla="*/ 17 h 27"/>
                <a:gd name="T50" fmla="*/ 8 w 26"/>
                <a:gd name="T51" fmla="*/ 20 h 27"/>
                <a:gd name="T52" fmla="*/ 10 w 26"/>
                <a:gd name="T53" fmla="*/ 21 h 27"/>
                <a:gd name="T54" fmla="*/ 16 w 26"/>
                <a:gd name="T55" fmla="*/ 21 h 27"/>
                <a:gd name="T56" fmla="*/ 18 w 26"/>
                <a:gd name="T57" fmla="*/ 20 h 27"/>
                <a:gd name="T58" fmla="*/ 19 w 26"/>
                <a:gd name="T59" fmla="*/ 17 h 27"/>
                <a:gd name="T60" fmla="*/ 19 w 26"/>
                <a:gd name="T61" fmla="*/ 1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6" h="27">
                  <a:moveTo>
                    <a:pt x="26" y="13"/>
                  </a:moveTo>
                  <a:cubicBezTo>
                    <a:pt x="26" y="15"/>
                    <a:pt x="26" y="17"/>
                    <a:pt x="25" y="19"/>
                  </a:cubicBezTo>
                  <a:cubicBezTo>
                    <a:pt x="25" y="21"/>
                    <a:pt x="24" y="22"/>
                    <a:pt x="23" y="23"/>
                  </a:cubicBezTo>
                  <a:cubicBezTo>
                    <a:pt x="21" y="25"/>
                    <a:pt x="20" y="26"/>
                    <a:pt x="19" y="26"/>
                  </a:cubicBezTo>
                  <a:cubicBezTo>
                    <a:pt x="17" y="27"/>
                    <a:pt x="15" y="27"/>
                    <a:pt x="13" y="27"/>
                  </a:cubicBezTo>
                  <a:cubicBezTo>
                    <a:pt x="11" y="27"/>
                    <a:pt x="9" y="27"/>
                    <a:pt x="8" y="26"/>
                  </a:cubicBezTo>
                  <a:cubicBezTo>
                    <a:pt x="6" y="26"/>
                    <a:pt x="5" y="25"/>
                    <a:pt x="4" y="23"/>
                  </a:cubicBezTo>
                  <a:cubicBezTo>
                    <a:pt x="2" y="22"/>
                    <a:pt x="2" y="21"/>
                    <a:pt x="1" y="19"/>
                  </a:cubicBezTo>
                  <a:cubicBezTo>
                    <a:pt x="0" y="15"/>
                    <a:pt x="0" y="11"/>
                    <a:pt x="1" y="8"/>
                  </a:cubicBezTo>
                  <a:cubicBezTo>
                    <a:pt x="2" y="6"/>
                    <a:pt x="2" y="5"/>
                    <a:pt x="4" y="3"/>
                  </a:cubicBezTo>
                  <a:cubicBezTo>
                    <a:pt x="5" y="2"/>
                    <a:pt x="6" y="1"/>
                    <a:pt x="8" y="1"/>
                  </a:cubicBezTo>
                  <a:cubicBezTo>
                    <a:pt x="10" y="0"/>
                    <a:pt x="11" y="0"/>
                    <a:pt x="13" y="0"/>
                  </a:cubicBezTo>
                  <a:cubicBezTo>
                    <a:pt x="15" y="0"/>
                    <a:pt x="17" y="0"/>
                    <a:pt x="19" y="1"/>
                  </a:cubicBezTo>
                  <a:cubicBezTo>
                    <a:pt x="20" y="1"/>
                    <a:pt x="22" y="2"/>
                    <a:pt x="23" y="3"/>
                  </a:cubicBezTo>
                  <a:cubicBezTo>
                    <a:pt x="24" y="5"/>
                    <a:pt x="25" y="6"/>
                    <a:pt x="25" y="8"/>
                  </a:cubicBezTo>
                  <a:cubicBezTo>
                    <a:pt x="26" y="10"/>
                    <a:pt x="26" y="12"/>
                    <a:pt x="26" y="13"/>
                  </a:cubicBezTo>
                  <a:close/>
                  <a:moveTo>
                    <a:pt x="19" y="13"/>
                  </a:moveTo>
                  <a:cubicBezTo>
                    <a:pt x="19" y="12"/>
                    <a:pt x="19" y="11"/>
                    <a:pt x="19" y="10"/>
                  </a:cubicBezTo>
                  <a:cubicBezTo>
                    <a:pt x="19" y="9"/>
                    <a:pt x="18" y="8"/>
                    <a:pt x="18" y="7"/>
                  </a:cubicBezTo>
                  <a:cubicBezTo>
                    <a:pt x="17" y="6"/>
                    <a:pt x="16" y="6"/>
                    <a:pt x="16" y="5"/>
                  </a:cubicBezTo>
                  <a:cubicBezTo>
                    <a:pt x="15" y="5"/>
                    <a:pt x="14" y="5"/>
                    <a:pt x="13" y="5"/>
                  </a:cubicBezTo>
                  <a:cubicBezTo>
                    <a:pt x="12" y="5"/>
                    <a:pt x="11" y="5"/>
                    <a:pt x="10" y="5"/>
                  </a:cubicBezTo>
                  <a:cubicBezTo>
                    <a:pt x="9" y="6"/>
                    <a:pt x="9" y="6"/>
                    <a:pt x="8" y="7"/>
                  </a:cubicBezTo>
                  <a:cubicBezTo>
                    <a:pt x="8" y="8"/>
                    <a:pt x="7" y="9"/>
                    <a:pt x="7" y="10"/>
                  </a:cubicBezTo>
                  <a:cubicBezTo>
                    <a:pt x="6" y="12"/>
                    <a:pt x="6" y="15"/>
                    <a:pt x="7" y="17"/>
                  </a:cubicBezTo>
                  <a:cubicBezTo>
                    <a:pt x="7" y="18"/>
                    <a:pt x="8" y="19"/>
                    <a:pt x="8" y="20"/>
                  </a:cubicBezTo>
                  <a:cubicBezTo>
                    <a:pt x="9" y="21"/>
                    <a:pt x="9" y="21"/>
                    <a:pt x="10" y="21"/>
                  </a:cubicBezTo>
                  <a:cubicBezTo>
                    <a:pt x="12" y="22"/>
                    <a:pt x="14" y="22"/>
                    <a:pt x="16" y="21"/>
                  </a:cubicBezTo>
                  <a:cubicBezTo>
                    <a:pt x="16" y="21"/>
                    <a:pt x="17" y="21"/>
                    <a:pt x="18" y="20"/>
                  </a:cubicBezTo>
                  <a:cubicBezTo>
                    <a:pt x="18" y="19"/>
                    <a:pt x="19" y="18"/>
                    <a:pt x="19" y="17"/>
                  </a:cubicBezTo>
                  <a:cubicBezTo>
                    <a:pt x="19" y="16"/>
                    <a:pt x="19" y="15"/>
                    <a:pt x="19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24" name="Freeform 32"/>
            <p:cNvSpPr>
              <a:spLocks noEditPoints="1"/>
            </p:cNvSpPr>
            <p:nvPr userDrawn="1"/>
          </p:nvSpPr>
          <p:spPr bwMode="gray">
            <a:xfrm>
              <a:off x="11515669" y="3621081"/>
              <a:ext cx="26988" cy="150812"/>
            </a:xfrm>
            <a:custGeom>
              <a:avLst/>
              <a:gdLst>
                <a:gd name="T0" fmla="*/ 0 w 17"/>
                <a:gd name="T1" fmla="*/ 0 h 95"/>
                <a:gd name="T2" fmla="*/ 17 w 17"/>
                <a:gd name="T3" fmla="*/ 0 h 95"/>
                <a:gd name="T4" fmla="*/ 17 w 17"/>
                <a:gd name="T5" fmla="*/ 17 h 95"/>
                <a:gd name="T6" fmla="*/ 0 w 17"/>
                <a:gd name="T7" fmla="*/ 17 h 95"/>
                <a:gd name="T8" fmla="*/ 0 w 17"/>
                <a:gd name="T9" fmla="*/ 0 h 95"/>
                <a:gd name="T10" fmla="*/ 0 w 17"/>
                <a:gd name="T11" fmla="*/ 31 h 95"/>
                <a:gd name="T12" fmla="*/ 14 w 17"/>
                <a:gd name="T13" fmla="*/ 31 h 95"/>
                <a:gd name="T14" fmla="*/ 14 w 17"/>
                <a:gd name="T15" fmla="*/ 95 h 95"/>
                <a:gd name="T16" fmla="*/ 0 w 17"/>
                <a:gd name="T17" fmla="*/ 95 h 95"/>
                <a:gd name="T18" fmla="*/ 0 w 17"/>
                <a:gd name="T19" fmla="*/ 31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95">
                  <a:moveTo>
                    <a:pt x="0" y="0"/>
                  </a:move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  <a:lnTo>
                    <a:pt x="0" y="0"/>
                  </a:lnTo>
                  <a:close/>
                  <a:moveTo>
                    <a:pt x="0" y="31"/>
                  </a:moveTo>
                  <a:lnTo>
                    <a:pt x="14" y="31"/>
                  </a:lnTo>
                  <a:lnTo>
                    <a:pt x="14" y="95"/>
                  </a:lnTo>
                  <a:lnTo>
                    <a:pt x="0" y="95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25" name="Freeform 33"/>
            <p:cNvSpPr>
              <a:spLocks/>
            </p:cNvSpPr>
            <p:nvPr userDrawn="1"/>
          </p:nvSpPr>
          <p:spPr bwMode="gray">
            <a:xfrm>
              <a:off x="11560123" y="3670310"/>
              <a:ext cx="79375" cy="101600"/>
            </a:xfrm>
            <a:custGeom>
              <a:avLst/>
              <a:gdLst>
                <a:gd name="T0" fmla="*/ 21 w 21"/>
                <a:gd name="T1" fmla="*/ 26 h 27"/>
                <a:gd name="T2" fmla="*/ 18 w 21"/>
                <a:gd name="T3" fmla="*/ 27 h 27"/>
                <a:gd name="T4" fmla="*/ 14 w 21"/>
                <a:gd name="T5" fmla="*/ 27 h 27"/>
                <a:gd name="T6" fmla="*/ 9 w 21"/>
                <a:gd name="T7" fmla="*/ 26 h 27"/>
                <a:gd name="T8" fmla="*/ 4 w 21"/>
                <a:gd name="T9" fmla="*/ 24 h 27"/>
                <a:gd name="T10" fmla="*/ 1 w 21"/>
                <a:gd name="T11" fmla="*/ 20 h 27"/>
                <a:gd name="T12" fmla="*/ 0 w 21"/>
                <a:gd name="T13" fmla="*/ 14 h 27"/>
                <a:gd name="T14" fmla="*/ 2 w 21"/>
                <a:gd name="T15" fmla="*/ 8 h 27"/>
                <a:gd name="T16" fmla="*/ 9 w 21"/>
                <a:gd name="T17" fmla="*/ 1 h 27"/>
                <a:gd name="T18" fmla="*/ 14 w 21"/>
                <a:gd name="T19" fmla="*/ 0 h 27"/>
                <a:gd name="T20" fmla="*/ 17 w 21"/>
                <a:gd name="T21" fmla="*/ 0 h 27"/>
                <a:gd name="T22" fmla="*/ 20 w 21"/>
                <a:gd name="T23" fmla="*/ 1 h 27"/>
                <a:gd name="T24" fmla="*/ 20 w 21"/>
                <a:gd name="T25" fmla="*/ 6 h 27"/>
                <a:gd name="T26" fmla="*/ 18 w 21"/>
                <a:gd name="T27" fmla="*/ 5 h 27"/>
                <a:gd name="T28" fmla="*/ 15 w 21"/>
                <a:gd name="T29" fmla="*/ 5 h 27"/>
                <a:gd name="T30" fmla="*/ 12 w 21"/>
                <a:gd name="T31" fmla="*/ 6 h 27"/>
                <a:gd name="T32" fmla="*/ 9 w 21"/>
                <a:gd name="T33" fmla="*/ 7 h 27"/>
                <a:gd name="T34" fmla="*/ 8 w 21"/>
                <a:gd name="T35" fmla="*/ 10 h 27"/>
                <a:gd name="T36" fmla="*/ 7 w 21"/>
                <a:gd name="T37" fmla="*/ 14 h 27"/>
                <a:gd name="T38" fmla="*/ 7 w 21"/>
                <a:gd name="T39" fmla="*/ 17 h 27"/>
                <a:gd name="T40" fmla="*/ 9 w 21"/>
                <a:gd name="T41" fmla="*/ 20 h 27"/>
                <a:gd name="T42" fmla="*/ 11 w 21"/>
                <a:gd name="T43" fmla="*/ 21 h 27"/>
                <a:gd name="T44" fmla="*/ 15 w 21"/>
                <a:gd name="T45" fmla="*/ 22 h 27"/>
                <a:gd name="T46" fmla="*/ 18 w 21"/>
                <a:gd name="T47" fmla="*/ 22 h 27"/>
                <a:gd name="T48" fmla="*/ 21 w 21"/>
                <a:gd name="T49" fmla="*/ 21 h 27"/>
                <a:gd name="T50" fmla="*/ 21 w 21"/>
                <a:gd name="T51" fmla="*/ 26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1" h="27">
                  <a:moveTo>
                    <a:pt x="21" y="26"/>
                  </a:moveTo>
                  <a:cubicBezTo>
                    <a:pt x="20" y="26"/>
                    <a:pt x="19" y="27"/>
                    <a:pt x="18" y="27"/>
                  </a:cubicBezTo>
                  <a:cubicBezTo>
                    <a:pt x="16" y="27"/>
                    <a:pt x="15" y="27"/>
                    <a:pt x="14" y="27"/>
                  </a:cubicBezTo>
                  <a:cubicBezTo>
                    <a:pt x="12" y="27"/>
                    <a:pt x="10" y="27"/>
                    <a:pt x="9" y="26"/>
                  </a:cubicBezTo>
                  <a:cubicBezTo>
                    <a:pt x="7" y="26"/>
                    <a:pt x="5" y="25"/>
                    <a:pt x="4" y="24"/>
                  </a:cubicBezTo>
                  <a:cubicBezTo>
                    <a:pt x="3" y="23"/>
                    <a:pt x="2" y="22"/>
                    <a:pt x="1" y="20"/>
                  </a:cubicBezTo>
                  <a:cubicBezTo>
                    <a:pt x="1" y="18"/>
                    <a:pt x="0" y="16"/>
                    <a:pt x="0" y="14"/>
                  </a:cubicBezTo>
                  <a:cubicBezTo>
                    <a:pt x="0" y="12"/>
                    <a:pt x="1" y="10"/>
                    <a:pt x="2" y="8"/>
                  </a:cubicBezTo>
                  <a:cubicBezTo>
                    <a:pt x="3" y="4"/>
                    <a:pt x="6" y="2"/>
                    <a:pt x="9" y="1"/>
                  </a:cubicBezTo>
                  <a:cubicBezTo>
                    <a:pt x="11" y="0"/>
                    <a:pt x="12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1"/>
                    <a:pt x="20" y="1"/>
                  </a:cubicBezTo>
                  <a:cubicBezTo>
                    <a:pt x="20" y="6"/>
                    <a:pt x="20" y="6"/>
                    <a:pt x="20" y="6"/>
                  </a:cubicBezTo>
                  <a:cubicBezTo>
                    <a:pt x="19" y="6"/>
                    <a:pt x="19" y="6"/>
                    <a:pt x="18" y="5"/>
                  </a:cubicBezTo>
                  <a:cubicBezTo>
                    <a:pt x="17" y="5"/>
                    <a:pt x="16" y="5"/>
                    <a:pt x="15" y="5"/>
                  </a:cubicBezTo>
                  <a:cubicBezTo>
                    <a:pt x="14" y="5"/>
                    <a:pt x="13" y="5"/>
                    <a:pt x="12" y="6"/>
                  </a:cubicBezTo>
                  <a:cubicBezTo>
                    <a:pt x="11" y="6"/>
                    <a:pt x="10" y="6"/>
                    <a:pt x="9" y="7"/>
                  </a:cubicBezTo>
                  <a:cubicBezTo>
                    <a:pt x="9" y="8"/>
                    <a:pt x="8" y="9"/>
                    <a:pt x="8" y="10"/>
                  </a:cubicBezTo>
                  <a:cubicBezTo>
                    <a:pt x="7" y="11"/>
                    <a:pt x="7" y="12"/>
                    <a:pt x="7" y="14"/>
                  </a:cubicBezTo>
                  <a:cubicBezTo>
                    <a:pt x="7" y="15"/>
                    <a:pt x="7" y="16"/>
                    <a:pt x="7" y="17"/>
                  </a:cubicBezTo>
                  <a:cubicBezTo>
                    <a:pt x="8" y="18"/>
                    <a:pt x="8" y="19"/>
                    <a:pt x="9" y="20"/>
                  </a:cubicBezTo>
                  <a:cubicBezTo>
                    <a:pt x="10" y="20"/>
                    <a:pt x="10" y="21"/>
                    <a:pt x="11" y="21"/>
                  </a:cubicBezTo>
                  <a:cubicBezTo>
                    <a:pt x="12" y="22"/>
                    <a:pt x="14" y="22"/>
                    <a:pt x="15" y="22"/>
                  </a:cubicBezTo>
                  <a:cubicBezTo>
                    <a:pt x="16" y="22"/>
                    <a:pt x="17" y="22"/>
                    <a:pt x="18" y="22"/>
                  </a:cubicBezTo>
                  <a:cubicBezTo>
                    <a:pt x="19" y="22"/>
                    <a:pt x="20" y="21"/>
                    <a:pt x="21" y="21"/>
                  </a:cubicBezTo>
                  <a:lnTo>
                    <a:pt x="21" y="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26" name="Freeform 34"/>
            <p:cNvSpPr>
              <a:spLocks noEditPoints="1"/>
            </p:cNvSpPr>
            <p:nvPr userDrawn="1"/>
          </p:nvSpPr>
          <p:spPr bwMode="gray">
            <a:xfrm>
              <a:off x="11655425" y="3670300"/>
              <a:ext cx="88900" cy="101600"/>
            </a:xfrm>
            <a:custGeom>
              <a:avLst/>
              <a:gdLst>
                <a:gd name="T0" fmla="*/ 15 w 24"/>
                <a:gd name="T1" fmla="*/ 22 h 27"/>
                <a:gd name="T2" fmla="*/ 19 w 24"/>
                <a:gd name="T3" fmla="*/ 22 h 27"/>
                <a:gd name="T4" fmla="*/ 23 w 24"/>
                <a:gd name="T5" fmla="*/ 21 h 27"/>
                <a:gd name="T6" fmla="*/ 23 w 24"/>
                <a:gd name="T7" fmla="*/ 26 h 27"/>
                <a:gd name="T8" fmla="*/ 19 w 24"/>
                <a:gd name="T9" fmla="*/ 27 h 27"/>
                <a:gd name="T10" fmla="*/ 13 w 24"/>
                <a:gd name="T11" fmla="*/ 27 h 27"/>
                <a:gd name="T12" fmla="*/ 8 w 24"/>
                <a:gd name="T13" fmla="*/ 27 h 27"/>
                <a:gd name="T14" fmla="*/ 4 w 24"/>
                <a:gd name="T15" fmla="*/ 24 h 27"/>
                <a:gd name="T16" fmla="*/ 1 w 24"/>
                <a:gd name="T17" fmla="*/ 20 h 27"/>
                <a:gd name="T18" fmla="*/ 0 w 24"/>
                <a:gd name="T19" fmla="*/ 14 h 27"/>
                <a:gd name="T20" fmla="*/ 1 w 24"/>
                <a:gd name="T21" fmla="*/ 8 h 27"/>
                <a:gd name="T22" fmla="*/ 4 w 24"/>
                <a:gd name="T23" fmla="*/ 3 h 27"/>
                <a:gd name="T24" fmla="*/ 8 w 24"/>
                <a:gd name="T25" fmla="*/ 1 h 27"/>
                <a:gd name="T26" fmla="*/ 12 w 24"/>
                <a:gd name="T27" fmla="*/ 0 h 27"/>
                <a:gd name="T28" fmla="*/ 17 w 24"/>
                <a:gd name="T29" fmla="*/ 0 h 27"/>
                <a:gd name="T30" fmla="*/ 21 w 24"/>
                <a:gd name="T31" fmla="*/ 3 h 27"/>
                <a:gd name="T32" fmla="*/ 23 w 24"/>
                <a:gd name="T33" fmla="*/ 7 h 27"/>
                <a:gd name="T34" fmla="*/ 24 w 24"/>
                <a:gd name="T35" fmla="*/ 13 h 27"/>
                <a:gd name="T36" fmla="*/ 24 w 24"/>
                <a:gd name="T37" fmla="*/ 15 h 27"/>
                <a:gd name="T38" fmla="*/ 7 w 24"/>
                <a:gd name="T39" fmla="*/ 15 h 27"/>
                <a:gd name="T40" fmla="*/ 7 w 24"/>
                <a:gd name="T41" fmla="*/ 18 h 27"/>
                <a:gd name="T42" fmla="*/ 9 w 24"/>
                <a:gd name="T43" fmla="*/ 20 h 27"/>
                <a:gd name="T44" fmla="*/ 12 w 24"/>
                <a:gd name="T45" fmla="*/ 22 h 27"/>
                <a:gd name="T46" fmla="*/ 15 w 24"/>
                <a:gd name="T47" fmla="*/ 22 h 27"/>
                <a:gd name="T48" fmla="*/ 12 w 24"/>
                <a:gd name="T49" fmla="*/ 5 h 27"/>
                <a:gd name="T50" fmla="*/ 10 w 24"/>
                <a:gd name="T51" fmla="*/ 5 h 27"/>
                <a:gd name="T52" fmla="*/ 8 w 24"/>
                <a:gd name="T53" fmla="*/ 6 h 27"/>
                <a:gd name="T54" fmla="*/ 7 w 24"/>
                <a:gd name="T55" fmla="*/ 8 h 27"/>
                <a:gd name="T56" fmla="*/ 7 w 24"/>
                <a:gd name="T57" fmla="*/ 10 h 27"/>
                <a:gd name="T58" fmla="*/ 17 w 24"/>
                <a:gd name="T59" fmla="*/ 10 h 27"/>
                <a:gd name="T60" fmla="*/ 17 w 24"/>
                <a:gd name="T61" fmla="*/ 8 h 27"/>
                <a:gd name="T62" fmla="*/ 16 w 24"/>
                <a:gd name="T63" fmla="*/ 6 h 27"/>
                <a:gd name="T64" fmla="*/ 14 w 24"/>
                <a:gd name="T65" fmla="*/ 5 h 27"/>
                <a:gd name="T66" fmla="*/ 12 w 24"/>
                <a:gd name="T67" fmla="*/ 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" h="27">
                  <a:moveTo>
                    <a:pt x="15" y="22"/>
                  </a:moveTo>
                  <a:cubicBezTo>
                    <a:pt x="16" y="22"/>
                    <a:pt x="17" y="22"/>
                    <a:pt x="19" y="22"/>
                  </a:cubicBezTo>
                  <a:cubicBezTo>
                    <a:pt x="20" y="21"/>
                    <a:pt x="21" y="21"/>
                    <a:pt x="23" y="21"/>
                  </a:cubicBezTo>
                  <a:cubicBezTo>
                    <a:pt x="23" y="26"/>
                    <a:pt x="23" y="26"/>
                    <a:pt x="23" y="26"/>
                  </a:cubicBezTo>
                  <a:cubicBezTo>
                    <a:pt x="21" y="26"/>
                    <a:pt x="20" y="27"/>
                    <a:pt x="19" y="27"/>
                  </a:cubicBezTo>
                  <a:cubicBezTo>
                    <a:pt x="17" y="27"/>
                    <a:pt x="15" y="27"/>
                    <a:pt x="13" y="27"/>
                  </a:cubicBezTo>
                  <a:cubicBezTo>
                    <a:pt x="12" y="27"/>
                    <a:pt x="10" y="27"/>
                    <a:pt x="8" y="27"/>
                  </a:cubicBezTo>
                  <a:cubicBezTo>
                    <a:pt x="7" y="26"/>
                    <a:pt x="5" y="25"/>
                    <a:pt x="4" y="24"/>
                  </a:cubicBezTo>
                  <a:cubicBezTo>
                    <a:pt x="3" y="23"/>
                    <a:pt x="2" y="22"/>
                    <a:pt x="1" y="20"/>
                  </a:cubicBezTo>
                  <a:cubicBezTo>
                    <a:pt x="0" y="18"/>
                    <a:pt x="0" y="16"/>
                    <a:pt x="0" y="14"/>
                  </a:cubicBezTo>
                  <a:cubicBezTo>
                    <a:pt x="0" y="12"/>
                    <a:pt x="0" y="10"/>
                    <a:pt x="1" y="8"/>
                  </a:cubicBezTo>
                  <a:cubicBezTo>
                    <a:pt x="2" y="6"/>
                    <a:pt x="3" y="4"/>
                    <a:pt x="4" y="3"/>
                  </a:cubicBezTo>
                  <a:cubicBezTo>
                    <a:pt x="5" y="2"/>
                    <a:pt x="6" y="1"/>
                    <a:pt x="8" y="1"/>
                  </a:cubicBezTo>
                  <a:cubicBezTo>
                    <a:pt x="9" y="0"/>
                    <a:pt x="11" y="0"/>
                    <a:pt x="12" y="0"/>
                  </a:cubicBezTo>
                  <a:cubicBezTo>
                    <a:pt x="14" y="0"/>
                    <a:pt x="15" y="0"/>
                    <a:pt x="17" y="0"/>
                  </a:cubicBezTo>
                  <a:cubicBezTo>
                    <a:pt x="18" y="1"/>
                    <a:pt x="20" y="2"/>
                    <a:pt x="21" y="3"/>
                  </a:cubicBezTo>
                  <a:cubicBezTo>
                    <a:pt x="22" y="4"/>
                    <a:pt x="22" y="5"/>
                    <a:pt x="23" y="7"/>
                  </a:cubicBezTo>
                  <a:cubicBezTo>
                    <a:pt x="24" y="9"/>
                    <a:pt x="24" y="11"/>
                    <a:pt x="24" y="13"/>
                  </a:cubicBezTo>
                  <a:cubicBezTo>
                    <a:pt x="24" y="14"/>
                    <a:pt x="24" y="15"/>
                    <a:pt x="24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6"/>
                    <a:pt x="7" y="17"/>
                    <a:pt x="7" y="18"/>
                  </a:cubicBezTo>
                  <a:cubicBezTo>
                    <a:pt x="8" y="19"/>
                    <a:pt x="8" y="20"/>
                    <a:pt x="9" y="20"/>
                  </a:cubicBezTo>
                  <a:cubicBezTo>
                    <a:pt x="10" y="21"/>
                    <a:pt x="11" y="21"/>
                    <a:pt x="12" y="22"/>
                  </a:cubicBezTo>
                  <a:cubicBezTo>
                    <a:pt x="13" y="22"/>
                    <a:pt x="14" y="22"/>
                    <a:pt x="15" y="22"/>
                  </a:cubicBezTo>
                  <a:close/>
                  <a:moveTo>
                    <a:pt x="12" y="5"/>
                  </a:moveTo>
                  <a:cubicBezTo>
                    <a:pt x="11" y="5"/>
                    <a:pt x="11" y="5"/>
                    <a:pt x="10" y="5"/>
                  </a:cubicBezTo>
                  <a:cubicBezTo>
                    <a:pt x="9" y="5"/>
                    <a:pt x="9" y="6"/>
                    <a:pt x="8" y="6"/>
                  </a:cubicBezTo>
                  <a:cubicBezTo>
                    <a:pt x="8" y="7"/>
                    <a:pt x="7" y="7"/>
                    <a:pt x="7" y="8"/>
                  </a:cubicBezTo>
                  <a:cubicBezTo>
                    <a:pt x="7" y="9"/>
                    <a:pt x="7" y="10"/>
                    <a:pt x="7" y="1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7" y="10"/>
                    <a:pt x="17" y="9"/>
                    <a:pt x="17" y="8"/>
                  </a:cubicBezTo>
                  <a:cubicBezTo>
                    <a:pt x="17" y="7"/>
                    <a:pt x="16" y="7"/>
                    <a:pt x="16" y="6"/>
                  </a:cubicBezTo>
                  <a:cubicBezTo>
                    <a:pt x="15" y="6"/>
                    <a:pt x="15" y="5"/>
                    <a:pt x="14" y="5"/>
                  </a:cubicBezTo>
                  <a:cubicBezTo>
                    <a:pt x="14" y="5"/>
                    <a:pt x="13" y="5"/>
                    <a:pt x="12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</p:grpSp>
      <p:sp>
        <p:nvSpPr>
          <p:cNvPr id="57" name="Text Placeholder 9"/>
          <p:cNvSpPr>
            <a:spLocks noGrp="1"/>
          </p:cNvSpPr>
          <p:nvPr>
            <p:ph type="body" sz="quarter" idx="13"/>
          </p:nvPr>
        </p:nvSpPr>
        <p:spPr bwMode="gray">
          <a:xfrm>
            <a:off x="632704" y="2001655"/>
            <a:ext cx="7859903" cy="216000"/>
          </a:xfrm>
        </p:spPr>
        <p:txBody>
          <a:bodyPr/>
          <a:lstStyle>
            <a:lvl1pPr marL="3175" indent="0">
              <a:spcBef>
                <a:spcPts val="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1pPr>
            <a:lvl2pPr marL="3175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2pPr>
            <a:lvl3pPr marL="3175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3pPr>
            <a:lvl4pPr marL="3175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4pPr>
            <a:lvl5pPr marL="3175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5pPr>
            <a:lvl6pPr marL="3175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6pPr>
            <a:lvl7pPr marL="3175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7pPr>
            <a:lvl8pPr marL="3175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8pPr>
            <a:lvl9pPr marL="3175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grpSp>
        <p:nvGrpSpPr>
          <p:cNvPr id="77" name="Group 1"/>
          <p:cNvGrpSpPr/>
          <p:nvPr/>
        </p:nvGrpSpPr>
        <p:grpSpPr>
          <a:xfrm>
            <a:off x="520784" y="-215558"/>
            <a:ext cx="11147256" cy="194423"/>
            <a:chOff x="520716" y="-215558"/>
            <a:chExt cx="11145805" cy="194423"/>
          </a:xfrm>
        </p:grpSpPr>
        <p:grpSp>
          <p:nvGrpSpPr>
            <p:cNvPr id="79" name="Group 78"/>
            <p:cNvGrpSpPr/>
            <p:nvPr/>
          </p:nvGrpSpPr>
          <p:grpSpPr bwMode="gray">
            <a:xfrm>
              <a:off x="520716" y="-215558"/>
              <a:ext cx="257143" cy="194423"/>
              <a:chOff x="-187945" y="5594515"/>
              <a:chExt cx="192882" cy="194423"/>
            </a:xfrm>
          </p:grpSpPr>
          <p:cxnSp>
            <p:nvCxnSpPr>
              <p:cNvPr id="89" name="Straight Connector 88"/>
              <p:cNvCxnSpPr/>
              <p:nvPr userDrawn="1"/>
            </p:nvCxnSpPr>
            <p:spPr bwMode="gray">
              <a:xfrm rot="5400000">
                <a:off x="-152400" y="5728042"/>
                <a:ext cx="121793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0" name="Rectangle 89"/>
              <p:cNvSpPr/>
              <p:nvPr userDrawn="1"/>
            </p:nvSpPr>
            <p:spPr bwMode="gray">
              <a:xfrm>
                <a:off x="-187945" y="5594515"/>
                <a:ext cx="192882" cy="59531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b"/>
              <a:lstStyle/>
              <a:p>
                <a:pPr algn="ctr"/>
                <a:r>
                  <a:rPr lang="en-US" sz="600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5.95</a:t>
                </a:r>
              </a:p>
              <a:p>
                <a:pPr algn="ctr"/>
                <a:r>
                  <a:rPr lang="en-US" sz="600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15,12</a:t>
                </a:r>
              </a:p>
            </p:txBody>
          </p:sp>
        </p:grpSp>
        <p:grpSp>
          <p:nvGrpSpPr>
            <p:cNvPr id="80" name="Group 79"/>
            <p:cNvGrpSpPr/>
            <p:nvPr/>
          </p:nvGrpSpPr>
          <p:grpSpPr bwMode="gray">
            <a:xfrm>
              <a:off x="5867416" y="-215558"/>
              <a:ext cx="257143" cy="194423"/>
              <a:chOff x="-187945" y="5594515"/>
              <a:chExt cx="192882" cy="194423"/>
            </a:xfrm>
          </p:grpSpPr>
          <p:cxnSp>
            <p:nvCxnSpPr>
              <p:cNvPr id="87" name="Straight Connector 86"/>
              <p:cNvCxnSpPr/>
              <p:nvPr userDrawn="1"/>
            </p:nvCxnSpPr>
            <p:spPr bwMode="gray">
              <a:xfrm rot="5400000">
                <a:off x="-152400" y="5728042"/>
                <a:ext cx="121793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8" name="Rectangle 87"/>
              <p:cNvSpPr/>
              <p:nvPr userDrawn="1"/>
            </p:nvSpPr>
            <p:spPr bwMode="gray">
              <a:xfrm>
                <a:off x="-187945" y="5594515"/>
                <a:ext cx="192882" cy="59531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b"/>
              <a:lstStyle/>
              <a:p>
                <a:pPr algn="ctr"/>
                <a:r>
                  <a:rPr lang="en-US" sz="600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0.11</a:t>
                </a:r>
              </a:p>
              <a:p>
                <a:pPr algn="ctr"/>
                <a:r>
                  <a:rPr lang="en-US" sz="600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0,27</a:t>
                </a:r>
              </a:p>
            </p:txBody>
          </p:sp>
        </p:grpSp>
        <p:grpSp>
          <p:nvGrpSpPr>
            <p:cNvPr id="81" name="Group 80"/>
            <p:cNvGrpSpPr/>
            <p:nvPr/>
          </p:nvGrpSpPr>
          <p:grpSpPr bwMode="gray">
            <a:xfrm>
              <a:off x="6062678" y="-215558"/>
              <a:ext cx="257143" cy="194423"/>
              <a:chOff x="-187945" y="5594515"/>
              <a:chExt cx="192882" cy="194423"/>
            </a:xfrm>
          </p:grpSpPr>
          <p:cxnSp>
            <p:nvCxnSpPr>
              <p:cNvPr id="85" name="Straight Connector 84"/>
              <p:cNvCxnSpPr/>
              <p:nvPr userDrawn="1"/>
            </p:nvCxnSpPr>
            <p:spPr bwMode="gray">
              <a:xfrm rot="5400000">
                <a:off x="-152400" y="5728042"/>
                <a:ext cx="121793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6" name="Rectangle 85"/>
              <p:cNvSpPr/>
              <p:nvPr userDrawn="1"/>
            </p:nvSpPr>
            <p:spPr bwMode="gray">
              <a:xfrm>
                <a:off x="-187945" y="5594515"/>
                <a:ext cx="192882" cy="59531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b"/>
              <a:lstStyle/>
              <a:p>
                <a:pPr algn="ctr"/>
                <a:r>
                  <a:rPr lang="en-US" sz="600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0.11</a:t>
                </a:r>
              </a:p>
              <a:p>
                <a:pPr algn="ctr"/>
                <a:r>
                  <a:rPr lang="en-US" sz="600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0,27</a:t>
                </a:r>
              </a:p>
            </p:txBody>
          </p:sp>
        </p:grpSp>
        <p:grpSp>
          <p:nvGrpSpPr>
            <p:cNvPr id="82" name="Group 81"/>
            <p:cNvGrpSpPr/>
            <p:nvPr/>
          </p:nvGrpSpPr>
          <p:grpSpPr bwMode="gray">
            <a:xfrm>
              <a:off x="11409378" y="-215558"/>
              <a:ext cx="257143" cy="194423"/>
              <a:chOff x="-187945" y="5594515"/>
              <a:chExt cx="192882" cy="194423"/>
            </a:xfrm>
          </p:grpSpPr>
          <p:cxnSp>
            <p:nvCxnSpPr>
              <p:cNvPr id="83" name="Straight Connector 82"/>
              <p:cNvCxnSpPr/>
              <p:nvPr userDrawn="1"/>
            </p:nvCxnSpPr>
            <p:spPr bwMode="gray">
              <a:xfrm rot="5400000">
                <a:off x="-152400" y="5728042"/>
                <a:ext cx="121793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4" name="Rectangle 83"/>
              <p:cNvSpPr/>
              <p:nvPr userDrawn="1"/>
            </p:nvSpPr>
            <p:spPr bwMode="gray">
              <a:xfrm>
                <a:off x="-187945" y="5594515"/>
                <a:ext cx="192882" cy="59531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b"/>
              <a:lstStyle/>
              <a:p>
                <a:pPr algn="ctr"/>
                <a:r>
                  <a:rPr lang="en-US" sz="600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5.95</a:t>
                </a:r>
              </a:p>
              <a:p>
                <a:pPr algn="ctr"/>
                <a:r>
                  <a:rPr lang="en-US" sz="600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15,12</a:t>
                </a:r>
              </a:p>
            </p:txBody>
          </p:sp>
        </p:grpSp>
      </p:grpSp>
      <p:grpSp>
        <p:nvGrpSpPr>
          <p:cNvPr id="91" name="Group 6"/>
          <p:cNvGrpSpPr/>
          <p:nvPr/>
        </p:nvGrpSpPr>
        <p:grpSpPr>
          <a:xfrm>
            <a:off x="-312123" y="1740297"/>
            <a:ext cx="271315" cy="4748555"/>
            <a:chOff x="-312083" y="1740297"/>
            <a:chExt cx="271280" cy="4748555"/>
          </a:xfrm>
        </p:grpSpPr>
        <p:grpSp>
          <p:nvGrpSpPr>
            <p:cNvPr id="92" name="Group 91"/>
            <p:cNvGrpSpPr/>
            <p:nvPr/>
          </p:nvGrpSpPr>
          <p:grpSpPr bwMode="gray">
            <a:xfrm>
              <a:off x="-312083" y="6295970"/>
              <a:ext cx="271280" cy="192882"/>
              <a:chOff x="-312083" y="6295970"/>
              <a:chExt cx="271280" cy="192882"/>
            </a:xfrm>
          </p:grpSpPr>
          <p:cxnSp>
            <p:nvCxnSpPr>
              <p:cNvPr id="96" name="Straight Connector 95"/>
              <p:cNvCxnSpPr/>
              <p:nvPr userDrawn="1"/>
            </p:nvCxnSpPr>
            <p:spPr bwMode="gray">
              <a:xfrm>
                <a:off x="-203173" y="6392411"/>
                <a:ext cx="162370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7" name="Rectangle 126"/>
              <p:cNvSpPr/>
              <p:nvPr userDrawn="1"/>
            </p:nvSpPr>
            <p:spPr bwMode="gray">
              <a:xfrm rot="16200000">
                <a:off x="-368842" y="6352729"/>
                <a:ext cx="192882" cy="79364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b"/>
              <a:lstStyle/>
              <a:p>
                <a:pPr algn="ctr" rtl="0"/>
                <a:r>
                  <a:rPr lang="en-US" sz="600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3.24</a:t>
                </a:r>
              </a:p>
              <a:p>
                <a:pPr algn="ctr" rtl="0"/>
                <a:r>
                  <a:rPr lang="en-US" sz="600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8,24</a:t>
                </a:r>
              </a:p>
            </p:txBody>
          </p:sp>
        </p:grpSp>
        <p:grpSp>
          <p:nvGrpSpPr>
            <p:cNvPr id="93" name="Group 92"/>
            <p:cNvGrpSpPr/>
            <p:nvPr/>
          </p:nvGrpSpPr>
          <p:grpSpPr bwMode="gray">
            <a:xfrm>
              <a:off x="-312083" y="1740297"/>
              <a:ext cx="271280" cy="192882"/>
              <a:chOff x="-312083" y="1703784"/>
              <a:chExt cx="271280" cy="192882"/>
            </a:xfrm>
          </p:grpSpPr>
          <p:cxnSp>
            <p:nvCxnSpPr>
              <p:cNvPr id="94" name="Straight Connector 93"/>
              <p:cNvCxnSpPr/>
              <p:nvPr userDrawn="1"/>
            </p:nvCxnSpPr>
            <p:spPr bwMode="gray">
              <a:xfrm>
                <a:off x="-203173" y="1800225"/>
                <a:ext cx="162370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5" name="Rectangle 94"/>
              <p:cNvSpPr/>
              <p:nvPr userDrawn="1"/>
            </p:nvSpPr>
            <p:spPr bwMode="gray">
              <a:xfrm rot="16200000">
                <a:off x="-368842" y="1760543"/>
                <a:ext cx="192882" cy="79364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b"/>
              <a:lstStyle/>
              <a:p>
                <a:pPr algn="ctr" rtl="0"/>
                <a:r>
                  <a:rPr lang="en-US" sz="600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1.74</a:t>
                </a:r>
              </a:p>
              <a:p>
                <a:pPr algn="ctr" rtl="0"/>
                <a:r>
                  <a:rPr lang="en-US" sz="600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4,42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33593963"/>
      </p:ext>
    </p:extLst>
  </p:cSld>
  <p:clrMapOvr>
    <a:masterClrMapping/>
  </p:clrMapOvr>
  <p:transition spd="med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8CA76E06-5680-4F01-BE9A-14FC4C326AC1}"/>
              </a:ext>
            </a:extLst>
          </p:cNvPr>
          <p:cNvSpPr/>
          <p:nvPr userDrawn="1"/>
        </p:nvSpPr>
        <p:spPr>
          <a:xfrm>
            <a:off x="-1" y="0"/>
            <a:ext cx="6096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2826782-0FCB-4016-8299-5FDE1BCDCE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666000"/>
            <a:ext cx="5161280" cy="463550"/>
          </a:xfrm>
        </p:spPr>
        <p:txBody>
          <a:bodyPr tIns="0" rIns="0" bIns="0"/>
          <a:lstStyle/>
          <a:p>
            <a:r>
              <a:rPr lang="cs-CZ"/>
              <a:t>Kliknutím lze upravit styl.</a:t>
            </a:r>
            <a:endParaRPr lang="de-DE" dirty="0"/>
          </a:p>
        </p:txBody>
      </p:sp>
      <p:sp>
        <p:nvSpPr>
          <p:cNvPr id="6" name="Textplatzhalter 11">
            <a:extLst>
              <a:ext uri="{FF2B5EF4-FFF2-40B4-BE49-F238E27FC236}">
                <a16:creationId xmlns:a16="http://schemas.microsoft.com/office/drawing/2014/main" id="{192F6119-D982-441E-A808-B28DACE4930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8000" y="396000"/>
            <a:ext cx="5163250" cy="185432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lang="de-DE" sz="1400" i="1" kern="1200" spc="1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A7E86299-F4AF-410B-BED1-BF6D1CCBD32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000" y="1825625"/>
            <a:ext cx="51632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de-DE" dirty="0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CF0AB94D-E24E-4699-B559-356D0FF439C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64000" y="396000"/>
            <a:ext cx="5163250" cy="185432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lang="de-DE" sz="1400" i="1" kern="1200" spc="1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A9F5C76C-6A78-4D1B-98F9-A89FD7D01B86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565900" y="1825625"/>
            <a:ext cx="51632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de-DE" dirty="0"/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8C7C6EFC-A170-4669-A6C7-AF396B2B9194}"/>
              </a:ext>
            </a:extLst>
          </p:cNvPr>
          <p:cNvSpPr txBox="1">
            <a:spLocks/>
          </p:cNvSpPr>
          <p:nvPr userDrawn="1"/>
        </p:nvSpPr>
        <p:spPr>
          <a:xfrm>
            <a:off x="6564000" y="711200"/>
            <a:ext cx="5161280" cy="46355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CA5B5E70-F9B4-4629-8956-086FABABE6F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564000" y="666000"/>
            <a:ext cx="5160963" cy="463550"/>
          </a:xfrm>
        </p:spPr>
        <p:txBody>
          <a:bodyPr lIns="0" rIns="0" bIns="0"/>
          <a:lstStyle>
            <a:lvl1pPr marL="0" indent="0">
              <a:buNone/>
              <a:defRPr sz="2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15" name="Fußzeilenplatzhalter 3">
            <a:extLst>
              <a:ext uri="{FF2B5EF4-FFF2-40B4-BE49-F238E27FC236}">
                <a16:creationId xmlns:a16="http://schemas.microsoft.com/office/drawing/2014/main" id="{CC03F369-E302-492D-8B49-89B5FAF654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17548" y="6591300"/>
            <a:ext cx="9000000" cy="266700"/>
          </a:xfrm>
        </p:spPr>
        <p:txBody>
          <a:bodyPr lIns="0"/>
          <a:lstStyle/>
          <a:p>
            <a:endParaRPr lang="de-DE" dirty="0"/>
          </a:p>
        </p:txBody>
      </p:sp>
      <p:sp>
        <p:nvSpPr>
          <p:cNvPr id="16" name="Foliennummernplatzhalter 4">
            <a:extLst>
              <a:ext uri="{FF2B5EF4-FFF2-40B4-BE49-F238E27FC236}">
                <a16:creationId xmlns:a16="http://schemas.microsoft.com/office/drawing/2014/main" id="{EE49EC52-F879-4A2E-9E11-B1FA1FC05A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591300"/>
            <a:ext cx="469898" cy="266700"/>
          </a:xfrm>
        </p:spPr>
        <p:txBody>
          <a:bodyPr/>
          <a:lstStyle/>
          <a:p>
            <a:fld id="{5AFF31D0-8A17-47C0-8D09-D01303A85034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30654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+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310FED02-0259-420E-80E1-2066F5A390A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7698506" y="1765748"/>
            <a:ext cx="3838566" cy="462632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 bwMode="gray">
          <a:xfrm>
            <a:off x="646991" y="1834356"/>
            <a:ext cx="6877658" cy="4557713"/>
          </a:xfrm>
        </p:spPr>
        <p:txBody>
          <a:bodyPr tIns="648000"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47" name="Subtitle 2"/>
          <p:cNvSpPr>
            <a:spLocks noGrp="1"/>
          </p:cNvSpPr>
          <p:nvPr>
            <p:ph type="subTitle" idx="1"/>
          </p:nvPr>
        </p:nvSpPr>
        <p:spPr bwMode="gray">
          <a:xfrm>
            <a:off x="628731" y="1152797"/>
            <a:ext cx="8839416" cy="345805"/>
          </a:xfrm>
        </p:spPr>
        <p:txBody>
          <a:bodyPr anchor="ctr"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>
          <a:solidFill>
            <a:schemeClr val="accent4"/>
          </a:solidFill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8373516"/>
      </p:ext>
    </p:extLst>
  </p:cSld>
  <p:clrMapOvr>
    <a:masterClrMapping/>
  </p:clrMapOvr>
  <p:transition spd="med"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ground cour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3">
            <a:extLst>
              <a:ext uri="{FF2B5EF4-FFF2-40B4-BE49-F238E27FC236}">
                <a16:creationId xmlns:a16="http://schemas.microsoft.com/office/drawing/2014/main" id="{A5BBDD2F-9241-40BC-8867-07700E98015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39847" y="6492876"/>
            <a:ext cx="770037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ate</a:t>
            </a:r>
            <a:endParaRPr lang="de-DE" dirty="0"/>
          </a:p>
        </p:txBody>
      </p:sp>
      <p:sp>
        <p:nvSpPr>
          <p:cNvPr id="4" name="Fußzeilenplatzhalter 4">
            <a:extLst>
              <a:ext uri="{FF2B5EF4-FFF2-40B4-BE49-F238E27FC236}">
                <a16:creationId xmlns:a16="http://schemas.microsoft.com/office/drawing/2014/main" id="{115D699D-F309-40CE-A11B-8EFD7E0666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11497" y="6492876"/>
            <a:ext cx="1002478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Foliennummernplatzhalter 5">
            <a:extLst>
              <a:ext uri="{FF2B5EF4-FFF2-40B4-BE49-F238E27FC236}">
                <a16:creationId xmlns:a16="http://schemas.microsoft.com/office/drawing/2014/main" id="{002B61F0-156D-4586-AE99-565DF5851C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34741" y="6492876"/>
            <a:ext cx="257208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55D8F01-0BAE-4E87-9667-E232837E7047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9315623"/>
      </p:ext>
    </p:extLst>
  </p:cSld>
  <p:clrMapOvr>
    <a:masterClrMapping/>
  </p:clrMapOvr>
  <p:transition spd="med"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3">
            <a:extLst>
              <a:ext uri="{FF2B5EF4-FFF2-40B4-BE49-F238E27FC236}">
                <a16:creationId xmlns:a16="http://schemas.microsoft.com/office/drawing/2014/main" id="{B6105D96-9F8C-4E9E-843C-1819516C7230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639847" y="6492876"/>
            <a:ext cx="77003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noProof="0"/>
              <a:t>Date</a:t>
            </a:r>
            <a:endParaRPr lang="en-US" noProof="0" dirty="0"/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59FFE9A7-C026-47DD-8074-4DF511C8CD9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734741" y="6492876"/>
            <a:ext cx="257208" cy="365125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9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fld id="{20AEB338-9A01-4568-801D-896C2E978281}" type="slidenum">
              <a:rPr lang="en-US" noProof="0" smtClean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22" name="Bildplatzhalter 21">
            <a:extLst>
              <a:ext uri="{FF2B5EF4-FFF2-40B4-BE49-F238E27FC236}">
                <a16:creationId xmlns:a16="http://schemas.microsoft.com/office/drawing/2014/main" id="{EF45E2FA-05DB-48DB-86AF-50EE5E74850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1" y="0"/>
            <a:ext cx="12192000" cy="6858000"/>
          </a:xfrm>
          <a:custGeom>
            <a:avLst/>
            <a:gdLst>
              <a:gd name="connsiteX0" fmla="*/ 8784325 w 12190413"/>
              <a:gd name="connsiteY0" fmla="*/ 1055583 h 6858000"/>
              <a:gd name="connsiteX1" fmla="*/ 8784325 w 12190413"/>
              <a:gd name="connsiteY1" fmla="*/ 2599186 h 6858000"/>
              <a:gd name="connsiteX2" fmla="*/ 10944325 w 12190413"/>
              <a:gd name="connsiteY2" fmla="*/ 2599186 h 6858000"/>
              <a:gd name="connsiteX3" fmla="*/ 10944325 w 12190413"/>
              <a:gd name="connsiteY3" fmla="*/ 1055583 h 6858000"/>
              <a:gd name="connsiteX4" fmla="*/ 0 w 12190413"/>
              <a:gd name="connsiteY4" fmla="*/ 0 h 6858000"/>
              <a:gd name="connsiteX5" fmla="*/ 12190413 w 12190413"/>
              <a:gd name="connsiteY5" fmla="*/ 0 h 6858000"/>
              <a:gd name="connsiteX6" fmla="*/ 12190413 w 12190413"/>
              <a:gd name="connsiteY6" fmla="*/ 6858000 h 6858000"/>
              <a:gd name="connsiteX7" fmla="*/ 0 w 12190413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0413" h="6858000">
                <a:moveTo>
                  <a:pt x="8784325" y="1055583"/>
                </a:moveTo>
                <a:lnTo>
                  <a:pt x="8784325" y="2599186"/>
                </a:lnTo>
                <a:lnTo>
                  <a:pt x="10944325" y="2599186"/>
                </a:lnTo>
                <a:lnTo>
                  <a:pt x="10944325" y="1055583"/>
                </a:lnTo>
                <a:close/>
                <a:moveTo>
                  <a:pt x="0" y="0"/>
                </a:moveTo>
                <a:lnTo>
                  <a:pt x="12190413" y="0"/>
                </a:lnTo>
                <a:lnTo>
                  <a:pt x="12190413" y="6858000"/>
                </a:lnTo>
                <a:lnTo>
                  <a:pt x="0" y="685800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4B5FC1B4-0473-47E8-846B-AD7E5EE24C8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622382" y="450477"/>
            <a:ext cx="10873415" cy="1764000"/>
          </a:xfrm>
          <a:custGeom>
            <a:avLst/>
            <a:gdLst>
              <a:gd name="connsiteX0" fmla="*/ 0 w 10872000"/>
              <a:gd name="connsiteY0" fmla="*/ 0 h 1764000"/>
              <a:gd name="connsiteX1" fmla="*/ 10872000 w 10872000"/>
              <a:gd name="connsiteY1" fmla="*/ 0 h 1764000"/>
              <a:gd name="connsiteX2" fmla="*/ 10872000 w 10872000"/>
              <a:gd name="connsiteY2" fmla="*/ 1764000 h 1764000"/>
              <a:gd name="connsiteX3" fmla="*/ 10322024 w 10872000"/>
              <a:gd name="connsiteY3" fmla="*/ 1764000 h 1764000"/>
              <a:gd name="connsiteX4" fmla="*/ 10322024 w 10872000"/>
              <a:gd name="connsiteY4" fmla="*/ 605106 h 1764000"/>
              <a:gd name="connsiteX5" fmla="*/ 8162024 w 10872000"/>
              <a:gd name="connsiteY5" fmla="*/ 605106 h 1764000"/>
              <a:gd name="connsiteX6" fmla="*/ 8162024 w 10872000"/>
              <a:gd name="connsiteY6" fmla="*/ 1764000 h 1764000"/>
              <a:gd name="connsiteX7" fmla="*/ 0 w 10872000"/>
              <a:gd name="connsiteY7" fmla="*/ 1764000 h 176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872000" h="1764000">
                <a:moveTo>
                  <a:pt x="0" y="0"/>
                </a:moveTo>
                <a:lnTo>
                  <a:pt x="10872000" y="0"/>
                </a:lnTo>
                <a:lnTo>
                  <a:pt x="10872000" y="1764000"/>
                </a:lnTo>
                <a:lnTo>
                  <a:pt x="10322024" y="1764000"/>
                </a:lnTo>
                <a:lnTo>
                  <a:pt x="10322024" y="605106"/>
                </a:lnTo>
                <a:lnTo>
                  <a:pt x="8162024" y="605106"/>
                </a:lnTo>
                <a:lnTo>
                  <a:pt x="8162024" y="1764000"/>
                </a:lnTo>
                <a:lnTo>
                  <a:pt x="0" y="1764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wrap="square">
            <a:noAutofit/>
          </a:bodyPr>
          <a:lstStyle>
            <a:lvl1pPr>
              <a:tabLst>
                <a:tab pos="5019675" algn="l"/>
              </a:tabLst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de-DE" noProof="0"/>
              <a:t>Formatvorlagen des Textmasters bearbeiten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9D8C0EEE-7F2E-4220-AB42-0038A39C705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85469" y="1055583"/>
            <a:ext cx="2160281" cy="1543603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F44EF97-2398-47DE-AB44-434E736BED3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84485" y="768678"/>
            <a:ext cx="7557377" cy="522701"/>
          </a:xfrm>
        </p:spPr>
        <p:txBody>
          <a:bodyPr/>
          <a:lstStyle>
            <a:lvl1pPr>
              <a:defRPr sz="28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Headline</a:t>
            </a:r>
          </a:p>
        </p:txBody>
      </p:sp>
      <p:sp>
        <p:nvSpPr>
          <p:cNvPr id="16" name="Textplatzhalter 14">
            <a:extLst>
              <a:ext uri="{FF2B5EF4-FFF2-40B4-BE49-F238E27FC236}">
                <a16:creationId xmlns:a16="http://schemas.microsoft.com/office/drawing/2014/main" id="{20FDF11C-B938-44D7-B045-AEF9749B191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4485" y="1283633"/>
            <a:ext cx="7557376" cy="814197"/>
          </a:xfrm>
        </p:spPr>
        <p:txBody>
          <a:bodyPr/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4123927768"/>
      </p:ext>
    </p:extLst>
  </p:cSld>
  <p:clrMapOvr>
    <a:masterClrMapping/>
  </p:clrMapOvr>
  <p:transition spd="med"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Datumsplatzhalter 3">
            <a:extLst>
              <a:ext uri="{FF2B5EF4-FFF2-40B4-BE49-F238E27FC236}">
                <a16:creationId xmlns:a16="http://schemas.microsoft.com/office/drawing/2014/main" id="{A08A97F9-43A4-4356-AF53-CFE041B36859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639847" y="6492876"/>
            <a:ext cx="77003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noProof="0"/>
              <a:t>Date</a:t>
            </a:r>
            <a:endParaRPr lang="en-US" noProof="0" dirty="0"/>
          </a:p>
        </p:txBody>
      </p:sp>
      <p:sp>
        <p:nvSpPr>
          <p:cNvPr id="40" name="Foliennummernplatzhalter 5">
            <a:extLst>
              <a:ext uri="{FF2B5EF4-FFF2-40B4-BE49-F238E27FC236}">
                <a16:creationId xmlns:a16="http://schemas.microsoft.com/office/drawing/2014/main" id="{7ACB3357-5B20-48C4-A4EA-C1109329894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734741" y="6492876"/>
            <a:ext cx="257208" cy="365125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9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fld id="{20AEB338-9A01-4568-801D-896C2E978281}" type="slidenum">
              <a:rPr lang="en-US" noProof="0" smtClean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41" name="Bildplatzhalter 40">
            <a:extLst>
              <a:ext uri="{FF2B5EF4-FFF2-40B4-BE49-F238E27FC236}">
                <a16:creationId xmlns:a16="http://schemas.microsoft.com/office/drawing/2014/main" id="{BA3AE964-FDF6-4140-81E0-E02657A4820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761115"/>
            <a:ext cx="12192000" cy="5096887"/>
          </a:xfrm>
          <a:custGeom>
            <a:avLst/>
            <a:gdLst>
              <a:gd name="connsiteX0" fmla="*/ 9395043 w 12190413"/>
              <a:gd name="connsiteY0" fmla="*/ 2708 h 5096887"/>
              <a:gd name="connsiteX1" fmla="*/ 9395043 w 12190413"/>
              <a:gd name="connsiteY1" fmla="*/ 456194 h 5096887"/>
              <a:gd name="connsiteX2" fmla="*/ 11891963 w 12190413"/>
              <a:gd name="connsiteY2" fmla="*/ 456194 h 5096887"/>
              <a:gd name="connsiteX3" fmla="*/ 11891963 w 12190413"/>
              <a:gd name="connsiteY3" fmla="*/ 2708 h 5096887"/>
              <a:gd name="connsiteX4" fmla="*/ 0 w 12190413"/>
              <a:gd name="connsiteY4" fmla="*/ 0 h 5096887"/>
              <a:gd name="connsiteX5" fmla="*/ 12190413 w 12190413"/>
              <a:gd name="connsiteY5" fmla="*/ 0 h 5096887"/>
              <a:gd name="connsiteX6" fmla="*/ 12190413 w 12190413"/>
              <a:gd name="connsiteY6" fmla="*/ 5096887 h 5096887"/>
              <a:gd name="connsiteX7" fmla="*/ 0 w 12190413"/>
              <a:gd name="connsiteY7" fmla="*/ 5096887 h 50968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0413" h="5096887">
                <a:moveTo>
                  <a:pt x="9395043" y="2708"/>
                </a:moveTo>
                <a:lnTo>
                  <a:pt x="9395043" y="456194"/>
                </a:lnTo>
                <a:lnTo>
                  <a:pt x="11891963" y="456194"/>
                </a:lnTo>
                <a:lnTo>
                  <a:pt x="11891963" y="2708"/>
                </a:lnTo>
                <a:close/>
                <a:moveTo>
                  <a:pt x="0" y="0"/>
                </a:moveTo>
                <a:lnTo>
                  <a:pt x="12190413" y="0"/>
                </a:lnTo>
                <a:lnTo>
                  <a:pt x="12190413" y="5096887"/>
                </a:lnTo>
                <a:lnTo>
                  <a:pt x="0" y="5096887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39" name="Titel 38">
            <a:extLst>
              <a:ext uri="{FF2B5EF4-FFF2-40B4-BE49-F238E27FC236}">
                <a16:creationId xmlns:a16="http://schemas.microsoft.com/office/drawing/2014/main" id="{ED96EB8F-9F3F-4A2B-BF42-45E49280C3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-1" y="-1"/>
            <a:ext cx="12192001" cy="1763823"/>
          </a:xfrm>
          <a:custGeom>
            <a:avLst/>
            <a:gdLst>
              <a:gd name="connsiteX0" fmla="*/ 0 w 12190414"/>
              <a:gd name="connsiteY0" fmla="*/ 0 h 1763823"/>
              <a:gd name="connsiteX1" fmla="*/ 12190414 w 12190414"/>
              <a:gd name="connsiteY1" fmla="*/ 0 h 1763823"/>
              <a:gd name="connsiteX2" fmla="*/ 12190414 w 12190414"/>
              <a:gd name="connsiteY2" fmla="*/ 1763823 h 1763823"/>
              <a:gd name="connsiteX3" fmla="*/ 11891964 w 12190414"/>
              <a:gd name="connsiteY3" fmla="*/ 1763823 h 1763823"/>
              <a:gd name="connsiteX4" fmla="*/ 11891964 w 12190414"/>
              <a:gd name="connsiteY4" fmla="*/ 404717 h 1763823"/>
              <a:gd name="connsiteX5" fmla="*/ 9395044 w 12190414"/>
              <a:gd name="connsiteY5" fmla="*/ 404717 h 1763823"/>
              <a:gd name="connsiteX6" fmla="*/ 9395044 w 12190414"/>
              <a:gd name="connsiteY6" fmla="*/ 1763823 h 1763823"/>
              <a:gd name="connsiteX7" fmla="*/ 0 w 12190414"/>
              <a:gd name="connsiteY7" fmla="*/ 1763823 h 17638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0414" h="1763823">
                <a:moveTo>
                  <a:pt x="0" y="0"/>
                </a:moveTo>
                <a:lnTo>
                  <a:pt x="12190414" y="0"/>
                </a:lnTo>
                <a:lnTo>
                  <a:pt x="12190414" y="1763823"/>
                </a:lnTo>
                <a:lnTo>
                  <a:pt x="11891964" y="1763823"/>
                </a:lnTo>
                <a:lnTo>
                  <a:pt x="11891964" y="404717"/>
                </a:lnTo>
                <a:lnTo>
                  <a:pt x="9395044" y="404717"/>
                </a:lnTo>
                <a:lnTo>
                  <a:pt x="9395044" y="1763823"/>
                </a:lnTo>
                <a:lnTo>
                  <a:pt x="0" y="176382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C7A772C5-8646-40DD-AFD8-5E6D58BB3D6C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9396266" y="404716"/>
            <a:ext cx="2497245" cy="1359106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endParaRPr lang="en-US" altLang="de-DE" sz="1800" noProof="0" dirty="0"/>
          </a:p>
        </p:txBody>
      </p:sp>
      <p:sp>
        <p:nvSpPr>
          <p:cNvPr id="10" name="Freeform 7">
            <a:extLst>
              <a:ext uri="{FF2B5EF4-FFF2-40B4-BE49-F238E27FC236}">
                <a16:creationId xmlns:a16="http://schemas.microsoft.com/office/drawing/2014/main" id="{45E4A78B-D07D-4172-8F22-B46A131BB9A4}"/>
              </a:ext>
            </a:extLst>
          </p:cNvPr>
          <p:cNvSpPr>
            <a:spLocks noEditPoints="1"/>
          </p:cNvSpPr>
          <p:nvPr userDrawn="1"/>
        </p:nvSpPr>
        <p:spPr bwMode="gray">
          <a:xfrm>
            <a:off x="9848858" y="944839"/>
            <a:ext cx="173051" cy="284275"/>
          </a:xfrm>
          <a:custGeom>
            <a:avLst/>
            <a:gdLst>
              <a:gd name="T0" fmla="*/ 206375 w 55"/>
              <a:gd name="T1" fmla="*/ 179798 h 89"/>
              <a:gd name="T2" fmla="*/ 206375 w 55"/>
              <a:gd name="T3" fmla="*/ 161069 h 89"/>
              <a:gd name="T4" fmla="*/ 105064 w 55"/>
              <a:gd name="T5" fmla="*/ 0 h 89"/>
              <a:gd name="T6" fmla="*/ 0 w 55"/>
              <a:gd name="T7" fmla="*/ 164815 h 89"/>
              <a:gd name="T8" fmla="*/ 105064 w 55"/>
              <a:gd name="T9" fmla="*/ 333375 h 89"/>
              <a:gd name="T10" fmla="*/ 202623 w 55"/>
              <a:gd name="T11" fmla="*/ 221001 h 89"/>
              <a:gd name="T12" fmla="*/ 138834 w 55"/>
              <a:gd name="T13" fmla="*/ 221001 h 89"/>
              <a:gd name="T14" fmla="*/ 101311 w 55"/>
              <a:gd name="T15" fmla="*/ 280934 h 89"/>
              <a:gd name="T16" fmla="*/ 67541 w 55"/>
              <a:gd name="T17" fmla="*/ 206018 h 89"/>
              <a:gd name="T18" fmla="*/ 67541 w 55"/>
              <a:gd name="T19" fmla="*/ 179798 h 89"/>
              <a:gd name="T20" fmla="*/ 206375 w 55"/>
              <a:gd name="T21" fmla="*/ 179798 h 89"/>
              <a:gd name="T22" fmla="*/ 67541 w 55"/>
              <a:gd name="T23" fmla="*/ 131103 h 89"/>
              <a:gd name="T24" fmla="*/ 67541 w 55"/>
              <a:gd name="T25" fmla="*/ 119865 h 89"/>
              <a:gd name="T26" fmla="*/ 105064 w 55"/>
              <a:gd name="T27" fmla="*/ 56187 h 89"/>
              <a:gd name="T28" fmla="*/ 138834 w 55"/>
              <a:gd name="T29" fmla="*/ 131103 h 89"/>
              <a:gd name="T30" fmla="*/ 67541 w 55"/>
              <a:gd name="T31" fmla="*/ 131103 h 89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55" h="89">
                <a:moveTo>
                  <a:pt x="55" y="48"/>
                </a:moveTo>
                <a:cubicBezTo>
                  <a:pt x="55" y="43"/>
                  <a:pt x="55" y="43"/>
                  <a:pt x="55" y="43"/>
                </a:cubicBezTo>
                <a:cubicBezTo>
                  <a:pt x="55" y="17"/>
                  <a:pt x="50" y="0"/>
                  <a:pt x="28" y="0"/>
                </a:cubicBezTo>
                <a:cubicBezTo>
                  <a:pt x="4" y="0"/>
                  <a:pt x="0" y="21"/>
                  <a:pt x="0" y="44"/>
                </a:cubicBezTo>
                <a:cubicBezTo>
                  <a:pt x="0" y="65"/>
                  <a:pt x="1" y="89"/>
                  <a:pt x="28" y="89"/>
                </a:cubicBezTo>
                <a:cubicBezTo>
                  <a:pt x="45" y="89"/>
                  <a:pt x="53" y="78"/>
                  <a:pt x="54" y="59"/>
                </a:cubicBezTo>
                <a:cubicBezTo>
                  <a:pt x="37" y="59"/>
                  <a:pt x="37" y="59"/>
                  <a:pt x="37" y="59"/>
                </a:cubicBezTo>
                <a:cubicBezTo>
                  <a:pt x="36" y="69"/>
                  <a:pt x="34" y="75"/>
                  <a:pt x="27" y="75"/>
                </a:cubicBezTo>
                <a:cubicBezTo>
                  <a:pt x="21" y="75"/>
                  <a:pt x="18" y="65"/>
                  <a:pt x="18" y="55"/>
                </a:cubicBezTo>
                <a:cubicBezTo>
                  <a:pt x="18" y="48"/>
                  <a:pt x="18" y="48"/>
                  <a:pt x="18" y="48"/>
                </a:cubicBezTo>
                <a:lnTo>
                  <a:pt x="55" y="48"/>
                </a:lnTo>
                <a:close/>
                <a:moveTo>
                  <a:pt x="18" y="35"/>
                </a:moveTo>
                <a:cubicBezTo>
                  <a:pt x="18" y="32"/>
                  <a:pt x="18" y="32"/>
                  <a:pt x="18" y="32"/>
                </a:cubicBezTo>
                <a:cubicBezTo>
                  <a:pt x="18" y="24"/>
                  <a:pt x="20" y="15"/>
                  <a:pt x="28" y="15"/>
                </a:cubicBezTo>
                <a:cubicBezTo>
                  <a:pt x="35" y="15"/>
                  <a:pt x="37" y="22"/>
                  <a:pt x="37" y="35"/>
                </a:cubicBezTo>
                <a:lnTo>
                  <a:pt x="18" y="35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800" noProof="0" dirty="0"/>
          </a:p>
        </p:txBody>
      </p:sp>
      <p:sp>
        <p:nvSpPr>
          <p:cNvPr id="11" name="Freeform 8">
            <a:extLst>
              <a:ext uri="{FF2B5EF4-FFF2-40B4-BE49-F238E27FC236}">
                <a16:creationId xmlns:a16="http://schemas.microsoft.com/office/drawing/2014/main" id="{03BC9DE1-2EEB-49C8-821E-6C79028A39D2}"/>
              </a:ext>
            </a:extLst>
          </p:cNvPr>
          <p:cNvSpPr>
            <a:spLocks noEditPoints="1"/>
          </p:cNvSpPr>
          <p:nvPr userDrawn="1"/>
        </p:nvSpPr>
        <p:spPr bwMode="gray">
          <a:xfrm>
            <a:off x="10044539" y="862264"/>
            <a:ext cx="175712" cy="366850"/>
          </a:xfrm>
          <a:custGeom>
            <a:avLst/>
            <a:gdLst>
              <a:gd name="T0" fmla="*/ 67355 w 56"/>
              <a:gd name="T1" fmla="*/ 265609 h 115"/>
              <a:gd name="T2" fmla="*/ 104775 w 56"/>
              <a:gd name="T3" fmla="*/ 160862 h 115"/>
              <a:gd name="T4" fmla="*/ 138453 w 56"/>
              <a:gd name="T5" fmla="*/ 265609 h 115"/>
              <a:gd name="T6" fmla="*/ 104775 w 56"/>
              <a:gd name="T7" fmla="*/ 370356 h 115"/>
              <a:gd name="T8" fmla="*/ 67355 w 56"/>
              <a:gd name="T9" fmla="*/ 265609 h 115"/>
              <a:gd name="T10" fmla="*/ 0 w 56"/>
              <a:gd name="T11" fmla="*/ 422730 h 115"/>
              <a:gd name="T12" fmla="*/ 63613 w 56"/>
              <a:gd name="T13" fmla="*/ 422730 h 115"/>
              <a:gd name="T14" fmla="*/ 63613 w 56"/>
              <a:gd name="T15" fmla="*/ 389061 h 115"/>
              <a:gd name="T16" fmla="*/ 63613 w 56"/>
              <a:gd name="T17" fmla="*/ 389061 h 115"/>
              <a:gd name="T18" fmla="*/ 127227 w 56"/>
              <a:gd name="T19" fmla="*/ 430212 h 115"/>
              <a:gd name="T20" fmla="*/ 209550 w 56"/>
              <a:gd name="T21" fmla="*/ 265609 h 115"/>
              <a:gd name="T22" fmla="*/ 127227 w 56"/>
              <a:gd name="T23" fmla="*/ 97265 h 115"/>
              <a:gd name="T24" fmla="*/ 67355 w 56"/>
              <a:gd name="T25" fmla="*/ 134675 h 115"/>
              <a:gd name="T26" fmla="*/ 67355 w 56"/>
              <a:gd name="T27" fmla="*/ 134675 h 115"/>
              <a:gd name="T28" fmla="*/ 67355 w 56"/>
              <a:gd name="T29" fmla="*/ 0 h 115"/>
              <a:gd name="T30" fmla="*/ 0 w 56"/>
              <a:gd name="T31" fmla="*/ 0 h 115"/>
              <a:gd name="T32" fmla="*/ 0 w 56"/>
              <a:gd name="T33" fmla="*/ 422730 h 115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56" h="115">
                <a:moveTo>
                  <a:pt x="18" y="71"/>
                </a:moveTo>
                <a:cubicBezTo>
                  <a:pt x="18" y="52"/>
                  <a:pt x="20" y="43"/>
                  <a:pt x="28" y="43"/>
                </a:cubicBezTo>
                <a:cubicBezTo>
                  <a:pt x="36" y="43"/>
                  <a:pt x="37" y="52"/>
                  <a:pt x="37" y="71"/>
                </a:cubicBezTo>
                <a:cubicBezTo>
                  <a:pt x="37" y="89"/>
                  <a:pt x="36" y="99"/>
                  <a:pt x="28" y="99"/>
                </a:cubicBezTo>
                <a:cubicBezTo>
                  <a:pt x="20" y="99"/>
                  <a:pt x="18" y="89"/>
                  <a:pt x="18" y="71"/>
                </a:cubicBezTo>
                <a:close/>
                <a:moveTo>
                  <a:pt x="0" y="113"/>
                </a:moveTo>
                <a:cubicBezTo>
                  <a:pt x="17" y="113"/>
                  <a:pt x="17" y="113"/>
                  <a:pt x="17" y="113"/>
                </a:cubicBezTo>
                <a:cubicBezTo>
                  <a:pt x="17" y="104"/>
                  <a:pt x="17" y="104"/>
                  <a:pt x="17" y="104"/>
                </a:cubicBezTo>
                <a:cubicBezTo>
                  <a:pt x="17" y="104"/>
                  <a:pt x="17" y="104"/>
                  <a:pt x="17" y="104"/>
                </a:cubicBezTo>
                <a:cubicBezTo>
                  <a:pt x="21" y="112"/>
                  <a:pt x="27" y="115"/>
                  <a:pt x="34" y="115"/>
                </a:cubicBezTo>
                <a:cubicBezTo>
                  <a:pt x="49" y="115"/>
                  <a:pt x="56" y="102"/>
                  <a:pt x="56" y="71"/>
                </a:cubicBezTo>
                <a:cubicBezTo>
                  <a:pt x="56" y="39"/>
                  <a:pt x="49" y="26"/>
                  <a:pt x="34" y="26"/>
                </a:cubicBezTo>
                <a:cubicBezTo>
                  <a:pt x="27" y="26"/>
                  <a:pt x="22" y="29"/>
                  <a:pt x="18" y="36"/>
                </a:cubicBezTo>
                <a:cubicBezTo>
                  <a:pt x="18" y="36"/>
                  <a:pt x="18" y="36"/>
                  <a:pt x="18" y="36"/>
                </a:cubicBezTo>
                <a:cubicBezTo>
                  <a:pt x="18" y="0"/>
                  <a:pt x="18" y="0"/>
                  <a:pt x="18" y="0"/>
                </a:cubicBezTo>
                <a:cubicBezTo>
                  <a:pt x="0" y="0"/>
                  <a:pt x="0" y="0"/>
                  <a:pt x="0" y="0"/>
                </a:cubicBezTo>
                <a:lnTo>
                  <a:pt x="0" y="113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800" noProof="0" dirty="0"/>
          </a:p>
        </p:txBody>
      </p:sp>
      <p:sp>
        <p:nvSpPr>
          <p:cNvPr id="12" name="Freeform 9">
            <a:extLst>
              <a:ext uri="{FF2B5EF4-FFF2-40B4-BE49-F238E27FC236}">
                <a16:creationId xmlns:a16="http://schemas.microsoft.com/office/drawing/2014/main" id="{B044879D-04F3-4D03-872C-D671BF163B88}"/>
              </a:ext>
            </a:extLst>
          </p:cNvPr>
          <p:cNvSpPr>
            <a:spLocks/>
          </p:cNvSpPr>
          <p:nvPr userDrawn="1"/>
        </p:nvSpPr>
        <p:spPr bwMode="gray">
          <a:xfrm>
            <a:off x="10245543" y="942131"/>
            <a:ext cx="276880" cy="281568"/>
          </a:xfrm>
          <a:custGeom>
            <a:avLst/>
            <a:gdLst>
              <a:gd name="T0" fmla="*/ 0 w 88"/>
              <a:gd name="T1" fmla="*/ 330200 h 88"/>
              <a:gd name="T2" fmla="*/ 67541 w 88"/>
              <a:gd name="T3" fmla="*/ 330200 h 88"/>
              <a:gd name="T4" fmla="*/ 67541 w 88"/>
              <a:gd name="T5" fmla="*/ 120073 h 88"/>
              <a:gd name="T6" fmla="*/ 105064 w 88"/>
              <a:gd name="T7" fmla="*/ 67541 h 88"/>
              <a:gd name="T8" fmla="*/ 131330 w 88"/>
              <a:gd name="T9" fmla="*/ 108816 h 88"/>
              <a:gd name="T10" fmla="*/ 131330 w 88"/>
              <a:gd name="T11" fmla="*/ 330200 h 88"/>
              <a:gd name="T12" fmla="*/ 198870 w 88"/>
              <a:gd name="T13" fmla="*/ 330200 h 88"/>
              <a:gd name="T14" fmla="*/ 198870 w 88"/>
              <a:gd name="T15" fmla="*/ 120073 h 88"/>
              <a:gd name="T16" fmla="*/ 236393 w 88"/>
              <a:gd name="T17" fmla="*/ 67541 h 88"/>
              <a:gd name="T18" fmla="*/ 262659 w 88"/>
              <a:gd name="T19" fmla="*/ 108816 h 88"/>
              <a:gd name="T20" fmla="*/ 262659 w 88"/>
              <a:gd name="T21" fmla="*/ 330200 h 88"/>
              <a:gd name="T22" fmla="*/ 330200 w 88"/>
              <a:gd name="T23" fmla="*/ 330200 h 88"/>
              <a:gd name="T24" fmla="*/ 330200 w 88"/>
              <a:gd name="T25" fmla="*/ 97559 h 88"/>
              <a:gd name="T26" fmla="*/ 262659 w 88"/>
              <a:gd name="T27" fmla="*/ 3752 h 88"/>
              <a:gd name="T28" fmla="*/ 195118 w 88"/>
              <a:gd name="T29" fmla="*/ 52532 h 88"/>
              <a:gd name="T30" fmla="*/ 195118 w 88"/>
              <a:gd name="T31" fmla="*/ 52532 h 88"/>
              <a:gd name="T32" fmla="*/ 135082 w 88"/>
              <a:gd name="T33" fmla="*/ 3752 h 88"/>
              <a:gd name="T34" fmla="*/ 63789 w 88"/>
              <a:gd name="T35" fmla="*/ 45027 h 88"/>
              <a:gd name="T36" fmla="*/ 63789 w 88"/>
              <a:gd name="T37" fmla="*/ 45027 h 88"/>
              <a:gd name="T38" fmla="*/ 63789 w 88"/>
              <a:gd name="T39" fmla="*/ 11257 h 88"/>
              <a:gd name="T40" fmla="*/ 0 w 88"/>
              <a:gd name="T41" fmla="*/ 11257 h 88"/>
              <a:gd name="T42" fmla="*/ 0 w 88"/>
              <a:gd name="T43" fmla="*/ 330200 h 88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88" h="88">
                <a:moveTo>
                  <a:pt x="0" y="88"/>
                </a:moveTo>
                <a:cubicBezTo>
                  <a:pt x="18" y="88"/>
                  <a:pt x="18" y="88"/>
                  <a:pt x="18" y="88"/>
                </a:cubicBezTo>
                <a:cubicBezTo>
                  <a:pt x="18" y="32"/>
                  <a:pt x="18" y="32"/>
                  <a:pt x="18" y="32"/>
                </a:cubicBezTo>
                <a:cubicBezTo>
                  <a:pt x="18" y="22"/>
                  <a:pt x="22" y="18"/>
                  <a:pt x="28" y="18"/>
                </a:cubicBezTo>
                <a:cubicBezTo>
                  <a:pt x="33" y="18"/>
                  <a:pt x="35" y="22"/>
                  <a:pt x="35" y="29"/>
                </a:cubicBezTo>
                <a:cubicBezTo>
                  <a:pt x="35" y="88"/>
                  <a:pt x="35" y="88"/>
                  <a:pt x="35" y="88"/>
                </a:cubicBezTo>
                <a:cubicBezTo>
                  <a:pt x="53" y="88"/>
                  <a:pt x="53" y="88"/>
                  <a:pt x="53" y="88"/>
                </a:cubicBezTo>
                <a:cubicBezTo>
                  <a:pt x="53" y="32"/>
                  <a:pt x="53" y="32"/>
                  <a:pt x="53" y="32"/>
                </a:cubicBezTo>
                <a:cubicBezTo>
                  <a:pt x="53" y="22"/>
                  <a:pt x="57" y="18"/>
                  <a:pt x="63" y="18"/>
                </a:cubicBezTo>
                <a:cubicBezTo>
                  <a:pt x="68" y="18"/>
                  <a:pt x="70" y="22"/>
                  <a:pt x="70" y="29"/>
                </a:cubicBezTo>
                <a:cubicBezTo>
                  <a:pt x="70" y="88"/>
                  <a:pt x="70" y="88"/>
                  <a:pt x="70" y="88"/>
                </a:cubicBezTo>
                <a:cubicBezTo>
                  <a:pt x="88" y="88"/>
                  <a:pt x="88" y="88"/>
                  <a:pt x="88" y="88"/>
                </a:cubicBezTo>
                <a:cubicBezTo>
                  <a:pt x="88" y="26"/>
                  <a:pt x="88" y="26"/>
                  <a:pt x="88" y="26"/>
                </a:cubicBezTo>
                <a:cubicBezTo>
                  <a:pt x="88" y="10"/>
                  <a:pt x="83" y="1"/>
                  <a:pt x="70" y="1"/>
                </a:cubicBezTo>
                <a:cubicBezTo>
                  <a:pt x="62" y="0"/>
                  <a:pt x="54" y="6"/>
                  <a:pt x="52" y="14"/>
                </a:cubicBezTo>
                <a:cubicBezTo>
                  <a:pt x="52" y="14"/>
                  <a:pt x="52" y="14"/>
                  <a:pt x="52" y="14"/>
                </a:cubicBezTo>
                <a:cubicBezTo>
                  <a:pt x="51" y="6"/>
                  <a:pt x="44" y="0"/>
                  <a:pt x="36" y="1"/>
                </a:cubicBezTo>
                <a:cubicBezTo>
                  <a:pt x="28" y="1"/>
                  <a:pt x="21" y="5"/>
                  <a:pt x="17" y="12"/>
                </a:cubicBezTo>
                <a:cubicBezTo>
                  <a:pt x="17" y="12"/>
                  <a:pt x="17" y="12"/>
                  <a:pt x="17" y="12"/>
                </a:cubicBezTo>
                <a:cubicBezTo>
                  <a:pt x="17" y="3"/>
                  <a:pt x="17" y="3"/>
                  <a:pt x="17" y="3"/>
                </a:cubicBezTo>
                <a:cubicBezTo>
                  <a:pt x="0" y="3"/>
                  <a:pt x="0" y="3"/>
                  <a:pt x="0" y="3"/>
                </a:cubicBezTo>
                <a:lnTo>
                  <a:pt x="0" y="8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800" noProof="0" dirty="0"/>
          </a:p>
        </p:txBody>
      </p:sp>
      <p:sp>
        <p:nvSpPr>
          <p:cNvPr id="13" name="Freeform 10">
            <a:extLst>
              <a:ext uri="{FF2B5EF4-FFF2-40B4-BE49-F238E27FC236}">
                <a16:creationId xmlns:a16="http://schemas.microsoft.com/office/drawing/2014/main" id="{320EBEDA-1DB4-40A7-9B52-C55399F1A3FF}"/>
              </a:ext>
            </a:extLst>
          </p:cNvPr>
          <p:cNvSpPr>
            <a:spLocks noEditPoints="1"/>
          </p:cNvSpPr>
          <p:nvPr userDrawn="1"/>
        </p:nvSpPr>
        <p:spPr bwMode="gray">
          <a:xfrm>
            <a:off x="10569014" y="944838"/>
            <a:ext cx="175712" cy="368204"/>
          </a:xfrm>
          <a:custGeom>
            <a:avLst/>
            <a:gdLst>
              <a:gd name="T0" fmla="*/ 67355 w 56"/>
              <a:gd name="T1" fmla="*/ 168965 h 115"/>
              <a:gd name="T2" fmla="*/ 104775 w 56"/>
              <a:gd name="T3" fmla="*/ 63831 h 115"/>
              <a:gd name="T4" fmla="*/ 142195 w 56"/>
              <a:gd name="T5" fmla="*/ 168965 h 115"/>
              <a:gd name="T6" fmla="*/ 104775 w 56"/>
              <a:gd name="T7" fmla="*/ 274099 h 115"/>
              <a:gd name="T8" fmla="*/ 67355 w 56"/>
              <a:gd name="T9" fmla="*/ 168965 h 115"/>
              <a:gd name="T10" fmla="*/ 0 w 56"/>
              <a:gd name="T11" fmla="*/ 431800 h 115"/>
              <a:gd name="T12" fmla="*/ 67355 w 56"/>
              <a:gd name="T13" fmla="*/ 431800 h 115"/>
              <a:gd name="T14" fmla="*/ 67355 w 56"/>
              <a:gd name="T15" fmla="*/ 296628 h 115"/>
              <a:gd name="T16" fmla="*/ 71097 w 56"/>
              <a:gd name="T17" fmla="*/ 296628 h 115"/>
              <a:gd name="T18" fmla="*/ 127227 w 56"/>
              <a:gd name="T19" fmla="*/ 334176 h 115"/>
              <a:gd name="T20" fmla="*/ 209550 w 56"/>
              <a:gd name="T21" fmla="*/ 168965 h 115"/>
              <a:gd name="T22" fmla="*/ 127227 w 56"/>
              <a:gd name="T23" fmla="*/ 0 h 115"/>
              <a:gd name="T24" fmla="*/ 67355 w 56"/>
              <a:gd name="T25" fmla="*/ 41303 h 115"/>
              <a:gd name="T26" fmla="*/ 67355 w 56"/>
              <a:gd name="T27" fmla="*/ 41303 h 115"/>
              <a:gd name="T28" fmla="*/ 67355 w 56"/>
              <a:gd name="T29" fmla="*/ 7510 h 115"/>
              <a:gd name="T30" fmla="*/ 0 w 56"/>
              <a:gd name="T31" fmla="*/ 7510 h 115"/>
              <a:gd name="T32" fmla="*/ 0 w 56"/>
              <a:gd name="T33" fmla="*/ 431800 h 115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56" h="115">
                <a:moveTo>
                  <a:pt x="18" y="45"/>
                </a:moveTo>
                <a:cubicBezTo>
                  <a:pt x="18" y="26"/>
                  <a:pt x="20" y="17"/>
                  <a:pt x="28" y="17"/>
                </a:cubicBezTo>
                <a:cubicBezTo>
                  <a:pt x="36" y="17"/>
                  <a:pt x="38" y="26"/>
                  <a:pt x="38" y="45"/>
                </a:cubicBezTo>
                <a:cubicBezTo>
                  <a:pt x="38" y="63"/>
                  <a:pt x="36" y="73"/>
                  <a:pt x="28" y="73"/>
                </a:cubicBezTo>
                <a:cubicBezTo>
                  <a:pt x="20" y="73"/>
                  <a:pt x="18" y="63"/>
                  <a:pt x="18" y="45"/>
                </a:cubicBezTo>
                <a:close/>
                <a:moveTo>
                  <a:pt x="0" y="115"/>
                </a:moveTo>
                <a:cubicBezTo>
                  <a:pt x="18" y="115"/>
                  <a:pt x="18" y="115"/>
                  <a:pt x="18" y="115"/>
                </a:cubicBezTo>
                <a:cubicBezTo>
                  <a:pt x="18" y="79"/>
                  <a:pt x="18" y="79"/>
                  <a:pt x="18" y="79"/>
                </a:cubicBezTo>
                <a:cubicBezTo>
                  <a:pt x="19" y="79"/>
                  <a:pt x="19" y="79"/>
                  <a:pt x="19" y="79"/>
                </a:cubicBezTo>
                <a:cubicBezTo>
                  <a:pt x="23" y="86"/>
                  <a:pt x="27" y="89"/>
                  <a:pt x="34" y="89"/>
                </a:cubicBezTo>
                <a:cubicBezTo>
                  <a:pt x="49" y="89"/>
                  <a:pt x="56" y="76"/>
                  <a:pt x="56" y="45"/>
                </a:cubicBezTo>
                <a:cubicBezTo>
                  <a:pt x="56" y="13"/>
                  <a:pt x="49" y="0"/>
                  <a:pt x="34" y="0"/>
                </a:cubicBezTo>
                <a:cubicBezTo>
                  <a:pt x="27" y="0"/>
                  <a:pt x="22" y="3"/>
                  <a:pt x="18" y="11"/>
                </a:cubicBezTo>
                <a:cubicBezTo>
                  <a:pt x="18" y="11"/>
                  <a:pt x="18" y="11"/>
                  <a:pt x="18" y="11"/>
                </a:cubicBezTo>
                <a:cubicBezTo>
                  <a:pt x="18" y="2"/>
                  <a:pt x="18" y="2"/>
                  <a:pt x="18" y="2"/>
                </a:cubicBezTo>
                <a:cubicBezTo>
                  <a:pt x="0" y="2"/>
                  <a:pt x="0" y="2"/>
                  <a:pt x="0" y="2"/>
                </a:cubicBezTo>
                <a:lnTo>
                  <a:pt x="0" y="115"/>
                </a:lnTo>
                <a:close/>
              </a:path>
            </a:pathLst>
          </a:custGeom>
          <a:solidFill>
            <a:srgbClr val="007CB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800" noProof="0" dirty="0"/>
          </a:p>
        </p:txBody>
      </p:sp>
      <p:sp>
        <p:nvSpPr>
          <p:cNvPr id="14" name="Freeform 11">
            <a:extLst>
              <a:ext uri="{FF2B5EF4-FFF2-40B4-BE49-F238E27FC236}">
                <a16:creationId xmlns:a16="http://schemas.microsoft.com/office/drawing/2014/main" id="{471BE05E-2FA0-4F9D-95EF-6F48735974A7}"/>
              </a:ext>
            </a:extLst>
          </p:cNvPr>
          <p:cNvSpPr>
            <a:spLocks noEditPoints="1"/>
          </p:cNvSpPr>
          <p:nvPr userDrawn="1"/>
        </p:nvSpPr>
        <p:spPr bwMode="gray">
          <a:xfrm>
            <a:off x="10764692" y="944839"/>
            <a:ext cx="173051" cy="284275"/>
          </a:xfrm>
          <a:custGeom>
            <a:avLst/>
            <a:gdLst>
              <a:gd name="T0" fmla="*/ 67541 w 55"/>
              <a:gd name="T1" fmla="*/ 104882 h 89"/>
              <a:gd name="T2" fmla="*/ 67541 w 55"/>
              <a:gd name="T3" fmla="*/ 97390 h 89"/>
              <a:gd name="T4" fmla="*/ 101311 w 55"/>
              <a:gd name="T5" fmla="*/ 56187 h 89"/>
              <a:gd name="T6" fmla="*/ 131330 w 55"/>
              <a:gd name="T7" fmla="*/ 93645 h 89"/>
              <a:gd name="T8" fmla="*/ 105064 w 55"/>
              <a:gd name="T9" fmla="*/ 131103 h 89"/>
              <a:gd name="T10" fmla="*/ 67541 w 55"/>
              <a:gd name="T11" fmla="*/ 142340 h 89"/>
              <a:gd name="T12" fmla="*/ 0 w 55"/>
              <a:gd name="T13" fmla="*/ 243476 h 89"/>
              <a:gd name="T14" fmla="*/ 63789 w 55"/>
              <a:gd name="T15" fmla="*/ 333375 h 89"/>
              <a:gd name="T16" fmla="*/ 131330 w 55"/>
              <a:gd name="T17" fmla="*/ 292171 h 89"/>
              <a:gd name="T18" fmla="*/ 131330 w 55"/>
              <a:gd name="T19" fmla="*/ 292171 h 89"/>
              <a:gd name="T20" fmla="*/ 142586 w 55"/>
              <a:gd name="T21" fmla="*/ 325883 h 89"/>
              <a:gd name="T22" fmla="*/ 206375 w 55"/>
              <a:gd name="T23" fmla="*/ 325883 h 89"/>
              <a:gd name="T24" fmla="*/ 198870 w 55"/>
              <a:gd name="T25" fmla="*/ 265951 h 89"/>
              <a:gd name="T26" fmla="*/ 198870 w 55"/>
              <a:gd name="T27" fmla="*/ 97390 h 89"/>
              <a:gd name="T28" fmla="*/ 101311 w 55"/>
              <a:gd name="T29" fmla="*/ 0 h 89"/>
              <a:gd name="T30" fmla="*/ 7505 w 55"/>
              <a:gd name="T31" fmla="*/ 97390 h 89"/>
              <a:gd name="T32" fmla="*/ 7505 w 55"/>
              <a:gd name="T33" fmla="*/ 104882 h 89"/>
              <a:gd name="T34" fmla="*/ 67541 w 55"/>
              <a:gd name="T35" fmla="*/ 104882 h 89"/>
              <a:gd name="T36" fmla="*/ 131330 w 55"/>
              <a:gd name="T37" fmla="*/ 228493 h 89"/>
              <a:gd name="T38" fmla="*/ 93807 w 55"/>
              <a:gd name="T39" fmla="*/ 280934 h 89"/>
              <a:gd name="T40" fmla="*/ 90055 w 55"/>
              <a:gd name="T41" fmla="*/ 280934 h 89"/>
              <a:gd name="T42" fmla="*/ 63789 w 55"/>
              <a:gd name="T43" fmla="*/ 235985 h 89"/>
              <a:gd name="T44" fmla="*/ 105064 w 55"/>
              <a:gd name="T45" fmla="*/ 183544 h 89"/>
              <a:gd name="T46" fmla="*/ 135082 w 55"/>
              <a:gd name="T47" fmla="*/ 168560 h 89"/>
              <a:gd name="T48" fmla="*/ 135082 w 55"/>
              <a:gd name="T49" fmla="*/ 228493 h 89"/>
              <a:gd name="T50" fmla="*/ 131330 w 55"/>
              <a:gd name="T51" fmla="*/ 228493 h 89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55" h="89">
                <a:moveTo>
                  <a:pt x="18" y="28"/>
                </a:moveTo>
                <a:cubicBezTo>
                  <a:pt x="18" y="26"/>
                  <a:pt x="18" y="26"/>
                  <a:pt x="18" y="26"/>
                </a:cubicBezTo>
                <a:cubicBezTo>
                  <a:pt x="18" y="19"/>
                  <a:pt x="21" y="15"/>
                  <a:pt x="27" y="15"/>
                </a:cubicBezTo>
                <a:cubicBezTo>
                  <a:pt x="32" y="15"/>
                  <a:pt x="35" y="19"/>
                  <a:pt x="35" y="25"/>
                </a:cubicBezTo>
                <a:cubicBezTo>
                  <a:pt x="36" y="30"/>
                  <a:pt x="33" y="34"/>
                  <a:pt x="28" y="35"/>
                </a:cubicBezTo>
                <a:cubicBezTo>
                  <a:pt x="18" y="38"/>
                  <a:pt x="18" y="38"/>
                  <a:pt x="18" y="38"/>
                </a:cubicBezTo>
                <a:cubicBezTo>
                  <a:pt x="5" y="42"/>
                  <a:pt x="0" y="49"/>
                  <a:pt x="0" y="65"/>
                </a:cubicBezTo>
                <a:cubicBezTo>
                  <a:pt x="0" y="76"/>
                  <a:pt x="4" y="89"/>
                  <a:pt x="17" y="89"/>
                </a:cubicBezTo>
                <a:cubicBezTo>
                  <a:pt x="26" y="89"/>
                  <a:pt x="31" y="87"/>
                  <a:pt x="35" y="78"/>
                </a:cubicBezTo>
                <a:cubicBezTo>
                  <a:pt x="35" y="78"/>
                  <a:pt x="35" y="78"/>
                  <a:pt x="35" y="78"/>
                </a:cubicBezTo>
                <a:cubicBezTo>
                  <a:pt x="36" y="81"/>
                  <a:pt x="37" y="84"/>
                  <a:pt x="38" y="87"/>
                </a:cubicBezTo>
                <a:cubicBezTo>
                  <a:pt x="55" y="87"/>
                  <a:pt x="55" y="87"/>
                  <a:pt x="55" y="87"/>
                </a:cubicBezTo>
                <a:cubicBezTo>
                  <a:pt x="53" y="82"/>
                  <a:pt x="53" y="76"/>
                  <a:pt x="53" y="71"/>
                </a:cubicBezTo>
                <a:cubicBezTo>
                  <a:pt x="53" y="26"/>
                  <a:pt x="53" y="26"/>
                  <a:pt x="53" y="26"/>
                </a:cubicBezTo>
                <a:cubicBezTo>
                  <a:pt x="53" y="11"/>
                  <a:pt x="49" y="0"/>
                  <a:pt x="27" y="0"/>
                </a:cubicBezTo>
                <a:cubicBezTo>
                  <a:pt x="13" y="0"/>
                  <a:pt x="2" y="6"/>
                  <a:pt x="2" y="26"/>
                </a:cubicBezTo>
                <a:cubicBezTo>
                  <a:pt x="2" y="28"/>
                  <a:pt x="2" y="28"/>
                  <a:pt x="2" y="28"/>
                </a:cubicBezTo>
                <a:lnTo>
                  <a:pt x="18" y="28"/>
                </a:lnTo>
                <a:close/>
                <a:moveTo>
                  <a:pt x="35" y="61"/>
                </a:moveTo>
                <a:cubicBezTo>
                  <a:pt x="36" y="68"/>
                  <a:pt x="31" y="74"/>
                  <a:pt x="25" y="75"/>
                </a:cubicBezTo>
                <a:cubicBezTo>
                  <a:pt x="24" y="75"/>
                  <a:pt x="24" y="75"/>
                  <a:pt x="24" y="75"/>
                </a:cubicBezTo>
                <a:cubicBezTo>
                  <a:pt x="19" y="75"/>
                  <a:pt x="17" y="69"/>
                  <a:pt x="17" y="63"/>
                </a:cubicBezTo>
                <a:cubicBezTo>
                  <a:pt x="16" y="56"/>
                  <a:pt x="21" y="50"/>
                  <a:pt x="28" y="49"/>
                </a:cubicBezTo>
                <a:cubicBezTo>
                  <a:pt x="30" y="48"/>
                  <a:pt x="33" y="46"/>
                  <a:pt x="36" y="45"/>
                </a:cubicBezTo>
                <a:cubicBezTo>
                  <a:pt x="36" y="61"/>
                  <a:pt x="36" y="61"/>
                  <a:pt x="36" y="61"/>
                </a:cubicBezTo>
                <a:lnTo>
                  <a:pt x="35" y="61"/>
                </a:lnTo>
                <a:close/>
              </a:path>
            </a:pathLst>
          </a:custGeom>
          <a:solidFill>
            <a:srgbClr val="007CB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800" noProof="0" dirty="0"/>
          </a:p>
        </p:txBody>
      </p:sp>
      <p:sp>
        <p:nvSpPr>
          <p:cNvPr id="15" name="Freeform 12">
            <a:extLst>
              <a:ext uri="{FF2B5EF4-FFF2-40B4-BE49-F238E27FC236}">
                <a16:creationId xmlns:a16="http://schemas.microsoft.com/office/drawing/2014/main" id="{95801FC4-404B-4073-81FD-2C519E5B18A0}"/>
              </a:ext>
            </a:extLst>
          </p:cNvPr>
          <p:cNvSpPr>
            <a:spLocks noEditPoints="1"/>
          </p:cNvSpPr>
          <p:nvPr userDrawn="1"/>
        </p:nvSpPr>
        <p:spPr bwMode="gray">
          <a:xfrm>
            <a:off x="10961703" y="944838"/>
            <a:ext cx="177044" cy="368204"/>
          </a:xfrm>
          <a:custGeom>
            <a:avLst/>
            <a:gdLst>
              <a:gd name="T0" fmla="*/ 71636 w 56"/>
              <a:gd name="T1" fmla="*/ 168965 h 115"/>
              <a:gd name="T2" fmla="*/ 105569 w 56"/>
              <a:gd name="T3" fmla="*/ 63831 h 115"/>
              <a:gd name="T4" fmla="*/ 143272 w 56"/>
              <a:gd name="T5" fmla="*/ 168965 h 115"/>
              <a:gd name="T6" fmla="*/ 105569 w 56"/>
              <a:gd name="T7" fmla="*/ 274099 h 115"/>
              <a:gd name="T8" fmla="*/ 71636 w 56"/>
              <a:gd name="T9" fmla="*/ 168965 h 115"/>
              <a:gd name="T10" fmla="*/ 0 w 56"/>
              <a:gd name="T11" fmla="*/ 431800 h 115"/>
              <a:gd name="T12" fmla="*/ 71636 w 56"/>
              <a:gd name="T13" fmla="*/ 431800 h 115"/>
              <a:gd name="T14" fmla="*/ 71636 w 56"/>
              <a:gd name="T15" fmla="*/ 296628 h 115"/>
              <a:gd name="T16" fmla="*/ 71636 w 56"/>
              <a:gd name="T17" fmla="*/ 296628 h 115"/>
              <a:gd name="T18" fmla="*/ 128191 w 56"/>
              <a:gd name="T19" fmla="*/ 334176 h 115"/>
              <a:gd name="T20" fmla="*/ 211138 w 56"/>
              <a:gd name="T21" fmla="*/ 168965 h 115"/>
              <a:gd name="T22" fmla="*/ 128191 w 56"/>
              <a:gd name="T23" fmla="*/ 0 h 115"/>
              <a:gd name="T24" fmla="*/ 67866 w 56"/>
              <a:gd name="T25" fmla="*/ 41303 h 115"/>
              <a:gd name="T26" fmla="*/ 67866 w 56"/>
              <a:gd name="T27" fmla="*/ 41303 h 115"/>
              <a:gd name="T28" fmla="*/ 67866 w 56"/>
              <a:gd name="T29" fmla="*/ 7510 h 115"/>
              <a:gd name="T30" fmla="*/ 0 w 56"/>
              <a:gd name="T31" fmla="*/ 7510 h 115"/>
              <a:gd name="T32" fmla="*/ 0 w 56"/>
              <a:gd name="T33" fmla="*/ 431800 h 115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56" h="115">
                <a:moveTo>
                  <a:pt x="19" y="45"/>
                </a:moveTo>
                <a:cubicBezTo>
                  <a:pt x="19" y="26"/>
                  <a:pt x="20" y="17"/>
                  <a:pt x="28" y="17"/>
                </a:cubicBezTo>
                <a:cubicBezTo>
                  <a:pt x="37" y="17"/>
                  <a:pt x="38" y="26"/>
                  <a:pt x="38" y="45"/>
                </a:cubicBezTo>
                <a:cubicBezTo>
                  <a:pt x="38" y="63"/>
                  <a:pt x="36" y="73"/>
                  <a:pt x="28" y="73"/>
                </a:cubicBezTo>
                <a:cubicBezTo>
                  <a:pt x="20" y="73"/>
                  <a:pt x="19" y="63"/>
                  <a:pt x="19" y="45"/>
                </a:cubicBezTo>
                <a:close/>
                <a:moveTo>
                  <a:pt x="0" y="115"/>
                </a:moveTo>
                <a:cubicBezTo>
                  <a:pt x="19" y="115"/>
                  <a:pt x="19" y="115"/>
                  <a:pt x="19" y="115"/>
                </a:cubicBezTo>
                <a:cubicBezTo>
                  <a:pt x="19" y="79"/>
                  <a:pt x="19" y="79"/>
                  <a:pt x="19" y="79"/>
                </a:cubicBezTo>
                <a:cubicBezTo>
                  <a:pt x="19" y="79"/>
                  <a:pt x="19" y="79"/>
                  <a:pt x="19" y="79"/>
                </a:cubicBezTo>
                <a:cubicBezTo>
                  <a:pt x="22" y="85"/>
                  <a:pt x="28" y="89"/>
                  <a:pt x="34" y="89"/>
                </a:cubicBezTo>
                <a:cubicBezTo>
                  <a:pt x="49" y="89"/>
                  <a:pt x="56" y="76"/>
                  <a:pt x="56" y="45"/>
                </a:cubicBezTo>
                <a:cubicBezTo>
                  <a:pt x="56" y="13"/>
                  <a:pt x="49" y="0"/>
                  <a:pt x="34" y="0"/>
                </a:cubicBezTo>
                <a:cubicBezTo>
                  <a:pt x="27" y="0"/>
                  <a:pt x="22" y="3"/>
                  <a:pt x="18" y="11"/>
                </a:cubicBezTo>
                <a:cubicBezTo>
                  <a:pt x="18" y="11"/>
                  <a:pt x="18" y="11"/>
                  <a:pt x="18" y="11"/>
                </a:cubicBezTo>
                <a:cubicBezTo>
                  <a:pt x="18" y="2"/>
                  <a:pt x="18" y="2"/>
                  <a:pt x="18" y="2"/>
                </a:cubicBezTo>
                <a:cubicBezTo>
                  <a:pt x="0" y="2"/>
                  <a:pt x="0" y="2"/>
                  <a:pt x="0" y="2"/>
                </a:cubicBezTo>
                <a:cubicBezTo>
                  <a:pt x="0" y="115"/>
                  <a:pt x="0" y="115"/>
                  <a:pt x="0" y="115"/>
                </a:cubicBezTo>
                <a:close/>
              </a:path>
            </a:pathLst>
          </a:custGeom>
          <a:solidFill>
            <a:srgbClr val="007CB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800" noProof="0" dirty="0"/>
          </a:p>
        </p:txBody>
      </p:sp>
      <p:sp>
        <p:nvSpPr>
          <p:cNvPr id="16" name="Freeform 13">
            <a:extLst>
              <a:ext uri="{FF2B5EF4-FFF2-40B4-BE49-F238E27FC236}">
                <a16:creationId xmlns:a16="http://schemas.microsoft.com/office/drawing/2014/main" id="{51E9CE5E-B7BA-4F57-A711-5EC8A1C8E6F8}"/>
              </a:ext>
            </a:extLst>
          </p:cNvPr>
          <p:cNvSpPr>
            <a:spLocks/>
          </p:cNvSpPr>
          <p:nvPr userDrawn="1"/>
        </p:nvSpPr>
        <p:spPr bwMode="gray">
          <a:xfrm>
            <a:off x="11154721" y="944839"/>
            <a:ext cx="166395" cy="284275"/>
          </a:xfrm>
          <a:custGeom>
            <a:avLst/>
            <a:gdLst>
              <a:gd name="T0" fmla="*/ 0 w 53"/>
              <a:gd name="T1" fmla="*/ 221001 h 89"/>
              <a:gd name="T2" fmla="*/ 0 w 53"/>
              <a:gd name="T3" fmla="*/ 232239 h 89"/>
              <a:gd name="T4" fmla="*/ 101091 w 53"/>
              <a:gd name="T5" fmla="*/ 333375 h 89"/>
              <a:gd name="T6" fmla="*/ 198438 w 53"/>
              <a:gd name="T7" fmla="*/ 235985 h 89"/>
              <a:gd name="T8" fmla="*/ 138532 w 53"/>
              <a:gd name="T9" fmla="*/ 142340 h 89"/>
              <a:gd name="T10" fmla="*/ 97347 w 53"/>
              <a:gd name="T11" fmla="*/ 127357 h 89"/>
              <a:gd name="T12" fmla="*/ 67394 w 53"/>
              <a:gd name="T13" fmla="*/ 89899 h 89"/>
              <a:gd name="T14" fmla="*/ 97347 w 53"/>
              <a:gd name="T15" fmla="*/ 56187 h 89"/>
              <a:gd name="T16" fmla="*/ 101091 w 53"/>
              <a:gd name="T17" fmla="*/ 56187 h 89"/>
              <a:gd name="T18" fmla="*/ 131044 w 53"/>
              <a:gd name="T19" fmla="*/ 104882 h 89"/>
              <a:gd name="T20" fmla="*/ 190950 w 53"/>
              <a:gd name="T21" fmla="*/ 104882 h 89"/>
              <a:gd name="T22" fmla="*/ 190950 w 53"/>
              <a:gd name="T23" fmla="*/ 89899 h 89"/>
              <a:gd name="T24" fmla="*/ 101091 w 53"/>
              <a:gd name="T25" fmla="*/ 0 h 89"/>
              <a:gd name="T26" fmla="*/ 3744 w 53"/>
              <a:gd name="T27" fmla="*/ 93645 h 89"/>
              <a:gd name="T28" fmla="*/ 59906 w 53"/>
              <a:gd name="T29" fmla="*/ 183544 h 89"/>
              <a:gd name="T30" fmla="*/ 108579 w 53"/>
              <a:gd name="T31" fmla="*/ 206018 h 89"/>
              <a:gd name="T32" fmla="*/ 134788 w 53"/>
              <a:gd name="T33" fmla="*/ 239730 h 89"/>
              <a:gd name="T34" fmla="*/ 97347 w 53"/>
              <a:gd name="T35" fmla="*/ 280934 h 89"/>
              <a:gd name="T36" fmla="*/ 63650 w 53"/>
              <a:gd name="T37" fmla="*/ 232239 h 89"/>
              <a:gd name="T38" fmla="*/ 63650 w 53"/>
              <a:gd name="T39" fmla="*/ 221001 h 89"/>
              <a:gd name="T40" fmla="*/ 0 w 53"/>
              <a:gd name="T41" fmla="*/ 221001 h 89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53" h="89">
                <a:moveTo>
                  <a:pt x="0" y="59"/>
                </a:moveTo>
                <a:cubicBezTo>
                  <a:pt x="0" y="62"/>
                  <a:pt x="0" y="62"/>
                  <a:pt x="0" y="62"/>
                </a:cubicBezTo>
                <a:cubicBezTo>
                  <a:pt x="0" y="79"/>
                  <a:pt x="6" y="89"/>
                  <a:pt x="27" y="89"/>
                </a:cubicBezTo>
                <a:cubicBezTo>
                  <a:pt x="42" y="89"/>
                  <a:pt x="53" y="81"/>
                  <a:pt x="53" y="63"/>
                </a:cubicBezTo>
                <a:cubicBezTo>
                  <a:pt x="53" y="50"/>
                  <a:pt x="49" y="43"/>
                  <a:pt x="37" y="38"/>
                </a:cubicBezTo>
                <a:cubicBezTo>
                  <a:pt x="26" y="34"/>
                  <a:pt x="26" y="34"/>
                  <a:pt x="26" y="34"/>
                </a:cubicBezTo>
                <a:cubicBezTo>
                  <a:pt x="20" y="31"/>
                  <a:pt x="18" y="28"/>
                  <a:pt x="18" y="24"/>
                </a:cubicBezTo>
                <a:cubicBezTo>
                  <a:pt x="18" y="19"/>
                  <a:pt x="21" y="15"/>
                  <a:pt x="26" y="15"/>
                </a:cubicBezTo>
                <a:cubicBezTo>
                  <a:pt x="26" y="15"/>
                  <a:pt x="27" y="15"/>
                  <a:pt x="27" y="15"/>
                </a:cubicBezTo>
                <a:cubicBezTo>
                  <a:pt x="33" y="15"/>
                  <a:pt x="35" y="19"/>
                  <a:pt x="35" y="28"/>
                </a:cubicBezTo>
                <a:cubicBezTo>
                  <a:pt x="51" y="28"/>
                  <a:pt x="51" y="28"/>
                  <a:pt x="51" y="28"/>
                </a:cubicBezTo>
                <a:cubicBezTo>
                  <a:pt x="51" y="24"/>
                  <a:pt x="51" y="24"/>
                  <a:pt x="51" y="24"/>
                </a:cubicBezTo>
                <a:cubicBezTo>
                  <a:pt x="51" y="9"/>
                  <a:pt x="43" y="0"/>
                  <a:pt x="27" y="0"/>
                </a:cubicBezTo>
                <a:cubicBezTo>
                  <a:pt x="8" y="0"/>
                  <a:pt x="1" y="11"/>
                  <a:pt x="1" y="25"/>
                </a:cubicBezTo>
                <a:cubicBezTo>
                  <a:pt x="0" y="36"/>
                  <a:pt x="6" y="46"/>
                  <a:pt x="16" y="49"/>
                </a:cubicBezTo>
                <a:cubicBezTo>
                  <a:pt x="29" y="55"/>
                  <a:pt x="29" y="55"/>
                  <a:pt x="29" y="55"/>
                </a:cubicBezTo>
                <a:cubicBezTo>
                  <a:pt x="33" y="56"/>
                  <a:pt x="36" y="60"/>
                  <a:pt x="36" y="64"/>
                </a:cubicBezTo>
                <a:cubicBezTo>
                  <a:pt x="36" y="71"/>
                  <a:pt x="32" y="75"/>
                  <a:pt x="26" y="75"/>
                </a:cubicBezTo>
                <a:cubicBezTo>
                  <a:pt x="20" y="75"/>
                  <a:pt x="17" y="70"/>
                  <a:pt x="17" y="62"/>
                </a:cubicBezTo>
                <a:cubicBezTo>
                  <a:pt x="17" y="59"/>
                  <a:pt x="17" y="59"/>
                  <a:pt x="17" y="59"/>
                </a:cubicBezTo>
                <a:lnTo>
                  <a:pt x="0" y="59"/>
                </a:lnTo>
                <a:close/>
              </a:path>
            </a:pathLst>
          </a:custGeom>
          <a:solidFill>
            <a:srgbClr val="007CB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800" noProof="0" dirty="0"/>
          </a:p>
        </p:txBody>
      </p:sp>
      <p:sp>
        <p:nvSpPr>
          <p:cNvPr id="17" name="Freeform 14">
            <a:extLst>
              <a:ext uri="{FF2B5EF4-FFF2-40B4-BE49-F238E27FC236}">
                <a16:creationId xmlns:a16="http://schemas.microsoft.com/office/drawing/2014/main" id="{BED4F034-77EC-4EA3-81BF-574B85B039DF}"/>
              </a:ext>
            </a:extLst>
          </p:cNvPr>
          <p:cNvSpPr>
            <a:spLocks/>
          </p:cNvSpPr>
          <p:nvPr userDrawn="1"/>
        </p:nvSpPr>
        <p:spPr bwMode="gray">
          <a:xfrm>
            <a:off x="11323777" y="874446"/>
            <a:ext cx="122466" cy="351960"/>
          </a:xfrm>
          <a:custGeom>
            <a:avLst/>
            <a:gdLst>
              <a:gd name="T0" fmla="*/ 37449 w 39"/>
              <a:gd name="T1" fmla="*/ 90055 h 110"/>
              <a:gd name="T2" fmla="*/ 0 w 39"/>
              <a:gd name="T3" fmla="*/ 90055 h 110"/>
              <a:gd name="T4" fmla="*/ 0 w 39"/>
              <a:gd name="T5" fmla="*/ 146339 h 110"/>
              <a:gd name="T6" fmla="*/ 37449 w 39"/>
              <a:gd name="T7" fmla="*/ 146339 h 110"/>
              <a:gd name="T8" fmla="*/ 37449 w 39"/>
              <a:gd name="T9" fmla="*/ 330200 h 110"/>
              <a:gd name="T10" fmla="*/ 101112 w 39"/>
              <a:gd name="T11" fmla="*/ 412750 h 110"/>
              <a:gd name="T12" fmla="*/ 146050 w 39"/>
              <a:gd name="T13" fmla="*/ 408998 h 110"/>
              <a:gd name="T14" fmla="*/ 146050 w 39"/>
              <a:gd name="T15" fmla="*/ 352714 h 110"/>
              <a:gd name="T16" fmla="*/ 131071 w 39"/>
              <a:gd name="T17" fmla="*/ 352714 h 110"/>
              <a:gd name="T18" fmla="*/ 104856 w 39"/>
              <a:gd name="T19" fmla="*/ 318943 h 110"/>
              <a:gd name="T20" fmla="*/ 104856 w 39"/>
              <a:gd name="T21" fmla="*/ 146339 h 110"/>
              <a:gd name="T22" fmla="*/ 146050 w 39"/>
              <a:gd name="T23" fmla="*/ 146339 h 110"/>
              <a:gd name="T24" fmla="*/ 146050 w 39"/>
              <a:gd name="T25" fmla="*/ 90055 h 110"/>
              <a:gd name="T26" fmla="*/ 104856 w 39"/>
              <a:gd name="T27" fmla="*/ 90055 h 110"/>
              <a:gd name="T28" fmla="*/ 104856 w 39"/>
              <a:gd name="T29" fmla="*/ 0 h 110"/>
              <a:gd name="T30" fmla="*/ 37449 w 39"/>
              <a:gd name="T31" fmla="*/ 0 h 110"/>
              <a:gd name="T32" fmla="*/ 37449 w 39"/>
              <a:gd name="T33" fmla="*/ 90055 h 110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39" h="110">
                <a:moveTo>
                  <a:pt x="10" y="24"/>
                </a:moveTo>
                <a:cubicBezTo>
                  <a:pt x="0" y="24"/>
                  <a:pt x="0" y="24"/>
                  <a:pt x="0" y="24"/>
                </a:cubicBezTo>
                <a:cubicBezTo>
                  <a:pt x="0" y="39"/>
                  <a:pt x="0" y="39"/>
                  <a:pt x="0" y="39"/>
                </a:cubicBezTo>
                <a:cubicBezTo>
                  <a:pt x="10" y="39"/>
                  <a:pt x="10" y="39"/>
                  <a:pt x="10" y="39"/>
                </a:cubicBezTo>
                <a:cubicBezTo>
                  <a:pt x="10" y="88"/>
                  <a:pt x="10" y="88"/>
                  <a:pt x="10" y="88"/>
                </a:cubicBezTo>
                <a:cubicBezTo>
                  <a:pt x="10" y="105"/>
                  <a:pt x="12" y="110"/>
                  <a:pt x="27" y="110"/>
                </a:cubicBezTo>
                <a:cubicBezTo>
                  <a:pt x="31" y="110"/>
                  <a:pt x="35" y="110"/>
                  <a:pt x="39" y="109"/>
                </a:cubicBezTo>
                <a:cubicBezTo>
                  <a:pt x="39" y="94"/>
                  <a:pt x="39" y="94"/>
                  <a:pt x="39" y="94"/>
                </a:cubicBezTo>
                <a:cubicBezTo>
                  <a:pt x="37" y="94"/>
                  <a:pt x="36" y="94"/>
                  <a:pt x="35" y="94"/>
                </a:cubicBezTo>
                <a:cubicBezTo>
                  <a:pt x="29" y="94"/>
                  <a:pt x="28" y="92"/>
                  <a:pt x="28" y="85"/>
                </a:cubicBezTo>
                <a:cubicBezTo>
                  <a:pt x="28" y="39"/>
                  <a:pt x="28" y="39"/>
                  <a:pt x="28" y="39"/>
                </a:cubicBezTo>
                <a:cubicBezTo>
                  <a:pt x="39" y="39"/>
                  <a:pt x="39" y="39"/>
                  <a:pt x="39" y="39"/>
                </a:cubicBezTo>
                <a:cubicBezTo>
                  <a:pt x="39" y="24"/>
                  <a:pt x="39" y="24"/>
                  <a:pt x="39" y="24"/>
                </a:cubicBezTo>
                <a:cubicBezTo>
                  <a:pt x="28" y="24"/>
                  <a:pt x="28" y="24"/>
                  <a:pt x="28" y="24"/>
                </a:cubicBezTo>
                <a:cubicBezTo>
                  <a:pt x="28" y="0"/>
                  <a:pt x="28" y="0"/>
                  <a:pt x="28" y="0"/>
                </a:cubicBezTo>
                <a:cubicBezTo>
                  <a:pt x="10" y="0"/>
                  <a:pt x="10" y="0"/>
                  <a:pt x="10" y="0"/>
                </a:cubicBezTo>
                <a:cubicBezTo>
                  <a:pt x="10" y="24"/>
                  <a:pt x="10" y="24"/>
                  <a:pt x="10" y="24"/>
                </a:cubicBezTo>
                <a:close/>
              </a:path>
            </a:pathLst>
          </a:custGeom>
          <a:solidFill>
            <a:srgbClr val="007CB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800" noProof="0" dirty="0"/>
          </a:p>
        </p:txBody>
      </p:sp>
      <p:sp>
        <p:nvSpPr>
          <p:cNvPr id="18" name="Rectangle 15">
            <a:extLst>
              <a:ext uri="{FF2B5EF4-FFF2-40B4-BE49-F238E27FC236}">
                <a16:creationId xmlns:a16="http://schemas.microsoft.com/office/drawing/2014/main" id="{77BDBCF5-6910-4561-8C8D-681424214559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9396266" y="1763822"/>
            <a:ext cx="2497245" cy="453486"/>
          </a:xfrm>
          <a:prstGeom prst="rect">
            <a:avLst/>
          </a:prstGeom>
          <a:solidFill>
            <a:srgbClr val="007CB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endParaRPr lang="en-US" altLang="de-DE" sz="1800" noProof="0" dirty="0"/>
          </a:p>
        </p:txBody>
      </p:sp>
      <p:sp>
        <p:nvSpPr>
          <p:cNvPr id="19" name="Freeform 16">
            <a:extLst>
              <a:ext uri="{FF2B5EF4-FFF2-40B4-BE49-F238E27FC236}">
                <a16:creationId xmlns:a16="http://schemas.microsoft.com/office/drawing/2014/main" id="{68A0AD9F-091A-4FFE-8928-7E1A6E121F7F}"/>
              </a:ext>
            </a:extLst>
          </p:cNvPr>
          <p:cNvSpPr>
            <a:spLocks/>
          </p:cNvSpPr>
          <p:nvPr userDrawn="1"/>
        </p:nvSpPr>
        <p:spPr bwMode="gray">
          <a:xfrm>
            <a:off x="9858178" y="1930326"/>
            <a:ext cx="63895" cy="108295"/>
          </a:xfrm>
          <a:custGeom>
            <a:avLst/>
            <a:gdLst>
              <a:gd name="T0" fmla="*/ 76200 w 20"/>
              <a:gd name="T1" fmla="*/ 127000 h 34"/>
              <a:gd name="T2" fmla="*/ 64770 w 20"/>
              <a:gd name="T3" fmla="*/ 127000 h 34"/>
              <a:gd name="T4" fmla="*/ 53340 w 20"/>
              <a:gd name="T5" fmla="*/ 127000 h 34"/>
              <a:gd name="T6" fmla="*/ 34290 w 20"/>
              <a:gd name="T7" fmla="*/ 123265 h 34"/>
              <a:gd name="T8" fmla="*/ 22860 w 20"/>
              <a:gd name="T9" fmla="*/ 112059 h 34"/>
              <a:gd name="T10" fmla="*/ 19050 w 20"/>
              <a:gd name="T11" fmla="*/ 97118 h 34"/>
              <a:gd name="T12" fmla="*/ 19050 w 20"/>
              <a:gd name="T13" fmla="*/ 44824 h 34"/>
              <a:gd name="T14" fmla="*/ 0 w 20"/>
              <a:gd name="T15" fmla="*/ 44824 h 34"/>
              <a:gd name="T16" fmla="*/ 0 w 20"/>
              <a:gd name="T17" fmla="*/ 26147 h 34"/>
              <a:gd name="T18" fmla="*/ 19050 w 20"/>
              <a:gd name="T19" fmla="*/ 26147 h 34"/>
              <a:gd name="T20" fmla="*/ 19050 w 20"/>
              <a:gd name="T21" fmla="*/ 0 h 34"/>
              <a:gd name="T22" fmla="*/ 41910 w 20"/>
              <a:gd name="T23" fmla="*/ 0 h 34"/>
              <a:gd name="T24" fmla="*/ 41910 w 20"/>
              <a:gd name="T25" fmla="*/ 26147 h 34"/>
              <a:gd name="T26" fmla="*/ 72390 w 20"/>
              <a:gd name="T27" fmla="*/ 26147 h 34"/>
              <a:gd name="T28" fmla="*/ 72390 w 20"/>
              <a:gd name="T29" fmla="*/ 44824 h 34"/>
              <a:gd name="T30" fmla="*/ 41910 w 20"/>
              <a:gd name="T31" fmla="*/ 44824 h 34"/>
              <a:gd name="T32" fmla="*/ 41910 w 20"/>
              <a:gd name="T33" fmla="*/ 93382 h 34"/>
              <a:gd name="T34" fmla="*/ 45720 w 20"/>
              <a:gd name="T35" fmla="*/ 100853 h 34"/>
              <a:gd name="T36" fmla="*/ 57150 w 20"/>
              <a:gd name="T37" fmla="*/ 108324 h 34"/>
              <a:gd name="T38" fmla="*/ 64770 w 20"/>
              <a:gd name="T39" fmla="*/ 108324 h 34"/>
              <a:gd name="T40" fmla="*/ 72390 w 20"/>
              <a:gd name="T41" fmla="*/ 104588 h 34"/>
              <a:gd name="T42" fmla="*/ 76200 w 20"/>
              <a:gd name="T43" fmla="*/ 127000 h 34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20" h="34">
                <a:moveTo>
                  <a:pt x="20" y="34"/>
                </a:moveTo>
                <a:cubicBezTo>
                  <a:pt x="19" y="34"/>
                  <a:pt x="18" y="34"/>
                  <a:pt x="17" y="34"/>
                </a:cubicBezTo>
                <a:cubicBezTo>
                  <a:pt x="16" y="34"/>
                  <a:pt x="15" y="34"/>
                  <a:pt x="14" y="34"/>
                </a:cubicBezTo>
                <a:cubicBezTo>
                  <a:pt x="12" y="34"/>
                  <a:pt x="10" y="34"/>
                  <a:pt x="9" y="33"/>
                </a:cubicBezTo>
                <a:cubicBezTo>
                  <a:pt x="7" y="32"/>
                  <a:pt x="6" y="31"/>
                  <a:pt x="6" y="30"/>
                </a:cubicBezTo>
                <a:cubicBezTo>
                  <a:pt x="5" y="29"/>
                  <a:pt x="5" y="27"/>
                  <a:pt x="5" y="26"/>
                </a:cubicBezTo>
                <a:cubicBezTo>
                  <a:pt x="5" y="12"/>
                  <a:pt x="5" y="12"/>
                  <a:pt x="5" y="12"/>
                </a:cubicBezTo>
                <a:cubicBezTo>
                  <a:pt x="0" y="12"/>
                  <a:pt x="0" y="12"/>
                  <a:pt x="0" y="12"/>
                </a:cubicBezTo>
                <a:cubicBezTo>
                  <a:pt x="0" y="7"/>
                  <a:pt x="0" y="7"/>
                  <a:pt x="0" y="7"/>
                </a:cubicBezTo>
                <a:cubicBezTo>
                  <a:pt x="5" y="7"/>
                  <a:pt x="5" y="7"/>
                  <a:pt x="5" y="7"/>
                </a:cubicBezTo>
                <a:cubicBezTo>
                  <a:pt x="5" y="0"/>
                  <a:pt x="5" y="0"/>
                  <a:pt x="5" y="0"/>
                </a:cubicBezTo>
                <a:cubicBezTo>
                  <a:pt x="11" y="0"/>
                  <a:pt x="11" y="0"/>
                  <a:pt x="11" y="0"/>
                </a:cubicBezTo>
                <a:cubicBezTo>
                  <a:pt x="11" y="7"/>
                  <a:pt x="11" y="7"/>
                  <a:pt x="11" y="7"/>
                </a:cubicBezTo>
                <a:cubicBezTo>
                  <a:pt x="19" y="7"/>
                  <a:pt x="19" y="7"/>
                  <a:pt x="19" y="7"/>
                </a:cubicBezTo>
                <a:cubicBezTo>
                  <a:pt x="19" y="12"/>
                  <a:pt x="19" y="12"/>
                  <a:pt x="19" y="12"/>
                </a:cubicBezTo>
                <a:cubicBezTo>
                  <a:pt x="11" y="12"/>
                  <a:pt x="11" y="12"/>
                  <a:pt x="11" y="12"/>
                </a:cubicBezTo>
                <a:cubicBezTo>
                  <a:pt x="11" y="25"/>
                  <a:pt x="11" y="25"/>
                  <a:pt x="11" y="25"/>
                </a:cubicBezTo>
                <a:cubicBezTo>
                  <a:pt x="11" y="26"/>
                  <a:pt x="12" y="27"/>
                  <a:pt x="12" y="27"/>
                </a:cubicBezTo>
                <a:cubicBezTo>
                  <a:pt x="13" y="28"/>
                  <a:pt x="14" y="29"/>
                  <a:pt x="15" y="29"/>
                </a:cubicBezTo>
                <a:cubicBezTo>
                  <a:pt x="16" y="29"/>
                  <a:pt x="17" y="29"/>
                  <a:pt x="17" y="29"/>
                </a:cubicBezTo>
                <a:cubicBezTo>
                  <a:pt x="18" y="28"/>
                  <a:pt x="19" y="28"/>
                  <a:pt x="19" y="28"/>
                </a:cubicBezTo>
                <a:lnTo>
                  <a:pt x="20" y="3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800" noProof="0" dirty="0"/>
          </a:p>
        </p:txBody>
      </p:sp>
      <p:sp>
        <p:nvSpPr>
          <p:cNvPr id="20" name="Freeform 17">
            <a:extLst>
              <a:ext uri="{FF2B5EF4-FFF2-40B4-BE49-F238E27FC236}">
                <a16:creationId xmlns:a16="http://schemas.microsoft.com/office/drawing/2014/main" id="{69F51EE6-6370-4654-A3EB-1763BE04E6DE}"/>
              </a:ext>
            </a:extLst>
          </p:cNvPr>
          <p:cNvSpPr>
            <a:spLocks/>
          </p:cNvSpPr>
          <p:nvPr userDrawn="1"/>
        </p:nvSpPr>
        <p:spPr bwMode="gray">
          <a:xfrm>
            <a:off x="9936714" y="1910021"/>
            <a:ext cx="75876" cy="128600"/>
          </a:xfrm>
          <a:custGeom>
            <a:avLst/>
            <a:gdLst>
              <a:gd name="T0" fmla="*/ 22622 w 24"/>
              <a:gd name="T1" fmla="*/ 41473 h 40"/>
              <a:gd name="T2" fmla="*/ 22622 w 24"/>
              <a:gd name="T3" fmla="*/ 52784 h 40"/>
              <a:gd name="T4" fmla="*/ 22622 w 24"/>
              <a:gd name="T5" fmla="*/ 64095 h 40"/>
              <a:gd name="T6" fmla="*/ 22622 w 24"/>
              <a:gd name="T7" fmla="*/ 64095 h 40"/>
              <a:gd name="T8" fmla="*/ 30163 w 24"/>
              <a:gd name="T9" fmla="*/ 56555 h 40"/>
              <a:gd name="T10" fmla="*/ 37703 w 24"/>
              <a:gd name="T11" fmla="*/ 52784 h 40"/>
              <a:gd name="T12" fmla="*/ 45244 w 24"/>
              <a:gd name="T13" fmla="*/ 49014 h 40"/>
              <a:gd name="T14" fmla="*/ 56555 w 24"/>
              <a:gd name="T15" fmla="*/ 49014 h 40"/>
              <a:gd name="T16" fmla="*/ 64096 w 24"/>
              <a:gd name="T17" fmla="*/ 49014 h 40"/>
              <a:gd name="T18" fmla="*/ 71636 w 24"/>
              <a:gd name="T19" fmla="*/ 52784 h 40"/>
              <a:gd name="T20" fmla="*/ 79177 w 24"/>
              <a:gd name="T21" fmla="*/ 56555 h 40"/>
              <a:gd name="T22" fmla="*/ 86718 w 24"/>
              <a:gd name="T23" fmla="*/ 64095 h 40"/>
              <a:gd name="T24" fmla="*/ 90488 w 24"/>
              <a:gd name="T25" fmla="*/ 75406 h 40"/>
              <a:gd name="T26" fmla="*/ 90488 w 24"/>
              <a:gd name="T27" fmla="*/ 86717 h 40"/>
              <a:gd name="T28" fmla="*/ 90488 w 24"/>
              <a:gd name="T29" fmla="*/ 150812 h 40"/>
              <a:gd name="T30" fmla="*/ 64096 w 24"/>
              <a:gd name="T31" fmla="*/ 150812 h 40"/>
              <a:gd name="T32" fmla="*/ 64096 w 24"/>
              <a:gd name="T33" fmla="*/ 90487 h 40"/>
              <a:gd name="T34" fmla="*/ 64096 w 24"/>
              <a:gd name="T35" fmla="*/ 82947 h 40"/>
              <a:gd name="T36" fmla="*/ 64096 w 24"/>
              <a:gd name="T37" fmla="*/ 75406 h 40"/>
              <a:gd name="T38" fmla="*/ 56555 w 24"/>
              <a:gd name="T39" fmla="*/ 71636 h 40"/>
              <a:gd name="T40" fmla="*/ 49014 w 24"/>
              <a:gd name="T41" fmla="*/ 67865 h 40"/>
              <a:gd name="T42" fmla="*/ 33933 w 24"/>
              <a:gd name="T43" fmla="*/ 71636 h 40"/>
              <a:gd name="T44" fmla="*/ 22622 w 24"/>
              <a:gd name="T45" fmla="*/ 82947 h 40"/>
              <a:gd name="T46" fmla="*/ 22622 w 24"/>
              <a:gd name="T47" fmla="*/ 150812 h 40"/>
              <a:gd name="T48" fmla="*/ 0 w 24"/>
              <a:gd name="T49" fmla="*/ 150812 h 40"/>
              <a:gd name="T50" fmla="*/ 0 w 24"/>
              <a:gd name="T51" fmla="*/ 0 h 40"/>
              <a:gd name="T52" fmla="*/ 22622 w 24"/>
              <a:gd name="T53" fmla="*/ 0 h 40"/>
              <a:gd name="T54" fmla="*/ 22622 w 24"/>
              <a:gd name="T55" fmla="*/ 41473 h 40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4" h="40">
                <a:moveTo>
                  <a:pt x="6" y="11"/>
                </a:moveTo>
                <a:cubicBezTo>
                  <a:pt x="6" y="12"/>
                  <a:pt x="6" y="13"/>
                  <a:pt x="6" y="14"/>
                </a:cubicBezTo>
                <a:cubicBezTo>
                  <a:pt x="6" y="15"/>
                  <a:pt x="6" y="16"/>
                  <a:pt x="6" y="17"/>
                </a:cubicBezTo>
                <a:cubicBezTo>
                  <a:pt x="6" y="17"/>
                  <a:pt x="6" y="17"/>
                  <a:pt x="6" y="17"/>
                </a:cubicBezTo>
                <a:cubicBezTo>
                  <a:pt x="7" y="16"/>
                  <a:pt x="7" y="16"/>
                  <a:pt x="8" y="15"/>
                </a:cubicBezTo>
                <a:cubicBezTo>
                  <a:pt x="8" y="15"/>
                  <a:pt x="9" y="14"/>
                  <a:pt x="10" y="14"/>
                </a:cubicBezTo>
                <a:cubicBezTo>
                  <a:pt x="10" y="14"/>
                  <a:pt x="11" y="13"/>
                  <a:pt x="12" y="13"/>
                </a:cubicBezTo>
                <a:cubicBezTo>
                  <a:pt x="13" y="13"/>
                  <a:pt x="14" y="13"/>
                  <a:pt x="15" y="13"/>
                </a:cubicBezTo>
                <a:cubicBezTo>
                  <a:pt x="15" y="13"/>
                  <a:pt x="16" y="13"/>
                  <a:pt x="17" y="13"/>
                </a:cubicBezTo>
                <a:cubicBezTo>
                  <a:pt x="18" y="13"/>
                  <a:pt x="19" y="13"/>
                  <a:pt x="19" y="14"/>
                </a:cubicBezTo>
                <a:cubicBezTo>
                  <a:pt x="20" y="14"/>
                  <a:pt x="21" y="15"/>
                  <a:pt x="21" y="15"/>
                </a:cubicBezTo>
                <a:cubicBezTo>
                  <a:pt x="22" y="16"/>
                  <a:pt x="22" y="16"/>
                  <a:pt x="23" y="17"/>
                </a:cubicBezTo>
                <a:cubicBezTo>
                  <a:pt x="23" y="18"/>
                  <a:pt x="23" y="19"/>
                  <a:pt x="24" y="20"/>
                </a:cubicBezTo>
                <a:cubicBezTo>
                  <a:pt x="24" y="21"/>
                  <a:pt x="24" y="22"/>
                  <a:pt x="24" y="23"/>
                </a:cubicBezTo>
                <a:cubicBezTo>
                  <a:pt x="24" y="40"/>
                  <a:pt x="24" y="40"/>
                  <a:pt x="24" y="40"/>
                </a:cubicBezTo>
                <a:cubicBezTo>
                  <a:pt x="17" y="40"/>
                  <a:pt x="17" y="40"/>
                  <a:pt x="17" y="40"/>
                </a:cubicBezTo>
                <a:cubicBezTo>
                  <a:pt x="17" y="24"/>
                  <a:pt x="17" y="24"/>
                  <a:pt x="17" y="24"/>
                </a:cubicBezTo>
                <a:cubicBezTo>
                  <a:pt x="17" y="23"/>
                  <a:pt x="17" y="22"/>
                  <a:pt x="17" y="22"/>
                </a:cubicBezTo>
                <a:cubicBezTo>
                  <a:pt x="17" y="21"/>
                  <a:pt x="17" y="21"/>
                  <a:pt x="17" y="20"/>
                </a:cubicBezTo>
                <a:cubicBezTo>
                  <a:pt x="17" y="20"/>
                  <a:pt x="16" y="19"/>
                  <a:pt x="15" y="19"/>
                </a:cubicBezTo>
                <a:cubicBezTo>
                  <a:pt x="14" y="18"/>
                  <a:pt x="14" y="18"/>
                  <a:pt x="13" y="18"/>
                </a:cubicBezTo>
                <a:cubicBezTo>
                  <a:pt x="12" y="18"/>
                  <a:pt x="10" y="18"/>
                  <a:pt x="9" y="19"/>
                </a:cubicBezTo>
                <a:cubicBezTo>
                  <a:pt x="8" y="20"/>
                  <a:pt x="7" y="20"/>
                  <a:pt x="6" y="22"/>
                </a:cubicBezTo>
                <a:cubicBezTo>
                  <a:pt x="6" y="40"/>
                  <a:pt x="6" y="40"/>
                  <a:pt x="6" y="40"/>
                </a:cubicBezTo>
                <a:cubicBezTo>
                  <a:pt x="0" y="40"/>
                  <a:pt x="0" y="40"/>
                  <a:pt x="0" y="40"/>
                </a:cubicBezTo>
                <a:cubicBezTo>
                  <a:pt x="0" y="0"/>
                  <a:pt x="0" y="0"/>
                  <a:pt x="0" y="0"/>
                </a:cubicBezTo>
                <a:cubicBezTo>
                  <a:pt x="6" y="0"/>
                  <a:pt x="6" y="0"/>
                  <a:pt x="6" y="0"/>
                </a:cubicBezTo>
                <a:lnTo>
                  <a:pt x="6" y="1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800" noProof="0" dirty="0"/>
          </a:p>
        </p:txBody>
      </p:sp>
      <p:sp>
        <p:nvSpPr>
          <p:cNvPr id="21" name="Freeform 18">
            <a:extLst>
              <a:ext uri="{FF2B5EF4-FFF2-40B4-BE49-F238E27FC236}">
                <a16:creationId xmlns:a16="http://schemas.microsoft.com/office/drawing/2014/main" id="{D2B6DD1D-979B-4C23-8537-615252B04BAC}"/>
              </a:ext>
            </a:extLst>
          </p:cNvPr>
          <p:cNvSpPr>
            <a:spLocks noEditPoints="1"/>
          </p:cNvSpPr>
          <p:nvPr userDrawn="1"/>
        </p:nvSpPr>
        <p:spPr bwMode="gray">
          <a:xfrm>
            <a:off x="10028564" y="1951985"/>
            <a:ext cx="75876" cy="86636"/>
          </a:xfrm>
          <a:custGeom>
            <a:avLst/>
            <a:gdLst>
              <a:gd name="T0" fmla="*/ 56555 w 24"/>
              <a:gd name="T1" fmla="*/ 82785 h 27"/>
              <a:gd name="T2" fmla="*/ 71636 w 24"/>
              <a:gd name="T3" fmla="*/ 82785 h 27"/>
              <a:gd name="T4" fmla="*/ 86718 w 24"/>
              <a:gd name="T5" fmla="*/ 79022 h 27"/>
              <a:gd name="T6" fmla="*/ 86718 w 24"/>
              <a:gd name="T7" fmla="*/ 97837 h 27"/>
              <a:gd name="T8" fmla="*/ 71636 w 24"/>
              <a:gd name="T9" fmla="*/ 101600 h 27"/>
              <a:gd name="T10" fmla="*/ 52785 w 24"/>
              <a:gd name="T11" fmla="*/ 101600 h 27"/>
              <a:gd name="T12" fmla="*/ 33933 w 24"/>
              <a:gd name="T13" fmla="*/ 101600 h 27"/>
              <a:gd name="T14" fmla="*/ 15081 w 24"/>
              <a:gd name="T15" fmla="*/ 90311 h 27"/>
              <a:gd name="T16" fmla="*/ 3770 w 24"/>
              <a:gd name="T17" fmla="*/ 75259 h 27"/>
              <a:gd name="T18" fmla="*/ 0 w 24"/>
              <a:gd name="T19" fmla="*/ 52681 h 27"/>
              <a:gd name="T20" fmla="*/ 3770 w 24"/>
              <a:gd name="T21" fmla="*/ 30104 h 27"/>
              <a:gd name="T22" fmla="*/ 15081 w 24"/>
              <a:gd name="T23" fmla="*/ 11289 h 27"/>
              <a:gd name="T24" fmla="*/ 30163 w 24"/>
              <a:gd name="T25" fmla="*/ 3763 h 27"/>
              <a:gd name="T26" fmla="*/ 49014 w 24"/>
              <a:gd name="T27" fmla="*/ 0 h 27"/>
              <a:gd name="T28" fmla="*/ 64096 w 24"/>
              <a:gd name="T29" fmla="*/ 3763 h 27"/>
              <a:gd name="T30" fmla="*/ 79177 w 24"/>
              <a:gd name="T31" fmla="*/ 11289 h 27"/>
              <a:gd name="T32" fmla="*/ 86718 w 24"/>
              <a:gd name="T33" fmla="*/ 26341 h 27"/>
              <a:gd name="T34" fmla="*/ 90488 w 24"/>
              <a:gd name="T35" fmla="*/ 48919 h 27"/>
              <a:gd name="T36" fmla="*/ 90488 w 24"/>
              <a:gd name="T37" fmla="*/ 56444 h 27"/>
              <a:gd name="T38" fmla="*/ 26392 w 24"/>
              <a:gd name="T39" fmla="*/ 56444 h 27"/>
              <a:gd name="T40" fmla="*/ 30163 w 24"/>
              <a:gd name="T41" fmla="*/ 67733 h 27"/>
              <a:gd name="T42" fmla="*/ 37703 w 24"/>
              <a:gd name="T43" fmla="*/ 79022 h 27"/>
              <a:gd name="T44" fmla="*/ 45244 w 24"/>
              <a:gd name="T45" fmla="*/ 82785 h 27"/>
              <a:gd name="T46" fmla="*/ 56555 w 24"/>
              <a:gd name="T47" fmla="*/ 82785 h 27"/>
              <a:gd name="T48" fmla="*/ 49014 w 24"/>
              <a:gd name="T49" fmla="*/ 18815 h 27"/>
              <a:gd name="T50" fmla="*/ 37703 w 24"/>
              <a:gd name="T51" fmla="*/ 18815 h 27"/>
              <a:gd name="T52" fmla="*/ 33933 w 24"/>
              <a:gd name="T53" fmla="*/ 22578 h 27"/>
              <a:gd name="T54" fmla="*/ 30163 w 24"/>
              <a:gd name="T55" fmla="*/ 30104 h 27"/>
              <a:gd name="T56" fmla="*/ 26392 w 24"/>
              <a:gd name="T57" fmla="*/ 37630 h 27"/>
              <a:gd name="T58" fmla="*/ 67866 w 24"/>
              <a:gd name="T59" fmla="*/ 37630 h 27"/>
              <a:gd name="T60" fmla="*/ 64096 w 24"/>
              <a:gd name="T61" fmla="*/ 30104 h 27"/>
              <a:gd name="T62" fmla="*/ 60325 w 24"/>
              <a:gd name="T63" fmla="*/ 22578 h 27"/>
              <a:gd name="T64" fmla="*/ 49014 w 24"/>
              <a:gd name="T65" fmla="*/ 18815 h 27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24" h="27">
                <a:moveTo>
                  <a:pt x="15" y="22"/>
                </a:moveTo>
                <a:cubicBezTo>
                  <a:pt x="17" y="22"/>
                  <a:pt x="18" y="22"/>
                  <a:pt x="19" y="22"/>
                </a:cubicBezTo>
                <a:cubicBezTo>
                  <a:pt x="21" y="21"/>
                  <a:pt x="22" y="21"/>
                  <a:pt x="23" y="21"/>
                </a:cubicBezTo>
                <a:cubicBezTo>
                  <a:pt x="23" y="26"/>
                  <a:pt x="23" y="26"/>
                  <a:pt x="23" y="26"/>
                </a:cubicBezTo>
                <a:cubicBezTo>
                  <a:pt x="22" y="26"/>
                  <a:pt x="21" y="27"/>
                  <a:pt x="19" y="27"/>
                </a:cubicBezTo>
                <a:cubicBezTo>
                  <a:pt x="17" y="27"/>
                  <a:pt x="16" y="27"/>
                  <a:pt x="14" y="27"/>
                </a:cubicBezTo>
                <a:cubicBezTo>
                  <a:pt x="12" y="27"/>
                  <a:pt x="10" y="27"/>
                  <a:pt x="9" y="27"/>
                </a:cubicBezTo>
                <a:cubicBezTo>
                  <a:pt x="7" y="26"/>
                  <a:pt x="5" y="25"/>
                  <a:pt x="4" y="24"/>
                </a:cubicBezTo>
                <a:cubicBezTo>
                  <a:pt x="3" y="23"/>
                  <a:pt x="2" y="22"/>
                  <a:pt x="1" y="20"/>
                </a:cubicBezTo>
                <a:cubicBezTo>
                  <a:pt x="0" y="18"/>
                  <a:pt x="0" y="16"/>
                  <a:pt x="0" y="14"/>
                </a:cubicBezTo>
                <a:cubicBezTo>
                  <a:pt x="0" y="12"/>
                  <a:pt x="0" y="10"/>
                  <a:pt x="1" y="8"/>
                </a:cubicBezTo>
                <a:cubicBezTo>
                  <a:pt x="2" y="6"/>
                  <a:pt x="3" y="5"/>
                  <a:pt x="4" y="3"/>
                </a:cubicBezTo>
                <a:cubicBezTo>
                  <a:pt x="5" y="2"/>
                  <a:pt x="6" y="1"/>
                  <a:pt x="8" y="1"/>
                </a:cubicBezTo>
                <a:cubicBezTo>
                  <a:pt x="9" y="0"/>
                  <a:pt x="11" y="0"/>
                  <a:pt x="13" y="0"/>
                </a:cubicBezTo>
                <a:cubicBezTo>
                  <a:pt x="14" y="0"/>
                  <a:pt x="16" y="0"/>
                  <a:pt x="17" y="1"/>
                </a:cubicBezTo>
                <a:cubicBezTo>
                  <a:pt x="19" y="1"/>
                  <a:pt x="20" y="2"/>
                  <a:pt x="21" y="3"/>
                </a:cubicBezTo>
                <a:cubicBezTo>
                  <a:pt x="22" y="4"/>
                  <a:pt x="23" y="5"/>
                  <a:pt x="23" y="7"/>
                </a:cubicBezTo>
                <a:cubicBezTo>
                  <a:pt x="24" y="9"/>
                  <a:pt x="24" y="11"/>
                  <a:pt x="24" y="13"/>
                </a:cubicBezTo>
                <a:cubicBezTo>
                  <a:pt x="24" y="14"/>
                  <a:pt x="24" y="15"/>
                  <a:pt x="24" y="15"/>
                </a:cubicBezTo>
                <a:cubicBezTo>
                  <a:pt x="7" y="15"/>
                  <a:pt x="7" y="15"/>
                  <a:pt x="7" y="15"/>
                </a:cubicBezTo>
                <a:cubicBezTo>
                  <a:pt x="7" y="16"/>
                  <a:pt x="7" y="17"/>
                  <a:pt x="8" y="18"/>
                </a:cubicBezTo>
                <a:cubicBezTo>
                  <a:pt x="8" y="19"/>
                  <a:pt x="9" y="20"/>
                  <a:pt x="10" y="21"/>
                </a:cubicBezTo>
                <a:cubicBezTo>
                  <a:pt x="10" y="21"/>
                  <a:pt x="11" y="21"/>
                  <a:pt x="12" y="22"/>
                </a:cubicBezTo>
                <a:cubicBezTo>
                  <a:pt x="13" y="22"/>
                  <a:pt x="14" y="22"/>
                  <a:pt x="15" y="22"/>
                </a:cubicBezTo>
                <a:close/>
                <a:moveTo>
                  <a:pt x="13" y="5"/>
                </a:moveTo>
                <a:cubicBezTo>
                  <a:pt x="12" y="5"/>
                  <a:pt x="11" y="5"/>
                  <a:pt x="10" y="5"/>
                </a:cubicBezTo>
                <a:cubicBezTo>
                  <a:pt x="10" y="5"/>
                  <a:pt x="9" y="6"/>
                  <a:pt x="9" y="6"/>
                </a:cubicBezTo>
                <a:cubicBezTo>
                  <a:pt x="8" y="7"/>
                  <a:pt x="8" y="7"/>
                  <a:pt x="8" y="8"/>
                </a:cubicBezTo>
                <a:cubicBezTo>
                  <a:pt x="7" y="9"/>
                  <a:pt x="7" y="10"/>
                  <a:pt x="7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10"/>
                  <a:pt x="17" y="9"/>
                  <a:pt x="17" y="8"/>
                </a:cubicBezTo>
                <a:cubicBezTo>
                  <a:pt x="17" y="7"/>
                  <a:pt x="17" y="7"/>
                  <a:pt x="16" y="6"/>
                </a:cubicBezTo>
                <a:cubicBezTo>
                  <a:pt x="15" y="5"/>
                  <a:pt x="14" y="5"/>
                  <a:pt x="13" y="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800" noProof="0" dirty="0"/>
          </a:p>
        </p:txBody>
      </p:sp>
      <p:sp>
        <p:nvSpPr>
          <p:cNvPr id="22" name="Freeform 19">
            <a:extLst>
              <a:ext uri="{FF2B5EF4-FFF2-40B4-BE49-F238E27FC236}">
                <a16:creationId xmlns:a16="http://schemas.microsoft.com/office/drawing/2014/main" id="{BE7E7D6B-DCE4-4A16-9728-023998A0FD59}"/>
              </a:ext>
            </a:extLst>
          </p:cNvPr>
          <p:cNvSpPr>
            <a:spLocks noEditPoints="1"/>
          </p:cNvSpPr>
          <p:nvPr userDrawn="1"/>
        </p:nvSpPr>
        <p:spPr bwMode="gray">
          <a:xfrm>
            <a:off x="10153694" y="1951985"/>
            <a:ext cx="75876" cy="86636"/>
          </a:xfrm>
          <a:custGeom>
            <a:avLst/>
            <a:gdLst>
              <a:gd name="T0" fmla="*/ 56555 w 24"/>
              <a:gd name="T1" fmla="*/ 82785 h 27"/>
              <a:gd name="T2" fmla="*/ 71636 w 24"/>
              <a:gd name="T3" fmla="*/ 82785 h 27"/>
              <a:gd name="T4" fmla="*/ 86718 w 24"/>
              <a:gd name="T5" fmla="*/ 79022 h 27"/>
              <a:gd name="T6" fmla="*/ 86718 w 24"/>
              <a:gd name="T7" fmla="*/ 97837 h 27"/>
              <a:gd name="T8" fmla="*/ 71636 w 24"/>
              <a:gd name="T9" fmla="*/ 101600 h 27"/>
              <a:gd name="T10" fmla="*/ 52785 w 24"/>
              <a:gd name="T11" fmla="*/ 101600 h 27"/>
              <a:gd name="T12" fmla="*/ 33933 w 24"/>
              <a:gd name="T13" fmla="*/ 101600 h 27"/>
              <a:gd name="T14" fmla="*/ 15081 w 24"/>
              <a:gd name="T15" fmla="*/ 90311 h 27"/>
              <a:gd name="T16" fmla="*/ 3770 w 24"/>
              <a:gd name="T17" fmla="*/ 75259 h 27"/>
              <a:gd name="T18" fmla="*/ 0 w 24"/>
              <a:gd name="T19" fmla="*/ 52681 h 27"/>
              <a:gd name="T20" fmla="*/ 3770 w 24"/>
              <a:gd name="T21" fmla="*/ 30104 h 27"/>
              <a:gd name="T22" fmla="*/ 15081 w 24"/>
              <a:gd name="T23" fmla="*/ 11289 h 27"/>
              <a:gd name="T24" fmla="*/ 30163 w 24"/>
              <a:gd name="T25" fmla="*/ 3763 h 27"/>
              <a:gd name="T26" fmla="*/ 49014 w 24"/>
              <a:gd name="T27" fmla="*/ 0 h 27"/>
              <a:gd name="T28" fmla="*/ 64096 w 24"/>
              <a:gd name="T29" fmla="*/ 3763 h 27"/>
              <a:gd name="T30" fmla="*/ 79177 w 24"/>
              <a:gd name="T31" fmla="*/ 11289 h 27"/>
              <a:gd name="T32" fmla="*/ 86718 w 24"/>
              <a:gd name="T33" fmla="*/ 26341 h 27"/>
              <a:gd name="T34" fmla="*/ 90488 w 24"/>
              <a:gd name="T35" fmla="*/ 48919 h 27"/>
              <a:gd name="T36" fmla="*/ 90488 w 24"/>
              <a:gd name="T37" fmla="*/ 56444 h 27"/>
              <a:gd name="T38" fmla="*/ 26392 w 24"/>
              <a:gd name="T39" fmla="*/ 56444 h 27"/>
              <a:gd name="T40" fmla="*/ 30163 w 24"/>
              <a:gd name="T41" fmla="*/ 67733 h 27"/>
              <a:gd name="T42" fmla="*/ 37703 w 24"/>
              <a:gd name="T43" fmla="*/ 79022 h 27"/>
              <a:gd name="T44" fmla="*/ 45244 w 24"/>
              <a:gd name="T45" fmla="*/ 82785 h 27"/>
              <a:gd name="T46" fmla="*/ 56555 w 24"/>
              <a:gd name="T47" fmla="*/ 82785 h 27"/>
              <a:gd name="T48" fmla="*/ 49014 w 24"/>
              <a:gd name="T49" fmla="*/ 18815 h 27"/>
              <a:gd name="T50" fmla="*/ 37703 w 24"/>
              <a:gd name="T51" fmla="*/ 18815 h 27"/>
              <a:gd name="T52" fmla="*/ 33933 w 24"/>
              <a:gd name="T53" fmla="*/ 22578 h 27"/>
              <a:gd name="T54" fmla="*/ 30163 w 24"/>
              <a:gd name="T55" fmla="*/ 30104 h 27"/>
              <a:gd name="T56" fmla="*/ 26392 w 24"/>
              <a:gd name="T57" fmla="*/ 37630 h 27"/>
              <a:gd name="T58" fmla="*/ 67866 w 24"/>
              <a:gd name="T59" fmla="*/ 37630 h 27"/>
              <a:gd name="T60" fmla="*/ 64096 w 24"/>
              <a:gd name="T61" fmla="*/ 30104 h 27"/>
              <a:gd name="T62" fmla="*/ 60325 w 24"/>
              <a:gd name="T63" fmla="*/ 22578 h 27"/>
              <a:gd name="T64" fmla="*/ 49014 w 24"/>
              <a:gd name="T65" fmla="*/ 18815 h 27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24" h="27">
                <a:moveTo>
                  <a:pt x="15" y="22"/>
                </a:moveTo>
                <a:cubicBezTo>
                  <a:pt x="17" y="22"/>
                  <a:pt x="18" y="22"/>
                  <a:pt x="19" y="22"/>
                </a:cubicBezTo>
                <a:cubicBezTo>
                  <a:pt x="21" y="21"/>
                  <a:pt x="22" y="21"/>
                  <a:pt x="23" y="21"/>
                </a:cubicBezTo>
                <a:cubicBezTo>
                  <a:pt x="23" y="26"/>
                  <a:pt x="23" y="26"/>
                  <a:pt x="23" y="26"/>
                </a:cubicBezTo>
                <a:cubicBezTo>
                  <a:pt x="22" y="26"/>
                  <a:pt x="21" y="27"/>
                  <a:pt x="19" y="27"/>
                </a:cubicBezTo>
                <a:cubicBezTo>
                  <a:pt x="17" y="27"/>
                  <a:pt x="16" y="27"/>
                  <a:pt x="14" y="27"/>
                </a:cubicBezTo>
                <a:cubicBezTo>
                  <a:pt x="12" y="27"/>
                  <a:pt x="10" y="27"/>
                  <a:pt x="9" y="27"/>
                </a:cubicBezTo>
                <a:cubicBezTo>
                  <a:pt x="7" y="26"/>
                  <a:pt x="5" y="25"/>
                  <a:pt x="4" y="24"/>
                </a:cubicBezTo>
                <a:cubicBezTo>
                  <a:pt x="3" y="23"/>
                  <a:pt x="2" y="22"/>
                  <a:pt x="1" y="20"/>
                </a:cubicBezTo>
                <a:cubicBezTo>
                  <a:pt x="0" y="18"/>
                  <a:pt x="0" y="16"/>
                  <a:pt x="0" y="14"/>
                </a:cubicBezTo>
                <a:cubicBezTo>
                  <a:pt x="0" y="12"/>
                  <a:pt x="0" y="10"/>
                  <a:pt x="1" y="8"/>
                </a:cubicBezTo>
                <a:cubicBezTo>
                  <a:pt x="2" y="6"/>
                  <a:pt x="3" y="5"/>
                  <a:pt x="4" y="3"/>
                </a:cubicBezTo>
                <a:cubicBezTo>
                  <a:pt x="5" y="2"/>
                  <a:pt x="6" y="1"/>
                  <a:pt x="8" y="1"/>
                </a:cubicBezTo>
                <a:cubicBezTo>
                  <a:pt x="9" y="0"/>
                  <a:pt x="11" y="0"/>
                  <a:pt x="13" y="0"/>
                </a:cubicBezTo>
                <a:cubicBezTo>
                  <a:pt x="14" y="0"/>
                  <a:pt x="16" y="0"/>
                  <a:pt x="17" y="1"/>
                </a:cubicBezTo>
                <a:cubicBezTo>
                  <a:pt x="19" y="1"/>
                  <a:pt x="20" y="2"/>
                  <a:pt x="21" y="3"/>
                </a:cubicBezTo>
                <a:cubicBezTo>
                  <a:pt x="22" y="4"/>
                  <a:pt x="23" y="5"/>
                  <a:pt x="23" y="7"/>
                </a:cubicBezTo>
                <a:cubicBezTo>
                  <a:pt x="24" y="9"/>
                  <a:pt x="24" y="11"/>
                  <a:pt x="24" y="13"/>
                </a:cubicBezTo>
                <a:cubicBezTo>
                  <a:pt x="24" y="14"/>
                  <a:pt x="24" y="15"/>
                  <a:pt x="24" y="15"/>
                </a:cubicBezTo>
                <a:cubicBezTo>
                  <a:pt x="7" y="15"/>
                  <a:pt x="7" y="15"/>
                  <a:pt x="7" y="15"/>
                </a:cubicBezTo>
                <a:cubicBezTo>
                  <a:pt x="7" y="16"/>
                  <a:pt x="7" y="17"/>
                  <a:pt x="8" y="18"/>
                </a:cubicBezTo>
                <a:cubicBezTo>
                  <a:pt x="8" y="19"/>
                  <a:pt x="9" y="20"/>
                  <a:pt x="10" y="21"/>
                </a:cubicBezTo>
                <a:cubicBezTo>
                  <a:pt x="10" y="21"/>
                  <a:pt x="11" y="21"/>
                  <a:pt x="12" y="22"/>
                </a:cubicBezTo>
                <a:cubicBezTo>
                  <a:pt x="13" y="22"/>
                  <a:pt x="14" y="22"/>
                  <a:pt x="15" y="22"/>
                </a:cubicBezTo>
                <a:close/>
                <a:moveTo>
                  <a:pt x="13" y="5"/>
                </a:moveTo>
                <a:cubicBezTo>
                  <a:pt x="12" y="5"/>
                  <a:pt x="11" y="5"/>
                  <a:pt x="10" y="5"/>
                </a:cubicBezTo>
                <a:cubicBezTo>
                  <a:pt x="10" y="5"/>
                  <a:pt x="9" y="6"/>
                  <a:pt x="9" y="6"/>
                </a:cubicBezTo>
                <a:cubicBezTo>
                  <a:pt x="8" y="7"/>
                  <a:pt x="8" y="7"/>
                  <a:pt x="8" y="8"/>
                </a:cubicBezTo>
                <a:cubicBezTo>
                  <a:pt x="7" y="9"/>
                  <a:pt x="7" y="10"/>
                  <a:pt x="7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10"/>
                  <a:pt x="17" y="9"/>
                  <a:pt x="17" y="8"/>
                </a:cubicBezTo>
                <a:cubicBezTo>
                  <a:pt x="17" y="7"/>
                  <a:pt x="17" y="7"/>
                  <a:pt x="16" y="6"/>
                </a:cubicBezTo>
                <a:cubicBezTo>
                  <a:pt x="15" y="5"/>
                  <a:pt x="14" y="5"/>
                  <a:pt x="13" y="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800" noProof="0" dirty="0"/>
          </a:p>
        </p:txBody>
      </p:sp>
      <p:sp>
        <p:nvSpPr>
          <p:cNvPr id="23" name="Freeform 20">
            <a:extLst>
              <a:ext uri="{FF2B5EF4-FFF2-40B4-BE49-F238E27FC236}">
                <a16:creationId xmlns:a16="http://schemas.microsoft.com/office/drawing/2014/main" id="{264E798D-65CD-47B8-AA59-1F49BCC52C47}"/>
              </a:ext>
            </a:extLst>
          </p:cNvPr>
          <p:cNvSpPr>
            <a:spLocks/>
          </p:cNvSpPr>
          <p:nvPr userDrawn="1"/>
        </p:nvSpPr>
        <p:spPr bwMode="gray">
          <a:xfrm>
            <a:off x="10248205" y="1951985"/>
            <a:ext cx="75876" cy="86636"/>
          </a:xfrm>
          <a:custGeom>
            <a:avLst/>
            <a:gdLst>
              <a:gd name="T0" fmla="*/ 22622 w 24"/>
              <a:gd name="T1" fmla="*/ 15052 h 27"/>
              <a:gd name="T2" fmla="*/ 22622 w 24"/>
              <a:gd name="T3" fmla="*/ 15052 h 27"/>
              <a:gd name="T4" fmla="*/ 30163 w 24"/>
              <a:gd name="T5" fmla="*/ 7526 h 27"/>
              <a:gd name="T6" fmla="*/ 33933 w 24"/>
              <a:gd name="T7" fmla="*/ 3763 h 27"/>
              <a:gd name="T8" fmla="*/ 45244 w 24"/>
              <a:gd name="T9" fmla="*/ 0 h 27"/>
              <a:gd name="T10" fmla="*/ 56555 w 24"/>
              <a:gd name="T11" fmla="*/ 0 h 27"/>
              <a:gd name="T12" fmla="*/ 67866 w 24"/>
              <a:gd name="T13" fmla="*/ 0 h 27"/>
              <a:gd name="T14" fmla="*/ 75407 w 24"/>
              <a:gd name="T15" fmla="*/ 3763 h 27"/>
              <a:gd name="T16" fmla="*/ 82947 w 24"/>
              <a:gd name="T17" fmla="*/ 11289 h 27"/>
              <a:gd name="T18" fmla="*/ 86718 w 24"/>
              <a:gd name="T19" fmla="*/ 22578 h 27"/>
              <a:gd name="T20" fmla="*/ 90488 w 24"/>
              <a:gd name="T21" fmla="*/ 26341 h 27"/>
              <a:gd name="T22" fmla="*/ 90488 w 24"/>
              <a:gd name="T23" fmla="*/ 37630 h 27"/>
              <a:gd name="T24" fmla="*/ 90488 w 24"/>
              <a:gd name="T25" fmla="*/ 101600 h 27"/>
              <a:gd name="T26" fmla="*/ 67866 w 24"/>
              <a:gd name="T27" fmla="*/ 101600 h 27"/>
              <a:gd name="T28" fmla="*/ 67866 w 24"/>
              <a:gd name="T29" fmla="*/ 41393 h 27"/>
              <a:gd name="T30" fmla="*/ 67866 w 24"/>
              <a:gd name="T31" fmla="*/ 33867 h 27"/>
              <a:gd name="T32" fmla="*/ 64096 w 24"/>
              <a:gd name="T33" fmla="*/ 30104 h 27"/>
              <a:gd name="T34" fmla="*/ 60325 w 24"/>
              <a:gd name="T35" fmla="*/ 22578 h 27"/>
              <a:gd name="T36" fmla="*/ 49014 w 24"/>
              <a:gd name="T37" fmla="*/ 18815 h 27"/>
              <a:gd name="T38" fmla="*/ 37703 w 24"/>
              <a:gd name="T39" fmla="*/ 22578 h 27"/>
              <a:gd name="T40" fmla="*/ 26392 w 24"/>
              <a:gd name="T41" fmla="*/ 33867 h 27"/>
              <a:gd name="T42" fmla="*/ 26392 w 24"/>
              <a:gd name="T43" fmla="*/ 101600 h 27"/>
              <a:gd name="T44" fmla="*/ 0 w 24"/>
              <a:gd name="T45" fmla="*/ 101600 h 27"/>
              <a:gd name="T46" fmla="*/ 0 w 24"/>
              <a:gd name="T47" fmla="*/ 0 h 27"/>
              <a:gd name="T48" fmla="*/ 18852 w 24"/>
              <a:gd name="T49" fmla="*/ 0 h 27"/>
              <a:gd name="T50" fmla="*/ 22622 w 24"/>
              <a:gd name="T51" fmla="*/ 15052 h 27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24" h="27">
                <a:moveTo>
                  <a:pt x="6" y="4"/>
                </a:moveTo>
                <a:cubicBezTo>
                  <a:pt x="6" y="4"/>
                  <a:pt x="6" y="4"/>
                  <a:pt x="6" y="4"/>
                </a:cubicBezTo>
                <a:cubicBezTo>
                  <a:pt x="6" y="3"/>
                  <a:pt x="7" y="3"/>
                  <a:pt x="8" y="2"/>
                </a:cubicBezTo>
                <a:cubicBezTo>
                  <a:pt x="8" y="2"/>
                  <a:pt x="9" y="1"/>
                  <a:pt x="9" y="1"/>
                </a:cubicBezTo>
                <a:cubicBezTo>
                  <a:pt x="10" y="1"/>
                  <a:pt x="11" y="0"/>
                  <a:pt x="12" y="0"/>
                </a:cubicBezTo>
                <a:cubicBezTo>
                  <a:pt x="13" y="0"/>
                  <a:pt x="14" y="0"/>
                  <a:pt x="15" y="0"/>
                </a:cubicBezTo>
                <a:cubicBezTo>
                  <a:pt x="16" y="0"/>
                  <a:pt x="17" y="0"/>
                  <a:pt x="18" y="0"/>
                </a:cubicBezTo>
                <a:cubicBezTo>
                  <a:pt x="18" y="0"/>
                  <a:pt x="19" y="1"/>
                  <a:pt x="20" y="1"/>
                </a:cubicBezTo>
                <a:cubicBezTo>
                  <a:pt x="21" y="2"/>
                  <a:pt x="21" y="2"/>
                  <a:pt x="22" y="3"/>
                </a:cubicBezTo>
                <a:cubicBezTo>
                  <a:pt x="23" y="4"/>
                  <a:pt x="23" y="5"/>
                  <a:pt x="23" y="6"/>
                </a:cubicBezTo>
                <a:cubicBezTo>
                  <a:pt x="24" y="6"/>
                  <a:pt x="24" y="7"/>
                  <a:pt x="24" y="7"/>
                </a:cubicBezTo>
                <a:cubicBezTo>
                  <a:pt x="24" y="8"/>
                  <a:pt x="24" y="9"/>
                  <a:pt x="24" y="10"/>
                </a:cubicBezTo>
                <a:cubicBezTo>
                  <a:pt x="24" y="27"/>
                  <a:pt x="24" y="27"/>
                  <a:pt x="24" y="27"/>
                </a:cubicBezTo>
                <a:cubicBezTo>
                  <a:pt x="18" y="27"/>
                  <a:pt x="18" y="27"/>
                  <a:pt x="18" y="27"/>
                </a:cubicBezTo>
                <a:cubicBezTo>
                  <a:pt x="18" y="11"/>
                  <a:pt x="18" y="11"/>
                  <a:pt x="18" y="11"/>
                </a:cubicBezTo>
                <a:cubicBezTo>
                  <a:pt x="18" y="10"/>
                  <a:pt x="18" y="9"/>
                  <a:pt x="18" y="9"/>
                </a:cubicBezTo>
                <a:cubicBezTo>
                  <a:pt x="17" y="8"/>
                  <a:pt x="17" y="8"/>
                  <a:pt x="17" y="8"/>
                </a:cubicBezTo>
                <a:cubicBezTo>
                  <a:pt x="17" y="7"/>
                  <a:pt x="16" y="6"/>
                  <a:pt x="16" y="6"/>
                </a:cubicBezTo>
                <a:cubicBezTo>
                  <a:pt x="15" y="5"/>
                  <a:pt x="14" y="5"/>
                  <a:pt x="13" y="5"/>
                </a:cubicBezTo>
                <a:cubicBezTo>
                  <a:pt x="12" y="5"/>
                  <a:pt x="11" y="6"/>
                  <a:pt x="10" y="6"/>
                </a:cubicBezTo>
                <a:cubicBezTo>
                  <a:pt x="9" y="7"/>
                  <a:pt x="7" y="8"/>
                  <a:pt x="7" y="9"/>
                </a:cubicBezTo>
                <a:cubicBezTo>
                  <a:pt x="7" y="27"/>
                  <a:pt x="7" y="27"/>
                  <a:pt x="7" y="27"/>
                </a:cubicBezTo>
                <a:cubicBezTo>
                  <a:pt x="0" y="27"/>
                  <a:pt x="0" y="27"/>
                  <a:pt x="0" y="27"/>
                </a:cubicBezTo>
                <a:cubicBezTo>
                  <a:pt x="0" y="0"/>
                  <a:pt x="0" y="0"/>
                  <a:pt x="0" y="0"/>
                </a:cubicBezTo>
                <a:cubicBezTo>
                  <a:pt x="5" y="0"/>
                  <a:pt x="5" y="0"/>
                  <a:pt x="5" y="0"/>
                </a:cubicBezTo>
                <a:lnTo>
                  <a:pt x="6" y="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800" noProof="0" dirty="0"/>
          </a:p>
        </p:txBody>
      </p:sp>
      <p:sp>
        <p:nvSpPr>
          <p:cNvPr id="24" name="Freeform 21">
            <a:extLst>
              <a:ext uri="{FF2B5EF4-FFF2-40B4-BE49-F238E27FC236}">
                <a16:creationId xmlns:a16="http://schemas.microsoft.com/office/drawing/2014/main" id="{4318A81F-F6BC-4EE5-A724-2480CD8626DA}"/>
              </a:ext>
            </a:extLst>
          </p:cNvPr>
          <p:cNvSpPr>
            <a:spLocks noEditPoints="1"/>
          </p:cNvSpPr>
          <p:nvPr userDrawn="1"/>
        </p:nvSpPr>
        <p:spPr bwMode="gray">
          <a:xfrm>
            <a:off x="10342717" y="1951985"/>
            <a:ext cx="75876" cy="128600"/>
          </a:xfrm>
          <a:custGeom>
            <a:avLst/>
            <a:gdLst>
              <a:gd name="T0" fmla="*/ 67866 w 24"/>
              <a:gd name="T1" fmla="*/ 101798 h 40"/>
              <a:gd name="T2" fmla="*/ 67866 w 24"/>
              <a:gd name="T3" fmla="*/ 98028 h 40"/>
              <a:gd name="T4" fmla="*/ 67866 w 24"/>
              <a:gd name="T5" fmla="*/ 94258 h 40"/>
              <a:gd name="T6" fmla="*/ 67866 w 24"/>
              <a:gd name="T7" fmla="*/ 94258 h 40"/>
              <a:gd name="T8" fmla="*/ 64096 w 24"/>
              <a:gd name="T9" fmla="*/ 98028 h 40"/>
              <a:gd name="T10" fmla="*/ 56555 w 24"/>
              <a:gd name="T11" fmla="*/ 98028 h 40"/>
              <a:gd name="T12" fmla="*/ 49014 w 24"/>
              <a:gd name="T13" fmla="*/ 101798 h 40"/>
              <a:gd name="T14" fmla="*/ 26392 w 24"/>
              <a:gd name="T15" fmla="*/ 101798 h 40"/>
              <a:gd name="T16" fmla="*/ 11311 w 24"/>
              <a:gd name="T17" fmla="*/ 90487 h 40"/>
              <a:gd name="T18" fmla="*/ 3770 w 24"/>
              <a:gd name="T19" fmla="*/ 75406 h 40"/>
              <a:gd name="T20" fmla="*/ 0 w 24"/>
              <a:gd name="T21" fmla="*/ 52784 h 40"/>
              <a:gd name="T22" fmla="*/ 3770 w 24"/>
              <a:gd name="T23" fmla="*/ 30162 h 40"/>
              <a:gd name="T24" fmla="*/ 11311 w 24"/>
              <a:gd name="T25" fmla="*/ 11311 h 40"/>
              <a:gd name="T26" fmla="*/ 26392 w 24"/>
              <a:gd name="T27" fmla="*/ 3770 h 40"/>
              <a:gd name="T28" fmla="*/ 41474 w 24"/>
              <a:gd name="T29" fmla="*/ 0 h 40"/>
              <a:gd name="T30" fmla="*/ 56555 w 24"/>
              <a:gd name="T31" fmla="*/ 3770 h 40"/>
              <a:gd name="T32" fmla="*/ 67866 w 24"/>
              <a:gd name="T33" fmla="*/ 11311 h 40"/>
              <a:gd name="T34" fmla="*/ 67866 w 24"/>
              <a:gd name="T35" fmla="*/ 11311 h 40"/>
              <a:gd name="T36" fmla="*/ 71636 w 24"/>
              <a:gd name="T37" fmla="*/ 0 h 40"/>
              <a:gd name="T38" fmla="*/ 90488 w 24"/>
              <a:gd name="T39" fmla="*/ 0 h 40"/>
              <a:gd name="T40" fmla="*/ 90488 w 24"/>
              <a:gd name="T41" fmla="*/ 101798 h 40"/>
              <a:gd name="T42" fmla="*/ 90488 w 24"/>
              <a:gd name="T43" fmla="*/ 116879 h 40"/>
              <a:gd name="T44" fmla="*/ 86718 w 24"/>
              <a:gd name="T45" fmla="*/ 128190 h 40"/>
              <a:gd name="T46" fmla="*/ 79177 w 24"/>
              <a:gd name="T47" fmla="*/ 139501 h 40"/>
              <a:gd name="T48" fmla="*/ 67866 w 24"/>
              <a:gd name="T49" fmla="*/ 147042 h 40"/>
              <a:gd name="T50" fmla="*/ 52785 w 24"/>
              <a:gd name="T51" fmla="*/ 150812 h 40"/>
              <a:gd name="T52" fmla="*/ 33933 w 24"/>
              <a:gd name="T53" fmla="*/ 150812 h 40"/>
              <a:gd name="T54" fmla="*/ 26392 w 24"/>
              <a:gd name="T55" fmla="*/ 150812 h 40"/>
              <a:gd name="T56" fmla="*/ 15081 w 24"/>
              <a:gd name="T57" fmla="*/ 150812 h 40"/>
              <a:gd name="T58" fmla="*/ 7541 w 24"/>
              <a:gd name="T59" fmla="*/ 147042 h 40"/>
              <a:gd name="T60" fmla="*/ 3770 w 24"/>
              <a:gd name="T61" fmla="*/ 147042 h 40"/>
              <a:gd name="T62" fmla="*/ 3770 w 24"/>
              <a:gd name="T63" fmla="*/ 128190 h 40"/>
              <a:gd name="T64" fmla="*/ 18852 w 24"/>
              <a:gd name="T65" fmla="*/ 131961 h 40"/>
              <a:gd name="T66" fmla="*/ 33933 w 24"/>
              <a:gd name="T67" fmla="*/ 131961 h 40"/>
              <a:gd name="T68" fmla="*/ 56555 w 24"/>
              <a:gd name="T69" fmla="*/ 124420 h 40"/>
              <a:gd name="T70" fmla="*/ 67866 w 24"/>
              <a:gd name="T71" fmla="*/ 105568 h 40"/>
              <a:gd name="T72" fmla="*/ 67866 w 24"/>
              <a:gd name="T73" fmla="*/ 101798 h 40"/>
              <a:gd name="T74" fmla="*/ 45244 w 24"/>
              <a:gd name="T75" fmla="*/ 82947 h 40"/>
              <a:gd name="T76" fmla="*/ 52785 w 24"/>
              <a:gd name="T77" fmla="*/ 82947 h 40"/>
              <a:gd name="T78" fmla="*/ 60325 w 24"/>
              <a:gd name="T79" fmla="*/ 79176 h 40"/>
              <a:gd name="T80" fmla="*/ 64096 w 24"/>
              <a:gd name="T81" fmla="*/ 75406 h 40"/>
              <a:gd name="T82" fmla="*/ 67866 w 24"/>
              <a:gd name="T83" fmla="*/ 75406 h 40"/>
              <a:gd name="T84" fmla="*/ 67866 w 24"/>
              <a:gd name="T85" fmla="*/ 30162 h 40"/>
              <a:gd name="T86" fmla="*/ 60325 w 24"/>
              <a:gd name="T87" fmla="*/ 22622 h 40"/>
              <a:gd name="T88" fmla="*/ 45244 w 24"/>
              <a:gd name="T89" fmla="*/ 18852 h 40"/>
              <a:gd name="T90" fmla="*/ 41474 w 24"/>
              <a:gd name="T91" fmla="*/ 18852 h 40"/>
              <a:gd name="T92" fmla="*/ 37703 w 24"/>
              <a:gd name="T93" fmla="*/ 18852 h 40"/>
              <a:gd name="T94" fmla="*/ 30163 w 24"/>
              <a:gd name="T95" fmla="*/ 22622 h 40"/>
              <a:gd name="T96" fmla="*/ 26392 w 24"/>
              <a:gd name="T97" fmla="*/ 30162 h 40"/>
              <a:gd name="T98" fmla="*/ 26392 w 24"/>
              <a:gd name="T99" fmla="*/ 37703 h 40"/>
              <a:gd name="T100" fmla="*/ 22622 w 24"/>
              <a:gd name="T101" fmla="*/ 52784 h 40"/>
              <a:gd name="T102" fmla="*/ 26392 w 24"/>
              <a:gd name="T103" fmla="*/ 64095 h 40"/>
              <a:gd name="T104" fmla="*/ 30163 w 24"/>
              <a:gd name="T105" fmla="*/ 75406 h 40"/>
              <a:gd name="T106" fmla="*/ 37703 w 24"/>
              <a:gd name="T107" fmla="*/ 79176 h 40"/>
              <a:gd name="T108" fmla="*/ 45244 w 24"/>
              <a:gd name="T109" fmla="*/ 82947 h 40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24" h="40">
                <a:moveTo>
                  <a:pt x="18" y="27"/>
                </a:moveTo>
                <a:cubicBezTo>
                  <a:pt x="18" y="26"/>
                  <a:pt x="18" y="26"/>
                  <a:pt x="18" y="26"/>
                </a:cubicBezTo>
                <a:cubicBezTo>
                  <a:pt x="18" y="25"/>
                  <a:pt x="18" y="25"/>
                  <a:pt x="18" y="25"/>
                </a:cubicBezTo>
                <a:cubicBezTo>
                  <a:pt x="18" y="25"/>
                  <a:pt x="18" y="25"/>
                  <a:pt x="18" y="25"/>
                </a:cubicBezTo>
                <a:cubicBezTo>
                  <a:pt x="18" y="25"/>
                  <a:pt x="17" y="25"/>
                  <a:pt x="17" y="26"/>
                </a:cubicBezTo>
                <a:cubicBezTo>
                  <a:pt x="16" y="26"/>
                  <a:pt x="16" y="26"/>
                  <a:pt x="15" y="26"/>
                </a:cubicBezTo>
                <a:cubicBezTo>
                  <a:pt x="14" y="27"/>
                  <a:pt x="14" y="27"/>
                  <a:pt x="13" y="27"/>
                </a:cubicBezTo>
                <a:cubicBezTo>
                  <a:pt x="11" y="27"/>
                  <a:pt x="9" y="27"/>
                  <a:pt x="7" y="27"/>
                </a:cubicBezTo>
                <a:cubicBezTo>
                  <a:pt x="5" y="26"/>
                  <a:pt x="4" y="25"/>
                  <a:pt x="3" y="24"/>
                </a:cubicBezTo>
                <a:cubicBezTo>
                  <a:pt x="2" y="23"/>
                  <a:pt x="1" y="22"/>
                  <a:pt x="1" y="20"/>
                </a:cubicBezTo>
                <a:cubicBezTo>
                  <a:pt x="0" y="18"/>
                  <a:pt x="0" y="16"/>
                  <a:pt x="0" y="14"/>
                </a:cubicBezTo>
                <a:cubicBezTo>
                  <a:pt x="0" y="12"/>
                  <a:pt x="0" y="10"/>
                  <a:pt x="1" y="8"/>
                </a:cubicBezTo>
                <a:cubicBezTo>
                  <a:pt x="1" y="6"/>
                  <a:pt x="2" y="5"/>
                  <a:pt x="3" y="3"/>
                </a:cubicBezTo>
                <a:cubicBezTo>
                  <a:pt x="4" y="2"/>
                  <a:pt x="5" y="1"/>
                  <a:pt x="7" y="1"/>
                </a:cubicBezTo>
                <a:cubicBezTo>
                  <a:pt x="8" y="0"/>
                  <a:pt x="10" y="0"/>
                  <a:pt x="11" y="0"/>
                </a:cubicBezTo>
                <a:cubicBezTo>
                  <a:pt x="13" y="0"/>
                  <a:pt x="14" y="0"/>
                  <a:pt x="15" y="1"/>
                </a:cubicBezTo>
                <a:cubicBezTo>
                  <a:pt x="17" y="1"/>
                  <a:pt x="18" y="2"/>
                  <a:pt x="18" y="3"/>
                </a:cubicBezTo>
                <a:cubicBezTo>
                  <a:pt x="18" y="3"/>
                  <a:pt x="18" y="3"/>
                  <a:pt x="18" y="3"/>
                </a:cubicBezTo>
                <a:cubicBezTo>
                  <a:pt x="19" y="0"/>
                  <a:pt x="19" y="0"/>
                  <a:pt x="19" y="0"/>
                </a:cubicBezTo>
                <a:cubicBezTo>
                  <a:pt x="24" y="0"/>
                  <a:pt x="24" y="0"/>
                  <a:pt x="24" y="0"/>
                </a:cubicBezTo>
                <a:cubicBezTo>
                  <a:pt x="24" y="27"/>
                  <a:pt x="24" y="27"/>
                  <a:pt x="24" y="27"/>
                </a:cubicBezTo>
                <a:cubicBezTo>
                  <a:pt x="24" y="28"/>
                  <a:pt x="24" y="30"/>
                  <a:pt x="24" y="31"/>
                </a:cubicBezTo>
                <a:cubicBezTo>
                  <a:pt x="24" y="32"/>
                  <a:pt x="23" y="33"/>
                  <a:pt x="23" y="34"/>
                </a:cubicBezTo>
                <a:cubicBezTo>
                  <a:pt x="22" y="35"/>
                  <a:pt x="21" y="36"/>
                  <a:pt x="21" y="37"/>
                </a:cubicBezTo>
                <a:cubicBezTo>
                  <a:pt x="20" y="37"/>
                  <a:pt x="19" y="38"/>
                  <a:pt x="18" y="39"/>
                </a:cubicBezTo>
                <a:cubicBezTo>
                  <a:pt x="16" y="39"/>
                  <a:pt x="15" y="39"/>
                  <a:pt x="14" y="40"/>
                </a:cubicBezTo>
                <a:cubicBezTo>
                  <a:pt x="12" y="40"/>
                  <a:pt x="11" y="40"/>
                  <a:pt x="9" y="40"/>
                </a:cubicBezTo>
                <a:cubicBezTo>
                  <a:pt x="7" y="40"/>
                  <a:pt x="7" y="40"/>
                  <a:pt x="7" y="40"/>
                </a:cubicBezTo>
                <a:cubicBezTo>
                  <a:pt x="6" y="40"/>
                  <a:pt x="5" y="40"/>
                  <a:pt x="4" y="40"/>
                </a:cubicBezTo>
                <a:cubicBezTo>
                  <a:pt x="2" y="39"/>
                  <a:pt x="2" y="39"/>
                  <a:pt x="2" y="39"/>
                </a:cubicBezTo>
                <a:cubicBezTo>
                  <a:pt x="2" y="39"/>
                  <a:pt x="1" y="39"/>
                  <a:pt x="1" y="39"/>
                </a:cubicBezTo>
                <a:cubicBezTo>
                  <a:pt x="1" y="34"/>
                  <a:pt x="1" y="34"/>
                  <a:pt x="1" y="34"/>
                </a:cubicBezTo>
                <a:cubicBezTo>
                  <a:pt x="2" y="34"/>
                  <a:pt x="3" y="34"/>
                  <a:pt x="5" y="35"/>
                </a:cubicBezTo>
                <a:cubicBezTo>
                  <a:pt x="6" y="35"/>
                  <a:pt x="7" y="35"/>
                  <a:pt x="9" y="35"/>
                </a:cubicBezTo>
                <a:cubicBezTo>
                  <a:pt x="11" y="35"/>
                  <a:pt x="13" y="34"/>
                  <a:pt x="15" y="33"/>
                </a:cubicBezTo>
                <a:cubicBezTo>
                  <a:pt x="17" y="32"/>
                  <a:pt x="18" y="30"/>
                  <a:pt x="18" y="28"/>
                </a:cubicBezTo>
                <a:lnTo>
                  <a:pt x="18" y="27"/>
                </a:lnTo>
                <a:close/>
                <a:moveTo>
                  <a:pt x="12" y="22"/>
                </a:moveTo>
                <a:cubicBezTo>
                  <a:pt x="13" y="22"/>
                  <a:pt x="14" y="22"/>
                  <a:pt x="14" y="22"/>
                </a:cubicBezTo>
                <a:cubicBezTo>
                  <a:pt x="15" y="22"/>
                  <a:pt x="15" y="22"/>
                  <a:pt x="16" y="21"/>
                </a:cubicBezTo>
                <a:cubicBezTo>
                  <a:pt x="16" y="21"/>
                  <a:pt x="17" y="21"/>
                  <a:pt x="17" y="20"/>
                </a:cubicBezTo>
                <a:cubicBezTo>
                  <a:pt x="17" y="20"/>
                  <a:pt x="18" y="20"/>
                  <a:pt x="18" y="20"/>
                </a:cubicBezTo>
                <a:cubicBezTo>
                  <a:pt x="18" y="8"/>
                  <a:pt x="18" y="8"/>
                  <a:pt x="18" y="8"/>
                </a:cubicBezTo>
                <a:cubicBezTo>
                  <a:pt x="17" y="7"/>
                  <a:pt x="16" y="6"/>
                  <a:pt x="16" y="6"/>
                </a:cubicBezTo>
                <a:cubicBezTo>
                  <a:pt x="15" y="5"/>
                  <a:pt x="13" y="5"/>
                  <a:pt x="12" y="5"/>
                </a:cubicBezTo>
                <a:cubicBezTo>
                  <a:pt x="12" y="5"/>
                  <a:pt x="11" y="5"/>
                  <a:pt x="11" y="5"/>
                </a:cubicBezTo>
                <a:cubicBezTo>
                  <a:pt x="11" y="5"/>
                  <a:pt x="10" y="5"/>
                  <a:pt x="10" y="5"/>
                </a:cubicBezTo>
                <a:cubicBezTo>
                  <a:pt x="9" y="6"/>
                  <a:pt x="9" y="6"/>
                  <a:pt x="8" y="6"/>
                </a:cubicBezTo>
                <a:cubicBezTo>
                  <a:pt x="8" y="7"/>
                  <a:pt x="8" y="7"/>
                  <a:pt x="7" y="8"/>
                </a:cubicBezTo>
                <a:cubicBezTo>
                  <a:pt x="7" y="9"/>
                  <a:pt x="7" y="10"/>
                  <a:pt x="7" y="10"/>
                </a:cubicBezTo>
                <a:cubicBezTo>
                  <a:pt x="6" y="11"/>
                  <a:pt x="6" y="12"/>
                  <a:pt x="6" y="14"/>
                </a:cubicBezTo>
                <a:cubicBezTo>
                  <a:pt x="6" y="15"/>
                  <a:pt x="6" y="16"/>
                  <a:pt x="7" y="17"/>
                </a:cubicBezTo>
                <a:cubicBezTo>
                  <a:pt x="7" y="18"/>
                  <a:pt x="7" y="19"/>
                  <a:pt x="8" y="20"/>
                </a:cubicBezTo>
                <a:cubicBezTo>
                  <a:pt x="8" y="20"/>
                  <a:pt x="9" y="21"/>
                  <a:pt x="10" y="21"/>
                </a:cubicBezTo>
                <a:cubicBezTo>
                  <a:pt x="11" y="22"/>
                  <a:pt x="11" y="22"/>
                  <a:pt x="12" y="2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800" noProof="0" dirty="0"/>
          </a:p>
        </p:txBody>
      </p:sp>
      <p:sp>
        <p:nvSpPr>
          <p:cNvPr id="25" name="Freeform 22">
            <a:extLst>
              <a:ext uri="{FF2B5EF4-FFF2-40B4-BE49-F238E27FC236}">
                <a16:creationId xmlns:a16="http://schemas.microsoft.com/office/drawing/2014/main" id="{9134F9F6-8F0B-4565-B5E7-5B158ABD54EF}"/>
              </a:ext>
            </a:extLst>
          </p:cNvPr>
          <p:cNvSpPr>
            <a:spLocks noEditPoints="1"/>
          </p:cNvSpPr>
          <p:nvPr userDrawn="1"/>
        </p:nvSpPr>
        <p:spPr bwMode="gray">
          <a:xfrm>
            <a:off x="10443885" y="1910021"/>
            <a:ext cx="18636" cy="128600"/>
          </a:xfrm>
          <a:custGeom>
            <a:avLst/>
            <a:gdLst>
              <a:gd name="T0" fmla="*/ 0 w 14"/>
              <a:gd name="T1" fmla="*/ 0 h 95"/>
              <a:gd name="T2" fmla="*/ 22225 w 14"/>
              <a:gd name="T3" fmla="*/ 0 h 95"/>
              <a:gd name="T4" fmla="*/ 22225 w 14"/>
              <a:gd name="T5" fmla="*/ 26987 h 95"/>
              <a:gd name="T6" fmla="*/ 0 w 14"/>
              <a:gd name="T7" fmla="*/ 26987 h 95"/>
              <a:gd name="T8" fmla="*/ 0 w 14"/>
              <a:gd name="T9" fmla="*/ 0 h 95"/>
              <a:gd name="T10" fmla="*/ 0 w 14"/>
              <a:gd name="T11" fmla="*/ 49212 h 95"/>
              <a:gd name="T12" fmla="*/ 22225 w 14"/>
              <a:gd name="T13" fmla="*/ 49212 h 95"/>
              <a:gd name="T14" fmla="*/ 22225 w 14"/>
              <a:gd name="T15" fmla="*/ 150812 h 95"/>
              <a:gd name="T16" fmla="*/ 0 w 14"/>
              <a:gd name="T17" fmla="*/ 150812 h 95"/>
              <a:gd name="T18" fmla="*/ 0 w 14"/>
              <a:gd name="T19" fmla="*/ 49212 h 9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14" h="95">
                <a:moveTo>
                  <a:pt x="0" y="0"/>
                </a:moveTo>
                <a:lnTo>
                  <a:pt x="14" y="0"/>
                </a:lnTo>
                <a:lnTo>
                  <a:pt x="14" y="17"/>
                </a:lnTo>
                <a:lnTo>
                  <a:pt x="0" y="17"/>
                </a:lnTo>
                <a:lnTo>
                  <a:pt x="0" y="0"/>
                </a:lnTo>
                <a:close/>
                <a:moveTo>
                  <a:pt x="0" y="31"/>
                </a:moveTo>
                <a:lnTo>
                  <a:pt x="14" y="31"/>
                </a:lnTo>
                <a:lnTo>
                  <a:pt x="14" y="95"/>
                </a:lnTo>
                <a:lnTo>
                  <a:pt x="0" y="95"/>
                </a:lnTo>
                <a:lnTo>
                  <a:pt x="0" y="3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800" noProof="0" dirty="0"/>
          </a:p>
        </p:txBody>
      </p:sp>
      <p:sp>
        <p:nvSpPr>
          <p:cNvPr id="26" name="Freeform 23">
            <a:extLst>
              <a:ext uri="{FF2B5EF4-FFF2-40B4-BE49-F238E27FC236}">
                <a16:creationId xmlns:a16="http://schemas.microsoft.com/office/drawing/2014/main" id="{4D05AA15-472A-48EA-A070-B41A863DD992}"/>
              </a:ext>
            </a:extLst>
          </p:cNvPr>
          <p:cNvSpPr>
            <a:spLocks/>
          </p:cNvSpPr>
          <p:nvPr userDrawn="1"/>
        </p:nvSpPr>
        <p:spPr bwMode="gray">
          <a:xfrm>
            <a:off x="10483820" y="1951985"/>
            <a:ext cx="75876" cy="86636"/>
          </a:xfrm>
          <a:custGeom>
            <a:avLst/>
            <a:gdLst>
              <a:gd name="T0" fmla="*/ 22622 w 24"/>
              <a:gd name="T1" fmla="*/ 15052 h 27"/>
              <a:gd name="T2" fmla="*/ 22622 w 24"/>
              <a:gd name="T3" fmla="*/ 15052 h 27"/>
              <a:gd name="T4" fmla="*/ 30163 w 24"/>
              <a:gd name="T5" fmla="*/ 7526 h 27"/>
              <a:gd name="T6" fmla="*/ 37703 w 24"/>
              <a:gd name="T7" fmla="*/ 3763 h 27"/>
              <a:gd name="T8" fmla="*/ 45244 w 24"/>
              <a:gd name="T9" fmla="*/ 0 h 27"/>
              <a:gd name="T10" fmla="*/ 56555 w 24"/>
              <a:gd name="T11" fmla="*/ 0 h 27"/>
              <a:gd name="T12" fmla="*/ 67866 w 24"/>
              <a:gd name="T13" fmla="*/ 0 h 27"/>
              <a:gd name="T14" fmla="*/ 75407 w 24"/>
              <a:gd name="T15" fmla="*/ 3763 h 27"/>
              <a:gd name="T16" fmla="*/ 82947 w 24"/>
              <a:gd name="T17" fmla="*/ 11289 h 27"/>
              <a:gd name="T18" fmla="*/ 90488 w 24"/>
              <a:gd name="T19" fmla="*/ 22578 h 27"/>
              <a:gd name="T20" fmla="*/ 90488 w 24"/>
              <a:gd name="T21" fmla="*/ 26341 h 27"/>
              <a:gd name="T22" fmla="*/ 90488 w 24"/>
              <a:gd name="T23" fmla="*/ 37630 h 27"/>
              <a:gd name="T24" fmla="*/ 90488 w 24"/>
              <a:gd name="T25" fmla="*/ 101600 h 27"/>
              <a:gd name="T26" fmla="*/ 67866 w 24"/>
              <a:gd name="T27" fmla="*/ 101600 h 27"/>
              <a:gd name="T28" fmla="*/ 67866 w 24"/>
              <a:gd name="T29" fmla="*/ 41393 h 27"/>
              <a:gd name="T30" fmla="*/ 67866 w 24"/>
              <a:gd name="T31" fmla="*/ 33867 h 27"/>
              <a:gd name="T32" fmla="*/ 64096 w 24"/>
              <a:gd name="T33" fmla="*/ 30104 h 27"/>
              <a:gd name="T34" fmla="*/ 60325 w 24"/>
              <a:gd name="T35" fmla="*/ 22578 h 27"/>
              <a:gd name="T36" fmla="*/ 52785 w 24"/>
              <a:gd name="T37" fmla="*/ 18815 h 27"/>
              <a:gd name="T38" fmla="*/ 37703 w 24"/>
              <a:gd name="T39" fmla="*/ 22578 h 27"/>
              <a:gd name="T40" fmla="*/ 26392 w 24"/>
              <a:gd name="T41" fmla="*/ 33867 h 27"/>
              <a:gd name="T42" fmla="*/ 26392 w 24"/>
              <a:gd name="T43" fmla="*/ 101600 h 27"/>
              <a:gd name="T44" fmla="*/ 0 w 24"/>
              <a:gd name="T45" fmla="*/ 101600 h 27"/>
              <a:gd name="T46" fmla="*/ 0 w 24"/>
              <a:gd name="T47" fmla="*/ 0 h 27"/>
              <a:gd name="T48" fmla="*/ 22622 w 24"/>
              <a:gd name="T49" fmla="*/ 0 h 27"/>
              <a:gd name="T50" fmla="*/ 22622 w 24"/>
              <a:gd name="T51" fmla="*/ 15052 h 27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24" h="27">
                <a:moveTo>
                  <a:pt x="6" y="4"/>
                </a:moveTo>
                <a:cubicBezTo>
                  <a:pt x="6" y="4"/>
                  <a:pt x="6" y="4"/>
                  <a:pt x="6" y="4"/>
                </a:cubicBezTo>
                <a:cubicBezTo>
                  <a:pt x="7" y="4"/>
                  <a:pt x="7" y="3"/>
                  <a:pt x="8" y="2"/>
                </a:cubicBezTo>
                <a:cubicBezTo>
                  <a:pt x="8" y="2"/>
                  <a:pt x="9" y="1"/>
                  <a:pt x="10" y="1"/>
                </a:cubicBezTo>
                <a:cubicBezTo>
                  <a:pt x="11" y="1"/>
                  <a:pt x="11" y="0"/>
                  <a:pt x="12" y="0"/>
                </a:cubicBezTo>
                <a:cubicBezTo>
                  <a:pt x="13" y="0"/>
                  <a:pt x="14" y="0"/>
                  <a:pt x="15" y="0"/>
                </a:cubicBezTo>
                <a:cubicBezTo>
                  <a:pt x="16" y="0"/>
                  <a:pt x="17" y="0"/>
                  <a:pt x="18" y="0"/>
                </a:cubicBezTo>
                <a:cubicBezTo>
                  <a:pt x="19" y="0"/>
                  <a:pt x="20" y="1"/>
                  <a:pt x="20" y="1"/>
                </a:cubicBezTo>
                <a:cubicBezTo>
                  <a:pt x="21" y="2"/>
                  <a:pt x="22" y="2"/>
                  <a:pt x="22" y="3"/>
                </a:cubicBezTo>
                <a:cubicBezTo>
                  <a:pt x="23" y="4"/>
                  <a:pt x="23" y="5"/>
                  <a:pt x="24" y="6"/>
                </a:cubicBezTo>
                <a:cubicBezTo>
                  <a:pt x="24" y="6"/>
                  <a:pt x="24" y="7"/>
                  <a:pt x="24" y="7"/>
                </a:cubicBezTo>
                <a:cubicBezTo>
                  <a:pt x="24" y="8"/>
                  <a:pt x="24" y="9"/>
                  <a:pt x="24" y="10"/>
                </a:cubicBezTo>
                <a:cubicBezTo>
                  <a:pt x="24" y="27"/>
                  <a:pt x="24" y="27"/>
                  <a:pt x="24" y="27"/>
                </a:cubicBezTo>
                <a:cubicBezTo>
                  <a:pt x="18" y="27"/>
                  <a:pt x="18" y="27"/>
                  <a:pt x="18" y="27"/>
                </a:cubicBezTo>
                <a:cubicBezTo>
                  <a:pt x="18" y="11"/>
                  <a:pt x="18" y="11"/>
                  <a:pt x="18" y="11"/>
                </a:cubicBezTo>
                <a:cubicBezTo>
                  <a:pt x="18" y="10"/>
                  <a:pt x="18" y="10"/>
                  <a:pt x="18" y="9"/>
                </a:cubicBezTo>
                <a:cubicBezTo>
                  <a:pt x="18" y="8"/>
                  <a:pt x="18" y="8"/>
                  <a:pt x="17" y="8"/>
                </a:cubicBezTo>
                <a:cubicBezTo>
                  <a:pt x="17" y="7"/>
                  <a:pt x="17" y="6"/>
                  <a:pt x="16" y="6"/>
                </a:cubicBezTo>
                <a:cubicBezTo>
                  <a:pt x="15" y="5"/>
                  <a:pt x="14" y="5"/>
                  <a:pt x="14" y="5"/>
                </a:cubicBezTo>
                <a:cubicBezTo>
                  <a:pt x="12" y="5"/>
                  <a:pt x="11" y="6"/>
                  <a:pt x="10" y="6"/>
                </a:cubicBezTo>
                <a:cubicBezTo>
                  <a:pt x="9" y="7"/>
                  <a:pt x="8" y="8"/>
                  <a:pt x="7" y="9"/>
                </a:cubicBezTo>
                <a:cubicBezTo>
                  <a:pt x="7" y="27"/>
                  <a:pt x="7" y="27"/>
                  <a:pt x="7" y="27"/>
                </a:cubicBezTo>
                <a:cubicBezTo>
                  <a:pt x="0" y="27"/>
                  <a:pt x="0" y="27"/>
                  <a:pt x="0" y="27"/>
                </a:cubicBezTo>
                <a:cubicBezTo>
                  <a:pt x="0" y="0"/>
                  <a:pt x="0" y="0"/>
                  <a:pt x="0" y="0"/>
                </a:cubicBezTo>
                <a:cubicBezTo>
                  <a:pt x="6" y="0"/>
                  <a:pt x="6" y="0"/>
                  <a:pt x="6" y="0"/>
                </a:cubicBezTo>
                <a:lnTo>
                  <a:pt x="6" y="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800" noProof="0" dirty="0"/>
          </a:p>
        </p:txBody>
      </p:sp>
      <p:sp>
        <p:nvSpPr>
          <p:cNvPr id="27" name="Freeform 24">
            <a:extLst>
              <a:ext uri="{FF2B5EF4-FFF2-40B4-BE49-F238E27FC236}">
                <a16:creationId xmlns:a16="http://schemas.microsoft.com/office/drawing/2014/main" id="{82FD320B-4656-44CD-B4AB-95F0E69976C0}"/>
              </a:ext>
            </a:extLst>
          </p:cNvPr>
          <p:cNvSpPr>
            <a:spLocks noEditPoints="1"/>
          </p:cNvSpPr>
          <p:nvPr userDrawn="1"/>
        </p:nvSpPr>
        <p:spPr bwMode="gray">
          <a:xfrm>
            <a:off x="10578331" y="1951985"/>
            <a:ext cx="75876" cy="86636"/>
          </a:xfrm>
          <a:custGeom>
            <a:avLst/>
            <a:gdLst>
              <a:gd name="T0" fmla="*/ 56555 w 24"/>
              <a:gd name="T1" fmla="*/ 82785 h 27"/>
              <a:gd name="T2" fmla="*/ 71636 w 24"/>
              <a:gd name="T3" fmla="*/ 82785 h 27"/>
              <a:gd name="T4" fmla="*/ 86718 w 24"/>
              <a:gd name="T5" fmla="*/ 79022 h 27"/>
              <a:gd name="T6" fmla="*/ 86718 w 24"/>
              <a:gd name="T7" fmla="*/ 97837 h 27"/>
              <a:gd name="T8" fmla="*/ 71636 w 24"/>
              <a:gd name="T9" fmla="*/ 101600 h 27"/>
              <a:gd name="T10" fmla="*/ 49014 w 24"/>
              <a:gd name="T11" fmla="*/ 101600 h 27"/>
              <a:gd name="T12" fmla="*/ 30163 w 24"/>
              <a:gd name="T13" fmla="*/ 101600 h 27"/>
              <a:gd name="T14" fmla="*/ 3770 w 24"/>
              <a:gd name="T15" fmla="*/ 75259 h 27"/>
              <a:gd name="T16" fmla="*/ 0 w 24"/>
              <a:gd name="T17" fmla="*/ 52681 h 27"/>
              <a:gd name="T18" fmla="*/ 3770 w 24"/>
              <a:gd name="T19" fmla="*/ 30104 h 27"/>
              <a:gd name="T20" fmla="*/ 15081 w 24"/>
              <a:gd name="T21" fmla="*/ 11289 h 27"/>
              <a:gd name="T22" fmla="*/ 30163 w 24"/>
              <a:gd name="T23" fmla="*/ 3763 h 27"/>
              <a:gd name="T24" fmla="*/ 45244 w 24"/>
              <a:gd name="T25" fmla="*/ 0 h 27"/>
              <a:gd name="T26" fmla="*/ 64096 w 24"/>
              <a:gd name="T27" fmla="*/ 0 h 27"/>
              <a:gd name="T28" fmla="*/ 79177 w 24"/>
              <a:gd name="T29" fmla="*/ 11289 h 27"/>
              <a:gd name="T30" fmla="*/ 86718 w 24"/>
              <a:gd name="T31" fmla="*/ 26341 h 27"/>
              <a:gd name="T32" fmla="*/ 90488 w 24"/>
              <a:gd name="T33" fmla="*/ 48919 h 27"/>
              <a:gd name="T34" fmla="*/ 90488 w 24"/>
              <a:gd name="T35" fmla="*/ 56444 h 27"/>
              <a:gd name="T36" fmla="*/ 22622 w 24"/>
              <a:gd name="T37" fmla="*/ 56444 h 27"/>
              <a:gd name="T38" fmla="*/ 26392 w 24"/>
              <a:gd name="T39" fmla="*/ 67733 h 27"/>
              <a:gd name="T40" fmla="*/ 33933 w 24"/>
              <a:gd name="T41" fmla="*/ 75259 h 27"/>
              <a:gd name="T42" fmla="*/ 45244 w 24"/>
              <a:gd name="T43" fmla="*/ 82785 h 27"/>
              <a:gd name="T44" fmla="*/ 56555 w 24"/>
              <a:gd name="T45" fmla="*/ 82785 h 27"/>
              <a:gd name="T46" fmla="*/ 45244 w 24"/>
              <a:gd name="T47" fmla="*/ 18815 h 27"/>
              <a:gd name="T48" fmla="*/ 37703 w 24"/>
              <a:gd name="T49" fmla="*/ 18815 h 27"/>
              <a:gd name="T50" fmla="*/ 30163 w 24"/>
              <a:gd name="T51" fmla="*/ 22578 h 27"/>
              <a:gd name="T52" fmla="*/ 26392 w 24"/>
              <a:gd name="T53" fmla="*/ 30104 h 27"/>
              <a:gd name="T54" fmla="*/ 26392 w 24"/>
              <a:gd name="T55" fmla="*/ 37630 h 27"/>
              <a:gd name="T56" fmla="*/ 64096 w 24"/>
              <a:gd name="T57" fmla="*/ 37630 h 27"/>
              <a:gd name="T58" fmla="*/ 64096 w 24"/>
              <a:gd name="T59" fmla="*/ 30104 h 27"/>
              <a:gd name="T60" fmla="*/ 60325 w 24"/>
              <a:gd name="T61" fmla="*/ 22578 h 27"/>
              <a:gd name="T62" fmla="*/ 45244 w 24"/>
              <a:gd name="T63" fmla="*/ 18815 h 2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4" h="27">
                <a:moveTo>
                  <a:pt x="15" y="22"/>
                </a:moveTo>
                <a:cubicBezTo>
                  <a:pt x="16" y="22"/>
                  <a:pt x="17" y="22"/>
                  <a:pt x="19" y="22"/>
                </a:cubicBezTo>
                <a:cubicBezTo>
                  <a:pt x="20" y="21"/>
                  <a:pt x="21" y="21"/>
                  <a:pt x="23" y="21"/>
                </a:cubicBezTo>
                <a:cubicBezTo>
                  <a:pt x="23" y="26"/>
                  <a:pt x="23" y="26"/>
                  <a:pt x="23" y="26"/>
                </a:cubicBezTo>
                <a:cubicBezTo>
                  <a:pt x="21" y="26"/>
                  <a:pt x="20" y="27"/>
                  <a:pt x="19" y="27"/>
                </a:cubicBezTo>
                <a:cubicBezTo>
                  <a:pt x="17" y="27"/>
                  <a:pt x="15" y="27"/>
                  <a:pt x="13" y="27"/>
                </a:cubicBezTo>
                <a:cubicBezTo>
                  <a:pt x="12" y="27"/>
                  <a:pt x="10" y="27"/>
                  <a:pt x="8" y="27"/>
                </a:cubicBezTo>
                <a:cubicBezTo>
                  <a:pt x="5" y="26"/>
                  <a:pt x="2" y="23"/>
                  <a:pt x="1" y="20"/>
                </a:cubicBezTo>
                <a:cubicBezTo>
                  <a:pt x="0" y="18"/>
                  <a:pt x="0" y="16"/>
                  <a:pt x="0" y="14"/>
                </a:cubicBezTo>
                <a:cubicBezTo>
                  <a:pt x="0" y="12"/>
                  <a:pt x="0" y="10"/>
                  <a:pt x="1" y="8"/>
                </a:cubicBezTo>
                <a:cubicBezTo>
                  <a:pt x="2" y="6"/>
                  <a:pt x="2" y="4"/>
                  <a:pt x="4" y="3"/>
                </a:cubicBezTo>
                <a:cubicBezTo>
                  <a:pt x="5" y="2"/>
                  <a:pt x="6" y="1"/>
                  <a:pt x="8" y="1"/>
                </a:cubicBezTo>
                <a:cubicBezTo>
                  <a:pt x="9" y="0"/>
                  <a:pt x="11" y="0"/>
                  <a:pt x="12" y="0"/>
                </a:cubicBezTo>
                <a:cubicBezTo>
                  <a:pt x="14" y="0"/>
                  <a:pt x="15" y="0"/>
                  <a:pt x="17" y="0"/>
                </a:cubicBezTo>
                <a:cubicBezTo>
                  <a:pt x="18" y="1"/>
                  <a:pt x="20" y="2"/>
                  <a:pt x="21" y="3"/>
                </a:cubicBezTo>
                <a:cubicBezTo>
                  <a:pt x="22" y="4"/>
                  <a:pt x="22" y="5"/>
                  <a:pt x="23" y="7"/>
                </a:cubicBezTo>
                <a:cubicBezTo>
                  <a:pt x="24" y="9"/>
                  <a:pt x="24" y="11"/>
                  <a:pt x="24" y="13"/>
                </a:cubicBezTo>
                <a:cubicBezTo>
                  <a:pt x="24" y="14"/>
                  <a:pt x="24" y="15"/>
                  <a:pt x="24" y="15"/>
                </a:cubicBezTo>
                <a:cubicBezTo>
                  <a:pt x="6" y="15"/>
                  <a:pt x="6" y="15"/>
                  <a:pt x="6" y="15"/>
                </a:cubicBezTo>
                <a:cubicBezTo>
                  <a:pt x="6" y="16"/>
                  <a:pt x="7" y="17"/>
                  <a:pt x="7" y="18"/>
                </a:cubicBezTo>
                <a:cubicBezTo>
                  <a:pt x="8" y="19"/>
                  <a:pt x="8" y="20"/>
                  <a:pt x="9" y="20"/>
                </a:cubicBezTo>
                <a:cubicBezTo>
                  <a:pt x="10" y="21"/>
                  <a:pt x="11" y="21"/>
                  <a:pt x="12" y="22"/>
                </a:cubicBezTo>
                <a:cubicBezTo>
                  <a:pt x="13" y="22"/>
                  <a:pt x="14" y="22"/>
                  <a:pt x="15" y="22"/>
                </a:cubicBezTo>
                <a:close/>
                <a:moveTo>
                  <a:pt x="12" y="5"/>
                </a:moveTo>
                <a:cubicBezTo>
                  <a:pt x="11" y="5"/>
                  <a:pt x="11" y="5"/>
                  <a:pt x="10" y="5"/>
                </a:cubicBezTo>
                <a:cubicBezTo>
                  <a:pt x="9" y="5"/>
                  <a:pt x="9" y="6"/>
                  <a:pt x="8" y="6"/>
                </a:cubicBezTo>
                <a:cubicBezTo>
                  <a:pt x="8" y="7"/>
                  <a:pt x="8" y="7"/>
                  <a:pt x="7" y="8"/>
                </a:cubicBezTo>
                <a:cubicBezTo>
                  <a:pt x="7" y="9"/>
                  <a:pt x="7" y="10"/>
                  <a:pt x="7" y="10"/>
                </a:cubicBezTo>
                <a:cubicBezTo>
                  <a:pt x="17" y="10"/>
                  <a:pt x="17" y="10"/>
                  <a:pt x="17" y="10"/>
                </a:cubicBezTo>
                <a:cubicBezTo>
                  <a:pt x="17" y="10"/>
                  <a:pt x="17" y="9"/>
                  <a:pt x="17" y="8"/>
                </a:cubicBezTo>
                <a:cubicBezTo>
                  <a:pt x="17" y="7"/>
                  <a:pt x="16" y="7"/>
                  <a:pt x="16" y="6"/>
                </a:cubicBezTo>
                <a:cubicBezTo>
                  <a:pt x="15" y="5"/>
                  <a:pt x="14" y="5"/>
                  <a:pt x="12" y="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800" noProof="0" dirty="0"/>
          </a:p>
        </p:txBody>
      </p:sp>
      <p:sp>
        <p:nvSpPr>
          <p:cNvPr id="28" name="Freeform 25">
            <a:extLst>
              <a:ext uri="{FF2B5EF4-FFF2-40B4-BE49-F238E27FC236}">
                <a16:creationId xmlns:a16="http://schemas.microsoft.com/office/drawing/2014/main" id="{B6B95B87-97C0-4478-A1CA-D50AEB5102BF}"/>
              </a:ext>
            </a:extLst>
          </p:cNvPr>
          <p:cNvSpPr>
            <a:spLocks noEditPoints="1"/>
          </p:cNvSpPr>
          <p:nvPr userDrawn="1"/>
        </p:nvSpPr>
        <p:spPr bwMode="gray">
          <a:xfrm>
            <a:off x="10666187" y="1951985"/>
            <a:ext cx="75876" cy="86636"/>
          </a:xfrm>
          <a:custGeom>
            <a:avLst/>
            <a:gdLst>
              <a:gd name="T0" fmla="*/ 56555 w 24"/>
              <a:gd name="T1" fmla="*/ 82785 h 27"/>
              <a:gd name="T2" fmla="*/ 71636 w 24"/>
              <a:gd name="T3" fmla="*/ 82785 h 27"/>
              <a:gd name="T4" fmla="*/ 86718 w 24"/>
              <a:gd name="T5" fmla="*/ 79022 h 27"/>
              <a:gd name="T6" fmla="*/ 86718 w 24"/>
              <a:gd name="T7" fmla="*/ 97837 h 27"/>
              <a:gd name="T8" fmla="*/ 71636 w 24"/>
              <a:gd name="T9" fmla="*/ 101600 h 27"/>
              <a:gd name="T10" fmla="*/ 52785 w 24"/>
              <a:gd name="T11" fmla="*/ 101600 h 27"/>
              <a:gd name="T12" fmla="*/ 33933 w 24"/>
              <a:gd name="T13" fmla="*/ 101600 h 27"/>
              <a:gd name="T14" fmla="*/ 15081 w 24"/>
              <a:gd name="T15" fmla="*/ 90311 h 27"/>
              <a:gd name="T16" fmla="*/ 3770 w 24"/>
              <a:gd name="T17" fmla="*/ 75259 h 27"/>
              <a:gd name="T18" fmla="*/ 0 w 24"/>
              <a:gd name="T19" fmla="*/ 52681 h 27"/>
              <a:gd name="T20" fmla="*/ 3770 w 24"/>
              <a:gd name="T21" fmla="*/ 30104 h 27"/>
              <a:gd name="T22" fmla="*/ 15081 w 24"/>
              <a:gd name="T23" fmla="*/ 11289 h 27"/>
              <a:gd name="T24" fmla="*/ 30163 w 24"/>
              <a:gd name="T25" fmla="*/ 3763 h 27"/>
              <a:gd name="T26" fmla="*/ 49014 w 24"/>
              <a:gd name="T27" fmla="*/ 0 h 27"/>
              <a:gd name="T28" fmla="*/ 64096 w 24"/>
              <a:gd name="T29" fmla="*/ 3763 h 27"/>
              <a:gd name="T30" fmla="*/ 79177 w 24"/>
              <a:gd name="T31" fmla="*/ 11289 h 27"/>
              <a:gd name="T32" fmla="*/ 86718 w 24"/>
              <a:gd name="T33" fmla="*/ 26341 h 27"/>
              <a:gd name="T34" fmla="*/ 90488 w 24"/>
              <a:gd name="T35" fmla="*/ 48919 h 27"/>
              <a:gd name="T36" fmla="*/ 90488 w 24"/>
              <a:gd name="T37" fmla="*/ 56444 h 27"/>
              <a:gd name="T38" fmla="*/ 26392 w 24"/>
              <a:gd name="T39" fmla="*/ 56444 h 27"/>
              <a:gd name="T40" fmla="*/ 30163 w 24"/>
              <a:gd name="T41" fmla="*/ 67733 h 27"/>
              <a:gd name="T42" fmla="*/ 33933 w 24"/>
              <a:gd name="T43" fmla="*/ 79022 h 27"/>
              <a:gd name="T44" fmla="*/ 45244 w 24"/>
              <a:gd name="T45" fmla="*/ 82785 h 27"/>
              <a:gd name="T46" fmla="*/ 56555 w 24"/>
              <a:gd name="T47" fmla="*/ 82785 h 27"/>
              <a:gd name="T48" fmla="*/ 49014 w 24"/>
              <a:gd name="T49" fmla="*/ 18815 h 27"/>
              <a:gd name="T50" fmla="*/ 41474 w 24"/>
              <a:gd name="T51" fmla="*/ 18815 h 27"/>
              <a:gd name="T52" fmla="*/ 33933 w 24"/>
              <a:gd name="T53" fmla="*/ 22578 h 27"/>
              <a:gd name="T54" fmla="*/ 30163 w 24"/>
              <a:gd name="T55" fmla="*/ 30104 h 27"/>
              <a:gd name="T56" fmla="*/ 26392 w 24"/>
              <a:gd name="T57" fmla="*/ 37630 h 27"/>
              <a:gd name="T58" fmla="*/ 67866 w 24"/>
              <a:gd name="T59" fmla="*/ 37630 h 27"/>
              <a:gd name="T60" fmla="*/ 64096 w 24"/>
              <a:gd name="T61" fmla="*/ 30104 h 27"/>
              <a:gd name="T62" fmla="*/ 60325 w 24"/>
              <a:gd name="T63" fmla="*/ 22578 h 27"/>
              <a:gd name="T64" fmla="*/ 49014 w 24"/>
              <a:gd name="T65" fmla="*/ 18815 h 27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24" h="27">
                <a:moveTo>
                  <a:pt x="15" y="22"/>
                </a:moveTo>
                <a:cubicBezTo>
                  <a:pt x="17" y="22"/>
                  <a:pt x="18" y="22"/>
                  <a:pt x="19" y="22"/>
                </a:cubicBezTo>
                <a:cubicBezTo>
                  <a:pt x="21" y="21"/>
                  <a:pt x="22" y="21"/>
                  <a:pt x="23" y="21"/>
                </a:cubicBezTo>
                <a:cubicBezTo>
                  <a:pt x="23" y="26"/>
                  <a:pt x="23" y="26"/>
                  <a:pt x="23" y="26"/>
                </a:cubicBezTo>
                <a:cubicBezTo>
                  <a:pt x="22" y="26"/>
                  <a:pt x="21" y="27"/>
                  <a:pt x="19" y="27"/>
                </a:cubicBezTo>
                <a:cubicBezTo>
                  <a:pt x="18" y="27"/>
                  <a:pt x="16" y="27"/>
                  <a:pt x="14" y="27"/>
                </a:cubicBezTo>
                <a:cubicBezTo>
                  <a:pt x="12" y="27"/>
                  <a:pt x="10" y="27"/>
                  <a:pt x="9" y="27"/>
                </a:cubicBezTo>
                <a:cubicBezTo>
                  <a:pt x="7" y="26"/>
                  <a:pt x="6" y="25"/>
                  <a:pt x="4" y="24"/>
                </a:cubicBezTo>
                <a:cubicBezTo>
                  <a:pt x="3" y="23"/>
                  <a:pt x="2" y="22"/>
                  <a:pt x="1" y="20"/>
                </a:cubicBezTo>
                <a:cubicBezTo>
                  <a:pt x="0" y="18"/>
                  <a:pt x="0" y="16"/>
                  <a:pt x="0" y="14"/>
                </a:cubicBezTo>
                <a:cubicBezTo>
                  <a:pt x="0" y="12"/>
                  <a:pt x="0" y="10"/>
                  <a:pt x="1" y="8"/>
                </a:cubicBezTo>
                <a:cubicBezTo>
                  <a:pt x="2" y="6"/>
                  <a:pt x="3" y="5"/>
                  <a:pt x="4" y="3"/>
                </a:cubicBezTo>
                <a:cubicBezTo>
                  <a:pt x="5" y="2"/>
                  <a:pt x="6" y="1"/>
                  <a:pt x="8" y="1"/>
                </a:cubicBezTo>
                <a:cubicBezTo>
                  <a:pt x="9" y="0"/>
                  <a:pt x="11" y="0"/>
                  <a:pt x="13" y="0"/>
                </a:cubicBezTo>
                <a:cubicBezTo>
                  <a:pt x="14" y="0"/>
                  <a:pt x="16" y="0"/>
                  <a:pt x="17" y="1"/>
                </a:cubicBezTo>
                <a:cubicBezTo>
                  <a:pt x="19" y="1"/>
                  <a:pt x="20" y="2"/>
                  <a:pt x="21" y="3"/>
                </a:cubicBezTo>
                <a:cubicBezTo>
                  <a:pt x="22" y="4"/>
                  <a:pt x="23" y="5"/>
                  <a:pt x="23" y="7"/>
                </a:cubicBezTo>
                <a:cubicBezTo>
                  <a:pt x="24" y="9"/>
                  <a:pt x="24" y="11"/>
                  <a:pt x="24" y="13"/>
                </a:cubicBezTo>
                <a:cubicBezTo>
                  <a:pt x="24" y="14"/>
                  <a:pt x="24" y="15"/>
                  <a:pt x="24" y="15"/>
                </a:cubicBezTo>
                <a:cubicBezTo>
                  <a:pt x="7" y="15"/>
                  <a:pt x="7" y="15"/>
                  <a:pt x="7" y="15"/>
                </a:cubicBezTo>
                <a:cubicBezTo>
                  <a:pt x="7" y="16"/>
                  <a:pt x="7" y="17"/>
                  <a:pt x="8" y="18"/>
                </a:cubicBezTo>
                <a:cubicBezTo>
                  <a:pt x="8" y="19"/>
                  <a:pt x="9" y="20"/>
                  <a:pt x="9" y="21"/>
                </a:cubicBezTo>
                <a:cubicBezTo>
                  <a:pt x="10" y="21"/>
                  <a:pt x="11" y="21"/>
                  <a:pt x="12" y="22"/>
                </a:cubicBezTo>
                <a:cubicBezTo>
                  <a:pt x="13" y="22"/>
                  <a:pt x="14" y="22"/>
                  <a:pt x="15" y="22"/>
                </a:cubicBezTo>
                <a:close/>
                <a:moveTo>
                  <a:pt x="13" y="5"/>
                </a:moveTo>
                <a:cubicBezTo>
                  <a:pt x="12" y="5"/>
                  <a:pt x="11" y="5"/>
                  <a:pt x="11" y="5"/>
                </a:cubicBezTo>
                <a:cubicBezTo>
                  <a:pt x="10" y="5"/>
                  <a:pt x="9" y="6"/>
                  <a:pt x="9" y="6"/>
                </a:cubicBezTo>
                <a:cubicBezTo>
                  <a:pt x="8" y="7"/>
                  <a:pt x="8" y="7"/>
                  <a:pt x="8" y="8"/>
                </a:cubicBezTo>
                <a:cubicBezTo>
                  <a:pt x="8" y="9"/>
                  <a:pt x="7" y="10"/>
                  <a:pt x="7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10"/>
                  <a:pt x="17" y="9"/>
                  <a:pt x="17" y="8"/>
                </a:cubicBezTo>
                <a:cubicBezTo>
                  <a:pt x="17" y="7"/>
                  <a:pt x="17" y="7"/>
                  <a:pt x="16" y="6"/>
                </a:cubicBezTo>
                <a:cubicBezTo>
                  <a:pt x="15" y="5"/>
                  <a:pt x="14" y="5"/>
                  <a:pt x="13" y="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800" noProof="0" dirty="0"/>
          </a:p>
        </p:txBody>
      </p:sp>
      <p:sp>
        <p:nvSpPr>
          <p:cNvPr id="29" name="Freeform 26">
            <a:extLst>
              <a:ext uri="{FF2B5EF4-FFF2-40B4-BE49-F238E27FC236}">
                <a16:creationId xmlns:a16="http://schemas.microsoft.com/office/drawing/2014/main" id="{2583321A-E9CD-4D1A-8D23-70E4191F2043}"/>
              </a:ext>
            </a:extLst>
          </p:cNvPr>
          <p:cNvSpPr>
            <a:spLocks/>
          </p:cNvSpPr>
          <p:nvPr userDrawn="1"/>
        </p:nvSpPr>
        <p:spPr bwMode="gray">
          <a:xfrm>
            <a:off x="10760700" y="1951985"/>
            <a:ext cx="50584" cy="86636"/>
          </a:xfrm>
          <a:custGeom>
            <a:avLst/>
            <a:gdLst>
              <a:gd name="T0" fmla="*/ 60325 w 16"/>
              <a:gd name="T1" fmla="*/ 18815 h 27"/>
              <a:gd name="T2" fmla="*/ 56555 w 16"/>
              <a:gd name="T3" fmla="*/ 18815 h 27"/>
              <a:gd name="T4" fmla="*/ 37703 w 16"/>
              <a:gd name="T5" fmla="*/ 22578 h 27"/>
              <a:gd name="T6" fmla="*/ 26392 w 16"/>
              <a:gd name="T7" fmla="*/ 33867 h 27"/>
              <a:gd name="T8" fmla="*/ 26392 w 16"/>
              <a:gd name="T9" fmla="*/ 101600 h 27"/>
              <a:gd name="T10" fmla="*/ 0 w 16"/>
              <a:gd name="T11" fmla="*/ 101600 h 27"/>
              <a:gd name="T12" fmla="*/ 0 w 16"/>
              <a:gd name="T13" fmla="*/ 0 h 27"/>
              <a:gd name="T14" fmla="*/ 22622 w 16"/>
              <a:gd name="T15" fmla="*/ 0 h 27"/>
              <a:gd name="T16" fmla="*/ 22622 w 16"/>
              <a:gd name="T17" fmla="*/ 15052 h 27"/>
              <a:gd name="T18" fmla="*/ 22622 w 16"/>
              <a:gd name="T19" fmla="*/ 15052 h 27"/>
              <a:gd name="T20" fmla="*/ 33933 w 16"/>
              <a:gd name="T21" fmla="*/ 3763 h 27"/>
              <a:gd name="T22" fmla="*/ 52784 w 16"/>
              <a:gd name="T23" fmla="*/ 0 h 27"/>
              <a:gd name="T24" fmla="*/ 60325 w 16"/>
              <a:gd name="T25" fmla="*/ 0 h 27"/>
              <a:gd name="T26" fmla="*/ 60325 w 16"/>
              <a:gd name="T27" fmla="*/ 18815 h 27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16" h="27">
                <a:moveTo>
                  <a:pt x="16" y="5"/>
                </a:moveTo>
                <a:cubicBezTo>
                  <a:pt x="15" y="5"/>
                  <a:pt x="15" y="5"/>
                  <a:pt x="15" y="5"/>
                </a:cubicBezTo>
                <a:cubicBezTo>
                  <a:pt x="14" y="5"/>
                  <a:pt x="12" y="6"/>
                  <a:pt x="10" y="6"/>
                </a:cubicBezTo>
                <a:cubicBezTo>
                  <a:pt x="9" y="7"/>
                  <a:pt x="8" y="8"/>
                  <a:pt x="7" y="9"/>
                </a:cubicBezTo>
                <a:cubicBezTo>
                  <a:pt x="7" y="27"/>
                  <a:pt x="7" y="27"/>
                  <a:pt x="7" y="27"/>
                </a:cubicBezTo>
                <a:cubicBezTo>
                  <a:pt x="0" y="27"/>
                  <a:pt x="0" y="27"/>
                  <a:pt x="0" y="27"/>
                </a:cubicBezTo>
                <a:cubicBezTo>
                  <a:pt x="0" y="0"/>
                  <a:pt x="0" y="0"/>
                  <a:pt x="0" y="0"/>
                </a:cubicBezTo>
                <a:cubicBezTo>
                  <a:pt x="6" y="0"/>
                  <a:pt x="6" y="0"/>
                  <a:pt x="6" y="0"/>
                </a:cubicBezTo>
                <a:cubicBezTo>
                  <a:pt x="6" y="4"/>
                  <a:pt x="6" y="4"/>
                  <a:pt x="6" y="4"/>
                </a:cubicBezTo>
                <a:cubicBezTo>
                  <a:pt x="6" y="4"/>
                  <a:pt x="6" y="4"/>
                  <a:pt x="6" y="4"/>
                </a:cubicBezTo>
                <a:cubicBezTo>
                  <a:pt x="7" y="3"/>
                  <a:pt x="8" y="2"/>
                  <a:pt x="9" y="1"/>
                </a:cubicBezTo>
                <a:cubicBezTo>
                  <a:pt x="11" y="0"/>
                  <a:pt x="12" y="0"/>
                  <a:pt x="14" y="0"/>
                </a:cubicBezTo>
                <a:cubicBezTo>
                  <a:pt x="15" y="0"/>
                  <a:pt x="15" y="0"/>
                  <a:pt x="16" y="0"/>
                </a:cubicBezTo>
                <a:lnTo>
                  <a:pt x="16" y="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800" noProof="0" dirty="0"/>
          </a:p>
        </p:txBody>
      </p:sp>
      <p:sp>
        <p:nvSpPr>
          <p:cNvPr id="30" name="Freeform 27">
            <a:extLst>
              <a:ext uri="{FF2B5EF4-FFF2-40B4-BE49-F238E27FC236}">
                <a16:creationId xmlns:a16="http://schemas.microsoft.com/office/drawing/2014/main" id="{FFB8B19C-9D97-47B4-A377-E80B2C1048BB}"/>
              </a:ext>
            </a:extLst>
          </p:cNvPr>
          <p:cNvSpPr>
            <a:spLocks/>
          </p:cNvSpPr>
          <p:nvPr userDrawn="1"/>
        </p:nvSpPr>
        <p:spPr bwMode="gray">
          <a:xfrm>
            <a:off x="10829919" y="1919497"/>
            <a:ext cx="34611" cy="48733"/>
          </a:xfrm>
          <a:custGeom>
            <a:avLst/>
            <a:gdLst>
              <a:gd name="T0" fmla="*/ 15875 w 26"/>
              <a:gd name="T1" fmla="*/ 0 h 36"/>
              <a:gd name="T2" fmla="*/ 41275 w 26"/>
              <a:gd name="T3" fmla="*/ 0 h 36"/>
              <a:gd name="T4" fmla="*/ 19050 w 26"/>
              <a:gd name="T5" fmla="*/ 57150 h 36"/>
              <a:gd name="T6" fmla="*/ 0 w 26"/>
              <a:gd name="T7" fmla="*/ 57150 h 36"/>
              <a:gd name="T8" fmla="*/ 15875 w 26"/>
              <a:gd name="T9" fmla="*/ 0 h 3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6" h="36">
                <a:moveTo>
                  <a:pt x="10" y="0"/>
                </a:moveTo>
                <a:lnTo>
                  <a:pt x="26" y="0"/>
                </a:lnTo>
                <a:lnTo>
                  <a:pt x="12" y="36"/>
                </a:lnTo>
                <a:lnTo>
                  <a:pt x="0" y="36"/>
                </a:lnTo>
                <a:lnTo>
                  <a:pt x="10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800" noProof="0" dirty="0"/>
          </a:p>
        </p:txBody>
      </p:sp>
      <p:sp>
        <p:nvSpPr>
          <p:cNvPr id="31" name="Freeform 28">
            <a:extLst>
              <a:ext uri="{FF2B5EF4-FFF2-40B4-BE49-F238E27FC236}">
                <a16:creationId xmlns:a16="http://schemas.microsoft.com/office/drawing/2014/main" id="{D99419A1-48E7-48A5-AD24-490EFFA70B56}"/>
              </a:ext>
            </a:extLst>
          </p:cNvPr>
          <p:cNvSpPr>
            <a:spLocks/>
          </p:cNvSpPr>
          <p:nvPr userDrawn="1"/>
        </p:nvSpPr>
        <p:spPr bwMode="gray">
          <a:xfrm>
            <a:off x="10868523" y="1949277"/>
            <a:ext cx="62565" cy="89344"/>
          </a:xfrm>
          <a:custGeom>
            <a:avLst/>
            <a:gdLst>
              <a:gd name="T0" fmla="*/ 48498 w 20"/>
              <a:gd name="T1" fmla="*/ 74839 h 28"/>
              <a:gd name="T2" fmla="*/ 48498 w 20"/>
              <a:gd name="T3" fmla="*/ 71097 h 28"/>
              <a:gd name="T4" fmla="*/ 41037 w 20"/>
              <a:gd name="T5" fmla="*/ 67355 h 28"/>
              <a:gd name="T6" fmla="*/ 33576 w 20"/>
              <a:gd name="T7" fmla="*/ 63613 h 28"/>
              <a:gd name="T8" fmla="*/ 26115 w 20"/>
              <a:gd name="T9" fmla="*/ 59871 h 28"/>
              <a:gd name="T10" fmla="*/ 18653 w 20"/>
              <a:gd name="T11" fmla="*/ 59871 h 28"/>
              <a:gd name="T12" fmla="*/ 7461 w 20"/>
              <a:gd name="T13" fmla="*/ 52388 h 28"/>
              <a:gd name="T14" fmla="*/ 3731 w 20"/>
              <a:gd name="T15" fmla="*/ 44904 h 28"/>
              <a:gd name="T16" fmla="*/ 0 w 20"/>
              <a:gd name="T17" fmla="*/ 33678 h 28"/>
              <a:gd name="T18" fmla="*/ 3731 w 20"/>
              <a:gd name="T19" fmla="*/ 18710 h 28"/>
              <a:gd name="T20" fmla="*/ 11192 w 20"/>
              <a:gd name="T21" fmla="*/ 11226 h 28"/>
              <a:gd name="T22" fmla="*/ 22384 w 20"/>
              <a:gd name="T23" fmla="*/ 3742 h 28"/>
              <a:gd name="T24" fmla="*/ 37307 w 20"/>
              <a:gd name="T25" fmla="*/ 0 h 28"/>
              <a:gd name="T26" fmla="*/ 55960 w 20"/>
              <a:gd name="T27" fmla="*/ 3742 h 28"/>
              <a:gd name="T28" fmla="*/ 70882 w 20"/>
              <a:gd name="T29" fmla="*/ 7484 h 28"/>
              <a:gd name="T30" fmla="*/ 70882 w 20"/>
              <a:gd name="T31" fmla="*/ 26194 h 28"/>
              <a:gd name="T32" fmla="*/ 63421 w 20"/>
              <a:gd name="T33" fmla="*/ 26194 h 28"/>
              <a:gd name="T34" fmla="*/ 55960 w 20"/>
              <a:gd name="T35" fmla="*/ 22452 h 28"/>
              <a:gd name="T36" fmla="*/ 48498 w 20"/>
              <a:gd name="T37" fmla="*/ 22452 h 28"/>
              <a:gd name="T38" fmla="*/ 41037 w 20"/>
              <a:gd name="T39" fmla="*/ 22452 h 28"/>
              <a:gd name="T40" fmla="*/ 33576 w 20"/>
              <a:gd name="T41" fmla="*/ 22452 h 28"/>
              <a:gd name="T42" fmla="*/ 29845 w 20"/>
              <a:gd name="T43" fmla="*/ 26194 h 28"/>
              <a:gd name="T44" fmla="*/ 26115 w 20"/>
              <a:gd name="T45" fmla="*/ 26194 h 28"/>
              <a:gd name="T46" fmla="*/ 26115 w 20"/>
              <a:gd name="T47" fmla="*/ 29936 h 28"/>
              <a:gd name="T48" fmla="*/ 26115 w 20"/>
              <a:gd name="T49" fmla="*/ 37420 h 28"/>
              <a:gd name="T50" fmla="*/ 29845 w 20"/>
              <a:gd name="T51" fmla="*/ 41162 h 28"/>
              <a:gd name="T52" fmla="*/ 37307 w 20"/>
              <a:gd name="T53" fmla="*/ 41162 h 28"/>
              <a:gd name="T54" fmla="*/ 44768 w 20"/>
              <a:gd name="T55" fmla="*/ 44904 h 28"/>
              <a:gd name="T56" fmla="*/ 55960 w 20"/>
              <a:gd name="T57" fmla="*/ 48646 h 28"/>
              <a:gd name="T58" fmla="*/ 63421 w 20"/>
              <a:gd name="T59" fmla="*/ 52388 h 28"/>
              <a:gd name="T60" fmla="*/ 70882 w 20"/>
              <a:gd name="T61" fmla="*/ 59871 h 28"/>
              <a:gd name="T62" fmla="*/ 74613 w 20"/>
              <a:gd name="T63" fmla="*/ 71097 h 28"/>
              <a:gd name="T64" fmla="*/ 70882 w 20"/>
              <a:gd name="T65" fmla="*/ 86065 h 28"/>
              <a:gd name="T66" fmla="*/ 59690 w 20"/>
              <a:gd name="T67" fmla="*/ 97291 h 28"/>
              <a:gd name="T68" fmla="*/ 48498 w 20"/>
              <a:gd name="T69" fmla="*/ 104775 h 28"/>
              <a:gd name="T70" fmla="*/ 29845 w 20"/>
              <a:gd name="T71" fmla="*/ 104775 h 28"/>
              <a:gd name="T72" fmla="*/ 14923 w 20"/>
              <a:gd name="T73" fmla="*/ 104775 h 28"/>
              <a:gd name="T74" fmla="*/ 0 w 20"/>
              <a:gd name="T75" fmla="*/ 101033 h 28"/>
              <a:gd name="T76" fmla="*/ 0 w 20"/>
              <a:gd name="T77" fmla="*/ 82323 h 28"/>
              <a:gd name="T78" fmla="*/ 14923 w 20"/>
              <a:gd name="T79" fmla="*/ 86065 h 28"/>
              <a:gd name="T80" fmla="*/ 29845 w 20"/>
              <a:gd name="T81" fmla="*/ 86065 h 28"/>
              <a:gd name="T82" fmla="*/ 37307 w 20"/>
              <a:gd name="T83" fmla="*/ 86065 h 28"/>
              <a:gd name="T84" fmla="*/ 44768 w 20"/>
              <a:gd name="T85" fmla="*/ 86065 h 28"/>
              <a:gd name="T86" fmla="*/ 48498 w 20"/>
              <a:gd name="T87" fmla="*/ 82323 h 28"/>
              <a:gd name="T88" fmla="*/ 48498 w 20"/>
              <a:gd name="T89" fmla="*/ 74839 h 28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20" h="28">
                <a:moveTo>
                  <a:pt x="13" y="20"/>
                </a:moveTo>
                <a:cubicBezTo>
                  <a:pt x="13" y="19"/>
                  <a:pt x="13" y="19"/>
                  <a:pt x="13" y="19"/>
                </a:cubicBezTo>
                <a:cubicBezTo>
                  <a:pt x="12" y="18"/>
                  <a:pt x="12" y="18"/>
                  <a:pt x="11" y="18"/>
                </a:cubicBezTo>
                <a:cubicBezTo>
                  <a:pt x="11" y="17"/>
                  <a:pt x="10" y="17"/>
                  <a:pt x="9" y="17"/>
                </a:cubicBezTo>
                <a:cubicBezTo>
                  <a:pt x="7" y="16"/>
                  <a:pt x="7" y="16"/>
                  <a:pt x="7" y="16"/>
                </a:cubicBezTo>
                <a:cubicBezTo>
                  <a:pt x="6" y="16"/>
                  <a:pt x="6" y="16"/>
                  <a:pt x="5" y="16"/>
                </a:cubicBezTo>
                <a:cubicBezTo>
                  <a:pt x="4" y="15"/>
                  <a:pt x="3" y="15"/>
                  <a:pt x="2" y="14"/>
                </a:cubicBezTo>
                <a:cubicBezTo>
                  <a:pt x="2" y="14"/>
                  <a:pt x="1" y="13"/>
                  <a:pt x="1" y="12"/>
                </a:cubicBezTo>
                <a:cubicBezTo>
                  <a:pt x="0" y="11"/>
                  <a:pt x="0" y="10"/>
                  <a:pt x="0" y="9"/>
                </a:cubicBezTo>
                <a:cubicBezTo>
                  <a:pt x="0" y="8"/>
                  <a:pt x="0" y="6"/>
                  <a:pt x="1" y="5"/>
                </a:cubicBezTo>
                <a:cubicBezTo>
                  <a:pt x="2" y="4"/>
                  <a:pt x="2" y="3"/>
                  <a:pt x="3" y="3"/>
                </a:cubicBezTo>
                <a:cubicBezTo>
                  <a:pt x="4" y="2"/>
                  <a:pt x="5" y="1"/>
                  <a:pt x="6" y="1"/>
                </a:cubicBezTo>
                <a:cubicBezTo>
                  <a:pt x="7" y="1"/>
                  <a:pt x="9" y="0"/>
                  <a:pt x="10" y="0"/>
                </a:cubicBezTo>
                <a:cubicBezTo>
                  <a:pt x="12" y="0"/>
                  <a:pt x="13" y="1"/>
                  <a:pt x="15" y="1"/>
                </a:cubicBezTo>
                <a:cubicBezTo>
                  <a:pt x="16" y="1"/>
                  <a:pt x="17" y="1"/>
                  <a:pt x="19" y="2"/>
                </a:cubicBezTo>
                <a:cubicBezTo>
                  <a:pt x="19" y="7"/>
                  <a:pt x="19" y="7"/>
                  <a:pt x="19" y="7"/>
                </a:cubicBezTo>
                <a:cubicBezTo>
                  <a:pt x="17" y="7"/>
                  <a:pt x="17" y="7"/>
                  <a:pt x="17" y="7"/>
                </a:cubicBezTo>
                <a:cubicBezTo>
                  <a:pt x="15" y="6"/>
                  <a:pt x="15" y="6"/>
                  <a:pt x="15" y="6"/>
                </a:cubicBezTo>
                <a:cubicBezTo>
                  <a:pt x="13" y="6"/>
                  <a:pt x="13" y="6"/>
                  <a:pt x="13" y="6"/>
                </a:cubicBezTo>
                <a:cubicBezTo>
                  <a:pt x="11" y="6"/>
                  <a:pt x="11" y="6"/>
                  <a:pt x="11" y="6"/>
                </a:cubicBezTo>
                <a:cubicBezTo>
                  <a:pt x="10" y="6"/>
                  <a:pt x="9" y="6"/>
                  <a:pt x="9" y="6"/>
                </a:cubicBezTo>
                <a:cubicBezTo>
                  <a:pt x="8" y="6"/>
                  <a:pt x="8" y="6"/>
                  <a:pt x="8" y="7"/>
                </a:cubicBezTo>
                <a:cubicBezTo>
                  <a:pt x="7" y="7"/>
                  <a:pt x="7" y="7"/>
                  <a:pt x="7" y="7"/>
                </a:cubicBezTo>
                <a:cubicBezTo>
                  <a:pt x="7" y="8"/>
                  <a:pt x="7" y="8"/>
                  <a:pt x="7" y="8"/>
                </a:cubicBezTo>
                <a:cubicBezTo>
                  <a:pt x="7" y="9"/>
                  <a:pt x="7" y="9"/>
                  <a:pt x="7" y="10"/>
                </a:cubicBezTo>
                <a:cubicBezTo>
                  <a:pt x="7" y="10"/>
                  <a:pt x="8" y="11"/>
                  <a:pt x="8" y="11"/>
                </a:cubicBezTo>
                <a:cubicBezTo>
                  <a:pt x="9" y="11"/>
                  <a:pt x="10" y="11"/>
                  <a:pt x="10" y="11"/>
                </a:cubicBezTo>
                <a:cubicBezTo>
                  <a:pt x="12" y="12"/>
                  <a:pt x="12" y="12"/>
                  <a:pt x="12" y="12"/>
                </a:cubicBezTo>
                <a:cubicBezTo>
                  <a:pt x="13" y="12"/>
                  <a:pt x="14" y="12"/>
                  <a:pt x="15" y="13"/>
                </a:cubicBezTo>
                <a:cubicBezTo>
                  <a:pt x="16" y="13"/>
                  <a:pt x="16" y="13"/>
                  <a:pt x="17" y="14"/>
                </a:cubicBezTo>
                <a:cubicBezTo>
                  <a:pt x="18" y="15"/>
                  <a:pt x="18" y="15"/>
                  <a:pt x="19" y="16"/>
                </a:cubicBezTo>
                <a:cubicBezTo>
                  <a:pt x="19" y="17"/>
                  <a:pt x="20" y="18"/>
                  <a:pt x="20" y="19"/>
                </a:cubicBezTo>
                <a:cubicBezTo>
                  <a:pt x="20" y="21"/>
                  <a:pt x="19" y="22"/>
                  <a:pt x="19" y="23"/>
                </a:cubicBezTo>
                <a:cubicBezTo>
                  <a:pt x="18" y="25"/>
                  <a:pt x="17" y="25"/>
                  <a:pt x="16" y="26"/>
                </a:cubicBezTo>
                <a:cubicBezTo>
                  <a:pt x="15" y="27"/>
                  <a:pt x="14" y="28"/>
                  <a:pt x="13" y="28"/>
                </a:cubicBezTo>
                <a:cubicBezTo>
                  <a:pt x="11" y="28"/>
                  <a:pt x="10" y="28"/>
                  <a:pt x="8" y="28"/>
                </a:cubicBezTo>
                <a:cubicBezTo>
                  <a:pt x="7" y="28"/>
                  <a:pt x="5" y="28"/>
                  <a:pt x="4" y="28"/>
                </a:cubicBezTo>
                <a:cubicBezTo>
                  <a:pt x="2" y="28"/>
                  <a:pt x="1" y="27"/>
                  <a:pt x="0" y="27"/>
                </a:cubicBezTo>
                <a:cubicBezTo>
                  <a:pt x="0" y="22"/>
                  <a:pt x="0" y="22"/>
                  <a:pt x="0" y="22"/>
                </a:cubicBezTo>
                <a:cubicBezTo>
                  <a:pt x="2" y="22"/>
                  <a:pt x="3" y="23"/>
                  <a:pt x="4" y="23"/>
                </a:cubicBezTo>
                <a:cubicBezTo>
                  <a:pt x="5" y="23"/>
                  <a:pt x="7" y="23"/>
                  <a:pt x="8" y="23"/>
                </a:cubicBezTo>
                <a:cubicBezTo>
                  <a:pt x="8" y="23"/>
                  <a:pt x="9" y="23"/>
                  <a:pt x="10" y="23"/>
                </a:cubicBezTo>
                <a:cubicBezTo>
                  <a:pt x="11" y="23"/>
                  <a:pt x="11" y="23"/>
                  <a:pt x="12" y="23"/>
                </a:cubicBezTo>
                <a:cubicBezTo>
                  <a:pt x="12" y="22"/>
                  <a:pt x="13" y="22"/>
                  <a:pt x="13" y="22"/>
                </a:cubicBezTo>
                <a:cubicBezTo>
                  <a:pt x="13" y="21"/>
                  <a:pt x="13" y="21"/>
                  <a:pt x="13" y="2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800" noProof="0" dirty="0"/>
          </a:p>
        </p:txBody>
      </p:sp>
      <p:sp>
        <p:nvSpPr>
          <p:cNvPr id="32" name="Freeform 29">
            <a:extLst>
              <a:ext uri="{FF2B5EF4-FFF2-40B4-BE49-F238E27FC236}">
                <a16:creationId xmlns:a16="http://schemas.microsoft.com/office/drawing/2014/main" id="{1F952B9C-1814-4864-96B0-5EDF457F8BD9}"/>
              </a:ext>
            </a:extLst>
          </p:cNvPr>
          <p:cNvSpPr>
            <a:spLocks/>
          </p:cNvSpPr>
          <p:nvPr userDrawn="1"/>
        </p:nvSpPr>
        <p:spPr bwMode="gray">
          <a:xfrm>
            <a:off x="10977678" y="1951985"/>
            <a:ext cx="63895" cy="86636"/>
          </a:xfrm>
          <a:custGeom>
            <a:avLst/>
            <a:gdLst>
              <a:gd name="T0" fmla="*/ 76200 w 20"/>
              <a:gd name="T1" fmla="*/ 97837 h 27"/>
              <a:gd name="T2" fmla="*/ 64770 w 20"/>
              <a:gd name="T3" fmla="*/ 101600 h 27"/>
              <a:gd name="T4" fmla="*/ 53340 w 20"/>
              <a:gd name="T5" fmla="*/ 101600 h 27"/>
              <a:gd name="T6" fmla="*/ 30480 w 20"/>
              <a:gd name="T7" fmla="*/ 97837 h 27"/>
              <a:gd name="T8" fmla="*/ 15240 w 20"/>
              <a:gd name="T9" fmla="*/ 90311 h 27"/>
              <a:gd name="T10" fmla="*/ 3810 w 20"/>
              <a:gd name="T11" fmla="*/ 75259 h 27"/>
              <a:gd name="T12" fmla="*/ 0 w 20"/>
              <a:gd name="T13" fmla="*/ 52681 h 27"/>
              <a:gd name="T14" fmla="*/ 3810 w 20"/>
              <a:gd name="T15" fmla="*/ 30104 h 27"/>
              <a:gd name="T16" fmla="*/ 15240 w 20"/>
              <a:gd name="T17" fmla="*/ 11289 h 27"/>
              <a:gd name="T18" fmla="*/ 34290 w 20"/>
              <a:gd name="T19" fmla="*/ 3763 h 27"/>
              <a:gd name="T20" fmla="*/ 53340 w 20"/>
              <a:gd name="T21" fmla="*/ 0 h 27"/>
              <a:gd name="T22" fmla="*/ 64770 w 20"/>
              <a:gd name="T23" fmla="*/ 0 h 27"/>
              <a:gd name="T24" fmla="*/ 76200 w 20"/>
              <a:gd name="T25" fmla="*/ 3763 h 27"/>
              <a:gd name="T26" fmla="*/ 76200 w 20"/>
              <a:gd name="T27" fmla="*/ 22578 h 27"/>
              <a:gd name="T28" fmla="*/ 64770 w 20"/>
              <a:gd name="T29" fmla="*/ 18815 h 27"/>
              <a:gd name="T30" fmla="*/ 57150 w 20"/>
              <a:gd name="T31" fmla="*/ 18815 h 27"/>
              <a:gd name="T32" fmla="*/ 45720 w 20"/>
              <a:gd name="T33" fmla="*/ 22578 h 27"/>
              <a:gd name="T34" fmla="*/ 34290 w 20"/>
              <a:gd name="T35" fmla="*/ 26341 h 27"/>
              <a:gd name="T36" fmla="*/ 26670 w 20"/>
              <a:gd name="T37" fmla="*/ 37630 h 27"/>
              <a:gd name="T38" fmla="*/ 26670 w 20"/>
              <a:gd name="T39" fmla="*/ 52681 h 27"/>
              <a:gd name="T40" fmla="*/ 26670 w 20"/>
              <a:gd name="T41" fmla="*/ 63970 h 27"/>
              <a:gd name="T42" fmla="*/ 34290 w 20"/>
              <a:gd name="T43" fmla="*/ 75259 h 27"/>
              <a:gd name="T44" fmla="*/ 41910 w 20"/>
              <a:gd name="T45" fmla="*/ 79022 h 27"/>
              <a:gd name="T46" fmla="*/ 53340 w 20"/>
              <a:gd name="T47" fmla="*/ 82785 h 27"/>
              <a:gd name="T48" fmla="*/ 68580 w 20"/>
              <a:gd name="T49" fmla="*/ 82785 h 27"/>
              <a:gd name="T50" fmla="*/ 76200 w 20"/>
              <a:gd name="T51" fmla="*/ 79022 h 27"/>
              <a:gd name="T52" fmla="*/ 76200 w 20"/>
              <a:gd name="T53" fmla="*/ 97837 h 27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0" h="27">
                <a:moveTo>
                  <a:pt x="20" y="26"/>
                </a:moveTo>
                <a:cubicBezTo>
                  <a:pt x="19" y="26"/>
                  <a:pt x="18" y="27"/>
                  <a:pt x="17" y="27"/>
                </a:cubicBezTo>
                <a:cubicBezTo>
                  <a:pt x="16" y="27"/>
                  <a:pt x="15" y="27"/>
                  <a:pt x="14" y="27"/>
                </a:cubicBezTo>
                <a:cubicBezTo>
                  <a:pt x="12" y="27"/>
                  <a:pt x="10" y="27"/>
                  <a:pt x="8" y="26"/>
                </a:cubicBezTo>
                <a:cubicBezTo>
                  <a:pt x="7" y="26"/>
                  <a:pt x="5" y="25"/>
                  <a:pt x="4" y="24"/>
                </a:cubicBezTo>
                <a:cubicBezTo>
                  <a:pt x="3" y="23"/>
                  <a:pt x="2" y="22"/>
                  <a:pt x="1" y="20"/>
                </a:cubicBezTo>
                <a:cubicBezTo>
                  <a:pt x="0" y="18"/>
                  <a:pt x="0" y="16"/>
                  <a:pt x="0" y="14"/>
                </a:cubicBezTo>
                <a:cubicBezTo>
                  <a:pt x="0" y="12"/>
                  <a:pt x="0" y="10"/>
                  <a:pt x="1" y="8"/>
                </a:cubicBezTo>
                <a:cubicBezTo>
                  <a:pt x="2" y="6"/>
                  <a:pt x="3" y="4"/>
                  <a:pt x="4" y="3"/>
                </a:cubicBezTo>
                <a:cubicBezTo>
                  <a:pt x="6" y="2"/>
                  <a:pt x="7" y="1"/>
                  <a:pt x="9" y="1"/>
                </a:cubicBezTo>
                <a:cubicBezTo>
                  <a:pt x="10" y="0"/>
                  <a:pt x="12" y="0"/>
                  <a:pt x="14" y="0"/>
                </a:cubicBezTo>
                <a:cubicBezTo>
                  <a:pt x="15" y="0"/>
                  <a:pt x="16" y="0"/>
                  <a:pt x="17" y="0"/>
                </a:cubicBezTo>
                <a:cubicBezTo>
                  <a:pt x="18" y="0"/>
                  <a:pt x="19" y="1"/>
                  <a:pt x="20" y="1"/>
                </a:cubicBezTo>
                <a:cubicBezTo>
                  <a:pt x="20" y="6"/>
                  <a:pt x="20" y="6"/>
                  <a:pt x="20" y="6"/>
                </a:cubicBezTo>
                <a:cubicBezTo>
                  <a:pt x="19" y="6"/>
                  <a:pt x="18" y="6"/>
                  <a:pt x="17" y="5"/>
                </a:cubicBezTo>
                <a:cubicBezTo>
                  <a:pt x="16" y="5"/>
                  <a:pt x="15" y="5"/>
                  <a:pt x="15" y="5"/>
                </a:cubicBezTo>
                <a:cubicBezTo>
                  <a:pt x="14" y="5"/>
                  <a:pt x="13" y="5"/>
                  <a:pt x="12" y="6"/>
                </a:cubicBezTo>
                <a:cubicBezTo>
                  <a:pt x="11" y="6"/>
                  <a:pt x="10" y="6"/>
                  <a:pt x="9" y="7"/>
                </a:cubicBezTo>
                <a:cubicBezTo>
                  <a:pt x="8" y="8"/>
                  <a:pt x="8" y="9"/>
                  <a:pt x="7" y="10"/>
                </a:cubicBezTo>
                <a:cubicBezTo>
                  <a:pt x="7" y="11"/>
                  <a:pt x="7" y="12"/>
                  <a:pt x="7" y="14"/>
                </a:cubicBezTo>
                <a:cubicBezTo>
                  <a:pt x="7" y="15"/>
                  <a:pt x="7" y="16"/>
                  <a:pt x="7" y="17"/>
                </a:cubicBezTo>
                <a:cubicBezTo>
                  <a:pt x="7" y="18"/>
                  <a:pt x="8" y="19"/>
                  <a:pt x="9" y="20"/>
                </a:cubicBezTo>
                <a:cubicBezTo>
                  <a:pt x="9" y="20"/>
                  <a:pt x="10" y="21"/>
                  <a:pt x="11" y="21"/>
                </a:cubicBezTo>
                <a:cubicBezTo>
                  <a:pt x="12" y="22"/>
                  <a:pt x="13" y="22"/>
                  <a:pt x="14" y="22"/>
                </a:cubicBezTo>
                <a:cubicBezTo>
                  <a:pt x="16" y="22"/>
                  <a:pt x="17" y="22"/>
                  <a:pt x="18" y="22"/>
                </a:cubicBezTo>
                <a:cubicBezTo>
                  <a:pt x="19" y="22"/>
                  <a:pt x="19" y="21"/>
                  <a:pt x="20" y="21"/>
                </a:cubicBezTo>
                <a:lnTo>
                  <a:pt x="20" y="2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800" noProof="0" dirty="0"/>
          </a:p>
        </p:txBody>
      </p:sp>
      <p:sp>
        <p:nvSpPr>
          <p:cNvPr id="33" name="Freeform 30">
            <a:extLst>
              <a:ext uri="{FF2B5EF4-FFF2-40B4-BE49-F238E27FC236}">
                <a16:creationId xmlns:a16="http://schemas.microsoft.com/office/drawing/2014/main" id="{EBC8BD41-22AA-40B9-A221-088A02BED64F}"/>
              </a:ext>
            </a:extLst>
          </p:cNvPr>
          <p:cNvSpPr>
            <a:spLocks/>
          </p:cNvSpPr>
          <p:nvPr userDrawn="1"/>
        </p:nvSpPr>
        <p:spPr bwMode="gray">
          <a:xfrm>
            <a:off x="11060209" y="1910021"/>
            <a:ext cx="74545" cy="128600"/>
          </a:xfrm>
          <a:custGeom>
            <a:avLst/>
            <a:gdLst>
              <a:gd name="T0" fmla="*/ 25929 w 24"/>
              <a:gd name="T1" fmla="*/ 41473 h 40"/>
              <a:gd name="T2" fmla="*/ 25929 w 24"/>
              <a:gd name="T3" fmla="*/ 52784 h 40"/>
              <a:gd name="T4" fmla="*/ 22225 w 24"/>
              <a:gd name="T5" fmla="*/ 64095 h 40"/>
              <a:gd name="T6" fmla="*/ 22225 w 24"/>
              <a:gd name="T7" fmla="*/ 64095 h 40"/>
              <a:gd name="T8" fmla="*/ 29633 w 24"/>
              <a:gd name="T9" fmla="*/ 56555 h 40"/>
              <a:gd name="T10" fmla="*/ 37042 w 24"/>
              <a:gd name="T11" fmla="*/ 52784 h 40"/>
              <a:gd name="T12" fmla="*/ 44450 w 24"/>
              <a:gd name="T13" fmla="*/ 49014 h 40"/>
              <a:gd name="T14" fmla="*/ 55563 w 24"/>
              <a:gd name="T15" fmla="*/ 49014 h 40"/>
              <a:gd name="T16" fmla="*/ 62971 w 24"/>
              <a:gd name="T17" fmla="*/ 49014 h 40"/>
              <a:gd name="T18" fmla="*/ 74083 w 24"/>
              <a:gd name="T19" fmla="*/ 52784 h 40"/>
              <a:gd name="T20" fmla="*/ 77788 w 24"/>
              <a:gd name="T21" fmla="*/ 56555 h 40"/>
              <a:gd name="T22" fmla="*/ 85196 w 24"/>
              <a:gd name="T23" fmla="*/ 64095 h 40"/>
              <a:gd name="T24" fmla="*/ 88900 w 24"/>
              <a:gd name="T25" fmla="*/ 75406 h 40"/>
              <a:gd name="T26" fmla="*/ 88900 w 24"/>
              <a:gd name="T27" fmla="*/ 86717 h 40"/>
              <a:gd name="T28" fmla="*/ 88900 w 24"/>
              <a:gd name="T29" fmla="*/ 150812 h 40"/>
              <a:gd name="T30" fmla="*/ 66675 w 24"/>
              <a:gd name="T31" fmla="*/ 150812 h 40"/>
              <a:gd name="T32" fmla="*/ 66675 w 24"/>
              <a:gd name="T33" fmla="*/ 90487 h 40"/>
              <a:gd name="T34" fmla="*/ 66675 w 24"/>
              <a:gd name="T35" fmla="*/ 82947 h 40"/>
              <a:gd name="T36" fmla="*/ 62971 w 24"/>
              <a:gd name="T37" fmla="*/ 75406 h 40"/>
              <a:gd name="T38" fmla="*/ 59267 w 24"/>
              <a:gd name="T39" fmla="*/ 71636 h 40"/>
              <a:gd name="T40" fmla="*/ 48154 w 24"/>
              <a:gd name="T41" fmla="*/ 67865 h 40"/>
              <a:gd name="T42" fmla="*/ 37042 w 24"/>
              <a:gd name="T43" fmla="*/ 71636 h 40"/>
              <a:gd name="T44" fmla="*/ 25929 w 24"/>
              <a:gd name="T45" fmla="*/ 82947 h 40"/>
              <a:gd name="T46" fmla="*/ 25929 w 24"/>
              <a:gd name="T47" fmla="*/ 150812 h 40"/>
              <a:gd name="T48" fmla="*/ 0 w 24"/>
              <a:gd name="T49" fmla="*/ 150812 h 40"/>
              <a:gd name="T50" fmla="*/ 0 w 24"/>
              <a:gd name="T51" fmla="*/ 0 h 40"/>
              <a:gd name="T52" fmla="*/ 25929 w 24"/>
              <a:gd name="T53" fmla="*/ 0 h 40"/>
              <a:gd name="T54" fmla="*/ 25929 w 24"/>
              <a:gd name="T55" fmla="*/ 41473 h 40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4" h="40">
                <a:moveTo>
                  <a:pt x="7" y="11"/>
                </a:moveTo>
                <a:cubicBezTo>
                  <a:pt x="7" y="12"/>
                  <a:pt x="7" y="13"/>
                  <a:pt x="7" y="14"/>
                </a:cubicBezTo>
                <a:cubicBezTo>
                  <a:pt x="7" y="15"/>
                  <a:pt x="7" y="16"/>
                  <a:pt x="6" y="17"/>
                </a:cubicBezTo>
                <a:cubicBezTo>
                  <a:pt x="6" y="17"/>
                  <a:pt x="6" y="17"/>
                  <a:pt x="6" y="17"/>
                </a:cubicBezTo>
                <a:cubicBezTo>
                  <a:pt x="7" y="16"/>
                  <a:pt x="7" y="16"/>
                  <a:pt x="8" y="15"/>
                </a:cubicBezTo>
                <a:cubicBezTo>
                  <a:pt x="8" y="15"/>
                  <a:pt x="9" y="14"/>
                  <a:pt x="10" y="14"/>
                </a:cubicBezTo>
                <a:cubicBezTo>
                  <a:pt x="10" y="14"/>
                  <a:pt x="11" y="13"/>
                  <a:pt x="12" y="13"/>
                </a:cubicBezTo>
                <a:cubicBezTo>
                  <a:pt x="13" y="13"/>
                  <a:pt x="14" y="13"/>
                  <a:pt x="15" y="13"/>
                </a:cubicBezTo>
                <a:cubicBezTo>
                  <a:pt x="16" y="13"/>
                  <a:pt x="16" y="13"/>
                  <a:pt x="17" y="13"/>
                </a:cubicBezTo>
                <a:cubicBezTo>
                  <a:pt x="18" y="13"/>
                  <a:pt x="19" y="13"/>
                  <a:pt x="20" y="14"/>
                </a:cubicBezTo>
                <a:cubicBezTo>
                  <a:pt x="20" y="14"/>
                  <a:pt x="21" y="15"/>
                  <a:pt x="21" y="15"/>
                </a:cubicBezTo>
                <a:cubicBezTo>
                  <a:pt x="22" y="16"/>
                  <a:pt x="23" y="16"/>
                  <a:pt x="23" y="17"/>
                </a:cubicBezTo>
                <a:cubicBezTo>
                  <a:pt x="23" y="18"/>
                  <a:pt x="24" y="19"/>
                  <a:pt x="24" y="20"/>
                </a:cubicBezTo>
                <a:cubicBezTo>
                  <a:pt x="24" y="21"/>
                  <a:pt x="24" y="22"/>
                  <a:pt x="24" y="23"/>
                </a:cubicBezTo>
                <a:cubicBezTo>
                  <a:pt x="24" y="40"/>
                  <a:pt x="24" y="40"/>
                  <a:pt x="24" y="40"/>
                </a:cubicBezTo>
                <a:cubicBezTo>
                  <a:pt x="18" y="40"/>
                  <a:pt x="18" y="40"/>
                  <a:pt x="18" y="40"/>
                </a:cubicBezTo>
                <a:cubicBezTo>
                  <a:pt x="18" y="24"/>
                  <a:pt x="18" y="24"/>
                  <a:pt x="18" y="24"/>
                </a:cubicBezTo>
                <a:cubicBezTo>
                  <a:pt x="18" y="23"/>
                  <a:pt x="18" y="22"/>
                  <a:pt x="18" y="22"/>
                </a:cubicBezTo>
                <a:cubicBezTo>
                  <a:pt x="17" y="21"/>
                  <a:pt x="17" y="21"/>
                  <a:pt x="17" y="20"/>
                </a:cubicBezTo>
                <a:cubicBezTo>
                  <a:pt x="17" y="20"/>
                  <a:pt x="16" y="19"/>
                  <a:pt x="16" y="19"/>
                </a:cubicBezTo>
                <a:cubicBezTo>
                  <a:pt x="15" y="18"/>
                  <a:pt x="14" y="18"/>
                  <a:pt x="13" y="18"/>
                </a:cubicBezTo>
                <a:cubicBezTo>
                  <a:pt x="12" y="18"/>
                  <a:pt x="11" y="18"/>
                  <a:pt x="10" y="19"/>
                </a:cubicBezTo>
                <a:cubicBezTo>
                  <a:pt x="8" y="20"/>
                  <a:pt x="8" y="20"/>
                  <a:pt x="7" y="22"/>
                </a:cubicBezTo>
                <a:cubicBezTo>
                  <a:pt x="7" y="40"/>
                  <a:pt x="7" y="40"/>
                  <a:pt x="7" y="40"/>
                </a:cubicBezTo>
                <a:cubicBezTo>
                  <a:pt x="0" y="40"/>
                  <a:pt x="0" y="40"/>
                  <a:pt x="0" y="40"/>
                </a:cubicBezTo>
                <a:cubicBezTo>
                  <a:pt x="0" y="0"/>
                  <a:pt x="0" y="0"/>
                  <a:pt x="0" y="0"/>
                </a:cubicBezTo>
                <a:cubicBezTo>
                  <a:pt x="7" y="0"/>
                  <a:pt x="7" y="0"/>
                  <a:pt x="7" y="0"/>
                </a:cubicBezTo>
                <a:lnTo>
                  <a:pt x="7" y="1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800" noProof="0" dirty="0"/>
          </a:p>
        </p:txBody>
      </p:sp>
      <p:sp>
        <p:nvSpPr>
          <p:cNvPr id="34" name="Freeform 31">
            <a:extLst>
              <a:ext uri="{FF2B5EF4-FFF2-40B4-BE49-F238E27FC236}">
                <a16:creationId xmlns:a16="http://schemas.microsoft.com/office/drawing/2014/main" id="{A340B4F6-B4A2-41BF-916F-617D8C996783}"/>
              </a:ext>
            </a:extLst>
          </p:cNvPr>
          <p:cNvSpPr>
            <a:spLocks noEditPoints="1"/>
          </p:cNvSpPr>
          <p:nvPr userDrawn="1"/>
        </p:nvSpPr>
        <p:spPr bwMode="gray">
          <a:xfrm>
            <a:off x="11154721" y="1951985"/>
            <a:ext cx="81201" cy="86636"/>
          </a:xfrm>
          <a:custGeom>
            <a:avLst/>
            <a:gdLst>
              <a:gd name="T0" fmla="*/ 96838 w 26"/>
              <a:gd name="T1" fmla="*/ 48919 h 27"/>
              <a:gd name="T2" fmla="*/ 93113 w 26"/>
              <a:gd name="T3" fmla="*/ 71496 h 27"/>
              <a:gd name="T4" fmla="*/ 85664 w 26"/>
              <a:gd name="T5" fmla="*/ 86548 h 27"/>
              <a:gd name="T6" fmla="*/ 70766 w 26"/>
              <a:gd name="T7" fmla="*/ 97837 h 27"/>
              <a:gd name="T8" fmla="*/ 48419 w 26"/>
              <a:gd name="T9" fmla="*/ 101600 h 27"/>
              <a:gd name="T10" fmla="*/ 29796 w 26"/>
              <a:gd name="T11" fmla="*/ 97837 h 27"/>
              <a:gd name="T12" fmla="*/ 14898 w 26"/>
              <a:gd name="T13" fmla="*/ 86548 h 27"/>
              <a:gd name="T14" fmla="*/ 3725 w 26"/>
              <a:gd name="T15" fmla="*/ 71496 h 27"/>
              <a:gd name="T16" fmla="*/ 3725 w 26"/>
              <a:gd name="T17" fmla="*/ 30104 h 27"/>
              <a:gd name="T18" fmla="*/ 14898 w 26"/>
              <a:gd name="T19" fmla="*/ 11289 h 27"/>
              <a:gd name="T20" fmla="*/ 29796 w 26"/>
              <a:gd name="T21" fmla="*/ 3763 h 27"/>
              <a:gd name="T22" fmla="*/ 48419 w 26"/>
              <a:gd name="T23" fmla="*/ 0 h 27"/>
              <a:gd name="T24" fmla="*/ 70766 w 26"/>
              <a:gd name="T25" fmla="*/ 3763 h 27"/>
              <a:gd name="T26" fmla="*/ 85664 w 26"/>
              <a:gd name="T27" fmla="*/ 11289 h 27"/>
              <a:gd name="T28" fmla="*/ 93113 w 26"/>
              <a:gd name="T29" fmla="*/ 30104 h 27"/>
              <a:gd name="T30" fmla="*/ 96838 w 26"/>
              <a:gd name="T31" fmla="*/ 48919 h 27"/>
              <a:gd name="T32" fmla="*/ 70766 w 26"/>
              <a:gd name="T33" fmla="*/ 48919 h 27"/>
              <a:gd name="T34" fmla="*/ 70766 w 26"/>
              <a:gd name="T35" fmla="*/ 37630 h 27"/>
              <a:gd name="T36" fmla="*/ 67042 w 26"/>
              <a:gd name="T37" fmla="*/ 26341 h 27"/>
              <a:gd name="T38" fmla="*/ 59593 w 26"/>
              <a:gd name="T39" fmla="*/ 18815 h 27"/>
              <a:gd name="T40" fmla="*/ 48419 w 26"/>
              <a:gd name="T41" fmla="*/ 18815 h 27"/>
              <a:gd name="T42" fmla="*/ 37245 w 26"/>
              <a:gd name="T43" fmla="*/ 18815 h 27"/>
              <a:gd name="T44" fmla="*/ 29796 w 26"/>
              <a:gd name="T45" fmla="*/ 26341 h 27"/>
              <a:gd name="T46" fmla="*/ 26072 w 26"/>
              <a:gd name="T47" fmla="*/ 37630 h 27"/>
              <a:gd name="T48" fmla="*/ 26072 w 26"/>
              <a:gd name="T49" fmla="*/ 63970 h 27"/>
              <a:gd name="T50" fmla="*/ 29796 w 26"/>
              <a:gd name="T51" fmla="*/ 75259 h 27"/>
              <a:gd name="T52" fmla="*/ 37245 w 26"/>
              <a:gd name="T53" fmla="*/ 79022 h 27"/>
              <a:gd name="T54" fmla="*/ 59593 w 26"/>
              <a:gd name="T55" fmla="*/ 79022 h 27"/>
              <a:gd name="T56" fmla="*/ 67042 w 26"/>
              <a:gd name="T57" fmla="*/ 75259 h 27"/>
              <a:gd name="T58" fmla="*/ 70766 w 26"/>
              <a:gd name="T59" fmla="*/ 63970 h 27"/>
              <a:gd name="T60" fmla="*/ 70766 w 26"/>
              <a:gd name="T61" fmla="*/ 48919 h 2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6" h="27">
                <a:moveTo>
                  <a:pt x="26" y="13"/>
                </a:moveTo>
                <a:cubicBezTo>
                  <a:pt x="26" y="15"/>
                  <a:pt x="26" y="17"/>
                  <a:pt x="25" y="19"/>
                </a:cubicBezTo>
                <a:cubicBezTo>
                  <a:pt x="25" y="21"/>
                  <a:pt x="24" y="22"/>
                  <a:pt x="23" y="23"/>
                </a:cubicBezTo>
                <a:cubicBezTo>
                  <a:pt x="21" y="25"/>
                  <a:pt x="20" y="26"/>
                  <a:pt x="19" y="26"/>
                </a:cubicBezTo>
                <a:cubicBezTo>
                  <a:pt x="17" y="27"/>
                  <a:pt x="15" y="27"/>
                  <a:pt x="13" y="27"/>
                </a:cubicBezTo>
                <a:cubicBezTo>
                  <a:pt x="11" y="27"/>
                  <a:pt x="9" y="27"/>
                  <a:pt x="8" y="26"/>
                </a:cubicBezTo>
                <a:cubicBezTo>
                  <a:pt x="6" y="26"/>
                  <a:pt x="5" y="25"/>
                  <a:pt x="4" y="23"/>
                </a:cubicBezTo>
                <a:cubicBezTo>
                  <a:pt x="2" y="22"/>
                  <a:pt x="2" y="21"/>
                  <a:pt x="1" y="19"/>
                </a:cubicBezTo>
                <a:cubicBezTo>
                  <a:pt x="0" y="15"/>
                  <a:pt x="0" y="11"/>
                  <a:pt x="1" y="8"/>
                </a:cubicBezTo>
                <a:cubicBezTo>
                  <a:pt x="2" y="6"/>
                  <a:pt x="2" y="5"/>
                  <a:pt x="4" y="3"/>
                </a:cubicBezTo>
                <a:cubicBezTo>
                  <a:pt x="5" y="2"/>
                  <a:pt x="6" y="1"/>
                  <a:pt x="8" y="1"/>
                </a:cubicBezTo>
                <a:cubicBezTo>
                  <a:pt x="10" y="0"/>
                  <a:pt x="11" y="0"/>
                  <a:pt x="13" y="0"/>
                </a:cubicBezTo>
                <a:cubicBezTo>
                  <a:pt x="15" y="0"/>
                  <a:pt x="17" y="0"/>
                  <a:pt x="19" y="1"/>
                </a:cubicBezTo>
                <a:cubicBezTo>
                  <a:pt x="20" y="1"/>
                  <a:pt x="22" y="2"/>
                  <a:pt x="23" y="3"/>
                </a:cubicBezTo>
                <a:cubicBezTo>
                  <a:pt x="24" y="5"/>
                  <a:pt x="25" y="6"/>
                  <a:pt x="25" y="8"/>
                </a:cubicBezTo>
                <a:cubicBezTo>
                  <a:pt x="26" y="10"/>
                  <a:pt x="26" y="12"/>
                  <a:pt x="26" y="13"/>
                </a:cubicBezTo>
                <a:close/>
                <a:moveTo>
                  <a:pt x="19" y="13"/>
                </a:moveTo>
                <a:cubicBezTo>
                  <a:pt x="19" y="12"/>
                  <a:pt x="19" y="11"/>
                  <a:pt x="19" y="10"/>
                </a:cubicBezTo>
                <a:cubicBezTo>
                  <a:pt x="19" y="9"/>
                  <a:pt x="18" y="8"/>
                  <a:pt x="18" y="7"/>
                </a:cubicBezTo>
                <a:cubicBezTo>
                  <a:pt x="17" y="6"/>
                  <a:pt x="16" y="6"/>
                  <a:pt x="16" y="5"/>
                </a:cubicBezTo>
                <a:cubicBezTo>
                  <a:pt x="15" y="5"/>
                  <a:pt x="14" y="5"/>
                  <a:pt x="13" y="5"/>
                </a:cubicBezTo>
                <a:cubicBezTo>
                  <a:pt x="12" y="5"/>
                  <a:pt x="11" y="5"/>
                  <a:pt x="10" y="5"/>
                </a:cubicBezTo>
                <a:cubicBezTo>
                  <a:pt x="9" y="6"/>
                  <a:pt x="9" y="6"/>
                  <a:pt x="8" y="7"/>
                </a:cubicBezTo>
                <a:cubicBezTo>
                  <a:pt x="8" y="8"/>
                  <a:pt x="7" y="9"/>
                  <a:pt x="7" y="10"/>
                </a:cubicBezTo>
                <a:cubicBezTo>
                  <a:pt x="6" y="12"/>
                  <a:pt x="6" y="15"/>
                  <a:pt x="7" y="17"/>
                </a:cubicBezTo>
                <a:cubicBezTo>
                  <a:pt x="7" y="18"/>
                  <a:pt x="8" y="19"/>
                  <a:pt x="8" y="20"/>
                </a:cubicBezTo>
                <a:cubicBezTo>
                  <a:pt x="9" y="21"/>
                  <a:pt x="9" y="21"/>
                  <a:pt x="10" y="21"/>
                </a:cubicBezTo>
                <a:cubicBezTo>
                  <a:pt x="12" y="22"/>
                  <a:pt x="14" y="22"/>
                  <a:pt x="16" y="21"/>
                </a:cubicBezTo>
                <a:cubicBezTo>
                  <a:pt x="16" y="21"/>
                  <a:pt x="17" y="21"/>
                  <a:pt x="18" y="20"/>
                </a:cubicBezTo>
                <a:cubicBezTo>
                  <a:pt x="18" y="19"/>
                  <a:pt x="19" y="18"/>
                  <a:pt x="19" y="17"/>
                </a:cubicBezTo>
                <a:cubicBezTo>
                  <a:pt x="19" y="16"/>
                  <a:pt x="19" y="15"/>
                  <a:pt x="19" y="13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800" noProof="0" dirty="0"/>
          </a:p>
        </p:txBody>
      </p:sp>
      <p:sp>
        <p:nvSpPr>
          <p:cNvPr id="35" name="Freeform 32">
            <a:extLst>
              <a:ext uri="{FF2B5EF4-FFF2-40B4-BE49-F238E27FC236}">
                <a16:creationId xmlns:a16="http://schemas.microsoft.com/office/drawing/2014/main" id="{B96D6857-8A0D-4DE9-A2CA-2C5050EA2EFE}"/>
              </a:ext>
            </a:extLst>
          </p:cNvPr>
          <p:cNvSpPr>
            <a:spLocks noEditPoints="1"/>
          </p:cNvSpPr>
          <p:nvPr userDrawn="1"/>
        </p:nvSpPr>
        <p:spPr bwMode="gray">
          <a:xfrm>
            <a:off x="11254557" y="1910021"/>
            <a:ext cx="22630" cy="128600"/>
          </a:xfrm>
          <a:custGeom>
            <a:avLst/>
            <a:gdLst>
              <a:gd name="T0" fmla="*/ 0 w 17"/>
              <a:gd name="T1" fmla="*/ 0 h 95"/>
              <a:gd name="T2" fmla="*/ 26988 w 17"/>
              <a:gd name="T3" fmla="*/ 0 h 95"/>
              <a:gd name="T4" fmla="*/ 26988 w 17"/>
              <a:gd name="T5" fmla="*/ 26987 h 95"/>
              <a:gd name="T6" fmla="*/ 0 w 17"/>
              <a:gd name="T7" fmla="*/ 26987 h 95"/>
              <a:gd name="T8" fmla="*/ 0 w 17"/>
              <a:gd name="T9" fmla="*/ 0 h 95"/>
              <a:gd name="T10" fmla="*/ 0 w 17"/>
              <a:gd name="T11" fmla="*/ 49212 h 95"/>
              <a:gd name="T12" fmla="*/ 22225 w 17"/>
              <a:gd name="T13" fmla="*/ 49212 h 95"/>
              <a:gd name="T14" fmla="*/ 22225 w 17"/>
              <a:gd name="T15" fmla="*/ 150812 h 95"/>
              <a:gd name="T16" fmla="*/ 0 w 17"/>
              <a:gd name="T17" fmla="*/ 150812 h 95"/>
              <a:gd name="T18" fmla="*/ 0 w 17"/>
              <a:gd name="T19" fmla="*/ 49212 h 9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17" h="95">
                <a:moveTo>
                  <a:pt x="0" y="0"/>
                </a:moveTo>
                <a:lnTo>
                  <a:pt x="17" y="0"/>
                </a:lnTo>
                <a:lnTo>
                  <a:pt x="17" y="17"/>
                </a:lnTo>
                <a:lnTo>
                  <a:pt x="0" y="17"/>
                </a:lnTo>
                <a:lnTo>
                  <a:pt x="0" y="0"/>
                </a:lnTo>
                <a:close/>
                <a:moveTo>
                  <a:pt x="0" y="31"/>
                </a:moveTo>
                <a:lnTo>
                  <a:pt x="14" y="31"/>
                </a:lnTo>
                <a:lnTo>
                  <a:pt x="14" y="95"/>
                </a:lnTo>
                <a:lnTo>
                  <a:pt x="0" y="95"/>
                </a:lnTo>
                <a:lnTo>
                  <a:pt x="0" y="3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800" noProof="0" dirty="0"/>
          </a:p>
        </p:txBody>
      </p:sp>
      <p:sp>
        <p:nvSpPr>
          <p:cNvPr id="36" name="Freeform 33">
            <a:extLst>
              <a:ext uri="{FF2B5EF4-FFF2-40B4-BE49-F238E27FC236}">
                <a16:creationId xmlns:a16="http://schemas.microsoft.com/office/drawing/2014/main" id="{24D81610-F374-4CA2-9583-EC708B033AF3}"/>
              </a:ext>
            </a:extLst>
          </p:cNvPr>
          <p:cNvSpPr>
            <a:spLocks/>
          </p:cNvSpPr>
          <p:nvPr userDrawn="1"/>
        </p:nvSpPr>
        <p:spPr bwMode="gray">
          <a:xfrm>
            <a:off x="11291830" y="1951985"/>
            <a:ext cx="66558" cy="86636"/>
          </a:xfrm>
          <a:custGeom>
            <a:avLst/>
            <a:gdLst>
              <a:gd name="T0" fmla="*/ 79375 w 21"/>
              <a:gd name="T1" fmla="*/ 97837 h 27"/>
              <a:gd name="T2" fmla="*/ 68036 w 21"/>
              <a:gd name="T3" fmla="*/ 101600 h 27"/>
              <a:gd name="T4" fmla="*/ 52917 w 21"/>
              <a:gd name="T5" fmla="*/ 101600 h 27"/>
              <a:gd name="T6" fmla="*/ 34018 w 21"/>
              <a:gd name="T7" fmla="*/ 97837 h 27"/>
              <a:gd name="T8" fmla="*/ 15119 w 21"/>
              <a:gd name="T9" fmla="*/ 90311 h 27"/>
              <a:gd name="T10" fmla="*/ 3780 w 21"/>
              <a:gd name="T11" fmla="*/ 75259 h 27"/>
              <a:gd name="T12" fmla="*/ 0 w 21"/>
              <a:gd name="T13" fmla="*/ 52681 h 27"/>
              <a:gd name="T14" fmla="*/ 7560 w 21"/>
              <a:gd name="T15" fmla="*/ 30104 h 27"/>
              <a:gd name="T16" fmla="*/ 34018 w 21"/>
              <a:gd name="T17" fmla="*/ 3763 h 27"/>
              <a:gd name="T18" fmla="*/ 52917 w 21"/>
              <a:gd name="T19" fmla="*/ 0 h 27"/>
              <a:gd name="T20" fmla="*/ 64256 w 21"/>
              <a:gd name="T21" fmla="*/ 0 h 27"/>
              <a:gd name="T22" fmla="*/ 75595 w 21"/>
              <a:gd name="T23" fmla="*/ 3763 h 27"/>
              <a:gd name="T24" fmla="*/ 75595 w 21"/>
              <a:gd name="T25" fmla="*/ 22578 h 27"/>
              <a:gd name="T26" fmla="*/ 68036 w 21"/>
              <a:gd name="T27" fmla="*/ 18815 h 27"/>
              <a:gd name="T28" fmla="*/ 56696 w 21"/>
              <a:gd name="T29" fmla="*/ 18815 h 27"/>
              <a:gd name="T30" fmla="*/ 45357 w 21"/>
              <a:gd name="T31" fmla="*/ 22578 h 27"/>
              <a:gd name="T32" fmla="*/ 34018 w 21"/>
              <a:gd name="T33" fmla="*/ 26341 h 27"/>
              <a:gd name="T34" fmla="*/ 30238 w 21"/>
              <a:gd name="T35" fmla="*/ 37630 h 27"/>
              <a:gd name="T36" fmla="*/ 26458 w 21"/>
              <a:gd name="T37" fmla="*/ 52681 h 27"/>
              <a:gd name="T38" fmla="*/ 26458 w 21"/>
              <a:gd name="T39" fmla="*/ 63970 h 27"/>
              <a:gd name="T40" fmla="*/ 34018 w 21"/>
              <a:gd name="T41" fmla="*/ 75259 h 27"/>
              <a:gd name="T42" fmla="*/ 41577 w 21"/>
              <a:gd name="T43" fmla="*/ 79022 h 27"/>
              <a:gd name="T44" fmla="*/ 56696 w 21"/>
              <a:gd name="T45" fmla="*/ 82785 h 27"/>
              <a:gd name="T46" fmla="*/ 68036 w 21"/>
              <a:gd name="T47" fmla="*/ 82785 h 27"/>
              <a:gd name="T48" fmla="*/ 79375 w 21"/>
              <a:gd name="T49" fmla="*/ 79022 h 27"/>
              <a:gd name="T50" fmla="*/ 79375 w 21"/>
              <a:gd name="T51" fmla="*/ 97837 h 27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21" h="27">
                <a:moveTo>
                  <a:pt x="21" y="26"/>
                </a:moveTo>
                <a:cubicBezTo>
                  <a:pt x="20" y="26"/>
                  <a:pt x="19" y="27"/>
                  <a:pt x="18" y="27"/>
                </a:cubicBezTo>
                <a:cubicBezTo>
                  <a:pt x="16" y="27"/>
                  <a:pt x="15" y="27"/>
                  <a:pt x="14" y="27"/>
                </a:cubicBezTo>
                <a:cubicBezTo>
                  <a:pt x="12" y="27"/>
                  <a:pt x="10" y="27"/>
                  <a:pt x="9" y="26"/>
                </a:cubicBezTo>
                <a:cubicBezTo>
                  <a:pt x="7" y="26"/>
                  <a:pt x="5" y="25"/>
                  <a:pt x="4" y="24"/>
                </a:cubicBezTo>
                <a:cubicBezTo>
                  <a:pt x="3" y="23"/>
                  <a:pt x="2" y="22"/>
                  <a:pt x="1" y="20"/>
                </a:cubicBezTo>
                <a:cubicBezTo>
                  <a:pt x="1" y="18"/>
                  <a:pt x="0" y="16"/>
                  <a:pt x="0" y="14"/>
                </a:cubicBezTo>
                <a:cubicBezTo>
                  <a:pt x="0" y="12"/>
                  <a:pt x="1" y="10"/>
                  <a:pt x="2" y="8"/>
                </a:cubicBezTo>
                <a:cubicBezTo>
                  <a:pt x="3" y="4"/>
                  <a:pt x="6" y="2"/>
                  <a:pt x="9" y="1"/>
                </a:cubicBezTo>
                <a:cubicBezTo>
                  <a:pt x="11" y="0"/>
                  <a:pt x="12" y="0"/>
                  <a:pt x="14" y="0"/>
                </a:cubicBezTo>
                <a:cubicBezTo>
                  <a:pt x="15" y="0"/>
                  <a:pt x="16" y="0"/>
                  <a:pt x="17" y="0"/>
                </a:cubicBezTo>
                <a:cubicBezTo>
                  <a:pt x="18" y="0"/>
                  <a:pt x="19" y="1"/>
                  <a:pt x="20" y="1"/>
                </a:cubicBezTo>
                <a:cubicBezTo>
                  <a:pt x="20" y="6"/>
                  <a:pt x="20" y="6"/>
                  <a:pt x="20" y="6"/>
                </a:cubicBezTo>
                <a:cubicBezTo>
                  <a:pt x="19" y="6"/>
                  <a:pt x="19" y="6"/>
                  <a:pt x="18" y="5"/>
                </a:cubicBezTo>
                <a:cubicBezTo>
                  <a:pt x="17" y="5"/>
                  <a:pt x="16" y="5"/>
                  <a:pt x="15" y="5"/>
                </a:cubicBezTo>
                <a:cubicBezTo>
                  <a:pt x="14" y="5"/>
                  <a:pt x="13" y="5"/>
                  <a:pt x="12" y="6"/>
                </a:cubicBezTo>
                <a:cubicBezTo>
                  <a:pt x="11" y="6"/>
                  <a:pt x="10" y="6"/>
                  <a:pt x="9" y="7"/>
                </a:cubicBezTo>
                <a:cubicBezTo>
                  <a:pt x="9" y="8"/>
                  <a:pt x="8" y="9"/>
                  <a:pt x="8" y="10"/>
                </a:cubicBezTo>
                <a:cubicBezTo>
                  <a:pt x="7" y="11"/>
                  <a:pt x="7" y="12"/>
                  <a:pt x="7" y="14"/>
                </a:cubicBezTo>
                <a:cubicBezTo>
                  <a:pt x="7" y="15"/>
                  <a:pt x="7" y="16"/>
                  <a:pt x="7" y="17"/>
                </a:cubicBezTo>
                <a:cubicBezTo>
                  <a:pt x="8" y="18"/>
                  <a:pt x="8" y="19"/>
                  <a:pt x="9" y="20"/>
                </a:cubicBezTo>
                <a:cubicBezTo>
                  <a:pt x="10" y="20"/>
                  <a:pt x="10" y="21"/>
                  <a:pt x="11" y="21"/>
                </a:cubicBezTo>
                <a:cubicBezTo>
                  <a:pt x="12" y="22"/>
                  <a:pt x="14" y="22"/>
                  <a:pt x="15" y="22"/>
                </a:cubicBezTo>
                <a:cubicBezTo>
                  <a:pt x="16" y="22"/>
                  <a:pt x="17" y="22"/>
                  <a:pt x="18" y="22"/>
                </a:cubicBezTo>
                <a:cubicBezTo>
                  <a:pt x="19" y="22"/>
                  <a:pt x="20" y="21"/>
                  <a:pt x="21" y="21"/>
                </a:cubicBezTo>
                <a:lnTo>
                  <a:pt x="21" y="2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800" noProof="0" dirty="0"/>
          </a:p>
        </p:txBody>
      </p:sp>
      <p:sp>
        <p:nvSpPr>
          <p:cNvPr id="37" name="Freeform 34">
            <a:extLst>
              <a:ext uri="{FF2B5EF4-FFF2-40B4-BE49-F238E27FC236}">
                <a16:creationId xmlns:a16="http://schemas.microsoft.com/office/drawing/2014/main" id="{91A463F5-51DE-4F20-B494-708056A6351B}"/>
              </a:ext>
            </a:extLst>
          </p:cNvPr>
          <p:cNvSpPr>
            <a:spLocks noEditPoints="1"/>
          </p:cNvSpPr>
          <p:nvPr userDrawn="1"/>
        </p:nvSpPr>
        <p:spPr bwMode="gray">
          <a:xfrm>
            <a:off x="11371700" y="1951985"/>
            <a:ext cx="74545" cy="86636"/>
          </a:xfrm>
          <a:custGeom>
            <a:avLst/>
            <a:gdLst>
              <a:gd name="T0" fmla="*/ 55563 w 24"/>
              <a:gd name="T1" fmla="*/ 82785 h 27"/>
              <a:gd name="T2" fmla="*/ 70379 w 24"/>
              <a:gd name="T3" fmla="*/ 82785 h 27"/>
              <a:gd name="T4" fmla="*/ 85196 w 24"/>
              <a:gd name="T5" fmla="*/ 79022 h 27"/>
              <a:gd name="T6" fmla="*/ 85196 w 24"/>
              <a:gd name="T7" fmla="*/ 97837 h 27"/>
              <a:gd name="T8" fmla="*/ 70379 w 24"/>
              <a:gd name="T9" fmla="*/ 101600 h 27"/>
              <a:gd name="T10" fmla="*/ 48154 w 24"/>
              <a:gd name="T11" fmla="*/ 101600 h 27"/>
              <a:gd name="T12" fmla="*/ 29633 w 24"/>
              <a:gd name="T13" fmla="*/ 101600 h 27"/>
              <a:gd name="T14" fmla="*/ 14817 w 24"/>
              <a:gd name="T15" fmla="*/ 90311 h 27"/>
              <a:gd name="T16" fmla="*/ 3704 w 24"/>
              <a:gd name="T17" fmla="*/ 75259 h 27"/>
              <a:gd name="T18" fmla="*/ 0 w 24"/>
              <a:gd name="T19" fmla="*/ 52681 h 27"/>
              <a:gd name="T20" fmla="*/ 3704 w 24"/>
              <a:gd name="T21" fmla="*/ 30104 h 27"/>
              <a:gd name="T22" fmla="*/ 14817 w 24"/>
              <a:gd name="T23" fmla="*/ 11289 h 27"/>
              <a:gd name="T24" fmla="*/ 29633 w 24"/>
              <a:gd name="T25" fmla="*/ 3763 h 27"/>
              <a:gd name="T26" fmla="*/ 44450 w 24"/>
              <a:gd name="T27" fmla="*/ 0 h 27"/>
              <a:gd name="T28" fmla="*/ 62971 w 24"/>
              <a:gd name="T29" fmla="*/ 0 h 27"/>
              <a:gd name="T30" fmla="*/ 77788 w 24"/>
              <a:gd name="T31" fmla="*/ 11289 h 27"/>
              <a:gd name="T32" fmla="*/ 85196 w 24"/>
              <a:gd name="T33" fmla="*/ 26341 h 27"/>
              <a:gd name="T34" fmla="*/ 88900 w 24"/>
              <a:gd name="T35" fmla="*/ 48919 h 27"/>
              <a:gd name="T36" fmla="*/ 88900 w 24"/>
              <a:gd name="T37" fmla="*/ 56444 h 27"/>
              <a:gd name="T38" fmla="*/ 25929 w 24"/>
              <a:gd name="T39" fmla="*/ 56444 h 27"/>
              <a:gd name="T40" fmla="*/ 25929 w 24"/>
              <a:gd name="T41" fmla="*/ 67733 h 27"/>
              <a:gd name="T42" fmla="*/ 33338 w 24"/>
              <a:gd name="T43" fmla="*/ 75259 h 27"/>
              <a:gd name="T44" fmla="*/ 44450 w 24"/>
              <a:gd name="T45" fmla="*/ 82785 h 27"/>
              <a:gd name="T46" fmla="*/ 55563 w 24"/>
              <a:gd name="T47" fmla="*/ 82785 h 27"/>
              <a:gd name="T48" fmla="*/ 44450 w 24"/>
              <a:gd name="T49" fmla="*/ 18815 h 27"/>
              <a:gd name="T50" fmla="*/ 37042 w 24"/>
              <a:gd name="T51" fmla="*/ 18815 h 27"/>
              <a:gd name="T52" fmla="*/ 29633 w 24"/>
              <a:gd name="T53" fmla="*/ 22578 h 27"/>
              <a:gd name="T54" fmla="*/ 25929 w 24"/>
              <a:gd name="T55" fmla="*/ 30104 h 27"/>
              <a:gd name="T56" fmla="*/ 25929 w 24"/>
              <a:gd name="T57" fmla="*/ 37630 h 27"/>
              <a:gd name="T58" fmla="*/ 62971 w 24"/>
              <a:gd name="T59" fmla="*/ 37630 h 27"/>
              <a:gd name="T60" fmla="*/ 62971 w 24"/>
              <a:gd name="T61" fmla="*/ 30104 h 27"/>
              <a:gd name="T62" fmla="*/ 59267 w 24"/>
              <a:gd name="T63" fmla="*/ 22578 h 27"/>
              <a:gd name="T64" fmla="*/ 51858 w 24"/>
              <a:gd name="T65" fmla="*/ 18815 h 27"/>
              <a:gd name="T66" fmla="*/ 44450 w 24"/>
              <a:gd name="T67" fmla="*/ 18815 h 27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4" h="27">
                <a:moveTo>
                  <a:pt x="15" y="22"/>
                </a:moveTo>
                <a:cubicBezTo>
                  <a:pt x="16" y="22"/>
                  <a:pt x="17" y="22"/>
                  <a:pt x="19" y="22"/>
                </a:cubicBezTo>
                <a:cubicBezTo>
                  <a:pt x="20" y="21"/>
                  <a:pt x="21" y="21"/>
                  <a:pt x="23" y="21"/>
                </a:cubicBezTo>
                <a:cubicBezTo>
                  <a:pt x="23" y="26"/>
                  <a:pt x="23" y="26"/>
                  <a:pt x="23" y="26"/>
                </a:cubicBezTo>
                <a:cubicBezTo>
                  <a:pt x="21" y="26"/>
                  <a:pt x="20" y="27"/>
                  <a:pt x="19" y="27"/>
                </a:cubicBezTo>
                <a:cubicBezTo>
                  <a:pt x="17" y="27"/>
                  <a:pt x="15" y="27"/>
                  <a:pt x="13" y="27"/>
                </a:cubicBezTo>
                <a:cubicBezTo>
                  <a:pt x="12" y="27"/>
                  <a:pt x="10" y="27"/>
                  <a:pt x="8" y="27"/>
                </a:cubicBezTo>
                <a:cubicBezTo>
                  <a:pt x="7" y="26"/>
                  <a:pt x="5" y="25"/>
                  <a:pt x="4" y="24"/>
                </a:cubicBezTo>
                <a:cubicBezTo>
                  <a:pt x="3" y="23"/>
                  <a:pt x="2" y="22"/>
                  <a:pt x="1" y="20"/>
                </a:cubicBezTo>
                <a:cubicBezTo>
                  <a:pt x="0" y="18"/>
                  <a:pt x="0" y="16"/>
                  <a:pt x="0" y="14"/>
                </a:cubicBezTo>
                <a:cubicBezTo>
                  <a:pt x="0" y="12"/>
                  <a:pt x="0" y="10"/>
                  <a:pt x="1" y="8"/>
                </a:cubicBezTo>
                <a:cubicBezTo>
                  <a:pt x="2" y="6"/>
                  <a:pt x="3" y="4"/>
                  <a:pt x="4" y="3"/>
                </a:cubicBezTo>
                <a:cubicBezTo>
                  <a:pt x="5" y="2"/>
                  <a:pt x="6" y="1"/>
                  <a:pt x="8" y="1"/>
                </a:cubicBezTo>
                <a:cubicBezTo>
                  <a:pt x="9" y="0"/>
                  <a:pt x="11" y="0"/>
                  <a:pt x="12" y="0"/>
                </a:cubicBezTo>
                <a:cubicBezTo>
                  <a:pt x="14" y="0"/>
                  <a:pt x="15" y="0"/>
                  <a:pt x="17" y="0"/>
                </a:cubicBezTo>
                <a:cubicBezTo>
                  <a:pt x="18" y="1"/>
                  <a:pt x="20" y="2"/>
                  <a:pt x="21" y="3"/>
                </a:cubicBezTo>
                <a:cubicBezTo>
                  <a:pt x="22" y="4"/>
                  <a:pt x="22" y="5"/>
                  <a:pt x="23" y="7"/>
                </a:cubicBezTo>
                <a:cubicBezTo>
                  <a:pt x="24" y="9"/>
                  <a:pt x="24" y="11"/>
                  <a:pt x="24" y="13"/>
                </a:cubicBezTo>
                <a:cubicBezTo>
                  <a:pt x="24" y="14"/>
                  <a:pt x="24" y="15"/>
                  <a:pt x="24" y="15"/>
                </a:cubicBezTo>
                <a:cubicBezTo>
                  <a:pt x="7" y="15"/>
                  <a:pt x="7" y="15"/>
                  <a:pt x="7" y="15"/>
                </a:cubicBezTo>
                <a:cubicBezTo>
                  <a:pt x="7" y="16"/>
                  <a:pt x="7" y="17"/>
                  <a:pt x="7" y="18"/>
                </a:cubicBezTo>
                <a:cubicBezTo>
                  <a:pt x="8" y="19"/>
                  <a:pt x="8" y="20"/>
                  <a:pt x="9" y="20"/>
                </a:cubicBezTo>
                <a:cubicBezTo>
                  <a:pt x="10" y="21"/>
                  <a:pt x="11" y="21"/>
                  <a:pt x="12" y="22"/>
                </a:cubicBezTo>
                <a:cubicBezTo>
                  <a:pt x="13" y="22"/>
                  <a:pt x="14" y="22"/>
                  <a:pt x="15" y="22"/>
                </a:cubicBezTo>
                <a:close/>
                <a:moveTo>
                  <a:pt x="12" y="5"/>
                </a:moveTo>
                <a:cubicBezTo>
                  <a:pt x="11" y="5"/>
                  <a:pt x="11" y="5"/>
                  <a:pt x="10" y="5"/>
                </a:cubicBezTo>
                <a:cubicBezTo>
                  <a:pt x="9" y="5"/>
                  <a:pt x="9" y="6"/>
                  <a:pt x="8" y="6"/>
                </a:cubicBezTo>
                <a:cubicBezTo>
                  <a:pt x="8" y="7"/>
                  <a:pt x="7" y="7"/>
                  <a:pt x="7" y="8"/>
                </a:cubicBezTo>
                <a:cubicBezTo>
                  <a:pt x="7" y="9"/>
                  <a:pt x="7" y="10"/>
                  <a:pt x="7" y="10"/>
                </a:cubicBezTo>
                <a:cubicBezTo>
                  <a:pt x="17" y="10"/>
                  <a:pt x="17" y="10"/>
                  <a:pt x="17" y="10"/>
                </a:cubicBezTo>
                <a:cubicBezTo>
                  <a:pt x="17" y="10"/>
                  <a:pt x="17" y="9"/>
                  <a:pt x="17" y="8"/>
                </a:cubicBezTo>
                <a:cubicBezTo>
                  <a:pt x="17" y="7"/>
                  <a:pt x="16" y="7"/>
                  <a:pt x="16" y="6"/>
                </a:cubicBezTo>
                <a:cubicBezTo>
                  <a:pt x="15" y="6"/>
                  <a:pt x="15" y="5"/>
                  <a:pt x="14" y="5"/>
                </a:cubicBezTo>
                <a:cubicBezTo>
                  <a:pt x="14" y="5"/>
                  <a:pt x="13" y="5"/>
                  <a:pt x="12" y="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800" noProof="0" dirty="0"/>
          </a:p>
        </p:txBody>
      </p:sp>
    </p:spTree>
    <p:extLst>
      <p:ext uri="{BB962C8B-B14F-4D97-AF65-F5344CB8AC3E}">
        <p14:creationId xmlns:p14="http://schemas.microsoft.com/office/powerpoint/2010/main" val="1880661305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39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+ Pictur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64DB5FF-5272-4B65-AAFA-D3B5F53809AF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639847" y="6492876"/>
            <a:ext cx="77003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noProof="0"/>
              <a:t>Date</a:t>
            </a:r>
            <a:endParaRPr lang="en-US" noProof="0" dirty="0"/>
          </a:p>
        </p:txBody>
      </p:sp>
      <p:sp>
        <p:nvSpPr>
          <p:cNvPr id="5" name="Foliennummernplatzhalter 5">
            <a:extLst>
              <a:ext uri="{FF2B5EF4-FFF2-40B4-BE49-F238E27FC236}">
                <a16:creationId xmlns:a16="http://schemas.microsoft.com/office/drawing/2014/main" id="{395ABEB7-296D-4A19-A864-258FBED11B5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734741" y="6492876"/>
            <a:ext cx="257208" cy="365125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9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fld id="{20AEB338-9A01-4568-801D-896C2E978281}" type="slidenum">
              <a:rPr lang="en-US" noProof="0" smtClean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38" name="Titel 37">
            <a:extLst>
              <a:ext uri="{FF2B5EF4-FFF2-40B4-BE49-F238E27FC236}">
                <a16:creationId xmlns:a16="http://schemas.microsoft.com/office/drawing/2014/main" id="{3E47C947-6319-4AAA-A506-5B8FFA2CB0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-2" y="-1"/>
            <a:ext cx="4064002" cy="6858001"/>
          </a:xfrm>
          <a:custGeom>
            <a:avLst/>
            <a:gdLst>
              <a:gd name="connsiteX0" fmla="*/ 0 w 5067302"/>
              <a:gd name="connsiteY0" fmla="*/ 0 h 1763823"/>
              <a:gd name="connsiteX1" fmla="*/ 5067302 w 5067302"/>
              <a:gd name="connsiteY1" fmla="*/ 0 h 1763823"/>
              <a:gd name="connsiteX2" fmla="*/ 5067302 w 5067302"/>
              <a:gd name="connsiteY2" fmla="*/ 1763823 h 1763823"/>
              <a:gd name="connsiteX3" fmla="*/ 0 w 5067302"/>
              <a:gd name="connsiteY3" fmla="*/ 1763823 h 17638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67302" h="1763823">
                <a:moveTo>
                  <a:pt x="0" y="0"/>
                </a:moveTo>
                <a:lnTo>
                  <a:pt x="5067302" y="0"/>
                </a:lnTo>
                <a:lnTo>
                  <a:pt x="5067302" y="1763823"/>
                </a:lnTo>
                <a:lnTo>
                  <a:pt x="0" y="176382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edit title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4F8C9509-ADD2-4E3D-B6AD-A6609AC823A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064530" y="0"/>
            <a:ext cx="8127471" cy="68580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3002500401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39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Photo + Tex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DB81C09-D1EA-4598-8AAA-C4907579E6D8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639847" y="6492876"/>
            <a:ext cx="77003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/>
              <a:t>Date</a:t>
            </a:r>
            <a:endParaRPr lang="en-US" noProof="0" dirty="0"/>
          </a:p>
        </p:txBody>
      </p:sp>
      <p:sp>
        <p:nvSpPr>
          <p:cNvPr id="5" name="Foliennummernplatzhalter 5">
            <a:extLst>
              <a:ext uri="{FF2B5EF4-FFF2-40B4-BE49-F238E27FC236}">
                <a16:creationId xmlns:a16="http://schemas.microsoft.com/office/drawing/2014/main" id="{D81DD930-751F-478A-9EDF-530D387422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734741" y="6492876"/>
            <a:ext cx="257208" cy="365125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9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fld id="{20AEB338-9A01-4568-801D-896C2E978281}" type="slidenum">
              <a:rPr lang="en-US" noProof="0" smtClean="0"/>
              <a:pPr>
                <a:defRPr/>
              </a:pPr>
              <a:t>‹#›</a:t>
            </a:fld>
            <a:endParaRPr lang="en-US" noProof="0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4F8C9509-ADD2-4E3D-B6AD-A6609AC823A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6095208" cy="68580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8D8F1C8-7D3A-4848-A69A-E3F8C3D68E3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5207" y="0"/>
            <a:ext cx="6095205" cy="6858000"/>
          </a:xfrm>
          <a:solidFill>
            <a:schemeClr val="accent3"/>
          </a:solidFill>
        </p:spPr>
        <p:txBody>
          <a:bodyPr lIns="360000" tIns="360000" rIns="360000" bIns="360000" anchor="ctr"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8" name="Textplatzhalter 14">
            <a:extLst>
              <a:ext uri="{FF2B5EF4-FFF2-40B4-BE49-F238E27FC236}">
                <a16:creationId xmlns:a16="http://schemas.microsoft.com/office/drawing/2014/main" id="{46DFEB28-1E0B-42E4-845D-2B17733DFEC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09704" y="362279"/>
            <a:ext cx="5225037" cy="522701"/>
          </a:xfrm>
        </p:spPr>
        <p:txBody>
          <a:bodyPr/>
          <a:lstStyle>
            <a:lvl1pPr>
              <a:defRPr sz="28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Headline</a:t>
            </a:r>
          </a:p>
        </p:txBody>
      </p:sp>
      <p:sp>
        <p:nvSpPr>
          <p:cNvPr id="9" name="Textplatzhalter 14">
            <a:extLst>
              <a:ext uri="{FF2B5EF4-FFF2-40B4-BE49-F238E27FC236}">
                <a16:creationId xmlns:a16="http://schemas.microsoft.com/office/drawing/2014/main" id="{F853B40C-9BA2-4E1A-A463-E3DDAB30255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09704" y="877233"/>
            <a:ext cx="5225036" cy="814197"/>
          </a:xfrm>
        </p:spPr>
        <p:txBody>
          <a:bodyPr/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Headline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CFC8ABA9-467D-4A73-954E-7589332F1B6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509704" y="1765748"/>
            <a:ext cx="5225037" cy="462632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1840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39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3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A5DA13C5-0BAC-438F-A164-0F4F4C8F4316}"/>
              </a:ext>
            </a:extLst>
          </p:cNvPr>
          <p:cNvSpPr/>
          <p:nvPr userDrawn="1"/>
        </p:nvSpPr>
        <p:spPr>
          <a:xfrm>
            <a:off x="0" y="6591300"/>
            <a:ext cx="12192000" cy="266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bg1"/>
              </a:solidFill>
            </a:endParaRP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5FC5719F-86F8-4BEA-9BD7-EA8081B7BF0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217335" y="5778000"/>
            <a:ext cx="1505915" cy="1080000"/>
          </a:xfrm>
          <a:prstGeom prst="rect">
            <a:avLst/>
          </a:prstGeom>
        </p:spPr>
      </p:pic>
      <p:sp>
        <p:nvSpPr>
          <p:cNvPr id="7" name="Fußzeilenplatzhalter 3">
            <a:extLst>
              <a:ext uri="{FF2B5EF4-FFF2-40B4-BE49-F238E27FC236}">
                <a16:creationId xmlns:a16="http://schemas.microsoft.com/office/drawing/2014/main" id="{C7A75BF0-6C31-4D8B-A368-AABFF7BF10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17548" y="6591301"/>
            <a:ext cx="9000000" cy="266700"/>
          </a:xfrm>
        </p:spPr>
        <p:txBody>
          <a:bodyPr lIns="0"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endParaRPr lang="de-DE"/>
          </a:p>
        </p:txBody>
      </p:sp>
      <p:sp>
        <p:nvSpPr>
          <p:cNvPr id="8" name="Foliennummernplatzhalter 4">
            <a:extLst>
              <a:ext uri="{FF2B5EF4-FFF2-40B4-BE49-F238E27FC236}">
                <a16:creationId xmlns:a16="http://schemas.microsoft.com/office/drawing/2014/main" id="{4480875F-C126-4034-8588-C279638660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591300"/>
            <a:ext cx="590550" cy="266700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5AFF31D0-8A17-47C0-8D09-D01303A85034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715ACC1-3B6D-456F-AC94-D767551325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666000"/>
            <a:ext cx="11252200" cy="463550"/>
          </a:xfrm>
        </p:spPr>
        <p:txBody>
          <a:bodyPr tIns="0" rIns="0" bIns="0"/>
          <a:lstStyle/>
          <a:p>
            <a:r>
              <a:rPr lang="cs-CZ"/>
              <a:t>Kliknutím lze upravit styl.</a:t>
            </a:r>
            <a:endParaRPr lang="de-DE" dirty="0"/>
          </a:p>
        </p:txBody>
      </p:sp>
      <p:sp>
        <p:nvSpPr>
          <p:cNvPr id="6" name="Textplatzhalter 11">
            <a:extLst>
              <a:ext uri="{FF2B5EF4-FFF2-40B4-BE49-F238E27FC236}">
                <a16:creationId xmlns:a16="http://schemas.microsoft.com/office/drawing/2014/main" id="{78B5DF19-4DDB-4563-A77B-46E270F7784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8000" y="396000"/>
            <a:ext cx="11252200" cy="185432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lang="de-DE" sz="1400" i="1" kern="1200" spc="1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5F349D89-C4F7-4E16-9C35-4264A107FC4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7999" y="1825625"/>
            <a:ext cx="11252199" cy="370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49047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18" Type="http://schemas.openxmlformats.org/officeDocument/2006/relationships/slideLayout" Target="../slideLayouts/slideLayout40.xml"/><Relationship Id="rId26" Type="http://schemas.openxmlformats.org/officeDocument/2006/relationships/slideLayout" Target="../slideLayouts/slideLayout48.xml"/><Relationship Id="rId3" Type="http://schemas.openxmlformats.org/officeDocument/2006/relationships/slideLayout" Target="../slideLayouts/slideLayout25.xml"/><Relationship Id="rId21" Type="http://schemas.openxmlformats.org/officeDocument/2006/relationships/slideLayout" Target="../slideLayouts/slideLayout43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slideLayout" Target="../slideLayouts/slideLayout39.xml"/><Relationship Id="rId25" Type="http://schemas.openxmlformats.org/officeDocument/2006/relationships/slideLayout" Target="../slideLayouts/slideLayout47.xml"/><Relationship Id="rId2" Type="http://schemas.openxmlformats.org/officeDocument/2006/relationships/slideLayout" Target="../slideLayouts/slideLayout24.xml"/><Relationship Id="rId16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42.xml"/><Relationship Id="rId29" Type="http://schemas.openxmlformats.org/officeDocument/2006/relationships/theme" Target="../theme/theme2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24" Type="http://schemas.openxmlformats.org/officeDocument/2006/relationships/slideLayout" Target="../slideLayouts/slideLayout46.xml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23" Type="http://schemas.openxmlformats.org/officeDocument/2006/relationships/slideLayout" Target="../slideLayouts/slideLayout45.xml"/><Relationship Id="rId28" Type="http://schemas.openxmlformats.org/officeDocument/2006/relationships/slideLayout" Target="../slideLayouts/slideLayout50.xml"/><Relationship Id="rId10" Type="http://schemas.openxmlformats.org/officeDocument/2006/relationships/slideLayout" Target="../slideLayouts/slideLayout32.xml"/><Relationship Id="rId19" Type="http://schemas.openxmlformats.org/officeDocument/2006/relationships/slideLayout" Target="../slideLayouts/slideLayout41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Relationship Id="rId22" Type="http://schemas.openxmlformats.org/officeDocument/2006/relationships/slideLayout" Target="../slideLayouts/slideLayout44.xml"/><Relationship Id="rId27" Type="http://schemas.openxmlformats.org/officeDocument/2006/relationships/slideLayout" Target="../slideLayouts/slideLayout49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image" Target="../media/image37.jpeg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theme" Target="../theme/theme3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Relationship Id="rId8" Type="http://schemas.openxmlformats.org/officeDocument/2006/relationships/slideLayout" Target="../slideLayouts/slideLayout58.xml"/><Relationship Id="rId3" Type="http://schemas.openxmlformats.org/officeDocument/2006/relationships/slideLayout" Target="../slideLayouts/slideLayout5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9B35A130-78DA-44FA-BEF3-706BD58C0D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666000"/>
            <a:ext cx="11252200" cy="4635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cs-CZ" noProof="0"/>
              <a:t>Kliknutím lze upravit styl.</a:t>
            </a:r>
            <a:endParaRPr lang="de-DE" noProof="0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9FC1CE9-1837-4BCB-9722-E0E07A17FE9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69900" y="1825625"/>
            <a:ext cx="11252200" cy="4351338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/>
          <a:p>
            <a:pPr lvl="0"/>
            <a:r>
              <a:rPr lang="cs-CZ" noProof="0"/>
              <a:t>Po kliknutí můžete upravovat styly textu v předloze.</a:t>
            </a:r>
          </a:p>
          <a:p>
            <a:pPr lvl="1"/>
            <a:r>
              <a:rPr lang="cs-CZ" noProof="0"/>
              <a:t>Druhá úroveň</a:t>
            </a:r>
          </a:p>
          <a:p>
            <a:pPr lvl="2"/>
            <a:r>
              <a:rPr lang="cs-CZ" noProof="0"/>
              <a:t>Třetí úroveň</a:t>
            </a:r>
          </a:p>
          <a:p>
            <a:pPr lvl="3"/>
            <a:r>
              <a:rPr lang="cs-CZ" noProof="0"/>
              <a:t>Čtvrtá úroveň</a:t>
            </a:r>
          </a:p>
          <a:p>
            <a:pPr lvl="4"/>
            <a:r>
              <a:rPr lang="cs-CZ" noProof="0"/>
              <a:t>Pátá úroveň</a:t>
            </a:r>
            <a:endParaRPr lang="de-DE" noProof="0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C171F27-083F-4A8F-AAA4-BE6E6BFA38F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718693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  <a:alpha val="0"/>
                  </a:schemeClr>
                </a:solidFill>
              </a:defRPr>
            </a:lvl1pPr>
          </a:lstStyle>
          <a:p>
            <a:endParaRPr lang="de-DE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157EBBE-513E-4B13-8580-E9B4FB810CE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548" y="6591301"/>
            <a:ext cx="11004551" cy="2667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de-DE" sz="900" kern="1200" dirty="0" smtClean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Arial" charset="0"/>
              </a:defRPr>
            </a:lvl1pPr>
          </a:lstStyle>
          <a:p>
            <a:endParaRPr lang="de-DE" noProof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909FABE-438B-4848-BDE5-6298DDE933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591300"/>
            <a:ext cx="469898" cy="2667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lang="de-DE" sz="900" kern="1200" smtClean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Arial" charset="0"/>
              </a:defRPr>
            </a:lvl1pPr>
          </a:lstStyle>
          <a:p>
            <a:fld id="{5AFF31D0-8A17-47C0-8D09-D01303A85034}" type="slidenum">
              <a:rPr lang="de-DE" noProof="0" smtClean="0"/>
              <a:pPr/>
              <a:t>‹#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492184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0" r:id="rId2"/>
    <p:sldLayoutId id="2147483652" r:id="rId3"/>
    <p:sldLayoutId id="2147483653" r:id="rId4"/>
    <p:sldLayoutId id="2147483654" r:id="rId5"/>
    <p:sldLayoutId id="2147483656" r:id="rId6"/>
    <p:sldLayoutId id="2147483655" r:id="rId7"/>
    <p:sldLayoutId id="2147483657" r:id="rId8"/>
    <p:sldLayoutId id="2147483666" r:id="rId9"/>
    <p:sldLayoutId id="2147483658" r:id="rId10"/>
    <p:sldLayoutId id="2147483667" r:id="rId11"/>
    <p:sldLayoutId id="2147483659" r:id="rId12"/>
    <p:sldLayoutId id="2147483661" r:id="rId13"/>
    <p:sldLayoutId id="2147483660" r:id="rId14"/>
    <p:sldLayoutId id="2147483662" r:id="rId15"/>
    <p:sldLayoutId id="2147483663" r:id="rId16"/>
    <p:sldLayoutId id="2147483664" r:id="rId17"/>
    <p:sldLayoutId id="2147483665" r:id="rId18"/>
    <p:sldLayoutId id="2147483669" r:id="rId19"/>
    <p:sldLayoutId id="2147483670" r:id="rId20"/>
    <p:sldLayoutId id="2147483671" r:id="rId21"/>
    <p:sldLayoutId id="2147483737" r:id="rId2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180000" indent="-179388" algn="l" defTabSz="914400" rtl="0" eaLnBrk="1" latinLnBrk="0" hangingPunct="1">
        <a:lnSpc>
          <a:spcPct val="100000"/>
        </a:lnSpc>
        <a:spcBef>
          <a:spcPts val="900"/>
        </a:spcBef>
        <a:buFont typeface="Wingdings" panose="05000000000000000000" pitchFamily="2" charset="2"/>
        <a:buChar char="§"/>
        <a:tabLst>
          <a:tab pos="176213" algn="l"/>
        </a:tabLst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8775" indent="-179388" algn="l" defTabSz="914400" rtl="0" eaLnBrk="1" latinLnBrk="0" hangingPunct="1">
        <a:lnSpc>
          <a:spcPct val="100000"/>
        </a:lnSpc>
        <a:spcBef>
          <a:spcPts val="900"/>
        </a:spcBef>
        <a:buFont typeface="Wingdings" panose="05000000000000000000" pitchFamily="2" charset="2"/>
        <a:buChar char="§"/>
        <a:tabLst>
          <a:tab pos="536575" algn="l"/>
        </a:tabLst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6575" indent="-179388" algn="l" defTabSz="914400" rtl="0" eaLnBrk="1" latinLnBrk="0" hangingPunct="1">
        <a:lnSpc>
          <a:spcPct val="100000"/>
        </a:lnSpc>
        <a:spcBef>
          <a:spcPts val="900"/>
        </a:spcBef>
        <a:buFont typeface="Wingdings" panose="05000000000000000000" pitchFamily="2" charset="2"/>
        <a:buChar char="§"/>
        <a:tabLst>
          <a:tab pos="719138" algn="l"/>
        </a:tabLst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19138" indent="-179388" algn="l" defTabSz="914400" rtl="0" eaLnBrk="1" latinLnBrk="0" hangingPunct="1">
        <a:lnSpc>
          <a:spcPct val="100000"/>
        </a:lnSpc>
        <a:spcBef>
          <a:spcPts val="900"/>
        </a:spcBef>
        <a:buFont typeface="Wingdings" panose="05000000000000000000" pitchFamily="2" charset="2"/>
        <a:buChar char="§"/>
        <a:tabLst>
          <a:tab pos="895350" algn="l"/>
        </a:tabLst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95350" indent="-179388" algn="l" defTabSz="914400" rtl="0" eaLnBrk="1" latinLnBrk="0" hangingPunct="1">
        <a:lnSpc>
          <a:spcPct val="100000"/>
        </a:lnSpc>
        <a:spcBef>
          <a:spcPts val="900"/>
        </a:spcBef>
        <a:buFont typeface="Wingdings" panose="05000000000000000000" pitchFamily="2" charset="2"/>
        <a:buChar char="§"/>
        <a:tabLst>
          <a:tab pos="1077913" algn="l"/>
        </a:tabLst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77913" indent="-179388" algn="l" defTabSz="914400" rtl="0" eaLnBrk="1" latinLnBrk="0" hangingPunct="1">
        <a:lnSpc>
          <a:spcPct val="100000"/>
        </a:lnSpc>
        <a:spcBef>
          <a:spcPts val="900"/>
        </a:spcBef>
        <a:buFont typeface="Wingdings" panose="05000000000000000000" pitchFamily="2" charset="2"/>
        <a:buChar char="§"/>
        <a:tabLst>
          <a:tab pos="1255713" algn="l"/>
        </a:tabLst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255713" indent="-179388" algn="l" defTabSz="914400" rtl="0" eaLnBrk="1" latinLnBrk="0" hangingPunct="1">
        <a:lnSpc>
          <a:spcPct val="100000"/>
        </a:lnSpc>
        <a:spcBef>
          <a:spcPts val="900"/>
        </a:spcBef>
        <a:buFont typeface="Wingdings" panose="05000000000000000000" pitchFamily="2" charset="2"/>
        <a:buChar char="§"/>
        <a:tabLst>
          <a:tab pos="1438275" algn="l"/>
        </a:tabLst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438275" indent="-179388" algn="l" defTabSz="914400" rtl="0" eaLnBrk="1" latinLnBrk="0" hangingPunct="1">
        <a:lnSpc>
          <a:spcPct val="100000"/>
        </a:lnSpc>
        <a:spcBef>
          <a:spcPts val="900"/>
        </a:spcBef>
        <a:buFont typeface="Wingdings" panose="05000000000000000000" pitchFamily="2" charset="2"/>
        <a:buChar char="§"/>
        <a:tabLst>
          <a:tab pos="1614488" algn="l"/>
        </a:tabLst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614488" indent="-179388" algn="l" defTabSz="914400" rtl="0" eaLnBrk="1" latinLnBrk="0" hangingPunct="1">
        <a:lnSpc>
          <a:spcPct val="100000"/>
        </a:lnSpc>
        <a:spcBef>
          <a:spcPts val="900"/>
        </a:spcBef>
        <a:buFont typeface="Wingdings" panose="05000000000000000000" pitchFamily="2" charset="2"/>
        <a:buChar char="§"/>
        <a:tabLst>
          <a:tab pos="1790700" algn="l"/>
        </a:tabLst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49" userDrawn="1">
          <p15:clr>
            <a:srgbClr val="F26B43"/>
          </p15:clr>
        </p15:guide>
        <p15:guide id="2" pos="296" userDrawn="1">
          <p15:clr>
            <a:srgbClr val="F26B43"/>
          </p15:clr>
        </p15:guide>
        <p15:guide id="3" pos="7384" userDrawn="1">
          <p15:clr>
            <a:srgbClr val="F26B43"/>
          </p15:clr>
        </p15:guide>
        <p15:guide id="4" orient="horz" pos="4152" userDrawn="1">
          <p15:clr>
            <a:srgbClr val="F26B43"/>
          </p15:clr>
        </p15:guide>
        <p15:guide id="5" orient="horz" pos="629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gray">
          <a:xfrm>
            <a:off x="0" y="1"/>
            <a:ext cx="10091464" cy="1122363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2280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Titelmasterformat durch Klicken bearbeiten</a:t>
            </a:r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628732" y="1765301"/>
            <a:ext cx="10907545" cy="4627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Textmasterformat bearbeiten</a:t>
            </a:r>
          </a:p>
          <a:p>
            <a:pPr lvl="1"/>
            <a:r>
              <a:rPr lang="de-DE" altLang="de-DE"/>
              <a:t>Zweite Ebene</a:t>
            </a:r>
          </a:p>
          <a:p>
            <a:pPr lvl="2"/>
            <a:r>
              <a:rPr lang="de-DE" altLang="de-DE"/>
              <a:t>Dritte Ebene</a:t>
            </a:r>
          </a:p>
          <a:p>
            <a:pPr lvl="3"/>
            <a:r>
              <a:rPr lang="de-DE" altLang="de-DE"/>
              <a:t>Vierte Ebene</a:t>
            </a:r>
          </a:p>
          <a:p>
            <a:pPr lvl="4"/>
            <a:r>
              <a:rPr lang="de-DE" alt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639847" y="6492876"/>
            <a:ext cx="77003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de-DE"/>
              <a:t>Datum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1511497" y="6492876"/>
            <a:ext cx="1002478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0" algn="l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734741" y="6492876"/>
            <a:ext cx="257208" cy="365125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9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fld id="{20AEB338-9A01-4568-801D-896C2E978281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grpSp>
        <p:nvGrpSpPr>
          <p:cNvPr id="1031" name="Gruppieren 70"/>
          <p:cNvGrpSpPr>
            <a:grpSpLocks/>
          </p:cNvGrpSpPr>
          <p:nvPr/>
        </p:nvGrpSpPr>
        <p:grpSpPr bwMode="auto">
          <a:xfrm>
            <a:off x="10091464" y="0"/>
            <a:ext cx="2100536" cy="1498600"/>
            <a:chOff x="9299575" y="1855788"/>
            <a:chExt cx="2978150" cy="2125662"/>
          </a:xfrm>
        </p:grpSpPr>
        <p:sp>
          <p:nvSpPr>
            <p:cNvPr id="1032" name="Rectangle 6"/>
            <p:cNvSpPr>
              <a:spLocks noChangeArrowheads="1"/>
            </p:cNvSpPr>
            <p:nvPr userDrawn="1"/>
          </p:nvSpPr>
          <p:spPr bwMode="gray">
            <a:xfrm>
              <a:off x="9299575" y="1855788"/>
              <a:ext cx="2978150" cy="159385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endParaRPr lang="de-DE" altLang="de-DE" sz="1800"/>
            </a:p>
          </p:txBody>
        </p:sp>
        <p:sp>
          <p:nvSpPr>
            <p:cNvPr id="1033" name="Freeform 7"/>
            <p:cNvSpPr>
              <a:spLocks noEditPoints="1"/>
            </p:cNvSpPr>
            <p:nvPr userDrawn="1"/>
          </p:nvSpPr>
          <p:spPr bwMode="gray">
            <a:xfrm>
              <a:off x="9839325" y="2489200"/>
              <a:ext cx="206375" cy="333375"/>
            </a:xfrm>
            <a:custGeom>
              <a:avLst/>
              <a:gdLst>
                <a:gd name="T0" fmla="*/ 206375 w 55"/>
                <a:gd name="T1" fmla="*/ 179798 h 89"/>
                <a:gd name="T2" fmla="*/ 206375 w 55"/>
                <a:gd name="T3" fmla="*/ 161069 h 89"/>
                <a:gd name="T4" fmla="*/ 105064 w 55"/>
                <a:gd name="T5" fmla="*/ 0 h 89"/>
                <a:gd name="T6" fmla="*/ 0 w 55"/>
                <a:gd name="T7" fmla="*/ 164815 h 89"/>
                <a:gd name="T8" fmla="*/ 105064 w 55"/>
                <a:gd name="T9" fmla="*/ 333375 h 89"/>
                <a:gd name="T10" fmla="*/ 202623 w 55"/>
                <a:gd name="T11" fmla="*/ 221001 h 89"/>
                <a:gd name="T12" fmla="*/ 138834 w 55"/>
                <a:gd name="T13" fmla="*/ 221001 h 89"/>
                <a:gd name="T14" fmla="*/ 101311 w 55"/>
                <a:gd name="T15" fmla="*/ 280934 h 89"/>
                <a:gd name="T16" fmla="*/ 67541 w 55"/>
                <a:gd name="T17" fmla="*/ 206018 h 89"/>
                <a:gd name="T18" fmla="*/ 67541 w 55"/>
                <a:gd name="T19" fmla="*/ 179798 h 89"/>
                <a:gd name="T20" fmla="*/ 206375 w 55"/>
                <a:gd name="T21" fmla="*/ 179798 h 89"/>
                <a:gd name="T22" fmla="*/ 67541 w 55"/>
                <a:gd name="T23" fmla="*/ 131103 h 89"/>
                <a:gd name="T24" fmla="*/ 67541 w 55"/>
                <a:gd name="T25" fmla="*/ 119865 h 89"/>
                <a:gd name="T26" fmla="*/ 105064 w 55"/>
                <a:gd name="T27" fmla="*/ 56187 h 89"/>
                <a:gd name="T28" fmla="*/ 138834 w 55"/>
                <a:gd name="T29" fmla="*/ 131103 h 89"/>
                <a:gd name="T30" fmla="*/ 67541 w 55"/>
                <a:gd name="T31" fmla="*/ 131103 h 89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5" h="89">
                  <a:moveTo>
                    <a:pt x="55" y="48"/>
                  </a:moveTo>
                  <a:cubicBezTo>
                    <a:pt x="55" y="43"/>
                    <a:pt x="55" y="43"/>
                    <a:pt x="55" y="43"/>
                  </a:cubicBezTo>
                  <a:cubicBezTo>
                    <a:pt x="55" y="17"/>
                    <a:pt x="50" y="0"/>
                    <a:pt x="28" y="0"/>
                  </a:cubicBezTo>
                  <a:cubicBezTo>
                    <a:pt x="4" y="0"/>
                    <a:pt x="0" y="21"/>
                    <a:pt x="0" y="44"/>
                  </a:cubicBezTo>
                  <a:cubicBezTo>
                    <a:pt x="0" y="65"/>
                    <a:pt x="1" y="89"/>
                    <a:pt x="28" y="89"/>
                  </a:cubicBezTo>
                  <a:cubicBezTo>
                    <a:pt x="45" y="89"/>
                    <a:pt x="53" y="78"/>
                    <a:pt x="54" y="59"/>
                  </a:cubicBezTo>
                  <a:cubicBezTo>
                    <a:pt x="37" y="59"/>
                    <a:pt x="37" y="59"/>
                    <a:pt x="37" y="59"/>
                  </a:cubicBezTo>
                  <a:cubicBezTo>
                    <a:pt x="36" y="69"/>
                    <a:pt x="34" y="75"/>
                    <a:pt x="27" y="75"/>
                  </a:cubicBezTo>
                  <a:cubicBezTo>
                    <a:pt x="21" y="75"/>
                    <a:pt x="18" y="65"/>
                    <a:pt x="18" y="55"/>
                  </a:cubicBezTo>
                  <a:cubicBezTo>
                    <a:pt x="18" y="48"/>
                    <a:pt x="18" y="48"/>
                    <a:pt x="18" y="48"/>
                  </a:cubicBezTo>
                  <a:lnTo>
                    <a:pt x="55" y="48"/>
                  </a:lnTo>
                  <a:close/>
                  <a:moveTo>
                    <a:pt x="18" y="35"/>
                  </a:moveTo>
                  <a:cubicBezTo>
                    <a:pt x="18" y="32"/>
                    <a:pt x="18" y="32"/>
                    <a:pt x="18" y="32"/>
                  </a:cubicBezTo>
                  <a:cubicBezTo>
                    <a:pt x="18" y="24"/>
                    <a:pt x="20" y="15"/>
                    <a:pt x="28" y="15"/>
                  </a:cubicBezTo>
                  <a:cubicBezTo>
                    <a:pt x="35" y="15"/>
                    <a:pt x="37" y="22"/>
                    <a:pt x="37" y="35"/>
                  </a:cubicBezTo>
                  <a:lnTo>
                    <a:pt x="18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034" name="Freeform 8"/>
            <p:cNvSpPr>
              <a:spLocks noEditPoints="1"/>
            </p:cNvSpPr>
            <p:nvPr userDrawn="1"/>
          </p:nvSpPr>
          <p:spPr bwMode="gray">
            <a:xfrm>
              <a:off x="10072688" y="2392363"/>
              <a:ext cx="209550" cy="430212"/>
            </a:xfrm>
            <a:custGeom>
              <a:avLst/>
              <a:gdLst>
                <a:gd name="T0" fmla="*/ 67355 w 56"/>
                <a:gd name="T1" fmla="*/ 265609 h 115"/>
                <a:gd name="T2" fmla="*/ 104775 w 56"/>
                <a:gd name="T3" fmla="*/ 160862 h 115"/>
                <a:gd name="T4" fmla="*/ 138453 w 56"/>
                <a:gd name="T5" fmla="*/ 265609 h 115"/>
                <a:gd name="T6" fmla="*/ 104775 w 56"/>
                <a:gd name="T7" fmla="*/ 370356 h 115"/>
                <a:gd name="T8" fmla="*/ 67355 w 56"/>
                <a:gd name="T9" fmla="*/ 265609 h 115"/>
                <a:gd name="T10" fmla="*/ 0 w 56"/>
                <a:gd name="T11" fmla="*/ 422730 h 115"/>
                <a:gd name="T12" fmla="*/ 63613 w 56"/>
                <a:gd name="T13" fmla="*/ 422730 h 115"/>
                <a:gd name="T14" fmla="*/ 63613 w 56"/>
                <a:gd name="T15" fmla="*/ 389061 h 115"/>
                <a:gd name="T16" fmla="*/ 63613 w 56"/>
                <a:gd name="T17" fmla="*/ 389061 h 115"/>
                <a:gd name="T18" fmla="*/ 127227 w 56"/>
                <a:gd name="T19" fmla="*/ 430212 h 115"/>
                <a:gd name="T20" fmla="*/ 209550 w 56"/>
                <a:gd name="T21" fmla="*/ 265609 h 115"/>
                <a:gd name="T22" fmla="*/ 127227 w 56"/>
                <a:gd name="T23" fmla="*/ 97265 h 115"/>
                <a:gd name="T24" fmla="*/ 67355 w 56"/>
                <a:gd name="T25" fmla="*/ 134675 h 115"/>
                <a:gd name="T26" fmla="*/ 67355 w 56"/>
                <a:gd name="T27" fmla="*/ 134675 h 115"/>
                <a:gd name="T28" fmla="*/ 67355 w 56"/>
                <a:gd name="T29" fmla="*/ 0 h 115"/>
                <a:gd name="T30" fmla="*/ 0 w 56"/>
                <a:gd name="T31" fmla="*/ 0 h 115"/>
                <a:gd name="T32" fmla="*/ 0 w 56"/>
                <a:gd name="T33" fmla="*/ 422730 h 11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56" h="115">
                  <a:moveTo>
                    <a:pt x="18" y="71"/>
                  </a:moveTo>
                  <a:cubicBezTo>
                    <a:pt x="18" y="52"/>
                    <a:pt x="20" y="43"/>
                    <a:pt x="28" y="43"/>
                  </a:cubicBezTo>
                  <a:cubicBezTo>
                    <a:pt x="36" y="43"/>
                    <a:pt x="37" y="52"/>
                    <a:pt x="37" y="71"/>
                  </a:cubicBezTo>
                  <a:cubicBezTo>
                    <a:pt x="37" y="89"/>
                    <a:pt x="36" y="99"/>
                    <a:pt x="28" y="99"/>
                  </a:cubicBezTo>
                  <a:cubicBezTo>
                    <a:pt x="20" y="99"/>
                    <a:pt x="18" y="89"/>
                    <a:pt x="18" y="71"/>
                  </a:cubicBezTo>
                  <a:close/>
                  <a:moveTo>
                    <a:pt x="0" y="113"/>
                  </a:moveTo>
                  <a:cubicBezTo>
                    <a:pt x="17" y="113"/>
                    <a:pt x="17" y="113"/>
                    <a:pt x="17" y="113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21" y="112"/>
                    <a:pt x="27" y="115"/>
                    <a:pt x="34" y="115"/>
                  </a:cubicBezTo>
                  <a:cubicBezTo>
                    <a:pt x="49" y="115"/>
                    <a:pt x="56" y="102"/>
                    <a:pt x="56" y="71"/>
                  </a:cubicBezTo>
                  <a:cubicBezTo>
                    <a:pt x="56" y="39"/>
                    <a:pt x="49" y="26"/>
                    <a:pt x="34" y="26"/>
                  </a:cubicBezTo>
                  <a:cubicBezTo>
                    <a:pt x="27" y="26"/>
                    <a:pt x="22" y="29"/>
                    <a:pt x="18" y="36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035" name="Freeform 9"/>
            <p:cNvSpPr>
              <a:spLocks/>
            </p:cNvSpPr>
            <p:nvPr userDrawn="1"/>
          </p:nvSpPr>
          <p:spPr bwMode="gray">
            <a:xfrm>
              <a:off x="10312400" y="2486025"/>
              <a:ext cx="330200" cy="330200"/>
            </a:xfrm>
            <a:custGeom>
              <a:avLst/>
              <a:gdLst>
                <a:gd name="T0" fmla="*/ 0 w 88"/>
                <a:gd name="T1" fmla="*/ 330200 h 88"/>
                <a:gd name="T2" fmla="*/ 67541 w 88"/>
                <a:gd name="T3" fmla="*/ 330200 h 88"/>
                <a:gd name="T4" fmla="*/ 67541 w 88"/>
                <a:gd name="T5" fmla="*/ 120073 h 88"/>
                <a:gd name="T6" fmla="*/ 105064 w 88"/>
                <a:gd name="T7" fmla="*/ 67541 h 88"/>
                <a:gd name="T8" fmla="*/ 131330 w 88"/>
                <a:gd name="T9" fmla="*/ 108816 h 88"/>
                <a:gd name="T10" fmla="*/ 131330 w 88"/>
                <a:gd name="T11" fmla="*/ 330200 h 88"/>
                <a:gd name="T12" fmla="*/ 198870 w 88"/>
                <a:gd name="T13" fmla="*/ 330200 h 88"/>
                <a:gd name="T14" fmla="*/ 198870 w 88"/>
                <a:gd name="T15" fmla="*/ 120073 h 88"/>
                <a:gd name="T16" fmla="*/ 236393 w 88"/>
                <a:gd name="T17" fmla="*/ 67541 h 88"/>
                <a:gd name="T18" fmla="*/ 262659 w 88"/>
                <a:gd name="T19" fmla="*/ 108816 h 88"/>
                <a:gd name="T20" fmla="*/ 262659 w 88"/>
                <a:gd name="T21" fmla="*/ 330200 h 88"/>
                <a:gd name="T22" fmla="*/ 330200 w 88"/>
                <a:gd name="T23" fmla="*/ 330200 h 88"/>
                <a:gd name="T24" fmla="*/ 330200 w 88"/>
                <a:gd name="T25" fmla="*/ 97559 h 88"/>
                <a:gd name="T26" fmla="*/ 262659 w 88"/>
                <a:gd name="T27" fmla="*/ 3752 h 88"/>
                <a:gd name="T28" fmla="*/ 195118 w 88"/>
                <a:gd name="T29" fmla="*/ 52532 h 88"/>
                <a:gd name="T30" fmla="*/ 195118 w 88"/>
                <a:gd name="T31" fmla="*/ 52532 h 88"/>
                <a:gd name="T32" fmla="*/ 135082 w 88"/>
                <a:gd name="T33" fmla="*/ 3752 h 88"/>
                <a:gd name="T34" fmla="*/ 63789 w 88"/>
                <a:gd name="T35" fmla="*/ 45027 h 88"/>
                <a:gd name="T36" fmla="*/ 63789 w 88"/>
                <a:gd name="T37" fmla="*/ 45027 h 88"/>
                <a:gd name="T38" fmla="*/ 63789 w 88"/>
                <a:gd name="T39" fmla="*/ 11257 h 88"/>
                <a:gd name="T40" fmla="*/ 0 w 88"/>
                <a:gd name="T41" fmla="*/ 11257 h 88"/>
                <a:gd name="T42" fmla="*/ 0 w 88"/>
                <a:gd name="T43" fmla="*/ 330200 h 88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88" h="88">
                  <a:moveTo>
                    <a:pt x="0" y="88"/>
                  </a:moveTo>
                  <a:cubicBezTo>
                    <a:pt x="18" y="88"/>
                    <a:pt x="18" y="88"/>
                    <a:pt x="18" y="88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22"/>
                    <a:pt x="22" y="18"/>
                    <a:pt x="28" y="18"/>
                  </a:cubicBezTo>
                  <a:cubicBezTo>
                    <a:pt x="33" y="18"/>
                    <a:pt x="35" y="22"/>
                    <a:pt x="35" y="29"/>
                  </a:cubicBezTo>
                  <a:cubicBezTo>
                    <a:pt x="35" y="88"/>
                    <a:pt x="35" y="88"/>
                    <a:pt x="35" y="88"/>
                  </a:cubicBezTo>
                  <a:cubicBezTo>
                    <a:pt x="53" y="88"/>
                    <a:pt x="53" y="88"/>
                    <a:pt x="53" y="88"/>
                  </a:cubicBezTo>
                  <a:cubicBezTo>
                    <a:pt x="53" y="32"/>
                    <a:pt x="53" y="32"/>
                    <a:pt x="53" y="32"/>
                  </a:cubicBezTo>
                  <a:cubicBezTo>
                    <a:pt x="53" y="22"/>
                    <a:pt x="57" y="18"/>
                    <a:pt x="63" y="18"/>
                  </a:cubicBezTo>
                  <a:cubicBezTo>
                    <a:pt x="68" y="18"/>
                    <a:pt x="70" y="22"/>
                    <a:pt x="70" y="29"/>
                  </a:cubicBezTo>
                  <a:cubicBezTo>
                    <a:pt x="70" y="88"/>
                    <a:pt x="70" y="88"/>
                    <a:pt x="70" y="88"/>
                  </a:cubicBezTo>
                  <a:cubicBezTo>
                    <a:pt x="88" y="88"/>
                    <a:pt x="88" y="88"/>
                    <a:pt x="88" y="88"/>
                  </a:cubicBezTo>
                  <a:cubicBezTo>
                    <a:pt x="88" y="26"/>
                    <a:pt x="88" y="26"/>
                    <a:pt x="88" y="26"/>
                  </a:cubicBezTo>
                  <a:cubicBezTo>
                    <a:pt x="88" y="10"/>
                    <a:pt x="83" y="1"/>
                    <a:pt x="70" y="1"/>
                  </a:cubicBezTo>
                  <a:cubicBezTo>
                    <a:pt x="62" y="0"/>
                    <a:pt x="54" y="6"/>
                    <a:pt x="52" y="14"/>
                  </a:cubicBezTo>
                  <a:cubicBezTo>
                    <a:pt x="52" y="14"/>
                    <a:pt x="52" y="14"/>
                    <a:pt x="52" y="14"/>
                  </a:cubicBezTo>
                  <a:cubicBezTo>
                    <a:pt x="51" y="6"/>
                    <a:pt x="44" y="0"/>
                    <a:pt x="36" y="1"/>
                  </a:cubicBezTo>
                  <a:cubicBezTo>
                    <a:pt x="28" y="1"/>
                    <a:pt x="21" y="5"/>
                    <a:pt x="17" y="12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0" y="3"/>
                    <a:pt x="0" y="3"/>
                    <a:pt x="0" y="3"/>
                  </a:cubicBezTo>
                  <a:lnTo>
                    <a:pt x="0" y="8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036" name="Freeform 10"/>
            <p:cNvSpPr>
              <a:spLocks noEditPoints="1"/>
            </p:cNvSpPr>
            <p:nvPr userDrawn="1"/>
          </p:nvSpPr>
          <p:spPr bwMode="gray">
            <a:xfrm>
              <a:off x="10698163" y="2489200"/>
              <a:ext cx="209550" cy="431800"/>
            </a:xfrm>
            <a:custGeom>
              <a:avLst/>
              <a:gdLst>
                <a:gd name="T0" fmla="*/ 67355 w 56"/>
                <a:gd name="T1" fmla="*/ 168965 h 115"/>
                <a:gd name="T2" fmla="*/ 104775 w 56"/>
                <a:gd name="T3" fmla="*/ 63831 h 115"/>
                <a:gd name="T4" fmla="*/ 142195 w 56"/>
                <a:gd name="T5" fmla="*/ 168965 h 115"/>
                <a:gd name="T6" fmla="*/ 104775 w 56"/>
                <a:gd name="T7" fmla="*/ 274099 h 115"/>
                <a:gd name="T8" fmla="*/ 67355 w 56"/>
                <a:gd name="T9" fmla="*/ 168965 h 115"/>
                <a:gd name="T10" fmla="*/ 0 w 56"/>
                <a:gd name="T11" fmla="*/ 431800 h 115"/>
                <a:gd name="T12" fmla="*/ 67355 w 56"/>
                <a:gd name="T13" fmla="*/ 431800 h 115"/>
                <a:gd name="T14" fmla="*/ 67355 w 56"/>
                <a:gd name="T15" fmla="*/ 296628 h 115"/>
                <a:gd name="T16" fmla="*/ 71097 w 56"/>
                <a:gd name="T17" fmla="*/ 296628 h 115"/>
                <a:gd name="T18" fmla="*/ 127227 w 56"/>
                <a:gd name="T19" fmla="*/ 334176 h 115"/>
                <a:gd name="T20" fmla="*/ 209550 w 56"/>
                <a:gd name="T21" fmla="*/ 168965 h 115"/>
                <a:gd name="T22" fmla="*/ 127227 w 56"/>
                <a:gd name="T23" fmla="*/ 0 h 115"/>
                <a:gd name="T24" fmla="*/ 67355 w 56"/>
                <a:gd name="T25" fmla="*/ 41303 h 115"/>
                <a:gd name="T26" fmla="*/ 67355 w 56"/>
                <a:gd name="T27" fmla="*/ 41303 h 115"/>
                <a:gd name="T28" fmla="*/ 67355 w 56"/>
                <a:gd name="T29" fmla="*/ 7510 h 115"/>
                <a:gd name="T30" fmla="*/ 0 w 56"/>
                <a:gd name="T31" fmla="*/ 7510 h 115"/>
                <a:gd name="T32" fmla="*/ 0 w 56"/>
                <a:gd name="T33" fmla="*/ 431800 h 11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56" h="115">
                  <a:moveTo>
                    <a:pt x="18" y="45"/>
                  </a:moveTo>
                  <a:cubicBezTo>
                    <a:pt x="18" y="26"/>
                    <a:pt x="20" y="17"/>
                    <a:pt x="28" y="17"/>
                  </a:cubicBezTo>
                  <a:cubicBezTo>
                    <a:pt x="36" y="17"/>
                    <a:pt x="38" y="26"/>
                    <a:pt x="38" y="45"/>
                  </a:cubicBezTo>
                  <a:cubicBezTo>
                    <a:pt x="38" y="63"/>
                    <a:pt x="36" y="73"/>
                    <a:pt x="28" y="73"/>
                  </a:cubicBezTo>
                  <a:cubicBezTo>
                    <a:pt x="20" y="73"/>
                    <a:pt x="18" y="63"/>
                    <a:pt x="18" y="45"/>
                  </a:cubicBezTo>
                  <a:close/>
                  <a:moveTo>
                    <a:pt x="0" y="115"/>
                  </a:moveTo>
                  <a:cubicBezTo>
                    <a:pt x="18" y="115"/>
                    <a:pt x="18" y="115"/>
                    <a:pt x="18" y="115"/>
                  </a:cubicBezTo>
                  <a:cubicBezTo>
                    <a:pt x="18" y="79"/>
                    <a:pt x="18" y="79"/>
                    <a:pt x="18" y="79"/>
                  </a:cubicBezTo>
                  <a:cubicBezTo>
                    <a:pt x="19" y="79"/>
                    <a:pt x="19" y="79"/>
                    <a:pt x="19" y="79"/>
                  </a:cubicBezTo>
                  <a:cubicBezTo>
                    <a:pt x="23" y="86"/>
                    <a:pt x="27" y="89"/>
                    <a:pt x="34" y="89"/>
                  </a:cubicBezTo>
                  <a:cubicBezTo>
                    <a:pt x="49" y="89"/>
                    <a:pt x="56" y="76"/>
                    <a:pt x="56" y="45"/>
                  </a:cubicBezTo>
                  <a:cubicBezTo>
                    <a:pt x="56" y="13"/>
                    <a:pt x="49" y="0"/>
                    <a:pt x="34" y="0"/>
                  </a:cubicBezTo>
                  <a:cubicBezTo>
                    <a:pt x="27" y="0"/>
                    <a:pt x="22" y="3"/>
                    <a:pt x="18" y="11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0" y="2"/>
                    <a:pt x="0" y="2"/>
                    <a:pt x="0" y="2"/>
                  </a:cubicBezTo>
                  <a:lnTo>
                    <a:pt x="0" y="115"/>
                  </a:lnTo>
                  <a:close/>
                </a:path>
              </a:pathLst>
            </a:custGeom>
            <a:solidFill>
              <a:srgbClr val="007C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037" name="Freeform 11"/>
            <p:cNvSpPr>
              <a:spLocks noEditPoints="1"/>
            </p:cNvSpPr>
            <p:nvPr userDrawn="1"/>
          </p:nvSpPr>
          <p:spPr bwMode="gray">
            <a:xfrm>
              <a:off x="10931525" y="2489200"/>
              <a:ext cx="206375" cy="333375"/>
            </a:xfrm>
            <a:custGeom>
              <a:avLst/>
              <a:gdLst>
                <a:gd name="T0" fmla="*/ 67541 w 55"/>
                <a:gd name="T1" fmla="*/ 104882 h 89"/>
                <a:gd name="T2" fmla="*/ 67541 w 55"/>
                <a:gd name="T3" fmla="*/ 97390 h 89"/>
                <a:gd name="T4" fmla="*/ 101311 w 55"/>
                <a:gd name="T5" fmla="*/ 56187 h 89"/>
                <a:gd name="T6" fmla="*/ 131330 w 55"/>
                <a:gd name="T7" fmla="*/ 93645 h 89"/>
                <a:gd name="T8" fmla="*/ 105064 w 55"/>
                <a:gd name="T9" fmla="*/ 131103 h 89"/>
                <a:gd name="T10" fmla="*/ 67541 w 55"/>
                <a:gd name="T11" fmla="*/ 142340 h 89"/>
                <a:gd name="T12" fmla="*/ 0 w 55"/>
                <a:gd name="T13" fmla="*/ 243476 h 89"/>
                <a:gd name="T14" fmla="*/ 63789 w 55"/>
                <a:gd name="T15" fmla="*/ 333375 h 89"/>
                <a:gd name="T16" fmla="*/ 131330 w 55"/>
                <a:gd name="T17" fmla="*/ 292171 h 89"/>
                <a:gd name="T18" fmla="*/ 131330 w 55"/>
                <a:gd name="T19" fmla="*/ 292171 h 89"/>
                <a:gd name="T20" fmla="*/ 142586 w 55"/>
                <a:gd name="T21" fmla="*/ 325883 h 89"/>
                <a:gd name="T22" fmla="*/ 206375 w 55"/>
                <a:gd name="T23" fmla="*/ 325883 h 89"/>
                <a:gd name="T24" fmla="*/ 198870 w 55"/>
                <a:gd name="T25" fmla="*/ 265951 h 89"/>
                <a:gd name="T26" fmla="*/ 198870 w 55"/>
                <a:gd name="T27" fmla="*/ 97390 h 89"/>
                <a:gd name="T28" fmla="*/ 101311 w 55"/>
                <a:gd name="T29" fmla="*/ 0 h 89"/>
                <a:gd name="T30" fmla="*/ 7505 w 55"/>
                <a:gd name="T31" fmla="*/ 97390 h 89"/>
                <a:gd name="T32" fmla="*/ 7505 w 55"/>
                <a:gd name="T33" fmla="*/ 104882 h 89"/>
                <a:gd name="T34" fmla="*/ 67541 w 55"/>
                <a:gd name="T35" fmla="*/ 104882 h 89"/>
                <a:gd name="T36" fmla="*/ 131330 w 55"/>
                <a:gd name="T37" fmla="*/ 228493 h 89"/>
                <a:gd name="T38" fmla="*/ 93807 w 55"/>
                <a:gd name="T39" fmla="*/ 280934 h 89"/>
                <a:gd name="T40" fmla="*/ 90055 w 55"/>
                <a:gd name="T41" fmla="*/ 280934 h 89"/>
                <a:gd name="T42" fmla="*/ 63789 w 55"/>
                <a:gd name="T43" fmla="*/ 235985 h 89"/>
                <a:gd name="T44" fmla="*/ 105064 w 55"/>
                <a:gd name="T45" fmla="*/ 183544 h 89"/>
                <a:gd name="T46" fmla="*/ 135082 w 55"/>
                <a:gd name="T47" fmla="*/ 168560 h 89"/>
                <a:gd name="T48" fmla="*/ 135082 w 55"/>
                <a:gd name="T49" fmla="*/ 228493 h 89"/>
                <a:gd name="T50" fmla="*/ 131330 w 55"/>
                <a:gd name="T51" fmla="*/ 228493 h 8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55" h="89">
                  <a:moveTo>
                    <a:pt x="18" y="28"/>
                  </a:moveTo>
                  <a:cubicBezTo>
                    <a:pt x="18" y="26"/>
                    <a:pt x="18" y="26"/>
                    <a:pt x="18" y="26"/>
                  </a:cubicBezTo>
                  <a:cubicBezTo>
                    <a:pt x="18" y="19"/>
                    <a:pt x="21" y="15"/>
                    <a:pt x="27" y="15"/>
                  </a:cubicBezTo>
                  <a:cubicBezTo>
                    <a:pt x="32" y="15"/>
                    <a:pt x="35" y="19"/>
                    <a:pt x="35" y="25"/>
                  </a:cubicBezTo>
                  <a:cubicBezTo>
                    <a:pt x="36" y="30"/>
                    <a:pt x="33" y="34"/>
                    <a:pt x="28" y="35"/>
                  </a:cubicBezTo>
                  <a:cubicBezTo>
                    <a:pt x="18" y="38"/>
                    <a:pt x="18" y="38"/>
                    <a:pt x="18" y="38"/>
                  </a:cubicBezTo>
                  <a:cubicBezTo>
                    <a:pt x="5" y="42"/>
                    <a:pt x="0" y="49"/>
                    <a:pt x="0" y="65"/>
                  </a:cubicBezTo>
                  <a:cubicBezTo>
                    <a:pt x="0" y="76"/>
                    <a:pt x="4" y="89"/>
                    <a:pt x="17" y="89"/>
                  </a:cubicBezTo>
                  <a:cubicBezTo>
                    <a:pt x="26" y="89"/>
                    <a:pt x="31" y="87"/>
                    <a:pt x="35" y="78"/>
                  </a:cubicBezTo>
                  <a:cubicBezTo>
                    <a:pt x="35" y="78"/>
                    <a:pt x="35" y="78"/>
                    <a:pt x="35" y="78"/>
                  </a:cubicBezTo>
                  <a:cubicBezTo>
                    <a:pt x="36" y="81"/>
                    <a:pt x="37" y="84"/>
                    <a:pt x="38" y="87"/>
                  </a:cubicBezTo>
                  <a:cubicBezTo>
                    <a:pt x="55" y="87"/>
                    <a:pt x="55" y="87"/>
                    <a:pt x="55" y="87"/>
                  </a:cubicBezTo>
                  <a:cubicBezTo>
                    <a:pt x="53" y="82"/>
                    <a:pt x="53" y="76"/>
                    <a:pt x="53" y="71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53" y="11"/>
                    <a:pt x="49" y="0"/>
                    <a:pt x="27" y="0"/>
                  </a:cubicBezTo>
                  <a:cubicBezTo>
                    <a:pt x="13" y="0"/>
                    <a:pt x="2" y="6"/>
                    <a:pt x="2" y="26"/>
                  </a:cubicBezTo>
                  <a:cubicBezTo>
                    <a:pt x="2" y="28"/>
                    <a:pt x="2" y="28"/>
                    <a:pt x="2" y="28"/>
                  </a:cubicBezTo>
                  <a:lnTo>
                    <a:pt x="18" y="28"/>
                  </a:lnTo>
                  <a:close/>
                  <a:moveTo>
                    <a:pt x="35" y="61"/>
                  </a:moveTo>
                  <a:cubicBezTo>
                    <a:pt x="36" y="68"/>
                    <a:pt x="31" y="74"/>
                    <a:pt x="25" y="75"/>
                  </a:cubicBezTo>
                  <a:cubicBezTo>
                    <a:pt x="24" y="75"/>
                    <a:pt x="24" y="75"/>
                    <a:pt x="24" y="75"/>
                  </a:cubicBezTo>
                  <a:cubicBezTo>
                    <a:pt x="19" y="75"/>
                    <a:pt x="17" y="69"/>
                    <a:pt x="17" y="63"/>
                  </a:cubicBezTo>
                  <a:cubicBezTo>
                    <a:pt x="16" y="56"/>
                    <a:pt x="21" y="50"/>
                    <a:pt x="28" y="49"/>
                  </a:cubicBezTo>
                  <a:cubicBezTo>
                    <a:pt x="30" y="48"/>
                    <a:pt x="33" y="46"/>
                    <a:pt x="36" y="45"/>
                  </a:cubicBezTo>
                  <a:cubicBezTo>
                    <a:pt x="36" y="61"/>
                    <a:pt x="36" y="61"/>
                    <a:pt x="36" y="61"/>
                  </a:cubicBezTo>
                  <a:lnTo>
                    <a:pt x="35" y="61"/>
                  </a:lnTo>
                  <a:close/>
                </a:path>
              </a:pathLst>
            </a:custGeom>
            <a:solidFill>
              <a:srgbClr val="007C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038" name="Freeform 12"/>
            <p:cNvSpPr>
              <a:spLocks noEditPoints="1"/>
            </p:cNvSpPr>
            <p:nvPr userDrawn="1"/>
          </p:nvSpPr>
          <p:spPr bwMode="gray">
            <a:xfrm>
              <a:off x="11166475" y="2489200"/>
              <a:ext cx="211138" cy="431800"/>
            </a:xfrm>
            <a:custGeom>
              <a:avLst/>
              <a:gdLst>
                <a:gd name="T0" fmla="*/ 71636 w 56"/>
                <a:gd name="T1" fmla="*/ 168965 h 115"/>
                <a:gd name="T2" fmla="*/ 105569 w 56"/>
                <a:gd name="T3" fmla="*/ 63831 h 115"/>
                <a:gd name="T4" fmla="*/ 143272 w 56"/>
                <a:gd name="T5" fmla="*/ 168965 h 115"/>
                <a:gd name="T6" fmla="*/ 105569 w 56"/>
                <a:gd name="T7" fmla="*/ 274099 h 115"/>
                <a:gd name="T8" fmla="*/ 71636 w 56"/>
                <a:gd name="T9" fmla="*/ 168965 h 115"/>
                <a:gd name="T10" fmla="*/ 0 w 56"/>
                <a:gd name="T11" fmla="*/ 431800 h 115"/>
                <a:gd name="T12" fmla="*/ 71636 w 56"/>
                <a:gd name="T13" fmla="*/ 431800 h 115"/>
                <a:gd name="T14" fmla="*/ 71636 w 56"/>
                <a:gd name="T15" fmla="*/ 296628 h 115"/>
                <a:gd name="T16" fmla="*/ 71636 w 56"/>
                <a:gd name="T17" fmla="*/ 296628 h 115"/>
                <a:gd name="T18" fmla="*/ 128191 w 56"/>
                <a:gd name="T19" fmla="*/ 334176 h 115"/>
                <a:gd name="T20" fmla="*/ 211138 w 56"/>
                <a:gd name="T21" fmla="*/ 168965 h 115"/>
                <a:gd name="T22" fmla="*/ 128191 w 56"/>
                <a:gd name="T23" fmla="*/ 0 h 115"/>
                <a:gd name="T24" fmla="*/ 67866 w 56"/>
                <a:gd name="T25" fmla="*/ 41303 h 115"/>
                <a:gd name="T26" fmla="*/ 67866 w 56"/>
                <a:gd name="T27" fmla="*/ 41303 h 115"/>
                <a:gd name="T28" fmla="*/ 67866 w 56"/>
                <a:gd name="T29" fmla="*/ 7510 h 115"/>
                <a:gd name="T30" fmla="*/ 0 w 56"/>
                <a:gd name="T31" fmla="*/ 7510 h 115"/>
                <a:gd name="T32" fmla="*/ 0 w 56"/>
                <a:gd name="T33" fmla="*/ 431800 h 11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56" h="115">
                  <a:moveTo>
                    <a:pt x="19" y="45"/>
                  </a:moveTo>
                  <a:cubicBezTo>
                    <a:pt x="19" y="26"/>
                    <a:pt x="20" y="17"/>
                    <a:pt x="28" y="17"/>
                  </a:cubicBezTo>
                  <a:cubicBezTo>
                    <a:pt x="37" y="17"/>
                    <a:pt x="38" y="26"/>
                    <a:pt x="38" y="45"/>
                  </a:cubicBezTo>
                  <a:cubicBezTo>
                    <a:pt x="38" y="63"/>
                    <a:pt x="36" y="73"/>
                    <a:pt x="28" y="73"/>
                  </a:cubicBezTo>
                  <a:cubicBezTo>
                    <a:pt x="20" y="73"/>
                    <a:pt x="19" y="63"/>
                    <a:pt x="19" y="45"/>
                  </a:cubicBezTo>
                  <a:close/>
                  <a:moveTo>
                    <a:pt x="0" y="115"/>
                  </a:moveTo>
                  <a:cubicBezTo>
                    <a:pt x="19" y="115"/>
                    <a:pt x="19" y="115"/>
                    <a:pt x="19" y="115"/>
                  </a:cubicBezTo>
                  <a:cubicBezTo>
                    <a:pt x="19" y="79"/>
                    <a:pt x="19" y="79"/>
                    <a:pt x="19" y="79"/>
                  </a:cubicBezTo>
                  <a:cubicBezTo>
                    <a:pt x="19" y="79"/>
                    <a:pt x="19" y="79"/>
                    <a:pt x="19" y="79"/>
                  </a:cubicBezTo>
                  <a:cubicBezTo>
                    <a:pt x="22" y="85"/>
                    <a:pt x="28" y="89"/>
                    <a:pt x="34" y="89"/>
                  </a:cubicBezTo>
                  <a:cubicBezTo>
                    <a:pt x="49" y="89"/>
                    <a:pt x="56" y="76"/>
                    <a:pt x="56" y="45"/>
                  </a:cubicBezTo>
                  <a:cubicBezTo>
                    <a:pt x="56" y="13"/>
                    <a:pt x="49" y="0"/>
                    <a:pt x="34" y="0"/>
                  </a:cubicBezTo>
                  <a:cubicBezTo>
                    <a:pt x="27" y="0"/>
                    <a:pt x="22" y="3"/>
                    <a:pt x="18" y="11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15"/>
                    <a:pt x="0" y="115"/>
                    <a:pt x="0" y="115"/>
                  </a:cubicBezTo>
                  <a:close/>
                </a:path>
              </a:pathLst>
            </a:custGeom>
            <a:solidFill>
              <a:srgbClr val="007C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039" name="Freeform 13"/>
            <p:cNvSpPr>
              <a:spLocks/>
            </p:cNvSpPr>
            <p:nvPr userDrawn="1"/>
          </p:nvSpPr>
          <p:spPr bwMode="gray">
            <a:xfrm>
              <a:off x="11396663" y="2489200"/>
              <a:ext cx="198438" cy="333375"/>
            </a:xfrm>
            <a:custGeom>
              <a:avLst/>
              <a:gdLst>
                <a:gd name="T0" fmla="*/ 0 w 53"/>
                <a:gd name="T1" fmla="*/ 221001 h 89"/>
                <a:gd name="T2" fmla="*/ 0 w 53"/>
                <a:gd name="T3" fmla="*/ 232239 h 89"/>
                <a:gd name="T4" fmla="*/ 101091 w 53"/>
                <a:gd name="T5" fmla="*/ 333375 h 89"/>
                <a:gd name="T6" fmla="*/ 198438 w 53"/>
                <a:gd name="T7" fmla="*/ 235985 h 89"/>
                <a:gd name="T8" fmla="*/ 138532 w 53"/>
                <a:gd name="T9" fmla="*/ 142340 h 89"/>
                <a:gd name="T10" fmla="*/ 97347 w 53"/>
                <a:gd name="T11" fmla="*/ 127357 h 89"/>
                <a:gd name="T12" fmla="*/ 67394 w 53"/>
                <a:gd name="T13" fmla="*/ 89899 h 89"/>
                <a:gd name="T14" fmla="*/ 97347 w 53"/>
                <a:gd name="T15" fmla="*/ 56187 h 89"/>
                <a:gd name="T16" fmla="*/ 101091 w 53"/>
                <a:gd name="T17" fmla="*/ 56187 h 89"/>
                <a:gd name="T18" fmla="*/ 131044 w 53"/>
                <a:gd name="T19" fmla="*/ 104882 h 89"/>
                <a:gd name="T20" fmla="*/ 190950 w 53"/>
                <a:gd name="T21" fmla="*/ 104882 h 89"/>
                <a:gd name="T22" fmla="*/ 190950 w 53"/>
                <a:gd name="T23" fmla="*/ 89899 h 89"/>
                <a:gd name="T24" fmla="*/ 101091 w 53"/>
                <a:gd name="T25" fmla="*/ 0 h 89"/>
                <a:gd name="T26" fmla="*/ 3744 w 53"/>
                <a:gd name="T27" fmla="*/ 93645 h 89"/>
                <a:gd name="T28" fmla="*/ 59906 w 53"/>
                <a:gd name="T29" fmla="*/ 183544 h 89"/>
                <a:gd name="T30" fmla="*/ 108579 w 53"/>
                <a:gd name="T31" fmla="*/ 206018 h 89"/>
                <a:gd name="T32" fmla="*/ 134788 w 53"/>
                <a:gd name="T33" fmla="*/ 239730 h 89"/>
                <a:gd name="T34" fmla="*/ 97347 w 53"/>
                <a:gd name="T35" fmla="*/ 280934 h 89"/>
                <a:gd name="T36" fmla="*/ 63650 w 53"/>
                <a:gd name="T37" fmla="*/ 232239 h 89"/>
                <a:gd name="T38" fmla="*/ 63650 w 53"/>
                <a:gd name="T39" fmla="*/ 221001 h 89"/>
                <a:gd name="T40" fmla="*/ 0 w 53"/>
                <a:gd name="T41" fmla="*/ 221001 h 89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53" h="89">
                  <a:moveTo>
                    <a:pt x="0" y="59"/>
                  </a:moveTo>
                  <a:cubicBezTo>
                    <a:pt x="0" y="62"/>
                    <a:pt x="0" y="62"/>
                    <a:pt x="0" y="62"/>
                  </a:cubicBezTo>
                  <a:cubicBezTo>
                    <a:pt x="0" y="79"/>
                    <a:pt x="6" y="89"/>
                    <a:pt x="27" y="89"/>
                  </a:cubicBezTo>
                  <a:cubicBezTo>
                    <a:pt x="42" y="89"/>
                    <a:pt x="53" y="81"/>
                    <a:pt x="53" y="63"/>
                  </a:cubicBezTo>
                  <a:cubicBezTo>
                    <a:pt x="53" y="50"/>
                    <a:pt x="49" y="43"/>
                    <a:pt x="37" y="38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0" y="31"/>
                    <a:pt x="18" y="28"/>
                    <a:pt x="18" y="24"/>
                  </a:cubicBezTo>
                  <a:cubicBezTo>
                    <a:pt x="18" y="19"/>
                    <a:pt x="21" y="15"/>
                    <a:pt x="26" y="15"/>
                  </a:cubicBezTo>
                  <a:cubicBezTo>
                    <a:pt x="26" y="15"/>
                    <a:pt x="27" y="15"/>
                    <a:pt x="27" y="15"/>
                  </a:cubicBezTo>
                  <a:cubicBezTo>
                    <a:pt x="33" y="15"/>
                    <a:pt x="35" y="19"/>
                    <a:pt x="35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4"/>
                    <a:pt x="51" y="24"/>
                    <a:pt x="51" y="24"/>
                  </a:cubicBezTo>
                  <a:cubicBezTo>
                    <a:pt x="51" y="9"/>
                    <a:pt x="43" y="0"/>
                    <a:pt x="27" y="0"/>
                  </a:cubicBezTo>
                  <a:cubicBezTo>
                    <a:pt x="8" y="0"/>
                    <a:pt x="1" y="11"/>
                    <a:pt x="1" y="25"/>
                  </a:cubicBezTo>
                  <a:cubicBezTo>
                    <a:pt x="0" y="36"/>
                    <a:pt x="6" y="46"/>
                    <a:pt x="16" y="49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33" y="56"/>
                    <a:pt x="36" y="60"/>
                    <a:pt x="36" y="64"/>
                  </a:cubicBezTo>
                  <a:cubicBezTo>
                    <a:pt x="36" y="71"/>
                    <a:pt x="32" y="75"/>
                    <a:pt x="26" y="75"/>
                  </a:cubicBezTo>
                  <a:cubicBezTo>
                    <a:pt x="20" y="75"/>
                    <a:pt x="17" y="70"/>
                    <a:pt x="17" y="62"/>
                  </a:cubicBezTo>
                  <a:cubicBezTo>
                    <a:pt x="17" y="59"/>
                    <a:pt x="17" y="59"/>
                    <a:pt x="17" y="59"/>
                  </a:cubicBezTo>
                  <a:lnTo>
                    <a:pt x="0" y="59"/>
                  </a:lnTo>
                  <a:close/>
                </a:path>
              </a:pathLst>
            </a:custGeom>
            <a:solidFill>
              <a:srgbClr val="007C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040" name="Freeform 14"/>
            <p:cNvSpPr>
              <a:spLocks/>
            </p:cNvSpPr>
            <p:nvPr userDrawn="1"/>
          </p:nvSpPr>
          <p:spPr bwMode="gray">
            <a:xfrm>
              <a:off x="11598275" y="2406650"/>
              <a:ext cx="146050" cy="412750"/>
            </a:xfrm>
            <a:custGeom>
              <a:avLst/>
              <a:gdLst>
                <a:gd name="T0" fmla="*/ 37449 w 39"/>
                <a:gd name="T1" fmla="*/ 90055 h 110"/>
                <a:gd name="T2" fmla="*/ 0 w 39"/>
                <a:gd name="T3" fmla="*/ 90055 h 110"/>
                <a:gd name="T4" fmla="*/ 0 w 39"/>
                <a:gd name="T5" fmla="*/ 146339 h 110"/>
                <a:gd name="T6" fmla="*/ 37449 w 39"/>
                <a:gd name="T7" fmla="*/ 146339 h 110"/>
                <a:gd name="T8" fmla="*/ 37449 w 39"/>
                <a:gd name="T9" fmla="*/ 330200 h 110"/>
                <a:gd name="T10" fmla="*/ 101112 w 39"/>
                <a:gd name="T11" fmla="*/ 412750 h 110"/>
                <a:gd name="T12" fmla="*/ 146050 w 39"/>
                <a:gd name="T13" fmla="*/ 408998 h 110"/>
                <a:gd name="T14" fmla="*/ 146050 w 39"/>
                <a:gd name="T15" fmla="*/ 352714 h 110"/>
                <a:gd name="T16" fmla="*/ 131071 w 39"/>
                <a:gd name="T17" fmla="*/ 352714 h 110"/>
                <a:gd name="T18" fmla="*/ 104856 w 39"/>
                <a:gd name="T19" fmla="*/ 318943 h 110"/>
                <a:gd name="T20" fmla="*/ 104856 w 39"/>
                <a:gd name="T21" fmla="*/ 146339 h 110"/>
                <a:gd name="T22" fmla="*/ 146050 w 39"/>
                <a:gd name="T23" fmla="*/ 146339 h 110"/>
                <a:gd name="T24" fmla="*/ 146050 w 39"/>
                <a:gd name="T25" fmla="*/ 90055 h 110"/>
                <a:gd name="T26" fmla="*/ 104856 w 39"/>
                <a:gd name="T27" fmla="*/ 90055 h 110"/>
                <a:gd name="T28" fmla="*/ 104856 w 39"/>
                <a:gd name="T29" fmla="*/ 0 h 110"/>
                <a:gd name="T30" fmla="*/ 37449 w 39"/>
                <a:gd name="T31" fmla="*/ 0 h 110"/>
                <a:gd name="T32" fmla="*/ 37449 w 39"/>
                <a:gd name="T33" fmla="*/ 90055 h 110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39" h="110">
                  <a:moveTo>
                    <a:pt x="10" y="24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88"/>
                    <a:pt x="10" y="88"/>
                    <a:pt x="10" y="88"/>
                  </a:cubicBezTo>
                  <a:cubicBezTo>
                    <a:pt x="10" y="105"/>
                    <a:pt x="12" y="110"/>
                    <a:pt x="27" y="110"/>
                  </a:cubicBezTo>
                  <a:cubicBezTo>
                    <a:pt x="31" y="110"/>
                    <a:pt x="35" y="110"/>
                    <a:pt x="39" y="109"/>
                  </a:cubicBezTo>
                  <a:cubicBezTo>
                    <a:pt x="39" y="94"/>
                    <a:pt x="39" y="94"/>
                    <a:pt x="39" y="94"/>
                  </a:cubicBezTo>
                  <a:cubicBezTo>
                    <a:pt x="37" y="94"/>
                    <a:pt x="36" y="94"/>
                    <a:pt x="35" y="94"/>
                  </a:cubicBezTo>
                  <a:cubicBezTo>
                    <a:pt x="29" y="94"/>
                    <a:pt x="28" y="92"/>
                    <a:pt x="28" y="85"/>
                  </a:cubicBezTo>
                  <a:cubicBezTo>
                    <a:pt x="28" y="39"/>
                    <a:pt x="28" y="39"/>
                    <a:pt x="28" y="39"/>
                  </a:cubicBezTo>
                  <a:cubicBezTo>
                    <a:pt x="39" y="39"/>
                    <a:pt x="39" y="39"/>
                    <a:pt x="39" y="39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24"/>
                    <a:pt x="10" y="24"/>
                    <a:pt x="10" y="24"/>
                  </a:cubicBezTo>
                  <a:close/>
                </a:path>
              </a:pathLst>
            </a:custGeom>
            <a:solidFill>
              <a:srgbClr val="007C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041" name="Rectangle 15"/>
            <p:cNvSpPr>
              <a:spLocks noChangeArrowheads="1"/>
            </p:cNvSpPr>
            <p:nvPr userDrawn="1"/>
          </p:nvSpPr>
          <p:spPr bwMode="gray">
            <a:xfrm>
              <a:off x="9299575" y="3449638"/>
              <a:ext cx="2978150" cy="531812"/>
            </a:xfrm>
            <a:prstGeom prst="rect">
              <a:avLst/>
            </a:prstGeom>
            <a:solidFill>
              <a:srgbClr val="007C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endParaRPr lang="de-DE" altLang="de-DE" sz="1800"/>
            </a:p>
          </p:txBody>
        </p:sp>
        <p:sp>
          <p:nvSpPr>
            <p:cNvPr id="1042" name="Freeform 16"/>
            <p:cNvSpPr>
              <a:spLocks/>
            </p:cNvSpPr>
            <p:nvPr userDrawn="1"/>
          </p:nvSpPr>
          <p:spPr bwMode="gray">
            <a:xfrm>
              <a:off x="9850438" y="3644900"/>
              <a:ext cx="76200" cy="127000"/>
            </a:xfrm>
            <a:custGeom>
              <a:avLst/>
              <a:gdLst>
                <a:gd name="T0" fmla="*/ 76200 w 20"/>
                <a:gd name="T1" fmla="*/ 127000 h 34"/>
                <a:gd name="T2" fmla="*/ 64770 w 20"/>
                <a:gd name="T3" fmla="*/ 127000 h 34"/>
                <a:gd name="T4" fmla="*/ 53340 w 20"/>
                <a:gd name="T5" fmla="*/ 127000 h 34"/>
                <a:gd name="T6" fmla="*/ 34290 w 20"/>
                <a:gd name="T7" fmla="*/ 123265 h 34"/>
                <a:gd name="T8" fmla="*/ 22860 w 20"/>
                <a:gd name="T9" fmla="*/ 112059 h 34"/>
                <a:gd name="T10" fmla="*/ 19050 w 20"/>
                <a:gd name="T11" fmla="*/ 97118 h 34"/>
                <a:gd name="T12" fmla="*/ 19050 w 20"/>
                <a:gd name="T13" fmla="*/ 44824 h 34"/>
                <a:gd name="T14" fmla="*/ 0 w 20"/>
                <a:gd name="T15" fmla="*/ 44824 h 34"/>
                <a:gd name="T16" fmla="*/ 0 w 20"/>
                <a:gd name="T17" fmla="*/ 26147 h 34"/>
                <a:gd name="T18" fmla="*/ 19050 w 20"/>
                <a:gd name="T19" fmla="*/ 26147 h 34"/>
                <a:gd name="T20" fmla="*/ 19050 w 20"/>
                <a:gd name="T21" fmla="*/ 0 h 34"/>
                <a:gd name="T22" fmla="*/ 41910 w 20"/>
                <a:gd name="T23" fmla="*/ 0 h 34"/>
                <a:gd name="T24" fmla="*/ 41910 w 20"/>
                <a:gd name="T25" fmla="*/ 26147 h 34"/>
                <a:gd name="T26" fmla="*/ 72390 w 20"/>
                <a:gd name="T27" fmla="*/ 26147 h 34"/>
                <a:gd name="T28" fmla="*/ 72390 w 20"/>
                <a:gd name="T29" fmla="*/ 44824 h 34"/>
                <a:gd name="T30" fmla="*/ 41910 w 20"/>
                <a:gd name="T31" fmla="*/ 44824 h 34"/>
                <a:gd name="T32" fmla="*/ 41910 w 20"/>
                <a:gd name="T33" fmla="*/ 93382 h 34"/>
                <a:gd name="T34" fmla="*/ 45720 w 20"/>
                <a:gd name="T35" fmla="*/ 100853 h 34"/>
                <a:gd name="T36" fmla="*/ 57150 w 20"/>
                <a:gd name="T37" fmla="*/ 108324 h 34"/>
                <a:gd name="T38" fmla="*/ 64770 w 20"/>
                <a:gd name="T39" fmla="*/ 108324 h 34"/>
                <a:gd name="T40" fmla="*/ 72390 w 20"/>
                <a:gd name="T41" fmla="*/ 104588 h 34"/>
                <a:gd name="T42" fmla="*/ 76200 w 20"/>
                <a:gd name="T43" fmla="*/ 127000 h 34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20" h="34">
                  <a:moveTo>
                    <a:pt x="20" y="34"/>
                  </a:moveTo>
                  <a:cubicBezTo>
                    <a:pt x="19" y="34"/>
                    <a:pt x="18" y="34"/>
                    <a:pt x="17" y="34"/>
                  </a:cubicBezTo>
                  <a:cubicBezTo>
                    <a:pt x="16" y="34"/>
                    <a:pt x="15" y="34"/>
                    <a:pt x="14" y="34"/>
                  </a:cubicBezTo>
                  <a:cubicBezTo>
                    <a:pt x="12" y="34"/>
                    <a:pt x="10" y="34"/>
                    <a:pt x="9" y="33"/>
                  </a:cubicBezTo>
                  <a:cubicBezTo>
                    <a:pt x="7" y="32"/>
                    <a:pt x="6" y="31"/>
                    <a:pt x="6" y="30"/>
                  </a:cubicBezTo>
                  <a:cubicBezTo>
                    <a:pt x="5" y="29"/>
                    <a:pt x="5" y="27"/>
                    <a:pt x="5" y="26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12"/>
                    <a:pt x="19" y="12"/>
                    <a:pt x="19" y="12"/>
                  </a:cubicBezTo>
                  <a:cubicBezTo>
                    <a:pt x="11" y="12"/>
                    <a:pt x="11" y="12"/>
                    <a:pt x="11" y="12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6"/>
                    <a:pt x="12" y="27"/>
                    <a:pt x="12" y="27"/>
                  </a:cubicBezTo>
                  <a:cubicBezTo>
                    <a:pt x="13" y="28"/>
                    <a:pt x="14" y="29"/>
                    <a:pt x="15" y="29"/>
                  </a:cubicBezTo>
                  <a:cubicBezTo>
                    <a:pt x="16" y="29"/>
                    <a:pt x="17" y="29"/>
                    <a:pt x="17" y="29"/>
                  </a:cubicBezTo>
                  <a:cubicBezTo>
                    <a:pt x="18" y="28"/>
                    <a:pt x="19" y="28"/>
                    <a:pt x="19" y="28"/>
                  </a:cubicBezTo>
                  <a:lnTo>
                    <a:pt x="20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043" name="Freeform 17"/>
            <p:cNvSpPr>
              <a:spLocks/>
            </p:cNvSpPr>
            <p:nvPr userDrawn="1"/>
          </p:nvSpPr>
          <p:spPr bwMode="gray">
            <a:xfrm>
              <a:off x="9944100" y="3621088"/>
              <a:ext cx="90488" cy="150812"/>
            </a:xfrm>
            <a:custGeom>
              <a:avLst/>
              <a:gdLst>
                <a:gd name="T0" fmla="*/ 22622 w 24"/>
                <a:gd name="T1" fmla="*/ 41473 h 40"/>
                <a:gd name="T2" fmla="*/ 22622 w 24"/>
                <a:gd name="T3" fmla="*/ 52784 h 40"/>
                <a:gd name="T4" fmla="*/ 22622 w 24"/>
                <a:gd name="T5" fmla="*/ 64095 h 40"/>
                <a:gd name="T6" fmla="*/ 22622 w 24"/>
                <a:gd name="T7" fmla="*/ 64095 h 40"/>
                <a:gd name="T8" fmla="*/ 30163 w 24"/>
                <a:gd name="T9" fmla="*/ 56555 h 40"/>
                <a:gd name="T10" fmla="*/ 37703 w 24"/>
                <a:gd name="T11" fmla="*/ 52784 h 40"/>
                <a:gd name="T12" fmla="*/ 45244 w 24"/>
                <a:gd name="T13" fmla="*/ 49014 h 40"/>
                <a:gd name="T14" fmla="*/ 56555 w 24"/>
                <a:gd name="T15" fmla="*/ 49014 h 40"/>
                <a:gd name="T16" fmla="*/ 64096 w 24"/>
                <a:gd name="T17" fmla="*/ 49014 h 40"/>
                <a:gd name="T18" fmla="*/ 71636 w 24"/>
                <a:gd name="T19" fmla="*/ 52784 h 40"/>
                <a:gd name="T20" fmla="*/ 79177 w 24"/>
                <a:gd name="T21" fmla="*/ 56555 h 40"/>
                <a:gd name="T22" fmla="*/ 86718 w 24"/>
                <a:gd name="T23" fmla="*/ 64095 h 40"/>
                <a:gd name="T24" fmla="*/ 90488 w 24"/>
                <a:gd name="T25" fmla="*/ 75406 h 40"/>
                <a:gd name="T26" fmla="*/ 90488 w 24"/>
                <a:gd name="T27" fmla="*/ 86717 h 40"/>
                <a:gd name="T28" fmla="*/ 90488 w 24"/>
                <a:gd name="T29" fmla="*/ 150812 h 40"/>
                <a:gd name="T30" fmla="*/ 64096 w 24"/>
                <a:gd name="T31" fmla="*/ 150812 h 40"/>
                <a:gd name="T32" fmla="*/ 64096 w 24"/>
                <a:gd name="T33" fmla="*/ 90487 h 40"/>
                <a:gd name="T34" fmla="*/ 64096 w 24"/>
                <a:gd name="T35" fmla="*/ 82947 h 40"/>
                <a:gd name="T36" fmla="*/ 64096 w 24"/>
                <a:gd name="T37" fmla="*/ 75406 h 40"/>
                <a:gd name="T38" fmla="*/ 56555 w 24"/>
                <a:gd name="T39" fmla="*/ 71636 h 40"/>
                <a:gd name="T40" fmla="*/ 49014 w 24"/>
                <a:gd name="T41" fmla="*/ 67865 h 40"/>
                <a:gd name="T42" fmla="*/ 33933 w 24"/>
                <a:gd name="T43" fmla="*/ 71636 h 40"/>
                <a:gd name="T44" fmla="*/ 22622 w 24"/>
                <a:gd name="T45" fmla="*/ 82947 h 40"/>
                <a:gd name="T46" fmla="*/ 22622 w 24"/>
                <a:gd name="T47" fmla="*/ 150812 h 40"/>
                <a:gd name="T48" fmla="*/ 0 w 24"/>
                <a:gd name="T49" fmla="*/ 150812 h 40"/>
                <a:gd name="T50" fmla="*/ 0 w 24"/>
                <a:gd name="T51" fmla="*/ 0 h 40"/>
                <a:gd name="T52" fmla="*/ 22622 w 24"/>
                <a:gd name="T53" fmla="*/ 0 h 40"/>
                <a:gd name="T54" fmla="*/ 22622 w 24"/>
                <a:gd name="T55" fmla="*/ 41473 h 4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24" h="40">
                  <a:moveTo>
                    <a:pt x="6" y="11"/>
                  </a:moveTo>
                  <a:cubicBezTo>
                    <a:pt x="6" y="12"/>
                    <a:pt x="6" y="13"/>
                    <a:pt x="6" y="14"/>
                  </a:cubicBezTo>
                  <a:cubicBezTo>
                    <a:pt x="6" y="15"/>
                    <a:pt x="6" y="16"/>
                    <a:pt x="6" y="17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7" y="16"/>
                    <a:pt x="7" y="16"/>
                    <a:pt x="8" y="15"/>
                  </a:cubicBezTo>
                  <a:cubicBezTo>
                    <a:pt x="8" y="15"/>
                    <a:pt x="9" y="14"/>
                    <a:pt x="10" y="14"/>
                  </a:cubicBezTo>
                  <a:cubicBezTo>
                    <a:pt x="10" y="14"/>
                    <a:pt x="11" y="13"/>
                    <a:pt x="12" y="13"/>
                  </a:cubicBezTo>
                  <a:cubicBezTo>
                    <a:pt x="13" y="13"/>
                    <a:pt x="14" y="13"/>
                    <a:pt x="15" y="13"/>
                  </a:cubicBezTo>
                  <a:cubicBezTo>
                    <a:pt x="15" y="13"/>
                    <a:pt x="16" y="13"/>
                    <a:pt x="17" y="13"/>
                  </a:cubicBezTo>
                  <a:cubicBezTo>
                    <a:pt x="18" y="13"/>
                    <a:pt x="19" y="13"/>
                    <a:pt x="19" y="14"/>
                  </a:cubicBezTo>
                  <a:cubicBezTo>
                    <a:pt x="20" y="14"/>
                    <a:pt x="21" y="15"/>
                    <a:pt x="21" y="15"/>
                  </a:cubicBezTo>
                  <a:cubicBezTo>
                    <a:pt x="22" y="16"/>
                    <a:pt x="22" y="16"/>
                    <a:pt x="23" y="17"/>
                  </a:cubicBezTo>
                  <a:cubicBezTo>
                    <a:pt x="23" y="18"/>
                    <a:pt x="23" y="19"/>
                    <a:pt x="24" y="20"/>
                  </a:cubicBezTo>
                  <a:cubicBezTo>
                    <a:pt x="24" y="21"/>
                    <a:pt x="24" y="22"/>
                    <a:pt x="24" y="23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17" y="40"/>
                    <a:pt x="17" y="40"/>
                    <a:pt x="17" y="40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3"/>
                    <a:pt x="17" y="22"/>
                    <a:pt x="17" y="22"/>
                  </a:cubicBezTo>
                  <a:cubicBezTo>
                    <a:pt x="17" y="21"/>
                    <a:pt x="17" y="21"/>
                    <a:pt x="17" y="20"/>
                  </a:cubicBezTo>
                  <a:cubicBezTo>
                    <a:pt x="17" y="20"/>
                    <a:pt x="16" y="19"/>
                    <a:pt x="15" y="19"/>
                  </a:cubicBezTo>
                  <a:cubicBezTo>
                    <a:pt x="14" y="18"/>
                    <a:pt x="14" y="18"/>
                    <a:pt x="13" y="18"/>
                  </a:cubicBezTo>
                  <a:cubicBezTo>
                    <a:pt x="12" y="18"/>
                    <a:pt x="10" y="18"/>
                    <a:pt x="9" y="19"/>
                  </a:cubicBezTo>
                  <a:cubicBezTo>
                    <a:pt x="8" y="20"/>
                    <a:pt x="7" y="20"/>
                    <a:pt x="6" y="22"/>
                  </a:cubicBezTo>
                  <a:cubicBezTo>
                    <a:pt x="6" y="40"/>
                    <a:pt x="6" y="40"/>
                    <a:pt x="6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" y="0"/>
                    <a:pt x="6" y="0"/>
                    <a:pt x="6" y="0"/>
                  </a:cubicBezTo>
                  <a:lnTo>
                    <a:pt x="6" y="1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044" name="Freeform 18"/>
            <p:cNvSpPr>
              <a:spLocks noEditPoints="1"/>
            </p:cNvSpPr>
            <p:nvPr userDrawn="1"/>
          </p:nvSpPr>
          <p:spPr bwMode="gray">
            <a:xfrm>
              <a:off x="10053638" y="3670300"/>
              <a:ext cx="90488" cy="101600"/>
            </a:xfrm>
            <a:custGeom>
              <a:avLst/>
              <a:gdLst>
                <a:gd name="T0" fmla="*/ 56555 w 24"/>
                <a:gd name="T1" fmla="*/ 82785 h 27"/>
                <a:gd name="T2" fmla="*/ 71636 w 24"/>
                <a:gd name="T3" fmla="*/ 82785 h 27"/>
                <a:gd name="T4" fmla="*/ 86718 w 24"/>
                <a:gd name="T5" fmla="*/ 79022 h 27"/>
                <a:gd name="T6" fmla="*/ 86718 w 24"/>
                <a:gd name="T7" fmla="*/ 97837 h 27"/>
                <a:gd name="T8" fmla="*/ 71636 w 24"/>
                <a:gd name="T9" fmla="*/ 101600 h 27"/>
                <a:gd name="T10" fmla="*/ 52785 w 24"/>
                <a:gd name="T11" fmla="*/ 101600 h 27"/>
                <a:gd name="T12" fmla="*/ 33933 w 24"/>
                <a:gd name="T13" fmla="*/ 101600 h 27"/>
                <a:gd name="T14" fmla="*/ 15081 w 24"/>
                <a:gd name="T15" fmla="*/ 90311 h 27"/>
                <a:gd name="T16" fmla="*/ 3770 w 24"/>
                <a:gd name="T17" fmla="*/ 75259 h 27"/>
                <a:gd name="T18" fmla="*/ 0 w 24"/>
                <a:gd name="T19" fmla="*/ 52681 h 27"/>
                <a:gd name="T20" fmla="*/ 3770 w 24"/>
                <a:gd name="T21" fmla="*/ 30104 h 27"/>
                <a:gd name="T22" fmla="*/ 15081 w 24"/>
                <a:gd name="T23" fmla="*/ 11289 h 27"/>
                <a:gd name="T24" fmla="*/ 30163 w 24"/>
                <a:gd name="T25" fmla="*/ 3763 h 27"/>
                <a:gd name="T26" fmla="*/ 49014 w 24"/>
                <a:gd name="T27" fmla="*/ 0 h 27"/>
                <a:gd name="T28" fmla="*/ 64096 w 24"/>
                <a:gd name="T29" fmla="*/ 3763 h 27"/>
                <a:gd name="T30" fmla="*/ 79177 w 24"/>
                <a:gd name="T31" fmla="*/ 11289 h 27"/>
                <a:gd name="T32" fmla="*/ 86718 w 24"/>
                <a:gd name="T33" fmla="*/ 26341 h 27"/>
                <a:gd name="T34" fmla="*/ 90488 w 24"/>
                <a:gd name="T35" fmla="*/ 48919 h 27"/>
                <a:gd name="T36" fmla="*/ 90488 w 24"/>
                <a:gd name="T37" fmla="*/ 56444 h 27"/>
                <a:gd name="T38" fmla="*/ 26392 w 24"/>
                <a:gd name="T39" fmla="*/ 56444 h 27"/>
                <a:gd name="T40" fmla="*/ 30163 w 24"/>
                <a:gd name="T41" fmla="*/ 67733 h 27"/>
                <a:gd name="T42" fmla="*/ 37703 w 24"/>
                <a:gd name="T43" fmla="*/ 79022 h 27"/>
                <a:gd name="T44" fmla="*/ 45244 w 24"/>
                <a:gd name="T45" fmla="*/ 82785 h 27"/>
                <a:gd name="T46" fmla="*/ 56555 w 24"/>
                <a:gd name="T47" fmla="*/ 82785 h 27"/>
                <a:gd name="T48" fmla="*/ 49014 w 24"/>
                <a:gd name="T49" fmla="*/ 18815 h 27"/>
                <a:gd name="T50" fmla="*/ 37703 w 24"/>
                <a:gd name="T51" fmla="*/ 18815 h 27"/>
                <a:gd name="T52" fmla="*/ 33933 w 24"/>
                <a:gd name="T53" fmla="*/ 22578 h 27"/>
                <a:gd name="T54" fmla="*/ 30163 w 24"/>
                <a:gd name="T55" fmla="*/ 30104 h 27"/>
                <a:gd name="T56" fmla="*/ 26392 w 24"/>
                <a:gd name="T57" fmla="*/ 37630 h 27"/>
                <a:gd name="T58" fmla="*/ 67866 w 24"/>
                <a:gd name="T59" fmla="*/ 37630 h 27"/>
                <a:gd name="T60" fmla="*/ 64096 w 24"/>
                <a:gd name="T61" fmla="*/ 30104 h 27"/>
                <a:gd name="T62" fmla="*/ 60325 w 24"/>
                <a:gd name="T63" fmla="*/ 22578 h 27"/>
                <a:gd name="T64" fmla="*/ 49014 w 24"/>
                <a:gd name="T65" fmla="*/ 18815 h 2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4" h="27">
                  <a:moveTo>
                    <a:pt x="15" y="22"/>
                  </a:moveTo>
                  <a:cubicBezTo>
                    <a:pt x="17" y="22"/>
                    <a:pt x="18" y="22"/>
                    <a:pt x="19" y="22"/>
                  </a:cubicBezTo>
                  <a:cubicBezTo>
                    <a:pt x="21" y="21"/>
                    <a:pt x="22" y="21"/>
                    <a:pt x="23" y="21"/>
                  </a:cubicBezTo>
                  <a:cubicBezTo>
                    <a:pt x="23" y="26"/>
                    <a:pt x="23" y="26"/>
                    <a:pt x="23" y="26"/>
                  </a:cubicBezTo>
                  <a:cubicBezTo>
                    <a:pt x="22" y="26"/>
                    <a:pt x="21" y="27"/>
                    <a:pt x="19" y="27"/>
                  </a:cubicBezTo>
                  <a:cubicBezTo>
                    <a:pt x="17" y="27"/>
                    <a:pt x="16" y="27"/>
                    <a:pt x="14" y="27"/>
                  </a:cubicBezTo>
                  <a:cubicBezTo>
                    <a:pt x="12" y="27"/>
                    <a:pt x="10" y="27"/>
                    <a:pt x="9" y="27"/>
                  </a:cubicBezTo>
                  <a:cubicBezTo>
                    <a:pt x="7" y="26"/>
                    <a:pt x="5" y="25"/>
                    <a:pt x="4" y="24"/>
                  </a:cubicBezTo>
                  <a:cubicBezTo>
                    <a:pt x="3" y="23"/>
                    <a:pt x="2" y="22"/>
                    <a:pt x="1" y="20"/>
                  </a:cubicBezTo>
                  <a:cubicBezTo>
                    <a:pt x="0" y="18"/>
                    <a:pt x="0" y="16"/>
                    <a:pt x="0" y="14"/>
                  </a:cubicBezTo>
                  <a:cubicBezTo>
                    <a:pt x="0" y="12"/>
                    <a:pt x="0" y="10"/>
                    <a:pt x="1" y="8"/>
                  </a:cubicBezTo>
                  <a:cubicBezTo>
                    <a:pt x="2" y="6"/>
                    <a:pt x="3" y="5"/>
                    <a:pt x="4" y="3"/>
                  </a:cubicBezTo>
                  <a:cubicBezTo>
                    <a:pt x="5" y="2"/>
                    <a:pt x="6" y="1"/>
                    <a:pt x="8" y="1"/>
                  </a:cubicBezTo>
                  <a:cubicBezTo>
                    <a:pt x="9" y="0"/>
                    <a:pt x="11" y="0"/>
                    <a:pt x="13" y="0"/>
                  </a:cubicBezTo>
                  <a:cubicBezTo>
                    <a:pt x="14" y="0"/>
                    <a:pt x="16" y="0"/>
                    <a:pt x="17" y="1"/>
                  </a:cubicBezTo>
                  <a:cubicBezTo>
                    <a:pt x="19" y="1"/>
                    <a:pt x="20" y="2"/>
                    <a:pt x="21" y="3"/>
                  </a:cubicBezTo>
                  <a:cubicBezTo>
                    <a:pt x="22" y="4"/>
                    <a:pt x="23" y="5"/>
                    <a:pt x="23" y="7"/>
                  </a:cubicBezTo>
                  <a:cubicBezTo>
                    <a:pt x="24" y="9"/>
                    <a:pt x="24" y="11"/>
                    <a:pt x="24" y="13"/>
                  </a:cubicBezTo>
                  <a:cubicBezTo>
                    <a:pt x="24" y="14"/>
                    <a:pt x="24" y="15"/>
                    <a:pt x="24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6"/>
                    <a:pt x="7" y="17"/>
                    <a:pt x="8" y="18"/>
                  </a:cubicBezTo>
                  <a:cubicBezTo>
                    <a:pt x="8" y="19"/>
                    <a:pt x="9" y="20"/>
                    <a:pt x="10" y="21"/>
                  </a:cubicBezTo>
                  <a:cubicBezTo>
                    <a:pt x="10" y="21"/>
                    <a:pt x="11" y="21"/>
                    <a:pt x="12" y="22"/>
                  </a:cubicBezTo>
                  <a:cubicBezTo>
                    <a:pt x="13" y="22"/>
                    <a:pt x="14" y="22"/>
                    <a:pt x="15" y="22"/>
                  </a:cubicBezTo>
                  <a:close/>
                  <a:moveTo>
                    <a:pt x="13" y="5"/>
                  </a:moveTo>
                  <a:cubicBezTo>
                    <a:pt x="12" y="5"/>
                    <a:pt x="11" y="5"/>
                    <a:pt x="10" y="5"/>
                  </a:cubicBezTo>
                  <a:cubicBezTo>
                    <a:pt x="10" y="5"/>
                    <a:pt x="9" y="6"/>
                    <a:pt x="9" y="6"/>
                  </a:cubicBezTo>
                  <a:cubicBezTo>
                    <a:pt x="8" y="7"/>
                    <a:pt x="8" y="7"/>
                    <a:pt x="8" y="8"/>
                  </a:cubicBezTo>
                  <a:cubicBezTo>
                    <a:pt x="7" y="9"/>
                    <a:pt x="7" y="10"/>
                    <a:pt x="7" y="1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8" y="10"/>
                    <a:pt x="17" y="9"/>
                    <a:pt x="17" y="8"/>
                  </a:cubicBezTo>
                  <a:cubicBezTo>
                    <a:pt x="17" y="7"/>
                    <a:pt x="17" y="7"/>
                    <a:pt x="16" y="6"/>
                  </a:cubicBezTo>
                  <a:cubicBezTo>
                    <a:pt x="15" y="5"/>
                    <a:pt x="14" y="5"/>
                    <a:pt x="13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045" name="Freeform 19"/>
            <p:cNvSpPr>
              <a:spLocks noEditPoints="1"/>
            </p:cNvSpPr>
            <p:nvPr userDrawn="1"/>
          </p:nvSpPr>
          <p:spPr bwMode="gray">
            <a:xfrm>
              <a:off x="10202863" y="3670300"/>
              <a:ext cx="90488" cy="101600"/>
            </a:xfrm>
            <a:custGeom>
              <a:avLst/>
              <a:gdLst>
                <a:gd name="T0" fmla="*/ 56555 w 24"/>
                <a:gd name="T1" fmla="*/ 82785 h 27"/>
                <a:gd name="T2" fmla="*/ 71636 w 24"/>
                <a:gd name="T3" fmla="*/ 82785 h 27"/>
                <a:gd name="T4" fmla="*/ 86718 w 24"/>
                <a:gd name="T5" fmla="*/ 79022 h 27"/>
                <a:gd name="T6" fmla="*/ 86718 w 24"/>
                <a:gd name="T7" fmla="*/ 97837 h 27"/>
                <a:gd name="T8" fmla="*/ 71636 w 24"/>
                <a:gd name="T9" fmla="*/ 101600 h 27"/>
                <a:gd name="T10" fmla="*/ 52785 w 24"/>
                <a:gd name="T11" fmla="*/ 101600 h 27"/>
                <a:gd name="T12" fmla="*/ 33933 w 24"/>
                <a:gd name="T13" fmla="*/ 101600 h 27"/>
                <a:gd name="T14" fmla="*/ 15081 w 24"/>
                <a:gd name="T15" fmla="*/ 90311 h 27"/>
                <a:gd name="T16" fmla="*/ 3770 w 24"/>
                <a:gd name="T17" fmla="*/ 75259 h 27"/>
                <a:gd name="T18" fmla="*/ 0 w 24"/>
                <a:gd name="T19" fmla="*/ 52681 h 27"/>
                <a:gd name="T20" fmla="*/ 3770 w 24"/>
                <a:gd name="T21" fmla="*/ 30104 h 27"/>
                <a:gd name="T22" fmla="*/ 15081 w 24"/>
                <a:gd name="T23" fmla="*/ 11289 h 27"/>
                <a:gd name="T24" fmla="*/ 30163 w 24"/>
                <a:gd name="T25" fmla="*/ 3763 h 27"/>
                <a:gd name="T26" fmla="*/ 49014 w 24"/>
                <a:gd name="T27" fmla="*/ 0 h 27"/>
                <a:gd name="T28" fmla="*/ 64096 w 24"/>
                <a:gd name="T29" fmla="*/ 3763 h 27"/>
                <a:gd name="T30" fmla="*/ 79177 w 24"/>
                <a:gd name="T31" fmla="*/ 11289 h 27"/>
                <a:gd name="T32" fmla="*/ 86718 w 24"/>
                <a:gd name="T33" fmla="*/ 26341 h 27"/>
                <a:gd name="T34" fmla="*/ 90488 w 24"/>
                <a:gd name="T35" fmla="*/ 48919 h 27"/>
                <a:gd name="T36" fmla="*/ 90488 w 24"/>
                <a:gd name="T37" fmla="*/ 56444 h 27"/>
                <a:gd name="T38" fmla="*/ 26392 w 24"/>
                <a:gd name="T39" fmla="*/ 56444 h 27"/>
                <a:gd name="T40" fmla="*/ 30163 w 24"/>
                <a:gd name="T41" fmla="*/ 67733 h 27"/>
                <a:gd name="T42" fmla="*/ 37703 w 24"/>
                <a:gd name="T43" fmla="*/ 79022 h 27"/>
                <a:gd name="T44" fmla="*/ 45244 w 24"/>
                <a:gd name="T45" fmla="*/ 82785 h 27"/>
                <a:gd name="T46" fmla="*/ 56555 w 24"/>
                <a:gd name="T47" fmla="*/ 82785 h 27"/>
                <a:gd name="T48" fmla="*/ 49014 w 24"/>
                <a:gd name="T49" fmla="*/ 18815 h 27"/>
                <a:gd name="T50" fmla="*/ 37703 w 24"/>
                <a:gd name="T51" fmla="*/ 18815 h 27"/>
                <a:gd name="T52" fmla="*/ 33933 w 24"/>
                <a:gd name="T53" fmla="*/ 22578 h 27"/>
                <a:gd name="T54" fmla="*/ 30163 w 24"/>
                <a:gd name="T55" fmla="*/ 30104 h 27"/>
                <a:gd name="T56" fmla="*/ 26392 w 24"/>
                <a:gd name="T57" fmla="*/ 37630 h 27"/>
                <a:gd name="T58" fmla="*/ 67866 w 24"/>
                <a:gd name="T59" fmla="*/ 37630 h 27"/>
                <a:gd name="T60" fmla="*/ 64096 w 24"/>
                <a:gd name="T61" fmla="*/ 30104 h 27"/>
                <a:gd name="T62" fmla="*/ 60325 w 24"/>
                <a:gd name="T63" fmla="*/ 22578 h 27"/>
                <a:gd name="T64" fmla="*/ 49014 w 24"/>
                <a:gd name="T65" fmla="*/ 18815 h 2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4" h="27">
                  <a:moveTo>
                    <a:pt x="15" y="22"/>
                  </a:moveTo>
                  <a:cubicBezTo>
                    <a:pt x="17" y="22"/>
                    <a:pt x="18" y="22"/>
                    <a:pt x="19" y="22"/>
                  </a:cubicBezTo>
                  <a:cubicBezTo>
                    <a:pt x="21" y="21"/>
                    <a:pt x="22" y="21"/>
                    <a:pt x="23" y="21"/>
                  </a:cubicBezTo>
                  <a:cubicBezTo>
                    <a:pt x="23" y="26"/>
                    <a:pt x="23" y="26"/>
                    <a:pt x="23" y="26"/>
                  </a:cubicBezTo>
                  <a:cubicBezTo>
                    <a:pt x="22" y="26"/>
                    <a:pt x="21" y="27"/>
                    <a:pt x="19" y="27"/>
                  </a:cubicBezTo>
                  <a:cubicBezTo>
                    <a:pt x="17" y="27"/>
                    <a:pt x="16" y="27"/>
                    <a:pt x="14" y="27"/>
                  </a:cubicBezTo>
                  <a:cubicBezTo>
                    <a:pt x="12" y="27"/>
                    <a:pt x="10" y="27"/>
                    <a:pt x="9" y="27"/>
                  </a:cubicBezTo>
                  <a:cubicBezTo>
                    <a:pt x="7" y="26"/>
                    <a:pt x="5" y="25"/>
                    <a:pt x="4" y="24"/>
                  </a:cubicBezTo>
                  <a:cubicBezTo>
                    <a:pt x="3" y="23"/>
                    <a:pt x="2" y="22"/>
                    <a:pt x="1" y="20"/>
                  </a:cubicBezTo>
                  <a:cubicBezTo>
                    <a:pt x="0" y="18"/>
                    <a:pt x="0" y="16"/>
                    <a:pt x="0" y="14"/>
                  </a:cubicBezTo>
                  <a:cubicBezTo>
                    <a:pt x="0" y="12"/>
                    <a:pt x="0" y="10"/>
                    <a:pt x="1" y="8"/>
                  </a:cubicBezTo>
                  <a:cubicBezTo>
                    <a:pt x="2" y="6"/>
                    <a:pt x="3" y="5"/>
                    <a:pt x="4" y="3"/>
                  </a:cubicBezTo>
                  <a:cubicBezTo>
                    <a:pt x="5" y="2"/>
                    <a:pt x="6" y="1"/>
                    <a:pt x="8" y="1"/>
                  </a:cubicBezTo>
                  <a:cubicBezTo>
                    <a:pt x="9" y="0"/>
                    <a:pt x="11" y="0"/>
                    <a:pt x="13" y="0"/>
                  </a:cubicBezTo>
                  <a:cubicBezTo>
                    <a:pt x="14" y="0"/>
                    <a:pt x="16" y="0"/>
                    <a:pt x="17" y="1"/>
                  </a:cubicBezTo>
                  <a:cubicBezTo>
                    <a:pt x="19" y="1"/>
                    <a:pt x="20" y="2"/>
                    <a:pt x="21" y="3"/>
                  </a:cubicBezTo>
                  <a:cubicBezTo>
                    <a:pt x="22" y="4"/>
                    <a:pt x="23" y="5"/>
                    <a:pt x="23" y="7"/>
                  </a:cubicBezTo>
                  <a:cubicBezTo>
                    <a:pt x="24" y="9"/>
                    <a:pt x="24" y="11"/>
                    <a:pt x="24" y="13"/>
                  </a:cubicBezTo>
                  <a:cubicBezTo>
                    <a:pt x="24" y="14"/>
                    <a:pt x="24" y="15"/>
                    <a:pt x="24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6"/>
                    <a:pt x="7" y="17"/>
                    <a:pt x="8" y="18"/>
                  </a:cubicBezTo>
                  <a:cubicBezTo>
                    <a:pt x="8" y="19"/>
                    <a:pt x="9" y="20"/>
                    <a:pt x="10" y="21"/>
                  </a:cubicBezTo>
                  <a:cubicBezTo>
                    <a:pt x="10" y="21"/>
                    <a:pt x="11" y="21"/>
                    <a:pt x="12" y="22"/>
                  </a:cubicBezTo>
                  <a:cubicBezTo>
                    <a:pt x="13" y="22"/>
                    <a:pt x="14" y="22"/>
                    <a:pt x="15" y="22"/>
                  </a:cubicBezTo>
                  <a:close/>
                  <a:moveTo>
                    <a:pt x="13" y="5"/>
                  </a:moveTo>
                  <a:cubicBezTo>
                    <a:pt x="12" y="5"/>
                    <a:pt x="11" y="5"/>
                    <a:pt x="10" y="5"/>
                  </a:cubicBezTo>
                  <a:cubicBezTo>
                    <a:pt x="10" y="5"/>
                    <a:pt x="9" y="6"/>
                    <a:pt x="9" y="6"/>
                  </a:cubicBezTo>
                  <a:cubicBezTo>
                    <a:pt x="8" y="7"/>
                    <a:pt x="8" y="7"/>
                    <a:pt x="8" y="8"/>
                  </a:cubicBezTo>
                  <a:cubicBezTo>
                    <a:pt x="7" y="9"/>
                    <a:pt x="7" y="10"/>
                    <a:pt x="7" y="1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8" y="10"/>
                    <a:pt x="17" y="9"/>
                    <a:pt x="17" y="8"/>
                  </a:cubicBezTo>
                  <a:cubicBezTo>
                    <a:pt x="17" y="7"/>
                    <a:pt x="17" y="7"/>
                    <a:pt x="16" y="6"/>
                  </a:cubicBezTo>
                  <a:cubicBezTo>
                    <a:pt x="15" y="5"/>
                    <a:pt x="14" y="5"/>
                    <a:pt x="13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046" name="Freeform 20"/>
            <p:cNvSpPr>
              <a:spLocks/>
            </p:cNvSpPr>
            <p:nvPr userDrawn="1"/>
          </p:nvSpPr>
          <p:spPr bwMode="gray">
            <a:xfrm>
              <a:off x="10315575" y="3670300"/>
              <a:ext cx="90488" cy="101600"/>
            </a:xfrm>
            <a:custGeom>
              <a:avLst/>
              <a:gdLst>
                <a:gd name="T0" fmla="*/ 22622 w 24"/>
                <a:gd name="T1" fmla="*/ 15052 h 27"/>
                <a:gd name="T2" fmla="*/ 22622 w 24"/>
                <a:gd name="T3" fmla="*/ 15052 h 27"/>
                <a:gd name="T4" fmla="*/ 30163 w 24"/>
                <a:gd name="T5" fmla="*/ 7526 h 27"/>
                <a:gd name="T6" fmla="*/ 33933 w 24"/>
                <a:gd name="T7" fmla="*/ 3763 h 27"/>
                <a:gd name="T8" fmla="*/ 45244 w 24"/>
                <a:gd name="T9" fmla="*/ 0 h 27"/>
                <a:gd name="T10" fmla="*/ 56555 w 24"/>
                <a:gd name="T11" fmla="*/ 0 h 27"/>
                <a:gd name="T12" fmla="*/ 67866 w 24"/>
                <a:gd name="T13" fmla="*/ 0 h 27"/>
                <a:gd name="T14" fmla="*/ 75407 w 24"/>
                <a:gd name="T15" fmla="*/ 3763 h 27"/>
                <a:gd name="T16" fmla="*/ 82947 w 24"/>
                <a:gd name="T17" fmla="*/ 11289 h 27"/>
                <a:gd name="T18" fmla="*/ 86718 w 24"/>
                <a:gd name="T19" fmla="*/ 22578 h 27"/>
                <a:gd name="T20" fmla="*/ 90488 w 24"/>
                <a:gd name="T21" fmla="*/ 26341 h 27"/>
                <a:gd name="T22" fmla="*/ 90488 w 24"/>
                <a:gd name="T23" fmla="*/ 37630 h 27"/>
                <a:gd name="T24" fmla="*/ 90488 w 24"/>
                <a:gd name="T25" fmla="*/ 101600 h 27"/>
                <a:gd name="T26" fmla="*/ 67866 w 24"/>
                <a:gd name="T27" fmla="*/ 101600 h 27"/>
                <a:gd name="T28" fmla="*/ 67866 w 24"/>
                <a:gd name="T29" fmla="*/ 41393 h 27"/>
                <a:gd name="T30" fmla="*/ 67866 w 24"/>
                <a:gd name="T31" fmla="*/ 33867 h 27"/>
                <a:gd name="T32" fmla="*/ 64096 w 24"/>
                <a:gd name="T33" fmla="*/ 30104 h 27"/>
                <a:gd name="T34" fmla="*/ 60325 w 24"/>
                <a:gd name="T35" fmla="*/ 22578 h 27"/>
                <a:gd name="T36" fmla="*/ 49014 w 24"/>
                <a:gd name="T37" fmla="*/ 18815 h 27"/>
                <a:gd name="T38" fmla="*/ 37703 w 24"/>
                <a:gd name="T39" fmla="*/ 22578 h 27"/>
                <a:gd name="T40" fmla="*/ 26392 w 24"/>
                <a:gd name="T41" fmla="*/ 33867 h 27"/>
                <a:gd name="T42" fmla="*/ 26392 w 24"/>
                <a:gd name="T43" fmla="*/ 101600 h 27"/>
                <a:gd name="T44" fmla="*/ 0 w 24"/>
                <a:gd name="T45" fmla="*/ 101600 h 27"/>
                <a:gd name="T46" fmla="*/ 0 w 24"/>
                <a:gd name="T47" fmla="*/ 0 h 27"/>
                <a:gd name="T48" fmla="*/ 18852 w 24"/>
                <a:gd name="T49" fmla="*/ 0 h 27"/>
                <a:gd name="T50" fmla="*/ 22622 w 24"/>
                <a:gd name="T51" fmla="*/ 15052 h 27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24" h="27">
                  <a:moveTo>
                    <a:pt x="6" y="4"/>
                  </a:move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7" y="3"/>
                    <a:pt x="8" y="2"/>
                  </a:cubicBezTo>
                  <a:cubicBezTo>
                    <a:pt x="8" y="2"/>
                    <a:pt x="9" y="1"/>
                    <a:pt x="9" y="1"/>
                  </a:cubicBezTo>
                  <a:cubicBezTo>
                    <a:pt x="10" y="1"/>
                    <a:pt x="11" y="0"/>
                    <a:pt x="12" y="0"/>
                  </a:cubicBezTo>
                  <a:cubicBezTo>
                    <a:pt x="13" y="0"/>
                    <a:pt x="14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8" y="0"/>
                    <a:pt x="19" y="1"/>
                    <a:pt x="20" y="1"/>
                  </a:cubicBezTo>
                  <a:cubicBezTo>
                    <a:pt x="21" y="2"/>
                    <a:pt x="21" y="2"/>
                    <a:pt x="22" y="3"/>
                  </a:cubicBezTo>
                  <a:cubicBezTo>
                    <a:pt x="23" y="4"/>
                    <a:pt x="23" y="5"/>
                    <a:pt x="23" y="6"/>
                  </a:cubicBezTo>
                  <a:cubicBezTo>
                    <a:pt x="24" y="6"/>
                    <a:pt x="24" y="7"/>
                    <a:pt x="24" y="7"/>
                  </a:cubicBezTo>
                  <a:cubicBezTo>
                    <a:pt x="24" y="8"/>
                    <a:pt x="24" y="9"/>
                    <a:pt x="24" y="10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18" y="10"/>
                    <a:pt x="18" y="9"/>
                    <a:pt x="18" y="9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7" y="7"/>
                    <a:pt x="16" y="6"/>
                    <a:pt x="16" y="6"/>
                  </a:cubicBezTo>
                  <a:cubicBezTo>
                    <a:pt x="15" y="5"/>
                    <a:pt x="14" y="5"/>
                    <a:pt x="13" y="5"/>
                  </a:cubicBezTo>
                  <a:cubicBezTo>
                    <a:pt x="12" y="5"/>
                    <a:pt x="11" y="6"/>
                    <a:pt x="10" y="6"/>
                  </a:cubicBezTo>
                  <a:cubicBezTo>
                    <a:pt x="9" y="7"/>
                    <a:pt x="7" y="8"/>
                    <a:pt x="7" y="9"/>
                  </a:cubicBezTo>
                  <a:cubicBezTo>
                    <a:pt x="7" y="27"/>
                    <a:pt x="7" y="27"/>
                    <a:pt x="7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" y="0"/>
                    <a:pt x="5" y="0"/>
                    <a:pt x="5" y="0"/>
                  </a:cubicBezTo>
                  <a:lnTo>
                    <a:pt x="6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047" name="Freeform 21"/>
            <p:cNvSpPr>
              <a:spLocks noEditPoints="1"/>
            </p:cNvSpPr>
            <p:nvPr userDrawn="1"/>
          </p:nvSpPr>
          <p:spPr bwMode="gray">
            <a:xfrm>
              <a:off x="10428288" y="3670300"/>
              <a:ext cx="90488" cy="150812"/>
            </a:xfrm>
            <a:custGeom>
              <a:avLst/>
              <a:gdLst>
                <a:gd name="T0" fmla="*/ 67866 w 24"/>
                <a:gd name="T1" fmla="*/ 101798 h 40"/>
                <a:gd name="T2" fmla="*/ 67866 w 24"/>
                <a:gd name="T3" fmla="*/ 98028 h 40"/>
                <a:gd name="T4" fmla="*/ 67866 w 24"/>
                <a:gd name="T5" fmla="*/ 94258 h 40"/>
                <a:gd name="T6" fmla="*/ 67866 w 24"/>
                <a:gd name="T7" fmla="*/ 94258 h 40"/>
                <a:gd name="T8" fmla="*/ 64096 w 24"/>
                <a:gd name="T9" fmla="*/ 98028 h 40"/>
                <a:gd name="T10" fmla="*/ 56555 w 24"/>
                <a:gd name="T11" fmla="*/ 98028 h 40"/>
                <a:gd name="T12" fmla="*/ 49014 w 24"/>
                <a:gd name="T13" fmla="*/ 101798 h 40"/>
                <a:gd name="T14" fmla="*/ 26392 w 24"/>
                <a:gd name="T15" fmla="*/ 101798 h 40"/>
                <a:gd name="T16" fmla="*/ 11311 w 24"/>
                <a:gd name="T17" fmla="*/ 90487 h 40"/>
                <a:gd name="T18" fmla="*/ 3770 w 24"/>
                <a:gd name="T19" fmla="*/ 75406 h 40"/>
                <a:gd name="T20" fmla="*/ 0 w 24"/>
                <a:gd name="T21" fmla="*/ 52784 h 40"/>
                <a:gd name="T22" fmla="*/ 3770 w 24"/>
                <a:gd name="T23" fmla="*/ 30162 h 40"/>
                <a:gd name="T24" fmla="*/ 11311 w 24"/>
                <a:gd name="T25" fmla="*/ 11311 h 40"/>
                <a:gd name="T26" fmla="*/ 26392 w 24"/>
                <a:gd name="T27" fmla="*/ 3770 h 40"/>
                <a:gd name="T28" fmla="*/ 41474 w 24"/>
                <a:gd name="T29" fmla="*/ 0 h 40"/>
                <a:gd name="T30" fmla="*/ 56555 w 24"/>
                <a:gd name="T31" fmla="*/ 3770 h 40"/>
                <a:gd name="T32" fmla="*/ 67866 w 24"/>
                <a:gd name="T33" fmla="*/ 11311 h 40"/>
                <a:gd name="T34" fmla="*/ 67866 w 24"/>
                <a:gd name="T35" fmla="*/ 11311 h 40"/>
                <a:gd name="T36" fmla="*/ 71636 w 24"/>
                <a:gd name="T37" fmla="*/ 0 h 40"/>
                <a:gd name="T38" fmla="*/ 90488 w 24"/>
                <a:gd name="T39" fmla="*/ 0 h 40"/>
                <a:gd name="T40" fmla="*/ 90488 w 24"/>
                <a:gd name="T41" fmla="*/ 101798 h 40"/>
                <a:gd name="T42" fmla="*/ 90488 w 24"/>
                <a:gd name="T43" fmla="*/ 116879 h 40"/>
                <a:gd name="T44" fmla="*/ 86718 w 24"/>
                <a:gd name="T45" fmla="*/ 128190 h 40"/>
                <a:gd name="T46" fmla="*/ 79177 w 24"/>
                <a:gd name="T47" fmla="*/ 139501 h 40"/>
                <a:gd name="T48" fmla="*/ 67866 w 24"/>
                <a:gd name="T49" fmla="*/ 147042 h 40"/>
                <a:gd name="T50" fmla="*/ 52785 w 24"/>
                <a:gd name="T51" fmla="*/ 150812 h 40"/>
                <a:gd name="T52" fmla="*/ 33933 w 24"/>
                <a:gd name="T53" fmla="*/ 150812 h 40"/>
                <a:gd name="T54" fmla="*/ 26392 w 24"/>
                <a:gd name="T55" fmla="*/ 150812 h 40"/>
                <a:gd name="T56" fmla="*/ 15081 w 24"/>
                <a:gd name="T57" fmla="*/ 150812 h 40"/>
                <a:gd name="T58" fmla="*/ 7541 w 24"/>
                <a:gd name="T59" fmla="*/ 147042 h 40"/>
                <a:gd name="T60" fmla="*/ 3770 w 24"/>
                <a:gd name="T61" fmla="*/ 147042 h 40"/>
                <a:gd name="T62" fmla="*/ 3770 w 24"/>
                <a:gd name="T63" fmla="*/ 128190 h 40"/>
                <a:gd name="T64" fmla="*/ 18852 w 24"/>
                <a:gd name="T65" fmla="*/ 131961 h 40"/>
                <a:gd name="T66" fmla="*/ 33933 w 24"/>
                <a:gd name="T67" fmla="*/ 131961 h 40"/>
                <a:gd name="T68" fmla="*/ 56555 w 24"/>
                <a:gd name="T69" fmla="*/ 124420 h 40"/>
                <a:gd name="T70" fmla="*/ 67866 w 24"/>
                <a:gd name="T71" fmla="*/ 105568 h 40"/>
                <a:gd name="T72" fmla="*/ 67866 w 24"/>
                <a:gd name="T73" fmla="*/ 101798 h 40"/>
                <a:gd name="T74" fmla="*/ 45244 w 24"/>
                <a:gd name="T75" fmla="*/ 82947 h 40"/>
                <a:gd name="T76" fmla="*/ 52785 w 24"/>
                <a:gd name="T77" fmla="*/ 82947 h 40"/>
                <a:gd name="T78" fmla="*/ 60325 w 24"/>
                <a:gd name="T79" fmla="*/ 79176 h 40"/>
                <a:gd name="T80" fmla="*/ 64096 w 24"/>
                <a:gd name="T81" fmla="*/ 75406 h 40"/>
                <a:gd name="T82" fmla="*/ 67866 w 24"/>
                <a:gd name="T83" fmla="*/ 75406 h 40"/>
                <a:gd name="T84" fmla="*/ 67866 w 24"/>
                <a:gd name="T85" fmla="*/ 30162 h 40"/>
                <a:gd name="T86" fmla="*/ 60325 w 24"/>
                <a:gd name="T87" fmla="*/ 22622 h 40"/>
                <a:gd name="T88" fmla="*/ 45244 w 24"/>
                <a:gd name="T89" fmla="*/ 18852 h 40"/>
                <a:gd name="T90" fmla="*/ 41474 w 24"/>
                <a:gd name="T91" fmla="*/ 18852 h 40"/>
                <a:gd name="T92" fmla="*/ 37703 w 24"/>
                <a:gd name="T93" fmla="*/ 18852 h 40"/>
                <a:gd name="T94" fmla="*/ 30163 w 24"/>
                <a:gd name="T95" fmla="*/ 22622 h 40"/>
                <a:gd name="T96" fmla="*/ 26392 w 24"/>
                <a:gd name="T97" fmla="*/ 30162 h 40"/>
                <a:gd name="T98" fmla="*/ 26392 w 24"/>
                <a:gd name="T99" fmla="*/ 37703 h 40"/>
                <a:gd name="T100" fmla="*/ 22622 w 24"/>
                <a:gd name="T101" fmla="*/ 52784 h 40"/>
                <a:gd name="T102" fmla="*/ 26392 w 24"/>
                <a:gd name="T103" fmla="*/ 64095 h 40"/>
                <a:gd name="T104" fmla="*/ 30163 w 24"/>
                <a:gd name="T105" fmla="*/ 75406 h 40"/>
                <a:gd name="T106" fmla="*/ 37703 w 24"/>
                <a:gd name="T107" fmla="*/ 79176 h 40"/>
                <a:gd name="T108" fmla="*/ 45244 w 24"/>
                <a:gd name="T109" fmla="*/ 82947 h 4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24" h="40">
                  <a:moveTo>
                    <a:pt x="18" y="27"/>
                  </a:moveTo>
                  <a:cubicBezTo>
                    <a:pt x="18" y="26"/>
                    <a:pt x="18" y="26"/>
                    <a:pt x="18" y="26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7" y="25"/>
                    <a:pt x="17" y="26"/>
                  </a:cubicBezTo>
                  <a:cubicBezTo>
                    <a:pt x="16" y="26"/>
                    <a:pt x="16" y="26"/>
                    <a:pt x="15" y="26"/>
                  </a:cubicBezTo>
                  <a:cubicBezTo>
                    <a:pt x="14" y="27"/>
                    <a:pt x="14" y="27"/>
                    <a:pt x="13" y="27"/>
                  </a:cubicBezTo>
                  <a:cubicBezTo>
                    <a:pt x="11" y="27"/>
                    <a:pt x="9" y="27"/>
                    <a:pt x="7" y="27"/>
                  </a:cubicBezTo>
                  <a:cubicBezTo>
                    <a:pt x="5" y="26"/>
                    <a:pt x="4" y="25"/>
                    <a:pt x="3" y="24"/>
                  </a:cubicBezTo>
                  <a:cubicBezTo>
                    <a:pt x="2" y="23"/>
                    <a:pt x="1" y="22"/>
                    <a:pt x="1" y="20"/>
                  </a:cubicBezTo>
                  <a:cubicBezTo>
                    <a:pt x="0" y="18"/>
                    <a:pt x="0" y="16"/>
                    <a:pt x="0" y="14"/>
                  </a:cubicBezTo>
                  <a:cubicBezTo>
                    <a:pt x="0" y="12"/>
                    <a:pt x="0" y="10"/>
                    <a:pt x="1" y="8"/>
                  </a:cubicBezTo>
                  <a:cubicBezTo>
                    <a:pt x="1" y="6"/>
                    <a:pt x="2" y="5"/>
                    <a:pt x="3" y="3"/>
                  </a:cubicBezTo>
                  <a:cubicBezTo>
                    <a:pt x="4" y="2"/>
                    <a:pt x="5" y="1"/>
                    <a:pt x="7" y="1"/>
                  </a:cubicBezTo>
                  <a:cubicBezTo>
                    <a:pt x="8" y="0"/>
                    <a:pt x="10" y="0"/>
                    <a:pt x="11" y="0"/>
                  </a:cubicBezTo>
                  <a:cubicBezTo>
                    <a:pt x="13" y="0"/>
                    <a:pt x="14" y="0"/>
                    <a:pt x="15" y="1"/>
                  </a:cubicBezTo>
                  <a:cubicBezTo>
                    <a:pt x="17" y="1"/>
                    <a:pt x="18" y="2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4" y="28"/>
                    <a:pt x="24" y="30"/>
                    <a:pt x="24" y="31"/>
                  </a:cubicBezTo>
                  <a:cubicBezTo>
                    <a:pt x="24" y="32"/>
                    <a:pt x="23" y="33"/>
                    <a:pt x="23" y="34"/>
                  </a:cubicBezTo>
                  <a:cubicBezTo>
                    <a:pt x="22" y="35"/>
                    <a:pt x="21" y="36"/>
                    <a:pt x="21" y="37"/>
                  </a:cubicBezTo>
                  <a:cubicBezTo>
                    <a:pt x="20" y="37"/>
                    <a:pt x="19" y="38"/>
                    <a:pt x="18" y="39"/>
                  </a:cubicBezTo>
                  <a:cubicBezTo>
                    <a:pt x="16" y="39"/>
                    <a:pt x="15" y="39"/>
                    <a:pt x="14" y="40"/>
                  </a:cubicBezTo>
                  <a:cubicBezTo>
                    <a:pt x="12" y="40"/>
                    <a:pt x="11" y="40"/>
                    <a:pt x="9" y="40"/>
                  </a:cubicBezTo>
                  <a:cubicBezTo>
                    <a:pt x="7" y="40"/>
                    <a:pt x="7" y="40"/>
                    <a:pt x="7" y="40"/>
                  </a:cubicBezTo>
                  <a:cubicBezTo>
                    <a:pt x="6" y="40"/>
                    <a:pt x="5" y="40"/>
                    <a:pt x="4" y="40"/>
                  </a:cubicBezTo>
                  <a:cubicBezTo>
                    <a:pt x="2" y="39"/>
                    <a:pt x="2" y="39"/>
                    <a:pt x="2" y="39"/>
                  </a:cubicBezTo>
                  <a:cubicBezTo>
                    <a:pt x="2" y="39"/>
                    <a:pt x="1" y="39"/>
                    <a:pt x="1" y="39"/>
                  </a:cubicBezTo>
                  <a:cubicBezTo>
                    <a:pt x="1" y="34"/>
                    <a:pt x="1" y="34"/>
                    <a:pt x="1" y="34"/>
                  </a:cubicBezTo>
                  <a:cubicBezTo>
                    <a:pt x="2" y="34"/>
                    <a:pt x="3" y="34"/>
                    <a:pt x="5" y="35"/>
                  </a:cubicBezTo>
                  <a:cubicBezTo>
                    <a:pt x="6" y="35"/>
                    <a:pt x="7" y="35"/>
                    <a:pt x="9" y="35"/>
                  </a:cubicBezTo>
                  <a:cubicBezTo>
                    <a:pt x="11" y="35"/>
                    <a:pt x="13" y="34"/>
                    <a:pt x="15" y="33"/>
                  </a:cubicBezTo>
                  <a:cubicBezTo>
                    <a:pt x="17" y="32"/>
                    <a:pt x="18" y="30"/>
                    <a:pt x="18" y="28"/>
                  </a:cubicBezTo>
                  <a:lnTo>
                    <a:pt x="18" y="27"/>
                  </a:lnTo>
                  <a:close/>
                  <a:moveTo>
                    <a:pt x="12" y="22"/>
                  </a:moveTo>
                  <a:cubicBezTo>
                    <a:pt x="13" y="22"/>
                    <a:pt x="14" y="22"/>
                    <a:pt x="14" y="22"/>
                  </a:cubicBezTo>
                  <a:cubicBezTo>
                    <a:pt x="15" y="22"/>
                    <a:pt x="15" y="22"/>
                    <a:pt x="16" y="21"/>
                  </a:cubicBezTo>
                  <a:cubicBezTo>
                    <a:pt x="16" y="21"/>
                    <a:pt x="17" y="21"/>
                    <a:pt x="17" y="20"/>
                  </a:cubicBezTo>
                  <a:cubicBezTo>
                    <a:pt x="17" y="20"/>
                    <a:pt x="18" y="20"/>
                    <a:pt x="18" y="20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7"/>
                    <a:pt x="16" y="6"/>
                    <a:pt x="16" y="6"/>
                  </a:cubicBezTo>
                  <a:cubicBezTo>
                    <a:pt x="15" y="5"/>
                    <a:pt x="13" y="5"/>
                    <a:pt x="12" y="5"/>
                  </a:cubicBezTo>
                  <a:cubicBezTo>
                    <a:pt x="12" y="5"/>
                    <a:pt x="11" y="5"/>
                    <a:pt x="11" y="5"/>
                  </a:cubicBezTo>
                  <a:cubicBezTo>
                    <a:pt x="11" y="5"/>
                    <a:pt x="10" y="5"/>
                    <a:pt x="10" y="5"/>
                  </a:cubicBezTo>
                  <a:cubicBezTo>
                    <a:pt x="9" y="6"/>
                    <a:pt x="9" y="6"/>
                    <a:pt x="8" y="6"/>
                  </a:cubicBezTo>
                  <a:cubicBezTo>
                    <a:pt x="8" y="7"/>
                    <a:pt x="8" y="7"/>
                    <a:pt x="7" y="8"/>
                  </a:cubicBezTo>
                  <a:cubicBezTo>
                    <a:pt x="7" y="9"/>
                    <a:pt x="7" y="10"/>
                    <a:pt x="7" y="10"/>
                  </a:cubicBezTo>
                  <a:cubicBezTo>
                    <a:pt x="6" y="11"/>
                    <a:pt x="6" y="12"/>
                    <a:pt x="6" y="14"/>
                  </a:cubicBezTo>
                  <a:cubicBezTo>
                    <a:pt x="6" y="15"/>
                    <a:pt x="6" y="16"/>
                    <a:pt x="7" y="17"/>
                  </a:cubicBezTo>
                  <a:cubicBezTo>
                    <a:pt x="7" y="18"/>
                    <a:pt x="7" y="19"/>
                    <a:pt x="8" y="20"/>
                  </a:cubicBezTo>
                  <a:cubicBezTo>
                    <a:pt x="8" y="20"/>
                    <a:pt x="9" y="21"/>
                    <a:pt x="10" y="21"/>
                  </a:cubicBezTo>
                  <a:cubicBezTo>
                    <a:pt x="11" y="22"/>
                    <a:pt x="11" y="22"/>
                    <a:pt x="12" y="2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048" name="Freeform 22"/>
            <p:cNvSpPr>
              <a:spLocks noEditPoints="1"/>
            </p:cNvSpPr>
            <p:nvPr userDrawn="1"/>
          </p:nvSpPr>
          <p:spPr bwMode="gray">
            <a:xfrm>
              <a:off x="10548938" y="3621088"/>
              <a:ext cx="22225" cy="150812"/>
            </a:xfrm>
            <a:custGeom>
              <a:avLst/>
              <a:gdLst>
                <a:gd name="T0" fmla="*/ 0 w 14"/>
                <a:gd name="T1" fmla="*/ 0 h 95"/>
                <a:gd name="T2" fmla="*/ 22225 w 14"/>
                <a:gd name="T3" fmla="*/ 0 h 95"/>
                <a:gd name="T4" fmla="*/ 22225 w 14"/>
                <a:gd name="T5" fmla="*/ 26987 h 95"/>
                <a:gd name="T6" fmla="*/ 0 w 14"/>
                <a:gd name="T7" fmla="*/ 26987 h 95"/>
                <a:gd name="T8" fmla="*/ 0 w 14"/>
                <a:gd name="T9" fmla="*/ 0 h 95"/>
                <a:gd name="T10" fmla="*/ 0 w 14"/>
                <a:gd name="T11" fmla="*/ 49212 h 95"/>
                <a:gd name="T12" fmla="*/ 22225 w 14"/>
                <a:gd name="T13" fmla="*/ 49212 h 95"/>
                <a:gd name="T14" fmla="*/ 22225 w 14"/>
                <a:gd name="T15" fmla="*/ 150812 h 95"/>
                <a:gd name="T16" fmla="*/ 0 w 14"/>
                <a:gd name="T17" fmla="*/ 150812 h 95"/>
                <a:gd name="T18" fmla="*/ 0 w 14"/>
                <a:gd name="T19" fmla="*/ 49212 h 9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4" h="95">
                  <a:moveTo>
                    <a:pt x="0" y="0"/>
                  </a:moveTo>
                  <a:lnTo>
                    <a:pt x="14" y="0"/>
                  </a:lnTo>
                  <a:lnTo>
                    <a:pt x="14" y="17"/>
                  </a:lnTo>
                  <a:lnTo>
                    <a:pt x="0" y="17"/>
                  </a:lnTo>
                  <a:lnTo>
                    <a:pt x="0" y="0"/>
                  </a:lnTo>
                  <a:close/>
                  <a:moveTo>
                    <a:pt x="0" y="31"/>
                  </a:moveTo>
                  <a:lnTo>
                    <a:pt x="14" y="31"/>
                  </a:lnTo>
                  <a:lnTo>
                    <a:pt x="14" y="95"/>
                  </a:lnTo>
                  <a:lnTo>
                    <a:pt x="0" y="95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049" name="Freeform 23"/>
            <p:cNvSpPr>
              <a:spLocks/>
            </p:cNvSpPr>
            <p:nvPr userDrawn="1"/>
          </p:nvSpPr>
          <p:spPr bwMode="gray">
            <a:xfrm>
              <a:off x="10596563" y="3670300"/>
              <a:ext cx="90488" cy="101600"/>
            </a:xfrm>
            <a:custGeom>
              <a:avLst/>
              <a:gdLst>
                <a:gd name="T0" fmla="*/ 22622 w 24"/>
                <a:gd name="T1" fmla="*/ 15052 h 27"/>
                <a:gd name="T2" fmla="*/ 22622 w 24"/>
                <a:gd name="T3" fmla="*/ 15052 h 27"/>
                <a:gd name="T4" fmla="*/ 30163 w 24"/>
                <a:gd name="T5" fmla="*/ 7526 h 27"/>
                <a:gd name="T6" fmla="*/ 37703 w 24"/>
                <a:gd name="T7" fmla="*/ 3763 h 27"/>
                <a:gd name="T8" fmla="*/ 45244 w 24"/>
                <a:gd name="T9" fmla="*/ 0 h 27"/>
                <a:gd name="T10" fmla="*/ 56555 w 24"/>
                <a:gd name="T11" fmla="*/ 0 h 27"/>
                <a:gd name="T12" fmla="*/ 67866 w 24"/>
                <a:gd name="T13" fmla="*/ 0 h 27"/>
                <a:gd name="T14" fmla="*/ 75407 w 24"/>
                <a:gd name="T15" fmla="*/ 3763 h 27"/>
                <a:gd name="T16" fmla="*/ 82947 w 24"/>
                <a:gd name="T17" fmla="*/ 11289 h 27"/>
                <a:gd name="T18" fmla="*/ 90488 w 24"/>
                <a:gd name="T19" fmla="*/ 22578 h 27"/>
                <a:gd name="T20" fmla="*/ 90488 w 24"/>
                <a:gd name="T21" fmla="*/ 26341 h 27"/>
                <a:gd name="T22" fmla="*/ 90488 w 24"/>
                <a:gd name="T23" fmla="*/ 37630 h 27"/>
                <a:gd name="T24" fmla="*/ 90488 w 24"/>
                <a:gd name="T25" fmla="*/ 101600 h 27"/>
                <a:gd name="T26" fmla="*/ 67866 w 24"/>
                <a:gd name="T27" fmla="*/ 101600 h 27"/>
                <a:gd name="T28" fmla="*/ 67866 w 24"/>
                <a:gd name="T29" fmla="*/ 41393 h 27"/>
                <a:gd name="T30" fmla="*/ 67866 w 24"/>
                <a:gd name="T31" fmla="*/ 33867 h 27"/>
                <a:gd name="T32" fmla="*/ 64096 w 24"/>
                <a:gd name="T33" fmla="*/ 30104 h 27"/>
                <a:gd name="T34" fmla="*/ 60325 w 24"/>
                <a:gd name="T35" fmla="*/ 22578 h 27"/>
                <a:gd name="T36" fmla="*/ 52785 w 24"/>
                <a:gd name="T37" fmla="*/ 18815 h 27"/>
                <a:gd name="T38" fmla="*/ 37703 w 24"/>
                <a:gd name="T39" fmla="*/ 22578 h 27"/>
                <a:gd name="T40" fmla="*/ 26392 w 24"/>
                <a:gd name="T41" fmla="*/ 33867 h 27"/>
                <a:gd name="T42" fmla="*/ 26392 w 24"/>
                <a:gd name="T43" fmla="*/ 101600 h 27"/>
                <a:gd name="T44" fmla="*/ 0 w 24"/>
                <a:gd name="T45" fmla="*/ 101600 h 27"/>
                <a:gd name="T46" fmla="*/ 0 w 24"/>
                <a:gd name="T47" fmla="*/ 0 h 27"/>
                <a:gd name="T48" fmla="*/ 22622 w 24"/>
                <a:gd name="T49" fmla="*/ 0 h 27"/>
                <a:gd name="T50" fmla="*/ 22622 w 24"/>
                <a:gd name="T51" fmla="*/ 15052 h 27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24" h="27">
                  <a:moveTo>
                    <a:pt x="6" y="4"/>
                  </a:moveTo>
                  <a:cubicBezTo>
                    <a:pt x="6" y="4"/>
                    <a:pt x="6" y="4"/>
                    <a:pt x="6" y="4"/>
                  </a:cubicBezTo>
                  <a:cubicBezTo>
                    <a:pt x="7" y="4"/>
                    <a:pt x="7" y="3"/>
                    <a:pt x="8" y="2"/>
                  </a:cubicBezTo>
                  <a:cubicBezTo>
                    <a:pt x="8" y="2"/>
                    <a:pt x="9" y="1"/>
                    <a:pt x="10" y="1"/>
                  </a:cubicBezTo>
                  <a:cubicBezTo>
                    <a:pt x="11" y="1"/>
                    <a:pt x="11" y="0"/>
                    <a:pt x="12" y="0"/>
                  </a:cubicBezTo>
                  <a:cubicBezTo>
                    <a:pt x="13" y="0"/>
                    <a:pt x="14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1"/>
                    <a:pt x="20" y="1"/>
                  </a:cubicBezTo>
                  <a:cubicBezTo>
                    <a:pt x="21" y="2"/>
                    <a:pt x="22" y="2"/>
                    <a:pt x="22" y="3"/>
                  </a:cubicBezTo>
                  <a:cubicBezTo>
                    <a:pt x="23" y="4"/>
                    <a:pt x="23" y="5"/>
                    <a:pt x="24" y="6"/>
                  </a:cubicBezTo>
                  <a:cubicBezTo>
                    <a:pt x="24" y="6"/>
                    <a:pt x="24" y="7"/>
                    <a:pt x="24" y="7"/>
                  </a:cubicBezTo>
                  <a:cubicBezTo>
                    <a:pt x="24" y="8"/>
                    <a:pt x="24" y="9"/>
                    <a:pt x="24" y="10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18" y="10"/>
                    <a:pt x="18" y="10"/>
                    <a:pt x="18" y="9"/>
                  </a:cubicBezTo>
                  <a:cubicBezTo>
                    <a:pt x="18" y="8"/>
                    <a:pt x="18" y="8"/>
                    <a:pt x="17" y="8"/>
                  </a:cubicBezTo>
                  <a:cubicBezTo>
                    <a:pt x="17" y="7"/>
                    <a:pt x="17" y="6"/>
                    <a:pt x="16" y="6"/>
                  </a:cubicBezTo>
                  <a:cubicBezTo>
                    <a:pt x="15" y="5"/>
                    <a:pt x="14" y="5"/>
                    <a:pt x="14" y="5"/>
                  </a:cubicBezTo>
                  <a:cubicBezTo>
                    <a:pt x="12" y="5"/>
                    <a:pt x="11" y="6"/>
                    <a:pt x="10" y="6"/>
                  </a:cubicBezTo>
                  <a:cubicBezTo>
                    <a:pt x="9" y="7"/>
                    <a:pt x="8" y="8"/>
                    <a:pt x="7" y="9"/>
                  </a:cubicBezTo>
                  <a:cubicBezTo>
                    <a:pt x="7" y="27"/>
                    <a:pt x="7" y="27"/>
                    <a:pt x="7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" y="0"/>
                    <a:pt x="6" y="0"/>
                    <a:pt x="6" y="0"/>
                  </a:cubicBezTo>
                  <a:lnTo>
                    <a:pt x="6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050" name="Freeform 24"/>
            <p:cNvSpPr>
              <a:spLocks noEditPoints="1"/>
            </p:cNvSpPr>
            <p:nvPr userDrawn="1"/>
          </p:nvSpPr>
          <p:spPr bwMode="gray">
            <a:xfrm>
              <a:off x="10709275" y="3670300"/>
              <a:ext cx="90488" cy="101600"/>
            </a:xfrm>
            <a:custGeom>
              <a:avLst/>
              <a:gdLst>
                <a:gd name="T0" fmla="*/ 56555 w 24"/>
                <a:gd name="T1" fmla="*/ 82785 h 27"/>
                <a:gd name="T2" fmla="*/ 71636 w 24"/>
                <a:gd name="T3" fmla="*/ 82785 h 27"/>
                <a:gd name="T4" fmla="*/ 86718 w 24"/>
                <a:gd name="T5" fmla="*/ 79022 h 27"/>
                <a:gd name="T6" fmla="*/ 86718 w 24"/>
                <a:gd name="T7" fmla="*/ 97837 h 27"/>
                <a:gd name="T8" fmla="*/ 71636 w 24"/>
                <a:gd name="T9" fmla="*/ 101600 h 27"/>
                <a:gd name="T10" fmla="*/ 49014 w 24"/>
                <a:gd name="T11" fmla="*/ 101600 h 27"/>
                <a:gd name="T12" fmla="*/ 30163 w 24"/>
                <a:gd name="T13" fmla="*/ 101600 h 27"/>
                <a:gd name="T14" fmla="*/ 3770 w 24"/>
                <a:gd name="T15" fmla="*/ 75259 h 27"/>
                <a:gd name="T16" fmla="*/ 0 w 24"/>
                <a:gd name="T17" fmla="*/ 52681 h 27"/>
                <a:gd name="T18" fmla="*/ 3770 w 24"/>
                <a:gd name="T19" fmla="*/ 30104 h 27"/>
                <a:gd name="T20" fmla="*/ 15081 w 24"/>
                <a:gd name="T21" fmla="*/ 11289 h 27"/>
                <a:gd name="T22" fmla="*/ 30163 w 24"/>
                <a:gd name="T23" fmla="*/ 3763 h 27"/>
                <a:gd name="T24" fmla="*/ 45244 w 24"/>
                <a:gd name="T25" fmla="*/ 0 h 27"/>
                <a:gd name="T26" fmla="*/ 64096 w 24"/>
                <a:gd name="T27" fmla="*/ 0 h 27"/>
                <a:gd name="T28" fmla="*/ 79177 w 24"/>
                <a:gd name="T29" fmla="*/ 11289 h 27"/>
                <a:gd name="T30" fmla="*/ 86718 w 24"/>
                <a:gd name="T31" fmla="*/ 26341 h 27"/>
                <a:gd name="T32" fmla="*/ 90488 w 24"/>
                <a:gd name="T33" fmla="*/ 48919 h 27"/>
                <a:gd name="T34" fmla="*/ 90488 w 24"/>
                <a:gd name="T35" fmla="*/ 56444 h 27"/>
                <a:gd name="T36" fmla="*/ 22622 w 24"/>
                <a:gd name="T37" fmla="*/ 56444 h 27"/>
                <a:gd name="T38" fmla="*/ 26392 w 24"/>
                <a:gd name="T39" fmla="*/ 67733 h 27"/>
                <a:gd name="T40" fmla="*/ 33933 w 24"/>
                <a:gd name="T41" fmla="*/ 75259 h 27"/>
                <a:gd name="T42" fmla="*/ 45244 w 24"/>
                <a:gd name="T43" fmla="*/ 82785 h 27"/>
                <a:gd name="T44" fmla="*/ 56555 w 24"/>
                <a:gd name="T45" fmla="*/ 82785 h 27"/>
                <a:gd name="T46" fmla="*/ 45244 w 24"/>
                <a:gd name="T47" fmla="*/ 18815 h 27"/>
                <a:gd name="T48" fmla="*/ 37703 w 24"/>
                <a:gd name="T49" fmla="*/ 18815 h 27"/>
                <a:gd name="T50" fmla="*/ 30163 w 24"/>
                <a:gd name="T51" fmla="*/ 22578 h 27"/>
                <a:gd name="T52" fmla="*/ 26392 w 24"/>
                <a:gd name="T53" fmla="*/ 30104 h 27"/>
                <a:gd name="T54" fmla="*/ 26392 w 24"/>
                <a:gd name="T55" fmla="*/ 37630 h 27"/>
                <a:gd name="T56" fmla="*/ 64096 w 24"/>
                <a:gd name="T57" fmla="*/ 37630 h 27"/>
                <a:gd name="T58" fmla="*/ 64096 w 24"/>
                <a:gd name="T59" fmla="*/ 30104 h 27"/>
                <a:gd name="T60" fmla="*/ 60325 w 24"/>
                <a:gd name="T61" fmla="*/ 22578 h 27"/>
                <a:gd name="T62" fmla="*/ 45244 w 24"/>
                <a:gd name="T63" fmla="*/ 18815 h 27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4" h="27">
                  <a:moveTo>
                    <a:pt x="15" y="22"/>
                  </a:moveTo>
                  <a:cubicBezTo>
                    <a:pt x="16" y="22"/>
                    <a:pt x="17" y="22"/>
                    <a:pt x="19" y="22"/>
                  </a:cubicBezTo>
                  <a:cubicBezTo>
                    <a:pt x="20" y="21"/>
                    <a:pt x="21" y="21"/>
                    <a:pt x="23" y="21"/>
                  </a:cubicBezTo>
                  <a:cubicBezTo>
                    <a:pt x="23" y="26"/>
                    <a:pt x="23" y="26"/>
                    <a:pt x="23" y="26"/>
                  </a:cubicBezTo>
                  <a:cubicBezTo>
                    <a:pt x="21" y="26"/>
                    <a:pt x="20" y="27"/>
                    <a:pt x="19" y="27"/>
                  </a:cubicBezTo>
                  <a:cubicBezTo>
                    <a:pt x="17" y="27"/>
                    <a:pt x="15" y="27"/>
                    <a:pt x="13" y="27"/>
                  </a:cubicBezTo>
                  <a:cubicBezTo>
                    <a:pt x="12" y="27"/>
                    <a:pt x="10" y="27"/>
                    <a:pt x="8" y="27"/>
                  </a:cubicBezTo>
                  <a:cubicBezTo>
                    <a:pt x="5" y="26"/>
                    <a:pt x="2" y="23"/>
                    <a:pt x="1" y="20"/>
                  </a:cubicBezTo>
                  <a:cubicBezTo>
                    <a:pt x="0" y="18"/>
                    <a:pt x="0" y="16"/>
                    <a:pt x="0" y="14"/>
                  </a:cubicBezTo>
                  <a:cubicBezTo>
                    <a:pt x="0" y="12"/>
                    <a:pt x="0" y="10"/>
                    <a:pt x="1" y="8"/>
                  </a:cubicBezTo>
                  <a:cubicBezTo>
                    <a:pt x="2" y="6"/>
                    <a:pt x="2" y="4"/>
                    <a:pt x="4" y="3"/>
                  </a:cubicBezTo>
                  <a:cubicBezTo>
                    <a:pt x="5" y="2"/>
                    <a:pt x="6" y="1"/>
                    <a:pt x="8" y="1"/>
                  </a:cubicBezTo>
                  <a:cubicBezTo>
                    <a:pt x="9" y="0"/>
                    <a:pt x="11" y="0"/>
                    <a:pt x="12" y="0"/>
                  </a:cubicBezTo>
                  <a:cubicBezTo>
                    <a:pt x="14" y="0"/>
                    <a:pt x="15" y="0"/>
                    <a:pt x="17" y="0"/>
                  </a:cubicBezTo>
                  <a:cubicBezTo>
                    <a:pt x="18" y="1"/>
                    <a:pt x="20" y="2"/>
                    <a:pt x="21" y="3"/>
                  </a:cubicBezTo>
                  <a:cubicBezTo>
                    <a:pt x="22" y="4"/>
                    <a:pt x="22" y="5"/>
                    <a:pt x="23" y="7"/>
                  </a:cubicBezTo>
                  <a:cubicBezTo>
                    <a:pt x="24" y="9"/>
                    <a:pt x="24" y="11"/>
                    <a:pt x="24" y="13"/>
                  </a:cubicBezTo>
                  <a:cubicBezTo>
                    <a:pt x="24" y="14"/>
                    <a:pt x="24" y="15"/>
                    <a:pt x="24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6"/>
                    <a:pt x="7" y="17"/>
                    <a:pt x="7" y="18"/>
                  </a:cubicBezTo>
                  <a:cubicBezTo>
                    <a:pt x="8" y="19"/>
                    <a:pt x="8" y="20"/>
                    <a:pt x="9" y="20"/>
                  </a:cubicBezTo>
                  <a:cubicBezTo>
                    <a:pt x="10" y="21"/>
                    <a:pt x="11" y="21"/>
                    <a:pt x="12" y="22"/>
                  </a:cubicBezTo>
                  <a:cubicBezTo>
                    <a:pt x="13" y="22"/>
                    <a:pt x="14" y="22"/>
                    <a:pt x="15" y="22"/>
                  </a:cubicBezTo>
                  <a:close/>
                  <a:moveTo>
                    <a:pt x="12" y="5"/>
                  </a:moveTo>
                  <a:cubicBezTo>
                    <a:pt x="11" y="5"/>
                    <a:pt x="11" y="5"/>
                    <a:pt x="10" y="5"/>
                  </a:cubicBezTo>
                  <a:cubicBezTo>
                    <a:pt x="9" y="5"/>
                    <a:pt x="9" y="6"/>
                    <a:pt x="8" y="6"/>
                  </a:cubicBezTo>
                  <a:cubicBezTo>
                    <a:pt x="8" y="7"/>
                    <a:pt x="8" y="7"/>
                    <a:pt x="7" y="8"/>
                  </a:cubicBezTo>
                  <a:cubicBezTo>
                    <a:pt x="7" y="9"/>
                    <a:pt x="7" y="10"/>
                    <a:pt x="7" y="1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7" y="10"/>
                    <a:pt x="17" y="9"/>
                    <a:pt x="17" y="8"/>
                  </a:cubicBezTo>
                  <a:cubicBezTo>
                    <a:pt x="17" y="7"/>
                    <a:pt x="16" y="7"/>
                    <a:pt x="16" y="6"/>
                  </a:cubicBezTo>
                  <a:cubicBezTo>
                    <a:pt x="15" y="5"/>
                    <a:pt x="14" y="5"/>
                    <a:pt x="12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051" name="Freeform 25"/>
            <p:cNvSpPr>
              <a:spLocks noEditPoints="1"/>
            </p:cNvSpPr>
            <p:nvPr userDrawn="1"/>
          </p:nvSpPr>
          <p:spPr bwMode="gray">
            <a:xfrm>
              <a:off x="10814050" y="3670300"/>
              <a:ext cx="90488" cy="101600"/>
            </a:xfrm>
            <a:custGeom>
              <a:avLst/>
              <a:gdLst>
                <a:gd name="T0" fmla="*/ 56555 w 24"/>
                <a:gd name="T1" fmla="*/ 82785 h 27"/>
                <a:gd name="T2" fmla="*/ 71636 w 24"/>
                <a:gd name="T3" fmla="*/ 82785 h 27"/>
                <a:gd name="T4" fmla="*/ 86718 w 24"/>
                <a:gd name="T5" fmla="*/ 79022 h 27"/>
                <a:gd name="T6" fmla="*/ 86718 w 24"/>
                <a:gd name="T7" fmla="*/ 97837 h 27"/>
                <a:gd name="T8" fmla="*/ 71636 w 24"/>
                <a:gd name="T9" fmla="*/ 101600 h 27"/>
                <a:gd name="T10" fmla="*/ 52785 w 24"/>
                <a:gd name="T11" fmla="*/ 101600 h 27"/>
                <a:gd name="T12" fmla="*/ 33933 w 24"/>
                <a:gd name="T13" fmla="*/ 101600 h 27"/>
                <a:gd name="T14" fmla="*/ 15081 w 24"/>
                <a:gd name="T15" fmla="*/ 90311 h 27"/>
                <a:gd name="T16" fmla="*/ 3770 w 24"/>
                <a:gd name="T17" fmla="*/ 75259 h 27"/>
                <a:gd name="T18" fmla="*/ 0 w 24"/>
                <a:gd name="T19" fmla="*/ 52681 h 27"/>
                <a:gd name="T20" fmla="*/ 3770 w 24"/>
                <a:gd name="T21" fmla="*/ 30104 h 27"/>
                <a:gd name="T22" fmla="*/ 15081 w 24"/>
                <a:gd name="T23" fmla="*/ 11289 h 27"/>
                <a:gd name="T24" fmla="*/ 30163 w 24"/>
                <a:gd name="T25" fmla="*/ 3763 h 27"/>
                <a:gd name="T26" fmla="*/ 49014 w 24"/>
                <a:gd name="T27" fmla="*/ 0 h 27"/>
                <a:gd name="T28" fmla="*/ 64096 w 24"/>
                <a:gd name="T29" fmla="*/ 3763 h 27"/>
                <a:gd name="T30" fmla="*/ 79177 w 24"/>
                <a:gd name="T31" fmla="*/ 11289 h 27"/>
                <a:gd name="T32" fmla="*/ 86718 w 24"/>
                <a:gd name="T33" fmla="*/ 26341 h 27"/>
                <a:gd name="T34" fmla="*/ 90488 w 24"/>
                <a:gd name="T35" fmla="*/ 48919 h 27"/>
                <a:gd name="T36" fmla="*/ 90488 w 24"/>
                <a:gd name="T37" fmla="*/ 56444 h 27"/>
                <a:gd name="T38" fmla="*/ 26392 w 24"/>
                <a:gd name="T39" fmla="*/ 56444 h 27"/>
                <a:gd name="T40" fmla="*/ 30163 w 24"/>
                <a:gd name="T41" fmla="*/ 67733 h 27"/>
                <a:gd name="T42" fmla="*/ 33933 w 24"/>
                <a:gd name="T43" fmla="*/ 79022 h 27"/>
                <a:gd name="T44" fmla="*/ 45244 w 24"/>
                <a:gd name="T45" fmla="*/ 82785 h 27"/>
                <a:gd name="T46" fmla="*/ 56555 w 24"/>
                <a:gd name="T47" fmla="*/ 82785 h 27"/>
                <a:gd name="T48" fmla="*/ 49014 w 24"/>
                <a:gd name="T49" fmla="*/ 18815 h 27"/>
                <a:gd name="T50" fmla="*/ 41474 w 24"/>
                <a:gd name="T51" fmla="*/ 18815 h 27"/>
                <a:gd name="T52" fmla="*/ 33933 w 24"/>
                <a:gd name="T53" fmla="*/ 22578 h 27"/>
                <a:gd name="T54" fmla="*/ 30163 w 24"/>
                <a:gd name="T55" fmla="*/ 30104 h 27"/>
                <a:gd name="T56" fmla="*/ 26392 w 24"/>
                <a:gd name="T57" fmla="*/ 37630 h 27"/>
                <a:gd name="T58" fmla="*/ 67866 w 24"/>
                <a:gd name="T59" fmla="*/ 37630 h 27"/>
                <a:gd name="T60" fmla="*/ 64096 w 24"/>
                <a:gd name="T61" fmla="*/ 30104 h 27"/>
                <a:gd name="T62" fmla="*/ 60325 w 24"/>
                <a:gd name="T63" fmla="*/ 22578 h 27"/>
                <a:gd name="T64" fmla="*/ 49014 w 24"/>
                <a:gd name="T65" fmla="*/ 18815 h 2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4" h="27">
                  <a:moveTo>
                    <a:pt x="15" y="22"/>
                  </a:moveTo>
                  <a:cubicBezTo>
                    <a:pt x="17" y="22"/>
                    <a:pt x="18" y="22"/>
                    <a:pt x="19" y="22"/>
                  </a:cubicBezTo>
                  <a:cubicBezTo>
                    <a:pt x="21" y="21"/>
                    <a:pt x="22" y="21"/>
                    <a:pt x="23" y="21"/>
                  </a:cubicBezTo>
                  <a:cubicBezTo>
                    <a:pt x="23" y="26"/>
                    <a:pt x="23" y="26"/>
                    <a:pt x="23" y="26"/>
                  </a:cubicBezTo>
                  <a:cubicBezTo>
                    <a:pt x="22" y="26"/>
                    <a:pt x="21" y="27"/>
                    <a:pt x="19" y="27"/>
                  </a:cubicBezTo>
                  <a:cubicBezTo>
                    <a:pt x="18" y="27"/>
                    <a:pt x="16" y="27"/>
                    <a:pt x="14" y="27"/>
                  </a:cubicBezTo>
                  <a:cubicBezTo>
                    <a:pt x="12" y="27"/>
                    <a:pt x="10" y="27"/>
                    <a:pt x="9" y="27"/>
                  </a:cubicBezTo>
                  <a:cubicBezTo>
                    <a:pt x="7" y="26"/>
                    <a:pt x="6" y="25"/>
                    <a:pt x="4" y="24"/>
                  </a:cubicBezTo>
                  <a:cubicBezTo>
                    <a:pt x="3" y="23"/>
                    <a:pt x="2" y="22"/>
                    <a:pt x="1" y="20"/>
                  </a:cubicBezTo>
                  <a:cubicBezTo>
                    <a:pt x="0" y="18"/>
                    <a:pt x="0" y="16"/>
                    <a:pt x="0" y="14"/>
                  </a:cubicBezTo>
                  <a:cubicBezTo>
                    <a:pt x="0" y="12"/>
                    <a:pt x="0" y="10"/>
                    <a:pt x="1" y="8"/>
                  </a:cubicBezTo>
                  <a:cubicBezTo>
                    <a:pt x="2" y="6"/>
                    <a:pt x="3" y="5"/>
                    <a:pt x="4" y="3"/>
                  </a:cubicBezTo>
                  <a:cubicBezTo>
                    <a:pt x="5" y="2"/>
                    <a:pt x="6" y="1"/>
                    <a:pt x="8" y="1"/>
                  </a:cubicBezTo>
                  <a:cubicBezTo>
                    <a:pt x="9" y="0"/>
                    <a:pt x="11" y="0"/>
                    <a:pt x="13" y="0"/>
                  </a:cubicBezTo>
                  <a:cubicBezTo>
                    <a:pt x="14" y="0"/>
                    <a:pt x="16" y="0"/>
                    <a:pt x="17" y="1"/>
                  </a:cubicBezTo>
                  <a:cubicBezTo>
                    <a:pt x="19" y="1"/>
                    <a:pt x="20" y="2"/>
                    <a:pt x="21" y="3"/>
                  </a:cubicBezTo>
                  <a:cubicBezTo>
                    <a:pt x="22" y="4"/>
                    <a:pt x="23" y="5"/>
                    <a:pt x="23" y="7"/>
                  </a:cubicBezTo>
                  <a:cubicBezTo>
                    <a:pt x="24" y="9"/>
                    <a:pt x="24" y="11"/>
                    <a:pt x="24" y="13"/>
                  </a:cubicBezTo>
                  <a:cubicBezTo>
                    <a:pt x="24" y="14"/>
                    <a:pt x="24" y="15"/>
                    <a:pt x="24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6"/>
                    <a:pt x="7" y="17"/>
                    <a:pt x="8" y="18"/>
                  </a:cubicBezTo>
                  <a:cubicBezTo>
                    <a:pt x="8" y="19"/>
                    <a:pt x="9" y="20"/>
                    <a:pt x="9" y="21"/>
                  </a:cubicBezTo>
                  <a:cubicBezTo>
                    <a:pt x="10" y="21"/>
                    <a:pt x="11" y="21"/>
                    <a:pt x="12" y="22"/>
                  </a:cubicBezTo>
                  <a:cubicBezTo>
                    <a:pt x="13" y="22"/>
                    <a:pt x="14" y="22"/>
                    <a:pt x="15" y="22"/>
                  </a:cubicBezTo>
                  <a:close/>
                  <a:moveTo>
                    <a:pt x="13" y="5"/>
                  </a:moveTo>
                  <a:cubicBezTo>
                    <a:pt x="12" y="5"/>
                    <a:pt x="11" y="5"/>
                    <a:pt x="11" y="5"/>
                  </a:cubicBezTo>
                  <a:cubicBezTo>
                    <a:pt x="10" y="5"/>
                    <a:pt x="9" y="6"/>
                    <a:pt x="9" y="6"/>
                  </a:cubicBezTo>
                  <a:cubicBezTo>
                    <a:pt x="8" y="7"/>
                    <a:pt x="8" y="7"/>
                    <a:pt x="8" y="8"/>
                  </a:cubicBezTo>
                  <a:cubicBezTo>
                    <a:pt x="8" y="9"/>
                    <a:pt x="7" y="10"/>
                    <a:pt x="7" y="1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8" y="10"/>
                    <a:pt x="17" y="9"/>
                    <a:pt x="17" y="8"/>
                  </a:cubicBezTo>
                  <a:cubicBezTo>
                    <a:pt x="17" y="7"/>
                    <a:pt x="17" y="7"/>
                    <a:pt x="16" y="6"/>
                  </a:cubicBezTo>
                  <a:cubicBezTo>
                    <a:pt x="15" y="5"/>
                    <a:pt x="14" y="5"/>
                    <a:pt x="13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052" name="Freeform 26"/>
            <p:cNvSpPr>
              <a:spLocks/>
            </p:cNvSpPr>
            <p:nvPr userDrawn="1"/>
          </p:nvSpPr>
          <p:spPr bwMode="gray">
            <a:xfrm>
              <a:off x="10926763" y="3670300"/>
              <a:ext cx="60325" cy="101600"/>
            </a:xfrm>
            <a:custGeom>
              <a:avLst/>
              <a:gdLst>
                <a:gd name="T0" fmla="*/ 60325 w 16"/>
                <a:gd name="T1" fmla="*/ 18815 h 27"/>
                <a:gd name="T2" fmla="*/ 56555 w 16"/>
                <a:gd name="T3" fmla="*/ 18815 h 27"/>
                <a:gd name="T4" fmla="*/ 37703 w 16"/>
                <a:gd name="T5" fmla="*/ 22578 h 27"/>
                <a:gd name="T6" fmla="*/ 26392 w 16"/>
                <a:gd name="T7" fmla="*/ 33867 h 27"/>
                <a:gd name="T8" fmla="*/ 26392 w 16"/>
                <a:gd name="T9" fmla="*/ 101600 h 27"/>
                <a:gd name="T10" fmla="*/ 0 w 16"/>
                <a:gd name="T11" fmla="*/ 101600 h 27"/>
                <a:gd name="T12" fmla="*/ 0 w 16"/>
                <a:gd name="T13" fmla="*/ 0 h 27"/>
                <a:gd name="T14" fmla="*/ 22622 w 16"/>
                <a:gd name="T15" fmla="*/ 0 h 27"/>
                <a:gd name="T16" fmla="*/ 22622 w 16"/>
                <a:gd name="T17" fmla="*/ 15052 h 27"/>
                <a:gd name="T18" fmla="*/ 22622 w 16"/>
                <a:gd name="T19" fmla="*/ 15052 h 27"/>
                <a:gd name="T20" fmla="*/ 33933 w 16"/>
                <a:gd name="T21" fmla="*/ 3763 h 27"/>
                <a:gd name="T22" fmla="*/ 52784 w 16"/>
                <a:gd name="T23" fmla="*/ 0 h 27"/>
                <a:gd name="T24" fmla="*/ 60325 w 16"/>
                <a:gd name="T25" fmla="*/ 0 h 27"/>
                <a:gd name="T26" fmla="*/ 60325 w 16"/>
                <a:gd name="T27" fmla="*/ 18815 h 2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6" h="27">
                  <a:moveTo>
                    <a:pt x="16" y="5"/>
                  </a:moveTo>
                  <a:cubicBezTo>
                    <a:pt x="15" y="5"/>
                    <a:pt x="15" y="5"/>
                    <a:pt x="15" y="5"/>
                  </a:cubicBezTo>
                  <a:cubicBezTo>
                    <a:pt x="14" y="5"/>
                    <a:pt x="12" y="6"/>
                    <a:pt x="10" y="6"/>
                  </a:cubicBezTo>
                  <a:cubicBezTo>
                    <a:pt x="9" y="7"/>
                    <a:pt x="8" y="8"/>
                    <a:pt x="7" y="9"/>
                  </a:cubicBezTo>
                  <a:cubicBezTo>
                    <a:pt x="7" y="27"/>
                    <a:pt x="7" y="27"/>
                    <a:pt x="7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7" y="3"/>
                    <a:pt x="8" y="2"/>
                    <a:pt x="9" y="1"/>
                  </a:cubicBezTo>
                  <a:cubicBezTo>
                    <a:pt x="11" y="0"/>
                    <a:pt x="12" y="0"/>
                    <a:pt x="14" y="0"/>
                  </a:cubicBezTo>
                  <a:cubicBezTo>
                    <a:pt x="15" y="0"/>
                    <a:pt x="15" y="0"/>
                    <a:pt x="16" y="0"/>
                  </a:cubicBezTo>
                  <a:lnTo>
                    <a:pt x="16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053" name="Freeform 27"/>
            <p:cNvSpPr>
              <a:spLocks/>
            </p:cNvSpPr>
            <p:nvPr userDrawn="1"/>
          </p:nvSpPr>
          <p:spPr bwMode="gray">
            <a:xfrm>
              <a:off x="11009313" y="3632200"/>
              <a:ext cx="41275" cy="57150"/>
            </a:xfrm>
            <a:custGeom>
              <a:avLst/>
              <a:gdLst>
                <a:gd name="T0" fmla="*/ 15875 w 26"/>
                <a:gd name="T1" fmla="*/ 0 h 36"/>
                <a:gd name="T2" fmla="*/ 41275 w 26"/>
                <a:gd name="T3" fmla="*/ 0 h 36"/>
                <a:gd name="T4" fmla="*/ 19050 w 26"/>
                <a:gd name="T5" fmla="*/ 57150 h 36"/>
                <a:gd name="T6" fmla="*/ 0 w 26"/>
                <a:gd name="T7" fmla="*/ 57150 h 36"/>
                <a:gd name="T8" fmla="*/ 15875 w 26"/>
                <a:gd name="T9" fmla="*/ 0 h 3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6" h="36">
                  <a:moveTo>
                    <a:pt x="10" y="0"/>
                  </a:moveTo>
                  <a:lnTo>
                    <a:pt x="26" y="0"/>
                  </a:lnTo>
                  <a:lnTo>
                    <a:pt x="12" y="36"/>
                  </a:lnTo>
                  <a:lnTo>
                    <a:pt x="0" y="36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054" name="Freeform 28"/>
            <p:cNvSpPr>
              <a:spLocks/>
            </p:cNvSpPr>
            <p:nvPr userDrawn="1"/>
          </p:nvSpPr>
          <p:spPr bwMode="gray">
            <a:xfrm>
              <a:off x="11055350" y="3667125"/>
              <a:ext cx="74613" cy="104775"/>
            </a:xfrm>
            <a:custGeom>
              <a:avLst/>
              <a:gdLst>
                <a:gd name="T0" fmla="*/ 48498 w 20"/>
                <a:gd name="T1" fmla="*/ 74839 h 28"/>
                <a:gd name="T2" fmla="*/ 48498 w 20"/>
                <a:gd name="T3" fmla="*/ 71097 h 28"/>
                <a:gd name="T4" fmla="*/ 41037 w 20"/>
                <a:gd name="T5" fmla="*/ 67355 h 28"/>
                <a:gd name="T6" fmla="*/ 33576 w 20"/>
                <a:gd name="T7" fmla="*/ 63613 h 28"/>
                <a:gd name="T8" fmla="*/ 26115 w 20"/>
                <a:gd name="T9" fmla="*/ 59871 h 28"/>
                <a:gd name="T10" fmla="*/ 18653 w 20"/>
                <a:gd name="T11" fmla="*/ 59871 h 28"/>
                <a:gd name="T12" fmla="*/ 7461 w 20"/>
                <a:gd name="T13" fmla="*/ 52388 h 28"/>
                <a:gd name="T14" fmla="*/ 3731 w 20"/>
                <a:gd name="T15" fmla="*/ 44904 h 28"/>
                <a:gd name="T16" fmla="*/ 0 w 20"/>
                <a:gd name="T17" fmla="*/ 33678 h 28"/>
                <a:gd name="T18" fmla="*/ 3731 w 20"/>
                <a:gd name="T19" fmla="*/ 18710 h 28"/>
                <a:gd name="T20" fmla="*/ 11192 w 20"/>
                <a:gd name="T21" fmla="*/ 11226 h 28"/>
                <a:gd name="T22" fmla="*/ 22384 w 20"/>
                <a:gd name="T23" fmla="*/ 3742 h 28"/>
                <a:gd name="T24" fmla="*/ 37307 w 20"/>
                <a:gd name="T25" fmla="*/ 0 h 28"/>
                <a:gd name="T26" fmla="*/ 55960 w 20"/>
                <a:gd name="T27" fmla="*/ 3742 h 28"/>
                <a:gd name="T28" fmla="*/ 70882 w 20"/>
                <a:gd name="T29" fmla="*/ 7484 h 28"/>
                <a:gd name="T30" fmla="*/ 70882 w 20"/>
                <a:gd name="T31" fmla="*/ 26194 h 28"/>
                <a:gd name="T32" fmla="*/ 63421 w 20"/>
                <a:gd name="T33" fmla="*/ 26194 h 28"/>
                <a:gd name="T34" fmla="*/ 55960 w 20"/>
                <a:gd name="T35" fmla="*/ 22452 h 28"/>
                <a:gd name="T36" fmla="*/ 48498 w 20"/>
                <a:gd name="T37" fmla="*/ 22452 h 28"/>
                <a:gd name="T38" fmla="*/ 41037 w 20"/>
                <a:gd name="T39" fmla="*/ 22452 h 28"/>
                <a:gd name="T40" fmla="*/ 33576 w 20"/>
                <a:gd name="T41" fmla="*/ 22452 h 28"/>
                <a:gd name="T42" fmla="*/ 29845 w 20"/>
                <a:gd name="T43" fmla="*/ 26194 h 28"/>
                <a:gd name="T44" fmla="*/ 26115 w 20"/>
                <a:gd name="T45" fmla="*/ 26194 h 28"/>
                <a:gd name="T46" fmla="*/ 26115 w 20"/>
                <a:gd name="T47" fmla="*/ 29936 h 28"/>
                <a:gd name="T48" fmla="*/ 26115 w 20"/>
                <a:gd name="T49" fmla="*/ 37420 h 28"/>
                <a:gd name="T50" fmla="*/ 29845 w 20"/>
                <a:gd name="T51" fmla="*/ 41162 h 28"/>
                <a:gd name="T52" fmla="*/ 37307 w 20"/>
                <a:gd name="T53" fmla="*/ 41162 h 28"/>
                <a:gd name="T54" fmla="*/ 44768 w 20"/>
                <a:gd name="T55" fmla="*/ 44904 h 28"/>
                <a:gd name="T56" fmla="*/ 55960 w 20"/>
                <a:gd name="T57" fmla="*/ 48646 h 28"/>
                <a:gd name="T58" fmla="*/ 63421 w 20"/>
                <a:gd name="T59" fmla="*/ 52388 h 28"/>
                <a:gd name="T60" fmla="*/ 70882 w 20"/>
                <a:gd name="T61" fmla="*/ 59871 h 28"/>
                <a:gd name="T62" fmla="*/ 74613 w 20"/>
                <a:gd name="T63" fmla="*/ 71097 h 28"/>
                <a:gd name="T64" fmla="*/ 70882 w 20"/>
                <a:gd name="T65" fmla="*/ 86065 h 28"/>
                <a:gd name="T66" fmla="*/ 59690 w 20"/>
                <a:gd name="T67" fmla="*/ 97291 h 28"/>
                <a:gd name="T68" fmla="*/ 48498 w 20"/>
                <a:gd name="T69" fmla="*/ 104775 h 28"/>
                <a:gd name="T70" fmla="*/ 29845 w 20"/>
                <a:gd name="T71" fmla="*/ 104775 h 28"/>
                <a:gd name="T72" fmla="*/ 14923 w 20"/>
                <a:gd name="T73" fmla="*/ 104775 h 28"/>
                <a:gd name="T74" fmla="*/ 0 w 20"/>
                <a:gd name="T75" fmla="*/ 101033 h 28"/>
                <a:gd name="T76" fmla="*/ 0 w 20"/>
                <a:gd name="T77" fmla="*/ 82323 h 28"/>
                <a:gd name="T78" fmla="*/ 14923 w 20"/>
                <a:gd name="T79" fmla="*/ 86065 h 28"/>
                <a:gd name="T80" fmla="*/ 29845 w 20"/>
                <a:gd name="T81" fmla="*/ 86065 h 28"/>
                <a:gd name="T82" fmla="*/ 37307 w 20"/>
                <a:gd name="T83" fmla="*/ 86065 h 28"/>
                <a:gd name="T84" fmla="*/ 44768 w 20"/>
                <a:gd name="T85" fmla="*/ 86065 h 28"/>
                <a:gd name="T86" fmla="*/ 48498 w 20"/>
                <a:gd name="T87" fmla="*/ 82323 h 28"/>
                <a:gd name="T88" fmla="*/ 48498 w 20"/>
                <a:gd name="T89" fmla="*/ 74839 h 2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20" h="28">
                  <a:moveTo>
                    <a:pt x="13" y="20"/>
                  </a:moveTo>
                  <a:cubicBezTo>
                    <a:pt x="13" y="19"/>
                    <a:pt x="13" y="19"/>
                    <a:pt x="13" y="19"/>
                  </a:cubicBezTo>
                  <a:cubicBezTo>
                    <a:pt x="12" y="18"/>
                    <a:pt x="12" y="18"/>
                    <a:pt x="11" y="18"/>
                  </a:cubicBezTo>
                  <a:cubicBezTo>
                    <a:pt x="11" y="17"/>
                    <a:pt x="10" y="17"/>
                    <a:pt x="9" y="17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6" y="16"/>
                    <a:pt x="6" y="16"/>
                    <a:pt x="5" y="16"/>
                  </a:cubicBezTo>
                  <a:cubicBezTo>
                    <a:pt x="4" y="15"/>
                    <a:pt x="3" y="15"/>
                    <a:pt x="2" y="14"/>
                  </a:cubicBezTo>
                  <a:cubicBezTo>
                    <a:pt x="2" y="14"/>
                    <a:pt x="1" y="13"/>
                    <a:pt x="1" y="12"/>
                  </a:cubicBezTo>
                  <a:cubicBezTo>
                    <a:pt x="0" y="11"/>
                    <a:pt x="0" y="10"/>
                    <a:pt x="0" y="9"/>
                  </a:cubicBezTo>
                  <a:cubicBezTo>
                    <a:pt x="0" y="8"/>
                    <a:pt x="0" y="6"/>
                    <a:pt x="1" y="5"/>
                  </a:cubicBezTo>
                  <a:cubicBezTo>
                    <a:pt x="2" y="4"/>
                    <a:pt x="2" y="3"/>
                    <a:pt x="3" y="3"/>
                  </a:cubicBezTo>
                  <a:cubicBezTo>
                    <a:pt x="4" y="2"/>
                    <a:pt x="5" y="1"/>
                    <a:pt x="6" y="1"/>
                  </a:cubicBezTo>
                  <a:cubicBezTo>
                    <a:pt x="7" y="1"/>
                    <a:pt x="9" y="0"/>
                    <a:pt x="10" y="0"/>
                  </a:cubicBezTo>
                  <a:cubicBezTo>
                    <a:pt x="12" y="0"/>
                    <a:pt x="13" y="1"/>
                    <a:pt x="15" y="1"/>
                  </a:cubicBezTo>
                  <a:cubicBezTo>
                    <a:pt x="16" y="1"/>
                    <a:pt x="17" y="1"/>
                    <a:pt x="19" y="2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0" y="6"/>
                    <a:pt x="9" y="6"/>
                    <a:pt x="9" y="6"/>
                  </a:cubicBezTo>
                  <a:cubicBezTo>
                    <a:pt x="8" y="6"/>
                    <a:pt x="8" y="6"/>
                    <a:pt x="8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9"/>
                    <a:pt x="7" y="9"/>
                    <a:pt x="7" y="10"/>
                  </a:cubicBezTo>
                  <a:cubicBezTo>
                    <a:pt x="7" y="10"/>
                    <a:pt x="8" y="11"/>
                    <a:pt x="8" y="11"/>
                  </a:cubicBezTo>
                  <a:cubicBezTo>
                    <a:pt x="9" y="11"/>
                    <a:pt x="10" y="11"/>
                    <a:pt x="10" y="11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12"/>
                    <a:pt x="14" y="12"/>
                    <a:pt x="15" y="13"/>
                  </a:cubicBezTo>
                  <a:cubicBezTo>
                    <a:pt x="16" y="13"/>
                    <a:pt x="16" y="13"/>
                    <a:pt x="17" y="14"/>
                  </a:cubicBezTo>
                  <a:cubicBezTo>
                    <a:pt x="18" y="15"/>
                    <a:pt x="18" y="15"/>
                    <a:pt x="19" y="16"/>
                  </a:cubicBezTo>
                  <a:cubicBezTo>
                    <a:pt x="19" y="17"/>
                    <a:pt x="20" y="18"/>
                    <a:pt x="20" y="19"/>
                  </a:cubicBezTo>
                  <a:cubicBezTo>
                    <a:pt x="20" y="21"/>
                    <a:pt x="19" y="22"/>
                    <a:pt x="19" y="23"/>
                  </a:cubicBezTo>
                  <a:cubicBezTo>
                    <a:pt x="18" y="25"/>
                    <a:pt x="17" y="25"/>
                    <a:pt x="16" y="26"/>
                  </a:cubicBezTo>
                  <a:cubicBezTo>
                    <a:pt x="15" y="27"/>
                    <a:pt x="14" y="28"/>
                    <a:pt x="13" y="28"/>
                  </a:cubicBezTo>
                  <a:cubicBezTo>
                    <a:pt x="11" y="28"/>
                    <a:pt x="10" y="28"/>
                    <a:pt x="8" y="28"/>
                  </a:cubicBezTo>
                  <a:cubicBezTo>
                    <a:pt x="7" y="28"/>
                    <a:pt x="5" y="28"/>
                    <a:pt x="4" y="28"/>
                  </a:cubicBezTo>
                  <a:cubicBezTo>
                    <a:pt x="2" y="28"/>
                    <a:pt x="1" y="27"/>
                    <a:pt x="0" y="27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2" y="22"/>
                    <a:pt x="3" y="23"/>
                    <a:pt x="4" y="23"/>
                  </a:cubicBezTo>
                  <a:cubicBezTo>
                    <a:pt x="5" y="23"/>
                    <a:pt x="7" y="23"/>
                    <a:pt x="8" y="23"/>
                  </a:cubicBezTo>
                  <a:cubicBezTo>
                    <a:pt x="8" y="23"/>
                    <a:pt x="9" y="23"/>
                    <a:pt x="10" y="23"/>
                  </a:cubicBezTo>
                  <a:cubicBezTo>
                    <a:pt x="11" y="23"/>
                    <a:pt x="11" y="23"/>
                    <a:pt x="12" y="23"/>
                  </a:cubicBezTo>
                  <a:cubicBezTo>
                    <a:pt x="12" y="22"/>
                    <a:pt x="13" y="22"/>
                    <a:pt x="13" y="22"/>
                  </a:cubicBezTo>
                  <a:cubicBezTo>
                    <a:pt x="13" y="21"/>
                    <a:pt x="13" y="21"/>
                    <a:pt x="13" y="2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055" name="Freeform 29"/>
            <p:cNvSpPr>
              <a:spLocks/>
            </p:cNvSpPr>
            <p:nvPr userDrawn="1"/>
          </p:nvSpPr>
          <p:spPr bwMode="gray">
            <a:xfrm>
              <a:off x="11185525" y="3670300"/>
              <a:ext cx="76200" cy="101600"/>
            </a:xfrm>
            <a:custGeom>
              <a:avLst/>
              <a:gdLst>
                <a:gd name="T0" fmla="*/ 76200 w 20"/>
                <a:gd name="T1" fmla="*/ 97837 h 27"/>
                <a:gd name="T2" fmla="*/ 64770 w 20"/>
                <a:gd name="T3" fmla="*/ 101600 h 27"/>
                <a:gd name="T4" fmla="*/ 53340 w 20"/>
                <a:gd name="T5" fmla="*/ 101600 h 27"/>
                <a:gd name="T6" fmla="*/ 30480 w 20"/>
                <a:gd name="T7" fmla="*/ 97837 h 27"/>
                <a:gd name="T8" fmla="*/ 15240 w 20"/>
                <a:gd name="T9" fmla="*/ 90311 h 27"/>
                <a:gd name="T10" fmla="*/ 3810 w 20"/>
                <a:gd name="T11" fmla="*/ 75259 h 27"/>
                <a:gd name="T12" fmla="*/ 0 w 20"/>
                <a:gd name="T13" fmla="*/ 52681 h 27"/>
                <a:gd name="T14" fmla="*/ 3810 w 20"/>
                <a:gd name="T15" fmla="*/ 30104 h 27"/>
                <a:gd name="T16" fmla="*/ 15240 w 20"/>
                <a:gd name="T17" fmla="*/ 11289 h 27"/>
                <a:gd name="T18" fmla="*/ 34290 w 20"/>
                <a:gd name="T19" fmla="*/ 3763 h 27"/>
                <a:gd name="T20" fmla="*/ 53340 w 20"/>
                <a:gd name="T21" fmla="*/ 0 h 27"/>
                <a:gd name="T22" fmla="*/ 64770 w 20"/>
                <a:gd name="T23" fmla="*/ 0 h 27"/>
                <a:gd name="T24" fmla="*/ 76200 w 20"/>
                <a:gd name="T25" fmla="*/ 3763 h 27"/>
                <a:gd name="T26" fmla="*/ 76200 w 20"/>
                <a:gd name="T27" fmla="*/ 22578 h 27"/>
                <a:gd name="T28" fmla="*/ 64770 w 20"/>
                <a:gd name="T29" fmla="*/ 18815 h 27"/>
                <a:gd name="T30" fmla="*/ 57150 w 20"/>
                <a:gd name="T31" fmla="*/ 18815 h 27"/>
                <a:gd name="T32" fmla="*/ 45720 w 20"/>
                <a:gd name="T33" fmla="*/ 22578 h 27"/>
                <a:gd name="T34" fmla="*/ 34290 w 20"/>
                <a:gd name="T35" fmla="*/ 26341 h 27"/>
                <a:gd name="T36" fmla="*/ 26670 w 20"/>
                <a:gd name="T37" fmla="*/ 37630 h 27"/>
                <a:gd name="T38" fmla="*/ 26670 w 20"/>
                <a:gd name="T39" fmla="*/ 52681 h 27"/>
                <a:gd name="T40" fmla="*/ 26670 w 20"/>
                <a:gd name="T41" fmla="*/ 63970 h 27"/>
                <a:gd name="T42" fmla="*/ 34290 w 20"/>
                <a:gd name="T43" fmla="*/ 75259 h 27"/>
                <a:gd name="T44" fmla="*/ 41910 w 20"/>
                <a:gd name="T45" fmla="*/ 79022 h 27"/>
                <a:gd name="T46" fmla="*/ 53340 w 20"/>
                <a:gd name="T47" fmla="*/ 82785 h 27"/>
                <a:gd name="T48" fmla="*/ 68580 w 20"/>
                <a:gd name="T49" fmla="*/ 82785 h 27"/>
                <a:gd name="T50" fmla="*/ 76200 w 20"/>
                <a:gd name="T51" fmla="*/ 79022 h 27"/>
                <a:gd name="T52" fmla="*/ 76200 w 20"/>
                <a:gd name="T53" fmla="*/ 97837 h 27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20" h="27">
                  <a:moveTo>
                    <a:pt x="20" y="26"/>
                  </a:moveTo>
                  <a:cubicBezTo>
                    <a:pt x="19" y="26"/>
                    <a:pt x="18" y="27"/>
                    <a:pt x="17" y="27"/>
                  </a:cubicBezTo>
                  <a:cubicBezTo>
                    <a:pt x="16" y="27"/>
                    <a:pt x="15" y="27"/>
                    <a:pt x="14" y="27"/>
                  </a:cubicBezTo>
                  <a:cubicBezTo>
                    <a:pt x="12" y="27"/>
                    <a:pt x="10" y="27"/>
                    <a:pt x="8" y="26"/>
                  </a:cubicBezTo>
                  <a:cubicBezTo>
                    <a:pt x="7" y="26"/>
                    <a:pt x="5" y="25"/>
                    <a:pt x="4" y="24"/>
                  </a:cubicBezTo>
                  <a:cubicBezTo>
                    <a:pt x="3" y="23"/>
                    <a:pt x="2" y="22"/>
                    <a:pt x="1" y="20"/>
                  </a:cubicBezTo>
                  <a:cubicBezTo>
                    <a:pt x="0" y="18"/>
                    <a:pt x="0" y="16"/>
                    <a:pt x="0" y="14"/>
                  </a:cubicBezTo>
                  <a:cubicBezTo>
                    <a:pt x="0" y="12"/>
                    <a:pt x="0" y="10"/>
                    <a:pt x="1" y="8"/>
                  </a:cubicBezTo>
                  <a:cubicBezTo>
                    <a:pt x="2" y="6"/>
                    <a:pt x="3" y="4"/>
                    <a:pt x="4" y="3"/>
                  </a:cubicBezTo>
                  <a:cubicBezTo>
                    <a:pt x="6" y="2"/>
                    <a:pt x="7" y="1"/>
                    <a:pt x="9" y="1"/>
                  </a:cubicBezTo>
                  <a:cubicBezTo>
                    <a:pt x="10" y="0"/>
                    <a:pt x="12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1"/>
                    <a:pt x="20" y="1"/>
                  </a:cubicBezTo>
                  <a:cubicBezTo>
                    <a:pt x="20" y="6"/>
                    <a:pt x="20" y="6"/>
                    <a:pt x="20" y="6"/>
                  </a:cubicBezTo>
                  <a:cubicBezTo>
                    <a:pt x="19" y="6"/>
                    <a:pt x="18" y="6"/>
                    <a:pt x="17" y="5"/>
                  </a:cubicBezTo>
                  <a:cubicBezTo>
                    <a:pt x="16" y="5"/>
                    <a:pt x="15" y="5"/>
                    <a:pt x="15" y="5"/>
                  </a:cubicBezTo>
                  <a:cubicBezTo>
                    <a:pt x="14" y="5"/>
                    <a:pt x="13" y="5"/>
                    <a:pt x="12" y="6"/>
                  </a:cubicBezTo>
                  <a:cubicBezTo>
                    <a:pt x="11" y="6"/>
                    <a:pt x="10" y="6"/>
                    <a:pt x="9" y="7"/>
                  </a:cubicBezTo>
                  <a:cubicBezTo>
                    <a:pt x="8" y="8"/>
                    <a:pt x="8" y="9"/>
                    <a:pt x="7" y="10"/>
                  </a:cubicBezTo>
                  <a:cubicBezTo>
                    <a:pt x="7" y="11"/>
                    <a:pt x="7" y="12"/>
                    <a:pt x="7" y="14"/>
                  </a:cubicBezTo>
                  <a:cubicBezTo>
                    <a:pt x="7" y="15"/>
                    <a:pt x="7" y="16"/>
                    <a:pt x="7" y="17"/>
                  </a:cubicBezTo>
                  <a:cubicBezTo>
                    <a:pt x="7" y="18"/>
                    <a:pt x="8" y="19"/>
                    <a:pt x="9" y="20"/>
                  </a:cubicBezTo>
                  <a:cubicBezTo>
                    <a:pt x="9" y="20"/>
                    <a:pt x="10" y="21"/>
                    <a:pt x="11" y="21"/>
                  </a:cubicBezTo>
                  <a:cubicBezTo>
                    <a:pt x="12" y="22"/>
                    <a:pt x="13" y="22"/>
                    <a:pt x="14" y="22"/>
                  </a:cubicBezTo>
                  <a:cubicBezTo>
                    <a:pt x="16" y="22"/>
                    <a:pt x="17" y="22"/>
                    <a:pt x="18" y="22"/>
                  </a:cubicBezTo>
                  <a:cubicBezTo>
                    <a:pt x="19" y="22"/>
                    <a:pt x="19" y="21"/>
                    <a:pt x="20" y="21"/>
                  </a:cubicBezTo>
                  <a:lnTo>
                    <a:pt x="20" y="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056" name="Freeform 30"/>
            <p:cNvSpPr>
              <a:spLocks/>
            </p:cNvSpPr>
            <p:nvPr userDrawn="1"/>
          </p:nvSpPr>
          <p:spPr bwMode="gray">
            <a:xfrm>
              <a:off x="11283950" y="3621088"/>
              <a:ext cx="88900" cy="150812"/>
            </a:xfrm>
            <a:custGeom>
              <a:avLst/>
              <a:gdLst>
                <a:gd name="T0" fmla="*/ 25929 w 24"/>
                <a:gd name="T1" fmla="*/ 41473 h 40"/>
                <a:gd name="T2" fmla="*/ 25929 w 24"/>
                <a:gd name="T3" fmla="*/ 52784 h 40"/>
                <a:gd name="T4" fmla="*/ 22225 w 24"/>
                <a:gd name="T5" fmla="*/ 64095 h 40"/>
                <a:gd name="T6" fmla="*/ 22225 w 24"/>
                <a:gd name="T7" fmla="*/ 64095 h 40"/>
                <a:gd name="T8" fmla="*/ 29633 w 24"/>
                <a:gd name="T9" fmla="*/ 56555 h 40"/>
                <a:gd name="T10" fmla="*/ 37042 w 24"/>
                <a:gd name="T11" fmla="*/ 52784 h 40"/>
                <a:gd name="T12" fmla="*/ 44450 w 24"/>
                <a:gd name="T13" fmla="*/ 49014 h 40"/>
                <a:gd name="T14" fmla="*/ 55563 w 24"/>
                <a:gd name="T15" fmla="*/ 49014 h 40"/>
                <a:gd name="T16" fmla="*/ 62971 w 24"/>
                <a:gd name="T17" fmla="*/ 49014 h 40"/>
                <a:gd name="T18" fmla="*/ 74083 w 24"/>
                <a:gd name="T19" fmla="*/ 52784 h 40"/>
                <a:gd name="T20" fmla="*/ 77788 w 24"/>
                <a:gd name="T21" fmla="*/ 56555 h 40"/>
                <a:gd name="T22" fmla="*/ 85196 w 24"/>
                <a:gd name="T23" fmla="*/ 64095 h 40"/>
                <a:gd name="T24" fmla="*/ 88900 w 24"/>
                <a:gd name="T25" fmla="*/ 75406 h 40"/>
                <a:gd name="T26" fmla="*/ 88900 w 24"/>
                <a:gd name="T27" fmla="*/ 86717 h 40"/>
                <a:gd name="T28" fmla="*/ 88900 w 24"/>
                <a:gd name="T29" fmla="*/ 150812 h 40"/>
                <a:gd name="T30" fmla="*/ 66675 w 24"/>
                <a:gd name="T31" fmla="*/ 150812 h 40"/>
                <a:gd name="T32" fmla="*/ 66675 w 24"/>
                <a:gd name="T33" fmla="*/ 90487 h 40"/>
                <a:gd name="T34" fmla="*/ 66675 w 24"/>
                <a:gd name="T35" fmla="*/ 82947 h 40"/>
                <a:gd name="T36" fmla="*/ 62971 w 24"/>
                <a:gd name="T37" fmla="*/ 75406 h 40"/>
                <a:gd name="T38" fmla="*/ 59267 w 24"/>
                <a:gd name="T39" fmla="*/ 71636 h 40"/>
                <a:gd name="T40" fmla="*/ 48154 w 24"/>
                <a:gd name="T41" fmla="*/ 67865 h 40"/>
                <a:gd name="T42" fmla="*/ 37042 w 24"/>
                <a:gd name="T43" fmla="*/ 71636 h 40"/>
                <a:gd name="T44" fmla="*/ 25929 w 24"/>
                <a:gd name="T45" fmla="*/ 82947 h 40"/>
                <a:gd name="T46" fmla="*/ 25929 w 24"/>
                <a:gd name="T47" fmla="*/ 150812 h 40"/>
                <a:gd name="T48" fmla="*/ 0 w 24"/>
                <a:gd name="T49" fmla="*/ 150812 h 40"/>
                <a:gd name="T50" fmla="*/ 0 w 24"/>
                <a:gd name="T51" fmla="*/ 0 h 40"/>
                <a:gd name="T52" fmla="*/ 25929 w 24"/>
                <a:gd name="T53" fmla="*/ 0 h 40"/>
                <a:gd name="T54" fmla="*/ 25929 w 24"/>
                <a:gd name="T55" fmla="*/ 41473 h 4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24" h="40">
                  <a:moveTo>
                    <a:pt x="7" y="11"/>
                  </a:moveTo>
                  <a:cubicBezTo>
                    <a:pt x="7" y="12"/>
                    <a:pt x="7" y="13"/>
                    <a:pt x="7" y="14"/>
                  </a:cubicBezTo>
                  <a:cubicBezTo>
                    <a:pt x="7" y="15"/>
                    <a:pt x="7" y="16"/>
                    <a:pt x="6" y="17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7" y="16"/>
                    <a:pt x="7" y="16"/>
                    <a:pt x="8" y="15"/>
                  </a:cubicBezTo>
                  <a:cubicBezTo>
                    <a:pt x="8" y="15"/>
                    <a:pt x="9" y="14"/>
                    <a:pt x="10" y="14"/>
                  </a:cubicBezTo>
                  <a:cubicBezTo>
                    <a:pt x="10" y="14"/>
                    <a:pt x="11" y="13"/>
                    <a:pt x="12" y="13"/>
                  </a:cubicBezTo>
                  <a:cubicBezTo>
                    <a:pt x="13" y="13"/>
                    <a:pt x="14" y="13"/>
                    <a:pt x="15" y="13"/>
                  </a:cubicBezTo>
                  <a:cubicBezTo>
                    <a:pt x="16" y="13"/>
                    <a:pt x="16" y="13"/>
                    <a:pt x="17" y="13"/>
                  </a:cubicBezTo>
                  <a:cubicBezTo>
                    <a:pt x="18" y="13"/>
                    <a:pt x="19" y="13"/>
                    <a:pt x="20" y="14"/>
                  </a:cubicBezTo>
                  <a:cubicBezTo>
                    <a:pt x="20" y="14"/>
                    <a:pt x="21" y="15"/>
                    <a:pt x="21" y="15"/>
                  </a:cubicBezTo>
                  <a:cubicBezTo>
                    <a:pt x="22" y="16"/>
                    <a:pt x="23" y="16"/>
                    <a:pt x="23" y="17"/>
                  </a:cubicBezTo>
                  <a:cubicBezTo>
                    <a:pt x="23" y="18"/>
                    <a:pt x="24" y="19"/>
                    <a:pt x="24" y="20"/>
                  </a:cubicBezTo>
                  <a:cubicBezTo>
                    <a:pt x="24" y="21"/>
                    <a:pt x="24" y="22"/>
                    <a:pt x="24" y="23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18" y="40"/>
                    <a:pt x="18" y="40"/>
                    <a:pt x="18" y="40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8" y="23"/>
                    <a:pt x="18" y="22"/>
                    <a:pt x="18" y="22"/>
                  </a:cubicBezTo>
                  <a:cubicBezTo>
                    <a:pt x="17" y="21"/>
                    <a:pt x="17" y="21"/>
                    <a:pt x="17" y="20"/>
                  </a:cubicBezTo>
                  <a:cubicBezTo>
                    <a:pt x="17" y="20"/>
                    <a:pt x="16" y="19"/>
                    <a:pt x="16" y="19"/>
                  </a:cubicBezTo>
                  <a:cubicBezTo>
                    <a:pt x="15" y="18"/>
                    <a:pt x="14" y="18"/>
                    <a:pt x="13" y="18"/>
                  </a:cubicBezTo>
                  <a:cubicBezTo>
                    <a:pt x="12" y="18"/>
                    <a:pt x="11" y="18"/>
                    <a:pt x="10" y="19"/>
                  </a:cubicBezTo>
                  <a:cubicBezTo>
                    <a:pt x="8" y="20"/>
                    <a:pt x="8" y="20"/>
                    <a:pt x="7" y="22"/>
                  </a:cubicBezTo>
                  <a:cubicBezTo>
                    <a:pt x="7" y="40"/>
                    <a:pt x="7" y="40"/>
                    <a:pt x="7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lnTo>
                    <a:pt x="7" y="1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057" name="Freeform 31"/>
            <p:cNvSpPr>
              <a:spLocks noEditPoints="1"/>
            </p:cNvSpPr>
            <p:nvPr userDrawn="1"/>
          </p:nvSpPr>
          <p:spPr bwMode="gray">
            <a:xfrm>
              <a:off x="11396663" y="3670300"/>
              <a:ext cx="96838" cy="101600"/>
            </a:xfrm>
            <a:custGeom>
              <a:avLst/>
              <a:gdLst>
                <a:gd name="T0" fmla="*/ 96838 w 26"/>
                <a:gd name="T1" fmla="*/ 48919 h 27"/>
                <a:gd name="T2" fmla="*/ 93113 w 26"/>
                <a:gd name="T3" fmla="*/ 71496 h 27"/>
                <a:gd name="T4" fmla="*/ 85664 w 26"/>
                <a:gd name="T5" fmla="*/ 86548 h 27"/>
                <a:gd name="T6" fmla="*/ 70766 w 26"/>
                <a:gd name="T7" fmla="*/ 97837 h 27"/>
                <a:gd name="T8" fmla="*/ 48419 w 26"/>
                <a:gd name="T9" fmla="*/ 101600 h 27"/>
                <a:gd name="T10" fmla="*/ 29796 w 26"/>
                <a:gd name="T11" fmla="*/ 97837 h 27"/>
                <a:gd name="T12" fmla="*/ 14898 w 26"/>
                <a:gd name="T13" fmla="*/ 86548 h 27"/>
                <a:gd name="T14" fmla="*/ 3725 w 26"/>
                <a:gd name="T15" fmla="*/ 71496 h 27"/>
                <a:gd name="T16" fmla="*/ 3725 w 26"/>
                <a:gd name="T17" fmla="*/ 30104 h 27"/>
                <a:gd name="T18" fmla="*/ 14898 w 26"/>
                <a:gd name="T19" fmla="*/ 11289 h 27"/>
                <a:gd name="T20" fmla="*/ 29796 w 26"/>
                <a:gd name="T21" fmla="*/ 3763 h 27"/>
                <a:gd name="T22" fmla="*/ 48419 w 26"/>
                <a:gd name="T23" fmla="*/ 0 h 27"/>
                <a:gd name="T24" fmla="*/ 70766 w 26"/>
                <a:gd name="T25" fmla="*/ 3763 h 27"/>
                <a:gd name="T26" fmla="*/ 85664 w 26"/>
                <a:gd name="T27" fmla="*/ 11289 h 27"/>
                <a:gd name="T28" fmla="*/ 93113 w 26"/>
                <a:gd name="T29" fmla="*/ 30104 h 27"/>
                <a:gd name="T30" fmla="*/ 96838 w 26"/>
                <a:gd name="T31" fmla="*/ 48919 h 27"/>
                <a:gd name="T32" fmla="*/ 70766 w 26"/>
                <a:gd name="T33" fmla="*/ 48919 h 27"/>
                <a:gd name="T34" fmla="*/ 70766 w 26"/>
                <a:gd name="T35" fmla="*/ 37630 h 27"/>
                <a:gd name="T36" fmla="*/ 67042 w 26"/>
                <a:gd name="T37" fmla="*/ 26341 h 27"/>
                <a:gd name="T38" fmla="*/ 59593 w 26"/>
                <a:gd name="T39" fmla="*/ 18815 h 27"/>
                <a:gd name="T40" fmla="*/ 48419 w 26"/>
                <a:gd name="T41" fmla="*/ 18815 h 27"/>
                <a:gd name="T42" fmla="*/ 37245 w 26"/>
                <a:gd name="T43" fmla="*/ 18815 h 27"/>
                <a:gd name="T44" fmla="*/ 29796 w 26"/>
                <a:gd name="T45" fmla="*/ 26341 h 27"/>
                <a:gd name="T46" fmla="*/ 26072 w 26"/>
                <a:gd name="T47" fmla="*/ 37630 h 27"/>
                <a:gd name="T48" fmla="*/ 26072 w 26"/>
                <a:gd name="T49" fmla="*/ 63970 h 27"/>
                <a:gd name="T50" fmla="*/ 29796 w 26"/>
                <a:gd name="T51" fmla="*/ 75259 h 27"/>
                <a:gd name="T52" fmla="*/ 37245 w 26"/>
                <a:gd name="T53" fmla="*/ 79022 h 27"/>
                <a:gd name="T54" fmla="*/ 59593 w 26"/>
                <a:gd name="T55" fmla="*/ 79022 h 27"/>
                <a:gd name="T56" fmla="*/ 67042 w 26"/>
                <a:gd name="T57" fmla="*/ 75259 h 27"/>
                <a:gd name="T58" fmla="*/ 70766 w 26"/>
                <a:gd name="T59" fmla="*/ 63970 h 27"/>
                <a:gd name="T60" fmla="*/ 70766 w 26"/>
                <a:gd name="T61" fmla="*/ 48919 h 27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26" h="27">
                  <a:moveTo>
                    <a:pt x="26" y="13"/>
                  </a:moveTo>
                  <a:cubicBezTo>
                    <a:pt x="26" y="15"/>
                    <a:pt x="26" y="17"/>
                    <a:pt x="25" y="19"/>
                  </a:cubicBezTo>
                  <a:cubicBezTo>
                    <a:pt x="25" y="21"/>
                    <a:pt x="24" y="22"/>
                    <a:pt x="23" y="23"/>
                  </a:cubicBezTo>
                  <a:cubicBezTo>
                    <a:pt x="21" y="25"/>
                    <a:pt x="20" y="26"/>
                    <a:pt x="19" y="26"/>
                  </a:cubicBezTo>
                  <a:cubicBezTo>
                    <a:pt x="17" y="27"/>
                    <a:pt x="15" y="27"/>
                    <a:pt x="13" y="27"/>
                  </a:cubicBezTo>
                  <a:cubicBezTo>
                    <a:pt x="11" y="27"/>
                    <a:pt x="9" y="27"/>
                    <a:pt x="8" y="26"/>
                  </a:cubicBezTo>
                  <a:cubicBezTo>
                    <a:pt x="6" y="26"/>
                    <a:pt x="5" y="25"/>
                    <a:pt x="4" y="23"/>
                  </a:cubicBezTo>
                  <a:cubicBezTo>
                    <a:pt x="2" y="22"/>
                    <a:pt x="2" y="21"/>
                    <a:pt x="1" y="19"/>
                  </a:cubicBezTo>
                  <a:cubicBezTo>
                    <a:pt x="0" y="15"/>
                    <a:pt x="0" y="11"/>
                    <a:pt x="1" y="8"/>
                  </a:cubicBezTo>
                  <a:cubicBezTo>
                    <a:pt x="2" y="6"/>
                    <a:pt x="2" y="5"/>
                    <a:pt x="4" y="3"/>
                  </a:cubicBezTo>
                  <a:cubicBezTo>
                    <a:pt x="5" y="2"/>
                    <a:pt x="6" y="1"/>
                    <a:pt x="8" y="1"/>
                  </a:cubicBezTo>
                  <a:cubicBezTo>
                    <a:pt x="10" y="0"/>
                    <a:pt x="11" y="0"/>
                    <a:pt x="13" y="0"/>
                  </a:cubicBezTo>
                  <a:cubicBezTo>
                    <a:pt x="15" y="0"/>
                    <a:pt x="17" y="0"/>
                    <a:pt x="19" y="1"/>
                  </a:cubicBezTo>
                  <a:cubicBezTo>
                    <a:pt x="20" y="1"/>
                    <a:pt x="22" y="2"/>
                    <a:pt x="23" y="3"/>
                  </a:cubicBezTo>
                  <a:cubicBezTo>
                    <a:pt x="24" y="5"/>
                    <a:pt x="25" y="6"/>
                    <a:pt x="25" y="8"/>
                  </a:cubicBezTo>
                  <a:cubicBezTo>
                    <a:pt x="26" y="10"/>
                    <a:pt x="26" y="12"/>
                    <a:pt x="26" y="13"/>
                  </a:cubicBezTo>
                  <a:close/>
                  <a:moveTo>
                    <a:pt x="19" y="13"/>
                  </a:moveTo>
                  <a:cubicBezTo>
                    <a:pt x="19" y="12"/>
                    <a:pt x="19" y="11"/>
                    <a:pt x="19" y="10"/>
                  </a:cubicBezTo>
                  <a:cubicBezTo>
                    <a:pt x="19" y="9"/>
                    <a:pt x="18" y="8"/>
                    <a:pt x="18" y="7"/>
                  </a:cubicBezTo>
                  <a:cubicBezTo>
                    <a:pt x="17" y="6"/>
                    <a:pt x="16" y="6"/>
                    <a:pt x="16" y="5"/>
                  </a:cubicBezTo>
                  <a:cubicBezTo>
                    <a:pt x="15" y="5"/>
                    <a:pt x="14" y="5"/>
                    <a:pt x="13" y="5"/>
                  </a:cubicBezTo>
                  <a:cubicBezTo>
                    <a:pt x="12" y="5"/>
                    <a:pt x="11" y="5"/>
                    <a:pt x="10" y="5"/>
                  </a:cubicBezTo>
                  <a:cubicBezTo>
                    <a:pt x="9" y="6"/>
                    <a:pt x="9" y="6"/>
                    <a:pt x="8" y="7"/>
                  </a:cubicBezTo>
                  <a:cubicBezTo>
                    <a:pt x="8" y="8"/>
                    <a:pt x="7" y="9"/>
                    <a:pt x="7" y="10"/>
                  </a:cubicBezTo>
                  <a:cubicBezTo>
                    <a:pt x="6" y="12"/>
                    <a:pt x="6" y="15"/>
                    <a:pt x="7" y="17"/>
                  </a:cubicBezTo>
                  <a:cubicBezTo>
                    <a:pt x="7" y="18"/>
                    <a:pt x="8" y="19"/>
                    <a:pt x="8" y="20"/>
                  </a:cubicBezTo>
                  <a:cubicBezTo>
                    <a:pt x="9" y="21"/>
                    <a:pt x="9" y="21"/>
                    <a:pt x="10" y="21"/>
                  </a:cubicBezTo>
                  <a:cubicBezTo>
                    <a:pt x="12" y="22"/>
                    <a:pt x="14" y="22"/>
                    <a:pt x="16" y="21"/>
                  </a:cubicBezTo>
                  <a:cubicBezTo>
                    <a:pt x="16" y="21"/>
                    <a:pt x="17" y="21"/>
                    <a:pt x="18" y="20"/>
                  </a:cubicBezTo>
                  <a:cubicBezTo>
                    <a:pt x="18" y="19"/>
                    <a:pt x="19" y="18"/>
                    <a:pt x="19" y="17"/>
                  </a:cubicBezTo>
                  <a:cubicBezTo>
                    <a:pt x="19" y="16"/>
                    <a:pt x="19" y="15"/>
                    <a:pt x="19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058" name="Freeform 32"/>
            <p:cNvSpPr>
              <a:spLocks noEditPoints="1"/>
            </p:cNvSpPr>
            <p:nvPr userDrawn="1"/>
          </p:nvSpPr>
          <p:spPr bwMode="gray">
            <a:xfrm>
              <a:off x="11515725" y="3621088"/>
              <a:ext cx="26988" cy="150812"/>
            </a:xfrm>
            <a:custGeom>
              <a:avLst/>
              <a:gdLst>
                <a:gd name="T0" fmla="*/ 0 w 17"/>
                <a:gd name="T1" fmla="*/ 0 h 95"/>
                <a:gd name="T2" fmla="*/ 26988 w 17"/>
                <a:gd name="T3" fmla="*/ 0 h 95"/>
                <a:gd name="T4" fmla="*/ 26988 w 17"/>
                <a:gd name="T5" fmla="*/ 26987 h 95"/>
                <a:gd name="T6" fmla="*/ 0 w 17"/>
                <a:gd name="T7" fmla="*/ 26987 h 95"/>
                <a:gd name="T8" fmla="*/ 0 w 17"/>
                <a:gd name="T9" fmla="*/ 0 h 95"/>
                <a:gd name="T10" fmla="*/ 0 w 17"/>
                <a:gd name="T11" fmla="*/ 49212 h 95"/>
                <a:gd name="T12" fmla="*/ 22225 w 17"/>
                <a:gd name="T13" fmla="*/ 49212 h 95"/>
                <a:gd name="T14" fmla="*/ 22225 w 17"/>
                <a:gd name="T15" fmla="*/ 150812 h 95"/>
                <a:gd name="T16" fmla="*/ 0 w 17"/>
                <a:gd name="T17" fmla="*/ 150812 h 95"/>
                <a:gd name="T18" fmla="*/ 0 w 17"/>
                <a:gd name="T19" fmla="*/ 49212 h 9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7" h="95">
                  <a:moveTo>
                    <a:pt x="0" y="0"/>
                  </a:move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  <a:lnTo>
                    <a:pt x="0" y="0"/>
                  </a:lnTo>
                  <a:close/>
                  <a:moveTo>
                    <a:pt x="0" y="31"/>
                  </a:moveTo>
                  <a:lnTo>
                    <a:pt x="14" y="31"/>
                  </a:lnTo>
                  <a:lnTo>
                    <a:pt x="14" y="95"/>
                  </a:lnTo>
                  <a:lnTo>
                    <a:pt x="0" y="95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059" name="Freeform 33"/>
            <p:cNvSpPr>
              <a:spLocks/>
            </p:cNvSpPr>
            <p:nvPr userDrawn="1"/>
          </p:nvSpPr>
          <p:spPr bwMode="gray">
            <a:xfrm>
              <a:off x="11560175" y="3670300"/>
              <a:ext cx="79375" cy="101600"/>
            </a:xfrm>
            <a:custGeom>
              <a:avLst/>
              <a:gdLst>
                <a:gd name="T0" fmla="*/ 79375 w 21"/>
                <a:gd name="T1" fmla="*/ 97837 h 27"/>
                <a:gd name="T2" fmla="*/ 68036 w 21"/>
                <a:gd name="T3" fmla="*/ 101600 h 27"/>
                <a:gd name="T4" fmla="*/ 52917 w 21"/>
                <a:gd name="T5" fmla="*/ 101600 h 27"/>
                <a:gd name="T6" fmla="*/ 34018 w 21"/>
                <a:gd name="T7" fmla="*/ 97837 h 27"/>
                <a:gd name="T8" fmla="*/ 15119 w 21"/>
                <a:gd name="T9" fmla="*/ 90311 h 27"/>
                <a:gd name="T10" fmla="*/ 3780 w 21"/>
                <a:gd name="T11" fmla="*/ 75259 h 27"/>
                <a:gd name="T12" fmla="*/ 0 w 21"/>
                <a:gd name="T13" fmla="*/ 52681 h 27"/>
                <a:gd name="T14" fmla="*/ 7560 w 21"/>
                <a:gd name="T15" fmla="*/ 30104 h 27"/>
                <a:gd name="T16" fmla="*/ 34018 w 21"/>
                <a:gd name="T17" fmla="*/ 3763 h 27"/>
                <a:gd name="T18" fmla="*/ 52917 w 21"/>
                <a:gd name="T19" fmla="*/ 0 h 27"/>
                <a:gd name="T20" fmla="*/ 64256 w 21"/>
                <a:gd name="T21" fmla="*/ 0 h 27"/>
                <a:gd name="T22" fmla="*/ 75595 w 21"/>
                <a:gd name="T23" fmla="*/ 3763 h 27"/>
                <a:gd name="T24" fmla="*/ 75595 w 21"/>
                <a:gd name="T25" fmla="*/ 22578 h 27"/>
                <a:gd name="T26" fmla="*/ 68036 w 21"/>
                <a:gd name="T27" fmla="*/ 18815 h 27"/>
                <a:gd name="T28" fmla="*/ 56696 w 21"/>
                <a:gd name="T29" fmla="*/ 18815 h 27"/>
                <a:gd name="T30" fmla="*/ 45357 w 21"/>
                <a:gd name="T31" fmla="*/ 22578 h 27"/>
                <a:gd name="T32" fmla="*/ 34018 w 21"/>
                <a:gd name="T33" fmla="*/ 26341 h 27"/>
                <a:gd name="T34" fmla="*/ 30238 w 21"/>
                <a:gd name="T35" fmla="*/ 37630 h 27"/>
                <a:gd name="T36" fmla="*/ 26458 w 21"/>
                <a:gd name="T37" fmla="*/ 52681 h 27"/>
                <a:gd name="T38" fmla="*/ 26458 w 21"/>
                <a:gd name="T39" fmla="*/ 63970 h 27"/>
                <a:gd name="T40" fmla="*/ 34018 w 21"/>
                <a:gd name="T41" fmla="*/ 75259 h 27"/>
                <a:gd name="T42" fmla="*/ 41577 w 21"/>
                <a:gd name="T43" fmla="*/ 79022 h 27"/>
                <a:gd name="T44" fmla="*/ 56696 w 21"/>
                <a:gd name="T45" fmla="*/ 82785 h 27"/>
                <a:gd name="T46" fmla="*/ 68036 w 21"/>
                <a:gd name="T47" fmla="*/ 82785 h 27"/>
                <a:gd name="T48" fmla="*/ 79375 w 21"/>
                <a:gd name="T49" fmla="*/ 79022 h 27"/>
                <a:gd name="T50" fmla="*/ 79375 w 21"/>
                <a:gd name="T51" fmla="*/ 97837 h 27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21" h="27">
                  <a:moveTo>
                    <a:pt x="21" y="26"/>
                  </a:moveTo>
                  <a:cubicBezTo>
                    <a:pt x="20" y="26"/>
                    <a:pt x="19" y="27"/>
                    <a:pt x="18" y="27"/>
                  </a:cubicBezTo>
                  <a:cubicBezTo>
                    <a:pt x="16" y="27"/>
                    <a:pt x="15" y="27"/>
                    <a:pt x="14" y="27"/>
                  </a:cubicBezTo>
                  <a:cubicBezTo>
                    <a:pt x="12" y="27"/>
                    <a:pt x="10" y="27"/>
                    <a:pt x="9" y="26"/>
                  </a:cubicBezTo>
                  <a:cubicBezTo>
                    <a:pt x="7" y="26"/>
                    <a:pt x="5" y="25"/>
                    <a:pt x="4" y="24"/>
                  </a:cubicBezTo>
                  <a:cubicBezTo>
                    <a:pt x="3" y="23"/>
                    <a:pt x="2" y="22"/>
                    <a:pt x="1" y="20"/>
                  </a:cubicBezTo>
                  <a:cubicBezTo>
                    <a:pt x="1" y="18"/>
                    <a:pt x="0" y="16"/>
                    <a:pt x="0" y="14"/>
                  </a:cubicBezTo>
                  <a:cubicBezTo>
                    <a:pt x="0" y="12"/>
                    <a:pt x="1" y="10"/>
                    <a:pt x="2" y="8"/>
                  </a:cubicBezTo>
                  <a:cubicBezTo>
                    <a:pt x="3" y="4"/>
                    <a:pt x="6" y="2"/>
                    <a:pt x="9" y="1"/>
                  </a:cubicBezTo>
                  <a:cubicBezTo>
                    <a:pt x="11" y="0"/>
                    <a:pt x="12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1"/>
                    <a:pt x="20" y="1"/>
                  </a:cubicBezTo>
                  <a:cubicBezTo>
                    <a:pt x="20" y="6"/>
                    <a:pt x="20" y="6"/>
                    <a:pt x="20" y="6"/>
                  </a:cubicBezTo>
                  <a:cubicBezTo>
                    <a:pt x="19" y="6"/>
                    <a:pt x="19" y="6"/>
                    <a:pt x="18" y="5"/>
                  </a:cubicBezTo>
                  <a:cubicBezTo>
                    <a:pt x="17" y="5"/>
                    <a:pt x="16" y="5"/>
                    <a:pt x="15" y="5"/>
                  </a:cubicBezTo>
                  <a:cubicBezTo>
                    <a:pt x="14" y="5"/>
                    <a:pt x="13" y="5"/>
                    <a:pt x="12" y="6"/>
                  </a:cubicBezTo>
                  <a:cubicBezTo>
                    <a:pt x="11" y="6"/>
                    <a:pt x="10" y="6"/>
                    <a:pt x="9" y="7"/>
                  </a:cubicBezTo>
                  <a:cubicBezTo>
                    <a:pt x="9" y="8"/>
                    <a:pt x="8" y="9"/>
                    <a:pt x="8" y="10"/>
                  </a:cubicBezTo>
                  <a:cubicBezTo>
                    <a:pt x="7" y="11"/>
                    <a:pt x="7" y="12"/>
                    <a:pt x="7" y="14"/>
                  </a:cubicBezTo>
                  <a:cubicBezTo>
                    <a:pt x="7" y="15"/>
                    <a:pt x="7" y="16"/>
                    <a:pt x="7" y="17"/>
                  </a:cubicBezTo>
                  <a:cubicBezTo>
                    <a:pt x="8" y="18"/>
                    <a:pt x="8" y="19"/>
                    <a:pt x="9" y="20"/>
                  </a:cubicBezTo>
                  <a:cubicBezTo>
                    <a:pt x="10" y="20"/>
                    <a:pt x="10" y="21"/>
                    <a:pt x="11" y="21"/>
                  </a:cubicBezTo>
                  <a:cubicBezTo>
                    <a:pt x="12" y="22"/>
                    <a:pt x="14" y="22"/>
                    <a:pt x="15" y="22"/>
                  </a:cubicBezTo>
                  <a:cubicBezTo>
                    <a:pt x="16" y="22"/>
                    <a:pt x="17" y="22"/>
                    <a:pt x="18" y="22"/>
                  </a:cubicBezTo>
                  <a:cubicBezTo>
                    <a:pt x="19" y="22"/>
                    <a:pt x="20" y="21"/>
                    <a:pt x="21" y="21"/>
                  </a:cubicBezTo>
                  <a:lnTo>
                    <a:pt x="21" y="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060" name="Freeform 34"/>
            <p:cNvSpPr>
              <a:spLocks noEditPoints="1"/>
            </p:cNvSpPr>
            <p:nvPr userDrawn="1"/>
          </p:nvSpPr>
          <p:spPr bwMode="gray">
            <a:xfrm>
              <a:off x="11655425" y="3670300"/>
              <a:ext cx="88900" cy="101600"/>
            </a:xfrm>
            <a:custGeom>
              <a:avLst/>
              <a:gdLst>
                <a:gd name="T0" fmla="*/ 55563 w 24"/>
                <a:gd name="T1" fmla="*/ 82785 h 27"/>
                <a:gd name="T2" fmla="*/ 70379 w 24"/>
                <a:gd name="T3" fmla="*/ 82785 h 27"/>
                <a:gd name="T4" fmla="*/ 85196 w 24"/>
                <a:gd name="T5" fmla="*/ 79022 h 27"/>
                <a:gd name="T6" fmla="*/ 85196 w 24"/>
                <a:gd name="T7" fmla="*/ 97837 h 27"/>
                <a:gd name="T8" fmla="*/ 70379 w 24"/>
                <a:gd name="T9" fmla="*/ 101600 h 27"/>
                <a:gd name="T10" fmla="*/ 48154 w 24"/>
                <a:gd name="T11" fmla="*/ 101600 h 27"/>
                <a:gd name="T12" fmla="*/ 29633 w 24"/>
                <a:gd name="T13" fmla="*/ 101600 h 27"/>
                <a:gd name="T14" fmla="*/ 14817 w 24"/>
                <a:gd name="T15" fmla="*/ 90311 h 27"/>
                <a:gd name="T16" fmla="*/ 3704 w 24"/>
                <a:gd name="T17" fmla="*/ 75259 h 27"/>
                <a:gd name="T18" fmla="*/ 0 w 24"/>
                <a:gd name="T19" fmla="*/ 52681 h 27"/>
                <a:gd name="T20" fmla="*/ 3704 w 24"/>
                <a:gd name="T21" fmla="*/ 30104 h 27"/>
                <a:gd name="T22" fmla="*/ 14817 w 24"/>
                <a:gd name="T23" fmla="*/ 11289 h 27"/>
                <a:gd name="T24" fmla="*/ 29633 w 24"/>
                <a:gd name="T25" fmla="*/ 3763 h 27"/>
                <a:gd name="T26" fmla="*/ 44450 w 24"/>
                <a:gd name="T27" fmla="*/ 0 h 27"/>
                <a:gd name="T28" fmla="*/ 62971 w 24"/>
                <a:gd name="T29" fmla="*/ 0 h 27"/>
                <a:gd name="T30" fmla="*/ 77788 w 24"/>
                <a:gd name="T31" fmla="*/ 11289 h 27"/>
                <a:gd name="T32" fmla="*/ 85196 w 24"/>
                <a:gd name="T33" fmla="*/ 26341 h 27"/>
                <a:gd name="T34" fmla="*/ 88900 w 24"/>
                <a:gd name="T35" fmla="*/ 48919 h 27"/>
                <a:gd name="T36" fmla="*/ 88900 w 24"/>
                <a:gd name="T37" fmla="*/ 56444 h 27"/>
                <a:gd name="T38" fmla="*/ 25929 w 24"/>
                <a:gd name="T39" fmla="*/ 56444 h 27"/>
                <a:gd name="T40" fmla="*/ 25929 w 24"/>
                <a:gd name="T41" fmla="*/ 67733 h 27"/>
                <a:gd name="T42" fmla="*/ 33338 w 24"/>
                <a:gd name="T43" fmla="*/ 75259 h 27"/>
                <a:gd name="T44" fmla="*/ 44450 w 24"/>
                <a:gd name="T45" fmla="*/ 82785 h 27"/>
                <a:gd name="T46" fmla="*/ 55563 w 24"/>
                <a:gd name="T47" fmla="*/ 82785 h 27"/>
                <a:gd name="T48" fmla="*/ 44450 w 24"/>
                <a:gd name="T49" fmla="*/ 18815 h 27"/>
                <a:gd name="T50" fmla="*/ 37042 w 24"/>
                <a:gd name="T51" fmla="*/ 18815 h 27"/>
                <a:gd name="T52" fmla="*/ 29633 w 24"/>
                <a:gd name="T53" fmla="*/ 22578 h 27"/>
                <a:gd name="T54" fmla="*/ 25929 w 24"/>
                <a:gd name="T55" fmla="*/ 30104 h 27"/>
                <a:gd name="T56" fmla="*/ 25929 w 24"/>
                <a:gd name="T57" fmla="*/ 37630 h 27"/>
                <a:gd name="T58" fmla="*/ 62971 w 24"/>
                <a:gd name="T59" fmla="*/ 37630 h 27"/>
                <a:gd name="T60" fmla="*/ 62971 w 24"/>
                <a:gd name="T61" fmla="*/ 30104 h 27"/>
                <a:gd name="T62" fmla="*/ 59267 w 24"/>
                <a:gd name="T63" fmla="*/ 22578 h 27"/>
                <a:gd name="T64" fmla="*/ 51858 w 24"/>
                <a:gd name="T65" fmla="*/ 18815 h 27"/>
                <a:gd name="T66" fmla="*/ 44450 w 24"/>
                <a:gd name="T67" fmla="*/ 18815 h 27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24" h="27">
                  <a:moveTo>
                    <a:pt x="15" y="22"/>
                  </a:moveTo>
                  <a:cubicBezTo>
                    <a:pt x="16" y="22"/>
                    <a:pt x="17" y="22"/>
                    <a:pt x="19" y="22"/>
                  </a:cubicBezTo>
                  <a:cubicBezTo>
                    <a:pt x="20" y="21"/>
                    <a:pt x="21" y="21"/>
                    <a:pt x="23" y="21"/>
                  </a:cubicBezTo>
                  <a:cubicBezTo>
                    <a:pt x="23" y="26"/>
                    <a:pt x="23" y="26"/>
                    <a:pt x="23" y="26"/>
                  </a:cubicBezTo>
                  <a:cubicBezTo>
                    <a:pt x="21" y="26"/>
                    <a:pt x="20" y="27"/>
                    <a:pt x="19" y="27"/>
                  </a:cubicBezTo>
                  <a:cubicBezTo>
                    <a:pt x="17" y="27"/>
                    <a:pt x="15" y="27"/>
                    <a:pt x="13" y="27"/>
                  </a:cubicBezTo>
                  <a:cubicBezTo>
                    <a:pt x="12" y="27"/>
                    <a:pt x="10" y="27"/>
                    <a:pt x="8" y="27"/>
                  </a:cubicBezTo>
                  <a:cubicBezTo>
                    <a:pt x="7" y="26"/>
                    <a:pt x="5" y="25"/>
                    <a:pt x="4" y="24"/>
                  </a:cubicBezTo>
                  <a:cubicBezTo>
                    <a:pt x="3" y="23"/>
                    <a:pt x="2" y="22"/>
                    <a:pt x="1" y="20"/>
                  </a:cubicBezTo>
                  <a:cubicBezTo>
                    <a:pt x="0" y="18"/>
                    <a:pt x="0" y="16"/>
                    <a:pt x="0" y="14"/>
                  </a:cubicBezTo>
                  <a:cubicBezTo>
                    <a:pt x="0" y="12"/>
                    <a:pt x="0" y="10"/>
                    <a:pt x="1" y="8"/>
                  </a:cubicBezTo>
                  <a:cubicBezTo>
                    <a:pt x="2" y="6"/>
                    <a:pt x="3" y="4"/>
                    <a:pt x="4" y="3"/>
                  </a:cubicBezTo>
                  <a:cubicBezTo>
                    <a:pt x="5" y="2"/>
                    <a:pt x="6" y="1"/>
                    <a:pt x="8" y="1"/>
                  </a:cubicBezTo>
                  <a:cubicBezTo>
                    <a:pt x="9" y="0"/>
                    <a:pt x="11" y="0"/>
                    <a:pt x="12" y="0"/>
                  </a:cubicBezTo>
                  <a:cubicBezTo>
                    <a:pt x="14" y="0"/>
                    <a:pt x="15" y="0"/>
                    <a:pt x="17" y="0"/>
                  </a:cubicBezTo>
                  <a:cubicBezTo>
                    <a:pt x="18" y="1"/>
                    <a:pt x="20" y="2"/>
                    <a:pt x="21" y="3"/>
                  </a:cubicBezTo>
                  <a:cubicBezTo>
                    <a:pt x="22" y="4"/>
                    <a:pt x="22" y="5"/>
                    <a:pt x="23" y="7"/>
                  </a:cubicBezTo>
                  <a:cubicBezTo>
                    <a:pt x="24" y="9"/>
                    <a:pt x="24" y="11"/>
                    <a:pt x="24" y="13"/>
                  </a:cubicBezTo>
                  <a:cubicBezTo>
                    <a:pt x="24" y="14"/>
                    <a:pt x="24" y="15"/>
                    <a:pt x="24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6"/>
                    <a:pt x="7" y="17"/>
                    <a:pt x="7" y="18"/>
                  </a:cubicBezTo>
                  <a:cubicBezTo>
                    <a:pt x="8" y="19"/>
                    <a:pt x="8" y="20"/>
                    <a:pt x="9" y="20"/>
                  </a:cubicBezTo>
                  <a:cubicBezTo>
                    <a:pt x="10" y="21"/>
                    <a:pt x="11" y="21"/>
                    <a:pt x="12" y="22"/>
                  </a:cubicBezTo>
                  <a:cubicBezTo>
                    <a:pt x="13" y="22"/>
                    <a:pt x="14" y="22"/>
                    <a:pt x="15" y="22"/>
                  </a:cubicBezTo>
                  <a:close/>
                  <a:moveTo>
                    <a:pt x="12" y="5"/>
                  </a:moveTo>
                  <a:cubicBezTo>
                    <a:pt x="11" y="5"/>
                    <a:pt x="11" y="5"/>
                    <a:pt x="10" y="5"/>
                  </a:cubicBezTo>
                  <a:cubicBezTo>
                    <a:pt x="9" y="5"/>
                    <a:pt x="9" y="6"/>
                    <a:pt x="8" y="6"/>
                  </a:cubicBezTo>
                  <a:cubicBezTo>
                    <a:pt x="8" y="7"/>
                    <a:pt x="7" y="7"/>
                    <a:pt x="7" y="8"/>
                  </a:cubicBezTo>
                  <a:cubicBezTo>
                    <a:pt x="7" y="9"/>
                    <a:pt x="7" y="10"/>
                    <a:pt x="7" y="1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7" y="10"/>
                    <a:pt x="17" y="9"/>
                    <a:pt x="17" y="8"/>
                  </a:cubicBezTo>
                  <a:cubicBezTo>
                    <a:pt x="17" y="7"/>
                    <a:pt x="16" y="7"/>
                    <a:pt x="16" y="6"/>
                  </a:cubicBezTo>
                  <a:cubicBezTo>
                    <a:pt x="15" y="6"/>
                    <a:pt x="15" y="5"/>
                    <a:pt x="14" y="5"/>
                  </a:cubicBezTo>
                  <a:cubicBezTo>
                    <a:pt x="14" y="5"/>
                    <a:pt x="13" y="5"/>
                    <a:pt x="12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800"/>
            </a:p>
          </p:txBody>
        </p:sp>
      </p:grpSp>
    </p:spTree>
    <p:extLst>
      <p:ext uri="{BB962C8B-B14F-4D97-AF65-F5344CB8AC3E}">
        <p14:creationId xmlns:p14="http://schemas.microsoft.com/office/powerpoint/2010/main" val="21416210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  <p:sldLayoutId id="2147483691" r:id="rId19"/>
    <p:sldLayoutId id="2147483692" r:id="rId20"/>
    <p:sldLayoutId id="2147483693" r:id="rId21"/>
    <p:sldLayoutId id="2147483694" r:id="rId22"/>
    <p:sldLayoutId id="2147483695" r:id="rId23"/>
    <p:sldLayoutId id="2147483696" r:id="rId24"/>
    <p:sldLayoutId id="2147483697" r:id="rId25"/>
    <p:sldLayoutId id="2147483698" r:id="rId26"/>
    <p:sldLayoutId id="2147483699" r:id="rId27"/>
    <p:sldLayoutId id="2147483700" r:id="rId28"/>
  </p:sldLayoutIdLst>
  <p:transition spd="med">
    <p:fade/>
  </p:transition>
  <p:hf hdr="0" ftr="0"/>
  <p:txStyles>
    <p:titleStyle>
      <a:lvl1pPr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800" b="1" kern="1200">
          <a:solidFill>
            <a:schemeClr val="bg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algn="l" rtl="0" eaLnBrk="1" fontAlgn="base" hangingPunct="1">
        <a:lnSpc>
          <a:spcPct val="110000"/>
        </a:lnSpc>
        <a:spcBef>
          <a:spcPts val="1000"/>
        </a:spcBef>
        <a:spcAft>
          <a:spcPct val="0"/>
        </a:spcAft>
        <a:buFont typeface="Arial" charset="0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250825" indent="-250825" algn="l" rtl="0" eaLnBrk="1" fontAlgn="base" hangingPunct="1">
        <a:lnSpc>
          <a:spcPct val="110000"/>
        </a:lnSpc>
        <a:spcBef>
          <a:spcPts val="475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503238" indent="-250825" algn="l" rtl="0" eaLnBrk="1" fontAlgn="base" hangingPunct="1">
        <a:lnSpc>
          <a:spcPct val="110000"/>
        </a:lnSpc>
        <a:spcBef>
          <a:spcPts val="438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755650" indent="-250825" algn="l" rtl="0" eaLnBrk="1" fontAlgn="base" hangingPunct="1">
        <a:lnSpc>
          <a:spcPct val="110000"/>
        </a:lnSpc>
        <a:spcBef>
          <a:spcPts val="388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006475" indent="-250825" algn="l" rtl="0" eaLnBrk="1" fontAlgn="base" hangingPunct="1">
        <a:lnSpc>
          <a:spcPct val="110000"/>
        </a:lnSpc>
        <a:spcBef>
          <a:spcPts val="388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1008000" indent="-252000" algn="l" defTabSz="914400" rtl="0" eaLnBrk="1" latinLnBrk="0" hangingPunct="1">
        <a:lnSpc>
          <a:spcPct val="110000"/>
        </a:lnSpc>
        <a:spcBef>
          <a:spcPts val="384"/>
        </a:spcBef>
        <a:buClr>
          <a:schemeClr val="tx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1008000" indent="-252000" algn="l" defTabSz="914400" rtl="0" eaLnBrk="1" latinLnBrk="0" hangingPunct="1">
        <a:lnSpc>
          <a:spcPct val="110000"/>
        </a:lnSpc>
        <a:spcBef>
          <a:spcPts val="384"/>
        </a:spcBef>
        <a:buClr>
          <a:schemeClr val="tx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1008000" indent="-252000" algn="l" defTabSz="914400" rtl="0" eaLnBrk="1" latinLnBrk="0" hangingPunct="1">
        <a:lnSpc>
          <a:spcPct val="110000"/>
        </a:lnSpc>
        <a:spcBef>
          <a:spcPts val="384"/>
        </a:spcBef>
        <a:buClr>
          <a:schemeClr val="tx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8pPr>
      <a:lvl9pPr marL="1008000" indent="-252000" algn="l" defTabSz="914400" rtl="0" eaLnBrk="1" latinLnBrk="0" hangingPunct="1">
        <a:lnSpc>
          <a:spcPct val="110000"/>
        </a:lnSpc>
        <a:spcBef>
          <a:spcPts val="384"/>
        </a:spcBef>
        <a:buClr>
          <a:schemeClr val="tx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gray">
          <a:xfrm>
            <a:off x="0" y="0"/>
            <a:ext cx="10098524" cy="1122363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22800" tIns="0" rIns="36000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/>
              <a:t>Titelmasterformat durch Klicken bearbeiten</a:t>
            </a:r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628732" y="1765301"/>
            <a:ext cx="10907545" cy="4627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/>
              <a:t>Textmasterformat bearbeiten</a:t>
            </a:r>
          </a:p>
          <a:p>
            <a:pPr lvl="1"/>
            <a:r>
              <a:rPr lang="de-DE" altLang="de-DE" dirty="0"/>
              <a:t>Zweite Ebene</a:t>
            </a:r>
          </a:p>
          <a:p>
            <a:pPr lvl="2"/>
            <a:r>
              <a:rPr lang="de-DE" altLang="de-DE" dirty="0"/>
              <a:t>Dritte Ebene</a:t>
            </a:r>
          </a:p>
          <a:p>
            <a:pPr lvl="3"/>
            <a:r>
              <a:rPr lang="de-DE" altLang="de-DE" dirty="0"/>
              <a:t>Vierte Ebene</a:t>
            </a:r>
          </a:p>
          <a:p>
            <a:pPr lvl="4"/>
            <a:r>
              <a:rPr lang="de-DE" altLang="de-DE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639847" y="6492876"/>
            <a:ext cx="77003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900">
                <a:solidFill>
                  <a:schemeClr val="tx1"/>
                </a:solidFill>
                <a:latin typeface="Corbel" pitchFamily="34" charset="0"/>
                <a:cs typeface="Arial" panose="020B0604020202020204" pitchFamily="34" charset="0"/>
              </a:defRPr>
            </a:lvl1pPr>
            <a:lvl2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de-DE">
                <a:solidFill>
                  <a:prstClr val="black"/>
                </a:solidFill>
              </a:rPr>
              <a:t>Datum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1511497" y="6492876"/>
            <a:ext cx="1002478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900" dirty="0">
                <a:solidFill>
                  <a:schemeClr val="tx1"/>
                </a:solidFill>
                <a:latin typeface="Corbel" pitchFamily="34" charset="0"/>
                <a:cs typeface="Arial" panose="020B0604020202020204" pitchFamily="34" charset="0"/>
              </a:defRPr>
            </a:lvl1pPr>
            <a:lvl2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0" algn="l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endParaRPr lang="de-DE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734741" y="6492876"/>
            <a:ext cx="257208" cy="365125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900" smtClean="0">
                <a:solidFill>
                  <a:schemeClr val="tx1"/>
                </a:solidFill>
                <a:latin typeface="Corbel" pitchFamily="34" charset="0"/>
                <a:cs typeface="Arial" panose="020B0604020202020204" pitchFamily="34" charset="0"/>
              </a:defRPr>
            </a:lvl1pPr>
            <a:lvl2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0"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fld id="{20AEB338-9A01-4568-801D-896C2E978281}" type="slidenum">
              <a:rPr lang="de-DE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prstClr val="black"/>
              </a:solidFill>
            </a:endParaRPr>
          </a:p>
        </p:txBody>
      </p:sp>
      <p:pic>
        <p:nvPicPr>
          <p:cNvPr id="2" name="Picture 2" descr="C:\Users\bertscha\Desktop\ebmpapst_logobox_claim_2021_rgb.jp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098525" y="-1"/>
            <a:ext cx="2093476" cy="14957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222449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  <p:sldLayoutId id="2147483712" r:id="rId11"/>
    <p:sldLayoutId id="2147483713" r:id="rId12"/>
    <p:sldLayoutId id="2147483714" r:id="rId13"/>
    <p:sldLayoutId id="2147483715" r:id="rId14"/>
    <p:sldLayoutId id="2147483716" r:id="rId15"/>
    <p:sldLayoutId id="2147483717" r:id="rId16"/>
    <p:sldLayoutId id="2147483718" r:id="rId17"/>
    <p:sldLayoutId id="2147483719" r:id="rId18"/>
    <p:sldLayoutId id="2147483720" r:id="rId19"/>
    <p:sldLayoutId id="2147483721" r:id="rId20"/>
    <p:sldLayoutId id="2147483722" r:id="rId21"/>
    <p:sldLayoutId id="2147483723" r:id="rId22"/>
    <p:sldLayoutId id="2147483724" r:id="rId23"/>
    <p:sldLayoutId id="2147483725" r:id="rId24"/>
    <p:sldLayoutId id="2147483726" r:id="rId25"/>
    <p:sldLayoutId id="2147483727" r:id="rId26"/>
    <p:sldLayoutId id="2147483728" r:id="rId27"/>
    <p:sldLayoutId id="2147483729" r:id="rId28"/>
    <p:sldLayoutId id="2147483730" r:id="rId29"/>
    <p:sldLayoutId id="2147483731" r:id="rId30"/>
    <p:sldLayoutId id="2147483732" r:id="rId31"/>
    <p:sldLayoutId id="2147483733" r:id="rId32"/>
    <p:sldLayoutId id="2147483734" r:id="rId33"/>
    <p:sldLayoutId id="2147483735" r:id="rId34"/>
    <p:sldLayoutId id="2147483736" r:id="rId35"/>
  </p:sldLayoutIdLst>
  <p:transition spd="med">
    <p:fade/>
  </p:transition>
  <p:hf hdr="0" ftr="0"/>
  <p:txStyles>
    <p:titleStyle>
      <a:lvl1pPr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800" b="1" kern="1200">
          <a:solidFill>
            <a:schemeClr val="bg1"/>
          </a:solidFill>
          <a:latin typeface="Corbel" pitchFamily="34" charset="0"/>
          <a:ea typeface="+mj-ea"/>
          <a:cs typeface="Arial" panose="020B0604020202020204" pitchFamily="34" charset="0"/>
        </a:defRPr>
      </a:lvl1pPr>
      <a:lvl2pPr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algn="l" rtl="0" eaLnBrk="1" fontAlgn="base" hangingPunct="1">
        <a:lnSpc>
          <a:spcPct val="110000"/>
        </a:lnSpc>
        <a:spcBef>
          <a:spcPts val="1000"/>
        </a:spcBef>
        <a:spcAft>
          <a:spcPct val="0"/>
        </a:spcAft>
        <a:buFont typeface="Arial" charset="0"/>
        <a:defRPr sz="2000" kern="1200">
          <a:solidFill>
            <a:schemeClr val="tx1"/>
          </a:solidFill>
          <a:latin typeface="Corbel" pitchFamily="34" charset="0"/>
          <a:ea typeface="+mn-ea"/>
          <a:cs typeface="Arial" panose="020B0604020202020204" pitchFamily="34" charset="0"/>
        </a:defRPr>
      </a:lvl1pPr>
      <a:lvl2pPr marL="250825" indent="-250825" algn="l" rtl="0" eaLnBrk="1" fontAlgn="base" hangingPunct="1">
        <a:lnSpc>
          <a:spcPct val="110000"/>
        </a:lnSpc>
        <a:spcBef>
          <a:spcPts val="475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2000" kern="1200">
          <a:solidFill>
            <a:schemeClr val="tx1"/>
          </a:solidFill>
          <a:latin typeface="Corbel" pitchFamily="34" charset="0"/>
          <a:ea typeface="+mn-ea"/>
          <a:cs typeface="Arial" panose="020B0604020202020204" pitchFamily="34" charset="0"/>
        </a:defRPr>
      </a:lvl2pPr>
      <a:lvl3pPr marL="503238" indent="-250825" algn="l" rtl="0" eaLnBrk="1" fontAlgn="base" hangingPunct="1">
        <a:lnSpc>
          <a:spcPct val="110000"/>
        </a:lnSpc>
        <a:spcBef>
          <a:spcPts val="438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kern="1200">
          <a:solidFill>
            <a:schemeClr val="tx1"/>
          </a:solidFill>
          <a:latin typeface="Corbel" pitchFamily="34" charset="0"/>
          <a:ea typeface="+mn-ea"/>
          <a:cs typeface="Arial" panose="020B0604020202020204" pitchFamily="34" charset="0"/>
        </a:defRPr>
      </a:lvl3pPr>
      <a:lvl4pPr marL="755650" indent="-250825" algn="l" rtl="0" eaLnBrk="1" fontAlgn="base" hangingPunct="1">
        <a:lnSpc>
          <a:spcPct val="110000"/>
        </a:lnSpc>
        <a:spcBef>
          <a:spcPts val="388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600" kern="1200">
          <a:solidFill>
            <a:schemeClr val="tx1"/>
          </a:solidFill>
          <a:latin typeface="Corbel" pitchFamily="34" charset="0"/>
          <a:ea typeface="+mn-ea"/>
          <a:cs typeface="Arial" panose="020B0604020202020204" pitchFamily="34" charset="0"/>
        </a:defRPr>
      </a:lvl4pPr>
      <a:lvl5pPr marL="1006475" indent="-250825" algn="l" rtl="0" eaLnBrk="1" fontAlgn="base" hangingPunct="1">
        <a:lnSpc>
          <a:spcPct val="110000"/>
        </a:lnSpc>
        <a:spcBef>
          <a:spcPts val="388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600" kern="1200">
          <a:solidFill>
            <a:schemeClr val="tx1"/>
          </a:solidFill>
          <a:latin typeface="Corbel" pitchFamily="34" charset="0"/>
          <a:ea typeface="+mn-ea"/>
          <a:cs typeface="Arial" panose="020B0604020202020204" pitchFamily="34" charset="0"/>
        </a:defRPr>
      </a:lvl5pPr>
      <a:lvl6pPr marL="1008000" indent="-252000" algn="l" defTabSz="914400" rtl="0" eaLnBrk="1" latinLnBrk="0" hangingPunct="1">
        <a:lnSpc>
          <a:spcPct val="110000"/>
        </a:lnSpc>
        <a:spcBef>
          <a:spcPts val="384"/>
        </a:spcBef>
        <a:buClr>
          <a:schemeClr val="tx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1008000" indent="-252000" algn="l" defTabSz="914400" rtl="0" eaLnBrk="1" latinLnBrk="0" hangingPunct="1">
        <a:lnSpc>
          <a:spcPct val="110000"/>
        </a:lnSpc>
        <a:spcBef>
          <a:spcPts val="384"/>
        </a:spcBef>
        <a:buClr>
          <a:schemeClr val="tx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1008000" indent="-252000" algn="l" defTabSz="914400" rtl="0" eaLnBrk="1" latinLnBrk="0" hangingPunct="1">
        <a:lnSpc>
          <a:spcPct val="110000"/>
        </a:lnSpc>
        <a:spcBef>
          <a:spcPts val="384"/>
        </a:spcBef>
        <a:buClr>
          <a:schemeClr val="tx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8pPr>
      <a:lvl9pPr marL="1008000" indent="-252000" algn="l" defTabSz="914400" rtl="0" eaLnBrk="1" latinLnBrk="0" hangingPunct="1">
        <a:lnSpc>
          <a:spcPct val="110000"/>
        </a:lnSpc>
        <a:spcBef>
          <a:spcPts val="384"/>
        </a:spcBef>
        <a:buClr>
          <a:schemeClr val="tx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2.png"/><Relationship Id="rId3" Type="http://schemas.openxmlformats.org/officeDocument/2006/relationships/image" Target="../media/image108.png"/><Relationship Id="rId7" Type="http://schemas.openxmlformats.org/officeDocument/2006/relationships/image" Target="../media/image1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110.tif"/><Relationship Id="rId5" Type="http://schemas.microsoft.com/office/2007/relationships/hdphoto" Target="../media/hdphoto6.wdp"/><Relationship Id="rId4" Type="http://schemas.openxmlformats.org/officeDocument/2006/relationships/image" Target="../media/image10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3.jpe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416.xml"/><Relationship Id="rId4" Type="http://schemas.openxmlformats.org/officeDocument/2006/relationships/image" Target="../media/image114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1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5.png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image" Target="../media/image116.png"/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8.jpg"/><Relationship Id="rId2" Type="http://schemas.openxmlformats.org/officeDocument/2006/relationships/image" Target="../media/image117.jpeg"/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0.png"/><Relationship Id="rId2" Type="http://schemas.openxmlformats.org/officeDocument/2006/relationships/image" Target="../media/image119.tiff"/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5.jpeg"/><Relationship Id="rId3" Type="http://schemas.openxmlformats.org/officeDocument/2006/relationships/image" Target="../media/image121.png"/><Relationship Id="rId7" Type="http://schemas.openxmlformats.org/officeDocument/2006/relationships/image" Target="../media/image124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110.tif"/><Relationship Id="rId5" Type="http://schemas.openxmlformats.org/officeDocument/2006/relationships/image" Target="../media/image123.png"/><Relationship Id="rId4" Type="http://schemas.openxmlformats.org/officeDocument/2006/relationships/image" Target="../media/image122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ti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123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7.png"/><Relationship Id="rId7" Type="http://schemas.openxmlformats.org/officeDocument/2006/relationships/image" Target="../media/image131.png"/><Relationship Id="rId2" Type="http://schemas.openxmlformats.org/officeDocument/2006/relationships/image" Target="../media/image126.jp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130.png"/><Relationship Id="rId5" Type="http://schemas.openxmlformats.org/officeDocument/2006/relationships/image" Target="../media/image129.png"/><Relationship Id="rId4" Type="http://schemas.openxmlformats.org/officeDocument/2006/relationships/image" Target="../media/image128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svg"/><Relationship Id="rId13" Type="http://schemas.openxmlformats.org/officeDocument/2006/relationships/image" Target="../media/image55.png"/><Relationship Id="rId18" Type="http://schemas.openxmlformats.org/officeDocument/2006/relationships/image" Target="../media/image60.svg"/><Relationship Id="rId3" Type="http://schemas.openxmlformats.org/officeDocument/2006/relationships/image" Target="../media/image46.png"/><Relationship Id="rId21" Type="http://schemas.openxmlformats.org/officeDocument/2006/relationships/image" Target="../media/image63.png"/><Relationship Id="rId7" Type="http://schemas.openxmlformats.org/officeDocument/2006/relationships/image" Target="../media/image49.png"/><Relationship Id="rId12" Type="http://schemas.openxmlformats.org/officeDocument/2006/relationships/image" Target="../media/image54.svg"/><Relationship Id="rId17" Type="http://schemas.openxmlformats.org/officeDocument/2006/relationships/image" Target="../media/image59.pn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58.svg"/><Relationship Id="rId20" Type="http://schemas.openxmlformats.org/officeDocument/2006/relationships/image" Target="../media/image62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48.svg"/><Relationship Id="rId11" Type="http://schemas.openxmlformats.org/officeDocument/2006/relationships/image" Target="../media/image53.png"/><Relationship Id="rId5" Type="http://schemas.openxmlformats.org/officeDocument/2006/relationships/image" Target="../media/image47.png"/><Relationship Id="rId15" Type="http://schemas.openxmlformats.org/officeDocument/2006/relationships/image" Target="../media/image57.png"/><Relationship Id="rId10" Type="http://schemas.openxmlformats.org/officeDocument/2006/relationships/image" Target="../media/image52.svg"/><Relationship Id="rId19" Type="http://schemas.openxmlformats.org/officeDocument/2006/relationships/image" Target="../media/image61.png"/><Relationship Id="rId4" Type="http://schemas.microsoft.com/office/2007/relationships/hdphoto" Target="../media/hdphoto2.wdp"/><Relationship Id="rId9" Type="http://schemas.openxmlformats.org/officeDocument/2006/relationships/image" Target="../media/image51.png"/><Relationship Id="rId14" Type="http://schemas.openxmlformats.org/officeDocument/2006/relationships/image" Target="../media/image56.sv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s://unfccc.int/process-and-meetings/the-paris-agreement" TargetMode="External"/><Relationship Id="rId2" Type="http://schemas.openxmlformats.org/officeDocument/2006/relationships/image" Target="../media/image132.jp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133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5.jpg"/><Relationship Id="rId7" Type="http://schemas.openxmlformats.org/officeDocument/2006/relationships/image" Target="../media/image139.png"/><Relationship Id="rId2" Type="http://schemas.openxmlformats.org/officeDocument/2006/relationships/image" Target="../media/image134.jp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138.png"/><Relationship Id="rId5" Type="http://schemas.openxmlformats.org/officeDocument/2006/relationships/image" Target="../media/image137.png"/><Relationship Id="rId4" Type="http://schemas.openxmlformats.org/officeDocument/2006/relationships/image" Target="../media/image136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6.png"/><Relationship Id="rId13" Type="http://schemas.openxmlformats.org/officeDocument/2006/relationships/image" Target="../media/image151.jpg"/><Relationship Id="rId3" Type="http://schemas.openxmlformats.org/officeDocument/2006/relationships/image" Target="../media/image141.png"/><Relationship Id="rId7" Type="http://schemas.openxmlformats.org/officeDocument/2006/relationships/image" Target="../media/image145.png"/><Relationship Id="rId12" Type="http://schemas.openxmlformats.org/officeDocument/2006/relationships/image" Target="../media/image150.png"/><Relationship Id="rId2" Type="http://schemas.openxmlformats.org/officeDocument/2006/relationships/image" Target="../media/image140.pn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144.png"/><Relationship Id="rId11" Type="http://schemas.openxmlformats.org/officeDocument/2006/relationships/image" Target="../media/image149.png"/><Relationship Id="rId5" Type="http://schemas.openxmlformats.org/officeDocument/2006/relationships/image" Target="../media/image143.png"/><Relationship Id="rId10" Type="http://schemas.openxmlformats.org/officeDocument/2006/relationships/image" Target="../media/image148.png"/><Relationship Id="rId4" Type="http://schemas.openxmlformats.org/officeDocument/2006/relationships/image" Target="../media/image142.png"/><Relationship Id="rId9" Type="http://schemas.openxmlformats.org/officeDocument/2006/relationships/image" Target="../media/image147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0.png"/><Relationship Id="rId2" Type="http://schemas.openxmlformats.org/officeDocument/2006/relationships/image" Target="../media/image850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950.png"/><Relationship Id="rId4" Type="http://schemas.openxmlformats.org/officeDocument/2006/relationships/image" Target="../media/image940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2.pn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hyperlink" Target="https://www.youtube.com/user/ebmpapstusa" TargetMode="External"/><Relationship Id="rId18" Type="http://schemas.openxmlformats.org/officeDocument/2006/relationships/image" Target="../media/image20.png"/><Relationship Id="rId26" Type="http://schemas.openxmlformats.org/officeDocument/2006/relationships/image" Target="../media/image154.svg"/><Relationship Id="rId3" Type="http://schemas.openxmlformats.org/officeDocument/2006/relationships/image" Target="../media/image3.svg"/><Relationship Id="rId21" Type="http://schemas.openxmlformats.org/officeDocument/2006/relationships/image" Target="../media/image23.svg"/><Relationship Id="rId7" Type="http://schemas.openxmlformats.org/officeDocument/2006/relationships/hyperlink" Target="https://www.instagram.com/ebmpapst/" TargetMode="External"/><Relationship Id="rId12" Type="http://schemas.openxmlformats.org/officeDocument/2006/relationships/image" Target="../media/image13.svg"/><Relationship Id="rId17" Type="http://schemas.openxmlformats.org/officeDocument/2006/relationships/image" Target="../media/image19.svg"/><Relationship Id="rId25" Type="http://schemas.openxmlformats.org/officeDocument/2006/relationships/image" Target="../media/image153.png"/><Relationship Id="rId2" Type="http://schemas.openxmlformats.org/officeDocument/2006/relationships/image" Target="../media/image2.png"/><Relationship Id="rId16" Type="http://schemas.openxmlformats.org/officeDocument/2006/relationships/image" Target="../media/image18.png"/><Relationship Id="rId20" Type="http://schemas.openxmlformats.org/officeDocument/2006/relationships/image" Target="../media/image22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9.svg"/><Relationship Id="rId11" Type="http://schemas.openxmlformats.org/officeDocument/2006/relationships/image" Target="../media/image12.png"/><Relationship Id="rId24" Type="http://schemas.openxmlformats.org/officeDocument/2006/relationships/hyperlink" Target="https://ebmpapstgroup.com/X?r=qr" TargetMode="External"/><Relationship Id="rId5" Type="http://schemas.openxmlformats.org/officeDocument/2006/relationships/image" Target="../media/image8.png"/><Relationship Id="rId15" Type="http://schemas.openxmlformats.org/officeDocument/2006/relationships/image" Target="../media/image17.svg"/><Relationship Id="rId23" Type="http://schemas.openxmlformats.org/officeDocument/2006/relationships/image" Target="../media/image26.svg"/><Relationship Id="rId10" Type="http://schemas.openxmlformats.org/officeDocument/2006/relationships/hyperlink" Target="https://www.linkedin.com/company/ebm-papst-inc" TargetMode="External"/><Relationship Id="rId19" Type="http://schemas.openxmlformats.org/officeDocument/2006/relationships/image" Target="../media/image21.svg"/><Relationship Id="rId4" Type="http://schemas.openxmlformats.org/officeDocument/2006/relationships/hyperlink" Target="https://www.facebook.com/ebmpapstDE" TargetMode="External"/><Relationship Id="rId9" Type="http://schemas.openxmlformats.org/officeDocument/2006/relationships/image" Target="../media/image11.svg"/><Relationship Id="rId14" Type="http://schemas.openxmlformats.org/officeDocument/2006/relationships/image" Target="../media/image16.png"/><Relationship Id="rId22" Type="http://schemas.openxmlformats.org/officeDocument/2006/relationships/image" Target="../media/image25.png"/><Relationship Id="rId27" Type="http://schemas.openxmlformats.org/officeDocument/2006/relationships/image" Target="../media/image155.png"/></Relationships>
</file>

<file path=ppt/slides/_rels/slide3.xml.rels><?xml version="1.0" encoding="UTF-8" standalone="yes"?>
<Relationships xmlns="http://schemas.openxmlformats.org/package/2006/relationships"><Relationship Id="rId117" Type="http://schemas.openxmlformats.org/officeDocument/2006/relationships/tags" Target="../tags/tag118.xml"/><Relationship Id="rId299" Type="http://schemas.openxmlformats.org/officeDocument/2006/relationships/tags" Target="../tags/tag300.xml"/><Relationship Id="rId21" Type="http://schemas.openxmlformats.org/officeDocument/2006/relationships/tags" Target="../tags/tag22.xml"/><Relationship Id="rId63" Type="http://schemas.openxmlformats.org/officeDocument/2006/relationships/tags" Target="../tags/tag64.xml"/><Relationship Id="rId159" Type="http://schemas.openxmlformats.org/officeDocument/2006/relationships/tags" Target="../tags/tag160.xml"/><Relationship Id="rId324" Type="http://schemas.openxmlformats.org/officeDocument/2006/relationships/tags" Target="../tags/tag325.xml"/><Relationship Id="rId366" Type="http://schemas.openxmlformats.org/officeDocument/2006/relationships/tags" Target="../tags/tag367.xml"/><Relationship Id="rId170" Type="http://schemas.openxmlformats.org/officeDocument/2006/relationships/tags" Target="../tags/tag171.xml"/><Relationship Id="rId226" Type="http://schemas.openxmlformats.org/officeDocument/2006/relationships/tags" Target="../tags/tag227.xml"/><Relationship Id="rId268" Type="http://schemas.openxmlformats.org/officeDocument/2006/relationships/tags" Target="../tags/tag269.xml"/><Relationship Id="rId32" Type="http://schemas.openxmlformats.org/officeDocument/2006/relationships/tags" Target="../tags/tag33.xml"/><Relationship Id="rId74" Type="http://schemas.openxmlformats.org/officeDocument/2006/relationships/tags" Target="../tags/tag75.xml"/><Relationship Id="rId128" Type="http://schemas.openxmlformats.org/officeDocument/2006/relationships/tags" Target="../tags/tag129.xml"/><Relationship Id="rId335" Type="http://schemas.openxmlformats.org/officeDocument/2006/relationships/tags" Target="../tags/tag336.xml"/><Relationship Id="rId377" Type="http://schemas.openxmlformats.org/officeDocument/2006/relationships/tags" Target="../tags/tag378.xml"/><Relationship Id="rId5" Type="http://schemas.openxmlformats.org/officeDocument/2006/relationships/tags" Target="../tags/tag6.xml"/><Relationship Id="rId181" Type="http://schemas.openxmlformats.org/officeDocument/2006/relationships/tags" Target="../tags/tag182.xml"/><Relationship Id="rId237" Type="http://schemas.openxmlformats.org/officeDocument/2006/relationships/tags" Target="../tags/tag238.xml"/><Relationship Id="rId402" Type="http://schemas.openxmlformats.org/officeDocument/2006/relationships/tags" Target="../tags/tag403.xml"/><Relationship Id="rId279" Type="http://schemas.openxmlformats.org/officeDocument/2006/relationships/tags" Target="../tags/tag280.xml"/><Relationship Id="rId43" Type="http://schemas.openxmlformats.org/officeDocument/2006/relationships/tags" Target="../tags/tag44.xml"/><Relationship Id="rId139" Type="http://schemas.openxmlformats.org/officeDocument/2006/relationships/tags" Target="../tags/tag140.xml"/><Relationship Id="rId290" Type="http://schemas.openxmlformats.org/officeDocument/2006/relationships/tags" Target="../tags/tag291.xml"/><Relationship Id="rId304" Type="http://schemas.openxmlformats.org/officeDocument/2006/relationships/tags" Target="../tags/tag305.xml"/><Relationship Id="rId346" Type="http://schemas.openxmlformats.org/officeDocument/2006/relationships/tags" Target="../tags/tag347.xml"/><Relationship Id="rId388" Type="http://schemas.openxmlformats.org/officeDocument/2006/relationships/tags" Target="../tags/tag389.xml"/><Relationship Id="rId85" Type="http://schemas.openxmlformats.org/officeDocument/2006/relationships/tags" Target="../tags/tag86.xml"/><Relationship Id="rId150" Type="http://schemas.openxmlformats.org/officeDocument/2006/relationships/tags" Target="../tags/tag151.xml"/><Relationship Id="rId192" Type="http://schemas.openxmlformats.org/officeDocument/2006/relationships/tags" Target="../tags/tag193.xml"/><Relationship Id="rId206" Type="http://schemas.openxmlformats.org/officeDocument/2006/relationships/tags" Target="../tags/tag207.xml"/><Relationship Id="rId413" Type="http://schemas.openxmlformats.org/officeDocument/2006/relationships/tags" Target="../tags/tag414.xml"/><Relationship Id="rId248" Type="http://schemas.openxmlformats.org/officeDocument/2006/relationships/tags" Target="../tags/tag249.xml"/><Relationship Id="rId12" Type="http://schemas.openxmlformats.org/officeDocument/2006/relationships/tags" Target="../tags/tag13.xml"/><Relationship Id="rId108" Type="http://schemas.openxmlformats.org/officeDocument/2006/relationships/tags" Target="../tags/tag109.xml"/><Relationship Id="rId315" Type="http://schemas.openxmlformats.org/officeDocument/2006/relationships/tags" Target="../tags/tag316.xml"/><Relationship Id="rId357" Type="http://schemas.openxmlformats.org/officeDocument/2006/relationships/tags" Target="../tags/tag358.xml"/><Relationship Id="rId54" Type="http://schemas.openxmlformats.org/officeDocument/2006/relationships/tags" Target="../tags/tag55.xml"/><Relationship Id="rId96" Type="http://schemas.openxmlformats.org/officeDocument/2006/relationships/tags" Target="../tags/tag97.xml"/><Relationship Id="rId161" Type="http://schemas.openxmlformats.org/officeDocument/2006/relationships/tags" Target="../tags/tag162.xml"/><Relationship Id="rId217" Type="http://schemas.openxmlformats.org/officeDocument/2006/relationships/tags" Target="../tags/tag218.xml"/><Relationship Id="rId399" Type="http://schemas.openxmlformats.org/officeDocument/2006/relationships/tags" Target="../tags/tag400.xml"/><Relationship Id="rId259" Type="http://schemas.openxmlformats.org/officeDocument/2006/relationships/tags" Target="../tags/tag260.xml"/><Relationship Id="rId424" Type="http://schemas.openxmlformats.org/officeDocument/2006/relationships/image" Target="../media/image71.png"/><Relationship Id="rId23" Type="http://schemas.openxmlformats.org/officeDocument/2006/relationships/tags" Target="../tags/tag24.xml"/><Relationship Id="rId119" Type="http://schemas.openxmlformats.org/officeDocument/2006/relationships/tags" Target="../tags/tag120.xml"/><Relationship Id="rId270" Type="http://schemas.openxmlformats.org/officeDocument/2006/relationships/tags" Target="../tags/tag271.xml"/><Relationship Id="rId326" Type="http://schemas.openxmlformats.org/officeDocument/2006/relationships/tags" Target="../tags/tag327.xml"/><Relationship Id="rId65" Type="http://schemas.openxmlformats.org/officeDocument/2006/relationships/tags" Target="../tags/tag66.xml"/><Relationship Id="rId130" Type="http://schemas.openxmlformats.org/officeDocument/2006/relationships/tags" Target="../tags/tag131.xml"/><Relationship Id="rId368" Type="http://schemas.openxmlformats.org/officeDocument/2006/relationships/tags" Target="../tags/tag369.xml"/><Relationship Id="rId172" Type="http://schemas.openxmlformats.org/officeDocument/2006/relationships/tags" Target="../tags/tag173.xml"/><Relationship Id="rId228" Type="http://schemas.openxmlformats.org/officeDocument/2006/relationships/tags" Target="../tags/tag229.xml"/><Relationship Id="rId281" Type="http://schemas.openxmlformats.org/officeDocument/2006/relationships/tags" Target="../tags/tag282.xml"/><Relationship Id="rId337" Type="http://schemas.openxmlformats.org/officeDocument/2006/relationships/tags" Target="../tags/tag338.xml"/><Relationship Id="rId34" Type="http://schemas.openxmlformats.org/officeDocument/2006/relationships/tags" Target="../tags/tag35.xml"/><Relationship Id="rId76" Type="http://schemas.openxmlformats.org/officeDocument/2006/relationships/tags" Target="../tags/tag77.xml"/><Relationship Id="rId141" Type="http://schemas.openxmlformats.org/officeDocument/2006/relationships/tags" Target="../tags/tag142.xml"/><Relationship Id="rId379" Type="http://schemas.openxmlformats.org/officeDocument/2006/relationships/tags" Target="../tags/tag380.xml"/><Relationship Id="rId7" Type="http://schemas.openxmlformats.org/officeDocument/2006/relationships/tags" Target="../tags/tag8.xml"/><Relationship Id="rId183" Type="http://schemas.openxmlformats.org/officeDocument/2006/relationships/tags" Target="../tags/tag184.xml"/><Relationship Id="rId239" Type="http://schemas.openxmlformats.org/officeDocument/2006/relationships/tags" Target="../tags/tag240.xml"/><Relationship Id="rId390" Type="http://schemas.openxmlformats.org/officeDocument/2006/relationships/tags" Target="../tags/tag391.xml"/><Relationship Id="rId404" Type="http://schemas.openxmlformats.org/officeDocument/2006/relationships/tags" Target="../tags/tag405.xml"/><Relationship Id="rId250" Type="http://schemas.openxmlformats.org/officeDocument/2006/relationships/tags" Target="../tags/tag251.xml"/><Relationship Id="rId292" Type="http://schemas.openxmlformats.org/officeDocument/2006/relationships/tags" Target="../tags/tag293.xml"/><Relationship Id="rId306" Type="http://schemas.openxmlformats.org/officeDocument/2006/relationships/tags" Target="../tags/tag307.xml"/><Relationship Id="rId45" Type="http://schemas.openxmlformats.org/officeDocument/2006/relationships/tags" Target="../tags/tag46.xml"/><Relationship Id="rId87" Type="http://schemas.openxmlformats.org/officeDocument/2006/relationships/tags" Target="../tags/tag88.xml"/><Relationship Id="rId110" Type="http://schemas.openxmlformats.org/officeDocument/2006/relationships/tags" Target="../tags/tag111.xml"/><Relationship Id="rId348" Type="http://schemas.openxmlformats.org/officeDocument/2006/relationships/tags" Target="../tags/tag349.xml"/><Relationship Id="rId152" Type="http://schemas.openxmlformats.org/officeDocument/2006/relationships/tags" Target="../tags/tag153.xml"/><Relationship Id="rId194" Type="http://schemas.openxmlformats.org/officeDocument/2006/relationships/tags" Target="../tags/tag195.xml"/><Relationship Id="rId208" Type="http://schemas.openxmlformats.org/officeDocument/2006/relationships/tags" Target="../tags/tag209.xml"/><Relationship Id="rId415" Type="http://schemas.openxmlformats.org/officeDocument/2006/relationships/notesSlide" Target="../notesSlides/notesSlide2.xml"/><Relationship Id="rId261" Type="http://schemas.openxmlformats.org/officeDocument/2006/relationships/tags" Target="../tags/tag262.xml"/><Relationship Id="rId14" Type="http://schemas.openxmlformats.org/officeDocument/2006/relationships/tags" Target="../tags/tag15.xml"/><Relationship Id="rId56" Type="http://schemas.openxmlformats.org/officeDocument/2006/relationships/tags" Target="../tags/tag57.xml"/><Relationship Id="rId317" Type="http://schemas.openxmlformats.org/officeDocument/2006/relationships/tags" Target="../tags/tag318.xml"/><Relationship Id="rId359" Type="http://schemas.openxmlformats.org/officeDocument/2006/relationships/tags" Target="../tags/tag360.xml"/><Relationship Id="rId98" Type="http://schemas.openxmlformats.org/officeDocument/2006/relationships/tags" Target="../tags/tag99.xml"/><Relationship Id="rId121" Type="http://schemas.openxmlformats.org/officeDocument/2006/relationships/tags" Target="../tags/tag122.xml"/><Relationship Id="rId163" Type="http://schemas.openxmlformats.org/officeDocument/2006/relationships/tags" Target="../tags/tag164.xml"/><Relationship Id="rId219" Type="http://schemas.openxmlformats.org/officeDocument/2006/relationships/tags" Target="../tags/tag220.xml"/><Relationship Id="rId370" Type="http://schemas.openxmlformats.org/officeDocument/2006/relationships/tags" Target="../tags/tag371.xml"/><Relationship Id="rId426" Type="http://schemas.openxmlformats.org/officeDocument/2006/relationships/image" Target="../media/image73.png"/><Relationship Id="rId230" Type="http://schemas.openxmlformats.org/officeDocument/2006/relationships/tags" Target="../tags/tag231.xml"/><Relationship Id="rId25" Type="http://schemas.openxmlformats.org/officeDocument/2006/relationships/tags" Target="../tags/tag26.xml"/><Relationship Id="rId67" Type="http://schemas.openxmlformats.org/officeDocument/2006/relationships/tags" Target="../tags/tag68.xml"/><Relationship Id="rId272" Type="http://schemas.openxmlformats.org/officeDocument/2006/relationships/tags" Target="../tags/tag273.xml"/><Relationship Id="rId328" Type="http://schemas.openxmlformats.org/officeDocument/2006/relationships/tags" Target="../tags/tag329.xml"/><Relationship Id="rId132" Type="http://schemas.openxmlformats.org/officeDocument/2006/relationships/tags" Target="../tags/tag133.xml"/><Relationship Id="rId174" Type="http://schemas.openxmlformats.org/officeDocument/2006/relationships/tags" Target="../tags/tag175.xml"/><Relationship Id="rId381" Type="http://schemas.openxmlformats.org/officeDocument/2006/relationships/tags" Target="../tags/tag382.xml"/><Relationship Id="rId241" Type="http://schemas.openxmlformats.org/officeDocument/2006/relationships/tags" Target="../tags/tag242.xml"/><Relationship Id="rId36" Type="http://schemas.openxmlformats.org/officeDocument/2006/relationships/tags" Target="../tags/tag37.xml"/><Relationship Id="rId283" Type="http://schemas.openxmlformats.org/officeDocument/2006/relationships/tags" Target="../tags/tag284.xml"/><Relationship Id="rId339" Type="http://schemas.openxmlformats.org/officeDocument/2006/relationships/tags" Target="../tags/tag340.xml"/><Relationship Id="rId78" Type="http://schemas.openxmlformats.org/officeDocument/2006/relationships/tags" Target="../tags/tag79.xml"/><Relationship Id="rId101" Type="http://schemas.openxmlformats.org/officeDocument/2006/relationships/tags" Target="../tags/tag102.xml"/><Relationship Id="rId143" Type="http://schemas.openxmlformats.org/officeDocument/2006/relationships/tags" Target="../tags/tag144.xml"/><Relationship Id="rId185" Type="http://schemas.openxmlformats.org/officeDocument/2006/relationships/tags" Target="../tags/tag186.xml"/><Relationship Id="rId350" Type="http://schemas.openxmlformats.org/officeDocument/2006/relationships/tags" Target="../tags/tag351.xml"/><Relationship Id="rId406" Type="http://schemas.openxmlformats.org/officeDocument/2006/relationships/tags" Target="../tags/tag407.xml"/><Relationship Id="rId9" Type="http://schemas.openxmlformats.org/officeDocument/2006/relationships/tags" Target="../tags/tag10.xml"/><Relationship Id="rId210" Type="http://schemas.openxmlformats.org/officeDocument/2006/relationships/tags" Target="../tags/tag211.xml"/><Relationship Id="rId392" Type="http://schemas.openxmlformats.org/officeDocument/2006/relationships/tags" Target="../tags/tag393.xml"/><Relationship Id="rId252" Type="http://schemas.openxmlformats.org/officeDocument/2006/relationships/tags" Target="../tags/tag253.xml"/><Relationship Id="rId294" Type="http://schemas.openxmlformats.org/officeDocument/2006/relationships/tags" Target="../tags/tag295.xml"/><Relationship Id="rId308" Type="http://schemas.openxmlformats.org/officeDocument/2006/relationships/tags" Target="../tags/tag309.xml"/><Relationship Id="rId47" Type="http://schemas.openxmlformats.org/officeDocument/2006/relationships/tags" Target="../tags/tag48.xml"/><Relationship Id="rId89" Type="http://schemas.openxmlformats.org/officeDocument/2006/relationships/tags" Target="../tags/tag90.xml"/><Relationship Id="rId112" Type="http://schemas.openxmlformats.org/officeDocument/2006/relationships/tags" Target="../tags/tag113.xml"/><Relationship Id="rId154" Type="http://schemas.openxmlformats.org/officeDocument/2006/relationships/tags" Target="../tags/tag155.xml"/><Relationship Id="rId361" Type="http://schemas.openxmlformats.org/officeDocument/2006/relationships/tags" Target="../tags/tag362.xml"/><Relationship Id="rId196" Type="http://schemas.openxmlformats.org/officeDocument/2006/relationships/tags" Target="../tags/tag197.xml"/><Relationship Id="rId417" Type="http://schemas.openxmlformats.org/officeDocument/2006/relationships/image" Target="../media/image64.emf"/><Relationship Id="rId16" Type="http://schemas.openxmlformats.org/officeDocument/2006/relationships/tags" Target="../tags/tag17.xml"/><Relationship Id="rId221" Type="http://schemas.openxmlformats.org/officeDocument/2006/relationships/tags" Target="../tags/tag222.xml"/><Relationship Id="rId263" Type="http://schemas.openxmlformats.org/officeDocument/2006/relationships/tags" Target="../tags/tag264.xml"/><Relationship Id="rId319" Type="http://schemas.openxmlformats.org/officeDocument/2006/relationships/tags" Target="../tags/tag320.xml"/><Relationship Id="rId58" Type="http://schemas.openxmlformats.org/officeDocument/2006/relationships/tags" Target="../tags/tag59.xml"/><Relationship Id="rId123" Type="http://schemas.openxmlformats.org/officeDocument/2006/relationships/tags" Target="../tags/tag124.xml"/><Relationship Id="rId330" Type="http://schemas.openxmlformats.org/officeDocument/2006/relationships/tags" Target="../tags/tag331.xml"/><Relationship Id="rId165" Type="http://schemas.openxmlformats.org/officeDocument/2006/relationships/tags" Target="../tags/tag166.xml"/><Relationship Id="rId372" Type="http://schemas.openxmlformats.org/officeDocument/2006/relationships/tags" Target="../tags/tag373.xml"/><Relationship Id="rId232" Type="http://schemas.openxmlformats.org/officeDocument/2006/relationships/tags" Target="../tags/tag233.xml"/><Relationship Id="rId274" Type="http://schemas.openxmlformats.org/officeDocument/2006/relationships/tags" Target="../tags/tag275.xml"/><Relationship Id="rId27" Type="http://schemas.openxmlformats.org/officeDocument/2006/relationships/tags" Target="../tags/tag28.xml"/><Relationship Id="rId69" Type="http://schemas.openxmlformats.org/officeDocument/2006/relationships/tags" Target="../tags/tag70.xml"/><Relationship Id="rId134" Type="http://schemas.openxmlformats.org/officeDocument/2006/relationships/tags" Target="../tags/tag135.xml"/><Relationship Id="rId80" Type="http://schemas.openxmlformats.org/officeDocument/2006/relationships/tags" Target="../tags/tag81.xml"/><Relationship Id="rId176" Type="http://schemas.openxmlformats.org/officeDocument/2006/relationships/tags" Target="../tags/tag177.xml"/><Relationship Id="rId341" Type="http://schemas.openxmlformats.org/officeDocument/2006/relationships/tags" Target="../tags/tag342.xml"/><Relationship Id="rId383" Type="http://schemas.openxmlformats.org/officeDocument/2006/relationships/tags" Target="../tags/tag384.xml"/><Relationship Id="rId201" Type="http://schemas.openxmlformats.org/officeDocument/2006/relationships/tags" Target="../tags/tag202.xml"/><Relationship Id="rId243" Type="http://schemas.openxmlformats.org/officeDocument/2006/relationships/tags" Target="../tags/tag244.xml"/><Relationship Id="rId285" Type="http://schemas.openxmlformats.org/officeDocument/2006/relationships/tags" Target="../tags/tag286.xml"/><Relationship Id="rId38" Type="http://schemas.openxmlformats.org/officeDocument/2006/relationships/tags" Target="../tags/tag39.xml"/><Relationship Id="rId103" Type="http://schemas.openxmlformats.org/officeDocument/2006/relationships/tags" Target="../tags/tag104.xml"/><Relationship Id="rId310" Type="http://schemas.openxmlformats.org/officeDocument/2006/relationships/tags" Target="../tags/tag311.xml"/><Relationship Id="rId70" Type="http://schemas.openxmlformats.org/officeDocument/2006/relationships/tags" Target="../tags/tag71.xml"/><Relationship Id="rId91" Type="http://schemas.openxmlformats.org/officeDocument/2006/relationships/tags" Target="../tags/tag92.xml"/><Relationship Id="rId145" Type="http://schemas.openxmlformats.org/officeDocument/2006/relationships/tags" Target="../tags/tag146.xml"/><Relationship Id="rId166" Type="http://schemas.openxmlformats.org/officeDocument/2006/relationships/tags" Target="../tags/tag167.xml"/><Relationship Id="rId187" Type="http://schemas.openxmlformats.org/officeDocument/2006/relationships/tags" Target="../tags/tag188.xml"/><Relationship Id="rId331" Type="http://schemas.openxmlformats.org/officeDocument/2006/relationships/tags" Target="../tags/tag332.xml"/><Relationship Id="rId352" Type="http://schemas.openxmlformats.org/officeDocument/2006/relationships/tags" Target="../tags/tag353.xml"/><Relationship Id="rId373" Type="http://schemas.openxmlformats.org/officeDocument/2006/relationships/tags" Target="../tags/tag374.xml"/><Relationship Id="rId394" Type="http://schemas.openxmlformats.org/officeDocument/2006/relationships/tags" Target="../tags/tag395.xml"/><Relationship Id="rId408" Type="http://schemas.openxmlformats.org/officeDocument/2006/relationships/tags" Target="../tags/tag409.xml"/><Relationship Id="rId1" Type="http://schemas.openxmlformats.org/officeDocument/2006/relationships/tags" Target="../tags/tag2.xml"/><Relationship Id="rId212" Type="http://schemas.openxmlformats.org/officeDocument/2006/relationships/tags" Target="../tags/tag213.xml"/><Relationship Id="rId233" Type="http://schemas.openxmlformats.org/officeDocument/2006/relationships/tags" Target="../tags/tag234.xml"/><Relationship Id="rId254" Type="http://schemas.openxmlformats.org/officeDocument/2006/relationships/tags" Target="../tags/tag255.xml"/><Relationship Id="rId28" Type="http://schemas.openxmlformats.org/officeDocument/2006/relationships/tags" Target="../tags/tag29.xml"/><Relationship Id="rId49" Type="http://schemas.openxmlformats.org/officeDocument/2006/relationships/tags" Target="../tags/tag50.xml"/><Relationship Id="rId114" Type="http://schemas.openxmlformats.org/officeDocument/2006/relationships/tags" Target="../tags/tag115.xml"/><Relationship Id="rId275" Type="http://schemas.openxmlformats.org/officeDocument/2006/relationships/tags" Target="../tags/tag276.xml"/><Relationship Id="rId296" Type="http://schemas.openxmlformats.org/officeDocument/2006/relationships/tags" Target="../tags/tag297.xml"/><Relationship Id="rId300" Type="http://schemas.openxmlformats.org/officeDocument/2006/relationships/tags" Target="../tags/tag301.xml"/><Relationship Id="rId60" Type="http://schemas.openxmlformats.org/officeDocument/2006/relationships/tags" Target="../tags/tag61.xml"/><Relationship Id="rId81" Type="http://schemas.openxmlformats.org/officeDocument/2006/relationships/tags" Target="../tags/tag82.xml"/><Relationship Id="rId135" Type="http://schemas.openxmlformats.org/officeDocument/2006/relationships/tags" Target="../tags/tag136.xml"/><Relationship Id="rId156" Type="http://schemas.openxmlformats.org/officeDocument/2006/relationships/tags" Target="../tags/tag157.xml"/><Relationship Id="rId177" Type="http://schemas.openxmlformats.org/officeDocument/2006/relationships/tags" Target="../tags/tag178.xml"/><Relationship Id="rId198" Type="http://schemas.openxmlformats.org/officeDocument/2006/relationships/tags" Target="../tags/tag199.xml"/><Relationship Id="rId321" Type="http://schemas.openxmlformats.org/officeDocument/2006/relationships/tags" Target="../tags/tag322.xml"/><Relationship Id="rId342" Type="http://schemas.openxmlformats.org/officeDocument/2006/relationships/tags" Target="../tags/tag343.xml"/><Relationship Id="rId363" Type="http://schemas.openxmlformats.org/officeDocument/2006/relationships/tags" Target="../tags/tag364.xml"/><Relationship Id="rId384" Type="http://schemas.openxmlformats.org/officeDocument/2006/relationships/tags" Target="../tags/tag385.xml"/><Relationship Id="rId419" Type="http://schemas.openxmlformats.org/officeDocument/2006/relationships/image" Target="../media/image66.png"/><Relationship Id="rId202" Type="http://schemas.openxmlformats.org/officeDocument/2006/relationships/tags" Target="../tags/tag203.xml"/><Relationship Id="rId223" Type="http://schemas.openxmlformats.org/officeDocument/2006/relationships/tags" Target="../tags/tag224.xml"/><Relationship Id="rId244" Type="http://schemas.openxmlformats.org/officeDocument/2006/relationships/tags" Target="../tags/tag245.xml"/><Relationship Id="rId18" Type="http://schemas.openxmlformats.org/officeDocument/2006/relationships/tags" Target="../tags/tag19.xml"/><Relationship Id="rId39" Type="http://schemas.openxmlformats.org/officeDocument/2006/relationships/tags" Target="../tags/tag40.xml"/><Relationship Id="rId265" Type="http://schemas.openxmlformats.org/officeDocument/2006/relationships/tags" Target="../tags/tag266.xml"/><Relationship Id="rId286" Type="http://schemas.openxmlformats.org/officeDocument/2006/relationships/tags" Target="../tags/tag287.xml"/><Relationship Id="rId50" Type="http://schemas.openxmlformats.org/officeDocument/2006/relationships/tags" Target="../tags/tag51.xml"/><Relationship Id="rId104" Type="http://schemas.openxmlformats.org/officeDocument/2006/relationships/tags" Target="../tags/tag105.xml"/><Relationship Id="rId125" Type="http://schemas.openxmlformats.org/officeDocument/2006/relationships/tags" Target="../tags/tag126.xml"/><Relationship Id="rId146" Type="http://schemas.openxmlformats.org/officeDocument/2006/relationships/tags" Target="../tags/tag147.xml"/><Relationship Id="rId167" Type="http://schemas.openxmlformats.org/officeDocument/2006/relationships/tags" Target="../tags/tag168.xml"/><Relationship Id="rId188" Type="http://schemas.openxmlformats.org/officeDocument/2006/relationships/tags" Target="../tags/tag189.xml"/><Relationship Id="rId311" Type="http://schemas.openxmlformats.org/officeDocument/2006/relationships/tags" Target="../tags/tag312.xml"/><Relationship Id="rId332" Type="http://schemas.openxmlformats.org/officeDocument/2006/relationships/tags" Target="../tags/tag333.xml"/><Relationship Id="rId353" Type="http://schemas.openxmlformats.org/officeDocument/2006/relationships/tags" Target="../tags/tag354.xml"/><Relationship Id="rId374" Type="http://schemas.openxmlformats.org/officeDocument/2006/relationships/tags" Target="../tags/tag375.xml"/><Relationship Id="rId395" Type="http://schemas.openxmlformats.org/officeDocument/2006/relationships/tags" Target="../tags/tag396.xml"/><Relationship Id="rId409" Type="http://schemas.openxmlformats.org/officeDocument/2006/relationships/tags" Target="../tags/tag410.xml"/><Relationship Id="rId71" Type="http://schemas.openxmlformats.org/officeDocument/2006/relationships/tags" Target="../tags/tag72.xml"/><Relationship Id="rId92" Type="http://schemas.openxmlformats.org/officeDocument/2006/relationships/tags" Target="../tags/tag93.xml"/><Relationship Id="rId213" Type="http://schemas.openxmlformats.org/officeDocument/2006/relationships/tags" Target="../tags/tag214.xml"/><Relationship Id="rId234" Type="http://schemas.openxmlformats.org/officeDocument/2006/relationships/tags" Target="../tags/tag235.xml"/><Relationship Id="rId420" Type="http://schemas.openxmlformats.org/officeDocument/2006/relationships/image" Target="../media/image67.png"/><Relationship Id="rId2" Type="http://schemas.openxmlformats.org/officeDocument/2006/relationships/tags" Target="../tags/tag3.xml"/><Relationship Id="rId29" Type="http://schemas.openxmlformats.org/officeDocument/2006/relationships/tags" Target="../tags/tag30.xml"/><Relationship Id="rId255" Type="http://schemas.openxmlformats.org/officeDocument/2006/relationships/tags" Target="../tags/tag256.xml"/><Relationship Id="rId276" Type="http://schemas.openxmlformats.org/officeDocument/2006/relationships/tags" Target="../tags/tag277.xml"/><Relationship Id="rId297" Type="http://schemas.openxmlformats.org/officeDocument/2006/relationships/tags" Target="../tags/tag298.xml"/><Relationship Id="rId40" Type="http://schemas.openxmlformats.org/officeDocument/2006/relationships/tags" Target="../tags/tag41.xml"/><Relationship Id="rId115" Type="http://schemas.openxmlformats.org/officeDocument/2006/relationships/tags" Target="../tags/tag116.xml"/><Relationship Id="rId136" Type="http://schemas.openxmlformats.org/officeDocument/2006/relationships/tags" Target="../tags/tag137.xml"/><Relationship Id="rId157" Type="http://schemas.openxmlformats.org/officeDocument/2006/relationships/tags" Target="../tags/tag158.xml"/><Relationship Id="rId178" Type="http://schemas.openxmlformats.org/officeDocument/2006/relationships/tags" Target="../tags/tag179.xml"/><Relationship Id="rId301" Type="http://schemas.openxmlformats.org/officeDocument/2006/relationships/tags" Target="../tags/tag302.xml"/><Relationship Id="rId322" Type="http://schemas.openxmlformats.org/officeDocument/2006/relationships/tags" Target="../tags/tag323.xml"/><Relationship Id="rId343" Type="http://schemas.openxmlformats.org/officeDocument/2006/relationships/tags" Target="../tags/tag344.xml"/><Relationship Id="rId364" Type="http://schemas.openxmlformats.org/officeDocument/2006/relationships/tags" Target="../tags/tag365.xml"/><Relationship Id="rId61" Type="http://schemas.openxmlformats.org/officeDocument/2006/relationships/tags" Target="../tags/tag62.xml"/><Relationship Id="rId82" Type="http://schemas.openxmlformats.org/officeDocument/2006/relationships/tags" Target="../tags/tag83.xml"/><Relationship Id="rId199" Type="http://schemas.openxmlformats.org/officeDocument/2006/relationships/tags" Target="../tags/tag200.xml"/><Relationship Id="rId203" Type="http://schemas.openxmlformats.org/officeDocument/2006/relationships/tags" Target="../tags/tag204.xml"/><Relationship Id="rId385" Type="http://schemas.openxmlformats.org/officeDocument/2006/relationships/tags" Target="../tags/tag386.xml"/><Relationship Id="rId19" Type="http://schemas.openxmlformats.org/officeDocument/2006/relationships/tags" Target="../tags/tag20.xml"/><Relationship Id="rId224" Type="http://schemas.openxmlformats.org/officeDocument/2006/relationships/tags" Target="../tags/tag225.xml"/><Relationship Id="rId245" Type="http://schemas.openxmlformats.org/officeDocument/2006/relationships/tags" Target="../tags/tag246.xml"/><Relationship Id="rId266" Type="http://schemas.openxmlformats.org/officeDocument/2006/relationships/tags" Target="../tags/tag267.xml"/><Relationship Id="rId287" Type="http://schemas.openxmlformats.org/officeDocument/2006/relationships/tags" Target="../tags/tag288.xml"/><Relationship Id="rId410" Type="http://schemas.openxmlformats.org/officeDocument/2006/relationships/tags" Target="../tags/tag411.xml"/><Relationship Id="rId30" Type="http://schemas.openxmlformats.org/officeDocument/2006/relationships/tags" Target="../tags/tag31.xml"/><Relationship Id="rId105" Type="http://schemas.openxmlformats.org/officeDocument/2006/relationships/tags" Target="../tags/tag106.xml"/><Relationship Id="rId126" Type="http://schemas.openxmlformats.org/officeDocument/2006/relationships/tags" Target="../tags/tag127.xml"/><Relationship Id="rId147" Type="http://schemas.openxmlformats.org/officeDocument/2006/relationships/tags" Target="../tags/tag148.xml"/><Relationship Id="rId168" Type="http://schemas.openxmlformats.org/officeDocument/2006/relationships/tags" Target="../tags/tag169.xml"/><Relationship Id="rId312" Type="http://schemas.openxmlformats.org/officeDocument/2006/relationships/tags" Target="../tags/tag313.xml"/><Relationship Id="rId333" Type="http://schemas.openxmlformats.org/officeDocument/2006/relationships/tags" Target="../tags/tag334.xml"/><Relationship Id="rId354" Type="http://schemas.openxmlformats.org/officeDocument/2006/relationships/tags" Target="../tags/tag355.xml"/><Relationship Id="rId51" Type="http://schemas.openxmlformats.org/officeDocument/2006/relationships/tags" Target="../tags/tag52.xml"/><Relationship Id="rId72" Type="http://schemas.openxmlformats.org/officeDocument/2006/relationships/tags" Target="../tags/tag73.xml"/><Relationship Id="rId93" Type="http://schemas.openxmlformats.org/officeDocument/2006/relationships/tags" Target="../tags/tag94.xml"/><Relationship Id="rId189" Type="http://schemas.openxmlformats.org/officeDocument/2006/relationships/tags" Target="../tags/tag190.xml"/><Relationship Id="rId375" Type="http://schemas.openxmlformats.org/officeDocument/2006/relationships/tags" Target="../tags/tag376.xml"/><Relationship Id="rId396" Type="http://schemas.openxmlformats.org/officeDocument/2006/relationships/tags" Target="../tags/tag397.xml"/><Relationship Id="rId3" Type="http://schemas.openxmlformats.org/officeDocument/2006/relationships/tags" Target="../tags/tag4.xml"/><Relationship Id="rId214" Type="http://schemas.openxmlformats.org/officeDocument/2006/relationships/tags" Target="../tags/tag215.xml"/><Relationship Id="rId235" Type="http://schemas.openxmlformats.org/officeDocument/2006/relationships/tags" Target="../tags/tag236.xml"/><Relationship Id="rId256" Type="http://schemas.openxmlformats.org/officeDocument/2006/relationships/tags" Target="../tags/tag257.xml"/><Relationship Id="rId277" Type="http://schemas.openxmlformats.org/officeDocument/2006/relationships/tags" Target="../tags/tag278.xml"/><Relationship Id="rId298" Type="http://schemas.openxmlformats.org/officeDocument/2006/relationships/tags" Target="../tags/tag299.xml"/><Relationship Id="rId400" Type="http://schemas.openxmlformats.org/officeDocument/2006/relationships/tags" Target="../tags/tag401.xml"/><Relationship Id="rId421" Type="http://schemas.openxmlformats.org/officeDocument/2006/relationships/image" Target="../media/image68.png"/><Relationship Id="rId116" Type="http://schemas.openxmlformats.org/officeDocument/2006/relationships/tags" Target="../tags/tag117.xml"/><Relationship Id="rId137" Type="http://schemas.openxmlformats.org/officeDocument/2006/relationships/tags" Target="../tags/tag138.xml"/><Relationship Id="rId158" Type="http://schemas.openxmlformats.org/officeDocument/2006/relationships/tags" Target="../tags/tag159.xml"/><Relationship Id="rId302" Type="http://schemas.openxmlformats.org/officeDocument/2006/relationships/tags" Target="../tags/tag303.xml"/><Relationship Id="rId323" Type="http://schemas.openxmlformats.org/officeDocument/2006/relationships/tags" Target="../tags/tag324.xml"/><Relationship Id="rId344" Type="http://schemas.openxmlformats.org/officeDocument/2006/relationships/tags" Target="../tags/tag345.xml"/><Relationship Id="rId20" Type="http://schemas.openxmlformats.org/officeDocument/2006/relationships/tags" Target="../tags/tag21.xml"/><Relationship Id="rId41" Type="http://schemas.openxmlformats.org/officeDocument/2006/relationships/tags" Target="../tags/tag42.xml"/><Relationship Id="rId62" Type="http://schemas.openxmlformats.org/officeDocument/2006/relationships/tags" Target="../tags/tag63.xml"/><Relationship Id="rId83" Type="http://schemas.openxmlformats.org/officeDocument/2006/relationships/tags" Target="../tags/tag84.xml"/><Relationship Id="rId179" Type="http://schemas.openxmlformats.org/officeDocument/2006/relationships/tags" Target="../tags/tag180.xml"/><Relationship Id="rId365" Type="http://schemas.openxmlformats.org/officeDocument/2006/relationships/tags" Target="../tags/tag366.xml"/><Relationship Id="rId386" Type="http://schemas.openxmlformats.org/officeDocument/2006/relationships/tags" Target="../tags/tag387.xml"/><Relationship Id="rId190" Type="http://schemas.openxmlformats.org/officeDocument/2006/relationships/tags" Target="../tags/tag191.xml"/><Relationship Id="rId204" Type="http://schemas.openxmlformats.org/officeDocument/2006/relationships/tags" Target="../tags/tag205.xml"/><Relationship Id="rId225" Type="http://schemas.openxmlformats.org/officeDocument/2006/relationships/tags" Target="../tags/tag226.xml"/><Relationship Id="rId246" Type="http://schemas.openxmlformats.org/officeDocument/2006/relationships/tags" Target="../tags/tag247.xml"/><Relationship Id="rId267" Type="http://schemas.openxmlformats.org/officeDocument/2006/relationships/tags" Target="../tags/tag268.xml"/><Relationship Id="rId288" Type="http://schemas.openxmlformats.org/officeDocument/2006/relationships/tags" Target="../tags/tag289.xml"/><Relationship Id="rId411" Type="http://schemas.openxmlformats.org/officeDocument/2006/relationships/tags" Target="../tags/tag412.xml"/><Relationship Id="rId106" Type="http://schemas.openxmlformats.org/officeDocument/2006/relationships/tags" Target="../tags/tag107.xml"/><Relationship Id="rId127" Type="http://schemas.openxmlformats.org/officeDocument/2006/relationships/tags" Target="../tags/tag128.xml"/><Relationship Id="rId313" Type="http://schemas.openxmlformats.org/officeDocument/2006/relationships/tags" Target="../tags/tag314.xml"/><Relationship Id="rId10" Type="http://schemas.openxmlformats.org/officeDocument/2006/relationships/tags" Target="../tags/tag11.xml"/><Relationship Id="rId31" Type="http://schemas.openxmlformats.org/officeDocument/2006/relationships/tags" Target="../tags/tag32.xml"/><Relationship Id="rId52" Type="http://schemas.openxmlformats.org/officeDocument/2006/relationships/tags" Target="../tags/tag53.xml"/><Relationship Id="rId73" Type="http://schemas.openxmlformats.org/officeDocument/2006/relationships/tags" Target="../tags/tag74.xml"/><Relationship Id="rId94" Type="http://schemas.openxmlformats.org/officeDocument/2006/relationships/tags" Target="../tags/tag95.xml"/><Relationship Id="rId148" Type="http://schemas.openxmlformats.org/officeDocument/2006/relationships/tags" Target="../tags/tag149.xml"/><Relationship Id="rId169" Type="http://schemas.openxmlformats.org/officeDocument/2006/relationships/tags" Target="../tags/tag170.xml"/><Relationship Id="rId334" Type="http://schemas.openxmlformats.org/officeDocument/2006/relationships/tags" Target="../tags/tag335.xml"/><Relationship Id="rId355" Type="http://schemas.openxmlformats.org/officeDocument/2006/relationships/tags" Target="../tags/tag356.xml"/><Relationship Id="rId376" Type="http://schemas.openxmlformats.org/officeDocument/2006/relationships/tags" Target="../tags/tag377.xml"/><Relationship Id="rId397" Type="http://schemas.openxmlformats.org/officeDocument/2006/relationships/tags" Target="../tags/tag398.xml"/><Relationship Id="rId4" Type="http://schemas.openxmlformats.org/officeDocument/2006/relationships/tags" Target="../tags/tag5.xml"/><Relationship Id="rId180" Type="http://schemas.openxmlformats.org/officeDocument/2006/relationships/tags" Target="../tags/tag181.xml"/><Relationship Id="rId215" Type="http://schemas.openxmlformats.org/officeDocument/2006/relationships/tags" Target="../tags/tag216.xml"/><Relationship Id="rId236" Type="http://schemas.openxmlformats.org/officeDocument/2006/relationships/tags" Target="../tags/tag237.xml"/><Relationship Id="rId257" Type="http://schemas.openxmlformats.org/officeDocument/2006/relationships/tags" Target="../tags/tag258.xml"/><Relationship Id="rId278" Type="http://schemas.openxmlformats.org/officeDocument/2006/relationships/tags" Target="../tags/tag279.xml"/><Relationship Id="rId401" Type="http://schemas.openxmlformats.org/officeDocument/2006/relationships/tags" Target="../tags/tag402.xml"/><Relationship Id="rId422" Type="http://schemas.openxmlformats.org/officeDocument/2006/relationships/image" Target="../media/image69.png"/><Relationship Id="rId303" Type="http://schemas.openxmlformats.org/officeDocument/2006/relationships/tags" Target="../tags/tag304.xml"/><Relationship Id="rId42" Type="http://schemas.openxmlformats.org/officeDocument/2006/relationships/tags" Target="../tags/tag43.xml"/><Relationship Id="rId84" Type="http://schemas.openxmlformats.org/officeDocument/2006/relationships/tags" Target="../tags/tag85.xml"/><Relationship Id="rId138" Type="http://schemas.openxmlformats.org/officeDocument/2006/relationships/tags" Target="../tags/tag139.xml"/><Relationship Id="rId345" Type="http://schemas.openxmlformats.org/officeDocument/2006/relationships/tags" Target="../tags/tag346.xml"/><Relationship Id="rId387" Type="http://schemas.openxmlformats.org/officeDocument/2006/relationships/tags" Target="../tags/tag388.xml"/><Relationship Id="rId191" Type="http://schemas.openxmlformats.org/officeDocument/2006/relationships/tags" Target="../tags/tag192.xml"/><Relationship Id="rId205" Type="http://schemas.openxmlformats.org/officeDocument/2006/relationships/tags" Target="../tags/tag206.xml"/><Relationship Id="rId247" Type="http://schemas.openxmlformats.org/officeDocument/2006/relationships/tags" Target="../tags/tag248.xml"/><Relationship Id="rId412" Type="http://schemas.openxmlformats.org/officeDocument/2006/relationships/tags" Target="../tags/tag413.xml"/><Relationship Id="rId107" Type="http://schemas.openxmlformats.org/officeDocument/2006/relationships/tags" Target="../tags/tag108.xml"/><Relationship Id="rId289" Type="http://schemas.openxmlformats.org/officeDocument/2006/relationships/tags" Target="../tags/tag290.xml"/><Relationship Id="rId11" Type="http://schemas.openxmlformats.org/officeDocument/2006/relationships/tags" Target="../tags/tag12.xml"/><Relationship Id="rId53" Type="http://schemas.openxmlformats.org/officeDocument/2006/relationships/tags" Target="../tags/tag54.xml"/><Relationship Id="rId149" Type="http://schemas.openxmlformats.org/officeDocument/2006/relationships/tags" Target="../tags/tag150.xml"/><Relationship Id="rId314" Type="http://schemas.openxmlformats.org/officeDocument/2006/relationships/tags" Target="../tags/tag315.xml"/><Relationship Id="rId356" Type="http://schemas.openxmlformats.org/officeDocument/2006/relationships/tags" Target="../tags/tag357.xml"/><Relationship Id="rId398" Type="http://schemas.openxmlformats.org/officeDocument/2006/relationships/tags" Target="../tags/tag399.xml"/><Relationship Id="rId95" Type="http://schemas.openxmlformats.org/officeDocument/2006/relationships/tags" Target="../tags/tag96.xml"/><Relationship Id="rId160" Type="http://schemas.openxmlformats.org/officeDocument/2006/relationships/tags" Target="../tags/tag161.xml"/><Relationship Id="rId216" Type="http://schemas.openxmlformats.org/officeDocument/2006/relationships/tags" Target="../tags/tag217.xml"/><Relationship Id="rId423" Type="http://schemas.openxmlformats.org/officeDocument/2006/relationships/image" Target="../media/image70.svg"/><Relationship Id="rId258" Type="http://schemas.openxmlformats.org/officeDocument/2006/relationships/tags" Target="../tags/tag259.xml"/><Relationship Id="rId22" Type="http://schemas.openxmlformats.org/officeDocument/2006/relationships/tags" Target="../tags/tag23.xml"/><Relationship Id="rId64" Type="http://schemas.openxmlformats.org/officeDocument/2006/relationships/tags" Target="../tags/tag65.xml"/><Relationship Id="rId118" Type="http://schemas.openxmlformats.org/officeDocument/2006/relationships/tags" Target="../tags/tag119.xml"/><Relationship Id="rId325" Type="http://schemas.openxmlformats.org/officeDocument/2006/relationships/tags" Target="../tags/tag326.xml"/><Relationship Id="rId367" Type="http://schemas.openxmlformats.org/officeDocument/2006/relationships/tags" Target="../tags/tag368.xml"/><Relationship Id="rId171" Type="http://schemas.openxmlformats.org/officeDocument/2006/relationships/tags" Target="../tags/tag172.xml"/><Relationship Id="rId227" Type="http://schemas.openxmlformats.org/officeDocument/2006/relationships/tags" Target="../tags/tag228.xml"/><Relationship Id="rId269" Type="http://schemas.openxmlformats.org/officeDocument/2006/relationships/tags" Target="../tags/tag270.xml"/><Relationship Id="rId33" Type="http://schemas.openxmlformats.org/officeDocument/2006/relationships/tags" Target="../tags/tag34.xml"/><Relationship Id="rId129" Type="http://schemas.openxmlformats.org/officeDocument/2006/relationships/tags" Target="../tags/tag130.xml"/><Relationship Id="rId280" Type="http://schemas.openxmlformats.org/officeDocument/2006/relationships/tags" Target="../tags/tag281.xml"/><Relationship Id="rId336" Type="http://schemas.openxmlformats.org/officeDocument/2006/relationships/tags" Target="../tags/tag337.xml"/><Relationship Id="rId75" Type="http://schemas.openxmlformats.org/officeDocument/2006/relationships/tags" Target="../tags/tag76.xml"/><Relationship Id="rId140" Type="http://schemas.openxmlformats.org/officeDocument/2006/relationships/tags" Target="../tags/tag141.xml"/><Relationship Id="rId182" Type="http://schemas.openxmlformats.org/officeDocument/2006/relationships/tags" Target="../tags/tag183.xml"/><Relationship Id="rId378" Type="http://schemas.openxmlformats.org/officeDocument/2006/relationships/tags" Target="../tags/tag379.xml"/><Relationship Id="rId403" Type="http://schemas.openxmlformats.org/officeDocument/2006/relationships/tags" Target="../tags/tag404.xml"/><Relationship Id="rId6" Type="http://schemas.openxmlformats.org/officeDocument/2006/relationships/tags" Target="../tags/tag7.xml"/><Relationship Id="rId238" Type="http://schemas.openxmlformats.org/officeDocument/2006/relationships/tags" Target="../tags/tag239.xml"/><Relationship Id="rId291" Type="http://schemas.openxmlformats.org/officeDocument/2006/relationships/tags" Target="../tags/tag292.xml"/><Relationship Id="rId305" Type="http://schemas.openxmlformats.org/officeDocument/2006/relationships/tags" Target="../tags/tag306.xml"/><Relationship Id="rId347" Type="http://schemas.openxmlformats.org/officeDocument/2006/relationships/tags" Target="../tags/tag348.xml"/><Relationship Id="rId44" Type="http://schemas.openxmlformats.org/officeDocument/2006/relationships/tags" Target="../tags/tag45.xml"/><Relationship Id="rId86" Type="http://schemas.openxmlformats.org/officeDocument/2006/relationships/tags" Target="../tags/tag87.xml"/><Relationship Id="rId151" Type="http://schemas.openxmlformats.org/officeDocument/2006/relationships/tags" Target="../tags/tag152.xml"/><Relationship Id="rId389" Type="http://schemas.openxmlformats.org/officeDocument/2006/relationships/tags" Target="../tags/tag390.xml"/><Relationship Id="rId193" Type="http://schemas.openxmlformats.org/officeDocument/2006/relationships/tags" Target="../tags/tag194.xml"/><Relationship Id="rId207" Type="http://schemas.openxmlformats.org/officeDocument/2006/relationships/tags" Target="../tags/tag208.xml"/><Relationship Id="rId249" Type="http://schemas.openxmlformats.org/officeDocument/2006/relationships/tags" Target="../tags/tag250.xml"/><Relationship Id="rId414" Type="http://schemas.openxmlformats.org/officeDocument/2006/relationships/slideLayout" Target="../slideLayouts/slideLayout10.xml"/><Relationship Id="rId13" Type="http://schemas.openxmlformats.org/officeDocument/2006/relationships/tags" Target="../tags/tag14.xml"/><Relationship Id="rId109" Type="http://schemas.openxmlformats.org/officeDocument/2006/relationships/tags" Target="../tags/tag110.xml"/><Relationship Id="rId260" Type="http://schemas.openxmlformats.org/officeDocument/2006/relationships/tags" Target="../tags/tag261.xml"/><Relationship Id="rId316" Type="http://schemas.openxmlformats.org/officeDocument/2006/relationships/tags" Target="../tags/tag317.xml"/><Relationship Id="rId55" Type="http://schemas.openxmlformats.org/officeDocument/2006/relationships/tags" Target="../tags/tag56.xml"/><Relationship Id="rId97" Type="http://schemas.openxmlformats.org/officeDocument/2006/relationships/tags" Target="../tags/tag98.xml"/><Relationship Id="rId120" Type="http://schemas.openxmlformats.org/officeDocument/2006/relationships/tags" Target="../tags/tag121.xml"/><Relationship Id="rId358" Type="http://schemas.openxmlformats.org/officeDocument/2006/relationships/tags" Target="../tags/tag359.xml"/><Relationship Id="rId162" Type="http://schemas.openxmlformats.org/officeDocument/2006/relationships/tags" Target="../tags/tag163.xml"/><Relationship Id="rId218" Type="http://schemas.openxmlformats.org/officeDocument/2006/relationships/tags" Target="../tags/tag219.xml"/><Relationship Id="rId425" Type="http://schemas.openxmlformats.org/officeDocument/2006/relationships/image" Target="../media/image72.svg"/><Relationship Id="rId271" Type="http://schemas.openxmlformats.org/officeDocument/2006/relationships/tags" Target="../tags/tag272.xml"/><Relationship Id="rId24" Type="http://schemas.openxmlformats.org/officeDocument/2006/relationships/tags" Target="../tags/tag25.xml"/><Relationship Id="rId66" Type="http://schemas.openxmlformats.org/officeDocument/2006/relationships/tags" Target="../tags/tag67.xml"/><Relationship Id="rId131" Type="http://schemas.openxmlformats.org/officeDocument/2006/relationships/tags" Target="../tags/tag132.xml"/><Relationship Id="rId327" Type="http://schemas.openxmlformats.org/officeDocument/2006/relationships/tags" Target="../tags/tag328.xml"/><Relationship Id="rId369" Type="http://schemas.openxmlformats.org/officeDocument/2006/relationships/tags" Target="../tags/tag370.xml"/><Relationship Id="rId173" Type="http://schemas.openxmlformats.org/officeDocument/2006/relationships/tags" Target="../tags/tag174.xml"/><Relationship Id="rId229" Type="http://schemas.openxmlformats.org/officeDocument/2006/relationships/tags" Target="../tags/tag230.xml"/><Relationship Id="rId380" Type="http://schemas.openxmlformats.org/officeDocument/2006/relationships/tags" Target="../tags/tag381.xml"/><Relationship Id="rId240" Type="http://schemas.openxmlformats.org/officeDocument/2006/relationships/tags" Target="../tags/tag241.xml"/><Relationship Id="rId35" Type="http://schemas.openxmlformats.org/officeDocument/2006/relationships/tags" Target="../tags/tag36.xml"/><Relationship Id="rId77" Type="http://schemas.openxmlformats.org/officeDocument/2006/relationships/tags" Target="../tags/tag78.xml"/><Relationship Id="rId100" Type="http://schemas.openxmlformats.org/officeDocument/2006/relationships/tags" Target="../tags/tag101.xml"/><Relationship Id="rId282" Type="http://schemas.openxmlformats.org/officeDocument/2006/relationships/tags" Target="../tags/tag283.xml"/><Relationship Id="rId338" Type="http://schemas.openxmlformats.org/officeDocument/2006/relationships/tags" Target="../tags/tag339.xml"/><Relationship Id="rId8" Type="http://schemas.openxmlformats.org/officeDocument/2006/relationships/tags" Target="../tags/tag9.xml"/><Relationship Id="rId142" Type="http://schemas.openxmlformats.org/officeDocument/2006/relationships/tags" Target="../tags/tag143.xml"/><Relationship Id="rId184" Type="http://schemas.openxmlformats.org/officeDocument/2006/relationships/tags" Target="../tags/tag185.xml"/><Relationship Id="rId391" Type="http://schemas.openxmlformats.org/officeDocument/2006/relationships/tags" Target="../tags/tag392.xml"/><Relationship Id="rId405" Type="http://schemas.openxmlformats.org/officeDocument/2006/relationships/tags" Target="../tags/tag406.xml"/><Relationship Id="rId251" Type="http://schemas.openxmlformats.org/officeDocument/2006/relationships/tags" Target="../tags/tag252.xml"/><Relationship Id="rId46" Type="http://schemas.openxmlformats.org/officeDocument/2006/relationships/tags" Target="../tags/tag47.xml"/><Relationship Id="rId293" Type="http://schemas.openxmlformats.org/officeDocument/2006/relationships/tags" Target="../tags/tag294.xml"/><Relationship Id="rId307" Type="http://schemas.openxmlformats.org/officeDocument/2006/relationships/tags" Target="../tags/tag308.xml"/><Relationship Id="rId349" Type="http://schemas.openxmlformats.org/officeDocument/2006/relationships/tags" Target="../tags/tag350.xml"/><Relationship Id="rId88" Type="http://schemas.openxmlformats.org/officeDocument/2006/relationships/tags" Target="../tags/tag89.xml"/><Relationship Id="rId111" Type="http://schemas.openxmlformats.org/officeDocument/2006/relationships/tags" Target="../tags/tag112.xml"/><Relationship Id="rId153" Type="http://schemas.openxmlformats.org/officeDocument/2006/relationships/tags" Target="../tags/tag154.xml"/><Relationship Id="rId195" Type="http://schemas.openxmlformats.org/officeDocument/2006/relationships/tags" Target="../tags/tag196.xml"/><Relationship Id="rId209" Type="http://schemas.openxmlformats.org/officeDocument/2006/relationships/tags" Target="../tags/tag210.xml"/><Relationship Id="rId360" Type="http://schemas.openxmlformats.org/officeDocument/2006/relationships/tags" Target="../tags/tag361.xml"/><Relationship Id="rId416" Type="http://schemas.openxmlformats.org/officeDocument/2006/relationships/oleObject" Target="../embeddings/oleObject1.bin"/><Relationship Id="rId220" Type="http://schemas.openxmlformats.org/officeDocument/2006/relationships/tags" Target="../tags/tag221.xml"/><Relationship Id="rId15" Type="http://schemas.openxmlformats.org/officeDocument/2006/relationships/tags" Target="../tags/tag16.xml"/><Relationship Id="rId57" Type="http://schemas.openxmlformats.org/officeDocument/2006/relationships/tags" Target="../tags/tag58.xml"/><Relationship Id="rId262" Type="http://schemas.openxmlformats.org/officeDocument/2006/relationships/tags" Target="../tags/tag263.xml"/><Relationship Id="rId318" Type="http://schemas.openxmlformats.org/officeDocument/2006/relationships/tags" Target="../tags/tag319.xml"/><Relationship Id="rId99" Type="http://schemas.openxmlformats.org/officeDocument/2006/relationships/tags" Target="../tags/tag100.xml"/><Relationship Id="rId122" Type="http://schemas.openxmlformats.org/officeDocument/2006/relationships/tags" Target="../tags/tag123.xml"/><Relationship Id="rId164" Type="http://schemas.openxmlformats.org/officeDocument/2006/relationships/tags" Target="../tags/tag165.xml"/><Relationship Id="rId371" Type="http://schemas.openxmlformats.org/officeDocument/2006/relationships/tags" Target="../tags/tag372.xml"/><Relationship Id="rId427" Type="http://schemas.openxmlformats.org/officeDocument/2006/relationships/image" Target="../media/image74.svg"/><Relationship Id="rId26" Type="http://schemas.openxmlformats.org/officeDocument/2006/relationships/tags" Target="../tags/tag27.xml"/><Relationship Id="rId231" Type="http://schemas.openxmlformats.org/officeDocument/2006/relationships/tags" Target="../tags/tag232.xml"/><Relationship Id="rId273" Type="http://schemas.openxmlformats.org/officeDocument/2006/relationships/tags" Target="../tags/tag274.xml"/><Relationship Id="rId329" Type="http://schemas.openxmlformats.org/officeDocument/2006/relationships/tags" Target="../tags/tag330.xml"/><Relationship Id="rId68" Type="http://schemas.openxmlformats.org/officeDocument/2006/relationships/tags" Target="../tags/tag69.xml"/><Relationship Id="rId133" Type="http://schemas.openxmlformats.org/officeDocument/2006/relationships/tags" Target="../tags/tag134.xml"/><Relationship Id="rId175" Type="http://schemas.openxmlformats.org/officeDocument/2006/relationships/tags" Target="../tags/tag176.xml"/><Relationship Id="rId340" Type="http://schemas.openxmlformats.org/officeDocument/2006/relationships/tags" Target="../tags/tag341.xml"/><Relationship Id="rId200" Type="http://schemas.openxmlformats.org/officeDocument/2006/relationships/tags" Target="../tags/tag201.xml"/><Relationship Id="rId382" Type="http://schemas.openxmlformats.org/officeDocument/2006/relationships/tags" Target="../tags/tag383.xml"/><Relationship Id="rId242" Type="http://schemas.openxmlformats.org/officeDocument/2006/relationships/tags" Target="../tags/tag243.xml"/><Relationship Id="rId284" Type="http://schemas.openxmlformats.org/officeDocument/2006/relationships/tags" Target="../tags/tag285.xml"/><Relationship Id="rId37" Type="http://schemas.openxmlformats.org/officeDocument/2006/relationships/tags" Target="../tags/tag38.xml"/><Relationship Id="rId79" Type="http://schemas.openxmlformats.org/officeDocument/2006/relationships/tags" Target="../tags/tag80.xml"/><Relationship Id="rId102" Type="http://schemas.openxmlformats.org/officeDocument/2006/relationships/tags" Target="../tags/tag103.xml"/><Relationship Id="rId144" Type="http://schemas.openxmlformats.org/officeDocument/2006/relationships/tags" Target="../tags/tag145.xml"/><Relationship Id="rId90" Type="http://schemas.openxmlformats.org/officeDocument/2006/relationships/tags" Target="../tags/tag91.xml"/><Relationship Id="rId186" Type="http://schemas.openxmlformats.org/officeDocument/2006/relationships/tags" Target="../tags/tag187.xml"/><Relationship Id="rId351" Type="http://schemas.openxmlformats.org/officeDocument/2006/relationships/tags" Target="../tags/tag352.xml"/><Relationship Id="rId393" Type="http://schemas.openxmlformats.org/officeDocument/2006/relationships/tags" Target="../tags/tag394.xml"/><Relationship Id="rId407" Type="http://schemas.openxmlformats.org/officeDocument/2006/relationships/tags" Target="../tags/tag408.xml"/><Relationship Id="rId211" Type="http://schemas.openxmlformats.org/officeDocument/2006/relationships/tags" Target="../tags/tag212.xml"/><Relationship Id="rId253" Type="http://schemas.openxmlformats.org/officeDocument/2006/relationships/tags" Target="../tags/tag254.xml"/><Relationship Id="rId295" Type="http://schemas.openxmlformats.org/officeDocument/2006/relationships/tags" Target="../tags/tag296.xml"/><Relationship Id="rId309" Type="http://schemas.openxmlformats.org/officeDocument/2006/relationships/tags" Target="../tags/tag310.xml"/><Relationship Id="rId48" Type="http://schemas.openxmlformats.org/officeDocument/2006/relationships/tags" Target="../tags/tag49.xml"/><Relationship Id="rId113" Type="http://schemas.openxmlformats.org/officeDocument/2006/relationships/tags" Target="../tags/tag114.xml"/><Relationship Id="rId320" Type="http://schemas.openxmlformats.org/officeDocument/2006/relationships/tags" Target="../tags/tag321.xml"/><Relationship Id="rId155" Type="http://schemas.openxmlformats.org/officeDocument/2006/relationships/tags" Target="../tags/tag156.xml"/><Relationship Id="rId197" Type="http://schemas.openxmlformats.org/officeDocument/2006/relationships/tags" Target="../tags/tag198.xml"/><Relationship Id="rId362" Type="http://schemas.openxmlformats.org/officeDocument/2006/relationships/tags" Target="../tags/tag363.xml"/><Relationship Id="rId418" Type="http://schemas.openxmlformats.org/officeDocument/2006/relationships/image" Target="../media/image65.png"/><Relationship Id="rId222" Type="http://schemas.openxmlformats.org/officeDocument/2006/relationships/tags" Target="../tags/tag223.xml"/><Relationship Id="rId264" Type="http://schemas.openxmlformats.org/officeDocument/2006/relationships/tags" Target="../tags/tag265.xml"/><Relationship Id="rId17" Type="http://schemas.openxmlformats.org/officeDocument/2006/relationships/tags" Target="../tags/tag18.xml"/><Relationship Id="rId59" Type="http://schemas.openxmlformats.org/officeDocument/2006/relationships/tags" Target="../tags/tag60.xml"/><Relationship Id="rId124" Type="http://schemas.openxmlformats.org/officeDocument/2006/relationships/tags" Target="../tags/tag12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76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2.png"/><Relationship Id="rId13" Type="http://schemas.openxmlformats.org/officeDocument/2006/relationships/image" Target="../media/image87.png"/><Relationship Id="rId18" Type="http://schemas.openxmlformats.org/officeDocument/2006/relationships/image" Target="../media/image92.png"/><Relationship Id="rId3" Type="http://schemas.openxmlformats.org/officeDocument/2006/relationships/image" Target="../media/image77.png"/><Relationship Id="rId7" Type="http://schemas.openxmlformats.org/officeDocument/2006/relationships/image" Target="../media/image81.png"/><Relationship Id="rId12" Type="http://schemas.openxmlformats.org/officeDocument/2006/relationships/image" Target="../media/image86.png"/><Relationship Id="rId17" Type="http://schemas.openxmlformats.org/officeDocument/2006/relationships/image" Target="../media/image91.pn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90.png"/><Relationship Id="rId20" Type="http://schemas.openxmlformats.org/officeDocument/2006/relationships/image" Target="../media/image94.png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80.png"/><Relationship Id="rId11" Type="http://schemas.openxmlformats.org/officeDocument/2006/relationships/image" Target="../media/image85.png"/><Relationship Id="rId5" Type="http://schemas.openxmlformats.org/officeDocument/2006/relationships/image" Target="../media/image79.png"/><Relationship Id="rId15" Type="http://schemas.openxmlformats.org/officeDocument/2006/relationships/image" Target="../media/image89.png"/><Relationship Id="rId10" Type="http://schemas.openxmlformats.org/officeDocument/2006/relationships/image" Target="../media/image84.png"/><Relationship Id="rId19" Type="http://schemas.openxmlformats.org/officeDocument/2006/relationships/image" Target="../media/image93.png"/><Relationship Id="rId4" Type="http://schemas.openxmlformats.org/officeDocument/2006/relationships/image" Target="../media/image78.png"/><Relationship Id="rId9" Type="http://schemas.openxmlformats.org/officeDocument/2006/relationships/image" Target="../media/image83.png"/><Relationship Id="rId14" Type="http://schemas.openxmlformats.org/officeDocument/2006/relationships/image" Target="../media/image88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emf"/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8" Type="http://schemas.microsoft.com/office/2007/relationships/hdphoto" Target="../media/hdphoto4.wdp"/><Relationship Id="rId13" Type="http://schemas.openxmlformats.org/officeDocument/2006/relationships/image" Target="../media/image103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99.png"/><Relationship Id="rId12" Type="http://schemas.microsoft.com/office/2007/relationships/hdphoto" Target="../media/hdphoto5.wdp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106.png"/><Relationship Id="rId1" Type="http://schemas.openxmlformats.org/officeDocument/2006/relationships/tags" Target="../tags/tag415.xml"/><Relationship Id="rId6" Type="http://schemas.microsoft.com/office/2007/relationships/hdphoto" Target="../media/hdphoto3.wdp"/><Relationship Id="rId11" Type="http://schemas.openxmlformats.org/officeDocument/2006/relationships/image" Target="../media/image102.png"/><Relationship Id="rId5" Type="http://schemas.openxmlformats.org/officeDocument/2006/relationships/image" Target="../media/image98.png"/><Relationship Id="rId15" Type="http://schemas.openxmlformats.org/officeDocument/2006/relationships/image" Target="../media/image105.png"/><Relationship Id="rId10" Type="http://schemas.openxmlformats.org/officeDocument/2006/relationships/image" Target="../media/image101.jpeg"/><Relationship Id="rId4" Type="http://schemas.openxmlformats.org/officeDocument/2006/relationships/image" Target="../media/image97.emf"/><Relationship Id="rId9" Type="http://schemas.openxmlformats.org/officeDocument/2006/relationships/image" Target="../media/image100.gif"/><Relationship Id="rId14" Type="http://schemas.openxmlformats.org/officeDocument/2006/relationships/image" Target="../media/image104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7.jpeg"/><Relationship Id="rId1" Type="http://schemas.openxmlformats.org/officeDocument/2006/relationships/slideLayout" Target="../slideLayouts/slideLayout7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7C75D1AC-4D6B-411B-82C5-CF113C32D65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cs-CZ" dirty="0"/>
              <a:t>Aleš Jakubec</a:t>
            </a:r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DE1BBD0C-ED35-4B59-A4C9-F638F6469D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Vliv výměny ventilátorů na účinnost větrání</a:t>
            </a: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5978986-C03B-4703-B30B-F1A862CA4A6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cs-CZ" dirty="0"/>
              <a:t>27.11.2025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08390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F7EC96C-8BDA-0B79-132C-FCAEA832066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Nadpis 4">
            <a:extLst>
              <a:ext uri="{FF2B5EF4-FFF2-40B4-BE49-F238E27FC236}">
                <a16:creationId xmlns:a16="http://schemas.microsoft.com/office/drawing/2014/main" id="{089E239F-D588-750C-293E-CE052EFB0D0F}"/>
              </a:ext>
            </a:extLst>
          </p:cNvPr>
          <p:cNvSpPr>
            <a:spLocks noGrp="1"/>
          </p:cNvSpPr>
          <p:nvPr>
            <p:ph type="title"/>
          </p:nvPr>
        </p:nvSpPr>
        <p:spPr>
          <a:solidFill>
            <a:schemeClr val="accent6"/>
          </a:solidFill>
        </p:spPr>
        <p:txBody>
          <a:bodyPr/>
          <a:lstStyle/>
          <a:p>
            <a:r>
              <a:rPr lang="cs-CZ" dirty="0">
                <a:latin typeface="Corbel" panose="020B0503020204020204" pitchFamily="34" charset="0"/>
              </a:rPr>
              <a:t>Náhradní </a:t>
            </a:r>
            <a:r>
              <a:rPr lang="cs-CZ" dirty="0" err="1">
                <a:latin typeface="Corbel" panose="020B0503020204020204" pitchFamily="34" charset="0"/>
              </a:rPr>
              <a:t>dily</a:t>
            </a:r>
            <a:r>
              <a:rPr lang="cs-CZ" dirty="0">
                <a:latin typeface="Corbel" panose="020B0503020204020204" pitchFamily="34" charset="0"/>
              </a:rPr>
              <a:t>?</a:t>
            </a:r>
            <a:br>
              <a:rPr lang="cs-CZ" dirty="0">
                <a:latin typeface="Corbel" panose="020B0503020204020204" pitchFamily="34" charset="0"/>
              </a:rPr>
            </a:br>
            <a:r>
              <a:rPr lang="cs-CZ" dirty="0">
                <a:latin typeface="Corbel" panose="020B0503020204020204" pitchFamily="34" charset="0"/>
              </a:rPr>
              <a:t>Jednoduchá cesta od AC k EC </a:t>
            </a:r>
            <a:r>
              <a:rPr lang="cs-CZ" b="0" i="1" dirty="0">
                <a:latin typeface="Corbel" panose="020B0503020204020204" pitchFamily="34" charset="0"/>
              </a:rPr>
              <a:t>…bez komplikací…</a:t>
            </a:r>
            <a:endParaRPr lang="cs-CZ" dirty="0">
              <a:latin typeface="Corbel" panose="020B0503020204020204" pitchFamily="34" charset="0"/>
            </a:endParaRPr>
          </a:p>
        </p:txBody>
      </p:sp>
      <p:sp>
        <p:nvSpPr>
          <p:cNvPr id="6" name="Zástupný symbol pro datum 5">
            <a:extLst>
              <a:ext uri="{FF2B5EF4-FFF2-40B4-BE49-F238E27FC236}">
                <a16:creationId xmlns:a16="http://schemas.microsoft.com/office/drawing/2014/main" id="{5A818011-8F24-D6AB-3690-A25A80448622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r>
              <a:rPr lang="cs-CZ" dirty="0">
                <a:solidFill>
                  <a:prstClr val="black"/>
                </a:solidFill>
              </a:rPr>
              <a:t>30.05.2024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4F981B0F-3159-9BCB-66A2-1B105B729EF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C65B49A1-3796-456D-80C3-467C217D8036}" type="slidenum">
              <a:rPr lang="de-DE">
                <a:solidFill>
                  <a:prstClr val="black"/>
                </a:solidFill>
              </a:rPr>
              <a:pPr>
                <a:defRPr/>
              </a:pPr>
              <a:t>10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9" name="Rechteck 6">
            <a:extLst>
              <a:ext uri="{FF2B5EF4-FFF2-40B4-BE49-F238E27FC236}">
                <a16:creationId xmlns:a16="http://schemas.microsoft.com/office/drawing/2014/main" id="{27344B8F-585B-5889-F221-9A0156471D5C}"/>
              </a:ext>
            </a:extLst>
          </p:cNvPr>
          <p:cNvSpPr/>
          <p:nvPr/>
        </p:nvSpPr>
        <p:spPr bwMode="gray">
          <a:xfrm>
            <a:off x="2390908" y="5038045"/>
            <a:ext cx="3585653" cy="156595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de-DE" sz="2000" err="1">
              <a:solidFill>
                <a:prstClr val="white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13" name="Tekstboks 2">
            <a:extLst>
              <a:ext uri="{FF2B5EF4-FFF2-40B4-BE49-F238E27FC236}">
                <a16:creationId xmlns:a16="http://schemas.microsoft.com/office/drawing/2014/main" id="{5C102724-58C0-32B7-AE4C-529C85556C5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813130" y="5154025"/>
            <a:ext cx="2990691" cy="144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1pPr>
            <a:lvl2pPr marL="742950" indent="-285750">
              <a:spcBef>
                <a:spcPct val="20000"/>
              </a:spcBef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2pPr>
            <a:lvl3pPr marL="1143000" indent="-228600">
              <a:spcBef>
                <a:spcPct val="20000"/>
              </a:spcBef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3pPr>
            <a:lvl4pPr marL="1600200" indent="-228600">
              <a:spcBef>
                <a:spcPct val="20000"/>
              </a:spcBef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4pPr>
            <a:lvl5pPr marL="2057400" indent="-228600">
              <a:spcBef>
                <a:spcPct val="20000"/>
              </a:spcBef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cs-CZ" altLang="da-DK" sz="3500" dirty="0">
                <a:solidFill>
                  <a:prstClr val="white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Úspora</a:t>
            </a:r>
            <a:r>
              <a:rPr lang="da-DK" altLang="da-DK" sz="4000" dirty="0">
                <a:solidFill>
                  <a:prstClr val="white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 </a:t>
            </a:r>
            <a:br>
              <a:rPr lang="da-DK" altLang="da-DK" sz="2000" b="1" dirty="0">
                <a:solidFill>
                  <a:prstClr val="white"/>
                </a:solidFill>
                <a:latin typeface="Corbel" panose="020B0503020204020204" pitchFamily="34" charset="0"/>
                <a:cs typeface="Arial" panose="020B0604020202020204" pitchFamily="34" charset="0"/>
              </a:rPr>
            </a:br>
            <a:r>
              <a:rPr lang="da-DK" altLang="da-DK" sz="4800" b="1" dirty="0">
                <a:solidFill>
                  <a:prstClr val="white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20% – </a:t>
            </a:r>
            <a:r>
              <a:rPr lang="cs-CZ" altLang="da-DK" sz="4800" b="1" dirty="0">
                <a:solidFill>
                  <a:prstClr val="white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7</a:t>
            </a:r>
            <a:r>
              <a:rPr lang="da-DK" altLang="da-DK" sz="4800" b="1" dirty="0">
                <a:solidFill>
                  <a:prstClr val="white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0%</a:t>
            </a:r>
          </a:p>
        </p:txBody>
      </p:sp>
      <p:sp>
        <p:nvSpPr>
          <p:cNvPr id="14" name="Tekstboks 3">
            <a:extLst>
              <a:ext uri="{FF2B5EF4-FFF2-40B4-BE49-F238E27FC236}">
                <a16:creationId xmlns:a16="http://schemas.microsoft.com/office/drawing/2014/main" id="{A980A2FF-CF8F-1467-A0BF-DFCE38799DD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37720" y="1820335"/>
            <a:ext cx="1631074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1pPr>
            <a:lvl2pPr marL="742950" indent="-285750">
              <a:spcBef>
                <a:spcPct val="20000"/>
              </a:spcBef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2pPr>
            <a:lvl3pPr marL="1143000" indent="-228600">
              <a:spcBef>
                <a:spcPct val="20000"/>
              </a:spcBef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3pPr>
            <a:lvl4pPr marL="1600200" indent="-228600">
              <a:spcBef>
                <a:spcPct val="20000"/>
              </a:spcBef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4pPr>
            <a:lvl5pPr marL="2057400" indent="-228600">
              <a:spcBef>
                <a:spcPct val="20000"/>
              </a:spcBef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cs-CZ" altLang="da-DK" sz="2400" b="1" dirty="0">
                <a:solidFill>
                  <a:srgbClr val="A3BA1E"/>
                </a:solidFill>
                <a:latin typeface="Corbel" panose="020B0503020204020204" pitchFamily="34" charset="0"/>
                <a:cs typeface="Arial" charset="0"/>
              </a:rPr>
              <a:t>Předtím</a:t>
            </a:r>
            <a:endParaRPr lang="da-DK" altLang="da-DK" sz="2400" b="1" dirty="0">
              <a:solidFill>
                <a:srgbClr val="A3BA1E"/>
              </a:solidFill>
              <a:latin typeface="Corbel" panose="020B0503020204020204" pitchFamily="34" charset="0"/>
              <a:cs typeface="Arial" charset="0"/>
            </a:endParaRPr>
          </a:p>
        </p:txBody>
      </p:sp>
      <p:sp>
        <p:nvSpPr>
          <p:cNvPr id="15" name="Tekstboks 4">
            <a:extLst>
              <a:ext uri="{FF2B5EF4-FFF2-40B4-BE49-F238E27FC236}">
                <a16:creationId xmlns:a16="http://schemas.microsoft.com/office/drawing/2014/main" id="{A87F1C5B-FF38-E102-AD9A-F32670B7F68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28290" y="1820335"/>
            <a:ext cx="1434104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1pPr>
            <a:lvl2pPr marL="742950" indent="-285750">
              <a:spcBef>
                <a:spcPct val="20000"/>
              </a:spcBef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2pPr>
            <a:lvl3pPr marL="1143000" indent="-228600">
              <a:spcBef>
                <a:spcPct val="20000"/>
              </a:spcBef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3pPr>
            <a:lvl4pPr marL="1600200" indent="-228600">
              <a:spcBef>
                <a:spcPct val="20000"/>
              </a:spcBef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4pPr>
            <a:lvl5pPr marL="2057400" indent="-228600">
              <a:spcBef>
                <a:spcPct val="20000"/>
              </a:spcBef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 Narrow" panose="020B0606020202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cs-CZ" altLang="da-DK" sz="2400" b="1" dirty="0">
                <a:solidFill>
                  <a:srgbClr val="A3BA1E"/>
                </a:solidFill>
                <a:latin typeface="Corbel" panose="020B0503020204020204" pitchFamily="34" charset="0"/>
                <a:cs typeface="Arial" charset="0"/>
              </a:rPr>
              <a:t>Potom</a:t>
            </a:r>
            <a:endParaRPr lang="da-DK" altLang="da-DK" sz="2400" b="1" dirty="0">
              <a:solidFill>
                <a:srgbClr val="A3BA1E"/>
              </a:solidFill>
              <a:latin typeface="Corbel" panose="020B0503020204020204" pitchFamily="34" charset="0"/>
              <a:cs typeface="Arial" charset="0"/>
            </a:endParaRPr>
          </a:p>
        </p:txBody>
      </p:sp>
      <p:sp>
        <p:nvSpPr>
          <p:cNvPr id="16" name="Tekstfelt 4">
            <a:extLst>
              <a:ext uri="{FF2B5EF4-FFF2-40B4-BE49-F238E27FC236}">
                <a16:creationId xmlns:a16="http://schemas.microsoft.com/office/drawing/2014/main" id="{A5EE1C6E-7538-AA6B-F8EC-B638C9F7AF2A}"/>
              </a:ext>
            </a:extLst>
          </p:cNvPr>
          <p:cNvSpPr txBox="1"/>
          <p:nvPr/>
        </p:nvSpPr>
        <p:spPr bwMode="gray">
          <a:xfrm>
            <a:off x="906486" y="5747719"/>
            <a:ext cx="1122275" cy="74515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FF0000"/>
                </a:solidFill>
                <a:latin typeface="Arial"/>
                <a:cs typeface="Arial" panose="020B0604020202020204" pitchFamily="34" charset="0"/>
              </a:rPr>
              <a:t>AC motor</a:t>
            </a:r>
            <a:endParaRPr lang="cs-CZ" sz="1600" dirty="0">
              <a:solidFill>
                <a:srgbClr val="FF0000"/>
              </a:solidFill>
              <a:latin typeface="Arial"/>
              <a:cs typeface="Arial" panose="020B0604020202020204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cs-CZ" sz="1600" dirty="0">
                <a:solidFill>
                  <a:srgbClr val="FF0000"/>
                </a:solidFill>
                <a:latin typeface="Arial"/>
                <a:cs typeface="Arial" panose="020B0604020202020204" pitchFamily="34" charset="0"/>
              </a:rPr>
              <a:t>P = 2,93 kW</a:t>
            </a:r>
            <a:endParaRPr lang="da-DK" sz="1600" dirty="0">
              <a:solidFill>
                <a:srgbClr val="FF0000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17" name="Tekstfelt 16">
            <a:extLst>
              <a:ext uri="{FF2B5EF4-FFF2-40B4-BE49-F238E27FC236}">
                <a16:creationId xmlns:a16="http://schemas.microsoft.com/office/drawing/2014/main" id="{8FD9713E-41DF-CE58-95FC-8077BD5A56D7}"/>
              </a:ext>
            </a:extLst>
          </p:cNvPr>
          <p:cNvSpPr txBox="1"/>
          <p:nvPr/>
        </p:nvSpPr>
        <p:spPr bwMode="gray">
          <a:xfrm>
            <a:off x="6577754" y="5747718"/>
            <a:ext cx="1130127" cy="62695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00B050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EC motor</a:t>
            </a:r>
            <a:endParaRPr lang="cs-CZ" sz="1600" dirty="0">
              <a:solidFill>
                <a:srgbClr val="00B050"/>
              </a:solidFill>
              <a:latin typeface="Corbel" panose="020B0503020204020204" pitchFamily="34" charset="0"/>
              <a:cs typeface="Arial" panose="020B0604020202020204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cs-CZ" sz="1600" dirty="0">
                <a:solidFill>
                  <a:srgbClr val="00B050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P = 1,85 kW</a:t>
            </a:r>
            <a:endParaRPr lang="da-DK" sz="1600" dirty="0">
              <a:solidFill>
                <a:srgbClr val="00B050"/>
              </a:solidFill>
              <a:latin typeface="Corbel" panose="020B0503020204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Gleichschenkliges Dreieck 22">
            <a:extLst>
              <a:ext uri="{FF2B5EF4-FFF2-40B4-BE49-F238E27FC236}">
                <a16:creationId xmlns:a16="http://schemas.microsoft.com/office/drawing/2014/main" id="{D0BD564B-F22F-A0C3-AFDC-01AABF8B7529}"/>
              </a:ext>
            </a:extLst>
          </p:cNvPr>
          <p:cNvSpPr/>
          <p:nvPr/>
        </p:nvSpPr>
        <p:spPr>
          <a:xfrm rot="5400000">
            <a:off x="3887976" y="3205342"/>
            <a:ext cx="562895" cy="485253"/>
          </a:xfrm>
          <a:prstGeom prst="triangl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de-DE">
              <a:solidFill>
                <a:prstClr val="white"/>
              </a:solidFill>
              <a:latin typeface="Arial"/>
            </a:endParaRPr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E2D303E8-DA15-B142-3E2A-D223D457214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15897" y="2331796"/>
            <a:ext cx="2971165" cy="2042676"/>
          </a:xfrm>
          <a:prstGeom prst="rect">
            <a:avLst/>
          </a:prstGeom>
        </p:spPr>
      </p:pic>
      <p:pic>
        <p:nvPicPr>
          <p:cNvPr id="22" name="Obrázek 21">
            <a:extLst>
              <a:ext uri="{FF2B5EF4-FFF2-40B4-BE49-F238E27FC236}">
                <a16:creationId xmlns:a16="http://schemas.microsoft.com/office/drawing/2014/main" id="{56103528-817D-E1FA-A54F-476F827113D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2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97506" y="2411318"/>
            <a:ext cx="2971165" cy="2035365"/>
          </a:xfrm>
          <a:prstGeom prst="rect">
            <a:avLst/>
          </a:prstGeom>
        </p:spPr>
      </p:pic>
      <p:sp>
        <p:nvSpPr>
          <p:cNvPr id="2" name="Zástupný symbol pro text 1">
            <a:extLst>
              <a:ext uri="{FF2B5EF4-FFF2-40B4-BE49-F238E27FC236}">
                <a16:creationId xmlns:a16="http://schemas.microsoft.com/office/drawing/2014/main" id="{18801051-F14B-0CE3-7239-E53B935D48A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790909" y="2061311"/>
            <a:ext cx="4292894" cy="4626322"/>
          </a:xfrm>
        </p:spPr>
        <p:txBody>
          <a:bodyPr/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cs-CZ" sz="16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ýměna stávajících zařízení má smysl!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cs-CZ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nergetická účinnost = nízké provozní náklady. Radiální ventilátory s motory EC </a:t>
            </a:r>
            <a:r>
              <a:rPr lang="cs-CZ" sz="16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GreenTech</a:t>
            </a:r>
            <a:r>
              <a:rPr lang="cs-CZ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jsou natolik lepší než běžné AC ventilátory, že i v případě prosté výměny ventilátorů stávajících zařízení je dobrou investicí. 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cs-CZ" sz="1600" b="1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bm-papst</a:t>
            </a:r>
            <a:r>
              <a:rPr lang="cs-CZ" sz="16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cs-CZ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odává ventilátory kompletně vybavené řídicí elektronikou (VSD), takže náklady na instalaci jsou rovněž minimální. Řada </a:t>
            </a:r>
            <a:r>
              <a:rPr lang="cs-CZ" sz="16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adifit</a:t>
            </a:r>
            <a:r>
              <a:rPr lang="cs-CZ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má vše již integrováno ve vysoce kompaktním modulu                    s maximálním výkonem a energetickou účinností</a:t>
            </a:r>
            <a:r>
              <a:rPr lang="cs-CZ" sz="1400" dirty="0">
                <a:latin typeface="Corbel" panose="020B0503020204020204" pitchFamily="34" charset="0"/>
              </a:rPr>
              <a:t>.</a:t>
            </a:r>
          </a:p>
        </p:txBody>
      </p:sp>
      <p:pic>
        <p:nvPicPr>
          <p:cNvPr id="4" name="Obrázek 3" descr="Obsah obrázku text, Písmo, snímek obrazovky, logo">
            <a:extLst>
              <a:ext uri="{FF2B5EF4-FFF2-40B4-BE49-F238E27FC236}">
                <a16:creationId xmlns:a16="http://schemas.microsoft.com/office/drawing/2014/main" id="{7C8E4A4E-9E47-7B8C-53F3-E291D9E23D9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092211" y="-4421"/>
            <a:ext cx="2098996" cy="1499683"/>
          </a:xfrm>
          <a:prstGeom prst="rect">
            <a:avLst/>
          </a:prstGeom>
        </p:spPr>
      </p:pic>
      <p:pic>
        <p:nvPicPr>
          <p:cNvPr id="8" name="Picture 8">
            <a:extLst>
              <a:ext uri="{FF2B5EF4-FFF2-40B4-BE49-F238E27FC236}">
                <a16:creationId xmlns:a16="http://schemas.microsoft.com/office/drawing/2014/main" id="{677657E9-849E-8BED-2E3A-01115F1640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55234" y="4673662"/>
            <a:ext cx="1004701" cy="9102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Obrázek 10">
            <a:extLst>
              <a:ext uri="{FF2B5EF4-FFF2-40B4-BE49-F238E27FC236}">
                <a16:creationId xmlns:a16="http://schemas.microsoft.com/office/drawing/2014/main" id="{7CA99706-057A-3EAD-6349-7428FFF808E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71072" y="4746883"/>
            <a:ext cx="877623" cy="8370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7442431"/>
      </p:ext>
    </p:extLst>
  </p:cSld>
  <p:clrMapOvr>
    <a:masterClrMapping/>
  </p:clrMapOvr>
  <p:transition spd="med"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 descr="Ein Bild, das Im Haus, Text, Kleidung, Computermonitor enthält.&#10;&#10;Automatisch generierte Beschreibung">
            <a:extLst>
              <a:ext uri="{FF2B5EF4-FFF2-40B4-BE49-F238E27FC236}">
                <a16:creationId xmlns:a16="http://schemas.microsoft.com/office/drawing/2014/main" id="{9F5A0388-5BF2-D91E-2149-3905FA2F05D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706DF23F-BB2C-4D0E-B56E-412E7D45C70D}"/>
              </a:ext>
            </a:extLst>
          </p:cNvPr>
          <p:cNvSpPr/>
          <p:nvPr/>
        </p:nvSpPr>
        <p:spPr>
          <a:xfrm>
            <a:off x="515258" y="3429000"/>
            <a:ext cx="4844142" cy="295292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1" name="Grafik 10" descr="Ein Bild, das Text enthält.&#10;&#10;Automatisch generierte Beschreibung">
            <a:extLst>
              <a:ext uri="{FF2B5EF4-FFF2-40B4-BE49-F238E27FC236}">
                <a16:creationId xmlns:a16="http://schemas.microsoft.com/office/drawing/2014/main" id="{F9F5F7EF-F2FE-4E9F-BA12-CBA4CA36206F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1600" y="1939064"/>
            <a:ext cx="2781315" cy="1987184"/>
          </a:xfrm>
          <a:prstGeom prst="rect">
            <a:avLst/>
          </a:prstGeom>
        </p:spPr>
      </p:pic>
      <p:sp>
        <p:nvSpPr>
          <p:cNvPr id="14" name="Textplatzhalter 1">
            <a:extLst>
              <a:ext uri="{FF2B5EF4-FFF2-40B4-BE49-F238E27FC236}">
                <a16:creationId xmlns:a16="http://schemas.microsoft.com/office/drawing/2014/main" id="{04C96F6D-D05F-4E57-8F7D-0DB590BE7883}"/>
              </a:ext>
            </a:extLst>
          </p:cNvPr>
          <p:cNvSpPr txBox="1">
            <a:spLocks/>
          </p:cNvSpPr>
          <p:nvPr/>
        </p:nvSpPr>
        <p:spPr>
          <a:xfrm>
            <a:off x="914399" y="4339047"/>
            <a:ext cx="4445001" cy="309154"/>
          </a:xfrm>
          <a:prstGeom prst="rect">
            <a:avLst/>
          </a:prstGeom>
        </p:spPr>
        <p:txBody>
          <a:bodyPr lIns="0" tIns="0" rIns="0" bIns="0"/>
          <a:lstStyle>
            <a:lvl1pPr marL="180000" indent="-179388" algn="l" defTabSz="914400" rtl="0" eaLnBrk="1" latinLnBrk="0" hangingPunct="1">
              <a:lnSpc>
                <a:spcPct val="100000"/>
              </a:lnSpc>
              <a:spcBef>
                <a:spcPts val="900"/>
              </a:spcBef>
              <a:buFont typeface="Wingdings" panose="05000000000000000000" pitchFamily="2" charset="2"/>
              <a:buChar char="§"/>
              <a:tabLst>
                <a:tab pos="176213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9388" algn="l" defTabSz="914400" rtl="0" eaLnBrk="1" latinLnBrk="0" hangingPunct="1">
              <a:lnSpc>
                <a:spcPct val="100000"/>
              </a:lnSpc>
              <a:spcBef>
                <a:spcPts val="900"/>
              </a:spcBef>
              <a:buFont typeface="Wingdings" panose="05000000000000000000" pitchFamily="2" charset="2"/>
              <a:buChar char="§"/>
              <a:tabLst>
                <a:tab pos="536575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6575" indent="-179388" algn="l" defTabSz="914400" rtl="0" eaLnBrk="1" latinLnBrk="0" hangingPunct="1">
              <a:lnSpc>
                <a:spcPct val="100000"/>
              </a:lnSpc>
              <a:spcBef>
                <a:spcPts val="900"/>
              </a:spcBef>
              <a:buFont typeface="Wingdings" panose="05000000000000000000" pitchFamily="2" charset="2"/>
              <a:buChar char="§"/>
              <a:tabLst>
                <a:tab pos="719138" algn="l"/>
              </a:tabLst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9138" indent="-179388" algn="l" defTabSz="914400" rtl="0" eaLnBrk="1" latinLnBrk="0" hangingPunct="1">
              <a:lnSpc>
                <a:spcPct val="100000"/>
              </a:lnSpc>
              <a:spcBef>
                <a:spcPts val="900"/>
              </a:spcBef>
              <a:buFont typeface="Wingdings" panose="05000000000000000000" pitchFamily="2" charset="2"/>
              <a:buChar char="§"/>
              <a:tabLst>
                <a:tab pos="895350" algn="l"/>
              </a:tabLst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9388" algn="l" defTabSz="914400" rtl="0" eaLnBrk="1" latinLnBrk="0" hangingPunct="1">
              <a:lnSpc>
                <a:spcPct val="100000"/>
              </a:lnSpc>
              <a:spcBef>
                <a:spcPts val="900"/>
              </a:spcBef>
              <a:buFont typeface="Wingdings" panose="05000000000000000000" pitchFamily="2" charset="2"/>
              <a:buChar char="§"/>
              <a:tabLst>
                <a:tab pos="1077913" algn="l"/>
              </a:tabLst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7913" indent="-179388" algn="l" defTabSz="914400" rtl="0" eaLnBrk="1" latinLnBrk="0" hangingPunct="1">
              <a:lnSpc>
                <a:spcPct val="100000"/>
              </a:lnSpc>
              <a:spcBef>
                <a:spcPts val="900"/>
              </a:spcBef>
              <a:buFont typeface="Wingdings" panose="05000000000000000000" pitchFamily="2" charset="2"/>
              <a:buChar char="§"/>
              <a:tabLst>
                <a:tab pos="1255713" algn="l"/>
              </a:tabLst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5713" indent="-179388" algn="l" defTabSz="914400" rtl="0" eaLnBrk="1" latinLnBrk="0" hangingPunct="1">
              <a:lnSpc>
                <a:spcPct val="100000"/>
              </a:lnSpc>
              <a:spcBef>
                <a:spcPts val="900"/>
              </a:spcBef>
              <a:buFont typeface="Wingdings" panose="05000000000000000000" pitchFamily="2" charset="2"/>
              <a:buChar char="§"/>
              <a:tabLst>
                <a:tab pos="1438275" algn="l"/>
              </a:tabLst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8275" indent="-179388" algn="l" defTabSz="914400" rtl="0" eaLnBrk="1" latinLnBrk="0" hangingPunct="1">
              <a:lnSpc>
                <a:spcPct val="100000"/>
              </a:lnSpc>
              <a:spcBef>
                <a:spcPts val="900"/>
              </a:spcBef>
              <a:buFont typeface="Wingdings" panose="05000000000000000000" pitchFamily="2" charset="2"/>
              <a:buChar char="§"/>
              <a:tabLst>
                <a:tab pos="1614488" algn="l"/>
              </a:tabLst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4488" indent="-179388" algn="l" defTabSz="914400" rtl="0" eaLnBrk="1" latinLnBrk="0" hangingPunct="1">
              <a:lnSpc>
                <a:spcPct val="100000"/>
              </a:lnSpc>
              <a:spcBef>
                <a:spcPts val="900"/>
              </a:spcBef>
              <a:buFont typeface="Wingdings" panose="05000000000000000000" pitchFamily="2" charset="2"/>
              <a:buChar char="§"/>
              <a:tabLst>
                <a:tab pos="1790700" algn="l"/>
              </a:tabLst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12" indent="0">
              <a:buNone/>
            </a:pPr>
            <a:r>
              <a:rPr lang="de-DE" sz="2400" i="1" dirty="0" err="1">
                <a:solidFill>
                  <a:schemeClr val="bg1"/>
                </a:solidFill>
              </a:rPr>
              <a:t>Ekodesign</a:t>
            </a:r>
            <a:r>
              <a:rPr lang="de-DE" sz="2400" i="1" dirty="0">
                <a:solidFill>
                  <a:schemeClr val="bg1"/>
                </a:solidFill>
              </a:rPr>
              <a:t> pro </a:t>
            </a:r>
            <a:r>
              <a:rPr lang="cs-CZ" sz="2400" i="1" dirty="0">
                <a:solidFill>
                  <a:schemeClr val="bg1"/>
                </a:solidFill>
              </a:rPr>
              <a:t>ventilátory</a:t>
            </a:r>
            <a:endParaRPr lang="de-DE" sz="2400" i="1" dirty="0">
              <a:solidFill>
                <a:schemeClr val="bg1"/>
              </a:solidFill>
            </a:endParaRPr>
          </a:p>
        </p:txBody>
      </p:sp>
      <p:sp>
        <p:nvSpPr>
          <p:cNvPr id="15" name="Titel 2">
            <a:extLst>
              <a:ext uri="{FF2B5EF4-FFF2-40B4-BE49-F238E27FC236}">
                <a16:creationId xmlns:a16="http://schemas.microsoft.com/office/drawing/2014/main" id="{2A6B2473-7CE5-47D3-A54D-4A438557CAA2}"/>
              </a:ext>
            </a:extLst>
          </p:cNvPr>
          <p:cNvSpPr txBox="1">
            <a:spLocks/>
          </p:cNvSpPr>
          <p:nvPr/>
        </p:nvSpPr>
        <p:spPr>
          <a:xfrm>
            <a:off x="914400" y="4890973"/>
            <a:ext cx="6652847" cy="965258"/>
          </a:xfrm>
          <a:prstGeom prst="rect">
            <a:avLst/>
          </a:prstGeom>
        </p:spPr>
        <p:txBody>
          <a:bodyPr lIns="0" tIns="0" rIns="0" bIns="0" anchor="t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>
              <a:lnSpc>
                <a:spcPct val="90000"/>
              </a:lnSpc>
            </a:pPr>
            <a:r>
              <a:rPr lang="en-US" sz="3600" dirty="0">
                <a:solidFill>
                  <a:schemeClr val="bg1"/>
                </a:solidFill>
              </a:rPr>
              <a:t>Nařízení 2024/1834</a:t>
            </a:r>
          </a:p>
          <a:p>
            <a:pPr>
              <a:lnSpc>
                <a:spcPct val="90000"/>
              </a:lnSpc>
            </a:pPr>
            <a:r>
              <a:rPr lang="en-US" sz="3600" err="1">
                <a:solidFill>
                  <a:schemeClr val="bg1"/>
                </a:solidFill>
              </a:rPr>
              <a:t>ErP </a:t>
            </a:r>
            <a:r>
              <a:rPr lang="en-US" sz="3600" dirty="0">
                <a:solidFill>
                  <a:schemeClr val="bg1"/>
                </a:solidFill>
              </a:rPr>
              <a:t>2026</a:t>
            </a:r>
            <a:endParaRPr lang="de-DE" sz="3600">
              <a:solidFill>
                <a:schemeClr val="bg1"/>
              </a:solidFill>
              <a:ea typeface="Calibri"/>
              <a:cs typeface="Calibri"/>
            </a:endParaRPr>
          </a:p>
          <a:p>
            <a:pPr>
              <a:lnSpc>
                <a:spcPct val="90000"/>
              </a:lnSpc>
            </a:pPr>
            <a:endParaRPr lang="en-US" sz="3600" dirty="0">
              <a:solidFill>
                <a:schemeClr val="bg1"/>
              </a:solidFill>
              <a:ea typeface="Calibri"/>
              <a:cs typeface="Calibri"/>
            </a:endParaRPr>
          </a:p>
          <a:p>
            <a:pPr>
              <a:lnSpc>
                <a:spcPct val="90000"/>
              </a:lnSpc>
            </a:pPr>
            <a:endParaRPr lang="en-US" sz="3600" dirty="0">
              <a:solidFill>
                <a:schemeClr val="bg1"/>
              </a:solidFill>
              <a:ea typeface="Calibri"/>
              <a:cs typeface="Calibri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25786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a16="http://schemas.microsoft.com/office/drawing/2014/main" xmlns:a14="http://schemas.microsoft.com/office/drawing/2010/main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DFBFE7-1D7F-E800-3922-2DF4B2C0DA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2AB2A5ED-9EA0-18FE-E614-7FE7093AF3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o a kdy musíme splnit?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E03B7A8-D677-FDE0-4CE8-0404EE8383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ErP26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CC3C0B64-6E7D-63E3-0F80-DB6A22C841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FF31D0-8A17-47C0-8D09-D01303A85034}" type="slidenum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12</a:t>
            </a:fld>
            <a:endParaRPr kumimoji="0" lang="de-DE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charset="0"/>
            </a:endParaRPr>
          </a:p>
        </p:txBody>
      </p:sp>
      <p:sp>
        <p:nvSpPr>
          <p:cNvPr id="21" name="Inhaltsplatzhalter 3">
            <a:extLst>
              <a:ext uri="{FF2B5EF4-FFF2-40B4-BE49-F238E27FC236}">
                <a16:creationId xmlns:a16="http://schemas.microsoft.com/office/drawing/2014/main" id="{815A37C3-BB2B-5339-5B8D-8BA5E5757A2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7050" y="1776313"/>
            <a:ext cx="5856600" cy="4351338"/>
          </a:xfrm>
        </p:spPr>
        <p:txBody>
          <a:bodyPr/>
          <a:lstStyle/>
          <a:p>
            <a:pPr marL="612" indent="0">
              <a:buNone/>
            </a:pPr>
            <a:r>
              <a:rPr lang="en-US" sz="1800" u="sng" noProof="0" dirty="0" err="1"/>
              <a:t>Příloha</a:t>
            </a:r>
            <a:r>
              <a:rPr lang="en-US" sz="1800" u="sng" noProof="0" dirty="0"/>
              <a:t> II: POŽADAVKY </a:t>
            </a:r>
            <a:r>
              <a:rPr lang="cs-CZ" sz="1800" u="sng" noProof="0" dirty="0"/>
              <a:t>ECODESIGNU PRO VENTILÁTORY</a:t>
            </a:r>
            <a:endParaRPr lang="en-US" sz="1800" u="sng" noProof="0" dirty="0"/>
          </a:p>
          <a:p>
            <a:endParaRPr lang="en-US" noProof="0" dirty="0"/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BDA5415A-7F4D-3BB3-5C9B-9B746E1CF454}"/>
              </a:ext>
            </a:extLst>
          </p:cNvPr>
          <p:cNvGrpSpPr/>
          <p:nvPr/>
        </p:nvGrpSpPr>
        <p:grpSpPr>
          <a:xfrm>
            <a:off x="496799" y="2334690"/>
            <a:ext cx="6860305" cy="3758671"/>
            <a:chOff x="496800" y="2334690"/>
            <a:chExt cx="4561200" cy="3758671"/>
          </a:xfrm>
        </p:grpSpPr>
        <p:sp>
          <p:nvSpPr>
            <p:cNvPr id="25" name="Pfeil: Fünfeck 24">
              <a:extLst>
                <a:ext uri="{FF2B5EF4-FFF2-40B4-BE49-F238E27FC236}">
                  <a16:creationId xmlns:a16="http://schemas.microsoft.com/office/drawing/2014/main" id="{9E4C94B2-D71E-B27B-0971-6771CAB83521}"/>
                </a:ext>
              </a:extLst>
            </p:cNvPr>
            <p:cNvSpPr/>
            <p:nvPr/>
          </p:nvSpPr>
          <p:spPr>
            <a:xfrm>
              <a:off x="496800" y="2334690"/>
              <a:ext cx="4561200" cy="546802"/>
            </a:xfrm>
            <a:prstGeom prst="homePlat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. </a:t>
              </a:r>
              <a:r>
                <a:rPr kumimoji="0" lang="en-US" sz="1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Minimální</a:t>
              </a: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</a:t>
              </a:r>
              <a:r>
                <a:rPr kumimoji="0" lang="en-US" sz="1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požadavky</a:t>
              </a: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</a:t>
              </a:r>
              <a:r>
                <a:rPr kumimoji="0" lang="en-US" sz="1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na</a:t>
              </a: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</a:t>
              </a:r>
              <a:r>
                <a:rPr kumimoji="0" lang="en-US" sz="1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účinnost</a:t>
              </a: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</a:t>
              </a:r>
              <a:r>
                <a:rPr kumimoji="0" lang="en-US" sz="1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ventilátorů</a:t>
              </a: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Pfeil: Fünfeck 25">
              <a:extLst>
                <a:ext uri="{FF2B5EF4-FFF2-40B4-BE49-F238E27FC236}">
                  <a16:creationId xmlns:a16="http://schemas.microsoft.com/office/drawing/2014/main" id="{F2AB3D4D-C636-EF63-5C4B-0878AFB16194}"/>
                </a:ext>
              </a:extLst>
            </p:cNvPr>
            <p:cNvSpPr/>
            <p:nvPr/>
          </p:nvSpPr>
          <p:spPr>
            <a:xfrm>
              <a:off x="496800" y="2977064"/>
              <a:ext cx="4561200" cy="546802"/>
            </a:xfrm>
            <a:prstGeom prst="homePlat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1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. Požadavky na informace o výrobku pro ventilátory</a:t>
              </a:r>
            </a:p>
          </p:txBody>
        </p:sp>
        <p:sp>
          <p:nvSpPr>
            <p:cNvPr id="27" name="Pfeil: Fünfeck 26">
              <a:extLst>
                <a:ext uri="{FF2B5EF4-FFF2-40B4-BE49-F238E27FC236}">
                  <a16:creationId xmlns:a16="http://schemas.microsoft.com/office/drawing/2014/main" id="{C7298493-7D20-819F-4884-0786D8ECCD35}"/>
                </a:ext>
              </a:extLst>
            </p:cNvPr>
            <p:cNvSpPr/>
            <p:nvPr/>
          </p:nvSpPr>
          <p:spPr>
            <a:xfrm>
              <a:off x="496800" y="3619438"/>
              <a:ext cx="4561200" cy="546802"/>
            </a:xfrm>
            <a:prstGeom prst="homePlat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3. Požadavky na informace při částečném zatížení nebo při stanoveném zatížení</a:t>
              </a:r>
            </a:p>
          </p:txBody>
        </p:sp>
        <p:sp>
          <p:nvSpPr>
            <p:cNvPr id="28" name="Pfeil: Fünfeck 27">
              <a:extLst>
                <a:ext uri="{FF2B5EF4-FFF2-40B4-BE49-F238E27FC236}">
                  <a16:creationId xmlns:a16="http://schemas.microsoft.com/office/drawing/2014/main" id="{1FAC96C4-C428-CDA8-85B7-28FB5FB741FF}"/>
                </a:ext>
              </a:extLst>
            </p:cNvPr>
            <p:cNvSpPr/>
            <p:nvPr/>
          </p:nvSpPr>
          <p:spPr>
            <a:xfrm>
              <a:off x="496800" y="4261812"/>
              <a:ext cx="4561200" cy="546802"/>
            </a:xfrm>
            <a:prstGeom prst="homePlat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4. Požadavky na efektivní využívání zdrojů (náhradní díly a informace)</a:t>
              </a:r>
            </a:p>
          </p:txBody>
        </p:sp>
        <p:sp>
          <p:nvSpPr>
            <p:cNvPr id="30" name="Pfeil: Fünfeck 29">
              <a:extLst>
                <a:ext uri="{FF2B5EF4-FFF2-40B4-BE49-F238E27FC236}">
                  <a16:creationId xmlns:a16="http://schemas.microsoft.com/office/drawing/2014/main" id="{95E609B2-7B93-BFB4-6EE6-699BE49873CD}"/>
                </a:ext>
              </a:extLst>
            </p:cNvPr>
            <p:cNvSpPr/>
            <p:nvPr/>
          </p:nvSpPr>
          <p:spPr>
            <a:xfrm>
              <a:off x="496800" y="4904186"/>
              <a:ext cx="4561200" cy="546802"/>
            </a:xfrm>
            <a:prstGeom prst="homePlat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5. </a:t>
              </a:r>
              <a:r>
                <a:rPr kumimoji="0" lang="en-US" sz="1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Požadavky</a:t>
              </a: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</a:t>
              </a:r>
              <a:r>
                <a:rPr kumimoji="0" lang="en-US" sz="1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na</a:t>
              </a: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</a:t>
              </a:r>
              <a:r>
                <a:rPr kumimoji="0" lang="en-US" sz="1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informace</a:t>
              </a: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o </a:t>
              </a:r>
              <a:r>
                <a:rPr kumimoji="0" lang="en-US" sz="1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účinném</a:t>
              </a: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</a:t>
              </a:r>
              <a:r>
                <a:rPr kumimoji="0" lang="en-US" sz="1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využití</a:t>
              </a: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</a:t>
              </a:r>
              <a:r>
                <a:rPr kumimoji="0" lang="en-US" sz="1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materiálu</a:t>
              </a:r>
              <a:r>
                <a:rPr kumimoji="0" lang="cs-CZ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(recyklace)</a:t>
              </a: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Pfeil: Fünfeck 30">
              <a:extLst>
                <a:ext uri="{FF2B5EF4-FFF2-40B4-BE49-F238E27FC236}">
                  <a16:creationId xmlns:a16="http://schemas.microsoft.com/office/drawing/2014/main" id="{0585EAD1-8426-CF85-38FA-065407E9D3B2}"/>
                </a:ext>
              </a:extLst>
            </p:cNvPr>
            <p:cNvSpPr/>
            <p:nvPr/>
          </p:nvSpPr>
          <p:spPr>
            <a:xfrm>
              <a:off x="496800" y="5546559"/>
              <a:ext cx="4561200" cy="546802"/>
            </a:xfrm>
            <a:prstGeom prst="homePlat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6. Požadavky na informace o výrobku (včetně online) pro ventilátory s náhradními díly</a:t>
              </a:r>
            </a:p>
          </p:txBody>
        </p:sp>
      </p:grpSp>
      <p:sp>
        <p:nvSpPr>
          <p:cNvPr id="34" name="Textfeld 33">
            <a:extLst>
              <a:ext uri="{FF2B5EF4-FFF2-40B4-BE49-F238E27FC236}">
                <a16:creationId xmlns:a16="http://schemas.microsoft.com/office/drawing/2014/main" id="{A113D835-21AC-922F-2ED1-086A169707C3}"/>
              </a:ext>
            </a:extLst>
          </p:cNvPr>
          <p:cNvSpPr txBox="1"/>
          <p:nvPr/>
        </p:nvSpPr>
        <p:spPr>
          <a:xfrm>
            <a:off x="7948420" y="1583656"/>
            <a:ext cx="187290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amostatné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entilátor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a </a:t>
            </a:r>
            <a:r>
              <a:rPr kumimoji="0" lang="en-US" sz="1800" b="0" i="0" u="sng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ové</a:t>
            </a: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1800" b="0" i="0" u="sng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ýrobky</a:t>
            </a: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*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98E20370-9C3C-EF59-29A7-E1C6C32AD494}"/>
              </a:ext>
            </a:extLst>
          </p:cNvPr>
          <p:cNvSpPr txBox="1"/>
          <p:nvPr/>
        </p:nvSpPr>
        <p:spPr>
          <a:xfrm>
            <a:off x="10043700" y="1587876"/>
            <a:ext cx="168675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estavné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         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ávající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entilátor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*</a:t>
            </a:r>
          </a:p>
        </p:txBody>
      </p: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31B10E0F-10C9-5062-FE5A-FBF9601E6A85}"/>
              </a:ext>
            </a:extLst>
          </p:cNvPr>
          <p:cNvCxnSpPr/>
          <p:nvPr/>
        </p:nvCxnSpPr>
        <p:spPr>
          <a:xfrm>
            <a:off x="9886950" y="1695976"/>
            <a:ext cx="0" cy="1923462"/>
          </a:xfrm>
          <a:prstGeom prst="line">
            <a:avLst/>
          </a:prstGeom>
          <a:ln w="28575">
            <a:solidFill>
              <a:schemeClr val="accent5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hteck 40">
            <a:extLst>
              <a:ext uri="{FF2B5EF4-FFF2-40B4-BE49-F238E27FC236}">
                <a16:creationId xmlns:a16="http://schemas.microsoft.com/office/drawing/2014/main" id="{8548B02A-5834-3BA3-7ACC-692D69E92EAB}"/>
              </a:ext>
            </a:extLst>
          </p:cNvPr>
          <p:cNvSpPr/>
          <p:nvPr/>
        </p:nvSpPr>
        <p:spPr>
          <a:xfrm>
            <a:off x="7886700" y="1681869"/>
            <a:ext cx="3972148" cy="799356"/>
          </a:xfrm>
          <a:prstGeom prst="rect">
            <a:avLst/>
          </a:prstGeom>
          <a:noFill/>
          <a:ln w="28575">
            <a:prstDash val="soli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3" name="Textfeld 29">
            <a:extLst>
              <a:ext uri="{FF2B5EF4-FFF2-40B4-BE49-F238E27FC236}">
                <a16:creationId xmlns:a16="http://schemas.microsoft.com/office/drawing/2014/main" id="{01866088-7D5B-D10B-AD7E-9385B28E5782}"/>
              </a:ext>
            </a:extLst>
          </p:cNvPr>
          <p:cNvSpPr txBox="1"/>
          <p:nvPr/>
        </p:nvSpPr>
        <p:spPr bwMode="gray">
          <a:xfrm>
            <a:off x="4710338" y="6396020"/>
            <a:ext cx="7446475" cy="42062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>
              <a:defRPr/>
            </a:pPr>
            <a:r>
              <a:rPr lang="en-US" sz="1200" i="1" spc="10"/>
              <a:t>* novými výrobky se rozumí: P/N je poprvé uveden na trh po 24. červenci</a:t>
            </a:r>
            <a:r>
              <a:rPr lang="en-US" sz="1200" i="1" spc="10" baseline="30000"/>
              <a:t>th</a:t>
            </a:r>
            <a:r>
              <a:rPr lang="en-US" sz="1200" i="1" spc="10"/>
              <a:t> , 2026.</a:t>
            </a:r>
          </a:p>
          <a:p>
            <a:pPr>
              <a:defRPr/>
            </a:pPr>
            <a:r>
              <a:rPr lang="en-US" sz="1200" i="1" spc="10"/>
              <a:t>*stávajícími výrobky se rozumí: P/N byl poprvé uveden na trh před 24. červencem</a:t>
            </a:r>
            <a:r>
              <a:rPr lang="en-US" sz="1200" i="1" spc="10" baseline="30000"/>
              <a:t>th</a:t>
            </a:r>
            <a:r>
              <a:rPr lang="en-US" sz="1200" i="1" spc="10"/>
              <a:t> , 2026.</a:t>
            </a:r>
          </a:p>
          <a:p>
            <a:pPr lvl="0">
              <a:defRPr/>
            </a:pPr>
            <a:endParaRPr kumimoji="0" lang="en-US" sz="1200" b="0" i="1" u="none" strike="noStrike" kern="1200" cap="none" spc="10" normalizeH="0" baseline="0" noProof="0">
              <a:ln>
                <a:noFill/>
              </a:ln>
              <a:effectLst/>
              <a:uLnTx/>
              <a:uFillTx/>
              <a:latin typeface="Calibri"/>
            </a:endParaRP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7847AC55-60B6-98E9-31D1-E64CE4A4F5D0}"/>
              </a:ext>
            </a:extLst>
          </p:cNvPr>
          <p:cNvSpPr txBox="1"/>
          <p:nvPr/>
        </p:nvSpPr>
        <p:spPr>
          <a:xfrm>
            <a:off x="8181994" y="2768176"/>
            <a:ext cx="145269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4. 07.2026</a:t>
            </a:r>
            <a:endParaRPr kumimoji="0" lang="en-US" sz="20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17F2AD5D-EA61-E3CD-828D-69079E4E577E}"/>
              </a:ext>
            </a:extLst>
          </p:cNvPr>
          <p:cNvSpPr txBox="1"/>
          <p:nvPr/>
        </p:nvSpPr>
        <p:spPr>
          <a:xfrm>
            <a:off x="8324850" y="5633581"/>
            <a:ext cx="31242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1">
                <a:solidFill>
                  <a:prstClr val="black"/>
                </a:solidFill>
                <a:latin typeface="Calibri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4.07.2026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29E15B70-328E-B527-3384-E787ECBD684A}"/>
              </a:ext>
            </a:extLst>
          </p:cNvPr>
          <p:cNvSpPr txBox="1"/>
          <p:nvPr/>
        </p:nvSpPr>
        <p:spPr>
          <a:xfrm>
            <a:off x="8324850" y="3701901"/>
            <a:ext cx="31242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4.07.2027</a:t>
            </a:r>
          </a:p>
        </p:txBody>
      </p:sp>
      <p:sp>
        <p:nvSpPr>
          <p:cNvPr id="8" name="Geschweifte Klammer rechts 7">
            <a:extLst>
              <a:ext uri="{FF2B5EF4-FFF2-40B4-BE49-F238E27FC236}">
                <a16:creationId xmlns:a16="http://schemas.microsoft.com/office/drawing/2014/main" id="{68768DC0-AE1E-DC7F-DAA5-A9AB4CFA6179}"/>
              </a:ext>
            </a:extLst>
          </p:cNvPr>
          <p:cNvSpPr/>
          <p:nvPr/>
        </p:nvSpPr>
        <p:spPr>
          <a:xfrm>
            <a:off x="7278370" y="2323846"/>
            <a:ext cx="304800" cy="1244208"/>
          </a:xfrm>
          <a:prstGeom prst="rightBrace">
            <a:avLst>
              <a:gd name="adj1" fmla="val 68034"/>
              <a:gd name="adj2" fmla="val 50000"/>
            </a:avLst>
          </a:prstGeom>
          <a:ln w="381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Geschweifte Klammer rechts 8">
            <a:extLst>
              <a:ext uri="{FF2B5EF4-FFF2-40B4-BE49-F238E27FC236}">
                <a16:creationId xmlns:a16="http://schemas.microsoft.com/office/drawing/2014/main" id="{B78652AE-3CAB-029D-1A65-042E3A4CBADC}"/>
              </a:ext>
            </a:extLst>
          </p:cNvPr>
          <p:cNvSpPr/>
          <p:nvPr/>
        </p:nvSpPr>
        <p:spPr>
          <a:xfrm>
            <a:off x="7278370" y="4267578"/>
            <a:ext cx="304800" cy="1244208"/>
          </a:xfrm>
          <a:prstGeom prst="rightBrace">
            <a:avLst>
              <a:gd name="adj1" fmla="val 68034"/>
              <a:gd name="adj2" fmla="val 50000"/>
            </a:avLst>
          </a:prstGeom>
          <a:noFill/>
          <a:ln w="38100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A633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6A821C91-927A-7806-AD2D-AE6DC1CE5ADC}"/>
              </a:ext>
            </a:extLst>
          </p:cNvPr>
          <p:cNvSpPr txBox="1"/>
          <p:nvPr/>
        </p:nvSpPr>
        <p:spPr>
          <a:xfrm>
            <a:off x="10135230" y="2745895"/>
            <a:ext cx="145269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4. 07.2027</a:t>
            </a:r>
            <a:endParaRPr kumimoji="0" lang="en-US" sz="2000" b="0" i="0" u="sng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86088524-893F-39FB-1FB6-E83C58C723D8}"/>
              </a:ext>
            </a:extLst>
          </p:cNvPr>
          <p:cNvCxnSpPr>
            <a:cxnSpLocks/>
            <a:endCxn id="5" idx="0"/>
          </p:cNvCxnSpPr>
          <p:nvPr/>
        </p:nvCxnSpPr>
        <p:spPr>
          <a:xfrm>
            <a:off x="9886950" y="4166240"/>
            <a:ext cx="0" cy="1467341"/>
          </a:xfrm>
          <a:prstGeom prst="line">
            <a:avLst/>
          </a:prstGeom>
          <a:ln w="28575">
            <a:solidFill>
              <a:schemeClr val="accent5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feld 14">
            <a:extLst>
              <a:ext uri="{FF2B5EF4-FFF2-40B4-BE49-F238E27FC236}">
                <a16:creationId xmlns:a16="http://schemas.microsoft.com/office/drawing/2014/main" id="{2ECAE506-3F9C-5391-F1D4-4AE5D0456BA3}"/>
              </a:ext>
            </a:extLst>
          </p:cNvPr>
          <p:cNvSpPr txBox="1"/>
          <p:nvPr/>
        </p:nvSpPr>
        <p:spPr>
          <a:xfrm>
            <a:off x="8083091" y="4392078"/>
            <a:ext cx="172327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oky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po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uvedení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1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ýrobku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a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rh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endParaRPr kumimoji="0" lang="en-US" sz="20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D1436125-6DA6-9C94-1185-70918AF5BB0A}"/>
              </a:ext>
            </a:extLst>
          </p:cNvPr>
          <p:cNvSpPr txBox="1"/>
          <p:nvPr/>
        </p:nvSpPr>
        <p:spPr>
          <a:xfrm>
            <a:off x="10135230" y="4704131"/>
            <a:ext cx="145269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4. 07.2028</a:t>
            </a:r>
            <a:endParaRPr kumimoji="0" lang="en-US" sz="2000" b="0" i="0" u="sng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21254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a16="http://schemas.microsoft.com/office/drawing/2014/main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986337F-C0CC-B563-FCA8-4A3443FCE9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Regulation 2024/1834 - </a:t>
            </a:r>
            <a:r>
              <a:rPr lang="de-DE" dirty="0" err="1"/>
              <a:t>ErP</a:t>
            </a:r>
            <a:r>
              <a:rPr lang="de-DE" dirty="0"/>
              <a:t> 2026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FF68DC7-3EDA-4294-A697-596830752D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F31D0-8A17-47C0-8D09-D01303A85034}" type="slidenum">
              <a:rPr lang="de-DE" smtClean="0"/>
              <a:pPr/>
              <a:t>13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D66E95FE-F0DB-5A37-6CDB-3C5626B94D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are the requirements?</a:t>
            </a:r>
            <a:endParaRPr lang="de-DE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064A29FB-7C78-627B-E3D2-EACBB8A272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/>
              <a:t>Ecodesign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fans</a:t>
            </a:r>
            <a:r>
              <a:rPr lang="de-DE" dirty="0"/>
              <a:t> – </a:t>
            </a:r>
            <a:r>
              <a:rPr lang="de-DE" dirty="0" err="1"/>
              <a:t>ErP</a:t>
            </a:r>
            <a:r>
              <a:rPr lang="de-DE" dirty="0"/>
              <a:t> 2026</a:t>
            </a:r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AEF7C8A9-8124-F2C6-E454-81BC48FCB34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612" indent="0">
              <a:buNone/>
            </a:pPr>
            <a:r>
              <a:rPr lang="en-US" sz="2000" b="1" dirty="0"/>
              <a:t>For Example:</a:t>
            </a:r>
          </a:p>
          <a:p>
            <a:pPr marL="612" indent="0">
              <a:buNone/>
            </a:pPr>
            <a:r>
              <a:rPr lang="en-US" sz="2000" b="1" dirty="0"/>
              <a:t>Minimum efficiency requirement </a:t>
            </a:r>
            <a:br>
              <a:rPr lang="en-US" sz="2000" b="1" dirty="0"/>
            </a:br>
            <a:r>
              <a:rPr lang="en-US" sz="2000" b="1" dirty="0"/>
              <a:t>for axial fans</a:t>
            </a:r>
          </a:p>
          <a:p>
            <a:pPr marL="612" indent="0">
              <a:buNone/>
            </a:pPr>
            <a:r>
              <a:rPr lang="en-US" sz="2000" dirty="0"/>
              <a:t>The fan must achieve the specified </a:t>
            </a:r>
            <a:br>
              <a:rPr lang="en-US" sz="2000" dirty="0"/>
            </a:br>
            <a:r>
              <a:rPr lang="en-US" sz="2000" dirty="0"/>
              <a:t>minimum efficiency at its best point. </a:t>
            </a:r>
            <a:br>
              <a:rPr lang="en-US" sz="2000" dirty="0"/>
            </a:br>
            <a:r>
              <a:rPr lang="en-US" sz="2000" dirty="0"/>
              <a:t>The efficiency is the ratio of the air </a:t>
            </a:r>
            <a:br>
              <a:rPr lang="en-US" sz="2000" dirty="0"/>
            </a:br>
            <a:r>
              <a:rPr lang="en-US" sz="2000" dirty="0"/>
              <a:t>performance to the electrical power used. </a:t>
            </a:r>
            <a:br>
              <a:rPr lang="en-US" sz="2000" dirty="0"/>
            </a:br>
            <a:r>
              <a:rPr lang="en-US" sz="2000" dirty="0"/>
              <a:t>The regulation also specifies the </a:t>
            </a:r>
            <a:br>
              <a:rPr lang="en-US" sz="2000" dirty="0"/>
            </a:br>
            <a:r>
              <a:rPr lang="en-US" sz="2000" dirty="0"/>
              <a:t>documentation obligations of the </a:t>
            </a:r>
            <a:br>
              <a:rPr lang="en-US" sz="2000" dirty="0"/>
            </a:br>
            <a:r>
              <a:rPr lang="en-US" sz="2000" dirty="0"/>
              <a:t>manufacturer/distributor/user. </a:t>
            </a:r>
            <a:br>
              <a:rPr lang="en-US" sz="2000" dirty="0"/>
            </a:br>
            <a:r>
              <a:rPr lang="en-US" sz="2000" dirty="0"/>
              <a:t>In addition to efficiency, this also includes </a:t>
            </a:r>
            <a:br>
              <a:rPr lang="en-US" sz="2000" dirty="0"/>
            </a:br>
            <a:r>
              <a:rPr lang="en-US" sz="2000" dirty="0"/>
              <a:t>information on reparability (see diagram).</a:t>
            </a:r>
          </a:p>
        </p:txBody>
      </p:sp>
      <p:pic>
        <p:nvPicPr>
          <p:cNvPr id="11" name="Grafik 10" descr="Ein Bild, das Screenshot, Reihe, Farbigkeit, Diagramm enthält.&#10;&#10;Automatisch generierte Beschreibung">
            <a:extLst>
              <a:ext uri="{FF2B5EF4-FFF2-40B4-BE49-F238E27FC236}">
                <a16:creationId xmlns:a16="http://schemas.microsoft.com/office/drawing/2014/main" id="{4DA88796-FC76-3E5B-C0CC-D88855F5B14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1605" r="-361" b="129"/>
          <a:stretch/>
        </p:blipFill>
        <p:spPr>
          <a:xfrm>
            <a:off x="6072000" y="-1"/>
            <a:ext cx="6120000" cy="684000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5" name="Textfeld 14">
            <a:extLst>
              <a:ext uri="{FF2B5EF4-FFF2-40B4-BE49-F238E27FC236}">
                <a16:creationId xmlns:a16="http://schemas.microsoft.com/office/drawing/2014/main" id="{E0E25733-80F3-C499-9640-394A185FA999}"/>
              </a:ext>
            </a:extLst>
          </p:cNvPr>
          <p:cNvSpPr txBox="1"/>
          <p:nvPr/>
        </p:nvSpPr>
        <p:spPr>
          <a:xfrm>
            <a:off x="7633855" y="11650"/>
            <a:ext cx="1344300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2000" b="1" i="0" u="none" strike="noStrike" baseline="0" dirty="0">
                <a:solidFill>
                  <a:schemeClr val="tx1"/>
                </a:solidFill>
              </a:rPr>
              <a:t>Sales ban </a:t>
            </a:r>
            <a:br>
              <a:rPr lang="en-US" sz="2000" b="1" i="0" u="none" strike="noStrike" baseline="0" dirty="0">
                <a:solidFill>
                  <a:schemeClr val="tx1"/>
                </a:solidFill>
              </a:rPr>
            </a:br>
            <a:r>
              <a:rPr lang="en-US" sz="2000" b="1" dirty="0"/>
              <a:t>from 2026</a:t>
            </a:r>
            <a:endParaRPr lang="en-US" sz="2000" b="1" i="0" u="none" strike="noStrike" baseline="0" dirty="0">
              <a:solidFill>
                <a:schemeClr val="tx1"/>
              </a:solidFill>
            </a:endParaRP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2C855D6E-3588-CD70-D8A3-DE00692DD527}"/>
              </a:ext>
            </a:extLst>
          </p:cNvPr>
          <p:cNvSpPr txBox="1"/>
          <p:nvPr/>
        </p:nvSpPr>
        <p:spPr>
          <a:xfrm>
            <a:off x="9233405" y="11650"/>
            <a:ext cx="1344300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2000" b="1" i="0" u="none" strike="noStrike" baseline="0" dirty="0">
                <a:solidFill>
                  <a:schemeClr val="tx1"/>
                </a:solidFill>
              </a:rPr>
              <a:t>Sales ban </a:t>
            </a:r>
            <a:br>
              <a:rPr lang="en-US" sz="2000" b="1" i="0" u="none" strike="noStrike" baseline="0" dirty="0">
                <a:solidFill>
                  <a:schemeClr val="tx1"/>
                </a:solidFill>
              </a:rPr>
            </a:br>
            <a:r>
              <a:rPr lang="en-US" sz="2000" b="1" dirty="0"/>
              <a:t>since 2015</a:t>
            </a:r>
            <a:endParaRPr lang="en-US" sz="2000" b="1" i="0" u="none" strike="noStrike" baseline="0" dirty="0">
              <a:solidFill>
                <a:schemeClr val="tx1"/>
              </a:solidFill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B8CE28EA-9CA7-59DC-FEC6-30BE305B844E}"/>
              </a:ext>
            </a:extLst>
          </p:cNvPr>
          <p:cNvSpPr txBox="1"/>
          <p:nvPr/>
        </p:nvSpPr>
        <p:spPr>
          <a:xfrm>
            <a:off x="10838175" y="11650"/>
            <a:ext cx="1344300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2000" b="1" i="0" u="none" strike="noStrike" baseline="0" dirty="0">
                <a:solidFill>
                  <a:schemeClr val="tx1"/>
                </a:solidFill>
              </a:rPr>
              <a:t>Sales ban </a:t>
            </a:r>
            <a:br>
              <a:rPr lang="en-US" sz="2000" b="1" i="0" u="none" strike="noStrike" baseline="0" dirty="0">
                <a:solidFill>
                  <a:schemeClr val="tx1"/>
                </a:solidFill>
              </a:rPr>
            </a:br>
            <a:r>
              <a:rPr lang="en-US" sz="2000" b="1" dirty="0"/>
              <a:t>since 2013</a:t>
            </a:r>
            <a:endParaRPr lang="en-US" sz="2000" b="1" i="0" u="none" strike="noStrike" baseline="0" dirty="0">
              <a:solidFill>
                <a:schemeClr val="tx1"/>
              </a:solidFill>
            </a:endParaRPr>
          </a:p>
        </p:txBody>
      </p: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6B048643-3D44-019A-6066-3C6DFFCEE5C0}"/>
              </a:ext>
            </a:extLst>
          </p:cNvPr>
          <p:cNvCxnSpPr>
            <a:cxnSpLocks/>
            <a:stCxn id="17" idx="2"/>
          </p:cNvCxnSpPr>
          <p:nvPr/>
        </p:nvCxnSpPr>
        <p:spPr>
          <a:xfrm>
            <a:off x="11510325" y="719536"/>
            <a:ext cx="362361" cy="3533150"/>
          </a:xfrm>
          <a:prstGeom prst="line">
            <a:avLst/>
          </a:prstGeom>
          <a:ln w="190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1E952BAC-D3FA-070C-2770-3E57467C1658}"/>
              </a:ext>
            </a:extLst>
          </p:cNvPr>
          <p:cNvCxnSpPr>
            <a:cxnSpLocks/>
            <a:stCxn id="16" idx="2"/>
          </p:cNvCxnSpPr>
          <p:nvPr/>
        </p:nvCxnSpPr>
        <p:spPr>
          <a:xfrm>
            <a:off x="9905555" y="719536"/>
            <a:ext cx="1604770" cy="2850978"/>
          </a:xfrm>
          <a:prstGeom prst="line">
            <a:avLst/>
          </a:prstGeom>
          <a:ln w="190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5E15BEFE-19E6-F66E-B30C-469251864EB2}"/>
              </a:ext>
            </a:extLst>
          </p:cNvPr>
          <p:cNvCxnSpPr>
            <a:cxnSpLocks/>
            <a:stCxn id="15" idx="2"/>
          </p:cNvCxnSpPr>
          <p:nvPr/>
        </p:nvCxnSpPr>
        <p:spPr>
          <a:xfrm>
            <a:off x="8306005" y="719536"/>
            <a:ext cx="2129766" cy="2067207"/>
          </a:xfrm>
          <a:prstGeom prst="line">
            <a:avLst/>
          </a:prstGeom>
          <a:ln w="190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FF062517-94EA-F4A2-7677-1F4C6638ADE2}"/>
              </a:ext>
            </a:extLst>
          </p:cNvPr>
          <p:cNvCxnSpPr>
            <a:cxnSpLocks/>
          </p:cNvCxnSpPr>
          <p:nvPr/>
        </p:nvCxnSpPr>
        <p:spPr>
          <a:xfrm>
            <a:off x="7733910" y="719536"/>
            <a:ext cx="1244245" cy="0"/>
          </a:xfrm>
          <a:prstGeom prst="line">
            <a:avLst/>
          </a:prstGeom>
          <a:ln w="190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0BF0FE21-C021-3751-58CD-6C7232C53FD1}"/>
              </a:ext>
            </a:extLst>
          </p:cNvPr>
          <p:cNvCxnSpPr>
            <a:cxnSpLocks/>
          </p:cNvCxnSpPr>
          <p:nvPr/>
        </p:nvCxnSpPr>
        <p:spPr>
          <a:xfrm>
            <a:off x="9316840" y="719536"/>
            <a:ext cx="1244245" cy="0"/>
          </a:xfrm>
          <a:prstGeom prst="line">
            <a:avLst/>
          </a:prstGeom>
          <a:ln w="190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0D9CC5A3-AC10-7C80-38A2-5160B0B465C8}"/>
              </a:ext>
            </a:extLst>
          </p:cNvPr>
          <p:cNvCxnSpPr>
            <a:cxnSpLocks/>
          </p:cNvCxnSpPr>
          <p:nvPr/>
        </p:nvCxnSpPr>
        <p:spPr>
          <a:xfrm>
            <a:off x="10858110" y="719536"/>
            <a:ext cx="1244245" cy="0"/>
          </a:xfrm>
          <a:prstGeom prst="line">
            <a:avLst/>
          </a:prstGeom>
          <a:ln w="190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502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32E0FC1-9F02-D33B-B531-B402AC375E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400" dirty="0"/>
              <a:t>AC Axiální ventilátor 4p. DN630mm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F651A54A-297B-06CF-7D4E-275FF00EAB4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Nesplňuje ErP2026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516C5685-CE96-8A04-3E9C-520A3074D0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cs-CZ" dirty="0"/>
              <a:t>Splňuje ErP2026</a:t>
            </a:r>
          </a:p>
        </p:txBody>
      </p:sp>
      <p:sp>
        <p:nvSpPr>
          <p:cNvPr id="7" name="Zástupný text 6">
            <a:extLst>
              <a:ext uri="{FF2B5EF4-FFF2-40B4-BE49-F238E27FC236}">
                <a16:creationId xmlns:a16="http://schemas.microsoft.com/office/drawing/2014/main" id="{7EED2FD0-1A8E-331F-60FE-B71CF0BD629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cs-CZ" sz="2400" dirty="0"/>
              <a:t>EC </a:t>
            </a:r>
            <a:r>
              <a:rPr lang="cs-CZ" sz="2400" dirty="0" err="1"/>
              <a:t>Axieco</a:t>
            </a:r>
            <a:r>
              <a:rPr lang="cs-CZ" sz="2400" dirty="0"/>
              <a:t> DN630</a:t>
            </a:r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36603DC6-9F46-5A88-F4B8-985F30891A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4A5C374B-B0F4-6468-0AE7-75E282B054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F31D0-8A17-47C0-8D09-D01303A85034}" type="slidenum">
              <a:rPr lang="de-DE" smtClean="0"/>
              <a:pPr/>
              <a:t>14</a:t>
            </a:fld>
            <a:endParaRPr lang="de-DE"/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5583D665-D002-B68E-6649-19F5E6C2317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10062" y="2016725"/>
            <a:ext cx="4135797" cy="3368075"/>
          </a:xfrm>
          <a:prstGeom prst="rect">
            <a:avLst/>
          </a:prstGeom>
        </p:spPr>
      </p:pic>
      <p:sp>
        <p:nvSpPr>
          <p:cNvPr id="14" name="Zástupný obsah 13">
            <a:extLst>
              <a:ext uri="{FF2B5EF4-FFF2-40B4-BE49-F238E27FC236}">
                <a16:creationId xmlns:a16="http://schemas.microsoft.com/office/drawing/2014/main" id="{C34E6B5C-DCD2-B07E-03C0-4D50D551E67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cs-CZ"/>
          </a:p>
        </p:txBody>
      </p:sp>
      <p:pic>
        <p:nvPicPr>
          <p:cNvPr id="15" name="Grafik 17">
            <a:extLst>
              <a:ext uri="{FF2B5EF4-FFF2-40B4-BE49-F238E27FC236}">
                <a16:creationId xmlns:a16="http://schemas.microsoft.com/office/drawing/2014/main" id="{F06B940C-30D8-EB3D-98C8-2221997C40D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731" t="28787" r="36271" b="26213"/>
          <a:stretch/>
        </p:blipFill>
        <p:spPr>
          <a:xfrm>
            <a:off x="5628001" y="897775"/>
            <a:ext cx="7552266" cy="6684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868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2462D6A-9E32-4352-5F2E-3ECABB11DE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18052C5-A117-0101-58F1-02A49929C5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400" dirty="0"/>
              <a:t>AC radiální ventilátor 4p. DN310mm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631F31C7-3EAB-211D-2EC2-7FCC2AAA7C4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FCC00844-B1B9-9C71-AC3D-BF6D3E0C196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cs-CZ" dirty="0"/>
              <a:t>Splňuje ErP2026</a:t>
            </a:r>
          </a:p>
        </p:txBody>
      </p:sp>
      <p:sp>
        <p:nvSpPr>
          <p:cNvPr id="7" name="Zástupný text 6">
            <a:extLst>
              <a:ext uri="{FF2B5EF4-FFF2-40B4-BE49-F238E27FC236}">
                <a16:creationId xmlns:a16="http://schemas.microsoft.com/office/drawing/2014/main" id="{1A3A5166-0301-6718-D67A-840E6945D28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cs-CZ" sz="2400" dirty="0"/>
              <a:t>EC radiální ventilátor DN310</a:t>
            </a:r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85DF1800-59FD-5307-644D-C4DD10A575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FEA1FE31-563B-D8B0-6ABA-C2CE670280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F31D0-8A17-47C0-8D09-D01303A85034}" type="slidenum">
              <a:rPr lang="de-DE" smtClean="0"/>
              <a:pPr/>
              <a:t>15</a:t>
            </a:fld>
            <a:endParaRPr lang="de-DE"/>
          </a:p>
        </p:txBody>
      </p:sp>
      <p:pic>
        <p:nvPicPr>
          <p:cNvPr id="4" name="Grafik 17">
            <a:extLst>
              <a:ext uri="{FF2B5EF4-FFF2-40B4-BE49-F238E27FC236}">
                <a16:creationId xmlns:a16="http://schemas.microsoft.com/office/drawing/2014/main" id="{7360270D-82F7-7FE2-47DF-23C7480A6D5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97" t="44111" r="2389" b="9809"/>
          <a:stretch/>
        </p:blipFill>
        <p:spPr>
          <a:xfrm>
            <a:off x="6564000" y="1809448"/>
            <a:ext cx="5091183" cy="3553835"/>
          </a:xfrm>
          <a:prstGeom prst="rect">
            <a:avLst/>
          </a:prstGeom>
        </p:spPr>
      </p:pic>
      <p:pic>
        <p:nvPicPr>
          <p:cNvPr id="6" name="Obrázek 5" descr="Obsah obrázku opuštěné, ocel, interiér, chátrat&#10;&#10;Popis byl vytvořen automaticky">
            <a:extLst>
              <a:ext uri="{FF2B5EF4-FFF2-40B4-BE49-F238E27FC236}">
                <a16:creationId xmlns:a16="http://schemas.microsoft.com/office/drawing/2014/main" id="{F3498E12-7224-CD8B-0EB3-C711109A640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9102" y="1809448"/>
            <a:ext cx="4738446" cy="35538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9270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AEABE3-30EC-D120-1FA0-6EBC42779E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E535B96-1231-DDAD-A5E8-24E856F5BF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400" dirty="0"/>
              <a:t>AC radiální ventilátor 2p. DN250mm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EF7FEE59-82EA-9E2B-9CA7-31DEE4FEE26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Nesplňuje ErP2026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F1EDBE23-CDD2-78EE-AD5A-0AE5CA7544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cs-CZ" dirty="0"/>
              <a:t>Splňuje ErP2026</a:t>
            </a:r>
          </a:p>
        </p:txBody>
      </p:sp>
      <p:sp>
        <p:nvSpPr>
          <p:cNvPr id="7" name="Zástupný text 6">
            <a:extLst>
              <a:ext uri="{FF2B5EF4-FFF2-40B4-BE49-F238E27FC236}">
                <a16:creationId xmlns:a16="http://schemas.microsoft.com/office/drawing/2014/main" id="{A020EC57-01DE-5F4B-6E7E-CD433C0FDB2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cs-CZ" sz="2400" dirty="0"/>
              <a:t>EC radiální ventilátor DN250</a:t>
            </a:r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58C3F0F3-E934-CE95-C21B-D89D8B8CDD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87679C88-0DC7-9510-9C8D-6091940EF1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F31D0-8A17-47C0-8D09-D01303A85034}" type="slidenum">
              <a:rPr lang="de-DE" smtClean="0"/>
              <a:pPr/>
              <a:t>16</a:t>
            </a:fld>
            <a:endParaRPr lang="de-DE"/>
          </a:p>
        </p:txBody>
      </p:sp>
      <p:pic>
        <p:nvPicPr>
          <p:cNvPr id="10" name="Obrázek 9" descr="Obsah obrázku kruh, černobílá, spirála, černobílý&#10;&#10;Obsah generovaný pomocí AI může být nesprávný.">
            <a:extLst>
              <a:ext uri="{FF2B5EF4-FFF2-40B4-BE49-F238E27FC236}">
                <a16:creationId xmlns:a16="http://schemas.microsoft.com/office/drawing/2014/main" id="{615D183C-D371-4092-E41B-B4F515D82C2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804" y="1588140"/>
            <a:ext cx="4039066" cy="4192772"/>
          </a:xfrm>
          <a:prstGeom prst="rect">
            <a:avLst/>
          </a:prstGeom>
        </p:spPr>
      </p:pic>
      <p:pic>
        <p:nvPicPr>
          <p:cNvPr id="12" name="Obrázek 11" descr="Obsah obrázku kruh, černobílá, světlo&#10;&#10;Obsah generovaný pomocí AI může být nesprávný.">
            <a:extLst>
              <a:ext uri="{FF2B5EF4-FFF2-40B4-BE49-F238E27FC236}">
                <a16:creationId xmlns:a16="http://schemas.microsoft.com/office/drawing/2014/main" id="{6B6BC87F-7845-4A8F-C9AB-CE672E93BE5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2833" y="488716"/>
            <a:ext cx="6361814" cy="6361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9328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55D8F01-0BAE-4E87-9667-E232837E7047}" type="slidenum">
              <a:rPr lang="de-DE">
                <a:solidFill>
                  <a:prstClr val="black"/>
                </a:solidFill>
              </a:rPr>
              <a:pPr>
                <a:defRPr/>
              </a:pPr>
              <a:t>17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6" name="Rectangle 9">
            <a:extLst>
              <a:ext uri="{FF2B5EF4-FFF2-40B4-BE49-F238E27FC236}">
                <a16:creationId xmlns:a16="http://schemas.microsoft.com/office/drawing/2014/main" id="{20EC8F95-BC3A-2FFA-EFA1-0E911C8B1DAC}"/>
              </a:ext>
            </a:extLst>
          </p:cNvPr>
          <p:cNvSpPr/>
          <p:nvPr/>
        </p:nvSpPr>
        <p:spPr>
          <a:xfrm>
            <a:off x="1615540" y="2541226"/>
            <a:ext cx="316811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7CBC"/>
              </a:buClr>
              <a:buSzPct val="75000"/>
              <a:defRPr/>
            </a:pPr>
            <a:r>
              <a:rPr lang="cs-CZ" sz="1400" i="1" kern="0" dirty="0" err="1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gli</a:t>
            </a:r>
            <a:r>
              <a:rPr lang="cs-CZ" sz="1400" i="1" kern="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cs-CZ" sz="1400" i="1" kern="0" dirty="0" err="1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rugsen</a:t>
            </a:r>
            <a:r>
              <a:rPr lang="cs-CZ" sz="1400" i="1" kern="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supermarket</a:t>
            </a:r>
            <a:endParaRPr lang="en-GB" sz="1400" kern="0" dirty="0">
              <a:solidFill>
                <a:srgbClr val="62798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1" name="Obrázek 10">
            <a:extLst>
              <a:ext uri="{FF2B5EF4-FFF2-40B4-BE49-F238E27FC236}">
                <a16:creationId xmlns:a16="http://schemas.microsoft.com/office/drawing/2014/main" id="{4F1D4413-4973-DF9E-0E1E-083D3325C71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0344"/>
          <a:stretch/>
        </p:blipFill>
        <p:spPr>
          <a:xfrm>
            <a:off x="7038922" y="4276411"/>
            <a:ext cx="4678913" cy="2096452"/>
          </a:xfrm>
          <a:prstGeom prst="rect">
            <a:avLst/>
          </a:prstGeom>
        </p:spPr>
      </p:pic>
      <p:sp>
        <p:nvSpPr>
          <p:cNvPr id="14" name="Rectangle 9">
            <a:extLst>
              <a:ext uri="{FF2B5EF4-FFF2-40B4-BE49-F238E27FC236}">
                <a16:creationId xmlns:a16="http://schemas.microsoft.com/office/drawing/2014/main" id="{03FB63DB-DEFE-0404-50B7-6036EF4242D2}"/>
              </a:ext>
            </a:extLst>
          </p:cNvPr>
          <p:cNvSpPr/>
          <p:nvPr/>
        </p:nvSpPr>
        <p:spPr>
          <a:xfrm>
            <a:off x="9507276" y="6429059"/>
            <a:ext cx="316811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1400" i="1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osch Powertrain </a:t>
            </a:r>
            <a:r>
              <a:rPr lang="de-DE" sz="1400" i="1" dirty="0" err="1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Jihlava</a:t>
            </a:r>
            <a:endParaRPr lang="cs-CZ" sz="1400" i="1" dirty="0">
              <a:solidFill>
                <a:prstClr val="black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7CBC"/>
              </a:buClr>
              <a:buSzPct val="75000"/>
              <a:defRPr/>
            </a:pPr>
            <a:endParaRPr lang="en-GB" sz="1400" kern="0" dirty="0">
              <a:solidFill>
                <a:srgbClr val="62798B"/>
              </a:solidFill>
              <a:latin typeface="Arial" charset="0"/>
              <a:cs typeface="Arial" charset="0"/>
            </a:endParaRP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898A49DA-EF44-F07F-D80F-A97D241EC5FC}"/>
              </a:ext>
            </a:extLst>
          </p:cNvPr>
          <p:cNvSpPr txBox="1"/>
          <p:nvPr/>
        </p:nvSpPr>
        <p:spPr bwMode="gray">
          <a:xfrm>
            <a:off x="200051" y="6554309"/>
            <a:ext cx="268538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cs-CZ" sz="1400" i="1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BC </a:t>
            </a:r>
            <a:r>
              <a:rPr lang="cs-CZ" sz="1400" i="1" dirty="0" err="1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amma</a:t>
            </a:r>
            <a:r>
              <a:rPr lang="cs-CZ" sz="1400" i="1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Praha</a:t>
            </a:r>
          </a:p>
        </p:txBody>
      </p:sp>
      <p:pic>
        <p:nvPicPr>
          <p:cNvPr id="2" name="Obrázek 1">
            <a:extLst>
              <a:ext uri="{FF2B5EF4-FFF2-40B4-BE49-F238E27FC236}">
                <a16:creationId xmlns:a16="http://schemas.microsoft.com/office/drawing/2014/main" id="{2ED2C04D-A4E5-A378-A3A2-4C16597DAB9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3430"/>
          <a:stretch/>
        </p:blipFill>
        <p:spPr>
          <a:xfrm>
            <a:off x="4111896" y="3582749"/>
            <a:ext cx="2206306" cy="1939480"/>
          </a:xfrm>
          <a:prstGeom prst="rect">
            <a:avLst/>
          </a:prstGeom>
        </p:spPr>
      </p:pic>
      <p:sp>
        <p:nvSpPr>
          <p:cNvPr id="10" name="Šipka: dolů 9">
            <a:extLst>
              <a:ext uri="{FF2B5EF4-FFF2-40B4-BE49-F238E27FC236}">
                <a16:creationId xmlns:a16="http://schemas.microsoft.com/office/drawing/2014/main" id="{20880B0C-3813-071F-3161-A07DE26BDDD2}"/>
              </a:ext>
            </a:extLst>
          </p:cNvPr>
          <p:cNvSpPr/>
          <p:nvPr/>
        </p:nvSpPr>
        <p:spPr bwMode="gray">
          <a:xfrm rot="18002278">
            <a:off x="6572585" y="4755591"/>
            <a:ext cx="305809" cy="764120"/>
          </a:xfrm>
          <a:prstGeom prst="downArrow">
            <a:avLst/>
          </a:prstGeom>
          <a:solidFill>
            <a:schemeClr val="accent6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cs-CZ" sz="2000" dirty="0" err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7" name="Obrázek 16">
            <a:extLst>
              <a:ext uri="{FF2B5EF4-FFF2-40B4-BE49-F238E27FC236}">
                <a16:creationId xmlns:a16="http://schemas.microsoft.com/office/drawing/2014/main" id="{A3421C5B-3C07-CD0C-4D5E-46CD16FE4CC1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0134" t="65517" r="36613" b="1913"/>
          <a:stretch/>
        </p:blipFill>
        <p:spPr>
          <a:xfrm>
            <a:off x="253676" y="1308860"/>
            <a:ext cx="3735289" cy="1176540"/>
          </a:xfrm>
          <a:prstGeom prst="rect">
            <a:avLst/>
          </a:prstGeom>
        </p:spPr>
      </p:pic>
      <p:sp>
        <p:nvSpPr>
          <p:cNvPr id="19" name="Rectangle 9">
            <a:extLst>
              <a:ext uri="{FF2B5EF4-FFF2-40B4-BE49-F238E27FC236}">
                <a16:creationId xmlns:a16="http://schemas.microsoft.com/office/drawing/2014/main" id="{F111DDE7-F579-BF76-952D-EF7FBCDB2DE1}"/>
              </a:ext>
            </a:extLst>
          </p:cNvPr>
          <p:cNvSpPr/>
          <p:nvPr/>
        </p:nvSpPr>
        <p:spPr>
          <a:xfrm>
            <a:off x="8181887" y="3780174"/>
            <a:ext cx="316811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7CBC"/>
              </a:buClr>
              <a:buSzPct val="75000"/>
              <a:defRPr/>
            </a:pPr>
            <a:r>
              <a:rPr lang="cs-CZ" sz="1400" i="1" kern="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otel </a:t>
            </a:r>
            <a:r>
              <a:rPr lang="cs-CZ" sz="1400" i="1" kern="0" dirty="0" err="1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randium</a:t>
            </a:r>
            <a:r>
              <a:rPr lang="cs-CZ" sz="1400" i="1" kern="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Praha</a:t>
            </a:r>
            <a:endParaRPr lang="en-GB" sz="1400" kern="0" dirty="0">
              <a:solidFill>
                <a:srgbClr val="62798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Nadpis 4">
            <a:extLst>
              <a:ext uri="{FF2B5EF4-FFF2-40B4-BE49-F238E27FC236}">
                <a16:creationId xmlns:a16="http://schemas.microsoft.com/office/drawing/2014/main" id="{8B83BAF0-C115-3021-672C-4AF236D2611B}"/>
              </a:ext>
            </a:extLst>
          </p:cNvPr>
          <p:cNvSpPr txBox="1">
            <a:spLocks/>
          </p:cNvSpPr>
          <p:nvPr/>
        </p:nvSpPr>
        <p:spPr bwMode="gray">
          <a:xfrm>
            <a:off x="794" y="1"/>
            <a:ext cx="10090150" cy="1122363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22800" tIns="0" rIns="0" bIns="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8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cs-CZ" dirty="0">
                <a:solidFill>
                  <a:prstClr val="white"/>
                </a:solidFill>
                <a:latin typeface="Corbel" panose="020B0503020204020204" pitchFamily="34" charset="0"/>
              </a:rPr>
              <a:t>Modernizace větších komplexních celků? </a:t>
            </a:r>
            <a:br>
              <a:rPr lang="en-US" dirty="0">
                <a:solidFill>
                  <a:prstClr val="white"/>
                </a:solidFill>
                <a:latin typeface="Corbel" panose="020B0503020204020204" pitchFamily="34" charset="0"/>
              </a:rPr>
            </a:br>
            <a:r>
              <a:rPr lang="cs-CZ" b="0" i="1" dirty="0">
                <a:solidFill>
                  <a:prstClr val="white"/>
                </a:solidFill>
                <a:latin typeface="Corbel" panose="020B0503020204020204" pitchFamily="34" charset="0"/>
              </a:rPr>
              <a:t>S tím vám rádi pomůžeme…</a:t>
            </a:r>
            <a:endParaRPr lang="cs-CZ" dirty="0">
              <a:solidFill>
                <a:prstClr val="white"/>
              </a:solidFill>
              <a:latin typeface="Corbel" panose="020B0503020204020204" pitchFamily="34" charset="0"/>
            </a:endParaRPr>
          </a:p>
        </p:txBody>
      </p:sp>
      <p:pic>
        <p:nvPicPr>
          <p:cNvPr id="3" name="Obrázek 2" descr="Obsah obrázku text, Písmo, snímek obrazovky, logo">
            <a:extLst>
              <a:ext uri="{FF2B5EF4-FFF2-40B4-BE49-F238E27FC236}">
                <a16:creationId xmlns:a16="http://schemas.microsoft.com/office/drawing/2014/main" id="{050E9ECB-58DA-36ED-0547-EECCC936786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092211" y="-4421"/>
            <a:ext cx="2098996" cy="1499683"/>
          </a:xfrm>
          <a:prstGeom prst="rect">
            <a:avLst/>
          </a:prstGeom>
        </p:spPr>
      </p:pic>
      <p:pic>
        <p:nvPicPr>
          <p:cNvPr id="1026" name="6F7DCFC8-ADE5-4F79-9BC2-D34806911D9F" descr="ffa9b5e7-249e-4fa1-945c-5ea3124258aa.JPG">
            <a:extLst>
              <a:ext uri="{FF2B5EF4-FFF2-40B4-BE49-F238E27FC236}">
                <a16:creationId xmlns:a16="http://schemas.microsoft.com/office/drawing/2014/main" id="{629D4E29-E05D-871B-C296-1A41A56D19A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24" t="10564" r="8600"/>
          <a:stretch/>
        </p:blipFill>
        <p:spPr bwMode="auto">
          <a:xfrm>
            <a:off x="7038922" y="1182956"/>
            <a:ext cx="2933186" cy="26488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D7936D09-1424-4D44-87DC-6C9D9B3AB147" descr="PHOTO-2024-11-07-18-40-17.jpg">
            <a:extLst>
              <a:ext uri="{FF2B5EF4-FFF2-40B4-BE49-F238E27FC236}">
                <a16:creationId xmlns:a16="http://schemas.microsoft.com/office/drawing/2014/main" id="{59BD0CAD-785E-4373-E46E-DD3DA4D8303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927" r="18940" b="11530"/>
          <a:stretch/>
        </p:blipFill>
        <p:spPr bwMode="auto">
          <a:xfrm>
            <a:off x="112473" y="2888505"/>
            <a:ext cx="2971766" cy="36438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09659842"/>
      </p:ext>
    </p:extLst>
  </p:cSld>
  <p:clrMapOvr>
    <a:masterClrMapping/>
  </p:clrMapOvr>
  <p:transition spd="med"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876A78F3-FE7D-4CE2-347D-6412C8B2BA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Nadpis 4">
            <a:extLst>
              <a:ext uri="{FF2B5EF4-FFF2-40B4-BE49-F238E27FC236}">
                <a16:creationId xmlns:a16="http://schemas.microsoft.com/office/drawing/2014/main" id="{EF6EB8C1-2A91-C08F-1A69-598A30EB2EAB}"/>
              </a:ext>
            </a:extLst>
          </p:cNvPr>
          <p:cNvSpPr>
            <a:spLocks noGrp="1"/>
          </p:cNvSpPr>
          <p:nvPr>
            <p:ph type="title"/>
          </p:nvPr>
        </p:nvSpPr>
        <p:spPr>
          <a:solidFill>
            <a:schemeClr val="accent6"/>
          </a:solidFill>
        </p:spPr>
        <p:txBody>
          <a:bodyPr/>
          <a:lstStyle/>
          <a:p>
            <a:r>
              <a:rPr lang="cs-CZ" altLang="zh-CN" dirty="0" err="1">
                <a:latin typeface="+mj-lt"/>
              </a:rPr>
              <a:t>Dagli</a:t>
            </a:r>
            <a:r>
              <a:rPr lang="cs-CZ" altLang="zh-CN" dirty="0">
                <a:latin typeface="+mj-lt"/>
              </a:rPr>
              <a:t>’ </a:t>
            </a:r>
            <a:r>
              <a:rPr lang="cs-CZ" altLang="zh-CN" dirty="0" err="1">
                <a:latin typeface="+mj-lt"/>
              </a:rPr>
              <a:t>Brugsen</a:t>
            </a:r>
            <a:r>
              <a:rPr lang="cs-CZ" altLang="zh-CN" dirty="0">
                <a:latin typeface="+mj-lt"/>
              </a:rPr>
              <a:t> supermarket </a:t>
            </a:r>
            <a:r>
              <a:rPr lang="cs-CZ" altLang="zh-CN" dirty="0" err="1">
                <a:latin typeface="+mj-lt"/>
              </a:rPr>
              <a:t>retrofit</a:t>
            </a:r>
            <a:br>
              <a:rPr lang="en-US" dirty="0">
                <a:latin typeface="Corbel" panose="020B0503020204020204" pitchFamily="34" charset="0"/>
              </a:rPr>
            </a:br>
            <a:r>
              <a:rPr lang="cs-CZ" b="0" i="1" dirty="0">
                <a:latin typeface="Corbel" panose="020B0503020204020204" pitchFamily="34" charset="0"/>
              </a:rPr>
              <a:t>Prostá výměna motorků v chladících zařízeních…</a:t>
            </a:r>
            <a:endParaRPr lang="cs-CZ" dirty="0">
              <a:latin typeface="Corbel" panose="020B0503020204020204" pitchFamily="34" charset="0"/>
            </a:endParaRPr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A12F71E7-49F5-ABD6-8AD2-7FCDF2530A7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C65B49A1-3796-456D-80C3-467C217D8036}" type="slidenum">
              <a:rPr lang="de-DE">
                <a:solidFill>
                  <a:prstClr val="black"/>
                </a:solidFill>
              </a:rPr>
              <a:pPr>
                <a:defRPr/>
              </a:pPr>
              <a:t>18</a:t>
            </a:fld>
            <a:endParaRPr lang="de-DE" dirty="0">
              <a:solidFill>
                <a:prstClr val="black"/>
              </a:solidFill>
            </a:endParaRPr>
          </a:p>
        </p:txBody>
      </p:sp>
      <p:pic>
        <p:nvPicPr>
          <p:cNvPr id="2" name="Obrázek 1" descr="Obsah obrázku text, Písmo, snímek obrazovky, logo">
            <a:extLst>
              <a:ext uri="{FF2B5EF4-FFF2-40B4-BE49-F238E27FC236}">
                <a16:creationId xmlns:a16="http://schemas.microsoft.com/office/drawing/2014/main" id="{38F62DF6-88BF-907A-BCDC-A67F2DC433A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92211" y="-4421"/>
            <a:ext cx="2098996" cy="1499683"/>
          </a:xfrm>
          <a:prstGeom prst="rect">
            <a:avLst/>
          </a:prstGeom>
        </p:spPr>
      </p:pic>
      <p:pic>
        <p:nvPicPr>
          <p:cNvPr id="3" name="Obrázek 2">
            <a:extLst>
              <a:ext uri="{FF2B5EF4-FFF2-40B4-BE49-F238E27FC236}">
                <a16:creationId xmlns:a16="http://schemas.microsoft.com/office/drawing/2014/main" id="{71CF70D0-8D46-FF72-210C-866C093CCA1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559" r="3531"/>
          <a:stretch/>
        </p:blipFill>
        <p:spPr>
          <a:xfrm>
            <a:off x="468733" y="1377948"/>
            <a:ext cx="9623478" cy="5221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4246579"/>
      </p:ext>
    </p:extLst>
  </p:cSld>
  <p:clrMapOvr>
    <a:masterClrMapping/>
  </p:clrMapOvr>
  <p:transition spd="med"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794" y="448"/>
            <a:ext cx="12190413" cy="6857107"/>
            <a:chOff x="0" y="0"/>
            <a:chExt cx="12192000" cy="6858000"/>
          </a:xfrm>
        </p:grpSpPr>
        <p:pic>
          <p:nvPicPr>
            <p:cNvPr id="3" name="object 3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0" y="0"/>
              <a:ext cx="12192000" cy="6857999"/>
            </a:xfrm>
            <a:prstGeom prst="rect">
              <a:avLst/>
            </a:prstGeom>
          </p:spPr>
        </p:pic>
        <p:sp>
          <p:nvSpPr>
            <p:cNvPr id="4" name="object 4"/>
            <p:cNvSpPr/>
            <p:nvPr/>
          </p:nvSpPr>
          <p:spPr>
            <a:xfrm>
              <a:off x="358140" y="374903"/>
              <a:ext cx="6355080" cy="927100"/>
            </a:xfrm>
            <a:custGeom>
              <a:avLst/>
              <a:gdLst/>
              <a:ahLst/>
              <a:cxnLst/>
              <a:rect l="l" t="t" r="r" b="b"/>
              <a:pathLst>
                <a:path w="6355080" h="927100">
                  <a:moveTo>
                    <a:pt x="1836407" y="0"/>
                  </a:moveTo>
                  <a:lnTo>
                    <a:pt x="0" y="0"/>
                  </a:lnTo>
                  <a:lnTo>
                    <a:pt x="0" y="347472"/>
                  </a:lnTo>
                  <a:lnTo>
                    <a:pt x="1836407" y="347472"/>
                  </a:lnTo>
                  <a:lnTo>
                    <a:pt x="1836407" y="0"/>
                  </a:lnTo>
                  <a:close/>
                </a:path>
                <a:path w="6355080" h="927100">
                  <a:moveTo>
                    <a:pt x="6355080" y="408432"/>
                  </a:moveTo>
                  <a:lnTo>
                    <a:pt x="0" y="408432"/>
                  </a:lnTo>
                  <a:lnTo>
                    <a:pt x="0" y="926592"/>
                  </a:lnTo>
                  <a:lnTo>
                    <a:pt x="6355080" y="926592"/>
                  </a:lnTo>
                  <a:lnTo>
                    <a:pt x="6355080" y="408432"/>
                  </a:lnTo>
                  <a:close/>
                </a:path>
              </a:pathLst>
            </a:custGeom>
            <a:solidFill>
              <a:srgbClr val="00A633"/>
            </a:solidFill>
          </p:spPr>
          <p:txBody>
            <a:bodyPr wrap="square" lIns="0" tIns="0" rIns="0" bIns="0" rtlCol="0"/>
            <a:lstStyle/>
            <a:p>
              <a:pPr defTabSz="914309"/>
              <a:endParaRPr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xfrm>
            <a:off x="456207" y="802983"/>
            <a:ext cx="5848858" cy="452061"/>
          </a:xfrm>
          <a:prstGeom prst="rect">
            <a:avLst/>
          </a:prstGeom>
        </p:spPr>
        <p:txBody>
          <a:bodyPr vert="horz" wrap="square" lIns="0" tIns="12063" rIns="0" bIns="0" rtlCol="0" anchor="t">
            <a:spAutoFit/>
          </a:bodyPr>
          <a:lstStyle/>
          <a:p>
            <a:pPr marL="12699">
              <a:spcBef>
                <a:spcPts val="95"/>
              </a:spcBef>
            </a:pPr>
            <a:r>
              <a:rPr lang="cs-CZ" b="0" dirty="0">
                <a:solidFill>
                  <a:srgbClr val="FFFFFF"/>
                </a:solidFill>
                <a:latin typeface="Calibri"/>
                <a:cs typeface="Calibri"/>
              </a:rPr>
              <a:t>Naše chápání udržitelnosti</a:t>
            </a:r>
            <a:r>
              <a:rPr b="0" spc="-10" dirty="0">
                <a:solidFill>
                  <a:srgbClr val="FFFFFF"/>
                </a:solidFill>
              </a:rPr>
              <a:t>:</a:t>
            </a:r>
            <a:r>
              <a:rPr b="0" spc="-30" dirty="0">
                <a:solidFill>
                  <a:srgbClr val="FFFFFF"/>
                </a:solidFill>
              </a:rPr>
              <a:t> </a:t>
            </a:r>
            <a:r>
              <a:rPr b="0" spc="-25" dirty="0">
                <a:solidFill>
                  <a:srgbClr val="FFFFFF"/>
                </a:solidFill>
              </a:rPr>
              <a:t>ESG</a:t>
            </a:r>
          </a:p>
        </p:txBody>
      </p:sp>
      <p:sp>
        <p:nvSpPr>
          <p:cNvPr id="6" name="object 6"/>
          <p:cNvSpPr txBox="1"/>
          <p:nvPr/>
        </p:nvSpPr>
        <p:spPr>
          <a:xfrm>
            <a:off x="456208" y="410732"/>
            <a:ext cx="1609515" cy="228879"/>
          </a:xfrm>
          <a:prstGeom prst="rect">
            <a:avLst/>
          </a:prstGeom>
        </p:spPr>
        <p:txBody>
          <a:bodyPr vert="horz" wrap="square" lIns="0" tIns="13333" rIns="0" bIns="0" rtlCol="0">
            <a:spAutoFit/>
          </a:bodyPr>
          <a:lstStyle/>
          <a:p>
            <a:pPr marL="12699" defTabSz="914309">
              <a:spcBef>
                <a:spcPts val="105"/>
              </a:spcBef>
            </a:pPr>
            <a:r>
              <a:rPr sz="1400" i="1" kern="0" dirty="0">
                <a:solidFill>
                  <a:srgbClr val="FFFFFF"/>
                </a:solidFill>
                <a:latin typeface="Calibri"/>
                <a:cs typeface="Calibri"/>
              </a:rPr>
              <a:t>communication</a:t>
            </a:r>
            <a:r>
              <a:rPr sz="1400" i="1" kern="0" spc="2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400" i="1" kern="0" spc="-20" dirty="0">
                <a:solidFill>
                  <a:srgbClr val="FFFFFF"/>
                </a:solidFill>
                <a:latin typeface="Calibri"/>
                <a:cs typeface="Calibri"/>
              </a:rPr>
              <a:t>guide</a:t>
            </a:r>
            <a:endParaRPr sz="1400" kern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4038996" y="2442339"/>
            <a:ext cx="1361263" cy="330792"/>
          </a:xfrm>
          <a:prstGeom prst="rect">
            <a:avLst/>
          </a:prstGeom>
        </p:spPr>
        <p:txBody>
          <a:bodyPr vert="horz" wrap="square" lIns="0" tIns="13333" rIns="0" bIns="0" rtlCol="0">
            <a:spAutoFit/>
          </a:bodyPr>
          <a:lstStyle/>
          <a:p>
            <a:pPr marL="12699" defTabSz="914309">
              <a:spcBef>
                <a:spcPts val="105"/>
              </a:spcBef>
            </a:pPr>
            <a:r>
              <a:rPr sz="2000" b="1" kern="0" spc="-10" dirty="0">
                <a:solidFill>
                  <a:srgbClr val="FFFFFF"/>
                </a:solidFill>
                <a:latin typeface="Calibri"/>
                <a:cs typeface="Calibri"/>
              </a:rPr>
              <a:t>E</a:t>
            </a:r>
            <a:r>
              <a:rPr sz="2000" kern="0" spc="-10" dirty="0">
                <a:solidFill>
                  <a:srgbClr val="FFFFFF"/>
                </a:solidFill>
                <a:latin typeface="Calibri"/>
                <a:cs typeface="Calibri"/>
              </a:rPr>
              <a:t>nvironment</a:t>
            </a:r>
            <a:endParaRPr sz="2000" kern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3627443" y="2943669"/>
            <a:ext cx="2185385" cy="1306660"/>
          </a:xfrm>
          <a:prstGeom prst="rect">
            <a:avLst/>
          </a:prstGeom>
        </p:spPr>
        <p:txBody>
          <a:bodyPr vert="horz" wrap="square" lIns="0" tIns="13333" rIns="0" bIns="0" rtlCol="0">
            <a:spAutoFit/>
          </a:bodyPr>
          <a:lstStyle/>
          <a:p>
            <a:pPr marL="38096" marR="30477" defTabSz="914309">
              <a:spcBef>
                <a:spcPts val="105"/>
              </a:spcBef>
            </a:pPr>
            <a:r>
              <a:rPr lang="cs-CZ" sz="1400" b="1" kern="0" dirty="0">
                <a:solidFill>
                  <a:srgbClr val="FFFFFF"/>
                </a:solidFill>
                <a:latin typeface="Calibri"/>
                <a:cs typeface="Calibri"/>
              </a:rPr>
              <a:t>"E" jako "</a:t>
            </a:r>
            <a:r>
              <a:rPr lang="cs-CZ" sz="1400" b="1" kern="0" dirty="0" err="1">
                <a:solidFill>
                  <a:srgbClr val="FFFFFF"/>
                </a:solidFill>
                <a:latin typeface="Calibri"/>
                <a:cs typeface="Calibri"/>
              </a:rPr>
              <a:t>Environmental</a:t>
            </a:r>
            <a:r>
              <a:rPr lang="cs-CZ" sz="1400" b="1" kern="0" dirty="0">
                <a:solidFill>
                  <a:srgbClr val="FFFFFF"/>
                </a:solidFill>
                <a:latin typeface="Calibri"/>
                <a:cs typeface="Calibri"/>
              </a:rPr>
              <a:t>" znamená opatření na ochranu životního prostředí a klimatu, jako je nízká spotřeba zdrojů nebo snížení emisí CO2.</a:t>
            </a:r>
            <a:endParaRPr sz="1400" kern="0" dirty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grpSp>
        <p:nvGrpSpPr>
          <p:cNvPr id="9" name="object 9"/>
          <p:cNvGrpSpPr/>
          <p:nvPr/>
        </p:nvGrpSpPr>
        <p:grpSpPr>
          <a:xfrm>
            <a:off x="3616776" y="2453767"/>
            <a:ext cx="3093317" cy="1276819"/>
            <a:chOff x="3616452" y="2453639"/>
            <a:chExt cx="3093720" cy="1276985"/>
          </a:xfrm>
        </p:grpSpPr>
        <p:sp>
          <p:nvSpPr>
            <p:cNvPr id="10" name="object 10"/>
            <p:cNvSpPr/>
            <p:nvPr/>
          </p:nvSpPr>
          <p:spPr>
            <a:xfrm>
              <a:off x="3665220" y="2846831"/>
              <a:ext cx="2212975" cy="0"/>
            </a:xfrm>
            <a:custGeom>
              <a:avLst/>
              <a:gdLst/>
              <a:ahLst/>
              <a:cxnLst/>
              <a:rect l="l" t="t" r="r" b="b"/>
              <a:pathLst>
                <a:path w="2212975">
                  <a:moveTo>
                    <a:pt x="0" y="0"/>
                  </a:moveTo>
                  <a:lnTo>
                    <a:pt x="2212720" y="0"/>
                  </a:lnTo>
                </a:path>
              </a:pathLst>
            </a:custGeom>
            <a:ln w="635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defTabSz="914309"/>
              <a:endParaRPr kern="0">
                <a:solidFill>
                  <a:sysClr val="windowText" lastClr="000000"/>
                </a:solidFill>
              </a:endParaRPr>
            </a:p>
          </p:txBody>
        </p:sp>
        <p:pic>
          <p:nvPicPr>
            <p:cNvPr id="11" name="object 11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3616452" y="2453639"/>
              <a:ext cx="359663" cy="359663"/>
            </a:xfrm>
            <a:prstGeom prst="rect">
              <a:avLst/>
            </a:prstGeom>
          </p:spPr>
        </p:pic>
        <p:pic>
          <p:nvPicPr>
            <p:cNvPr id="12" name="object 12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591003" y="3519294"/>
              <a:ext cx="72573" cy="72437"/>
            </a:xfrm>
            <a:prstGeom prst="rect">
              <a:avLst/>
            </a:prstGeom>
          </p:spPr>
        </p:pic>
        <p:sp>
          <p:nvSpPr>
            <p:cNvPr id="13" name="object 13"/>
            <p:cNvSpPr/>
            <p:nvPr/>
          </p:nvSpPr>
          <p:spPr>
            <a:xfrm>
              <a:off x="6533612" y="3418580"/>
              <a:ext cx="176530" cy="298450"/>
            </a:xfrm>
            <a:custGeom>
              <a:avLst/>
              <a:gdLst/>
              <a:ahLst/>
              <a:cxnLst/>
              <a:rect l="l" t="t" r="r" b="b"/>
              <a:pathLst>
                <a:path w="176529" h="298450">
                  <a:moveTo>
                    <a:pt x="114902" y="687"/>
                  </a:moveTo>
                  <a:lnTo>
                    <a:pt x="118010" y="7605"/>
                  </a:lnTo>
                  <a:lnTo>
                    <a:pt x="107682" y="18898"/>
                  </a:lnTo>
                  <a:lnTo>
                    <a:pt x="99689" y="22183"/>
                  </a:lnTo>
                  <a:lnTo>
                    <a:pt x="1076" y="22183"/>
                  </a:lnTo>
                  <a:lnTo>
                    <a:pt x="12582" y="23541"/>
                  </a:lnTo>
                  <a:lnTo>
                    <a:pt x="54258" y="34625"/>
                  </a:lnTo>
                  <a:lnTo>
                    <a:pt x="94274" y="62479"/>
                  </a:lnTo>
                  <a:lnTo>
                    <a:pt x="116824" y="93350"/>
                  </a:lnTo>
                  <a:lnTo>
                    <a:pt x="119836" y="98906"/>
                  </a:lnTo>
                  <a:lnTo>
                    <a:pt x="122195" y="100727"/>
                  </a:lnTo>
                  <a:lnTo>
                    <a:pt x="127682" y="106167"/>
                  </a:lnTo>
                  <a:lnTo>
                    <a:pt x="133913" y="115193"/>
                  </a:lnTo>
                  <a:lnTo>
                    <a:pt x="138502" y="127774"/>
                  </a:lnTo>
                  <a:lnTo>
                    <a:pt x="139196" y="140713"/>
                  </a:lnTo>
                  <a:lnTo>
                    <a:pt x="137054" y="151476"/>
                  </a:lnTo>
                  <a:lnTo>
                    <a:pt x="134207" y="158836"/>
                  </a:lnTo>
                  <a:lnTo>
                    <a:pt x="132784" y="161563"/>
                  </a:lnTo>
                  <a:lnTo>
                    <a:pt x="132616" y="167735"/>
                  </a:lnTo>
                  <a:lnTo>
                    <a:pt x="122971" y="207471"/>
                  </a:lnTo>
                  <a:lnTo>
                    <a:pt x="94751" y="249253"/>
                  </a:lnTo>
                  <a:lnTo>
                    <a:pt x="51984" y="279719"/>
                  </a:lnTo>
                  <a:lnTo>
                    <a:pt x="61991" y="297991"/>
                  </a:lnTo>
                  <a:lnTo>
                    <a:pt x="121971" y="265003"/>
                  </a:lnTo>
                  <a:lnTo>
                    <a:pt x="156073" y="220554"/>
                  </a:lnTo>
                  <a:lnTo>
                    <a:pt x="176468" y="147129"/>
                  </a:lnTo>
                  <a:lnTo>
                    <a:pt x="170494" y="84713"/>
                  </a:lnTo>
                  <a:lnTo>
                    <a:pt x="148926" y="38766"/>
                  </a:lnTo>
                  <a:lnTo>
                    <a:pt x="125737" y="10390"/>
                  </a:lnTo>
                  <a:lnTo>
                    <a:pt x="114902" y="687"/>
                  </a:lnTo>
                  <a:close/>
                </a:path>
                <a:path w="176529" h="298450">
                  <a:moveTo>
                    <a:pt x="21157" y="0"/>
                  </a:moveTo>
                  <a:lnTo>
                    <a:pt x="5927" y="2636"/>
                  </a:lnTo>
                  <a:lnTo>
                    <a:pt x="49" y="11124"/>
                  </a:lnTo>
                  <a:lnTo>
                    <a:pt x="0" y="22183"/>
                  </a:lnTo>
                  <a:lnTo>
                    <a:pt x="99689" y="22183"/>
                  </a:lnTo>
                  <a:lnTo>
                    <a:pt x="88868" y="20449"/>
                  </a:lnTo>
                  <a:lnTo>
                    <a:pt x="77003" y="15948"/>
                  </a:lnTo>
                  <a:lnTo>
                    <a:pt x="65873" y="10930"/>
                  </a:lnTo>
                  <a:lnTo>
                    <a:pt x="42288" y="2877"/>
                  </a:lnTo>
                  <a:lnTo>
                    <a:pt x="21157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914309"/>
              <a:endParaRPr kern="0">
                <a:solidFill>
                  <a:sysClr val="windowText" lastClr="000000"/>
                </a:solidFill>
              </a:endParaRPr>
            </a:p>
          </p:txBody>
        </p:sp>
        <p:pic>
          <p:nvPicPr>
            <p:cNvPr id="14" name="object 14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6451828" y="3434749"/>
              <a:ext cx="73664" cy="73528"/>
            </a:xfrm>
            <a:prstGeom prst="rect">
              <a:avLst/>
            </a:prstGeom>
          </p:spPr>
        </p:pic>
        <p:sp>
          <p:nvSpPr>
            <p:cNvPr id="15" name="object 15"/>
            <p:cNvSpPr/>
            <p:nvPr/>
          </p:nvSpPr>
          <p:spPr>
            <a:xfrm>
              <a:off x="6359839" y="3375757"/>
              <a:ext cx="284480" cy="240029"/>
            </a:xfrm>
            <a:custGeom>
              <a:avLst/>
              <a:gdLst/>
              <a:ahLst/>
              <a:cxnLst/>
              <a:rect l="l" t="t" r="r" b="b"/>
              <a:pathLst>
                <a:path w="284479" h="240029">
                  <a:moveTo>
                    <a:pt x="62531" y="139385"/>
                  </a:moveTo>
                  <a:lnTo>
                    <a:pt x="4446" y="139385"/>
                  </a:lnTo>
                  <a:lnTo>
                    <a:pt x="19410" y="142668"/>
                  </a:lnTo>
                  <a:lnTo>
                    <a:pt x="26256" y="147934"/>
                  </a:lnTo>
                  <a:lnTo>
                    <a:pt x="30162" y="158154"/>
                  </a:lnTo>
                  <a:lnTo>
                    <a:pt x="32190" y="170661"/>
                  </a:lnTo>
                  <a:lnTo>
                    <a:pt x="33403" y="182790"/>
                  </a:lnTo>
                  <a:lnTo>
                    <a:pt x="38207" y="207204"/>
                  </a:lnTo>
                  <a:lnTo>
                    <a:pt x="46275" y="226910"/>
                  </a:lnTo>
                  <a:lnTo>
                    <a:pt x="56177" y="238758"/>
                  </a:lnTo>
                  <a:lnTo>
                    <a:pt x="66481" y="239597"/>
                  </a:lnTo>
                  <a:lnTo>
                    <a:pt x="75990" y="234171"/>
                  </a:lnTo>
                  <a:lnTo>
                    <a:pt x="70986" y="222551"/>
                  </a:lnTo>
                  <a:lnTo>
                    <a:pt x="68736" y="216940"/>
                  </a:lnTo>
                  <a:lnTo>
                    <a:pt x="63992" y="202092"/>
                  </a:lnTo>
                  <a:lnTo>
                    <a:pt x="59766" y="180983"/>
                  </a:lnTo>
                  <a:lnTo>
                    <a:pt x="59111" y="158154"/>
                  </a:lnTo>
                  <a:lnTo>
                    <a:pt x="59066" y="156590"/>
                  </a:lnTo>
                  <a:lnTo>
                    <a:pt x="62531" y="139385"/>
                  </a:lnTo>
                  <a:close/>
                </a:path>
                <a:path w="284479" h="240029">
                  <a:moveTo>
                    <a:pt x="170174" y="0"/>
                  </a:moveTo>
                  <a:lnTo>
                    <a:pt x="96269" y="19083"/>
                  </a:lnTo>
                  <a:lnTo>
                    <a:pt x="45106" y="55464"/>
                  </a:lnTo>
                  <a:lnTo>
                    <a:pt x="16027" y="97083"/>
                  </a:lnTo>
                  <a:lnTo>
                    <a:pt x="0" y="145530"/>
                  </a:lnTo>
                  <a:lnTo>
                    <a:pt x="4446" y="139385"/>
                  </a:lnTo>
                  <a:lnTo>
                    <a:pt x="62531" y="139385"/>
                  </a:lnTo>
                  <a:lnTo>
                    <a:pt x="63925" y="132465"/>
                  </a:lnTo>
                  <a:lnTo>
                    <a:pt x="71937" y="111877"/>
                  </a:lnTo>
                  <a:lnTo>
                    <a:pt x="79435" y="97538"/>
                  </a:lnTo>
                  <a:lnTo>
                    <a:pt x="82749" y="92157"/>
                  </a:lnTo>
                  <a:lnTo>
                    <a:pt x="83149" y="89207"/>
                  </a:lnTo>
                  <a:lnTo>
                    <a:pt x="109204" y="54608"/>
                  </a:lnTo>
                  <a:lnTo>
                    <a:pt x="130639" y="49638"/>
                  </a:lnTo>
                  <a:lnTo>
                    <a:pt x="136079" y="46697"/>
                  </a:lnTo>
                  <a:lnTo>
                    <a:pt x="151459" y="40539"/>
                  </a:lnTo>
                  <a:lnTo>
                    <a:pt x="175375" y="35164"/>
                  </a:lnTo>
                  <a:lnTo>
                    <a:pt x="206422" y="34571"/>
                  </a:lnTo>
                  <a:lnTo>
                    <a:pt x="274566" y="34571"/>
                  </a:lnTo>
                  <a:lnTo>
                    <a:pt x="273023" y="33308"/>
                  </a:lnTo>
                  <a:lnTo>
                    <a:pt x="260834" y="23984"/>
                  </a:lnTo>
                  <a:lnTo>
                    <a:pt x="225790" y="7257"/>
                  </a:lnTo>
                  <a:lnTo>
                    <a:pt x="170174" y="0"/>
                  </a:lnTo>
                  <a:close/>
                </a:path>
                <a:path w="284479" h="240029">
                  <a:moveTo>
                    <a:pt x="274566" y="34571"/>
                  </a:moveTo>
                  <a:lnTo>
                    <a:pt x="206422" y="34571"/>
                  </a:lnTo>
                  <a:lnTo>
                    <a:pt x="225736" y="38666"/>
                  </a:lnTo>
                  <a:lnTo>
                    <a:pt x="243942" y="45446"/>
                  </a:lnTo>
                  <a:lnTo>
                    <a:pt x="257478" y="51798"/>
                  </a:lnTo>
                  <a:lnTo>
                    <a:pt x="273553" y="60406"/>
                  </a:lnTo>
                  <a:lnTo>
                    <a:pt x="284400" y="42616"/>
                  </a:lnTo>
                  <a:lnTo>
                    <a:pt x="274566" y="34571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914309"/>
              <a:endParaRPr kern="0">
                <a:solidFill>
                  <a:sysClr val="windowText" lastClr="000000"/>
                </a:solidFill>
              </a:endParaRPr>
            </a:p>
          </p:txBody>
        </p:sp>
        <p:pic>
          <p:nvPicPr>
            <p:cNvPr id="16" name="object 16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6448773" y="3595851"/>
              <a:ext cx="73591" cy="73457"/>
            </a:xfrm>
            <a:prstGeom prst="rect">
              <a:avLst/>
            </a:prstGeom>
          </p:spPr>
        </p:pic>
        <p:sp>
          <p:nvSpPr>
            <p:cNvPr id="17" name="object 17"/>
            <p:cNvSpPr/>
            <p:nvPr/>
          </p:nvSpPr>
          <p:spPr>
            <a:xfrm>
              <a:off x="6357884" y="3525250"/>
              <a:ext cx="288925" cy="205104"/>
            </a:xfrm>
            <a:custGeom>
              <a:avLst/>
              <a:gdLst/>
              <a:ahLst/>
              <a:cxnLst/>
              <a:rect l="l" t="t" r="r" b="b"/>
              <a:pathLst>
                <a:path w="288925" h="205104">
                  <a:moveTo>
                    <a:pt x="4381" y="0"/>
                  </a:moveTo>
                  <a:lnTo>
                    <a:pt x="1994" y="14485"/>
                  </a:lnTo>
                  <a:lnTo>
                    <a:pt x="0" y="29684"/>
                  </a:lnTo>
                  <a:lnTo>
                    <a:pt x="3012" y="68340"/>
                  </a:lnTo>
                  <a:lnTo>
                    <a:pt x="24524" y="120047"/>
                  </a:lnTo>
                  <a:lnTo>
                    <a:pt x="78029" y="174395"/>
                  </a:lnTo>
                  <a:lnTo>
                    <a:pt x="135174" y="200431"/>
                  </a:lnTo>
                  <a:lnTo>
                    <a:pt x="185822" y="204759"/>
                  </a:lnTo>
                  <a:lnTo>
                    <a:pt x="222034" y="198903"/>
                  </a:lnTo>
                  <a:lnTo>
                    <a:pt x="235870" y="194390"/>
                  </a:lnTo>
                  <a:lnTo>
                    <a:pt x="228315" y="193619"/>
                  </a:lnTo>
                  <a:lnTo>
                    <a:pt x="223681" y="179042"/>
                  </a:lnTo>
                  <a:lnTo>
                    <a:pt x="224828" y="170490"/>
                  </a:lnTo>
                  <a:lnTo>
                    <a:pt x="231742" y="162004"/>
                  </a:lnTo>
                  <a:lnTo>
                    <a:pt x="241579" y="153997"/>
                  </a:lnTo>
                  <a:lnTo>
                    <a:pt x="242176" y="153569"/>
                  </a:lnTo>
                  <a:lnTo>
                    <a:pt x="127018" y="153569"/>
                  </a:lnTo>
                  <a:lnTo>
                    <a:pt x="89007" y="132000"/>
                  </a:lnTo>
                  <a:lnTo>
                    <a:pt x="87353" y="129406"/>
                  </a:lnTo>
                  <a:lnTo>
                    <a:pt x="82082" y="126175"/>
                  </a:lnTo>
                  <a:lnTo>
                    <a:pt x="52428" y="97971"/>
                  </a:lnTo>
                  <a:lnTo>
                    <a:pt x="30286" y="52688"/>
                  </a:lnTo>
                  <a:lnTo>
                    <a:pt x="25660" y="14485"/>
                  </a:lnTo>
                  <a:lnTo>
                    <a:pt x="25238" y="483"/>
                  </a:lnTo>
                  <a:lnTo>
                    <a:pt x="4381" y="0"/>
                  </a:lnTo>
                  <a:close/>
                </a:path>
                <a:path w="288925" h="205104">
                  <a:moveTo>
                    <a:pt x="148188" y="149544"/>
                  </a:moveTo>
                  <a:lnTo>
                    <a:pt x="145429" y="150673"/>
                  </a:lnTo>
                  <a:lnTo>
                    <a:pt x="137966" y="152696"/>
                  </a:lnTo>
                  <a:lnTo>
                    <a:pt x="127018" y="153569"/>
                  </a:lnTo>
                  <a:lnTo>
                    <a:pt x="242176" y="153569"/>
                  </a:lnTo>
                  <a:lnTo>
                    <a:pt x="247545" y="149718"/>
                  </a:lnTo>
                  <a:lnTo>
                    <a:pt x="154514" y="149718"/>
                  </a:lnTo>
                  <a:lnTo>
                    <a:pt x="148188" y="149544"/>
                  </a:lnTo>
                  <a:close/>
                </a:path>
                <a:path w="288925" h="205104">
                  <a:moveTo>
                    <a:pt x="274784" y="84380"/>
                  </a:moveTo>
                  <a:lnTo>
                    <a:pt x="236748" y="124999"/>
                  </a:lnTo>
                  <a:lnTo>
                    <a:pt x="192573" y="145663"/>
                  </a:lnTo>
                  <a:lnTo>
                    <a:pt x="154514" y="149718"/>
                  </a:lnTo>
                  <a:lnTo>
                    <a:pt x="247545" y="149718"/>
                  </a:lnTo>
                  <a:lnTo>
                    <a:pt x="251497" y="146883"/>
                  </a:lnTo>
                  <a:lnTo>
                    <a:pt x="270277" y="130524"/>
                  </a:lnTo>
                  <a:lnTo>
                    <a:pt x="283340" y="113696"/>
                  </a:lnTo>
                  <a:lnTo>
                    <a:pt x="288649" y="99265"/>
                  </a:lnTo>
                  <a:lnTo>
                    <a:pt x="288078" y="97971"/>
                  </a:lnTo>
                  <a:lnTo>
                    <a:pt x="284244" y="89889"/>
                  </a:lnTo>
                  <a:lnTo>
                    <a:pt x="274784" y="8438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914309"/>
              <a:endParaRPr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18" name="object 18"/>
          <p:cNvSpPr txBox="1"/>
          <p:nvPr/>
        </p:nvSpPr>
        <p:spPr>
          <a:xfrm>
            <a:off x="6775996" y="3367540"/>
            <a:ext cx="627298" cy="330792"/>
          </a:xfrm>
          <a:prstGeom prst="rect">
            <a:avLst/>
          </a:prstGeom>
        </p:spPr>
        <p:txBody>
          <a:bodyPr vert="horz" wrap="square" lIns="0" tIns="13333" rIns="0" bIns="0" rtlCol="0">
            <a:spAutoFit/>
          </a:bodyPr>
          <a:lstStyle/>
          <a:p>
            <a:pPr marL="12699" defTabSz="914309">
              <a:spcBef>
                <a:spcPts val="105"/>
              </a:spcBef>
            </a:pPr>
            <a:r>
              <a:rPr sz="2000" b="1" kern="0" spc="-10" dirty="0">
                <a:solidFill>
                  <a:srgbClr val="FFFFFF"/>
                </a:solidFill>
                <a:latin typeface="Calibri"/>
                <a:cs typeface="Calibri"/>
              </a:rPr>
              <a:t>S</a:t>
            </a:r>
            <a:r>
              <a:rPr sz="2000" kern="0" spc="-10" dirty="0">
                <a:solidFill>
                  <a:srgbClr val="FFFFFF"/>
                </a:solidFill>
                <a:latin typeface="Calibri"/>
                <a:cs typeface="Calibri"/>
              </a:rPr>
              <a:t>ocial</a:t>
            </a:r>
            <a:endParaRPr sz="2000" kern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9514269" y="4329059"/>
            <a:ext cx="1275549" cy="330792"/>
          </a:xfrm>
          <a:prstGeom prst="rect">
            <a:avLst/>
          </a:prstGeom>
        </p:spPr>
        <p:txBody>
          <a:bodyPr vert="horz" wrap="square" lIns="0" tIns="12698" rIns="0" bIns="0" rtlCol="0">
            <a:spAutoFit/>
          </a:bodyPr>
          <a:lstStyle/>
          <a:p>
            <a:pPr marL="12699" defTabSz="914309">
              <a:spcBef>
                <a:spcPts val="100"/>
              </a:spcBef>
            </a:pPr>
            <a:r>
              <a:rPr sz="2000" b="1" kern="0" spc="-10" dirty="0">
                <a:solidFill>
                  <a:srgbClr val="FFFFFF"/>
                </a:solidFill>
                <a:latin typeface="Calibri"/>
                <a:cs typeface="Calibri"/>
              </a:rPr>
              <a:t>G</a:t>
            </a:r>
            <a:r>
              <a:rPr sz="2000" kern="0" spc="-10" dirty="0">
                <a:solidFill>
                  <a:srgbClr val="FFFFFF"/>
                </a:solidFill>
                <a:latin typeface="Calibri"/>
                <a:cs typeface="Calibri"/>
              </a:rPr>
              <a:t>overnance</a:t>
            </a:r>
            <a:endParaRPr sz="2000" kern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6383490" y="3485229"/>
            <a:ext cx="2275544" cy="1717451"/>
          </a:xfrm>
          <a:prstGeom prst="rect">
            <a:avLst/>
          </a:prstGeom>
        </p:spPr>
        <p:txBody>
          <a:bodyPr vert="horz" wrap="square" lIns="0" tIns="111745" rIns="0" bIns="0" rtlCol="0">
            <a:spAutoFit/>
          </a:bodyPr>
          <a:lstStyle/>
          <a:p>
            <a:pPr marL="12699" defTabSz="914309">
              <a:spcBef>
                <a:spcPts val="880"/>
              </a:spcBef>
              <a:tabLst>
                <a:tab pos="2262279" algn="l"/>
              </a:tabLst>
            </a:pPr>
            <a:r>
              <a:rPr sz="1400" u="sng" kern="0" dirty="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Calibri"/>
                <a:cs typeface="Calibri"/>
              </a:rPr>
              <a:t>	</a:t>
            </a:r>
            <a:endParaRPr sz="1400" kern="0" dirty="0">
              <a:solidFill>
                <a:sysClr val="windowText" lastClr="000000"/>
              </a:solidFill>
              <a:latin typeface="Calibri"/>
              <a:cs typeface="Calibri"/>
            </a:endParaRPr>
          </a:p>
          <a:p>
            <a:pPr marL="12699" marR="222863" defTabSz="914309">
              <a:spcBef>
                <a:spcPts val="780"/>
              </a:spcBef>
            </a:pPr>
            <a:r>
              <a:rPr lang="cs-CZ" sz="1400" b="1" kern="0" dirty="0">
                <a:solidFill>
                  <a:srgbClr val="FFFFFF"/>
                </a:solidFill>
                <a:latin typeface="Calibri"/>
                <a:cs typeface="Calibri"/>
              </a:rPr>
              <a:t>"S" jako "sociální" označuje opatření na sociální úrovni, jako jsou lepší životní a pracovní podmínky pro jednotlivce nebo skupiny lidí.</a:t>
            </a:r>
            <a:endParaRPr sz="1400" kern="0" dirty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9085191" y="4456652"/>
            <a:ext cx="2275544" cy="1463030"/>
          </a:xfrm>
          <a:prstGeom prst="rect">
            <a:avLst/>
          </a:prstGeom>
        </p:spPr>
        <p:txBody>
          <a:bodyPr vert="horz" wrap="square" lIns="0" tIns="92698" rIns="0" bIns="0" rtlCol="0">
            <a:spAutoFit/>
          </a:bodyPr>
          <a:lstStyle/>
          <a:p>
            <a:pPr marL="13334" indent="-1270" defTabSz="914309">
              <a:spcBef>
                <a:spcPts val="730"/>
              </a:spcBef>
              <a:tabLst>
                <a:tab pos="2262279" algn="l"/>
              </a:tabLst>
            </a:pPr>
            <a:r>
              <a:rPr sz="1400" u="sng" kern="0" dirty="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Calibri"/>
                <a:cs typeface="Calibri"/>
              </a:rPr>
              <a:t>		</a:t>
            </a:r>
            <a:endParaRPr sz="1400" kern="0" dirty="0">
              <a:solidFill>
                <a:sysClr val="windowText" lastClr="000000"/>
              </a:solidFill>
              <a:latin typeface="Calibri"/>
              <a:cs typeface="Calibri"/>
            </a:endParaRPr>
          </a:p>
          <a:p>
            <a:pPr marL="13334" marR="74288" defTabSz="914309">
              <a:spcBef>
                <a:spcPts val="635"/>
              </a:spcBef>
            </a:pPr>
            <a:r>
              <a:rPr lang="cs-CZ" sz="1400" kern="0" dirty="0">
                <a:solidFill>
                  <a:srgbClr val="FFFFFF"/>
                </a:solidFill>
                <a:latin typeface="Calibri"/>
                <a:cs typeface="Calibri"/>
              </a:rPr>
              <a:t>"G" jako "</a:t>
            </a:r>
            <a:r>
              <a:rPr lang="cs-CZ" sz="1400" kern="0" dirty="0" err="1">
                <a:solidFill>
                  <a:srgbClr val="FFFFFF"/>
                </a:solidFill>
                <a:latin typeface="Calibri"/>
                <a:cs typeface="Calibri"/>
              </a:rPr>
              <a:t>Governance</a:t>
            </a:r>
            <a:r>
              <a:rPr lang="cs-CZ" sz="1400" kern="0" dirty="0">
                <a:solidFill>
                  <a:srgbClr val="FFFFFF"/>
                </a:solidFill>
                <a:latin typeface="Calibri"/>
                <a:cs typeface="Calibri"/>
              </a:rPr>
              <a:t>" znamená dobré řízení společnosti, které je závazně regulováno a kontrolováno jak interně, tak externě.</a:t>
            </a:r>
            <a:endParaRPr sz="1400" kern="0" dirty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grpSp>
        <p:nvGrpSpPr>
          <p:cNvPr id="22" name="object 22"/>
          <p:cNvGrpSpPr/>
          <p:nvPr/>
        </p:nvGrpSpPr>
        <p:grpSpPr>
          <a:xfrm>
            <a:off x="9056747" y="4296044"/>
            <a:ext cx="428569" cy="428569"/>
            <a:chOff x="9057131" y="4296155"/>
            <a:chExt cx="428625" cy="428625"/>
          </a:xfrm>
        </p:grpSpPr>
        <p:pic>
          <p:nvPicPr>
            <p:cNvPr id="23" name="object 23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9057131" y="4296155"/>
              <a:ext cx="428244" cy="428244"/>
            </a:xfrm>
            <a:prstGeom prst="rect">
              <a:avLst/>
            </a:prstGeom>
          </p:spPr>
        </p:pic>
        <p:sp>
          <p:nvSpPr>
            <p:cNvPr id="24" name="object 24"/>
            <p:cNvSpPr/>
            <p:nvPr/>
          </p:nvSpPr>
          <p:spPr>
            <a:xfrm>
              <a:off x="9162287" y="4475987"/>
              <a:ext cx="210820" cy="59690"/>
            </a:xfrm>
            <a:custGeom>
              <a:avLst/>
              <a:gdLst/>
              <a:ahLst/>
              <a:cxnLst/>
              <a:rect l="l" t="t" r="r" b="b"/>
              <a:pathLst>
                <a:path w="210820" h="59689">
                  <a:moveTo>
                    <a:pt x="210311" y="0"/>
                  </a:moveTo>
                  <a:lnTo>
                    <a:pt x="0" y="0"/>
                  </a:lnTo>
                  <a:lnTo>
                    <a:pt x="0" y="59436"/>
                  </a:lnTo>
                  <a:lnTo>
                    <a:pt x="210311" y="59436"/>
                  </a:lnTo>
                  <a:lnTo>
                    <a:pt x="210311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914309"/>
              <a:endParaRPr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5" name="object 25"/>
            <p:cNvSpPr/>
            <p:nvPr/>
          </p:nvSpPr>
          <p:spPr>
            <a:xfrm>
              <a:off x="9162287" y="4475987"/>
              <a:ext cx="210820" cy="59690"/>
            </a:xfrm>
            <a:custGeom>
              <a:avLst/>
              <a:gdLst/>
              <a:ahLst/>
              <a:cxnLst/>
              <a:rect l="l" t="t" r="r" b="b"/>
              <a:pathLst>
                <a:path w="210820" h="59689">
                  <a:moveTo>
                    <a:pt x="0" y="59436"/>
                  </a:moveTo>
                  <a:lnTo>
                    <a:pt x="210311" y="59436"/>
                  </a:lnTo>
                  <a:lnTo>
                    <a:pt x="210311" y="0"/>
                  </a:lnTo>
                  <a:lnTo>
                    <a:pt x="0" y="0"/>
                  </a:lnTo>
                  <a:lnTo>
                    <a:pt x="0" y="59436"/>
                  </a:lnTo>
                  <a:close/>
                </a:path>
              </a:pathLst>
            </a:custGeom>
            <a:ln w="127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defTabSz="914309"/>
              <a:endParaRPr kern="0">
                <a:solidFill>
                  <a:sysClr val="windowText" lastClr="000000"/>
                </a:solidFill>
              </a:endParaRPr>
            </a:p>
          </p:txBody>
        </p:sp>
      </p:grp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566B34-5AA8-F80F-BD9F-A04FCFECF3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25FB8A79-8029-94C7-AB1C-BF20AF145EE7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Blur radius="5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32" y="-1"/>
            <a:ext cx="12191998" cy="6857999"/>
          </a:xfrm>
          <a:prstGeom prst="rect">
            <a:avLst/>
          </a:prstGeom>
        </p:spPr>
      </p:pic>
      <p:sp>
        <p:nvSpPr>
          <p:cNvPr id="613" name="Rectangle 341">
            <a:extLst>
              <a:ext uri="{FF2B5EF4-FFF2-40B4-BE49-F238E27FC236}">
                <a16:creationId xmlns:a16="http://schemas.microsoft.com/office/drawing/2014/main" id="{6D427E49-88B4-BF9B-A4D8-1E7C811BC91D}"/>
              </a:ext>
            </a:extLst>
          </p:cNvPr>
          <p:cNvSpPr/>
          <p:nvPr/>
        </p:nvSpPr>
        <p:spPr>
          <a:xfrm>
            <a:off x="5402031" y="0"/>
            <a:ext cx="6789935" cy="686752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614" name="Gruppieren 613">
            <a:extLst>
              <a:ext uri="{FF2B5EF4-FFF2-40B4-BE49-F238E27FC236}">
                <a16:creationId xmlns:a16="http://schemas.microsoft.com/office/drawing/2014/main" id="{81DE51AC-4F19-D7BA-4DC1-F05B80FB5475}"/>
              </a:ext>
            </a:extLst>
          </p:cNvPr>
          <p:cNvGrpSpPr/>
          <p:nvPr/>
        </p:nvGrpSpPr>
        <p:grpSpPr>
          <a:xfrm>
            <a:off x="810040" y="1287346"/>
            <a:ext cx="3740304" cy="1154430"/>
            <a:chOff x="852180" y="1488939"/>
            <a:chExt cx="7637760" cy="2357363"/>
          </a:xfrm>
        </p:grpSpPr>
        <p:grpSp>
          <p:nvGrpSpPr>
            <p:cNvPr id="615" name="Grafik 20">
              <a:extLst>
                <a:ext uri="{FF2B5EF4-FFF2-40B4-BE49-F238E27FC236}">
                  <a16:creationId xmlns:a16="http://schemas.microsoft.com/office/drawing/2014/main" id="{9B611830-89FD-1460-2F37-85A53EA827DF}"/>
                </a:ext>
              </a:extLst>
            </p:cNvPr>
            <p:cNvGrpSpPr/>
            <p:nvPr/>
          </p:nvGrpSpPr>
          <p:grpSpPr>
            <a:xfrm>
              <a:off x="852180" y="1488939"/>
              <a:ext cx="6021979" cy="1835800"/>
              <a:chOff x="852180" y="1488939"/>
              <a:chExt cx="6021979" cy="1835800"/>
            </a:xfrm>
          </p:grpSpPr>
          <p:sp>
            <p:nvSpPr>
              <p:cNvPr id="888" name="Freihandform: Form 887">
                <a:extLst>
                  <a:ext uri="{FF2B5EF4-FFF2-40B4-BE49-F238E27FC236}">
                    <a16:creationId xmlns:a16="http://schemas.microsoft.com/office/drawing/2014/main" id="{A87C6515-51AE-2A95-364E-03C0AAA7DEB9}"/>
                  </a:ext>
                </a:extLst>
              </p:cNvPr>
              <p:cNvSpPr/>
              <p:nvPr/>
            </p:nvSpPr>
            <p:spPr>
              <a:xfrm>
                <a:off x="852180" y="1488939"/>
                <a:ext cx="6021979" cy="1835800"/>
              </a:xfrm>
              <a:custGeom>
                <a:avLst/>
                <a:gdLst>
                  <a:gd name="connsiteX0" fmla="*/ 5987196 w 6021979"/>
                  <a:gd name="connsiteY0" fmla="*/ 1198103 h 1835800"/>
                  <a:gd name="connsiteX1" fmla="*/ 0 w 6021979"/>
                  <a:gd name="connsiteY1" fmla="*/ 1835801 h 1835800"/>
                  <a:gd name="connsiteX2" fmla="*/ 0 w 6021979"/>
                  <a:gd name="connsiteY2" fmla="*/ 0 h 1835800"/>
                  <a:gd name="connsiteX3" fmla="*/ 6021980 w 6021979"/>
                  <a:gd name="connsiteY3" fmla="*/ 227638 h 1835800"/>
                  <a:gd name="connsiteX4" fmla="*/ 5987196 w 6021979"/>
                  <a:gd name="connsiteY4" fmla="*/ 1198103 h 1835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21979" h="1835800">
                    <a:moveTo>
                      <a:pt x="5987196" y="1198103"/>
                    </a:moveTo>
                    <a:cubicBezTo>
                      <a:pt x="3989635" y="1396118"/>
                      <a:pt x="1993917" y="1608684"/>
                      <a:pt x="0" y="1835801"/>
                    </a:cubicBezTo>
                    <a:lnTo>
                      <a:pt x="0" y="0"/>
                    </a:lnTo>
                    <a:cubicBezTo>
                      <a:pt x="2009139" y="90428"/>
                      <a:pt x="4016467" y="166308"/>
                      <a:pt x="6021980" y="227638"/>
                    </a:cubicBezTo>
                    <a:cubicBezTo>
                      <a:pt x="6010371" y="551128"/>
                      <a:pt x="5998783" y="874615"/>
                      <a:pt x="5987196" y="1198103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grpSp>
            <p:nvGrpSpPr>
              <p:cNvPr id="889" name="Grafik 20">
                <a:extLst>
                  <a:ext uri="{FF2B5EF4-FFF2-40B4-BE49-F238E27FC236}">
                    <a16:creationId xmlns:a16="http://schemas.microsoft.com/office/drawing/2014/main" id="{5FBEE170-972F-E69E-D143-129C39B4E4C2}"/>
                  </a:ext>
                </a:extLst>
              </p:cNvPr>
              <p:cNvGrpSpPr/>
              <p:nvPr/>
            </p:nvGrpSpPr>
            <p:grpSpPr>
              <a:xfrm>
                <a:off x="1143599" y="1884248"/>
                <a:ext cx="5416952" cy="1038526"/>
                <a:chOff x="1143599" y="1884248"/>
                <a:chExt cx="5416952" cy="1038526"/>
              </a:xfrm>
              <a:solidFill>
                <a:srgbClr val="FFFFFF"/>
              </a:solidFill>
            </p:grpSpPr>
            <p:sp>
              <p:nvSpPr>
                <p:cNvPr id="890" name="Freihandform: Form 889">
                  <a:extLst>
                    <a:ext uri="{FF2B5EF4-FFF2-40B4-BE49-F238E27FC236}">
                      <a16:creationId xmlns:a16="http://schemas.microsoft.com/office/drawing/2014/main" id="{EFBD48EC-013A-E3F7-13E4-8184C8A2F203}"/>
                    </a:ext>
                  </a:extLst>
                </p:cNvPr>
                <p:cNvSpPr/>
                <p:nvPr/>
              </p:nvSpPr>
              <p:spPr>
                <a:xfrm>
                  <a:off x="1143599" y="1885292"/>
                  <a:ext cx="387098" cy="1037483"/>
                </a:xfrm>
                <a:custGeom>
                  <a:avLst/>
                  <a:gdLst>
                    <a:gd name="connsiteX0" fmla="*/ 105178 w 387098"/>
                    <a:gd name="connsiteY0" fmla="*/ 871421 h 1037483"/>
                    <a:gd name="connsiteX1" fmla="*/ 387099 w 387098"/>
                    <a:gd name="connsiteY1" fmla="*/ 852388 h 1037483"/>
                    <a:gd name="connsiteX2" fmla="*/ 386603 w 387098"/>
                    <a:gd name="connsiteY2" fmla="*/ 1005737 h 1037483"/>
                    <a:gd name="connsiteX3" fmla="*/ 0 w 387098"/>
                    <a:gd name="connsiteY3" fmla="*/ 1037483 h 1037483"/>
                    <a:gd name="connsiteX4" fmla="*/ 1421 w 387098"/>
                    <a:gd name="connsiteY4" fmla="*/ 0 h 1037483"/>
                    <a:gd name="connsiteX5" fmla="*/ 374350 w 387098"/>
                    <a:gd name="connsiteY5" fmla="*/ 4593 h 1037483"/>
                    <a:gd name="connsiteX6" fmla="*/ 373864 w 387098"/>
                    <a:gd name="connsiteY6" fmla="*/ 158187 h 1037483"/>
                    <a:gd name="connsiteX7" fmla="*/ 106511 w 387098"/>
                    <a:gd name="connsiteY7" fmla="*/ 158769 h 1037483"/>
                    <a:gd name="connsiteX8" fmla="*/ 106013 w 387098"/>
                    <a:gd name="connsiteY8" fmla="*/ 424473 h 1037483"/>
                    <a:gd name="connsiteX9" fmla="*/ 335260 w 387098"/>
                    <a:gd name="connsiteY9" fmla="*/ 418402 h 1037483"/>
                    <a:gd name="connsiteX10" fmla="*/ 334801 w 387098"/>
                    <a:gd name="connsiteY10" fmla="*/ 572516 h 1037483"/>
                    <a:gd name="connsiteX11" fmla="*/ 105720 w 387098"/>
                    <a:gd name="connsiteY11" fmla="*/ 581892 h 1037483"/>
                    <a:gd name="connsiteX12" fmla="*/ 105178 w 387098"/>
                    <a:gd name="connsiteY12" fmla="*/ 871421 h 10374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387098" h="1037483">
                      <a:moveTo>
                        <a:pt x="105178" y="871421"/>
                      </a:moveTo>
                      <a:cubicBezTo>
                        <a:pt x="199150" y="865063"/>
                        <a:pt x="293124" y="858717"/>
                        <a:pt x="387099" y="852388"/>
                      </a:cubicBezTo>
                      <a:lnTo>
                        <a:pt x="386603" y="1005737"/>
                      </a:lnTo>
                      <a:cubicBezTo>
                        <a:pt x="257730" y="1016283"/>
                        <a:pt x="128864" y="1026866"/>
                        <a:pt x="0" y="1037483"/>
                      </a:cubicBezTo>
                      <a:cubicBezTo>
                        <a:pt x="474" y="691656"/>
                        <a:pt x="947" y="345827"/>
                        <a:pt x="1421" y="0"/>
                      </a:cubicBezTo>
                      <a:cubicBezTo>
                        <a:pt x="125736" y="1564"/>
                        <a:pt x="250044" y="3093"/>
                        <a:pt x="374350" y="4593"/>
                      </a:cubicBezTo>
                      <a:lnTo>
                        <a:pt x="373864" y="158187"/>
                      </a:lnTo>
                      <a:cubicBezTo>
                        <a:pt x="284749" y="158394"/>
                        <a:pt x="195630" y="158588"/>
                        <a:pt x="106511" y="158769"/>
                      </a:cubicBezTo>
                      <a:cubicBezTo>
                        <a:pt x="106346" y="247337"/>
                        <a:pt x="106178" y="335905"/>
                        <a:pt x="106013" y="424473"/>
                      </a:cubicBezTo>
                      <a:cubicBezTo>
                        <a:pt x="182430" y="422451"/>
                        <a:pt x="258845" y="420427"/>
                        <a:pt x="335260" y="418402"/>
                      </a:cubicBezTo>
                      <a:lnTo>
                        <a:pt x="334801" y="572516"/>
                      </a:lnTo>
                      <a:cubicBezTo>
                        <a:pt x="258440" y="575638"/>
                        <a:pt x="182080" y="578764"/>
                        <a:pt x="105720" y="581892"/>
                      </a:cubicBezTo>
                      <a:cubicBezTo>
                        <a:pt x="105539" y="678401"/>
                        <a:pt x="105359" y="774911"/>
                        <a:pt x="105178" y="87142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2201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cs-CZ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891" name="Freihandform: Form 890">
                  <a:extLst>
                    <a:ext uri="{FF2B5EF4-FFF2-40B4-BE49-F238E27FC236}">
                      <a16:creationId xmlns:a16="http://schemas.microsoft.com/office/drawing/2014/main" id="{603B5F11-910E-502B-3496-513C87AD74E4}"/>
                    </a:ext>
                  </a:extLst>
                </p:cNvPr>
                <p:cNvSpPr/>
                <p:nvPr/>
              </p:nvSpPr>
              <p:spPr>
                <a:xfrm>
                  <a:off x="1630377" y="1891255"/>
                  <a:ext cx="506886" cy="991601"/>
                </a:xfrm>
                <a:custGeom>
                  <a:avLst/>
                  <a:gdLst>
                    <a:gd name="connsiteX0" fmla="*/ 301119 w 506886"/>
                    <a:gd name="connsiteY0" fmla="*/ 451532 h 991601"/>
                    <a:gd name="connsiteX1" fmla="*/ 400072 w 506886"/>
                    <a:gd name="connsiteY1" fmla="*/ 708108 h 991601"/>
                    <a:gd name="connsiteX2" fmla="*/ 402651 w 506886"/>
                    <a:gd name="connsiteY2" fmla="*/ 707960 h 991601"/>
                    <a:gd name="connsiteX3" fmla="*/ 399038 w 506886"/>
                    <a:gd name="connsiteY3" fmla="*/ 437041 h 991601"/>
                    <a:gd name="connsiteX4" fmla="*/ 401508 w 506886"/>
                    <a:gd name="connsiteY4" fmla="*/ 4487 h 991601"/>
                    <a:gd name="connsiteX5" fmla="*/ 506887 w 506886"/>
                    <a:gd name="connsiteY5" fmla="*/ 5620 h 991601"/>
                    <a:gd name="connsiteX6" fmla="*/ 500985 w 506886"/>
                    <a:gd name="connsiteY6" fmla="*/ 951054 h 991601"/>
                    <a:gd name="connsiteX7" fmla="*/ 390923 w 506886"/>
                    <a:gd name="connsiteY7" fmla="*/ 959914 h 991601"/>
                    <a:gd name="connsiteX8" fmla="*/ 206352 w 506886"/>
                    <a:gd name="connsiteY8" fmla="*/ 527220 h 991601"/>
                    <a:gd name="connsiteX9" fmla="*/ 105403 w 506886"/>
                    <a:gd name="connsiteY9" fmla="*/ 258830 h 991601"/>
                    <a:gd name="connsiteX10" fmla="*/ 102819 w 506886"/>
                    <a:gd name="connsiteY10" fmla="*/ 258863 h 991601"/>
                    <a:gd name="connsiteX11" fmla="*/ 106784 w 506886"/>
                    <a:gd name="connsiteY11" fmla="*/ 538384 h 991601"/>
                    <a:gd name="connsiteX12" fmla="*/ 104896 w 506886"/>
                    <a:gd name="connsiteY12" fmla="*/ 983065 h 991601"/>
                    <a:gd name="connsiteX13" fmla="*/ 0 w 506886"/>
                    <a:gd name="connsiteY13" fmla="*/ 991601 h 991601"/>
                    <a:gd name="connsiteX14" fmla="*/ 3692 w 506886"/>
                    <a:gd name="connsiteY14" fmla="*/ 0 h 991601"/>
                    <a:gd name="connsiteX15" fmla="*/ 114221 w 506886"/>
                    <a:gd name="connsiteY15" fmla="*/ 1280 h 991601"/>
                    <a:gd name="connsiteX16" fmla="*/ 301119 w 506886"/>
                    <a:gd name="connsiteY16" fmla="*/ 451534 h 9916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506886" h="991601">
                      <a:moveTo>
                        <a:pt x="301119" y="451532"/>
                      </a:moveTo>
                      <a:cubicBezTo>
                        <a:pt x="341796" y="548535"/>
                        <a:pt x="374776" y="633843"/>
                        <a:pt x="400072" y="708108"/>
                      </a:cubicBezTo>
                      <a:cubicBezTo>
                        <a:pt x="400931" y="708059"/>
                        <a:pt x="401792" y="708009"/>
                        <a:pt x="402651" y="707960"/>
                      </a:cubicBezTo>
                      <a:cubicBezTo>
                        <a:pt x="399931" y="584009"/>
                        <a:pt x="398719" y="493649"/>
                        <a:pt x="399038" y="437041"/>
                      </a:cubicBezTo>
                      <a:lnTo>
                        <a:pt x="401508" y="4487"/>
                      </a:lnTo>
                      <a:cubicBezTo>
                        <a:pt x="436633" y="4868"/>
                        <a:pt x="471759" y="5245"/>
                        <a:pt x="506887" y="5620"/>
                      </a:cubicBezTo>
                      <a:cubicBezTo>
                        <a:pt x="504919" y="320765"/>
                        <a:pt x="502952" y="635909"/>
                        <a:pt x="500985" y="951054"/>
                      </a:cubicBezTo>
                      <a:cubicBezTo>
                        <a:pt x="464298" y="954004"/>
                        <a:pt x="427610" y="956958"/>
                        <a:pt x="390923" y="959914"/>
                      </a:cubicBezTo>
                      <a:cubicBezTo>
                        <a:pt x="329479" y="817954"/>
                        <a:pt x="267956" y="673725"/>
                        <a:pt x="206352" y="527220"/>
                      </a:cubicBezTo>
                      <a:cubicBezTo>
                        <a:pt x="173817" y="450838"/>
                        <a:pt x="140176" y="361479"/>
                        <a:pt x="105403" y="258830"/>
                      </a:cubicBezTo>
                      <a:cubicBezTo>
                        <a:pt x="104542" y="258841"/>
                        <a:pt x="103680" y="258852"/>
                        <a:pt x="102819" y="258863"/>
                      </a:cubicBezTo>
                      <a:cubicBezTo>
                        <a:pt x="105742" y="379204"/>
                        <a:pt x="107062" y="472323"/>
                        <a:pt x="106784" y="538384"/>
                      </a:cubicBezTo>
                      <a:lnTo>
                        <a:pt x="104896" y="983065"/>
                      </a:lnTo>
                      <a:cubicBezTo>
                        <a:pt x="69932" y="985909"/>
                        <a:pt x="34965" y="988753"/>
                        <a:pt x="0" y="991601"/>
                      </a:cubicBezTo>
                      <a:cubicBezTo>
                        <a:pt x="1231" y="661067"/>
                        <a:pt x="2463" y="330534"/>
                        <a:pt x="3692" y="0"/>
                      </a:cubicBezTo>
                      <a:cubicBezTo>
                        <a:pt x="40536" y="430"/>
                        <a:pt x="77377" y="857"/>
                        <a:pt x="114221" y="1280"/>
                      </a:cubicBezTo>
                      <a:cubicBezTo>
                        <a:pt x="176606" y="153700"/>
                        <a:pt x="238904" y="303782"/>
                        <a:pt x="301119" y="451534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2201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cs-CZ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892" name="Freihandform: Form 891">
                  <a:extLst>
                    <a:ext uri="{FF2B5EF4-FFF2-40B4-BE49-F238E27FC236}">
                      <a16:creationId xmlns:a16="http://schemas.microsoft.com/office/drawing/2014/main" id="{61668BE5-5DCF-522D-4EC8-D44073F2DC9A}"/>
                    </a:ext>
                  </a:extLst>
                </p:cNvPr>
                <p:cNvSpPr/>
                <p:nvPr/>
              </p:nvSpPr>
              <p:spPr>
                <a:xfrm>
                  <a:off x="2236584" y="1884248"/>
                  <a:ext cx="488380" cy="943453"/>
                </a:xfrm>
                <a:custGeom>
                  <a:avLst/>
                  <a:gdLst>
                    <a:gd name="connsiteX0" fmla="*/ 382020 w 488380"/>
                    <a:gd name="connsiteY0" fmla="*/ 574978 h 943453"/>
                    <a:gd name="connsiteX1" fmla="*/ 253350 w 488380"/>
                    <a:gd name="connsiteY1" fmla="*/ 580807 h 943453"/>
                    <a:gd name="connsiteX2" fmla="*/ 254482 w 488380"/>
                    <a:gd name="connsiteY2" fmla="*/ 440864 h 943453"/>
                    <a:gd name="connsiteX3" fmla="*/ 488381 w 488380"/>
                    <a:gd name="connsiteY3" fmla="*/ 433467 h 943453"/>
                    <a:gd name="connsiteX4" fmla="*/ 484180 w 488380"/>
                    <a:gd name="connsiteY4" fmla="*/ 883730 h 943453"/>
                    <a:gd name="connsiteX5" fmla="*/ 451275 w 488380"/>
                    <a:gd name="connsiteY5" fmla="*/ 901618 h 943453"/>
                    <a:gd name="connsiteX6" fmla="*/ 406602 w 488380"/>
                    <a:gd name="connsiteY6" fmla="*/ 919552 h 943453"/>
                    <a:gd name="connsiteX7" fmla="*/ 355770 w 488380"/>
                    <a:gd name="connsiteY7" fmla="*/ 934058 h 943453"/>
                    <a:gd name="connsiteX8" fmla="*/ 303920 w 488380"/>
                    <a:gd name="connsiteY8" fmla="*/ 942321 h 943453"/>
                    <a:gd name="connsiteX9" fmla="*/ 169500 w 488380"/>
                    <a:gd name="connsiteY9" fmla="*/ 919895 h 943453"/>
                    <a:gd name="connsiteX10" fmla="*/ 74228 w 488380"/>
                    <a:gd name="connsiteY10" fmla="*/ 832607 h 943453"/>
                    <a:gd name="connsiteX11" fmla="*/ 17838 w 488380"/>
                    <a:gd name="connsiteY11" fmla="*/ 690281 h 943453"/>
                    <a:gd name="connsiteX12" fmla="*/ 25 w 488380"/>
                    <a:gd name="connsiteY12" fmla="*/ 503465 h 943453"/>
                    <a:gd name="connsiteX13" fmla="*/ 11044 w 488380"/>
                    <a:gd name="connsiteY13" fmla="*/ 364353 h 943453"/>
                    <a:gd name="connsiteX14" fmla="*/ 41521 w 488380"/>
                    <a:gd name="connsiteY14" fmla="*/ 241692 h 943453"/>
                    <a:gd name="connsiteX15" fmla="*/ 89730 w 488380"/>
                    <a:gd name="connsiteY15" fmla="*/ 140188 h 943453"/>
                    <a:gd name="connsiteX16" fmla="*/ 154121 w 488380"/>
                    <a:gd name="connsiteY16" fmla="*/ 63520 h 943453"/>
                    <a:gd name="connsiteX17" fmla="*/ 233188 w 488380"/>
                    <a:gd name="connsiteY17" fmla="*/ 15723 h 943453"/>
                    <a:gd name="connsiteX18" fmla="*/ 325125 w 488380"/>
                    <a:gd name="connsiteY18" fmla="*/ 19 h 943453"/>
                    <a:gd name="connsiteX19" fmla="*/ 407613 w 488380"/>
                    <a:gd name="connsiteY19" fmla="*/ 10710 h 943453"/>
                    <a:gd name="connsiteX20" fmla="*/ 471456 w 488380"/>
                    <a:gd name="connsiteY20" fmla="*/ 35087 h 943453"/>
                    <a:gd name="connsiteX21" fmla="*/ 470174 w 488380"/>
                    <a:gd name="connsiteY21" fmla="*/ 174122 h 943453"/>
                    <a:gd name="connsiteX22" fmla="*/ 402734 w 488380"/>
                    <a:gd name="connsiteY22" fmla="*/ 148949 h 943453"/>
                    <a:gd name="connsiteX23" fmla="*/ 333831 w 488380"/>
                    <a:gd name="connsiteY23" fmla="*/ 140353 h 943453"/>
                    <a:gd name="connsiteX24" fmla="*/ 245974 w 488380"/>
                    <a:gd name="connsiteY24" fmla="*/ 162762 h 943453"/>
                    <a:gd name="connsiteX25" fmla="*/ 174791 w 488380"/>
                    <a:gd name="connsiteY25" fmla="*/ 229118 h 943453"/>
                    <a:gd name="connsiteX26" fmla="*/ 126942 w 488380"/>
                    <a:gd name="connsiteY26" fmla="*/ 337792 h 943453"/>
                    <a:gd name="connsiteX27" fmla="*/ 108669 w 488380"/>
                    <a:gd name="connsiteY27" fmla="*/ 486998 h 943453"/>
                    <a:gd name="connsiteX28" fmla="*/ 160012 w 488380"/>
                    <a:gd name="connsiteY28" fmla="*/ 729964 h 943453"/>
                    <a:gd name="connsiteX29" fmla="*/ 308953 w 488380"/>
                    <a:gd name="connsiteY29" fmla="*/ 801500 h 943453"/>
                    <a:gd name="connsiteX30" fmla="*/ 346242 w 488380"/>
                    <a:gd name="connsiteY30" fmla="*/ 795948 h 943453"/>
                    <a:gd name="connsiteX31" fmla="*/ 380169 w 488380"/>
                    <a:gd name="connsiteY31" fmla="*/ 785925 h 943453"/>
                    <a:gd name="connsiteX32" fmla="*/ 382020 w 488380"/>
                    <a:gd name="connsiteY32" fmla="*/ 574978 h 9434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</a:cxnLst>
                  <a:rect l="l" t="t" r="r" b="b"/>
                  <a:pathLst>
                    <a:path w="488380" h="943453">
                      <a:moveTo>
                        <a:pt x="382020" y="574978"/>
                      </a:moveTo>
                      <a:cubicBezTo>
                        <a:pt x="339129" y="576919"/>
                        <a:pt x="296240" y="578864"/>
                        <a:pt x="253350" y="580807"/>
                      </a:cubicBezTo>
                      <a:lnTo>
                        <a:pt x="254482" y="440864"/>
                      </a:lnTo>
                      <a:cubicBezTo>
                        <a:pt x="332447" y="438399"/>
                        <a:pt x="410413" y="435934"/>
                        <a:pt x="488381" y="433467"/>
                      </a:cubicBezTo>
                      <a:cubicBezTo>
                        <a:pt x="486980" y="583554"/>
                        <a:pt x="485579" y="733643"/>
                        <a:pt x="484180" y="883730"/>
                      </a:cubicBezTo>
                      <a:cubicBezTo>
                        <a:pt x="475575" y="889277"/>
                        <a:pt x="464607" y="895225"/>
                        <a:pt x="451275" y="901618"/>
                      </a:cubicBezTo>
                      <a:cubicBezTo>
                        <a:pt x="437947" y="908013"/>
                        <a:pt x="423053" y="913994"/>
                        <a:pt x="406602" y="919552"/>
                      </a:cubicBezTo>
                      <a:cubicBezTo>
                        <a:pt x="390146" y="925114"/>
                        <a:pt x="373199" y="929963"/>
                        <a:pt x="355770" y="934058"/>
                      </a:cubicBezTo>
                      <a:cubicBezTo>
                        <a:pt x="338325" y="938157"/>
                        <a:pt x="321036" y="940933"/>
                        <a:pt x="303920" y="942321"/>
                      </a:cubicBezTo>
                      <a:cubicBezTo>
                        <a:pt x="252517" y="946502"/>
                        <a:pt x="207710" y="939118"/>
                        <a:pt x="169500" y="919895"/>
                      </a:cubicBezTo>
                      <a:cubicBezTo>
                        <a:pt x="131251" y="900618"/>
                        <a:pt x="99493" y="871550"/>
                        <a:pt x="74228" y="832607"/>
                      </a:cubicBezTo>
                      <a:cubicBezTo>
                        <a:pt x="48954" y="793609"/>
                        <a:pt x="30143" y="746114"/>
                        <a:pt x="17838" y="690281"/>
                      </a:cubicBezTo>
                      <a:cubicBezTo>
                        <a:pt x="5488" y="634377"/>
                        <a:pt x="-437" y="572050"/>
                        <a:pt x="25" y="503465"/>
                      </a:cubicBezTo>
                      <a:cubicBezTo>
                        <a:pt x="353" y="454968"/>
                        <a:pt x="4026" y="408567"/>
                        <a:pt x="11044" y="364353"/>
                      </a:cubicBezTo>
                      <a:cubicBezTo>
                        <a:pt x="18063" y="320162"/>
                        <a:pt x="28231" y="279263"/>
                        <a:pt x="41521" y="241692"/>
                      </a:cubicBezTo>
                      <a:cubicBezTo>
                        <a:pt x="54818" y="204163"/>
                        <a:pt x="70893" y="170311"/>
                        <a:pt x="89730" y="140188"/>
                      </a:cubicBezTo>
                      <a:cubicBezTo>
                        <a:pt x="108574" y="110105"/>
                        <a:pt x="130033" y="84578"/>
                        <a:pt x="154121" y="63520"/>
                      </a:cubicBezTo>
                      <a:cubicBezTo>
                        <a:pt x="178212" y="42540"/>
                        <a:pt x="204568" y="26624"/>
                        <a:pt x="233188" y="15723"/>
                      </a:cubicBezTo>
                      <a:cubicBezTo>
                        <a:pt x="261791" y="4843"/>
                        <a:pt x="292447" y="-356"/>
                        <a:pt x="325125" y="19"/>
                      </a:cubicBezTo>
                      <a:cubicBezTo>
                        <a:pt x="354091" y="349"/>
                        <a:pt x="381583" y="3925"/>
                        <a:pt x="407613" y="10710"/>
                      </a:cubicBezTo>
                      <a:cubicBezTo>
                        <a:pt x="433643" y="17459"/>
                        <a:pt x="454914" y="25582"/>
                        <a:pt x="471456" y="35087"/>
                      </a:cubicBezTo>
                      <a:cubicBezTo>
                        <a:pt x="471028" y="81432"/>
                        <a:pt x="470601" y="127777"/>
                        <a:pt x="470174" y="174122"/>
                      </a:cubicBezTo>
                      <a:cubicBezTo>
                        <a:pt x="447933" y="163090"/>
                        <a:pt x="425463" y="154686"/>
                        <a:pt x="402734" y="148949"/>
                      </a:cubicBezTo>
                      <a:cubicBezTo>
                        <a:pt x="380002" y="143175"/>
                        <a:pt x="357043" y="140301"/>
                        <a:pt x="333831" y="140353"/>
                      </a:cubicBezTo>
                      <a:cubicBezTo>
                        <a:pt x="302602" y="140424"/>
                        <a:pt x="273323" y="147848"/>
                        <a:pt x="245974" y="162762"/>
                      </a:cubicBezTo>
                      <a:cubicBezTo>
                        <a:pt x="218647" y="177702"/>
                        <a:pt x="194921" y="199815"/>
                        <a:pt x="174791" y="229118"/>
                      </a:cubicBezTo>
                      <a:cubicBezTo>
                        <a:pt x="154654" y="258487"/>
                        <a:pt x="138696" y="294705"/>
                        <a:pt x="126942" y="337792"/>
                      </a:cubicBezTo>
                      <a:cubicBezTo>
                        <a:pt x="115172" y="380897"/>
                        <a:pt x="109083" y="430707"/>
                        <a:pt x="108669" y="486998"/>
                      </a:cubicBezTo>
                      <a:cubicBezTo>
                        <a:pt x="108157" y="596404"/>
                        <a:pt x="125265" y="677594"/>
                        <a:pt x="160012" y="729964"/>
                      </a:cubicBezTo>
                      <a:cubicBezTo>
                        <a:pt x="194739" y="782217"/>
                        <a:pt x="244375" y="805866"/>
                        <a:pt x="308953" y="801500"/>
                      </a:cubicBezTo>
                      <a:cubicBezTo>
                        <a:pt x="320942" y="800693"/>
                        <a:pt x="333373" y="798832"/>
                        <a:pt x="346242" y="795948"/>
                      </a:cubicBezTo>
                      <a:cubicBezTo>
                        <a:pt x="359114" y="793069"/>
                        <a:pt x="370424" y="789734"/>
                        <a:pt x="380169" y="785925"/>
                      </a:cubicBezTo>
                      <a:lnTo>
                        <a:pt x="382020" y="57497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2201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cs-CZ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893" name="Freihandform: Form 892">
                  <a:extLst>
                    <a:ext uri="{FF2B5EF4-FFF2-40B4-BE49-F238E27FC236}">
                      <a16:creationId xmlns:a16="http://schemas.microsoft.com/office/drawing/2014/main" id="{FDCEA0F0-CBFB-6B26-9385-D1A6667A1251}"/>
                    </a:ext>
                  </a:extLst>
                </p:cNvPr>
                <p:cNvSpPr/>
                <p:nvPr/>
              </p:nvSpPr>
              <p:spPr>
                <a:xfrm>
                  <a:off x="2844609" y="1903972"/>
                  <a:ext cx="114152" cy="881547"/>
                </a:xfrm>
                <a:custGeom>
                  <a:avLst/>
                  <a:gdLst>
                    <a:gd name="connsiteX0" fmla="*/ 0 w 114152"/>
                    <a:gd name="connsiteY0" fmla="*/ 881548 h 881547"/>
                    <a:gd name="connsiteX1" fmla="*/ 8816 w 114152"/>
                    <a:gd name="connsiteY1" fmla="*/ 0 h 881547"/>
                    <a:gd name="connsiteX2" fmla="*/ 114153 w 114152"/>
                    <a:gd name="connsiteY2" fmla="*/ 954 h 881547"/>
                    <a:gd name="connsiteX3" fmla="*/ 104931 w 114152"/>
                    <a:gd name="connsiteY3" fmla="*/ 873287 h 881547"/>
                    <a:gd name="connsiteX4" fmla="*/ 0 w 114152"/>
                    <a:gd name="connsiteY4" fmla="*/ 881548 h 8815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4152" h="881547">
                      <a:moveTo>
                        <a:pt x="0" y="881548"/>
                      </a:moveTo>
                      <a:cubicBezTo>
                        <a:pt x="2939" y="587699"/>
                        <a:pt x="5877" y="293849"/>
                        <a:pt x="8816" y="0"/>
                      </a:cubicBezTo>
                      <a:cubicBezTo>
                        <a:pt x="43926" y="319"/>
                        <a:pt x="79041" y="639"/>
                        <a:pt x="114153" y="954"/>
                      </a:cubicBezTo>
                      <a:cubicBezTo>
                        <a:pt x="111078" y="291730"/>
                        <a:pt x="108005" y="582508"/>
                        <a:pt x="104931" y="873287"/>
                      </a:cubicBezTo>
                      <a:cubicBezTo>
                        <a:pt x="69954" y="876038"/>
                        <a:pt x="34976" y="878790"/>
                        <a:pt x="0" y="881548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2201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cs-CZ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894" name="Freihandform: Form 893">
                  <a:extLst>
                    <a:ext uri="{FF2B5EF4-FFF2-40B4-BE49-F238E27FC236}">
                      <a16:creationId xmlns:a16="http://schemas.microsoft.com/office/drawing/2014/main" id="{6C667DCB-5389-34DC-671A-982DE7CF348E}"/>
                    </a:ext>
                  </a:extLst>
                </p:cNvPr>
                <p:cNvSpPr/>
                <p:nvPr/>
              </p:nvSpPr>
              <p:spPr>
                <a:xfrm>
                  <a:off x="3079856" y="1906078"/>
                  <a:ext cx="512706" cy="860952"/>
                </a:xfrm>
                <a:custGeom>
                  <a:avLst/>
                  <a:gdLst>
                    <a:gd name="connsiteX0" fmla="*/ 304333 w 512706"/>
                    <a:gd name="connsiteY0" fmla="*/ 390747 h 860952"/>
                    <a:gd name="connsiteX1" fmla="*/ 401724 w 512706"/>
                    <a:gd name="connsiteY1" fmla="*/ 612428 h 860952"/>
                    <a:gd name="connsiteX2" fmla="*/ 404301 w 512706"/>
                    <a:gd name="connsiteY2" fmla="*/ 612285 h 860952"/>
                    <a:gd name="connsiteX3" fmla="*/ 402319 w 512706"/>
                    <a:gd name="connsiteY3" fmla="*/ 377769 h 860952"/>
                    <a:gd name="connsiteX4" fmla="*/ 407363 w 512706"/>
                    <a:gd name="connsiteY4" fmla="*/ 3289 h 860952"/>
                    <a:gd name="connsiteX5" fmla="*/ 512707 w 512706"/>
                    <a:gd name="connsiteY5" fmla="*/ 4104 h 860952"/>
                    <a:gd name="connsiteX6" fmla="*/ 501163 w 512706"/>
                    <a:gd name="connsiteY6" fmla="*/ 821966 h 860952"/>
                    <a:gd name="connsiteX7" fmla="*/ 391062 w 512706"/>
                    <a:gd name="connsiteY7" fmla="*/ 830484 h 860952"/>
                    <a:gd name="connsiteX8" fmla="*/ 209123 w 512706"/>
                    <a:gd name="connsiteY8" fmla="*/ 456777 h 860952"/>
                    <a:gd name="connsiteX9" fmla="*/ 109815 w 512706"/>
                    <a:gd name="connsiteY9" fmla="*/ 224411 h 860952"/>
                    <a:gd name="connsiteX10" fmla="*/ 107238 w 512706"/>
                    <a:gd name="connsiteY10" fmla="*/ 224446 h 860952"/>
                    <a:gd name="connsiteX11" fmla="*/ 109507 w 512706"/>
                    <a:gd name="connsiteY11" fmla="*/ 466941 h 860952"/>
                    <a:gd name="connsiteX12" fmla="*/ 104925 w 512706"/>
                    <a:gd name="connsiteY12" fmla="*/ 852745 h 860952"/>
                    <a:gd name="connsiteX13" fmla="*/ 0 w 512706"/>
                    <a:gd name="connsiteY13" fmla="*/ 860953 h 860952"/>
                    <a:gd name="connsiteX14" fmla="*/ 9715 w 512706"/>
                    <a:gd name="connsiteY14" fmla="*/ 0 h 860952"/>
                    <a:gd name="connsiteX15" fmla="*/ 120191 w 512706"/>
                    <a:gd name="connsiteY15" fmla="*/ 947 h 860952"/>
                    <a:gd name="connsiteX16" fmla="*/ 304333 w 512706"/>
                    <a:gd name="connsiteY16" fmla="*/ 390747 h 8609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512706" h="860952">
                      <a:moveTo>
                        <a:pt x="304333" y="390747"/>
                      </a:moveTo>
                      <a:cubicBezTo>
                        <a:pt x="344404" y="474599"/>
                        <a:pt x="376875" y="548284"/>
                        <a:pt x="401724" y="612428"/>
                      </a:cubicBezTo>
                      <a:cubicBezTo>
                        <a:pt x="402583" y="612380"/>
                        <a:pt x="403442" y="612334"/>
                        <a:pt x="404301" y="612285"/>
                      </a:cubicBezTo>
                      <a:cubicBezTo>
                        <a:pt x="402341" y="504994"/>
                        <a:pt x="401636" y="426778"/>
                        <a:pt x="402319" y="377769"/>
                      </a:cubicBezTo>
                      <a:cubicBezTo>
                        <a:pt x="403993" y="252943"/>
                        <a:pt x="405689" y="128115"/>
                        <a:pt x="407363" y="3289"/>
                      </a:cubicBezTo>
                      <a:cubicBezTo>
                        <a:pt x="442478" y="3562"/>
                        <a:pt x="477592" y="3835"/>
                        <a:pt x="512707" y="4104"/>
                      </a:cubicBezTo>
                      <a:cubicBezTo>
                        <a:pt x="508874" y="276724"/>
                        <a:pt x="505019" y="549346"/>
                        <a:pt x="501163" y="821966"/>
                      </a:cubicBezTo>
                      <a:cubicBezTo>
                        <a:pt x="464463" y="824803"/>
                        <a:pt x="427762" y="827642"/>
                        <a:pt x="391062" y="830484"/>
                      </a:cubicBezTo>
                      <a:cubicBezTo>
                        <a:pt x="330481" y="708040"/>
                        <a:pt x="269835" y="583473"/>
                        <a:pt x="209123" y="456777"/>
                      </a:cubicBezTo>
                      <a:cubicBezTo>
                        <a:pt x="177048" y="390714"/>
                        <a:pt x="143960" y="313352"/>
                        <a:pt x="109815" y="224411"/>
                      </a:cubicBezTo>
                      <a:cubicBezTo>
                        <a:pt x="108956" y="224422"/>
                        <a:pt x="108097" y="224435"/>
                        <a:pt x="107238" y="224446"/>
                      </a:cubicBezTo>
                      <a:cubicBezTo>
                        <a:pt x="109419" y="328843"/>
                        <a:pt x="110190" y="409630"/>
                        <a:pt x="109507" y="466941"/>
                      </a:cubicBezTo>
                      <a:cubicBezTo>
                        <a:pt x="107987" y="595543"/>
                        <a:pt x="106445" y="724145"/>
                        <a:pt x="104925" y="852745"/>
                      </a:cubicBezTo>
                      <a:cubicBezTo>
                        <a:pt x="69943" y="855479"/>
                        <a:pt x="34960" y="858215"/>
                        <a:pt x="0" y="860953"/>
                      </a:cubicBezTo>
                      <a:cubicBezTo>
                        <a:pt x="3238" y="573970"/>
                        <a:pt x="6477" y="286985"/>
                        <a:pt x="9715" y="0"/>
                      </a:cubicBezTo>
                      <a:cubicBezTo>
                        <a:pt x="46548" y="319"/>
                        <a:pt x="83358" y="634"/>
                        <a:pt x="120191" y="947"/>
                      </a:cubicBezTo>
                      <a:cubicBezTo>
                        <a:pt x="181631" y="133067"/>
                        <a:pt x="243026" y="262995"/>
                        <a:pt x="304333" y="390747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2201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cs-CZ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895" name="Freihandform: Form 894">
                  <a:extLst>
                    <a:ext uri="{FF2B5EF4-FFF2-40B4-BE49-F238E27FC236}">
                      <a16:creationId xmlns:a16="http://schemas.microsoft.com/office/drawing/2014/main" id="{8510E9A6-B24F-6DF7-1FB2-1CE8731AB10C}"/>
                    </a:ext>
                  </a:extLst>
                </p:cNvPr>
                <p:cNvSpPr/>
                <p:nvPr/>
              </p:nvSpPr>
              <p:spPr>
                <a:xfrm>
                  <a:off x="3711785" y="1911167"/>
                  <a:ext cx="388902" cy="806794"/>
                </a:xfrm>
                <a:custGeom>
                  <a:avLst/>
                  <a:gdLst>
                    <a:gd name="connsiteX0" fmla="*/ 106842 w 388902"/>
                    <a:gd name="connsiteY0" fmla="*/ 676476 h 806794"/>
                    <a:gd name="connsiteX1" fmla="*/ 388903 w 388902"/>
                    <a:gd name="connsiteY1" fmla="*/ 658527 h 806794"/>
                    <a:gd name="connsiteX2" fmla="*/ 386876 w 388902"/>
                    <a:gd name="connsiteY2" fmla="*/ 777178 h 806794"/>
                    <a:gd name="connsiteX3" fmla="*/ 0 w 388902"/>
                    <a:gd name="connsiteY3" fmla="*/ 806794 h 806794"/>
                    <a:gd name="connsiteX4" fmla="*/ 12006 w 388902"/>
                    <a:gd name="connsiteY4" fmla="*/ 0 h 806794"/>
                    <a:gd name="connsiteX5" fmla="*/ 384673 w 388902"/>
                    <a:gd name="connsiteY5" fmla="*/ 2602 h 806794"/>
                    <a:gd name="connsiteX6" fmla="*/ 382646 w 388902"/>
                    <a:gd name="connsiteY6" fmla="*/ 121469 h 806794"/>
                    <a:gd name="connsiteX7" fmla="*/ 115411 w 388902"/>
                    <a:gd name="connsiteY7" fmla="*/ 123035 h 806794"/>
                    <a:gd name="connsiteX8" fmla="*/ 112217 w 388902"/>
                    <a:gd name="connsiteY8" fmla="*/ 329380 h 806794"/>
                    <a:gd name="connsiteX9" fmla="*/ 341452 w 388902"/>
                    <a:gd name="connsiteY9" fmla="*/ 323106 h 806794"/>
                    <a:gd name="connsiteX10" fmla="*/ 339447 w 388902"/>
                    <a:gd name="connsiteY10" fmla="*/ 442432 h 806794"/>
                    <a:gd name="connsiteX11" fmla="*/ 110322 w 388902"/>
                    <a:gd name="connsiteY11" fmla="*/ 451631 h 806794"/>
                    <a:gd name="connsiteX12" fmla="*/ 106842 w 388902"/>
                    <a:gd name="connsiteY12" fmla="*/ 676478 h 8067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388902" h="806794">
                      <a:moveTo>
                        <a:pt x="106842" y="676476"/>
                      </a:moveTo>
                      <a:cubicBezTo>
                        <a:pt x="200862" y="670480"/>
                        <a:pt x="294882" y="664497"/>
                        <a:pt x="388903" y="658527"/>
                      </a:cubicBezTo>
                      <a:lnTo>
                        <a:pt x="386876" y="777178"/>
                      </a:lnTo>
                      <a:cubicBezTo>
                        <a:pt x="257918" y="787014"/>
                        <a:pt x="128959" y="796888"/>
                        <a:pt x="0" y="806794"/>
                      </a:cubicBezTo>
                      <a:cubicBezTo>
                        <a:pt x="4009" y="537862"/>
                        <a:pt x="7997" y="268932"/>
                        <a:pt x="12006" y="0"/>
                      </a:cubicBezTo>
                      <a:cubicBezTo>
                        <a:pt x="136228" y="899"/>
                        <a:pt x="260451" y="1767"/>
                        <a:pt x="384673" y="2602"/>
                      </a:cubicBezTo>
                      <a:lnTo>
                        <a:pt x="382646" y="121469"/>
                      </a:lnTo>
                      <a:cubicBezTo>
                        <a:pt x="293583" y="122002"/>
                        <a:pt x="204497" y="122524"/>
                        <a:pt x="115411" y="123035"/>
                      </a:cubicBezTo>
                      <a:lnTo>
                        <a:pt x="112217" y="329380"/>
                      </a:lnTo>
                      <a:cubicBezTo>
                        <a:pt x="188636" y="327290"/>
                        <a:pt x="265033" y="325199"/>
                        <a:pt x="341452" y="323106"/>
                      </a:cubicBezTo>
                      <a:lnTo>
                        <a:pt x="339447" y="442432"/>
                      </a:lnTo>
                      <a:cubicBezTo>
                        <a:pt x="263072" y="445496"/>
                        <a:pt x="186697" y="448562"/>
                        <a:pt x="110322" y="451631"/>
                      </a:cubicBezTo>
                      <a:cubicBezTo>
                        <a:pt x="109177" y="526579"/>
                        <a:pt x="108009" y="601529"/>
                        <a:pt x="106842" y="676478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2201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cs-CZ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896" name="Freihandform: Form 895">
                  <a:extLst>
                    <a:ext uri="{FF2B5EF4-FFF2-40B4-BE49-F238E27FC236}">
                      <a16:creationId xmlns:a16="http://schemas.microsoft.com/office/drawing/2014/main" id="{06C293D6-5717-62DC-4124-3F7F6103C793}"/>
                    </a:ext>
                  </a:extLst>
                </p:cNvPr>
                <p:cNvSpPr/>
                <p:nvPr/>
              </p:nvSpPr>
              <p:spPr>
                <a:xfrm>
                  <a:off x="4198916" y="1914520"/>
                  <a:ext cx="389189" cy="766205"/>
                </a:xfrm>
                <a:custGeom>
                  <a:avLst/>
                  <a:gdLst>
                    <a:gd name="connsiteX0" fmla="*/ 107106 w 389189"/>
                    <a:gd name="connsiteY0" fmla="*/ 642183 h 766205"/>
                    <a:gd name="connsiteX1" fmla="*/ 389189 w 389189"/>
                    <a:gd name="connsiteY1" fmla="*/ 624439 h 766205"/>
                    <a:gd name="connsiteX2" fmla="*/ 386920 w 389189"/>
                    <a:gd name="connsiteY2" fmla="*/ 736995 h 766205"/>
                    <a:gd name="connsiteX3" fmla="*/ 0 w 389189"/>
                    <a:gd name="connsiteY3" fmla="*/ 766205 h 766205"/>
                    <a:gd name="connsiteX4" fmla="*/ 13614 w 389189"/>
                    <a:gd name="connsiteY4" fmla="*/ 0 h 766205"/>
                    <a:gd name="connsiteX5" fmla="*/ 386237 w 389189"/>
                    <a:gd name="connsiteY5" fmla="*/ 2225 h 766205"/>
                    <a:gd name="connsiteX6" fmla="*/ 383990 w 389189"/>
                    <a:gd name="connsiteY6" fmla="*/ 114988 h 766205"/>
                    <a:gd name="connsiteX7" fmla="*/ 116776 w 389189"/>
                    <a:gd name="connsiteY7" fmla="*/ 116741 h 766205"/>
                    <a:gd name="connsiteX8" fmla="*/ 113164 w 389189"/>
                    <a:gd name="connsiteY8" fmla="*/ 312647 h 766205"/>
                    <a:gd name="connsiteX9" fmla="*/ 342377 w 389189"/>
                    <a:gd name="connsiteY9" fmla="*/ 306335 h 766205"/>
                    <a:gd name="connsiteX10" fmla="*/ 340152 w 389189"/>
                    <a:gd name="connsiteY10" fmla="*/ 419548 h 766205"/>
                    <a:gd name="connsiteX11" fmla="*/ 111027 w 389189"/>
                    <a:gd name="connsiteY11" fmla="*/ 428712 h 766205"/>
                    <a:gd name="connsiteX12" fmla="*/ 107106 w 389189"/>
                    <a:gd name="connsiteY12" fmla="*/ 642183 h 7662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389189" h="766205">
                      <a:moveTo>
                        <a:pt x="107106" y="642183"/>
                      </a:moveTo>
                      <a:cubicBezTo>
                        <a:pt x="201126" y="636255"/>
                        <a:pt x="295169" y="630340"/>
                        <a:pt x="389189" y="624439"/>
                      </a:cubicBezTo>
                      <a:lnTo>
                        <a:pt x="386920" y="736995"/>
                      </a:lnTo>
                      <a:cubicBezTo>
                        <a:pt x="257939" y="746696"/>
                        <a:pt x="128981" y="756431"/>
                        <a:pt x="0" y="766205"/>
                      </a:cubicBezTo>
                      <a:cubicBezTo>
                        <a:pt x="4538" y="510804"/>
                        <a:pt x="9076" y="255402"/>
                        <a:pt x="13614" y="0"/>
                      </a:cubicBezTo>
                      <a:cubicBezTo>
                        <a:pt x="137836" y="773"/>
                        <a:pt x="262037" y="1516"/>
                        <a:pt x="386237" y="2225"/>
                      </a:cubicBezTo>
                      <a:lnTo>
                        <a:pt x="383990" y="114988"/>
                      </a:lnTo>
                      <a:cubicBezTo>
                        <a:pt x="294926" y="115585"/>
                        <a:pt x="205840" y="116169"/>
                        <a:pt x="116776" y="116741"/>
                      </a:cubicBezTo>
                      <a:lnTo>
                        <a:pt x="113164" y="312647"/>
                      </a:lnTo>
                      <a:cubicBezTo>
                        <a:pt x="189583" y="310545"/>
                        <a:pt x="265980" y="308441"/>
                        <a:pt x="342377" y="306335"/>
                      </a:cubicBezTo>
                      <a:lnTo>
                        <a:pt x="340152" y="419548"/>
                      </a:lnTo>
                      <a:cubicBezTo>
                        <a:pt x="263777" y="422601"/>
                        <a:pt x="187402" y="425654"/>
                        <a:pt x="111027" y="428712"/>
                      </a:cubicBezTo>
                      <a:cubicBezTo>
                        <a:pt x="109727" y="499868"/>
                        <a:pt x="108405" y="571025"/>
                        <a:pt x="107106" y="64218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2201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cs-CZ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897" name="Freihandform: Form 896">
                  <a:extLst>
                    <a:ext uri="{FF2B5EF4-FFF2-40B4-BE49-F238E27FC236}">
                      <a16:creationId xmlns:a16="http://schemas.microsoft.com/office/drawing/2014/main" id="{440C8464-C2A5-E73D-CAD7-70DCCD3E30F6}"/>
                    </a:ext>
                  </a:extLst>
                </p:cNvPr>
                <p:cNvSpPr/>
                <p:nvPr/>
              </p:nvSpPr>
              <p:spPr>
                <a:xfrm>
                  <a:off x="4686091" y="1917379"/>
                  <a:ext cx="458977" cy="726618"/>
                </a:xfrm>
                <a:custGeom>
                  <a:avLst/>
                  <a:gdLst>
                    <a:gd name="connsiteX0" fmla="*/ 435649 w 458977"/>
                    <a:gd name="connsiteY0" fmla="*/ 210286 h 726618"/>
                    <a:gd name="connsiteX1" fmla="*/ 399477 w 458977"/>
                    <a:gd name="connsiteY1" fmla="*/ 334396 h 726618"/>
                    <a:gd name="connsiteX2" fmla="*/ 294993 w 458977"/>
                    <a:gd name="connsiteY2" fmla="*/ 413767 h 726618"/>
                    <a:gd name="connsiteX3" fmla="*/ 294949 w 458977"/>
                    <a:gd name="connsiteY3" fmla="*/ 415880 h 726618"/>
                    <a:gd name="connsiteX4" fmla="*/ 458978 w 458977"/>
                    <a:gd name="connsiteY4" fmla="*/ 692487 h 726618"/>
                    <a:gd name="connsiteX5" fmla="*/ 332971 w 458977"/>
                    <a:gd name="connsiteY5" fmla="*/ 701812 h 726618"/>
                    <a:gd name="connsiteX6" fmla="*/ 183018 w 458977"/>
                    <a:gd name="connsiteY6" fmla="*/ 437570 h 726618"/>
                    <a:gd name="connsiteX7" fmla="*/ 110939 w 458977"/>
                    <a:gd name="connsiteY7" fmla="*/ 440720 h 726618"/>
                    <a:gd name="connsiteX8" fmla="*/ 104991 w 458977"/>
                    <a:gd name="connsiteY8" fmla="*/ 718772 h 726618"/>
                    <a:gd name="connsiteX9" fmla="*/ 0 w 458977"/>
                    <a:gd name="connsiteY9" fmla="*/ 726619 h 726618"/>
                    <a:gd name="connsiteX10" fmla="*/ 15090 w 458977"/>
                    <a:gd name="connsiteY10" fmla="*/ 0 h 726618"/>
                    <a:gd name="connsiteX11" fmla="*/ 190024 w 458977"/>
                    <a:gd name="connsiteY11" fmla="*/ 903 h 726618"/>
                    <a:gd name="connsiteX12" fmla="*/ 270672 w 458977"/>
                    <a:gd name="connsiteY12" fmla="*/ 7373 h 726618"/>
                    <a:gd name="connsiteX13" fmla="*/ 334271 w 458977"/>
                    <a:gd name="connsiteY13" fmla="*/ 25715 h 726618"/>
                    <a:gd name="connsiteX14" fmla="*/ 410866 w 458977"/>
                    <a:gd name="connsiteY14" fmla="*/ 95212 h 726618"/>
                    <a:gd name="connsiteX15" fmla="*/ 435649 w 458977"/>
                    <a:gd name="connsiteY15" fmla="*/ 210286 h 726618"/>
                    <a:gd name="connsiteX16" fmla="*/ 165241 w 458977"/>
                    <a:gd name="connsiteY16" fmla="*/ 329034 h 726618"/>
                    <a:gd name="connsiteX17" fmla="*/ 226482 w 458977"/>
                    <a:gd name="connsiteY17" fmla="*/ 323137 h 726618"/>
                    <a:gd name="connsiteX18" fmla="*/ 269020 w 458977"/>
                    <a:gd name="connsiteY18" fmla="*/ 309950 h 726618"/>
                    <a:gd name="connsiteX19" fmla="*/ 313938 w 458977"/>
                    <a:gd name="connsiteY19" fmla="*/ 268492 h 726618"/>
                    <a:gd name="connsiteX20" fmla="*/ 327508 w 458977"/>
                    <a:gd name="connsiteY20" fmla="*/ 209729 h 726618"/>
                    <a:gd name="connsiteX21" fmla="*/ 318983 w 458977"/>
                    <a:gd name="connsiteY21" fmla="*/ 159780 h 726618"/>
                    <a:gd name="connsiteX22" fmla="*/ 286908 w 458977"/>
                    <a:gd name="connsiteY22" fmla="*/ 125709 h 726618"/>
                    <a:gd name="connsiteX23" fmla="*/ 249392 w 458977"/>
                    <a:gd name="connsiteY23" fmla="*/ 113622 h 726618"/>
                    <a:gd name="connsiteX24" fmla="*/ 193218 w 458977"/>
                    <a:gd name="connsiteY24" fmla="*/ 110067 h 726618"/>
                    <a:gd name="connsiteX25" fmla="*/ 118032 w 458977"/>
                    <a:gd name="connsiteY25" fmla="*/ 110602 h 726618"/>
                    <a:gd name="connsiteX26" fmla="*/ 113296 w 458977"/>
                    <a:gd name="connsiteY26" fmla="*/ 330669 h 726618"/>
                    <a:gd name="connsiteX27" fmla="*/ 165241 w 458977"/>
                    <a:gd name="connsiteY27" fmla="*/ 329034 h 7266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</a:cxnLst>
                  <a:rect l="l" t="t" r="r" b="b"/>
                  <a:pathLst>
                    <a:path w="458977" h="726618">
                      <a:moveTo>
                        <a:pt x="435649" y="210286"/>
                      </a:moveTo>
                      <a:cubicBezTo>
                        <a:pt x="434503" y="258636"/>
                        <a:pt x="422453" y="299903"/>
                        <a:pt x="399477" y="334396"/>
                      </a:cubicBezTo>
                      <a:cubicBezTo>
                        <a:pt x="376523" y="368934"/>
                        <a:pt x="341694" y="395406"/>
                        <a:pt x="294993" y="413767"/>
                      </a:cubicBezTo>
                      <a:lnTo>
                        <a:pt x="294949" y="415880"/>
                      </a:lnTo>
                      <a:cubicBezTo>
                        <a:pt x="349647" y="509678"/>
                        <a:pt x="404323" y="601877"/>
                        <a:pt x="458978" y="692487"/>
                      </a:cubicBezTo>
                      <a:cubicBezTo>
                        <a:pt x="416968" y="695591"/>
                        <a:pt x="374980" y="698699"/>
                        <a:pt x="332971" y="701812"/>
                      </a:cubicBezTo>
                      <a:cubicBezTo>
                        <a:pt x="283009" y="615112"/>
                        <a:pt x="233025" y="527032"/>
                        <a:pt x="183018" y="437570"/>
                      </a:cubicBezTo>
                      <a:cubicBezTo>
                        <a:pt x="158985" y="438621"/>
                        <a:pt x="134973" y="439669"/>
                        <a:pt x="110939" y="440720"/>
                      </a:cubicBezTo>
                      <a:lnTo>
                        <a:pt x="104991" y="718772"/>
                      </a:lnTo>
                      <a:cubicBezTo>
                        <a:pt x="69987" y="721385"/>
                        <a:pt x="35004" y="724000"/>
                        <a:pt x="0" y="726619"/>
                      </a:cubicBezTo>
                      <a:cubicBezTo>
                        <a:pt x="5045" y="484413"/>
                        <a:pt x="10067" y="242206"/>
                        <a:pt x="15090" y="0"/>
                      </a:cubicBezTo>
                      <a:cubicBezTo>
                        <a:pt x="73401" y="308"/>
                        <a:pt x="131712" y="608"/>
                        <a:pt x="190024" y="903"/>
                      </a:cubicBezTo>
                      <a:cubicBezTo>
                        <a:pt x="218948" y="1046"/>
                        <a:pt x="245824" y="3229"/>
                        <a:pt x="270672" y="7373"/>
                      </a:cubicBezTo>
                      <a:cubicBezTo>
                        <a:pt x="295499" y="11528"/>
                        <a:pt x="316691" y="17637"/>
                        <a:pt x="334271" y="25715"/>
                      </a:cubicBezTo>
                      <a:cubicBezTo>
                        <a:pt x="367711" y="41481"/>
                        <a:pt x="393243" y="64651"/>
                        <a:pt x="410866" y="95212"/>
                      </a:cubicBezTo>
                      <a:cubicBezTo>
                        <a:pt x="428467" y="125745"/>
                        <a:pt x="436728" y="164031"/>
                        <a:pt x="435649" y="210286"/>
                      </a:cubicBezTo>
                      <a:close/>
                      <a:moveTo>
                        <a:pt x="165241" y="329034"/>
                      </a:moveTo>
                      <a:cubicBezTo>
                        <a:pt x="189275" y="328277"/>
                        <a:pt x="209696" y="326314"/>
                        <a:pt x="226482" y="323137"/>
                      </a:cubicBezTo>
                      <a:cubicBezTo>
                        <a:pt x="243290" y="319978"/>
                        <a:pt x="257455" y="315570"/>
                        <a:pt x="269020" y="309950"/>
                      </a:cubicBezTo>
                      <a:cubicBezTo>
                        <a:pt x="290433" y="299493"/>
                        <a:pt x="305390" y="285679"/>
                        <a:pt x="313938" y="268492"/>
                      </a:cubicBezTo>
                      <a:cubicBezTo>
                        <a:pt x="322485" y="251309"/>
                        <a:pt x="327001" y="231742"/>
                        <a:pt x="327508" y="209729"/>
                      </a:cubicBezTo>
                      <a:cubicBezTo>
                        <a:pt x="327926" y="190856"/>
                        <a:pt x="325107" y="174222"/>
                        <a:pt x="318983" y="159780"/>
                      </a:cubicBezTo>
                      <a:cubicBezTo>
                        <a:pt x="312880" y="145351"/>
                        <a:pt x="302174" y="134001"/>
                        <a:pt x="286908" y="125709"/>
                      </a:cubicBezTo>
                      <a:cubicBezTo>
                        <a:pt x="277017" y="120178"/>
                        <a:pt x="264504" y="116140"/>
                        <a:pt x="249392" y="113622"/>
                      </a:cubicBezTo>
                      <a:cubicBezTo>
                        <a:pt x="234258" y="111087"/>
                        <a:pt x="215555" y="109908"/>
                        <a:pt x="193218" y="110067"/>
                      </a:cubicBezTo>
                      <a:cubicBezTo>
                        <a:pt x="168149" y="110245"/>
                        <a:pt x="143080" y="110423"/>
                        <a:pt x="118032" y="110602"/>
                      </a:cubicBezTo>
                      <a:cubicBezTo>
                        <a:pt x="116446" y="183957"/>
                        <a:pt x="114882" y="257312"/>
                        <a:pt x="113296" y="330669"/>
                      </a:cubicBezTo>
                      <a:cubicBezTo>
                        <a:pt x="130611" y="330123"/>
                        <a:pt x="147926" y="329581"/>
                        <a:pt x="165241" y="329034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2201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cs-CZ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898" name="Freihandform: Form 897">
                  <a:extLst>
                    <a:ext uri="{FF2B5EF4-FFF2-40B4-BE49-F238E27FC236}">
                      <a16:creationId xmlns:a16="http://schemas.microsoft.com/office/drawing/2014/main" id="{C18B0A6C-B461-3563-6434-37BD7113EB85}"/>
                    </a:ext>
                  </a:extLst>
                </p:cNvPr>
                <p:cNvSpPr/>
                <p:nvPr/>
              </p:nvSpPr>
              <p:spPr>
                <a:xfrm>
                  <a:off x="5223404" y="1919957"/>
                  <a:ext cx="121865" cy="684129"/>
                </a:xfrm>
                <a:custGeom>
                  <a:avLst/>
                  <a:gdLst>
                    <a:gd name="connsiteX0" fmla="*/ 0 w 121865"/>
                    <a:gd name="connsiteY0" fmla="*/ 684129 h 684129"/>
                    <a:gd name="connsiteX1" fmla="*/ 16588 w 121865"/>
                    <a:gd name="connsiteY1" fmla="*/ 0 h 684129"/>
                    <a:gd name="connsiteX2" fmla="*/ 121865 w 121865"/>
                    <a:gd name="connsiteY2" fmla="*/ 434 h 684129"/>
                    <a:gd name="connsiteX3" fmla="*/ 104991 w 121865"/>
                    <a:gd name="connsiteY3" fmla="*/ 676403 h 684129"/>
                    <a:gd name="connsiteX4" fmla="*/ 0 w 121865"/>
                    <a:gd name="connsiteY4" fmla="*/ 684129 h 6841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21865" h="684129">
                      <a:moveTo>
                        <a:pt x="0" y="684129"/>
                      </a:moveTo>
                      <a:lnTo>
                        <a:pt x="16588" y="0"/>
                      </a:lnTo>
                      <a:cubicBezTo>
                        <a:pt x="51680" y="148"/>
                        <a:pt x="86773" y="293"/>
                        <a:pt x="121865" y="434"/>
                      </a:cubicBezTo>
                      <a:cubicBezTo>
                        <a:pt x="116248" y="225757"/>
                        <a:pt x="110631" y="451080"/>
                        <a:pt x="104991" y="676403"/>
                      </a:cubicBezTo>
                      <a:cubicBezTo>
                        <a:pt x="70009" y="678976"/>
                        <a:pt x="35004" y="681552"/>
                        <a:pt x="0" y="68412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2201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cs-CZ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899" name="Freihandform: Form 898">
                  <a:extLst>
                    <a:ext uri="{FF2B5EF4-FFF2-40B4-BE49-F238E27FC236}">
                      <a16:creationId xmlns:a16="http://schemas.microsoft.com/office/drawing/2014/main" id="{77F67737-0DBC-1D40-34CF-1FAA44B8B209}"/>
                    </a:ext>
                  </a:extLst>
                </p:cNvPr>
                <p:cNvSpPr/>
                <p:nvPr/>
              </p:nvSpPr>
              <p:spPr>
                <a:xfrm>
                  <a:off x="5458808" y="1920897"/>
                  <a:ext cx="519888" cy="665899"/>
                </a:xfrm>
                <a:custGeom>
                  <a:avLst/>
                  <a:gdLst>
                    <a:gd name="connsiteX0" fmla="*/ 308342 w 519888"/>
                    <a:gd name="connsiteY0" fmla="*/ 299987 h 665899"/>
                    <a:gd name="connsiteX1" fmla="*/ 403816 w 519888"/>
                    <a:gd name="connsiteY1" fmla="*/ 469666 h 665899"/>
                    <a:gd name="connsiteX2" fmla="*/ 406394 w 519888"/>
                    <a:gd name="connsiteY2" fmla="*/ 469532 h 665899"/>
                    <a:gd name="connsiteX3" fmla="*/ 406394 w 519888"/>
                    <a:gd name="connsiteY3" fmla="*/ 289263 h 665899"/>
                    <a:gd name="connsiteX4" fmla="*/ 414633 w 519888"/>
                    <a:gd name="connsiteY4" fmla="*/ 1322 h 665899"/>
                    <a:gd name="connsiteX5" fmla="*/ 519888 w 519888"/>
                    <a:gd name="connsiteY5" fmla="*/ 1617 h 665899"/>
                    <a:gd name="connsiteX6" fmla="*/ 501494 w 519888"/>
                    <a:gd name="connsiteY6" fmla="*/ 629468 h 665899"/>
                    <a:gd name="connsiteX7" fmla="*/ 391326 w 519888"/>
                    <a:gd name="connsiteY7" fmla="*/ 637425 h 665899"/>
                    <a:gd name="connsiteX8" fmla="*/ 212603 w 519888"/>
                    <a:gd name="connsiteY8" fmla="*/ 351616 h 665899"/>
                    <a:gd name="connsiteX9" fmla="*/ 115323 w 519888"/>
                    <a:gd name="connsiteY9" fmla="*/ 173002 h 665899"/>
                    <a:gd name="connsiteX10" fmla="*/ 112745 w 519888"/>
                    <a:gd name="connsiteY10" fmla="*/ 173046 h 665899"/>
                    <a:gd name="connsiteX11" fmla="*/ 112921 w 519888"/>
                    <a:gd name="connsiteY11" fmla="*/ 360285 h 665899"/>
                    <a:gd name="connsiteX12" fmla="*/ 105013 w 519888"/>
                    <a:gd name="connsiteY12" fmla="*/ 658227 h 665899"/>
                    <a:gd name="connsiteX13" fmla="*/ 0 w 519888"/>
                    <a:gd name="connsiteY13" fmla="*/ 665900 h 665899"/>
                    <a:gd name="connsiteX14" fmla="*/ 17205 w 519888"/>
                    <a:gd name="connsiteY14" fmla="*/ 0 h 665899"/>
                    <a:gd name="connsiteX15" fmla="*/ 127615 w 519888"/>
                    <a:gd name="connsiteY15" fmla="*/ 399 h 665899"/>
                    <a:gd name="connsiteX16" fmla="*/ 308342 w 519888"/>
                    <a:gd name="connsiteY16" fmla="*/ 299987 h 6658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519888" h="665899">
                      <a:moveTo>
                        <a:pt x="308342" y="299987"/>
                      </a:moveTo>
                      <a:cubicBezTo>
                        <a:pt x="347686" y="364233"/>
                        <a:pt x="379518" y="420607"/>
                        <a:pt x="403816" y="469666"/>
                      </a:cubicBezTo>
                      <a:cubicBezTo>
                        <a:pt x="404676" y="469622"/>
                        <a:pt x="405535" y="469576"/>
                        <a:pt x="406394" y="469532"/>
                      </a:cubicBezTo>
                      <a:cubicBezTo>
                        <a:pt x="405336" y="387077"/>
                        <a:pt x="405336" y="326946"/>
                        <a:pt x="406394" y="289263"/>
                      </a:cubicBezTo>
                      <a:cubicBezTo>
                        <a:pt x="409148" y="193282"/>
                        <a:pt x="411879" y="97303"/>
                        <a:pt x="414633" y="1322"/>
                      </a:cubicBezTo>
                      <a:cubicBezTo>
                        <a:pt x="449725" y="1421"/>
                        <a:pt x="484796" y="1522"/>
                        <a:pt x="519888" y="1617"/>
                      </a:cubicBezTo>
                      <a:cubicBezTo>
                        <a:pt x="513764" y="210901"/>
                        <a:pt x="507640" y="420184"/>
                        <a:pt x="501494" y="629468"/>
                      </a:cubicBezTo>
                      <a:cubicBezTo>
                        <a:pt x="464771" y="632118"/>
                        <a:pt x="428049" y="634771"/>
                        <a:pt x="391326" y="637425"/>
                      </a:cubicBezTo>
                      <a:cubicBezTo>
                        <a:pt x="331781" y="544039"/>
                        <a:pt x="272192" y="448774"/>
                        <a:pt x="212603" y="351616"/>
                      </a:cubicBezTo>
                      <a:cubicBezTo>
                        <a:pt x="181102" y="300936"/>
                        <a:pt x="148675" y="241486"/>
                        <a:pt x="115323" y="173002"/>
                      </a:cubicBezTo>
                      <a:cubicBezTo>
                        <a:pt x="114464" y="173017"/>
                        <a:pt x="113604" y="173030"/>
                        <a:pt x="112745" y="173046"/>
                      </a:cubicBezTo>
                      <a:cubicBezTo>
                        <a:pt x="114023" y="253648"/>
                        <a:pt x="114089" y="316024"/>
                        <a:pt x="112921" y="360285"/>
                      </a:cubicBezTo>
                      <a:lnTo>
                        <a:pt x="105013" y="658227"/>
                      </a:lnTo>
                      <a:cubicBezTo>
                        <a:pt x="70009" y="660783"/>
                        <a:pt x="35004" y="663340"/>
                        <a:pt x="0" y="665900"/>
                      </a:cubicBezTo>
                      <a:cubicBezTo>
                        <a:pt x="5727" y="443934"/>
                        <a:pt x="11477" y="221966"/>
                        <a:pt x="17205" y="0"/>
                      </a:cubicBezTo>
                      <a:cubicBezTo>
                        <a:pt x="54015" y="137"/>
                        <a:pt x="90826" y="269"/>
                        <a:pt x="127615" y="399"/>
                      </a:cubicBezTo>
                      <a:cubicBezTo>
                        <a:pt x="187887" y="102204"/>
                        <a:pt x="248136" y="202063"/>
                        <a:pt x="308342" y="299987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2201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cs-CZ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900" name="Freihandform: Form 899">
                  <a:extLst>
                    <a:ext uri="{FF2B5EF4-FFF2-40B4-BE49-F238E27FC236}">
                      <a16:creationId xmlns:a16="http://schemas.microsoft.com/office/drawing/2014/main" id="{1A450ECF-0EFF-9F49-56B3-65B1BBF5C669}"/>
                    </a:ext>
                  </a:extLst>
                </p:cNvPr>
                <p:cNvSpPr/>
                <p:nvPr/>
              </p:nvSpPr>
              <p:spPr>
                <a:xfrm>
                  <a:off x="6071289" y="1912330"/>
                  <a:ext cx="489263" cy="621201"/>
                </a:xfrm>
                <a:custGeom>
                  <a:avLst/>
                  <a:gdLst>
                    <a:gd name="connsiteX0" fmla="*/ 381144 w 489263"/>
                    <a:gd name="connsiteY0" fmla="*/ 377219 h 621201"/>
                    <a:gd name="connsiteX1" fmla="*/ 252428 w 489263"/>
                    <a:gd name="connsiteY1" fmla="*/ 382790 h 621201"/>
                    <a:gd name="connsiteX2" fmla="*/ 255380 w 489263"/>
                    <a:gd name="connsiteY2" fmla="*/ 290624 h 621201"/>
                    <a:gd name="connsiteX3" fmla="*/ 489263 w 489263"/>
                    <a:gd name="connsiteY3" fmla="*/ 283119 h 621201"/>
                    <a:gd name="connsiteX4" fmla="*/ 479351 w 489263"/>
                    <a:gd name="connsiteY4" fmla="*/ 577984 h 621201"/>
                    <a:gd name="connsiteX5" fmla="*/ 446219 w 489263"/>
                    <a:gd name="connsiteY5" fmla="*/ 590316 h 621201"/>
                    <a:gd name="connsiteX6" fmla="*/ 401323 w 489263"/>
                    <a:gd name="connsiteY6" fmla="*/ 602921 h 621201"/>
                    <a:gd name="connsiteX7" fmla="*/ 350304 w 489263"/>
                    <a:gd name="connsiteY7" fmla="*/ 613418 h 621201"/>
                    <a:gd name="connsiteX8" fmla="*/ 298337 w 489263"/>
                    <a:gd name="connsiteY8" fmla="*/ 619848 h 621201"/>
                    <a:gd name="connsiteX9" fmla="*/ 164223 w 489263"/>
                    <a:gd name="connsiteY9" fmla="*/ 607628 h 621201"/>
                    <a:gd name="connsiteX10" fmla="*/ 70093 w 489263"/>
                    <a:gd name="connsiteY10" fmla="*/ 551685 h 621201"/>
                    <a:gd name="connsiteX11" fmla="*/ 15570 w 489263"/>
                    <a:gd name="connsiteY11" fmla="*/ 458414 h 621201"/>
                    <a:gd name="connsiteX12" fmla="*/ 216 w 489263"/>
                    <a:gd name="connsiteY12" fmla="*/ 334925 h 621201"/>
                    <a:gd name="connsiteX13" fmla="*/ 13059 w 489263"/>
                    <a:gd name="connsiteY13" fmla="*/ 242660 h 621201"/>
                    <a:gd name="connsiteX14" fmla="*/ 45112 w 489263"/>
                    <a:gd name="connsiteY14" fmla="*/ 161181 h 621201"/>
                    <a:gd name="connsiteX15" fmla="*/ 94633 w 489263"/>
                    <a:gd name="connsiteY15" fmla="*/ 93688 h 621201"/>
                    <a:gd name="connsiteX16" fmla="*/ 159971 w 489263"/>
                    <a:gd name="connsiteY16" fmla="*/ 42662 h 621201"/>
                    <a:gd name="connsiteX17" fmla="*/ 239585 w 489263"/>
                    <a:gd name="connsiteY17" fmla="*/ 10748 h 621201"/>
                    <a:gd name="connsiteX18" fmla="*/ 331645 w 489263"/>
                    <a:gd name="connsiteY18" fmla="*/ 2 h 621201"/>
                    <a:gd name="connsiteX19" fmla="*/ 413924 w 489263"/>
                    <a:gd name="connsiteY19" fmla="*/ 6657 h 621201"/>
                    <a:gd name="connsiteX20" fmla="*/ 477390 w 489263"/>
                    <a:gd name="connsiteY20" fmla="*/ 22338 h 621201"/>
                    <a:gd name="connsiteX21" fmla="*/ 474350 w 489263"/>
                    <a:gd name="connsiteY21" fmla="*/ 113433 h 621201"/>
                    <a:gd name="connsiteX22" fmla="*/ 407271 w 489263"/>
                    <a:gd name="connsiteY22" fmla="*/ 97398 h 621201"/>
                    <a:gd name="connsiteX23" fmla="*/ 338540 w 489263"/>
                    <a:gd name="connsiteY23" fmla="*/ 92210 h 621201"/>
                    <a:gd name="connsiteX24" fmla="*/ 250467 w 489263"/>
                    <a:gd name="connsiteY24" fmla="*/ 107546 h 621201"/>
                    <a:gd name="connsiteX25" fmla="*/ 178476 w 489263"/>
                    <a:gd name="connsiteY25" fmla="*/ 151816 h 621201"/>
                    <a:gd name="connsiteX26" fmla="*/ 129241 w 489263"/>
                    <a:gd name="connsiteY26" fmla="*/ 223973 h 621201"/>
                    <a:gd name="connsiteX27" fmla="*/ 109018 w 489263"/>
                    <a:gd name="connsiteY27" fmla="*/ 322741 h 621201"/>
                    <a:gd name="connsiteX28" fmla="*/ 157196 w 489263"/>
                    <a:gd name="connsiteY28" fmla="*/ 482474 h 621201"/>
                    <a:gd name="connsiteX29" fmla="*/ 305188 w 489263"/>
                    <a:gd name="connsiteY29" fmla="*/ 527158 h 621201"/>
                    <a:gd name="connsiteX30" fmla="*/ 342549 w 489263"/>
                    <a:gd name="connsiteY30" fmla="*/ 522876 h 621201"/>
                    <a:gd name="connsiteX31" fmla="*/ 376584 w 489263"/>
                    <a:gd name="connsiteY31" fmla="*/ 515718 h 621201"/>
                    <a:gd name="connsiteX32" fmla="*/ 381144 w 489263"/>
                    <a:gd name="connsiteY32" fmla="*/ 377219 h 6212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</a:cxnLst>
                  <a:rect l="l" t="t" r="r" b="b"/>
                  <a:pathLst>
                    <a:path w="489263" h="621201">
                      <a:moveTo>
                        <a:pt x="381144" y="377219"/>
                      </a:moveTo>
                      <a:cubicBezTo>
                        <a:pt x="338232" y="379076"/>
                        <a:pt x="295341" y="380931"/>
                        <a:pt x="252428" y="382790"/>
                      </a:cubicBezTo>
                      <a:cubicBezTo>
                        <a:pt x="253419" y="352068"/>
                        <a:pt x="254389" y="321346"/>
                        <a:pt x="255380" y="290624"/>
                      </a:cubicBezTo>
                      <a:cubicBezTo>
                        <a:pt x="333341" y="288124"/>
                        <a:pt x="411302" y="285621"/>
                        <a:pt x="489263" y="283119"/>
                      </a:cubicBezTo>
                      <a:cubicBezTo>
                        <a:pt x="485959" y="381406"/>
                        <a:pt x="482655" y="479694"/>
                        <a:pt x="479351" y="577984"/>
                      </a:cubicBezTo>
                      <a:cubicBezTo>
                        <a:pt x="470671" y="581773"/>
                        <a:pt x="459634" y="585879"/>
                        <a:pt x="446219" y="590316"/>
                      </a:cubicBezTo>
                      <a:cubicBezTo>
                        <a:pt x="432803" y="594759"/>
                        <a:pt x="417845" y="598960"/>
                        <a:pt x="401323" y="602921"/>
                      </a:cubicBezTo>
                      <a:cubicBezTo>
                        <a:pt x="384801" y="606886"/>
                        <a:pt x="367773" y="610391"/>
                        <a:pt x="350304" y="613418"/>
                      </a:cubicBezTo>
                      <a:cubicBezTo>
                        <a:pt x="332790" y="616447"/>
                        <a:pt x="315475" y="618606"/>
                        <a:pt x="298337" y="619848"/>
                      </a:cubicBezTo>
                      <a:cubicBezTo>
                        <a:pt x="246877" y="623589"/>
                        <a:pt x="202179" y="619592"/>
                        <a:pt x="164223" y="607628"/>
                      </a:cubicBezTo>
                      <a:cubicBezTo>
                        <a:pt x="126223" y="595625"/>
                        <a:pt x="94832" y="576997"/>
                        <a:pt x="70093" y="551685"/>
                      </a:cubicBezTo>
                      <a:cubicBezTo>
                        <a:pt x="45332" y="526330"/>
                        <a:pt x="27136" y="495196"/>
                        <a:pt x="15570" y="458414"/>
                      </a:cubicBezTo>
                      <a:cubicBezTo>
                        <a:pt x="3961" y="421577"/>
                        <a:pt x="-1150" y="380367"/>
                        <a:pt x="216" y="334925"/>
                      </a:cubicBezTo>
                      <a:cubicBezTo>
                        <a:pt x="1185" y="302795"/>
                        <a:pt x="5459" y="272016"/>
                        <a:pt x="13059" y="242660"/>
                      </a:cubicBezTo>
                      <a:cubicBezTo>
                        <a:pt x="20637" y="213328"/>
                        <a:pt x="31343" y="186151"/>
                        <a:pt x="45112" y="161181"/>
                      </a:cubicBezTo>
                      <a:cubicBezTo>
                        <a:pt x="58902" y="136235"/>
                        <a:pt x="75402" y="113726"/>
                        <a:pt x="94633" y="93688"/>
                      </a:cubicBezTo>
                      <a:cubicBezTo>
                        <a:pt x="113842" y="73681"/>
                        <a:pt x="135629" y="56692"/>
                        <a:pt x="159971" y="42662"/>
                      </a:cubicBezTo>
                      <a:cubicBezTo>
                        <a:pt x="184314" y="28689"/>
                        <a:pt x="210859" y="18062"/>
                        <a:pt x="239585" y="10748"/>
                      </a:cubicBezTo>
                      <a:cubicBezTo>
                        <a:pt x="268311" y="3450"/>
                        <a:pt x="298998" y="-101"/>
                        <a:pt x="331645" y="2"/>
                      </a:cubicBezTo>
                      <a:cubicBezTo>
                        <a:pt x="360569" y="93"/>
                        <a:pt x="387996" y="2322"/>
                        <a:pt x="413924" y="6657"/>
                      </a:cubicBezTo>
                      <a:cubicBezTo>
                        <a:pt x="439830" y="10966"/>
                        <a:pt x="461000" y="16191"/>
                        <a:pt x="477390" y="22338"/>
                      </a:cubicBezTo>
                      <a:cubicBezTo>
                        <a:pt x="476376" y="52703"/>
                        <a:pt x="475363" y="83068"/>
                        <a:pt x="474350" y="113433"/>
                      </a:cubicBezTo>
                      <a:cubicBezTo>
                        <a:pt x="452277" y="106368"/>
                        <a:pt x="429917" y="101008"/>
                        <a:pt x="407271" y="97398"/>
                      </a:cubicBezTo>
                      <a:cubicBezTo>
                        <a:pt x="384647" y="93761"/>
                        <a:pt x="361737" y="92022"/>
                        <a:pt x="338540" y="92210"/>
                      </a:cubicBezTo>
                      <a:cubicBezTo>
                        <a:pt x="307325" y="92461"/>
                        <a:pt x="277982" y="97541"/>
                        <a:pt x="250467" y="107546"/>
                      </a:cubicBezTo>
                      <a:cubicBezTo>
                        <a:pt x="222953" y="117576"/>
                        <a:pt x="198963" y="132325"/>
                        <a:pt x="178476" y="151816"/>
                      </a:cubicBezTo>
                      <a:cubicBezTo>
                        <a:pt x="157967" y="171349"/>
                        <a:pt x="141533" y="195405"/>
                        <a:pt x="129241" y="223973"/>
                      </a:cubicBezTo>
                      <a:cubicBezTo>
                        <a:pt x="116905" y="252558"/>
                        <a:pt x="110164" y="285538"/>
                        <a:pt x="109018" y="322741"/>
                      </a:cubicBezTo>
                      <a:cubicBezTo>
                        <a:pt x="107080" y="395040"/>
                        <a:pt x="123139" y="448452"/>
                        <a:pt x="157196" y="482474"/>
                      </a:cubicBezTo>
                      <a:cubicBezTo>
                        <a:pt x="191231" y="516406"/>
                        <a:pt x="240554" y="531134"/>
                        <a:pt x="305188" y="527158"/>
                      </a:cubicBezTo>
                      <a:cubicBezTo>
                        <a:pt x="317194" y="526422"/>
                        <a:pt x="329640" y="524990"/>
                        <a:pt x="342549" y="522876"/>
                      </a:cubicBezTo>
                      <a:cubicBezTo>
                        <a:pt x="355458" y="520765"/>
                        <a:pt x="366803" y="518382"/>
                        <a:pt x="376584" y="515718"/>
                      </a:cubicBezTo>
                      <a:cubicBezTo>
                        <a:pt x="378104" y="469552"/>
                        <a:pt x="379624" y="423385"/>
                        <a:pt x="381144" y="37721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2201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cs-CZ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616" name="Grafik 20">
              <a:extLst>
                <a:ext uri="{FF2B5EF4-FFF2-40B4-BE49-F238E27FC236}">
                  <a16:creationId xmlns:a16="http://schemas.microsoft.com/office/drawing/2014/main" id="{7D5174C1-22C5-D220-3433-81F9244ECF70}"/>
                </a:ext>
              </a:extLst>
            </p:cNvPr>
            <p:cNvGrpSpPr/>
            <p:nvPr/>
          </p:nvGrpSpPr>
          <p:grpSpPr>
            <a:xfrm>
              <a:off x="3430749" y="2788409"/>
              <a:ext cx="5059191" cy="1057893"/>
              <a:chOff x="3430749" y="2788409"/>
              <a:chExt cx="5059191" cy="1057893"/>
            </a:xfrm>
            <a:solidFill>
              <a:srgbClr val="FFFFFF"/>
            </a:solidFill>
          </p:grpSpPr>
          <p:sp>
            <p:nvSpPr>
              <p:cNvPr id="617" name="Freihandform: Form 616">
                <a:extLst>
                  <a:ext uri="{FF2B5EF4-FFF2-40B4-BE49-F238E27FC236}">
                    <a16:creationId xmlns:a16="http://schemas.microsoft.com/office/drawing/2014/main" id="{BD56C98D-9DE4-E380-B864-95CC44119C40}"/>
                  </a:ext>
                </a:extLst>
              </p:cNvPr>
              <p:cNvSpPr/>
              <p:nvPr/>
            </p:nvSpPr>
            <p:spPr>
              <a:xfrm>
                <a:off x="7468294" y="3090050"/>
                <a:ext cx="60224" cy="48878"/>
              </a:xfrm>
              <a:custGeom>
                <a:avLst/>
                <a:gdLst>
                  <a:gd name="connsiteX0" fmla="*/ 40481 w 60224"/>
                  <a:gd name="connsiteY0" fmla="*/ 143 h 48878"/>
                  <a:gd name="connsiteX1" fmla="*/ 9553 w 60224"/>
                  <a:gd name="connsiteY1" fmla="*/ 9514 h 48878"/>
                  <a:gd name="connsiteX2" fmla="*/ 13297 w 60224"/>
                  <a:gd name="connsiteY2" fmla="*/ 46067 h 48878"/>
                  <a:gd name="connsiteX3" fmla="*/ 27352 w 60224"/>
                  <a:gd name="connsiteY3" fmla="*/ 48878 h 48878"/>
                  <a:gd name="connsiteX4" fmla="*/ 35790 w 60224"/>
                  <a:gd name="connsiteY4" fmla="*/ 48878 h 48878"/>
                  <a:gd name="connsiteX5" fmla="*/ 58281 w 60224"/>
                  <a:gd name="connsiteY5" fmla="*/ 38568 h 48878"/>
                  <a:gd name="connsiteX6" fmla="*/ 59206 w 60224"/>
                  <a:gd name="connsiteY6" fmla="*/ 22635 h 48878"/>
                  <a:gd name="connsiteX7" fmla="*/ 46099 w 60224"/>
                  <a:gd name="connsiteY7" fmla="*/ 2954 h 48878"/>
                  <a:gd name="connsiteX8" fmla="*/ 40481 w 60224"/>
                  <a:gd name="connsiteY8" fmla="*/ 143 h 488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0224" h="48878">
                    <a:moveTo>
                      <a:pt x="40481" y="143"/>
                    </a:moveTo>
                    <a:cubicBezTo>
                      <a:pt x="28277" y="-796"/>
                      <a:pt x="18915" y="2954"/>
                      <a:pt x="9553" y="9514"/>
                    </a:cubicBezTo>
                    <a:cubicBezTo>
                      <a:pt x="-5449" y="19824"/>
                      <a:pt x="-1705" y="41381"/>
                      <a:pt x="13297" y="46067"/>
                    </a:cubicBezTo>
                    <a:cubicBezTo>
                      <a:pt x="18915" y="47942"/>
                      <a:pt x="24532" y="47942"/>
                      <a:pt x="27352" y="48878"/>
                    </a:cubicBezTo>
                    <a:lnTo>
                      <a:pt x="35790" y="48878"/>
                    </a:lnTo>
                    <a:cubicBezTo>
                      <a:pt x="46099" y="47942"/>
                      <a:pt x="51716" y="42318"/>
                      <a:pt x="58281" y="38568"/>
                    </a:cubicBezTo>
                    <a:cubicBezTo>
                      <a:pt x="62026" y="32947"/>
                      <a:pt x="59206" y="27322"/>
                      <a:pt x="59206" y="22635"/>
                    </a:cubicBezTo>
                    <a:cubicBezTo>
                      <a:pt x="58281" y="14202"/>
                      <a:pt x="50791" y="9514"/>
                      <a:pt x="46099" y="2954"/>
                    </a:cubicBezTo>
                    <a:cubicBezTo>
                      <a:pt x="44227" y="2954"/>
                      <a:pt x="42354" y="143"/>
                      <a:pt x="40481" y="143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18" name="Freihandform: Form 617">
                <a:extLst>
                  <a:ext uri="{FF2B5EF4-FFF2-40B4-BE49-F238E27FC236}">
                    <a16:creationId xmlns:a16="http://schemas.microsoft.com/office/drawing/2014/main" id="{1DE430B6-2F21-D6BB-932F-0B9574A47E12}"/>
                  </a:ext>
                </a:extLst>
              </p:cNvPr>
              <p:cNvSpPr/>
              <p:nvPr/>
            </p:nvSpPr>
            <p:spPr>
              <a:xfrm>
                <a:off x="7042022" y="3242024"/>
                <a:ext cx="3744" cy="4685"/>
              </a:xfrm>
              <a:custGeom>
                <a:avLst/>
                <a:gdLst>
                  <a:gd name="connsiteX0" fmla="*/ 0 w 3744"/>
                  <a:gd name="connsiteY0" fmla="*/ 4686 h 4685"/>
                  <a:gd name="connsiteX1" fmla="*/ 3745 w 3744"/>
                  <a:gd name="connsiteY1" fmla="*/ 4686 h 4685"/>
                  <a:gd name="connsiteX2" fmla="*/ 3745 w 3744"/>
                  <a:gd name="connsiteY2" fmla="*/ 0 h 4685"/>
                  <a:gd name="connsiteX3" fmla="*/ 0 w 3744"/>
                  <a:gd name="connsiteY3" fmla="*/ 4686 h 46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744" h="4685">
                    <a:moveTo>
                      <a:pt x="0" y="4686"/>
                    </a:moveTo>
                    <a:lnTo>
                      <a:pt x="3745" y="4686"/>
                    </a:lnTo>
                    <a:lnTo>
                      <a:pt x="3745" y="0"/>
                    </a:lnTo>
                    <a:cubicBezTo>
                      <a:pt x="947" y="0"/>
                      <a:pt x="0" y="936"/>
                      <a:pt x="0" y="4686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19" name="Freihandform: Form 618">
                <a:extLst>
                  <a:ext uri="{FF2B5EF4-FFF2-40B4-BE49-F238E27FC236}">
                    <a16:creationId xmlns:a16="http://schemas.microsoft.com/office/drawing/2014/main" id="{AED806AE-2804-8BE8-5F54-2B86CCEE30A3}"/>
                  </a:ext>
                </a:extLst>
              </p:cNvPr>
              <p:cNvSpPr/>
              <p:nvPr/>
            </p:nvSpPr>
            <p:spPr>
              <a:xfrm>
                <a:off x="7445045" y="2977723"/>
                <a:ext cx="11235" cy="8437"/>
              </a:xfrm>
              <a:custGeom>
                <a:avLst/>
                <a:gdLst>
                  <a:gd name="connsiteX0" fmla="*/ 11235 w 11235"/>
                  <a:gd name="connsiteY0" fmla="*/ 0 h 8437"/>
                  <a:gd name="connsiteX1" fmla="*/ 0 w 11235"/>
                  <a:gd name="connsiteY1" fmla="*/ 0 h 8437"/>
                  <a:gd name="connsiteX2" fmla="*/ 0 w 11235"/>
                  <a:gd name="connsiteY2" fmla="*/ 8437 h 8437"/>
                  <a:gd name="connsiteX3" fmla="*/ 11235 w 11235"/>
                  <a:gd name="connsiteY3" fmla="*/ 0 h 8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235" h="8437">
                    <a:moveTo>
                      <a:pt x="11235" y="0"/>
                    </a:moveTo>
                    <a:lnTo>
                      <a:pt x="0" y="0"/>
                    </a:lnTo>
                    <a:lnTo>
                      <a:pt x="0" y="8437"/>
                    </a:lnTo>
                    <a:cubicBezTo>
                      <a:pt x="6543" y="7499"/>
                      <a:pt x="10288" y="3749"/>
                      <a:pt x="11235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20" name="Freihandform: Form 619">
                <a:extLst>
                  <a:ext uri="{FF2B5EF4-FFF2-40B4-BE49-F238E27FC236}">
                    <a16:creationId xmlns:a16="http://schemas.microsoft.com/office/drawing/2014/main" id="{7B2C6852-A2DC-E414-0F87-B9A8A8B090E1}"/>
                  </a:ext>
                </a:extLst>
              </p:cNvPr>
              <p:cNvSpPr/>
              <p:nvPr/>
            </p:nvSpPr>
            <p:spPr>
              <a:xfrm>
                <a:off x="7056076" y="3218594"/>
                <a:ext cx="4691" cy="8434"/>
              </a:xfrm>
              <a:custGeom>
                <a:avLst/>
                <a:gdLst>
                  <a:gd name="connsiteX0" fmla="*/ 4692 w 4691"/>
                  <a:gd name="connsiteY0" fmla="*/ 0 h 8434"/>
                  <a:gd name="connsiteX1" fmla="*/ 0 w 4691"/>
                  <a:gd name="connsiteY1" fmla="*/ 8435 h 8434"/>
                  <a:gd name="connsiteX2" fmla="*/ 4692 w 4691"/>
                  <a:gd name="connsiteY2" fmla="*/ 8435 h 8434"/>
                  <a:gd name="connsiteX3" fmla="*/ 4692 w 4691"/>
                  <a:gd name="connsiteY3" fmla="*/ 0 h 84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691" h="8434">
                    <a:moveTo>
                      <a:pt x="4692" y="0"/>
                    </a:moveTo>
                    <a:cubicBezTo>
                      <a:pt x="1872" y="1872"/>
                      <a:pt x="0" y="4686"/>
                      <a:pt x="0" y="8435"/>
                    </a:cubicBezTo>
                    <a:lnTo>
                      <a:pt x="4692" y="8435"/>
                    </a:lnTo>
                    <a:lnTo>
                      <a:pt x="4692" y="0"/>
                    </a:ln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21" name="Freihandform: Form 620">
                <a:extLst>
                  <a:ext uri="{FF2B5EF4-FFF2-40B4-BE49-F238E27FC236}">
                    <a16:creationId xmlns:a16="http://schemas.microsoft.com/office/drawing/2014/main" id="{9E07302C-8CAB-D406-9A8A-5A852A0DC7CF}"/>
                  </a:ext>
                </a:extLst>
              </p:cNvPr>
              <p:cNvSpPr/>
              <p:nvPr/>
            </p:nvSpPr>
            <p:spPr>
              <a:xfrm>
                <a:off x="7790858" y="3543815"/>
                <a:ext cx="2798" cy="2810"/>
              </a:xfrm>
              <a:custGeom>
                <a:avLst/>
                <a:gdLst>
                  <a:gd name="connsiteX0" fmla="*/ 2798 w 2798"/>
                  <a:gd name="connsiteY0" fmla="*/ 1872 h 2810"/>
                  <a:gd name="connsiteX1" fmla="*/ 0 w 2798"/>
                  <a:gd name="connsiteY1" fmla="*/ 0 h 2810"/>
                  <a:gd name="connsiteX2" fmla="*/ 926 w 2798"/>
                  <a:gd name="connsiteY2" fmla="*/ 2811 h 2810"/>
                  <a:gd name="connsiteX3" fmla="*/ 2798 w 2798"/>
                  <a:gd name="connsiteY3" fmla="*/ 1872 h 28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798" h="2810">
                    <a:moveTo>
                      <a:pt x="2798" y="1872"/>
                    </a:moveTo>
                    <a:cubicBezTo>
                      <a:pt x="926" y="1872"/>
                      <a:pt x="926" y="0"/>
                      <a:pt x="0" y="0"/>
                    </a:cubicBezTo>
                    <a:cubicBezTo>
                      <a:pt x="0" y="1249"/>
                      <a:pt x="309" y="2185"/>
                      <a:pt x="926" y="2811"/>
                    </a:cubicBezTo>
                    <a:cubicBezTo>
                      <a:pt x="926" y="2811"/>
                      <a:pt x="926" y="1872"/>
                      <a:pt x="2798" y="1872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22" name="Freihandform: Form 621">
                <a:extLst>
                  <a:ext uri="{FF2B5EF4-FFF2-40B4-BE49-F238E27FC236}">
                    <a16:creationId xmlns:a16="http://schemas.microsoft.com/office/drawing/2014/main" id="{C684990E-4306-043B-1488-7BE512658540}"/>
                  </a:ext>
                </a:extLst>
              </p:cNvPr>
              <p:cNvSpPr/>
              <p:nvPr/>
            </p:nvSpPr>
            <p:spPr>
              <a:xfrm>
                <a:off x="7133883" y="3116436"/>
                <a:ext cx="4670" cy="4685"/>
              </a:xfrm>
              <a:custGeom>
                <a:avLst/>
                <a:gdLst>
                  <a:gd name="connsiteX0" fmla="*/ 4670 w 4670"/>
                  <a:gd name="connsiteY0" fmla="*/ 0 h 4685"/>
                  <a:gd name="connsiteX1" fmla="*/ 0 w 4670"/>
                  <a:gd name="connsiteY1" fmla="*/ 4686 h 4685"/>
                  <a:gd name="connsiteX2" fmla="*/ 4670 w 4670"/>
                  <a:gd name="connsiteY2" fmla="*/ 4686 h 4685"/>
                  <a:gd name="connsiteX3" fmla="*/ 4670 w 4670"/>
                  <a:gd name="connsiteY3" fmla="*/ 0 h 46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670" h="4685">
                    <a:moveTo>
                      <a:pt x="4670" y="0"/>
                    </a:moveTo>
                    <a:cubicBezTo>
                      <a:pt x="926" y="0"/>
                      <a:pt x="0" y="936"/>
                      <a:pt x="0" y="4686"/>
                    </a:cubicBezTo>
                    <a:lnTo>
                      <a:pt x="4670" y="4686"/>
                    </a:lnTo>
                    <a:lnTo>
                      <a:pt x="4670" y="0"/>
                    </a:ln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23" name="Freihandform: Form 622">
                <a:extLst>
                  <a:ext uri="{FF2B5EF4-FFF2-40B4-BE49-F238E27FC236}">
                    <a16:creationId xmlns:a16="http://schemas.microsoft.com/office/drawing/2014/main" id="{C53A8167-8D79-322D-3EB1-C3F656724DAB}"/>
                  </a:ext>
                </a:extLst>
              </p:cNvPr>
              <p:cNvSpPr/>
              <p:nvPr/>
            </p:nvSpPr>
            <p:spPr>
              <a:xfrm>
                <a:off x="6950650" y="2837050"/>
                <a:ext cx="1539290" cy="1009251"/>
              </a:xfrm>
              <a:custGeom>
                <a:avLst/>
                <a:gdLst>
                  <a:gd name="connsiteX0" fmla="*/ 1531858 w 1539290"/>
                  <a:gd name="connsiteY0" fmla="*/ 452773 h 1009251"/>
                  <a:gd name="connsiteX1" fmla="*/ 1523421 w 1539290"/>
                  <a:gd name="connsiteY1" fmla="*/ 447149 h 1009251"/>
                  <a:gd name="connsiteX2" fmla="*/ 1496237 w 1539290"/>
                  <a:gd name="connsiteY2" fmla="*/ 439652 h 1009251"/>
                  <a:gd name="connsiteX3" fmla="*/ 1472820 w 1539290"/>
                  <a:gd name="connsiteY3" fmla="*/ 451836 h 1009251"/>
                  <a:gd name="connsiteX4" fmla="*/ 1445636 w 1539290"/>
                  <a:gd name="connsiteY4" fmla="*/ 462144 h 1009251"/>
                  <a:gd name="connsiteX5" fmla="*/ 1353796 w 1539290"/>
                  <a:gd name="connsiteY5" fmla="*/ 503385 h 1009251"/>
                  <a:gd name="connsiteX6" fmla="*/ 1341615 w 1539290"/>
                  <a:gd name="connsiteY6" fmla="*/ 509007 h 1009251"/>
                  <a:gd name="connsiteX7" fmla="*/ 1317229 w 1539290"/>
                  <a:gd name="connsiteY7" fmla="*/ 524002 h 1009251"/>
                  <a:gd name="connsiteX8" fmla="*/ 1307866 w 1539290"/>
                  <a:gd name="connsiteY8" fmla="*/ 524002 h 1009251"/>
                  <a:gd name="connsiteX9" fmla="*/ 1260063 w 1539290"/>
                  <a:gd name="connsiteY9" fmla="*/ 548371 h 1009251"/>
                  <a:gd name="connsiteX10" fmla="*/ 1212259 w 1539290"/>
                  <a:gd name="connsiteY10" fmla="*/ 566179 h 1009251"/>
                  <a:gd name="connsiteX11" fmla="*/ 1152274 w 1539290"/>
                  <a:gd name="connsiteY11" fmla="*/ 577425 h 1009251"/>
                  <a:gd name="connsiteX12" fmla="*/ 1120420 w 1539290"/>
                  <a:gd name="connsiteY12" fmla="*/ 574614 h 1009251"/>
                  <a:gd name="connsiteX13" fmla="*/ 1112930 w 1539290"/>
                  <a:gd name="connsiteY13" fmla="*/ 556806 h 1009251"/>
                  <a:gd name="connsiteX14" fmla="*/ 1155094 w 1539290"/>
                  <a:gd name="connsiteY14" fmla="*/ 491200 h 1009251"/>
                  <a:gd name="connsiteX15" fmla="*/ 1163531 w 1539290"/>
                  <a:gd name="connsiteY15" fmla="*/ 487451 h 1009251"/>
                  <a:gd name="connsiteX16" fmla="*/ 1205694 w 1539290"/>
                  <a:gd name="connsiteY16" fmla="*/ 490262 h 1009251"/>
                  <a:gd name="connsiteX17" fmla="*/ 1232879 w 1539290"/>
                  <a:gd name="connsiteY17" fmla="*/ 487451 h 1009251"/>
                  <a:gd name="connsiteX18" fmla="*/ 1320048 w 1539290"/>
                  <a:gd name="connsiteY18" fmla="*/ 452773 h 1009251"/>
                  <a:gd name="connsiteX19" fmla="*/ 1333178 w 1539290"/>
                  <a:gd name="connsiteY19" fmla="*/ 444338 h 1009251"/>
                  <a:gd name="connsiteX20" fmla="*/ 1371596 w 1539290"/>
                  <a:gd name="connsiteY20" fmla="*/ 404974 h 1009251"/>
                  <a:gd name="connsiteX21" fmla="*/ 1373468 w 1539290"/>
                  <a:gd name="connsiteY21" fmla="*/ 368421 h 1009251"/>
                  <a:gd name="connsiteX22" fmla="*/ 1358467 w 1539290"/>
                  <a:gd name="connsiteY22" fmla="*/ 347802 h 1009251"/>
                  <a:gd name="connsiteX23" fmla="*/ 1348157 w 1539290"/>
                  <a:gd name="connsiteY23" fmla="*/ 344054 h 1009251"/>
                  <a:gd name="connsiteX24" fmla="*/ 1339720 w 1539290"/>
                  <a:gd name="connsiteY24" fmla="*/ 341241 h 1009251"/>
                  <a:gd name="connsiteX25" fmla="*/ 1305993 w 1539290"/>
                  <a:gd name="connsiteY25" fmla="*/ 344054 h 1009251"/>
                  <a:gd name="connsiteX26" fmla="*/ 1277862 w 1539290"/>
                  <a:gd name="connsiteY26" fmla="*/ 352489 h 1009251"/>
                  <a:gd name="connsiteX27" fmla="*/ 1244135 w 1539290"/>
                  <a:gd name="connsiteY27" fmla="*/ 366546 h 1009251"/>
                  <a:gd name="connsiteX28" fmla="*/ 1180361 w 1539290"/>
                  <a:gd name="connsiteY28" fmla="*/ 410345 h 1009251"/>
                  <a:gd name="connsiteX29" fmla="*/ 1162606 w 1539290"/>
                  <a:gd name="connsiteY29" fmla="*/ 411534 h 1009251"/>
                  <a:gd name="connsiteX30" fmla="*/ 1071691 w 1539290"/>
                  <a:gd name="connsiteY30" fmla="*/ 436839 h 1009251"/>
                  <a:gd name="connsiteX31" fmla="*/ 962977 w 1539290"/>
                  <a:gd name="connsiteY31" fmla="*/ 462146 h 1009251"/>
                  <a:gd name="connsiteX32" fmla="*/ 824259 w 1539290"/>
                  <a:gd name="connsiteY32" fmla="*/ 495886 h 1009251"/>
                  <a:gd name="connsiteX33" fmla="*/ 822387 w 1539290"/>
                  <a:gd name="connsiteY33" fmla="*/ 498697 h 1009251"/>
                  <a:gd name="connsiteX34" fmla="*/ 824259 w 1539290"/>
                  <a:gd name="connsiteY34" fmla="*/ 498697 h 1009251"/>
                  <a:gd name="connsiteX35" fmla="*/ 843007 w 1539290"/>
                  <a:gd name="connsiteY35" fmla="*/ 500572 h 1009251"/>
                  <a:gd name="connsiteX36" fmla="*/ 841134 w 1539290"/>
                  <a:gd name="connsiteY36" fmla="*/ 503385 h 1009251"/>
                  <a:gd name="connsiteX37" fmla="*/ 806460 w 1539290"/>
                  <a:gd name="connsiteY37" fmla="*/ 509007 h 1009251"/>
                  <a:gd name="connsiteX38" fmla="*/ 801768 w 1539290"/>
                  <a:gd name="connsiteY38" fmla="*/ 506196 h 1009251"/>
                  <a:gd name="connsiteX39" fmla="*/ 816770 w 1539290"/>
                  <a:gd name="connsiteY39" fmla="*/ 479016 h 1009251"/>
                  <a:gd name="connsiteX40" fmla="*/ 840209 w 1539290"/>
                  <a:gd name="connsiteY40" fmla="*/ 439652 h 1009251"/>
                  <a:gd name="connsiteX41" fmla="*/ 848646 w 1539290"/>
                  <a:gd name="connsiteY41" fmla="*/ 417158 h 1009251"/>
                  <a:gd name="connsiteX42" fmla="*/ 862700 w 1539290"/>
                  <a:gd name="connsiteY42" fmla="*/ 405910 h 1009251"/>
                  <a:gd name="connsiteX43" fmla="*/ 873010 w 1539290"/>
                  <a:gd name="connsiteY43" fmla="*/ 391853 h 1009251"/>
                  <a:gd name="connsiteX44" fmla="*/ 908632 w 1539290"/>
                  <a:gd name="connsiteY44" fmla="*/ 340305 h 1009251"/>
                  <a:gd name="connsiteX45" fmla="*/ 916121 w 1539290"/>
                  <a:gd name="connsiteY45" fmla="*/ 329057 h 1009251"/>
                  <a:gd name="connsiteX46" fmla="*/ 947050 w 1539290"/>
                  <a:gd name="connsiteY46" fmla="*/ 282197 h 1009251"/>
                  <a:gd name="connsiteX47" fmla="*/ 948922 w 1539290"/>
                  <a:gd name="connsiteY47" fmla="*/ 278447 h 1009251"/>
                  <a:gd name="connsiteX48" fmla="*/ 960180 w 1539290"/>
                  <a:gd name="connsiteY48" fmla="*/ 262513 h 1009251"/>
                  <a:gd name="connsiteX49" fmla="*/ 1002344 w 1539290"/>
                  <a:gd name="connsiteY49" fmla="*/ 211904 h 1009251"/>
                  <a:gd name="connsiteX50" fmla="*/ 1047327 w 1539290"/>
                  <a:gd name="connsiteY50" fmla="*/ 163169 h 1009251"/>
                  <a:gd name="connsiteX51" fmla="*/ 1082001 w 1539290"/>
                  <a:gd name="connsiteY51" fmla="*/ 128490 h 1009251"/>
                  <a:gd name="connsiteX52" fmla="*/ 1098875 w 1539290"/>
                  <a:gd name="connsiteY52" fmla="*/ 120992 h 1009251"/>
                  <a:gd name="connsiteX53" fmla="*/ 1112930 w 1539290"/>
                  <a:gd name="connsiteY53" fmla="*/ 117244 h 1009251"/>
                  <a:gd name="connsiteX54" fmla="*/ 1117622 w 1539290"/>
                  <a:gd name="connsiteY54" fmla="*/ 106932 h 1009251"/>
                  <a:gd name="connsiteX55" fmla="*/ 1108259 w 1539290"/>
                  <a:gd name="connsiteY55" fmla="*/ 93812 h 1009251"/>
                  <a:gd name="connsiteX56" fmla="*/ 1044530 w 1539290"/>
                  <a:gd name="connsiteY56" fmla="*/ 95687 h 1009251"/>
                  <a:gd name="connsiteX57" fmla="*/ 1028580 w 1539290"/>
                  <a:gd name="connsiteY57" fmla="*/ 107871 h 1009251"/>
                  <a:gd name="connsiteX58" fmla="*/ 1002344 w 1539290"/>
                  <a:gd name="connsiteY58" fmla="*/ 133176 h 1009251"/>
                  <a:gd name="connsiteX59" fmla="*/ 988289 w 1539290"/>
                  <a:gd name="connsiteY59" fmla="*/ 152859 h 1009251"/>
                  <a:gd name="connsiteX60" fmla="*/ 916121 w 1539290"/>
                  <a:gd name="connsiteY60" fmla="*/ 239083 h 1009251"/>
                  <a:gd name="connsiteX61" fmla="*/ 910504 w 1539290"/>
                  <a:gd name="connsiteY61" fmla="*/ 247518 h 1009251"/>
                  <a:gd name="connsiteX62" fmla="*/ 873010 w 1539290"/>
                  <a:gd name="connsiteY62" fmla="*/ 300941 h 1009251"/>
                  <a:gd name="connsiteX63" fmla="*/ 835517 w 1539290"/>
                  <a:gd name="connsiteY63" fmla="*/ 352489 h 1009251"/>
                  <a:gd name="connsiteX64" fmla="*/ 779716 w 1539290"/>
                  <a:gd name="connsiteY64" fmla="*/ 439231 h 1009251"/>
                  <a:gd name="connsiteX65" fmla="*/ 781171 w 1539290"/>
                  <a:gd name="connsiteY65" fmla="*/ 427468 h 1009251"/>
                  <a:gd name="connsiteX66" fmla="*/ 748369 w 1539290"/>
                  <a:gd name="connsiteY66" fmla="*/ 440588 h 1009251"/>
                  <a:gd name="connsiteX67" fmla="*/ 718387 w 1539290"/>
                  <a:gd name="connsiteY67" fmla="*/ 458397 h 1009251"/>
                  <a:gd name="connsiteX68" fmla="*/ 680894 w 1539290"/>
                  <a:gd name="connsiteY68" fmla="*/ 482766 h 1009251"/>
                  <a:gd name="connsiteX69" fmla="*/ 664967 w 1539290"/>
                  <a:gd name="connsiteY69" fmla="*/ 491200 h 1009251"/>
                  <a:gd name="connsiteX70" fmla="*/ 611546 w 1539290"/>
                  <a:gd name="connsiteY70" fmla="*/ 522129 h 1009251"/>
                  <a:gd name="connsiteX71" fmla="*/ 544996 w 1539290"/>
                  <a:gd name="connsiteY71" fmla="*/ 559619 h 1009251"/>
                  <a:gd name="connsiteX72" fmla="*/ 511247 w 1539290"/>
                  <a:gd name="connsiteY72" fmla="*/ 577427 h 1009251"/>
                  <a:gd name="connsiteX73" fmla="*/ 476573 w 1539290"/>
                  <a:gd name="connsiteY73" fmla="*/ 590548 h 1009251"/>
                  <a:gd name="connsiteX74" fmla="*/ 440952 w 1539290"/>
                  <a:gd name="connsiteY74" fmla="*/ 602732 h 1009251"/>
                  <a:gd name="connsiteX75" fmla="*/ 406278 w 1539290"/>
                  <a:gd name="connsiteY75" fmla="*/ 598983 h 1009251"/>
                  <a:gd name="connsiteX76" fmla="*/ 408151 w 1539290"/>
                  <a:gd name="connsiteY76" fmla="*/ 564304 h 1009251"/>
                  <a:gd name="connsiteX77" fmla="*/ 419408 w 1539290"/>
                  <a:gd name="connsiteY77" fmla="*/ 539938 h 1009251"/>
                  <a:gd name="connsiteX78" fmla="*/ 456901 w 1539290"/>
                  <a:gd name="connsiteY78" fmla="*/ 473394 h 1009251"/>
                  <a:gd name="connsiteX79" fmla="*/ 467762 w 1539290"/>
                  <a:gd name="connsiteY79" fmla="*/ 456566 h 1009251"/>
                  <a:gd name="connsiteX80" fmla="*/ 470956 w 1539290"/>
                  <a:gd name="connsiteY80" fmla="*/ 456522 h 1009251"/>
                  <a:gd name="connsiteX81" fmla="*/ 477521 w 1539290"/>
                  <a:gd name="connsiteY81" fmla="*/ 451836 h 1009251"/>
                  <a:gd name="connsiteX82" fmla="*/ 485958 w 1539290"/>
                  <a:gd name="connsiteY82" fmla="*/ 444340 h 1009251"/>
                  <a:gd name="connsiteX83" fmla="*/ 484063 w 1539290"/>
                  <a:gd name="connsiteY83" fmla="*/ 433092 h 1009251"/>
                  <a:gd name="connsiteX84" fmla="*/ 483337 w 1539290"/>
                  <a:gd name="connsiteY84" fmla="*/ 432722 h 1009251"/>
                  <a:gd name="connsiteX85" fmla="*/ 511247 w 1539290"/>
                  <a:gd name="connsiteY85" fmla="*/ 417158 h 1009251"/>
                  <a:gd name="connsiteX86" fmla="*/ 514067 w 1539290"/>
                  <a:gd name="connsiteY86" fmla="*/ 417158 h 1009251"/>
                  <a:gd name="connsiteX87" fmla="*/ 517812 w 1539290"/>
                  <a:gd name="connsiteY87" fmla="*/ 404976 h 1009251"/>
                  <a:gd name="connsiteX88" fmla="*/ 494373 w 1539290"/>
                  <a:gd name="connsiteY88" fmla="*/ 386229 h 1009251"/>
                  <a:gd name="connsiteX89" fmla="*/ 464391 w 1539290"/>
                  <a:gd name="connsiteY89" fmla="*/ 391853 h 1009251"/>
                  <a:gd name="connsiteX90" fmla="*/ 438155 w 1539290"/>
                  <a:gd name="connsiteY90" fmla="*/ 419971 h 1009251"/>
                  <a:gd name="connsiteX91" fmla="*/ 423461 w 1539290"/>
                  <a:gd name="connsiteY91" fmla="*/ 438881 h 1009251"/>
                  <a:gd name="connsiteX92" fmla="*/ 398788 w 1539290"/>
                  <a:gd name="connsiteY92" fmla="*/ 455586 h 1009251"/>
                  <a:gd name="connsiteX93" fmla="*/ 379095 w 1539290"/>
                  <a:gd name="connsiteY93" fmla="*/ 471520 h 1009251"/>
                  <a:gd name="connsiteX94" fmla="*/ 365040 w 1539290"/>
                  <a:gd name="connsiteY94" fmla="*/ 479016 h 1009251"/>
                  <a:gd name="connsiteX95" fmla="*/ 357550 w 1539290"/>
                  <a:gd name="connsiteY95" fmla="*/ 485576 h 1009251"/>
                  <a:gd name="connsiteX96" fmla="*/ 348165 w 1539290"/>
                  <a:gd name="connsiteY96" fmla="*/ 494011 h 1009251"/>
                  <a:gd name="connsiteX97" fmla="*/ 280690 w 1539290"/>
                  <a:gd name="connsiteY97" fmla="*/ 541810 h 1009251"/>
                  <a:gd name="connsiteX98" fmla="*/ 180413 w 1539290"/>
                  <a:gd name="connsiteY98" fmla="*/ 602732 h 1009251"/>
                  <a:gd name="connsiteX99" fmla="*/ 96989 w 1539290"/>
                  <a:gd name="connsiteY99" fmla="*/ 636472 h 1009251"/>
                  <a:gd name="connsiteX100" fmla="*/ 42643 w 1539290"/>
                  <a:gd name="connsiteY100" fmla="*/ 634597 h 1009251"/>
                  <a:gd name="connsiteX101" fmla="*/ 28566 w 1539290"/>
                  <a:gd name="connsiteY101" fmla="*/ 616791 h 1009251"/>
                  <a:gd name="connsiteX102" fmla="*/ 35131 w 1539290"/>
                  <a:gd name="connsiteY102" fmla="*/ 590548 h 1009251"/>
                  <a:gd name="connsiteX103" fmla="*/ 35131 w 1539290"/>
                  <a:gd name="connsiteY103" fmla="*/ 589611 h 1009251"/>
                  <a:gd name="connsiteX104" fmla="*/ 37003 w 1539290"/>
                  <a:gd name="connsiteY104" fmla="*/ 577427 h 1009251"/>
                  <a:gd name="connsiteX105" fmla="*/ 42643 w 1539290"/>
                  <a:gd name="connsiteY105" fmla="*/ 568054 h 1009251"/>
                  <a:gd name="connsiteX106" fmla="*/ 52005 w 1539290"/>
                  <a:gd name="connsiteY106" fmla="*/ 549309 h 1009251"/>
                  <a:gd name="connsiteX107" fmla="*/ 64187 w 1539290"/>
                  <a:gd name="connsiteY107" fmla="*/ 525879 h 1009251"/>
                  <a:gd name="connsiteX108" fmla="*/ 72625 w 1539290"/>
                  <a:gd name="connsiteY108" fmla="*/ 509007 h 1009251"/>
                  <a:gd name="connsiteX109" fmla="*/ 91372 w 1539290"/>
                  <a:gd name="connsiteY109" fmla="*/ 487451 h 1009251"/>
                  <a:gd name="connsiteX110" fmla="*/ 111044 w 1539290"/>
                  <a:gd name="connsiteY110" fmla="*/ 465896 h 1009251"/>
                  <a:gd name="connsiteX111" fmla="*/ 425025 w 1539290"/>
                  <a:gd name="connsiteY111" fmla="*/ 234398 h 1009251"/>
                  <a:gd name="connsiteX112" fmla="*/ 427845 w 1539290"/>
                  <a:gd name="connsiteY112" fmla="*/ 230648 h 1009251"/>
                  <a:gd name="connsiteX113" fmla="*/ 473754 w 1539290"/>
                  <a:gd name="connsiteY113" fmla="*/ 181913 h 1009251"/>
                  <a:gd name="connsiteX114" fmla="*/ 477521 w 1539290"/>
                  <a:gd name="connsiteY114" fmla="*/ 173478 h 1009251"/>
                  <a:gd name="connsiteX115" fmla="*/ 463444 w 1539290"/>
                  <a:gd name="connsiteY115" fmla="*/ 182849 h 1009251"/>
                  <a:gd name="connsiteX116" fmla="*/ 456901 w 1539290"/>
                  <a:gd name="connsiteY116" fmla="*/ 187537 h 1009251"/>
                  <a:gd name="connsiteX117" fmla="*/ 455029 w 1539290"/>
                  <a:gd name="connsiteY117" fmla="*/ 181913 h 1009251"/>
                  <a:gd name="connsiteX118" fmla="*/ 458774 w 1539290"/>
                  <a:gd name="connsiteY118" fmla="*/ 173478 h 1009251"/>
                  <a:gd name="connsiteX119" fmla="*/ 467211 w 1539290"/>
                  <a:gd name="connsiteY119" fmla="*/ 168793 h 1009251"/>
                  <a:gd name="connsiteX120" fmla="*/ 464391 w 1539290"/>
                  <a:gd name="connsiteY120" fmla="*/ 166918 h 1009251"/>
                  <a:gd name="connsiteX121" fmla="*/ 467211 w 1539290"/>
                  <a:gd name="connsiteY121" fmla="*/ 164105 h 1009251"/>
                  <a:gd name="connsiteX122" fmla="*/ 467211 w 1539290"/>
                  <a:gd name="connsiteY122" fmla="*/ 168793 h 1009251"/>
                  <a:gd name="connsiteX123" fmla="*/ 471881 w 1539290"/>
                  <a:gd name="connsiteY123" fmla="*/ 164105 h 1009251"/>
                  <a:gd name="connsiteX124" fmla="*/ 477521 w 1539290"/>
                  <a:gd name="connsiteY124" fmla="*/ 173478 h 1009251"/>
                  <a:gd name="connsiteX125" fmla="*/ 494373 w 1539290"/>
                  <a:gd name="connsiteY125" fmla="*/ 156608 h 1009251"/>
                  <a:gd name="connsiteX126" fmla="*/ 494373 w 1539290"/>
                  <a:gd name="connsiteY126" fmla="*/ 149110 h 1009251"/>
                  <a:gd name="connsiteX127" fmla="*/ 489703 w 1539290"/>
                  <a:gd name="connsiteY127" fmla="*/ 155670 h 1009251"/>
                  <a:gd name="connsiteX128" fmla="*/ 471881 w 1539290"/>
                  <a:gd name="connsiteY128" fmla="*/ 160355 h 1009251"/>
                  <a:gd name="connsiteX129" fmla="*/ 494373 w 1539290"/>
                  <a:gd name="connsiteY129" fmla="*/ 140674 h 1009251"/>
                  <a:gd name="connsiteX130" fmla="*/ 498140 w 1539290"/>
                  <a:gd name="connsiteY130" fmla="*/ 136925 h 1009251"/>
                  <a:gd name="connsiteX131" fmla="*/ 506577 w 1539290"/>
                  <a:gd name="connsiteY131" fmla="*/ 124741 h 1009251"/>
                  <a:gd name="connsiteX132" fmla="*/ 517812 w 1539290"/>
                  <a:gd name="connsiteY132" fmla="*/ 122866 h 1009251"/>
                  <a:gd name="connsiteX133" fmla="*/ 519684 w 1539290"/>
                  <a:gd name="connsiteY133" fmla="*/ 120992 h 1009251"/>
                  <a:gd name="connsiteX134" fmla="*/ 516865 w 1539290"/>
                  <a:gd name="connsiteY134" fmla="*/ 119119 h 1009251"/>
                  <a:gd name="connsiteX135" fmla="*/ 512195 w 1539290"/>
                  <a:gd name="connsiteY135" fmla="*/ 120992 h 1009251"/>
                  <a:gd name="connsiteX136" fmla="*/ 509375 w 1539290"/>
                  <a:gd name="connsiteY136" fmla="*/ 120992 h 1009251"/>
                  <a:gd name="connsiteX137" fmla="*/ 509375 w 1539290"/>
                  <a:gd name="connsiteY137" fmla="*/ 117244 h 1009251"/>
                  <a:gd name="connsiteX138" fmla="*/ 525302 w 1539290"/>
                  <a:gd name="connsiteY138" fmla="*/ 109746 h 1009251"/>
                  <a:gd name="connsiteX139" fmla="*/ 531867 w 1539290"/>
                  <a:gd name="connsiteY139" fmla="*/ 105996 h 1009251"/>
                  <a:gd name="connsiteX140" fmla="*/ 532814 w 1539290"/>
                  <a:gd name="connsiteY140" fmla="*/ 102249 h 1009251"/>
                  <a:gd name="connsiteX141" fmla="*/ 527197 w 1539290"/>
                  <a:gd name="connsiteY141" fmla="*/ 100374 h 1009251"/>
                  <a:gd name="connsiteX142" fmla="*/ 522504 w 1539290"/>
                  <a:gd name="connsiteY142" fmla="*/ 100374 h 1009251"/>
                  <a:gd name="connsiteX143" fmla="*/ 524377 w 1539290"/>
                  <a:gd name="connsiteY143" fmla="*/ 95687 h 1009251"/>
                  <a:gd name="connsiteX144" fmla="*/ 539379 w 1539290"/>
                  <a:gd name="connsiteY144" fmla="*/ 83502 h 1009251"/>
                  <a:gd name="connsiteX145" fmla="*/ 556231 w 1539290"/>
                  <a:gd name="connsiteY145" fmla="*/ 60072 h 1009251"/>
                  <a:gd name="connsiteX146" fmla="*/ 569360 w 1539290"/>
                  <a:gd name="connsiteY146" fmla="*/ 37578 h 1009251"/>
                  <a:gd name="connsiteX147" fmla="*/ 567487 w 1539290"/>
                  <a:gd name="connsiteY147" fmla="*/ 18833 h 1009251"/>
                  <a:gd name="connsiteX148" fmla="*/ 552486 w 1539290"/>
                  <a:gd name="connsiteY148" fmla="*/ 7588 h 1009251"/>
                  <a:gd name="connsiteX149" fmla="*/ 492500 w 1539290"/>
                  <a:gd name="connsiteY149" fmla="*/ 3838 h 1009251"/>
                  <a:gd name="connsiteX150" fmla="*/ 384734 w 1539290"/>
                  <a:gd name="connsiteY150" fmla="*/ 71320 h 1009251"/>
                  <a:gd name="connsiteX151" fmla="*/ 338803 w 1539290"/>
                  <a:gd name="connsiteY151" fmla="*/ 113495 h 1009251"/>
                  <a:gd name="connsiteX152" fmla="*/ 237579 w 1539290"/>
                  <a:gd name="connsiteY152" fmla="*/ 211904 h 1009251"/>
                  <a:gd name="connsiteX153" fmla="*/ 210395 w 1539290"/>
                  <a:gd name="connsiteY153" fmla="*/ 245646 h 1009251"/>
                  <a:gd name="connsiteX154" fmla="*/ 210395 w 1539290"/>
                  <a:gd name="connsiteY154" fmla="*/ 251270 h 1009251"/>
                  <a:gd name="connsiteX155" fmla="*/ 214140 w 1539290"/>
                  <a:gd name="connsiteY155" fmla="*/ 251270 h 1009251"/>
                  <a:gd name="connsiteX156" fmla="*/ 211342 w 1539290"/>
                  <a:gd name="connsiteY156" fmla="*/ 253142 h 1009251"/>
                  <a:gd name="connsiteX157" fmla="*/ 210395 w 1539290"/>
                  <a:gd name="connsiteY157" fmla="*/ 251270 h 1009251"/>
                  <a:gd name="connsiteX158" fmla="*/ 187903 w 1539290"/>
                  <a:gd name="connsiteY158" fmla="*/ 275636 h 1009251"/>
                  <a:gd name="connsiteX159" fmla="*/ 187903 w 1539290"/>
                  <a:gd name="connsiteY159" fmla="*/ 279386 h 1009251"/>
                  <a:gd name="connsiteX160" fmla="*/ 190723 w 1539290"/>
                  <a:gd name="connsiteY160" fmla="*/ 279386 h 1009251"/>
                  <a:gd name="connsiteX161" fmla="*/ 187903 w 1539290"/>
                  <a:gd name="connsiteY161" fmla="*/ 284071 h 1009251"/>
                  <a:gd name="connsiteX162" fmla="*/ 186031 w 1539290"/>
                  <a:gd name="connsiteY162" fmla="*/ 290632 h 1009251"/>
                  <a:gd name="connsiteX163" fmla="*/ 184159 w 1539290"/>
                  <a:gd name="connsiteY163" fmla="*/ 291570 h 1009251"/>
                  <a:gd name="connsiteX164" fmla="*/ 183211 w 1539290"/>
                  <a:gd name="connsiteY164" fmla="*/ 290632 h 1009251"/>
                  <a:gd name="connsiteX165" fmla="*/ 183211 w 1539290"/>
                  <a:gd name="connsiteY165" fmla="*/ 284071 h 1009251"/>
                  <a:gd name="connsiteX166" fmla="*/ 168231 w 1539290"/>
                  <a:gd name="connsiteY166" fmla="*/ 301880 h 1009251"/>
                  <a:gd name="connsiteX167" fmla="*/ 153229 w 1539290"/>
                  <a:gd name="connsiteY167" fmla="*/ 322499 h 1009251"/>
                  <a:gd name="connsiteX168" fmla="*/ 120428 w 1539290"/>
                  <a:gd name="connsiteY168" fmla="*/ 367487 h 1009251"/>
                  <a:gd name="connsiteX169" fmla="*/ 120428 w 1539290"/>
                  <a:gd name="connsiteY169" fmla="*/ 371234 h 1009251"/>
                  <a:gd name="connsiteX170" fmla="*/ 123248 w 1539290"/>
                  <a:gd name="connsiteY170" fmla="*/ 371234 h 1009251"/>
                  <a:gd name="connsiteX171" fmla="*/ 120428 w 1539290"/>
                  <a:gd name="connsiteY171" fmla="*/ 374983 h 1009251"/>
                  <a:gd name="connsiteX172" fmla="*/ 115736 w 1539290"/>
                  <a:gd name="connsiteY172" fmla="*/ 381544 h 1009251"/>
                  <a:gd name="connsiteX173" fmla="*/ 110118 w 1539290"/>
                  <a:gd name="connsiteY173" fmla="*/ 389979 h 1009251"/>
                  <a:gd name="connsiteX174" fmla="*/ 105426 w 1539290"/>
                  <a:gd name="connsiteY174" fmla="*/ 389979 h 1009251"/>
                  <a:gd name="connsiteX175" fmla="*/ 95116 w 1539290"/>
                  <a:gd name="connsiteY175" fmla="*/ 404976 h 1009251"/>
                  <a:gd name="connsiteX176" fmla="*/ 100734 w 1539290"/>
                  <a:gd name="connsiteY176" fmla="*/ 404976 h 1009251"/>
                  <a:gd name="connsiteX177" fmla="*/ 95116 w 1539290"/>
                  <a:gd name="connsiteY177" fmla="*/ 409662 h 1009251"/>
                  <a:gd name="connsiteX178" fmla="*/ 90424 w 1539290"/>
                  <a:gd name="connsiteY178" fmla="*/ 419971 h 1009251"/>
                  <a:gd name="connsiteX179" fmla="*/ 91372 w 1539290"/>
                  <a:gd name="connsiteY179" fmla="*/ 418097 h 1009251"/>
                  <a:gd name="connsiteX180" fmla="*/ 90424 w 1539290"/>
                  <a:gd name="connsiteY180" fmla="*/ 418097 h 1009251"/>
                  <a:gd name="connsiteX181" fmla="*/ 87626 w 1539290"/>
                  <a:gd name="connsiteY181" fmla="*/ 420908 h 1009251"/>
                  <a:gd name="connsiteX182" fmla="*/ 87626 w 1539290"/>
                  <a:gd name="connsiteY182" fmla="*/ 419971 h 1009251"/>
                  <a:gd name="connsiteX183" fmla="*/ 76370 w 1539290"/>
                  <a:gd name="connsiteY183" fmla="*/ 433092 h 1009251"/>
                  <a:gd name="connsiteX184" fmla="*/ 81062 w 1539290"/>
                  <a:gd name="connsiteY184" fmla="*/ 433092 h 1009251"/>
                  <a:gd name="connsiteX185" fmla="*/ 79189 w 1539290"/>
                  <a:gd name="connsiteY185" fmla="*/ 436841 h 1009251"/>
                  <a:gd name="connsiteX186" fmla="*/ 76370 w 1539290"/>
                  <a:gd name="connsiteY186" fmla="*/ 433092 h 1009251"/>
                  <a:gd name="connsiteX187" fmla="*/ 52952 w 1539290"/>
                  <a:gd name="connsiteY187" fmla="*/ 471520 h 1009251"/>
                  <a:gd name="connsiteX188" fmla="*/ 56698 w 1539290"/>
                  <a:gd name="connsiteY188" fmla="*/ 471520 h 1009251"/>
                  <a:gd name="connsiteX189" fmla="*/ 52952 w 1539290"/>
                  <a:gd name="connsiteY189" fmla="*/ 482766 h 1009251"/>
                  <a:gd name="connsiteX190" fmla="*/ 49186 w 1539290"/>
                  <a:gd name="connsiteY190" fmla="*/ 482766 h 1009251"/>
                  <a:gd name="connsiteX191" fmla="*/ 46388 w 1539290"/>
                  <a:gd name="connsiteY191" fmla="*/ 479955 h 1009251"/>
                  <a:gd name="connsiteX192" fmla="*/ 47313 w 1539290"/>
                  <a:gd name="connsiteY192" fmla="*/ 482766 h 1009251"/>
                  <a:gd name="connsiteX193" fmla="*/ 41696 w 1539290"/>
                  <a:gd name="connsiteY193" fmla="*/ 490264 h 1009251"/>
                  <a:gd name="connsiteX194" fmla="*/ 33259 w 1539290"/>
                  <a:gd name="connsiteY194" fmla="*/ 505259 h 1009251"/>
                  <a:gd name="connsiteX195" fmla="*/ 37951 w 1539290"/>
                  <a:gd name="connsiteY195" fmla="*/ 505259 h 1009251"/>
                  <a:gd name="connsiteX196" fmla="*/ 33259 w 1539290"/>
                  <a:gd name="connsiteY196" fmla="*/ 515569 h 1009251"/>
                  <a:gd name="connsiteX197" fmla="*/ 28566 w 1539290"/>
                  <a:gd name="connsiteY197" fmla="*/ 515569 h 1009251"/>
                  <a:gd name="connsiteX198" fmla="*/ 15459 w 1539290"/>
                  <a:gd name="connsiteY198" fmla="*/ 541810 h 1009251"/>
                  <a:gd name="connsiteX199" fmla="*/ 1404 w 1539290"/>
                  <a:gd name="connsiteY199" fmla="*/ 578363 h 1009251"/>
                  <a:gd name="connsiteX200" fmla="*/ 1404 w 1539290"/>
                  <a:gd name="connsiteY200" fmla="*/ 605543 h 1009251"/>
                  <a:gd name="connsiteX201" fmla="*/ 83882 w 1539290"/>
                  <a:gd name="connsiteY201" fmla="*/ 672086 h 1009251"/>
                  <a:gd name="connsiteX202" fmla="*/ 118555 w 1539290"/>
                  <a:gd name="connsiteY202" fmla="*/ 668339 h 1009251"/>
                  <a:gd name="connsiteX203" fmla="*/ 149485 w 1539290"/>
                  <a:gd name="connsiteY203" fmla="*/ 658966 h 1009251"/>
                  <a:gd name="connsiteX204" fmla="*/ 180413 w 1539290"/>
                  <a:gd name="connsiteY204" fmla="*/ 643971 h 1009251"/>
                  <a:gd name="connsiteX205" fmla="*/ 221652 w 1539290"/>
                  <a:gd name="connsiteY205" fmla="*/ 622413 h 1009251"/>
                  <a:gd name="connsiteX206" fmla="*/ 248836 w 1539290"/>
                  <a:gd name="connsiteY206" fmla="*/ 602732 h 1009251"/>
                  <a:gd name="connsiteX207" fmla="*/ 272253 w 1539290"/>
                  <a:gd name="connsiteY207" fmla="*/ 587735 h 1009251"/>
                  <a:gd name="connsiteX208" fmla="*/ 282562 w 1539290"/>
                  <a:gd name="connsiteY208" fmla="*/ 578363 h 1009251"/>
                  <a:gd name="connsiteX209" fmla="*/ 303182 w 1539290"/>
                  <a:gd name="connsiteY209" fmla="*/ 566179 h 1009251"/>
                  <a:gd name="connsiteX210" fmla="*/ 328493 w 1539290"/>
                  <a:gd name="connsiteY210" fmla="*/ 548371 h 1009251"/>
                  <a:gd name="connsiteX211" fmla="*/ 334111 w 1539290"/>
                  <a:gd name="connsiteY211" fmla="*/ 536188 h 1009251"/>
                  <a:gd name="connsiteX212" fmla="*/ 337856 w 1539290"/>
                  <a:gd name="connsiteY212" fmla="*/ 530565 h 1009251"/>
                  <a:gd name="connsiteX213" fmla="*/ 355677 w 1539290"/>
                  <a:gd name="connsiteY213" fmla="*/ 529626 h 1009251"/>
                  <a:gd name="connsiteX214" fmla="*/ 365040 w 1539290"/>
                  <a:gd name="connsiteY214" fmla="*/ 522129 h 1009251"/>
                  <a:gd name="connsiteX215" fmla="*/ 384139 w 1539290"/>
                  <a:gd name="connsiteY215" fmla="*/ 508423 h 1009251"/>
                  <a:gd name="connsiteX216" fmla="*/ 380967 w 1539290"/>
                  <a:gd name="connsiteY216" fmla="*/ 515569 h 1009251"/>
                  <a:gd name="connsiteX217" fmla="*/ 370657 w 1539290"/>
                  <a:gd name="connsiteY217" fmla="*/ 558680 h 1009251"/>
                  <a:gd name="connsiteX218" fmla="*/ 379095 w 1539290"/>
                  <a:gd name="connsiteY218" fmla="*/ 607418 h 1009251"/>
                  <a:gd name="connsiteX219" fmla="*/ 398788 w 1539290"/>
                  <a:gd name="connsiteY219" fmla="*/ 640221 h 1009251"/>
                  <a:gd name="connsiteX220" fmla="*/ 406278 w 1539290"/>
                  <a:gd name="connsiteY220" fmla="*/ 643032 h 1009251"/>
                  <a:gd name="connsiteX221" fmla="*/ 480319 w 1539290"/>
                  <a:gd name="connsiteY221" fmla="*/ 641157 h 1009251"/>
                  <a:gd name="connsiteX222" fmla="*/ 515939 w 1539290"/>
                  <a:gd name="connsiteY222" fmla="*/ 628037 h 1009251"/>
                  <a:gd name="connsiteX223" fmla="*/ 587160 w 1539290"/>
                  <a:gd name="connsiteY223" fmla="*/ 590548 h 1009251"/>
                  <a:gd name="connsiteX224" fmla="*/ 625600 w 1539290"/>
                  <a:gd name="connsiteY224" fmla="*/ 568054 h 1009251"/>
                  <a:gd name="connsiteX225" fmla="*/ 657103 w 1539290"/>
                  <a:gd name="connsiteY225" fmla="*/ 546681 h 1009251"/>
                  <a:gd name="connsiteX226" fmla="*/ 663997 w 1539290"/>
                  <a:gd name="connsiteY226" fmla="*/ 558680 h 1009251"/>
                  <a:gd name="connsiteX227" fmla="*/ 674307 w 1539290"/>
                  <a:gd name="connsiteY227" fmla="*/ 568054 h 1009251"/>
                  <a:gd name="connsiteX228" fmla="*/ 683692 w 1539290"/>
                  <a:gd name="connsiteY228" fmla="*/ 571803 h 1009251"/>
                  <a:gd name="connsiteX229" fmla="*/ 694926 w 1539290"/>
                  <a:gd name="connsiteY229" fmla="*/ 571803 h 1009251"/>
                  <a:gd name="connsiteX230" fmla="*/ 697746 w 1539290"/>
                  <a:gd name="connsiteY230" fmla="*/ 577425 h 1009251"/>
                  <a:gd name="connsiteX231" fmla="*/ 678052 w 1539290"/>
                  <a:gd name="connsiteY231" fmla="*/ 612103 h 1009251"/>
                  <a:gd name="connsiteX232" fmla="*/ 625579 w 1539290"/>
                  <a:gd name="connsiteY232" fmla="*/ 720822 h 1009251"/>
                  <a:gd name="connsiteX233" fmla="*/ 619961 w 1539290"/>
                  <a:gd name="connsiteY233" fmla="*/ 735819 h 1009251"/>
                  <a:gd name="connsiteX234" fmla="*/ 593702 w 1539290"/>
                  <a:gd name="connsiteY234" fmla="*/ 782679 h 1009251"/>
                  <a:gd name="connsiteX235" fmla="*/ 574031 w 1539290"/>
                  <a:gd name="connsiteY235" fmla="*/ 827667 h 1009251"/>
                  <a:gd name="connsiteX236" fmla="*/ 540282 w 1539290"/>
                  <a:gd name="connsiteY236" fmla="*/ 915760 h 1009251"/>
                  <a:gd name="connsiteX237" fmla="*/ 536536 w 1539290"/>
                  <a:gd name="connsiteY237" fmla="*/ 946689 h 1009251"/>
                  <a:gd name="connsiteX238" fmla="*/ 544974 w 1539290"/>
                  <a:gd name="connsiteY238" fmla="*/ 972948 h 1009251"/>
                  <a:gd name="connsiteX239" fmla="*/ 551538 w 1539290"/>
                  <a:gd name="connsiteY239" fmla="*/ 981385 h 1009251"/>
                  <a:gd name="connsiteX240" fmla="*/ 586212 w 1539290"/>
                  <a:gd name="connsiteY240" fmla="*/ 1005749 h 1009251"/>
                  <a:gd name="connsiteX241" fmla="*/ 625579 w 1539290"/>
                  <a:gd name="connsiteY241" fmla="*/ 1005749 h 1009251"/>
                  <a:gd name="connsiteX242" fmla="*/ 656508 w 1539290"/>
                  <a:gd name="connsiteY242" fmla="*/ 994492 h 1009251"/>
                  <a:gd name="connsiteX243" fmla="*/ 696799 w 1539290"/>
                  <a:gd name="connsiteY243" fmla="*/ 954201 h 1009251"/>
                  <a:gd name="connsiteX244" fmla="*/ 738985 w 1539290"/>
                  <a:gd name="connsiteY244" fmla="*/ 912962 h 1009251"/>
                  <a:gd name="connsiteX245" fmla="*/ 743677 w 1539290"/>
                  <a:gd name="connsiteY245" fmla="*/ 904525 h 1009251"/>
                  <a:gd name="connsiteX246" fmla="*/ 780223 w 1539290"/>
                  <a:gd name="connsiteY246" fmla="*/ 852036 h 1009251"/>
                  <a:gd name="connsiteX247" fmla="*/ 791458 w 1539290"/>
                  <a:gd name="connsiteY247" fmla="*/ 839852 h 1009251"/>
                  <a:gd name="connsiteX248" fmla="*/ 809280 w 1539290"/>
                  <a:gd name="connsiteY248" fmla="*/ 818296 h 1009251"/>
                  <a:gd name="connsiteX249" fmla="*/ 840209 w 1539290"/>
                  <a:gd name="connsiteY249" fmla="*/ 774245 h 1009251"/>
                  <a:gd name="connsiteX250" fmla="*/ 873010 w 1539290"/>
                  <a:gd name="connsiteY250" fmla="*/ 726446 h 1009251"/>
                  <a:gd name="connsiteX251" fmla="*/ 879575 w 1539290"/>
                  <a:gd name="connsiteY251" fmla="*/ 717074 h 1009251"/>
                  <a:gd name="connsiteX252" fmla="*/ 901119 w 1539290"/>
                  <a:gd name="connsiteY252" fmla="*/ 674897 h 1009251"/>
                  <a:gd name="connsiteX253" fmla="*/ 910504 w 1539290"/>
                  <a:gd name="connsiteY253" fmla="*/ 656153 h 1009251"/>
                  <a:gd name="connsiteX254" fmla="*/ 906737 w 1539290"/>
                  <a:gd name="connsiteY254" fmla="*/ 602730 h 1009251"/>
                  <a:gd name="connsiteX255" fmla="*/ 879575 w 1539290"/>
                  <a:gd name="connsiteY255" fmla="*/ 571803 h 1009251"/>
                  <a:gd name="connsiteX256" fmla="*/ 866445 w 1539290"/>
                  <a:gd name="connsiteY256" fmla="*/ 559619 h 1009251"/>
                  <a:gd name="connsiteX257" fmla="*/ 848646 w 1539290"/>
                  <a:gd name="connsiteY257" fmla="*/ 548371 h 1009251"/>
                  <a:gd name="connsiteX258" fmla="*/ 850519 w 1539290"/>
                  <a:gd name="connsiteY258" fmla="*/ 539936 h 1009251"/>
                  <a:gd name="connsiteX259" fmla="*/ 859881 w 1539290"/>
                  <a:gd name="connsiteY259" fmla="*/ 537125 h 1009251"/>
                  <a:gd name="connsiteX260" fmla="*/ 869265 w 1539290"/>
                  <a:gd name="connsiteY260" fmla="*/ 536186 h 1009251"/>
                  <a:gd name="connsiteX261" fmla="*/ 875808 w 1539290"/>
                  <a:gd name="connsiteY261" fmla="*/ 530565 h 1009251"/>
                  <a:gd name="connsiteX262" fmla="*/ 913302 w 1539290"/>
                  <a:gd name="connsiteY262" fmla="*/ 524002 h 1009251"/>
                  <a:gd name="connsiteX263" fmla="*/ 948922 w 1539290"/>
                  <a:gd name="connsiteY263" fmla="*/ 512756 h 1009251"/>
                  <a:gd name="connsiteX264" fmla="*/ 993906 w 1539290"/>
                  <a:gd name="connsiteY264" fmla="*/ 506196 h 1009251"/>
                  <a:gd name="connsiteX265" fmla="*/ 997651 w 1539290"/>
                  <a:gd name="connsiteY265" fmla="*/ 505257 h 1009251"/>
                  <a:gd name="connsiteX266" fmla="*/ 1002344 w 1539290"/>
                  <a:gd name="connsiteY266" fmla="*/ 500572 h 1009251"/>
                  <a:gd name="connsiteX267" fmla="*/ 1027655 w 1539290"/>
                  <a:gd name="connsiteY267" fmla="*/ 497761 h 1009251"/>
                  <a:gd name="connsiteX268" fmla="*/ 1038890 w 1539290"/>
                  <a:gd name="connsiteY268" fmla="*/ 490262 h 1009251"/>
                  <a:gd name="connsiteX269" fmla="*/ 1078256 w 1539290"/>
                  <a:gd name="connsiteY269" fmla="*/ 482766 h 1009251"/>
                  <a:gd name="connsiteX270" fmla="*/ 1095130 w 1539290"/>
                  <a:gd name="connsiteY270" fmla="*/ 476205 h 1009251"/>
                  <a:gd name="connsiteX271" fmla="*/ 1117931 w 1539290"/>
                  <a:gd name="connsiteY271" fmla="*/ 471385 h 1009251"/>
                  <a:gd name="connsiteX272" fmla="*/ 1093236 w 1539290"/>
                  <a:gd name="connsiteY272" fmla="*/ 512756 h 1009251"/>
                  <a:gd name="connsiteX273" fmla="*/ 1086671 w 1539290"/>
                  <a:gd name="connsiteY273" fmla="*/ 524940 h 1009251"/>
                  <a:gd name="connsiteX274" fmla="*/ 1086671 w 1539290"/>
                  <a:gd name="connsiteY274" fmla="*/ 566179 h 1009251"/>
                  <a:gd name="connsiteX275" fmla="*/ 1106365 w 1539290"/>
                  <a:gd name="connsiteY275" fmla="*/ 598044 h 1009251"/>
                  <a:gd name="connsiteX276" fmla="*/ 1130730 w 1539290"/>
                  <a:gd name="connsiteY276" fmla="*/ 612103 h 1009251"/>
                  <a:gd name="connsiteX277" fmla="*/ 1181330 w 1539290"/>
                  <a:gd name="connsiteY277" fmla="*/ 616789 h 1009251"/>
                  <a:gd name="connsiteX278" fmla="*/ 1194460 w 1539290"/>
                  <a:gd name="connsiteY278" fmla="*/ 610228 h 1009251"/>
                  <a:gd name="connsiteX279" fmla="*/ 1286299 w 1539290"/>
                  <a:gd name="connsiteY279" fmla="*/ 578363 h 1009251"/>
                  <a:gd name="connsiteX280" fmla="*/ 1347232 w 1539290"/>
                  <a:gd name="connsiteY280" fmla="*/ 551184 h 1009251"/>
                  <a:gd name="connsiteX281" fmla="*/ 1409090 w 1539290"/>
                  <a:gd name="connsiteY281" fmla="*/ 522129 h 1009251"/>
                  <a:gd name="connsiteX282" fmla="*/ 1416580 w 1539290"/>
                  <a:gd name="connsiteY282" fmla="*/ 518380 h 1009251"/>
                  <a:gd name="connsiteX283" fmla="*/ 1485928 w 1539290"/>
                  <a:gd name="connsiteY283" fmla="*/ 490262 h 1009251"/>
                  <a:gd name="connsiteX284" fmla="*/ 1530933 w 1539290"/>
                  <a:gd name="connsiteY284" fmla="*/ 474331 h 1009251"/>
                  <a:gd name="connsiteX285" fmla="*/ 1536551 w 1539290"/>
                  <a:gd name="connsiteY285" fmla="*/ 471520 h 1009251"/>
                  <a:gd name="connsiteX286" fmla="*/ 1531858 w 1539290"/>
                  <a:gd name="connsiteY286" fmla="*/ 452773 h 1009251"/>
                  <a:gd name="connsiteX287" fmla="*/ 1175713 w 1539290"/>
                  <a:gd name="connsiteY287" fmla="*/ 464021 h 1009251"/>
                  <a:gd name="connsiteX288" fmla="*/ 1191728 w 1539290"/>
                  <a:gd name="connsiteY288" fmla="*/ 448600 h 1009251"/>
                  <a:gd name="connsiteX289" fmla="*/ 1202919 w 1539290"/>
                  <a:gd name="connsiteY289" fmla="*/ 439652 h 1009251"/>
                  <a:gd name="connsiteX290" fmla="*/ 1205496 w 1539290"/>
                  <a:gd name="connsiteY290" fmla="*/ 436238 h 1009251"/>
                  <a:gd name="connsiteX291" fmla="*/ 1261935 w 1539290"/>
                  <a:gd name="connsiteY291" fmla="*/ 398411 h 1009251"/>
                  <a:gd name="connsiteX292" fmla="*/ 1320995 w 1539290"/>
                  <a:gd name="connsiteY292" fmla="*/ 379669 h 1009251"/>
                  <a:gd name="connsiteX293" fmla="*/ 1332230 w 1539290"/>
                  <a:gd name="connsiteY293" fmla="*/ 374981 h 1009251"/>
                  <a:gd name="connsiteX294" fmla="*/ 1339720 w 1539290"/>
                  <a:gd name="connsiteY294" fmla="*/ 371232 h 1009251"/>
                  <a:gd name="connsiteX295" fmla="*/ 1344412 w 1539290"/>
                  <a:gd name="connsiteY295" fmla="*/ 381542 h 1009251"/>
                  <a:gd name="connsiteX296" fmla="*/ 1341615 w 1539290"/>
                  <a:gd name="connsiteY296" fmla="*/ 394664 h 1009251"/>
                  <a:gd name="connsiteX297" fmla="*/ 1318176 w 1539290"/>
                  <a:gd name="connsiteY297" fmla="*/ 422780 h 1009251"/>
                  <a:gd name="connsiteX298" fmla="*/ 1252573 w 1539290"/>
                  <a:gd name="connsiteY298" fmla="*/ 456522 h 1009251"/>
                  <a:gd name="connsiteX299" fmla="*/ 1220696 w 1539290"/>
                  <a:gd name="connsiteY299" fmla="*/ 468706 h 1009251"/>
                  <a:gd name="connsiteX300" fmla="*/ 1193513 w 1539290"/>
                  <a:gd name="connsiteY300" fmla="*/ 473392 h 1009251"/>
                  <a:gd name="connsiteX301" fmla="*/ 1193513 w 1539290"/>
                  <a:gd name="connsiteY301" fmla="*/ 471517 h 1009251"/>
                  <a:gd name="connsiteX302" fmla="*/ 1181330 w 1539290"/>
                  <a:gd name="connsiteY302" fmla="*/ 473392 h 1009251"/>
                  <a:gd name="connsiteX303" fmla="*/ 1170095 w 1539290"/>
                  <a:gd name="connsiteY303" fmla="*/ 473392 h 1009251"/>
                  <a:gd name="connsiteX304" fmla="*/ 1175713 w 1539290"/>
                  <a:gd name="connsiteY304" fmla="*/ 464019 h 1009251"/>
                  <a:gd name="connsiteX305" fmla="*/ 371604 w 1539290"/>
                  <a:gd name="connsiteY305" fmla="*/ 268138 h 1009251"/>
                  <a:gd name="connsiteX306" fmla="*/ 385659 w 1539290"/>
                  <a:gd name="connsiteY306" fmla="*/ 255953 h 1009251"/>
                  <a:gd name="connsiteX307" fmla="*/ 389404 w 1539290"/>
                  <a:gd name="connsiteY307" fmla="*/ 260639 h 1009251"/>
                  <a:gd name="connsiteX308" fmla="*/ 371604 w 1539290"/>
                  <a:gd name="connsiteY308" fmla="*/ 268138 h 1009251"/>
                  <a:gd name="connsiteX309" fmla="*/ 413790 w 1539290"/>
                  <a:gd name="connsiteY309" fmla="*/ 235334 h 1009251"/>
                  <a:gd name="connsiteX310" fmla="*/ 409098 w 1539290"/>
                  <a:gd name="connsiteY310" fmla="*/ 232523 h 1009251"/>
                  <a:gd name="connsiteX311" fmla="*/ 418460 w 1539290"/>
                  <a:gd name="connsiteY311" fmla="*/ 222213 h 1009251"/>
                  <a:gd name="connsiteX312" fmla="*/ 424100 w 1539290"/>
                  <a:gd name="connsiteY312" fmla="*/ 226899 h 1009251"/>
                  <a:gd name="connsiteX313" fmla="*/ 413790 w 1539290"/>
                  <a:gd name="connsiteY313" fmla="*/ 235334 h 1009251"/>
                  <a:gd name="connsiteX314" fmla="*/ 433462 w 1539290"/>
                  <a:gd name="connsiteY314" fmla="*/ 216589 h 1009251"/>
                  <a:gd name="connsiteX315" fmla="*/ 428770 w 1539290"/>
                  <a:gd name="connsiteY315" fmla="*/ 221275 h 1009251"/>
                  <a:gd name="connsiteX316" fmla="*/ 428770 w 1539290"/>
                  <a:gd name="connsiteY316" fmla="*/ 216589 h 1009251"/>
                  <a:gd name="connsiteX317" fmla="*/ 425025 w 1539290"/>
                  <a:gd name="connsiteY317" fmla="*/ 216589 h 1009251"/>
                  <a:gd name="connsiteX318" fmla="*/ 428770 w 1539290"/>
                  <a:gd name="connsiteY318" fmla="*/ 213776 h 1009251"/>
                  <a:gd name="connsiteX319" fmla="*/ 428770 w 1539290"/>
                  <a:gd name="connsiteY319" fmla="*/ 216589 h 1009251"/>
                  <a:gd name="connsiteX320" fmla="*/ 433462 w 1539290"/>
                  <a:gd name="connsiteY320" fmla="*/ 216589 h 1009251"/>
                  <a:gd name="connsiteX321" fmla="*/ 428770 w 1539290"/>
                  <a:gd name="connsiteY321" fmla="*/ 211904 h 1009251"/>
                  <a:gd name="connsiteX322" fmla="*/ 428770 w 1539290"/>
                  <a:gd name="connsiteY322" fmla="*/ 202530 h 1009251"/>
                  <a:gd name="connsiteX323" fmla="*/ 426898 w 1539290"/>
                  <a:gd name="connsiteY323" fmla="*/ 199719 h 1009251"/>
                  <a:gd name="connsiteX324" fmla="*/ 428770 w 1539290"/>
                  <a:gd name="connsiteY324" fmla="*/ 199719 h 1009251"/>
                  <a:gd name="connsiteX325" fmla="*/ 428770 w 1539290"/>
                  <a:gd name="connsiteY325" fmla="*/ 202530 h 1009251"/>
                  <a:gd name="connsiteX326" fmla="*/ 443772 w 1539290"/>
                  <a:gd name="connsiteY326" fmla="*/ 194095 h 1009251"/>
                  <a:gd name="connsiteX327" fmla="*/ 447517 w 1539290"/>
                  <a:gd name="connsiteY327" fmla="*/ 196906 h 1009251"/>
                  <a:gd name="connsiteX328" fmla="*/ 433462 w 1539290"/>
                  <a:gd name="connsiteY328" fmla="*/ 216589 h 1009251"/>
                  <a:gd name="connsiteX329" fmla="*/ 234760 w 1539290"/>
                  <a:gd name="connsiteY329" fmla="*/ 245644 h 1009251"/>
                  <a:gd name="connsiteX330" fmla="*/ 230089 w 1539290"/>
                  <a:gd name="connsiteY330" fmla="*/ 255953 h 1009251"/>
                  <a:gd name="connsiteX331" fmla="*/ 234760 w 1539290"/>
                  <a:gd name="connsiteY331" fmla="*/ 245644 h 1009251"/>
                  <a:gd name="connsiteX332" fmla="*/ 224449 w 1539290"/>
                  <a:gd name="connsiteY332" fmla="*/ 260639 h 1009251"/>
                  <a:gd name="connsiteX333" fmla="*/ 224449 w 1539290"/>
                  <a:gd name="connsiteY333" fmla="*/ 271887 h 1009251"/>
                  <a:gd name="connsiteX334" fmla="*/ 210395 w 1539290"/>
                  <a:gd name="connsiteY334" fmla="*/ 279383 h 1009251"/>
                  <a:gd name="connsiteX335" fmla="*/ 224449 w 1539290"/>
                  <a:gd name="connsiteY335" fmla="*/ 260639 h 1009251"/>
                  <a:gd name="connsiteX336" fmla="*/ 201033 w 1539290"/>
                  <a:gd name="connsiteY336" fmla="*/ 290632 h 1009251"/>
                  <a:gd name="connsiteX337" fmla="*/ 192596 w 1539290"/>
                  <a:gd name="connsiteY337" fmla="*/ 298128 h 1009251"/>
                  <a:gd name="connsiteX338" fmla="*/ 201033 w 1539290"/>
                  <a:gd name="connsiteY338" fmla="*/ 290632 h 1009251"/>
                  <a:gd name="connsiteX339" fmla="*/ 172901 w 1539290"/>
                  <a:gd name="connsiteY339" fmla="*/ 322497 h 1009251"/>
                  <a:gd name="connsiteX340" fmla="*/ 183233 w 1539290"/>
                  <a:gd name="connsiteY340" fmla="*/ 313125 h 1009251"/>
                  <a:gd name="connsiteX341" fmla="*/ 172901 w 1539290"/>
                  <a:gd name="connsiteY341" fmla="*/ 322497 h 1009251"/>
                  <a:gd name="connsiteX342" fmla="*/ 172901 w 1539290"/>
                  <a:gd name="connsiteY342" fmla="*/ 332806 h 1009251"/>
                  <a:gd name="connsiteX343" fmla="*/ 168231 w 1539290"/>
                  <a:gd name="connsiteY343" fmla="*/ 332806 h 1009251"/>
                  <a:gd name="connsiteX344" fmla="*/ 172901 w 1539290"/>
                  <a:gd name="connsiteY344" fmla="*/ 322497 h 1009251"/>
                  <a:gd name="connsiteX345" fmla="*/ 190723 w 1539290"/>
                  <a:gd name="connsiteY345" fmla="*/ 341241 h 1009251"/>
                  <a:gd name="connsiteX346" fmla="*/ 202905 w 1539290"/>
                  <a:gd name="connsiteY346" fmla="*/ 322497 h 1009251"/>
                  <a:gd name="connsiteX347" fmla="*/ 206650 w 1539290"/>
                  <a:gd name="connsiteY347" fmla="*/ 315936 h 1009251"/>
                  <a:gd name="connsiteX348" fmla="*/ 215087 w 1539290"/>
                  <a:gd name="connsiteY348" fmla="*/ 302816 h 1009251"/>
                  <a:gd name="connsiteX349" fmla="*/ 227270 w 1539290"/>
                  <a:gd name="connsiteY349" fmla="*/ 291568 h 1009251"/>
                  <a:gd name="connsiteX350" fmla="*/ 234760 w 1539290"/>
                  <a:gd name="connsiteY350" fmla="*/ 280322 h 1009251"/>
                  <a:gd name="connsiteX351" fmla="*/ 244144 w 1539290"/>
                  <a:gd name="connsiteY351" fmla="*/ 267201 h 1009251"/>
                  <a:gd name="connsiteX352" fmla="*/ 260071 w 1539290"/>
                  <a:gd name="connsiteY352" fmla="*/ 245644 h 1009251"/>
                  <a:gd name="connsiteX353" fmla="*/ 280690 w 1539290"/>
                  <a:gd name="connsiteY353" fmla="*/ 221275 h 1009251"/>
                  <a:gd name="connsiteX354" fmla="*/ 298512 w 1539290"/>
                  <a:gd name="connsiteY354" fmla="*/ 199719 h 1009251"/>
                  <a:gd name="connsiteX355" fmla="*/ 305054 w 1539290"/>
                  <a:gd name="connsiteY355" fmla="*/ 192221 h 1009251"/>
                  <a:gd name="connsiteX356" fmla="*/ 342548 w 1539290"/>
                  <a:gd name="connsiteY356" fmla="*/ 152857 h 1009251"/>
                  <a:gd name="connsiteX357" fmla="*/ 384734 w 1539290"/>
                  <a:gd name="connsiteY357" fmla="*/ 113493 h 1009251"/>
                  <a:gd name="connsiteX358" fmla="*/ 428770 w 1539290"/>
                  <a:gd name="connsiteY358" fmla="*/ 79753 h 1009251"/>
                  <a:gd name="connsiteX359" fmla="*/ 437208 w 1539290"/>
                  <a:gd name="connsiteY359" fmla="*/ 73193 h 1009251"/>
                  <a:gd name="connsiteX360" fmla="*/ 486883 w 1539290"/>
                  <a:gd name="connsiteY360" fmla="*/ 41325 h 1009251"/>
                  <a:gd name="connsiteX361" fmla="*/ 522504 w 1539290"/>
                  <a:gd name="connsiteY361" fmla="*/ 15084 h 1009251"/>
                  <a:gd name="connsiteX362" fmla="*/ 540304 w 1539290"/>
                  <a:gd name="connsiteY362" fmla="*/ 17895 h 1009251"/>
                  <a:gd name="connsiteX363" fmla="*/ 540304 w 1539290"/>
                  <a:gd name="connsiteY363" fmla="*/ 28205 h 1009251"/>
                  <a:gd name="connsiteX364" fmla="*/ 526249 w 1539290"/>
                  <a:gd name="connsiteY364" fmla="*/ 54448 h 1009251"/>
                  <a:gd name="connsiteX365" fmla="*/ 506577 w 1539290"/>
                  <a:gd name="connsiteY365" fmla="*/ 90063 h 1009251"/>
                  <a:gd name="connsiteX366" fmla="*/ 447517 w 1539290"/>
                  <a:gd name="connsiteY366" fmla="*/ 161292 h 1009251"/>
                  <a:gd name="connsiteX367" fmla="*/ 346293 w 1539290"/>
                  <a:gd name="connsiteY367" fmla="*/ 259703 h 1009251"/>
                  <a:gd name="connsiteX368" fmla="*/ 243197 w 1539290"/>
                  <a:gd name="connsiteY368" fmla="*/ 350615 h 1009251"/>
                  <a:gd name="connsiteX369" fmla="*/ 153229 w 1539290"/>
                  <a:gd name="connsiteY369" fmla="*/ 411534 h 1009251"/>
                  <a:gd name="connsiteX370" fmla="*/ 131685 w 1539290"/>
                  <a:gd name="connsiteY370" fmla="*/ 425593 h 1009251"/>
                  <a:gd name="connsiteX371" fmla="*/ 137302 w 1539290"/>
                  <a:gd name="connsiteY371" fmla="*/ 411534 h 1009251"/>
                  <a:gd name="connsiteX372" fmla="*/ 150410 w 1539290"/>
                  <a:gd name="connsiteY372" fmla="*/ 389979 h 1009251"/>
                  <a:gd name="connsiteX373" fmla="*/ 190723 w 1539290"/>
                  <a:gd name="connsiteY373" fmla="*/ 341241 h 1009251"/>
                  <a:gd name="connsiteX374" fmla="*/ 149485 w 1539290"/>
                  <a:gd name="connsiteY374" fmla="*/ 355300 h 1009251"/>
                  <a:gd name="connsiteX375" fmla="*/ 161666 w 1539290"/>
                  <a:gd name="connsiteY375" fmla="*/ 337492 h 1009251"/>
                  <a:gd name="connsiteX376" fmla="*/ 149485 w 1539290"/>
                  <a:gd name="connsiteY376" fmla="*/ 355300 h 1009251"/>
                  <a:gd name="connsiteX377" fmla="*/ 138227 w 1539290"/>
                  <a:gd name="connsiteY377" fmla="*/ 368421 h 1009251"/>
                  <a:gd name="connsiteX378" fmla="*/ 149485 w 1539290"/>
                  <a:gd name="connsiteY378" fmla="*/ 355300 h 1009251"/>
                  <a:gd name="connsiteX379" fmla="*/ 138227 w 1539290"/>
                  <a:gd name="connsiteY379" fmla="*/ 371234 h 1009251"/>
                  <a:gd name="connsiteX380" fmla="*/ 130737 w 1539290"/>
                  <a:gd name="connsiteY380" fmla="*/ 384355 h 1009251"/>
                  <a:gd name="connsiteX381" fmla="*/ 138227 w 1539290"/>
                  <a:gd name="connsiteY381" fmla="*/ 371234 h 1009251"/>
                  <a:gd name="connsiteX382" fmla="*/ 120428 w 1539290"/>
                  <a:gd name="connsiteY382" fmla="*/ 399350 h 1009251"/>
                  <a:gd name="connsiteX383" fmla="*/ 123248 w 1539290"/>
                  <a:gd name="connsiteY383" fmla="*/ 389979 h 1009251"/>
                  <a:gd name="connsiteX384" fmla="*/ 120428 w 1539290"/>
                  <a:gd name="connsiteY384" fmla="*/ 399350 h 1009251"/>
                  <a:gd name="connsiteX385" fmla="*/ 118555 w 1539290"/>
                  <a:gd name="connsiteY385" fmla="*/ 410596 h 1009251"/>
                  <a:gd name="connsiteX386" fmla="*/ 110118 w 1539290"/>
                  <a:gd name="connsiteY386" fmla="*/ 413409 h 1009251"/>
                  <a:gd name="connsiteX387" fmla="*/ 120428 w 1539290"/>
                  <a:gd name="connsiteY387" fmla="*/ 399350 h 1009251"/>
                  <a:gd name="connsiteX388" fmla="*/ 100734 w 1539290"/>
                  <a:gd name="connsiteY388" fmla="*/ 429343 h 1009251"/>
                  <a:gd name="connsiteX389" fmla="*/ 100734 w 1539290"/>
                  <a:gd name="connsiteY389" fmla="*/ 437778 h 1009251"/>
                  <a:gd name="connsiteX390" fmla="*/ 103553 w 1539290"/>
                  <a:gd name="connsiteY390" fmla="*/ 439652 h 1009251"/>
                  <a:gd name="connsiteX391" fmla="*/ 100734 w 1539290"/>
                  <a:gd name="connsiteY391" fmla="*/ 440588 h 1009251"/>
                  <a:gd name="connsiteX392" fmla="*/ 100734 w 1539290"/>
                  <a:gd name="connsiteY392" fmla="*/ 437778 h 1009251"/>
                  <a:gd name="connsiteX393" fmla="*/ 95116 w 1539290"/>
                  <a:gd name="connsiteY393" fmla="*/ 440588 h 1009251"/>
                  <a:gd name="connsiteX394" fmla="*/ 91372 w 1539290"/>
                  <a:gd name="connsiteY394" fmla="*/ 440588 h 1009251"/>
                  <a:gd name="connsiteX395" fmla="*/ 100734 w 1539290"/>
                  <a:gd name="connsiteY395" fmla="*/ 429343 h 1009251"/>
                  <a:gd name="connsiteX396" fmla="*/ 62315 w 1539290"/>
                  <a:gd name="connsiteY396" fmla="*/ 491200 h 1009251"/>
                  <a:gd name="connsiteX397" fmla="*/ 52952 w 1539290"/>
                  <a:gd name="connsiteY397" fmla="*/ 505257 h 1009251"/>
                  <a:gd name="connsiteX398" fmla="*/ 62315 w 1539290"/>
                  <a:gd name="connsiteY398" fmla="*/ 491200 h 1009251"/>
                  <a:gd name="connsiteX399" fmla="*/ 42643 w 1539290"/>
                  <a:gd name="connsiteY399" fmla="*/ 524940 h 1009251"/>
                  <a:gd name="connsiteX400" fmla="*/ 46388 w 1539290"/>
                  <a:gd name="connsiteY400" fmla="*/ 515567 h 1009251"/>
                  <a:gd name="connsiteX401" fmla="*/ 46388 w 1539290"/>
                  <a:gd name="connsiteY401" fmla="*/ 524002 h 1009251"/>
                  <a:gd name="connsiteX402" fmla="*/ 46388 w 1539290"/>
                  <a:gd name="connsiteY402" fmla="*/ 533375 h 1009251"/>
                  <a:gd name="connsiteX403" fmla="*/ 45440 w 1539290"/>
                  <a:gd name="connsiteY403" fmla="*/ 537125 h 1009251"/>
                  <a:gd name="connsiteX404" fmla="*/ 42643 w 1539290"/>
                  <a:gd name="connsiteY404" fmla="*/ 533375 h 1009251"/>
                  <a:gd name="connsiteX405" fmla="*/ 33259 w 1539290"/>
                  <a:gd name="connsiteY405" fmla="*/ 537125 h 1009251"/>
                  <a:gd name="connsiteX406" fmla="*/ 42643 w 1539290"/>
                  <a:gd name="connsiteY406" fmla="*/ 524940 h 1009251"/>
                  <a:gd name="connsiteX407" fmla="*/ 22949 w 1539290"/>
                  <a:gd name="connsiteY407" fmla="*/ 571801 h 1009251"/>
                  <a:gd name="connsiteX408" fmla="*/ 19204 w 1539290"/>
                  <a:gd name="connsiteY408" fmla="*/ 571801 h 1009251"/>
                  <a:gd name="connsiteX409" fmla="*/ 24822 w 1539290"/>
                  <a:gd name="connsiteY409" fmla="*/ 563366 h 1009251"/>
                  <a:gd name="connsiteX410" fmla="*/ 24822 w 1539290"/>
                  <a:gd name="connsiteY410" fmla="*/ 553056 h 1009251"/>
                  <a:gd name="connsiteX411" fmla="*/ 28588 w 1539290"/>
                  <a:gd name="connsiteY411" fmla="*/ 549309 h 1009251"/>
                  <a:gd name="connsiteX412" fmla="*/ 28588 w 1539290"/>
                  <a:gd name="connsiteY412" fmla="*/ 563366 h 1009251"/>
                  <a:gd name="connsiteX413" fmla="*/ 31386 w 1539290"/>
                  <a:gd name="connsiteY413" fmla="*/ 563366 h 1009251"/>
                  <a:gd name="connsiteX414" fmla="*/ 37003 w 1539290"/>
                  <a:gd name="connsiteY414" fmla="*/ 566179 h 1009251"/>
                  <a:gd name="connsiteX415" fmla="*/ 33259 w 1539290"/>
                  <a:gd name="connsiteY415" fmla="*/ 568990 h 1009251"/>
                  <a:gd name="connsiteX416" fmla="*/ 28588 w 1539290"/>
                  <a:gd name="connsiteY416" fmla="*/ 571803 h 1009251"/>
                  <a:gd name="connsiteX417" fmla="*/ 25769 w 1539290"/>
                  <a:gd name="connsiteY417" fmla="*/ 575550 h 1009251"/>
                  <a:gd name="connsiteX418" fmla="*/ 22949 w 1539290"/>
                  <a:gd name="connsiteY418" fmla="*/ 571803 h 1009251"/>
                  <a:gd name="connsiteX419" fmla="*/ 395991 w 1539290"/>
                  <a:gd name="connsiteY419" fmla="*/ 483129 h 1009251"/>
                  <a:gd name="connsiteX420" fmla="*/ 381914 w 1539290"/>
                  <a:gd name="connsiteY420" fmla="*/ 494011 h 1009251"/>
                  <a:gd name="connsiteX421" fmla="*/ 341623 w 1539290"/>
                  <a:gd name="connsiteY421" fmla="*/ 522127 h 1009251"/>
                  <a:gd name="connsiteX422" fmla="*/ 337856 w 1539290"/>
                  <a:gd name="connsiteY422" fmla="*/ 529626 h 1009251"/>
                  <a:gd name="connsiteX423" fmla="*/ 329440 w 1539290"/>
                  <a:gd name="connsiteY423" fmla="*/ 530562 h 1009251"/>
                  <a:gd name="connsiteX424" fmla="*/ 269455 w 1539290"/>
                  <a:gd name="connsiteY424" fmla="*/ 571801 h 1009251"/>
                  <a:gd name="connsiteX425" fmla="*/ 184159 w 1539290"/>
                  <a:gd name="connsiteY425" fmla="*/ 618664 h 1009251"/>
                  <a:gd name="connsiteX426" fmla="*/ 176668 w 1539290"/>
                  <a:gd name="connsiteY426" fmla="*/ 618664 h 1009251"/>
                  <a:gd name="connsiteX427" fmla="*/ 201033 w 1539290"/>
                  <a:gd name="connsiteY427" fmla="*/ 602730 h 1009251"/>
                  <a:gd name="connsiteX428" fmla="*/ 214140 w 1539290"/>
                  <a:gd name="connsiteY428" fmla="*/ 595231 h 1009251"/>
                  <a:gd name="connsiteX429" fmla="*/ 275998 w 1539290"/>
                  <a:gd name="connsiteY429" fmla="*/ 553056 h 1009251"/>
                  <a:gd name="connsiteX430" fmla="*/ 342548 w 1539290"/>
                  <a:gd name="connsiteY430" fmla="*/ 509943 h 1009251"/>
                  <a:gd name="connsiteX431" fmla="*/ 372551 w 1539290"/>
                  <a:gd name="connsiteY431" fmla="*/ 491198 h 1009251"/>
                  <a:gd name="connsiteX432" fmla="*/ 403260 w 1539290"/>
                  <a:gd name="connsiteY432" fmla="*/ 469788 h 1009251"/>
                  <a:gd name="connsiteX433" fmla="*/ 395991 w 1539290"/>
                  <a:gd name="connsiteY433" fmla="*/ 483129 h 1009251"/>
                  <a:gd name="connsiteX434" fmla="*/ 1137316 w 1539290"/>
                  <a:gd name="connsiteY434" fmla="*/ 433090 h 1009251"/>
                  <a:gd name="connsiteX435" fmla="*/ 1151370 w 1539290"/>
                  <a:gd name="connsiteY435" fmla="*/ 433090 h 1009251"/>
                  <a:gd name="connsiteX436" fmla="*/ 1136369 w 1539290"/>
                  <a:gd name="connsiteY436" fmla="*/ 436839 h 1009251"/>
                  <a:gd name="connsiteX437" fmla="*/ 1133549 w 1539290"/>
                  <a:gd name="connsiteY437" fmla="*/ 435903 h 1009251"/>
                  <a:gd name="connsiteX438" fmla="*/ 1137316 w 1539290"/>
                  <a:gd name="connsiteY438" fmla="*/ 433090 h 1009251"/>
                  <a:gd name="connsiteX439" fmla="*/ 1124187 w 1539290"/>
                  <a:gd name="connsiteY439" fmla="*/ 437778 h 1009251"/>
                  <a:gd name="connsiteX440" fmla="*/ 1125112 w 1539290"/>
                  <a:gd name="connsiteY440" fmla="*/ 439652 h 1009251"/>
                  <a:gd name="connsiteX441" fmla="*/ 1124187 w 1539290"/>
                  <a:gd name="connsiteY441" fmla="*/ 440588 h 1009251"/>
                  <a:gd name="connsiteX442" fmla="*/ 1112930 w 1539290"/>
                  <a:gd name="connsiteY442" fmla="*/ 440588 h 1009251"/>
                  <a:gd name="connsiteX443" fmla="*/ 1124187 w 1539290"/>
                  <a:gd name="connsiteY443" fmla="*/ 437778 h 1009251"/>
                  <a:gd name="connsiteX444" fmla="*/ 1000471 w 1539290"/>
                  <a:gd name="connsiteY444" fmla="*/ 464019 h 1009251"/>
                  <a:gd name="connsiteX445" fmla="*/ 1070766 w 1539290"/>
                  <a:gd name="connsiteY445" fmla="*/ 445274 h 1009251"/>
                  <a:gd name="connsiteX446" fmla="*/ 1092310 w 1539290"/>
                  <a:gd name="connsiteY446" fmla="*/ 444338 h 1009251"/>
                  <a:gd name="connsiteX447" fmla="*/ 1071691 w 1539290"/>
                  <a:gd name="connsiteY447" fmla="*/ 451836 h 1009251"/>
                  <a:gd name="connsiteX448" fmla="*/ 1047327 w 1539290"/>
                  <a:gd name="connsiteY448" fmla="*/ 458395 h 1009251"/>
                  <a:gd name="connsiteX449" fmla="*/ 1037018 w 1539290"/>
                  <a:gd name="connsiteY449" fmla="*/ 462144 h 1009251"/>
                  <a:gd name="connsiteX450" fmla="*/ 998598 w 1539290"/>
                  <a:gd name="connsiteY450" fmla="*/ 466832 h 1009251"/>
                  <a:gd name="connsiteX451" fmla="*/ 1000471 w 1539290"/>
                  <a:gd name="connsiteY451" fmla="*/ 464019 h 1009251"/>
                  <a:gd name="connsiteX452" fmla="*/ 981724 w 1539290"/>
                  <a:gd name="connsiteY452" fmla="*/ 466832 h 1009251"/>
                  <a:gd name="connsiteX453" fmla="*/ 997651 w 1539290"/>
                  <a:gd name="connsiteY453" fmla="*/ 466832 h 1009251"/>
                  <a:gd name="connsiteX454" fmla="*/ 989214 w 1539290"/>
                  <a:gd name="connsiteY454" fmla="*/ 470579 h 1009251"/>
                  <a:gd name="connsiteX455" fmla="*/ 978905 w 1539290"/>
                  <a:gd name="connsiteY455" fmla="*/ 470579 h 1009251"/>
                  <a:gd name="connsiteX456" fmla="*/ 981724 w 1539290"/>
                  <a:gd name="connsiteY456" fmla="*/ 466832 h 1009251"/>
                  <a:gd name="connsiteX457" fmla="*/ 962052 w 1539290"/>
                  <a:gd name="connsiteY457" fmla="*/ 471517 h 1009251"/>
                  <a:gd name="connsiteX458" fmla="*/ 976107 w 1539290"/>
                  <a:gd name="connsiteY458" fmla="*/ 471517 h 1009251"/>
                  <a:gd name="connsiteX459" fmla="*/ 973287 w 1539290"/>
                  <a:gd name="connsiteY459" fmla="*/ 474328 h 1009251"/>
                  <a:gd name="connsiteX460" fmla="*/ 954540 w 1539290"/>
                  <a:gd name="connsiteY460" fmla="*/ 474328 h 1009251"/>
                  <a:gd name="connsiteX461" fmla="*/ 962052 w 1539290"/>
                  <a:gd name="connsiteY461" fmla="*/ 471517 h 1009251"/>
                  <a:gd name="connsiteX462" fmla="*/ 939560 w 1539290"/>
                  <a:gd name="connsiteY462" fmla="*/ 476203 h 1009251"/>
                  <a:gd name="connsiteX463" fmla="*/ 952668 w 1539290"/>
                  <a:gd name="connsiteY463" fmla="*/ 476203 h 1009251"/>
                  <a:gd name="connsiteX464" fmla="*/ 939560 w 1539290"/>
                  <a:gd name="connsiteY464" fmla="*/ 479952 h 1009251"/>
                  <a:gd name="connsiteX465" fmla="*/ 936741 w 1539290"/>
                  <a:gd name="connsiteY465" fmla="*/ 479016 h 1009251"/>
                  <a:gd name="connsiteX466" fmla="*/ 939560 w 1539290"/>
                  <a:gd name="connsiteY466" fmla="*/ 476203 h 1009251"/>
                  <a:gd name="connsiteX467" fmla="*/ 887065 w 1539290"/>
                  <a:gd name="connsiteY467" fmla="*/ 487451 h 1009251"/>
                  <a:gd name="connsiteX468" fmla="*/ 891757 w 1539290"/>
                  <a:gd name="connsiteY468" fmla="*/ 486513 h 1009251"/>
                  <a:gd name="connsiteX469" fmla="*/ 920813 w 1539290"/>
                  <a:gd name="connsiteY469" fmla="*/ 482763 h 1009251"/>
                  <a:gd name="connsiteX470" fmla="*/ 926431 w 1539290"/>
                  <a:gd name="connsiteY470" fmla="*/ 482763 h 1009251"/>
                  <a:gd name="connsiteX471" fmla="*/ 923611 w 1539290"/>
                  <a:gd name="connsiteY471" fmla="*/ 485576 h 1009251"/>
                  <a:gd name="connsiteX472" fmla="*/ 919866 w 1539290"/>
                  <a:gd name="connsiteY472" fmla="*/ 485576 h 1009251"/>
                  <a:gd name="connsiteX473" fmla="*/ 889884 w 1539290"/>
                  <a:gd name="connsiteY473" fmla="*/ 491198 h 1009251"/>
                  <a:gd name="connsiteX474" fmla="*/ 887065 w 1539290"/>
                  <a:gd name="connsiteY474" fmla="*/ 490262 h 1009251"/>
                  <a:gd name="connsiteX475" fmla="*/ 887065 w 1539290"/>
                  <a:gd name="connsiteY475" fmla="*/ 487451 h 1009251"/>
                  <a:gd name="connsiteX476" fmla="*/ 874883 w 1539290"/>
                  <a:gd name="connsiteY476" fmla="*/ 490262 h 1009251"/>
                  <a:gd name="connsiteX477" fmla="*/ 878628 w 1539290"/>
                  <a:gd name="connsiteY477" fmla="*/ 490262 h 1009251"/>
                  <a:gd name="connsiteX478" fmla="*/ 881447 w 1539290"/>
                  <a:gd name="connsiteY478" fmla="*/ 494009 h 1009251"/>
                  <a:gd name="connsiteX479" fmla="*/ 875808 w 1539290"/>
                  <a:gd name="connsiteY479" fmla="*/ 495886 h 1009251"/>
                  <a:gd name="connsiteX480" fmla="*/ 874883 w 1539290"/>
                  <a:gd name="connsiteY480" fmla="*/ 495886 h 1009251"/>
                  <a:gd name="connsiteX481" fmla="*/ 869265 w 1539290"/>
                  <a:gd name="connsiteY481" fmla="*/ 494009 h 1009251"/>
                  <a:gd name="connsiteX482" fmla="*/ 874883 w 1539290"/>
                  <a:gd name="connsiteY482" fmla="*/ 490262 h 1009251"/>
                  <a:gd name="connsiteX483" fmla="*/ 664967 w 1539290"/>
                  <a:gd name="connsiteY483" fmla="*/ 517442 h 1009251"/>
                  <a:gd name="connsiteX484" fmla="*/ 639655 w 1539290"/>
                  <a:gd name="connsiteY484" fmla="*/ 525877 h 1009251"/>
                  <a:gd name="connsiteX485" fmla="*/ 649018 w 1539290"/>
                  <a:gd name="connsiteY485" fmla="*/ 518380 h 1009251"/>
                  <a:gd name="connsiteX486" fmla="*/ 708078 w 1539290"/>
                  <a:gd name="connsiteY486" fmla="*/ 483702 h 1009251"/>
                  <a:gd name="connsiteX487" fmla="*/ 748369 w 1539290"/>
                  <a:gd name="connsiteY487" fmla="*/ 466832 h 1009251"/>
                  <a:gd name="connsiteX488" fmla="*/ 741805 w 1539290"/>
                  <a:gd name="connsiteY488" fmla="*/ 473392 h 1009251"/>
                  <a:gd name="connsiteX489" fmla="*/ 664967 w 1539290"/>
                  <a:gd name="connsiteY489" fmla="*/ 517442 h 1009251"/>
                  <a:gd name="connsiteX490" fmla="*/ 693252 w 1539290"/>
                  <a:gd name="connsiteY490" fmla="*/ 510278 h 1009251"/>
                  <a:gd name="connsiteX491" fmla="*/ 705258 w 1539290"/>
                  <a:gd name="connsiteY491" fmla="*/ 503383 h 1009251"/>
                  <a:gd name="connsiteX492" fmla="*/ 715568 w 1539290"/>
                  <a:gd name="connsiteY492" fmla="*/ 498697 h 1009251"/>
                  <a:gd name="connsiteX493" fmla="*/ 730570 w 1539290"/>
                  <a:gd name="connsiteY493" fmla="*/ 487451 h 1009251"/>
                  <a:gd name="connsiteX494" fmla="*/ 738059 w 1539290"/>
                  <a:gd name="connsiteY494" fmla="*/ 485576 h 1009251"/>
                  <a:gd name="connsiteX495" fmla="*/ 749317 w 1539290"/>
                  <a:gd name="connsiteY495" fmla="*/ 479952 h 1009251"/>
                  <a:gd name="connsiteX496" fmla="*/ 749317 w 1539290"/>
                  <a:gd name="connsiteY496" fmla="*/ 485576 h 1009251"/>
                  <a:gd name="connsiteX497" fmla="*/ 754361 w 1539290"/>
                  <a:gd name="connsiteY497" fmla="*/ 481598 h 1009251"/>
                  <a:gd name="connsiteX498" fmla="*/ 752114 w 1539290"/>
                  <a:gd name="connsiteY498" fmla="*/ 485576 h 1009251"/>
                  <a:gd name="connsiteX499" fmla="*/ 738985 w 1539290"/>
                  <a:gd name="connsiteY499" fmla="*/ 505257 h 1009251"/>
                  <a:gd name="connsiteX500" fmla="*/ 736165 w 1539290"/>
                  <a:gd name="connsiteY500" fmla="*/ 506196 h 1009251"/>
                  <a:gd name="connsiteX501" fmla="*/ 711801 w 1539290"/>
                  <a:gd name="connsiteY501" fmla="*/ 509945 h 1009251"/>
                  <a:gd name="connsiteX502" fmla="*/ 693252 w 1539290"/>
                  <a:gd name="connsiteY502" fmla="*/ 510278 h 1009251"/>
                  <a:gd name="connsiteX503" fmla="*/ 723983 w 1539290"/>
                  <a:gd name="connsiteY503" fmla="*/ 595231 h 1009251"/>
                  <a:gd name="connsiteX504" fmla="*/ 718366 w 1539290"/>
                  <a:gd name="connsiteY504" fmla="*/ 605541 h 1009251"/>
                  <a:gd name="connsiteX505" fmla="*/ 723983 w 1539290"/>
                  <a:gd name="connsiteY505" fmla="*/ 595231 h 1009251"/>
                  <a:gd name="connsiteX506" fmla="*/ 708981 w 1539290"/>
                  <a:gd name="connsiteY506" fmla="*/ 595231 h 1009251"/>
                  <a:gd name="connsiteX507" fmla="*/ 705236 w 1539290"/>
                  <a:gd name="connsiteY507" fmla="*/ 605541 h 1009251"/>
                  <a:gd name="connsiteX508" fmla="*/ 708981 w 1539290"/>
                  <a:gd name="connsiteY508" fmla="*/ 595231 h 1009251"/>
                  <a:gd name="connsiteX509" fmla="*/ 694926 w 1539290"/>
                  <a:gd name="connsiteY509" fmla="*/ 621474 h 1009251"/>
                  <a:gd name="connsiteX510" fmla="*/ 678999 w 1539290"/>
                  <a:gd name="connsiteY510" fmla="*/ 643032 h 1009251"/>
                  <a:gd name="connsiteX511" fmla="*/ 694926 w 1539290"/>
                  <a:gd name="connsiteY511" fmla="*/ 621474 h 1009251"/>
                  <a:gd name="connsiteX512" fmla="*/ 685564 w 1539290"/>
                  <a:gd name="connsiteY512" fmla="*/ 662713 h 1009251"/>
                  <a:gd name="connsiteX513" fmla="*/ 707109 w 1539290"/>
                  <a:gd name="connsiteY513" fmla="*/ 625224 h 1009251"/>
                  <a:gd name="connsiteX514" fmla="*/ 708981 w 1539290"/>
                  <a:gd name="connsiteY514" fmla="*/ 624287 h 1009251"/>
                  <a:gd name="connsiteX515" fmla="*/ 713673 w 1539290"/>
                  <a:gd name="connsiteY515" fmla="*/ 610228 h 1009251"/>
                  <a:gd name="connsiteX516" fmla="*/ 708981 w 1539290"/>
                  <a:gd name="connsiteY516" fmla="*/ 624287 h 1009251"/>
                  <a:gd name="connsiteX517" fmla="*/ 705236 w 1539290"/>
                  <a:gd name="connsiteY517" fmla="*/ 637408 h 1009251"/>
                  <a:gd name="connsiteX518" fmla="*/ 694001 w 1539290"/>
                  <a:gd name="connsiteY518" fmla="*/ 658964 h 1009251"/>
                  <a:gd name="connsiteX519" fmla="*/ 685564 w 1539290"/>
                  <a:gd name="connsiteY519" fmla="*/ 662713 h 1009251"/>
                  <a:gd name="connsiteX520" fmla="*/ 687436 w 1539290"/>
                  <a:gd name="connsiteY520" fmla="*/ 672086 h 1009251"/>
                  <a:gd name="connsiteX521" fmla="*/ 668690 w 1539290"/>
                  <a:gd name="connsiteY521" fmla="*/ 706763 h 1009251"/>
                  <a:gd name="connsiteX522" fmla="*/ 661200 w 1539290"/>
                  <a:gd name="connsiteY522" fmla="*/ 710512 h 1009251"/>
                  <a:gd name="connsiteX523" fmla="*/ 656508 w 1539290"/>
                  <a:gd name="connsiteY523" fmla="*/ 721760 h 1009251"/>
                  <a:gd name="connsiteX524" fmla="*/ 661200 w 1539290"/>
                  <a:gd name="connsiteY524" fmla="*/ 710512 h 1009251"/>
                  <a:gd name="connsiteX525" fmla="*/ 661200 w 1539290"/>
                  <a:gd name="connsiteY525" fmla="*/ 704890 h 1009251"/>
                  <a:gd name="connsiteX526" fmla="*/ 678052 w 1539290"/>
                  <a:gd name="connsiteY526" fmla="*/ 670212 h 1009251"/>
                  <a:gd name="connsiteX527" fmla="*/ 685564 w 1539290"/>
                  <a:gd name="connsiteY527" fmla="*/ 662713 h 1009251"/>
                  <a:gd name="connsiteX528" fmla="*/ 634941 w 1539290"/>
                  <a:gd name="connsiteY528" fmla="*/ 724571 h 1009251"/>
                  <a:gd name="connsiteX529" fmla="*/ 667743 w 1539290"/>
                  <a:gd name="connsiteY529" fmla="*/ 668337 h 1009251"/>
                  <a:gd name="connsiteX530" fmla="*/ 670562 w 1539290"/>
                  <a:gd name="connsiteY530" fmla="*/ 663651 h 1009251"/>
                  <a:gd name="connsiteX531" fmla="*/ 668690 w 1539290"/>
                  <a:gd name="connsiteY531" fmla="*/ 675836 h 1009251"/>
                  <a:gd name="connsiteX532" fmla="*/ 636813 w 1539290"/>
                  <a:gd name="connsiteY532" fmla="*/ 737691 h 1009251"/>
                  <a:gd name="connsiteX533" fmla="*/ 633069 w 1539290"/>
                  <a:gd name="connsiteY533" fmla="*/ 740502 h 1009251"/>
                  <a:gd name="connsiteX534" fmla="*/ 634941 w 1539290"/>
                  <a:gd name="connsiteY534" fmla="*/ 724571 h 1009251"/>
                  <a:gd name="connsiteX535" fmla="*/ 569338 w 1539290"/>
                  <a:gd name="connsiteY535" fmla="*/ 912962 h 1009251"/>
                  <a:gd name="connsiteX536" fmla="*/ 572158 w 1539290"/>
                  <a:gd name="connsiteY536" fmla="*/ 898908 h 1009251"/>
                  <a:gd name="connsiteX537" fmla="*/ 574031 w 1539290"/>
                  <a:gd name="connsiteY537" fmla="*/ 882958 h 1009251"/>
                  <a:gd name="connsiteX538" fmla="*/ 566540 w 1539290"/>
                  <a:gd name="connsiteY538" fmla="*/ 897960 h 1009251"/>
                  <a:gd name="connsiteX539" fmla="*/ 559976 w 1539290"/>
                  <a:gd name="connsiteY539" fmla="*/ 901705 h 1009251"/>
                  <a:gd name="connsiteX540" fmla="*/ 559976 w 1539290"/>
                  <a:gd name="connsiteY540" fmla="*/ 894215 h 1009251"/>
                  <a:gd name="connsiteX541" fmla="*/ 574031 w 1539290"/>
                  <a:gd name="connsiteY541" fmla="*/ 866084 h 1009251"/>
                  <a:gd name="connsiteX542" fmla="*/ 574031 w 1539290"/>
                  <a:gd name="connsiteY542" fmla="*/ 882958 h 1009251"/>
                  <a:gd name="connsiteX543" fmla="*/ 589958 w 1539290"/>
                  <a:gd name="connsiteY543" fmla="*/ 854849 h 1009251"/>
                  <a:gd name="connsiteX544" fmla="*/ 592777 w 1539290"/>
                  <a:gd name="connsiteY544" fmla="*/ 842663 h 1009251"/>
                  <a:gd name="connsiteX545" fmla="*/ 593702 w 1539290"/>
                  <a:gd name="connsiteY545" fmla="*/ 835164 h 1009251"/>
                  <a:gd name="connsiteX546" fmla="*/ 618089 w 1539290"/>
                  <a:gd name="connsiteY546" fmla="*/ 792051 h 1009251"/>
                  <a:gd name="connsiteX547" fmla="*/ 618089 w 1539290"/>
                  <a:gd name="connsiteY547" fmla="*/ 782679 h 1009251"/>
                  <a:gd name="connsiteX548" fmla="*/ 615269 w 1539290"/>
                  <a:gd name="connsiteY548" fmla="*/ 786429 h 1009251"/>
                  <a:gd name="connsiteX549" fmla="*/ 598395 w 1539290"/>
                  <a:gd name="connsiteY549" fmla="*/ 818294 h 1009251"/>
                  <a:gd name="connsiteX550" fmla="*/ 592777 w 1539290"/>
                  <a:gd name="connsiteY550" fmla="*/ 835164 h 1009251"/>
                  <a:gd name="connsiteX551" fmla="*/ 587160 w 1539290"/>
                  <a:gd name="connsiteY551" fmla="*/ 842663 h 1009251"/>
                  <a:gd name="connsiteX552" fmla="*/ 584340 w 1539290"/>
                  <a:gd name="connsiteY552" fmla="*/ 845474 h 1009251"/>
                  <a:gd name="connsiteX553" fmla="*/ 574031 w 1539290"/>
                  <a:gd name="connsiteY553" fmla="*/ 863286 h 1009251"/>
                  <a:gd name="connsiteX554" fmla="*/ 584340 w 1539290"/>
                  <a:gd name="connsiteY554" fmla="*/ 845474 h 1009251"/>
                  <a:gd name="connsiteX555" fmla="*/ 586212 w 1539290"/>
                  <a:gd name="connsiteY555" fmla="*/ 832353 h 1009251"/>
                  <a:gd name="connsiteX556" fmla="*/ 628398 w 1539290"/>
                  <a:gd name="connsiteY556" fmla="*/ 743316 h 1009251"/>
                  <a:gd name="connsiteX557" fmla="*/ 632144 w 1539290"/>
                  <a:gd name="connsiteY557" fmla="*/ 740502 h 1009251"/>
                  <a:gd name="connsiteX558" fmla="*/ 628398 w 1539290"/>
                  <a:gd name="connsiteY558" fmla="*/ 756436 h 1009251"/>
                  <a:gd name="connsiteX559" fmla="*/ 622759 w 1539290"/>
                  <a:gd name="connsiteY559" fmla="*/ 774245 h 1009251"/>
                  <a:gd name="connsiteX560" fmla="*/ 633069 w 1539290"/>
                  <a:gd name="connsiteY560" fmla="*/ 762060 h 1009251"/>
                  <a:gd name="connsiteX561" fmla="*/ 641506 w 1539290"/>
                  <a:gd name="connsiteY561" fmla="*/ 749876 h 1009251"/>
                  <a:gd name="connsiteX562" fmla="*/ 651815 w 1539290"/>
                  <a:gd name="connsiteY562" fmla="*/ 731131 h 1009251"/>
                  <a:gd name="connsiteX563" fmla="*/ 641506 w 1539290"/>
                  <a:gd name="connsiteY563" fmla="*/ 749876 h 1009251"/>
                  <a:gd name="connsiteX564" fmla="*/ 639633 w 1539290"/>
                  <a:gd name="connsiteY564" fmla="*/ 768620 h 1009251"/>
                  <a:gd name="connsiteX565" fmla="*/ 632144 w 1539290"/>
                  <a:gd name="connsiteY565" fmla="*/ 782679 h 1009251"/>
                  <a:gd name="connsiteX566" fmla="*/ 624632 w 1539290"/>
                  <a:gd name="connsiteY566" fmla="*/ 794864 h 1009251"/>
                  <a:gd name="connsiteX567" fmla="*/ 618089 w 1539290"/>
                  <a:gd name="connsiteY567" fmla="*/ 807048 h 1009251"/>
                  <a:gd name="connsiteX568" fmla="*/ 603087 w 1539290"/>
                  <a:gd name="connsiteY568" fmla="*/ 840788 h 1009251"/>
                  <a:gd name="connsiteX569" fmla="*/ 574031 w 1539290"/>
                  <a:gd name="connsiteY569" fmla="*/ 906398 h 1009251"/>
                  <a:gd name="connsiteX570" fmla="*/ 569338 w 1539290"/>
                  <a:gd name="connsiteY570" fmla="*/ 912962 h 1009251"/>
                  <a:gd name="connsiteX571" fmla="*/ 867393 w 1539290"/>
                  <a:gd name="connsiteY571" fmla="*/ 677708 h 1009251"/>
                  <a:gd name="connsiteX572" fmla="*/ 886118 w 1539290"/>
                  <a:gd name="connsiteY572" fmla="*/ 658964 h 1009251"/>
                  <a:gd name="connsiteX573" fmla="*/ 886118 w 1539290"/>
                  <a:gd name="connsiteY573" fmla="*/ 662713 h 1009251"/>
                  <a:gd name="connsiteX574" fmla="*/ 840209 w 1539290"/>
                  <a:gd name="connsiteY574" fmla="*/ 744252 h 1009251"/>
                  <a:gd name="connsiteX575" fmla="*/ 789585 w 1539290"/>
                  <a:gd name="connsiteY575" fmla="*/ 815483 h 1009251"/>
                  <a:gd name="connsiteX576" fmla="*/ 783043 w 1539290"/>
                  <a:gd name="connsiteY576" fmla="*/ 821107 h 1009251"/>
                  <a:gd name="connsiteX577" fmla="*/ 736165 w 1539290"/>
                  <a:gd name="connsiteY577" fmla="*/ 869851 h 1009251"/>
                  <a:gd name="connsiteX578" fmla="*/ 685564 w 1539290"/>
                  <a:gd name="connsiteY578" fmla="*/ 919505 h 1009251"/>
                  <a:gd name="connsiteX579" fmla="*/ 678999 w 1539290"/>
                  <a:gd name="connsiteY579" fmla="*/ 920452 h 1009251"/>
                  <a:gd name="connsiteX580" fmla="*/ 678052 w 1539290"/>
                  <a:gd name="connsiteY580" fmla="*/ 920452 h 1009251"/>
                  <a:gd name="connsiteX581" fmla="*/ 678052 w 1539290"/>
                  <a:gd name="connsiteY581" fmla="*/ 919505 h 1009251"/>
                  <a:gd name="connsiteX582" fmla="*/ 690234 w 1539290"/>
                  <a:gd name="connsiteY582" fmla="*/ 906398 h 1009251"/>
                  <a:gd name="connsiteX583" fmla="*/ 698671 w 1539290"/>
                  <a:gd name="connsiteY583" fmla="*/ 891396 h 1009251"/>
                  <a:gd name="connsiteX584" fmla="*/ 702438 w 1539290"/>
                  <a:gd name="connsiteY584" fmla="*/ 886703 h 1009251"/>
                  <a:gd name="connsiteX585" fmla="*/ 718366 w 1539290"/>
                  <a:gd name="connsiteY585" fmla="*/ 866084 h 1009251"/>
                  <a:gd name="connsiteX586" fmla="*/ 736165 w 1539290"/>
                  <a:gd name="connsiteY586" fmla="*/ 842663 h 1009251"/>
                  <a:gd name="connsiteX587" fmla="*/ 741805 w 1539290"/>
                  <a:gd name="connsiteY587" fmla="*/ 835164 h 1009251"/>
                  <a:gd name="connsiteX588" fmla="*/ 771786 w 1539290"/>
                  <a:gd name="connsiteY588" fmla="*/ 801424 h 1009251"/>
                  <a:gd name="connsiteX589" fmla="*/ 774606 w 1539290"/>
                  <a:gd name="connsiteY589" fmla="*/ 793925 h 1009251"/>
                  <a:gd name="connsiteX590" fmla="*/ 787713 w 1539290"/>
                  <a:gd name="connsiteY590" fmla="*/ 775181 h 1009251"/>
                  <a:gd name="connsiteX591" fmla="*/ 797097 w 1539290"/>
                  <a:gd name="connsiteY591" fmla="*/ 762060 h 1009251"/>
                  <a:gd name="connsiteX592" fmla="*/ 806460 w 1539290"/>
                  <a:gd name="connsiteY592" fmla="*/ 748001 h 1009251"/>
                  <a:gd name="connsiteX593" fmla="*/ 821462 w 1539290"/>
                  <a:gd name="connsiteY593" fmla="*/ 737691 h 1009251"/>
                  <a:gd name="connsiteX594" fmla="*/ 817717 w 1539290"/>
                  <a:gd name="connsiteY594" fmla="*/ 729256 h 1009251"/>
                  <a:gd name="connsiteX595" fmla="*/ 828952 w 1539290"/>
                  <a:gd name="connsiteY595" fmla="*/ 720822 h 1009251"/>
                  <a:gd name="connsiteX596" fmla="*/ 840209 w 1539290"/>
                  <a:gd name="connsiteY596" fmla="*/ 706763 h 1009251"/>
                  <a:gd name="connsiteX597" fmla="*/ 843007 w 1539290"/>
                  <a:gd name="connsiteY597" fmla="*/ 696453 h 1009251"/>
                  <a:gd name="connsiteX598" fmla="*/ 852391 w 1539290"/>
                  <a:gd name="connsiteY598" fmla="*/ 683332 h 1009251"/>
                  <a:gd name="connsiteX599" fmla="*/ 852391 w 1539290"/>
                  <a:gd name="connsiteY599" fmla="*/ 688018 h 1009251"/>
                  <a:gd name="connsiteX600" fmla="*/ 855210 w 1539290"/>
                  <a:gd name="connsiteY600" fmla="*/ 689893 h 1009251"/>
                  <a:gd name="connsiteX601" fmla="*/ 858956 w 1539290"/>
                  <a:gd name="connsiteY601" fmla="*/ 688018 h 1009251"/>
                  <a:gd name="connsiteX602" fmla="*/ 858956 w 1539290"/>
                  <a:gd name="connsiteY602" fmla="*/ 683332 h 1009251"/>
                  <a:gd name="connsiteX603" fmla="*/ 855210 w 1539290"/>
                  <a:gd name="connsiteY603" fmla="*/ 681458 h 1009251"/>
                  <a:gd name="connsiteX604" fmla="*/ 856136 w 1539290"/>
                  <a:gd name="connsiteY604" fmla="*/ 678645 h 1009251"/>
                  <a:gd name="connsiteX605" fmla="*/ 858956 w 1539290"/>
                  <a:gd name="connsiteY605" fmla="*/ 683332 h 1009251"/>
                  <a:gd name="connsiteX606" fmla="*/ 867393 w 1539290"/>
                  <a:gd name="connsiteY606" fmla="*/ 677708 h 1009251"/>
                  <a:gd name="connsiteX607" fmla="*/ 859881 w 1539290"/>
                  <a:gd name="connsiteY607" fmla="*/ 607415 h 1009251"/>
                  <a:gd name="connsiteX608" fmla="*/ 859881 w 1539290"/>
                  <a:gd name="connsiteY608" fmla="*/ 636472 h 1009251"/>
                  <a:gd name="connsiteX609" fmla="*/ 852391 w 1539290"/>
                  <a:gd name="connsiteY609" fmla="*/ 651467 h 1009251"/>
                  <a:gd name="connsiteX610" fmla="*/ 828952 w 1539290"/>
                  <a:gd name="connsiteY610" fmla="*/ 694578 h 1009251"/>
                  <a:gd name="connsiteX611" fmla="*/ 804587 w 1539290"/>
                  <a:gd name="connsiteY611" fmla="*/ 731131 h 1009251"/>
                  <a:gd name="connsiteX612" fmla="*/ 797097 w 1539290"/>
                  <a:gd name="connsiteY612" fmla="*/ 741441 h 1009251"/>
                  <a:gd name="connsiteX613" fmla="*/ 787713 w 1539290"/>
                  <a:gd name="connsiteY613" fmla="*/ 756436 h 1009251"/>
                  <a:gd name="connsiteX614" fmla="*/ 780223 w 1539290"/>
                  <a:gd name="connsiteY614" fmla="*/ 762996 h 1009251"/>
                  <a:gd name="connsiteX615" fmla="*/ 770839 w 1539290"/>
                  <a:gd name="connsiteY615" fmla="*/ 781743 h 1009251"/>
                  <a:gd name="connsiteX616" fmla="*/ 756784 w 1539290"/>
                  <a:gd name="connsiteY616" fmla="*/ 798613 h 1009251"/>
                  <a:gd name="connsiteX617" fmla="*/ 705236 w 1539290"/>
                  <a:gd name="connsiteY617" fmla="*/ 863286 h 1009251"/>
                  <a:gd name="connsiteX618" fmla="*/ 629323 w 1539290"/>
                  <a:gd name="connsiteY618" fmla="*/ 941071 h 1009251"/>
                  <a:gd name="connsiteX619" fmla="*/ 586212 w 1539290"/>
                  <a:gd name="connsiteY619" fmla="*/ 964510 h 1009251"/>
                  <a:gd name="connsiteX620" fmla="*/ 582468 w 1539290"/>
                  <a:gd name="connsiteY620" fmla="*/ 964510 h 1009251"/>
                  <a:gd name="connsiteX621" fmla="*/ 582468 w 1539290"/>
                  <a:gd name="connsiteY621" fmla="*/ 960743 h 1009251"/>
                  <a:gd name="connsiteX622" fmla="*/ 590905 w 1539290"/>
                  <a:gd name="connsiteY622" fmla="*/ 925144 h 1009251"/>
                  <a:gd name="connsiteX623" fmla="*/ 622759 w 1539290"/>
                  <a:gd name="connsiteY623" fmla="*/ 839852 h 1009251"/>
                  <a:gd name="connsiteX624" fmla="*/ 628398 w 1539290"/>
                  <a:gd name="connsiteY624" fmla="*/ 827667 h 1009251"/>
                  <a:gd name="connsiteX625" fmla="*/ 628398 w 1539290"/>
                  <a:gd name="connsiteY625" fmla="*/ 816419 h 1009251"/>
                  <a:gd name="connsiteX626" fmla="*/ 639633 w 1539290"/>
                  <a:gd name="connsiteY626" fmla="*/ 796738 h 1009251"/>
                  <a:gd name="connsiteX627" fmla="*/ 641506 w 1539290"/>
                  <a:gd name="connsiteY627" fmla="*/ 792051 h 1009251"/>
                  <a:gd name="connsiteX628" fmla="*/ 638686 w 1539290"/>
                  <a:gd name="connsiteY628" fmla="*/ 790178 h 1009251"/>
                  <a:gd name="connsiteX629" fmla="*/ 641506 w 1539290"/>
                  <a:gd name="connsiteY629" fmla="*/ 789240 h 1009251"/>
                  <a:gd name="connsiteX630" fmla="*/ 655560 w 1539290"/>
                  <a:gd name="connsiteY630" fmla="*/ 772370 h 1009251"/>
                  <a:gd name="connsiteX631" fmla="*/ 690234 w 1539290"/>
                  <a:gd name="connsiteY631" fmla="*/ 704888 h 1009251"/>
                  <a:gd name="connsiteX632" fmla="*/ 713673 w 1539290"/>
                  <a:gd name="connsiteY632" fmla="*/ 660838 h 1009251"/>
                  <a:gd name="connsiteX633" fmla="*/ 718366 w 1539290"/>
                  <a:gd name="connsiteY633" fmla="*/ 643968 h 1009251"/>
                  <a:gd name="connsiteX634" fmla="*/ 724930 w 1539290"/>
                  <a:gd name="connsiteY634" fmla="*/ 636472 h 1009251"/>
                  <a:gd name="connsiteX635" fmla="*/ 763349 w 1539290"/>
                  <a:gd name="connsiteY635" fmla="*/ 568990 h 1009251"/>
                  <a:gd name="connsiteX636" fmla="*/ 774606 w 1539290"/>
                  <a:gd name="connsiteY636" fmla="*/ 559616 h 1009251"/>
                  <a:gd name="connsiteX637" fmla="*/ 790533 w 1539290"/>
                  <a:gd name="connsiteY637" fmla="*/ 555867 h 1009251"/>
                  <a:gd name="connsiteX638" fmla="*/ 828027 w 1539290"/>
                  <a:gd name="connsiteY638" fmla="*/ 564304 h 1009251"/>
                  <a:gd name="connsiteX639" fmla="*/ 859881 w 1539290"/>
                  <a:gd name="connsiteY639" fmla="*/ 607415 h 1009251"/>
                  <a:gd name="connsiteX640" fmla="*/ 858956 w 1539290"/>
                  <a:gd name="connsiteY640" fmla="*/ 498697 h 1009251"/>
                  <a:gd name="connsiteX641" fmla="*/ 843954 w 1539290"/>
                  <a:gd name="connsiteY641" fmla="*/ 500572 h 1009251"/>
                  <a:gd name="connsiteX642" fmla="*/ 858956 w 1539290"/>
                  <a:gd name="connsiteY642" fmla="*/ 495886 h 1009251"/>
                  <a:gd name="connsiteX643" fmla="*/ 859881 w 1539290"/>
                  <a:gd name="connsiteY643" fmla="*/ 497759 h 1009251"/>
                  <a:gd name="connsiteX644" fmla="*/ 858956 w 1539290"/>
                  <a:gd name="connsiteY644" fmla="*/ 498697 h 1009251"/>
                  <a:gd name="connsiteX645" fmla="*/ 1063276 w 1539290"/>
                  <a:gd name="connsiteY645" fmla="*/ 479016 h 1009251"/>
                  <a:gd name="connsiteX646" fmla="*/ 969542 w 1539290"/>
                  <a:gd name="connsiteY646" fmla="*/ 500572 h 1009251"/>
                  <a:gd name="connsiteX647" fmla="*/ 898321 w 1539290"/>
                  <a:gd name="connsiteY647" fmla="*/ 509943 h 1009251"/>
                  <a:gd name="connsiteX648" fmla="*/ 860828 w 1539290"/>
                  <a:gd name="connsiteY648" fmla="*/ 517442 h 1009251"/>
                  <a:gd name="connsiteX649" fmla="*/ 859881 w 1539290"/>
                  <a:gd name="connsiteY649" fmla="*/ 513692 h 1009251"/>
                  <a:gd name="connsiteX650" fmla="*/ 859881 w 1539290"/>
                  <a:gd name="connsiteY650" fmla="*/ 512756 h 1009251"/>
                  <a:gd name="connsiteX651" fmla="*/ 902067 w 1539290"/>
                  <a:gd name="connsiteY651" fmla="*/ 500572 h 1009251"/>
                  <a:gd name="connsiteX652" fmla="*/ 916121 w 1539290"/>
                  <a:gd name="connsiteY652" fmla="*/ 497759 h 1009251"/>
                  <a:gd name="connsiteX653" fmla="*/ 966722 w 1539290"/>
                  <a:gd name="connsiteY653" fmla="*/ 482763 h 1009251"/>
                  <a:gd name="connsiteX654" fmla="*/ 1039837 w 1539290"/>
                  <a:gd name="connsiteY654" fmla="*/ 466832 h 1009251"/>
                  <a:gd name="connsiteX655" fmla="*/ 1070766 w 1539290"/>
                  <a:gd name="connsiteY655" fmla="*/ 462144 h 1009251"/>
                  <a:gd name="connsiteX656" fmla="*/ 1124187 w 1539290"/>
                  <a:gd name="connsiteY656" fmla="*/ 449960 h 1009251"/>
                  <a:gd name="connsiteX657" fmla="*/ 1140532 w 1539290"/>
                  <a:gd name="connsiteY657" fmla="*/ 445618 h 1009251"/>
                  <a:gd name="connsiteX658" fmla="*/ 1127095 w 1539290"/>
                  <a:gd name="connsiteY658" fmla="*/ 460181 h 1009251"/>
                  <a:gd name="connsiteX659" fmla="*/ 1063276 w 1539290"/>
                  <a:gd name="connsiteY659" fmla="*/ 479014 h 10092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</a:cxnLst>
                <a:rect l="l" t="t" r="r" b="b"/>
                <a:pathLst>
                  <a:path w="1539290" h="1009251">
                    <a:moveTo>
                      <a:pt x="1531858" y="452773"/>
                    </a:moveTo>
                    <a:cubicBezTo>
                      <a:pt x="1529061" y="451836"/>
                      <a:pt x="1526241" y="449962"/>
                      <a:pt x="1523421" y="447149"/>
                    </a:cubicBezTo>
                    <a:cubicBezTo>
                      <a:pt x="1515931" y="436839"/>
                      <a:pt x="1508441" y="435903"/>
                      <a:pt x="1496237" y="439652"/>
                    </a:cubicBezTo>
                    <a:cubicBezTo>
                      <a:pt x="1489694" y="444338"/>
                      <a:pt x="1480310" y="449024"/>
                      <a:pt x="1472820" y="451836"/>
                    </a:cubicBezTo>
                    <a:cubicBezTo>
                      <a:pt x="1463436" y="455584"/>
                      <a:pt x="1454999" y="456522"/>
                      <a:pt x="1445636" y="462144"/>
                    </a:cubicBezTo>
                    <a:cubicBezTo>
                      <a:pt x="1416580" y="474328"/>
                      <a:pt x="1384726" y="490262"/>
                      <a:pt x="1353796" y="503385"/>
                    </a:cubicBezTo>
                    <a:cubicBezTo>
                      <a:pt x="1348157" y="505257"/>
                      <a:pt x="1343487" y="505257"/>
                      <a:pt x="1341615" y="509007"/>
                    </a:cubicBezTo>
                    <a:cubicBezTo>
                      <a:pt x="1332230" y="512756"/>
                      <a:pt x="1323793" y="517442"/>
                      <a:pt x="1317229" y="524002"/>
                    </a:cubicBezTo>
                    <a:cubicBezTo>
                      <a:pt x="1314122" y="527751"/>
                      <a:pt x="1310994" y="527751"/>
                      <a:pt x="1307866" y="524002"/>
                    </a:cubicBezTo>
                    <a:cubicBezTo>
                      <a:pt x="1291939" y="532439"/>
                      <a:pt x="1277862" y="539936"/>
                      <a:pt x="1260063" y="548371"/>
                    </a:cubicBezTo>
                    <a:cubicBezTo>
                      <a:pt x="1245061" y="553056"/>
                      <a:pt x="1228208" y="563366"/>
                      <a:pt x="1212259" y="566179"/>
                    </a:cubicBezTo>
                    <a:cubicBezTo>
                      <a:pt x="1193513" y="570865"/>
                      <a:pt x="1172893" y="577425"/>
                      <a:pt x="1152274" y="577425"/>
                    </a:cubicBezTo>
                    <a:cubicBezTo>
                      <a:pt x="1142911" y="583049"/>
                      <a:pt x="1130730" y="577425"/>
                      <a:pt x="1120420" y="574614"/>
                    </a:cubicBezTo>
                    <a:cubicBezTo>
                      <a:pt x="1113855" y="571803"/>
                      <a:pt x="1110110" y="566179"/>
                      <a:pt x="1112930" y="556806"/>
                    </a:cubicBezTo>
                    <a:cubicBezTo>
                      <a:pt x="1121345" y="532439"/>
                      <a:pt x="1140092" y="512756"/>
                      <a:pt x="1155094" y="491200"/>
                    </a:cubicBezTo>
                    <a:cubicBezTo>
                      <a:pt x="1158839" y="487451"/>
                      <a:pt x="1160711" y="487451"/>
                      <a:pt x="1163531" y="487451"/>
                    </a:cubicBezTo>
                    <a:cubicBezTo>
                      <a:pt x="1178532" y="487451"/>
                      <a:pt x="1193513" y="490262"/>
                      <a:pt x="1205694" y="490262"/>
                    </a:cubicBezTo>
                    <a:cubicBezTo>
                      <a:pt x="1214132" y="490262"/>
                      <a:pt x="1224442" y="491200"/>
                      <a:pt x="1232879" y="487451"/>
                    </a:cubicBezTo>
                    <a:cubicBezTo>
                      <a:pt x="1263807" y="482766"/>
                      <a:pt x="1294736" y="473392"/>
                      <a:pt x="1320048" y="452773"/>
                    </a:cubicBezTo>
                    <a:lnTo>
                      <a:pt x="1333178" y="444338"/>
                    </a:lnTo>
                    <a:cubicBezTo>
                      <a:pt x="1351902" y="436839"/>
                      <a:pt x="1359414" y="419969"/>
                      <a:pt x="1371596" y="404974"/>
                    </a:cubicBezTo>
                    <a:cubicBezTo>
                      <a:pt x="1380958" y="394664"/>
                      <a:pt x="1380958" y="381544"/>
                      <a:pt x="1373468" y="368421"/>
                    </a:cubicBezTo>
                    <a:cubicBezTo>
                      <a:pt x="1370649" y="363735"/>
                      <a:pt x="1365979" y="354364"/>
                      <a:pt x="1358467" y="347802"/>
                    </a:cubicBezTo>
                    <a:cubicBezTo>
                      <a:pt x="1357542" y="345929"/>
                      <a:pt x="1351902" y="344991"/>
                      <a:pt x="1348157" y="344054"/>
                    </a:cubicBezTo>
                    <a:cubicBezTo>
                      <a:pt x="1344412" y="341241"/>
                      <a:pt x="1341615" y="344054"/>
                      <a:pt x="1339720" y="341241"/>
                    </a:cubicBezTo>
                    <a:cubicBezTo>
                      <a:pt x="1328485" y="333745"/>
                      <a:pt x="1318176" y="335619"/>
                      <a:pt x="1305993" y="344054"/>
                    </a:cubicBezTo>
                    <a:cubicBezTo>
                      <a:pt x="1297556" y="347802"/>
                      <a:pt x="1286299" y="348740"/>
                      <a:pt x="1277862" y="352489"/>
                    </a:cubicBezTo>
                    <a:cubicBezTo>
                      <a:pt x="1265680" y="354364"/>
                      <a:pt x="1252573" y="359986"/>
                      <a:pt x="1244135" y="366546"/>
                    </a:cubicBezTo>
                    <a:cubicBezTo>
                      <a:pt x="1220851" y="378872"/>
                      <a:pt x="1200099" y="393746"/>
                      <a:pt x="1180361" y="410345"/>
                    </a:cubicBezTo>
                    <a:cubicBezTo>
                      <a:pt x="1175074" y="408809"/>
                      <a:pt x="1169170" y="410442"/>
                      <a:pt x="1162606" y="411534"/>
                    </a:cubicBezTo>
                    <a:cubicBezTo>
                      <a:pt x="1132624" y="419969"/>
                      <a:pt x="1101695" y="430279"/>
                      <a:pt x="1071691" y="436839"/>
                    </a:cubicBezTo>
                    <a:cubicBezTo>
                      <a:pt x="1037018" y="445274"/>
                      <a:pt x="1000471" y="455584"/>
                      <a:pt x="962977" y="462146"/>
                    </a:cubicBezTo>
                    <a:cubicBezTo>
                      <a:pt x="916121" y="471517"/>
                      <a:pt x="870191" y="485576"/>
                      <a:pt x="824259" y="495886"/>
                    </a:cubicBezTo>
                    <a:cubicBezTo>
                      <a:pt x="824259" y="497761"/>
                      <a:pt x="822387" y="497761"/>
                      <a:pt x="822387" y="498697"/>
                    </a:cubicBezTo>
                    <a:lnTo>
                      <a:pt x="824259" y="498697"/>
                    </a:lnTo>
                    <a:cubicBezTo>
                      <a:pt x="830824" y="500572"/>
                      <a:pt x="837389" y="500572"/>
                      <a:pt x="843007" y="500572"/>
                    </a:cubicBezTo>
                    <a:cubicBezTo>
                      <a:pt x="843007" y="502446"/>
                      <a:pt x="841134" y="503385"/>
                      <a:pt x="841134" y="503385"/>
                    </a:cubicBezTo>
                    <a:cubicBezTo>
                      <a:pt x="828952" y="505257"/>
                      <a:pt x="816770" y="505257"/>
                      <a:pt x="806460" y="509007"/>
                    </a:cubicBezTo>
                    <a:cubicBezTo>
                      <a:pt x="804587" y="509007"/>
                      <a:pt x="801768" y="506196"/>
                      <a:pt x="801768" y="506196"/>
                    </a:cubicBezTo>
                    <a:cubicBezTo>
                      <a:pt x="807407" y="497761"/>
                      <a:pt x="810205" y="486513"/>
                      <a:pt x="816770" y="479016"/>
                    </a:cubicBezTo>
                    <a:cubicBezTo>
                      <a:pt x="828027" y="468706"/>
                      <a:pt x="835517" y="456522"/>
                      <a:pt x="840209" y="439652"/>
                    </a:cubicBezTo>
                    <a:lnTo>
                      <a:pt x="848646" y="417158"/>
                    </a:lnTo>
                    <a:cubicBezTo>
                      <a:pt x="852391" y="413409"/>
                      <a:pt x="859881" y="410598"/>
                      <a:pt x="862700" y="405910"/>
                    </a:cubicBezTo>
                    <a:lnTo>
                      <a:pt x="873010" y="391853"/>
                    </a:lnTo>
                    <a:cubicBezTo>
                      <a:pt x="883320" y="374983"/>
                      <a:pt x="894555" y="354364"/>
                      <a:pt x="908632" y="340305"/>
                    </a:cubicBezTo>
                    <a:lnTo>
                      <a:pt x="916121" y="329057"/>
                    </a:lnTo>
                    <a:cubicBezTo>
                      <a:pt x="925483" y="314062"/>
                      <a:pt x="932995" y="295317"/>
                      <a:pt x="947050" y="282197"/>
                    </a:cubicBezTo>
                    <a:lnTo>
                      <a:pt x="948922" y="278447"/>
                    </a:lnTo>
                    <a:cubicBezTo>
                      <a:pt x="951743" y="272823"/>
                      <a:pt x="955487" y="267201"/>
                      <a:pt x="960180" y="262513"/>
                    </a:cubicBezTo>
                    <a:cubicBezTo>
                      <a:pt x="975159" y="247518"/>
                      <a:pt x="989214" y="228774"/>
                      <a:pt x="1002344" y="211904"/>
                    </a:cubicBezTo>
                    <a:lnTo>
                      <a:pt x="1047327" y="163169"/>
                    </a:lnTo>
                    <a:cubicBezTo>
                      <a:pt x="1058584" y="152859"/>
                      <a:pt x="1070766" y="140674"/>
                      <a:pt x="1082001" y="128490"/>
                    </a:cubicBezTo>
                    <a:cubicBezTo>
                      <a:pt x="1086693" y="124741"/>
                      <a:pt x="1092310" y="120992"/>
                      <a:pt x="1098875" y="120992"/>
                    </a:cubicBezTo>
                    <a:cubicBezTo>
                      <a:pt x="1104493" y="120992"/>
                      <a:pt x="1108259" y="119117"/>
                      <a:pt x="1112930" y="117244"/>
                    </a:cubicBezTo>
                    <a:cubicBezTo>
                      <a:pt x="1116697" y="114431"/>
                      <a:pt x="1119494" y="109746"/>
                      <a:pt x="1117622" y="106932"/>
                    </a:cubicBezTo>
                    <a:cubicBezTo>
                      <a:pt x="1113877" y="102247"/>
                      <a:pt x="1112930" y="94750"/>
                      <a:pt x="1108259" y="93812"/>
                    </a:cubicBezTo>
                    <a:cubicBezTo>
                      <a:pt x="1082001" y="77880"/>
                      <a:pt x="1067021" y="76003"/>
                      <a:pt x="1044530" y="95687"/>
                    </a:cubicBezTo>
                    <a:cubicBezTo>
                      <a:pt x="1038890" y="100372"/>
                      <a:pt x="1033272" y="103185"/>
                      <a:pt x="1028580" y="107871"/>
                    </a:cubicBezTo>
                    <a:cubicBezTo>
                      <a:pt x="1020143" y="117244"/>
                      <a:pt x="1012653" y="124741"/>
                      <a:pt x="1002344" y="133176"/>
                    </a:cubicBezTo>
                    <a:lnTo>
                      <a:pt x="988289" y="152859"/>
                    </a:lnTo>
                    <a:cubicBezTo>
                      <a:pt x="962052" y="179100"/>
                      <a:pt x="936741" y="207218"/>
                      <a:pt x="916121" y="239083"/>
                    </a:cubicBezTo>
                    <a:cubicBezTo>
                      <a:pt x="914249" y="240958"/>
                      <a:pt x="913302" y="244707"/>
                      <a:pt x="910504" y="247518"/>
                    </a:cubicBezTo>
                    <a:cubicBezTo>
                      <a:pt x="896427" y="262516"/>
                      <a:pt x="883320" y="280322"/>
                      <a:pt x="873010" y="300941"/>
                    </a:cubicBezTo>
                    <a:cubicBezTo>
                      <a:pt x="860828" y="318750"/>
                      <a:pt x="847698" y="335619"/>
                      <a:pt x="835517" y="352489"/>
                    </a:cubicBezTo>
                    <a:cubicBezTo>
                      <a:pt x="816770" y="381841"/>
                      <a:pt x="797406" y="411113"/>
                      <a:pt x="779716" y="439231"/>
                    </a:cubicBezTo>
                    <a:cubicBezTo>
                      <a:pt x="780862" y="433380"/>
                      <a:pt x="784475" y="428787"/>
                      <a:pt x="781171" y="427468"/>
                    </a:cubicBezTo>
                    <a:cubicBezTo>
                      <a:pt x="775553" y="426532"/>
                      <a:pt x="753061" y="437778"/>
                      <a:pt x="748369" y="440588"/>
                    </a:cubicBezTo>
                    <a:cubicBezTo>
                      <a:pt x="738059" y="447151"/>
                      <a:pt x="729622" y="452773"/>
                      <a:pt x="718387" y="458397"/>
                    </a:cubicBezTo>
                    <a:cubicBezTo>
                      <a:pt x="707131" y="464957"/>
                      <a:pt x="691204" y="471520"/>
                      <a:pt x="680894" y="482766"/>
                    </a:cubicBezTo>
                    <a:cubicBezTo>
                      <a:pt x="677149" y="486513"/>
                      <a:pt x="669637" y="490262"/>
                      <a:pt x="664967" y="491200"/>
                    </a:cubicBezTo>
                    <a:cubicBezTo>
                      <a:pt x="645273" y="500574"/>
                      <a:pt x="629346" y="512756"/>
                      <a:pt x="611546" y="522129"/>
                    </a:cubicBezTo>
                    <a:cubicBezTo>
                      <a:pt x="587160" y="536188"/>
                      <a:pt x="568435" y="549309"/>
                      <a:pt x="544996" y="559619"/>
                    </a:cubicBezTo>
                    <a:cubicBezTo>
                      <a:pt x="533739" y="568054"/>
                      <a:pt x="520632" y="570865"/>
                      <a:pt x="511247" y="577427"/>
                    </a:cubicBezTo>
                    <a:cubicBezTo>
                      <a:pt x="499065" y="583049"/>
                      <a:pt x="487830" y="587735"/>
                      <a:pt x="476573" y="590548"/>
                    </a:cubicBezTo>
                    <a:cubicBezTo>
                      <a:pt x="464391" y="595233"/>
                      <a:pt x="452209" y="598983"/>
                      <a:pt x="440952" y="602732"/>
                    </a:cubicBezTo>
                    <a:cubicBezTo>
                      <a:pt x="428770" y="605543"/>
                      <a:pt x="414715" y="605543"/>
                      <a:pt x="406278" y="598983"/>
                    </a:cubicBezTo>
                    <a:cubicBezTo>
                      <a:pt x="403481" y="585862"/>
                      <a:pt x="404406" y="575552"/>
                      <a:pt x="408151" y="564304"/>
                    </a:cubicBezTo>
                    <a:cubicBezTo>
                      <a:pt x="413790" y="555869"/>
                      <a:pt x="417535" y="548371"/>
                      <a:pt x="419408" y="539938"/>
                    </a:cubicBezTo>
                    <a:cubicBezTo>
                      <a:pt x="426898" y="517444"/>
                      <a:pt x="441899" y="494011"/>
                      <a:pt x="456901" y="473394"/>
                    </a:cubicBezTo>
                    <a:cubicBezTo>
                      <a:pt x="460205" y="467616"/>
                      <a:pt x="463906" y="462177"/>
                      <a:pt x="467762" y="456566"/>
                    </a:cubicBezTo>
                    <a:cubicBezTo>
                      <a:pt x="468819" y="456520"/>
                      <a:pt x="469855" y="456445"/>
                      <a:pt x="470956" y="456522"/>
                    </a:cubicBezTo>
                    <a:cubicBezTo>
                      <a:pt x="471881" y="456522"/>
                      <a:pt x="476573" y="452773"/>
                      <a:pt x="477521" y="451836"/>
                    </a:cubicBezTo>
                    <a:cubicBezTo>
                      <a:pt x="480319" y="449026"/>
                      <a:pt x="483138" y="445276"/>
                      <a:pt x="485958" y="444340"/>
                    </a:cubicBezTo>
                    <a:cubicBezTo>
                      <a:pt x="487830" y="437778"/>
                      <a:pt x="485958" y="433092"/>
                      <a:pt x="484063" y="433092"/>
                    </a:cubicBezTo>
                    <a:cubicBezTo>
                      <a:pt x="483821" y="432944"/>
                      <a:pt x="483579" y="432856"/>
                      <a:pt x="483337" y="432722"/>
                    </a:cubicBezTo>
                    <a:cubicBezTo>
                      <a:pt x="488095" y="422586"/>
                      <a:pt x="498294" y="414383"/>
                      <a:pt x="511247" y="417158"/>
                    </a:cubicBezTo>
                    <a:lnTo>
                      <a:pt x="514067" y="417158"/>
                    </a:lnTo>
                    <a:cubicBezTo>
                      <a:pt x="517812" y="417158"/>
                      <a:pt x="520632" y="409662"/>
                      <a:pt x="517812" y="404976"/>
                    </a:cubicBezTo>
                    <a:cubicBezTo>
                      <a:pt x="510322" y="398414"/>
                      <a:pt x="502810" y="391853"/>
                      <a:pt x="494373" y="386229"/>
                    </a:cubicBezTo>
                    <a:cubicBezTo>
                      <a:pt x="484063" y="381544"/>
                      <a:pt x="472828" y="383418"/>
                      <a:pt x="464391" y="391853"/>
                    </a:cubicBezTo>
                    <a:cubicBezTo>
                      <a:pt x="456901" y="401227"/>
                      <a:pt x="445645" y="410598"/>
                      <a:pt x="438155" y="419971"/>
                    </a:cubicBezTo>
                    <a:cubicBezTo>
                      <a:pt x="432955" y="426162"/>
                      <a:pt x="428153" y="432493"/>
                      <a:pt x="423461" y="438881"/>
                    </a:cubicBezTo>
                    <a:cubicBezTo>
                      <a:pt x="415355" y="444913"/>
                      <a:pt x="406763" y="450457"/>
                      <a:pt x="398788" y="455586"/>
                    </a:cubicBezTo>
                    <a:cubicBezTo>
                      <a:pt x="391276" y="458397"/>
                      <a:pt x="382861" y="464021"/>
                      <a:pt x="379095" y="471520"/>
                    </a:cubicBezTo>
                    <a:cubicBezTo>
                      <a:pt x="377222" y="476205"/>
                      <a:pt x="372551" y="479955"/>
                      <a:pt x="365040" y="479016"/>
                    </a:cubicBezTo>
                    <a:cubicBezTo>
                      <a:pt x="364114" y="479016"/>
                      <a:pt x="358475" y="482766"/>
                      <a:pt x="357550" y="485576"/>
                    </a:cubicBezTo>
                    <a:cubicBezTo>
                      <a:pt x="353805" y="486513"/>
                      <a:pt x="351933" y="491200"/>
                      <a:pt x="348165" y="494011"/>
                    </a:cubicBezTo>
                    <a:cubicBezTo>
                      <a:pt x="325674" y="506196"/>
                      <a:pt x="305054" y="525879"/>
                      <a:pt x="280690" y="541810"/>
                    </a:cubicBezTo>
                    <a:cubicBezTo>
                      <a:pt x="247888" y="563368"/>
                      <a:pt x="214140" y="583987"/>
                      <a:pt x="180413" y="602732"/>
                    </a:cubicBezTo>
                    <a:cubicBezTo>
                      <a:pt x="156049" y="617727"/>
                      <a:pt x="126993" y="628975"/>
                      <a:pt x="96989" y="636472"/>
                    </a:cubicBezTo>
                    <a:cubicBezTo>
                      <a:pt x="79189" y="640221"/>
                      <a:pt x="62315" y="637408"/>
                      <a:pt x="42643" y="634597"/>
                    </a:cubicBezTo>
                    <a:cubicBezTo>
                      <a:pt x="33259" y="633661"/>
                      <a:pt x="28566" y="624287"/>
                      <a:pt x="28566" y="616791"/>
                    </a:cubicBezTo>
                    <a:cubicBezTo>
                      <a:pt x="28566" y="607418"/>
                      <a:pt x="28566" y="598044"/>
                      <a:pt x="35131" y="590548"/>
                    </a:cubicBezTo>
                    <a:lnTo>
                      <a:pt x="35131" y="589611"/>
                    </a:lnTo>
                    <a:cubicBezTo>
                      <a:pt x="25769" y="583987"/>
                      <a:pt x="33259" y="581174"/>
                      <a:pt x="37003" y="577427"/>
                    </a:cubicBezTo>
                    <a:cubicBezTo>
                      <a:pt x="37951" y="574614"/>
                      <a:pt x="41696" y="570865"/>
                      <a:pt x="42643" y="568054"/>
                    </a:cubicBezTo>
                    <a:cubicBezTo>
                      <a:pt x="46388" y="559619"/>
                      <a:pt x="50133" y="555869"/>
                      <a:pt x="52005" y="549309"/>
                    </a:cubicBezTo>
                    <a:cubicBezTo>
                      <a:pt x="54825" y="539936"/>
                      <a:pt x="62315" y="536188"/>
                      <a:pt x="64187" y="525879"/>
                    </a:cubicBezTo>
                    <a:cubicBezTo>
                      <a:pt x="65135" y="520255"/>
                      <a:pt x="69805" y="515569"/>
                      <a:pt x="72625" y="509007"/>
                    </a:cubicBezTo>
                    <a:cubicBezTo>
                      <a:pt x="79189" y="500574"/>
                      <a:pt x="87626" y="497761"/>
                      <a:pt x="91372" y="487451"/>
                    </a:cubicBezTo>
                    <a:lnTo>
                      <a:pt x="111044" y="465896"/>
                    </a:lnTo>
                    <a:cubicBezTo>
                      <a:pt x="196340" y="414347"/>
                      <a:pt x="321929" y="338430"/>
                      <a:pt x="425025" y="234398"/>
                    </a:cubicBezTo>
                    <a:cubicBezTo>
                      <a:pt x="425972" y="234398"/>
                      <a:pt x="427845" y="233461"/>
                      <a:pt x="427845" y="230648"/>
                    </a:cubicBezTo>
                    <a:cubicBezTo>
                      <a:pt x="437208" y="212842"/>
                      <a:pt x="459699" y="196908"/>
                      <a:pt x="473754" y="181913"/>
                    </a:cubicBezTo>
                    <a:cubicBezTo>
                      <a:pt x="474701" y="180038"/>
                      <a:pt x="474701" y="176289"/>
                      <a:pt x="477521" y="173478"/>
                    </a:cubicBezTo>
                    <a:cubicBezTo>
                      <a:pt x="470956" y="175353"/>
                      <a:pt x="466264" y="179100"/>
                      <a:pt x="463444" y="182849"/>
                    </a:cubicBezTo>
                    <a:cubicBezTo>
                      <a:pt x="459699" y="186599"/>
                      <a:pt x="458774" y="187537"/>
                      <a:pt x="456901" y="187537"/>
                    </a:cubicBezTo>
                    <a:cubicBezTo>
                      <a:pt x="456901" y="186599"/>
                      <a:pt x="455029" y="182849"/>
                      <a:pt x="455029" y="181913"/>
                    </a:cubicBezTo>
                    <a:cubicBezTo>
                      <a:pt x="454390" y="178164"/>
                      <a:pt x="455645" y="175353"/>
                      <a:pt x="458774" y="173478"/>
                    </a:cubicBezTo>
                    <a:cubicBezTo>
                      <a:pt x="463444" y="173478"/>
                      <a:pt x="466264" y="173478"/>
                      <a:pt x="467211" y="168793"/>
                    </a:cubicBezTo>
                    <a:cubicBezTo>
                      <a:pt x="466264" y="168793"/>
                      <a:pt x="466264" y="166918"/>
                      <a:pt x="464391" y="166918"/>
                    </a:cubicBezTo>
                    <a:cubicBezTo>
                      <a:pt x="466264" y="166918"/>
                      <a:pt x="466264" y="164105"/>
                      <a:pt x="467211" y="164105"/>
                    </a:cubicBezTo>
                    <a:lnTo>
                      <a:pt x="467211" y="168793"/>
                    </a:lnTo>
                    <a:cubicBezTo>
                      <a:pt x="468136" y="166918"/>
                      <a:pt x="470956" y="164105"/>
                      <a:pt x="471881" y="164105"/>
                    </a:cubicBezTo>
                    <a:cubicBezTo>
                      <a:pt x="477521" y="164105"/>
                      <a:pt x="474701" y="170665"/>
                      <a:pt x="477521" y="173478"/>
                    </a:cubicBezTo>
                    <a:cubicBezTo>
                      <a:pt x="484063" y="170665"/>
                      <a:pt x="489703" y="161294"/>
                      <a:pt x="494373" y="156608"/>
                    </a:cubicBezTo>
                    <a:lnTo>
                      <a:pt x="494373" y="149110"/>
                    </a:lnTo>
                    <a:cubicBezTo>
                      <a:pt x="493448" y="152859"/>
                      <a:pt x="490628" y="153795"/>
                      <a:pt x="489703" y="155670"/>
                    </a:cubicBezTo>
                    <a:cubicBezTo>
                      <a:pt x="484063" y="159419"/>
                      <a:pt x="478446" y="160355"/>
                      <a:pt x="471881" y="160355"/>
                    </a:cubicBezTo>
                    <a:cubicBezTo>
                      <a:pt x="474701" y="148173"/>
                      <a:pt x="486883" y="144422"/>
                      <a:pt x="494373" y="140674"/>
                    </a:cubicBezTo>
                    <a:cubicBezTo>
                      <a:pt x="496884" y="138800"/>
                      <a:pt x="498140" y="137551"/>
                      <a:pt x="498140" y="136925"/>
                    </a:cubicBezTo>
                    <a:cubicBezTo>
                      <a:pt x="499065" y="129429"/>
                      <a:pt x="499065" y="122866"/>
                      <a:pt x="506577" y="124741"/>
                    </a:cubicBezTo>
                    <a:cubicBezTo>
                      <a:pt x="510322" y="124741"/>
                      <a:pt x="513120" y="124741"/>
                      <a:pt x="517812" y="122866"/>
                    </a:cubicBezTo>
                    <a:cubicBezTo>
                      <a:pt x="517812" y="122866"/>
                      <a:pt x="519684" y="121930"/>
                      <a:pt x="519684" y="120992"/>
                    </a:cubicBezTo>
                    <a:cubicBezTo>
                      <a:pt x="518429" y="119742"/>
                      <a:pt x="517504" y="119119"/>
                      <a:pt x="516865" y="119119"/>
                    </a:cubicBezTo>
                    <a:cubicBezTo>
                      <a:pt x="514376" y="120368"/>
                      <a:pt x="512811" y="120992"/>
                      <a:pt x="512195" y="120992"/>
                    </a:cubicBezTo>
                    <a:lnTo>
                      <a:pt x="509375" y="120992"/>
                    </a:lnTo>
                    <a:lnTo>
                      <a:pt x="509375" y="117244"/>
                    </a:lnTo>
                    <a:cubicBezTo>
                      <a:pt x="513120" y="109746"/>
                      <a:pt x="517812" y="105996"/>
                      <a:pt x="525302" y="109746"/>
                    </a:cubicBezTo>
                    <a:cubicBezTo>
                      <a:pt x="527197" y="109746"/>
                      <a:pt x="531867" y="106935"/>
                      <a:pt x="531867" y="105996"/>
                    </a:cubicBezTo>
                    <a:cubicBezTo>
                      <a:pt x="532814" y="103185"/>
                      <a:pt x="533739" y="102249"/>
                      <a:pt x="532814" y="102249"/>
                    </a:cubicBezTo>
                    <a:cubicBezTo>
                      <a:pt x="531867" y="95687"/>
                      <a:pt x="529069" y="100374"/>
                      <a:pt x="527197" y="100374"/>
                    </a:cubicBezTo>
                    <a:lnTo>
                      <a:pt x="522504" y="100374"/>
                    </a:lnTo>
                    <a:cubicBezTo>
                      <a:pt x="522504" y="97564"/>
                      <a:pt x="522504" y="95687"/>
                      <a:pt x="524377" y="95687"/>
                    </a:cubicBezTo>
                    <a:cubicBezTo>
                      <a:pt x="527197" y="91001"/>
                      <a:pt x="537506" y="91001"/>
                      <a:pt x="539379" y="83502"/>
                    </a:cubicBezTo>
                    <a:lnTo>
                      <a:pt x="556231" y="60072"/>
                    </a:lnTo>
                    <a:cubicBezTo>
                      <a:pt x="563743" y="54450"/>
                      <a:pt x="565615" y="45077"/>
                      <a:pt x="569360" y="37578"/>
                    </a:cubicBezTo>
                    <a:cubicBezTo>
                      <a:pt x="572180" y="31018"/>
                      <a:pt x="571233" y="24457"/>
                      <a:pt x="567487" y="18833"/>
                    </a:cubicBezTo>
                    <a:cubicBezTo>
                      <a:pt x="563743" y="15086"/>
                      <a:pt x="559998" y="10398"/>
                      <a:pt x="552486" y="7588"/>
                    </a:cubicBezTo>
                    <a:cubicBezTo>
                      <a:pt x="539379" y="-1786"/>
                      <a:pt x="510322" y="-1786"/>
                      <a:pt x="492500" y="3838"/>
                    </a:cubicBezTo>
                    <a:cubicBezTo>
                      <a:pt x="452209" y="22583"/>
                      <a:pt x="418460" y="48826"/>
                      <a:pt x="384734" y="71320"/>
                    </a:cubicBezTo>
                    <a:cubicBezTo>
                      <a:pt x="367860" y="83504"/>
                      <a:pt x="351933" y="97564"/>
                      <a:pt x="338803" y="113495"/>
                    </a:cubicBezTo>
                    <a:cubicBezTo>
                      <a:pt x="305054" y="144424"/>
                      <a:pt x="272253" y="179102"/>
                      <a:pt x="237579" y="211904"/>
                    </a:cubicBezTo>
                    <a:cubicBezTo>
                      <a:pt x="227270" y="222215"/>
                      <a:pt x="219779" y="235336"/>
                      <a:pt x="210395" y="245646"/>
                    </a:cubicBezTo>
                    <a:lnTo>
                      <a:pt x="210395" y="251270"/>
                    </a:lnTo>
                    <a:lnTo>
                      <a:pt x="214140" y="251270"/>
                    </a:lnTo>
                    <a:cubicBezTo>
                      <a:pt x="214140" y="251893"/>
                      <a:pt x="213215" y="252519"/>
                      <a:pt x="211342" y="253142"/>
                    </a:cubicBezTo>
                    <a:cubicBezTo>
                      <a:pt x="211342" y="252519"/>
                      <a:pt x="211034" y="251893"/>
                      <a:pt x="210395" y="251270"/>
                    </a:cubicBezTo>
                    <a:cubicBezTo>
                      <a:pt x="201033" y="255955"/>
                      <a:pt x="194468" y="265327"/>
                      <a:pt x="187903" y="275636"/>
                    </a:cubicBezTo>
                    <a:lnTo>
                      <a:pt x="187903" y="279386"/>
                    </a:lnTo>
                    <a:lnTo>
                      <a:pt x="190723" y="279386"/>
                    </a:lnTo>
                    <a:cubicBezTo>
                      <a:pt x="188850" y="280322"/>
                      <a:pt x="188850" y="282199"/>
                      <a:pt x="187903" y="284071"/>
                    </a:cubicBezTo>
                    <a:cubicBezTo>
                      <a:pt x="187903" y="285946"/>
                      <a:pt x="187903" y="286884"/>
                      <a:pt x="186031" y="290632"/>
                    </a:cubicBezTo>
                    <a:lnTo>
                      <a:pt x="184159" y="291570"/>
                    </a:lnTo>
                    <a:lnTo>
                      <a:pt x="183211" y="290632"/>
                    </a:lnTo>
                    <a:lnTo>
                      <a:pt x="183211" y="284071"/>
                    </a:lnTo>
                    <a:cubicBezTo>
                      <a:pt x="173849" y="286884"/>
                      <a:pt x="169157" y="294381"/>
                      <a:pt x="168231" y="301880"/>
                    </a:cubicBezTo>
                    <a:cubicBezTo>
                      <a:pt x="157922" y="307504"/>
                      <a:pt x="154176" y="313125"/>
                      <a:pt x="153229" y="322499"/>
                    </a:cubicBezTo>
                    <a:cubicBezTo>
                      <a:pt x="137302" y="333745"/>
                      <a:pt x="126993" y="351553"/>
                      <a:pt x="120428" y="367487"/>
                    </a:cubicBezTo>
                    <a:lnTo>
                      <a:pt x="120428" y="371234"/>
                    </a:lnTo>
                    <a:lnTo>
                      <a:pt x="123248" y="371234"/>
                    </a:lnTo>
                    <a:lnTo>
                      <a:pt x="120428" y="374983"/>
                    </a:lnTo>
                    <a:cubicBezTo>
                      <a:pt x="120428" y="378733"/>
                      <a:pt x="118555" y="379669"/>
                      <a:pt x="115736" y="381544"/>
                    </a:cubicBezTo>
                    <a:cubicBezTo>
                      <a:pt x="115736" y="384357"/>
                      <a:pt x="114811" y="387168"/>
                      <a:pt x="110118" y="389979"/>
                    </a:cubicBezTo>
                    <a:cubicBezTo>
                      <a:pt x="108246" y="393728"/>
                      <a:pt x="107299" y="394666"/>
                      <a:pt x="105426" y="389979"/>
                    </a:cubicBezTo>
                    <a:cubicBezTo>
                      <a:pt x="98861" y="393728"/>
                      <a:pt x="95116" y="396539"/>
                      <a:pt x="95116" y="404976"/>
                    </a:cubicBezTo>
                    <a:lnTo>
                      <a:pt x="100734" y="404976"/>
                    </a:lnTo>
                    <a:cubicBezTo>
                      <a:pt x="98861" y="405912"/>
                      <a:pt x="96989" y="409662"/>
                      <a:pt x="95116" y="409662"/>
                    </a:cubicBezTo>
                    <a:cubicBezTo>
                      <a:pt x="95116" y="413411"/>
                      <a:pt x="95116" y="417158"/>
                      <a:pt x="90424" y="419971"/>
                    </a:cubicBezTo>
                    <a:lnTo>
                      <a:pt x="91372" y="418097"/>
                    </a:lnTo>
                    <a:lnTo>
                      <a:pt x="90424" y="418097"/>
                    </a:lnTo>
                    <a:cubicBezTo>
                      <a:pt x="90424" y="419971"/>
                      <a:pt x="88551" y="420908"/>
                      <a:pt x="87626" y="420908"/>
                    </a:cubicBezTo>
                    <a:lnTo>
                      <a:pt x="87626" y="419971"/>
                    </a:lnTo>
                    <a:cubicBezTo>
                      <a:pt x="81062" y="420908"/>
                      <a:pt x="76370" y="426532"/>
                      <a:pt x="76370" y="433092"/>
                    </a:cubicBezTo>
                    <a:lnTo>
                      <a:pt x="81062" y="433092"/>
                    </a:lnTo>
                    <a:cubicBezTo>
                      <a:pt x="81062" y="434967"/>
                      <a:pt x="80445" y="436216"/>
                      <a:pt x="79189" y="436841"/>
                    </a:cubicBezTo>
                    <a:cubicBezTo>
                      <a:pt x="79189" y="436216"/>
                      <a:pt x="78242" y="434967"/>
                      <a:pt x="76370" y="433092"/>
                    </a:cubicBezTo>
                    <a:cubicBezTo>
                      <a:pt x="65135" y="444340"/>
                      <a:pt x="57623" y="456522"/>
                      <a:pt x="52952" y="471520"/>
                    </a:cubicBezTo>
                    <a:lnTo>
                      <a:pt x="56698" y="471520"/>
                    </a:lnTo>
                    <a:cubicBezTo>
                      <a:pt x="56698" y="474331"/>
                      <a:pt x="56698" y="479016"/>
                      <a:pt x="52952" y="482766"/>
                    </a:cubicBezTo>
                    <a:cubicBezTo>
                      <a:pt x="52005" y="485579"/>
                      <a:pt x="50133" y="485579"/>
                      <a:pt x="49186" y="482766"/>
                    </a:cubicBezTo>
                    <a:lnTo>
                      <a:pt x="46388" y="479955"/>
                    </a:lnTo>
                    <a:cubicBezTo>
                      <a:pt x="46388" y="479955"/>
                      <a:pt x="46388" y="482766"/>
                      <a:pt x="47313" y="482766"/>
                    </a:cubicBezTo>
                    <a:cubicBezTo>
                      <a:pt x="42643" y="483704"/>
                      <a:pt x="42643" y="487451"/>
                      <a:pt x="41696" y="490264"/>
                    </a:cubicBezTo>
                    <a:cubicBezTo>
                      <a:pt x="37003" y="494011"/>
                      <a:pt x="31386" y="497761"/>
                      <a:pt x="33259" y="505259"/>
                    </a:cubicBezTo>
                    <a:lnTo>
                      <a:pt x="37951" y="505259"/>
                    </a:lnTo>
                    <a:cubicBezTo>
                      <a:pt x="37951" y="509009"/>
                      <a:pt x="37003" y="512758"/>
                      <a:pt x="33259" y="515569"/>
                    </a:cubicBezTo>
                    <a:cubicBezTo>
                      <a:pt x="31386" y="518380"/>
                      <a:pt x="30461" y="518380"/>
                      <a:pt x="28566" y="515569"/>
                    </a:cubicBezTo>
                    <a:cubicBezTo>
                      <a:pt x="22024" y="522129"/>
                      <a:pt x="19204" y="533375"/>
                      <a:pt x="15459" y="541810"/>
                    </a:cubicBezTo>
                    <a:cubicBezTo>
                      <a:pt x="7947" y="552120"/>
                      <a:pt x="4202" y="566179"/>
                      <a:pt x="1404" y="578363"/>
                    </a:cubicBezTo>
                    <a:cubicBezTo>
                      <a:pt x="-468" y="587737"/>
                      <a:pt x="-468" y="598046"/>
                      <a:pt x="1404" y="605543"/>
                    </a:cubicBezTo>
                    <a:cubicBezTo>
                      <a:pt x="14512" y="644907"/>
                      <a:pt x="37951" y="668339"/>
                      <a:pt x="83882" y="672086"/>
                    </a:cubicBezTo>
                    <a:cubicBezTo>
                      <a:pt x="96989" y="672086"/>
                      <a:pt x="107299" y="670214"/>
                      <a:pt x="118555" y="668339"/>
                    </a:cubicBezTo>
                    <a:cubicBezTo>
                      <a:pt x="130737" y="668339"/>
                      <a:pt x="138227" y="663651"/>
                      <a:pt x="149485" y="658966"/>
                    </a:cubicBezTo>
                    <a:cubicBezTo>
                      <a:pt x="157922" y="655216"/>
                      <a:pt x="171029" y="649592"/>
                      <a:pt x="180413" y="643971"/>
                    </a:cubicBezTo>
                    <a:cubicBezTo>
                      <a:pt x="194468" y="637410"/>
                      <a:pt x="209470" y="631786"/>
                      <a:pt x="221652" y="622413"/>
                    </a:cubicBezTo>
                    <a:cubicBezTo>
                      <a:pt x="230089" y="616791"/>
                      <a:pt x="241324" y="609292"/>
                      <a:pt x="248836" y="602732"/>
                    </a:cubicBezTo>
                    <a:cubicBezTo>
                      <a:pt x="257273" y="598983"/>
                      <a:pt x="263816" y="594297"/>
                      <a:pt x="272253" y="587735"/>
                    </a:cubicBezTo>
                    <a:cubicBezTo>
                      <a:pt x="275073" y="583987"/>
                      <a:pt x="276945" y="583049"/>
                      <a:pt x="282562" y="578363"/>
                    </a:cubicBezTo>
                    <a:cubicBezTo>
                      <a:pt x="290074" y="575552"/>
                      <a:pt x="298512" y="570865"/>
                      <a:pt x="303182" y="566179"/>
                    </a:cubicBezTo>
                    <a:cubicBezTo>
                      <a:pt x="311619" y="556808"/>
                      <a:pt x="318184" y="551184"/>
                      <a:pt x="328493" y="548371"/>
                    </a:cubicBezTo>
                    <a:cubicBezTo>
                      <a:pt x="333186" y="545560"/>
                      <a:pt x="337856" y="541810"/>
                      <a:pt x="334111" y="536188"/>
                    </a:cubicBezTo>
                    <a:cubicBezTo>
                      <a:pt x="334111" y="533375"/>
                      <a:pt x="337856" y="532439"/>
                      <a:pt x="337856" y="530565"/>
                    </a:cubicBezTo>
                    <a:cubicBezTo>
                      <a:pt x="341623" y="533375"/>
                      <a:pt x="348165" y="536188"/>
                      <a:pt x="355677" y="529626"/>
                    </a:cubicBezTo>
                    <a:cubicBezTo>
                      <a:pt x="358475" y="525879"/>
                      <a:pt x="361295" y="524004"/>
                      <a:pt x="365040" y="522129"/>
                    </a:cubicBezTo>
                    <a:lnTo>
                      <a:pt x="384139" y="508423"/>
                    </a:lnTo>
                    <a:cubicBezTo>
                      <a:pt x="383126" y="510837"/>
                      <a:pt x="381958" y="513111"/>
                      <a:pt x="380967" y="515569"/>
                    </a:cubicBezTo>
                    <a:cubicBezTo>
                      <a:pt x="377222" y="529626"/>
                      <a:pt x="373477" y="543685"/>
                      <a:pt x="370657" y="558680"/>
                    </a:cubicBezTo>
                    <a:cubicBezTo>
                      <a:pt x="368785" y="575550"/>
                      <a:pt x="372551" y="592420"/>
                      <a:pt x="379095" y="607418"/>
                    </a:cubicBezTo>
                    <a:cubicBezTo>
                      <a:pt x="383786" y="621477"/>
                      <a:pt x="392224" y="628973"/>
                      <a:pt x="398788" y="640221"/>
                    </a:cubicBezTo>
                    <a:cubicBezTo>
                      <a:pt x="399713" y="641157"/>
                      <a:pt x="404406" y="643032"/>
                      <a:pt x="406278" y="643032"/>
                    </a:cubicBezTo>
                    <a:cubicBezTo>
                      <a:pt x="430643" y="649592"/>
                      <a:pt x="456901" y="649592"/>
                      <a:pt x="480319" y="641157"/>
                    </a:cubicBezTo>
                    <a:cubicBezTo>
                      <a:pt x="492500" y="636472"/>
                      <a:pt x="503758" y="631786"/>
                      <a:pt x="515939" y="628037"/>
                    </a:cubicBezTo>
                    <a:cubicBezTo>
                      <a:pt x="542176" y="617727"/>
                      <a:pt x="564668" y="602732"/>
                      <a:pt x="587160" y="590548"/>
                    </a:cubicBezTo>
                    <a:cubicBezTo>
                      <a:pt x="599342" y="583049"/>
                      <a:pt x="611546" y="574614"/>
                      <a:pt x="625600" y="568054"/>
                    </a:cubicBezTo>
                    <a:cubicBezTo>
                      <a:pt x="635800" y="560991"/>
                      <a:pt x="645471" y="552184"/>
                      <a:pt x="657103" y="546681"/>
                    </a:cubicBezTo>
                    <a:cubicBezTo>
                      <a:pt x="657940" y="551223"/>
                      <a:pt x="659812" y="555418"/>
                      <a:pt x="663997" y="558680"/>
                    </a:cubicBezTo>
                    <a:cubicBezTo>
                      <a:pt x="668690" y="559619"/>
                      <a:pt x="670562" y="564304"/>
                      <a:pt x="674307" y="568054"/>
                    </a:cubicBezTo>
                    <a:cubicBezTo>
                      <a:pt x="675255" y="570865"/>
                      <a:pt x="678052" y="571803"/>
                      <a:pt x="683692" y="571803"/>
                    </a:cubicBezTo>
                    <a:lnTo>
                      <a:pt x="694926" y="571803"/>
                    </a:lnTo>
                    <a:cubicBezTo>
                      <a:pt x="696799" y="571803"/>
                      <a:pt x="698671" y="575550"/>
                      <a:pt x="697746" y="577425"/>
                    </a:cubicBezTo>
                    <a:cubicBezTo>
                      <a:pt x="691182" y="589609"/>
                      <a:pt x="685564" y="601794"/>
                      <a:pt x="678052" y="612103"/>
                    </a:cubicBezTo>
                    <a:cubicBezTo>
                      <a:pt x="661200" y="647718"/>
                      <a:pt x="643378" y="685207"/>
                      <a:pt x="625579" y="720822"/>
                    </a:cubicBezTo>
                    <a:cubicBezTo>
                      <a:pt x="622759" y="724571"/>
                      <a:pt x="622759" y="729259"/>
                      <a:pt x="619961" y="735819"/>
                    </a:cubicBezTo>
                    <a:cubicBezTo>
                      <a:pt x="608704" y="749878"/>
                      <a:pt x="602140" y="766748"/>
                      <a:pt x="593702" y="782679"/>
                    </a:cubicBezTo>
                    <a:cubicBezTo>
                      <a:pt x="587138" y="798613"/>
                      <a:pt x="582468" y="812672"/>
                      <a:pt x="574031" y="827667"/>
                    </a:cubicBezTo>
                    <a:lnTo>
                      <a:pt x="540282" y="915760"/>
                    </a:lnTo>
                    <a:cubicBezTo>
                      <a:pt x="537484" y="926070"/>
                      <a:pt x="536536" y="935454"/>
                      <a:pt x="536536" y="946689"/>
                    </a:cubicBezTo>
                    <a:cubicBezTo>
                      <a:pt x="533717" y="955126"/>
                      <a:pt x="536536" y="966383"/>
                      <a:pt x="544974" y="972948"/>
                    </a:cubicBezTo>
                    <a:cubicBezTo>
                      <a:pt x="548719" y="974820"/>
                      <a:pt x="549666" y="978565"/>
                      <a:pt x="551538" y="981385"/>
                    </a:cubicBezTo>
                    <a:cubicBezTo>
                      <a:pt x="557156" y="998237"/>
                      <a:pt x="571210" y="1002004"/>
                      <a:pt x="586212" y="1005749"/>
                    </a:cubicBezTo>
                    <a:cubicBezTo>
                      <a:pt x="599342" y="1010419"/>
                      <a:pt x="612449" y="1010419"/>
                      <a:pt x="625579" y="1005749"/>
                    </a:cubicBezTo>
                    <a:cubicBezTo>
                      <a:pt x="636813" y="1002004"/>
                      <a:pt x="648071" y="1002004"/>
                      <a:pt x="656508" y="994492"/>
                    </a:cubicBezTo>
                    <a:cubicBezTo>
                      <a:pt x="670562" y="981385"/>
                      <a:pt x="685564" y="967308"/>
                      <a:pt x="696799" y="954201"/>
                    </a:cubicBezTo>
                    <a:cubicBezTo>
                      <a:pt x="709928" y="940146"/>
                      <a:pt x="721163" y="921399"/>
                      <a:pt x="738985" y="912962"/>
                    </a:cubicBezTo>
                    <a:cubicBezTo>
                      <a:pt x="740857" y="911090"/>
                      <a:pt x="741783" y="908270"/>
                      <a:pt x="743677" y="904525"/>
                    </a:cubicBezTo>
                    <a:cubicBezTo>
                      <a:pt x="752092" y="882958"/>
                      <a:pt x="768041" y="867979"/>
                      <a:pt x="780223" y="852036"/>
                    </a:cubicBezTo>
                    <a:cubicBezTo>
                      <a:pt x="787713" y="850161"/>
                      <a:pt x="789585" y="843599"/>
                      <a:pt x="791458" y="839852"/>
                    </a:cubicBezTo>
                    <a:cubicBezTo>
                      <a:pt x="797097" y="829542"/>
                      <a:pt x="804587" y="825793"/>
                      <a:pt x="809280" y="818296"/>
                    </a:cubicBezTo>
                    <a:cubicBezTo>
                      <a:pt x="821462" y="803299"/>
                      <a:pt x="828027" y="787365"/>
                      <a:pt x="840209" y="774245"/>
                    </a:cubicBezTo>
                    <a:cubicBezTo>
                      <a:pt x="850519" y="759249"/>
                      <a:pt x="859881" y="741441"/>
                      <a:pt x="873010" y="726446"/>
                    </a:cubicBezTo>
                    <a:cubicBezTo>
                      <a:pt x="875808" y="724571"/>
                      <a:pt x="878628" y="720822"/>
                      <a:pt x="879575" y="717074"/>
                    </a:cubicBezTo>
                    <a:cubicBezTo>
                      <a:pt x="883320" y="702077"/>
                      <a:pt x="893630" y="688020"/>
                      <a:pt x="901119" y="674897"/>
                    </a:cubicBezTo>
                    <a:cubicBezTo>
                      <a:pt x="903939" y="670212"/>
                      <a:pt x="908609" y="662713"/>
                      <a:pt x="910504" y="656153"/>
                    </a:cubicBezTo>
                    <a:cubicBezTo>
                      <a:pt x="920813" y="634597"/>
                      <a:pt x="919866" y="618664"/>
                      <a:pt x="906737" y="602730"/>
                    </a:cubicBezTo>
                    <a:cubicBezTo>
                      <a:pt x="896427" y="592420"/>
                      <a:pt x="887065" y="583049"/>
                      <a:pt x="879575" y="571803"/>
                    </a:cubicBezTo>
                    <a:cubicBezTo>
                      <a:pt x="874883" y="568052"/>
                      <a:pt x="870191" y="566179"/>
                      <a:pt x="866445" y="559619"/>
                    </a:cubicBezTo>
                    <a:cubicBezTo>
                      <a:pt x="860828" y="556806"/>
                      <a:pt x="856136" y="552120"/>
                      <a:pt x="848646" y="548371"/>
                    </a:cubicBezTo>
                    <a:cubicBezTo>
                      <a:pt x="847698" y="545560"/>
                      <a:pt x="848646" y="541810"/>
                      <a:pt x="850519" y="539936"/>
                    </a:cubicBezTo>
                    <a:cubicBezTo>
                      <a:pt x="852391" y="538997"/>
                      <a:pt x="856136" y="538997"/>
                      <a:pt x="859881" y="537125"/>
                    </a:cubicBezTo>
                    <a:cubicBezTo>
                      <a:pt x="862700" y="536186"/>
                      <a:pt x="866445" y="536186"/>
                      <a:pt x="869265" y="536186"/>
                    </a:cubicBezTo>
                    <a:cubicBezTo>
                      <a:pt x="873010" y="536186"/>
                      <a:pt x="874883" y="530565"/>
                      <a:pt x="875808" y="530565"/>
                    </a:cubicBezTo>
                    <a:cubicBezTo>
                      <a:pt x="889884" y="533375"/>
                      <a:pt x="901119" y="529626"/>
                      <a:pt x="913302" y="524002"/>
                    </a:cubicBezTo>
                    <a:cubicBezTo>
                      <a:pt x="925483" y="518380"/>
                      <a:pt x="935794" y="513692"/>
                      <a:pt x="948922" y="512756"/>
                    </a:cubicBezTo>
                    <a:cubicBezTo>
                      <a:pt x="962977" y="509945"/>
                      <a:pt x="978905" y="500572"/>
                      <a:pt x="993906" y="506196"/>
                    </a:cubicBezTo>
                    <a:lnTo>
                      <a:pt x="997651" y="505257"/>
                    </a:lnTo>
                    <a:cubicBezTo>
                      <a:pt x="998598" y="502446"/>
                      <a:pt x="1000471" y="500572"/>
                      <a:pt x="1002344" y="500572"/>
                    </a:cubicBezTo>
                    <a:cubicBezTo>
                      <a:pt x="1012653" y="498697"/>
                      <a:pt x="1018270" y="494011"/>
                      <a:pt x="1027655" y="497761"/>
                    </a:cubicBezTo>
                    <a:cubicBezTo>
                      <a:pt x="1030453" y="498697"/>
                      <a:pt x="1032325" y="490262"/>
                      <a:pt x="1038890" y="490262"/>
                    </a:cubicBezTo>
                    <a:cubicBezTo>
                      <a:pt x="1052019" y="491200"/>
                      <a:pt x="1066074" y="486513"/>
                      <a:pt x="1078256" y="482766"/>
                    </a:cubicBezTo>
                    <a:cubicBezTo>
                      <a:pt x="1083873" y="479016"/>
                      <a:pt x="1088566" y="476205"/>
                      <a:pt x="1095130" y="476205"/>
                    </a:cubicBezTo>
                    <a:cubicBezTo>
                      <a:pt x="1103017" y="474928"/>
                      <a:pt x="1110528" y="473229"/>
                      <a:pt x="1117931" y="471385"/>
                    </a:cubicBezTo>
                    <a:cubicBezTo>
                      <a:pt x="1108370" y="484032"/>
                      <a:pt x="1099955" y="497646"/>
                      <a:pt x="1093236" y="512756"/>
                    </a:cubicBezTo>
                    <a:lnTo>
                      <a:pt x="1086671" y="524940"/>
                    </a:lnTo>
                    <a:cubicBezTo>
                      <a:pt x="1082926" y="541810"/>
                      <a:pt x="1082926" y="545560"/>
                      <a:pt x="1086671" y="566179"/>
                    </a:cubicBezTo>
                    <a:cubicBezTo>
                      <a:pt x="1090416" y="577425"/>
                      <a:pt x="1095108" y="589609"/>
                      <a:pt x="1106365" y="598044"/>
                    </a:cubicBezTo>
                    <a:cubicBezTo>
                      <a:pt x="1112908" y="604607"/>
                      <a:pt x="1120420" y="609292"/>
                      <a:pt x="1130730" y="612103"/>
                    </a:cubicBezTo>
                    <a:cubicBezTo>
                      <a:pt x="1146656" y="617727"/>
                      <a:pt x="1162583" y="624287"/>
                      <a:pt x="1181330" y="616789"/>
                    </a:cubicBezTo>
                    <a:cubicBezTo>
                      <a:pt x="1185075" y="612103"/>
                      <a:pt x="1188842" y="612103"/>
                      <a:pt x="1194460" y="610228"/>
                    </a:cubicBezTo>
                    <a:cubicBezTo>
                      <a:pt x="1227261" y="605543"/>
                      <a:pt x="1258190" y="594297"/>
                      <a:pt x="1286299" y="578363"/>
                    </a:cubicBezTo>
                    <a:cubicBezTo>
                      <a:pt x="1305993" y="568990"/>
                      <a:pt x="1326613" y="559619"/>
                      <a:pt x="1347232" y="551184"/>
                    </a:cubicBezTo>
                    <a:cubicBezTo>
                      <a:pt x="1366904" y="539936"/>
                      <a:pt x="1390343" y="536186"/>
                      <a:pt x="1409090" y="522129"/>
                    </a:cubicBezTo>
                    <a:cubicBezTo>
                      <a:pt x="1410015" y="520255"/>
                      <a:pt x="1413760" y="520255"/>
                      <a:pt x="1416580" y="518380"/>
                    </a:cubicBezTo>
                    <a:cubicBezTo>
                      <a:pt x="1439071" y="509007"/>
                      <a:pt x="1462511" y="500572"/>
                      <a:pt x="1485928" y="490262"/>
                    </a:cubicBezTo>
                    <a:cubicBezTo>
                      <a:pt x="1501877" y="483702"/>
                      <a:pt x="1514984" y="476205"/>
                      <a:pt x="1530933" y="474331"/>
                    </a:cubicBezTo>
                    <a:cubicBezTo>
                      <a:pt x="1531858" y="474331"/>
                      <a:pt x="1536551" y="473392"/>
                      <a:pt x="1536551" y="471520"/>
                    </a:cubicBezTo>
                    <a:cubicBezTo>
                      <a:pt x="1542168" y="466832"/>
                      <a:pt x="1538423" y="456522"/>
                      <a:pt x="1531858" y="452773"/>
                    </a:cubicBezTo>
                    <a:close/>
                    <a:moveTo>
                      <a:pt x="1175713" y="464021"/>
                    </a:moveTo>
                    <a:lnTo>
                      <a:pt x="1191728" y="448600"/>
                    </a:lnTo>
                    <a:cubicBezTo>
                      <a:pt x="1196641" y="446730"/>
                      <a:pt x="1199416" y="444027"/>
                      <a:pt x="1202919" y="439652"/>
                    </a:cubicBezTo>
                    <a:cubicBezTo>
                      <a:pt x="1204219" y="438778"/>
                      <a:pt x="1205034" y="437579"/>
                      <a:pt x="1205496" y="436238"/>
                    </a:cubicBezTo>
                    <a:cubicBezTo>
                      <a:pt x="1222789" y="423053"/>
                      <a:pt x="1240368" y="408770"/>
                      <a:pt x="1261935" y="398411"/>
                    </a:cubicBezTo>
                    <a:cubicBezTo>
                      <a:pt x="1279756" y="387165"/>
                      <a:pt x="1300376" y="381542"/>
                      <a:pt x="1320995" y="379669"/>
                    </a:cubicBezTo>
                    <a:cubicBezTo>
                      <a:pt x="1326613" y="379669"/>
                      <a:pt x="1331305" y="378731"/>
                      <a:pt x="1332230" y="374981"/>
                    </a:cubicBezTo>
                    <a:cubicBezTo>
                      <a:pt x="1333178" y="372170"/>
                      <a:pt x="1336922" y="368421"/>
                      <a:pt x="1339720" y="371232"/>
                    </a:cubicBezTo>
                    <a:cubicBezTo>
                      <a:pt x="1343487" y="374981"/>
                      <a:pt x="1347232" y="376856"/>
                      <a:pt x="1344412" y="381542"/>
                    </a:cubicBezTo>
                    <a:cubicBezTo>
                      <a:pt x="1344412" y="386229"/>
                      <a:pt x="1344412" y="391851"/>
                      <a:pt x="1341615" y="394664"/>
                    </a:cubicBezTo>
                    <a:cubicBezTo>
                      <a:pt x="1336922" y="405910"/>
                      <a:pt x="1328485" y="417158"/>
                      <a:pt x="1318176" y="422780"/>
                    </a:cubicBezTo>
                    <a:cubicBezTo>
                      <a:pt x="1298481" y="437778"/>
                      <a:pt x="1277862" y="449024"/>
                      <a:pt x="1252573" y="456522"/>
                    </a:cubicBezTo>
                    <a:cubicBezTo>
                      <a:pt x="1240391" y="462144"/>
                      <a:pt x="1231954" y="464957"/>
                      <a:pt x="1220696" y="468706"/>
                    </a:cubicBezTo>
                    <a:cubicBezTo>
                      <a:pt x="1213206" y="470579"/>
                      <a:pt x="1201950" y="471517"/>
                      <a:pt x="1193513" y="473392"/>
                    </a:cubicBezTo>
                    <a:lnTo>
                      <a:pt x="1193513" y="471517"/>
                    </a:lnTo>
                    <a:cubicBezTo>
                      <a:pt x="1188842" y="471517"/>
                      <a:pt x="1185075" y="471517"/>
                      <a:pt x="1181330" y="473392"/>
                    </a:cubicBezTo>
                    <a:cubicBezTo>
                      <a:pt x="1178532" y="473392"/>
                      <a:pt x="1172893" y="476203"/>
                      <a:pt x="1170095" y="473392"/>
                    </a:cubicBezTo>
                    <a:cubicBezTo>
                      <a:pt x="1169148" y="470579"/>
                      <a:pt x="1174766" y="464957"/>
                      <a:pt x="1175713" y="464019"/>
                    </a:cubicBezTo>
                    <a:close/>
                    <a:moveTo>
                      <a:pt x="371604" y="268138"/>
                    </a:moveTo>
                    <a:cubicBezTo>
                      <a:pt x="374424" y="264388"/>
                      <a:pt x="380042" y="259703"/>
                      <a:pt x="385659" y="255953"/>
                    </a:cubicBezTo>
                    <a:lnTo>
                      <a:pt x="389404" y="260639"/>
                    </a:lnTo>
                    <a:cubicBezTo>
                      <a:pt x="386606" y="268138"/>
                      <a:pt x="380042" y="271887"/>
                      <a:pt x="371604" y="268138"/>
                    </a:cubicBezTo>
                    <a:close/>
                    <a:moveTo>
                      <a:pt x="413790" y="235334"/>
                    </a:moveTo>
                    <a:cubicBezTo>
                      <a:pt x="413790" y="233459"/>
                      <a:pt x="412843" y="233459"/>
                      <a:pt x="409098" y="232523"/>
                    </a:cubicBezTo>
                    <a:cubicBezTo>
                      <a:pt x="409098" y="225961"/>
                      <a:pt x="414715" y="225024"/>
                      <a:pt x="418460" y="222213"/>
                    </a:cubicBezTo>
                    <a:cubicBezTo>
                      <a:pt x="420333" y="225024"/>
                      <a:pt x="421280" y="225961"/>
                      <a:pt x="424100" y="226899"/>
                    </a:cubicBezTo>
                    <a:cubicBezTo>
                      <a:pt x="424100" y="232523"/>
                      <a:pt x="418460" y="233459"/>
                      <a:pt x="413790" y="235334"/>
                    </a:cubicBezTo>
                    <a:close/>
                    <a:moveTo>
                      <a:pt x="433462" y="216589"/>
                    </a:moveTo>
                    <a:cubicBezTo>
                      <a:pt x="432515" y="218464"/>
                      <a:pt x="430643" y="221275"/>
                      <a:pt x="428770" y="221275"/>
                    </a:cubicBezTo>
                    <a:lnTo>
                      <a:pt x="428770" y="216589"/>
                    </a:lnTo>
                    <a:lnTo>
                      <a:pt x="425025" y="216589"/>
                    </a:lnTo>
                    <a:cubicBezTo>
                      <a:pt x="426898" y="214715"/>
                      <a:pt x="426898" y="213776"/>
                      <a:pt x="428770" y="213776"/>
                    </a:cubicBezTo>
                    <a:lnTo>
                      <a:pt x="428770" y="216589"/>
                    </a:lnTo>
                    <a:lnTo>
                      <a:pt x="433462" y="216589"/>
                    </a:lnTo>
                    <a:cubicBezTo>
                      <a:pt x="432515" y="214715"/>
                      <a:pt x="430643" y="213776"/>
                      <a:pt x="428770" y="211904"/>
                    </a:cubicBezTo>
                    <a:lnTo>
                      <a:pt x="428770" y="202530"/>
                    </a:lnTo>
                    <a:lnTo>
                      <a:pt x="426898" y="199719"/>
                    </a:lnTo>
                    <a:lnTo>
                      <a:pt x="428770" y="199719"/>
                    </a:lnTo>
                    <a:lnTo>
                      <a:pt x="428770" y="202530"/>
                    </a:lnTo>
                    <a:lnTo>
                      <a:pt x="443772" y="194095"/>
                    </a:lnTo>
                    <a:cubicBezTo>
                      <a:pt x="444719" y="195034"/>
                      <a:pt x="447517" y="196906"/>
                      <a:pt x="447517" y="196906"/>
                    </a:cubicBezTo>
                    <a:cubicBezTo>
                      <a:pt x="443772" y="203466"/>
                      <a:pt x="439080" y="210029"/>
                      <a:pt x="433462" y="216589"/>
                    </a:cubicBezTo>
                    <a:close/>
                    <a:moveTo>
                      <a:pt x="234760" y="245644"/>
                    </a:moveTo>
                    <a:cubicBezTo>
                      <a:pt x="236654" y="251268"/>
                      <a:pt x="234760" y="253140"/>
                      <a:pt x="230089" y="255953"/>
                    </a:cubicBezTo>
                    <a:cubicBezTo>
                      <a:pt x="229142" y="251268"/>
                      <a:pt x="230089" y="247518"/>
                      <a:pt x="234760" y="245644"/>
                    </a:cubicBezTo>
                    <a:close/>
                    <a:moveTo>
                      <a:pt x="224449" y="260639"/>
                    </a:moveTo>
                    <a:lnTo>
                      <a:pt x="224449" y="271887"/>
                    </a:lnTo>
                    <a:cubicBezTo>
                      <a:pt x="221652" y="272823"/>
                      <a:pt x="215087" y="275634"/>
                      <a:pt x="210395" y="279383"/>
                    </a:cubicBezTo>
                    <a:cubicBezTo>
                      <a:pt x="210395" y="268138"/>
                      <a:pt x="217907" y="265324"/>
                      <a:pt x="224449" y="260639"/>
                    </a:cubicBezTo>
                    <a:close/>
                    <a:moveTo>
                      <a:pt x="201033" y="290632"/>
                    </a:moveTo>
                    <a:cubicBezTo>
                      <a:pt x="201033" y="298128"/>
                      <a:pt x="200086" y="298128"/>
                      <a:pt x="192596" y="298128"/>
                    </a:cubicBezTo>
                    <a:cubicBezTo>
                      <a:pt x="192596" y="292504"/>
                      <a:pt x="195415" y="291568"/>
                      <a:pt x="201033" y="290632"/>
                    </a:cubicBezTo>
                    <a:close/>
                    <a:moveTo>
                      <a:pt x="172901" y="322497"/>
                    </a:moveTo>
                    <a:cubicBezTo>
                      <a:pt x="173849" y="317811"/>
                      <a:pt x="175721" y="314062"/>
                      <a:pt x="183233" y="313125"/>
                    </a:cubicBezTo>
                    <a:cubicBezTo>
                      <a:pt x="181338" y="318124"/>
                      <a:pt x="177902" y="321248"/>
                      <a:pt x="172901" y="322497"/>
                    </a:cubicBezTo>
                    <a:lnTo>
                      <a:pt x="172901" y="332806"/>
                    </a:lnTo>
                    <a:lnTo>
                      <a:pt x="168231" y="332806"/>
                    </a:lnTo>
                    <a:cubicBezTo>
                      <a:pt x="168231" y="328121"/>
                      <a:pt x="169157" y="325308"/>
                      <a:pt x="172901" y="322497"/>
                    </a:cubicBezTo>
                    <a:close/>
                    <a:moveTo>
                      <a:pt x="190723" y="341241"/>
                    </a:moveTo>
                    <a:cubicBezTo>
                      <a:pt x="195415" y="333745"/>
                      <a:pt x="202905" y="330932"/>
                      <a:pt x="202905" y="322497"/>
                    </a:cubicBezTo>
                    <a:cubicBezTo>
                      <a:pt x="202905" y="320622"/>
                      <a:pt x="203830" y="318747"/>
                      <a:pt x="206650" y="315936"/>
                    </a:cubicBezTo>
                    <a:cubicBezTo>
                      <a:pt x="209470" y="313125"/>
                      <a:pt x="211342" y="307502"/>
                      <a:pt x="215087" y="302816"/>
                    </a:cubicBezTo>
                    <a:cubicBezTo>
                      <a:pt x="219779" y="299066"/>
                      <a:pt x="222577" y="294381"/>
                      <a:pt x="227270" y="291568"/>
                    </a:cubicBezTo>
                    <a:cubicBezTo>
                      <a:pt x="230089" y="286882"/>
                      <a:pt x="230089" y="284071"/>
                      <a:pt x="234760" y="280322"/>
                    </a:cubicBezTo>
                    <a:cubicBezTo>
                      <a:pt x="236654" y="275634"/>
                      <a:pt x="241324" y="272823"/>
                      <a:pt x="244144" y="267201"/>
                    </a:cubicBezTo>
                    <a:cubicBezTo>
                      <a:pt x="250709" y="260639"/>
                      <a:pt x="260071" y="255953"/>
                      <a:pt x="260071" y="245644"/>
                    </a:cubicBezTo>
                    <a:cubicBezTo>
                      <a:pt x="265688" y="238145"/>
                      <a:pt x="275073" y="228774"/>
                      <a:pt x="280690" y="221275"/>
                    </a:cubicBezTo>
                    <a:cubicBezTo>
                      <a:pt x="288202" y="213778"/>
                      <a:pt x="292872" y="207216"/>
                      <a:pt x="298512" y="199719"/>
                    </a:cubicBezTo>
                    <a:cubicBezTo>
                      <a:pt x="299437" y="196906"/>
                      <a:pt x="303182" y="195034"/>
                      <a:pt x="305054" y="192221"/>
                    </a:cubicBezTo>
                    <a:cubicBezTo>
                      <a:pt x="318184" y="179100"/>
                      <a:pt x="333186" y="168790"/>
                      <a:pt x="342548" y="152857"/>
                    </a:cubicBezTo>
                    <a:cubicBezTo>
                      <a:pt x="358475" y="140672"/>
                      <a:pt x="368785" y="122866"/>
                      <a:pt x="384734" y="113493"/>
                    </a:cubicBezTo>
                    <a:cubicBezTo>
                      <a:pt x="399713" y="102247"/>
                      <a:pt x="410971" y="87252"/>
                      <a:pt x="428770" y="79753"/>
                    </a:cubicBezTo>
                    <a:cubicBezTo>
                      <a:pt x="432515" y="79753"/>
                      <a:pt x="433462" y="75067"/>
                      <a:pt x="437208" y="73193"/>
                    </a:cubicBezTo>
                    <a:cubicBezTo>
                      <a:pt x="452209" y="60072"/>
                      <a:pt x="470956" y="51635"/>
                      <a:pt x="486883" y="41325"/>
                    </a:cubicBezTo>
                    <a:cubicBezTo>
                      <a:pt x="500012" y="33829"/>
                      <a:pt x="513120" y="25394"/>
                      <a:pt x="522504" y="15084"/>
                    </a:cubicBezTo>
                    <a:cubicBezTo>
                      <a:pt x="527197" y="9460"/>
                      <a:pt x="537506" y="10398"/>
                      <a:pt x="540304" y="17895"/>
                    </a:cubicBezTo>
                    <a:cubicBezTo>
                      <a:pt x="540304" y="21644"/>
                      <a:pt x="543123" y="24455"/>
                      <a:pt x="540304" y="28205"/>
                    </a:cubicBezTo>
                    <a:cubicBezTo>
                      <a:pt x="536559" y="36640"/>
                      <a:pt x="532814" y="45075"/>
                      <a:pt x="526249" y="54448"/>
                    </a:cubicBezTo>
                    <a:cubicBezTo>
                      <a:pt x="518759" y="67569"/>
                      <a:pt x="516886" y="77878"/>
                      <a:pt x="506577" y="90063"/>
                    </a:cubicBezTo>
                    <a:cubicBezTo>
                      <a:pt x="486883" y="113493"/>
                      <a:pt x="468136" y="137862"/>
                      <a:pt x="447517" y="161292"/>
                    </a:cubicBezTo>
                    <a:cubicBezTo>
                      <a:pt x="418460" y="195034"/>
                      <a:pt x="376297" y="225961"/>
                      <a:pt x="346293" y="259703"/>
                    </a:cubicBezTo>
                    <a:cubicBezTo>
                      <a:pt x="314438" y="293443"/>
                      <a:pt x="279765" y="321561"/>
                      <a:pt x="243197" y="350615"/>
                    </a:cubicBezTo>
                    <a:cubicBezTo>
                      <a:pt x="204777" y="379669"/>
                      <a:pt x="183233" y="391853"/>
                      <a:pt x="153229" y="411534"/>
                    </a:cubicBezTo>
                    <a:cubicBezTo>
                      <a:pt x="148537" y="415284"/>
                      <a:pt x="140100" y="428404"/>
                      <a:pt x="131685" y="425593"/>
                    </a:cubicBezTo>
                    <a:cubicBezTo>
                      <a:pt x="131685" y="418094"/>
                      <a:pt x="135430" y="418094"/>
                      <a:pt x="137302" y="411534"/>
                    </a:cubicBezTo>
                    <a:cubicBezTo>
                      <a:pt x="143867" y="405910"/>
                      <a:pt x="144792" y="396539"/>
                      <a:pt x="150410" y="389979"/>
                    </a:cubicBezTo>
                    <a:cubicBezTo>
                      <a:pt x="163539" y="372170"/>
                      <a:pt x="176668" y="355300"/>
                      <a:pt x="190723" y="341241"/>
                    </a:cubicBezTo>
                    <a:close/>
                    <a:moveTo>
                      <a:pt x="149485" y="355300"/>
                    </a:moveTo>
                    <a:cubicBezTo>
                      <a:pt x="150410" y="347802"/>
                      <a:pt x="154176" y="341241"/>
                      <a:pt x="161666" y="337492"/>
                    </a:cubicBezTo>
                    <a:cubicBezTo>
                      <a:pt x="160719" y="345927"/>
                      <a:pt x="156974" y="352489"/>
                      <a:pt x="149485" y="355300"/>
                    </a:cubicBezTo>
                    <a:cubicBezTo>
                      <a:pt x="149485" y="363735"/>
                      <a:pt x="146664" y="367485"/>
                      <a:pt x="138227" y="368421"/>
                    </a:cubicBezTo>
                    <a:cubicBezTo>
                      <a:pt x="138227" y="364672"/>
                      <a:pt x="141973" y="359986"/>
                      <a:pt x="149485" y="355300"/>
                    </a:cubicBezTo>
                    <a:close/>
                    <a:moveTo>
                      <a:pt x="138227" y="371234"/>
                    </a:moveTo>
                    <a:cubicBezTo>
                      <a:pt x="138227" y="378731"/>
                      <a:pt x="135430" y="383416"/>
                      <a:pt x="130737" y="384355"/>
                    </a:cubicBezTo>
                    <a:cubicBezTo>
                      <a:pt x="128865" y="378731"/>
                      <a:pt x="133557" y="372170"/>
                      <a:pt x="138227" y="371234"/>
                    </a:cubicBezTo>
                    <a:close/>
                    <a:moveTo>
                      <a:pt x="120428" y="399350"/>
                    </a:moveTo>
                    <a:cubicBezTo>
                      <a:pt x="118555" y="394664"/>
                      <a:pt x="120428" y="391853"/>
                      <a:pt x="123248" y="389979"/>
                    </a:cubicBezTo>
                    <a:cubicBezTo>
                      <a:pt x="125120" y="394664"/>
                      <a:pt x="125120" y="398414"/>
                      <a:pt x="120428" y="399350"/>
                    </a:cubicBezTo>
                    <a:cubicBezTo>
                      <a:pt x="118555" y="403099"/>
                      <a:pt x="118555" y="405910"/>
                      <a:pt x="118555" y="410596"/>
                    </a:cubicBezTo>
                    <a:cubicBezTo>
                      <a:pt x="117608" y="410596"/>
                      <a:pt x="114811" y="411534"/>
                      <a:pt x="110118" y="413409"/>
                    </a:cubicBezTo>
                    <a:cubicBezTo>
                      <a:pt x="110118" y="404974"/>
                      <a:pt x="111065" y="403099"/>
                      <a:pt x="120428" y="399350"/>
                    </a:cubicBezTo>
                    <a:close/>
                    <a:moveTo>
                      <a:pt x="100734" y="429343"/>
                    </a:moveTo>
                    <a:lnTo>
                      <a:pt x="100734" y="437778"/>
                    </a:lnTo>
                    <a:cubicBezTo>
                      <a:pt x="102628" y="437778"/>
                      <a:pt x="103553" y="439652"/>
                      <a:pt x="103553" y="439652"/>
                    </a:cubicBezTo>
                    <a:cubicBezTo>
                      <a:pt x="103553" y="439652"/>
                      <a:pt x="102628" y="440588"/>
                      <a:pt x="100734" y="440588"/>
                    </a:cubicBezTo>
                    <a:lnTo>
                      <a:pt x="100734" y="437778"/>
                    </a:lnTo>
                    <a:cubicBezTo>
                      <a:pt x="96989" y="437778"/>
                      <a:pt x="95116" y="439652"/>
                      <a:pt x="95116" y="440588"/>
                    </a:cubicBezTo>
                    <a:lnTo>
                      <a:pt x="91372" y="440588"/>
                    </a:lnTo>
                    <a:cubicBezTo>
                      <a:pt x="90424" y="435903"/>
                      <a:pt x="92319" y="430279"/>
                      <a:pt x="100734" y="429343"/>
                    </a:cubicBezTo>
                    <a:close/>
                    <a:moveTo>
                      <a:pt x="62315" y="491200"/>
                    </a:moveTo>
                    <a:cubicBezTo>
                      <a:pt x="64187" y="498697"/>
                      <a:pt x="57623" y="502446"/>
                      <a:pt x="52952" y="505257"/>
                    </a:cubicBezTo>
                    <a:cubicBezTo>
                      <a:pt x="52005" y="498697"/>
                      <a:pt x="54825" y="491200"/>
                      <a:pt x="62315" y="491200"/>
                    </a:cubicBezTo>
                    <a:close/>
                    <a:moveTo>
                      <a:pt x="42643" y="524940"/>
                    </a:moveTo>
                    <a:cubicBezTo>
                      <a:pt x="42643" y="520255"/>
                      <a:pt x="42643" y="517442"/>
                      <a:pt x="46388" y="515567"/>
                    </a:cubicBezTo>
                    <a:lnTo>
                      <a:pt x="46388" y="524002"/>
                    </a:lnTo>
                    <a:cubicBezTo>
                      <a:pt x="52952" y="525877"/>
                      <a:pt x="52952" y="529626"/>
                      <a:pt x="46388" y="533375"/>
                    </a:cubicBezTo>
                    <a:cubicBezTo>
                      <a:pt x="46388" y="535250"/>
                      <a:pt x="46080" y="536499"/>
                      <a:pt x="45440" y="537125"/>
                    </a:cubicBezTo>
                    <a:cubicBezTo>
                      <a:pt x="45440" y="536186"/>
                      <a:pt x="42643" y="536186"/>
                      <a:pt x="42643" y="533375"/>
                    </a:cubicBezTo>
                    <a:cubicBezTo>
                      <a:pt x="39823" y="536186"/>
                      <a:pt x="37003" y="537125"/>
                      <a:pt x="33259" y="537125"/>
                    </a:cubicBezTo>
                    <a:cubicBezTo>
                      <a:pt x="33259" y="532437"/>
                      <a:pt x="35131" y="524940"/>
                      <a:pt x="42643" y="524940"/>
                    </a:cubicBezTo>
                    <a:close/>
                    <a:moveTo>
                      <a:pt x="22949" y="571801"/>
                    </a:moveTo>
                    <a:lnTo>
                      <a:pt x="19204" y="571801"/>
                    </a:lnTo>
                    <a:cubicBezTo>
                      <a:pt x="19204" y="568990"/>
                      <a:pt x="18257" y="564304"/>
                      <a:pt x="24822" y="563366"/>
                    </a:cubicBezTo>
                    <a:lnTo>
                      <a:pt x="24822" y="553056"/>
                    </a:lnTo>
                    <a:cubicBezTo>
                      <a:pt x="22949" y="552120"/>
                      <a:pt x="24822" y="549309"/>
                      <a:pt x="28588" y="549309"/>
                    </a:cubicBezTo>
                    <a:lnTo>
                      <a:pt x="28588" y="563366"/>
                    </a:lnTo>
                    <a:lnTo>
                      <a:pt x="31386" y="563366"/>
                    </a:lnTo>
                    <a:cubicBezTo>
                      <a:pt x="33259" y="564304"/>
                      <a:pt x="35131" y="564304"/>
                      <a:pt x="37003" y="566179"/>
                    </a:cubicBezTo>
                    <a:cubicBezTo>
                      <a:pt x="35131" y="566179"/>
                      <a:pt x="35131" y="568052"/>
                      <a:pt x="33259" y="568990"/>
                    </a:cubicBezTo>
                    <a:cubicBezTo>
                      <a:pt x="31386" y="570865"/>
                      <a:pt x="30461" y="570865"/>
                      <a:pt x="28588" y="571803"/>
                    </a:cubicBezTo>
                    <a:cubicBezTo>
                      <a:pt x="28588" y="571803"/>
                      <a:pt x="25769" y="574614"/>
                      <a:pt x="25769" y="575550"/>
                    </a:cubicBezTo>
                    <a:cubicBezTo>
                      <a:pt x="24822" y="574614"/>
                      <a:pt x="24822" y="571803"/>
                      <a:pt x="22949" y="571803"/>
                    </a:cubicBezTo>
                    <a:close/>
                    <a:moveTo>
                      <a:pt x="395991" y="483129"/>
                    </a:moveTo>
                    <a:cubicBezTo>
                      <a:pt x="391452" y="486753"/>
                      <a:pt x="386937" y="490491"/>
                      <a:pt x="381914" y="494011"/>
                    </a:cubicBezTo>
                    <a:cubicBezTo>
                      <a:pt x="367860" y="503383"/>
                      <a:pt x="355677" y="513692"/>
                      <a:pt x="341623" y="522127"/>
                    </a:cubicBezTo>
                    <a:cubicBezTo>
                      <a:pt x="338803" y="524002"/>
                      <a:pt x="338803" y="525877"/>
                      <a:pt x="337856" y="529626"/>
                    </a:cubicBezTo>
                    <a:cubicBezTo>
                      <a:pt x="333186" y="529626"/>
                      <a:pt x="331313" y="530562"/>
                      <a:pt x="329440" y="530562"/>
                    </a:cubicBezTo>
                    <a:cubicBezTo>
                      <a:pt x="311619" y="548371"/>
                      <a:pt x="288202" y="556806"/>
                      <a:pt x="269455" y="571801"/>
                    </a:cubicBezTo>
                    <a:cubicBezTo>
                      <a:pt x="239451" y="587735"/>
                      <a:pt x="215087" y="609290"/>
                      <a:pt x="184159" y="618664"/>
                    </a:cubicBezTo>
                    <a:lnTo>
                      <a:pt x="176668" y="618664"/>
                    </a:lnTo>
                    <a:cubicBezTo>
                      <a:pt x="183211" y="609290"/>
                      <a:pt x="192596" y="605543"/>
                      <a:pt x="201033" y="602730"/>
                    </a:cubicBezTo>
                    <a:cubicBezTo>
                      <a:pt x="206650" y="601794"/>
                      <a:pt x="210395" y="598980"/>
                      <a:pt x="214140" y="595231"/>
                    </a:cubicBezTo>
                    <a:cubicBezTo>
                      <a:pt x="234760" y="581174"/>
                      <a:pt x="256325" y="568990"/>
                      <a:pt x="275998" y="553056"/>
                    </a:cubicBezTo>
                    <a:cubicBezTo>
                      <a:pt x="295692" y="537123"/>
                      <a:pt x="320056" y="524940"/>
                      <a:pt x="342548" y="509943"/>
                    </a:cubicBezTo>
                    <a:cubicBezTo>
                      <a:pt x="351933" y="505257"/>
                      <a:pt x="361295" y="498697"/>
                      <a:pt x="372551" y="491198"/>
                    </a:cubicBezTo>
                    <a:cubicBezTo>
                      <a:pt x="382531" y="484147"/>
                      <a:pt x="393171" y="477069"/>
                      <a:pt x="403260" y="469788"/>
                    </a:cubicBezTo>
                    <a:cubicBezTo>
                      <a:pt x="400727" y="474157"/>
                      <a:pt x="398326" y="478624"/>
                      <a:pt x="395991" y="483129"/>
                    </a:cubicBezTo>
                    <a:close/>
                    <a:moveTo>
                      <a:pt x="1137316" y="433090"/>
                    </a:moveTo>
                    <a:lnTo>
                      <a:pt x="1151370" y="433090"/>
                    </a:lnTo>
                    <a:cubicBezTo>
                      <a:pt x="1147626" y="439652"/>
                      <a:pt x="1140114" y="436839"/>
                      <a:pt x="1136369" y="436839"/>
                    </a:cubicBezTo>
                    <a:lnTo>
                      <a:pt x="1133549" y="435903"/>
                    </a:lnTo>
                    <a:cubicBezTo>
                      <a:pt x="1136369" y="435903"/>
                      <a:pt x="1136369" y="433090"/>
                      <a:pt x="1137316" y="433090"/>
                    </a:cubicBezTo>
                    <a:close/>
                    <a:moveTo>
                      <a:pt x="1124187" y="437778"/>
                    </a:moveTo>
                    <a:cubicBezTo>
                      <a:pt x="1124187" y="437778"/>
                      <a:pt x="1124187" y="439652"/>
                      <a:pt x="1125112" y="439652"/>
                    </a:cubicBezTo>
                    <a:cubicBezTo>
                      <a:pt x="1124187" y="439652"/>
                      <a:pt x="1124187" y="440588"/>
                      <a:pt x="1124187" y="440588"/>
                    </a:cubicBezTo>
                    <a:lnTo>
                      <a:pt x="1112930" y="440588"/>
                    </a:lnTo>
                    <a:cubicBezTo>
                      <a:pt x="1113877" y="436839"/>
                      <a:pt x="1119494" y="436839"/>
                      <a:pt x="1124187" y="437778"/>
                    </a:cubicBezTo>
                    <a:close/>
                    <a:moveTo>
                      <a:pt x="1000471" y="464019"/>
                    </a:moveTo>
                    <a:cubicBezTo>
                      <a:pt x="1023910" y="458397"/>
                      <a:pt x="1047327" y="451836"/>
                      <a:pt x="1070766" y="445274"/>
                    </a:cubicBezTo>
                    <a:cubicBezTo>
                      <a:pt x="1078256" y="440588"/>
                      <a:pt x="1085768" y="444338"/>
                      <a:pt x="1092310" y="444338"/>
                    </a:cubicBezTo>
                    <a:cubicBezTo>
                      <a:pt x="1086693" y="449960"/>
                      <a:pt x="1079203" y="449960"/>
                      <a:pt x="1071691" y="451836"/>
                    </a:cubicBezTo>
                    <a:cubicBezTo>
                      <a:pt x="1064201" y="451836"/>
                      <a:pt x="1054839" y="456522"/>
                      <a:pt x="1047327" y="458395"/>
                    </a:cubicBezTo>
                    <a:cubicBezTo>
                      <a:pt x="1044530" y="458395"/>
                      <a:pt x="1039837" y="462144"/>
                      <a:pt x="1037018" y="462144"/>
                    </a:cubicBezTo>
                    <a:cubicBezTo>
                      <a:pt x="1023910" y="462144"/>
                      <a:pt x="1012653" y="468706"/>
                      <a:pt x="998598" y="466832"/>
                    </a:cubicBezTo>
                    <a:cubicBezTo>
                      <a:pt x="998598" y="464955"/>
                      <a:pt x="1000471" y="464019"/>
                      <a:pt x="1000471" y="464019"/>
                    </a:cubicBezTo>
                    <a:close/>
                    <a:moveTo>
                      <a:pt x="981724" y="466832"/>
                    </a:moveTo>
                    <a:lnTo>
                      <a:pt x="997651" y="466832"/>
                    </a:lnTo>
                    <a:cubicBezTo>
                      <a:pt x="997651" y="470579"/>
                      <a:pt x="993906" y="470579"/>
                      <a:pt x="989214" y="470579"/>
                    </a:cubicBezTo>
                    <a:lnTo>
                      <a:pt x="978905" y="470579"/>
                    </a:lnTo>
                    <a:cubicBezTo>
                      <a:pt x="979852" y="469643"/>
                      <a:pt x="979852" y="466832"/>
                      <a:pt x="981724" y="466832"/>
                    </a:cubicBezTo>
                    <a:close/>
                    <a:moveTo>
                      <a:pt x="962052" y="471517"/>
                    </a:moveTo>
                    <a:lnTo>
                      <a:pt x="976107" y="471517"/>
                    </a:lnTo>
                    <a:cubicBezTo>
                      <a:pt x="976107" y="473392"/>
                      <a:pt x="975159" y="474328"/>
                      <a:pt x="973287" y="474328"/>
                    </a:cubicBezTo>
                    <a:lnTo>
                      <a:pt x="954540" y="474328"/>
                    </a:lnTo>
                    <a:cubicBezTo>
                      <a:pt x="955487" y="473392"/>
                      <a:pt x="959232" y="471517"/>
                      <a:pt x="962052" y="471517"/>
                    </a:cubicBezTo>
                    <a:close/>
                    <a:moveTo>
                      <a:pt x="939560" y="476203"/>
                    </a:moveTo>
                    <a:lnTo>
                      <a:pt x="952668" y="476203"/>
                    </a:lnTo>
                    <a:cubicBezTo>
                      <a:pt x="948922" y="482763"/>
                      <a:pt x="945178" y="479952"/>
                      <a:pt x="939560" y="479952"/>
                    </a:cubicBezTo>
                    <a:cubicBezTo>
                      <a:pt x="936741" y="479952"/>
                      <a:pt x="936741" y="479016"/>
                      <a:pt x="936741" y="479016"/>
                    </a:cubicBezTo>
                    <a:lnTo>
                      <a:pt x="939560" y="476203"/>
                    </a:lnTo>
                    <a:close/>
                    <a:moveTo>
                      <a:pt x="887065" y="487451"/>
                    </a:moveTo>
                    <a:cubicBezTo>
                      <a:pt x="889884" y="487451"/>
                      <a:pt x="889884" y="486513"/>
                      <a:pt x="891757" y="486513"/>
                    </a:cubicBezTo>
                    <a:lnTo>
                      <a:pt x="920813" y="482763"/>
                    </a:lnTo>
                    <a:lnTo>
                      <a:pt x="926431" y="482763"/>
                    </a:lnTo>
                    <a:lnTo>
                      <a:pt x="923611" y="485576"/>
                    </a:lnTo>
                    <a:lnTo>
                      <a:pt x="919866" y="485576"/>
                    </a:lnTo>
                    <a:cubicBezTo>
                      <a:pt x="910504" y="491198"/>
                      <a:pt x="899247" y="487451"/>
                      <a:pt x="889884" y="491198"/>
                    </a:cubicBezTo>
                    <a:cubicBezTo>
                      <a:pt x="889884" y="491198"/>
                      <a:pt x="887065" y="491198"/>
                      <a:pt x="887065" y="490262"/>
                    </a:cubicBezTo>
                    <a:lnTo>
                      <a:pt x="887065" y="487451"/>
                    </a:lnTo>
                    <a:close/>
                    <a:moveTo>
                      <a:pt x="874883" y="490262"/>
                    </a:moveTo>
                    <a:lnTo>
                      <a:pt x="878628" y="490262"/>
                    </a:lnTo>
                    <a:cubicBezTo>
                      <a:pt x="878628" y="491198"/>
                      <a:pt x="879575" y="491198"/>
                      <a:pt x="881447" y="494009"/>
                    </a:cubicBezTo>
                    <a:cubicBezTo>
                      <a:pt x="879575" y="494009"/>
                      <a:pt x="878628" y="494009"/>
                      <a:pt x="875808" y="495886"/>
                    </a:cubicBezTo>
                    <a:lnTo>
                      <a:pt x="874883" y="495886"/>
                    </a:lnTo>
                    <a:cubicBezTo>
                      <a:pt x="873010" y="494009"/>
                      <a:pt x="870191" y="494009"/>
                      <a:pt x="869265" y="494009"/>
                    </a:cubicBezTo>
                    <a:cubicBezTo>
                      <a:pt x="870191" y="491198"/>
                      <a:pt x="873010" y="491198"/>
                      <a:pt x="874883" y="490262"/>
                    </a:cubicBezTo>
                    <a:close/>
                    <a:moveTo>
                      <a:pt x="664967" y="517442"/>
                    </a:moveTo>
                    <a:cubicBezTo>
                      <a:pt x="656530" y="522127"/>
                      <a:pt x="649018" y="525877"/>
                      <a:pt x="639655" y="525877"/>
                    </a:cubicBezTo>
                    <a:cubicBezTo>
                      <a:pt x="639655" y="524002"/>
                      <a:pt x="645273" y="520253"/>
                      <a:pt x="649018" y="518380"/>
                    </a:cubicBezTo>
                    <a:cubicBezTo>
                      <a:pt x="668711" y="506196"/>
                      <a:pt x="688384" y="495886"/>
                      <a:pt x="708078" y="483702"/>
                    </a:cubicBezTo>
                    <a:cubicBezTo>
                      <a:pt x="721185" y="476203"/>
                      <a:pt x="734315" y="470579"/>
                      <a:pt x="748369" y="466832"/>
                    </a:cubicBezTo>
                    <a:cubicBezTo>
                      <a:pt x="746497" y="468706"/>
                      <a:pt x="743699" y="473392"/>
                      <a:pt x="741805" y="473392"/>
                    </a:cubicBezTo>
                    <a:cubicBezTo>
                      <a:pt x="715568" y="486513"/>
                      <a:pt x="690257" y="503383"/>
                      <a:pt x="664967" y="517442"/>
                    </a:cubicBezTo>
                    <a:close/>
                    <a:moveTo>
                      <a:pt x="693252" y="510278"/>
                    </a:moveTo>
                    <a:cubicBezTo>
                      <a:pt x="696403" y="505447"/>
                      <a:pt x="699883" y="503383"/>
                      <a:pt x="705258" y="503383"/>
                    </a:cubicBezTo>
                    <a:cubicBezTo>
                      <a:pt x="707131" y="500572"/>
                      <a:pt x="711823" y="500572"/>
                      <a:pt x="715568" y="498697"/>
                    </a:cubicBezTo>
                    <a:cubicBezTo>
                      <a:pt x="718387" y="491200"/>
                      <a:pt x="723080" y="490262"/>
                      <a:pt x="730570" y="487451"/>
                    </a:cubicBezTo>
                    <a:cubicBezTo>
                      <a:pt x="733389" y="485576"/>
                      <a:pt x="735262" y="485576"/>
                      <a:pt x="738059" y="485576"/>
                    </a:cubicBezTo>
                    <a:cubicBezTo>
                      <a:pt x="740879" y="479952"/>
                      <a:pt x="746497" y="479952"/>
                      <a:pt x="749317" y="479952"/>
                    </a:cubicBezTo>
                    <a:lnTo>
                      <a:pt x="749317" y="485576"/>
                    </a:lnTo>
                    <a:cubicBezTo>
                      <a:pt x="750506" y="485103"/>
                      <a:pt x="752224" y="483717"/>
                      <a:pt x="754361" y="481598"/>
                    </a:cubicBezTo>
                    <a:cubicBezTo>
                      <a:pt x="753612" y="482926"/>
                      <a:pt x="752863" y="484184"/>
                      <a:pt x="752114" y="485576"/>
                    </a:cubicBezTo>
                    <a:lnTo>
                      <a:pt x="738985" y="505257"/>
                    </a:lnTo>
                    <a:lnTo>
                      <a:pt x="736165" y="506196"/>
                    </a:lnTo>
                    <a:cubicBezTo>
                      <a:pt x="725856" y="502446"/>
                      <a:pt x="721185" y="509945"/>
                      <a:pt x="711801" y="509945"/>
                    </a:cubicBezTo>
                    <a:cubicBezTo>
                      <a:pt x="705368" y="508337"/>
                      <a:pt x="699288" y="508857"/>
                      <a:pt x="693252" y="510278"/>
                    </a:cubicBezTo>
                    <a:close/>
                    <a:moveTo>
                      <a:pt x="723983" y="595231"/>
                    </a:moveTo>
                    <a:cubicBezTo>
                      <a:pt x="723983" y="601794"/>
                      <a:pt x="723983" y="604605"/>
                      <a:pt x="718366" y="605541"/>
                    </a:cubicBezTo>
                    <a:cubicBezTo>
                      <a:pt x="718366" y="601794"/>
                      <a:pt x="718366" y="598044"/>
                      <a:pt x="723983" y="595231"/>
                    </a:cubicBezTo>
                    <a:close/>
                    <a:moveTo>
                      <a:pt x="708981" y="595231"/>
                    </a:moveTo>
                    <a:cubicBezTo>
                      <a:pt x="708981" y="601794"/>
                      <a:pt x="708981" y="604605"/>
                      <a:pt x="705236" y="605541"/>
                    </a:cubicBezTo>
                    <a:cubicBezTo>
                      <a:pt x="703364" y="601794"/>
                      <a:pt x="703364" y="598044"/>
                      <a:pt x="708981" y="595231"/>
                    </a:cubicBezTo>
                    <a:close/>
                    <a:moveTo>
                      <a:pt x="694926" y="621474"/>
                    </a:moveTo>
                    <a:cubicBezTo>
                      <a:pt x="694926" y="631784"/>
                      <a:pt x="690234" y="640219"/>
                      <a:pt x="678999" y="643032"/>
                    </a:cubicBezTo>
                    <a:cubicBezTo>
                      <a:pt x="683692" y="634595"/>
                      <a:pt x="687436" y="628035"/>
                      <a:pt x="694926" y="621474"/>
                    </a:cubicBezTo>
                    <a:close/>
                    <a:moveTo>
                      <a:pt x="685564" y="662713"/>
                    </a:moveTo>
                    <a:cubicBezTo>
                      <a:pt x="688362" y="647718"/>
                      <a:pt x="696799" y="636472"/>
                      <a:pt x="707109" y="625224"/>
                    </a:cubicBezTo>
                    <a:cubicBezTo>
                      <a:pt x="707109" y="624287"/>
                      <a:pt x="708981" y="624287"/>
                      <a:pt x="708981" y="624287"/>
                    </a:cubicBezTo>
                    <a:cubicBezTo>
                      <a:pt x="709928" y="618664"/>
                      <a:pt x="708981" y="614914"/>
                      <a:pt x="713673" y="610228"/>
                    </a:cubicBezTo>
                    <a:cubicBezTo>
                      <a:pt x="713673" y="616789"/>
                      <a:pt x="714621" y="621474"/>
                      <a:pt x="708981" y="624287"/>
                    </a:cubicBezTo>
                    <a:cubicBezTo>
                      <a:pt x="709928" y="628973"/>
                      <a:pt x="707109" y="634595"/>
                      <a:pt x="705236" y="637408"/>
                    </a:cubicBezTo>
                    <a:cubicBezTo>
                      <a:pt x="698671" y="643968"/>
                      <a:pt x="694926" y="651467"/>
                      <a:pt x="694001" y="658964"/>
                    </a:cubicBezTo>
                    <a:cubicBezTo>
                      <a:pt x="691182" y="662713"/>
                      <a:pt x="688362" y="662713"/>
                      <a:pt x="685564" y="662713"/>
                    </a:cubicBezTo>
                    <a:cubicBezTo>
                      <a:pt x="687436" y="667399"/>
                      <a:pt x="690234" y="670212"/>
                      <a:pt x="687436" y="672086"/>
                    </a:cubicBezTo>
                    <a:cubicBezTo>
                      <a:pt x="678999" y="685207"/>
                      <a:pt x="675255" y="694578"/>
                      <a:pt x="668690" y="706763"/>
                    </a:cubicBezTo>
                    <a:cubicBezTo>
                      <a:pt x="667743" y="708637"/>
                      <a:pt x="663072" y="709576"/>
                      <a:pt x="661200" y="710512"/>
                    </a:cubicBezTo>
                    <a:cubicBezTo>
                      <a:pt x="661200" y="714261"/>
                      <a:pt x="663072" y="720822"/>
                      <a:pt x="656508" y="721760"/>
                    </a:cubicBezTo>
                    <a:cubicBezTo>
                      <a:pt x="656508" y="717072"/>
                      <a:pt x="655560" y="713325"/>
                      <a:pt x="661200" y="710512"/>
                    </a:cubicBezTo>
                    <a:cubicBezTo>
                      <a:pt x="661200" y="708637"/>
                      <a:pt x="659327" y="706763"/>
                      <a:pt x="661200" y="704890"/>
                    </a:cubicBezTo>
                    <a:cubicBezTo>
                      <a:pt x="667743" y="693642"/>
                      <a:pt x="671509" y="681458"/>
                      <a:pt x="678052" y="670212"/>
                    </a:cubicBezTo>
                    <a:cubicBezTo>
                      <a:pt x="678999" y="667399"/>
                      <a:pt x="683692" y="663651"/>
                      <a:pt x="685564" y="662713"/>
                    </a:cubicBezTo>
                    <a:close/>
                    <a:moveTo>
                      <a:pt x="634941" y="724571"/>
                    </a:moveTo>
                    <a:cubicBezTo>
                      <a:pt x="648071" y="706763"/>
                      <a:pt x="656508" y="687082"/>
                      <a:pt x="667743" y="668337"/>
                    </a:cubicBezTo>
                    <a:cubicBezTo>
                      <a:pt x="667743" y="667399"/>
                      <a:pt x="668690" y="667399"/>
                      <a:pt x="670562" y="663651"/>
                    </a:cubicBezTo>
                    <a:cubicBezTo>
                      <a:pt x="670562" y="668337"/>
                      <a:pt x="670562" y="672086"/>
                      <a:pt x="668690" y="675836"/>
                    </a:cubicBezTo>
                    <a:cubicBezTo>
                      <a:pt x="658380" y="697391"/>
                      <a:pt x="646198" y="718011"/>
                      <a:pt x="636813" y="737691"/>
                    </a:cubicBezTo>
                    <a:cubicBezTo>
                      <a:pt x="634941" y="737691"/>
                      <a:pt x="633069" y="740502"/>
                      <a:pt x="633069" y="740502"/>
                    </a:cubicBezTo>
                    <a:cubicBezTo>
                      <a:pt x="632144" y="735817"/>
                      <a:pt x="632144" y="728320"/>
                      <a:pt x="634941" y="724571"/>
                    </a:cubicBezTo>
                    <a:close/>
                    <a:moveTo>
                      <a:pt x="569338" y="912962"/>
                    </a:moveTo>
                    <a:cubicBezTo>
                      <a:pt x="571210" y="908270"/>
                      <a:pt x="571210" y="901705"/>
                      <a:pt x="572158" y="898908"/>
                    </a:cubicBezTo>
                    <a:cubicBezTo>
                      <a:pt x="574031" y="894215"/>
                      <a:pt x="574031" y="889523"/>
                      <a:pt x="574031" y="882958"/>
                    </a:cubicBezTo>
                    <a:cubicBezTo>
                      <a:pt x="569338" y="885778"/>
                      <a:pt x="569338" y="893268"/>
                      <a:pt x="566540" y="897960"/>
                    </a:cubicBezTo>
                    <a:cubicBezTo>
                      <a:pt x="564646" y="898908"/>
                      <a:pt x="564646" y="901705"/>
                      <a:pt x="559976" y="901705"/>
                    </a:cubicBezTo>
                    <a:cubicBezTo>
                      <a:pt x="559976" y="898908"/>
                      <a:pt x="559029" y="895141"/>
                      <a:pt x="559976" y="894215"/>
                    </a:cubicBezTo>
                    <a:cubicBezTo>
                      <a:pt x="566540" y="885778"/>
                      <a:pt x="567466" y="874521"/>
                      <a:pt x="574031" y="866084"/>
                    </a:cubicBezTo>
                    <a:lnTo>
                      <a:pt x="574031" y="882958"/>
                    </a:lnTo>
                    <a:cubicBezTo>
                      <a:pt x="583393" y="875469"/>
                      <a:pt x="584340" y="863286"/>
                      <a:pt x="589958" y="854849"/>
                    </a:cubicBezTo>
                    <a:cubicBezTo>
                      <a:pt x="590905" y="850161"/>
                      <a:pt x="592777" y="847348"/>
                      <a:pt x="592777" y="842663"/>
                    </a:cubicBezTo>
                    <a:cubicBezTo>
                      <a:pt x="593702" y="840788"/>
                      <a:pt x="593702" y="839852"/>
                      <a:pt x="593702" y="835164"/>
                    </a:cubicBezTo>
                    <a:cubicBezTo>
                      <a:pt x="604959" y="823918"/>
                      <a:pt x="609651" y="807048"/>
                      <a:pt x="618089" y="792051"/>
                    </a:cubicBezTo>
                    <a:lnTo>
                      <a:pt x="618089" y="782679"/>
                    </a:lnTo>
                    <a:cubicBezTo>
                      <a:pt x="617142" y="782679"/>
                      <a:pt x="615269" y="782679"/>
                      <a:pt x="615269" y="786429"/>
                    </a:cubicBezTo>
                    <a:cubicBezTo>
                      <a:pt x="608704" y="796738"/>
                      <a:pt x="604959" y="807046"/>
                      <a:pt x="598395" y="818294"/>
                    </a:cubicBezTo>
                    <a:cubicBezTo>
                      <a:pt x="593702" y="823918"/>
                      <a:pt x="593702" y="829540"/>
                      <a:pt x="592777" y="835164"/>
                    </a:cubicBezTo>
                    <a:cubicBezTo>
                      <a:pt x="590905" y="837039"/>
                      <a:pt x="589958" y="839852"/>
                      <a:pt x="587160" y="842663"/>
                    </a:cubicBezTo>
                    <a:cubicBezTo>
                      <a:pt x="587160" y="843599"/>
                      <a:pt x="586212" y="843599"/>
                      <a:pt x="584340" y="845474"/>
                    </a:cubicBezTo>
                    <a:cubicBezTo>
                      <a:pt x="583393" y="855774"/>
                      <a:pt x="582468" y="859541"/>
                      <a:pt x="574031" y="863286"/>
                    </a:cubicBezTo>
                    <a:cubicBezTo>
                      <a:pt x="574031" y="855774"/>
                      <a:pt x="575903" y="848287"/>
                      <a:pt x="584340" y="845474"/>
                    </a:cubicBezTo>
                    <a:cubicBezTo>
                      <a:pt x="584340" y="840788"/>
                      <a:pt x="584340" y="835164"/>
                      <a:pt x="586212" y="832353"/>
                    </a:cubicBezTo>
                    <a:cubicBezTo>
                      <a:pt x="598395" y="800486"/>
                      <a:pt x="610577" y="772370"/>
                      <a:pt x="628398" y="743316"/>
                    </a:cubicBezTo>
                    <a:cubicBezTo>
                      <a:pt x="629323" y="741441"/>
                      <a:pt x="632144" y="741441"/>
                      <a:pt x="632144" y="740502"/>
                    </a:cubicBezTo>
                    <a:cubicBezTo>
                      <a:pt x="633069" y="747065"/>
                      <a:pt x="632144" y="752687"/>
                      <a:pt x="628398" y="756436"/>
                    </a:cubicBezTo>
                    <a:cubicBezTo>
                      <a:pt x="624632" y="762060"/>
                      <a:pt x="621834" y="766746"/>
                      <a:pt x="622759" y="774245"/>
                    </a:cubicBezTo>
                    <a:cubicBezTo>
                      <a:pt x="628398" y="772370"/>
                      <a:pt x="629323" y="766746"/>
                      <a:pt x="633069" y="762060"/>
                    </a:cubicBezTo>
                    <a:cubicBezTo>
                      <a:pt x="636813" y="759249"/>
                      <a:pt x="634941" y="752687"/>
                      <a:pt x="641506" y="749876"/>
                    </a:cubicBezTo>
                    <a:cubicBezTo>
                      <a:pt x="641506" y="741441"/>
                      <a:pt x="644325" y="735817"/>
                      <a:pt x="651815" y="731131"/>
                    </a:cubicBezTo>
                    <a:cubicBezTo>
                      <a:pt x="652762" y="740502"/>
                      <a:pt x="651815" y="747065"/>
                      <a:pt x="641506" y="749876"/>
                    </a:cubicBezTo>
                    <a:cubicBezTo>
                      <a:pt x="639633" y="756436"/>
                      <a:pt x="637760" y="762060"/>
                      <a:pt x="639633" y="768620"/>
                    </a:cubicBezTo>
                    <a:cubicBezTo>
                      <a:pt x="639633" y="775181"/>
                      <a:pt x="633069" y="778930"/>
                      <a:pt x="632144" y="782679"/>
                    </a:cubicBezTo>
                    <a:cubicBezTo>
                      <a:pt x="629323" y="789240"/>
                      <a:pt x="625579" y="792051"/>
                      <a:pt x="624632" y="794864"/>
                    </a:cubicBezTo>
                    <a:cubicBezTo>
                      <a:pt x="628398" y="801424"/>
                      <a:pt x="619961" y="801424"/>
                      <a:pt x="618089" y="807048"/>
                    </a:cubicBezTo>
                    <a:cubicBezTo>
                      <a:pt x="615269" y="818294"/>
                      <a:pt x="605884" y="828604"/>
                      <a:pt x="603087" y="840788"/>
                    </a:cubicBezTo>
                    <a:lnTo>
                      <a:pt x="574031" y="906398"/>
                    </a:lnTo>
                    <a:cubicBezTo>
                      <a:pt x="574031" y="909217"/>
                      <a:pt x="572158" y="911090"/>
                      <a:pt x="569338" y="912962"/>
                    </a:cubicBezTo>
                    <a:close/>
                    <a:moveTo>
                      <a:pt x="867393" y="677708"/>
                    </a:moveTo>
                    <a:cubicBezTo>
                      <a:pt x="873010" y="670212"/>
                      <a:pt x="878628" y="662713"/>
                      <a:pt x="886118" y="658964"/>
                    </a:cubicBezTo>
                    <a:lnTo>
                      <a:pt x="886118" y="662713"/>
                    </a:lnTo>
                    <a:cubicBezTo>
                      <a:pt x="874883" y="690831"/>
                      <a:pt x="858956" y="720822"/>
                      <a:pt x="840209" y="744252"/>
                    </a:cubicBezTo>
                    <a:cubicBezTo>
                      <a:pt x="822387" y="768620"/>
                      <a:pt x="804587" y="790176"/>
                      <a:pt x="789585" y="815483"/>
                    </a:cubicBezTo>
                    <a:cubicBezTo>
                      <a:pt x="787713" y="816419"/>
                      <a:pt x="786788" y="818294"/>
                      <a:pt x="783043" y="821107"/>
                    </a:cubicBezTo>
                    <a:cubicBezTo>
                      <a:pt x="767094" y="837039"/>
                      <a:pt x="752114" y="855774"/>
                      <a:pt x="736165" y="869851"/>
                    </a:cubicBezTo>
                    <a:cubicBezTo>
                      <a:pt x="716493" y="886703"/>
                      <a:pt x="702438" y="904525"/>
                      <a:pt x="685564" y="919505"/>
                    </a:cubicBezTo>
                    <a:cubicBezTo>
                      <a:pt x="683692" y="920452"/>
                      <a:pt x="681819" y="920452"/>
                      <a:pt x="678999" y="920452"/>
                    </a:cubicBezTo>
                    <a:lnTo>
                      <a:pt x="678052" y="920452"/>
                    </a:lnTo>
                    <a:lnTo>
                      <a:pt x="678052" y="919505"/>
                    </a:lnTo>
                    <a:cubicBezTo>
                      <a:pt x="681819" y="913887"/>
                      <a:pt x="685564" y="911090"/>
                      <a:pt x="690234" y="906398"/>
                    </a:cubicBezTo>
                    <a:cubicBezTo>
                      <a:pt x="694001" y="901705"/>
                      <a:pt x="697746" y="897960"/>
                      <a:pt x="698671" y="891396"/>
                    </a:cubicBezTo>
                    <a:cubicBezTo>
                      <a:pt x="698671" y="889523"/>
                      <a:pt x="698671" y="886703"/>
                      <a:pt x="702438" y="886703"/>
                    </a:cubicBezTo>
                    <a:cubicBezTo>
                      <a:pt x="711801" y="882033"/>
                      <a:pt x="713673" y="872649"/>
                      <a:pt x="718366" y="866084"/>
                    </a:cubicBezTo>
                    <a:cubicBezTo>
                      <a:pt x="723983" y="856722"/>
                      <a:pt x="729600" y="848287"/>
                      <a:pt x="736165" y="842663"/>
                    </a:cubicBezTo>
                    <a:cubicBezTo>
                      <a:pt x="737112" y="839850"/>
                      <a:pt x="740857" y="837039"/>
                      <a:pt x="741805" y="835164"/>
                    </a:cubicBezTo>
                    <a:cubicBezTo>
                      <a:pt x="753986" y="825793"/>
                      <a:pt x="762424" y="812670"/>
                      <a:pt x="771786" y="801424"/>
                    </a:cubicBezTo>
                    <a:cubicBezTo>
                      <a:pt x="777404" y="798613"/>
                      <a:pt x="771786" y="796736"/>
                      <a:pt x="774606" y="793925"/>
                    </a:cubicBezTo>
                    <a:cubicBezTo>
                      <a:pt x="778351" y="787365"/>
                      <a:pt x="782096" y="779866"/>
                      <a:pt x="787713" y="775181"/>
                    </a:cubicBezTo>
                    <a:cubicBezTo>
                      <a:pt x="790533" y="770495"/>
                      <a:pt x="794278" y="763935"/>
                      <a:pt x="797097" y="762060"/>
                    </a:cubicBezTo>
                    <a:cubicBezTo>
                      <a:pt x="801768" y="759249"/>
                      <a:pt x="804587" y="755500"/>
                      <a:pt x="806460" y="748001"/>
                    </a:cubicBezTo>
                    <a:cubicBezTo>
                      <a:pt x="807407" y="741441"/>
                      <a:pt x="813972" y="740502"/>
                      <a:pt x="821462" y="737691"/>
                    </a:cubicBezTo>
                    <a:cubicBezTo>
                      <a:pt x="824259" y="737691"/>
                      <a:pt x="824259" y="735817"/>
                      <a:pt x="817717" y="729256"/>
                    </a:cubicBezTo>
                    <a:cubicBezTo>
                      <a:pt x="820206" y="724258"/>
                      <a:pt x="823952" y="721447"/>
                      <a:pt x="828952" y="720822"/>
                    </a:cubicBezTo>
                    <a:cubicBezTo>
                      <a:pt x="828952" y="713323"/>
                      <a:pt x="832697" y="708637"/>
                      <a:pt x="840209" y="706763"/>
                    </a:cubicBezTo>
                    <a:cubicBezTo>
                      <a:pt x="840209" y="703015"/>
                      <a:pt x="840209" y="697391"/>
                      <a:pt x="843007" y="696453"/>
                    </a:cubicBezTo>
                    <a:cubicBezTo>
                      <a:pt x="843007" y="689893"/>
                      <a:pt x="845826" y="685207"/>
                      <a:pt x="852391" y="683332"/>
                    </a:cubicBezTo>
                    <a:lnTo>
                      <a:pt x="852391" y="688018"/>
                    </a:lnTo>
                    <a:lnTo>
                      <a:pt x="855210" y="689893"/>
                    </a:lnTo>
                    <a:cubicBezTo>
                      <a:pt x="856136" y="689893"/>
                      <a:pt x="858956" y="689893"/>
                      <a:pt x="858956" y="688018"/>
                    </a:cubicBezTo>
                    <a:lnTo>
                      <a:pt x="858956" y="683332"/>
                    </a:lnTo>
                    <a:cubicBezTo>
                      <a:pt x="856136" y="683332"/>
                      <a:pt x="855210" y="681458"/>
                      <a:pt x="855210" y="681458"/>
                    </a:cubicBezTo>
                    <a:cubicBezTo>
                      <a:pt x="855210" y="681458"/>
                      <a:pt x="855210" y="678645"/>
                      <a:pt x="856136" y="678645"/>
                    </a:cubicBezTo>
                    <a:cubicBezTo>
                      <a:pt x="856136" y="678645"/>
                      <a:pt x="858956" y="681458"/>
                      <a:pt x="858956" y="683332"/>
                    </a:cubicBezTo>
                    <a:cubicBezTo>
                      <a:pt x="860828" y="681458"/>
                      <a:pt x="863626" y="681458"/>
                      <a:pt x="867393" y="677708"/>
                    </a:cubicBezTo>
                    <a:close/>
                    <a:moveTo>
                      <a:pt x="859881" y="607415"/>
                    </a:moveTo>
                    <a:cubicBezTo>
                      <a:pt x="862700" y="617725"/>
                      <a:pt x="863626" y="625224"/>
                      <a:pt x="859881" y="636472"/>
                    </a:cubicBezTo>
                    <a:cubicBezTo>
                      <a:pt x="856136" y="641157"/>
                      <a:pt x="856136" y="644905"/>
                      <a:pt x="852391" y="651467"/>
                    </a:cubicBezTo>
                    <a:cubicBezTo>
                      <a:pt x="843954" y="663651"/>
                      <a:pt x="840209" y="681458"/>
                      <a:pt x="828952" y="694578"/>
                    </a:cubicBezTo>
                    <a:cubicBezTo>
                      <a:pt x="821462" y="706763"/>
                      <a:pt x="813950" y="720822"/>
                      <a:pt x="804587" y="731131"/>
                    </a:cubicBezTo>
                    <a:cubicBezTo>
                      <a:pt x="800843" y="733006"/>
                      <a:pt x="800843" y="737691"/>
                      <a:pt x="797097" y="741441"/>
                    </a:cubicBezTo>
                    <a:cubicBezTo>
                      <a:pt x="794278" y="747065"/>
                      <a:pt x="790533" y="752687"/>
                      <a:pt x="787713" y="756436"/>
                    </a:cubicBezTo>
                    <a:cubicBezTo>
                      <a:pt x="783021" y="759249"/>
                      <a:pt x="782096" y="762060"/>
                      <a:pt x="780223" y="762996"/>
                    </a:cubicBezTo>
                    <a:cubicBezTo>
                      <a:pt x="777404" y="770495"/>
                      <a:pt x="774606" y="776119"/>
                      <a:pt x="770839" y="781743"/>
                    </a:cubicBezTo>
                    <a:cubicBezTo>
                      <a:pt x="765221" y="789240"/>
                      <a:pt x="760529" y="793928"/>
                      <a:pt x="756784" y="798613"/>
                    </a:cubicBezTo>
                    <a:cubicBezTo>
                      <a:pt x="740857" y="821107"/>
                      <a:pt x="723983" y="843599"/>
                      <a:pt x="705236" y="863286"/>
                    </a:cubicBezTo>
                    <a:cubicBezTo>
                      <a:pt x="681819" y="891396"/>
                      <a:pt x="656508" y="917632"/>
                      <a:pt x="629323" y="941071"/>
                    </a:cubicBezTo>
                    <a:cubicBezTo>
                      <a:pt x="618089" y="952328"/>
                      <a:pt x="603087" y="960743"/>
                      <a:pt x="586212" y="964510"/>
                    </a:cubicBezTo>
                    <a:cubicBezTo>
                      <a:pt x="584340" y="966383"/>
                      <a:pt x="583393" y="964510"/>
                      <a:pt x="582468" y="964510"/>
                    </a:cubicBezTo>
                    <a:cubicBezTo>
                      <a:pt x="582468" y="964510"/>
                      <a:pt x="578722" y="960743"/>
                      <a:pt x="582468" y="960743"/>
                    </a:cubicBezTo>
                    <a:cubicBezTo>
                      <a:pt x="584340" y="947636"/>
                      <a:pt x="587160" y="935454"/>
                      <a:pt x="590905" y="925144"/>
                    </a:cubicBezTo>
                    <a:cubicBezTo>
                      <a:pt x="598395" y="894215"/>
                      <a:pt x="609651" y="867031"/>
                      <a:pt x="622759" y="839852"/>
                    </a:cubicBezTo>
                    <a:cubicBezTo>
                      <a:pt x="624632" y="835164"/>
                      <a:pt x="625579" y="829540"/>
                      <a:pt x="628398" y="827667"/>
                    </a:cubicBezTo>
                    <a:cubicBezTo>
                      <a:pt x="633069" y="822043"/>
                      <a:pt x="633069" y="821107"/>
                      <a:pt x="628398" y="816419"/>
                    </a:cubicBezTo>
                    <a:cubicBezTo>
                      <a:pt x="628398" y="808923"/>
                      <a:pt x="632144" y="800486"/>
                      <a:pt x="639633" y="796738"/>
                    </a:cubicBezTo>
                    <a:cubicBezTo>
                      <a:pt x="641506" y="794864"/>
                      <a:pt x="641506" y="793928"/>
                      <a:pt x="641506" y="792051"/>
                    </a:cubicBezTo>
                    <a:cubicBezTo>
                      <a:pt x="639633" y="792051"/>
                      <a:pt x="639633" y="790178"/>
                      <a:pt x="638686" y="790178"/>
                    </a:cubicBezTo>
                    <a:cubicBezTo>
                      <a:pt x="639325" y="789553"/>
                      <a:pt x="640250" y="789240"/>
                      <a:pt x="641506" y="789240"/>
                    </a:cubicBezTo>
                    <a:cubicBezTo>
                      <a:pt x="646198" y="782679"/>
                      <a:pt x="651815" y="778930"/>
                      <a:pt x="655560" y="772370"/>
                    </a:cubicBezTo>
                    <a:cubicBezTo>
                      <a:pt x="667743" y="749876"/>
                      <a:pt x="676180" y="726446"/>
                      <a:pt x="690234" y="704888"/>
                    </a:cubicBezTo>
                    <a:lnTo>
                      <a:pt x="713673" y="660838"/>
                    </a:lnTo>
                    <a:cubicBezTo>
                      <a:pt x="718366" y="656153"/>
                      <a:pt x="721163" y="651467"/>
                      <a:pt x="718366" y="643968"/>
                    </a:cubicBezTo>
                    <a:cubicBezTo>
                      <a:pt x="722110" y="641157"/>
                      <a:pt x="723983" y="637408"/>
                      <a:pt x="724930" y="636472"/>
                    </a:cubicBezTo>
                    <a:cubicBezTo>
                      <a:pt x="736165" y="610228"/>
                      <a:pt x="752114" y="592420"/>
                      <a:pt x="763349" y="568990"/>
                    </a:cubicBezTo>
                    <a:cubicBezTo>
                      <a:pt x="765221" y="566177"/>
                      <a:pt x="770839" y="563366"/>
                      <a:pt x="774606" y="559616"/>
                    </a:cubicBezTo>
                    <a:cubicBezTo>
                      <a:pt x="778351" y="558680"/>
                      <a:pt x="786788" y="558680"/>
                      <a:pt x="790533" y="555867"/>
                    </a:cubicBezTo>
                    <a:cubicBezTo>
                      <a:pt x="806460" y="549307"/>
                      <a:pt x="816770" y="552120"/>
                      <a:pt x="828027" y="564304"/>
                    </a:cubicBezTo>
                    <a:cubicBezTo>
                      <a:pt x="840209" y="577425"/>
                      <a:pt x="850519" y="590545"/>
                      <a:pt x="859881" y="607415"/>
                    </a:cubicBezTo>
                    <a:close/>
                    <a:moveTo>
                      <a:pt x="858956" y="498697"/>
                    </a:moveTo>
                    <a:cubicBezTo>
                      <a:pt x="852391" y="498697"/>
                      <a:pt x="848646" y="500572"/>
                      <a:pt x="843954" y="500572"/>
                    </a:cubicBezTo>
                    <a:cubicBezTo>
                      <a:pt x="847698" y="494009"/>
                      <a:pt x="852391" y="495886"/>
                      <a:pt x="858956" y="495886"/>
                    </a:cubicBezTo>
                    <a:cubicBezTo>
                      <a:pt x="859881" y="495886"/>
                      <a:pt x="859881" y="497759"/>
                      <a:pt x="859881" y="497759"/>
                    </a:cubicBezTo>
                    <a:lnTo>
                      <a:pt x="858956" y="498697"/>
                    </a:lnTo>
                    <a:close/>
                    <a:moveTo>
                      <a:pt x="1063276" y="479016"/>
                    </a:moveTo>
                    <a:cubicBezTo>
                      <a:pt x="1032347" y="485576"/>
                      <a:pt x="1001418" y="494009"/>
                      <a:pt x="969542" y="500572"/>
                    </a:cubicBezTo>
                    <a:cubicBezTo>
                      <a:pt x="947050" y="505257"/>
                      <a:pt x="923611" y="509007"/>
                      <a:pt x="898321" y="509943"/>
                    </a:cubicBezTo>
                    <a:cubicBezTo>
                      <a:pt x="886118" y="509943"/>
                      <a:pt x="873010" y="515567"/>
                      <a:pt x="860828" y="517442"/>
                    </a:cubicBezTo>
                    <a:cubicBezTo>
                      <a:pt x="860828" y="517442"/>
                      <a:pt x="859881" y="515567"/>
                      <a:pt x="859881" y="513692"/>
                    </a:cubicBezTo>
                    <a:lnTo>
                      <a:pt x="859881" y="512756"/>
                    </a:lnTo>
                    <a:cubicBezTo>
                      <a:pt x="874883" y="506196"/>
                      <a:pt x="886118" y="498697"/>
                      <a:pt x="902067" y="500572"/>
                    </a:cubicBezTo>
                    <a:cubicBezTo>
                      <a:pt x="908632" y="500572"/>
                      <a:pt x="910504" y="498697"/>
                      <a:pt x="916121" y="497759"/>
                    </a:cubicBezTo>
                    <a:cubicBezTo>
                      <a:pt x="932995" y="491198"/>
                      <a:pt x="948922" y="485576"/>
                      <a:pt x="966722" y="482763"/>
                    </a:cubicBezTo>
                    <a:cubicBezTo>
                      <a:pt x="991108" y="479016"/>
                      <a:pt x="1017345" y="470579"/>
                      <a:pt x="1039837" y="466832"/>
                    </a:cubicBezTo>
                    <a:cubicBezTo>
                      <a:pt x="1051072" y="464019"/>
                      <a:pt x="1059509" y="464019"/>
                      <a:pt x="1070766" y="462144"/>
                    </a:cubicBezTo>
                    <a:cubicBezTo>
                      <a:pt x="1088566" y="458395"/>
                      <a:pt x="1106387" y="456522"/>
                      <a:pt x="1124187" y="449960"/>
                    </a:cubicBezTo>
                    <a:cubicBezTo>
                      <a:pt x="1129826" y="448548"/>
                      <a:pt x="1135202" y="447072"/>
                      <a:pt x="1140532" y="445618"/>
                    </a:cubicBezTo>
                    <a:cubicBezTo>
                      <a:pt x="1135774" y="450237"/>
                      <a:pt x="1131413" y="455192"/>
                      <a:pt x="1127095" y="460181"/>
                    </a:cubicBezTo>
                    <a:cubicBezTo>
                      <a:pt x="1105330" y="469147"/>
                      <a:pt x="1084270" y="473762"/>
                      <a:pt x="1063276" y="479014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24" name="Freihandform: Form 623">
                <a:extLst>
                  <a:ext uri="{FF2B5EF4-FFF2-40B4-BE49-F238E27FC236}">
                    <a16:creationId xmlns:a16="http://schemas.microsoft.com/office/drawing/2014/main" id="{14C79C34-609B-A25F-B52F-C9D799D72164}"/>
                  </a:ext>
                </a:extLst>
              </p:cNvPr>
              <p:cNvSpPr/>
              <p:nvPr/>
            </p:nvSpPr>
            <p:spPr>
              <a:xfrm>
                <a:off x="7694327" y="3674089"/>
                <a:ext cx="925" cy="2813"/>
              </a:xfrm>
              <a:custGeom>
                <a:avLst/>
                <a:gdLst>
                  <a:gd name="connsiteX0" fmla="*/ 925 w 925"/>
                  <a:gd name="connsiteY0" fmla="*/ 2813 h 2813"/>
                  <a:gd name="connsiteX1" fmla="*/ 0 w 925"/>
                  <a:gd name="connsiteY1" fmla="*/ 0 h 2813"/>
                  <a:gd name="connsiteX2" fmla="*/ 925 w 925"/>
                  <a:gd name="connsiteY2" fmla="*/ 2813 h 28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25" h="2813">
                    <a:moveTo>
                      <a:pt x="925" y="2813"/>
                    </a:moveTo>
                    <a:lnTo>
                      <a:pt x="0" y="0"/>
                    </a:lnTo>
                    <a:cubicBezTo>
                      <a:pt x="0" y="2813"/>
                      <a:pt x="925" y="2813"/>
                      <a:pt x="925" y="2813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25" name="Freihandform: Form 624">
                <a:extLst>
                  <a:ext uri="{FF2B5EF4-FFF2-40B4-BE49-F238E27FC236}">
                    <a16:creationId xmlns:a16="http://schemas.microsoft.com/office/drawing/2014/main" id="{CC21CC0A-4BF1-9BC0-B89D-C0EB60DE990A}"/>
                  </a:ext>
                </a:extLst>
              </p:cNvPr>
              <p:cNvSpPr/>
              <p:nvPr/>
            </p:nvSpPr>
            <p:spPr>
              <a:xfrm>
                <a:off x="7692455" y="3672216"/>
                <a:ext cx="1872" cy="1872"/>
              </a:xfrm>
              <a:custGeom>
                <a:avLst/>
                <a:gdLst>
                  <a:gd name="connsiteX0" fmla="*/ 1872 w 1872"/>
                  <a:gd name="connsiteY0" fmla="*/ 1872 h 1872"/>
                  <a:gd name="connsiteX1" fmla="*/ 0 w 1872"/>
                  <a:gd name="connsiteY1" fmla="*/ 0 h 1872"/>
                  <a:gd name="connsiteX2" fmla="*/ 1872 w 1872"/>
                  <a:gd name="connsiteY2" fmla="*/ 1872 h 18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872" h="1872">
                    <a:moveTo>
                      <a:pt x="1872" y="1872"/>
                    </a:moveTo>
                    <a:cubicBezTo>
                      <a:pt x="1872" y="1872"/>
                      <a:pt x="1872" y="0"/>
                      <a:pt x="0" y="0"/>
                    </a:cubicBezTo>
                    <a:cubicBezTo>
                      <a:pt x="0" y="1872"/>
                      <a:pt x="1872" y="1872"/>
                      <a:pt x="1872" y="1872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26" name="Freihandform: Form 625">
                <a:extLst>
                  <a:ext uri="{FF2B5EF4-FFF2-40B4-BE49-F238E27FC236}">
                    <a16:creationId xmlns:a16="http://schemas.microsoft.com/office/drawing/2014/main" id="{2D1B08A0-6066-FB7D-8810-B78B2431824D}"/>
                  </a:ext>
                </a:extLst>
              </p:cNvPr>
              <p:cNvSpPr/>
              <p:nvPr/>
            </p:nvSpPr>
            <p:spPr>
              <a:xfrm>
                <a:off x="4042707" y="3281491"/>
                <a:ext cx="9582" cy="7395"/>
              </a:xfrm>
              <a:custGeom>
                <a:avLst/>
                <a:gdLst>
                  <a:gd name="connsiteX0" fmla="*/ 1146 w 9582"/>
                  <a:gd name="connsiteY0" fmla="*/ 833 h 7395"/>
                  <a:gd name="connsiteX1" fmla="*/ 4891 w 9582"/>
                  <a:gd name="connsiteY1" fmla="*/ 7396 h 7395"/>
                  <a:gd name="connsiteX2" fmla="*/ 5816 w 9582"/>
                  <a:gd name="connsiteY2" fmla="*/ 7396 h 7395"/>
                  <a:gd name="connsiteX3" fmla="*/ 9583 w 9582"/>
                  <a:gd name="connsiteY3" fmla="*/ 833 h 7395"/>
                  <a:gd name="connsiteX4" fmla="*/ 1146 w 9582"/>
                  <a:gd name="connsiteY4" fmla="*/ 833 h 73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582" h="7395">
                    <a:moveTo>
                      <a:pt x="1146" y="833"/>
                    </a:moveTo>
                    <a:cubicBezTo>
                      <a:pt x="-1674" y="4583"/>
                      <a:pt x="1146" y="4583"/>
                      <a:pt x="4891" y="7396"/>
                    </a:cubicBezTo>
                    <a:lnTo>
                      <a:pt x="5816" y="7396"/>
                    </a:lnTo>
                    <a:cubicBezTo>
                      <a:pt x="5816" y="5521"/>
                      <a:pt x="7711" y="2710"/>
                      <a:pt x="9583" y="833"/>
                    </a:cubicBezTo>
                    <a:cubicBezTo>
                      <a:pt x="6763" y="833"/>
                      <a:pt x="5816" y="-1041"/>
                      <a:pt x="1146" y="833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27" name="Freihandform: Form 626">
                <a:extLst>
                  <a:ext uri="{FF2B5EF4-FFF2-40B4-BE49-F238E27FC236}">
                    <a16:creationId xmlns:a16="http://schemas.microsoft.com/office/drawing/2014/main" id="{50CD27BC-B644-CCFF-CA49-F76833E1AC70}"/>
                  </a:ext>
                </a:extLst>
              </p:cNvPr>
              <p:cNvSpPr/>
              <p:nvPr/>
            </p:nvSpPr>
            <p:spPr>
              <a:xfrm>
                <a:off x="7038276" y="3247646"/>
                <a:ext cx="2798" cy="7498"/>
              </a:xfrm>
              <a:custGeom>
                <a:avLst/>
                <a:gdLst>
                  <a:gd name="connsiteX0" fmla="*/ 2798 w 2798"/>
                  <a:gd name="connsiteY0" fmla="*/ 0 h 7498"/>
                  <a:gd name="connsiteX1" fmla="*/ 0 w 2798"/>
                  <a:gd name="connsiteY1" fmla="*/ 7499 h 7498"/>
                  <a:gd name="connsiteX2" fmla="*/ 2798 w 2798"/>
                  <a:gd name="connsiteY2" fmla="*/ 7499 h 7498"/>
                  <a:gd name="connsiteX3" fmla="*/ 2798 w 2798"/>
                  <a:gd name="connsiteY3" fmla="*/ 0 h 7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798" h="7498">
                    <a:moveTo>
                      <a:pt x="2798" y="0"/>
                    </a:moveTo>
                    <a:cubicBezTo>
                      <a:pt x="0" y="938"/>
                      <a:pt x="0" y="3751"/>
                      <a:pt x="0" y="7499"/>
                    </a:cubicBezTo>
                    <a:lnTo>
                      <a:pt x="2798" y="7499"/>
                    </a:lnTo>
                    <a:lnTo>
                      <a:pt x="2798" y="0"/>
                    </a:ln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28" name="Freihandform: Form 627">
                <a:extLst>
                  <a:ext uri="{FF2B5EF4-FFF2-40B4-BE49-F238E27FC236}">
                    <a16:creationId xmlns:a16="http://schemas.microsoft.com/office/drawing/2014/main" id="{2B42B914-2BEF-9A2C-239A-FC77EB16B3F7}"/>
                  </a:ext>
                </a:extLst>
              </p:cNvPr>
              <p:cNvSpPr/>
              <p:nvPr/>
            </p:nvSpPr>
            <p:spPr>
              <a:xfrm>
                <a:off x="4053215" y="3280450"/>
                <a:ext cx="1872" cy="1874"/>
              </a:xfrm>
              <a:custGeom>
                <a:avLst/>
                <a:gdLst>
                  <a:gd name="connsiteX0" fmla="*/ 0 w 1872"/>
                  <a:gd name="connsiteY0" fmla="*/ 1875 h 1874"/>
                  <a:gd name="connsiteX1" fmla="*/ 1872 w 1872"/>
                  <a:gd name="connsiteY1" fmla="*/ 0 h 1874"/>
                  <a:gd name="connsiteX2" fmla="*/ 0 w 1872"/>
                  <a:gd name="connsiteY2" fmla="*/ 1875 h 1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872" h="1874">
                    <a:moveTo>
                      <a:pt x="0" y="1875"/>
                    </a:moveTo>
                    <a:cubicBezTo>
                      <a:pt x="0" y="938"/>
                      <a:pt x="947" y="938"/>
                      <a:pt x="1872" y="0"/>
                    </a:cubicBezTo>
                    <a:cubicBezTo>
                      <a:pt x="639" y="0"/>
                      <a:pt x="0" y="626"/>
                      <a:pt x="0" y="1875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29" name="Freihandform: Form 628">
                <a:extLst>
                  <a:ext uri="{FF2B5EF4-FFF2-40B4-BE49-F238E27FC236}">
                    <a16:creationId xmlns:a16="http://schemas.microsoft.com/office/drawing/2014/main" id="{54BCAD86-EC13-D351-D9A0-5679AFF07B9D}"/>
                  </a:ext>
                </a:extLst>
              </p:cNvPr>
              <p:cNvSpPr/>
              <p:nvPr/>
            </p:nvSpPr>
            <p:spPr>
              <a:xfrm>
                <a:off x="7035457" y="3255145"/>
                <a:ext cx="2819" cy="1874"/>
              </a:xfrm>
              <a:custGeom>
                <a:avLst/>
                <a:gdLst>
                  <a:gd name="connsiteX0" fmla="*/ 0 w 2819"/>
                  <a:gd name="connsiteY0" fmla="*/ 0 h 1874"/>
                  <a:gd name="connsiteX1" fmla="*/ 2820 w 2819"/>
                  <a:gd name="connsiteY1" fmla="*/ 1875 h 1874"/>
                  <a:gd name="connsiteX2" fmla="*/ 2820 w 2819"/>
                  <a:gd name="connsiteY2" fmla="*/ 0 h 1874"/>
                  <a:gd name="connsiteX3" fmla="*/ 0 w 2819"/>
                  <a:gd name="connsiteY3" fmla="*/ 0 h 1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19" h="1874">
                    <a:moveTo>
                      <a:pt x="0" y="0"/>
                    </a:moveTo>
                    <a:lnTo>
                      <a:pt x="2820" y="1875"/>
                    </a:lnTo>
                    <a:lnTo>
                      <a:pt x="282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30" name="Freihandform: Form 629">
                <a:extLst>
                  <a:ext uri="{FF2B5EF4-FFF2-40B4-BE49-F238E27FC236}">
                    <a16:creationId xmlns:a16="http://schemas.microsoft.com/office/drawing/2014/main" id="{DE80C3ED-FDBC-2345-59A9-95BC8111330B}"/>
                  </a:ext>
                </a:extLst>
              </p:cNvPr>
              <p:cNvSpPr/>
              <p:nvPr/>
            </p:nvSpPr>
            <p:spPr>
              <a:xfrm>
                <a:off x="3430749" y="3167164"/>
                <a:ext cx="645905" cy="253997"/>
              </a:xfrm>
              <a:custGeom>
                <a:avLst/>
                <a:gdLst>
                  <a:gd name="connsiteX0" fmla="*/ 636521 w 645905"/>
                  <a:gd name="connsiteY0" fmla="*/ 97355 h 253997"/>
                  <a:gd name="connsiteX1" fmla="*/ 599049 w 645905"/>
                  <a:gd name="connsiteY1" fmla="*/ 106726 h 253997"/>
                  <a:gd name="connsiteX2" fmla="*/ 446277 w 645905"/>
                  <a:gd name="connsiteY2" fmla="*/ 163898 h 253997"/>
                  <a:gd name="connsiteX3" fmla="*/ 395654 w 645905"/>
                  <a:gd name="connsiteY3" fmla="*/ 186392 h 253997"/>
                  <a:gd name="connsiteX4" fmla="*/ 325359 w 645905"/>
                  <a:gd name="connsiteY4" fmla="*/ 201387 h 253997"/>
                  <a:gd name="connsiteX5" fmla="*/ 301942 w 645905"/>
                  <a:gd name="connsiteY5" fmla="*/ 198576 h 253997"/>
                  <a:gd name="connsiteX6" fmla="*/ 307560 w 645905"/>
                  <a:gd name="connsiteY6" fmla="*/ 179832 h 253997"/>
                  <a:gd name="connsiteX7" fmla="*/ 316922 w 645905"/>
                  <a:gd name="connsiteY7" fmla="*/ 156399 h 253997"/>
                  <a:gd name="connsiteX8" fmla="*/ 333796 w 645905"/>
                  <a:gd name="connsiteY8" fmla="*/ 117974 h 253997"/>
                  <a:gd name="connsiteX9" fmla="*/ 340361 w 645905"/>
                  <a:gd name="connsiteY9" fmla="*/ 88919 h 253997"/>
                  <a:gd name="connsiteX10" fmla="*/ 342233 w 645905"/>
                  <a:gd name="connsiteY10" fmla="*/ 73924 h 253997"/>
                  <a:gd name="connsiteX11" fmla="*/ 335668 w 645905"/>
                  <a:gd name="connsiteY11" fmla="*/ 59865 h 253997"/>
                  <a:gd name="connsiteX12" fmla="*/ 329126 w 645905"/>
                  <a:gd name="connsiteY12" fmla="*/ 57054 h 253997"/>
                  <a:gd name="connsiteX13" fmla="*/ 302867 w 645905"/>
                  <a:gd name="connsiteY13" fmla="*/ 44870 h 253997"/>
                  <a:gd name="connsiteX14" fmla="*/ 297250 w 645905"/>
                  <a:gd name="connsiteY14" fmla="*/ 46743 h 253997"/>
                  <a:gd name="connsiteX15" fmla="*/ 286940 w 645905"/>
                  <a:gd name="connsiteY15" fmla="*/ 52366 h 253997"/>
                  <a:gd name="connsiteX16" fmla="*/ 228827 w 645905"/>
                  <a:gd name="connsiteY16" fmla="*/ 90794 h 253997"/>
                  <a:gd name="connsiteX17" fmla="*/ 149170 w 645905"/>
                  <a:gd name="connsiteY17" fmla="*/ 145153 h 253997"/>
                  <a:gd name="connsiteX18" fmla="*/ 71385 w 645905"/>
                  <a:gd name="connsiteY18" fmla="*/ 192952 h 253997"/>
                  <a:gd name="connsiteX19" fmla="*/ 48871 w 645905"/>
                  <a:gd name="connsiteY19" fmla="*/ 201387 h 253997"/>
                  <a:gd name="connsiteX20" fmla="*/ 62948 w 645905"/>
                  <a:gd name="connsiteY20" fmla="*/ 179832 h 253997"/>
                  <a:gd name="connsiteX21" fmla="*/ 72310 w 645905"/>
                  <a:gd name="connsiteY21" fmla="*/ 162962 h 253997"/>
                  <a:gd name="connsiteX22" fmla="*/ 116368 w 645905"/>
                  <a:gd name="connsiteY22" fmla="*/ 118910 h 253997"/>
                  <a:gd name="connsiteX23" fmla="*/ 149170 w 645905"/>
                  <a:gd name="connsiteY23" fmla="*/ 86109 h 253997"/>
                  <a:gd name="connsiteX24" fmla="*/ 207283 w 645905"/>
                  <a:gd name="connsiteY24" fmla="*/ 41121 h 253997"/>
                  <a:gd name="connsiteX25" fmla="*/ 265374 w 645905"/>
                  <a:gd name="connsiteY25" fmla="*/ 31747 h 253997"/>
                  <a:gd name="connsiteX26" fmla="*/ 268193 w 645905"/>
                  <a:gd name="connsiteY26" fmla="*/ 19563 h 253997"/>
                  <a:gd name="connsiteX27" fmla="*/ 220390 w 645905"/>
                  <a:gd name="connsiteY27" fmla="*/ 1757 h 253997"/>
                  <a:gd name="connsiteX28" fmla="*/ 155734 w 645905"/>
                  <a:gd name="connsiteY28" fmla="*/ 27998 h 253997"/>
                  <a:gd name="connsiteX29" fmla="*/ 91057 w 645905"/>
                  <a:gd name="connsiteY29" fmla="*/ 78610 h 253997"/>
                  <a:gd name="connsiteX30" fmla="*/ 29199 w 645905"/>
                  <a:gd name="connsiteY30" fmla="*/ 142340 h 253997"/>
                  <a:gd name="connsiteX31" fmla="*/ 6707 w 645905"/>
                  <a:gd name="connsiteY31" fmla="*/ 172333 h 253997"/>
                  <a:gd name="connsiteX32" fmla="*/ 142 w 645905"/>
                  <a:gd name="connsiteY32" fmla="*/ 201387 h 253997"/>
                  <a:gd name="connsiteX33" fmla="*/ 38583 w 645905"/>
                  <a:gd name="connsiteY33" fmla="*/ 248248 h 253997"/>
                  <a:gd name="connsiteX34" fmla="*/ 69490 w 645905"/>
                  <a:gd name="connsiteY34" fmla="*/ 248248 h 253997"/>
                  <a:gd name="connsiteX35" fmla="*/ 78875 w 645905"/>
                  <a:gd name="connsiteY35" fmla="*/ 244500 h 253997"/>
                  <a:gd name="connsiteX36" fmla="*/ 129476 w 645905"/>
                  <a:gd name="connsiteY36" fmla="*/ 212635 h 253997"/>
                  <a:gd name="connsiteX37" fmla="*/ 171662 w 645905"/>
                  <a:gd name="connsiteY37" fmla="*/ 182643 h 253997"/>
                  <a:gd name="connsiteX38" fmla="*/ 209155 w 645905"/>
                  <a:gd name="connsiteY38" fmla="*/ 159210 h 253997"/>
                  <a:gd name="connsiteX39" fmla="*/ 275683 w 645905"/>
                  <a:gd name="connsiteY39" fmla="*/ 112350 h 253997"/>
                  <a:gd name="connsiteX40" fmla="*/ 279450 w 645905"/>
                  <a:gd name="connsiteY40" fmla="*/ 113286 h 253997"/>
                  <a:gd name="connsiteX41" fmla="*/ 279450 w 645905"/>
                  <a:gd name="connsiteY41" fmla="*/ 115161 h 253997"/>
                  <a:gd name="connsiteX42" fmla="*/ 268193 w 645905"/>
                  <a:gd name="connsiteY42" fmla="*/ 152652 h 253997"/>
                  <a:gd name="connsiteX43" fmla="*/ 279450 w 645905"/>
                  <a:gd name="connsiteY43" fmla="*/ 217321 h 253997"/>
                  <a:gd name="connsiteX44" fmla="*/ 283195 w 645905"/>
                  <a:gd name="connsiteY44" fmla="*/ 228567 h 253997"/>
                  <a:gd name="connsiteX45" fmla="*/ 309432 w 645905"/>
                  <a:gd name="connsiteY45" fmla="*/ 248250 h 253997"/>
                  <a:gd name="connsiteX46" fmla="*/ 345978 w 645905"/>
                  <a:gd name="connsiteY46" fmla="*/ 249186 h 253997"/>
                  <a:gd name="connsiteX47" fmla="*/ 355363 w 645905"/>
                  <a:gd name="connsiteY47" fmla="*/ 249186 h 253997"/>
                  <a:gd name="connsiteX48" fmla="*/ 401272 w 645905"/>
                  <a:gd name="connsiteY48" fmla="*/ 240751 h 253997"/>
                  <a:gd name="connsiteX49" fmla="*/ 459385 w 645905"/>
                  <a:gd name="connsiteY49" fmla="*/ 217321 h 253997"/>
                  <a:gd name="connsiteX50" fmla="*/ 486568 w 645905"/>
                  <a:gd name="connsiteY50" fmla="*/ 207947 h 253997"/>
                  <a:gd name="connsiteX51" fmla="*/ 505315 w 645905"/>
                  <a:gd name="connsiteY51" fmla="*/ 195765 h 253997"/>
                  <a:gd name="connsiteX52" fmla="*/ 508135 w 645905"/>
                  <a:gd name="connsiteY52" fmla="*/ 195765 h 253997"/>
                  <a:gd name="connsiteX53" fmla="*/ 532499 w 645905"/>
                  <a:gd name="connsiteY53" fmla="*/ 177957 h 253997"/>
                  <a:gd name="connsiteX54" fmla="*/ 533424 w 645905"/>
                  <a:gd name="connsiteY54" fmla="*/ 177957 h 253997"/>
                  <a:gd name="connsiteX55" fmla="*/ 533424 w 645905"/>
                  <a:gd name="connsiteY55" fmla="*/ 177019 h 253997"/>
                  <a:gd name="connsiteX56" fmla="*/ 505315 w 645905"/>
                  <a:gd name="connsiteY56" fmla="*/ 186392 h 253997"/>
                  <a:gd name="connsiteX57" fmla="*/ 501570 w 645905"/>
                  <a:gd name="connsiteY57" fmla="*/ 183579 h 253997"/>
                  <a:gd name="connsiteX58" fmla="*/ 503443 w 645905"/>
                  <a:gd name="connsiteY58" fmla="*/ 179832 h 253997"/>
                  <a:gd name="connsiteX59" fmla="*/ 562481 w 645905"/>
                  <a:gd name="connsiteY59" fmla="*/ 156399 h 253997"/>
                  <a:gd name="connsiteX60" fmla="*/ 589665 w 645905"/>
                  <a:gd name="connsiteY60" fmla="*/ 139529 h 253997"/>
                  <a:gd name="connsiteX61" fmla="*/ 610284 w 645905"/>
                  <a:gd name="connsiteY61" fmla="*/ 128283 h 253997"/>
                  <a:gd name="connsiteX62" fmla="*/ 613104 w 645905"/>
                  <a:gd name="connsiteY62" fmla="*/ 124534 h 253997"/>
                  <a:gd name="connsiteX63" fmla="*/ 591537 w 645905"/>
                  <a:gd name="connsiteY63" fmla="*/ 118910 h 253997"/>
                  <a:gd name="connsiteX64" fmla="*/ 591537 w 645905"/>
                  <a:gd name="connsiteY64" fmla="*/ 117974 h 253997"/>
                  <a:gd name="connsiteX65" fmla="*/ 641213 w 645905"/>
                  <a:gd name="connsiteY65" fmla="*/ 105789 h 253997"/>
                  <a:gd name="connsiteX66" fmla="*/ 644958 w 645905"/>
                  <a:gd name="connsiteY66" fmla="*/ 102040 h 253997"/>
                  <a:gd name="connsiteX67" fmla="*/ 645905 w 645905"/>
                  <a:gd name="connsiteY67" fmla="*/ 98291 h 253997"/>
                  <a:gd name="connsiteX68" fmla="*/ 644033 w 645905"/>
                  <a:gd name="connsiteY68" fmla="*/ 95480 h 253997"/>
                  <a:gd name="connsiteX69" fmla="*/ 636521 w 645905"/>
                  <a:gd name="connsiteY69" fmla="*/ 97355 h 253997"/>
                  <a:gd name="connsiteX70" fmla="*/ 176354 w 645905"/>
                  <a:gd name="connsiteY70" fmla="*/ 141404 h 253997"/>
                  <a:gd name="connsiteX71" fmla="*/ 176354 w 645905"/>
                  <a:gd name="connsiteY71" fmla="*/ 139529 h 253997"/>
                  <a:gd name="connsiteX72" fmla="*/ 178226 w 645905"/>
                  <a:gd name="connsiteY72" fmla="*/ 139529 h 253997"/>
                  <a:gd name="connsiteX73" fmla="*/ 176354 w 645905"/>
                  <a:gd name="connsiteY73" fmla="*/ 141404 h 253997"/>
                  <a:gd name="connsiteX74" fmla="*/ 180099 w 645905"/>
                  <a:gd name="connsiteY74" fmla="*/ 137655 h 253997"/>
                  <a:gd name="connsiteX75" fmla="*/ 182896 w 645905"/>
                  <a:gd name="connsiteY75" fmla="*/ 132969 h 253997"/>
                  <a:gd name="connsiteX76" fmla="*/ 180099 w 645905"/>
                  <a:gd name="connsiteY76" fmla="*/ 137655 h 253997"/>
                  <a:gd name="connsiteX77" fmla="*/ 183844 w 645905"/>
                  <a:gd name="connsiteY77" fmla="*/ 132969 h 253997"/>
                  <a:gd name="connsiteX78" fmla="*/ 196026 w 645905"/>
                  <a:gd name="connsiteY78" fmla="*/ 124534 h 253997"/>
                  <a:gd name="connsiteX79" fmla="*/ 183844 w 645905"/>
                  <a:gd name="connsiteY79" fmla="*/ 132969 h 253997"/>
                  <a:gd name="connsiteX80" fmla="*/ 197898 w 645905"/>
                  <a:gd name="connsiteY80" fmla="*/ 124534 h 253997"/>
                  <a:gd name="connsiteX81" fmla="*/ 211028 w 645905"/>
                  <a:gd name="connsiteY81" fmla="*/ 115161 h 253997"/>
                  <a:gd name="connsiteX82" fmla="*/ 197898 w 645905"/>
                  <a:gd name="connsiteY82" fmla="*/ 124534 h 253997"/>
                  <a:gd name="connsiteX83" fmla="*/ 226955 w 645905"/>
                  <a:gd name="connsiteY83" fmla="*/ 105789 h 253997"/>
                  <a:gd name="connsiteX84" fmla="*/ 213825 w 645905"/>
                  <a:gd name="connsiteY84" fmla="*/ 113286 h 253997"/>
                  <a:gd name="connsiteX85" fmla="*/ 226955 w 645905"/>
                  <a:gd name="connsiteY85" fmla="*/ 105789 h 253997"/>
                  <a:gd name="connsiteX86" fmla="*/ 241009 w 645905"/>
                  <a:gd name="connsiteY86" fmla="*/ 95480 h 253997"/>
                  <a:gd name="connsiteX87" fmla="*/ 226955 w 645905"/>
                  <a:gd name="connsiteY87" fmla="*/ 105789 h 253997"/>
                  <a:gd name="connsiteX88" fmla="*/ 256011 w 645905"/>
                  <a:gd name="connsiteY88" fmla="*/ 86106 h 253997"/>
                  <a:gd name="connsiteX89" fmla="*/ 241956 w 645905"/>
                  <a:gd name="connsiteY89" fmla="*/ 95480 h 253997"/>
                  <a:gd name="connsiteX90" fmla="*/ 256011 w 645905"/>
                  <a:gd name="connsiteY90" fmla="*/ 86106 h 253997"/>
                  <a:gd name="connsiteX91" fmla="*/ 270066 w 645905"/>
                  <a:gd name="connsiteY91" fmla="*/ 76735 h 253997"/>
                  <a:gd name="connsiteX92" fmla="*/ 256011 w 645905"/>
                  <a:gd name="connsiteY92" fmla="*/ 86106 h 253997"/>
                  <a:gd name="connsiteX93" fmla="*/ 270066 w 645905"/>
                  <a:gd name="connsiteY93" fmla="*/ 75797 h 253997"/>
                  <a:gd name="connsiteX94" fmla="*/ 283195 w 645905"/>
                  <a:gd name="connsiteY94" fmla="*/ 67364 h 253997"/>
                  <a:gd name="connsiteX95" fmla="*/ 270066 w 645905"/>
                  <a:gd name="connsiteY95" fmla="*/ 75797 h 253997"/>
                  <a:gd name="connsiteX96" fmla="*/ 285993 w 645905"/>
                  <a:gd name="connsiteY96" fmla="*/ 64551 h 253997"/>
                  <a:gd name="connsiteX97" fmla="*/ 285993 w 645905"/>
                  <a:gd name="connsiteY97" fmla="*/ 63612 h 253997"/>
                  <a:gd name="connsiteX98" fmla="*/ 286940 w 645905"/>
                  <a:gd name="connsiteY98" fmla="*/ 63612 h 253997"/>
                  <a:gd name="connsiteX99" fmla="*/ 285993 w 645905"/>
                  <a:gd name="connsiteY99" fmla="*/ 64551 h 253997"/>
                  <a:gd name="connsiteX100" fmla="*/ 411581 w 645905"/>
                  <a:gd name="connsiteY100" fmla="*/ 214508 h 253997"/>
                  <a:gd name="connsiteX101" fmla="*/ 408783 w 645905"/>
                  <a:gd name="connsiteY101" fmla="*/ 214508 h 253997"/>
                  <a:gd name="connsiteX102" fmla="*/ 366598 w 645905"/>
                  <a:gd name="connsiteY102" fmla="*/ 218257 h 253997"/>
                  <a:gd name="connsiteX103" fmla="*/ 364725 w 645905"/>
                  <a:gd name="connsiteY103" fmla="*/ 217321 h 253997"/>
                  <a:gd name="connsiteX104" fmla="*/ 362853 w 645905"/>
                  <a:gd name="connsiteY104" fmla="*/ 216383 h 253997"/>
                  <a:gd name="connsiteX105" fmla="*/ 362853 w 645905"/>
                  <a:gd name="connsiteY105" fmla="*/ 214508 h 253997"/>
                  <a:gd name="connsiteX106" fmla="*/ 368470 w 645905"/>
                  <a:gd name="connsiteY106" fmla="*/ 210758 h 253997"/>
                  <a:gd name="connsiteX107" fmla="*/ 425658 w 645905"/>
                  <a:gd name="connsiteY107" fmla="*/ 197638 h 253997"/>
                  <a:gd name="connsiteX108" fmla="*/ 446277 w 645905"/>
                  <a:gd name="connsiteY108" fmla="*/ 197638 h 253997"/>
                  <a:gd name="connsiteX109" fmla="*/ 411581 w 645905"/>
                  <a:gd name="connsiteY109" fmla="*/ 214508 h 253997"/>
                  <a:gd name="connsiteX110" fmla="*/ 470641 w 645905"/>
                  <a:gd name="connsiteY110" fmla="*/ 163898 h 253997"/>
                  <a:gd name="connsiteX111" fmla="*/ 470641 w 645905"/>
                  <a:gd name="connsiteY111" fmla="*/ 165773 h 253997"/>
                  <a:gd name="connsiteX112" fmla="*/ 467822 w 645905"/>
                  <a:gd name="connsiteY112" fmla="*/ 163898 h 253997"/>
                  <a:gd name="connsiteX113" fmla="*/ 470641 w 645905"/>
                  <a:gd name="connsiteY113" fmla="*/ 163898 h 253997"/>
                  <a:gd name="connsiteX114" fmla="*/ 452820 w 645905"/>
                  <a:gd name="connsiteY114" fmla="*/ 171395 h 253997"/>
                  <a:gd name="connsiteX115" fmla="*/ 450022 w 645905"/>
                  <a:gd name="connsiteY115" fmla="*/ 168584 h 253997"/>
                  <a:gd name="connsiteX116" fmla="*/ 451894 w 645905"/>
                  <a:gd name="connsiteY116" fmla="*/ 168584 h 253997"/>
                  <a:gd name="connsiteX117" fmla="*/ 454714 w 645905"/>
                  <a:gd name="connsiteY117" fmla="*/ 171395 h 253997"/>
                  <a:gd name="connsiteX118" fmla="*/ 452820 w 645905"/>
                  <a:gd name="connsiteY118" fmla="*/ 171395 h 253997"/>
                  <a:gd name="connsiteX119" fmla="*/ 459385 w 645905"/>
                  <a:gd name="connsiteY119" fmla="*/ 198576 h 253997"/>
                  <a:gd name="connsiteX120" fmla="*/ 460332 w 645905"/>
                  <a:gd name="connsiteY120" fmla="*/ 195765 h 253997"/>
                  <a:gd name="connsiteX121" fmla="*/ 459385 w 645905"/>
                  <a:gd name="connsiteY121" fmla="*/ 198576 h 253997"/>
                  <a:gd name="connsiteX122" fmla="*/ 471566 w 645905"/>
                  <a:gd name="connsiteY122" fmla="*/ 195765 h 253997"/>
                  <a:gd name="connsiteX123" fmla="*/ 464077 w 645905"/>
                  <a:gd name="connsiteY123" fmla="*/ 195765 h 253997"/>
                  <a:gd name="connsiteX124" fmla="*/ 470641 w 645905"/>
                  <a:gd name="connsiteY124" fmla="*/ 191078 h 253997"/>
                  <a:gd name="connsiteX125" fmla="*/ 472514 w 645905"/>
                  <a:gd name="connsiteY125" fmla="*/ 192952 h 253997"/>
                  <a:gd name="connsiteX126" fmla="*/ 471566 w 645905"/>
                  <a:gd name="connsiteY126" fmla="*/ 195765 h 253997"/>
                  <a:gd name="connsiteX127" fmla="*/ 480004 w 645905"/>
                  <a:gd name="connsiteY127" fmla="*/ 162962 h 253997"/>
                  <a:gd name="connsiteX128" fmla="*/ 471566 w 645905"/>
                  <a:gd name="connsiteY128" fmla="*/ 162962 h 253997"/>
                  <a:gd name="connsiteX129" fmla="*/ 484696 w 645905"/>
                  <a:gd name="connsiteY129" fmla="*/ 157338 h 253997"/>
                  <a:gd name="connsiteX130" fmla="*/ 480004 w 645905"/>
                  <a:gd name="connsiteY130" fmla="*/ 162962 h 253997"/>
                  <a:gd name="connsiteX131" fmla="*/ 510007 w 645905"/>
                  <a:gd name="connsiteY131" fmla="*/ 150777 h 253997"/>
                  <a:gd name="connsiteX132" fmla="*/ 486568 w 645905"/>
                  <a:gd name="connsiteY132" fmla="*/ 157338 h 253997"/>
                  <a:gd name="connsiteX133" fmla="*/ 510007 w 645905"/>
                  <a:gd name="connsiteY133" fmla="*/ 148903 h 253997"/>
                  <a:gd name="connsiteX134" fmla="*/ 510007 w 645905"/>
                  <a:gd name="connsiteY134" fmla="*/ 150777 h 253997"/>
                  <a:gd name="connsiteX135" fmla="*/ 510007 w 645905"/>
                  <a:gd name="connsiteY135" fmla="*/ 147964 h 253997"/>
                  <a:gd name="connsiteX136" fmla="*/ 533424 w 645905"/>
                  <a:gd name="connsiteY136" fmla="*/ 139529 h 253997"/>
                  <a:gd name="connsiteX137" fmla="*/ 510007 w 645905"/>
                  <a:gd name="connsiteY137" fmla="*/ 147964 h 253997"/>
                  <a:gd name="connsiteX138" fmla="*/ 570918 w 645905"/>
                  <a:gd name="connsiteY138" fmla="*/ 137655 h 253997"/>
                  <a:gd name="connsiteX139" fmla="*/ 569046 w 645905"/>
                  <a:gd name="connsiteY139" fmla="*/ 136718 h 253997"/>
                  <a:gd name="connsiteX140" fmla="*/ 570918 w 645905"/>
                  <a:gd name="connsiteY140" fmla="*/ 136718 h 253997"/>
                  <a:gd name="connsiteX141" fmla="*/ 570918 w 645905"/>
                  <a:gd name="connsiteY141" fmla="*/ 137655 h 253997"/>
                  <a:gd name="connsiteX142" fmla="*/ 590612 w 645905"/>
                  <a:gd name="connsiteY142" fmla="*/ 121723 h 253997"/>
                  <a:gd name="connsiteX143" fmla="*/ 549373 w 645905"/>
                  <a:gd name="connsiteY143" fmla="*/ 132969 h 253997"/>
                  <a:gd name="connsiteX144" fmla="*/ 536244 w 645905"/>
                  <a:gd name="connsiteY144" fmla="*/ 139529 h 253997"/>
                  <a:gd name="connsiteX145" fmla="*/ 538117 w 645905"/>
                  <a:gd name="connsiteY145" fmla="*/ 132969 h 253997"/>
                  <a:gd name="connsiteX146" fmla="*/ 549373 w 645905"/>
                  <a:gd name="connsiteY146" fmla="*/ 132969 h 253997"/>
                  <a:gd name="connsiteX147" fmla="*/ 549373 w 645905"/>
                  <a:gd name="connsiteY147" fmla="*/ 132033 h 253997"/>
                  <a:gd name="connsiteX148" fmla="*/ 591537 w 645905"/>
                  <a:gd name="connsiteY148" fmla="*/ 121723 h 253997"/>
                  <a:gd name="connsiteX149" fmla="*/ 590612 w 645905"/>
                  <a:gd name="connsiteY149" fmla="*/ 121723 h 2539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</a:cxnLst>
                <a:rect l="l" t="t" r="r" b="b"/>
                <a:pathLst>
                  <a:path w="645905" h="253997">
                    <a:moveTo>
                      <a:pt x="636521" y="97355"/>
                    </a:moveTo>
                    <a:cubicBezTo>
                      <a:pt x="624339" y="102040"/>
                      <a:pt x="610284" y="103915"/>
                      <a:pt x="599049" y="106726"/>
                    </a:cubicBezTo>
                    <a:cubicBezTo>
                      <a:pt x="547501" y="122659"/>
                      <a:pt x="497825" y="144215"/>
                      <a:pt x="446277" y="163898"/>
                    </a:cubicBezTo>
                    <a:lnTo>
                      <a:pt x="395654" y="186392"/>
                    </a:lnTo>
                    <a:cubicBezTo>
                      <a:pt x="372237" y="195765"/>
                      <a:pt x="348798" y="201387"/>
                      <a:pt x="325359" y="201387"/>
                    </a:cubicBezTo>
                    <a:cubicBezTo>
                      <a:pt x="316922" y="201387"/>
                      <a:pt x="310379" y="201387"/>
                      <a:pt x="301942" y="198576"/>
                    </a:cubicBezTo>
                    <a:cubicBezTo>
                      <a:pt x="297250" y="191078"/>
                      <a:pt x="307560" y="188267"/>
                      <a:pt x="307560" y="179832"/>
                    </a:cubicBezTo>
                    <a:cubicBezTo>
                      <a:pt x="309432" y="171395"/>
                      <a:pt x="313177" y="163898"/>
                      <a:pt x="316922" y="156399"/>
                    </a:cubicBezTo>
                    <a:cubicBezTo>
                      <a:pt x="321614" y="144215"/>
                      <a:pt x="327231" y="130158"/>
                      <a:pt x="333796" y="117974"/>
                    </a:cubicBezTo>
                    <a:cubicBezTo>
                      <a:pt x="336616" y="109539"/>
                      <a:pt x="335668" y="98291"/>
                      <a:pt x="340361" y="88919"/>
                    </a:cubicBezTo>
                    <a:cubicBezTo>
                      <a:pt x="345053" y="86109"/>
                      <a:pt x="340361" y="78610"/>
                      <a:pt x="342233" y="73924"/>
                    </a:cubicBezTo>
                    <a:cubicBezTo>
                      <a:pt x="342233" y="67364"/>
                      <a:pt x="330051" y="67364"/>
                      <a:pt x="335668" y="59865"/>
                    </a:cubicBezTo>
                    <a:cubicBezTo>
                      <a:pt x="332871" y="58927"/>
                      <a:pt x="330051" y="58927"/>
                      <a:pt x="329126" y="57054"/>
                    </a:cubicBezTo>
                    <a:cubicBezTo>
                      <a:pt x="320689" y="52366"/>
                      <a:pt x="310379" y="56116"/>
                      <a:pt x="302867" y="44870"/>
                    </a:cubicBezTo>
                    <a:cubicBezTo>
                      <a:pt x="301942" y="44870"/>
                      <a:pt x="299122" y="44870"/>
                      <a:pt x="297250" y="46743"/>
                    </a:cubicBezTo>
                    <a:cubicBezTo>
                      <a:pt x="294430" y="47681"/>
                      <a:pt x="291632" y="50492"/>
                      <a:pt x="286940" y="52366"/>
                    </a:cubicBezTo>
                    <a:cubicBezTo>
                      <a:pt x="267268" y="64551"/>
                      <a:pt x="248521" y="76735"/>
                      <a:pt x="228827" y="90794"/>
                    </a:cubicBezTo>
                    <a:cubicBezTo>
                      <a:pt x="202590" y="109539"/>
                      <a:pt x="176354" y="128283"/>
                      <a:pt x="149170" y="145153"/>
                    </a:cubicBezTo>
                    <a:cubicBezTo>
                      <a:pt x="124806" y="162962"/>
                      <a:pt x="98547" y="179832"/>
                      <a:pt x="71385" y="192952"/>
                    </a:cubicBezTo>
                    <a:cubicBezTo>
                      <a:pt x="63873" y="195765"/>
                      <a:pt x="57308" y="201387"/>
                      <a:pt x="48871" y="201387"/>
                    </a:cubicBezTo>
                    <a:cubicBezTo>
                      <a:pt x="45765" y="199513"/>
                      <a:pt x="50435" y="192327"/>
                      <a:pt x="62948" y="179832"/>
                    </a:cubicBezTo>
                    <a:cubicBezTo>
                      <a:pt x="68565" y="176082"/>
                      <a:pt x="64820" y="166709"/>
                      <a:pt x="72310" y="162962"/>
                    </a:cubicBezTo>
                    <a:cubicBezTo>
                      <a:pt x="87312" y="147964"/>
                      <a:pt x="98547" y="132033"/>
                      <a:pt x="116368" y="118910"/>
                    </a:cubicBezTo>
                    <a:cubicBezTo>
                      <a:pt x="128550" y="106726"/>
                      <a:pt x="140733" y="97355"/>
                      <a:pt x="149170" y="86109"/>
                    </a:cubicBezTo>
                    <a:cubicBezTo>
                      <a:pt x="167917" y="69236"/>
                      <a:pt x="183844" y="53305"/>
                      <a:pt x="207283" y="41121"/>
                    </a:cubicBezTo>
                    <a:cubicBezTo>
                      <a:pt x="222262" y="36435"/>
                      <a:pt x="241009" y="24251"/>
                      <a:pt x="265374" y="31747"/>
                    </a:cubicBezTo>
                    <a:cubicBezTo>
                      <a:pt x="271938" y="33622"/>
                      <a:pt x="272886" y="26123"/>
                      <a:pt x="268193" y="19563"/>
                    </a:cubicBezTo>
                    <a:cubicBezTo>
                      <a:pt x="261629" y="8317"/>
                      <a:pt x="233519" y="-4804"/>
                      <a:pt x="220390" y="1757"/>
                    </a:cubicBezTo>
                    <a:cubicBezTo>
                      <a:pt x="197898" y="8317"/>
                      <a:pt x="175406" y="14877"/>
                      <a:pt x="155734" y="27998"/>
                    </a:cubicBezTo>
                    <a:cubicBezTo>
                      <a:pt x="132295" y="44870"/>
                      <a:pt x="110729" y="58927"/>
                      <a:pt x="91057" y="78610"/>
                    </a:cubicBezTo>
                    <a:cubicBezTo>
                      <a:pt x="71385" y="98291"/>
                      <a:pt x="48871" y="118910"/>
                      <a:pt x="29199" y="142340"/>
                    </a:cubicBezTo>
                    <a:cubicBezTo>
                      <a:pt x="22634" y="152652"/>
                      <a:pt x="13272" y="162962"/>
                      <a:pt x="6707" y="172333"/>
                    </a:cubicBezTo>
                    <a:cubicBezTo>
                      <a:pt x="2962" y="179832"/>
                      <a:pt x="-783" y="191078"/>
                      <a:pt x="142" y="201387"/>
                    </a:cubicBezTo>
                    <a:cubicBezTo>
                      <a:pt x="3887" y="229505"/>
                      <a:pt x="13272" y="243562"/>
                      <a:pt x="38583" y="248248"/>
                    </a:cubicBezTo>
                    <a:cubicBezTo>
                      <a:pt x="48871" y="249186"/>
                      <a:pt x="59181" y="248248"/>
                      <a:pt x="69490" y="248248"/>
                    </a:cubicBezTo>
                    <a:cubicBezTo>
                      <a:pt x="72310" y="248248"/>
                      <a:pt x="76055" y="245437"/>
                      <a:pt x="78875" y="244500"/>
                    </a:cubicBezTo>
                    <a:cubicBezTo>
                      <a:pt x="95749" y="234191"/>
                      <a:pt x="113549" y="224817"/>
                      <a:pt x="129476" y="212635"/>
                    </a:cubicBezTo>
                    <a:cubicBezTo>
                      <a:pt x="144478" y="205137"/>
                      <a:pt x="157607" y="192952"/>
                      <a:pt x="171662" y="182643"/>
                    </a:cubicBezTo>
                    <a:cubicBezTo>
                      <a:pt x="182896" y="175144"/>
                      <a:pt x="196026" y="166709"/>
                      <a:pt x="209155" y="159210"/>
                    </a:cubicBezTo>
                    <a:lnTo>
                      <a:pt x="275683" y="112350"/>
                    </a:lnTo>
                    <a:cubicBezTo>
                      <a:pt x="276322" y="111101"/>
                      <a:pt x="277578" y="111414"/>
                      <a:pt x="279450" y="113286"/>
                    </a:cubicBezTo>
                    <a:lnTo>
                      <a:pt x="279450" y="115161"/>
                    </a:lnTo>
                    <a:cubicBezTo>
                      <a:pt x="275683" y="128283"/>
                      <a:pt x="270066" y="139529"/>
                      <a:pt x="268193" y="152652"/>
                    </a:cubicBezTo>
                    <a:cubicBezTo>
                      <a:pt x="263501" y="175144"/>
                      <a:pt x="260703" y="197638"/>
                      <a:pt x="279450" y="217321"/>
                    </a:cubicBezTo>
                    <a:cubicBezTo>
                      <a:pt x="280375" y="222007"/>
                      <a:pt x="282248" y="224817"/>
                      <a:pt x="283195" y="228567"/>
                    </a:cubicBezTo>
                    <a:cubicBezTo>
                      <a:pt x="287887" y="240751"/>
                      <a:pt x="299122" y="244500"/>
                      <a:pt x="309432" y="248250"/>
                    </a:cubicBezTo>
                    <a:cubicBezTo>
                      <a:pt x="320689" y="251999"/>
                      <a:pt x="332871" y="258559"/>
                      <a:pt x="345978" y="249186"/>
                    </a:cubicBezTo>
                    <a:lnTo>
                      <a:pt x="355363" y="249186"/>
                    </a:lnTo>
                    <a:cubicBezTo>
                      <a:pt x="371290" y="245437"/>
                      <a:pt x="386292" y="243562"/>
                      <a:pt x="401272" y="240751"/>
                    </a:cubicBezTo>
                    <a:cubicBezTo>
                      <a:pt x="421891" y="236066"/>
                      <a:pt x="440637" y="228567"/>
                      <a:pt x="459385" y="217321"/>
                    </a:cubicBezTo>
                    <a:lnTo>
                      <a:pt x="486568" y="207947"/>
                    </a:lnTo>
                    <a:cubicBezTo>
                      <a:pt x="493133" y="205137"/>
                      <a:pt x="494058" y="194827"/>
                      <a:pt x="505315" y="195765"/>
                    </a:cubicBezTo>
                    <a:lnTo>
                      <a:pt x="508135" y="195765"/>
                    </a:lnTo>
                    <a:cubicBezTo>
                      <a:pt x="513752" y="188267"/>
                      <a:pt x="521242" y="179832"/>
                      <a:pt x="532499" y="177957"/>
                    </a:cubicBezTo>
                    <a:lnTo>
                      <a:pt x="533424" y="177957"/>
                    </a:lnTo>
                    <a:lnTo>
                      <a:pt x="533424" y="177019"/>
                    </a:lnTo>
                    <a:cubicBezTo>
                      <a:pt x="523115" y="179832"/>
                      <a:pt x="513752" y="183579"/>
                      <a:pt x="505315" y="186392"/>
                    </a:cubicBezTo>
                    <a:cubicBezTo>
                      <a:pt x="505315" y="186392"/>
                      <a:pt x="503443" y="183579"/>
                      <a:pt x="501570" y="183579"/>
                    </a:cubicBezTo>
                    <a:cubicBezTo>
                      <a:pt x="501570" y="182955"/>
                      <a:pt x="502187" y="181706"/>
                      <a:pt x="503443" y="179832"/>
                    </a:cubicBezTo>
                    <a:cubicBezTo>
                      <a:pt x="510933" y="176082"/>
                      <a:pt x="543734" y="162962"/>
                      <a:pt x="562481" y="156399"/>
                    </a:cubicBezTo>
                    <a:cubicBezTo>
                      <a:pt x="569046" y="147964"/>
                      <a:pt x="578430" y="141404"/>
                      <a:pt x="589665" y="139529"/>
                    </a:cubicBezTo>
                    <a:cubicBezTo>
                      <a:pt x="595282" y="132033"/>
                      <a:pt x="603719" y="129220"/>
                      <a:pt x="610284" y="128283"/>
                    </a:cubicBezTo>
                    <a:cubicBezTo>
                      <a:pt x="612157" y="125470"/>
                      <a:pt x="613104" y="124534"/>
                      <a:pt x="613104" y="124534"/>
                    </a:cubicBezTo>
                    <a:cubicBezTo>
                      <a:pt x="606539" y="122659"/>
                      <a:pt x="599049" y="121723"/>
                      <a:pt x="591537" y="118910"/>
                    </a:cubicBezTo>
                    <a:lnTo>
                      <a:pt x="591537" y="117974"/>
                    </a:lnTo>
                    <a:cubicBezTo>
                      <a:pt x="606539" y="112350"/>
                      <a:pt x="624339" y="105789"/>
                      <a:pt x="641213" y="105789"/>
                    </a:cubicBezTo>
                    <a:cubicBezTo>
                      <a:pt x="642160" y="103915"/>
                      <a:pt x="644033" y="102976"/>
                      <a:pt x="644958" y="102040"/>
                    </a:cubicBezTo>
                    <a:cubicBezTo>
                      <a:pt x="644958" y="102040"/>
                      <a:pt x="644958" y="99229"/>
                      <a:pt x="645905" y="98291"/>
                    </a:cubicBezTo>
                    <a:lnTo>
                      <a:pt x="644033" y="95480"/>
                    </a:lnTo>
                    <a:cubicBezTo>
                      <a:pt x="641213" y="97355"/>
                      <a:pt x="639341" y="97355"/>
                      <a:pt x="636521" y="97355"/>
                    </a:cubicBezTo>
                    <a:close/>
                    <a:moveTo>
                      <a:pt x="176354" y="141404"/>
                    </a:moveTo>
                    <a:lnTo>
                      <a:pt x="176354" y="139529"/>
                    </a:lnTo>
                    <a:lnTo>
                      <a:pt x="178226" y="139529"/>
                    </a:lnTo>
                    <a:lnTo>
                      <a:pt x="176354" y="141404"/>
                    </a:lnTo>
                    <a:close/>
                    <a:moveTo>
                      <a:pt x="180099" y="137655"/>
                    </a:moveTo>
                    <a:cubicBezTo>
                      <a:pt x="180099" y="136718"/>
                      <a:pt x="181971" y="132969"/>
                      <a:pt x="182896" y="132969"/>
                    </a:cubicBezTo>
                    <a:cubicBezTo>
                      <a:pt x="182896" y="137655"/>
                      <a:pt x="181971" y="137655"/>
                      <a:pt x="180099" y="137655"/>
                    </a:cubicBezTo>
                    <a:close/>
                    <a:moveTo>
                      <a:pt x="183844" y="132969"/>
                    </a:moveTo>
                    <a:cubicBezTo>
                      <a:pt x="186663" y="129220"/>
                      <a:pt x="191334" y="124534"/>
                      <a:pt x="196026" y="124534"/>
                    </a:cubicBezTo>
                    <a:cubicBezTo>
                      <a:pt x="195100" y="130158"/>
                      <a:pt x="190408" y="132969"/>
                      <a:pt x="183844" y="132969"/>
                    </a:cubicBezTo>
                    <a:close/>
                    <a:moveTo>
                      <a:pt x="197898" y="124534"/>
                    </a:moveTo>
                    <a:cubicBezTo>
                      <a:pt x="201643" y="117974"/>
                      <a:pt x="206335" y="115161"/>
                      <a:pt x="211028" y="115161"/>
                    </a:cubicBezTo>
                    <a:cubicBezTo>
                      <a:pt x="210080" y="121723"/>
                      <a:pt x="206335" y="125470"/>
                      <a:pt x="197898" y="124534"/>
                    </a:cubicBezTo>
                    <a:close/>
                    <a:moveTo>
                      <a:pt x="226955" y="105789"/>
                    </a:moveTo>
                    <a:cubicBezTo>
                      <a:pt x="226030" y="112350"/>
                      <a:pt x="217592" y="113286"/>
                      <a:pt x="213825" y="113286"/>
                    </a:cubicBezTo>
                    <a:cubicBezTo>
                      <a:pt x="214773" y="106726"/>
                      <a:pt x="220390" y="105789"/>
                      <a:pt x="226955" y="105789"/>
                    </a:cubicBezTo>
                    <a:cubicBezTo>
                      <a:pt x="229774" y="98291"/>
                      <a:pt x="233519" y="95480"/>
                      <a:pt x="241009" y="95480"/>
                    </a:cubicBezTo>
                    <a:cubicBezTo>
                      <a:pt x="237264" y="102978"/>
                      <a:pt x="233519" y="105789"/>
                      <a:pt x="226955" y="105789"/>
                    </a:cubicBezTo>
                    <a:close/>
                    <a:moveTo>
                      <a:pt x="256011" y="86106"/>
                    </a:moveTo>
                    <a:cubicBezTo>
                      <a:pt x="252266" y="91730"/>
                      <a:pt x="248521" y="95480"/>
                      <a:pt x="241956" y="95480"/>
                    </a:cubicBezTo>
                    <a:cubicBezTo>
                      <a:pt x="243829" y="88919"/>
                      <a:pt x="248521" y="87045"/>
                      <a:pt x="256011" y="86106"/>
                    </a:cubicBezTo>
                    <a:cubicBezTo>
                      <a:pt x="259756" y="78610"/>
                      <a:pt x="261629" y="75797"/>
                      <a:pt x="270066" y="76735"/>
                    </a:cubicBezTo>
                    <a:cubicBezTo>
                      <a:pt x="267268" y="84234"/>
                      <a:pt x="261629" y="86106"/>
                      <a:pt x="256011" y="86106"/>
                    </a:cubicBezTo>
                    <a:close/>
                    <a:moveTo>
                      <a:pt x="270066" y="75797"/>
                    </a:moveTo>
                    <a:cubicBezTo>
                      <a:pt x="271938" y="69236"/>
                      <a:pt x="276630" y="67364"/>
                      <a:pt x="283195" y="67364"/>
                    </a:cubicBezTo>
                    <a:cubicBezTo>
                      <a:pt x="282248" y="73924"/>
                      <a:pt x="276630" y="76735"/>
                      <a:pt x="270066" y="75797"/>
                    </a:cubicBezTo>
                    <a:close/>
                    <a:moveTo>
                      <a:pt x="285993" y="64551"/>
                    </a:moveTo>
                    <a:lnTo>
                      <a:pt x="285993" y="63612"/>
                    </a:lnTo>
                    <a:lnTo>
                      <a:pt x="286940" y="63612"/>
                    </a:lnTo>
                    <a:lnTo>
                      <a:pt x="285993" y="64551"/>
                    </a:lnTo>
                    <a:close/>
                    <a:moveTo>
                      <a:pt x="411581" y="214508"/>
                    </a:moveTo>
                    <a:lnTo>
                      <a:pt x="408783" y="214508"/>
                    </a:lnTo>
                    <a:cubicBezTo>
                      <a:pt x="391909" y="205137"/>
                      <a:pt x="379727" y="216383"/>
                      <a:pt x="366598" y="218257"/>
                    </a:cubicBezTo>
                    <a:cubicBezTo>
                      <a:pt x="364725" y="218257"/>
                      <a:pt x="364725" y="217321"/>
                      <a:pt x="364725" y="217321"/>
                    </a:cubicBezTo>
                    <a:cubicBezTo>
                      <a:pt x="362853" y="217321"/>
                      <a:pt x="362853" y="216383"/>
                      <a:pt x="362853" y="216383"/>
                    </a:cubicBezTo>
                    <a:lnTo>
                      <a:pt x="362853" y="214508"/>
                    </a:lnTo>
                    <a:cubicBezTo>
                      <a:pt x="366598" y="212635"/>
                      <a:pt x="367545" y="210758"/>
                      <a:pt x="368470" y="210758"/>
                    </a:cubicBezTo>
                    <a:cubicBezTo>
                      <a:pt x="389089" y="206073"/>
                      <a:pt x="406911" y="201387"/>
                      <a:pt x="425658" y="197638"/>
                    </a:cubicBezTo>
                    <a:cubicBezTo>
                      <a:pt x="433148" y="195765"/>
                      <a:pt x="439712" y="197638"/>
                      <a:pt x="446277" y="197638"/>
                    </a:cubicBezTo>
                    <a:cubicBezTo>
                      <a:pt x="436892" y="207947"/>
                      <a:pt x="420966" y="207947"/>
                      <a:pt x="411581" y="214508"/>
                    </a:cubicBezTo>
                    <a:close/>
                    <a:moveTo>
                      <a:pt x="470641" y="163898"/>
                    </a:moveTo>
                    <a:lnTo>
                      <a:pt x="470641" y="165773"/>
                    </a:lnTo>
                    <a:lnTo>
                      <a:pt x="467822" y="163898"/>
                    </a:lnTo>
                    <a:lnTo>
                      <a:pt x="470641" y="163898"/>
                    </a:lnTo>
                    <a:close/>
                    <a:moveTo>
                      <a:pt x="452820" y="171395"/>
                    </a:moveTo>
                    <a:cubicBezTo>
                      <a:pt x="452820" y="171395"/>
                      <a:pt x="451894" y="171395"/>
                      <a:pt x="450022" y="168584"/>
                    </a:cubicBezTo>
                    <a:lnTo>
                      <a:pt x="451894" y="168584"/>
                    </a:lnTo>
                    <a:cubicBezTo>
                      <a:pt x="452820" y="168584"/>
                      <a:pt x="454714" y="168584"/>
                      <a:pt x="454714" y="171395"/>
                    </a:cubicBezTo>
                    <a:lnTo>
                      <a:pt x="452820" y="171395"/>
                    </a:lnTo>
                    <a:close/>
                    <a:moveTo>
                      <a:pt x="459385" y="198576"/>
                    </a:moveTo>
                    <a:cubicBezTo>
                      <a:pt x="458459" y="195765"/>
                      <a:pt x="459385" y="195765"/>
                      <a:pt x="460332" y="195765"/>
                    </a:cubicBezTo>
                    <a:cubicBezTo>
                      <a:pt x="460332" y="197638"/>
                      <a:pt x="459385" y="197638"/>
                      <a:pt x="459385" y="198576"/>
                    </a:cubicBezTo>
                    <a:close/>
                    <a:moveTo>
                      <a:pt x="471566" y="195765"/>
                    </a:moveTo>
                    <a:lnTo>
                      <a:pt x="464077" y="195765"/>
                    </a:lnTo>
                    <a:cubicBezTo>
                      <a:pt x="464077" y="192952"/>
                      <a:pt x="466896" y="191078"/>
                      <a:pt x="470641" y="191078"/>
                    </a:cubicBezTo>
                    <a:cubicBezTo>
                      <a:pt x="471566" y="191078"/>
                      <a:pt x="471566" y="192952"/>
                      <a:pt x="472514" y="192952"/>
                    </a:cubicBezTo>
                    <a:cubicBezTo>
                      <a:pt x="472514" y="194827"/>
                      <a:pt x="471566" y="195765"/>
                      <a:pt x="471566" y="195765"/>
                    </a:cubicBezTo>
                    <a:close/>
                    <a:moveTo>
                      <a:pt x="480004" y="162962"/>
                    </a:moveTo>
                    <a:lnTo>
                      <a:pt x="471566" y="162962"/>
                    </a:lnTo>
                    <a:cubicBezTo>
                      <a:pt x="474386" y="156399"/>
                      <a:pt x="481876" y="159212"/>
                      <a:pt x="484696" y="157338"/>
                    </a:cubicBezTo>
                    <a:cubicBezTo>
                      <a:pt x="484696" y="161087"/>
                      <a:pt x="483748" y="162962"/>
                      <a:pt x="480004" y="162962"/>
                    </a:cubicBezTo>
                    <a:close/>
                    <a:moveTo>
                      <a:pt x="510007" y="150777"/>
                    </a:moveTo>
                    <a:cubicBezTo>
                      <a:pt x="503443" y="156399"/>
                      <a:pt x="494058" y="159212"/>
                      <a:pt x="486568" y="157338"/>
                    </a:cubicBezTo>
                    <a:cubicBezTo>
                      <a:pt x="493133" y="148903"/>
                      <a:pt x="499698" y="147964"/>
                      <a:pt x="510007" y="148903"/>
                    </a:cubicBezTo>
                    <a:lnTo>
                      <a:pt x="510007" y="150777"/>
                    </a:lnTo>
                    <a:close/>
                    <a:moveTo>
                      <a:pt x="510007" y="147964"/>
                    </a:moveTo>
                    <a:cubicBezTo>
                      <a:pt x="517497" y="141404"/>
                      <a:pt x="524062" y="137655"/>
                      <a:pt x="533424" y="139529"/>
                    </a:cubicBezTo>
                    <a:cubicBezTo>
                      <a:pt x="527807" y="147964"/>
                      <a:pt x="520317" y="148903"/>
                      <a:pt x="510007" y="147964"/>
                    </a:cubicBezTo>
                    <a:close/>
                    <a:moveTo>
                      <a:pt x="570918" y="137655"/>
                    </a:moveTo>
                    <a:lnTo>
                      <a:pt x="569046" y="136718"/>
                    </a:lnTo>
                    <a:lnTo>
                      <a:pt x="570918" y="136718"/>
                    </a:lnTo>
                    <a:lnTo>
                      <a:pt x="570918" y="137655"/>
                    </a:lnTo>
                    <a:close/>
                    <a:moveTo>
                      <a:pt x="590612" y="121723"/>
                    </a:moveTo>
                    <a:cubicBezTo>
                      <a:pt x="576535" y="128283"/>
                      <a:pt x="563428" y="132033"/>
                      <a:pt x="549373" y="132969"/>
                    </a:cubicBezTo>
                    <a:cubicBezTo>
                      <a:pt x="544681" y="141404"/>
                      <a:pt x="539989" y="139529"/>
                      <a:pt x="536244" y="139529"/>
                    </a:cubicBezTo>
                    <a:cubicBezTo>
                      <a:pt x="536244" y="137655"/>
                      <a:pt x="537191" y="132969"/>
                      <a:pt x="538117" y="132969"/>
                    </a:cubicBezTo>
                    <a:lnTo>
                      <a:pt x="549373" y="132969"/>
                    </a:lnTo>
                    <a:lnTo>
                      <a:pt x="549373" y="132033"/>
                    </a:lnTo>
                    <a:cubicBezTo>
                      <a:pt x="562481" y="125470"/>
                      <a:pt x="575610" y="118910"/>
                      <a:pt x="591537" y="121723"/>
                    </a:cubicBezTo>
                    <a:lnTo>
                      <a:pt x="590612" y="121723"/>
                    </a:ln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31" name="Freihandform: Form 630">
                <a:extLst>
                  <a:ext uri="{FF2B5EF4-FFF2-40B4-BE49-F238E27FC236}">
                    <a16:creationId xmlns:a16="http://schemas.microsoft.com/office/drawing/2014/main" id="{FDFFBA01-1417-5C30-6349-1EDBECD7FDA3}"/>
                  </a:ext>
                </a:extLst>
              </p:cNvPr>
              <p:cNvSpPr/>
              <p:nvPr/>
            </p:nvSpPr>
            <p:spPr>
              <a:xfrm>
                <a:off x="7002655" y="3317003"/>
                <a:ext cx="947" cy="2813"/>
              </a:xfrm>
              <a:custGeom>
                <a:avLst/>
                <a:gdLst>
                  <a:gd name="connsiteX0" fmla="*/ 0 w 947"/>
                  <a:gd name="connsiteY0" fmla="*/ 2813 h 2813"/>
                  <a:gd name="connsiteX1" fmla="*/ 947 w 947"/>
                  <a:gd name="connsiteY1" fmla="*/ 2813 h 2813"/>
                  <a:gd name="connsiteX2" fmla="*/ 947 w 947"/>
                  <a:gd name="connsiteY2" fmla="*/ 0 h 2813"/>
                  <a:gd name="connsiteX3" fmla="*/ 0 w 947"/>
                  <a:gd name="connsiteY3" fmla="*/ 2813 h 28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47" h="2813">
                    <a:moveTo>
                      <a:pt x="0" y="2813"/>
                    </a:moveTo>
                    <a:lnTo>
                      <a:pt x="947" y="2813"/>
                    </a:lnTo>
                    <a:lnTo>
                      <a:pt x="947" y="0"/>
                    </a:lnTo>
                    <a:lnTo>
                      <a:pt x="0" y="2813"/>
                    </a:ln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32" name="Freihandform: Form 631">
                <a:extLst>
                  <a:ext uri="{FF2B5EF4-FFF2-40B4-BE49-F238E27FC236}">
                    <a16:creationId xmlns:a16="http://schemas.microsoft.com/office/drawing/2014/main" id="{3C877D6B-CCBF-43B8-6140-B4018C1F7011}"/>
                  </a:ext>
                </a:extLst>
              </p:cNvPr>
              <p:cNvSpPr/>
              <p:nvPr/>
            </p:nvSpPr>
            <p:spPr>
              <a:xfrm>
                <a:off x="5918314" y="2956401"/>
                <a:ext cx="9384" cy="8200"/>
              </a:xfrm>
              <a:custGeom>
                <a:avLst/>
                <a:gdLst>
                  <a:gd name="connsiteX0" fmla="*/ 9384 w 9384"/>
                  <a:gd name="connsiteY0" fmla="*/ 4452 h 8200"/>
                  <a:gd name="connsiteX1" fmla="*/ 9384 w 9384"/>
                  <a:gd name="connsiteY1" fmla="*/ 1641 h 8200"/>
                  <a:gd name="connsiteX2" fmla="*/ 7512 w 9384"/>
                  <a:gd name="connsiteY2" fmla="*/ 702 h 8200"/>
                  <a:gd name="connsiteX3" fmla="*/ 5639 w 9384"/>
                  <a:gd name="connsiteY3" fmla="*/ 702 h 8200"/>
                  <a:gd name="connsiteX4" fmla="*/ 0 w 9384"/>
                  <a:gd name="connsiteY4" fmla="*/ 4452 h 8200"/>
                  <a:gd name="connsiteX5" fmla="*/ 0 w 9384"/>
                  <a:gd name="connsiteY5" fmla="*/ 5390 h 8200"/>
                  <a:gd name="connsiteX6" fmla="*/ 2820 w 9384"/>
                  <a:gd name="connsiteY6" fmla="*/ 8201 h 8200"/>
                  <a:gd name="connsiteX7" fmla="*/ 5639 w 9384"/>
                  <a:gd name="connsiteY7" fmla="*/ 8201 h 8200"/>
                  <a:gd name="connsiteX8" fmla="*/ 9384 w 9384"/>
                  <a:gd name="connsiteY8" fmla="*/ 4452 h 8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384" h="8200">
                    <a:moveTo>
                      <a:pt x="9384" y="4452"/>
                    </a:moveTo>
                    <a:lnTo>
                      <a:pt x="9384" y="1641"/>
                    </a:lnTo>
                    <a:cubicBezTo>
                      <a:pt x="9384" y="702"/>
                      <a:pt x="7512" y="702"/>
                      <a:pt x="7512" y="702"/>
                    </a:cubicBezTo>
                    <a:cubicBezTo>
                      <a:pt x="7512" y="-234"/>
                      <a:pt x="6565" y="-234"/>
                      <a:pt x="5639" y="702"/>
                    </a:cubicBezTo>
                    <a:cubicBezTo>
                      <a:pt x="3745" y="1641"/>
                      <a:pt x="2820" y="3515"/>
                      <a:pt x="0" y="4452"/>
                    </a:cubicBezTo>
                    <a:lnTo>
                      <a:pt x="0" y="5390"/>
                    </a:lnTo>
                    <a:cubicBezTo>
                      <a:pt x="0" y="7265"/>
                      <a:pt x="1873" y="8201"/>
                      <a:pt x="2820" y="8201"/>
                    </a:cubicBezTo>
                    <a:lnTo>
                      <a:pt x="5639" y="8201"/>
                    </a:lnTo>
                    <a:cubicBezTo>
                      <a:pt x="5639" y="5390"/>
                      <a:pt x="6565" y="4452"/>
                      <a:pt x="9384" y="4452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33" name="Freihandform: Form 632">
                <a:extLst>
                  <a:ext uri="{FF2B5EF4-FFF2-40B4-BE49-F238E27FC236}">
                    <a16:creationId xmlns:a16="http://schemas.microsoft.com/office/drawing/2014/main" id="{53081226-A083-31D3-F72F-8480299C4F4E}"/>
                  </a:ext>
                </a:extLst>
              </p:cNvPr>
              <p:cNvSpPr/>
              <p:nvPr/>
            </p:nvSpPr>
            <p:spPr>
              <a:xfrm>
                <a:off x="5883640" y="2994595"/>
                <a:ext cx="3745" cy="2810"/>
              </a:xfrm>
              <a:custGeom>
                <a:avLst/>
                <a:gdLst>
                  <a:gd name="connsiteX0" fmla="*/ 3745 w 3745"/>
                  <a:gd name="connsiteY0" fmla="*/ 0 h 2810"/>
                  <a:gd name="connsiteX1" fmla="*/ 0 w 3745"/>
                  <a:gd name="connsiteY1" fmla="*/ 0 h 2810"/>
                  <a:gd name="connsiteX2" fmla="*/ 0 w 3745"/>
                  <a:gd name="connsiteY2" fmla="*/ 2811 h 2810"/>
                  <a:gd name="connsiteX3" fmla="*/ 3745 w 3745"/>
                  <a:gd name="connsiteY3" fmla="*/ 0 h 28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745" h="2810">
                    <a:moveTo>
                      <a:pt x="3745" y="0"/>
                    </a:moveTo>
                    <a:lnTo>
                      <a:pt x="0" y="0"/>
                    </a:lnTo>
                    <a:lnTo>
                      <a:pt x="0" y="2811"/>
                    </a:lnTo>
                    <a:cubicBezTo>
                      <a:pt x="1873" y="2811"/>
                      <a:pt x="3745" y="1872"/>
                      <a:pt x="3745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34" name="Freihandform: Form 633">
                <a:extLst>
                  <a:ext uri="{FF2B5EF4-FFF2-40B4-BE49-F238E27FC236}">
                    <a16:creationId xmlns:a16="http://schemas.microsoft.com/office/drawing/2014/main" id="{7F85B6D3-5898-6939-FEC0-4AD7A53CD125}"/>
                  </a:ext>
                </a:extLst>
              </p:cNvPr>
              <p:cNvSpPr/>
              <p:nvPr/>
            </p:nvSpPr>
            <p:spPr>
              <a:xfrm>
                <a:off x="5887385" y="2978273"/>
                <a:ext cx="23438" cy="16321"/>
              </a:xfrm>
              <a:custGeom>
                <a:avLst/>
                <a:gdLst>
                  <a:gd name="connsiteX0" fmla="*/ 15002 w 23438"/>
                  <a:gd name="connsiteY0" fmla="*/ 8823 h 16321"/>
                  <a:gd name="connsiteX1" fmla="*/ 22492 w 23438"/>
                  <a:gd name="connsiteY1" fmla="*/ 1324 h 16321"/>
                  <a:gd name="connsiteX2" fmla="*/ 23439 w 23438"/>
                  <a:gd name="connsiteY2" fmla="*/ 388 h 16321"/>
                  <a:gd name="connsiteX3" fmla="*/ 17821 w 23438"/>
                  <a:gd name="connsiteY3" fmla="*/ 1324 h 16321"/>
                  <a:gd name="connsiteX4" fmla="*/ 14054 w 23438"/>
                  <a:gd name="connsiteY4" fmla="*/ 4137 h 16321"/>
                  <a:gd name="connsiteX5" fmla="*/ 6564 w 23438"/>
                  <a:gd name="connsiteY5" fmla="*/ 6948 h 16321"/>
                  <a:gd name="connsiteX6" fmla="*/ 3745 w 23438"/>
                  <a:gd name="connsiteY6" fmla="*/ 10698 h 16321"/>
                  <a:gd name="connsiteX7" fmla="*/ 0 w 23438"/>
                  <a:gd name="connsiteY7" fmla="*/ 16321 h 16321"/>
                  <a:gd name="connsiteX8" fmla="*/ 6564 w 23438"/>
                  <a:gd name="connsiteY8" fmla="*/ 15383 h 16321"/>
                  <a:gd name="connsiteX9" fmla="*/ 15002 w 23438"/>
                  <a:gd name="connsiteY9" fmla="*/ 8823 h 163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3438" h="16321">
                    <a:moveTo>
                      <a:pt x="15002" y="8823"/>
                    </a:moveTo>
                    <a:cubicBezTo>
                      <a:pt x="17821" y="6948"/>
                      <a:pt x="19694" y="4137"/>
                      <a:pt x="22492" y="1324"/>
                    </a:cubicBezTo>
                    <a:cubicBezTo>
                      <a:pt x="22492" y="701"/>
                      <a:pt x="22822" y="388"/>
                      <a:pt x="23439" y="388"/>
                    </a:cubicBezTo>
                    <a:cubicBezTo>
                      <a:pt x="21566" y="-548"/>
                      <a:pt x="18747" y="388"/>
                      <a:pt x="17821" y="1324"/>
                    </a:cubicBezTo>
                    <a:cubicBezTo>
                      <a:pt x="15949" y="1324"/>
                      <a:pt x="15002" y="3199"/>
                      <a:pt x="14054" y="4137"/>
                    </a:cubicBezTo>
                    <a:cubicBezTo>
                      <a:pt x="11257" y="6948"/>
                      <a:pt x="8437" y="6948"/>
                      <a:pt x="6564" y="6948"/>
                    </a:cubicBezTo>
                    <a:cubicBezTo>
                      <a:pt x="6564" y="8823"/>
                      <a:pt x="4692" y="8823"/>
                      <a:pt x="3745" y="10698"/>
                    </a:cubicBezTo>
                    <a:cubicBezTo>
                      <a:pt x="2820" y="11634"/>
                      <a:pt x="947" y="14447"/>
                      <a:pt x="0" y="16321"/>
                    </a:cubicBezTo>
                    <a:cubicBezTo>
                      <a:pt x="2820" y="16321"/>
                      <a:pt x="3745" y="16321"/>
                      <a:pt x="6564" y="15383"/>
                    </a:cubicBezTo>
                    <a:cubicBezTo>
                      <a:pt x="8437" y="12572"/>
                      <a:pt x="11257" y="10698"/>
                      <a:pt x="15002" y="8823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35" name="Freihandform: Form 634">
                <a:extLst>
                  <a:ext uri="{FF2B5EF4-FFF2-40B4-BE49-F238E27FC236}">
                    <a16:creationId xmlns:a16="http://schemas.microsoft.com/office/drawing/2014/main" id="{52DCFD50-2419-52C2-25E9-E3BE7636CC79}"/>
                  </a:ext>
                </a:extLst>
              </p:cNvPr>
              <p:cNvSpPr/>
              <p:nvPr/>
            </p:nvSpPr>
            <p:spPr>
              <a:xfrm>
                <a:off x="5878023" y="2988971"/>
                <a:ext cx="5617" cy="5623"/>
              </a:xfrm>
              <a:custGeom>
                <a:avLst/>
                <a:gdLst>
                  <a:gd name="connsiteX0" fmla="*/ 5617 w 5617"/>
                  <a:gd name="connsiteY0" fmla="*/ 5624 h 5623"/>
                  <a:gd name="connsiteX1" fmla="*/ 5617 w 5617"/>
                  <a:gd name="connsiteY1" fmla="*/ 1875 h 5623"/>
                  <a:gd name="connsiteX2" fmla="*/ 3745 w 5617"/>
                  <a:gd name="connsiteY2" fmla="*/ 0 h 5623"/>
                  <a:gd name="connsiteX3" fmla="*/ 1872 w 5617"/>
                  <a:gd name="connsiteY3" fmla="*/ 1875 h 5623"/>
                  <a:gd name="connsiteX4" fmla="*/ 0 w 5617"/>
                  <a:gd name="connsiteY4" fmla="*/ 4686 h 5623"/>
                  <a:gd name="connsiteX5" fmla="*/ 2798 w 5617"/>
                  <a:gd name="connsiteY5" fmla="*/ 5624 h 5623"/>
                  <a:gd name="connsiteX6" fmla="*/ 5617 w 5617"/>
                  <a:gd name="connsiteY6" fmla="*/ 5624 h 5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617" h="5623">
                    <a:moveTo>
                      <a:pt x="5617" y="5624"/>
                    </a:moveTo>
                    <a:lnTo>
                      <a:pt x="5617" y="1875"/>
                    </a:lnTo>
                    <a:cubicBezTo>
                      <a:pt x="5617" y="1875"/>
                      <a:pt x="3745" y="936"/>
                      <a:pt x="3745" y="0"/>
                    </a:cubicBezTo>
                    <a:cubicBezTo>
                      <a:pt x="3128" y="623"/>
                      <a:pt x="2489" y="1249"/>
                      <a:pt x="1872" y="1875"/>
                    </a:cubicBezTo>
                    <a:cubicBezTo>
                      <a:pt x="0" y="1875"/>
                      <a:pt x="0" y="3749"/>
                      <a:pt x="0" y="4686"/>
                    </a:cubicBezTo>
                    <a:cubicBezTo>
                      <a:pt x="0" y="4686"/>
                      <a:pt x="1872" y="5624"/>
                      <a:pt x="2798" y="5624"/>
                    </a:cubicBezTo>
                    <a:lnTo>
                      <a:pt x="5617" y="5624"/>
                    </a:ln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36" name="Freihandform: Form 635">
                <a:extLst>
                  <a:ext uri="{FF2B5EF4-FFF2-40B4-BE49-F238E27FC236}">
                    <a16:creationId xmlns:a16="http://schemas.microsoft.com/office/drawing/2014/main" id="{0E61D808-9FED-C4B5-E610-CF8D2D39F9C2}"/>
                  </a:ext>
                </a:extLst>
              </p:cNvPr>
              <p:cNvSpPr/>
              <p:nvPr/>
            </p:nvSpPr>
            <p:spPr>
              <a:xfrm>
                <a:off x="5923953" y="2971162"/>
                <a:ext cx="3744" cy="1874"/>
              </a:xfrm>
              <a:custGeom>
                <a:avLst/>
                <a:gdLst>
                  <a:gd name="connsiteX0" fmla="*/ 1873 w 3744"/>
                  <a:gd name="connsiteY0" fmla="*/ 1875 h 1874"/>
                  <a:gd name="connsiteX1" fmla="*/ 3745 w 3744"/>
                  <a:gd name="connsiteY1" fmla="*/ 0 h 1874"/>
                  <a:gd name="connsiteX2" fmla="*/ 0 w 3744"/>
                  <a:gd name="connsiteY2" fmla="*/ 0 h 1874"/>
                  <a:gd name="connsiteX3" fmla="*/ 1873 w 3744"/>
                  <a:gd name="connsiteY3" fmla="*/ 1875 h 1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744" h="1874">
                    <a:moveTo>
                      <a:pt x="1873" y="1875"/>
                    </a:moveTo>
                    <a:cubicBezTo>
                      <a:pt x="1873" y="1875"/>
                      <a:pt x="3745" y="938"/>
                      <a:pt x="3745" y="0"/>
                    </a:cubicBezTo>
                    <a:lnTo>
                      <a:pt x="0" y="0"/>
                    </a:lnTo>
                    <a:cubicBezTo>
                      <a:pt x="0" y="938"/>
                      <a:pt x="925" y="1875"/>
                      <a:pt x="1873" y="1875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37" name="Freihandform: Form 636">
                <a:extLst>
                  <a:ext uri="{FF2B5EF4-FFF2-40B4-BE49-F238E27FC236}">
                    <a16:creationId xmlns:a16="http://schemas.microsoft.com/office/drawing/2014/main" id="{5E0BD1FB-2DC4-0850-2ECC-DA507BF25A59}"/>
                  </a:ext>
                </a:extLst>
              </p:cNvPr>
              <p:cNvSpPr/>
              <p:nvPr/>
            </p:nvSpPr>
            <p:spPr>
              <a:xfrm>
                <a:off x="5810547" y="3101438"/>
                <a:ext cx="12181" cy="16869"/>
              </a:xfrm>
              <a:custGeom>
                <a:avLst/>
                <a:gdLst>
                  <a:gd name="connsiteX0" fmla="*/ 10310 w 12181"/>
                  <a:gd name="connsiteY0" fmla="*/ 10310 h 16869"/>
                  <a:gd name="connsiteX1" fmla="*/ 12182 w 12181"/>
                  <a:gd name="connsiteY1" fmla="*/ 0 h 16869"/>
                  <a:gd name="connsiteX2" fmla="*/ 6543 w 12181"/>
                  <a:gd name="connsiteY2" fmla="*/ 2813 h 16869"/>
                  <a:gd name="connsiteX3" fmla="*/ 2798 w 12181"/>
                  <a:gd name="connsiteY3" fmla="*/ 9373 h 16869"/>
                  <a:gd name="connsiteX4" fmla="*/ 0 w 12181"/>
                  <a:gd name="connsiteY4" fmla="*/ 16870 h 16869"/>
                  <a:gd name="connsiteX5" fmla="*/ 6543 w 12181"/>
                  <a:gd name="connsiteY5" fmla="*/ 13120 h 16869"/>
                  <a:gd name="connsiteX6" fmla="*/ 10310 w 12181"/>
                  <a:gd name="connsiteY6" fmla="*/ 10310 h 168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181" h="16869">
                    <a:moveTo>
                      <a:pt x="10310" y="10310"/>
                    </a:moveTo>
                    <a:cubicBezTo>
                      <a:pt x="8415" y="6560"/>
                      <a:pt x="11235" y="3749"/>
                      <a:pt x="12182" y="0"/>
                    </a:cubicBezTo>
                    <a:cubicBezTo>
                      <a:pt x="10310" y="0"/>
                      <a:pt x="7490" y="0"/>
                      <a:pt x="6543" y="2813"/>
                    </a:cubicBezTo>
                    <a:cubicBezTo>
                      <a:pt x="4670" y="5624"/>
                      <a:pt x="3745" y="7499"/>
                      <a:pt x="2798" y="9373"/>
                    </a:cubicBezTo>
                    <a:cubicBezTo>
                      <a:pt x="0" y="12184"/>
                      <a:pt x="0" y="14059"/>
                      <a:pt x="0" y="16870"/>
                    </a:cubicBezTo>
                    <a:cubicBezTo>
                      <a:pt x="2798" y="16870"/>
                      <a:pt x="3745" y="14059"/>
                      <a:pt x="6543" y="13120"/>
                    </a:cubicBezTo>
                    <a:cubicBezTo>
                      <a:pt x="7490" y="12184"/>
                      <a:pt x="8415" y="12184"/>
                      <a:pt x="10310" y="10310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38" name="Freihandform: Form 637">
                <a:extLst>
                  <a:ext uri="{FF2B5EF4-FFF2-40B4-BE49-F238E27FC236}">
                    <a16:creationId xmlns:a16="http://schemas.microsoft.com/office/drawing/2014/main" id="{84432453-D170-59F3-C454-ACAC6745A52A}"/>
                  </a:ext>
                </a:extLst>
              </p:cNvPr>
              <p:cNvSpPr/>
              <p:nvPr/>
            </p:nvSpPr>
            <p:spPr>
              <a:xfrm>
                <a:off x="5908951" y="2965172"/>
                <a:ext cx="4692" cy="5990"/>
              </a:xfrm>
              <a:custGeom>
                <a:avLst/>
                <a:gdLst>
                  <a:gd name="connsiteX0" fmla="*/ 1873 w 4692"/>
                  <a:gd name="connsiteY0" fmla="*/ 368 h 5990"/>
                  <a:gd name="connsiteX1" fmla="*/ 0 w 4692"/>
                  <a:gd name="connsiteY1" fmla="*/ 4115 h 5990"/>
                  <a:gd name="connsiteX2" fmla="*/ 3745 w 4692"/>
                  <a:gd name="connsiteY2" fmla="*/ 5990 h 5990"/>
                  <a:gd name="connsiteX3" fmla="*/ 4692 w 4692"/>
                  <a:gd name="connsiteY3" fmla="*/ 5990 h 5990"/>
                  <a:gd name="connsiteX4" fmla="*/ 4692 w 4692"/>
                  <a:gd name="connsiteY4" fmla="*/ 2241 h 5990"/>
                  <a:gd name="connsiteX5" fmla="*/ 1873 w 4692"/>
                  <a:gd name="connsiteY5" fmla="*/ 368 h 59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692" h="5990">
                    <a:moveTo>
                      <a:pt x="1873" y="368"/>
                    </a:moveTo>
                    <a:cubicBezTo>
                      <a:pt x="925" y="2241"/>
                      <a:pt x="0" y="3179"/>
                      <a:pt x="0" y="4115"/>
                    </a:cubicBezTo>
                    <a:cubicBezTo>
                      <a:pt x="0" y="5990"/>
                      <a:pt x="1873" y="5990"/>
                      <a:pt x="3745" y="5990"/>
                    </a:cubicBezTo>
                    <a:lnTo>
                      <a:pt x="4692" y="5990"/>
                    </a:lnTo>
                    <a:lnTo>
                      <a:pt x="4692" y="2241"/>
                    </a:lnTo>
                    <a:cubicBezTo>
                      <a:pt x="4692" y="368"/>
                      <a:pt x="3745" y="-570"/>
                      <a:pt x="1873" y="368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39" name="Freihandform: Form 638">
                <a:extLst>
                  <a:ext uri="{FF2B5EF4-FFF2-40B4-BE49-F238E27FC236}">
                    <a16:creationId xmlns:a16="http://schemas.microsoft.com/office/drawing/2014/main" id="{68859F3A-58CA-3E50-87EA-BE7E3B392180}"/>
                  </a:ext>
                </a:extLst>
              </p:cNvPr>
              <p:cNvSpPr/>
              <p:nvPr/>
            </p:nvSpPr>
            <p:spPr>
              <a:xfrm>
                <a:off x="5910824" y="2974912"/>
                <a:ext cx="2819" cy="2810"/>
              </a:xfrm>
              <a:custGeom>
                <a:avLst/>
                <a:gdLst>
                  <a:gd name="connsiteX0" fmla="*/ 0 w 2819"/>
                  <a:gd name="connsiteY0" fmla="*/ 2811 h 2810"/>
                  <a:gd name="connsiteX1" fmla="*/ 2820 w 2819"/>
                  <a:gd name="connsiteY1" fmla="*/ 0 h 2810"/>
                  <a:gd name="connsiteX2" fmla="*/ 0 w 2819"/>
                  <a:gd name="connsiteY2" fmla="*/ 2811 h 28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819" h="2810">
                    <a:moveTo>
                      <a:pt x="0" y="2811"/>
                    </a:moveTo>
                    <a:cubicBezTo>
                      <a:pt x="1872" y="2811"/>
                      <a:pt x="2820" y="938"/>
                      <a:pt x="2820" y="0"/>
                    </a:cubicBezTo>
                    <a:cubicBezTo>
                      <a:pt x="1872" y="0"/>
                      <a:pt x="0" y="938"/>
                      <a:pt x="0" y="2811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40" name="Freihandform: Form 639">
                <a:extLst>
                  <a:ext uri="{FF2B5EF4-FFF2-40B4-BE49-F238E27FC236}">
                    <a16:creationId xmlns:a16="http://schemas.microsoft.com/office/drawing/2014/main" id="{0BD3D4E4-BC17-DFCF-A1B0-A69B33B7198A}"/>
                  </a:ext>
                </a:extLst>
              </p:cNvPr>
              <p:cNvSpPr/>
              <p:nvPr/>
            </p:nvSpPr>
            <p:spPr>
              <a:xfrm>
                <a:off x="5934263" y="2948668"/>
                <a:ext cx="5617" cy="1874"/>
              </a:xfrm>
              <a:custGeom>
                <a:avLst/>
                <a:gdLst>
                  <a:gd name="connsiteX0" fmla="*/ 0 w 5617"/>
                  <a:gd name="connsiteY0" fmla="*/ 1875 h 1874"/>
                  <a:gd name="connsiteX1" fmla="*/ 5618 w 5617"/>
                  <a:gd name="connsiteY1" fmla="*/ 1875 h 1874"/>
                  <a:gd name="connsiteX2" fmla="*/ 5618 w 5617"/>
                  <a:gd name="connsiteY2" fmla="*/ 0 h 1874"/>
                  <a:gd name="connsiteX3" fmla="*/ 3745 w 5617"/>
                  <a:gd name="connsiteY3" fmla="*/ 0 h 1874"/>
                  <a:gd name="connsiteX4" fmla="*/ 0 w 5617"/>
                  <a:gd name="connsiteY4" fmla="*/ 1875 h 1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17" h="1874">
                    <a:moveTo>
                      <a:pt x="0" y="1875"/>
                    </a:moveTo>
                    <a:lnTo>
                      <a:pt x="5618" y="1875"/>
                    </a:lnTo>
                    <a:lnTo>
                      <a:pt x="5618" y="0"/>
                    </a:lnTo>
                    <a:lnTo>
                      <a:pt x="3745" y="0"/>
                    </a:lnTo>
                    <a:cubicBezTo>
                      <a:pt x="1873" y="0"/>
                      <a:pt x="925" y="938"/>
                      <a:pt x="0" y="1875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41" name="Freihandform: Form 640">
                <a:extLst>
                  <a:ext uri="{FF2B5EF4-FFF2-40B4-BE49-F238E27FC236}">
                    <a16:creationId xmlns:a16="http://schemas.microsoft.com/office/drawing/2014/main" id="{9181CB97-D709-8198-309E-D33BEEBABC37}"/>
                  </a:ext>
                </a:extLst>
              </p:cNvPr>
              <p:cNvSpPr/>
              <p:nvPr/>
            </p:nvSpPr>
            <p:spPr>
              <a:xfrm>
                <a:off x="5941753" y="2944919"/>
                <a:ext cx="1872" cy="1876"/>
              </a:xfrm>
              <a:custGeom>
                <a:avLst/>
                <a:gdLst>
                  <a:gd name="connsiteX0" fmla="*/ 0 w 1872"/>
                  <a:gd name="connsiteY0" fmla="*/ 1877 h 1876"/>
                  <a:gd name="connsiteX1" fmla="*/ 1873 w 1872"/>
                  <a:gd name="connsiteY1" fmla="*/ 1877 h 1876"/>
                  <a:gd name="connsiteX2" fmla="*/ 1873 w 1872"/>
                  <a:gd name="connsiteY2" fmla="*/ 0 h 1876"/>
                  <a:gd name="connsiteX3" fmla="*/ 0 w 1872"/>
                  <a:gd name="connsiteY3" fmla="*/ 1877 h 18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72" h="1876">
                    <a:moveTo>
                      <a:pt x="0" y="1877"/>
                    </a:moveTo>
                    <a:lnTo>
                      <a:pt x="1873" y="1877"/>
                    </a:lnTo>
                    <a:lnTo>
                      <a:pt x="1873" y="0"/>
                    </a:lnTo>
                    <a:cubicBezTo>
                      <a:pt x="925" y="0"/>
                      <a:pt x="0" y="938"/>
                      <a:pt x="0" y="1877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42" name="Freihandform: Form 641">
                <a:extLst>
                  <a:ext uri="{FF2B5EF4-FFF2-40B4-BE49-F238E27FC236}">
                    <a16:creationId xmlns:a16="http://schemas.microsoft.com/office/drawing/2014/main" id="{67A404CC-499D-89DF-2C01-E3F419C19D5E}"/>
                  </a:ext>
                </a:extLst>
              </p:cNvPr>
              <p:cNvSpPr/>
              <p:nvPr/>
            </p:nvSpPr>
            <p:spPr>
              <a:xfrm>
                <a:off x="5943625" y="2941172"/>
                <a:ext cx="3744" cy="3749"/>
              </a:xfrm>
              <a:custGeom>
                <a:avLst/>
                <a:gdLst>
                  <a:gd name="connsiteX0" fmla="*/ 0 w 3744"/>
                  <a:gd name="connsiteY0" fmla="*/ 3749 h 3749"/>
                  <a:gd name="connsiteX1" fmla="*/ 3745 w 3744"/>
                  <a:gd name="connsiteY1" fmla="*/ 3749 h 3749"/>
                  <a:gd name="connsiteX2" fmla="*/ 3745 w 3744"/>
                  <a:gd name="connsiteY2" fmla="*/ 0 h 3749"/>
                  <a:gd name="connsiteX3" fmla="*/ 0 w 3744"/>
                  <a:gd name="connsiteY3" fmla="*/ 3749 h 37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744" h="3749">
                    <a:moveTo>
                      <a:pt x="0" y="3749"/>
                    </a:moveTo>
                    <a:lnTo>
                      <a:pt x="3745" y="3749"/>
                    </a:lnTo>
                    <a:lnTo>
                      <a:pt x="3745" y="0"/>
                    </a:lnTo>
                    <a:cubicBezTo>
                      <a:pt x="2489" y="623"/>
                      <a:pt x="1255" y="1875"/>
                      <a:pt x="0" y="3749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43" name="Freihandform: Form 642">
                <a:extLst>
                  <a:ext uri="{FF2B5EF4-FFF2-40B4-BE49-F238E27FC236}">
                    <a16:creationId xmlns:a16="http://schemas.microsoft.com/office/drawing/2014/main" id="{C115E8E1-3890-8AE1-33C5-6595C7CEAAE2}"/>
                  </a:ext>
                </a:extLst>
              </p:cNvPr>
              <p:cNvSpPr/>
              <p:nvPr/>
            </p:nvSpPr>
            <p:spPr>
              <a:xfrm>
                <a:off x="5939880" y="2946796"/>
                <a:ext cx="1873" cy="1874"/>
              </a:xfrm>
              <a:custGeom>
                <a:avLst/>
                <a:gdLst>
                  <a:gd name="connsiteX0" fmla="*/ 0 w 1873"/>
                  <a:gd name="connsiteY0" fmla="*/ 0 h 1874"/>
                  <a:gd name="connsiteX1" fmla="*/ 1874 w 1873"/>
                  <a:gd name="connsiteY1" fmla="*/ 0 h 1874"/>
                  <a:gd name="connsiteX2" fmla="*/ 1874 w 1873"/>
                  <a:gd name="connsiteY2" fmla="*/ 1874 h 1874"/>
                  <a:gd name="connsiteX3" fmla="*/ 0 w 1873"/>
                  <a:gd name="connsiteY3" fmla="*/ 1874 h 1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73" h="1874">
                    <a:moveTo>
                      <a:pt x="0" y="0"/>
                    </a:moveTo>
                    <a:lnTo>
                      <a:pt x="1874" y="0"/>
                    </a:lnTo>
                    <a:lnTo>
                      <a:pt x="1874" y="1874"/>
                    </a:lnTo>
                    <a:lnTo>
                      <a:pt x="0" y="1874"/>
                    </a:ln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44" name="Freihandform: Form 643">
                <a:extLst>
                  <a:ext uri="{FF2B5EF4-FFF2-40B4-BE49-F238E27FC236}">
                    <a16:creationId xmlns:a16="http://schemas.microsoft.com/office/drawing/2014/main" id="{80A6A390-D344-2E90-B4DE-929F32227B35}"/>
                  </a:ext>
                </a:extLst>
              </p:cNvPr>
              <p:cNvSpPr/>
              <p:nvPr/>
            </p:nvSpPr>
            <p:spPr>
              <a:xfrm>
                <a:off x="5947370" y="2938359"/>
                <a:ext cx="2819" cy="2813"/>
              </a:xfrm>
              <a:custGeom>
                <a:avLst/>
                <a:gdLst>
                  <a:gd name="connsiteX0" fmla="*/ 1873 w 2819"/>
                  <a:gd name="connsiteY0" fmla="*/ 0 h 2813"/>
                  <a:gd name="connsiteX1" fmla="*/ 0 w 2819"/>
                  <a:gd name="connsiteY1" fmla="*/ 2813 h 2813"/>
                  <a:gd name="connsiteX2" fmla="*/ 2820 w 2819"/>
                  <a:gd name="connsiteY2" fmla="*/ 2813 h 2813"/>
                  <a:gd name="connsiteX3" fmla="*/ 1873 w 2819"/>
                  <a:gd name="connsiteY3" fmla="*/ 0 h 28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19" h="2813">
                    <a:moveTo>
                      <a:pt x="1873" y="0"/>
                    </a:moveTo>
                    <a:cubicBezTo>
                      <a:pt x="0" y="0"/>
                      <a:pt x="0" y="938"/>
                      <a:pt x="0" y="2813"/>
                    </a:cubicBezTo>
                    <a:lnTo>
                      <a:pt x="2820" y="2813"/>
                    </a:lnTo>
                    <a:cubicBezTo>
                      <a:pt x="2820" y="938"/>
                      <a:pt x="2820" y="0"/>
                      <a:pt x="1873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45" name="Freihandform: Form 644">
                <a:extLst>
                  <a:ext uri="{FF2B5EF4-FFF2-40B4-BE49-F238E27FC236}">
                    <a16:creationId xmlns:a16="http://schemas.microsoft.com/office/drawing/2014/main" id="{1BE6A59A-8839-B100-4E04-3230BA431DE9}"/>
                  </a:ext>
                </a:extLst>
              </p:cNvPr>
              <p:cNvSpPr/>
              <p:nvPr/>
            </p:nvSpPr>
            <p:spPr>
              <a:xfrm>
                <a:off x="5913644" y="2967963"/>
                <a:ext cx="10309" cy="6949"/>
              </a:xfrm>
              <a:custGeom>
                <a:avLst/>
                <a:gdLst>
                  <a:gd name="connsiteX0" fmla="*/ 2798 w 10309"/>
                  <a:gd name="connsiteY0" fmla="*/ 1325 h 6949"/>
                  <a:gd name="connsiteX1" fmla="*/ 0 w 10309"/>
                  <a:gd name="connsiteY1" fmla="*/ 3200 h 6949"/>
                  <a:gd name="connsiteX2" fmla="*/ 0 w 10309"/>
                  <a:gd name="connsiteY2" fmla="*/ 6949 h 6949"/>
                  <a:gd name="connsiteX3" fmla="*/ 10310 w 10309"/>
                  <a:gd name="connsiteY3" fmla="*/ 3200 h 6949"/>
                  <a:gd name="connsiteX4" fmla="*/ 10310 w 10309"/>
                  <a:gd name="connsiteY4" fmla="*/ 389 h 6949"/>
                  <a:gd name="connsiteX5" fmla="*/ 2798 w 10309"/>
                  <a:gd name="connsiteY5" fmla="*/ 1325 h 69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309" h="6949">
                    <a:moveTo>
                      <a:pt x="2798" y="1325"/>
                    </a:moveTo>
                    <a:cubicBezTo>
                      <a:pt x="2798" y="3200"/>
                      <a:pt x="925" y="3200"/>
                      <a:pt x="0" y="3200"/>
                    </a:cubicBezTo>
                    <a:lnTo>
                      <a:pt x="0" y="6949"/>
                    </a:lnTo>
                    <a:cubicBezTo>
                      <a:pt x="3745" y="6949"/>
                      <a:pt x="7490" y="4138"/>
                      <a:pt x="10310" y="3200"/>
                    </a:cubicBezTo>
                    <a:lnTo>
                      <a:pt x="10310" y="389"/>
                    </a:lnTo>
                    <a:cubicBezTo>
                      <a:pt x="7490" y="-550"/>
                      <a:pt x="4670" y="389"/>
                      <a:pt x="2798" y="1325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46" name="Freihandform: Form 645">
                <a:extLst>
                  <a:ext uri="{FF2B5EF4-FFF2-40B4-BE49-F238E27FC236}">
                    <a16:creationId xmlns:a16="http://schemas.microsoft.com/office/drawing/2014/main" id="{879FD5C3-8954-19B6-EB23-5D8257AAF6FD}"/>
                  </a:ext>
                </a:extLst>
              </p:cNvPr>
              <p:cNvSpPr/>
              <p:nvPr/>
            </p:nvSpPr>
            <p:spPr>
              <a:xfrm>
                <a:off x="5709323" y="3269204"/>
                <a:ext cx="23789" cy="40300"/>
              </a:xfrm>
              <a:custGeom>
                <a:avLst/>
                <a:gdLst>
                  <a:gd name="connsiteX0" fmla="*/ 20619 w 23789"/>
                  <a:gd name="connsiteY0" fmla="*/ 14059 h 40300"/>
                  <a:gd name="connsiteX1" fmla="*/ 21544 w 23789"/>
                  <a:gd name="connsiteY1" fmla="*/ 7499 h 40300"/>
                  <a:gd name="connsiteX2" fmla="*/ 23417 w 23789"/>
                  <a:gd name="connsiteY2" fmla="*/ 0 h 40300"/>
                  <a:gd name="connsiteX3" fmla="*/ 20619 w 23789"/>
                  <a:gd name="connsiteY3" fmla="*/ 938 h 40300"/>
                  <a:gd name="connsiteX4" fmla="*/ 16852 w 23789"/>
                  <a:gd name="connsiteY4" fmla="*/ 3749 h 40300"/>
                  <a:gd name="connsiteX5" fmla="*/ 16852 w 23789"/>
                  <a:gd name="connsiteY5" fmla="*/ 6560 h 40300"/>
                  <a:gd name="connsiteX6" fmla="*/ 6543 w 23789"/>
                  <a:gd name="connsiteY6" fmla="*/ 25305 h 40300"/>
                  <a:gd name="connsiteX7" fmla="*/ 0 w 23789"/>
                  <a:gd name="connsiteY7" fmla="*/ 35615 h 40300"/>
                  <a:gd name="connsiteX8" fmla="*/ 0 w 23789"/>
                  <a:gd name="connsiteY8" fmla="*/ 40300 h 40300"/>
                  <a:gd name="connsiteX9" fmla="*/ 4670 w 23789"/>
                  <a:gd name="connsiteY9" fmla="*/ 37489 h 40300"/>
                  <a:gd name="connsiteX10" fmla="*/ 14055 w 23789"/>
                  <a:gd name="connsiteY10" fmla="*/ 21556 h 40300"/>
                  <a:gd name="connsiteX11" fmla="*/ 16874 w 23789"/>
                  <a:gd name="connsiteY11" fmla="*/ 20619 h 40300"/>
                  <a:gd name="connsiteX12" fmla="*/ 20619 w 23789"/>
                  <a:gd name="connsiteY12" fmla="*/ 14059 h 40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3789" h="40300">
                    <a:moveTo>
                      <a:pt x="20619" y="14059"/>
                    </a:moveTo>
                    <a:cubicBezTo>
                      <a:pt x="20619" y="11246"/>
                      <a:pt x="20619" y="8435"/>
                      <a:pt x="21544" y="7499"/>
                    </a:cubicBezTo>
                    <a:cubicBezTo>
                      <a:pt x="23417" y="4686"/>
                      <a:pt x="24364" y="2811"/>
                      <a:pt x="23417" y="0"/>
                    </a:cubicBezTo>
                    <a:cubicBezTo>
                      <a:pt x="23417" y="0"/>
                      <a:pt x="21544" y="938"/>
                      <a:pt x="20619" y="938"/>
                    </a:cubicBezTo>
                    <a:cubicBezTo>
                      <a:pt x="19672" y="938"/>
                      <a:pt x="17800" y="2811"/>
                      <a:pt x="16852" y="3749"/>
                    </a:cubicBezTo>
                    <a:lnTo>
                      <a:pt x="16852" y="6560"/>
                    </a:lnTo>
                    <a:cubicBezTo>
                      <a:pt x="14055" y="12184"/>
                      <a:pt x="10310" y="20619"/>
                      <a:pt x="6543" y="25305"/>
                    </a:cubicBezTo>
                    <a:cubicBezTo>
                      <a:pt x="4670" y="29054"/>
                      <a:pt x="2798" y="31867"/>
                      <a:pt x="0" y="35615"/>
                    </a:cubicBezTo>
                    <a:lnTo>
                      <a:pt x="0" y="40300"/>
                    </a:lnTo>
                    <a:cubicBezTo>
                      <a:pt x="1873" y="40300"/>
                      <a:pt x="2798" y="39364"/>
                      <a:pt x="4670" y="37489"/>
                    </a:cubicBezTo>
                    <a:cubicBezTo>
                      <a:pt x="6565" y="32804"/>
                      <a:pt x="12182" y="28116"/>
                      <a:pt x="14055" y="21556"/>
                    </a:cubicBezTo>
                    <a:cubicBezTo>
                      <a:pt x="15927" y="21556"/>
                      <a:pt x="15927" y="20619"/>
                      <a:pt x="16874" y="20619"/>
                    </a:cubicBezTo>
                    <a:cubicBezTo>
                      <a:pt x="16874" y="17808"/>
                      <a:pt x="16874" y="14995"/>
                      <a:pt x="20619" y="14059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47" name="Freihandform: Form 646">
                <a:extLst>
                  <a:ext uri="{FF2B5EF4-FFF2-40B4-BE49-F238E27FC236}">
                    <a16:creationId xmlns:a16="http://schemas.microsoft.com/office/drawing/2014/main" id="{A1D9B295-418E-82C6-4CA1-AA47A6778908}"/>
                  </a:ext>
                </a:extLst>
              </p:cNvPr>
              <p:cNvSpPr/>
              <p:nvPr/>
            </p:nvSpPr>
            <p:spPr>
              <a:xfrm>
                <a:off x="5836784" y="3101438"/>
                <a:ext cx="6564" cy="10309"/>
              </a:xfrm>
              <a:custGeom>
                <a:avLst/>
                <a:gdLst>
                  <a:gd name="connsiteX0" fmla="*/ 6565 w 6564"/>
                  <a:gd name="connsiteY0" fmla="*/ 0 h 10309"/>
                  <a:gd name="connsiteX1" fmla="*/ 0 w 6564"/>
                  <a:gd name="connsiteY1" fmla="*/ 10310 h 10309"/>
                  <a:gd name="connsiteX2" fmla="*/ 6565 w 6564"/>
                  <a:gd name="connsiteY2" fmla="*/ 6560 h 10309"/>
                  <a:gd name="connsiteX3" fmla="*/ 6565 w 6564"/>
                  <a:gd name="connsiteY3" fmla="*/ 0 h 103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564" h="10309">
                    <a:moveTo>
                      <a:pt x="6565" y="0"/>
                    </a:moveTo>
                    <a:cubicBezTo>
                      <a:pt x="2798" y="1875"/>
                      <a:pt x="0" y="5624"/>
                      <a:pt x="0" y="10310"/>
                    </a:cubicBezTo>
                    <a:cubicBezTo>
                      <a:pt x="2798" y="9373"/>
                      <a:pt x="4692" y="7499"/>
                      <a:pt x="6565" y="6560"/>
                    </a:cubicBezTo>
                    <a:lnTo>
                      <a:pt x="6565" y="0"/>
                    </a:ln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48" name="Freihandform: Form 647">
                <a:extLst>
                  <a:ext uri="{FF2B5EF4-FFF2-40B4-BE49-F238E27FC236}">
                    <a16:creationId xmlns:a16="http://schemas.microsoft.com/office/drawing/2014/main" id="{5AF562DE-4507-4980-DE10-1DE4B945BF5A}"/>
                  </a:ext>
                </a:extLst>
              </p:cNvPr>
              <p:cNvSpPr/>
              <p:nvPr/>
            </p:nvSpPr>
            <p:spPr>
              <a:xfrm>
                <a:off x="5843349" y="3092067"/>
                <a:ext cx="9212" cy="9371"/>
              </a:xfrm>
              <a:custGeom>
                <a:avLst/>
                <a:gdLst>
                  <a:gd name="connsiteX0" fmla="*/ 8437 w 9212"/>
                  <a:gd name="connsiteY0" fmla="*/ 1875 h 9371"/>
                  <a:gd name="connsiteX1" fmla="*/ 6543 w 9212"/>
                  <a:gd name="connsiteY1" fmla="*/ 0 h 9371"/>
                  <a:gd name="connsiteX2" fmla="*/ 3745 w 9212"/>
                  <a:gd name="connsiteY2" fmla="*/ 0 h 9371"/>
                  <a:gd name="connsiteX3" fmla="*/ 925 w 9212"/>
                  <a:gd name="connsiteY3" fmla="*/ 7496 h 9371"/>
                  <a:gd name="connsiteX4" fmla="*/ 0 w 9212"/>
                  <a:gd name="connsiteY4" fmla="*/ 9371 h 9371"/>
                  <a:gd name="connsiteX5" fmla="*/ 7490 w 9212"/>
                  <a:gd name="connsiteY5" fmla="*/ 9371 h 9371"/>
                  <a:gd name="connsiteX6" fmla="*/ 8437 w 9212"/>
                  <a:gd name="connsiteY6" fmla="*/ 1875 h 93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212" h="9371">
                    <a:moveTo>
                      <a:pt x="8437" y="1875"/>
                    </a:moveTo>
                    <a:cubicBezTo>
                      <a:pt x="10310" y="936"/>
                      <a:pt x="8437" y="0"/>
                      <a:pt x="6543" y="0"/>
                    </a:cubicBezTo>
                    <a:lnTo>
                      <a:pt x="3745" y="0"/>
                    </a:lnTo>
                    <a:cubicBezTo>
                      <a:pt x="3745" y="1875"/>
                      <a:pt x="2798" y="4686"/>
                      <a:pt x="925" y="7496"/>
                    </a:cubicBezTo>
                    <a:cubicBezTo>
                      <a:pt x="925" y="7496"/>
                      <a:pt x="925" y="8435"/>
                      <a:pt x="0" y="9371"/>
                    </a:cubicBezTo>
                    <a:lnTo>
                      <a:pt x="7490" y="9371"/>
                    </a:lnTo>
                    <a:cubicBezTo>
                      <a:pt x="6543" y="7496"/>
                      <a:pt x="7490" y="4686"/>
                      <a:pt x="8437" y="1875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49" name="Freihandform: Form 648">
                <a:extLst>
                  <a:ext uri="{FF2B5EF4-FFF2-40B4-BE49-F238E27FC236}">
                    <a16:creationId xmlns:a16="http://schemas.microsoft.com/office/drawing/2014/main" id="{357EDAA8-0AC6-12AB-F9FF-0D00F04B039C}"/>
                  </a:ext>
                </a:extLst>
              </p:cNvPr>
              <p:cNvSpPr/>
              <p:nvPr/>
            </p:nvSpPr>
            <p:spPr>
              <a:xfrm>
                <a:off x="5932368" y="3065824"/>
                <a:ext cx="2819" cy="1874"/>
              </a:xfrm>
              <a:custGeom>
                <a:avLst/>
                <a:gdLst>
                  <a:gd name="connsiteX0" fmla="*/ 2820 w 2819"/>
                  <a:gd name="connsiteY0" fmla="*/ 936 h 1874"/>
                  <a:gd name="connsiteX1" fmla="*/ 2820 w 2819"/>
                  <a:gd name="connsiteY1" fmla="*/ 0 h 1874"/>
                  <a:gd name="connsiteX2" fmla="*/ 0 w 2819"/>
                  <a:gd name="connsiteY2" fmla="*/ 936 h 1874"/>
                  <a:gd name="connsiteX3" fmla="*/ 0 w 2819"/>
                  <a:gd name="connsiteY3" fmla="*/ 1875 h 1874"/>
                  <a:gd name="connsiteX4" fmla="*/ 2820 w 2819"/>
                  <a:gd name="connsiteY4" fmla="*/ 936 h 1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19" h="1874">
                    <a:moveTo>
                      <a:pt x="2820" y="936"/>
                    </a:moveTo>
                    <a:lnTo>
                      <a:pt x="2820" y="0"/>
                    </a:lnTo>
                    <a:cubicBezTo>
                      <a:pt x="1894" y="0"/>
                      <a:pt x="0" y="936"/>
                      <a:pt x="0" y="936"/>
                    </a:cubicBezTo>
                    <a:lnTo>
                      <a:pt x="0" y="1875"/>
                    </a:lnTo>
                    <a:cubicBezTo>
                      <a:pt x="1894" y="1875"/>
                      <a:pt x="2820" y="1875"/>
                      <a:pt x="2820" y="936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50" name="Freihandform: Form 649">
                <a:extLst>
                  <a:ext uri="{FF2B5EF4-FFF2-40B4-BE49-F238E27FC236}">
                    <a16:creationId xmlns:a16="http://schemas.microsoft.com/office/drawing/2014/main" id="{335C1E6F-4CC6-2F37-7860-AB10826B3DBA}"/>
                  </a:ext>
                </a:extLst>
              </p:cNvPr>
              <p:cNvSpPr/>
              <p:nvPr/>
            </p:nvSpPr>
            <p:spPr>
              <a:xfrm>
                <a:off x="5810547" y="3108937"/>
                <a:ext cx="22491" cy="23430"/>
              </a:xfrm>
              <a:custGeom>
                <a:avLst/>
                <a:gdLst>
                  <a:gd name="connsiteX0" fmla="*/ 10310 w 22491"/>
                  <a:gd name="connsiteY0" fmla="*/ 19681 h 23430"/>
                  <a:gd name="connsiteX1" fmla="*/ 12182 w 22491"/>
                  <a:gd name="connsiteY1" fmla="*/ 16870 h 23430"/>
                  <a:gd name="connsiteX2" fmla="*/ 12182 w 22491"/>
                  <a:gd name="connsiteY2" fmla="*/ 19681 h 23430"/>
                  <a:gd name="connsiteX3" fmla="*/ 15927 w 22491"/>
                  <a:gd name="connsiteY3" fmla="*/ 16870 h 23430"/>
                  <a:gd name="connsiteX4" fmla="*/ 14055 w 22491"/>
                  <a:gd name="connsiteY4" fmla="*/ 16870 h 23430"/>
                  <a:gd name="connsiteX5" fmla="*/ 14980 w 22491"/>
                  <a:gd name="connsiteY5" fmla="*/ 14057 h 23430"/>
                  <a:gd name="connsiteX6" fmla="*/ 15927 w 22491"/>
                  <a:gd name="connsiteY6" fmla="*/ 16870 h 23430"/>
                  <a:gd name="connsiteX7" fmla="*/ 22492 w 22491"/>
                  <a:gd name="connsiteY7" fmla="*/ 13120 h 23430"/>
                  <a:gd name="connsiteX8" fmla="*/ 22492 w 22491"/>
                  <a:gd name="connsiteY8" fmla="*/ 6560 h 23430"/>
                  <a:gd name="connsiteX9" fmla="*/ 18725 w 22491"/>
                  <a:gd name="connsiteY9" fmla="*/ 8435 h 23430"/>
                  <a:gd name="connsiteX10" fmla="*/ 15927 w 22491"/>
                  <a:gd name="connsiteY10" fmla="*/ 6560 h 23430"/>
                  <a:gd name="connsiteX11" fmla="*/ 15927 w 22491"/>
                  <a:gd name="connsiteY11" fmla="*/ 0 h 23430"/>
                  <a:gd name="connsiteX12" fmla="*/ 14055 w 22491"/>
                  <a:gd name="connsiteY12" fmla="*/ 0 h 23430"/>
                  <a:gd name="connsiteX13" fmla="*/ 10310 w 22491"/>
                  <a:gd name="connsiteY13" fmla="*/ 2811 h 23430"/>
                  <a:gd name="connsiteX14" fmla="*/ 7490 w 22491"/>
                  <a:gd name="connsiteY14" fmla="*/ 10310 h 23430"/>
                  <a:gd name="connsiteX15" fmla="*/ 0 w 22491"/>
                  <a:gd name="connsiteY15" fmla="*/ 16870 h 23430"/>
                  <a:gd name="connsiteX16" fmla="*/ 0 w 22491"/>
                  <a:gd name="connsiteY16" fmla="*/ 19681 h 23430"/>
                  <a:gd name="connsiteX17" fmla="*/ 3745 w 22491"/>
                  <a:gd name="connsiteY17" fmla="*/ 23430 h 23430"/>
                  <a:gd name="connsiteX18" fmla="*/ 6543 w 22491"/>
                  <a:gd name="connsiteY18" fmla="*/ 23430 h 23430"/>
                  <a:gd name="connsiteX19" fmla="*/ 10310 w 22491"/>
                  <a:gd name="connsiteY19" fmla="*/ 19681 h 234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2491" h="23430">
                    <a:moveTo>
                      <a:pt x="10310" y="19681"/>
                    </a:moveTo>
                    <a:cubicBezTo>
                      <a:pt x="10310" y="17806"/>
                      <a:pt x="11235" y="16870"/>
                      <a:pt x="12182" y="16870"/>
                    </a:cubicBezTo>
                    <a:lnTo>
                      <a:pt x="12182" y="19681"/>
                    </a:lnTo>
                    <a:cubicBezTo>
                      <a:pt x="14980" y="19681"/>
                      <a:pt x="15927" y="17806"/>
                      <a:pt x="15927" y="16870"/>
                    </a:cubicBezTo>
                    <a:lnTo>
                      <a:pt x="14055" y="16870"/>
                    </a:lnTo>
                    <a:cubicBezTo>
                      <a:pt x="14055" y="15931"/>
                      <a:pt x="14055" y="14057"/>
                      <a:pt x="14980" y="14057"/>
                    </a:cubicBezTo>
                    <a:cubicBezTo>
                      <a:pt x="15927" y="14057"/>
                      <a:pt x="15927" y="15931"/>
                      <a:pt x="15927" y="16870"/>
                    </a:cubicBezTo>
                    <a:cubicBezTo>
                      <a:pt x="18725" y="15931"/>
                      <a:pt x="21544" y="14057"/>
                      <a:pt x="22492" y="13120"/>
                    </a:cubicBezTo>
                    <a:lnTo>
                      <a:pt x="22492" y="6560"/>
                    </a:lnTo>
                    <a:cubicBezTo>
                      <a:pt x="21544" y="6560"/>
                      <a:pt x="19672" y="8435"/>
                      <a:pt x="18725" y="8435"/>
                    </a:cubicBezTo>
                    <a:cubicBezTo>
                      <a:pt x="17800" y="9371"/>
                      <a:pt x="17800" y="8435"/>
                      <a:pt x="15927" y="6560"/>
                    </a:cubicBezTo>
                    <a:lnTo>
                      <a:pt x="15927" y="0"/>
                    </a:lnTo>
                    <a:lnTo>
                      <a:pt x="14055" y="0"/>
                    </a:lnTo>
                    <a:cubicBezTo>
                      <a:pt x="12182" y="1875"/>
                      <a:pt x="11235" y="1875"/>
                      <a:pt x="10310" y="2811"/>
                    </a:cubicBezTo>
                    <a:cubicBezTo>
                      <a:pt x="10310" y="5622"/>
                      <a:pt x="8415" y="8435"/>
                      <a:pt x="7490" y="10310"/>
                    </a:cubicBezTo>
                    <a:cubicBezTo>
                      <a:pt x="4670" y="13120"/>
                      <a:pt x="2798" y="15931"/>
                      <a:pt x="0" y="16870"/>
                    </a:cubicBezTo>
                    <a:lnTo>
                      <a:pt x="0" y="19681"/>
                    </a:lnTo>
                    <a:cubicBezTo>
                      <a:pt x="0" y="21556"/>
                      <a:pt x="925" y="23430"/>
                      <a:pt x="3745" y="23430"/>
                    </a:cubicBezTo>
                    <a:lnTo>
                      <a:pt x="6543" y="23430"/>
                    </a:lnTo>
                    <a:cubicBezTo>
                      <a:pt x="6543" y="21556"/>
                      <a:pt x="7490" y="20617"/>
                      <a:pt x="10310" y="19681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51" name="Freihandform: Form 650">
                <a:extLst>
                  <a:ext uri="{FF2B5EF4-FFF2-40B4-BE49-F238E27FC236}">
                    <a16:creationId xmlns:a16="http://schemas.microsoft.com/office/drawing/2014/main" id="{232BDC25-36A8-BDA5-130E-30D6F371CC38}"/>
                  </a:ext>
                </a:extLst>
              </p:cNvPr>
              <p:cNvSpPr/>
              <p:nvPr/>
            </p:nvSpPr>
            <p:spPr>
              <a:xfrm>
                <a:off x="5833039" y="3111748"/>
                <a:ext cx="3744" cy="3749"/>
              </a:xfrm>
              <a:custGeom>
                <a:avLst/>
                <a:gdLst>
                  <a:gd name="connsiteX0" fmla="*/ 3745 w 3744"/>
                  <a:gd name="connsiteY0" fmla="*/ 0 h 3749"/>
                  <a:gd name="connsiteX1" fmla="*/ 0 w 3744"/>
                  <a:gd name="connsiteY1" fmla="*/ 3749 h 3749"/>
                  <a:gd name="connsiteX2" fmla="*/ 3745 w 3744"/>
                  <a:gd name="connsiteY2" fmla="*/ 0 h 37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744" h="3749">
                    <a:moveTo>
                      <a:pt x="3745" y="0"/>
                    </a:moveTo>
                    <a:cubicBezTo>
                      <a:pt x="925" y="0"/>
                      <a:pt x="925" y="1875"/>
                      <a:pt x="0" y="3749"/>
                    </a:cubicBezTo>
                    <a:cubicBezTo>
                      <a:pt x="2798" y="2811"/>
                      <a:pt x="3745" y="1875"/>
                      <a:pt x="3745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52" name="Freihandform: Form 651">
                <a:extLst>
                  <a:ext uri="{FF2B5EF4-FFF2-40B4-BE49-F238E27FC236}">
                    <a16:creationId xmlns:a16="http://schemas.microsoft.com/office/drawing/2014/main" id="{CF85D56A-D2CE-271C-CE54-5568613AE561}"/>
                  </a:ext>
                </a:extLst>
              </p:cNvPr>
              <p:cNvSpPr/>
              <p:nvPr/>
            </p:nvSpPr>
            <p:spPr>
              <a:xfrm>
                <a:off x="5893950" y="2978661"/>
                <a:ext cx="1872" cy="2810"/>
              </a:xfrm>
              <a:custGeom>
                <a:avLst/>
                <a:gdLst>
                  <a:gd name="connsiteX0" fmla="*/ 1873 w 1872"/>
                  <a:gd name="connsiteY0" fmla="*/ 936 h 2810"/>
                  <a:gd name="connsiteX1" fmla="*/ 1873 w 1872"/>
                  <a:gd name="connsiteY1" fmla="*/ 0 h 2810"/>
                  <a:gd name="connsiteX2" fmla="*/ 0 w 1872"/>
                  <a:gd name="connsiteY2" fmla="*/ 2811 h 2810"/>
                  <a:gd name="connsiteX3" fmla="*/ 1873 w 1872"/>
                  <a:gd name="connsiteY3" fmla="*/ 936 h 28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72" h="2810">
                    <a:moveTo>
                      <a:pt x="1873" y="936"/>
                    </a:moveTo>
                    <a:lnTo>
                      <a:pt x="1873" y="0"/>
                    </a:lnTo>
                    <a:cubicBezTo>
                      <a:pt x="947" y="936"/>
                      <a:pt x="0" y="936"/>
                      <a:pt x="0" y="2811"/>
                    </a:cubicBezTo>
                    <a:cubicBezTo>
                      <a:pt x="947" y="2811"/>
                      <a:pt x="1873" y="2811"/>
                      <a:pt x="1873" y="936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53" name="Freihandform: Form 652">
                <a:extLst>
                  <a:ext uri="{FF2B5EF4-FFF2-40B4-BE49-F238E27FC236}">
                    <a16:creationId xmlns:a16="http://schemas.microsoft.com/office/drawing/2014/main" id="{2777A39D-22DB-B8E8-BCB3-7414C43DC3B7}"/>
                  </a:ext>
                </a:extLst>
              </p:cNvPr>
              <p:cNvSpPr/>
              <p:nvPr/>
            </p:nvSpPr>
            <p:spPr>
              <a:xfrm>
                <a:off x="5931443" y="2952418"/>
                <a:ext cx="2819" cy="938"/>
              </a:xfrm>
              <a:custGeom>
                <a:avLst/>
                <a:gdLst>
                  <a:gd name="connsiteX0" fmla="*/ 2820 w 2819"/>
                  <a:gd name="connsiteY0" fmla="*/ 0 h 938"/>
                  <a:gd name="connsiteX1" fmla="*/ 0 w 2819"/>
                  <a:gd name="connsiteY1" fmla="*/ 0 h 938"/>
                  <a:gd name="connsiteX2" fmla="*/ 925 w 2819"/>
                  <a:gd name="connsiteY2" fmla="*/ 938 h 938"/>
                  <a:gd name="connsiteX3" fmla="*/ 2820 w 2819"/>
                  <a:gd name="connsiteY3" fmla="*/ 0 h 9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19" h="938">
                    <a:moveTo>
                      <a:pt x="2820" y="0"/>
                    </a:moveTo>
                    <a:lnTo>
                      <a:pt x="0" y="0"/>
                    </a:lnTo>
                    <a:lnTo>
                      <a:pt x="925" y="938"/>
                    </a:lnTo>
                    <a:lnTo>
                      <a:pt x="2820" y="0"/>
                    </a:ln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54" name="Freihandform: Form 653">
                <a:extLst>
                  <a:ext uri="{FF2B5EF4-FFF2-40B4-BE49-F238E27FC236}">
                    <a16:creationId xmlns:a16="http://schemas.microsoft.com/office/drawing/2014/main" id="{F4455010-D1A9-999E-3150-27D06A7E3C62}"/>
                  </a:ext>
                </a:extLst>
              </p:cNvPr>
              <p:cNvSpPr/>
              <p:nvPr/>
            </p:nvSpPr>
            <p:spPr>
              <a:xfrm>
                <a:off x="5853658" y="3085505"/>
                <a:ext cx="3744" cy="1740"/>
              </a:xfrm>
              <a:custGeom>
                <a:avLst/>
                <a:gdLst>
                  <a:gd name="connsiteX0" fmla="*/ 925 w 3744"/>
                  <a:gd name="connsiteY0" fmla="*/ 938 h 1740"/>
                  <a:gd name="connsiteX1" fmla="*/ 3745 w 3744"/>
                  <a:gd name="connsiteY1" fmla="*/ 0 h 1740"/>
                  <a:gd name="connsiteX2" fmla="*/ 0 w 3744"/>
                  <a:gd name="connsiteY2" fmla="*/ 0 h 1740"/>
                  <a:gd name="connsiteX3" fmla="*/ 925 w 3744"/>
                  <a:gd name="connsiteY3" fmla="*/ 938 h 17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744" h="1740">
                    <a:moveTo>
                      <a:pt x="925" y="938"/>
                    </a:moveTo>
                    <a:cubicBezTo>
                      <a:pt x="1872" y="2813"/>
                      <a:pt x="3745" y="938"/>
                      <a:pt x="3745" y="0"/>
                    </a:cubicBezTo>
                    <a:lnTo>
                      <a:pt x="0" y="0"/>
                    </a:lnTo>
                    <a:cubicBezTo>
                      <a:pt x="925" y="0"/>
                      <a:pt x="925" y="938"/>
                      <a:pt x="925" y="938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55" name="Freihandform: Form 654">
                <a:extLst>
                  <a:ext uri="{FF2B5EF4-FFF2-40B4-BE49-F238E27FC236}">
                    <a16:creationId xmlns:a16="http://schemas.microsoft.com/office/drawing/2014/main" id="{D4B23C10-4A63-63CD-2E14-2B3265921AD4}"/>
                  </a:ext>
                </a:extLst>
              </p:cNvPr>
              <p:cNvSpPr/>
              <p:nvPr/>
            </p:nvSpPr>
            <p:spPr>
              <a:xfrm>
                <a:off x="5887960" y="2981472"/>
                <a:ext cx="5989" cy="5623"/>
              </a:xfrm>
              <a:custGeom>
                <a:avLst/>
                <a:gdLst>
                  <a:gd name="connsiteX0" fmla="*/ 2244 w 5989"/>
                  <a:gd name="connsiteY0" fmla="*/ 938 h 5623"/>
                  <a:gd name="connsiteX1" fmla="*/ 372 w 5989"/>
                  <a:gd name="connsiteY1" fmla="*/ 4688 h 5623"/>
                  <a:gd name="connsiteX2" fmla="*/ 3170 w 5989"/>
                  <a:gd name="connsiteY2" fmla="*/ 5624 h 5623"/>
                  <a:gd name="connsiteX3" fmla="*/ 5989 w 5989"/>
                  <a:gd name="connsiteY3" fmla="*/ 3749 h 5623"/>
                  <a:gd name="connsiteX4" fmla="*/ 5989 w 5989"/>
                  <a:gd name="connsiteY4" fmla="*/ 0 h 5623"/>
                  <a:gd name="connsiteX5" fmla="*/ 2244 w 5989"/>
                  <a:gd name="connsiteY5" fmla="*/ 938 h 5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989" h="5623">
                    <a:moveTo>
                      <a:pt x="2244" y="938"/>
                    </a:moveTo>
                    <a:cubicBezTo>
                      <a:pt x="372" y="938"/>
                      <a:pt x="-575" y="3749"/>
                      <a:pt x="372" y="4688"/>
                    </a:cubicBezTo>
                    <a:cubicBezTo>
                      <a:pt x="372" y="5624"/>
                      <a:pt x="2244" y="5624"/>
                      <a:pt x="3170" y="5624"/>
                    </a:cubicBezTo>
                    <a:cubicBezTo>
                      <a:pt x="3170" y="4688"/>
                      <a:pt x="4117" y="3749"/>
                      <a:pt x="5989" y="3749"/>
                    </a:cubicBezTo>
                    <a:lnTo>
                      <a:pt x="5989" y="0"/>
                    </a:lnTo>
                    <a:cubicBezTo>
                      <a:pt x="4117" y="0"/>
                      <a:pt x="3170" y="938"/>
                      <a:pt x="2244" y="938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56" name="Freihandform: Form 655">
                <a:extLst>
                  <a:ext uri="{FF2B5EF4-FFF2-40B4-BE49-F238E27FC236}">
                    <a16:creationId xmlns:a16="http://schemas.microsoft.com/office/drawing/2014/main" id="{D3B5B177-13CE-D800-DB2B-22AC6674F3C5}"/>
                  </a:ext>
                </a:extLst>
              </p:cNvPr>
              <p:cNvSpPr/>
              <p:nvPr/>
            </p:nvSpPr>
            <p:spPr>
              <a:xfrm>
                <a:off x="5874267" y="3173596"/>
                <a:ext cx="782574" cy="349219"/>
              </a:xfrm>
              <a:custGeom>
                <a:avLst/>
                <a:gdLst>
                  <a:gd name="connsiteX0" fmla="*/ 663551 w 782574"/>
                  <a:gd name="connsiteY0" fmla="*/ 148092 h 349219"/>
                  <a:gd name="connsiteX1" fmla="*/ 678531 w 782574"/>
                  <a:gd name="connsiteY1" fmla="*/ 119038 h 349219"/>
                  <a:gd name="connsiteX2" fmla="*/ 690735 w 782574"/>
                  <a:gd name="connsiteY2" fmla="*/ 104043 h 349219"/>
                  <a:gd name="connsiteX3" fmla="*/ 693533 w 782574"/>
                  <a:gd name="connsiteY3" fmla="*/ 84362 h 349219"/>
                  <a:gd name="connsiteX4" fmla="*/ 678531 w 782574"/>
                  <a:gd name="connsiteY4" fmla="*/ 68428 h 349219"/>
                  <a:gd name="connsiteX5" fmla="*/ 632622 w 782574"/>
                  <a:gd name="connsiteY5" fmla="*/ 58118 h 349219"/>
                  <a:gd name="connsiteX6" fmla="*/ 563252 w 782574"/>
                  <a:gd name="connsiteY6" fmla="*/ 89047 h 349219"/>
                  <a:gd name="connsiteX7" fmla="*/ 440484 w 782574"/>
                  <a:gd name="connsiteY7" fmla="*/ 170586 h 349219"/>
                  <a:gd name="connsiteX8" fmla="*/ 437664 w 782574"/>
                  <a:gd name="connsiteY8" fmla="*/ 170586 h 349219"/>
                  <a:gd name="connsiteX9" fmla="*/ 437664 w 782574"/>
                  <a:gd name="connsiteY9" fmla="*/ 165901 h 349219"/>
                  <a:gd name="connsiteX10" fmla="*/ 462976 w 782574"/>
                  <a:gd name="connsiteY10" fmla="*/ 119976 h 349219"/>
                  <a:gd name="connsiteX11" fmla="*/ 486415 w 782574"/>
                  <a:gd name="connsiteY11" fmla="*/ 75927 h 349219"/>
                  <a:gd name="connsiteX12" fmla="*/ 484542 w 782574"/>
                  <a:gd name="connsiteY12" fmla="*/ 61868 h 349219"/>
                  <a:gd name="connsiteX13" fmla="*/ 469540 w 782574"/>
                  <a:gd name="connsiteY13" fmla="*/ 53433 h 349219"/>
                  <a:gd name="connsiteX14" fmla="*/ 439537 w 782574"/>
                  <a:gd name="connsiteY14" fmla="*/ 61868 h 349219"/>
                  <a:gd name="connsiteX15" fmla="*/ 421429 w 782574"/>
                  <a:gd name="connsiteY15" fmla="*/ 101221 h 349219"/>
                  <a:gd name="connsiteX16" fmla="*/ 412397 w 782574"/>
                  <a:gd name="connsiteY16" fmla="*/ 103107 h 349219"/>
                  <a:gd name="connsiteX17" fmla="*/ 388958 w 782574"/>
                  <a:gd name="connsiteY17" fmla="*/ 115291 h 349219"/>
                  <a:gd name="connsiteX18" fmla="*/ 361774 w 782574"/>
                  <a:gd name="connsiteY18" fmla="*/ 125600 h 349219"/>
                  <a:gd name="connsiteX19" fmla="*/ 269934 w 782574"/>
                  <a:gd name="connsiteY19" fmla="*/ 166839 h 349219"/>
                  <a:gd name="connsiteX20" fmla="*/ 257752 w 782574"/>
                  <a:gd name="connsiteY20" fmla="*/ 172461 h 349219"/>
                  <a:gd name="connsiteX21" fmla="*/ 233366 w 782574"/>
                  <a:gd name="connsiteY21" fmla="*/ 187458 h 349219"/>
                  <a:gd name="connsiteX22" fmla="*/ 224004 w 782574"/>
                  <a:gd name="connsiteY22" fmla="*/ 187458 h 349219"/>
                  <a:gd name="connsiteX23" fmla="*/ 176200 w 782574"/>
                  <a:gd name="connsiteY23" fmla="*/ 211825 h 349219"/>
                  <a:gd name="connsiteX24" fmla="*/ 128397 w 782574"/>
                  <a:gd name="connsiteY24" fmla="*/ 229633 h 349219"/>
                  <a:gd name="connsiteX25" fmla="*/ 68411 w 782574"/>
                  <a:gd name="connsiteY25" fmla="*/ 240881 h 349219"/>
                  <a:gd name="connsiteX26" fmla="*/ 36557 w 782574"/>
                  <a:gd name="connsiteY26" fmla="*/ 238068 h 349219"/>
                  <a:gd name="connsiteX27" fmla="*/ 29067 w 782574"/>
                  <a:gd name="connsiteY27" fmla="*/ 220260 h 349219"/>
                  <a:gd name="connsiteX28" fmla="*/ 71231 w 782574"/>
                  <a:gd name="connsiteY28" fmla="*/ 154655 h 349219"/>
                  <a:gd name="connsiteX29" fmla="*/ 79668 w 782574"/>
                  <a:gd name="connsiteY29" fmla="*/ 150905 h 349219"/>
                  <a:gd name="connsiteX30" fmla="*/ 121854 w 782574"/>
                  <a:gd name="connsiteY30" fmla="*/ 153716 h 349219"/>
                  <a:gd name="connsiteX31" fmla="*/ 149016 w 782574"/>
                  <a:gd name="connsiteY31" fmla="*/ 150905 h 349219"/>
                  <a:gd name="connsiteX32" fmla="*/ 236186 w 782574"/>
                  <a:gd name="connsiteY32" fmla="*/ 116227 h 349219"/>
                  <a:gd name="connsiteX33" fmla="*/ 249315 w 782574"/>
                  <a:gd name="connsiteY33" fmla="*/ 107792 h 349219"/>
                  <a:gd name="connsiteX34" fmla="*/ 287734 w 782574"/>
                  <a:gd name="connsiteY34" fmla="*/ 68428 h 349219"/>
                  <a:gd name="connsiteX35" fmla="*/ 289606 w 782574"/>
                  <a:gd name="connsiteY35" fmla="*/ 31877 h 349219"/>
                  <a:gd name="connsiteX36" fmla="*/ 274604 w 782574"/>
                  <a:gd name="connsiteY36" fmla="*/ 11258 h 349219"/>
                  <a:gd name="connsiteX37" fmla="*/ 264295 w 782574"/>
                  <a:gd name="connsiteY37" fmla="*/ 7509 h 349219"/>
                  <a:gd name="connsiteX38" fmla="*/ 255858 w 782574"/>
                  <a:gd name="connsiteY38" fmla="*/ 4698 h 349219"/>
                  <a:gd name="connsiteX39" fmla="*/ 222131 w 782574"/>
                  <a:gd name="connsiteY39" fmla="*/ 7509 h 349219"/>
                  <a:gd name="connsiteX40" fmla="*/ 194022 w 782574"/>
                  <a:gd name="connsiteY40" fmla="*/ 15944 h 349219"/>
                  <a:gd name="connsiteX41" fmla="*/ 160273 w 782574"/>
                  <a:gd name="connsiteY41" fmla="*/ 30003 h 349219"/>
                  <a:gd name="connsiteX42" fmla="*/ 74976 w 782574"/>
                  <a:gd name="connsiteY42" fmla="*/ 92797 h 349219"/>
                  <a:gd name="connsiteX43" fmla="*/ 9373 w 782574"/>
                  <a:gd name="connsiteY43" fmla="*/ 176210 h 349219"/>
                  <a:gd name="connsiteX44" fmla="*/ 2809 w 782574"/>
                  <a:gd name="connsiteY44" fmla="*/ 188395 h 349219"/>
                  <a:gd name="connsiteX45" fmla="*/ 2809 w 782574"/>
                  <a:gd name="connsiteY45" fmla="*/ 229633 h 349219"/>
                  <a:gd name="connsiteX46" fmla="*/ 22503 w 782574"/>
                  <a:gd name="connsiteY46" fmla="*/ 261498 h 349219"/>
                  <a:gd name="connsiteX47" fmla="*/ 46867 w 782574"/>
                  <a:gd name="connsiteY47" fmla="*/ 275557 h 349219"/>
                  <a:gd name="connsiteX48" fmla="*/ 97468 w 782574"/>
                  <a:gd name="connsiteY48" fmla="*/ 280243 h 349219"/>
                  <a:gd name="connsiteX49" fmla="*/ 110597 w 782574"/>
                  <a:gd name="connsiteY49" fmla="*/ 273683 h 349219"/>
                  <a:gd name="connsiteX50" fmla="*/ 202437 w 782574"/>
                  <a:gd name="connsiteY50" fmla="*/ 241818 h 349219"/>
                  <a:gd name="connsiteX51" fmla="*/ 263369 w 782574"/>
                  <a:gd name="connsiteY51" fmla="*/ 214638 h 349219"/>
                  <a:gd name="connsiteX52" fmla="*/ 325228 w 782574"/>
                  <a:gd name="connsiteY52" fmla="*/ 185584 h 349219"/>
                  <a:gd name="connsiteX53" fmla="*/ 332717 w 782574"/>
                  <a:gd name="connsiteY53" fmla="*/ 181834 h 349219"/>
                  <a:gd name="connsiteX54" fmla="*/ 392482 w 782574"/>
                  <a:gd name="connsiteY54" fmla="*/ 157662 h 349219"/>
                  <a:gd name="connsiteX55" fmla="*/ 364572 w 782574"/>
                  <a:gd name="connsiteY55" fmla="*/ 208078 h 349219"/>
                  <a:gd name="connsiteX56" fmla="*/ 318641 w 782574"/>
                  <a:gd name="connsiteY56" fmla="*/ 291491 h 349219"/>
                  <a:gd name="connsiteX57" fmla="*/ 311151 w 782574"/>
                  <a:gd name="connsiteY57" fmla="*/ 304612 h 349219"/>
                  <a:gd name="connsiteX58" fmla="*/ 311151 w 782574"/>
                  <a:gd name="connsiteY58" fmla="*/ 326169 h 349219"/>
                  <a:gd name="connsiteX59" fmla="*/ 325205 w 782574"/>
                  <a:gd name="connsiteY59" fmla="*/ 344912 h 349219"/>
                  <a:gd name="connsiteX60" fmla="*/ 332695 w 782574"/>
                  <a:gd name="connsiteY60" fmla="*/ 347725 h 349219"/>
                  <a:gd name="connsiteX61" fmla="*/ 344878 w 782574"/>
                  <a:gd name="connsiteY61" fmla="*/ 343039 h 349219"/>
                  <a:gd name="connsiteX62" fmla="*/ 361752 w 782574"/>
                  <a:gd name="connsiteY62" fmla="*/ 319609 h 349219"/>
                  <a:gd name="connsiteX63" fmla="*/ 405810 w 782574"/>
                  <a:gd name="connsiteY63" fmla="*/ 264311 h 349219"/>
                  <a:gd name="connsiteX64" fmla="*/ 437664 w 782574"/>
                  <a:gd name="connsiteY64" fmla="*/ 229633 h 349219"/>
                  <a:gd name="connsiteX65" fmla="*/ 454539 w 782574"/>
                  <a:gd name="connsiteY65" fmla="*/ 214638 h 349219"/>
                  <a:gd name="connsiteX66" fmla="*/ 471413 w 782574"/>
                  <a:gd name="connsiteY66" fmla="*/ 203390 h 349219"/>
                  <a:gd name="connsiteX67" fmla="*/ 586691 w 782574"/>
                  <a:gd name="connsiteY67" fmla="*/ 124662 h 349219"/>
                  <a:gd name="connsiteX68" fmla="*/ 614801 w 782574"/>
                  <a:gd name="connsiteY68" fmla="*/ 112478 h 349219"/>
                  <a:gd name="connsiteX69" fmla="*/ 622313 w 782574"/>
                  <a:gd name="connsiteY69" fmla="*/ 117166 h 349219"/>
                  <a:gd name="connsiteX70" fmla="*/ 630750 w 782574"/>
                  <a:gd name="connsiteY70" fmla="*/ 163090 h 349219"/>
                  <a:gd name="connsiteX71" fmla="*/ 635420 w 782574"/>
                  <a:gd name="connsiteY71" fmla="*/ 176210 h 349219"/>
                  <a:gd name="connsiteX72" fmla="*/ 649497 w 782574"/>
                  <a:gd name="connsiteY72" fmla="*/ 183709 h 349219"/>
                  <a:gd name="connsiteX73" fmla="*/ 694480 w 782574"/>
                  <a:gd name="connsiteY73" fmla="*/ 166837 h 349219"/>
                  <a:gd name="connsiteX74" fmla="*/ 775085 w 782574"/>
                  <a:gd name="connsiteY74" fmla="*/ 100293 h 349219"/>
                  <a:gd name="connsiteX75" fmla="*/ 782575 w 782574"/>
                  <a:gd name="connsiteY75" fmla="*/ 85298 h 349219"/>
                  <a:gd name="connsiteX76" fmla="*/ 780702 w 782574"/>
                  <a:gd name="connsiteY76" fmla="*/ 79674 h 349219"/>
                  <a:gd name="connsiteX77" fmla="*/ 663551 w 782574"/>
                  <a:gd name="connsiteY77" fmla="*/ 148092 h 349219"/>
                  <a:gd name="connsiteX78" fmla="*/ 91850 w 782574"/>
                  <a:gd name="connsiteY78" fmla="*/ 127475 h 349219"/>
                  <a:gd name="connsiteX79" fmla="*/ 117162 w 782574"/>
                  <a:gd name="connsiteY79" fmla="*/ 103107 h 349219"/>
                  <a:gd name="connsiteX80" fmla="*/ 178073 w 782574"/>
                  <a:gd name="connsiteY80" fmla="*/ 61868 h 349219"/>
                  <a:gd name="connsiteX81" fmla="*/ 237133 w 782574"/>
                  <a:gd name="connsiteY81" fmla="*/ 43123 h 349219"/>
                  <a:gd name="connsiteX82" fmla="*/ 248367 w 782574"/>
                  <a:gd name="connsiteY82" fmla="*/ 38438 h 349219"/>
                  <a:gd name="connsiteX83" fmla="*/ 255858 w 782574"/>
                  <a:gd name="connsiteY83" fmla="*/ 34688 h 349219"/>
                  <a:gd name="connsiteX84" fmla="*/ 260550 w 782574"/>
                  <a:gd name="connsiteY84" fmla="*/ 44998 h 349219"/>
                  <a:gd name="connsiteX85" fmla="*/ 257752 w 782574"/>
                  <a:gd name="connsiteY85" fmla="*/ 58118 h 349219"/>
                  <a:gd name="connsiteX86" fmla="*/ 234313 w 782574"/>
                  <a:gd name="connsiteY86" fmla="*/ 86234 h 349219"/>
                  <a:gd name="connsiteX87" fmla="*/ 168710 w 782574"/>
                  <a:gd name="connsiteY87" fmla="*/ 119976 h 349219"/>
                  <a:gd name="connsiteX88" fmla="*/ 136834 w 782574"/>
                  <a:gd name="connsiteY88" fmla="*/ 132161 h 349219"/>
                  <a:gd name="connsiteX89" fmla="*/ 109650 w 782574"/>
                  <a:gd name="connsiteY89" fmla="*/ 136846 h 349219"/>
                  <a:gd name="connsiteX90" fmla="*/ 109650 w 782574"/>
                  <a:gd name="connsiteY90" fmla="*/ 134972 h 349219"/>
                  <a:gd name="connsiteX91" fmla="*/ 97468 w 782574"/>
                  <a:gd name="connsiteY91" fmla="*/ 136846 h 349219"/>
                  <a:gd name="connsiteX92" fmla="*/ 86233 w 782574"/>
                  <a:gd name="connsiteY92" fmla="*/ 136846 h 349219"/>
                  <a:gd name="connsiteX93" fmla="*/ 91850 w 782574"/>
                  <a:gd name="connsiteY93" fmla="*/ 127475 h 3492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</a:cxnLst>
                <a:rect l="l" t="t" r="r" b="b"/>
                <a:pathLst>
                  <a:path w="782574" h="349219">
                    <a:moveTo>
                      <a:pt x="663551" y="148092"/>
                    </a:moveTo>
                    <a:cubicBezTo>
                      <a:pt x="665424" y="137785"/>
                      <a:pt x="675733" y="130286"/>
                      <a:pt x="678531" y="119038"/>
                    </a:cubicBezTo>
                    <a:cubicBezTo>
                      <a:pt x="682298" y="112478"/>
                      <a:pt x="685096" y="107792"/>
                      <a:pt x="690735" y="104043"/>
                    </a:cubicBezTo>
                    <a:cubicBezTo>
                      <a:pt x="697278" y="97482"/>
                      <a:pt x="697278" y="89047"/>
                      <a:pt x="693533" y="84362"/>
                    </a:cubicBezTo>
                    <a:lnTo>
                      <a:pt x="678531" y="68428"/>
                    </a:lnTo>
                    <a:cubicBezTo>
                      <a:pt x="668222" y="56244"/>
                      <a:pt x="648550" y="49684"/>
                      <a:pt x="632622" y="58118"/>
                    </a:cubicBezTo>
                    <a:cubicBezTo>
                      <a:pt x="610131" y="69364"/>
                      <a:pt x="586691" y="77802"/>
                      <a:pt x="563252" y="89047"/>
                    </a:cubicBezTo>
                    <a:cubicBezTo>
                      <a:pt x="520141" y="112478"/>
                      <a:pt x="477978" y="138721"/>
                      <a:pt x="440484" y="170586"/>
                    </a:cubicBezTo>
                    <a:lnTo>
                      <a:pt x="437664" y="170586"/>
                    </a:lnTo>
                    <a:cubicBezTo>
                      <a:pt x="436739" y="169650"/>
                      <a:pt x="436739" y="165901"/>
                      <a:pt x="437664" y="165901"/>
                    </a:cubicBezTo>
                    <a:lnTo>
                      <a:pt x="462976" y="119976"/>
                    </a:lnTo>
                    <a:cubicBezTo>
                      <a:pt x="471413" y="106856"/>
                      <a:pt x="474233" y="89047"/>
                      <a:pt x="486415" y="75927"/>
                    </a:cubicBezTo>
                    <a:cubicBezTo>
                      <a:pt x="490160" y="73116"/>
                      <a:pt x="487340" y="66553"/>
                      <a:pt x="484542" y="61868"/>
                    </a:cubicBezTo>
                    <a:lnTo>
                      <a:pt x="469540" y="53433"/>
                    </a:lnTo>
                    <a:cubicBezTo>
                      <a:pt x="459231" y="45934"/>
                      <a:pt x="443304" y="51558"/>
                      <a:pt x="439537" y="61868"/>
                    </a:cubicBezTo>
                    <a:cubicBezTo>
                      <a:pt x="434757" y="77015"/>
                      <a:pt x="427971" y="88816"/>
                      <a:pt x="421429" y="101221"/>
                    </a:cubicBezTo>
                    <a:cubicBezTo>
                      <a:pt x="418697" y="101448"/>
                      <a:pt x="415723" y="102078"/>
                      <a:pt x="412397" y="103107"/>
                    </a:cubicBezTo>
                    <a:cubicBezTo>
                      <a:pt x="405832" y="107792"/>
                      <a:pt x="396448" y="112478"/>
                      <a:pt x="388958" y="115291"/>
                    </a:cubicBezTo>
                    <a:cubicBezTo>
                      <a:pt x="379573" y="119038"/>
                      <a:pt x="371158" y="119976"/>
                      <a:pt x="361774" y="125600"/>
                    </a:cubicBezTo>
                    <a:cubicBezTo>
                      <a:pt x="332717" y="137785"/>
                      <a:pt x="300863" y="153716"/>
                      <a:pt x="269934" y="166839"/>
                    </a:cubicBezTo>
                    <a:cubicBezTo>
                      <a:pt x="264295" y="168714"/>
                      <a:pt x="259624" y="168714"/>
                      <a:pt x="257752" y="172461"/>
                    </a:cubicBezTo>
                    <a:cubicBezTo>
                      <a:pt x="248367" y="176210"/>
                      <a:pt x="239930" y="180898"/>
                      <a:pt x="233366" y="187458"/>
                    </a:cubicBezTo>
                    <a:cubicBezTo>
                      <a:pt x="230260" y="191206"/>
                      <a:pt x="227132" y="191206"/>
                      <a:pt x="224004" y="187458"/>
                    </a:cubicBezTo>
                    <a:cubicBezTo>
                      <a:pt x="208076" y="195893"/>
                      <a:pt x="194022" y="203390"/>
                      <a:pt x="176200" y="211825"/>
                    </a:cubicBezTo>
                    <a:cubicBezTo>
                      <a:pt x="161198" y="216513"/>
                      <a:pt x="144346" y="226822"/>
                      <a:pt x="128397" y="229633"/>
                    </a:cubicBezTo>
                    <a:cubicBezTo>
                      <a:pt x="109650" y="234319"/>
                      <a:pt x="89031" y="240881"/>
                      <a:pt x="68411" y="240881"/>
                    </a:cubicBezTo>
                    <a:cubicBezTo>
                      <a:pt x="59049" y="246503"/>
                      <a:pt x="46867" y="240881"/>
                      <a:pt x="36557" y="238068"/>
                    </a:cubicBezTo>
                    <a:cubicBezTo>
                      <a:pt x="29993" y="235257"/>
                      <a:pt x="26248" y="229633"/>
                      <a:pt x="29067" y="220260"/>
                    </a:cubicBezTo>
                    <a:cubicBezTo>
                      <a:pt x="37482" y="195893"/>
                      <a:pt x="56229" y="176210"/>
                      <a:pt x="71231" y="154655"/>
                    </a:cubicBezTo>
                    <a:cubicBezTo>
                      <a:pt x="74976" y="150905"/>
                      <a:pt x="76849" y="150905"/>
                      <a:pt x="79668" y="150905"/>
                    </a:cubicBezTo>
                    <a:cubicBezTo>
                      <a:pt x="94670" y="150905"/>
                      <a:pt x="109650" y="153716"/>
                      <a:pt x="121854" y="153716"/>
                    </a:cubicBezTo>
                    <a:cubicBezTo>
                      <a:pt x="130269" y="153716"/>
                      <a:pt x="140579" y="154655"/>
                      <a:pt x="149016" y="150905"/>
                    </a:cubicBezTo>
                    <a:cubicBezTo>
                      <a:pt x="179945" y="146220"/>
                      <a:pt x="210874" y="136846"/>
                      <a:pt x="236186" y="116227"/>
                    </a:cubicBezTo>
                    <a:lnTo>
                      <a:pt x="249315" y="107792"/>
                    </a:lnTo>
                    <a:cubicBezTo>
                      <a:pt x="268062" y="100296"/>
                      <a:pt x="275552" y="83426"/>
                      <a:pt x="287734" y="68428"/>
                    </a:cubicBezTo>
                    <a:cubicBezTo>
                      <a:pt x="297118" y="58118"/>
                      <a:pt x="297118" y="44998"/>
                      <a:pt x="289606" y="31877"/>
                    </a:cubicBezTo>
                    <a:cubicBezTo>
                      <a:pt x="286809" y="27189"/>
                      <a:pt x="282116" y="17818"/>
                      <a:pt x="274604" y="11258"/>
                    </a:cubicBezTo>
                    <a:cubicBezTo>
                      <a:pt x="273679" y="9383"/>
                      <a:pt x="268062" y="8445"/>
                      <a:pt x="264295" y="7509"/>
                    </a:cubicBezTo>
                    <a:cubicBezTo>
                      <a:pt x="260550" y="4698"/>
                      <a:pt x="257752" y="7509"/>
                      <a:pt x="255858" y="4698"/>
                    </a:cubicBezTo>
                    <a:cubicBezTo>
                      <a:pt x="244623" y="-2801"/>
                      <a:pt x="234313" y="-926"/>
                      <a:pt x="222131" y="7509"/>
                    </a:cubicBezTo>
                    <a:cubicBezTo>
                      <a:pt x="213694" y="11258"/>
                      <a:pt x="202437" y="12194"/>
                      <a:pt x="194022" y="15944"/>
                    </a:cubicBezTo>
                    <a:cubicBezTo>
                      <a:pt x="181817" y="17818"/>
                      <a:pt x="168710" y="23440"/>
                      <a:pt x="160273" y="30003"/>
                    </a:cubicBezTo>
                    <a:cubicBezTo>
                      <a:pt x="128397" y="46873"/>
                      <a:pt x="101235" y="68428"/>
                      <a:pt x="74976" y="92797"/>
                    </a:cubicBezTo>
                    <a:cubicBezTo>
                      <a:pt x="46867" y="115291"/>
                      <a:pt x="24375" y="142470"/>
                      <a:pt x="9373" y="176210"/>
                    </a:cubicBezTo>
                    <a:lnTo>
                      <a:pt x="2809" y="188395"/>
                    </a:lnTo>
                    <a:cubicBezTo>
                      <a:pt x="-936" y="205265"/>
                      <a:pt x="-936" y="209014"/>
                      <a:pt x="2809" y="229633"/>
                    </a:cubicBezTo>
                    <a:cubicBezTo>
                      <a:pt x="6554" y="240879"/>
                      <a:pt x="11246" y="253063"/>
                      <a:pt x="22503" y="261498"/>
                    </a:cubicBezTo>
                    <a:cubicBezTo>
                      <a:pt x="29067" y="268061"/>
                      <a:pt x="36557" y="272747"/>
                      <a:pt x="46867" y="275557"/>
                    </a:cubicBezTo>
                    <a:cubicBezTo>
                      <a:pt x="62794" y="281181"/>
                      <a:pt x="78721" y="287742"/>
                      <a:pt x="97468" y="280243"/>
                    </a:cubicBezTo>
                    <a:cubicBezTo>
                      <a:pt x="101235" y="275557"/>
                      <a:pt x="104980" y="275557"/>
                      <a:pt x="110597" y="273683"/>
                    </a:cubicBezTo>
                    <a:cubicBezTo>
                      <a:pt x="143399" y="268997"/>
                      <a:pt x="174328" y="257751"/>
                      <a:pt x="202437" y="241818"/>
                    </a:cubicBezTo>
                    <a:cubicBezTo>
                      <a:pt x="222131" y="232444"/>
                      <a:pt x="242750" y="223073"/>
                      <a:pt x="263369" y="214638"/>
                    </a:cubicBezTo>
                    <a:cubicBezTo>
                      <a:pt x="283042" y="203390"/>
                      <a:pt x="306480" y="199640"/>
                      <a:pt x="325228" y="185584"/>
                    </a:cubicBezTo>
                    <a:cubicBezTo>
                      <a:pt x="326153" y="183709"/>
                      <a:pt x="329920" y="183709"/>
                      <a:pt x="332717" y="181834"/>
                    </a:cubicBezTo>
                    <a:cubicBezTo>
                      <a:pt x="352147" y="173745"/>
                      <a:pt x="372282" y="166165"/>
                      <a:pt x="392482" y="157662"/>
                    </a:cubicBezTo>
                    <a:cubicBezTo>
                      <a:pt x="383429" y="174864"/>
                      <a:pt x="374110" y="191838"/>
                      <a:pt x="364572" y="208078"/>
                    </a:cubicBezTo>
                    <a:cubicBezTo>
                      <a:pt x="348644" y="238068"/>
                      <a:pt x="333642" y="264311"/>
                      <a:pt x="318641" y="291491"/>
                    </a:cubicBezTo>
                    <a:cubicBezTo>
                      <a:pt x="314896" y="296177"/>
                      <a:pt x="313948" y="298988"/>
                      <a:pt x="311151" y="304612"/>
                    </a:cubicBezTo>
                    <a:cubicBezTo>
                      <a:pt x="311151" y="311172"/>
                      <a:pt x="309278" y="318671"/>
                      <a:pt x="311151" y="326169"/>
                    </a:cubicBezTo>
                    <a:cubicBezTo>
                      <a:pt x="314896" y="332728"/>
                      <a:pt x="320513" y="337415"/>
                      <a:pt x="325205" y="344912"/>
                    </a:cubicBezTo>
                    <a:cubicBezTo>
                      <a:pt x="326131" y="345850"/>
                      <a:pt x="328950" y="345850"/>
                      <a:pt x="332695" y="347725"/>
                    </a:cubicBezTo>
                    <a:cubicBezTo>
                      <a:pt x="338335" y="350536"/>
                      <a:pt x="341133" y="349600"/>
                      <a:pt x="344878" y="343039"/>
                    </a:cubicBezTo>
                    <a:cubicBezTo>
                      <a:pt x="348644" y="334604"/>
                      <a:pt x="357060" y="329917"/>
                      <a:pt x="361752" y="319609"/>
                    </a:cubicBezTo>
                    <a:cubicBezTo>
                      <a:pt x="373934" y="298988"/>
                      <a:pt x="391755" y="282118"/>
                      <a:pt x="405810" y="264311"/>
                    </a:cubicBezTo>
                    <a:cubicBezTo>
                      <a:pt x="413300" y="250252"/>
                      <a:pt x="425482" y="240881"/>
                      <a:pt x="437664" y="229633"/>
                    </a:cubicBezTo>
                    <a:cubicBezTo>
                      <a:pt x="443304" y="224009"/>
                      <a:pt x="449846" y="220260"/>
                      <a:pt x="454539" y="214638"/>
                    </a:cubicBezTo>
                    <a:cubicBezTo>
                      <a:pt x="460156" y="210888"/>
                      <a:pt x="466721" y="207139"/>
                      <a:pt x="471413" y="203390"/>
                    </a:cubicBezTo>
                    <a:cubicBezTo>
                      <a:pt x="506087" y="172461"/>
                      <a:pt x="546400" y="150905"/>
                      <a:pt x="586691" y="124662"/>
                    </a:cubicBezTo>
                    <a:cubicBezTo>
                      <a:pt x="595129" y="119976"/>
                      <a:pt x="605438" y="117166"/>
                      <a:pt x="614801" y="112478"/>
                    </a:cubicBezTo>
                    <a:cubicBezTo>
                      <a:pt x="617620" y="111541"/>
                      <a:pt x="622313" y="114352"/>
                      <a:pt x="622313" y="117166"/>
                    </a:cubicBezTo>
                    <a:cubicBezTo>
                      <a:pt x="616695" y="137785"/>
                      <a:pt x="621365" y="145281"/>
                      <a:pt x="630750" y="163090"/>
                    </a:cubicBezTo>
                    <a:cubicBezTo>
                      <a:pt x="631675" y="167775"/>
                      <a:pt x="634495" y="170586"/>
                      <a:pt x="635420" y="176210"/>
                    </a:cubicBezTo>
                    <a:cubicBezTo>
                      <a:pt x="640113" y="182770"/>
                      <a:pt x="642932" y="183709"/>
                      <a:pt x="649497" y="183709"/>
                    </a:cubicBezTo>
                    <a:cubicBezTo>
                      <a:pt x="667296" y="183709"/>
                      <a:pt x="682298" y="182770"/>
                      <a:pt x="694480" y="166837"/>
                    </a:cubicBezTo>
                    <a:cubicBezTo>
                      <a:pt x="701970" y="154655"/>
                      <a:pt x="767573" y="112478"/>
                      <a:pt x="775085" y="100293"/>
                    </a:cubicBezTo>
                    <a:cubicBezTo>
                      <a:pt x="778830" y="95608"/>
                      <a:pt x="780702" y="90922"/>
                      <a:pt x="782575" y="85298"/>
                    </a:cubicBezTo>
                    <a:cubicBezTo>
                      <a:pt x="782575" y="84362"/>
                      <a:pt x="782575" y="80612"/>
                      <a:pt x="780702" y="79674"/>
                    </a:cubicBezTo>
                    <a:cubicBezTo>
                      <a:pt x="759136" y="88109"/>
                      <a:pt x="686968" y="143407"/>
                      <a:pt x="663551" y="148092"/>
                    </a:cubicBezTo>
                    <a:close/>
                    <a:moveTo>
                      <a:pt x="91850" y="127475"/>
                    </a:moveTo>
                    <a:lnTo>
                      <a:pt x="117162" y="103107"/>
                    </a:lnTo>
                    <a:cubicBezTo>
                      <a:pt x="135909" y="89047"/>
                      <a:pt x="154655" y="73114"/>
                      <a:pt x="178073" y="61868"/>
                    </a:cubicBezTo>
                    <a:cubicBezTo>
                      <a:pt x="195894" y="50620"/>
                      <a:pt x="216513" y="44998"/>
                      <a:pt x="237133" y="43123"/>
                    </a:cubicBezTo>
                    <a:cubicBezTo>
                      <a:pt x="242750" y="43123"/>
                      <a:pt x="247442" y="42185"/>
                      <a:pt x="248367" y="38438"/>
                    </a:cubicBezTo>
                    <a:cubicBezTo>
                      <a:pt x="249315" y="35625"/>
                      <a:pt x="253060" y="31877"/>
                      <a:pt x="255858" y="34688"/>
                    </a:cubicBezTo>
                    <a:cubicBezTo>
                      <a:pt x="259624" y="38438"/>
                      <a:pt x="263369" y="40310"/>
                      <a:pt x="260550" y="44998"/>
                    </a:cubicBezTo>
                    <a:cubicBezTo>
                      <a:pt x="260550" y="49684"/>
                      <a:pt x="260550" y="55307"/>
                      <a:pt x="257752" y="58118"/>
                    </a:cubicBezTo>
                    <a:cubicBezTo>
                      <a:pt x="253060" y="69364"/>
                      <a:pt x="244623" y="80612"/>
                      <a:pt x="234313" y="86234"/>
                    </a:cubicBezTo>
                    <a:cubicBezTo>
                      <a:pt x="214619" y="101232"/>
                      <a:pt x="194022" y="112478"/>
                      <a:pt x="168710" y="119976"/>
                    </a:cubicBezTo>
                    <a:cubicBezTo>
                      <a:pt x="156528" y="125598"/>
                      <a:pt x="148091" y="128411"/>
                      <a:pt x="136834" y="132161"/>
                    </a:cubicBezTo>
                    <a:cubicBezTo>
                      <a:pt x="129344" y="134035"/>
                      <a:pt x="118087" y="134972"/>
                      <a:pt x="109650" y="136846"/>
                    </a:cubicBezTo>
                    <a:lnTo>
                      <a:pt x="109650" y="134972"/>
                    </a:lnTo>
                    <a:cubicBezTo>
                      <a:pt x="104980" y="134972"/>
                      <a:pt x="101235" y="134972"/>
                      <a:pt x="97468" y="136846"/>
                    </a:cubicBezTo>
                    <a:cubicBezTo>
                      <a:pt x="94670" y="136846"/>
                      <a:pt x="89031" y="139657"/>
                      <a:pt x="86233" y="136846"/>
                    </a:cubicBezTo>
                    <a:cubicBezTo>
                      <a:pt x="85286" y="134035"/>
                      <a:pt x="90925" y="128411"/>
                      <a:pt x="91850" y="127475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57" name="Freihandform: Form 656">
                <a:extLst>
                  <a:ext uri="{FF2B5EF4-FFF2-40B4-BE49-F238E27FC236}">
                    <a16:creationId xmlns:a16="http://schemas.microsoft.com/office/drawing/2014/main" id="{EB478BCF-5F45-3ADC-A452-4B5C79D3C0C7}"/>
                  </a:ext>
                </a:extLst>
              </p:cNvPr>
              <p:cNvSpPr/>
              <p:nvPr/>
            </p:nvSpPr>
            <p:spPr>
              <a:xfrm>
                <a:off x="5861148" y="3075195"/>
                <a:ext cx="1872" cy="2813"/>
              </a:xfrm>
              <a:custGeom>
                <a:avLst/>
                <a:gdLst>
                  <a:gd name="connsiteX0" fmla="*/ 1873 w 1872"/>
                  <a:gd name="connsiteY0" fmla="*/ 0 h 2813"/>
                  <a:gd name="connsiteX1" fmla="*/ 0 w 1872"/>
                  <a:gd name="connsiteY1" fmla="*/ 0 h 2813"/>
                  <a:gd name="connsiteX2" fmla="*/ 0 w 1872"/>
                  <a:gd name="connsiteY2" fmla="*/ 2813 h 2813"/>
                  <a:gd name="connsiteX3" fmla="*/ 1873 w 1872"/>
                  <a:gd name="connsiteY3" fmla="*/ 0 h 28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72" h="2813">
                    <a:moveTo>
                      <a:pt x="1873" y="0"/>
                    </a:moveTo>
                    <a:lnTo>
                      <a:pt x="0" y="0"/>
                    </a:lnTo>
                    <a:lnTo>
                      <a:pt x="0" y="2813"/>
                    </a:lnTo>
                    <a:cubicBezTo>
                      <a:pt x="947" y="2813"/>
                      <a:pt x="1873" y="1875"/>
                      <a:pt x="1873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58" name="Freihandform: Form 657">
                <a:extLst>
                  <a:ext uri="{FF2B5EF4-FFF2-40B4-BE49-F238E27FC236}">
                    <a16:creationId xmlns:a16="http://schemas.microsoft.com/office/drawing/2014/main" id="{6CAA518B-F694-6F15-2CCF-22BE63C037F2}"/>
                  </a:ext>
                </a:extLst>
              </p:cNvPr>
              <p:cNvSpPr/>
              <p:nvPr/>
            </p:nvSpPr>
            <p:spPr>
              <a:xfrm>
                <a:off x="5918314" y="2978661"/>
                <a:ext cx="2819" cy="2810"/>
              </a:xfrm>
              <a:custGeom>
                <a:avLst/>
                <a:gdLst>
                  <a:gd name="connsiteX0" fmla="*/ 0 w 2819"/>
                  <a:gd name="connsiteY0" fmla="*/ 0 h 2810"/>
                  <a:gd name="connsiteX1" fmla="*/ 0 w 2819"/>
                  <a:gd name="connsiteY1" fmla="*/ 936 h 2810"/>
                  <a:gd name="connsiteX2" fmla="*/ 2820 w 2819"/>
                  <a:gd name="connsiteY2" fmla="*/ 2811 h 2810"/>
                  <a:gd name="connsiteX3" fmla="*/ 0 w 2819"/>
                  <a:gd name="connsiteY3" fmla="*/ 0 h 28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19" h="2810">
                    <a:moveTo>
                      <a:pt x="0" y="0"/>
                    </a:moveTo>
                    <a:lnTo>
                      <a:pt x="0" y="936"/>
                    </a:lnTo>
                    <a:cubicBezTo>
                      <a:pt x="0" y="2811"/>
                      <a:pt x="1873" y="2811"/>
                      <a:pt x="2820" y="2811"/>
                    </a:cubicBezTo>
                    <a:cubicBezTo>
                      <a:pt x="2820" y="936"/>
                      <a:pt x="1873" y="936"/>
                      <a:pt x="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59" name="Freihandform: Form 658">
                <a:extLst>
                  <a:ext uri="{FF2B5EF4-FFF2-40B4-BE49-F238E27FC236}">
                    <a16:creationId xmlns:a16="http://schemas.microsoft.com/office/drawing/2014/main" id="{DBA8A32E-4F33-5968-495D-B2BB30C70852}"/>
                  </a:ext>
                </a:extLst>
              </p:cNvPr>
              <p:cNvSpPr/>
              <p:nvPr/>
            </p:nvSpPr>
            <p:spPr>
              <a:xfrm>
                <a:off x="5758052" y="3551311"/>
                <a:ext cx="1872" cy="1874"/>
              </a:xfrm>
              <a:custGeom>
                <a:avLst/>
                <a:gdLst>
                  <a:gd name="connsiteX0" fmla="*/ 947 w 1872"/>
                  <a:gd name="connsiteY0" fmla="*/ 1875 h 1874"/>
                  <a:gd name="connsiteX1" fmla="*/ 1872 w 1872"/>
                  <a:gd name="connsiteY1" fmla="*/ 0 h 1874"/>
                  <a:gd name="connsiteX2" fmla="*/ 0 w 1872"/>
                  <a:gd name="connsiteY2" fmla="*/ 938 h 1874"/>
                  <a:gd name="connsiteX3" fmla="*/ 947 w 1872"/>
                  <a:gd name="connsiteY3" fmla="*/ 1875 h 1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72" h="1874">
                    <a:moveTo>
                      <a:pt x="947" y="1875"/>
                    </a:moveTo>
                    <a:cubicBezTo>
                      <a:pt x="947" y="938"/>
                      <a:pt x="947" y="0"/>
                      <a:pt x="1872" y="0"/>
                    </a:cubicBezTo>
                    <a:cubicBezTo>
                      <a:pt x="947" y="0"/>
                      <a:pt x="0" y="938"/>
                      <a:pt x="0" y="938"/>
                    </a:cubicBezTo>
                    <a:cubicBezTo>
                      <a:pt x="0" y="938"/>
                      <a:pt x="947" y="938"/>
                      <a:pt x="947" y="1875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60" name="Freihandform: Form 659">
                <a:extLst>
                  <a:ext uri="{FF2B5EF4-FFF2-40B4-BE49-F238E27FC236}">
                    <a16:creationId xmlns:a16="http://schemas.microsoft.com/office/drawing/2014/main" id="{06A59461-DE65-2A35-FFD6-65E1B2F532B4}"/>
                  </a:ext>
                </a:extLst>
              </p:cNvPr>
              <p:cNvSpPr/>
              <p:nvPr/>
            </p:nvSpPr>
            <p:spPr>
              <a:xfrm>
                <a:off x="5602482" y="3514761"/>
                <a:ext cx="10309" cy="22491"/>
              </a:xfrm>
              <a:custGeom>
                <a:avLst/>
                <a:gdLst>
                  <a:gd name="connsiteX0" fmla="*/ 7490 w 10309"/>
                  <a:gd name="connsiteY0" fmla="*/ 11246 h 22491"/>
                  <a:gd name="connsiteX1" fmla="*/ 10310 w 10309"/>
                  <a:gd name="connsiteY1" fmla="*/ 0 h 22491"/>
                  <a:gd name="connsiteX2" fmla="*/ 7490 w 10309"/>
                  <a:gd name="connsiteY2" fmla="*/ 936 h 22491"/>
                  <a:gd name="connsiteX3" fmla="*/ 1873 w 10309"/>
                  <a:gd name="connsiteY3" fmla="*/ 12182 h 22491"/>
                  <a:gd name="connsiteX4" fmla="*/ 0 w 10309"/>
                  <a:gd name="connsiteY4" fmla="*/ 22492 h 22491"/>
                  <a:gd name="connsiteX5" fmla="*/ 2798 w 10309"/>
                  <a:gd name="connsiteY5" fmla="*/ 21556 h 22491"/>
                  <a:gd name="connsiteX6" fmla="*/ 7490 w 10309"/>
                  <a:gd name="connsiteY6" fmla="*/ 11246 h 224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309" h="22491">
                    <a:moveTo>
                      <a:pt x="7490" y="11246"/>
                    </a:moveTo>
                    <a:cubicBezTo>
                      <a:pt x="10310" y="7497"/>
                      <a:pt x="10310" y="3747"/>
                      <a:pt x="10310" y="0"/>
                    </a:cubicBezTo>
                    <a:cubicBezTo>
                      <a:pt x="9362" y="0"/>
                      <a:pt x="7490" y="0"/>
                      <a:pt x="7490" y="936"/>
                    </a:cubicBezTo>
                    <a:cubicBezTo>
                      <a:pt x="5618" y="4686"/>
                      <a:pt x="3745" y="8433"/>
                      <a:pt x="1873" y="12182"/>
                    </a:cubicBezTo>
                    <a:cubicBezTo>
                      <a:pt x="0" y="14995"/>
                      <a:pt x="0" y="18742"/>
                      <a:pt x="0" y="22492"/>
                    </a:cubicBezTo>
                    <a:cubicBezTo>
                      <a:pt x="1873" y="22492"/>
                      <a:pt x="1873" y="21556"/>
                      <a:pt x="2798" y="21556"/>
                    </a:cubicBezTo>
                    <a:cubicBezTo>
                      <a:pt x="3745" y="17806"/>
                      <a:pt x="5618" y="14057"/>
                      <a:pt x="7490" y="11246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61" name="Freihandform: Form 660">
                <a:extLst>
                  <a:ext uri="{FF2B5EF4-FFF2-40B4-BE49-F238E27FC236}">
                    <a16:creationId xmlns:a16="http://schemas.microsoft.com/office/drawing/2014/main" id="{370D537D-4D43-F728-697D-BBEA37B4C874}"/>
                  </a:ext>
                </a:extLst>
              </p:cNvPr>
              <p:cNvSpPr/>
              <p:nvPr/>
            </p:nvSpPr>
            <p:spPr>
              <a:xfrm>
                <a:off x="5619334" y="3255145"/>
                <a:ext cx="3767" cy="2813"/>
              </a:xfrm>
              <a:custGeom>
                <a:avLst/>
                <a:gdLst>
                  <a:gd name="connsiteX0" fmla="*/ 0 w 3767"/>
                  <a:gd name="connsiteY0" fmla="*/ 1875 h 2813"/>
                  <a:gd name="connsiteX1" fmla="*/ 1873 w 3767"/>
                  <a:gd name="connsiteY1" fmla="*/ 2813 h 2813"/>
                  <a:gd name="connsiteX2" fmla="*/ 3767 w 3767"/>
                  <a:gd name="connsiteY2" fmla="*/ 0 h 2813"/>
                  <a:gd name="connsiteX3" fmla="*/ 0 w 3767"/>
                  <a:gd name="connsiteY3" fmla="*/ 1875 h 28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767" h="2813">
                    <a:moveTo>
                      <a:pt x="0" y="1875"/>
                    </a:moveTo>
                    <a:cubicBezTo>
                      <a:pt x="0" y="1875"/>
                      <a:pt x="0" y="2813"/>
                      <a:pt x="1873" y="2813"/>
                    </a:cubicBezTo>
                    <a:cubicBezTo>
                      <a:pt x="1873" y="2813"/>
                      <a:pt x="1873" y="1875"/>
                      <a:pt x="3767" y="0"/>
                    </a:cubicBezTo>
                    <a:cubicBezTo>
                      <a:pt x="1873" y="0"/>
                      <a:pt x="948" y="0"/>
                      <a:pt x="0" y="1875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62" name="Freihandform: Form 661">
                <a:extLst>
                  <a:ext uri="{FF2B5EF4-FFF2-40B4-BE49-F238E27FC236}">
                    <a16:creationId xmlns:a16="http://schemas.microsoft.com/office/drawing/2014/main" id="{9D3E4DD0-FD81-D633-F193-563391F3BF27}"/>
                  </a:ext>
                </a:extLst>
              </p:cNvPr>
              <p:cNvSpPr/>
              <p:nvPr/>
            </p:nvSpPr>
            <p:spPr>
              <a:xfrm>
                <a:off x="5589352" y="3563496"/>
                <a:ext cx="3744" cy="7498"/>
              </a:xfrm>
              <a:custGeom>
                <a:avLst/>
                <a:gdLst>
                  <a:gd name="connsiteX0" fmla="*/ 0 w 3744"/>
                  <a:gd name="connsiteY0" fmla="*/ 3749 h 7498"/>
                  <a:gd name="connsiteX1" fmla="*/ 0 w 3744"/>
                  <a:gd name="connsiteY1" fmla="*/ 7499 h 7498"/>
                  <a:gd name="connsiteX2" fmla="*/ 3745 w 3744"/>
                  <a:gd name="connsiteY2" fmla="*/ 0 h 7498"/>
                  <a:gd name="connsiteX3" fmla="*/ 0 w 3744"/>
                  <a:gd name="connsiteY3" fmla="*/ 3749 h 7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744" h="7498">
                    <a:moveTo>
                      <a:pt x="0" y="3749"/>
                    </a:moveTo>
                    <a:lnTo>
                      <a:pt x="0" y="7499"/>
                    </a:lnTo>
                    <a:cubicBezTo>
                      <a:pt x="3745" y="6560"/>
                      <a:pt x="3745" y="2811"/>
                      <a:pt x="3745" y="0"/>
                    </a:cubicBezTo>
                    <a:cubicBezTo>
                      <a:pt x="925" y="1875"/>
                      <a:pt x="0" y="2811"/>
                      <a:pt x="0" y="3749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63" name="Freihandform: Form 662">
                <a:extLst>
                  <a:ext uri="{FF2B5EF4-FFF2-40B4-BE49-F238E27FC236}">
                    <a16:creationId xmlns:a16="http://schemas.microsoft.com/office/drawing/2014/main" id="{BA163B3E-21DA-2590-2150-E75C33D8D1BA}"/>
                  </a:ext>
                </a:extLst>
              </p:cNvPr>
              <p:cNvSpPr/>
              <p:nvPr/>
            </p:nvSpPr>
            <p:spPr>
              <a:xfrm>
                <a:off x="5572478" y="3573805"/>
                <a:ext cx="6564" cy="15933"/>
              </a:xfrm>
              <a:custGeom>
                <a:avLst/>
                <a:gdLst>
                  <a:gd name="connsiteX0" fmla="*/ 3745 w 6564"/>
                  <a:gd name="connsiteY0" fmla="*/ 0 h 15933"/>
                  <a:gd name="connsiteX1" fmla="*/ 947 w 6564"/>
                  <a:gd name="connsiteY1" fmla="*/ 6560 h 15933"/>
                  <a:gd name="connsiteX2" fmla="*/ 0 w 6564"/>
                  <a:gd name="connsiteY2" fmla="*/ 15934 h 15933"/>
                  <a:gd name="connsiteX3" fmla="*/ 3745 w 6564"/>
                  <a:gd name="connsiteY3" fmla="*/ 12184 h 15933"/>
                  <a:gd name="connsiteX4" fmla="*/ 6565 w 6564"/>
                  <a:gd name="connsiteY4" fmla="*/ 10310 h 15933"/>
                  <a:gd name="connsiteX5" fmla="*/ 6565 w 6564"/>
                  <a:gd name="connsiteY5" fmla="*/ 4686 h 15933"/>
                  <a:gd name="connsiteX6" fmla="*/ 3745 w 6564"/>
                  <a:gd name="connsiteY6" fmla="*/ 0 h 15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564" h="15933">
                    <a:moveTo>
                      <a:pt x="3745" y="0"/>
                    </a:moveTo>
                    <a:cubicBezTo>
                      <a:pt x="2820" y="2813"/>
                      <a:pt x="2820" y="4686"/>
                      <a:pt x="947" y="6560"/>
                    </a:cubicBezTo>
                    <a:cubicBezTo>
                      <a:pt x="0" y="10310"/>
                      <a:pt x="0" y="14059"/>
                      <a:pt x="0" y="15934"/>
                    </a:cubicBezTo>
                    <a:cubicBezTo>
                      <a:pt x="947" y="15934"/>
                      <a:pt x="2820" y="14995"/>
                      <a:pt x="3745" y="12184"/>
                    </a:cubicBezTo>
                    <a:cubicBezTo>
                      <a:pt x="3745" y="11246"/>
                      <a:pt x="4692" y="11246"/>
                      <a:pt x="6565" y="10310"/>
                    </a:cubicBezTo>
                    <a:lnTo>
                      <a:pt x="6565" y="4686"/>
                    </a:lnTo>
                    <a:cubicBezTo>
                      <a:pt x="6565" y="2813"/>
                      <a:pt x="4692" y="938"/>
                      <a:pt x="3745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64" name="Freihandform: Form 663">
                <a:extLst>
                  <a:ext uri="{FF2B5EF4-FFF2-40B4-BE49-F238E27FC236}">
                    <a16:creationId xmlns:a16="http://schemas.microsoft.com/office/drawing/2014/main" id="{20E2ED16-3AFE-92D4-9F1F-7CA8AFBBD1AE}"/>
                  </a:ext>
                </a:extLst>
              </p:cNvPr>
              <p:cNvSpPr/>
              <p:nvPr/>
            </p:nvSpPr>
            <p:spPr>
              <a:xfrm>
                <a:off x="5699939" y="3661517"/>
                <a:ext cx="1872" cy="3200"/>
              </a:xfrm>
              <a:custGeom>
                <a:avLst/>
                <a:gdLst>
                  <a:gd name="connsiteX0" fmla="*/ 1872 w 1872"/>
                  <a:gd name="connsiteY0" fmla="*/ 1326 h 3200"/>
                  <a:gd name="connsiteX1" fmla="*/ 0 w 1872"/>
                  <a:gd name="connsiteY1" fmla="*/ 388 h 3200"/>
                  <a:gd name="connsiteX2" fmla="*/ 0 w 1872"/>
                  <a:gd name="connsiteY2" fmla="*/ 3201 h 3200"/>
                  <a:gd name="connsiteX3" fmla="*/ 1872 w 1872"/>
                  <a:gd name="connsiteY3" fmla="*/ 1326 h 3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72" h="3200">
                    <a:moveTo>
                      <a:pt x="1872" y="1326"/>
                    </a:moveTo>
                    <a:cubicBezTo>
                      <a:pt x="1872" y="388"/>
                      <a:pt x="947" y="-549"/>
                      <a:pt x="0" y="388"/>
                    </a:cubicBezTo>
                    <a:lnTo>
                      <a:pt x="0" y="3201"/>
                    </a:lnTo>
                    <a:cubicBezTo>
                      <a:pt x="947" y="3201"/>
                      <a:pt x="1872" y="3201"/>
                      <a:pt x="1872" y="1326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65" name="Freihandform: Form 664">
                <a:extLst>
                  <a:ext uri="{FF2B5EF4-FFF2-40B4-BE49-F238E27FC236}">
                    <a16:creationId xmlns:a16="http://schemas.microsoft.com/office/drawing/2014/main" id="{71EBC09E-FB8D-F495-1C29-124E64B02A2C}"/>
                  </a:ext>
                </a:extLst>
              </p:cNvPr>
              <p:cNvSpPr/>
              <p:nvPr/>
            </p:nvSpPr>
            <p:spPr>
              <a:xfrm>
                <a:off x="5553731" y="3611295"/>
                <a:ext cx="4692" cy="6560"/>
              </a:xfrm>
              <a:custGeom>
                <a:avLst/>
                <a:gdLst>
                  <a:gd name="connsiteX0" fmla="*/ 0 w 4692"/>
                  <a:gd name="connsiteY0" fmla="*/ 2811 h 6560"/>
                  <a:gd name="connsiteX1" fmla="*/ 2820 w 4692"/>
                  <a:gd name="connsiteY1" fmla="*/ 6560 h 6560"/>
                  <a:gd name="connsiteX2" fmla="*/ 4692 w 4692"/>
                  <a:gd name="connsiteY2" fmla="*/ 6560 h 6560"/>
                  <a:gd name="connsiteX3" fmla="*/ 4692 w 4692"/>
                  <a:gd name="connsiteY3" fmla="*/ 0 h 6560"/>
                  <a:gd name="connsiteX4" fmla="*/ 0 w 4692"/>
                  <a:gd name="connsiteY4" fmla="*/ 2811 h 6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92" h="6560">
                    <a:moveTo>
                      <a:pt x="0" y="2811"/>
                    </a:moveTo>
                    <a:cubicBezTo>
                      <a:pt x="0" y="4686"/>
                      <a:pt x="947" y="5937"/>
                      <a:pt x="2820" y="6560"/>
                    </a:cubicBezTo>
                    <a:lnTo>
                      <a:pt x="4692" y="6560"/>
                    </a:lnTo>
                    <a:lnTo>
                      <a:pt x="4692" y="0"/>
                    </a:lnTo>
                    <a:cubicBezTo>
                      <a:pt x="2820" y="0"/>
                      <a:pt x="947" y="1875"/>
                      <a:pt x="0" y="2811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66" name="Freihandform: Form 665">
                <a:extLst>
                  <a:ext uri="{FF2B5EF4-FFF2-40B4-BE49-F238E27FC236}">
                    <a16:creationId xmlns:a16="http://schemas.microsoft.com/office/drawing/2014/main" id="{6E63A9AE-5A33-F58F-B592-6CF63087E54C}"/>
                  </a:ext>
                </a:extLst>
              </p:cNvPr>
              <p:cNvSpPr/>
              <p:nvPr/>
            </p:nvSpPr>
            <p:spPr>
              <a:xfrm>
                <a:off x="5854583" y="3018961"/>
                <a:ext cx="2819" cy="938"/>
              </a:xfrm>
              <a:custGeom>
                <a:avLst/>
                <a:gdLst>
                  <a:gd name="connsiteX0" fmla="*/ 2820 w 2819"/>
                  <a:gd name="connsiteY0" fmla="*/ 0 h 938"/>
                  <a:gd name="connsiteX1" fmla="*/ 0 w 2819"/>
                  <a:gd name="connsiteY1" fmla="*/ 938 h 938"/>
                  <a:gd name="connsiteX2" fmla="*/ 947 w 2819"/>
                  <a:gd name="connsiteY2" fmla="*/ 938 h 938"/>
                  <a:gd name="connsiteX3" fmla="*/ 2820 w 2819"/>
                  <a:gd name="connsiteY3" fmla="*/ 0 h 9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19" h="938">
                    <a:moveTo>
                      <a:pt x="2820" y="0"/>
                    </a:moveTo>
                    <a:cubicBezTo>
                      <a:pt x="1564" y="0"/>
                      <a:pt x="639" y="313"/>
                      <a:pt x="0" y="938"/>
                    </a:cubicBezTo>
                    <a:lnTo>
                      <a:pt x="947" y="938"/>
                    </a:lnTo>
                    <a:cubicBezTo>
                      <a:pt x="947" y="938"/>
                      <a:pt x="947" y="0"/>
                      <a:pt x="282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67" name="Freihandform: Form 666">
                <a:extLst>
                  <a:ext uri="{FF2B5EF4-FFF2-40B4-BE49-F238E27FC236}">
                    <a16:creationId xmlns:a16="http://schemas.microsoft.com/office/drawing/2014/main" id="{8C34B796-89BF-CB1B-A328-91608608A6E6}"/>
                  </a:ext>
                </a:extLst>
              </p:cNvPr>
              <p:cNvSpPr/>
              <p:nvPr/>
            </p:nvSpPr>
            <p:spPr>
              <a:xfrm>
                <a:off x="5579043" y="3563496"/>
                <a:ext cx="10309" cy="33739"/>
              </a:xfrm>
              <a:custGeom>
                <a:avLst/>
                <a:gdLst>
                  <a:gd name="connsiteX0" fmla="*/ 7490 w 10309"/>
                  <a:gd name="connsiteY0" fmla="*/ 17808 h 33739"/>
                  <a:gd name="connsiteX1" fmla="*/ 10310 w 10309"/>
                  <a:gd name="connsiteY1" fmla="*/ 7499 h 33739"/>
                  <a:gd name="connsiteX2" fmla="*/ 3745 w 10309"/>
                  <a:gd name="connsiteY2" fmla="*/ 6560 h 33739"/>
                  <a:gd name="connsiteX3" fmla="*/ 3745 w 10309"/>
                  <a:gd name="connsiteY3" fmla="*/ 0 h 33739"/>
                  <a:gd name="connsiteX4" fmla="*/ 0 w 10309"/>
                  <a:gd name="connsiteY4" fmla="*/ 0 h 33739"/>
                  <a:gd name="connsiteX5" fmla="*/ 0 w 10309"/>
                  <a:gd name="connsiteY5" fmla="*/ 2811 h 33739"/>
                  <a:gd name="connsiteX6" fmla="*/ 3745 w 10309"/>
                  <a:gd name="connsiteY6" fmla="*/ 7499 h 33739"/>
                  <a:gd name="connsiteX7" fmla="*/ 3745 w 10309"/>
                  <a:gd name="connsiteY7" fmla="*/ 17808 h 33739"/>
                  <a:gd name="connsiteX8" fmla="*/ 0 w 10309"/>
                  <a:gd name="connsiteY8" fmla="*/ 20619 h 33739"/>
                  <a:gd name="connsiteX9" fmla="*/ 0 w 10309"/>
                  <a:gd name="connsiteY9" fmla="*/ 33740 h 33739"/>
                  <a:gd name="connsiteX10" fmla="*/ 3745 w 10309"/>
                  <a:gd name="connsiteY10" fmla="*/ 31865 h 33739"/>
                  <a:gd name="connsiteX11" fmla="*/ 7490 w 10309"/>
                  <a:gd name="connsiteY11" fmla="*/ 17808 h 337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0309" h="33739">
                    <a:moveTo>
                      <a:pt x="7490" y="17808"/>
                    </a:moveTo>
                    <a:cubicBezTo>
                      <a:pt x="10310" y="14059"/>
                      <a:pt x="10310" y="11248"/>
                      <a:pt x="10310" y="7499"/>
                    </a:cubicBezTo>
                    <a:cubicBezTo>
                      <a:pt x="7490" y="7499"/>
                      <a:pt x="6565" y="6560"/>
                      <a:pt x="3745" y="6560"/>
                    </a:cubicBezTo>
                    <a:lnTo>
                      <a:pt x="3745" y="0"/>
                    </a:lnTo>
                    <a:lnTo>
                      <a:pt x="0" y="0"/>
                    </a:lnTo>
                    <a:lnTo>
                      <a:pt x="0" y="2811"/>
                    </a:lnTo>
                    <a:cubicBezTo>
                      <a:pt x="0" y="5624"/>
                      <a:pt x="925" y="6560"/>
                      <a:pt x="3745" y="7499"/>
                    </a:cubicBezTo>
                    <a:lnTo>
                      <a:pt x="3745" y="17808"/>
                    </a:lnTo>
                    <a:cubicBezTo>
                      <a:pt x="2820" y="18745"/>
                      <a:pt x="925" y="20619"/>
                      <a:pt x="0" y="20619"/>
                    </a:cubicBezTo>
                    <a:lnTo>
                      <a:pt x="0" y="33740"/>
                    </a:lnTo>
                    <a:cubicBezTo>
                      <a:pt x="925" y="32804"/>
                      <a:pt x="2820" y="31865"/>
                      <a:pt x="3745" y="31865"/>
                    </a:cubicBezTo>
                    <a:cubicBezTo>
                      <a:pt x="3745" y="26243"/>
                      <a:pt x="6565" y="21556"/>
                      <a:pt x="7490" y="17808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68" name="Freihandform: Form 667">
                <a:extLst>
                  <a:ext uri="{FF2B5EF4-FFF2-40B4-BE49-F238E27FC236}">
                    <a16:creationId xmlns:a16="http://schemas.microsoft.com/office/drawing/2014/main" id="{A3D09461-D2CA-7C4A-FC86-159904B736AB}"/>
                  </a:ext>
                </a:extLst>
              </p:cNvPr>
              <p:cNvSpPr/>
              <p:nvPr/>
            </p:nvSpPr>
            <p:spPr>
              <a:xfrm>
                <a:off x="5857403" y="3011465"/>
                <a:ext cx="9362" cy="5621"/>
              </a:xfrm>
              <a:custGeom>
                <a:avLst/>
                <a:gdLst>
                  <a:gd name="connsiteX0" fmla="*/ 9362 w 9362"/>
                  <a:gd name="connsiteY0" fmla="*/ 0 h 5621"/>
                  <a:gd name="connsiteX1" fmla="*/ 0 w 9362"/>
                  <a:gd name="connsiteY1" fmla="*/ 5622 h 5621"/>
                  <a:gd name="connsiteX2" fmla="*/ 9362 w 9362"/>
                  <a:gd name="connsiteY2" fmla="*/ 0 h 56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362" h="5621">
                    <a:moveTo>
                      <a:pt x="9362" y="0"/>
                    </a:moveTo>
                    <a:cubicBezTo>
                      <a:pt x="4692" y="0"/>
                      <a:pt x="925" y="1875"/>
                      <a:pt x="0" y="5622"/>
                    </a:cubicBezTo>
                    <a:cubicBezTo>
                      <a:pt x="4692" y="5622"/>
                      <a:pt x="8437" y="4686"/>
                      <a:pt x="936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69" name="Freihandform: Form 668">
                <a:extLst>
                  <a:ext uri="{FF2B5EF4-FFF2-40B4-BE49-F238E27FC236}">
                    <a16:creationId xmlns:a16="http://schemas.microsoft.com/office/drawing/2014/main" id="{A4C2C58C-A6BD-E02F-A083-65984B56FC61}"/>
                  </a:ext>
                </a:extLst>
              </p:cNvPr>
              <p:cNvSpPr/>
              <p:nvPr/>
            </p:nvSpPr>
            <p:spPr>
              <a:xfrm>
                <a:off x="5582788" y="3533505"/>
                <a:ext cx="20196" cy="29990"/>
              </a:xfrm>
              <a:custGeom>
                <a:avLst/>
                <a:gdLst>
                  <a:gd name="connsiteX0" fmla="*/ 2820 w 20196"/>
                  <a:gd name="connsiteY0" fmla="*/ 29054 h 29990"/>
                  <a:gd name="connsiteX1" fmla="*/ 6565 w 20196"/>
                  <a:gd name="connsiteY1" fmla="*/ 15932 h 29990"/>
                  <a:gd name="connsiteX2" fmla="*/ 10310 w 20196"/>
                  <a:gd name="connsiteY2" fmla="*/ 12182 h 29990"/>
                  <a:gd name="connsiteX3" fmla="*/ 11257 w 20196"/>
                  <a:gd name="connsiteY3" fmla="*/ 11246 h 29990"/>
                  <a:gd name="connsiteX4" fmla="*/ 12182 w 20196"/>
                  <a:gd name="connsiteY4" fmla="*/ 14059 h 29990"/>
                  <a:gd name="connsiteX5" fmla="*/ 12182 w 20196"/>
                  <a:gd name="connsiteY5" fmla="*/ 19681 h 29990"/>
                  <a:gd name="connsiteX6" fmla="*/ 15002 w 20196"/>
                  <a:gd name="connsiteY6" fmla="*/ 19681 h 29990"/>
                  <a:gd name="connsiteX7" fmla="*/ 19694 w 20196"/>
                  <a:gd name="connsiteY7" fmla="*/ 3749 h 29990"/>
                  <a:gd name="connsiteX8" fmla="*/ 17800 w 20196"/>
                  <a:gd name="connsiteY8" fmla="*/ 4686 h 29990"/>
                  <a:gd name="connsiteX9" fmla="*/ 12182 w 20196"/>
                  <a:gd name="connsiteY9" fmla="*/ 936 h 29990"/>
                  <a:gd name="connsiteX10" fmla="*/ 12182 w 20196"/>
                  <a:gd name="connsiteY10" fmla="*/ 0 h 29990"/>
                  <a:gd name="connsiteX11" fmla="*/ 10310 w 20196"/>
                  <a:gd name="connsiteY11" fmla="*/ 3749 h 29990"/>
                  <a:gd name="connsiteX12" fmla="*/ 3745 w 20196"/>
                  <a:gd name="connsiteY12" fmla="*/ 10310 h 29990"/>
                  <a:gd name="connsiteX13" fmla="*/ 2820 w 20196"/>
                  <a:gd name="connsiteY13" fmla="*/ 15932 h 29990"/>
                  <a:gd name="connsiteX14" fmla="*/ 0 w 20196"/>
                  <a:gd name="connsiteY14" fmla="*/ 19681 h 29990"/>
                  <a:gd name="connsiteX15" fmla="*/ 0 w 20196"/>
                  <a:gd name="connsiteY15" fmla="*/ 29991 h 29990"/>
                  <a:gd name="connsiteX16" fmla="*/ 2820 w 20196"/>
                  <a:gd name="connsiteY16" fmla="*/ 29052 h 299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0196" h="29990">
                    <a:moveTo>
                      <a:pt x="2820" y="29054"/>
                    </a:moveTo>
                    <a:cubicBezTo>
                      <a:pt x="3745" y="25305"/>
                      <a:pt x="6565" y="21556"/>
                      <a:pt x="6565" y="15932"/>
                    </a:cubicBezTo>
                    <a:cubicBezTo>
                      <a:pt x="7490" y="14995"/>
                      <a:pt x="8437" y="14059"/>
                      <a:pt x="10310" y="12182"/>
                    </a:cubicBezTo>
                    <a:lnTo>
                      <a:pt x="11257" y="11246"/>
                    </a:lnTo>
                    <a:cubicBezTo>
                      <a:pt x="11257" y="12182"/>
                      <a:pt x="12182" y="12182"/>
                      <a:pt x="12182" y="14059"/>
                    </a:cubicBezTo>
                    <a:lnTo>
                      <a:pt x="12182" y="19681"/>
                    </a:lnTo>
                    <a:lnTo>
                      <a:pt x="15002" y="19681"/>
                    </a:lnTo>
                    <a:cubicBezTo>
                      <a:pt x="17800" y="14995"/>
                      <a:pt x="21567" y="10310"/>
                      <a:pt x="19694" y="3749"/>
                    </a:cubicBezTo>
                    <a:cubicBezTo>
                      <a:pt x="18747" y="3749"/>
                      <a:pt x="17800" y="4686"/>
                      <a:pt x="17800" y="4686"/>
                    </a:cubicBezTo>
                    <a:cubicBezTo>
                      <a:pt x="15310" y="5935"/>
                      <a:pt x="13438" y="4686"/>
                      <a:pt x="12182" y="936"/>
                    </a:cubicBezTo>
                    <a:lnTo>
                      <a:pt x="12182" y="0"/>
                    </a:lnTo>
                    <a:cubicBezTo>
                      <a:pt x="11257" y="936"/>
                      <a:pt x="10310" y="936"/>
                      <a:pt x="10310" y="3749"/>
                    </a:cubicBezTo>
                    <a:cubicBezTo>
                      <a:pt x="8437" y="6560"/>
                      <a:pt x="7490" y="10310"/>
                      <a:pt x="3745" y="10310"/>
                    </a:cubicBezTo>
                    <a:cubicBezTo>
                      <a:pt x="2820" y="12182"/>
                      <a:pt x="2820" y="14059"/>
                      <a:pt x="2820" y="15932"/>
                    </a:cubicBezTo>
                    <a:cubicBezTo>
                      <a:pt x="2820" y="18745"/>
                      <a:pt x="947" y="19681"/>
                      <a:pt x="0" y="19681"/>
                    </a:cubicBezTo>
                    <a:lnTo>
                      <a:pt x="0" y="29991"/>
                    </a:lnTo>
                    <a:cubicBezTo>
                      <a:pt x="947" y="29991"/>
                      <a:pt x="947" y="29052"/>
                      <a:pt x="2820" y="29052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70" name="Freihandform: Form 669">
                <a:extLst>
                  <a:ext uri="{FF2B5EF4-FFF2-40B4-BE49-F238E27FC236}">
                    <a16:creationId xmlns:a16="http://schemas.microsoft.com/office/drawing/2014/main" id="{D9CF451F-9249-22F0-ADA3-9EFA03693A44}"/>
                  </a:ext>
                </a:extLst>
              </p:cNvPr>
              <p:cNvSpPr/>
              <p:nvPr/>
            </p:nvSpPr>
            <p:spPr>
              <a:xfrm>
                <a:off x="5568733" y="3544751"/>
                <a:ext cx="14054" cy="31865"/>
              </a:xfrm>
              <a:custGeom>
                <a:avLst/>
                <a:gdLst>
                  <a:gd name="connsiteX0" fmla="*/ 14055 w 14054"/>
                  <a:gd name="connsiteY0" fmla="*/ 8435 h 31865"/>
                  <a:gd name="connsiteX1" fmla="*/ 14055 w 14054"/>
                  <a:gd name="connsiteY1" fmla="*/ 0 h 31865"/>
                  <a:gd name="connsiteX2" fmla="*/ 11235 w 14054"/>
                  <a:gd name="connsiteY2" fmla="*/ 936 h 31865"/>
                  <a:gd name="connsiteX3" fmla="*/ 7490 w 14054"/>
                  <a:gd name="connsiteY3" fmla="*/ 6560 h 31865"/>
                  <a:gd name="connsiteX4" fmla="*/ 0 w 14054"/>
                  <a:gd name="connsiteY4" fmla="*/ 26243 h 31865"/>
                  <a:gd name="connsiteX5" fmla="*/ 0 w 14054"/>
                  <a:gd name="connsiteY5" fmla="*/ 29993 h 31865"/>
                  <a:gd name="connsiteX6" fmla="*/ 2820 w 14054"/>
                  <a:gd name="connsiteY6" fmla="*/ 31865 h 31865"/>
                  <a:gd name="connsiteX7" fmla="*/ 6565 w 14054"/>
                  <a:gd name="connsiteY7" fmla="*/ 29054 h 31865"/>
                  <a:gd name="connsiteX8" fmla="*/ 7490 w 14054"/>
                  <a:gd name="connsiteY8" fmla="*/ 21555 h 31865"/>
                  <a:gd name="connsiteX9" fmla="*/ 10310 w 14054"/>
                  <a:gd name="connsiteY9" fmla="*/ 18745 h 31865"/>
                  <a:gd name="connsiteX10" fmla="*/ 10310 w 14054"/>
                  <a:gd name="connsiteY10" fmla="*/ 14059 h 31865"/>
                  <a:gd name="connsiteX11" fmla="*/ 14055 w 14054"/>
                  <a:gd name="connsiteY11" fmla="*/ 8435 h 318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4054" h="31865">
                    <a:moveTo>
                      <a:pt x="14055" y="8435"/>
                    </a:moveTo>
                    <a:lnTo>
                      <a:pt x="14055" y="0"/>
                    </a:lnTo>
                    <a:cubicBezTo>
                      <a:pt x="13130" y="0"/>
                      <a:pt x="11235" y="0"/>
                      <a:pt x="11235" y="936"/>
                    </a:cubicBezTo>
                    <a:cubicBezTo>
                      <a:pt x="10310" y="2813"/>
                      <a:pt x="8437" y="4686"/>
                      <a:pt x="7490" y="6560"/>
                    </a:cubicBezTo>
                    <a:cubicBezTo>
                      <a:pt x="6565" y="14059"/>
                      <a:pt x="2820" y="20619"/>
                      <a:pt x="0" y="26243"/>
                    </a:cubicBezTo>
                    <a:lnTo>
                      <a:pt x="0" y="29993"/>
                    </a:lnTo>
                    <a:cubicBezTo>
                      <a:pt x="617" y="31242"/>
                      <a:pt x="1564" y="31865"/>
                      <a:pt x="2820" y="31865"/>
                    </a:cubicBezTo>
                    <a:cubicBezTo>
                      <a:pt x="3745" y="29993"/>
                      <a:pt x="4692" y="29993"/>
                      <a:pt x="6565" y="29054"/>
                    </a:cubicBezTo>
                    <a:cubicBezTo>
                      <a:pt x="6565" y="26243"/>
                      <a:pt x="6565" y="24369"/>
                      <a:pt x="7490" y="21555"/>
                    </a:cubicBezTo>
                    <a:cubicBezTo>
                      <a:pt x="7490" y="20619"/>
                      <a:pt x="8437" y="20619"/>
                      <a:pt x="10310" y="18745"/>
                    </a:cubicBezTo>
                    <a:lnTo>
                      <a:pt x="10310" y="14059"/>
                    </a:lnTo>
                    <a:cubicBezTo>
                      <a:pt x="10310" y="11246"/>
                      <a:pt x="11235" y="10310"/>
                      <a:pt x="14055" y="8435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71" name="Freihandform: Form 670">
                <a:extLst>
                  <a:ext uri="{FF2B5EF4-FFF2-40B4-BE49-F238E27FC236}">
                    <a16:creationId xmlns:a16="http://schemas.microsoft.com/office/drawing/2014/main" id="{0639C9F4-14CC-C231-0B86-98335F452F56}"/>
                  </a:ext>
                </a:extLst>
              </p:cNvPr>
              <p:cNvSpPr/>
              <p:nvPr/>
            </p:nvSpPr>
            <p:spPr>
              <a:xfrm>
                <a:off x="5848019" y="3016150"/>
                <a:ext cx="1872" cy="936"/>
              </a:xfrm>
              <a:custGeom>
                <a:avLst/>
                <a:gdLst>
                  <a:gd name="connsiteX0" fmla="*/ 0 w 1872"/>
                  <a:gd name="connsiteY0" fmla="*/ 0 h 936"/>
                  <a:gd name="connsiteX1" fmla="*/ 0 w 1872"/>
                  <a:gd name="connsiteY1" fmla="*/ 936 h 936"/>
                  <a:gd name="connsiteX2" fmla="*/ 1872 w 1872"/>
                  <a:gd name="connsiteY2" fmla="*/ 0 h 936"/>
                  <a:gd name="connsiteX3" fmla="*/ 0 w 1872"/>
                  <a:gd name="connsiteY3" fmla="*/ 0 h 9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72" h="936">
                    <a:moveTo>
                      <a:pt x="0" y="0"/>
                    </a:moveTo>
                    <a:lnTo>
                      <a:pt x="0" y="936"/>
                    </a:lnTo>
                    <a:lnTo>
                      <a:pt x="1872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72" name="Freihandform: Form 671">
                <a:extLst>
                  <a:ext uri="{FF2B5EF4-FFF2-40B4-BE49-F238E27FC236}">
                    <a16:creationId xmlns:a16="http://schemas.microsoft.com/office/drawing/2014/main" id="{D5A6121E-536F-C3E9-B438-CA2C8149E008}"/>
                  </a:ext>
                </a:extLst>
              </p:cNvPr>
              <p:cNvSpPr/>
              <p:nvPr/>
            </p:nvSpPr>
            <p:spPr>
              <a:xfrm>
                <a:off x="5771181" y="3534442"/>
                <a:ext cx="3744" cy="2810"/>
              </a:xfrm>
              <a:custGeom>
                <a:avLst/>
                <a:gdLst>
                  <a:gd name="connsiteX0" fmla="*/ 0 w 3744"/>
                  <a:gd name="connsiteY0" fmla="*/ 0 h 2810"/>
                  <a:gd name="connsiteX1" fmla="*/ 1873 w 3744"/>
                  <a:gd name="connsiteY1" fmla="*/ 2811 h 2810"/>
                  <a:gd name="connsiteX2" fmla="*/ 3745 w 3744"/>
                  <a:gd name="connsiteY2" fmla="*/ 0 h 2810"/>
                  <a:gd name="connsiteX3" fmla="*/ 0 w 3744"/>
                  <a:gd name="connsiteY3" fmla="*/ 0 h 28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744" h="2810">
                    <a:moveTo>
                      <a:pt x="0" y="0"/>
                    </a:moveTo>
                    <a:cubicBezTo>
                      <a:pt x="0" y="1875"/>
                      <a:pt x="0" y="2811"/>
                      <a:pt x="1873" y="2811"/>
                    </a:cubicBezTo>
                    <a:cubicBezTo>
                      <a:pt x="2798" y="2811"/>
                      <a:pt x="3745" y="1875"/>
                      <a:pt x="3745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73" name="Freihandform: Form 672">
                <a:extLst>
                  <a:ext uri="{FF2B5EF4-FFF2-40B4-BE49-F238E27FC236}">
                    <a16:creationId xmlns:a16="http://schemas.microsoft.com/office/drawing/2014/main" id="{6CA27034-C4BD-F329-A5E6-5E81CBEE09A0}"/>
                  </a:ext>
                </a:extLst>
              </p:cNvPr>
              <p:cNvSpPr/>
              <p:nvPr/>
            </p:nvSpPr>
            <p:spPr>
              <a:xfrm>
                <a:off x="5745869" y="3563496"/>
                <a:ext cx="3744" cy="3749"/>
              </a:xfrm>
              <a:custGeom>
                <a:avLst/>
                <a:gdLst>
                  <a:gd name="connsiteX0" fmla="*/ 3745 w 3744"/>
                  <a:gd name="connsiteY0" fmla="*/ 0 h 3749"/>
                  <a:gd name="connsiteX1" fmla="*/ 0 w 3744"/>
                  <a:gd name="connsiteY1" fmla="*/ 3749 h 3749"/>
                  <a:gd name="connsiteX2" fmla="*/ 3745 w 3744"/>
                  <a:gd name="connsiteY2" fmla="*/ 0 h 37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744" h="3749">
                    <a:moveTo>
                      <a:pt x="3745" y="0"/>
                    </a:moveTo>
                    <a:cubicBezTo>
                      <a:pt x="1873" y="1875"/>
                      <a:pt x="1873" y="2811"/>
                      <a:pt x="0" y="3749"/>
                    </a:cubicBezTo>
                    <a:cubicBezTo>
                      <a:pt x="2820" y="3749"/>
                      <a:pt x="2820" y="2811"/>
                      <a:pt x="3745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74" name="Freihandform: Form 673">
                <a:extLst>
                  <a:ext uri="{FF2B5EF4-FFF2-40B4-BE49-F238E27FC236}">
                    <a16:creationId xmlns:a16="http://schemas.microsoft.com/office/drawing/2014/main" id="{14FE7AAF-9EAB-8982-C43A-D8BBF8D53461}"/>
                  </a:ext>
                </a:extLst>
              </p:cNvPr>
              <p:cNvSpPr/>
              <p:nvPr/>
            </p:nvSpPr>
            <p:spPr>
              <a:xfrm>
                <a:off x="5763669" y="3544751"/>
                <a:ext cx="1872" cy="2812"/>
              </a:xfrm>
              <a:custGeom>
                <a:avLst/>
                <a:gdLst>
                  <a:gd name="connsiteX0" fmla="*/ 0 w 1872"/>
                  <a:gd name="connsiteY0" fmla="*/ 2813 h 2812"/>
                  <a:gd name="connsiteX1" fmla="*/ 1873 w 1872"/>
                  <a:gd name="connsiteY1" fmla="*/ 936 h 2812"/>
                  <a:gd name="connsiteX2" fmla="*/ 1873 w 1872"/>
                  <a:gd name="connsiteY2" fmla="*/ 0 h 2812"/>
                  <a:gd name="connsiteX3" fmla="*/ 0 w 1872"/>
                  <a:gd name="connsiteY3" fmla="*/ 2813 h 28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72" h="2812">
                    <a:moveTo>
                      <a:pt x="0" y="2813"/>
                    </a:moveTo>
                    <a:cubicBezTo>
                      <a:pt x="0" y="936"/>
                      <a:pt x="1873" y="936"/>
                      <a:pt x="1873" y="936"/>
                    </a:cubicBezTo>
                    <a:lnTo>
                      <a:pt x="1873" y="0"/>
                    </a:lnTo>
                    <a:cubicBezTo>
                      <a:pt x="639" y="626"/>
                      <a:pt x="0" y="1562"/>
                      <a:pt x="0" y="2813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75" name="Freihandform: Form 674">
                <a:extLst>
                  <a:ext uri="{FF2B5EF4-FFF2-40B4-BE49-F238E27FC236}">
                    <a16:creationId xmlns:a16="http://schemas.microsoft.com/office/drawing/2014/main" id="{0E2F6990-D2B8-8FCE-082F-35FF6F005E2F}"/>
                  </a:ext>
                </a:extLst>
              </p:cNvPr>
              <p:cNvSpPr/>
              <p:nvPr/>
            </p:nvSpPr>
            <p:spPr>
              <a:xfrm>
                <a:off x="4921935" y="3235129"/>
                <a:ext cx="37603" cy="5020"/>
              </a:xfrm>
              <a:custGeom>
                <a:avLst/>
                <a:gdLst>
                  <a:gd name="connsiteX0" fmla="*/ 29166 w 37603"/>
                  <a:gd name="connsiteY0" fmla="*/ 5021 h 5020"/>
                  <a:gd name="connsiteX1" fmla="*/ 37604 w 37603"/>
                  <a:gd name="connsiteY1" fmla="*/ 3146 h 5020"/>
                  <a:gd name="connsiteX2" fmla="*/ 37119 w 37603"/>
                  <a:gd name="connsiteY2" fmla="*/ 2888 h 5020"/>
                  <a:gd name="connsiteX3" fmla="*/ 37494 w 37603"/>
                  <a:gd name="connsiteY3" fmla="*/ 2813 h 5020"/>
                  <a:gd name="connsiteX4" fmla="*/ 29056 w 37603"/>
                  <a:gd name="connsiteY4" fmla="*/ 0 h 5020"/>
                  <a:gd name="connsiteX5" fmla="*/ 0 w 37603"/>
                  <a:gd name="connsiteY5" fmla="*/ 938 h 5020"/>
                  <a:gd name="connsiteX6" fmla="*/ 0 w 37603"/>
                  <a:gd name="connsiteY6" fmla="*/ 2813 h 5020"/>
                  <a:gd name="connsiteX7" fmla="*/ 110 w 37603"/>
                  <a:gd name="connsiteY7" fmla="*/ 2824 h 5020"/>
                  <a:gd name="connsiteX8" fmla="*/ 110 w 37603"/>
                  <a:gd name="connsiteY8" fmla="*/ 3146 h 5020"/>
                  <a:gd name="connsiteX9" fmla="*/ 29166 w 37603"/>
                  <a:gd name="connsiteY9" fmla="*/ 5021 h 50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7603" h="5020">
                    <a:moveTo>
                      <a:pt x="29166" y="5021"/>
                    </a:moveTo>
                    <a:cubicBezTo>
                      <a:pt x="31039" y="5021"/>
                      <a:pt x="34784" y="3146"/>
                      <a:pt x="37604" y="3146"/>
                    </a:cubicBezTo>
                    <a:cubicBezTo>
                      <a:pt x="37427" y="3031"/>
                      <a:pt x="37295" y="2996"/>
                      <a:pt x="37119" y="2888"/>
                    </a:cubicBezTo>
                    <a:cubicBezTo>
                      <a:pt x="37229" y="2882"/>
                      <a:pt x="37383" y="2813"/>
                      <a:pt x="37494" y="2813"/>
                    </a:cubicBezTo>
                    <a:cubicBezTo>
                      <a:pt x="34674" y="938"/>
                      <a:pt x="32801" y="0"/>
                      <a:pt x="29056" y="0"/>
                    </a:cubicBezTo>
                    <a:cubicBezTo>
                      <a:pt x="19694" y="0"/>
                      <a:pt x="9362" y="938"/>
                      <a:pt x="0" y="938"/>
                    </a:cubicBezTo>
                    <a:lnTo>
                      <a:pt x="0" y="2813"/>
                    </a:lnTo>
                    <a:cubicBezTo>
                      <a:pt x="44" y="2818"/>
                      <a:pt x="66" y="2818"/>
                      <a:pt x="110" y="2824"/>
                    </a:cubicBezTo>
                    <a:lnTo>
                      <a:pt x="110" y="3146"/>
                    </a:lnTo>
                    <a:cubicBezTo>
                      <a:pt x="9472" y="5021"/>
                      <a:pt x="19782" y="5021"/>
                      <a:pt x="29166" y="5021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76" name="Freihandform: Form 675">
                <a:extLst>
                  <a:ext uri="{FF2B5EF4-FFF2-40B4-BE49-F238E27FC236}">
                    <a16:creationId xmlns:a16="http://schemas.microsoft.com/office/drawing/2014/main" id="{C6935B8C-540C-E4DF-35DC-7800BE71BAD4}"/>
                  </a:ext>
                </a:extLst>
              </p:cNvPr>
              <p:cNvSpPr/>
              <p:nvPr/>
            </p:nvSpPr>
            <p:spPr>
              <a:xfrm>
                <a:off x="5759924" y="3547564"/>
                <a:ext cx="2819" cy="1872"/>
              </a:xfrm>
              <a:custGeom>
                <a:avLst/>
                <a:gdLst>
                  <a:gd name="connsiteX0" fmla="*/ 0 w 2819"/>
                  <a:gd name="connsiteY0" fmla="*/ 1873 h 1872"/>
                  <a:gd name="connsiteX1" fmla="*/ 2820 w 2819"/>
                  <a:gd name="connsiteY1" fmla="*/ 0 h 1872"/>
                  <a:gd name="connsiteX2" fmla="*/ 0 w 2819"/>
                  <a:gd name="connsiteY2" fmla="*/ 1873 h 18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819" h="1872">
                    <a:moveTo>
                      <a:pt x="0" y="1873"/>
                    </a:moveTo>
                    <a:cubicBezTo>
                      <a:pt x="1873" y="1873"/>
                      <a:pt x="2820" y="936"/>
                      <a:pt x="2820" y="0"/>
                    </a:cubicBezTo>
                    <a:cubicBezTo>
                      <a:pt x="1873" y="0"/>
                      <a:pt x="0" y="936"/>
                      <a:pt x="0" y="1873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77" name="Freihandform: Form 676">
                <a:extLst>
                  <a:ext uri="{FF2B5EF4-FFF2-40B4-BE49-F238E27FC236}">
                    <a16:creationId xmlns:a16="http://schemas.microsoft.com/office/drawing/2014/main" id="{D0266F67-EE3F-3EA8-A0BF-15D7F277FCFA}"/>
                  </a:ext>
                </a:extLst>
              </p:cNvPr>
              <p:cNvSpPr/>
              <p:nvPr/>
            </p:nvSpPr>
            <p:spPr>
              <a:xfrm>
                <a:off x="5782416" y="3519446"/>
                <a:ext cx="1872" cy="1874"/>
              </a:xfrm>
              <a:custGeom>
                <a:avLst/>
                <a:gdLst>
                  <a:gd name="connsiteX0" fmla="*/ 1873 w 1872"/>
                  <a:gd name="connsiteY0" fmla="*/ 1875 h 1874"/>
                  <a:gd name="connsiteX1" fmla="*/ 1873 w 1872"/>
                  <a:gd name="connsiteY1" fmla="*/ 0 h 1874"/>
                  <a:gd name="connsiteX2" fmla="*/ 0 w 1872"/>
                  <a:gd name="connsiteY2" fmla="*/ 1875 h 1874"/>
                  <a:gd name="connsiteX3" fmla="*/ 1873 w 1872"/>
                  <a:gd name="connsiteY3" fmla="*/ 1875 h 1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72" h="1874">
                    <a:moveTo>
                      <a:pt x="1873" y="1875"/>
                    </a:moveTo>
                    <a:lnTo>
                      <a:pt x="1873" y="0"/>
                    </a:lnTo>
                    <a:lnTo>
                      <a:pt x="0" y="1875"/>
                    </a:lnTo>
                    <a:lnTo>
                      <a:pt x="1873" y="1875"/>
                    </a:ln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78" name="Freihandform: Form 677">
                <a:extLst>
                  <a:ext uri="{FF2B5EF4-FFF2-40B4-BE49-F238E27FC236}">
                    <a16:creationId xmlns:a16="http://schemas.microsoft.com/office/drawing/2014/main" id="{27D755B4-B29F-FDF8-347D-7FFA68A59305}"/>
                  </a:ext>
                </a:extLst>
              </p:cNvPr>
              <p:cNvSpPr/>
              <p:nvPr/>
            </p:nvSpPr>
            <p:spPr>
              <a:xfrm>
                <a:off x="5777341" y="3521321"/>
                <a:ext cx="5850" cy="8435"/>
              </a:xfrm>
              <a:custGeom>
                <a:avLst/>
                <a:gdLst>
                  <a:gd name="connsiteX0" fmla="*/ 383 w 5850"/>
                  <a:gd name="connsiteY0" fmla="*/ 5622 h 8435"/>
                  <a:gd name="connsiteX1" fmla="*/ 1330 w 5850"/>
                  <a:gd name="connsiteY1" fmla="*/ 8435 h 8435"/>
                  <a:gd name="connsiteX2" fmla="*/ 3202 w 5850"/>
                  <a:gd name="connsiteY2" fmla="*/ 7497 h 8435"/>
                  <a:gd name="connsiteX3" fmla="*/ 5075 w 5850"/>
                  <a:gd name="connsiteY3" fmla="*/ 0 h 8435"/>
                  <a:gd name="connsiteX4" fmla="*/ 383 w 5850"/>
                  <a:gd name="connsiteY4" fmla="*/ 5622 h 84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850" h="8435">
                    <a:moveTo>
                      <a:pt x="383" y="5622"/>
                    </a:moveTo>
                    <a:cubicBezTo>
                      <a:pt x="-542" y="5622"/>
                      <a:pt x="383" y="7497"/>
                      <a:pt x="1330" y="8435"/>
                    </a:cubicBezTo>
                    <a:cubicBezTo>
                      <a:pt x="1330" y="8435"/>
                      <a:pt x="1330" y="7497"/>
                      <a:pt x="3202" y="7497"/>
                    </a:cubicBezTo>
                    <a:cubicBezTo>
                      <a:pt x="5075" y="5622"/>
                      <a:pt x="6947" y="1875"/>
                      <a:pt x="5075" y="0"/>
                    </a:cubicBezTo>
                    <a:cubicBezTo>
                      <a:pt x="3202" y="0"/>
                      <a:pt x="383" y="1875"/>
                      <a:pt x="383" y="5622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79" name="Freihandform: Form 678">
                <a:extLst>
                  <a:ext uri="{FF2B5EF4-FFF2-40B4-BE49-F238E27FC236}">
                    <a16:creationId xmlns:a16="http://schemas.microsoft.com/office/drawing/2014/main" id="{64838E66-FF8A-4C7E-B38B-AA9ADF9B72A0}"/>
                  </a:ext>
                </a:extLst>
              </p:cNvPr>
              <p:cNvSpPr/>
              <p:nvPr/>
            </p:nvSpPr>
            <p:spPr>
              <a:xfrm>
                <a:off x="5707451" y="3309504"/>
                <a:ext cx="1872" cy="2813"/>
              </a:xfrm>
              <a:custGeom>
                <a:avLst/>
                <a:gdLst>
                  <a:gd name="connsiteX0" fmla="*/ 925 w 1872"/>
                  <a:gd name="connsiteY0" fmla="*/ 2813 h 2813"/>
                  <a:gd name="connsiteX1" fmla="*/ 1873 w 1872"/>
                  <a:gd name="connsiteY1" fmla="*/ 0 h 2813"/>
                  <a:gd name="connsiteX2" fmla="*/ 0 w 1872"/>
                  <a:gd name="connsiteY2" fmla="*/ 938 h 2813"/>
                  <a:gd name="connsiteX3" fmla="*/ 925 w 1872"/>
                  <a:gd name="connsiteY3" fmla="*/ 2813 h 28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72" h="2813">
                    <a:moveTo>
                      <a:pt x="925" y="2813"/>
                    </a:moveTo>
                    <a:cubicBezTo>
                      <a:pt x="925" y="1564"/>
                      <a:pt x="1234" y="626"/>
                      <a:pt x="1873" y="0"/>
                    </a:cubicBezTo>
                    <a:cubicBezTo>
                      <a:pt x="1234" y="626"/>
                      <a:pt x="617" y="938"/>
                      <a:pt x="0" y="938"/>
                    </a:cubicBezTo>
                    <a:lnTo>
                      <a:pt x="925" y="2813"/>
                    </a:ln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80" name="Freihandform: Form 679">
                <a:extLst>
                  <a:ext uri="{FF2B5EF4-FFF2-40B4-BE49-F238E27FC236}">
                    <a16:creationId xmlns:a16="http://schemas.microsoft.com/office/drawing/2014/main" id="{29AF4D53-683C-C4F0-E59B-C3947C2F77B0}"/>
                  </a:ext>
                </a:extLst>
              </p:cNvPr>
              <p:cNvSpPr/>
              <p:nvPr/>
            </p:nvSpPr>
            <p:spPr>
              <a:xfrm>
                <a:off x="5749614" y="3561621"/>
                <a:ext cx="2819" cy="1874"/>
              </a:xfrm>
              <a:custGeom>
                <a:avLst/>
                <a:gdLst>
                  <a:gd name="connsiteX0" fmla="*/ 2820 w 2819"/>
                  <a:gd name="connsiteY0" fmla="*/ 938 h 1874"/>
                  <a:gd name="connsiteX1" fmla="*/ 1873 w 2819"/>
                  <a:gd name="connsiteY1" fmla="*/ 0 h 1874"/>
                  <a:gd name="connsiteX2" fmla="*/ 0 w 2819"/>
                  <a:gd name="connsiteY2" fmla="*/ 1875 h 1874"/>
                  <a:gd name="connsiteX3" fmla="*/ 2820 w 2819"/>
                  <a:gd name="connsiteY3" fmla="*/ 938 h 1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19" h="1874">
                    <a:moveTo>
                      <a:pt x="2820" y="938"/>
                    </a:moveTo>
                    <a:lnTo>
                      <a:pt x="1873" y="0"/>
                    </a:lnTo>
                    <a:cubicBezTo>
                      <a:pt x="617" y="626"/>
                      <a:pt x="0" y="1249"/>
                      <a:pt x="0" y="1875"/>
                    </a:cubicBezTo>
                    <a:cubicBezTo>
                      <a:pt x="1873" y="1875"/>
                      <a:pt x="2820" y="1875"/>
                      <a:pt x="2820" y="938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81" name="Freihandform: Form 680">
                <a:extLst>
                  <a:ext uri="{FF2B5EF4-FFF2-40B4-BE49-F238E27FC236}">
                    <a16:creationId xmlns:a16="http://schemas.microsoft.com/office/drawing/2014/main" id="{E4FE2214-AAB6-93B2-866B-0F2B6ED9CD5B}"/>
                  </a:ext>
                </a:extLst>
              </p:cNvPr>
              <p:cNvSpPr/>
              <p:nvPr/>
            </p:nvSpPr>
            <p:spPr>
              <a:xfrm>
                <a:off x="5843349" y="3026460"/>
                <a:ext cx="2797" cy="936"/>
              </a:xfrm>
              <a:custGeom>
                <a:avLst/>
                <a:gdLst>
                  <a:gd name="connsiteX0" fmla="*/ 0 w 2797"/>
                  <a:gd name="connsiteY0" fmla="*/ 936 h 936"/>
                  <a:gd name="connsiteX1" fmla="*/ 2798 w 2797"/>
                  <a:gd name="connsiteY1" fmla="*/ 0 h 936"/>
                  <a:gd name="connsiteX2" fmla="*/ 0 w 2797"/>
                  <a:gd name="connsiteY2" fmla="*/ 936 h 9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797" h="936">
                    <a:moveTo>
                      <a:pt x="0" y="936"/>
                    </a:moveTo>
                    <a:cubicBezTo>
                      <a:pt x="925" y="936"/>
                      <a:pt x="2798" y="936"/>
                      <a:pt x="2798" y="0"/>
                    </a:cubicBezTo>
                    <a:cubicBezTo>
                      <a:pt x="925" y="0"/>
                      <a:pt x="0" y="936"/>
                      <a:pt x="0" y="936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82" name="Freihandform: Form 681">
                <a:extLst>
                  <a:ext uri="{FF2B5EF4-FFF2-40B4-BE49-F238E27FC236}">
                    <a16:creationId xmlns:a16="http://schemas.microsoft.com/office/drawing/2014/main" id="{4D3430A0-3FC8-7871-50F7-455EF5C85C60}"/>
                  </a:ext>
                </a:extLst>
              </p:cNvPr>
              <p:cNvSpPr/>
              <p:nvPr/>
            </p:nvSpPr>
            <p:spPr>
              <a:xfrm>
                <a:off x="5784288" y="3518508"/>
                <a:ext cx="947" cy="938"/>
              </a:xfrm>
              <a:custGeom>
                <a:avLst/>
                <a:gdLst>
                  <a:gd name="connsiteX0" fmla="*/ 0 w 947"/>
                  <a:gd name="connsiteY0" fmla="*/ 938 h 938"/>
                  <a:gd name="connsiteX1" fmla="*/ 947 w 947"/>
                  <a:gd name="connsiteY1" fmla="*/ 938 h 938"/>
                  <a:gd name="connsiteX2" fmla="*/ 947 w 947"/>
                  <a:gd name="connsiteY2" fmla="*/ 0 h 938"/>
                  <a:gd name="connsiteX3" fmla="*/ 0 w 947"/>
                  <a:gd name="connsiteY3" fmla="*/ 938 h 9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47" h="938">
                    <a:moveTo>
                      <a:pt x="0" y="938"/>
                    </a:moveTo>
                    <a:lnTo>
                      <a:pt x="947" y="938"/>
                    </a:lnTo>
                    <a:lnTo>
                      <a:pt x="947" y="0"/>
                    </a:lnTo>
                    <a:cubicBezTo>
                      <a:pt x="0" y="0"/>
                      <a:pt x="0" y="938"/>
                      <a:pt x="0" y="938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83" name="Freihandform: Form 682">
                <a:extLst>
                  <a:ext uri="{FF2B5EF4-FFF2-40B4-BE49-F238E27FC236}">
                    <a16:creationId xmlns:a16="http://schemas.microsoft.com/office/drawing/2014/main" id="{B2442CA5-C870-2ED7-ED75-297C2C33A8D3}"/>
                  </a:ext>
                </a:extLst>
              </p:cNvPr>
              <p:cNvSpPr/>
              <p:nvPr/>
            </p:nvSpPr>
            <p:spPr>
              <a:xfrm>
                <a:off x="5593097" y="3553186"/>
                <a:ext cx="1872" cy="10309"/>
              </a:xfrm>
              <a:custGeom>
                <a:avLst/>
                <a:gdLst>
                  <a:gd name="connsiteX0" fmla="*/ 0 w 1872"/>
                  <a:gd name="connsiteY0" fmla="*/ 10310 h 10309"/>
                  <a:gd name="connsiteX1" fmla="*/ 1873 w 1872"/>
                  <a:gd name="connsiteY1" fmla="*/ 10310 h 10309"/>
                  <a:gd name="connsiteX2" fmla="*/ 1873 w 1872"/>
                  <a:gd name="connsiteY2" fmla="*/ 0 h 10309"/>
                  <a:gd name="connsiteX3" fmla="*/ 0 w 1872"/>
                  <a:gd name="connsiteY3" fmla="*/ 5624 h 10309"/>
                  <a:gd name="connsiteX4" fmla="*/ 0 w 1872"/>
                  <a:gd name="connsiteY4" fmla="*/ 10310 h 103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72" h="10309">
                    <a:moveTo>
                      <a:pt x="0" y="10310"/>
                    </a:moveTo>
                    <a:lnTo>
                      <a:pt x="1873" y="10310"/>
                    </a:lnTo>
                    <a:lnTo>
                      <a:pt x="1873" y="0"/>
                    </a:lnTo>
                    <a:cubicBezTo>
                      <a:pt x="947" y="1875"/>
                      <a:pt x="0" y="2811"/>
                      <a:pt x="0" y="5624"/>
                    </a:cubicBezTo>
                    <a:lnTo>
                      <a:pt x="0" y="10310"/>
                    </a:ln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84" name="Freihandform: Form 683">
                <a:extLst>
                  <a:ext uri="{FF2B5EF4-FFF2-40B4-BE49-F238E27FC236}">
                    <a16:creationId xmlns:a16="http://schemas.microsoft.com/office/drawing/2014/main" id="{F1F8326A-C820-522D-ABFD-65BC8014DC3E}"/>
                  </a:ext>
                </a:extLst>
              </p:cNvPr>
              <p:cNvSpPr/>
              <p:nvPr/>
            </p:nvSpPr>
            <p:spPr>
              <a:xfrm>
                <a:off x="5800238" y="3125807"/>
                <a:ext cx="6542" cy="6560"/>
              </a:xfrm>
              <a:custGeom>
                <a:avLst/>
                <a:gdLst>
                  <a:gd name="connsiteX0" fmla="*/ 0 w 6542"/>
                  <a:gd name="connsiteY0" fmla="*/ 2811 h 6560"/>
                  <a:gd name="connsiteX1" fmla="*/ 0 w 6542"/>
                  <a:gd name="connsiteY1" fmla="*/ 6560 h 6560"/>
                  <a:gd name="connsiteX2" fmla="*/ 6543 w 6542"/>
                  <a:gd name="connsiteY2" fmla="*/ 0 h 6560"/>
                  <a:gd name="connsiteX3" fmla="*/ 3745 w 6542"/>
                  <a:gd name="connsiteY3" fmla="*/ 0 h 6560"/>
                  <a:gd name="connsiteX4" fmla="*/ 0 w 6542"/>
                  <a:gd name="connsiteY4" fmla="*/ 2811 h 6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542" h="6560">
                    <a:moveTo>
                      <a:pt x="0" y="2811"/>
                    </a:moveTo>
                    <a:lnTo>
                      <a:pt x="0" y="6560"/>
                    </a:lnTo>
                    <a:cubicBezTo>
                      <a:pt x="3745" y="4686"/>
                      <a:pt x="5618" y="3747"/>
                      <a:pt x="6543" y="0"/>
                    </a:cubicBezTo>
                    <a:lnTo>
                      <a:pt x="3745" y="0"/>
                    </a:lnTo>
                    <a:cubicBezTo>
                      <a:pt x="1873" y="0"/>
                      <a:pt x="0" y="936"/>
                      <a:pt x="0" y="2811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85" name="Freihandform: Form 684">
                <a:extLst>
                  <a:ext uri="{FF2B5EF4-FFF2-40B4-BE49-F238E27FC236}">
                    <a16:creationId xmlns:a16="http://schemas.microsoft.com/office/drawing/2014/main" id="{89D34A9A-77D7-F865-69D6-B1BF92804F8E}"/>
                  </a:ext>
                </a:extLst>
              </p:cNvPr>
              <p:cNvSpPr/>
              <p:nvPr/>
            </p:nvSpPr>
            <p:spPr>
              <a:xfrm>
                <a:off x="5771181" y="3078944"/>
                <a:ext cx="1872" cy="1874"/>
              </a:xfrm>
              <a:custGeom>
                <a:avLst/>
                <a:gdLst>
                  <a:gd name="connsiteX0" fmla="*/ 0 w 1872"/>
                  <a:gd name="connsiteY0" fmla="*/ 1875 h 1874"/>
                  <a:gd name="connsiteX1" fmla="*/ 1873 w 1872"/>
                  <a:gd name="connsiteY1" fmla="*/ 0 h 1874"/>
                  <a:gd name="connsiteX2" fmla="*/ 0 w 1872"/>
                  <a:gd name="connsiteY2" fmla="*/ 0 h 1874"/>
                  <a:gd name="connsiteX3" fmla="*/ 0 w 1872"/>
                  <a:gd name="connsiteY3" fmla="*/ 1875 h 1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72" h="1874">
                    <a:moveTo>
                      <a:pt x="0" y="1875"/>
                    </a:moveTo>
                    <a:cubicBezTo>
                      <a:pt x="1873" y="1875"/>
                      <a:pt x="1873" y="0"/>
                      <a:pt x="1873" y="0"/>
                    </a:cubicBezTo>
                    <a:lnTo>
                      <a:pt x="0" y="0"/>
                    </a:lnTo>
                    <a:lnTo>
                      <a:pt x="0" y="1875"/>
                    </a:ln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86" name="Freihandform: Form 685">
                <a:extLst>
                  <a:ext uri="{FF2B5EF4-FFF2-40B4-BE49-F238E27FC236}">
                    <a16:creationId xmlns:a16="http://schemas.microsoft.com/office/drawing/2014/main" id="{32A8AB9B-0E85-1882-0B40-F7CBAE7BEC01}"/>
                  </a:ext>
                </a:extLst>
              </p:cNvPr>
              <p:cNvSpPr/>
              <p:nvPr/>
            </p:nvSpPr>
            <p:spPr>
              <a:xfrm>
                <a:off x="5836784" y="3078008"/>
                <a:ext cx="3744" cy="3749"/>
              </a:xfrm>
              <a:custGeom>
                <a:avLst/>
                <a:gdLst>
                  <a:gd name="connsiteX0" fmla="*/ 0 w 3744"/>
                  <a:gd name="connsiteY0" fmla="*/ 3749 h 3749"/>
                  <a:gd name="connsiteX1" fmla="*/ 3745 w 3744"/>
                  <a:gd name="connsiteY1" fmla="*/ 0 h 3749"/>
                  <a:gd name="connsiteX2" fmla="*/ 0 w 3744"/>
                  <a:gd name="connsiteY2" fmla="*/ 3749 h 37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744" h="3749">
                    <a:moveTo>
                      <a:pt x="0" y="3749"/>
                    </a:moveTo>
                    <a:cubicBezTo>
                      <a:pt x="2798" y="3749"/>
                      <a:pt x="2798" y="2811"/>
                      <a:pt x="3745" y="0"/>
                    </a:cubicBezTo>
                    <a:cubicBezTo>
                      <a:pt x="925" y="936"/>
                      <a:pt x="0" y="936"/>
                      <a:pt x="0" y="3749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87" name="Freihandform: Form 686">
                <a:extLst>
                  <a:ext uri="{FF2B5EF4-FFF2-40B4-BE49-F238E27FC236}">
                    <a16:creationId xmlns:a16="http://schemas.microsoft.com/office/drawing/2014/main" id="{F73F5E0F-D534-39A6-8864-EA7622712136}"/>
                  </a:ext>
                </a:extLst>
              </p:cNvPr>
              <p:cNvSpPr/>
              <p:nvPr/>
            </p:nvSpPr>
            <p:spPr>
              <a:xfrm>
                <a:off x="5866766" y="3008651"/>
                <a:ext cx="3744" cy="2813"/>
              </a:xfrm>
              <a:custGeom>
                <a:avLst/>
                <a:gdLst>
                  <a:gd name="connsiteX0" fmla="*/ 3745 w 3744"/>
                  <a:gd name="connsiteY0" fmla="*/ 0 h 2813"/>
                  <a:gd name="connsiteX1" fmla="*/ 0 w 3744"/>
                  <a:gd name="connsiteY1" fmla="*/ 2813 h 2813"/>
                  <a:gd name="connsiteX2" fmla="*/ 3745 w 3744"/>
                  <a:gd name="connsiteY2" fmla="*/ 0 h 28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744" h="2813">
                    <a:moveTo>
                      <a:pt x="3745" y="0"/>
                    </a:moveTo>
                    <a:cubicBezTo>
                      <a:pt x="1872" y="0"/>
                      <a:pt x="0" y="0"/>
                      <a:pt x="0" y="2813"/>
                    </a:cubicBezTo>
                    <a:cubicBezTo>
                      <a:pt x="2820" y="2813"/>
                      <a:pt x="2820" y="938"/>
                      <a:pt x="3745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88" name="Freihandform: Form 687">
                <a:extLst>
                  <a:ext uri="{FF2B5EF4-FFF2-40B4-BE49-F238E27FC236}">
                    <a16:creationId xmlns:a16="http://schemas.microsoft.com/office/drawing/2014/main" id="{AAF1A9F2-5ABD-67E2-636F-16D068369BE6}"/>
                  </a:ext>
                </a:extLst>
              </p:cNvPr>
              <p:cNvSpPr/>
              <p:nvPr/>
            </p:nvSpPr>
            <p:spPr>
              <a:xfrm>
                <a:off x="5806780" y="3118308"/>
                <a:ext cx="3767" cy="7498"/>
              </a:xfrm>
              <a:custGeom>
                <a:avLst/>
                <a:gdLst>
                  <a:gd name="connsiteX0" fmla="*/ 0 w 3767"/>
                  <a:gd name="connsiteY0" fmla="*/ 7499 h 7498"/>
                  <a:gd name="connsiteX1" fmla="*/ 3767 w 3767"/>
                  <a:gd name="connsiteY1" fmla="*/ 7499 h 7498"/>
                  <a:gd name="connsiteX2" fmla="*/ 3767 w 3767"/>
                  <a:gd name="connsiteY2" fmla="*/ 0 h 7498"/>
                  <a:gd name="connsiteX3" fmla="*/ 0 w 3767"/>
                  <a:gd name="connsiteY3" fmla="*/ 7499 h 7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767" h="7498">
                    <a:moveTo>
                      <a:pt x="0" y="7499"/>
                    </a:moveTo>
                    <a:lnTo>
                      <a:pt x="3767" y="7499"/>
                    </a:lnTo>
                    <a:lnTo>
                      <a:pt x="3767" y="0"/>
                    </a:lnTo>
                    <a:cubicBezTo>
                      <a:pt x="0" y="938"/>
                      <a:pt x="0" y="3749"/>
                      <a:pt x="0" y="7499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89" name="Freihandform: Form 688">
                <a:extLst>
                  <a:ext uri="{FF2B5EF4-FFF2-40B4-BE49-F238E27FC236}">
                    <a16:creationId xmlns:a16="http://schemas.microsoft.com/office/drawing/2014/main" id="{F49F3F24-B395-E3B2-CB43-B322A1EC39FB}"/>
                  </a:ext>
                </a:extLst>
              </p:cNvPr>
              <p:cNvSpPr/>
              <p:nvPr/>
            </p:nvSpPr>
            <p:spPr>
              <a:xfrm>
                <a:off x="5773979" y="3085505"/>
                <a:ext cx="2819" cy="2813"/>
              </a:xfrm>
              <a:custGeom>
                <a:avLst/>
                <a:gdLst>
                  <a:gd name="connsiteX0" fmla="*/ 0 w 2819"/>
                  <a:gd name="connsiteY0" fmla="*/ 2813 h 2813"/>
                  <a:gd name="connsiteX1" fmla="*/ 2820 w 2819"/>
                  <a:gd name="connsiteY1" fmla="*/ 0 h 2813"/>
                  <a:gd name="connsiteX2" fmla="*/ 0 w 2819"/>
                  <a:gd name="connsiteY2" fmla="*/ 2813 h 28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819" h="2813">
                    <a:moveTo>
                      <a:pt x="0" y="2813"/>
                    </a:moveTo>
                    <a:cubicBezTo>
                      <a:pt x="947" y="2813"/>
                      <a:pt x="2820" y="938"/>
                      <a:pt x="2820" y="0"/>
                    </a:cubicBezTo>
                    <a:cubicBezTo>
                      <a:pt x="947" y="0"/>
                      <a:pt x="0" y="938"/>
                      <a:pt x="0" y="2813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90" name="Freihandform: Form 689">
                <a:extLst>
                  <a:ext uri="{FF2B5EF4-FFF2-40B4-BE49-F238E27FC236}">
                    <a16:creationId xmlns:a16="http://schemas.microsoft.com/office/drawing/2014/main" id="{AAD5057C-CB03-542E-63AD-CE89874FC2C9}"/>
                  </a:ext>
                </a:extLst>
              </p:cNvPr>
              <p:cNvSpPr/>
              <p:nvPr/>
            </p:nvSpPr>
            <p:spPr>
              <a:xfrm>
                <a:off x="5623101" y="3246710"/>
                <a:ext cx="10309" cy="9211"/>
              </a:xfrm>
              <a:custGeom>
                <a:avLst/>
                <a:gdLst>
                  <a:gd name="connsiteX0" fmla="*/ 7490 w 10309"/>
                  <a:gd name="connsiteY0" fmla="*/ 6560 h 9211"/>
                  <a:gd name="connsiteX1" fmla="*/ 10310 w 10309"/>
                  <a:gd name="connsiteY1" fmla="*/ 0 h 9211"/>
                  <a:gd name="connsiteX2" fmla="*/ 2798 w 10309"/>
                  <a:gd name="connsiteY2" fmla="*/ 0 h 9211"/>
                  <a:gd name="connsiteX3" fmla="*/ 0 w 10309"/>
                  <a:gd name="connsiteY3" fmla="*/ 6560 h 9211"/>
                  <a:gd name="connsiteX4" fmla="*/ 0 w 10309"/>
                  <a:gd name="connsiteY4" fmla="*/ 8435 h 9211"/>
                  <a:gd name="connsiteX5" fmla="*/ 7490 w 10309"/>
                  <a:gd name="connsiteY5" fmla="*/ 6560 h 92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309" h="9211">
                    <a:moveTo>
                      <a:pt x="7490" y="6560"/>
                    </a:moveTo>
                    <a:cubicBezTo>
                      <a:pt x="8415" y="4688"/>
                      <a:pt x="10310" y="2813"/>
                      <a:pt x="10310" y="0"/>
                    </a:cubicBezTo>
                    <a:lnTo>
                      <a:pt x="2798" y="0"/>
                    </a:lnTo>
                    <a:cubicBezTo>
                      <a:pt x="2798" y="2813"/>
                      <a:pt x="2798" y="4688"/>
                      <a:pt x="0" y="6560"/>
                    </a:cubicBezTo>
                    <a:lnTo>
                      <a:pt x="0" y="8435"/>
                    </a:lnTo>
                    <a:cubicBezTo>
                      <a:pt x="2798" y="10310"/>
                      <a:pt x="4670" y="8435"/>
                      <a:pt x="7490" y="6560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91" name="Freihandform: Form 690">
                <a:extLst>
                  <a:ext uri="{FF2B5EF4-FFF2-40B4-BE49-F238E27FC236}">
                    <a16:creationId xmlns:a16="http://schemas.microsoft.com/office/drawing/2014/main" id="{46BD3CCF-DCAF-2AED-B172-124997C1DA78}"/>
                  </a:ext>
                </a:extLst>
              </p:cNvPr>
              <p:cNvSpPr/>
              <p:nvPr/>
            </p:nvSpPr>
            <p:spPr>
              <a:xfrm>
                <a:off x="5773054" y="3078008"/>
                <a:ext cx="925" cy="936"/>
              </a:xfrm>
              <a:custGeom>
                <a:avLst/>
                <a:gdLst>
                  <a:gd name="connsiteX0" fmla="*/ 0 w 925"/>
                  <a:gd name="connsiteY0" fmla="*/ 936 h 936"/>
                  <a:gd name="connsiteX1" fmla="*/ 925 w 925"/>
                  <a:gd name="connsiteY1" fmla="*/ 0 h 936"/>
                  <a:gd name="connsiteX2" fmla="*/ 0 w 925"/>
                  <a:gd name="connsiteY2" fmla="*/ 0 h 936"/>
                  <a:gd name="connsiteX3" fmla="*/ 0 w 925"/>
                  <a:gd name="connsiteY3" fmla="*/ 936 h 9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25" h="936">
                    <a:moveTo>
                      <a:pt x="0" y="936"/>
                    </a:moveTo>
                    <a:lnTo>
                      <a:pt x="925" y="0"/>
                    </a:lnTo>
                    <a:lnTo>
                      <a:pt x="0" y="0"/>
                    </a:lnTo>
                    <a:lnTo>
                      <a:pt x="0" y="936"/>
                    </a:ln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92" name="Freihandform: Form 691">
                <a:extLst>
                  <a:ext uri="{FF2B5EF4-FFF2-40B4-BE49-F238E27FC236}">
                    <a16:creationId xmlns:a16="http://schemas.microsoft.com/office/drawing/2014/main" id="{1C75057E-20C9-0BAC-C78F-7C940D653802}"/>
                  </a:ext>
                </a:extLst>
              </p:cNvPr>
              <p:cNvSpPr/>
              <p:nvPr/>
            </p:nvSpPr>
            <p:spPr>
              <a:xfrm>
                <a:off x="5625899" y="3218594"/>
                <a:ext cx="27184" cy="27505"/>
              </a:xfrm>
              <a:custGeom>
                <a:avLst/>
                <a:gdLst>
                  <a:gd name="connsiteX0" fmla="*/ 7512 w 27184"/>
                  <a:gd name="connsiteY0" fmla="*/ 24367 h 27505"/>
                  <a:gd name="connsiteX1" fmla="*/ 7512 w 27184"/>
                  <a:gd name="connsiteY1" fmla="*/ 27179 h 27505"/>
                  <a:gd name="connsiteX2" fmla="*/ 19694 w 27184"/>
                  <a:gd name="connsiteY2" fmla="*/ 22494 h 27505"/>
                  <a:gd name="connsiteX3" fmla="*/ 26237 w 27184"/>
                  <a:gd name="connsiteY3" fmla="*/ 16870 h 27505"/>
                  <a:gd name="connsiteX4" fmla="*/ 27184 w 27184"/>
                  <a:gd name="connsiteY4" fmla="*/ 10310 h 27505"/>
                  <a:gd name="connsiteX5" fmla="*/ 23439 w 27184"/>
                  <a:gd name="connsiteY5" fmla="*/ 6560 h 27505"/>
                  <a:gd name="connsiteX6" fmla="*/ 23439 w 27184"/>
                  <a:gd name="connsiteY6" fmla="*/ 0 h 27505"/>
                  <a:gd name="connsiteX7" fmla="*/ 12182 w 27184"/>
                  <a:gd name="connsiteY7" fmla="*/ 9371 h 27505"/>
                  <a:gd name="connsiteX8" fmla="*/ 3745 w 27184"/>
                  <a:gd name="connsiteY8" fmla="*/ 16870 h 27505"/>
                  <a:gd name="connsiteX9" fmla="*/ 0 w 27184"/>
                  <a:gd name="connsiteY9" fmla="*/ 24367 h 27505"/>
                  <a:gd name="connsiteX10" fmla="*/ 4692 w 27184"/>
                  <a:gd name="connsiteY10" fmla="*/ 21556 h 27505"/>
                  <a:gd name="connsiteX11" fmla="*/ 7512 w 27184"/>
                  <a:gd name="connsiteY11" fmla="*/ 24367 h 27505"/>
                  <a:gd name="connsiteX12" fmla="*/ 23439 w 27184"/>
                  <a:gd name="connsiteY12" fmla="*/ 7497 h 27505"/>
                  <a:gd name="connsiteX13" fmla="*/ 22492 w 27184"/>
                  <a:gd name="connsiteY13" fmla="*/ 9371 h 27505"/>
                  <a:gd name="connsiteX14" fmla="*/ 20619 w 27184"/>
                  <a:gd name="connsiteY14" fmla="*/ 9371 h 27505"/>
                  <a:gd name="connsiteX15" fmla="*/ 23439 w 27184"/>
                  <a:gd name="connsiteY15" fmla="*/ 7497 h 27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7184" h="27505">
                    <a:moveTo>
                      <a:pt x="7512" y="24367"/>
                    </a:moveTo>
                    <a:lnTo>
                      <a:pt x="7512" y="27179"/>
                    </a:lnTo>
                    <a:cubicBezTo>
                      <a:pt x="12182" y="28116"/>
                      <a:pt x="15927" y="27179"/>
                      <a:pt x="19694" y="22494"/>
                    </a:cubicBezTo>
                    <a:cubicBezTo>
                      <a:pt x="20619" y="20619"/>
                      <a:pt x="23439" y="18745"/>
                      <a:pt x="26237" y="16870"/>
                    </a:cubicBezTo>
                    <a:cubicBezTo>
                      <a:pt x="27184" y="14057"/>
                      <a:pt x="27184" y="13120"/>
                      <a:pt x="27184" y="10310"/>
                    </a:cubicBezTo>
                    <a:lnTo>
                      <a:pt x="23439" y="6560"/>
                    </a:lnTo>
                    <a:lnTo>
                      <a:pt x="23439" y="0"/>
                    </a:lnTo>
                    <a:cubicBezTo>
                      <a:pt x="18747" y="2811"/>
                      <a:pt x="15002" y="3749"/>
                      <a:pt x="12182" y="9371"/>
                    </a:cubicBezTo>
                    <a:cubicBezTo>
                      <a:pt x="8437" y="11246"/>
                      <a:pt x="5618" y="14057"/>
                      <a:pt x="3745" y="16870"/>
                    </a:cubicBezTo>
                    <a:cubicBezTo>
                      <a:pt x="947" y="18745"/>
                      <a:pt x="0" y="20619"/>
                      <a:pt x="0" y="24367"/>
                    </a:cubicBezTo>
                    <a:cubicBezTo>
                      <a:pt x="947" y="22494"/>
                      <a:pt x="3745" y="22494"/>
                      <a:pt x="4692" y="21556"/>
                    </a:cubicBezTo>
                    <a:cubicBezTo>
                      <a:pt x="5309" y="21556"/>
                      <a:pt x="6256" y="22492"/>
                      <a:pt x="7512" y="24367"/>
                    </a:cubicBezTo>
                    <a:close/>
                    <a:moveTo>
                      <a:pt x="23439" y="7497"/>
                    </a:moveTo>
                    <a:cubicBezTo>
                      <a:pt x="23439" y="7497"/>
                      <a:pt x="23439" y="9371"/>
                      <a:pt x="22492" y="9371"/>
                    </a:cubicBezTo>
                    <a:lnTo>
                      <a:pt x="20619" y="9371"/>
                    </a:lnTo>
                    <a:cubicBezTo>
                      <a:pt x="20619" y="7497"/>
                      <a:pt x="22492" y="6560"/>
                      <a:pt x="23439" y="7497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93" name="Freihandform: Form 692">
                <a:extLst>
                  <a:ext uri="{FF2B5EF4-FFF2-40B4-BE49-F238E27FC236}">
                    <a16:creationId xmlns:a16="http://schemas.microsoft.com/office/drawing/2014/main" id="{CC7BF009-6CB0-C6D8-14BE-C8B61925A586}"/>
                  </a:ext>
                </a:extLst>
              </p:cNvPr>
              <p:cNvSpPr/>
              <p:nvPr/>
            </p:nvSpPr>
            <p:spPr>
              <a:xfrm>
                <a:off x="5880820" y="2998342"/>
                <a:ext cx="2819" cy="2810"/>
              </a:xfrm>
              <a:custGeom>
                <a:avLst/>
                <a:gdLst>
                  <a:gd name="connsiteX0" fmla="*/ 2820 w 2819"/>
                  <a:gd name="connsiteY0" fmla="*/ 0 h 2810"/>
                  <a:gd name="connsiteX1" fmla="*/ 0 w 2819"/>
                  <a:gd name="connsiteY1" fmla="*/ 2811 h 2810"/>
                  <a:gd name="connsiteX2" fmla="*/ 2820 w 2819"/>
                  <a:gd name="connsiteY2" fmla="*/ 0 h 28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819" h="2810">
                    <a:moveTo>
                      <a:pt x="2820" y="0"/>
                    </a:moveTo>
                    <a:cubicBezTo>
                      <a:pt x="947" y="0"/>
                      <a:pt x="0" y="1875"/>
                      <a:pt x="0" y="2811"/>
                    </a:cubicBezTo>
                    <a:cubicBezTo>
                      <a:pt x="947" y="2811"/>
                      <a:pt x="2820" y="1875"/>
                      <a:pt x="282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94" name="Freihandform: Form 693">
                <a:extLst>
                  <a:ext uri="{FF2B5EF4-FFF2-40B4-BE49-F238E27FC236}">
                    <a16:creationId xmlns:a16="http://schemas.microsoft.com/office/drawing/2014/main" id="{5FEEC64B-356D-98B0-E855-5F6D8348E87A}"/>
                  </a:ext>
                </a:extLst>
              </p:cNvPr>
              <p:cNvSpPr/>
              <p:nvPr/>
            </p:nvSpPr>
            <p:spPr>
              <a:xfrm>
                <a:off x="5649338" y="3203596"/>
                <a:ext cx="15926" cy="14995"/>
              </a:xfrm>
              <a:custGeom>
                <a:avLst/>
                <a:gdLst>
                  <a:gd name="connsiteX0" fmla="*/ 14054 w 15926"/>
                  <a:gd name="connsiteY0" fmla="*/ 6562 h 14995"/>
                  <a:gd name="connsiteX1" fmla="*/ 15927 w 15926"/>
                  <a:gd name="connsiteY1" fmla="*/ 2813 h 14995"/>
                  <a:gd name="connsiteX2" fmla="*/ 15927 w 15926"/>
                  <a:gd name="connsiteY2" fmla="*/ 1877 h 14995"/>
                  <a:gd name="connsiteX3" fmla="*/ 14980 w 15926"/>
                  <a:gd name="connsiteY3" fmla="*/ 0 h 14995"/>
                  <a:gd name="connsiteX4" fmla="*/ 0 w 15926"/>
                  <a:gd name="connsiteY4" fmla="*/ 14059 h 14995"/>
                  <a:gd name="connsiteX5" fmla="*/ 0 w 15926"/>
                  <a:gd name="connsiteY5" fmla="*/ 14995 h 14995"/>
                  <a:gd name="connsiteX6" fmla="*/ 6564 w 15926"/>
                  <a:gd name="connsiteY6" fmla="*/ 14995 h 14995"/>
                  <a:gd name="connsiteX7" fmla="*/ 14054 w 15926"/>
                  <a:gd name="connsiteY7" fmla="*/ 6562 h 149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926" h="14995">
                    <a:moveTo>
                      <a:pt x="14054" y="6562"/>
                    </a:moveTo>
                    <a:cubicBezTo>
                      <a:pt x="14980" y="5624"/>
                      <a:pt x="14980" y="3749"/>
                      <a:pt x="15927" y="2813"/>
                    </a:cubicBezTo>
                    <a:lnTo>
                      <a:pt x="15927" y="1877"/>
                    </a:lnTo>
                    <a:lnTo>
                      <a:pt x="14980" y="0"/>
                    </a:lnTo>
                    <a:cubicBezTo>
                      <a:pt x="8437" y="3749"/>
                      <a:pt x="4692" y="9373"/>
                      <a:pt x="0" y="14059"/>
                    </a:cubicBezTo>
                    <a:lnTo>
                      <a:pt x="0" y="14995"/>
                    </a:lnTo>
                    <a:lnTo>
                      <a:pt x="6564" y="14995"/>
                    </a:lnTo>
                    <a:cubicBezTo>
                      <a:pt x="7490" y="11248"/>
                      <a:pt x="11235" y="9373"/>
                      <a:pt x="14054" y="6562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95" name="Freihandform: Form 694">
                <a:extLst>
                  <a:ext uri="{FF2B5EF4-FFF2-40B4-BE49-F238E27FC236}">
                    <a16:creationId xmlns:a16="http://schemas.microsoft.com/office/drawing/2014/main" id="{AB3DB6DA-924D-B908-9C6E-5CD62C2C4A0C}"/>
                  </a:ext>
                </a:extLst>
              </p:cNvPr>
              <p:cNvSpPr/>
              <p:nvPr/>
            </p:nvSpPr>
            <p:spPr>
              <a:xfrm>
                <a:off x="5822729" y="3081758"/>
                <a:ext cx="14054" cy="19680"/>
              </a:xfrm>
              <a:custGeom>
                <a:avLst/>
                <a:gdLst>
                  <a:gd name="connsiteX0" fmla="*/ 2798 w 14054"/>
                  <a:gd name="connsiteY0" fmla="*/ 10310 h 19680"/>
                  <a:gd name="connsiteX1" fmla="*/ 0 w 14054"/>
                  <a:gd name="connsiteY1" fmla="*/ 17806 h 19680"/>
                  <a:gd name="connsiteX2" fmla="*/ 1873 w 14054"/>
                  <a:gd name="connsiteY2" fmla="*/ 19681 h 19680"/>
                  <a:gd name="connsiteX3" fmla="*/ 13107 w 14054"/>
                  <a:gd name="connsiteY3" fmla="*/ 4686 h 19680"/>
                  <a:gd name="connsiteX4" fmla="*/ 14055 w 14054"/>
                  <a:gd name="connsiteY4" fmla="*/ 0 h 19680"/>
                  <a:gd name="connsiteX5" fmla="*/ 2798 w 14054"/>
                  <a:gd name="connsiteY5" fmla="*/ 10310 h 19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4054" h="19680">
                    <a:moveTo>
                      <a:pt x="2798" y="10310"/>
                    </a:moveTo>
                    <a:cubicBezTo>
                      <a:pt x="1873" y="11246"/>
                      <a:pt x="0" y="14057"/>
                      <a:pt x="0" y="17806"/>
                    </a:cubicBezTo>
                    <a:cubicBezTo>
                      <a:pt x="0" y="17806"/>
                      <a:pt x="0" y="18745"/>
                      <a:pt x="1873" y="19681"/>
                    </a:cubicBezTo>
                    <a:cubicBezTo>
                      <a:pt x="3745" y="15931"/>
                      <a:pt x="11235" y="7497"/>
                      <a:pt x="13107" y="4686"/>
                    </a:cubicBezTo>
                    <a:cubicBezTo>
                      <a:pt x="14055" y="3747"/>
                      <a:pt x="14055" y="936"/>
                      <a:pt x="14055" y="0"/>
                    </a:cubicBezTo>
                    <a:cubicBezTo>
                      <a:pt x="9362" y="2811"/>
                      <a:pt x="6543" y="6560"/>
                      <a:pt x="2798" y="10310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96" name="Freihandform: Form 695">
                <a:extLst>
                  <a:ext uri="{FF2B5EF4-FFF2-40B4-BE49-F238E27FC236}">
                    <a16:creationId xmlns:a16="http://schemas.microsoft.com/office/drawing/2014/main" id="{2F2CBD70-DAFD-E817-E703-0703338D219A}"/>
                  </a:ext>
                </a:extLst>
              </p:cNvPr>
              <p:cNvSpPr/>
              <p:nvPr/>
            </p:nvSpPr>
            <p:spPr>
              <a:xfrm>
                <a:off x="5729943" y="3228903"/>
                <a:ext cx="6564" cy="8435"/>
              </a:xfrm>
              <a:custGeom>
                <a:avLst/>
                <a:gdLst>
                  <a:gd name="connsiteX0" fmla="*/ 0 w 6564"/>
                  <a:gd name="connsiteY0" fmla="*/ 6560 h 8435"/>
                  <a:gd name="connsiteX1" fmla="*/ 925 w 6564"/>
                  <a:gd name="connsiteY1" fmla="*/ 8435 h 8435"/>
                  <a:gd name="connsiteX2" fmla="*/ 2798 w 6564"/>
                  <a:gd name="connsiteY2" fmla="*/ 8435 h 8435"/>
                  <a:gd name="connsiteX3" fmla="*/ 6564 w 6564"/>
                  <a:gd name="connsiteY3" fmla="*/ 0 h 8435"/>
                  <a:gd name="connsiteX4" fmla="*/ 0 w 6564"/>
                  <a:gd name="connsiteY4" fmla="*/ 6560 h 84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564" h="8435">
                    <a:moveTo>
                      <a:pt x="0" y="6560"/>
                    </a:moveTo>
                    <a:cubicBezTo>
                      <a:pt x="0" y="7497"/>
                      <a:pt x="925" y="8435"/>
                      <a:pt x="925" y="8435"/>
                    </a:cubicBezTo>
                    <a:lnTo>
                      <a:pt x="2798" y="8435"/>
                    </a:lnTo>
                    <a:cubicBezTo>
                      <a:pt x="6564" y="6560"/>
                      <a:pt x="6564" y="3747"/>
                      <a:pt x="6564" y="0"/>
                    </a:cubicBezTo>
                    <a:cubicBezTo>
                      <a:pt x="3745" y="936"/>
                      <a:pt x="925" y="3747"/>
                      <a:pt x="0" y="6560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97" name="Freihandform: Form 696">
                <a:extLst>
                  <a:ext uri="{FF2B5EF4-FFF2-40B4-BE49-F238E27FC236}">
                    <a16:creationId xmlns:a16="http://schemas.microsoft.com/office/drawing/2014/main" id="{3E14DA45-B2D9-DA8D-4658-0E6F89A2B168}"/>
                  </a:ext>
                </a:extLst>
              </p:cNvPr>
              <p:cNvSpPr/>
              <p:nvPr/>
            </p:nvSpPr>
            <p:spPr>
              <a:xfrm>
                <a:off x="5736507" y="3222343"/>
                <a:ext cx="3745" cy="6560"/>
              </a:xfrm>
              <a:custGeom>
                <a:avLst/>
                <a:gdLst>
                  <a:gd name="connsiteX0" fmla="*/ 0 w 3745"/>
                  <a:gd name="connsiteY0" fmla="*/ 6560 h 6560"/>
                  <a:gd name="connsiteX1" fmla="*/ 3745 w 3745"/>
                  <a:gd name="connsiteY1" fmla="*/ 2811 h 6560"/>
                  <a:gd name="connsiteX2" fmla="*/ 3745 w 3745"/>
                  <a:gd name="connsiteY2" fmla="*/ 0 h 6560"/>
                  <a:gd name="connsiteX3" fmla="*/ 0 w 3745"/>
                  <a:gd name="connsiteY3" fmla="*/ 6560 h 6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745" h="6560">
                    <a:moveTo>
                      <a:pt x="0" y="6560"/>
                    </a:moveTo>
                    <a:cubicBezTo>
                      <a:pt x="1873" y="6560"/>
                      <a:pt x="3745" y="5622"/>
                      <a:pt x="3745" y="2811"/>
                    </a:cubicBezTo>
                    <a:lnTo>
                      <a:pt x="3745" y="0"/>
                    </a:lnTo>
                    <a:cubicBezTo>
                      <a:pt x="0" y="1872"/>
                      <a:pt x="0" y="3747"/>
                      <a:pt x="0" y="6560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98" name="Freihandform: Form 697">
                <a:extLst>
                  <a:ext uri="{FF2B5EF4-FFF2-40B4-BE49-F238E27FC236}">
                    <a16:creationId xmlns:a16="http://schemas.microsoft.com/office/drawing/2014/main" id="{D7975CC4-B40C-A693-7AAE-424A56666531}"/>
                  </a:ext>
                </a:extLst>
              </p:cNvPr>
              <p:cNvSpPr/>
              <p:nvPr/>
            </p:nvSpPr>
            <p:spPr>
              <a:xfrm>
                <a:off x="5870511" y="3004904"/>
                <a:ext cx="2819" cy="2810"/>
              </a:xfrm>
              <a:custGeom>
                <a:avLst/>
                <a:gdLst>
                  <a:gd name="connsiteX0" fmla="*/ 2820 w 2819"/>
                  <a:gd name="connsiteY0" fmla="*/ 0 h 2810"/>
                  <a:gd name="connsiteX1" fmla="*/ 0 w 2819"/>
                  <a:gd name="connsiteY1" fmla="*/ 2811 h 2810"/>
                  <a:gd name="connsiteX2" fmla="*/ 2820 w 2819"/>
                  <a:gd name="connsiteY2" fmla="*/ 0 h 28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819" h="2810">
                    <a:moveTo>
                      <a:pt x="2820" y="0"/>
                    </a:moveTo>
                    <a:cubicBezTo>
                      <a:pt x="1894" y="0"/>
                      <a:pt x="0" y="936"/>
                      <a:pt x="0" y="2811"/>
                    </a:cubicBezTo>
                    <a:cubicBezTo>
                      <a:pt x="1894" y="2811"/>
                      <a:pt x="2820" y="936"/>
                      <a:pt x="282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99" name="Freihandform: Form 698">
                <a:extLst>
                  <a:ext uri="{FF2B5EF4-FFF2-40B4-BE49-F238E27FC236}">
                    <a16:creationId xmlns:a16="http://schemas.microsoft.com/office/drawing/2014/main" id="{4B7B9E3C-CCE7-676E-E344-2F5FF87777BC}"/>
                  </a:ext>
                </a:extLst>
              </p:cNvPr>
              <p:cNvSpPr/>
              <p:nvPr/>
            </p:nvSpPr>
            <p:spPr>
              <a:xfrm>
                <a:off x="5868638" y="2998342"/>
                <a:ext cx="947" cy="1874"/>
              </a:xfrm>
              <a:custGeom>
                <a:avLst/>
                <a:gdLst>
                  <a:gd name="connsiteX0" fmla="*/ 0 w 947"/>
                  <a:gd name="connsiteY0" fmla="*/ 0 h 1874"/>
                  <a:gd name="connsiteX1" fmla="*/ 0 w 947"/>
                  <a:gd name="connsiteY1" fmla="*/ 1875 h 1874"/>
                  <a:gd name="connsiteX2" fmla="*/ 947 w 947"/>
                  <a:gd name="connsiteY2" fmla="*/ 1875 h 1874"/>
                  <a:gd name="connsiteX3" fmla="*/ 0 w 947"/>
                  <a:gd name="connsiteY3" fmla="*/ 0 h 1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47" h="1874">
                    <a:moveTo>
                      <a:pt x="0" y="0"/>
                    </a:moveTo>
                    <a:lnTo>
                      <a:pt x="0" y="1875"/>
                    </a:lnTo>
                    <a:lnTo>
                      <a:pt x="947" y="187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00" name="Freihandform: Form 699">
                <a:extLst>
                  <a:ext uri="{FF2B5EF4-FFF2-40B4-BE49-F238E27FC236}">
                    <a16:creationId xmlns:a16="http://schemas.microsoft.com/office/drawing/2014/main" id="{2928E034-A173-AD08-EFC1-521C965FED27}"/>
                  </a:ext>
                </a:extLst>
              </p:cNvPr>
              <p:cNvSpPr/>
              <p:nvPr/>
            </p:nvSpPr>
            <p:spPr>
              <a:xfrm>
                <a:off x="5796470" y="3132367"/>
                <a:ext cx="3767" cy="4685"/>
              </a:xfrm>
              <a:custGeom>
                <a:avLst/>
                <a:gdLst>
                  <a:gd name="connsiteX0" fmla="*/ 0 w 3767"/>
                  <a:gd name="connsiteY0" fmla="*/ 1875 h 4685"/>
                  <a:gd name="connsiteX1" fmla="*/ 947 w 3767"/>
                  <a:gd name="connsiteY1" fmla="*/ 4686 h 4685"/>
                  <a:gd name="connsiteX2" fmla="*/ 2820 w 3767"/>
                  <a:gd name="connsiteY2" fmla="*/ 4686 h 4685"/>
                  <a:gd name="connsiteX3" fmla="*/ 3767 w 3767"/>
                  <a:gd name="connsiteY3" fmla="*/ 0 h 4685"/>
                  <a:gd name="connsiteX4" fmla="*/ 0 w 3767"/>
                  <a:gd name="connsiteY4" fmla="*/ 1875 h 46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767" h="4685">
                    <a:moveTo>
                      <a:pt x="0" y="1875"/>
                    </a:moveTo>
                    <a:cubicBezTo>
                      <a:pt x="0" y="3749"/>
                      <a:pt x="947" y="4686"/>
                      <a:pt x="947" y="4686"/>
                    </a:cubicBezTo>
                    <a:lnTo>
                      <a:pt x="2820" y="4686"/>
                    </a:lnTo>
                    <a:cubicBezTo>
                      <a:pt x="3767" y="1875"/>
                      <a:pt x="3767" y="938"/>
                      <a:pt x="3767" y="0"/>
                    </a:cubicBezTo>
                    <a:cubicBezTo>
                      <a:pt x="947" y="0"/>
                      <a:pt x="947" y="938"/>
                      <a:pt x="0" y="1875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01" name="Freihandform: Form 700">
                <a:extLst>
                  <a:ext uri="{FF2B5EF4-FFF2-40B4-BE49-F238E27FC236}">
                    <a16:creationId xmlns:a16="http://schemas.microsoft.com/office/drawing/2014/main" id="{E22267EA-2A05-57B2-17DC-2836FC6AE753}"/>
                  </a:ext>
                </a:extLst>
              </p:cNvPr>
              <p:cNvSpPr/>
              <p:nvPr/>
            </p:nvSpPr>
            <p:spPr>
              <a:xfrm>
                <a:off x="5723188" y="3257019"/>
                <a:ext cx="9551" cy="15933"/>
              </a:xfrm>
              <a:custGeom>
                <a:avLst/>
                <a:gdLst>
                  <a:gd name="connsiteX0" fmla="*/ 9552 w 9551"/>
                  <a:gd name="connsiteY0" fmla="*/ 5624 h 15933"/>
                  <a:gd name="connsiteX1" fmla="*/ 9552 w 9551"/>
                  <a:gd name="connsiteY1" fmla="*/ 938 h 15933"/>
                  <a:gd name="connsiteX2" fmla="*/ 7679 w 9551"/>
                  <a:gd name="connsiteY2" fmla="*/ 0 h 15933"/>
                  <a:gd name="connsiteX3" fmla="*/ 3934 w 9551"/>
                  <a:gd name="connsiteY3" fmla="*/ 938 h 15933"/>
                  <a:gd name="connsiteX4" fmla="*/ 189 w 9551"/>
                  <a:gd name="connsiteY4" fmla="*/ 15934 h 15933"/>
                  <a:gd name="connsiteX5" fmla="*/ 2987 w 9551"/>
                  <a:gd name="connsiteY5" fmla="*/ 15934 h 15933"/>
                  <a:gd name="connsiteX6" fmla="*/ 9552 w 9551"/>
                  <a:gd name="connsiteY6" fmla="*/ 5624 h 15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551" h="15933">
                    <a:moveTo>
                      <a:pt x="9552" y="5624"/>
                    </a:moveTo>
                    <a:lnTo>
                      <a:pt x="9552" y="938"/>
                    </a:lnTo>
                    <a:lnTo>
                      <a:pt x="7679" y="0"/>
                    </a:lnTo>
                    <a:cubicBezTo>
                      <a:pt x="6754" y="0"/>
                      <a:pt x="5807" y="0"/>
                      <a:pt x="3934" y="938"/>
                    </a:cubicBezTo>
                    <a:cubicBezTo>
                      <a:pt x="2062" y="4688"/>
                      <a:pt x="-758" y="9373"/>
                      <a:pt x="189" y="15934"/>
                    </a:cubicBezTo>
                    <a:lnTo>
                      <a:pt x="2987" y="15934"/>
                    </a:lnTo>
                    <a:cubicBezTo>
                      <a:pt x="2987" y="11248"/>
                      <a:pt x="5807" y="7499"/>
                      <a:pt x="9552" y="5624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02" name="Freihandform: Form 701">
                <a:extLst>
                  <a:ext uri="{FF2B5EF4-FFF2-40B4-BE49-F238E27FC236}">
                    <a16:creationId xmlns:a16="http://schemas.microsoft.com/office/drawing/2014/main" id="{9057FFD8-DA0B-5119-9850-44ABE54E8A69}"/>
                  </a:ext>
                </a:extLst>
              </p:cNvPr>
              <p:cNvSpPr/>
              <p:nvPr/>
            </p:nvSpPr>
            <p:spPr>
              <a:xfrm>
                <a:off x="5873330" y="3001153"/>
                <a:ext cx="6564" cy="3751"/>
              </a:xfrm>
              <a:custGeom>
                <a:avLst/>
                <a:gdLst>
                  <a:gd name="connsiteX0" fmla="*/ 6564 w 6564"/>
                  <a:gd name="connsiteY0" fmla="*/ 0 h 3751"/>
                  <a:gd name="connsiteX1" fmla="*/ 0 w 6564"/>
                  <a:gd name="connsiteY1" fmla="*/ 3751 h 3751"/>
                  <a:gd name="connsiteX2" fmla="*/ 2820 w 6564"/>
                  <a:gd name="connsiteY2" fmla="*/ 3751 h 3751"/>
                  <a:gd name="connsiteX3" fmla="*/ 6564 w 6564"/>
                  <a:gd name="connsiteY3" fmla="*/ 0 h 37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564" h="3751">
                    <a:moveTo>
                      <a:pt x="6564" y="0"/>
                    </a:moveTo>
                    <a:cubicBezTo>
                      <a:pt x="3745" y="0"/>
                      <a:pt x="947" y="0"/>
                      <a:pt x="0" y="3751"/>
                    </a:cubicBezTo>
                    <a:lnTo>
                      <a:pt x="2820" y="3751"/>
                    </a:lnTo>
                    <a:cubicBezTo>
                      <a:pt x="4692" y="3751"/>
                      <a:pt x="6564" y="2813"/>
                      <a:pt x="6564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03" name="Freihandform: Form 702">
                <a:extLst>
                  <a:ext uri="{FF2B5EF4-FFF2-40B4-BE49-F238E27FC236}">
                    <a16:creationId xmlns:a16="http://schemas.microsoft.com/office/drawing/2014/main" id="{6AA4E29B-6AF0-C4CE-01DA-42E0E4BA4E27}"/>
                  </a:ext>
                </a:extLst>
              </p:cNvPr>
              <p:cNvSpPr/>
              <p:nvPr/>
            </p:nvSpPr>
            <p:spPr>
              <a:xfrm>
                <a:off x="5740252" y="3209221"/>
                <a:ext cx="9362" cy="13122"/>
              </a:xfrm>
              <a:custGeom>
                <a:avLst/>
                <a:gdLst>
                  <a:gd name="connsiteX0" fmla="*/ 3745 w 9362"/>
                  <a:gd name="connsiteY0" fmla="*/ 4686 h 13122"/>
                  <a:gd name="connsiteX1" fmla="*/ 0 w 9362"/>
                  <a:gd name="connsiteY1" fmla="*/ 13123 h 13122"/>
                  <a:gd name="connsiteX2" fmla="*/ 3745 w 9362"/>
                  <a:gd name="connsiteY2" fmla="*/ 11246 h 13122"/>
                  <a:gd name="connsiteX3" fmla="*/ 9362 w 9362"/>
                  <a:gd name="connsiteY3" fmla="*/ 5624 h 13122"/>
                  <a:gd name="connsiteX4" fmla="*/ 9362 w 9362"/>
                  <a:gd name="connsiteY4" fmla="*/ 0 h 13122"/>
                  <a:gd name="connsiteX5" fmla="*/ 3745 w 9362"/>
                  <a:gd name="connsiteY5" fmla="*/ 4686 h 131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362" h="13122">
                    <a:moveTo>
                      <a:pt x="3745" y="4686"/>
                    </a:moveTo>
                    <a:cubicBezTo>
                      <a:pt x="925" y="7499"/>
                      <a:pt x="0" y="9373"/>
                      <a:pt x="0" y="13123"/>
                    </a:cubicBezTo>
                    <a:cubicBezTo>
                      <a:pt x="925" y="13123"/>
                      <a:pt x="1872" y="12184"/>
                      <a:pt x="3745" y="11246"/>
                    </a:cubicBezTo>
                    <a:cubicBezTo>
                      <a:pt x="4670" y="9373"/>
                      <a:pt x="7490" y="7499"/>
                      <a:pt x="9362" y="5624"/>
                    </a:cubicBezTo>
                    <a:lnTo>
                      <a:pt x="9362" y="0"/>
                    </a:lnTo>
                    <a:cubicBezTo>
                      <a:pt x="7490" y="938"/>
                      <a:pt x="4670" y="3749"/>
                      <a:pt x="3745" y="4686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04" name="Freihandform: Form 703">
                <a:extLst>
                  <a:ext uri="{FF2B5EF4-FFF2-40B4-BE49-F238E27FC236}">
                    <a16:creationId xmlns:a16="http://schemas.microsoft.com/office/drawing/2014/main" id="{7F47E23A-FF19-FF9A-C172-198900E60EAC}"/>
                  </a:ext>
                </a:extLst>
              </p:cNvPr>
              <p:cNvSpPr/>
              <p:nvPr/>
            </p:nvSpPr>
            <p:spPr>
              <a:xfrm>
                <a:off x="5782416" y="3165171"/>
                <a:ext cx="1874" cy="936"/>
              </a:xfrm>
              <a:custGeom>
                <a:avLst/>
                <a:gdLst>
                  <a:gd name="connsiteX0" fmla="*/ 0 w 1874"/>
                  <a:gd name="connsiteY0" fmla="*/ 0 h 936"/>
                  <a:gd name="connsiteX1" fmla="*/ 1874 w 1874"/>
                  <a:gd name="connsiteY1" fmla="*/ 0 h 936"/>
                  <a:gd name="connsiteX2" fmla="*/ 1874 w 1874"/>
                  <a:gd name="connsiteY2" fmla="*/ 937 h 936"/>
                  <a:gd name="connsiteX3" fmla="*/ 0 w 1874"/>
                  <a:gd name="connsiteY3" fmla="*/ 937 h 9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74" h="936">
                    <a:moveTo>
                      <a:pt x="0" y="0"/>
                    </a:moveTo>
                    <a:lnTo>
                      <a:pt x="1874" y="0"/>
                    </a:lnTo>
                    <a:lnTo>
                      <a:pt x="1874" y="937"/>
                    </a:lnTo>
                    <a:lnTo>
                      <a:pt x="0" y="937"/>
                    </a:ln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05" name="Freihandform: Form 704">
                <a:extLst>
                  <a:ext uri="{FF2B5EF4-FFF2-40B4-BE49-F238E27FC236}">
                    <a16:creationId xmlns:a16="http://schemas.microsoft.com/office/drawing/2014/main" id="{1975D090-F826-5268-78C4-189EC637E870}"/>
                  </a:ext>
                </a:extLst>
              </p:cNvPr>
              <p:cNvSpPr/>
              <p:nvPr/>
            </p:nvSpPr>
            <p:spPr>
              <a:xfrm>
                <a:off x="5749614" y="3202660"/>
                <a:ext cx="2819" cy="6560"/>
              </a:xfrm>
              <a:custGeom>
                <a:avLst/>
                <a:gdLst>
                  <a:gd name="connsiteX0" fmla="*/ 2820 w 2819"/>
                  <a:gd name="connsiteY0" fmla="*/ 2813 h 6560"/>
                  <a:gd name="connsiteX1" fmla="*/ 2820 w 2819"/>
                  <a:gd name="connsiteY1" fmla="*/ 0 h 6560"/>
                  <a:gd name="connsiteX2" fmla="*/ 0 w 2819"/>
                  <a:gd name="connsiteY2" fmla="*/ 6560 h 6560"/>
                  <a:gd name="connsiteX3" fmla="*/ 2820 w 2819"/>
                  <a:gd name="connsiteY3" fmla="*/ 2813 h 6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19" h="6560">
                    <a:moveTo>
                      <a:pt x="2820" y="2813"/>
                    </a:moveTo>
                    <a:lnTo>
                      <a:pt x="2820" y="0"/>
                    </a:lnTo>
                    <a:cubicBezTo>
                      <a:pt x="0" y="936"/>
                      <a:pt x="0" y="3749"/>
                      <a:pt x="0" y="6560"/>
                    </a:cubicBezTo>
                    <a:cubicBezTo>
                      <a:pt x="2820" y="6560"/>
                      <a:pt x="2820" y="4686"/>
                      <a:pt x="2820" y="2813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06" name="Freihandform: Form 705">
                <a:extLst>
                  <a:ext uri="{FF2B5EF4-FFF2-40B4-BE49-F238E27FC236}">
                    <a16:creationId xmlns:a16="http://schemas.microsoft.com/office/drawing/2014/main" id="{67B51538-D03D-A493-F8A3-019BF38B758F}"/>
                  </a:ext>
                </a:extLst>
              </p:cNvPr>
              <p:cNvSpPr/>
              <p:nvPr/>
            </p:nvSpPr>
            <p:spPr>
              <a:xfrm>
                <a:off x="5773979" y="3143615"/>
                <a:ext cx="18746" cy="29054"/>
              </a:xfrm>
              <a:custGeom>
                <a:avLst/>
                <a:gdLst>
                  <a:gd name="connsiteX0" fmla="*/ 11257 w 18746"/>
                  <a:gd name="connsiteY0" fmla="*/ 14995 h 29054"/>
                  <a:gd name="connsiteX1" fmla="*/ 18747 w 18746"/>
                  <a:gd name="connsiteY1" fmla="*/ 936 h 29054"/>
                  <a:gd name="connsiteX2" fmla="*/ 18747 w 18746"/>
                  <a:gd name="connsiteY2" fmla="*/ 0 h 29054"/>
                  <a:gd name="connsiteX3" fmla="*/ 17822 w 18746"/>
                  <a:gd name="connsiteY3" fmla="*/ 0 h 29054"/>
                  <a:gd name="connsiteX4" fmla="*/ 11257 w 18746"/>
                  <a:gd name="connsiteY4" fmla="*/ 5622 h 29054"/>
                  <a:gd name="connsiteX5" fmla="*/ 0 w 18746"/>
                  <a:gd name="connsiteY5" fmla="*/ 23430 h 29054"/>
                  <a:gd name="connsiteX6" fmla="*/ 0 w 18746"/>
                  <a:gd name="connsiteY6" fmla="*/ 29054 h 29054"/>
                  <a:gd name="connsiteX7" fmla="*/ 6565 w 18746"/>
                  <a:gd name="connsiteY7" fmla="*/ 25305 h 29054"/>
                  <a:gd name="connsiteX8" fmla="*/ 8437 w 18746"/>
                  <a:gd name="connsiteY8" fmla="*/ 21556 h 29054"/>
                  <a:gd name="connsiteX9" fmla="*/ 11257 w 18746"/>
                  <a:gd name="connsiteY9" fmla="*/ 14995 h 290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8746" h="29054">
                    <a:moveTo>
                      <a:pt x="11257" y="14995"/>
                    </a:moveTo>
                    <a:cubicBezTo>
                      <a:pt x="15002" y="11246"/>
                      <a:pt x="17822" y="5622"/>
                      <a:pt x="18747" y="936"/>
                    </a:cubicBezTo>
                    <a:lnTo>
                      <a:pt x="18747" y="0"/>
                    </a:lnTo>
                    <a:lnTo>
                      <a:pt x="17822" y="0"/>
                    </a:lnTo>
                    <a:cubicBezTo>
                      <a:pt x="15002" y="936"/>
                      <a:pt x="12182" y="3747"/>
                      <a:pt x="11257" y="5622"/>
                    </a:cubicBezTo>
                    <a:cubicBezTo>
                      <a:pt x="7512" y="12184"/>
                      <a:pt x="3745" y="17806"/>
                      <a:pt x="0" y="23430"/>
                    </a:cubicBezTo>
                    <a:lnTo>
                      <a:pt x="0" y="29054"/>
                    </a:lnTo>
                    <a:cubicBezTo>
                      <a:pt x="947" y="27180"/>
                      <a:pt x="3745" y="26241"/>
                      <a:pt x="6565" y="25305"/>
                    </a:cubicBezTo>
                    <a:cubicBezTo>
                      <a:pt x="6565" y="23430"/>
                      <a:pt x="7512" y="22492"/>
                      <a:pt x="8437" y="21556"/>
                    </a:cubicBezTo>
                    <a:cubicBezTo>
                      <a:pt x="8437" y="18745"/>
                      <a:pt x="10310" y="15931"/>
                      <a:pt x="11257" y="14995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07" name="Freihandform: Form 706">
                <a:extLst>
                  <a:ext uri="{FF2B5EF4-FFF2-40B4-BE49-F238E27FC236}">
                    <a16:creationId xmlns:a16="http://schemas.microsoft.com/office/drawing/2014/main" id="{A5B038C2-6BEC-0CC3-336F-37FB20849CDA}"/>
                  </a:ext>
                </a:extLst>
              </p:cNvPr>
              <p:cNvSpPr/>
              <p:nvPr/>
            </p:nvSpPr>
            <p:spPr>
              <a:xfrm>
                <a:off x="5758052" y="3078944"/>
                <a:ext cx="947" cy="1874"/>
              </a:xfrm>
              <a:custGeom>
                <a:avLst/>
                <a:gdLst>
                  <a:gd name="connsiteX0" fmla="*/ 947 w 947"/>
                  <a:gd name="connsiteY0" fmla="*/ 0 h 1874"/>
                  <a:gd name="connsiteX1" fmla="*/ 0 w 947"/>
                  <a:gd name="connsiteY1" fmla="*/ 1875 h 1874"/>
                  <a:gd name="connsiteX2" fmla="*/ 947 w 947"/>
                  <a:gd name="connsiteY2" fmla="*/ 1875 h 1874"/>
                  <a:gd name="connsiteX3" fmla="*/ 947 w 947"/>
                  <a:gd name="connsiteY3" fmla="*/ 0 h 1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47" h="1874">
                    <a:moveTo>
                      <a:pt x="947" y="0"/>
                    </a:moveTo>
                    <a:lnTo>
                      <a:pt x="0" y="1875"/>
                    </a:lnTo>
                    <a:lnTo>
                      <a:pt x="947" y="1875"/>
                    </a:lnTo>
                    <a:lnTo>
                      <a:pt x="947" y="0"/>
                    </a:ln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08" name="Freihandform: Form 707">
                <a:extLst>
                  <a:ext uri="{FF2B5EF4-FFF2-40B4-BE49-F238E27FC236}">
                    <a16:creationId xmlns:a16="http://schemas.microsoft.com/office/drawing/2014/main" id="{4B24341B-CABE-695A-FCB8-8E176E7B3D86}"/>
                  </a:ext>
                </a:extLst>
              </p:cNvPr>
              <p:cNvSpPr/>
              <p:nvPr/>
            </p:nvSpPr>
            <p:spPr>
              <a:xfrm>
                <a:off x="5736507" y="3107999"/>
                <a:ext cx="3745" cy="3749"/>
              </a:xfrm>
              <a:custGeom>
                <a:avLst/>
                <a:gdLst>
                  <a:gd name="connsiteX0" fmla="*/ 0 w 3745"/>
                  <a:gd name="connsiteY0" fmla="*/ 3749 h 3749"/>
                  <a:gd name="connsiteX1" fmla="*/ 3745 w 3745"/>
                  <a:gd name="connsiteY1" fmla="*/ 0 h 3749"/>
                  <a:gd name="connsiteX2" fmla="*/ 0 w 3745"/>
                  <a:gd name="connsiteY2" fmla="*/ 3749 h 37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745" h="3749">
                    <a:moveTo>
                      <a:pt x="0" y="3749"/>
                    </a:moveTo>
                    <a:cubicBezTo>
                      <a:pt x="1873" y="3749"/>
                      <a:pt x="3745" y="2813"/>
                      <a:pt x="3745" y="0"/>
                    </a:cubicBezTo>
                    <a:cubicBezTo>
                      <a:pt x="925" y="0"/>
                      <a:pt x="0" y="938"/>
                      <a:pt x="0" y="3749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09" name="Freihandform: Form 708">
                <a:extLst>
                  <a:ext uri="{FF2B5EF4-FFF2-40B4-BE49-F238E27FC236}">
                    <a16:creationId xmlns:a16="http://schemas.microsoft.com/office/drawing/2014/main" id="{911CC3A4-3B98-974F-8803-6C7AF996F449}"/>
                  </a:ext>
                </a:extLst>
              </p:cNvPr>
              <p:cNvSpPr/>
              <p:nvPr/>
            </p:nvSpPr>
            <p:spPr>
              <a:xfrm>
                <a:off x="5730868" y="3111748"/>
                <a:ext cx="5639" cy="3199"/>
              </a:xfrm>
              <a:custGeom>
                <a:avLst/>
                <a:gdLst>
                  <a:gd name="connsiteX0" fmla="*/ 1873 w 5639"/>
                  <a:gd name="connsiteY0" fmla="*/ 1875 h 3199"/>
                  <a:gd name="connsiteX1" fmla="*/ 0 w 5639"/>
                  <a:gd name="connsiteY1" fmla="*/ 1875 h 3199"/>
                  <a:gd name="connsiteX2" fmla="*/ 2820 w 5639"/>
                  <a:gd name="connsiteY2" fmla="*/ 2811 h 3199"/>
                  <a:gd name="connsiteX3" fmla="*/ 5639 w 5639"/>
                  <a:gd name="connsiteY3" fmla="*/ 0 h 3199"/>
                  <a:gd name="connsiteX4" fmla="*/ 1873 w 5639"/>
                  <a:gd name="connsiteY4" fmla="*/ 1875 h 3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39" h="3199">
                    <a:moveTo>
                      <a:pt x="1873" y="1875"/>
                    </a:moveTo>
                    <a:lnTo>
                      <a:pt x="0" y="1875"/>
                    </a:lnTo>
                    <a:cubicBezTo>
                      <a:pt x="0" y="2811"/>
                      <a:pt x="1873" y="3749"/>
                      <a:pt x="2820" y="2811"/>
                    </a:cubicBezTo>
                    <a:cubicBezTo>
                      <a:pt x="3745" y="2811"/>
                      <a:pt x="5639" y="1875"/>
                      <a:pt x="5639" y="0"/>
                    </a:cubicBezTo>
                    <a:cubicBezTo>
                      <a:pt x="3745" y="0"/>
                      <a:pt x="2820" y="0"/>
                      <a:pt x="1873" y="1875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10" name="Freihandform: Form 709">
                <a:extLst>
                  <a:ext uri="{FF2B5EF4-FFF2-40B4-BE49-F238E27FC236}">
                    <a16:creationId xmlns:a16="http://schemas.microsoft.com/office/drawing/2014/main" id="{35539587-48EC-0D1A-F8CD-88405B1FB555}"/>
                  </a:ext>
                </a:extLst>
              </p:cNvPr>
              <p:cNvSpPr/>
              <p:nvPr/>
            </p:nvSpPr>
            <p:spPr>
              <a:xfrm>
                <a:off x="5770234" y="3088318"/>
                <a:ext cx="2819" cy="3749"/>
              </a:xfrm>
              <a:custGeom>
                <a:avLst/>
                <a:gdLst>
                  <a:gd name="connsiteX0" fmla="*/ 2820 w 2819"/>
                  <a:gd name="connsiteY0" fmla="*/ 0 h 3749"/>
                  <a:gd name="connsiteX1" fmla="*/ 0 w 2819"/>
                  <a:gd name="connsiteY1" fmla="*/ 3749 h 3749"/>
                  <a:gd name="connsiteX2" fmla="*/ 2820 w 2819"/>
                  <a:gd name="connsiteY2" fmla="*/ 0 h 37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819" h="3749">
                    <a:moveTo>
                      <a:pt x="2820" y="0"/>
                    </a:moveTo>
                    <a:cubicBezTo>
                      <a:pt x="947" y="936"/>
                      <a:pt x="0" y="1875"/>
                      <a:pt x="0" y="3749"/>
                    </a:cubicBezTo>
                    <a:cubicBezTo>
                      <a:pt x="947" y="3749"/>
                      <a:pt x="2820" y="1875"/>
                      <a:pt x="282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11" name="Freihandform: Form 710">
                <a:extLst>
                  <a:ext uri="{FF2B5EF4-FFF2-40B4-BE49-F238E27FC236}">
                    <a16:creationId xmlns:a16="http://schemas.microsoft.com/office/drawing/2014/main" id="{DE21B9A2-1852-111A-EAE6-C5ABEF66E9E9}"/>
                  </a:ext>
                </a:extLst>
              </p:cNvPr>
              <p:cNvSpPr/>
              <p:nvPr/>
            </p:nvSpPr>
            <p:spPr>
              <a:xfrm>
                <a:off x="5740252" y="3105188"/>
                <a:ext cx="1872" cy="2810"/>
              </a:xfrm>
              <a:custGeom>
                <a:avLst/>
                <a:gdLst>
                  <a:gd name="connsiteX0" fmla="*/ 1872 w 1872"/>
                  <a:gd name="connsiteY0" fmla="*/ 0 h 2810"/>
                  <a:gd name="connsiteX1" fmla="*/ 0 w 1872"/>
                  <a:gd name="connsiteY1" fmla="*/ 2811 h 2810"/>
                  <a:gd name="connsiteX2" fmla="*/ 1872 w 1872"/>
                  <a:gd name="connsiteY2" fmla="*/ 0 h 28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872" h="2810">
                    <a:moveTo>
                      <a:pt x="1872" y="0"/>
                    </a:moveTo>
                    <a:cubicBezTo>
                      <a:pt x="925" y="0"/>
                      <a:pt x="0" y="1875"/>
                      <a:pt x="0" y="2811"/>
                    </a:cubicBezTo>
                    <a:cubicBezTo>
                      <a:pt x="925" y="2811"/>
                      <a:pt x="1872" y="1875"/>
                      <a:pt x="187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12" name="Freihandform: Form 711">
                <a:extLst>
                  <a:ext uri="{FF2B5EF4-FFF2-40B4-BE49-F238E27FC236}">
                    <a16:creationId xmlns:a16="http://schemas.microsoft.com/office/drawing/2014/main" id="{BF6E817A-68D4-CB47-3F72-22AF11C07C91}"/>
                  </a:ext>
                </a:extLst>
              </p:cNvPr>
              <p:cNvSpPr/>
              <p:nvPr/>
            </p:nvSpPr>
            <p:spPr>
              <a:xfrm>
                <a:off x="5753359" y="3092067"/>
                <a:ext cx="2819" cy="1874"/>
              </a:xfrm>
              <a:custGeom>
                <a:avLst/>
                <a:gdLst>
                  <a:gd name="connsiteX0" fmla="*/ 1873 w 2819"/>
                  <a:gd name="connsiteY0" fmla="*/ 1875 h 1874"/>
                  <a:gd name="connsiteX1" fmla="*/ 2820 w 2819"/>
                  <a:gd name="connsiteY1" fmla="*/ 0 h 1874"/>
                  <a:gd name="connsiteX2" fmla="*/ 0 w 2819"/>
                  <a:gd name="connsiteY2" fmla="*/ 936 h 1874"/>
                  <a:gd name="connsiteX3" fmla="*/ 1873 w 2819"/>
                  <a:gd name="connsiteY3" fmla="*/ 1875 h 1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19" h="1874">
                    <a:moveTo>
                      <a:pt x="1873" y="1875"/>
                    </a:moveTo>
                    <a:cubicBezTo>
                      <a:pt x="1873" y="936"/>
                      <a:pt x="2820" y="936"/>
                      <a:pt x="2820" y="0"/>
                    </a:cubicBezTo>
                    <a:cubicBezTo>
                      <a:pt x="2203" y="623"/>
                      <a:pt x="1256" y="936"/>
                      <a:pt x="0" y="936"/>
                    </a:cubicBezTo>
                    <a:cubicBezTo>
                      <a:pt x="1873" y="936"/>
                      <a:pt x="1873" y="1875"/>
                      <a:pt x="1873" y="1875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13" name="Freihandform: Form 712">
                <a:extLst>
                  <a:ext uri="{FF2B5EF4-FFF2-40B4-BE49-F238E27FC236}">
                    <a16:creationId xmlns:a16="http://schemas.microsoft.com/office/drawing/2014/main" id="{962CCA1D-9D2E-6A40-945B-913D6186C959}"/>
                  </a:ext>
                </a:extLst>
              </p:cNvPr>
              <p:cNvSpPr/>
              <p:nvPr/>
            </p:nvSpPr>
            <p:spPr>
              <a:xfrm>
                <a:off x="5740252" y="3115497"/>
                <a:ext cx="1872" cy="2810"/>
              </a:xfrm>
              <a:custGeom>
                <a:avLst/>
                <a:gdLst>
                  <a:gd name="connsiteX0" fmla="*/ 1872 w 1872"/>
                  <a:gd name="connsiteY0" fmla="*/ 0 h 2810"/>
                  <a:gd name="connsiteX1" fmla="*/ 0 w 1872"/>
                  <a:gd name="connsiteY1" fmla="*/ 2811 h 2810"/>
                  <a:gd name="connsiteX2" fmla="*/ 1872 w 1872"/>
                  <a:gd name="connsiteY2" fmla="*/ 0 h 28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872" h="2810">
                    <a:moveTo>
                      <a:pt x="1872" y="0"/>
                    </a:moveTo>
                    <a:cubicBezTo>
                      <a:pt x="925" y="0"/>
                      <a:pt x="0" y="1875"/>
                      <a:pt x="0" y="2811"/>
                    </a:cubicBezTo>
                    <a:cubicBezTo>
                      <a:pt x="925" y="2811"/>
                      <a:pt x="1872" y="1875"/>
                      <a:pt x="187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14" name="Freihandform: Form 713">
                <a:extLst>
                  <a:ext uri="{FF2B5EF4-FFF2-40B4-BE49-F238E27FC236}">
                    <a16:creationId xmlns:a16="http://schemas.microsoft.com/office/drawing/2014/main" id="{E0B58241-D57C-CF74-7D33-12F9F40D5CBC}"/>
                  </a:ext>
                </a:extLst>
              </p:cNvPr>
              <p:cNvSpPr/>
              <p:nvPr/>
            </p:nvSpPr>
            <p:spPr>
              <a:xfrm>
                <a:off x="5743997" y="3092067"/>
                <a:ext cx="26236" cy="19680"/>
              </a:xfrm>
              <a:custGeom>
                <a:avLst/>
                <a:gdLst>
                  <a:gd name="connsiteX0" fmla="*/ 25312 w 26236"/>
                  <a:gd name="connsiteY0" fmla="*/ 936 h 19680"/>
                  <a:gd name="connsiteX1" fmla="*/ 26237 w 26236"/>
                  <a:gd name="connsiteY1" fmla="*/ 0 h 19680"/>
                  <a:gd name="connsiteX2" fmla="*/ 19672 w 26236"/>
                  <a:gd name="connsiteY2" fmla="*/ 936 h 19680"/>
                  <a:gd name="connsiteX3" fmla="*/ 8437 w 26236"/>
                  <a:gd name="connsiteY3" fmla="*/ 11246 h 19680"/>
                  <a:gd name="connsiteX4" fmla="*/ 5617 w 26236"/>
                  <a:gd name="connsiteY4" fmla="*/ 9371 h 19680"/>
                  <a:gd name="connsiteX5" fmla="*/ 4692 w 26236"/>
                  <a:gd name="connsiteY5" fmla="*/ 7496 h 19680"/>
                  <a:gd name="connsiteX6" fmla="*/ 1872 w 26236"/>
                  <a:gd name="connsiteY6" fmla="*/ 8435 h 19680"/>
                  <a:gd name="connsiteX7" fmla="*/ 0 w 26236"/>
                  <a:gd name="connsiteY7" fmla="*/ 13120 h 19680"/>
                  <a:gd name="connsiteX8" fmla="*/ 1872 w 26236"/>
                  <a:gd name="connsiteY8" fmla="*/ 16870 h 19680"/>
                  <a:gd name="connsiteX9" fmla="*/ 1872 w 26236"/>
                  <a:gd name="connsiteY9" fmla="*/ 19681 h 19680"/>
                  <a:gd name="connsiteX10" fmla="*/ 8437 w 26236"/>
                  <a:gd name="connsiteY10" fmla="*/ 18745 h 19680"/>
                  <a:gd name="connsiteX11" fmla="*/ 25312 w 26236"/>
                  <a:gd name="connsiteY11" fmla="*/ 936 h 19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6236" h="19680">
                    <a:moveTo>
                      <a:pt x="25312" y="936"/>
                    </a:moveTo>
                    <a:cubicBezTo>
                      <a:pt x="26237" y="936"/>
                      <a:pt x="26237" y="0"/>
                      <a:pt x="26237" y="0"/>
                    </a:cubicBezTo>
                    <a:cubicBezTo>
                      <a:pt x="23417" y="0"/>
                      <a:pt x="21544" y="0"/>
                      <a:pt x="19672" y="936"/>
                    </a:cubicBezTo>
                    <a:cubicBezTo>
                      <a:pt x="15927" y="4686"/>
                      <a:pt x="12182" y="8435"/>
                      <a:pt x="8437" y="11246"/>
                    </a:cubicBezTo>
                    <a:cubicBezTo>
                      <a:pt x="7490" y="12184"/>
                      <a:pt x="5617" y="11246"/>
                      <a:pt x="5617" y="9371"/>
                    </a:cubicBezTo>
                    <a:cubicBezTo>
                      <a:pt x="5617" y="9371"/>
                      <a:pt x="4692" y="8435"/>
                      <a:pt x="4692" y="7496"/>
                    </a:cubicBezTo>
                    <a:cubicBezTo>
                      <a:pt x="3745" y="7496"/>
                      <a:pt x="1872" y="8435"/>
                      <a:pt x="1872" y="8435"/>
                    </a:cubicBezTo>
                    <a:cubicBezTo>
                      <a:pt x="925" y="9371"/>
                      <a:pt x="0" y="12184"/>
                      <a:pt x="0" y="13120"/>
                    </a:cubicBezTo>
                    <a:cubicBezTo>
                      <a:pt x="925" y="13120"/>
                      <a:pt x="1872" y="14995"/>
                      <a:pt x="1872" y="16870"/>
                    </a:cubicBezTo>
                    <a:lnTo>
                      <a:pt x="1872" y="19681"/>
                    </a:lnTo>
                    <a:cubicBezTo>
                      <a:pt x="4692" y="19681"/>
                      <a:pt x="7490" y="19681"/>
                      <a:pt x="8437" y="18745"/>
                    </a:cubicBezTo>
                    <a:cubicBezTo>
                      <a:pt x="14055" y="12184"/>
                      <a:pt x="19672" y="7496"/>
                      <a:pt x="25312" y="936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15" name="Freihandform: Form 714">
                <a:extLst>
                  <a:ext uri="{FF2B5EF4-FFF2-40B4-BE49-F238E27FC236}">
                    <a16:creationId xmlns:a16="http://schemas.microsoft.com/office/drawing/2014/main" id="{5C5B5B2A-3496-E812-89B8-51F5B0A6307C}"/>
                  </a:ext>
                </a:extLst>
              </p:cNvPr>
              <p:cNvSpPr/>
              <p:nvPr/>
            </p:nvSpPr>
            <p:spPr>
              <a:xfrm>
                <a:off x="5742125" y="3114559"/>
                <a:ext cx="1872" cy="938"/>
              </a:xfrm>
              <a:custGeom>
                <a:avLst/>
                <a:gdLst>
                  <a:gd name="connsiteX0" fmla="*/ 1873 w 1872"/>
                  <a:gd name="connsiteY0" fmla="*/ 0 h 938"/>
                  <a:gd name="connsiteX1" fmla="*/ 0 w 1872"/>
                  <a:gd name="connsiteY1" fmla="*/ 938 h 938"/>
                  <a:gd name="connsiteX2" fmla="*/ 1873 w 1872"/>
                  <a:gd name="connsiteY2" fmla="*/ 938 h 938"/>
                  <a:gd name="connsiteX3" fmla="*/ 1873 w 1872"/>
                  <a:gd name="connsiteY3" fmla="*/ 0 h 9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72" h="938">
                    <a:moveTo>
                      <a:pt x="1873" y="0"/>
                    </a:moveTo>
                    <a:cubicBezTo>
                      <a:pt x="1873" y="0"/>
                      <a:pt x="1873" y="938"/>
                      <a:pt x="0" y="938"/>
                    </a:cubicBezTo>
                    <a:lnTo>
                      <a:pt x="1873" y="938"/>
                    </a:lnTo>
                    <a:lnTo>
                      <a:pt x="1873" y="0"/>
                    </a:ln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16" name="Freihandform: Form 715">
                <a:extLst>
                  <a:ext uri="{FF2B5EF4-FFF2-40B4-BE49-F238E27FC236}">
                    <a16:creationId xmlns:a16="http://schemas.microsoft.com/office/drawing/2014/main" id="{2225A848-4FF6-8604-40DA-9A9725EFDE09}"/>
                  </a:ext>
                </a:extLst>
              </p:cNvPr>
              <p:cNvSpPr/>
              <p:nvPr/>
            </p:nvSpPr>
            <p:spPr>
              <a:xfrm>
                <a:off x="5743997" y="3111748"/>
                <a:ext cx="1872" cy="2810"/>
              </a:xfrm>
              <a:custGeom>
                <a:avLst/>
                <a:gdLst>
                  <a:gd name="connsiteX0" fmla="*/ 1872 w 1872"/>
                  <a:gd name="connsiteY0" fmla="*/ 0 h 2810"/>
                  <a:gd name="connsiteX1" fmla="*/ 0 w 1872"/>
                  <a:gd name="connsiteY1" fmla="*/ 2811 h 2810"/>
                  <a:gd name="connsiteX2" fmla="*/ 1872 w 1872"/>
                  <a:gd name="connsiteY2" fmla="*/ 0 h 28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872" h="2810">
                    <a:moveTo>
                      <a:pt x="1872" y="0"/>
                    </a:moveTo>
                    <a:cubicBezTo>
                      <a:pt x="925" y="0"/>
                      <a:pt x="0" y="1875"/>
                      <a:pt x="0" y="2811"/>
                    </a:cubicBezTo>
                    <a:cubicBezTo>
                      <a:pt x="925" y="2811"/>
                      <a:pt x="1872" y="1875"/>
                      <a:pt x="187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17" name="Freihandform: Form 716">
                <a:extLst>
                  <a:ext uri="{FF2B5EF4-FFF2-40B4-BE49-F238E27FC236}">
                    <a16:creationId xmlns:a16="http://schemas.microsoft.com/office/drawing/2014/main" id="{3C7A9E5E-6440-F0D9-353C-5C133DBB6C0D}"/>
                  </a:ext>
                </a:extLst>
              </p:cNvPr>
              <p:cNvSpPr/>
              <p:nvPr/>
            </p:nvSpPr>
            <p:spPr>
              <a:xfrm>
                <a:off x="5663392" y="3178292"/>
                <a:ext cx="10309" cy="10309"/>
              </a:xfrm>
              <a:custGeom>
                <a:avLst/>
                <a:gdLst>
                  <a:gd name="connsiteX0" fmla="*/ 10310 w 10309"/>
                  <a:gd name="connsiteY0" fmla="*/ 0 h 10309"/>
                  <a:gd name="connsiteX1" fmla="*/ 3745 w 10309"/>
                  <a:gd name="connsiteY1" fmla="*/ 1875 h 10309"/>
                  <a:gd name="connsiteX2" fmla="*/ 0 w 10309"/>
                  <a:gd name="connsiteY2" fmla="*/ 3749 h 10309"/>
                  <a:gd name="connsiteX3" fmla="*/ 0 w 10309"/>
                  <a:gd name="connsiteY3" fmla="*/ 10310 h 10309"/>
                  <a:gd name="connsiteX4" fmla="*/ 10310 w 10309"/>
                  <a:gd name="connsiteY4" fmla="*/ 0 h 103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309" h="10309">
                    <a:moveTo>
                      <a:pt x="10310" y="0"/>
                    </a:moveTo>
                    <a:cubicBezTo>
                      <a:pt x="7490" y="0"/>
                      <a:pt x="4692" y="0"/>
                      <a:pt x="3745" y="1875"/>
                    </a:cubicBezTo>
                    <a:cubicBezTo>
                      <a:pt x="1873" y="2811"/>
                      <a:pt x="925" y="2811"/>
                      <a:pt x="0" y="3749"/>
                    </a:cubicBezTo>
                    <a:lnTo>
                      <a:pt x="0" y="10310"/>
                    </a:lnTo>
                    <a:cubicBezTo>
                      <a:pt x="3745" y="9373"/>
                      <a:pt x="7490" y="5624"/>
                      <a:pt x="1031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18" name="Freihandform: Form 717">
                <a:extLst>
                  <a:ext uri="{FF2B5EF4-FFF2-40B4-BE49-F238E27FC236}">
                    <a16:creationId xmlns:a16="http://schemas.microsoft.com/office/drawing/2014/main" id="{67D68187-2428-3785-25EA-F41874EB5DEB}"/>
                  </a:ext>
                </a:extLst>
              </p:cNvPr>
              <p:cNvSpPr/>
              <p:nvPr/>
            </p:nvSpPr>
            <p:spPr>
              <a:xfrm>
                <a:off x="5653083" y="3192351"/>
                <a:ext cx="6564" cy="6560"/>
              </a:xfrm>
              <a:custGeom>
                <a:avLst/>
                <a:gdLst>
                  <a:gd name="connsiteX0" fmla="*/ 6564 w 6564"/>
                  <a:gd name="connsiteY0" fmla="*/ 0 h 6560"/>
                  <a:gd name="connsiteX1" fmla="*/ 0 w 6564"/>
                  <a:gd name="connsiteY1" fmla="*/ 4686 h 6560"/>
                  <a:gd name="connsiteX2" fmla="*/ 0 w 6564"/>
                  <a:gd name="connsiteY2" fmla="*/ 6560 h 6560"/>
                  <a:gd name="connsiteX3" fmla="*/ 6564 w 6564"/>
                  <a:gd name="connsiteY3" fmla="*/ 0 h 6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564" h="6560">
                    <a:moveTo>
                      <a:pt x="6564" y="0"/>
                    </a:moveTo>
                    <a:cubicBezTo>
                      <a:pt x="2181" y="0"/>
                      <a:pt x="0" y="1562"/>
                      <a:pt x="0" y="4686"/>
                    </a:cubicBezTo>
                    <a:lnTo>
                      <a:pt x="0" y="6560"/>
                    </a:lnTo>
                    <a:cubicBezTo>
                      <a:pt x="2820" y="4686"/>
                      <a:pt x="4692" y="3749"/>
                      <a:pt x="6564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19" name="Freihandform: Form 718">
                <a:extLst>
                  <a:ext uri="{FF2B5EF4-FFF2-40B4-BE49-F238E27FC236}">
                    <a16:creationId xmlns:a16="http://schemas.microsoft.com/office/drawing/2014/main" id="{207B6842-91B3-076D-89B1-D9498DD8FE65}"/>
                  </a:ext>
                </a:extLst>
              </p:cNvPr>
              <p:cNvSpPr/>
              <p:nvPr/>
            </p:nvSpPr>
            <p:spPr>
              <a:xfrm>
                <a:off x="5635751" y="3198911"/>
                <a:ext cx="17331" cy="14995"/>
              </a:xfrm>
              <a:custGeom>
                <a:avLst/>
                <a:gdLst>
                  <a:gd name="connsiteX0" fmla="*/ 1404 w 17331"/>
                  <a:gd name="connsiteY0" fmla="*/ 11248 h 14995"/>
                  <a:gd name="connsiteX1" fmla="*/ 1404 w 17331"/>
                  <a:gd name="connsiteY1" fmla="*/ 14995 h 14995"/>
                  <a:gd name="connsiteX2" fmla="*/ 3277 w 17331"/>
                  <a:gd name="connsiteY2" fmla="*/ 14995 h 14995"/>
                  <a:gd name="connsiteX3" fmla="*/ 16384 w 17331"/>
                  <a:gd name="connsiteY3" fmla="*/ 2811 h 14995"/>
                  <a:gd name="connsiteX4" fmla="*/ 17331 w 17331"/>
                  <a:gd name="connsiteY4" fmla="*/ 0 h 14995"/>
                  <a:gd name="connsiteX5" fmla="*/ 10767 w 17331"/>
                  <a:gd name="connsiteY5" fmla="*/ 938 h 14995"/>
                  <a:gd name="connsiteX6" fmla="*/ 1404 w 17331"/>
                  <a:gd name="connsiteY6" fmla="*/ 11248 h 149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331" h="14995">
                    <a:moveTo>
                      <a:pt x="1404" y="11248"/>
                    </a:moveTo>
                    <a:cubicBezTo>
                      <a:pt x="-468" y="12184"/>
                      <a:pt x="-468" y="14995"/>
                      <a:pt x="1404" y="14995"/>
                    </a:cubicBezTo>
                    <a:lnTo>
                      <a:pt x="3277" y="14995"/>
                    </a:lnTo>
                    <a:cubicBezTo>
                      <a:pt x="7022" y="11248"/>
                      <a:pt x="12639" y="7499"/>
                      <a:pt x="16384" y="2811"/>
                    </a:cubicBezTo>
                    <a:cubicBezTo>
                      <a:pt x="16384" y="2811"/>
                      <a:pt x="16384" y="938"/>
                      <a:pt x="17331" y="0"/>
                    </a:cubicBezTo>
                    <a:cubicBezTo>
                      <a:pt x="14512" y="0"/>
                      <a:pt x="12639" y="0"/>
                      <a:pt x="10767" y="938"/>
                    </a:cubicBezTo>
                    <a:cubicBezTo>
                      <a:pt x="7022" y="4686"/>
                      <a:pt x="5149" y="7499"/>
                      <a:pt x="1404" y="11248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20" name="Freihandform: Form 719">
                <a:extLst>
                  <a:ext uri="{FF2B5EF4-FFF2-40B4-BE49-F238E27FC236}">
                    <a16:creationId xmlns:a16="http://schemas.microsoft.com/office/drawing/2014/main" id="{D49CF86F-CE01-4C58-6236-D1F2225638F3}"/>
                  </a:ext>
                </a:extLst>
              </p:cNvPr>
              <p:cNvSpPr/>
              <p:nvPr/>
            </p:nvSpPr>
            <p:spPr>
              <a:xfrm>
                <a:off x="5659647" y="3188601"/>
                <a:ext cx="3744" cy="3749"/>
              </a:xfrm>
              <a:custGeom>
                <a:avLst/>
                <a:gdLst>
                  <a:gd name="connsiteX0" fmla="*/ 3745 w 3744"/>
                  <a:gd name="connsiteY0" fmla="*/ 0 h 3749"/>
                  <a:gd name="connsiteX1" fmla="*/ 0 w 3744"/>
                  <a:gd name="connsiteY1" fmla="*/ 3749 h 3749"/>
                  <a:gd name="connsiteX2" fmla="*/ 3745 w 3744"/>
                  <a:gd name="connsiteY2" fmla="*/ 0 h 37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744" h="3749">
                    <a:moveTo>
                      <a:pt x="3745" y="0"/>
                    </a:moveTo>
                    <a:cubicBezTo>
                      <a:pt x="925" y="0"/>
                      <a:pt x="0" y="938"/>
                      <a:pt x="0" y="3749"/>
                    </a:cubicBezTo>
                    <a:cubicBezTo>
                      <a:pt x="925" y="3749"/>
                      <a:pt x="1873" y="2811"/>
                      <a:pt x="3745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21" name="Freihandform: Form 720">
                <a:extLst>
                  <a:ext uri="{FF2B5EF4-FFF2-40B4-BE49-F238E27FC236}">
                    <a16:creationId xmlns:a16="http://schemas.microsoft.com/office/drawing/2014/main" id="{9934F620-AA4B-5394-F8C4-21DC7027ECAA}"/>
                  </a:ext>
                </a:extLst>
              </p:cNvPr>
              <p:cNvSpPr/>
              <p:nvPr/>
            </p:nvSpPr>
            <p:spPr>
              <a:xfrm>
                <a:off x="5729943" y="3118308"/>
                <a:ext cx="10309" cy="7498"/>
              </a:xfrm>
              <a:custGeom>
                <a:avLst/>
                <a:gdLst>
                  <a:gd name="connsiteX0" fmla="*/ 10310 w 10309"/>
                  <a:gd name="connsiteY0" fmla="*/ 0 h 7498"/>
                  <a:gd name="connsiteX1" fmla="*/ 925 w 10309"/>
                  <a:gd name="connsiteY1" fmla="*/ 4686 h 7498"/>
                  <a:gd name="connsiteX2" fmla="*/ 0 w 10309"/>
                  <a:gd name="connsiteY2" fmla="*/ 7499 h 7498"/>
                  <a:gd name="connsiteX3" fmla="*/ 10310 w 10309"/>
                  <a:gd name="connsiteY3" fmla="*/ 0 h 7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309" h="7498">
                    <a:moveTo>
                      <a:pt x="10310" y="0"/>
                    </a:moveTo>
                    <a:cubicBezTo>
                      <a:pt x="6564" y="0"/>
                      <a:pt x="2798" y="938"/>
                      <a:pt x="925" y="4686"/>
                    </a:cubicBezTo>
                    <a:cubicBezTo>
                      <a:pt x="0" y="4686"/>
                      <a:pt x="0" y="6560"/>
                      <a:pt x="0" y="7499"/>
                    </a:cubicBezTo>
                    <a:cubicBezTo>
                      <a:pt x="4670" y="7499"/>
                      <a:pt x="8437" y="4686"/>
                      <a:pt x="1031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22" name="Freihandform: Form 721">
                <a:extLst>
                  <a:ext uri="{FF2B5EF4-FFF2-40B4-BE49-F238E27FC236}">
                    <a16:creationId xmlns:a16="http://schemas.microsoft.com/office/drawing/2014/main" id="{8CF3FDF3-5C75-3650-6380-A39B277598CC}"/>
                  </a:ext>
                </a:extLst>
              </p:cNvPr>
              <p:cNvSpPr/>
              <p:nvPr/>
            </p:nvSpPr>
            <p:spPr>
              <a:xfrm>
                <a:off x="5758052" y="3089254"/>
                <a:ext cx="947" cy="2813"/>
              </a:xfrm>
              <a:custGeom>
                <a:avLst/>
                <a:gdLst>
                  <a:gd name="connsiteX0" fmla="*/ 0 w 947"/>
                  <a:gd name="connsiteY0" fmla="*/ 2813 h 2813"/>
                  <a:gd name="connsiteX1" fmla="*/ 947 w 947"/>
                  <a:gd name="connsiteY1" fmla="*/ 938 h 2813"/>
                  <a:gd name="connsiteX2" fmla="*/ 0 w 947"/>
                  <a:gd name="connsiteY2" fmla="*/ 0 h 2813"/>
                  <a:gd name="connsiteX3" fmla="*/ 0 w 947"/>
                  <a:gd name="connsiteY3" fmla="*/ 2813 h 28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47" h="2813">
                    <a:moveTo>
                      <a:pt x="0" y="2813"/>
                    </a:moveTo>
                    <a:cubicBezTo>
                      <a:pt x="0" y="938"/>
                      <a:pt x="947" y="938"/>
                      <a:pt x="947" y="938"/>
                    </a:cubicBezTo>
                    <a:cubicBezTo>
                      <a:pt x="947" y="938"/>
                      <a:pt x="947" y="0"/>
                      <a:pt x="0" y="0"/>
                    </a:cubicBezTo>
                    <a:lnTo>
                      <a:pt x="0" y="2813"/>
                    </a:ln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23" name="Freihandform: Form 722">
                <a:extLst>
                  <a:ext uri="{FF2B5EF4-FFF2-40B4-BE49-F238E27FC236}">
                    <a16:creationId xmlns:a16="http://schemas.microsoft.com/office/drawing/2014/main" id="{96F4BBFC-9727-CBD3-FB46-8B32601B2FD4}"/>
                  </a:ext>
                </a:extLst>
              </p:cNvPr>
              <p:cNvSpPr/>
              <p:nvPr/>
            </p:nvSpPr>
            <p:spPr>
              <a:xfrm>
                <a:off x="5646518" y="3193287"/>
                <a:ext cx="1872" cy="1874"/>
              </a:xfrm>
              <a:custGeom>
                <a:avLst/>
                <a:gdLst>
                  <a:gd name="connsiteX0" fmla="*/ 0 w 1872"/>
                  <a:gd name="connsiteY0" fmla="*/ 0 h 1874"/>
                  <a:gd name="connsiteX1" fmla="*/ 1872 w 1872"/>
                  <a:gd name="connsiteY1" fmla="*/ 1875 h 1874"/>
                  <a:gd name="connsiteX2" fmla="*/ 1872 w 1872"/>
                  <a:gd name="connsiteY2" fmla="*/ 0 h 1874"/>
                  <a:gd name="connsiteX3" fmla="*/ 0 w 1872"/>
                  <a:gd name="connsiteY3" fmla="*/ 0 h 1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72" h="1874">
                    <a:moveTo>
                      <a:pt x="0" y="0"/>
                    </a:moveTo>
                    <a:lnTo>
                      <a:pt x="1872" y="1875"/>
                    </a:lnTo>
                    <a:lnTo>
                      <a:pt x="1872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24" name="Freihandform: Form 723">
                <a:extLst>
                  <a:ext uri="{FF2B5EF4-FFF2-40B4-BE49-F238E27FC236}">
                    <a16:creationId xmlns:a16="http://schemas.microsoft.com/office/drawing/2014/main" id="{13DF4D40-2615-99C4-45E7-927A49345379}"/>
                  </a:ext>
                </a:extLst>
              </p:cNvPr>
              <p:cNvSpPr/>
              <p:nvPr/>
            </p:nvSpPr>
            <p:spPr>
              <a:xfrm>
                <a:off x="5670882" y="3169857"/>
                <a:ext cx="947" cy="2810"/>
              </a:xfrm>
              <a:custGeom>
                <a:avLst/>
                <a:gdLst>
                  <a:gd name="connsiteX0" fmla="*/ 947 w 947"/>
                  <a:gd name="connsiteY0" fmla="*/ 0 h 2810"/>
                  <a:gd name="connsiteX1" fmla="*/ 0 w 947"/>
                  <a:gd name="connsiteY1" fmla="*/ 938 h 2810"/>
                  <a:gd name="connsiteX2" fmla="*/ 947 w 947"/>
                  <a:gd name="connsiteY2" fmla="*/ 2811 h 2810"/>
                  <a:gd name="connsiteX3" fmla="*/ 947 w 947"/>
                  <a:gd name="connsiteY3" fmla="*/ 0 h 28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47" h="2810">
                    <a:moveTo>
                      <a:pt x="947" y="0"/>
                    </a:moveTo>
                    <a:cubicBezTo>
                      <a:pt x="0" y="0"/>
                      <a:pt x="0" y="938"/>
                      <a:pt x="0" y="938"/>
                    </a:cubicBezTo>
                    <a:cubicBezTo>
                      <a:pt x="0" y="938"/>
                      <a:pt x="947" y="938"/>
                      <a:pt x="947" y="2811"/>
                    </a:cubicBezTo>
                    <a:lnTo>
                      <a:pt x="947" y="0"/>
                    </a:ln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25" name="Freihandform: Form 724">
                <a:extLst>
                  <a:ext uri="{FF2B5EF4-FFF2-40B4-BE49-F238E27FC236}">
                    <a16:creationId xmlns:a16="http://schemas.microsoft.com/office/drawing/2014/main" id="{4E86DC1B-0330-7149-77B0-2AA75543A17C}"/>
                  </a:ext>
                </a:extLst>
              </p:cNvPr>
              <p:cNvSpPr/>
              <p:nvPr/>
            </p:nvSpPr>
            <p:spPr>
              <a:xfrm>
                <a:off x="5723378" y="3065824"/>
                <a:ext cx="36003" cy="19680"/>
              </a:xfrm>
              <a:custGeom>
                <a:avLst/>
                <a:gdLst>
                  <a:gd name="connsiteX0" fmla="*/ 35621 w 36003"/>
                  <a:gd name="connsiteY0" fmla="*/ 1875 h 19680"/>
                  <a:gd name="connsiteX1" fmla="*/ 32801 w 36003"/>
                  <a:gd name="connsiteY1" fmla="*/ 0 h 19680"/>
                  <a:gd name="connsiteX2" fmla="*/ 25312 w 36003"/>
                  <a:gd name="connsiteY2" fmla="*/ 0 h 19680"/>
                  <a:gd name="connsiteX3" fmla="*/ 15002 w 36003"/>
                  <a:gd name="connsiteY3" fmla="*/ 0 h 19680"/>
                  <a:gd name="connsiteX4" fmla="*/ 5618 w 36003"/>
                  <a:gd name="connsiteY4" fmla="*/ 3749 h 19680"/>
                  <a:gd name="connsiteX5" fmla="*/ 3745 w 36003"/>
                  <a:gd name="connsiteY5" fmla="*/ 4686 h 19680"/>
                  <a:gd name="connsiteX6" fmla="*/ 0 w 36003"/>
                  <a:gd name="connsiteY6" fmla="*/ 16870 h 19680"/>
                  <a:gd name="connsiteX7" fmla="*/ 1873 w 36003"/>
                  <a:gd name="connsiteY7" fmla="*/ 18745 h 19680"/>
                  <a:gd name="connsiteX8" fmla="*/ 6565 w 36003"/>
                  <a:gd name="connsiteY8" fmla="*/ 19681 h 19680"/>
                  <a:gd name="connsiteX9" fmla="*/ 14055 w 36003"/>
                  <a:gd name="connsiteY9" fmla="*/ 19681 h 19680"/>
                  <a:gd name="connsiteX10" fmla="*/ 26237 w 36003"/>
                  <a:gd name="connsiteY10" fmla="*/ 11246 h 19680"/>
                  <a:gd name="connsiteX11" fmla="*/ 34674 w 36003"/>
                  <a:gd name="connsiteY11" fmla="*/ 4686 h 19680"/>
                  <a:gd name="connsiteX12" fmla="*/ 35621 w 36003"/>
                  <a:gd name="connsiteY12" fmla="*/ 1875 h 19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6003" h="19680">
                    <a:moveTo>
                      <a:pt x="35621" y="1875"/>
                    </a:moveTo>
                    <a:cubicBezTo>
                      <a:pt x="35621" y="936"/>
                      <a:pt x="34674" y="0"/>
                      <a:pt x="32801" y="0"/>
                    </a:cubicBezTo>
                    <a:lnTo>
                      <a:pt x="25312" y="0"/>
                    </a:lnTo>
                    <a:cubicBezTo>
                      <a:pt x="21544" y="1875"/>
                      <a:pt x="18747" y="0"/>
                      <a:pt x="15002" y="0"/>
                    </a:cubicBezTo>
                    <a:cubicBezTo>
                      <a:pt x="11235" y="936"/>
                      <a:pt x="9362" y="1875"/>
                      <a:pt x="5618" y="3749"/>
                    </a:cubicBezTo>
                    <a:cubicBezTo>
                      <a:pt x="3745" y="3749"/>
                      <a:pt x="3745" y="4686"/>
                      <a:pt x="3745" y="4686"/>
                    </a:cubicBezTo>
                    <a:cubicBezTo>
                      <a:pt x="1873" y="9371"/>
                      <a:pt x="3745" y="13120"/>
                      <a:pt x="0" y="16870"/>
                    </a:cubicBezTo>
                    <a:lnTo>
                      <a:pt x="1873" y="18745"/>
                    </a:lnTo>
                    <a:cubicBezTo>
                      <a:pt x="3745" y="19681"/>
                      <a:pt x="6565" y="19681"/>
                      <a:pt x="6565" y="19681"/>
                    </a:cubicBezTo>
                    <a:lnTo>
                      <a:pt x="14055" y="19681"/>
                    </a:lnTo>
                    <a:cubicBezTo>
                      <a:pt x="18747" y="18745"/>
                      <a:pt x="24364" y="16870"/>
                      <a:pt x="26237" y="11246"/>
                    </a:cubicBezTo>
                    <a:cubicBezTo>
                      <a:pt x="29056" y="8435"/>
                      <a:pt x="31854" y="5624"/>
                      <a:pt x="34674" y="4686"/>
                    </a:cubicBezTo>
                    <a:cubicBezTo>
                      <a:pt x="35621" y="4686"/>
                      <a:pt x="36546" y="3749"/>
                      <a:pt x="35621" y="1875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26" name="Freihandform: Form 725">
                <a:extLst>
                  <a:ext uri="{FF2B5EF4-FFF2-40B4-BE49-F238E27FC236}">
                    <a16:creationId xmlns:a16="http://schemas.microsoft.com/office/drawing/2014/main" id="{B748DDAE-FEB7-557D-BBDD-C90A263EE773}"/>
                  </a:ext>
                </a:extLst>
              </p:cNvPr>
              <p:cNvSpPr/>
              <p:nvPr/>
            </p:nvSpPr>
            <p:spPr>
              <a:xfrm>
                <a:off x="5653083" y="3185790"/>
                <a:ext cx="2819" cy="2810"/>
              </a:xfrm>
              <a:custGeom>
                <a:avLst/>
                <a:gdLst>
                  <a:gd name="connsiteX0" fmla="*/ 2820 w 2819"/>
                  <a:gd name="connsiteY0" fmla="*/ 0 h 2810"/>
                  <a:gd name="connsiteX1" fmla="*/ 0 w 2819"/>
                  <a:gd name="connsiteY1" fmla="*/ 1875 h 2810"/>
                  <a:gd name="connsiteX2" fmla="*/ 947 w 2819"/>
                  <a:gd name="connsiteY2" fmla="*/ 2811 h 2810"/>
                  <a:gd name="connsiteX3" fmla="*/ 2820 w 2819"/>
                  <a:gd name="connsiteY3" fmla="*/ 0 h 28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19" h="2810">
                    <a:moveTo>
                      <a:pt x="2820" y="0"/>
                    </a:moveTo>
                    <a:cubicBezTo>
                      <a:pt x="1564" y="0"/>
                      <a:pt x="617" y="624"/>
                      <a:pt x="0" y="1875"/>
                    </a:cubicBezTo>
                    <a:lnTo>
                      <a:pt x="947" y="2811"/>
                    </a:lnTo>
                    <a:cubicBezTo>
                      <a:pt x="2820" y="1875"/>
                      <a:pt x="2820" y="0"/>
                      <a:pt x="282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27" name="Freihandform: Form 726">
                <a:extLst>
                  <a:ext uri="{FF2B5EF4-FFF2-40B4-BE49-F238E27FC236}">
                    <a16:creationId xmlns:a16="http://schemas.microsoft.com/office/drawing/2014/main" id="{889D277A-758F-AB39-0C13-EB67B6F21E4E}"/>
                  </a:ext>
                </a:extLst>
              </p:cNvPr>
              <p:cNvSpPr/>
              <p:nvPr/>
            </p:nvSpPr>
            <p:spPr>
              <a:xfrm>
                <a:off x="5709323" y="3145490"/>
                <a:ext cx="20619" cy="19680"/>
              </a:xfrm>
              <a:custGeom>
                <a:avLst/>
                <a:gdLst>
                  <a:gd name="connsiteX0" fmla="*/ 0 w 20619"/>
                  <a:gd name="connsiteY0" fmla="*/ 19681 h 19680"/>
                  <a:gd name="connsiteX1" fmla="*/ 2798 w 20619"/>
                  <a:gd name="connsiteY1" fmla="*/ 19681 h 19680"/>
                  <a:gd name="connsiteX2" fmla="*/ 6543 w 20619"/>
                  <a:gd name="connsiteY2" fmla="*/ 16870 h 19680"/>
                  <a:gd name="connsiteX3" fmla="*/ 10310 w 20619"/>
                  <a:gd name="connsiteY3" fmla="*/ 13121 h 19680"/>
                  <a:gd name="connsiteX4" fmla="*/ 16852 w 20619"/>
                  <a:gd name="connsiteY4" fmla="*/ 6558 h 19680"/>
                  <a:gd name="connsiteX5" fmla="*/ 20619 w 20619"/>
                  <a:gd name="connsiteY5" fmla="*/ 2811 h 19680"/>
                  <a:gd name="connsiteX6" fmla="*/ 20619 w 20619"/>
                  <a:gd name="connsiteY6" fmla="*/ 0 h 19680"/>
                  <a:gd name="connsiteX7" fmla="*/ 13107 w 20619"/>
                  <a:gd name="connsiteY7" fmla="*/ 1872 h 19680"/>
                  <a:gd name="connsiteX8" fmla="*/ 2798 w 20619"/>
                  <a:gd name="connsiteY8" fmla="*/ 13121 h 19680"/>
                  <a:gd name="connsiteX9" fmla="*/ 0 w 20619"/>
                  <a:gd name="connsiteY9" fmla="*/ 19681 h 19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0619" h="19680">
                    <a:moveTo>
                      <a:pt x="0" y="19681"/>
                    </a:moveTo>
                    <a:lnTo>
                      <a:pt x="2798" y="19681"/>
                    </a:lnTo>
                    <a:cubicBezTo>
                      <a:pt x="4670" y="17806"/>
                      <a:pt x="5618" y="16870"/>
                      <a:pt x="6543" y="16870"/>
                    </a:cubicBezTo>
                    <a:cubicBezTo>
                      <a:pt x="7798" y="14995"/>
                      <a:pt x="9054" y="13744"/>
                      <a:pt x="10310" y="13121"/>
                    </a:cubicBezTo>
                    <a:cubicBezTo>
                      <a:pt x="12182" y="10310"/>
                      <a:pt x="13107" y="7497"/>
                      <a:pt x="16852" y="6558"/>
                    </a:cubicBezTo>
                    <a:cubicBezTo>
                      <a:pt x="16852" y="3747"/>
                      <a:pt x="17800" y="3747"/>
                      <a:pt x="20619" y="2811"/>
                    </a:cubicBezTo>
                    <a:lnTo>
                      <a:pt x="20619" y="0"/>
                    </a:lnTo>
                    <a:cubicBezTo>
                      <a:pt x="17800" y="0"/>
                      <a:pt x="15927" y="0"/>
                      <a:pt x="13107" y="1872"/>
                    </a:cubicBezTo>
                    <a:cubicBezTo>
                      <a:pt x="9362" y="5622"/>
                      <a:pt x="6543" y="9371"/>
                      <a:pt x="2798" y="13121"/>
                    </a:cubicBezTo>
                    <a:cubicBezTo>
                      <a:pt x="0" y="14057"/>
                      <a:pt x="0" y="16870"/>
                      <a:pt x="0" y="19681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28" name="Freihandform: Form 727">
                <a:extLst>
                  <a:ext uri="{FF2B5EF4-FFF2-40B4-BE49-F238E27FC236}">
                    <a16:creationId xmlns:a16="http://schemas.microsoft.com/office/drawing/2014/main" id="{74B2331F-29EB-6BCD-1B01-2F1F9407083A}"/>
                  </a:ext>
                </a:extLst>
              </p:cNvPr>
              <p:cNvSpPr/>
              <p:nvPr/>
            </p:nvSpPr>
            <p:spPr>
              <a:xfrm>
                <a:off x="5693374" y="3158611"/>
                <a:ext cx="32801" cy="26629"/>
              </a:xfrm>
              <a:custGeom>
                <a:avLst/>
                <a:gdLst>
                  <a:gd name="connsiteX0" fmla="*/ 22492 w 32801"/>
                  <a:gd name="connsiteY0" fmla="*/ 3749 h 26629"/>
                  <a:gd name="connsiteX1" fmla="*/ 20619 w 32801"/>
                  <a:gd name="connsiteY1" fmla="*/ 7497 h 26629"/>
                  <a:gd name="connsiteX2" fmla="*/ 15949 w 32801"/>
                  <a:gd name="connsiteY2" fmla="*/ 10310 h 26629"/>
                  <a:gd name="connsiteX3" fmla="*/ 12204 w 32801"/>
                  <a:gd name="connsiteY3" fmla="*/ 14057 h 26629"/>
                  <a:gd name="connsiteX4" fmla="*/ 8437 w 32801"/>
                  <a:gd name="connsiteY4" fmla="*/ 18745 h 26629"/>
                  <a:gd name="connsiteX5" fmla="*/ 6565 w 32801"/>
                  <a:gd name="connsiteY5" fmla="*/ 15931 h 26629"/>
                  <a:gd name="connsiteX6" fmla="*/ 6565 w 32801"/>
                  <a:gd name="connsiteY6" fmla="*/ 14057 h 26629"/>
                  <a:gd name="connsiteX7" fmla="*/ 2820 w 32801"/>
                  <a:gd name="connsiteY7" fmla="*/ 14057 h 26629"/>
                  <a:gd name="connsiteX8" fmla="*/ 0 w 32801"/>
                  <a:gd name="connsiteY8" fmla="*/ 17806 h 26629"/>
                  <a:gd name="connsiteX9" fmla="*/ 0 w 32801"/>
                  <a:gd name="connsiteY9" fmla="*/ 19681 h 26629"/>
                  <a:gd name="connsiteX10" fmla="*/ 2820 w 32801"/>
                  <a:gd name="connsiteY10" fmla="*/ 26241 h 26629"/>
                  <a:gd name="connsiteX11" fmla="*/ 10310 w 32801"/>
                  <a:gd name="connsiteY11" fmla="*/ 25305 h 26629"/>
                  <a:gd name="connsiteX12" fmla="*/ 30004 w 32801"/>
                  <a:gd name="connsiteY12" fmla="*/ 3747 h 26629"/>
                  <a:gd name="connsiteX13" fmla="*/ 32801 w 32801"/>
                  <a:gd name="connsiteY13" fmla="*/ 0 h 26629"/>
                  <a:gd name="connsiteX14" fmla="*/ 26259 w 32801"/>
                  <a:gd name="connsiteY14" fmla="*/ 0 h 26629"/>
                  <a:gd name="connsiteX15" fmla="*/ 22492 w 32801"/>
                  <a:gd name="connsiteY15" fmla="*/ 3747 h 266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2801" h="26629">
                    <a:moveTo>
                      <a:pt x="22492" y="3749"/>
                    </a:moveTo>
                    <a:cubicBezTo>
                      <a:pt x="22492" y="4686"/>
                      <a:pt x="21567" y="6560"/>
                      <a:pt x="20619" y="7497"/>
                    </a:cubicBezTo>
                    <a:cubicBezTo>
                      <a:pt x="18747" y="8435"/>
                      <a:pt x="17822" y="10310"/>
                      <a:pt x="15949" y="10310"/>
                    </a:cubicBezTo>
                    <a:cubicBezTo>
                      <a:pt x="15002" y="12184"/>
                      <a:pt x="15002" y="14057"/>
                      <a:pt x="12204" y="14057"/>
                    </a:cubicBezTo>
                    <a:cubicBezTo>
                      <a:pt x="12204" y="15931"/>
                      <a:pt x="11257" y="17806"/>
                      <a:pt x="8437" y="18745"/>
                    </a:cubicBezTo>
                    <a:cubicBezTo>
                      <a:pt x="7512" y="19681"/>
                      <a:pt x="6565" y="18745"/>
                      <a:pt x="6565" y="15931"/>
                    </a:cubicBezTo>
                    <a:lnTo>
                      <a:pt x="6565" y="14057"/>
                    </a:lnTo>
                    <a:lnTo>
                      <a:pt x="2820" y="14057"/>
                    </a:lnTo>
                    <a:cubicBezTo>
                      <a:pt x="947" y="14995"/>
                      <a:pt x="0" y="14995"/>
                      <a:pt x="0" y="17806"/>
                    </a:cubicBezTo>
                    <a:lnTo>
                      <a:pt x="0" y="19681"/>
                    </a:lnTo>
                    <a:cubicBezTo>
                      <a:pt x="3767" y="21556"/>
                      <a:pt x="2820" y="23430"/>
                      <a:pt x="2820" y="26241"/>
                    </a:cubicBezTo>
                    <a:cubicBezTo>
                      <a:pt x="6565" y="27179"/>
                      <a:pt x="8437" y="26241"/>
                      <a:pt x="10310" y="25305"/>
                    </a:cubicBezTo>
                    <a:cubicBezTo>
                      <a:pt x="17822" y="17806"/>
                      <a:pt x="24386" y="11246"/>
                      <a:pt x="30004" y="3747"/>
                    </a:cubicBezTo>
                    <a:cubicBezTo>
                      <a:pt x="31876" y="3747"/>
                      <a:pt x="31876" y="936"/>
                      <a:pt x="32801" y="0"/>
                    </a:cubicBezTo>
                    <a:lnTo>
                      <a:pt x="26259" y="0"/>
                    </a:lnTo>
                    <a:cubicBezTo>
                      <a:pt x="26259" y="2811"/>
                      <a:pt x="25312" y="3747"/>
                      <a:pt x="22492" y="3747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29" name="Freihandform: Form 728">
                <a:extLst>
                  <a:ext uri="{FF2B5EF4-FFF2-40B4-BE49-F238E27FC236}">
                    <a16:creationId xmlns:a16="http://schemas.microsoft.com/office/drawing/2014/main" id="{2A30D98C-1C10-0F64-9E87-1AB0B054D576}"/>
                  </a:ext>
                </a:extLst>
              </p:cNvPr>
              <p:cNvSpPr/>
              <p:nvPr/>
            </p:nvSpPr>
            <p:spPr>
              <a:xfrm>
                <a:off x="5717760" y="3125807"/>
                <a:ext cx="12182" cy="12184"/>
              </a:xfrm>
              <a:custGeom>
                <a:avLst/>
                <a:gdLst>
                  <a:gd name="connsiteX0" fmla="*/ 925 w 12182"/>
                  <a:gd name="connsiteY0" fmla="*/ 8435 h 12184"/>
                  <a:gd name="connsiteX1" fmla="*/ 0 w 12182"/>
                  <a:gd name="connsiteY1" fmla="*/ 11246 h 12184"/>
                  <a:gd name="connsiteX2" fmla="*/ 3745 w 12182"/>
                  <a:gd name="connsiteY2" fmla="*/ 12184 h 12184"/>
                  <a:gd name="connsiteX3" fmla="*/ 11235 w 12182"/>
                  <a:gd name="connsiteY3" fmla="*/ 4686 h 12184"/>
                  <a:gd name="connsiteX4" fmla="*/ 12182 w 12182"/>
                  <a:gd name="connsiteY4" fmla="*/ 0 h 12184"/>
                  <a:gd name="connsiteX5" fmla="*/ 5618 w 12182"/>
                  <a:gd name="connsiteY5" fmla="*/ 2811 h 12184"/>
                  <a:gd name="connsiteX6" fmla="*/ 925 w 12182"/>
                  <a:gd name="connsiteY6" fmla="*/ 8435 h 12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182" h="12184">
                    <a:moveTo>
                      <a:pt x="925" y="8435"/>
                    </a:moveTo>
                    <a:cubicBezTo>
                      <a:pt x="0" y="10310"/>
                      <a:pt x="0" y="11246"/>
                      <a:pt x="0" y="11246"/>
                    </a:cubicBezTo>
                    <a:cubicBezTo>
                      <a:pt x="925" y="12184"/>
                      <a:pt x="1873" y="12184"/>
                      <a:pt x="3745" y="12184"/>
                    </a:cubicBezTo>
                    <a:cubicBezTo>
                      <a:pt x="5618" y="10310"/>
                      <a:pt x="8415" y="7499"/>
                      <a:pt x="11235" y="4686"/>
                    </a:cubicBezTo>
                    <a:cubicBezTo>
                      <a:pt x="12182" y="3749"/>
                      <a:pt x="12182" y="936"/>
                      <a:pt x="12182" y="0"/>
                    </a:cubicBezTo>
                    <a:cubicBezTo>
                      <a:pt x="9362" y="936"/>
                      <a:pt x="7490" y="936"/>
                      <a:pt x="5618" y="2811"/>
                    </a:cubicBezTo>
                    <a:cubicBezTo>
                      <a:pt x="4670" y="4686"/>
                      <a:pt x="1873" y="7499"/>
                      <a:pt x="925" y="8435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30" name="Freihandform: Form 729">
                <a:extLst>
                  <a:ext uri="{FF2B5EF4-FFF2-40B4-BE49-F238E27FC236}">
                    <a16:creationId xmlns:a16="http://schemas.microsoft.com/office/drawing/2014/main" id="{66A48306-3736-4669-7290-973699934C02}"/>
                  </a:ext>
                </a:extLst>
              </p:cNvPr>
              <p:cNvSpPr/>
              <p:nvPr/>
            </p:nvSpPr>
            <p:spPr>
              <a:xfrm>
                <a:off x="5726175" y="3145490"/>
                <a:ext cx="12204" cy="13120"/>
              </a:xfrm>
              <a:custGeom>
                <a:avLst/>
                <a:gdLst>
                  <a:gd name="connsiteX0" fmla="*/ 0 w 12204"/>
                  <a:gd name="connsiteY0" fmla="*/ 6558 h 13120"/>
                  <a:gd name="connsiteX1" fmla="*/ 0 w 12204"/>
                  <a:gd name="connsiteY1" fmla="*/ 13121 h 13120"/>
                  <a:gd name="connsiteX2" fmla="*/ 12204 w 12204"/>
                  <a:gd name="connsiteY2" fmla="*/ 5622 h 13120"/>
                  <a:gd name="connsiteX3" fmla="*/ 12204 w 12204"/>
                  <a:gd name="connsiteY3" fmla="*/ 1872 h 13120"/>
                  <a:gd name="connsiteX4" fmla="*/ 11257 w 12204"/>
                  <a:gd name="connsiteY4" fmla="*/ 0 h 13120"/>
                  <a:gd name="connsiteX5" fmla="*/ 7512 w 12204"/>
                  <a:gd name="connsiteY5" fmla="*/ 0 h 13120"/>
                  <a:gd name="connsiteX6" fmla="*/ 3767 w 12204"/>
                  <a:gd name="connsiteY6" fmla="*/ 2811 h 13120"/>
                  <a:gd name="connsiteX7" fmla="*/ 0 w 12204"/>
                  <a:gd name="connsiteY7" fmla="*/ 6558 h 13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204" h="13120">
                    <a:moveTo>
                      <a:pt x="0" y="6558"/>
                    </a:moveTo>
                    <a:lnTo>
                      <a:pt x="0" y="13121"/>
                    </a:lnTo>
                    <a:cubicBezTo>
                      <a:pt x="3767" y="10310"/>
                      <a:pt x="8437" y="7497"/>
                      <a:pt x="12204" y="5622"/>
                    </a:cubicBezTo>
                    <a:lnTo>
                      <a:pt x="12204" y="1872"/>
                    </a:lnTo>
                    <a:cubicBezTo>
                      <a:pt x="12204" y="1872"/>
                      <a:pt x="12204" y="0"/>
                      <a:pt x="11257" y="0"/>
                    </a:cubicBezTo>
                    <a:lnTo>
                      <a:pt x="7512" y="0"/>
                    </a:lnTo>
                    <a:cubicBezTo>
                      <a:pt x="6565" y="1872"/>
                      <a:pt x="4692" y="2811"/>
                      <a:pt x="3767" y="2811"/>
                    </a:cubicBezTo>
                    <a:cubicBezTo>
                      <a:pt x="3767" y="5622"/>
                      <a:pt x="2820" y="6558"/>
                      <a:pt x="0" y="6558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31" name="Freihandform: Form 730">
                <a:extLst>
                  <a:ext uri="{FF2B5EF4-FFF2-40B4-BE49-F238E27FC236}">
                    <a16:creationId xmlns:a16="http://schemas.microsoft.com/office/drawing/2014/main" id="{FD18633B-C9CD-C45C-A8C8-E086F6A5B72A}"/>
                  </a:ext>
                </a:extLst>
              </p:cNvPr>
              <p:cNvSpPr/>
              <p:nvPr/>
            </p:nvSpPr>
            <p:spPr>
              <a:xfrm>
                <a:off x="5712121" y="3165171"/>
                <a:ext cx="1875" cy="936"/>
              </a:xfrm>
              <a:custGeom>
                <a:avLst/>
                <a:gdLst>
                  <a:gd name="connsiteX0" fmla="*/ 0 w 1875"/>
                  <a:gd name="connsiteY0" fmla="*/ 0 h 936"/>
                  <a:gd name="connsiteX1" fmla="*/ 1875 w 1875"/>
                  <a:gd name="connsiteY1" fmla="*/ 0 h 936"/>
                  <a:gd name="connsiteX2" fmla="*/ 1875 w 1875"/>
                  <a:gd name="connsiteY2" fmla="*/ 937 h 936"/>
                  <a:gd name="connsiteX3" fmla="*/ 0 w 1875"/>
                  <a:gd name="connsiteY3" fmla="*/ 937 h 9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75" h="936">
                    <a:moveTo>
                      <a:pt x="0" y="0"/>
                    </a:moveTo>
                    <a:lnTo>
                      <a:pt x="1875" y="0"/>
                    </a:lnTo>
                    <a:lnTo>
                      <a:pt x="1875" y="937"/>
                    </a:lnTo>
                    <a:lnTo>
                      <a:pt x="0" y="937"/>
                    </a:ln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32" name="Freihandform: Form 731">
                <a:extLst>
                  <a:ext uri="{FF2B5EF4-FFF2-40B4-BE49-F238E27FC236}">
                    <a16:creationId xmlns:a16="http://schemas.microsoft.com/office/drawing/2014/main" id="{D4B9EE4B-1304-4875-5EE3-69762D2658A7}"/>
                  </a:ext>
                </a:extLst>
              </p:cNvPr>
              <p:cNvSpPr/>
              <p:nvPr/>
            </p:nvSpPr>
            <p:spPr>
              <a:xfrm>
                <a:off x="5713994" y="3279513"/>
                <a:ext cx="1872" cy="4687"/>
              </a:xfrm>
              <a:custGeom>
                <a:avLst/>
                <a:gdLst>
                  <a:gd name="connsiteX0" fmla="*/ 0 w 1872"/>
                  <a:gd name="connsiteY0" fmla="*/ 1875 h 4687"/>
                  <a:gd name="connsiteX1" fmla="*/ 947 w 1872"/>
                  <a:gd name="connsiteY1" fmla="*/ 4688 h 4687"/>
                  <a:gd name="connsiteX2" fmla="*/ 1872 w 1872"/>
                  <a:gd name="connsiteY2" fmla="*/ 4688 h 4687"/>
                  <a:gd name="connsiteX3" fmla="*/ 1872 w 1872"/>
                  <a:gd name="connsiteY3" fmla="*/ 0 h 4687"/>
                  <a:gd name="connsiteX4" fmla="*/ 0 w 1872"/>
                  <a:gd name="connsiteY4" fmla="*/ 1875 h 4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72" h="4687">
                    <a:moveTo>
                      <a:pt x="0" y="1875"/>
                    </a:moveTo>
                    <a:cubicBezTo>
                      <a:pt x="0" y="3749"/>
                      <a:pt x="0" y="4688"/>
                      <a:pt x="947" y="4688"/>
                    </a:cubicBezTo>
                    <a:lnTo>
                      <a:pt x="1872" y="4688"/>
                    </a:lnTo>
                    <a:lnTo>
                      <a:pt x="1872" y="0"/>
                    </a:lnTo>
                    <a:cubicBezTo>
                      <a:pt x="947" y="0"/>
                      <a:pt x="0" y="936"/>
                      <a:pt x="0" y="1875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33" name="Freihandform: Form 732">
                <a:extLst>
                  <a:ext uri="{FF2B5EF4-FFF2-40B4-BE49-F238E27FC236}">
                    <a16:creationId xmlns:a16="http://schemas.microsoft.com/office/drawing/2014/main" id="{CD1F7B9C-8067-228E-661E-93491FA1A2AF}"/>
                  </a:ext>
                </a:extLst>
              </p:cNvPr>
              <p:cNvSpPr/>
              <p:nvPr/>
            </p:nvSpPr>
            <p:spPr>
              <a:xfrm>
                <a:off x="5721505" y="3254208"/>
                <a:ext cx="925" cy="3749"/>
              </a:xfrm>
              <a:custGeom>
                <a:avLst/>
                <a:gdLst>
                  <a:gd name="connsiteX0" fmla="*/ 0 w 925"/>
                  <a:gd name="connsiteY0" fmla="*/ 0 h 3749"/>
                  <a:gd name="connsiteX1" fmla="*/ 0 w 925"/>
                  <a:gd name="connsiteY1" fmla="*/ 3749 h 3749"/>
                  <a:gd name="connsiteX2" fmla="*/ 925 w 925"/>
                  <a:gd name="connsiteY2" fmla="*/ 2811 h 3749"/>
                  <a:gd name="connsiteX3" fmla="*/ 0 w 925"/>
                  <a:gd name="connsiteY3" fmla="*/ 0 h 37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25" h="3749">
                    <a:moveTo>
                      <a:pt x="0" y="0"/>
                    </a:moveTo>
                    <a:lnTo>
                      <a:pt x="0" y="3749"/>
                    </a:lnTo>
                    <a:cubicBezTo>
                      <a:pt x="925" y="3749"/>
                      <a:pt x="925" y="2811"/>
                      <a:pt x="925" y="2811"/>
                    </a:cubicBezTo>
                    <a:cubicBezTo>
                      <a:pt x="925" y="1562"/>
                      <a:pt x="617" y="623"/>
                      <a:pt x="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34" name="Freihandform: Form 733">
                <a:extLst>
                  <a:ext uri="{FF2B5EF4-FFF2-40B4-BE49-F238E27FC236}">
                    <a16:creationId xmlns:a16="http://schemas.microsoft.com/office/drawing/2014/main" id="{9779527F-FDB0-99EB-DC6A-93E228725C5B}"/>
                  </a:ext>
                </a:extLst>
              </p:cNvPr>
              <p:cNvSpPr/>
              <p:nvPr/>
            </p:nvSpPr>
            <p:spPr>
              <a:xfrm>
                <a:off x="5673702" y="3168920"/>
                <a:ext cx="9362" cy="9371"/>
              </a:xfrm>
              <a:custGeom>
                <a:avLst/>
                <a:gdLst>
                  <a:gd name="connsiteX0" fmla="*/ 9362 w 9362"/>
                  <a:gd name="connsiteY0" fmla="*/ 0 h 9371"/>
                  <a:gd name="connsiteX1" fmla="*/ 5618 w 9362"/>
                  <a:gd name="connsiteY1" fmla="*/ 0 h 9371"/>
                  <a:gd name="connsiteX2" fmla="*/ 0 w 9362"/>
                  <a:gd name="connsiteY2" fmla="*/ 3747 h 9371"/>
                  <a:gd name="connsiteX3" fmla="*/ 0 w 9362"/>
                  <a:gd name="connsiteY3" fmla="*/ 9371 h 9371"/>
                  <a:gd name="connsiteX4" fmla="*/ 5618 w 9362"/>
                  <a:gd name="connsiteY4" fmla="*/ 5622 h 9371"/>
                  <a:gd name="connsiteX5" fmla="*/ 9362 w 9362"/>
                  <a:gd name="connsiteY5" fmla="*/ 0 h 93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362" h="9371">
                    <a:moveTo>
                      <a:pt x="9362" y="0"/>
                    </a:moveTo>
                    <a:lnTo>
                      <a:pt x="5618" y="0"/>
                    </a:lnTo>
                    <a:cubicBezTo>
                      <a:pt x="4692" y="3747"/>
                      <a:pt x="1873" y="3747"/>
                      <a:pt x="0" y="3747"/>
                    </a:cubicBezTo>
                    <a:lnTo>
                      <a:pt x="0" y="9371"/>
                    </a:lnTo>
                    <a:cubicBezTo>
                      <a:pt x="947" y="8435"/>
                      <a:pt x="3745" y="7496"/>
                      <a:pt x="5618" y="5622"/>
                    </a:cubicBezTo>
                    <a:cubicBezTo>
                      <a:pt x="8437" y="4686"/>
                      <a:pt x="9362" y="1875"/>
                      <a:pt x="936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35" name="Freihandform: Form 734">
                <a:extLst>
                  <a:ext uri="{FF2B5EF4-FFF2-40B4-BE49-F238E27FC236}">
                    <a16:creationId xmlns:a16="http://schemas.microsoft.com/office/drawing/2014/main" id="{2E560F09-B212-CA85-C0A0-42C14629119E}"/>
                  </a:ext>
                </a:extLst>
              </p:cNvPr>
              <p:cNvSpPr/>
              <p:nvPr/>
            </p:nvSpPr>
            <p:spPr>
              <a:xfrm>
                <a:off x="5729943" y="3137053"/>
                <a:ext cx="9238" cy="7498"/>
              </a:xfrm>
              <a:custGeom>
                <a:avLst/>
                <a:gdLst>
                  <a:gd name="connsiteX0" fmla="*/ 8437 w 9238"/>
                  <a:gd name="connsiteY0" fmla="*/ 0 h 7498"/>
                  <a:gd name="connsiteX1" fmla="*/ 6564 w 9238"/>
                  <a:gd name="connsiteY1" fmla="*/ 0 h 7498"/>
                  <a:gd name="connsiteX2" fmla="*/ 4670 w 9238"/>
                  <a:gd name="connsiteY2" fmla="*/ 938 h 7498"/>
                  <a:gd name="connsiteX3" fmla="*/ 0 w 9238"/>
                  <a:gd name="connsiteY3" fmla="*/ 7499 h 7498"/>
                  <a:gd name="connsiteX4" fmla="*/ 2798 w 9238"/>
                  <a:gd name="connsiteY4" fmla="*/ 7499 h 7498"/>
                  <a:gd name="connsiteX5" fmla="*/ 7490 w 9238"/>
                  <a:gd name="connsiteY5" fmla="*/ 3749 h 7498"/>
                  <a:gd name="connsiteX6" fmla="*/ 8437 w 9238"/>
                  <a:gd name="connsiteY6" fmla="*/ 0 h 7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238" h="7498">
                    <a:moveTo>
                      <a:pt x="8437" y="0"/>
                    </a:moveTo>
                    <a:lnTo>
                      <a:pt x="6564" y="0"/>
                    </a:lnTo>
                    <a:lnTo>
                      <a:pt x="4670" y="938"/>
                    </a:lnTo>
                    <a:cubicBezTo>
                      <a:pt x="925" y="2813"/>
                      <a:pt x="0" y="4686"/>
                      <a:pt x="0" y="7499"/>
                    </a:cubicBezTo>
                    <a:lnTo>
                      <a:pt x="2798" y="7499"/>
                    </a:lnTo>
                    <a:cubicBezTo>
                      <a:pt x="3745" y="6562"/>
                      <a:pt x="6564" y="4686"/>
                      <a:pt x="7490" y="3749"/>
                    </a:cubicBezTo>
                    <a:cubicBezTo>
                      <a:pt x="8437" y="3749"/>
                      <a:pt x="10310" y="938"/>
                      <a:pt x="8437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36" name="Freihandform: Form 735">
                <a:extLst>
                  <a:ext uri="{FF2B5EF4-FFF2-40B4-BE49-F238E27FC236}">
                    <a16:creationId xmlns:a16="http://schemas.microsoft.com/office/drawing/2014/main" id="{FEAC583D-FB39-AB4B-EB3A-8602143E8144}"/>
                  </a:ext>
                </a:extLst>
              </p:cNvPr>
              <p:cNvSpPr/>
              <p:nvPr/>
            </p:nvSpPr>
            <p:spPr>
              <a:xfrm>
                <a:off x="5732740" y="3144552"/>
                <a:ext cx="938" cy="937"/>
              </a:xfrm>
              <a:custGeom>
                <a:avLst/>
                <a:gdLst>
                  <a:gd name="connsiteX0" fmla="*/ 0 w 938"/>
                  <a:gd name="connsiteY0" fmla="*/ 0 h 937"/>
                  <a:gd name="connsiteX1" fmla="*/ 938 w 938"/>
                  <a:gd name="connsiteY1" fmla="*/ 0 h 937"/>
                  <a:gd name="connsiteX2" fmla="*/ 938 w 938"/>
                  <a:gd name="connsiteY2" fmla="*/ 938 h 937"/>
                  <a:gd name="connsiteX3" fmla="*/ 0 w 938"/>
                  <a:gd name="connsiteY3" fmla="*/ 938 h 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38" h="937">
                    <a:moveTo>
                      <a:pt x="0" y="0"/>
                    </a:moveTo>
                    <a:lnTo>
                      <a:pt x="938" y="0"/>
                    </a:lnTo>
                    <a:lnTo>
                      <a:pt x="938" y="938"/>
                    </a:lnTo>
                    <a:lnTo>
                      <a:pt x="0" y="938"/>
                    </a:ln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37" name="Freihandform: Form 736">
                <a:extLst>
                  <a:ext uri="{FF2B5EF4-FFF2-40B4-BE49-F238E27FC236}">
                    <a16:creationId xmlns:a16="http://schemas.microsoft.com/office/drawing/2014/main" id="{585CB088-5A5E-9891-33CA-0212C3B15FF1}"/>
                  </a:ext>
                </a:extLst>
              </p:cNvPr>
              <p:cNvSpPr/>
              <p:nvPr/>
            </p:nvSpPr>
            <p:spPr>
              <a:xfrm>
                <a:off x="5699939" y="3165877"/>
                <a:ext cx="9384" cy="6790"/>
              </a:xfrm>
              <a:custGeom>
                <a:avLst/>
                <a:gdLst>
                  <a:gd name="connsiteX0" fmla="*/ 9384 w 9384"/>
                  <a:gd name="connsiteY0" fmla="*/ 3043 h 6790"/>
                  <a:gd name="connsiteX1" fmla="*/ 9384 w 9384"/>
                  <a:gd name="connsiteY1" fmla="*/ 230 h 6790"/>
                  <a:gd name="connsiteX2" fmla="*/ 0 w 9384"/>
                  <a:gd name="connsiteY2" fmla="*/ 6790 h 6790"/>
                  <a:gd name="connsiteX3" fmla="*/ 5617 w 9384"/>
                  <a:gd name="connsiteY3" fmla="*/ 6790 h 6790"/>
                  <a:gd name="connsiteX4" fmla="*/ 9384 w 9384"/>
                  <a:gd name="connsiteY4" fmla="*/ 3043 h 6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384" h="6790">
                    <a:moveTo>
                      <a:pt x="9384" y="3043"/>
                    </a:moveTo>
                    <a:lnTo>
                      <a:pt x="9384" y="230"/>
                    </a:lnTo>
                    <a:cubicBezTo>
                      <a:pt x="4692" y="-707"/>
                      <a:pt x="947" y="1168"/>
                      <a:pt x="0" y="6790"/>
                    </a:cubicBezTo>
                    <a:lnTo>
                      <a:pt x="5617" y="6790"/>
                    </a:lnTo>
                    <a:cubicBezTo>
                      <a:pt x="6873" y="4918"/>
                      <a:pt x="8128" y="3666"/>
                      <a:pt x="9384" y="3043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38" name="Freihandform: Form 737">
                <a:extLst>
                  <a:ext uri="{FF2B5EF4-FFF2-40B4-BE49-F238E27FC236}">
                    <a16:creationId xmlns:a16="http://schemas.microsoft.com/office/drawing/2014/main" id="{A8ADCB32-3C76-0D67-33C9-EEF16A6BEC6D}"/>
                  </a:ext>
                </a:extLst>
              </p:cNvPr>
              <p:cNvSpPr/>
              <p:nvPr/>
            </p:nvSpPr>
            <p:spPr>
              <a:xfrm>
                <a:off x="5770234" y="3095814"/>
                <a:ext cx="12957" cy="12184"/>
              </a:xfrm>
              <a:custGeom>
                <a:avLst/>
                <a:gdLst>
                  <a:gd name="connsiteX0" fmla="*/ 10310 w 12957"/>
                  <a:gd name="connsiteY0" fmla="*/ 7499 h 12184"/>
                  <a:gd name="connsiteX1" fmla="*/ 12182 w 12957"/>
                  <a:gd name="connsiteY1" fmla="*/ 0 h 12184"/>
                  <a:gd name="connsiteX2" fmla="*/ 6565 w 12957"/>
                  <a:gd name="connsiteY2" fmla="*/ 3749 h 12184"/>
                  <a:gd name="connsiteX3" fmla="*/ 0 w 12957"/>
                  <a:gd name="connsiteY3" fmla="*/ 12184 h 12184"/>
                  <a:gd name="connsiteX4" fmla="*/ 6565 w 12957"/>
                  <a:gd name="connsiteY4" fmla="*/ 11248 h 12184"/>
                  <a:gd name="connsiteX5" fmla="*/ 10310 w 12957"/>
                  <a:gd name="connsiteY5" fmla="*/ 7499 h 12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2957" h="12184">
                    <a:moveTo>
                      <a:pt x="10310" y="7499"/>
                    </a:moveTo>
                    <a:cubicBezTo>
                      <a:pt x="12182" y="4688"/>
                      <a:pt x="14055" y="1875"/>
                      <a:pt x="12182" y="0"/>
                    </a:cubicBezTo>
                    <a:cubicBezTo>
                      <a:pt x="10310" y="0"/>
                      <a:pt x="8437" y="1875"/>
                      <a:pt x="6565" y="3749"/>
                    </a:cubicBezTo>
                    <a:cubicBezTo>
                      <a:pt x="4692" y="7499"/>
                      <a:pt x="0" y="8437"/>
                      <a:pt x="0" y="12184"/>
                    </a:cubicBezTo>
                    <a:cubicBezTo>
                      <a:pt x="2820" y="12184"/>
                      <a:pt x="3745" y="12184"/>
                      <a:pt x="6565" y="11248"/>
                    </a:cubicBezTo>
                    <a:cubicBezTo>
                      <a:pt x="7490" y="9373"/>
                      <a:pt x="8437" y="8437"/>
                      <a:pt x="10310" y="7499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39" name="Freihandform: Form 738">
                <a:extLst>
                  <a:ext uri="{FF2B5EF4-FFF2-40B4-BE49-F238E27FC236}">
                    <a16:creationId xmlns:a16="http://schemas.microsoft.com/office/drawing/2014/main" id="{F3820CB4-6569-B4C0-D21F-54AE917731BF}"/>
                  </a:ext>
                </a:extLst>
              </p:cNvPr>
              <p:cNvSpPr/>
              <p:nvPr/>
            </p:nvSpPr>
            <p:spPr>
              <a:xfrm>
                <a:off x="5743997" y="3129556"/>
                <a:ext cx="925" cy="936"/>
              </a:xfrm>
              <a:custGeom>
                <a:avLst/>
                <a:gdLst>
                  <a:gd name="connsiteX0" fmla="*/ 925 w 925"/>
                  <a:gd name="connsiteY0" fmla="*/ 936 h 936"/>
                  <a:gd name="connsiteX1" fmla="*/ 925 w 925"/>
                  <a:gd name="connsiteY1" fmla="*/ 0 h 936"/>
                  <a:gd name="connsiteX2" fmla="*/ 0 w 925"/>
                  <a:gd name="connsiteY2" fmla="*/ 0 h 936"/>
                  <a:gd name="connsiteX3" fmla="*/ 925 w 925"/>
                  <a:gd name="connsiteY3" fmla="*/ 936 h 9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25" h="936">
                    <a:moveTo>
                      <a:pt x="925" y="936"/>
                    </a:moveTo>
                    <a:lnTo>
                      <a:pt x="925" y="0"/>
                    </a:lnTo>
                    <a:lnTo>
                      <a:pt x="0" y="0"/>
                    </a:lnTo>
                    <a:lnTo>
                      <a:pt x="925" y="936"/>
                    </a:ln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40" name="Freihandform: Form 739">
                <a:extLst>
                  <a:ext uri="{FF2B5EF4-FFF2-40B4-BE49-F238E27FC236}">
                    <a16:creationId xmlns:a16="http://schemas.microsoft.com/office/drawing/2014/main" id="{68002162-6647-6778-745F-EFA40FA972F6}"/>
                  </a:ext>
                </a:extLst>
              </p:cNvPr>
              <p:cNvSpPr/>
              <p:nvPr/>
            </p:nvSpPr>
            <p:spPr>
              <a:xfrm>
                <a:off x="5760567" y="3111748"/>
                <a:ext cx="5922" cy="11246"/>
              </a:xfrm>
              <a:custGeom>
                <a:avLst/>
                <a:gdLst>
                  <a:gd name="connsiteX0" fmla="*/ 1230 w 5922"/>
                  <a:gd name="connsiteY0" fmla="*/ 5624 h 11246"/>
                  <a:gd name="connsiteX1" fmla="*/ 3102 w 5922"/>
                  <a:gd name="connsiteY1" fmla="*/ 10310 h 11246"/>
                  <a:gd name="connsiteX2" fmla="*/ 4975 w 5922"/>
                  <a:gd name="connsiteY2" fmla="*/ 11246 h 11246"/>
                  <a:gd name="connsiteX3" fmla="*/ 5922 w 5922"/>
                  <a:gd name="connsiteY3" fmla="*/ 10310 h 11246"/>
                  <a:gd name="connsiteX4" fmla="*/ 5922 w 5922"/>
                  <a:gd name="connsiteY4" fmla="*/ 0 h 11246"/>
                  <a:gd name="connsiteX5" fmla="*/ 3102 w 5922"/>
                  <a:gd name="connsiteY5" fmla="*/ 0 h 11246"/>
                  <a:gd name="connsiteX6" fmla="*/ 1230 w 5922"/>
                  <a:gd name="connsiteY6" fmla="*/ 5624 h 112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922" h="11246">
                    <a:moveTo>
                      <a:pt x="1230" y="5624"/>
                    </a:moveTo>
                    <a:cubicBezTo>
                      <a:pt x="1230" y="6560"/>
                      <a:pt x="2177" y="9374"/>
                      <a:pt x="3102" y="10310"/>
                    </a:cubicBezTo>
                    <a:cubicBezTo>
                      <a:pt x="3102" y="11246"/>
                      <a:pt x="4975" y="11246"/>
                      <a:pt x="4975" y="11246"/>
                    </a:cubicBezTo>
                    <a:cubicBezTo>
                      <a:pt x="5922" y="11246"/>
                      <a:pt x="5922" y="10310"/>
                      <a:pt x="5922" y="10310"/>
                    </a:cubicBezTo>
                    <a:lnTo>
                      <a:pt x="5922" y="0"/>
                    </a:lnTo>
                    <a:lnTo>
                      <a:pt x="3102" y="0"/>
                    </a:lnTo>
                    <a:cubicBezTo>
                      <a:pt x="-643" y="1875"/>
                      <a:pt x="-643" y="3749"/>
                      <a:pt x="1230" y="5624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41" name="Freihandform: Form 740">
                <a:extLst>
                  <a:ext uri="{FF2B5EF4-FFF2-40B4-BE49-F238E27FC236}">
                    <a16:creationId xmlns:a16="http://schemas.microsoft.com/office/drawing/2014/main" id="{F76AF409-7BFD-A6B0-F722-4CB586C08724}"/>
                  </a:ext>
                </a:extLst>
              </p:cNvPr>
              <p:cNvSpPr/>
              <p:nvPr/>
            </p:nvSpPr>
            <p:spPr>
              <a:xfrm>
                <a:off x="5715866" y="3272953"/>
                <a:ext cx="6564" cy="6560"/>
              </a:xfrm>
              <a:custGeom>
                <a:avLst/>
                <a:gdLst>
                  <a:gd name="connsiteX0" fmla="*/ 0 w 6564"/>
                  <a:gd name="connsiteY0" fmla="*/ 3749 h 6560"/>
                  <a:gd name="connsiteX1" fmla="*/ 0 w 6564"/>
                  <a:gd name="connsiteY1" fmla="*/ 6560 h 6560"/>
                  <a:gd name="connsiteX2" fmla="*/ 6565 w 6564"/>
                  <a:gd name="connsiteY2" fmla="*/ 0 h 6560"/>
                  <a:gd name="connsiteX3" fmla="*/ 3767 w 6564"/>
                  <a:gd name="connsiteY3" fmla="*/ 0 h 6560"/>
                  <a:gd name="connsiteX4" fmla="*/ 0 w 6564"/>
                  <a:gd name="connsiteY4" fmla="*/ 3749 h 6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564" h="6560">
                    <a:moveTo>
                      <a:pt x="0" y="3749"/>
                    </a:moveTo>
                    <a:lnTo>
                      <a:pt x="0" y="6560"/>
                    </a:lnTo>
                    <a:cubicBezTo>
                      <a:pt x="3767" y="4686"/>
                      <a:pt x="5639" y="2811"/>
                      <a:pt x="6565" y="0"/>
                    </a:cubicBezTo>
                    <a:lnTo>
                      <a:pt x="3767" y="0"/>
                    </a:lnTo>
                    <a:cubicBezTo>
                      <a:pt x="2820" y="0"/>
                      <a:pt x="1894" y="936"/>
                      <a:pt x="0" y="3749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42" name="Freihandform: Form 741">
                <a:extLst>
                  <a:ext uri="{FF2B5EF4-FFF2-40B4-BE49-F238E27FC236}">
                    <a16:creationId xmlns:a16="http://schemas.microsoft.com/office/drawing/2014/main" id="{1ADA0D9B-0092-1D76-96D4-B64937861027}"/>
                  </a:ext>
                </a:extLst>
              </p:cNvPr>
              <p:cNvSpPr/>
              <p:nvPr/>
            </p:nvSpPr>
            <p:spPr>
              <a:xfrm>
                <a:off x="5766489" y="3107999"/>
                <a:ext cx="3744" cy="3749"/>
              </a:xfrm>
              <a:custGeom>
                <a:avLst/>
                <a:gdLst>
                  <a:gd name="connsiteX0" fmla="*/ 0 w 3744"/>
                  <a:gd name="connsiteY0" fmla="*/ 3749 h 3749"/>
                  <a:gd name="connsiteX1" fmla="*/ 3745 w 3744"/>
                  <a:gd name="connsiteY1" fmla="*/ 0 h 3749"/>
                  <a:gd name="connsiteX2" fmla="*/ 0 w 3744"/>
                  <a:gd name="connsiteY2" fmla="*/ 3749 h 37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744" h="3749">
                    <a:moveTo>
                      <a:pt x="0" y="3749"/>
                    </a:moveTo>
                    <a:cubicBezTo>
                      <a:pt x="2820" y="3749"/>
                      <a:pt x="3745" y="2813"/>
                      <a:pt x="3745" y="0"/>
                    </a:cubicBezTo>
                    <a:cubicBezTo>
                      <a:pt x="925" y="0"/>
                      <a:pt x="0" y="938"/>
                      <a:pt x="0" y="3749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43" name="Freihandform: Form 742">
                <a:extLst>
                  <a:ext uri="{FF2B5EF4-FFF2-40B4-BE49-F238E27FC236}">
                    <a16:creationId xmlns:a16="http://schemas.microsoft.com/office/drawing/2014/main" id="{A277BE1D-EDE9-114E-CE43-716EDD16791A}"/>
                  </a:ext>
                </a:extLst>
              </p:cNvPr>
              <p:cNvSpPr/>
              <p:nvPr/>
            </p:nvSpPr>
            <p:spPr>
              <a:xfrm>
                <a:off x="5753359" y="3199849"/>
                <a:ext cx="2819" cy="2810"/>
              </a:xfrm>
              <a:custGeom>
                <a:avLst/>
                <a:gdLst>
                  <a:gd name="connsiteX0" fmla="*/ 0 w 2819"/>
                  <a:gd name="connsiteY0" fmla="*/ 2811 h 2810"/>
                  <a:gd name="connsiteX1" fmla="*/ 2820 w 2819"/>
                  <a:gd name="connsiteY1" fmla="*/ 1872 h 2810"/>
                  <a:gd name="connsiteX2" fmla="*/ 1873 w 2819"/>
                  <a:gd name="connsiteY2" fmla="*/ 0 h 2810"/>
                  <a:gd name="connsiteX3" fmla="*/ 0 w 2819"/>
                  <a:gd name="connsiteY3" fmla="*/ 2811 h 28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19" h="2810">
                    <a:moveTo>
                      <a:pt x="0" y="2811"/>
                    </a:moveTo>
                    <a:cubicBezTo>
                      <a:pt x="1873" y="2811"/>
                      <a:pt x="1873" y="1872"/>
                      <a:pt x="2820" y="1872"/>
                    </a:cubicBezTo>
                    <a:cubicBezTo>
                      <a:pt x="2820" y="0"/>
                      <a:pt x="1873" y="0"/>
                      <a:pt x="1873" y="0"/>
                    </a:cubicBezTo>
                    <a:cubicBezTo>
                      <a:pt x="0" y="0"/>
                      <a:pt x="0" y="1872"/>
                      <a:pt x="0" y="2811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44" name="Freihandform: Form 743">
                <a:extLst>
                  <a:ext uri="{FF2B5EF4-FFF2-40B4-BE49-F238E27FC236}">
                    <a16:creationId xmlns:a16="http://schemas.microsoft.com/office/drawing/2014/main" id="{6E39DF24-7DF2-AB43-E3F1-A5FF6336C8CD}"/>
                  </a:ext>
                </a:extLst>
              </p:cNvPr>
              <p:cNvSpPr/>
              <p:nvPr/>
            </p:nvSpPr>
            <p:spPr>
              <a:xfrm>
                <a:off x="5758052" y="3192585"/>
                <a:ext cx="947" cy="2576"/>
              </a:xfrm>
              <a:custGeom>
                <a:avLst/>
                <a:gdLst>
                  <a:gd name="connsiteX0" fmla="*/ 947 w 947"/>
                  <a:gd name="connsiteY0" fmla="*/ 2577 h 2576"/>
                  <a:gd name="connsiteX1" fmla="*/ 947 w 947"/>
                  <a:gd name="connsiteY1" fmla="*/ 702 h 2576"/>
                  <a:gd name="connsiteX2" fmla="*/ 0 w 947"/>
                  <a:gd name="connsiteY2" fmla="*/ 702 h 2576"/>
                  <a:gd name="connsiteX3" fmla="*/ 947 w 947"/>
                  <a:gd name="connsiteY3" fmla="*/ 2577 h 25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47" h="2576">
                    <a:moveTo>
                      <a:pt x="947" y="2577"/>
                    </a:moveTo>
                    <a:lnTo>
                      <a:pt x="947" y="702"/>
                    </a:lnTo>
                    <a:cubicBezTo>
                      <a:pt x="947" y="-234"/>
                      <a:pt x="0" y="-234"/>
                      <a:pt x="0" y="702"/>
                    </a:cubicBezTo>
                    <a:cubicBezTo>
                      <a:pt x="0" y="702"/>
                      <a:pt x="0" y="2577"/>
                      <a:pt x="947" y="2577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45" name="Freihandform: Form 744">
                <a:extLst>
                  <a:ext uri="{FF2B5EF4-FFF2-40B4-BE49-F238E27FC236}">
                    <a16:creationId xmlns:a16="http://schemas.microsoft.com/office/drawing/2014/main" id="{3BF0C30E-561E-644E-074A-C3D89A98502D}"/>
                  </a:ext>
                </a:extLst>
              </p:cNvPr>
              <p:cNvSpPr/>
              <p:nvPr/>
            </p:nvSpPr>
            <p:spPr>
              <a:xfrm>
                <a:off x="5770234" y="3172670"/>
                <a:ext cx="2819" cy="5621"/>
              </a:xfrm>
              <a:custGeom>
                <a:avLst/>
                <a:gdLst>
                  <a:gd name="connsiteX0" fmla="*/ 2820 w 2819"/>
                  <a:gd name="connsiteY0" fmla="*/ 5622 h 5621"/>
                  <a:gd name="connsiteX1" fmla="*/ 2820 w 2819"/>
                  <a:gd name="connsiteY1" fmla="*/ 0 h 5621"/>
                  <a:gd name="connsiteX2" fmla="*/ 0 w 2819"/>
                  <a:gd name="connsiteY2" fmla="*/ 5622 h 5621"/>
                  <a:gd name="connsiteX3" fmla="*/ 2820 w 2819"/>
                  <a:gd name="connsiteY3" fmla="*/ 5622 h 56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19" h="5621">
                    <a:moveTo>
                      <a:pt x="2820" y="5622"/>
                    </a:moveTo>
                    <a:lnTo>
                      <a:pt x="2820" y="0"/>
                    </a:lnTo>
                    <a:cubicBezTo>
                      <a:pt x="0" y="936"/>
                      <a:pt x="0" y="3747"/>
                      <a:pt x="0" y="5622"/>
                    </a:cubicBezTo>
                    <a:lnTo>
                      <a:pt x="2820" y="5622"/>
                    </a:ln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46" name="Freihandform: Form 745">
                <a:extLst>
                  <a:ext uri="{FF2B5EF4-FFF2-40B4-BE49-F238E27FC236}">
                    <a16:creationId xmlns:a16="http://schemas.microsoft.com/office/drawing/2014/main" id="{58D92291-00CC-4D00-0370-AC978583BD8E}"/>
                  </a:ext>
                </a:extLst>
              </p:cNvPr>
              <p:cNvSpPr/>
              <p:nvPr/>
            </p:nvSpPr>
            <p:spPr>
              <a:xfrm>
                <a:off x="5906132" y="3057389"/>
                <a:ext cx="58112" cy="14058"/>
              </a:xfrm>
              <a:custGeom>
                <a:avLst/>
                <a:gdLst>
                  <a:gd name="connsiteX0" fmla="*/ 36546 w 58112"/>
                  <a:gd name="connsiteY0" fmla="*/ 10310 h 14058"/>
                  <a:gd name="connsiteX1" fmla="*/ 37494 w 58112"/>
                  <a:gd name="connsiteY1" fmla="*/ 14059 h 14058"/>
                  <a:gd name="connsiteX2" fmla="*/ 47803 w 58112"/>
                  <a:gd name="connsiteY2" fmla="*/ 14059 h 14058"/>
                  <a:gd name="connsiteX3" fmla="*/ 50623 w 58112"/>
                  <a:gd name="connsiteY3" fmla="*/ 13121 h 14058"/>
                  <a:gd name="connsiteX4" fmla="*/ 58113 w 58112"/>
                  <a:gd name="connsiteY4" fmla="*/ 5622 h 14058"/>
                  <a:gd name="connsiteX5" fmla="*/ 55293 w 58112"/>
                  <a:gd name="connsiteY5" fmla="*/ 1875 h 14058"/>
                  <a:gd name="connsiteX6" fmla="*/ 50623 w 58112"/>
                  <a:gd name="connsiteY6" fmla="*/ 0 h 14058"/>
                  <a:gd name="connsiteX7" fmla="*/ 2820 w 58112"/>
                  <a:gd name="connsiteY7" fmla="*/ 0 h 14058"/>
                  <a:gd name="connsiteX8" fmla="*/ 0 w 58112"/>
                  <a:gd name="connsiteY8" fmla="*/ 1875 h 14058"/>
                  <a:gd name="connsiteX9" fmla="*/ 0 w 58112"/>
                  <a:gd name="connsiteY9" fmla="*/ 2811 h 14058"/>
                  <a:gd name="connsiteX10" fmla="*/ 4692 w 58112"/>
                  <a:gd name="connsiteY10" fmla="*/ 6560 h 14058"/>
                  <a:gd name="connsiteX11" fmla="*/ 10310 w 58112"/>
                  <a:gd name="connsiteY11" fmla="*/ 6560 h 14058"/>
                  <a:gd name="connsiteX12" fmla="*/ 15002 w 58112"/>
                  <a:gd name="connsiteY12" fmla="*/ 3749 h 14058"/>
                  <a:gd name="connsiteX13" fmla="*/ 39366 w 58112"/>
                  <a:gd name="connsiteY13" fmla="*/ 5622 h 14058"/>
                  <a:gd name="connsiteX14" fmla="*/ 40313 w 58112"/>
                  <a:gd name="connsiteY14" fmla="*/ 6560 h 14058"/>
                  <a:gd name="connsiteX15" fmla="*/ 36546 w 58112"/>
                  <a:gd name="connsiteY15" fmla="*/ 10310 h 140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8112" h="14058">
                    <a:moveTo>
                      <a:pt x="36546" y="10310"/>
                    </a:moveTo>
                    <a:cubicBezTo>
                      <a:pt x="35621" y="12184"/>
                      <a:pt x="36546" y="14059"/>
                      <a:pt x="37494" y="14059"/>
                    </a:cubicBezTo>
                    <a:lnTo>
                      <a:pt x="47803" y="14059"/>
                    </a:lnTo>
                    <a:cubicBezTo>
                      <a:pt x="48728" y="14059"/>
                      <a:pt x="50623" y="13121"/>
                      <a:pt x="50623" y="13121"/>
                    </a:cubicBezTo>
                    <a:cubicBezTo>
                      <a:pt x="52495" y="10310"/>
                      <a:pt x="55293" y="8435"/>
                      <a:pt x="58113" y="5622"/>
                    </a:cubicBezTo>
                    <a:cubicBezTo>
                      <a:pt x="58113" y="5622"/>
                      <a:pt x="56240" y="1875"/>
                      <a:pt x="55293" y="1875"/>
                    </a:cubicBezTo>
                    <a:cubicBezTo>
                      <a:pt x="54368" y="1875"/>
                      <a:pt x="52495" y="0"/>
                      <a:pt x="50623" y="0"/>
                    </a:cubicBezTo>
                    <a:lnTo>
                      <a:pt x="2820" y="0"/>
                    </a:lnTo>
                    <a:cubicBezTo>
                      <a:pt x="1564" y="1249"/>
                      <a:pt x="639" y="1875"/>
                      <a:pt x="0" y="1875"/>
                    </a:cubicBezTo>
                    <a:lnTo>
                      <a:pt x="0" y="2811"/>
                    </a:lnTo>
                    <a:cubicBezTo>
                      <a:pt x="947" y="3749"/>
                      <a:pt x="3745" y="5622"/>
                      <a:pt x="4692" y="6560"/>
                    </a:cubicBezTo>
                    <a:cubicBezTo>
                      <a:pt x="6564" y="8435"/>
                      <a:pt x="8437" y="6560"/>
                      <a:pt x="10310" y="6560"/>
                    </a:cubicBezTo>
                    <a:cubicBezTo>
                      <a:pt x="11257" y="5622"/>
                      <a:pt x="12182" y="3749"/>
                      <a:pt x="15002" y="3749"/>
                    </a:cubicBezTo>
                    <a:cubicBezTo>
                      <a:pt x="22492" y="3749"/>
                      <a:pt x="31876" y="3749"/>
                      <a:pt x="39366" y="5622"/>
                    </a:cubicBezTo>
                    <a:lnTo>
                      <a:pt x="40313" y="6560"/>
                    </a:lnTo>
                    <a:cubicBezTo>
                      <a:pt x="39366" y="8435"/>
                      <a:pt x="37494" y="9371"/>
                      <a:pt x="36546" y="10310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47" name="Freihandform: Form 746">
                <a:extLst>
                  <a:ext uri="{FF2B5EF4-FFF2-40B4-BE49-F238E27FC236}">
                    <a16:creationId xmlns:a16="http://schemas.microsoft.com/office/drawing/2014/main" id="{3058B671-7AE6-343C-B0D0-B9B93806E5ED}"/>
                  </a:ext>
                </a:extLst>
              </p:cNvPr>
              <p:cNvSpPr/>
              <p:nvPr/>
            </p:nvSpPr>
            <p:spPr>
              <a:xfrm>
                <a:off x="5602482" y="3491433"/>
                <a:ext cx="2798" cy="5518"/>
              </a:xfrm>
              <a:custGeom>
                <a:avLst/>
                <a:gdLst>
                  <a:gd name="connsiteX0" fmla="*/ 2798 w 2798"/>
                  <a:gd name="connsiteY0" fmla="*/ 2706 h 5518"/>
                  <a:gd name="connsiteX1" fmla="*/ 1873 w 2798"/>
                  <a:gd name="connsiteY1" fmla="*/ 833 h 5518"/>
                  <a:gd name="connsiteX2" fmla="*/ 0 w 2798"/>
                  <a:gd name="connsiteY2" fmla="*/ 833 h 5518"/>
                  <a:gd name="connsiteX3" fmla="*/ 0 w 2798"/>
                  <a:gd name="connsiteY3" fmla="*/ 5519 h 5518"/>
                  <a:gd name="connsiteX4" fmla="*/ 2798 w 2798"/>
                  <a:gd name="connsiteY4" fmla="*/ 2706 h 55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98" h="5518">
                    <a:moveTo>
                      <a:pt x="2798" y="2706"/>
                    </a:moveTo>
                    <a:cubicBezTo>
                      <a:pt x="2798" y="1769"/>
                      <a:pt x="2798" y="833"/>
                      <a:pt x="1873" y="833"/>
                    </a:cubicBezTo>
                    <a:cubicBezTo>
                      <a:pt x="1873" y="-1041"/>
                      <a:pt x="0" y="833"/>
                      <a:pt x="0" y="833"/>
                    </a:cubicBezTo>
                    <a:lnTo>
                      <a:pt x="0" y="5519"/>
                    </a:lnTo>
                    <a:cubicBezTo>
                      <a:pt x="1873" y="5519"/>
                      <a:pt x="2798" y="4580"/>
                      <a:pt x="2798" y="2706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48" name="Freihandform: Form 747">
                <a:extLst>
                  <a:ext uri="{FF2B5EF4-FFF2-40B4-BE49-F238E27FC236}">
                    <a16:creationId xmlns:a16="http://schemas.microsoft.com/office/drawing/2014/main" id="{73832304-1C5C-7645-A847-A7B7CE7F0EFB}"/>
                  </a:ext>
                </a:extLst>
              </p:cNvPr>
              <p:cNvSpPr/>
              <p:nvPr/>
            </p:nvSpPr>
            <p:spPr>
              <a:xfrm>
                <a:off x="5683064" y="3148301"/>
                <a:ext cx="22513" cy="20619"/>
              </a:xfrm>
              <a:custGeom>
                <a:avLst/>
                <a:gdLst>
                  <a:gd name="connsiteX0" fmla="*/ 22514 w 22513"/>
                  <a:gd name="connsiteY0" fmla="*/ 936 h 20619"/>
                  <a:gd name="connsiteX1" fmla="*/ 22514 w 22513"/>
                  <a:gd name="connsiteY1" fmla="*/ 0 h 20619"/>
                  <a:gd name="connsiteX2" fmla="*/ 16874 w 22513"/>
                  <a:gd name="connsiteY2" fmla="*/ 0 h 20619"/>
                  <a:gd name="connsiteX3" fmla="*/ 13130 w 22513"/>
                  <a:gd name="connsiteY3" fmla="*/ 3747 h 20619"/>
                  <a:gd name="connsiteX4" fmla="*/ 10310 w 22513"/>
                  <a:gd name="connsiteY4" fmla="*/ 7499 h 20619"/>
                  <a:gd name="connsiteX5" fmla="*/ 6565 w 22513"/>
                  <a:gd name="connsiteY5" fmla="*/ 10310 h 20619"/>
                  <a:gd name="connsiteX6" fmla="*/ 1894 w 22513"/>
                  <a:gd name="connsiteY6" fmla="*/ 16870 h 20619"/>
                  <a:gd name="connsiteX7" fmla="*/ 0 w 22513"/>
                  <a:gd name="connsiteY7" fmla="*/ 20619 h 20619"/>
                  <a:gd name="connsiteX8" fmla="*/ 5639 w 22513"/>
                  <a:gd name="connsiteY8" fmla="*/ 18745 h 20619"/>
                  <a:gd name="connsiteX9" fmla="*/ 22514 w 22513"/>
                  <a:gd name="connsiteY9" fmla="*/ 936 h 206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2513" h="20619">
                    <a:moveTo>
                      <a:pt x="22514" y="936"/>
                    </a:moveTo>
                    <a:lnTo>
                      <a:pt x="22514" y="0"/>
                    </a:lnTo>
                    <a:lnTo>
                      <a:pt x="16874" y="0"/>
                    </a:lnTo>
                    <a:cubicBezTo>
                      <a:pt x="16874" y="2811"/>
                      <a:pt x="15002" y="3747"/>
                      <a:pt x="13130" y="3747"/>
                    </a:cubicBezTo>
                    <a:cubicBezTo>
                      <a:pt x="13130" y="4686"/>
                      <a:pt x="11257" y="6560"/>
                      <a:pt x="10310" y="7499"/>
                    </a:cubicBezTo>
                    <a:cubicBezTo>
                      <a:pt x="9384" y="9371"/>
                      <a:pt x="7512" y="10310"/>
                      <a:pt x="6565" y="10310"/>
                    </a:cubicBezTo>
                    <a:cubicBezTo>
                      <a:pt x="5639" y="13121"/>
                      <a:pt x="3767" y="14995"/>
                      <a:pt x="1894" y="16870"/>
                    </a:cubicBezTo>
                    <a:cubicBezTo>
                      <a:pt x="1894" y="17806"/>
                      <a:pt x="0" y="18745"/>
                      <a:pt x="0" y="20619"/>
                    </a:cubicBezTo>
                    <a:cubicBezTo>
                      <a:pt x="1894" y="20619"/>
                      <a:pt x="3767" y="20619"/>
                      <a:pt x="5639" y="18745"/>
                    </a:cubicBezTo>
                    <a:cubicBezTo>
                      <a:pt x="11257" y="14059"/>
                      <a:pt x="17822" y="7497"/>
                      <a:pt x="22514" y="936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49" name="Freihandform: Form 748">
                <a:extLst>
                  <a:ext uri="{FF2B5EF4-FFF2-40B4-BE49-F238E27FC236}">
                    <a16:creationId xmlns:a16="http://schemas.microsoft.com/office/drawing/2014/main" id="{1BBCA2B4-7A07-46FB-0CC3-A279EE9822F6}"/>
                  </a:ext>
                </a:extLst>
              </p:cNvPr>
              <p:cNvSpPr/>
              <p:nvPr/>
            </p:nvSpPr>
            <p:spPr>
              <a:xfrm>
                <a:off x="5593097" y="3496952"/>
                <a:ext cx="9384" cy="22773"/>
              </a:xfrm>
              <a:custGeom>
                <a:avLst/>
                <a:gdLst>
                  <a:gd name="connsiteX0" fmla="*/ 8437 w 9384"/>
                  <a:gd name="connsiteY0" fmla="*/ 938 h 22773"/>
                  <a:gd name="connsiteX1" fmla="*/ 0 w 9384"/>
                  <a:gd name="connsiteY1" fmla="*/ 16870 h 22773"/>
                  <a:gd name="connsiteX2" fmla="*/ 0 w 9384"/>
                  <a:gd name="connsiteY2" fmla="*/ 20619 h 22773"/>
                  <a:gd name="connsiteX3" fmla="*/ 1873 w 9384"/>
                  <a:gd name="connsiteY3" fmla="*/ 21556 h 22773"/>
                  <a:gd name="connsiteX4" fmla="*/ 1873 w 9384"/>
                  <a:gd name="connsiteY4" fmla="*/ 20619 h 22773"/>
                  <a:gd name="connsiteX5" fmla="*/ 7490 w 9384"/>
                  <a:gd name="connsiteY5" fmla="*/ 11246 h 22773"/>
                  <a:gd name="connsiteX6" fmla="*/ 9384 w 9384"/>
                  <a:gd name="connsiteY6" fmla="*/ 10310 h 22773"/>
                  <a:gd name="connsiteX7" fmla="*/ 9384 w 9384"/>
                  <a:gd name="connsiteY7" fmla="*/ 0 h 22773"/>
                  <a:gd name="connsiteX8" fmla="*/ 8437 w 9384"/>
                  <a:gd name="connsiteY8" fmla="*/ 938 h 227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384" h="22773">
                    <a:moveTo>
                      <a:pt x="8437" y="938"/>
                    </a:moveTo>
                    <a:cubicBezTo>
                      <a:pt x="4692" y="4686"/>
                      <a:pt x="1873" y="11246"/>
                      <a:pt x="0" y="16870"/>
                    </a:cubicBezTo>
                    <a:lnTo>
                      <a:pt x="0" y="20619"/>
                    </a:lnTo>
                    <a:cubicBezTo>
                      <a:pt x="0" y="21556"/>
                      <a:pt x="0" y="24369"/>
                      <a:pt x="1873" y="21556"/>
                    </a:cubicBezTo>
                    <a:lnTo>
                      <a:pt x="1873" y="20619"/>
                    </a:lnTo>
                    <a:cubicBezTo>
                      <a:pt x="4692" y="17808"/>
                      <a:pt x="5618" y="14995"/>
                      <a:pt x="7490" y="11246"/>
                    </a:cubicBezTo>
                    <a:cubicBezTo>
                      <a:pt x="7490" y="11246"/>
                      <a:pt x="8437" y="10310"/>
                      <a:pt x="9384" y="10310"/>
                    </a:cubicBezTo>
                    <a:lnTo>
                      <a:pt x="9384" y="0"/>
                    </a:lnTo>
                    <a:cubicBezTo>
                      <a:pt x="8746" y="0"/>
                      <a:pt x="8437" y="313"/>
                      <a:pt x="8437" y="938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50" name="Freihandform: Form 749">
                <a:extLst>
                  <a:ext uri="{FF2B5EF4-FFF2-40B4-BE49-F238E27FC236}">
                    <a16:creationId xmlns:a16="http://schemas.microsoft.com/office/drawing/2014/main" id="{B893758F-7B96-3121-2C59-003A4156688D}"/>
                  </a:ext>
                </a:extLst>
              </p:cNvPr>
              <p:cNvSpPr/>
              <p:nvPr/>
            </p:nvSpPr>
            <p:spPr>
              <a:xfrm>
                <a:off x="5598715" y="3517572"/>
                <a:ext cx="3766" cy="4685"/>
              </a:xfrm>
              <a:custGeom>
                <a:avLst/>
                <a:gdLst>
                  <a:gd name="connsiteX0" fmla="*/ 1872 w 3766"/>
                  <a:gd name="connsiteY0" fmla="*/ 4686 h 4685"/>
                  <a:gd name="connsiteX1" fmla="*/ 2820 w 3766"/>
                  <a:gd name="connsiteY1" fmla="*/ 3749 h 4685"/>
                  <a:gd name="connsiteX2" fmla="*/ 3767 w 3766"/>
                  <a:gd name="connsiteY2" fmla="*/ 0 h 4685"/>
                  <a:gd name="connsiteX3" fmla="*/ 0 w 3766"/>
                  <a:gd name="connsiteY3" fmla="*/ 1875 h 4685"/>
                  <a:gd name="connsiteX4" fmla="*/ 1872 w 3766"/>
                  <a:gd name="connsiteY4" fmla="*/ 4686 h 46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766" h="4685">
                    <a:moveTo>
                      <a:pt x="1872" y="4686"/>
                    </a:moveTo>
                    <a:cubicBezTo>
                      <a:pt x="2511" y="4686"/>
                      <a:pt x="2820" y="4373"/>
                      <a:pt x="2820" y="3749"/>
                    </a:cubicBezTo>
                    <a:cubicBezTo>
                      <a:pt x="2820" y="1875"/>
                      <a:pt x="2820" y="936"/>
                      <a:pt x="3767" y="0"/>
                    </a:cubicBezTo>
                    <a:cubicBezTo>
                      <a:pt x="2820" y="936"/>
                      <a:pt x="1872" y="936"/>
                      <a:pt x="0" y="1875"/>
                    </a:cubicBezTo>
                    <a:cubicBezTo>
                      <a:pt x="0" y="3749"/>
                      <a:pt x="1872" y="4686"/>
                      <a:pt x="1872" y="4686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51" name="Freihandform: Form 750">
                <a:extLst>
                  <a:ext uri="{FF2B5EF4-FFF2-40B4-BE49-F238E27FC236}">
                    <a16:creationId xmlns:a16="http://schemas.microsoft.com/office/drawing/2014/main" id="{4100FD26-F2E2-C93F-F7B9-B1BB6A520CBA}"/>
                  </a:ext>
                </a:extLst>
              </p:cNvPr>
              <p:cNvSpPr/>
              <p:nvPr/>
            </p:nvSpPr>
            <p:spPr>
              <a:xfrm>
                <a:off x="5625899" y="3456650"/>
                <a:ext cx="9384" cy="22494"/>
              </a:xfrm>
              <a:custGeom>
                <a:avLst/>
                <a:gdLst>
                  <a:gd name="connsiteX0" fmla="*/ 1873 w 9384"/>
                  <a:gd name="connsiteY0" fmla="*/ 22494 h 22494"/>
                  <a:gd name="connsiteX1" fmla="*/ 3745 w 9384"/>
                  <a:gd name="connsiteY1" fmla="*/ 21558 h 22494"/>
                  <a:gd name="connsiteX2" fmla="*/ 8437 w 9384"/>
                  <a:gd name="connsiteY2" fmla="*/ 11248 h 22494"/>
                  <a:gd name="connsiteX3" fmla="*/ 9385 w 9384"/>
                  <a:gd name="connsiteY3" fmla="*/ 0 h 22494"/>
                  <a:gd name="connsiteX4" fmla="*/ 7512 w 9384"/>
                  <a:gd name="connsiteY4" fmla="*/ 938 h 22494"/>
                  <a:gd name="connsiteX5" fmla="*/ 3745 w 9384"/>
                  <a:gd name="connsiteY5" fmla="*/ 10312 h 22494"/>
                  <a:gd name="connsiteX6" fmla="*/ 0 w 9384"/>
                  <a:gd name="connsiteY6" fmla="*/ 14061 h 22494"/>
                  <a:gd name="connsiteX7" fmla="*/ 947 w 9384"/>
                  <a:gd name="connsiteY7" fmla="*/ 20619 h 22494"/>
                  <a:gd name="connsiteX8" fmla="*/ 1873 w 9384"/>
                  <a:gd name="connsiteY8" fmla="*/ 22494 h 224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384" h="22494">
                    <a:moveTo>
                      <a:pt x="1873" y="22494"/>
                    </a:moveTo>
                    <a:cubicBezTo>
                      <a:pt x="1873" y="21558"/>
                      <a:pt x="3745" y="21558"/>
                      <a:pt x="3745" y="21558"/>
                    </a:cubicBezTo>
                    <a:cubicBezTo>
                      <a:pt x="4692" y="17808"/>
                      <a:pt x="5618" y="14059"/>
                      <a:pt x="8437" y="11248"/>
                    </a:cubicBezTo>
                    <a:cubicBezTo>
                      <a:pt x="9385" y="7499"/>
                      <a:pt x="9385" y="3749"/>
                      <a:pt x="9385" y="0"/>
                    </a:cubicBezTo>
                    <a:cubicBezTo>
                      <a:pt x="9385" y="938"/>
                      <a:pt x="8437" y="938"/>
                      <a:pt x="7512" y="938"/>
                    </a:cubicBezTo>
                    <a:cubicBezTo>
                      <a:pt x="5618" y="4688"/>
                      <a:pt x="4692" y="7499"/>
                      <a:pt x="3745" y="10312"/>
                    </a:cubicBezTo>
                    <a:cubicBezTo>
                      <a:pt x="2511" y="12184"/>
                      <a:pt x="1256" y="13436"/>
                      <a:pt x="0" y="14061"/>
                    </a:cubicBezTo>
                    <a:cubicBezTo>
                      <a:pt x="0" y="14997"/>
                      <a:pt x="0" y="17808"/>
                      <a:pt x="947" y="20619"/>
                    </a:cubicBezTo>
                    <a:cubicBezTo>
                      <a:pt x="947" y="20619"/>
                      <a:pt x="947" y="21558"/>
                      <a:pt x="1873" y="22494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52" name="Freihandform: Form 751">
                <a:extLst>
                  <a:ext uri="{FF2B5EF4-FFF2-40B4-BE49-F238E27FC236}">
                    <a16:creationId xmlns:a16="http://schemas.microsoft.com/office/drawing/2014/main" id="{ACB763A9-E280-943D-AB10-C5BD42814126}"/>
                  </a:ext>
                </a:extLst>
              </p:cNvPr>
              <p:cNvSpPr/>
              <p:nvPr/>
            </p:nvSpPr>
            <p:spPr>
              <a:xfrm>
                <a:off x="5602482" y="3507262"/>
                <a:ext cx="4483" cy="10309"/>
              </a:xfrm>
              <a:custGeom>
                <a:avLst/>
                <a:gdLst>
                  <a:gd name="connsiteX0" fmla="*/ 3745 w 4483"/>
                  <a:gd name="connsiteY0" fmla="*/ 3749 h 10309"/>
                  <a:gd name="connsiteX1" fmla="*/ 2798 w 4483"/>
                  <a:gd name="connsiteY1" fmla="*/ 0 h 10309"/>
                  <a:gd name="connsiteX2" fmla="*/ 0 w 4483"/>
                  <a:gd name="connsiteY2" fmla="*/ 0 h 10309"/>
                  <a:gd name="connsiteX3" fmla="*/ 0 w 4483"/>
                  <a:gd name="connsiteY3" fmla="*/ 10310 h 10309"/>
                  <a:gd name="connsiteX4" fmla="*/ 3745 w 4483"/>
                  <a:gd name="connsiteY4" fmla="*/ 3749 h 103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483" h="10309">
                    <a:moveTo>
                      <a:pt x="3745" y="3749"/>
                    </a:moveTo>
                    <a:cubicBezTo>
                      <a:pt x="4979" y="1875"/>
                      <a:pt x="4670" y="626"/>
                      <a:pt x="2798" y="0"/>
                    </a:cubicBezTo>
                    <a:lnTo>
                      <a:pt x="0" y="0"/>
                    </a:lnTo>
                    <a:lnTo>
                      <a:pt x="0" y="10310"/>
                    </a:lnTo>
                    <a:cubicBezTo>
                      <a:pt x="2798" y="8435"/>
                      <a:pt x="2798" y="6560"/>
                      <a:pt x="3745" y="3749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53" name="Freihandform: Form 752">
                <a:extLst>
                  <a:ext uri="{FF2B5EF4-FFF2-40B4-BE49-F238E27FC236}">
                    <a16:creationId xmlns:a16="http://schemas.microsoft.com/office/drawing/2014/main" id="{5F01685C-6692-949A-D16F-4DB4D971CA73}"/>
                  </a:ext>
                </a:extLst>
              </p:cNvPr>
              <p:cNvSpPr/>
              <p:nvPr/>
            </p:nvSpPr>
            <p:spPr>
              <a:xfrm>
                <a:off x="5609551" y="3494608"/>
                <a:ext cx="2293" cy="3282"/>
              </a:xfrm>
              <a:custGeom>
                <a:avLst/>
                <a:gdLst>
                  <a:gd name="connsiteX0" fmla="*/ 421 w 2293"/>
                  <a:gd name="connsiteY0" fmla="*/ 3283 h 3282"/>
                  <a:gd name="connsiteX1" fmla="*/ 2293 w 2293"/>
                  <a:gd name="connsiteY1" fmla="*/ 3283 h 3282"/>
                  <a:gd name="connsiteX2" fmla="*/ 2293 w 2293"/>
                  <a:gd name="connsiteY2" fmla="*/ 1406 h 3282"/>
                  <a:gd name="connsiteX3" fmla="*/ 421 w 2293"/>
                  <a:gd name="connsiteY3" fmla="*/ 1406 h 3282"/>
                  <a:gd name="connsiteX4" fmla="*/ 421 w 2293"/>
                  <a:gd name="connsiteY4" fmla="*/ 3283 h 32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93" h="3282">
                    <a:moveTo>
                      <a:pt x="421" y="3283"/>
                    </a:moveTo>
                    <a:lnTo>
                      <a:pt x="2293" y="3283"/>
                    </a:lnTo>
                    <a:lnTo>
                      <a:pt x="2293" y="1406"/>
                    </a:lnTo>
                    <a:cubicBezTo>
                      <a:pt x="2293" y="-469"/>
                      <a:pt x="421" y="-469"/>
                      <a:pt x="421" y="1406"/>
                    </a:cubicBezTo>
                    <a:cubicBezTo>
                      <a:pt x="-526" y="2344"/>
                      <a:pt x="421" y="3283"/>
                      <a:pt x="421" y="32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54" name="Freihandform: Form 753">
                <a:extLst>
                  <a:ext uri="{FF2B5EF4-FFF2-40B4-BE49-F238E27FC236}">
                    <a16:creationId xmlns:a16="http://schemas.microsoft.com/office/drawing/2014/main" id="{0308079B-20DB-7074-4A3D-79B30C3AD042}"/>
                  </a:ext>
                </a:extLst>
              </p:cNvPr>
              <p:cNvSpPr/>
              <p:nvPr/>
            </p:nvSpPr>
            <p:spPr>
              <a:xfrm>
                <a:off x="5639028" y="3444468"/>
                <a:ext cx="3744" cy="5621"/>
              </a:xfrm>
              <a:custGeom>
                <a:avLst/>
                <a:gdLst>
                  <a:gd name="connsiteX0" fmla="*/ 3745 w 3744"/>
                  <a:gd name="connsiteY0" fmla="*/ 0 h 5621"/>
                  <a:gd name="connsiteX1" fmla="*/ 0 w 3744"/>
                  <a:gd name="connsiteY1" fmla="*/ 3747 h 5621"/>
                  <a:gd name="connsiteX2" fmla="*/ 0 w 3744"/>
                  <a:gd name="connsiteY2" fmla="*/ 5622 h 5621"/>
                  <a:gd name="connsiteX3" fmla="*/ 3745 w 3744"/>
                  <a:gd name="connsiteY3" fmla="*/ 0 h 56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744" h="5621">
                    <a:moveTo>
                      <a:pt x="3745" y="0"/>
                    </a:moveTo>
                    <a:cubicBezTo>
                      <a:pt x="1872" y="0"/>
                      <a:pt x="0" y="936"/>
                      <a:pt x="0" y="3747"/>
                    </a:cubicBezTo>
                    <a:lnTo>
                      <a:pt x="0" y="5622"/>
                    </a:lnTo>
                    <a:cubicBezTo>
                      <a:pt x="3745" y="4686"/>
                      <a:pt x="3745" y="1875"/>
                      <a:pt x="3745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55" name="Freihandform: Form 754">
                <a:extLst>
                  <a:ext uri="{FF2B5EF4-FFF2-40B4-BE49-F238E27FC236}">
                    <a16:creationId xmlns:a16="http://schemas.microsoft.com/office/drawing/2014/main" id="{0993AA27-C4E3-7D79-3A2B-A79A845FE993}"/>
                  </a:ext>
                </a:extLst>
              </p:cNvPr>
              <p:cNvSpPr/>
              <p:nvPr/>
            </p:nvSpPr>
            <p:spPr>
              <a:xfrm>
                <a:off x="5596842" y="3530692"/>
                <a:ext cx="947" cy="2813"/>
              </a:xfrm>
              <a:custGeom>
                <a:avLst/>
                <a:gdLst>
                  <a:gd name="connsiteX0" fmla="*/ 947 w 947"/>
                  <a:gd name="connsiteY0" fmla="*/ 1875 h 2813"/>
                  <a:gd name="connsiteX1" fmla="*/ 0 w 947"/>
                  <a:gd name="connsiteY1" fmla="*/ 0 h 2813"/>
                  <a:gd name="connsiteX2" fmla="*/ 0 w 947"/>
                  <a:gd name="connsiteY2" fmla="*/ 2813 h 2813"/>
                  <a:gd name="connsiteX3" fmla="*/ 947 w 947"/>
                  <a:gd name="connsiteY3" fmla="*/ 1875 h 28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47" h="2813">
                    <a:moveTo>
                      <a:pt x="947" y="1875"/>
                    </a:moveTo>
                    <a:lnTo>
                      <a:pt x="0" y="0"/>
                    </a:lnTo>
                    <a:lnTo>
                      <a:pt x="0" y="2813"/>
                    </a:lnTo>
                    <a:lnTo>
                      <a:pt x="947" y="1875"/>
                    </a:ln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56" name="Freihandform: Form 755">
                <a:extLst>
                  <a:ext uri="{FF2B5EF4-FFF2-40B4-BE49-F238E27FC236}">
                    <a16:creationId xmlns:a16="http://schemas.microsoft.com/office/drawing/2014/main" id="{873B0931-5F48-28B9-7D51-47E94BFEA673}"/>
                  </a:ext>
                </a:extLst>
              </p:cNvPr>
              <p:cNvSpPr/>
              <p:nvPr/>
            </p:nvSpPr>
            <p:spPr>
              <a:xfrm>
                <a:off x="5635283" y="3450090"/>
                <a:ext cx="3744" cy="6560"/>
              </a:xfrm>
              <a:custGeom>
                <a:avLst/>
                <a:gdLst>
                  <a:gd name="connsiteX0" fmla="*/ 3745 w 3744"/>
                  <a:gd name="connsiteY0" fmla="*/ 2813 h 6560"/>
                  <a:gd name="connsiteX1" fmla="*/ 3745 w 3744"/>
                  <a:gd name="connsiteY1" fmla="*/ 0 h 6560"/>
                  <a:gd name="connsiteX2" fmla="*/ 0 w 3744"/>
                  <a:gd name="connsiteY2" fmla="*/ 3749 h 6560"/>
                  <a:gd name="connsiteX3" fmla="*/ 0 w 3744"/>
                  <a:gd name="connsiteY3" fmla="*/ 6560 h 6560"/>
                  <a:gd name="connsiteX4" fmla="*/ 3745 w 3744"/>
                  <a:gd name="connsiteY4" fmla="*/ 2813 h 6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744" h="6560">
                    <a:moveTo>
                      <a:pt x="3745" y="2813"/>
                    </a:moveTo>
                    <a:lnTo>
                      <a:pt x="3745" y="0"/>
                    </a:lnTo>
                    <a:cubicBezTo>
                      <a:pt x="1872" y="0"/>
                      <a:pt x="0" y="1875"/>
                      <a:pt x="0" y="3749"/>
                    </a:cubicBezTo>
                    <a:lnTo>
                      <a:pt x="0" y="6560"/>
                    </a:lnTo>
                    <a:cubicBezTo>
                      <a:pt x="2798" y="6560"/>
                      <a:pt x="3745" y="5624"/>
                      <a:pt x="3745" y="2813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57" name="Freihandform: Form 756">
                <a:extLst>
                  <a:ext uri="{FF2B5EF4-FFF2-40B4-BE49-F238E27FC236}">
                    <a16:creationId xmlns:a16="http://schemas.microsoft.com/office/drawing/2014/main" id="{75D7459B-159C-A80B-E0BA-52BAE6882408}"/>
                  </a:ext>
                </a:extLst>
              </p:cNvPr>
              <p:cNvSpPr/>
              <p:nvPr/>
            </p:nvSpPr>
            <p:spPr>
              <a:xfrm>
                <a:off x="5565502" y="3601921"/>
                <a:ext cx="3642" cy="8437"/>
              </a:xfrm>
              <a:custGeom>
                <a:avLst/>
                <a:gdLst>
                  <a:gd name="connsiteX0" fmla="*/ 411 w 3642"/>
                  <a:gd name="connsiteY0" fmla="*/ 7499 h 8437"/>
                  <a:gd name="connsiteX1" fmla="*/ 2284 w 3642"/>
                  <a:gd name="connsiteY1" fmla="*/ 8437 h 8437"/>
                  <a:gd name="connsiteX2" fmla="*/ 3231 w 3642"/>
                  <a:gd name="connsiteY2" fmla="*/ 7499 h 8437"/>
                  <a:gd name="connsiteX3" fmla="*/ 3231 w 3642"/>
                  <a:gd name="connsiteY3" fmla="*/ 0 h 8437"/>
                  <a:gd name="connsiteX4" fmla="*/ 411 w 3642"/>
                  <a:gd name="connsiteY4" fmla="*/ 0 h 8437"/>
                  <a:gd name="connsiteX5" fmla="*/ 411 w 3642"/>
                  <a:gd name="connsiteY5" fmla="*/ 7499 h 8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642" h="8437">
                    <a:moveTo>
                      <a:pt x="411" y="7499"/>
                    </a:moveTo>
                    <a:lnTo>
                      <a:pt x="2284" y="8437"/>
                    </a:lnTo>
                    <a:cubicBezTo>
                      <a:pt x="2284" y="7812"/>
                      <a:pt x="2614" y="7499"/>
                      <a:pt x="3231" y="7499"/>
                    </a:cubicBezTo>
                    <a:cubicBezTo>
                      <a:pt x="4156" y="4688"/>
                      <a:pt x="3231" y="1877"/>
                      <a:pt x="3231" y="0"/>
                    </a:cubicBezTo>
                    <a:lnTo>
                      <a:pt x="411" y="0"/>
                    </a:lnTo>
                    <a:cubicBezTo>
                      <a:pt x="411" y="1877"/>
                      <a:pt x="-514" y="4688"/>
                      <a:pt x="411" y="7499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58" name="Freihandform: Form 757">
                <a:extLst>
                  <a:ext uri="{FF2B5EF4-FFF2-40B4-BE49-F238E27FC236}">
                    <a16:creationId xmlns:a16="http://schemas.microsoft.com/office/drawing/2014/main" id="{6FA1DAA8-F4EA-F7E0-83B2-0DDA359A21A2}"/>
                  </a:ext>
                </a:extLst>
              </p:cNvPr>
              <p:cNvSpPr/>
              <p:nvPr/>
            </p:nvSpPr>
            <p:spPr>
              <a:xfrm>
                <a:off x="5582788" y="3541002"/>
                <a:ext cx="2819" cy="2810"/>
              </a:xfrm>
              <a:custGeom>
                <a:avLst/>
                <a:gdLst>
                  <a:gd name="connsiteX0" fmla="*/ 947 w 2819"/>
                  <a:gd name="connsiteY0" fmla="*/ 0 h 2810"/>
                  <a:gd name="connsiteX1" fmla="*/ 0 w 2819"/>
                  <a:gd name="connsiteY1" fmla="*/ 2811 h 2810"/>
                  <a:gd name="connsiteX2" fmla="*/ 2820 w 2819"/>
                  <a:gd name="connsiteY2" fmla="*/ 2811 h 2810"/>
                  <a:gd name="connsiteX3" fmla="*/ 947 w 2819"/>
                  <a:gd name="connsiteY3" fmla="*/ 0 h 28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19" h="2810">
                    <a:moveTo>
                      <a:pt x="947" y="0"/>
                    </a:moveTo>
                    <a:cubicBezTo>
                      <a:pt x="0" y="0"/>
                      <a:pt x="0" y="938"/>
                      <a:pt x="0" y="2811"/>
                    </a:cubicBezTo>
                    <a:lnTo>
                      <a:pt x="2820" y="2811"/>
                    </a:lnTo>
                    <a:cubicBezTo>
                      <a:pt x="2820" y="938"/>
                      <a:pt x="947" y="0"/>
                      <a:pt x="947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59" name="Freihandform: Form 758">
                <a:extLst>
                  <a:ext uri="{FF2B5EF4-FFF2-40B4-BE49-F238E27FC236}">
                    <a16:creationId xmlns:a16="http://schemas.microsoft.com/office/drawing/2014/main" id="{3ACFCCEC-1E51-257C-FF03-C1CE41659532}"/>
                  </a:ext>
                </a:extLst>
              </p:cNvPr>
              <p:cNvSpPr/>
              <p:nvPr/>
            </p:nvSpPr>
            <p:spPr>
              <a:xfrm>
                <a:off x="4894751" y="2792907"/>
                <a:ext cx="1315299" cy="960849"/>
              </a:xfrm>
              <a:custGeom>
                <a:avLst/>
                <a:gdLst>
                  <a:gd name="connsiteX0" fmla="*/ 990762 w 1315299"/>
                  <a:gd name="connsiteY0" fmla="*/ 282288 h 960849"/>
                  <a:gd name="connsiteX1" fmla="*/ 992634 w 1315299"/>
                  <a:gd name="connsiteY1" fmla="*/ 277602 h 960849"/>
                  <a:gd name="connsiteX2" fmla="*/ 1000146 w 1315299"/>
                  <a:gd name="connsiteY2" fmla="*/ 272916 h 960849"/>
                  <a:gd name="connsiteX3" fmla="*/ 1006689 w 1315299"/>
                  <a:gd name="connsiteY3" fmla="*/ 266356 h 960849"/>
                  <a:gd name="connsiteX4" fmla="*/ 1015126 w 1315299"/>
                  <a:gd name="connsiteY4" fmla="*/ 258857 h 960849"/>
                  <a:gd name="connsiteX5" fmla="*/ 1078856 w 1315299"/>
                  <a:gd name="connsiteY5" fmla="*/ 258857 h 960849"/>
                  <a:gd name="connsiteX6" fmla="*/ 1248503 w 1315299"/>
                  <a:gd name="connsiteY6" fmla="*/ 261670 h 960849"/>
                  <a:gd name="connsiteX7" fmla="*/ 1282251 w 1315299"/>
                  <a:gd name="connsiteY7" fmla="*/ 262607 h 960849"/>
                  <a:gd name="connsiteX8" fmla="*/ 1284124 w 1315299"/>
                  <a:gd name="connsiteY8" fmla="*/ 262607 h 960849"/>
                  <a:gd name="connsiteX9" fmla="*/ 1282251 w 1315299"/>
                  <a:gd name="connsiteY9" fmla="*/ 263543 h 960849"/>
                  <a:gd name="connsiteX10" fmla="*/ 1280379 w 1315299"/>
                  <a:gd name="connsiteY10" fmla="*/ 266356 h 960849"/>
                  <a:gd name="connsiteX11" fmla="*/ 1284124 w 1315299"/>
                  <a:gd name="connsiteY11" fmla="*/ 267292 h 960849"/>
                  <a:gd name="connsiteX12" fmla="*/ 1291614 w 1315299"/>
                  <a:gd name="connsiteY12" fmla="*/ 267292 h 960849"/>
                  <a:gd name="connsiteX13" fmla="*/ 1294434 w 1315299"/>
                  <a:gd name="connsiteY13" fmla="*/ 265418 h 960849"/>
                  <a:gd name="connsiteX14" fmla="*/ 1296306 w 1315299"/>
                  <a:gd name="connsiteY14" fmla="*/ 261670 h 960849"/>
                  <a:gd name="connsiteX15" fmla="*/ 1302871 w 1315299"/>
                  <a:gd name="connsiteY15" fmla="*/ 261670 h 960849"/>
                  <a:gd name="connsiteX16" fmla="*/ 1309436 w 1315299"/>
                  <a:gd name="connsiteY16" fmla="*/ 257921 h 960849"/>
                  <a:gd name="connsiteX17" fmla="*/ 1310361 w 1315299"/>
                  <a:gd name="connsiteY17" fmla="*/ 255110 h 960849"/>
                  <a:gd name="connsiteX18" fmla="*/ 1315053 w 1315299"/>
                  <a:gd name="connsiteY18" fmla="*/ 243862 h 960849"/>
                  <a:gd name="connsiteX19" fmla="*/ 1313181 w 1315299"/>
                  <a:gd name="connsiteY19" fmla="*/ 242926 h 960849"/>
                  <a:gd name="connsiteX20" fmla="*/ 1307541 w 1315299"/>
                  <a:gd name="connsiteY20" fmla="*/ 242926 h 960849"/>
                  <a:gd name="connsiteX21" fmla="*/ 1299126 w 1315299"/>
                  <a:gd name="connsiteY21" fmla="*/ 243862 h 960849"/>
                  <a:gd name="connsiteX22" fmla="*/ 1281304 w 1315299"/>
                  <a:gd name="connsiteY22" fmla="*/ 243862 h 960849"/>
                  <a:gd name="connsiteX23" fmla="*/ 1274740 w 1315299"/>
                  <a:gd name="connsiteY23" fmla="*/ 242926 h 960849"/>
                  <a:gd name="connsiteX24" fmla="*/ 1269122 w 1315299"/>
                  <a:gd name="connsiteY24" fmla="*/ 242926 h 960849"/>
                  <a:gd name="connsiteX25" fmla="*/ 1258813 w 1315299"/>
                  <a:gd name="connsiteY25" fmla="*/ 242926 h 960849"/>
                  <a:gd name="connsiteX26" fmla="*/ 1247578 w 1315299"/>
                  <a:gd name="connsiteY26" fmla="*/ 242926 h 960849"/>
                  <a:gd name="connsiteX27" fmla="*/ 1117297 w 1315299"/>
                  <a:gd name="connsiteY27" fmla="*/ 240115 h 960849"/>
                  <a:gd name="connsiteX28" fmla="*/ 1115425 w 1315299"/>
                  <a:gd name="connsiteY28" fmla="*/ 240115 h 960849"/>
                  <a:gd name="connsiteX29" fmla="*/ 1104168 w 1315299"/>
                  <a:gd name="connsiteY29" fmla="*/ 238238 h 960849"/>
                  <a:gd name="connsiteX30" fmla="*/ 1036693 w 1315299"/>
                  <a:gd name="connsiteY30" fmla="*/ 238238 h 960849"/>
                  <a:gd name="connsiteX31" fmla="*/ 1031075 w 1315299"/>
                  <a:gd name="connsiteY31" fmla="*/ 237302 h 960849"/>
                  <a:gd name="connsiteX32" fmla="*/ 1030128 w 1315299"/>
                  <a:gd name="connsiteY32" fmla="*/ 234491 h 960849"/>
                  <a:gd name="connsiteX33" fmla="*/ 1031075 w 1315299"/>
                  <a:gd name="connsiteY33" fmla="*/ 232616 h 960849"/>
                  <a:gd name="connsiteX34" fmla="*/ 1037618 w 1315299"/>
                  <a:gd name="connsiteY34" fmla="*/ 226992 h 960849"/>
                  <a:gd name="connsiteX35" fmla="*/ 1043257 w 1315299"/>
                  <a:gd name="connsiteY35" fmla="*/ 219493 h 960849"/>
                  <a:gd name="connsiteX36" fmla="*/ 1067621 w 1315299"/>
                  <a:gd name="connsiteY36" fmla="*/ 190441 h 960849"/>
                  <a:gd name="connsiteX37" fmla="*/ 1071366 w 1315299"/>
                  <a:gd name="connsiteY37" fmla="*/ 186692 h 960849"/>
                  <a:gd name="connsiteX38" fmla="*/ 1084496 w 1315299"/>
                  <a:gd name="connsiteY38" fmla="*/ 174508 h 960849"/>
                  <a:gd name="connsiteX39" fmla="*/ 1087294 w 1315299"/>
                  <a:gd name="connsiteY39" fmla="*/ 170758 h 960849"/>
                  <a:gd name="connsiteX40" fmla="*/ 1096678 w 1315299"/>
                  <a:gd name="connsiteY40" fmla="*/ 156699 h 960849"/>
                  <a:gd name="connsiteX41" fmla="*/ 1099476 w 1315299"/>
                  <a:gd name="connsiteY41" fmla="*/ 155763 h 960849"/>
                  <a:gd name="connsiteX42" fmla="*/ 1106040 w 1315299"/>
                  <a:gd name="connsiteY42" fmla="*/ 149203 h 960849"/>
                  <a:gd name="connsiteX43" fmla="*/ 1114477 w 1315299"/>
                  <a:gd name="connsiteY43" fmla="*/ 137955 h 960849"/>
                  <a:gd name="connsiteX44" fmla="*/ 1126660 w 1315299"/>
                  <a:gd name="connsiteY44" fmla="*/ 128583 h 960849"/>
                  <a:gd name="connsiteX45" fmla="*/ 1131352 w 1315299"/>
                  <a:gd name="connsiteY45" fmla="*/ 126709 h 960849"/>
                  <a:gd name="connsiteX46" fmla="*/ 1132277 w 1315299"/>
                  <a:gd name="connsiteY46" fmla="*/ 123896 h 960849"/>
                  <a:gd name="connsiteX47" fmla="*/ 1136044 w 1315299"/>
                  <a:gd name="connsiteY47" fmla="*/ 119210 h 960849"/>
                  <a:gd name="connsiteX48" fmla="*/ 1158536 w 1315299"/>
                  <a:gd name="connsiteY48" fmla="*/ 104215 h 960849"/>
                  <a:gd name="connsiteX49" fmla="*/ 1162281 w 1315299"/>
                  <a:gd name="connsiteY49" fmla="*/ 98591 h 960849"/>
                  <a:gd name="connsiteX50" fmla="*/ 1166026 w 1315299"/>
                  <a:gd name="connsiteY50" fmla="*/ 93905 h 960849"/>
                  <a:gd name="connsiteX51" fmla="*/ 1170718 w 1315299"/>
                  <a:gd name="connsiteY51" fmla="*/ 93905 h 960849"/>
                  <a:gd name="connsiteX52" fmla="*/ 1175410 w 1315299"/>
                  <a:gd name="connsiteY52" fmla="*/ 92030 h 960849"/>
                  <a:gd name="connsiteX53" fmla="*/ 1184773 w 1315299"/>
                  <a:gd name="connsiteY53" fmla="*/ 87345 h 960849"/>
                  <a:gd name="connsiteX54" fmla="*/ 1188518 w 1315299"/>
                  <a:gd name="connsiteY54" fmla="*/ 86406 h 960849"/>
                  <a:gd name="connsiteX55" fmla="*/ 1195082 w 1315299"/>
                  <a:gd name="connsiteY55" fmla="*/ 80785 h 960849"/>
                  <a:gd name="connsiteX56" fmla="*/ 1202572 w 1315299"/>
                  <a:gd name="connsiteY56" fmla="*/ 77035 h 960849"/>
                  <a:gd name="connsiteX57" fmla="*/ 1205392 w 1315299"/>
                  <a:gd name="connsiteY57" fmla="*/ 76097 h 960849"/>
                  <a:gd name="connsiteX58" fmla="*/ 1221319 w 1315299"/>
                  <a:gd name="connsiteY58" fmla="*/ 64851 h 960849"/>
                  <a:gd name="connsiteX59" fmla="*/ 1236321 w 1315299"/>
                  <a:gd name="connsiteY59" fmla="*/ 54541 h 960849"/>
                  <a:gd name="connsiteX60" fmla="*/ 1250375 w 1315299"/>
                  <a:gd name="connsiteY60" fmla="*/ 46106 h 960849"/>
                  <a:gd name="connsiteX61" fmla="*/ 1261632 w 1315299"/>
                  <a:gd name="connsiteY61" fmla="*/ 36733 h 960849"/>
                  <a:gd name="connsiteX62" fmla="*/ 1274740 w 1315299"/>
                  <a:gd name="connsiteY62" fmla="*/ 28300 h 960849"/>
                  <a:gd name="connsiteX63" fmla="*/ 1280379 w 1315299"/>
                  <a:gd name="connsiteY63" fmla="*/ 24551 h 960849"/>
                  <a:gd name="connsiteX64" fmla="*/ 1282251 w 1315299"/>
                  <a:gd name="connsiteY64" fmla="*/ 17052 h 960849"/>
                  <a:gd name="connsiteX65" fmla="*/ 1270995 w 1315299"/>
                  <a:gd name="connsiteY65" fmla="*/ 5806 h 960849"/>
                  <a:gd name="connsiteX66" fmla="*/ 1265377 w 1315299"/>
                  <a:gd name="connsiteY66" fmla="*/ 2993 h 960849"/>
                  <a:gd name="connsiteX67" fmla="*/ 1255068 w 1315299"/>
                  <a:gd name="connsiteY67" fmla="*/ 182 h 960849"/>
                  <a:gd name="connsiteX68" fmla="*/ 1241938 w 1315299"/>
                  <a:gd name="connsiteY68" fmla="*/ 182 h 960849"/>
                  <a:gd name="connsiteX69" fmla="*/ 1220394 w 1315299"/>
                  <a:gd name="connsiteY69" fmla="*/ 5806 h 960849"/>
                  <a:gd name="connsiteX70" fmla="*/ 1199775 w 1315299"/>
                  <a:gd name="connsiteY70" fmla="*/ 16114 h 960849"/>
                  <a:gd name="connsiteX71" fmla="*/ 1176335 w 1315299"/>
                  <a:gd name="connsiteY71" fmla="*/ 32986 h 960849"/>
                  <a:gd name="connsiteX72" fmla="*/ 1157589 w 1315299"/>
                  <a:gd name="connsiteY72" fmla="*/ 49856 h 960849"/>
                  <a:gd name="connsiteX73" fmla="*/ 1146354 w 1315299"/>
                  <a:gd name="connsiteY73" fmla="*/ 60165 h 960849"/>
                  <a:gd name="connsiteX74" fmla="*/ 1122915 w 1315299"/>
                  <a:gd name="connsiteY74" fmla="*/ 82659 h 960849"/>
                  <a:gd name="connsiteX75" fmla="*/ 1111680 w 1315299"/>
                  <a:gd name="connsiteY75" fmla="*/ 92030 h 960849"/>
                  <a:gd name="connsiteX76" fmla="*/ 1102295 w 1315299"/>
                  <a:gd name="connsiteY76" fmla="*/ 102340 h 960849"/>
                  <a:gd name="connsiteX77" fmla="*/ 1091986 w 1315299"/>
                  <a:gd name="connsiteY77" fmla="*/ 113588 h 960849"/>
                  <a:gd name="connsiteX78" fmla="*/ 1075111 w 1315299"/>
                  <a:gd name="connsiteY78" fmla="*/ 130458 h 960849"/>
                  <a:gd name="connsiteX79" fmla="*/ 1073239 w 1315299"/>
                  <a:gd name="connsiteY79" fmla="*/ 134208 h 960849"/>
                  <a:gd name="connsiteX80" fmla="*/ 1065749 w 1315299"/>
                  <a:gd name="connsiteY80" fmla="*/ 136080 h 960849"/>
                  <a:gd name="connsiteX81" fmla="*/ 1059184 w 1315299"/>
                  <a:gd name="connsiteY81" fmla="*/ 145453 h 960849"/>
                  <a:gd name="connsiteX82" fmla="*/ 1056365 w 1315299"/>
                  <a:gd name="connsiteY82" fmla="*/ 148264 h 960849"/>
                  <a:gd name="connsiteX83" fmla="*/ 1052620 w 1315299"/>
                  <a:gd name="connsiteY83" fmla="*/ 152014 h 960849"/>
                  <a:gd name="connsiteX84" fmla="*/ 1048875 w 1315299"/>
                  <a:gd name="connsiteY84" fmla="*/ 155763 h 960849"/>
                  <a:gd name="connsiteX85" fmla="*/ 1047002 w 1315299"/>
                  <a:gd name="connsiteY85" fmla="*/ 157638 h 960849"/>
                  <a:gd name="connsiteX86" fmla="*/ 1041385 w 1315299"/>
                  <a:gd name="connsiteY86" fmla="*/ 164198 h 960849"/>
                  <a:gd name="connsiteX87" fmla="*/ 1032947 w 1315299"/>
                  <a:gd name="connsiteY87" fmla="*/ 167947 h 960849"/>
                  <a:gd name="connsiteX88" fmla="*/ 1029202 w 1315299"/>
                  <a:gd name="connsiteY88" fmla="*/ 171695 h 960849"/>
                  <a:gd name="connsiteX89" fmla="*/ 1029202 w 1315299"/>
                  <a:gd name="connsiteY89" fmla="*/ 175444 h 960849"/>
                  <a:gd name="connsiteX90" fmla="*/ 1032947 w 1315299"/>
                  <a:gd name="connsiteY90" fmla="*/ 178257 h 960849"/>
                  <a:gd name="connsiteX91" fmla="*/ 1036693 w 1315299"/>
                  <a:gd name="connsiteY91" fmla="*/ 174508 h 960849"/>
                  <a:gd name="connsiteX92" fmla="*/ 1043257 w 1315299"/>
                  <a:gd name="connsiteY92" fmla="*/ 168884 h 960849"/>
                  <a:gd name="connsiteX93" fmla="*/ 1050747 w 1315299"/>
                  <a:gd name="connsiteY93" fmla="*/ 163259 h 960849"/>
                  <a:gd name="connsiteX94" fmla="*/ 1055439 w 1315299"/>
                  <a:gd name="connsiteY94" fmla="*/ 161387 h 960849"/>
                  <a:gd name="connsiteX95" fmla="*/ 1045130 w 1315299"/>
                  <a:gd name="connsiteY95" fmla="*/ 174508 h 960849"/>
                  <a:gd name="connsiteX96" fmla="*/ 1041385 w 1315299"/>
                  <a:gd name="connsiteY96" fmla="*/ 176380 h 960849"/>
                  <a:gd name="connsiteX97" fmla="*/ 1026383 w 1315299"/>
                  <a:gd name="connsiteY97" fmla="*/ 188564 h 960849"/>
                  <a:gd name="connsiteX98" fmla="*/ 1022638 w 1315299"/>
                  <a:gd name="connsiteY98" fmla="*/ 192314 h 960849"/>
                  <a:gd name="connsiteX99" fmla="*/ 1015126 w 1315299"/>
                  <a:gd name="connsiteY99" fmla="*/ 197002 h 960849"/>
                  <a:gd name="connsiteX100" fmla="*/ 1010456 w 1315299"/>
                  <a:gd name="connsiteY100" fmla="*/ 201687 h 960849"/>
                  <a:gd name="connsiteX101" fmla="*/ 992634 w 1315299"/>
                  <a:gd name="connsiteY101" fmla="*/ 215746 h 960849"/>
                  <a:gd name="connsiteX102" fmla="*/ 973887 w 1315299"/>
                  <a:gd name="connsiteY102" fmla="*/ 230741 h 960849"/>
                  <a:gd name="connsiteX103" fmla="*/ 973887 w 1315299"/>
                  <a:gd name="connsiteY103" fmla="*/ 236366 h 960849"/>
                  <a:gd name="connsiteX104" fmla="*/ 971090 w 1315299"/>
                  <a:gd name="connsiteY104" fmla="*/ 238238 h 960849"/>
                  <a:gd name="connsiteX105" fmla="*/ 967345 w 1315299"/>
                  <a:gd name="connsiteY105" fmla="*/ 236366 h 960849"/>
                  <a:gd name="connsiteX106" fmla="*/ 951396 w 1315299"/>
                  <a:gd name="connsiteY106" fmla="*/ 241051 h 960849"/>
                  <a:gd name="connsiteX107" fmla="*/ 949523 w 1315299"/>
                  <a:gd name="connsiteY107" fmla="*/ 238238 h 960849"/>
                  <a:gd name="connsiteX108" fmla="*/ 948598 w 1315299"/>
                  <a:gd name="connsiteY108" fmla="*/ 236366 h 960849"/>
                  <a:gd name="connsiteX109" fmla="*/ 945778 w 1315299"/>
                  <a:gd name="connsiteY109" fmla="*/ 236366 h 960849"/>
                  <a:gd name="connsiteX110" fmla="*/ 938288 w 1315299"/>
                  <a:gd name="connsiteY110" fmla="*/ 238238 h 960849"/>
                  <a:gd name="connsiteX111" fmla="*/ 937341 w 1315299"/>
                  <a:gd name="connsiteY111" fmla="*/ 241051 h 960849"/>
                  <a:gd name="connsiteX112" fmla="*/ 937341 w 1315299"/>
                  <a:gd name="connsiteY112" fmla="*/ 240115 h 960849"/>
                  <a:gd name="connsiteX113" fmla="*/ 938288 w 1315299"/>
                  <a:gd name="connsiteY113" fmla="*/ 238238 h 960849"/>
                  <a:gd name="connsiteX114" fmla="*/ 937341 w 1315299"/>
                  <a:gd name="connsiteY114" fmla="*/ 236366 h 960849"/>
                  <a:gd name="connsiteX115" fmla="*/ 933596 w 1315299"/>
                  <a:gd name="connsiteY115" fmla="*/ 236366 h 960849"/>
                  <a:gd name="connsiteX116" fmla="*/ 931723 w 1315299"/>
                  <a:gd name="connsiteY116" fmla="*/ 237302 h 960849"/>
                  <a:gd name="connsiteX117" fmla="*/ 922339 w 1315299"/>
                  <a:gd name="connsiteY117" fmla="*/ 241987 h 960849"/>
                  <a:gd name="connsiteX118" fmla="*/ 918594 w 1315299"/>
                  <a:gd name="connsiteY118" fmla="*/ 241987 h 960849"/>
                  <a:gd name="connsiteX119" fmla="*/ 880175 w 1315299"/>
                  <a:gd name="connsiteY119" fmla="*/ 244800 h 960849"/>
                  <a:gd name="connsiteX120" fmla="*/ 875483 w 1315299"/>
                  <a:gd name="connsiteY120" fmla="*/ 244800 h 960849"/>
                  <a:gd name="connsiteX121" fmla="*/ 857684 w 1315299"/>
                  <a:gd name="connsiteY121" fmla="*/ 245737 h 960849"/>
                  <a:gd name="connsiteX122" fmla="*/ 850172 w 1315299"/>
                  <a:gd name="connsiteY122" fmla="*/ 245737 h 960849"/>
                  <a:gd name="connsiteX123" fmla="*/ 832372 w 1315299"/>
                  <a:gd name="connsiteY123" fmla="*/ 248548 h 960849"/>
                  <a:gd name="connsiteX124" fmla="*/ 817370 w 1315299"/>
                  <a:gd name="connsiteY124" fmla="*/ 249486 h 960849"/>
                  <a:gd name="connsiteX125" fmla="*/ 795826 w 1315299"/>
                  <a:gd name="connsiteY125" fmla="*/ 252297 h 960849"/>
                  <a:gd name="connsiteX126" fmla="*/ 790186 w 1315299"/>
                  <a:gd name="connsiteY126" fmla="*/ 253235 h 960849"/>
                  <a:gd name="connsiteX127" fmla="*/ 776132 w 1315299"/>
                  <a:gd name="connsiteY127" fmla="*/ 255110 h 960849"/>
                  <a:gd name="connsiteX128" fmla="*/ 763024 w 1315299"/>
                  <a:gd name="connsiteY128" fmla="*/ 256046 h 960849"/>
                  <a:gd name="connsiteX129" fmla="*/ 748022 w 1315299"/>
                  <a:gd name="connsiteY129" fmla="*/ 258857 h 960849"/>
                  <a:gd name="connsiteX130" fmla="*/ 740533 w 1315299"/>
                  <a:gd name="connsiteY130" fmla="*/ 259796 h 960849"/>
                  <a:gd name="connsiteX131" fmla="*/ 725531 w 1315299"/>
                  <a:gd name="connsiteY131" fmla="*/ 262607 h 960849"/>
                  <a:gd name="connsiteX132" fmla="*/ 718019 w 1315299"/>
                  <a:gd name="connsiteY132" fmla="*/ 263545 h 960849"/>
                  <a:gd name="connsiteX133" fmla="*/ 709604 w 1315299"/>
                  <a:gd name="connsiteY133" fmla="*/ 264481 h 960849"/>
                  <a:gd name="connsiteX134" fmla="*/ 695527 w 1315299"/>
                  <a:gd name="connsiteY134" fmla="*/ 268231 h 960849"/>
                  <a:gd name="connsiteX135" fmla="*/ 680547 w 1315299"/>
                  <a:gd name="connsiteY135" fmla="*/ 268231 h 960849"/>
                  <a:gd name="connsiteX136" fmla="*/ 678674 w 1315299"/>
                  <a:gd name="connsiteY136" fmla="*/ 270105 h 960849"/>
                  <a:gd name="connsiteX137" fmla="*/ 669290 w 1315299"/>
                  <a:gd name="connsiteY137" fmla="*/ 272916 h 960849"/>
                  <a:gd name="connsiteX138" fmla="*/ 658980 w 1315299"/>
                  <a:gd name="connsiteY138" fmla="*/ 273855 h 960849"/>
                  <a:gd name="connsiteX139" fmla="*/ 648671 w 1315299"/>
                  <a:gd name="connsiteY139" fmla="*/ 274791 h 960849"/>
                  <a:gd name="connsiteX140" fmla="*/ 634616 w 1315299"/>
                  <a:gd name="connsiteY140" fmla="*/ 278540 h 960849"/>
                  <a:gd name="connsiteX141" fmla="*/ 623359 w 1315299"/>
                  <a:gd name="connsiteY141" fmla="*/ 281351 h 960849"/>
                  <a:gd name="connsiteX142" fmla="*/ 610252 w 1315299"/>
                  <a:gd name="connsiteY142" fmla="*/ 282288 h 960849"/>
                  <a:gd name="connsiteX143" fmla="*/ 608379 w 1315299"/>
                  <a:gd name="connsiteY143" fmla="*/ 284164 h 960849"/>
                  <a:gd name="connsiteX144" fmla="*/ 611177 w 1315299"/>
                  <a:gd name="connsiteY144" fmla="*/ 285101 h 960849"/>
                  <a:gd name="connsiteX145" fmla="*/ 612124 w 1315299"/>
                  <a:gd name="connsiteY145" fmla="*/ 286037 h 960849"/>
                  <a:gd name="connsiteX146" fmla="*/ 614944 w 1315299"/>
                  <a:gd name="connsiteY146" fmla="*/ 286037 h 960849"/>
                  <a:gd name="connsiteX147" fmla="*/ 612124 w 1315299"/>
                  <a:gd name="connsiteY147" fmla="*/ 288850 h 960849"/>
                  <a:gd name="connsiteX148" fmla="*/ 607432 w 1315299"/>
                  <a:gd name="connsiteY148" fmla="*/ 288850 h 960849"/>
                  <a:gd name="connsiteX149" fmla="*/ 604635 w 1315299"/>
                  <a:gd name="connsiteY149" fmla="*/ 285101 h 960849"/>
                  <a:gd name="connsiteX150" fmla="*/ 606507 w 1315299"/>
                  <a:gd name="connsiteY150" fmla="*/ 278540 h 960849"/>
                  <a:gd name="connsiteX151" fmla="*/ 613997 w 1315299"/>
                  <a:gd name="connsiteY151" fmla="*/ 272916 h 960849"/>
                  <a:gd name="connsiteX152" fmla="*/ 619614 w 1315299"/>
                  <a:gd name="connsiteY152" fmla="*/ 264481 h 960849"/>
                  <a:gd name="connsiteX153" fmla="*/ 628999 w 1315299"/>
                  <a:gd name="connsiteY153" fmla="*/ 255110 h 960849"/>
                  <a:gd name="connsiteX154" fmla="*/ 643979 w 1315299"/>
                  <a:gd name="connsiteY154" fmla="*/ 236363 h 960849"/>
                  <a:gd name="connsiteX155" fmla="*/ 662725 w 1315299"/>
                  <a:gd name="connsiteY155" fmla="*/ 214808 h 960849"/>
                  <a:gd name="connsiteX156" fmla="*/ 667418 w 1315299"/>
                  <a:gd name="connsiteY156" fmla="*/ 211058 h 960849"/>
                  <a:gd name="connsiteX157" fmla="*/ 678674 w 1315299"/>
                  <a:gd name="connsiteY157" fmla="*/ 196063 h 960849"/>
                  <a:gd name="connsiteX158" fmla="*/ 684292 w 1315299"/>
                  <a:gd name="connsiteY158" fmla="*/ 192314 h 960849"/>
                  <a:gd name="connsiteX159" fmla="*/ 692729 w 1315299"/>
                  <a:gd name="connsiteY159" fmla="*/ 184817 h 960849"/>
                  <a:gd name="connsiteX160" fmla="*/ 702091 w 1315299"/>
                  <a:gd name="connsiteY160" fmla="*/ 176380 h 960849"/>
                  <a:gd name="connsiteX161" fmla="*/ 717093 w 1315299"/>
                  <a:gd name="connsiteY161" fmla="*/ 161385 h 960849"/>
                  <a:gd name="connsiteX162" fmla="*/ 724583 w 1315299"/>
                  <a:gd name="connsiteY162" fmla="*/ 153888 h 960849"/>
                  <a:gd name="connsiteX163" fmla="*/ 743330 w 1315299"/>
                  <a:gd name="connsiteY163" fmla="*/ 137955 h 960849"/>
                  <a:gd name="connsiteX164" fmla="*/ 751767 w 1315299"/>
                  <a:gd name="connsiteY164" fmla="*/ 131394 h 960849"/>
                  <a:gd name="connsiteX165" fmla="*/ 776132 w 1315299"/>
                  <a:gd name="connsiteY165" fmla="*/ 112650 h 960849"/>
                  <a:gd name="connsiteX166" fmla="*/ 778951 w 1315299"/>
                  <a:gd name="connsiteY166" fmla="*/ 109837 h 960849"/>
                  <a:gd name="connsiteX167" fmla="*/ 779877 w 1315299"/>
                  <a:gd name="connsiteY167" fmla="*/ 108900 h 960849"/>
                  <a:gd name="connsiteX168" fmla="*/ 780824 w 1315299"/>
                  <a:gd name="connsiteY168" fmla="*/ 112650 h 960849"/>
                  <a:gd name="connsiteX169" fmla="*/ 773334 w 1315299"/>
                  <a:gd name="connsiteY169" fmla="*/ 134205 h 960849"/>
                  <a:gd name="connsiteX170" fmla="*/ 768641 w 1315299"/>
                  <a:gd name="connsiteY170" fmla="*/ 152014 h 960849"/>
                  <a:gd name="connsiteX171" fmla="*/ 768641 w 1315299"/>
                  <a:gd name="connsiteY171" fmla="*/ 152950 h 960849"/>
                  <a:gd name="connsiteX172" fmla="*/ 769567 w 1315299"/>
                  <a:gd name="connsiteY172" fmla="*/ 157636 h 960849"/>
                  <a:gd name="connsiteX173" fmla="*/ 773334 w 1315299"/>
                  <a:gd name="connsiteY173" fmla="*/ 157636 h 960849"/>
                  <a:gd name="connsiteX174" fmla="*/ 777079 w 1315299"/>
                  <a:gd name="connsiteY174" fmla="*/ 155763 h 960849"/>
                  <a:gd name="connsiteX175" fmla="*/ 787389 w 1315299"/>
                  <a:gd name="connsiteY175" fmla="*/ 150139 h 960849"/>
                  <a:gd name="connsiteX176" fmla="*/ 802390 w 1315299"/>
                  <a:gd name="connsiteY176" fmla="*/ 132331 h 960849"/>
                  <a:gd name="connsiteX177" fmla="*/ 809880 w 1315299"/>
                  <a:gd name="connsiteY177" fmla="*/ 121085 h 960849"/>
                  <a:gd name="connsiteX178" fmla="*/ 817370 w 1315299"/>
                  <a:gd name="connsiteY178" fmla="*/ 109837 h 960849"/>
                  <a:gd name="connsiteX179" fmla="*/ 824882 w 1315299"/>
                  <a:gd name="connsiteY179" fmla="*/ 93905 h 960849"/>
                  <a:gd name="connsiteX180" fmla="*/ 823935 w 1315299"/>
                  <a:gd name="connsiteY180" fmla="*/ 90156 h 960849"/>
                  <a:gd name="connsiteX181" fmla="*/ 812700 w 1315299"/>
                  <a:gd name="connsiteY181" fmla="*/ 78908 h 960849"/>
                  <a:gd name="connsiteX182" fmla="*/ 786441 w 1315299"/>
                  <a:gd name="connsiteY182" fmla="*/ 71411 h 960849"/>
                  <a:gd name="connsiteX183" fmla="*/ 784569 w 1315299"/>
                  <a:gd name="connsiteY183" fmla="*/ 71411 h 960849"/>
                  <a:gd name="connsiteX184" fmla="*/ 761152 w 1315299"/>
                  <a:gd name="connsiteY184" fmla="*/ 76097 h 960849"/>
                  <a:gd name="connsiteX185" fmla="*/ 750842 w 1315299"/>
                  <a:gd name="connsiteY185" fmla="*/ 82657 h 960849"/>
                  <a:gd name="connsiteX186" fmla="*/ 746150 w 1315299"/>
                  <a:gd name="connsiteY186" fmla="*/ 87345 h 960849"/>
                  <a:gd name="connsiteX187" fmla="*/ 725531 w 1315299"/>
                  <a:gd name="connsiteY187" fmla="*/ 101402 h 960849"/>
                  <a:gd name="connsiteX188" fmla="*/ 718019 w 1315299"/>
                  <a:gd name="connsiteY188" fmla="*/ 107962 h 960849"/>
                  <a:gd name="connsiteX189" fmla="*/ 713348 w 1315299"/>
                  <a:gd name="connsiteY189" fmla="*/ 113586 h 960849"/>
                  <a:gd name="connsiteX190" fmla="*/ 688037 w 1315299"/>
                  <a:gd name="connsiteY190" fmla="*/ 135141 h 960849"/>
                  <a:gd name="connsiteX191" fmla="*/ 673035 w 1315299"/>
                  <a:gd name="connsiteY191" fmla="*/ 149200 h 960849"/>
                  <a:gd name="connsiteX192" fmla="*/ 659928 w 1315299"/>
                  <a:gd name="connsiteY192" fmla="*/ 161385 h 960849"/>
                  <a:gd name="connsiteX193" fmla="*/ 651491 w 1315299"/>
                  <a:gd name="connsiteY193" fmla="*/ 171695 h 960849"/>
                  <a:gd name="connsiteX194" fmla="*/ 641181 w 1315299"/>
                  <a:gd name="connsiteY194" fmla="*/ 182943 h 960849"/>
                  <a:gd name="connsiteX195" fmla="*/ 628999 w 1315299"/>
                  <a:gd name="connsiteY195" fmla="*/ 194188 h 960849"/>
                  <a:gd name="connsiteX196" fmla="*/ 619614 w 1315299"/>
                  <a:gd name="connsiteY196" fmla="*/ 205434 h 960849"/>
                  <a:gd name="connsiteX197" fmla="*/ 608379 w 1315299"/>
                  <a:gd name="connsiteY197" fmla="*/ 218557 h 960849"/>
                  <a:gd name="connsiteX198" fmla="*/ 607432 w 1315299"/>
                  <a:gd name="connsiteY198" fmla="*/ 219493 h 960849"/>
                  <a:gd name="connsiteX199" fmla="*/ 596197 w 1315299"/>
                  <a:gd name="connsiteY199" fmla="*/ 234489 h 960849"/>
                  <a:gd name="connsiteX200" fmla="*/ 590558 w 1315299"/>
                  <a:gd name="connsiteY200" fmla="*/ 241049 h 960849"/>
                  <a:gd name="connsiteX201" fmla="*/ 583068 w 1315299"/>
                  <a:gd name="connsiteY201" fmla="*/ 251359 h 960849"/>
                  <a:gd name="connsiteX202" fmla="*/ 575578 w 1315299"/>
                  <a:gd name="connsiteY202" fmla="*/ 262607 h 960849"/>
                  <a:gd name="connsiteX203" fmla="*/ 570886 w 1315299"/>
                  <a:gd name="connsiteY203" fmla="*/ 268231 h 960849"/>
                  <a:gd name="connsiteX204" fmla="*/ 555884 w 1315299"/>
                  <a:gd name="connsiteY204" fmla="*/ 291661 h 960849"/>
                  <a:gd name="connsiteX205" fmla="*/ 549319 w 1315299"/>
                  <a:gd name="connsiteY205" fmla="*/ 295410 h 960849"/>
                  <a:gd name="connsiteX206" fmla="*/ 531520 w 1315299"/>
                  <a:gd name="connsiteY206" fmla="*/ 300096 h 960849"/>
                  <a:gd name="connsiteX207" fmla="*/ 514645 w 1315299"/>
                  <a:gd name="connsiteY207" fmla="*/ 304781 h 960849"/>
                  <a:gd name="connsiteX208" fmla="*/ 501538 w 1315299"/>
                  <a:gd name="connsiteY208" fmla="*/ 308531 h 960849"/>
                  <a:gd name="connsiteX209" fmla="*/ 487461 w 1315299"/>
                  <a:gd name="connsiteY209" fmla="*/ 314155 h 960849"/>
                  <a:gd name="connsiteX210" fmla="*/ 426551 w 1315299"/>
                  <a:gd name="connsiteY210" fmla="*/ 338524 h 960849"/>
                  <a:gd name="connsiteX211" fmla="*/ 419061 w 1315299"/>
                  <a:gd name="connsiteY211" fmla="*/ 343209 h 960849"/>
                  <a:gd name="connsiteX212" fmla="*/ 408751 w 1315299"/>
                  <a:gd name="connsiteY212" fmla="*/ 360079 h 960849"/>
                  <a:gd name="connsiteX213" fmla="*/ 408751 w 1315299"/>
                  <a:gd name="connsiteY213" fmla="*/ 371325 h 960849"/>
                  <a:gd name="connsiteX214" fmla="*/ 410624 w 1315299"/>
                  <a:gd name="connsiteY214" fmla="*/ 375074 h 960849"/>
                  <a:gd name="connsiteX215" fmla="*/ 419061 w 1315299"/>
                  <a:gd name="connsiteY215" fmla="*/ 385384 h 960849"/>
                  <a:gd name="connsiteX216" fmla="*/ 422806 w 1315299"/>
                  <a:gd name="connsiteY216" fmla="*/ 386322 h 960849"/>
                  <a:gd name="connsiteX217" fmla="*/ 432168 w 1315299"/>
                  <a:gd name="connsiteY217" fmla="*/ 383509 h 960849"/>
                  <a:gd name="connsiteX218" fmla="*/ 471534 w 1315299"/>
                  <a:gd name="connsiteY218" fmla="*/ 361954 h 960849"/>
                  <a:gd name="connsiteX219" fmla="*/ 496846 w 1315299"/>
                  <a:gd name="connsiteY219" fmla="*/ 352580 h 960849"/>
                  <a:gd name="connsiteX220" fmla="*/ 510900 w 1315299"/>
                  <a:gd name="connsiteY220" fmla="*/ 348831 h 960849"/>
                  <a:gd name="connsiteX221" fmla="*/ 515593 w 1315299"/>
                  <a:gd name="connsiteY221" fmla="*/ 354455 h 960849"/>
                  <a:gd name="connsiteX222" fmla="*/ 512773 w 1315299"/>
                  <a:gd name="connsiteY222" fmla="*/ 361954 h 960849"/>
                  <a:gd name="connsiteX223" fmla="*/ 508081 w 1315299"/>
                  <a:gd name="connsiteY223" fmla="*/ 365703 h 960849"/>
                  <a:gd name="connsiteX224" fmla="*/ 501538 w 1315299"/>
                  <a:gd name="connsiteY224" fmla="*/ 377888 h 960849"/>
                  <a:gd name="connsiteX225" fmla="*/ 486536 w 1315299"/>
                  <a:gd name="connsiteY225" fmla="*/ 406003 h 960849"/>
                  <a:gd name="connsiteX226" fmla="*/ 475279 w 1315299"/>
                  <a:gd name="connsiteY226" fmla="*/ 429436 h 960849"/>
                  <a:gd name="connsiteX227" fmla="*/ 464044 w 1315299"/>
                  <a:gd name="connsiteY227" fmla="*/ 454739 h 960849"/>
                  <a:gd name="connsiteX228" fmla="*/ 463097 w 1315299"/>
                  <a:gd name="connsiteY228" fmla="*/ 460362 h 960849"/>
                  <a:gd name="connsiteX229" fmla="*/ 460299 w 1315299"/>
                  <a:gd name="connsiteY229" fmla="*/ 462237 h 960849"/>
                  <a:gd name="connsiteX230" fmla="*/ 449990 w 1315299"/>
                  <a:gd name="connsiteY230" fmla="*/ 484731 h 960849"/>
                  <a:gd name="connsiteX231" fmla="*/ 446223 w 1315299"/>
                  <a:gd name="connsiteY231" fmla="*/ 495041 h 960849"/>
                  <a:gd name="connsiteX232" fmla="*/ 446157 w 1315299"/>
                  <a:gd name="connsiteY232" fmla="*/ 495235 h 960849"/>
                  <a:gd name="connsiteX233" fmla="*/ 444350 w 1315299"/>
                  <a:gd name="connsiteY233" fmla="*/ 495979 h 960849"/>
                  <a:gd name="connsiteX234" fmla="*/ 417188 w 1315299"/>
                  <a:gd name="connsiteY234" fmla="*/ 506287 h 960849"/>
                  <a:gd name="connsiteX235" fmla="*/ 325327 w 1315299"/>
                  <a:gd name="connsiteY235" fmla="*/ 547525 h 960849"/>
                  <a:gd name="connsiteX236" fmla="*/ 313145 w 1315299"/>
                  <a:gd name="connsiteY236" fmla="*/ 553149 h 960849"/>
                  <a:gd name="connsiteX237" fmla="*/ 288780 w 1315299"/>
                  <a:gd name="connsiteY237" fmla="*/ 568145 h 960849"/>
                  <a:gd name="connsiteX238" fmla="*/ 279396 w 1315299"/>
                  <a:gd name="connsiteY238" fmla="*/ 568145 h 960849"/>
                  <a:gd name="connsiteX239" fmla="*/ 231615 w 1315299"/>
                  <a:gd name="connsiteY239" fmla="*/ 592513 h 960849"/>
                  <a:gd name="connsiteX240" fmla="*/ 183812 w 1315299"/>
                  <a:gd name="connsiteY240" fmla="*/ 610322 h 960849"/>
                  <a:gd name="connsiteX241" fmla="*/ 123826 w 1315299"/>
                  <a:gd name="connsiteY241" fmla="*/ 621568 h 960849"/>
                  <a:gd name="connsiteX242" fmla="*/ 91950 w 1315299"/>
                  <a:gd name="connsiteY242" fmla="*/ 618757 h 960849"/>
                  <a:gd name="connsiteX243" fmla="*/ 84460 w 1315299"/>
                  <a:gd name="connsiteY243" fmla="*/ 600948 h 960849"/>
                  <a:gd name="connsiteX244" fmla="*/ 126624 w 1315299"/>
                  <a:gd name="connsiteY244" fmla="*/ 535343 h 960849"/>
                  <a:gd name="connsiteX245" fmla="*/ 135061 w 1315299"/>
                  <a:gd name="connsiteY245" fmla="*/ 531594 h 960849"/>
                  <a:gd name="connsiteX246" fmla="*/ 177247 w 1315299"/>
                  <a:gd name="connsiteY246" fmla="*/ 534405 h 960849"/>
                  <a:gd name="connsiteX247" fmla="*/ 204431 w 1315299"/>
                  <a:gd name="connsiteY247" fmla="*/ 531594 h 960849"/>
                  <a:gd name="connsiteX248" fmla="*/ 291578 w 1315299"/>
                  <a:gd name="connsiteY248" fmla="*/ 496916 h 960849"/>
                  <a:gd name="connsiteX249" fmla="*/ 304707 w 1315299"/>
                  <a:gd name="connsiteY249" fmla="*/ 488481 h 960849"/>
                  <a:gd name="connsiteX250" fmla="*/ 343126 w 1315299"/>
                  <a:gd name="connsiteY250" fmla="*/ 449117 h 960849"/>
                  <a:gd name="connsiteX251" fmla="*/ 344999 w 1315299"/>
                  <a:gd name="connsiteY251" fmla="*/ 412564 h 960849"/>
                  <a:gd name="connsiteX252" fmla="*/ 330019 w 1315299"/>
                  <a:gd name="connsiteY252" fmla="*/ 391944 h 960849"/>
                  <a:gd name="connsiteX253" fmla="*/ 319709 w 1315299"/>
                  <a:gd name="connsiteY253" fmla="*/ 388195 h 960849"/>
                  <a:gd name="connsiteX254" fmla="*/ 311272 w 1315299"/>
                  <a:gd name="connsiteY254" fmla="*/ 385384 h 960849"/>
                  <a:gd name="connsiteX255" fmla="*/ 277524 w 1315299"/>
                  <a:gd name="connsiteY255" fmla="*/ 388195 h 960849"/>
                  <a:gd name="connsiteX256" fmla="*/ 249414 w 1315299"/>
                  <a:gd name="connsiteY256" fmla="*/ 396630 h 960849"/>
                  <a:gd name="connsiteX257" fmla="*/ 215666 w 1315299"/>
                  <a:gd name="connsiteY257" fmla="*/ 410689 h 960849"/>
                  <a:gd name="connsiteX258" fmla="*/ 164536 w 1315299"/>
                  <a:gd name="connsiteY258" fmla="*/ 444376 h 960849"/>
                  <a:gd name="connsiteX259" fmla="*/ 159447 w 1315299"/>
                  <a:gd name="connsiteY259" fmla="*/ 442554 h 960849"/>
                  <a:gd name="connsiteX260" fmla="*/ 135061 w 1315299"/>
                  <a:gd name="connsiteY260" fmla="*/ 442554 h 960849"/>
                  <a:gd name="connsiteX261" fmla="*/ 102502 w 1315299"/>
                  <a:gd name="connsiteY261" fmla="*/ 449916 h 960849"/>
                  <a:gd name="connsiteX262" fmla="*/ 102171 w 1315299"/>
                  <a:gd name="connsiteY262" fmla="*/ 449720 h 960849"/>
                  <a:gd name="connsiteX263" fmla="*/ 90914 w 1315299"/>
                  <a:gd name="connsiteY263" fmla="*/ 446907 h 960849"/>
                  <a:gd name="connsiteX264" fmla="*/ 87169 w 1315299"/>
                  <a:gd name="connsiteY264" fmla="*/ 445032 h 960849"/>
                  <a:gd name="connsiteX265" fmla="*/ 59986 w 1315299"/>
                  <a:gd name="connsiteY265" fmla="*/ 453467 h 960849"/>
                  <a:gd name="connsiteX266" fmla="*/ 31876 w 1315299"/>
                  <a:gd name="connsiteY266" fmla="*/ 453467 h 960849"/>
                  <a:gd name="connsiteX267" fmla="*/ 0 w 1315299"/>
                  <a:gd name="connsiteY267" fmla="*/ 460966 h 960849"/>
                  <a:gd name="connsiteX268" fmla="*/ 27184 w 1315299"/>
                  <a:gd name="connsiteY268" fmla="*/ 464715 h 960849"/>
                  <a:gd name="connsiteX269" fmla="*/ 27404 w 1315299"/>
                  <a:gd name="connsiteY269" fmla="*/ 464760 h 960849"/>
                  <a:gd name="connsiteX270" fmla="*/ 27294 w 1315299"/>
                  <a:gd name="connsiteY270" fmla="*/ 465048 h 960849"/>
                  <a:gd name="connsiteX271" fmla="*/ 46041 w 1315299"/>
                  <a:gd name="connsiteY271" fmla="*/ 464112 h 960849"/>
                  <a:gd name="connsiteX272" fmla="*/ 46966 w 1315299"/>
                  <a:gd name="connsiteY272" fmla="*/ 462237 h 960849"/>
                  <a:gd name="connsiteX273" fmla="*/ 54456 w 1315299"/>
                  <a:gd name="connsiteY273" fmla="*/ 458488 h 960849"/>
                  <a:gd name="connsiteX274" fmla="*/ 72278 w 1315299"/>
                  <a:gd name="connsiteY274" fmla="*/ 461301 h 960849"/>
                  <a:gd name="connsiteX275" fmla="*/ 91950 w 1315299"/>
                  <a:gd name="connsiteY275" fmla="*/ 461301 h 960849"/>
                  <a:gd name="connsiteX276" fmla="*/ 115389 w 1315299"/>
                  <a:gd name="connsiteY276" fmla="*/ 464112 h 960849"/>
                  <a:gd name="connsiteX277" fmla="*/ 126624 w 1315299"/>
                  <a:gd name="connsiteY277" fmla="*/ 464112 h 960849"/>
                  <a:gd name="connsiteX278" fmla="*/ 138828 w 1315299"/>
                  <a:gd name="connsiteY278" fmla="*/ 462237 h 960849"/>
                  <a:gd name="connsiteX279" fmla="*/ 142330 w 1315299"/>
                  <a:gd name="connsiteY279" fmla="*/ 462854 h 960849"/>
                  <a:gd name="connsiteX280" fmla="*/ 130391 w 1315299"/>
                  <a:gd name="connsiteY280" fmla="*/ 473485 h 960849"/>
                  <a:gd name="connsiteX281" fmla="*/ 64766 w 1315299"/>
                  <a:gd name="connsiteY281" fmla="*/ 556899 h 960849"/>
                  <a:gd name="connsiteX282" fmla="*/ 58223 w 1315299"/>
                  <a:gd name="connsiteY282" fmla="*/ 569083 h 960849"/>
                  <a:gd name="connsiteX283" fmla="*/ 58223 w 1315299"/>
                  <a:gd name="connsiteY283" fmla="*/ 610320 h 960849"/>
                  <a:gd name="connsiteX284" fmla="*/ 77895 w 1315299"/>
                  <a:gd name="connsiteY284" fmla="*/ 642187 h 960849"/>
                  <a:gd name="connsiteX285" fmla="*/ 102259 w 1315299"/>
                  <a:gd name="connsiteY285" fmla="*/ 656246 h 960849"/>
                  <a:gd name="connsiteX286" fmla="*/ 152882 w 1315299"/>
                  <a:gd name="connsiteY286" fmla="*/ 660931 h 960849"/>
                  <a:gd name="connsiteX287" fmla="*/ 165990 w 1315299"/>
                  <a:gd name="connsiteY287" fmla="*/ 654371 h 960849"/>
                  <a:gd name="connsiteX288" fmla="*/ 257851 w 1315299"/>
                  <a:gd name="connsiteY288" fmla="*/ 622504 h 960849"/>
                  <a:gd name="connsiteX289" fmla="*/ 318762 w 1315299"/>
                  <a:gd name="connsiteY289" fmla="*/ 595324 h 960849"/>
                  <a:gd name="connsiteX290" fmla="*/ 380620 w 1315299"/>
                  <a:gd name="connsiteY290" fmla="*/ 566270 h 960849"/>
                  <a:gd name="connsiteX291" fmla="*/ 388132 w 1315299"/>
                  <a:gd name="connsiteY291" fmla="*/ 562523 h 960849"/>
                  <a:gd name="connsiteX292" fmla="*/ 427189 w 1315299"/>
                  <a:gd name="connsiteY292" fmla="*/ 546867 h 960849"/>
                  <a:gd name="connsiteX293" fmla="*/ 426551 w 1315299"/>
                  <a:gd name="connsiteY293" fmla="*/ 552213 h 960849"/>
                  <a:gd name="connsiteX294" fmla="*/ 430296 w 1315299"/>
                  <a:gd name="connsiteY294" fmla="*/ 554088 h 960849"/>
                  <a:gd name="connsiteX295" fmla="*/ 431243 w 1315299"/>
                  <a:gd name="connsiteY295" fmla="*/ 555960 h 960849"/>
                  <a:gd name="connsiteX296" fmla="*/ 432168 w 1315299"/>
                  <a:gd name="connsiteY296" fmla="*/ 557835 h 960849"/>
                  <a:gd name="connsiteX297" fmla="*/ 428423 w 1315299"/>
                  <a:gd name="connsiteY297" fmla="*/ 561584 h 960849"/>
                  <a:gd name="connsiteX298" fmla="*/ 427498 w 1315299"/>
                  <a:gd name="connsiteY298" fmla="*/ 561584 h 960849"/>
                  <a:gd name="connsiteX299" fmla="*/ 422806 w 1315299"/>
                  <a:gd name="connsiteY299" fmla="*/ 565334 h 960849"/>
                  <a:gd name="connsiteX300" fmla="*/ 419986 w 1315299"/>
                  <a:gd name="connsiteY300" fmla="*/ 570958 h 960849"/>
                  <a:gd name="connsiteX301" fmla="*/ 419061 w 1315299"/>
                  <a:gd name="connsiteY301" fmla="*/ 574705 h 960849"/>
                  <a:gd name="connsiteX302" fmla="*/ 417188 w 1315299"/>
                  <a:gd name="connsiteY302" fmla="*/ 579393 h 960849"/>
                  <a:gd name="connsiteX303" fmla="*/ 416241 w 1315299"/>
                  <a:gd name="connsiteY303" fmla="*/ 585015 h 960849"/>
                  <a:gd name="connsiteX304" fmla="*/ 413421 w 1315299"/>
                  <a:gd name="connsiteY304" fmla="*/ 588764 h 960849"/>
                  <a:gd name="connsiteX305" fmla="*/ 412496 w 1315299"/>
                  <a:gd name="connsiteY305" fmla="*/ 593450 h 960849"/>
                  <a:gd name="connsiteX306" fmla="*/ 409676 w 1315299"/>
                  <a:gd name="connsiteY306" fmla="*/ 603759 h 960849"/>
                  <a:gd name="connsiteX307" fmla="*/ 406879 w 1315299"/>
                  <a:gd name="connsiteY307" fmla="*/ 615007 h 960849"/>
                  <a:gd name="connsiteX308" fmla="*/ 404984 w 1315299"/>
                  <a:gd name="connsiteY308" fmla="*/ 623442 h 960849"/>
                  <a:gd name="connsiteX309" fmla="*/ 399367 w 1315299"/>
                  <a:gd name="connsiteY309" fmla="*/ 640312 h 960849"/>
                  <a:gd name="connsiteX310" fmla="*/ 399367 w 1315299"/>
                  <a:gd name="connsiteY310" fmla="*/ 649686 h 960849"/>
                  <a:gd name="connsiteX311" fmla="*/ 397494 w 1315299"/>
                  <a:gd name="connsiteY311" fmla="*/ 657182 h 960849"/>
                  <a:gd name="connsiteX312" fmla="*/ 401239 w 1315299"/>
                  <a:gd name="connsiteY312" fmla="*/ 663742 h 960849"/>
                  <a:gd name="connsiteX313" fmla="*/ 401239 w 1315299"/>
                  <a:gd name="connsiteY313" fmla="*/ 667492 h 960849"/>
                  <a:gd name="connsiteX314" fmla="*/ 395622 w 1315299"/>
                  <a:gd name="connsiteY314" fmla="*/ 678738 h 960849"/>
                  <a:gd name="connsiteX315" fmla="*/ 395622 w 1315299"/>
                  <a:gd name="connsiteY315" fmla="*/ 685300 h 960849"/>
                  <a:gd name="connsiteX316" fmla="*/ 397494 w 1315299"/>
                  <a:gd name="connsiteY316" fmla="*/ 695610 h 960849"/>
                  <a:gd name="connsiteX317" fmla="*/ 399367 w 1315299"/>
                  <a:gd name="connsiteY317" fmla="*/ 708730 h 960849"/>
                  <a:gd name="connsiteX318" fmla="*/ 403112 w 1315299"/>
                  <a:gd name="connsiteY318" fmla="*/ 722789 h 960849"/>
                  <a:gd name="connsiteX319" fmla="*/ 419061 w 1315299"/>
                  <a:gd name="connsiteY319" fmla="*/ 737785 h 960849"/>
                  <a:gd name="connsiteX320" fmla="*/ 435913 w 1315299"/>
                  <a:gd name="connsiteY320" fmla="*/ 744345 h 960849"/>
                  <a:gd name="connsiteX321" fmla="*/ 461225 w 1315299"/>
                  <a:gd name="connsiteY321" fmla="*/ 739659 h 960849"/>
                  <a:gd name="connsiteX322" fmla="*/ 470609 w 1315299"/>
                  <a:gd name="connsiteY322" fmla="*/ 734035 h 960849"/>
                  <a:gd name="connsiteX323" fmla="*/ 476227 w 1315299"/>
                  <a:gd name="connsiteY323" fmla="*/ 729350 h 960849"/>
                  <a:gd name="connsiteX324" fmla="*/ 511848 w 1315299"/>
                  <a:gd name="connsiteY324" fmla="*/ 693735 h 960849"/>
                  <a:gd name="connsiteX325" fmla="*/ 522157 w 1315299"/>
                  <a:gd name="connsiteY325" fmla="*/ 684362 h 960849"/>
                  <a:gd name="connsiteX326" fmla="*/ 538085 w 1315299"/>
                  <a:gd name="connsiteY326" fmla="*/ 663742 h 960849"/>
                  <a:gd name="connsiteX327" fmla="*/ 551192 w 1315299"/>
                  <a:gd name="connsiteY327" fmla="*/ 649683 h 960849"/>
                  <a:gd name="connsiteX328" fmla="*/ 553086 w 1315299"/>
                  <a:gd name="connsiteY328" fmla="*/ 647811 h 960849"/>
                  <a:gd name="connsiteX329" fmla="*/ 564321 w 1315299"/>
                  <a:gd name="connsiteY329" fmla="*/ 637501 h 960849"/>
                  <a:gd name="connsiteX330" fmla="*/ 578376 w 1315299"/>
                  <a:gd name="connsiteY330" fmla="*/ 624379 h 960849"/>
                  <a:gd name="connsiteX331" fmla="*/ 584941 w 1315299"/>
                  <a:gd name="connsiteY331" fmla="*/ 618757 h 960849"/>
                  <a:gd name="connsiteX332" fmla="*/ 592430 w 1315299"/>
                  <a:gd name="connsiteY332" fmla="*/ 608447 h 960849"/>
                  <a:gd name="connsiteX333" fmla="*/ 602740 w 1315299"/>
                  <a:gd name="connsiteY333" fmla="*/ 597199 h 960849"/>
                  <a:gd name="connsiteX334" fmla="*/ 606507 w 1315299"/>
                  <a:gd name="connsiteY334" fmla="*/ 594388 h 960849"/>
                  <a:gd name="connsiteX335" fmla="*/ 610252 w 1315299"/>
                  <a:gd name="connsiteY335" fmla="*/ 592513 h 960849"/>
                  <a:gd name="connsiteX336" fmla="*/ 625254 w 1315299"/>
                  <a:gd name="connsiteY336" fmla="*/ 575643 h 960849"/>
                  <a:gd name="connsiteX337" fmla="*/ 636489 w 1315299"/>
                  <a:gd name="connsiteY337" fmla="*/ 563459 h 960849"/>
                  <a:gd name="connsiteX338" fmla="*/ 637436 w 1315299"/>
                  <a:gd name="connsiteY338" fmla="*/ 556899 h 960849"/>
                  <a:gd name="connsiteX339" fmla="*/ 634616 w 1315299"/>
                  <a:gd name="connsiteY339" fmla="*/ 555960 h 960849"/>
                  <a:gd name="connsiteX340" fmla="*/ 636489 w 1315299"/>
                  <a:gd name="connsiteY340" fmla="*/ 554088 h 960849"/>
                  <a:gd name="connsiteX341" fmla="*/ 637436 w 1315299"/>
                  <a:gd name="connsiteY341" fmla="*/ 556899 h 960849"/>
                  <a:gd name="connsiteX342" fmla="*/ 648671 w 1315299"/>
                  <a:gd name="connsiteY342" fmla="*/ 549400 h 960849"/>
                  <a:gd name="connsiteX343" fmla="*/ 658055 w 1315299"/>
                  <a:gd name="connsiteY343" fmla="*/ 540965 h 960849"/>
                  <a:gd name="connsiteX344" fmla="*/ 661800 w 1315299"/>
                  <a:gd name="connsiteY344" fmla="*/ 538154 h 960849"/>
                  <a:gd name="connsiteX345" fmla="*/ 673982 w 1315299"/>
                  <a:gd name="connsiteY345" fmla="*/ 525034 h 960849"/>
                  <a:gd name="connsiteX346" fmla="*/ 678674 w 1315299"/>
                  <a:gd name="connsiteY346" fmla="*/ 520348 h 960849"/>
                  <a:gd name="connsiteX347" fmla="*/ 687112 w 1315299"/>
                  <a:gd name="connsiteY347" fmla="*/ 508164 h 960849"/>
                  <a:gd name="connsiteX348" fmla="*/ 688037 w 1315299"/>
                  <a:gd name="connsiteY348" fmla="*/ 502540 h 960849"/>
                  <a:gd name="connsiteX349" fmla="*/ 681472 w 1315299"/>
                  <a:gd name="connsiteY349" fmla="*/ 506287 h 960849"/>
                  <a:gd name="connsiteX350" fmla="*/ 681472 w 1315299"/>
                  <a:gd name="connsiteY350" fmla="*/ 501601 h 960849"/>
                  <a:gd name="connsiteX351" fmla="*/ 685217 w 1315299"/>
                  <a:gd name="connsiteY351" fmla="*/ 500665 h 960849"/>
                  <a:gd name="connsiteX352" fmla="*/ 688037 w 1315299"/>
                  <a:gd name="connsiteY352" fmla="*/ 502540 h 960849"/>
                  <a:gd name="connsiteX353" fmla="*/ 700219 w 1315299"/>
                  <a:gd name="connsiteY353" fmla="*/ 496916 h 960849"/>
                  <a:gd name="connsiteX354" fmla="*/ 706784 w 1315299"/>
                  <a:gd name="connsiteY354" fmla="*/ 490355 h 960849"/>
                  <a:gd name="connsiteX355" fmla="*/ 714274 w 1315299"/>
                  <a:gd name="connsiteY355" fmla="*/ 483795 h 960849"/>
                  <a:gd name="connsiteX356" fmla="*/ 720838 w 1315299"/>
                  <a:gd name="connsiteY356" fmla="*/ 472547 h 960849"/>
                  <a:gd name="connsiteX357" fmla="*/ 718019 w 1315299"/>
                  <a:gd name="connsiteY357" fmla="*/ 469736 h 960849"/>
                  <a:gd name="connsiteX358" fmla="*/ 714274 w 1315299"/>
                  <a:gd name="connsiteY358" fmla="*/ 472547 h 960849"/>
                  <a:gd name="connsiteX359" fmla="*/ 718019 w 1315299"/>
                  <a:gd name="connsiteY359" fmla="*/ 469736 h 960849"/>
                  <a:gd name="connsiteX360" fmla="*/ 724583 w 1315299"/>
                  <a:gd name="connsiteY360" fmla="*/ 462237 h 960849"/>
                  <a:gd name="connsiteX361" fmla="*/ 728328 w 1315299"/>
                  <a:gd name="connsiteY361" fmla="*/ 460365 h 960849"/>
                  <a:gd name="connsiteX362" fmla="*/ 731148 w 1315299"/>
                  <a:gd name="connsiteY362" fmla="*/ 452866 h 960849"/>
                  <a:gd name="connsiteX363" fmla="*/ 731148 w 1315299"/>
                  <a:gd name="connsiteY363" fmla="*/ 450055 h 960849"/>
                  <a:gd name="connsiteX364" fmla="*/ 724583 w 1315299"/>
                  <a:gd name="connsiteY364" fmla="*/ 453804 h 960849"/>
                  <a:gd name="connsiteX365" fmla="*/ 710529 w 1315299"/>
                  <a:gd name="connsiteY365" fmla="*/ 467861 h 960849"/>
                  <a:gd name="connsiteX366" fmla="*/ 706784 w 1315299"/>
                  <a:gd name="connsiteY366" fmla="*/ 469736 h 960849"/>
                  <a:gd name="connsiteX367" fmla="*/ 691782 w 1315299"/>
                  <a:gd name="connsiteY367" fmla="*/ 484731 h 960849"/>
                  <a:gd name="connsiteX368" fmla="*/ 688984 w 1315299"/>
                  <a:gd name="connsiteY368" fmla="*/ 487544 h 960849"/>
                  <a:gd name="connsiteX369" fmla="*/ 680547 w 1315299"/>
                  <a:gd name="connsiteY369" fmla="*/ 495041 h 960849"/>
                  <a:gd name="connsiteX370" fmla="*/ 673035 w 1315299"/>
                  <a:gd name="connsiteY370" fmla="*/ 504414 h 960849"/>
                  <a:gd name="connsiteX371" fmla="*/ 665545 w 1315299"/>
                  <a:gd name="connsiteY371" fmla="*/ 512849 h 960849"/>
                  <a:gd name="connsiteX372" fmla="*/ 648671 w 1315299"/>
                  <a:gd name="connsiteY372" fmla="*/ 527844 h 960849"/>
                  <a:gd name="connsiteX373" fmla="*/ 634616 w 1315299"/>
                  <a:gd name="connsiteY373" fmla="*/ 544717 h 960849"/>
                  <a:gd name="connsiteX374" fmla="*/ 629924 w 1315299"/>
                  <a:gd name="connsiteY374" fmla="*/ 546589 h 960849"/>
                  <a:gd name="connsiteX375" fmla="*/ 621487 w 1315299"/>
                  <a:gd name="connsiteY375" fmla="*/ 555962 h 960849"/>
                  <a:gd name="connsiteX376" fmla="*/ 608379 w 1315299"/>
                  <a:gd name="connsiteY376" fmla="*/ 570958 h 960849"/>
                  <a:gd name="connsiteX377" fmla="*/ 582121 w 1315299"/>
                  <a:gd name="connsiteY377" fmla="*/ 597201 h 960849"/>
                  <a:gd name="connsiteX378" fmla="*/ 555884 w 1315299"/>
                  <a:gd name="connsiteY378" fmla="*/ 624381 h 960849"/>
                  <a:gd name="connsiteX379" fmla="*/ 553086 w 1315299"/>
                  <a:gd name="connsiteY379" fmla="*/ 627192 h 960849"/>
                  <a:gd name="connsiteX380" fmla="*/ 544649 w 1315299"/>
                  <a:gd name="connsiteY380" fmla="*/ 634690 h 960849"/>
                  <a:gd name="connsiteX381" fmla="*/ 533392 w 1315299"/>
                  <a:gd name="connsiteY381" fmla="*/ 648749 h 960849"/>
                  <a:gd name="connsiteX382" fmla="*/ 512773 w 1315299"/>
                  <a:gd name="connsiteY382" fmla="*/ 666556 h 960849"/>
                  <a:gd name="connsiteX383" fmla="*/ 507155 w 1315299"/>
                  <a:gd name="connsiteY383" fmla="*/ 667494 h 960849"/>
                  <a:gd name="connsiteX384" fmla="*/ 501538 w 1315299"/>
                  <a:gd name="connsiteY384" fmla="*/ 674054 h 960849"/>
                  <a:gd name="connsiteX385" fmla="*/ 497771 w 1315299"/>
                  <a:gd name="connsiteY385" fmla="*/ 676865 h 960849"/>
                  <a:gd name="connsiteX386" fmla="*/ 496846 w 1315299"/>
                  <a:gd name="connsiteY386" fmla="*/ 677804 h 960849"/>
                  <a:gd name="connsiteX387" fmla="*/ 490281 w 1315299"/>
                  <a:gd name="connsiteY387" fmla="*/ 684364 h 960849"/>
                  <a:gd name="connsiteX388" fmla="*/ 486536 w 1315299"/>
                  <a:gd name="connsiteY388" fmla="*/ 688113 h 960849"/>
                  <a:gd name="connsiteX389" fmla="*/ 483717 w 1315299"/>
                  <a:gd name="connsiteY389" fmla="*/ 689986 h 960849"/>
                  <a:gd name="connsiteX390" fmla="*/ 486536 w 1315299"/>
                  <a:gd name="connsiteY390" fmla="*/ 688113 h 960849"/>
                  <a:gd name="connsiteX391" fmla="*/ 490281 w 1315299"/>
                  <a:gd name="connsiteY391" fmla="*/ 684364 h 960849"/>
                  <a:gd name="connsiteX392" fmla="*/ 490281 w 1315299"/>
                  <a:gd name="connsiteY392" fmla="*/ 681551 h 960849"/>
                  <a:gd name="connsiteX393" fmla="*/ 494026 w 1315299"/>
                  <a:gd name="connsiteY393" fmla="*/ 677804 h 960849"/>
                  <a:gd name="connsiteX394" fmla="*/ 496846 w 1315299"/>
                  <a:gd name="connsiteY394" fmla="*/ 677804 h 960849"/>
                  <a:gd name="connsiteX395" fmla="*/ 500591 w 1315299"/>
                  <a:gd name="connsiteY395" fmla="*/ 671241 h 960849"/>
                  <a:gd name="connsiteX396" fmla="*/ 507155 w 1315299"/>
                  <a:gd name="connsiteY396" fmla="*/ 667494 h 960849"/>
                  <a:gd name="connsiteX397" fmla="*/ 508081 w 1315299"/>
                  <a:gd name="connsiteY397" fmla="*/ 662806 h 960849"/>
                  <a:gd name="connsiteX398" fmla="*/ 522157 w 1315299"/>
                  <a:gd name="connsiteY398" fmla="*/ 647811 h 960849"/>
                  <a:gd name="connsiteX399" fmla="*/ 556831 w 1315299"/>
                  <a:gd name="connsiteY399" fmla="*/ 612196 h 960849"/>
                  <a:gd name="connsiteX400" fmla="*/ 571811 w 1315299"/>
                  <a:gd name="connsiteY400" fmla="*/ 594388 h 960849"/>
                  <a:gd name="connsiteX401" fmla="*/ 574631 w 1315299"/>
                  <a:gd name="connsiteY401" fmla="*/ 590639 h 960849"/>
                  <a:gd name="connsiteX402" fmla="*/ 597123 w 1315299"/>
                  <a:gd name="connsiteY402" fmla="*/ 568147 h 960849"/>
                  <a:gd name="connsiteX403" fmla="*/ 602740 w 1315299"/>
                  <a:gd name="connsiteY403" fmla="*/ 561587 h 960849"/>
                  <a:gd name="connsiteX404" fmla="*/ 622434 w 1315299"/>
                  <a:gd name="connsiteY404" fmla="*/ 539093 h 960849"/>
                  <a:gd name="connsiteX405" fmla="*/ 629924 w 1315299"/>
                  <a:gd name="connsiteY405" fmla="*/ 534405 h 960849"/>
                  <a:gd name="connsiteX406" fmla="*/ 646798 w 1315299"/>
                  <a:gd name="connsiteY406" fmla="*/ 516599 h 960849"/>
                  <a:gd name="connsiteX407" fmla="*/ 652416 w 1315299"/>
                  <a:gd name="connsiteY407" fmla="*/ 509100 h 960849"/>
                  <a:gd name="connsiteX408" fmla="*/ 651491 w 1315299"/>
                  <a:gd name="connsiteY408" fmla="*/ 508164 h 960849"/>
                  <a:gd name="connsiteX409" fmla="*/ 648671 w 1315299"/>
                  <a:gd name="connsiteY409" fmla="*/ 508164 h 960849"/>
                  <a:gd name="connsiteX410" fmla="*/ 618689 w 1315299"/>
                  <a:gd name="connsiteY410" fmla="*/ 536280 h 960849"/>
                  <a:gd name="connsiteX411" fmla="*/ 611177 w 1315299"/>
                  <a:gd name="connsiteY411" fmla="*/ 540965 h 960849"/>
                  <a:gd name="connsiteX412" fmla="*/ 607432 w 1315299"/>
                  <a:gd name="connsiteY412" fmla="*/ 544717 h 960849"/>
                  <a:gd name="connsiteX413" fmla="*/ 606507 w 1315299"/>
                  <a:gd name="connsiteY413" fmla="*/ 549402 h 960849"/>
                  <a:gd name="connsiteX414" fmla="*/ 598995 w 1315299"/>
                  <a:gd name="connsiteY414" fmla="*/ 556899 h 960849"/>
                  <a:gd name="connsiteX415" fmla="*/ 582121 w 1315299"/>
                  <a:gd name="connsiteY415" fmla="*/ 575643 h 960849"/>
                  <a:gd name="connsiteX416" fmla="*/ 569939 w 1315299"/>
                  <a:gd name="connsiteY416" fmla="*/ 588766 h 960849"/>
                  <a:gd name="connsiteX417" fmla="*/ 566194 w 1315299"/>
                  <a:gd name="connsiteY417" fmla="*/ 592513 h 960849"/>
                  <a:gd name="connsiteX418" fmla="*/ 562449 w 1315299"/>
                  <a:gd name="connsiteY418" fmla="*/ 596263 h 960849"/>
                  <a:gd name="connsiteX419" fmla="*/ 555884 w 1315299"/>
                  <a:gd name="connsiteY419" fmla="*/ 601887 h 960849"/>
                  <a:gd name="connsiteX420" fmla="*/ 553086 w 1315299"/>
                  <a:gd name="connsiteY420" fmla="*/ 605636 h 960849"/>
                  <a:gd name="connsiteX421" fmla="*/ 539010 w 1315299"/>
                  <a:gd name="connsiteY421" fmla="*/ 616882 h 960849"/>
                  <a:gd name="connsiteX422" fmla="*/ 523083 w 1315299"/>
                  <a:gd name="connsiteY422" fmla="*/ 636565 h 960849"/>
                  <a:gd name="connsiteX423" fmla="*/ 501538 w 1315299"/>
                  <a:gd name="connsiteY423" fmla="*/ 657182 h 960849"/>
                  <a:gd name="connsiteX424" fmla="*/ 493101 w 1315299"/>
                  <a:gd name="connsiteY424" fmla="*/ 667492 h 960849"/>
                  <a:gd name="connsiteX425" fmla="*/ 489334 w 1315299"/>
                  <a:gd name="connsiteY425" fmla="*/ 671241 h 960849"/>
                  <a:gd name="connsiteX426" fmla="*/ 483717 w 1315299"/>
                  <a:gd name="connsiteY426" fmla="*/ 674991 h 960849"/>
                  <a:gd name="connsiteX427" fmla="*/ 468737 w 1315299"/>
                  <a:gd name="connsiteY427" fmla="*/ 691861 h 960849"/>
                  <a:gd name="connsiteX428" fmla="*/ 460299 w 1315299"/>
                  <a:gd name="connsiteY428" fmla="*/ 699359 h 960849"/>
                  <a:gd name="connsiteX429" fmla="*/ 446223 w 1315299"/>
                  <a:gd name="connsiteY429" fmla="*/ 708730 h 960849"/>
                  <a:gd name="connsiteX430" fmla="*/ 432168 w 1315299"/>
                  <a:gd name="connsiteY430" fmla="*/ 715293 h 960849"/>
                  <a:gd name="connsiteX431" fmla="*/ 427498 w 1315299"/>
                  <a:gd name="connsiteY431" fmla="*/ 717165 h 960849"/>
                  <a:gd name="connsiteX432" fmla="*/ 422806 w 1315299"/>
                  <a:gd name="connsiteY432" fmla="*/ 715293 h 960849"/>
                  <a:gd name="connsiteX433" fmla="*/ 419986 w 1315299"/>
                  <a:gd name="connsiteY433" fmla="*/ 711543 h 960849"/>
                  <a:gd name="connsiteX434" fmla="*/ 420933 w 1315299"/>
                  <a:gd name="connsiteY434" fmla="*/ 689986 h 960849"/>
                  <a:gd name="connsiteX435" fmla="*/ 422806 w 1315299"/>
                  <a:gd name="connsiteY435" fmla="*/ 685300 h 960849"/>
                  <a:gd name="connsiteX436" fmla="*/ 423731 w 1315299"/>
                  <a:gd name="connsiteY436" fmla="*/ 674054 h 960849"/>
                  <a:gd name="connsiteX437" fmla="*/ 426551 w 1315299"/>
                  <a:gd name="connsiteY437" fmla="*/ 662806 h 960849"/>
                  <a:gd name="connsiteX438" fmla="*/ 430296 w 1315299"/>
                  <a:gd name="connsiteY438" fmla="*/ 645000 h 960849"/>
                  <a:gd name="connsiteX439" fmla="*/ 434041 w 1315299"/>
                  <a:gd name="connsiteY439" fmla="*/ 630002 h 960849"/>
                  <a:gd name="connsiteX440" fmla="*/ 434041 w 1315299"/>
                  <a:gd name="connsiteY440" fmla="*/ 624379 h 960849"/>
                  <a:gd name="connsiteX441" fmla="*/ 438733 w 1315299"/>
                  <a:gd name="connsiteY441" fmla="*/ 612194 h 960849"/>
                  <a:gd name="connsiteX442" fmla="*/ 443425 w 1315299"/>
                  <a:gd name="connsiteY442" fmla="*/ 598137 h 960849"/>
                  <a:gd name="connsiteX443" fmla="*/ 446223 w 1315299"/>
                  <a:gd name="connsiteY443" fmla="*/ 592513 h 960849"/>
                  <a:gd name="connsiteX444" fmla="*/ 449990 w 1315299"/>
                  <a:gd name="connsiteY444" fmla="*/ 583140 h 960849"/>
                  <a:gd name="connsiteX445" fmla="*/ 452787 w 1315299"/>
                  <a:gd name="connsiteY445" fmla="*/ 574707 h 960849"/>
                  <a:gd name="connsiteX446" fmla="*/ 456532 w 1315299"/>
                  <a:gd name="connsiteY446" fmla="*/ 564398 h 960849"/>
                  <a:gd name="connsiteX447" fmla="*/ 466842 w 1315299"/>
                  <a:gd name="connsiteY447" fmla="*/ 532530 h 960849"/>
                  <a:gd name="connsiteX448" fmla="*/ 467745 w 1315299"/>
                  <a:gd name="connsiteY448" fmla="*/ 529946 h 960849"/>
                  <a:gd name="connsiteX449" fmla="*/ 502463 w 1315299"/>
                  <a:gd name="connsiteY449" fmla="*/ 518473 h 960849"/>
                  <a:gd name="connsiteX450" fmla="*/ 508081 w 1315299"/>
                  <a:gd name="connsiteY450" fmla="*/ 515660 h 960849"/>
                  <a:gd name="connsiteX451" fmla="*/ 503411 w 1315299"/>
                  <a:gd name="connsiteY451" fmla="*/ 496916 h 960849"/>
                  <a:gd name="connsiteX452" fmla="*/ 494973 w 1315299"/>
                  <a:gd name="connsiteY452" fmla="*/ 491291 h 960849"/>
                  <a:gd name="connsiteX453" fmla="*/ 486624 w 1315299"/>
                  <a:gd name="connsiteY453" fmla="*/ 483612 h 960849"/>
                  <a:gd name="connsiteX454" fmla="*/ 493101 w 1315299"/>
                  <a:gd name="connsiteY454" fmla="*/ 471611 h 960849"/>
                  <a:gd name="connsiteX455" fmla="*/ 496846 w 1315299"/>
                  <a:gd name="connsiteY455" fmla="*/ 458490 h 960849"/>
                  <a:gd name="connsiteX456" fmla="*/ 498718 w 1315299"/>
                  <a:gd name="connsiteY456" fmla="*/ 456615 h 960849"/>
                  <a:gd name="connsiteX457" fmla="*/ 505283 w 1315299"/>
                  <a:gd name="connsiteY457" fmla="*/ 446306 h 960849"/>
                  <a:gd name="connsiteX458" fmla="*/ 511848 w 1315299"/>
                  <a:gd name="connsiteY458" fmla="*/ 435058 h 960849"/>
                  <a:gd name="connsiteX459" fmla="*/ 524030 w 1315299"/>
                  <a:gd name="connsiteY459" fmla="*/ 413502 h 960849"/>
                  <a:gd name="connsiteX460" fmla="*/ 525902 w 1315299"/>
                  <a:gd name="connsiteY460" fmla="*/ 410689 h 960849"/>
                  <a:gd name="connsiteX461" fmla="*/ 533392 w 1315299"/>
                  <a:gd name="connsiteY461" fmla="*/ 395694 h 960849"/>
                  <a:gd name="connsiteX462" fmla="*/ 546522 w 1315299"/>
                  <a:gd name="connsiteY462" fmla="*/ 372263 h 960849"/>
                  <a:gd name="connsiteX463" fmla="*/ 562449 w 1315299"/>
                  <a:gd name="connsiteY463" fmla="*/ 346959 h 960849"/>
                  <a:gd name="connsiteX464" fmla="*/ 579323 w 1315299"/>
                  <a:gd name="connsiteY464" fmla="*/ 331961 h 960849"/>
                  <a:gd name="connsiteX465" fmla="*/ 586813 w 1315299"/>
                  <a:gd name="connsiteY465" fmla="*/ 329150 h 960849"/>
                  <a:gd name="connsiteX466" fmla="*/ 597123 w 1315299"/>
                  <a:gd name="connsiteY466" fmla="*/ 328214 h 960849"/>
                  <a:gd name="connsiteX467" fmla="*/ 603687 w 1315299"/>
                  <a:gd name="connsiteY467" fmla="*/ 326339 h 960849"/>
                  <a:gd name="connsiteX468" fmla="*/ 618689 w 1315299"/>
                  <a:gd name="connsiteY468" fmla="*/ 322590 h 960849"/>
                  <a:gd name="connsiteX469" fmla="*/ 633669 w 1315299"/>
                  <a:gd name="connsiteY469" fmla="*/ 318840 h 960849"/>
                  <a:gd name="connsiteX470" fmla="*/ 638361 w 1315299"/>
                  <a:gd name="connsiteY470" fmla="*/ 317904 h 960849"/>
                  <a:gd name="connsiteX471" fmla="*/ 652416 w 1315299"/>
                  <a:gd name="connsiteY471" fmla="*/ 315091 h 960849"/>
                  <a:gd name="connsiteX472" fmla="*/ 663673 w 1315299"/>
                  <a:gd name="connsiteY472" fmla="*/ 312280 h 960849"/>
                  <a:gd name="connsiteX473" fmla="*/ 674908 w 1315299"/>
                  <a:gd name="connsiteY473" fmla="*/ 314155 h 960849"/>
                  <a:gd name="connsiteX474" fmla="*/ 678674 w 1315299"/>
                  <a:gd name="connsiteY474" fmla="*/ 314155 h 960849"/>
                  <a:gd name="connsiteX475" fmla="*/ 688984 w 1315299"/>
                  <a:gd name="connsiteY475" fmla="*/ 312280 h 960849"/>
                  <a:gd name="connsiteX476" fmla="*/ 695527 w 1315299"/>
                  <a:gd name="connsiteY476" fmla="*/ 311344 h 960849"/>
                  <a:gd name="connsiteX477" fmla="*/ 707731 w 1315299"/>
                  <a:gd name="connsiteY477" fmla="*/ 308531 h 960849"/>
                  <a:gd name="connsiteX478" fmla="*/ 722711 w 1315299"/>
                  <a:gd name="connsiteY478" fmla="*/ 306658 h 960849"/>
                  <a:gd name="connsiteX479" fmla="*/ 732095 w 1315299"/>
                  <a:gd name="connsiteY479" fmla="*/ 304781 h 960849"/>
                  <a:gd name="connsiteX480" fmla="*/ 747075 w 1315299"/>
                  <a:gd name="connsiteY480" fmla="*/ 302909 h 960849"/>
                  <a:gd name="connsiteX481" fmla="*/ 754587 w 1315299"/>
                  <a:gd name="connsiteY481" fmla="*/ 300096 h 960849"/>
                  <a:gd name="connsiteX482" fmla="*/ 761152 w 1315299"/>
                  <a:gd name="connsiteY482" fmla="*/ 299160 h 960849"/>
                  <a:gd name="connsiteX483" fmla="*/ 769567 w 1315299"/>
                  <a:gd name="connsiteY483" fmla="*/ 297285 h 960849"/>
                  <a:gd name="connsiteX484" fmla="*/ 779877 w 1315299"/>
                  <a:gd name="connsiteY484" fmla="*/ 299160 h 960849"/>
                  <a:gd name="connsiteX485" fmla="*/ 792081 w 1315299"/>
                  <a:gd name="connsiteY485" fmla="*/ 296349 h 960849"/>
                  <a:gd name="connsiteX486" fmla="*/ 797698 w 1315299"/>
                  <a:gd name="connsiteY486" fmla="*/ 295410 h 960849"/>
                  <a:gd name="connsiteX487" fmla="*/ 806135 w 1315299"/>
                  <a:gd name="connsiteY487" fmla="*/ 292599 h 960849"/>
                  <a:gd name="connsiteX488" fmla="*/ 810805 w 1315299"/>
                  <a:gd name="connsiteY488" fmla="*/ 292599 h 960849"/>
                  <a:gd name="connsiteX489" fmla="*/ 814572 w 1315299"/>
                  <a:gd name="connsiteY489" fmla="*/ 288850 h 960849"/>
                  <a:gd name="connsiteX490" fmla="*/ 821115 w 1315299"/>
                  <a:gd name="connsiteY490" fmla="*/ 287912 h 960849"/>
                  <a:gd name="connsiteX491" fmla="*/ 827680 w 1315299"/>
                  <a:gd name="connsiteY491" fmla="*/ 280415 h 960849"/>
                  <a:gd name="connsiteX492" fmla="*/ 826754 w 1315299"/>
                  <a:gd name="connsiteY492" fmla="*/ 276666 h 960849"/>
                  <a:gd name="connsiteX493" fmla="*/ 819243 w 1315299"/>
                  <a:gd name="connsiteY493" fmla="*/ 274791 h 960849"/>
                  <a:gd name="connsiteX494" fmla="*/ 788314 w 1315299"/>
                  <a:gd name="connsiteY494" fmla="*/ 274791 h 960849"/>
                  <a:gd name="connsiteX495" fmla="*/ 791134 w 1315299"/>
                  <a:gd name="connsiteY495" fmla="*/ 272916 h 960849"/>
                  <a:gd name="connsiteX496" fmla="*/ 810805 w 1315299"/>
                  <a:gd name="connsiteY496" fmla="*/ 270105 h 960849"/>
                  <a:gd name="connsiteX497" fmla="*/ 816445 w 1315299"/>
                  <a:gd name="connsiteY497" fmla="*/ 268231 h 960849"/>
                  <a:gd name="connsiteX498" fmla="*/ 837990 w 1315299"/>
                  <a:gd name="connsiteY498" fmla="*/ 268231 h 960849"/>
                  <a:gd name="connsiteX499" fmla="*/ 853939 w 1315299"/>
                  <a:gd name="connsiteY499" fmla="*/ 266356 h 960849"/>
                  <a:gd name="connsiteX500" fmla="*/ 860481 w 1315299"/>
                  <a:gd name="connsiteY500" fmla="*/ 264481 h 960849"/>
                  <a:gd name="connsiteX501" fmla="*/ 870791 w 1315299"/>
                  <a:gd name="connsiteY501" fmla="*/ 263545 h 960849"/>
                  <a:gd name="connsiteX502" fmla="*/ 882048 w 1315299"/>
                  <a:gd name="connsiteY502" fmla="*/ 264481 h 960849"/>
                  <a:gd name="connsiteX503" fmla="*/ 893283 w 1315299"/>
                  <a:gd name="connsiteY503" fmla="*/ 264481 h 960849"/>
                  <a:gd name="connsiteX504" fmla="*/ 909232 w 1315299"/>
                  <a:gd name="connsiteY504" fmla="*/ 262607 h 960849"/>
                  <a:gd name="connsiteX505" fmla="*/ 911104 w 1315299"/>
                  <a:gd name="connsiteY505" fmla="*/ 263545 h 960849"/>
                  <a:gd name="connsiteX506" fmla="*/ 909232 w 1315299"/>
                  <a:gd name="connsiteY506" fmla="*/ 266356 h 960849"/>
                  <a:gd name="connsiteX507" fmla="*/ 902667 w 1315299"/>
                  <a:gd name="connsiteY507" fmla="*/ 267294 h 960849"/>
                  <a:gd name="connsiteX508" fmla="*/ 898922 w 1315299"/>
                  <a:gd name="connsiteY508" fmla="*/ 267294 h 960849"/>
                  <a:gd name="connsiteX509" fmla="*/ 886740 w 1315299"/>
                  <a:gd name="connsiteY509" fmla="*/ 271042 h 960849"/>
                  <a:gd name="connsiteX510" fmla="*/ 882973 w 1315299"/>
                  <a:gd name="connsiteY510" fmla="*/ 271042 h 960849"/>
                  <a:gd name="connsiteX511" fmla="*/ 874558 w 1315299"/>
                  <a:gd name="connsiteY511" fmla="*/ 273855 h 960849"/>
                  <a:gd name="connsiteX512" fmla="*/ 872663 w 1315299"/>
                  <a:gd name="connsiteY512" fmla="*/ 274791 h 960849"/>
                  <a:gd name="connsiteX513" fmla="*/ 871738 w 1315299"/>
                  <a:gd name="connsiteY513" fmla="*/ 278540 h 960849"/>
                  <a:gd name="connsiteX514" fmla="*/ 879228 w 1315299"/>
                  <a:gd name="connsiteY514" fmla="*/ 285101 h 960849"/>
                  <a:gd name="connsiteX515" fmla="*/ 882048 w 1315299"/>
                  <a:gd name="connsiteY515" fmla="*/ 292599 h 960849"/>
                  <a:gd name="connsiteX516" fmla="*/ 887665 w 1315299"/>
                  <a:gd name="connsiteY516" fmla="*/ 289786 h 960849"/>
                  <a:gd name="connsiteX517" fmla="*/ 895177 w 1315299"/>
                  <a:gd name="connsiteY517" fmla="*/ 284164 h 960849"/>
                  <a:gd name="connsiteX518" fmla="*/ 909232 w 1315299"/>
                  <a:gd name="connsiteY518" fmla="*/ 273855 h 960849"/>
                  <a:gd name="connsiteX519" fmla="*/ 912977 w 1315299"/>
                  <a:gd name="connsiteY519" fmla="*/ 274791 h 960849"/>
                  <a:gd name="connsiteX520" fmla="*/ 914849 w 1315299"/>
                  <a:gd name="connsiteY520" fmla="*/ 277602 h 960849"/>
                  <a:gd name="connsiteX521" fmla="*/ 912977 w 1315299"/>
                  <a:gd name="connsiteY521" fmla="*/ 278540 h 960849"/>
                  <a:gd name="connsiteX522" fmla="*/ 905487 w 1315299"/>
                  <a:gd name="connsiteY522" fmla="*/ 285101 h 960849"/>
                  <a:gd name="connsiteX523" fmla="*/ 905487 w 1315299"/>
                  <a:gd name="connsiteY523" fmla="*/ 286039 h 960849"/>
                  <a:gd name="connsiteX524" fmla="*/ 907359 w 1315299"/>
                  <a:gd name="connsiteY524" fmla="*/ 287912 h 960849"/>
                  <a:gd name="connsiteX525" fmla="*/ 914849 w 1315299"/>
                  <a:gd name="connsiteY525" fmla="*/ 285101 h 960849"/>
                  <a:gd name="connsiteX526" fmla="*/ 923286 w 1315299"/>
                  <a:gd name="connsiteY526" fmla="*/ 285101 h 960849"/>
                  <a:gd name="connsiteX527" fmla="*/ 927978 w 1315299"/>
                  <a:gd name="connsiteY527" fmla="*/ 282288 h 960849"/>
                  <a:gd name="connsiteX528" fmla="*/ 933596 w 1315299"/>
                  <a:gd name="connsiteY528" fmla="*/ 277602 h 960849"/>
                  <a:gd name="connsiteX529" fmla="*/ 942033 w 1315299"/>
                  <a:gd name="connsiteY529" fmla="*/ 277602 h 960849"/>
                  <a:gd name="connsiteX530" fmla="*/ 945778 w 1315299"/>
                  <a:gd name="connsiteY530" fmla="*/ 285101 h 960849"/>
                  <a:gd name="connsiteX531" fmla="*/ 952343 w 1315299"/>
                  <a:gd name="connsiteY531" fmla="*/ 278540 h 960849"/>
                  <a:gd name="connsiteX532" fmla="*/ 958908 w 1315299"/>
                  <a:gd name="connsiteY532" fmla="*/ 274791 h 960849"/>
                  <a:gd name="connsiteX533" fmla="*/ 956088 w 1315299"/>
                  <a:gd name="connsiteY533" fmla="*/ 282290 h 960849"/>
                  <a:gd name="connsiteX534" fmla="*/ 952343 w 1315299"/>
                  <a:gd name="connsiteY534" fmla="*/ 289786 h 960849"/>
                  <a:gd name="connsiteX535" fmla="*/ 941086 w 1315299"/>
                  <a:gd name="connsiteY535" fmla="*/ 302909 h 960849"/>
                  <a:gd name="connsiteX536" fmla="*/ 941086 w 1315299"/>
                  <a:gd name="connsiteY536" fmla="*/ 304781 h 960849"/>
                  <a:gd name="connsiteX537" fmla="*/ 942958 w 1315299"/>
                  <a:gd name="connsiteY537" fmla="*/ 304781 h 960849"/>
                  <a:gd name="connsiteX538" fmla="*/ 945778 w 1315299"/>
                  <a:gd name="connsiteY538" fmla="*/ 303845 h 960849"/>
                  <a:gd name="connsiteX539" fmla="*/ 952343 w 1315299"/>
                  <a:gd name="connsiteY539" fmla="*/ 299160 h 960849"/>
                  <a:gd name="connsiteX540" fmla="*/ 958908 w 1315299"/>
                  <a:gd name="connsiteY540" fmla="*/ 292599 h 960849"/>
                  <a:gd name="connsiteX541" fmla="*/ 959833 w 1315299"/>
                  <a:gd name="connsiteY541" fmla="*/ 289786 h 960849"/>
                  <a:gd name="connsiteX542" fmla="*/ 962652 w 1315299"/>
                  <a:gd name="connsiteY542" fmla="*/ 286039 h 960849"/>
                  <a:gd name="connsiteX543" fmla="*/ 962652 w 1315299"/>
                  <a:gd name="connsiteY543" fmla="*/ 292599 h 960849"/>
                  <a:gd name="connsiteX544" fmla="*/ 966397 w 1315299"/>
                  <a:gd name="connsiteY544" fmla="*/ 285101 h 960849"/>
                  <a:gd name="connsiteX545" fmla="*/ 962652 w 1315299"/>
                  <a:gd name="connsiteY545" fmla="*/ 285101 h 960849"/>
                  <a:gd name="connsiteX546" fmla="*/ 966397 w 1315299"/>
                  <a:gd name="connsiteY546" fmla="*/ 282290 h 960849"/>
                  <a:gd name="connsiteX547" fmla="*/ 967345 w 1315299"/>
                  <a:gd name="connsiteY547" fmla="*/ 280415 h 960849"/>
                  <a:gd name="connsiteX548" fmla="*/ 968270 w 1315299"/>
                  <a:gd name="connsiteY548" fmla="*/ 282290 h 960849"/>
                  <a:gd name="connsiteX549" fmla="*/ 977632 w 1315299"/>
                  <a:gd name="connsiteY549" fmla="*/ 276666 h 960849"/>
                  <a:gd name="connsiteX550" fmla="*/ 978580 w 1315299"/>
                  <a:gd name="connsiteY550" fmla="*/ 277602 h 960849"/>
                  <a:gd name="connsiteX551" fmla="*/ 978580 w 1315299"/>
                  <a:gd name="connsiteY551" fmla="*/ 278540 h 960849"/>
                  <a:gd name="connsiteX552" fmla="*/ 974834 w 1315299"/>
                  <a:gd name="connsiteY552" fmla="*/ 284164 h 960849"/>
                  <a:gd name="connsiteX553" fmla="*/ 968270 w 1315299"/>
                  <a:gd name="connsiteY553" fmla="*/ 295410 h 960849"/>
                  <a:gd name="connsiteX554" fmla="*/ 966397 w 1315299"/>
                  <a:gd name="connsiteY554" fmla="*/ 299160 h 960849"/>
                  <a:gd name="connsiteX555" fmla="*/ 962652 w 1315299"/>
                  <a:gd name="connsiteY555" fmla="*/ 303845 h 960849"/>
                  <a:gd name="connsiteX556" fmla="*/ 962652 w 1315299"/>
                  <a:gd name="connsiteY556" fmla="*/ 308531 h 960849"/>
                  <a:gd name="connsiteX557" fmla="*/ 958908 w 1315299"/>
                  <a:gd name="connsiteY557" fmla="*/ 310406 h 960849"/>
                  <a:gd name="connsiteX558" fmla="*/ 956088 w 1315299"/>
                  <a:gd name="connsiteY558" fmla="*/ 308531 h 960849"/>
                  <a:gd name="connsiteX559" fmla="*/ 948598 w 1315299"/>
                  <a:gd name="connsiteY559" fmla="*/ 315091 h 960849"/>
                  <a:gd name="connsiteX560" fmla="*/ 946703 w 1315299"/>
                  <a:gd name="connsiteY560" fmla="*/ 322590 h 960849"/>
                  <a:gd name="connsiteX561" fmla="*/ 939214 w 1315299"/>
                  <a:gd name="connsiteY561" fmla="*/ 329150 h 960849"/>
                  <a:gd name="connsiteX562" fmla="*/ 935469 w 1315299"/>
                  <a:gd name="connsiteY562" fmla="*/ 336649 h 960849"/>
                  <a:gd name="connsiteX563" fmla="*/ 927978 w 1315299"/>
                  <a:gd name="connsiteY563" fmla="*/ 341335 h 960849"/>
                  <a:gd name="connsiteX564" fmla="*/ 927978 w 1315299"/>
                  <a:gd name="connsiteY564" fmla="*/ 335710 h 960849"/>
                  <a:gd name="connsiteX565" fmla="*/ 926106 w 1315299"/>
                  <a:gd name="connsiteY565" fmla="*/ 335710 h 960849"/>
                  <a:gd name="connsiteX566" fmla="*/ 922339 w 1315299"/>
                  <a:gd name="connsiteY566" fmla="*/ 339460 h 960849"/>
                  <a:gd name="connsiteX567" fmla="*/ 919541 w 1315299"/>
                  <a:gd name="connsiteY567" fmla="*/ 346956 h 960849"/>
                  <a:gd name="connsiteX568" fmla="*/ 912977 w 1315299"/>
                  <a:gd name="connsiteY568" fmla="*/ 355394 h 960849"/>
                  <a:gd name="connsiteX569" fmla="*/ 912029 w 1315299"/>
                  <a:gd name="connsiteY569" fmla="*/ 355394 h 960849"/>
                  <a:gd name="connsiteX570" fmla="*/ 911104 w 1315299"/>
                  <a:gd name="connsiteY570" fmla="*/ 358204 h 960849"/>
                  <a:gd name="connsiteX571" fmla="*/ 911104 w 1315299"/>
                  <a:gd name="connsiteY571" fmla="*/ 356330 h 960849"/>
                  <a:gd name="connsiteX572" fmla="*/ 912029 w 1315299"/>
                  <a:gd name="connsiteY572" fmla="*/ 355394 h 960849"/>
                  <a:gd name="connsiteX573" fmla="*/ 909232 w 1315299"/>
                  <a:gd name="connsiteY573" fmla="*/ 352580 h 960849"/>
                  <a:gd name="connsiteX574" fmla="*/ 905487 w 1315299"/>
                  <a:gd name="connsiteY574" fmla="*/ 352580 h 960849"/>
                  <a:gd name="connsiteX575" fmla="*/ 898922 w 1315299"/>
                  <a:gd name="connsiteY575" fmla="*/ 362890 h 960849"/>
                  <a:gd name="connsiteX576" fmla="*/ 889538 w 1315299"/>
                  <a:gd name="connsiteY576" fmla="*/ 373200 h 960849"/>
                  <a:gd name="connsiteX577" fmla="*/ 885793 w 1315299"/>
                  <a:gd name="connsiteY577" fmla="*/ 376011 h 960849"/>
                  <a:gd name="connsiteX578" fmla="*/ 879228 w 1315299"/>
                  <a:gd name="connsiteY578" fmla="*/ 385384 h 960849"/>
                  <a:gd name="connsiteX579" fmla="*/ 885793 w 1315299"/>
                  <a:gd name="connsiteY579" fmla="*/ 389133 h 960849"/>
                  <a:gd name="connsiteX580" fmla="*/ 886740 w 1315299"/>
                  <a:gd name="connsiteY580" fmla="*/ 391944 h 960849"/>
                  <a:gd name="connsiteX581" fmla="*/ 882048 w 1315299"/>
                  <a:gd name="connsiteY581" fmla="*/ 400379 h 960849"/>
                  <a:gd name="connsiteX582" fmla="*/ 879228 w 1315299"/>
                  <a:gd name="connsiteY582" fmla="*/ 399443 h 960849"/>
                  <a:gd name="connsiteX583" fmla="*/ 875483 w 1315299"/>
                  <a:gd name="connsiteY583" fmla="*/ 398505 h 960849"/>
                  <a:gd name="connsiteX584" fmla="*/ 868918 w 1315299"/>
                  <a:gd name="connsiteY584" fmla="*/ 404129 h 960849"/>
                  <a:gd name="connsiteX585" fmla="*/ 865173 w 1315299"/>
                  <a:gd name="connsiteY585" fmla="*/ 412564 h 960849"/>
                  <a:gd name="connsiteX586" fmla="*/ 854864 w 1315299"/>
                  <a:gd name="connsiteY586" fmla="*/ 421937 h 960849"/>
                  <a:gd name="connsiteX587" fmla="*/ 851119 w 1315299"/>
                  <a:gd name="connsiteY587" fmla="*/ 432247 h 960849"/>
                  <a:gd name="connsiteX588" fmla="*/ 849246 w 1315299"/>
                  <a:gd name="connsiteY588" fmla="*/ 439743 h 960849"/>
                  <a:gd name="connsiteX589" fmla="*/ 851119 w 1315299"/>
                  <a:gd name="connsiteY589" fmla="*/ 438807 h 960849"/>
                  <a:gd name="connsiteX590" fmla="*/ 863301 w 1315299"/>
                  <a:gd name="connsiteY590" fmla="*/ 427559 h 960849"/>
                  <a:gd name="connsiteX591" fmla="*/ 865173 w 1315299"/>
                  <a:gd name="connsiteY591" fmla="*/ 425684 h 960849"/>
                  <a:gd name="connsiteX592" fmla="*/ 867046 w 1315299"/>
                  <a:gd name="connsiteY592" fmla="*/ 423812 h 960849"/>
                  <a:gd name="connsiteX593" fmla="*/ 867993 w 1315299"/>
                  <a:gd name="connsiteY593" fmla="*/ 424748 h 960849"/>
                  <a:gd name="connsiteX594" fmla="*/ 865173 w 1315299"/>
                  <a:gd name="connsiteY594" fmla="*/ 425684 h 960849"/>
                  <a:gd name="connsiteX595" fmla="*/ 865173 w 1315299"/>
                  <a:gd name="connsiteY595" fmla="*/ 428497 h 960849"/>
                  <a:gd name="connsiteX596" fmla="*/ 867993 w 1315299"/>
                  <a:gd name="connsiteY596" fmla="*/ 431308 h 960849"/>
                  <a:gd name="connsiteX597" fmla="*/ 871738 w 1315299"/>
                  <a:gd name="connsiteY597" fmla="*/ 429436 h 960849"/>
                  <a:gd name="connsiteX598" fmla="*/ 875483 w 1315299"/>
                  <a:gd name="connsiteY598" fmla="*/ 423812 h 960849"/>
                  <a:gd name="connsiteX599" fmla="*/ 875483 w 1315299"/>
                  <a:gd name="connsiteY599" fmla="*/ 425684 h 960849"/>
                  <a:gd name="connsiteX600" fmla="*/ 871738 w 1315299"/>
                  <a:gd name="connsiteY600" fmla="*/ 429436 h 960849"/>
                  <a:gd name="connsiteX601" fmla="*/ 871738 w 1315299"/>
                  <a:gd name="connsiteY601" fmla="*/ 435058 h 960849"/>
                  <a:gd name="connsiteX602" fmla="*/ 867993 w 1315299"/>
                  <a:gd name="connsiteY602" fmla="*/ 439743 h 960849"/>
                  <a:gd name="connsiteX603" fmla="*/ 865173 w 1315299"/>
                  <a:gd name="connsiteY603" fmla="*/ 443493 h 960849"/>
                  <a:gd name="connsiteX604" fmla="*/ 856736 w 1315299"/>
                  <a:gd name="connsiteY604" fmla="*/ 461301 h 960849"/>
                  <a:gd name="connsiteX605" fmla="*/ 853939 w 1315299"/>
                  <a:gd name="connsiteY605" fmla="*/ 464112 h 960849"/>
                  <a:gd name="connsiteX606" fmla="*/ 852991 w 1315299"/>
                  <a:gd name="connsiteY606" fmla="*/ 465987 h 960849"/>
                  <a:gd name="connsiteX607" fmla="*/ 851119 w 1315299"/>
                  <a:gd name="connsiteY607" fmla="*/ 469736 h 960849"/>
                  <a:gd name="connsiteX608" fmla="*/ 847374 w 1315299"/>
                  <a:gd name="connsiteY608" fmla="*/ 472547 h 960849"/>
                  <a:gd name="connsiteX609" fmla="*/ 846427 w 1315299"/>
                  <a:gd name="connsiteY609" fmla="*/ 475358 h 960849"/>
                  <a:gd name="connsiteX610" fmla="*/ 842682 w 1315299"/>
                  <a:gd name="connsiteY610" fmla="*/ 480982 h 960849"/>
                  <a:gd name="connsiteX611" fmla="*/ 838937 w 1315299"/>
                  <a:gd name="connsiteY611" fmla="*/ 490355 h 960849"/>
                  <a:gd name="connsiteX612" fmla="*/ 839862 w 1315299"/>
                  <a:gd name="connsiteY612" fmla="*/ 491291 h 960849"/>
                  <a:gd name="connsiteX613" fmla="*/ 839862 w 1315299"/>
                  <a:gd name="connsiteY613" fmla="*/ 492230 h 960849"/>
                  <a:gd name="connsiteX614" fmla="*/ 838937 w 1315299"/>
                  <a:gd name="connsiteY614" fmla="*/ 490355 h 960849"/>
                  <a:gd name="connsiteX615" fmla="*/ 835192 w 1315299"/>
                  <a:gd name="connsiteY615" fmla="*/ 490355 h 960849"/>
                  <a:gd name="connsiteX616" fmla="*/ 831425 w 1315299"/>
                  <a:gd name="connsiteY616" fmla="*/ 496916 h 960849"/>
                  <a:gd name="connsiteX617" fmla="*/ 831425 w 1315299"/>
                  <a:gd name="connsiteY617" fmla="*/ 497852 h 960849"/>
                  <a:gd name="connsiteX618" fmla="*/ 830500 w 1315299"/>
                  <a:gd name="connsiteY618" fmla="*/ 510036 h 960849"/>
                  <a:gd name="connsiteX619" fmla="*/ 830500 w 1315299"/>
                  <a:gd name="connsiteY619" fmla="*/ 512849 h 960849"/>
                  <a:gd name="connsiteX620" fmla="*/ 821115 w 1315299"/>
                  <a:gd name="connsiteY620" fmla="*/ 525034 h 960849"/>
                  <a:gd name="connsiteX621" fmla="*/ 814572 w 1315299"/>
                  <a:gd name="connsiteY621" fmla="*/ 536280 h 960849"/>
                  <a:gd name="connsiteX622" fmla="*/ 805188 w 1315299"/>
                  <a:gd name="connsiteY622" fmla="*/ 554088 h 960849"/>
                  <a:gd name="connsiteX623" fmla="*/ 801443 w 1315299"/>
                  <a:gd name="connsiteY623" fmla="*/ 563459 h 960849"/>
                  <a:gd name="connsiteX624" fmla="*/ 793953 w 1315299"/>
                  <a:gd name="connsiteY624" fmla="*/ 574707 h 960849"/>
                  <a:gd name="connsiteX625" fmla="*/ 792081 w 1315299"/>
                  <a:gd name="connsiteY625" fmla="*/ 576580 h 960849"/>
                  <a:gd name="connsiteX626" fmla="*/ 786441 w 1315299"/>
                  <a:gd name="connsiteY626" fmla="*/ 586891 h 960849"/>
                  <a:gd name="connsiteX627" fmla="*/ 786441 w 1315299"/>
                  <a:gd name="connsiteY627" fmla="*/ 589702 h 960849"/>
                  <a:gd name="connsiteX628" fmla="*/ 786441 w 1315299"/>
                  <a:gd name="connsiteY628" fmla="*/ 594388 h 960849"/>
                  <a:gd name="connsiteX629" fmla="*/ 777079 w 1315299"/>
                  <a:gd name="connsiteY629" fmla="*/ 611258 h 960849"/>
                  <a:gd name="connsiteX630" fmla="*/ 776132 w 1315299"/>
                  <a:gd name="connsiteY630" fmla="*/ 613133 h 960849"/>
                  <a:gd name="connsiteX631" fmla="*/ 770514 w 1315299"/>
                  <a:gd name="connsiteY631" fmla="*/ 620631 h 960849"/>
                  <a:gd name="connsiteX632" fmla="*/ 764897 w 1315299"/>
                  <a:gd name="connsiteY632" fmla="*/ 636563 h 960849"/>
                  <a:gd name="connsiteX633" fmla="*/ 758332 w 1315299"/>
                  <a:gd name="connsiteY633" fmla="*/ 651558 h 960849"/>
                  <a:gd name="connsiteX634" fmla="*/ 753640 w 1315299"/>
                  <a:gd name="connsiteY634" fmla="*/ 662806 h 960849"/>
                  <a:gd name="connsiteX635" fmla="*/ 747075 w 1315299"/>
                  <a:gd name="connsiteY635" fmla="*/ 668430 h 960849"/>
                  <a:gd name="connsiteX636" fmla="*/ 746150 w 1315299"/>
                  <a:gd name="connsiteY636" fmla="*/ 671241 h 960849"/>
                  <a:gd name="connsiteX637" fmla="*/ 744278 w 1315299"/>
                  <a:gd name="connsiteY637" fmla="*/ 681551 h 960849"/>
                  <a:gd name="connsiteX638" fmla="*/ 738660 w 1315299"/>
                  <a:gd name="connsiteY638" fmla="*/ 695610 h 960849"/>
                  <a:gd name="connsiteX639" fmla="*/ 733021 w 1315299"/>
                  <a:gd name="connsiteY639" fmla="*/ 701232 h 960849"/>
                  <a:gd name="connsiteX640" fmla="*/ 733021 w 1315299"/>
                  <a:gd name="connsiteY640" fmla="*/ 704981 h 960849"/>
                  <a:gd name="connsiteX641" fmla="*/ 726456 w 1315299"/>
                  <a:gd name="connsiteY641" fmla="*/ 715291 h 960849"/>
                  <a:gd name="connsiteX642" fmla="*/ 724583 w 1315299"/>
                  <a:gd name="connsiteY642" fmla="*/ 718102 h 960849"/>
                  <a:gd name="connsiteX643" fmla="*/ 724583 w 1315299"/>
                  <a:gd name="connsiteY643" fmla="*/ 722787 h 960849"/>
                  <a:gd name="connsiteX644" fmla="*/ 720838 w 1315299"/>
                  <a:gd name="connsiteY644" fmla="*/ 733099 h 960849"/>
                  <a:gd name="connsiteX645" fmla="*/ 715221 w 1315299"/>
                  <a:gd name="connsiteY645" fmla="*/ 745281 h 960849"/>
                  <a:gd name="connsiteX646" fmla="*/ 715221 w 1315299"/>
                  <a:gd name="connsiteY646" fmla="*/ 748094 h 960849"/>
                  <a:gd name="connsiteX647" fmla="*/ 715221 w 1315299"/>
                  <a:gd name="connsiteY647" fmla="*/ 749031 h 960849"/>
                  <a:gd name="connsiteX648" fmla="*/ 715221 w 1315299"/>
                  <a:gd name="connsiteY648" fmla="*/ 754655 h 960849"/>
                  <a:gd name="connsiteX649" fmla="*/ 710529 w 1315299"/>
                  <a:gd name="connsiteY649" fmla="*/ 762153 h 960849"/>
                  <a:gd name="connsiteX650" fmla="*/ 703039 w 1315299"/>
                  <a:gd name="connsiteY650" fmla="*/ 770588 h 960849"/>
                  <a:gd name="connsiteX651" fmla="*/ 702091 w 1315299"/>
                  <a:gd name="connsiteY651" fmla="*/ 770588 h 960849"/>
                  <a:gd name="connsiteX652" fmla="*/ 700219 w 1315299"/>
                  <a:gd name="connsiteY652" fmla="*/ 784645 h 960849"/>
                  <a:gd name="connsiteX653" fmla="*/ 696474 w 1315299"/>
                  <a:gd name="connsiteY653" fmla="*/ 792144 h 960849"/>
                  <a:gd name="connsiteX654" fmla="*/ 695527 w 1315299"/>
                  <a:gd name="connsiteY654" fmla="*/ 796830 h 960849"/>
                  <a:gd name="connsiteX655" fmla="*/ 695527 w 1315299"/>
                  <a:gd name="connsiteY655" fmla="*/ 800579 h 960849"/>
                  <a:gd name="connsiteX656" fmla="*/ 687112 w 1315299"/>
                  <a:gd name="connsiteY656" fmla="*/ 812763 h 960849"/>
                  <a:gd name="connsiteX657" fmla="*/ 685217 w 1315299"/>
                  <a:gd name="connsiteY657" fmla="*/ 812763 h 960849"/>
                  <a:gd name="connsiteX658" fmla="*/ 684292 w 1315299"/>
                  <a:gd name="connsiteY658" fmla="*/ 810889 h 960849"/>
                  <a:gd name="connsiteX659" fmla="*/ 684292 w 1315299"/>
                  <a:gd name="connsiteY659" fmla="*/ 804328 h 960849"/>
                  <a:gd name="connsiteX660" fmla="*/ 681472 w 1315299"/>
                  <a:gd name="connsiteY660" fmla="*/ 806203 h 960849"/>
                  <a:gd name="connsiteX661" fmla="*/ 676802 w 1315299"/>
                  <a:gd name="connsiteY661" fmla="*/ 817449 h 960849"/>
                  <a:gd name="connsiteX662" fmla="*/ 673982 w 1315299"/>
                  <a:gd name="connsiteY662" fmla="*/ 828697 h 960849"/>
                  <a:gd name="connsiteX663" fmla="*/ 671163 w 1315299"/>
                  <a:gd name="connsiteY663" fmla="*/ 831508 h 960849"/>
                  <a:gd name="connsiteX664" fmla="*/ 670237 w 1315299"/>
                  <a:gd name="connsiteY664" fmla="*/ 824947 h 960849"/>
                  <a:gd name="connsiteX665" fmla="*/ 666492 w 1315299"/>
                  <a:gd name="connsiteY665" fmla="*/ 824011 h 960849"/>
                  <a:gd name="connsiteX666" fmla="*/ 663673 w 1315299"/>
                  <a:gd name="connsiteY666" fmla="*/ 824947 h 960849"/>
                  <a:gd name="connsiteX667" fmla="*/ 663673 w 1315299"/>
                  <a:gd name="connsiteY667" fmla="*/ 832446 h 960849"/>
                  <a:gd name="connsiteX668" fmla="*/ 659928 w 1315299"/>
                  <a:gd name="connsiteY668" fmla="*/ 844631 h 960849"/>
                  <a:gd name="connsiteX669" fmla="*/ 658055 w 1315299"/>
                  <a:gd name="connsiteY669" fmla="*/ 846503 h 960849"/>
                  <a:gd name="connsiteX670" fmla="*/ 650543 w 1315299"/>
                  <a:gd name="connsiteY670" fmla="*/ 850252 h 960849"/>
                  <a:gd name="connsiteX671" fmla="*/ 648671 w 1315299"/>
                  <a:gd name="connsiteY671" fmla="*/ 854940 h 960849"/>
                  <a:gd name="connsiteX672" fmla="*/ 652416 w 1315299"/>
                  <a:gd name="connsiteY672" fmla="*/ 858687 h 960849"/>
                  <a:gd name="connsiteX673" fmla="*/ 654288 w 1315299"/>
                  <a:gd name="connsiteY673" fmla="*/ 858687 h 960849"/>
                  <a:gd name="connsiteX674" fmla="*/ 654288 w 1315299"/>
                  <a:gd name="connsiteY674" fmla="*/ 868061 h 960849"/>
                  <a:gd name="connsiteX675" fmla="*/ 650543 w 1315299"/>
                  <a:gd name="connsiteY675" fmla="*/ 868997 h 960849"/>
                  <a:gd name="connsiteX676" fmla="*/ 647746 w 1315299"/>
                  <a:gd name="connsiteY676" fmla="*/ 869935 h 960849"/>
                  <a:gd name="connsiteX677" fmla="*/ 643979 w 1315299"/>
                  <a:gd name="connsiteY677" fmla="*/ 875557 h 960849"/>
                  <a:gd name="connsiteX678" fmla="*/ 643979 w 1315299"/>
                  <a:gd name="connsiteY678" fmla="*/ 923356 h 960849"/>
                  <a:gd name="connsiteX679" fmla="*/ 646798 w 1315299"/>
                  <a:gd name="connsiteY679" fmla="*/ 928974 h 960849"/>
                  <a:gd name="connsiteX680" fmla="*/ 654288 w 1315299"/>
                  <a:gd name="connsiteY680" fmla="*/ 942103 h 960849"/>
                  <a:gd name="connsiteX681" fmla="*/ 659928 w 1315299"/>
                  <a:gd name="connsiteY681" fmla="*/ 948668 h 960849"/>
                  <a:gd name="connsiteX682" fmla="*/ 667418 w 1315299"/>
                  <a:gd name="connsiteY682" fmla="*/ 956158 h 960849"/>
                  <a:gd name="connsiteX683" fmla="*/ 687112 w 1315299"/>
                  <a:gd name="connsiteY683" fmla="*/ 960850 h 960849"/>
                  <a:gd name="connsiteX684" fmla="*/ 706784 w 1315299"/>
                  <a:gd name="connsiteY684" fmla="*/ 958030 h 960849"/>
                  <a:gd name="connsiteX685" fmla="*/ 709604 w 1315299"/>
                  <a:gd name="connsiteY685" fmla="*/ 958030 h 960849"/>
                  <a:gd name="connsiteX686" fmla="*/ 735840 w 1315299"/>
                  <a:gd name="connsiteY686" fmla="*/ 942103 h 960849"/>
                  <a:gd name="connsiteX687" fmla="*/ 739585 w 1315299"/>
                  <a:gd name="connsiteY687" fmla="*/ 939283 h 960849"/>
                  <a:gd name="connsiteX688" fmla="*/ 761152 w 1315299"/>
                  <a:gd name="connsiteY688" fmla="*/ 923356 h 960849"/>
                  <a:gd name="connsiteX689" fmla="*/ 763024 w 1315299"/>
                  <a:gd name="connsiteY689" fmla="*/ 920537 h 960849"/>
                  <a:gd name="connsiteX690" fmla="*/ 772387 w 1315299"/>
                  <a:gd name="connsiteY690" fmla="*/ 910227 h 960849"/>
                  <a:gd name="connsiteX691" fmla="*/ 782696 w 1315299"/>
                  <a:gd name="connsiteY691" fmla="*/ 898992 h 960849"/>
                  <a:gd name="connsiteX692" fmla="*/ 791134 w 1315299"/>
                  <a:gd name="connsiteY692" fmla="*/ 881181 h 960849"/>
                  <a:gd name="connsiteX693" fmla="*/ 795826 w 1315299"/>
                  <a:gd name="connsiteY693" fmla="*/ 877434 h 960849"/>
                  <a:gd name="connsiteX694" fmla="*/ 801443 w 1315299"/>
                  <a:gd name="connsiteY694" fmla="*/ 876496 h 960849"/>
                  <a:gd name="connsiteX695" fmla="*/ 805188 w 1315299"/>
                  <a:gd name="connsiteY695" fmla="*/ 871810 h 960849"/>
                  <a:gd name="connsiteX696" fmla="*/ 805188 w 1315299"/>
                  <a:gd name="connsiteY696" fmla="*/ 868061 h 960849"/>
                  <a:gd name="connsiteX697" fmla="*/ 813625 w 1315299"/>
                  <a:gd name="connsiteY697" fmla="*/ 857751 h 960849"/>
                  <a:gd name="connsiteX698" fmla="*/ 817370 w 1315299"/>
                  <a:gd name="connsiteY698" fmla="*/ 853065 h 960849"/>
                  <a:gd name="connsiteX699" fmla="*/ 816445 w 1315299"/>
                  <a:gd name="connsiteY699" fmla="*/ 848378 h 960849"/>
                  <a:gd name="connsiteX700" fmla="*/ 812700 w 1315299"/>
                  <a:gd name="connsiteY700" fmla="*/ 848378 h 960849"/>
                  <a:gd name="connsiteX701" fmla="*/ 808933 w 1315299"/>
                  <a:gd name="connsiteY701" fmla="*/ 851191 h 960849"/>
                  <a:gd name="connsiteX702" fmla="*/ 780824 w 1315299"/>
                  <a:gd name="connsiteY702" fmla="*/ 880245 h 960849"/>
                  <a:gd name="connsiteX703" fmla="*/ 753640 w 1315299"/>
                  <a:gd name="connsiteY703" fmla="*/ 904609 h 960849"/>
                  <a:gd name="connsiteX704" fmla="*/ 748022 w 1315299"/>
                  <a:gd name="connsiteY704" fmla="*/ 904609 h 960849"/>
                  <a:gd name="connsiteX705" fmla="*/ 744278 w 1315299"/>
                  <a:gd name="connsiteY705" fmla="*/ 901812 h 960849"/>
                  <a:gd name="connsiteX706" fmla="*/ 742405 w 1315299"/>
                  <a:gd name="connsiteY706" fmla="*/ 905557 h 960849"/>
                  <a:gd name="connsiteX707" fmla="*/ 744278 w 1315299"/>
                  <a:gd name="connsiteY707" fmla="*/ 901812 h 960849"/>
                  <a:gd name="connsiteX708" fmla="*/ 758332 w 1315299"/>
                  <a:gd name="connsiteY708" fmla="*/ 890555 h 960849"/>
                  <a:gd name="connsiteX709" fmla="*/ 783643 w 1315299"/>
                  <a:gd name="connsiteY709" fmla="*/ 865250 h 960849"/>
                  <a:gd name="connsiteX710" fmla="*/ 798623 w 1315299"/>
                  <a:gd name="connsiteY710" fmla="*/ 847442 h 960849"/>
                  <a:gd name="connsiteX711" fmla="*/ 814572 w 1315299"/>
                  <a:gd name="connsiteY711" fmla="*/ 828697 h 960849"/>
                  <a:gd name="connsiteX712" fmla="*/ 826754 w 1315299"/>
                  <a:gd name="connsiteY712" fmla="*/ 816512 h 960849"/>
                  <a:gd name="connsiteX713" fmla="*/ 828627 w 1315299"/>
                  <a:gd name="connsiteY713" fmla="*/ 812763 h 960849"/>
                  <a:gd name="connsiteX714" fmla="*/ 853939 w 1315299"/>
                  <a:gd name="connsiteY714" fmla="*/ 783709 h 960849"/>
                  <a:gd name="connsiteX715" fmla="*/ 853939 w 1315299"/>
                  <a:gd name="connsiteY715" fmla="*/ 778085 h 960849"/>
                  <a:gd name="connsiteX716" fmla="*/ 851119 w 1315299"/>
                  <a:gd name="connsiteY716" fmla="*/ 774338 h 960849"/>
                  <a:gd name="connsiteX717" fmla="*/ 846427 w 1315299"/>
                  <a:gd name="connsiteY717" fmla="*/ 779960 h 960849"/>
                  <a:gd name="connsiteX718" fmla="*/ 838937 w 1315299"/>
                  <a:gd name="connsiteY718" fmla="*/ 789333 h 960849"/>
                  <a:gd name="connsiteX719" fmla="*/ 835192 w 1315299"/>
                  <a:gd name="connsiteY719" fmla="*/ 794957 h 960849"/>
                  <a:gd name="connsiteX720" fmla="*/ 837990 w 1315299"/>
                  <a:gd name="connsiteY720" fmla="*/ 795893 h 960849"/>
                  <a:gd name="connsiteX721" fmla="*/ 836117 w 1315299"/>
                  <a:gd name="connsiteY721" fmla="*/ 796830 h 960849"/>
                  <a:gd name="connsiteX722" fmla="*/ 835192 w 1315299"/>
                  <a:gd name="connsiteY722" fmla="*/ 794957 h 960849"/>
                  <a:gd name="connsiteX723" fmla="*/ 832372 w 1315299"/>
                  <a:gd name="connsiteY723" fmla="*/ 796830 h 960849"/>
                  <a:gd name="connsiteX724" fmla="*/ 826754 w 1315299"/>
                  <a:gd name="connsiteY724" fmla="*/ 806203 h 960849"/>
                  <a:gd name="connsiteX725" fmla="*/ 808933 w 1315299"/>
                  <a:gd name="connsiteY725" fmla="*/ 825886 h 960849"/>
                  <a:gd name="connsiteX726" fmla="*/ 798623 w 1315299"/>
                  <a:gd name="connsiteY726" fmla="*/ 837132 h 960849"/>
                  <a:gd name="connsiteX727" fmla="*/ 790186 w 1315299"/>
                  <a:gd name="connsiteY727" fmla="*/ 844631 h 960849"/>
                  <a:gd name="connsiteX728" fmla="*/ 779877 w 1315299"/>
                  <a:gd name="connsiteY728" fmla="*/ 858687 h 960849"/>
                  <a:gd name="connsiteX729" fmla="*/ 772387 w 1315299"/>
                  <a:gd name="connsiteY729" fmla="*/ 868061 h 960849"/>
                  <a:gd name="connsiteX730" fmla="*/ 755512 w 1315299"/>
                  <a:gd name="connsiteY730" fmla="*/ 883056 h 960849"/>
                  <a:gd name="connsiteX731" fmla="*/ 726456 w 1315299"/>
                  <a:gd name="connsiteY731" fmla="*/ 906482 h 960849"/>
                  <a:gd name="connsiteX732" fmla="*/ 724583 w 1315299"/>
                  <a:gd name="connsiteY732" fmla="*/ 908354 h 960849"/>
                  <a:gd name="connsiteX733" fmla="*/ 703039 w 1315299"/>
                  <a:gd name="connsiteY733" fmla="*/ 921484 h 960849"/>
                  <a:gd name="connsiteX734" fmla="*/ 685217 w 1315299"/>
                  <a:gd name="connsiteY734" fmla="*/ 928048 h 960849"/>
                  <a:gd name="connsiteX735" fmla="*/ 674908 w 1315299"/>
                  <a:gd name="connsiteY735" fmla="*/ 928048 h 960849"/>
                  <a:gd name="connsiteX736" fmla="*/ 671163 w 1315299"/>
                  <a:gd name="connsiteY736" fmla="*/ 924303 h 960849"/>
                  <a:gd name="connsiteX737" fmla="*/ 671163 w 1315299"/>
                  <a:gd name="connsiteY737" fmla="*/ 919611 h 960849"/>
                  <a:gd name="connsiteX738" fmla="*/ 674908 w 1315299"/>
                  <a:gd name="connsiteY738" fmla="*/ 901812 h 960849"/>
                  <a:gd name="connsiteX739" fmla="*/ 677727 w 1315299"/>
                  <a:gd name="connsiteY739" fmla="*/ 891491 h 960849"/>
                  <a:gd name="connsiteX740" fmla="*/ 682420 w 1315299"/>
                  <a:gd name="connsiteY740" fmla="*/ 868997 h 960849"/>
                  <a:gd name="connsiteX741" fmla="*/ 684292 w 1315299"/>
                  <a:gd name="connsiteY741" fmla="*/ 864311 h 960849"/>
                  <a:gd name="connsiteX742" fmla="*/ 688984 w 1315299"/>
                  <a:gd name="connsiteY742" fmla="*/ 848378 h 960849"/>
                  <a:gd name="connsiteX743" fmla="*/ 690857 w 1315299"/>
                  <a:gd name="connsiteY743" fmla="*/ 843692 h 960849"/>
                  <a:gd name="connsiteX744" fmla="*/ 694602 w 1315299"/>
                  <a:gd name="connsiteY744" fmla="*/ 832446 h 960849"/>
                  <a:gd name="connsiteX745" fmla="*/ 699294 w 1315299"/>
                  <a:gd name="connsiteY745" fmla="*/ 821198 h 960849"/>
                  <a:gd name="connsiteX746" fmla="*/ 700219 w 1315299"/>
                  <a:gd name="connsiteY746" fmla="*/ 817451 h 960849"/>
                  <a:gd name="connsiteX747" fmla="*/ 707731 w 1315299"/>
                  <a:gd name="connsiteY747" fmla="*/ 795893 h 960849"/>
                  <a:gd name="connsiteX748" fmla="*/ 713348 w 1315299"/>
                  <a:gd name="connsiteY748" fmla="*/ 779960 h 960849"/>
                  <a:gd name="connsiteX749" fmla="*/ 720838 w 1315299"/>
                  <a:gd name="connsiteY749" fmla="*/ 762153 h 960849"/>
                  <a:gd name="connsiteX750" fmla="*/ 726456 w 1315299"/>
                  <a:gd name="connsiteY750" fmla="*/ 745283 h 960849"/>
                  <a:gd name="connsiteX751" fmla="*/ 731148 w 1315299"/>
                  <a:gd name="connsiteY751" fmla="*/ 739659 h 960849"/>
                  <a:gd name="connsiteX752" fmla="*/ 731148 w 1315299"/>
                  <a:gd name="connsiteY752" fmla="*/ 735910 h 960849"/>
                  <a:gd name="connsiteX753" fmla="*/ 732095 w 1315299"/>
                  <a:gd name="connsiteY753" fmla="*/ 730286 h 960849"/>
                  <a:gd name="connsiteX754" fmla="*/ 734893 w 1315299"/>
                  <a:gd name="connsiteY754" fmla="*/ 728413 h 960849"/>
                  <a:gd name="connsiteX755" fmla="*/ 742405 w 1315299"/>
                  <a:gd name="connsiteY755" fmla="*/ 711541 h 960849"/>
                  <a:gd name="connsiteX756" fmla="*/ 749895 w 1315299"/>
                  <a:gd name="connsiteY756" fmla="*/ 693735 h 960849"/>
                  <a:gd name="connsiteX757" fmla="*/ 757385 w 1315299"/>
                  <a:gd name="connsiteY757" fmla="*/ 678738 h 960849"/>
                  <a:gd name="connsiteX758" fmla="*/ 762077 w 1315299"/>
                  <a:gd name="connsiteY758" fmla="*/ 666556 h 960849"/>
                  <a:gd name="connsiteX759" fmla="*/ 763024 w 1315299"/>
                  <a:gd name="connsiteY759" fmla="*/ 659993 h 960849"/>
                  <a:gd name="connsiteX760" fmla="*/ 769567 w 1315299"/>
                  <a:gd name="connsiteY760" fmla="*/ 649686 h 960849"/>
                  <a:gd name="connsiteX761" fmla="*/ 769567 w 1315299"/>
                  <a:gd name="connsiteY761" fmla="*/ 644062 h 960849"/>
                  <a:gd name="connsiteX762" fmla="*/ 768641 w 1315299"/>
                  <a:gd name="connsiteY762" fmla="*/ 641251 h 960849"/>
                  <a:gd name="connsiteX763" fmla="*/ 769567 w 1315299"/>
                  <a:gd name="connsiteY763" fmla="*/ 638438 h 960849"/>
                  <a:gd name="connsiteX764" fmla="*/ 773334 w 1315299"/>
                  <a:gd name="connsiteY764" fmla="*/ 634688 h 960849"/>
                  <a:gd name="connsiteX765" fmla="*/ 780824 w 1315299"/>
                  <a:gd name="connsiteY765" fmla="*/ 622504 h 960849"/>
                  <a:gd name="connsiteX766" fmla="*/ 787389 w 1315299"/>
                  <a:gd name="connsiteY766" fmla="*/ 608447 h 960849"/>
                  <a:gd name="connsiteX767" fmla="*/ 795826 w 1315299"/>
                  <a:gd name="connsiteY767" fmla="*/ 594388 h 960849"/>
                  <a:gd name="connsiteX768" fmla="*/ 799571 w 1315299"/>
                  <a:gd name="connsiteY768" fmla="*/ 586889 h 960849"/>
                  <a:gd name="connsiteX769" fmla="*/ 797698 w 1315299"/>
                  <a:gd name="connsiteY769" fmla="*/ 583140 h 960849"/>
                  <a:gd name="connsiteX770" fmla="*/ 798623 w 1315299"/>
                  <a:gd name="connsiteY770" fmla="*/ 580329 h 960849"/>
                  <a:gd name="connsiteX771" fmla="*/ 805188 w 1315299"/>
                  <a:gd name="connsiteY771" fmla="*/ 572830 h 960849"/>
                  <a:gd name="connsiteX772" fmla="*/ 808933 w 1315299"/>
                  <a:gd name="connsiteY772" fmla="*/ 564395 h 960849"/>
                  <a:gd name="connsiteX773" fmla="*/ 817370 w 1315299"/>
                  <a:gd name="connsiteY773" fmla="*/ 550339 h 960849"/>
                  <a:gd name="connsiteX774" fmla="*/ 819243 w 1315299"/>
                  <a:gd name="connsiteY774" fmla="*/ 548464 h 960849"/>
                  <a:gd name="connsiteX775" fmla="*/ 820190 w 1315299"/>
                  <a:gd name="connsiteY775" fmla="*/ 542840 h 960849"/>
                  <a:gd name="connsiteX776" fmla="*/ 828627 w 1315299"/>
                  <a:gd name="connsiteY776" fmla="*/ 528781 h 960849"/>
                  <a:gd name="connsiteX777" fmla="*/ 835192 w 1315299"/>
                  <a:gd name="connsiteY777" fmla="*/ 517535 h 960849"/>
                  <a:gd name="connsiteX778" fmla="*/ 842682 w 1315299"/>
                  <a:gd name="connsiteY778" fmla="*/ 506287 h 960849"/>
                  <a:gd name="connsiteX779" fmla="*/ 843629 w 1315299"/>
                  <a:gd name="connsiteY779" fmla="*/ 501601 h 960849"/>
                  <a:gd name="connsiteX780" fmla="*/ 852991 w 1315299"/>
                  <a:gd name="connsiteY780" fmla="*/ 488481 h 960849"/>
                  <a:gd name="connsiteX781" fmla="*/ 860481 w 1315299"/>
                  <a:gd name="connsiteY781" fmla="*/ 475358 h 960849"/>
                  <a:gd name="connsiteX782" fmla="*/ 867993 w 1315299"/>
                  <a:gd name="connsiteY782" fmla="*/ 464112 h 960849"/>
                  <a:gd name="connsiteX783" fmla="*/ 874558 w 1315299"/>
                  <a:gd name="connsiteY783" fmla="*/ 450991 h 960849"/>
                  <a:gd name="connsiteX784" fmla="*/ 880175 w 1315299"/>
                  <a:gd name="connsiteY784" fmla="*/ 444431 h 960849"/>
                  <a:gd name="connsiteX785" fmla="*/ 880175 w 1315299"/>
                  <a:gd name="connsiteY785" fmla="*/ 439743 h 960849"/>
                  <a:gd name="connsiteX786" fmla="*/ 891410 w 1315299"/>
                  <a:gd name="connsiteY786" fmla="*/ 421937 h 960849"/>
                  <a:gd name="connsiteX787" fmla="*/ 904540 w 1315299"/>
                  <a:gd name="connsiteY787" fmla="*/ 404129 h 960849"/>
                  <a:gd name="connsiteX788" fmla="*/ 907359 w 1315299"/>
                  <a:gd name="connsiteY788" fmla="*/ 398505 h 960849"/>
                  <a:gd name="connsiteX789" fmla="*/ 912977 w 1315299"/>
                  <a:gd name="connsiteY789" fmla="*/ 391008 h 960849"/>
                  <a:gd name="connsiteX790" fmla="*/ 926106 w 1315299"/>
                  <a:gd name="connsiteY790" fmla="*/ 370389 h 960849"/>
                  <a:gd name="connsiteX791" fmla="*/ 927978 w 1315299"/>
                  <a:gd name="connsiteY791" fmla="*/ 366639 h 960849"/>
                  <a:gd name="connsiteX792" fmla="*/ 934521 w 1315299"/>
                  <a:gd name="connsiteY792" fmla="*/ 358204 h 960849"/>
                  <a:gd name="connsiteX793" fmla="*/ 944831 w 1315299"/>
                  <a:gd name="connsiteY793" fmla="*/ 346959 h 960849"/>
                  <a:gd name="connsiteX794" fmla="*/ 949523 w 1315299"/>
                  <a:gd name="connsiteY794" fmla="*/ 341335 h 960849"/>
                  <a:gd name="connsiteX795" fmla="*/ 959833 w 1315299"/>
                  <a:gd name="connsiteY795" fmla="*/ 326339 h 960849"/>
                  <a:gd name="connsiteX796" fmla="*/ 964525 w 1315299"/>
                  <a:gd name="connsiteY796" fmla="*/ 318840 h 960849"/>
                  <a:gd name="connsiteX797" fmla="*/ 974834 w 1315299"/>
                  <a:gd name="connsiteY797" fmla="*/ 304781 h 960849"/>
                  <a:gd name="connsiteX798" fmla="*/ 985144 w 1315299"/>
                  <a:gd name="connsiteY798" fmla="*/ 292597 h 960849"/>
                  <a:gd name="connsiteX799" fmla="*/ 990762 w 1315299"/>
                  <a:gd name="connsiteY799" fmla="*/ 282288 h 960849"/>
                  <a:gd name="connsiteX800" fmla="*/ 1077931 w 1315299"/>
                  <a:gd name="connsiteY800" fmla="*/ 245737 h 960849"/>
                  <a:gd name="connsiteX801" fmla="*/ 1077931 w 1315299"/>
                  <a:gd name="connsiteY801" fmla="*/ 247611 h 960849"/>
                  <a:gd name="connsiteX802" fmla="*/ 1076984 w 1315299"/>
                  <a:gd name="connsiteY802" fmla="*/ 247611 h 960849"/>
                  <a:gd name="connsiteX803" fmla="*/ 1077931 w 1315299"/>
                  <a:gd name="connsiteY803" fmla="*/ 245737 h 960849"/>
                  <a:gd name="connsiteX804" fmla="*/ 1121989 w 1315299"/>
                  <a:gd name="connsiteY804" fmla="*/ 92030 h 960849"/>
                  <a:gd name="connsiteX805" fmla="*/ 1121042 w 1315299"/>
                  <a:gd name="connsiteY805" fmla="*/ 93905 h 960849"/>
                  <a:gd name="connsiteX806" fmla="*/ 1119170 w 1315299"/>
                  <a:gd name="connsiteY806" fmla="*/ 93905 h 960849"/>
                  <a:gd name="connsiteX807" fmla="*/ 1121989 w 1315299"/>
                  <a:gd name="connsiteY807" fmla="*/ 92030 h 960849"/>
                  <a:gd name="connsiteX808" fmla="*/ 1118222 w 1315299"/>
                  <a:gd name="connsiteY808" fmla="*/ 94841 h 960849"/>
                  <a:gd name="connsiteX809" fmla="*/ 1119170 w 1315299"/>
                  <a:gd name="connsiteY809" fmla="*/ 94841 h 960849"/>
                  <a:gd name="connsiteX810" fmla="*/ 1118222 w 1315299"/>
                  <a:gd name="connsiteY810" fmla="*/ 96716 h 960849"/>
                  <a:gd name="connsiteX811" fmla="*/ 1118222 w 1315299"/>
                  <a:gd name="connsiteY811" fmla="*/ 94841 h 960849"/>
                  <a:gd name="connsiteX812" fmla="*/ 1114477 w 1315299"/>
                  <a:gd name="connsiteY812" fmla="*/ 122959 h 960849"/>
                  <a:gd name="connsiteX813" fmla="*/ 1115425 w 1315299"/>
                  <a:gd name="connsiteY813" fmla="*/ 122959 h 960849"/>
                  <a:gd name="connsiteX814" fmla="*/ 1113552 w 1315299"/>
                  <a:gd name="connsiteY814" fmla="*/ 123896 h 960849"/>
                  <a:gd name="connsiteX815" fmla="*/ 1114477 w 1315299"/>
                  <a:gd name="connsiteY815" fmla="*/ 122959 h 960849"/>
                  <a:gd name="connsiteX816" fmla="*/ 1113552 w 1315299"/>
                  <a:gd name="connsiteY816" fmla="*/ 124832 h 960849"/>
                  <a:gd name="connsiteX817" fmla="*/ 1109785 w 1315299"/>
                  <a:gd name="connsiteY817" fmla="*/ 127645 h 960849"/>
                  <a:gd name="connsiteX818" fmla="*/ 1107913 w 1315299"/>
                  <a:gd name="connsiteY818" fmla="*/ 130456 h 960849"/>
                  <a:gd name="connsiteX819" fmla="*/ 1107913 w 1315299"/>
                  <a:gd name="connsiteY819" fmla="*/ 128581 h 960849"/>
                  <a:gd name="connsiteX820" fmla="*/ 1109785 w 1315299"/>
                  <a:gd name="connsiteY820" fmla="*/ 127645 h 960849"/>
                  <a:gd name="connsiteX821" fmla="*/ 1113552 w 1315299"/>
                  <a:gd name="connsiteY821" fmla="*/ 124832 h 960849"/>
                  <a:gd name="connsiteX822" fmla="*/ 1111680 w 1315299"/>
                  <a:gd name="connsiteY822" fmla="*/ 102340 h 960849"/>
                  <a:gd name="connsiteX823" fmla="*/ 1110733 w 1315299"/>
                  <a:gd name="connsiteY823" fmla="*/ 104215 h 960849"/>
                  <a:gd name="connsiteX824" fmla="*/ 1109785 w 1315299"/>
                  <a:gd name="connsiteY824" fmla="*/ 104215 h 960849"/>
                  <a:gd name="connsiteX825" fmla="*/ 1111680 w 1315299"/>
                  <a:gd name="connsiteY825" fmla="*/ 102340 h 960849"/>
                  <a:gd name="connsiteX826" fmla="*/ 1109785 w 1315299"/>
                  <a:gd name="connsiteY826" fmla="*/ 105151 h 960849"/>
                  <a:gd name="connsiteX827" fmla="*/ 1106988 w 1315299"/>
                  <a:gd name="connsiteY827" fmla="*/ 107962 h 960849"/>
                  <a:gd name="connsiteX828" fmla="*/ 1109785 w 1315299"/>
                  <a:gd name="connsiteY828" fmla="*/ 105151 h 960849"/>
                  <a:gd name="connsiteX829" fmla="*/ 1104168 w 1315299"/>
                  <a:gd name="connsiteY829" fmla="*/ 108900 h 960849"/>
                  <a:gd name="connsiteX830" fmla="*/ 1106040 w 1315299"/>
                  <a:gd name="connsiteY830" fmla="*/ 108900 h 960849"/>
                  <a:gd name="connsiteX831" fmla="*/ 1104168 w 1315299"/>
                  <a:gd name="connsiteY831" fmla="*/ 109837 h 960849"/>
                  <a:gd name="connsiteX832" fmla="*/ 1104168 w 1315299"/>
                  <a:gd name="connsiteY832" fmla="*/ 108900 h 960849"/>
                  <a:gd name="connsiteX833" fmla="*/ 1098551 w 1315299"/>
                  <a:gd name="connsiteY833" fmla="*/ 128581 h 960849"/>
                  <a:gd name="connsiteX834" fmla="*/ 1098551 w 1315299"/>
                  <a:gd name="connsiteY834" fmla="*/ 130456 h 960849"/>
                  <a:gd name="connsiteX835" fmla="*/ 1096678 w 1315299"/>
                  <a:gd name="connsiteY835" fmla="*/ 131394 h 960849"/>
                  <a:gd name="connsiteX836" fmla="*/ 1098551 w 1315299"/>
                  <a:gd name="connsiteY836" fmla="*/ 128581 h 960849"/>
                  <a:gd name="connsiteX837" fmla="*/ 1095731 w 1315299"/>
                  <a:gd name="connsiteY837" fmla="*/ 131394 h 960849"/>
                  <a:gd name="connsiteX838" fmla="*/ 1092933 w 1315299"/>
                  <a:gd name="connsiteY838" fmla="*/ 134205 h 960849"/>
                  <a:gd name="connsiteX839" fmla="*/ 1095731 w 1315299"/>
                  <a:gd name="connsiteY839" fmla="*/ 131394 h 960849"/>
                  <a:gd name="connsiteX840" fmla="*/ 1089166 w 1315299"/>
                  <a:gd name="connsiteY840" fmla="*/ 137955 h 960849"/>
                  <a:gd name="connsiteX841" fmla="*/ 1092933 w 1315299"/>
                  <a:gd name="connsiteY841" fmla="*/ 135141 h 960849"/>
                  <a:gd name="connsiteX842" fmla="*/ 1089166 w 1315299"/>
                  <a:gd name="connsiteY842" fmla="*/ 137955 h 960849"/>
                  <a:gd name="connsiteX843" fmla="*/ 1087294 w 1315299"/>
                  <a:gd name="connsiteY843" fmla="*/ 141704 h 960849"/>
                  <a:gd name="connsiteX844" fmla="*/ 1089166 w 1315299"/>
                  <a:gd name="connsiteY844" fmla="*/ 137955 h 960849"/>
                  <a:gd name="connsiteX845" fmla="*/ 1077931 w 1315299"/>
                  <a:gd name="connsiteY845" fmla="*/ 150139 h 960849"/>
                  <a:gd name="connsiteX846" fmla="*/ 1076984 w 1315299"/>
                  <a:gd name="connsiteY846" fmla="*/ 150139 h 960849"/>
                  <a:gd name="connsiteX847" fmla="*/ 1076984 w 1315299"/>
                  <a:gd name="connsiteY847" fmla="*/ 146390 h 960849"/>
                  <a:gd name="connsiteX848" fmla="*/ 1085421 w 1315299"/>
                  <a:gd name="connsiteY848" fmla="*/ 141704 h 960849"/>
                  <a:gd name="connsiteX849" fmla="*/ 1077931 w 1315299"/>
                  <a:gd name="connsiteY849" fmla="*/ 150139 h 960849"/>
                  <a:gd name="connsiteX850" fmla="*/ 1082623 w 1315299"/>
                  <a:gd name="connsiteY850" fmla="*/ 131394 h 960849"/>
                  <a:gd name="connsiteX851" fmla="*/ 1084496 w 1315299"/>
                  <a:gd name="connsiteY851" fmla="*/ 128581 h 960849"/>
                  <a:gd name="connsiteX852" fmla="*/ 1084496 w 1315299"/>
                  <a:gd name="connsiteY852" fmla="*/ 130456 h 960849"/>
                  <a:gd name="connsiteX853" fmla="*/ 1082623 w 1315299"/>
                  <a:gd name="connsiteY853" fmla="*/ 131394 h 960849"/>
                  <a:gd name="connsiteX854" fmla="*/ 1078856 w 1315299"/>
                  <a:gd name="connsiteY854" fmla="*/ 134205 h 960849"/>
                  <a:gd name="connsiteX855" fmla="*/ 1082623 w 1315299"/>
                  <a:gd name="connsiteY855" fmla="*/ 131394 h 960849"/>
                  <a:gd name="connsiteX856" fmla="*/ 1078856 w 1315299"/>
                  <a:gd name="connsiteY856" fmla="*/ 135141 h 960849"/>
                  <a:gd name="connsiteX857" fmla="*/ 1073239 w 1315299"/>
                  <a:gd name="connsiteY857" fmla="*/ 135141 h 960849"/>
                  <a:gd name="connsiteX858" fmla="*/ 1078856 w 1315299"/>
                  <a:gd name="connsiteY858" fmla="*/ 135141 h 960849"/>
                  <a:gd name="connsiteX859" fmla="*/ 1067621 w 1315299"/>
                  <a:gd name="connsiteY859" fmla="*/ 142640 h 960849"/>
                  <a:gd name="connsiteX860" fmla="*/ 1067621 w 1315299"/>
                  <a:gd name="connsiteY860" fmla="*/ 144515 h 960849"/>
                  <a:gd name="connsiteX861" fmla="*/ 1066674 w 1315299"/>
                  <a:gd name="connsiteY861" fmla="*/ 142640 h 960849"/>
                  <a:gd name="connsiteX862" fmla="*/ 1067621 w 1315299"/>
                  <a:gd name="connsiteY862" fmla="*/ 142640 h 960849"/>
                  <a:gd name="connsiteX863" fmla="*/ 1067621 w 1315299"/>
                  <a:gd name="connsiteY863" fmla="*/ 172631 h 960849"/>
                  <a:gd name="connsiteX864" fmla="*/ 1066674 w 1315299"/>
                  <a:gd name="connsiteY864" fmla="*/ 174505 h 960849"/>
                  <a:gd name="connsiteX865" fmla="*/ 1067621 w 1315299"/>
                  <a:gd name="connsiteY865" fmla="*/ 172631 h 960849"/>
                  <a:gd name="connsiteX866" fmla="*/ 1063877 w 1315299"/>
                  <a:gd name="connsiteY866" fmla="*/ 152950 h 960849"/>
                  <a:gd name="connsiteX867" fmla="*/ 1063877 w 1315299"/>
                  <a:gd name="connsiteY867" fmla="*/ 153888 h 960849"/>
                  <a:gd name="connsiteX868" fmla="*/ 1062929 w 1315299"/>
                  <a:gd name="connsiteY868" fmla="*/ 153888 h 960849"/>
                  <a:gd name="connsiteX869" fmla="*/ 1063877 w 1315299"/>
                  <a:gd name="connsiteY869" fmla="*/ 152950 h 960849"/>
                  <a:gd name="connsiteX870" fmla="*/ 1059184 w 1315299"/>
                  <a:gd name="connsiteY870" fmla="*/ 157636 h 960849"/>
                  <a:gd name="connsiteX871" fmla="*/ 1062929 w 1315299"/>
                  <a:gd name="connsiteY871" fmla="*/ 155761 h 960849"/>
                  <a:gd name="connsiteX872" fmla="*/ 1059184 w 1315299"/>
                  <a:gd name="connsiteY872" fmla="*/ 157636 h 960849"/>
                  <a:gd name="connsiteX873" fmla="*/ 1056365 w 1315299"/>
                  <a:gd name="connsiteY873" fmla="*/ 161385 h 960849"/>
                  <a:gd name="connsiteX874" fmla="*/ 1059184 w 1315299"/>
                  <a:gd name="connsiteY874" fmla="*/ 157636 h 960849"/>
                  <a:gd name="connsiteX875" fmla="*/ 1059184 w 1315299"/>
                  <a:gd name="connsiteY875" fmla="*/ 182004 h 960849"/>
                  <a:gd name="connsiteX876" fmla="*/ 1062929 w 1315299"/>
                  <a:gd name="connsiteY876" fmla="*/ 178255 h 960849"/>
                  <a:gd name="connsiteX877" fmla="*/ 1065749 w 1315299"/>
                  <a:gd name="connsiteY877" fmla="*/ 175444 h 960849"/>
                  <a:gd name="connsiteX878" fmla="*/ 1062929 w 1315299"/>
                  <a:gd name="connsiteY878" fmla="*/ 178255 h 960849"/>
                  <a:gd name="connsiteX879" fmla="*/ 1059184 w 1315299"/>
                  <a:gd name="connsiteY879" fmla="*/ 182004 h 960849"/>
                  <a:gd name="connsiteX880" fmla="*/ 1056365 w 1315299"/>
                  <a:gd name="connsiteY880" fmla="*/ 184815 h 960849"/>
                  <a:gd name="connsiteX881" fmla="*/ 1059184 w 1315299"/>
                  <a:gd name="connsiteY881" fmla="*/ 182004 h 960849"/>
                  <a:gd name="connsiteX882" fmla="*/ 1047927 w 1315299"/>
                  <a:gd name="connsiteY882" fmla="*/ 182004 h 960849"/>
                  <a:gd name="connsiteX883" fmla="*/ 1048875 w 1315299"/>
                  <a:gd name="connsiteY883" fmla="*/ 182004 h 960849"/>
                  <a:gd name="connsiteX884" fmla="*/ 1051695 w 1315299"/>
                  <a:gd name="connsiteY884" fmla="*/ 179191 h 960849"/>
                  <a:gd name="connsiteX885" fmla="*/ 1050747 w 1315299"/>
                  <a:gd name="connsiteY885" fmla="*/ 180129 h 960849"/>
                  <a:gd name="connsiteX886" fmla="*/ 1048875 w 1315299"/>
                  <a:gd name="connsiteY886" fmla="*/ 182004 h 960849"/>
                  <a:gd name="connsiteX887" fmla="*/ 1047927 w 1315299"/>
                  <a:gd name="connsiteY887" fmla="*/ 182940 h 960849"/>
                  <a:gd name="connsiteX888" fmla="*/ 1047927 w 1315299"/>
                  <a:gd name="connsiteY888" fmla="*/ 182004 h 960849"/>
                  <a:gd name="connsiteX889" fmla="*/ 1052620 w 1315299"/>
                  <a:gd name="connsiteY889" fmla="*/ 188564 h 960849"/>
                  <a:gd name="connsiteX890" fmla="*/ 1055439 w 1315299"/>
                  <a:gd name="connsiteY890" fmla="*/ 185754 h 960849"/>
                  <a:gd name="connsiteX891" fmla="*/ 1052620 w 1315299"/>
                  <a:gd name="connsiteY891" fmla="*/ 188564 h 960849"/>
                  <a:gd name="connsiteX892" fmla="*/ 1052620 w 1315299"/>
                  <a:gd name="connsiteY892" fmla="*/ 192314 h 960849"/>
                  <a:gd name="connsiteX893" fmla="*/ 1048875 w 1315299"/>
                  <a:gd name="connsiteY893" fmla="*/ 194188 h 960849"/>
                  <a:gd name="connsiteX894" fmla="*/ 1047002 w 1315299"/>
                  <a:gd name="connsiteY894" fmla="*/ 194188 h 960849"/>
                  <a:gd name="connsiteX895" fmla="*/ 1052620 w 1315299"/>
                  <a:gd name="connsiteY895" fmla="*/ 188564 h 960849"/>
                  <a:gd name="connsiteX896" fmla="*/ 1036693 w 1315299"/>
                  <a:gd name="connsiteY896" fmla="*/ 201685 h 960849"/>
                  <a:gd name="connsiteX897" fmla="*/ 1039512 w 1315299"/>
                  <a:gd name="connsiteY897" fmla="*/ 197938 h 960849"/>
                  <a:gd name="connsiteX898" fmla="*/ 1036693 w 1315299"/>
                  <a:gd name="connsiteY898" fmla="*/ 197938 h 960849"/>
                  <a:gd name="connsiteX899" fmla="*/ 1037618 w 1315299"/>
                  <a:gd name="connsiteY899" fmla="*/ 196061 h 960849"/>
                  <a:gd name="connsiteX900" fmla="*/ 1039512 w 1315299"/>
                  <a:gd name="connsiteY900" fmla="*/ 197938 h 960849"/>
                  <a:gd name="connsiteX901" fmla="*/ 1043257 w 1315299"/>
                  <a:gd name="connsiteY901" fmla="*/ 196999 h 960849"/>
                  <a:gd name="connsiteX902" fmla="*/ 1045130 w 1315299"/>
                  <a:gd name="connsiteY902" fmla="*/ 196061 h 960849"/>
                  <a:gd name="connsiteX903" fmla="*/ 1044182 w 1315299"/>
                  <a:gd name="connsiteY903" fmla="*/ 201685 h 960849"/>
                  <a:gd name="connsiteX904" fmla="*/ 1036693 w 1315299"/>
                  <a:gd name="connsiteY904" fmla="*/ 208245 h 960849"/>
                  <a:gd name="connsiteX905" fmla="*/ 1036693 w 1315299"/>
                  <a:gd name="connsiteY905" fmla="*/ 201685 h 960849"/>
                  <a:gd name="connsiteX906" fmla="*/ 1032947 w 1315299"/>
                  <a:gd name="connsiteY906" fmla="*/ 201685 h 960849"/>
                  <a:gd name="connsiteX907" fmla="*/ 1034820 w 1315299"/>
                  <a:gd name="connsiteY907" fmla="*/ 197938 h 960849"/>
                  <a:gd name="connsiteX908" fmla="*/ 1034820 w 1315299"/>
                  <a:gd name="connsiteY908" fmla="*/ 201685 h 960849"/>
                  <a:gd name="connsiteX909" fmla="*/ 1032947 w 1315299"/>
                  <a:gd name="connsiteY909" fmla="*/ 201685 h 960849"/>
                  <a:gd name="connsiteX910" fmla="*/ 1029202 w 1315299"/>
                  <a:gd name="connsiteY910" fmla="*/ 204498 h 960849"/>
                  <a:gd name="connsiteX911" fmla="*/ 1032947 w 1315299"/>
                  <a:gd name="connsiteY911" fmla="*/ 201685 h 960849"/>
                  <a:gd name="connsiteX912" fmla="*/ 1029202 w 1315299"/>
                  <a:gd name="connsiteY912" fmla="*/ 205434 h 960849"/>
                  <a:gd name="connsiteX913" fmla="*/ 1029202 w 1315299"/>
                  <a:gd name="connsiteY913" fmla="*/ 208245 h 960849"/>
                  <a:gd name="connsiteX914" fmla="*/ 1034820 w 1315299"/>
                  <a:gd name="connsiteY914" fmla="*/ 208245 h 960849"/>
                  <a:gd name="connsiteX915" fmla="*/ 1029202 w 1315299"/>
                  <a:gd name="connsiteY915" fmla="*/ 214808 h 960849"/>
                  <a:gd name="connsiteX916" fmla="*/ 1029202 w 1315299"/>
                  <a:gd name="connsiteY916" fmla="*/ 208245 h 960849"/>
                  <a:gd name="connsiteX917" fmla="*/ 1026383 w 1315299"/>
                  <a:gd name="connsiteY917" fmla="*/ 208245 h 960849"/>
                  <a:gd name="connsiteX918" fmla="*/ 1029202 w 1315299"/>
                  <a:gd name="connsiteY918" fmla="*/ 205434 h 960849"/>
                  <a:gd name="connsiteX919" fmla="*/ 1029202 w 1315299"/>
                  <a:gd name="connsiteY919" fmla="*/ 215744 h 960849"/>
                  <a:gd name="connsiteX920" fmla="*/ 1026383 w 1315299"/>
                  <a:gd name="connsiteY920" fmla="*/ 218555 h 960849"/>
                  <a:gd name="connsiteX921" fmla="*/ 1029202 w 1315299"/>
                  <a:gd name="connsiteY921" fmla="*/ 215744 h 960849"/>
                  <a:gd name="connsiteX922" fmla="*/ 1022638 w 1315299"/>
                  <a:gd name="connsiteY922" fmla="*/ 224179 h 960849"/>
                  <a:gd name="connsiteX923" fmla="*/ 1025436 w 1315299"/>
                  <a:gd name="connsiteY923" fmla="*/ 218555 h 960849"/>
                  <a:gd name="connsiteX924" fmla="*/ 1022638 w 1315299"/>
                  <a:gd name="connsiteY924" fmla="*/ 224179 h 960849"/>
                  <a:gd name="connsiteX925" fmla="*/ 1022638 w 1315299"/>
                  <a:gd name="connsiteY925" fmla="*/ 211995 h 960849"/>
                  <a:gd name="connsiteX926" fmla="*/ 1025436 w 1315299"/>
                  <a:gd name="connsiteY926" fmla="*/ 208245 h 960849"/>
                  <a:gd name="connsiteX927" fmla="*/ 1022638 w 1315299"/>
                  <a:gd name="connsiteY927" fmla="*/ 211995 h 960849"/>
                  <a:gd name="connsiteX928" fmla="*/ 1021691 w 1315299"/>
                  <a:gd name="connsiteY928" fmla="*/ 214808 h 960849"/>
                  <a:gd name="connsiteX929" fmla="*/ 1019818 w 1315299"/>
                  <a:gd name="connsiteY929" fmla="*/ 212933 h 960849"/>
                  <a:gd name="connsiteX930" fmla="*/ 1022638 w 1315299"/>
                  <a:gd name="connsiteY930" fmla="*/ 211995 h 960849"/>
                  <a:gd name="connsiteX931" fmla="*/ 1018893 w 1315299"/>
                  <a:gd name="connsiteY931" fmla="*/ 228865 h 960849"/>
                  <a:gd name="connsiteX932" fmla="*/ 1022638 w 1315299"/>
                  <a:gd name="connsiteY932" fmla="*/ 226054 h 960849"/>
                  <a:gd name="connsiteX933" fmla="*/ 1018893 w 1315299"/>
                  <a:gd name="connsiteY933" fmla="*/ 228865 h 960849"/>
                  <a:gd name="connsiteX934" fmla="*/ 1016073 w 1315299"/>
                  <a:gd name="connsiteY934" fmla="*/ 232614 h 960849"/>
                  <a:gd name="connsiteX935" fmla="*/ 1018893 w 1315299"/>
                  <a:gd name="connsiteY935" fmla="*/ 228865 h 960849"/>
                  <a:gd name="connsiteX936" fmla="*/ 147243 w 1315299"/>
                  <a:gd name="connsiteY936" fmla="*/ 508161 h 960849"/>
                  <a:gd name="connsiteX937" fmla="*/ 172555 w 1315299"/>
                  <a:gd name="connsiteY937" fmla="*/ 483795 h 960849"/>
                  <a:gd name="connsiteX938" fmla="*/ 233487 w 1315299"/>
                  <a:gd name="connsiteY938" fmla="*/ 442554 h 960849"/>
                  <a:gd name="connsiteX939" fmla="*/ 292525 w 1315299"/>
                  <a:gd name="connsiteY939" fmla="*/ 423809 h 960849"/>
                  <a:gd name="connsiteX940" fmla="*/ 303782 w 1315299"/>
                  <a:gd name="connsiteY940" fmla="*/ 419124 h 960849"/>
                  <a:gd name="connsiteX941" fmla="*/ 311272 w 1315299"/>
                  <a:gd name="connsiteY941" fmla="*/ 415375 h 960849"/>
                  <a:gd name="connsiteX942" fmla="*/ 315964 w 1315299"/>
                  <a:gd name="connsiteY942" fmla="*/ 425684 h 960849"/>
                  <a:gd name="connsiteX943" fmla="*/ 313145 w 1315299"/>
                  <a:gd name="connsiteY943" fmla="*/ 438807 h 960849"/>
                  <a:gd name="connsiteX944" fmla="*/ 289706 w 1315299"/>
                  <a:gd name="connsiteY944" fmla="*/ 466923 h 960849"/>
                  <a:gd name="connsiteX945" fmla="*/ 224103 w 1315299"/>
                  <a:gd name="connsiteY945" fmla="*/ 500665 h 960849"/>
                  <a:gd name="connsiteX946" fmla="*/ 192249 w 1315299"/>
                  <a:gd name="connsiteY946" fmla="*/ 512847 h 960849"/>
                  <a:gd name="connsiteX947" fmla="*/ 165065 w 1315299"/>
                  <a:gd name="connsiteY947" fmla="*/ 517535 h 960849"/>
                  <a:gd name="connsiteX948" fmla="*/ 165065 w 1315299"/>
                  <a:gd name="connsiteY948" fmla="*/ 515660 h 960849"/>
                  <a:gd name="connsiteX949" fmla="*/ 152882 w 1315299"/>
                  <a:gd name="connsiteY949" fmla="*/ 517535 h 960849"/>
                  <a:gd name="connsiteX950" fmla="*/ 141626 w 1315299"/>
                  <a:gd name="connsiteY950" fmla="*/ 517535 h 960849"/>
                  <a:gd name="connsiteX951" fmla="*/ 147243 w 1315299"/>
                  <a:gd name="connsiteY951" fmla="*/ 508161 h 960849"/>
                  <a:gd name="connsiteX952" fmla="*/ 408751 w 1315299"/>
                  <a:gd name="connsiteY952" fmla="*/ 636563 h 960849"/>
                  <a:gd name="connsiteX953" fmla="*/ 408751 w 1315299"/>
                  <a:gd name="connsiteY953" fmla="*/ 638438 h 960849"/>
                  <a:gd name="connsiteX954" fmla="*/ 406879 w 1315299"/>
                  <a:gd name="connsiteY954" fmla="*/ 638438 h 960849"/>
                  <a:gd name="connsiteX955" fmla="*/ 408751 w 1315299"/>
                  <a:gd name="connsiteY955" fmla="*/ 634688 h 960849"/>
                  <a:gd name="connsiteX956" fmla="*/ 408751 w 1315299"/>
                  <a:gd name="connsiteY956" fmla="*/ 636563 h 960849"/>
                  <a:gd name="connsiteX957" fmla="*/ 410624 w 1315299"/>
                  <a:gd name="connsiteY957" fmla="*/ 622504 h 960849"/>
                  <a:gd name="connsiteX958" fmla="*/ 409676 w 1315299"/>
                  <a:gd name="connsiteY958" fmla="*/ 619693 h 960849"/>
                  <a:gd name="connsiteX959" fmla="*/ 410624 w 1315299"/>
                  <a:gd name="connsiteY959" fmla="*/ 618757 h 960849"/>
                  <a:gd name="connsiteX960" fmla="*/ 412496 w 1315299"/>
                  <a:gd name="connsiteY960" fmla="*/ 620629 h 960849"/>
                  <a:gd name="connsiteX961" fmla="*/ 410624 w 1315299"/>
                  <a:gd name="connsiteY961" fmla="*/ 622504 h 960849"/>
                  <a:gd name="connsiteX962" fmla="*/ 414369 w 1315299"/>
                  <a:gd name="connsiteY962" fmla="*/ 612194 h 960849"/>
                  <a:gd name="connsiteX963" fmla="*/ 413421 w 1315299"/>
                  <a:gd name="connsiteY963" fmla="*/ 612194 h 960849"/>
                  <a:gd name="connsiteX964" fmla="*/ 413421 w 1315299"/>
                  <a:gd name="connsiteY964" fmla="*/ 608447 h 960849"/>
                  <a:gd name="connsiteX965" fmla="*/ 414369 w 1315299"/>
                  <a:gd name="connsiteY965" fmla="*/ 608447 h 960849"/>
                  <a:gd name="connsiteX966" fmla="*/ 416241 w 1315299"/>
                  <a:gd name="connsiteY966" fmla="*/ 611258 h 960849"/>
                  <a:gd name="connsiteX967" fmla="*/ 414369 w 1315299"/>
                  <a:gd name="connsiteY967" fmla="*/ 612194 h 960849"/>
                  <a:gd name="connsiteX968" fmla="*/ 417188 w 1315299"/>
                  <a:gd name="connsiteY968" fmla="*/ 626253 h 960849"/>
                  <a:gd name="connsiteX969" fmla="*/ 417188 w 1315299"/>
                  <a:gd name="connsiteY969" fmla="*/ 622504 h 960849"/>
                  <a:gd name="connsiteX970" fmla="*/ 419061 w 1315299"/>
                  <a:gd name="connsiteY970" fmla="*/ 623442 h 960849"/>
                  <a:gd name="connsiteX971" fmla="*/ 417188 w 1315299"/>
                  <a:gd name="connsiteY971" fmla="*/ 626253 h 960849"/>
                  <a:gd name="connsiteX972" fmla="*/ 419061 w 1315299"/>
                  <a:gd name="connsiteY972" fmla="*/ 600010 h 960849"/>
                  <a:gd name="connsiteX973" fmla="*/ 417188 w 1315299"/>
                  <a:gd name="connsiteY973" fmla="*/ 598135 h 960849"/>
                  <a:gd name="connsiteX974" fmla="*/ 419061 w 1315299"/>
                  <a:gd name="connsiteY974" fmla="*/ 598135 h 960849"/>
                  <a:gd name="connsiteX975" fmla="*/ 419061 w 1315299"/>
                  <a:gd name="connsiteY975" fmla="*/ 600010 h 960849"/>
                  <a:gd name="connsiteX976" fmla="*/ 714274 w 1315299"/>
                  <a:gd name="connsiteY976" fmla="*/ 473483 h 960849"/>
                  <a:gd name="connsiteX977" fmla="*/ 711476 w 1315299"/>
                  <a:gd name="connsiteY977" fmla="*/ 476296 h 960849"/>
                  <a:gd name="connsiteX978" fmla="*/ 714274 w 1315299"/>
                  <a:gd name="connsiteY978" fmla="*/ 473483 h 960849"/>
                  <a:gd name="connsiteX979" fmla="*/ 707731 w 1315299"/>
                  <a:gd name="connsiteY979" fmla="*/ 480046 h 960849"/>
                  <a:gd name="connsiteX980" fmla="*/ 710529 w 1315299"/>
                  <a:gd name="connsiteY980" fmla="*/ 476296 h 960849"/>
                  <a:gd name="connsiteX981" fmla="*/ 707731 w 1315299"/>
                  <a:gd name="connsiteY981" fmla="*/ 480046 h 960849"/>
                  <a:gd name="connsiteX982" fmla="*/ 703964 w 1315299"/>
                  <a:gd name="connsiteY982" fmla="*/ 482857 h 960849"/>
                  <a:gd name="connsiteX983" fmla="*/ 707731 w 1315299"/>
                  <a:gd name="connsiteY983" fmla="*/ 480046 h 960849"/>
                  <a:gd name="connsiteX984" fmla="*/ 703964 w 1315299"/>
                  <a:gd name="connsiteY984" fmla="*/ 483795 h 960849"/>
                  <a:gd name="connsiteX985" fmla="*/ 702091 w 1315299"/>
                  <a:gd name="connsiteY985" fmla="*/ 486606 h 960849"/>
                  <a:gd name="connsiteX986" fmla="*/ 703964 w 1315299"/>
                  <a:gd name="connsiteY986" fmla="*/ 483795 h 960849"/>
                  <a:gd name="connsiteX987" fmla="*/ 700219 w 1315299"/>
                  <a:gd name="connsiteY987" fmla="*/ 486606 h 960849"/>
                  <a:gd name="connsiteX988" fmla="*/ 691782 w 1315299"/>
                  <a:gd name="connsiteY988" fmla="*/ 492228 h 960849"/>
                  <a:gd name="connsiteX989" fmla="*/ 700219 w 1315299"/>
                  <a:gd name="connsiteY989" fmla="*/ 486606 h 960849"/>
                  <a:gd name="connsiteX990" fmla="*/ 690857 w 1315299"/>
                  <a:gd name="connsiteY990" fmla="*/ 492228 h 960849"/>
                  <a:gd name="connsiteX991" fmla="*/ 688984 w 1315299"/>
                  <a:gd name="connsiteY991" fmla="*/ 495041 h 960849"/>
                  <a:gd name="connsiteX992" fmla="*/ 690857 w 1315299"/>
                  <a:gd name="connsiteY992" fmla="*/ 492228 h 960849"/>
                  <a:gd name="connsiteX993" fmla="*/ 678674 w 1315299"/>
                  <a:gd name="connsiteY993" fmla="*/ 508161 h 960849"/>
                  <a:gd name="connsiteX994" fmla="*/ 680547 w 1315299"/>
                  <a:gd name="connsiteY994" fmla="*/ 506287 h 960849"/>
                  <a:gd name="connsiteX995" fmla="*/ 678674 w 1315299"/>
                  <a:gd name="connsiteY995" fmla="*/ 509098 h 960849"/>
                  <a:gd name="connsiteX996" fmla="*/ 678674 w 1315299"/>
                  <a:gd name="connsiteY996" fmla="*/ 508161 h 960849"/>
                  <a:gd name="connsiteX997" fmla="*/ 671163 w 1315299"/>
                  <a:gd name="connsiteY997" fmla="*/ 513785 h 960849"/>
                  <a:gd name="connsiteX998" fmla="*/ 673035 w 1315299"/>
                  <a:gd name="connsiteY998" fmla="*/ 515660 h 960849"/>
                  <a:gd name="connsiteX999" fmla="*/ 671163 w 1315299"/>
                  <a:gd name="connsiteY999" fmla="*/ 516596 h 960849"/>
                  <a:gd name="connsiteX1000" fmla="*/ 671163 w 1315299"/>
                  <a:gd name="connsiteY1000" fmla="*/ 513785 h 960849"/>
                  <a:gd name="connsiteX1001" fmla="*/ 670237 w 1315299"/>
                  <a:gd name="connsiteY1001" fmla="*/ 516596 h 960849"/>
                  <a:gd name="connsiteX1002" fmla="*/ 667418 w 1315299"/>
                  <a:gd name="connsiteY1002" fmla="*/ 519407 h 960849"/>
                  <a:gd name="connsiteX1003" fmla="*/ 670237 w 1315299"/>
                  <a:gd name="connsiteY1003" fmla="*/ 516596 h 960849"/>
                  <a:gd name="connsiteX1004" fmla="*/ 663673 w 1315299"/>
                  <a:gd name="connsiteY1004" fmla="*/ 523159 h 960849"/>
                  <a:gd name="connsiteX1005" fmla="*/ 667418 w 1315299"/>
                  <a:gd name="connsiteY1005" fmla="*/ 520346 h 960849"/>
                  <a:gd name="connsiteX1006" fmla="*/ 663673 w 1315299"/>
                  <a:gd name="connsiteY1006" fmla="*/ 523159 h 960849"/>
                  <a:gd name="connsiteX1007" fmla="*/ 661800 w 1315299"/>
                  <a:gd name="connsiteY1007" fmla="*/ 526906 h 960849"/>
                  <a:gd name="connsiteX1008" fmla="*/ 663673 w 1315299"/>
                  <a:gd name="connsiteY1008" fmla="*/ 523159 h 960849"/>
                  <a:gd name="connsiteX1009" fmla="*/ 658980 w 1315299"/>
                  <a:gd name="connsiteY1009" fmla="*/ 527844 h 960849"/>
                  <a:gd name="connsiteX1010" fmla="*/ 659928 w 1315299"/>
                  <a:gd name="connsiteY1010" fmla="*/ 526906 h 960849"/>
                  <a:gd name="connsiteX1011" fmla="*/ 658980 w 1315299"/>
                  <a:gd name="connsiteY1011" fmla="*/ 528781 h 960849"/>
                  <a:gd name="connsiteX1012" fmla="*/ 658980 w 1315299"/>
                  <a:gd name="connsiteY1012" fmla="*/ 527844 h 960849"/>
                  <a:gd name="connsiteX1013" fmla="*/ 644926 w 1315299"/>
                  <a:gd name="connsiteY1013" fmla="*/ 540965 h 960849"/>
                  <a:gd name="connsiteX1014" fmla="*/ 646798 w 1315299"/>
                  <a:gd name="connsiteY1014" fmla="*/ 541901 h 960849"/>
                  <a:gd name="connsiteX1015" fmla="*/ 644926 w 1315299"/>
                  <a:gd name="connsiteY1015" fmla="*/ 542840 h 960849"/>
                  <a:gd name="connsiteX1016" fmla="*/ 644926 w 1315299"/>
                  <a:gd name="connsiteY1016" fmla="*/ 540965 h 960849"/>
                  <a:gd name="connsiteX1017" fmla="*/ 643979 w 1315299"/>
                  <a:gd name="connsiteY1017" fmla="*/ 542840 h 960849"/>
                  <a:gd name="connsiteX1018" fmla="*/ 641181 w 1315299"/>
                  <a:gd name="connsiteY1018" fmla="*/ 546589 h 960849"/>
                  <a:gd name="connsiteX1019" fmla="*/ 643979 w 1315299"/>
                  <a:gd name="connsiteY1019" fmla="*/ 542840 h 960849"/>
                  <a:gd name="connsiteX1020" fmla="*/ 638361 w 1315299"/>
                  <a:gd name="connsiteY1020" fmla="*/ 548464 h 960849"/>
                  <a:gd name="connsiteX1021" fmla="*/ 640234 w 1315299"/>
                  <a:gd name="connsiteY1021" fmla="*/ 546589 h 960849"/>
                  <a:gd name="connsiteX1022" fmla="*/ 638361 w 1315299"/>
                  <a:gd name="connsiteY1022" fmla="*/ 549400 h 960849"/>
                  <a:gd name="connsiteX1023" fmla="*/ 638361 w 1315299"/>
                  <a:gd name="connsiteY1023" fmla="*/ 548464 h 960849"/>
                  <a:gd name="connsiteX1024" fmla="*/ 626179 w 1315299"/>
                  <a:gd name="connsiteY1024" fmla="*/ 560646 h 960849"/>
                  <a:gd name="connsiteX1025" fmla="*/ 626179 w 1315299"/>
                  <a:gd name="connsiteY1025" fmla="*/ 561584 h 960849"/>
                  <a:gd name="connsiteX1026" fmla="*/ 625254 w 1315299"/>
                  <a:gd name="connsiteY1026" fmla="*/ 561584 h 960849"/>
                  <a:gd name="connsiteX1027" fmla="*/ 626179 w 1315299"/>
                  <a:gd name="connsiteY1027" fmla="*/ 560646 h 960849"/>
                  <a:gd name="connsiteX1028" fmla="*/ 614944 w 1315299"/>
                  <a:gd name="connsiteY1028" fmla="*/ 574705 h 960849"/>
                  <a:gd name="connsiteX1029" fmla="*/ 615869 w 1315299"/>
                  <a:gd name="connsiteY1029" fmla="*/ 575643 h 960849"/>
                  <a:gd name="connsiteX1030" fmla="*/ 613997 w 1315299"/>
                  <a:gd name="connsiteY1030" fmla="*/ 576580 h 960849"/>
                  <a:gd name="connsiteX1031" fmla="*/ 612124 w 1315299"/>
                  <a:gd name="connsiteY1031" fmla="*/ 575643 h 960849"/>
                  <a:gd name="connsiteX1032" fmla="*/ 614944 w 1315299"/>
                  <a:gd name="connsiteY1032" fmla="*/ 574705 h 960849"/>
                  <a:gd name="connsiteX1033" fmla="*/ 606507 w 1315299"/>
                  <a:gd name="connsiteY1033" fmla="*/ 585015 h 960849"/>
                  <a:gd name="connsiteX1034" fmla="*/ 606507 w 1315299"/>
                  <a:gd name="connsiteY1034" fmla="*/ 585953 h 960849"/>
                  <a:gd name="connsiteX1035" fmla="*/ 604635 w 1315299"/>
                  <a:gd name="connsiteY1035" fmla="*/ 585015 h 960849"/>
                  <a:gd name="connsiteX1036" fmla="*/ 606507 w 1315299"/>
                  <a:gd name="connsiteY1036" fmla="*/ 585015 h 960849"/>
                  <a:gd name="connsiteX1037" fmla="*/ 596197 w 1315299"/>
                  <a:gd name="connsiteY1037" fmla="*/ 594388 h 960849"/>
                  <a:gd name="connsiteX1038" fmla="*/ 596197 w 1315299"/>
                  <a:gd name="connsiteY1038" fmla="*/ 596263 h 960849"/>
                  <a:gd name="connsiteX1039" fmla="*/ 595250 w 1315299"/>
                  <a:gd name="connsiteY1039" fmla="*/ 596263 h 960849"/>
                  <a:gd name="connsiteX1040" fmla="*/ 596197 w 1315299"/>
                  <a:gd name="connsiteY1040" fmla="*/ 594388 h 960849"/>
                  <a:gd name="connsiteX1041" fmla="*/ 476227 w 1315299"/>
                  <a:gd name="connsiteY1041" fmla="*/ 697484 h 960849"/>
                  <a:gd name="connsiteX1042" fmla="*/ 479972 w 1315299"/>
                  <a:gd name="connsiteY1042" fmla="*/ 693735 h 960849"/>
                  <a:gd name="connsiteX1043" fmla="*/ 482791 w 1315299"/>
                  <a:gd name="connsiteY1043" fmla="*/ 691861 h 960849"/>
                  <a:gd name="connsiteX1044" fmla="*/ 479972 w 1315299"/>
                  <a:gd name="connsiteY1044" fmla="*/ 693735 h 960849"/>
                  <a:gd name="connsiteX1045" fmla="*/ 476227 w 1315299"/>
                  <a:gd name="connsiteY1045" fmla="*/ 697484 h 960849"/>
                  <a:gd name="connsiteX1046" fmla="*/ 475279 w 1315299"/>
                  <a:gd name="connsiteY1046" fmla="*/ 699357 h 960849"/>
                  <a:gd name="connsiteX1047" fmla="*/ 474354 w 1315299"/>
                  <a:gd name="connsiteY1047" fmla="*/ 699357 h 960849"/>
                  <a:gd name="connsiteX1048" fmla="*/ 476227 w 1315299"/>
                  <a:gd name="connsiteY1048" fmla="*/ 697484 h 960849"/>
                  <a:gd name="connsiteX1049" fmla="*/ 420933 w 1315299"/>
                  <a:gd name="connsiteY1049" fmla="*/ 638438 h 960849"/>
                  <a:gd name="connsiteX1050" fmla="*/ 419986 w 1315299"/>
                  <a:gd name="connsiteY1050" fmla="*/ 636563 h 960849"/>
                  <a:gd name="connsiteX1051" fmla="*/ 420933 w 1315299"/>
                  <a:gd name="connsiteY1051" fmla="*/ 634688 h 960849"/>
                  <a:gd name="connsiteX1052" fmla="*/ 422806 w 1315299"/>
                  <a:gd name="connsiteY1052" fmla="*/ 637501 h 960849"/>
                  <a:gd name="connsiteX1053" fmla="*/ 420933 w 1315299"/>
                  <a:gd name="connsiteY1053" fmla="*/ 638438 h 960849"/>
                  <a:gd name="connsiteX1054" fmla="*/ 424678 w 1315299"/>
                  <a:gd name="connsiteY1054" fmla="*/ 629066 h 960849"/>
                  <a:gd name="connsiteX1055" fmla="*/ 423731 w 1315299"/>
                  <a:gd name="connsiteY1055" fmla="*/ 627189 h 960849"/>
                  <a:gd name="connsiteX1056" fmla="*/ 424678 w 1315299"/>
                  <a:gd name="connsiteY1056" fmla="*/ 624379 h 960849"/>
                  <a:gd name="connsiteX1057" fmla="*/ 426551 w 1315299"/>
                  <a:gd name="connsiteY1057" fmla="*/ 627189 h 960849"/>
                  <a:gd name="connsiteX1058" fmla="*/ 424678 w 1315299"/>
                  <a:gd name="connsiteY1058" fmla="*/ 629066 h 960849"/>
                  <a:gd name="connsiteX1059" fmla="*/ 427498 w 1315299"/>
                  <a:gd name="connsiteY1059" fmla="*/ 612194 h 960849"/>
                  <a:gd name="connsiteX1060" fmla="*/ 427498 w 1315299"/>
                  <a:gd name="connsiteY1060" fmla="*/ 611258 h 960849"/>
                  <a:gd name="connsiteX1061" fmla="*/ 428423 w 1315299"/>
                  <a:gd name="connsiteY1061" fmla="*/ 612194 h 960849"/>
                  <a:gd name="connsiteX1062" fmla="*/ 427498 w 1315299"/>
                  <a:gd name="connsiteY1062" fmla="*/ 612194 h 960849"/>
                  <a:gd name="connsiteX1063" fmla="*/ 427498 w 1315299"/>
                  <a:gd name="connsiteY1063" fmla="*/ 589702 h 960849"/>
                  <a:gd name="connsiteX1064" fmla="*/ 427498 w 1315299"/>
                  <a:gd name="connsiteY1064" fmla="*/ 588764 h 960849"/>
                  <a:gd name="connsiteX1065" fmla="*/ 428423 w 1315299"/>
                  <a:gd name="connsiteY1065" fmla="*/ 585015 h 960849"/>
                  <a:gd name="connsiteX1066" fmla="*/ 428423 w 1315299"/>
                  <a:gd name="connsiteY1066" fmla="*/ 585953 h 960849"/>
                  <a:gd name="connsiteX1067" fmla="*/ 427498 w 1315299"/>
                  <a:gd name="connsiteY1067" fmla="*/ 589702 h 960849"/>
                  <a:gd name="connsiteX1068" fmla="*/ 432168 w 1315299"/>
                  <a:gd name="connsiteY1068" fmla="*/ 604698 h 960849"/>
                  <a:gd name="connsiteX1069" fmla="*/ 431243 w 1315299"/>
                  <a:gd name="connsiteY1069" fmla="*/ 605634 h 960849"/>
                  <a:gd name="connsiteX1070" fmla="*/ 430296 w 1315299"/>
                  <a:gd name="connsiteY1070" fmla="*/ 603759 h 960849"/>
                  <a:gd name="connsiteX1071" fmla="*/ 431243 w 1315299"/>
                  <a:gd name="connsiteY1071" fmla="*/ 601887 h 960849"/>
                  <a:gd name="connsiteX1072" fmla="*/ 432168 w 1315299"/>
                  <a:gd name="connsiteY1072" fmla="*/ 603759 h 960849"/>
                  <a:gd name="connsiteX1073" fmla="*/ 432168 w 1315299"/>
                  <a:gd name="connsiteY1073" fmla="*/ 604698 h 960849"/>
                  <a:gd name="connsiteX1074" fmla="*/ 431243 w 1315299"/>
                  <a:gd name="connsiteY1074" fmla="*/ 579393 h 960849"/>
                  <a:gd name="connsiteX1075" fmla="*/ 430296 w 1315299"/>
                  <a:gd name="connsiteY1075" fmla="*/ 578454 h 960849"/>
                  <a:gd name="connsiteX1076" fmla="*/ 431243 w 1315299"/>
                  <a:gd name="connsiteY1076" fmla="*/ 574705 h 960849"/>
                  <a:gd name="connsiteX1077" fmla="*/ 432168 w 1315299"/>
                  <a:gd name="connsiteY1077" fmla="*/ 575643 h 960849"/>
                  <a:gd name="connsiteX1078" fmla="*/ 431243 w 1315299"/>
                  <a:gd name="connsiteY1078" fmla="*/ 579393 h 960849"/>
                  <a:gd name="connsiteX1079" fmla="*/ 434041 w 1315299"/>
                  <a:gd name="connsiteY1079" fmla="*/ 544714 h 960849"/>
                  <a:gd name="connsiteX1080" fmla="*/ 434239 w 1315299"/>
                  <a:gd name="connsiteY1080" fmla="*/ 543961 h 960849"/>
                  <a:gd name="connsiteX1081" fmla="*/ 435406 w 1315299"/>
                  <a:gd name="connsiteY1081" fmla="*/ 543483 h 960849"/>
                  <a:gd name="connsiteX1082" fmla="*/ 435913 w 1315299"/>
                  <a:gd name="connsiteY1082" fmla="*/ 544714 h 960849"/>
                  <a:gd name="connsiteX1083" fmla="*/ 435913 w 1315299"/>
                  <a:gd name="connsiteY1083" fmla="*/ 546589 h 960849"/>
                  <a:gd name="connsiteX1084" fmla="*/ 434988 w 1315299"/>
                  <a:gd name="connsiteY1084" fmla="*/ 548462 h 960849"/>
                  <a:gd name="connsiteX1085" fmla="*/ 434041 w 1315299"/>
                  <a:gd name="connsiteY1085" fmla="*/ 545651 h 960849"/>
                  <a:gd name="connsiteX1086" fmla="*/ 434041 w 1315299"/>
                  <a:gd name="connsiteY1086" fmla="*/ 544714 h 960849"/>
                  <a:gd name="connsiteX1087" fmla="*/ 434988 w 1315299"/>
                  <a:gd name="connsiteY1087" fmla="*/ 592513 h 960849"/>
                  <a:gd name="connsiteX1088" fmla="*/ 434041 w 1315299"/>
                  <a:gd name="connsiteY1088" fmla="*/ 592513 h 960849"/>
                  <a:gd name="connsiteX1089" fmla="*/ 434988 w 1315299"/>
                  <a:gd name="connsiteY1089" fmla="*/ 590639 h 960849"/>
                  <a:gd name="connsiteX1090" fmla="*/ 434988 w 1315299"/>
                  <a:gd name="connsiteY1090" fmla="*/ 592513 h 960849"/>
                  <a:gd name="connsiteX1091" fmla="*/ 437808 w 1315299"/>
                  <a:gd name="connsiteY1091" fmla="*/ 582204 h 960849"/>
                  <a:gd name="connsiteX1092" fmla="*/ 437808 w 1315299"/>
                  <a:gd name="connsiteY1092" fmla="*/ 580329 h 960849"/>
                  <a:gd name="connsiteX1093" fmla="*/ 438733 w 1315299"/>
                  <a:gd name="connsiteY1093" fmla="*/ 582204 h 960849"/>
                  <a:gd name="connsiteX1094" fmla="*/ 437808 w 1315299"/>
                  <a:gd name="connsiteY1094" fmla="*/ 582204 h 960849"/>
                  <a:gd name="connsiteX1095" fmla="*/ 446223 w 1315299"/>
                  <a:gd name="connsiteY1095" fmla="*/ 556899 h 960849"/>
                  <a:gd name="connsiteX1096" fmla="*/ 446223 w 1315299"/>
                  <a:gd name="connsiteY1096" fmla="*/ 564395 h 960849"/>
                  <a:gd name="connsiteX1097" fmla="*/ 445298 w 1315299"/>
                  <a:gd name="connsiteY1097" fmla="*/ 565334 h 960849"/>
                  <a:gd name="connsiteX1098" fmla="*/ 443425 w 1315299"/>
                  <a:gd name="connsiteY1098" fmla="*/ 564395 h 960849"/>
                  <a:gd name="connsiteX1099" fmla="*/ 443425 w 1315299"/>
                  <a:gd name="connsiteY1099" fmla="*/ 557835 h 960849"/>
                  <a:gd name="connsiteX1100" fmla="*/ 446223 w 1315299"/>
                  <a:gd name="connsiteY1100" fmla="*/ 556899 h 960849"/>
                  <a:gd name="connsiteX1101" fmla="*/ 446223 w 1315299"/>
                  <a:gd name="connsiteY1101" fmla="*/ 546589 h 960849"/>
                  <a:gd name="connsiteX1102" fmla="*/ 442478 w 1315299"/>
                  <a:gd name="connsiteY1102" fmla="*/ 550339 h 960849"/>
                  <a:gd name="connsiteX1103" fmla="*/ 439680 w 1315299"/>
                  <a:gd name="connsiteY1103" fmla="*/ 553149 h 960849"/>
                  <a:gd name="connsiteX1104" fmla="*/ 439680 w 1315299"/>
                  <a:gd name="connsiteY1104" fmla="*/ 559710 h 960849"/>
                  <a:gd name="connsiteX1105" fmla="*/ 435913 w 1315299"/>
                  <a:gd name="connsiteY1105" fmla="*/ 563459 h 960849"/>
                  <a:gd name="connsiteX1106" fmla="*/ 435913 w 1315299"/>
                  <a:gd name="connsiteY1106" fmla="*/ 567208 h 960849"/>
                  <a:gd name="connsiteX1107" fmla="*/ 434988 w 1315299"/>
                  <a:gd name="connsiteY1107" fmla="*/ 568145 h 960849"/>
                  <a:gd name="connsiteX1108" fmla="*/ 434041 w 1315299"/>
                  <a:gd name="connsiteY1108" fmla="*/ 567208 h 960849"/>
                  <a:gd name="connsiteX1109" fmla="*/ 434041 w 1315299"/>
                  <a:gd name="connsiteY1109" fmla="*/ 565334 h 960849"/>
                  <a:gd name="connsiteX1110" fmla="*/ 435913 w 1315299"/>
                  <a:gd name="connsiteY1110" fmla="*/ 563459 h 960849"/>
                  <a:gd name="connsiteX1111" fmla="*/ 435913 w 1315299"/>
                  <a:gd name="connsiteY1111" fmla="*/ 557835 h 960849"/>
                  <a:gd name="connsiteX1112" fmla="*/ 439680 w 1315299"/>
                  <a:gd name="connsiteY1112" fmla="*/ 553149 h 960849"/>
                  <a:gd name="connsiteX1113" fmla="*/ 439680 w 1315299"/>
                  <a:gd name="connsiteY1113" fmla="*/ 546589 h 960849"/>
                  <a:gd name="connsiteX1114" fmla="*/ 442478 w 1315299"/>
                  <a:gd name="connsiteY1114" fmla="*/ 544714 h 960849"/>
                  <a:gd name="connsiteX1115" fmla="*/ 446223 w 1315299"/>
                  <a:gd name="connsiteY1115" fmla="*/ 546589 h 960849"/>
                  <a:gd name="connsiteX1116" fmla="*/ 449990 w 1315299"/>
                  <a:gd name="connsiteY1116" fmla="*/ 552211 h 960849"/>
                  <a:gd name="connsiteX1117" fmla="*/ 446223 w 1315299"/>
                  <a:gd name="connsiteY1117" fmla="*/ 556899 h 960849"/>
                  <a:gd name="connsiteX1118" fmla="*/ 474354 w 1315299"/>
                  <a:gd name="connsiteY1118" fmla="*/ 446304 h 960849"/>
                  <a:gd name="connsiteX1119" fmla="*/ 476227 w 1315299"/>
                  <a:gd name="connsiteY1119" fmla="*/ 443493 h 960849"/>
                  <a:gd name="connsiteX1120" fmla="*/ 476227 w 1315299"/>
                  <a:gd name="connsiteY1120" fmla="*/ 446304 h 960849"/>
                  <a:gd name="connsiteX1121" fmla="*/ 474354 w 1315299"/>
                  <a:gd name="connsiteY1121" fmla="*/ 450053 h 960849"/>
                  <a:gd name="connsiteX1122" fmla="*/ 474354 w 1315299"/>
                  <a:gd name="connsiteY1122" fmla="*/ 446304 h 960849"/>
                  <a:gd name="connsiteX1123" fmla="*/ 460299 w 1315299"/>
                  <a:gd name="connsiteY1123" fmla="*/ 482857 h 960849"/>
                  <a:gd name="connsiteX1124" fmla="*/ 456532 w 1315299"/>
                  <a:gd name="connsiteY1124" fmla="*/ 486606 h 960849"/>
                  <a:gd name="connsiteX1125" fmla="*/ 456532 w 1315299"/>
                  <a:gd name="connsiteY1125" fmla="*/ 490523 h 960849"/>
                  <a:gd name="connsiteX1126" fmla="*/ 453735 w 1315299"/>
                  <a:gd name="connsiteY1126" fmla="*/ 491882 h 960849"/>
                  <a:gd name="connsiteX1127" fmla="*/ 453735 w 1315299"/>
                  <a:gd name="connsiteY1127" fmla="*/ 490355 h 960849"/>
                  <a:gd name="connsiteX1128" fmla="*/ 456532 w 1315299"/>
                  <a:gd name="connsiteY1128" fmla="*/ 486606 h 960849"/>
                  <a:gd name="connsiteX1129" fmla="*/ 456532 w 1315299"/>
                  <a:gd name="connsiteY1129" fmla="*/ 483795 h 960849"/>
                  <a:gd name="connsiteX1130" fmla="*/ 460299 w 1315299"/>
                  <a:gd name="connsiteY1130" fmla="*/ 480046 h 960849"/>
                  <a:gd name="connsiteX1131" fmla="*/ 460299 w 1315299"/>
                  <a:gd name="connsiteY1131" fmla="*/ 473485 h 960849"/>
                  <a:gd name="connsiteX1132" fmla="*/ 463097 w 1315299"/>
                  <a:gd name="connsiteY1132" fmla="*/ 469736 h 960849"/>
                  <a:gd name="connsiteX1133" fmla="*/ 463097 w 1315299"/>
                  <a:gd name="connsiteY1133" fmla="*/ 476296 h 960849"/>
                  <a:gd name="connsiteX1134" fmla="*/ 460299 w 1315299"/>
                  <a:gd name="connsiteY1134" fmla="*/ 480046 h 960849"/>
                  <a:gd name="connsiteX1135" fmla="*/ 460299 w 1315299"/>
                  <a:gd name="connsiteY1135" fmla="*/ 482857 h 960849"/>
                  <a:gd name="connsiteX1136" fmla="*/ 469023 w 1315299"/>
                  <a:gd name="connsiteY1136" fmla="*/ 483462 h 960849"/>
                  <a:gd name="connsiteX1137" fmla="*/ 467789 w 1315299"/>
                  <a:gd name="connsiteY1137" fmla="*/ 483795 h 960849"/>
                  <a:gd name="connsiteX1138" fmla="*/ 462194 w 1315299"/>
                  <a:gd name="connsiteY1138" fmla="*/ 487395 h 960849"/>
                  <a:gd name="connsiteX1139" fmla="*/ 466842 w 1315299"/>
                  <a:gd name="connsiteY1139" fmla="*/ 480046 h 960849"/>
                  <a:gd name="connsiteX1140" fmla="*/ 467789 w 1315299"/>
                  <a:gd name="connsiteY1140" fmla="*/ 479107 h 960849"/>
                  <a:gd name="connsiteX1141" fmla="*/ 470609 w 1315299"/>
                  <a:gd name="connsiteY1141" fmla="*/ 480046 h 960849"/>
                  <a:gd name="connsiteX1142" fmla="*/ 469023 w 1315299"/>
                  <a:gd name="connsiteY1142" fmla="*/ 483462 h 960849"/>
                  <a:gd name="connsiteX1143" fmla="*/ 464044 w 1315299"/>
                  <a:gd name="connsiteY1143" fmla="*/ 469736 h 960849"/>
                  <a:gd name="connsiteX1144" fmla="*/ 464970 w 1315299"/>
                  <a:gd name="connsiteY1144" fmla="*/ 467861 h 960849"/>
                  <a:gd name="connsiteX1145" fmla="*/ 464970 w 1315299"/>
                  <a:gd name="connsiteY1145" fmla="*/ 468798 h 960849"/>
                  <a:gd name="connsiteX1146" fmla="*/ 464044 w 1315299"/>
                  <a:gd name="connsiteY1146" fmla="*/ 469736 h 960849"/>
                  <a:gd name="connsiteX1147" fmla="*/ 471534 w 1315299"/>
                  <a:gd name="connsiteY1147" fmla="*/ 472547 h 960849"/>
                  <a:gd name="connsiteX1148" fmla="*/ 471534 w 1315299"/>
                  <a:gd name="connsiteY1148" fmla="*/ 471611 h 960849"/>
                  <a:gd name="connsiteX1149" fmla="*/ 472481 w 1315299"/>
                  <a:gd name="connsiteY1149" fmla="*/ 469736 h 960849"/>
                  <a:gd name="connsiteX1150" fmla="*/ 471534 w 1315299"/>
                  <a:gd name="connsiteY1150" fmla="*/ 472547 h 960849"/>
                  <a:gd name="connsiteX1151" fmla="*/ 470609 w 1315299"/>
                  <a:gd name="connsiteY1151" fmla="*/ 456613 h 960849"/>
                  <a:gd name="connsiteX1152" fmla="*/ 468737 w 1315299"/>
                  <a:gd name="connsiteY1152" fmla="*/ 460362 h 960849"/>
                  <a:gd name="connsiteX1153" fmla="*/ 466842 w 1315299"/>
                  <a:gd name="connsiteY1153" fmla="*/ 462237 h 960849"/>
                  <a:gd name="connsiteX1154" fmla="*/ 464044 w 1315299"/>
                  <a:gd name="connsiteY1154" fmla="*/ 460362 h 960849"/>
                  <a:gd name="connsiteX1155" fmla="*/ 467789 w 1315299"/>
                  <a:gd name="connsiteY1155" fmla="*/ 457552 h 960849"/>
                  <a:gd name="connsiteX1156" fmla="*/ 470609 w 1315299"/>
                  <a:gd name="connsiteY1156" fmla="*/ 456613 h 960849"/>
                  <a:gd name="connsiteX1157" fmla="*/ 470609 w 1315299"/>
                  <a:gd name="connsiteY1157" fmla="*/ 453802 h 960849"/>
                  <a:gd name="connsiteX1158" fmla="*/ 472481 w 1315299"/>
                  <a:gd name="connsiteY1158" fmla="*/ 450053 h 960849"/>
                  <a:gd name="connsiteX1159" fmla="*/ 470609 w 1315299"/>
                  <a:gd name="connsiteY1159" fmla="*/ 456613 h 960849"/>
                  <a:gd name="connsiteX1160" fmla="*/ 474354 w 1315299"/>
                  <a:gd name="connsiteY1160" fmla="*/ 469736 h 960849"/>
                  <a:gd name="connsiteX1161" fmla="*/ 475279 w 1315299"/>
                  <a:gd name="connsiteY1161" fmla="*/ 467861 h 960849"/>
                  <a:gd name="connsiteX1162" fmla="*/ 475279 w 1315299"/>
                  <a:gd name="connsiteY1162" fmla="*/ 468798 h 960849"/>
                  <a:gd name="connsiteX1163" fmla="*/ 474354 w 1315299"/>
                  <a:gd name="connsiteY1163" fmla="*/ 469736 h 960849"/>
                  <a:gd name="connsiteX1164" fmla="*/ 476227 w 1315299"/>
                  <a:gd name="connsiteY1164" fmla="*/ 481929 h 960849"/>
                  <a:gd name="connsiteX1165" fmla="*/ 474530 w 1315299"/>
                  <a:gd name="connsiteY1165" fmla="*/ 482209 h 960849"/>
                  <a:gd name="connsiteX1166" fmla="*/ 476227 w 1315299"/>
                  <a:gd name="connsiteY1166" fmla="*/ 480046 h 960849"/>
                  <a:gd name="connsiteX1167" fmla="*/ 476227 w 1315299"/>
                  <a:gd name="connsiteY1167" fmla="*/ 481929 h 960849"/>
                  <a:gd name="connsiteX1168" fmla="*/ 479046 w 1315299"/>
                  <a:gd name="connsiteY1168" fmla="*/ 476296 h 960849"/>
                  <a:gd name="connsiteX1169" fmla="*/ 479046 w 1315299"/>
                  <a:gd name="connsiteY1169" fmla="*/ 477232 h 960849"/>
                  <a:gd name="connsiteX1170" fmla="*/ 476227 w 1315299"/>
                  <a:gd name="connsiteY1170" fmla="*/ 479107 h 960849"/>
                  <a:gd name="connsiteX1171" fmla="*/ 476227 w 1315299"/>
                  <a:gd name="connsiteY1171" fmla="*/ 476296 h 960849"/>
                  <a:gd name="connsiteX1172" fmla="*/ 479046 w 1315299"/>
                  <a:gd name="connsiteY1172" fmla="*/ 475358 h 960849"/>
                  <a:gd name="connsiteX1173" fmla="*/ 479046 w 1315299"/>
                  <a:gd name="connsiteY1173" fmla="*/ 476296 h 960849"/>
                  <a:gd name="connsiteX1174" fmla="*/ 479046 w 1315299"/>
                  <a:gd name="connsiteY1174" fmla="*/ 439743 h 960849"/>
                  <a:gd name="connsiteX1175" fmla="*/ 476227 w 1315299"/>
                  <a:gd name="connsiteY1175" fmla="*/ 442554 h 960849"/>
                  <a:gd name="connsiteX1176" fmla="*/ 478099 w 1315299"/>
                  <a:gd name="connsiteY1176" fmla="*/ 438807 h 960849"/>
                  <a:gd name="connsiteX1177" fmla="*/ 478099 w 1315299"/>
                  <a:gd name="connsiteY1177" fmla="*/ 436932 h 960849"/>
                  <a:gd name="connsiteX1178" fmla="*/ 479046 w 1315299"/>
                  <a:gd name="connsiteY1178" fmla="*/ 439743 h 960849"/>
                  <a:gd name="connsiteX1179" fmla="*/ 485589 w 1315299"/>
                  <a:gd name="connsiteY1179" fmla="*/ 424748 h 960849"/>
                  <a:gd name="connsiteX1180" fmla="*/ 483717 w 1315299"/>
                  <a:gd name="connsiteY1180" fmla="*/ 424748 h 960849"/>
                  <a:gd name="connsiteX1181" fmla="*/ 485589 w 1315299"/>
                  <a:gd name="connsiteY1181" fmla="*/ 423809 h 960849"/>
                  <a:gd name="connsiteX1182" fmla="*/ 485589 w 1315299"/>
                  <a:gd name="connsiteY1182" fmla="*/ 424748 h 960849"/>
                  <a:gd name="connsiteX1183" fmla="*/ 515593 w 1315299"/>
                  <a:gd name="connsiteY1183" fmla="*/ 311342 h 960849"/>
                  <a:gd name="connsiteX1184" fmla="*/ 514645 w 1315299"/>
                  <a:gd name="connsiteY1184" fmla="*/ 310406 h 960849"/>
                  <a:gd name="connsiteX1185" fmla="*/ 518391 w 1315299"/>
                  <a:gd name="connsiteY1185" fmla="*/ 308531 h 960849"/>
                  <a:gd name="connsiteX1186" fmla="*/ 519338 w 1315299"/>
                  <a:gd name="connsiteY1186" fmla="*/ 310406 h 960849"/>
                  <a:gd name="connsiteX1187" fmla="*/ 515593 w 1315299"/>
                  <a:gd name="connsiteY1187" fmla="*/ 311342 h 960849"/>
                  <a:gd name="connsiteX1188" fmla="*/ 494973 w 1315299"/>
                  <a:gd name="connsiteY1188" fmla="*/ 403192 h 960849"/>
                  <a:gd name="connsiteX1189" fmla="*/ 494973 w 1315299"/>
                  <a:gd name="connsiteY1189" fmla="*/ 404129 h 960849"/>
                  <a:gd name="connsiteX1190" fmla="*/ 494026 w 1315299"/>
                  <a:gd name="connsiteY1190" fmla="*/ 404129 h 960849"/>
                  <a:gd name="connsiteX1191" fmla="*/ 494973 w 1315299"/>
                  <a:gd name="connsiteY1191" fmla="*/ 403192 h 960849"/>
                  <a:gd name="connsiteX1192" fmla="*/ 487461 w 1315299"/>
                  <a:gd name="connsiteY1192" fmla="*/ 417251 h 960849"/>
                  <a:gd name="connsiteX1193" fmla="*/ 489334 w 1315299"/>
                  <a:gd name="connsiteY1193" fmla="*/ 418188 h 960849"/>
                  <a:gd name="connsiteX1194" fmla="*/ 487461 w 1315299"/>
                  <a:gd name="connsiteY1194" fmla="*/ 418188 h 960849"/>
                  <a:gd name="connsiteX1195" fmla="*/ 487461 w 1315299"/>
                  <a:gd name="connsiteY1195" fmla="*/ 417251 h 960849"/>
                  <a:gd name="connsiteX1196" fmla="*/ 489334 w 1315299"/>
                  <a:gd name="connsiteY1196" fmla="*/ 452866 h 960849"/>
                  <a:gd name="connsiteX1197" fmla="*/ 487461 w 1315299"/>
                  <a:gd name="connsiteY1197" fmla="*/ 454739 h 960849"/>
                  <a:gd name="connsiteX1198" fmla="*/ 487461 w 1315299"/>
                  <a:gd name="connsiteY1198" fmla="*/ 450991 h 960849"/>
                  <a:gd name="connsiteX1199" fmla="*/ 490281 w 1315299"/>
                  <a:gd name="connsiteY1199" fmla="*/ 450053 h 960849"/>
                  <a:gd name="connsiteX1200" fmla="*/ 489334 w 1315299"/>
                  <a:gd name="connsiteY1200" fmla="*/ 452866 h 960849"/>
                  <a:gd name="connsiteX1201" fmla="*/ 491229 w 1315299"/>
                  <a:gd name="connsiteY1201" fmla="*/ 448178 h 960849"/>
                  <a:gd name="connsiteX1202" fmla="*/ 490281 w 1315299"/>
                  <a:gd name="connsiteY1202" fmla="*/ 448178 h 960849"/>
                  <a:gd name="connsiteX1203" fmla="*/ 491229 w 1315299"/>
                  <a:gd name="connsiteY1203" fmla="*/ 447242 h 960849"/>
                  <a:gd name="connsiteX1204" fmla="*/ 491229 w 1315299"/>
                  <a:gd name="connsiteY1204" fmla="*/ 448178 h 960849"/>
                  <a:gd name="connsiteX1205" fmla="*/ 501538 w 1315299"/>
                  <a:gd name="connsiteY1205" fmla="*/ 428497 h 960849"/>
                  <a:gd name="connsiteX1206" fmla="*/ 501538 w 1315299"/>
                  <a:gd name="connsiteY1206" fmla="*/ 427559 h 960849"/>
                  <a:gd name="connsiteX1207" fmla="*/ 502463 w 1315299"/>
                  <a:gd name="connsiteY1207" fmla="*/ 428497 h 960849"/>
                  <a:gd name="connsiteX1208" fmla="*/ 501538 w 1315299"/>
                  <a:gd name="connsiteY1208" fmla="*/ 428497 h 960849"/>
                  <a:gd name="connsiteX1209" fmla="*/ 496846 w 1315299"/>
                  <a:gd name="connsiteY1209" fmla="*/ 420062 h 960849"/>
                  <a:gd name="connsiteX1210" fmla="*/ 496846 w 1315299"/>
                  <a:gd name="connsiteY1210" fmla="*/ 421937 h 960849"/>
                  <a:gd name="connsiteX1211" fmla="*/ 493101 w 1315299"/>
                  <a:gd name="connsiteY1211" fmla="*/ 425684 h 960849"/>
                  <a:gd name="connsiteX1212" fmla="*/ 493101 w 1315299"/>
                  <a:gd name="connsiteY1212" fmla="*/ 431308 h 960849"/>
                  <a:gd name="connsiteX1213" fmla="*/ 491229 w 1315299"/>
                  <a:gd name="connsiteY1213" fmla="*/ 432247 h 960849"/>
                  <a:gd name="connsiteX1214" fmla="*/ 490281 w 1315299"/>
                  <a:gd name="connsiteY1214" fmla="*/ 428497 h 960849"/>
                  <a:gd name="connsiteX1215" fmla="*/ 493101 w 1315299"/>
                  <a:gd name="connsiteY1215" fmla="*/ 425684 h 960849"/>
                  <a:gd name="connsiteX1216" fmla="*/ 496846 w 1315299"/>
                  <a:gd name="connsiteY1216" fmla="*/ 420062 h 960849"/>
                  <a:gd name="connsiteX1217" fmla="*/ 502463 w 1315299"/>
                  <a:gd name="connsiteY1217" fmla="*/ 409753 h 960849"/>
                  <a:gd name="connsiteX1218" fmla="*/ 496846 w 1315299"/>
                  <a:gd name="connsiteY1218" fmla="*/ 420062 h 960849"/>
                  <a:gd name="connsiteX1219" fmla="*/ 500591 w 1315299"/>
                  <a:gd name="connsiteY1219" fmla="*/ 395694 h 960849"/>
                  <a:gd name="connsiteX1220" fmla="*/ 498718 w 1315299"/>
                  <a:gd name="connsiteY1220" fmla="*/ 398505 h 960849"/>
                  <a:gd name="connsiteX1221" fmla="*/ 497771 w 1315299"/>
                  <a:gd name="connsiteY1221" fmla="*/ 396630 h 960849"/>
                  <a:gd name="connsiteX1222" fmla="*/ 500591 w 1315299"/>
                  <a:gd name="connsiteY1222" fmla="*/ 395694 h 960849"/>
                  <a:gd name="connsiteX1223" fmla="*/ 500591 w 1315299"/>
                  <a:gd name="connsiteY1223" fmla="*/ 392883 h 960849"/>
                  <a:gd name="connsiteX1224" fmla="*/ 502463 w 1315299"/>
                  <a:gd name="connsiteY1224" fmla="*/ 389133 h 960849"/>
                  <a:gd name="connsiteX1225" fmla="*/ 500591 w 1315299"/>
                  <a:gd name="connsiteY1225" fmla="*/ 395694 h 960849"/>
                  <a:gd name="connsiteX1226" fmla="*/ 505283 w 1315299"/>
                  <a:gd name="connsiteY1226" fmla="*/ 406940 h 960849"/>
                  <a:gd name="connsiteX1227" fmla="*/ 504336 w 1315299"/>
                  <a:gd name="connsiteY1227" fmla="*/ 409753 h 960849"/>
                  <a:gd name="connsiteX1228" fmla="*/ 504336 w 1315299"/>
                  <a:gd name="connsiteY1228" fmla="*/ 406003 h 960849"/>
                  <a:gd name="connsiteX1229" fmla="*/ 505283 w 1315299"/>
                  <a:gd name="connsiteY1229" fmla="*/ 404129 h 960849"/>
                  <a:gd name="connsiteX1230" fmla="*/ 505283 w 1315299"/>
                  <a:gd name="connsiteY1230" fmla="*/ 406003 h 960849"/>
                  <a:gd name="connsiteX1231" fmla="*/ 505283 w 1315299"/>
                  <a:gd name="connsiteY1231" fmla="*/ 406940 h 960849"/>
                  <a:gd name="connsiteX1232" fmla="*/ 504336 w 1315299"/>
                  <a:gd name="connsiteY1232" fmla="*/ 389133 h 960849"/>
                  <a:gd name="connsiteX1233" fmla="*/ 504336 w 1315299"/>
                  <a:gd name="connsiteY1233" fmla="*/ 387259 h 960849"/>
                  <a:gd name="connsiteX1234" fmla="*/ 507155 w 1315299"/>
                  <a:gd name="connsiteY1234" fmla="*/ 383509 h 960849"/>
                  <a:gd name="connsiteX1235" fmla="*/ 504336 w 1315299"/>
                  <a:gd name="connsiteY1235" fmla="*/ 389133 h 960849"/>
                  <a:gd name="connsiteX1236" fmla="*/ 510900 w 1315299"/>
                  <a:gd name="connsiteY1236" fmla="*/ 376011 h 960849"/>
                  <a:gd name="connsiteX1237" fmla="*/ 507155 w 1315299"/>
                  <a:gd name="connsiteY1237" fmla="*/ 381635 h 960849"/>
                  <a:gd name="connsiteX1238" fmla="*/ 510900 w 1315299"/>
                  <a:gd name="connsiteY1238" fmla="*/ 376011 h 960849"/>
                  <a:gd name="connsiteX1239" fmla="*/ 512773 w 1315299"/>
                  <a:gd name="connsiteY1239" fmla="*/ 373200 h 960849"/>
                  <a:gd name="connsiteX1240" fmla="*/ 510900 w 1315299"/>
                  <a:gd name="connsiteY1240" fmla="*/ 376011 h 960849"/>
                  <a:gd name="connsiteX1241" fmla="*/ 515593 w 1315299"/>
                  <a:gd name="connsiteY1241" fmla="*/ 388195 h 960849"/>
                  <a:gd name="connsiteX1242" fmla="*/ 514645 w 1315299"/>
                  <a:gd name="connsiteY1242" fmla="*/ 387259 h 960849"/>
                  <a:gd name="connsiteX1243" fmla="*/ 515593 w 1315299"/>
                  <a:gd name="connsiteY1243" fmla="*/ 387259 h 960849"/>
                  <a:gd name="connsiteX1244" fmla="*/ 515593 w 1315299"/>
                  <a:gd name="connsiteY1244" fmla="*/ 388195 h 960849"/>
                  <a:gd name="connsiteX1245" fmla="*/ 518391 w 1315299"/>
                  <a:gd name="connsiteY1245" fmla="*/ 398505 h 960849"/>
                  <a:gd name="connsiteX1246" fmla="*/ 518391 w 1315299"/>
                  <a:gd name="connsiteY1246" fmla="*/ 396630 h 960849"/>
                  <a:gd name="connsiteX1247" fmla="*/ 519338 w 1315299"/>
                  <a:gd name="connsiteY1247" fmla="*/ 398505 h 960849"/>
                  <a:gd name="connsiteX1248" fmla="*/ 518391 w 1315299"/>
                  <a:gd name="connsiteY1248" fmla="*/ 398505 h 960849"/>
                  <a:gd name="connsiteX1249" fmla="*/ 518391 w 1315299"/>
                  <a:gd name="connsiteY1249" fmla="*/ 381635 h 960849"/>
                  <a:gd name="connsiteX1250" fmla="*/ 518391 w 1315299"/>
                  <a:gd name="connsiteY1250" fmla="*/ 380699 h 960849"/>
                  <a:gd name="connsiteX1251" fmla="*/ 519338 w 1315299"/>
                  <a:gd name="connsiteY1251" fmla="*/ 380699 h 960849"/>
                  <a:gd name="connsiteX1252" fmla="*/ 518391 w 1315299"/>
                  <a:gd name="connsiteY1252" fmla="*/ 381635 h 960849"/>
                  <a:gd name="connsiteX1253" fmla="*/ 525902 w 1315299"/>
                  <a:gd name="connsiteY1253" fmla="*/ 384448 h 960849"/>
                  <a:gd name="connsiteX1254" fmla="*/ 524030 w 1315299"/>
                  <a:gd name="connsiteY1254" fmla="*/ 384448 h 960849"/>
                  <a:gd name="connsiteX1255" fmla="*/ 525902 w 1315299"/>
                  <a:gd name="connsiteY1255" fmla="*/ 383509 h 960849"/>
                  <a:gd name="connsiteX1256" fmla="*/ 525902 w 1315299"/>
                  <a:gd name="connsiteY1256" fmla="*/ 384448 h 960849"/>
                  <a:gd name="connsiteX1257" fmla="*/ 529647 w 1315299"/>
                  <a:gd name="connsiteY1257" fmla="*/ 377888 h 960849"/>
                  <a:gd name="connsiteX1258" fmla="*/ 527775 w 1315299"/>
                  <a:gd name="connsiteY1258" fmla="*/ 377888 h 960849"/>
                  <a:gd name="connsiteX1259" fmla="*/ 529647 w 1315299"/>
                  <a:gd name="connsiteY1259" fmla="*/ 376949 h 960849"/>
                  <a:gd name="connsiteX1260" fmla="*/ 529647 w 1315299"/>
                  <a:gd name="connsiteY1260" fmla="*/ 377888 h 960849"/>
                  <a:gd name="connsiteX1261" fmla="*/ 529647 w 1315299"/>
                  <a:gd name="connsiteY1261" fmla="*/ 366639 h 960849"/>
                  <a:gd name="connsiteX1262" fmla="*/ 524030 w 1315299"/>
                  <a:gd name="connsiteY1262" fmla="*/ 370389 h 960849"/>
                  <a:gd name="connsiteX1263" fmla="*/ 524030 w 1315299"/>
                  <a:gd name="connsiteY1263" fmla="*/ 369450 h 960849"/>
                  <a:gd name="connsiteX1264" fmla="*/ 526828 w 1315299"/>
                  <a:gd name="connsiteY1264" fmla="*/ 362890 h 960849"/>
                  <a:gd name="connsiteX1265" fmla="*/ 530594 w 1315299"/>
                  <a:gd name="connsiteY1265" fmla="*/ 362890 h 960849"/>
                  <a:gd name="connsiteX1266" fmla="*/ 529647 w 1315299"/>
                  <a:gd name="connsiteY1266" fmla="*/ 366639 h 960849"/>
                  <a:gd name="connsiteX1267" fmla="*/ 530594 w 1315299"/>
                  <a:gd name="connsiteY1267" fmla="*/ 361954 h 960849"/>
                  <a:gd name="connsiteX1268" fmla="*/ 531520 w 1315299"/>
                  <a:gd name="connsiteY1268" fmla="*/ 360079 h 960849"/>
                  <a:gd name="connsiteX1269" fmla="*/ 530594 w 1315299"/>
                  <a:gd name="connsiteY1269" fmla="*/ 361954 h 960849"/>
                  <a:gd name="connsiteX1270" fmla="*/ 523083 w 1315299"/>
                  <a:gd name="connsiteY1270" fmla="*/ 358204 h 960849"/>
                  <a:gd name="connsiteX1271" fmla="*/ 520285 w 1315299"/>
                  <a:gd name="connsiteY1271" fmla="*/ 359141 h 960849"/>
                  <a:gd name="connsiteX1272" fmla="*/ 514645 w 1315299"/>
                  <a:gd name="connsiteY1272" fmla="*/ 372263 h 960849"/>
                  <a:gd name="connsiteX1273" fmla="*/ 512773 w 1315299"/>
                  <a:gd name="connsiteY1273" fmla="*/ 362890 h 960849"/>
                  <a:gd name="connsiteX1274" fmla="*/ 515593 w 1315299"/>
                  <a:gd name="connsiteY1274" fmla="*/ 361954 h 960849"/>
                  <a:gd name="connsiteX1275" fmla="*/ 520285 w 1315299"/>
                  <a:gd name="connsiteY1275" fmla="*/ 359141 h 960849"/>
                  <a:gd name="connsiteX1276" fmla="*/ 526828 w 1315299"/>
                  <a:gd name="connsiteY1276" fmla="*/ 344145 h 960849"/>
                  <a:gd name="connsiteX1277" fmla="*/ 530594 w 1315299"/>
                  <a:gd name="connsiteY1277" fmla="*/ 343209 h 960849"/>
                  <a:gd name="connsiteX1278" fmla="*/ 531520 w 1315299"/>
                  <a:gd name="connsiteY1278" fmla="*/ 344145 h 960849"/>
                  <a:gd name="connsiteX1279" fmla="*/ 523083 w 1315299"/>
                  <a:gd name="connsiteY1279" fmla="*/ 358204 h 960849"/>
                  <a:gd name="connsiteX1280" fmla="*/ 531520 w 1315299"/>
                  <a:gd name="connsiteY1280" fmla="*/ 307595 h 960849"/>
                  <a:gd name="connsiteX1281" fmla="*/ 525902 w 1315299"/>
                  <a:gd name="connsiteY1281" fmla="*/ 307595 h 960849"/>
                  <a:gd name="connsiteX1282" fmla="*/ 524030 w 1315299"/>
                  <a:gd name="connsiteY1282" fmla="*/ 307595 h 960849"/>
                  <a:gd name="connsiteX1283" fmla="*/ 525902 w 1315299"/>
                  <a:gd name="connsiteY1283" fmla="*/ 306656 h 960849"/>
                  <a:gd name="connsiteX1284" fmla="*/ 533392 w 1315299"/>
                  <a:gd name="connsiteY1284" fmla="*/ 304781 h 960849"/>
                  <a:gd name="connsiteX1285" fmla="*/ 531520 w 1315299"/>
                  <a:gd name="connsiteY1285" fmla="*/ 307595 h 960849"/>
                  <a:gd name="connsiteX1286" fmla="*/ 538085 w 1315299"/>
                  <a:gd name="connsiteY1286" fmla="*/ 364765 h 960849"/>
                  <a:gd name="connsiteX1287" fmla="*/ 538085 w 1315299"/>
                  <a:gd name="connsiteY1287" fmla="*/ 362892 h 960849"/>
                  <a:gd name="connsiteX1288" fmla="*/ 539010 w 1315299"/>
                  <a:gd name="connsiteY1288" fmla="*/ 364765 h 960849"/>
                  <a:gd name="connsiteX1289" fmla="*/ 538085 w 1315299"/>
                  <a:gd name="connsiteY1289" fmla="*/ 364765 h 960849"/>
                  <a:gd name="connsiteX1290" fmla="*/ 537137 w 1315299"/>
                  <a:gd name="connsiteY1290" fmla="*/ 348831 h 960849"/>
                  <a:gd name="connsiteX1291" fmla="*/ 535265 w 1315299"/>
                  <a:gd name="connsiteY1291" fmla="*/ 352580 h 960849"/>
                  <a:gd name="connsiteX1292" fmla="*/ 535265 w 1315299"/>
                  <a:gd name="connsiteY1292" fmla="*/ 354455 h 960849"/>
                  <a:gd name="connsiteX1293" fmla="*/ 534340 w 1315299"/>
                  <a:gd name="connsiteY1293" fmla="*/ 351644 h 960849"/>
                  <a:gd name="connsiteX1294" fmla="*/ 537137 w 1315299"/>
                  <a:gd name="connsiteY1294" fmla="*/ 348831 h 960849"/>
                  <a:gd name="connsiteX1295" fmla="*/ 538085 w 1315299"/>
                  <a:gd name="connsiteY1295" fmla="*/ 346959 h 960849"/>
                  <a:gd name="connsiteX1296" fmla="*/ 539010 w 1315299"/>
                  <a:gd name="connsiteY1296" fmla="*/ 347895 h 960849"/>
                  <a:gd name="connsiteX1297" fmla="*/ 537137 w 1315299"/>
                  <a:gd name="connsiteY1297" fmla="*/ 348831 h 960849"/>
                  <a:gd name="connsiteX1298" fmla="*/ 534340 w 1315299"/>
                  <a:gd name="connsiteY1298" fmla="*/ 304781 h 960849"/>
                  <a:gd name="connsiteX1299" fmla="*/ 537137 w 1315299"/>
                  <a:gd name="connsiteY1299" fmla="*/ 302907 h 960849"/>
                  <a:gd name="connsiteX1300" fmla="*/ 542777 w 1315299"/>
                  <a:gd name="connsiteY1300" fmla="*/ 302907 h 960849"/>
                  <a:gd name="connsiteX1301" fmla="*/ 544649 w 1315299"/>
                  <a:gd name="connsiteY1301" fmla="*/ 303845 h 960849"/>
                  <a:gd name="connsiteX1302" fmla="*/ 542777 w 1315299"/>
                  <a:gd name="connsiteY1302" fmla="*/ 304781 h 960849"/>
                  <a:gd name="connsiteX1303" fmla="*/ 534340 w 1315299"/>
                  <a:gd name="connsiteY1303" fmla="*/ 304781 h 960849"/>
                  <a:gd name="connsiteX1304" fmla="*/ 546522 w 1315299"/>
                  <a:gd name="connsiteY1304" fmla="*/ 348831 h 960849"/>
                  <a:gd name="connsiteX1305" fmla="*/ 545574 w 1315299"/>
                  <a:gd name="connsiteY1305" fmla="*/ 351644 h 960849"/>
                  <a:gd name="connsiteX1306" fmla="*/ 544649 w 1315299"/>
                  <a:gd name="connsiteY1306" fmla="*/ 350708 h 960849"/>
                  <a:gd name="connsiteX1307" fmla="*/ 546522 w 1315299"/>
                  <a:gd name="connsiteY1307" fmla="*/ 348831 h 960849"/>
                  <a:gd name="connsiteX1308" fmla="*/ 548394 w 1315299"/>
                  <a:gd name="connsiteY1308" fmla="*/ 346959 h 960849"/>
                  <a:gd name="connsiteX1309" fmla="*/ 549319 w 1315299"/>
                  <a:gd name="connsiteY1309" fmla="*/ 347895 h 960849"/>
                  <a:gd name="connsiteX1310" fmla="*/ 546522 w 1315299"/>
                  <a:gd name="connsiteY1310" fmla="*/ 348831 h 960849"/>
                  <a:gd name="connsiteX1311" fmla="*/ 588685 w 1315299"/>
                  <a:gd name="connsiteY1311" fmla="*/ 285101 h 960849"/>
                  <a:gd name="connsiteX1312" fmla="*/ 588685 w 1315299"/>
                  <a:gd name="connsiteY1312" fmla="*/ 284162 h 960849"/>
                  <a:gd name="connsiteX1313" fmla="*/ 589633 w 1315299"/>
                  <a:gd name="connsiteY1313" fmla="*/ 282288 h 960849"/>
                  <a:gd name="connsiteX1314" fmla="*/ 588685 w 1315299"/>
                  <a:gd name="connsiteY1314" fmla="*/ 285101 h 960849"/>
                  <a:gd name="connsiteX1315" fmla="*/ 592430 w 1315299"/>
                  <a:gd name="connsiteY1315" fmla="*/ 280415 h 960849"/>
                  <a:gd name="connsiteX1316" fmla="*/ 592430 w 1315299"/>
                  <a:gd name="connsiteY1316" fmla="*/ 281351 h 960849"/>
                  <a:gd name="connsiteX1317" fmla="*/ 590558 w 1315299"/>
                  <a:gd name="connsiteY1317" fmla="*/ 281351 h 960849"/>
                  <a:gd name="connsiteX1318" fmla="*/ 592430 w 1315299"/>
                  <a:gd name="connsiteY1318" fmla="*/ 280415 h 960849"/>
                  <a:gd name="connsiteX1319" fmla="*/ 654288 w 1315299"/>
                  <a:gd name="connsiteY1319" fmla="*/ 297285 h 960849"/>
                  <a:gd name="connsiteX1320" fmla="*/ 641181 w 1315299"/>
                  <a:gd name="connsiteY1320" fmla="*/ 299160 h 960849"/>
                  <a:gd name="connsiteX1321" fmla="*/ 625254 w 1315299"/>
                  <a:gd name="connsiteY1321" fmla="*/ 301034 h 960849"/>
                  <a:gd name="connsiteX1322" fmla="*/ 617742 w 1315299"/>
                  <a:gd name="connsiteY1322" fmla="*/ 302907 h 960849"/>
                  <a:gd name="connsiteX1323" fmla="*/ 606507 w 1315299"/>
                  <a:gd name="connsiteY1323" fmla="*/ 303845 h 960849"/>
                  <a:gd name="connsiteX1324" fmla="*/ 598995 w 1315299"/>
                  <a:gd name="connsiteY1324" fmla="*/ 304781 h 960849"/>
                  <a:gd name="connsiteX1325" fmla="*/ 595250 w 1315299"/>
                  <a:gd name="connsiteY1325" fmla="*/ 304781 h 960849"/>
                  <a:gd name="connsiteX1326" fmla="*/ 592430 w 1315299"/>
                  <a:gd name="connsiteY1326" fmla="*/ 303845 h 960849"/>
                  <a:gd name="connsiteX1327" fmla="*/ 592430 w 1315299"/>
                  <a:gd name="connsiteY1327" fmla="*/ 302907 h 960849"/>
                  <a:gd name="connsiteX1328" fmla="*/ 595250 w 1315299"/>
                  <a:gd name="connsiteY1328" fmla="*/ 300096 h 960849"/>
                  <a:gd name="connsiteX1329" fmla="*/ 602740 w 1315299"/>
                  <a:gd name="connsiteY1329" fmla="*/ 297285 h 960849"/>
                  <a:gd name="connsiteX1330" fmla="*/ 617742 w 1315299"/>
                  <a:gd name="connsiteY1330" fmla="*/ 295410 h 960849"/>
                  <a:gd name="connsiteX1331" fmla="*/ 623359 w 1315299"/>
                  <a:gd name="connsiteY1331" fmla="*/ 293536 h 960849"/>
                  <a:gd name="connsiteX1332" fmla="*/ 638361 w 1315299"/>
                  <a:gd name="connsiteY1332" fmla="*/ 293536 h 960849"/>
                  <a:gd name="connsiteX1333" fmla="*/ 654288 w 1315299"/>
                  <a:gd name="connsiteY1333" fmla="*/ 296347 h 960849"/>
                  <a:gd name="connsiteX1334" fmla="*/ 656183 w 1315299"/>
                  <a:gd name="connsiteY1334" fmla="*/ 297285 h 960849"/>
                  <a:gd name="connsiteX1335" fmla="*/ 654288 w 1315299"/>
                  <a:gd name="connsiteY1335" fmla="*/ 297285 h 960849"/>
                  <a:gd name="connsiteX1336" fmla="*/ 687112 w 1315299"/>
                  <a:gd name="connsiteY1336" fmla="*/ 272916 h 960849"/>
                  <a:gd name="connsiteX1337" fmla="*/ 688037 w 1315299"/>
                  <a:gd name="connsiteY1337" fmla="*/ 272916 h 960849"/>
                  <a:gd name="connsiteX1338" fmla="*/ 688984 w 1315299"/>
                  <a:gd name="connsiteY1338" fmla="*/ 273855 h 960849"/>
                  <a:gd name="connsiteX1339" fmla="*/ 688037 w 1315299"/>
                  <a:gd name="connsiteY1339" fmla="*/ 274791 h 960849"/>
                  <a:gd name="connsiteX1340" fmla="*/ 685217 w 1315299"/>
                  <a:gd name="connsiteY1340" fmla="*/ 273855 h 960849"/>
                  <a:gd name="connsiteX1341" fmla="*/ 687112 w 1315299"/>
                  <a:gd name="connsiteY1341" fmla="*/ 272916 h 960849"/>
                  <a:gd name="connsiteX1342" fmla="*/ 711476 w 1315299"/>
                  <a:gd name="connsiteY1342" fmla="*/ 287912 h 960849"/>
                  <a:gd name="connsiteX1343" fmla="*/ 709604 w 1315299"/>
                  <a:gd name="connsiteY1343" fmla="*/ 288850 h 960849"/>
                  <a:gd name="connsiteX1344" fmla="*/ 692729 w 1315299"/>
                  <a:gd name="connsiteY1344" fmla="*/ 291661 h 960849"/>
                  <a:gd name="connsiteX1345" fmla="*/ 687112 w 1315299"/>
                  <a:gd name="connsiteY1345" fmla="*/ 291661 h 960849"/>
                  <a:gd name="connsiteX1346" fmla="*/ 671163 w 1315299"/>
                  <a:gd name="connsiteY1346" fmla="*/ 295410 h 960849"/>
                  <a:gd name="connsiteX1347" fmla="*/ 665545 w 1315299"/>
                  <a:gd name="connsiteY1347" fmla="*/ 295410 h 960849"/>
                  <a:gd name="connsiteX1348" fmla="*/ 661800 w 1315299"/>
                  <a:gd name="connsiteY1348" fmla="*/ 293536 h 960849"/>
                  <a:gd name="connsiteX1349" fmla="*/ 662725 w 1315299"/>
                  <a:gd name="connsiteY1349" fmla="*/ 292597 h 960849"/>
                  <a:gd name="connsiteX1350" fmla="*/ 674908 w 1315299"/>
                  <a:gd name="connsiteY1350" fmla="*/ 288850 h 960849"/>
                  <a:gd name="connsiteX1351" fmla="*/ 688037 w 1315299"/>
                  <a:gd name="connsiteY1351" fmla="*/ 286037 h 960849"/>
                  <a:gd name="connsiteX1352" fmla="*/ 694602 w 1315299"/>
                  <a:gd name="connsiteY1352" fmla="*/ 284164 h 960849"/>
                  <a:gd name="connsiteX1353" fmla="*/ 700219 w 1315299"/>
                  <a:gd name="connsiteY1353" fmla="*/ 284164 h 960849"/>
                  <a:gd name="connsiteX1354" fmla="*/ 711476 w 1315299"/>
                  <a:gd name="connsiteY1354" fmla="*/ 284164 h 960849"/>
                  <a:gd name="connsiteX1355" fmla="*/ 714274 w 1315299"/>
                  <a:gd name="connsiteY1355" fmla="*/ 285101 h 960849"/>
                  <a:gd name="connsiteX1356" fmla="*/ 711476 w 1315299"/>
                  <a:gd name="connsiteY1356" fmla="*/ 287912 h 960849"/>
                  <a:gd name="connsiteX1357" fmla="*/ 715221 w 1315299"/>
                  <a:gd name="connsiteY1357" fmla="*/ 271042 h 960849"/>
                  <a:gd name="connsiteX1358" fmla="*/ 709604 w 1315299"/>
                  <a:gd name="connsiteY1358" fmla="*/ 271042 h 960849"/>
                  <a:gd name="connsiteX1359" fmla="*/ 711476 w 1315299"/>
                  <a:gd name="connsiteY1359" fmla="*/ 268231 h 960849"/>
                  <a:gd name="connsiteX1360" fmla="*/ 715221 w 1315299"/>
                  <a:gd name="connsiteY1360" fmla="*/ 270103 h 960849"/>
                  <a:gd name="connsiteX1361" fmla="*/ 715221 w 1315299"/>
                  <a:gd name="connsiteY1361" fmla="*/ 271042 h 960849"/>
                  <a:gd name="connsiteX1362" fmla="*/ 734893 w 1315299"/>
                  <a:gd name="connsiteY1362" fmla="*/ 282288 h 960849"/>
                  <a:gd name="connsiteX1363" fmla="*/ 732095 w 1315299"/>
                  <a:gd name="connsiteY1363" fmla="*/ 284164 h 960849"/>
                  <a:gd name="connsiteX1364" fmla="*/ 720838 w 1315299"/>
                  <a:gd name="connsiteY1364" fmla="*/ 285101 h 960849"/>
                  <a:gd name="connsiteX1365" fmla="*/ 718966 w 1315299"/>
                  <a:gd name="connsiteY1365" fmla="*/ 284164 h 960849"/>
                  <a:gd name="connsiteX1366" fmla="*/ 720838 w 1315299"/>
                  <a:gd name="connsiteY1366" fmla="*/ 282288 h 960849"/>
                  <a:gd name="connsiteX1367" fmla="*/ 734893 w 1315299"/>
                  <a:gd name="connsiteY1367" fmla="*/ 282288 h 960849"/>
                  <a:gd name="connsiteX1368" fmla="*/ 735840 w 1315299"/>
                  <a:gd name="connsiteY1368" fmla="*/ 280415 h 960849"/>
                  <a:gd name="connsiteX1369" fmla="*/ 736765 w 1315299"/>
                  <a:gd name="connsiteY1369" fmla="*/ 281351 h 960849"/>
                  <a:gd name="connsiteX1370" fmla="*/ 734893 w 1315299"/>
                  <a:gd name="connsiteY1370" fmla="*/ 282288 h 960849"/>
                  <a:gd name="connsiteX1371" fmla="*/ 735840 w 1315299"/>
                  <a:gd name="connsiteY1371" fmla="*/ 267292 h 960849"/>
                  <a:gd name="connsiteX1372" fmla="*/ 735840 w 1315299"/>
                  <a:gd name="connsiteY1372" fmla="*/ 266356 h 960849"/>
                  <a:gd name="connsiteX1373" fmla="*/ 736765 w 1315299"/>
                  <a:gd name="connsiteY1373" fmla="*/ 267292 h 960849"/>
                  <a:gd name="connsiteX1374" fmla="*/ 735840 w 1315299"/>
                  <a:gd name="connsiteY1374" fmla="*/ 267292 h 960849"/>
                  <a:gd name="connsiteX1375" fmla="*/ 755512 w 1315299"/>
                  <a:gd name="connsiteY1375" fmla="*/ 262607 h 960849"/>
                  <a:gd name="connsiteX1376" fmla="*/ 769589 w 1315299"/>
                  <a:gd name="connsiteY1376" fmla="*/ 263543 h 960849"/>
                  <a:gd name="connsiteX1377" fmla="*/ 753640 w 1315299"/>
                  <a:gd name="connsiteY1377" fmla="*/ 263543 h 960849"/>
                  <a:gd name="connsiteX1378" fmla="*/ 755512 w 1315299"/>
                  <a:gd name="connsiteY1378" fmla="*/ 262607 h 960849"/>
                  <a:gd name="connsiteX1379" fmla="*/ 755512 w 1315299"/>
                  <a:gd name="connsiteY1379" fmla="*/ 281351 h 960849"/>
                  <a:gd name="connsiteX1380" fmla="*/ 748022 w 1315299"/>
                  <a:gd name="connsiteY1380" fmla="*/ 281351 h 960849"/>
                  <a:gd name="connsiteX1381" fmla="*/ 747075 w 1315299"/>
                  <a:gd name="connsiteY1381" fmla="*/ 281351 h 960849"/>
                  <a:gd name="connsiteX1382" fmla="*/ 748022 w 1315299"/>
                  <a:gd name="connsiteY1382" fmla="*/ 278540 h 960849"/>
                  <a:gd name="connsiteX1383" fmla="*/ 757385 w 1315299"/>
                  <a:gd name="connsiteY1383" fmla="*/ 278540 h 960849"/>
                  <a:gd name="connsiteX1384" fmla="*/ 755512 w 1315299"/>
                  <a:gd name="connsiteY1384" fmla="*/ 281351 h 960849"/>
                  <a:gd name="connsiteX1385" fmla="*/ 786441 w 1315299"/>
                  <a:gd name="connsiteY1385" fmla="*/ 277602 h 960849"/>
                  <a:gd name="connsiteX1386" fmla="*/ 783643 w 1315299"/>
                  <a:gd name="connsiteY1386" fmla="*/ 278540 h 960849"/>
                  <a:gd name="connsiteX1387" fmla="*/ 758332 w 1315299"/>
                  <a:gd name="connsiteY1387" fmla="*/ 278540 h 960849"/>
                  <a:gd name="connsiteX1388" fmla="*/ 759279 w 1315299"/>
                  <a:gd name="connsiteY1388" fmla="*/ 276666 h 960849"/>
                  <a:gd name="connsiteX1389" fmla="*/ 764897 w 1315299"/>
                  <a:gd name="connsiteY1389" fmla="*/ 274791 h 960849"/>
                  <a:gd name="connsiteX1390" fmla="*/ 787389 w 1315299"/>
                  <a:gd name="connsiteY1390" fmla="*/ 274791 h 960849"/>
                  <a:gd name="connsiteX1391" fmla="*/ 786441 w 1315299"/>
                  <a:gd name="connsiteY1391" fmla="*/ 277602 h 960849"/>
                  <a:gd name="connsiteX1392" fmla="*/ 788314 w 1315299"/>
                  <a:gd name="connsiteY1392" fmla="*/ 260732 h 960849"/>
                  <a:gd name="connsiteX1393" fmla="*/ 778951 w 1315299"/>
                  <a:gd name="connsiteY1393" fmla="*/ 262607 h 960849"/>
                  <a:gd name="connsiteX1394" fmla="*/ 776132 w 1315299"/>
                  <a:gd name="connsiteY1394" fmla="*/ 259796 h 960849"/>
                  <a:gd name="connsiteX1395" fmla="*/ 777079 w 1315299"/>
                  <a:gd name="connsiteY1395" fmla="*/ 259796 h 960849"/>
                  <a:gd name="connsiteX1396" fmla="*/ 783643 w 1315299"/>
                  <a:gd name="connsiteY1396" fmla="*/ 258857 h 960849"/>
                  <a:gd name="connsiteX1397" fmla="*/ 788314 w 1315299"/>
                  <a:gd name="connsiteY1397" fmla="*/ 259796 h 960849"/>
                  <a:gd name="connsiteX1398" fmla="*/ 790208 w 1315299"/>
                  <a:gd name="connsiteY1398" fmla="*/ 259796 h 960849"/>
                  <a:gd name="connsiteX1399" fmla="*/ 788314 w 1315299"/>
                  <a:gd name="connsiteY1399" fmla="*/ 260732 h 960849"/>
                  <a:gd name="connsiteX1400" fmla="*/ 827680 w 1315299"/>
                  <a:gd name="connsiteY1400" fmla="*/ 258857 h 960849"/>
                  <a:gd name="connsiteX1401" fmla="*/ 805188 w 1315299"/>
                  <a:gd name="connsiteY1401" fmla="*/ 258857 h 960849"/>
                  <a:gd name="connsiteX1402" fmla="*/ 803316 w 1315299"/>
                  <a:gd name="connsiteY1402" fmla="*/ 256985 h 960849"/>
                  <a:gd name="connsiteX1403" fmla="*/ 805188 w 1315299"/>
                  <a:gd name="connsiteY1403" fmla="*/ 256046 h 960849"/>
                  <a:gd name="connsiteX1404" fmla="*/ 831447 w 1315299"/>
                  <a:gd name="connsiteY1404" fmla="*/ 256046 h 960849"/>
                  <a:gd name="connsiteX1405" fmla="*/ 827680 w 1315299"/>
                  <a:gd name="connsiteY1405" fmla="*/ 258857 h 960849"/>
                  <a:gd name="connsiteX1406" fmla="*/ 887665 w 1315299"/>
                  <a:gd name="connsiteY1406" fmla="*/ 251361 h 960849"/>
                  <a:gd name="connsiteX1407" fmla="*/ 871738 w 1315299"/>
                  <a:gd name="connsiteY1407" fmla="*/ 252297 h 960849"/>
                  <a:gd name="connsiteX1408" fmla="*/ 870791 w 1315299"/>
                  <a:gd name="connsiteY1408" fmla="*/ 255110 h 960849"/>
                  <a:gd name="connsiteX1409" fmla="*/ 832372 w 1315299"/>
                  <a:gd name="connsiteY1409" fmla="*/ 255110 h 960849"/>
                  <a:gd name="connsiteX1410" fmla="*/ 834245 w 1315299"/>
                  <a:gd name="connsiteY1410" fmla="*/ 253233 h 960849"/>
                  <a:gd name="connsiteX1411" fmla="*/ 835192 w 1315299"/>
                  <a:gd name="connsiteY1411" fmla="*/ 252297 h 960849"/>
                  <a:gd name="connsiteX1412" fmla="*/ 871738 w 1315299"/>
                  <a:gd name="connsiteY1412" fmla="*/ 252297 h 960849"/>
                  <a:gd name="connsiteX1413" fmla="*/ 874558 w 1315299"/>
                  <a:gd name="connsiteY1413" fmla="*/ 249486 h 960849"/>
                  <a:gd name="connsiteX1414" fmla="*/ 887665 w 1315299"/>
                  <a:gd name="connsiteY1414" fmla="*/ 248548 h 960849"/>
                  <a:gd name="connsiteX1415" fmla="*/ 890485 w 1315299"/>
                  <a:gd name="connsiteY1415" fmla="*/ 249486 h 960849"/>
                  <a:gd name="connsiteX1416" fmla="*/ 887665 w 1315299"/>
                  <a:gd name="connsiteY1416" fmla="*/ 251361 h 960849"/>
                  <a:gd name="connsiteX1417" fmla="*/ 916722 w 1315299"/>
                  <a:gd name="connsiteY1417" fmla="*/ 267294 h 960849"/>
                  <a:gd name="connsiteX1418" fmla="*/ 918594 w 1315299"/>
                  <a:gd name="connsiteY1418" fmla="*/ 266356 h 960849"/>
                  <a:gd name="connsiteX1419" fmla="*/ 916722 w 1315299"/>
                  <a:gd name="connsiteY1419" fmla="*/ 267294 h 960849"/>
                  <a:gd name="connsiteX1420" fmla="*/ 929851 w 1315299"/>
                  <a:gd name="connsiteY1420" fmla="*/ 245737 h 960849"/>
                  <a:gd name="connsiteX1421" fmla="*/ 930776 w 1315299"/>
                  <a:gd name="connsiteY1421" fmla="*/ 247611 h 960849"/>
                  <a:gd name="connsiteX1422" fmla="*/ 927978 w 1315299"/>
                  <a:gd name="connsiteY1422" fmla="*/ 248548 h 960849"/>
                  <a:gd name="connsiteX1423" fmla="*/ 927031 w 1315299"/>
                  <a:gd name="connsiteY1423" fmla="*/ 247611 h 960849"/>
                  <a:gd name="connsiteX1424" fmla="*/ 929851 w 1315299"/>
                  <a:gd name="connsiteY1424" fmla="*/ 245737 h 960849"/>
                  <a:gd name="connsiteX1425" fmla="*/ 923286 w 1315299"/>
                  <a:gd name="connsiteY1425" fmla="*/ 267294 h 960849"/>
                  <a:gd name="connsiteX1426" fmla="*/ 919541 w 1315299"/>
                  <a:gd name="connsiteY1426" fmla="*/ 264481 h 960849"/>
                  <a:gd name="connsiteX1427" fmla="*/ 920467 w 1315299"/>
                  <a:gd name="connsiteY1427" fmla="*/ 262607 h 960849"/>
                  <a:gd name="connsiteX1428" fmla="*/ 929851 w 1315299"/>
                  <a:gd name="connsiteY1428" fmla="*/ 259796 h 960849"/>
                  <a:gd name="connsiteX1429" fmla="*/ 930776 w 1315299"/>
                  <a:gd name="connsiteY1429" fmla="*/ 260732 h 960849"/>
                  <a:gd name="connsiteX1430" fmla="*/ 931723 w 1315299"/>
                  <a:gd name="connsiteY1430" fmla="*/ 262607 h 960849"/>
                  <a:gd name="connsiteX1431" fmla="*/ 923286 w 1315299"/>
                  <a:gd name="connsiteY1431" fmla="*/ 267294 h 960849"/>
                  <a:gd name="connsiteX1432" fmla="*/ 656183 w 1315299"/>
                  <a:gd name="connsiteY1432" fmla="*/ 880245 h 960849"/>
                  <a:gd name="connsiteX1433" fmla="*/ 655235 w 1315299"/>
                  <a:gd name="connsiteY1433" fmla="*/ 880245 h 960849"/>
                  <a:gd name="connsiteX1434" fmla="*/ 656183 w 1315299"/>
                  <a:gd name="connsiteY1434" fmla="*/ 879309 h 960849"/>
                  <a:gd name="connsiteX1435" fmla="*/ 656183 w 1315299"/>
                  <a:gd name="connsiteY1435" fmla="*/ 880245 h 960849"/>
                  <a:gd name="connsiteX1436" fmla="*/ 654288 w 1315299"/>
                  <a:gd name="connsiteY1436" fmla="*/ 857753 h 960849"/>
                  <a:gd name="connsiteX1437" fmla="*/ 655235 w 1315299"/>
                  <a:gd name="connsiteY1437" fmla="*/ 854002 h 960849"/>
                  <a:gd name="connsiteX1438" fmla="*/ 655235 w 1315299"/>
                  <a:gd name="connsiteY1438" fmla="*/ 853065 h 960849"/>
                  <a:gd name="connsiteX1439" fmla="*/ 656183 w 1315299"/>
                  <a:gd name="connsiteY1439" fmla="*/ 854940 h 960849"/>
                  <a:gd name="connsiteX1440" fmla="*/ 654288 w 1315299"/>
                  <a:gd name="connsiteY1440" fmla="*/ 857753 h 960849"/>
                  <a:gd name="connsiteX1441" fmla="*/ 658980 w 1315299"/>
                  <a:gd name="connsiteY1441" fmla="*/ 906482 h 960849"/>
                  <a:gd name="connsiteX1442" fmla="*/ 658980 w 1315299"/>
                  <a:gd name="connsiteY1442" fmla="*/ 904609 h 960849"/>
                  <a:gd name="connsiteX1443" fmla="*/ 659928 w 1315299"/>
                  <a:gd name="connsiteY1443" fmla="*/ 904609 h 960849"/>
                  <a:gd name="connsiteX1444" fmla="*/ 658980 w 1315299"/>
                  <a:gd name="connsiteY1444" fmla="*/ 906482 h 960849"/>
                  <a:gd name="connsiteX1445" fmla="*/ 740533 w 1315299"/>
                  <a:gd name="connsiteY1445" fmla="*/ 905557 h 960849"/>
                  <a:gd name="connsiteX1446" fmla="*/ 739585 w 1315299"/>
                  <a:gd name="connsiteY1446" fmla="*/ 908354 h 960849"/>
                  <a:gd name="connsiteX1447" fmla="*/ 738660 w 1315299"/>
                  <a:gd name="connsiteY1447" fmla="*/ 906482 h 960849"/>
                  <a:gd name="connsiteX1448" fmla="*/ 740533 w 1315299"/>
                  <a:gd name="connsiteY1448" fmla="*/ 905557 h 960849"/>
                  <a:gd name="connsiteX1449" fmla="*/ 667418 w 1315299"/>
                  <a:gd name="connsiteY1449" fmla="*/ 835257 h 960849"/>
                  <a:gd name="connsiteX1450" fmla="*/ 670237 w 1315299"/>
                  <a:gd name="connsiteY1450" fmla="*/ 831510 h 960849"/>
                  <a:gd name="connsiteX1451" fmla="*/ 670237 w 1315299"/>
                  <a:gd name="connsiteY1451" fmla="*/ 839006 h 960849"/>
                  <a:gd name="connsiteX1452" fmla="*/ 669290 w 1315299"/>
                  <a:gd name="connsiteY1452" fmla="*/ 839945 h 960849"/>
                  <a:gd name="connsiteX1453" fmla="*/ 667418 w 1315299"/>
                  <a:gd name="connsiteY1453" fmla="*/ 839006 h 960849"/>
                  <a:gd name="connsiteX1454" fmla="*/ 667418 w 1315299"/>
                  <a:gd name="connsiteY1454" fmla="*/ 835257 h 960849"/>
                  <a:gd name="connsiteX1455" fmla="*/ 663673 w 1315299"/>
                  <a:gd name="connsiteY1455" fmla="*/ 884931 h 960849"/>
                  <a:gd name="connsiteX1456" fmla="*/ 662725 w 1315299"/>
                  <a:gd name="connsiteY1456" fmla="*/ 886805 h 960849"/>
                  <a:gd name="connsiteX1457" fmla="*/ 661800 w 1315299"/>
                  <a:gd name="connsiteY1457" fmla="*/ 886805 h 960849"/>
                  <a:gd name="connsiteX1458" fmla="*/ 661800 w 1315299"/>
                  <a:gd name="connsiteY1458" fmla="*/ 881184 h 960849"/>
                  <a:gd name="connsiteX1459" fmla="*/ 663673 w 1315299"/>
                  <a:gd name="connsiteY1459" fmla="*/ 879309 h 960849"/>
                  <a:gd name="connsiteX1460" fmla="*/ 663673 w 1315299"/>
                  <a:gd name="connsiteY1460" fmla="*/ 884931 h 960849"/>
                  <a:gd name="connsiteX1461" fmla="*/ 670237 w 1315299"/>
                  <a:gd name="connsiteY1461" fmla="*/ 864311 h 960849"/>
                  <a:gd name="connsiteX1462" fmla="*/ 666492 w 1315299"/>
                  <a:gd name="connsiteY1462" fmla="*/ 876496 h 960849"/>
                  <a:gd name="connsiteX1463" fmla="*/ 663673 w 1315299"/>
                  <a:gd name="connsiteY1463" fmla="*/ 877434 h 960849"/>
                  <a:gd name="connsiteX1464" fmla="*/ 663673 w 1315299"/>
                  <a:gd name="connsiteY1464" fmla="*/ 865250 h 960849"/>
                  <a:gd name="connsiteX1465" fmla="*/ 661800 w 1315299"/>
                  <a:gd name="connsiteY1465" fmla="*/ 861501 h 960849"/>
                  <a:gd name="connsiteX1466" fmla="*/ 662725 w 1315299"/>
                  <a:gd name="connsiteY1466" fmla="*/ 858690 h 960849"/>
                  <a:gd name="connsiteX1467" fmla="*/ 663673 w 1315299"/>
                  <a:gd name="connsiteY1467" fmla="*/ 860564 h 960849"/>
                  <a:gd name="connsiteX1468" fmla="*/ 663673 w 1315299"/>
                  <a:gd name="connsiteY1468" fmla="*/ 865250 h 960849"/>
                  <a:gd name="connsiteX1469" fmla="*/ 667418 w 1315299"/>
                  <a:gd name="connsiteY1469" fmla="*/ 860564 h 960849"/>
                  <a:gd name="connsiteX1470" fmla="*/ 669290 w 1315299"/>
                  <a:gd name="connsiteY1470" fmla="*/ 860564 h 960849"/>
                  <a:gd name="connsiteX1471" fmla="*/ 670237 w 1315299"/>
                  <a:gd name="connsiteY1471" fmla="*/ 862439 h 960849"/>
                  <a:gd name="connsiteX1472" fmla="*/ 670237 w 1315299"/>
                  <a:gd name="connsiteY1472" fmla="*/ 864311 h 960849"/>
                  <a:gd name="connsiteX1473" fmla="*/ 673982 w 1315299"/>
                  <a:gd name="connsiteY1473" fmla="*/ 851191 h 960849"/>
                  <a:gd name="connsiteX1474" fmla="*/ 673035 w 1315299"/>
                  <a:gd name="connsiteY1474" fmla="*/ 854002 h 960849"/>
                  <a:gd name="connsiteX1475" fmla="*/ 671163 w 1315299"/>
                  <a:gd name="connsiteY1475" fmla="*/ 850255 h 960849"/>
                  <a:gd name="connsiteX1476" fmla="*/ 671163 w 1315299"/>
                  <a:gd name="connsiteY1476" fmla="*/ 848380 h 960849"/>
                  <a:gd name="connsiteX1477" fmla="*/ 673035 w 1315299"/>
                  <a:gd name="connsiteY1477" fmla="*/ 846505 h 960849"/>
                  <a:gd name="connsiteX1478" fmla="*/ 673982 w 1315299"/>
                  <a:gd name="connsiteY1478" fmla="*/ 850255 h 960849"/>
                  <a:gd name="connsiteX1479" fmla="*/ 673982 w 1315299"/>
                  <a:gd name="connsiteY1479" fmla="*/ 851191 h 960849"/>
                  <a:gd name="connsiteX1480" fmla="*/ 680547 w 1315299"/>
                  <a:gd name="connsiteY1480" fmla="*/ 829635 h 960849"/>
                  <a:gd name="connsiteX1481" fmla="*/ 677727 w 1315299"/>
                  <a:gd name="connsiteY1481" fmla="*/ 835257 h 960849"/>
                  <a:gd name="connsiteX1482" fmla="*/ 676802 w 1315299"/>
                  <a:gd name="connsiteY1482" fmla="*/ 839006 h 960849"/>
                  <a:gd name="connsiteX1483" fmla="*/ 676802 w 1315299"/>
                  <a:gd name="connsiteY1483" fmla="*/ 839945 h 960849"/>
                  <a:gd name="connsiteX1484" fmla="*/ 674908 w 1315299"/>
                  <a:gd name="connsiteY1484" fmla="*/ 837132 h 960849"/>
                  <a:gd name="connsiteX1485" fmla="*/ 677727 w 1315299"/>
                  <a:gd name="connsiteY1485" fmla="*/ 835257 h 960849"/>
                  <a:gd name="connsiteX1486" fmla="*/ 677727 w 1315299"/>
                  <a:gd name="connsiteY1486" fmla="*/ 828697 h 960849"/>
                  <a:gd name="connsiteX1487" fmla="*/ 680547 w 1315299"/>
                  <a:gd name="connsiteY1487" fmla="*/ 824947 h 960849"/>
                  <a:gd name="connsiteX1488" fmla="*/ 680547 w 1315299"/>
                  <a:gd name="connsiteY1488" fmla="*/ 829635 h 960849"/>
                  <a:gd name="connsiteX1489" fmla="*/ 681472 w 1315299"/>
                  <a:gd name="connsiteY1489" fmla="*/ 824947 h 960849"/>
                  <a:gd name="connsiteX1490" fmla="*/ 681472 w 1315299"/>
                  <a:gd name="connsiteY1490" fmla="*/ 820262 h 960849"/>
                  <a:gd name="connsiteX1491" fmla="*/ 682420 w 1315299"/>
                  <a:gd name="connsiteY1491" fmla="*/ 818387 h 960849"/>
                  <a:gd name="connsiteX1492" fmla="*/ 684292 w 1315299"/>
                  <a:gd name="connsiteY1492" fmla="*/ 821198 h 960849"/>
                  <a:gd name="connsiteX1493" fmla="*/ 681472 w 1315299"/>
                  <a:gd name="connsiteY1493" fmla="*/ 824947 h 960849"/>
                  <a:gd name="connsiteX1494" fmla="*/ 705836 w 1315299"/>
                  <a:gd name="connsiteY1494" fmla="*/ 779962 h 960849"/>
                  <a:gd name="connsiteX1495" fmla="*/ 705836 w 1315299"/>
                  <a:gd name="connsiteY1495" fmla="*/ 778087 h 960849"/>
                  <a:gd name="connsiteX1496" fmla="*/ 706784 w 1315299"/>
                  <a:gd name="connsiteY1496" fmla="*/ 779962 h 960849"/>
                  <a:gd name="connsiteX1497" fmla="*/ 705836 w 1315299"/>
                  <a:gd name="connsiteY1497" fmla="*/ 779962 h 960849"/>
                  <a:gd name="connsiteX1498" fmla="*/ 898922 w 1315299"/>
                  <a:gd name="connsiteY1498" fmla="*/ 373200 h 960849"/>
                  <a:gd name="connsiteX1499" fmla="*/ 901720 w 1315299"/>
                  <a:gd name="connsiteY1499" fmla="*/ 369453 h 960849"/>
                  <a:gd name="connsiteX1500" fmla="*/ 902667 w 1315299"/>
                  <a:gd name="connsiteY1500" fmla="*/ 366639 h 960849"/>
                  <a:gd name="connsiteX1501" fmla="*/ 904540 w 1315299"/>
                  <a:gd name="connsiteY1501" fmla="*/ 368514 h 960849"/>
                  <a:gd name="connsiteX1502" fmla="*/ 901720 w 1315299"/>
                  <a:gd name="connsiteY1502" fmla="*/ 369453 h 960849"/>
                  <a:gd name="connsiteX1503" fmla="*/ 901720 w 1315299"/>
                  <a:gd name="connsiteY1503" fmla="*/ 372263 h 960849"/>
                  <a:gd name="connsiteX1504" fmla="*/ 898922 w 1315299"/>
                  <a:gd name="connsiteY1504" fmla="*/ 376013 h 960849"/>
                  <a:gd name="connsiteX1505" fmla="*/ 898922 w 1315299"/>
                  <a:gd name="connsiteY1505" fmla="*/ 373200 h 960849"/>
                  <a:gd name="connsiteX1506" fmla="*/ 895177 w 1315299"/>
                  <a:gd name="connsiteY1506" fmla="*/ 379762 h 960849"/>
                  <a:gd name="connsiteX1507" fmla="*/ 897975 w 1315299"/>
                  <a:gd name="connsiteY1507" fmla="*/ 376013 h 960849"/>
                  <a:gd name="connsiteX1508" fmla="*/ 895177 w 1315299"/>
                  <a:gd name="connsiteY1508" fmla="*/ 379762 h 960849"/>
                  <a:gd name="connsiteX1509" fmla="*/ 891410 w 1315299"/>
                  <a:gd name="connsiteY1509" fmla="*/ 381637 h 960849"/>
                  <a:gd name="connsiteX1510" fmla="*/ 895177 w 1315299"/>
                  <a:gd name="connsiteY1510" fmla="*/ 379762 h 960849"/>
                  <a:gd name="connsiteX1511" fmla="*/ 891410 w 1315299"/>
                  <a:gd name="connsiteY1511" fmla="*/ 383509 h 960849"/>
                  <a:gd name="connsiteX1512" fmla="*/ 890485 w 1315299"/>
                  <a:gd name="connsiteY1512" fmla="*/ 384448 h 960849"/>
                  <a:gd name="connsiteX1513" fmla="*/ 889538 w 1315299"/>
                  <a:gd name="connsiteY1513" fmla="*/ 384448 h 960849"/>
                  <a:gd name="connsiteX1514" fmla="*/ 891410 w 1315299"/>
                  <a:gd name="connsiteY1514" fmla="*/ 383509 h 960849"/>
                  <a:gd name="connsiteX1515" fmla="*/ 871738 w 1315299"/>
                  <a:gd name="connsiteY1515" fmla="*/ 416313 h 960849"/>
                  <a:gd name="connsiteX1516" fmla="*/ 868918 w 1315299"/>
                  <a:gd name="connsiteY1516" fmla="*/ 417251 h 960849"/>
                  <a:gd name="connsiteX1517" fmla="*/ 868918 w 1315299"/>
                  <a:gd name="connsiteY1517" fmla="*/ 414438 h 960849"/>
                  <a:gd name="connsiteX1518" fmla="*/ 871738 w 1315299"/>
                  <a:gd name="connsiteY1518" fmla="*/ 413502 h 960849"/>
                  <a:gd name="connsiteX1519" fmla="*/ 871738 w 1315299"/>
                  <a:gd name="connsiteY1519" fmla="*/ 416313 h 960849"/>
                  <a:gd name="connsiteX1520" fmla="*/ 871738 w 1315299"/>
                  <a:gd name="connsiteY1520" fmla="*/ 412566 h 960849"/>
                  <a:gd name="connsiteX1521" fmla="*/ 875483 w 1315299"/>
                  <a:gd name="connsiteY1521" fmla="*/ 409753 h 960849"/>
                  <a:gd name="connsiteX1522" fmla="*/ 876430 w 1315299"/>
                  <a:gd name="connsiteY1522" fmla="*/ 406942 h 960849"/>
                  <a:gd name="connsiteX1523" fmla="*/ 875483 w 1315299"/>
                  <a:gd name="connsiteY1523" fmla="*/ 409753 h 960849"/>
                  <a:gd name="connsiteX1524" fmla="*/ 871738 w 1315299"/>
                  <a:gd name="connsiteY1524" fmla="*/ 412566 h 960849"/>
                  <a:gd name="connsiteX1525" fmla="*/ 875483 w 1315299"/>
                  <a:gd name="connsiteY1525" fmla="*/ 421937 h 960849"/>
                  <a:gd name="connsiteX1526" fmla="*/ 878303 w 1315299"/>
                  <a:gd name="connsiteY1526" fmla="*/ 420062 h 960849"/>
                  <a:gd name="connsiteX1527" fmla="*/ 875483 w 1315299"/>
                  <a:gd name="connsiteY1527" fmla="*/ 421937 h 960849"/>
                  <a:gd name="connsiteX1528" fmla="*/ 879228 w 1315299"/>
                  <a:gd name="connsiteY1528" fmla="*/ 420062 h 960849"/>
                  <a:gd name="connsiteX1529" fmla="*/ 879228 w 1315299"/>
                  <a:gd name="connsiteY1529" fmla="*/ 417251 h 960849"/>
                  <a:gd name="connsiteX1530" fmla="*/ 882048 w 1315299"/>
                  <a:gd name="connsiteY1530" fmla="*/ 413502 h 960849"/>
                  <a:gd name="connsiteX1531" fmla="*/ 879228 w 1315299"/>
                  <a:gd name="connsiteY1531" fmla="*/ 420062 h 960849"/>
                  <a:gd name="connsiteX1532" fmla="*/ 882048 w 1315299"/>
                  <a:gd name="connsiteY1532" fmla="*/ 412566 h 960849"/>
                  <a:gd name="connsiteX1533" fmla="*/ 882973 w 1315299"/>
                  <a:gd name="connsiteY1533" fmla="*/ 409753 h 960849"/>
                  <a:gd name="connsiteX1534" fmla="*/ 883920 w 1315299"/>
                  <a:gd name="connsiteY1534" fmla="*/ 410689 h 960849"/>
                  <a:gd name="connsiteX1535" fmla="*/ 882048 w 1315299"/>
                  <a:gd name="connsiteY1535" fmla="*/ 412566 h 960849"/>
                  <a:gd name="connsiteX1536" fmla="*/ 886740 w 1315299"/>
                  <a:gd name="connsiteY1536" fmla="*/ 406003 h 960849"/>
                  <a:gd name="connsiteX1537" fmla="*/ 887665 w 1315299"/>
                  <a:gd name="connsiteY1537" fmla="*/ 403192 h 960849"/>
                  <a:gd name="connsiteX1538" fmla="*/ 886740 w 1315299"/>
                  <a:gd name="connsiteY1538" fmla="*/ 406003 h 960849"/>
                  <a:gd name="connsiteX1539" fmla="*/ 891410 w 1315299"/>
                  <a:gd name="connsiteY1539" fmla="*/ 395694 h 960849"/>
                  <a:gd name="connsiteX1540" fmla="*/ 889538 w 1315299"/>
                  <a:gd name="connsiteY1540" fmla="*/ 402256 h 960849"/>
                  <a:gd name="connsiteX1541" fmla="*/ 891410 w 1315299"/>
                  <a:gd name="connsiteY1541" fmla="*/ 395694 h 960849"/>
                  <a:gd name="connsiteX1542" fmla="*/ 895177 w 1315299"/>
                  <a:gd name="connsiteY1542" fmla="*/ 392883 h 960849"/>
                  <a:gd name="connsiteX1543" fmla="*/ 891410 w 1315299"/>
                  <a:gd name="connsiteY1543" fmla="*/ 395694 h 960849"/>
                  <a:gd name="connsiteX1544" fmla="*/ 895177 w 1315299"/>
                  <a:gd name="connsiteY1544" fmla="*/ 391947 h 960849"/>
                  <a:gd name="connsiteX1545" fmla="*/ 897975 w 1315299"/>
                  <a:gd name="connsiteY1545" fmla="*/ 389133 h 960849"/>
                  <a:gd name="connsiteX1546" fmla="*/ 895177 w 1315299"/>
                  <a:gd name="connsiteY1546" fmla="*/ 391947 h 960849"/>
                  <a:gd name="connsiteX1547" fmla="*/ 898922 w 1315299"/>
                  <a:gd name="connsiteY1547" fmla="*/ 389133 h 960849"/>
                  <a:gd name="connsiteX1548" fmla="*/ 897975 w 1315299"/>
                  <a:gd name="connsiteY1548" fmla="*/ 387259 h 960849"/>
                  <a:gd name="connsiteX1549" fmla="*/ 901720 w 1315299"/>
                  <a:gd name="connsiteY1549" fmla="*/ 383509 h 960849"/>
                  <a:gd name="connsiteX1550" fmla="*/ 898922 w 1315299"/>
                  <a:gd name="connsiteY1550" fmla="*/ 389133 h 960849"/>
                  <a:gd name="connsiteX1551" fmla="*/ 915796 w 1315299"/>
                  <a:gd name="connsiteY1551" fmla="*/ 365703 h 960849"/>
                  <a:gd name="connsiteX1552" fmla="*/ 912029 w 1315299"/>
                  <a:gd name="connsiteY1552" fmla="*/ 369453 h 960849"/>
                  <a:gd name="connsiteX1553" fmla="*/ 905487 w 1315299"/>
                  <a:gd name="connsiteY1553" fmla="*/ 379762 h 960849"/>
                  <a:gd name="connsiteX1554" fmla="*/ 901720 w 1315299"/>
                  <a:gd name="connsiteY1554" fmla="*/ 381637 h 960849"/>
                  <a:gd name="connsiteX1555" fmla="*/ 905487 w 1315299"/>
                  <a:gd name="connsiteY1555" fmla="*/ 379762 h 960849"/>
                  <a:gd name="connsiteX1556" fmla="*/ 912029 w 1315299"/>
                  <a:gd name="connsiteY1556" fmla="*/ 369453 h 960849"/>
                  <a:gd name="connsiteX1557" fmla="*/ 915796 w 1315299"/>
                  <a:gd name="connsiteY1557" fmla="*/ 362892 h 960849"/>
                  <a:gd name="connsiteX1558" fmla="*/ 915796 w 1315299"/>
                  <a:gd name="connsiteY1558" fmla="*/ 365703 h 960849"/>
                  <a:gd name="connsiteX1559" fmla="*/ 915796 w 1315299"/>
                  <a:gd name="connsiteY1559" fmla="*/ 361954 h 960849"/>
                  <a:gd name="connsiteX1560" fmla="*/ 918594 w 1315299"/>
                  <a:gd name="connsiteY1560" fmla="*/ 359143 h 960849"/>
                  <a:gd name="connsiteX1561" fmla="*/ 915796 w 1315299"/>
                  <a:gd name="connsiteY1561" fmla="*/ 361954 h 960849"/>
                  <a:gd name="connsiteX1562" fmla="*/ 927978 w 1315299"/>
                  <a:gd name="connsiteY1562" fmla="*/ 345084 h 960849"/>
                  <a:gd name="connsiteX1563" fmla="*/ 926106 w 1315299"/>
                  <a:gd name="connsiteY1563" fmla="*/ 348833 h 960849"/>
                  <a:gd name="connsiteX1564" fmla="*/ 919541 w 1315299"/>
                  <a:gd name="connsiteY1564" fmla="*/ 359143 h 960849"/>
                  <a:gd name="connsiteX1565" fmla="*/ 923286 w 1315299"/>
                  <a:gd name="connsiteY1565" fmla="*/ 348833 h 960849"/>
                  <a:gd name="connsiteX1566" fmla="*/ 926106 w 1315299"/>
                  <a:gd name="connsiteY1566" fmla="*/ 348833 h 960849"/>
                  <a:gd name="connsiteX1567" fmla="*/ 927978 w 1315299"/>
                  <a:gd name="connsiteY1567" fmla="*/ 343209 h 960849"/>
                  <a:gd name="connsiteX1568" fmla="*/ 927978 w 1315299"/>
                  <a:gd name="connsiteY1568" fmla="*/ 345084 h 960849"/>
                  <a:gd name="connsiteX1569" fmla="*/ 1015126 w 1315299"/>
                  <a:gd name="connsiteY1569" fmla="*/ 234491 h 960849"/>
                  <a:gd name="connsiteX1570" fmla="*/ 1012328 w 1315299"/>
                  <a:gd name="connsiteY1570" fmla="*/ 237302 h 960849"/>
                  <a:gd name="connsiteX1571" fmla="*/ 1010456 w 1315299"/>
                  <a:gd name="connsiteY1571" fmla="*/ 236363 h 960849"/>
                  <a:gd name="connsiteX1572" fmla="*/ 1011381 w 1315299"/>
                  <a:gd name="connsiteY1572" fmla="*/ 234491 h 960849"/>
                  <a:gd name="connsiteX1573" fmla="*/ 1015126 w 1315299"/>
                  <a:gd name="connsiteY1573" fmla="*/ 232616 h 960849"/>
                  <a:gd name="connsiteX1574" fmla="*/ 1015126 w 1315299"/>
                  <a:gd name="connsiteY1574" fmla="*/ 234491 h 960849"/>
                  <a:gd name="connsiteX1575" fmla="*/ 1012328 w 1315299"/>
                  <a:gd name="connsiteY1575" fmla="*/ 224181 h 960849"/>
                  <a:gd name="connsiteX1576" fmla="*/ 1014201 w 1315299"/>
                  <a:gd name="connsiteY1576" fmla="*/ 222307 h 960849"/>
                  <a:gd name="connsiteX1577" fmla="*/ 1012328 w 1315299"/>
                  <a:gd name="connsiteY1577" fmla="*/ 224181 h 960849"/>
                  <a:gd name="connsiteX1578" fmla="*/ 995454 w 1315299"/>
                  <a:gd name="connsiteY1578" fmla="*/ 222307 h 960849"/>
                  <a:gd name="connsiteX1579" fmla="*/ 993582 w 1315299"/>
                  <a:gd name="connsiteY1579" fmla="*/ 220432 h 960849"/>
                  <a:gd name="connsiteX1580" fmla="*/ 995454 w 1315299"/>
                  <a:gd name="connsiteY1580" fmla="*/ 219493 h 960849"/>
                  <a:gd name="connsiteX1581" fmla="*/ 1002944 w 1315299"/>
                  <a:gd name="connsiteY1581" fmla="*/ 214808 h 960849"/>
                  <a:gd name="connsiteX1582" fmla="*/ 1014201 w 1315299"/>
                  <a:gd name="connsiteY1582" fmla="*/ 207311 h 960849"/>
                  <a:gd name="connsiteX1583" fmla="*/ 1015126 w 1315299"/>
                  <a:gd name="connsiteY1583" fmla="*/ 207311 h 960849"/>
                  <a:gd name="connsiteX1584" fmla="*/ 1015126 w 1315299"/>
                  <a:gd name="connsiteY1584" fmla="*/ 209186 h 960849"/>
                  <a:gd name="connsiteX1585" fmla="*/ 1003891 w 1315299"/>
                  <a:gd name="connsiteY1585" fmla="*/ 222307 h 960849"/>
                  <a:gd name="connsiteX1586" fmla="*/ 1003891 w 1315299"/>
                  <a:gd name="connsiteY1586" fmla="*/ 226992 h 960849"/>
                  <a:gd name="connsiteX1587" fmla="*/ 1007636 w 1315299"/>
                  <a:gd name="connsiteY1587" fmla="*/ 228867 h 960849"/>
                  <a:gd name="connsiteX1588" fmla="*/ 1008583 w 1315299"/>
                  <a:gd name="connsiteY1588" fmla="*/ 228867 h 960849"/>
                  <a:gd name="connsiteX1589" fmla="*/ 1012328 w 1315299"/>
                  <a:gd name="connsiteY1589" fmla="*/ 226056 h 960849"/>
                  <a:gd name="connsiteX1590" fmla="*/ 1008583 w 1315299"/>
                  <a:gd name="connsiteY1590" fmla="*/ 228867 h 960849"/>
                  <a:gd name="connsiteX1591" fmla="*/ 1006689 w 1315299"/>
                  <a:gd name="connsiteY1591" fmla="*/ 233552 h 960849"/>
                  <a:gd name="connsiteX1592" fmla="*/ 1003891 w 1315299"/>
                  <a:gd name="connsiteY1592" fmla="*/ 237302 h 960849"/>
                  <a:gd name="connsiteX1593" fmla="*/ 1001071 w 1315299"/>
                  <a:gd name="connsiteY1593" fmla="*/ 233552 h 960849"/>
                  <a:gd name="connsiteX1594" fmla="*/ 996379 w 1315299"/>
                  <a:gd name="connsiteY1594" fmla="*/ 233552 h 960849"/>
                  <a:gd name="connsiteX1595" fmla="*/ 989836 w 1315299"/>
                  <a:gd name="connsiteY1595" fmla="*/ 238238 h 960849"/>
                  <a:gd name="connsiteX1596" fmla="*/ 987017 w 1315299"/>
                  <a:gd name="connsiteY1596" fmla="*/ 237302 h 960849"/>
                  <a:gd name="connsiteX1597" fmla="*/ 987017 w 1315299"/>
                  <a:gd name="connsiteY1597" fmla="*/ 236363 h 960849"/>
                  <a:gd name="connsiteX1598" fmla="*/ 997326 w 1315299"/>
                  <a:gd name="connsiteY1598" fmla="*/ 224181 h 960849"/>
                  <a:gd name="connsiteX1599" fmla="*/ 995454 w 1315299"/>
                  <a:gd name="connsiteY1599" fmla="*/ 222307 h 960849"/>
                  <a:gd name="connsiteX1600" fmla="*/ 987017 w 1315299"/>
                  <a:gd name="connsiteY1600" fmla="*/ 226056 h 960849"/>
                  <a:gd name="connsiteX1601" fmla="*/ 987017 w 1315299"/>
                  <a:gd name="connsiteY1601" fmla="*/ 226992 h 960849"/>
                  <a:gd name="connsiteX1602" fmla="*/ 986070 w 1315299"/>
                  <a:gd name="connsiteY1602" fmla="*/ 228867 h 960849"/>
                  <a:gd name="connsiteX1603" fmla="*/ 987017 w 1315299"/>
                  <a:gd name="connsiteY1603" fmla="*/ 226056 h 960849"/>
                  <a:gd name="connsiteX1604" fmla="*/ 982325 w 1315299"/>
                  <a:gd name="connsiteY1604" fmla="*/ 232616 h 960849"/>
                  <a:gd name="connsiteX1605" fmla="*/ 985144 w 1315299"/>
                  <a:gd name="connsiteY1605" fmla="*/ 228867 h 960849"/>
                  <a:gd name="connsiteX1606" fmla="*/ 982325 w 1315299"/>
                  <a:gd name="connsiteY1606" fmla="*/ 232616 h 960849"/>
                  <a:gd name="connsiteX1607" fmla="*/ 981399 w 1315299"/>
                  <a:gd name="connsiteY1607" fmla="*/ 234491 h 960849"/>
                  <a:gd name="connsiteX1608" fmla="*/ 979527 w 1315299"/>
                  <a:gd name="connsiteY1608" fmla="*/ 233552 h 960849"/>
                  <a:gd name="connsiteX1609" fmla="*/ 982325 w 1315299"/>
                  <a:gd name="connsiteY1609" fmla="*/ 232616 h 960849"/>
                  <a:gd name="connsiteX1610" fmla="*/ 981399 w 1315299"/>
                  <a:gd name="connsiteY1610" fmla="*/ 245737 h 960849"/>
                  <a:gd name="connsiteX1611" fmla="*/ 981399 w 1315299"/>
                  <a:gd name="connsiteY1611" fmla="*/ 247611 h 960849"/>
                  <a:gd name="connsiteX1612" fmla="*/ 979527 w 1315299"/>
                  <a:gd name="connsiteY1612" fmla="*/ 247611 h 960849"/>
                  <a:gd name="connsiteX1613" fmla="*/ 981399 w 1315299"/>
                  <a:gd name="connsiteY1613" fmla="*/ 245737 h 960849"/>
                  <a:gd name="connsiteX1614" fmla="*/ 942033 w 1315299"/>
                  <a:gd name="connsiteY1614" fmla="*/ 245737 h 960849"/>
                  <a:gd name="connsiteX1615" fmla="*/ 951396 w 1315299"/>
                  <a:gd name="connsiteY1615" fmla="*/ 245737 h 960849"/>
                  <a:gd name="connsiteX1616" fmla="*/ 955140 w 1315299"/>
                  <a:gd name="connsiteY1616" fmla="*/ 247611 h 960849"/>
                  <a:gd name="connsiteX1617" fmla="*/ 952343 w 1315299"/>
                  <a:gd name="connsiteY1617" fmla="*/ 247611 h 960849"/>
                  <a:gd name="connsiteX1618" fmla="*/ 945778 w 1315299"/>
                  <a:gd name="connsiteY1618" fmla="*/ 248548 h 960849"/>
                  <a:gd name="connsiteX1619" fmla="*/ 941086 w 1315299"/>
                  <a:gd name="connsiteY1619" fmla="*/ 247611 h 960849"/>
                  <a:gd name="connsiteX1620" fmla="*/ 939214 w 1315299"/>
                  <a:gd name="connsiteY1620" fmla="*/ 247611 h 960849"/>
                  <a:gd name="connsiteX1621" fmla="*/ 942033 w 1315299"/>
                  <a:gd name="connsiteY1621" fmla="*/ 245737 h 960849"/>
                  <a:gd name="connsiteX1622" fmla="*/ 959833 w 1315299"/>
                  <a:gd name="connsiteY1622" fmla="*/ 274791 h 960849"/>
                  <a:gd name="connsiteX1623" fmla="*/ 959833 w 1315299"/>
                  <a:gd name="connsiteY1623" fmla="*/ 273855 h 960849"/>
                  <a:gd name="connsiteX1624" fmla="*/ 960780 w 1315299"/>
                  <a:gd name="connsiteY1624" fmla="*/ 273855 h 960849"/>
                  <a:gd name="connsiteX1625" fmla="*/ 959833 w 1315299"/>
                  <a:gd name="connsiteY1625" fmla="*/ 274791 h 960849"/>
                  <a:gd name="connsiteX1626" fmla="*/ 978580 w 1315299"/>
                  <a:gd name="connsiteY1626" fmla="*/ 266356 h 960849"/>
                  <a:gd name="connsiteX1627" fmla="*/ 977654 w 1315299"/>
                  <a:gd name="connsiteY1627" fmla="*/ 267294 h 960849"/>
                  <a:gd name="connsiteX1628" fmla="*/ 975760 w 1315299"/>
                  <a:gd name="connsiteY1628" fmla="*/ 264481 h 960849"/>
                  <a:gd name="connsiteX1629" fmla="*/ 975760 w 1315299"/>
                  <a:gd name="connsiteY1629" fmla="*/ 262607 h 960849"/>
                  <a:gd name="connsiteX1630" fmla="*/ 971090 w 1315299"/>
                  <a:gd name="connsiteY1630" fmla="*/ 263545 h 960849"/>
                  <a:gd name="connsiteX1631" fmla="*/ 962652 w 1315299"/>
                  <a:gd name="connsiteY1631" fmla="*/ 263545 h 960849"/>
                  <a:gd name="connsiteX1632" fmla="*/ 959833 w 1315299"/>
                  <a:gd name="connsiteY1632" fmla="*/ 263545 h 960849"/>
                  <a:gd name="connsiteX1633" fmla="*/ 956088 w 1315299"/>
                  <a:gd name="connsiteY1633" fmla="*/ 267294 h 960849"/>
                  <a:gd name="connsiteX1634" fmla="*/ 951396 w 1315299"/>
                  <a:gd name="connsiteY1634" fmla="*/ 271042 h 960849"/>
                  <a:gd name="connsiteX1635" fmla="*/ 945778 w 1315299"/>
                  <a:gd name="connsiteY1635" fmla="*/ 267294 h 960849"/>
                  <a:gd name="connsiteX1636" fmla="*/ 942033 w 1315299"/>
                  <a:gd name="connsiteY1636" fmla="*/ 267294 h 960849"/>
                  <a:gd name="connsiteX1637" fmla="*/ 939214 w 1315299"/>
                  <a:gd name="connsiteY1637" fmla="*/ 268231 h 960849"/>
                  <a:gd name="connsiteX1638" fmla="*/ 937341 w 1315299"/>
                  <a:gd name="connsiteY1638" fmla="*/ 266356 h 960849"/>
                  <a:gd name="connsiteX1639" fmla="*/ 937341 w 1315299"/>
                  <a:gd name="connsiteY1639" fmla="*/ 264481 h 960849"/>
                  <a:gd name="connsiteX1640" fmla="*/ 942033 w 1315299"/>
                  <a:gd name="connsiteY1640" fmla="*/ 262607 h 960849"/>
                  <a:gd name="connsiteX1641" fmla="*/ 958908 w 1315299"/>
                  <a:gd name="connsiteY1641" fmla="*/ 258860 h 960849"/>
                  <a:gd name="connsiteX1642" fmla="*/ 972015 w 1315299"/>
                  <a:gd name="connsiteY1642" fmla="*/ 258860 h 960849"/>
                  <a:gd name="connsiteX1643" fmla="*/ 975760 w 1315299"/>
                  <a:gd name="connsiteY1643" fmla="*/ 262607 h 960849"/>
                  <a:gd name="connsiteX1644" fmla="*/ 982325 w 1315299"/>
                  <a:gd name="connsiteY1644" fmla="*/ 262607 h 960849"/>
                  <a:gd name="connsiteX1645" fmla="*/ 983272 w 1315299"/>
                  <a:gd name="connsiteY1645" fmla="*/ 259796 h 960849"/>
                  <a:gd name="connsiteX1646" fmla="*/ 986070 w 1315299"/>
                  <a:gd name="connsiteY1646" fmla="*/ 262607 h 960849"/>
                  <a:gd name="connsiteX1647" fmla="*/ 988889 w 1315299"/>
                  <a:gd name="connsiteY1647" fmla="*/ 262607 h 960849"/>
                  <a:gd name="connsiteX1648" fmla="*/ 990762 w 1315299"/>
                  <a:gd name="connsiteY1648" fmla="*/ 259796 h 960849"/>
                  <a:gd name="connsiteX1649" fmla="*/ 990762 w 1315299"/>
                  <a:gd name="connsiteY1649" fmla="*/ 260732 h 960849"/>
                  <a:gd name="connsiteX1650" fmla="*/ 988889 w 1315299"/>
                  <a:gd name="connsiteY1650" fmla="*/ 262607 h 960849"/>
                  <a:gd name="connsiteX1651" fmla="*/ 987017 w 1315299"/>
                  <a:gd name="connsiteY1651" fmla="*/ 264481 h 960849"/>
                  <a:gd name="connsiteX1652" fmla="*/ 986070 w 1315299"/>
                  <a:gd name="connsiteY1652" fmla="*/ 262607 h 960849"/>
                  <a:gd name="connsiteX1653" fmla="*/ 982325 w 1315299"/>
                  <a:gd name="connsiteY1653" fmla="*/ 262607 h 960849"/>
                  <a:gd name="connsiteX1654" fmla="*/ 978580 w 1315299"/>
                  <a:gd name="connsiteY1654" fmla="*/ 266356 h 9608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  <a:cxn ang="0">
                    <a:pos x="connsiteX1543" y="connsiteY1543"/>
                  </a:cxn>
                  <a:cxn ang="0">
                    <a:pos x="connsiteX1544" y="connsiteY1544"/>
                  </a:cxn>
                  <a:cxn ang="0">
                    <a:pos x="connsiteX1545" y="connsiteY1545"/>
                  </a:cxn>
                  <a:cxn ang="0">
                    <a:pos x="connsiteX1546" y="connsiteY1546"/>
                  </a:cxn>
                  <a:cxn ang="0">
                    <a:pos x="connsiteX1547" y="connsiteY1547"/>
                  </a:cxn>
                  <a:cxn ang="0">
                    <a:pos x="connsiteX1548" y="connsiteY1548"/>
                  </a:cxn>
                  <a:cxn ang="0">
                    <a:pos x="connsiteX1549" y="connsiteY1549"/>
                  </a:cxn>
                  <a:cxn ang="0">
                    <a:pos x="connsiteX1550" y="connsiteY1550"/>
                  </a:cxn>
                  <a:cxn ang="0">
                    <a:pos x="connsiteX1551" y="connsiteY1551"/>
                  </a:cxn>
                  <a:cxn ang="0">
                    <a:pos x="connsiteX1552" y="connsiteY1552"/>
                  </a:cxn>
                  <a:cxn ang="0">
                    <a:pos x="connsiteX1553" y="connsiteY1553"/>
                  </a:cxn>
                  <a:cxn ang="0">
                    <a:pos x="connsiteX1554" y="connsiteY1554"/>
                  </a:cxn>
                  <a:cxn ang="0">
                    <a:pos x="connsiteX1555" y="connsiteY1555"/>
                  </a:cxn>
                  <a:cxn ang="0">
                    <a:pos x="connsiteX1556" y="connsiteY1556"/>
                  </a:cxn>
                  <a:cxn ang="0">
                    <a:pos x="connsiteX1557" y="connsiteY1557"/>
                  </a:cxn>
                  <a:cxn ang="0">
                    <a:pos x="connsiteX1558" y="connsiteY1558"/>
                  </a:cxn>
                  <a:cxn ang="0">
                    <a:pos x="connsiteX1559" y="connsiteY1559"/>
                  </a:cxn>
                  <a:cxn ang="0">
                    <a:pos x="connsiteX1560" y="connsiteY1560"/>
                  </a:cxn>
                  <a:cxn ang="0">
                    <a:pos x="connsiteX1561" y="connsiteY1561"/>
                  </a:cxn>
                  <a:cxn ang="0">
                    <a:pos x="connsiteX1562" y="connsiteY1562"/>
                  </a:cxn>
                  <a:cxn ang="0">
                    <a:pos x="connsiteX1563" y="connsiteY1563"/>
                  </a:cxn>
                  <a:cxn ang="0">
                    <a:pos x="connsiteX1564" y="connsiteY1564"/>
                  </a:cxn>
                  <a:cxn ang="0">
                    <a:pos x="connsiteX1565" y="connsiteY1565"/>
                  </a:cxn>
                  <a:cxn ang="0">
                    <a:pos x="connsiteX1566" y="connsiteY1566"/>
                  </a:cxn>
                  <a:cxn ang="0">
                    <a:pos x="connsiteX1567" y="connsiteY1567"/>
                  </a:cxn>
                  <a:cxn ang="0">
                    <a:pos x="connsiteX1568" y="connsiteY1568"/>
                  </a:cxn>
                  <a:cxn ang="0">
                    <a:pos x="connsiteX1569" y="connsiteY1569"/>
                  </a:cxn>
                  <a:cxn ang="0">
                    <a:pos x="connsiteX1570" y="connsiteY1570"/>
                  </a:cxn>
                  <a:cxn ang="0">
                    <a:pos x="connsiteX1571" y="connsiteY1571"/>
                  </a:cxn>
                  <a:cxn ang="0">
                    <a:pos x="connsiteX1572" y="connsiteY1572"/>
                  </a:cxn>
                  <a:cxn ang="0">
                    <a:pos x="connsiteX1573" y="connsiteY1573"/>
                  </a:cxn>
                  <a:cxn ang="0">
                    <a:pos x="connsiteX1574" y="connsiteY1574"/>
                  </a:cxn>
                  <a:cxn ang="0">
                    <a:pos x="connsiteX1575" y="connsiteY1575"/>
                  </a:cxn>
                  <a:cxn ang="0">
                    <a:pos x="connsiteX1576" y="connsiteY1576"/>
                  </a:cxn>
                  <a:cxn ang="0">
                    <a:pos x="connsiteX1577" y="connsiteY1577"/>
                  </a:cxn>
                  <a:cxn ang="0">
                    <a:pos x="connsiteX1578" y="connsiteY1578"/>
                  </a:cxn>
                  <a:cxn ang="0">
                    <a:pos x="connsiteX1579" y="connsiteY1579"/>
                  </a:cxn>
                  <a:cxn ang="0">
                    <a:pos x="connsiteX1580" y="connsiteY1580"/>
                  </a:cxn>
                  <a:cxn ang="0">
                    <a:pos x="connsiteX1581" y="connsiteY1581"/>
                  </a:cxn>
                  <a:cxn ang="0">
                    <a:pos x="connsiteX1582" y="connsiteY1582"/>
                  </a:cxn>
                  <a:cxn ang="0">
                    <a:pos x="connsiteX1583" y="connsiteY1583"/>
                  </a:cxn>
                  <a:cxn ang="0">
                    <a:pos x="connsiteX1584" y="connsiteY1584"/>
                  </a:cxn>
                  <a:cxn ang="0">
                    <a:pos x="connsiteX1585" y="connsiteY1585"/>
                  </a:cxn>
                  <a:cxn ang="0">
                    <a:pos x="connsiteX1586" y="connsiteY1586"/>
                  </a:cxn>
                  <a:cxn ang="0">
                    <a:pos x="connsiteX1587" y="connsiteY1587"/>
                  </a:cxn>
                  <a:cxn ang="0">
                    <a:pos x="connsiteX1588" y="connsiteY1588"/>
                  </a:cxn>
                  <a:cxn ang="0">
                    <a:pos x="connsiteX1589" y="connsiteY1589"/>
                  </a:cxn>
                  <a:cxn ang="0">
                    <a:pos x="connsiteX1590" y="connsiteY1590"/>
                  </a:cxn>
                  <a:cxn ang="0">
                    <a:pos x="connsiteX1591" y="connsiteY1591"/>
                  </a:cxn>
                  <a:cxn ang="0">
                    <a:pos x="connsiteX1592" y="connsiteY1592"/>
                  </a:cxn>
                  <a:cxn ang="0">
                    <a:pos x="connsiteX1593" y="connsiteY1593"/>
                  </a:cxn>
                  <a:cxn ang="0">
                    <a:pos x="connsiteX1594" y="connsiteY1594"/>
                  </a:cxn>
                  <a:cxn ang="0">
                    <a:pos x="connsiteX1595" y="connsiteY1595"/>
                  </a:cxn>
                  <a:cxn ang="0">
                    <a:pos x="connsiteX1596" y="connsiteY1596"/>
                  </a:cxn>
                  <a:cxn ang="0">
                    <a:pos x="connsiteX1597" y="connsiteY1597"/>
                  </a:cxn>
                  <a:cxn ang="0">
                    <a:pos x="connsiteX1598" y="connsiteY1598"/>
                  </a:cxn>
                  <a:cxn ang="0">
                    <a:pos x="connsiteX1599" y="connsiteY1599"/>
                  </a:cxn>
                  <a:cxn ang="0">
                    <a:pos x="connsiteX1600" y="connsiteY1600"/>
                  </a:cxn>
                  <a:cxn ang="0">
                    <a:pos x="connsiteX1601" y="connsiteY1601"/>
                  </a:cxn>
                  <a:cxn ang="0">
                    <a:pos x="connsiteX1602" y="connsiteY1602"/>
                  </a:cxn>
                  <a:cxn ang="0">
                    <a:pos x="connsiteX1603" y="connsiteY1603"/>
                  </a:cxn>
                  <a:cxn ang="0">
                    <a:pos x="connsiteX1604" y="connsiteY1604"/>
                  </a:cxn>
                  <a:cxn ang="0">
                    <a:pos x="connsiteX1605" y="connsiteY1605"/>
                  </a:cxn>
                  <a:cxn ang="0">
                    <a:pos x="connsiteX1606" y="connsiteY1606"/>
                  </a:cxn>
                  <a:cxn ang="0">
                    <a:pos x="connsiteX1607" y="connsiteY1607"/>
                  </a:cxn>
                  <a:cxn ang="0">
                    <a:pos x="connsiteX1608" y="connsiteY1608"/>
                  </a:cxn>
                  <a:cxn ang="0">
                    <a:pos x="connsiteX1609" y="connsiteY1609"/>
                  </a:cxn>
                  <a:cxn ang="0">
                    <a:pos x="connsiteX1610" y="connsiteY1610"/>
                  </a:cxn>
                  <a:cxn ang="0">
                    <a:pos x="connsiteX1611" y="connsiteY1611"/>
                  </a:cxn>
                  <a:cxn ang="0">
                    <a:pos x="connsiteX1612" y="connsiteY1612"/>
                  </a:cxn>
                  <a:cxn ang="0">
                    <a:pos x="connsiteX1613" y="connsiteY1613"/>
                  </a:cxn>
                  <a:cxn ang="0">
                    <a:pos x="connsiteX1614" y="connsiteY1614"/>
                  </a:cxn>
                  <a:cxn ang="0">
                    <a:pos x="connsiteX1615" y="connsiteY1615"/>
                  </a:cxn>
                  <a:cxn ang="0">
                    <a:pos x="connsiteX1616" y="connsiteY1616"/>
                  </a:cxn>
                  <a:cxn ang="0">
                    <a:pos x="connsiteX1617" y="connsiteY1617"/>
                  </a:cxn>
                  <a:cxn ang="0">
                    <a:pos x="connsiteX1618" y="connsiteY1618"/>
                  </a:cxn>
                  <a:cxn ang="0">
                    <a:pos x="connsiteX1619" y="connsiteY1619"/>
                  </a:cxn>
                  <a:cxn ang="0">
                    <a:pos x="connsiteX1620" y="connsiteY1620"/>
                  </a:cxn>
                  <a:cxn ang="0">
                    <a:pos x="connsiteX1621" y="connsiteY1621"/>
                  </a:cxn>
                  <a:cxn ang="0">
                    <a:pos x="connsiteX1622" y="connsiteY1622"/>
                  </a:cxn>
                  <a:cxn ang="0">
                    <a:pos x="connsiteX1623" y="connsiteY1623"/>
                  </a:cxn>
                  <a:cxn ang="0">
                    <a:pos x="connsiteX1624" y="connsiteY1624"/>
                  </a:cxn>
                  <a:cxn ang="0">
                    <a:pos x="connsiteX1625" y="connsiteY1625"/>
                  </a:cxn>
                  <a:cxn ang="0">
                    <a:pos x="connsiteX1626" y="connsiteY1626"/>
                  </a:cxn>
                  <a:cxn ang="0">
                    <a:pos x="connsiteX1627" y="connsiteY1627"/>
                  </a:cxn>
                  <a:cxn ang="0">
                    <a:pos x="connsiteX1628" y="connsiteY1628"/>
                  </a:cxn>
                  <a:cxn ang="0">
                    <a:pos x="connsiteX1629" y="connsiteY1629"/>
                  </a:cxn>
                  <a:cxn ang="0">
                    <a:pos x="connsiteX1630" y="connsiteY1630"/>
                  </a:cxn>
                  <a:cxn ang="0">
                    <a:pos x="connsiteX1631" y="connsiteY1631"/>
                  </a:cxn>
                  <a:cxn ang="0">
                    <a:pos x="connsiteX1632" y="connsiteY1632"/>
                  </a:cxn>
                  <a:cxn ang="0">
                    <a:pos x="connsiteX1633" y="connsiteY1633"/>
                  </a:cxn>
                  <a:cxn ang="0">
                    <a:pos x="connsiteX1634" y="connsiteY1634"/>
                  </a:cxn>
                  <a:cxn ang="0">
                    <a:pos x="connsiteX1635" y="connsiteY1635"/>
                  </a:cxn>
                  <a:cxn ang="0">
                    <a:pos x="connsiteX1636" y="connsiteY1636"/>
                  </a:cxn>
                  <a:cxn ang="0">
                    <a:pos x="connsiteX1637" y="connsiteY1637"/>
                  </a:cxn>
                  <a:cxn ang="0">
                    <a:pos x="connsiteX1638" y="connsiteY1638"/>
                  </a:cxn>
                  <a:cxn ang="0">
                    <a:pos x="connsiteX1639" y="connsiteY1639"/>
                  </a:cxn>
                  <a:cxn ang="0">
                    <a:pos x="connsiteX1640" y="connsiteY1640"/>
                  </a:cxn>
                  <a:cxn ang="0">
                    <a:pos x="connsiteX1641" y="connsiteY1641"/>
                  </a:cxn>
                  <a:cxn ang="0">
                    <a:pos x="connsiteX1642" y="connsiteY1642"/>
                  </a:cxn>
                  <a:cxn ang="0">
                    <a:pos x="connsiteX1643" y="connsiteY1643"/>
                  </a:cxn>
                  <a:cxn ang="0">
                    <a:pos x="connsiteX1644" y="connsiteY1644"/>
                  </a:cxn>
                  <a:cxn ang="0">
                    <a:pos x="connsiteX1645" y="connsiteY1645"/>
                  </a:cxn>
                  <a:cxn ang="0">
                    <a:pos x="connsiteX1646" y="connsiteY1646"/>
                  </a:cxn>
                  <a:cxn ang="0">
                    <a:pos x="connsiteX1647" y="connsiteY1647"/>
                  </a:cxn>
                  <a:cxn ang="0">
                    <a:pos x="connsiteX1648" y="connsiteY1648"/>
                  </a:cxn>
                  <a:cxn ang="0">
                    <a:pos x="connsiteX1649" y="connsiteY1649"/>
                  </a:cxn>
                  <a:cxn ang="0">
                    <a:pos x="connsiteX1650" y="connsiteY1650"/>
                  </a:cxn>
                  <a:cxn ang="0">
                    <a:pos x="connsiteX1651" y="connsiteY1651"/>
                  </a:cxn>
                  <a:cxn ang="0">
                    <a:pos x="connsiteX1652" y="connsiteY1652"/>
                  </a:cxn>
                  <a:cxn ang="0">
                    <a:pos x="connsiteX1653" y="connsiteY1653"/>
                  </a:cxn>
                  <a:cxn ang="0">
                    <a:pos x="connsiteX1654" y="connsiteY1654"/>
                  </a:cxn>
                </a:cxnLst>
                <a:rect l="l" t="t" r="r" b="b"/>
                <a:pathLst>
                  <a:path w="1315299" h="960849">
                    <a:moveTo>
                      <a:pt x="990762" y="282288"/>
                    </a:moveTo>
                    <a:cubicBezTo>
                      <a:pt x="990762" y="281351"/>
                      <a:pt x="992634" y="278540"/>
                      <a:pt x="992634" y="277602"/>
                    </a:cubicBezTo>
                    <a:cubicBezTo>
                      <a:pt x="992634" y="272916"/>
                      <a:pt x="996379" y="272916"/>
                      <a:pt x="1000146" y="272916"/>
                    </a:cubicBezTo>
                    <a:cubicBezTo>
                      <a:pt x="1003891" y="272916"/>
                      <a:pt x="1004816" y="270103"/>
                      <a:pt x="1006689" y="266356"/>
                    </a:cubicBezTo>
                    <a:cubicBezTo>
                      <a:pt x="1007636" y="260732"/>
                      <a:pt x="1010456" y="258857"/>
                      <a:pt x="1015126" y="258857"/>
                    </a:cubicBezTo>
                    <a:lnTo>
                      <a:pt x="1078856" y="258857"/>
                    </a:lnTo>
                    <a:cubicBezTo>
                      <a:pt x="1096678" y="258857"/>
                      <a:pt x="1230703" y="261670"/>
                      <a:pt x="1248503" y="261670"/>
                    </a:cubicBezTo>
                    <a:cubicBezTo>
                      <a:pt x="1259760" y="261670"/>
                      <a:pt x="1270995" y="262607"/>
                      <a:pt x="1282251" y="262607"/>
                    </a:cubicBezTo>
                    <a:lnTo>
                      <a:pt x="1284124" y="262607"/>
                    </a:lnTo>
                    <a:lnTo>
                      <a:pt x="1282251" y="263543"/>
                    </a:lnTo>
                    <a:cubicBezTo>
                      <a:pt x="1281304" y="265418"/>
                      <a:pt x="1280379" y="265418"/>
                      <a:pt x="1280379" y="266356"/>
                    </a:cubicBezTo>
                    <a:cubicBezTo>
                      <a:pt x="1278507" y="267292"/>
                      <a:pt x="1281304" y="269167"/>
                      <a:pt x="1284124" y="267292"/>
                    </a:cubicBezTo>
                    <a:lnTo>
                      <a:pt x="1291614" y="267292"/>
                    </a:lnTo>
                    <a:cubicBezTo>
                      <a:pt x="1294434" y="267292"/>
                      <a:pt x="1294434" y="266356"/>
                      <a:pt x="1294434" y="265418"/>
                    </a:cubicBezTo>
                    <a:cubicBezTo>
                      <a:pt x="1294434" y="262919"/>
                      <a:pt x="1295051" y="261670"/>
                      <a:pt x="1296306" y="261670"/>
                    </a:cubicBezTo>
                    <a:lnTo>
                      <a:pt x="1302871" y="261670"/>
                    </a:lnTo>
                    <a:cubicBezTo>
                      <a:pt x="1305669" y="261670"/>
                      <a:pt x="1307541" y="259796"/>
                      <a:pt x="1309436" y="257921"/>
                    </a:cubicBezTo>
                    <a:cubicBezTo>
                      <a:pt x="1309436" y="257921"/>
                      <a:pt x="1310361" y="256046"/>
                      <a:pt x="1310361" y="255110"/>
                    </a:cubicBezTo>
                    <a:cubicBezTo>
                      <a:pt x="1316925" y="252297"/>
                      <a:pt x="1315053" y="248548"/>
                      <a:pt x="1315053" y="243862"/>
                    </a:cubicBezTo>
                    <a:cubicBezTo>
                      <a:pt x="1314106" y="243862"/>
                      <a:pt x="1313181" y="242926"/>
                      <a:pt x="1313181" y="242926"/>
                    </a:cubicBezTo>
                    <a:cubicBezTo>
                      <a:pt x="1310361" y="241051"/>
                      <a:pt x="1309436" y="241051"/>
                      <a:pt x="1307541" y="242926"/>
                    </a:cubicBezTo>
                    <a:cubicBezTo>
                      <a:pt x="1305669" y="242926"/>
                      <a:pt x="1302871" y="243862"/>
                      <a:pt x="1299126" y="243862"/>
                    </a:cubicBezTo>
                    <a:lnTo>
                      <a:pt x="1281304" y="243862"/>
                    </a:lnTo>
                    <a:cubicBezTo>
                      <a:pt x="1278507" y="243862"/>
                      <a:pt x="1276612" y="243862"/>
                      <a:pt x="1274740" y="242926"/>
                    </a:cubicBezTo>
                    <a:cubicBezTo>
                      <a:pt x="1272867" y="241051"/>
                      <a:pt x="1270069" y="242926"/>
                      <a:pt x="1269122" y="242926"/>
                    </a:cubicBezTo>
                    <a:cubicBezTo>
                      <a:pt x="1265377" y="243862"/>
                      <a:pt x="1261632" y="244800"/>
                      <a:pt x="1258813" y="242926"/>
                    </a:cubicBezTo>
                    <a:cubicBezTo>
                      <a:pt x="1255068" y="241051"/>
                      <a:pt x="1251323" y="241051"/>
                      <a:pt x="1247578" y="242926"/>
                    </a:cubicBezTo>
                    <a:cubicBezTo>
                      <a:pt x="1241938" y="243862"/>
                      <a:pt x="1121989" y="241987"/>
                      <a:pt x="1117297" y="240115"/>
                    </a:cubicBezTo>
                    <a:cubicBezTo>
                      <a:pt x="1117297" y="238238"/>
                      <a:pt x="1115425" y="238238"/>
                      <a:pt x="1115425" y="240115"/>
                    </a:cubicBezTo>
                    <a:cubicBezTo>
                      <a:pt x="1111680" y="241051"/>
                      <a:pt x="1107913" y="240115"/>
                      <a:pt x="1104168" y="238238"/>
                    </a:cubicBezTo>
                    <a:lnTo>
                      <a:pt x="1036693" y="238238"/>
                    </a:lnTo>
                    <a:cubicBezTo>
                      <a:pt x="1033873" y="238238"/>
                      <a:pt x="1032947" y="238238"/>
                      <a:pt x="1031075" y="237302"/>
                    </a:cubicBezTo>
                    <a:cubicBezTo>
                      <a:pt x="1030128" y="237302"/>
                      <a:pt x="1030128" y="236363"/>
                      <a:pt x="1030128" y="234491"/>
                    </a:cubicBezTo>
                    <a:cubicBezTo>
                      <a:pt x="1030128" y="233552"/>
                      <a:pt x="1031075" y="232616"/>
                      <a:pt x="1031075" y="232616"/>
                    </a:cubicBezTo>
                    <a:cubicBezTo>
                      <a:pt x="1033873" y="229803"/>
                      <a:pt x="1036693" y="228867"/>
                      <a:pt x="1037618" y="226992"/>
                    </a:cubicBezTo>
                    <a:cubicBezTo>
                      <a:pt x="1040438" y="224181"/>
                      <a:pt x="1041385" y="222307"/>
                      <a:pt x="1043257" y="219493"/>
                    </a:cubicBezTo>
                    <a:cubicBezTo>
                      <a:pt x="1051695" y="211058"/>
                      <a:pt x="1059184" y="199813"/>
                      <a:pt x="1067621" y="190441"/>
                    </a:cubicBezTo>
                    <a:cubicBezTo>
                      <a:pt x="1069494" y="190441"/>
                      <a:pt x="1070441" y="189503"/>
                      <a:pt x="1071366" y="186692"/>
                    </a:cubicBezTo>
                    <a:cubicBezTo>
                      <a:pt x="1074186" y="182004"/>
                      <a:pt x="1077931" y="176382"/>
                      <a:pt x="1084496" y="174508"/>
                    </a:cubicBezTo>
                    <a:cubicBezTo>
                      <a:pt x="1085421" y="172633"/>
                      <a:pt x="1085421" y="171695"/>
                      <a:pt x="1087294" y="170758"/>
                    </a:cubicBezTo>
                    <a:cubicBezTo>
                      <a:pt x="1089166" y="165134"/>
                      <a:pt x="1094805" y="163262"/>
                      <a:pt x="1096678" y="156699"/>
                    </a:cubicBezTo>
                    <a:cubicBezTo>
                      <a:pt x="1096678" y="156699"/>
                      <a:pt x="1098551" y="155763"/>
                      <a:pt x="1099476" y="155763"/>
                    </a:cubicBezTo>
                    <a:cubicBezTo>
                      <a:pt x="1102295" y="153888"/>
                      <a:pt x="1104168" y="152014"/>
                      <a:pt x="1106040" y="149203"/>
                    </a:cubicBezTo>
                    <a:cubicBezTo>
                      <a:pt x="1107913" y="145453"/>
                      <a:pt x="1113552" y="144515"/>
                      <a:pt x="1114477" y="137955"/>
                    </a:cubicBezTo>
                    <a:cubicBezTo>
                      <a:pt x="1119170" y="135144"/>
                      <a:pt x="1122915" y="132331"/>
                      <a:pt x="1126660" y="128583"/>
                    </a:cubicBezTo>
                    <a:cubicBezTo>
                      <a:pt x="1128532" y="128583"/>
                      <a:pt x="1129479" y="127645"/>
                      <a:pt x="1131352" y="126709"/>
                    </a:cubicBezTo>
                    <a:cubicBezTo>
                      <a:pt x="1132277" y="126709"/>
                      <a:pt x="1132277" y="124834"/>
                      <a:pt x="1132277" y="123896"/>
                    </a:cubicBezTo>
                    <a:cubicBezTo>
                      <a:pt x="1133224" y="121085"/>
                      <a:pt x="1133224" y="120148"/>
                      <a:pt x="1136044" y="119210"/>
                    </a:cubicBezTo>
                    <a:cubicBezTo>
                      <a:pt x="1143534" y="113588"/>
                      <a:pt x="1150099" y="106089"/>
                      <a:pt x="1158536" y="104215"/>
                    </a:cubicBezTo>
                    <a:cubicBezTo>
                      <a:pt x="1159461" y="102340"/>
                      <a:pt x="1161333" y="101404"/>
                      <a:pt x="1162281" y="98591"/>
                    </a:cubicBezTo>
                    <a:cubicBezTo>
                      <a:pt x="1163228" y="97654"/>
                      <a:pt x="1165101" y="94844"/>
                      <a:pt x="1166026" y="93905"/>
                    </a:cubicBezTo>
                    <a:cubicBezTo>
                      <a:pt x="1166973" y="92030"/>
                      <a:pt x="1168845" y="92030"/>
                      <a:pt x="1170718" y="93905"/>
                    </a:cubicBezTo>
                    <a:cubicBezTo>
                      <a:pt x="1172590" y="94844"/>
                      <a:pt x="1175410" y="93905"/>
                      <a:pt x="1175410" y="92030"/>
                    </a:cubicBezTo>
                    <a:cubicBezTo>
                      <a:pt x="1177283" y="88281"/>
                      <a:pt x="1180080" y="87345"/>
                      <a:pt x="1184773" y="87345"/>
                    </a:cubicBezTo>
                    <a:cubicBezTo>
                      <a:pt x="1186645" y="87345"/>
                      <a:pt x="1188518" y="87345"/>
                      <a:pt x="1188518" y="86406"/>
                    </a:cubicBezTo>
                    <a:cubicBezTo>
                      <a:pt x="1190390" y="83595"/>
                      <a:pt x="1192263" y="82659"/>
                      <a:pt x="1195082" y="80785"/>
                    </a:cubicBezTo>
                    <a:cubicBezTo>
                      <a:pt x="1197902" y="79846"/>
                      <a:pt x="1199775" y="77035"/>
                      <a:pt x="1202572" y="77035"/>
                    </a:cubicBezTo>
                    <a:cubicBezTo>
                      <a:pt x="1203519" y="77035"/>
                      <a:pt x="1205392" y="77035"/>
                      <a:pt x="1205392" y="76097"/>
                    </a:cubicBezTo>
                    <a:cubicBezTo>
                      <a:pt x="1210084" y="71411"/>
                      <a:pt x="1216649" y="68600"/>
                      <a:pt x="1221319" y="64851"/>
                    </a:cubicBezTo>
                    <a:cubicBezTo>
                      <a:pt x="1226958" y="60165"/>
                      <a:pt x="1231629" y="57352"/>
                      <a:pt x="1236321" y="54541"/>
                    </a:cubicBezTo>
                    <a:cubicBezTo>
                      <a:pt x="1241938" y="52666"/>
                      <a:pt x="1246631" y="49856"/>
                      <a:pt x="1250375" y="46106"/>
                    </a:cubicBezTo>
                    <a:cubicBezTo>
                      <a:pt x="1254120" y="42357"/>
                      <a:pt x="1257887" y="40482"/>
                      <a:pt x="1261632" y="36733"/>
                    </a:cubicBezTo>
                    <a:cubicBezTo>
                      <a:pt x="1265377" y="34860"/>
                      <a:pt x="1269122" y="31111"/>
                      <a:pt x="1274740" y="28300"/>
                    </a:cubicBezTo>
                    <a:cubicBezTo>
                      <a:pt x="1276612" y="27362"/>
                      <a:pt x="1278507" y="25487"/>
                      <a:pt x="1280379" y="24551"/>
                    </a:cubicBezTo>
                    <a:cubicBezTo>
                      <a:pt x="1283177" y="21738"/>
                      <a:pt x="1283177" y="19863"/>
                      <a:pt x="1282251" y="17052"/>
                    </a:cubicBezTo>
                    <a:cubicBezTo>
                      <a:pt x="1279432" y="12366"/>
                      <a:pt x="1271942" y="12366"/>
                      <a:pt x="1270995" y="5806"/>
                    </a:cubicBezTo>
                    <a:cubicBezTo>
                      <a:pt x="1269122" y="3929"/>
                      <a:pt x="1267250" y="3929"/>
                      <a:pt x="1265377" y="2993"/>
                    </a:cubicBezTo>
                    <a:cubicBezTo>
                      <a:pt x="1263505" y="2057"/>
                      <a:pt x="1258813" y="182"/>
                      <a:pt x="1255068" y="182"/>
                    </a:cubicBezTo>
                    <a:lnTo>
                      <a:pt x="1241938" y="182"/>
                    </a:lnTo>
                    <a:cubicBezTo>
                      <a:pt x="1234448" y="-756"/>
                      <a:pt x="1227883" y="2057"/>
                      <a:pt x="1220394" y="5806"/>
                    </a:cubicBezTo>
                    <a:cubicBezTo>
                      <a:pt x="1213829" y="9553"/>
                      <a:pt x="1206339" y="12366"/>
                      <a:pt x="1199775" y="16114"/>
                    </a:cubicBezTo>
                    <a:cubicBezTo>
                      <a:pt x="1191337" y="21738"/>
                      <a:pt x="1183825" y="27362"/>
                      <a:pt x="1176335" y="32986"/>
                    </a:cubicBezTo>
                    <a:cubicBezTo>
                      <a:pt x="1169771" y="38607"/>
                      <a:pt x="1163228" y="44232"/>
                      <a:pt x="1157589" y="49856"/>
                    </a:cubicBezTo>
                    <a:cubicBezTo>
                      <a:pt x="1154791" y="54541"/>
                      <a:pt x="1148226" y="56416"/>
                      <a:pt x="1146354" y="60165"/>
                    </a:cubicBezTo>
                    <a:cubicBezTo>
                      <a:pt x="1138842" y="67662"/>
                      <a:pt x="1131352" y="75160"/>
                      <a:pt x="1122915" y="82659"/>
                    </a:cubicBezTo>
                    <a:cubicBezTo>
                      <a:pt x="1119170" y="86406"/>
                      <a:pt x="1115425" y="88281"/>
                      <a:pt x="1111680" y="92030"/>
                    </a:cubicBezTo>
                    <a:cubicBezTo>
                      <a:pt x="1109785" y="96716"/>
                      <a:pt x="1104168" y="98591"/>
                      <a:pt x="1102295" y="102340"/>
                    </a:cubicBezTo>
                    <a:cubicBezTo>
                      <a:pt x="1099476" y="107964"/>
                      <a:pt x="1094805" y="109837"/>
                      <a:pt x="1091986" y="113588"/>
                    </a:cubicBezTo>
                    <a:lnTo>
                      <a:pt x="1075111" y="130458"/>
                    </a:lnTo>
                    <a:cubicBezTo>
                      <a:pt x="1074186" y="131394"/>
                      <a:pt x="1073239" y="132331"/>
                      <a:pt x="1073239" y="134208"/>
                    </a:cubicBezTo>
                    <a:cubicBezTo>
                      <a:pt x="1070441" y="134208"/>
                      <a:pt x="1067621" y="135144"/>
                      <a:pt x="1065749" y="136080"/>
                    </a:cubicBezTo>
                    <a:cubicBezTo>
                      <a:pt x="1062929" y="138893"/>
                      <a:pt x="1060109" y="141704"/>
                      <a:pt x="1059184" y="145453"/>
                    </a:cubicBezTo>
                    <a:cubicBezTo>
                      <a:pt x="1059184" y="146392"/>
                      <a:pt x="1058237" y="148264"/>
                      <a:pt x="1056365" y="148264"/>
                    </a:cubicBezTo>
                    <a:cubicBezTo>
                      <a:pt x="1055439" y="150139"/>
                      <a:pt x="1054492" y="150139"/>
                      <a:pt x="1052620" y="152014"/>
                    </a:cubicBezTo>
                    <a:cubicBezTo>
                      <a:pt x="1051695" y="152950"/>
                      <a:pt x="1051695" y="153888"/>
                      <a:pt x="1048875" y="155763"/>
                    </a:cubicBezTo>
                    <a:cubicBezTo>
                      <a:pt x="1048875" y="156699"/>
                      <a:pt x="1047927" y="157638"/>
                      <a:pt x="1047002" y="157638"/>
                    </a:cubicBezTo>
                    <a:cubicBezTo>
                      <a:pt x="1045130" y="160449"/>
                      <a:pt x="1043257" y="163262"/>
                      <a:pt x="1041385" y="164198"/>
                    </a:cubicBezTo>
                    <a:cubicBezTo>
                      <a:pt x="1037618" y="165134"/>
                      <a:pt x="1034820" y="167009"/>
                      <a:pt x="1032947" y="167947"/>
                    </a:cubicBezTo>
                    <a:cubicBezTo>
                      <a:pt x="1032947" y="170758"/>
                      <a:pt x="1031075" y="171695"/>
                      <a:pt x="1029202" y="171695"/>
                    </a:cubicBezTo>
                    <a:lnTo>
                      <a:pt x="1029202" y="175444"/>
                    </a:lnTo>
                    <a:cubicBezTo>
                      <a:pt x="1031075" y="175444"/>
                      <a:pt x="1032947" y="176380"/>
                      <a:pt x="1032947" y="178257"/>
                    </a:cubicBezTo>
                    <a:cubicBezTo>
                      <a:pt x="1034820" y="178257"/>
                      <a:pt x="1034820" y="175444"/>
                      <a:pt x="1036693" y="174508"/>
                    </a:cubicBezTo>
                    <a:cubicBezTo>
                      <a:pt x="1037618" y="171695"/>
                      <a:pt x="1041385" y="170758"/>
                      <a:pt x="1043257" y="168884"/>
                    </a:cubicBezTo>
                    <a:cubicBezTo>
                      <a:pt x="1045130" y="167947"/>
                      <a:pt x="1047927" y="165134"/>
                      <a:pt x="1050747" y="163259"/>
                    </a:cubicBezTo>
                    <a:cubicBezTo>
                      <a:pt x="1051695" y="161387"/>
                      <a:pt x="1054492" y="161387"/>
                      <a:pt x="1055439" y="161387"/>
                    </a:cubicBezTo>
                    <a:cubicBezTo>
                      <a:pt x="1054492" y="167009"/>
                      <a:pt x="1051695" y="171695"/>
                      <a:pt x="1045130" y="174508"/>
                    </a:cubicBezTo>
                    <a:cubicBezTo>
                      <a:pt x="1044182" y="174508"/>
                      <a:pt x="1043257" y="175444"/>
                      <a:pt x="1041385" y="176380"/>
                    </a:cubicBezTo>
                    <a:cubicBezTo>
                      <a:pt x="1037618" y="182004"/>
                      <a:pt x="1031075" y="185754"/>
                      <a:pt x="1026383" y="188564"/>
                    </a:cubicBezTo>
                    <a:cubicBezTo>
                      <a:pt x="1025436" y="189503"/>
                      <a:pt x="1023563" y="190441"/>
                      <a:pt x="1022638" y="192314"/>
                    </a:cubicBezTo>
                    <a:cubicBezTo>
                      <a:pt x="1018893" y="192314"/>
                      <a:pt x="1016073" y="193252"/>
                      <a:pt x="1015126" y="197002"/>
                    </a:cubicBezTo>
                    <a:cubicBezTo>
                      <a:pt x="1014201" y="197938"/>
                      <a:pt x="1012328" y="200751"/>
                      <a:pt x="1010456" y="201687"/>
                    </a:cubicBezTo>
                    <a:cubicBezTo>
                      <a:pt x="1003891" y="205437"/>
                      <a:pt x="999199" y="211058"/>
                      <a:pt x="992634" y="215746"/>
                    </a:cubicBezTo>
                    <a:cubicBezTo>
                      <a:pt x="986070" y="219493"/>
                      <a:pt x="979527" y="226056"/>
                      <a:pt x="973887" y="230741"/>
                    </a:cubicBezTo>
                    <a:cubicBezTo>
                      <a:pt x="972015" y="232616"/>
                      <a:pt x="973887" y="233552"/>
                      <a:pt x="973887" y="236366"/>
                    </a:cubicBezTo>
                    <a:cubicBezTo>
                      <a:pt x="974834" y="237302"/>
                      <a:pt x="973887" y="238238"/>
                      <a:pt x="971090" y="238238"/>
                    </a:cubicBezTo>
                    <a:cubicBezTo>
                      <a:pt x="970142" y="237302"/>
                      <a:pt x="968270" y="237302"/>
                      <a:pt x="967345" y="236366"/>
                    </a:cubicBezTo>
                    <a:cubicBezTo>
                      <a:pt x="962652" y="240115"/>
                      <a:pt x="956088" y="237302"/>
                      <a:pt x="951396" y="241051"/>
                    </a:cubicBezTo>
                    <a:cubicBezTo>
                      <a:pt x="949523" y="241051"/>
                      <a:pt x="949523" y="240115"/>
                      <a:pt x="949523" y="238238"/>
                    </a:cubicBezTo>
                    <a:cubicBezTo>
                      <a:pt x="948598" y="237302"/>
                      <a:pt x="948598" y="236366"/>
                      <a:pt x="948598" y="236366"/>
                    </a:cubicBezTo>
                    <a:lnTo>
                      <a:pt x="945778" y="236366"/>
                    </a:lnTo>
                    <a:cubicBezTo>
                      <a:pt x="942958" y="238238"/>
                      <a:pt x="941086" y="238238"/>
                      <a:pt x="938288" y="238238"/>
                    </a:cubicBezTo>
                    <a:cubicBezTo>
                      <a:pt x="938288" y="239489"/>
                      <a:pt x="937958" y="240425"/>
                      <a:pt x="937341" y="241051"/>
                    </a:cubicBezTo>
                    <a:lnTo>
                      <a:pt x="937341" y="240115"/>
                    </a:lnTo>
                    <a:cubicBezTo>
                      <a:pt x="937341" y="240115"/>
                      <a:pt x="938288" y="240115"/>
                      <a:pt x="938288" y="238238"/>
                    </a:cubicBezTo>
                    <a:cubicBezTo>
                      <a:pt x="938288" y="237302"/>
                      <a:pt x="937341" y="237302"/>
                      <a:pt x="937341" y="236366"/>
                    </a:cubicBezTo>
                    <a:lnTo>
                      <a:pt x="933596" y="236366"/>
                    </a:lnTo>
                    <a:cubicBezTo>
                      <a:pt x="933596" y="236366"/>
                      <a:pt x="933596" y="237302"/>
                      <a:pt x="931723" y="237302"/>
                    </a:cubicBezTo>
                    <a:cubicBezTo>
                      <a:pt x="929851" y="240115"/>
                      <a:pt x="926106" y="241987"/>
                      <a:pt x="922339" y="241987"/>
                    </a:cubicBezTo>
                    <a:lnTo>
                      <a:pt x="918594" y="241987"/>
                    </a:lnTo>
                    <a:cubicBezTo>
                      <a:pt x="905487" y="241987"/>
                      <a:pt x="893283" y="241051"/>
                      <a:pt x="880175" y="244800"/>
                    </a:cubicBezTo>
                    <a:lnTo>
                      <a:pt x="875483" y="244800"/>
                    </a:lnTo>
                    <a:cubicBezTo>
                      <a:pt x="868918" y="244800"/>
                      <a:pt x="863301" y="244800"/>
                      <a:pt x="857684" y="245737"/>
                    </a:cubicBezTo>
                    <a:cubicBezTo>
                      <a:pt x="854864" y="245737"/>
                      <a:pt x="852991" y="244800"/>
                      <a:pt x="850172" y="245737"/>
                    </a:cubicBezTo>
                    <a:cubicBezTo>
                      <a:pt x="845502" y="248548"/>
                      <a:pt x="838937" y="248548"/>
                      <a:pt x="832372" y="248548"/>
                    </a:cubicBezTo>
                    <a:cubicBezTo>
                      <a:pt x="827680" y="248548"/>
                      <a:pt x="823010" y="248548"/>
                      <a:pt x="817370" y="249486"/>
                    </a:cubicBezTo>
                    <a:cubicBezTo>
                      <a:pt x="810805" y="252297"/>
                      <a:pt x="803316" y="251361"/>
                      <a:pt x="795826" y="252297"/>
                    </a:cubicBezTo>
                    <a:cubicBezTo>
                      <a:pt x="793953" y="252297"/>
                      <a:pt x="791134" y="252297"/>
                      <a:pt x="790186" y="253235"/>
                    </a:cubicBezTo>
                    <a:cubicBezTo>
                      <a:pt x="786441" y="255110"/>
                      <a:pt x="780824" y="255110"/>
                      <a:pt x="776132" y="255110"/>
                    </a:cubicBezTo>
                    <a:cubicBezTo>
                      <a:pt x="772387" y="255110"/>
                      <a:pt x="766769" y="255110"/>
                      <a:pt x="763024" y="256046"/>
                    </a:cubicBezTo>
                    <a:cubicBezTo>
                      <a:pt x="758332" y="258857"/>
                      <a:pt x="753640" y="258857"/>
                      <a:pt x="748022" y="258857"/>
                    </a:cubicBezTo>
                    <a:cubicBezTo>
                      <a:pt x="746150" y="258857"/>
                      <a:pt x="743330" y="258857"/>
                      <a:pt x="740533" y="259796"/>
                    </a:cubicBezTo>
                    <a:cubicBezTo>
                      <a:pt x="735840" y="262607"/>
                      <a:pt x="731148" y="260732"/>
                      <a:pt x="725531" y="262607"/>
                    </a:cubicBezTo>
                    <a:cubicBezTo>
                      <a:pt x="722711" y="262607"/>
                      <a:pt x="720838" y="262607"/>
                      <a:pt x="718019" y="263545"/>
                    </a:cubicBezTo>
                    <a:cubicBezTo>
                      <a:pt x="715221" y="264481"/>
                      <a:pt x="711476" y="264481"/>
                      <a:pt x="709604" y="264481"/>
                    </a:cubicBezTo>
                    <a:cubicBezTo>
                      <a:pt x="703964" y="264481"/>
                      <a:pt x="699294" y="264481"/>
                      <a:pt x="695527" y="268231"/>
                    </a:cubicBezTo>
                    <a:lnTo>
                      <a:pt x="680547" y="268231"/>
                    </a:lnTo>
                    <a:cubicBezTo>
                      <a:pt x="678674" y="268231"/>
                      <a:pt x="678674" y="270105"/>
                      <a:pt x="678674" y="270105"/>
                    </a:cubicBezTo>
                    <a:cubicBezTo>
                      <a:pt x="674908" y="271042"/>
                      <a:pt x="673035" y="271042"/>
                      <a:pt x="669290" y="272916"/>
                    </a:cubicBezTo>
                    <a:cubicBezTo>
                      <a:pt x="665545" y="272916"/>
                      <a:pt x="661800" y="272916"/>
                      <a:pt x="658980" y="273855"/>
                    </a:cubicBezTo>
                    <a:cubicBezTo>
                      <a:pt x="655235" y="274791"/>
                      <a:pt x="652416" y="274791"/>
                      <a:pt x="648671" y="274791"/>
                    </a:cubicBezTo>
                    <a:cubicBezTo>
                      <a:pt x="643979" y="276666"/>
                      <a:pt x="638361" y="276666"/>
                      <a:pt x="634616" y="278540"/>
                    </a:cubicBezTo>
                    <a:cubicBezTo>
                      <a:pt x="630871" y="280415"/>
                      <a:pt x="627126" y="278540"/>
                      <a:pt x="623359" y="281351"/>
                    </a:cubicBezTo>
                    <a:cubicBezTo>
                      <a:pt x="619614" y="282288"/>
                      <a:pt x="614944" y="281351"/>
                      <a:pt x="610252" y="282288"/>
                    </a:cubicBezTo>
                    <a:lnTo>
                      <a:pt x="608379" y="284164"/>
                    </a:lnTo>
                    <a:cubicBezTo>
                      <a:pt x="610252" y="284164"/>
                      <a:pt x="610252" y="285101"/>
                      <a:pt x="611177" y="285101"/>
                    </a:cubicBezTo>
                    <a:cubicBezTo>
                      <a:pt x="611177" y="286037"/>
                      <a:pt x="612124" y="285101"/>
                      <a:pt x="612124" y="286037"/>
                    </a:cubicBezTo>
                    <a:lnTo>
                      <a:pt x="614944" y="286037"/>
                    </a:lnTo>
                    <a:cubicBezTo>
                      <a:pt x="615869" y="287912"/>
                      <a:pt x="614944" y="288850"/>
                      <a:pt x="612124" y="288850"/>
                    </a:cubicBezTo>
                    <a:lnTo>
                      <a:pt x="607432" y="288850"/>
                    </a:lnTo>
                    <a:cubicBezTo>
                      <a:pt x="606507" y="287912"/>
                      <a:pt x="604635" y="286037"/>
                      <a:pt x="604635" y="285101"/>
                    </a:cubicBezTo>
                    <a:cubicBezTo>
                      <a:pt x="603687" y="282288"/>
                      <a:pt x="604635" y="280415"/>
                      <a:pt x="606507" y="278540"/>
                    </a:cubicBezTo>
                    <a:cubicBezTo>
                      <a:pt x="608379" y="276666"/>
                      <a:pt x="612124" y="274791"/>
                      <a:pt x="613997" y="272916"/>
                    </a:cubicBezTo>
                    <a:cubicBezTo>
                      <a:pt x="615869" y="268231"/>
                      <a:pt x="618689" y="267292"/>
                      <a:pt x="619614" y="264481"/>
                    </a:cubicBezTo>
                    <a:cubicBezTo>
                      <a:pt x="623359" y="260732"/>
                      <a:pt x="626179" y="256985"/>
                      <a:pt x="628999" y="255110"/>
                    </a:cubicBezTo>
                    <a:cubicBezTo>
                      <a:pt x="633669" y="247611"/>
                      <a:pt x="638361" y="241987"/>
                      <a:pt x="643979" y="236363"/>
                    </a:cubicBezTo>
                    <a:cubicBezTo>
                      <a:pt x="650543" y="229803"/>
                      <a:pt x="658980" y="223243"/>
                      <a:pt x="662725" y="214808"/>
                    </a:cubicBezTo>
                    <a:cubicBezTo>
                      <a:pt x="663673" y="212933"/>
                      <a:pt x="666471" y="211997"/>
                      <a:pt x="667418" y="211058"/>
                    </a:cubicBezTo>
                    <a:cubicBezTo>
                      <a:pt x="671163" y="205434"/>
                      <a:pt x="676780" y="201687"/>
                      <a:pt x="678674" y="196063"/>
                    </a:cubicBezTo>
                    <a:cubicBezTo>
                      <a:pt x="680547" y="194188"/>
                      <a:pt x="681472" y="193252"/>
                      <a:pt x="684292" y="192314"/>
                    </a:cubicBezTo>
                    <a:cubicBezTo>
                      <a:pt x="688037" y="190439"/>
                      <a:pt x="688984" y="185754"/>
                      <a:pt x="692729" y="184817"/>
                    </a:cubicBezTo>
                    <a:cubicBezTo>
                      <a:pt x="695527" y="182004"/>
                      <a:pt x="698347" y="179193"/>
                      <a:pt x="702091" y="176380"/>
                    </a:cubicBezTo>
                    <a:cubicBezTo>
                      <a:pt x="706784" y="171695"/>
                      <a:pt x="711476" y="167009"/>
                      <a:pt x="717093" y="161385"/>
                    </a:cubicBezTo>
                    <a:cubicBezTo>
                      <a:pt x="718966" y="159510"/>
                      <a:pt x="721785" y="155763"/>
                      <a:pt x="724583" y="153888"/>
                    </a:cubicBezTo>
                    <a:cubicBezTo>
                      <a:pt x="731148" y="150139"/>
                      <a:pt x="736765" y="144515"/>
                      <a:pt x="743330" y="137955"/>
                    </a:cubicBezTo>
                    <a:cubicBezTo>
                      <a:pt x="746150" y="135144"/>
                      <a:pt x="749895" y="132331"/>
                      <a:pt x="751767" y="131394"/>
                    </a:cubicBezTo>
                    <a:cubicBezTo>
                      <a:pt x="761152" y="124834"/>
                      <a:pt x="769567" y="120146"/>
                      <a:pt x="776132" y="112650"/>
                    </a:cubicBezTo>
                    <a:cubicBezTo>
                      <a:pt x="776132" y="111711"/>
                      <a:pt x="777079" y="109837"/>
                      <a:pt x="778951" y="109837"/>
                    </a:cubicBezTo>
                    <a:lnTo>
                      <a:pt x="779877" y="108900"/>
                    </a:lnTo>
                    <a:cubicBezTo>
                      <a:pt x="780824" y="109837"/>
                      <a:pt x="780824" y="111711"/>
                      <a:pt x="780824" y="112650"/>
                    </a:cubicBezTo>
                    <a:cubicBezTo>
                      <a:pt x="777079" y="119210"/>
                      <a:pt x="775206" y="126709"/>
                      <a:pt x="773334" y="134205"/>
                    </a:cubicBezTo>
                    <a:cubicBezTo>
                      <a:pt x="770514" y="138891"/>
                      <a:pt x="770514" y="146390"/>
                      <a:pt x="768641" y="152014"/>
                    </a:cubicBezTo>
                    <a:lnTo>
                      <a:pt x="768641" y="152950"/>
                    </a:lnTo>
                    <a:cubicBezTo>
                      <a:pt x="768641" y="153888"/>
                      <a:pt x="769567" y="156699"/>
                      <a:pt x="769567" y="157636"/>
                    </a:cubicBezTo>
                    <a:lnTo>
                      <a:pt x="773334" y="157636"/>
                    </a:lnTo>
                    <a:cubicBezTo>
                      <a:pt x="775206" y="156699"/>
                      <a:pt x="776132" y="155763"/>
                      <a:pt x="777079" y="155763"/>
                    </a:cubicBezTo>
                    <a:cubicBezTo>
                      <a:pt x="782696" y="155763"/>
                      <a:pt x="784569" y="152950"/>
                      <a:pt x="787389" y="150139"/>
                    </a:cubicBezTo>
                    <a:cubicBezTo>
                      <a:pt x="793953" y="145453"/>
                      <a:pt x="798623" y="138891"/>
                      <a:pt x="802390" y="132331"/>
                    </a:cubicBezTo>
                    <a:cubicBezTo>
                      <a:pt x="805188" y="128581"/>
                      <a:pt x="807060" y="124834"/>
                      <a:pt x="809880" y="121085"/>
                    </a:cubicBezTo>
                    <a:cubicBezTo>
                      <a:pt x="813625" y="117335"/>
                      <a:pt x="814572" y="113586"/>
                      <a:pt x="817370" y="109837"/>
                    </a:cubicBezTo>
                    <a:cubicBezTo>
                      <a:pt x="823010" y="105151"/>
                      <a:pt x="823010" y="98591"/>
                      <a:pt x="824882" y="93905"/>
                    </a:cubicBezTo>
                    <a:cubicBezTo>
                      <a:pt x="824882" y="92030"/>
                      <a:pt x="824882" y="91092"/>
                      <a:pt x="823935" y="90156"/>
                    </a:cubicBezTo>
                    <a:cubicBezTo>
                      <a:pt x="821115" y="84532"/>
                      <a:pt x="817370" y="80782"/>
                      <a:pt x="812700" y="78908"/>
                    </a:cubicBezTo>
                    <a:cubicBezTo>
                      <a:pt x="805188" y="73286"/>
                      <a:pt x="795826" y="69536"/>
                      <a:pt x="786441" y="71411"/>
                    </a:cubicBezTo>
                    <a:lnTo>
                      <a:pt x="784569" y="71411"/>
                    </a:lnTo>
                    <a:cubicBezTo>
                      <a:pt x="776132" y="69536"/>
                      <a:pt x="768641" y="72347"/>
                      <a:pt x="761152" y="76097"/>
                    </a:cubicBezTo>
                    <a:cubicBezTo>
                      <a:pt x="757385" y="78908"/>
                      <a:pt x="754587" y="79846"/>
                      <a:pt x="750842" y="82657"/>
                    </a:cubicBezTo>
                    <a:cubicBezTo>
                      <a:pt x="749895" y="84532"/>
                      <a:pt x="748022" y="86406"/>
                      <a:pt x="746150" y="87345"/>
                    </a:cubicBezTo>
                    <a:cubicBezTo>
                      <a:pt x="738638" y="91092"/>
                      <a:pt x="732095" y="96716"/>
                      <a:pt x="725531" y="101402"/>
                    </a:cubicBezTo>
                    <a:cubicBezTo>
                      <a:pt x="721785" y="102340"/>
                      <a:pt x="718966" y="105151"/>
                      <a:pt x="718019" y="107962"/>
                    </a:cubicBezTo>
                    <a:cubicBezTo>
                      <a:pt x="717093" y="109837"/>
                      <a:pt x="715221" y="112647"/>
                      <a:pt x="713348" y="113586"/>
                    </a:cubicBezTo>
                    <a:cubicBezTo>
                      <a:pt x="703039" y="120146"/>
                      <a:pt x="695527" y="127645"/>
                      <a:pt x="688037" y="135141"/>
                    </a:cubicBezTo>
                    <a:cubicBezTo>
                      <a:pt x="682420" y="140766"/>
                      <a:pt x="678674" y="145451"/>
                      <a:pt x="673035" y="149200"/>
                    </a:cubicBezTo>
                    <a:cubicBezTo>
                      <a:pt x="670237" y="153888"/>
                      <a:pt x="662725" y="156699"/>
                      <a:pt x="659928" y="161385"/>
                    </a:cubicBezTo>
                    <a:cubicBezTo>
                      <a:pt x="656183" y="165134"/>
                      <a:pt x="654288" y="167945"/>
                      <a:pt x="651491" y="171695"/>
                    </a:cubicBezTo>
                    <a:cubicBezTo>
                      <a:pt x="647746" y="175444"/>
                      <a:pt x="644926" y="179193"/>
                      <a:pt x="641181" y="182943"/>
                    </a:cubicBezTo>
                    <a:cubicBezTo>
                      <a:pt x="637436" y="186690"/>
                      <a:pt x="633669" y="190439"/>
                      <a:pt x="628999" y="194188"/>
                    </a:cubicBezTo>
                    <a:cubicBezTo>
                      <a:pt x="627126" y="199813"/>
                      <a:pt x="622434" y="201687"/>
                      <a:pt x="619614" y="205434"/>
                    </a:cubicBezTo>
                    <a:cubicBezTo>
                      <a:pt x="617742" y="211058"/>
                      <a:pt x="612124" y="214808"/>
                      <a:pt x="608379" y="218557"/>
                    </a:cubicBezTo>
                    <a:cubicBezTo>
                      <a:pt x="608379" y="219181"/>
                      <a:pt x="608071" y="219493"/>
                      <a:pt x="607432" y="219493"/>
                    </a:cubicBezTo>
                    <a:cubicBezTo>
                      <a:pt x="604635" y="226054"/>
                      <a:pt x="600867" y="229803"/>
                      <a:pt x="596197" y="234489"/>
                    </a:cubicBezTo>
                    <a:cubicBezTo>
                      <a:pt x="595250" y="236363"/>
                      <a:pt x="592430" y="238238"/>
                      <a:pt x="590558" y="241049"/>
                    </a:cubicBezTo>
                    <a:cubicBezTo>
                      <a:pt x="588685" y="244800"/>
                      <a:pt x="585888" y="248548"/>
                      <a:pt x="583068" y="251359"/>
                    </a:cubicBezTo>
                    <a:cubicBezTo>
                      <a:pt x="579323" y="255110"/>
                      <a:pt x="577451" y="256983"/>
                      <a:pt x="575578" y="262607"/>
                    </a:cubicBezTo>
                    <a:cubicBezTo>
                      <a:pt x="574631" y="264481"/>
                      <a:pt x="573705" y="267292"/>
                      <a:pt x="570886" y="268231"/>
                    </a:cubicBezTo>
                    <a:cubicBezTo>
                      <a:pt x="564321" y="274791"/>
                      <a:pt x="560576" y="284162"/>
                      <a:pt x="555884" y="291661"/>
                    </a:cubicBezTo>
                    <a:cubicBezTo>
                      <a:pt x="554959" y="292597"/>
                      <a:pt x="552139" y="295410"/>
                      <a:pt x="549319" y="295410"/>
                    </a:cubicBezTo>
                    <a:cubicBezTo>
                      <a:pt x="542777" y="297285"/>
                      <a:pt x="537137" y="299160"/>
                      <a:pt x="531520" y="300096"/>
                    </a:cubicBezTo>
                    <a:cubicBezTo>
                      <a:pt x="525902" y="301032"/>
                      <a:pt x="520263" y="303845"/>
                      <a:pt x="514645" y="304781"/>
                    </a:cubicBezTo>
                    <a:cubicBezTo>
                      <a:pt x="510900" y="306656"/>
                      <a:pt x="505283" y="308531"/>
                      <a:pt x="501538" y="308531"/>
                    </a:cubicBezTo>
                    <a:cubicBezTo>
                      <a:pt x="496846" y="310406"/>
                      <a:pt x="491229" y="311342"/>
                      <a:pt x="487461" y="314155"/>
                    </a:cubicBezTo>
                    <a:cubicBezTo>
                      <a:pt x="465917" y="319777"/>
                      <a:pt x="434988" y="332900"/>
                      <a:pt x="426551" y="338524"/>
                    </a:cubicBezTo>
                    <a:cubicBezTo>
                      <a:pt x="423731" y="340398"/>
                      <a:pt x="421859" y="342271"/>
                      <a:pt x="419061" y="343209"/>
                    </a:cubicBezTo>
                    <a:cubicBezTo>
                      <a:pt x="414369" y="348831"/>
                      <a:pt x="411549" y="354455"/>
                      <a:pt x="408751" y="360079"/>
                    </a:cubicBezTo>
                    <a:cubicBezTo>
                      <a:pt x="407804" y="363829"/>
                      <a:pt x="407804" y="367578"/>
                      <a:pt x="408751" y="371325"/>
                    </a:cubicBezTo>
                    <a:cubicBezTo>
                      <a:pt x="408751" y="372263"/>
                      <a:pt x="410624" y="373200"/>
                      <a:pt x="410624" y="375074"/>
                    </a:cubicBezTo>
                    <a:cubicBezTo>
                      <a:pt x="410624" y="381635"/>
                      <a:pt x="415294" y="382573"/>
                      <a:pt x="419061" y="385384"/>
                    </a:cubicBezTo>
                    <a:cubicBezTo>
                      <a:pt x="419986" y="386322"/>
                      <a:pt x="421859" y="386322"/>
                      <a:pt x="422806" y="386322"/>
                    </a:cubicBezTo>
                    <a:cubicBezTo>
                      <a:pt x="426551" y="386322"/>
                      <a:pt x="429371" y="385384"/>
                      <a:pt x="432168" y="383509"/>
                    </a:cubicBezTo>
                    <a:cubicBezTo>
                      <a:pt x="436861" y="382573"/>
                      <a:pt x="466842" y="364765"/>
                      <a:pt x="471534" y="361954"/>
                    </a:cubicBezTo>
                    <a:cubicBezTo>
                      <a:pt x="474354" y="359141"/>
                      <a:pt x="493101" y="354455"/>
                      <a:pt x="496846" y="352580"/>
                    </a:cubicBezTo>
                    <a:cubicBezTo>
                      <a:pt x="501538" y="351644"/>
                      <a:pt x="505283" y="348831"/>
                      <a:pt x="510900" y="348831"/>
                    </a:cubicBezTo>
                    <a:cubicBezTo>
                      <a:pt x="515593" y="348831"/>
                      <a:pt x="516518" y="350708"/>
                      <a:pt x="515593" y="354455"/>
                    </a:cubicBezTo>
                    <a:cubicBezTo>
                      <a:pt x="514645" y="356330"/>
                      <a:pt x="512773" y="359141"/>
                      <a:pt x="512773" y="361954"/>
                    </a:cubicBezTo>
                    <a:cubicBezTo>
                      <a:pt x="510900" y="362890"/>
                      <a:pt x="509028" y="364765"/>
                      <a:pt x="508081" y="365703"/>
                    </a:cubicBezTo>
                    <a:cubicBezTo>
                      <a:pt x="507155" y="370389"/>
                      <a:pt x="505283" y="374138"/>
                      <a:pt x="501538" y="377888"/>
                    </a:cubicBezTo>
                    <a:cubicBezTo>
                      <a:pt x="494973" y="387259"/>
                      <a:pt x="491229" y="395694"/>
                      <a:pt x="486536" y="406003"/>
                    </a:cubicBezTo>
                    <a:cubicBezTo>
                      <a:pt x="482791" y="413502"/>
                      <a:pt x="479024" y="421937"/>
                      <a:pt x="475279" y="429436"/>
                    </a:cubicBezTo>
                    <a:cubicBezTo>
                      <a:pt x="470609" y="436932"/>
                      <a:pt x="468715" y="447242"/>
                      <a:pt x="464044" y="454739"/>
                    </a:cubicBezTo>
                    <a:cubicBezTo>
                      <a:pt x="463097" y="456615"/>
                      <a:pt x="463097" y="457552"/>
                      <a:pt x="463097" y="460362"/>
                    </a:cubicBezTo>
                    <a:cubicBezTo>
                      <a:pt x="461225" y="460362"/>
                      <a:pt x="460299" y="461301"/>
                      <a:pt x="460299" y="462237"/>
                    </a:cubicBezTo>
                    <a:cubicBezTo>
                      <a:pt x="456532" y="469736"/>
                      <a:pt x="453735" y="479107"/>
                      <a:pt x="449990" y="484731"/>
                    </a:cubicBezTo>
                    <a:cubicBezTo>
                      <a:pt x="449990" y="488481"/>
                      <a:pt x="447170" y="491291"/>
                      <a:pt x="446223" y="495041"/>
                    </a:cubicBezTo>
                    <a:cubicBezTo>
                      <a:pt x="446223" y="495109"/>
                      <a:pt x="446179" y="495166"/>
                      <a:pt x="446157" y="495235"/>
                    </a:cubicBezTo>
                    <a:cubicBezTo>
                      <a:pt x="445562" y="495470"/>
                      <a:pt x="444923" y="495763"/>
                      <a:pt x="444350" y="495979"/>
                    </a:cubicBezTo>
                    <a:cubicBezTo>
                      <a:pt x="434988" y="499726"/>
                      <a:pt x="426551" y="500665"/>
                      <a:pt x="417188" y="506287"/>
                    </a:cubicBezTo>
                    <a:cubicBezTo>
                      <a:pt x="388132" y="518473"/>
                      <a:pt x="356256" y="534405"/>
                      <a:pt x="325327" y="547525"/>
                    </a:cubicBezTo>
                    <a:cubicBezTo>
                      <a:pt x="319709" y="549400"/>
                      <a:pt x="315017" y="549400"/>
                      <a:pt x="313145" y="553149"/>
                    </a:cubicBezTo>
                    <a:cubicBezTo>
                      <a:pt x="303760" y="556899"/>
                      <a:pt x="295345" y="561584"/>
                      <a:pt x="288780" y="568145"/>
                    </a:cubicBezTo>
                    <a:cubicBezTo>
                      <a:pt x="285652" y="571894"/>
                      <a:pt x="282524" y="571894"/>
                      <a:pt x="279396" y="568145"/>
                    </a:cubicBezTo>
                    <a:cubicBezTo>
                      <a:pt x="263469" y="576580"/>
                      <a:pt x="249414" y="584078"/>
                      <a:pt x="231615" y="592513"/>
                    </a:cubicBezTo>
                    <a:cubicBezTo>
                      <a:pt x="216613" y="597199"/>
                      <a:pt x="199738" y="607509"/>
                      <a:pt x="183812" y="610322"/>
                    </a:cubicBezTo>
                    <a:cubicBezTo>
                      <a:pt x="165065" y="615007"/>
                      <a:pt x="144445" y="621568"/>
                      <a:pt x="123826" y="621568"/>
                    </a:cubicBezTo>
                    <a:cubicBezTo>
                      <a:pt x="114442" y="627192"/>
                      <a:pt x="102259" y="621568"/>
                      <a:pt x="91950" y="618757"/>
                    </a:cubicBezTo>
                    <a:cubicBezTo>
                      <a:pt x="85385" y="615946"/>
                      <a:pt x="81640" y="610322"/>
                      <a:pt x="84460" y="600948"/>
                    </a:cubicBezTo>
                    <a:cubicBezTo>
                      <a:pt x="92897" y="576580"/>
                      <a:pt x="111644" y="556899"/>
                      <a:pt x="126624" y="535343"/>
                    </a:cubicBezTo>
                    <a:cubicBezTo>
                      <a:pt x="130391" y="531594"/>
                      <a:pt x="132263" y="531594"/>
                      <a:pt x="135061" y="531594"/>
                    </a:cubicBezTo>
                    <a:cubicBezTo>
                      <a:pt x="150063" y="531594"/>
                      <a:pt x="165065" y="534405"/>
                      <a:pt x="177247" y="534405"/>
                    </a:cubicBezTo>
                    <a:cubicBezTo>
                      <a:pt x="185684" y="534405"/>
                      <a:pt x="195994" y="535343"/>
                      <a:pt x="204431" y="531594"/>
                    </a:cubicBezTo>
                    <a:cubicBezTo>
                      <a:pt x="235360" y="526908"/>
                      <a:pt x="266289" y="517535"/>
                      <a:pt x="291578" y="496916"/>
                    </a:cubicBezTo>
                    <a:lnTo>
                      <a:pt x="304707" y="488481"/>
                    </a:lnTo>
                    <a:cubicBezTo>
                      <a:pt x="323454" y="480982"/>
                      <a:pt x="330944" y="464112"/>
                      <a:pt x="343126" y="449117"/>
                    </a:cubicBezTo>
                    <a:cubicBezTo>
                      <a:pt x="352511" y="438807"/>
                      <a:pt x="352511" y="425684"/>
                      <a:pt x="344999" y="412564"/>
                    </a:cubicBezTo>
                    <a:cubicBezTo>
                      <a:pt x="342201" y="407878"/>
                      <a:pt x="337509" y="398505"/>
                      <a:pt x="330019" y="391944"/>
                    </a:cubicBezTo>
                    <a:cubicBezTo>
                      <a:pt x="329072" y="390070"/>
                      <a:pt x="323454" y="389133"/>
                      <a:pt x="319709" y="388195"/>
                    </a:cubicBezTo>
                    <a:cubicBezTo>
                      <a:pt x="315964" y="385384"/>
                      <a:pt x="313145" y="388195"/>
                      <a:pt x="311272" y="385384"/>
                    </a:cubicBezTo>
                    <a:cubicBezTo>
                      <a:pt x="300015" y="377888"/>
                      <a:pt x="289706" y="379760"/>
                      <a:pt x="277524" y="388195"/>
                    </a:cubicBezTo>
                    <a:cubicBezTo>
                      <a:pt x="269086" y="391944"/>
                      <a:pt x="257851" y="392883"/>
                      <a:pt x="249414" y="396630"/>
                    </a:cubicBezTo>
                    <a:cubicBezTo>
                      <a:pt x="237232" y="398505"/>
                      <a:pt x="224103" y="404129"/>
                      <a:pt x="215666" y="410689"/>
                    </a:cubicBezTo>
                    <a:cubicBezTo>
                      <a:pt x="197271" y="420430"/>
                      <a:pt x="180529" y="431872"/>
                      <a:pt x="164536" y="444376"/>
                    </a:cubicBezTo>
                    <a:cubicBezTo>
                      <a:pt x="163016" y="443050"/>
                      <a:pt x="160659" y="442554"/>
                      <a:pt x="159447" y="442554"/>
                    </a:cubicBezTo>
                    <a:cubicBezTo>
                      <a:pt x="152882" y="442554"/>
                      <a:pt x="144445" y="443493"/>
                      <a:pt x="135061" y="442554"/>
                    </a:cubicBezTo>
                    <a:cubicBezTo>
                      <a:pt x="123914" y="442554"/>
                      <a:pt x="111842" y="442594"/>
                      <a:pt x="102502" y="449916"/>
                    </a:cubicBezTo>
                    <a:lnTo>
                      <a:pt x="102171" y="449720"/>
                    </a:lnTo>
                    <a:cubicBezTo>
                      <a:pt x="99352" y="453467"/>
                      <a:pt x="91862" y="453467"/>
                      <a:pt x="90914" y="446907"/>
                    </a:cubicBezTo>
                    <a:cubicBezTo>
                      <a:pt x="88095" y="445032"/>
                      <a:pt x="87169" y="445032"/>
                      <a:pt x="87169" y="445032"/>
                    </a:cubicBezTo>
                    <a:cubicBezTo>
                      <a:pt x="80605" y="455342"/>
                      <a:pt x="69370" y="449720"/>
                      <a:pt x="59986" y="453467"/>
                    </a:cubicBezTo>
                    <a:lnTo>
                      <a:pt x="31876" y="453467"/>
                    </a:lnTo>
                    <a:cubicBezTo>
                      <a:pt x="25312" y="453467"/>
                      <a:pt x="6565" y="457217"/>
                      <a:pt x="0" y="460966"/>
                    </a:cubicBezTo>
                    <a:cubicBezTo>
                      <a:pt x="7512" y="461902"/>
                      <a:pt x="18747" y="461902"/>
                      <a:pt x="27184" y="464715"/>
                    </a:cubicBezTo>
                    <a:cubicBezTo>
                      <a:pt x="27250" y="464742"/>
                      <a:pt x="27338" y="464735"/>
                      <a:pt x="27404" y="464760"/>
                    </a:cubicBezTo>
                    <a:lnTo>
                      <a:pt x="27294" y="465048"/>
                    </a:lnTo>
                    <a:cubicBezTo>
                      <a:pt x="31964" y="466923"/>
                      <a:pt x="38529" y="465048"/>
                      <a:pt x="46041" y="464112"/>
                    </a:cubicBezTo>
                    <a:lnTo>
                      <a:pt x="46966" y="462237"/>
                    </a:lnTo>
                    <a:cubicBezTo>
                      <a:pt x="49786" y="461301"/>
                      <a:pt x="53531" y="458488"/>
                      <a:pt x="54456" y="458488"/>
                    </a:cubicBezTo>
                    <a:cubicBezTo>
                      <a:pt x="60096" y="461301"/>
                      <a:pt x="67586" y="462237"/>
                      <a:pt x="72278" y="461301"/>
                    </a:cubicBezTo>
                    <a:cubicBezTo>
                      <a:pt x="79768" y="457552"/>
                      <a:pt x="85385" y="462237"/>
                      <a:pt x="91950" y="461301"/>
                    </a:cubicBezTo>
                    <a:cubicBezTo>
                      <a:pt x="100387" y="457552"/>
                      <a:pt x="106952" y="462237"/>
                      <a:pt x="115389" y="464112"/>
                    </a:cubicBezTo>
                    <a:cubicBezTo>
                      <a:pt x="119134" y="465048"/>
                      <a:pt x="125699" y="465048"/>
                      <a:pt x="126624" y="464112"/>
                    </a:cubicBezTo>
                    <a:cubicBezTo>
                      <a:pt x="131316" y="457552"/>
                      <a:pt x="134136" y="461301"/>
                      <a:pt x="138828" y="462237"/>
                    </a:cubicBezTo>
                    <a:cubicBezTo>
                      <a:pt x="139973" y="462623"/>
                      <a:pt x="141163" y="462669"/>
                      <a:pt x="142330" y="462854"/>
                    </a:cubicBezTo>
                    <a:cubicBezTo>
                      <a:pt x="138343" y="466377"/>
                      <a:pt x="134312" y="469831"/>
                      <a:pt x="130391" y="473485"/>
                    </a:cubicBezTo>
                    <a:cubicBezTo>
                      <a:pt x="102259" y="495979"/>
                      <a:pt x="79768" y="523159"/>
                      <a:pt x="64766" y="556899"/>
                    </a:cubicBezTo>
                    <a:lnTo>
                      <a:pt x="58223" y="569083"/>
                    </a:lnTo>
                    <a:cubicBezTo>
                      <a:pt x="54456" y="585953"/>
                      <a:pt x="54456" y="589702"/>
                      <a:pt x="58223" y="610320"/>
                    </a:cubicBezTo>
                    <a:cubicBezTo>
                      <a:pt x="61968" y="621568"/>
                      <a:pt x="66660" y="633752"/>
                      <a:pt x="77895" y="642187"/>
                    </a:cubicBezTo>
                    <a:cubicBezTo>
                      <a:pt x="84460" y="648747"/>
                      <a:pt x="91950" y="653433"/>
                      <a:pt x="102259" y="656246"/>
                    </a:cubicBezTo>
                    <a:cubicBezTo>
                      <a:pt x="118209" y="661868"/>
                      <a:pt x="134136" y="668430"/>
                      <a:pt x="152882" y="660931"/>
                    </a:cubicBezTo>
                    <a:cubicBezTo>
                      <a:pt x="156627" y="656246"/>
                      <a:pt x="160372" y="656246"/>
                      <a:pt x="165990" y="654371"/>
                    </a:cubicBezTo>
                    <a:cubicBezTo>
                      <a:pt x="198791" y="649686"/>
                      <a:pt x="229720" y="638438"/>
                      <a:pt x="257851" y="622504"/>
                    </a:cubicBezTo>
                    <a:cubicBezTo>
                      <a:pt x="277524" y="613133"/>
                      <a:pt x="298143" y="603759"/>
                      <a:pt x="318762" y="595324"/>
                    </a:cubicBezTo>
                    <a:cubicBezTo>
                      <a:pt x="338456" y="584078"/>
                      <a:pt x="361873" y="580329"/>
                      <a:pt x="380620" y="566270"/>
                    </a:cubicBezTo>
                    <a:cubicBezTo>
                      <a:pt x="381567" y="564395"/>
                      <a:pt x="385312" y="564395"/>
                      <a:pt x="388132" y="562523"/>
                    </a:cubicBezTo>
                    <a:cubicBezTo>
                      <a:pt x="400887" y="557203"/>
                      <a:pt x="413994" y="552096"/>
                      <a:pt x="427189" y="546867"/>
                    </a:cubicBezTo>
                    <a:cubicBezTo>
                      <a:pt x="426683" y="548697"/>
                      <a:pt x="426551" y="549922"/>
                      <a:pt x="426551" y="552213"/>
                    </a:cubicBezTo>
                    <a:cubicBezTo>
                      <a:pt x="426551" y="554088"/>
                      <a:pt x="427498" y="554088"/>
                      <a:pt x="430296" y="554088"/>
                    </a:cubicBezTo>
                    <a:cubicBezTo>
                      <a:pt x="430935" y="554088"/>
                      <a:pt x="431243" y="554711"/>
                      <a:pt x="431243" y="555960"/>
                    </a:cubicBezTo>
                    <a:cubicBezTo>
                      <a:pt x="432168" y="555960"/>
                      <a:pt x="432168" y="556899"/>
                      <a:pt x="432168" y="557835"/>
                    </a:cubicBezTo>
                    <a:cubicBezTo>
                      <a:pt x="431243" y="559710"/>
                      <a:pt x="430296" y="560648"/>
                      <a:pt x="428423" y="561584"/>
                    </a:cubicBezTo>
                    <a:lnTo>
                      <a:pt x="427498" y="561584"/>
                    </a:lnTo>
                    <a:cubicBezTo>
                      <a:pt x="424370" y="563459"/>
                      <a:pt x="422806" y="564708"/>
                      <a:pt x="422806" y="565334"/>
                    </a:cubicBezTo>
                    <a:cubicBezTo>
                      <a:pt x="420933" y="567208"/>
                      <a:pt x="419986" y="568145"/>
                      <a:pt x="419986" y="570958"/>
                    </a:cubicBezTo>
                    <a:cubicBezTo>
                      <a:pt x="419986" y="571894"/>
                      <a:pt x="419986" y="572830"/>
                      <a:pt x="419061" y="574705"/>
                    </a:cubicBezTo>
                    <a:cubicBezTo>
                      <a:pt x="419061" y="576580"/>
                      <a:pt x="417188" y="578454"/>
                      <a:pt x="417188" y="579393"/>
                    </a:cubicBezTo>
                    <a:cubicBezTo>
                      <a:pt x="416241" y="580329"/>
                      <a:pt x="416241" y="583140"/>
                      <a:pt x="416241" y="585015"/>
                    </a:cubicBezTo>
                    <a:cubicBezTo>
                      <a:pt x="416241" y="585953"/>
                      <a:pt x="414369" y="586889"/>
                      <a:pt x="413421" y="588764"/>
                    </a:cubicBezTo>
                    <a:cubicBezTo>
                      <a:pt x="413421" y="590639"/>
                      <a:pt x="413421" y="592513"/>
                      <a:pt x="412496" y="593450"/>
                    </a:cubicBezTo>
                    <a:cubicBezTo>
                      <a:pt x="412496" y="597199"/>
                      <a:pt x="410624" y="600010"/>
                      <a:pt x="409676" y="603759"/>
                    </a:cubicBezTo>
                    <a:cubicBezTo>
                      <a:pt x="408751" y="607509"/>
                      <a:pt x="409676" y="611258"/>
                      <a:pt x="406879" y="615007"/>
                    </a:cubicBezTo>
                    <a:cubicBezTo>
                      <a:pt x="405931" y="616882"/>
                      <a:pt x="405931" y="620631"/>
                      <a:pt x="404984" y="623442"/>
                    </a:cubicBezTo>
                    <a:cubicBezTo>
                      <a:pt x="402186" y="629066"/>
                      <a:pt x="403112" y="634688"/>
                      <a:pt x="399367" y="640312"/>
                    </a:cubicBezTo>
                    <a:lnTo>
                      <a:pt x="399367" y="649686"/>
                    </a:lnTo>
                    <a:cubicBezTo>
                      <a:pt x="399367" y="652497"/>
                      <a:pt x="398442" y="655308"/>
                      <a:pt x="397494" y="657182"/>
                    </a:cubicBezTo>
                    <a:cubicBezTo>
                      <a:pt x="395622" y="660931"/>
                      <a:pt x="397494" y="662806"/>
                      <a:pt x="401239" y="663742"/>
                    </a:cubicBezTo>
                    <a:cubicBezTo>
                      <a:pt x="402186" y="664681"/>
                      <a:pt x="402186" y="666556"/>
                      <a:pt x="401239" y="667492"/>
                    </a:cubicBezTo>
                    <a:cubicBezTo>
                      <a:pt x="398442" y="670303"/>
                      <a:pt x="395622" y="674052"/>
                      <a:pt x="395622" y="678738"/>
                    </a:cubicBezTo>
                    <a:cubicBezTo>
                      <a:pt x="397494" y="681551"/>
                      <a:pt x="395622" y="684362"/>
                      <a:pt x="395622" y="685300"/>
                    </a:cubicBezTo>
                    <a:cubicBezTo>
                      <a:pt x="397494" y="689047"/>
                      <a:pt x="395622" y="692797"/>
                      <a:pt x="397494" y="695610"/>
                    </a:cubicBezTo>
                    <a:cubicBezTo>
                      <a:pt x="399367" y="700295"/>
                      <a:pt x="399367" y="704045"/>
                      <a:pt x="399367" y="708730"/>
                    </a:cubicBezTo>
                    <a:cubicBezTo>
                      <a:pt x="399367" y="714354"/>
                      <a:pt x="401239" y="718102"/>
                      <a:pt x="403112" y="722789"/>
                    </a:cubicBezTo>
                    <a:cubicBezTo>
                      <a:pt x="408751" y="728411"/>
                      <a:pt x="412496" y="734035"/>
                      <a:pt x="419061" y="737785"/>
                    </a:cubicBezTo>
                    <a:cubicBezTo>
                      <a:pt x="423731" y="741534"/>
                      <a:pt x="430296" y="744345"/>
                      <a:pt x="435913" y="744345"/>
                    </a:cubicBezTo>
                    <a:cubicBezTo>
                      <a:pt x="445298" y="745283"/>
                      <a:pt x="453735" y="743409"/>
                      <a:pt x="461225" y="739659"/>
                    </a:cubicBezTo>
                    <a:cubicBezTo>
                      <a:pt x="464044" y="736848"/>
                      <a:pt x="467789" y="735910"/>
                      <a:pt x="470609" y="734035"/>
                    </a:cubicBezTo>
                    <a:cubicBezTo>
                      <a:pt x="472481" y="733099"/>
                      <a:pt x="475279" y="730286"/>
                      <a:pt x="476227" y="729350"/>
                    </a:cubicBezTo>
                    <a:cubicBezTo>
                      <a:pt x="489334" y="718102"/>
                      <a:pt x="500591" y="704981"/>
                      <a:pt x="511848" y="693735"/>
                    </a:cubicBezTo>
                    <a:cubicBezTo>
                      <a:pt x="515593" y="689986"/>
                      <a:pt x="519338" y="688111"/>
                      <a:pt x="522157" y="684362"/>
                    </a:cubicBezTo>
                    <a:cubicBezTo>
                      <a:pt x="525902" y="676865"/>
                      <a:pt x="533392" y="670303"/>
                      <a:pt x="538085" y="663742"/>
                    </a:cubicBezTo>
                    <a:cubicBezTo>
                      <a:pt x="542777" y="659057"/>
                      <a:pt x="548394" y="656246"/>
                      <a:pt x="551192" y="649683"/>
                    </a:cubicBezTo>
                    <a:cubicBezTo>
                      <a:pt x="551192" y="648747"/>
                      <a:pt x="552139" y="647811"/>
                      <a:pt x="553086" y="647811"/>
                    </a:cubicBezTo>
                    <a:cubicBezTo>
                      <a:pt x="558704" y="645936"/>
                      <a:pt x="560576" y="641251"/>
                      <a:pt x="564321" y="637501"/>
                    </a:cubicBezTo>
                    <a:cubicBezTo>
                      <a:pt x="569939" y="633752"/>
                      <a:pt x="574631" y="629066"/>
                      <a:pt x="578376" y="624379"/>
                    </a:cubicBezTo>
                    <a:cubicBezTo>
                      <a:pt x="582121" y="623442"/>
                      <a:pt x="583068" y="620631"/>
                      <a:pt x="584941" y="618757"/>
                    </a:cubicBezTo>
                    <a:cubicBezTo>
                      <a:pt x="586813" y="615007"/>
                      <a:pt x="589633" y="611258"/>
                      <a:pt x="592430" y="608447"/>
                    </a:cubicBezTo>
                    <a:cubicBezTo>
                      <a:pt x="597123" y="605634"/>
                      <a:pt x="599942" y="601887"/>
                      <a:pt x="602740" y="597199"/>
                    </a:cubicBezTo>
                    <a:cubicBezTo>
                      <a:pt x="603687" y="596263"/>
                      <a:pt x="604635" y="594388"/>
                      <a:pt x="606507" y="594388"/>
                    </a:cubicBezTo>
                    <a:cubicBezTo>
                      <a:pt x="607432" y="593450"/>
                      <a:pt x="610252" y="593450"/>
                      <a:pt x="610252" y="592513"/>
                    </a:cubicBezTo>
                    <a:cubicBezTo>
                      <a:pt x="615869" y="586889"/>
                      <a:pt x="621487" y="582204"/>
                      <a:pt x="625254" y="575643"/>
                    </a:cubicBezTo>
                    <a:cubicBezTo>
                      <a:pt x="627126" y="570958"/>
                      <a:pt x="632744" y="567208"/>
                      <a:pt x="636489" y="563459"/>
                    </a:cubicBezTo>
                    <a:cubicBezTo>
                      <a:pt x="637436" y="560648"/>
                      <a:pt x="637436" y="559710"/>
                      <a:pt x="637436" y="556899"/>
                    </a:cubicBezTo>
                    <a:cubicBezTo>
                      <a:pt x="636489" y="555960"/>
                      <a:pt x="634616" y="555960"/>
                      <a:pt x="634616" y="555960"/>
                    </a:cubicBezTo>
                    <a:cubicBezTo>
                      <a:pt x="634616" y="555960"/>
                      <a:pt x="634616" y="554088"/>
                      <a:pt x="636489" y="554088"/>
                    </a:cubicBezTo>
                    <a:cubicBezTo>
                      <a:pt x="636489" y="555337"/>
                      <a:pt x="636797" y="556273"/>
                      <a:pt x="637436" y="556899"/>
                    </a:cubicBezTo>
                    <a:cubicBezTo>
                      <a:pt x="641181" y="555960"/>
                      <a:pt x="643979" y="550339"/>
                      <a:pt x="648671" y="549400"/>
                    </a:cubicBezTo>
                    <a:cubicBezTo>
                      <a:pt x="651491" y="546589"/>
                      <a:pt x="654288" y="542840"/>
                      <a:pt x="658055" y="540965"/>
                    </a:cubicBezTo>
                    <a:cubicBezTo>
                      <a:pt x="658980" y="540965"/>
                      <a:pt x="659928" y="539090"/>
                      <a:pt x="661800" y="538154"/>
                    </a:cubicBezTo>
                    <a:cubicBezTo>
                      <a:pt x="663673" y="531594"/>
                      <a:pt x="667418" y="527844"/>
                      <a:pt x="673982" y="525034"/>
                    </a:cubicBezTo>
                    <a:lnTo>
                      <a:pt x="678674" y="520348"/>
                    </a:lnTo>
                    <a:cubicBezTo>
                      <a:pt x="681472" y="516596"/>
                      <a:pt x="684292" y="511911"/>
                      <a:pt x="687112" y="508164"/>
                    </a:cubicBezTo>
                    <a:cubicBezTo>
                      <a:pt x="688037" y="506287"/>
                      <a:pt x="688037" y="505350"/>
                      <a:pt x="688037" y="502540"/>
                    </a:cubicBezTo>
                    <a:cubicBezTo>
                      <a:pt x="685217" y="504414"/>
                      <a:pt x="682420" y="505350"/>
                      <a:pt x="681472" y="506287"/>
                    </a:cubicBezTo>
                    <a:lnTo>
                      <a:pt x="681472" y="501601"/>
                    </a:lnTo>
                    <a:cubicBezTo>
                      <a:pt x="682420" y="500665"/>
                      <a:pt x="684292" y="500665"/>
                      <a:pt x="685217" y="500665"/>
                    </a:cubicBezTo>
                    <a:cubicBezTo>
                      <a:pt x="687112" y="501601"/>
                      <a:pt x="687112" y="502540"/>
                      <a:pt x="688037" y="502540"/>
                    </a:cubicBezTo>
                    <a:cubicBezTo>
                      <a:pt x="691782" y="501601"/>
                      <a:pt x="696474" y="498790"/>
                      <a:pt x="700219" y="496916"/>
                    </a:cubicBezTo>
                    <a:cubicBezTo>
                      <a:pt x="703039" y="495041"/>
                      <a:pt x="706784" y="494105"/>
                      <a:pt x="706784" y="490355"/>
                    </a:cubicBezTo>
                    <a:cubicBezTo>
                      <a:pt x="707731" y="486606"/>
                      <a:pt x="710529" y="484731"/>
                      <a:pt x="714274" y="483795"/>
                    </a:cubicBezTo>
                    <a:cubicBezTo>
                      <a:pt x="718019" y="480984"/>
                      <a:pt x="718966" y="477235"/>
                      <a:pt x="720838" y="472547"/>
                    </a:cubicBezTo>
                    <a:cubicBezTo>
                      <a:pt x="720838" y="471611"/>
                      <a:pt x="718966" y="469736"/>
                      <a:pt x="718019" y="469736"/>
                    </a:cubicBezTo>
                    <a:cubicBezTo>
                      <a:pt x="717093" y="471611"/>
                      <a:pt x="717093" y="472547"/>
                      <a:pt x="714274" y="472547"/>
                    </a:cubicBezTo>
                    <a:cubicBezTo>
                      <a:pt x="715221" y="471611"/>
                      <a:pt x="715221" y="469736"/>
                      <a:pt x="718019" y="469736"/>
                    </a:cubicBezTo>
                    <a:cubicBezTo>
                      <a:pt x="718019" y="465987"/>
                      <a:pt x="720838" y="464112"/>
                      <a:pt x="724583" y="462237"/>
                    </a:cubicBezTo>
                    <a:cubicBezTo>
                      <a:pt x="724583" y="461301"/>
                      <a:pt x="725531" y="460365"/>
                      <a:pt x="728328" y="460365"/>
                    </a:cubicBezTo>
                    <a:cubicBezTo>
                      <a:pt x="728328" y="457552"/>
                      <a:pt x="728328" y="453804"/>
                      <a:pt x="731148" y="452866"/>
                    </a:cubicBezTo>
                    <a:lnTo>
                      <a:pt x="731148" y="450055"/>
                    </a:lnTo>
                    <a:cubicBezTo>
                      <a:pt x="728328" y="450055"/>
                      <a:pt x="725531" y="450055"/>
                      <a:pt x="724583" y="453804"/>
                    </a:cubicBezTo>
                    <a:cubicBezTo>
                      <a:pt x="720838" y="458490"/>
                      <a:pt x="717093" y="464114"/>
                      <a:pt x="710529" y="467861"/>
                    </a:cubicBezTo>
                    <a:cubicBezTo>
                      <a:pt x="707731" y="467861"/>
                      <a:pt x="706784" y="468800"/>
                      <a:pt x="706784" y="469736"/>
                    </a:cubicBezTo>
                    <a:cubicBezTo>
                      <a:pt x="703039" y="476296"/>
                      <a:pt x="698347" y="480984"/>
                      <a:pt x="691782" y="484731"/>
                    </a:cubicBezTo>
                    <a:cubicBezTo>
                      <a:pt x="690857" y="484731"/>
                      <a:pt x="688984" y="486606"/>
                      <a:pt x="688984" y="487544"/>
                    </a:cubicBezTo>
                    <a:cubicBezTo>
                      <a:pt x="685217" y="490355"/>
                      <a:pt x="682420" y="492230"/>
                      <a:pt x="680547" y="495041"/>
                    </a:cubicBezTo>
                    <a:cubicBezTo>
                      <a:pt x="677727" y="498790"/>
                      <a:pt x="673982" y="501601"/>
                      <a:pt x="673035" y="504414"/>
                    </a:cubicBezTo>
                    <a:cubicBezTo>
                      <a:pt x="670237" y="508164"/>
                      <a:pt x="666471" y="509100"/>
                      <a:pt x="665545" y="512849"/>
                    </a:cubicBezTo>
                    <a:cubicBezTo>
                      <a:pt x="659928" y="517535"/>
                      <a:pt x="656183" y="524095"/>
                      <a:pt x="648671" y="527844"/>
                    </a:cubicBezTo>
                    <a:cubicBezTo>
                      <a:pt x="644926" y="534405"/>
                      <a:pt x="640234" y="539093"/>
                      <a:pt x="634616" y="544717"/>
                    </a:cubicBezTo>
                    <a:cubicBezTo>
                      <a:pt x="633669" y="545653"/>
                      <a:pt x="630871" y="545653"/>
                      <a:pt x="629924" y="546589"/>
                    </a:cubicBezTo>
                    <a:cubicBezTo>
                      <a:pt x="626179" y="549402"/>
                      <a:pt x="623359" y="552213"/>
                      <a:pt x="621487" y="555962"/>
                    </a:cubicBezTo>
                    <a:cubicBezTo>
                      <a:pt x="617742" y="561587"/>
                      <a:pt x="612124" y="565334"/>
                      <a:pt x="608379" y="570958"/>
                    </a:cubicBezTo>
                    <a:cubicBezTo>
                      <a:pt x="599942" y="579393"/>
                      <a:pt x="590558" y="588766"/>
                      <a:pt x="582121" y="597201"/>
                    </a:cubicBezTo>
                    <a:cubicBezTo>
                      <a:pt x="573705" y="605636"/>
                      <a:pt x="563396" y="615007"/>
                      <a:pt x="555884" y="624381"/>
                    </a:cubicBezTo>
                    <a:cubicBezTo>
                      <a:pt x="555884" y="626255"/>
                      <a:pt x="554959" y="626255"/>
                      <a:pt x="553086" y="627192"/>
                    </a:cubicBezTo>
                    <a:cubicBezTo>
                      <a:pt x="551192" y="629066"/>
                      <a:pt x="546522" y="630941"/>
                      <a:pt x="544649" y="634690"/>
                    </a:cubicBezTo>
                    <a:cubicBezTo>
                      <a:pt x="540882" y="638440"/>
                      <a:pt x="535265" y="642187"/>
                      <a:pt x="533392" y="648749"/>
                    </a:cubicBezTo>
                    <a:cubicBezTo>
                      <a:pt x="525902" y="653435"/>
                      <a:pt x="519338" y="659995"/>
                      <a:pt x="512773" y="666556"/>
                    </a:cubicBezTo>
                    <a:cubicBezTo>
                      <a:pt x="511848" y="667494"/>
                      <a:pt x="509028" y="667494"/>
                      <a:pt x="507155" y="667494"/>
                    </a:cubicBezTo>
                    <a:cubicBezTo>
                      <a:pt x="507155" y="671241"/>
                      <a:pt x="507155" y="674054"/>
                      <a:pt x="501538" y="674054"/>
                    </a:cubicBezTo>
                    <a:cubicBezTo>
                      <a:pt x="500591" y="674991"/>
                      <a:pt x="498718" y="676865"/>
                      <a:pt x="497771" y="676865"/>
                    </a:cubicBezTo>
                    <a:cubicBezTo>
                      <a:pt x="497771" y="677491"/>
                      <a:pt x="497463" y="677804"/>
                      <a:pt x="496846" y="677804"/>
                    </a:cubicBezTo>
                    <a:cubicBezTo>
                      <a:pt x="494973" y="680615"/>
                      <a:pt x="493101" y="682489"/>
                      <a:pt x="490281" y="684364"/>
                    </a:cubicBezTo>
                    <a:cubicBezTo>
                      <a:pt x="489334" y="685300"/>
                      <a:pt x="489334" y="686236"/>
                      <a:pt x="486536" y="688113"/>
                    </a:cubicBezTo>
                    <a:cubicBezTo>
                      <a:pt x="486536" y="689050"/>
                      <a:pt x="485589" y="689986"/>
                      <a:pt x="483717" y="689986"/>
                    </a:cubicBezTo>
                    <a:cubicBezTo>
                      <a:pt x="483717" y="689050"/>
                      <a:pt x="485589" y="688113"/>
                      <a:pt x="486536" y="688113"/>
                    </a:cubicBezTo>
                    <a:cubicBezTo>
                      <a:pt x="487461" y="685300"/>
                      <a:pt x="487461" y="684364"/>
                      <a:pt x="490281" y="684364"/>
                    </a:cubicBezTo>
                    <a:lnTo>
                      <a:pt x="490281" y="681551"/>
                    </a:lnTo>
                    <a:cubicBezTo>
                      <a:pt x="490281" y="678740"/>
                      <a:pt x="491229" y="677804"/>
                      <a:pt x="494026" y="677804"/>
                    </a:cubicBezTo>
                    <a:lnTo>
                      <a:pt x="496846" y="677804"/>
                    </a:lnTo>
                    <a:cubicBezTo>
                      <a:pt x="496846" y="674991"/>
                      <a:pt x="497771" y="673116"/>
                      <a:pt x="500591" y="671241"/>
                    </a:cubicBezTo>
                    <a:cubicBezTo>
                      <a:pt x="501538" y="670305"/>
                      <a:pt x="504336" y="668430"/>
                      <a:pt x="507155" y="667494"/>
                    </a:cubicBezTo>
                    <a:cubicBezTo>
                      <a:pt x="507155" y="664681"/>
                      <a:pt x="508081" y="663745"/>
                      <a:pt x="508081" y="662806"/>
                    </a:cubicBezTo>
                    <a:cubicBezTo>
                      <a:pt x="512773" y="659057"/>
                      <a:pt x="516518" y="652497"/>
                      <a:pt x="522157" y="647811"/>
                    </a:cubicBezTo>
                    <a:cubicBezTo>
                      <a:pt x="533392" y="636565"/>
                      <a:pt x="544649" y="624381"/>
                      <a:pt x="556831" y="612196"/>
                    </a:cubicBezTo>
                    <a:cubicBezTo>
                      <a:pt x="562449" y="607509"/>
                      <a:pt x="568066" y="601887"/>
                      <a:pt x="571811" y="594388"/>
                    </a:cubicBezTo>
                    <a:cubicBezTo>
                      <a:pt x="571811" y="593452"/>
                      <a:pt x="574631" y="592513"/>
                      <a:pt x="574631" y="590639"/>
                    </a:cubicBezTo>
                    <a:cubicBezTo>
                      <a:pt x="582121" y="583142"/>
                      <a:pt x="589633" y="575643"/>
                      <a:pt x="597123" y="568147"/>
                    </a:cubicBezTo>
                    <a:cubicBezTo>
                      <a:pt x="598995" y="565334"/>
                      <a:pt x="600867" y="564398"/>
                      <a:pt x="602740" y="561587"/>
                    </a:cubicBezTo>
                    <a:cubicBezTo>
                      <a:pt x="608379" y="553149"/>
                      <a:pt x="615869" y="546589"/>
                      <a:pt x="622434" y="539093"/>
                    </a:cubicBezTo>
                    <a:cubicBezTo>
                      <a:pt x="625254" y="538154"/>
                      <a:pt x="628999" y="536280"/>
                      <a:pt x="629924" y="534405"/>
                    </a:cubicBezTo>
                    <a:cubicBezTo>
                      <a:pt x="633669" y="527844"/>
                      <a:pt x="640234" y="523159"/>
                      <a:pt x="646798" y="516599"/>
                    </a:cubicBezTo>
                    <a:cubicBezTo>
                      <a:pt x="648671" y="513785"/>
                      <a:pt x="650543" y="511911"/>
                      <a:pt x="652416" y="509100"/>
                    </a:cubicBezTo>
                    <a:cubicBezTo>
                      <a:pt x="652416" y="509100"/>
                      <a:pt x="652416" y="508164"/>
                      <a:pt x="651491" y="508164"/>
                    </a:cubicBezTo>
                    <a:cubicBezTo>
                      <a:pt x="651491" y="508164"/>
                      <a:pt x="648671" y="506289"/>
                      <a:pt x="648671" y="508164"/>
                    </a:cubicBezTo>
                    <a:cubicBezTo>
                      <a:pt x="638361" y="516599"/>
                      <a:pt x="628999" y="526908"/>
                      <a:pt x="618689" y="536280"/>
                    </a:cubicBezTo>
                    <a:cubicBezTo>
                      <a:pt x="617742" y="539093"/>
                      <a:pt x="614944" y="540965"/>
                      <a:pt x="611177" y="540965"/>
                    </a:cubicBezTo>
                    <a:cubicBezTo>
                      <a:pt x="608379" y="540965"/>
                      <a:pt x="608379" y="541903"/>
                      <a:pt x="607432" y="544717"/>
                    </a:cubicBezTo>
                    <a:cubicBezTo>
                      <a:pt x="607432" y="545653"/>
                      <a:pt x="606507" y="548464"/>
                      <a:pt x="606507" y="549402"/>
                    </a:cubicBezTo>
                    <a:cubicBezTo>
                      <a:pt x="603687" y="552213"/>
                      <a:pt x="600867" y="554088"/>
                      <a:pt x="598995" y="556899"/>
                    </a:cubicBezTo>
                    <a:cubicBezTo>
                      <a:pt x="593378" y="563459"/>
                      <a:pt x="586813" y="568147"/>
                      <a:pt x="582121" y="575643"/>
                    </a:cubicBezTo>
                    <a:cubicBezTo>
                      <a:pt x="577451" y="578457"/>
                      <a:pt x="575578" y="585953"/>
                      <a:pt x="569939" y="588766"/>
                    </a:cubicBezTo>
                    <a:cubicBezTo>
                      <a:pt x="568066" y="588766"/>
                      <a:pt x="567141" y="590639"/>
                      <a:pt x="566194" y="592513"/>
                    </a:cubicBezTo>
                    <a:cubicBezTo>
                      <a:pt x="564321" y="593452"/>
                      <a:pt x="563396" y="596263"/>
                      <a:pt x="562449" y="596263"/>
                    </a:cubicBezTo>
                    <a:cubicBezTo>
                      <a:pt x="559629" y="598137"/>
                      <a:pt x="556831" y="600012"/>
                      <a:pt x="555884" y="601887"/>
                    </a:cubicBezTo>
                    <a:cubicBezTo>
                      <a:pt x="555884" y="603761"/>
                      <a:pt x="554959" y="604698"/>
                      <a:pt x="553086" y="605636"/>
                    </a:cubicBezTo>
                    <a:cubicBezTo>
                      <a:pt x="546522" y="608447"/>
                      <a:pt x="541829" y="612196"/>
                      <a:pt x="539010" y="616882"/>
                    </a:cubicBezTo>
                    <a:cubicBezTo>
                      <a:pt x="534340" y="624379"/>
                      <a:pt x="527775" y="630002"/>
                      <a:pt x="523083" y="636565"/>
                    </a:cubicBezTo>
                    <a:cubicBezTo>
                      <a:pt x="515593" y="644062"/>
                      <a:pt x="508081" y="651560"/>
                      <a:pt x="501538" y="657182"/>
                    </a:cubicBezTo>
                    <a:cubicBezTo>
                      <a:pt x="497771" y="660931"/>
                      <a:pt x="494026" y="663742"/>
                      <a:pt x="493101" y="667492"/>
                    </a:cubicBezTo>
                    <a:cubicBezTo>
                      <a:pt x="491229" y="668430"/>
                      <a:pt x="490281" y="670305"/>
                      <a:pt x="489334" y="671241"/>
                    </a:cubicBezTo>
                    <a:cubicBezTo>
                      <a:pt x="487461" y="673116"/>
                      <a:pt x="485589" y="674052"/>
                      <a:pt x="483717" y="674991"/>
                    </a:cubicBezTo>
                    <a:cubicBezTo>
                      <a:pt x="479972" y="682489"/>
                      <a:pt x="475279" y="686236"/>
                      <a:pt x="468737" y="691861"/>
                    </a:cubicBezTo>
                    <a:cubicBezTo>
                      <a:pt x="466842" y="692799"/>
                      <a:pt x="464044" y="696546"/>
                      <a:pt x="460299" y="699359"/>
                    </a:cubicBezTo>
                    <a:cubicBezTo>
                      <a:pt x="454660" y="703106"/>
                      <a:pt x="450915" y="706856"/>
                      <a:pt x="446223" y="708730"/>
                    </a:cubicBezTo>
                    <a:cubicBezTo>
                      <a:pt x="441553" y="711543"/>
                      <a:pt x="435913" y="714354"/>
                      <a:pt x="432168" y="715293"/>
                    </a:cubicBezTo>
                    <a:cubicBezTo>
                      <a:pt x="430296" y="715293"/>
                      <a:pt x="428423" y="717165"/>
                      <a:pt x="427498" y="717165"/>
                    </a:cubicBezTo>
                    <a:cubicBezTo>
                      <a:pt x="426551" y="718104"/>
                      <a:pt x="423731" y="717165"/>
                      <a:pt x="422806" y="715293"/>
                    </a:cubicBezTo>
                    <a:cubicBezTo>
                      <a:pt x="422806" y="714354"/>
                      <a:pt x="419986" y="712480"/>
                      <a:pt x="419986" y="711543"/>
                    </a:cubicBezTo>
                    <a:cubicBezTo>
                      <a:pt x="419986" y="704045"/>
                      <a:pt x="419061" y="696546"/>
                      <a:pt x="420933" y="689986"/>
                    </a:cubicBezTo>
                    <a:cubicBezTo>
                      <a:pt x="422806" y="689050"/>
                      <a:pt x="422806" y="686236"/>
                      <a:pt x="422806" y="685300"/>
                    </a:cubicBezTo>
                    <a:cubicBezTo>
                      <a:pt x="423731" y="681551"/>
                      <a:pt x="423731" y="677804"/>
                      <a:pt x="423731" y="674054"/>
                    </a:cubicBezTo>
                    <a:cubicBezTo>
                      <a:pt x="423731" y="668430"/>
                      <a:pt x="426551" y="666556"/>
                      <a:pt x="426551" y="662806"/>
                    </a:cubicBezTo>
                    <a:cubicBezTo>
                      <a:pt x="426551" y="656246"/>
                      <a:pt x="428423" y="649686"/>
                      <a:pt x="430296" y="645000"/>
                    </a:cubicBezTo>
                    <a:cubicBezTo>
                      <a:pt x="431243" y="640312"/>
                      <a:pt x="434041" y="634690"/>
                      <a:pt x="434041" y="630002"/>
                    </a:cubicBezTo>
                    <a:lnTo>
                      <a:pt x="434041" y="624379"/>
                    </a:lnTo>
                    <a:cubicBezTo>
                      <a:pt x="435913" y="620631"/>
                      <a:pt x="437786" y="616882"/>
                      <a:pt x="438733" y="612194"/>
                    </a:cubicBezTo>
                    <a:cubicBezTo>
                      <a:pt x="439680" y="607509"/>
                      <a:pt x="442478" y="603761"/>
                      <a:pt x="443425" y="598137"/>
                    </a:cubicBezTo>
                    <a:cubicBezTo>
                      <a:pt x="443425" y="596263"/>
                      <a:pt x="443425" y="594388"/>
                      <a:pt x="446223" y="592513"/>
                    </a:cubicBezTo>
                    <a:cubicBezTo>
                      <a:pt x="449043" y="589702"/>
                      <a:pt x="449990" y="586891"/>
                      <a:pt x="449990" y="583140"/>
                    </a:cubicBezTo>
                    <a:cubicBezTo>
                      <a:pt x="449990" y="580329"/>
                      <a:pt x="453735" y="578454"/>
                      <a:pt x="452787" y="574707"/>
                    </a:cubicBezTo>
                    <a:cubicBezTo>
                      <a:pt x="452787" y="570958"/>
                      <a:pt x="453735" y="568145"/>
                      <a:pt x="456532" y="564398"/>
                    </a:cubicBezTo>
                    <a:cubicBezTo>
                      <a:pt x="458427" y="554088"/>
                      <a:pt x="463097" y="544714"/>
                      <a:pt x="466842" y="532530"/>
                    </a:cubicBezTo>
                    <a:cubicBezTo>
                      <a:pt x="467107" y="531497"/>
                      <a:pt x="467459" y="530772"/>
                      <a:pt x="467745" y="529946"/>
                    </a:cubicBezTo>
                    <a:cubicBezTo>
                      <a:pt x="479377" y="524780"/>
                      <a:pt x="490083" y="519927"/>
                      <a:pt x="502463" y="518473"/>
                    </a:cubicBezTo>
                    <a:cubicBezTo>
                      <a:pt x="503411" y="518473"/>
                      <a:pt x="508081" y="517535"/>
                      <a:pt x="508081" y="515660"/>
                    </a:cubicBezTo>
                    <a:cubicBezTo>
                      <a:pt x="513720" y="510975"/>
                      <a:pt x="509953" y="500665"/>
                      <a:pt x="503411" y="496916"/>
                    </a:cubicBezTo>
                    <a:cubicBezTo>
                      <a:pt x="500591" y="495979"/>
                      <a:pt x="497771" y="494105"/>
                      <a:pt x="494973" y="491291"/>
                    </a:cubicBezTo>
                    <a:cubicBezTo>
                      <a:pt x="492264" y="487575"/>
                      <a:pt x="489554" y="485112"/>
                      <a:pt x="486624" y="483612"/>
                    </a:cubicBezTo>
                    <a:cubicBezTo>
                      <a:pt x="489356" y="479894"/>
                      <a:pt x="490325" y="475303"/>
                      <a:pt x="493101" y="471611"/>
                    </a:cubicBezTo>
                    <a:cubicBezTo>
                      <a:pt x="494026" y="467861"/>
                      <a:pt x="496846" y="464112"/>
                      <a:pt x="496846" y="458490"/>
                    </a:cubicBezTo>
                    <a:cubicBezTo>
                      <a:pt x="497771" y="458490"/>
                      <a:pt x="497771" y="457552"/>
                      <a:pt x="498718" y="456615"/>
                    </a:cubicBezTo>
                    <a:cubicBezTo>
                      <a:pt x="500591" y="452866"/>
                      <a:pt x="502463" y="450053"/>
                      <a:pt x="505283" y="446306"/>
                    </a:cubicBezTo>
                    <a:cubicBezTo>
                      <a:pt x="508081" y="443493"/>
                      <a:pt x="509028" y="438807"/>
                      <a:pt x="511848" y="435058"/>
                    </a:cubicBezTo>
                    <a:cubicBezTo>
                      <a:pt x="514645" y="427559"/>
                      <a:pt x="518391" y="420062"/>
                      <a:pt x="524030" y="413502"/>
                    </a:cubicBezTo>
                    <a:cubicBezTo>
                      <a:pt x="524030" y="413502"/>
                      <a:pt x="525902" y="412566"/>
                      <a:pt x="525902" y="410689"/>
                    </a:cubicBezTo>
                    <a:cubicBezTo>
                      <a:pt x="526828" y="404129"/>
                      <a:pt x="530573" y="400379"/>
                      <a:pt x="533392" y="395694"/>
                    </a:cubicBezTo>
                    <a:cubicBezTo>
                      <a:pt x="538085" y="388197"/>
                      <a:pt x="542777" y="379762"/>
                      <a:pt x="546522" y="372263"/>
                    </a:cubicBezTo>
                    <a:cubicBezTo>
                      <a:pt x="552139" y="362892"/>
                      <a:pt x="556831" y="355394"/>
                      <a:pt x="562449" y="346959"/>
                    </a:cubicBezTo>
                    <a:cubicBezTo>
                      <a:pt x="566194" y="340085"/>
                      <a:pt x="571811" y="335087"/>
                      <a:pt x="579323" y="331961"/>
                    </a:cubicBezTo>
                    <a:cubicBezTo>
                      <a:pt x="582121" y="330089"/>
                      <a:pt x="584941" y="329150"/>
                      <a:pt x="586813" y="329150"/>
                    </a:cubicBezTo>
                    <a:cubicBezTo>
                      <a:pt x="590558" y="329150"/>
                      <a:pt x="595250" y="329150"/>
                      <a:pt x="597123" y="328214"/>
                    </a:cubicBezTo>
                    <a:cubicBezTo>
                      <a:pt x="599942" y="326339"/>
                      <a:pt x="600867" y="326339"/>
                      <a:pt x="603687" y="326339"/>
                    </a:cubicBezTo>
                    <a:cubicBezTo>
                      <a:pt x="608379" y="326339"/>
                      <a:pt x="613997" y="324465"/>
                      <a:pt x="618689" y="322590"/>
                    </a:cubicBezTo>
                    <a:cubicBezTo>
                      <a:pt x="623359" y="321651"/>
                      <a:pt x="628999" y="317904"/>
                      <a:pt x="633669" y="318840"/>
                    </a:cubicBezTo>
                    <a:cubicBezTo>
                      <a:pt x="636489" y="318840"/>
                      <a:pt x="637436" y="318840"/>
                      <a:pt x="638361" y="317904"/>
                    </a:cubicBezTo>
                    <a:cubicBezTo>
                      <a:pt x="643979" y="316030"/>
                      <a:pt x="647746" y="315091"/>
                      <a:pt x="652416" y="315091"/>
                    </a:cubicBezTo>
                    <a:cubicBezTo>
                      <a:pt x="656183" y="315091"/>
                      <a:pt x="659928" y="315091"/>
                      <a:pt x="663673" y="312280"/>
                    </a:cubicBezTo>
                    <a:cubicBezTo>
                      <a:pt x="666492" y="311344"/>
                      <a:pt x="671163" y="311344"/>
                      <a:pt x="674908" y="314155"/>
                    </a:cubicBezTo>
                    <a:cubicBezTo>
                      <a:pt x="676802" y="315091"/>
                      <a:pt x="677727" y="315091"/>
                      <a:pt x="678674" y="314155"/>
                    </a:cubicBezTo>
                    <a:cubicBezTo>
                      <a:pt x="682420" y="312280"/>
                      <a:pt x="685217" y="312280"/>
                      <a:pt x="688984" y="312280"/>
                    </a:cubicBezTo>
                    <a:cubicBezTo>
                      <a:pt x="691782" y="312280"/>
                      <a:pt x="694602" y="312280"/>
                      <a:pt x="695527" y="311344"/>
                    </a:cubicBezTo>
                    <a:cubicBezTo>
                      <a:pt x="699294" y="308531"/>
                      <a:pt x="703964" y="308531"/>
                      <a:pt x="707731" y="308531"/>
                    </a:cubicBezTo>
                    <a:cubicBezTo>
                      <a:pt x="713348" y="308531"/>
                      <a:pt x="718019" y="308531"/>
                      <a:pt x="722711" y="306658"/>
                    </a:cubicBezTo>
                    <a:cubicBezTo>
                      <a:pt x="725531" y="304781"/>
                      <a:pt x="728328" y="304781"/>
                      <a:pt x="732095" y="304781"/>
                    </a:cubicBezTo>
                    <a:cubicBezTo>
                      <a:pt x="736765" y="306658"/>
                      <a:pt x="742405" y="302909"/>
                      <a:pt x="747075" y="302909"/>
                    </a:cubicBezTo>
                    <a:cubicBezTo>
                      <a:pt x="749895" y="302909"/>
                      <a:pt x="751767" y="301034"/>
                      <a:pt x="754587" y="300096"/>
                    </a:cubicBezTo>
                    <a:cubicBezTo>
                      <a:pt x="755512" y="300096"/>
                      <a:pt x="758332" y="299160"/>
                      <a:pt x="761152" y="299160"/>
                    </a:cubicBezTo>
                    <a:cubicBezTo>
                      <a:pt x="763024" y="299160"/>
                      <a:pt x="766769" y="300096"/>
                      <a:pt x="769567" y="297285"/>
                    </a:cubicBezTo>
                    <a:cubicBezTo>
                      <a:pt x="773334" y="295410"/>
                      <a:pt x="776132" y="299160"/>
                      <a:pt x="779877" y="299160"/>
                    </a:cubicBezTo>
                    <a:cubicBezTo>
                      <a:pt x="783643" y="299160"/>
                      <a:pt x="788314" y="299160"/>
                      <a:pt x="792081" y="296349"/>
                    </a:cubicBezTo>
                    <a:cubicBezTo>
                      <a:pt x="793953" y="295410"/>
                      <a:pt x="795826" y="295410"/>
                      <a:pt x="797698" y="295410"/>
                    </a:cubicBezTo>
                    <a:cubicBezTo>
                      <a:pt x="799571" y="292599"/>
                      <a:pt x="803316" y="292599"/>
                      <a:pt x="806135" y="292599"/>
                    </a:cubicBezTo>
                    <a:lnTo>
                      <a:pt x="810805" y="292599"/>
                    </a:lnTo>
                    <a:cubicBezTo>
                      <a:pt x="812700" y="289786"/>
                      <a:pt x="813625" y="289786"/>
                      <a:pt x="814572" y="288850"/>
                    </a:cubicBezTo>
                    <a:cubicBezTo>
                      <a:pt x="816445" y="288850"/>
                      <a:pt x="819243" y="288850"/>
                      <a:pt x="821115" y="287912"/>
                    </a:cubicBezTo>
                    <a:cubicBezTo>
                      <a:pt x="823935" y="285101"/>
                      <a:pt x="824882" y="282290"/>
                      <a:pt x="827680" y="280415"/>
                    </a:cubicBezTo>
                    <a:cubicBezTo>
                      <a:pt x="828627" y="278540"/>
                      <a:pt x="826754" y="276666"/>
                      <a:pt x="826754" y="276666"/>
                    </a:cubicBezTo>
                    <a:cubicBezTo>
                      <a:pt x="823935" y="276666"/>
                      <a:pt x="821115" y="274791"/>
                      <a:pt x="819243" y="274791"/>
                    </a:cubicBezTo>
                    <a:lnTo>
                      <a:pt x="788314" y="274791"/>
                    </a:lnTo>
                    <a:cubicBezTo>
                      <a:pt x="788314" y="273855"/>
                      <a:pt x="790186" y="272916"/>
                      <a:pt x="791134" y="272916"/>
                    </a:cubicBezTo>
                    <a:cubicBezTo>
                      <a:pt x="797698" y="271042"/>
                      <a:pt x="805188" y="272916"/>
                      <a:pt x="810805" y="270105"/>
                    </a:cubicBezTo>
                    <a:cubicBezTo>
                      <a:pt x="812700" y="268231"/>
                      <a:pt x="813625" y="268231"/>
                      <a:pt x="816445" y="268231"/>
                    </a:cubicBezTo>
                    <a:lnTo>
                      <a:pt x="837990" y="268231"/>
                    </a:lnTo>
                    <a:cubicBezTo>
                      <a:pt x="842682" y="268231"/>
                      <a:pt x="849246" y="268231"/>
                      <a:pt x="853939" y="266356"/>
                    </a:cubicBezTo>
                    <a:cubicBezTo>
                      <a:pt x="854864" y="264481"/>
                      <a:pt x="857684" y="264481"/>
                      <a:pt x="860481" y="264481"/>
                    </a:cubicBezTo>
                    <a:cubicBezTo>
                      <a:pt x="864248" y="264481"/>
                      <a:pt x="867993" y="264481"/>
                      <a:pt x="870791" y="263545"/>
                    </a:cubicBezTo>
                    <a:cubicBezTo>
                      <a:pt x="874558" y="262607"/>
                      <a:pt x="878303" y="266356"/>
                      <a:pt x="882048" y="264481"/>
                    </a:cubicBezTo>
                    <a:lnTo>
                      <a:pt x="893283" y="264481"/>
                    </a:lnTo>
                    <a:cubicBezTo>
                      <a:pt x="897975" y="260732"/>
                      <a:pt x="904540" y="262607"/>
                      <a:pt x="909232" y="262607"/>
                    </a:cubicBezTo>
                    <a:cubicBezTo>
                      <a:pt x="911104" y="262607"/>
                      <a:pt x="911104" y="263545"/>
                      <a:pt x="911104" y="263545"/>
                    </a:cubicBezTo>
                    <a:cubicBezTo>
                      <a:pt x="911104" y="264481"/>
                      <a:pt x="911104" y="266356"/>
                      <a:pt x="909232" y="266356"/>
                    </a:cubicBezTo>
                    <a:cubicBezTo>
                      <a:pt x="908284" y="268231"/>
                      <a:pt x="905487" y="268231"/>
                      <a:pt x="902667" y="267294"/>
                    </a:cubicBezTo>
                    <a:cubicBezTo>
                      <a:pt x="901720" y="267294"/>
                      <a:pt x="900795" y="266356"/>
                      <a:pt x="898922" y="267294"/>
                    </a:cubicBezTo>
                    <a:cubicBezTo>
                      <a:pt x="895177" y="268231"/>
                      <a:pt x="890485" y="268231"/>
                      <a:pt x="886740" y="271042"/>
                    </a:cubicBezTo>
                    <a:cubicBezTo>
                      <a:pt x="885793" y="272916"/>
                      <a:pt x="883920" y="271042"/>
                      <a:pt x="882973" y="271042"/>
                    </a:cubicBezTo>
                    <a:cubicBezTo>
                      <a:pt x="879228" y="267294"/>
                      <a:pt x="876430" y="270105"/>
                      <a:pt x="874558" y="273855"/>
                    </a:cubicBezTo>
                    <a:cubicBezTo>
                      <a:pt x="874558" y="274791"/>
                      <a:pt x="872663" y="274791"/>
                      <a:pt x="872663" y="274791"/>
                    </a:cubicBezTo>
                    <a:cubicBezTo>
                      <a:pt x="871430" y="276666"/>
                      <a:pt x="871121" y="277915"/>
                      <a:pt x="871738" y="278540"/>
                    </a:cubicBezTo>
                    <a:cubicBezTo>
                      <a:pt x="875483" y="280415"/>
                      <a:pt x="878303" y="282290"/>
                      <a:pt x="879228" y="285101"/>
                    </a:cubicBezTo>
                    <a:cubicBezTo>
                      <a:pt x="882048" y="286039"/>
                      <a:pt x="882048" y="288850"/>
                      <a:pt x="882048" y="292599"/>
                    </a:cubicBezTo>
                    <a:cubicBezTo>
                      <a:pt x="883920" y="292599"/>
                      <a:pt x="886740" y="292599"/>
                      <a:pt x="887665" y="289786"/>
                    </a:cubicBezTo>
                    <a:cubicBezTo>
                      <a:pt x="890485" y="288850"/>
                      <a:pt x="893283" y="286039"/>
                      <a:pt x="895177" y="284164"/>
                    </a:cubicBezTo>
                    <a:cubicBezTo>
                      <a:pt x="898922" y="280415"/>
                      <a:pt x="905487" y="277602"/>
                      <a:pt x="909232" y="273855"/>
                    </a:cubicBezTo>
                    <a:cubicBezTo>
                      <a:pt x="911104" y="272916"/>
                      <a:pt x="912029" y="273855"/>
                      <a:pt x="912977" y="274791"/>
                    </a:cubicBezTo>
                    <a:cubicBezTo>
                      <a:pt x="912977" y="274791"/>
                      <a:pt x="914849" y="276666"/>
                      <a:pt x="914849" y="277602"/>
                    </a:cubicBezTo>
                    <a:cubicBezTo>
                      <a:pt x="914849" y="277602"/>
                      <a:pt x="914849" y="278540"/>
                      <a:pt x="912977" y="278540"/>
                    </a:cubicBezTo>
                    <a:cubicBezTo>
                      <a:pt x="912029" y="281351"/>
                      <a:pt x="908284" y="281351"/>
                      <a:pt x="905487" y="285101"/>
                    </a:cubicBezTo>
                    <a:lnTo>
                      <a:pt x="905487" y="286039"/>
                    </a:lnTo>
                    <a:lnTo>
                      <a:pt x="907359" y="287912"/>
                    </a:lnTo>
                    <a:cubicBezTo>
                      <a:pt x="909232" y="286039"/>
                      <a:pt x="912029" y="285101"/>
                      <a:pt x="914849" y="285101"/>
                    </a:cubicBezTo>
                    <a:lnTo>
                      <a:pt x="923286" y="285101"/>
                    </a:lnTo>
                    <a:cubicBezTo>
                      <a:pt x="926106" y="285101"/>
                      <a:pt x="927031" y="285101"/>
                      <a:pt x="927978" y="282288"/>
                    </a:cubicBezTo>
                    <a:cubicBezTo>
                      <a:pt x="929851" y="280415"/>
                      <a:pt x="930776" y="278540"/>
                      <a:pt x="933596" y="277602"/>
                    </a:cubicBezTo>
                    <a:cubicBezTo>
                      <a:pt x="934521" y="274791"/>
                      <a:pt x="938288" y="274791"/>
                      <a:pt x="942033" y="277602"/>
                    </a:cubicBezTo>
                    <a:cubicBezTo>
                      <a:pt x="944831" y="278540"/>
                      <a:pt x="945778" y="282288"/>
                      <a:pt x="945778" y="285101"/>
                    </a:cubicBezTo>
                    <a:cubicBezTo>
                      <a:pt x="948598" y="284164"/>
                      <a:pt x="951396" y="281351"/>
                      <a:pt x="952343" y="278540"/>
                    </a:cubicBezTo>
                    <a:cubicBezTo>
                      <a:pt x="953268" y="276666"/>
                      <a:pt x="956088" y="274791"/>
                      <a:pt x="958908" y="274791"/>
                    </a:cubicBezTo>
                    <a:cubicBezTo>
                      <a:pt x="957013" y="277602"/>
                      <a:pt x="956088" y="280415"/>
                      <a:pt x="956088" y="282290"/>
                    </a:cubicBezTo>
                    <a:cubicBezTo>
                      <a:pt x="955140" y="286039"/>
                      <a:pt x="955140" y="288850"/>
                      <a:pt x="952343" y="289786"/>
                    </a:cubicBezTo>
                    <a:cubicBezTo>
                      <a:pt x="948598" y="293536"/>
                      <a:pt x="944831" y="299160"/>
                      <a:pt x="941086" y="302909"/>
                    </a:cubicBezTo>
                    <a:cubicBezTo>
                      <a:pt x="939852" y="303532"/>
                      <a:pt x="939852" y="304158"/>
                      <a:pt x="941086" y="304781"/>
                    </a:cubicBezTo>
                    <a:lnTo>
                      <a:pt x="942958" y="304781"/>
                    </a:lnTo>
                    <a:cubicBezTo>
                      <a:pt x="942958" y="304781"/>
                      <a:pt x="944831" y="304781"/>
                      <a:pt x="945778" y="303845"/>
                    </a:cubicBezTo>
                    <a:cubicBezTo>
                      <a:pt x="948598" y="302909"/>
                      <a:pt x="949523" y="301034"/>
                      <a:pt x="952343" y="299160"/>
                    </a:cubicBezTo>
                    <a:cubicBezTo>
                      <a:pt x="953268" y="296349"/>
                      <a:pt x="956088" y="293536"/>
                      <a:pt x="958908" y="292599"/>
                    </a:cubicBezTo>
                    <a:cubicBezTo>
                      <a:pt x="958908" y="291661"/>
                      <a:pt x="959833" y="289786"/>
                      <a:pt x="959833" y="289786"/>
                    </a:cubicBezTo>
                    <a:cubicBezTo>
                      <a:pt x="958908" y="287912"/>
                      <a:pt x="959833" y="286039"/>
                      <a:pt x="962652" y="286039"/>
                    </a:cubicBezTo>
                    <a:lnTo>
                      <a:pt x="962652" y="292599"/>
                    </a:lnTo>
                    <a:cubicBezTo>
                      <a:pt x="966397" y="291661"/>
                      <a:pt x="966397" y="288850"/>
                      <a:pt x="966397" y="285101"/>
                    </a:cubicBezTo>
                    <a:lnTo>
                      <a:pt x="962652" y="285101"/>
                    </a:lnTo>
                    <a:cubicBezTo>
                      <a:pt x="962652" y="284164"/>
                      <a:pt x="963578" y="282290"/>
                      <a:pt x="966397" y="282290"/>
                    </a:cubicBezTo>
                    <a:cubicBezTo>
                      <a:pt x="966397" y="281351"/>
                      <a:pt x="966397" y="280415"/>
                      <a:pt x="967345" y="280415"/>
                    </a:cubicBezTo>
                    <a:cubicBezTo>
                      <a:pt x="968270" y="280415"/>
                      <a:pt x="968270" y="281351"/>
                      <a:pt x="968270" y="282290"/>
                    </a:cubicBezTo>
                    <a:cubicBezTo>
                      <a:pt x="972015" y="281351"/>
                      <a:pt x="973887" y="278540"/>
                      <a:pt x="977632" y="276666"/>
                    </a:cubicBezTo>
                    <a:cubicBezTo>
                      <a:pt x="977632" y="276666"/>
                      <a:pt x="977632" y="277602"/>
                      <a:pt x="978580" y="277602"/>
                    </a:cubicBezTo>
                    <a:lnTo>
                      <a:pt x="978580" y="278540"/>
                    </a:lnTo>
                    <a:cubicBezTo>
                      <a:pt x="978580" y="281351"/>
                      <a:pt x="977632" y="282288"/>
                      <a:pt x="974834" y="284164"/>
                    </a:cubicBezTo>
                    <a:cubicBezTo>
                      <a:pt x="972015" y="287912"/>
                      <a:pt x="968270" y="289786"/>
                      <a:pt x="968270" y="295410"/>
                    </a:cubicBezTo>
                    <a:cubicBezTo>
                      <a:pt x="968270" y="297285"/>
                      <a:pt x="967345" y="297285"/>
                      <a:pt x="966397" y="299160"/>
                    </a:cubicBezTo>
                    <a:cubicBezTo>
                      <a:pt x="963578" y="300096"/>
                      <a:pt x="962652" y="301034"/>
                      <a:pt x="962652" y="303845"/>
                    </a:cubicBezTo>
                    <a:lnTo>
                      <a:pt x="962652" y="308531"/>
                    </a:lnTo>
                    <a:cubicBezTo>
                      <a:pt x="962652" y="311344"/>
                      <a:pt x="960780" y="311344"/>
                      <a:pt x="958908" y="310406"/>
                    </a:cubicBezTo>
                    <a:cubicBezTo>
                      <a:pt x="957013" y="310406"/>
                      <a:pt x="957013" y="308531"/>
                      <a:pt x="956088" y="308531"/>
                    </a:cubicBezTo>
                    <a:cubicBezTo>
                      <a:pt x="955140" y="312280"/>
                      <a:pt x="952343" y="315091"/>
                      <a:pt x="948598" y="315091"/>
                    </a:cubicBezTo>
                    <a:cubicBezTo>
                      <a:pt x="948598" y="317904"/>
                      <a:pt x="948598" y="320715"/>
                      <a:pt x="946703" y="322590"/>
                    </a:cubicBezTo>
                    <a:cubicBezTo>
                      <a:pt x="944831" y="325401"/>
                      <a:pt x="942958" y="328214"/>
                      <a:pt x="939214" y="329150"/>
                    </a:cubicBezTo>
                    <a:cubicBezTo>
                      <a:pt x="939214" y="332900"/>
                      <a:pt x="938288" y="335710"/>
                      <a:pt x="935469" y="336649"/>
                    </a:cubicBezTo>
                    <a:cubicBezTo>
                      <a:pt x="933596" y="339460"/>
                      <a:pt x="931723" y="341335"/>
                      <a:pt x="927978" y="341335"/>
                    </a:cubicBezTo>
                    <a:lnTo>
                      <a:pt x="927978" y="335710"/>
                    </a:lnTo>
                    <a:lnTo>
                      <a:pt x="926106" y="335710"/>
                    </a:lnTo>
                    <a:cubicBezTo>
                      <a:pt x="924212" y="337585"/>
                      <a:pt x="924212" y="339460"/>
                      <a:pt x="922339" y="339460"/>
                    </a:cubicBezTo>
                    <a:cubicBezTo>
                      <a:pt x="922339" y="341335"/>
                      <a:pt x="922339" y="344145"/>
                      <a:pt x="919541" y="346956"/>
                    </a:cubicBezTo>
                    <a:cubicBezTo>
                      <a:pt x="918594" y="348831"/>
                      <a:pt x="915796" y="351644"/>
                      <a:pt x="912977" y="355394"/>
                    </a:cubicBezTo>
                    <a:lnTo>
                      <a:pt x="912029" y="355394"/>
                    </a:lnTo>
                    <a:cubicBezTo>
                      <a:pt x="912029" y="356330"/>
                      <a:pt x="911104" y="358204"/>
                      <a:pt x="911104" y="358204"/>
                    </a:cubicBezTo>
                    <a:lnTo>
                      <a:pt x="911104" y="356330"/>
                    </a:lnTo>
                    <a:cubicBezTo>
                      <a:pt x="911104" y="356330"/>
                      <a:pt x="912029" y="356330"/>
                      <a:pt x="912029" y="355394"/>
                    </a:cubicBezTo>
                    <a:cubicBezTo>
                      <a:pt x="912029" y="354455"/>
                      <a:pt x="911104" y="352580"/>
                      <a:pt x="909232" y="352580"/>
                    </a:cubicBezTo>
                    <a:lnTo>
                      <a:pt x="905487" y="352580"/>
                    </a:lnTo>
                    <a:cubicBezTo>
                      <a:pt x="902667" y="355394"/>
                      <a:pt x="900795" y="359141"/>
                      <a:pt x="898922" y="362890"/>
                    </a:cubicBezTo>
                    <a:cubicBezTo>
                      <a:pt x="897050" y="366639"/>
                      <a:pt x="893283" y="370389"/>
                      <a:pt x="889538" y="373200"/>
                    </a:cubicBezTo>
                    <a:cubicBezTo>
                      <a:pt x="887665" y="374138"/>
                      <a:pt x="886740" y="376011"/>
                      <a:pt x="885793" y="376011"/>
                    </a:cubicBezTo>
                    <a:cubicBezTo>
                      <a:pt x="885793" y="380699"/>
                      <a:pt x="882973" y="384448"/>
                      <a:pt x="879228" y="385384"/>
                    </a:cubicBezTo>
                    <a:cubicBezTo>
                      <a:pt x="879228" y="389133"/>
                      <a:pt x="882973" y="389133"/>
                      <a:pt x="885793" y="389133"/>
                    </a:cubicBezTo>
                    <a:cubicBezTo>
                      <a:pt x="886740" y="389133"/>
                      <a:pt x="886740" y="391008"/>
                      <a:pt x="886740" y="391944"/>
                    </a:cubicBezTo>
                    <a:cubicBezTo>
                      <a:pt x="885793" y="394758"/>
                      <a:pt x="883920" y="398505"/>
                      <a:pt x="882048" y="400379"/>
                    </a:cubicBezTo>
                    <a:cubicBezTo>
                      <a:pt x="880792" y="401631"/>
                      <a:pt x="879867" y="401318"/>
                      <a:pt x="879228" y="399443"/>
                    </a:cubicBezTo>
                    <a:cubicBezTo>
                      <a:pt x="877356" y="397568"/>
                      <a:pt x="876100" y="397256"/>
                      <a:pt x="875483" y="398505"/>
                    </a:cubicBezTo>
                    <a:cubicBezTo>
                      <a:pt x="872663" y="399443"/>
                      <a:pt x="870791" y="402254"/>
                      <a:pt x="868918" y="404129"/>
                    </a:cubicBezTo>
                    <a:cubicBezTo>
                      <a:pt x="867046" y="406940"/>
                      <a:pt x="867046" y="409753"/>
                      <a:pt x="865173" y="412564"/>
                    </a:cubicBezTo>
                    <a:cubicBezTo>
                      <a:pt x="863301" y="417251"/>
                      <a:pt x="860481" y="420999"/>
                      <a:pt x="854864" y="421937"/>
                    </a:cubicBezTo>
                    <a:cubicBezTo>
                      <a:pt x="854864" y="427559"/>
                      <a:pt x="853939" y="429434"/>
                      <a:pt x="851119" y="432247"/>
                    </a:cubicBezTo>
                    <a:cubicBezTo>
                      <a:pt x="849246" y="435058"/>
                      <a:pt x="847374" y="436932"/>
                      <a:pt x="849246" y="439743"/>
                    </a:cubicBezTo>
                    <a:cubicBezTo>
                      <a:pt x="849246" y="438807"/>
                      <a:pt x="850172" y="438807"/>
                      <a:pt x="851119" y="438807"/>
                    </a:cubicBezTo>
                    <a:cubicBezTo>
                      <a:pt x="854864" y="435058"/>
                      <a:pt x="858609" y="431308"/>
                      <a:pt x="863301" y="427559"/>
                    </a:cubicBezTo>
                    <a:cubicBezTo>
                      <a:pt x="863301" y="427559"/>
                      <a:pt x="864248" y="427559"/>
                      <a:pt x="865173" y="425684"/>
                    </a:cubicBezTo>
                    <a:cubicBezTo>
                      <a:pt x="865173" y="425061"/>
                      <a:pt x="865790" y="424435"/>
                      <a:pt x="867046" y="423812"/>
                    </a:cubicBezTo>
                    <a:lnTo>
                      <a:pt x="867993" y="424748"/>
                    </a:lnTo>
                    <a:cubicBezTo>
                      <a:pt x="867354" y="425374"/>
                      <a:pt x="866429" y="425684"/>
                      <a:pt x="865173" y="425684"/>
                    </a:cubicBezTo>
                    <a:lnTo>
                      <a:pt x="865173" y="428497"/>
                    </a:lnTo>
                    <a:cubicBezTo>
                      <a:pt x="865173" y="430998"/>
                      <a:pt x="866121" y="431934"/>
                      <a:pt x="867993" y="431308"/>
                    </a:cubicBezTo>
                    <a:cubicBezTo>
                      <a:pt x="868918" y="431308"/>
                      <a:pt x="870791" y="429436"/>
                      <a:pt x="871738" y="429436"/>
                    </a:cubicBezTo>
                    <a:cubicBezTo>
                      <a:pt x="871738" y="427559"/>
                      <a:pt x="871738" y="424748"/>
                      <a:pt x="875483" y="423812"/>
                    </a:cubicBezTo>
                    <a:lnTo>
                      <a:pt x="875483" y="425684"/>
                    </a:lnTo>
                    <a:cubicBezTo>
                      <a:pt x="875483" y="427559"/>
                      <a:pt x="874558" y="428497"/>
                      <a:pt x="871738" y="429436"/>
                    </a:cubicBezTo>
                    <a:lnTo>
                      <a:pt x="871738" y="435058"/>
                    </a:lnTo>
                    <a:cubicBezTo>
                      <a:pt x="871738" y="436932"/>
                      <a:pt x="870791" y="438807"/>
                      <a:pt x="867993" y="439743"/>
                    </a:cubicBezTo>
                    <a:cubicBezTo>
                      <a:pt x="867046" y="439743"/>
                      <a:pt x="865173" y="440682"/>
                      <a:pt x="865173" y="443493"/>
                    </a:cubicBezTo>
                    <a:cubicBezTo>
                      <a:pt x="864248" y="450053"/>
                      <a:pt x="860481" y="454739"/>
                      <a:pt x="856736" y="461301"/>
                    </a:cubicBezTo>
                    <a:cubicBezTo>
                      <a:pt x="856736" y="462237"/>
                      <a:pt x="854864" y="462237"/>
                      <a:pt x="853939" y="464112"/>
                    </a:cubicBezTo>
                    <a:cubicBezTo>
                      <a:pt x="852991" y="464112"/>
                      <a:pt x="852991" y="465050"/>
                      <a:pt x="852991" y="465987"/>
                    </a:cubicBezTo>
                    <a:cubicBezTo>
                      <a:pt x="853939" y="467861"/>
                      <a:pt x="853939" y="468798"/>
                      <a:pt x="851119" y="469736"/>
                    </a:cubicBezTo>
                    <a:cubicBezTo>
                      <a:pt x="850172" y="469736"/>
                      <a:pt x="849246" y="471611"/>
                      <a:pt x="847374" y="472547"/>
                    </a:cubicBezTo>
                    <a:cubicBezTo>
                      <a:pt x="846427" y="472547"/>
                      <a:pt x="846427" y="475358"/>
                      <a:pt x="846427" y="475358"/>
                    </a:cubicBezTo>
                    <a:cubicBezTo>
                      <a:pt x="849246" y="479107"/>
                      <a:pt x="845502" y="479107"/>
                      <a:pt x="842682" y="480982"/>
                    </a:cubicBezTo>
                    <a:cubicBezTo>
                      <a:pt x="841756" y="483795"/>
                      <a:pt x="839862" y="486606"/>
                      <a:pt x="838937" y="490355"/>
                    </a:cubicBezTo>
                    <a:lnTo>
                      <a:pt x="839862" y="491291"/>
                    </a:lnTo>
                    <a:lnTo>
                      <a:pt x="839862" y="492230"/>
                    </a:lnTo>
                    <a:cubicBezTo>
                      <a:pt x="838937" y="491291"/>
                      <a:pt x="838937" y="490355"/>
                      <a:pt x="838937" y="490355"/>
                    </a:cubicBezTo>
                    <a:lnTo>
                      <a:pt x="835192" y="490355"/>
                    </a:lnTo>
                    <a:cubicBezTo>
                      <a:pt x="835192" y="492230"/>
                      <a:pt x="835192" y="495041"/>
                      <a:pt x="831425" y="496916"/>
                    </a:cubicBezTo>
                    <a:lnTo>
                      <a:pt x="831425" y="497852"/>
                    </a:lnTo>
                    <a:cubicBezTo>
                      <a:pt x="834245" y="502540"/>
                      <a:pt x="827680" y="506287"/>
                      <a:pt x="830500" y="510036"/>
                    </a:cubicBezTo>
                    <a:lnTo>
                      <a:pt x="830500" y="512849"/>
                    </a:lnTo>
                    <a:cubicBezTo>
                      <a:pt x="824882" y="515660"/>
                      <a:pt x="824882" y="521284"/>
                      <a:pt x="821115" y="525034"/>
                    </a:cubicBezTo>
                    <a:cubicBezTo>
                      <a:pt x="817370" y="528781"/>
                      <a:pt x="813625" y="531594"/>
                      <a:pt x="814572" y="536280"/>
                    </a:cubicBezTo>
                    <a:cubicBezTo>
                      <a:pt x="810828" y="542840"/>
                      <a:pt x="808933" y="549400"/>
                      <a:pt x="805188" y="554088"/>
                    </a:cubicBezTo>
                    <a:cubicBezTo>
                      <a:pt x="803316" y="557835"/>
                      <a:pt x="802390" y="560648"/>
                      <a:pt x="801443" y="563459"/>
                    </a:cubicBezTo>
                    <a:cubicBezTo>
                      <a:pt x="799571" y="567208"/>
                      <a:pt x="798623" y="571894"/>
                      <a:pt x="793953" y="574707"/>
                    </a:cubicBezTo>
                    <a:cubicBezTo>
                      <a:pt x="792081" y="574707"/>
                      <a:pt x="792081" y="575643"/>
                      <a:pt x="792081" y="576580"/>
                    </a:cubicBezTo>
                    <a:cubicBezTo>
                      <a:pt x="791134" y="580329"/>
                      <a:pt x="790186" y="585015"/>
                      <a:pt x="786441" y="586891"/>
                    </a:cubicBezTo>
                    <a:lnTo>
                      <a:pt x="786441" y="589702"/>
                    </a:lnTo>
                    <a:cubicBezTo>
                      <a:pt x="787389" y="590639"/>
                      <a:pt x="787389" y="593450"/>
                      <a:pt x="786441" y="594388"/>
                    </a:cubicBezTo>
                    <a:cubicBezTo>
                      <a:pt x="782696" y="600012"/>
                      <a:pt x="778951" y="604698"/>
                      <a:pt x="777079" y="611258"/>
                    </a:cubicBezTo>
                    <a:cubicBezTo>
                      <a:pt x="777079" y="611258"/>
                      <a:pt x="777079" y="612194"/>
                      <a:pt x="776132" y="613133"/>
                    </a:cubicBezTo>
                    <a:cubicBezTo>
                      <a:pt x="772387" y="615007"/>
                      <a:pt x="772387" y="616882"/>
                      <a:pt x="770514" y="620631"/>
                    </a:cubicBezTo>
                    <a:cubicBezTo>
                      <a:pt x="770514" y="626253"/>
                      <a:pt x="768641" y="630941"/>
                      <a:pt x="764897" y="636563"/>
                    </a:cubicBezTo>
                    <a:cubicBezTo>
                      <a:pt x="761152" y="640312"/>
                      <a:pt x="758332" y="644998"/>
                      <a:pt x="758332" y="651558"/>
                    </a:cubicBezTo>
                    <a:cubicBezTo>
                      <a:pt x="757385" y="655308"/>
                      <a:pt x="754587" y="659057"/>
                      <a:pt x="753640" y="662806"/>
                    </a:cubicBezTo>
                    <a:cubicBezTo>
                      <a:pt x="751767" y="664681"/>
                      <a:pt x="749895" y="666556"/>
                      <a:pt x="747075" y="668430"/>
                    </a:cubicBezTo>
                    <a:cubicBezTo>
                      <a:pt x="746150" y="668430"/>
                      <a:pt x="744278" y="670305"/>
                      <a:pt x="746150" y="671241"/>
                    </a:cubicBezTo>
                    <a:cubicBezTo>
                      <a:pt x="746150" y="674991"/>
                      <a:pt x="746150" y="680615"/>
                      <a:pt x="744278" y="681551"/>
                    </a:cubicBezTo>
                    <a:cubicBezTo>
                      <a:pt x="742405" y="686236"/>
                      <a:pt x="739585" y="689986"/>
                      <a:pt x="738660" y="695610"/>
                    </a:cubicBezTo>
                    <a:cubicBezTo>
                      <a:pt x="736765" y="699357"/>
                      <a:pt x="735840" y="700295"/>
                      <a:pt x="733021" y="701232"/>
                    </a:cubicBezTo>
                    <a:cubicBezTo>
                      <a:pt x="732095" y="703106"/>
                      <a:pt x="733021" y="704981"/>
                      <a:pt x="733021" y="704981"/>
                    </a:cubicBezTo>
                    <a:cubicBezTo>
                      <a:pt x="732095" y="708730"/>
                      <a:pt x="731148" y="712480"/>
                      <a:pt x="726456" y="715291"/>
                    </a:cubicBezTo>
                    <a:cubicBezTo>
                      <a:pt x="725531" y="715291"/>
                      <a:pt x="725531" y="717165"/>
                      <a:pt x="724583" y="718102"/>
                    </a:cubicBezTo>
                    <a:lnTo>
                      <a:pt x="724583" y="722787"/>
                    </a:lnTo>
                    <a:cubicBezTo>
                      <a:pt x="724583" y="726539"/>
                      <a:pt x="724583" y="730286"/>
                      <a:pt x="720838" y="733099"/>
                    </a:cubicBezTo>
                    <a:cubicBezTo>
                      <a:pt x="717093" y="736846"/>
                      <a:pt x="718041" y="741534"/>
                      <a:pt x="715221" y="745281"/>
                    </a:cubicBezTo>
                    <a:lnTo>
                      <a:pt x="715221" y="748094"/>
                    </a:lnTo>
                    <a:cubicBezTo>
                      <a:pt x="714274" y="749031"/>
                      <a:pt x="715221" y="749031"/>
                      <a:pt x="715221" y="749031"/>
                    </a:cubicBezTo>
                    <a:cubicBezTo>
                      <a:pt x="715221" y="751844"/>
                      <a:pt x="717093" y="752780"/>
                      <a:pt x="715221" y="754655"/>
                    </a:cubicBezTo>
                    <a:cubicBezTo>
                      <a:pt x="713348" y="756529"/>
                      <a:pt x="711476" y="759340"/>
                      <a:pt x="710529" y="762153"/>
                    </a:cubicBezTo>
                    <a:cubicBezTo>
                      <a:pt x="706784" y="764964"/>
                      <a:pt x="703964" y="768714"/>
                      <a:pt x="703039" y="770588"/>
                    </a:cubicBezTo>
                    <a:lnTo>
                      <a:pt x="702091" y="770588"/>
                    </a:lnTo>
                    <a:cubicBezTo>
                      <a:pt x="700219" y="776212"/>
                      <a:pt x="700219" y="779960"/>
                      <a:pt x="700219" y="784645"/>
                    </a:cubicBezTo>
                    <a:cubicBezTo>
                      <a:pt x="700219" y="788394"/>
                      <a:pt x="699294" y="791208"/>
                      <a:pt x="696474" y="792144"/>
                    </a:cubicBezTo>
                    <a:cubicBezTo>
                      <a:pt x="694602" y="793082"/>
                      <a:pt x="694602" y="794955"/>
                      <a:pt x="695527" y="796830"/>
                    </a:cubicBezTo>
                    <a:cubicBezTo>
                      <a:pt x="695527" y="798704"/>
                      <a:pt x="696474" y="799643"/>
                      <a:pt x="695527" y="800579"/>
                    </a:cubicBezTo>
                    <a:cubicBezTo>
                      <a:pt x="692729" y="804328"/>
                      <a:pt x="688037" y="809014"/>
                      <a:pt x="687112" y="812763"/>
                    </a:cubicBezTo>
                    <a:cubicBezTo>
                      <a:pt x="687112" y="813702"/>
                      <a:pt x="685217" y="812763"/>
                      <a:pt x="685217" y="812763"/>
                    </a:cubicBezTo>
                    <a:cubicBezTo>
                      <a:pt x="685217" y="812763"/>
                      <a:pt x="684292" y="812763"/>
                      <a:pt x="684292" y="810889"/>
                    </a:cubicBezTo>
                    <a:lnTo>
                      <a:pt x="684292" y="804328"/>
                    </a:lnTo>
                    <a:cubicBezTo>
                      <a:pt x="682420" y="804328"/>
                      <a:pt x="681472" y="804328"/>
                      <a:pt x="681472" y="806203"/>
                    </a:cubicBezTo>
                    <a:cubicBezTo>
                      <a:pt x="680547" y="809952"/>
                      <a:pt x="677727" y="813702"/>
                      <a:pt x="676802" y="817449"/>
                    </a:cubicBezTo>
                    <a:cubicBezTo>
                      <a:pt x="676802" y="821198"/>
                      <a:pt x="673982" y="824947"/>
                      <a:pt x="673982" y="828697"/>
                    </a:cubicBezTo>
                    <a:cubicBezTo>
                      <a:pt x="673982" y="829633"/>
                      <a:pt x="673035" y="831508"/>
                      <a:pt x="671163" y="831508"/>
                    </a:cubicBezTo>
                    <a:cubicBezTo>
                      <a:pt x="670237" y="828697"/>
                      <a:pt x="670237" y="827758"/>
                      <a:pt x="670237" y="824947"/>
                    </a:cubicBezTo>
                    <a:cubicBezTo>
                      <a:pt x="670237" y="822137"/>
                      <a:pt x="670237" y="822137"/>
                      <a:pt x="666492" y="824011"/>
                    </a:cubicBezTo>
                    <a:cubicBezTo>
                      <a:pt x="666492" y="824011"/>
                      <a:pt x="665545" y="824947"/>
                      <a:pt x="663673" y="824947"/>
                    </a:cubicBezTo>
                    <a:lnTo>
                      <a:pt x="663673" y="832446"/>
                    </a:lnTo>
                    <a:cubicBezTo>
                      <a:pt x="659928" y="836193"/>
                      <a:pt x="661800" y="840881"/>
                      <a:pt x="659928" y="844631"/>
                    </a:cubicBezTo>
                    <a:cubicBezTo>
                      <a:pt x="659928" y="847442"/>
                      <a:pt x="658980" y="847442"/>
                      <a:pt x="658055" y="846503"/>
                    </a:cubicBezTo>
                    <a:cubicBezTo>
                      <a:pt x="652416" y="843692"/>
                      <a:pt x="651491" y="844631"/>
                      <a:pt x="650543" y="850252"/>
                    </a:cubicBezTo>
                    <a:cubicBezTo>
                      <a:pt x="650543" y="851191"/>
                      <a:pt x="650543" y="853065"/>
                      <a:pt x="648671" y="854940"/>
                    </a:cubicBezTo>
                    <a:cubicBezTo>
                      <a:pt x="648671" y="856815"/>
                      <a:pt x="649927" y="858064"/>
                      <a:pt x="652416" y="858687"/>
                    </a:cubicBezTo>
                    <a:lnTo>
                      <a:pt x="654288" y="858687"/>
                    </a:lnTo>
                    <a:lnTo>
                      <a:pt x="654288" y="868061"/>
                    </a:lnTo>
                    <a:cubicBezTo>
                      <a:pt x="654288" y="869310"/>
                      <a:pt x="653055" y="869623"/>
                      <a:pt x="650543" y="868997"/>
                    </a:cubicBezTo>
                    <a:cubicBezTo>
                      <a:pt x="648671" y="868997"/>
                      <a:pt x="647746" y="868997"/>
                      <a:pt x="647746" y="869935"/>
                    </a:cubicBezTo>
                    <a:cubicBezTo>
                      <a:pt x="644926" y="871810"/>
                      <a:pt x="643979" y="872746"/>
                      <a:pt x="643979" y="875557"/>
                    </a:cubicBezTo>
                    <a:lnTo>
                      <a:pt x="643979" y="923356"/>
                    </a:lnTo>
                    <a:cubicBezTo>
                      <a:pt x="643979" y="924303"/>
                      <a:pt x="644926" y="927101"/>
                      <a:pt x="646798" y="928974"/>
                    </a:cubicBezTo>
                    <a:cubicBezTo>
                      <a:pt x="647746" y="934613"/>
                      <a:pt x="651491" y="936486"/>
                      <a:pt x="654288" y="942103"/>
                    </a:cubicBezTo>
                    <a:cubicBezTo>
                      <a:pt x="655235" y="944923"/>
                      <a:pt x="658055" y="946795"/>
                      <a:pt x="659928" y="948668"/>
                    </a:cubicBezTo>
                    <a:cubicBezTo>
                      <a:pt x="662725" y="950540"/>
                      <a:pt x="665545" y="953360"/>
                      <a:pt x="667418" y="956158"/>
                    </a:cubicBezTo>
                    <a:cubicBezTo>
                      <a:pt x="673035" y="959903"/>
                      <a:pt x="680547" y="958030"/>
                      <a:pt x="687112" y="960850"/>
                    </a:cubicBezTo>
                    <a:cubicBezTo>
                      <a:pt x="692729" y="957105"/>
                      <a:pt x="699294" y="959903"/>
                      <a:pt x="706784" y="958030"/>
                    </a:cubicBezTo>
                    <a:lnTo>
                      <a:pt x="709604" y="958030"/>
                    </a:lnTo>
                    <a:cubicBezTo>
                      <a:pt x="718041" y="953360"/>
                      <a:pt x="729276" y="949593"/>
                      <a:pt x="735840" y="942103"/>
                    </a:cubicBezTo>
                    <a:cubicBezTo>
                      <a:pt x="736765" y="941156"/>
                      <a:pt x="738660" y="941156"/>
                      <a:pt x="739585" y="939283"/>
                    </a:cubicBezTo>
                    <a:cubicBezTo>
                      <a:pt x="748022" y="935538"/>
                      <a:pt x="753640" y="927101"/>
                      <a:pt x="761152" y="923356"/>
                    </a:cubicBezTo>
                    <a:cubicBezTo>
                      <a:pt x="762077" y="921484"/>
                      <a:pt x="763024" y="921484"/>
                      <a:pt x="763024" y="920537"/>
                    </a:cubicBezTo>
                    <a:cubicBezTo>
                      <a:pt x="764897" y="915866"/>
                      <a:pt x="770514" y="915866"/>
                      <a:pt x="772387" y="910227"/>
                    </a:cubicBezTo>
                    <a:cubicBezTo>
                      <a:pt x="775206" y="906482"/>
                      <a:pt x="778951" y="902737"/>
                      <a:pt x="782696" y="898992"/>
                    </a:cubicBezTo>
                    <a:cubicBezTo>
                      <a:pt x="787389" y="894304"/>
                      <a:pt x="790186" y="888680"/>
                      <a:pt x="791134" y="881181"/>
                    </a:cubicBezTo>
                    <a:cubicBezTo>
                      <a:pt x="792081" y="879307"/>
                      <a:pt x="793953" y="879307"/>
                      <a:pt x="795826" y="877434"/>
                    </a:cubicBezTo>
                    <a:cubicBezTo>
                      <a:pt x="797698" y="877434"/>
                      <a:pt x="799571" y="877434"/>
                      <a:pt x="801443" y="876496"/>
                    </a:cubicBezTo>
                    <a:cubicBezTo>
                      <a:pt x="802390" y="875557"/>
                      <a:pt x="805188" y="873683"/>
                      <a:pt x="805188" y="871810"/>
                    </a:cubicBezTo>
                    <a:cubicBezTo>
                      <a:pt x="803316" y="870559"/>
                      <a:pt x="803316" y="869310"/>
                      <a:pt x="805188" y="868061"/>
                    </a:cubicBezTo>
                    <a:cubicBezTo>
                      <a:pt x="806135" y="864311"/>
                      <a:pt x="809880" y="861501"/>
                      <a:pt x="813625" y="857751"/>
                    </a:cubicBezTo>
                    <a:cubicBezTo>
                      <a:pt x="814572" y="856813"/>
                      <a:pt x="816445" y="854940"/>
                      <a:pt x="817370" y="853065"/>
                    </a:cubicBezTo>
                    <a:cubicBezTo>
                      <a:pt x="817370" y="853065"/>
                      <a:pt x="817370" y="848378"/>
                      <a:pt x="816445" y="848378"/>
                    </a:cubicBezTo>
                    <a:lnTo>
                      <a:pt x="812700" y="848378"/>
                    </a:lnTo>
                    <a:cubicBezTo>
                      <a:pt x="810805" y="850252"/>
                      <a:pt x="809880" y="851191"/>
                      <a:pt x="808933" y="851191"/>
                    </a:cubicBezTo>
                    <a:cubicBezTo>
                      <a:pt x="799571" y="861501"/>
                      <a:pt x="790186" y="869935"/>
                      <a:pt x="780824" y="880245"/>
                    </a:cubicBezTo>
                    <a:cubicBezTo>
                      <a:pt x="772387" y="888680"/>
                      <a:pt x="763024" y="897115"/>
                      <a:pt x="753640" y="904609"/>
                    </a:cubicBezTo>
                    <a:cubicBezTo>
                      <a:pt x="751767" y="905557"/>
                      <a:pt x="750842" y="905557"/>
                      <a:pt x="748022" y="904609"/>
                    </a:cubicBezTo>
                    <a:cubicBezTo>
                      <a:pt x="747075" y="902737"/>
                      <a:pt x="746150" y="902737"/>
                      <a:pt x="744278" y="901812"/>
                    </a:cubicBezTo>
                    <a:cubicBezTo>
                      <a:pt x="744278" y="904609"/>
                      <a:pt x="743330" y="904609"/>
                      <a:pt x="742405" y="905557"/>
                    </a:cubicBezTo>
                    <a:cubicBezTo>
                      <a:pt x="742405" y="902737"/>
                      <a:pt x="743330" y="902737"/>
                      <a:pt x="744278" y="901812"/>
                    </a:cubicBezTo>
                    <a:cubicBezTo>
                      <a:pt x="748022" y="897115"/>
                      <a:pt x="754587" y="894304"/>
                      <a:pt x="758332" y="890555"/>
                    </a:cubicBezTo>
                    <a:cubicBezTo>
                      <a:pt x="765822" y="881181"/>
                      <a:pt x="775206" y="873683"/>
                      <a:pt x="783643" y="865250"/>
                    </a:cubicBezTo>
                    <a:cubicBezTo>
                      <a:pt x="788314" y="860562"/>
                      <a:pt x="794878" y="854002"/>
                      <a:pt x="798623" y="847442"/>
                    </a:cubicBezTo>
                    <a:cubicBezTo>
                      <a:pt x="803316" y="840881"/>
                      <a:pt x="809880" y="835257"/>
                      <a:pt x="814572" y="828697"/>
                    </a:cubicBezTo>
                    <a:cubicBezTo>
                      <a:pt x="819243" y="824947"/>
                      <a:pt x="823935" y="821198"/>
                      <a:pt x="826754" y="816512"/>
                    </a:cubicBezTo>
                    <a:cubicBezTo>
                      <a:pt x="826754" y="814638"/>
                      <a:pt x="827680" y="813702"/>
                      <a:pt x="828627" y="812763"/>
                    </a:cubicBezTo>
                    <a:cubicBezTo>
                      <a:pt x="838937" y="803392"/>
                      <a:pt x="845502" y="793082"/>
                      <a:pt x="853939" y="783709"/>
                    </a:cubicBezTo>
                    <a:cubicBezTo>
                      <a:pt x="854864" y="781834"/>
                      <a:pt x="854864" y="780898"/>
                      <a:pt x="853939" y="778085"/>
                    </a:cubicBezTo>
                    <a:cubicBezTo>
                      <a:pt x="852991" y="777149"/>
                      <a:pt x="852991" y="776212"/>
                      <a:pt x="851119" y="774338"/>
                    </a:cubicBezTo>
                    <a:cubicBezTo>
                      <a:pt x="849246" y="776212"/>
                      <a:pt x="846427" y="777149"/>
                      <a:pt x="846427" y="779960"/>
                    </a:cubicBezTo>
                    <a:cubicBezTo>
                      <a:pt x="843629" y="783709"/>
                      <a:pt x="841756" y="785583"/>
                      <a:pt x="838937" y="789333"/>
                    </a:cubicBezTo>
                    <a:cubicBezTo>
                      <a:pt x="837990" y="791208"/>
                      <a:pt x="836117" y="793082"/>
                      <a:pt x="835192" y="794957"/>
                    </a:cubicBezTo>
                    <a:cubicBezTo>
                      <a:pt x="836117" y="794957"/>
                      <a:pt x="836117" y="795893"/>
                      <a:pt x="837990" y="795893"/>
                    </a:cubicBezTo>
                    <a:cubicBezTo>
                      <a:pt x="836756" y="795893"/>
                      <a:pt x="836117" y="796206"/>
                      <a:pt x="836117" y="796830"/>
                    </a:cubicBezTo>
                    <a:cubicBezTo>
                      <a:pt x="836117" y="795893"/>
                      <a:pt x="835192" y="795893"/>
                      <a:pt x="835192" y="794957"/>
                    </a:cubicBezTo>
                    <a:cubicBezTo>
                      <a:pt x="834245" y="794957"/>
                      <a:pt x="832372" y="795893"/>
                      <a:pt x="832372" y="796830"/>
                    </a:cubicBezTo>
                    <a:cubicBezTo>
                      <a:pt x="831425" y="799643"/>
                      <a:pt x="831425" y="804328"/>
                      <a:pt x="826754" y="806203"/>
                    </a:cubicBezTo>
                    <a:cubicBezTo>
                      <a:pt x="820190" y="810889"/>
                      <a:pt x="812700" y="817451"/>
                      <a:pt x="808933" y="825886"/>
                    </a:cubicBezTo>
                    <a:cubicBezTo>
                      <a:pt x="807060" y="831508"/>
                      <a:pt x="803316" y="835257"/>
                      <a:pt x="798623" y="837132"/>
                    </a:cubicBezTo>
                    <a:cubicBezTo>
                      <a:pt x="794878" y="839943"/>
                      <a:pt x="791134" y="842756"/>
                      <a:pt x="790186" y="844631"/>
                    </a:cubicBezTo>
                    <a:cubicBezTo>
                      <a:pt x="787389" y="850252"/>
                      <a:pt x="783643" y="854002"/>
                      <a:pt x="779877" y="858687"/>
                    </a:cubicBezTo>
                    <a:cubicBezTo>
                      <a:pt x="777079" y="861501"/>
                      <a:pt x="775206" y="865250"/>
                      <a:pt x="772387" y="868061"/>
                    </a:cubicBezTo>
                    <a:cubicBezTo>
                      <a:pt x="765822" y="871810"/>
                      <a:pt x="761152" y="876496"/>
                      <a:pt x="755512" y="883056"/>
                    </a:cubicBezTo>
                    <a:cubicBezTo>
                      <a:pt x="747075" y="891491"/>
                      <a:pt x="735840" y="898051"/>
                      <a:pt x="726456" y="906482"/>
                    </a:cubicBezTo>
                    <a:cubicBezTo>
                      <a:pt x="725531" y="908354"/>
                      <a:pt x="724583" y="908354"/>
                      <a:pt x="724583" y="908354"/>
                    </a:cubicBezTo>
                    <a:cubicBezTo>
                      <a:pt x="717093" y="913994"/>
                      <a:pt x="709604" y="916791"/>
                      <a:pt x="703039" y="921484"/>
                    </a:cubicBezTo>
                    <a:cubicBezTo>
                      <a:pt x="696474" y="924303"/>
                      <a:pt x="690857" y="925229"/>
                      <a:pt x="685217" y="928048"/>
                    </a:cubicBezTo>
                    <a:cubicBezTo>
                      <a:pt x="682420" y="928974"/>
                      <a:pt x="678674" y="928048"/>
                      <a:pt x="674908" y="928048"/>
                    </a:cubicBezTo>
                    <a:cubicBezTo>
                      <a:pt x="673035" y="928048"/>
                      <a:pt x="671163" y="927101"/>
                      <a:pt x="671163" y="924303"/>
                    </a:cubicBezTo>
                    <a:lnTo>
                      <a:pt x="671163" y="919611"/>
                    </a:lnTo>
                    <a:cubicBezTo>
                      <a:pt x="673982" y="913047"/>
                      <a:pt x="673982" y="906482"/>
                      <a:pt x="674908" y="901812"/>
                    </a:cubicBezTo>
                    <a:cubicBezTo>
                      <a:pt x="674908" y="898051"/>
                      <a:pt x="677727" y="895240"/>
                      <a:pt x="677727" y="891491"/>
                    </a:cubicBezTo>
                    <a:cubicBezTo>
                      <a:pt x="676802" y="883994"/>
                      <a:pt x="680547" y="876496"/>
                      <a:pt x="682420" y="868997"/>
                    </a:cubicBezTo>
                    <a:cubicBezTo>
                      <a:pt x="682420" y="868061"/>
                      <a:pt x="684292" y="866186"/>
                      <a:pt x="684292" y="864311"/>
                    </a:cubicBezTo>
                    <a:cubicBezTo>
                      <a:pt x="684292" y="858687"/>
                      <a:pt x="687112" y="854002"/>
                      <a:pt x="688984" y="848378"/>
                    </a:cubicBezTo>
                    <a:cubicBezTo>
                      <a:pt x="688984" y="847442"/>
                      <a:pt x="690857" y="844631"/>
                      <a:pt x="690857" y="843692"/>
                    </a:cubicBezTo>
                    <a:cubicBezTo>
                      <a:pt x="690857" y="839943"/>
                      <a:pt x="692729" y="836196"/>
                      <a:pt x="694602" y="832446"/>
                    </a:cubicBezTo>
                    <a:cubicBezTo>
                      <a:pt x="695527" y="828697"/>
                      <a:pt x="695527" y="824011"/>
                      <a:pt x="699294" y="821198"/>
                    </a:cubicBezTo>
                    <a:cubicBezTo>
                      <a:pt x="700219" y="820262"/>
                      <a:pt x="700219" y="818387"/>
                      <a:pt x="700219" y="817451"/>
                    </a:cubicBezTo>
                    <a:cubicBezTo>
                      <a:pt x="702091" y="809952"/>
                      <a:pt x="705836" y="803392"/>
                      <a:pt x="707731" y="795893"/>
                    </a:cubicBezTo>
                    <a:cubicBezTo>
                      <a:pt x="709604" y="791208"/>
                      <a:pt x="710529" y="784647"/>
                      <a:pt x="713348" y="779960"/>
                    </a:cubicBezTo>
                    <a:cubicBezTo>
                      <a:pt x="717093" y="774338"/>
                      <a:pt x="718041" y="768714"/>
                      <a:pt x="720838" y="762153"/>
                    </a:cubicBezTo>
                    <a:cubicBezTo>
                      <a:pt x="721785" y="755593"/>
                      <a:pt x="724583" y="750905"/>
                      <a:pt x="726456" y="745283"/>
                    </a:cubicBezTo>
                    <a:cubicBezTo>
                      <a:pt x="728328" y="744345"/>
                      <a:pt x="729276" y="741534"/>
                      <a:pt x="731148" y="739659"/>
                    </a:cubicBezTo>
                    <a:lnTo>
                      <a:pt x="731148" y="735910"/>
                    </a:lnTo>
                    <a:cubicBezTo>
                      <a:pt x="729276" y="733099"/>
                      <a:pt x="728328" y="732161"/>
                      <a:pt x="732095" y="730286"/>
                    </a:cubicBezTo>
                    <a:cubicBezTo>
                      <a:pt x="733021" y="730286"/>
                      <a:pt x="733021" y="729350"/>
                      <a:pt x="734893" y="728413"/>
                    </a:cubicBezTo>
                    <a:cubicBezTo>
                      <a:pt x="736765" y="722789"/>
                      <a:pt x="740533" y="718102"/>
                      <a:pt x="742405" y="711541"/>
                    </a:cubicBezTo>
                    <a:cubicBezTo>
                      <a:pt x="743330" y="704981"/>
                      <a:pt x="747075" y="699359"/>
                      <a:pt x="749895" y="693735"/>
                    </a:cubicBezTo>
                    <a:cubicBezTo>
                      <a:pt x="751767" y="689047"/>
                      <a:pt x="753640" y="682487"/>
                      <a:pt x="757385" y="678738"/>
                    </a:cubicBezTo>
                    <a:cubicBezTo>
                      <a:pt x="759279" y="674991"/>
                      <a:pt x="762077" y="671241"/>
                      <a:pt x="762077" y="666556"/>
                    </a:cubicBezTo>
                    <a:cubicBezTo>
                      <a:pt x="761152" y="663742"/>
                      <a:pt x="762077" y="662806"/>
                      <a:pt x="763024" y="659993"/>
                    </a:cubicBezTo>
                    <a:cubicBezTo>
                      <a:pt x="764897" y="656246"/>
                      <a:pt x="766769" y="653433"/>
                      <a:pt x="769567" y="649686"/>
                    </a:cubicBezTo>
                    <a:cubicBezTo>
                      <a:pt x="770514" y="648747"/>
                      <a:pt x="770514" y="645936"/>
                      <a:pt x="769567" y="644062"/>
                    </a:cubicBezTo>
                    <a:cubicBezTo>
                      <a:pt x="769567" y="644062"/>
                      <a:pt x="768641" y="642187"/>
                      <a:pt x="768641" y="641251"/>
                    </a:cubicBezTo>
                    <a:cubicBezTo>
                      <a:pt x="768641" y="640312"/>
                      <a:pt x="768641" y="638438"/>
                      <a:pt x="769567" y="638438"/>
                    </a:cubicBezTo>
                    <a:cubicBezTo>
                      <a:pt x="770514" y="637501"/>
                      <a:pt x="773334" y="636563"/>
                      <a:pt x="773334" y="634688"/>
                    </a:cubicBezTo>
                    <a:cubicBezTo>
                      <a:pt x="776132" y="630941"/>
                      <a:pt x="777079" y="626253"/>
                      <a:pt x="780824" y="622504"/>
                    </a:cubicBezTo>
                    <a:cubicBezTo>
                      <a:pt x="784569" y="618757"/>
                      <a:pt x="784569" y="613133"/>
                      <a:pt x="787389" y="608447"/>
                    </a:cubicBezTo>
                    <a:cubicBezTo>
                      <a:pt x="790186" y="603761"/>
                      <a:pt x="792081" y="598137"/>
                      <a:pt x="795826" y="594388"/>
                    </a:cubicBezTo>
                    <a:cubicBezTo>
                      <a:pt x="797698" y="592513"/>
                      <a:pt x="798623" y="589702"/>
                      <a:pt x="799571" y="586889"/>
                    </a:cubicBezTo>
                    <a:cubicBezTo>
                      <a:pt x="801443" y="585015"/>
                      <a:pt x="799571" y="585015"/>
                      <a:pt x="797698" y="583140"/>
                    </a:cubicBezTo>
                    <a:cubicBezTo>
                      <a:pt x="796442" y="582517"/>
                      <a:pt x="796751" y="581578"/>
                      <a:pt x="798623" y="580329"/>
                    </a:cubicBezTo>
                    <a:cubicBezTo>
                      <a:pt x="801443" y="578454"/>
                      <a:pt x="805188" y="576580"/>
                      <a:pt x="805188" y="572830"/>
                    </a:cubicBezTo>
                    <a:cubicBezTo>
                      <a:pt x="805188" y="569083"/>
                      <a:pt x="806135" y="567208"/>
                      <a:pt x="808933" y="564395"/>
                    </a:cubicBezTo>
                    <a:cubicBezTo>
                      <a:pt x="812700" y="560648"/>
                      <a:pt x="814572" y="555960"/>
                      <a:pt x="817370" y="550339"/>
                    </a:cubicBezTo>
                    <a:cubicBezTo>
                      <a:pt x="819243" y="549400"/>
                      <a:pt x="817370" y="548464"/>
                      <a:pt x="819243" y="548464"/>
                    </a:cubicBezTo>
                    <a:cubicBezTo>
                      <a:pt x="819243" y="545651"/>
                      <a:pt x="820190" y="544714"/>
                      <a:pt x="820190" y="542840"/>
                    </a:cubicBezTo>
                    <a:cubicBezTo>
                      <a:pt x="823935" y="539090"/>
                      <a:pt x="828627" y="535341"/>
                      <a:pt x="828627" y="528781"/>
                    </a:cubicBezTo>
                    <a:cubicBezTo>
                      <a:pt x="831425" y="525034"/>
                      <a:pt x="832372" y="520346"/>
                      <a:pt x="835192" y="517535"/>
                    </a:cubicBezTo>
                    <a:cubicBezTo>
                      <a:pt x="838937" y="513785"/>
                      <a:pt x="841734" y="511911"/>
                      <a:pt x="842682" y="506287"/>
                    </a:cubicBezTo>
                    <a:cubicBezTo>
                      <a:pt x="842682" y="505350"/>
                      <a:pt x="843629" y="502540"/>
                      <a:pt x="843629" y="501601"/>
                    </a:cubicBezTo>
                    <a:cubicBezTo>
                      <a:pt x="847374" y="497852"/>
                      <a:pt x="850172" y="494102"/>
                      <a:pt x="852991" y="488481"/>
                    </a:cubicBezTo>
                    <a:cubicBezTo>
                      <a:pt x="854864" y="483795"/>
                      <a:pt x="858609" y="480046"/>
                      <a:pt x="860481" y="475358"/>
                    </a:cubicBezTo>
                    <a:cubicBezTo>
                      <a:pt x="863301" y="471611"/>
                      <a:pt x="867046" y="467861"/>
                      <a:pt x="867993" y="464112"/>
                    </a:cubicBezTo>
                    <a:cubicBezTo>
                      <a:pt x="868918" y="458488"/>
                      <a:pt x="872663" y="454739"/>
                      <a:pt x="874558" y="450991"/>
                    </a:cubicBezTo>
                    <a:cubicBezTo>
                      <a:pt x="875483" y="447242"/>
                      <a:pt x="878303" y="446306"/>
                      <a:pt x="880175" y="444431"/>
                    </a:cubicBezTo>
                    <a:cubicBezTo>
                      <a:pt x="880175" y="443493"/>
                      <a:pt x="879228" y="442556"/>
                      <a:pt x="880175" y="439743"/>
                    </a:cubicBezTo>
                    <a:cubicBezTo>
                      <a:pt x="883920" y="435058"/>
                      <a:pt x="887665" y="428497"/>
                      <a:pt x="891410" y="421937"/>
                    </a:cubicBezTo>
                    <a:cubicBezTo>
                      <a:pt x="895155" y="416313"/>
                      <a:pt x="898922" y="409753"/>
                      <a:pt x="904540" y="404129"/>
                    </a:cubicBezTo>
                    <a:cubicBezTo>
                      <a:pt x="905465" y="403192"/>
                      <a:pt x="907359" y="400379"/>
                      <a:pt x="907359" y="398505"/>
                    </a:cubicBezTo>
                    <a:cubicBezTo>
                      <a:pt x="909232" y="395694"/>
                      <a:pt x="911104" y="392883"/>
                      <a:pt x="912977" y="391008"/>
                    </a:cubicBezTo>
                    <a:cubicBezTo>
                      <a:pt x="916722" y="384448"/>
                      <a:pt x="922339" y="377888"/>
                      <a:pt x="926106" y="370389"/>
                    </a:cubicBezTo>
                    <a:cubicBezTo>
                      <a:pt x="926106" y="369453"/>
                      <a:pt x="927031" y="366639"/>
                      <a:pt x="927978" y="366639"/>
                    </a:cubicBezTo>
                    <a:cubicBezTo>
                      <a:pt x="931723" y="364765"/>
                      <a:pt x="933596" y="360079"/>
                      <a:pt x="934521" y="358204"/>
                    </a:cubicBezTo>
                    <a:cubicBezTo>
                      <a:pt x="937341" y="352580"/>
                      <a:pt x="941086" y="348831"/>
                      <a:pt x="944831" y="346959"/>
                    </a:cubicBezTo>
                    <a:cubicBezTo>
                      <a:pt x="945778" y="345084"/>
                      <a:pt x="948598" y="344145"/>
                      <a:pt x="949523" y="341335"/>
                    </a:cubicBezTo>
                    <a:cubicBezTo>
                      <a:pt x="951396" y="336649"/>
                      <a:pt x="955140" y="331961"/>
                      <a:pt x="959833" y="326339"/>
                    </a:cubicBezTo>
                    <a:cubicBezTo>
                      <a:pt x="962652" y="324465"/>
                      <a:pt x="963578" y="321651"/>
                      <a:pt x="964525" y="318840"/>
                    </a:cubicBezTo>
                    <a:cubicBezTo>
                      <a:pt x="967345" y="314155"/>
                      <a:pt x="970142" y="308531"/>
                      <a:pt x="974834" y="304781"/>
                    </a:cubicBezTo>
                    <a:cubicBezTo>
                      <a:pt x="975760" y="300096"/>
                      <a:pt x="981399" y="296347"/>
                      <a:pt x="985144" y="292597"/>
                    </a:cubicBezTo>
                    <a:cubicBezTo>
                      <a:pt x="987017" y="288850"/>
                      <a:pt x="988889" y="286037"/>
                      <a:pt x="990762" y="282288"/>
                    </a:cubicBezTo>
                    <a:close/>
                    <a:moveTo>
                      <a:pt x="1077931" y="245737"/>
                    </a:moveTo>
                    <a:lnTo>
                      <a:pt x="1077931" y="247611"/>
                    </a:lnTo>
                    <a:lnTo>
                      <a:pt x="1076984" y="247611"/>
                    </a:lnTo>
                    <a:lnTo>
                      <a:pt x="1077931" y="245737"/>
                    </a:lnTo>
                    <a:close/>
                    <a:moveTo>
                      <a:pt x="1121989" y="92030"/>
                    </a:moveTo>
                    <a:lnTo>
                      <a:pt x="1121042" y="93905"/>
                    </a:lnTo>
                    <a:lnTo>
                      <a:pt x="1119170" y="93905"/>
                    </a:lnTo>
                    <a:cubicBezTo>
                      <a:pt x="1121042" y="93905"/>
                      <a:pt x="1121042" y="92030"/>
                      <a:pt x="1121989" y="92030"/>
                    </a:cubicBezTo>
                    <a:close/>
                    <a:moveTo>
                      <a:pt x="1118222" y="94841"/>
                    </a:moveTo>
                    <a:lnTo>
                      <a:pt x="1119170" y="94841"/>
                    </a:lnTo>
                    <a:cubicBezTo>
                      <a:pt x="1119170" y="96716"/>
                      <a:pt x="1118222" y="96716"/>
                      <a:pt x="1118222" y="96716"/>
                    </a:cubicBezTo>
                    <a:lnTo>
                      <a:pt x="1118222" y="94841"/>
                    </a:lnTo>
                    <a:close/>
                    <a:moveTo>
                      <a:pt x="1114477" y="122959"/>
                    </a:moveTo>
                    <a:lnTo>
                      <a:pt x="1115425" y="122959"/>
                    </a:lnTo>
                    <a:cubicBezTo>
                      <a:pt x="1114786" y="123583"/>
                      <a:pt x="1114169" y="123896"/>
                      <a:pt x="1113552" y="123896"/>
                    </a:cubicBezTo>
                    <a:lnTo>
                      <a:pt x="1114477" y="122959"/>
                    </a:lnTo>
                    <a:close/>
                    <a:moveTo>
                      <a:pt x="1113552" y="124832"/>
                    </a:moveTo>
                    <a:cubicBezTo>
                      <a:pt x="1111680" y="126707"/>
                      <a:pt x="1110733" y="127645"/>
                      <a:pt x="1109785" y="127645"/>
                    </a:cubicBezTo>
                    <a:cubicBezTo>
                      <a:pt x="1109785" y="128581"/>
                      <a:pt x="1107913" y="130456"/>
                      <a:pt x="1107913" y="130456"/>
                    </a:cubicBezTo>
                    <a:lnTo>
                      <a:pt x="1107913" y="128581"/>
                    </a:lnTo>
                    <a:lnTo>
                      <a:pt x="1109785" y="127645"/>
                    </a:lnTo>
                    <a:cubicBezTo>
                      <a:pt x="1110733" y="126707"/>
                      <a:pt x="1110733" y="124832"/>
                      <a:pt x="1113552" y="124832"/>
                    </a:cubicBezTo>
                    <a:close/>
                    <a:moveTo>
                      <a:pt x="1111680" y="102340"/>
                    </a:moveTo>
                    <a:cubicBezTo>
                      <a:pt x="1111680" y="104215"/>
                      <a:pt x="1110733" y="104215"/>
                      <a:pt x="1110733" y="104215"/>
                    </a:cubicBezTo>
                    <a:lnTo>
                      <a:pt x="1109785" y="104215"/>
                    </a:lnTo>
                    <a:cubicBezTo>
                      <a:pt x="1110733" y="104215"/>
                      <a:pt x="1110733" y="102340"/>
                      <a:pt x="1111680" y="102340"/>
                    </a:cubicBezTo>
                    <a:close/>
                    <a:moveTo>
                      <a:pt x="1109785" y="105151"/>
                    </a:moveTo>
                    <a:cubicBezTo>
                      <a:pt x="1109785" y="106087"/>
                      <a:pt x="1107913" y="107962"/>
                      <a:pt x="1106988" y="107962"/>
                    </a:cubicBezTo>
                    <a:cubicBezTo>
                      <a:pt x="1106988" y="106087"/>
                      <a:pt x="1107913" y="105151"/>
                      <a:pt x="1109785" y="105151"/>
                    </a:cubicBezTo>
                    <a:close/>
                    <a:moveTo>
                      <a:pt x="1104168" y="108900"/>
                    </a:moveTo>
                    <a:lnTo>
                      <a:pt x="1106040" y="108900"/>
                    </a:lnTo>
                    <a:cubicBezTo>
                      <a:pt x="1106040" y="108900"/>
                      <a:pt x="1106040" y="109837"/>
                      <a:pt x="1104168" y="109837"/>
                    </a:cubicBezTo>
                    <a:lnTo>
                      <a:pt x="1104168" y="108900"/>
                    </a:lnTo>
                    <a:close/>
                    <a:moveTo>
                      <a:pt x="1098551" y="128581"/>
                    </a:moveTo>
                    <a:lnTo>
                      <a:pt x="1098551" y="130456"/>
                    </a:lnTo>
                    <a:cubicBezTo>
                      <a:pt x="1098551" y="130456"/>
                      <a:pt x="1096678" y="130456"/>
                      <a:pt x="1096678" y="131394"/>
                    </a:cubicBezTo>
                    <a:cubicBezTo>
                      <a:pt x="1096678" y="130769"/>
                      <a:pt x="1097295" y="129830"/>
                      <a:pt x="1098551" y="128581"/>
                    </a:cubicBezTo>
                    <a:close/>
                    <a:moveTo>
                      <a:pt x="1095731" y="131394"/>
                    </a:moveTo>
                    <a:cubicBezTo>
                      <a:pt x="1095731" y="132331"/>
                      <a:pt x="1094805" y="134205"/>
                      <a:pt x="1092933" y="134205"/>
                    </a:cubicBezTo>
                    <a:cubicBezTo>
                      <a:pt x="1092933" y="132331"/>
                      <a:pt x="1094805" y="131394"/>
                      <a:pt x="1095731" y="131394"/>
                    </a:cubicBezTo>
                    <a:close/>
                    <a:moveTo>
                      <a:pt x="1089166" y="137955"/>
                    </a:moveTo>
                    <a:cubicBezTo>
                      <a:pt x="1089166" y="136080"/>
                      <a:pt x="1091060" y="135141"/>
                      <a:pt x="1092933" y="135141"/>
                    </a:cubicBezTo>
                    <a:cubicBezTo>
                      <a:pt x="1091986" y="136080"/>
                      <a:pt x="1091986" y="137955"/>
                      <a:pt x="1089166" y="137955"/>
                    </a:cubicBezTo>
                    <a:cubicBezTo>
                      <a:pt x="1089166" y="140766"/>
                      <a:pt x="1088241" y="141704"/>
                      <a:pt x="1087294" y="141704"/>
                    </a:cubicBezTo>
                    <a:cubicBezTo>
                      <a:pt x="1087294" y="138891"/>
                      <a:pt x="1088241" y="138891"/>
                      <a:pt x="1089166" y="137955"/>
                    </a:cubicBezTo>
                    <a:close/>
                    <a:moveTo>
                      <a:pt x="1077931" y="150139"/>
                    </a:moveTo>
                    <a:lnTo>
                      <a:pt x="1076984" y="150139"/>
                    </a:lnTo>
                    <a:lnTo>
                      <a:pt x="1076984" y="146390"/>
                    </a:lnTo>
                    <a:cubicBezTo>
                      <a:pt x="1078856" y="142640"/>
                      <a:pt x="1081676" y="141704"/>
                      <a:pt x="1085421" y="141704"/>
                    </a:cubicBezTo>
                    <a:cubicBezTo>
                      <a:pt x="1084496" y="145451"/>
                      <a:pt x="1081676" y="148264"/>
                      <a:pt x="1077931" y="150139"/>
                    </a:cubicBezTo>
                    <a:close/>
                    <a:moveTo>
                      <a:pt x="1082623" y="131394"/>
                    </a:moveTo>
                    <a:cubicBezTo>
                      <a:pt x="1082623" y="130456"/>
                      <a:pt x="1084496" y="128581"/>
                      <a:pt x="1084496" y="128581"/>
                    </a:cubicBezTo>
                    <a:lnTo>
                      <a:pt x="1084496" y="130456"/>
                    </a:lnTo>
                    <a:cubicBezTo>
                      <a:pt x="1084496" y="131394"/>
                      <a:pt x="1082623" y="131394"/>
                      <a:pt x="1082623" y="131394"/>
                    </a:cubicBezTo>
                    <a:cubicBezTo>
                      <a:pt x="1081676" y="132331"/>
                      <a:pt x="1081676" y="134205"/>
                      <a:pt x="1078856" y="134205"/>
                    </a:cubicBezTo>
                    <a:cubicBezTo>
                      <a:pt x="1080751" y="132331"/>
                      <a:pt x="1080751" y="131394"/>
                      <a:pt x="1082623" y="131394"/>
                    </a:cubicBezTo>
                    <a:close/>
                    <a:moveTo>
                      <a:pt x="1078856" y="135141"/>
                    </a:moveTo>
                    <a:cubicBezTo>
                      <a:pt x="1076984" y="138891"/>
                      <a:pt x="1075111" y="138891"/>
                      <a:pt x="1073239" y="135141"/>
                    </a:cubicBezTo>
                    <a:lnTo>
                      <a:pt x="1078856" y="135141"/>
                    </a:lnTo>
                    <a:close/>
                    <a:moveTo>
                      <a:pt x="1067621" y="142640"/>
                    </a:moveTo>
                    <a:lnTo>
                      <a:pt x="1067621" y="144515"/>
                    </a:lnTo>
                    <a:lnTo>
                      <a:pt x="1066674" y="142640"/>
                    </a:lnTo>
                    <a:lnTo>
                      <a:pt x="1067621" y="142640"/>
                    </a:lnTo>
                    <a:close/>
                    <a:moveTo>
                      <a:pt x="1067621" y="172631"/>
                    </a:moveTo>
                    <a:cubicBezTo>
                      <a:pt x="1067621" y="174505"/>
                      <a:pt x="1066674" y="174505"/>
                      <a:pt x="1066674" y="174505"/>
                    </a:cubicBezTo>
                    <a:cubicBezTo>
                      <a:pt x="1066674" y="174505"/>
                      <a:pt x="1066674" y="172631"/>
                      <a:pt x="1067621" y="172631"/>
                    </a:cubicBezTo>
                    <a:close/>
                    <a:moveTo>
                      <a:pt x="1063877" y="152950"/>
                    </a:moveTo>
                    <a:lnTo>
                      <a:pt x="1063877" y="153888"/>
                    </a:lnTo>
                    <a:lnTo>
                      <a:pt x="1062929" y="153888"/>
                    </a:lnTo>
                    <a:cubicBezTo>
                      <a:pt x="1062929" y="152950"/>
                      <a:pt x="1063877" y="152950"/>
                      <a:pt x="1063877" y="152950"/>
                    </a:cubicBezTo>
                    <a:close/>
                    <a:moveTo>
                      <a:pt x="1059184" y="157636"/>
                    </a:moveTo>
                    <a:cubicBezTo>
                      <a:pt x="1060132" y="156699"/>
                      <a:pt x="1060132" y="155761"/>
                      <a:pt x="1062929" y="155761"/>
                    </a:cubicBezTo>
                    <a:cubicBezTo>
                      <a:pt x="1062004" y="156699"/>
                      <a:pt x="1062004" y="157636"/>
                      <a:pt x="1059184" y="157636"/>
                    </a:cubicBezTo>
                    <a:cubicBezTo>
                      <a:pt x="1059184" y="160446"/>
                      <a:pt x="1058237" y="160446"/>
                      <a:pt x="1056365" y="161385"/>
                    </a:cubicBezTo>
                    <a:cubicBezTo>
                      <a:pt x="1056365" y="159510"/>
                      <a:pt x="1058237" y="159510"/>
                      <a:pt x="1059184" y="157636"/>
                    </a:cubicBezTo>
                    <a:close/>
                    <a:moveTo>
                      <a:pt x="1059184" y="182004"/>
                    </a:moveTo>
                    <a:cubicBezTo>
                      <a:pt x="1059801" y="180129"/>
                      <a:pt x="1061057" y="178880"/>
                      <a:pt x="1062929" y="178255"/>
                    </a:cubicBezTo>
                    <a:cubicBezTo>
                      <a:pt x="1062929" y="176380"/>
                      <a:pt x="1063877" y="175444"/>
                      <a:pt x="1065749" y="175444"/>
                    </a:cubicBezTo>
                    <a:cubicBezTo>
                      <a:pt x="1065749" y="176380"/>
                      <a:pt x="1063877" y="178255"/>
                      <a:pt x="1062929" y="178255"/>
                    </a:cubicBezTo>
                    <a:cubicBezTo>
                      <a:pt x="1062004" y="180129"/>
                      <a:pt x="1062004" y="182004"/>
                      <a:pt x="1059184" y="182004"/>
                    </a:cubicBezTo>
                    <a:cubicBezTo>
                      <a:pt x="1059184" y="182940"/>
                      <a:pt x="1058237" y="184815"/>
                      <a:pt x="1056365" y="184815"/>
                    </a:cubicBezTo>
                    <a:cubicBezTo>
                      <a:pt x="1056365" y="182940"/>
                      <a:pt x="1058237" y="182004"/>
                      <a:pt x="1059184" y="182004"/>
                    </a:cubicBezTo>
                    <a:close/>
                    <a:moveTo>
                      <a:pt x="1047927" y="182004"/>
                    </a:moveTo>
                    <a:lnTo>
                      <a:pt x="1048875" y="182004"/>
                    </a:lnTo>
                    <a:cubicBezTo>
                      <a:pt x="1050747" y="180129"/>
                      <a:pt x="1050747" y="179191"/>
                      <a:pt x="1051695" y="179191"/>
                    </a:cubicBezTo>
                    <a:cubicBezTo>
                      <a:pt x="1051695" y="179817"/>
                      <a:pt x="1051364" y="180129"/>
                      <a:pt x="1050747" y="180129"/>
                    </a:cubicBezTo>
                    <a:cubicBezTo>
                      <a:pt x="1050747" y="180129"/>
                      <a:pt x="1050747" y="182004"/>
                      <a:pt x="1048875" y="182004"/>
                    </a:cubicBezTo>
                    <a:cubicBezTo>
                      <a:pt x="1048875" y="182940"/>
                      <a:pt x="1047927" y="182940"/>
                      <a:pt x="1047927" y="182940"/>
                    </a:cubicBezTo>
                    <a:lnTo>
                      <a:pt x="1047927" y="182004"/>
                    </a:lnTo>
                    <a:close/>
                    <a:moveTo>
                      <a:pt x="1052620" y="188564"/>
                    </a:moveTo>
                    <a:cubicBezTo>
                      <a:pt x="1052620" y="186690"/>
                      <a:pt x="1054492" y="185754"/>
                      <a:pt x="1055439" y="185754"/>
                    </a:cubicBezTo>
                    <a:cubicBezTo>
                      <a:pt x="1055439" y="186690"/>
                      <a:pt x="1054492" y="188564"/>
                      <a:pt x="1052620" y="188564"/>
                    </a:cubicBezTo>
                    <a:lnTo>
                      <a:pt x="1052620" y="192314"/>
                    </a:lnTo>
                    <a:cubicBezTo>
                      <a:pt x="1051695" y="193250"/>
                      <a:pt x="1050747" y="194188"/>
                      <a:pt x="1048875" y="194188"/>
                    </a:cubicBezTo>
                    <a:lnTo>
                      <a:pt x="1047002" y="194188"/>
                    </a:lnTo>
                    <a:cubicBezTo>
                      <a:pt x="1047927" y="192314"/>
                      <a:pt x="1048875" y="189501"/>
                      <a:pt x="1052620" y="188564"/>
                    </a:cubicBezTo>
                    <a:close/>
                    <a:moveTo>
                      <a:pt x="1036693" y="201685"/>
                    </a:moveTo>
                    <a:cubicBezTo>
                      <a:pt x="1037618" y="201685"/>
                      <a:pt x="1039512" y="200749"/>
                      <a:pt x="1039512" y="197938"/>
                    </a:cubicBezTo>
                    <a:lnTo>
                      <a:pt x="1036693" y="197938"/>
                    </a:lnTo>
                    <a:cubicBezTo>
                      <a:pt x="1036693" y="196999"/>
                      <a:pt x="1036693" y="196061"/>
                      <a:pt x="1037618" y="196061"/>
                    </a:cubicBezTo>
                    <a:cubicBezTo>
                      <a:pt x="1037618" y="196061"/>
                      <a:pt x="1039512" y="196999"/>
                      <a:pt x="1039512" y="197938"/>
                    </a:cubicBezTo>
                    <a:cubicBezTo>
                      <a:pt x="1040438" y="197938"/>
                      <a:pt x="1041385" y="196999"/>
                      <a:pt x="1043257" y="196999"/>
                    </a:cubicBezTo>
                    <a:cubicBezTo>
                      <a:pt x="1044182" y="196061"/>
                      <a:pt x="1045130" y="196061"/>
                      <a:pt x="1045130" y="196061"/>
                    </a:cubicBezTo>
                    <a:cubicBezTo>
                      <a:pt x="1047002" y="197938"/>
                      <a:pt x="1045130" y="200749"/>
                      <a:pt x="1044182" y="201685"/>
                    </a:cubicBezTo>
                    <a:cubicBezTo>
                      <a:pt x="1041385" y="204498"/>
                      <a:pt x="1039512" y="207309"/>
                      <a:pt x="1036693" y="208245"/>
                    </a:cubicBezTo>
                    <a:lnTo>
                      <a:pt x="1036693" y="201685"/>
                    </a:lnTo>
                    <a:close/>
                    <a:moveTo>
                      <a:pt x="1032947" y="201685"/>
                    </a:moveTo>
                    <a:cubicBezTo>
                      <a:pt x="1032947" y="199810"/>
                      <a:pt x="1033873" y="199810"/>
                      <a:pt x="1034820" y="197938"/>
                    </a:cubicBezTo>
                    <a:lnTo>
                      <a:pt x="1034820" y="201685"/>
                    </a:lnTo>
                    <a:lnTo>
                      <a:pt x="1032947" y="201685"/>
                    </a:lnTo>
                    <a:cubicBezTo>
                      <a:pt x="1031075" y="203560"/>
                      <a:pt x="1031075" y="204498"/>
                      <a:pt x="1029202" y="204498"/>
                    </a:cubicBezTo>
                    <a:cubicBezTo>
                      <a:pt x="1030128" y="203560"/>
                      <a:pt x="1030128" y="201685"/>
                      <a:pt x="1032947" y="201685"/>
                    </a:cubicBezTo>
                    <a:close/>
                    <a:moveTo>
                      <a:pt x="1029202" y="205434"/>
                    </a:moveTo>
                    <a:lnTo>
                      <a:pt x="1029202" y="208245"/>
                    </a:lnTo>
                    <a:lnTo>
                      <a:pt x="1034820" y="208245"/>
                    </a:lnTo>
                    <a:cubicBezTo>
                      <a:pt x="1034820" y="211995"/>
                      <a:pt x="1032947" y="214808"/>
                      <a:pt x="1029202" y="214808"/>
                    </a:cubicBezTo>
                    <a:lnTo>
                      <a:pt x="1029202" y="208245"/>
                    </a:lnTo>
                    <a:lnTo>
                      <a:pt x="1026383" y="208245"/>
                    </a:lnTo>
                    <a:cubicBezTo>
                      <a:pt x="1026383" y="207309"/>
                      <a:pt x="1027308" y="205434"/>
                      <a:pt x="1029202" y="205434"/>
                    </a:cubicBezTo>
                    <a:close/>
                    <a:moveTo>
                      <a:pt x="1029202" y="215744"/>
                    </a:moveTo>
                    <a:cubicBezTo>
                      <a:pt x="1029202" y="216682"/>
                      <a:pt x="1027308" y="218555"/>
                      <a:pt x="1026383" y="218555"/>
                    </a:cubicBezTo>
                    <a:cubicBezTo>
                      <a:pt x="1026383" y="216682"/>
                      <a:pt x="1027308" y="215744"/>
                      <a:pt x="1029202" y="215744"/>
                    </a:cubicBezTo>
                    <a:close/>
                    <a:moveTo>
                      <a:pt x="1022638" y="224179"/>
                    </a:moveTo>
                    <a:cubicBezTo>
                      <a:pt x="1022638" y="222304"/>
                      <a:pt x="1022638" y="219493"/>
                      <a:pt x="1025436" y="218555"/>
                    </a:cubicBezTo>
                    <a:cubicBezTo>
                      <a:pt x="1026383" y="220432"/>
                      <a:pt x="1026383" y="224179"/>
                      <a:pt x="1022638" y="224179"/>
                    </a:cubicBezTo>
                    <a:close/>
                    <a:moveTo>
                      <a:pt x="1022638" y="211995"/>
                    </a:moveTo>
                    <a:cubicBezTo>
                      <a:pt x="1023255" y="210120"/>
                      <a:pt x="1024202" y="208871"/>
                      <a:pt x="1025436" y="208245"/>
                    </a:cubicBezTo>
                    <a:cubicBezTo>
                      <a:pt x="1025436" y="211058"/>
                      <a:pt x="1023563" y="211058"/>
                      <a:pt x="1022638" y="211995"/>
                    </a:cubicBezTo>
                    <a:cubicBezTo>
                      <a:pt x="1021999" y="212620"/>
                      <a:pt x="1021691" y="213557"/>
                      <a:pt x="1021691" y="214808"/>
                    </a:cubicBezTo>
                    <a:cubicBezTo>
                      <a:pt x="1021691" y="212933"/>
                      <a:pt x="1019818" y="212933"/>
                      <a:pt x="1019818" y="212933"/>
                    </a:cubicBezTo>
                    <a:cubicBezTo>
                      <a:pt x="1021691" y="212933"/>
                      <a:pt x="1021691" y="211995"/>
                      <a:pt x="1022638" y="211995"/>
                    </a:cubicBezTo>
                    <a:close/>
                    <a:moveTo>
                      <a:pt x="1018893" y="228865"/>
                    </a:moveTo>
                    <a:cubicBezTo>
                      <a:pt x="1019818" y="226990"/>
                      <a:pt x="1019818" y="226054"/>
                      <a:pt x="1022638" y="226054"/>
                    </a:cubicBezTo>
                    <a:cubicBezTo>
                      <a:pt x="1022638" y="226990"/>
                      <a:pt x="1021691" y="228865"/>
                      <a:pt x="1018893" y="228865"/>
                    </a:cubicBezTo>
                    <a:cubicBezTo>
                      <a:pt x="1018893" y="230739"/>
                      <a:pt x="1017946" y="230739"/>
                      <a:pt x="1016073" y="232614"/>
                    </a:cubicBezTo>
                    <a:cubicBezTo>
                      <a:pt x="1016073" y="229803"/>
                      <a:pt x="1017946" y="228865"/>
                      <a:pt x="1018893" y="228865"/>
                    </a:cubicBezTo>
                    <a:close/>
                    <a:moveTo>
                      <a:pt x="147243" y="508161"/>
                    </a:moveTo>
                    <a:lnTo>
                      <a:pt x="172555" y="483795"/>
                    </a:lnTo>
                    <a:cubicBezTo>
                      <a:pt x="191301" y="469736"/>
                      <a:pt x="210048" y="453802"/>
                      <a:pt x="233487" y="442554"/>
                    </a:cubicBezTo>
                    <a:cubicBezTo>
                      <a:pt x="251287" y="431308"/>
                      <a:pt x="271906" y="425684"/>
                      <a:pt x="292525" y="423809"/>
                    </a:cubicBezTo>
                    <a:cubicBezTo>
                      <a:pt x="298143" y="423809"/>
                      <a:pt x="302835" y="422873"/>
                      <a:pt x="303782" y="419124"/>
                    </a:cubicBezTo>
                    <a:cubicBezTo>
                      <a:pt x="304707" y="416313"/>
                      <a:pt x="308452" y="412564"/>
                      <a:pt x="311272" y="415375"/>
                    </a:cubicBezTo>
                    <a:cubicBezTo>
                      <a:pt x="315017" y="419124"/>
                      <a:pt x="318762" y="420999"/>
                      <a:pt x="315964" y="425684"/>
                    </a:cubicBezTo>
                    <a:cubicBezTo>
                      <a:pt x="315964" y="430370"/>
                      <a:pt x="315964" y="435994"/>
                      <a:pt x="313145" y="438807"/>
                    </a:cubicBezTo>
                    <a:cubicBezTo>
                      <a:pt x="308452" y="450053"/>
                      <a:pt x="300015" y="461299"/>
                      <a:pt x="289706" y="466923"/>
                    </a:cubicBezTo>
                    <a:cubicBezTo>
                      <a:pt x="270034" y="481918"/>
                      <a:pt x="249414" y="493166"/>
                      <a:pt x="224103" y="500665"/>
                    </a:cubicBezTo>
                    <a:cubicBezTo>
                      <a:pt x="211921" y="506287"/>
                      <a:pt x="203483" y="509098"/>
                      <a:pt x="192249" y="512847"/>
                    </a:cubicBezTo>
                    <a:cubicBezTo>
                      <a:pt x="184737" y="514722"/>
                      <a:pt x="173502" y="515660"/>
                      <a:pt x="165065" y="517535"/>
                    </a:cubicBezTo>
                    <a:lnTo>
                      <a:pt x="165065" y="515660"/>
                    </a:lnTo>
                    <a:cubicBezTo>
                      <a:pt x="160372" y="515660"/>
                      <a:pt x="156627" y="515660"/>
                      <a:pt x="152882" y="517535"/>
                    </a:cubicBezTo>
                    <a:cubicBezTo>
                      <a:pt x="150063" y="517535"/>
                      <a:pt x="144445" y="520346"/>
                      <a:pt x="141626" y="517535"/>
                    </a:cubicBezTo>
                    <a:cubicBezTo>
                      <a:pt x="140700" y="514722"/>
                      <a:pt x="146318" y="509098"/>
                      <a:pt x="147243" y="508161"/>
                    </a:cubicBezTo>
                    <a:close/>
                    <a:moveTo>
                      <a:pt x="408751" y="636563"/>
                    </a:moveTo>
                    <a:lnTo>
                      <a:pt x="408751" y="638438"/>
                    </a:lnTo>
                    <a:lnTo>
                      <a:pt x="406879" y="638438"/>
                    </a:lnTo>
                    <a:cubicBezTo>
                      <a:pt x="406879" y="637499"/>
                      <a:pt x="406879" y="634688"/>
                      <a:pt x="408751" y="634688"/>
                    </a:cubicBezTo>
                    <a:lnTo>
                      <a:pt x="408751" y="636563"/>
                    </a:lnTo>
                    <a:close/>
                    <a:moveTo>
                      <a:pt x="410624" y="622504"/>
                    </a:moveTo>
                    <a:cubicBezTo>
                      <a:pt x="409676" y="622504"/>
                      <a:pt x="409676" y="620629"/>
                      <a:pt x="409676" y="619693"/>
                    </a:cubicBezTo>
                    <a:lnTo>
                      <a:pt x="410624" y="618757"/>
                    </a:lnTo>
                    <a:cubicBezTo>
                      <a:pt x="412496" y="618757"/>
                      <a:pt x="412496" y="619693"/>
                      <a:pt x="412496" y="620629"/>
                    </a:cubicBezTo>
                    <a:cubicBezTo>
                      <a:pt x="412496" y="620629"/>
                      <a:pt x="412496" y="622504"/>
                      <a:pt x="410624" y="622504"/>
                    </a:cubicBezTo>
                    <a:close/>
                    <a:moveTo>
                      <a:pt x="414369" y="612194"/>
                    </a:moveTo>
                    <a:lnTo>
                      <a:pt x="413421" y="612194"/>
                    </a:lnTo>
                    <a:lnTo>
                      <a:pt x="413421" y="608447"/>
                    </a:lnTo>
                    <a:lnTo>
                      <a:pt x="414369" y="608447"/>
                    </a:lnTo>
                    <a:cubicBezTo>
                      <a:pt x="416241" y="608447"/>
                      <a:pt x="416241" y="609383"/>
                      <a:pt x="416241" y="611258"/>
                    </a:cubicBezTo>
                    <a:lnTo>
                      <a:pt x="414369" y="612194"/>
                    </a:lnTo>
                    <a:close/>
                    <a:moveTo>
                      <a:pt x="417188" y="626253"/>
                    </a:moveTo>
                    <a:lnTo>
                      <a:pt x="417188" y="622504"/>
                    </a:lnTo>
                    <a:cubicBezTo>
                      <a:pt x="419061" y="620629"/>
                      <a:pt x="419061" y="622504"/>
                      <a:pt x="419061" y="623442"/>
                    </a:cubicBezTo>
                    <a:cubicBezTo>
                      <a:pt x="419061" y="623442"/>
                      <a:pt x="419061" y="624379"/>
                      <a:pt x="417188" y="626253"/>
                    </a:cubicBezTo>
                    <a:close/>
                    <a:moveTo>
                      <a:pt x="419061" y="600010"/>
                    </a:moveTo>
                    <a:lnTo>
                      <a:pt x="417188" y="598135"/>
                    </a:lnTo>
                    <a:lnTo>
                      <a:pt x="419061" y="598135"/>
                    </a:lnTo>
                    <a:lnTo>
                      <a:pt x="419061" y="600010"/>
                    </a:lnTo>
                    <a:close/>
                    <a:moveTo>
                      <a:pt x="714274" y="473483"/>
                    </a:moveTo>
                    <a:cubicBezTo>
                      <a:pt x="714274" y="475358"/>
                      <a:pt x="713348" y="476296"/>
                      <a:pt x="711476" y="476296"/>
                    </a:cubicBezTo>
                    <a:cubicBezTo>
                      <a:pt x="711476" y="475358"/>
                      <a:pt x="713348" y="473483"/>
                      <a:pt x="714274" y="473483"/>
                    </a:cubicBezTo>
                    <a:close/>
                    <a:moveTo>
                      <a:pt x="707731" y="480046"/>
                    </a:moveTo>
                    <a:cubicBezTo>
                      <a:pt x="707731" y="477232"/>
                      <a:pt x="709604" y="476296"/>
                      <a:pt x="710529" y="476296"/>
                    </a:cubicBezTo>
                    <a:cubicBezTo>
                      <a:pt x="710529" y="479107"/>
                      <a:pt x="709604" y="479107"/>
                      <a:pt x="707731" y="480046"/>
                    </a:cubicBezTo>
                    <a:cubicBezTo>
                      <a:pt x="706784" y="480982"/>
                      <a:pt x="706784" y="482857"/>
                      <a:pt x="703964" y="482857"/>
                    </a:cubicBezTo>
                    <a:cubicBezTo>
                      <a:pt x="703964" y="480982"/>
                      <a:pt x="705836" y="480046"/>
                      <a:pt x="707731" y="480046"/>
                    </a:cubicBezTo>
                    <a:close/>
                    <a:moveTo>
                      <a:pt x="703964" y="483795"/>
                    </a:moveTo>
                    <a:cubicBezTo>
                      <a:pt x="703964" y="484731"/>
                      <a:pt x="703039" y="486606"/>
                      <a:pt x="702091" y="486606"/>
                    </a:cubicBezTo>
                    <a:cubicBezTo>
                      <a:pt x="702091" y="484731"/>
                      <a:pt x="703039" y="483795"/>
                      <a:pt x="703964" y="483795"/>
                    </a:cubicBezTo>
                    <a:close/>
                    <a:moveTo>
                      <a:pt x="700219" y="486606"/>
                    </a:moveTo>
                    <a:cubicBezTo>
                      <a:pt x="699294" y="491291"/>
                      <a:pt x="695527" y="492228"/>
                      <a:pt x="691782" y="492228"/>
                    </a:cubicBezTo>
                    <a:cubicBezTo>
                      <a:pt x="692729" y="488481"/>
                      <a:pt x="695527" y="486606"/>
                      <a:pt x="700219" y="486606"/>
                    </a:cubicBezTo>
                    <a:close/>
                    <a:moveTo>
                      <a:pt x="690857" y="492228"/>
                    </a:moveTo>
                    <a:cubicBezTo>
                      <a:pt x="690857" y="494102"/>
                      <a:pt x="690857" y="495041"/>
                      <a:pt x="688984" y="495041"/>
                    </a:cubicBezTo>
                    <a:cubicBezTo>
                      <a:pt x="688984" y="494102"/>
                      <a:pt x="688984" y="492228"/>
                      <a:pt x="690857" y="492228"/>
                    </a:cubicBezTo>
                    <a:close/>
                    <a:moveTo>
                      <a:pt x="678674" y="508161"/>
                    </a:moveTo>
                    <a:cubicBezTo>
                      <a:pt x="678674" y="508161"/>
                      <a:pt x="680547" y="508161"/>
                      <a:pt x="680547" y="506287"/>
                    </a:cubicBezTo>
                    <a:cubicBezTo>
                      <a:pt x="680547" y="508161"/>
                      <a:pt x="678674" y="508161"/>
                      <a:pt x="678674" y="509098"/>
                    </a:cubicBezTo>
                    <a:lnTo>
                      <a:pt x="678674" y="508161"/>
                    </a:lnTo>
                    <a:close/>
                    <a:moveTo>
                      <a:pt x="671163" y="513785"/>
                    </a:moveTo>
                    <a:cubicBezTo>
                      <a:pt x="673035" y="513785"/>
                      <a:pt x="673035" y="515660"/>
                      <a:pt x="673035" y="515660"/>
                    </a:cubicBezTo>
                    <a:cubicBezTo>
                      <a:pt x="673035" y="515660"/>
                      <a:pt x="671163" y="515660"/>
                      <a:pt x="671163" y="516596"/>
                    </a:cubicBezTo>
                    <a:lnTo>
                      <a:pt x="671163" y="513785"/>
                    </a:lnTo>
                    <a:close/>
                    <a:moveTo>
                      <a:pt x="670237" y="516596"/>
                    </a:moveTo>
                    <a:cubicBezTo>
                      <a:pt x="670237" y="517535"/>
                      <a:pt x="669290" y="519407"/>
                      <a:pt x="667418" y="519407"/>
                    </a:cubicBezTo>
                    <a:cubicBezTo>
                      <a:pt x="667418" y="517535"/>
                      <a:pt x="669290" y="516596"/>
                      <a:pt x="670237" y="516596"/>
                    </a:cubicBezTo>
                    <a:close/>
                    <a:moveTo>
                      <a:pt x="663673" y="523159"/>
                    </a:moveTo>
                    <a:cubicBezTo>
                      <a:pt x="665545" y="521282"/>
                      <a:pt x="665545" y="520346"/>
                      <a:pt x="667418" y="520346"/>
                    </a:cubicBezTo>
                    <a:cubicBezTo>
                      <a:pt x="666492" y="521282"/>
                      <a:pt x="665545" y="523159"/>
                      <a:pt x="663673" y="523159"/>
                    </a:cubicBezTo>
                    <a:cubicBezTo>
                      <a:pt x="663673" y="525031"/>
                      <a:pt x="662725" y="525031"/>
                      <a:pt x="661800" y="526906"/>
                    </a:cubicBezTo>
                    <a:cubicBezTo>
                      <a:pt x="661800" y="524095"/>
                      <a:pt x="662725" y="524095"/>
                      <a:pt x="663673" y="523159"/>
                    </a:cubicBezTo>
                    <a:close/>
                    <a:moveTo>
                      <a:pt x="658980" y="527844"/>
                    </a:moveTo>
                    <a:cubicBezTo>
                      <a:pt x="658980" y="527844"/>
                      <a:pt x="659928" y="527844"/>
                      <a:pt x="659928" y="526906"/>
                    </a:cubicBezTo>
                    <a:cubicBezTo>
                      <a:pt x="659928" y="527532"/>
                      <a:pt x="659619" y="528155"/>
                      <a:pt x="658980" y="528781"/>
                    </a:cubicBezTo>
                    <a:lnTo>
                      <a:pt x="658980" y="527844"/>
                    </a:lnTo>
                    <a:close/>
                    <a:moveTo>
                      <a:pt x="644926" y="540965"/>
                    </a:moveTo>
                    <a:lnTo>
                      <a:pt x="646798" y="541901"/>
                    </a:lnTo>
                    <a:cubicBezTo>
                      <a:pt x="644926" y="541901"/>
                      <a:pt x="644926" y="542840"/>
                      <a:pt x="644926" y="542840"/>
                    </a:cubicBezTo>
                    <a:lnTo>
                      <a:pt x="644926" y="540965"/>
                    </a:lnTo>
                    <a:close/>
                    <a:moveTo>
                      <a:pt x="643979" y="542840"/>
                    </a:moveTo>
                    <a:cubicBezTo>
                      <a:pt x="643979" y="545651"/>
                      <a:pt x="643053" y="546589"/>
                      <a:pt x="641181" y="546589"/>
                    </a:cubicBezTo>
                    <a:cubicBezTo>
                      <a:pt x="641181" y="544714"/>
                      <a:pt x="643053" y="544714"/>
                      <a:pt x="643979" y="542840"/>
                    </a:cubicBezTo>
                    <a:close/>
                    <a:moveTo>
                      <a:pt x="638361" y="548464"/>
                    </a:moveTo>
                    <a:cubicBezTo>
                      <a:pt x="638361" y="546589"/>
                      <a:pt x="640234" y="546589"/>
                      <a:pt x="640234" y="546589"/>
                    </a:cubicBezTo>
                    <a:cubicBezTo>
                      <a:pt x="640234" y="548464"/>
                      <a:pt x="640234" y="549400"/>
                      <a:pt x="638361" y="549400"/>
                    </a:cubicBezTo>
                    <a:lnTo>
                      <a:pt x="638361" y="548464"/>
                    </a:lnTo>
                    <a:close/>
                    <a:moveTo>
                      <a:pt x="626179" y="560646"/>
                    </a:moveTo>
                    <a:lnTo>
                      <a:pt x="626179" y="561584"/>
                    </a:lnTo>
                    <a:lnTo>
                      <a:pt x="625254" y="561584"/>
                    </a:lnTo>
                    <a:lnTo>
                      <a:pt x="626179" y="560646"/>
                    </a:lnTo>
                    <a:close/>
                    <a:moveTo>
                      <a:pt x="614944" y="574705"/>
                    </a:moveTo>
                    <a:cubicBezTo>
                      <a:pt x="614944" y="574705"/>
                      <a:pt x="615869" y="574705"/>
                      <a:pt x="615869" y="575643"/>
                    </a:cubicBezTo>
                    <a:cubicBezTo>
                      <a:pt x="614944" y="575643"/>
                      <a:pt x="614944" y="576580"/>
                      <a:pt x="613997" y="576580"/>
                    </a:cubicBezTo>
                    <a:lnTo>
                      <a:pt x="612124" y="575643"/>
                    </a:lnTo>
                    <a:cubicBezTo>
                      <a:pt x="612124" y="574705"/>
                      <a:pt x="613997" y="572830"/>
                      <a:pt x="614944" y="574705"/>
                    </a:cubicBezTo>
                    <a:close/>
                    <a:moveTo>
                      <a:pt x="606507" y="585015"/>
                    </a:moveTo>
                    <a:lnTo>
                      <a:pt x="606507" y="585953"/>
                    </a:lnTo>
                    <a:lnTo>
                      <a:pt x="604635" y="585015"/>
                    </a:lnTo>
                    <a:lnTo>
                      <a:pt x="606507" y="585015"/>
                    </a:lnTo>
                    <a:close/>
                    <a:moveTo>
                      <a:pt x="596197" y="594388"/>
                    </a:moveTo>
                    <a:lnTo>
                      <a:pt x="596197" y="596263"/>
                    </a:lnTo>
                    <a:lnTo>
                      <a:pt x="595250" y="596263"/>
                    </a:lnTo>
                    <a:lnTo>
                      <a:pt x="596197" y="594388"/>
                    </a:lnTo>
                    <a:close/>
                    <a:moveTo>
                      <a:pt x="476227" y="697484"/>
                    </a:moveTo>
                    <a:cubicBezTo>
                      <a:pt x="478099" y="695610"/>
                      <a:pt x="478099" y="693735"/>
                      <a:pt x="479972" y="693735"/>
                    </a:cubicBezTo>
                    <a:cubicBezTo>
                      <a:pt x="479972" y="692797"/>
                      <a:pt x="481844" y="691861"/>
                      <a:pt x="482791" y="691861"/>
                    </a:cubicBezTo>
                    <a:cubicBezTo>
                      <a:pt x="482791" y="692797"/>
                      <a:pt x="481844" y="692797"/>
                      <a:pt x="479972" y="693735"/>
                    </a:cubicBezTo>
                    <a:cubicBezTo>
                      <a:pt x="479046" y="695610"/>
                      <a:pt x="478099" y="696546"/>
                      <a:pt x="476227" y="697484"/>
                    </a:cubicBezTo>
                    <a:lnTo>
                      <a:pt x="475279" y="699357"/>
                    </a:lnTo>
                    <a:lnTo>
                      <a:pt x="474354" y="699357"/>
                    </a:lnTo>
                    <a:cubicBezTo>
                      <a:pt x="475279" y="699357"/>
                      <a:pt x="475279" y="697484"/>
                      <a:pt x="476227" y="697484"/>
                    </a:cubicBezTo>
                    <a:close/>
                    <a:moveTo>
                      <a:pt x="420933" y="638438"/>
                    </a:moveTo>
                    <a:cubicBezTo>
                      <a:pt x="420933" y="638438"/>
                      <a:pt x="420933" y="637501"/>
                      <a:pt x="419986" y="636563"/>
                    </a:cubicBezTo>
                    <a:lnTo>
                      <a:pt x="420933" y="634688"/>
                    </a:lnTo>
                    <a:cubicBezTo>
                      <a:pt x="422806" y="636563"/>
                      <a:pt x="422806" y="637501"/>
                      <a:pt x="422806" y="637501"/>
                    </a:cubicBezTo>
                    <a:cubicBezTo>
                      <a:pt x="422806" y="638438"/>
                      <a:pt x="420933" y="638438"/>
                      <a:pt x="420933" y="638438"/>
                    </a:cubicBezTo>
                    <a:close/>
                    <a:moveTo>
                      <a:pt x="424678" y="629066"/>
                    </a:moveTo>
                    <a:cubicBezTo>
                      <a:pt x="424678" y="629066"/>
                      <a:pt x="423731" y="629066"/>
                      <a:pt x="423731" y="627189"/>
                    </a:cubicBezTo>
                    <a:cubicBezTo>
                      <a:pt x="423731" y="626253"/>
                      <a:pt x="423731" y="624379"/>
                      <a:pt x="424678" y="624379"/>
                    </a:cubicBezTo>
                    <a:cubicBezTo>
                      <a:pt x="426551" y="624379"/>
                      <a:pt x="426551" y="626253"/>
                      <a:pt x="426551" y="627189"/>
                    </a:cubicBezTo>
                    <a:cubicBezTo>
                      <a:pt x="426551" y="629066"/>
                      <a:pt x="424678" y="629066"/>
                      <a:pt x="424678" y="629066"/>
                    </a:cubicBezTo>
                    <a:close/>
                    <a:moveTo>
                      <a:pt x="427498" y="612194"/>
                    </a:moveTo>
                    <a:lnTo>
                      <a:pt x="427498" y="611258"/>
                    </a:lnTo>
                    <a:lnTo>
                      <a:pt x="428423" y="612194"/>
                    </a:lnTo>
                    <a:lnTo>
                      <a:pt x="427498" y="612194"/>
                    </a:lnTo>
                    <a:close/>
                    <a:moveTo>
                      <a:pt x="427498" y="589702"/>
                    </a:moveTo>
                    <a:lnTo>
                      <a:pt x="427498" y="588764"/>
                    </a:lnTo>
                    <a:cubicBezTo>
                      <a:pt x="426551" y="586889"/>
                      <a:pt x="427498" y="585953"/>
                      <a:pt x="428423" y="585015"/>
                    </a:cubicBezTo>
                    <a:lnTo>
                      <a:pt x="428423" y="585953"/>
                    </a:lnTo>
                    <a:cubicBezTo>
                      <a:pt x="430296" y="586889"/>
                      <a:pt x="428423" y="588764"/>
                      <a:pt x="427498" y="589702"/>
                    </a:cubicBezTo>
                    <a:close/>
                    <a:moveTo>
                      <a:pt x="432168" y="604698"/>
                    </a:moveTo>
                    <a:lnTo>
                      <a:pt x="431243" y="605634"/>
                    </a:lnTo>
                    <a:cubicBezTo>
                      <a:pt x="431243" y="604698"/>
                      <a:pt x="430296" y="604698"/>
                      <a:pt x="430296" y="603759"/>
                    </a:cubicBezTo>
                    <a:cubicBezTo>
                      <a:pt x="430296" y="601887"/>
                      <a:pt x="431243" y="601887"/>
                      <a:pt x="431243" y="601887"/>
                    </a:cubicBezTo>
                    <a:cubicBezTo>
                      <a:pt x="431860" y="601887"/>
                      <a:pt x="432168" y="602510"/>
                      <a:pt x="432168" y="603759"/>
                    </a:cubicBezTo>
                    <a:lnTo>
                      <a:pt x="432168" y="604698"/>
                    </a:lnTo>
                    <a:close/>
                    <a:moveTo>
                      <a:pt x="431243" y="579393"/>
                    </a:moveTo>
                    <a:cubicBezTo>
                      <a:pt x="431243" y="578767"/>
                      <a:pt x="430935" y="578454"/>
                      <a:pt x="430296" y="578454"/>
                    </a:cubicBezTo>
                    <a:cubicBezTo>
                      <a:pt x="430296" y="576580"/>
                      <a:pt x="430296" y="575643"/>
                      <a:pt x="431243" y="574705"/>
                    </a:cubicBezTo>
                    <a:lnTo>
                      <a:pt x="432168" y="575643"/>
                    </a:lnTo>
                    <a:cubicBezTo>
                      <a:pt x="432168" y="576580"/>
                      <a:pt x="432168" y="578454"/>
                      <a:pt x="431243" y="579393"/>
                    </a:cubicBezTo>
                    <a:close/>
                    <a:moveTo>
                      <a:pt x="434041" y="544714"/>
                    </a:moveTo>
                    <a:cubicBezTo>
                      <a:pt x="434041" y="544311"/>
                      <a:pt x="434173" y="544217"/>
                      <a:pt x="434239" y="543961"/>
                    </a:cubicBezTo>
                    <a:cubicBezTo>
                      <a:pt x="434636" y="543805"/>
                      <a:pt x="435032" y="543639"/>
                      <a:pt x="435406" y="543483"/>
                    </a:cubicBezTo>
                    <a:cubicBezTo>
                      <a:pt x="435671" y="544151"/>
                      <a:pt x="435913" y="544714"/>
                      <a:pt x="435913" y="544714"/>
                    </a:cubicBezTo>
                    <a:lnTo>
                      <a:pt x="435913" y="546589"/>
                    </a:lnTo>
                    <a:lnTo>
                      <a:pt x="434988" y="548462"/>
                    </a:lnTo>
                    <a:cubicBezTo>
                      <a:pt x="434041" y="548462"/>
                      <a:pt x="434041" y="546589"/>
                      <a:pt x="434041" y="545651"/>
                    </a:cubicBezTo>
                    <a:lnTo>
                      <a:pt x="434041" y="544714"/>
                    </a:lnTo>
                    <a:close/>
                    <a:moveTo>
                      <a:pt x="434988" y="592513"/>
                    </a:moveTo>
                    <a:lnTo>
                      <a:pt x="434041" y="592513"/>
                    </a:lnTo>
                    <a:lnTo>
                      <a:pt x="434988" y="590639"/>
                    </a:lnTo>
                    <a:lnTo>
                      <a:pt x="434988" y="592513"/>
                    </a:lnTo>
                    <a:close/>
                    <a:moveTo>
                      <a:pt x="437808" y="582204"/>
                    </a:moveTo>
                    <a:lnTo>
                      <a:pt x="437808" y="580329"/>
                    </a:lnTo>
                    <a:lnTo>
                      <a:pt x="438733" y="582204"/>
                    </a:lnTo>
                    <a:lnTo>
                      <a:pt x="437808" y="582204"/>
                    </a:lnTo>
                    <a:close/>
                    <a:moveTo>
                      <a:pt x="446223" y="556899"/>
                    </a:moveTo>
                    <a:lnTo>
                      <a:pt x="446223" y="564395"/>
                    </a:lnTo>
                    <a:cubicBezTo>
                      <a:pt x="445298" y="564395"/>
                      <a:pt x="445298" y="565334"/>
                      <a:pt x="445298" y="565334"/>
                    </a:cubicBezTo>
                    <a:lnTo>
                      <a:pt x="443425" y="564395"/>
                    </a:lnTo>
                    <a:cubicBezTo>
                      <a:pt x="442478" y="561584"/>
                      <a:pt x="442478" y="560646"/>
                      <a:pt x="443425" y="557835"/>
                    </a:cubicBezTo>
                    <a:cubicBezTo>
                      <a:pt x="444681" y="557835"/>
                      <a:pt x="445606" y="557522"/>
                      <a:pt x="446223" y="556899"/>
                    </a:cubicBezTo>
                    <a:lnTo>
                      <a:pt x="446223" y="546589"/>
                    </a:lnTo>
                    <a:cubicBezTo>
                      <a:pt x="443425" y="546589"/>
                      <a:pt x="443425" y="548464"/>
                      <a:pt x="442478" y="550339"/>
                    </a:cubicBezTo>
                    <a:cubicBezTo>
                      <a:pt x="442478" y="552211"/>
                      <a:pt x="441553" y="553149"/>
                      <a:pt x="439680" y="553149"/>
                    </a:cubicBezTo>
                    <a:lnTo>
                      <a:pt x="439680" y="559710"/>
                    </a:lnTo>
                    <a:cubicBezTo>
                      <a:pt x="439680" y="561584"/>
                      <a:pt x="438733" y="563459"/>
                      <a:pt x="435913" y="563459"/>
                    </a:cubicBezTo>
                    <a:lnTo>
                      <a:pt x="435913" y="567208"/>
                    </a:lnTo>
                    <a:cubicBezTo>
                      <a:pt x="435913" y="568145"/>
                      <a:pt x="434988" y="568145"/>
                      <a:pt x="434988" y="568145"/>
                    </a:cubicBezTo>
                    <a:cubicBezTo>
                      <a:pt x="434041" y="568145"/>
                      <a:pt x="434041" y="567208"/>
                      <a:pt x="434041" y="567208"/>
                    </a:cubicBezTo>
                    <a:lnTo>
                      <a:pt x="434041" y="565334"/>
                    </a:lnTo>
                    <a:lnTo>
                      <a:pt x="435913" y="563459"/>
                    </a:lnTo>
                    <a:lnTo>
                      <a:pt x="435913" y="557835"/>
                    </a:lnTo>
                    <a:cubicBezTo>
                      <a:pt x="435913" y="555960"/>
                      <a:pt x="437808" y="554086"/>
                      <a:pt x="439680" y="553149"/>
                    </a:cubicBezTo>
                    <a:lnTo>
                      <a:pt x="439680" y="546589"/>
                    </a:lnTo>
                    <a:cubicBezTo>
                      <a:pt x="439680" y="545651"/>
                      <a:pt x="441553" y="544714"/>
                      <a:pt x="442478" y="544714"/>
                    </a:cubicBezTo>
                    <a:cubicBezTo>
                      <a:pt x="445298" y="544714"/>
                      <a:pt x="446223" y="545651"/>
                      <a:pt x="446223" y="546589"/>
                    </a:cubicBezTo>
                    <a:cubicBezTo>
                      <a:pt x="449043" y="548464"/>
                      <a:pt x="449990" y="549400"/>
                      <a:pt x="449990" y="552211"/>
                    </a:cubicBezTo>
                    <a:cubicBezTo>
                      <a:pt x="449990" y="554086"/>
                      <a:pt x="449043" y="555960"/>
                      <a:pt x="446223" y="556899"/>
                    </a:cubicBezTo>
                    <a:close/>
                    <a:moveTo>
                      <a:pt x="474354" y="446304"/>
                    </a:moveTo>
                    <a:cubicBezTo>
                      <a:pt x="474354" y="443493"/>
                      <a:pt x="475279" y="443493"/>
                      <a:pt x="476227" y="443493"/>
                    </a:cubicBezTo>
                    <a:lnTo>
                      <a:pt x="476227" y="446304"/>
                    </a:lnTo>
                    <a:cubicBezTo>
                      <a:pt x="475279" y="447242"/>
                      <a:pt x="475279" y="448178"/>
                      <a:pt x="474354" y="450053"/>
                    </a:cubicBezTo>
                    <a:lnTo>
                      <a:pt x="474354" y="446304"/>
                    </a:lnTo>
                    <a:close/>
                    <a:moveTo>
                      <a:pt x="460299" y="482857"/>
                    </a:moveTo>
                    <a:cubicBezTo>
                      <a:pt x="460299" y="484731"/>
                      <a:pt x="458427" y="486606"/>
                      <a:pt x="456532" y="486606"/>
                    </a:cubicBezTo>
                    <a:lnTo>
                      <a:pt x="456532" y="490523"/>
                    </a:lnTo>
                    <a:cubicBezTo>
                      <a:pt x="455607" y="491007"/>
                      <a:pt x="454682" y="491426"/>
                      <a:pt x="453735" y="491882"/>
                    </a:cubicBezTo>
                    <a:lnTo>
                      <a:pt x="453735" y="490355"/>
                    </a:lnTo>
                    <a:cubicBezTo>
                      <a:pt x="453735" y="488481"/>
                      <a:pt x="453735" y="487542"/>
                      <a:pt x="456532" y="486606"/>
                    </a:cubicBezTo>
                    <a:lnTo>
                      <a:pt x="456532" y="483795"/>
                    </a:lnTo>
                    <a:cubicBezTo>
                      <a:pt x="457480" y="480982"/>
                      <a:pt x="457480" y="480046"/>
                      <a:pt x="460299" y="480046"/>
                    </a:cubicBezTo>
                    <a:lnTo>
                      <a:pt x="460299" y="473485"/>
                    </a:lnTo>
                    <a:cubicBezTo>
                      <a:pt x="460299" y="471611"/>
                      <a:pt x="461225" y="469736"/>
                      <a:pt x="463097" y="469736"/>
                    </a:cubicBezTo>
                    <a:lnTo>
                      <a:pt x="463097" y="476296"/>
                    </a:lnTo>
                    <a:cubicBezTo>
                      <a:pt x="463097" y="477232"/>
                      <a:pt x="461225" y="479107"/>
                      <a:pt x="460299" y="480046"/>
                    </a:cubicBezTo>
                    <a:lnTo>
                      <a:pt x="460299" y="482857"/>
                    </a:lnTo>
                    <a:close/>
                    <a:moveTo>
                      <a:pt x="469023" y="483462"/>
                    </a:moveTo>
                    <a:cubicBezTo>
                      <a:pt x="468604" y="483583"/>
                      <a:pt x="468208" y="483663"/>
                      <a:pt x="467789" y="483795"/>
                    </a:cubicBezTo>
                    <a:cubicBezTo>
                      <a:pt x="466093" y="485006"/>
                      <a:pt x="464199" y="486216"/>
                      <a:pt x="462194" y="487395"/>
                    </a:cubicBezTo>
                    <a:cubicBezTo>
                      <a:pt x="464155" y="485566"/>
                      <a:pt x="465256" y="483216"/>
                      <a:pt x="466842" y="480046"/>
                    </a:cubicBezTo>
                    <a:cubicBezTo>
                      <a:pt x="466842" y="480046"/>
                      <a:pt x="466842" y="479107"/>
                      <a:pt x="467789" y="479107"/>
                    </a:cubicBezTo>
                    <a:cubicBezTo>
                      <a:pt x="468737" y="476296"/>
                      <a:pt x="468737" y="479107"/>
                      <a:pt x="470609" y="480046"/>
                    </a:cubicBezTo>
                    <a:cubicBezTo>
                      <a:pt x="470609" y="480898"/>
                      <a:pt x="470433" y="482471"/>
                      <a:pt x="469023" y="483462"/>
                    </a:cubicBezTo>
                    <a:close/>
                    <a:moveTo>
                      <a:pt x="464044" y="469736"/>
                    </a:moveTo>
                    <a:cubicBezTo>
                      <a:pt x="464044" y="468798"/>
                      <a:pt x="464044" y="467861"/>
                      <a:pt x="464970" y="467861"/>
                    </a:cubicBezTo>
                    <a:lnTo>
                      <a:pt x="464970" y="468798"/>
                    </a:lnTo>
                    <a:lnTo>
                      <a:pt x="464044" y="469736"/>
                    </a:lnTo>
                    <a:close/>
                    <a:moveTo>
                      <a:pt x="471534" y="472547"/>
                    </a:moveTo>
                    <a:lnTo>
                      <a:pt x="471534" y="471611"/>
                    </a:lnTo>
                    <a:lnTo>
                      <a:pt x="472481" y="469736"/>
                    </a:lnTo>
                    <a:cubicBezTo>
                      <a:pt x="472481" y="470985"/>
                      <a:pt x="472173" y="471921"/>
                      <a:pt x="471534" y="472547"/>
                    </a:cubicBezTo>
                    <a:close/>
                    <a:moveTo>
                      <a:pt x="470609" y="456613"/>
                    </a:moveTo>
                    <a:cubicBezTo>
                      <a:pt x="470609" y="457552"/>
                      <a:pt x="470609" y="458488"/>
                      <a:pt x="468737" y="460362"/>
                    </a:cubicBezTo>
                    <a:cubicBezTo>
                      <a:pt x="468737" y="461301"/>
                      <a:pt x="467789" y="462237"/>
                      <a:pt x="466842" y="462237"/>
                    </a:cubicBezTo>
                    <a:cubicBezTo>
                      <a:pt x="464970" y="462237"/>
                      <a:pt x="464044" y="461301"/>
                      <a:pt x="464044" y="460362"/>
                    </a:cubicBezTo>
                    <a:cubicBezTo>
                      <a:pt x="464970" y="458488"/>
                      <a:pt x="466842" y="458488"/>
                      <a:pt x="467789" y="457552"/>
                    </a:cubicBezTo>
                    <a:cubicBezTo>
                      <a:pt x="467789" y="457552"/>
                      <a:pt x="468737" y="457552"/>
                      <a:pt x="470609" y="456613"/>
                    </a:cubicBezTo>
                    <a:lnTo>
                      <a:pt x="470609" y="453802"/>
                    </a:lnTo>
                    <a:cubicBezTo>
                      <a:pt x="470609" y="450991"/>
                      <a:pt x="471534" y="450053"/>
                      <a:pt x="472481" y="450053"/>
                    </a:cubicBezTo>
                    <a:cubicBezTo>
                      <a:pt x="472481" y="452864"/>
                      <a:pt x="472481" y="454739"/>
                      <a:pt x="470609" y="456613"/>
                    </a:cubicBezTo>
                    <a:close/>
                    <a:moveTo>
                      <a:pt x="474354" y="469736"/>
                    </a:moveTo>
                    <a:cubicBezTo>
                      <a:pt x="474354" y="468798"/>
                      <a:pt x="474354" y="467861"/>
                      <a:pt x="475279" y="467861"/>
                    </a:cubicBezTo>
                    <a:lnTo>
                      <a:pt x="475279" y="468798"/>
                    </a:lnTo>
                    <a:cubicBezTo>
                      <a:pt x="474663" y="468798"/>
                      <a:pt x="474354" y="469110"/>
                      <a:pt x="474354" y="469736"/>
                    </a:cubicBezTo>
                    <a:close/>
                    <a:moveTo>
                      <a:pt x="476227" y="481929"/>
                    </a:moveTo>
                    <a:cubicBezTo>
                      <a:pt x="475676" y="481989"/>
                      <a:pt x="475103" y="482116"/>
                      <a:pt x="474530" y="482209"/>
                    </a:cubicBezTo>
                    <a:cubicBezTo>
                      <a:pt x="474751" y="480865"/>
                      <a:pt x="475433" y="480046"/>
                      <a:pt x="476227" y="480046"/>
                    </a:cubicBezTo>
                    <a:lnTo>
                      <a:pt x="476227" y="481929"/>
                    </a:lnTo>
                    <a:close/>
                    <a:moveTo>
                      <a:pt x="479046" y="476296"/>
                    </a:moveTo>
                    <a:lnTo>
                      <a:pt x="479046" y="477232"/>
                    </a:lnTo>
                    <a:cubicBezTo>
                      <a:pt x="478408" y="478482"/>
                      <a:pt x="477482" y="479107"/>
                      <a:pt x="476227" y="479107"/>
                    </a:cubicBezTo>
                    <a:lnTo>
                      <a:pt x="476227" y="476296"/>
                    </a:lnTo>
                    <a:cubicBezTo>
                      <a:pt x="477482" y="475671"/>
                      <a:pt x="478408" y="475358"/>
                      <a:pt x="479046" y="475358"/>
                    </a:cubicBezTo>
                    <a:lnTo>
                      <a:pt x="479046" y="476296"/>
                    </a:lnTo>
                    <a:close/>
                    <a:moveTo>
                      <a:pt x="479046" y="439743"/>
                    </a:moveTo>
                    <a:cubicBezTo>
                      <a:pt x="479046" y="440682"/>
                      <a:pt x="478099" y="442554"/>
                      <a:pt x="476227" y="442554"/>
                    </a:cubicBezTo>
                    <a:cubicBezTo>
                      <a:pt x="476227" y="440682"/>
                      <a:pt x="476227" y="439743"/>
                      <a:pt x="478099" y="438807"/>
                    </a:cubicBezTo>
                    <a:lnTo>
                      <a:pt x="478099" y="436932"/>
                    </a:lnTo>
                    <a:cubicBezTo>
                      <a:pt x="479046" y="436932"/>
                      <a:pt x="479972" y="438807"/>
                      <a:pt x="479046" y="439743"/>
                    </a:cubicBezTo>
                    <a:close/>
                    <a:moveTo>
                      <a:pt x="485589" y="424748"/>
                    </a:moveTo>
                    <a:lnTo>
                      <a:pt x="483717" y="424748"/>
                    </a:lnTo>
                    <a:lnTo>
                      <a:pt x="485589" y="423809"/>
                    </a:lnTo>
                    <a:lnTo>
                      <a:pt x="485589" y="424748"/>
                    </a:lnTo>
                    <a:close/>
                    <a:moveTo>
                      <a:pt x="515593" y="311342"/>
                    </a:moveTo>
                    <a:lnTo>
                      <a:pt x="514645" y="310406"/>
                    </a:lnTo>
                    <a:cubicBezTo>
                      <a:pt x="515593" y="308531"/>
                      <a:pt x="516518" y="308531"/>
                      <a:pt x="518391" y="308531"/>
                    </a:cubicBezTo>
                    <a:cubicBezTo>
                      <a:pt x="518391" y="310406"/>
                      <a:pt x="519338" y="310406"/>
                      <a:pt x="519338" y="310406"/>
                    </a:cubicBezTo>
                    <a:cubicBezTo>
                      <a:pt x="518391" y="311342"/>
                      <a:pt x="516518" y="311342"/>
                      <a:pt x="515593" y="311342"/>
                    </a:cubicBezTo>
                    <a:close/>
                    <a:moveTo>
                      <a:pt x="494973" y="403192"/>
                    </a:moveTo>
                    <a:lnTo>
                      <a:pt x="494973" y="404129"/>
                    </a:lnTo>
                    <a:lnTo>
                      <a:pt x="494026" y="404129"/>
                    </a:lnTo>
                    <a:lnTo>
                      <a:pt x="494973" y="403192"/>
                    </a:lnTo>
                    <a:close/>
                    <a:moveTo>
                      <a:pt x="487461" y="417251"/>
                    </a:moveTo>
                    <a:lnTo>
                      <a:pt x="489334" y="418188"/>
                    </a:lnTo>
                    <a:lnTo>
                      <a:pt x="487461" y="418188"/>
                    </a:lnTo>
                    <a:lnTo>
                      <a:pt x="487461" y="417251"/>
                    </a:lnTo>
                    <a:close/>
                    <a:moveTo>
                      <a:pt x="489334" y="452866"/>
                    </a:moveTo>
                    <a:cubicBezTo>
                      <a:pt x="489334" y="453802"/>
                      <a:pt x="489334" y="454739"/>
                      <a:pt x="487461" y="454739"/>
                    </a:cubicBezTo>
                    <a:lnTo>
                      <a:pt x="487461" y="450991"/>
                    </a:lnTo>
                    <a:cubicBezTo>
                      <a:pt x="487461" y="450991"/>
                      <a:pt x="489334" y="450991"/>
                      <a:pt x="490281" y="450053"/>
                    </a:cubicBezTo>
                    <a:cubicBezTo>
                      <a:pt x="490281" y="450991"/>
                      <a:pt x="490281" y="452866"/>
                      <a:pt x="489334" y="452866"/>
                    </a:cubicBezTo>
                    <a:close/>
                    <a:moveTo>
                      <a:pt x="491229" y="448178"/>
                    </a:moveTo>
                    <a:lnTo>
                      <a:pt x="490281" y="448178"/>
                    </a:lnTo>
                    <a:lnTo>
                      <a:pt x="491229" y="447242"/>
                    </a:lnTo>
                    <a:lnTo>
                      <a:pt x="491229" y="448178"/>
                    </a:lnTo>
                    <a:close/>
                    <a:moveTo>
                      <a:pt x="501538" y="428497"/>
                    </a:moveTo>
                    <a:lnTo>
                      <a:pt x="501538" y="427559"/>
                    </a:lnTo>
                    <a:lnTo>
                      <a:pt x="502463" y="428497"/>
                    </a:lnTo>
                    <a:lnTo>
                      <a:pt x="501538" y="428497"/>
                    </a:lnTo>
                    <a:close/>
                    <a:moveTo>
                      <a:pt x="496846" y="420062"/>
                    </a:moveTo>
                    <a:lnTo>
                      <a:pt x="496846" y="421937"/>
                    </a:lnTo>
                    <a:cubicBezTo>
                      <a:pt x="496846" y="424748"/>
                      <a:pt x="494973" y="425684"/>
                      <a:pt x="493101" y="425684"/>
                    </a:cubicBezTo>
                    <a:lnTo>
                      <a:pt x="493101" y="431308"/>
                    </a:lnTo>
                    <a:lnTo>
                      <a:pt x="491229" y="432247"/>
                    </a:lnTo>
                    <a:cubicBezTo>
                      <a:pt x="490281" y="431308"/>
                      <a:pt x="490281" y="429434"/>
                      <a:pt x="490281" y="428497"/>
                    </a:cubicBezTo>
                    <a:cubicBezTo>
                      <a:pt x="490281" y="427559"/>
                      <a:pt x="491229" y="425684"/>
                      <a:pt x="493101" y="425684"/>
                    </a:cubicBezTo>
                    <a:cubicBezTo>
                      <a:pt x="493101" y="423812"/>
                      <a:pt x="493101" y="420999"/>
                      <a:pt x="496846" y="420062"/>
                    </a:cubicBezTo>
                    <a:cubicBezTo>
                      <a:pt x="496846" y="414438"/>
                      <a:pt x="497771" y="410689"/>
                      <a:pt x="502463" y="409753"/>
                    </a:cubicBezTo>
                    <a:cubicBezTo>
                      <a:pt x="502463" y="414438"/>
                      <a:pt x="501538" y="417251"/>
                      <a:pt x="496846" y="420062"/>
                    </a:cubicBezTo>
                    <a:close/>
                    <a:moveTo>
                      <a:pt x="500591" y="395694"/>
                    </a:moveTo>
                    <a:cubicBezTo>
                      <a:pt x="498718" y="396630"/>
                      <a:pt x="498718" y="398505"/>
                      <a:pt x="498718" y="398505"/>
                    </a:cubicBezTo>
                    <a:cubicBezTo>
                      <a:pt x="498102" y="398505"/>
                      <a:pt x="497771" y="397881"/>
                      <a:pt x="497771" y="396630"/>
                    </a:cubicBezTo>
                    <a:cubicBezTo>
                      <a:pt x="497771" y="396630"/>
                      <a:pt x="498718" y="395694"/>
                      <a:pt x="500591" y="395694"/>
                    </a:cubicBezTo>
                    <a:lnTo>
                      <a:pt x="500591" y="392883"/>
                    </a:lnTo>
                    <a:cubicBezTo>
                      <a:pt x="500591" y="391008"/>
                      <a:pt x="501538" y="389133"/>
                      <a:pt x="502463" y="389133"/>
                    </a:cubicBezTo>
                    <a:cubicBezTo>
                      <a:pt x="502463" y="391944"/>
                      <a:pt x="502463" y="394758"/>
                      <a:pt x="500591" y="395694"/>
                    </a:cubicBezTo>
                    <a:close/>
                    <a:moveTo>
                      <a:pt x="505283" y="406940"/>
                    </a:moveTo>
                    <a:cubicBezTo>
                      <a:pt x="505283" y="408814"/>
                      <a:pt x="504336" y="408814"/>
                      <a:pt x="504336" y="409753"/>
                    </a:cubicBezTo>
                    <a:lnTo>
                      <a:pt x="504336" y="406003"/>
                    </a:lnTo>
                    <a:cubicBezTo>
                      <a:pt x="504336" y="404754"/>
                      <a:pt x="504644" y="404129"/>
                      <a:pt x="505283" y="404129"/>
                    </a:cubicBezTo>
                    <a:lnTo>
                      <a:pt x="505283" y="406003"/>
                    </a:lnTo>
                    <a:cubicBezTo>
                      <a:pt x="507155" y="406003"/>
                      <a:pt x="507155" y="406940"/>
                      <a:pt x="505283" y="406940"/>
                    </a:cubicBezTo>
                    <a:close/>
                    <a:moveTo>
                      <a:pt x="504336" y="389133"/>
                    </a:moveTo>
                    <a:lnTo>
                      <a:pt x="504336" y="387259"/>
                    </a:lnTo>
                    <a:cubicBezTo>
                      <a:pt x="504336" y="384448"/>
                      <a:pt x="504336" y="383509"/>
                      <a:pt x="507155" y="383509"/>
                    </a:cubicBezTo>
                    <a:cubicBezTo>
                      <a:pt x="507155" y="385384"/>
                      <a:pt x="507155" y="388195"/>
                      <a:pt x="504336" y="389133"/>
                    </a:cubicBezTo>
                    <a:close/>
                    <a:moveTo>
                      <a:pt x="510900" y="376011"/>
                    </a:moveTo>
                    <a:cubicBezTo>
                      <a:pt x="510900" y="377888"/>
                      <a:pt x="510900" y="381635"/>
                      <a:pt x="507155" y="381635"/>
                    </a:cubicBezTo>
                    <a:cubicBezTo>
                      <a:pt x="507155" y="379760"/>
                      <a:pt x="507155" y="376949"/>
                      <a:pt x="510900" y="376011"/>
                    </a:cubicBezTo>
                    <a:cubicBezTo>
                      <a:pt x="510900" y="374138"/>
                      <a:pt x="511848" y="373200"/>
                      <a:pt x="512773" y="373200"/>
                    </a:cubicBezTo>
                    <a:cubicBezTo>
                      <a:pt x="512773" y="374138"/>
                      <a:pt x="511848" y="376011"/>
                      <a:pt x="510900" y="376011"/>
                    </a:cubicBezTo>
                    <a:close/>
                    <a:moveTo>
                      <a:pt x="515593" y="388195"/>
                    </a:moveTo>
                    <a:lnTo>
                      <a:pt x="514645" y="387259"/>
                    </a:lnTo>
                    <a:lnTo>
                      <a:pt x="515593" y="387259"/>
                    </a:lnTo>
                    <a:lnTo>
                      <a:pt x="515593" y="388195"/>
                    </a:lnTo>
                    <a:close/>
                    <a:moveTo>
                      <a:pt x="518391" y="398505"/>
                    </a:moveTo>
                    <a:lnTo>
                      <a:pt x="518391" y="396630"/>
                    </a:lnTo>
                    <a:lnTo>
                      <a:pt x="519338" y="398505"/>
                    </a:lnTo>
                    <a:lnTo>
                      <a:pt x="518391" y="398505"/>
                    </a:lnTo>
                    <a:close/>
                    <a:moveTo>
                      <a:pt x="518391" y="381635"/>
                    </a:moveTo>
                    <a:lnTo>
                      <a:pt x="518391" y="380699"/>
                    </a:lnTo>
                    <a:lnTo>
                      <a:pt x="519338" y="380699"/>
                    </a:lnTo>
                    <a:lnTo>
                      <a:pt x="518391" y="381635"/>
                    </a:lnTo>
                    <a:close/>
                    <a:moveTo>
                      <a:pt x="525902" y="384448"/>
                    </a:moveTo>
                    <a:lnTo>
                      <a:pt x="524030" y="384448"/>
                    </a:lnTo>
                    <a:lnTo>
                      <a:pt x="525902" y="383509"/>
                    </a:lnTo>
                    <a:lnTo>
                      <a:pt x="525902" y="384448"/>
                    </a:lnTo>
                    <a:close/>
                    <a:moveTo>
                      <a:pt x="529647" y="377888"/>
                    </a:moveTo>
                    <a:lnTo>
                      <a:pt x="527775" y="377888"/>
                    </a:lnTo>
                    <a:lnTo>
                      <a:pt x="529647" y="376949"/>
                    </a:lnTo>
                    <a:lnTo>
                      <a:pt x="529647" y="377888"/>
                    </a:lnTo>
                    <a:close/>
                    <a:moveTo>
                      <a:pt x="529647" y="366639"/>
                    </a:moveTo>
                    <a:cubicBezTo>
                      <a:pt x="527775" y="369450"/>
                      <a:pt x="525902" y="372263"/>
                      <a:pt x="524030" y="370389"/>
                    </a:cubicBezTo>
                    <a:lnTo>
                      <a:pt x="524030" y="369450"/>
                    </a:lnTo>
                    <a:cubicBezTo>
                      <a:pt x="523083" y="365703"/>
                      <a:pt x="524030" y="362890"/>
                      <a:pt x="526828" y="362890"/>
                    </a:cubicBezTo>
                    <a:lnTo>
                      <a:pt x="530594" y="362890"/>
                    </a:lnTo>
                    <a:cubicBezTo>
                      <a:pt x="529647" y="364765"/>
                      <a:pt x="529647" y="365703"/>
                      <a:pt x="529647" y="366639"/>
                    </a:cubicBezTo>
                    <a:close/>
                    <a:moveTo>
                      <a:pt x="530594" y="361954"/>
                    </a:moveTo>
                    <a:cubicBezTo>
                      <a:pt x="530594" y="361954"/>
                      <a:pt x="530594" y="360079"/>
                      <a:pt x="531520" y="360079"/>
                    </a:cubicBezTo>
                    <a:cubicBezTo>
                      <a:pt x="531520" y="361954"/>
                      <a:pt x="530594" y="361954"/>
                      <a:pt x="530594" y="361954"/>
                    </a:cubicBezTo>
                    <a:close/>
                    <a:moveTo>
                      <a:pt x="523083" y="358204"/>
                    </a:moveTo>
                    <a:cubicBezTo>
                      <a:pt x="522157" y="358204"/>
                      <a:pt x="522157" y="359141"/>
                      <a:pt x="520285" y="359141"/>
                    </a:cubicBezTo>
                    <a:cubicBezTo>
                      <a:pt x="520285" y="364765"/>
                      <a:pt x="518391" y="369450"/>
                      <a:pt x="514645" y="372263"/>
                    </a:cubicBezTo>
                    <a:cubicBezTo>
                      <a:pt x="514645" y="369450"/>
                      <a:pt x="514645" y="365703"/>
                      <a:pt x="512773" y="362890"/>
                    </a:cubicBezTo>
                    <a:cubicBezTo>
                      <a:pt x="514645" y="361954"/>
                      <a:pt x="515593" y="361954"/>
                      <a:pt x="515593" y="361954"/>
                    </a:cubicBezTo>
                    <a:cubicBezTo>
                      <a:pt x="518391" y="360079"/>
                      <a:pt x="519338" y="360079"/>
                      <a:pt x="520285" y="359141"/>
                    </a:cubicBezTo>
                    <a:cubicBezTo>
                      <a:pt x="520285" y="352580"/>
                      <a:pt x="523083" y="348831"/>
                      <a:pt x="526828" y="344145"/>
                    </a:cubicBezTo>
                    <a:cubicBezTo>
                      <a:pt x="527775" y="343209"/>
                      <a:pt x="529647" y="343209"/>
                      <a:pt x="530594" y="343209"/>
                    </a:cubicBezTo>
                    <a:cubicBezTo>
                      <a:pt x="531520" y="343209"/>
                      <a:pt x="531520" y="344145"/>
                      <a:pt x="531520" y="344145"/>
                    </a:cubicBezTo>
                    <a:cubicBezTo>
                      <a:pt x="529647" y="348831"/>
                      <a:pt x="525902" y="352580"/>
                      <a:pt x="523083" y="358204"/>
                    </a:cubicBezTo>
                    <a:close/>
                    <a:moveTo>
                      <a:pt x="531520" y="307595"/>
                    </a:moveTo>
                    <a:cubicBezTo>
                      <a:pt x="530594" y="308531"/>
                      <a:pt x="527775" y="308531"/>
                      <a:pt x="525902" y="307595"/>
                    </a:cubicBezTo>
                    <a:lnTo>
                      <a:pt x="524030" y="307595"/>
                    </a:lnTo>
                    <a:lnTo>
                      <a:pt x="525902" y="306656"/>
                    </a:lnTo>
                    <a:cubicBezTo>
                      <a:pt x="527775" y="306656"/>
                      <a:pt x="530594" y="306656"/>
                      <a:pt x="533392" y="304781"/>
                    </a:cubicBezTo>
                    <a:cubicBezTo>
                      <a:pt x="533392" y="306656"/>
                      <a:pt x="533392" y="307595"/>
                      <a:pt x="531520" y="307595"/>
                    </a:cubicBezTo>
                    <a:close/>
                    <a:moveTo>
                      <a:pt x="538085" y="364765"/>
                    </a:moveTo>
                    <a:lnTo>
                      <a:pt x="538085" y="362892"/>
                    </a:lnTo>
                    <a:lnTo>
                      <a:pt x="539010" y="364765"/>
                    </a:lnTo>
                    <a:lnTo>
                      <a:pt x="538085" y="364765"/>
                    </a:lnTo>
                    <a:close/>
                    <a:moveTo>
                      <a:pt x="537137" y="348831"/>
                    </a:moveTo>
                    <a:cubicBezTo>
                      <a:pt x="537137" y="350708"/>
                      <a:pt x="537137" y="351644"/>
                      <a:pt x="535265" y="352580"/>
                    </a:cubicBezTo>
                    <a:lnTo>
                      <a:pt x="535265" y="354455"/>
                    </a:lnTo>
                    <a:cubicBezTo>
                      <a:pt x="534340" y="354455"/>
                      <a:pt x="534340" y="352580"/>
                      <a:pt x="534340" y="351644"/>
                    </a:cubicBezTo>
                    <a:cubicBezTo>
                      <a:pt x="534340" y="350708"/>
                      <a:pt x="535265" y="348831"/>
                      <a:pt x="537137" y="348831"/>
                    </a:cubicBezTo>
                    <a:cubicBezTo>
                      <a:pt x="537137" y="347895"/>
                      <a:pt x="537137" y="346959"/>
                      <a:pt x="538085" y="346959"/>
                    </a:cubicBezTo>
                    <a:lnTo>
                      <a:pt x="539010" y="347895"/>
                    </a:lnTo>
                    <a:cubicBezTo>
                      <a:pt x="538393" y="347895"/>
                      <a:pt x="537776" y="348208"/>
                      <a:pt x="537137" y="348831"/>
                    </a:cubicBezTo>
                    <a:close/>
                    <a:moveTo>
                      <a:pt x="534340" y="304781"/>
                    </a:moveTo>
                    <a:cubicBezTo>
                      <a:pt x="534340" y="303845"/>
                      <a:pt x="535265" y="302907"/>
                      <a:pt x="537137" y="302907"/>
                    </a:cubicBezTo>
                    <a:lnTo>
                      <a:pt x="542777" y="302907"/>
                    </a:lnTo>
                    <a:cubicBezTo>
                      <a:pt x="544010" y="302907"/>
                      <a:pt x="544649" y="303220"/>
                      <a:pt x="544649" y="303845"/>
                    </a:cubicBezTo>
                    <a:cubicBezTo>
                      <a:pt x="545574" y="303845"/>
                      <a:pt x="544649" y="304781"/>
                      <a:pt x="542777" y="304781"/>
                    </a:cubicBezTo>
                    <a:lnTo>
                      <a:pt x="534340" y="304781"/>
                    </a:lnTo>
                    <a:close/>
                    <a:moveTo>
                      <a:pt x="546522" y="348831"/>
                    </a:moveTo>
                    <a:cubicBezTo>
                      <a:pt x="545883" y="350082"/>
                      <a:pt x="545574" y="351019"/>
                      <a:pt x="545574" y="351644"/>
                    </a:cubicBezTo>
                    <a:cubicBezTo>
                      <a:pt x="545574" y="351644"/>
                      <a:pt x="545574" y="350708"/>
                      <a:pt x="544649" y="350708"/>
                    </a:cubicBezTo>
                    <a:cubicBezTo>
                      <a:pt x="545266" y="350708"/>
                      <a:pt x="545883" y="350082"/>
                      <a:pt x="546522" y="348831"/>
                    </a:cubicBezTo>
                    <a:cubicBezTo>
                      <a:pt x="547777" y="348208"/>
                      <a:pt x="548394" y="347582"/>
                      <a:pt x="548394" y="346959"/>
                    </a:cubicBezTo>
                    <a:lnTo>
                      <a:pt x="549319" y="347895"/>
                    </a:lnTo>
                    <a:cubicBezTo>
                      <a:pt x="548702" y="347895"/>
                      <a:pt x="547777" y="348208"/>
                      <a:pt x="546522" y="348831"/>
                    </a:cubicBezTo>
                    <a:close/>
                    <a:moveTo>
                      <a:pt x="588685" y="285101"/>
                    </a:moveTo>
                    <a:lnTo>
                      <a:pt x="588685" y="284162"/>
                    </a:lnTo>
                    <a:lnTo>
                      <a:pt x="589633" y="282288"/>
                    </a:lnTo>
                    <a:cubicBezTo>
                      <a:pt x="589633" y="283539"/>
                      <a:pt x="589324" y="284475"/>
                      <a:pt x="588685" y="285101"/>
                    </a:cubicBezTo>
                    <a:close/>
                    <a:moveTo>
                      <a:pt x="592430" y="280415"/>
                    </a:moveTo>
                    <a:lnTo>
                      <a:pt x="592430" y="281351"/>
                    </a:lnTo>
                    <a:lnTo>
                      <a:pt x="590558" y="281351"/>
                    </a:lnTo>
                    <a:cubicBezTo>
                      <a:pt x="590558" y="281351"/>
                      <a:pt x="590558" y="280415"/>
                      <a:pt x="592430" y="280415"/>
                    </a:cubicBezTo>
                    <a:close/>
                    <a:moveTo>
                      <a:pt x="654288" y="297285"/>
                    </a:moveTo>
                    <a:cubicBezTo>
                      <a:pt x="650543" y="299160"/>
                      <a:pt x="644926" y="299160"/>
                      <a:pt x="641181" y="299160"/>
                    </a:cubicBezTo>
                    <a:cubicBezTo>
                      <a:pt x="636489" y="299160"/>
                      <a:pt x="629924" y="299160"/>
                      <a:pt x="625254" y="301034"/>
                    </a:cubicBezTo>
                    <a:cubicBezTo>
                      <a:pt x="622434" y="302907"/>
                      <a:pt x="619614" y="302907"/>
                      <a:pt x="617742" y="302907"/>
                    </a:cubicBezTo>
                    <a:cubicBezTo>
                      <a:pt x="612124" y="302907"/>
                      <a:pt x="610252" y="302907"/>
                      <a:pt x="606507" y="303845"/>
                    </a:cubicBezTo>
                    <a:cubicBezTo>
                      <a:pt x="603687" y="304781"/>
                      <a:pt x="599942" y="304781"/>
                      <a:pt x="598995" y="304781"/>
                    </a:cubicBezTo>
                    <a:lnTo>
                      <a:pt x="595250" y="304781"/>
                    </a:lnTo>
                    <a:cubicBezTo>
                      <a:pt x="593378" y="304781"/>
                      <a:pt x="592430" y="303845"/>
                      <a:pt x="592430" y="303845"/>
                    </a:cubicBezTo>
                    <a:lnTo>
                      <a:pt x="592430" y="302907"/>
                    </a:lnTo>
                    <a:cubicBezTo>
                      <a:pt x="593378" y="301034"/>
                      <a:pt x="593378" y="300096"/>
                      <a:pt x="595250" y="300096"/>
                    </a:cubicBezTo>
                    <a:cubicBezTo>
                      <a:pt x="596197" y="297285"/>
                      <a:pt x="598995" y="296347"/>
                      <a:pt x="602740" y="297285"/>
                    </a:cubicBezTo>
                    <a:cubicBezTo>
                      <a:pt x="607432" y="295410"/>
                      <a:pt x="612124" y="295410"/>
                      <a:pt x="617742" y="295410"/>
                    </a:cubicBezTo>
                    <a:cubicBezTo>
                      <a:pt x="619614" y="295410"/>
                      <a:pt x="622434" y="295410"/>
                      <a:pt x="623359" y="293536"/>
                    </a:cubicBezTo>
                    <a:cubicBezTo>
                      <a:pt x="628999" y="292597"/>
                      <a:pt x="633669" y="291661"/>
                      <a:pt x="638361" y="293536"/>
                    </a:cubicBezTo>
                    <a:cubicBezTo>
                      <a:pt x="643979" y="295410"/>
                      <a:pt x="648671" y="296347"/>
                      <a:pt x="654288" y="296347"/>
                    </a:cubicBezTo>
                    <a:cubicBezTo>
                      <a:pt x="654288" y="296347"/>
                      <a:pt x="655235" y="296347"/>
                      <a:pt x="656183" y="297285"/>
                    </a:cubicBezTo>
                    <a:lnTo>
                      <a:pt x="654288" y="297285"/>
                    </a:lnTo>
                    <a:close/>
                    <a:moveTo>
                      <a:pt x="687112" y="272916"/>
                    </a:moveTo>
                    <a:lnTo>
                      <a:pt x="688037" y="272916"/>
                    </a:lnTo>
                    <a:cubicBezTo>
                      <a:pt x="688984" y="272916"/>
                      <a:pt x="688984" y="273855"/>
                      <a:pt x="688984" y="273855"/>
                    </a:cubicBezTo>
                    <a:cubicBezTo>
                      <a:pt x="688984" y="273855"/>
                      <a:pt x="688984" y="274791"/>
                      <a:pt x="688037" y="274791"/>
                    </a:cubicBezTo>
                    <a:cubicBezTo>
                      <a:pt x="687420" y="274791"/>
                      <a:pt x="686473" y="274478"/>
                      <a:pt x="685217" y="273855"/>
                    </a:cubicBezTo>
                    <a:lnTo>
                      <a:pt x="687112" y="272916"/>
                    </a:lnTo>
                    <a:close/>
                    <a:moveTo>
                      <a:pt x="711476" y="287912"/>
                    </a:moveTo>
                    <a:cubicBezTo>
                      <a:pt x="710529" y="287912"/>
                      <a:pt x="710529" y="288850"/>
                      <a:pt x="709604" y="288850"/>
                    </a:cubicBezTo>
                    <a:cubicBezTo>
                      <a:pt x="703039" y="288850"/>
                      <a:pt x="698347" y="288850"/>
                      <a:pt x="692729" y="291661"/>
                    </a:cubicBezTo>
                    <a:lnTo>
                      <a:pt x="687112" y="291661"/>
                    </a:lnTo>
                    <a:cubicBezTo>
                      <a:pt x="681472" y="292597"/>
                      <a:pt x="676802" y="292597"/>
                      <a:pt x="671163" y="295410"/>
                    </a:cubicBezTo>
                    <a:cubicBezTo>
                      <a:pt x="670237" y="296347"/>
                      <a:pt x="667418" y="295410"/>
                      <a:pt x="665545" y="295410"/>
                    </a:cubicBezTo>
                    <a:cubicBezTo>
                      <a:pt x="663673" y="295410"/>
                      <a:pt x="662725" y="295410"/>
                      <a:pt x="661800" y="293536"/>
                    </a:cubicBezTo>
                    <a:cubicBezTo>
                      <a:pt x="662725" y="293536"/>
                      <a:pt x="662725" y="292597"/>
                      <a:pt x="662725" y="292597"/>
                    </a:cubicBezTo>
                    <a:cubicBezTo>
                      <a:pt x="667418" y="291661"/>
                      <a:pt x="671163" y="288850"/>
                      <a:pt x="674908" y="288850"/>
                    </a:cubicBezTo>
                    <a:cubicBezTo>
                      <a:pt x="680547" y="288850"/>
                      <a:pt x="684292" y="286037"/>
                      <a:pt x="688037" y="286037"/>
                    </a:cubicBezTo>
                    <a:cubicBezTo>
                      <a:pt x="690857" y="285101"/>
                      <a:pt x="692729" y="285101"/>
                      <a:pt x="694602" y="284164"/>
                    </a:cubicBezTo>
                    <a:cubicBezTo>
                      <a:pt x="696474" y="282288"/>
                      <a:pt x="699294" y="282288"/>
                      <a:pt x="700219" y="284164"/>
                    </a:cubicBezTo>
                    <a:cubicBezTo>
                      <a:pt x="703964" y="286037"/>
                      <a:pt x="707731" y="285101"/>
                      <a:pt x="711476" y="284164"/>
                    </a:cubicBezTo>
                    <a:cubicBezTo>
                      <a:pt x="713348" y="284164"/>
                      <a:pt x="714274" y="284164"/>
                      <a:pt x="714274" y="285101"/>
                    </a:cubicBezTo>
                    <a:cubicBezTo>
                      <a:pt x="714274" y="286037"/>
                      <a:pt x="713348" y="287912"/>
                      <a:pt x="711476" y="287912"/>
                    </a:cubicBezTo>
                    <a:close/>
                    <a:moveTo>
                      <a:pt x="715221" y="271042"/>
                    </a:moveTo>
                    <a:lnTo>
                      <a:pt x="709604" y="271042"/>
                    </a:lnTo>
                    <a:cubicBezTo>
                      <a:pt x="710220" y="270416"/>
                      <a:pt x="710837" y="269480"/>
                      <a:pt x="711476" y="268231"/>
                    </a:cubicBezTo>
                    <a:cubicBezTo>
                      <a:pt x="714274" y="268231"/>
                      <a:pt x="715221" y="268231"/>
                      <a:pt x="715221" y="270103"/>
                    </a:cubicBezTo>
                    <a:lnTo>
                      <a:pt x="715221" y="271042"/>
                    </a:lnTo>
                    <a:close/>
                    <a:moveTo>
                      <a:pt x="734893" y="282288"/>
                    </a:moveTo>
                    <a:cubicBezTo>
                      <a:pt x="733021" y="282288"/>
                      <a:pt x="733021" y="284164"/>
                      <a:pt x="732095" y="284164"/>
                    </a:cubicBezTo>
                    <a:cubicBezTo>
                      <a:pt x="728350" y="285101"/>
                      <a:pt x="724583" y="286037"/>
                      <a:pt x="720838" y="285101"/>
                    </a:cubicBezTo>
                    <a:cubicBezTo>
                      <a:pt x="718966" y="285101"/>
                      <a:pt x="718966" y="284164"/>
                      <a:pt x="718966" y="284164"/>
                    </a:cubicBezTo>
                    <a:cubicBezTo>
                      <a:pt x="718966" y="284164"/>
                      <a:pt x="718966" y="282288"/>
                      <a:pt x="720838" y="282288"/>
                    </a:cubicBezTo>
                    <a:cubicBezTo>
                      <a:pt x="724583" y="281351"/>
                      <a:pt x="729276" y="282288"/>
                      <a:pt x="734893" y="282288"/>
                    </a:cubicBezTo>
                    <a:cubicBezTo>
                      <a:pt x="734893" y="281351"/>
                      <a:pt x="734893" y="280415"/>
                      <a:pt x="735840" y="280415"/>
                    </a:cubicBezTo>
                    <a:cubicBezTo>
                      <a:pt x="735840" y="280415"/>
                      <a:pt x="736765" y="280415"/>
                      <a:pt x="736765" y="281351"/>
                    </a:cubicBezTo>
                    <a:cubicBezTo>
                      <a:pt x="736765" y="281351"/>
                      <a:pt x="735840" y="282288"/>
                      <a:pt x="734893" y="282288"/>
                    </a:cubicBezTo>
                    <a:close/>
                    <a:moveTo>
                      <a:pt x="735840" y="267292"/>
                    </a:moveTo>
                    <a:lnTo>
                      <a:pt x="735840" y="266356"/>
                    </a:lnTo>
                    <a:lnTo>
                      <a:pt x="736765" y="267292"/>
                    </a:lnTo>
                    <a:lnTo>
                      <a:pt x="735840" y="267292"/>
                    </a:lnTo>
                    <a:close/>
                    <a:moveTo>
                      <a:pt x="755512" y="262607"/>
                    </a:moveTo>
                    <a:cubicBezTo>
                      <a:pt x="761152" y="262607"/>
                      <a:pt x="764897" y="260732"/>
                      <a:pt x="769589" y="263543"/>
                    </a:cubicBezTo>
                    <a:cubicBezTo>
                      <a:pt x="763024" y="266356"/>
                      <a:pt x="758332" y="266356"/>
                      <a:pt x="753640" y="263543"/>
                    </a:cubicBezTo>
                    <a:cubicBezTo>
                      <a:pt x="754587" y="262607"/>
                      <a:pt x="755512" y="262607"/>
                      <a:pt x="755512" y="262607"/>
                    </a:cubicBezTo>
                    <a:close/>
                    <a:moveTo>
                      <a:pt x="755512" y="281351"/>
                    </a:moveTo>
                    <a:cubicBezTo>
                      <a:pt x="753640" y="282288"/>
                      <a:pt x="750842" y="282288"/>
                      <a:pt x="748022" y="281351"/>
                    </a:cubicBezTo>
                    <a:lnTo>
                      <a:pt x="747075" y="281351"/>
                    </a:lnTo>
                    <a:cubicBezTo>
                      <a:pt x="746150" y="280415"/>
                      <a:pt x="747075" y="280415"/>
                      <a:pt x="748022" y="278540"/>
                    </a:cubicBezTo>
                    <a:lnTo>
                      <a:pt x="757385" y="278540"/>
                    </a:lnTo>
                    <a:cubicBezTo>
                      <a:pt x="757385" y="280415"/>
                      <a:pt x="757385" y="281351"/>
                      <a:pt x="755512" y="281351"/>
                    </a:cubicBezTo>
                    <a:close/>
                    <a:moveTo>
                      <a:pt x="786441" y="277602"/>
                    </a:moveTo>
                    <a:cubicBezTo>
                      <a:pt x="784569" y="278540"/>
                      <a:pt x="783643" y="278540"/>
                      <a:pt x="783643" y="278540"/>
                    </a:cubicBezTo>
                    <a:lnTo>
                      <a:pt x="758332" y="278540"/>
                    </a:lnTo>
                    <a:cubicBezTo>
                      <a:pt x="758332" y="277602"/>
                      <a:pt x="759279" y="276666"/>
                      <a:pt x="759279" y="276666"/>
                    </a:cubicBezTo>
                    <a:cubicBezTo>
                      <a:pt x="761152" y="276666"/>
                      <a:pt x="763024" y="274791"/>
                      <a:pt x="764897" y="274791"/>
                    </a:cubicBezTo>
                    <a:lnTo>
                      <a:pt x="787389" y="274791"/>
                    </a:lnTo>
                    <a:cubicBezTo>
                      <a:pt x="787389" y="276666"/>
                      <a:pt x="787389" y="277602"/>
                      <a:pt x="786441" y="277602"/>
                    </a:cubicBezTo>
                    <a:close/>
                    <a:moveTo>
                      <a:pt x="788314" y="260732"/>
                    </a:moveTo>
                    <a:cubicBezTo>
                      <a:pt x="784569" y="260732"/>
                      <a:pt x="782696" y="262607"/>
                      <a:pt x="778951" y="262607"/>
                    </a:cubicBezTo>
                    <a:cubicBezTo>
                      <a:pt x="777079" y="262607"/>
                      <a:pt x="777079" y="260732"/>
                      <a:pt x="776132" y="259796"/>
                    </a:cubicBezTo>
                    <a:lnTo>
                      <a:pt x="777079" y="259796"/>
                    </a:lnTo>
                    <a:cubicBezTo>
                      <a:pt x="779898" y="258857"/>
                      <a:pt x="782696" y="258857"/>
                      <a:pt x="783643" y="258857"/>
                    </a:cubicBezTo>
                    <a:cubicBezTo>
                      <a:pt x="786441" y="258857"/>
                      <a:pt x="787389" y="259796"/>
                      <a:pt x="788314" y="259796"/>
                    </a:cubicBezTo>
                    <a:lnTo>
                      <a:pt x="790208" y="259796"/>
                    </a:lnTo>
                    <a:cubicBezTo>
                      <a:pt x="790208" y="260732"/>
                      <a:pt x="788314" y="260732"/>
                      <a:pt x="788314" y="260732"/>
                    </a:cubicBezTo>
                    <a:close/>
                    <a:moveTo>
                      <a:pt x="827680" y="258857"/>
                    </a:moveTo>
                    <a:lnTo>
                      <a:pt x="805188" y="258857"/>
                    </a:lnTo>
                    <a:lnTo>
                      <a:pt x="803316" y="256985"/>
                    </a:lnTo>
                    <a:cubicBezTo>
                      <a:pt x="803316" y="256985"/>
                      <a:pt x="803316" y="256046"/>
                      <a:pt x="805188" y="256046"/>
                    </a:cubicBezTo>
                    <a:lnTo>
                      <a:pt x="831447" y="256046"/>
                    </a:lnTo>
                    <a:cubicBezTo>
                      <a:pt x="831447" y="256985"/>
                      <a:pt x="830500" y="258857"/>
                      <a:pt x="827680" y="258857"/>
                    </a:cubicBezTo>
                    <a:close/>
                    <a:moveTo>
                      <a:pt x="887665" y="251361"/>
                    </a:moveTo>
                    <a:cubicBezTo>
                      <a:pt x="882973" y="252297"/>
                      <a:pt x="878303" y="252297"/>
                      <a:pt x="871738" y="252297"/>
                    </a:cubicBezTo>
                    <a:cubicBezTo>
                      <a:pt x="871738" y="253233"/>
                      <a:pt x="870791" y="253233"/>
                      <a:pt x="870791" y="255110"/>
                    </a:cubicBezTo>
                    <a:lnTo>
                      <a:pt x="832372" y="255110"/>
                    </a:lnTo>
                    <a:cubicBezTo>
                      <a:pt x="832372" y="255110"/>
                      <a:pt x="832372" y="253233"/>
                      <a:pt x="834245" y="253233"/>
                    </a:cubicBezTo>
                    <a:cubicBezTo>
                      <a:pt x="834245" y="252297"/>
                      <a:pt x="835192" y="252297"/>
                      <a:pt x="835192" y="252297"/>
                    </a:cubicBezTo>
                    <a:lnTo>
                      <a:pt x="871738" y="252297"/>
                    </a:lnTo>
                    <a:cubicBezTo>
                      <a:pt x="872663" y="251361"/>
                      <a:pt x="872663" y="249486"/>
                      <a:pt x="874558" y="249486"/>
                    </a:cubicBezTo>
                    <a:cubicBezTo>
                      <a:pt x="879228" y="248548"/>
                      <a:pt x="882973" y="248548"/>
                      <a:pt x="887665" y="248548"/>
                    </a:cubicBezTo>
                    <a:cubicBezTo>
                      <a:pt x="889538" y="248548"/>
                      <a:pt x="889538" y="249486"/>
                      <a:pt x="890485" y="249486"/>
                    </a:cubicBezTo>
                    <a:cubicBezTo>
                      <a:pt x="890485" y="251361"/>
                      <a:pt x="889538" y="251361"/>
                      <a:pt x="887665" y="251361"/>
                    </a:cubicBezTo>
                    <a:close/>
                    <a:moveTo>
                      <a:pt x="916722" y="267294"/>
                    </a:moveTo>
                    <a:cubicBezTo>
                      <a:pt x="916722" y="266356"/>
                      <a:pt x="918594" y="266356"/>
                      <a:pt x="918594" y="266356"/>
                    </a:cubicBezTo>
                    <a:cubicBezTo>
                      <a:pt x="918594" y="266356"/>
                      <a:pt x="918594" y="267294"/>
                      <a:pt x="916722" y="267294"/>
                    </a:cubicBezTo>
                    <a:close/>
                    <a:moveTo>
                      <a:pt x="929851" y="245737"/>
                    </a:moveTo>
                    <a:lnTo>
                      <a:pt x="930776" y="247611"/>
                    </a:lnTo>
                    <a:cubicBezTo>
                      <a:pt x="930776" y="248548"/>
                      <a:pt x="929851" y="248548"/>
                      <a:pt x="927978" y="248548"/>
                    </a:cubicBezTo>
                    <a:cubicBezTo>
                      <a:pt x="927978" y="247611"/>
                      <a:pt x="927031" y="247611"/>
                      <a:pt x="927031" y="247611"/>
                    </a:cubicBezTo>
                    <a:cubicBezTo>
                      <a:pt x="927648" y="246362"/>
                      <a:pt x="928595" y="245737"/>
                      <a:pt x="929851" y="245737"/>
                    </a:cubicBezTo>
                    <a:close/>
                    <a:moveTo>
                      <a:pt x="923286" y="267294"/>
                    </a:moveTo>
                    <a:cubicBezTo>
                      <a:pt x="922339" y="266356"/>
                      <a:pt x="920467" y="266356"/>
                      <a:pt x="919541" y="264481"/>
                    </a:cubicBezTo>
                    <a:cubicBezTo>
                      <a:pt x="919541" y="264481"/>
                      <a:pt x="919541" y="263545"/>
                      <a:pt x="920467" y="262607"/>
                    </a:cubicBezTo>
                    <a:cubicBezTo>
                      <a:pt x="923286" y="262607"/>
                      <a:pt x="927031" y="260732"/>
                      <a:pt x="929851" y="259796"/>
                    </a:cubicBezTo>
                    <a:cubicBezTo>
                      <a:pt x="930776" y="259796"/>
                      <a:pt x="930776" y="260732"/>
                      <a:pt x="930776" y="260732"/>
                    </a:cubicBezTo>
                    <a:cubicBezTo>
                      <a:pt x="931723" y="260732"/>
                      <a:pt x="931723" y="262607"/>
                      <a:pt x="931723" y="262607"/>
                    </a:cubicBezTo>
                    <a:cubicBezTo>
                      <a:pt x="930776" y="266356"/>
                      <a:pt x="926106" y="268231"/>
                      <a:pt x="923286" y="267294"/>
                    </a:cubicBezTo>
                    <a:close/>
                    <a:moveTo>
                      <a:pt x="656183" y="880245"/>
                    </a:moveTo>
                    <a:lnTo>
                      <a:pt x="655235" y="880245"/>
                    </a:lnTo>
                    <a:lnTo>
                      <a:pt x="656183" y="879309"/>
                    </a:lnTo>
                    <a:lnTo>
                      <a:pt x="656183" y="880245"/>
                    </a:lnTo>
                    <a:close/>
                    <a:moveTo>
                      <a:pt x="654288" y="857753"/>
                    </a:moveTo>
                    <a:cubicBezTo>
                      <a:pt x="654288" y="856815"/>
                      <a:pt x="655235" y="854940"/>
                      <a:pt x="655235" y="854002"/>
                    </a:cubicBezTo>
                    <a:lnTo>
                      <a:pt x="655235" y="853065"/>
                    </a:lnTo>
                    <a:cubicBezTo>
                      <a:pt x="655852" y="853691"/>
                      <a:pt x="656183" y="854315"/>
                      <a:pt x="656183" y="854940"/>
                    </a:cubicBezTo>
                    <a:cubicBezTo>
                      <a:pt x="656183" y="856815"/>
                      <a:pt x="655235" y="857753"/>
                      <a:pt x="654288" y="857753"/>
                    </a:cubicBezTo>
                    <a:close/>
                    <a:moveTo>
                      <a:pt x="658980" y="906482"/>
                    </a:moveTo>
                    <a:cubicBezTo>
                      <a:pt x="658980" y="905557"/>
                      <a:pt x="658055" y="904609"/>
                      <a:pt x="658980" y="904609"/>
                    </a:cubicBezTo>
                    <a:cubicBezTo>
                      <a:pt x="658980" y="902737"/>
                      <a:pt x="659928" y="902737"/>
                      <a:pt x="659928" y="904609"/>
                    </a:cubicBezTo>
                    <a:cubicBezTo>
                      <a:pt x="659928" y="905248"/>
                      <a:pt x="659619" y="905865"/>
                      <a:pt x="658980" y="906482"/>
                    </a:cubicBezTo>
                    <a:close/>
                    <a:moveTo>
                      <a:pt x="740533" y="905557"/>
                    </a:moveTo>
                    <a:cubicBezTo>
                      <a:pt x="740533" y="906173"/>
                      <a:pt x="740202" y="907121"/>
                      <a:pt x="739585" y="908354"/>
                    </a:cubicBezTo>
                    <a:cubicBezTo>
                      <a:pt x="739585" y="908354"/>
                      <a:pt x="739585" y="906482"/>
                      <a:pt x="738660" y="906482"/>
                    </a:cubicBezTo>
                    <a:cubicBezTo>
                      <a:pt x="739585" y="906482"/>
                      <a:pt x="740533" y="905557"/>
                      <a:pt x="740533" y="905557"/>
                    </a:cubicBezTo>
                    <a:close/>
                    <a:moveTo>
                      <a:pt x="667418" y="835257"/>
                    </a:moveTo>
                    <a:cubicBezTo>
                      <a:pt x="667418" y="832446"/>
                      <a:pt x="669290" y="832446"/>
                      <a:pt x="670237" y="831510"/>
                    </a:cubicBezTo>
                    <a:lnTo>
                      <a:pt x="670237" y="839006"/>
                    </a:lnTo>
                    <a:cubicBezTo>
                      <a:pt x="670237" y="839945"/>
                      <a:pt x="669290" y="839945"/>
                      <a:pt x="669290" y="839945"/>
                    </a:cubicBezTo>
                    <a:cubicBezTo>
                      <a:pt x="669290" y="839945"/>
                      <a:pt x="667418" y="839945"/>
                      <a:pt x="667418" y="839006"/>
                    </a:cubicBezTo>
                    <a:lnTo>
                      <a:pt x="667418" y="835257"/>
                    </a:lnTo>
                    <a:close/>
                    <a:moveTo>
                      <a:pt x="663673" y="884931"/>
                    </a:moveTo>
                    <a:cubicBezTo>
                      <a:pt x="663673" y="886805"/>
                      <a:pt x="662725" y="886805"/>
                      <a:pt x="662725" y="886805"/>
                    </a:cubicBezTo>
                    <a:lnTo>
                      <a:pt x="661800" y="886805"/>
                    </a:lnTo>
                    <a:lnTo>
                      <a:pt x="661800" y="881184"/>
                    </a:lnTo>
                    <a:cubicBezTo>
                      <a:pt x="661800" y="880245"/>
                      <a:pt x="662725" y="879309"/>
                      <a:pt x="663673" y="879309"/>
                    </a:cubicBezTo>
                    <a:lnTo>
                      <a:pt x="663673" y="884931"/>
                    </a:lnTo>
                    <a:close/>
                    <a:moveTo>
                      <a:pt x="670237" y="864311"/>
                    </a:moveTo>
                    <a:cubicBezTo>
                      <a:pt x="669290" y="868061"/>
                      <a:pt x="667418" y="872749"/>
                      <a:pt x="666492" y="876496"/>
                    </a:cubicBezTo>
                    <a:cubicBezTo>
                      <a:pt x="666492" y="876496"/>
                      <a:pt x="665545" y="877434"/>
                      <a:pt x="663673" y="877434"/>
                    </a:cubicBezTo>
                    <a:lnTo>
                      <a:pt x="663673" y="865250"/>
                    </a:lnTo>
                    <a:cubicBezTo>
                      <a:pt x="662725" y="864311"/>
                      <a:pt x="661800" y="864311"/>
                      <a:pt x="661800" y="861501"/>
                    </a:cubicBezTo>
                    <a:cubicBezTo>
                      <a:pt x="661800" y="861501"/>
                      <a:pt x="662725" y="860564"/>
                      <a:pt x="662725" y="858690"/>
                    </a:cubicBezTo>
                    <a:cubicBezTo>
                      <a:pt x="662725" y="860564"/>
                      <a:pt x="663673" y="860564"/>
                      <a:pt x="663673" y="860564"/>
                    </a:cubicBezTo>
                    <a:lnTo>
                      <a:pt x="663673" y="865250"/>
                    </a:lnTo>
                    <a:cubicBezTo>
                      <a:pt x="666492" y="864311"/>
                      <a:pt x="667418" y="862439"/>
                      <a:pt x="667418" y="860564"/>
                    </a:cubicBezTo>
                    <a:lnTo>
                      <a:pt x="669290" y="860564"/>
                    </a:lnTo>
                    <a:cubicBezTo>
                      <a:pt x="670237" y="860564"/>
                      <a:pt x="670237" y="861501"/>
                      <a:pt x="670237" y="862439"/>
                    </a:cubicBezTo>
                    <a:cubicBezTo>
                      <a:pt x="671163" y="862439"/>
                      <a:pt x="671163" y="864311"/>
                      <a:pt x="670237" y="864311"/>
                    </a:cubicBezTo>
                    <a:close/>
                    <a:moveTo>
                      <a:pt x="673982" y="851191"/>
                    </a:moveTo>
                    <a:cubicBezTo>
                      <a:pt x="673035" y="851191"/>
                      <a:pt x="673035" y="853065"/>
                      <a:pt x="673035" y="854002"/>
                    </a:cubicBezTo>
                    <a:cubicBezTo>
                      <a:pt x="671163" y="853065"/>
                      <a:pt x="671163" y="851191"/>
                      <a:pt x="671163" y="850255"/>
                    </a:cubicBezTo>
                    <a:lnTo>
                      <a:pt x="671163" y="848380"/>
                    </a:lnTo>
                    <a:cubicBezTo>
                      <a:pt x="671163" y="847442"/>
                      <a:pt x="673035" y="846505"/>
                      <a:pt x="673035" y="846505"/>
                    </a:cubicBezTo>
                    <a:cubicBezTo>
                      <a:pt x="673982" y="847442"/>
                      <a:pt x="673982" y="848380"/>
                      <a:pt x="673982" y="850255"/>
                    </a:cubicBezTo>
                    <a:lnTo>
                      <a:pt x="673982" y="851191"/>
                    </a:lnTo>
                    <a:close/>
                    <a:moveTo>
                      <a:pt x="680547" y="829635"/>
                    </a:moveTo>
                    <a:cubicBezTo>
                      <a:pt x="680547" y="832446"/>
                      <a:pt x="680547" y="833385"/>
                      <a:pt x="677727" y="835257"/>
                    </a:cubicBezTo>
                    <a:cubicBezTo>
                      <a:pt x="677727" y="836196"/>
                      <a:pt x="677727" y="837132"/>
                      <a:pt x="676802" y="839006"/>
                    </a:cubicBezTo>
                    <a:lnTo>
                      <a:pt x="676802" y="839945"/>
                    </a:lnTo>
                    <a:cubicBezTo>
                      <a:pt x="674908" y="839945"/>
                      <a:pt x="674908" y="839006"/>
                      <a:pt x="674908" y="837132"/>
                    </a:cubicBezTo>
                    <a:cubicBezTo>
                      <a:pt x="674908" y="836196"/>
                      <a:pt x="674908" y="835257"/>
                      <a:pt x="677727" y="835257"/>
                    </a:cubicBezTo>
                    <a:lnTo>
                      <a:pt x="677727" y="828697"/>
                    </a:lnTo>
                    <a:cubicBezTo>
                      <a:pt x="677727" y="827761"/>
                      <a:pt x="678674" y="824947"/>
                      <a:pt x="680547" y="824947"/>
                    </a:cubicBezTo>
                    <a:lnTo>
                      <a:pt x="680547" y="829635"/>
                    </a:lnTo>
                    <a:close/>
                    <a:moveTo>
                      <a:pt x="681472" y="824947"/>
                    </a:moveTo>
                    <a:lnTo>
                      <a:pt x="681472" y="820262"/>
                    </a:lnTo>
                    <a:lnTo>
                      <a:pt x="682420" y="818387"/>
                    </a:lnTo>
                    <a:cubicBezTo>
                      <a:pt x="684292" y="820262"/>
                      <a:pt x="684292" y="821198"/>
                      <a:pt x="684292" y="821198"/>
                    </a:cubicBezTo>
                    <a:cubicBezTo>
                      <a:pt x="684292" y="824011"/>
                      <a:pt x="682420" y="824011"/>
                      <a:pt x="681472" y="824947"/>
                    </a:cubicBezTo>
                    <a:close/>
                    <a:moveTo>
                      <a:pt x="705836" y="779962"/>
                    </a:moveTo>
                    <a:lnTo>
                      <a:pt x="705836" y="778087"/>
                    </a:lnTo>
                    <a:lnTo>
                      <a:pt x="706784" y="779962"/>
                    </a:lnTo>
                    <a:lnTo>
                      <a:pt x="705836" y="779962"/>
                    </a:lnTo>
                    <a:close/>
                    <a:moveTo>
                      <a:pt x="898922" y="373200"/>
                    </a:moveTo>
                    <a:cubicBezTo>
                      <a:pt x="898922" y="370389"/>
                      <a:pt x="898922" y="369453"/>
                      <a:pt x="901720" y="369453"/>
                    </a:cubicBezTo>
                    <a:cubicBezTo>
                      <a:pt x="902359" y="368827"/>
                      <a:pt x="902667" y="367891"/>
                      <a:pt x="902667" y="366639"/>
                    </a:cubicBezTo>
                    <a:lnTo>
                      <a:pt x="904540" y="368514"/>
                    </a:lnTo>
                    <a:cubicBezTo>
                      <a:pt x="903284" y="368514"/>
                      <a:pt x="902359" y="368827"/>
                      <a:pt x="901720" y="369453"/>
                    </a:cubicBezTo>
                    <a:lnTo>
                      <a:pt x="901720" y="372263"/>
                    </a:lnTo>
                    <a:cubicBezTo>
                      <a:pt x="901720" y="374138"/>
                      <a:pt x="900795" y="376013"/>
                      <a:pt x="898922" y="376013"/>
                    </a:cubicBezTo>
                    <a:lnTo>
                      <a:pt x="898922" y="373200"/>
                    </a:lnTo>
                    <a:close/>
                    <a:moveTo>
                      <a:pt x="895177" y="379762"/>
                    </a:moveTo>
                    <a:cubicBezTo>
                      <a:pt x="895177" y="376949"/>
                      <a:pt x="897050" y="376949"/>
                      <a:pt x="897975" y="376013"/>
                    </a:cubicBezTo>
                    <a:cubicBezTo>
                      <a:pt x="897975" y="377888"/>
                      <a:pt x="897050" y="377888"/>
                      <a:pt x="895177" y="379762"/>
                    </a:cubicBezTo>
                    <a:cubicBezTo>
                      <a:pt x="894230" y="380699"/>
                      <a:pt x="894230" y="381637"/>
                      <a:pt x="891410" y="381637"/>
                    </a:cubicBezTo>
                    <a:cubicBezTo>
                      <a:pt x="893305" y="380699"/>
                      <a:pt x="893305" y="379762"/>
                      <a:pt x="895177" y="379762"/>
                    </a:cubicBezTo>
                    <a:close/>
                    <a:moveTo>
                      <a:pt x="891410" y="383509"/>
                    </a:moveTo>
                    <a:lnTo>
                      <a:pt x="890485" y="384448"/>
                    </a:lnTo>
                    <a:lnTo>
                      <a:pt x="889538" y="384448"/>
                    </a:lnTo>
                    <a:cubicBezTo>
                      <a:pt x="890177" y="383822"/>
                      <a:pt x="890793" y="383509"/>
                      <a:pt x="891410" y="383509"/>
                    </a:cubicBezTo>
                    <a:close/>
                    <a:moveTo>
                      <a:pt x="871738" y="416313"/>
                    </a:moveTo>
                    <a:cubicBezTo>
                      <a:pt x="871738" y="417251"/>
                      <a:pt x="870791" y="418188"/>
                      <a:pt x="868918" y="417251"/>
                    </a:cubicBezTo>
                    <a:lnTo>
                      <a:pt x="868918" y="414438"/>
                    </a:lnTo>
                    <a:cubicBezTo>
                      <a:pt x="870174" y="413815"/>
                      <a:pt x="871121" y="413502"/>
                      <a:pt x="871738" y="413502"/>
                    </a:cubicBezTo>
                    <a:lnTo>
                      <a:pt x="871738" y="416313"/>
                    </a:lnTo>
                    <a:close/>
                    <a:moveTo>
                      <a:pt x="871738" y="412566"/>
                    </a:moveTo>
                    <a:cubicBezTo>
                      <a:pt x="872663" y="410689"/>
                      <a:pt x="872663" y="409753"/>
                      <a:pt x="875483" y="409753"/>
                    </a:cubicBezTo>
                    <a:cubicBezTo>
                      <a:pt x="875483" y="408817"/>
                      <a:pt x="876430" y="406942"/>
                      <a:pt x="876430" y="406942"/>
                    </a:cubicBezTo>
                    <a:cubicBezTo>
                      <a:pt x="878303" y="409753"/>
                      <a:pt x="876430" y="409753"/>
                      <a:pt x="875483" y="409753"/>
                    </a:cubicBezTo>
                    <a:cubicBezTo>
                      <a:pt x="874558" y="410689"/>
                      <a:pt x="874558" y="412566"/>
                      <a:pt x="871738" y="412566"/>
                    </a:cubicBezTo>
                    <a:close/>
                    <a:moveTo>
                      <a:pt x="875483" y="421937"/>
                    </a:moveTo>
                    <a:cubicBezTo>
                      <a:pt x="875483" y="420999"/>
                      <a:pt x="876430" y="420062"/>
                      <a:pt x="878303" y="420062"/>
                    </a:cubicBezTo>
                    <a:cubicBezTo>
                      <a:pt x="878303" y="420999"/>
                      <a:pt x="876430" y="421937"/>
                      <a:pt x="875483" y="421937"/>
                    </a:cubicBezTo>
                    <a:close/>
                    <a:moveTo>
                      <a:pt x="879228" y="420062"/>
                    </a:moveTo>
                    <a:lnTo>
                      <a:pt x="879228" y="417251"/>
                    </a:lnTo>
                    <a:cubicBezTo>
                      <a:pt x="879228" y="414441"/>
                      <a:pt x="879228" y="413502"/>
                      <a:pt x="882048" y="413502"/>
                    </a:cubicBezTo>
                    <a:cubicBezTo>
                      <a:pt x="882048" y="416313"/>
                      <a:pt x="882048" y="418188"/>
                      <a:pt x="879228" y="420062"/>
                    </a:cubicBezTo>
                    <a:close/>
                    <a:moveTo>
                      <a:pt x="882048" y="412566"/>
                    </a:moveTo>
                    <a:cubicBezTo>
                      <a:pt x="882048" y="412566"/>
                      <a:pt x="882973" y="410689"/>
                      <a:pt x="882973" y="409753"/>
                    </a:cubicBezTo>
                    <a:cubicBezTo>
                      <a:pt x="883920" y="409753"/>
                      <a:pt x="883920" y="410689"/>
                      <a:pt x="883920" y="410689"/>
                    </a:cubicBezTo>
                    <a:cubicBezTo>
                      <a:pt x="883920" y="412566"/>
                      <a:pt x="882973" y="412566"/>
                      <a:pt x="882048" y="412566"/>
                    </a:cubicBezTo>
                    <a:close/>
                    <a:moveTo>
                      <a:pt x="886740" y="406003"/>
                    </a:moveTo>
                    <a:cubicBezTo>
                      <a:pt x="885793" y="403192"/>
                      <a:pt x="886740" y="403192"/>
                      <a:pt x="887665" y="403192"/>
                    </a:cubicBezTo>
                    <a:cubicBezTo>
                      <a:pt x="887665" y="403192"/>
                      <a:pt x="887665" y="404129"/>
                      <a:pt x="886740" y="406003"/>
                    </a:cubicBezTo>
                    <a:close/>
                    <a:moveTo>
                      <a:pt x="891410" y="395694"/>
                    </a:moveTo>
                    <a:cubicBezTo>
                      <a:pt x="891410" y="399443"/>
                      <a:pt x="891410" y="402256"/>
                      <a:pt x="889538" y="402256"/>
                    </a:cubicBezTo>
                    <a:cubicBezTo>
                      <a:pt x="887665" y="399443"/>
                      <a:pt x="887665" y="396632"/>
                      <a:pt x="891410" y="395694"/>
                    </a:cubicBezTo>
                    <a:cubicBezTo>
                      <a:pt x="893305" y="394758"/>
                      <a:pt x="893305" y="392883"/>
                      <a:pt x="895177" y="392883"/>
                    </a:cubicBezTo>
                    <a:cubicBezTo>
                      <a:pt x="894230" y="394758"/>
                      <a:pt x="894230" y="395694"/>
                      <a:pt x="891410" y="395694"/>
                    </a:cubicBezTo>
                    <a:close/>
                    <a:moveTo>
                      <a:pt x="895177" y="391947"/>
                    </a:moveTo>
                    <a:cubicBezTo>
                      <a:pt x="895177" y="391008"/>
                      <a:pt x="897050" y="389133"/>
                      <a:pt x="897975" y="389133"/>
                    </a:cubicBezTo>
                    <a:cubicBezTo>
                      <a:pt x="897975" y="391008"/>
                      <a:pt x="897050" y="391947"/>
                      <a:pt x="895177" y="391947"/>
                    </a:cubicBezTo>
                    <a:close/>
                    <a:moveTo>
                      <a:pt x="898922" y="389133"/>
                    </a:moveTo>
                    <a:cubicBezTo>
                      <a:pt x="897975" y="388197"/>
                      <a:pt x="897975" y="387259"/>
                      <a:pt x="897975" y="387259"/>
                    </a:cubicBezTo>
                    <a:cubicBezTo>
                      <a:pt x="898922" y="384448"/>
                      <a:pt x="898922" y="383509"/>
                      <a:pt x="901720" y="383509"/>
                    </a:cubicBezTo>
                    <a:cubicBezTo>
                      <a:pt x="901720" y="385386"/>
                      <a:pt x="901720" y="388197"/>
                      <a:pt x="898922" y="389133"/>
                    </a:cubicBezTo>
                    <a:close/>
                    <a:moveTo>
                      <a:pt x="915796" y="365703"/>
                    </a:moveTo>
                    <a:cubicBezTo>
                      <a:pt x="915796" y="368514"/>
                      <a:pt x="914849" y="369453"/>
                      <a:pt x="912029" y="369453"/>
                    </a:cubicBezTo>
                    <a:cubicBezTo>
                      <a:pt x="912029" y="374138"/>
                      <a:pt x="909232" y="376949"/>
                      <a:pt x="905487" y="379762"/>
                    </a:cubicBezTo>
                    <a:cubicBezTo>
                      <a:pt x="904540" y="380699"/>
                      <a:pt x="904540" y="381637"/>
                      <a:pt x="901720" y="381637"/>
                    </a:cubicBezTo>
                    <a:cubicBezTo>
                      <a:pt x="901720" y="380699"/>
                      <a:pt x="902667" y="379762"/>
                      <a:pt x="905487" y="379762"/>
                    </a:cubicBezTo>
                    <a:cubicBezTo>
                      <a:pt x="905487" y="374138"/>
                      <a:pt x="907359" y="370389"/>
                      <a:pt x="912029" y="369453"/>
                    </a:cubicBezTo>
                    <a:cubicBezTo>
                      <a:pt x="912029" y="366639"/>
                      <a:pt x="912029" y="364767"/>
                      <a:pt x="915796" y="362892"/>
                    </a:cubicBezTo>
                    <a:lnTo>
                      <a:pt x="915796" y="365703"/>
                    </a:lnTo>
                    <a:close/>
                    <a:moveTo>
                      <a:pt x="915796" y="361954"/>
                    </a:moveTo>
                    <a:cubicBezTo>
                      <a:pt x="915796" y="360079"/>
                      <a:pt x="916722" y="359143"/>
                      <a:pt x="918594" y="359143"/>
                    </a:cubicBezTo>
                    <a:cubicBezTo>
                      <a:pt x="918594" y="360079"/>
                      <a:pt x="916722" y="361954"/>
                      <a:pt x="915796" y="361954"/>
                    </a:cubicBezTo>
                    <a:close/>
                    <a:moveTo>
                      <a:pt x="927978" y="345084"/>
                    </a:moveTo>
                    <a:cubicBezTo>
                      <a:pt x="927978" y="347895"/>
                      <a:pt x="927031" y="348833"/>
                      <a:pt x="926106" y="348833"/>
                    </a:cubicBezTo>
                    <a:cubicBezTo>
                      <a:pt x="926106" y="354455"/>
                      <a:pt x="923286" y="356330"/>
                      <a:pt x="919541" y="359143"/>
                    </a:cubicBezTo>
                    <a:cubicBezTo>
                      <a:pt x="918594" y="355394"/>
                      <a:pt x="919541" y="351644"/>
                      <a:pt x="923286" y="348833"/>
                    </a:cubicBezTo>
                    <a:lnTo>
                      <a:pt x="926106" y="348833"/>
                    </a:lnTo>
                    <a:cubicBezTo>
                      <a:pt x="926106" y="346959"/>
                      <a:pt x="926106" y="344145"/>
                      <a:pt x="927978" y="343209"/>
                    </a:cubicBezTo>
                    <a:lnTo>
                      <a:pt x="927978" y="345084"/>
                    </a:lnTo>
                    <a:close/>
                    <a:moveTo>
                      <a:pt x="1015126" y="234491"/>
                    </a:moveTo>
                    <a:cubicBezTo>
                      <a:pt x="1015126" y="236366"/>
                      <a:pt x="1014201" y="237302"/>
                      <a:pt x="1012328" y="237302"/>
                    </a:cubicBezTo>
                    <a:cubicBezTo>
                      <a:pt x="1011381" y="238238"/>
                      <a:pt x="1010456" y="237302"/>
                      <a:pt x="1010456" y="236363"/>
                    </a:cubicBezTo>
                    <a:lnTo>
                      <a:pt x="1011381" y="234491"/>
                    </a:lnTo>
                    <a:cubicBezTo>
                      <a:pt x="1012328" y="233552"/>
                      <a:pt x="1014201" y="232616"/>
                      <a:pt x="1015126" y="232616"/>
                    </a:cubicBezTo>
                    <a:lnTo>
                      <a:pt x="1015126" y="234491"/>
                    </a:lnTo>
                    <a:close/>
                    <a:moveTo>
                      <a:pt x="1012328" y="224181"/>
                    </a:moveTo>
                    <a:cubicBezTo>
                      <a:pt x="1012328" y="224181"/>
                      <a:pt x="1014201" y="223243"/>
                      <a:pt x="1014201" y="222307"/>
                    </a:cubicBezTo>
                    <a:cubicBezTo>
                      <a:pt x="1016073" y="224181"/>
                      <a:pt x="1014201" y="224181"/>
                      <a:pt x="1012328" y="224181"/>
                    </a:cubicBezTo>
                    <a:close/>
                    <a:moveTo>
                      <a:pt x="995454" y="222307"/>
                    </a:moveTo>
                    <a:cubicBezTo>
                      <a:pt x="995454" y="220432"/>
                      <a:pt x="993582" y="220432"/>
                      <a:pt x="993582" y="220432"/>
                    </a:cubicBezTo>
                    <a:cubicBezTo>
                      <a:pt x="993582" y="219493"/>
                      <a:pt x="995454" y="219493"/>
                      <a:pt x="995454" y="219493"/>
                    </a:cubicBezTo>
                    <a:cubicBezTo>
                      <a:pt x="997326" y="218557"/>
                      <a:pt x="1001071" y="218557"/>
                      <a:pt x="1002944" y="214808"/>
                    </a:cubicBezTo>
                    <a:cubicBezTo>
                      <a:pt x="1006689" y="211997"/>
                      <a:pt x="1010456" y="209186"/>
                      <a:pt x="1014201" y="207311"/>
                    </a:cubicBezTo>
                    <a:lnTo>
                      <a:pt x="1015126" y="207311"/>
                    </a:lnTo>
                    <a:lnTo>
                      <a:pt x="1015126" y="209186"/>
                    </a:lnTo>
                    <a:cubicBezTo>
                      <a:pt x="1011381" y="214808"/>
                      <a:pt x="1007636" y="218557"/>
                      <a:pt x="1003891" y="222307"/>
                    </a:cubicBezTo>
                    <a:cubicBezTo>
                      <a:pt x="1002944" y="223243"/>
                      <a:pt x="1002944" y="226056"/>
                      <a:pt x="1003891" y="226992"/>
                    </a:cubicBezTo>
                    <a:cubicBezTo>
                      <a:pt x="1003891" y="228867"/>
                      <a:pt x="1006689" y="228867"/>
                      <a:pt x="1007636" y="228867"/>
                    </a:cubicBezTo>
                    <a:lnTo>
                      <a:pt x="1008583" y="228867"/>
                    </a:lnTo>
                    <a:cubicBezTo>
                      <a:pt x="1010456" y="226992"/>
                      <a:pt x="1010456" y="226056"/>
                      <a:pt x="1012328" y="226056"/>
                    </a:cubicBezTo>
                    <a:cubicBezTo>
                      <a:pt x="1012328" y="226992"/>
                      <a:pt x="1011381" y="228867"/>
                      <a:pt x="1008583" y="228867"/>
                    </a:cubicBezTo>
                    <a:cubicBezTo>
                      <a:pt x="1008583" y="229803"/>
                      <a:pt x="1007636" y="230741"/>
                      <a:pt x="1006689" y="233552"/>
                    </a:cubicBezTo>
                    <a:cubicBezTo>
                      <a:pt x="1006689" y="234491"/>
                      <a:pt x="1004816" y="236363"/>
                      <a:pt x="1003891" y="237302"/>
                    </a:cubicBezTo>
                    <a:cubicBezTo>
                      <a:pt x="1002944" y="237302"/>
                      <a:pt x="1002944" y="234491"/>
                      <a:pt x="1001071" y="233552"/>
                    </a:cubicBezTo>
                    <a:cubicBezTo>
                      <a:pt x="1000146" y="232616"/>
                      <a:pt x="999199" y="232616"/>
                      <a:pt x="996379" y="233552"/>
                    </a:cubicBezTo>
                    <a:cubicBezTo>
                      <a:pt x="995454" y="234491"/>
                      <a:pt x="992634" y="236363"/>
                      <a:pt x="989836" y="238238"/>
                    </a:cubicBezTo>
                    <a:cubicBezTo>
                      <a:pt x="988889" y="238238"/>
                      <a:pt x="987017" y="238238"/>
                      <a:pt x="987017" y="237302"/>
                    </a:cubicBezTo>
                    <a:lnTo>
                      <a:pt x="987017" y="236363"/>
                    </a:lnTo>
                    <a:cubicBezTo>
                      <a:pt x="989836" y="232616"/>
                      <a:pt x="993582" y="228867"/>
                      <a:pt x="997326" y="224181"/>
                    </a:cubicBezTo>
                    <a:cubicBezTo>
                      <a:pt x="999199" y="222307"/>
                      <a:pt x="996379" y="222307"/>
                      <a:pt x="995454" y="222307"/>
                    </a:cubicBezTo>
                    <a:close/>
                    <a:moveTo>
                      <a:pt x="987017" y="226056"/>
                    </a:moveTo>
                    <a:lnTo>
                      <a:pt x="987017" y="226992"/>
                    </a:lnTo>
                    <a:cubicBezTo>
                      <a:pt x="987017" y="226992"/>
                      <a:pt x="986070" y="226992"/>
                      <a:pt x="986070" y="228867"/>
                    </a:cubicBezTo>
                    <a:cubicBezTo>
                      <a:pt x="986070" y="227618"/>
                      <a:pt x="986400" y="226679"/>
                      <a:pt x="987017" y="226056"/>
                    </a:cubicBezTo>
                    <a:close/>
                    <a:moveTo>
                      <a:pt x="982325" y="232616"/>
                    </a:moveTo>
                    <a:cubicBezTo>
                      <a:pt x="982325" y="229803"/>
                      <a:pt x="983272" y="228867"/>
                      <a:pt x="985144" y="228867"/>
                    </a:cubicBezTo>
                    <a:cubicBezTo>
                      <a:pt x="985144" y="230741"/>
                      <a:pt x="983272" y="230741"/>
                      <a:pt x="982325" y="232616"/>
                    </a:cubicBezTo>
                    <a:cubicBezTo>
                      <a:pt x="981708" y="233240"/>
                      <a:pt x="981399" y="233865"/>
                      <a:pt x="981399" y="234491"/>
                    </a:cubicBezTo>
                    <a:cubicBezTo>
                      <a:pt x="981399" y="233552"/>
                      <a:pt x="979527" y="233552"/>
                      <a:pt x="979527" y="233552"/>
                    </a:cubicBezTo>
                    <a:cubicBezTo>
                      <a:pt x="981399" y="233552"/>
                      <a:pt x="981399" y="232616"/>
                      <a:pt x="982325" y="232616"/>
                    </a:cubicBezTo>
                    <a:close/>
                    <a:moveTo>
                      <a:pt x="981399" y="245737"/>
                    </a:moveTo>
                    <a:lnTo>
                      <a:pt x="981399" y="247611"/>
                    </a:lnTo>
                    <a:lnTo>
                      <a:pt x="979527" y="247611"/>
                    </a:lnTo>
                    <a:lnTo>
                      <a:pt x="981399" y="245737"/>
                    </a:lnTo>
                    <a:close/>
                    <a:moveTo>
                      <a:pt x="942033" y="245737"/>
                    </a:moveTo>
                    <a:lnTo>
                      <a:pt x="951396" y="245737"/>
                    </a:lnTo>
                    <a:cubicBezTo>
                      <a:pt x="952343" y="245737"/>
                      <a:pt x="953268" y="247611"/>
                      <a:pt x="955140" y="247611"/>
                    </a:cubicBezTo>
                    <a:lnTo>
                      <a:pt x="952343" y="247611"/>
                    </a:lnTo>
                    <a:cubicBezTo>
                      <a:pt x="951396" y="248548"/>
                      <a:pt x="948598" y="248548"/>
                      <a:pt x="945778" y="248548"/>
                    </a:cubicBezTo>
                    <a:cubicBezTo>
                      <a:pt x="944853" y="248548"/>
                      <a:pt x="942958" y="248548"/>
                      <a:pt x="941086" y="247611"/>
                    </a:cubicBezTo>
                    <a:lnTo>
                      <a:pt x="939214" y="247611"/>
                    </a:lnTo>
                    <a:cubicBezTo>
                      <a:pt x="941086" y="247611"/>
                      <a:pt x="941086" y="245737"/>
                      <a:pt x="942033" y="245737"/>
                    </a:cubicBezTo>
                    <a:close/>
                    <a:moveTo>
                      <a:pt x="959833" y="274791"/>
                    </a:moveTo>
                    <a:lnTo>
                      <a:pt x="959833" y="273855"/>
                    </a:lnTo>
                    <a:lnTo>
                      <a:pt x="960780" y="273855"/>
                    </a:lnTo>
                    <a:lnTo>
                      <a:pt x="959833" y="274791"/>
                    </a:lnTo>
                    <a:close/>
                    <a:moveTo>
                      <a:pt x="978580" y="266356"/>
                    </a:moveTo>
                    <a:cubicBezTo>
                      <a:pt x="978580" y="267294"/>
                      <a:pt x="977654" y="267294"/>
                      <a:pt x="977654" y="267294"/>
                    </a:cubicBezTo>
                    <a:cubicBezTo>
                      <a:pt x="977654" y="266356"/>
                      <a:pt x="975760" y="266356"/>
                      <a:pt x="975760" y="264481"/>
                    </a:cubicBezTo>
                    <a:lnTo>
                      <a:pt x="975760" y="262607"/>
                    </a:lnTo>
                    <a:cubicBezTo>
                      <a:pt x="973887" y="262607"/>
                      <a:pt x="972015" y="263545"/>
                      <a:pt x="971090" y="263545"/>
                    </a:cubicBezTo>
                    <a:cubicBezTo>
                      <a:pt x="968270" y="266356"/>
                      <a:pt x="964525" y="266356"/>
                      <a:pt x="962652" y="263545"/>
                    </a:cubicBezTo>
                    <a:cubicBezTo>
                      <a:pt x="961397" y="262919"/>
                      <a:pt x="960472" y="262919"/>
                      <a:pt x="959833" y="263545"/>
                    </a:cubicBezTo>
                    <a:cubicBezTo>
                      <a:pt x="958908" y="264481"/>
                      <a:pt x="957035" y="266356"/>
                      <a:pt x="956088" y="267294"/>
                    </a:cubicBezTo>
                    <a:cubicBezTo>
                      <a:pt x="953268" y="268231"/>
                      <a:pt x="952343" y="270105"/>
                      <a:pt x="951396" y="271042"/>
                    </a:cubicBezTo>
                    <a:cubicBezTo>
                      <a:pt x="948598" y="270105"/>
                      <a:pt x="946725" y="268231"/>
                      <a:pt x="945778" y="267294"/>
                    </a:cubicBezTo>
                    <a:cubicBezTo>
                      <a:pt x="944853" y="266356"/>
                      <a:pt x="942958" y="266356"/>
                      <a:pt x="942033" y="267294"/>
                    </a:cubicBezTo>
                    <a:cubicBezTo>
                      <a:pt x="941394" y="267294"/>
                      <a:pt x="940469" y="267605"/>
                      <a:pt x="939214" y="268231"/>
                    </a:cubicBezTo>
                    <a:cubicBezTo>
                      <a:pt x="938288" y="268231"/>
                      <a:pt x="937341" y="267294"/>
                      <a:pt x="937341" y="266356"/>
                    </a:cubicBezTo>
                    <a:lnTo>
                      <a:pt x="937341" y="264481"/>
                    </a:lnTo>
                    <a:cubicBezTo>
                      <a:pt x="938288" y="263545"/>
                      <a:pt x="939214" y="262607"/>
                      <a:pt x="942033" y="262607"/>
                    </a:cubicBezTo>
                    <a:cubicBezTo>
                      <a:pt x="946725" y="262607"/>
                      <a:pt x="953268" y="262607"/>
                      <a:pt x="958908" y="258860"/>
                    </a:cubicBezTo>
                    <a:lnTo>
                      <a:pt x="972015" y="258860"/>
                    </a:lnTo>
                    <a:cubicBezTo>
                      <a:pt x="973887" y="258860"/>
                      <a:pt x="974834" y="259796"/>
                      <a:pt x="975760" y="262607"/>
                    </a:cubicBezTo>
                    <a:lnTo>
                      <a:pt x="982325" y="262607"/>
                    </a:lnTo>
                    <a:cubicBezTo>
                      <a:pt x="982325" y="260732"/>
                      <a:pt x="982325" y="259796"/>
                      <a:pt x="983272" y="259796"/>
                    </a:cubicBezTo>
                    <a:cubicBezTo>
                      <a:pt x="985144" y="259796"/>
                      <a:pt x="985144" y="260732"/>
                      <a:pt x="986070" y="262607"/>
                    </a:cubicBezTo>
                    <a:lnTo>
                      <a:pt x="988889" y="262607"/>
                    </a:lnTo>
                    <a:cubicBezTo>
                      <a:pt x="988889" y="260732"/>
                      <a:pt x="989836" y="259796"/>
                      <a:pt x="990762" y="259796"/>
                    </a:cubicBezTo>
                    <a:lnTo>
                      <a:pt x="990762" y="260732"/>
                    </a:lnTo>
                    <a:cubicBezTo>
                      <a:pt x="990762" y="260732"/>
                      <a:pt x="989836" y="260732"/>
                      <a:pt x="988889" y="262607"/>
                    </a:cubicBezTo>
                    <a:cubicBezTo>
                      <a:pt x="988889" y="263545"/>
                      <a:pt x="988889" y="264481"/>
                      <a:pt x="987017" y="264481"/>
                    </a:cubicBezTo>
                    <a:cubicBezTo>
                      <a:pt x="986070" y="264481"/>
                      <a:pt x="986070" y="263545"/>
                      <a:pt x="986070" y="262607"/>
                    </a:cubicBezTo>
                    <a:lnTo>
                      <a:pt x="982325" y="262607"/>
                    </a:lnTo>
                    <a:cubicBezTo>
                      <a:pt x="982325" y="263545"/>
                      <a:pt x="979527" y="264481"/>
                      <a:pt x="978580" y="266356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60" name="Freihandform: Form 759">
                <a:extLst>
                  <a:ext uri="{FF2B5EF4-FFF2-40B4-BE49-F238E27FC236}">
                    <a16:creationId xmlns:a16="http://schemas.microsoft.com/office/drawing/2014/main" id="{F454EB1B-C843-27A8-EAD1-FE40CCA28BE7}"/>
                  </a:ext>
                </a:extLst>
              </p:cNvPr>
              <p:cNvSpPr/>
              <p:nvPr/>
            </p:nvSpPr>
            <p:spPr>
              <a:xfrm>
                <a:off x="5558423" y="3597236"/>
                <a:ext cx="6564" cy="13122"/>
              </a:xfrm>
              <a:custGeom>
                <a:avLst/>
                <a:gdLst>
                  <a:gd name="connsiteX0" fmla="*/ 1873 w 6564"/>
                  <a:gd name="connsiteY0" fmla="*/ 2813 h 13122"/>
                  <a:gd name="connsiteX1" fmla="*/ 0 w 6564"/>
                  <a:gd name="connsiteY1" fmla="*/ 13123 h 13122"/>
                  <a:gd name="connsiteX2" fmla="*/ 3745 w 6564"/>
                  <a:gd name="connsiteY2" fmla="*/ 9373 h 13122"/>
                  <a:gd name="connsiteX3" fmla="*/ 6565 w 6564"/>
                  <a:gd name="connsiteY3" fmla="*/ 4686 h 13122"/>
                  <a:gd name="connsiteX4" fmla="*/ 6565 w 6564"/>
                  <a:gd name="connsiteY4" fmla="*/ 1875 h 13122"/>
                  <a:gd name="connsiteX5" fmla="*/ 2820 w 6564"/>
                  <a:gd name="connsiteY5" fmla="*/ 0 h 13122"/>
                  <a:gd name="connsiteX6" fmla="*/ 1873 w 6564"/>
                  <a:gd name="connsiteY6" fmla="*/ 2813 h 131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564" h="13122">
                    <a:moveTo>
                      <a:pt x="1873" y="2813"/>
                    </a:moveTo>
                    <a:cubicBezTo>
                      <a:pt x="0" y="6562"/>
                      <a:pt x="0" y="10310"/>
                      <a:pt x="0" y="13123"/>
                    </a:cubicBezTo>
                    <a:cubicBezTo>
                      <a:pt x="2820" y="13123"/>
                      <a:pt x="3745" y="10310"/>
                      <a:pt x="3745" y="9373"/>
                    </a:cubicBezTo>
                    <a:cubicBezTo>
                      <a:pt x="3745" y="6562"/>
                      <a:pt x="5618" y="4686"/>
                      <a:pt x="6565" y="4686"/>
                    </a:cubicBezTo>
                    <a:lnTo>
                      <a:pt x="6565" y="1875"/>
                    </a:lnTo>
                    <a:cubicBezTo>
                      <a:pt x="5618" y="0"/>
                      <a:pt x="3745" y="0"/>
                      <a:pt x="2820" y="0"/>
                    </a:cubicBezTo>
                    <a:cubicBezTo>
                      <a:pt x="2181" y="1251"/>
                      <a:pt x="1873" y="2187"/>
                      <a:pt x="1873" y="2813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61" name="Freihandform: Form 760">
                <a:extLst>
                  <a:ext uri="{FF2B5EF4-FFF2-40B4-BE49-F238E27FC236}">
                    <a16:creationId xmlns:a16="http://schemas.microsoft.com/office/drawing/2014/main" id="{BE605A66-408F-B2C2-14CF-722F74D67A82}"/>
                  </a:ext>
                </a:extLst>
              </p:cNvPr>
              <p:cNvSpPr/>
              <p:nvPr/>
            </p:nvSpPr>
            <p:spPr>
              <a:xfrm>
                <a:off x="5564988" y="3600049"/>
                <a:ext cx="925" cy="1872"/>
              </a:xfrm>
              <a:custGeom>
                <a:avLst/>
                <a:gdLst>
                  <a:gd name="connsiteX0" fmla="*/ 925 w 925"/>
                  <a:gd name="connsiteY0" fmla="*/ 0 h 1872"/>
                  <a:gd name="connsiteX1" fmla="*/ 0 w 925"/>
                  <a:gd name="connsiteY1" fmla="*/ 1873 h 1872"/>
                  <a:gd name="connsiteX2" fmla="*/ 925 w 925"/>
                  <a:gd name="connsiteY2" fmla="*/ 1873 h 1872"/>
                  <a:gd name="connsiteX3" fmla="*/ 925 w 925"/>
                  <a:gd name="connsiteY3" fmla="*/ 0 h 18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25" h="1872">
                    <a:moveTo>
                      <a:pt x="925" y="0"/>
                    </a:moveTo>
                    <a:cubicBezTo>
                      <a:pt x="0" y="0"/>
                      <a:pt x="0" y="1873"/>
                      <a:pt x="0" y="1873"/>
                    </a:cubicBezTo>
                    <a:lnTo>
                      <a:pt x="925" y="1873"/>
                    </a:lnTo>
                    <a:lnTo>
                      <a:pt x="925" y="0"/>
                    </a:ln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62" name="Freihandform: Form 761">
                <a:extLst>
                  <a:ext uri="{FF2B5EF4-FFF2-40B4-BE49-F238E27FC236}">
                    <a16:creationId xmlns:a16="http://schemas.microsoft.com/office/drawing/2014/main" id="{5A6945EE-08DA-7942-5365-D493E1089DFB}"/>
                  </a:ext>
                </a:extLst>
              </p:cNvPr>
              <p:cNvSpPr/>
              <p:nvPr/>
            </p:nvSpPr>
            <p:spPr>
              <a:xfrm>
                <a:off x="5564041" y="3592550"/>
                <a:ext cx="947" cy="938"/>
              </a:xfrm>
              <a:custGeom>
                <a:avLst/>
                <a:gdLst>
                  <a:gd name="connsiteX0" fmla="*/ 0 w 947"/>
                  <a:gd name="connsiteY0" fmla="*/ 0 h 938"/>
                  <a:gd name="connsiteX1" fmla="*/ 0 w 947"/>
                  <a:gd name="connsiteY1" fmla="*/ 938 h 938"/>
                  <a:gd name="connsiteX2" fmla="*/ 947 w 947"/>
                  <a:gd name="connsiteY2" fmla="*/ 0 h 938"/>
                  <a:gd name="connsiteX3" fmla="*/ 0 w 947"/>
                  <a:gd name="connsiteY3" fmla="*/ 0 h 9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47" h="938">
                    <a:moveTo>
                      <a:pt x="0" y="0"/>
                    </a:moveTo>
                    <a:lnTo>
                      <a:pt x="0" y="938"/>
                    </a:lnTo>
                    <a:lnTo>
                      <a:pt x="94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63" name="Freihandform: Form 762">
                <a:extLst>
                  <a:ext uri="{FF2B5EF4-FFF2-40B4-BE49-F238E27FC236}">
                    <a16:creationId xmlns:a16="http://schemas.microsoft.com/office/drawing/2014/main" id="{DA8497E4-BBC5-9C2A-7C0F-42E7A627BCFC}"/>
                  </a:ext>
                </a:extLst>
              </p:cNvPr>
              <p:cNvSpPr/>
              <p:nvPr/>
            </p:nvSpPr>
            <p:spPr>
              <a:xfrm>
                <a:off x="5585607" y="3526006"/>
                <a:ext cx="6141" cy="10309"/>
              </a:xfrm>
              <a:custGeom>
                <a:avLst/>
                <a:gdLst>
                  <a:gd name="connsiteX0" fmla="*/ 3745 w 6141"/>
                  <a:gd name="connsiteY0" fmla="*/ 8435 h 10309"/>
                  <a:gd name="connsiteX1" fmla="*/ 5618 w 6141"/>
                  <a:gd name="connsiteY1" fmla="*/ 0 h 10309"/>
                  <a:gd name="connsiteX2" fmla="*/ 0 w 6141"/>
                  <a:gd name="connsiteY2" fmla="*/ 7499 h 10309"/>
                  <a:gd name="connsiteX3" fmla="*/ 1872 w 6141"/>
                  <a:gd name="connsiteY3" fmla="*/ 10310 h 10309"/>
                  <a:gd name="connsiteX4" fmla="*/ 3745 w 6141"/>
                  <a:gd name="connsiteY4" fmla="*/ 8435 h 103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141" h="10309">
                    <a:moveTo>
                      <a:pt x="3745" y="8435"/>
                    </a:moveTo>
                    <a:cubicBezTo>
                      <a:pt x="3745" y="6560"/>
                      <a:pt x="7490" y="3749"/>
                      <a:pt x="5618" y="0"/>
                    </a:cubicBezTo>
                    <a:cubicBezTo>
                      <a:pt x="1872" y="0"/>
                      <a:pt x="0" y="3749"/>
                      <a:pt x="0" y="7499"/>
                    </a:cubicBezTo>
                    <a:cubicBezTo>
                      <a:pt x="617" y="8122"/>
                      <a:pt x="1234" y="9061"/>
                      <a:pt x="1872" y="10310"/>
                    </a:cubicBezTo>
                    <a:cubicBezTo>
                      <a:pt x="1872" y="10310"/>
                      <a:pt x="3745" y="10310"/>
                      <a:pt x="3745" y="8435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64" name="Freihandform: Form 763">
                <a:extLst>
                  <a:ext uri="{FF2B5EF4-FFF2-40B4-BE49-F238E27FC236}">
                    <a16:creationId xmlns:a16="http://schemas.microsoft.com/office/drawing/2014/main" id="{340BDC50-6066-505C-5C41-78BE85F64AC8}"/>
                  </a:ext>
                </a:extLst>
              </p:cNvPr>
              <p:cNvSpPr/>
              <p:nvPr/>
            </p:nvSpPr>
            <p:spPr>
              <a:xfrm>
                <a:off x="5568733" y="3591614"/>
                <a:ext cx="3744" cy="8434"/>
              </a:xfrm>
              <a:custGeom>
                <a:avLst/>
                <a:gdLst>
                  <a:gd name="connsiteX0" fmla="*/ 3745 w 3744"/>
                  <a:gd name="connsiteY0" fmla="*/ 4686 h 8434"/>
                  <a:gd name="connsiteX1" fmla="*/ 3745 w 3744"/>
                  <a:gd name="connsiteY1" fmla="*/ 0 h 8434"/>
                  <a:gd name="connsiteX2" fmla="*/ 0 w 3744"/>
                  <a:gd name="connsiteY2" fmla="*/ 1875 h 8434"/>
                  <a:gd name="connsiteX3" fmla="*/ 0 w 3744"/>
                  <a:gd name="connsiteY3" fmla="*/ 8435 h 8434"/>
                  <a:gd name="connsiteX4" fmla="*/ 3745 w 3744"/>
                  <a:gd name="connsiteY4" fmla="*/ 4686 h 84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744" h="8434">
                    <a:moveTo>
                      <a:pt x="3745" y="4686"/>
                    </a:moveTo>
                    <a:lnTo>
                      <a:pt x="3745" y="0"/>
                    </a:lnTo>
                    <a:cubicBezTo>
                      <a:pt x="925" y="0"/>
                      <a:pt x="925" y="936"/>
                      <a:pt x="0" y="1875"/>
                    </a:cubicBezTo>
                    <a:lnTo>
                      <a:pt x="0" y="8435"/>
                    </a:lnTo>
                    <a:cubicBezTo>
                      <a:pt x="2820" y="8435"/>
                      <a:pt x="3745" y="7497"/>
                      <a:pt x="3745" y="4686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65" name="Freihandform: Form 764">
                <a:extLst>
                  <a:ext uri="{FF2B5EF4-FFF2-40B4-BE49-F238E27FC236}">
                    <a16:creationId xmlns:a16="http://schemas.microsoft.com/office/drawing/2014/main" id="{CCD04B9B-9DBB-7E81-1C0C-E043ED35AF1C}"/>
                  </a:ext>
                </a:extLst>
              </p:cNvPr>
              <p:cNvSpPr/>
              <p:nvPr/>
            </p:nvSpPr>
            <p:spPr>
              <a:xfrm>
                <a:off x="5606227" y="3478208"/>
                <a:ext cx="6038" cy="7498"/>
              </a:xfrm>
              <a:custGeom>
                <a:avLst/>
                <a:gdLst>
                  <a:gd name="connsiteX0" fmla="*/ 5617 w 6038"/>
                  <a:gd name="connsiteY0" fmla="*/ 0 h 7498"/>
                  <a:gd name="connsiteX1" fmla="*/ 2798 w 6038"/>
                  <a:gd name="connsiteY1" fmla="*/ 936 h 7498"/>
                  <a:gd name="connsiteX2" fmla="*/ 0 w 6038"/>
                  <a:gd name="connsiteY2" fmla="*/ 6560 h 7498"/>
                  <a:gd name="connsiteX3" fmla="*/ 1872 w 6038"/>
                  <a:gd name="connsiteY3" fmla="*/ 7499 h 7498"/>
                  <a:gd name="connsiteX4" fmla="*/ 5617 w 6038"/>
                  <a:gd name="connsiteY4" fmla="*/ 3749 h 7498"/>
                  <a:gd name="connsiteX5" fmla="*/ 5617 w 6038"/>
                  <a:gd name="connsiteY5" fmla="*/ 0 h 7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038" h="7498">
                    <a:moveTo>
                      <a:pt x="5617" y="0"/>
                    </a:moveTo>
                    <a:cubicBezTo>
                      <a:pt x="4362" y="0"/>
                      <a:pt x="3436" y="313"/>
                      <a:pt x="2798" y="936"/>
                    </a:cubicBezTo>
                    <a:cubicBezTo>
                      <a:pt x="1872" y="2811"/>
                      <a:pt x="0" y="3749"/>
                      <a:pt x="0" y="6560"/>
                    </a:cubicBezTo>
                    <a:cubicBezTo>
                      <a:pt x="0" y="6560"/>
                      <a:pt x="0" y="7499"/>
                      <a:pt x="1872" y="7499"/>
                    </a:cubicBezTo>
                    <a:cubicBezTo>
                      <a:pt x="2798" y="6560"/>
                      <a:pt x="3745" y="4686"/>
                      <a:pt x="5617" y="3749"/>
                    </a:cubicBezTo>
                    <a:cubicBezTo>
                      <a:pt x="6564" y="2811"/>
                      <a:pt x="5617" y="936"/>
                      <a:pt x="5617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66" name="Freihandform: Form 765">
                <a:extLst>
                  <a:ext uri="{FF2B5EF4-FFF2-40B4-BE49-F238E27FC236}">
                    <a16:creationId xmlns:a16="http://schemas.microsoft.com/office/drawing/2014/main" id="{D893ECBA-6CE9-88A4-53FA-3B5C71D46D2B}"/>
                  </a:ext>
                </a:extLst>
              </p:cNvPr>
              <p:cNvSpPr/>
              <p:nvPr/>
            </p:nvSpPr>
            <p:spPr>
              <a:xfrm>
                <a:off x="5655902" y="3177355"/>
                <a:ext cx="7489" cy="7496"/>
              </a:xfrm>
              <a:custGeom>
                <a:avLst/>
                <a:gdLst>
                  <a:gd name="connsiteX0" fmla="*/ 4670 w 7489"/>
                  <a:gd name="connsiteY0" fmla="*/ 0 h 7496"/>
                  <a:gd name="connsiteX1" fmla="*/ 3745 w 7489"/>
                  <a:gd name="connsiteY1" fmla="*/ 0 h 7496"/>
                  <a:gd name="connsiteX2" fmla="*/ 0 w 7489"/>
                  <a:gd name="connsiteY2" fmla="*/ 7497 h 7496"/>
                  <a:gd name="connsiteX3" fmla="*/ 7490 w 7489"/>
                  <a:gd name="connsiteY3" fmla="*/ 4686 h 7496"/>
                  <a:gd name="connsiteX4" fmla="*/ 7490 w 7489"/>
                  <a:gd name="connsiteY4" fmla="*/ 2811 h 7496"/>
                  <a:gd name="connsiteX5" fmla="*/ 4670 w 7489"/>
                  <a:gd name="connsiteY5" fmla="*/ 0 h 74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489" h="7496">
                    <a:moveTo>
                      <a:pt x="4670" y="0"/>
                    </a:moveTo>
                    <a:lnTo>
                      <a:pt x="3745" y="0"/>
                    </a:lnTo>
                    <a:cubicBezTo>
                      <a:pt x="925" y="2811"/>
                      <a:pt x="0" y="4686"/>
                      <a:pt x="0" y="7497"/>
                    </a:cubicBezTo>
                    <a:cubicBezTo>
                      <a:pt x="1873" y="7497"/>
                      <a:pt x="4670" y="6560"/>
                      <a:pt x="7490" y="4686"/>
                    </a:cubicBezTo>
                    <a:lnTo>
                      <a:pt x="7490" y="2811"/>
                    </a:lnTo>
                    <a:cubicBezTo>
                      <a:pt x="5618" y="936"/>
                      <a:pt x="5618" y="0"/>
                      <a:pt x="467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67" name="Freihandform: Form 766">
                <a:extLst>
                  <a:ext uri="{FF2B5EF4-FFF2-40B4-BE49-F238E27FC236}">
                    <a16:creationId xmlns:a16="http://schemas.microsoft.com/office/drawing/2014/main" id="{DDCDEE15-E76B-8CCE-FC21-95E2C4393D2B}"/>
                  </a:ext>
                </a:extLst>
              </p:cNvPr>
              <p:cNvSpPr/>
              <p:nvPr/>
            </p:nvSpPr>
            <p:spPr>
              <a:xfrm>
                <a:off x="5677447" y="3166107"/>
                <a:ext cx="1872" cy="2813"/>
              </a:xfrm>
              <a:custGeom>
                <a:avLst/>
                <a:gdLst>
                  <a:gd name="connsiteX0" fmla="*/ 0 w 1872"/>
                  <a:gd name="connsiteY0" fmla="*/ 938 h 2813"/>
                  <a:gd name="connsiteX1" fmla="*/ 1873 w 1872"/>
                  <a:gd name="connsiteY1" fmla="*/ 2813 h 2813"/>
                  <a:gd name="connsiteX2" fmla="*/ 947 w 1872"/>
                  <a:gd name="connsiteY2" fmla="*/ 0 h 2813"/>
                  <a:gd name="connsiteX3" fmla="*/ 0 w 1872"/>
                  <a:gd name="connsiteY3" fmla="*/ 938 h 28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72" h="2813">
                    <a:moveTo>
                      <a:pt x="0" y="938"/>
                    </a:moveTo>
                    <a:cubicBezTo>
                      <a:pt x="947" y="938"/>
                      <a:pt x="947" y="2813"/>
                      <a:pt x="1873" y="2813"/>
                    </a:cubicBezTo>
                    <a:cubicBezTo>
                      <a:pt x="1256" y="1562"/>
                      <a:pt x="947" y="626"/>
                      <a:pt x="947" y="0"/>
                    </a:cubicBezTo>
                    <a:cubicBezTo>
                      <a:pt x="947" y="938"/>
                      <a:pt x="0" y="938"/>
                      <a:pt x="0" y="938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68" name="Freihandform: Form 767">
                <a:extLst>
                  <a:ext uri="{FF2B5EF4-FFF2-40B4-BE49-F238E27FC236}">
                    <a16:creationId xmlns:a16="http://schemas.microsoft.com/office/drawing/2014/main" id="{31763CB7-10A3-B138-05EE-8A51697FC3D8}"/>
                  </a:ext>
                </a:extLst>
              </p:cNvPr>
              <p:cNvSpPr/>
              <p:nvPr/>
            </p:nvSpPr>
            <p:spPr>
              <a:xfrm>
                <a:off x="5663392" y="3216719"/>
                <a:ext cx="925" cy="936"/>
              </a:xfrm>
              <a:custGeom>
                <a:avLst/>
                <a:gdLst>
                  <a:gd name="connsiteX0" fmla="*/ 0 w 925"/>
                  <a:gd name="connsiteY0" fmla="*/ 936 h 936"/>
                  <a:gd name="connsiteX1" fmla="*/ 925 w 925"/>
                  <a:gd name="connsiteY1" fmla="*/ 936 h 936"/>
                  <a:gd name="connsiteX2" fmla="*/ 925 w 925"/>
                  <a:gd name="connsiteY2" fmla="*/ 0 h 936"/>
                  <a:gd name="connsiteX3" fmla="*/ 0 w 925"/>
                  <a:gd name="connsiteY3" fmla="*/ 936 h 9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25" h="936">
                    <a:moveTo>
                      <a:pt x="0" y="936"/>
                    </a:moveTo>
                    <a:lnTo>
                      <a:pt x="925" y="936"/>
                    </a:lnTo>
                    <a:lnTo>
                      <a:pt x="925" y="0"/>
                    </a:lnTo>
                    <a:lnTo>
                      <a:pt x="0" y="936"/>
                    </a:ln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69" name="Freihandform: Form 768">
                <a:extLst>
                  <a:ext uri="{FF2B5EF4-FFF2-40B4-BE49-F238E27FC236}">
                    <a16:creationId xmlns:a16="http://schemas.microsoft.com/office/drawing/2014/main" id="{B967C36E-8792-A5E4-0DCF-A1EC0071F852}"/>
                  </a:ext>
                </a:extLst>
              </p:cNvPr>
              <p:cNvSpPr/>
              <p:nvPr/>
            </p:nvSpPr>
            <p:spPr>
              <a:xfrm>
                <a:off x="5656828" y="3218594"/>
                <a:ext cx="947" cy="2810"/>
              </a:xfrm>
              <a:custGeom>
                <a:avLst/>
                <a:gdLst>
                  <a:gd name="connsiteX0" fmla="*/ 947 w 947"/>
                  <a:gd name="connsiteY0" fmla="*/ 1872 h 2810"/>
                  <a:gd name="connsiteX1" fmla="*/ 0 w 947"/>
                  <a:gd name="connsiteY1" fmla="*/ 0 h 2810"/>
                  <a:gd name="connsiteX2" fmla="*/ 947 w 947"/>
                  <a:gd name="connsiteY2" fmla="*/ 2811 h 2810"/>
                  <a:gd name="connsiteX3" fmla="*/ 947 w 947"/>
                  <a:gd name="connsiteY3" fmla="*/ 1872 h 28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47" h="2810">
                    <a:moveTo>
                      <a:pt x="947" y="1872"/>
                    </a:moveTo>
                    <a:lnTo>
                      <a:pt x="0" y="0"/>
                    </a:lnTo>
                    <a:cubicBezTo>
                      <a:pt x="0" y="1872"/>
                      <a:pt x="0" y="2811"/>
                      <a:pt x="947" y="2811"/>
                    </a:cubicBezTo>
                    <a:lnTo>
                      <a:pt x="947" y="1872"/>
                    </a:ln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70" name="Freihandform: Form 769">
                <a:extLst>
                  <a:ext uri="{FF2B5EF4-FFF2-40B4-BE49-F238E27FC236}">
                    <a16:creationId xmlns:a16="http://schemas.microsoft.com/office/drawing/2014/main" id="{1BE253BF-3CD9-2961-B034-3518E78C721A}"/>
                  </a:ext>
                </a:extLst>
              </p:cNvPr>
              <p:cNvSpPr/>
              <p:nvPr/>
            </p:nvSpPr>
            <p:spPr>
              <a:xfrm>
                <a:off x="5654030" y="3354492"/>
                <a:ext cx="15926" cy="24785"/>
              </a:xfrm>
              <a:custGeom>
                <a:avLst/>
                <a:gdLst>
                  <a:gd name="connsiteX0" fmla="*/ 1872 w 15926"/>
                  <a:gd name="connsiteY0" fmla="*/ 24369 h 24785"/>
                  <a:gd name="connsiteX1" fmla="*/ 2798 w 15926"/>
                  <a:gd name="connsiteY1" fmla="*/ 24369 h 24785"/>
                  <a:gd name="connsiteX2" fmla="*/ 9362 w 15926"/>
                  <a:gd name="connsiteY2" fmla="*/ 13123 h 24785"/>
                  <a:gd name="connsiteX3" fmla="*/ 11235 w 15926"/>
                  <a:gd name="connsiteY3" fmla="*/ 11248 h 24785"/>
                  <a:gd name="connsiteX4" fmla="*/ 13107 w 15926"/>
                  <a:gd name="connsiteY4" fmla="*/ 5624 h 24785"/>
                  <a:gd name="connsiteX5" fmla="*/ 15927 w 15926"/>
                  <a:gd name="connsiteY5" fmla="*/ 2813 h 24785"/>
                  <a:gd name="connsiteX6" fmla="*/ 14055 w 15926"/>
                  <a:gd name="connsiteY6" fmla="*/ 0 h 24785"/>
                  <a:gd name="connsiteX7" fmla="*/ 11235 w 15926"/>
                  <a:gd name="connsiteY7" fmla="*/ 1875 h 24785"/>
                  <a:gd name="connsiteX8" fmla="*/ 0 w 15926"/>
                  <a:gd name="connsiteY8" fmla="*/ 23430 h 24785"/>
                  <a:gd name="connsiteX9" fmla="*/ 1872 w 15926"/>
                  <a:gd name="connsiteY9" fmla="*/ 24369 h 247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926" h="24785">
                    <a:moveTo>
                      <a:pt x="1872" y="24369"/>
                    </a:moveTo>
                    <a:cubicBezTo>
                      <a:pt x="1872" y="25307"/>
                      <a:pt x="2798" y="24369"/>
                      <a:pt x="2798" y="24369"/>
                    </a:cubicBezTo>
                    <a:cubicBezTo>
                      <a:pt x="6543" y="21558"/>
                      <a:pt x="7490" y="16870"/>
                      <a:pt x="9362" y="13123"/>
                    </a:cubicBezTo>
                    <a:cubicBezTo>
                      <a:pt x="10288" y="13123"/>
                      <a:pt x="11235" y="13123"/>
                      <a:pt x="11235" y="11248"/>
                    </a:cubicBezTo>
                    <a:cubicBezTo>
                      <a:pt x="11235" y="10310"/>
                      <a:pt x="11235" y="7499"/>
                      <a:pt x="13107" y="5624"/>
                    </a:cubicBezTo>
                    <a:cubicBezTo>
                      <a:pt x="14055" y="5624"/>
                      <a:pt x="14055" y="3749"/>
                      <a:pt x="15927" y="2813"/>
                    </a:cubicBezTo>
                    <a:cubicBezTo>
                      <a:pt x="15927" y="1875"/>
                      <a:pt x="15927" y="0"/>
                      <a:pt x="14055" y="0"/>
                    </a:cubicBezTo>
                    <a:cubicBezTo>
                      <a:pt x="13107" y="0"/>
                      <a:pt x="11235" y="0"/>
                      <a:pt x="11235" y="1875"/>
                    </a:cubicBezTo>
                    <a:cubicBezTo>
                      <a:pt x="6543" y="7499"/>
                      <a:pt x="2798" y="14995"/>
                      <a:pt x="0" y="23430"/>
                    </a:cubicBezTo>
                    <a:cubicBezTo>
                      <a:pt x="0" y="24056"/>
                      <a:pt x="617" y="24369"/>
                      <a:pt x="1872" y="24369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71" name="Freihandform: Form 770">
                <a:extLst>
                  <a:ext uri="{FF2B5EF4-FFF2-40B4-BE49-F238E27FC236}">
                    <a16:creationId xmlns:a16="http://schemas.microsoft.com/office/drawing/2014/main" id="{211FC3E2-DB5D-A0B5-2B65-D2A651B9A38A}"/>
                  </a:ext>
                </a:extLst>
              </p:cNvPr>
              <p:cNvSpPr/>
              <p:nvPr/>
            </p:nvSpPr>
            <p:spPr>
              <a:xfrm>
                <a:off x="5696194" y="3146560"/>
                <a:ext cx="3744" cy="1740"/>
              </a:xfrm>
              <a:custGeom>
                <a:avLst/>
                <a:gdLst>
                  <a:gd name="connsiteX0" fmla="*/ 947 w 3744"/>
                  <a:gd name="connsiteY0" fmla="*/ 802 h 1740"/>
                  <a:gd name="connsiteX1" fmla="*/ 0 w 3744"/>
                  <a:gd name="connsiteY1" fmla="*/ 1741 h 1740"/>
                  <a:gd name="connsiteX2" fmla="*/ 3745 w 3744"/>
                  <a:gd name="connsiteY2" fmla="*/ 1741 h 1740"/>
                  <a:gd name="connsiteX3" fmla="*/ 947 w 3744"/>
                  <a:gd name="connsiteY3" fmla="*/ 802 h 17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744" h="1740">
                    <a:moveTo>
                      <a:pt x="947" y="802"/>
                    </a:moveTo>
                    <a:cubicBezTo>
                      <a:pt x="947" y="802"/>
                      <a:pt x="947" y="1741"/>
                      <a:pt x="0" y="1741"/>
                    </a:cubicBezTo>
                    <a:lnTo>
                      <a:pt x="3745" y="1741"/>
                    </a:lnTo>
                    <a:cubicBezTo>
                      <a:pt x="3745" y="802"/>
                      <a:pt x="1872" y="-1073"/>
                      <a:pt x="947" y="802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72" name="Freihandform: Form 771">
                <a:extLst>
                  <a:ext uri="{FF2B5EF4-FFF2-40B4-BE49-F238E27FC236}">
                    <a16:creationId xmlns:a16="http://schemas.microsoft.com/office/drawing/2014/main" id="{94119AF9-EF1D-95BE-52BD-A9D77EC31D1A}"/>
                  </a:ext>
                </a:extLst>
              </p:cNvPr>
              <p:cNvSpPr/>
              <p:nvPr/>
            </p:nvSpPr>
            <p:spPr>
              <a:xfrm>
                <a:off x="5693374" y="3148301"/>
                <a:ext cx="2819" cy="3747"/>
              </a:xfrm>
              <a:custGeom>
                <a:avLst/>
                <a:gdLst>
                  <a:gd name="connsiteX0" fmla="*/ 2820 w 2819"/>
                  <a:gd name="connsiteY0" fmla="*/ 0 h 3747"/>
                  <a:gd name="connsiteX1" fmla="*/ 0 w 2819"/>
                  <a:gd name="connsiteY1" fmla="*/ 3747 h 3747"/>
                  <a:gd name="connsiteX2" fmla="*/ 2820 w 2819"/>
                  <a:gd name="connsiteY2" fmla="*/ 3747 h 3747"/>
                  <a:gd name="connsiteX3" fmla="*/ 2820 w 2819"/>
                  <a:gd name="connsiteY3" fmla="*/ 0 h 37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19" h="3747">
                    <a:moveTo>
                      <a:pt x="2820" y="0"/>
                    </a:moveTo>
                    <a:cubicBezTo>
                      <a:pt x="947" y="0"/>
                      <a:pt x="0" y="936"/>
                      <a:pt x="0" y="3747"/>
                    </a:cubicBezTo>
                    <a:lnTo>
                      <a:pt x="2820" y="3747"/>
                    </a:lnTo>
                    <a:lnTo>
                      <a:pt x="2820" y="0"/>
                    </a:ln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73" name="Freihandform: Form 772">
                <a:extLst>
                  <a:ext uri="{FF2B5EF4-FFF2-40B4-BE49-F238E27FC236}">
                    <a16:creationId xmlns:a16="http://schemas.microsoft.com/office/drawing/2014/main" id="{B5B8CEEC-B508-B05C-014E-603EA22F55A6}"/>
                  </a:ext>
                </a:extLst>
              </p:cNvPr>
              <p:cNvSpPr/>
              <p:nvPr/>
            </p:nvSpPr>
            <p:spPr>
              <a:xfrm>
                <a:off x="5684937" y="3152048"/>
                <a:ext cx="8437" cy="6562"/>
              </a:xfrm>
              <a:custGeom>
                <a:avLst/>
                <a:gdLst>
                  <a:gd name="connsiteX0" fmla="*/ 8437 w 8437"/>
                  <a:gd name="connsiteY0" fmla="*/ 3752 h 6562"/>
                  <a:gd name="connsiteX1" fmla="*/ 8437 w 8437"/>
                  <a:gd name="connsiteY1" fmla="*/ 0 h 6562"/>
                  <a:gd name="connsiteX2" fmla="*/ 0 w 8437"/>
                  <a:gd name="connsiteY2" fmla="*/ 3752 h 6562"/>
                  <a:gd name="connsiteX3" fmla="*/ 0 w 8437"/>
                  <a:gd name="connsiteY3" fmla="*/ 5624 h 6562"/>
                  <a:gd name="connsiteX4" fmla="*/ 1894 w 8437"/>
                  <a:gd name="connsiteY4" fmla="*/ 6563 h 6562"/>
                  <a:gd name="connsiteX5" fmla="*/ 4692 w 8437"/>
                  <a:gd name="connsiteY5" fmla="*/ 6563 h 6562"/>
                  <a:gd name="connsiteX6" fmla="*/ 8437 w 8437"/>
                  <a:gd name="connsiteY6" fmla="*/ 3752 h 65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437" h="6562">
                    <a:moveTo>
                      <a:pt x="8437" y="3752"/>
                    </a:moveTo>
                    <a:lnTo>
                      <a:pt x="8437" y="0"/>
                    </a:lnTo>
                    <a:cubicBezTo>
                      <a:pt x="4692" y="0"/>
                      <a:pt x="1894" y="938"/>
                      <a:pt x="0" y="3752"/>
                    </a:cubicBezTo>
                    <a:lnTo>
                      <a:pt x="0" y="5624"/>
                    </a:lnTo>
                    <a:cubicBezTo>
                      <a:pt x="0" y="5624"/>
                      <a:pt x="947" y="6563"/>
                      <a:pt x="1894" y="6563"/>
                    </a:cubicBezTo>
                    <a:lnTo>
                      <a:pt x="4692" y="6563"/>
                    </a:lnTo>
                    <a:cubicBezTo>
                      <a:pt x="4692" y="5624"/>
                      <a:pt x="5639" y="3752"/>
                      <a:pt x="8437" y="3752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74" name="Freihandform: Form 773">
                <a:extLst>
                  <a:ext uri="{FF2B5EF4-FFF2-40B4-BE49-F238E27FC236}">
                    <a16:creationId xmlns:a16="http://schemas.microsoft.com/office/drawing/2014/main" id="{40E781BF-E47B-AE98-41C8-0C713C08FD7B}"/>
                  </a:ext>
                </a:extLst>
              </p:cNvPr>
              <p:cNvSpPr/>
              <p:nvPr/>
            </p:nvSpPr>
            <p:spPr>
              <a:xfrm>
                <a:off x="5705578" y="3145488"/>
                <a:ext cx="3744" cy="2813"/>
              </a:xfrm>
              <a:custGeom>
                <a:avLst/>
                <a:gdLst>
                  <a:gd name="connsiteX0" fmla="*/ 3745 w 3744"/>
                  <a:gd name="connsiteY0" fmla="*/ 0 h 2813"/>
                  <a:gd name="connsiteX1" fmla="*/ 0 w 3744"/>
                  <a:gd name="connsiteY1" fmla="*/ 2813 h 2813"/>
                  <a:gd name="connsiteX2" fmla="*/ 3745 w 3744"/>
                  <a:gd name="connsiteY2" fmla="*/ 0 h 28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744" h="2813">
                    <a:moveTo>
                      <a:pt x="3745" y="0"/>
                    </a:moveTo>
                    <a:cubicBezTo>
                      <a:pt x="1872" y="0"/>
                      <a:pt x="0" y="1875"/>
                      <a:pt x="0" y="2813"/>
                    </a:cubicBezTo>
                    <a:cubicBezTo>
                      <a:pt x="2798" y="2813"/>
                      <a:pt x="3745" y="1875"/>
                      <a:pt x="3745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75" name="Freihandform: Form 774">
                <a:extLst>
                  <a:ext uri="{FF2B5EF4-FFF2-40B4-BE49-F238E27FC236}">
                    <a16:creationId xmlns:a16="http://schemas.microsoft.com/office/drawing/2014/main" id="{82D03298-D785-78D8-E122-B05D0460DD2B}"/>
                  </a:ext>
                </a:extLst>
              </p:cNvPr>
              <p:cNvSpPr/>
              <p:nvPr/>
            </p:nvSpPr>
            <p:spPr>
              <a:xfrm>
                <a:off x="5665265" y="3365740"/>
                <a:ext cx="4692" cy="6560"/>
              </a:xfrm>
              <a:custGeom>
                <a:avLst/>
                <a:gdLst>
                  <a:gd name="connsiteX0" fmla="*/ 2820 w 4692"/>
                  <a:gd name="connsiteY0" fmla="*/ 6560 h 6560"/>
                  <a:gd name="connsiteX1" fmla="*/ 4692 w 4692"/>
                  <a:gd name="connsiteY1" fmla="*/ 3747 h 6560"/>
                  <a:gd name="connsiteX2" fmla="*/ 0 w 4692"/>
                  <a:gd name="connsiteY2" fmla="*/ 0 h 6560"/>
                  <a:gd name="connsiteX3" fmla="*/ 1873 w 4692"/>
                  <a:gd name="connsiteY3" fmla="*/ 5622 h 6560"/>
                  <a:gd name="connsiteX4" fmla="*/ 2820 w 4692"/>
                  <a:gd name="connsiteY4" fmla="*/ 6560 h 6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92" h="6560">
                    <a:moveTo>
                      <a:pt x="2820" y="6560"/>
                    </a:moveTo>
                    <a:cubicBezTo>
                      <a:pt x="2820" y="5622"/>
                      <a:pt x="4692" y="5622"/>
                      <a:pt x="4692" y="3747"/>
                    </a:cubicBezTo>
                    <a:cubicBezTo>
                      <a:pt x="3437" y="2498"/>
                      <a:pt x="1873" y="1249"/>
                      <a:pt x="0" y="0"/>
                    </a:cubicBezTo>
                    <a:cubicBezTo>
                      <a:pt x="1873" y="2811"/>
                      <a:pt x="1873" y="3747"/>
                      <a:pt x="1873" y="5622"/>
                    </a:cubicBezTo>
                    <a:cubicBezTo>
                      <a:pt x="1873" y="5622"/>
                      <a:pt x="1873" y="6560"/>
                      <a:pt x="2820" y="6560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76" name="Freihandform: Form 775">
                <a:extLst>
                  <a:ext uri="{FF2B5EF4-FFF2-40B4-BE49-F238E27FC236}">
                    <a16:creationId xmlns:a16="http://schemas.microsoft.com/office/drawing/2014/main" id="{0D0D1F28-D8F6-26B9-827A-7FA61DDBAC61}"/>
                  </a:ext>
                </a:extLst>
              </p:cNvPr>
              <p:cNvSpPr/>
              <p:nvPr/>
            </p:nvSpPr>
            <p:spPr>
              <a:xfrm>
                <a:off x="5626846" y="3455714"/>
                <a:ext cx="925" cy="3749"/>
              </a:xfrm>
              <a:custGeom>
                <a:avLst/>
                <a:gdLst>
                  <a:gd name="connsiteX0" fmla="*/ 0 w 925"/>
                  <a:gd name="connsiteY0" fmla="*/ 1875 h 3749"/>
                  <a:gd name="connsiteX1" fmla="*/ 925 w 925"/>
                  <a:gd name="connsiteY1" fmla="*/ 3749 h 3749"/>
                  <a:gd name="connsiteX2" fmla="*/ 925 w 925"/>
                  <a:gd name="connsiteY2" fmla="*/ 0 h 3749"/>
                  <a:gd name="connsiteX3" fmla="*/ 0 w 925"/>
                  <a:gd name="connsiteY3" fmla="*/ 0 h 3749"/>
                  <a:gd name="connsiteX4" fmla="*/ 0 w 925"/>
                  <a:gd name="connsiteY4" fmla="*/ 1875 h 37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25" h="3749">
                    <a:moveTo>
                      <a:pt x="0" y="1875"/>
                    </a:moveTo>
                    <a:cubicBezTo>
                      <a:pt x="0" y="1875"/>
                      <a:pt x="0" y="3749"/>
                      <a:pt x="925" y="3749"/>
                    </a:cubicBezTo>
                    <a:lnTo>
                      <a:pt x="925" y="0"/>
                    </a:lnTo>
                    <a:lnTo>
                      <a:pt x="0" y="0"/>
                    </a:lnTo>
                    <a:lnTo>
                      <a:pt x="0" y="1875"/>
                    </a:ln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77" name="Freihandform: Form 776">
                <a:extLst>
                  <a:ext uri="{FF2B5EF4-FFF2-40B4-BE49-F238E27FC236}">
                    <a16:creationId xmlns:a16="http://schemas.microsoft.com/office/drawing/2014/main" id="{EEAF2E73-9890-0B81-A5BA-FEB42D9AA6CE}"/>
                  </a:ext>
                </a:extLst>
              </p:cNvPr>
              <p:cNvSpPr/>
              <p:nvPr/>
            </p:nvSpPr>
            <p:spPr>
              <a:xfrm>
                <a:off x="5630170" y="3411664"/>
                <a:ext cx="8858" cy="17806"/>
              </a:xfrm>
              <a:custGeom>
                <a:avLst/>
                <a:gdLst>
                  <a:gd name="connsiteX0" fmla="*/ 6986 w 8858"/>
                  <a:gd name="connsiteY0" fmla="*/ 936 h 17806"/>
                  <a:gd name="connsiteX1" fmla="*/ 421 w 8858"/>
                  <a:gd name="connsiteY1" fmla="*/ 14059 h 17806"/>
                  <a:gd name="connsiteX2" fmla="*/ 421 w 8858"/>
                  <a:gd name="connsiteY2" fmla="*/ 14995 h 17806"/>
                  <a:gd name="connsiteX3" fmla="*/ 421 w 8858"/>
                  <a:gd name="connsiteY3" fmla="*/ 17806 h 17806"/>
                  <a:gd name="connsiteX4" fmla="*/ 1346 w 8858"/>
                  <a:gd name="connsiteY4" fmla="*/ 15931 h 17806"/>
                  <a:gd name="connsiteX5" fmla="*/ 8858 w 8858"/>
                  <a:gd name="connsiteY5" fmla="*/ 1875 h 17806"/>
                  <a:gd name="connsiteX6" fmla="*/ 7911 w 8858"/>
                  <a:gd name="connsiteY6" fmla="*/ 0 h 17806"/>
                  <a:gd name="connsiteX7" fmla="*/ 6986 w 8858"/>
                  <a:gd name="connsiteY7" fmla="*/ 936 h 178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858" h="17806">
                    <a:moveTo>
                      <a:pt x="6986" y="936"/>
                    </a:moveTo>
                    <a:cubicBezTo>
                      <a:pt x="4166" y="4686"/>
                      <a:pt x="1346" y="10310"/>
                      <a:pt x="421" y="14059"/>
                    </a:cubicBezTo>
                    <a:cubicBezTo>
                      <a:pt x="421" y="14995"/>
                      <a:pt x="-526" y="14995"/>
                      <a:pt x="421" y="14995"/>
                    </a:cubicBezTo>
                    <a:lnTo>
                      <a:pt x="421" y="17806"/>
                    </a:lnTo>
                    <a:cubicBezTo>
                      <a:pt x="421" y="17806"/>
                      <a:pt x="1346" y="17806"/>
                      <a:pt x="1346" y="15931"/>
                    </a:cubicBezTo>
                    <a:cubicBezTo>
                      <a:pt x="6986" y="14059"/>
                      <a:pt x="7911" y="8435"/>
                      <a:pt x="8858" y="1875"/>
                    </a:cubicBezTo>
                    <a:cubicBezTo>
                      <a:pt x="8858" y="1875"/>
                      <a:pt x="7911" y="936"/>
                      <a:pt x="7911" y="0"/>
                    </a:cubicBezTo>
                    <a:cubicBezTo>
                      <a:pt x="7911" y="0"/>
                      <a:pt x="6986" y="0"/>
                      <a:pt x="6986" y="936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78" name="Freihandform: Form 777">
                <a:extLst>
                  <a:ext uri="{FF2B5EF4-FFF2-40B4-BE49-F238E27FC236}">
                    <a16:creationId xmlns:a16="http://schemas.microsoft.com/office/drawing/2014/main" id="{5045061E-7071-DA98-C85F-9AB1B6958C97}"/>
                  </a:ext>
                </a:extLst>
              </p:cNvPr>
              <p:cNvSpPr/>
              <p:nvPr/>
            </p:nvSpPr>
            <p:spPr>
              <a:xfrm>
                <a:off x="5626846" y="3434535"/>
                <a:ext cx="2797" cy="4309"/>
              </a:xfrm>
              <a:custGeom>
                <a:avLst/>
                <a:gdLst>
                  <a:gd name="connsiteX0" fmla="*/ 2798 w 2797"/>
                  <a:gd name="connsiteY0" fmla="*/ 2435 h 4309"/>
                  <a:gd name="connsiteX1" fmla="*/ 0 w 2797"/>
                  <a:gd name="connsiteY1" fmla="*/ 560 h 4309"/>
                  <a:gd name="connsiteX2" fmla="*/ 0 w 2797"/>
                  <a:gd name="connsiteY2" fmla="*/ 4309 h 4309"/>
                  <a:gd name="connsiteX3" fmla="*/ 925 w 2797"/>
                  <a:gd name="connsiteY3" fmla="*/ 4309 h 4309"/>
                  <a:gd name="connsiteX4" fmla="*/ 2798 w 2797"/>
                  <a:gd name="connsiteY4" fmla="*/ 2435 h 43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97" h="4309">
                    <a:moveTo>
                      <a:pt x="2798" y="2435"/>
                    </a:moveTo>
                    <a:cubicBezTo>
                      <a:pt x="925" y="-376"/>
                      <a:pt x="0" y="-376"/>
                      <a:pt x="0" y="560"/>
                    </a:cubicBezTo>
                    <a:lnTo>
                      <a:pt x="0" y="4309"/>
                    </a:lnTo>
                    <a:lnTo>
                      <a:pt x="925" y="4309"/>
                    </a:lnTo>
                    <a:cubicBezTo>
                      <a:pt x="2798" y="3371"/>
                      <a:pt x="2798" y="2435"/>
                      <a:pt x="2798" y="2435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79" name="Freihandform: Form 778">
                <a:extLst>
                  <a:ext uri="{FF2B5EF4-FFF2-40B4-BE49-F238E27FC236}">
                    <a16:creationId xmlns:a16="http://schemas.microsoft.com/office/drawing/2014/main" id="{575DF739-F650-3788-DC19-E8EAC203FB21}"/>
                  </a:ext>
                </a:extLst>
              </p:cNvPr>
              <p:cNvSpPr/>
              <p:nvPr/>
            </p:nvSpPr>
            <p:spPr>
              <a:xfrm>
                <a:off x="5619860" y="3464149"/>
                <a:ext cx="6038" cy="7498"/>
              </a:xfrm>
              <a:custGeom>
                <a:avLst/>
                <a:gdLst>
                  <a:gd name="connsiteX0" fmla="*/ 1346 w 6038"/>
                  <a:gd name="connsiteY0" fmla="*/ 2811 h 7498"/>
                  <a:gd name="connsiteX1" fmla="*/ 421 w 6038"/>
                  <a:gd name="connsiteY1" fmla="*/ 5624 h 7498"/>
                  <a:gd name="connsiteX2" fmla="*/ 421 w 6038"/>
                  <a:gd name="connsiteY2" fmla="*/ 7499 h 7498"/>
                  <a:gd name="connsiteX3" fmla="*/ 1346 w 6038"/>
                  <a:gd name="connsiteY3" fmla="*/ 7499 h 7498"/>
                  <a:gd name="connsiteX4" fmla="*/ 6038 w 6038"/>
                  <a:gd name="connsiteY4" fmla="*/ 6560 h 7498"/>
                  <a:gd name="connsiteX5" fmla="*/ 6038 w 6038"/>
                  <a:gd name="connsiteY5" fmla="*/ 2811 h 7498"/>
                  <a:gd name="connsiteX6" fmla="*/ 4166 w 6038"/>
                  <a:gd name="connsiteY6" fmla="*/ 0 h 7498"/>
                  <a:gd name="connsiteX7" fmla="*/ 1346 w 6038"/>
                  <a:gd name="connsiteY7" fmla="*/ 2811 h 7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038" h="7498">
                    <a:moveTo>
                      <a:pt x="1346" y="2811"/>
                    </a:moveTo>
                    <a:cubicBezTo>
                      <a:pt x="421" y="2811"/>
                      <a:pt x="421" y="3749"/>
                      <a:pt x="421" y="5624"/>
                    </a:cubicBezTo>
                    <a:cubicBezTo>
                      <a:pt x="-526" y="6560"/>
                      <a:pt x="421" y="7499"/>
                      <a:pt x="421" y="7499"/>
                    </a:cubicBezTo>
                    <a:lnTo>
                      <a:pt x="1346" y="7499"/>
                    </a:lnTo>
                    <a:cubicBezTo>
                      <a:pt x="3241" y="7499"/>
                      <a:pt x="4166" y="6560"/>
                      <a:pt x="6038" y="6560"/>
                    </a:cubicBezTo>
                    <a:lnTo>
                      <a:pt x="6038" y="2811"/>
                    </a:lnTo>
                    <a:cubicBezTo>
                      <a:pt x="6038" y="2811"/>
                      <a:pt x="4166" y="1875"/>
                      <a:pt x="4166" y="0"/>
                    </a:cubicBezTo>
                    <a:cubicBezTo>
                      <a:pt x="3241" y="1875"/>
                      <a:pt x="1346" y="1875"/>
                      <a:pt x="1346" y="2811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80" name="Freihandform: Form 779">
                <a:extLst>
                  <a:ext uri="{FF2B5EF4-FFF2-40B4-BE49-F238E27FC236}">
                    <a16:creationId xmlns:a16="http://schemas.microsoft.com/office/drawing/2014/main" id="{0223EA69-338B-ACB0-C332-50A3F2A889F7}"/>
                  </a:ext>
                </a:extLst>
              </p:cNvPr>
              <p:cNvSpPr/>
              <p:nvPr/>
            </p:nvSpPr>
            <p:spPr>
              <a:xfrm>
                <a:off x="5623101" y="3445016"/>
                <a:ext cx="2797" cy="4137"/>
              </a:xfrm>
              <a:custGeom>
                <a:avLst/>
                <a:gdLst>
                  <a:gd name="connsiteX0" fmla="*/ 2798 w 2797"/>
                  <a:gd name="connsiteY0" fmla="*/ 1326 h 4137"/>
                  <a:gd name="connsiteX1" fmla="*/ 925 w 2797"/>
                  <a:gd name="connsiteY1" fmla="*/ 388 h 4137"/>
                  <a:gd name="connsiteX2" fmla="*/ 0 w 2797"/>
                  <a:gd name="connsiteY2" fmla="*/ 3199 h 4137"/>
                  <a:gd name="connsiteX3" fmla="*/ 925 w 2797"/>
                  <a:gd name="connsiteY3" fmla="*/ 4137 h 4137"/>
                  <a:gd name="connsiteX4" fmla="*/ 2798 w 2797"/>
                  <a:gd name="connsiteY4" fmla="*/ 1326 h 41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97" h="4137">
                    <a:moveTo>
                      <a:pt x="2798" y="1326"/>
                    </a:moveTo>
                    <a:cubicBezTo>
                      <a:pt x="2798" y="388"/>
                      <a:pt x="2798" y="-549"/>
                      <a:pt x="925" y="388"/>
                    </a:cubicBezTo>
                    <a:cubicBezTo>
                      <a:pt x="0" y="388"/>
                      <a:pt x="0" y="1326"/>
                      <a:pt x="0" y="3199"/>
                    </a:cubicBezTo>
                    <a:lnTo>
                      <a:pt x="925" y="4137"/>
                    </a:lnTo>
                    <a:cubicBezTo>
                      <a:pt x="925" y="4137"/>
                      <a:pt x="2798" y="3199"/>
                      <a:pt x="2798" y="1326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81" name="Freihandform: Form 780">
                <a:extLst>
                  <a:ext uri="{FF2B5EF4-FFF2-40B4-BE49-F238E27FC236}">
                    <a16:creationId xmlns:a16="http://schemas.microsoft.com/office/drawing/2014/main" id="{9243B1ED-CCB9-6FBB-5DB5-CE061A8CD66B}"/>
                  </a:ext>
                </a:extLst>
              </p:cNvPr>
              <p:cNvSpPr/>
              <p:nvPr/>
            </p:nvSpPr>
            <p:spPr>
              <a:xfrm>
                <a:off x="5635283" y="3430409"/>
                <a:ext cx="3744" cy="6560"/>
              </a:xfrm>
              <a:custGeom>
                <a:avLst/>
                <a:gdLst>
                  <a:gd name="connsiteX0" fmla="*/ 0 w 3744"/>
                  <a:gd name="connsiteY0" fmla="*/ 6560 h 6560"/>
                  <a:gd name="connsiteX1" fmla="*/ 3745 w 3744"/>
                  <a:gd name="connsiteY1" fmla="*/ 2811 h 6560"/>
                  <a:gd name="connsiteX2" fmla="*/ 3745 w 3744"/>
                  <a:gd name="connsiteY2" fmla="*/ 0 h 6560"/>
                  <a:gd name="connsiteX3" fmla="*/ 0 w 3744"/>
                  <a:gd name="connsiteY3" fmla="*/ 6560 h 6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744" h="6560">
                    <a:moveTo>
                      <a:pt x="0" y="6560"/>
                    </a:moveTo>
                    <a:cubicBezTo>
                      <a:pt x="2798" y="6560"/>
                      <a:pt x="3745" y="4686"/>
                      <a:pt x="3745" y="2811"/>
                    </a:cubicBezTo>
                    <a:lnTo>
                      <a:pt x="3745" y="0"/>
                    </a:lnTo>
                    <a:cubicBezTo>
                      <a:pt x="0" y="936"/>
                      <a:pt x="0" y="3749"/>
                      <a:pt x="0" y="6560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82" name="Freihandform: Form 781">
                <a:extLst>
                  <a:ext uri="{FF2B5EF4-FFF2-40B4-BE49-F238E27FC236}">
                    <a16:creationId xmlns:a16="http://schemas.microsoft.com/office/drawing/2014/main" id="{880820DF-4EE3-CFFB-43C0-FE1AD120FA64}"/>
                  </a:ext>
                </a:extLst>
              </p:cNvPr>
              <p:cNvSpPr/>
              <p:nvPr/>
            </p:nvSpPr>
            <p:spPr>
              <a:xfrm>
                <a:off x="5639028" y="3427596"/>
                <a:ext cx="2797" cy="2813"/>
              </a:xfrm>
              <a:custGeom>
                <a:avLst/>
                <a:gdLst>
                  <a:gd name="connsiteX0" fmla="*/ 1872 w 2797"/>
                  <a:gd name="connsiteY0" fmla="*/ 0 h 2813"/>
                  <a:gd name="connsiteX1" fmla="*/ 0 w 2797"/>
                  <a:gd name="connsiteY1" fmla="*/ 2813 h 2813"/>
                  <a:gd name="connsiteX2" fmla="*/ 2798 w 2797"/>
                  <a:gd name="connsiteY2" fmla="*/ 1877 h 2813"/>
                  <a:gd name="connsiteX3" fmla="*/ 1872 w 2797"/>
                  <a:gd name="connsiteY3" fmla="*/ 0 h 28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797" h="2813">
                    <a:moveTo>
                      <a:pt x="1872" y="0"/>
                    </a:moveTo>
                    <a:cubicBezTo>
                      <a:pt x="1872" y="0"/>
                      <a:pt x="1872" y="1877"/>
                      <a:pt x="0" y="2813"/>
                    </a:cubicBezTo>
                    <a:cubicBezTo>
                      <a:pt x="1255" y="2188"/>
                      <a:pt x="2181" y="1877"/>
                      <a:pt x="2798" y="1877"/>
                    </a:cubicBezTo>
                    <a:cubicBezTo>
                      <a:pt x="2798" y="0"/>
                      <a:pt x="1872" y="0"/>
                      <a:pt x="187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83" name="Freihandform: Form 782">
                <a:extLst>
                  <a:ext uri="{FF2B5EF4-FFF2-40B4-BE49-F238E27FC236}">
                    <a16:creationId xmlns:a16="http://schemas.microsoft.com/office/drawing/2014/main" id="{5F207B59-EDE1-B260-D764-C325E02CB312}"/>
                  </a:ext>
                </a:extLst>
              </p:cNvPr>
              <p:cNvSpPr/>
              <p:nvPr/>
            </p:nvSpPr>
            <p:spPr>
              <a:xfrm>
                <a:off x="5633411" y="3436969"/>
                <a:ext cx="1872" cy="5102"/>
              </a:xfrm>
              <a:custGeom>
                <a:avLst/>
                <a:gdLst>
                  <a:gd name="connsiteX0" fmla="*/ 0 w 1872"/>
                  <a:gd name="connsiteY0" fmla="*/ 1875 h 5102"/>
                  <a:gd name="connsiteX1" fmla="*/ 925 w 1872"/>
                  <a:gd name="connsiteY1" fmla="*/ 4686 h 5102"/>
                  <a:gd name="connsiteX2" fmla="*/ 1873 w 1872"/>
                  <a:gd name="connsiteY2" fmla="*/ 4686 h 5102"/>
                  <a:gd name="connsiteX3" fmla="*/ 1873 w 1872"/>
                  <a:gd name="connsiteY3" fmla="*/ 0 h 5102"/>
                  <a:gd name="connsiteX4" fmla="*/ 0 w 1872"/>
                  <a:gd name="connsiteY4" fmla="*/ 1875 h 5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72" h="5102">
                    <a:moveTo>
                      <a:pt x="0" y="1875"/>
                    </a:moveTo>
                    <a:cubicBezTo>
                      <a:pt x="0" y="3749"/>
                      <a:pt x="0" y="4686"/>
                      <a:pt x="925" y="4686"/>
                    </a:cubicBezTo>
                    <a:cubicBezTo>
                      <a:pt x="925" y="5624"/>
                      <a:pt x="1873" y="4686"/>
                      <a:pt x="1873" y="4686"/>
                    </a:cubicBezTo>
                    <a:lnTo>
                      <a:pt x="1873" y="0"/>
                    </a:lnTo>
                    <a:cubicBezTo>
                      <a:pt x="925" y="936"/>
                      <a:pt x="0" y="936"/>
                      <a:pt x="0" y="1875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84" name="Freihandform: Form 783">
                <a:extLst>
                  <a:ext uri="{FF2B5EF4-FFF2-40B4-BE49-F238E27FC236}">
                    <a16:creationId xmlns:a16="http://schemas.microsoft.com/office/drawing/2014/main" id="{0072FF5C-7AFE-4832-AE78-C20BF9912F96}"/>
                  </a:ext>
                </a:extLst>
              </p:cNvPr>
              <p:cNvSpPr/>
              <p:nvPr/>
            </p:nvSpPr>
            <p:spPr>
              <a:xfrm>
                <a:off x="5763669" y="3178292"/>
                <a:ext cx="6564" cy="9373"/>
              </a:xfrm>
              <a:custGeom>
                <a:avLst/>
                <a:gdLst>
                  <a:gd name="connsiteX0" fmla="*/ 0 w 6564"/>
                  <a:gd name="connsiteY0" fmla="*/ 6560 h 9373"/>
                  <a:gd name="connsiteX1" fmla="*/ 1873 w 6564"/>
                  <a:gd name="connsiteY1" fmla="*/ 9373 h 9373"/>
                  <a:gd name="connsiteX2" fmla="*/ 2820 w 6564"/>
                  <a:gd name="connsiteY2" fmla="*/ 9373 h 9373"/>
                  <a:gd name="connsiteX3" fmla="*/ 6565 w 6564"/>
                  <a:gd name="connsiteY3" fmla="*/ 0 h 9373"/>
                  <a:gd name="connsiteX4" fmla="*/ 1873 w 6564"/>
                  <a:gd name="connsiteY4" fmla="*/ 3749 h 9373"/>
                  <a:gd name="connsiteX5" fmla="*/ 0 w 6564"/>
                  <a:gd name="connsiteY5" fmla="*/ 6560 h 9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564" h="9373">
                    <a:moveTo>
                      <a:pt x="0" y="6560"/>
                    </a:moveTo>
                    <a:cubicBezTo>
                      <a:pt x="0" y="7499"/>
                      <a:pt x="0" y="9373"/>
                      <a:pt x="1873" y="9373"/>
                    </a:cubicBezTo>
                    <a:lnTo>
                      <a:pt x="2820" y="9373"/>
                    </a:lnTo>
                    <a:cubicBezTo>
                      <a:pt x="5640" y="6560"/>
                      <a:pt x="6565" y="3749"/>
                      <a:pt x="6565" y="0"/>
                    </a:cubicBezTo>
                    <a:cubicBezTo>
                      <a:pt x="3745" y="1875"/>
                      <a:pt x="2820" y="2811"/>
                      <a:pt x="1873" y="3749"/>
                    </a:cubicBezTo>
                    <a:cubicBezTo>
                      <a:pt x="639" y="4998"/>
                      <a:pt x="0" y="5937"/>
                      <a:pt x="0" y="6560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85" name="Freihandform: Form 784">
                <a:extLst>
                  <a:ext uri="{FF2B5EF4-FFF2-40B4-BE49-F238E27FC236}">
                    <a16:creationId xmlns:a16="http://schemas.microsoft.com/office/drawing/2014/main" id="{6A915048-976D-264D-EA85-A8ED2585FF09}"/>
                  </a:ext>
                </a:extLst>
              </p:cNvPr>
              <p:cNvSpPr/>
              <p:nvPr/>
            </p:nvSpPr>
            <p:spPr>
              <a:xfrm>
                <a:off x="5642773" y="3430409"/>
                <a:ext cx="6564" cy="12184"/>
              </a:xfrm>
              <a:custGeom>
                <a:avLst/>
                <a:gdLst>
                  <a:gd name="connsiteX0" fmla="*/ 0 w 6564"/>
                  <a:gd name="connsiteY0" fmla="*/ 8435 h 12184"/>
                  <a:gd name="connsiteX1" fmla="*/ 0 w 6564"/>
                  <a:gd name="connsiteY1" fmla="*/ 12184 h 12184"/>
                  <a:gd name="connsiteX2" fmla="*/ 1872 w 6564"/>
                  <a:gd name="connsiteY2" fmla="*/ 12184 h 12184"/>
                  <a:gd name="connsiteX3" fmla="*/ 6565 w 6564"/>
                  <a:gd name="connsiteY3" fmla="*/ 0 h 12184"/>
                  <a:gd name="connsiteX4" fmla="*/ 0 w 6564"/>
                  <a:gd name="connsiteY4" fmla="*/ 8435 h 12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564" h="12184">
                    <a:moveTo>
                      <a:pt x="0" y="8435"/>
                    </a:moveTo>
                    <a:lnTo>
                      <a:pt x="0" y="12184"/>
                    </a:lnTo>
                    <a:lnTo>
                      <a:pt x="1872" y="12184"/>
                    </a:lnTo>
                    <a:cubicBezTo>
                      <a:pt x="2820" y="8435"/>
                      <a:pt x="6565" y="4686"/>
                      <a:pt x="6565" y="0"/>
                    </a:cubicBezTo>
                    <a:cubicBezTo>
                      <a:pt x="2820" y="936"/>
                      <a:pt x="0" y="3749"/>
                      <a:pt x="0" y="8435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86" name="Freihandform: Form 785">
                <a:extLst>
                  <a:ext uri="{FF2B5EF4-FFF2-40B4-BE49-F238E27FC236}">
                    <a16:creationId xmlns:a16="http://schemas.microsoft.com/office/drawing/2014/main" id="{12F652A0-6C07-D9EC-F1E3-F163FA62A6F5}"/>
                  </a:ext>
                </a:extLst>
              </p:cNvPr>
              <p:cNvSpPr/>
              <p:nvPr/>
            </p:nvSpPr>
            <p:spPr>
              <a:xfrm>
                <a:off x="5649338" y="3417286"/>
                <a:ext cx="6564" cy="13122"/>
              </a:xfrm>
              <a:custGeom>
                <a:avLst/>
                <a:gdLst>
                  <a:gd name="connsiteX0" fmla="*/ 2798 w 6564"/>
                  <a:gd name="connsiteY0" fmla="*/ 10310 h 13122"/>
                  <a:gd name="connsiteX1" fmla="*/ 6564 w 6564"/>
                  <a:gd name="connsiteY1" fmla="*/ 4688 h 13122"/>
                  <a:gd name="connsiteX2" fmla="*/ 4692 w 6564"/>
                  <a:gd name="connsiteY2" fmla="*/ 0 h 13122"/>
                  <a:gd name="connsiteX3" fmla="*/ 3745 w 6564"/>
                  <a:gd name="connsiteY3" fmla="*/ 1875 h 13122"/>
                  <a:gd name="connsiteX4" fmla="*/ 0 w 6564"/>
                  <a:gd name="connsiteY4" fmla="*/ 8437 h 13122"/>
                  <a:gd name="connsiteX5" fmla="*/ 0 w 6564"/>
                  <a:gd name="connsiteY5" fmla="*/ 13123 h 13122"/>
                  <a:gd name="connsiteX6" fmla="*/ 2798 w 6564"/>
                  <a:gd name="connsiteY6" fmla="*/ 10310 h 131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564" h="13122">
                    <a:moveTo>
                      <a:pt x="2798" y="10310"/>
                    </a:moveTo>
                    <a:cubicBezTo>
                      <a:pt x="3745" y="9373"/>
                      <a:pt x="4692" y="6562"/>
                      <a:pt x="6564" y="4688"/>
                    </a:cubicBezTo>
                    <a:cubicBezTo>
                      <a:pt x="6564" y="2813"/>
                      <a:pt x="6564" y="1875"/>
                      <a:pt x="4692" y="0"/>
                    </a:cubicBezTo>
                    <a:cubicBezTo>
                      <a:pt x="4692" y="0"/>
                      <a:pt x="3745" y="0"/>
                      <a:pt x="3745" y="1875"/>
                    </a:cubicBezTo>
                    <a:cubicBezTo>
                      <a:pt x="925" y="2813"/>
                      <a:pt x="0" y="5624"/>
                      <a:pt x="0" y="8437"/>
                    </a:cubicBezTo>
                    <a:lnTo>
                      <a:pt x="0" y="13123"/>
                    </a:lnTo>
                    <a:cubicBezTo>
                      <a:pt x="925" y="12184"/>
                      <a:pt x="2798" y="12184"/>
                      <a:pt x="2798" y="10310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87" name="Freihandform: Form 786">
                <a:extLst>
                  <a:ext uri="{FF2B5EF4-FFF2-40B4-BE49-F238E27FC236}">
                    <a16:creationId xmlns:a16="http://schemas.microsoft.com/office/drawing/2014/main" id="{FB6E8271-71F3-7A37-93C7-EA8D3D8C1EB3}"/>
                  </a:ext>
                </a:extLst>
              </p:cNvPr>
              <p:cNvSpPr/>
              <p:nvPr/>
            </p:nvSpPr>
            <p:spPr>
              <a:xfrm>
                <a:off x="5616536" y="3490392"/>
                <a:ext cx="6564" cy="11245"/>
              </a:xfrm>
              <a:custGeom>
                <a:avLst/>
                <a:gdLst>
                  <a:gd name="connsiteX0" fmla="*/ 0 w 6564"/>
                  <a:gd name="connsiteY0" fmla="*/ 9371 h 11245"/>
                  <a:gd name="connsiteX1" fmla="*/ 0 w 6564"/>
                  <a:gd name="connsiteY1" fmla="*/ 11246 h 11245"/>
                  <a:gd name="connsiteX2" fmla="*/ 2798 w 6564"/>
                  <a:gd name="connsiteY2" fmla="*/ 10310 h 11245"/>
                  <a:gd name="connsiteX3" fmla="*/ 6565 w 6564"/>
                  <a:gd name="connsiteY3" fmla="*/ 0 h 11245"/>
                  <a:gd name="connsiteX4" fmla="*/ 0 w 6564"/>
                  <a:gd name="connsiteY4" fmla="*/ 9371 h 112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564" h="11245">
                    <a:moveTo>
                      <a:pt x="0" y="9371"/>
                    </a:moveTo>
                    <a:lnTo>
                      <a:pt x="0" y="11246"/>
                    </a:lnTo>
                    <a:cubicBezTo>
                      <a:pt x="617" y="11246"/>
                      <a:pt x="1564" y="10933"/>
                      <a:pt x="2798" y="10310"/>
                    </a:cubicBezTo>
                    <a:cubicBezTo>
                      <a:pt x="3745" y="6560"/>
                      <a:pt x="6565" y="3747"/>
                      <a:pt x="6565" y="0"/>
                    </a:cubicBezTo>
                    <a:cubicBezTo>
                      <a:pt x="925" y="2811"/>
                      <a:pt x="0" y="3747"/>
                      <a:pt x="0" y="9371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88" name="Freihandform: Form 787">
                <a:extLst>
                  <a:ext uri="{FF2B5EF4-FFF2-40B4-BE49-F238E27FC236}">
                    <a16:creationId xmlns:a16="http://schemas.microsoft.com/office/drawing/2014/main" id="{9F93FBA2-CB13-0430-2BC8-3C843BFB8A0A}"/>
                  </a:ext>
                </a:extLst>
              </p:cNvPr>
              <p:cNvSpPr/>
              <p:nvPr/>
            </p:nvSpPr>
            <p:spPr>
              <a:xfrm>
                <a:off x="5623101" y="3484768"/>
                <a:ext cx="2797" cy="5623"/>
              </a:xfrm>
              <a:custGeom>
                <a:avLst/>
                <a:gdLst>
                  <a:gd name="connsiteX0" fmla="*/ 0 w 2797"/>
                  <a:gd name="connsiteY0" fmla="*/ 938 h 5623"/>
                  <a:gd name="connsiteX1" fmla="*/ 0 w 2797"/>
                  <a:gd name="connsiteY1" fmla="*/ 5624 h 5623"/>
                  <a:gd name="connsiteX2" fmla="*/ 2798 w 2797"/>
                  <a:gd name="connsiteY2" fmla="*/ 1875 h 5623"/>
                  <a:gd name="connsiteX3" fmla="*/ 925 w 2797"/>
                  <a:gd name="connsiteY3" fmla="*/ 0 h 5623"/>
                  <a:gd name="connsiteX4" fmla="*/ 0 w 2797"/>
                  <a:gd name="connsiteY4" fmla="*/ 938 h 5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97" h="5623">
                    <a:moveTo>
                      <a:pt x="0" y="938"/>
                    </a:moveTo>
                    <a:lnTo>
                      <a:pt x="0" y="5624"/>
                    </a:lnTo>
                    <a:cubicBezTo>
                      <a:pt x="925" y="4686"/>
                      <a:pt x="2798" y="3749"/>
                      <a:pt x="2798" y="1875"/>
                    </a:cubicBezTo>
                    <a:cubicBezTo>
                      <a:pt x="2798" y="1249"/>
                      <a:pt x="2181" y="626"/>
                      <a:pt x="925" y="0"/>
                    </a:cubicBezTo>
                    <a:lnTo>
                      <a:pt x="0" y="938"/>
                    </a:ln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89" name="Freihandform: Form 788">
                <a:extLst>
                  <a:ext uri="{FF2B5EF4-FFF2-40B4-BE49-F238E27FC236}">
                    <a16:creationId xmlns:a16="http://schemas.microsoft.com/office/drawing/2014/main" id="{E66132E6-C309-F880-A829-5D8E5B6BBB7E}"/>
                  </a:ext>
                </a:extLst>
              </p:cNvPr>
              <p:cNvSpPr/>
              <p:nvPr/>
            </p:nvSpPr>
            <p:spPr>
              <a:xfrm>
                <a:off x="5645593" y="3409789"/>
                <a:ext cx="3745" cy="6560"/>
              </a:xfrm>
              <a:custGeom>
                <a:avLst/>
                <a:gdLst>
                  <a:gd name="connsiteX0" fmla="*/ 925 w 3745"/>
                  <a:gd name="connsiteY0" fmla="*/ 3749 h 6560"/>
                  <a:gd name="connsiteX1" fmla="*/ 0 w 3745"/>
                  <a:gd name="connsiteY1" fmla="*/ 6560 h 6560"/>
                  <a:gd name="connsiteX2" fmla="*/ 3745 w 3745"/>
                  <a:gd name="connsiteY2" fmla="*/ 0 h 6560"/>
                  <a:gd name="connsiteX3" fmla="*/ 925 w 3745"/>
                  <a:gd name="connsiteY3" fmla="*/ 3749 h 6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745" h="6560">
                    <a:moveTo>
                      <a:pt x="925" y="3749"/>
                    </a:moveTo>
                    <a:cubicBezTo>
                      <a:pt x="925" y="3749"/>
                      <a:pt x="925" y="5622"/>
                      <a:pt x="0" y="6560"/>
                    </a:cubicBezTo>
                    <a:cubicBezTo>
                      <a:pt x="3745" y="5622"/>
                      <a:pt x="3745" y="2811"/>
                      <a:pt x="3745" y="0"/>
                    </a:cubicBezTo>
                    <a:cubicBezTo>
                      <a:pt x="2798" y="0"/>
                      <a:pt x="925" y="1875"/>
                      <a:pt x="925" y="3749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90" name="Freihandform: Form 789">
                <a:extLst>
                  <a:ext uri="{FF2B5EF4-FFF2-40B4-BE49-F238E27FC236}">
                    <a16:creationId xmlns:a16="http://schemas.microsoft.com/office/drawing/2014/main" id="{371E76F0-178D-194B-9686-1AEC9B21D429}"/>
                  </a:ext>
                </a:extLst>
              </p:cNvPr>
              <p:cNvSpPr/>
              <p:nvPr/>
            </p:nvSpPr>
            <p:spPr>
              <a:xfrm>
                <a:off x="5644645" y="3417286"/>
                <a:ext cx="947" cy="1874"/>
              </a:xfrm>
              <a:custGeom>
                <a:avLst/>
                <a:gdLst>
                  <a:gd name="connsiteX0" fmla="*/ 0 w 947"/>
                  <a:gd name="connsiteY0" fmla="*/ 1875 h 1874"/>
                  <a:gd name="connsiteX1" fmla="*/ 947 w 947"/>
                  <a:gd name="connsiteY1" fmla="*/ 0 h 1874"/>
                  <a:gd name="connsiteX2" fmla="*/ 0 w 947"/>
                  <a:gd name="connsiteY2" fmla="*/ 0 h 1874"/>
                  <a:gd name="connsiteX3" fmla="*/ 0 w 947"/>
                  <a:gd name="connsiteY3" fmla="*/ 1875 h 1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47" h="1874">
                    <a:moveTo>
                      <a:pt x="0" y="1875"/>
                    </a:moveTo>
                    <a:cubicBezTo>
                      <a:pt x="947" y="1875"/>
                      <a:pt x="947" y="0"/>
                      <a:pt x="947" y="0"/>
                    </a:cubicBezTo>
                    <a:lnTo>
                      <a:pt x="0" y="0"/>
                    </a:lnTo>
                    <a:lnTo>
                      <a:pt x="0" y="1875"/>
                    </a:ln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91" name="Freihandform: Form 790">
                <a:extLst>
                  <a:ext uri="{FF2B5EF4-FFF2-40B4-BE49-F238E27FC236}">
                    <a16:creationId xmlns:a16="http://schemas.microsoft.com/office/drawing/2014/main" id="{1473B25D-27F7-C6C6-005F-7F85148E5776}"/>
                  </a:ext>
                </a:extLst>
              </p:cNvPr>
              <p:cNvSpPr/>
              <p:nvPr/>
            </p:nvSpPr>
            <p:spPr>
              <a:xfrm>
                <a:off x="5649338" y="3407915"/>
                <a:ext cx="2797" cy="1874"/>
              </a:xfrm>
              <a:custGeom>
                <a:avLst/>
                <a:gdLst>
                  <a:gd name="connsiteX0" fmla="*/ 2798 w 2797"/>
                  <a:gd name="connsiteY0" fmla="*/ 938 h 1874"/>
                  <a:gd name="connsiteX1" fmla="*/ 925 w 2797"/>
                  <a:gd name="connsiteY1" fmla="*/ 0 h 1874"/>
                  <a:gd name="connsiteX2" fmla="*/ 0 w 2797"/>
                  <a:gd name="connsiteY2" fmla="*/ 1875 h 1874"/>
                  <a:gd name="connsiteX3" fmla="*/ 2798 w 2797"/>
                  <a:gd name="connsiteY3" fmla="*/ 938 h 1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797" h="1874">
                    <a:moveTo>
                      <a:pt x="2798" y="938"/>
                    </a:moveTo>
                    <a:lnTo>
                      <a:pt x="925" y="0"/>
                    </a:lnTo>
                    <a:cubicBezTo>
                      <a:pt x="925" y="626"/>
                      <a:pt x="617" y="1249"/>
                      <a:pt x="0" y="1875"/>
                    </a:cubicBezTo>
                    <a:cubicBezTo>
                      <a:pt x="925" y="1875"/>
                      <a:pt x="2798" y="938"/>
                      <a:pt x="2798" y="938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92" name="Freihandform: Form 791">
                <a:extLst>
                  <a:ext uri="{FF2B5EF4-FFF2-40B4-BE49-F238E27FC236}">
                    <a16:creationId xmlns:a16="http://schemas.microsoft.com/office/drawing/2014/main" id="{FB35BF38-A7B2-AFD2-905C-C05D7EA45AC5}"/>
                  </a:ext>
                </a:extLst>
              </p:cNvPr>
              <p:cNvSpPr/>
              <p:nvPr/>
            </p:nvSpPr>
            <p:spPr>
              <a:xfrm>
                <a:off x="5733688" y="3262643"/>
                <a:ext cx="2819" cy="6560"/>
              </a:xfrm>
              <a:custGeom>
                <a:avLst/>
                <a:gdLst>
                  <a:gd name="connsiteX0" fmla="*/ 0 w 2819"/>
                  <a:gd name="connsiteY0" fmla="*/ 6560 h 6560"/>
                  <a:gd name="connsiteX1" fmla="*/ 2820 w 2819"/>
                  <a:gd name="connsiteY1" fmla="*/ 2811 h 6560"/>
                  <a:gd name="connsiteX2" fmla="*/ 2820 w 2819"/>
                  <a:gd name="connsiteY2" fmla="*/ 0 h 6560"/>
                  <a:gd name="connsiteX3" fmla="*/ 0 w 2819"/>
                  <a:gd name="connsiteY3" fmla="*/ 0 h 6560"/>
                  <a:gd name="connsiteX4" fmla="*/ 0 w 2819"/>
                  <a:gd name="connsiteY4" fmla="*/ 6560 h 6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19" h="6560">
                    <a:moveTo>
                      <a:pt x="0" y="6560"/>
                    </a:moveTo>
                    <a:cubicBezTo>
                      <a:pt x="925" y="6560"/>
                      <a:pt x="2820" y="5624"/>
                      <a:pt x="2820" y="2811"/>
                    </a:cubicBezTo>
                    <a:lnTo>
                      <a:pt x="2820" y="0"/>
                    </a:lnTo>
                    <a:lnTo>
                      <a:pt x="0" y="0"/>
                    </a:lnTo>
                    <a:lnTo>
                      <a:pt x="0" y="6560"/>
                    </a:ln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93" name="Freihandform: Form 792">
                <a:extLst>
                  <a:ext uri="{FF2B5EF4-FFF2-40B4-BE49-F238E27FC236}">
                    <a16:creationId xmlns:a16="http://schemas.microsoft.com/office/drawing/2014/main" id="{238A6111-B39B-E062-77B7-B0743113C4B7}"/>
                  </a:ext>
                </a:extLst>
              </p:cNvPr>
              <p:cNvSpPr/>
              <p:nvPr/>
            </p:nvSpPr>
            <p:spPr>
              <a:xfrm>
                <a:off x="5615589" y="3453839"/>
                <a:ext cx="4692" cy="9373"/>
              </a:xfrm>
              <a:custGeom>
                <a:avLst/>
                <a:gdLst>
                  <a:gd name="connsiteX0" fmla="*/ 947 w 4692"/>
                  <a:gd name="connsiteY0" fmla="*/ 2811 h 9373"/>
                  <a:gd name="connsiteX1" fmla="*/ 0 w 4692"/>
                  <a:gd name="connsiteY1" fmla="*/ 9374 h 9373"/>
                  <a:gd name="connsiteX2" fmla="*/ 1873 w 4692"/>
                  <a:gd name="connsiteY2" fmla="*/ 7499 h 9373"/>
                  <a:gd name="connsiteX3" fmla="*/ 4692 w 4692"/>
                  <a:gd name="connsiteY3" fmla="*/ 3749 h 9373"/>
                  <a:gd name="connsiteX4" fmla="*/ 4692 w 4692"/>
                  <a:gd name="connsiteY4" fmla="*/ 0 h 9373"/>
                  <a:gd name="connsiteX5" fmla="*/ 3745 w 4692"/>
                  <a:gd name="connsiteY5" fmla="*/ 0 h 9373"/>
                  <a:gd name="connsiteX6" fmla="*/ 947 w 4692"/>
                  <a:gd name="connsiteY6" fmla="*/ 2811 h 9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692" h="9373">
                    <a:moveTo>
                      <a:pt x="947" y="2811"/>
                    </a:moveTo>
                    <a:cubicBezTo>
                      <a:pt x="947" y="5624"/>
                      <a:pt x="947" y="7499"/>
                      <a:pt x="0" y="9374"/>
                    </a:cubicBezTo>
                    <a:cubicBezTo>
                      <a:pt x="947" y="9374"/>
                      <a:pt x="1873" y="9374"/>
                      <a:pt x="1873" y="7499"/>
                    </a:cubicBezTo>
                    <a:cubicBezTo>
                      <a:pt x="3745" y="6560"/>
                      <a:pt x="4692" y="5624"/>
                      <a:pt x="4692" y="3749"/>
                    </a:cubicBezTo>
                    <a:lnTo>
                      <a:pt x="4692" y="0"/>
                    </a:lnTo>
                    <a:lnTo>
                      <a:pt x="3745" y="0"/>
                    </a:lnTo>
                    <a:cubicBezTo>
                      <a:pt x="1873" y="0"/>
                      <a:pt x="947" y="1875"/>
                      <a:pt x="947" y="2811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94" name="Freihandform: Form 793">
                <a:extLst>
                  <a:ext uri="{FF2B5EF4-FFF2-40B4-BE49-F238E27FC236}">
                    <a16:creationId xmlns:a16="http://schemas.microsoft.com/office/drawing/2014/main" id="{702F4850-F308-AB2C-82AE-81B30C075CF3}"/>
                  </a:ext>
                </a:extLst>
              </p:cNvPr>
              <p:cNvSpPr/>
              <p:nvPr/>
            </p:nvSpPr>
            <p:spPr>
              <a:xfrm>
                <a:off x="5736507" y="3260769"/>
                <a:ext cx="1872" cy="1874"/>
              </a:xfrm>
              <a:custGeom>
                <a:avLst/>
                <a:gdLst>
                  <a:gd name="connsiteX0" fmla="*/ 925 w 1872"/>
                  <a:gd name="connsiteY0" fmla="*/ 0 h 1874"/>
                  <a:gd name="connsiteX1" fmla="*/ 0 w 1872"/>
                  <a:gd name="connsiteY1" fmla="*/ 1875 h 1874"/>
                  <a:gd name="connsiteX2" fmla="*/ 1873 w 1872"/>
                  <a:gd name="connsiteY2" fmla="*/ 938 h 1874"/>
                  <a:gd name="connsiteX3" fmla="*/ 925 w 1872"/>
                  <a:gd name="connsiteY3" fmla="*/ 0 h 1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72" h="1874">
                    <a:moveTo>
                      <a:pt x="925" y="0"/>
                    </a:moveTo>
                    <a:cubicBezTo>
                      <a:pt x="0" y="0"/>
                      <a:pt x="0" y="938"/>
                      <a:pt x="0" y="1875"/>
                    </a:cubicBezTo>
                    <a:cubicBezTo>
                      <a:pt x="925" y="1875"/>
                      <a:pt x="1873" y="938"/>
                      <a:pt x="1873" y="938"/>
                    </a:cubicBezTo>
                    <a:cubicBezTo>
                      <a:pt x="1873" y="313"/>
                      <a:pt x="1542" y="0"/>
                      <a:pt x="925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95" name="Freihandform: Form 794">
                <a:extLst>
                  <a:ext uri="{FF2B5EF4-FFF2-40B4-BE49-F238E27FC236}">
                    <a16:creationId xmlns:a16="http://schemas.microsoft.com/office/drawing/2014/main" id="{6E3DE31F-F7D7-1832-F2E8-739D7E308BFC}"/>
                  </a:ext>
                </a:extLst>
              </p:cNvPr>
              <p:cNvSpPr/>
              <p:nvPr/>
            </p:nvSpPr>
            <p:spPr>
              <a:xfrm>
                <a:off x="5612791" y="3508200"/>
                <a:ext cx="2797" cy="5621"/>
              </a:xfrm>
              <a:custGeom>
                <a:avLst/>
                <a:gdLst>
                  <a:gd name="connsiteX0" fmla="*/ 0 w 2797"/>
                  <a:gd name="connsiteY0" fmla="*/ 1872 h 5621"/>
                  <a:gd name="connsiteX1" fmla="*/ 0 w 2797"/>
                  <a:gd name="connsiteY1" fmla="*/ 5622 h 5621"/>
                  <a:gd name="connsiteX2" fmla="*/ 2798 w 2797"/>
                  <a:gd name="connsiteY2" fmla="*/ 2811 h 5621"/>
                  <a:gd name="connsiteX3" fmla="*/ 925 w 2797"/>
                  <a:gd name="connsiteY3" fmla="*/ 0 h 5621"/>
                  <a:gd name="connsiteX4" fmla="*/ 0 w 2797"/>
                  <a:gd name="connsiteY4" fmla="*/ 1872 h 56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97" h="5621">
                    <a:moveTo>
                      <a:pt x="0" y="1872"/>
                    </a:moveTo>
                    <a:lnTo>
                      <a:pt x="0" y="5622"/>
                    </a:lnTo>
                    <a:cubicBezTo>
                      <a:pt x="925" y="5622"/>
                      <a:pt x="2798" y="3747"/>
                      <a:pt x="2798" y="2811"/>
                    </a:cubicBezTo>
                    <a:cubicBezTo>
                      <a:pt x="2798" y="1872"/>
                      <a:pt x="2798" y="0"/>
                      <a:pt x="925" y="0"/>
                    </a:cubicBezTo>
                    <a:cubicBezTo>
                      <a:pt x="925" y="0"/>
                      <a:pt x="0" y="0"/>
                      <a:pt x="0" y="1872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96" name="Freihandform: Form 795">
                <a:extLst>
                  <a:ext uri="{FF2B5EF4-FFF2-40B4-BE49-F238E27FC236}">
                    <a16:creationId xmlns:a16="http://schemas.microsoft.com/office/drawing/2014/main" id="{F6901D06-1774-BA5B-6DEF-E64A8672BB96}"/>
                  </a:ext>
                </a:extLst>
              </p:cNvPr>
              <p:cNvSpPr/>
              <p:nvPr/>
            </p:nvSpPr>
            <p:spPr>
              <a:xfrm>
                <a:off x="5613717" y="3463781"/>
                <a:ext cx="1872" cy="2241"/>
              </a:xfrm>
              <a:custGeom>
                <a:avLst/>
                <a:gdLst>
                  <a:gd name="connsiteX0" fmla="*/ 1872 w 1872"/>
                  <a:gd name="connsiteY0" fmla="*/ 367 h 2241"/>
                  <a:gd name="connsiteX1" fmla="*/ 0 w 1872"/>
                  <a:gd name="connsiteY1" fmla="*/ 2242 h 2241"/>
                  <a:gd name="connsiteX2" fmla="*/ 1872 w 1872"/>
                  <a:gd name="connsiteY2" fmla="*/ 367 h 22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872" h="2241">
                    <a:moveTo>
                      <a:pt x="1872" y="367"/>
                    </a:moveTo>
                    <a:cubicBezTo>
                      <a:pt x="0" y="-569"/>
                      <a:pt x="0" y="367"/>
                      <a:pt x="0" y="2242"/>
                    </a:cubicBezTo>
                    <a:cubicBezTo>
                      <a:pt x="1872" y="2242"/>
                      <a:pt x="1872" y="367"/>
                      <a:pt x="1872" y="367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97" name="Freihandform: Form 796">
                <a:extLst>
                  <a:ext uri="{FF2B5EF4-FFF2-40B4-BE49-F238E27FC236}">
                    <a16:creationId xmlns:a16="http://schemas.microsoft.com/office/drawing/2014/main" id="{8811336F-C766-BDD1-F158-B579ED55490B}"/>
                  </a:ext>
                </a:extLst>
              </p:cNvPr>
              <p:cNvSpPr/>
              <p:nvPr/>
            </p:nvSpPr>
            <p:spPr>
              <a:xfrm>
                <a:off x="5707451" y="3136117"/>
                <a:ext cx="1872" cy="1874"/>
              </a:xfrm>
              <a:custGeom>
                <a:avLst/>
                <a:gdLst>
                  <a:gd name="connsiteX0" fmla="*/ 925 w 1872"/>
                  <a:gd name="connsiteY0" fmla="*/ 1875 h 1874"/>
                  <a:gd name="connsiteX1" fmla="*/ 1873 w 1872"/>
                  <a:gd name="connsiteY1" fmla="*/ 0 h 1874"/>
                  <a:gd name="connsiteX2" fmla="*/ 0 w 1872"/>
                  <a:gd name="connsiteY2" fmla="*/ 936 h 1874"/>
                  <a:gd name="connsiteX3" fmla="*/ 925 w 1872"/>
                  <a:gd name="connsiteY3" fmla="*/ 1875 h 1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72" h="1874">
                    <a:moveTo>
                      <a:pt x="925" y="1875"/>
                    </a:moveTo>
                    <a:cubicBezTo>
                      <a:pt x="1564" y="1249"/>
                      <a:pt x="1873" y="624"/>
                      <a:pt x="1873" y="0"/>
                    </a:cubicBezTo>
                    <a:cubicBezTo>
                      <a:pt x="925" y="0"/>
                      <a:pt x="0" y="0"/>
                      <a:pt x="0" y="936"/>
                    </a:cubicBezTo>
                    <a:lnTo>
                      <a:pt x="925" y="1875"/>
                    </a:ln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98" name="Freihandform: Form 797">
                <a:extLst>
                  <a:ext uri="{FF2B5EF4-FFF2-40B4-BE49-F238E27FC236}">
                    <a16:creationId xmlns:a16="http://schemas.microsoft.com/office/drawing/2014/main" id="{B3B312CF-F839-15D3-01B1-E3A49169E19D}"/>
                  </a:ext>
                </a:extLst>
              </p:cNvPr>
              <p:cNvSpPr/>
              <p:nvPr/>
            </p:nvSpPr>
            <p:spPr>
              <a:xfrm>
                <a:off x="5644645" y="3383546"/>
                <a:ext cx="10309" cy="14995"/>
              </a:xfrm>
              <a:custGeom>
                <a:avLst/>
                <a:gdLst>
                  <a:gd name="connsiteX0" fmla="*/ 5618 w 10309"/>
                  <a:gd name="connsiteY0" fmla="*/ 1875 h 14995"/>
                  <a:gd name="connsiteX1" fmla="*/ 0 w 10309"/>
                  <a:gd name="connsiteY1" fmla="*/ 14059 h 14995"/>
                  <a:gd name="connsiteX2" fmla="*/ 947 w 10309"/>
                  <a:gd name="connsiteY2" fmla="*/ 14995 h 14995"/>
                  <a:gd name="connsiteX3" fmla="*/ 4692 w 10309"/>
                  <a:gd name="connsiteY3" fmla="*/ 14995 h 14995"/>
                  <a:gd name="connsiteX4" fmla="*/ 7490 w 10309"/>
                  <a:gd name="connsiteY4" fmla="*/ 9373 h 14995"/>
                  <a:gd name="connsiteX5" fmla="*/ 9385 w 10309"/>
                  <a:gd name="connsiteY5" fmla="*/ 2813 h 14995"/>
                  <a:gd name="connsiteX6" fmla="*/ 9385 w 10309"/>
                  <a:gd name="connsiteY6" fmla="*/ 0 h 14995"/>
                  <a:gd name="connsiteX7" fmla="*/ 5618 w 10309"/>
                  <a:gd name="connsiteY7" fmla="*/ 1875 h 149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309" h="14995">
                    <a:moveTo>
                      <a:pt x="5618" y="1875"/>
                    </a:moveTo>
                    <a:cubicBezTo>
                      <a:pt x="3745" y="5624"/>
                      <a:pt x="947" y="9373"/>
                      <a:pt x="0" y="14059"/>
                    </a:cubicBezTo>
                    <a:cubicBezTo>
                      <a:pt x="0" y="14685"/>
                      <a:pt x="309" y="14995"/>
                      <a:pt x="947" y="14995"/>
                    </a:cubicBezTo>
                    <a:lnTo>
                      <a:pt x="4692" y="14995"/>
                    </a:lnTo>
                    <a:cubicBezTo>
                      <a:pt x="5618" y="13123"/>
                      <a:pt x="7490" y="11248"/>
                      <a:pt x="7490" y="9373"/>
                    </a:cubicBezTo>
                    <a:cubicBezTo>
                      <a:pt x="7490" y="6560"/>
                      <a:pt x="8437" y="5624"/>
                      <a:pt x="9385" y="2813"/>
                    </a:cubicBezTo>
                    <a:cubicBezTo>
                      <a:pt x="10618" y="2187"/>
                      <a:pt x="10618" y="1249"/>
                      <a:pt x="9385" y="0"/>
                    </a:cubicBezTo>
                    <a:cubicBezTo>
                      <a:pt x="8437" y="0"/>
                      <a:pt x="7490" y="0"/>
                      <a:pt x="5618" y="1875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99" name="Freihandform: Form 798">
                <a:extLst>
                  <a:ext uri="{FF2B5EF4-FFF2-40B4-BE49-F238E27FC236}">
                    <a16:creationId xmlns:a16="http://schemas.microsoft.com/office/drawing/2014/main" id="{3A665CEA-8C1A-F20E-E855-C14EAE2BCAE4}"/>
                  </a:ext>
                </a:extLst>
              </p:cNvPr>
              <p:cNvSpPr/>
              <p:nvPr/>
            </p:nvSpPr>
            <p:spPr>
              <a:xfrm>
                <a:off x="5715866" y="3123562"/>
                <a:ext cx="6564" cy="5055"/>
              </a:xfrm>
              <a:custGeom>
                <a:avLst/>
                <a:gdLst>
                  <a:gd name="connsiteX0" fmla="*/ 3767 w 6564"/>
                  <a:gd name="connsiteY0" fmla="*/ 1306 h 5055"/>
                  <a:gd name="connsiteX1" fmla="*/ 0 w 6564"/>
                  <a:gd name="connsiteY1" fmla="*/ 5056 h 5055"/>
                  <a:gd name="connsiteX2" fmla="*/ 6565 w 6564"/>
                  <a:gd name="connsiteY2" fmla="*/ 5056 h 5055"/>
                  <a:gd name="connsiteX3" fmla="*/ 6565 w 6564"/>
                  <a:gd name="connsiteY3" fmla="*/ 2245 h 5055"/>
                  <a:gd name="connsiteX4" fmla="*/ 3767 w 6564"/>
                  <a:gd name="connsiteY4" fmla="*/ 1306 h 50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564" h="5055">
                    <a:moveTo>
                      <a:pt x="3767" y="1306"/>
                    </a:moveTo>
                    <a:cubicBezTo>
                      <a:pt x="2820" y="2245"/>
                      <a:pt x="1894" y="2245"/>
                      <a:pt x="0" y="5056"/>
                    </a:cubicBezTo>
                    <a:lnTo>
                      <a:pt x="6565" y="5056"/>
                    </a:lnTo>
                    <a:lnTo>
                      <a:pt x="6565" y="2245"/>
                    </a:lnTo>
                    <a:cubicBezTo>
                      <a:pt x="6565" y="-568"/>
                      <a:pt x="5639" y="-568"/>
                      <a:pt x="3767" y="1306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00" name="Freihandform: Form 799">
                <a:extLst>
                  <a:ext uri="{FF2B5EF4-FFF2-40B4-BE49-F238E27FC236}">
                    <a16:creationId xmlns:a16="http://schemas.microsoft.com/office/drawing/2014/main" id="{5FD5E6C0-13CB-F37B-B1FA-670DCA28D664}"/>
                  </a:ext>
                </a:extLst>
              </p:cNvPr>
              <p:cNvSpPr/>
              <p:nvPr/>
            </p:nvSpPr>
            <p:spPr>
              <a:xfrm>
                <a:off x="5709323" y="3143615"/>
                <a:ext cx="2797" cy="936"/>
              </a:xfrm>
              <a:custGeom>
                <a:avLst/>
                <a:gdLst>
                  <a:gd name="connsiteX0" fmla="*/ 1873 w 2797"/>
                  <a:gd name="connsiteY0" fmla="*/ 0 h 936"/>
                  <a:gd name="connsiteX1" fmla="*/ 0 w 2797"/>
                  <a:gd name="connsiteY1" fmla="*/ 936 h 936"/>
                  <a:gd name="connsiteX2" fmla="*/ 2798 w 2797"/>
                  <a:gd name="connsiteY2" fmla="*/ 0 h 936"/>
                  <a:gd name="connsiteX3" fmla="*/ 1873 w 2797"/>
                  <a:gd name="connsiteY3" fmla="*/ 0 h 9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797" h="936">
                    <a:moveTo>
                      <a:pt x="1873" y="0"/>
                    </a:moveTo>
                    <a:lnTo>
                      <a:pt x="0" y="936"/>
                    </a:lnTo>
                    <a:cubicBezTo>
                      <a:pt x="1234" y="936"/>
                      <a:pt x="2181" y="623"/>
                      <a:pt x="2798" y="0"/>
                    </a:cubicBezTo>
                    <a:lnTo>
                      <a:pt x="1873" y="0"/>
                    </a:ln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01" name="Freihandform: Form 800">
                <a:extLst>
                  <a:ext uri="{FF2B5EF4-FFF2-40B4-BE49-F238E27FC236}">
                    <a16:creationId xmlns:a16="http://schemas.microsoft.com/office/drawing/2014/main" id="{CC737855-CAD2-06CB-E4DC-96915A4D39A6}"/>
                  </a:ext>
                </a:extLst>
              </p:cNvPr>
              <p:cNvSpPr/>
              <p:nvPr/>
            </p:nvSpPr>
            <p:spPr>
              <a:xfrm>
                <a:off x="5713994" y="3128618"/>
                <a:ext cx="1872" cy="3749"/>
              </a:xfrm>
              <a:custGeom>
                <a:avLst/>
                <a:gdLst>
                  <a:gd name="connsiteX0" fmla="*/ 1872 w 1872"/>
                  <a:gd name="connsiteY0" fmla="*/ 0 h 3749"/>
                  <a:gd name="connsiteX1" fmla="*/ 0 w 1872"/>
                  <a:gd name="connsiteY1" fmla="*/ 3749 h 3749"/>
                  <a:gd name="connsiteX2" fmla="*/ 1872 w 1872"/>
                  <a:gd name="connsiteY2" fmla="*/ 0 h 37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872" h="3749">
                    <a:moveTo>
                      <a:pt x="1872" y="0"/>
                    </a:moveTo>
                    <a:cubicBezTo>
                      <a:pt x="947" y="936"/>
                      <a:pt x="0" y="1875"/>
                      <a:pt x="0" y="3749"/>
                    </a:cubicBezTo>
                    <a:cubicBezTo>
                      <a:pt x="947" y="1875"/>
                      <a:pt x="1872" y="1875"/>
                      <a:pt x="187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02" name="Freihandform: Form 801">
                <a:extLst>
                  <a:ext uri="{FF2B5EF4-FFF2-40B4-BE49-F238E27FC236}">
                    <a16:creationId xmlns:a16="http://schemas.microsoft.com/office/drawing/2014/main" id="{B76A0EDE-1A11-F859-0250-CABA6887D4AB}"/>
                  </a:ext>
                </a:extLst>
              </p:cNvPr>
              <p:cNvSpPr/>
              <p:nvPr/>
            </p:nvSpPr>
            <p:spPr>
              <a:xfrm>
                <a:off x="5709323" y="3132367"/>
                <a:ext cx="2797" cy="3749"/>
              </a:xfrm>
              <a:custGeom>
                <a:avLst/>
                <a:gdLst>
                  <a:gd name="connsiteX0" fmla="*/ 2798 w 2797"/>
                  <a:gd name="connsiteY0" fmla="*/ 0 h 3749"/>
                  <a:gd name="connsiteX1" fmla="*/ 0 w 2797"/>
                  <a:gd name="connsiteY1" fmla="*/ 3749 h 3749"/>
                  <a:gd name="connsiteX2" fmla="*/ 2798 w 2797"/>
                  <a:gd name="connsiteY2" fmla="*/ 0 h 37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797" h="3749">
                    <a:moveTo>
                      <a:pt x="2798" y="0"/>
                    </a:moveTo>
                    <a:cubicBezTo>
                      <a:pt x="1873" y="0"/>
                      <a:pt x="0" y="938"/>
                      <a:pt x="0" y="3749"/>
                    </a:cubicBezTo>
                    <a:cubicBezTo>
                      <a:pt x="2798" y="1875"/>
                      <a:pt x="2798" y="938"/>
                      <a:pt x="2798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03" name="Freihandform: Form 802">
                <a:extLst>
                  <a:ext uri="{FF2B5EF4-FFF2-40B4-BE49-F238E27FC236}">
                    <a16:creationId xmlns:a16="http://schemas.microsoft.com/office/drawing/2014/main" id="{F0339911-5799-4825-39FE-160A03CDFD79}"/>
                  </a:ext>
                </a:extLst>
              </p:cNvPr>
              <p:cNvSpPr/>
              <p:nvPr/>
            </p:nvSpPr>
            <p:spPr>
              <a:xfrm>
                <a:off x="5730868" y="3246710"/>
                <a:ext cx="5639" cy="4687"/>
              </a:xfrm>
              <a:custGeom>
                <a:avLst/>
                <a:gdLst>
                  <a:gd name="connsiteX0" fmla="*/ 2820 w 5639"/>
                  <a:gd name="connsiteY0" fmla="*/ 936 h 4687"/>
                  <a:gd name="connsiteX1" fmla="*/ 0 w 5639"/>
                  <a:gd name="connsiteY1" fmla="*/ 3749 h 4687"/>
                  <a:gd name="connsiteX2" fmla="*/ 1873 w 5639"/>
                  <a:gd name="connsiteY2" fmla="*/ 4688 h 4687"/>
                  <a:gd name="connsiteX3" fmla="*/ 5639 w 5639"/>
                  <a:gd name="connsiteY3" fmla="*/ 3749 h 4687"/>
                  <a:gd name="connsiteX4" fmla="*/ 3745 w 5639"/>
                  <a:gd name="connsiteY4" fmla="*/ 0 h 4687"/>
                  <a:gd name="connsiteX5" fmla="*/ 2820 w 5639"/>
                  <a:gd name="connsiteY5" fmla="*/ 936 h 4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639" h="4687">
                    <a:moveTo>
                      <a:pt x="2820" y="936"/>
                    </a:moveTo>
                    <a:cubicBezTo>
                      <a:pt x="1873" y="2813"/>
                      <a:pt x="1873" y="3749"/>
                      <a:pt x="0" y="3749"/>
                    </a:cubicBezTo>
                    <a:cubicBezTo>
                      <a:pt x="0" y="4688"/>
                      <a:pt x="1873" y="4688"/>
                      <a:pt x="1873" y="4688"/>
                    </a:cubicBezTo>
                    <a:cubicBezTo>
                      <a:pt x="2820" y="4688"/>
                      <a:pt x="3745" y="4688"/>
                      <a:pt x="5639" y="3749"/>
                    </a:cubicBezTo>
                    <a:cubicBezTo>
                      <a:pt x="5639" y="2813"/>
                      <a:pt x="5639" y="936"/>
                      <a:pt x="3745" y="0"/>
                    </a:cubicBezTo>
                    <a:lnTo>
                      <a:pt x="2820" y="936"/>
                    </a:ln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04" name="Freihandform: Form 803">
                <a:extLst>
                  <a:ext uri="{FF2B5EF4-FFF2-40B4-BE49-F238E27FC236}">
                    <a16:creationId xmlns:a16="http://schemas.microsoft.com/office/drawing/2014/main" id="{B28C22B6-31B1-7481-26A2-757E41EF175B}"/>
                  </a:ext>
                </a:extLst>
              </p:cNvPr>
              <p:cNvSpPr/>
              <p:nvPr/>
            </p:nvSpPr>
            <p:spPr>
              <a:xfrm>
                <a:off x="5707451" y="3085505"/>
                <a:ext cx="925" cy="938"/>
              </a:xfrm>
              <a:custGeom>
                <a:avLst/>
                <a:gdLst>
                  <a:gd name="connsiteX0" fmla="*/ 0 w 925"/>
                  <a:gd name="connsiteY0" fmla="*/ 0 h 938"/>
                  <a:gd name="connsiteX1" fmla="*/ 0 w 925"/>
                  <a:gd name="connsiteY1" fmla="*/ 938 h 938"/>
                  <a:gd name="connsiteX2" fmla="*/ 925 w 925"/>
                  <a:gd name="connsiteY2" fmla="*/ 938 h 938"/>
                  <a:gd name="connsiteX3" fmla="*/ 0 w 925"/>
                  <a:gd name="connsiteY3" fmla="*/ 0 h 9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25" h="938">
                    <a:moveTo>
                      <a:pt x="0" y="0"/>
                    </a:moveTo>
                    <a:lnTo>
                      <a:pt x="0" y="938"/>
                    </a:lnTo>
                    <a:lnTo>
                      <a:pt x="925" y="938"/>
                    </a:lnTo>
                    <a:cubicBezTo>
                      <a:pt x="925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05" name="Freihandform: Form 804">
                <a:extLst>
                  <a:ext uri="{FF2B5EF4-FFF2-40B4-BE49-F238E27FC236}">
                    <a16:creationId xmlns:a16="http://schemas.microsoft.com/office/drawing/2014/main" id="{4CC1024B-FAFE-6F04-978D-2F95A5C92BC5}"/>
                  </a:ext>
                </a:extLst>
              </p:cNvPr>
              <p:cNvSpPr/>
              <p:nvPr/>
            </p:nvSpPr>
            <p:spPr>
              <a:xfrm>
                <a:off x="5659647" y="3400937"/>
                <a:ext cx="4692" cy="5102"/>
              </a:xfrm>
              <a:custGeom>
                <a:avLst/>
                <a:gdLst>
                  <a:gd name="connsiteX0" fmla="*/ 0 w 4692"/>
                  <a:gd name="connsiteY0" fmla="*/ 1353 h 5102"/>
                  <a:gd name="connsiteX1" fmla="*/ 0 w 4692"/>
                  <a:gd name="connsiteY1" fmla="*/ 5103 h 5102"/>
                  <a:gd name="connsiteX2" fmla="*/ 4692 w 4692"/>
                  <a:gd name="connsiteY2" fmla="*/ 1353 h 5102"/>
                  <a:gd name="connsiteX3" fmla="*/ 3745 w 4692"/>
                  <a:gd name="connsiteY3" fmla="*/ 417 h 5102"/>
                  <a:gd name="connsiteX4" fmla="*/ 925 w 4692"/>
                  <a:gd name="connsiteY4" fmla="*/ 417 h 5102"/>
                  <a:gd name="connsiteX5" fmla="*/ 0 w 4692"/>
                  <a:gd name="connsiteY5" fmla="*/ 1353 h 5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692" h="5102">
                    <a:moveTo>
                      <a:pt x="0" y="1353"/>
                    </a:moveTo>
                    <a:lnTo>
                      <a:pt x="0" y="5103"/>
                    </a:lnTo>
                    <a:cubicBezTo>
                      <a:pt x="1873" y="5103"/>
                      <a:pt x="3745" y="4164"/>
                      <a:pt x="4692" y="1353"/>
                    </a:cubicBezTo>
                    <a:cubicBezTo>
                      <a:pt x="4692" y="1353"/>
                      <a:pt x="4692" y="417"/>
                      <a:pt x="3745" y="417"/>
                    </a:cubicBezTo>
                    <a:cubicBezTo>
                      <a:pt x="3745" y="-521"/>
                      <a:pt x="1873" y="417"/>
                      <a:pt x="925" y="417"/>
                    </a:cubicBezTo>
                    <a:lnTo>
                      <a:pt x="0" y="1353"/>
                    </a:ln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06" name="Freihandform: Form 805">
                <a:extLst>
                  <a:ext uri="{FF2B5EF4-FFF2-40B4-BE49-F238E27FC236}">
                    <a16:creationId xmlns:a16="http://schemas.microsoft.com/office/drawing/2014/main" id="{3F42950D-45DD-33CE-E81E-9ADD21A96D0B}"/>
                  </a:ext>
                </a:extLst>
              </p:cNvPr>
              <p:cNvSpPr/>
              <p:nvPr/>
            </p:nvSpPr>
            <p:spPr>
              <a:xfrm>
                <a:off x="5660573" y="3383546"/>
                <a:ext cx="947" cy="1874"/>
              </a:xfrm>
              <a:custGeom>
                <a:avLst/>
                <a:gdLst>
                  <a:gd name="connsiteX0" fmla="*/ 0 w 947"/>
                  <a:gd name="connsiteY0" fmla="*/ 1875 h 1874"/>
                  <a:gd name="connsiteX1" fmla="*/ 947 w 947"/>
                  <a:gd name="connsiteY1" fmla="*/ 1875 h 1874"/>
                  <a:gd name="connsiteX2" fmla="*/ 0 w 947"/>
                  <a:gd name="connsiteY2" fmla="*/ 0 h 1874"/>
                  <a:gd name="connsiteX3" fmla="*/ 0 w 947"/>
                  <a:gd name="connsiteY3" fmla="*/ 1875 h 1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47" h="1874">
                    <a:moveTo>
                      <a:pt x="0" y="1875"/>
                    </a:moveTo>
                    <a:lnTo>
                      <a:pt x="947" y="1875"/>
                    </a:lnTo>
                    <a:lnTo>
                      <a:pt x="0" y="0"/>
                    </a:lnTo>
                    <a:lnTo>
                      <a:pt x="0" y="1875"/>
                    </a:ln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07" name="Freihandform: Form 806">
                <a:extLst>
                  <a:ext uri="{FF2B5EF4-FFF2-40B4-BE49-F238E27FC236}">
                    <a16:creationId xmlns:a16="http://schemas.microsoft.com/office/drawing/2014/main" id="{81BCE09E-A3CA-F0FE-E97D-CFF833F984F6}"/>
                  </a:ext>
                </a:extLst>
              </p:cNvPr>
              <p:cNvSpPr/>
              <p:nvPr/>
            </p:nvSpPr>
            <p:spPr>
              <a:xfrm>
                <a:off x="5656445" y="3406040"/>
                <a:ext cx="3202" cy="6560"/>
              </a:xfrm>
              <a:custGeom>
                <a:avLst/>
                <a:gdLst>
                  <a:gd name="connsiteX0" fmla="*/ 383 w 3202"/>
                  <a:gd name="connsiteY0" fmla="*/ 3749 h 6560"/>
                  <a:gd name="connsiteX1" fmla="*/ 1330 w 3202"/>
                  <a:gd name="connsiteY1" fmla="*/ 6560 h 6560"/>
                  <a:gd name="connsiteX2" fmla="*/ 3202 w 3202"/>
                  <a:gd name="connsiteY2" fmla="*/ 5624 h 6560"/>
                  <a:gd name="connsiteX3" fmla="*/ 3202 w 3202"/>
                  <a:gd name="connsiteY3" fmla="*/ 0 h 6560"/>
                  <a:gd name="connsiteX4" fmla="*/ 383 w 3202"/>
                  <a:gd name="connsiteY4" fmla="*/ 3749 h 6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02" h="6560">
                    <a:moveTo>
                      <a:pt x="383" y="3749"/>
                    </a:moveTo>
                    <a:cubicBezTo>
                      <a:pt x="-543" y="5624"/>
                      <a:pt x="383" y="5624"/>
                      <a:pt x="1330" y="6560"/>
                    </a:cubicBezTo>
                    <a:cubicBezTo>
                      <a:pt x="1330" y="6560"/>
                      <a:pt x="1330" y="5624"/>
                      <a:pt x="3202" y="5624"/>
                    </a:cubicBezTo>
                    <a:lnTo>
                      <a:pt x="3202" y="0"/>
                    </a:lnTo>
                    <a:cubicBezTo>
                      <a:pt x="1330" y="1875"/>
                      <a:pt x="383" y="1875"/>
                      <a:pt x="383" y="3749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08" name="Freihandform: Form 807">
                <a:extLst>
                  <a:ext uri="{FF2B5EF4-FFF2-40B4-BE49-F238E27FC236}">
                    <a16:creationId xmlns:a16="http://schemas.microsoft.com/office/drawing/2014/main" id="{361D165A-B450-88FA-F9A3-35054C084683}"/>
                  </a:ext>
                </a:extLst>
              </p:cNvPr>
              <p:cNvSpPr/>
              <p:nvPr/>
            </p:nvSpPr>
            <p:spPr>
              <a:xfrm>
                <a:off x="5667137" y="3387295"/>
                <a:ext cx="947" cy="1874"/>
              </a:xfrm>
              <a:custGeom>
                <a:avLst/>
                <a:gdLst>
                  <a:gd name="connsiteX0" fmla="*/ 947 w 947"/>
                  <a:gd name="connsiteY0" fmla="*/ 1875 h 1874"/>
                  <a:gd name="connsiteX1" fmla="*/ 947 w 947"/>
                  <a:gd name="connsiteY1" fmla="*/ 0 h 1874"/>
                  <a:gd name="connsiteX2" fmla="*/ 0 w 947"/>
                  <a:gd name="connsiteY2" fmla="*/ 0 h 1874"/>
                  <a:gd name="connsiteX3" fmla="*/ 947 w 947"/>
                  <a:gd name="connsiteY3" fmla="*/ 1875 h 1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47" h="1874">
                    <a:moveTo>
                      <a:pt x="947" y="1875"/>
                    </a:moveTo>
                    <a:lnTo>
                      <a:pt x="947" y="0"/>
                    </a:lnTo>
                    <a:lnTo>
                      <a:pt x="0" y="0"/>
                    </a:lnTo>
                    <a:lnTo>
                      <a:pt x="947" y="1875"/>
                    </a:ln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09" name="Freihandform: Form 808">
                <a:extLst>
                  <a:ext uri="{FF2B5EF4-FFF2-40B4-BE49-F238E27FC236}">
                    <a16:creationId xmlns:a16="http://schemas.microsoft.com/office/drawing/2014/main" id="{527005E4-475A-22A3-ED41-77239ED190E2}"/>
                  </a:ext>
                </a:extLst>
              </p:cNvPr>
              <p:cNvSpPr/>
              <p:nvPr/>
            </p:nvSpPr>
            <p:spPr>
              <a:xfrm>
                <a:off x="5830219" y="3103313"/>
                <a:ext cx="2819" cy="938"/>
              </a:xfrm>
              <a:custGeom>
                <a:avLst/>
                <a:gdLst>
                  <a:gd name="connsiteX0" fmla="*/ 1872 w 2819"/>
                  <a:gd name="connsiteY0" fmla="*/ 0 h 938"/>
                  <a:gd name="connsiteX1" fmla="*/ 0 w 2819"/>
                  <a:gd name="connsiteY1" fmla="*/ 938 h 938"/>
                  <a:gd name="connsiteX2" fmla="*/ 2820 w 2819"/>
                  <a:gd name="connsiteY2" fmla="*/ 0 h 938"/>
                  <a:gd name="connsiteX3" fmla="*/ 1872 w 2819"/>
                  <a:gd name="connsiteY3" fmla="*/ 0 h 9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19" h="938">
                    <a:moveTo>
                      <a:pt x="1872" y="0"/>
                    </a:moveTo>
                    <a:lnTo>
                      <a:pt x="0" y="938"/>
                    </a:lnTo>
                    <a:cubicBezTo>
                      <a:pt x="1255" y="938"/>
                      <a:pt x="2181" y="626"/>
                      <a:pt x="2820" y="0"/>
                    </a:cubicBezTo>
                    <a:lnTo>
                      <a:pt x="1872" y="0"/>
                    </a:ln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10" name="Freihandform: Form 809">
                <a:extLst>
                  <a:ext uri="{FF2B5EF4-FFF2-40B4-BE49-F238E27FC236}">
                    <a16:creationId xmlns:a16="http://schemas.microsoft.com/office/drawing/2014/main" id="{CB623B53-3421-B39F-12A3-E020E282E745}"/>
                  </a:ext>
                </a:extLst>
              </p:cNvPr>
              <p:cNvSpPr/>
              <p:nvPr/>
            </p:nvSpPr>
            <p:spPr>
              <a:xfrm>
                <a:off x="5549986" y="3287012"/>
                <a:ext cx="947" cy="936"/>
              </a:xfrm>
              <a:custGeom>
                <a:avLst/>
                <a:gdLst>
                  <a:gd name="connsiteX0" fmla="*/ 947 w 947"/>
                  <a:gd name="connsiteY0" fmla="*/ 936 h 936"/>
                  <a:gd name="connsiteX1" fmla="*/ 0 w 947"/>
                  <a:gd name="connsiteY1" fmla="*/ 0 h 936"/>
                  <a:gd name="connsiteX2" fmla="*/ 0 w 947"/>
                  <a:gd name="connsiteY2" fmla="*/ 936 h 936"/>
                  <a:gd name="connsiteX3" fmla="*/ 947 w 947"/>
                  <a:gd name="connsiteY3" fmla="*/ 936 h 9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47" h="936">
                    <a:moveTo>
                      <a:pt x="947" y="936"/>
                    </a:moveTo>
                    <a:lnTo>
                      <a:pt x="0" y="0"/>
                    </a:lnTo>
                    <a:lnTo>
                      <a:pt x="0" y="936"/>
                    </a:lnTo>
                    <a:lnTo>
                      <a:pt x="947" y="936"/>
                    </a:ln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11" name="Freihandform: Form 810">
                <a:extLst>
                  <a:ext uri="{FF2B5EF4-FFF2-40B4-BE49-F238E27FC236}">
                    <a16:creationId xmlns:a16="http://schemas.microsoft.com/office/drawing/2014/main" id="{5B071CA6-BF69-7FF5-8809-3C1992211525}"/>
                  </a:ext>
                </a:extLst>
              </p:cNvPr>
              <p:cNvSpPr/>
              <p:nvPr/>
            </p:nvSpPr>
            <p:spPr>
              <a:xfrm>
                <a:off x="6153563" y="3068635"/>
                <a:ext cx="4692" cy="1874"/>
              </a:xfrm>
              <a:custGeom>
                <a:avLst/>
                <a:gdLst>
                  <a:gd name="connsiteX0" fmla="*/ 2820 w 4692"/>
                  <a:gd name="connsiteY0" fmla="*/ 1875 h 1874"/>
                  <a:gd name="connsiteX1" fmla="*/ 4692 w 4692"/>
                  <a:gd name="connsiteY1" fmla="*/ 938 h 1874"/>
                  <a:gd name="connsiteX2" fmla="*/ 3745 w 4692"/>
                  <a:gd name="connsiteY2" fmla="*/ 0 h 1874"/>
                  <a:gd name="connsiteX3" fmla="*/ 0 w 4692"/>
                  <a:gd name="connsiteY3" fmla="*/ 0 h 1874"/>
                  <a:gd name="connsiteX4" fmla="*/ 2820 w 4692"/>
                  <a:gd name="connsiteY4" fmla="*/ 1875 h 1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92" h="1874">
                    <a:moveTo>
                      <a:pt x="2820" y="1875"/>
                    </a:moveTo>
                    <a:cubicBezTo>
                      <a:pt x="3745" y="1875"/>
                      <a:pt x="4692" y="1875"/>
                      <a:pt x="4692" y="938"/>
                    </a:cubicBezTo>
                    <a:cubicBezTo>
                      <a:pt x="4692" y="938"/>
                      <a:pt x="4692" y="0"/>
                      <a:pt x="3745" y="0"/>
                    </a:cubicBezTo>
                    <a:lnTo>
                      <a:pt x="0" y="0"/>
                    </a:lnTo>
                    <a:cubicBezTo>
                      <a:pt x="0" y="938"/>
                      <a:pt x="947" y="1875"/>
                      <a:pt x="2820" y="1875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12" name="Freihandform: Form 811">
                <a:extLst>
                  <a:ext uri="{FF2B5EF4-FFF2-40B4-BE49-F238E27FC236}">
                    <a16:creationId xmlns:a16="http://schemas.microsoft.com/office/drawing/2014/main" id="{011BACD5-91F7-E574-3179-03F96348865A}"/>
                  </a:ext>
                </a:extLst>
              </p:cNvPr>
              <p:cNvSpPr/>
              <p:nvPr/>
            </p:nvSpPr>
            <p:spPr>
              <a:xfrm>
                <a:off x="5558891" y="3265454"/>
                <a:ext cx="22971" cy="22259"/>
              </a:xfrm>
              <a:custGeom>
                <a:avLst/>
                <a:gdLst>
                  <a:gd name="connsiteX0" fmla="*/ 1404 w 22971"/>
                  <a:gd name="connsiteY0" fmla="*/ 19683 h 22259"/>
                  <a:gd name="connsiteX1" fmla="*/ 1404 w 22971"/>
                  <a:gd name="connsiteY1" fmla="*/ 21558 h 22259"/>
                  <a:gd name="connsiteX2" fmla="*/ 3277 w 22971"/>
                  <a:gd name="connsiteY2" fmla="*/ 21558 h 22259"/>
                  <a:gd name="connsiteX3" fmla="*/ 12661 w 22971"/>
                  <a:gd name="connsiteY3" fmla="*/ 12184 h 22259"/>
                  <a:gd name="connsiteX4" fmla="*/ 21077 w 22971"/>
                  <a:gd name="connsiteY4" fmla="*/ 6560 h 22259"/>
                  <a:gd name="connsiteX5" fmla="*/ 22971 w 22971"/>
                  <a:gd name="connsiteY5" fmla="*/ 4686 h 22259"/>
                  <a:gd name="connsiteX6" fmla="*/ 22971 w 22971"/>
                  <a:gd name="connsiteY6" fmla="*/ 3749 h 22259"/>
                  <a:gd name="connsiteX7" fmla="*/ 21077 w 22971"/>
                  <a:gd name="connsiteY7" fmla="*/ 2813 h 22259"/>
                  <a:gd name="connsiteX8" fmla="*/ 13586 w 22971"/>
                  <a:gd name="connsiteY8" fmla="*/ 0 h 22259"/>
                  <a:gd name="connsiteX9" fmla="*/ 8894 w 22971"/>
                  <a:gd name="connsiteY9" fmla="*/ 3749 h 22259"/>
                  <a:gd name="connsiteX10" fmla="*/ 7022 w 22971"/>
                  <a:gd name="connsiteY10" fmla="*/ 6560 h 22259"/>
                  <a:gd name="connsiteX11" fmla="*/ 8894 w 22971"/>
                  <a:gd name="connsiteY11" fmla="*/ 10310 h 22259"/>
                  <a:gd name="connsiteX12" fmla="*/ 1404 w 22971"/>
                  <a:gd name="connsiteY12" fmla="*/ 19683 h 222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2971" h="22259">
                    <a:moveTo>
                      <a:pt x="1404" y="19683"/>
                    </a:moveTo>
                    <a:cubicBezTo>
                      <a:pt x="-468" y="19683"/>
                      <a:pt x="-468" y="21558"/>
                      <a:pt x="1404" y="21558"/>
                    </a:cubicBezTo>
                    <a:cubicBezTo>
                      <a:pt x="1404" y="22494"/>
                      <a:pt x="2352" y="22494"/>
                      <a:pt x="3277" y="21558"/>
                    </a:cubicBezTo>
                    <a:cubicBezTo>
                      <a:pt x="6097" y="18747"/>
                      <a:pt x="9842" y="15934"/>
                      <a:pt x="12661" y="12184"/>
                    </a:cubicBezTo>
                    <a:cubicBezTo>
                      <a:pt x="14534" y="8435"/>
                      <a:pt x="17332" y="7499"/>
                      <a:pt x="21077" y="6560"/>
                    </a:cubicBezTo>
                    <a:cubicBezTo>
                      <a:pt x="21077" y="6560"/>
                      <a:pt x="22971" y="6560"/>
                      <a:pt x="22971" y="4686"/>
                    </a:cubicBezTo>
                    <a:lnTo>
                      <a:pt x="22971" y="3749"/>
                    </a:lnTo>
                    <a:cubicBezTo>
                      <a:pt x="22971" y="2813"/>
                      <a:pt x="22971" y="938"/>
                      <a:pt x="21077" y="2813"/>
                    </a:cubicBezTo>
                    <a:cubicBezTo>
                      <a:pt x="18279" y="3749"/>
                      <a:pt x="14534" y="4686"/>
                      <a:pt x="13586" y="0"/>
                    </a:cubicBezTo>
                    <a:cubicBezTo>
                      <a:pt x="10767" y="938"/>
                      <a:pt x="9842" y="2813"/>
                      <a:pt x="8894" y="3749"/>
                    </a:cubicBezTo>
                    <a:cubicBezTo>
                      <a:pt x="7022" y="4686"/>
                      <a:pt x="7022" y="6560"/>
                      <a:pt x="7022" y="6560"/>
                    </a:cubicBezTo>
                    <a:cubicBezTo>
                      <a:pt x="8894" y="7499"/>
                      <a:pt x="8894" y="8435"/>
                      <a:pt x="8894" y="10310"/>
                    </a:cubicBezTo>
                    <a:cubicBezTo>
                      <a:pt x="6097" y="14059"/>
                      <a:pt x="2352" y="14995"/>
                      <a:pt x="1404" y="19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13" name="Freihandform: Form 812">
                <a:extLst>
                  <a:ext uri="{FF2B5EF4-FFF2-40B4-BE49-F238E27FC236}">
                    <a16:creationId xmlns:a16="http://schemas.microsoft.com/office/drawing/2014/main" id="{BDEBEC30-6F01-0A98-02DE-C3EE1918BC33}"/>
                  </a:ext>
                </a:extLst>
              </p:cNvPr>
              <p:cNvSpPr/>
              <p:nvPr/>
            </p:nvSpPr>
            <p:spPr>
              <a:xfrm>
                <a:off x="5576223" y="3260769"/>
                <a:ext cx="947" cy="938"/>
              </a:xfrm>
              <a:custGeom>
                <a:avLst/>
                <a:gdLst>
                  <a:gd name="connsiteX0" fmla="*/ 947 w 947"/>
                  <a:gd name="connsiteY0" fmla="*/ 0 h 938"/>
                  <a:gd name="connsiteX1" fmla="*/ 0 w 947"/>
                  <a:gd name="connsiteY1" fmla="*/ 938 h 938"/>
                  <a:gd name="connsiteX2" fmla="*/ 947 w 947"/>
                  <a:gd name="connsiteY2" fmla="*/ 938 h 938"/>
                  <a:gd name="connsiteX3" fmla="*/ 947 w 947"/>
                  <a:gd name="connsiteY3" fmla="*/ 0 h 9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47" h="938">
                    <a:moveTo>
                      <a:pt x="947" y="0"/>
                    </a:moveTo>
                    <a:cubicBezTo>
                      <a:pt x="0" y="0"/>
                      <a:pt x="0" y="938"/>
                      <a:pt x="0" y="938"/>
                    </a:cubicBezTo>
                    <a:lnTo>
                      <a:pt x="947" y="938"/>
                    </a:lnTo>
                    <a:lnTo>
                      <a:pt x="947" y="0"/>
                    </a:ln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14" name="Freihandform: Form 813">
                <a:extLst>
                  <a:ext uri="{FF2B5EF4-FFF2-40B4-BE49-F238E27FC236}">
                    <a16:creationId xmlns:a16="http://schemas.microsoft.com/office/drawing/2014/main" id="{95640428-C6AE-9271-C97D-BBBA2ABAF5BE}"/>
                  </a:ext>
                </a:extLst>
              </p:cNvPr>
              <p:cNvSpPr/>
              <p:nvPr/>
            </p:nvSpPr>
            <p:spPr>
              <a:xfrm>
                <a:off x="5572478" y="3262643"/>
                <a:ext cx="2819" cy="2810"/>
              </a:xfrm>
              <a:custGeom>
                <a:avLst/>
                <a:gdLst>
                  <a:gd name="connsiteX0" fmla="*/ 2820 w 2819"/>
                  <a:gd name="connsiteY0" fmla="*/ 0 h 2810"/>
                  <a:gd name="connsiteX1" fmla="*/ 0 w 2819"/>
                  <a:gd name="connsiteY1" fmla="*/ 2811 h 2810"/>
                  <a:gd name="connsiteX2" fmla="*/ 2820 w 2819"/>
                  <a:gd name="connsiteY2" fmla="*/ 0 h 28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819" h="2810">
                    <a:moveTo>
                      <a:pt x="2820" y="0"/>
                    </a:moveTo>
                    <a:cubicBezTo>
                      <a:pt x="947" y="0"/>
                      <a:pt x="0" y="1875"/>
                      <a:pt x="0" y="2811"/>
                    </a:cubicBezTo>
                    <a:cubicBezTo>
                      <a:pt x="947" y="2811"/>
                      <a:pt x="2820" y="1875"/>
                      <a:pt x="282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15" name="Freihandform: Form 814">
                <a:extLst>
                  <a:ext uri="{FF2B5EF4-FFF2-40B4-BE49-F238E27FC236}">
                    <a16:creationId xmlns:a16="http://schemas.microsoft.com/office/drawing/2014/main" id="{C859E7DC-63D7-F432-062C-C21F0D5E62AD}"/>
                  </a:ext>
                </a:extLst>
              </p:cNvPr>
              <p:cNvSpPr/>
              <p:nvPr/>
            </p:nvSpPr>
            <p:spPr>
              <a:xfrm>
                <a:off x="5575298" y="3261707"/>
                <a:ext cx="925" cy="936"/>
              </a:xfrm>
              <a:custGeom>
                <a:avLst/>
                <a:gdLst>
                  <a:gd name="connsiteX0" fmla="*/ 925 w 925"/>
                  <a:gd name="connsiteY0" fmla="*/ 0 h 936"/>
                  <a:gd name="connsiteX1" fmla="*/ 0 w 925"/>
                  <a:gd name="connsiteY1" fmla="*/ 936 h 936"/>
                  <a:gd name="connsiteX2" fmla="*/ 925 w 925"/>
                  <a:gd name="connsiteY2" fmla="*/ 936 h 936"/>
                  <a:gd name="connsiteX3" fmla="*/ 925 w 925"/>
                  <a:gd name="connsiteY3" fmla="*/ 0 h 9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25" h="936">
                    <a:moveTo>
                      <a:pt x="925" y="0"/>
                    </a:moveTo>
                    <a:lnTo>
                      <a:pt x="0" y="936"/>
                    </a:lnTo>
                    <a:lnTo>
                      <a:pt x="925" y="936"/>
                    </a:lnTo>
                    <a:lnTo>
                      <a:pt x="925" y="0"/>
                    </a:ln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16" name="Freihandform: Form 815">
                <a:extLst>
                  <a:ext uri="{FF2B5EF4-FFF2-40B4-BE49-F238E27FC236}">
                    <a16:creationId xmlns:a16="http://schemas.microsoft.com/office/drawing/2014/main" id="{7C518D3D-B2A3-F054-09FE-A219606701FD}"/>
                  </a:ext>
                </a:extLst>
              </p:cNvPr>
              <p:cNvSpPr/>
              <p:nvPr/>
            </p:nvSpPr>
            <p:spPr>
              <a:xfrm>
                <a:off x="6004536" y="3069573"/>
                <a:ext cx="1894" cy="936"/>
              </a:xfrm>
              <a:custGeom>
                <a:avLst/>
                <a:gdLst>
                  <a:gd name="connsiteX0" fmla="*/ 947 w 1894"/>
                  <a:gd name="connsiteY0" fmla="*/ 936 h 936"/>
                  <a:gd name="connsiteX1" fmla="*/ 1894 w 1894"/>
                  <a:gd name="connsiteY1" fmla="*/ 0 h 936"/>
                  <a:gd name="connsiteX2" fmla="*/ 0 w 1894"/>
                  <a:gd name="connsiteY2" fmla="*/ 0 h 936"/>
                  <a:gd name="connsiteX3" fmla="*/ 947 w 1894"/>
                  <a:gd name="connsiteY3" fmla="*/ 936 h 9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94" h="936">
                    <a:moveTo>
                      <a:pt x="947" y="936"/>
                    </a:moveTo>
                    <a:cubicBezTo>
                      <a:pt x="947" y="936"/>
                      <a:pt x="1894" y="936"/>
                      <a:pt x="1894" y="0"/>
                    </a:cubicBezTo>
                    <a:lnTo>
                      <a:pt x="0" y="0"/>
                    </a:lnTo>
                    <a:cubicBezTo>
                      <a:pt x="947" y="0"/>
                      <a:pt x="947" y="936"/>
                      <a:pt x="947" y="936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17" name="Freihandform: Form 816">
                <a:extLst>
                  <a:ext uri="{FF2B5EF4-FFF2-40B4-BE49-F238E27FC236}">
                    <a16:creationId xmlns:a16="http://schemas.microsoft.com/office/drawing/2014/main" id="{77D43CB4-69F9-38CB-40D6-AE83EAFE3430}"/>
                  </a:ext>
                </a:extLst>
              </p:cNvPr>
              <p:cNvSpPr/>
              <p:nvPr/>
            </p:nvSpPr>
            <p:spPr>
              <a:xfrm>
                <a:off x="6164464" y="3063949"/>
                <a:ext cx="10665" cy="6560"/>
              </a:xfrm>
              <a:custGeom>
                <a:avLst/>
                <a:gdLst>
                  <a:gd name="connsiteX0" fmla="*/ 356 w 10665"/>
                  <a:gd name="connsiteY0" fmla="*/ 2811 h 6560"/>
                  <a:gd name="connsiteX1" fmla="*/ 3154 w 10665"/>
                  <a:gd name="connsiteY1" fmla="*/ 6560 h 6560"/>
                  <a:gd name="connsiteX2" fmla="*/ 10666 w 10665"/>
                  <a:gd name="connsiteY2" fmla="*/ 2811 h 6560"/>
                  <a:gd name="connsiteX3" fmla="*/ 10666 w 10665"/>
                  <a:gd name="connsiteY3" fmla="*/ 1875 h 6560"/>
                  <a:gd name="connsiteX4" fmla="*/ 7846 w 10665"/>
                  <a:gd name="connsiteY4" fmla="*/ 0 h 6560"/>
                  <a:gd name="connsiteX5" fmla="*/ 1281 w 10665"/>
                  <a:gd name="connsiteY5" fmla="*/ 0 h 6560"/>
                  <a:gd name="connsiteX6" fmla="*/ 356 w 10665"/>
                  <a:gd name="connsiteY6" fmla="*/ 2811 h 6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665" h="6560">
                    <a:moveTo>
                      <a:pt x="356" y="2811"/>
                    </a:moveTo>
                    <a:cubicBezTo>
                      <a:pt x="-591" y="6560"/>
                      <a:pt x="356" y="6560"/>
                      <a:pt x="3154" y="6560"/>
                    </a:cubicBezTo>
                    <a:cubicBezTo>
                      <a:pt x="6899" y="6560"/>
                      <a:pt x="7846" y="5624"/>
                      <a:pt x="10666" y="2811"/>
                    </a:cubicBezTo>
                    <a:lnTo>
                      <a:pt x="10666" y="1875"/>
                    </a:lnTo>
                    <a:cubicBezTo>
                      <a:pt x="10666" y="1875"/>
                      <a:pt x="8793" y="0"/>
                      <a:pt x="7846" y="0"/>
                    </a:cubicBezTo>
                    <a:lnTo>
                      <a:pt x="1281" y="0"/>
                    </a:lnTo>
                    <a:cubicBezTo>
                      <a:pt x="1281" y="1875"/>
                      <a:pt x="1281" y="2811"/>
                      <a:pt x="356" y="2811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18" name="Freihandform: Form 817">
                <a:extLst>
                  <a:ext uri="{FF2B5EF4-FFF2-40B4-BE49-F238E27FC236}">
                    <a16:creationId xmlns:a16="http://schemas.microsoft.com/office/drawing/2014/main" id="{7DF84490-F569-40B4-67A6-5FDE78DC3DCD}"/>
                  </a:ext>
                </a:extLst>
              </p:cNvPr>
              <p:cNvSpPr/>
              <p:nvPr/>
            </p:nvSpPr>
            <p:spPr>
              <a:xfrm>
                <a:off x="6000791" y="3067699"/>
                <a:ext cx="947" cy="1874"/>
              </a:xfrm>
              <a:custGeom>
                <a:avLst/>
                <a:gdLst>
                  <a:gd name="connsiteX0" fmla="*/ 0 w 947"/>
                  <a:gd name="connsiteY0" fmla="*/ 1875 h 1874"/>
                  <a:gd name="connsiteX1" fmla="*/ 947 w 947"/>
                  <a:gd name="connsiteY1" fmla="*/ 0 h 1874"/>
                  <a:gd name="connsiteX2" fmla="*/ 0 w 947"/>
                  <a:gd name="connsiteY2" fmla="*/ 0 h 1874"/>
                  <a:gd name="connsiteX3" fmla="*/ 0 w 947"/>
                  <a:gd name="connsiteY3" fmla="*/ 1875 h 1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47" h="1874">
                    <a:moveTo>
                      <a:pt x="0" y="1875"/>
                    </a:moveTo>
                    <a:cubicBezTo>
                      <a:pt x="0" y="1875"/>
                      <a:pt x="0" y="0"/>
                      <a:pt x="947" y="0"/>
                    </a:cubicBezTo>
                    <a:lnTo>
                      <a:pt x="0" y="0"/>
                    </a:lnTo>
                    <a:lnTo>
                      <a:pt x="0" y="1875"/>
                    </a:ln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19" name="Freihandform: Form 818">
                <a:extLst>
                  <a:ext uri="{FF2B5EF4-FFF2-40B4-BE49-F238E27FC236}">
                    <a16:creationId xmlns:a16="http://schemas.microsoft.com/office/drawing/2014/main" id="{12EC95D9-95B5-7AF9-29F8-27CBBEF61DC7}"/>
                  </a:ext>
                </a:extLst>
              </p:cNvPr>
              <p:cNvSpPr/>
              <p:nvPr/>
            </p:nvSpPr>
            <p:spPr>
              <a:xfrm>
                <a:off x="5743997" y="3232651"/>
                <a:ext cx="11234" cy="14995"/>
              </a:xfrm>
              <a:custGeom>
                <a:avLst/>
                <a:gdLst>
                  <a:gd name="connsiteX0" fmla="*/ 11235 w 11234"/>
                  <a:gd name="connsiteY0" fmla="*/ 938 h 14995"/>
                  <a:gd name="connsiteX1" fmla="*/ 9362 w 11234"/>
                  <a:gd name="connsiteY1" fmla="*/ 0 h 14995"/>
                  <a:gd name="connsiteX2" fmla="*/ 8437 w 11234"/>
                  <a:gd name="connsiteY2" fmla="*/ 0 h 14995"/>
                  <a:gd name="connsiteX3" fmla="*/ 0 w 11234"/>
                  <a:gd name="connsiteY3" fmla="*/ 11248 h 14995"/>
                  <a:gd name="connsiteX4" fmla="*/ 0 w 11234"/>
                  <a:gd name="connsiteY4" fmla="*/ 14995 h 14995"/>
                  <a:gd name="connsiteX5" fmla="*/ 925 w 11234"/>
                  <a:gd name="connsiteY5" fmla="*/ 14995 h 14995"/>
                  <a:gd name="connsiteX6" fmla="*/ 11235 w 11234"/>
                  <a:gd name="connsiteY6" fmla="*/ 938 h 149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234" h="14995">
                    <a:moveTo>
                      <a:pt x="11235" y="938"/>
                    </a:moveTo>
                    <a:cubicBezTo>
                      <a:pt x="11235" y="938"/>
                      <a:pt x="11235" y="0"/>
                      <a:pt x="9362" y="0"/>
                    </a:cubicBezTo>
                    <a:lnTo>
                      <a:pt x="8437" y="0"/>
                    </a:lnTo>
                    <a:cubicBezTo>
                      <a:pt x="4692" y="3749"/>
                      <a:pt x="1872" y="7499"/>
                      <a:pt x="0" y="11248"/>
                    </a:cubicBezTo>
                    <a:lnTo>
                      <a:pt x="0" y="14995"/>
                    </a:lnTo>
                    <a:lnTo>
                      <a:pt x="925" y="14995"/>
                    </a:lnTo>
                    <a:cubicBezTo>
                      <a:pt x="7490" y="11248"/>
                      <a:pt x="9362" y="6562"/>
                      <a:pt x="11235" y="938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20" name="Freihandform: Form 819">
                <a:extLst>
                  <a:ext uri="{FF2B5EF4-FFF2-40B4-BE49-F238E27FC236}">
                    <a16:creationId xmlns:a16="http://schemas.microsoft.com/office/drawing/2014/main" id="{6A20D01D-EA47-DACC-5319-C97B6A6D26C1}"/>
                  </a:ext>
                </a:extLst>
              </p:cNvPr>
              <p:cNvSpPr/>
              <p:nvPr/>
            </p:nvSpPr>
            <p:spPr>
              <a:xfrm>
                <a:off x="5995174" y="3069573"/>
                <a:ext cx="5617" cy="1874"/>
              </a:xfrm>
              <a:custGeom>
                <a:avLst/>
                <a:gdLst>
                  <a:gd name="connsiteX0" fmla="*/ 0 w 5617"/>
                  <a:gd name="connsiteY0" fmla="*/ 936 h 1874"/>
                  <a:gd name="connsiteX1" fmla="*/ 2820 w 5617"/>
                  <a:gd name="connsiteY1" fmla="*/ 1875 h 1874"/>
                  <a:gd name="connsiteX2" fmla="*/ 5618 w 5617"/>
                  <a:gd name="connsiteY2" fmla="*/ 0 h 1874"/>
                  <a:gd name="connsiteX3" fmla="*/ 1873 w 5617"/>
                  <a:gd name="connsiteY3" fmla="*/ 0 h 1874"/>
                  <a:gd name="connsiteX4" fmla="*/ 0 w 5617"/>
                  <a:gd name="connsiteY4" fmla="*/ 936 h 1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17" h="1874">
                    <a:moveTo>
                      <a:pt x="0" y="936"/>
                    </a:moveTo>
                    <a:cubicBezTo>
                      <a:pt x="1873" y="936"/>
                      <a:pt x="1873" y="1875"/>
                      <a:pt x="2820" y="1875"/>
                    </a:cubicBezTo>
                    <a:cubicBezTo>
                      <a:pt x="3745" y="936"/>
                      <a:pt x="5618" y="936"/>
                      <a:pt x="5618" y="0"/>
                    </a:cubicBezTo>
                    <a:lnTo>
                      <a:pt x="1873" y="0"/>
                    </a:lnTo>
                    <a:cubicBezTo>
                      <a:pt x="1873" y="0"/>
                      <a:pt x="0" y="0"/>
                      <a:pt x="0" y="936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21" name="Freihandform: Form 820">
                <a:extLst>
                  <a:ext uri="{FF2B5EF4-FFF2-40B4-BE49-F238E27FC236}">
                    <a16:creationId xmlns:a16="http://schemas.microsoft.com/office/drawing/2014/main" id="{65BB0F61-806A-CB99-2D64-8D3162CFCBE7}"/>
                  </a:ext>
                </a:extLst>
              </p:cNvPr>
              <p:cNvSpPr/>
              <p:nvPr/>
            </p:nvSpPr>
            <p:spPr>
              <a:xfrm>
                <a:off x="5972532" y="3057389"/>
                <a:ext cx="193213" cy="12572"/>
              </a:xfrm>
              <a:custGeom>
                <a:avLst/>
                <a:gdLst>
                  <a:gd name="connsiteX0" fmla="*/ 188522 w 193213"/>
                  <a:gd name="connsiteY0" fmla="*/ 2811 h 12572"/>
                  <a:gd name="connsiteX1" fmla="*/ 20770 w 193213"/>
                  <a:gd name="connsiteY1" fmla="*/ 0 h 12572"/>
                  <a:gd name="connsiteX2" fmla="*/ 4842 w 193213"/>
                  <a:gd name="connsiteY2" fmla="*/ 0 h 12572"/>
                  <a:gd name="connsiteX3" fmla="*/ 150 w 193213"/>
                  <a:gd name="connsiteY3" fmla="*/ 2811 h 12572"/>
                  <a:gd name="connsiteX4" fmla="*/ 3895 w 193213"/>
                  <a:gd name="connsiteY4" fmla="*/ 3749 h 12572"/>
                  <a:gd name="connsiteX5" fmla="*/ 13280 w 193213"/>
                  <a:gd name="connsiteY5" fmla="*/ 3749 h 12572"/>
                  <a:gd name="connsiteX6" fmla="*/ 25462 w 193213"/>
                  <a:gd name="connsiteY6" fmla="*/ 8435 h 12572"/>
                  <a:gd name="connsiteX7" fmla="*/ 29207 w 193213"/>
                  <a:gd name="connsiteY7" fmla="*/ 10310 h 12572"/>
                  <a:gd name="connsiteX8" fmla="*/ 32004 w 193213"/>
                  <a:gd name="connsiteY8" fmla="*/ 10310 h 12572"/>
                  <a:gd name="connsiteX9" fmla="*/ 35772 w 193213"/>
                  <a:gd name="connsiteY9" fmla="*/ 8435 h 12572"/>
                  <a:gd name="connsiteX10" fmla="*/ 168850 w 193213"/>
                  <a:gd name="connsiteY10" fmla="*/ 8435 h 12572"/>
                  <a:gd name="connsiteX11" fmla="*/ 170722 w 193213"/>
                  <a:gd name="connsiteY11" fmla="*/ 11246 h 12572"/>
                  <a:gd name="connsiteX12" fmla="*/ 174467 w 193213"/>
                  <a:gd name="connsiteY12" fmla="*/ 12184 h 12572"/>
                  <a:gd name="connsiteX13" fmla="*/ 181032 w 193213"/>
                  <a:gd name="connsiteY13" fmla="*/ 11246 h 12572"/>
                  <a:gd name="connsiteX14" fmla="*/ 184777 w 193213"/>
                  <a:gd name="connsiteY14" fmla="*/ 6560 h 12572"/>
                  <a:gd name="connsiteX15" fmla="*/ 193214 w 193213"/>
                  <a:gd name="connsiteY15" fmla="*/ 6560 h 12572"/>
                  <a:gd name="connsiteX16" fmla="*/ 188522 w 193213"/>
                  <a:gd name="connsiteY16" fmla="*/ 2811 h 12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93213" h="12572">
                    <a:moveTo>
                      <a:pt x="188522" y="2811"/>
                    </a:moveTo>
                    <a:cubicBezTo>
                      <a:pt x="170722" y="2811"/>
                      <a:pt x="37644" y="0"/>
                      <a:pt x="20770" y="0"/>
                    </a:cubicBezTo>
                    <a:lnTo>
                      <a:pt x="4842" y="0"/>
                    </a:lnTo>
                    <a:cubicBezTo>
                      <a:pt x="2970" y="0"/>
                      <a:pt x="-797" y="1875"/>
                      <a:pt x="150" y="2811"/>
                    </a:cubicBezTo>
                    <a:cubicBezTo>
                      <a:pt x="1075" y="3749"/>
                      <a:pt x="2970" y="3749"/>
                      <a:pt x="3895" y="3749"/>
                    </a:cubicBezTo>
                    <a:lnTo>
                      <a:pt x="13280" y="3749"/>
                    </a:lnTo>
                    <a:cubicBezTo>
                      <a:pt x="17024" y="8435"/>
                      <a:pt x="21695" y="6560"/>
                      <a:pt x="25462" y="8435"/>
                    </a:cubicBezTo>
                    <a:cubicBezTo>
                      <a:pt x="26387" y="8435"/>
                      <a:pt x="28260" y="9371"/>
                      <a:pt x="29207" y="10310"/>
                    </a:cubicBezTo>
                    <a:lnTo>
                      <a:pt x="32004" y="10310"/>
                    </a:lnTo>
                    <a:cubicBezTo>
                      <a:pt x="32952" y="9371"/>
                      <a:pt x="32952" y="8435"/>
                      <a:pt x="35772" y="8435"/>
                    </a:cubicBezTo>
                    <a:cubicBezTo>
                      <a:pt x="40441" y="6560"/>
                      <a:pt x="162285" y="12184"/>
                      <a:pt x="168850" y="8435"/>
                    </a:cubicBezTo>
                    <a:cubicBezTo>
                      <a:pt x="168850" y="8435"/>
                      <a:pt x="169797" y="9371"/>
                      <a:pt x="170722" y="11246"/>
                    </a:cubicBezTo>
                    <a:cubicBezTo>
                      <a:pt x="170722" y="12184"/>
                      <a:pt x="172595" y="13121"/>
                      <a:pt x="174467" y="12184"/>
                    </a:cubicBezTo>
                    <a:cubicBezTo>
                      <a:pt x="176340" y="11246"/>
                      <a:pt x="178212" y="11246"/>
                      <a:pt x="181032" y="11246"/>
                    </a:cubicBezTo>
                    <a:cubicBezTo>
                      <a:pt x="181032" y="8435"/>
                      <a:pt x="181979" y="6560"/>
                      <a:pt x="184777" y="6560"/>
                    </a:cubicBezTo>
                    <a:lnTo>
                      <a:pt x="193214" y="6560"/>
                    </a:lnTo>
                    <a:cubicBezTo>
                      <a:pt x="193214" y="4686"/>
                      <a:pt x="191341" y="2811"/>
                      <a:pt x="188522" y="2811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22" name="Freihandform: Form 821">
                <a:extLst>
                  <a:ext uri="{FF2B5EF4-FFF2-40B4-BE49-F238E27FC236}">
                    <a16:creationId xmlns:a16="http://schemas.microsoft.com/office/drawing/2014/main" id="{897E24E9-47BC-1BBE-5103-5F9997122748}"/>
                  </a:ext>
                </a:extLst>
              </p:cNvPr>
              <p:cNvSpPr/>
              <p:nvPr/>
            </p:nvSpPr>
            <p:spPr>
              <a:xfrm>
                <a:off x="5791800" y="3095814"/>
                <a:ext cx="4669" cy="1874"/>
              </a:xfrm>
              <a:custGeom>
                <a:avLst/>
                <a:gdLst>
                  <a:gd name="connsiteX0" fmla="*/ 0 w 4669"/>
                  <a:gd name="connsiteY0" fmla="*/ 938 h 1874"/>
                  <a:gd name="connsiteX1" fmla="*/ 1872 w 4669"/>
                  <a:gd name="connsiteY1" fmla="*/ 1875 h 1874"/>
                  <a:gd name="connsiteX2" fmla="*/ 4670 w 4669"/>
                  <a:gd name="connsiteY2" fmla="*/ 0 h 1874"/>
                  <a:gd name="connsiteX3" fmla="*/ 925 w 4669"/>
                  <a:gd name="connsiteY3" fmla="*/ 0 h 1874"/>
                  <a:gd name="connsiteX4" fmla="*/ 0 w 4669"/>
                  <a:gd name="connsiteY4" fmla="*/ 938 h 1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69" h="1874">
                    <a:moveTo>
                      <a:pt x="0" y="938"/>
                    </a:moveTo>
                    <a:cubicBezTo>
                      <a:pt x="0" y="1875"/>
                      <a:pt x="925" y="1875"/>
                      <a:pt x="1872" y="1875"/>
                    </a:cubicBezTo>
                    <a:cubicBezTo>
                      <a:pt x="3745" y="1875"/>
                      <a:pt x="4670" y="938"/>
                      <a:pt x="4670" y="0"/>
                    </a:cubicBezTo>
                    <a:lnTo>
                      <a:pt x="925" y="0"/>
                    </a:lnTo>
                    <a:cubicBezTo>
                      <a:pt x="0" y="0"/>
                      <a:pt x="0" y="938"/>
                      <a:pt x="0" y="938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23" name="Freihandform: Form 822">
                <a:extLst>
                  <a:ext uri="{FF2B5EF4-FFF2-40B4-BE49-F238E27FC236}">
                    <a16:creationId xmlns:a16="http://schemas.microsoft.com/office/drawing/2014/main" id="{2401BC6F-0EDA-EE79-BCD5-7BD97424AB4D}"/>
                  </a:ext>
                </a:extLst>
              </p:cNvPr>
              <p:cNvSpPr/>
              <p:nvPr/>
            </p:nvSpPr>
            <p:spPr>
              <a:xfrm>
                <a:off x="5788056" y="3089254"/>
                <a:ext cx="925" cy="2813"/>
              </a:xfrm>
              <a:custGeom>
                <a:avLst/>
                <a:gdLst>
                  <a:gd name="connsiteX0" fmla="*/ 0 w 925"/>
                  <a:gd name="connsiteY0" fmla="*/ 0 h 2813"/>
                  <a:gd name="connsiteX1" fmla="*/ 0 w 925"/>
                  <a:gd name="connsiteY1" fmla="*/ 2813 h 2813"/>
                  <a:gd name="connsiteX2" fmla="*/ 925 w 925"/>
                  <a:gd name="connsiteY2" fmla="*/ 938 h 2813"/>
                  <a:gd name="connsiteX3" fmla="*/ 0 w 925"/>
                  <a:gd name="connsiteY3" fmla="*/ 0 h 28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25" h="2813">
                    <a:moveTo>
                      <a:pt x="0" y="0"/>
                    </a:moveTo>
                    <a:lnTo>
                      <a:pt x="0" y="2813"/>
                    </a:lnTo>
                    <a:cubicBezTo>
                      <a:pt x="0" y="1562"/>
                      <a:pt x="308" y="938"/>
                      <a:pt x="925" y="938"/>
                    </a:cubicBezTo>
                    <a:cubicBezTo>
                      <a:pt x="925" y="938"/>
                      <a:pt x="925" y="0"/>
                      <a:pt x="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24" name="Freihandform: Form 823">
                <a:extLst>
                  <a:ext uri="{FF2B5EF4-FFF2-40B4-BE49-F238E27FC236}">
                    <a16:creationId xmlns:a16="http://schemas.microsoft.com/office/drawing/2014/main" id="{73E66AC3-5DDA-B30B-4C36-9CC162C03D6A}"/>
                  </a:ext>
                </a:extLst>
              </p:cNvPr>
              <p:cNvSpPr/>
              <p:nvPr/>
            </p:nvSpPr>
            <p:spPr>
              <a:xfrm>
                <a:off x="5796470" y="3093003"/>
                <a:ext cx="2819" cy="2810"/>
              </a:xfrm>
              <a:custGeom>
                <a:avLst/>
                <a:gdLst>
                  <a:gd name="connsiteX0" fmla="*/ 2820 w 2819"/>
                  <a:gd name="connsiteY0" fmla="*/ 0 h 2810"/>
                  <a:gd name="connsiteX1" fmla="*/ 947 w 2819"/>
                  <a:gd name="connsiteY1" fmla="*/ 0 h 2810"/>
                  <a:gd name="connsiteX2" fmla="*/ 0 w 2819"/>
                  <a:gd name="connsiteY2" fmla="*/ 2811 h 2810"/>
                  <a:gd name="connsiteX3" fmla="*/ 2820 w 2819"/>
                  <a:gd name="connsiteY3" fmla="*/ 0 h 28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19" h="2810">
                    <a:moveTo>
                      <a:pt x="2820" y="0"/>
                    </a:moveTo>
                    <a:lnTo>
                      <a:pt x="947" y="0"/>
                    </a:lnTo>
                    <a:cubicBezTo>
                      <a:pt x="0" y="0"/>
                      <a:pt x="0" y="938"/>
                      <a:pt x="0" y="2811"/>
                    </a:cubicBezTo>
                    <a:cubicBezTo>
                      <a:pt x="947" y="2811"/>
                      <a:pt x="2820" y="938"/>
                      <a:pt x="282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25" name="Freihandform: Form 824">
                <a:extLst>
                  <a:ext uri="{FF2B5EF4-FFF2-40B4-BE49-F238E27FC236}">
                    <a16:creationId xmlns:a16="http://schemas.microsoft.com/office/drawing/2014/main" id="{57049D4A-F8A9-BEE1-8F04-B7031E02E3A9}"/>
                  </a:ext>
                </a:extLst>
              </p:cNvPr>
              <p:cNvSpPr/>
              <p:nvPr/>
            </p:nvSpPr>
            <p:spPr>
              <a:xfrm>
                <a:off x="5784288" y="3092067"/>
                <a:ext cx="1872" cy="3747"/>
              </a:xfrm>
              <a:custGeom>
                <a:avLst/>
                <a:gdLst>
                  <a:gd name="connsiteX0" fmla="*/ 0 w 1872"/>
                  <a:gd name="connsiteY0" fmla="*/ 3747 h 3747"/>
                  <a:gd name="connsiteX1" fmla="*/ 1873 w 1872"/>
                  <a:gd name="connsiteY1" fmla="*/ 0 h 3747"/>
                  <a:gd name="connsiteX2" fmla="*/ 0 w 1872"/>
                  <a:gd name="connsiteY2" fmla="*/ 3747 h 37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872" h="3747">
                    <a:moveTo>
                      <a:pt x="0" y="3747"/>
                    </a:moveTo>
                    <a:cubicBezTo>
                      <a:pt x="947" y="1875"/>
                      <a:pt x="1873" y="1875"/>
                      <a:pt x="1873" y="0"/>
                    </a:cubicBezTo>
                    <a:cubicBezTo>
                      <a:pt x="947" y="0"/>
                      <a:pt x="0" y="936"/>
                      <a:pt x="0" y="3747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26" name="Freihandform: Form 825">
                <a:extLst>
                  <a:ext uri="{FF2B5EF4-FFF2-40B4-BE49-F238E27FC236}">
                    <a16:creationId xmlns:a16="http://schemas.microsoft.com/office/drawing/2014/main" id="{EF97DCDB-31FA-1C27-D947-9D4B164405BC}"/>
                  </a:ext>
                </a:extLst>
              </p:cNvPr>
              <p:cNvSpPr/>
              <p:nvPr/>
            </p:nvSpPr>
            <p:spPr>
              <a:xfrm>
                <a:off x="5740252" y="3232651"/>
                <a:ext cx="1872" cy="4687"/>
              </a:xfrm>
              <a:custGeom>
                <a:avLst/>
                <a:gdLst>
                  <a:gd name="connsiteX0" fmla="*/ 1872 w 1872"/>
                  <a:gd name="connsiteY0" fmla="*/ 3749 h 4687"/>
                  <a:gd name="connsiteX1" fmla="*/ 1872 w 1872"/>
                  <a:gd name="connsiteY1" fmla="*/ 0 h 4687"/>
                  <a:gd name="connsiteX2" fmla="*/ 0 w 1872"/>
                  <a:gd name="connsiteY2" fmla="*/ 2813 h 4687"/>
                  <a:gd name="connsiteX3" fmla="*/ 925 w 1872"/>
                  <a:gd name="connsiteY3" fmla="*/ 4688 h 4687"/>
                  <a:gd name="connsiteX4" fmla="*/ 1872 w 1872"/>
                  <a:gd name="connsiteY4" fmla="*/ 3749 h 4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72" h="4687">
                    <a:moveTo>
                      <a:pt x="1872" y="3749"/>
                    </a:moveTo>
                    <a:lnTo>
                      <a:pt x="1872" y="0"/>
                    </a:lnTo>
                    <a:cubicBezTo>
                      <a:pt x="925" y="0"/>
                      <a:pt x="0" y="938"/>
                      <a:pt x="0" y="2813"/>
                    </a:cubicBezTo>
                    <a:cubicBezTo>
                      <a:pt x="0" y="3749"/>
                      <a:pt x="0" y="4688"/>
                      <a:pt x="925" y="4688"/>
                    </a:cubicBezTo>
                    <a:cubicBezTo>
                      <a:pt x="925" y="4688"/>
                      <a:pt x="1872" y="4688"/>
                      <a:pt x="1872" y="3749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27" name="Freihandform: Form 826">
                <a:extLst>
                  <a:ext uri="{FF2B5EF4-FFF2-40B4-BE49-F238E27FC236}">
                    <a16:creationId xmlns:a16="http://schemas.microsoft.com/office/drawing/2014/main" id="{EFE52B0F-2F03-6BDB-9C3D-6215D4CC64E7}"/>
                  </a:ext>
                </a:extLst>
              </p:cNvPr>
              <p:cNvSpPr/>
              <p:nvPr/>
            </p:nvSpPr>
            <p:spPr>
              <a:xfrm>
                <a:off x="5793673" y="3086443"/>
                <a:ext cx="1872" cy="1874"/>
              </a:xfrm>
              <a:custGeom>
                <a:avLst/>
                <a:gdLst>
                  <a:gd name="connsiteX0" fmla="*/ 0 w 1872"/>
                  <a:gd name="connsiteY0" fmla="*/ 0 h 1874"/>
                  <a:gd name="connsiteX1" fmla="*/ 1873 w 1872"/>
                  <a:gd name="connsiteY1" fmla="*/ 1875 h 1874"/>
                  <a:gd name="connsiteX2" fmla="*/ 1873 w 1872"/>
                  <a:gd name="connsiteY2" fmla="*/ 0 h 1874"/>
                  <a:gd name="connsiteX3" fmla="*/ 0 w 1872"/>
                  <a:gd name="connsiteY3" fmla="*/ 0 h 1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72" h="1874">
                    <a:moveTo>
                      <a:pt x="0" y="0"/>
                    </a:moveTo>
                    <a:lnTo>
                      <a:pt x="1873" y="1875"/>
                    </a:lnTo>
                    <a:lnTo>
                      <a:pt x="1873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28" name="Freihandform: Form 827">
                <a:extLst>
                  <a:ext uri="{FF2B5EF4-FFF2-40B4-BE49-F238E27FC236}">
                    <a16:creationId xmlns:a16="http://schemas.microsoft.com/office/drawing/2014/main" id="{8F60D418-0565-4E99-A692-DF8319EBB5B1}"/>
                  </a:ext>
                </a:extLst>
              </p:cNvPr>
              <p:cNvSpPr/>
              <p:nvPr/>
            </p:nvSpPr>
            <p:spPr>
              <a:xfrm>
                <a:off x="5703684" y="3283263"/>
                <a:ext cx="1894" cy="1874"/>
              </a:xfrm>
              <a:custGeom>
                <a:avLst/>
                <a:gdLst>
                  <a:gd name="connsiteX0" fmla="*/ 947 w 1894"/>
                  <a:gd name="connsiteY0" fmla="*/ 0 h 1874"/>
                  <a:gd name="connsiteX1" fmla="*/ 0 w 1894"/>
                  <a:gd name="connsiteY1" fmla="*/ 1875 h 1874"/>
                  <a:gd name="connsiteX2" fmla="*/ 1894 w 1894"/>
                  <a:gd name="connsiteY2" fmla="*/ 938 h 1874"/>
                  <a:gd name="connsiteX3" fmla="*/ 947 w 1894"/>
                  <a:gd name="connsiteY3" fmla="*/ 0 h 1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94" h="1874">
                    <a:moveTo>
                      <a:pt x="947" y="0"/>
                    </a:moveTo>
                    <a:cubicBezTo>
                      <a:pt x="330" y="626"/>
                      <a:pt x="0" y="1249"/>
                      <a:pt x="0" y="1875"/>
                    </a:cubicBezTo>
                    <a:cubicBezTo>
                      <a:pt x="639" y="1875"/>
                      <a:pt x="1255" y="1562"/>
                      <a:pt x="1894" y="938"/>
                    </a:cubicBezTo>
                    <a:lnTo>
                      <a:pt x="947" y="0"/>
                    </a:ln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29" name="Freihandform: Form 828">
                <a:extLst>
                  <a:ext uri="{FF2B5EF4-FFF2-40B4-BE49-F238E27FC236}">
                    <a16:creationId xmlns:a16="http://schemas.microsoft.com/office/drawing/2014/main" id="{033B06DC-E82C-9997-8502-9E3E766E70DF}"/>
                  </a:ext>
                </a:extLst>
              </p:cNvPr>
              <p:cNvSpPr/>
              <p:nvPr/>
            </p:nvSpPr>
            <p:spPr>
              <a:xfrm>
                <a:off x="5613354" y="3213204"/>
                <a:ext cx="15821" cy="22259"/>
              </a:xfrm>
              <a:custGeom>
                <a:avLst/>
                <a:gdLst>
                  <a:gd name="connsiteX0" fmla="*/ 14417 w 15821"/>
                  <a:gd name="connsiteY0" fmla="*/ 702 h 22259"/>
                  <a:gd name="connsiteX1" fmla="*/ 10672 w 15821"/>
                  <a:gd name="connsiteY1" fmla="*/ 702 h 22259"/>
                  <a:gd name="connsiteX2" fmla="*/ 5980 w 15821"/>
                  <a:gd name="connsiteY2" fmla="*/ 7262 h 22259"/>
                  <a:gd name="connsiteX3" fmla="*/ 363 w 15821"/>
                  <a:gd name="connsiteY3" fmla="*/ 19447 h 22259"/>
                  <a:gd name="connsiteX4" fmla="*/ 2235 w 15821"/>
                  <a:gd name="connsiteY4" fmla="*/ 22260 h 22259"/>
                  <a:gd name="connsiteX5" fmla="*/ 3182 w 15821"/>
                  <a:gd name="connsiteY5" fmla="*/ 22260 h 22259"/>
                  <a:gd name="connsiteX6" fmla="*/ 14417 w 15821"/>
                  <a:gd name="connsiteY6" fmla="*/ 11012 h 22259"/>
                  <a:gd name="connsiteX7" fmla="*/ 14417 w 15821"/>
                  <a:gd name="connsiteY7" fmla="*/ 8201 h 22259"/>
                  <a:gd name="connsiteX8" fmla="*/ 12545 w 15821"/>
                  <a:gd name="connsiteY8" fmla="*/ 5390 h 22259"/>
                  <a:gd name="connsiteX9" fmla="*/ 10672 w 15821"/>
                  <a:gd name="connsiteY9" fmla="*/ 8201 h 22259"/>
                  <a:gd name="connsiteX10" fmla="*/ 9747 w 15821"/>
                  <a:gd name="connsiteY10" fmla="*/ 7262 h 22259"/>
                  <a:gd name="connsiteX11" fmla="*/ 12545 w 15821"/>
                  <a:gd name="connsiteY11" fmla="*/ 5390 h 22259"/>
                  <a:gd name="connsiteX12" fmla="*/ 13492 w 15821"/>
                  <a:gd name="connsiteY12" fmla="*/ 3515 h 22259"/>
                  <a:gd name="connsiteX13" fmla="*/ 14417 w 15821"/>
                  <a:gd name="connsiteY13" fmla="*/ 702 h 222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5821" h="22259">
                    <a:moveTo>
                      <a:pt x="14417" y="702"/>
                    </a:moveTo>
                    <a:cubicBezTo>
                      <a:pt x="13492" y="-234"/>
                      <a:pt x="12545" y="-234"/>
                      <a:pt x="10672" y="702"/>
                    </a:cubicBezTo>
                    <a:cubicBezTo>
                      <a:pt x="7852" y="1641"/>
                      <a:pt x="5980" y="3515"/>
                      <a:pt x="5980" y="7262"/>
                    </a:cubicBezTo>
                    <a:cubicBezTo>
                      <a:pt x="5980" y="11950"/>
                      <a:pt x="4108" y="15700"/>
                      <a:pt x="363" y="19447"/>
                    </a:cubicBezTo>
                    <a:cubicBezTo>
                      <a:pt x="-563" y="20385"/>
                      <a:pt x="363" y="22260"/>
                      <a:pt x="2235" y="22260"/>
                    </a:cubicBezTo>
                    <a:lnTo>
                      <a:pt x="3182" y="22260"/>
                    </a:lnTo>
                    <a:cubicBezTo>
                      <a:pt x="7852" y="19447"/>
                      <a:pt x="12545" y="15700"/>
                      <a:pt x="14417" y="11012"/>
                    </a:cubicBezTo>
                    <a:cubicBezTo>
                      <a:pt x="16290" y="9139"/>
                      <a:pt x="16290" y="8201"/>
                      <a:pt x="14417" y="8201"/>
                    </a:cubicBezTo>
                    <a:cubicBezTo>
                      <a:pt x="14417" y="7262"/>
                      <a:pt x="13492" y="7262"/>
                      <a:pt x="12545" y="5390"/>
                    </a:cubicBezTo>
                    <a:cubicBezTo>
                      <a:pt x="12545" y="7262"/>
                      <a:pt x="12545" y="8201"/>
                      <a:pt x="10672" y="8201"/>
                    </a:cubicBezTo>
                    <a:lnTo>
                      <a:pt x="9747" y="7262"/>
                    </a:lnTo>
                    <a:cubicBezTo>
                      <a:pt x="10672" y="7262"/>
                      <a:pt x="12545" y="7262"/>
                      <a:pt x="12545" y="5390"/>
                    </a:cubicBezTo>
                    <a:cubicBezTo>
                      <a:pt x="13184" y="4764"/>
                      <a:pt x="13492" y="4141"/>
                      <a:pt x="13492" y="3515"/>
                    </a:cubicBezTo>
                    <a:cubicBezTo>
                      <a:pt x="14417" y="1641"/>
                      <a:pt x="14417" y="702"/>
                      <a:pt x="14417" y="702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30" name="Freihandform: Form 829">
                <a:extLst>
                  <a:ext uri="{FF2B5EF4-FFF2-40B4-BE49-F238E27FC236}">
                    <a16:creationId xmlns:a16="http://schemas.microsoft.com/office/drawing/2014/main" id="{0BEED76D-5F6D-8CF4-87A0-D4341C98F770}"/>
                  </a:ext>
                </a:extLst>
              </p:cNvPr>
              <p:cNvSpPr/>
              <p:nvPr/>
            </p:nvSpPr>
            <p:spPr>
              <a:xfrm>
                <a:off x="5803982" y="3139866"/>
                <a:ext cx="1872" cy="936"/>
              </a:xfrm>
              <a:custGeom>
                <a:avLst/>
                <a:gdLst>
                  <a:gd name="connsiteX0" fmla="*/ 0 w 1872"/>
                  <a:gd name="connsiteY0" fmla="*/ 936 h 936"/>
                  <a:gd name="connsiteX1" fmla="*/ 1873 w 1872"/>
                  <a:gd name="connsiteY1" fmla="*/ 936 h 936"/>
                  <a:gd name="connsiteX2" fmla="*/ 1873 w 1872"/>
                  <a:gd name="connsiteY2" fmla="*/ 0 h 936"/>
                  <a:gd name="connsiteX3" fmla="*/ 0 w 1872"/>
                  <a:gd name="connsiteY3" fmla="*/ 936 h 9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72" h="936">
                    <a:moveTo>
                      <a:pt x="0" y="936"/>
                    </a:moveTo>
                    <a:lnTo>
                      <a:pt x="1873" y="936"/>
                    </a:lnTo>
                    <a:lnTo>
                      <a:pt x="1873" y="0"/>
                    </a:lnTo>
                    <a:lnTo>
                      <a:pt x="0" y="936"/>
                    </a:ln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31" name="Freihandform: Form 830">
                <a:extLst>
                  <a:ext uri="{FF2B5EF4-FFF2-40B4-BE49-F238E27FC236}">
                    <a16:creationId xmlns:a16="http://schemas.microsoft.com/office/drawing/2014/main" id="{CFEAA68E-0F1B-A7D7-8B52-E5973B36AD96}"/>
                  </a:ext>
                </a:extLst>
              </p:cNvPr>
              <p:cNvSpPr/>
              <p:nvPr/>
            </p:nvSpPr>
            <p:spPr>
              <a:xfrm>
                <a:off x="5826474" y="3105188"/>
                <a:ext cx="3745" cy="2810"/>
              </a:xfrm>
              <a:custGeom>
                <a:avLst/>
                <a:gdLst>
                  <a:gd name="connsiteX0" fmla="*/ 3745 w 3745"/>
                  <a:gd name="connsiteY0" fmla="*/ 0 h 2810"/>
                  <a:gd name="connsiteX1" fmla="*/ 0 w 3745"/>
                  <a:gd name="connsiteY1" fmla="*/ 2811 h 2810"/>
                  <a:gd name="connsiteX2" fmla="*/ 3745 w 3745"/>
                  <a:gd name="connsiteY2" fmla="*/ 0 h 28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745" h="2810">
                    <a:moveTo>
                      <a:pt x="3745" y="0"/>
                    </a:moveTo>
                    <a:cubicBezTo>
                      <a:pt x="1873" y="0"/>
                      <a:pt x="1873" y="1875"/>
                      <a:pt x="0" y="2811"/>
                    </a:cubicBezTo>
                    <a:cubicBezTo>
                      <a:pt x="2798" y="2811"/>
                      <a:pt x="2798" y="1875"/>
                      <a:pt x="3745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32" name="Freihandform: Form 831">
                <a:extLst>
                  <a:ext uri="{FF2B5EF4-FFF2-40B4-BE49-F238E27FC236}">
                    <a16:creationId xmlns:a16="http://schemas.microsoft.com/office/drawing/2014/main" id="{3A07EB14-1FDA-0A0D-3579-7732FD3CC629}"/>
                  </a:ext>
                </a:extLst>
              </p:cNvPr>
              <p:cNvSpPr/>
              <p:nvPr/>
            </p:nvSpPr>
            <p:spPr>
              <a:xfrm>
                <a:off x="5590277" y="3257019"/>
                <a:ext cx="947" cy="938"/>
              </a:xfrm>
              <a:custGeom>
                <a:avLst/>
                <a:gdLst>
                  <a:gd name="connsiteX0" fmla="*/ 948 w 947"/>
                  <a:gd name="connsiteY0" fmla="*/ 938 h 938"/>
                  <a:gd name="connsiteX1" fmla="*/ 948 w 947"/>
                  <a:gd name="connsiteY1" fmla="*/ 0 h 938"/>
                  <a:gd name="connsiteX2" fmla="*/ 0 w 947"/>
                  <a:gd name="connsiteY2" fmla="*/ 938 h 938"/>
                  <a:gd name="connsiteX3" fmla="*/ 948 w 947"/>
                  <a:gd name="connsiteY3" fmla="*/ 938 h 9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47" h="938">
                    <a:moveTo>
                      <a:pt x="948" y="938"/>
                    </a:moveTo>
                    <a:lnTo>
                      <a:pt x="948" y="0"/>
                    </a:lnTo>
                    <a:lnTo>
                      <a:pt x="0" y="938"/>
                    </a:lnTo>
                    <a:lnTo>
                      <a:pt x="948" y="938"/>
                    </a:ln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33" name="Freihandform: Form 832">
                <a:extLst>
                  <a:ext uri="{FF2B5EF4-FFF2-40B4-BE49-F238E27FC236}">
                    <a16:creationId xmlns:a16="http://schemas.microsoft.com/office/drawing/2014/main" id="{43FCE796-04D6-4BC1-9F48-B047E5E45B17}"/>
                  </a:ext>
                </a:extLst>
              </p:cNvPr>
              <p:cNvSpPr/>
              <p:nvPr/>
            </p:nvSpPr>
            <p:spPr>
              <a:xfrm>
                <a:off x="5707451" y="3289823"/>
                <a:ext cx="3745" cy="1874"/>
              </a:xfrm>
              <a:custGeom>
                <a:avLst/>
                <a:gdLst>
                  <a:gd name="connsiteX0" fmla="*/ 0 w 3745"/>
                  <a:gd name="connsiteY0" fmla="*/ 936 h 1874"/>
                  <a:gd name="connsiteX1" fmla="*/ 925 w 3745"/>
                  <a:gd name="connsiteY1" fmla="*/ 1875 h 1874"/>
                  <a:gd name="connsiteX2" fmla="*/ 3745 w 3745"/>
                  <a:gd name="connsiteY2" fmla="*/ 1875 h 1874"/>
                  <a:gd name="connsiteX3" fmla="*/ 3745 w 3745"/>
                  <a:gd name="connsiteY3" fmla="*/ 936 h 1874"/>
                  <a:gd name="connsiteX4" fmla="*/ 925 w 3745"/>
                  <a:gd name="connsiteY4" fmla="*/ 0 h 1874"/>
                  <a:gd name="connsiteX5" fmla="*/ 0 w 3745"/>
                  <a:gd name="connsiteY5" fmla="*/ 936 h 1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745" h="1874">
                    <a:moveTo>
                      <a:pt x="0" y="936"/>
                    </a:moveTo>
                    <a:lnTo>
                      <a:pt x="925" y="1875"/>
                    </a:lnTo>
                    <a:lnTo>
                      <a:pt x="3745" y="1875"/>
                    </a:lnTo>
                    <a:lnTo>
                      <a:pt x="3745" y="936"/>
                    </a:lnTo>
                    <a:cubicBezTo>
                      <a:pt x="3745" y="0"/>
                      <a:pt x="1873" y="0"/>
                      <a:pt x="925" y="0"/>
                    </a:cubicBezTo>
                    <a:cubicBezTo>
                      <a:pt x="925" y="626"/>
                      <a:pt x="617" y="936"/>
                      <a:pt x="0" y="936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34" name="Freihandform: Form 833">
                <a:extLst>
                  <a:ext uri="{FF2B5EF4-FFF2-40B4-BE49-F238E27FC236}">
                    <a16:creationId xmlns:a16="http://schemas.microsoft.com/office/drawing/2014/main" id="{7C987992-1E60-45A5-87C3-7AE7DB323C46}"/>
                  </a:ext>
                </a:extLst>
              </p:cNvPr>
              <p:cNvSpPr/>
              <p:nvPr/>
            </p:nvSpPr>
            <p:spPr>
              <a:xfrm>
                <a:off x="5693374" y="3185790"/>
                <a:ext cx="2819" cy="2810"/>
              </a:xfrm>
              <a:custGeom>
                <a:avLst/>
                <a:gdLst>
                  <a:gd name="connsiteX0" fmla="*/ 2820 w 2819"/>
                  <a:gd name="connsiteY0" fmla="*/ 0 h 2810"/>
                  <a:gd name="connsiteX1" fmla="*/ 0 w 2819"/>
                  <a:gd name="connsiteY1" fmla="*/ 2811 h 2810"/>
                  <a:gd name="connsiteX2" fmla="*/ 2820 w 2819"/>
                  <a:gd name="connsiteY2" fmla="*/ 0 h 28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819" h="2810">
                    <a:moveTo>
                      <a:pt x="2820" y="0"/>
                    </a:moveTo>
                    <a:cubicBezTo>
                      <a:pt x="947" y="0"/>
                      <a:pt x="0" y="1875"/>
                      <a:pt x="0" y="2811"/>
                    </a:cubicBezTo>
                    <a:cubicBezTo>
                      <a:pt x="947" y="2811"/>
                      <a:pt x="2820" y="1875"/>
                      <a:pt x="282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35" name="Freihandform: Form 834">
                <a:extLst>
                  <a:ext uri="{FF2B5EF4-FFF2-40B4-BE49-F238E27FC236}">
                    <a16:creationId xmlns:a16="http://schemas.microsoft.com/office/drawing/2014/main" id="{F6351EC8-95B6-01F5-AD26-C27D4E925A9F}"/>
                  </a:ext>
                </a:extLst>
              </p:cNvPr>
              <p:cNvSpPr/>
              <p:nvPr/>
            </p:nvSpPr>
            <p:spPr>
              <a:xfrm>
                <a:off x="5691044" y="3301071"/>
                <a:ext cx="5149" cy="4685"/>
              </a:xfrm>
              <a:custGeom>
                <a:avLst/>
                <a:gdLst>
                  <a:gd name="connsiteX0" fmla="*/ 3277 w 5149"/>
                  <a:gd name="connsiteY0" fmla="*/ 3747 h 4685"/>
                  <a:gd name="connsiteX1" fmla="*/ 5149 w 5149"/>
                  <a:gd name="connsiteY1" fmla="*/ 936 h 4685"/>
                  <a:gd name="connsiteX2" fmla="*/ 3277 w 5149"/>
                  <a:gd name="connsiteY2" fmla="*/ 0 h 4685"/>
                  <a:gd name="connsiteX3" fmla="*/ 1404 w 5149"/>
                  <a:gd name="connsiteY3" fmla="*/ 936 h 4685"/>
                  <a:gd name="connsiteX4" fmla="*/ 1404 w 5149"/>
                  <a:gd name="connsiteY4" fmla="*/ 4686 h 4685"/>
                  <a:gd name="connsiteX5" fmla="*/ 3277 w 5149"/>
                  <a:gd name="connsiteY5" fmla="*/ 3747 h 46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149" h="4685">
                    <a:moveTo>
                      <a:pt x="3277" y="3747"/>
                    </a:moveTo>
                    <a:cubicBezTo>
                      <a:pt x="5149" y="3747"/>
                      <a:pt x="5149" y="1872"/>
                      <a:pt x="5149" y="936"/>
                    </a:cubicBezTo>
                    <a:lnTo>
                      <a:pt x="3277" y="0"/>
                    </a:lnTo>
                    <a:cubicBezTo>
                      <a:pt x="2330" y="0"/>
                      <a:pt x="2330" y="936"/>
                      <a:pt x="1404" y="936"/>
                    </a:cubicBezTo>
                    <a:cubicBezTo>
                      <a:pt x="-468" y="1872"/>
                      <a:pt x="-468" y="4686"/>
                      <a:pt x="1404" y="4686"/>
                    </a:cubicBezTo>
                    <a:cubicBezTo>
                      <a:pt x="2330" y="4686"/>
                      <a:pt x="3277" y="4686"/>
                      <a:pt x="3277" y="3747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36" name="Freihandform: Form 835">
                <a:extLst>
                  <a:ext uri="{FF2B5EF4-FFF2-40B4-BE49-F238E27FC236}">
                    <a16:creationId xmlns:a16="http://schemas.microsoft.com/office/drawing/2014/main" id="{88B570AE-BD26-3769-FC57-D0082815C4A4}"/>
                  </a:ext>
                </a:extLst>
              </p:cNvPr>
              <p:cNvSpPr/>
              <p:nvPr/>
            </p:nvSpPr>
            <p:spPr>
              <a:xfrm>
                <a:off x="5671830" y="3205473"/>
                <a:ext cx="1872" cy="936"/>
              </a:xfrm>
              <a:custGeom>
                <a:avLst/>
                <a:gdLst>
                  <a:gd name="connsiteX0" fmla="*/ 1872 w 1872"/>
                  <a:gd name="connsiteY0" fmla="*/ 936 h 936"/>
                  <a:gd name="connsiteX1" fmla="*/ 1872 w 1872"/>
                  <a:gd name="connsiteY1" fmla="*/ 0 h 936"/>
                  <a:gd name="connsiteX2" fmla="*/ 0 w 1872"/>
                  <a:gd name="connsiteY2" fmla="*/ 936 h 936"/>
                  <a:gd name="connsiteX3" fmla="*/ 1872 w 1872"/>
                  <a:gd name="connsiteY3" fmla="*/ 936 h 9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72" h="936">
                    <a:moveTo>
                      <a:pt x="1872" y="936"/>
                    </a:moveTo>
                    <a:lnTo>
                      <a:pt x="1872" y="0"/>
                    </a:lnTo>
                    <a:lnTo>
                      <a:pt x="0" y="936"/>
                    </a:lnTo>
                    <a:lnTo>
                      <a:pt x="1872" y="936"/>
                    </a:ln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37" name="Freihandform: Form 836">
                <a:extLst>
                  <a:ext uri="{FF2B5EF4-FFF2-40B4-BE49-F238E27FC236}">
                    <a16:creationId xmlns:a16="http://schemas.microsoft.com/office/drawing/2014/main" id="{2637E3D8-01C4-1437-ABDD-76A5CAA4B080}"/>
                  </a:ext>
                </a:extLst>
              </p:cNvPr>
              <p:cNvSpPr/>
              <p:nvPr/>
            </p:nvSpPr>
            <p:spPr>
              <a:xfrm>
                <a:off x="5670882" y="3206410"/>
                <a:ext cx="947" cy="936"/>
              </a:xfrm>
              <a:custGeom>
                <a:avLst/>
                <a:gdLst>
                  <a:gd name="connsiteX0" fmla="*/ 0 w 947"/>
                  <a:gd name="connsiteY0" fmla="*/ 936 h 936"/>
                  <a:gd name="connsiteX1" fmla="*/ 947 w 947"/>
                  <a:gd name="connsiteY1" fmla="*/ 936 h 936"/>
                  <a:gd name="connsiteX2" fmla="*/ 947 w 947"/>
                  <a:gd name="connsiteY2" fmla="*/ 0 h 936"/>
                  <a:gd name="connsiteX3" fmla="*/ 0 w 947"/>
                  <a:gd name="connsiteY3" fmla="*/ 936 h 9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47" h="936">
                    <a:moveTo>
                      <a:pt x="0" y="936"/>
                    </a:moveTo>
                    <a:lnTo>
                      <a:pt x="947" y="936"/>
                    </a:lnTo>
                    <a:lnTo>
                      <a:pt x="947" y="0"/>
                    </a:lnTo>
                    <a:cubicBezTo>
                      <a:pt x="947" y="0"/>
                      <a:pt x="0" y="0"/>
                      <a:pt x="0" y="936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38" name="Freihandform: Form 837">
                <a:extLst>
                  <a:ext uri="{FF2B5EF4-FFF2-40B4-BE49-F238E27FC236}">
                    <a16:creationId xmlns:a16="http://schemas.microsoft.com/office/drawing/2014/main" id="{E4968B3B-159B-EDAB-7E26-51B42EEBDA1B}"/>
                  </a:ext>
                </a:extLst>
              </p:cNvPr>
              <p:cNvSpPr/>
              <p:nvPr/>
            </p:nvSpPr>
            <p:spPr>
              <a:xfrm>
                <a:off x="5670882" y="3343246"/>
                <a:ext cx="947" cy="1874"/>
              </a:xfrm>
              <a:custGeom>
                <a:avLst/>
                <a:gdLst>
                  <a:gd name="connsiteX0" fmla="*/ 0 w 947"/>
                  <a:gd name="connsiteY0" fmla="*/ 1875 h 1874"/>
                  <a:gd name="connsiteX1" fmla="*/ 947 w 947"/>
                  <a:gd name="connsiteY1" fmla="*/ 1875 h 1874"/>
                  <a:gd name="connsiteX2" fmla="*/ 0 w 947"/>
                  <a:gd name="connsiteY2" fmla="*/ 0 h 1874"/>
                  <a:gd name="connsiteX3" fmla="*/ 0 w 947"/>
                  <a:gd name="connsiteY3" fmla="*/ 1875 h 1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47" h="1874">
                    <a:moveTo>
                      <a:pt x="0" y="1875"/>
                    </a:moveTo>
                    <a:lnTo>
                      <a:pt x="947" y="1875"/>
                    </a:lnTo>
                    <a:lnTo>
                      <a:pt x="0" y="0"/>
                    </a:lnTo>
                    <a:lnTo>
                      <a:pt x="0" y="1875"/>
                    </a:ln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39" name="Freihandform: Form 838">
                <a:extLst>
                  <a:ext uri="{FF2B5EF4-FFF2-40B4-BE49-F238E27FC236}">
                    <a16:creationId xmlns:a16="http://schemas.microsoft.com/office/drawing/2014/main" id="{8B1CFB9A-8EF3-9DCF-F8A1-3B407A541045}"/>
                  </a:ext>
                </a:extLst>
              </p:cNvPr>
              <p:cNvSpPr/>
              <p:nvPr/>
            </p:nvSpPr>
            <p:spPr>
              <a:xfrm>
                <a:off x="5689629" y="3339497"/>
                <a:ext cx="2920" cy="6560"/>
              </a:xfrm>
              <a:custGeom>
                <a:avLst/>
                <a:gdLst>
                  <a:gd name="connsiteX0" fmla="*/ 2820 w 2920"/>
                  <a:gd name="connsiteY0" fmla="*/ 0 h 6560"/>
                  <a:gd name="connsiteX1" fmla="*/ 0 w 2920"/>
                  <a:gd name="connsiteY1" fmla="*/ 3749 h 6560"/>
                  <a:gd name="connsiteX2" fmla="*/ 0 w 2920"/>
                  <a:gd name="connsiteY2" fmla="*/ 6560 h 6560"/>
                  <a:gd name="connsiteX3" fmla="*/ 2820 w 2920"/>
                  <a:gd name="connsiteY3" fmla="*/ 0 h 6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920" h="6560">
                    <a:moveTo>
                      <a:pt x="2820" y="0"/>
                    </a:moveTo>
                    <a:cubicBezTo>
                      <a:pt x="947" y="1875"/>
                      <a:pt x="0" y="1875"/>
                      <a:pt x="0" y="3749"/>
                    </a:cubicBezTo>
                    <a:lnTo>
                      <a:pt x="0" y="6560"/>
                    </a:lnTo>
                    <a:cubicBezTo>
                      <a:pt x="3745" y="5624"/>
                      <a:pt x="2820" y="2811"/>
                      <a:pt x="282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40" name="Freihandform: Form 839">
                <a:extLst>
                  <a:ext uri="{FF2B5EF4-FFF2-40B4-BE49-F238E27FC236}">
                    <a16:creationId xmlns:a16="http://schemas.microsoft.com/office/drawing/2014/main" id="{5E268536-4878-2266-0036-107B50EF2CCD}"/>
                  </a:ext>
                </a:extLst>
              </p:cNvPr>
              <p:cNvSpPr/>
              <p:nvPr/>
            </p:nvSpPr>
            <p:spPr>
              <a:xfrm>
                <a:off x="5674649" y="3353556"/>
                <a:ext cx="3744" cy="2810"/>
              </a:xfrm>
              <a:custGeom>
                <a:avLst/>
                <a:gdLst>
                  <a:gd name="connsiteX0" fmla="*/ 0 w 3744"/>
                  <a:gd name="connsiteY0" fmla="*/ 936 h 2810"/>
                  <a:gd name="connsiteX1" fmla="*/ 925 w 3744"/>
                  <a:gd name="connsiteY1" fmla="*/ 2811 h 2810"/>
                  <a:gd name="connsiteX2" fmla="*/ 3745 w 3744"/>
                  <a:gd name="connsiteY2" fmla="*/ 936 h 2810"/>
                  <a:gd name="connsiteX3" fmla="*/ 2798 w 3744"/>
                  <a:gd name="connsiteY3" fmla="*/ 0 h 2810"/>
                  <a:gd name="connsiteX4" fmla="*/ 0 w 3744"/>
                  <a:gd name="connsiteY4" fmla="*/ 0 h 2810"/>
                  <a:gd name="connsiteX5" fmla="*/ 0 w 3744"/>
                  <a:gd name="connsiteY5" fmla="*/ 936 h 28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744" h="2810">
                    <a:moveTo>
                      <a:pt x="0" y="936"/>
                    </a:moveTo>
                    <a:cubicBezTo>
                      <a:pt x="0" y="936"/>
                      <a:pt x="0" y="2811"/>
                      <a:pt x="925" y="2811"/>
                    </a:cubicBezTo>
                    <a:cubicBezTo>
                      <a:pt x="2181" y="2811"/>
                      <a:pt x="3106" y="2185"/>
                      <a:pt x="3745" y="936"/>
                    </a:cubicBezTo>
                    <a:lnTo>
                      <a:pt x="2798" y="0"/>
                    </a:lnTo>
                    <a:lnTo>
                      <a:pt x="0" y="0"/>
                    </a:lnTo>
                    <a:lnTo>
                      <a:pt x="0" y="936"/>
                    </a:ln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41" name="Freihandform: Form 840">
                <a:extLst>
                  <a:ext uri="{FF2B5EF4-FFF2-40B4-BE49-F238E27FC236}">
                    <a16:creationId xmlns:a16="http://schemas.microsoft.com/office/drawing/2014/main" id="{FECCC1C8-28F2-DA4A-66D1-C5F629649451}"/>
                  </a:ext>
                </a:extLst>
              </p:cNvPr>
              <p:cNvSpPr/>
              <p:nvPr/>
            </p:nvSpPr>
            <p:spPr>
              <a:xfrm>
                <a:off x="5673702" y="3198911"/>
                <a:ext cx="9362" cy="6741"/>
              </a:xfrm>
              <a:custGeom>
                <a:avLst/>
                <a:gdLst>
                  <a:gd name="connsiteX0" fmla="*/ 9362 w 9362"/>
                  <a:gd name="connsiteY0" fmla="*/ 0 h 6741"/>
                  <a:gd name="connsiteX1" fmla="*/ 1873 w 9362"/>
                  <a:gd name="connsiteY1" fmla="*/ 0 h 6741"/>
                  <a:gd name="connsiteX2" fmla="*/ 0 w 9362"/>
                  <a:gd name="connsiteY2" fmla="*/ 3749 h 6741"/>
                  <a:gd name="connsiteX3" fmla="*/ 0 w 9362"/>
                  <a:gd name="connsiteY3" fmla="*/ 6562 h 6741"/>
                  <a:gd name="connsiteX4" fmla="*/ 9362 w 9362"/>
                  <a:gd name="connsiteY4" fmla="*/ 0 h 67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362" h="6741">
                    <a:moveTo>
                      <a:pt x="9362" y="0"/>
                    </a:moveTo>
                    <a:lnTo>
                      <a:pt x="1873" y="0"/>
                    </a:lnTo>
                    <a:cubicBezTo>
                      <a:pt x="1873" y="2811"/>
                      <a:pt x="947" y="3749"/>
                      <a:pt x="0" y="3749"/>
                    </a:cubicBezTo>
                    <a:lnTo>
                      <a:pt x="0" y="6562"/>
                    </a:lnTo>
                    <a:cubicBezTo>
                      <a:pt x="4692" y="7499"/>
                      <a:pt x="7490" y="4686"/>
                      <a:pt x="936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42" name="Freihandform: Form 841">
                <a:extLst>
                  <a:ext uri="{FF2B5EF4-FFF2-40B4-BE49-F238E27FC236}">
                    <a16:creationId xmlns:a16="http://schemas.microsoft.com/office/drawing/2014/main" id="{4C58CE21-04BF-A5FE-44D2-7144F235FB4F}"/>
                  </a:ext>
                </a:extLst>
              </p:cNvPr>
              <p:cNvSpPr/>
              <p:nvPr/>
            </p:nvSpPr>
            <p:spPr>
              <a:xfrm>
                <a:off x="5674649" y="3333873"/>
                <a:ext cx="3744" cy="1874"/>
              </a:xfrm>
              <a:custGeom>
                <a:avLst/>
                <a:gdLst>
                  <a:gd name="connsiteX0" fmla="*/ 3745 w 3744"/>
                  <a:gd name="connsiteY0" fmla="*/ 938 h 1874"/>
                  <a:gd name="connsiteX1" fmla="*/ 925 w 3744"/>
                  <a:gd name="connsiteY1" fmla="*/ 0 h 1874"/>
                  <a:gd name="connsiteX2" fmla="*/ 0 w 3744"/>
                  <a:gd name="connsiteY2" fmla="*/ 938 h 1874"/>
                  <a:gd name="connsiteX3" fmla="*/ 925 w 3744"/>
                  <a:gd name="connsiteY3" fmla="*/ 1875 h 1874"/>
                  <a:gd name="connsiteX4" fmla="*/ 3745 w 3744"/>
                  <a:gd name="connsiteY4" fmla="*/ 938 h 1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744" h="1874">
                    <a:moveTo>
                      <a:pt x="3745" y="938"/>
                    </a:moveTo>
                    <a:cubicBezTo>
                      <a:pt x="3745" y="938"/>
                      <a:pt x="2798" y="0"/>
                      <a:pt x="925" y="0"/>
                    </a:cubicBezTo>
                    <a:cubicBezTo>
                      <a:pt x="925" y="0"/>
                      <a:pt x="0" y="0"/>
                      <a:pt x="0" y="938"/>
                    </a:cubicBezTo>
                    <a:cubicBezTo>
                      <a:pt x="0" y="938"/>
                      <a:pt x="0" y="1875"/>
                      <a:pt x="925" y="1875"/>
                    </a:cubicBezTo>
                    <a:cubicBezTo>
                      <a:pt x="2181" y="1875"/>
                      <a:pt x="3106" y="1562"/>
                      <a:pt x="3745" y="938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43" name="Freihandform: Form 842">
                <a:extLst>
                  <a:ext uri="{FF2B5EF4-FFF2-40B4-BE49-F238E27FC236}">
                    <a16:creationId xmlns:a16="http://schemas.microsoft.com/office/drawing/2014/main" id="{A426DECA-B2BA-3E9E-D6E6-26649D57F6E2}"/>
                  </a:ext>
                </a:extLst>
              </p:cNvPr>
              <p:cNvSpPr/>
              <p:nvPr/>
            </p:nvSpPr>
            <p:spPr>
              <a:xfrm>
                <a:off x="5670471" y="3370057"/>
                <a:ext cx="8848" cy="12031"/>
              </a:xfrm>
              <a:custGeom>
                <a:avLst/>
                <a:gdLst>
                  <a:gd name="connsiteX0" fmla="*/ 411 w 8848"/>
                  <a:gd name="connsiteY0" fmla="*/ 11614 h 12031"/>
                  <a:gd name="connsiteX1" fmla="*/ 1359 w 8848"/>
                  <a:gd name="connsiteY1" fmla="*/ 11614 h 12031"/>
                  <a:gd name="connsiteX2" fmla="*/ 8848 w 8848"/>
                  <a:gd name="connsiteY2" fmla="*/ 3179 h 12031"/>
                  <a:gd name="connsiteX3" fmla="*/ 7923 w 8848"/>
                  <a:gd name="connsiteY3" fmla="*/ 2243 h 12031"/>
                  <a:gd name="connsiteX4" fmla="*/ 6976 w 8848"/>
                  <a:gd name="connsiteY4" fmla="*/ 1305 h 12031"/>
                  <a:gd name="connsiteX5" fmla="*/ 411 w 8848"/>
                  <a:gd name="connsiteY5" fmla="*/ 8804 h 12031"/>
                  <a:gd name="connsiteX6" fmla="*/ 411 w 8848"/>
                  <a:gd name="connsiteY6" fmla="*/ 11614 h 120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848" h="12031">
                    <a:moveTo>
                      <a:pt x="411" y="11614"/>
                    </a:moveTo>
                    <a:cubicBezTo>
                      <a:pt x="411" y="11614"/>
                      <a:pt x="1359" y="12553"/>
                      <a:pt x="1359" y="11614"/>
                    </a:cubicBezTo>
                    <a:cubicBezTo>
                      <a:pt x="5103" y="9742"/>
                      <a:pt x="7923" y="7865"/>
                      <a:pt x="8848" y="3179"/>
                    </a:cubicBezTo>
                    <a:cubicBezTo>
                      <a:pt x="8848" y="2556"/>
                      <a:pt x="8540" y="2243"/>
                      <a:pt x="7923" y="2243"/>
                    </a:cubicBezTo>
                    <a:cubicBezTo>
                      <a:pt x="7923" y="-568"/>
                      <a:pt x="6976" y="-568"/>
                      <a:pt x="6976" y="1305"/>
                    </a:cubicBezTo>
                    <a:cubicBezTo>
                      <a:pt x="4156" y="3179"/>
                      <a:pt x="1359" y="5993"/>
                      <a:pt x="411" y="8804"/>
                    </a:cubicBezTo>
                    <a:cubicBezTo>
                      <a:pt x="-514" y="8804"/>
                      <a:pt x="411" y="9742"/>
                      <a:pt x="411" y="11614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44" name="Freihandform: Form 843">
                <a:extLst>
                  <a:ext uri="{FF2B5EF4-FFF2-40B4-BE49-F238E27FC236}">
                    <a16:creationId xmlns:a16="http://schemas.microsoft.com/office/drawing/2014/main" id="{38A8ED03-5C9E-41A7-608A-2E50B80E858D}"/>
                  </a:ext>
                </a:extLst>
              </p:cNvPr>
              <p:cNvSpPr/>
              <p:nvPr/>
            </p:nvSpPr>
            <p:spPr>
              <a:xfrm>
                <a:off x="5685884" y="3178292"/>
                <a:ext cx="6564" cy="3749"/>
              </a:xfrm>
              <a:custGeom>
                <a:avLst/>
                <a:gdLst>
                  <a:gd name="connsiteX0" fmla="*/ 6564 w 6564"/>
                  <a:gd name="connsiteY0" fmla="*/ 0 h 3749"/>
                  <a:gd name="connsiteX1" fmla="*/ 0 w 6564"/>
                  <a:gd name="connsiteY1" fmla="*/ 3749 h 3749"/>
                  <a:gd name="connsiteX2" fmla="*/ 6564 w 6564"/>
                  <a:gd name="connsiteY2" fmla="*/ 0 h 37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564" h="3749">
                    <a:moveTo>
                      <a:pt x="6564" y="0"/>
                    </a:moveTo>
                    <a:cubicBezTo>
                      <a:pt x="3745" y="0"/>
                      <a:pt x="947" y="0"/>
                      <a:pt x="0" y="3749"/>
                    </a:cubicBezTo>
                    <a:cubicBezTo>
                      <a:pt x="3745" y="3749"/>
                      <a:pt x="6564" y="3749"/>
                      <a:pt x="6564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45" name="Freihandform: Form 844">
                <a:extLst>
                  <a:ext uri="{FF2B5EF4-FFF2-40B4-BE49-F238E27FC236}">
                    <a16:creationId xmlns:a16="http://schemas.microsoft.com/office/drawing/2014/main" id="{A4765574-EE7D-4622-04BE-7A7E5FF1D273}"/>
                  </a:ext>
                </a:extLst>
              </p:cNvPr>
              <p:cNvSpPr/>
              <p:nvPr/>
            </p:nvSpPr>
            <p:spPr>
              <a:xfrm>
                <a:off x="5669957" y="3182041"/>
                <a:ext cx="15927" cy="20619"/>
              </a:xfrm>
              <a:custGeom>
                <a:avLst/>
                <a:gdLst>
                  <a:gd name="connsiteX0" fmla="*/ 5618 w 15927"/>
                  <a:gd name="connsiteY0" fmla="*/ 16870 h 20619"/>
                  <a:gd name="connsiteX1" fmla="*/ 13107 w 15927"/>
                  <a:gd name="connsiteY1" fmla="*/ 10310 h 20619"/>
                  <a:gd name="connsiteX2" fmla="*/ 15927 w 15927"/>
                  <a:gd name="connsiteY2" fmla="*/ 6560 h 20619"/>
                  <a:gd name="connsiteX3" fmla="*/ 15927 w 15927"/>
                  <a:gd name="connsiteY3" fmla="*/ 0 h 20619"/>
                  <a:gd name="connsiteX4" fmla="*/ 0 w 15927"/>
                  <a:gd name="connsiteY4" fmla="*/ 14995 h 20619"/>
                  <a:gd name="connsiteX5" fmla="*/ 925 w 15927"/>
                  <a:gd name="connsiteY5" fmla="*/ 17808 h 20619"/>
                  <a:gd name="connsiteX6" fmla="*/ 3745 w 15927"/>
                  <a:gd name="connsiteY6" fmla="*/ 20619 h 20619"/>
                  <a:gd name="connsiteX7" fmla="*/ 5618 w 15927"/>
                  <a:gd name="connsiteY7" fmla="*/ 16870 h 206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927" h="20619">
                    <a:moveTo>
                      <a:pt x="5618" y="16870"/>
                    </a:moveTo>
                    <a:cubicBezTo>
                      <a:pt x="7490" y="14059"/>
                      <a:pt x="9362" y="11246"/>
                      <a:pt x="13107" y="10310"/>
                    </a:cubicBezTo>
                    <a:cubicBezTo>
                      <a:pt x="13107" y="7499"/>
                      <a:pt x="14980" y="7499"/>
                      <a:pt x="15927" y="6560"/>
                    </a:cubicBezTo>
                    <a:lnTo>
                      <a:pt x="15927" y="0"/>
                    </a:lnTo>
                    <a:cubicBezTo>
                      <a:pt x="9362" y="5624"/>
                      <a:pt x="4692" y="10310"/>
                      <a:pt x="0" y="14995"/>
                    </a:cubicBezTo>
                    <a:cubicBezTo>
                      <a:pt x="0" y="16870"/>
                      <a:pt x="0" y="17808"/>
                      <a:pt x="925" y="17808"/>
                    </a:cubicBezTo>
                    <a:cubicBezTo>
                      <a:pt x="925" y="19683"/>
                      <a:pt x="1873" y="19683"/>
                      <a:pt x="3745" y="20619"/>
                    </a:cubicBezTo>
                    <a:cubicBezTo>
                      <a:pt x="3745" y="17808"/>
                      <a:pt x="4670" y="17808"/>
                      <a:pt x="5618" y="16870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46" name="Freihandform: Form 845">
                <a:extLst>
                  <a:ext uri="{FF2B5EF4-FFF2-40B4-BE49-F238E27FC236}">
                    <a16:creationId xmlns:a16="http://schemas.microsoft.com/office/drawing/2014/main" id="{73CB2A37-6399-6B0A-B0C8-8D70BFB4810B}"/>
                  </a:ext>
                </a:extLst>
              </p:cNvPr>
              <p:cNvSpPr/>
              <p:nvPr/>
            </p:nvSpPr>
            <p:spPr>
              <a:xfrm>
                <a:off x="5683064" y="3188601"/>
                <a:ext cx="9384" cy="10309"/>
              </a:xfrm>
              <a:custGeom>
                <a:avLst/>
                <a:gdLst>
                  <a:gd name="connsiteX0" fmla="*/ 0 w 9384"/>
                  <a:gd name="connsiteY0" fmla="*/ 3749 h 10309"/>
                  <a:gd name="connsiteX1" fmla="*/ 0 w 9384"/>
                  <a:gd name="connsiteY1" fmla="*/ 10310 h 10309"/>
                  <a:gd name="connsiteX2" fmla="*/ 9384 w 9384"/>
                  <a:gd name="connsiteY2" fmla="*/ 936 h 10309"/>
                  <a:gd name="connsiteX3" fmla="*/ 9384 w 9384"/>
                  <a:gd name="connsiteY3" fmla="*/ 0 h 10309"/>
                  <a:gd name="connsiteX4" fmla="*/ 2820 w 9384"/>
                  <a:gd name="connsiteY4" fmla="*/ 0 h 10309"/>
                  <a:gd name="connsiteX5" fmla="*/ 0 w 9384"/>
                  <a:gd name="connsiteY5" fmla="*/ 3749 h 103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384" h="10309">
                    <a:moveTo>
                      <a:pt x="0" y="3749"/>
                    </a:moveTo>
                    <a:lnTo>
                      <a:pt x="0" y="10310"/>
                    </a:lnTo>
                    <a:cubicBezTo>
                      <a:pt x="3767" y="7499"/>
                      <a:pt x="6565" y="4686"/>
                      <a:pt x="9384" y="936"/>
                    </a:cubicBezTo>
                    <a:lnTo>
                      <a:pt x="9384" y="0"/>
                    </a:lnTo>
                    <a:lnTo>
                      <a:pt x="2820" y="0"/>
                    </a:lnTo>
                    <a:cubicBezTo>
                      <a:pt x="2820" y="2811"/>
                      <a:pt x="1894" y="3749"/>
                      <a:pt x="0" y="3749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47" name="Freihandform: Form 846">
                <a:extLst>
                  <a:ext uri="{FF2B5EF4-FFF2-40B4-BE49-F238E27FC236}">
                    <a16:creationId xmlns:a16="http://schemas.microsoft.com/office/drawing/2014/main" id="{F92E39C4-FAE8-619D-D622-E01C48712CB8}"/>
                  </a:ext>
                </a:extLst>
              </p:cNvPr>
              <p:cNvSpPr/>
              <p:nvPr/>
            </p:nvSpPr>
            <p:spPr>
              <a:xfrm>
                <a:off x="5699939" y="3285137"/>
                <a:ext cx="3744" cy="8434"/>
              </a:xfrm>
              <a:custGeom>
                <a:avLst/>
                <a:gdLst>
                  <a:gd name="connsiteX0" fmla="*/ 0 w 3744"/>
                  <a:gd name="connsiteY0" fmla="*/ 4686 h 8434"/>
                  <a:gd name="connsiteX1" fmla="*/ 0 w 3744"/>
                  <a:gd name="connsiteY1" fmla="*/ 8435 h 8434"/>
                  <a:gd name="connsiteX2" fmla="*/ 3745 w 3744"/>
                  <a:gd name="connsiteY2" fmla="*/ 0 h 8434"/>
                  <a:gd name="connsiteX3" fmla="*/ 0 w 3744"/>
                  <a:gd name="connsiteY3" fmla="*/ 4686 h 84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744" h="8434">
                    <a:moveTo>
                      <a:pt x="0" y="4686"/>
                    </a:moveTo>
                    <a:lnTo>
                      <a:pt x="0" y="8435"/>
                    </a:lnTo>
                    <a:cubicBezTo>
                      <a:pt x="3745" y="6560"/>
                      <a:pt x="3745" y="4686"/>
                      <a:pt x="3745" y="0"/>
                    </a:cubicBezTo>
                    <a:cubicBezTo>
                      <a:pt x="947" y="1875"/>
                      <a:pt x="0" y="2811"/>
                      <a:pt x="0" y="4686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48" name="Freihandform: Form 847">
                <a:extLst>
                  <a:ext uri="{FF2B5EF4-FFF2-40B4-BE49-F238E27FC236}">
                    <a16:creationId xmlns:a16="http://schemas.microsoft.com/office/drawing/2014/main" id="{4D01CD69-9956-A1C7-41AC-5DABFA65678C}"/>
                  </a:ext>
                </a:extLst>
              </p:cNvPr>
              <p:cNvSpPr/>
              <p:nvPr/>
            </p:nvSpPr>
            <p:spPr>
              <a:xfrm>
                <a:off x="5701811" y="3302007"/>
                <a:ext cx="1872" cy="936"/>
              </a:xfrm>
              <a:custGeom>
                <a:avLst/>
                <a:gdLst>
                  <a:gd name="connsiteX0" fmla="*/ 1873 w 1872"/>
                  <a:gd name="connsiteY0" fmla="*/ 0 h 936"/>
                  <a:gd name="connsiteX1" fmla="*/ 0 w 1872"/>
                  <a:gd name="connsiteY1" fmla="*/ 936 h 936"/>
                  <a:gd name="connsiteX2" fmla="*/ 1873 w 1872"/>
                  <a:gd name="connsiteY2" fmla="*/ 936 h 936"/>
                  <a:gd name="connsiteX3" fmla="*/ 1873 w 1872"/>
                  <a:gd name="connsiteY3" fmla="*/ 0 h 9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72" h="936">
                    <a:moveTo>
                      <a:pt x="1873" y="0"/>
                    </a:moveTo>
                    <a:cubicBezTo>
                      <a:pt x="1873" y="0"/>
                      <a:pt x="1873" y="936"/>
                      <a:pt x="0" y="936"/>
                    </a:cubicBezTo>
                    <a:lnTo>
                      <a:pt x="1873" y="936"/>
                    </a:lnTo>
                    <a:lnTo>
                      <a:pt x="1873" y="0"/>
                    </a:ln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49" name="Freihandform: Form 848">
                <a:extLst>
                  <a:ext uri="{FF2B5EF4-FFF2-40B4-BE49-F238E27FC236}">
                    <a16:creationId xmlns:a16="http://schemas.microsoft.com/office/drawing/2014/main" id="{0D365BAB-C89B-0EAB-09B5-130FDB067DAD}"/>
                  </a:ext>
                </a:extLst>
              </p:cNvPr>
              <p:cNvSpPr/>
              <p:nvPr/>
            </p:nvSpPr>
            <p:spPr>
              <a:xfrm>
                <a:off x="5677447" y="3346995"/>
                <a:ext cx="1872" cy="1872"/>
              </a:xfrm>
              <a:custGeom>
                <a:avLst/>
                <a:gdLst>
                  <a:gd name="connsiteX0" fmla="*/ 0 w 1872"/>
                  <a:gd name="connsiteY0" fmla="*/ 0 h 1872"/>
                  <a:gd name="connsiteX1" fmla="*/ 947 w 1872"/>
                  <a:gd name="connsiteY1" fmla="*/ 1872 h 1872"/>
                  <a:gd name="connsiteX2" fmla="*/ 1873 w 1872"/>
                  <a:gd name="connsiteY2" fmla="*/ 0 h 1872"/>
                  <a:gd name="connsiteX3" fmla="*/ 0 w 1872"/>
                  <a:gd name="connsiteY3" fmla="*/ 0 h 18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72" h="1872">
                    <a:moveTo>
                      <a:pt x="0" y="0"/>
                    </a:moveTo>
                    <a:cubicBezTo>
                      <a:pt x="0" y="1872"/>
                      <a:pt x="947" y="1872"/>
                      <a:pt x="947" y="1872"/>
                    </a:cubicBezTo>
                    <a:cubicBezTo>
                      <a:pt x="947" y="1872"/>
                      <a:pt x="947" y="0"/>
                      <a:pt x="187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50" name="Freihandform: Form 849">
                <a:extLst>
                  <a:ext uri="{FF2B5EF4-FFF2-40B4-BE49-F238E27FC236}">
                    <a16:creationId xmlns:a16="http://schemas.microsoft.com/office/drawing/2014/main" id="{21E493B6-A2F1-79D2-0406-38AE8E5C2BC3}"/>
                  </a:ext>
                </a:extLst>
              </p:cNvPr>
              <p:cNvSpPr/>
              <p:nvPr/>
            </p:nvSpPr>
            <p:spPr>
              <a:xfrm>
                <a:off x="5696748" y="3309504"/>
                <a:ext cx="3190" cy="4687"/>
              </a:xfrm>
              <a:custGeom>
                <a:avLst/>
                <a:gdLst>
                  <a:gd name="connsiteX0" fmla="*/ 393 w 3190"/>
                  <a:gd name="connsiteY0" fmla="*/ 2813 h 4687"/>
                  <a:gd name="connsiteX1" fmla="*/ 1318 w 3190"/>
                  <a:gd name="connsiteY1" fmla="*/ 4688 h 4687"/>
                  <a:gd name="connsiteX2" fmla="*/ 3191 w 3190"/>
                  <a:gd name="connsiteY2" fmla="*/ 0 h 4687"/>
                  <a:gd name="connsiteX3" fmla="*/ 393 w 3190"/>
                  <a:gd name="connsiteY3" fmla="*/ 2813 h 4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190" h="4687">
                    <a:moveTo>
                      <a:pt x="393" y="2813"/>
                    </a:moveTo>
                    <a:cubicBezTo>
                      <a:pt x="-554" y="3749"/>
                      <a:pt x="393" y="4688"/>
                      <a:pt x="1318" y="4688"/>
                    </a:cubicBezTo>
                    <a:cubicBezTo>
                      <a:pt x="3191" y="2813"/>
                      <a:pt x="3191" y="938"/>
                      <a:pt x="3191" y="0"/>
                    </a:cubicBezTo>
                    <a:cubicBezTo>
                      <a:pt x="1318" y="0"/>
                      <a:pt x="393" y="938"/>
                      <a:pt x="393" y="2813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51" name="Freihandform: Form 850">
                <a:extLst>
                  <a:ext uri="{FF2B5EF4-FFF2-40B4-BE49-F238E27FC236}">
                    <a16:creationId xmlns:a16="http://schemas.microsoft.com/office/drawing/2014/main" id="{494F4826-C9F8-E52E-1333-CDF47D7B41F2}"/>
                  </a:ext>
                </a:extLst>
              </p:cNvPr>
              <p:cNvSpPr/>
              <p:nvPr/>
            </p:nvSpPr>
            <p:spPr>
              <a:xfrm>
                <a:off x="5697141" y="3293572"/>
                <a:ext cx="2797" cy="1874"/>
              </a:xfrm>
              <a:custGeom>
                <a:avLst/>
                <a:gdLst>
                  <a:gd name="connsiteX0" fmla="*/ 0 w 2797"/>
                  <a:gd name="connsiteY0" fmla="*/ 936 h 1874"/>
                  <a:gd name="connsiteX1" fmla="*/ 925 w 2797"/>
                  <a:gd name="connsiteY1" fmla="*/ 1875 h 1874"/>
                  <a:gd name="connsiteX2" fmla="*/ 2798 w 2797"/>
                  <a:gd name="connsiteY2" fmla="*/ 0 h 1874"/>
                  <a:gd name="connsiteX3" fmla="*/ 0 w 2797"/>
                  <a:gd name="connsiteY3" fmla="*/ 936 h 1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797" h="1874">
                    <a:moveTo>
                      <a:pt x="0" y="936"/>
                    </a:moveTo>
                    <a:lnTo>
                      <a:pt x="925" y="1875"/>
                    </a:lnTo>
                    <a:cubicBezTo>
                      <a:pt x="2181" y="1249"/>
                      <a:pt x="2798" y="624"/>
                      <a:pt x="2798" y="0"/>
                    </a:cubicBezTo>
                    <a:cubicBezTo>
                      <a:pt x="925" y="0"/>
                      <a:pt x="0" y="0"/>
                      <a:pt x="0" y="936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52" name="Freihandform: Form 851">
                <a:extLst>
                  <a:ext uri="{FF2B5EF4-FFF2-40B4-BE49-F238E27FC236}">
                    <a16:creationId xmlns:a16="http://schemas.microsoft.com/office/drawing/2014/main" id="{51C7E203-947F-632D-703B-6E525BCA6138}"/>
                  </a:ext>
                </a:extLst>
              </p:cNvPr>
              <p:cNvSpPr/>
              <p:nvPr/>
            </p:nvSpPr>
            <p:spPr>
              <a:xfrm>
                <a:off x="5699939" y="3302943"/>
                <a:ext cx="1872" cy="6560"/>
              </a:xfrm>
              <a:custGeom>
                <a:avLst/>
                <a:gdLst>
                  <a:gd name="connsiteX0" fmla="*/ 1872 w 1872"/>
                  <a:gd name="connsiteY0" fmla="*/ 0 h 6560"/>
                  <a:gd name="connsiteX1" fmla="*/ 0 w 1872"/>
                  <a:gd name="connsiteY1" fmla="*/ 6560 h 6560"/>
                  <a:gd name="connsiteX2" fmla="*/ 1872 w 1872"/>
                  <a:gd name="connsiteY2" fmla="*/ 2813 h 6560"/>
                  <a:gd name="connsiteX3" fmla="*/ 1872 w 1872"/>
                  <a:gd name="connsiteY3" fmla="*/ 0 h 6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72" h="6560">
                    <a:moveTo>
                      <a:pt x="1872" y="0"/>
                    </a:moveTo>
                    <a:cubicBezTo>
                      <a:pt x="0" y="1875"/>
                      <a:pt x="0" y="3749"/>
                      <a:pt x="0" y="6560"/>
                    </a:cubicBezTo>
                    <a:cubicBezTo>
                      <a:pt x="1872" y="6560"/>
                      <a:pt x="1872" y="5624"/>
                      <a:pt x="1872" y="2813"/>
                    </a:cubicBezTo>
                    <a:lnTo>
                      <a:pt x="1872" y="0"/>
                    </a:ln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53" name="Freihandform: Form 852">
                <a:extLst>
                  <a:ext uri="{FF2B5EF4-FFF2-40B4-BE49-F238E27FC236}">
                    <a16:creationId xmlns:a16="http://schemas.microsoft.com/office/drawing/2014/main" id="{FBA4D858-E262-63F9-4D39-1871399925AE}"/>
                  </a:ext>
                </a:extLst>
              </p:cNvPr>
              <p:cNvSpPr/>
              <p:nvPr/>
            </p:nvSpPr>
            <p:spPr>
              <a:xfrm>
                <a:off x="5693374" y="3324501"/>
                <a:ext cx="8437" cy="14995"/>
              </a:xfrm>
              <a:custGeom>
                <a:avLst/>
                <a:gdLst>
                  <a:gd name="connsiteX0" fmla="*/ 4692 w 8437"/>
                  <a:gd name="connsiteY0" fmla="*/ 11246 h 14995"/>
                  <a:gd name="connsiteX1" fmla="*/ 8437 w 8437"/>
                  <a:gd name="connsiteY1" fmla="*/ 2811 h 14995"/>
                  <a:gd name="connsiteX2" fmla="*/ 7512 w 8437"/>
                  <a:gd name="connsiteY2" fmla="*/ 0 h 14995"/>
                  <a:gd name="connsiteX3" fmla="*/ 6565 w 8437"/>
                  <a:gd name="connsiteY3" fmla="*/ 0 h 14995"/>
                  <a:gd name="connsiteX4" fmla="*/ 0 w 8437"/>
                  <a:gd name="connsiteY4" fmla="*/ 14057 h 14995"/>
                  <a:gd name="connsiteX5" fmla="*/ 0 w 8437"/>
                  <a:gd name="connsiteY5" fmla="*/ 14995 h 14995"/>
                  <a:gd name="connsiteX6" fmla="*/ 4692 w 8437"/>
                  <a:gd name="connsiteY6" fmla="*/ 11246 h 149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437" h="14995">
                    <a:moveTo>
                      <a:pt x="4692" y="11246"/>
                    </a:moveTo>
                    <a:cubicBezTo>
                      <a:pt x="6565" y="9371"/>
                      <a:pt x="7512" y="4686"/>
                      <a:pt x="8437" y="2811"/>
                    </a:cubicBezTo>
                    <a:cubicBezTo>
                      <a:pt x="8437" y="936"/>
                      <a:pt x="8437" y="0"/>
                      <a:pt x="7512" y="0"/>
                    </a:cubicBezTo>
                    <a:lnTo>
                      <a:pt x="6565" y="0"/>
                    </a:lnTo>
                    <a:cubicBezTo>
                      <a:pt x="2820" y="3749"/>
                      <a:pt x="947" y="9371"/>
                      <a:pt x="0" y="14057"/>
                    </a:cubicBezTo>
                    <a:lnTo>
                      <a:pt x="0" y="14995"/>
                    </a:lnTo>
                    <a:cubicBezTo>
                      <a:pt x="2820" y="14995"/>
                      <a:pt x="3767" y="13120"/>
                      <a:pt x="4692" y="11246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54" name="Freihandform: Form 853">
                <a:extLst>
                  <a:ext uri="{FF2B5EF4-FFF2-40B4-BE49-F238E27FC236}">
                    <a16:creationId xmlns:a16="http://schemas.microsoft.com/office/drawing/2014/main" id="{CE2D2B8F-058F-6D0D-CF7E-44D892A09057}"/>
                  </a:ext>
                </a:extLst>
              </p:cNvPr>
              <p:cNvSpPr/>
              <p:nvPr/>
            </p:nvSpPr>
            <p:spPr>
              <a:xfrm>
                <a:off x="5703684" y="3301071"/>
                <a:ext cx="947" cy="936"/>
              </a:xfrm>
              <a:custGeom>
                <a:avLst/>
                <a:gdLst>
                  <a:gd name="connsiteX0" fmla="*/ 947 w 947"/>
                  <a:gd name="connsiteY0" fmla="*/ 0 h 936"/>
                  <a:gd name="connsiteX1" fmla="*/ 0 w 947"/>
                  <a:gd name="connsiteY1" fmla="*/ 936 h 936"/>
                  <a:gd name="connsiteX2" fmla="*/ 947 w 947"/>
                  <a:gd name="connsiteY2" fmla="*/ 936 h 936"/>
                  <a:gd name="connsiteX3" fmla="*/ 947 w 947"/>
                  <a:gd name="connsiteY3" fmla="*/ 0 h 9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47" h="936">
                    <a:moveTo>
                      <a:pt x="947" y="0"/>
                    </a:moveTo>
                    <a:cubicBezTo>
                      <a:pt x="0" y="0"/>
                      <a:pt x="0" y="936"/>
                      <a:pt x="0" y="936"/>
                    </a:cubicBezTo>
                    <a:lnTo>
                      <a:pt x="947" y="936"/>
                    </a:lnTo>
                    <a:lnTo>
                      <a:pt x="947" y="0"/>
                    </a:ln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55" name="Freihandform: Form 854">
                <a:extLst>
                  <a:ext uri="{FF2B5EF4-FFF2-40B4-BE49-F238E27FC236}">
                    <a16:creationId xmlns:a16="http://schemas.microsoft.com/office/drawing/2014/main" id="{0825EFA6-F4FF-4121-5A8A-8C8ADCEF4918}"/>
                  </a:ext>
                </a:extLst>
              </p:cNvPr>
              <p:cNvSpPr/>
              <p:nvPr/>
            </p:nvSpPr>
            <p:spPr>
              <a:xfrm>
                <a:off x="5683064" y="3334811"/>
                <a:ext cx="2819" cy="3747"/>
              </a:xfrm>
              <a:custGeom>
                <a:avLst/>
                <a:gdLst>
                  <a:gd name="connsiteX0" fmla="*/ 1873 w 2819"/>
                  <a:gd name="connsiteY0" fmla="*/ 0 h 3747"/>
                  <a:gd name="connsiteX1" fmla="*/ 0 w 2819"/>
                  <a:gd name="connsiteY1" fmla="*/ 2811 h 3747"/>
                  <a:gd name="connsiteX2" fmla="*/ 1873 w 2819"/>
                  <a:gd name="connsiteY2" fmla="*/ 3747 h 3747"/>
                  <a:gd name="connsiteX3" fmla="*/ 2820 w 2819"/>
                  <a:gd name="connsiteY3" fmla="*/ 936 h 3747"/>
                  <a:gd name="connsiteX4" fmla="*/ 1873 w 2819"/>
                  <a:gd name="connsiteY4" fmla="*/ 0 h 37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19" h="3747">
                    <a:moveTo>
                      <a:pt x="1873" y="0"/>
                    </a:moveTo>
                    <a:cubicBezTo>
                      <a:pt x="0" y="0"/>
                      <a:pt x="0" y="936"/>
                      <a:pt x="0" y="2811"/>
                    </a:cubicBezTo>
                    <a:lnTo>
                      <a:pt x="1873" y="3747"/>
                    </a:lnTo>
                    <a:cubicBezTo>
                      <a:pt x="1873" y="2811"/>
                      <a:pt x="2820" y="936"/>
                      <a:pt x="2820" y="936"/>
                    </a:cubicBezTo>
                    <a:cubicBezTo>
                      <a:pt x="2820" y="0"/>
                      <a:pt x="1873" y="0"/>
                      <a:pt x="1873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56" name="Freihandform: Form 855">
                <a:extLst>
                  <a:ext uri="{FF2B5EF4-FFF2-40B4-BE49-F238E27FC236}">
                    <a16:creationId xmlns:a16="http://schemas.microsoft.com/office/drawing/2014/main" id="{57139CF7-A4BA-7FE0-FE59-7E2EE49A8205}"/>
                  </a:ext>
                </a:extLst>
              </p:cNvPr>
              <p:cNvSpPr/>
              <p:nvPr/>
            </p:nvSpPr>
            <p:spPr>
              <a:xfrm>
                <a:off x="5683064" y="3353556"/>
                <a:ext cx="2819" cy="2810"/>
              </a:xfrm>
              <a:custGeom>
                <a:avLst/>
                <a:gdLst>
                  <a:gd name="connsiteX0" fmla="*/ 1873 w 2819"/>
                  <a:gd name="connsiteY0" fmla="*/ 2811 h 2810"/>
                  <a:gd name="connsiteX1" fmla="*/ 2820 w 2819"/>
                  <a:gd name="connsiteY1" fmla="*/ 0 h 2810"/>
                  <a:gd name="connsiteX2" fmla="*/ 0 w 2819"/>
                  <a:gd name="connsiteY2" fmla="*/ 936 h 2810"/>
                  <a:gd name="connsiteX3" fmla="*/ 1873 w 2819"/>
                  <a:gd name="connsiteY3" fmla="*/ 2811 h 28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19" h="2810">
                    <a:moveTo>
                      <a:pt x="1873" y="2811"/>
                    </a:moveTo>
                    <a:cubicBezTo>
                      <a:pt x="2511" y="1562"/>
                      <a:pt x="2820" y="624"/>
                      <a:pt x="2820" y="0"/>
                    </a:cubicBezTo>
                    <a:cubicBezTo>
                      <a:pt x="2203" y="0"/>
                      <a:pt x="1256" y="311"/>
                      <a:pt x="0" y="936"/>
                    </a:cubicBezTo>
                    <a:lnTo>
                      <a:pt x="1873" y="2811"/>
                    </a:ln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57" name="Freihandform: Form 856">
                <a:extLst>
                  <a:ext uri="{FF2B5EF4-FFF2-40B4-BE49-F238E27FC236}">
                    <a16:creationId xmlns:a16="http://schemas.microsoft.com/office/drawing/2014/main" id="{87F4722E-453D-0FC2-66DF-B07470BB9178}"/>
                  </a:ext>
                </a:extLst>
              </p:cNvPr>
              <p:cNvSpPr/>
              <p:nvPr/>
            </p:nvSpPr>
            <p:spPr>
              <a:xfrm>
                <a:off x="5679319" y="3343246"/>
                <a:ext cx="2819" cy="2810"/>
              </a:xfrm>
              <a:custGeom>
                <a:avLst/>
                <a:gdLst>
                  <a:gd name="connsiteX0" fmla="*/ 2820 w 2819"/>
                  <a:gd name="connsiteY0" fmla="*/ 1875 h 2810"/>
                  <a:gd name="connsiteX1" fmla="*/ 1873 w 2819"/>
                  <a:gd name="connsiteY1" fmla="*/ 0 h 2810"/>
                  <a:gd name="connsiteX2" fmla="*/ 0 w 2819"/>
                  <a:gd name="connsiteY2" fmla="*/ 2811 h 2810"/>
                  <a:gd name="connsiteX3" fmla="*/ 2820 w 2819"/>
                  <a:gd name="connsiteY3" fmla="*/ 1875 h 28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19" h="2810">
                    <a:moveTo>
                      <a:pt x="2820" y="1875"/>
                    </a:moveTo>
                    <a:cubicBezTo>
                      <a:pt x="2820" y="1875"/>
                      <a:pt x="1873" y="1875"/>
                      <a:pt x="1873" y="0"/>
                    </a:cubicBezTo>
                    <a:cubicBezTo>
                      <a:pt x="1873" y="1875"/>
                      <a:pt x="0" y="2811"/>
                      <a:pt x="0" y="2811"/>
                    </a:cubicBezTo>
                    <a:cubicBezTo>
                      <a:pt x="1873" y="2811"/>
                      <a:pt x="2820" y="2811"/>
                      <a:pt x="2820" y="1875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58" name="Freihandform: Form 857">
                <a:extLst>
                  <a:ext uri="{FF2B5EF4-FFF2-40B4-BE49-F238E27FC236}">
                    <a16:creationId xmlns:a16="http://schemas.microsoft.com/office/drawing/2014/main" id="{10429F68-4DD9-F4B4-ADBB-395C850328BD}"/>
                  </a:ext>
                </a:extLst>
              </p:cNvPr>
              <p:cNvSpPr/>
              <p:nvPr/>
            </p:nvSpPr>
            <p:spPr>
              <a:xfrm>
                <a:off x="5681192" y="3320752"/>
                <a:ext cx="4692" cy="4685"/>
              </a:xfrm>
              <a:custGeom>
                <a:avLst/>
                <a:gdLst>
                  <a:gd name="connsiteX0" fmla="*/ 3745 w 4692"/>
                  <a:gd name="connsiteY0" fmla="*/ 4686 h 4685"/>
                  <a:gd name="connsiteX1" fmla="*/ 4692 w 4692"/>
                  <a:gd name="connsiteY1" fmla="*/ 936 h 4685"/>
                  <a:gd name="connsiteX2" fmla="*/ 1872 w 4692"/>
                  <a:gd name="connsiteY2" fmla="*/ 0 h 4685"/>
                  <a:gd name="connsiteX3" fmla="*/ 0 w 4692"/>
                  <a:gd name="connsiteY3" fmla="*/ 3749 h 4685"/>
                  <a:gd name="connsiteX4" fmla="*/ 947 w 4692"/>
                  <a:gd name="connsiteY4" fmla="*/ 4686 h 4685"/>
                  <a:gd name="connsiteX5" fmla="*/ 3745 w 4692"/>
                  <a:gd name="connsiteY5" fmla="*/ 4686 h 46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692" h="4685">
                    <a:moveTo>
                      <a:pt x="3745" y="4686"/>
                    </a:moveTo>
                    <a:cubicBezTo>
                      <a:pt x="4692" y="3749"/>
                      <a:pt x="4692" y="2811"/>
                      <a:pt x="4692" y="936"/>
                    </a:cubicBezTo>
                    <a:cubicBezTo>
                      <a:pt x="4692" y="0"/>
                      <a:pt x="3745" y="0"/>
                      <a:pt x="1872" y="0"/>
                    </a:cubicBezTo>
                    <a:cubicBezTo>
                      <a:pt x="947" y="936"/>
                      <a:pt x="0" y="2811"/>
                      <a:pt x="0" y="3749"/>
                    </a:cubicBezTo>
                    <a:cubicBezTo>
                      <a:pt x="0" y="4686"/>
                      <a:pt x="947" y="4686"/>
                      <a:pt x="947" y="4686"/>
                    </a:cubicBezTo>
                    <a:lnTo>
                      <a:pt x="3745" y="4686"/>
                    </a:ln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59" name="Freihandform: Form 858">
                <a:extLst>
                  <a:ext uri="{FF2B5EF4-FFF2-40B4-BE49-F238E27FC236}">
                    <a16:creationId xmlns:a16="http://schemas.microsoft.com/office/drawing/2014/main" id="{E3E672FB-4E78-66AF-C153-4807DFCE32B1}"/>
                  </a:ext>
                </a:extLst>
              </p:cNvPr>
              <p:cNvSpPr/>
              <p:nvPr/>
            </p:nvSpPr>
            <p:spPr>
              <a:xfrm>
                <a:off x="5707451" y="3270142"/>
                <a:ext cx="4670" cy="7496"/>
              </a:xfrm>
              <a:custGeom>
                <a:avLst/>
                <a:gdLst>
                  <a:gd name="connsiteX0" fmla="*/ 4670 w 4670"/>
                  <a:gd name="connsiteY0" fmla="*/ 1872 h 7496"/>
                  <a:gd name="connsiteX1" fmla="*/ 3745 w 4670"/>
                  <a:gd name="connsiteY1" fmla="*/ 0 h 7496"/>
                  <a:gd name="connsiteX2" fmla="*/ 0 w 4670"/>
                  <a:gd name="connsiteY2" fmla="*/ 6560 h 7496"/>
                  <a:gd name="connsiteX3" fmla="*/ 0 w 4670"/>
                  <a:gd name="connsiteY3" fmla="*/ 7497 h 7496"/>
                  <a:gd name="connsiteX4" fmla="*/ 4670 w 4670"/>
                  <a:gd name="connsiteY4" fmla="*/ 1872 h 74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70" h="7496">
                    <a:moveTo>
                      <a:pt x="4670" y="1872"/>
                    </a:moveTo>
                    <a:lnTo>
                      <a:pt x="3745" y="0"/>
                    </a:lnTo>
                    <a:cubicBezTo>
                      <a:pt x="925" y="1872"/>
                      <a:pt x="0" y="3747"/>
                      <a:pt x="0" y="6560"/>
                    </a:cubicBezTo>
                    <a:lnTo>
                      <a:pt x="0" y="7497"/>
                    </a:lnTo>
                    <a:cubicBezTo>
                      <a:pt x="3745" y="7497"/>
                      <a:pt x="4670" y="5622"/>
                      <a:pt x="4670" y="1872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60" name="Freihandform: Form 859">
                <a:extLst>
                  <a:ext uri="{FF2B5EF4-FFF2-40B4-BE49-F238E27FC236}">
                    <a16:creationId xmlns:a16="http://schemas.microsoft.com/office/drawing/2014/main" id="{04E8BEF3-7AD2-D3E3-9B7A-707AD61501A3}"/>
                  </a:ext>
                </a:extLst>
              </p:cNvPr>
              <p:cNvSpPr/>
              <p:nvPr/>
            </p:nvSpPr>
            <p:spPr>
              <a:xfrm>
                <a:off x="5685884" y="3346057"/>
                <a:ext cx="3744" cy="6560"/>
              </a:xfrm>
              <a:custGeom>
                <a:avLst/>
                <a:gdLst>
                  <a:gd name="connsiteX0" fmla="*/ 3745 w 3744"/>
                  <a:gd name="connsiteY0" fmla="*/ 2811 h 6560"/>
                  <a:gd name="connsiteX1" fmla="*/ 3745 w 3744"/>
                  <a:gd name="connsiteY1" fmla="*/ 0 h 6560"/>
                  <a:gd name="connsiteX2" fmla="*/ 0 w 3744"/>
                  <a:gd name="connsiteY2" fmla="*/ 6560 h 6560"/>
                  <a:gd name="connsiteX3" fmla="*/ 3745 w 3744"/>
                  <a:gd name="connsiteY3" fmla="*/ 2811 h 6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744" h="6560">
                    <a:moveTo>
                      <a:pt x="3745" y="2811"/>
                    </a:moveTo>
                    <a:lnTo>
                      <a:pt x="3745" y="0"/>
                    </a:lnTo>
                    <a:cubicBezTo>
                      <a:pt x="0" y="938"/>
                      <a:pt x="0" y="3749"/>
                      <a:pt x="0" y="6560"/>
                    </a:cubicBezTo>
                    <a:cubicBezTo>
                      <a:pt x="2820" y="6560"/>
                      <a:pt x="3745" y="4686"/>
                      <a:pt x="3745" y="2811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61" name="Freihandform: Form 860">
                <a:extLst>
                  <a:ext uri="{FF2B5EF4-FFF2-40B4-BE49-F238E27FC236}">
                    <a16:creationId xmlns:a16="http://schemas.microsoft.com/office/drawing/2014/main" id="{0BB0DD88-5E04-7F8C-6D11-B386E4B7CFDC}"/>
                  </a:ext>
                </a:extLst>
              </p:cNvPr>
              <p:cNvSpPr/>
              <p:nvPr/>
            </p:nvSpPr>
            <p:spPr>
              <a:xfrm>
                <a:off x="4409272" y="3250124"/>
                <a:ext cx="9362" cy="13122"/>
              </a:xfrm>
              <a:custGeom>
                <a:avLst/>
                <a:gdLst>
                  <a:gd name="connsiteX0" fmla="*/ 9362 w 9362"/>
                  <a:gd name="connsiteY0" fmla="*/ 0 h 13122"/>
                  <a:gd name="connsiteX1" fmla="*/ 0 w 9362"/>
                  <a:gd name="connsiteY1" fmla="*/ 13123 h 13122"/>
                  <a:gd name="connsiteX2" fmla="*/ 9362 w 9362"/>
                  <a:gd name="connsiteY2" fmla="*/ 0 h 131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362" h="13122">
                    <a:moveTo>
                      <a:pt x="9362" y="0"/>
                    </a:moveTo>
                    <a:cubicBezTo>
                      <a:pt x="2798" y="938"/>
                      <a:pt x="0" y="6560"/>
                      <a:pt x="0" y="13123"/>
                    </a:cubicBezTo>
                    <a:cubicBezTo>
                      <a:pt x="5618" y="12184"/>
                      <a:pt x="9362" y="6560"/>
                      <a:pt x="936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62" name="Freihandform: Form 861">
                <a:extLst>
                  <a:ext uri="{FF2B5EF4-FFF2-40B4-BE49-F238E27FC236}">
                    <a16:creationId xmlns:a16="http://schemas.microsoft.com/office/drawing/2014/main" id="{350FC841-2DA0-3EDD-BFDE-A33BEA4C70BB}"/>
                  </a:ext>
                </a:extLst>
              </p:cNvPr>
              <p:cNvSpPr/>
              <p:nvPr/>
            </p:nvSpPr>
            <p:spPr>
              <a:xfrm>
                <a:off x="4369906" y="3288552"/>
                <a:ext cx="21544" cy="28117"/>
              </a:xfrm>
              <a:custGeom>
                <a:avLst/>
                <a:gdLst>
                  <a:gd name="connsiteX0" fmla="*/ 21544 w 21544"/>
                  <a:gd name="connsiteY0" fmla="*/ 0 h 28117"/>
                  <a:gd name="connsiteX1" fmla="*/ 0 w 21544"/>
                  <a:gd name="connsiteY1" fmla="*/ 22494 h 28117"/>
                  <a:gd name="connsiteX2" fmla="*/ 0 w 21544"/>
                  <a:gd name="connsiteY2" fmla="*/ 28118 h 28117"/>
                  <a:gd name="connsiteX3" fmla="*/ 21544 w 21544"/>
                  <a:gd name="connsiteY3" fmla="*/ 0 h 281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544" h="28117">
                    <a:moveTo>
                      <a:pt x="21544" y="0"/>
                    </a:moveTo>
                    <a:cubicBezTo>
                      <a:pt x="10310" y="4686"/>
                      <a:pt x="5618" y="13121"/>
                      <a:pt x="0" y="22494"/>
                    </a:cubicBezTo>
                    <a:lnTo>
                      <a:pt x="0" y="28118"/>
                    </a:lnTo>
                    <a:cubicBezTo>
                      <a:pt x="10310" y="21558"/>
                      <a:pt x="16874" y="12184"/>
                      <a:pt x="21544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63" name="Freihandform: Form 862">
                <a:extLst>
                  <a:ext uri="{FF2B5EF4-FFF2-40B4-BE49-F238E27FC236}">
                    <a16:creationId xmlns:a16="http://schemas.microsoft.com/office/drawing/2014/main" id="{F3A18E46-BAEF-FA8E-A116-6F0D2F626836}"/>
                  </a:ext>
                </a:extLst>
              </p:cNvPr>
              <p:cNvSpPr/>
              <p:nvPr/>
            </p:nvSpPr>
            <p:spPr>
              <a:xfrm>
                <a:off x="4360522" y="3322292"/>
                <a:ext cx="5769" cy="8434"/>
              </a:xfrm>
              <a:custGeom>
                <a:avLst/>
                <a:gdLst>
                  <a:gd name="connsiteX0" fmla="*/ 4692 w 5769"/>
                  <a:gd name="connsiteY0" fmla="*/ 0 h 8434"/>
                  <a:gd name="connsiteX1" fmla="*/ 0 w 5769"/>
                  <a:gd name="connsiteY1" fmla="*/ 8435 h 8434"/>
                  <a:gd name="connsiteX2" fmla="*/ 4692 w 5769"/>
                  <a:gd name="connsiteY2" fmla="*/ 0 h 84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769" h="8434">
                    <a:moveTo>
                      <a:pt x="4692" y="0"/>
                    </a:moveTo>
                    <a:cubicBezTo>
                      <a:pt x="0" y="936"/>
                      <a:pt x="0" y="4688"/>
                      <a:pt x="0" y="8435"/>
                    </a:cubicBezTo>
                    <a:cubicBezTo>
                      <a:pt x="6565" y="8435"/>
                      <a:pt x="6565" y="1875"/>
                      <a:pt x="469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64" name="Freihandform: Form 863">
                <a:extLst>
                  <a:ext uri="{FF2B5EF4-FFF2-40B4-BE49-F238E27FC236}">
                    <a16:creationId xmlns:a16="http://schemas.microsoft.com/office/drawing/2014/main" id="{A2D9C464-FE1B-1B48-77DB-3F31E696FDF1}"/>
                  </a:ext>
                </a:extLst>
              </p:cNvPr>
              <p:cNvSpPr/>
              <p:nvPr/>
            </p:nvSpPr>
            <p:spPr>
              <a:xfrm>
                <a:off x="4567662" y="3201389"/>
                <a:ext cx="26236" cy="18744"/>
              </a:xfrm>
              <a:custGeom>
                <a:avLst/>
                <a:gdLst>
                  <a:gd name="connsiteX0" fmla="*/ 0 w 26236"/>
                  <a:gd name="connsiteY0" fmla="*/ 18745 h 18744"/>
                  <a:gd name="connsiteX1" fmla="*/ 26237 w 26236"/>
                  <a:gd name="connsiteY1" fmla="*/ 0 h 18744"/>
                  <a:gd name="connsiteX2" fmla="*/ 0 w 26236"/>
                  <a:gd name="connsiteY2" fmla="*/ 18745 h 18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236" h="18744">
                    <a:moveTo>
                      <a:pt x="0" y="18745"/>
                    </a:moveTo>
                    <a:cubicBezTo>
                      <a:pt x="15927" y="14995"/>
                      <a:pt x="19672" y="12184"/>
                      <a:pt x="26237" y="0"/>
                    </a:cubicBezTo>
                    <a:cubicBezTo>
                      <a:pt x="16874" y="2811"/>
                      <a:pt x="6565" y="10310"/>
                      <a:pt x="0" y="18745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65" name="Freihandform: Form 864">
                <a:extLst>
                  <a:ext uri="{FF2B5EF4-FFF2-40B4-BE49-F238E27FC236}">
                    <a16:creationId xmlns:a16="http://schemas.microsoft.com/office/drawing/2014/main" id="{C169294D-59FF-47D2-4418-B3747CEF7AF5}"/>
                  </a:ext>
                </a:extLst>
              </p:cNvPr>
              <p:cNvSpPr/>
              <p:nvPr/>
            </p:nvSpPr>
            <p:spPr>
              <a:xfrm>
                <a:off x="4514241" y="3250124"/>
                <a:ext cx="14054" cy="7922"/>
              </a:xfrm>
              <a:custGeom>
                <a:avLst/>
                <a:gdLst>
                  <a:gd name="connsiteX0" fmla="*/ 0 w 14054"/>
                  <a:gd name="connsiteY0" fmla="*/ 7499 h 7922"/>
                  <a:gd name="connsiteX1" fmla="*/ 14055 w 14054"/>
                  <a:gd name="connsiteY1" fmla="*/ 0 h 7922"/>
                  <a:gd name="connsiteX2" fmla="*/ 0 w 14054"/>
                  <a:gd name="connsiteY2" fmla="*/ 7499 h 79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054" h="7922">
                    <a:moveTo>
                      <a:pt x="0" y="7499"/>
                    </a:moveTo>
                    <a:cubicBezTo>
                      <a:pt x="7490" y="9373"/>
                      <a:pt x="11235" y="4688"/>
                      <a:pt x="14055" y="0"/>
                    </a:cubicBezTo>
                    <a:cubicBezTo>
                      <a:pt x="7490" y="0"/>
                      <a:pt x="2820" y="938"/>
                      <a:pt x="0" y="7499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66" name="Freihandform: Form 865">
                <a:extLst>
                  <a:ext uri="{FF2B5EF4-FFF2-40B4-BE49-F238E27FC236}">
                    <a16:creationId xmlns:a16="http://schemas.microsoft.com/office/drawing/2014/main" id="{E048DD73-810D-1E09-C57D-E16ABE6E4326}"/>
                  </a:ext>
                </a:extLst>
              </p:cNvPr>
              <p:cNvSpPr/>
              <p:nvPr/>
            </p:nvSpPr>
            <p:spPr>
              <a:xfrm>
                <a:off x="4530168" y="3239815"/>
                <a:ext cx="11256" cy="10309"/>
              </a:xfrm>
              <a:custGeom>
                <a:avLst/>
                <a:gdLst>
                  <a:gd name="connsiteX0" fmla="*/ 11257 w 11256"/>
                  <a:gd name="connsiteY0" fmla="*/ 0 h 10309"/>
                  <a:gd name="connsiteX1" fmla="*/ 0 w 11256"/>
                  <a:gd name="connsiteY1" fmla="*/ 10310 h 10309"/>
                  <a:gd name="connsiteX2" fmla="*/ 11257 w 11256"/>
                  <a:gd name="connsiteY2" fmla="*/ 0 h 103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256" h="10309">
                    <a:moveTo>
                      <a:pt x="11257" y="0"/>
                    </a:moveTo>
                    <a:cubicBezTo>
                      <a:pt x="6564" y="0"/>
                      <a:pt x="947" y="1875"/>
                      <a:pt x="0" y="10310"/>
                    </a:cubicBezTo>
                    <a:cubicBezTo>
                      <a:pt x="6564" y="10310"/>
                      <a:pt x="9384" y="6560"/>
                      <a:pt x="11257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67" name="Freihandform: Form 866">
                <a:extLst>
                  <a:ext uri="{FF2B5EF4-FFF2-40B4-BE49-F238E27FC236}">
                    <a16:creationId xmlns:a16="http://schemas.microsoft.com/office/drawing/2014/main" id="{7CD918AF-EA34-8B0A-CBB1-A4344C548229}"/>
                  </a:ext>
                </a:extLst>
              </p:cNvPr>
              <p:cNvSpPr/>
              <p:nvPr/>
            </p:nvSpPr>
            <p:spPr>
              <a:xfrm>
                <a:off x="4552660" y="3224910"/>
                <a:ext cx="11256" cy="5533"/>
              </a:xfrm>
              <a:custGeom>
                <a:avLst/>
                <a:gdLst>
                  <a:gd name="connsiteX0" fmla="*/ 0 w 11256"/>
                  <a:gd name="connsiteY0" fmla="*/ 5533 h 5533"/>
                  <a:gd name="connsiteX1" fmla="*/ 11257 w 11256"/>
                  <a:gd name="connsiteY1" fmla="*/ 1784 h 5533"/>
                  <a:gd name="connsiteX2" fmla="*/ 0 w 11256"/>
                  <a:gd name="connsiteY2" fmla="*/ 5533 h 55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256" h="5533">
                    <a:moveTo>
                      <a:pt x="0" y="5533"/>
                    </a:moveTo>
                    <a:cubicBezTo>
                      <a:pt x="4692" y="5533"/>
                      <a:pt x="7512" y="5533"/>
                      <a:pt x="11257" y="1784"/>
                    </a:cubicBezTo>
                    <a:cubicBezTo>
                      <a:pt x="4692" y="-1027"/>
                      <a:pt x="1872" y="-1027"/>
                      <a:pt x="0" y="5533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68" name="Freihandform: Form 867">
                <a:extLst>
                  <a:ext uri="{FF2B5EF4-FFF2-40B4-BE49-F238E27FC236}">
                    <a16:creationId xmlns:a16="http://schemas.microsoft.com/office/drawing/2014/main" id="{D232FF4C-2742-084C-47D8-6B482C273D51}"/>
                  </a:ext>
                </a:extLst>
              </p:cNvPr>
              <p:cNvSpPr/>
              <p:nvPr/>
            </p:nvSpPr>
            <p:spPr>
              <a:xfrm>
                <a:off x="4394270" y="3263247"/>
                <a:ext cx="15001" cy="20619"/>
              </a:xfrm>
              <a:custGeom>
                <a:avLst/>
                <a:gdLst>
                  <a:gd name="connsiteX0" fmla="*/ 15002 w 15001"/>
                  <a:gd name="connsiteY0" fmla="*/ 0 h 20619"/>
                  <a:gd name="connsiteX1" fmla="*/ 0 w 15001"/>
                  <a:gd name="connsiteY1" fmla="*/ 20619 h 20619"/>
                  <a:gd name="connsiteX2" fmla="*/ 15002 w 15001"/>
                  <a:gd name="connsiteY2" fmla="*/ 0 h 206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001" h="20619">
                    <a:moveTo>
                      <a:pt x="15002" y="0"/>
                    </a:moveTo>
                    <a:cubicBezTo>
                      <a:pt x="5618" y="5622"/>
                      <a:pt x="947" y="10310"/>
                      <a:pt x="0" y="20619"/>
                    </a:cubicBezTo>
                    <a:cubicBezTo>
                      <a:pt x="8437" y="17806"/>
                      <a:pt x="13129" y="10310"/>
                      <a:pt x="1500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69" name="Freihandform: Form 868">
                <a:extLst>
                  <a:ext uri="{FF2B5EF4-FFF2-40B4-BE49-F238E27FC236}">
                    <a16:creationId xmlns:a16="http://schemas.microsoft.com/office/drawing/2014/main" id="{58950C6B-5AF5-B30F-E486-0425D014809A}"/>
                  </a:ext>
                </a:extLst>
              </p:cNvPr>
              <p:cNvSpPr/>
              <p:nvPr/>
            </p:nvSpPr>
            <p:spPr>
              <a:xfrm>
                <a:off x="4563917" y="3340100"/>
                <a:ext cx="22491" cy="14995"/>
              </a:xfrm>
              <a:custGeom>
                <a:avLst/>
                <a:gdLst>
                  <a:gd name="connsiteX0" fmla="*/ 0 w 22491"/>
                  <a:gd name="connsiteY0" fmla="*/ 14995 h 14995"/>
                  <a:gd name="connsiteX1" fmla="*/ 22492 w 22491"/>
                  <a:gd name="connsiteY1" fmla="*/ 0 h 14995"/>
                  <a:gd name="connsiteX2" fmla="*/ 0 w 22491"/>
                  <a:gd name="connsiteY2" fmla="*/ 14995 h 149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2491" h="14995">
                    <a:moveTo>
                      <a:pt x="0" y="14995"/>
                    </a:moveTo>
                    <a:cubicBezTo>
                      <a:pt x="8437" y="14059"/>
                      <a:pt x="17800" y="10310"/>
                      <a:pt x="22492" y="0"/>
                    </a:cubicBezTo>
                    <a:cubicBezTo>
                      <a:pt x="12182" y="1875"/>
                      <a:pt x="3745" y="5622"/>
                      <a:pt x="0" y="14995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70" name="Freihandform: Form 869">
                <a:extLst>
                  <a:ext uri="{FF2B5EF4-FFF2-40B4-BE49-F238E27FC236}">
                    <a16:creationId xmlns:a16="http://schemas.microsoft.com/office/drawing/2014/main" id="{DBDD5E73-F566-30BE-A65C-655CCCA211C8}"/>
                  </a:ext>
                </a:extLst>
              </p:cNvPr>
              <p:cNvSpPr/>
              <p:nvPr/>
            </p:nvSpPr>
            <p:spPr>
              <a:xfrm>
                <a:off x="4586409" y="3335412"/>
                <a:ext cx="10309" cy="4687"/>
              </a:xfrm>
              <a:custGeom>
                <a:avLst/>
                <a:gdLst>
                  <a:gd name="connsiteX0" fmla="*/ 10310 w 10309"/>
                  <a:gd name="connsiteY0" fmla="*/ 0 h 4687"/>
                  <a:gd name="connsiteX1" fmla="*/ 0 w 10309"/>
                  <a:gd name="connsiteY1" fmla="*/ 4688 h 4687"/>
                  <a:gd name="connsiteX2" fmla="*/ 10310 w 10309"/>
                  <a:gd name="connsiteY2" fmla="*/ 0 h 4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309" h="4687">
                    <a:moveTo>
                      <a:pt x="10310" y="0"/>
                    </a:moveTo>
                    <a:cubicBezTo>
                      <a:pt x="4692" y="0"/>
                      <a:pt x="925" y="0"/>
                      <a:pt x="0" y="4688"/>
                    </a:cubicBezTo>
                    <a:cubicBezTo>
                      <a:pt x="4692" y="4688"/>
                      <a:pt x="7490" y="4688"/>
                      <a:pt x="1031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71" name="Freihandform: Form 870">
                <a:extLst>
                  <a:ext uri="{FF2B5EF4-FFF2-40B4-BE49-F238E27FC236}">
                    <a16:creationId xmlns:a16="http://schemas.microsoft.com/office/drawing/2014/main" id="{A6691B3C-39FB-9B24-9B04-46D6FD2B8452}"/>
                  </a:ext>
                </a:extLst>
              </p:cNvPr>
              <p:cNvSpPr/>
              <p:nvPr/>
            </p:nvSpPr>
            <p:spPr>
              <a:xfrm>
                <a:off x="4894751" y="3258664"/>
                <a:ext cx="13239" cy="4915"/>
              </a:xfrm>
              <a:custGeom>
                <a:avLst/>
                <a:gdLst>
                  <a:gd name="connsiteX0" fmla="*/ 13130 w 13239"/>
                  <a:gd name="connsiteY0" fmla="*/ 3644 h 4915"/>
                  <a:gd name="connsiteX1" fmla="*/ 7512 w 13239"/>
                  <a:gd name="connsiteY1" fmla="*/ 833 h 4915"/>
                  <a:gd name="connsiteX2" fmla="*/ 0 w 13239"/>
                  <a:gd name="connsiteY2" fmla="*/ 833 h 4915"/>
                  <a:gd name="connsiteX3" fmla="*/ 6565 w 13239"/>
                  <a:gd name="connsiteY3" fmla="*/ 4583 h 4915"/>
                  <a:gd name="connsiteX4" fmla="*/ 6763 w 13239"/>
                  <a:gd name="connsiteY4" fmla="*/ 4558 h 4915"/>
                  <a:gd name="connsiteX5" fmla="*/ 6675 w 13239"/>
                  <a:gd name="connsiteY5" fmla="*/ 4915 h 4915"/>
                  <a:gd name="connsiteX6" fmla="*/ 13239 w 13239"/>
                  <a:gd name="connsiteY6" fmla="*/ 3979 h 4915"/>
                  <a:gd name="connsiteX7" fmla="*/ 12645 w 13239"/>
                  <a:gd name="connsiteY7" fmla="*/ 3721 h 4915"/>
                  <a:gd name="connsiteX8" fmla="*/ 13130 w 13239"/>
                  <a:gd name="connsiteY8" fmla="*/ 3644 h 49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239" h="4915">
                    <a:moveTo>
                      <a:pt x="13130" y="3644"/>
                    </a:moveTo>
                    <a:cubicBezTo>
                      <a:pt x="12182" y="3644"/>
                      <a:pt x="9385" y="833"/>
                      <a:pt x="7512" y="833"/>
                    </a:cubicBezTo>
                    <a:cubicBezTo>
                      <a:pt x="4692" y="-1041"/>
                      <a:pt x="1873" y="833"/>
                      <a:pt x="0" y="833"/>
                    </a:cubicBezTo>
                    <a:cubicBezTo>
                      <a:pt x="0" y="3644"/>
                      <a:pt x="2820" y="4583"/>
                      <a:pt x="6565" y="4583"/>
                    </a:cubicBezTo>
                    <a:cubicBezTo>
                      <a:pt x="6631" y="4583"/>
                      <a:pt x="6675" y="4558"/>
                      <a:pt x="6763" y="4558"/>
                    </a:cubicBezTo>
                    <a:lnTo>
                      <a:pt x="6675" y="4915"/>
                    </a:lnTo>
                    <a:cubicBezTo>
                      <a:pt x="9473" y="4915"/>
                      <a:pt x="11345" y="3979"/>
                      <a:pt x="13239" y="3979"/>
                    </a:cubicBezTo>
                    <a:cubicBezTo>
                      <a:pt x="13086" y="3979"/>
                      <a:pt x="12843" y="3825"/>
                      <a:pt x="12645" y="3721"/>
                    </a:cubicBezTo>
                    <a:cubicBezTo>
                      <a:pt x="12799" y="3710"/>
                      <a:pt x="12975" y="3644"/>
                      <a:pt x="13130" y="3644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72" name="Freihandform: Form 871">
                <a:extLst>
                  <a:ext uri="{FF2B5EF4-FFF2-40B4-BE49-F238E27FC236}">
                    <a16:creationId xmlns:a16="http://schemas.microsoft.com/office/drawing/2014/main" id="{D5BDAE04-1C73-87EB-D88D-01214A1BD0F9}"/>
                  </a:ext>
                </a:extLst>
              </p:cNvPr>
              <p:cNvSpPr/>
              <p:nvPr/>
            </p:nvSpPr>
            <p:spPr>
              <a:xfrm>
                <a:off x="4606081" y="3188269"/>
                <a:ext cx="14076" cy="8435"/>
              </a:xfrm>
              <a:custGeom>
                <a:avLst/>
                <a:gdLst>
                  <a:gd name="connsiteX0" fmla="*/ 0 w 14076"/>
                  <a:gd name="connsiteY0" fmla="*/ 8435 h 8435"/>
                  <a:gd name="connsiteX1" fmla="*/ 14076 w 14076"/>
                  <a:gd name="connsiteY1" fmla="*/ 0 h 8435"/>
                  <a:gd name="connsiteX2" fmla="*/ 0 w 14076"/>
                  <a:gd name="connsiteY2" fmla="*/ 8435 h 84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076" h="8435">
                    <a:moveTo>
                      <a:pt x="0" y="8435"/>
                    </a:moveTo>
                    <a:cubicBezTo>
                      <a:pt x="4692" y="8435"/>
                      <a:pt x="12182" y="3749"/>
                      <a:pt x="14076" y="0"/>
                    </a:cubicBezTo>
                    <a:cubicBezTo>
                      <a:pt x="7512" y="0"/>
                      <a:pt x="1872" y="936"/>
                      <a:pt x="0" y="8435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73" name="Freihandform: Form 872">
                <a:extLst>
                  <a:ext uri="{FF2B5EF4-FFF2-40B4-BE49-F238E27FC236}">
                    <a16:creationId xmlns:a16="http://schemas.microsoft.com/office/drawing/2014/main" id="{E4DCF45F-A83F-82D0-D0E9-45A1FA2E9B68}"/>
                  </a:ext>
                </a:extLst>
              </p:cNvPr>
              <p:cNvSpPr/>
              <p:nvPr/>
            </p:nvSpPr>
            <p:spPr>
              <a:xfrm>
                <a:off x="4495494" y="3259498"/>
                <a:ext cx="18746" cy="14058"/>
              </a:xfrm>
              <a:custGeom>
                <a:avLst/>
                <a:gdLst>
                  <a:gd name="connsiteX0" fmla="*/ 18747 w 18746"/>
                  <a:gd name="connsiteY0" fmla="*/ 0 h 14058"/>
                  <a:gd name="connsiteX1" fmla="*/ 0 w 18746"/>
                  <a:gd name="connsiteY1" fmla="*/ 14059 h 14058"/>
                  <a:gd name="connsiteX2" fmla="*/ 8437 w 18746"/>
                  <a:gd name="connsiteY2" fmla="*/ 14059 h 14058"/>
                  <a:gd name="connsiteX3" fmla="*/ 18747 w 18746"/>
                  <a:gd name="connsiteY3" fmla="*/ 0 h 140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746" h="14058">
                    <a:moveTo>
                      <a:pt x="18747" y="0"/>
                    </a:moveTo>
                    <a:cubicBezTo>
                      <a:pt x="10310" y="0"/>
                      <a:pt x="3745" y="6560"/>
                      <a:pt x="0" y="14059"/>
                    </a:cubicBezTo>
                    <a:lnTo>
                      <a:pt x="8437" y="14059"/>
                    </a:lnTo>
                    <a:cubicBezTo>
                      <a:pt x="10310" y="9371"/>
                      <a:pt x="18747" y="6560"/>
                      <a:pt x="18747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74" name="Freihandform: Form 873">
                <a:extLst>
                  <a:ext uri="{FF2B5EF4-FFF2-40B4-BE49-F238E27FC236}">
                    <a16:creationId xmlns:a16="http://schemas.microsoft.com/office/drawing/2014/main" id="{AC1FA6A0-CD14-B45B-EAF1-CA5E25822CBF}"/>
                  </a:ext>
                </a:extLst>
              </p:cNvPr>
              <p:cNvSpPr/>
              <p:nvPr/>
            </p:nvSpPr>
            <p:spPr>
              <a:xfrm>
                <a:off x="4418635" y="3138593"/>
                <a:ext cx="85296" cy="109656"/>
              </a:xfrm>
              <a:custGeom>
                <a:avLst/>
                <a:gdLst>
                  <a:gd name="connsiteX0" fmla="*/ 67497 w 85296"/>
                  <a:gd name="connsiteY0" fmla="*/ 16870 h 109656"/>
                  <a:gd name="connsiteX1" fmla="*/ 11257 w 85296"/>
                  <a:gd name="connsiteY1" fmla="*/ 88101 h 109656"/>
                  <a:gd name="connsiteX2" fmla="*/ 0 w 85296"/>
                  <a:gd name="connsiteY2" fmla="*/ 109657 h 109656"/>
                  <a:gd name="connsiteX3" fmla="*/ 7512 w 85296"/>
                  <a:gd name="connsiteY3" fmla="*/ 107782 h 109656"/>
                  <a:gd name="connsiteX4" fmla="*/ 67497 w 85296"/>
                  <a:gd name="connsiteY4" fmla="*/ 29054 h 109656"/>
                  <a:gd name="connsiteX5" fmla="*/ 82477 w 85296"/>
                  <a:gd name="connsiteY5" fmla="*/ 11248 h 109656"/>
                  <a:gd name="connsiteX6" fmla="*/ 85297 w 85296"/>
                  <a:gd name="connsiteY6" fmla="*/ 0 h 109656"/>
                  <a:gd name="connsiteX7" fmla="*/ 67497 w 85296"/>
                  <a:gd name="connsiteY7" fmla="*/ 16870 h 109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5296" h="109656">
                    <a:moveTo>
                      <a:pt x="67497" y="16870"/>
                    </a:moveTo>
                    <a:cubicBezTo>
                      <a:pt x="48750" y="42177"/>
                      <a:pt x="30004" y="64671"/>
                      <a:pt x="11257" y="88101"/>
                    </a:cubicBezTo>
                    <a:cubicBezTo>
                      <a:pt x="7512" y="94661"/>
                      <a:pt x="0" y="101222"/>
                      <a:pt x="0" y="109657"/>
                    </a:cubicBezTo>
                    <a:cubicBezTo>
                      <a:pt x="1872" y="109657"/>
                      <a:pt x="6565" y="108720"/>
                      <a:pt x="7512" y="107782"/>
                    </a:cubicBezTo>
                    <a:cubicBezTo>
                      <a:pt x="26259" y="79666"/>
                      <a:pt x="46878" y="56234"/>
                      <a:pt x="67497" y="29054"/>
                    </a:cubicBezTo>
                    <a:cubicBezTo>
                      <a:pt x="72168" y="23432"/>
                      <a:pt x="76860" y="16870"/>
                      <a:pt x="82477" y="11248"/>
                    </a:cubicBezTo>
                    <a:cubicBezTo>
                      <a:pt x="83424" y="7499"/>
                      <a:pt x="85297" y="4688"/>
                      <a:pt x="85297" y="0"/>
                    </a:cubicBezTo>
                    <a:cubicBezTo>
                      <a:pt x="76860" y="4688"/>
                      <a:pt x="72168" y="11248"/>
                      <a:pt x="67497" y="16870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75" name="Freihandform: Form 874">
                <a:extLst>
                  <a:ext uri="{FF2B5EF4-FFF2-40B4-BE49-F238E27FC236}">
                    <a16:creationId xmlns:a16="http://schemas.microsoft.com/office/drawing/2014/main" id="{48FA02FF-E131-FBC9-B82A-FABB3D35441A}"/>
                  </a:ext>
                </a:extLst>
              </p:cNvPr>
              <p:cNvSpPr/>
              <p:nvPr/>
            </p:nvSpPr>
            <p:spPr>
              <a:xfrm>
                <a:off x="4893826" y="3257623"/>
                <a:ext cx="937" cy="1874"/>
              </a:xfrm>
              <a:custGeom>
                <a:avLst/>
                <a:gdLst>
                  <a:gd name="connsiteX0" fmla="*/ 0 w 937"/>
                  <a:gd name="connsiteY0" fmla="*/ 0 h 1874"/>
                  <a:gd name="connsiteX1" fmla="*/ 938 w 937"/>
                  <a:gd name="connsiteY1" fmla="*/ 0 h 1874"/>
                  <a:gd name="connsiteX2" fmla="*/ 938 w 937"/>
                  <a:gd name="connsiteY2" fmla="*/ 1874 h 1874"/>
                  <a:gd name="connsiteX3" fmla="*/ 0 w 937"/>
                  <a:gd name="connsiteY3" fmla="*/ 1874 h 1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37" h="1874">
                    <a:moveTo>
                      <a:pt x="0" y="0"/>
                    </a:moveTo>
                    <a:lnTo>
                      <a:pt x="938" y="0"/>
                    </a:lnTo>
                    <a:lnTo>
                      <a:pt x="938" y="1874"/>
                    </a:lnTo>
                    <a:lnTo>
                      <a:pt x="0" y="1874"/>
                    </a:ln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76" name="Freihandform: Form 875">
                <a:extLst>
                  <a:ext uri="{FF2B5EF4-FFF2-40B4-BE49-F238E27FC236}">
                    <a16:creationId xmlns:a16="http://schemas.microsoft.com/office/drawing/2014/main" id="{6A826086-EAED-A1CD-0C84-5D97860A866F}"/>
                  </a:ext>
                </a:extLst>
              </p:cNvPr>
              <p:cNvSpPr/>
              <p:nvPr/>
            </p:nvSpPr>
            <p:spPr>
              <a:xfrm>
                <a:off x="4658576" y="3296987"/>
                <a:ext cx="24364" cy="10309"/>
              </a:xfrm>
              <a:custGeom>
                <a:avLst/>
                <a:gdLst>
                  <a:gd name="connsiteX0" fmla="*/ 24364 w 24364"/>
                  <a:gd name="connsiteY0" fmla="*/ 0 h 10309"/>
                  <a:gd name="connsiteX1" fmla="*/ 0 w 24364"/>
                  <a:gd name="connsiteY1" fmla="*/ 10310 h 10309"/>
                  <a:gd name="connsiteX2" fmla="*/ 20619 w 24364"/>
                  <a:gd name="connsiteY2" fmla="*/ 3749 h 10309"/>
                  <a:gd name="connsiteX3" fmla="*/ 24364 w 24364"/>
                  <a:gd name="connsiteY3" fmla="*/ 0 h 103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364" h="10309">
                    <a:moveTo>
                      <a:pt x="24364" y="0"/>
                    </a:moveTo>
                    <a:cubicBezTo>
                      <a:pt x="15002" y="1875"/>
                      <a:pt x="6565" y="3749"/>
                      <a:pt x="0" y="10310"/>
                    </a:cubicBezTo>
                    <a:cubicBezTo>
                      <a:pt x="8437" y="10310"/>
                      <a:pt x="15002" y="6560"/>
                      <a:pt x="20619" y="3749"/>
                    </a:cubicBezTo>
                    <a:cubicBezTo>
                      <a:pt x="24364" y="3749"/>
                      <a:pt x="24364" y="1875"/>
                      <a:pt x="24364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77" name="Freihandform: Form 876">
                <a:extLst>
                  <a:ext uri="{FF2B5EF4-FFF2-40B4-BE49-F238E27FC236}">
                    <a16:creationId xmlns:a16="http://schemas.microsoft.com/office/drawing/2014/main" id="{744A2FD6-E48E-CDFA-3535-F999BADFBF57}"/>
                  </a:ext>
                </a:extLst>
              </p:cNvPr>
              <p:cNvSpPr/>
              <p:nvPr/>
            </p:nvSpPr>
            <p:spPr>
              <a:xfrm>
                <a:off x="4317890" y="2788409"/>
                <a:ext cx="668282" cy="745698"/>
              </a:xfrm>
              <a:custGeom>
                <a:avLst/>
                <a:gdLst>
                  <a:gd name="connsiteX0" fmla="*/ 559987 w 668282"/>
                  <a:gd name="connsiteY0" fmla="*/ 465465 h 745698"/>
                  <a:gd name="connsiteX1" fmla="*/ 558114 w 668282"/>
                  <a:gd name="connsiteY1" fmla="*/ 462654 h 745698"/>
                  <a:gd name="connsiteX2" fmla="*/ 558114 w 668282"/>
                  <a:gd name="connsiteY2" fmla="*/ 461716 h 745698"/>
                  <a:gd name="connsiteX3" fmla="*/ 565626 w 668282"/>
                  <a:gd name="connsiteY3" fmla="*/ 457966 h 745698"/>
                  <a:gd name="connsiteX4" fmla="*/ 589043 w 668282"/>
                  <a:gd name="connsiteY4" fmla="*/ 454219 h 745698"/>
                  <a:gd name="connsiteX5" fmla="*/ 589043 w 668282"/>
                  <a:gd name="connsiteY5" fmla="*/ 453281 h 745698"/>
                  <a:gd name="connsiteX6" fmla="*/ 563754 w 668282"/>
                  <a:gd name="connsiteY6" fmla="*/ 449533 h 745698"/>
                  <a:gd name="connsiteX7" fmla="*/ 590916 w 668282"/>
                  <a:gd name="connsiteY7" fmla="*/ 416730 h 745698"/>
                  <a:gd name="connsiteX8" fmla="*/ 592788 w 668282"/>
                  <a:gd name="connsiteY8" fmla="*/ 409231 h 745698"/>
                  <a:gd name="connsiteX9" fmla="*/ 607790 w 668282"/>
                  <a:gd name="connsiteY9" fmla="*/ 366120 h 745698"/>
                  <a:gd name="connsiteX10" fmla="*/ 608737 w 668282"/>
                  <a:gd name="connsiteY10" fmla="*/ 347373 h 745698"/>
                  <a:gd name="connsiteX11" fmla="*/ 605918 w 668282"/>
                  <a:gd name="connsiteY11" fmla="*/ 335189 h 745698"/>
                  <a:gd name="connsiteX12" fmla="*/ 581554 w 668282"/>
                  <a:gd name="connsiteY12" fmla="*/ 308009 h 745698"/>
                  <a:gd name="connsiteX13" fmla="*/ 572191 w 668282"/>
                  <a:gd name="connsiteY13" fmla="*/ 301449 h 745698"/>
                  <a:gd name="connsiteX14" fmla="*/ 532825 w 668282"/>
                  <a:gd name="connsiteY14" fmla="*/ 293952 h 745698"/>
                  <a:gd name="connsiteX15" fmla="*/ 530952 w 668282"/>
                  <a:gd name="connsiteY15" fmla="*/ 296763 h 745698"/>
                  <a:gd name="connsiteX16" fmla="*/ 532825 w 668282"/>
                  <a:gd name="connsiteY16" fmla="*/ 296763 h 745698"/>
                  <a:gd name="connsiteX17" fmla="*/ 549677 w 668282"/>
                  <a:gd name="connsiteY17" fmla="*/ 299574 h 745698"/>
                  <a:gd name="connsiteX18" fmla="*/ 530005 w 668282"/>
                  <a:gd name="connsiteY18" fmla="*/ 304262 h 745698"/>
                  <a:gd name="connsiteX19" fmla="*/ 433474 w 668282"/>
                  <a:gd name="connsiteY19" fmla="*/ 340813 h 745698"/>
                  <a:gd name="connsiteX20" fmla="*/ 379106 w 668282"/>
                  <a:gd name="connsiteY20" fmla="*/ 368931 h 745698"/>
                  <a:gd name="connsiteX21" fmla="*/ 316322 w 668282"/>
                  <a:gd name="connsiteY21" fmla="*/ 403609 h 745698"/>
                  <a:gd name="connsiteX22" fmla="*/ 206661 w 668282"/>
                  <a:gd name="connsiteY22" fmla="*/ 478588 h 745698"/>
                  <a:gd name="connsiteX23" fmla="*/ 186042 w 668282"/>
                  <a:gd name="connsiteY23" fmla="*/ 485148 h 745698"/>
                  <a:gd name="connsiteX24" fmla="*/ 164475 w 668282"/>
                  <a:gd name="connsiteY24" fmla="*/ 503893 h 745698"/>
                  <a:gd name="connsiteX25" fmla="*/ 171040 w 668282"/>
                  <a:gd name="connsiteY25" fmla="*/ 488897 h 745698"/>
                  <a:gd name="connsiteX26" fmla="*/ 157933 w 668282"/>
                  <a:gd name="connsiteY26" fmla="*/ 497332 h 745698"/>
                  <a:gd name="connsiteX27" fmla="*/ 107310 w 668282"/>
                  <a:gd name="connsiteY27" fmla="*/ 535758 h 745698"/>
                  <a:gd name="connsiteX28" fmla="*/ 108257 w 668282"/>
                  <a:gd name="connsiteY28" fmla="*/ 528261 h 745698"/>
                  <a:gd name="connsiteX29" fmla="*/ 126982 w 668282"/>
                  <a:gd name="connsiteY29" fmla="*/ 504829 h 745698"/>
                  <a:gd name="connsiteX30" fmla="*/ 168242 w 668282"/>
                  <a:gd name="connsiteY30" fmla="*/ 449533 h 745698"/>
                  <a:gd name="connsiteX31" fmla="*/ 187914 w 668282"/>
                  <a:gd name="connsiteY31" fmla="*/ 420479 h 745698"/>
                  <a:gd name="connsiteX32" fmla="*/ 200096 w 668282"/>
                  <a:gd name="connsiteY32" fmla="*/ 408295 h 745698"/>
                  <a:gd name="connsiteX33" fmla="*/ 204590 w 668282"/>
                  <a:gd name="connsiteY33" fmla="*/ 402142 h 745698"/>
                  <a:gd name="connsiteX34" fmla="*/ 204194 w 668282"/>
                  <a:gd name="connsiteY34" fmla="*/ 401327 h 745698"/>
                  <a:gd name="connsiteX35" fmla="*/ 236841 w 668282"/>
                  <a:gd name="connsiteY35" fmla="*/ 361840 h 745698"/>
                  <a:gd name="connsiteX36" fmla="*/ 238515 w 668282"/>
                  <a:gd name="connsiteY36" fmla="*/ 359558 h 745698"/>
                  <a:gd name="connsiteX37" fmla="*/ 242282 w 668282"/>
                  <a:gd name="connsiteY37" fmla="*/ 351122 h 745698"/>
                  <a:gd name="connsiteX38" fmla="*/ 261954 w 668282"/>
                  <a:gd name="connsiteY38" fmla="*/ 327692 h 745698"/>
                  <a:gd name="connsiteX39" fmla="*/ 281648 w 668282"/>
                  <a:gd name="connsiteY39" fmla="*/ 304262 h 745698"/>
                  <a:gd name="connsiteX40" fmla="*/ 299448 w 668282"/>
                  <a:gd name="connsiteY40" fmla="*/ 287392 h 745698"/>
                  <a:gd name="connsiteX41" fmla="*/ 325685 w 668282"/>
                  <a:gd name="connsiteY41" fmla="*/ 254589 h 745698"/>
                  <a:gd name="connsiteX42" fmla="*/ 331302 w 668282"/>
                  <a:gd name="connsiteY42" fmla="*/ 245215 h 745698"/>
                  <a:gd name="connsiteX43" fmla="*/ 340687 w 668282"/>
                  <a:gd name="connsiteY43" fmla="*/ 231158 h 745698"/>
                  <a:gd name="connsiteX44" fmla="*/ 358486 w 668282"/>
                  <a:gd name="connsiteY44" fmla="*/ 211475 h 745698"/>
                  <a:gd name="connsiteX45" fmla="*/ 375361 w 668282"/>
                  <a:gd name="connsiteY45" fmla="*/ 192731 h 745698"/>
                  <a:gd name="connsiteX46" fmla="*/ 413779 w 668282"/>
                  <a:gd name="connsiteY46" fmla="*/ 158052 h 745698"/>
                  <a:gd name="connsiteX47" fmla="*/ 480330 w 668282"/>
                  <a:gd name="connsiteY47" fmla="*/ 108379 h 745698"/>
                  <a:gd name="connsiteX48" fmla="*/ 613408 w 668282"/>
                  <a:gd name="connsiteY48" fmla="*/ 32462 h 745698"/>
                  <a:gd name="connsiteX49" fmla="*/ 628564 w 668282"/>
                  <a:gd name="connsiteY49" fmla="*/ 27146 h 745698"/>
                  <a:gd name="connsiteX50" fmla="*/ 639534 w 668282"/>
                  <a:gd name="connsiteY50" fmla="*/ 24252 h 745698"/>
                  <a:gd name="connsiteX51" fmla="*/ 649359 w 668282"/>
                  <a:gd name="connsiteY51" fmla="*/ 23681 h 745698"/>
                  <a:gd name="connsiteX52" fmla="*/ 653258 w 668282"/>
                  <a:gd name="connsiteY52" fmla="*/ 25516 h 745698"/>
                  <a:gd name="connsiteX53" fmla="*/ 668282 w 668282"/>
                  <a:gd name="connsiteY53" fmla="*/ 11008 h 745698"/>
                  <a:gd name="connsiteX54" fmla="*/ 657466 w 668282"/>
                  <a:gd name="connsiteY54" fmla="*/ 5282 h 745698"/>
                  <a:gd name="connsiteX55" fmla="*/ 617175 w 668282"/>
                  <a:gd name="connsiteY55" fmla="*/ 597 h 745698"/>
                  <a:gd name="connsiteX56" fmla="*/ 610610 w 668282"/>
                  <a:gd name="connsiteY56" fmla="*/ 597 h 745698"/>
                  <a:gd name="connsiteX57" fmla="*/ 549677 w 668282"/>
                  <a:gd name="connsiteY57" fmla="*/ 27776 h 745698"/>
                  <a:gd name="connsiteX58" fmla="*/ 503769 w 668282"/>
                  <a:gd name="connsiteY58" fmla="*/ 57769 h 745698"/>
                  <a:gd name="connsiteX59" fmla="*/ 410982 w 668282"/>
                  <a:gd name="connsiteY59" fmla="*/ 124312 h 745698"/>
                  <a:gd name="connsiteX60" fmla="*/ 349124 w 668282"/>
                  <a:gd name="connsiteY60" fmla="*/ 176797 h 745698"/>
                  <a:gd name="connsiteX61" fmla="*/ 303193 w 668282"/>
                  <a:gd name="connsiteY61" fmla="*/ 217099 h 745698"/>
                  <a:gd name="connsiteX62" fmla="*/ 190734 w 668282"/>
                  <a:gd name="connsiteY62" fmla="*/ 339877 h 745698"/>
                  <a:gd name="connsiteX63" fmla="*/ 186042 w 668282"/>
                  <a:gd name="connsiteY63" fmla="*/ 350186 h 745698"/>
                  <a:gd name="connsiteX64" fmla="*/ 206661 w 668282"/>
                  <a:gd name="connsiteY64" fmla="*/ 332378 h 745698"/>
                  <a:gd name="connsiteX65" fmla="*/ 249772 w 668282"/>
                  <a:gd name="connsiteY65" fmla="*/ 281768 h 745698"/>
                  <a:gd name="connsiteX66" fmla="*/ 296628 w 668282"/>
                  <a:gd name="connsiteY66" fmla="*/ 240530 h 745698"/>
                  <a:gd name="connsiteX67" fmla="*/ 292883 w 668282"/>
                  <a:gd name="connsiteY67" fmla="*/ 250839 h 745698"/>
                  <a:gd name="connsiteX68" fmla="*/ 268519 w 668282"/>
                  <a:gd name="connsiteY68" fmla="*/ 275208 h 745698"/>
                  <a:gd name="connsiteX69" fmla="*/ 221663 w 668282"/>
                  <a:gd name="connsiteY69" fmla="*/ 327692 h 745698"/>
                  <a:gd name="connsiteX70" fmla="*/ 184170 w 668282"/>
                  <a:gd name="connsiteY70" fmla="*/ 370806 h 745698"/>
                  <a:gd name="connsiteX71" fmla="*/ 168220 w 668282"/>
                  <a:gd name="connsiteY71" fmla="*/ 397047 h 745698"/>
                  <a:gd name="connsiteX72" fmla="*/ 172913 w 668282"/>
                  <a:gd name="connsiteY72" fmla="*/ 396111 h 745698"/>
                  <a:gd name="connsiteX73" fmla="*/ 177605 w 668282"/>
                  <a:gd name="connsiteY73" fmla="*/ 399860 h 745698"/>
                  <a:gd name="connsiteX74" fmla="*/ 176658 w 668282"/>
                  <a:gd name="connsiteY74" fmla="*/ 402671 h 745698"/>
                  <a:gd name="connsiteX75" fmla="*/ 168220 w 668282"/>
                  <a:gd name="connsiteY75" fmla="*/ 397047 h 745698"/>
                  <a:gd name="connsiteX76" fmla="*/ 147623 w 668282"/>
                  <a:gd name="connsiteY76" fmla="*/ 423290 h 745698"/>
                  <a:gd name="connsiteX77" fmla="*/ 122312 w 668282"/>
                  <a:gd name="connsiteY77" fmla="*/ 451406 h 745698"/>
                  <a:gd name="connsiteX78" fmla="*/ 108257 w 668282"/>
                  <a:gd name="connsiteY78" fmla="*/ 471089 h 745698"/>
                  <a:gd name="connsiteX79" fmla="*/ 94180 w 668282"/>
                  <a:gd name="connsiteY79" fmla="*/ 492644 h 745698"/>
                  <a:gd name="connsiteX80" fmla="*/ 91383 w 668282"/>
                  <a:gd name="connsiteY80" fmla="*/ 498269 h 745698"/>
                  <a:gd name="connsiteX81" fmla="*/ 100745 w 668282"/>
                  <a:gd name="connsiteY81" fmla="*/ 493583 h 745698"/>
                  <a:gd name="connsiteX82" fmla="*/ 109182 w 668282"/>
                  <a:gd name="connsiteY82" fmla="*/ 487959 h 745698"/>
                  <a:gd name="connsiteX83" fmla="*/ 109182 w 668282"/>
                  <a:gd name="connsiteY83" fmla="*/ 500143 h 745698"/>
                  <a:gd name="connsiteX84" fmla="*/ 103565 w 668282"/>
                  <a:gd name="connsiteY84" fmla="*/ 501080 h 745698"/>
                  <a:gd name="connsiteX85" fmla="*/ 102617 w 668282"/>
                  <a:gd name="connsiteY85" fmla="*/ 501080 h 745698"/>
                  <a:gd name="connsiteX86" fmla="*/ 81073 w 668282"/>
                  <a:gd name="connsiteY86" fmla="*/ 513264 h 745698"/>
                  <a:gd name="connsiteX87" fmla="*/ 87638 w 668282"/>
                  <a:gd name="connsiteY87" fmla="*/ 521701 h 745698"/>
                  <a:gd name="connsiteX88" fmla="*/ 84818 w 668282"/>
                  <a:gd name="connsiteY88" fmla="*/ 522637 h 745698"/>
                  <a:gd name="connsiteX89" fmla="*/ 89510 w 668282"/>
                  <a:gd name="connsiteY89" fmla="*/ 528261 h 745698"/>
                  <a:gd name="connsiteX90" fmla="*/ 84818 w 668282"/>
                  <a:gd name="connsiteY90" fmla="*/ 538571 h 745698"/>
                  <a:gd name="connsiteX91" fmla="*/ 83871 w 668282"/>
                  <a:gd name="connsiteY91" fmla="*/ 539507 h 745698"/>
                  <a:gd name="connsiteX92" fmla="*/ 81073 w 668282"/>
                  <a:gd name="connsiteY92" fmla="*/ 535758 h 745698"/>
                  <a:gd name="connsiteX93" fmla="*/ 81073 w 668282"/>
                  <a:gd name="connsiteY93" fmla="*/ 528261 h 745698"/>
                  <a:gd name="connsiteX94" fmla="*/ 73561 w 668282"/>
                  <a:gd name="connsiteY94" fmla="*/ 532008 h 745698"/>
                  <a:gd name="connsiteX95" fmla="*/ 73561 w 668282"/>
                  <a:gd name="connsiteY95" fmla="*/ 522637 h 745698"/>
                  <a:gd name="connsiteX96" fmla="*/ 52016 w 668282"/>
                  <a:gd name="connsiteY96" fmla="*/ 551692 h 745698"/>
                  <a:gd name="connsiteX97" fmla="*/ 57634 w 668282"/>
                  <a:gd name="connsiteY97" fmla="*/ 551692 h 745698"/>
                  <a:gd name="connsiteX98" fmla="*/ 52016 w 668282"/>
                  <a:gd name="connsiteY98" fmla="*/ 562001 h 745698"/>
                  <a:gd name="connsiteX99" fmla="*/ 52016 w 668282"/>
                  <a:gd name="connsiteY99" fmla="*/ 551692 h 745698"/>
                  <a:gd name="connsiteX100" fmla="*/ 31397 w 668282"/>
                  <a:gd name="connsiteY100" fmla="*/ 577933 h 745698"/>
                  <a:gd name="connsiteX101" fmla="*/ 15470 w 668282"/>
                  <a:gd name="connsiteY101" fmla="*/ 605114 h 745698"/>
                  <a:gd name="connsiteX102" fmla="*/ 11703 w 668282"/>
                  <a:gd name="connsiteY102" fmla="*/ 606987 h 745698"/>
                  <a:gd name="connsiteX103" fmla="*/ 10778 w 668282"/>
                  <a:gd name="connsiteY103" fmla="*/ 601365 h 745698"/>
                  <a:gd name="connsiteX104" fmla="*/ 34217 w 668282"/>
                  <a:gd name="connsiteY104" fmla="*/ 562001 h 745698"/>
                  <a:gd name="connsiteX105" fmla="*/ 42632 w 668282"/>
                  <a:gd name="connsiteY105" fmla="*/ 544193 h 745698"/>
                  <a:gd name="connsiteX106" fmla="*/ 34217 w 668282"/>
                  <a:gd name="connsiteY106" fmla="*/ 550753 h 745698"/>
                  <a:gd name="connsiteX107" fmla="*/ 4213 w 668282"/>
                  <a:gd name="connsiteY107" fmla="*/ 600427 h 745698"/>
                  <a:gd name="connsiteX108" fmla="*/ 4213 w 668282"/>
                  <a:gd name="connsiteY108" fmla="*/ 623857 h 745698"/>
                  <a:gd name="connsiteX109" fmla="*/ 8905 w 668282"/>
                  <a:gd name="connsiteY109" fmla="*/ 646351 h 745698"/>
                  <a:gd name="connsiteX110" fmla="*/ 11703 w 668282"/>
                  <a:gd name="connsiteY110" fmla="*/ 652911 h 745698"/>
                  <a:gd name="connsiteX111" fmla="*/ 47324 w 668282"/>
                  <a:gd name="connsiteY111" fmla="*/ 660410 h 745698"/>
                  <a:gd name="connsiteX112" fmla="*/ 109182 w 668282"/>
                  <a:gd name="connsiteY112" fmla="*/ 617297 h 745698"/>
                  <a:gd name="connsiteX113" fmla="*/ 130749 w 668282"/>
                  <a:gd name="connsiteY113" fmla="*/ 588242 h 745698"/>
                  <a:gd name="connsiteX114" fmla="*/ 156038 w 668282"/>
                  <a:gd name="connsiteY114" fmla="*/ 557313 h 745698"/>
                  <a:gd name="connsiteX115" fmla="*/ 168242 w 668282"/>
                  <a:gd name="connsiteY115" fmla="*/ 535758 h 745698"/>
                  <a:gd name="connsiteX116" fmla="*/ 186042 w 668282"/>
                  <a:gd name="connsiteY116" fmla="*/ 518888 h 745698"/>
                  <a:gd name="connsiteX117" fmla="*/ 246952 w 668282"/>
                  <a:gd name="connsiteY117" fmla="*/ 477649 h 745698"/>
                  <a:gd name="connsiteX118" fmla="*/ 311630 w 668282"/>
                  <a:gd name="connsiteY118" fmla="*/ 431725 h 745698"/>
                  <a:gd name="connsiteX119" fmla="*/ 388490 w 668282"/>
                  <a:gd name="connsiteY119" fmla="*/ 383926 h 745698"/>
                  <a:gd name="connsiteX120" fmla="*/ 407237 w 668282"/>
                  <a:gd name="connsiteY120" fmla="*/ 373617 h 745698"/>
                  <a:gd name="connsiteX121" fmla="*/ 477510 w 668282"/>
                  <a:gd name="connsiteY121" fmla="*/ 340813 h 745698"/>
                  <a:gd name="connsiteX122" fmla="*/ 492512 w 668282"/>
                  <a:gd name="connsiteY122" fmla="*/ 338938 h 745698"/>
                  <a:gd name="connsiteX123" fmla="*/ 507513 w 668282"/>
                  <a:gd name="connsiteY123" fmla="*/ 332378 h 745698"/>
                  <a:gd name="connsiteX124" fmla="*/ 525313 w 668282"/>
                  <a:gd name="connsiteY124" fmla="*/ 326754 h 745698"/>
                  <a:gd name="connsiteX125" fmla="*/ 573116 w 668282"/>
                  <a:gd name="connsiteY125" fmla="*/ 321130 h 745698"/>
                  <a:gd name="connsiteX126" fmla="*/ 583426 w 668282"/>
                  <a:gd name="connsiteY126" fmla="*/ 335189 h 745698"/>
                  <a:gd name="connsiteX127" fmla="*/ 561881 w 668282"/>
                  <a:gd name="connsiteY127" fmla="*/ 397047 h 745698"/>
                  <a:gd name="connsiteX128" fmla="*/ 558114 w 668282"/>
                  <a:gd name="connsiteY128" fmla="*/ 403607 h 745698"/>
                  <a:gd name="connsiteX129" fmla="*/ 523441 w 668282"/>
                  <a:gd name="connsiteY129" fmla="*/ 454219 h 745698"/>
                  <a:gd name="connsiteX130" fmla="*/ 498129 w 668282"/>
                  <a:gd name="connsiteY130" fmla="*/ 466403 h 745698"/>
                  <a:gd name="connsiteX131" fmla="*/ 496256 w 668282"/>
                  <a:gd name="connsiteY131" fmla="*/ 469214 h 745698"/>
                  <a:gd name="connsiteX132" fmla="*/ 499076 w 668282"/>
                  <a:gd name="connsiteY132" fmla="*/ 469214 h 745698"/>
                  <a:gd name="connsiteX133" fmla="*/ 499076 w 668282"/>
                  <a:gd name="connsiteY133" fmla="*/ 477649 h 745698"/>
                  <a:gd name="connsiteX134" fmla="*/ 480330 w 668282"/>
                  <a:gd name="connsiteY134" fmla="*/ 485148 h 745698"/>
                  <a:gd name="connsiteX135" fmla="*/ 433474 w 668282"/>
                  <a:gd name="connsiteY135" fmla="*/ 497330 h 745698"/>
                  <a:gd name="connsiteX136" fmla="*/ 370668 w 668282"/>
                  <a:gd name="connsiteY136" fmla="*/ 519824 h 745698"/>
                  <a:gd name="connsiteX137" fmla="*/ 319120 w 668282"/>
                  <a:gd name="connsiteY137" fmla="*/ 539507 h 745698"/>
                  <a:gd name="connsiteX138" fmla="*/ 269444 w 668282"/>
                  <a:gd name="connsiteY138" fmla="*/ 565751 h 745698"/>
                  <a:gd name="connsiteX139" fmla="*/ 266646 w 668282"/>
                  <a:gd name="connsiteY139" fmla="*/ 566687 h 745698"/>
                  <a:gd name="connsiteX140" fmla="*/ 227281 w 668282"/>
                  <a:gd name="connsiteY140" fmla="*/ 591992 h 745698"/>
                  <a:gd name="connsiteX141" fmla="*/ 216024 w 668282"/>
                  <a:gd name="connsiteY141" fmla="*/ 596677 h 745698"/>
                  <a:gd name="connsiteX142" fmla="*/ 221663 w 668282"/>
                  <a:gd name="connsiteY142" fmla="*/ 587306 h 745698"/>
                  <a:gd name="connsiteX143" fmla="*/ 242282 w 668282"/>
                  <a:gd name="connsiteY143" fmla="*/ 566687 h 745698"/>
                  <a:gd name="connsiteX144" fmla="*/ 238515 w 668282"/>
                  <a:gd name="connsiteY144" fmla="*/ 566687 h 745698"/>
                  <a:gd name="connsiteX145" fmla="*/ 186042 w 668282"/>
                  <a:gd name="connsiteY145" fmla="*/ 601365 h 745698"/>
                  <a:gd name="connsiteX146" fmla="*/ 138239 w 668282"/>
                  <a:gd name="connsiteY146" fmla="*/ 651039 h 745698"/>
                  <a:gd name="connsiteX147" fmla="*/ 127004 w 668282"/>
                  <a:gd name="connsiteY147" fmla="*/ 673530 h 745698"/>
                  <a:gd name="connsiteX148" fmla="*/ 129801 w 668282"/>
                  <a:gd name="connsiteY148" fmla="*/ 716644 h 745698"/>
                  <a:gd name="connsiteX149" fmla="*/ 168242 w 668282"/>
                  <a:gd name="connsiteY149" fmla="*/ 745698 h 745698"/>
                  <a:gd name="connsiteX150" fmla="*/ 201044 w 668282"/>
                  <a:gd name="connsiteY150" fmla="*/ 741949 h 745698"/>
                  <a:gd name="connsiteX151" fmla="*/ 213226 w 668282"/>
                  <a:gd name="connsiteY151" fmla="*/ 735388 h 745698"/>
                  <a:gd name="connsiteX152" fmla="*/ 230078 w 668282"/>
                  <a:gd name="connsiteY152" fmla="*/ 724143 h 745698"/>
                  <a:gd name="connsiteX153" fmla="*/ 256337 w 668282"/>
                  <a:gd name="connsiteY153" fmla="*/ 711022 h 745698"/>
                  <a:gd name="connsiteX154" fmla="*/ 281648 w 668282"/>
                  <a:gd name="connsiteY154" fmla="*/ 696024 h 745698"/>
                  <a:gd name="connsiteX155" fmla="*/ 305065 w 668282"/>
                  <a:gd name="connsiteY155" fmla="*/ 680091 h 745698"/>
                  <a:gd name="connsiteX156" fmla="*/ 322865 w 668282"/>
                  <a:gd name="connsiteY156" fmla="*/ 666034 h 745698"/>
                  <a:gd name="connsiteX157" fmla="*/ 326632 w 668282"/>
                  <a:gd name="connsiteY157" fmla="*/ 663221 h 745698"/>
                  <a:gd name="connsiteX158" fmla="*/ 349124 w 668282"/>
                  <a:gd name="connsiteY158" fmla="*/ 647289 h 745698"/>
                  <a:gd name="connsiteX159" fmla="*/ 377233 w 668282"/>
                  <a:gd name="connsiteY159" fmla="*/ 626670 h 745698"/>
                  <a:gd name="connsiteX160" fmla="*/ 416599 w 668282"/>
                  <a:gd name="connsiteY160" fmla="*/ 597616 h 745698"/>
                  <a:gd name="connsiteX161" fmla="*/ 515950 w 668282"/>
                  <a:gd name="connsiteY161" fmla="*/ 506703 h 745698"/>
                  <a:gd name="connsiteX162" fmla="*/ 539368 w 668282"/>
                  <a:gd name="connsiteY162" fmla="*/ 493583 h 745698"/>
                  <a:gd name="connsiteX163" fmla="*/ 548752 w 668282"/>
                  <a:gd name="connsiteY163" fmla="*/ 487959 h 745698"/>
                  <a:gd name="connsiteX164" fmla="*/ 548752 w 668282"/>
                  <a:gd name="connsiteY164" fmla="*/ 485148 h 745698"/>
                  <a:gd name="connsiteX165" fmla="*/ 545932 w 668282"/>
                  <a:gd name="connsiteY165" fmla="*/ 481399 h 745698"/>
                  <a:gd name="connsiteX166" fmla="*/ 559987 w 668282"/>
                  <a:gd name="connsiteY166" fmla="*/ 480460 h 745698"/>
                  <a:gd name="connsiteX167" fmla="*/ 563754 w 668282"/>
                  <a:gd name="connsiteY167" fmla="*/ 478588 h 745698"/>
                  <a:gd name="connsiteX168" fmla="*/ 559987 w 668282"/>
                  <a:gd name="connsiteY168" fmla="*/ 477649 h 745698"/>
                  <a:gd name="connsiteX169" fmla="*/ 555317 w 668282"/>
                  <a:gd name="connsiteY169" fmla="*/ 473900 h 745698"/>
                  <a:gd name="connsiteX170" fmla="*/ 559987 w 668282"/>
                  <a:gd name="connsiteY170" fmla="*/ 471089 h 745698"/>
                  <a:gd name="connsiteX171" fmla="*/ 575936 w 668282"/>
                  <a:gd name="connsiteY171" fmla="*/ 469214 h 745698"/>
                  <a:gd name="connsiteX172" fmla="*/ 575936 w 668282"/>
                  <a:gd name="connsiteY172" fmla="*/ 466403 h 745698"/>
                  <a:gd name="connsiteX173" fmla="*/ 559987 w 668282"/>
                  <a:gd name="connsiteY173" fmla="*/ 465465 h 745698"/>
                  <a:gd name="connsiteX174" fmla="*/ 425962 w 668282"/>
                  <a:gd name="connsiteY174" fmla="*/ 128998 h 745698"/>
                  <a:gd name="connsiteX175" fmla="*/ 418472 w 668282"/>
                  <a:gd name="connsiteY175" fmla="*/ 135558 h 745698"/>
                  <a:gd name="connsiteX176" fmla="*/ 425962 w 668282"/>
                  <a:gd name="connsiteY176" fmla="*/ 128998 h 745698"/>
                  <a:gd name="connsiteX177" fmla="*/ 368796 w 668282"/>
                  <a:gd name="connsiteY177" fmla="*/ 177733 h 745698"/>
                  <a:gd name="connsiteX178" fmla="*/ 357561 w 668282"/>
                  <a:gd name="connsiteY178" fmla="*/ 192728 h 745698"/>
                  <a:gd name="connsiteX179" fmla="*/ 350996 w 668282"/>
                  <a:gd name="connsiteY179" fmla="*/ 191792 h 745698"/>
                  <a:gd name="connsiteX180" fmla="*/ 368796 w 668282"/>
                  <a:gd name="connsiteY180" fmla="*/ 177733 h 745698"/>
                  <a:gd name="connsiteX181" fmla="*/ 349124 w 668282"/>
                  <a:gd name="connsiteY181" fmla="*/ 192728 h 745698"/>
                  <a:gd name="connsiteX182" fmla="*/ 345379 w 668282"/>
                  <a:gd name="connsiteY182" fmla="*/ 202102 h 745698"/>
                  <a:gd name="connsiteX183" fmla="*/ 332250 w 668282"/>
                  <a:gd name="connsiteY183" fmla="*/ 207726 h 745698"/>
                  <a:gd name="connsiteX184" fmla="*/ 349124 w 668282"/>
                  <a:gd name="connsiteY184" fmla="*/ 192728 h 745698"/>
                  <a:gd name="connsiteX185" fmla="*/ 315375 w 668282"/>
                  <a:gd name="connsiteY185" fmla="*/ 221783 h 745698"/>
                  <a:gd name="connsiteX186" fmla="*/ 302268 w 668282"/>
                  <a:gd name="connsiteY186" fmla="*/ 235842 h 745698"/>
                  <a:gd name="connsiteX187" fmla="*/ 315375 w 668282"/>
                  <a:gd name="connsiteY187" fmla="*/ 221783 h 745698"/>
                  <a:gd name="connsiteX188" fmla="*/ 186042 w 668282"/>
                  <a:gd name="connsiteY188" fmla="*/ 389548 h 745698"/>
                  <a:gd name="connsiteX189" fmla="*/ 190734 w 668282"/>
                  <a:gd name="connsiteY189" fmla="*/ 388612 h 745698"/>
                  <a:gd name="connsiteX190" fmla="*/ 195404 w 668282"/>
                  <a:gd name="connsiteY190" fmla="*/ 385801 h 745698"/>
                  <a:gd name="connsiteX191" fmla="*/ 195404 w 668282"/>
                  <a:gd name="connsiteY191" fmla="*/ 389548 h 745698"/>
                  <a:gd name="connsiteX192" fmla="*/ 183222 w 668282"/>
                  <a:gd name="connsiteY192" fmla="*/ 402671 h 745698"/>
                  <a:gd name="connsiteX193" fmla="*/ 186042 w 668282"/>
                  <a:gd name="connsiteY193" fmla="*/ 389548 h 745698"/>
                  <a:gd name="connsiteX194" fmla="*/ 164475 w 668282"/>
                  <a:gd name="connsiteY194" fmla="*/ 409231 h 745698"/>
                  <a:gd name="connsiteX195" fmla="*/ 176658 w 668282"/>
                  <a:gd name="connsiteY195" fmla="*/ 408295 h 745698"/>
                  <a:gd name="connsiteX196" fmla="*/ 168242 w 668282"/>
                  <a:gd name="connsiteY196" fmla="*/ 423290 h 745698"/>
                  <a:gd name="connsiteX197" fmla="*/ 164475 w 668282"/>
                  <a:gd name="connsiteY197" fmla="*/ 427039 h 745698"/>
                  <a:gd name="connsiteX198" fmla="*/ 162603 w 668282"/>
                  <a:gd name="connsiteY198" fmla="*/ 423290 h 745698"/>
                  <a:gd name="connsiteX199" fmla="*/ 154166 w 668282"/>
                  <a:gd name="connsiteY199" fmla="*/ 423290 h 745698"/>
                  <a:gd name="connsiteX200" fmla="*/ 164475 w 668282"/>
                  <a:gd name="connsiteY200" fmla="*/ 409231 h 745698"/>
                  <a:gd name="connsiteX201" fmla="*/ 91383 w 668282"/>
                  <a:gd name="connsiteY201" fmla="*/ 605114 h 745698"/>
                  <a:gd name="connsiteX202" fmla="*/ 84818 w 668282"/>
                  <a:gd name="connsiteY202" fmla="*/ 607925 h 745698"/>
                  <a:gd name="connsiteX203" fmla="*/ 83871 w 668282"/>
                  <a:gd name="connsiteY203" fmla="*/ 607925 h 745698"/>
                  <a:gd name="connsiteX204" fmla="*/ 81998 w 668282"/>
                  <a:gd name="connsiteY204" fmla="*/ 606987 h 745698"/>
                  <a:gd name="connsiteX205" fmla="*/ 89510 w 668282"/>
                  <a:gd name="connsiteY205" fmla="*/ 601365 h 745698"/>
                  <a:gd name="connsiteX206" fmla="*/ 92308 w 668282"/>
                  <a:gd name="connsiteY206" fmla="*/ 601365 h 745698"/>
                  <a:gd name="connsiteX207" fmla="*/ 91383 w 668282"/>
                  <a:gd name="connsiteY207" fmla="*/ 605114 h 745698"/>
                  <a:gd name="connsiteX208" fmla="*/ 387543 w 668282"/>
                  <a:gd name="connsiteY208" fmla="*/ 518888 h 745698"/>
                  <a:gd name="connsiteX209" fmla="*/ 438166 w 668282"/>
                  <a:gd name="connsiteY209" fmla="*/ 503893 h 745698"/>
                  <a:gd name="connsiteX210" fmla="*/ 440963 w 668282"/>
                  <a:gd name="connsiteY210" fmla="*/ 504829 h 745698"/>
                  <a:gd name="connsiteX211" fmla="*/ 438166 w 668282"/>
                  <a:gd name="connsiteY211" fmla="*/ 508578 h 745698"/>
                  <a:gd name="connsiteX212" fmla="*/ 388490 w 668282"/>
                  <a:gd name="connsiteY212" fmla="*/ 522637 h 745698"/>
                  <a:gd name="connsiteX213" fmla="*/ 384723 w 668282"/>
                  <a:gd name="connsiteY213" fmla="*/ 522637 h 745698"/>
                  <a:gd name="connsiteX214" fmla="*/ 387543 w 668282"/>
                  <a:gd name="connsiteY214" fmla="*/ 518888 h 745698"/>
                  <a:gd name="connsiteX215" fmla="*/ 193532 w 668282"/>
                  <a:gd name="connsiteY215" fmla="*/ 607925 h 745698"/>
                  <a:gd name="connsiteX216" fmla="*/ 210406 w 668282"/>
                  <a:gd name="connsiteY216" fmla="*/ 600427 h 745698"/>
                  <a:gd name="connsiteX217" fmla="*/ 190734 w 668282"/>
                  <a:gd name="connsiteY217" fmla="*/ 614486 h 745698"/>
                  <a:gd name="connsiteX218" fmla="*/ 193532 w 668282"/>
                  <a:gd name="connsiteY218" fmla="*/ 607925 h 745698"/>
                  <a:gd name="connsiteX219" fmla="*/ 285394 w 668282"/>
                  <a:gd name="connsiteY219" fmla="*/ 672594 h 745698"/>
                  <a:gd name="connsiteX220" fmla="*/ 278829 w 668282"/>
                  <a:gd name="connsiteY220" fmla="*/ 672594 h 745698"/>
                  <a:gd name="connsiteX221" fmla="*/ 269444 w 668282"/>
                  <a:gd name="connsiteY221" fmla="*/ 682904 h 745698"/>
                  <a:gd name="connsiteX222" fmla="*/ 212279 w 668282"/>
                  <a:gd name="connsiteY222" fmla="*/ 718518 h 745698"/>
                  <a:gd name="connsiteX223" fmla="*/ 195404 w 668282"/>
                  <a:gd name="connsiteY223" fmla="*/ 723204 h 745698"/>
                  <a:gd name="connsiteX224" fmla="*/ 193532 w 668282"/>
                  <a:gd name="connsiteY224" fmla="*/ 719457 h 745698"/>
                  <a:gd name="connsiteX225" fmla="*/ 193532 w 668282"/>
                  <a:gd name="connsiteY225" fmla="*/ 718518 h 745698"/>
                  <a:gd name="connsiteX226" fmla="*/ 195404 w 668282"/>
                  <a:gd name="connsiteY226" fmla="*/ 716644 h 745698"/>
                  <a:gd name="connsiteX227" fmla="*/ 272264 w 668282"/>
                  <a:gd name="connsiteY227" fmla="*/ 672594 h 745698"/>
                  <a:gd name="connsiteX228" fmla="*/ 278829 w 668282"/>
                  <a:gd name="connsiteY228" fmla="*/ 672594 h 745698"/>
                  <a:gd name="connsiteX229" fmla="*/ 281648 w 668282"/>
                  <a:gd name="connsiteY229" fmla="*/ 666034 h 745698"/>
                  <a:gd name="connsiteX230" fmla="*/ 311630 w 668282"/>
                  <a:gd name="connsiteY230" fmla="*/ 650100 h 745698"/>
                  <a:gd name="connsiteX231" fmla="*/ 315375 w 668282"/>
                  <a:gd name="connsiteY231" fmla="*/ 650100 h 745698"/>
                  <a:gd name="connsiteX232" fmla="*/ 285394 w 668282"/>
                  <a:gd name="connsiteY232" fmla="*/ 672594 h 745698"/>
                  <a:gd name="connsiteX233" fmla="*/ 316322 w 668282"/>
                  <a:gd name="connsiteY233" fmla="*/ 647289 h 745698"/>
                  <a:gd name="connsiteX234" fmla="*/ 331302 w 668282"/>
                  <a:gd name="connsiteY234" fmla="*/ 638854 h 745698"/>
                  <a:gd name="connsiteX235" fmla="*/ 316322 w 668282"/>
                  <a:gd name="connsiteY235" fmla="*/ 647289 h 745698"/>
                  <a:gd name="connsiteX236" fmla="*/ 350996 w 668282"/>
                  <a:gd name="connsiteY236" fmla="*/ 623857 h 745698"/>
                  <a:gd name="connsiteX237" fmla="*/ 347251 w 668282"/>
                  <a:gd name="connsiteY237" fmla="*/ 632294 h 745698"/>
                  <a:gd name="connsiteX238" fmla="*/ 341612 w 668282"/>
                  <a:gd name="connsiteY238" fmla="*/ 634167 h 745698"/>
                  <a:gd name="connsiteX239" fmla="*/ 335069 w 668282"/>
                  <a:gd name="connsiteY239" fmla="*/ 634167 h 745698"/>
                  <a:gd name="connsiteX240" fmla="*/ 350996 w 668282"/>
                  <a:gd name="connsiteY240" fmla="*/ 623857 h 745698"/>
                  <a:gd name="connsiteX241" fmla="*/ 373488 w 668282"/>
                  <a:gd name="connsiteY241" fmla="*/ 611672 h 745698"/>
                  <a:gd name="connsiteX242" fmla="*/ 350996 w 668282"/>
                  <a:gd name="connsiteY242" fmla="*/ 623857 h 745698"/>
                  <a:gd name="connsiteX243" fmla="*/ 379106 w 668282"/>
                  <a:gd name="connsiteY243" fmla="*/ 604176 h 745698"/>
                  <a:gd name="connsiteX244" fmla="*/ 387543 w 668282"/>
                  <a:gd name="connsiteY244" fmla="*/ 596677 h 745698"/>
                  <a:gd name="connsiteX245" fmla="*/ 379106 w 668282"/>
                  <a:gd name="connsiteY245" fmla="*/ 604176 h 745698"/>
                  <a:gd name="connsiteX246" fmla="*/ 388490 w 668282"/>
                  <a:gd name="connsiteY246" fmla="*/ 596677 h 745698"/>
                  <a:gd name="connsiteX247" fmla="*/ 403470 w 668282"/>
                  <a:gd name="connsiteY247" fmla="*/ 585431 h 745698"/>
                  <a:gd name="connsiteX248" fmla="*/ 388490 w 668282"/>
                  <a:gd name="connsiteY248" fmla="*/ 596677 h 745698"/>
                  <a:gd name="connsiteX249" fmla="*/ 404417 w 668282"/>
                  <a:gd name="connsiteY249" fmla="*/ 585431 h 745698"/>
                  <a:gd name="connsiteX250" fmla="*/ 411907 w 668282"/>
                  <a:gd name="connsiteY250" fmla="*/ 577933 h 745698"/>
                  <a:gd name="connsiteX251" fmla="*/ 404417 w 668282"/>
                  <a:gd name="connsiteY251" fmla="*/ 585431 h 745698"/>
                  <a:gd name="connsiteX252" fmla="*/ 375361 w 668282"/>
                  <a:gd name="connsiteY252" fmla="*/ 588242 h 745698"/>
                  <a:gd name="connsiteX253" fmla="*/ 322887 w 668282"/>
                  <a:gd name="connsiteY253" fmla="*/ 625732 h 745698"/>
                  <a:gd name="connsiteX254" fmla="*/ 227281 w 668282"/>
                  <a:gd name="connsiteY254" fmla="*/ 688528 h 745698"/>
                  <a:gd name="connsiteX255" fmla="*/ 210406 w 668282"/>
                  <a:gd name="connsiteY255" fmla="*/ 696024 h 745698"/>
                  <a:gd name="connsiteX256" fmla="*/ 171040 w 668282"/>
                  <a:gd name="connsiteY256" fmla="*/ 704459 h 745698"/>
                  <a:gd name="connsiteX257" fmla="*/ 162603 w 668282"/>
                  <a:gd name="connsiteY257" fmla="*/ 704459 h 745698"/>
                  <a:gd name="connsiteX258" fmla="*/ 159805 w 668282"/>
                  <a:gd name="connsiteY258" fmla="*/ 697899 h 745698"/>
                  <a:gd name="connsiteX259" fmla="*/ 183222 w 668282"/>
                  <a:gd name="connsiteY259" fmla="*/ 666970 h 745698"/>
                  <a:gd name="connsiteX260" fmla="*/ 223535 w 668282"/>
                  <a:gd name="connsiteY260" fmla="*/ 629481 h 745698"/>
                  <a:gd name="connsiteX261" fmla="*/ 265699 w 668282"/>
                  <a:gd name="connsiteY261" fmla="*/ 604176 h 745698"/>
                  <a:gd name="connsiteX262" fmla="*/ 326632 w 668282"/>
                  <a:gd name="connsiteY262" fmla="*/ 568562 h 745698"/>
                  <a:gd name="connsiteX263" fmla="*/ 365998 w 668282"/>
                  <a:gd name="connsiteY263" fmla="*/ 551689 h 745698"/>
                  <a:gd name="connsiteX264" fmla="*/ 370668 w 668282"/>
                  <a:gd name="connsiteY264" fmla="*/ 550753 h 745698"/>
                  <a:gd name="connsiteX265" fmla="*/ 434399 w 668282"/>
                  <a:gd name="connsiteY265" fmla="*/ 524510 h 745698"/>
                  <a:gd name="connsiteX266" fmla="*/ 453145 w 668282"/>
                  <a:gd name="connsiteY266" fmla="*/ 515139 h 745698"/>
                  <a:gd name="connsiteX267" fmla="*/ 457838 w 668282"/>
                  <a:gd name="connsiteY267" fmla="*/ 515139 h 745698"/>
                  <a:gd name="connsiteX268" fmla="*/ 456890 w 668282"/>
                  <a:gd name="connsiteY268" fmla="*/ 521699 h 745698"/>
                  <a:gd name="connsiteX269" fmla="*/ 423164 w 668282"/>
                  <a:gd name="connsiteY269" fmla="*/ 551689 h 745698"/>
                  <a:gd name="connsiteX270" fmla="*/ 375361 w 668282"/>
                  <a:gd name="connsiteY270" fmla="*/ 588242 h 745698"/>
                  <a:gd name="connsiteX271" fmla="*/ 441911 w 668282"/>
                  <a:gd name="connsiteY271" fmla="*/ 551689 h 745698"/>
                  <a:gd name="connsiteX272" fmla="*/ 459710 w 668282"/>
                  <a:gd name="connsiteY272" fmla="*/ 538569 h 745698"/>
                  <a:gd name="connsiteX273" fmla="*/ 441911 w 668282"/>
                  <a:gd name="connsiteY273" fmla="*/ 551689 h 745698"/>
                  <a:gd name="connsiteX274" fmla="*/ 472839 w 668282"/>
                  <a:gd name="connsiteY274" fmla="*/ 498269 h 745698"/>
                  <a:gd name="connsiteX275" fmla="*/ 440963 w 668282"/>
                  <a:gd name="connsiteY275" fmla="*/ 503893 h 745698"/>
                  <a:gd name="connsiteX276" fmla="*/ 441911 w 668282"/>
                  <a:gd name="connsiteY276" fmla="*/ 501080 h 745698"/>
                  <a:gd name="connsiteX277" fmla="*/ 473765 w 668282"/>
                  <a:gd name="connsiteY277" fmla="*/ 495455 h 745698"/>
                  <a:gd name="connsiteX278" fmla="*/ 472839 w 668282"/>
                  <a:gd name="connsiteY278" fmla="*/ 498269 h 7456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</a:cxnLst>
                <a:rect l="l" t="t" r="r" b="b"/>
                <a:pathLst>
                  <a:path w="668282" h="745698">
                    <a:moveTo>
                      <a:pt x="559987" y="465465"/>
                    </a:moveTo>
                    <a:cubicBezTo>
                      <a:pt x="558114" y="465465"/>
                      <a:pt x="558114" y="462654"/>
                      <a:pt x="558114" y="462654"/>
                    </a:cubicBezTo>
                    <a:lnTo>
                      <a:pt x="558114" y="461716"/>
                    </a:lnTo>
                    <a:cubicBezTo>
                      <a:pt x="561881" y="459843"/>
                      <a:pt x="563754" y="457966"/>
                      <a:pt x="565626" y="457966"/>
                    </a:cubicBezTo>
                    <a:cubicBezTo>
                      <a:pt x="573116" y="454219"/>
                      <a:pt x="579681" y="454219"/>
                      <a:pt x="589043" y="454219"/>
                    </a:cubicBezTo>
                    <a:lnTo>
                      <a:pt x="589043" y="453281"/>
                    </a:lnTo>
                    <a:cubicBezTo>
                      <a:pt x="581554" y="451406"/>
                      <a:pt x="575936" y="451406"/>
                      <a:pt x="563754" y="449533"/>
                    </a:cubicBezTo>
                    <a:cubicBezTo>
                      <a:pt x="578734" y="442035"/>
                      <a:pt x="578734" y="425165"/>
                      <a:pt x="590916" y="416730"/>
                    </a:cubicBezTo>
                    <a:cubicBezTo>
                      <a:pt x="591863" y="415793"/>
                      <a:pt x="592788" y="412042"/>
                      <a:pt x="592788" y="409231"/>
                    </a:cubicBezTo>
                    <a:cubicBezTo>
                      <a:pt x="595608" y="394236"/>
                      <a:pt x="604045" y="381115"/>
                      <a:pt x="607790" y="366120"/>
                    </a:cubicBezTo>
                    <a:cubicBezTo>
                      <a:pt x="608737" y="359558"/>
                      <a:pt x="610610" y="354872"/>
                      <a:pt x="608737" y="347373"/>
                    </a:cubicBezTo>
                    <a:cubicBezTo>
                      <a:pt x="607790" y="343626"/>
                      <a:pt x="605918" y="339877"/>
                      <a:pt x="605918" y="335189"/>
                    </a:cubicBezTo>
                    <a:cubicBezTo>
                      <a:pt x="602173" y="326754"/>
                      <a:pt x="591863" y="312695"/>
                      <a:pt x="581554" y="308009"/>
                    </a:cubicBezTo>
                    <a:lnTo>
                      <a:pt x="572191" y="301449"/>
                    </a:lnTo>
                    <a:cubicBezTo>
                      <a:pt x="559987" y="293952"/>
                      <a:pt x="545932" y="293014"/>
                      <a:pt x="532825" y="293952"/>
                    </a:cubicBezTo>
                    <a:cubicBezTo>
                      <a:pt x="530952" y="293952"/>
                      <a:pt x="530952" y="295825"/>
                      <a:pt x="530952" y="296763"/>
                    </a:cubicBezTo>
                    <a:lnTo>
                      <a:pt x="532825" y="296763"/>
                    </a:lnTo>
                    <a:cubicBezTo>
                      <a:pt x="538443" y="299574"/>
                      <a:pt x="543135" y="299574"/>
                      <a:pt x="549677" y="299574"/>
                    </a:cubicBezTo>
                    <a:cubicBezTo>
                      <a:pt x="543135" y="301449"/>
                      <a:pt x="537495" y="308009"/>
                      <a:pt x="530005" y="304262"/>
                    </a:cubicBezTo>
                    <a:cubicBezTo>
                      <a:pt x="498129" y="316444"/>
                      <a:pt x="461582" y="326754"/>
                      <a:pt x="433474" y="340813"/>
                    </a:cubicBezTo>
                    <a:cubicBezTo>
                      <a:pt x="413779" y="350186"/>
                      <a:pt x="396927" y="361432"/>
                      <a:pt x="379106" y="368931"/>
                    </a:cubicBezTo>
                    <a:cubicBezTo>
                      <a:pt x="357561" y="377366"/>
                      <a:pt x="337867" y="392361"/>
                      <a:pt x="316322" y="403609"/>
                    </a:cubicBezTo>
                    <a:cubicBezTo>
                      <a:pt x="280701" y="427976"/>
                      <a:pt x="242282" y="453281"/>
                      <a:pt x="206661" y="478588"/>
                    </a:cubicBezTo>
                    <a:cubicBezTo>
                      <a:pt x="200096" y="484210"/>
                      <a:pt x="195404" y="485148"/>
                      <a:pt x="186042" y="485148"/>
                    </a:cubicBezTo>
                    <a:cubicBezTo>
                      <a:pt x="183222" y="495458"/>
                      <a:pt x="173860" y="501082"/>
                      <a:pt x="164475" y="503893"/>
                    </a:cubicBezTo>
                    <a:cubicBezTo>
                      <a:pt x="166348" y="498269"/>
                      <a:pt x="169168" y="495458"/>
                      <a:pt x="171040" y="488897"/>
                    </a:cubicBezTo>
                    <a:cubicBezTo>
                      <a:pt x="166348" y="487959"/>
                      <a:pt x="162603" y="493583"/>
                      <a:pt x="157933" y="497332"/>
                    </a:cubicBezTo>
                    <a:cubicBezTo>
                      <a:pt x="141983" y="510453"/>
                      <a:pt x="124184" y="522637"/>
                      <a:pt x="107310" y="535758"/>
                    </a:cubicBezTo>
                    <a:cubicBezTo>
                      <a:pt x="107310" y="533885"/>
                      <a:pt x="107310" y="532008"/>
                      <a:pt x="108257" y="528261"/>
                    </a:cubicBezTo>
                    <a:cubicBezTo>
                      <a:pt x="111055" y="518888"/>
                      <a:pt x="118566" y="513264"/>
                      <a:pt x="126982" y="504829"/>
                    </a:cubicBezTo>
                    <a:cubicBezTo>
                      <a:pt x="138239" y="486084"/>
                      <a:pt x="153240" y="468278"/>
                      <a:pt x="168242" y="449533"/>
                    </a:cubicBezTo>
                    <a:cubicBezTo>
                      <a:pt x="173860" y="440160"/>
                      <a:pt x="181350" y="429850"/>
                      <a:pt x="187914" y="420479"/>
                    </a:cubicBezTo>
                    <a:cubicBezTo>
                      <a:pt x="190734" y="415793"/>
                      <a:pt x="196352" y="412981"/>
                      <a:pt x="200096" y="408295"/>
                    </a:cubicBezTo>
                    <a:cubicBezTo>
                      <a:pt x="201154" y="405911"/>
                      <a:pt x="202740" y="403874"/>
                      <a:pt x="204590" y="402142"/>
                    </a:cubicBezTo>
                    <a:lnTo>
                      <a:pt x="204194" y="401327"/>
                    </a:lnTo>
                    <a:cubicBezTo>
                      <a:pt x="204194" y="401327"/>
                      <a:pt x="219152" y="381827"/>
                      <a:pt x="236841" y="361840"/>
                    </a:cubicBezTo>
                    <a:cubicBezTo>
                      <a:pt x="236995" y="361393"/>
                      <a:pt x="237370" y="360721"/>
                      <a:pt x="238515" y="359558"/>
                    </a:cubicBezTo>
                    <a:cubicBezTo>
                      <a:pt x="239463" y="357683"/>
                      <a:pt x="241335" y="355810"/>
                      <a:pt x="242282" y="351122"/>
                    </a:cubicBezTo>
                    <a:cubicBezTo>
                      <a:pt x="249772" y="343626"/>
                      <a:pt x="256337" y="335191"/>
                      <a:pt x="261954" y="327692"/>
                    </a:cubicBezTo>
                    <a:cubicBezTo>
                      <a:pt x="266646" y="320194"/>
                      <a:pt x="273211" y="310822"/>
                      <a:pt x="281648" y="304262"/>
                    </a:cubicBezTo>
                    <a:cubicBezTo>
                      <a:pt x="288191" y="299576"/>
                      <a:pt x="292883" y="293014"/>
                      <a:pt x="299448" y="287392"/>
                    </a:cubicBezTo>
                    <a:cubicBezTo>
                      <a:pt x="306938" y="275208"/>
                      <a:pt x="314450" y="262085"/>
                      <a:pt x="325685" y="254589"/>
                    </a:cubicBezTo>
                    <a:cubicBezTo>
                      <a:pt x="326632" y="251775"/>
                      <a:pt x="329430" y="248028"/>
                      <a:pt x="331302" y="245215"/>
                    </a:cubicBezTo>
                    <a:cubicBezTo>
                      <a:pt x="334122" y="242404"/>
                      <a:pt x="335069" y="235844"/>
                      <a:pt x="340687" y="231158"/>
                    </a:cubicBezTo>
                    <a:cubicBezTo>
                      <a:pt x="347251" y="227409"/>
                      <a:pt x="352869" y="217099"/>
                      <a:pt x="358486" y="211475"/>
                    </a:cubicBezTo>
                    <a:cubicBezTo>
                      <a:pt x="365998" y="207726"/>
                      <a:pt x="370668" y="201166"/>
                      <a:pt x="375361" y="192731"/>
                    </a:cubicBezTo>
                    <a:cubicBezTo>
                      <a:pt x="387543" y="179608"/>
                      <a:pt x="400672" y="169300"/>
                      <a:pt x="413779" y="158052"/>
                    </a:cubicBezTo>
                    <a:cubicBezTo>
                      <a:pt x="438166" y="142119"/>
                      <a:pt x="459710" y="123374"/>
                      <a:pt x="480330" y="108379"/>
                    </a:cubicBezTo>
                    <a:cubicBezTo>
                      <a:pt x="523441" y="79324"/>
                      <a:pt x="565626" y="51209"/>
                      <a:pt x="613408" y="32462"/>
                    </a:cubicBezTo>
                    <a:cubicBezTo>
                      <a:pt x="617175" y="31526"/>
                      <a:pt x="619334" y="29448"/>
                      <a:pt x="628564" y="27146"/>
                    </a:cubicBezTo>
                    <a:cubicBezTo>
                      <a:pt x="631361" y="25271"/>
                      <a:pt x="635789" y="24252"/>
                      <a:pt x="639534" y="24252"/>
                    </a:cubicBezTo>
                    <a:cubicBezTo>
                      <a:pt x="647972" y="24252"/>
                      <a:pt x="647619" y="24252"/>
                      <a:pt x="649359" y="23681"/>
                    </a:cubicBezTo>
                    <a:cubicBezTo>
                      <a:pt x="649844" y="24007"/>
                      <a:pt x="648192" y="23681"/>
                      <a:pt x="653258" y="25516"/>
                    </a:cubicBezTo>
                    <a:cubicBezTo>
                      <a:pt x="657158" y="24355"/>
                      <a:pt x="667687" y="20280"/>
                      <a:pt x="668282" y="11008"/>
                    </a:cubicBezTo>
                    <a:cubicBezTo>
                      <a:pt x="664846" y="8869"/>
                      <a:pt x="661365" y="6771"/>
                      <a:pt x="657466" y="5282"/>
                    </a:cubicBezTo>
                    <a:cubicBezTo>
                      <a:pt x="644337" y="1535"/>
                      <a:pt x="630282" y="-1278"/>
                      <a:pt x="617175" y="597"/>
                    </a:cubicBezTo>
                    <a:lnTo>
                      <a:pt x="610610" y="597"/>
                    </a:lnTo>
                    <a:cubicBezTo>
                      <a:pt x="589043" y="8095"/>
                      <a:pt x="568424" y="13719"/>
                      <a:pt x="549677" y="27776"/>
                    </a:cubicBezTo>
                    <a:cubicBezTo>
                      <a:pt x="533750" y="39024"/>
                      <a:pt x="518748" y="47459"/>
                      <a:pt x="503769" y="57769"/>
                    </a:cubicBezTo>
                    <a:cubicBezTo>
                      <a:pt x="471892" y="77450"/>
                      <a:pt x="440963" y="101818"/>
                      <a:pt x="410982" y="124312"/>
                    </a:cubicBezTo>
                    <a:cubicBezTo>
                      <a:pt x="388490" y="139308"/>
                      <a:pt x="368796" y="158991"/>
                      <a:pt x="349124" y="176797"/>
                    </a:cubicBezTo>
                    <a:cubicBezTo>
                      <a:pt x="332250" y="188981"/>
                      <a:pt x="319120" y="203977"/>
                      <a:pt x="303193" y="217099"/>
                    </a:cubicBezTo>
                    <a:cubicBezTo>
                      <a:pt x="263827" y="255525"/>
                      <a:pt x="227281" y="296763"/>
                      <a:pt x="190734" y="339877"/>
                    </a:cubicBezTo>
                    <a:cubicBezTo>
                      <a:pt x="187914" y="342688"/>
                      <a:pt x="186042" y="346437"/>
                      <a:pt x="186042" y="350186"/>
                    </a:cubicBezTo>
                    <a:cubicBezTo>
                      <a:pt x="196352" y="347373"/>
                      <a:pt x="201044" y="339877"/>
                      <a:pt x="206661" y="332378"/>
                    </a:cubicBezTo>
                    <a:cubicBezTo>
                      <a:pt x="221663" y="315508"/>
                      <a:pt x="234770" y="296763"/>
                      <a:pt x="249772" y="281768"/>
                    </a:cubicBezTo>
                    <a:cubicBezTo>
                      <a:pt x="265699" y="266771"/>
                      <a:pt x="278829" y="251775"/>
                      <a:pt x="296628" y="240530"/>
                    </a:cubicBezTo>
                    <a:cubicBezTo>
                      <a:pt x="299448" y="245215"/>
                      <a:pt x="295703" y="247090"/>
                      <a:pt x="292883" y="250839"/>
                    </a:cubicBezTo>
                    <a:cubicBezTo>
                      <a:pt x="285394" y="258338"/>
                      <a:pt x="276009" y="266771"/>
                      <a:pt x="268519" y="275208"/>
                    </a:cubicBezTo>
                    <a:cubicBezTo>
                      <a:pt x="251645" y="293014"/>
                      <a:pt x="234770" y="308948"/>
                      <a:pt x="221663" y="327692"/>
                    </a:cubicBezTo>
                    <a:cubicBezTo>
                      <a:pt x="210406" y="342688"/>
                      <a:pt x="196352" y="355808"/>
                      <a:pt x="184170" y="370806"/>
                    </a:cubicBezTo>
                    <a:cubicBezTo>
                      <a:pt x="177605" y="379241"/>
                      <a:pt x="171040" y="388612"/>
                      <a:pt x="168220" y="397047"/>
                    </a:cubicBezTo>
                    <a:cubicBezTo>
                      <a:pt x="169168" y="397047"/>
                      <a:pt x="171040" y="397047"/>
                      <a:pt x="172913" y="396111"/>
                    </a:cubicBezTo>
                    <a:cubicBezTo>
                      <a:pt x="176658" y="394236"/>
                      <a:pt x="176658" y="397047"/>
                      <a:pt x="177605" y="399860"/>
                    </a:cubicBezTo>
                    <a:cubicBezTo>
                      <a:pt x="177605" y="400483"/>
                      <a:pt x="177296" y="401422"/>
                      <a:pt x="176658" y="402671"/>
                    </a:cubicBezTo>
                    <a:cubicBezTo>
                      <a:pt x="172913" y="402671"/>
                      <a:pt x="169168" y="403609"/>
                      <a:pt x="168220" y="397047"/>
                    </a:cubicBezTo>
                    <a:cubicBezTo>
                      <a:pt x="156038" y="402671"/>
                      <a:pt x="150421" y="412042"/>
                      <a:pt x="147623" y="423290"/>
                    </a:cubicBezTo>
                    <a:cubicBezTo>
                      <a:pt x="137314" y="429850"/>
                      <a:pt x="129801" y="440160"/>
                      <a:pt x="122312" y="451406"/>
                    </a:cubicBezTo>
                    <a:cubicBezTo>
                      <a:pt x="117619" y="458905"/>
                      <a:pt x="112002" y="465465"/>
                      <a:pt x="108257" y="471089"/>
                    </a:cubicBezTo>
                    <a:cubicBezTo>
                      <a:pt x="102617" y="478588"/>
                      <a:pt x="97000" y="485148"/>
                      <a:pt x="94180" y="492644"/>
                    </a:cubicBezTo>
                    <a:cubicBezTo>
                      <a:pt x="92308" y="493583"/>
                      <a:pt x="92308" y="495458"/>
                      <a:pt x="91383" y="498269"/>
                    </a:cubicBezTo>
                    <a:lnTo>
                      <a:pt x="100745" y="493583"/>
                    </a:lnTo>
                    <a:cubicBezTo>
                      <a:pt x="102617" y="492644"/>
                      <a:pt x="103565" y="485148"/>
                      <a:pt x="109182" y="487959"/>
                    </a:cubicBezTo>
                    <a:cubicBezTo>
                      <a:pt x="111055" y="488897"/>
                      <a:pt x="109182" y="495458"/>
                      <a:pt x="109182" y="500143"/>
                    </a:cubicBezTo>
                    <a:cubicBezTo>
                      <a:pt x="109182" y="501080"/>
                      <a:pt x="108257" y="501080"/>
                      <a:pt x="103565" y="501080"/>
                    </a:cubicBezTo>
                    <a:lnTo>
                      <a:pt x="102617" y="501080"/>
                    </a:lnTo>
                    <a:cubicBezTo>
                      <a:pt x="97000" y="508578"/>
                      <a:pt x="84818" y="506703"/>
                      <a:pt x="81073" y="513264"/>
                    </a:cubicBezTo>
                    <a:cubicBezTo>
                      <a:pt x="86690" y="514515"/>
                      <a:pt x="88871" y="517326"/>
                      <a:pt x="87638" y="521701"/>
                    </a:cubicBezTo>
                    <a:cubicBezTo>
                      <a:pt x="84818" y="521701"/>
                      <a:pt x="84818" y="522637"/>
                      <a:pt x="84818" y="522637"/>
                    </a:cubicBezTo>
                    <a:cubicBezTo>
                      <a:pt x="87638" y="524512"/>
                      <a:pt x="91383" y="527323"/>
                      <a:pt x="89510" y="528261"/>
                    </a:cubicBezTo>
                    <a:cubicBezTo>
                      <a:pt x="89510" y="532008"/>
                      <a:pt x="87638" y="534822"/>
                      <a:pt x="84818" y="538571"/>
                    </a:cubicBezTo>
                    <a:cubicBezTo>
                      <a:pt x="83871" y="538571"/>
                      <a:pt x="83871" y="539507"/>
                      <a:pt x="83871" y="539507"/>
                    </a:cubicBezTo>
                    <a:cubicBezTo>
                      <a:pt x="81998" y="538571"/>
                      <a:pt x="81073" y="538571"/>
                      <a:pt x="81073" y="535758"/>
                    </a:cubicBezTo>
                    <a:lnTo>
                      <a:pt x="81073" y="528261"/>
                    </a:lnTo>
                    <a:cubicBezTo>
                      <a:pt x="80126" y="531072"/>
                      <a:pt x="76381" y="531072"/>
                      <a:pt x="73561" y="532008"/>
                    </a:cubicBezTo>
                    <a:lnTo>
                      <a:pt x="73561" y="522637"/>
                    </a:lnTo>
                    <a:cubicBezTo>
                      <a:pt x="62326" y="531072"/>
                      <a:pt x="55761" y="539507"/>
                      <a:pt x="52016" y="551692"/>
                    </a:cubicBezTo>
                    <a:lnTo>
                      <a:pt x="57634" y="551692"/>
                    </a:lnTo>
                    <a:cubicBezTo>
                      <a:pt x="57634" y="557313"/>
                      <a:pt x="57634" y="561063"/>
                      <a:pt x="52016" y="562001"/>
                    </a:cubicBezTo>
                    <a:lnTo>
                      <a:pt x="52016" y="551692"/>
                    </a:lnTo>
                    <a:cubicBezTo>
                      <a:pt x="42632" y="558252"/>
                      <a:pt x="38887" y="568562"/>
                      <a:pt x="31397" y="577933"/>
                    </a:cubicBezTo>
                    <a:cubicBezTo>
                      <a:pt x="25780" y="587306"/>
                      <a:pt x="19215" y="597616"/>
                      <a:pt x="15470" y="605114"/>
                    </a:cubicBezTo>
                    <a:cubicBezTo>
                      <a:pt x="14523" y="606987"/>
                      <a:pt x="11703" y="606987"/>
                      <a:pt x="11703" y="606987"/>
                    </a:cubicBezTo>
                    <a:cubicBezTo>
                      <a:pt x="10778" y="605114"/>
                      <a:pt x="10778" y="604176"/>
                      <a:pt x="10778" y="601365"/>
                    </a:cubicBezTo>
                    <a:cubicBezTo>
                      <a:pt x="18268" y="588244"/>
                      <a:pt x="27652" y="574185"/>
                      <a:pt x="34217" y="562001"/>
                    </a:cubicBezTo>
                    <a:cubicBezTo>
                      <a:pt x="37962" y="554502"/>
                      <a:pt x="43579" y="550753"/>
                      <a:pt x="42632" y="544193"/>
                    </a:cubicBezTo>
                    <a:cubicBezTo>
                      <a:pt x="41707" y="546067"/>
                      <a:pt x="35142" y="547004"/>
                      <a:pt x="34217" y="550753"/>
                    </a:cubicBezTo>
                    <a:cubicBezTo>
                      <a:pt x="23907" y="566687"/>
                      <a:pt x="14523" y="584493"/>
                      <a:pt x="4213" y="600427"/>
                    </a:cubicBezTo>
                    <a:cubicBezTo>
                      <a:pt x="-1404" y="607925"/>
                      <a:pt x="-1404" y="616360"/>
                      <a:pt x="4213" y="623857"/>
                    </a:cubicBezTo>
                    <a:cubicBezTo>
                      <a:pt x="7958" y="629481"/>
                      <a:pt x="7958" y="638854"/>
                      <a:pt x="8905" y="646351"/>
                    </a:cubicBezTo>
                    <a:cubicBezTo>
                      <a:pt x="10778" y="647289"/>
                      <a:pt x="10778" y="651039"/>
                      <a:pt x="11703" y="652911"/>
                    </a:cubicBezTo>
                    <a:cubicBezTo>
                      <a:pt x="22960" y="658535"/>
                      <a:pt x="34217" y="666034"/>
                      <a:pt x="47324" y="660410"/>
                    </a:cubicBezTo>
                    <a:cubicBezTo>
                      <a:pt x="73561" y="652911"/>
                      <a:pt x="94180" y="638854"/>
                      <a:pt x="109182" y="617297"/>
                    </a:cubicBezTo>
                    <a:cubicBezTo>
                      <a:pt x="115747" y="607925"/>
                      <a:pt x="122312" y="597616"/>
                      <a:pt x="130749" y="588242"/>
                    </a:cubicBezTo>
                    <a:cubicBezTo>
                      <a:pt x="141983" y="580746"/>
                      <a:pt x="147623" y="568559"/>
                      <a:pt x="156038" y="557313"/>
                    </a:cubicBezTo>
                    <a:cubicBezTo>
                      <a:pt x="159805" y="550753"/>
                      <a:pt x="164475" y="544193"/>
                      <a:pt x="168242" y="535758"/>
                    </a:cubicBezTo>
                    <a:cubicBezTo>
                      <a:pt x="172913" y="528259"/>
                      <a:pt x="180425" y="522637"/>
                      <a:pt x="186042" y="518888"/>
                    </a:cubicBezTo>
                    <a:cubicBezTo>
                      <a:pt x="206661" y="504829"/>
                      <a:pt x="227281" y="488895"/>
                      <a:pt x="246952" y="477649"/>
                    </a:cubicBezTo>
                    <a:cubicBezTo>
                      <a:pt x="268519" y="461716"/>
                      <a:pt x="290064" y="446720"/>
                      <a:pt x="311630" y="431725"/>
                    </a:cubicBezTo>
                    <a:cubicBezTo>
                      <a:pt x="337867" y="414855"/>
                      <a:pt x="365998" y="402671"/>
                      <a:pt x="388490" y="383926"/>
                    </a:cubicBezTo>
                    <a:cubicBezTo>
                      <a:pt x="394107" y="379238"/>
                      <a:pt x="400672" y="376427"/>
                      <a:pt x="407237" y="373617"/>
                    </a:cubicBezTo>
                    <a:cubicBezTo>
                      <a:pt x="430654" y="364243"/>
                      <a:pt x="454093" y="350184"/>
                      <a:pt x="477510" y="340813"/>
                    </a:cubicBezTo>
                    <a:cubicBezTo>
                      <a:pt x="484075" y="334253"/>
                      <a:pt x="489714" y="342688"/>
                      <a:pt x="492512" y="338938"/>
                    </a:cubicBezTo>
                    <a:cubicBezTo>
                      <a:pt x="498129" y="332378"/>
                      <a:pt x="503769" y="334253"/>
                      <a:pt x="507513" y="332378"/>
                    </a:cubicBezTo>
                    <a:cubicBezTo>
                      <a:pt x="514078" y="330503"/>
                      <a:pt x="519695" y="327692"/>
                      <a:pt x="525313" y="326754"/>
                    </a:cubicBezTo>
                    <a:cubicBezTo>
                      <a:pt x="542187" y="321130"/>
                      <a:pt x="557189" y="312695"/>
                      <a:pt x="573116" y="321130"/>
                    </a:cubicBezTo>
                    <a:cubicBezTo>
                      <a:pt x="579681" y="323943"/>
                      <a:pt x="583426" y="328629"/>
                      <a:pt x="583426" y="335189"/>
                    </a:cubicBezTo>
                    <a:cubicBezTo>
                      <a:pt x="579681" y="357683"/>
                      <a:pt x="578734" y="379238"/>
                      <a:pt x="561881" y="397047"/>
                    </a:cubicBezTo>
                    <a:cubicBezTo>
                      <a:pt x="559987" y="399858"/>
                      <a:pt x="559987" y="402671"/>
                      <a:pt x="558114" y="403607"/>
                    </a:cubicBezTo>
                    <a:cubicBezTo>
                      <a:pt x="549677" y="423290"/>
                      <a:pt x="537495" y="440160"/>
                      <a:pt x="523441" y="454219"/>
                    </a:cubicBezTo>
                    <a:cubicBezTo>
                      <a:pt x="515950" y="461716"/>
                      <a:pt x="510333" y="468276"/>
                      <a:pt x="498129" y="466403"/>
                    </a:cubicBezTo>
                    <a:cubicBezTo>
                      <a:pt x="496256" y="466403"/>
                      <a:pt x="494384" y="468276"/>
                      <a:pt x="496256" y="469214"/>
                    </a:cubicBezTo>
                    <a:lnTo>
                      <a:pt x="499076" y="469214"/>
                    </a:lnTo>
                    <a:cubicBezTo>
                      <a:pt x="503769" y="473900"/>
                      <a:pt x="503769" y="477649"/>
                      <a:pt x="499076" y="477649"/>
                    </a:cubicBezTo>
                    <a:cubicBezTo>
                      <a:pt x="494384" y="480460"/>
                      <a:pt x="487819" y="484210"/>
                      <a:pt x="480330" y="485148"/>
                    </a:cubicBezTo>
                    <a:cubicBezTo>
                      <a:pt x="464402" y="486084"/>
                      <a:pt x="450348" y="493583"/>
                      <a:pt x="433474" y="497330"/>
                    </a:cubicBezTo>
                    <a:cubicBezTo>
                      <a:pt x="410982" y="503893"/>
                      <a:pt x="391288" y="510453"/>
                      <a:pt x="370668" y="519824"/>
                    </a:cubicBezTo>
                    <a:cubicBezTo>
                      <a:pt x="353816" y="527323"/>
                      <a:pt x="335069" y="532008"/>
                      <a:pt x="319120" y="539507"/>
                    </a:cubicBezTo>
                    <a:cubicBezTo>
                      <a:pt x="303193" y="548878"/>
                      <a:pt x="285394" y="553566"/>
                      <a:pt x="269444" y="565751"/>
                    </a:cubicBezTo>
                    <a:cubicBezTo>
                      <a:pt x="269444" y="565751"/>
                      <a:pt x="268519" y="566687"/>
                      <a:pt x="266646" y="566687"/>
                    </a:cubicBezTo>
                    <a:cubicBezTo>
                      <a:pt x="253517" y="573247"/>
                      <a:pt x="238515" y="580746"/>
                      <a:pt x="227281" y="591992"/>
                    </a:cubicBezTo>
                    <a:cubicBezTo>
                      <a:pt x="222588" y="596677"/>
                      <a:pt x="219790" y="596677"/>
                      <a:pt x="216024" y="596677"/>
                    </a:cubicBezTo>
                    <a:cubicBezTo>
                      <a:pt x="216024" y="590117"/>
                      <a:pt x="219790" y="588244"/>
                      <a:pt x="221663" y="587306"/>
                    </a:cubicBezTo>
                    <a:cubicBezTo>
                      <a:pt x="228206" y="578871"/>
                      <a:pt x="238515" y="574185"/>
                      <a:pt x="242282" y="566687"/>
                    </a:cubicBezTo>
                    <a:lnTo>
                      <a:pt x="238515" y="566687"/>
                    </a:lnTo>
                    <a:cubicBezTo>
                      <a:pt x="219790" y="578871"/>
                      <a:pt x="201044" y="588244"/>
                      <a:pt x="186042" y="601365"/>
                    </a:cubicBezTo>
                    <a:cubicBezTo>
                      <a:pt x="169168" y="617299"/>
                      <a:pt x="153240" y="632294"/>
                      <a:pt x="138239" y="651039"/>
                    </a:cubicBezTo>
                    <a:cubicBezTo>
                      <a:pt x="134494" y="657599"/>
                      <a:pt x="127929" y="666034"/>
                      <a:pt x="127004" y="673530"/>
                    </a:cubicBezTo>
                    <a:cubicBezTo>
                      <a:pt x="122312" y="689464"/>
                      <a:pt x="124184" y="703523"/>
                      <a:pt x="129801" y="716644"/>
                    </a:cubicBezTo>
                    <a:cubicBezTo>
                      <a:pt x="137314" y="733514"/>
                      <a:pt x="149496" y="745698"/>
                      <a:pt x="168242" y="745698"/>
                    </a:cubicBezTo>
                    <a:cubicBezTo>
                      <a:pt x="177605" y="745698"/>
                      <a:pt x="190734" y="745698"/>
                      <a:pt x="201044" y="741949"/>
                    </a:cubicBezTo>
                    <a:cubicBezTo>
                      <a:pt x="203841" y="739138"/>
                      <a:pt x="210406" y="738202"/>
                      <a:pt x="213226" y="735388"/>
                    </a:cubicBezTo>
                    <a:cubicBezTo>
                      <a:pt x="218843" y="729766"/>
                      <a:pt x="223535" y="726953"/>
                      <a:pt x="230078" y="724143"/>
                    </a:cubicBezTo>
                    <a:lnTo>
                      <a:pt x="256337" y="711022"/>
                    </a:lnTo>
                    <a:cubicBezTo>
                      <a:pt x="266646" y="707273"/>
                      <a:pt x="272264" y="697899"/>
                      <a:pt x="281648" y="696024"/>
                    </a:cubicBezTo>
                    <a:cubicBezTo>
                      <a:pt x="291958" y="692275"/>
                      <a:pt x="296628" y="684779"/>
                      <a:pt x="305065" y="680091"/>
                    </a:cubicBezTo>
                    <a:cubicBezTo>
                      <a:pt x="309758" y="673530"/>
                      <a:pt x="314450" y="666034"/>
                      <a:pt x="322865" y="666034"/>
                    </a:cubicBezTo>
                    <a:cubicBezTo>
                      <a:pt x="325685" y="666034"/>
                      <a:pt x="326632" y="665095"/>
                      <a:pt x="326632" y="663221"/>
                    </a:cubicBezTo>
                    <a:cubicBezTo>
                      <a:pt x="332250" y="652911"/>
                      <a:pt x="340687" y="651039"/>
                      <a:pt x="349124" y="647289"/>
                    </a:cubicBezTo>
                    <a:cubicBezTo>
                      <a:pt x="358486" y="642602"/>
                      <a:pt x="368796" y="636041"/>
                      <a:pt x="377233" y="626670"/>
                    </a:cubicBezTo>
                    <a:cubicBezTo>
                      <a:pt x="388490" y="616360"/>
                      <a:pt x="403470" y="606987"/>
                      <a:pt x="416599" y="597616"/>
                    </a:cubicBezTo>
                    <a:cubicBezTo>
                      <a:pt x="451273" y="570436"/>
                      <a:pt x="485022" y="538569"/>
                      <a:pt x="515950" y="506703"/>
                    </a:cubicBezTo>
                    <a:cubicBezTo>
                      <a:pt x="523441" y="500143"/>
                      <a:pt x="530005" y="493583"/>
                      <a:pt x="539368" y="493583"/>
                    </a:cubicBezTo>
                    <a:cubicBezTo>
                      <a:pt x="543135" y="492644"/>
                      <a:pt x="545932" y="488895"/>
                      <a:pt x="548752" y="487959"/>
                    </a:cubicBezTo>
                    <a:lnTo>
                      <a:pt x="548752" y="485148"/>
                    </a:lnTo>
                    <a:cubicBezTo>
                      <a:pt x="545932" y="485148"/>
                      <a:pt x="543135" y="484210"/>
                      <a:pt x="545932" y="481399"/>
                    </a:cubicBezTo>
                    <a:cubicBezTo>
                      <a:pt x="549677" y="480460"/>
                      <a:pt x="555317" y="480460"/>
                      <a:pt x="559987" y="480460"/>
                    </a:cubicBezTo>
                    <a:cubicBezTo>
                      <a:pt x="561881" y="480460"/>
                      <a:pt x="563754" y="478588"/>
                      <a:pt x="563754" y="478588"/>
                    </a:cubicBezTo>
                    <a:cubicBezTo>
                      <a:pt x="561881" y="477649"/>
                      <a:pt x="559987" y="477649"/>
                      <a:pt x="559987" y="477649"/>
                    </a:cubicBezTo>
                    <a:cubicBezTo>
                      <a:pt x="558114" y="474838"/>
                      <a:pt x="555317" y="474838"/>
                      <a:pt x="555317" y="473900"/>
                    </a:cubicBezTo>
                    <a:cubicBezTo>
                      <a:pt x="553444" y="469214"/>
                      <a:pt x="557189" y="471089"/>
                      <a:pt x="559987" y="471089"/>
                    </a:cubicBezTo>
                    <a:cubicBezTo>
                      <a:pt x="564679" y="469214"/>
                      <a:pt x="570297" y="469214"/>
                      <a:pt x="575936" y="469214"/>
                    </a:cubicBezTo>
                    <a:lnTo>
                      <a:pt x="575936" y="466403"/>
                    </a:lnTo>
                    <a:cubicBezTo>
                      <a:pt x="570297" y="465465"/>
                      <a:pt x="564679" y="465465"/>
                      <a:pt x="559987" y="465465"/>
                    </a:cubicBezTo>
                    <a:close/>
                    <a:moveTo>
                      <a:pt x="425962" y="128998"/>
                    </a:moveTo>
                    <a:cubicBezTo>
                      <a:pt x="424089" y="135558"/>
                      <a:pt x="421291" y="135558"/>
                      <a:pt x="418472" y="135558"/>
                    </a:cubicBezTo>
                    <a:cubicBezTo>
                      <a:pt x="419419" y="128998"/>
                      <a:pt x="423164" y="128998"/>
                      <a:pt x="425962" y="128998"/>
                    </a:cubicBezTo>
                    <a:close/>
                    <a:moveTo>
                      <a:pt x="368796" y="177733"/>
                    </a:moveTo>
                    <a:cubicBezTo>
                      <a:pt x="367870" y="185232"/>
                      <a:pt x="360359" y="188981"/>
                      <a:pt x="357561" y="192728"/>
                    </a:cubicBezTo>
                    <a:cubicBezTo>
                      <a:pt x="357561" y="194603"/>
                      <a:pt x="353816" y="192728"/>
                      <a:pt x="350996" y="191792"/>
                    </a:cubicBezTo>
                    <a:cubicBezTo>
                      <a:pt x="353816" y="183357"/>
                      <a:pt x="360359" y="177733"/>
                      <a:pt x="368796" y="177733"/>
                    </a:cubicBezTo>
                    <a:close/>
                    <a:moveTo>
                      <a:pt x="349124" y="192728"/>
                    </a:moveTo>
                    <a:cubicBezTo>
                      <a:pt x="349124" y="194603"/>
                      <a:pt x="347251" y="197416"/>
                      <a:pt x="345379" y="202102"/>
                    </a:cubicBezTo>
                    <a:cubicBezTo>
                      <a:pt x="340687" y="203977"/>
                      <a:pt x="337867" y="208662"/>
                      <a:pt x="332250" y="207726"/>
                    </a:cubicBezTo>
                    <a:cubicBezTo>
                      <a:pt x="335069" y="197416"/>
                      <a:pt x="340687" y="192728"/>
                      <a:pt x="349124" y="192728"/>
                    </a:cubicBezTo>
                    <a:close/>
                    <a:moveTo>
                      <a:pt x="315375" y="221783"/>
                    </a:moveTo>
                    <a:cubicBezTo>
                      <a:pt x="315375" y="230220"/>
                      <a:pt x="311630" y="234905"/>
                      <a:pt x="302268" y="235842"/>
                    </a:cubicBezTo>
                    <a:cubicBezTo>
                      <a:pt x="305065" y="228345"/>
                      <a:pt x="309758" y="223657"/>
                      <a:pt x="315375" y="221783"/>
                    </a:cubicBezTo>
                    <a:close/>
                    <a:moveTo>
                      <a:pt x="186042" y="389548"/>
                    </a:moveTo>
                    <a:cubicBezTo>
                      <a:pt x="187914" y="388612"/>
                      <a:pt x="188862" y="388612"/>
                      <a:pt x="190734" y="388612"/>
                    </a:cubicBezTo>
                    <a:cubicBezTo>
                      <a:pt x="190734" y="385801"/>
                      <a:pt x="193532" y="385801"/>
                      <a:pt x="195404" y="385801"/>
                    </a:cubicBezTo>
                    <a:cubicBezTo>
                      <a:pt x="195404" y="388612"/>
                      <a:pt x="196352" y="389548"/>
                      <a:pt x="195404" y="389548"/>
                    </a:cubicBezTo>
                    <a:cubicBezTo>
                      <a:pt x="190734" y="394236"/>
                      <a:pt x="186042" y="397047"/>
                      <a:pt x="183222" y="402671"/>
                    </a:cubicBezTo>
                    <a:cubicBezTo>
                      <a:pt x="181350" y="397047"/>
                      <a:pt x="184170" y="393297"/>
                      <a:pt x="186042" y="389548"/>
                    </a:cubicBezTo>
                    <a:close/>
                    <a:moveTo>
                      <a:pt x="164475" y="409231"/>
                    </a:moveTo>
                    <a:cubicBezTo>
                      <a:pt x="169168" y="412981"/>
                      <a:pt x="172913" y="409231"/>
                      <a:pt x="176658" y="408295"/>
                    </a:cubicBezTo>
                    <a:cubicBezTo>
                      <a:pt x="176658" y="414855"/>
                      <a:pt x="173860" y="419541"/>
                      <a:pt x="168242" y="423290"/>
                    </a:cubicBezTo>
                    <a:lnTo>
                      <a:pt x="164475" y="427039"/>
                    </a:lnTo>
                    <a:cubicBezTo>
                      <a:pt x="164475" y="425788"/>
                      <a:pt x="163858" y="424539"/>
                      <a:pt x="162603" y="423290"/>
                    </a:cubicBezTo>
                    <a:lnTo>
                      <a:pt x="154166" y="423290"/>
                    </a:lnTo>
                    <a:cubicBezTo>
                      <a:pt x="156038" y="415791"/>
                      <a:pt x="159805" y="412981"/>
                      <a:pt x="164475" y="409231"/>
                    </a:cubicBezTo>
                    <a:close/>
                    <a:moveTo>
                      <a:pt x="91383" y="605114"/>
                    </a:moveTo>
                    <a:cubicBezTo>
                      <a:pt x="89510" y="606987"/>
                      <a:pt x="87638" y="606987"/>
                      <a:pt x="84818" y="607925"/>
                    </a:cubicBezTo>
                    <a:lnTo>
                      <a:pt x="83871" y="607925"/>
                    </a:lnTo>
                    <a:cubicBezTo>
                      <a:pt x="83871" y="606987"/>
                      <a:pt x="81998" y="606987"/>
                      <a:pt x="81998" y="606987"/>
                    </a:cubicBezTo>
                    <a:cubicBezTo>
                      <a:pt x="83871" y="605114"/>
                      <a:pt x="84818" y="604176"/>
                      <a:pt x="89510" y="601365"/>
                    </a:cubicBezTo>
                    <a:lnTo>
                      <a:pt x="92308" y="601365"/>
                    </a:lnTo>
                    <a:cubicBezTo>
                      <a:pt x="92308" y="601365"/>
                      <a:pt x="92308" y="604176"/>
                      <a:pt x="91383" y="605114"/>
                    </a:cubicBezTo>
                    <a:close/>
                    <a:moveTo>
                      <a:pt x="387543" y="518888"/>
                    </a:moveTo>
                    <a:cubicBezTo>
                      <a:pt x="404417" y="512328"/>
                      <a:pt x="421291" y="508578"/>
                      <a:pt x="438166" y="503893"/>
                    </a:cubicBezTo>
                    <a:cubicBezTo>
                      <a:pt x="438166" y="503893"/>
                      <a:pt x="439091" y="503893"/>
                      <a:pt x="440963" y="504829"/>
                    </a:cubicBezTo>
                    <a:cubicBezTo>
                      <a:pt x="439091" y="506703"/>
                      <a:pt x="439091" y="508578"/>
                      <a:pt x="438166" y="508578"/>
                    </a:cubicBezTo>
                    <a:cubicBezTo>
                      <a:pt x="421291" y="513264"/>
                      <a:pt x="404417" y="518888"/>
                      <a:pt x="388490" y="522637"/>
                    </a:cubicBezTo>
                    <a:lnTo>
                      <a:pt x="384723" y="522637"/>
                    </a:lnTo>
                    <a:cubicBezTo>
                      <a:pt x="385670" y="521699"/>
                      <a:pt x="387543" y="519824"/>
                      <a:pt x="387543" y="518888"/>
                    </a:cubicBezTo>
                    <a:close/>
                    <a:moveTo>
                      <a:pt x="193532" y="607925"/>
                    </a:moveTo>
                    <a:cubicBezTo>
                      <a:pt x="199171" y="604176"/>
                      <a:pt x="202916" y="599490"/>
                      <a:pt x="210406" y="600427"/>
                    </a:cubicBezTo>
                    <a:cubicBezTo>
                      <a:pt x="206661" y="607925"/>
                      <a:pt x="200096" y="611675"/>
                      <a:pt x="190734" y="614486"/>
                    </a:cubicBezTo>
                    <a:cubicBezTo>
                      <a:pt x="190734" y="612611"/>
                      <a:pt x="190734" y="607925"/>
                      <a:pt x="193532" y="607925"/>
                    </a:cubicBezTo>
                    <a:close/>
                    <a:moveTo>
                      <a:pt x="285394" y="672594"/>
                    </a:moveTo>
                    <a:lnTo>
                      <a:pt x="278829" y="672594"/>
                    </a:lnTo>
                    <a:cubicBezTo>
                      <a:pt x="278829" y="677280"/>
                      <a:pt x="273211" y="680091"/>
                      <a:pt x="269444" y="682904"/>
                    </a:cubicBezTo>
                    <a:cubicBezTo>
                      <a:pt x="249772" y="696024"/>
                      <a:pt x="230078" y="704459"/>
                      <a:pt x="212279" y="718518"/>
                    </a:cubicBezTo>
                    <a:cubicBezTo>
                      <a:pt x="206661" y="720393"/>
                      <a:pt x="201044" y="720393"/>
                      <a:pt x="195404" y="723204"/>
                    </a:cubicBezTo>
                    <a:cubicBezTo>
                      <a:pt x="195404" y="723204"/>
                      <a:pt x="193532" y="720393"/>
                      <a:pt x="193532" y="719457"/>
                    </a:cubicBezTo>
                    <a:lnTo>
                      <a:pt x="193532" y="718518"/>
                    </a:lnTo>
                    <a:cubicBezTo>
                      <a:pt x="195404" y="718518"/>
                      <a:pt x="195404" y="716644"/>
                      <a:pt x="195404" y="716644"/>
                    </a:cubicBezTo>
                    <a:cubicBezTo>
                      <a:pt x="219790" y="700712"/>
                      <a:pt x="246027" y="688528"/>
                      <a:pt x="272264" y="672594"/>
                    </a:cubicBezTo>
                    <a:lnTo>
                      <a:pt x="278829" y="672594"/>
                    </a:lnTo>
                    <a:cubicBezTo>
                      <a:pt x="278829" y="670720"/>
                      <a:pt x="280701" y="666970"/>
                      <a:pt x="281648" y="666034"/>
                    </a:cubicBezTo>
                    <a:cubicBezTo>
                      <a:pt x="291958" y="660410"/>
                      <a:pt x="302268" y="653850"/>
                      <a:pt x="311630" y="650100"/>
                    </a:cubicBezTo>
                    <a:cubicBezTo>
                      <a:pt x="314450" y="647289"/>
                      <a:pt x="315375" y="650100"/>
                      <a:pt x="315375" y="650100"/>
                    </a:cubicBezTo>
                    <a:cubicBezTo>
                      <a:pt x="309758" y="660410"/>
                      <a:pt x="296628" y="666034"/>
                      <a:pt x="285394" y="672594"/>
                    </a:cubicBezTo>
                    <a:close/>
                    <a:moveTo>
                      <a:pt x="316322" y="647289"/>
                    </a:moveTo>
                    <a:cubicBezTo>
                      <a:pt x="319120" y="640729"/>
                      <a:pt x="322865" y="637916"/>
                      <a:pt x="331302" y="638854"/>
                    </a:cubicBezTo>
                    <a:cubicBezTo>
                      <a:pt x="326632" y="646351"/>
                      <a:pt x="325685" y="647289"/>
                      <a:pt x="316322" y="647289"/>
                    </a:cubicBezTo>
                    <a:close/>
                    <a:moveTo>
                      <a:pt x="350996" y="623857"/>
                    </a:moveTo>
                    <a:cubicBezTo>
                      <a:pt x="349124" y="626670"/>
                      <a:pt x="349124" y="629481"/>
                      <a:pt x="347251" y="632294"/>
                    </a:cubicBezTo>
                    <a:cubicBezTo>
                      <a:pt x="347251" y="632294"/>
                      <a:pt x="342559" y="634167"/>
                      <a:pt x="341612" y="634167"/>
                    </a:cubicBezTo>
                    <a:lnTo>
                      <a:pt x="335069" y="634167"/>
                    </a:lnTo>
                    <a:cubicBezTo>
                      <a:pt x="338814" y="629481"/>
                      <a:pt x="342559" y="625732"/>
                      <a:pt x="350996" y="623857"/>
                    </a:cubicBezTo>
                    <a:cubicBezTo>
                      <a:pt x="355688" y="614486"/>
                      <a:pt x="365051" y="611672"/>
                      <a:pt x="373488" y="611672"/>
                    </a:cubicBezTo>
                    <a:cubicBezTo>
                      <a:pt x="368796" y="620110"/>
                      <a:pt x="360359" y="623857"/>
                      <a:pt x="350996" y="623857"/>
                    </a:cubicBezTo>
                    <a:close/>
                    <a:moveTo>
                      <a:pt x="379106" y="604176"/>
                    </a:moveTo>
                    <a:cubicBezTo>
                      <a:pt x="380978" y="599490"/>
                      <a:pt x="381925" y="597616"/>
                      <a:pt x="387543" y="596677"/>
                    </a:cubicBezTo>
                    <a:cubicBezTo>
                      <a:pt x="387543" y="601676"/>
                      <a:pt x="384723" y="604176"/>
                      <a:pt x="379106" y="604176"/>
                    </a:cubicBezTo>
                    <a:close/>
                    <a:moveTo>
                      <a:pt x="388490" y="596677"/>
                    </a:moveTo>
                    <a:cubicBezTo>
                      <a:pt x="392235" y="588242"/>
                      <a:pt x="395032" y="585431"/>
                      <a:pt x="403470" y="585431"/>
                    </a:cubicBezTo>
                    <a:cubicBezTo>
                      <a:pt x="400672" y="591992"/>
                      <a:pt x="395032" y="596677"/>
                      <a:pt x="388490" y="596677"/>
                    </a:cubicBezTo>
                    <a:close/>
                    <a:moveTo>
                      <a:pt x="404417" y="585431"/>
                    </a:moveTo>
                    <a:cubicBezTo>
                      <a:pt x="404417" y="578871"/>
                      <a:pt x="404417" y="577933"/>
                      <a:pt x="411907" y="577933"/>
                    </a:cubicBezTo>
                    <a:cubicBezTo>
                      <a:pt x="410982" y="581682"/>
                      <a:pt x="408162" y="585431"/>
                      <a:pt x="404417" y="585431"/>
                    </a:cubicBezTo>
                    <a:close/>
                    <a:moveTo>
                      <a:pt x="375361" y="588242"/>
                    </a:moveTo>
                    <a:cubicBezTo>
                      <a:pt x="358486" y="601363"/>
                      <a:pt x="340687" y="614486"/>
                      <a:pt x="322887" y="625732"/>
                    </a:cubicBezTo>
                    <a:cubicBezTo>
                      <a:pt x="291958" y="650100"/>
                      <a:pt x="261029" y="666970"/>
                      <a:pt x="227281" y="688528"/>
                    </a:cubicBezTo>
                    <a:cubicBezTo>
                      <a:pt x="221663" y="691339"/>
                      <a:pt x="215098" y="693213"/>
                      <a:pt x="210406" y="696024"/>
                    </a:cubicBezTo>
                    <a:cubicBezTo>
                      <a:pt x="196352" y="699774"/>
                      <a:pt x="183222" y="700712"/>
                      <a:pt x="171040" y="704459"/>
                    </a:cubicBezTo>
                    <a:cubicBezTo>
                      <a:pt x="168242" y="706334"/>
                      <a:pt x="166348" y="704459"/>
                      <a:pt x="162603" y="704459"/>
                    </a:cubicBezTo>
                    <a:cubicBezTo>
                      <a:pt x="159805" y="706334"/>
                      <a:pt x="157933" y="700712"/>
                      <a:pt x="159805" y="697899"/>
                    </a:cubicBezTo>
                    <a:cubicBezTo>
                      <a:pt x="166348" y="685715"/>
                      <a:pt x="171040" y="676344"/>
                      <a:pt x="183222" y="666970"/>
                    </a:cubicBezTo>
                    <a:cubicBezTo>
                      <a:pt x="199171" y="655724"/>
                      <a:pt x="212279" y="642602"/>
                      <a:pt x="223535" y="629481"/>
                    </a:cubicBezTo>
                    <a:cubicBezTo>
                      <a:pt x="236643" y="619171"/>
                      <a:pt x="249772" y="611675"/>
                      <a:pt x="265699" y="604176"/>
                    </a:cubicBezTo>
                    <a:cubicBezTo>
                      <a:pt x="285394" y="593866"/>
                      <a:pt x="306938" y="580746"/>
                      <a:pt x="326632" y="568562"/>
                    </a:cubicBezTo>
                    <a:cubicBezTo>
                      <a:pt x="338814" y="561063"/>
                      <a:pt x="350996" y="551689"/>
                      <a:pt x="365998" y="551689"/>
                    </a:cubicBezTo>
                    <a:cubicBezTo>
                      <a:pt x="367870" y="551689"/>
                      <a:pt x="368796" y="551689"/>
                      <a:pt x="370668" y="550753"/>
                    </a:cubicBezTo>
                    <a:cubicBezTo>
                      <a:pt x="388490" y="535758"/>
                      <a:pt x="411907" y="533883"/>
                      <a:pt x="434399" y="524510"/>
                    </a:cubicBezTo>
                    <a:cubicBezTo>
                      <a:pt x="440963" y="521699"/>
                      <a:pt x="447528" y="519824"/>
                      <a:pt x="453145" y="515139"/>
                    </a:cubicBezTo>
                    <a:lnTo>
                      <a:pt x="457838" y="515139"/>
                    </a:lnTo>
                    <a:cubicBezTo>
                      <a:pt x="457838" y="517013"/>
                      <a:pt x="457838" y="519824"/>
                      <a:pt x="456890" y="521699"/>
                    </a:cubicBezTo>
                    <a:lnTo>
                      <a:pt x="423164" y="551689"/>
                    </a:lnTo>
                    <a:cubicBezTo>
                      <a:pt x="407237" y="565748"/>
                      <a:pt x="392235" y="577933"/>
                      <a:pt x="375361" y="588242"/>
                    </a:cubicBezTo>
                    <a:close/>
                    <a:moveTo>
                      <a:pt x="441911" y="551689"/>
                    </a:moveTo>
                    <a:cubicBezTo>
                      <a:pt x="445656" y="546067"/>
                      <a:pt x="451273" y="538569"/>
                      <a:pt x="459710" y="538569"/>
                    </a:cubicBezTo>
                    <a:cubicBezTo>
                      <a:pt x="456890" y="546067"/>
                      <a:pt x="451273" y="551689"/>
                      <a:pt x="441911" y="551689"/>
                    </a:cubicBezTo>
                    <a:close/>
                    <a:moveTo>
                      <a:pt x="472839" y="498269"/>
                    </a:moveTo>
                    <a:cubicBezTo>
                      <a:pt x="461582" y="501080"/>
                      <a:pt x="453145" y="506703"/>
                      <a:pt x="440963" y="503893"/>
                    </a:cubicBezTo>
                    <a:cubicBezTo>
                      <a:pt x="440963" y="503893"/>
                      <a:pt x="440963" y="501080"/>
                      <a:pt x="441911" y="501080"/>
                    </a:cubicBezTo>
                    <a:cubicBezTo>
                      <a:pt x="453145" y="498269"/>
                      <a:pt x="461582" y="493583"/>
                      <a:pt x="473765" y="495455"/>
                    </a:cubicBezTo>
                    <a:cubicBezTo>
                      <a:pt x="473765" y="497330"/>
                      <a:pt x="472839" y="498269"/>
                      <a:pt x="472839" y="498269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78" name="Freihandform: Form 877">
                <a:extLst>
                  <a:ext uri="{FF2B5EF4-FFF2-40B4-BE49-F238E27FC236}">
                    <a16:creationId xmlns:a16="http://schemas.microsoft.com/office/drawing/2014/main" id="{CF937501-C15A-E887-826C-8B1301AF4E29}"/>
                  </a:ext>
                </a:extLst>
              </p:cNvPr>
              <p:cNvSpPr/>
              <p:nvPr/>
            </p:nvSpPr>
            <p:spPr>
              <a:xfrm>
                <a:off x="4634212" y="3307296"/>
                <a:ext cx="22491" cy="9373"/>
              </a:xfrm>
              <a:custGeom>
                <a:avLst/>
                <a:gdLst>
                  <a:gd name="connsiteX0" fmla="*/ 0 w 22491"/>
                  <a:gd name="connsiteY0" fmla="*/ 9373 h 9373"/>
                  <a:gd name="connsiteX1" fmla="*/ 22492 w 22491"/>
                  <a:gd name="connsiteY1" fmla="*/ 0 h 9373"/>
                  <a:gd name="connsiteX2" fmla="*/ 0 w 22491"/>
                  <a:gd name="connsiteY2" fmla="*/ 9373 h 9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2491" h="9373">
                    <a:moveTo>
                      <a:pt x="0" y="9373"/>
                    </a:moveTo>
                    <a:cubicBezTo>
                      <a:pt x="10310" y="9373"/>
                      <a:pt x="17800" y="5622"/>
                      <a:pt x="22492" y="0"/>
                    </a:cubicBezTo>
                    <a:cubicBezTo>
                      <a:pt x="14980" y="0"/>
                      <a:pt x="6543" y="2811"/>
                      <a:pt x="0" y="9373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79" name="Freihandform: Form 878">
                <a:extLst>
                  <a:ext uri="{FF2B5EF4-FFF2-40B4-BE49-F238E27FC236}">
                    <a16:creationId xmlns:a16="http://schemas.microsoft.com/office/drawing/2014/main" id="{0C8D9271-4289-0092-FD71-9E033FB3C5AC}"/>
                  </a:ext>
                </a:extLst>
              </p:cNvPr>
              <p:cNvSpPr/>
              <p:nvPr/>
            </p:nvSpPr>
            <p:spPr>
              <a:xfrm>
                <a:off x="4756055" y="3111413"/>
                <a:ext cx="12181" cy="3826"/>
              </a:xfrm>
              <a:custGeom>
                <a:avLst/>
                <a:gdLst>
                  <a:gd name="connsiteX0" fmla="*/ 0 w 12181"/>
                  <a:gd name="connsiteY0" fmla="*/ 3749 h 3826"/>
                  <a:gd name="connsiteX1" fmla="*/ 12182 w 12181"/>
                  <a:gd name="connsiteY1" fmla="*/ 0 h 3826"/>
                  <a:gd name="connsiteX2" fmla="*/ 2798 w 12181"/>
                  <a:gd name="connsiteY2" fmla="*/ 0 h 3826"/>
                  <a:gd name="connsiteX3" fmla="*/ 0 w 12181"/>
                  <a:gd name="connsiteY3" fmla="*/ 3749 h 38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181" h="3826">
                    <a:moveTo>
                      <a:pt x="0" y="3749"/>
                    </a:moveTo>
                    <a:cubicBezTo>
                      <a:pt x="3745" y="3749"/>
                      <a:pt x="9362" y="4688"/>
                      <a:pt x="12182" y="0"/>
                    </a:cubicBezTo>
                    <a:lnTo>
                      <a:pt x="2798" y="0"/>
                    </a:lnTo>
                    <a:cubicBezTo>
                      <a:pt x="925" y="0"/>
                      <a:pt x="0" y="938"/>
                      <a:pt x="0" y="3749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80" name="Freihandform: Form 879">
                <a:extLst>
                  <a:ext uri="{FF2B5EF4-FFF2-40B4-BE49-F238E27FC236}">
                    <a16:creationId xmlns:a16="http://schemas.microsoft.com/office/drawing/2014/main" id="{8F832D38-B500-992C-F59B-BD2CD54A7C5A}"/>
                  </a:ext>
                </a:extLst>
              </p:cNvPr>
              <p:cNvSpPr/>
              <p:nvPr/>
            </p:nvSpPr>
            <p:spPr>
              <a:xfrm>
                <a:off x="4778547" y="3095821"/>
                <a:ext cx="27161" cy="9031"/>
              </a:xfrm>
              <a:custGeom>
                <a:avLst/>
                <a:gdLst>
                  <a:gd name="connsiteX0" fmla="*/ 0 w 27161"/>
                  <a:gd name="connsiteY0" fmla="*/ 9032 h 9031"/>
                  <a:gd name="connsiteX1" fmla="*/ 27162 w 27161"/>
                  <a:gd name="connsiteY1" fmla="*/ 597 h 9031"/>
                  <a:gd name="connsiteX2" fmla="*/ 7490 w 27161"/>
                  <a:gd name="connsiteY2" fmla="*/ 5282 h 9031"/>
                  <a:gd name="connsiteX3" fmla="*/ 0 w 27161"/>
                  <a:gd name="connsiteY3" fmla="*/ 9032 h 90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7161" h="9031">
                    <a:moveTo>
                      <a:pt x="0" y="9032"/>
                    </a:moveTo>
                    <a:cubicBezTo>
                      <a:pt x="12182" y="8095"/>
                      <a:pt x="19672" y="5282"/>
                      <a:pt x="27162" y="597"/>
                    </a:cubicBezTo>
                    <a:cubicBezTo>
                      <a:pt x="19672" y="-1278"/>
                      <a:pt x="13107" y="1535"/>
                      <a:pt x="7490" y="5282"/>
                    </a:cubicBezTo>
                    <a:cubicBezTo>
                      <a:pt x="3745" y="6221"/>
                      <a:pt x="0" y="5282"/>
                      <a:pt x="0" y="9032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81" name="Freihandform: Form 880">
                <a:extLst>
                  <a:ext uri="{FF2B5EF4-FFF2-40B4-BE49-F238E27FC236}">
                    <a16:creationId xmlns:a16="http://schemas.microsoft.com/office/drawing/2014/main" id="{4E837DDA-4E3B-460D-7D32-85D2CFC7A533}"/>
                  </a:ext>
                </a:extLst>
              </p:cNvPr>
              <p:cNvSpPr/>
              <p:nvPr/>
            </p:nvSpPr>
            <p:spPr>
              <a:xfrm>
                <a:off x="4769163" y="3104853"/>
                <a:ext cx="8437" cy="5764"/>
              </a:xfrm>
              <a:custGeom>
                <a:avLst/>
                <a:gdLst>
                  <a:gd name="connsiteX0" fmla="*/ 8437 w 8437"/>
                  <a:gd name="connsiteY0" fmla="*/ 0 h 5764"/>
                  <a:gd name="connsiteX1" fmla="*/ 0 w 8437"/>
                  <a:gd name="connsiteY1" fmla="*/ 4686 h 5764"/>
                  <a:gd name="connsiteX2" fmla="*/ 8437 w 8437"/>
                  <a:gd name="connsiteY2" fmla="*/ 0 h 57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437" h="5764">
                    <a:moveTo>
                      <a:pt x="8437" y="0"/>
                    </a:moveTo>
                    <a:cubicBezTo>
                      <a:pt x="5617" y="0"/>
                      <a:pt x="1872" y="0"/>
                      <a:pt x="0" y="4686"/>
                    </a:cubicBezTo>
                    <a:cubicBezTo>
                      <a:pt x="2820" y="6560"/>
                      <a:pt x="8437" y="6560"/>
                      <a:pt x="8437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82" name="Freihandform: Form 881">
                <a:extLst>
                  <a:ext uri="{FF2B5EF4-FFF2-40B4-BE49-F238E27FC236}">
                    <a16:creationId xmlns:a16="http://schemas.microsoft.com/office/drawing/2014/main" id="{9BCAB1DE-D380-7326-DD85-1DCEC66AC84B}"/>
                  </a:ext>
                </a:extLst>
              </p:cNvPr>
              <p:cNvSpPr/>
              <p:nvPr/>
            </p:nvSpPr>
            <p:spPr>
              <a:xfrm>
                <a:off x="4706380" y="3123598"/>
                <a:ext cx="29981" cy="14995"/>
              </a:xfrm>
              <a:custGeom>
                <a:avLst/>
                <a:gdLst>
                  <a:gd name="connsiteX0" fmla="*/ 0 w 29981"/>
                  <a:gd name="connsiteY0" fmla="*/ 14995 h 14995"/>
                  <a:gd name="connsiteX1" fmla="*/ 28109 w 29981"/>
                  <a:gd name="connsiteY1" fmla="*/ 3749 h 14995"/>
                  <a:gd name="connsiteX2" fmla="*/ 29982 w 29981"/>
                  <a:gd name="connsiteY2" fmla="*/ 0 h 14995"/>
                  <a:gd name="connsiteX3" fmla="*/ 2798 w 29981"/>
                  <a:gd name="connsiteY3" fmla="*/ 12184 h 14995"/>
                  <a:gd name="connsiteX4" fmla="*/ 0 w 29981"/>
                  <a:gd name="connsiteY4" fmla="*/ 14995 h 149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9981" h="14995">
                    <a:moveTo>
                      <a:pt x="0" y="14995"/>
                    </a:moveTo>
                    <a:cubicBezTo>
                      <a:pt x="11235" y="12184"/>
                      <a:pt x="18747" y="7499"/>
                      <a:pt x="28109" y="3749"/>
                    </a:cubicBezTo>
                    <a:lnTo>
                      <a:pt x="29982" y="0"/>
                    </a:lnTo>
                    <a:cubicBezTo>
                      <a:pt x="17800" y="0"/>
                      <a:pt x="11235" y="5624"/>
                      <a:pt x="2798" y="12184"/>
                    </a:cubicBezTo>
                    <a:cubicBezTo>
                      <a:pt x="0" y="12184"/>
                      <a:pt x="0" y="14059"/>
                      <a:pt x="0" y="14995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83" name="Freihandform: Form 882">
                <a:extLst>
                  <a:ext uri="{FF2B5EF4-FFF2-40B4-BE49-F238E27FC236}">
                    <a16:creationId xmlns:a16="http://schemas.microsoft.com/office/drawing/2014/main" id="{5C4F141F-E5F1-C840-B5BB-8CA06AC38E68}"/>
                  </a:ext>
                </a:extLst>
              </p:cNvPr>
              <p:cNvSpPr/>
              <p:nvPr/>
            </p:nvSpPr>
            <p:spPr>
              <a:xfrm>
                <a:off x="4696995" y="3288552"/>
                <a:ext cx="13129" cy="3825"/>
              </a:xfrm>
              <a:custGeom>
                <a:avLst/>
                <a:gdLst>
                  <a:gd name="connsiteX0" fmla="*/ 13129 w 13129"/>
                  <a:gd name="connsiteY0" fmla="*/ 0 h 3825"/>
                  <a:gd name="connsiteX1" fmla="*/ 2820 w 13129"/>
                  <a:gd name="connsiteY1" fmla="*/ 0 h 3825"/>
                  <a:gd name="connsiteX2" fmla="*/ 0 w 13129"/>
                  <a:gd name="connsiteY2" fmla="*/ 3749 h 3825"/>
                  <a:gd name="connsiteX3" fmla="*/ 13129 w 13129"/>
                  <a:gd name="connsiteY3" fmla="*/ 0 h 3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129" h="3825">
                    <a:moveTo>
                      <a:pt x="13129" y="0"/>
                    </a:moveTo>
                    <a:lnTo>
                      <a:pt x="2820" y="0"/>
                    </a:lnTo>
                    <a:cubicBezTo>
                      <a:pt x="2820" y="0"/>
                      <a:pt x="1872" y="936"/>
                      <a:pt x="0" y="3749"/>
                    </a:cubicBezTo>
                    <a:cubicBezTo>
                      <a:pt x="5617" y="3749"/>
                      <a:pt x="12182" y="4686"/>
                      <a:pt x="13129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84" name="Freihandform: Form 883">
                <a:extLst>
                  <a:ext uri="{FF2B5EF4-FFF2-40B4-BE49-F238E27FC236}">
                    <a16:creationId xmlns:a16="http://schemas.microsoft.com/office/drawing/2014/main" id="{455FC110-F14D-5D96-97D8-9D16D5FAD51E}"/>
                  </a:ext>
                </a:extLst>
              </p:cNvPr>
              <p:cNvSpPr/>
              <p:nvPr/>
            </p:nvSpPr>
            <p:spPr>
              <a:xfrm>
                <a:off x="4725126" y="3268869"/>
                <a:ext cx="46856" cy="14997"/>
              </a:xfrm>
              <a:custGeom>
                <a:avLst/>
                <a:gdLst>
                  <a:gd name="connsiteX0" fmla="*/ 46856 w 46856"/>
                  <a:gd name="connsiteY0" fmla="*/ 0 h 14997"/>
                  <a:gd name="connsiteX1" fmla="*/ 925 w 46856"/>
                  <a:gd name="connsiteY1" fmla="*/ 13123 h 14997"/>
                  <a:gd name="connsiteX2" fmla="*/ 0 w 46856"/>
                  <a:gd name="connsiteY2" fmla="*/ 14997 h 14997"/>
                  <a:gd name="connsiteX3" fmla="*/ 31854 w 46856"/>
                  <a:gd name="connsiteY3" fmla="*/ 5624 h 14997"/>
                  <a:gd name="connsiteX4" fmla="*/ 46856 w 46856"/>
                  <a:gd name="connsiteY4" fmla="*/ 0 h 149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856" h="14997">
                    <a:moveTo>
                      <a:pt x="46856" y="0"/>
                    </a:moveTo>
                    <a:cubicBezTo>
                      <a:pt x="30929" y="0"/>
                      <a:pt x="16852" y="7499"/>
                      <a:pt x="925" y="13123"/>
                    </a:cubicBezTo>
                    <a:cubicBezTo>
                      <a:pt x="309" y="13123"/>
                      <a:pt x="0" y="13746"/>
                      <a:pt x="0" y="14997"/>
                    </a:cubicBezTo>
                    <a:cubicBezTo>
                      <a:pt x="12182" y="14997"/>
                      <a:pt x="22492" y="12184"/>
                      <a:pt x="31854" y="5624"/>
                    </a:cubicBezTo>
                    <a:cubicBezTo>
                      <a:pt x="37472" y="4686"/>
                      <a:pt x="45909" y="7499"/>
                      <a:pt x="46856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85" name="Freihandform: Form 884">
                <a:extLst>
                  <a:ext uri="{FF2B5EF4-FFF2-40B4-BE49-F238E27FC236}">
                    <a16:creationId xmlns:a16="http://schemas.microsoft.com/office/drawing/2014/main" id="{BF975C9A-7EA2-C9C0-98B3-6BF320BBABFE}"/>
                  </a:ext>
                </a:extLst>
              </p:cNvPr>
              <p:cNvSpPr/>
              <p:nvPr/>
            </p:nvSpPr>
            <p:spPr>
              <a:xfrm>
                <a:off x="4807604" y="3089858"/>
                <a:ext cx="17799" cy="6560"/>
              </a:xfrm>
              <a:custGeom>
                <a:avLst/>
                <a:gdLst>
                  <a:gd name="connsiteX0" fmla="*/ 0 w 17799"/>
                  <a:gd name="connsiteY0" fmla="*/ 6560 h 6560"/>
                  <a:gd name="connsiteX1" fmla="*/ 14055 w 17799"/>
                  <a:gd name="connsiteY1" fmla="*/ 4686 h 6560"/>
                  <a:gd name="connsiteX2" fmla="*/ 17800 w 17799"/>
                  <a:gd name="connsiteY2" fmla="*/ 0 h 6560"/>
                  <a:gd name="connsiteX3" fmla="*/ 6543 w 17799"/>
                  <a:gd name="connsiteY3" fmla="*/ 0 h 6560"/>
                  <a:gd name="connsiteX4" fmla="*/ 0 w 17799"/>
                  <a:gd name="connsiteY4" fmla="*/ 6560 h 6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799" h="6560">
                    <a:moveTo>
                      <a:pt x="0" y="6560"/>
                    </a:moveTo>
                    <a:cubicBezTo>
                      <a:pt x="4670" y="6560"/>
                      <a:pt x="8415" y="6560"/>
                      <a:pt x="14055" y="4686"/>
                    </a:cubicBezTo>
                    <a:cubicBezTo>
                      <a:pt x="14980" y="4686"/>
                      <a:pt x="16852" y="2811"/>
                      <a:pt x="17800" y="0"/>
                    </a:cubicBezTo>
                    <a:lnTo>
                      <a:pt x="6543" y="0"/>
                    </a:lnTo>
                    <a:cubicBezTo>
                      <a:pt x="2798" y="0"/>
                      <a:pt x="1873" y="2811"/>
                      <a:pt x="0" y="6560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86" name="Freihandform: Form 885">
                <a:extLst>
                  <a:ext uri="{FF2B5EF4-FFF2-40B4-BE49-F238E27FC236}">
                    <a16:creationId xmlns:a16="http://schemas.microsoft.com/office/drawing/2014/main" id="{C66B628E-925A-CA07-665F-ECBB48AF736E}"/>
                  </a:ext>
                </a:extLst>
              </p:cNvPr>
              <p:cNvSpPr/>
              <p:nvPr/>
            </p:nvSpPr>
            <p:spPr>
              <a:xfrm>
                <a:off x="4683888" y="3292748"/>
                <a:ext cx="13107" cy="4238"/>
              </a:xfrm>
              <a:custGeom>
                <a:avLst/>
                <a:gdLst>
                  <a:gd name="connsiteX0" fmla="*/ 13107 w 13107"/>
                  <a:gd name="connsiteY0" fmla="*/ 489 h 4238"/>
                  <a:gd name="connsiteX1" fmla="*/ 0 w 13107"/>
                  <a:gd name="connsiteY1" fmla="*/ 4238 h 4238"/>
                  <a:gd name="connsiteX2" fmla="*/ 6543 w 13107"/>
                  <a:gd name="connsiteY2" fmla="*/ 4238 h 4238"/>
                  <a:gd name="connsiteX3" fmla="*/ 13107 w 13107"/>
                  <a:gd name="connsiteY3" fmla="*/ 489 h 42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107" h="4238">
                    <a:moveTo>
                      <a:pt x="13107" y="489"/>
                    </a:moveTo>
                    <a:cubicBezTo>
                      <a:pt x="7490" y="-447"/>
                      <a:pt x="2798" y="-447"/>
                      <a:pt x="0" y="4238"/>
                    </a:cubicBezTo>
                    <a:lnTo>
                      <a:pt x="6543" y="4238"/>
                    </a:lnTo>
                    <a:cubicBezTo>
                      <a:pt x="9362" y="4238"/>
                      <a:pt x="11235" y="2364"/>
                      <a:pt x="13107" y="489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87" name="Freihandform: Form 886">
                <a:extLst>
                  <a:ext uri="{FF2B5EF4-FFF2-40B4-BE49-F238E27FC236}">
                    <a16:creationId xmlns:a16="http://schemas.microsoft.com/office/drawing/2014/main" id="{49E4F061-E86E-2735-CBDC-E6AF85D090F3}"/>
                  </a:ext>
                </a:extLst>
              </p:cNvPr>
              <p:cNvSpPr/>
              <p:nvPr/>
            </p:nvSpPr>
            <p:spPr>
              <a:xfrm>
                <a:off x="4789782" y="3259198"/>
                <a:ext cx="15001" cy="4049"/>
              </a:xfrm>
              <a:custGeom>
                <a:avLst/>
                <a:gdLst>
                  <a:gd name="connsiteX0" fmla="*/ 13130 w 15001"/>
                  <a:gd name="connsiteY0" fmla="*/ 300 h 4049"/>
                  <a:gd name="connsiteX1" fmla="*/ 0 w 15001"/>
                  <a:gd name="connsiteY1" fmla="*/ 4049 h 4049"/>
                  <a:gd name="connsiteX2" fmla="*/ 15002 w 15001"/>
                  <a:gd name="connsiteY2" fmla="*/ 3111 h 4049"/>
                  <a:gd name="connsiteX3" fmla="*/ 13130 w 15001"/>
                  <a:gd name="connsiteY3" fmla="*/ 300 h 40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001" h="4049">
                    <a:moveTo>
                      <a:pt x="13130" y="300"/>
                    </a:moveTo>
                    <a:cubicBezTo>
                      <a:pt x="7512" y="300"/>
                      <a:pt x="1873" y="-1575"/>
                      <a:pt x="0" y="4049"/>
                    </a:cubicBezTo>
                    <a:cubicBezTo>
                      <a:pt x="4692" y="4049"/>
                      <a:pt x="8437" y="4049"/>
                      <a:pt x="15002" y="3111"/>
                    </a:cubicBezTo>
                    <a:cubicBezTo>
                      <a:pt x="15002" y="1236"/>
                      <a:pt x="14385" y="300"/>
                      <a:pt x="13130" y="300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</p:grpSp>
      <p:sp>
        <p:nvSpPr>
          <p:cNvPr id="2" name="Textfeld 17">
            <a:extLst>
              <a:ext uri="{FF2B5EF4-FFF2-40B4-BE49-F238E27FC236}">
                <a16:creationId xmlns:a16="http://schemas.microsoft.com/office/drawing/2014/main" id="{6AE6D9D9-CF83-18AA-6733-0D8D4B2C15AB}"/>
              </a:ext>
            </a:extLst>
          </p:cNvPr>
          <p:cNvSpPr txBox="1"/>
          <p:nvPr/>
        </p:nvSpPr>
        <p:spPr>
          <a:xfrm>
            <a:off x="816351" y="2949229"/>
            <a:ext cx="3911449" cy="123110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lvl="0">
              <a:defRPr/>
            </a:pPr>
            <a:r>
              <a:rPr lang="cs-CZ" sz="2000" b="1" noProof="0" dirty="0">
                <a:solidFill>
                  <a:prstClr val="white"/>
                </a:solidFill>
              </a:rPr>
              <a:t>Vyrábíme udržitelná a inteligentní řešení pro lepší klima– </a:t>
            </a:r>
            <a:br>
              <a:rPr lang="cs-CZ" sz="2000" b="1" noProof="0" dirty="0">
                <a:solidFill>
                  <a:prstClr val="white"/>
                </a:solidFill>
              </a:rPr>
            </a:br>
            <a:r>
              <a:rPr lang="cs-CZ" sz="2000" noProof="0" dirty="0">
                <a:solidFill>
                  <a:prstClr val="white"/>
                </a:solidFill>
              </a:rPr>
              <a:t>pro lidi, pro aplikace, pro lepší životní prostředí. </a:t>
            </a:r>
          </a:p>
        </p:txBody>
      </p:sp>
      <p:sp>
        <p:nvSpPr>
          <p:cNvPr id="3" name="Textfeld 17">
            <a:extLst>
              <a:ext uri="{FF2B5EF4-FFF2-40B4-BE49-F238E27FC236}">
                <a16:creationId xmlns:a16="http://schemas.microsoft.com/office/drawing/2014/main" id="{723A0832-8B45-E042-B37E-5CD760CC9FAC}"/>
              </a:ext>
            </a:extLst>
          </p:cNvPr>
          <p:cNvSpPr txBox="1"/>
          <p:nvPr/>
        </p:nvSpPr>
        <p:spPr>
          <a:xfrm>
            <a:off x="810040" y="4662127"/>
            <a:ext cx="3739385" cy="92333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2000" b="1" noProof="0" dirty="0">
                <a:solidFill>
                  <a:prstClr val="white"/>
                </a:solidFill>
                <a:latin typeface="Calibri"/>
                <a:ea typeface="Calibri"/>
                <a:cs typeface="Calibri"/>
              </a:rPr>
              <a:t>Naše vize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  <a:p>
            <a:pPr lvl="0">
              <a:defRPr/>
            </a:pPr>
            <a:r>
              <a:rPr lang="cs-CZ" sz="2000" i="1" noProof="0" dirty="0">
                <a:solidFill>
                  <a:prstClr val="white"/>
                </a:solidFill>
                <a:ea typeface="Calibri"/>
                <a:cs typeface="Calibri"/>
              </a:rPr>
              <a:t>Uvádíme vzduchotechniku</a:t>
            </a:r>
          </a:p>
          <a:p>
            <a:pPr lvl="0">
              <a:defRPr/>
            </a:pPr>
            <a:r>
              <a:rPr lang="cs-CZ" sz="2000" i="1" noProof="0" dirty="0">
                <a:solidFill>
                  <a:prstClr val="white"/>
                </a:solidFill>
                <a:ea typeface="Calibri"/>
                <a:cs typeface="Calibri"/>
              </a:rPr>
              <a:t>do příští generace.</a:t>
            </a:r>
            <a:r>
              <a:rPr kumimoji="0" lang="cs-CZ" sz="20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.</a:t>
            </a:r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18159F30-1A1C-A4A1-8D4E-AD79C9668F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3096" y="666000"/>
            <a:ext cx="5537103" cy="463550"/>
          </a:xfrm>
        </p:spPr>
        <p:txBody>
          <a:bodyPr vert="horz"/>
          <a:lstStyle/>
          <a:p>
            <a:pPr>
              <a:spcAft>
                <a:spcPts val="800"/>
              </a:spcAft>
              <a:defRPr/>
            </a:pPr>
            <a:r>
              <a:rPr lang="cs-CZ" noProof="0" dirty="0">
                <a:solidFill>
                  <a:schemeClr val="bg1"/>
                </a:solidFill>
              </a:rPr>
              <a:t>Skupina ebm-papst v číslech</a:t>
            </a:r>
          </a:p>
        </p:txBody>
      </p:sp>
      <p:sp>
        <p:nvSpPr>
          <p:cNvPr id="5" name="Textplatzhalter 2">
            <a:extLst>
              <a:ext uri="{FF2B5EF4-FFF2-40B4-BE49-F238E27FC236}">
                <a16:creationId xmlns:a16="http://schemas.microsoft.com/office/drawing/2014/main" id="{26543176-BE6F-A895-11A7-55CC2E3E7F2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83096" y="396000"/>
            <a:ext cx="5537103" cy="185432"/>
          </a:xfrm>
        </p:spPr>
        <p:txBody>
          <a:bodyPr/>
          <a:lstStyle/>
          <a:p>
            <a:r>
              <a:rPr lang="cs-CZ" noProof="0" dirty="0">
                <a:solidFill>
                  <a:schemeClr val="bg1"/>
                </a:solidFill>
              </a:rPr>
              <a:t>Fiskální rok24/25</a:t>
            </a: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DAB19336-54F4-636E-8CBC-37B2FB1465C6}"/>
              </a:ext>
            </a:extLst>
          </p:cNvPr>
          <p:cNvGrpSpPr/>
          <p:nvPr/>
        </p:nvGrpSpPr>
        <p:grpSpPr>
          <a:xfrm>
            <a:off x="6183097" y="1455177"/>
            <a:ext cx="5291835" cy="3177040"/>
            <a:chOff x="6183097" y="1358192"/>
            <a:chExt cx="5291835" cy="3177040"/>
          </a:xfrm>
        </p:grpSpPr>
        <p:pic>
          <p:nvPicPr>
            <p:cNvPr id="12" name="Grafik 11">
              <a:extLst>
                <a:ext uri="{FF2B5EF4-FFF2-40B4-BE49-F238E27FC236}">
                  <a16:creationId xmlns:a16="http://schemas.microsoft.com/office/drawing/2014/main" id="{7BDB5DF8-276F-D7C9-3EE0-2DB9B061FDF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8893044" y="3052136"/>
              <a:ext cx="373969" cy="498625"/>
            </a:xfrm>
            <a:prstGeom prst="rect">
              <a:avLst/>
            </a:prstGeom>
          </p:spPr>
        </p:pic>
        <p:pic>
          <p:nvPicPr>
            <p:cNvPr id="13" name="Grafik 12">
              <a:extLst>
                <a:ext uri="{FF2B5EF4-FFF2-40B4-BE49-F238E27FC236}">
                  <a16:creationId xmlns:a16="http://schemas.microsoft.com/office/drawing/2014/main" id="{5F82A769-D6B9-CBCC-0C4D-C8DE99DE8A5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313545" y="3076549"/>
              <a:ext cx="484770" cy="484770"/>
            </a:xfrm>
            <a:prstGeom prst="rect">
              <a:avLst/>
            </a:prstGeom>
          </p:spPr>
        </p:pic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5AD4E151-8B67-B7D9-E862-0856AF6176E7}"/>
                </a:ext>
              </a:extLst>
            </p:cNvPr>
            <p:cNvGrpSpPr/>
            <p:nvPr/>
          </p:nvGrpSpPr>
          <p:grpSpPr>
            <a:xfrm>
              <a:off x="6183097" y="1358192"/>
              <a:ext cx="5291835" cy="3177040"/>
              <a:chOff x="6183097" y="1358192"/>
              <a:chExt cx="5291835" cy="3177040"/>
            </a:xfrm>
          </p:grpSpPr>
          <p:grpSp>
            <p:nvGrpSpPr>
              <p:cNvPr id="921" name="Gruppieren 920">
                <a:extLst>
                  <a:ext uri="{FF2B5EF4-FFF2-40B4-BE49-F238E27FC236}">
                    <a16:creationId xmlns:a16="http://schemas.microsoft.com/office/drawing/2014/main" id="{50510038-8D9A-012D-5135-097B65740261}"/>
                  </a:ext>
                </a:extLst>
              </p:cNvPr>
              <p:cNvGrpSpPr>
                <a:grpSpLocks/>
              </p:cNvGrpSpPr>
              <p:nvPr/>
            </p:nvGrpSpPr>
            <p:grpSpPr>
              <a:xfrm>
                <a:off x="6183097" y="1358192"/>
                <a:ext cx="5291835" cy="3177040"/>
                <a:chOff x="5186037" y="434105"/>
                <a:chExt cx="6533125" cy="3922270"/>
              </a:xfrm>
            </p:grpSpPr>
            <p:cxnSp>
              <p:nvCxnSpPr>
                <p:cNvPr id="901" name="Gerader Verbinder 900">
                  <a:extLst>
                    <a:ext uri="{FF2B5EF4-FFF2-40B4-BE49-F238E27FC236}">
                      <a16:creationId xmlns:a16="http://schemas.microsoft.com/office/drawing/2014/main" id="{A4F17D2A-50A9-1576-7F81-4C3D7055EF0B}"/>
                    </a:ext>
                  </a:extLst>
                </p:cNvPr>
                <p:cNvCxnSpPr/>
                <p:nvPr/>
              </p:nvCxnSpPr>
              <p:spPr>
                <a:xfrm>
                  <a:off x="5186037" y="2395239"/>
                  <a:ext cx="6533125" cy="0"/>
                </a:xfrm>
                <a:prstGeom prst="line">
                  <a:avLst/>
                </a:prstGeom>
                <a:ln w="15431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02" name="Gerader Verbinder 901">
                  <a:extLst>
                    <a:ext uri="{FF2B5EF4-FFF2-40B4-BE49-F238E27FC236}">
                      <a16:creationId xmlns:a16="http://schemas.microsoft.com/office/drawing/2014/main" id="{4A6162BD-CCE5-C584-24D0-373F3235E2A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7354225" y="434105"/>
                  <a:ext cx="0" cy="1811742"/>
                </a:xfrm>
                <a:prstGeom prst="line">
                  <a:avLst/>
                </a:prstGeom>
                <a:ln w="15431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05" name="Gerader Verbinder 904">
                  <a:extLst>
                    <a:ext uri="{FF2B5EF4-FFF2-40B4-BE49-F238E27FC236}">
                      <a16:creationId xmlns:a16="http://schemas.microsoft.com/office/drawing/2014/main" id="{CB204B05-CD0F-2FC8-60EE-9ECB39A2FF6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7354225" y="2544630"/>
                  <a:ext cx="0" cy="1811742"/>
                </a:xfrm>
                <a:prstGeom prst="line">
                  <a:avLst/>
                </a:prstGeom>
                <a:ln w="15431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06" name="Gerader Verbinder 905">
                  <a:extLst>
                    <a:ext uri="{FF2B5EF4-FFF2-40B4-BE49-F238E27FC236}">
                      <a16:creationId xmlns:a16="http://schemas.microsoft.com/office/drawing/2014/main" id="{2B3A3C26-A01B-6A4F-72E2-A52AEA5FEA8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9550973" y="434105"/>
                  <a:ext cx="0" cy="1811742"/>
                </a:xfrm>
                <a:prstGeom prst="line">
                  <a:avLst/>
                </a:prstGeom>
                <a:ln w="15431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08" name="Gerader Verbinder 907">
                  <a:extLst>
                    <a:ext uri="{FF2B5EF4-FFF2-40B4-BE49-F238E27FC236}">
                      <a16:creationId xmlns:a16="http://schemas.microsoft.com/office/drawing/2014/main" id="{43AE6E52-B599-F4F8-E6F6-3212C05B80F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9550973" y="2544632"/>
                  <a:ext cx="0" cy="1811743"/>
                </a:xfrm>
                <a:prstGeom prst="line">
                  <a:avLst/>
                </a:prstGeom>
                <a:ln w="15431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09" name="Rechteck 514">
                  <a:extLst>
                    <a:ext uri="{FF2B5EF4-FFF2-40B4-BE49-F238E27FC236}">
                      <a16:creationId xmlns:a16="http://schemas.microsoft.com/office/drawing/2014/main" id="{C20D37B2-CBEE-730A-2D5C-F919F8EE245D}"/>
                    </a:ext>
                  </a:extLst>
                </p:cNvPr>
                <p:cNvSpPr/>
                <p:nvPr/>
              </p:nvSpPr>
              <p:spPr bwMode="gray">
                <a:xfrm>
                  <a:off x="5445435" y="1276584"/>
                  <a:ext cx="1620832" cy="936000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 anchorCtr="0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cs-CZ" sz="2592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Arial" panose="020B0604020202020204" pitchFamily="34" charset="0"/>
                    </a:rPr>
                    <a:t>2 </a:t>
                  </a:r>
                  <a:r>
                    <a:rPr lang="cs-CZ" sz="2592" b="1" noProof="0" dirty="0">
                      <a:solidFill>
                        <a:schemeClr val="bg1"/>
                      </a:solidFill>
                      <a:latin typeface="Calibri"/>
                      <a:cs typeface="Arial" panose="020B0604020202020204" pitchFamily="34" charset="0"/>
                    </a:rPr>
                    <a:t>098</a:t>
                  </a:r>
                  <a:r>
                    <a:rPr kumimoji="0" lang="cs-CZ" sz="2268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Arial" charset="0"/>
                    </a:rPr>
                    <a:t> </a:t>
                  </a:r>
                  <a:br>
                    <a:rPr kumimoji="0" lang="cs-CZ" sz="2268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Arial" charset="0"/>
                    </a:rPr>
                  </a:br>
                  <a:r>
                    <a:rPr kumimoji="0" lang="cs-CZ" sz="1458" b="1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Arial" charset="0"/>
                    </a:rPr>
                    <a:t>Mio</a:t>
                  </a:r>
                  <a:r>
                    <a:rPr kumimoji="0" lang="cs-CZ" sz="1458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Arial" charset="0"/>
                    </a:rPr>
                    <a:t>. EUR</a:t>
                  </a:r>
                </a:p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cs-CZ" sz="1458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Arial" charset="0"/>
                    </a:rPr>
                    <a:t>V prodejích</a:t>
                  </a:r>
                  <a:endParaRPr kumimoji="0" lang="cs-CZ" sz="1458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Arial" charset="0"/>
                  </a:endParaRPr>
                </a:p>
              </p:txBody>
            </p:sp>
            <p:pic>
              <p:nvPicPr>
                <p:cNvPr id="914" name="Grafik 913">
                  <a:extLst>
                    <a:ext uri="{FF2B5EF4-FFF2-40B4-BE49-F238E27FC236}">
                      <a16:creationId xmlns:a16="http://schemas.microsoft.com/office/drawing/2014/main" id="{6D5A3801-F607-36F4-F544-F3688C12CB8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">
                  <a:extLs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77724" y="592156"/>
                  <a:ext cx="556255" cy="549710"/>
                </a:xfrm>
                <a:prstGeom prst="rect">
                  <a:avLst/>
                </a:prstGeom>
              </p:spPr>
            </p:pic>
            <p:sp>
              <p:nvSpPr>
                <p:cNvPr id="915" name="Rechteck 512">
                  <a:extLst>
                    <a:ext uri="{FF2B5EF4-FFF2-40B4-BE49-F238E27FC236}">
                      <a16:creationId xmlns:a16="http://schemas.microsoft.com/office/drawing/2014/main" id="{B355C1B2-E3DC-F4E0-4C49-2561C1ECD3D3}"/>
                    </a:ext>
                  </a:extLst>
                </p:cNvPr>
                <p:cNvSpPr/>
                <p:nvPr/>
              </p:nvSpPr>
              <p:spPr bwMode="gray">
                <a:xfrm>
                  <a:off x="7611519" y="1199405"/>
                  <a:ext cx="1567854" cy="936000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 anchorCtr="0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cs-CZ" sz="2592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Arial" panose="020B0604020202020204" pitchFamily="34" charset="0"/>
                    </a:rPr>
                    <a:t>13 </a:t>
                  </a:r>
                  <a:r>
                    <a:rPr lang="cs-CZ" sz="2592" b="1" noProof="0" dirty="0">
                      <a:solidFill>
                        <a:schemeClr val="bg1"/>
                      </a:solidFill>
                      <a:latin typeface="Calibri"/>
                      <a:cs typeface="Arial" panose="020B0604020202020204" pitchFamily="34" charset="0"/>
                    </a:rPr>
                    <a:t>488</a:t>
                  </a:r>
                  <a:endParaRPr kumimoji="0" lang="cs-CZ" sz="2333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Calibri"/>
                    <a:ea typeface="+mn-ea"/>
                    <a:cs typeface="Arial" charset="0"/>
                  </a:endParaRPr>
                </a:p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cs-CZ" sz="1458" noProof="0" dirty="0">
                      <a:solidFill>
                        <a:prstClr val="white"/>
                      </a:solidFill>
                      <a:latin typeface="Calibri"/>
                      <a:cs typeface="Arial" charset="0"/>
                    </a:rPr>
                    <a:t>zaměstnanců</a:t>
                  </a:r>
                  <a:endParaRPr kumimoji="0" lang="cs-CZ" sz="1458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916" name="Rechteck 915">
                  <a:extLst>
                    <a:ext uri="{FF2B5EF4-FFF2-40B4-BE49-F238E27FC236}">
                      <a16:creationId xmlns:a16="http://schemas.microsoft.com/office/drawing/2014/main" id="{5559CC0E-677F-C2CE-BF90-BB3703D02DEF}"/>
                    </a:ext>
                  </a:extLst>
                </p:cNvPr>
                <p:cNvSpPr/>
                <p:nvPr/>
              </p:nvSpPr>
              <p:spPr>
                <a:xfrm>
                  <a:off x="9984604" y="3125992"/>
                  <a:ext cx="1329488" cy="935413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 anchorCtr="0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cs-CZ" sz="2550" b="1" noProof="0" dirty="0">
                      <a:solidFill>
                        <a:schemeClr val="bg1"/>
                      </a:solidFill>
                      <a:latin typeface="Calibri"/>
                      <a:cs typeface="Calibri"/>
                    </a:rPr>
                    <a:t>83</a:t>
                  </a:r>
                  <a:endParaRPr lang="cs-CZ" sz="255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Calibri"/>
                    <a:cs typeface="Calibri"/>
                  </a:endParaRPr>
                </a:p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cs-CZ" sz="1458" b="0" i="0" u="none" strike="noStrike" kern="1200" cap="none" spc="0" normalizeH="0" baseline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rPr>
                    <a:t>Nových patentů</a:t>
                  </a:r>
                  <a:endParaRPr kumimoji="0" lang="cs-CZ" sz="1458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pic>
              <p:nvPicPr>
                <p:cNvPr id="917" name="Grafik 916">
                  <a:extLst>
                    <a:ext uri="{FF2B5EF4-FFF2-40B4-BE49-F238E27FC236}">
                      <a16:creationId xmlns:a16="http://schemas.microsoft.com/office/drawing/2014/main" id="{F1A9A2A6-BDDF-C4A3-8C52-CFC1DA34D1D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021355" y="594154"/>
                  <a:ext cx="599780" cy="462329"/>
                </a:xfrm>
                <a:prstGeom prst="rect">
                  <a:avLst/>
                </a:prstGeom>
              </p:spPr>
            </p:pic>
            <p:pic>
              <p:nvPicPr>
                <p:cNvPr id="918" name="Grafik 917">
                  <a:extLst>
                    <a:ext uri="{FF2B5EF4-FFF2-40B4-BE49-F238E27FC236}">
                      <a16:creationId xmlns:a16="http://schemas.microsoft.com/office/drawing/2014/main" id="{D3655FDD-A579-1BB8-2615-622CDF6350E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3">
                  <a:extLst>
                    <a:ext uri="{96DAC541-7B7A-43D3-8B79-37D633B846F1}">
                      <asvg:svgBlip xmlns:asvg="http://schemas.microsoft.com/office/drawing/2016/SVG/main" r:embed="rId1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481461" y="2643102"/>
                  <a:ext cx="335776" cy="538507"/>
                </a:xfrm>
                <a:prstGeom prst="rect">
                  <a:avLst/>
                </a:prstGeom>
              </p:spPr>
            </p:pic>
            <p:sp>
              <p:nvSpPr>
                <p:cNvPr id="919" name="Rechteck 918">
                  <a:extLst>
                    <a:ext uri="{FF2B5EF4-FFF2-40B4-BE49-F238E27FC236}">
                      <a16:creationId xmlns:a16="http://schemas.microsoft.com/office/drawing/2014/main" id="{E68926E8-88A5-1CE7-411F-4CE528EA9C19}"/>
                    </a:ext>
                  </a:extLst>
                </p:cNvPr>
                <p:cNvSpPr/>
                <p:nvPr/>
              </p:nvSpPr>
              <p:spPr>
                <a:xfrm>
                  <a:off x="5320023" y="3261012"/>
                  <a:ext cx="1871662" cy="935413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 anchorCtr="0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cs-CZ" sz="2550" b="1" noProof="0" dirty="0">
                      <a:solidFill>
                        <a:prstClr val="white"/>
                      </a:solidFill>
                      <a:latin typeface="Calibri"/>
                    </a:rPr>
                    <a:t>1.6</a:t>
                  </a:r>
                  <a:r>
                    <a:rPr kumimoji="0" lang="cs-CZ" sz="255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rPr>
                    <a:t> %</a:t>
                  </a:r>
                </a:p>
                <a:p>
                  <a:pPr lvl="0" algn="ctr">
                    <a:defRPr/>
                  </a:pPr>
                  <a:r>
                    <a:rPr lang="cs-CZ" sz="1458" dirty="0">
                      <a:solidFill>
                        <a:prstClr val="white"/>
                      </a:solidFill>
                    </a:rPr>
                    <a:t>složená roční míra růstu*</a:t>
                  </a:r>
                  <a:endParaRPr kumimoji="0" lang="cs-CZ" sz="1458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pic>
              <p:nvPicPr>
                <p:cNvPr id="920" name="Grafik 919">
                  <a:extLst>
                    <a:ext uri="{FF2B5EF4-FFF2-40B4-BE49-F238E27FC236}">
                      <a16:creationId xmlns:a16="http://schemas.microsoft.com/office/drawing/2014/main" id="{99A96BCB-F440-B27D-86EE-1A189470427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5">
                  <a:extLst>
                    <a:ext uri="{96DAC541-7B7A-43D3-8B79-37D633B846F1}">
                      <asvg:svgBlip xmlns:asvg="http://schemas.microsoft.com/office/drawing/2016/SVG/main" r:embed="rId16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45967" y="2562339"/>
                  <a:ext cx="619780" cy="524990"/>
                </a:xfrm>
                <a:prstGeom prst="rect">
                  <a:avLst/>
                </a:prstGeom>
              </p:spPr>
            </p:pic>
          </p:grpSp>
          <p:pic>
            <p:nvPicPr>
              <p:cNvPr id="7" name="Grafik 6">
                <a:extLst>
                  <a:ext uri="{FF2B5EF4-FFF2-40B4-BE49-F238E27FC236}">
                    <a16:creationId xmlns:a16="http://schemas.microsoft.com/office/drawing/2014/main" id="{DF606D02-4D09-B47C-49EC-56114A30A1D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>
                <a:extLst>
                  <a:ext uri="{96DAC541-7B7A-43D3-8B79-37D633B846F1}">
                    <asvg:svgBlip xmlns:asvg="http://schemas.microsoft.com/office/drawing/2016/SVG/main" r:embed="rId18"/>
                  </a:ext>
                </a:extLst>
              </a:blip>
              <a:stretch>
                <a:fillRect/>
              </a:stretch>
            </p:blipFill>
            <p:spPr>
              <a:xfrm>
                <a:off x="10418369" y="1433046"/>
                <a:ext cx="380026" cy="463549"/>
              </a:xfrm>
              <a:prstGeom prst="rect">
                <a:avLst/>
              </a:prstGeom>
            </p:spPr>
          </p:pic>
          <p:sp>
            <p:nvSpPr>
              <p:cNvPr id="14" name="Rechteck 512">
                <a:extLst>
                  <a:ext uri="{FF2B5EF4-FFF2-40B4-BE49-F238E27FC236}">
                    <a16:creationId xmlns:a16="http://schemas.microsoft.com/office/drawing/2014/main" id="{A9B6C736-5EE8-E27A-D161-CF4D654426DF}"/>
                  </a:ext>
                </a:extLst>
              </p:cNvPr>
              <p:cNvSpPr/>
              <p:nvPr/>
            </p:nvSpPr>
            <p:spPr bwMode="gray">
              <a:xfrm>
                <a:off x="9986422" y="2020996"/>
                <a:ext cx="1269963" cy="75816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cs-CZ" sz="2592" b="1" noProof="0" dirty="0">
                    <a:solidFill>
                      <a:schemeClr val="bg1"/>
                    </a:solidFill>
                    <a:latin typeface="Calibri"/>
                    <a:cs typeface="Arial" panose="020B0604020202020204" pitchFamily="34" charset="0"/>
                  </a:rPr>
                  <a:t>49</a:t>
                </a:r>
                <a:endParaRPr kumimoji="0" lang="cs-CZ" sz="2333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/>
                  <a:ea typeface="+mn-ea"/>
                  <a:cs typeface="Arial" charset="0"/>
                </a:endParaRPr>
              </a:p>
              <a:p>
                <a:pPr lvl="0" algn="ctr">
                  <a:defRPr/>
                </a:pPr>
                <a:r>
                  <a:rPr lang="cs-CZ" sz="1458" noProof="0" dirty="0">
                    <a:solidFill>
                      <a:prstClr val="white"/>
                    </a:solidFill>
                    <a:cs typeface="Arial" charset="0"/>
                  </a:rPr>
                  <a:t>obchodních zastoupení ve 40 zemích</a:t>
                </a:r>
                <a:endParaRPr kumimoji="0" lang="cs-CZ" sz="1458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</p:grpSp>
      <p:sp>
        <p:nvSpPr>
          <p:cNvPr id="11" name="Rechteck 10">
            <a:extLst>
              <a:ext uri="{FF2B5EF4-FFF2-40B4-BE49-F238E27FC236}">
                <a16:creationId xmlns:a16="http://schemas.microsoft.com/office/drawing/2014/main" id="{F0A2FD9A-1727-794F-CB95-80D0F2913D3C}"/>
              </a:ext>
            </a:extLst>
          </p:cNvPr>
          <p:cNvSpPr/>
          <p:nvPr/>
        </p:nvSpPr>
        <p:spPr>
          <a:xfrm>
            <a:off x="8066240" y="3744973"/>
            <a:ext cx="1516047" cy="7576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5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5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58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ýrobních závodů</a:t>
            </a:r>
          </a:p>
        </p:txBody>
      </p:sp>
      <p:sp>
        <p:nvSpPr>
          <p:cNvPr id="6" name="Rechteck 28">
            <a:extLst>
              <a:ext uri="{FF2B5EF4-FFF2-40B4-BE49-F238E27FC236}">
                <a16:creationId xmlns:a16="http://schemas.microsoft.com/office/drawing/2014/main" id="{0B67F79F-1EA4-CA7C-0A05-9F39997442ED}"/>
              </a:ext>
            </a:extLst>
          </p:cNvPr>
          <p:cNvSpPr/>
          <p:nvPr/>
        </p:nvSpPr>
        <p:spPr>
          <a:xfrm>
            <a:off x="6183097" y="5078610"/>
            <a:ext cx="5291834" cy="1290378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Rechteck 514">
            <a:extLst>
              <a:ext uri="{FF2B5EF4-FFF2-40B4-BE49-F238E27FC236}">
                <a16:creationId xmlns:a16="http://schemas.microsoft.com/office/drawing/2014/main" id="{453AF78D-3804-07A7-DF0F-3C72778EBD3E}"/>
              </a:ext>
            </a:extLst>
          </p:cNvPr>
          <p:cNvSpPr/>
          <p:nvPr/>
        </p:nvSpPr>
        <p:spPr bwMode="gray">
          <a:xfrm>
            <a:off x="6183097" y="5209147"/>
            <a:ext cx="5291833" cy="2520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lvl="0" algn="ctr">
              <a:defRPr/>
            </a:pPr>
            <a:r>
              <a:rPr lang="cs-CZ" sz="1458" dirty="0">
                <a:solidFill>
                  <a:prstClr val="white"/>
                </a:solidFill>
                <a:cs typeface="Arial" charset="0"/>
              </a:rPr>
              <a:t>Naše hodnocení ESG, standardy a členství </a:t>
            </a:r>
            <a:endParaRPr lang="cs-CZ" sz="1458" noProof="0" dirty="0">
              <a:solidFill>
                <a:prstClr val="white"/>
              </a:solidFill>
              <a:cs typeface="Arial" charset="0"/>
            </a:endParaRPr>
          </a:p>
        </p:txBody>
      </p:sp>
      <p:sp>
        <p:nvSpPr>
          <p:cNvPr id="18" name="Textfeld 9">
            <a:extLst>
              <a:ext uri="{FF2B5EF4-FFF2-40B4-BE49-F238E27FC236}">
                <a16:creationId xmlns:a16="http://schemas.microsoft.com/office/drawing/2014/main" id="{E7DC7F27-6D6D-974A-44B8-8B3F3E7933E1}"/>
              </a:ext>
            </a:extLst>
          </p:cNvPr>
          <p:cNvSpPr txBox="1"/>
          <p:nvPr/>
        </p:nvSpPr>
        <p:spPr>
          <a:xfrm>
            <a:off x="6183097" y="6488476"/>
            <a:ext cx="5291834" cy="1384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900" dirty="0">
                <a:solidFill>
                  <a:schemeClr val="bg1"/>
                </a:solidFill>
              </a:rPr>
              <a:t>*za posledních 8 let; historické hodnoty uvedené bez IKOR</a:t>
            </a:r>
            <a:endParaRPr lang="cs-CZ" sz="900" noProof="0" dirty="0">
              <a:solidFill>
                <a:schemeClr val="bg1"/>
              </a:solidFill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D9E76E5D-6033-2C46-B69E-AA6A6C19129A}"/>
              </a:ext>
            </a:extLst>
          </p:cNvPr>
          <p:cNvGrpSpPr/>
          <p:nvPr/>
        </p:nvGrpSpPr>
        <p:grpSpPr>
          <a:xfrm>
            <a:off x="7202043" y="5412308"/>
            <a:ext cx="3253942" cy="956679"/>
            <a:chOff x="7502613" y="5412308"/>
            <a:chExt cx="3253942" cy="956679"/>
          </a:xfrm>
        </p:grpSpPr>
        <p:pic>
          <p:nvPicPr>
            <p:cNvPr id="21" name="Grafik 17" descr="Ein Bild, das Schrift, Text, Grafiken, Grafikdesign enthält.&#10;&#10;Automatisch generierte Beschreibung">
              <a:extLst>
                <a:ext uri="{FF2B5EF4-FFF2-40B4-BE49-F238E27FC236}">
                  <a16:creationId xmlns:a16="http://schemas.microsoft.com/office/drawing/2014/main" id="{3CE64E1F-B463-8C18-8D8A-E39385C47D4D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90834" y="5412308"/>
              <a:ext cx="1435019" cy="956679"/>
            </a:xfrm>
            <a:prstGeom prst="rect">
              <a:avLst/>
            </a:prstGeom>
          </p:spPr>
        </p:pic>
        <p:pic>
          <p:nvPicPr>
            <p:cNvPr id="22" name="Grafik 7">
              <a:extLst>
                <a:ext uri="{FF2B5EF4-FFF2-40B4-BE49-F238E27FC236}">
                  <a16:creationId xmlns:a16="http://schemas.microsoft.com/office/drawing/2014/main" id="{10466376-2213-261E-C04D-73ACF787FB19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02613" y="5552763"/>
              <a:ext cx="1159577" cy="664824"/>
            </a:xfrm>
            <a:prstGeom prst="rect">
              <a:avLst/>
            </a:prstGeom>
          </p:spPr>
        </p:pic>
        <p:pic>
          <p:nvPicPr>
            <p:cNvPr id="23" name="Picture 22" descr="A red and black background with white text&#10;&#10;AI-generated content may be incorrect.">
              <a:extLst>
                <a:ext uri="{FF2B5EF4-FFF2-40B4-BE49-F238E27FC236}">
                  <a16:creationId xmlns:a16="http://schemas.microsoft.com/office/drawing/2014/main" id="{21F57334-2E30-EAED-FFB0-9C0436169F44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125853" y="5561300"/>
              <a:ext cx="630702" cy="63070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9798906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3" grpId="0" animBg="1"/>
      <p:bldP spid="2" grpId="0"/>
      <p:bldP spid="3" grpId="0"/>
      <p:bldP spid="4" grpId="0"/>
      <p:bldP spid="5" grpId="0" build="p"/>
      <p:bldP spid="11" grpId="0"/>
      <p:bldP spid="6" grpId="0" animBg="1"/>
      <p:bldP spid="8" grpId="0"/>
      <p:bldP spid="18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-5556" y="-5903"/>
            <a:ext cx="12203111" cy="6869805"/>
            <a:chOff x="-6350" y="-6350"/>
            <a:chExt cx="12204700" cy="6870700"/>
          </a:xfrm>
        </p:grpSpPr>
        <p:sp>
          <p:nvSpPr>
            <p:cNvPr id="3" name="object 3"/>
            <p:cNvSpPr/>
            <p:nvPr/>
          </p:nvSpPr>
          <p:spPr>
            <a:xfrm>
              <a:off x="5829300" y="0"/>
              <a:ext cx="6362700" cy="6858000"/>
            </a:xfrm>
            <a:custGeom>
              <a:avLst/>
              <a:gdLst/>
              <a:ahLst/>
              <a:cxnLst/>
              <a:rect l="l" t="t" r="r" b="b"/>
              <a:pathLst>
                <a:path w="6362700" h="6858000">
                  <a:moveTo>
                    <a:pt x="6362700" y="0"/>
                  </a:moveTo>
                  <a:lnTo>
                    <a:pt x="266700" y="0"/>
                  </a:lnTo>
                  <a:lnTo>
                    <a:pt x="260604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260604" y="6858000"/>
                  </a:lnTo>
                  <a:lnTo>
                    <a:pt x="266700" y="6858000"/>
                  </a:lnTo>
                  <a:lnTo>
                    <a:pt x="6362700" y="6858000"/>
                  </a:lnTo>
                  <a:lnTo>
                    <a:pt x="636270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914309"/>
              <a:endParaRPr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" name="object 4"/>
            <p:cNvSpPr/>
            <p:nvPr/>
          </p:nvSpPr>
          <p:spPr>
            <a:xfrm>
              <a:off x="6089903" y="0"/>
              <a:ext cx="6102350" cy="6858000"/>
            </a:xfrm>
            <a:custGeom>
              <a:avLst/>
              <a:gdLst/>
              <a:ahLst/>
              <a:cxnLst/>
              <a:rect l="l" t="t" r="r" b="b"/>
              <a:pathLst>
                <a:path w="6102350" h="6858000">
                  <a:moveTo>
                    <a:pt x="0" y="6858000"/>
                  </a:moveTo>
                  <a:lnTo>
                    <a:pt x="6102096" y="6858000"/>
                  </a:lnTo>
                  <a:lnTo>
                    <a:pt x="6102096" y="0"/>
                  </a:lnTo>
                  <a:lnTo>
                    <a:pt x="0" y="0"/>
                  </a:lnTo>
                  <a:lnTo>
                    <a:pt x="0" y="6858000"/>
                  </a:lnTo>
                  <a:close/>
                </a:path>
              </a:pathLst>
            </a:custGeom>
            <a:ln w="127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defTabSz="914309"/>
              <a:endParaRPr kern="0">
                <a:solidFill>
                  <a:sysClr val="windowText" lastClr="000000"/>
                </a:solidFill>
              </a:endParaRPr>
            </a:p>
          </p:txBody>
        </p:sp>
        <p:pic>
          <p:nvPicPr>
            <p:cNvPr id="5" name="object 5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6370320" y="897636"/>
              <a:ext cx="5542787" cy="5542788"/>
            </a:xfrm>
            <a:prstGeom prst="rect">
              <a:avLst/>
            </a:prstGeom>
          </p:spPr>
        </p:pic>
        <p:sp>
          <p:nvSpPr>
            <p:cNvPr id="6" name="object 6"/>
            <p:cNvSpPr/>
            <p:nvPr/>
          </p:nvSpPr>
          <p:spPr>
            <a:xfrm>
              <a:off x="0" y="0"/>
              <a:ext cx="5829300" cy="6858000"/>
            </a:xfrm>
            <a:custGeom>
              <a:avLst/>
              <a:gdLst/>
              <a:ahLst/>
              <a:cxnLst/>
              <a:rect l="l" t="t" r="r" b="b"/>
              <a:pathLst>
                <a:path w="5829300" h="6858000">
                  <a:moveTo>
                    <a:pt x="5829300" y="0"/>
                  </a:moveTo>
                  <a:lnTo>
                    <a:pt x="0" y="0"/>
                  </a:lnTo>
                  <a:lnTo>
                    <a:pt x="0" y="6858000"/>
                  </a:lnTo>
                  <a:lnTo>
                    <a:pt x="5829300" y="6858000"/>
                  </a:lnTo>
                  <a:lnTo>
                    <a:pt x="5829300" y="0"/>
                  </a:lnTo>
                  <a:close/>
                </a:path>
              </a:pathLst>
            </a:custGeom>
            <a:solidFill>
              <a:srgbClr val="DCDFE7"/>
            </a:solidFill>
          </p:spPr>
          <p:txBody>
            <a:bodyPr wrap="square" lIns="0" tIns="0" rIns="0" bIns="0" rtlCol="0"/>
            <a:lstStyle/>
            <a:p>
              <a:pPr defTabSz="914309"/>
              <a:endParaRPr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" name="object 7"/>
            <p:cNvSpPr/>
            <p:nvPr/>
          </p:nvSpPr>
          <p:spPr>
            <a:xfrm>
              <a:off x="0" y="0"/>
              <a:ext cx="5829300" cy="6858000"/>
            </a:xfrm>
            <a:custGeom>
              <a:avLst/>
              <a:gdLst/>
              <a:ahLst/>
              <a:cxnLst/>
              <a:rect l="l" t="t" r="r" b="b"/>
              <a:pathLst>
                <a:path w="5829300" h="6858000">
                  <a:moveTo>
                    <a:pt x="0" y="6858000"/>
                  </a:moveTo>
                  <a:lnTo>
                    <a:pt x="5829300" y="6858000"/>
                  </a:lnTo>
                  <a:lnTo>
                    <a:pt x="5829300" y="0"/>
                  </a:lnTo>
                  <a:lnTo>
                    <a:pt x="0" y="0"/>
                  </a:lnTo>
                  <a:lnTo>
                    <a:pt x="0" y="6858000"/>
                  </a:lnTo>
                  <a:close/>
                </a:path>
              </a:pathLst>
            </a:custGeom>
            <a:ln w="12700">
              <a:solidFill>
                <a:srgbClr val="DCDFE7"/>
              </a:solidFill>
            </a:ln>
          </p:spPr>
          <p:txBody>
            <a:bodyPr wrap="square" lIns="0" tIns="0" rIns="0" bIns="0" rtlCol="0"/>
            <a:lstStyle/>
            <a:p>
              <a:pPr defTabSz="914309"/>
              <a:endParaRPr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8" name="object 8"/>
          <p:cNvSpPr txBox="1">
            <a:spLocks noGrp="1"/>
          </p:cNvSpPr>
          <p:nvPr>
            <p:ph type="title"/>
          </p:nvPr>
        </p:nvSpPr>
        <p:spPr>
          <a:xfrm>
            <a:off x="456207" y="631047"/>
            <a:ext cx="5182653" cy="873955"/>
          </a:xfrm>
          <a:prstGeom prst="rect">
            <a:avLst/>
          </a:prstGeom>
        </p:spPr>
        <p:txBody>
          <a:bodyPr vert="horz" wrap="square" lIns="0" tIns="12063" rIns="0" bIns="0" rtlCol="0" anchor="t">
            <a:spAutoFit/>
          </a:bodyPr>
          <a:lstStyle/>
          <a:p>
            <a:pPr marL="12699" marR="5079">
              <a:spcBef>
                <a:spcPts val="95"/>
              </a:spcBef>
            </a:pPr>
            <a:r>
              <a:rPr lang="cs-CZ" u="sng" dirty="0">
                <a:uFill>
                  <a:solidFill>
                    <a:srgbClr val="000000"/>
                  </a:solidFill>
                </a:uFill>
                <a:hlinkClick r:id="rId3"/>
              </a:rPr>
              <a:t>Pařížská dohoda</a:t>
            </a:r>
            <a:r>
              <a:rPr u="sng" spc="-75" dirty="0">
                <a:uFill>
                  <a:solidFill>
                    <a:srgbClr val="000000"/>
                  </a:solidFill>
                </a:uFill>
              </a:rPr>
              <a:t> </a:t>
            </a:r>
            <a:br>
              <a:rPr lang="cs-CZ" u="sng" spc="-75" dirty="0">
                <a:uFill>
                  <a:solidFill>
                    <a:srgbClr val="000000"/>
                  </a:solidFill>
                </a:uFill>
              </a:rPr>
            </a:br>
            <a:r>
              <a:rPr lang="cs-CZ" spc="-20" dirty="0"/>
              <a:t>se zaměřením na klimatický aspekt</a:t>
            </a:r>
            <a:endParaRPr spc="-10" dirty="0"/>
          </a:p>
        </p:txBody>
      </p:sp>
      <p:sp>
        <p:nvSpPr>
          <p:cNvPr id="9" name="object 9"/>
          <p:cNvSpPr txBox="1"/>
          <p:nvPr/>
        </p:nvSpPr>
        <p:spPr>
          <a:xfrm>
            <a:off x="456207" y="371747"/>
            <a:ext cx="1606976" cy="228879"/>
          </a:xfrm>
          <a:prstGeom prst="rect">
            <a:avLst/>
          </a:prstGeom>
        </p:spPr>
        <p:txBody>
          <a:bodyPr vert="horz" wrap="square" lIns="0" tIns="13333" rIns="0" bIns="0" rtlCol="0">
            <a:spAutoFit/>
          </a:bodyPr>
          <a:lstStyle/>
          <a:p>
            <a:pPr marL="12699" defTabSz="914309">
              <a:spcBef>
                <a:spcPts val="105"/>
              </a:spcBef>
            </a:pPr>
            <a:r>
              <a:rPr sz="1400" i="1" kern="0" dirty="0">
                <a:solidFill>
                  <a:sysClr val="windowText" lastClr="000000"/>
                </a:solidFill>
                <a:latin typeface="Calibri"/>
                <a:cs typeface="Calibri"/>
              </a:rPr>
              <a:t>communication</a:t>
            </a:r>
            <a:r>
              <a:rPr sz="1400" i="1" kern="0" spc="5" dirty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1400" i="1" kern="0" spc="-20" dirty="0">
                <a:solidFill>
                  <a:sysClr val="windowText" lastClr="000000"/>
                </a:solidFill>
                <a:latin typeface="Calibri"/>
                <a:cs typeface="Calibri"/>
              </a:rPr>
              <a:t>guide</a:t>
            </a:r>
            <a:endParaRPr sz="1400" kern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547635" y="1862913"/>
            <a:ext cx="4634085" cy="2833740"/>
          </a:xfrm>
          <a:prstGeom prst="rect">
            <a:avLst/>
          </a:prstGeom>
        </p:spPr>
        <p:txBody>
          <a:bodyPr vert="horz" wrap="square" lIns="0" tIns="12698" rIns="0" bIns="0" rtlCol="0">
            <a:spAutoFit/>
          </a:bodyPr>
          <a:lstStyle/>
          <a:p>
            <a:pPr marL="12699" marR="5079" defTabSz="914309">
              <a:spcBef>
                <a:spcPts val="100"/>
              </a:spcBef>
            </a:pPr>
            <a:r>
              <a:rPr lang="cs-CZ" kern="0" dirty="0">
                <a:solidFill>
                  <a:sysClr val="windowText" lastClr="000000"/>
                </a:solidFill>
                <a:latin typeface="Calibri"/>
                <a:cs typeface="Calibri"/>
              </a:rPr>
              <a:t>195 států se dohodlo, že omezí nárůst globální teploty na méně než 2 °C oproti předindustriálnímu období, nebo lépe na 1,5 °C. </a:t>
            </a:r>
            <a:r>
              <a:rPr lang="cs-CZ" b="1" kern="0" dirty="0">
                <a:solidFill>
                  <a:sysClr val="windowText" lastClr="000000"/>
                </a:solidFill>
                <a:latin typeface="Calibri"/>
                <a:cs typeface="Calibri"/>
              </a:rPr>
              <a:t>Ochrana klimatu se tak stává mezinárodním právem.</a:t>
            </a:r>
          </a:p>
          <a:p>
            <a:pPr marL="12699" marR="5079" defTabSz="914309">
              <a:spcBef>
                <a:spcPts val="100"/>
              </a:spcBef>
            </a:pPr>
            <a:endParaRPr lang="cs-CZ" b="1" kern="0" dirty="0">
              <a:solidFill>
                <a:sysClr val="windowText" lastClr="000000"/>
              </a:solidFill>
              <a:latin typeface="Calibri"/>
              <a:cs typeface="Calibri"/>
            </a:endParaRPr>
          </a:p>
          <a:p>
            <a:pPr marL="12699" marR="5079" defTabSz="914309">
              <a:spcBef>
                <a:spcPts val="100"/>
              </a:spcBef>
            </a:pPr>
            <a:r>
              <a:rPr lang="cs-CZ" kern="0" dirty="0">
                <a:solidFill>
                  <a:sysClr val="windowText" lastClr="000000"/>
                </a:solidFill>
                <a:latin typeface="Calibri"/>
                <a:cs typeface="Calibri"/>
              </a:rPr>
              <a:t>Financování je třeba sladit s klimatickými cíli.</a:t>
            </a:r>
          </a:p>
          <a:p>
            <a:pPr marL="12699" marR="5079" defTabSz="914309">
              <a:spcBef>
                <a:spcPts val="100"/>
              </a:spcBef>
            </a:pPr>
            <a:endParaRPr lang="cs-CZ" kern="0" dirty="0">
              <a:solidFill>
                <a:sysClr val="windowText" lastClr="000000"/>
              </a:solidFill>
              <a:latin typeface="Calibri"/>
              <a:cs typeface="Calibri"/>
            </a:endParaRPr>
          </a:p>
          <a:p>
            <a:pPr marL="12699" marR="5079" defTabSz="914309">
              <a:spcBef>
                <a:spcPts val="100"/>
              </a:spcBef>
            </a:pPr>
            <a:r>
              <a:rPr lang="cs-CZ" b="1" kern="0" dirty="0">
                <a:solidFill>
                  <a:sysClr val="windowText" lastClr="000000"/>
                </a:solidFill>
                <a:latin typeface="Calibri"/>
                <a:cs typeface="Calibri"/>
              </a:rPr>
              <a:t>Současné desetiletí </a:t>
            </a:r>
            <a:r>
              <a:rPr lang="cs-CZ" kern="0" dirty="0">
                <a:solidFill>
                  <a:sysClr val="windowText" lastClr="000000"/>
                </a:solidFill>
                <a:latin typeface="Calibri"/>
                <a:cs typeface="Calibri"/>
              </a:rPr>
              <a:t>je považováno za kritické pro dosažení našich klimatických cílů.</a:t>
            </a:r>
            <a:r>
              <a:rPr kern="0" dirty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</a:p>
        </p:txBody>
      </p:sp>
      <p:pic>
        <p:nvPicPr>
          <p:cNvPr id="11" name="object 11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2763575" y="3930137"/>
            <a:ext cx="4821307" cy="2715414"/>
          </a:xfrm>
          <a:prstGeom prst="rect">
            <a:avLst/>
          </a:prstGeom>
        </p:spPr>
      </p:pic>
      <p:sp>
        <p:nvSpPr>
          <p:cNvPr id="12" name="object 12"/>
          <p:cNvSpPr txBox="1">
            <a:spLocks noGrp="1"/>
          </p:cNvSpPr>
          <p:nvPr>
            <p:ph type="sldNum" sz="quarter" idx="7"/>
          </p:nvPr>
        </p:nvSpPr>
        <p:spPr>
          <a:xfrm>
            <a:off x="314656" y="6665581"/>
            <a:ext cx="205178" cy="12822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pPr marL="38096" defTabSz="914309">
              <a:lnSpc>
                <a:spcPts val="955"/>
              </a:lnSpc>
            </a:pPr>
            <a:fld id="{81D60167-4931-47E6-BA6A-407CBD079E47}" type="slidenum">
              <a:rPr kern="0" spc="-25" dirty="0">
                <a:solidFill>
                  <a:prstClr val="black"/>
                </a:solidFill>
              </a:rPr>
              <a:pPr marL="38096" defTabSz="914309">
                <a:lnSpc>
                  <a:spcPts val="955"/>
                </a:lnSpc>
              </a:pPr>
              <a:t>20</a:t>
            </a:fld>
            <a:endParaRPr kern="0" spc="-25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-5556" y="447"/>
            <a:ext cx="12203111" cy="6863456"/>
            <a:chOff x="-6350" y="0"/>
            <a:chExt cx="12204700" cy="6864350"/>
          </a:xfrm>
        </p:grpSpPr>
        <p:sp>
          <p:nvSpPr>
            <p:cNvPr id="3" name="object 3"/>
            <p:cNvSpPr/>
            <p:nvPr/>
          </p:nvSpPr>
          <p:spPr>
            <a:xfrm>
              <a:off x="0" y="0"/>
              <a:ext cx="12192000" cy="5581015"/>
            </a:xfrm>
            <a:custGeom>
              <a:avLst/>
              <a:gdLst/>
              <a:ahLst/>
              <a:cxnLst/>
              <a:rect l="l" t="t" r="r" b="b"/>
              <a:pathLst>
                <a:path w="12192000" h="5581015">
                  <a:moveTo>
                    <a:pt x="0" y="5580888"/>
                  </a:moveTo>
                  <a:lnTo>
                    <a:pt x="12192000" y="5580888"/>
                  </a:lnTo>
                  <a:lnTo>
                    <a:pt x="12192000" y="0"/>
                  </a:lnTo>
                  <a:lnTo>
                    <a:pt x="0" y="0"/>
                  </a:lnTo>
                  <a:lnTo>
                    <a:pt x="0" y="5580888"/>
                  </a:lnTo>
                  <a:close/>
                </a:path>
              </a:pathLst>
            </a:custGeom>
            <a:solidFill>
              <a:srgbClr val="DCDFE7"/>
            </a:solidFill>
          </p:spPr>
          <p:txBody>
            <a:bodyPr wrap="square" lIns="0" tIns="0" rIns="0" bIns="0" rtlCol="0"/>
            <a:lstStyle/>
            <a:p>
              <a:pPr defTabSz="914309"/>
              <a:endParaRPr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" name="object 4"/>
            <p:cNvSpPr/>
            <p:nvPr/>
          </p:nvSpPr>
          <p:spPr>
            <a:xfrm>
              <a:off x="0" y="5580888"/>
              <a:ext cx="12192000" cy="1277620"/>
            </a:xfrm>
            <a:custGeom>
              <a:avLst/>
              <a:gdLst/>
              <a:ahLst/>
              <a:cxnLst/>
              <a:rect l="l" t="t" r="r" b="b"/>
              <a:pathLst>
                <a:path w="12192000" h="1277620">
                  <a:moveTo>
                    <a:pt x="12192000" y="0"/>
                  </a:moveTo>
                  <a:lnTo>
                    <a:pt x="0" y="0"/>
                  </a:lnTo>
                  <a:lnTo>
                    <a:pt x="0" y="1277112"/>
                  </a:lnTo>
                  <a:lnTo>
                    <a:pt x="12192000" y="1277112"/>
                  </a:lnTo>
                  <a:lnTo>
                    <a:pt x="12192000" y="0"/>
                  </a:lnTo>
                  <a:close/>
                </a:path>
              </a:pathLst>
            </a:custGeom>
            <a:solidFill>
              <a:srgbClr val="00A633"/>
            </a:solidFill>
          </p:spPr>
          <p:txBody>
            <a:bodyPr wrap="square" lIns="0" tIns="0" rIns="0" bIns="0" rtlCol="0"/>
            <a:lstStyle/>
            <a:p>
              <a:pPr defTabSz="914309"/>
              <a:endParaRPr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" name="object 5"/>
            <p:cNvSpPr/>
            <p:nvPr/>
          </p:nvSpPr>
          <p:spPr>
            <a:xfrm>
              <a:off x="0" y="5580888"/>
              <a:ext cx="12192000" cy="1277620"/>
            </a:xfrm>
            <a:custGeom>
              <a:avLst/>
              <a:gdLst/>
              <a:ahLst/>
              <a:cxnLst/>
              <a:rect l="l" t="t" r="r" b="b"/>
              <a:pathLst>
                <a:path w="12192000" h="1277620">
                  <a:moveTo>
                    <a:pt x="12192000" y="1277112"/>
                  </a:moveTo>
                  <a:lnTo>
                    <a:pt x="12192000" y="0"/>
                  </a:lnTo>
                  <a:lnTo>
                    <a:pt x="0" y="0"/>
                  </a:lnTo>
                  <a:lnTo>
                    <a:pt x="0" y="1277112"/>
                  </a:lnTo>
                </a:path>
              </a:pathLst>
            </a:custGeom>
            <a:ln w="12700">
              <a:solidFill>
                <a:srgbClr val="00A633"/>
              </a:solidFill>
            </a:ln>
          </p:spPr>
          <p:txBody>
            <a:bodyPr wrap="square" lIns="0" tIns="0" rIns="0" bIns="0" rtlCol="0"/>
            <a:lstStyle/>
            <a:p>
              <a:pPr defTabSz="914309"/>
              <a:endParaRPr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6" name="object 6"/>
          <p:cNvSpPr txBox="1">
            <a:spLocks noGrp="1"/>
          </p:cNvSpPr>
          <p:nvPr>
            <p:ph type="title"/>
          </p:nvPr>
        </p:nvSpPr>
        <p:spPr>
          <a:xfrm>
            <a:off x="456147" y="631047"/>
            <a:ext cx="9616476" cy="443012"/>
          </a:xfrm>
          <a:prstGeom prst="rect">
            <a:avLst/>
          </a:prstGeom>
        </p:spPr>
        <p:txBody>
          <a:bodyPr vert="horz" wrap="square" lIns="0" tIns="12063" rIns="0" bIns="0" rtlCol="0" anchor="t">
            <a:spAutoFit/>
          </a:bodyPr>
          <a:lstStyle/>
          <a:p>
            <a:pPr marL="12699">
              <a:spcBef>
                <a:spcPts val="95"/>
              </a:spcBef>
            </a:pPr>
            <a:r>
              <a:rPr lang="cs-CZ" dirty="0"/>
              <a:t>Srovnání předpisů </a:t>
            </a:r>
            <a:r>
              <a:rPr dirty="0"/>
              <a:t>ESG</a:t>
            </a:r>
            <a:endParaRPr spc="-10" dirty="0"/>
          </a:p>
        </p:txBody>
      </p:sp>
      <p:sp>
        <p:nvSpPr>
          <p:cNvPr id="7" name="object 7"/>
          <p:cNvSpPr txBox="1"/>
          <p:nvPr/>
        </p:nvSpPr>
        <p:spPr>
          <a:xfrm>
            <a:off x="456207" y="371747"/>
            <a:ext cx="1606976" cy="228879"/>
          </a:xfrm>
          <a:prstGeom prst="rect">
            <a:avLst/>
          </a:prstGeom>
        </p:spPr>
        <p:txBody>
          <a:bodyPr vert="horz" wrap="square" lIns="0" tIns="13333" rIns="0" bIns="0" rtlCol="0">
            <a:spAutoFit/>
          </a:bodyPr>
          <a:lstStyle/>
          <a:p>
            <a:pPr marL="12699" defTabSz="914309">
              <a:spcBef>
                <a:spcPts val="105"/>
              </a:spcBef>
            </a:pPr>
            <a:r>
              <a:rPr sz="1400" i="1" kern="0" dirty="0">
                <a:solidFill>
                  <a:sysClr val="windowText" lastClr="000000"/>
                </a:solidFill>
                <a:latin typeface="Calibri"/>
                <a:cs typeface="Calibri"/>
              </a:rPr>
              <a:t>communication</a:t>
            </a:r>
            <a:r>
              <a:rPr sz="1400" i="1" kern="0" spc="5" dirty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1400" i="1" kern="0" spc="-20" dirty="0">
                <a:solidFill>
                  <a:sysClr val="windowText" lastClr="000000"/>
                </a:solidFill>
                <a:latin typeface="Calibri"/>
                <a:cs typeface="Calibri"/>
              </a:rPr>
              <a:t>guide</a:t>
            </a:r>
            <a:endParaRPr sz="1400" kern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graphicFrame>
        <p:nvGraphicFramePr>
          <p:cNvPr id="8" name="object 8"/>
          <p:cNvGraphicFramePr>
            <a:graphicFrameLocks noGrp="1"/>
          </p:cNvGraphicFramePr>
          <p:nvPr/>
        </p:nvGraphicFramePr>
        <p:xfrm>
          <a:off x="1880910" y="1886658"/>
          <a:ext cx="9392964" cy="7606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0330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6094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7586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77522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74792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80315">
                <a:tc rowSpan="2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105"/>
                        </a:spcBef>
                      </a:pPr>
                      <a:endParaRPr sz="1600">
                        <a:latin typeface="Times New Roman"/>
                        <a:cs typeface="Times New Roman"/>
                      </a:endParaRPr>
                    </a:p>
                    <a:p>
                      <a:pPr marL="367665">
                        <a:lnSpc>
                          <a:spcPct val="100000"/>
                        </a:lnSpc>
                      </a:pPr>
                      <a:r>
                        <a:rPr sz="1600" b="1" spc="-2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Long-</a:t>
                      </a:r>
                      <a:r>
                        <a:rPr sz="1600" b="1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term </a:t>
                      </a:r>
                      <a:r>
                        <a:rPr sz="1600" b="1" spc="-2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goal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13333" marB="0">
                    <a:lnR w="57150">
                      <a:solidFill>
                        <a:srgbClr val="FFFFFF"/>
                      </a:solidFill>
                      <a:prstDash val="solid"/>
                    </a:lnR>
                    <a:lnT w="3175">
                      <a:solidFill>
                        <a:srgbClr val="61798A"/>
                      </a:solidFill>
                      <a:prstDash val="solid"/>
                    </a:lnT>
                    <a:lnB w="3175">
                      <a:solidFill>
                        <a:srgbClr val="61798A"/>
                      </a:solidFill>
                      <a:prstDash val="solid"/>
                    </a:lnB>
                    <a:solidFill>
                      <a:srgbClr val="61798A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617220" marR="552450" indent="-56515">
                        <a:lnSpc>
                          <a:spcPct val="100000"/>
                        </a:lnSpc>
                        <a:spcBef>
                          <a:spcPts val="985"/>
                        </a:spcBef>
                      </a:pPr>
                      <a:r>
                        <a:rPr sz="1600" b="1" spc="-2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Trend</a:t>
                      </a:r>
                      <a:r>
                        <a:rPr sz="1600" b="1" spc="-3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600" b="1" spc="-2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CO</a:t>
                      </a:r>
                      <a:r>
                        <a:rPr sz="1600" b="1" spc="-30" baseline="-21164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2</a:t>
                      </a:r>
                      <a:r>
                        <a:rPr sz="1600" b="1" spc="-2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e </a:t>
                      </a:r>
                      <a:r>
                        <a:rPr sz="1600" b="1" spc="-1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emissions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125079" marB="0">
                    <a:lnL w="57150">
                      <a:solidFill>
                        <a:srgbClr val="FFFFFF"/>
                      </a:solidFill>
                      <a:prstDash val="solid"/>
                    </a:lnL>
                    <a:lnR w="57150">
                      <a:solidFill>
                        <a:srgbClr val="FFFFFF"/>
                      </a:solidFill>
                      <a:prstDash val="solid"/>
                    </a:lnR>
                    <a:lnT w="3175">
                      <a:solidFill>
                        <a:srgbClr val="61798A"/>
                      </a:solidFill>
                      <a:prstDash val="solid"/>
                    </a:lnT>
                    <a:lnB w="3175">
                      <a:solidFill>
                        <a:srgbClr val="61798A"/>
                      </a:solidFill>
                      <a:prstDash val="solid"/>
                    </a:lnB>
                    <a:solidFill>
                      <a:srgbClr val="61798A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2667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ESG</a:t>
                      </a:r>
                      <a:r>
                        <a:rPr sz="1600" b="1" spc="-2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600" b="1" spc="-1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Disclosure Requirements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1270" marB="0">
                    <a:lnL w="57150">
                      <a:solidFill>
                        <a:srgbClr val="FFFFFF"/>
                      </a:solidFill>
                      <a:prstDash val="solid"/>
                    </a:lnL>
                    <a:lnB w="76200">
                      <a:solidFill>
                        <a:srgbClr val="FFFFFF"/>
                      </a:solidFill>
                      <a:prstDash val="solid"/>
                    </a:lnB>
                    <a:solidFill>
                      <a:srgbClr val="6179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0315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13335" marB="0">
                    <a:lnR w="57150">
                      <a:solidFill>
                        <a:srgbClr val="FFFFFF"/>
                      </a:solidFill>
                      <a:prstDash val="solid"/>
                    </a:lnR>
                    <a:lnT w="3175">
                      <a:solidFill>
                        <a:srgbClr val="61798A"/>
                      </a:solidFill>
                      <a:prstDash val="solid"/>
                    </a:lnT>
                    <a:lnB w="3175">
                      <a:solidFill>
                        <a:srgbClr val="61798A"/>
                      </a:solidFill>
                      <a:prstDash val="solid"/>
                    </a:lnB>
                    <a:solidFill>
                      <a:srgbClr val="61798A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125095" marB="0">
                    <a:lnL w="57150">
                      <a:solidFill>
                        <a:srgbClr val="FFFFFF"/>
                      </a:solidFill>
                      <a:prstDash val="solid"/>
                    </a:lnL>
                    <a:lnR w="57150">
                      <a:solidFill>
                        <a:srgbClr val="FFFFFF"/>
                      </a:solidFill>
                      <a:prstDash val="solid"/>
                    </a:lnR>
                    <a:lnT w="3175">
                      <a:solidFill>
                        <a:srgbClr val="61798A"/>
                      </a:solidFill>
                      <a:prstDash val="solid"/>
                    </a:lnT>
                    <a:lnB w="3175">
                      <a:solidFill>
                        <a:srgbClr val="61798A"/>
                      </a:solidFill>
                      <a:prstDash val="solid"/>
                    </a:lnB>
                    <a:solidFill>
                      <a:srgbClr val="61798A"/>
                    </a:solidFill>
                  </a:tcPr>
                </a:tc>
                <a:tc>
                  <a:txBody>
                    <a:bodyPr/>
                    <a:lstStyle/>
                    <a:p>
                      <a:pPr marL="513715">
                        <a:lnSpc>
                          <a:spcPct val="100000"/>
                        </a:lnSpc>
                        <a:spcBef>
                          <a:spcPts val="565"/>
                        </a:spcBef>
                      </a:pPr>
                      <a:r>
                        <a:rPr sz="1600" i="1" spc="-1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Available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71746" marB="0">
                    <a:lnL w="57150">
                      <a:solidFill>
                        <a:srgbClr val="FFFFFF"/>
                      </a:solidFill>
                      <a:prstDash val="solid"/>
                    </a:lnL>
                    <a:lnR w="57150">
                      <a:solidFill>
                        <a:srgbClr val="FFFFFF"/>
                      </a:solidFill>
                      <a:prstDash val="solid"/>
                    </a:lnR>
                    <a:lnT w="76200">
                      <a:solidFill>
                        <a:srgbClr val="FFFFFF"/>
                      </a:solidFill>
                      <a:prstDash val="solid"/>
                    </a:lnT>
                    <a:lnB w="3175">
                      <a:solidFill>
                        <a:srgbClr val="61798A"/>
                      </a:solidFill>
                      <a:prstDash val="solid"/>
                    </a:lnB>
                    <a:solidFill>
                      <a:srgbClr val="61798A"/>
                    </a:solidFill>
                  </a:tcPr>
                </a:tc>
                <a:tc>
                  <a:txBody>
                    <a:bodyPr/>
                    <a:lstStyle/>
                    <a:p>
                      <a:pPr marL="565150">
                        <a:lnSpc>
                          <a:spcPct val="100000"/>
                        </a:lnSpc>
                        <a:spcBef>
                          <a:spcPts val="560"/>
                        </a:spcBef>
                      </a:pPr>
                      <a:r>
                        <a:rPr sz="1600" i="1" spc="-1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Content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71111" marB="0">
                    <a:lnL w="57150">
                      <a:solidFill>
                        <a:srgbClr val="FFFFFF"/>
                      </a:solidFill>
                      <a:prstDash val="solid"/>
                    </a:lnL>
                    <a:lnR w="57150">
                      <a:solidFill>
                        <a:srgbClr val="FFFFFF"/>
                      </a:solidFill>
                      <a:prstDash val="solid"/>
                    </a:lnR>
                    <a:lnT w="76200">
                      <a:solidFill>
                        <a:srgbClr val="FFFFFF"/>
                      </a:solidFill>
                      <a:prstDash val="solid"/>
                    </a:lnT>
                    <a:solidFill>
                      <a:srgbClr val="61798A"/>
                    </a:solidFill>
                  </a:tcPr>
                </a:tc>
                <a:tc>
                  <a:txBody>
                    <a:bodyPr/>
                    <a:lstStyle/>
                    <a:p>
                      <a:pPr marL="184150">
                        <a:lnSpc>
                          <a:spcPct val="100000"/>
                        </a:lnSpc>
                        <a:spcBef>
                          <a:spcPts val="690"/>
                        </a:spcBef>
                      </a:pPr>
                      <a:r>
                        <a:rPr sz="1400" i="1" spc="-1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relevant</a:t>
                      </a:r>
                      <a:r>
                        <a:rPr sz="1400" i="1" spc="-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400" i="1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for</a:t>
                      </a:r>
                      <a:r>
                        <a:rPr sz="1400" i="1" spc="-2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400" i="1" spc="-2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whom?</a:t>
                      </a:r>
                      <a:endParaRPr sz="1400">
                        <a:latin typeface="Calibri"/>
                        <a:cs typeface="Calibri"/>
                      </a:endParaRPr>
                    </a:p>
                  </a:txBody>
                  <a:tcPr marL="0" marR="0" marT="87619" marB="0">
                    <a:lnL w="57150">
                      <a:solidFill>
                        <a:srgbClr val="FFFFFF"/>
                      </a:solidFill>
                      <a:prstDash val="solid"/>
                    </a:lnL>
                    <a:lnT w="76200">
                      <a:solidFill>
                        <a:srgbClr val="FFFFFF"/>
                      </a:solidFill>
                      <a:prstDash val="solid"/>
                    </a:lnT>
                    <a:solidFill>
                      <a:srgbClr val="61798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9" name="object 9"/>
          <p:cNvSpPr txBox="1"/>
          <p:nvPr/>
        </p:nvSpPr>
        <p:spPr>
          <a:xfrm>
            <a:off x="2005356" y="2876621"/>
            <a:ext cx="1986655" cy="258370"/>
          </a:xfrm>
          <a:prstGeom prst="rect">
            <a:avLst/>
          </a:prstGeom>
        </p:spPr>
        <p:txBody>
          <a:bodyPr vert="horz" wrap="square" lIns="0" tIns="12063" rIns="0" bIns="0" rtlCol="0">
            <a:spAutoFit/>
          </a:bodyPr>
          <a:lstStyle/>
          <a:p>
            <a:pPr marL="12699" defTabSz="914309">
              <a:spcBef>
                <a:spcPts val="95"/>
              </a:spcBef>
            </a:pPr>
            <a:r>
              <a:rPr sz="1600" kern="0" dirty="0">
                <a:solidFill>
                  <a:sysClr val="windowText" lastClr="000000"/>
                </a:solidFill>
                <a:latin typeface="Calibri"/>
                <a:cs typeface="Calibri"/>
              </a:rPr>
              <a:t>Climate</a:t>
            </a:r>
            <a:r>
              <a:rPr sz="1600" kern="0" spc="-75" dirty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1600" kern="0" dirty="0">
                <a:solidFill>
                  <a:sysClr val="windowText" lastClr="000000"/>
                </a:solidFill>
                <a:latin typeface="Calibri"/>
                <a:cs typeface="Calibri"/>
              </a:rPr>
              <a:t>neutral</a:t>
            </a:r>
            <a:r>
              <a:rPr sz="1600" kern="0" spc="-45" dirty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1600" kern="0" dirty="0">
                <a:solidFill>
                  <a:sysClr val="windowText" lastClr="000000"/>
                </a:solidFill>
                <a:latin typeface="Calibri"/>
                <a:cs typeface="Calibri"/>
              </a:rPr>
              <a:t>by</a:t>
            </a:r>
            <a:r>
              <a:rPr sz="1600" kern="0" spc="-40" dirty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1600" kern="0" spc="-20" dirty="0">
                <a:solidFill>
                  <a:sysClr val="windowText" lastClr="000000"/>
                </a:solidFill>
                <a:latin typeface="Calibri"/>
                <a:cs typeface="Calibri"/>
              </a:rPr>
              <a:t>2050</a:t>
            </a:r>
            <a:endParaRPr sz="1600" kern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2015515" y="3636618"/>
            <a:ext cx="1737769" cy="258370"/>
          </a:xfrm>
          <a:prstGeom prst="rect">
            <a:avLst/>
          </a:prstGeom>
        </p:spPr>
        <p:txBody>
          <a:bodyPr vert="horz" wrap="square" lIns="0" tIns="12063" rIns="0" bIns="0" rtlCol="0">
            <a:spAutoFit/>
          </a:bodyPr>
          <a:lstStyle/>
          <a:p>
            <a:pPr marL="38096" defTabSz="914309">
              <a:spcBef>
                <a:spcPts val="95"/>
              </a:spcBef>
            </a:pPr>
            <a:r>
              <a:rPr sz="1600" kern="0" spc="-20" dirty="0">
                <a:solidFill>
                  <a:sysClr val="windowText" lastClr="000000"/>
                </a:solidFill>
                <a:latin typeface="Calibri"/>
                <a:cs typeface="Calibri"/>
              </a:rPr>
              <a:t>CO</a:t>
            </a:r>
            <a:r>
              <a:rPr sz="1575" kern="0" spc="-30" baseline="-21164" dirty="0">
                <a:solidFill>
                  <a:sysClr val="windowText" lastClr="000000"/>
                </a:solidFill>
                <a:latin typeface="Calibri"/>
                <a:cs typeface="Calibri"/>
              </a:rPr>
              <a:t>2</a:t>
            </a:r>
            <a:r>
              <a:rPr sz="1600" kern="0" spc="-20" dirty="0">
                <a:solidFill>
                  <a:sysClr val="windowText" lastClr="000000"/>
                </a:solidFill>
                <a:latin typeface="Calibri"/>
                <a:cs typeface="Calibri"/>
              </a:rPr>
              <a:t>-</a:t>
            </a:r>
            <a:r>
              <a:rPr sz="1600" kern="0" dirty="0">
                <a:solidFill>
                  <a:sysClr val="windowText" lastClr="000000"/>
                </a:solidFill>
                <a:latin typeface="Calibri"/>
                <a:cs typeface="Calibri"/>
              </a:rPr>
              <a:t>neutral</a:t>
            </a:r>
            <a:r>
              <a:rPr sz="1600" kern="0" spc="-35" dirty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1600" kern="0" dirty="0">
                <a:solidFill>
                  <a:sysClr val="windowText" lastClr="000000"/>
                </a:solidFill>
                <a:latin typeface="Calibri"/>
                <a:cs typeface="Calibri"/>
              </a:rPr>
              <a:t>by</a:t>
            </a:r>
            <a:r>
              <a:rPr sz="1600" kern="0" spc="-40" dirty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1600" kern="0" spc="-20" dirty="0">
                <a:solidFill>
                  <a:sysClr val="windowText" lastClr="000000"/>
                </a:solidFill>
                <a:latin typeface="Calibri"/>
                <a:cs typeface="Calibri"/>
              </a:rPr>
              <a:t>2060</a:t>
            </a:r>
            <a:endParaRPr sz="1600" kern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2005356" y="4326011"/>
            <a:ext cx="1986655" cy="258370"/>
          </a:xfrm>
          <a:prstGeom prst="rect">
            <a:avLst/>
          </a:prstGeom>
        </p:spPr>
        <p:txBody>
          <a:bodyPr vert="horz" wrap="square" lIns="0" tIns="12063" rIns="0" bIns="0" rtlCol="0">
            <a:spAutoFit/>
          </a:bodyPr>
          <a:lstStyle/>
          <a:p>
            <a:pPr marL="12699" defTabSz="914309">
              <a:spcBef>
                <a:spcPts val="95"/>
              </a:spcBef>
            </a:pPr>
            <a:r>
              <a:rPr sz="1600" kern="0" dirty="0">
                <a:solidFill>
                  <a:sysClr val="windowText" lastClr="000000"/>
                </a:solidFill>
                <a:latin typeface="Calibri"/>
                <a:cs typeface="Calibri"/>
              </a:rPr>
              <a:t>Climate</a:t>
            </a:r>
            <a:r>
              <a:rPr sz="1600" kern="0" spc="-75" dirty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1600" kern="0" dirty="0">
                <a:solidFill>
                  <a:sysClr val="windowText" lastClr="000000"/>
                </a:solidFill>
                <a:latin typeface="Calibri"/>
                <a:cs typeface="Calibri"/>
              </a:rPr>
              <a:t>neutral</a:t>
            </a:r>
            <a:r>
              <a:rPr sz="1600" kern="0" spc="-45" dirty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1600" kern="0" dirty="0">
                <a:solidFill>
                  <a:sysClr val="windowText" lastClr="000000"/>
                </a:solidFill>
                <a:latin typeface="Calibri"/>
                <a:cs typeface="Calibri"/>
              </a:rPr>
              <a:t>by</a:t>
            </a:r>
            <a:r>
              <a:rPr sz="1600" kern="0" spc="-40" dirty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1600" kern="0" spc="-20" dirty="0">
                <a:solidFill>
                  <a:sysClr val="windowText" lastClr="000000"/>
                </a:solidFill>
                <a:latin typeface="Calibri"/>
                <a:cs typeface="Calibri"/>
              </a:rPr>
              <a:t>2050</a:t>
            </a:r>
            <a:endParaRPr sz="1600" kern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7884436" y="2759289"/>
            <a:ext cx="1507929" cy="513013"/>
          </a:xfrm>
          <a:prstGeom prst="rect">
            <a:avLst/>
          </a:prstGeom>
        </p:spPr>
        <p:txBody>
          <a:bodyPr vert="horz" wrap="square" lIns="0" tIns="12063" rIns="0" bIns="0" rtlCol="0">
            <a:spAutoFit/>
          </a:bodyPr>
          <a:lstStyle/>
          <a:p>
            <a:pPr marL="12699" marR="5079" indent="154925" defTabSz="914309">
              <a:spcBef>
                <a:spcPts val="95"/>
              </a:spcBef>
            </a:pPr>
            <a:r>
              <a:rPr sz="1600" kern="0" dirty="0">
                <a:solidFill>
                  <a:sysClr val="windowText" lastClr="000000"/>
                </a:solidFill>
                <a:latin typeface="Calibri"/>
                <a:cs typeface="Calibri"/>
              </a:rPr>
              <a:t>ESG</a:t>
            </a:r>
            <a:r>
              <a:rPr sz="1600" kern="0" spc="-30" dirty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1600" kern="0" dirty="0">
                <a:solidFill>
                  <a:sysClr val="windowText" lastClr="000000"/>
                </a:solidFill>
                <a:latin typeface="Calibri"/>
                <a:cs typeface="Calibri"/>
              </a:rPr>
              <a:t>incl.</a:t>
            </a:r>
            <a:r>
              <a:rPr sz="1600" kern="0" spc="-45" dirty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1600" kern="0" spc="-20" dirty="0">
                <a:solidFill>
                  <a:sysClr val="windowText" lastClr="000000"/>
                </a:solidFill>
                <a:latin typeface="Calibri"/>
                <a:cs typeface="Calibri"/>
              </a:rPr>
              <a:t>goals </a:t>
            </a:r>
            <a:r>
              <a:rPr sz="1600" kern="0" dirty="0">
                <a:solidFill>
                  <a:sysClr val="windowText" lastClr="000000"/>
                </a:solidFill>
                <a:latin typeface="Calibri"/>
                <a:cs typeface="Calibri"/>
              </a:rPr>
              <a:t>and</a:t>
            </a:r>
            <a:r>
              <a:rPr sz="1600" kern="0" spc="-30" dirty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1600" kern="0" dirty="0">
                <a:solidFill>
                  <a:sysClr val="windowText" lastClr="000000"/>
                </a:solidFill>
                <a:latin typeface="Calibri"/>
                <a:cs typeface="Calibri"/>
              </a:rPr>
              <a:t>supply</a:t>
            </a:r>
            <a:r>
              <a:rPr sz="1600" kern="0" spc="-15" dirty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1600" kern="0" spc="-10" dirty="0">
                <a:solidFill>
                  <a:sysClr val="windowText" lastClr="000000"/>
                </a:solidFill>
                <a:latin typeface="Calibri"/>
                <a:cs typeface="Calibri"/>
              </a:rPr>
              <a:t>chain*</a:t>
            </a:r>
            <a:endParaRPr sz="1600" kern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8033767" y="3467476"/>
            <a:ext cx="1208883" cy="608251"/>
          </a:xfrm>
          <a:prstGeom prst="rect">
            <a:avLst/>
          </a:prstGeom>
        </p:spPr>
        <p:txBody>
          <a:bodyPr vert="horz" wrap="square" lIns="0" tIns="12063" rIns="0" bIns="0" rtlCol="0">
            <a:spAutoFit/>
          </a:bodyPr>
          <a:lstStyle/>
          <a:p>
            <a:pPr marL="635" algn="ctr" defTabSz="914309">
              <a:spcBef>
                <a:spcPts val="95"/>
              </a:spcBef>
            </a:pPr>
            <a:r>
              <a:rPr sz="1600" kern="0" spc="-25" dirty="0">
                <a:solidFill>
                  <a:sysClr val="windowText" lastClr="000000"/>
                </a:solidFill>
                <a:latin typeface="Calibri"/>
                <a:cs typeface="Calibri"/>
              </a:rPr>
              <a:t>ESG</a:t>
            </a:r>
            <a:endParaRPr sz="1600" kern="0">
              <a:solidFill>
                <a:sysClr val="windowText" lastClr="000000"/>
              </a:solidFill>
              <a:latin typeface="Calibri"/>
              <a:cs typeface="Calibri"/>
            </a:endParaRPr>
          </a:p>
          <a:p>
            <a:pPr marL="12064" marR="5079" algn="ctr" defTabSz="914309">
              <a:spcBef>
                <a:spcPts val="30"/>
              </a:spcBef>
            </a:pPr>
            <a:r>
              <a:rPr sz="1100" kern="0" dirty="0">
                <a:solidFill>
                  <a:sysClr val="windowText" lastClr="000000"/>
                </a:solidFill>
                <a:latin typeface="Calibri"/>
                <a:cs typeface="Calibri"/>
              </a:rPr>
              <a:t>(social</a:t>
            </a:r>
            <a:r>
              <a:rPr sz="1100" kern="0" spc="-50" dirty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1100" kern="0" dirty="0">
                <a:solidFill>
                  <a:sysClr val="windowText" lastClr="000000"/>
                </a:solidFill>
                <a:latin typeface="Calibri"/>
                <a:cs typeface="Calibri"/>
              </a:rPr>
              <a:t>&amp;</a:t>
            </a:r>
            <a:r>
              <a:rPr sz="1100" kern="0" spc="5" dirty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1100" kern="0" spc="-10" dirty="0">
                <a:solidFill>
                  <a:sysClr val="windowText" lastClr="000000"/>
                </a:solidFill>
                <a:latin typeface="Calibri"/>
                <a:cs typeface="Calibri"/>
              </a:rPr>
              <a:t>governance </a:t>
            </a:r>
            <a:r>
              <a:rPr sz="1100" kern="0" dirty="0">
                <a:solidFill>
                  <a:sysClr val="windowText" lastClr="000000"/>
                </a:solidFill>
                <a:latin typeface="Calibri"/>
                <a:cs typeface="Calibri"/>
              </a:rPr>
              <a:t>criteria</a:t>
            </a:r>
            <a:r>
              <a:rPr sz="1100" kern="0" spc="-25" dirty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1100" kern="0" spc="-10" dirty="0">
                <a:solidFill>
                  <a:sysClr val="windowText" lastClr="000000"/>
                </a:solidFill>
                <a:latin typeface="Calibri"/>
                <a:cs typeface="Calibri"/>
              </a:rPr>
              <a:t>restricted)</a:t>
            </a:r>
            <a:endParaRPr sz="1100" kern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7975863" y="4207409"/>
            <a:ext cx="1326342" cy="608251"/>
          </a:xfrm>
          <a:prstGeom prst="rect">
            <a:avLst/>
          </a:prstGeom>
        </p:spPr>
        <p:txBody>
          <a:bodyPr vert="horz" wrap="square" lIns="0" tIns="12063" rIns="0" bIns="0" rtlCol="0">
            <a:spAutoFit/>
          </a:bodyPr>
          <a:lstStyle/>
          <a:p>
            <a:pPr algn="ctr" defTabSz="914309">
              <a:spcBef>
                <a:spcPts val="95"/>
              </a:spcBef>
            </a:pPr>
            <a:r>
              <a:rPr sz="1600" kern="0" spc="-25" dirty="0">
                <a:solidFill>
                  <a:sysClr val="windowText" lastClr="000000"/>
                </a:solidFill>
                <a:latin typeface="Calibri"/>
                <a:cs typeface="Calibri"/>
              </a:rPr>
              <a:t>ESG</a:t>
            </a:r>
            <a:endParaRPr sz="1600" kern="0">
              <a:solidFill>
                <a:sysClr val="windowText" lastClr="000000"/>
              </a:solidFill>
              <a:latin typeface="Calibri"/>
              <a:cs typeface="Calibri"/>
            </a:endParaRPr>
          </a:p>
          <a:p>
            <a:pPr marL="12699" marR="5079" indent="1270" algn="ctr" defTabSz="914309">
              <a:spcBef>
                <a:spcPts val="30"/>
              </a:spcBef>
            </a:pPr>
            <a:r>
              <a:rPr sz="1100" kern="0" dirty="0">
                <a:solidFill>
                  <a:sysClr val="windowText" lastClr="000000"/>
                </a:solidFill>
                <a:latin typeface="Calibri"/>
                <a:cs typeface="Calibri"/>
              </a:rPr>
              <a:t>(by US</a:t>
            </a:r>
            <a:r>
              <a:rPr sz="1100" kern="0" spc="-25" dirty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1100" kern="0" dirty="0">
                <a:solidFill>
                  <a:sysClr val="windowText" lastClr="000000"/>
                </a:solidFill>
                <a:latin typeface="Calibri"/>
                <a:cs typeface="Calibri"/>
              </a:rPr>
              <a:t>Securities</a:t>
            </a:r>
            <a:r>
              <a:rPr sz="1100" kern="0" spc="-25" dirty="0">
                <a:solidFill>
                  <a:sysClr val="windowText" lastClr="000000"/>
                </a:solidFill>
                <a:latin typeface="Calibri"/>
                <a:cs typeface="Calibri"/>
              </a:rPr>
              <a:t> and </a:t>
            </a:r>
            <a:r>
              <a:rPr sz="1100" kern="0" dirty="0">
                <a:solidFill>
                  <a:sysClr val="windowText" lastClr="000000"/>
                </a:solidFill>
                <a:latin typeface="Calibri"/>
                <a:cs typeface="Calibri"/>
              </a:rPr>
              <a:t>Exchange</a:t>
            </a:r>
            <a:r>
              <a:rPr sz="1100" kern="0" spc="-45" dirty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1100" kern="0" spc="-10" dirty="0">
                <a:solidFill>
                  <a:sysClr val="windowText" lastClr="000000"/>
                </a:solidFill>
                <a:latin typeface="Calibri"/>
                <a:cs typeface="Calibri"/>
              </a:rPr>
              <a:t>Commission)</a:t>
            </a:r>
            <a:endParaRPr sz="1100" kern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9727982" y="2759289"/>
            <a:ext cx="1371421" cy="513013"/>
          </a:xfrm>
          <a:prstGeom prst="rect">
            <a:avLst/>
          </a:prstGeom>
        </p:spPr>
        <p:txBody>
          <a:bodyPr vert="horz" wrap="square" lIns="0" tIns="12063" rIns="0" bIns="0" rtlCol="0">
            <a:spAutoFit/>
          </a:bodyPr>
          <a:lstStyle/>
          <a:p>
            <a:pPr marL="12699" marR="5079" indent="81907" defTabSz="914309">
              <a:spcBef>
                <a:spcPts val="95"/>
              </a:spcBef>
            </a:pPr>
            <a:r>
              <a:rPr lang="en-US" sz="1600" kern="0" dirty="0">
                <a:solidFill>
                  <a:sysClr val="windowText" lastClr="000000"/>
                </a:solidFill>
                <a:latin typeface="Calibri"/>
                <a:cs typeface="Calibri"/>
              </a:rPr>
              <a:t>In</a:t>
            </a:r>
            <a:r>
              <a:rPr lang="en-US" sz="1600" kern="0" spc="-50" dirty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lang="en-US" sz="1600" kern="0" dirty="0">
                <a:solidFill>
                  <a:sysClr val="windowText" lastClr="000000"/>
                </a:solidFill>
                <a:latin typeface="Calibri"/>
                <a:cs typeface="Calibri"/>
              </a:rPr>
              <a:t>future:</a:t>
            </a:r>
            <a:r>
              <a:rPr lang="en-US" sz="1600" kern="0" spc="-25" dirty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lang="en-US" sz="1600" kern="0" spc="-20" dirty="0">
                <a:solidFill>
                  <a:sysClr val="windowText" lastClr="000000"/>
                </a:solidFill>
                <a:latin typeface="Calibri"/>
                <a:cs typeface="Calibri"/>
              </a:rPr>
              <a:t>over </a:t>
            </a:r>
            <a:r>
              <a:rPr lang="en-US" sz="1600" kern="0" dirty="0">
                <a:solidFill>
                  <a:sysClr val="windowText" lastClr="000000"/>
                </a:solidFill>
                <a:latin typeface="Calibri"/>
                <a:cs typeface="Calibri"/>
              </a:rPr>
              <a:t>250</a:t>
            </a:r>
            <a:r>
              <a:rPr lang="en-US" sz="1600" kern="0" spc="-20" dirty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lang="en-US" sz="1600" kern="0" spc="-10" dirty="0">
                <a:solidFill>
                  <a:sysClr val="windowText" lastClr="000000"/>
                </a:solidFill>
                <a:latin typeface="Calibri"/>
                <a:cs typeface="Calibri"/>
              </a:rPr>
              <a:t>employees</a:t>
            </a:r>
            <a:r>
              <a:rPr sz="1600" kern="0" spc="-10" dirty="0">
                <a:solidFill>
                  <a:sysClr val="windowText" lastClr="000000"/>
                </a:solidFill>
                <a:latin typeface="Calibri"/>
                <a:cs typeface="Calibri"/>
              </a:rPr>
              <a:t>*</a:t>
            </a:r>
            <a:endParaRPr sz="1600" kern="0" dirty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9944361" y="3513572"/>
            <a:ext cx="940946" cy="513013"/>
          </a:xfrm>
          <a:prstGeom prst="rect">
            <a:avLst/>
          </a:prstGeom>
        </p:spPr>
        <p:txBody>
          <a:bodyPr vert="horz" wrap="square" lIns="0" tIns="12063" rIns="0" bIns="0" rtlCol="0">
            <a:spAutoFit/>
          </a:bodyPr>
          <a:lstStyle/>
          <a:p>
            <a:pPr algn="ctr" defTabSz="914309">
              <a:spcBef>
                <a:spcPts val="95"/>
              </a:spcBef>
            </a:pPr>
            <a:r>
              <a:rPr sz="1600" kern="0" spc="-10" dirty="0">
                <a:solidFill>
                  <a:sysClr val="windowText" lastClr="000000"/>
                </a:solidFill>
                <a:latin typeface="Calibri"/>
                <a:cs typeface="Calibri"/>
              </a:rPr>
              <a:t>Listed</a:t>
            </a:r>
            <a:endParaRPr sz="1600" kern="0">
              <a:solidFill>
                <a:sysClr val="windowText" lastClr="000000"/>
              </a:solidFill>
              <a:latin typeface="Calibri"/>
              <a:cs typeface="Calibri"/>
            </a:endParaRPr>
          </a:p>
          <a:p>
            <a:pPr algn="ctr" defTabSz="914309"/>
            <a:r>
              <a:rPr sz="1600" kern="0" spc="-10" dirty="0">
                <a:solidFill>
                  <a:sysClr val="windowText" lastClr="000000"/>
                </a:solidFill>
                <a:latin typeface="Calibri"/>
                <a:cs typeface="Calibri"/>
              </a:rPr>
              <a:t>Companies</a:t>
            </a:r>
            <a:endParaRPr sz="1600" kern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9944361" y="4197378"/>
            <a:ext cx="940946" cy="513013"/>
          </a:xfrm>
          <a:prstGeom prst="rect">
            <a:avLst/>
          </a:prstGeom>
        </p:spPr>
        <p:txBody>
          <a:bodyPr vert="horz" wrap="square" lIns="0" tIns="12063" rIns="0" bIns="0" rtlCol="0">
            <a:spAutoFit/>
          </a:bodyPr>
          <a:lstStyle/>
          <a:p>
            <a:pPr marL="12699" marR="5079" indent="214608" defTabSz="914309">
              <a:spcBef>
                <a:spcPts val="95"/>
              </a:spcBef>
            </a:pPr>
            <a:r>
              <a:rPr sz="1600" kern="0" spc="-10" dirty="0">
                <a:solidFill>
                  <a:sysClr val="windowText" lastClr="000000"/>
                </a:solidFill>
                <a:latin typeface="Calibri"/>
                <a:cs typeface="Calibri"/>
              </a:rPr>
              <a:t>Listed Companies</a:t>
            </a:r>
            <a:endParaRPr sz="1600" kern="0" dirty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797234" y="5846765"/>
            <a:ext cx="7288216" cy="513013"/>
          </a:xfrm>
          <a:prstGeom prst="rect">
            <a:avLst/>
          </a:prstGeom>
        </p:spPr>
        <p:txBody>
          <a:bodyPr vert="horz" wrap="square" lIns="0" tIns="12063" rIns="0" bIns="0" rtlCol="0">
            <a:spAutoFit/>
          </a:bodyPr>
          <a:lstStyle/>
          <a:p>
            <a:pPr marL="12699" defTabSz="914309">
              <a:spcBef>
                <a:spcPts val="95"/>
              </a:spcBef>
            </a:pPr>
            <a:r>
              <a:rPr lang="cs-CZ" sz="1600" kern="0" dirty="0">
                <a:solidFill>
                  <a:srgbClr val="FFFFFF"/>
                </a:solidFill>
                <a:latin typeface="Calibri"/>
                <a:cs typeface="Calibri"/>
              </a:rPr>
              <a:t>Pařížskou dohodu o klimatu podepsali všichni, ale rozdílně </a:t>
            </a:r>
            <a:r>
              <a:rPr lang="cs-CZ" sz="1600" kern="0" dirty="0" err="1">
                <a:solidFill>
                  <a:srgbClr val="FFFFFF"/>
                </a:solidFill>
                <a:latin typeface="Calibri"/>
                <a:cs typeface="Calibri"/>
              </a:rPr>
              <a:t>přístupují</a:t>
            </a:r>
            <a:r>
              <a:rPr lang="cs-CZ" sz="1600" kern="0" dirty="0">
                <a:solidFill>
                  <a:srgbClr val="FFFFFF"/>
                </a:solidFill>
                <a:latin typeface="Calibri"/>
                <a:cs typeface="Calibri"/>
              </a:rPr>
              <a:t> k dosažení cílů, zejména pokud jde o požadavky na zveřejňování informací.</a:t>
            </a:r>
            <a:endParaRPr sz="1600" kern="0" dirty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grpSp>
        <p:nvGrpSpPr>
          <p:cNvPr id="19" name="object 19"/>
          <p:cNvGrpSpPr/>
          <p:nvPr/>
        </p:nvGrpSpPr>
        <p:grpSpPr>
          <a:xfrm>
            <a:off x="889170" y="2730846"/>
            <a:ext cx="10554231" cy="2297131"/>
            <a:chOff x="888491" y="2730754"/>
            <a:chExt cx="10555605" cy="2297430"/>
          </a:xfrm>
        </p:grpSpPr>
        <p:pic>
          <p:nvPicPr>
            <p:cNvPr id="20" name="object 20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888491" y="2817876"/>
              <a:ext cx="608076" cy="405384"/>
            </a:xfrm>
            <a:prstGeom prst="rect">
              <a:avLst/>
            </a:prstGeom>
          </p:spPr>
        </p:pic>
        <p:pic>
          <p:nvPicPr>
            <p:cNvPr id="21" name="object 21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888491" y="3566160"/>
              <a:ext cx="608076" cy="405383"/>
            </a:xfrm>
            <a:prstGeom prst="rect">
              <a:avLst/>
            </a:prstGeom>
          </p:spPr>
        </p:pic>
        <p:pic>
          <p:nvPicPr>
            <p:cNvPr id="22" name="object 22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888491" y="4308348"/>
              <a:ext cx="601979" cy="338327"/>
            </a:xfrm>
            <a:prstGeom prst="rect">
              <a:avLst/>
            </a:prstGeom>
          </p:spPr>
        </p:pic>
        <p:sp>
          <p:nvSpPr>
            <p:cNvPr id="23" name="object 23"/>
            <p:cNvSpPr/>
            <p:nvPr/>
          </p:nvSpPr>
          <p:spPr>
            <a:xfrm>
              <a:off x="888491" y="3396996"/>
              <a:ext cx="10379075" cy="1417320"/>
            </a:xfrm>
            <a:custGeom>
              <a:avLst/>
              <a:gdLst/>
              <a:ahLst/>
              <a:cxnLst/>
              <a:rect l="l" t="t" r="r" b="b"/>
              <a:pathLst>
                <a:path w="10379075" h="1417320">
                  <a:moveTo>
                    <a:pt x="0" y="0"/>
                  </a:moveTo>
                  <a:lnTo>
                    <a:pt x="10378059" y="0"/>
                  </a:lnTo>
                </a:path>
                <a:path w="10379075" h="1417320">
                  <a:moveTo>
                    <a:pt x="0" y="742187"/>
                  </a:moveTo>
                  <a:lnTo>
                    <a:pt x="10378948" y="742187"/>
                  </a:lnTo>
                </a:path>
                <a:path w="10379075" h="1417320">
                  <a:moveTo>
                    <a:pt x="0" y="1417320"/>
                  </a:moveTo>
                  <a:lnTo>
                    <a:pt x="10378948" y="1417320"/>
                  </a:lnTo>
                </a:path>
              </a:pathLst>
            </a:custGeom>
            <a:ln w="6350">
              <a:solidFill>
                <a:srgbClr val="61798A"/>
              </a:solidFill>
            </a:ln>
          </p:spPr>
          <p:txBody>
            <a:bodyPr wrap="square" lIns="0" tIns="0" rIns="0" bIns="0" rtlCol="0"/>
            <a:lstStyle/>
            <a:p>
              <a:pPr defTabSz="914309"/>
              <a:endParaRPr kern="0">
                <a:solidFill>
                  <a:sysClr val="windowText" lastClr="000000"/>
                </a:solidFill>
              </a:endParaRPr>
            </a:p>
          </p:txBody>
        </p:sp>
        <p:pic>
          <p:nvPicPr>
            <p:cNvPr id="24" name="object 24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6637020" y="2795016"/>
              <a:ext cx="451103" cy="451103"/>
            </a:xfrm>
            <a:prstGeom prst="rect">
              <a:avLst/>
            </a:prstGeom>
          </p:spPr>
        </p:pic>
        <p:pic>
          <p:nvPicPr>
            <p:cNvPr id="25" name="object 25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6637020" y="3541776"/>
              <a:ext cx="451103" cy="452628"/>
            </a:xfrm>
            <a:prstGeom prst="rect">
              <a:avLst/>
            </a:prstGeom>
          </p:spPr>
        </p:pic>
        <p:pic>
          <p:nvPicPr>
            <p:cNvPr id="26" name="object 26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6637020" y="4251960"/>
              <a:ext cx="451103" cy="451104"/>
            </a:xfrm>
            <a:prstGeom prst="rect">
              <a:avLst/>
            </a:prstGeom>
          </p:spPr>
        </p:pic>
        <p:pic>
          <p:nvPicPr>
            <p:cNvPr id="27" name="object 27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4716780" y="2788920"/>
              <a:ext cx="454151" cy="454151"/>
            </a:xfrm>
            <a:prstGeom prst="rect">
              <a:avLst/>
            </a:prstGeom>
          </p:spPr>
        </p:pic>
        <p:pic>
          <p:nvPicPr>
            <p:cNvPr id="28" name="object 28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4716780" y="4245864"/>
              <a:ext cx="454151" cy="452628"/>
            </a:xfrm>
            <a:prstGeom prst="rect">
              <a:avLst/>
            </a:prstGeom>
          </p:spPr>
        </p:pic>
        <p:pic>
          <p:nvPicPr>
            <p:cNvPr id="29" name="object 29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4716780" y="3540252"/>
              <a:ext cx="454152" cy="452627"/>
            </a:xfrm>
            <a:prstGeom prst="rect">
              <a:avLst/>
            </a:prstGeom>
          </p:spPr>
        </p:pic>
        <p:sp>
          <p:nvSpPr>
            <p:cNvPr id="30" name="object 30"/>
            <p:cNvSpPr/>
            <p:nvPr/>
          </p:nvSpPr>
          <p:spPr>
            <a:xfrm>
              <a:off x="11266932" y="2737104"/>
              <a:ext cx="170815" cy="2284730"/>
            </a:xfrm>
            <a:custGeom>
              <a:avLst/>
              <a:gdLst/>
              <a:ahLst/>
              <a:cxnLst/>
              <a:rect l="l" t="t" r="r" b="b"/>
              <a:pathLst>
                <a:path w="170815" h="2284729">
                  <a:moveTo>
                    <a:pt x="0" y="2284476"/>
                  </a:moveTo>
                  <a:lnTo>
                    <a:pt x="170688" y="2284476"/>
                  </a:lnTo>
                  <a:lnTo>
                    <a:pt x="170688" y="0"/>
                  </a:lnTo>
                  <a:lnTo>
                    <a:pt x="0" y="0"/>
                  </a:lnTo>
                  <a:lnTo>
                    <a:pt x="0" y="2284476"/>
                  </a:lnTo>
                  <a:close/>
                </a:path>
              </a:pathLst>
            </a:custGeom>
            <a:ln w="12700">
              <a:solidFill>
                <a:srgbClr val="DCDFE7"/>
              </a:solidFill>
            </a:ln>
          </p:spPr>
          <p:txBody>
            <a:bodyPr wrap="square" lIns="0" tIns="0" rIns="0" bIns="0" rtlCol="0"/>
            <a:lstStyle/>
            <a:p>
              <a:pPr defTabSz="914309"/>
              <a:endParaRPr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31" name="object 31"/>
          <p:cNvSpPr txBox="1"/>
          <p:nvPr/>
        </p:nvSpPr>
        <p:spPr>
          <a:xfrm>
            <a:off x="8485067" y="5336547"/>
            <a:ext cx="3565696" cy="175025"/>
          </a:xfrm>
          <a:prstGeom prst="rect">
            <a:avLst/>
          </a:prstGeom>
        </p:spPr>
        <p:txBody>
          <a:bodyPr vert="horz" wrap="square" lIns="0" tIns="13333" rIns="0" bIns="0" rtlCol="0">
            <a:spAutoFit/>
          </a:bodyPr>
          <a:lstStyle/>
          <a:p>
            <a:pPr marL="12699" defTabSz="914309">
              <a:spcBef>
                <a:spcPts val="105"/>
              </a:spcBef>
            </a:pPr>
            <a:r>
              <a:rPr sz="1050" kern="0" dirty="0">
                <a:solidFill>
                  <a:sysClr val="windowText" lastClr="000000"/>
                </a:solidFill>
                <a:latin typeface="Calibri"/>
                <a:cs typeface="Calibri"/>
              </a:rPr>
              <a:t>*Content</a:t>
            </a:r>
            <a:r>
              <a:rPr sz="1050" kern="0" spc="-30" dirty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1050" kern="0" dirty="0">
                <a:solidFill>
                  <a:sysClr val="windowText" lastClr="000000"/>
                </a:solidFill>
                <a:latin typeface="Calibri"/>
                <a:cs typeface="Calibri"/>
              </a:rPr>
              <a:t>and</a:t>
            </a:r>
            <a:r>
              <a:rPr sz="1050" kern="0" spc="-25" dirty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1050" kern="0" dirty="0">
                <a:solidFill>
                  <a:sysClr val="windowText" lastClr="000000"/>
                </a:solidFill>
                <a:latin typeface="Calibri"/>
                <a:cs typeface="Calibri"/>
              </a:rPr>
              <a:t>user</a:t>
            </a:r>
            <a:r>
              <a:rPr sz="1050" kern="0" spc="-15" dirty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1050" kern="0" dirty="0">
                <a:solidFill>
                  <a:sysClr val="windowText" lastClr="000000"/>
                </a:solidFill>
                <a:latin typeface="Calibri"/>
                <a:cs typeface="Calibri"/>
              </a:rPr>
              <a:t>group</a:t>
            </a:r>
            <a:r>
              <a:rPr sz="1050" kern="0" spc="-25" dirty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1050" kern="0" dirty="0">
                <a:solidFill>
                  <a:sysClr val="windowText" lastClr="000000"/>
                </a:solidFill>
                <a:latin typeface="Calibri"/>
                <a:cs typeface="Calibri"/>
              </a:rPr>
              <a:t>in</a:t>
            </a:r>
            <a:r>
              <a:rPr sz="1050" kern="0" spc="-10" dirty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1050" kern="0" dirty="0">
                <a:solidFill>
                  <a:sysClr val="windowText" lastClr="000000"/>
                </a:solidFill>
                <a:latin typeface="Calibri"/>
                <a:cs typeface="Calibri"/>
              </a:rPr>
              <a:t>the</a:t>
            </a:r>
            <a:r>
              <a:rPr sz="1050" kern="0" spc="-20" dirty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1050" kern="0" dirty="0">
                <a:solidFill>
                  <a:sysClr val="windowText" lastClr="000000"/>
                </a:solidFill>
                <a:latin typeface="Calibri"/>
                <a:cs typeface="Calibri"/>
              </a:rPr>
              <a:t>future</a:t>
            </a:r>
            <a:r>
              <a:rPr sz="1050" kern="0" spc="-20" dirty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1050" kern="0" dirty="0">
                <a:solidFill>
                  <a:sysClr val="windowText" lastClr="000000"/>
                </a:solidFill>
                <a:latin typeface="Calibri"/>
                <a:cs typeface="Calibri"/>
              </a:rPr>
              <a:t>under</a:t>
            </a:r>
            <a:r>
              <a:rPr sz="1050" kern="0" spc="-30" dirty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1050" kern="0" dirty="0">
                <a:solidFill>
                  <a:sysClr val="windowText" lastClr="000000"/>
                </a:solidFill>
                <a:latin typeface="Calibri"/>
                <a:cs typeface="Calibri"/>
              </a:rPr>
              <a:t>the</a:t>
            </a:r>
            <a:r>
              <a:rPr sz="1050" kern="0" spc="-10" dirty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1050" kern="0" dirty="0">
                <a:solidFill>
                  <a:sysClr val="windowText" lastClr="000000"/>
                </a:solidFill>
                <a:latin typeface="Calibri"/>
                <a:cs typeface="Calibri"/>
              </a:rPr>
              <a:t>CSRD</a:t>
            </a:r>
            <a:r>
              <a:rPr sz="1050" kern="0" spc="-10" dirty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1050" kern="0" dirty="0">
                <a:solidFill>
                  <a:sysClr val="windowText" lastClr="000000"/>
                </a:solidFill>
                <a:latin typeface="Calibri"/>
                <a:cs typeface="Calibri"/>
              </a:rPr>
              <a:t>(</a:t>
            </a:r>
            <a:r>
              <a:rPr sz="1050" u="sng" kern="0" dirty="0">
                <a:solidFill>
                  <a:sysClr val="windowText" lastClr="000000"/>
                </a:solidFill>
                <a:uFill>
                  <a:solidFill>
                    <a:srgbClr val="000000"/>
                  </a:solidFill>
                </a:uFill>
                <a:latin typeface="Calibri"/>
                <a:cs typeface="Calibri"/>
                <a:hlinkClick r:id="" action="ppaction://noaction"/>
              </a:rPr>
              <a:t>see</a:t>
            </a:r>
            <a:r>
              <a:rPr sz="1050" u="sng" kern="0" spc="-15" dirty="0">
                <a:solidFill>
                  <a:sysClr val="windowText" lastClr="000000"/>
                </a:solidFill>
                <a:uFill>
                  <a:solidFill>
                    <a:srgbClr val="000000"/>
                  </a:solidFill>
                </a:uFill>
                <a:latin typeface="Calibri"/>
                <a:cs typeface="Calibri"/>
                <a:hlinkClick r:id="" action="ppaction://noaction"/>
              </a:rPr>
              <a:t> </a:t>
            </a:r>
            <a:r>
              <a:rPr sz="1050" u="sng" kern="0" dirty="0">
                <a:solidFill>
                  <a:sysClr val="windowText" lastClr="000000"/>
                </a:solidFill>
                <a:uFill>
                  <a:solidFill>
                    <a:srgbClr val="000000"/>
                  </a:solidFill>
                </a:uFill>
                <a:latin typeface="Calibri"/>
                <a:cs typeface="Calibri"/>
                <a:hlinkClick r:id="" action="ppaction://noaction"/>
              </a:rPr>
              <a:t>p.</a:t>
            </a:r>
            <a:r>
              <a:rPr sz="1050" u="sng" kern="0" spc="-25" dirty="0">
                <a:solidFill>
                  <a:sysClr val="windowText" lastClr="000000"/>
                </a:solidFill>
                <a:uFill>
                  <a:solidFill>
                    <a:srgbClr val="000000"/>
                  </a:solidFill>
                </a:uFill>
                <a:latin typeface="Calibri"/>
                <a:cs typeface="Calibri"/>
                <a:hlinkClick r:id="" action="ppaction://noaction"/>
              </a:rPr>
              <a:t> 28</a:t>
            </a:r>
            <a:r>
              <a:rPr sz="1050" kern="0" spc="-25" dirty="0">
                <a:solidFill>
                  <a:sysClr val="windowText" lastClr="000000"/>
                </a:solidFill>
                <a:latin typeface="Calibri"/>
                <a:cs typeface="Calibri"/>
              </a:rPr>
              <a:t>)</a:t>
            </a:r>
            <a:endParaRPr sz="1050" kern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32" name="object 32"/>
          <p:cNvSpPr txBox="1">
            <a:spLocks noGrp="1"/>
          </p:cNvSpPr>
          <p:nvPr>
            <p:ph type="sldNum" sz="quarter" idx="7"/>
          </p:nvPr>
        </p:nvSpPr>
        <p:spPr>
          <a:xfrm>
            <a:off x="314656" y="6665581"/>
            <a:ext cx="205178" cy="12822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pPr marL="38096" defTabSz="914309">
              <a:lnSpc>
                <a:spcPts val="955"/>
              </a:lnSpc>
            </a:pPr>
            <a:fld id="{81D60167-4931-47E6-BA6A-407CBD079E47}" type="slidenum">
              <a:rPr kern="0" spc="-25" dirty="0">
                <a:solidFill>
                  <a:prstClr val="black"/>
                </a:solidFill>
              </a:rPr>
              <a:pPr marL="38096" defTabSz="914309">
                <a:lnSpc>
                  <a:spcPts val="955"/>
                </a:lnSpc>
              </a:pPr>
              <a:t>21</a:t>
            </a:fld>
            <a:endParaRPr kern="0" spc="-25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456147" y="631047"/>
            <a:ext cx="9616476" cy="443068"/>
          </a:xfrm>
          <a:prstGeom prst="rect">
            <a:avLst/>
          </a:prstGeom>
        </p:spPr>
        <p:txBody>
          <a:bodyPr vert="horz" wrap="square" lIns="0" tIns="12063" rIns="0" bIns="0" rtlCol="0" anchor="t">
            <a:spAutoFit/>
          </a:bodyPr>
          <a:lstStyle/>
          <a:p>
            <a:pPr marL="12699">
              <a:spcBef>
                <a:spcPts val="95"/>
              </a:spcBef>
            </a:pPr>
            <a:r>
              <a:rPr lang="cs-CZ" dirty="0"/>
              <a:t>Jak se kalkuluje uhlíková stopa firmy? </a:t>
            </a:r>
            <a:endParaRPr spc="-10" dirty="0"/>
          </a:p>
        </p:txBody>
      </p:sp>
      <p:sp>
        <p:nvSpPr>
          <p:cNvPr id="3" name="object 3"/>
          <p:cNvSpPr txBox="1"/>
          <p:nvPr/>
        </p:nvSpPr>
        <p:spPr>
          <a:xfrm>
            <a:off x="456207" y="371747"/>
            <a:ext cx="1606976" cy="228879"/>
          </a:xfrm>
          <a:prstGeom prst="rect">
            <a:avLst/>
          </a:prstGeom>
        </p:spPr>
        <p:txBody>
          <a:bodyPr vert="horz" wrap="square" lIns="0" tIns="13333" rIns="0" bIns="0" rtlCol="0">
            <a:spAutoFit/>
          </a:bodyPr>
          <a:lstStyle/>
          <a:p>
            <a:pPr marL="12699" defTabSz="914309">
              <a:spcBef>
                <a:spcPts val="105"/>
              </a:spcBef>
            </a:pPr>
            <a:r>
              <a:rPr sz="1400" i="1" kern="0" dirty="0">
                <a:solidFill>
                  <a:sysClr val="windowText" lastClr="000000"/>
                </a:solidFill>
                <a:latin typeface="Calibri"/>
                <a:cs typeface="Calibri"/>
              </a:rPr>
              <a:t>communication</a:t>
            </a:r>
            <a:r>
              <a:rPr sz="1400" i="1" kern="0" spc="5" dirty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1400" i="1" kern="0" spc="-20" dirty="0">
                <a:solidFill>
                  <a:sysClr val="windowText" lastClr="000000"/>
                </a:solidFill>
                <a:latin typeface="Calibri"/>
                <a:cs typeface="Calibri"/>
              </a:rPr>
              <a:t>guide</a:t>
            </a:r>
            <a:endParaRPr sz="1400" kern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grpSp>
        <p:nvGrpSpPr>
          <p:cNvPr id="4" name="object 4"/>
          <p:cNvGrpSpPr/>
          <p:nvPr/>
        </p:nvGrpSpPr>
        <p:grpSpPr>
          <a:xfrm>
            <a:off x="1756214" y="1228632"/>
            <a:ext cx="8380909" cy="1243803"/>
            <a:chOff x="1755648" y="1228344"/>
            <a:chExt cx="8382000" cy="1243965"/>
          </a:xfrm>
        </p:grpSpPr>
        <p:pic>
          <p:nvPicPr>
            <p:cNvPr id="5" name="object 5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7783068" y="1415796"/>
              <a:ext cx="2005583" cy="975360"/>
            </a:xfrm>
            <a:prstGeom prst="rect">
              <a:avLst/>
            </a:prstGeom>
          </p:spPr>
        </p:pic>
        <p:pic>
          <p:nvPicPr>
            <p:cNvPr id="6" name="object 6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7624572" y="1228344"/>
              <a:ext cx="2005583" cy="976884"/>
            </a:xfrm>
            <a:prstGeom prst="rect">
              <a:avLst/>
            </a:prstGeom>
          </p:spPr>
        </p:pic>
        <p:pic>
          <p:nvPicPr>
            <p:cNvPr id="7" name="object 7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8827007" y="1388364"/>
              <a:ext cx="1310640" cy="1083564"/>
            </a:xfrm>
            <a:prstGeom prst="rect">
              <a:avLst/>
            </a:prstGeom>
          </p:spPr>
        </p:pic>
        <p:pic>
          <p:nvPicPr>
            <p:cNvPr id="8" name="object 8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4271772" y="1345692"/>
              <a:ext cx="2048255" cy="1060703"/>
            </a:xfrm>
            <a:prstGeom prst="rect">
              <a:avLst/>
            </a:prstGeom>
          </p:spPr>
        </p:pic>
        <p:pic>
          <p:nvPicPr>
            <p:cNvPr id="9" name="object 9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755648" y="1341120"/>
              <a:ext cx="1693164" cy="1025651"/>
            </a:xfrm>
            <a:prstGeom prst="rect">
              <a:avLst/>
            </a:prstGeom>
          </p:spPr>
        </p:pic>
        <p:pic>
          <p:nvPicPr>
            <p:cNvPr id="10" name="object 10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6470904" y="1414272"/>
              <a:ext cx="2005583" cy="976884"/>
            </a:xfrm>
            <a:prstGeom prst="rect">
              <a:avLst/>
            </a:prstGeom>
          </p:spPr>
        </p:pic>
        <p:pic>
          <p:nvPicPr>
            <p:cNvPr id="11" name="object 11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5344668" y="1245108"/>
              <a:ext cx="1644395" cy="995172"/>
            </a:xfrm>
            <a:prstGeom prst="rect">
              <a:avLst/>
            </a:prstGeom>
          </p:spPr>
        </p:pic>
        <p:sp>
          <p:nvSpPr>
            <p:cNvPr id="12" name="object 12"/>
            <p:cNvSpPr/>
            <p:nvPr/>
          </p:nvSpPr>
          <p:spPr>
            <a:xfrm>
              <a:off x="2232660" y="1511808"/>
              <a:ext cx="862965" cy="858519"/>
            </a:xfrm>
            <a:custGeom>
              <a:avLst/>
              <a:gdLst/>
              <a:ahLst/>
              <a:cxnLst/>
              <a:rect l="l" t="t" r="r" b="b"/>
              <a:pathLst>
                <a:path w="862964" h="858519">
                  <a:moveTo>
                    <a:pt x="431291" y="0"/>
                  </a:moveTo>
                  <a:lnTo>
                    <a:pt x="384288" y="2516"/>
                  </a:lnTo>
                  <a:lnTo>
                    <a:pt x="338752" y="9892"/>
                  </a:lnTo>
                  <a:lnTo>
                    <a:pt x="294948" y="21866"/>
                  </a:lnTo>
                  <a:lnTo>
                    <a:pt x="253138" y="38176"/>
                  </a:lnTo>
                  <a:lnTo>
                    <a:pt x="213585" y="58561"/>
                  </a:lnTo>
                  <a:lnTo>
                    <a:pt x="176552" y="82759"/>
                  </a:lnTo>
                  <a:lnTo>
                    <a:pt x="142301" y="110509"/>
                  </a:lnTo>
                  <a:lnTo>
                    <a:pt x="111095" y="141550"/>
                  </a:lnTo>
                  <a:lnTo>
                    <a:pt x="83198" y="175619"/>
                  </a:lnTo>
                  <a:lnTo>
                    <a:pt x="58871" y="212456"/>
                  </a:lnTo>
                  <a:lnTo>
                    <a:pt x="38378" y="251800"/>
                  </a:lnTo>
                  <a:lnTo>
                    <a:pt x="21982" y="293388"/>
                  </a:lnTo>
                  <a:lnTo>
                    <a:pt x="9945" y="336959"/>
                  </a:lnTo>
                  <a:lnTo>
                    <a:pt x="2530" y="382252"/>
                  </a:lnTo>
                  <a:lnTo>
                    <a:pt x="0" y="429005"/>
                  </a:lnTo>
                  <a:lnTo>
                    <a:pt x="2530" y="475759"/>
                  </a:lnTo>
                  <a:lnTo>
                    <a:pt x="9945" y="521052"/>
                  </a:lnTo>
                  <a:lnTo>
                    <a:pt x="21982" y="564623"/>
                  </a:lnTo>
                  <a:lnTo>
                    <a:pt x="38378" y="606211"/>
                  </a:lnTo>
                  <a:lnTo>
                    <a:pt x="58871" y="645555"/>
                  </a:lnTo>
                  <a:lnTo>
                    <a:pt x="83198" y="682392"/>
                  </a:lnTo>
                  <a:lnTo>
                    <a:pt x="111095" y="716461"/>
                  </a:lnTo>
                  <a:lnTo>
                    <a:pt x="142301" y="747502"/>
                  </a:lnTo>
                  <a:lnTo>
                    <a:pt x="176552" y="775252"/>
                  </a:lnTo>
                  <a:lnTo>
                    <a:pt x="213585" y="799450"/>
                  </a:lnTo>
                  <a:lnTo>
                    <a:pt x="253138" y="819835"/>
                  </a:lnTo>
                  <a:lnTo>
                    <a:pt x="294948" y="836145"/>
                  </a:lnTo>
                  <a:lnTo>
                    <a:pt x="338752" y="848119"/>
                  </a:lnTo>
                  <a:lnTo>
                    <a:pt x="384288" y="855495"/>
                  </a:lnTo>
                  <a:lnTo>
                    <a:pt x="431291" y="858012"/>
                  </a:lnTo>
                  <a:lnTo>
                    <a:pt x="478295" y="855495"/>
                  </a:lnTo>
                  <a:lnTo>
                    <a:pt x="523831" y="848119"/>
                  </a:lnTo>
                  <a:lnTo>
                    <a:pt x="567635" y="836145"/>
                  </a:lnTo>
                  <a:lnTo>
                    <a:pt x="609445" y="819835"/>
                  </a:lnTo>
                  <a:lnTo>
                    <a:pt x="648998" y="799450"/>
                  </a:lnTo>
                  <a:lnTo>
                    <a:pt x="686031" y="775252"/>
                  </a:lnTo>
                  <a:lnTo>
                    <a:pt x="720282" y="747502"/>
                  </a:lnTo>
                  <a:lnTo>
                    <a:pt x="751488" y="716461"/>
                  </a:lnTo>
                  <a:lnTo>
                    <a:pt x="779385" y="682392"/>
                  </a:lnTo>
                  <a:lnTo>
                    <a:pt x="803712" y="645555"/>
                  </a:lnTo>
                  <a:lnTo>
                    <a:pt x="824205" y="606211"/>
                  </a:lnTo>
                  <a:lnTo>
                    <a:pt x="840601" y="564623"/>
                  </a:lnTo>
                  <a:lnTo>
                    <a:pt x="852638" y="521052"/>
                  </a:lnTo>
                  <a:lnTo>
                    <a:pt x="860053" y="475759"/>
                  </a:lnTo>
                  <a:lnTo>
                    <a:pt x="862583" y="429005"/>
                  </a:lnTo>
                  <a:lnTo>
                    <a:pt x="860053" y="382252"/>
                  </a:lnTo>
                  <a:lnTo>
                    <a:pt x="852638" y="336959"/>
                  </a:lnTo>
                  <a:lnTo>
                    <a:pt x="840601" y="293388"/>
                  </a:lnTo>
                  <a:lnTo>
                    <a:pt x="824205" y="251800"/>
                  </a:lnTo>
                  <a:lnTo>
                    <a:pt x="803712" y="212456"/>
                  </a:lnTo>
                  <a:lnTo>
                    <a:pt x="779385" y="175619"/>
                  </a:lnTo>
                  <a:lnTo>
                    <a:pt x="751488" y="141550"/>
                  </a:lnTo>
                  <a:lnTo>
                    <a:pt x="720282" y="110509"/>
                  </a:lnTo>
                  <a:lnTo>
                    <a:pt x="686031" y="82759"/>
                  </a:lnTo>
                  <a:lnTo>
                    <a:pt x="648998" y="58561"/>
                  </a:lnTo>
                  <a:lnTo>
                    <a:pt x="609445" y="38176"/>
                  </a:lnTo>
                  <a:lnTo>
                    <a:pt x="567635" y="21866"/>
                  </a:lnTo>
                  <a:lnTo>
                    <a:pt x="523831" y="9892"/>
                  </a:lnTo>
                  <a:lnTo>
                    <a:pt x="478295" y="2516"/>
                  </a:lnTo>
                  <a:lnTo>
                    <a:pt x="431291" y="0"/>
                  </a:lnTo>
                  <a:close/>
                </a:path>
              </a:pathLst>
            </a:custGeom>
            <a:solidFill>
              <a:srgbClr val="B8BCB8"/>
            </a:solidFill>
          </p:spPr>
          <p:txBody>
            <a:bodyPr wrap="square" lIns="0" tIns="0" rIns="0" bIns="0" rtlCol="0"/>
            <a:lstStyle/>
            <a:p>
              <a:pPr defTabSz="914309"/>
              <a:endParaRPr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" name="object 13"/>
            <p:cNvSpPr/>
            <p:nvPr/>
          </p:nvSpPr>
          <p:spPr>
            <a:xfrm>
              <a:off x="2232660" y="1511808"/>
              <a:ext cx="862965" cy="858519"/>
            </a:xfrm>
            <a:custGeom>
              <a:avLst/>
              <a:gdLst/>
              <a:ahLst/>
              <a:cxnLst/>
              <a:rect l="l" t="t" r="r" b="b"/>
              <a:pathLst>
                <a:path w="862964" h="858519">
                  <a:moveTo>
                    <a:pt x="0" y="429005"/>
                  </a:moveTo>
                  <a:lnTo>
                    <a:pt x="2530" y="382252"/>
                  </a:lnTo>
                  <a:lnTo>
                    <a:pt x="9945" y="336959"/>
                  </a:lnTo>
                  <a:lnTo>
                    <a:pt x="21982" y="293388"/>
                  </a:lnTo>
                  <a:lnTo>
                    <a:pt x="38378" y="251800"/>
                  </a:lnTo>
                  <a:lnTo>
                    <a:pt x="58871" y="212456"/>
                  </a:lnTo>
                  <a:lnTo>
                    <a:pt x="83198" y="175619"/>
                  </a:lnTo>
                  <a:lnTo>
                    <a:pt x="111095" y="141550"/>
                  </a:lnTo>
                  <a:lnTo>
                    <a:pt x="142301" y="110509"/>
                  </a:lnTo>
                  <a:lnTo>
                    <a:pt x="176552" y="82759"/>
                  </a:lnTo>
                  <a:lnTo>
                    <a:pt x="213585" y="58561"/>
                  </a:lnTo>
                  <a:lnTo>
                    <a:pt x="253138" y="38176"/>
                  </a:lnTo>
                  <a:lnTo>
                    <a:pt x="294948" y="21866"/>
                  </a:lnTo>
                  <a:lnTo>
                    <a:pt x="338752" y="9892"/>
                  </a:lnTo>
                  <a:lnTo>
                    <a:pt x="384288" y="2516"/>
                  </a:lnTo>
                  <a:lnTo>
                    <a:pt x="431291" y="0"/>
                  </a:lnTo>
                  <a:lnTo>
                    <a:pt x="478295" y="2516"/>
                  </a:lnTo>
                  <a:lnTo>
                    <a:pt x="523831" y="9892"/>
                  </a:lnTo>
                  <a:lnTo>
                    <a:pt x="567635" y="21866"/>
                  </a:lnTo>
                  <a:lnTo>
                    <a:pt x="609445" y="38176"/>
                  </a:lnTo>
                  <a:lnTo>
                    <a:pt x="648998" y="58561"/>
                  </a:lnTo>
                  <a:lnTo>
                    <a:pt x="686031" y="82759"/>
                  </a:lnTo>
                  <a:lnTo>
                    <a:pt x="720282" y="110509"/>
                  </a:lnTo>
                  <a:lnTo>
                    <a:pt x="751488" y="141550"/>
                  </a:lnTo>
                  <a:lnTo>
                    <a:pt x="779385" y="175619"/>
                  </a:lnTo>
                  <a:lnTo>
                    <a:pt x="803712" y="212456"/>
                  </a:lnTo>
                  <a:lnTo>
                    <a:pt x="824205" y="251800"/>
                  </a:lnTo>
                  <a:lnTo>
                    <a:pt x="840601" y="293388"/>
                  </a:lnTo>
                  <a:lnTo>
                    <a:pt x="852638" y="336959"/>
                  </a:lnTo>
                  <a:lnTo>
                    <a:pt x="860053" y="382252"/>
                  </a:lnTo>
                  <a:lnTo>
                    <a:pt x="862583" y="429005"/>
                  </a:lnTo>
                  <a:lnTo>
                    <a:pt x="860053" y="475759"/>
                  </a:lnTo>
                  <a:lnTo>
                    <a:pt x="852638" y="521052"/>
                  </a:lnTo>
                  <a:lnTo>
                    <a:pt x="840601" y="564623"/>
                  </a:lnTo>
                  <a:lnTo>
                    <a:pt x="824205" y="606211"/>
                  </a:lnTo>
                  <a:lnTo>
                    <a:pt x="803712" y="645555"/>
                  </a:lnTo>
                  <a:lnTo>
                    <a:pt x="779385" y="682392"/>
                  </a:lnTo>
                  <a:lnTo>
                    <a:pt x="751488" y="716461"/>
                  </a:lnTo>
                  <a:lnTo>
                    <a:pt x="720282" y="747502"/>
                  </a:lnTo>
                  <a:lnTo>
                    <a:pt x="686031" y="775252"/>
                  </a:lnTo>
                  <a:lnTo>
                    <a:pt x="648998" y="799450"/>
                  </a:lnTo>
                  <a:lnTo>
                    <a:pt x="609445" y="819835"/>
                  </a:lnTo>
                  <a:lnTo>
                    <a:pt x="567635" y="836145"/>
                  </a:lnTo>
                  <a:lnTo>
                    <a:pt x="523831" y="848119"/>
                  </a:lnTo>
                  <a:lnTo>
                    <a:pt x="478295" y="855495"/>
                  </a:lnTo>
                  <a:lnTo>
                    <a:pt x="431291" y="858012"/>
                  </a:lnTo>
                  <a:lnTo>
                    <a:pt x="384288" y="855495"/>
                  </a:lnTo>
                  <a:lnTo>
                    <a:pt x="338752" y="848119"/>
                  </a:lnTo>
                  <a:lnTo>
                    <a:pt x="294948" y="836145"/>
                  </a:lnTo>
                  <a:lnTo>
                    <a:pt x="253138" y="819835"/>
                  </a:lnTo>
                  <a:lnTo>
                    <a:pt x="213585" y="799450"/>
                  </a:lnTo>
                  <a:lnTo>
                    <a:pt x="176552" y="775252"/>
                  </a:lnTo>
                  <a:lnTo>
                    <a:pt x="142301" y="747502"/>
                  </a:lnTo>
                  <a:lnTo>
                    <a:pt x="111095" y="716461"/>
                  </a:lnTo>
                  <a:lnTo>
                    <a:pt x="83198" y="682392"/>
                  </a:lnTo>
                  <a:lnTo>
                    <a:pt x="58871" y="645555"/>
                  </a:lnTo>
                  <a:lnTo>
                    <a:pt x="38378" y="606211"/>
                  </a:lnTo>
                  <a:lnTo>
                    <a:pt x="21982" y="564623"/>
                  </a:lnTo>
                  <a:lnTo>
                    <a:pt x="9945" y="521052"/>
                  </a:lnTo>
                  <a:lnTo>
                    <a:pt x="2530" y="475759"/>
                  </a:lnTo>
                  <a:lnTo>
                    <a:pt x="0" y="429005"/>
                  </a:lnTo>
                  <a:close/>
                </a:path>
              </a:pathLst>
            </a:custGeom>
            <a:ln w="9524">
              <a:solidFill>
                <a:srgbClr val="B8BCB8"/>
              </a:solidFill>
            </a:ln>
          </p:spPr>
          <p:txBody>
            <a:bodyPr wrap="square" lIns="0" tIns="0" rIns="0" bIns="0" rtlCol="0"/>
            <a:lstStyle/>
            <a:p>
              <a:pPr defTabSz="914309"/>
              <a:endParaRPr kern="0">
                <a:solidFill>
                  <a:sysClr val="windowText" lastClr="000000"/>
                </a:solidFill>
              </a:endParaRPr>
            </a:p>
          </p:txBody>
        </p:sp>
        <p:pic>
          <p:nvPicPr>
            <p:cNvPr id="14" name="object 14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2305812" y="1584960"/>
              <a:ext cx="716280" cy="710184"/>
            </a:xfrm>
            <a:prstGeom prst="rect">
              <a:avLst/>
            </a:prstGeom>
          </p:spPr>
        </p:pic>
        <p:sp>
          <p:nvSpPr>
            <p:cNvPr id="15" name="object 15"/>
            <p:cNvSpPr/>
            <p:nvPr/>
          </p:nvSpPr>
          <p:spPr>
            <a:xfrm>
              <a:off x="2307336" y="1586484"/>
              <a:ext cx="715010" cy="708660"/>
            </a:xfrm>
            <a:custGeom>
              <a:avLst/>
              <a:gdLst/>
              <a:ahLst/>
              <a:cxnLst/>
              <a:rect l="l" t="t" r="r" b="b"/>
              <a:pathLst>
                <a:path w="715010" h="708660">
                  <a:moveTo>
                    <a:pt x="0" y="354329"/>
                  </a:moveTo>
                  <a:lnTo>
                    <a:pt x="3262" y="306246"/>
                  </a:lnTo>
                  <a:lnTo>
                    <a:pt x="12767" y="260129"/>
                  </a:lnTo>
                  <a:lnTo>
                    <a:pt x="28086" y="216402"/>
                  </a:lnTo>
                  <a:lnTo>
                    <a:pt x="48796" y="175485"/>
                  </a:lnTo>
                  <a:lnTo>
                    <a:pt x="74469" y="137802"/>
                  </a:lnTo>
                  <a:lnTo>
                    <a:pt x="104679" y="103774"/>
                  </a:lnTo>
                  <a:lnTo>
                    <a:pt x="139001" y="73824"/>
                  </a:lnTo>
                  <a:lnTo>
                    <a:pt x="177009" y="48372"/>
                  </a:lnTo>
                  <a:lnTo>
                    <a:pt x="218277" y="27842"/>
                  </a:lnTo>
                  <a:lnTo>
                    <a:pt x="262378" y="12655"/>
                  </a:lnTo>
                  <a:lnTo>
                    <a:pt x="308887" y="3234"/>
                  </a:lnTo>
                  <a:lnTo>
                    <a:pt x="357377" y="0"/>
                  </a:lnTo>
                  <a:lnTo>
                    <a:pt x="405868" y="3234"/>
                  </a:lnTo>
                  <a:lnTo>
                    <a:pt x="452377" y="12655"/>
                  </a:lnTo>
                  <a:lnTo>
                    <a:pt x="496478" y="27842"/>
                  </a:lnTo>
                  <a:lnTo>
                    <a:pt x="537746" y="48372"/>
                  </a:lnTo>
                  <a:lnTo>
                    <a:pt x="575754" y="73824"/>
                  </a:lnTo>
                  <a:lnTo>
                    <a:pt x="610076" y="103774"/>
                  </a:lnTo>
                  <a:lnTo>
                    <a:pt x="640286" y="137802"/>
                  </a:lnTo>
                  <a:lnTo>
                    <a:pt x="665959" y="175485"/>
                  </a:lnTo>
                  <a:lnTo>
                    <a:pt x="686669" y="216402"/>
                  </a:lnTo>
                  <a:lnTo>
                    <a:pt x="701988" y="260129"/>
                  </a:lnTo>
                  <a:lnTo>
                    <a:pt x="711493" y="306246"/>
                  </a:lnTo>
                  <a:lnTo>
                    <a:pt x="714756" y="354329"/>
                  </a:lnTo>
                  <a:lnTo>
                    <a:pt x="711493" y="402413"/>
                  </a:lnTo>
                  <a:lnTo>
                    <a:pt x="701988" y="448530"/>
                  </a:lnTo>
                  <a:lnTo>
                    <a:pt x="686669" y="492257"/>
                  </a:lnTo>
                  <a:lnTo>
                    <a:pt x="665959" y="533174"/>
                  </a:lnTo>
                  <a:lnTo>
                    <a:pt x="640286" y="570857"/>
                  </a:lnTo>
                  <a:lnTo>
                    <a:pt x="610076" y="604885"/>
                  </a:lnTo>
                  <a:lnTo>
                    <a:pt x="575754" y="634835"/>
                  </a:lnTo>
                  <a:lnTo>
                    <a:pt x="537746" y="660287"/>
                  </a:lnTo>
                  <a:lnTo>
                    <a:pt x="496478" y="680817"/>
                  </a:lnTo>
                  <a:lnTo>
                    <a:pt x="452377" y="696004"/>
                  </a:lnTo>
                  <a:lnTo>
                    <a:pt x="405868" y="705425"/>
                  </a:lnTo>
                  <a:lnTo>
                    <a:pt x="357377" y="708660"/>
                  </a:lnTo>
                  <a:lnTo>
                    <a:pt x="308887" y="705425"/>
                  </a:lnTo>
                  <a:lnTo>
                    <a:pt x="262378" y="696004"/>
                  </a:lnTo>
                  <a:lnTo>
                    <a:pt x="218277" y="680817"/>
                  </a:lnTo>
                  <a:lnTo>
                    <a:pt x="177009" y="660287"/>
                  </a:lnTo>
                  <a:lnTo>
                    <a:pt x="139001" y="634835"/>
                  </a:lnTo>
                  <a:lnTo>
                    <a:pt x="104679" y="604885"/>
                  </a:lnTo>
                  <a:lnTo>
                    <a:pt x="74469" y="570857"/>
                  </a:lnTo>
                  <a:lnTo>
                    <a:pt x="48796" y="533174"/>
                  </a:lnTo>
                  <a:lnTo>
                    <a:pt x="28086" y="492257"/>
                  </a:lnTo>
                  <a:lnTo>
                    <a:pt x="12767" y="448530"/>
                  </a:lnTo>
                  <a:lnTo>
                    <a:pt x="3262" y="402413"/>
                  </a:lnTo>
                  <a:lnTo>
                    <a:pt x="0" y="354329"/>
                  </a:lnTo>
                  <a:close/>
                </a:path>
              </a:pathLst>
            </a:custGeom>
            <a:ln w="9525">
              <a:solidFill>
                <a:srgbClr val="99A099"/>
              </a:solidFill>
            </a:ln>
          </p:spPr>
          <p:txBody>
            <a:bodyPr wrap="square" lIns="0" tIns="0" rIns="0" bIns="0" rtlCol="0"/>
            <a:lstStyle/>
            <a:p>
              <a:pPr defTabSz="914309"/>
              <a:endParaRPr kern="0">
                <a:solidFill>
                  <a:sysClr val="windowText" lastClr="000000"/>
                </a:solidFill>
              </a:endParaRPr>
            </a:p>
          </p:txBody>
        </p:sp>
      </p:grpSp>
      <p:grpSp>
        <p:nvGrpSpPr>
          <p:cNvPr id="16" name="object 16"/>
          <p:cNvGrpSpPr/>
          <p:nvPr/>
        </p:nvGrpSpPr>
        <p:grpSpPr>
          <a:xfrm>
            <a:off x="1387452" y="2618338"/>
            <a:ext cx="4128232" cy="2824112"/>
            <a:chOff x="1386839" y="2618232"/>
            <a:chExt cx="4128770" cy="2824480"/>
          </a:xfrm>
        </p:grpSpPr>
        <p:sp>
          <p:nvSpPr>
            <p:cNvPr id="17" name="object 17"/>
            <p:cNvSpPr/>
            <p:nvPr/>
          </p:nvSpPr>
          <p:spPr>
            <a:xfrm>
              <a:off x="1386840" y="2967227"/>
              <a:ext cx="2321560" cy="504825"/>
            </a:xfrm>
            <a:custGeom>
              <a:avLst/>
              <a:gdLst/>
              <a:ahLst/>
              <a:cxnLst/>
              <a:rect l="l" t="t" r="r" b="b"/>
              <a:pathLst>
                <a:path w="2321560" h="504825">
                  <a:moveTo>
                    <a:pt x="2321052" y="252222"/>
                  </a:moveTo>
                  <a:lnTo>
                    <a:pt x="2316988" y="206883"/>
                  </a:lnTo>
                  <a:lnTo>
                    <a:pt x="2305266" y="164211"/>
                  </a:lnTo>
                  <a:lnTo>
                    <a:pt x="2286609" y="124917"/>
                  </a:lnTo>
                  <a:lnTo>
                    <a:pt x="2261730" y="89712"/>
                  </a:lnTo>
                  <a:lnTo>
                    <a:pt x="2231339" y="59321"/>
                  </a:lnTo>
                  <a:lnTo>
                    <a:pt x="2196134" y="34442"/>
                  </a:lnTo>
                  <a:lnTo>
                    <a:pt x="2156841" y="15786"/>
                  </a:lnTo>
                  <a:lnTo>
                    <a:pt x="2114169" y="4064"/>
                  </a:lnTo>
                  <a:lnTo>
                    <a:pt x="2068830" y="0"/>
                  </a:lnTo>
                  <a:lnTo>
                    <a:pt x="690372" y="0"/>
                  </a:lnTo>
                  <a:lnTo>
                    <a:pt x="380238" y="0"/>
                  </a:lnTo>
                  <a:lnTo>
                    <a:pt x="0" y="0"/>
                  </a:lnTo>
                  <a:lnTo>
                    <a:pt x="0" y="504444"/>
                  </a:lnTo>
                  <a:lnTo>
                    <a:pt x="380238" y="504444"/>
                  </a:lnTo>
                  <a:lnTo>
                    <a:pt x="690372" y="504444"/>
                  </a:lnTo>
                  <a:lnTo>
                    <a:pt x="2068830" y="504444"/>
                  </a:lnTo>
                  <a:lnTo>
                    <a:pt x="2114169" y="500392"/>
                  </a:lnTo>
                  <a:lnTo>
                    <a:pt x="2156841" y="488670"/>
                  </a:lnTo>
                  <a:lnTo>
                    <a:pt x="2196134" y="470014"/>
                  </a:lnTo>
                  <a:lnTo>
                    <a:pt x="2231339" y="445135"/>
                  </a:lnTo>
                  <a:lnTo>
                    <a:pt x="2261730" y="414743"/>
                  </a:lnTo>
                  <a:lnTo>
                    <a:pt x="2286609" y="379539"/>
                  </a:lnTo>
                  <a:lnTo>
                    <a:pt x="2305266" y="340245"/>
                  </a:lnTo>
                  <a:lnTo>
                    <a:pt x="2316988" y="297573"/>
                  </a:lnTo>
                  <a:lnTo>
                    <a:pt x="2321052" y="252222"/>
                  </a:lnTo>
                  <a:close/>
                </a:path>
              </a:pathLst>
            </a:custGeom>
            <a:solidFill>
              <a:srgbClr val="007BBB"/>
            </a:solidFill>
          </p:spPr>
          <p:txBody>
            <a:bodyPr wrap="square" lIns="0" tIns="0" rIns="0" bIns="0" rtlCol="0"/>
            <a:lstStyle/>
            <a:p>
              <a:pPr defTabSz="914309"/>
              <a:endParaRPr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8" name="object 18"/>
            <p:cNvSpPr/>
            <p:nvPr/>
          </p:nvSpPr>
          <p:spPr>
            <a:xfrm>
              <a:off x="1386840" y="2618231"/>
              <a:ext cx="4128770" cy="2824480"/>
            </a:xfrm>
            <a:custGeom>
              <a:avLst/>
              <a:gdLst/>
              <a:ahLst/>
              <a:cxnLst/>
              <a:rect l="l" t="t" r="r" b="b"/>
              <a:pathLst>
                <a:path w="4128770" h="2824479">
                  <a:moveTo>
                    <a:pt x="3901440" y="1337310"/>
                  </a:moveTo>
                  <a:lnTo>
                    <a:pt x="3897376" y="1291971"/>
                  </a:lnTo>
                  <a:lnTo>
                    <a:pt x="3896068" y="1287233"/>
                  </a:lnTo>
                  <a:lnTo>
                    <a:pt x="3899916" y="1244346"/>
                  </a:lnTo>
                  <a:lnTo>
                    <a:pt x="3899916" y="252222"/>
                  </a:lnTo>
                  <a:lnTo>
                    <a:pt x="3895852" y="206883"/>
                  </a:lnTo>
                  <a:lnTo>
                    <a:pt x="3884130" y="164211"/>
                  </a:lnTo>
                  <a:lnTo>
                    <a:pt x="3865473" y="124917"/>
                  </a:lnTo>
                  <a:lnTo>
                    <a:pt x="3840594" y="89712"/>
                  </a:lnTo>
                  <a:lnTo>
                    <a:pt x="3810203" y="59321"/>
                  </a:lnTo>
                  <a:lnTo>
                    <a:pt x="3774998" y="34442"/>
                  </a:lnTo>
                  <a:lnTo>
                    <a:pt x="3735705" y="15786"/>
                  </a:lnTo>
                  <a:lnTo>
                    <a:pt x="3693033" y="4064"/>
                  </a:lnTo>
                  <a:lnTo>
                    <a:pt x="3647694" y="0"/>
                  </a:lnTo>
                  <a:lnTo>
                    <a:pt x="3602342" y="4064"/>
                  </a:lnTo>
                  <a:lnTo>
                    <a:pt x="3559670" y="15786"/>
                  </a:lnTo>
                  <a:lnTo>
                    <a:pt x="3520376" y="34442"/>
                  </a:lnTo>
                  <a:lnTo>
                    <a:pt x="3485172" y="59321"/>
                  </a:lnTo>
                  <a:lnTo>
                    <a:pt x="3454781" y="89712"/>
                  </a:lnTo>
                  <a:lnTo>
                    <a:pt x="3429901" y="124917"/>
                  </a:lnTo>
                  <a:lnTo>
                    <a:pt x="3411245" y="164211"/>
                  </a:lnTo>
                  <a:lnTo>
                    <a:pt x="3399523" y="206883"/>
                  </a:lnTo>
                  <a:lnTo>
                    <a:pt x="3395472" y="252222"/>
                  </a:lnTo>
                  <a:lnTo>
                    <a:pt x="3395472" y="1085088"/>
                  </a:lnTo>
                  <a:lnTo>
                    <a:pt x="1125474" y="1085088"/>
                  </a:lnTo>
                  <a:lnTo>
                    <a:pt x="1080122" y="1089152"/>
                  </a:lnTo>
                  <a:lnTo>
                    <a:pt x="1037450" y="1100874"/>
                  </a:lnTo>
                  <a:lnTo>
                    <a:pt x="998156" y="1119530"/>
                  </a:lnTo>
                  <a:lnTo>
                    <a:pt x="962952" y="1144409"/>
                  </a:lnTo>
                  <a:lnTo>
                    <a:pt x="932561" y="1174800"/>
                  </a:lnTo>
                  <a:lnTo>
                    <a:pt x="907681" y="1210005"/>
                  </a:lnTo>
                  <a:lnTo>
                    <a:pt x="889025" y="1249299"/>
                  </a:lnTo>
                  <a:lnTo>
                    <a:pt x="877303" y="1291971"/>
                  </a:lnTo>
                  <a:lnTo>
                    <a:pt x="873252" y="1337310"/>
                  </a:lnTo>
                  <a:lnTo>
                    <a:pt x="877303" y="1382661"/>
                  </a:lnTo>
                  <a:lnTo>
                    <a:pt x="889025" y="1425333"/>
                  </a:lnTo>
                  <a:lnTo>
                    <a:pt x="907681" y="1464627"/>
                  </a:lnTo>
                  <a:lnTo>
                    <a:pt x="932561" y="1499831"/>
                  </a:lnTo>
                  <a:lnTo>
                    <a:pt x="962952" y="1530223"/>
                  </a:lnTo>
                  <a:lnTo>
                    <a:pt x="998156" y="1555102"/>
                  </a:lnTo>
                  <a:lnTo>
                    <a:pt x="1037450" y="1573758"/>
                  </a:lnTo>
                  <a:lnTo>
                    <a:pt x="1080122" y="1585480"/>
                  </a:lnTo>
                  <a:lnTo>
                    <a:pt x="1125474" y="1589532"/>
                  </a:lnTo>
                  <a:lnTo>
                    <a:pt x="3649218" y="1589532"/>
                  </a:lnTo>
                  <a:lnTo>
                    <a:pt x="3694557" y="1585480"/>
                  </a:lnTo>
                  <a:lnTo>
                    <a:pt x="3737229" y="1573758"/>
                  </a:lnTo>
                  <a:lnTo>
                    <a:pt x="3776522" y="1555102"/>
                  </a:lnTo>
                  <a:lnTo>
                    <a:pt x="3811727" y="1530223"/>
                  </a:lnTo>
                  <a:lnTo>
                    <a:pt x="3842118" y="1499831"/>
                  </a:lnTo>
                  <a:lnTo>
                    <a:pt x="3866997" y="1464627"/>
                  </a:lnTo>
                  <a:lnTo>
                    <a:pt x="3885654" y="1425333"/>
                  </a:lnTo>
                  <a:lnTo>
                    <a:pt x="3897376" y="1382661"/>
                  </a:lnTo>
                  <a:lnTo>
                    <a:pt x="3901440" y="1337310"/>
                  </a:lnTo>
                  <a:close/>
                </a:path>
                <a:path w="4128770" h="2824479">
                  <a:moveTo>
                    <a:pt x="4128516" y="1961388"/>
                  </a:moveTo>
                  <a:lnTo>
                    <a:pt x="4124096" y="1912086"/>
                  </a:lnTo>
                  <a:lnTo>
                    <a:pt x="4111345" y="1865668"/>
                  </a:lnTo>
                  <a:lnTo>
                    <a:pt x="4091063" y="1822932"/>
                  </a:lnTo>
                  <a:lnTo>
                    <a:pt x="4064000" y="1784654"/>
                  </a:lnTo>
                  <a:lnTo>
                    <a:pt x="4030929" y="1751584"/>
                  </a:lnTo>
                  <a:lnTo>
                    <a:pt x="4009847" y="1736686"/>
                  </a:lnTo>
                  <a:lnTo>
                    <a:pt x="4000512" y="1728978"/>
                  </a:lnTo>
                  <a:lnTo>
                    <a:pt x="3993807" y="1725345"/>
                  </a:lnTo>
                  <a:lnTo>
                    <a:pt x="3992651" y="1724520"/>
                  </a:lnTo>
                  <a:lnTo>
                    <a:pt x="3989857" y="1723199"/>
                  </a:lnTo>
                  <a:lnTo>
                    <a:pt x="3958844" y="1706359"/>
                  </a:lnTo>
                  <a:lnTo>
                    <a:pt x="3912781" y="1692059"/>
                  </a:lnTo>
                  <a:lnTo>
                    <a:pt x="3863340" y="1687068"/>
                  </a:lnTo>
                  <a:lnTo>
                    <a:pt x="3854196" y="1687068"/>
                  </a:lnTo>
                  <a:lnTo>
                    <a:pt x="1167384" y="1687068"/>
                  </a:lnTo>
                  <a:lnTo>
                    <a:pt x="1117930" y="1692059"/>
                  </a:lnTo>
                  <a:lnTo>
                    <a:pt x="1071867" y="1706359"/>
                  </a:lnTo>
                  <a:lnTo>
                    <a:pt x="1030198" y="1728978"/>
                  </a:lnTo>
                  <a:lnTo>
                    <a:pt x="993876" y="1758937"/>
                  </a:lnTo>
                  <a:lnTo>
                    <a:pt x="963917" y="1795259"/>
                  </a:lnTo>
                  <a:lnTo>
                    <a:pt x="941298" y="1836928"/>
                  </a:lnTo>
                  <a:lnTo>
                    <a:pt x="926998" y="1882990"/>
                  </a:lnTo>
                  <a:lnTo>
                    <a:pt x="922020" y="1932432"/>
                  </a:lnTo>
                  <a:lnTo>
                    <a:pt x="926998" y="1981885"/>
                  </a:lnTo>
                  <a:lnTo>
                    <a:pt x="941298" y="2027948"/>
                  </a:lnTo>
                  <a:lnTo>
                    <a:pt x="963917" y="2069617"/>
                  </a:lnTo>
                  <a:lnTo>
                    <a:pt x="993876" y="2105939"/>
                  </a:lnTo>
                  <a:lnTo>
                    <a:pt x="1030198" y="2135898"/>
                  </a:lnTo>
                  <a:lnTo>
                    <a:pt x="1071867" y="2158517"/>
                  </a:lnTo>
                  <a:lnTo>
                    <a:pt x="1117930" y="2172817"/>
                  </a:lnTo>
                  <a:lnTo>
                    <a:pt x="1167384" y="2177796"/>
                  </a:lnTo>
                  <a:lnTo>
                    <a:pt x="3579876" y="2177796"/>
                  </a:lnTo>
                  <a:lnTo>
                    <a:pt x="3579876" y="2318004"/>
                  </a:lnTo>
                  <a:lnTo>
                    <a:pt x="362712" y="2318004"/>
                  </a:lnTo>
                  <a:lnTo>
                    <a:pt x="345706" y="2319528"/>
                  </a:lnTo>
                  <a:lnTo>
                    <a:pt x="0" y="2319528"/>
                  </a:lnTo>
                  <a:lnTo>
                    <a:pt x="0" y="2823972"/>
                  </a:lnTo>
                  <a:lnTo>
                    <a:pt x="362712" y="2823972"/>
                  </a:lnTo>
                  <a:lnTo>
                    <a:pt x="690372" y="2823972"/>
                  </a:lnTo>
                  <a:lnTo>
                    <a:pt x="3854196" y="2823972"/>
                  </a:lnTo>
                  <a:lnTo>
                    <a:pt x="3864864" y="2823972"/>
                  </a:lnTo>
                  <a:lnTo>
                    <a:pt x="3910330" y="2819908"/>
                  </a:lnTo>
                  <a:lnTo>
                    <a:pt x="3953129" y="2808147"/>
                  </a:lnTo>
                  <a:lnTo>
                    <a:pt x="3992537" y="2789428"/>
                  </a:lnTo>
                  <a:lnTo>
                    <a:pt x="4027843" y="2764472"/>
                  </a:lnTo>
                  <a:lnTo>
                    <a:pt x="4058335" y="2733979"/>
                  </a:lnTo>
                  <a:lnTo>
                    <a:pt x="4062958" y="2727439"/>
                  </a:lnTo>
                  <a:lnTo>
                    <a:pt x="4064000" y="2726398"/>
                  </a:lnTo>
                  <a:lnTo>
                    <a:pt x="4091063" y="2688120"/>
                  </a:lnTo>
                  <a:lnTo>
                    <a:pt x="4111345" y="2645384"/>
                  </a:lnTo>
                  <a:lnTo>
                    <a:pt x="4124096" y="2598966"/>
                  </a:lnTo>
                  <a:lnTo>
                    <a:pt x="4128516" y="2549652"/>
                  </a:lnTo>
                  <a:lnTo>
                    <a:pt x="4128516" y="1961388"/>
                  </a:lnTo>
                  <a:close/>
                </a:path>
              </a:pathLst>
            </a:custGeom>
            <a:solidFill>
              <a:srgbClr val="00A633"/>
            </a:solidFill>
          </p:spPr>
          <p:txBody>
            <a:bodyPr wrap="square" lIns="0" tIns="0" rIns="0" bIns="0" rtlCol="0"/>
            <a:lstStyle/>
            <a:p>
              <a:pPr defTabSz="914309"/>
              <a:endParaRPr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19" name="object 19"/>
          <p:cNvSpPr txBox="1"/>
          <p:nvPr/>
        </p:nvSpPr>
        <p:spPr>
          <a:xfrm>
            <a:off x="2366751" y="1759040"/>
            <a:ext cx="618409" cy="313014"/>
          </a:xfrm>
          <a:prstGeom prst="rect">
            <a:avLst/>
          </a:prstGeom>
        </p:spPr>
        <p:txBody>
          <a:bodyPr vert="horz" wrap="square" lIns="0" tIns="16508" rIns="0" bIns="0" rtlCol="0">
            <a:spAutoFit/>
          </a:bodyPr>
          <a:lstStyle/>
          <a:p>
            <a:pPr marL="12699" defTabSz="914309">
              <a:spcBef>
                <a:spcPts val="130"/>
              </a:spcBef>
            </a:pPr>
            <a:r>
              <a:rPr sz="1850" kern="0" spc="-20" dirty="0">
                <a:solidFill>
                  <a:srgbClr val="FFFFFF"/>
                </a:solidFill>
                <a:latin typeface="Calibri"/>
                <a:cs typeface="Calibri"/>
              </a:rPr>
              <a:t>HFKW</a:t>
            </a:r>
            <a:endParaRPr sz="1850" kern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grpSp>
        <p:nvGrpSpPr>
          <p:cNvPr id="20" name="object 20"/>
          <p:cNvGrpSpPr/>
          <p:nvPr/>
        </p:nvGrpSpPr>
        <p:grpSpPr>
          <a:xfrm>
            <a:off x="7987038" y="1496820"/>
            <a:ext cx="862853" cy="856503"/>
            <a:chOff x="7987283" y="1496567"/>
            <a:chExt cx="862965" cy="856615"/>
          </a:xfrm>
        </p:grpSpPr>
        <p:sp>
          <p:nvSpPr>
            <p:cNvPr id="21" name="object 21"/>
            <p:cNvSpPr/>
            <p:nvPr/>
          </p:nvSpPr>
          <p:spPr>
            <a:xfrm>
              <a:off x="7987283" y="1496567"/>
              <a:ext cx="862965" cy="856615"/>
            </a:xfrm>
            <a:custGeom>
              <a:avLst/>
              <a:gdLst/>
              <a:ahLst/>
              <a:cxnLst/>
              <a:rect l="l" t="t" r="r" b="b"/>
              <a:pathLst>
                <a:path w="862965" h="856614">
                  <a:moveTo>
                    <a:pt x="431292" y="0"/>
                  </a:moveTo>
                  <a:lnTo>
                    <a:pt x="384288" y="2513"/>
                  </a:lnTo>
                  <a:lnTo>
                    <a:pt x="338752" y="9879"/>
                  </a:lnTo>
                  <a:lnTo>
                    <a:pt x="294948" y="21835"/>
                  </a:lnTo>
                  <a:lnTo>
                    <a:pt x="253138" y="38122"/>
                  </a:lnTo>
                  <a:lnTo>
                    <a:pt x="213585" y="58476"/>
                  </a:lnTo>
                  <a:lnTo>
                    <a:pt x="176552" y="82637"/>
                  </a:lnTo>
                  <a:lnTo>
                    <a:pt x="142301" y="110343"/>
                  </a:lnTo>
                  <a:lnTo>
                    <a:pt x="111095" y="141333"/>
                  </a:lnTo>
                  <a:lnTo>
                    <a:pt x="83198" y="175345"/>
                  </a:lnTo>
                  <a:lnTo>
                    <a:pt x="58871" y="212118"/>
                  </a:lnTo>
                  <a:lnTo>
                    <a:pt x="38378" y="251390"/>
                  </a:lnTo>
                  <a:lnTo>
                    <a:pt x="21982" y="292900"/>
                  </a:lnTo>
                  <a:lnTo>
                    <a:pt x="9945" y="336387"/>
                  </a:lnTo>
                  <a:lnTo>
                    <a:pt x="2530" y="381588"/>
                  </a:lnTo>
                  <a:lnTo>
                    <a:pt x="0" y="428244"/>
                  </a:lnTo>
                  <a:lnTo>
                    <a:pt x="2530" y="474899"/>
                  </a:lnTo>
                  <a:lnTo>
                    <a:pt x="9945" y="520100"/>
                  </a:lnTo>
                  <a:lnTo>
                    <a:pt x="21982" y="563587"/>
                  </a:lnTo>
                  <a:lnTo>
                    <a:pt x="38378" y="605097"/>
                  </a:lnTo>
                  <a:lnTo>
                    <a:pt x="58871" y="644369"/>
                  </a:lnTo>
                  <a:lnTo>
                    <a:pt x="83198" y="681142"/>
                  </a:lnTo>
                  <a:lnTo>
                    <a:pt x="111095" y="715154"/>
                  </a:lnTo>
                  <a:lnTo>
                    <a:pt x="142301" y="746144"/>
                  </a:lnTo>
                  <a:lnTo>
                    <a:pt x="176552" y="773850"/>
                  </a:lnTo>
                  <a:lnTo>
                    <a:pt x="213585" y="798011"/>
                  </a:lnTo>
                  <a:lnTo>
                    <a:pt x="253138" y="818365"/>
                  </a:lnTo>
                  <a:lnTo>
                    <a:pt x="294948" y="834652"/>
                  </a:lnTo>
                  <a:lnTo>
                    <a:pt x="338752" y="846608"/>
                  </a:lnTo>
                  <a:lnTo>
                    <a:pt x="384288" y="853974"/>
                  </a:lnTo>
                  <a:lnTo>
                    <a:pt x="431292" y="856488"/>
                  </a:lnTo>
                  <a:lnTo>
                    <a:pt x="478295" y="853974"/>
                  </a:lnTo>
                  <a:lnTo>
                    <a:pt x="523831" y="846608"/>
                  </a:lnTo>
                  <a:lnTo>
                    <a:pt x="567635" y="834652"/>
                  </a:lnTo>
                  <a:lnTo>
                    <a:pt x="609445" y="818365"/>
                  </a:lnTo>
                  <a:lnTo>
                    <a:pt x="648998" y="798011"/>
                  </a:lnTo>
                  <a:lnTo>
                    <a:pt x="686031" y="773850"/>
                  </a:lnTo>
                  <a:lnTo>
                    <a:pt x="720282" y="746144"/>
                  </a:lnTo>
                  <a:lnTo>
                    <a:pt x="751488" y="715154"/>
                  </a:lnTo>
                  <a:lnTo>
                    <a:pt x="779385" y="681142"/>
                  </a:lnTo>
                  <a:lnTo>
                    <a:pt x="803712" y="644369"/>
                  </a:lnTo>
                  <a:lnTo>
                    <a:pt x="824205" y="605097"/>
                  </a:lnTo>
                  <a:lnTo>
                    <a:pt x="840601" y="563587"/>
                  </a:lnTo>
                  <a:lnTo>
                    <a:pt x="852638" y="520100"/>
                  </a:lnTo>
                  <a:lnTo>
                    <a:pt x="860053" y="474899"/>
                  </a:lnTo>
                  <a:lnTo>
                    <a:pt x="862584" y="428244"/>
                  </a:lnTo>
                  <a:lnTo>
                    <a:pt x="860053" y="381588"/>
                  </a:lnTo>
                  <a:lnTo>
                    <a:pt x="852638" y="336387"/>
                  </a:lnTo>
                  <a:lnTo>
                    <a:pt x="840601" y="292900"/>
                  </a:lnTo>
                  <a:lnTo>
                    <a:pt x="824205" y="251390"/>
                  </a:lnTo>
                  <a:lnTo>
                    <a:pt x="803712" y="212118"/>
                  </a:lnTo>
                  <a:lnTo>
                    <a:pt x="779385" y="175345"/>
                  </a:lnTo>
                  <a:lnTo>
                    <a:pt x="751488" y="141333"/>
                  </a:lnTo>
                  <a:lnTo>
                    <a:pt x="720282" y="110343"/>
                  </a:lnTo>
                  <a:lnTo>
                    <a:pt x="686031" y="82637"/>
                  </a:lnTo>
                  <a:lnTo>
                    <a:pt x="648998" y="58476"/>
                  </a:lnTo>
                  <a:lnTo>
                    <a:pt x="609445" y="38122"/>
                  </a:lnTo>
                  <a:lnTo>
                    <a:pt x="567635" y="21835"/>
                  </a:lnTo>
                  <a:lnTo>
                    <a:pt x="523831" y="9879"/>
                  </a:lnTo>
                  <a:lnTo>
                    <a:pt x="478295" y="2513"/>
                  </a:lnTo>
                  <a:lnTo>
                    <a:pt x="431292" y="0"/>
                  </a:lnTo>
                  <a:close/>
                </a:path>
              </a:pathLst>
            </a:custGeom>
            <a:solidFill>
              <a:srgbClr val="99A1B8"/>
            </a:solidFill>
          </p:spPr>
          <p:txBody>
            <a:bodyPr wrap="square" lIns="0" tIns="0" rIns="0" bIns="0" rtlCol="0"/>
            <a:lstStyle/>
            <a:p>
              <a:pPr defTabSz="914309"/>
              <a:endParaRPr kern="0">
                <a:solidFill>
                  <a:sysClr val="windowText" lastClr="000000"/>
                </a:solidFill>
              </a:endParaRPr>
            </a:p>
          </p:txBody>
        </p:sp>
        <p:pic>
          <p:nvPicPr>
            <p:cNvPr id="22" name="object 22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8049767" y="1559051"/>
              <a:ext cx="716279" cy="711708"/>
            </a:xfrm>
            <a:prstGeom prst="rect">
              <a:avLst/>
            </a:prstGeom>
          </p:spPr>
        </p:pic>
      </p:grpSp>
      <p:sp>
        <p:nvSpPr>
          <p:cNvPr id="23" name="object 23"/>
          <p:cNvSpPr txBox="1"/>
          <p:nvPr/>
        </p:nvSpPr>
        <p:spPr>
          <a:xfrm>
            <a:off x="8250911" y="1765136"/>
            <a:ext cx="396823" cy="330792"/>
          </a:xfrm>
          <a:prstGeom prst="rect">
            <a:avLst/>
          </a:prstGeom>
        </p:spPr>
        <p:txBody>
          <a:bodyPr vert="horz" wrap="square" lIns="0" tIns="13333" rIns="0" bIns="0" rtlCol="0">
            <a:spAutoFit/>
          </a:bodyPr>
          <a:lstStyle/>
          <a:p>
            <a:pPr marL="38096" defTabSz="914309">
              <a:spcBef>
                <a:spcPts val="105"/>
              </a:spcBef>
            </a:pPr>
            <a:r>
              <a:rPr sz="2000" kern="0" spc="-25" dirty="0">
                <a:solidFill>
                  <a:srgbClr val="FFFFFF"/>
                </a:solidFill>
                <a:latin typeface="Calibri"/>
                <a:cs typeface="Calibri"/>
              </a:rPr>
              <a:t>SF</a:t>
            </a:r>
            <a:r>
              <a:rPr sz="1950" kern="0" spc="-37" baseline="-21367" dirty="0">
                <a:solidFill>
                  <a:srgbClr val="FFFFFF"/>
                </a:solidFill>
                <a:latin typeface="Calibri"/>
                <a:cs typeface="Calibri"/>
              </a:rPr>
              <a:t>6</a:t>
            </a:r>
            <a:endParaRPr sz="1950" kern="0" baseline="-21367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grpSp>
        <p:nvGrpSpPr>
          <p:cNvPr id="24" name="object 24"/>
          <p:cNvGrpSpPr/>
          <p:nvPr/>
        </p:nvGrpSpPr>
        <p:grpSpPr>
          <a:xfrm>
            <a:off x="6990282" y="2523671"/>
            <a:ext cx="3906011" cy="2915540"/>
            <a:chOff x="6990397" y="2523553"/>
            <a:chExt cx="3906520" cy="2915920"/>
          </a:xfrm>
        </p:grpSpPr>
        <p:sp>
          <p:nvSpPr>
            <p:cNvPr id="25" name="object 25"/>
            <p:cNvSpPr/>
            <p:nvPr/>
          </p:nvSpPr>
          <p:spPr>
            <a:xfrm>
              <a:off x="6995159" y="4930139"/>
              <a:ext cx="3896995" cy="504825"/>
            </a:xfrm>
            <a:custGeom>
              <a:avLst/>
              <a:gdLst/>
              <a:ahLst/>
              <a:cxnLst/>
              <a:rect l="l" t="t" r="r" b="b"/>
              <a:pathLst>
                <a:path w="3896995" h="504825">
                  <a:moveTo>
                    <a:pt x="3644646" y="0"/>
                  </a:moveTo>
                  <a:lnTo>
                    <a:pt x="252222" y="0"/>
                  </a:lnTo>
                  <a:lnTo>
                    <a:pt x="206879" y="4062"/>
                  </a:lnTo>
                  <a:lnTo>
                    <a:pt x="164205" y="15777"/>
                  </a:lnTo>
                  <a:lnTo>
                    <a:pt x="124911" y="34431"/>
                  </a:lnTo>
                  <a:lnTo>
                    <a:pt x="89710" y="59312"/>
                  </a:lnTo>
                  <a:lnTo>
                    <a:pt x="59312" y="89710"/>
                  </a:lnTo>
                  <a:lnTo>
                    <a:pt x="34431" y="124911"/>
                  </a:lnTo>
                  <a:lnTo>
                    <a:pt x="15777" y="164205"/>
                  </a:lnTo>
                  <a:lnTo>
                    <a:pt x="4062" y="206879"/>
                  </a:lnTo>
                  <a:lnTo>
                    <a:pt x="0" y="252222"/>
                  </a:lnTo>
                  <a:lnTo>
                    <a:pt x="4062" y="297564"/>
                  </a:lnTo>
                  <a:lnTo>
                    <a:pt x="15777" y="340238"/>
                  </a:lnTo>
                  <a:lnTo>
                    <a:pt x="34431" y="379532"/>
                  </a:lnTo>
                  <a:lnTo>
                    <a:pt x="59312" y="414733"/>
                  </a:lnTo>
                  <a:lnTo>
                    <a:pt x="89710" y="445131"/>
                  </a:lnTo>
                  <a:lnTo>
                    <a:pt x="124911" y="470012"/>
                  </a:lnTo>
                  <a:lnTo>
                    <a:pt x="164205" y="488666"/>
                  </a:lnTo>
                  <a:lnTo>
                    <a:pt x="206879" y="500381"/>
                  </a:lnTo>
                  <a:lnTo>
                    <a:pt x="252222" y="504444"/>
                  </a:lnTo>
                  <a:lnTo>
                    <a:pt x="3644646" y="504444"/>
                  </a:lnTo>
                  <a:lnTo>
                    <a:pt x="3689988" y="500381"/>
                  </a:lnTo>
                  <a:lnTo>
                    <a:pt x="3732662" y="488666"/>
                  </a:lnTo>
                  <a:lnTo>
                    <a:pt x="3771956" y="470012"/>
                  </a:lnTo>
                  <a:lnTo>
                    <a:pt x="3807157" y="445131"/>
                  </a:lnTo>
                  <a:lnTo>
                    <a:pt x="3837555" y="414733"/>
                  </a:lnTo>
                  <a:lnTo>
                    <a:pt x="3862436" y="379532"/>
                  </a:lnTo>
                  <a:lnTo>
                    <a:pt x="3881090" y="340238"/>
                  </a:lnTo>
                  <a:lnTo>
                    <a:pt x="3892805" y="297564"/>
                  </a:lnTo>
                  <a:lnTo>
                    <a:pt x="3896868" y="252222"/>
                  </a:lnTo>
                  <a:lnTo>
                    <a:pt x="3892805" y="206879"/>
                  </a:lnTo>
                  <a:lnTo>
                    <a:pt x="3881090" y="164205"/>
                  </a:lnTo>
                  <a:lnTo>
                    <a:pt x="3862436" y="124911"/>
                  </a:lnTo>
                  <a:lnTo>
                    <a:pt x="3837555" y="89710"/>
                  </a:lnTo>
                  <a:lnTo>
                    <a:pt x="3807157" y="59312"/>
                  </a:lnTo>
                  <a:lnTo>
                    <a:pt x="3771956" y="34431"/>
                  </a:lnTo>
                  <a:lnTo>
                    <a:pt x="3732662" y="15777"/>
                  </a:lnTo>
                  <a:lnTo>
                    <a:pt x="3689988" y="4062"/>
                  </a:lnTo>
                  <a:lnTo>
                    <a:pt x="3644646" y="0"/>
                  </a:lnTo>
                  <a:close/>
                </a:path>
              </a:pathLst>
            </a:custGeom>
            <a:solidFill>
              <a:srgbClr val="00A633"/>
            </a:solidFill>
          </p:spPr>
          <p:txBody>
            <a:bodyPr wrap="square" lIns="0" tIns="0" rIns="0" bIns="0" rtlCol="0"/>
            <a:lstStyle/>
            <a:p>
              <a:pPr defTabSz="914309"/>
              <a:endParaRPr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6" name="object 26"/>
            <p:cNvSpPr/>
            <p:nvPr/>
          </p:nvSpPr>
          <p:spPr>
            <a:xfrm>
              <a:off x="6995159" y="4930139"/>
              <a:ext cx="3896995" cy="504825"/>
            </a:xfrm>
            <a:custGeom>
              <a:avLst/>
              <a:gdLst/>
              <a:ahLst/>
              <a:cxnLst/>
              <a:rect l="l" t="t" r="r" b="b"/>
              <a:pathLst>
                <a:path w="3896995" h="504825">
                  <a:moveTo>
                    <a:pt x="0" y="252222"/>
                  </a:moveTo>
                  <a:lnTo>
                    <a:pt x="4062" y="206879"/>
                  </a:lnTo>
                  <a:lnTo>
                    <a:pt x="15777" y="164205"/>
                  </a:lnTo>
                  <a:lnTo>
                    <a:pt x="34431" y="124911"/>
                  </a:lnTo>
                  <a:lnTo>
                    <a:pt x="59312" y="89710"/>
                  </a:lnTo>
                  <a:lnTo>
                    <a:pt x="89710" y="59312"/>
                  </a:lnTo>
                  <a:lnTo>
                    <a:pt x="124911" y="34431"/>
                  </a:lnTo>
                  <a:lnTo>
                    <a:pt x="164205" y="15777"/>
                  </a:lnTo>
                  <a:lnTo>
                    <a:pt x="206879" y="4062"/>
                  </a:lnTo>
                  <a:lnTo>
                    <a:pt x="252222" y="0"/>
                  </a:lnTo>
                  <a:lnTo>
                    <a:pt x="3644646" y="0"/>
                  </a:lnTo>
                  <a:lnTo>
                    <a:pt x="3689988" y="4062"/>
                  </a:lnTo>
                  <a:lnTo>
                    <a:pt x="3732662" y="15777"/>
                  </a:lnTo>
                  <a:lnTo>
                    <a:pt x="3771956" y="34431"/>
                  </a:lnTo>
                  <a:lnTo>
                    <a:pt x="3807157" y="59312"/>
                  </a:lnTo>
                  <a:lnTo>
                    <a:pt x="3837555" y="89710"/>
                  </a:lnTo>
                  <a:lnTo>
                    <a:pt x="3862436" y="124911"/>
                  </a:lnTo>
                  <a:lnTo>
                    <a:pt x="3881090" y="164205"/>
                  </a:lnTo>
                  <a:lnTo>
                    <a:pt x="3892805" y="206879"/>
                  </a:lnTo>
                  <a:lnTo>
                    <a:pt x="3896868" y="252222"/>
                  </a:lnTo>
                  <a:lnTo>
                    <a:pt x="3892805" y="297564"/>
                  </a:lnTo>
                  <a:lnTo>
                    <a:pt x="3881090" y="340238"/>
                  </a:lnTo>
                  <a:lnTo>
                    <a:pt x="3862436" y="379532"/>
                  </a:lnTo>
                  <a:lnTo>
                    <a:pt x="3837555" y="414733"/>
                  </a:lnTo>
                  <a:lnTo>
                    <a:pt x="3807157" y="445131"/>
                  </a:lnTo>
                  <a:lnTo>
                    <a:pt x="3771956" y="470012"/>
                  </a:lnTo>
                  <a:lnTo>
                    <a:pt x="3732662" y="488666"/>
                  </a:lnTo>
                  <a:lnTo>
                    <a:pt x="3689988" y="500381"/>
                  </a:lnTo>
                  <a:lnTo>
                    <a:pt x="3644646" y="504444"/>
                  </a:lnTo>
                  <a:lnTo>
                    <a:pt x="252222" y="504444"/>
                  </a:lnTo>
                  <a:lnTo>
                    <a:pt x="206879" y="500381"/>
                  </a:lnTo>
                  <a:lnTo>
                    <a:pt x="164205" y="488666"/>
                  </a:lnTo>
                  <a:lnTo>
                    <a:pt x="124911" y="470012"/>
                  </a:lnTo>
                  <a:lnTo>
                    <a:pt x="89710" y="445131"/>
                  </a:lnTo>
                  <a:lnTo>
                    <a:pt x="59312" y="414733"/>
                  </a:lnTo>
                  <a:lnTo>
                    <a:pt x="34431" y="379532"/>
                  </a:lnTo>
                  <a:lnTo>
                    <a:pt x="15777" y="340238"/>
                  </a:lnTo>
                  <a:lnTo>
                    <a:pt x="4062" y="297564"/>
                  </a:lnTo>
                  <a:lnTo>
                    <a:pt x="0" y="252222"/>
                  </a:lnTo>
                  <a:close/>
                </a:path>
              </a:pathLst>
            </a:custGeom>
            <a:ln w="9525">
              <a:solidFill>
                <a:srgbClr val="36A162"/>
              </a:solidFill>
            </a:ln>
          </p:spPr>
          <p:txBody>
            <a:bodyPr wrap="square" lIns="0" tIns="0" rIns="0" bIns="0" rtlCol="0"/>
            <a:lstStyle/>
            <a:p>
              <a:pPr defTabSz="914309"/>
              <a:endParaRPr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7" name="object 27"/>
            <p:cNvSpPr/>
            <p:nvPr/>
          </p:nvSpPr>
          <p:spPr>
            <a:xfrm>
              <a:off x="6996683" y="4308348"/>
              <a:ext cx="502920" cy="1117600"/>
            </a:xfrm>
            <a:custGeom>
              <a:avLst/>
              <a:gdLst/>
              <a:ahLst/>
              <a:cxnLst/>
              <a:rect l="l" t="t" r="r" b="b"/>
              <a:pathLst>
                <a:path w="502920" h="1117600">
                  <a:moveTo>
                    <a:pt x="251460" y="0"/>
                  </a:moveTo>
                  <a:lnTo>
                    <a:pt x="206243" y="4049"/>
                  </a:lnTo>
                  <a:lnTo>
                    <a:pt x="163693" y="15725"/>
                  </a:lnTo>
                  <a:lnTo>
                    <a:pt x="124516" y="34318"/>
                  </a:lnTo>
                  <a:lnTo>
                    <a:pt x="89422" y="59120"/>
                  </a:lnTo>
                  <a:lnTo>
                    <a:pt x="59120" y="89422"/>
                  </a:lnTo>
                  <a:lnTo>
                    <a:pt x="34318" y="124516"/>
                  </a:lnTo>
                  <a:lnTo>
                    <a:pt x="15725" y="163693"/>
                  </a:lnTo>
                  <a:lnTo>
                    <a:pt x="4049" y="206243"/>
                  </a:lnTo>
                  <a:lnTo>
                    <a:pt x="0" y="251459"/>
                  </a:lnTo>
                  <a:lnTo>
                    <a:pt x="0" y="865632"/>
                  </a:lnTo>
                  <a:lnTo>
                    <a:pt x="4049" y="910848"/>
                  </a:lnTo>
                  <a:lnTo>
                    <a:pt x="15725" y="953398"/>
                  </a:lnTo>
                  <a:lnTo>
                    <a:pt x="34318" y="992575"/>
                  </a:lnTo>
                  <a:lnTo>
                    <a:pt x="59120" y="1027669"/>
                  </a:lnTo>
                  <a:lnTo>
                    <a:pt x="89422" y="1057971"/>
                  </a:lnTo>
                  <a:lnTo>
                    <a:pt x="124516" y="1082773"/>
                  </a:lnTo>
                  <a:lnTo>
                    <a:pt x="163693" y="1101366"/>
                  </a:lnTo>
                  <a:lnTo>
                    <a:pt x="206243" y="1113042"/>
                  </a:lnTo>
                  <a:lnTo>
                    <a:pt x="251460" y="1117092"/>
                  </a:lnTo>
                  <a:lnTo>
                    <a:pt x="296676" y="1113042"/>
                  </a:lnTo>
                  <a:lnTo>
                    <a:pt x="339226" y="1101366"/>
                  </a:lnTo>
                  <a:lnTo>
                    <a:pt x="378403" y="1082773"/>
                  </a:lnTo>
                  <a:lnTo>
                    <a:pt x="413497" y="1057971"/>
                  </a:lnTo>
                  <a:lnTo>
                    <a:pt x="443799" y="1027669"/>
                  </a:lnTo>
                  <a:lnTo>
                    <a:pt x="468601" y="992575"/>
                  </a:lnTo>
                  <a:lnTo>
                    <a:pt x="487194" y="953398"/>
                  </a:lnTo>
                  <a:lnTo>
                    <a:pt x="498870" y="910848"/>
                  </a:lnTo>
                  <a:lnTo>
                    <a:pt x="502920" y="865632"/>
                  </a:lnTo>
                  <a:lnTo>
                    <a:pt x="502920" y="251459"/>
                  </a:lnTo>
                  <a:lnTo>
                    <a:pt x="498870" y="206243"/>
                  </a:lnTo>
                  <a:lnTo>
                    <a:pt x="487194" y="163693"/>
                  </a:lnTo>
                  <a:lnTo>
                    <a:pt x="468601" y="124516"/>
                  </a:lnTo>
                  <a:lnTo>
                    <a:pt x="443799" y="89422"/>
                  </a:lnTo>
                  <a:lnTo>
                    <a:pt x="413497" y="59120"/>
                  </a:lnTo>
                  <a:lnTo>
                    <a:pt x="378403" y="34318"/>
                  </a:lnTo>
                  <a:lnTo>
                    <a:pt x="339226" y="15725"/>
                  </a:lnTo>
                  <a:lnTo>
                    <a:pt x="296676" y="4049"/>
                  </a:lnTo>
                  <a:lnTo>
                    <a:pt x="251460" y="0"/>
                  </a:lnTo>
                  <a:close/>
                </a:path>
              </a:pathLst>
            </a:custGeom>
            <a:solidFill>
              <a:srgbClr val="00A633"/>
            </a:solidFill>
          </p:spPr>
          <p:txBody>
            <a:bodyPr wrap="square" lIns="0" tIns="0" rIns="0" bIns="0" rtlCol="0"/>
            <a:lstStyle/>
            <a:p>
              <a:pPr defTabSz="914309"/>
              <a:endParaRPr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8" name="object 28"/>
            <p:cNvSpPr/>
            <p:nvPr/>
          </p:nvSpPr>
          <p:spPr>
            <a:xfrm>
              <a:off x="6996683" y="4308348"/>
              <a:ext cx="502920" cy="1117600"/>
            </a:xfrm>
            <a:custGeom>
              <a:avLst/>
              <a:gdLst/>
              <a:ahLst/>
              <a:cxnLst/>
              <a:rect l="l" t="t" r="r" b="b"/>
              <a:pathLst>
                <a:path w="502920" h="1117600">
                  <a:moveTo>
                    <a:pt x="251460" y="1117092"/>
                  </a:moveTo>
                  <a:lnTo>
                    <a:pt x="206243" y="1113042"/>
                  </a:lnTo>
                  <a:lnTo>
                    <a:pt x="163693" y="1101366"/>
                  </a:lnTo>
                  <a:lnTo>
                    <a:pt x="124516" y="1082773"/>
                  </a:lnTo>
                  <a:lnTo>
                    <a:pt x="89422" y="1057971"/>
                  </a:lnTo>
                  <a:lnTo>
                    <a:pt x="59120" y="1027669"/>
                  </a:lnTo>
                  <a:lnTo>
                    <a:pt x="34318" y="992575"/>
                  </a:lnTo>
                  <a:lnTo>
                    <a:pt x="15725" y="953398"/>
                  </a:lnTo>
                  <a:lnTo>
                    <a:pt x="4049" y="910848"/>
                  </a:lnTo>
                  <a:lnTo>
                    <a:pt x="0" y="865632"/>
                  </a:lnTo>
                  <a:lnTo>
                    <a:pt x="0" y="251459"/>
                  </a:lnTo>
                  <a:lnTo>
                    <a:pt x="4049" y="206243"/>
                  </a:lnTo>
                  <a:lnTo>
                    <a:pt x="15725" y="163693"/>
                  </a:lnTo>
                  <a:lnTo>
                    <a:pt x="34318" y="124516"/>
                  </a:lnTo>
                  <a:lnTo>
                    <a:pt x="59120" y="89422"/>
                  </a:lnTo>
                  <a:lnTo>
                    <a:pt x="89422" y="59120"/>
                  </a:lnTo>
                  <a:lnTo>
                    <a:pt x="124516" y="34318"/>
                  </a:lnTo>
                  <a:lnTo>
                    <a:pt x="163693" y="15725"/>
                  </a:lnTo>
                  <a:lnTo>
                    <a:pt x="206243" y="4049"/>
                  </a:lnTo>
                  <a:lnTo>
                    <a:pt x="251460" y="0"/>
                  </a:lnTo>
                  <a:lnTo>
                    <a:pt x="296676" y="4049"/>
                  </a:lnTo>
                  <a:lnTo>
                    <a:pt x="339226" y="15725"/>
                  </a:lnTo>
                  <a:lnTo>
                    <a:pt x="378403" y="34318"/>
                  </a:lnTo>
                  <a:lnTo>
                    <a:pt x="413497" y="59120"/>
                  </a:lnTo>
                  <a:lnTo>
                    <a:pt x="443799" y="89422"/>
                  </a:lnTo>
                  <a:lnTo>
                    <a:pt x="468601" y="124516"/>
                  </a:lnTo>
                  <a:lnTo>
                    <a:pt x="487194" y="163693"/>
                  </a:lnTo>
                  <a:lnTo>
                    <a:pt x="498870" y="206243"/>
                  </a:lnTo>
                  <a:lnTo>
                    <a:pt x="502920" y="251459"/>
                  </a:lnTo>
                  <a:lnTo>
                    <a:pt x="502920" y="865632"/>
                  </a:lnTo>
                  <a:lnTo>
                    <a:pt x="498870" y="910848"/>
                  </a:lnTo>
                  <a:lnTo>
                    <a:pt x="487194" y="953398"/>
                  </a:lnTo>
                  <a:lnTo>
                    <a:pt x="468601" y="992575"/>
                  </a:lnTo>
                  <a:lnTo>
                    <a:pt x="443799" y="1027669"/>
                  </a:lnTo>
                  <a:lnTo>
                    <a:pt x="413497" y="1057971"/>
                  </a:lnTo>
                  <a:lnTo>
                    <a:pt x="378403" y="1082773"/>
                  </a:lnTo>
                  <a:lnTo>
                    <a:pt x="339226" y="1101366"/>
                  </a:lnTo>
                  <a:lnTo>
                    <a:pt x="296676" y="1113042"/>
                  </a:lnTo>
                  <a:lnTo>
                    <a:pt x="251460" y="1117092"/>
                  </a:lnTo>
                  <a:close/>
                </a:path>
              </a:pathLst>
            </a:custGeom>
            <a:ln w="9525">
              <a:solidFill>
                <a:srgbClr val="36A162"/>
              </a:solidFill>
            </a:ln>
          </p:spPr>
          <p:txBody>
            <a:bodyPr wrap="square" lIns="0" tIns="0" rIns="0" bIns="0" rtlCol="0"/>
            <a:lstStyle/>
            <a:p>
              <a:pPr defTabSz="914309"/>
              <a:endParaRPr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9" name="object 29"/>
            <p:cNvSpPr/>
            <p:nvPr/>
          </p:nvSpPr>
          <p:spPr>
            <a:xfrm>
              <a:off x="7022591" y="4299204"/>
              <a:ext cx="3191510" cy="504825"/>
            </a:xfrm>
            <a:custGeom>
              <a:avLst/>
              <a:gdLst/>
              <a:ahLst/>
              <a:cxnLst/>
              <a:rect l="l" t="t" r="r" b="b"/>
              <a:pathLst>
                <a:path w="3191509" h="504825">
                  <a:moveTo>
                    <a:pt x="2939033" y="0"/>
                  </a:moveTo>
                  <a:lnTo>
                    <a:pt x="252222" y="0"/>
                  </a:lnTo>
                  <a:lnTo>
                    <a:pt x="206879" y="4062"/>
                  </a:lnTo>
                  <a:lnTo>
                    <a:pt x="164205" y="15777"/>
                  </a:lnTo>
                  <a:lnTo>
                    <a:pt x="124911" y="34431"/>
                  </a:lnTo>
                  <a:lnTo>
                    <a:pt x="89710" y="59312"/>
                  </a:lnTo>
                  <a:lnTo>
                    <a:pt x="59312" y="89710"/>
                  </a:lnTo>
                  <a:lnTo>
                    <a:pt x="34431" y="124911"/>
                  </a:lnTo>
                  <a:lnTo>
                    <a:pt x="15777" y="164205"/>
                  </a:lnTo>
                  <a:lnTo>
                    <a:pt x="4062" y="206879"/>
                  </a:lnTo>
                  <a:lnTo>
                    <a:pt x="0" y="252222"/>
                  </a:lnTo>
                  <a:lnTo>
                    <a:pt x="4062" y="297564"/>
                  </a:lnTo>
                  <a:lnTo>
                    <a:pt x="15777" y="340238"/>
                  </a:lnTo>
                  <a:lnTo>
                    <a:pt x="34431" y="379532"/>
                  </a:lnTo>
                  <a:lnTo>
                    <a:pt x="59312" y="414733"/>
                  </a:lnTo>
                  <a:lnTo>
                    <a:pt x="89710" y="445131"/>
                  </a:lnTo>
                  <a:lnTo>
                    <a:pt x="124911" y="470012"/>
                  </a:lnTo>
                  <a:lnTo>
                    <a:pt x="164205" y="488666"/>
                  </a:lnTo>
                  <a:lnTo>
                    <a:pt x="206879" y="500381"/>
                  </a:lnTo>
                  <a:lnTo>
                    <a:pt x="252222" y="504444"/>
                  </a:lnTo>
                  <a:lnTo>
                    <a:pt x="2939033" y="504444"/>
                  </a:lnTo>
                  <a:lnTo>
                    <a:pt x="2984376" y="500381"/>
                  </a:lnTo>
                  <a:lnTo>
                    <a:pt x="3027050" y="488666"/>
                  </a:lnTo>
                  <a:lnTo>
                    <a:pt x="3066344" y="470012"/>
                  </a:lnTo>
                  <a:lnTo>
                    <a:pt x="3101545" y="445131"/>
                  </a:lnTo>
                  <a:lnTo>
                    <a:pt x="3131943" y="414733"/>
                  </a:lnTo>
                  <a:lnTo>
                    <a:pt x="3156824" y="379532"/>
                  </a:lnTo>
                  <a:lnTo>
                    <a:pt x="3175478" y="340238"/>
                  </a:lnTo>
                  <a:lnTo>
                    <a:pt x="3187193" y="297564"/>
                  </a:lnTo>
                  <a:lnTo>
                    <a:pt x="3191255" y="252222"/>
                  </a:lnTo>
                  <a:lnTo>
                    <a:pt x="3187193" y="206879"/>
                  </a:lnTo>
                  <a:lnTo>
                    <a:pt x="3175478" y="164205"/>
                  </a:lnTo>
                  <a:lnTo>
                    <a:pt x="3156824" y="124911"/>
                  </a:lnTo>
                  <a:lnTo>
                    <a:pt x="3131943" y="89710"/>
                  </a:lnTo>
                  <a:lnTo>
                    <a:pt x="3101545" y="59312"/>
                  </a:lnTo>
                  <a:lnTo>
                    <a:pt x="3066344" y="34431"/>
                  </a:lnTo>
                  <a:lnTo>
                    <a:pt x="3027050" y="15777"/>
                  </a:lnTo>
                  <a:lnTo>
                    <a:pt x="2984376" y="4062"/>
                  </a:lnTo>
                  <a:lnTo>
                    <a:pt x="2939033" y="0"/>
                  </a:lnTo>
                  <a:close/>
                </a:path>
              </a:pathLst>
            </a:custGeom>
            <a:solidFill>
              <a:srgbClr val="00A633"/>
            </a:solidFill>
          </p:spPr>
          <p:txBody>
            <a:bodyPr wrap="square" lIns="0" tIns="0" rIns="0" bIns="0" rtlCol="0"/>
            <a:lstStyle/>
            <a:p>
              <a:pPr defTabSz="914309"/>
              <a:endParaRPr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0" name="object 30"/>
            <p:cNvSpPr/>
            <p:nvPr/>
          </p:nvSpPr>
          <p:spPr>
            <a:xfrm>
              <a:off x="7022591" y="4299204"/>
              <a:ext cx="3191510" cy="504825"/>
            </a:xfrm>
            <a:custGeom>
              <a:avLst/>
              <a:gdLst/>
              <a:ahLst/>
              <a:cxnLst/>
              <a:rect l="l" t="t" r="r" b="b"/>
              <a:pathLst>
                <a:path w="3191509" h="504825">
                  <a:moveTo>
                    <a:pt x="0" y="252222"/>
                  </a:moveTo>
                  <a:lnTo>
                    <a:pt x="4062" y="206879"/>
                  </a:lnTo>
                  <a:lnTo>
                    <a:pt x="15777" y="164205"/>
                  </a:lnTo>
                  <a:lnTo>
                    <a:pt x="34431" y="124911"/>
                  </a:lnTo>
                  <a:lnTo>
                    <a:pt x="59312" y="89710"/>
                  </a:lnTo>
                  <a:lnTo>
                    <a:pt x="89710" y="59312"/>
                  </a:lnTo>
                  <a:lnTo>
                    <a:pt x="124911" y="34431"/>
                  </a:lnTo>
                  <a:lnTo>
                    <a:pt x="164205" y="15777"/>
                  </a:lnTo>
                  <a:lnTo>
                    <a:pt x="206879" y="4062"/>
                  </a:lnTo>
                  <a:lnTo>
                    <a:pt x="252222" y="0"/>
                  </a:lnTo>
                  <a:lnTo>
                    <a:pt x="2939033" y="0"/>
                  </a:lnTo>
                  <a:lnTo>
                    <a:pt x="2984376" y="4062"/>
                  </a:lnTo>
                  <a:lnTo>
                    <a:pt x="3027050" y="15777"/>
                  </a:lnTo>
                  <a:lnTo>
                    <a:pt x="3066344" y="34431"/>
                  </a:lnTo>
                  <a:lnTo>
                    <a:pt x="3101545" y="59312"/>
                  </a:lnTo>
                  <a:lnTo>
                    <a:pt x="3131943" y="89710"/>
                  </a:lnTo>
                  <a:lnTo>
                    <a:pt x="3156824" y="124911"/>
                  </a:lnTo>
                  <a:lnTo>
                    <a:pt x="3175478" y="164205"/>
                  </a:lnTo>
                  <a:lnTo>
                    <a:pt x="3187193" y="206879"/>
                  </a:lnTo>
                  <a:lnTo>
                    <a:pt x="3191255" y="252222"/>
                  </a:lnTo>
                  <a:lnTo>
                    <a:pt x="3187193" y="297564"/>
                  </a:lnTo>
                  <a:lnTo>
                    <a:pt x="3175478" y="340238"/>
                  </a:lnTo>
                  <a:lnTo>
                    <a:pt x="3156824" y="379532"/>
                  </a:lnTo>
                  <a:lnTo>
                    <a:pt x="3131943" y="414733"/>
                  </a:lnTo>
                  <a:lnTo>
                    <a:pt x="3101545" y="445131"/>
                  </a:lnTo>
                  <a:lnTo>
                    <a:pt x="3066344" y="470012"/>
                  </a:lnTo>
                  <a:lnTo>
                    <a:pt x="3027050" y="488666"/>
                  </a:lnTo>
                  <a:lnTo>
                    <a:pt x="2984376" y="500381"/>
                  </a:lnTo>
                  <a:lnTo>
                    <a:pt x="2939033" y="504444"/>
                  </a:lnTo>
                  <a:lnTo>
                    <a:pt x="252222" y="504444"/>
                  </a:lnTo>
                  <a:lnTo>
                    <a:pt x="206879" y="500381"/>
                  </a:lnTo>
                  <a:lnTo>
                    <a:pt x="164205" y="488666"/>
                  </a:lnTo>
                  <a:lnTo>
                    <a:pt x="124911" y="470012"/>
                  </a:lnTo>
                  <a:lnTo>
                    <a:pt x="89710" y="445131"/>
                  </a:lnTo>
                  <a:lnTo>
                    <a:pt x="59312" y="414733"/>
                  </a:lnTo>
                  <a:lnTo>
                    <a:pt x="34431" y="379532"/>
                  </a:lnTo>
                  <a:lnTo>
                    <a:pt x="15777" y="340238"/>
                  </a:lnTo>
                  <a:lnTo>
                    <a:pt x="4062" y="297564"/>
                  </a:lnTo>
                  <a:lnTo>
                    <a:pt x="0" y="252222"/>
                  </a:lnTo>
                  <a:close/>
                </a:path>
              </a:pathLst>
            </a:custGeom>
            <a:ln w="9525">
              <a:solidFill>
                <a:srgbClr val="36A162"/>
              </a:solidFill>
            </a:ln>
          </p:spPr>
          <p:txBody>
            <a:bodyPr wrap="square" lIns="0" tIns="0" rIns="0" bIns="0" rtlCol="0"/>
            <a:lstStyle/>
            <a:p>
              <a:pPr defTabSz="914309"/>
              <a:endParaRPr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1" name="object 31"/>
            <p:cNvSpPr/>
            <p:nvPr/>
          </p:nvSpPr>
          <p:spPr>
            <a:xfrm>
              <a:off x="9694163" y="3689604"/>
              <a:ext cx="520065" cy="1097280"/>
            </a:xfrm>
            <a:custGeom>
              <a:avLst/>
              <a:gdLst/>
              <a:ahLst/>
              <a:cxnLst/>
              <a:rect l="l" t="t" r="r" b="b"/>
              <a:pathLst>
                <a:path w="520065" h="1097279">
                  <a:moveTo>
                    <a:pt x="259841" y="0"/>
                  </a:moveTo>
                  <a:lnTo>
                    <a:pt x="213134" y="4186"/>
                  </a:lnTo>
                  <a:lnTo>
                    <a:pt x="169173" y="16256"/>
                  </a:lnTo>
                  <a:lnTo>
                    <a:pt x="128693" y="35475"/>
                  </a:lnTo>
                  <a:lnTo>
                    <a:pt x="92427" y="61110"/>
                  </a:lnTo>
                  <a:lnTo>
                    <a:pt x="61110" y="92427"/>
                  </a:lnTo>
                  <a:lnTo>
                    <a:pt x="35475" y="128693"/>
                  </a:lnTo>
                  <a:lnTo>
                    <a:pt x="16255" y="169173"/>
                  </a:lnTo>
                  <a:lnTo>
                    <a:pt x="4186" y="213134"/>
                  </a:lnTo>
                  <a:lnTo>
                    <a:pt x="0" y="259842"/>
                  </a:lnTo>
                  <a:lnTo>
                    <a:pt x="0" y="837438"/>
                  </a:lnTo>
                  <a:lnTo>
                    <a:pt x="4186" y="884145"/>
                  </a:lnTo>
                  <a:lnTo>
                    <a:pt x="16256" y="928106"/>
                  </a:lnTo>
                  <a:lnTo>
                    <a:pt x="35475" y="968586"/>
                  </a:lnTo>
                  <a:lnTo>
                    <a:pt x="61110" y="1004852"/>
                  </a:lnTo>
                  <a:lnTo>
                    <a:pt x="92427" y="1036169"/>
                  </a:lnTo>
                  <a:lnTo>
                    <a:pt x="128693" y="1061804"/>
                  </a:lnTo>
                  <a:lnTo>
                    <a:pt x="169173" y="1081024"/>
                  </a:lnTo>
                  <a:lnTo>
                    <a:pt x="213134" y="1093093"/>
                  </a:lnTo>
                  <a:lnTo>
                    <a:pt x="259841" y="1097280"/>
                  </a:lnTo>
                  <a:lnTo>
                    <a:pt x="306549" y="1093093"/>
                  </a:lnTo>
                  <a:lnTo>
                    <a:pt x="350510" y="1081024"/>
                  </a:lnTo>
                  <a:lnTo>
                    <a:pt x="390990" y="1061804"/>
                  </a:lnTo>
                  <a:lnTo>
                    <a:pt x="427256" y="1036169"/>
                  </a:lnTo>
                  <a:lnTo>
                    <a:pt x="458573" y="1004852"/>
                  </a:lnTo>
                  <a:lnTo>
                    <a:pt x="484208" y="968586"/>
                  </a:lnTo>
                  <a:lnTo>
                    <a:pt x="503427" y="928106"/>
                  </a:lnTo>
                  <a:lnTo>
                    <a:pt x="515497" y="884145"/>
                  </a:lnTo>
                  <a:lnTo>
                    <a:pt x="519683" y="837438"/>
                  </a:lnTo>
                  <a:lnTo>
                    <a:pt x="519683" y="259842"/>
                  </a:lnTo>
                  <a:lnTo>
                    <a:pt x="515497" y="213134"/>
                  </a:lnTo>
                  <a:lnTo>
                    <a:pt x="503427" y="169173"/>
                  </a:lnTo>
                  <a:lnTo>
                    <a:pt x="484208" y="128693"/>
                  </a:lnTo>
                  <a:lnTo>
                    <a:pt x="458573" y="92427"/>
                  </a:lnTo>
                  <a:lnTo>
                    <a:pt x="427256" y="61110"/>
                  </a:lnTo>
                  <a:lnTo>
                    <a:pt x="390990" y="35475"/>
                  </a:lnTo>
                  <a:lnTo>
                    <a:pt x="350510" y="16256"/>
                  </a:lnTo>
                  <a:lnTo>
                    <a:pt x="306549" y="4186"/>
                  </a:lnTo>
                  <a:lnTo>
                    <a:pt x="259841" y="0"/>
                  </a:lnTo>
                  <a:close/>
                </a:path>
              </a:pathLst>
            </a:custGeom>
            <a:solidFill>
              <a:srgbClr val="00A633"/>
            </a:solidFill>
          </p:spPr>
          <p:txBody>
            <a:bodyPr wrap="square" lIns="0" tIns="0" rIns="0" bIns="0" rtlCol="0"/>
            <a:lstStyle/>
            <a:p>
              <a:pPr defTabSz="914309"/>
              <a:endParaRPr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2" name="object 32"/>
            <p:cNvSpPr/>
            <p:nvPr/>
          </p:nvSpPr>
          <p:spPr>
            <a:xfrm>
              <a:off x="9694163" y="3689604"/>
              <a:ext cx="520065" cy="1097280"/>
            </a:xfrm>
            <a:custGeom>
              <a:avLst/>
              <a:gdLst/>
              <a:ahLst/>
              <a:cxnLst/>
              <a:rect l="l" t="t" r="r" b="b"/>
              <a:pathLst>
                <a:path w="520065" h="1097279">
                  <a:moveTo>
                    <a:pt x="259841" y="1097280"/>
                  </a:moveTo>
                  <a:lnTo>
                    <a:pt x="213134" y="1093093"/>
                  </a:lnTo>
                  <a:lnTo>
                    <a:pt x="169173" y="1081024"/>
                  </a:lnTo>
                  <a:lnTo>
                    <a:pt x="128693" y="1061804"/>
                  </a:lnTo>
                  <a:lnTo>
                    <a:pt x="92427" y="1036169"/>
                  </a:lnTo>
                  <a:lnTo>
                    <a:pt x="61110" y="1004852"/>
                  </a:lnTo>
                  <a:lnTo>
                    <a:pt x="35475" y="968586"/>
                  </a:lnTo>
                  <a:lnTo>
                    <a:pt x="16256" y="928106"/>
                  </a:lnTo>
                  <a:lnTo>
                    <a:pt x="4186" y="884145"/>
                  </a:lnTo>
                  <a:lnTo>
                    <a:pt x="0" y="837438"/>
                  </a:lnTo>
                  <a:lnTo>
                    <a:pt x="0" y="259842"/>
                  </a:lnTo>
                  <a:lnTo>
                    <a:pt x="4186" y="213134"/>
                  </a:lnTo>
                  <a:lnTo>
                    <a:pt x="16255" y="169173"/>
                  </a:lnTo>
                  <a:lnTo>
                    <a:pt x="35475" y="128693"/>
                  </a:lnTo>
                  <a:lnTo>
                    <a:pt x="61110" y="92427"/>
                  </a:lnTo>
                  <a:lnTo>
                    <a:pt x="92427" y="61110"/>
                  </a:lnTo>
                  <a:lnTo>
                    <a:pt x="128693" y="35475"/>
                  </a:lnTo>
                  <a:lnTo>
                    <a:pt x="169173" y="16256"/>
                  </a:lnTo>
                  <a:lnTo>
                    <a:pt x="213134" y="4186"/>
                  </a:lnTo>
                  <a:lnTo>
                    <a:pt x="259841" y="0"/>
                  </a:lnTo>
                  <a:lnTo>
                    <a:pt x="306549" y="4186"/>
                  </a:lnTo>
                  <a:lnTo>
                    <a:pt x="350510" y="16256"/>
                  </a:lnTo>
                  <a:lnTo>
                    <a:pt x="390990" y="35475"/>
                  </a:lnTo>
                  <a:lnTo>
                    <a:pt x="427256" y="61110"/>
                  </a:lnTo>
                  <a:lnTo>
                    <a:pt x="458573" y="92427"/>
                  </a:lnTo>
                  <a:lnTo>
                    <a:pt x="484208" y="128693"/>
                  </a:lnTo>
                  <a:lnTo>
                    <a:pt x="503427" y="169173"/>
                  </a:lnTo>
                  <a:lnTo>
                    <a:pt x="515497" y="213134"/>
                  </a:lnTo>
                  <a:lnTo>
                    <a:pt x="519683" y="259842"/>
                  </a:lnTo>
                  <a:lnTo>
                    <a:pt x="519683" y="837438"/>
                  </a:lnTo>
                  <a:lnTo>
                    <a:pt x="515497" y="884145"/>
                  </a:lnTo>
                  <a:lnTo>
                    <a:pt x="503427" y="928106"/>
                  </a:lnTo>
                  <a:lnTo>
                    <a:pt x="484208" y="968586"/>
                  </a:lnTo>
                  <a:lnTo>
                    <a:pt x="458573" y="1004852"/>
                  </a:lnTo>
                  <a:lnTo>
                    <a:pt x="427256" y="1036169"/>
                  </a:lnTo>
                  <a:lnTo>
                    <a:pt x="390990" y="1061804"/>
                  </a:lnTo>
                  <a:lnTo>
                    <a:pt x="350510" y="1081023"/>
                  </a:lnTo>
                  <a:lnTo>
                    <a:pt x="306549" y="1093093"/>
                  </a:lnTo>
                  <a:lnTo>
                    <a:pt x="259841" y="1097280"/>
                  </a:lnTo>
                  <a:close/>
                </a:path>
              </a:pathLst>
            </a:custGeom>
            <a:ln w="9525">
              <a:solidFill>
                <a:srgbClr val="36A162"/>
              </a:solidFill>
            </a:ln>
          </p:spPr>
          <p:txBody>
            <a:bodyPr wrap="square" lIns="0" tIns="0" rIns="0" bIns="0" rtlCol="0"/>
            <a:lstStyle/>
            <a:p>
              <a:pPr defTabSz="914309"/>
              <a:endParaRPr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3" name="object 33"/>
            <p:cNvSpPr/>
            <p:nvPr/>
          </p:nvSpPr>
          <p:spPr>
            <a:xfrm>
              <a:off x="7187183" y="3688080"/>
              <a:ext cx="3027045" cy="504825"/>
            </a:xfrm>
            <a:custGeom>
              <a:avLst/>
              <a:gdLst/>
              <a:ahLst/>
              <a:cxnLst/>
              <a:rect l="l" t="t" r="r" b="b"/>
              <a:pathLst>
                <a:path w="3027045" h="504825">
                  <a:moveTo>
                    <a:pt x="2774442" y="0"/>
                  </a:moveTo>
                  <a:lnTo>
                    <a:pt x="252222" y="0"/>
                  </a:lnTo>
                  <a:lnTo>
                    <a:pt x="206879" y="4062"/>
                  </a:lnTo>
                  <a:lnTo>
                    <a:pt x="164205" y="15777"/>
                  </a:lnTo>
                  <a:lnTo>
                    <a:pt x="124911" y="34431"/>
                  </a:lnTo>
                  <a:lnTo>
                    <a:pt x="89710" y="59312"/>
                  </a:lnTo>
                  <a:lnTo>
                    <a:pt x="59312" y="89710"/>
                  </a:lnTo>
                  <a:lnTo>
                    <a:pt x="34431" y="124911"/>
                  </a:lnTo>
                  <a:lnTo>
                    <a:pt x="15777" y="164205"/>
                  </a:lnTo>
                  <a:lnTo>
                    <a:pt x="4062" y="206879"/>
                  </a:lnTo>
                  <a:lnTo>
                    <a:pt x="0" y="252222"/>
                  </a:lnTo>
                  <a:lnTo>
                    <a:pt x="4062" y="297564"/>
                  </a:lnTo>
                  <a:lnTo>
                    <a:pt x="15777" y="340238"/>
                  </a:lnTo>
                  <a:lnTo>
                    <a:pt x="34431" y="379532"/>
                  </a:lnTo>
                  <a:lnTo>
                    <a:pt x="59312" y="414733"/>
                  </a:lnTo>
                  <a:lnTo>
                    <a:pt x="89710" y="445131"/>
                  </a:lnTo>
                  <a:lnTo>
                    <a:pt x="124911" y="470012"/>
                  </a:lnTo>
                  <a:lnTo>
                    <a:pt x="164205" y="488666"/>
                  </a:lnTo>
                  <a:lnTo>
                    <a:pt x="206879" y="500381"/>
                  </a:lnTo>
                  <a:lnTo>
                    <a:pt x="252222" y="504444"/>
                  </a:lnTo>
                  <a:lnTo>
                    <a:pt x="2774442" y="504444"/>
                  </a:lnTo>
                  <a:lnTo>
                    <a:pt x="2819784" y="500381"/>
                  </a:lnTo>
                  <a:lnTo>
                    <a:pt x="2862458" y="488666"/>
                  </a:lnTo>
                  <a:lnTo>
                    <a:pt x="2901752" y="470012"/>
                  </a:lnTo>
                  <a:lnTo>
                    <a:pt x="2936953" y="445131"/>
                  </a:lnTo>
                  <a:lnTo>
                    <a:pt x="2967351" y="414733"/>
                  </a:lnTo>
                  <a:lnTo>
                    <a:pt x="2992232" y="379532"/>
                  </a:lnTo>
                  <a:lnTo>
                    <a:pt x="3010886" y="340238"/>
                  </a:lnTo>
                  <a:lnTo>
                    <a:pt x="3022601" y="297564"/>
                  </a:lnTo>
                  <a:lnTo>
                    <a:pt x="3026664" y="252222"/>
                  </a:lnTo>
                  <a:lnTo>
                    <a:pt x="3022601" y="206879"/>
                  </a:lnTo>
                  <a:lnTo>
                    <a:pt x="3010886" y="164205"/>
                  </a:lnTo>
                  <a:lnTo>
                    <a:pt x="2992232" y="124911"/>
                  </a:lnTo>
                  <a:lnTo>
                    <a:pt x="2967351" y="89710"/>
                  </a:lnTo>
                  <a:lnTo>
                    <a:pt x="2936953" y="59312"/>
                  </a:lnTo>
                  <a:lnTo>
                    <a:pt x="2901752" y="34431"/>
                  </a:lnTo>
                  <a:lnTo>
                    <a:pt x="2862458" y="15777"/>
                  </a:lnTo>
                  <a:lnTo>
                    <a:pt x="2819784" y="4062"/>
                  </a:lnTo>
                  <a:lnTo>
                    <a:pt x="2774442" y="0"/>
                  </a:lnTo>
                  <a:close/>
                </a:path>
              </a:pathLst>
            </a:custGeom>
            <a:solidFill>
              <a:srgbClr val="00A633"/>
            </a:solidFill>
          </p:spPr>
          <p:txBody>
            <a:bodyPr wrap="square" lIns="0" tIns="0" rIns="0" bIns="0" rtlCol="0"/>
            <a:lstStyle/>
            <a:p>
              <a:pPr defTabSz="914309"/>
              <a:endParaRPr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4" name="object 34"/>
            <p:cNvSpPr/>
            <p:nvPr/>
          </p:nvSpPr>
          <p:spPr>
            <a:xfrm>
              <a:off x="7187183" y="3688080"/>
              <a:ext cx="3027045" cy="504825"/>
            </a:xfrm>
            <a:custGeom>
              <a:avLst/>
              <a:gdLst/>
              <a:ahLst/>
              <a:cxnLst/>
              <a:rect l="l" t="t" r="r" b="b"/>
              <a:pathLst>
                <a:path w="3027045" h="504825">
                  <a:moveTo>
                    <a:pt x="0" y="252222"/>
                  </a:moveTo>
                  <a:lnTo>
                    <a:pt x="4062" y="206879"/>
                  </a:lnTo>
                  <a:lnTo>
                    <a:pt x="15777" y="164205"/>
                  </a:lnTo>
                  <a:lnTo>
                    <a:pt x="34431" y="124911"/>
                  </a:lnTo>
                  <a:lnTo>
                    <a:pt x="59312" y="89710"/>
                  </a:lnTo>
                  <a:lnTo>
                    <a:pt x="89710" y="59312"/>
                  </a:lnTo>
                  <a:lnTo>
                    <a:pt x="124911" y="34431"/>
                  </a:lnTo>
                  <a:lnTo>
                    <a:pt x="164205" y="15777"/>
                  </a:lnTo>
                  <a:lnTo>
                    <a:pt x="206879" y="4062"/>
                  </a:lnTo>
                  <a:lnTo>
                    <a:pt x="252222" y="0"/>
                  </a:lnTo>
                  <a:lnTo>
                    <a:pt x="2774442" y="0"/>
                  </a:lnTo>
                  <a:lnTo>
                    <a:pt x="2819784" y="4062"/>
                  </a:lnTo>
                  <a:lnTo>
                    <a:pt x="2862458" y="15777"/>
                  </a:lnTo>
                  <a:lnTo>
                    <a:pt x="2901752" y="34431"/>
                  </a:lnTo>
                  <a:lnTo>
                    <a:pt x="2936953" y="59312"/>
                  </a:lnTo>
                  <a:lnTo>
                    <a:pt x="2967351" y="89710"/>
                  </a:lnTo>
                  <a:lnTo>
                    <a:pt x="2992232" y="124911"/>
                  </a:lnTo>
                  <a:lnTo>
                    <a:pt x="3010886" y="164205"/>
                  </a:lnTo>
                  <a:lnTo>
                    <a:pt x="3022601" y="206879"/>
                  </a:lnTo>
                  <a:lnTo>
                    <a:pt x="3026664" y="252222"/>
                  </a:lnTo>
                  <a:lnTo>
                    <a:pt x="3022601" y="297564"/>
                  </a:lnTo>
                  <a:lnTo>
                    <a:pt x="3010886" y="340238"/>
                  </a:lnTo>
                  <a:lnTo>
                    <a:pt x="2992232" y="379532"/>
                  </a:lnTo>
                  <a:lnTo>
                    <a:pt x="2967351" y="414733"/>
                  </a:lnTo>
                  <a:lnTo>
                    <a:pt x="2936953" y="445131"/>
                  </a:lnTo>
                  <a:lnTo>
                    <a:pt x="2901752" y="470012"/>
                  </a:lnTo>
                  <a:lnTo>
                    <a:pt x="2862458" y="488666"/>
                  </a:lnTo>
                  <a:lnTo>
                    <a:pt x="2819784" y="500381"/>
                  </a:lnTo>
                  <a:lnTo>
                    <a:pt x="2774442" y="504444"/>
                  </a:lnTo>
                  <a:lnTo>
                    <a:pt x="252222" y="504444"/>
                  </a:lnTo>
                  <a:lnTo>
                    <a:pt x="206879" y="500381"/>
                  </a:lnTo>
                  <a:lnTo>
                    <a:pt x="164205" y="488666"/>
                  </a:lnTo>
                  <a:lnTo>
                    <a:pt x="124911" y="470012"/>
                  </a:lnTo>
                  <a:lnTo>
                    <a:pt x="89710" y="445131"/>
                  </a:lnTo>
                  <a:lnTo>
                    <a:pt x="59312" y="414733"/>
                  </a:lnTo>
                  <a:lnTo>
                    <a:pt x="34431" y="379532"/>
                  </a:lnTo>
                  <a:lnTo>
                    <a:pt x="15777" y="340238"/>
                  </a:lnTo>
                  <a:lnTo>
                    <a:pt x="4062" y="297564"/>
                  </a:lnTo>
                  <a:lnTo>
                    <a:pt x="0" y="252222"/>
                  </a:lnTo>
                  <a:close/>
                </a:path>
              </a:pathLst>
            </a:custGeom>
            <a:ln w="9525">
              <a:solidFill>
                <a:srgbClr val="00A633"/>
              </a:solidFill>
            </a:ln>
          </p:spPr>
          <p:txBody>
            <a:bodyPr wrap="square" lIns="0" tIns="0" rIns="0" bIns="0" rtlCol="0"/>
            <a:lstStyle/>
            <a:p>
              <a:pPr defTabSz="914309"/>
              <a:endParaRPr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5" name="object 35"/>
            <p:cNvSpPr/>
            <p:nvPr/>
          </p:nvSpPr>
          <p:spPr>
            <a:xfrm>
              <a:off x="7187183" y="2665476"/>
              <a:ext cx="504825" cy="1469390"/>
            </a:xfrm>
            <a:custGeom>
              <a:avLst/>
              <a:gdLst/>
              <a:ahLst/>
              <a:cxnLst/>
              <a:rect l="l" t="t" r="r" b="b"/>
              <a:pathLst>
                <a:path w="504825" h="1469389">
                  <a:moveTo>
                    <a:pt x="252222" y="0"/>
                  </a:moveTo>
                  <a:lnTo>
                    <a:pt x="206879" y="4062"/>
                  </a:lnTo>
                  <a:lnTo>
                    <a:pt x="164205" y="15777"/>
                  </a:lnTo>
                  <a:lnTo>
                    <a:pt x="124911" y="34431"/>
                  </a:lnTo>
                  <a:lnTo>
                    <a:pt x="89710" y="59312"/>
                  </a:lnTo>
                  <a:lnTo>
                    <a:pt x="59312" y="89710"/>
                  </a:lnTo>
                  <a:lnTo>
                    <a:pt x="34431" y="124911"/>
                  </a:lnTo>
                  <a:lnTo>
                    <a:pt x="15777" y="164205"/>
                  </a:lnTo>
                  <a:lnTo>
                    <a:pt x="4062" y="206879"/>
                  </a:lnTo>
                  <a:lnTo>
                    <a:pt x="0" y="252222"/>
                  </a:lnTo>
                  <a:lnTo>
                    <a:pt x="0" y="1216914"/>
                  </a:lnTo>
                  <a:lnTo>
                    <a:pt x="4062" y="1262256"/>
                  </a:lnTo>
                  <a:lnTo>
                    <a:pt x="15777" y="1304930"/>
                  </a:lnTo>
                  <a:lnTo>
                    <a:pt x="34431" y="1344224"/>
                  </a:lnTo>
                  <a:lnTo>
                    <a:pt x="59312" y="1379425"/>
                  </a:lnTo>
                  <a:lnTo>
                    <a:pt x="89710" y="1409823"/>
                  </a:lnTo>
                  <a:lnTo>
                    <a:pt x="124911" y="1434704"/>
                  </a:lnTo>
                  <a:lnTo>
                    <a:pt x="164205" y="1453358"/>
                  </a:lnTo>
                  <a:lnTo>
                    <a:pt x="206879" y="1465073"/>
                  </a:lnTo>
                  <a:lnTo>
                    <a:pt x="252222" y="1469136"/>
                  </a:lnTo>
                  <a:lnTo>
                    <a:pt x="297564" y="1465073"/>
                  </a:lnTo>
                  <a:lnTo>
                    <a:pt x="340238" y="1453358"/>
                  </a:lnTo>
                  <a:lnTo>
                    <a:pt x="379532" y="1434704"/>
                  </a:lnTo>
                  <a:lnTo>
                    <a:pt x="414733" y="1409823"/>
                  </a:lnTo>
                  <a:lnTo>
                    <a:pt x="445131" y="1379425"/>
                  </a:lnTo>
                  <a:lnTo>
                    <a:pt x="470012" y="1344224"/>
                  </a:lnTo>
                  <a:lnTo>
                    <a:pt x="488666" y="1304930"/>
                  </a:lnTo>
                  <a:lnTo>
                    <a:pt x="500381" y="1262256"/>
                  </a:lnTo>
                  <a:lnTo>
                    <a:pt x="504444" y="1216914"/>
                  </a:lnTo>
                  <a:lnTo>
                    <a:pt x="504444" y="252222"/>
                  </a:lnTo>
                  <a:lnTo>
                    <a:pt x="500381" y="206879"/>
                  </a:lnTo>
                  <a:lnTo>
                    <a:pt x="488666" y="164205"/>
                  </a:lnTo>
                  <a:lnTo>
                    <a:pt x="470012" y="124911"/>
                  </a:lnTo>
                  <a:lnTo>
                    <a:pt x="445131" y="89710"/>
                  </a:lnTo>
                  <a:lnTo>
                    <a:pt x="414733" y="59312"/>
                  </a:lnTo>
                  <a:lnTo>
                    <a:pt x="379532" y="34431"/>
                  </a:lnTo>
                  <a:lnTo>
                    <a:pt x="340238" y="15777"/>
                  </a:lnTo>
                  <a:lnTo>
                    <a:pt x="297564" y="4062"/>
                  </a:lnTo>
                  <a:lnTo>
                    <a:pt x="252222" y="0"/>
                  </a:lnTo>
                  <a:close/>
                </a:path>
              </a:pathLst>
            </a:custGeom>
            <a:solidFill>
              <a:srgbClr val="00A633"/>
            </a:solidFill>
          </p:spPr>
          <p:txBody>
            <a:bodyPr wrap="square" lIns="0" tIns="0" rIns="0" bIns="0" rtlCol="0"/>
            <a:lstStyle/>
            <a:p>
              <a:pPr defTabSz="914309"/>
              <a:endParaRPr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6" name="object 36"/>
            <p:cNvSpPr/>
            <p:nvPr/>
          </p:nvSpPr>
          <p:spPr>
            <a:xfrm>
              <a:off x="7187183" y="2665476"/>
              <a:ext cx="504825" cy="1469390"/>
            </a:xfrm>
            <a:custGeom>
              <a:avLst/>
              <a:gdLst/>
              <a:ahLst/>
              <a:cxnLst/>
              <a:rect l="l" t="t" r="r" b="b"/>
              <a:pathLst>
                <a:path w="504825" h="1469389">
                  <a:moveTo>
                    <a:pt x="252222" y="1469136"/>
                  </a:moveTo>
                  <a:lnTo>
                    <a:pt x="206879" y="1465073"/>
                  </a:lnTo>
                  <a:lnTo>
                    <a:pt x="164205" y="1453358"/>
                  </a:lnTo>
                  <a:lnTo>
                    <a:pt x="124911" y="1434704"/>
                  </a:lnTo>
                  <a:lnTo>
                    <a:pt x="89710" y="1409823"/>
                  </a:lnTo>
                  <a:lnTo>
                    <a:pt x="59312" y="1379425"/>
                  </a:lnTo>
                  <a:lnTo>
                    <a:pt x="34431" y="1344224"/>
                  </a:lnTo>
                  <a:lnTo>
                    <a:pt x="15777" y="1304930"/>
                  </a:lnTo>
                  <a:lnTo>
                    <a:pt x="4062" y="1262256"/>
                  </a:lnTo>
                  <a:lnTo>
                    <a:pt x="0" y="1216914"/>
                  </a:lnTo>
                  <a:lnTo>
                    <a:pt x="0" y="252222"/>
                  </a:lnTo>
                  <a:lnTo>
                    <a:pt x="4062" y="206879"/>
                  </a:lnTo>
                  <a:lnTo>
                    <a:pt x="15777" y="164205"/>
                  </a:lnTo>
                  <a:lnTo>
                    <a:pt x="34431" y="124911"/>
                  </a:lnTo>
                  <a:lnTo>
                    <a:pt x="59312" y="89710"/>
                  </a:lnTo>
                  <a:lnTo>
                    <a:pt x="89710" y="59312"/>
                  </a:lnTo>
                  <a:lnTo>
                    <a:pt x="124911" y="34431"/>
                  </a:lnTo>
                  <a:lnTo>
                    <a:pt x="164205" y="15777"/>
                  </a:lnTo>
                  <a:lnTo>
                    <a:pt x="206879" y="4062"/>
                  </a:lnTo>
                  <a:lnTo>
                    <a:pt x="252222" y="0"/>
                  </a:lnTo>
                  <a:lnTo>
                    <a:pt x="297564" y="4062"/>
                  </a:lnTo>
                  <a:lnTo>
                    <a:pt x="340238" y="15777"/>
                  </a:lnTo>
                  <a:lnTo>
                    <a:pt x="379532" y="34431"/>
                  </a:lnTo>
                  <a:lnTo>
                    <a:pt x="414733" y="59312"/>
                  </a:lnTo>
                  <a:lnTo>
                    <a:pt x="445131" y="89710"/>
                  </a:lnTo>
                  <a:lnTo>
                    <a:pt x="470012" y="124911"/>
                  </a:lnTo>
                  <a:lnTo>
                    <a:pt x="488666" y="164205"/>
                  </a:lnTo>
                  <a:lnTo>
                    <a:pt x="500381" y="206879"/>
                  </a:lnTo>
                  <a:lnTo>
                    <a:pt x="504444" y="252222"/>
                  </a:lnTo>
                  <a:lnTo>
                    <a:pt x="504444" y="1216914"/>
                  </a:lnTo>
                  <a:lnTo>
                    <a:pt x="500381" y="1262256"/>
                  </a:lnTo>
                  <a:lnTo>
                    <a:pt x="488666" y="1304930"/>
                  </a:lnTo>
                  <a:lnTo>
                    <a:pt x="470012" y="1344224"/>
                  </a:lnTo>
                  <a:lnTo>
                    <a:pt x="445131" y="1379425"/>
                  </a:lnTo>
                  <a:lnTo>
                    <a:pt x="414733" y="1409823"/>
                  </a:lnTo>
                  <a:lnTo>
                    <a:pt x="379532" y="1434704"/>
                  </a:lnTo>
                  <a:lnTo>
                    <a:pt x="340238" y="1453358"/>
                  </a:lnTo>
                  <a:lnTo>
                    <a:pt x="297564" y="1465073"/>
                  </a:lnTo>
                  <a:lnTo>
                    <a:pt x="252222" y="1469136"/>
                  </a:lnTo>
                  <a:close/>
                </a:path>
              </a:pathLst>
            </a:custGeom>
            <a:ln w="9525">
              <a:solidFill>
                <a:srgbClr val="36A162"/>
              </a:solidFill>
            </a:ln>
          </p:spPr>
          <p:txBody>
            <a:bodyPr wrap="square" lIns="0" tIns="0" rIns="0" bIns="0" rtlCol="0"/>
            <a:lstStyle/>
            <a:p>
              <a:pPr defTabSz="914309"/>
              <a:endParaRPr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7" name="object 37"/>
            <p:cNvSpPr/>
            <p:nvPr/>
          </p:nvSpPr>
          <p:spPr>
            <a:xfrm>
              <a:off x="7036307" y="2528316"/>
              <a:ext cx="807720" cy="706120"/>
            </a:xfrm>
            <a:custGeom>
              <a:avLst/>
              <a:gdLst/>
              <a:ahLst/>
              <a:cxnLst/>
              <a:rect l="l" t="t" r="r" b="b"/>
              <a:pathLst>
                <a:path w="807720" h="706119">
                  <a:moveTo>
                    <a:pt x="403860" y="0"/>
                  </a:moveTo>
                  <a:lnTo>
                    <a:pt x="0" y="352806"/>
                  </a:lnTo>
                  <a:lnTo>
                    <a:pt x="201930" y="352806"/>
                  </a:lnTo>
                  <a:lnTo>
                    <a:pt x="201930" y="705612"/>
                  </a:lnTo>
                  <a:lnTo>
                    <a:pt x="605790" y="705612"/>
                  </a:lnTo>
                  <a:lnTo>
                    <a:pt x="605790" y="352806"/>
                  </a:lnTo>
                  <a:lnTo>
                    <a:pt x="807720" y="352806"/>
                  </a:lnTo>
                  <a:lnTo>
                    <a:pt x="403860" y="0"/>
                  </a:lnTo>
                  <a:close/>
                </a:path>
              </a:pathLst>
            </a:custGeom>
            <a:solidFill>
              <a:srgbClr val="00A633"/>
            </a:solidFill>
          </p:spPr>
          <p:txBody>
            <a:bodyPr wrap="square" lIns="0" tIns="0" rIns="0" bIns="0" rtlCol="0"/>
            <a:lstStyle/>
            <a:p>
              <a:pPr defTabSz="914309"/>
              <a:endParaRPr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8" name="object 38"/>
            <p:cNvSpPr/>
            <p:nvPr/>
          </p:nvSpPr>
          <p:spPr>
            <a:xfrm>
              <a:off x="7036307" y="2528316"/>
              <a:ext cx="807720" cy="706120"/>
            </a:xfrm>
            <a:custGeom>
              <a:avLst/>
              <a:gdLst/>
              <a:ahLst/>
              <a:cxnLst/>
              <a:rect l="l" t="t" r="r" b="b"/>
              <a:pathLst>
                <a:path w="807720" h="706119">
                  <a:moveTo>
                    <a:pt x="0" y="352806"/>
                  </a:moveTo>
                  <a:lnTo>
                    <a:pt x="403860" y="0"/>
                  </a:lnTo>
                  <a:lnTo>
                    <a:pt x="807720" y="352806"/>
                  </a:lnTo>
                  <a:lnTo>
                    <a:pt x="605790" y="352806"/>
                  </a:lnTo>
                  <a:lnTo>
                    <a:pt x="605790" y="705612"/>
                  </a:lnTo>
                  <a:lnTo>
                    <a:pt x="201930" y="705612"/>
                  </a:lnTo>
                  <a:lnTo>
                    <a:pt x="201930" y="352806"/>
                  </a:lnTo>
                  <a:lnTo>
                    <a:pt x="0" y="352806"/>
                  </a:lnTo>
                  <a:close/>
                </a:path>
              </a:pathLst>
            </a:custGeom>
            <a:ln w="9525">
              <a:solidFill>
                <a:srgbClr val="36A162"/>
              </a:solidFill>
            </a:ln>
          </p:spPr>
          <p:txBody>
            <a:bodyPr wrap="square" lIns="0" tIns="0" rIns="0" bIns="0" rtlCol="0"/>
            <a:lstStyle/>
            <a:p>
              <a:pPr defTabSz="914309"/>
              <a:endParaRPr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39" name="object 39"/>
          <p:cNvSpPr txBox="1"/>
          <p:nvPr/>
        </p:nvSpPr>
        <p:spPr>
          <a:xfrm>
            <a:off x="1397358" y="5804708"/>
            <a:ext cx="601902" cy="191694"/>
          </a:xfrm>
          <a:prstGeom prst="rect">
            <a:avLst/>
          </a:prstGeom>
        </p:spPr>
        <p:txBody>
          <a:bodyPr vert="horz" wrap="square" lIns="0" tIns="14603" rIns="0" bIns="0" rtlCol="0">
            <a:spAutoFit/>
          </a:bodyPr>
          <a:lstStyle/>
          <a:p>
            <a:pPr marL="12699" defTabSz="914309">
              <a:spcBef>
                <a:spcPts val="115"/>
              </a:spcBef>
            </a:pPr>
            <a:r>
              <a:rPr sz="1150" b="1" kern="0" spc="-10" dirty="0">
                <a:solidFill>
                  <a:sysClr val="windowText" lastClr="000000"/>
                </a:solidFill>
                <a:latin typeface="Calibri"/>
                <a:cs typeface="Calibri"/>
              </a:rPr>
              <a:t>INDIRECT</a:t>
            </a:r>
            <a:endParaRPr sz="1150" kern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40" name="object 40"/>
          <p:cNvSpPr txBox="1"/>
          <p:nvPr/>
        </p:nvSpPr>
        <p:spPr>
          <a:xfrm>
            <a:off x="1373739" y="6112415"/>
            <a:ext cx="2006974" cy="199388"/>
          </a:xfrm>
          <a:prstGeom prst="rect">
            <a:avLst/>
          </a:prstGeom>
          <a:ln w="9525">
            <a:solidFill>
              <a:srgbClr val="00A633"/>
            </a:solidFill>
          </a:ln>
        </p:spPr>
        <p:txBody>
          <a:bodyPr vert="horz" wrap="square" lIns="0" tIns="29841" rIns="0" bIns="0" rtlCol="0">
            <a:spAutoFit/>
          </a:bodyPr>
          <a:lstStyle/>
          <a:p>
            <a:pPr marL="441281" defTabSz="914309">
              <a:spcBef>
                <a:spcPts val="235"/>
              </a:spcBef>
            </a:pPr>
            <a:r>
              <a:rPr sz="1100" b="1" kern="0" dirty="0">
                <a:solidFill>
                  <a:sysClr val="windowText" lastClr="000000"/>
                </a:solidFill>
                <a:latin typeface="Calibri"/>
                <a:cs typeface="Calibri"/>
              </a:rPr>
              <a:t>upstream </a:t>
            </a:r>
            <a:r>
              <a:rPr sz="1100" b="1" kern="0" spc="-10" dirty="0">
                <a:solidFill>
                  <a:sysClr val="windowText" lastClr="000000"/>
                </a:solidFill>
                <a:latin typeface="Calibri"/>
                <a:cs typeface="Calibri"/>
              </a:rPr>
              <a:t>activities</a:t>
            </a:r>
            <a:endParaRPr sz="1100" kern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41" name="object 41"/>
          <p:cNvSpPr txBox="1"/>
          <p:nvPr/>
        </p:nvSpPr>
        <p:spPr>
          <a:xfrm>
            <a:off x="8860176" y="6113940"/>
            <a:ext cx="2078718" cy="200029"/>
          </a:xfrm>
          <a:prstGeom prst="rect">
            <a:avLst/>
          </a:prstGeom>
          <a:ln w="9525">
            <a:solidFill>
              <a:srgbClr val="00A633"/>
            </a:solidFill>
          </a:ln>
        </p:spPr>
        <p:txBody>
          <a:bodyPr vert="horz" wrap="square" lIns="0" tIns="30476" rIns="0" bIns="0" rtlCol="0">
            <a:spAutoFit/>
          </a:bodyPr>
          <a:lstStyle/>
          <a:p>
            <a:pPr marL="387946" defTabSz="914309">
              <a:spcBef>
                <a:spcPts val="240"/>
              </a:spcBef>
            </a:pPr>
            <a:r>
              <a:rPr sz="1100" b="1" kern="0" dirty="0">
                <a:solidFill>
                  <a:sysClr val="windowText" lastClr="000000"/>
                </a:solidFill>
                <a:latin typeface="Calibri"/>
                <a:cs typeface="Calibri"/>
              </a:rPr>
              <a:t>downstream</a:t>
            </a:r>
            <a:r>
              <a:rPr sz="1100" b="1" kern="0" spc="20" dirty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1100" b="1" kern="0" spc="-10" dirty="0">
                <a:solidFill>
                  <a:sysClr val="windowText" lastClr="000000"/>
                </a:solidFill>
                <a:latin typeface="Calibri"/>
                <a:cs typeface="Calibri"/>
              </a:rPr>
              <a:t>activities</a:t>
            </a:r>
            <a:endParaRPr sz="1100" kern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grpSp>
        <p:nvGrpSpPr>
          <p:cNvPr id="42" name="object 42"/>
          <p:cNvGrpSpPr/>
          <p:nvPr/>
        </p:nvGrpSpPr>
        <p:grpSpPr>
          <a:xfrm>
            <a:off x="3298300" y="1391677"/>
            <a:ext cx="4507913" cy="1081899"/>
            <a:chOff x="3297935" y="1391411"/>
            <a:chExt cx="4508500" cy="1082040"/>
          </a:xfrm>
        </p:grpSpPr>
        <p:pic>
          <p:nvPicPr>
            <p:cNvPr id="43" name="object 43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3297935" y="1391411"/>
              <a:ext cx="1312164" cy="1082039"/>
            </a:xfrm>
            <a:prstGeom prst="rect">
              <a:avLst/>
            </a:prstGeom>
          </p:spPr>
        </p:pic>
        <p:sp>
          <p:nvSpPr>
            <p:cNvPr id="44" name="object 44"/>
            <p:cNvSpPr/>
            <p:nvPr/>
          </p:nvSpPr>
          <p:spPr>
            <a:xfrm>
              <a:off x="6943344" y="1502663"/>
              <a:ext cx="862965" cy="856615"/>
            </a:xfrm>
            <a:custGeom>
              <a:avLst/>
              <a:gdLst/>
              <a:ahLst/>
              <a:cxnLst/>
              <a:rect l="l" t="t" r="r" b="b"/>
              <a:pathLst>
                <a:path w="862965" h="856614">
                  <a:moveTo>
                    <a:pt x="431291" y="0"/>
                  </a:moveTo>
                  <a:lnTo>
                    <a:pt x="384288" y="2513"/>
                  </a:lnTo>
                  <a:lnTo>
                    <a:pt x="338752" y="9879"/>
                  </a:lnTo>
                  <a:lnTo>
                    <a:pt x="294948" y="21835"/>
                  </a:lnTo>
                  <a:lnTo>
                    <a:pt x="253138" y="38122"/>
                  </a:lnTo>
                  <a:lnTo>
                    <a:pt x="213585" y="58476"/>
                  </a:lnTo>
                  <a:lnTo>
                    <a:pt x="176552" y="82637"/>
                  </a:lnTo>
                  <a:lnTo>
                    <a:pt x="142301" y="110343"/>
                  </a:lnTo>
                  <a:lnTo>
                    <a:pt x="111095" y="141333"/>
                  </a:lnTo>
                  <a:lnTo>
                    <a:pt x="83198" y="175345"/>
                  </a:lnTo>
                  <a:lnTo>
                    <a:pt x="58871" y="212118"/>
                  </a:lnTo>
                  <a:lnTo>
                    <a:pt x="38378" y="251390"/>
                  </a:lnTo>
                  <a:lnTo>
                    <a:pt x="21982" y="292900"/>
                  </a:lnTo>
                  <a:lnTo>
                    <a:pt x="9945" y="336387"/>
                  </a:lnTo>
                  <a:lnTo>
                    <a:pt x="2530" y="381588"/>
                  </a:lnTo>
                  <a:lnTo>
                    <a:pt x="0" y="428244"/>
                  </a:lnTo>
                  <a:lnTo>
                    <a:pt x="2530" y="474899"/>
                  </a:lnTo>
                  <a:lnTo>
                    <a:pt x="9945" y="520100"/>
                  </a:lnTo>
                  <a:lnTo>
                    <a:pt x="21982" y="563587"/>
                  </a:lnTo>
                  <a:lnTo>
                    <a:pt x="38378" y="605097"/>
                  </a:lnTo>
                  <a:lnTo>
                    <a:pt x="58871" y="644369"/>
                  </a:lnTo>
                  <a:lnTo>
                    <a:pt x="83198" y="681142"/>
                  </a:lnTo>
                  <a:lnTo>
                    <a:pt x="111095" y="715154"/>
                  </a:lnTo>
                  <a:lnTo>
                    <a:pt x="142301" y="746144"/>
                  </a:lnTo>
                  <a:lnTo>
                    <a:pt x="176552" y="773850"/>
                  </a:lnTo>
                  <a:lnTo>
                    <a:pt x="213585" y="798011"/>
                  </a:lnTo>
                  <a:lnTo>
                    <a:pt x="253138" y="818365"/>
                  </a:lnTo>
                  <a:lnTo>
                    <a:pt x="294948" y="834652"/>
                  </a:lnTo>
                  <a:lnTo>
                    <a:pt x="338752" y="846608"/>
                  </a:lnTo>
                  <a:lnTo>
                    <a:pt x="384288" y="853974"/>
                  </a:lnTo>
                  <a:lnTo>
                    <a:pt x="431291" y="856488"/>
                  </a:lnTo>
                  <a:lnTo>
                    <a:pt x="478295" y="853974"/>
                  </a:lnTo>
                  <a:lnTo>
                    <a:pt x="523831" y="846608"/>
                  </a:lnTo>
                  <a:lnTo>
                    <a:pt x="567635" y="834652"/>
                  </a:lnTo>
                  <a:lnTo>
                    <a:pt x="609445" y="818365"/>
                  </a:lnTo>
                  <a:lnTo>
                    <a:pt x="648998" y="798011"/>
                  </a:lnTo>
                  <a:lnTo>
                    <a:pt x="686031" y="773850"/>
                  </a:lnTo>
                  <a:lnTo>
                    <a:pt x="720282" y="746144"/>
                  </a:lnTo>
                  <a:lnTo>
                    <a:pt x="751488" y="715154"/>
                  </a:lnTo>
                  <a:lnTo>
                    <a:pt x="779385" y="681142"/>
                  </a:lnTo>
                  <a:lnTo>
                    <a:pt x="803712" y="644369"/>
                  </a:lnTo>
                  <a:lnTo>
                    <a:pt x="824205" y="605097"/>
                  </a:lnTo>
                  <a:lnTo>
                    <a:pt x="840601" y="563587"/>
                  </a:lnTo>
                  <a:lnTo>
                    <a:pt x="852638" y="520100"/>
                  </a:lnTo>
                  <a:lnTo>
                    <a:pt x="860053" y="474899"/>
                  </a:lnTo>
                  <a:lnTo>
                    <a:pt x="862583" y="428244"/>
                  </a:lnTo>
                  <a:lnTo>
                    <a:pt x="860053" y="381588"/>
                  </a:lnTo>
                  <a:lnTo>
                    <a:pt x="852638" y="336387"/>
                  </a:lnTo>
                  <a:lnTo>
                    <a:pt x="840601" y="292900"/>
                  </a:lnTo>
                  <a:lnTo>
                    <a:pt x="824205" y="251390"/>
                  </a:lnTo>
                  <a:lnTo>
                    <a:pt x="803712" y="212118"/>
                  </a:lnTo>
                  <a:lnTo>
                    <a:pt x="779385" y="175345"/>
                  </a:lnTo>
                  <a:lnTo>
                    <a:pt x="751488" y="141333"/>
                  </a:lnTo>
                  <a:lnTo>
                    <a:pt x="720282" y="110343"/>
                  </a:lnTo>
                  <a:lnTo>
                    <a:pt x="686031" y="82637"/>
                  </a:lnTo>
                  <a:lnTo>
                    <a:pt x="648998" y="58476"/>
                  </a:lnTo>
                  <a:lnTo>
                    <a:pt x="609445" y="38122"/>
                  </a:lnTo>
                  <a:lnTo>
                    <a:pt x="567635" y="21835"/>
                  </a:lnTo>
                  <a:lnTo>
                    <a:pt x="523831" y="9879"/>
                  </a:lnTo>
                  <a:lnTo>
                    <a:pt x="478295" y="2513"/>
                  </a:lnTo>
                  <a:lnTo>
                    <a:pt x="431291" y="0"/>
                  </a:lnTo>
                  <a:close/>
                </a:path>
              </a:pathLst>
            </a:custGeom>
            <a:solidFill>
              <a:srgbClr val="99A1B8"/>
            </a:solidFill>
          </p:spPr>
          <p:txBody>
            <a:bodyPr wrap="square" lIns="0" tIns="0" rIns="0" bIns="0" rtlCol="0"/>
            <a:lstStyle/>
            <a:p>
              <a:pPr defTabSz="914309"/>
              <a:endParaRPr kern="0">
                <a:solidFill>
                  <a:sysClr val="windowText" lastClr="000000"/>
                </a:solidFill>
              </a:endParaRPr>
            </a:p>
          </p:txBody>
        </p:sp>
        <p:pic>
          <p:nvPicPr>
            <p:cNvPr id="45" name="object 45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7016495" y="1574291"/>
              <a:ext cx="714755" cy="710184"/>
            </a:xfrm>
            <a:prstGeom prst="rect">
              <a:avLst/>
            </a:prstGeom>
          </p:spPr>
        </p:pic>
      </p:grpSp>
      <p:sp>
        <p:nvSpPr>
          <p:cNvPr id="46" name="object 46"/>
          <p:cNvSpPr txBox="1"/>
          <p:nvPr/>
        </p:nvSpPr>
        <p:spPr>
          <a:xfrm>
            <a:off x="7142344" y="1773389"/>
            <a:ext cx="469204" cy="313014"/>
          </a:xfrm>
          <a:prstGeom prst="rect">
            <a:avLst/>
          </a:prstGeom>
        </p:spPr>
        <p:txBody>
          <a:bodyPr vert="horz" wrap="square" lIns="0" tIns="16508" rIns="0" bIns="0" rtlCol="0">
            <a:spAutoFit/>
          </a:bodyPr>
          <a:lstStyle/>
          <a:p>
            <a:pPr marL="12699" defTabSz="914309">
              <a:spcBef>
                <a:spcPts val="130"/>
              </a:spcBef>
            </a:pPr>
            <a:r>
              <a:rPr sz="1850" kern="0" spc="-25" dirty="0">
                <a:solidFill>
                  <a:srgbClr val="FFFFFF"/>
                </a:solidFill>
                <a:latin typeface="Calibri"/>
                <a:cs typeface="Calibri"/>
              </a:rPr>
              <a:t>FKW</a:t>
            </a:r>
            <a:endParaRPr sz="1850" kern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grpSp>
        <p:nvGrpSpPr>
          <p:cNvPr id="47" name="object 47"/>
          <p:cNvGrpSpPr/>
          <p:nvPr/>
        </p:nvGrpSpPr>
        <p:grpSpPr>
          <a:xfrm>
            <a:off x="4698483" y="1485963"/>
            <a:ext cx="872376" cy="866027"/>
            <a:chOff x="4698301" y="1485709"/>
            <a:chExt cx="872490" cy="866140"/>
          </a:xfrm>
        </p:grpSpPr>
        <p:sp>
          <p:nvSpPr>
            <p:cNvPr id="48" name="object 48"/>
            <p:cNvSpPr/>
            <p:nvPr/>
          </p:nvSpPr>
          <p:spPr>
            <a:xfrm>
              <a:off x="4703064" y="1490472"/>
              <a:ext cx="862965" cy="856615"/>
            </a:xfrm>
            <a:custGeom>
              <a:avLst/>
              <a:gdLst/>
              <a:ahLst/>
              <a:cxnLst/>
              <a:rect l="l" t="t" r="r" b="b"/>
              <a:pathLst>
                <a:path w="862964" h="856614">
                  <a:moveTo>
                    <a:pt x="431291" y="0"/>
                  </a:moveTo>
                  <a:lnTo>
                    <a:pt x="384288" y="2513"/>
                  </a:lnTo>
                  <a:lnTo>
                    <a:pt x="338752" y="9879"/>
                  </a:lnTo>
                  <a:lnTo>
                    <a:pt x="294948" y="21835"/>
                  </a:lnTo>
                  <a:lnTo>
                    <a:pt x="253138" y="38122"/>
                  </a:lnTo>
                  <a:lnTo>
                    <a:pt x="213585" y="58476"/>
                  </a:lnTo>
                  <a:lnTo>
                    <a:pt x="176552" y="82637"/>
                  </a:lnTo>
                  <a:lnTo>
                    <a:pt x="142301" y="110343"/>
                  </a:lnTo>
                  <a:lnTo>
                    <a:pt x="111095" y="141333"/>
                  </a:lnTo>
                  <a:lnTo>
                    <a:pt x="83198" y="175345"/>
                  </a:lnTo>
                  <a:lnTo>
                    <a:pt x="58871" y="212118"/>
                  </a:lnTo>
                  <a:lnTo>
                    <a:pt x="38378" y="251390"/>
                  </a:lnTo>
                  <a:lnTo>
                    <a:pt x="21982" y="292900"/>
                  </a:lnTo>
                  <a:lnTo>
                    <a:pt x="9945" y="336387"/>
                  </a:lnTo>
                  <a:lnTo>
                    <a:pt x="2530" y="381588"/>
                  </a:lnTo>
                  <a:lnTo>
                    <a:pt x="0" y="428243"/>
                  </a:lnTo>
                  <a:lnTo>
                    <a:pt x="2530" y="474899"/>
                  </a:lnTo>
                  <a:lnTo>
                    <a:pt x="9945" y="520100"/>
                  </a:lnTo>
                  <a:lnTo>
                    <a:pt x="21982" y="563587"/>
                  </a:lnTo>
                  <a:lnTo>
                    <a:pt x="38378" y="605097"/>
                  </a:lnTo>
                  <a:lnTo>
                    <a:pt x="58871" y="644369"/>
                  </a:lnTo>
                  <a:lnTo>
                    <a:pt x="83198" y="681142"/>
                  </a:lnTo>
                  <a:lnTo>
                    <a:pt x="111095" y="715154"/>
                  </a:lnTo>
                  <a:lnTo>
                    <a:pt x="142301" y="746144"/>
                  </a:lnTo>
                  <a:lnTo>
                    <a:pt x="176552" y="773850"/>
                  </a:lnTo>
                  <a:lnTo>
                    <a:pt x="213585" y="798011"/>
                  </a:lnTo>
                  <a:lnTo>
                    <a:pt x="253138" y="818365"/>
                  </a:lnTo>
                  <a:lnTo>
                    <a:pt x="294948" y="834652"/>
                  </a:lnTo>
                  <a:lnTo>
                    <a:pt x="338752" y="846608"/>
                  </a:lnTo>
                  <a:lnTo>
                    <a:pt x="384288" y="853974"/>
                  </a:lnTo>
                  <a:lnTo>
                    <a:pt x="431291" y="856488"/>
                  </a:lnTo>
                  <a:lnTo>
                    <a:pt x="478295" y="853974"/>
                  </a:lnTo>
                  <a:lnTo>
                    <a:pt x="523831" y="846608"/>
                  </a:lnTo>
                  <a:lnTo>
                    <a:pt x="567635" y="834652"/>
                  </a:lnTo>
                  <a:lnTo>
                    <a:pt x="609445" y="818365"/>
                  </a:lnTo>
                  <a:lnTo>
                    <a:pt x="648998" y="798011"/>
                  </a:lnTo>
                  <a:lnTo>
                    <a:pt x="686031" y="773850"/>
                  </a:lnTo>
                  <a:lnTo>
                    <a:pt x="720282" y="746144"/>
                  </a:lnTo>
                  <a:lnTo>
                    <a:pt x="751488" y="715154"/>
                  </a:lnTo>
                  <a:lnTo>
                    <a:pt x="779385" y="681142"/>
                  </a:lnTo>
                  <a:lnTo>
                    <a:pt x="803712" y="644369"/>
                  </a:lnTo>
                  <a:lnTo>
                    <a:pt x="824205" y="605097"/>
                  </a:lnTo>
                  <a:lnTo>
                    <a:pt x="840601" y="563587"/>
                  </a:lnTo>
                  <a:lnTo>
                    <a:pt x="852638" y="520100"/>
                  </a:lnTo>
                  <a:lnTo>
                    <a:pt x="860053" y="474899"/>
                  </a:lnTo>
                  <a:lnTo>
                    <a:pt x="862584" y="428243"/>
                  </a:lnTo>
                  <a:lnTo>
                    <a:pt x="860053" y="381588"/>
                  </a:lnTo>
                  <a:lnTo>
                    <a:pt x="852638" y="336387"/>
                  </a:lnTo>
                  <a:lnTo>
                    <a:pt x="840601" y="292900"/>
                  </a:lnTo>
                  <a:lnTo>
                    <a:pt x="824205" y="251390"/>
                  </a:lnTo>
                  <a:lnTo>
                    <a:pt x="803712" y="212118"/>
                  </a:lnTo>
                  <a:lnTo>
                    <a:pt x="779385" y="175345"/>
                  </a:lnTo>
                  <a:lnTo>
                    <a:pt x="751488" y="141333"/>
                  </a:lnTo>
                  <a:lnTo>
                    <a:pt x="720282" y="110343"/>
                  </a:lnTo>
                  <a:lnTo>
                    <a:pt x="686031" y="82637"/>
                  </a:lnTo>
                  <a:lnTo>
                    <a:pt x="648998" y="58476"/>
                  </a:lnTo>
                  <a:lnTo>
                    <a:pt x="609445" y="38122"/>
                  </a:lnTo>
                  <a:lnTo>
                    <a:pt x="567635" y="21835"/>
                  </a:lnTo>
                  <a:lnTo>
                    <a:pt x="523831" y="9879"/>
                  </a:lnTo>
                  <a:lnTo>
                    <a:pt x="478295" y="2513"/>
                  </a:lnTo>
                  <a:lnTo>
                    <a:pt x="431291" y="0"/>
                  </a:lnTo>
                  <a:close/>
                </a:path>
              </a:pathLst>
            </a:custGeom>
            <a:solidFill>
              <a:srgbClr val="C1C1C1"/>
            </a:solidFill>
          </p:spPr>
          <p:txBody>
            <a:bodyPr wrap="square" lIns="0" tIns="0" rIns="0" bIns="0" rtlCol="0"/>
            <a:lstStyle/>
            <a:p>
              <a:pPr defTabSz="914309"/>
              <a:endParaRPr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9" name="object 49"/>
            <p:cNvSpPr/>
            <p:nvPr/>
          </p:nvSpPr>
          <p:spPr>
            <a:xfrm>
              <a:off x="4703064" y="1490472"/>
              <a:ext cx="862965" cy="856615"/>
            </a:xfrm>
            <a:custGeom>
              <a:avLst/>
              <a:gdLst/>
              <a:ahLst/>
              <a:cxnLst/>
              <a:rect l="l" t="t" r="r" b="b"/>
              <a:pathLst>
                <a:path w="862964" h="856614">
                  <a:moveTo>
                    <a:pt x="0" y="428243"/>
                  </a:moveTo>
                  <a:lnTo>
                    <a:pt x="2530" y="381588"/>
                  </a:lnTo>
                  <a:lnTo>
                    <a:pt x="9945" y="336387"/>
                  </a:lnTo>
                  <a:lnTo>
                    <a:pt x="21982" y="292900"/>
                  </a:lnTo>
                  <a:lnTo>
                    <a:pt x="38378" y="251390"/>
                  </a:lnTo>
                  <a:lnTo>
                    <a:pt x="58871" y="212118"/>
                  </a:lnTo>
                  <a:lnTo>
                    <a:pt x="83198" y="175345"/>
                  </a:lnTo>
                  <a:lnTo>
                    <a:pt x="111095" y="141333"/>
                  </a:lnTo>
                  <a:lnTo>
                    <a:pt x="142301" y="110343"/>
                  </a:lnTo>
                  <a:lnTo>
                    <a:pt x="176552" y="82637"/>
                  </a:lnTo>
                  <a:lnTo>
                    <a:pt x="213585" y="58476"/>
                  </a:lnTo>
                  <a:lnTo>
                    <a:pt x="253138" y="38122"/>
                  </a:lnTo>
                  <a:lnTo>
                    <a:pt x="294948" y="21835"/>
                  </a:lnTo>
                  <a:lnTo>
                    <a:pt x="338752" y="9879"/>
                  </a:lnTo>
                  <a:lnTo>
                    <a:pt x="384288" y="2513"/>
                  </a:lnTo>
                  <a:lnTo>
                    <a:pt x="431291" y="0"/>
                  </a:lnTo>
                  <a:lnTo>
                    <a:pt x="478295" y="2513"/>
                  </a:lnTo>
                  <a:lnTo>
                    <a:pt x="523831" y="9879"/>
                  </a:lnTo>
                  <a:lnTo>
                    <a:pt x="567635" y="21835"/>
                  </a:lnTo>
                  <a:lnTo>
                    <a:pt x="609445" y="38122"/>
                  </a:lnTo>
                  <a:lnTo>
                    <a:pt x="648998" y="58476"/>
                  </a:lnTo>
                  <a:lnTo>
                    <a:pt x="686031" y="82637"/>
                  </a:lnTo>
                  <a:lnTo>
                    <a:pt x="720282" y="110343"/>
                  </a:lnTo>
                  <a:lnTo>
                    <a:pt x="751488" y="141333"/>
                  </a:lnTo>
                  <a:lnTo>
                    <a:pt x="779385" y="175345"/>
                  </a:lnTo>
                  <a:lnTo>
                    <a:pt x="803712" y="212118"/>
                  </a:lnTo>
                  <a:lnTo>
                    <a:pt x="824205" y="251390"/>
                  </a:lnTo>
                  <a:lnTo>
                    <a:pt x="840601" y="292900"/>
                  </a:lnTo>
                  <a:lnTo>
                    <a:pt x="852638" y="336387"/>
                  </a:lnTo>
                  <a:lnTo>
                    <a:pt x="860053" y="381588"/>
                  </a:lnTo>
                  <a:lnTo>
                    <a:pt x="862584" y="428243"/>
                  </a:lnTo>
                  <a:lnTo>
                    <a:pt x="860053" y="474899"/>
                  </a:lnTo>
                  <a:lnTo>
                    <a:pt x="852638" y="520100"/>
                  </a:lnTo>
                  <a:lnTo>
                    <a:pt x="840601" y="563587"/>
                  </a:lnTo>
                  <a:lnTo>
                    <a:pt x="824205" y="605097"/>
                  </a:lnTo>
                  <a:lnTo>
                    <a:pt x="803712" y="644369"/>
                  </a:lnTo>
                  <a:lnTo>
                    <a:pt x="779385" y="681142"/>
                  </a:lnTo>
                  <a:lnTo>
                    <a:pt x="751488" y="715154"/>
                  </a:lnTo>
                  <a:lnTo>
                    <a:pt x="720282" y="746144"/>
                  </a:lnTo>
                  <a:lnTo>
                    <a:pt x="686031" y="773850"/>
                  </a:lnTo>
                  <a:lnTo>
                    <a:pt x="648998" y="798011"/>
                  </a:lnTo>
                  <a:lnTo>
                    <a:pt x="609445" y="818365"/>
                  </a:lnTo>
                  <a:lnTo>
                    <a:pt x="567635" y="834652"/>
                  </a:lnTo>
                  <a:lnTo>
                    <a:pt x="523831" y="846608"/>
                  </a:lnTo>
                  <a:lnTo>
                    <a:pt x="478295" y="853974"/>
                  </a:lnTo>
                  <a:lnTo>
                    <a:pt x="431291" y="856488"/>
                  </a:lnTo>
                  <a:lnTo>
                    <a:pt x="384288" y="853974"/>
                  </a:lnTo>
                  <a:lnTo>
                    <a:pt x="338752" y="846608"/>
                  </a:lnTo>
                  <a:lnTo>
                    <a:pt x="294948" y="834652"/>
                  </a:lnTo>
                  <a:lnTo>
                    <a:pt x="253138" y="818365"/>
                  </a:lnTo>
                  <a:lnTo>
                    <a:pt x="213585" y="798011"/>
                  </a:lnTo>
                  <a:lnTo>
                    <a:pt x="176552" y="773850"/>
                  </a:lnTo>
                  <a:lnTo>
                    <a:pt x="142301" y="746144"/>
                  </a:lnTo>
                  <a:lnTo>
                    <a:pt x="111095" y="715154"/>
                  </a:lnTo>
                  <a:lnTo>
                    <a:pt x="83198" y="681142"/>
                  </a:lnTo>
                  <a:lnTo>
                    <a:pt x="58871" y="644369"/>
                  </a:lnTo>
                  <a:lnTo>
                    <a:pt x="38378" y="605097"/>
                  </a:lnTo>
                  <a:lnTo>
                    <a:pt x="21982" y="563587"/>
                  </a:lnTo>
                  <a:lnTo>
                    <a:pt x="9945" y="520100"/>
                  </a:lnTo>
                  <a:lnTo>
                    <a:pt x="2530" y="474899"/>
                  </a:lnTo>
                  <a:lnTo>
                    <a:pt x="0" y="428243"/>
                  </a:lnTo>
                  <a:close/>
                </a:path>
              </a:pathLst>
            </a:custGeom>
            <a:ln w="9524">
              <a:solidFill>
                <a:srgbClr val="C1C1C1"/>
              </a:solidFill>
            </a:ln>
          </p:spPr>
          <p:txBody>
            <a:bodyPr wrap="square" lIns="0" tIns="0" rIns="0" bIns="0" rtlCol="0"/>
            <a:lstStyle/>
            <a:p>
              <a:pPr defTabSz="914309"/>
              <a:endParaRPr kern="0">
                <a:solidFill>
                  <a:sysClr val="windowText" lastClr="000000"/>
                </a:solidFill>
              </a:endParaRPr>
            </a:p>
          </p:txBody>
        </p:sp>
        <p:pic>
          <p:nvPicPr>
            <p:cNvPr id="50" name="object 50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4774692" y="1563624"/>
              <a:ext cx="716280" cy="710184"/>
            </a:xfrm>
            <a:prstGeom prst="rect">
              <a:avLst/>
            </a:prstGeom>
          </p:spPr>
        </p:pic>
        <p:sp>
          <p:nvSpPr>
            <p:cNvPr id="51" name="object 51"/>
            <p:cNvSpPr/>
            <p:nvPr/>
          </p:nvSpPr>
          <p:spPr>
            <a:xfrm>
              <a:off x="4776216" y="1565148"/>
              <a:ext cx="715010" cy="708660"/>
            </a:xfrm>
            <a:custGeom>
              <a:avLst/>
              <a:gdLst/>
              <a:ahLst/>
              <a:cxnLst/>
              <a:rect l="l" t="t" r="r" b="b"/>
              <a:pathLst>
                <a:path w="715010" h="708660">
                  <a:moveTo>
                    <a:pt x="0" y="354329"/>
                  </a:moveTo>
                  <a:lnTo>
                    <a:pt x="3262" y="306246"/>
                  </a:lnTo>
                  <a:lnTo>
                    <a:pt x="12767" y="260129"/>
                  </a:lnTo>
                  <a:lnTo>
                    <a:pt x="28086" y="216402"/>
                  </a:lnTo>
                  <a:lnTo>
                    <a:pt x="48796" y="175485"/>
                  </a:lnTo>
                  <a:lnTo>
                    <a:pt x="74469" y="137802"/>
                  </a:lnTo>
                  <a:lnTo>
                    <a:pt x="104679" y="103774"/>
                  </a:lnTo>
                  <a:lnTo>
                    <a:pt x="139001" y="73824"/>
                  </a:lnTo>
                  <a:lnTo>
                    <a:pt x="177009" y="48372"/>
                  </a:lnTo>
                  <a:lnTo>
                    <a:pt x="218277" y="27842"/>
                  </a:lnTo>
                  <a:lnTo>
                    <a:pt x="262378" y="12655"/>
                  </a:lnTo>
                  <a:lnTo>
                    <a:pt x="308887" y="3234"/>
                  </a:lnTo>
                  <a:lnTo>
                    <a:pt x="357378" y="0"/>
                  </a:lnTo>
                  <a:lnTo>
                    <a:pt x="405868" y="3234"/>
                  </a:lnTo>
                  <a:lnTo>
                    <a:pt x="452377" y="12655"/>
                  </a:lnTo>
                  <a:lnTo>
                    <a:pt x="496478" y="27842"/>
                  </a:lnTo>
                  <a:lnTo>
                    <a:pt x="537746" y="48372"/>
                  </a:lnTo>
                  <a:lnTo>
                    <a:pt x="575754" y="73824"/>
                  </a:lnTo>
                  <a:lnTo>
                    <a:pt x="610076" y="103774"/>
                  </a:lnTo>
                  <a:lnTo>
                    <a:pt x="640286" y="137802"/>
                  </a:lnTo>
                  <a:lnTo>
                    <a:pt x="665959" y="175485"/>
                  </a:lnTo>
                  <a:lnTo>
                    <a:pt x="686669" y="216402"/>
                  </a:lnTo>
                  <a:lnTo>
                    <a:pt x="701988" y="260129"/>
                  </a:lnTo>
                  <a:lnTo>
                    <a:pt x="711493" y="306246"/>
                  </a:lnTo>
                  <a:lnTo>
                    <a:pt x="714756" y="354329"/>
                  </a:lnTo>
                  <a:lnTo>
                    <a:pt x="711493" y="402413"/>
                  </a:lnTo>
                  <a:lnTo>
                    <a:pt x="701988" y="448530"/>
                  </a:lnTo>
                  <a:lnTo>
                    <a:pt x="686669" y="492257"/>
                  </a:lnTo>
                  <a:lnTo>
                    <a:pt x="665959" y="533174"/>
                  </a:lnTo>
                  <a:lnTo>
                    <a:pt x="640286" y="570857"/>
                  </a:lnTo>
                  <a:lnTo>
                    <a:pt x="610076" y="604885"/>
                  </a:lnTo>
                  <a:lnTo>
                    <a:pt x="575754" y="634835"/>
                  </a:lnTo>
                  <a:lnTo>
                    <a:pt x="537746" y="660287"/>
                  </a:lnTo>
                  <a:lnTo>
                    <a:pt x="496478" y="680817"/>
                  </a:lnTo>
                  <a:lnTo>
                    <a:pt x="452377" y="696004"/>
                  </a:lnTo>
                  <a:lnTo>
                    <a:pt x="405868" y="705425"/>
                  </a:lnTo>
                  <a:lnTo>
                    <a:pt x="357378" y="708660"/>
                  </a:lnTo>
                  <a:lnTo>
                    <a:pt x="308887" y="705425"/>
                  </a:lnTo>
                  <a:lnTo>
                    <a:pt x="262378" y="696004"/>
                  </a:lnTo>
                  <a:lnTo>
                    <a:pt x="218277" y="680817"/>
                  </a:lnTo>
                  <a:lnTo>
                    <a:pt x="177009" y="660287"/>
                  </a:lnTo>
                  <a:lnTo>
                    <a:pt x="139001" y="634835"/>
                  </a:lnTo>
                  <a:lnTo>
                    <a:pt x="104679" y="604885"/>
                  </a:lnTo>
                  <a:lnTo>
                    <a:pt x="74469" y="570857"/>
                  </a:lnTo>
                  <a:lnTo>
                    <a:pt x="48796" y="533174"/>
                  </a:lnTo>
                  <a:lnTo>
                    <a:pt x="28086" y="492257"/>
                  </a:lnTo>
                  <a:lnTo>
                    <a:pt x="12767" y="448530"/>
                  </a:lnTo>
                  <a:lnTo>
                    <a:pt x="3262" y="402413"/>
                  </a:lnTo>
                  <a:lnTo>
                    <a:pt x="0" y="354329"/>
                  </a:lnTo>
                  <a:close/>
                </a:path>
              </a:pathLst>
            </a:custGeom>
            <a:ln w="9525">
              <a:solidFill>
                <a:srgbClr val="B1B1B0"/>
              </a:solidFill>
            </a:ln>
          </p:spPr>
          <p:txBody>
            <a:bodyPr wrap="square" lIns="0" tIns="0" rIns="0" bIns="0" rtlCol="0"/>
            <a:lstStyle/>
            <a:p>
              <a:pPr defTabSz="914309"/>
              <a:endParaRPr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52" name="object 52"/>
          <p:cNvSpPr txBox="1"/>
          <p:nvPr/>
        </p:nvSpPr>
        <p:spPr>
          <a:xfrm>
            <a:off x="4913531" y="1728564"/>
            <a:ext cx="469839" cy="313014"/>
          </a:xfrm>
          <a:prstGeom prst="rect">
            <a:avLst/>
          </a:prstGeom>
        </p:spPr>
        <p:txBody>
          <a:bodyPr vert="horz" wrap="square" lIns="0" tIns="16508" rIns="0" bIns="0" rtlCol="0">
            <a:spAutoFit/>
          </a:bodyPr>
          <a:lstStyle/>
          <a:p>
            <a:pPr marL="38096" defTabSz="914309">
              <a:spcBef>
                <a:spcPts val="130"/>
              </a:spcBef>
            </a:pPr>
            <a:r>
              <a:rPr sz="1850" kern="0" spc="-25" dirty="0">
                <a:solidFill>
                  <a:srgbClr val="FFFFFF"/>
                </a:solidFill>
                <a:latin typeface="Calibri"/>
                <a:cs typeface="Calibri"/>
              </a:rPr>
              <a:t>N</a:t>
            </a:r>
            <a:r>
              <a:rPr sz="1875" kern="0" spc="-37" baseline="-20000" dirty="0">
                <a:solidFill>
                  <a:srgbClr val="FFFFFF"/>
                </a:solidFill>
                <a:latin typeface="Calibri"/>
                <a:cs typeface="Calibri"/>
              </a:rPr>
              <a:t>2</a:t>
            </a:r>
            <a:r>
              <a:rPr sz="1850" kern="0" spc="-25" dirty="0">
                <a:solidFill>
                  <a:srgbClr val="FFFFFF"/>
                </a:solidFill>
                <a:latin typeface="Calibri"/>
                <a:cs typeface="Calibri"/>
              </a:rPr>
              <a:t>O</a:t>
            </a:r>
            <a:endParaRPr sz="1850" kern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grpSp>
        <p:nvGrpSpPr>
          <p:cNvPr id="53" name="object 53"/>
          <p:cNvGrpSpPr/>
          <p:nvPr/>
        </p:nvGrpSpPr>
        <p:grpSpPr>
          <a:xfrm>
            <a:off x="3491632" y="1502725"/>
            <a:ext cx="872376" cy="866027"/>
            <a:chOff x="3491293" y="1502473"/>
            <a:chExt cx="872490" cy="866140"/>
          </a:xfrm>
        </p:grpSpPr>
        <p:sp>
          <p:nvSpPr>
            <p:cNvPr id="54" name="object 54"/>
            <p:cNvSpPr/>
            <p:nvPr/>
          </p:nvSpPr>
          <p:spPr>
            <a:xfrm>
              <a:off x="3496055" y="1507236"/>
              <a:ext cx="862965" cy="856615"/>
            </a:xfrm>
            <a:custGeom>
              <a:avLst/>
              <a:gdLst/>
              <a:ahLst/>
              <a:cxnLst/>
              <a:rect l="l" t="t" r="r" b="b"/>
              <a:pathLst>
                <a:path w="862964" h="856614">
                  <a:moveTo>
                    <a:pt x="431292" y="0"/>
                  </a:moveTo>
                  <a:lnTo>
                    <a:pt x="384288" y="2513"/>
                  </a:lnTo>
                  <a:lnTo>
                    <a:pt x="338752" y="9879"/>
                  </a:lnTo>
                  <a:lnTo>
                    <a:pt x="294948" y="21835"/>
                  </a:lnTo>
                  <a:lnTo>
                    <a:pt x="253138" y="38122"/>
                  </a:lnTo>
                  <a:lnTo>
                    <a:pt x="213585" y="58476"/>
                  </a:lnTo>
                  <a:lnTo>
                    <a:pt x="176552" y="82637"/>
                  </a:lnTo>
                  <a:lnTo>
                    <a:pt x="142301" y="110343"/>
                  </a:lnTo>
                  <a:lnTo>
                    <a:pt x="111095" y="141333"/>
                  </a:lnTo>
                  <a:lnTo>
                    <a:pt x="83198" y="175345"/>
                  </a:lnTo>
                  <a:lnTo>
                    <a:pt x="58871" y="212118"/>
                  </a:lnTo>
                  <a:lnTo>
                    <a:pt x="38378" y="251390"/>
                  </a:lnTo>
                  <a:lnTo>
                    <a:pt x="21982" y="292900"/>
                  </a:lnTo>
                  <a:lnTo>
                    <a:pt x="9945" y="336387"/>
                  </a:lnTo>
                  <a:lnTo>
                    <a:pt x="2530" y="381588"/>
                  </a:lnTo>
                  <a:lnTo>
                    <a:pt x="0" y="428243"/>
                  </a:lnTo>
                  <a:lnTo>
                    <a:pt x="2530" y="474899"/>
                  </a:lnTo>
                  <a:lnTo>
                    <a:pt x="9945" y="520100"/>
                  </a:lnTo>
                  <a:lnTo>
                    <a:pt x="21982" y="563587"/>
                  </a:lnTo>
                  <a:lnTo>
                    <a:pt x="38378" y="605097"/>
                  </a:lnTo>
                  <a:lnTo>
                    <a:pt x="58871" y="644369"/>
                  </a:lnTo>
                  <a:lnTo>
                    <a:pt x="83198" y="681142"/>
                  </a:lnTo>
                  <a:lnTo>
                    <a:pt x="111095" y="715154"/>
                  </a:lnTo>
                  <a:lnTo>
                    <a:pt x="142301" y="746144"/>
                  </a:lnTo>
                  <a:lnTo>
                    <a:pt x="176552" y="773850"/>
                  </a:lnTo>
                  <a:lnTo>
                    <a:pt x="213585" y="798011"/>
                  </a:lnTo>
                  <a:lnTo>
                    <a:pt x="253138" y="818365"/>
                  </a:lnTo>
                  <a:lnTo>
                    <a:pt x="294948" y="834652"/>
                  </a:lnTo>
                  <a:lnTo>
                    <a:pt x="338752" y="846608"/>
                  </a:lnTo>
                  <a:lnTo>
                    <a:pt x="384288" y="853974"/>
                  </a:lnTo>
                  <a:lnTo>
                    <a:pt x="431292" y="856488"/>
                  </a:lnTo>
                  <a:lnTo>
                    <a:pt x="478295" y="853974"/>
                  </a:lnTo>
                  <a:lnTo>
                    <a:pt x="523831" y="846608"/>
                  </a:lnTo>
                  <a:lnTo>
                    <a:pt x="567635" y="834652"/>
                  </a:lnTo>
                  <a:lnTo>
                    <a:pt x="609445" y="818365"/>
                  </a:lnTo>
                  <a:lnTo>
                    <a:pt x="648998" y="798011"/>
                  </a:lnTo>
                  <a:lnTo>
                    <a:pt x="686031" y="773850"/>
                  </a:lnTo>
                  <a:lnTo>
                    <a:pt x="720282" y="746144"/>
                  </a:lnTo>
                  <a:lnTo>
                    <a:pt x="751488" y="715154"/>
                  </a:lnTo>
                  <a:lnTo>
                    <a:pt x="779385" y="681142"/>
                  </a:lnTo>
                  <a:lnTo>
                    <a:pt x="803712" y="644369"/>
                  </a:lnTo>
                  <a:lnTo>
                    <a:pt x="824205" y="605097"/>
                  </a:lnTo>
                  <a:lnTo>
                    <a:pt x="840601" y="563587"/>
                  </a:lnTo>
                  <a:lnTo>
                    <a:pt x="852638" y="520100"/>
                  </a:lnTo>
                  <a:lnTo>
                    <a:pt x="860053" y="474899"/>
                  </a:lnTo>
                  <a:lnTo>
                    <a:pt x="862584" y="428243"/>
                  </a:lnTo>
                  <a:lnTo>
                    <a:pt x="860053" y="381588"/>
                  </a:lnTo>
                  <a:lnTo>
                    <a:pt x="852638" y="336387"/>
                  </a:lnTo>
                  <a:lnTo>
                    <a:pt x="840601" y="292900"/>
                  </a:lnTo>
                  <a:lnTo>
                    <a:pt x="824205" y="251390"/>
                  </a:lnTo>
                  <a:lnTo>
                    <a:pt x="803712" y="212118"/>
                  </a:lnTo>
                  <a:lnTo>
                    <a:pt x="779385" y="175345"/>
                  </a:lnTo>
                  <a:lnTo>
                    <a:pt x="751488" y="141333"/>
                  </a:lnTo>
                  <a:lnTo>
                    <a:pt x="720282" y="110343"/>
                  </a:lnTo>
                  <a:lnTo>
                    <a:pt x="686031" y="82637"/>
                  </a:lnTo>
                  <a:lnTo>
                    <a:pt x="648998" y="58476"/>
                  </a:lnTo>
                  <a:lnTo>
                    <a:pt x="609445" y="38122"/>
                  </a:lnTo>
                  <a:lnTo>
                    <a:pt x="567635" y="21835"/>
                  </a:lnTo>
                  <a:lnTo>
                    <a:pt x="523831" y="9879"/>
                  </a:lnTo>
                  <a:lnTo>
                    <a:pt x="478295" y="2513"/>
                  </a:lnTo>
                  <a:lnTo>
                    <a:pt x="431292" y="0"/>
                  </a:lnTo>
                  <a:close/>
                </a:path>
              </a:pathLst>
            </a:custGeom>
            <a:solidFill>
              <a:srgbClr val="C1C1C1"/>
            </a:solidFill>
          </p:spPr>
          <p:txBody>
            <a:bodyPr wrap="square" lIns="0" tIns="0" rIns="0" bIns="0" rtlCol="0"/>
            <a:lstStyle/>
            <a:p>
              <a:pPr defTabSz="914309"/>
              <a:endParaRPr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5" name="object 55"/>
            <p:cNvSpPr/>
            <p:nvPr/>
          </p:nvSpPr>
          <p:spPr>
            <a:xfrm>
              <a:off x="3496055" y="1507236"/>
              <a:ext cx="862965" cy="856615"/>
            </a:xfrm>
            <a:custGeom>
              <a:avLst/>
              <a:gdLst/>
              <a:ahLst/>
              <a:cxnLst/>
              <a:rect l="l" t="t" r="r" b="b"/>
              <a:pathLst>
                <a:path w="862964" h="856614">
                  <a:moveTo>
                    <a:pt x="0" y="428243"/>
                  </a:moveTo>
                  <a:lnTo>
                    <a:pt x="2530" y="381588"/>
                  </a:lnTo>
                  <a:lnTo>
                    <a:pt x="9945" y="336387"/>
                  </a:lnTo>
                  <a:lnTo>
                    <a:pt x="21982" y="292900"/>
                  </a:lnTo>
                  <a:lnTo>
                    <a:pt x="38378" y="251390"/>
                  </a:lnTo>
                  <a:lnTo>
                    <a:pt x="58871" y="212118"/>
                  </a:lnTo>
                  <a:lnTo>
                    <a:pt x="83198" y="175345"/>
                  </a:lnTo>
                  <a:lnTo>
                    <a:pt x="111095" y="141333"/>
                  </a:lnTo>
                  <a:lnTo>
                    <a:pt x="142301" y="110343"/>
                  </a:lnTo>
                  <a:lnTo>
                    <a:pt x="176552" y="82637"/>
                  </a:lnTo>
                  <a:lnTo>
                    <a:pt x="213585" y="58476"/>
                  </a:lnTo>
                  <a:lnTo>
                    <a:pt x="253138" y="38122"/>
                  </a:lnTo>
                  <a:lnTo>
                    <a:pt x="294948" y="21835"/>
                  </a:lnTo>
                  <a:lnTo>
                    <a:pt x="338752" y="9879"/>
                  </a:lnTo>
                  <a:lnTo>
                    <a:pt x="384288" y="2513"/>
                  </a:lnTo>
                  <a:lnTo>
                    <a:pt x="431292" y="0"/>
                  </a:lnTo>
                  <a:lnTo>
                    <a:pt x="478295" y="2513"/>
                  </a:lnTo>
                  <a:lnTo>
                    <a:pt x="523831" y="9879"/>
                  </a:lnTo>
                  <a:lnTo>
                    <a:pt x="567635" y="21835"/>
                  </a:lnTo>
                  <a:lnTo>
                    <a:pt x="609445" y="38122"/>
                  </a:lnTo>
                  <a:lnTo>
                    <a:pt x="648998" y="58476"/>
                  </a:lnTo>
                  <a:lnTo>
                    <a:pt x="686031" y="82637"/>
                  </a:lnTo>
                  <a:lnTo>
                    <a:pt x="720282" y="110343"/>
                  </a:lnTo>
                  <a:lnTo>
                    <a:pt x="751488" y="141333"/>
                  </a:lnTo>
                  <a:lnTo>
                    <a:pt x="779385" y="175345"/>
                  </a:lnTo>
                  <a:lnTo>
                    <a:pt x="803712" y="212118"/>
                  </a:lnTo>
                  <a:lnTo>
                    <a:pt x="824205" y="251390"/>
                  </a:lnTo>
                  <a:lnTo>
                    <a:pt x="840601" y="292900"/>
                  </a:lnTo>
                  <a:lnTo>
                    <a:pt x="852638" y="336387"/>
                  </a:lnTo>
                  <a:lnTo>
                    <a:pt x="860053" y="381588"/>
                  </a:lnTo>
                  <a:lnTo>
                    <a:pt x="862584" y="428243"/>
                  </a:lnTo>
                  <a:lnTo>
                    <a:pt x="860053" y="474899"/>
                  </a:lnTo>
                  <a:lnTo>
                    <a:pt x="852638" y="520100"/>
                  </a:lnTo>
                  <a:lnTo>
                    <a:pt x="840601" y="563587"/>
                  </a:lnTo>
                  <a:lnTo>
                    <a:pt x="824205" y="605097"/>
                  </a:lnTo>
                  <a:lnTo>
                    <a:pt x="803712" y="644369"/>
                  </a:lnTo>
                  <a:lnTo>
                    <a:pt x="779385" y="681142"/>
                  </a:lnTo>
                  <a:lnTo>
                    <a:pt x="751488" y="715154"/>
                  </a:lnTo>
                  <a:lnTo>
                    <a:pt x="720282" y="746144"/>
                  </a:lnTo>
                  <a:lnTo>
                    <a:pt x="686031" y="773850"/>
                  </a:lnTo>
                  <a:lnTo>
                    <a:pt x="648998" y="798011"/>
                  </a:lnTo>
                  <a:lnTo>
                    <a:pt x="609445" y="818365"/>
                  </a:lnTo>
                  <a:lnTo>
                    <a:pt x="567635" y="834652"/>
                  </a:lnTo>
                  <a:lnTo>
                    <a:pt x="523831" y="846608"/>
                  </a:lnTo>
                  <a:lnTo>
                    <a:pt x="478295" y="853974"/>
                  </a:lnTo>
                  <a:lnTo>
                    <a:pt x="431292" y="856488"/>
                  </a:lnTo>
                  <a:lnTo>
                    <a:pt x="384288" y="853974"/>
                  </a:lnTo>
                  <a:lnTo>
                    <a:pt x="338752" y="846608"/>
                  </a:lnTo>
                  <a:lnTo>
                    <a:pt x="294948" y="834652"/>
                  </a:lnTo>
                  <a:lnTo>
                    <a:pt x="253138" y="818365"/>
                  </a:lnTo>
                  <a:lnTo>
                    <a:pt x="213585" y="798011"/>
                  </a:lnTo>
                  <a:lnTo>
                    <a:pt x="176552" y="773850"/>
                  </a:lnTo>
                  <a:lnTo>
                    <a:pt x="142301" y="746144"/>
                  </a:lnTo>
                  <a:lnTo>
                    <a:pt x="111095" y="715154"/>
                  </a:lnTo>
                  <a:lnTo>
                    <a:pt x="83198" y="681142"/>
                  </a:lnTo>
                  <a:lnTo>
                    <a:pt x="58871" y="644369"/>
                  </a:lnTo>
                  <a:lnTo>
                    <a:pt x="38378" y="605097"/>
                  </a:lnTo>
                  <a:lnTo>
                    <a:pt x="21982" y="563587"/>
                  </a:lnTo>
                  <a:lnTo>
                    <a:pt x="9945" y="520100"/>
                  </a:lnTo>
                  <a:lnTo>
                    <a:pt x="2530" y="474899"/>
                  </a:lnTo>
                  <a:lnTo>
                    <a:pt x="0" y="428243"/>
                  </a:lnTo>
                  <a:close/>
                </a:path>
              </a:pathLst>
            </a:custGeom>
            <a:ln w="9524">
              <a:solidFill>
                <a:srgbClr val="B9B5D2"/>
              </a:solidFill>
            </a:ln>
          </p:spPr>
          <p:txBody>
            <a:bodyPr wrap="square" lIns="0" tIns="0" rIns="0" bIns="0" rtlCol="0"/>
            <a:lstStyle/>
            <a:p>
              <a:pPr defTabSz="914309"/>
              <a:endParaRPr kern="0">
                <a:solidFill>
                  <a:sysClr val="windowText" lastClr="000000"/>
                </a:solidFill>
              </a:endParaRPr>
            </a:p>
          </p:txBody>
        </p:sp>
        <p:pic>
          <p:nvPicPr>
            <p:cNvPr id="56" name="object 56"/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3569207" y="1578864"/>
              <a:ext cx="716279" cy="711708"/>
            </a:xfrm>
            <a:prstGeom prst="rect">
              <a:avLst/>
            </a:prstGeom>
          </p:spPr>
        </p:pic>
        <p:sp>
          <p:nvSpPr>
            <p:cNvPr id="57" name="object 57"/>
            <p:cNvSpPr/>
            <p:nvPr/>
          </p:nvSpPr>
          <p:spPr>
            <a:xfrm>
              <a:off x="3570731" y="1580388"/>
              <a:ext cx="715010" cy="710565"/>
            </a:xfrm>
            <a:custGeom>
              <a:avLst/>
              <a:gdLst/>
              <a:ahLst/>
              <a:cxnLst/>
              <a:rect l="l" t="t" r="r" b="b"/>
              <a:pathLst>
                <a:path w="715010" h="710564">
                  <a:moveTo>
                    <a:pt x="0" y="355091"/>
                  </a:moveTo>
                  <a:lnTo>
                    <a:pt x="3262" y="306913"/>
                  </a:lnTo>
                  <a:lnTo>
                    <a:pt x="12767" y="260702"/>
                  </a:lnTo>
                  <a:lnTo>
                    <a:pt x="28086" y="216884"/>
                  </a:lnTo>
                  <a:lnTo>
                    <a:pt x="48796" y="175880"/>
                  </a:lnTo>
                  <a:lnTo>
                    <a:pt x="74469" y="138116"/>
                  </a:lnTo>
                  <a:lnTo>
                    <a:pt x="104679" y="104012"/>
                  </a:lnTo>
                  <a:lnTo>
                    <a:pt x="139001" y="73995"/>
                  </a:lnTo>
                  <a:lnTo>
                    <a:pt x="177009" y="48485"/>
                  </a:lnTo>
                  <a:lnTo>
                    <a:pt x="218277" y="27908"/>
                  </a:lnTo>
                  <a:lnTo>
                    <a:pt x="262378" y="12685"/>
                  </a:lnTo>
                  <a:lnTo>
                    <a:pt x="308887" y="3242"/>
                  </a:lnTo>
                  <a:lnTo>
                    <a:pt x="357377" y="0"/>
                  </a:lnTo>
                  <a:lnTo>
                    <a:pt x="405868" y="3242"/>
                  </a:lnTo>
                  <a:lnTo>
                    <a:pt x="452377" y="12685"/>
                  </a:lnTo>
                  <a:lnTo>
                    <a:pt x="496478" y="27908"/>
                  </a:lnTo>
                  <a:lnTo>
                    <a:pt x="537746" y="48485"/>
                  </a:lnTo>
                  <a:lnTo>
                    <a:pt x="575754" y="73995"/>
                  </a:lnTo>
                  <a:lnTo>
                    <a:pt x="610076" y="104013"/>
                  </a:lnTo>
                  <a:lnTo>
                    <a:pt x="640286" y="138116"/>
                  </a:lnTo>
                  <a:lnTo>
                    <a:pt x="665959" y="175880"/>
                  </a:lnTo>
                  <a:lnTo>
                    <a:pt x="686669" y="216884"/>
                  </a:lnTo>
                  <a:lnTo>
                    <a:pt x="701988" y="260702"/>
                  </a:lnTo>
                  <a:lnTo>
                    <a:pt x="711493" y="306913"/>
                  </a:lnTo>
                  <a:lnTo>
                    <a:pt x="714755" y="355091"/>
                  </a:lnTo>
                  <a:lnTo>
                    <a:pt x="711493" y="403270"/>
                  </a:lnTo>
                  <a:lnTo>
                    <a:pt x="701988" y="449481"/>
                  </a:lnTo>
                  <a:lnTo>
                    <a:pt x="686669" y="493299"/>
                  </a:lnTo>
                  <a:lnTo>
                    <a:pt x="665959" y="534303"/>
                  </a:lnTo>
                  <a:lnTo>
                    <a:pt x="640286" y="572067"/>
                  </a:lnTo>
                  <a:lnTo>
                    <a:pt x="610076" y="606170"/>
                  </a:lnTo>
                  <a:lnTo>
                    <a:pt x="575754" y="636188"/>
                  </a:lnTo>
                  <a:lnTo>
                    <a:pt x="537746" y="661698"/>
                  </a:lnTo>
                  <a:lnTo>
                    <a:pt x="496478" y="682275"/>
                  </a:lnTo>
                  <a:lnTo>
                    <a:pt x="452377" y="697498"/>
                  </a:lnTo>
                  <a:lnTo>
                    <a:pt x="405868" y="706941"/>
                  </a:lnTo>
                  <a:lnTo>
                    <a:pt x="357377" y="710184"/>
                  </a:lnTo>
                  <a:lnTo>
                    <a:pt x="308887" y="706941"/>
                  </a:lnTo>
                  <a:lnTo>
                    <a:pt x="262378" y="697498"/>
                  </a:lnTo>
                  <a:lnTo>
                    <a:pt x="218277" y="682275"/>
                  </a:lnTo>
                  <a:lnTo>
                    <a:pt x="177009" y="661698"/>
                  </a:lnTo>
                  <a:lnTo>
                    <a:pt x="139001" y="636188"/>
                  </a:lnTo>
                  <a:lnTo>
                    <a:pt x="104679" y="606170"/>
                  </a:lnTo>
                  <a:lnTo>
                    <a:pt x="74469" y="572067"/>
                  </a:lnTo>
                  <a:lnTo>
                    <a:pt x="48796" y="534303"/>
                  </a:lnTo>
                  <a:lnTo>
                    <a:pt x="28086" y="493299"/>
                  </a:lnTo>
                  <a:lnTo>
                    <a:pt x="12767" y="449481"/>
                  </a:lnTo>
                  <a:lnTo>
                    <a:pt x="3262" y="403270"/>
                  </a:lnTo>
                  <a:lnTo>
                    <a:pt x="0" y="355091"/>
                  </a:lnTo>
                  <a:close/>
                </a:path>
              </a:pathLst>
            </a:custGeom>
            <a:ln w="9525">
              <a:solidFill>
                <a:srgbClr val="8B83B5"/>
              </a:solidFill>
            </a:ln>
          </p:spPr>
          <p:txBody>
            <a:bodyPr wrap="square" lIns="0" tIns="0" rIns="0" bIns="0" rtlCol="0"/>
            <a:lstStyle/>
            <a:p>
              <a:pPr defTabSz="914309"/>
              <a:endParaRPr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58" name="object 58"/>
          <p:cNvSpPr txBox="1"/>
          <p:nvPr/>
        </p:nvSpPr>
        <p:spPr>
          <a:xfrm>
            <a:off x="3717600" y="1768133"/>
            <a:ext cx="435552" cy="313014"/>
          </a:xfrm>
          <a:prstGeom prst="rect">
            <a:avLst/>
          </a:prstGeom>
        </p:spPr>
        <p:txBody>
          <a:bodyPr vert="horz" wrap="square" lIns="0" tIns="17143" rIns="0" bIns="0" rtlCol="0">
            <a:spAutoFit/>
          </a:bodyPr>
          <a:lstStyle/>
          <a:p>
            <a:pPr marL="38096" defTabSz="914309">
              <a:spcBef>
                <a:spcPts val="135"/>
              </a:spcBef>
            </a:pPr>
            <a:r>
              <a:rPr sz="1850" kern="0" spc="-25" dirty="0">
                <a:solidFill>
                  <a:srgbClr val="FFFFFF"/>
                </a:solidFill>
                <a:latin typeface="Calibri"/>
                <a:cs typeface="Calibri"/>
              </a:rPr>
              <a:t>CH</a:t>
            </a:r>
            <a:r>
              <a:rPr sz="1875" kern="0" spc="-37" baseline="-20000" dirty="0">
                <a:solidFill>
                  <a:srgbClr val="FFFFFF"/>
                </a:solidFill>
                <a:latin typeface="Calibri"/>
                <a:cs typeface="Calibri"/>
              </a:rPr>
              <a:t>4</a:t>
            </a:r>
            <a:endParaRPr sz="1875" kern="0" baseline="-2000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59" name="object 59"/>
          <p:cNvSpPr txBox="1"/>
          <p:nvPr/>
        </p:nvSpPr>
        <p:spPr>
          <a:xfrm>
            <a:off x="8030720" y="3866458"/>
            <a:ext cx="630473" cy="148098"/>
          </a:xfrm>
          <a:prstGeom prst="rect">
            <a:avLst/>
          </a:prstGeom>
        </p:spPr>
        <p:txBody>
          <a:bodyPr vert="horz" wrap="square" lIns="0" tIns="17143" rIns="0" bIns="0" rtlCol="0">
            <a:spAutoFit/>
          </a:bodyPr>
          <a:lstStyle/>
          <a:p>
            <a:pPr marL="12699" defTabSz="914309">
              <a:spcBef>
                <a:spcPts val="135"/>
              </a:spcBef>
            </a:pPr>
            <a:r>
              <a:rPr sz="850" kern="0" dirty="0">
                <a:solidFill>
                  <a:srgbClr val="FFFFFF"/>
                </a:solidFill>
                <a:latin typeface="Calibri"/>
                <a:cs typeface="Calibri"/>
              </a:rPr>
              <a:t>14.</a:t>
            </a:r>
            <a:r>
              <a:rPr sz="850" kern="0" spc="5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850" kern="0" spc="-10" dirty="0">
                <a:solidFill>
                  <a:srgbClr val="FFFFFF"/>
                </a:solidFill>
                <a:latin typeface="Calibri"/>
                <a:cs typeface="Calibri"/>
              </a:rPr>
              <a:t>Franchise</a:t>
            </a:r>
            <a:endParaRPr sz="850" kern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60" name="object 60"/>
          <p:cNvSpPr txBox="1"/>
          <p:nvPr/>
        </p:nvSpPr>
        <p:spPr>
          <a:xfrm>
            <a:off x="7787548" y="5017817"/>
            <a:ext cx="979677" cy="280681"/>
          </a:xfrm>
          <a:prstGeom prst="rect">
            <a:avLst/>
          </a:prstGeom>
        </p:spPr>
        <p:txBody>
          <a:bodyPr vert="horz" wrap="square" lIns="0" tIns="11429" rIns="0" bIns="0" rtlCol="0">
            <a:spAutoFit/>
          </a:bodyPr>
          <a:lstStyle/>
          <a:p>
            <a:pPr marL="12699" marR="5079" defTabSz="914309">
              <a:lnSpc>
                <a:spcPct val="104700"/>
              </a:lnSpc>
              <a:spcBef>
                <a:spcPts val="90"/>
              </a:spcBef>
            </a:pPr>
            <a:r>
              <a:rPr sz="850" kern="0" dirty="0">
                <a:solidFill>
                  <a:srgbClr val="FFFFFF"/>
                </a:solidFill>
                <a:latin typeface="Calibri"/>
                <a:cs typeface="Calibri"/>
              </a:rPr>
              <a:t>10.</a:t>
            </a:r>
            <a:r>
              <a:rPr sz="850" kern="0" spc="3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850" kern="0" dirty="0">
                <a:solidFill>
                  <a:srgbClr val="FFFFFF"/>
                </a:solidFill>
                <a:latin typeface="Calibri"/>
                <a:cs typeface="Calibri"/>
              </a:rPr>
              <a:t>Processing</a:t>
            </a:r>
            <a:r>
              <a:rPr sz="850" kern="0" spc="6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850" kern="0" dirty="0">
                <a:solidFill>
                  <a:srgbClr val="FFFFFF"/>
                </a:solidFill>
                <a:latin typeface="Calibri"/>
                <a:cs typeface="Calibri"/>
              </a:rPr>
              <a:t>of</a:t>
            </a:r>
            <a:r>
              <a:rPr sz="850" kern="0" spc="7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850" kern="0" spc="-25" dirty="0">
                <a:solidFill>
                  <a:srgbClr val="FFFFFF"/>
                </a:solidFill>
                <a:latin typeface="Calibri"/>
                <a:cs typeface="Calibri"/>
              </a:rPr>
              <a:t>the</a:t>
            </a:r>
            <a:r>
              <a:rPr sz="850" kern="0" spc="50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850" kern="0" dirty="0">
                <a:solidFill>
                  <a:srgbClr val="FFFFFF"/>
                </a:solidFill>
                <a:latin typeface="Calibri"/>
                <a:cs typeface="Calibri"/>
              </a:rPr>
              <a:t>products</a:t>
            </a:r>
            <a:r>
              <a:rPr sz="850" kern="0" spc="7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850" kern="0" spc="-20" dirty="0">
                <a:solidFill>
                  <a:srgbClr val="FFFFFF"/>
                </a:solidFill>
                <a:latin typeface="Calibri"/>
                <a:cs typeface="Calibri"/>
              </a:rPr>
              <a:t>sold</a:t>
            </a:r>
            <a:endParaRPr sz="850" kern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61" name="object 61"/>
          <p:cNvSpPr/>
          <p:nvPr/>
        </p:nvSpPr>
        <p:spPr>
          <a:xfrm>
            <a:off x="7455231" y="4373756"/>
            <a:ext cx="984757" cy="376506"/>
          </a:xfrm>
          <a:custGeom>
            <a:avLst/>
            <a:gdLst/>
            <a:ahLst/>
            <a:cxnLst/>
            <a:rect l="l" t="t" r="r" b="b"/>
            <a:pathLst>
              <a:path w="984884" h="376554">
                <a:moveTo>
                  <a:pt x="984503" y="0"/>
                </a:moveTo>
                <a:lnTo>
                  <a:pt x="0" y="0"/>
                </a:lnTo>
                <a:lnTo>
                  <a:pt x="0" y="376428"/>
                </a:lnTo>
                <a:lnTo>
                  <a:pt x="984503" y="376428"/>
                </a:lnTo>
                <a:lnTo>
                  <a:pt x="984503" y="0"/>
                </a:lnTo>
                <a:close/>
              </a:path>
            </a:pathLst>
          </a:custGeom>
          <a:solidFill>
            <a:srgbClr val="00A633"/>
          </a:solidFill>
        </p:spPr>
        <p:txBody>
          <a:bodyPr wrap="square" lIns="0" tIns="0" rIns="0" bIns="0" rtlCol="0"/>
          <a:lstStyle/>
          <a:p>
            <a:pPr defTabSz="914309"/>
            <a:endParaRPr kern="0">
              <a:solidFill>
                <a:sysClr val="windowText" lastClr="000000"/>
              </a:solidFill>
            </a:endParaRPr>
          </a:p>
        </p:txBody>
      </p:sp>
      <p:sp>
        <p:nvSpPr>
          <p:cNvPr id="62" name="object 62"/>
          <p:cNvSpPr txBox="1"/>
          <p:nvPr/>
        </p:nvSpPr>
        <p:spPr>
          <a:xfrm>
            <a:off x="7545263" y="4406139"/>
            <a:ext cx="701584" cy="280681"/>
          </a:xfrm>
          <a:prstGeom prst="rect">
            <a:avLst/>
          </a:prstGeom>
        </p:spPr>
        <p:txBody>
          <a:bodyPr vert="horz" wrap="square" lIns="0" tIns="11429" rIns="0" bIns="0" rtlCol="0">
            <a:spAutoFit/>
          </a:bodyPr>
          <a:lstStyle/>
          <a:p>
            <a:pPr marL="12699" marR="5079" defTabSz="914309">
              <a:lnSpc>
                <a:spcPct val="104700"/>
              </a:lnSpc>
              <a:spcBef>
                <a:spcPts val="90"/>
              </a:spcBef>
            </a:pPr>
            <a:r>
              <a:rPr sz="850" kern="0" dirty="0">
                <a:solidFill>
                  <a:srgbClr val="FFFFFF"/>
                </a:solidFill>
                <a:latin typeface="Calibri"/>
                <a:cs typeface="Calibri"/>
              </a:rPr>
              <a:t>11.</a:t>
            </a:r>
            <a:r>
              <a:rPr sz="850" kern="0" spc="2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850" kern="0" dirty="0">
                <a:solidFill>
                  <a:srgbClr val="FFFFFF"/>
                </a:solidFill>
                <a:latin typeface="Calibri"/>
                <a:cs typeface="Calibri"/>
              </a:rPr>
              <a:t>Use</a:t>
            </a:r>
            <a:r>
              <a:rPr sz="850" kern="0" spc="6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850" kern="0" dirty="0">
                <a:solidFill>
                  <a:srgbClr val="FFFFFF"/>
                </a:solidFill>
                <a:latin typeface="Calibri"/>
                <a:cs typeface="Calibri"/>
              </a:rPr>
              <a:t>of</a:t>
            </a:r>
            <a:r>
              <a:rPr sz="850" kern="0" spc="5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850" kern="0" spc="-20" dirty="0">
                <a:solidFill>
                  <a:srgbClr val="FFFFFF"/>
                </a:solidFill>
                <a:latin typeface="Calibri"/>
                <a:cs typeface="Calibri"/>
              </a:rPr>
              <a:t>sold</a:t>
            </a:r>
            <a:r>
              <a:rPr sz="850" kern="0" spc="50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850" kern="0" spc="-10" dirty="0">
                <a:solidFill>
                  <a:srgbClr val="FFFFFF"/>
                </a:solidFill>
                <a:latin typeface="Calibri"/>
                <a:cs typeface="Calibri"/>
              </a:rPr>
              <a:t>products</a:t>
            </a:r>
            <a:endParaRPr sz="850" kern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63" name="object 63"/>
          <p:cNvSpPr txBox="1"/>
          <p:nvPr/>
        </p:nvSpPr>
        <p:spPr>
          <a:xfrm>
            <a:off x="8795415" y="4333884"/>
            <a:ext cx="1043804" cy="432378"/>
          </a:xfrm>
          <a:prstGeom prst="rect">
            <a:avLst/>
          </a:prstGeom>
        </p:spPr>
        <p:txBody>
          <a:bodyPr vert="horz" wrap="square" lIns="0" tIns="11429" rIns="0" bIns="0" rtlCol="0">
            <a:spAutoFit/>
          </a:bodyPr>
          <a:lstStyle/>
          <a:p>
            <a:pPr marL="12699" marR="5079" defTabSz="914309">
              <a:lnSpc>
                <a:spcPct val="104700"/>
              </a:lnSpc>
              <a:spcBef>
                <a:spcPts val="90"/>
              </a:spcBef>
            </a:pPr>
            <a:r>
              <a:rPr sz="850" kern="0" dirty="0">
                <a:solidFill>
                  <a:srgbClr val="FFFFFF"/>
                </a:solidFill>
                <a:latin typeface="Calibri"/>
                <a:cs typeface="Calibri"/>
              </a:rPr>
              <a:t>12.</a:t>
            </a:r>
            <a:r>
              <a:rPr sz="850" kern="0" spc="4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850" kern="0" dirty="0">
                <a:solidFill>
                  <a:srgbClr val="FFFFFF"/>
                </a:solidFill>
                <a:latin typeface="Calibri"/>
                <a:cs typeface="Calibri"/>
              </a:rPr>
              <a:t>Handling</a:t>
            </a:r>
            <a:r>
              <a:rPr sz="850" kern="0" spc="4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850" kern="0" dirty="0">
                <a:solidFill>
                  <a:srgbClr val="FFFFFF"/>
                </a:solidFill>
                <a:latin typeface="Calibri"/>
                <a:cs typeface="Calibri"/>
              </a:rPr>
              <a:t>of</a:t>
            </a:r>
            <a:r>
              <a:rPr sz="850" kern="0" spc="7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850" kern="0" spc="-20" dirty="0">
                <a:solidFill>
                  <a:srgbClr val="FFFFFF"/>
                </a:solidFill>
                <a:latin typeface="Calibri"/>
                <a:cs typeface="Calibri"/>
              </a:rPr>
              <a:t>sold</a:t>
            </a:r>
            <a:r>
              <a:rPr sz="850" kern="0" spc="50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850" kern="0" dirty="0">
                <a:solidFill>
                  <a:srgbClr val="FFFFFF"/>
                </a:solidFill>
                <a:latin typeface="Calibri"/>
                <a:cs typeface="Calibri"/>
              </a:rPr>
              <a:t>products</a:t>
            </a:r>
            <a:r>
              <a:rPr sz="850" kern="0" spc="3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850" kern="0" dirty="0">
                <a:solidFill>
                  <a:srgbClr val="FFFFFF"/>
                </a:solidFill>
                <a:latin typeface="Calibri"/>
                <a:cs typeface="Calibri"/>
              </a:rPr>
              <a:t>at</a:t>
            </a:r>
            <a:r>
              <a:rPr sz="850" kern="0" spc="5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850" kern="0" dirty="0">
                <a:solidFill>
                  <a:srgbClr val="FFFFFF"/>
                </a:solidFill>
                <a:latin typeface="Calibri"/>
                <a:cs typeface="Calibri"/>
              </a:rPr>
              <a:t>the</a:t>
            </a:r>
            <a:r>
              <a:rPr sz="850" kern="0" spc="3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850" kern="0" dirty="0">
                <a:solidFill>
                  <a:srgbClr val="FFFFFF"/>
                </a:solidFill>
                <a:latin typeface="Calibri"/>
                <a:cs typeface="Calibri"/>
              </a:rPr>
              <a:t>end</a:t>
            </a:r>
            <a:r>
              <a:rPr sz="850" kern="0" spc="2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850" kern="0" spc="-25" dirty="0">
                <a:solidFill>
                  <a:srgbClr val="FFFFFF"/>
                </a:solidFill>
                <a:latin typeface="Calibri"/>
                <a:cs typeface="Calibri"/>
              </a:rPr>
              <a:t>of</a:t>
            </a:r>
            <a:r>
              <a:rPr sz="850" kern="0" spc="50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850" kern="0" dirty="0">
                <a:solidFill>
                  <a:srgbClr val="FFFFFF"/>
                </a:solidFill>
                <a:latin typeface="Calibri"/>
                <a:cs typeface="Calibri"/>
              </a:rPr>
              <a:t>their</a:t>
            </a:r>
            <a:r>
              <a:rPr sz="850" kern="0" spc="1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850" kern="0" dirty="0">
                <a:solidFill>
                  <a:srgbClr val="FFFFFF"/>
                </a:solidFill>
                <a:latin typeface="Calibri"/>
                <a:cs typeface="Calibri"/>
              </a:rPr>
              <a:t>life</a:t>
            </a:r>
            <a:r>
              <a:rPr sz="850" kern="0" spc="3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850" kern="0" spc="-10" dirty="0">
                <a:solidFill>
                  <a:srgbClr val="FFFFFF"/>
                </a:solidFill>
                <a:latin typeface="Calibri"/>
                <a:cs typeface="Calibri"/>
              </a:rPr>
              <a:t>cycle</a:t>
            </a:r>
            <a:endParaRPr sz="850" kern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64" name="object 64"/>
          <p:cNvSpPr txBox="1"/>
          <p:nvPr/>
        </p:nvSpPr>
        <p:spPr>
          <a:xfrm>
            <a:off x="9321380" y="3818333"/>
            <a:ext cx="690790" cy="280681"/>
          </a:xfrm>
          <a:prstGeom prst="rect">
            <a:avLst/>
          </a:prstGeom>
        </p:spPr>
        <p:txBody>
          <a:bodyPr vert="horz" wrap="square" lIns="0" tIns="11429" rIns="0" bIns="0" rtlCol="0">
            <a:spAutoFit/>
          </a:bodyPr>
          <a:lstStyle/>
          <a:p>
            <a:pPr marL="143496" marR="5079" indent="-131432" defTabSz="914309">
              <a:lnSpc>
                <a:spcPct val="104700"/>
              </a:lnSpc>
              <a:spcBef>
                <a:spcPts val="90"/>
              </a:spcBef>
            </a:pPr>
            <a:r>
              <a:rPr sz="850" kern="0" dirty="0">
                <a:solidFill>
                  <a:srgbClr val="FFFFFF"/>
                </a:solidFill>
                <a:latin typeface="Calibri"/>
                <a:cs typeface="Calibri"/>
              </a:rPr>
              <a:t>13.</a:t>
            </a:r>
            <a:r>
              <a:rPr sz="850" kern="0" spc="4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850" kern="0" dirty="0">
                <a:solidFill>
                  <a:srgbClr val="FFFFFF"/>
                </a:solidFill>
                <a:latin typeface="Calibri"/>
                <a:cs typeface="Calibri"/>
              </a:rPr>
              <a:t>Leased</a:t>
            </a:r>
            <a:r>
              <a:rPr sz="850" kern="0" spc="6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850" kern="0" spc="-25" dirty="0">
                <a:solidFill>
                  <a:srgbClr val="FFFFFF"/>
                </a:solidFill>
                <a:latin typeface="Calibri"/>
                <a:cs typeface="Calibri"/>
              </a:rPr>
              <a:t>out</a:t>
            </a:r>
            <a:r>
              <a:rPr sz="850" kern="0" spc="50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850" kern="0" spc="-10" dirty="0">
                <a:solidFill>
                  <a:srgbClr val="FFFFFF"/>
                </a:solidFill>
                <a:latin typeface="Calibri"/>
                <a:cs typeface="Calibri"/>
              </a:rPr>
              <a:t>property</a:t>
            </a:r>
            <a:endParaRPr sz="850" kern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65" name="object 65"/>
          <p:cNvSpPr txBox="1"/>
          <p:nvPr/>
        </p:nvSpPr>
        <p:spPr>
          <a:xfrm>
            <a:off x="1939830" y="5037626"/>
            <a:ext cx="613330" cy="148098"/>
          </a:xfrm>
          <a:prstGeom prst="rect">
            <a:avLst/>
          </a:prstGeom>
        </p:spPr>
        <p:txBody>
          <a:bodyPr vert="horz" wrap="square" lIns="0" tIns="17143" rIns="0" bIns="0" rtlCol="0">
            <a:spAutoFit/>
          </a:bodyPr>
          <a:lstStyle/>
          <a:p>
            <a:pPr marL="12699" defTabSz="914309">
              <a:spcBef>
                <a:spcPts val="135"/>
              </a:spcBef>
            </a:pPr>
            <a:r>
              <a:rPr sz="850" kern="0" dirty="0">
                <a:solidFill>
                  <a:srgbClr val="FFFFFF"/>
                </a:solidFill>
                <a:latin typeface="Calibri"/>
                <a:cs typeface="Calibri"/>
              </a:rPr>
              <a:t>1.</a:t>
            </a:r>
            <a:r>
              <a:rPr sz="850" kern="0" spc="3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850" kern="0" spc="-10" dirty="0">
                <a:solidFill>
                  <a:srgbClr val="FFFFFF"/>
                </a:solidFill>
                <a:latin typeface="Calibri"/>
                <a:cs typeface="Calibri"/>
              </a:rPr>
              <a:t>Purchased</a:t>
            </a:r>
            <a:endParaRPr sz="850" kern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66" name="object 66"/>
          <p:cNvSpPr txBox="1"/>
          <p:nvPr/>
        </p:nvSpPr>
        <p:spPr>
          <a:xfrm>
            <a:off x="1939830" y="5173244"/>
            <a:ext cx="886978" cy="148098"/>
          </a:xfrm>
          <a:prstGeom prst="rect">
            <a:avLst/>
          </a:prstGeom>
        </p:spPr>
        <p:txBody>
          <a:bodyPr vert="horz" wrap="square" lIns="0" tIns="17143" rIns="0" bIns="0" rtlCol="0">
            <a:spAutoFit/>
          </a:bodyPr>
          <a:lstStyle/>
          <a:p>
            <a:pPr marL="12699" defTabSz="914309">
              <a:spcBef>
                <a:spcPts val="135"/>
              </a:spcBef>
            </a:pPr>
            <a:r>
              <a:rPr sz="850" kern="0" dirty="0">
                <a:solidFill>
                  <a:srgbClr val="FFFFFF"/>
                </a:solidFill>
                <a:latin typeface="Calibri"/>
                <a:cs typeface="Calibri"/>
              </a:rPr>
              <a:t>goods</a:t>
            </a:r>
            <a:r>
              <a:rPr sz="850" kern="0" spc="5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850" kern="0" dirty="0">
                <a:solidFill>
                  <a:srgbClr val="FFFFFF"/>
                </a:solidFill>
                <a:latin typeface="Calibri"/>
                <a:cs typeface="Calibri"/>
              </a:rPr>
              <a:t>and</a:t>
            </a:r>
            <a:r>
              <a:rPr sz="850" kern="0" spc="4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850" kern="0" spc="-10" dirty="0">
                <a:solidFill>
                  <a:srgbClr val="FFFFFF"/>
                </a:solidFill>
                <a:latin typeface="Calibri"/>
                <a:cs typeface="Calibri"/>
              </a:rPr>
              <a:t>services</a:t>
            </a:r>
            <a:endParaRPr sz="850" kern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67" name="object 67"/>
          <p:cNvSpPr txBox="1"/>
          <p:nvPr/>
        </p:nvSpPr>
        <p:spPr>
          <a:xfrm>
            <a:off x="3355698" y="5032167"/>
            <a:ext cx="452061" cy="280681"/>
          </a:xfrm>
          <a:prstGeom prst="rect">
            <a:avLst/>
          </a:prstGeom>
        </p:spPr>
        <p:txBody>
          <a:bodyPr vert="horz" wrap="square" lIns="0" tIns="11429" rIns="0" bIns="0" rtlCol="0">
            <a:spAutoFit/>
          </a:bodyPr>
          <a:lstStyle/>
          <a:p>
            <a:pPr marL="12699" marR="5079" defTabSz="914309">
              <a:lnSpc>
                <a:spcPct val="104700"/>
              </a:lnSpc>
              <a:spcBef>
                <a:spcPts val="90"/>
              </a:spcBef>
            </a:pPr>
            <a:r>
              <a:rPr sz="850" kern="0" dirty="0">
                <a:solidFill>
                  <a:srgbClr val="FFFFFF"/>
                </a:solidFill>
                <a:latin typeface="Calibri"/>
                <a:cs typeface="Calibri"/>
              </a:rPr>
              <a:t>2.</a:t>
            </a:r>
            <a:r>
              <a:rPr sz="850" kern="0" spc="3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850" kern="0" spc="-10" dirty="0">
                <a:solidFill>
                  <a:srgbClr val="FFFFFF"/>
                </a:solidFill>
                <a:latin typeface="Calibri"/>
                <a:cs typeface="Calibri"/>
              </a:rPr>
              <a:t>Capital</a:t>
            </a:r>
            <a:r>
              <a:rPr sz="850" kern="0" spc="50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850" kern="0" spc="-10" dirty="0">
                <a:solidFill>
                  <a:srgbClr val="FFFFFF"/>
                </a:solidFill>
                <a:latin typeface="Calibri"/>
                <a:cs typeface="Calibri"/>
              </a:rPr>
              <a:t>goods</a:t>
            </a:r>
            <a:endParaRPr sz="850" kern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68" name="object 68"/>
          <p:cNvSpPr txBox="1"/>
          <p:nvPr/>
        </p:nvSpPr>
        <p:spPr>
          <a:xfrm>
            <a:off x="4465024" y="3810332"/>
            <a:ext cx="671743" cy="280681"/>
          </a:xfrm>
          <a:prstGeom prst="rect">
            <a:avLst/>
          </a:prstGeom>
        </p:spPr>
        <p:txBody>
          <a:bodyPr vert="horz" wrap="square" lIns="0" tIns="11429" rIns="0" bIns="0" rtlCol="0">
            <a:spAutoFit/>
          </a:bodyPr>
          <a:lstStyle/>
          <a:p>
            <a:pPr marL="26031" marR="5079" indent="-13969" defTabSz="914309">
              <a:lnSpc>
                <a:spcPct val="104700"/>
              </a:lnSpc>
              <a:spcBef>
                <a:spcPts val="90"/>
              </a:spcBef>
            </a:pPr>
            <a:r>
              <a:rPr sz="850" kern="0" dirty="0">
                <a:solidFill>
                  <a:srgbClr val="FFFFFF"/>
                </a:solidFill>
                <a:latin typeface="Calibri"/>
                <a:cs typeface="Calibri"/>
              </a:rPr>
              <a:t>7.</a:t>
            </a:r>
            <a:r>
              <a:rPr sz="850" kern="0" spc="3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850" kern="0" spc="-10" dirty="0">
                <a:solidFill>
                  <a:srgbClr val="FFFFFF"/>
                </a:solidFill>
                <a:latin typeface="Calibri"/>
                <a:cs typeface="Calibri"/>
              </a:rPr>
              <a:t>Commuting</a:t>
            </a:r>
            <a:r>
              <a:rPr sz="850" kern="0" spc="50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850" kern="0" dirty="0">
                <a:solidFill>
                  <a:srgbClr val="FFFFFF"/>
                </a:solidFill>
                <a:latin typeface="Calibri"/>
                <a:cs typeface="Calibri"/>
              </a:rPr>
              <a:t>of</a:t>
            </a:r>
            <a:r>
              <a:rPr sz="850" kern="0" spc="3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850" kern="0" spc="-10" dirty="0">
                <a:solidFill>
                  <a:srgbClr val="FFFFFF"/>
                </a:solidFill>
                <a:latin typeface="Calibri"/>
                <a:cs typeface="Calibri"/>
              </a:rPr>
              <a:t>employees</a:t>
            </a:r>
            <a:endParaRPr sz="850" kern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69" name="object 69"/>
          <p:cNvSpPr txBox="1"/>
          <p:nvPr/>
        </p:nvSpPr>
        <p:spPr>
          <a:xfrm>
            <a:off x="4376897" y="4413123"/>
            <a:ext cx="820312" cy="280681"/>
          </a:xfrm>
          <a:prstGeom prst="rect">
            <a:avLst/>
          </a:prstGeom>
        </p:spPr>
        <p:txBody>
          <a:bodyPr vert="horz" wrap="square" lIns="0" tIns="11429" rIns="0" bIns="0" rtlCol="0">
            <a:spAutoFit/>
          </a:bodyPr>
          <a:lstStyle/>
          <a:p>
            <a:pPr marL="12699" marR="5079" defTabSz="914309">
              <a:lnSpc>
                <a:spcPct val="104700"/>
              </a:lnSpc>
              <a:spcBef>
                <a:spcPts val="90"/>
              </a:spcBef>
            </a:pPr>
            <a:r>
              <a:rPr sz="850" kern="0" dirty="0">
                <a:solidFill>
                  <a:srgbClr val="FFFFFF"/>
                </a:solidFill>
                <a:latin typeface="Calibri"/>
                <a:cs typeface="Calibri"/>
              </a:rPr>
              <a:t>4.</a:t>
            </a:r>
            <a:r>
              <a:rPr sz="850" kern="0" spc="3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850" kern="0" spc="-10" dirty="0">
                <a:solidFill>
                  <a:srgbClr val="FFFFFF"/>
                </a:solidFill>
                <a:latin typeface="Calibri"/>
                <a:cs typeface="Calibri"/>
              </a:rPr>
              <a:t>Transportation</a:t>
            </a:r>
            <a:r>
              <a:rPr sz="850" kern="0" spc="50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850" kern="0" dirty="0">
                <a:solidFill>
                  <a:srgbClr val="FFFFFF"/>
                </a:solidFill>
                <a:latin typeface="Calibri"/>
                <a:cs typeface="Calibri"/>
              </a:rPr>
              <a:t>and</a:t>
            </a:r>
            <a:r>
              <a:rPr sz="850" kern="0" spc="2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850" kern="0" spc="-10" dirty="0">
                <a:solidFill>
                  <a:srgbClr val="FFFFFF"/>
                </a:solidFill>
                <a:latin typeface="Calibri"/>
                <a:cs typeface="Calibri"/>
              </a:rPr>
              <a:t>distribution</a:t>
            </a:r>
            <a:endParaRPr sz="850" kern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70" name="object 70"/>
          <p:cNvSpPr txBox="1"/>
          <p:nvPr/>
        </p:nvSpPr>
        <p:spPr>
          <a:xfrm>
            <a:off x="4818294" y="3173128"/>
            <a:ext cx="428569" cy="432378"/>
          </a:xfrm>
          <a:prstGeom prst="rect">
            <a:avLst/>
          </a:prstGeom>
        </p:spPr>
        <p:txBody>
          <a:bodyPr vert="horz" wrap="square" lIns="0" tIns="17143" rIns="0" bIns="0" rtlCol="0">
            <a:spAutoFit/>
          </a:bodyPr>
          <a:lstStyle/>
          <a:p>
            <a:pPr algn="ctr" defTabSz="914309">
              <a:spcBef>
                <a:spcPts val="135"/>
              </a:spcBef>
            </a:pPr>
            <a:r>
              <a:rPr sz="850" kern="0" spc="-25" dirty="0">
                <a:solidFill>
                  <a:srgbClr val="FFFFFF"/>
                </a:solidFill>
                <a:latin typeface="Calibri"/>
                <a:cs typeface="Calibri"/>
              </a:rPr>
              <a:t>8.</a:t>
            </a:r>
            <a:endParaRPr sz="850" kern="0">
              <a:solidFill>
                <a:sysClr val="windowText" lastClr="000000"/>
              </a:solidFill>
              <a:latin typeface="Calibri"/>
              <a:cs typeface="Calibri"/>
            </a:endParaRPr>
          </a:p>
          <a:p>
            <a:pPr marL="12699" marR="5079" indent="-1270" algn="ctr" defTabSz="914309">
              <a:lnSpc>
                <a:spcPct val="104700"/>
              </a:lnSpc>
            </a:pPr>
            <a:r>
              <a:rPr sz="850" kern="0" spc="-10" dirty="0">
                <a:solidFill>
                  <a:srgbClr val="FFFFFF"/>
                </a:solidFill>
                <a:latin typeface="Calibri"/>
                <a:cs typeface="Calibri"/>
              </a:rPr>
              <a:t>Leased</a:t>
            </a:r>
            <a:r>
              <a:rPr sz="850" kern="0" spc="50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850" kern="0" spc="-10" dirty="0">
                <a:solidFill>
                  <a:srgbClr val="FFFFFF"/>
                </a:solidFill>
                <a:latin typeface="Calibri"/>
                <a:cs typeface="Calibri"/>
              </a:rPr>
              <a:t>property</a:t>
            </a:r>
            <a:endParaRPr sz="850" kern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71" name="object 71"/>
          <p:cNvSpPr txBox="1"/>
          <p:nvPr/>
        </p:nvSpPr>
        <p:spPr>
          <a:xfrm>
            <a:off x="1371706" y="2712560"/>
            <a:ext cx="601902" cy="191053"/>
          </a:xfrm>
          <a:prstGeom prst="rect">
            <a:avLst/>
          </a:prstGeom>
        </p:spPr>
        <p:txBody>
          <a:bodyPr vert="horz" wrap="square" lIns="0" tIns="13968" rIns="0" bIns="0" rtlCol="0">
            <a:spAutoFit/>
          </a:bodyPr>
          <a:lstStyle/>
          <a:p>
            <a:pPr marL="12699" defTabSz="914309">
              <a:spcBef>
                <a:spcPts val="110"/>
              </a:spcBef>
            </a:pPr>
            <a:r>
              <a:rPr sz="1150" b="1" kern="0" spc="-10" dirty="0">
                <a:solidFill>
                  <a:sysClr val="windowText" lastClr="000000"/>
                </a:solidFill>
                <a:latin typeface="Calibri"/>
                <a:cs typeface="Calibri"/>
              </a:rPr>
              <a:t>INDIRECT</a:t>
            </a:r>
            <a:endParaRPr sz="1150" kern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72" name="object 72"/>
          <p:cNvSpPr txBox="1"/>
          <p:nvPr/>
        </p:nvSpPr>
        <p:spPr>
          <a:xfrm>
            <a:off x="4425153" y="5045500"/>
            <a:ext cx="902851" cy="280681"/>
          </a:xfrm>
          <a:prstGeom prst="rect">
            <a:avLst/>
          </a:prstGeom>
        </p:spPr>
        <p:txBody>
          <a:bodyPr vert="horz" wrap="square" lIns="0" tIns="11429" rIns="0" bIns="0" rtlCol="0">
            <a:spAutoFit/>
          </a:bodyPr>
          <a:lstStyle/>
          <a:p>
            <a:pPr marL="12699" marR="5079" defTabSz="914309">
              <a:lnSpc>
                <a:spcPct val="104700"/>
              </a:lnSpc>
              <a:spcBef>
                <a:spcPts val="90"/>
              </a:spcBef>
            </a:pPr>
            <a:r>
              <a:rPr sz="850" kern="0" dirty="0">
                <a:solidFill>
                  <a:srgbClr val="FFFFFF"/>
                </a:solidFill>
                <a:latin typeface="Calibri"/>
                <a:cs typeface="Calibri"/>
              </a:rPr>
              <a:t>3.</a:t>
            </a:r>
            <a:r>
              <a:rPr sz="850" kern="0" spc="3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850" kern="0" dirty="0">
                <a:solidFill>
                  <a:srgbClr val="FFFFFF"/>
                </a:solidFill>
                <a:latin typeface="Calibri"/>
                <a:cs typeface="Calibri"/>
              </a:rPr>
              <a:t>Fuel</a:t>
            </a:r>
            <a:r>
              <a:rPr sz="850" kern="0" spc="4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850" kern="0" dirty="0">
                <a:solidFill>
                  <a:srgbClr val="FFFFFF"/>
                </a:solidFill>
                <a:latin typeface="Calibri"/>
                <a:cs typeface="Calibri"/>
              </a:rPr>
              <a:t>and</a:t>
            </a:r>
            <a:r>
              <a:rPr sz="850" kern="0" spc="3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850" kern="0" spc="-10" dirty="0">
                <a:solidFill>
                  <a:srgbClr val="FFFFFF"/>
                </a:solidFill>
                <a:latin typeface="Calibri"/>
                <a:cs typeface="Calibri"/>
              </a:rPr>
              <a:t>energy-</a:t>
            </a:r>
            <a:r>
              <a:rPr sz="850" kern="0" spc="50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850" kern="0" dirty="0">
                <a:solidFill>
                  <a:srgbClr val="FFFFFF"/>
                </a:solidFill>
                <a:latin typeface="Calibri"/>
                <a:cs typeface="Calibri"/>
              </a:rPr>
              <a:t>related</a:t>
            </a:r>
            <a:r>
              <a:rPr sz="850" kern="0" spc="4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850" kern="0" spc="-10" dirty="0">
                <a:solidFill>
                  <a:srgbClr val="FFFFFF"/>
                </a:solidFill>
                <a:latin typeface="Calibri"/>
                <a:cs typeface="Calibri"/>
              </a:rPr>
              <a:t>emissions</a:t>
            </a:r>
            <a:endParaRPr sz="850" kern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grpSp>
        <p:nvGrpSpPr>
          <p:cNvPr id="73" name="object 73"/>
          <p:cNvGrpSpPr/>
          <p:nvPr/>
        </p:nvGrpSpPr>
        <p:grpSpPr>
          <a:xfrm>
            <a:off x="9029319" y="1502916"/>
            <a:ext cx="862853" cy="856503"/>
            <a:chOff x="9029700" y="1502663"/>
            <a:chExt cx="862965" cy="856615"/>
          </a:xfrm>
        </p:grpSpPr>
        <p:sp>
          <p:nvSpPr>
            <p:cNvPr id="74" name="object 74"/>
            <p:cNvSpPr/>
            <p:nvPr/>
          </p:nvSpPr>
          <p:spPr>
            <a:xfrm>
              <a:off x="9029700" y="1502663"/>
              <a:ext cx="862965" cy="856615"/>
            </a:xfrm>
            <a:custGeom>
              <a:avLst/>
              <a:gdLst/>
              <a:ahLst/>
              <a:cxnLst/>
              <a:rect l="l" t="t" r="r" b="b"/>
              <a:pathLst>
                <a:path w="862965" h="856614">
                  <a:moveTo>
                    <a:pt x="431292" y="0"/>
                  </a:moveTo>
                  <a:lnTo>
                    <a:pt x="384288" y="2513"/>
                  </a:lnTo>
                  <a:lnTo>
                    <a:pt x="338752" y="9879"/>
                  </a:lnTo>
                  <a:lnTo>
                    <a:pt x="294948" y="21835"/>
                  </a:lnTo>
                  <a:lnTo>
                    <a:pt x="253138" y="38122"/>
                  </a:lnTo>
                  <a:lnTo>
                    <a:pt x="213585" y="58476"/>
                  </a:lnTo>
                  <a:lnTo>
                    <a:pt x="176552" y="82637"/>
                  </a:lnTo>
                  <a:lnTo>
                    <a:pt x="142301" y="110343"/>
                  </a:lnTo>
                  <a:lnTo>
                    <a:pt x="111095" y="141333"/>
                  </a:lnTo>
                  <a:lnTo>
                    <a:pt x="83198" y="175345"/>
                  </a:lnTo>
                  <a:lnTo>
                    <a:pt x="58871" y="212118"/>
                  </a:lnTo>
                  <a:lnTo>
                    <a:pt x="38378" y="251390"/>
                  </a:lnTo>
                  <a:lnTo>
                    <a:pt x="21982" y="292900"/>
                  </a:lnTo>
                  <a:lnTo>
                    <a:pt x="9945" y="336387"/>
                  </a:lnTo>
                  <a:lnTo>
                    <a:pt x="2530" y="381588"/>
                  </a:lnTo>
                  <a:lnTo>
                    <a:pt x="0" y="428244"/>
                  </a:lnTo>
                  <a:lnTo>
                    <a:pt x="2530" y="474899"/>
                  </a:lnTo>
                  <a:lnTo>
                    <a:pt x="9945" y="520100"/>
                  </a:lnTo>
                  <a:lnTo>
                    <a:pt x="21982" y="563587"/>
                  </a:lnTo>
                  <a:lnTo>
                    <a:pt x="38378" y="605097"/>
                  </a:lnTo>
                  <a:lnTo>
                    <a:pt x="58871" y="644369"/>
                  </a:lnTo>
                  <a:lnTo>
                    <a:pt x="83198" y="681142"/>
                  </a:lnTo>
                  <a:lnTo>
                    <a:pt x="111095" y="715154"/>
                  </a:lnTo>
                  <a:lnTo>
                    <a:pt x="142301" y="746144"/>
                  </a:lnTo>
                  <a:lnTo>
                    <a:pt x="176552" y="773850"/>
                  </a:lnTo>
                  <a:lnTo>
                    <a:pt x="213585" y="798011"/>
                  </a:lnTo>
                  <a:lnTo>
                    <a:pt x="253138" y="818365"/>
                  </a:lnTo>
                  <a:lnTo>
                    <a:pt x="294948" y="834652"/>
                  </a:lnTo>
                  <a:lnTo>
                    <a:pt x="338752" y="846608"/>
                  </a:lnTo>
                  <a:lnTo>
                    <a:pt x="384288" y="853974"/>
                  </a:lnTo>
                  <a:lnTo>
                    <a:pt x="431292" y="856488"/>
                  </a:lnTo>
                  <a:lnTo>
                    <a:pt x="478295" y="853974"/>
                  </a:lnTo>
                  <a:lnTo>
                    <a:pt x="523831" y="846608"/>
                  </a:lnTo>
                  <a:lnTo>
                    <a:pt x="567635" y="834652"/>
                  </a:lnTo>
                  <a:lnTo>
                    <a:pt x="609445" y="818365"/>
                  </a:lnTo>
                  <a:lnTo>
                    <a:pt x="648998" y="798011"/>
                  </a:lnTo>
                  <a:lnTo>
                    <a:pt x="686031" y="773850"/>
                  </a:lnTo>
                  <a:lnTo>
                    <a:pt x="720282" y="746144"/>
                  </a:lnTo>
                  <a:lnTo>
                    <a:pt x="751488" y="715154"/>
                  </a:lnTo>
                  <a:lnTo>
                    <a:pt x="779385" y="681142"/>
                  </a:lnTo>
                  <a:lnTo>
                    <a:pt x="803712" y="644369"/>
                  </a:lnTo>
                  <a:lnTo>
                    <a:pt x="824205" y="605097"/>
                  </a:lnTo>
                  <a:lnTo>
                    <a:pt x="840601" y="563587"/>
                  </a:lnTo>
                  <a:lnTo>
                    <a:pt x="852638" y="520100"/>
                  </a:lnTo>
                  <a:lnTo>
                    <a:pt x="860053" y="474899"/>
                  </a:lnTo>
                  <a:lnTo>
                    <a:pt x="862583" y="428244"/>
                  </a:lnTo>
                  <a:lnTo>
                    <a:pt x="860053" y="381588"/>
                  </a:lnTo>
                  <a:lnTo>
                    <a:pt x="852638" y="336387"/>
                  </a:lnTo>
                  <a:lnTo>
                    <a:pt x="840601" y="292900"/>
                  </a:lnTo>
                  <a:lnTo>
                    <a:pt x="824205" y="251390"/>
                  </a:lnTo>
                  <a:lnTo>
                    <a:pt x="803712" y="212118"/>
                  </a:lnTo>
                  <a:lnTo>
                    <a:pt x="779385" y="175345"/>
                  </a:lnTo>
                  <a:lnTo>
                    <a:pt x="751488" y="141333"/>
                  </a:lnTo>
                  <a:lnTo>
                    <a:pt x="720282" y="110343"/>
                  </a:lnTo>
                  <a:lnTo>
                    <a:pt x="686031" y="82637"/>
                  </a:lnTo>
                  <a:lnTo>
                    <a:pt x="648998" y="58476"/>
                  </a:lnTo>
                  <a:lnTo>
                    <a:pt x="609445" y="38122"/>
                  </a:lnTo>
                  <a:lnTo>
                    <a:pt x="567635" y="21835"/>
                  </a:lnTo>
                  <a:lnTo>
                    <a:pt x="523831" y="9879"/>
                  </a:lnTo>
                  <a:lnTo>
                    <a:pt x="478295" y="2513"/>
                  </a:lnTo>
                  <a:lnTo>
                    <a:pt x="431292" y="0"/>
                  </a:lnTo>
                  <a:close/>
                </a:path>
              </a:pathLst>
            </a:custGeom>
            <a:solidFill>
              <a:srgbClr val="99A1B8"/>
            </a:solidFill>
          </p:spPr>
          <p:txBody>
            <a:bodyPr wrap="square" lIns="0" tIns="0" rIns="0" bIns="0" rtlCol="0"/>
            <a:lstStyle/>
            <a:p>
              <a:pPr defTabSz="914309"/>
              <a:endParaRPr kern="0">
                <a:solidFill>
                  <a:sysClr val="windowText" lastClr="000000"/>
                </a:solidFill>
              </a:endParaRPr>
            </a:p>
          </p:txBody>
        </p:sp>
        <p:pic>
          <p:nvPicPr>
            <p:cNvPr id="75" name="object 75"/>
            <p:cNvPicPr/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9093707" y="1565147"/>
              <a:ext cx="714756" cy="710184"/>
            </a:xfrm>
            <a:prstGeom prst="rect">
              <a:avLst/>
            </a:prstGeom>
          </p:spPr>
        </p:pic>
      </p:grpSp>
      <p:sp>
        <p:nvSpPr>
          <p:cNvPr id="76" name="object 76"/>
          <p:cNvSpPr/>
          <p:nvPr/>
        </p:nvSpPr>
        <p:spPr>
          <a:xfrm>
            <a:off x="2213355" y="2536051"/>
            <a:ext cx="3226015" cy="2260306"/>
          </a:xfrm>
          <a:custGeom>
            <a:avLst/>
            <a:gdLst/>
            <a:ahLst/>
            <a:cxnLst/>
            <a:rect l="l" t="t" r="r" b="b"/>
            <a:pathLst>
              <a:path w="3226435" h="2260600">
                <a:moveTo>
                  <a:pt x="504444" y="1419606"/>
                </a:moveTo>
                <a:lnTo>
                  <a:pt x="500380" y="1374267"/>
                </a:lnTo>
                <a:lnTo>
                  <a:pt x="488657" y="1331595"/>
                </a:lnTo>
                <a:lnTo>
                  <a:pt x="470001" y="1292301"/>
                </a:lnTo>
                <a:lnTo>
                  <a:pt x="445122" y="1257096"/>
                </a:lnTo>
                <a:lnTo>
                  <a:pt x="414731" y="1226705"/>
                </a:lnTo>
                <a:lnTo>
                  <a:pt x="379526" y="1201826"/>
                </a:lnTo>
                <a:lnTo>
                  <a:pt x="340233" y="1183170"/>
                </a:lnTo>
                <a:lnTo>
                  <a:pt x="297561" y="1171448"/>
                </a:lnTo>
                <a:lnTo>
                  <a:pt x="252222" y="1167384"/>
                </a:lnTo>
                <a:lnTo>
                  <a:pt x="206870" y="1171448"/>
                </a:lnTo>
                <a:lnTo>
                  <a:pt x="164198" y="1183170"/>
                </a:lnTo>
                <a:lnTo>
                  <a:pt x="124904" y="1201826"/>
                </a:lnTo>
                <a:lnTo>
                  <a:pt x="89700" y="1226705"/>
                </a:lnTo>
                <a:lnTo>
                  <a:pt x="59309" y="1257096"/>
                </a:lnTo>
                <a:lnTo>
                  <a:pt x="34429" y="1292301"/>
                </a:lnTo>
                <a:lnTo>
                  <a:pt x="15773" y="1331595"/>
                </a:lnTo>
                <a:lnTo>
                  <a:pt x="4051" y="1374267"/>
                </a:lnTo>
                <a:lnTo>
                  <a:pt x="0" y="1419606"/>
                </a:lnTo>
                <a:lnTo>
                  <a:pt x="0" y="2007870"/>
                </a:lnTo>
                <a:lnTo>
                  <a:pt x="4051" y="2053221"/>
                </a:lnTo>
                <a:lnTo>
                  <a:pt x="15773" y="2095893"/>
                </a:lnTo>
                <a:lnTo>
                  <a:pt x="34429" y="2135187"/>
                </a:lnTo>
                <a:lnTo>
                  <a:pt x="59309" y="2170392"/>
                </a:lnTo>
                <a:lnTo>
                  <a:pt x="89700" y="2200783"/>
                </a:lnTo>
                <a:lnTo>
                  <a:pt x="124904" y="2225662"/>
                </a:lnTo>
                <a:lnTo>
                  <a:pt x="164198" y="2244318"/>
                </a:lnTo>
                <a:lnTo>
                  <a:pt x="206870" y="2256040"/>
                </a:lnTo>
                <a:lnTo>
                  <a:pt x="252222" y="2260092"/>
                </a:lnTo>
                <a:lnTo>
                  <a:pt x="297561" y="2256040"/>
                </a:lnTo>
                <a:lnTo>
                  <a:pt x="340233" y="2244318"/>
                </a:lnTo>
                <a:lnTo>
                  <a:pt x="379526" y="2225662"/>
                </a:lnTo>
                <a:lnTo>
                  <a:pt x="414731" y="2200783"/>
                </a:lnTo>
                <a:lnTo>
                  <a:pt x="445122" y="2170392"/>
                </a:lnTo>
                <a:lnTo>
                  <a:pt x="470001" y="2135187"/>
                </a:lnTo>
                <a:lnTo>
                  <a:pt x="488657" y="2095893"/>
                </a:lnTo>
                <a:lnTo>
                  <a:pt x="500380" y="2053221"/>
                </a:lnTo>
                <a:lnTo>
                  <a:pt x="504444" y="2007870"/>
                </a:lnTo>
                <a:lnTo>
                  <a:pt x="504444" y="1419606"/>
                </a:lnTo>
                <a:close/>
              </a:path>
              <a:path w="3226435" h="2260600">
                <a:moveTo>
                  <a:pt x="3226308" y="326136"/>
                </a:moveTo>
                <a:lnTo>
                  <a:pt x="2822448" y="0"/>
                </a:lnTo>
                <a:lnTo>
                  <a:pt x="2418588" y="326136"/>
                </a:lnTo>
                <a:lnTo>
                  <a:pt x="2620518" y="326136"/>
                </a:lnTo>
                <a:lnTo>
                  <a:pt x="2620518" y="652272"/>
                </a:lnTo>
                <a:lnTo>
                  <a:pt x="3024378" y="652272"/>
                </a:lnTo>
                <a:lnTo>
                  <a:pt x="3024378" y="326136"/>
                </a:lnTo>
                <a:lnTo>
                  <a:pt x="3226308" y="326136"/>
                </a:lnTo>
                <a:close/>
              </a:path>
            </a:pathLst>
          </a:custGeom>
          <a:solidFill>
            <a:srgbClr val="00A633"/>
          </a:solidFill>
        </p:spPr>
        <p:txBody>
          <a:bodyPr wrap="square" lIns="0" tIns="0" rIns="0" bIns="0" rtlCol="0"/>
          <a:lstStyle/>
          <a:p>
            <a:pPr defTabSz="914309"/>
            <a:endParaRPr kern="0">
              <a:solidFill>
                <a:sysClr val="windowText" lastClr="000000"/>
              </a:solidFill>
            </a:endParaRPr>
          </a:p>
        </p:txBody>
      </p:sp>
      <p:sp>
        <p:nvSpPr>
          <p:cNvPr id="77" name="object 77"/>
          <p:cNvSpPr txBox="1"/>
          <p:nvPr/>
        </p:nvSpPr>
        <p:spPr>
          <a:xfrm>
            <a:off x="9298776" y="1773643"/>
            <a:ext cx="444442" cy="330792"/>
          </a:xfrm>
          <a:prstGeom prst="rect">
            <a:avLst/>
          </a:prstGeom>
        </p:spPr>
        <p:txBody>
          <a:bodyPr vert="horz" wrap="square" lIns="0" tIns="13333" rIns="0" bIns="0" rtlCol="0">
            <a:spAutoFit/>
          </a:bodyPr>
          <a:lstStyle/>
          <a:p>
            <a:pPr marL="38096" defTabSz="914309">
              <a:spcBef>
                <a:spcPts val="105"/>
              </a:spcBef>
            </a:pPr>
            <a:r>
              <a:rPr sz="2000" kern="0" spc="-25" dirty="0">
                <a:solidFill>
                  <a:srgbClr val="FFFFFF"/>
                </a:solidFill>
                <a:latin typeface="Calibri"/>
                <a:cs typeface="Calibri"/>
              </a:rPr>
              <a:t>NF</a:t>
            </a:r>
            <a:r>
              <a:rPr sz="1950" kern="0" spc="-37" baseline="-21367" dirty="0">
                <a:solidFill>
                  <a:srgbClr val="FFFFFF"/>
                </a:solidFill>
                <a:latin typeface="Calibri"/>
                <a:cs typeface="Calibri"/>
              </a:rPr>
              <a:t>3</a:t>
            </a:r>
            <a:endParaRPr sz="1950" kern="0" baseline="-21367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grpSp>
        <p:nvGrpSpPr>
          <p:cNvPr id="78" name="object 78"/>
          <p:cNvGrpSpPr/>
          <p:nvPr/>
        </p:nvGrpSpPr>
        <p:grpSpPr>
          <a:xfrm>
            <a:off x="10208550" y="4925183"/>
            <a:ext cx="701584" cy="514283"/>
            <a:chOff x="10209085" y="4925377"/>
            <a:chExt cx="701675" cy="514350"/>
          </a:xfrm>
        </p:grpSpPr>
        <p:sp>
          <p:nvSpPr>
            <p:cNvPr id="79" name="object 79"/>
            <p:cNvSpPr/>
            <p:nvPr/>
          </p:nvSpPr>
          <p:spPr>
            <a:xfrm>
              <a:off x="10213847" y="4930140"/>
              <a:ext cx="692150" cy="504825"/>
            </a:xfrm>
            <a:custGeom>
              <a:avLst/>
              <a:gdLst/>
              <a:ahLst/>
              <a:cxnLst/>
              <a:rect l="l" t="t" r="r" b="b"/>
              <a:pathLst>
                <a:path w="692150" h="504825">
                  <a:moveTo>
                    <a:pt x="691896" y="0"/>
                  </a:moveTo>
                  <a:lnTo>
                    <a:pt x="0" y="0"/>
                  </a:lnTo>
                  <a:lnTo>
                    <a:pt x="0" y="504444"/>
                  </a:lnTo>
                  <a:lnTo>
                    <a:pt x="691896" y="504444"/>
                  </a:lnTo>
                  <a:lnTo>
                    <a:pt x="691896" y="0"/>
                  </a:lnTo>
                  <a:close/>
                </a:path>
              </a:pathLst>
            </a:custGeom>
            <a:solidFill>
              <a:srgbClr val="00A633"/>
            </a:solidFill>
          </p:spPr>
          <p:txBody>
            <a:bodyPr wrap="square" lIns="0" tIns="0" rIns="0" bIns="0" rtlCol="0"/>
            <a:lstStyle/>
            <a:p>
              <a:pPr defTabSz="914309"/>
              <a:endParaRPr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0" name="object 80"/>
            <p:cNvSpPr/>
            <p:nvPr/>
          </p:nvSpPr>
          <p:spPr>
            <a:xfrm>
              <a:off x="10213847" y="4930140"/>
              <a:ext cx="692150" cy="504825"/>
            </a:xfrm>
            <a:custGeom>
              <a:avLst/>
              <a:gdLst/>
              <a:ahLst/>
              <a:cxnLst/>
              <a:rect l="l" t="t" r="r" b="b"/>
              <a:pathLst>
                <a:path w="692150" h="504825">
                  <a:moveTo>
                    <a:pt x="0" y="504444"/>
                  </a:moveTo>
                  <a:lnTo>
                    <a:pt x="691896" y="504444"/>
                  </a:lnTo>
                  <a:lnTo>
                    <a:pt x="691896" y="0"/>
                  </a:lnTo>
                  <a:lnTo>
                    <a:pt x="0" y="0"/>
                  </a:lnTo>
                  <a:lnTo>
                    <a:pt x="0" y="504444"/>
                  </a:lnTo>
                  <a:close/>
                </a:path>
              </a:pathLst>
            </a:custGeom>
            <a:ln w="9525">
              <a:solidFill>
                <a:srgbClr val="36A162"/>
              </a:solidFill>
            </a:ln>
          </p:spPr>
          <p:txBody>
            <a:bodyPr wrap="square" lIns="0" tIns="0" rIns="0" bIns="0" rtlCol="0"/>
            <a:lstStyle/>
            <a:p>
              <a:pPr defTabSz="914309"/>
              <a:endParaRPr kern="0">
                <a:solidFill>
                  <a:sysClr val="windowText" lastClr="000000"/>
                </a:solidFill>
              </a:endParaRPr>
            </a:p>
          </p:txBody>
        </p:sp>
      </p:grpSp>
      <p:grpSp>
        <p:nvGrpSpPr>
          <p:cNvPr id="81" name="object 81"/>
          <p:cNvGrpSpPr/>
          <p:nvPr/>
        </p:nvGrpSpPr>
        <p:grpSpPr>
          <a:xfrm>
            <a:off x="5794097" y="1498154"/>
            <a:ext cx="872376" cy="866027"/>
            <a:chOff x="5794057" y="1497901"/>
            <a:chExt cx="872490" cy="866140"/>
          </a:xfrm>
        </p:grpSpPr>
        <p:sp>
          <p:nvSpPr>
            <p:cNvPr id="82" name="object 82"/>
            <p:cNvSpPr/>
            <p:nvPr/>
          </p:nvSpPr>
          <p:spPr>
            <a:xfrm>
              <a:off x="5798820" y="1502663"/>
              <a:ext cx="862965" cy="856615"/>
            </a:xfrm>
            <a:custGeom>
              <a:avLst/>
              <a:gdLst/>
              <a:ahLst/>
              <a:cxnLst/>
              <a:rect l="l" t="t" r="r" b="b"/>
              <a:pathLst>
                <a:path w="862965" h="856614">
                  <a:moveTo>
                    <a:pt x="431291" y="0"/>
                  </a:moveTo>
                  <a:lnTo>
                    <a:pt x="384288" y="2513"/>
                  </a:lnTo>
                  <a:lnTo>
                    <a:pt x="338752" y="9879"/>
                  </a:lnTo>
                  <a:lnTo>
                    <a:pt x="294948" y="21835"/>
                  </a:lnTo>
                  <a:lnTo>
                    <a:pt x="253138" y="38122"/>
                  </a:lnTo>
                  <a:lnTo>
                    <a:pt x="213585" y="58476"/>
                  </a:lnTo>
                  <a:lnTo>
                    <a:pt x="176552" y="82637"/>
                  </a:lnTo>
                  <a:lnTo>
                    <a:pt x="142301" y="110343"/>
                  </a:lnTo>
                  <a:lnTo>
                    <a:pt x="111095" y="141333"/>
                  </a:lnTo>
                  <a:lnTo>
                    <a:pt x="83198" y="175345"/>
                  </a:lnTo>
                  <a:lnTo>
                    <a:pt x="58871" y="212118"/>
                  </a:lnTo>
                  <a:lnTo>
                    <a:pt x="38378" y="251390"/>
                  </a:lnTo>
                  <a:lnTo>
                    <a:pt x="21982" y="292900"/>
                  </a:lnTo>
                  <a:lnTo>
                    <a:pt x="9945" y="336387"/>
                  </a:lnTo>
                  <a:lnTo>
                    <a:pt x="2530" y="381588"/>
                  </a:lnTo>
                  <a:lnTo>
                    <a:pt x="0" y="428244"/>
                  </a:lnTo>
                  <a:lnTo>
                    <a:pt x="2530" y="474899"/>
                  </a:lnTo>
                  <a:lnTo>
                    <a:pt x="9945" y="520100"/>
                  </a:lnTo>
                  <a:lnTo>
                    <a:pt x="21982" y="563587"/>
                  </a:lnTo>
                  <a:lnTo>
                    <a:pt x="38378" y="605097"/>
                  </a:lnTo>
                  <a:lnTo>
                    <a:pt x="58871" y="644369"/>
                  </a:lnTo>
                  <a:lnTo>
                    <a:pt x="83198" y="681142"/>
                  </a:lnTo>
                  <a:lnTo>
                    <a:pt x="111095" y="715154"/>
                  </a:lnTo>
                  <a:lnTo>
                    <a:pt x="142301" y="746144"/>
                  </a:lnTo>
                  <a:lnTo>
                    <a:pt x="176552" y="773850"/>
                  </a:lnTo>
                  <a:lnTo>
                    <a:pt x="213585" y="798011"/>
                  </a:lnTo>
                  <a:lnTo>
                    <a:pt x="253138" y="818365"/>
                  </a:lnTo>
                  <a:lnTo>
                    <a:pt x="294948" y="834652"/>
                  </a:lnTo>
                  <a:lnTo>
                    <a:pt x="338752" y="846608"/>
                  </a:lnTo>
                  <a:lnTo>
                    <a:pt x="384288" y="853974"/>
                  </a:lnTo>
                  <a:lnTo>
                    <a:pt x="431291" y="856488"/>
                  </a:lnTo>
                  <a:lnTo>
                    <a:pt x="478295" y="853974"/>
                  </a:lnTo>
                  <a:lnTo>
                    <a:pt x="523831" y="846608"/>
                  </a:lnTo>
                  <a:lnTo>
                    <a:pt x="567635" y="834652"/>
                  </a:lnTo>
                  <a:lnTo>
                    <a:pt x="609445" y="818365"/>
                  </a:lnTo>
                  <a:lnTo>
                    <a:pt x="648998" y="798011"/>
                  </a:lnTo>
                  <a:lnTo>
                    <a:pt x="686031" y="773850"/>
                  </a:lnTo>
                  <a:lnTo>
                    <a:pt x="720282" y="746144"/>
                  </a:lnTo>
                  <a:lnTo>
                    <a:pt x="751488" y="715154"/>
                  </a:lnTo>
                  <a:lnTo>
                    <a:pt x="779385" y="681142"/>
                  </a:lnTo>
                  <a:lnTo>
                    <a:pt x="803712" y="644369"/>
                  </a:lnTo>
                  <a:lnTo>
                    <a:pt x="824205" y="605097"/>
                  </a:lnTo>
                  <a:lnTo>
                    <a:pt x="840601" y="563587"/>
                  </a:lnTo>
                  <a:lnTo>
                    <a:pt x="852638" y="520100"/>
                  </a:lnTo>
                  <a:lnTo>
                    <a:pt x="860053" y="474899"/>
                  </a:lnTo>
                  <a:lnTo>
                    <a:pt x="862583" y="428244"/>
                  </a:lnTo>
                  <a:lnTo>
                    <a:pt x="860053" y="381588"/>
                  </a:lnTo>
                  <a:lnTo>
                    <a:pt x="852638" y="336387"/>
                  </a:lnTo>
                  <a:lnTo>
                    <a:pt x="840601" y="292900"/>
                  </a:lnTo>
                  <a:lnTo>
                    <a:pt x="824205" y="251390"/>
                  </a:lnTo>
                  <a:lnTo>
                    <a:pt x="803712" y="212118"/>
                  </a:lnTo>
                  <a:lnTo>
                    <a:pt x="779385" y="175345"/>
                  </a:lnTo>
                  <a:lnTo>
                    <a:pt x="751488" y="141333"/>
                  </a:lnTo>
                  <a:lnTo>
                    <a:pt x="720282" y="110343"/>
                  </a:lnTo>
                  <a:lnTo>
                    <a:pt x="686031" y="82637"/>
                  </a:lnTo>
                  <a:lnTo>
                    <a:pt x="648998" y="58476"/>
                  </a:lnTo>
                  <a:lnTo>
                    <a:pt x="609445" y="38122"/>
                  </a:lnTo>
                  <a:lnTo>
                    <a:pt x="567635" y="21835"/>
                  </a:lnTo>
                  <a:lnTo>
                    <a:pt x="523831" y="9879"/>
                  </a:lnTo>
                  <a:lnTo>
                    <a:pt x="478295" y="2513"/>
                  </a:lnTo>
                  <a:lnTo>
                    <a:pt x="431291" y="0"/>
                  </a:lnTo>
                  <a:close/>
                </a:path>
              </a:pathLst>
            </a:custGeom>
            <a:solidFill>
              <a:srgbClr val="C1C1C1"/>
            </a:solidFill>
          </p:spPr>
          <p:txBody>
            <a:bodyPr wrap="square" lIns="0" tIns="0" rIns="0" bIns="0" rtlCol="0"/>
            <a:lstStyle/>
            <a:p>
              <a:pPr defTabSz="914309"/>
              <a:endParaRPr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3" name="object 83"/>
            <p:cNvSpPr/>
            <p:nvPr/>
          </p:nvSpPr>
          <p:spPr>
            <a:xfrm>
              <a:off x="5798820" y="1502663"/>
              <a:ext cx="862965" cy="856615"/>
            </a:xfrm>
            <a:custGeom>
              <a:avLst/>
              <a:gdLst/>
              <a:ahLst/>
              <a:cxnLst/>
              <a:rect l="l" t="t" r="r" b="b"/>
              <a:pathLst>
                <a:path w="862965" h="856614">
                  <a:moveTo>
                    <a:pt x="0" y="428244"/>
                  </a:moveTo>
                  <a:lnTo>
                    <a:pt x="2530" y="381588"/>
                  </a:lnTo>
                  <a:lnTo>
                    <a:pt x="9945" y="336387"/>
                  </a:lnTo>
                  <a:lnTo>
                    <a:pt x="21982" y="292900"/>
                  </a:lnTo>
                  <a:lnTo>
                    <a:pt x="38378" y="251390"/>
                  </a:lnTo>
                  <a:lnTo>
                    <a:pt x="58871" y="212118"/>
                  </a:lnTo>
                  <a:lnTo>
                    <a:pt x="83198" y="175345"/>
                  </a:lnTo>
                  <a:lnTo>
                    <a:pt x="111095" y="141333"/>
                  </a:lnTo>
                  <a:lnTo>
                    <a:pt x="142301" y="110343"/>
                  </a:lnTo>
                  <a:lnTo>
                    <a:pt x="176552" y="82637"/>
                  </a:lnTo>
                  <a:lnTo>
                    <a:pt x="213585" y="58476"/>
                  </a:lnTo>
                  <a:lnTo>
                    <a:pt x="253138" y="38122"/>
                  </a:lnTo>
                  <a:lnTo>
                    <a:pt x="294948" y="21835"/>
                  </a:lnTo>
                  <a:lnTo>
                    <a:pt x="338752" y="9879"/>
                  </a:lnTo>
                  <a:lnTo>
                    <a:pt x="384288" y="2513"/>
                  </a:lnTo>
                  <a:lnTo>
                    <a:pt x="431291" y="0"/>
                  </a:lnTo>
                  <a:lnTo>
                    <a:pt x="478295" y="2513"/>
                  </a:lnTo>
                  <a:lnTo>
                    <a:pt x="523831" y="9879"/>
                  </a:lnTo>
                  <a:lnTo>
                    <a:pt x="567635" y="21835"/>
                  </a:lnTo>
                  <a:lnTo>
                    <a:pt x="609445" y="38122"/>
                  </a:lnTo>
                  <a:lnTo>
                    <a:pt x="648998" y="58476"/>
                  </a:lnTo>
                  <a:lnTo>
                    <a:pt x="686031" y="82637"/>
                  </a:lnTo>
                  <a:lnTo>
                    <a:pt x="720282" y="110343"/>
                  </a:lnTo>
                  <a:lnTo>
                    <a:pt x="751488" y="141333"/>
                  </a:lnTo>
                  <a:lnTo>
                    <a:pt x="779385" y="175345"/>
                  </a:lnTo>
                  <a:lnTo>
                    <a:pt x="803712" y="212118"/>
                  </a:lnTo>
                  <a:lnTo>
                    <a:pt x="824205" y="251390"/>
                  </a:lnTo>
                  <a:lnTo>
                    <a:pt x="840601" y="292900"/>
                  </a:lnTo>
                  <a:lnTo>
                    <a:pt x="852638" y="336387"/>
                  </a:lnTo>
                  <a:lnTo>
                    <a:pt x="860053" y="381588"/>
                  </a:lnTo>
                  <a:lnTo>
                    <a:pt x="862583" y="428244"/>
                  </a:lnTo>
                  <a:lnTo>
                    <a:pt x="860053" y="474899"/>
                  </a:lnTo>
                  <a:lnTo>
                    <a:pt x="852638" y="520100"/>
                  </a:lnTo>
                  <a:lnTo>
                    <a:pt x="840601" y="563587"/>
                  </a:lnTo>
                  <a:lnTo>
                    <a:pt x="824205" y="605097"/>
                  </a:lnTo>
                  <a:lnTo>
                    <a:pt x="803712" y="644369"/>
                  </a:lnTo>
                  <a:lnTo>
                    <a:pt x="779385" y="681142"/>
                  </a:lnTo>
                  <a:lnTo>
                    <a:pt x="751488" y="715154"/>
                  </a:lnTo>
                  <a:lnTo>
                    <a:pt x="720282" y="746144"/>
                  </a:lnTo>
                  <a:lnTo>
                    <a:pt x="686031" y="773850"/>
                  </a:lnTo>
                  <a:lnTo>
                    <a:pt x="648998" y="798011"/>
                  </a:lnTo>
                  <a:lnTo>
                    <a:pt x="609445" y="818365"/>
                  </a:lnTo>
                  <a:lnTo>
                    <a:pt x="567635" y="834652"/>
                  </a:lnTo>
                  <a:lnTo>
                    <a:pt x="523831" y="846608"/>
                  </a:lnTo>
                  <a:lnTo>
                    <a:pt x="478295" y="853974"/>
                  </a:lnTo>
                  <a:lnTo>
                    <a:pt x="431291" y="856488"/>
                  </a:lnTo>
                  <a:lnTo>
                    <a:pt x="384288" y="853974"/>
                  </a:lnTo>
                  <a:lnTo>
                    <a:pt x="338752" y="846608"/>
                  </a:lnTo>
                  <a:lnTo>
                    <a:pt x="294948" y="834652"/>
                  </a:lnTo>
                  <a:lnTo>
                    <a:pt x="253138" y="818365"/>
                  </a:lnTo>
                  <a:lnTo>
                    <a:pt x="213585" y="798011"/>
                  </a:lnTo>
                  <a:lnTo>
                    <a:pt x="176552" y="773850"/>
                  </a:lnTo>
                  <a:lnTo>
                    <a:pt x="142301" y="746144"/>
                  </a:lnTo>
                  <a:lnTo>
                    <a:pt x="111095" y="715154"/>
                  </a:lnTo>
                  <a:lnTo>
                    <a:pt x="83198" y="681142"/>
                  </a:lnTo>
                  <a:lnTo>
                    <a:pt x="58871" y="644369"/>
                  </a:lnTo>
                  <a:lnTo>
                    <a:pt x="38378" y="605097"/>
                  </a:lnTo>
                  <a:lnTo>
                    <a:pt x="21982" y="563587"/>
                  </a:lnTo>
                  <a:lnTo>
                    <a:pt x="9945" y="520100"/>
                  </a:lnTo>
                  <a:lnTo>
                    <a:pt x="2530" y="474899"/>
                  </a:lnTo>
                  <a:lnTo>
                    <a:pt x="0" y="428244"/>
                  </a:lnTo>
                  <a:close/>
                </a:path>
              </a:pathLst>
            </a:custGeom>
            <a:ln w="9525">
              <a:solidFill>
                <a:srgbClr val="C1C1C1"/>
              </a:solidFill>
            </a:ln>
          </p:spPr>
          <p:txBody>
            <a:bodyPr wrap="square" lIns="0" tIns="0" rIns="0" bIns="0" rtlCol="0"/>
            <a:lstStyle/>
            <a:p>
              <a:pPr defTabSz="914309"/>
              <a:endParaRPr kern="0">
                <a:solidFill>
                  <a:sysClr val="windowText" lastClr="000000"/>
                </a:solidFill>
              </a:endParaRPr>
            </a:p>
          </p:txBody>
        </p:sp>
        <p:pic>
          <p:nvPicPr>
            <p:cNvPr id="84" name="object 84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5870448" y="1574291"/>
              <a:ext cx="716279" cy="710184"/>
            </a:xfrm>
            <a:prstGeom prst="rect">
              <a:avLst/>
            </a:prstGeom>
          </p:spPr>
        </p:pic>
        <p:sp>
          <p:nvSpPr>
            <p:cNvPr id="85" name="object 85"/>
            <p:cNvSpPr/>
            <p:nvPr/>
          </p:nvSpPr>
          <p:spPr>
            <a:xfrm>
              <a:off x="5871972" y="1575815"/>
              <a:ext cx="715010" cy="708660"/>
            </a:xfrm>
            <a:custGeom>
              <a:avLst/>
              <a:gdLst/>
              <a:ahLst/>
              <a:cxnLst/>
              <a:rect l="l" t="t" r="r" b="b"/>
              <a:pathLst>
                <a:path w="715009" h="708660">
                  <a:moveTo>
                    <a:pt x="0" y="354330"/>
                  </a:moveTo>
                  <a:lnTo>
                    <a:pt x="3262" y="306246"/>
                  </a:lnTo>
                  <a:lnTo>
                    <a:pt x="12767" y="260129"/>
                  </a:lnTo>
                  <a:lnTo>
                    <a:pt x="28086" y="216402"/>
                  </a:lnTo>
                  <a:lnTo>
                    <a:pt x="48796" y="175485"/>
                  </a:lnTo>
                  <a:lnTo>
                    <a:pt x="74469" y="137802"/>
                  </a:lnTo>
                  <a:lnTo>
                    <a:pt x="104679" y="103774"/>
                  </a:lnTo>
                  <a:lnTo>
                    <a:pt x="139001" y="73824"/>
                  </a:lnTo>
                  <a:lnTo>
                    <a:pt x="177009" y="48372"/>
                  </a:lnTo>
                  <a:lnTo>
                    <a:pt x="218277" y="27842"/>
                  </a:lnTo>
                  <a:lnTo>
                    <a:pt x="262378" y="12655"/>
                  </a:lnTo>
                  <a:lnTo>
                    <a:pt x="308887" y="3234"/>
                  </a:lnTo>
                  <a:lnTo>
                    <a:pt x="357377" y="0"/>
                  </a:lnTo>
                  <a:lnTo>
                    <a:pt x="405868" y="3234"/>
                  </a:lnTo>
                  <a:lnTo>
                    <a:pt x="452377" y="12655"/>
                  </a:lnTo>
                  <a:lnTo>
                    <a:pt x="496478" y="27842"/>
                  </a:lnTo>
                  <a:lnTo>
                    <a:pt x="537746" y="48372"/>
                  </a:lnTo>
                  <a:lnTo>
                    <a:pt x="575754" y="73824"/>
                  </a:lnTo>
                  <a:lnTo>
                    <a:pt x="610076" y="103774"/>
                  </a:lnTo>
                  <a:lnTo>
                    <a:pt x="640286" y="137802"/>
                  </a:lnTo>
                  <a:lnTo>
                    <a:pt x="665959" y="175485"/>
                  </a:lnTo>
                  <a:lnTo>
                    <a:pt x="686669" y="216402"/>
                  </a:lnTo>
                  <a:lnTo>
                    <a:pt x="701988" y="260129"/>
                  </a:lnTo>
                  <a:lnTo>
                    <a:pt x="711493" y="306246"/>
                  </a:lnTo>
                  <a:lnTo>
                    <a:pt x="714755" y="354330"/>
                  </a:lnTo>
                  <a:lnTo>
                    <a:pt x="711493" y="402413"/>
                  </a:lnTo>
                  <a:lnTo>
                    <a:pt x="701988" y="448530"/>
                  </a:lnTo>
                  <a:lnTo>
                    <a:pt x="686669" y="492257"/>
                  </a:lnTo>
                  <a:lnTo>
                    <a:pt x="665959" y="533174"/>
                  </a:lnTo>
                  <a:lnTo>
                    <a:pt x="640286" y="570857"/>
                  </a:lnTo>
                  <a:lnTo>
                    <a:pt x="610076" y="604885"/>
                  </a:lnTo>
                  <a:lnTo>
                    <a:pt x="575754" y="634835"/>
                  </a:lnTo>
                  <a:lnTo>
                    <a:pt x="537746" y="660287"/>
                  </a:lnTo>
                  <a:lnTo>
                    <a:pt x="496478" y="680817"/>
                  </a:lnTo>
                  <a:lnTo>
                    <a:pt x="452377" y="696004"/>
                  </a:lnTo>
                  <a:lnTo>
                    <a:pt x="405868" y="705425"/>
                  </a:lnTo>
                  <a:lnTo>
                    <a:pt x="357377" y="708660"/>
                  </a:lnTo>
                  <a:lnTo>
                    <a:pt x="308887" y="705425"/>
                  </a:lnTo>
                  <a:lnTo>
                    <a:pt x="262378" y="696004"/>
                  </a:lnTo>
                  <a:lnTo>
                    <a:pt x="218277" y="680817"/>
                  </a:lnTo>
                  <a:lnTo>
                    <a:pt x="177009" y="660287"/>
                  </a:lnTo>
                  <a:lnTo>
                    <a:pt x="139001" y="634835"/>
                  </a:lnTo>
                  <a:lnTo>
                    <a:pt x="104679" y="604885"/>
                  </a:lnTo>
                  <a:lnTo>
                    <a:pt x="74469" y="570857"/>
                  </a:lnTo>
                  <a:lnTo>
                    <a:pt x="48796" y="533174"/>
                  </a:lnTo>
                  <a:lnTo>
                    <a:pt x="28086" y="492257"/>
                  </a:lnTo>
                  <a:lnTo>
                    <a:pt x="12767" y="448530"/>
                  </a:lnTo>
                  <a:lnTo>
                    <a:pt x="3262" y="402413"/>
                  </a:lnTo>
                  <a:lnTo>
                    <a:pt x="0" y="354330"/>
                  </a:lnTo>
                  <a:close/>
                </a:path>
              </a:pathLst>
            </a:custGeom>
            <a:ln w="9525">
              <a:solidFill>
                <a:srgbClr val="B1B1B0"/>
              </a:solidFill>
            </a:ln>
          </p:spPr>
          <p:txBody>
            <a:bodyPr wrap="square" lIns="0" tIns="0" rIns="0" bIns="0" rtlCol="0"/>
            <a:lstStyle/>
            <a:p>
              <a:pPr defTabSz="914309"/>
              <a:endParaRPr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86" name="object 86"/>
          <p:cNvSpPr txBox="1"/>
          <p:nvPr/>
        </p:nvSpPr>
        <p:spPr>
          <a:xfrm>
            <a:off x="6014351" y="1739867"/>
            <a:ext cx="442537" cy="313014"/>
          </a:xfrm>
          <a:prstGeom prst="rect">
            <a:avLst/>
          </a:prstGeom>
        </p:spPr>
        <p:txBody>
          <a:bodyPr vert="horz" wrap="square" lIns="0" tIns="16508" rIns="0" bIns="0" rtlCol="0">
            <a:spAutoFit/>
          </a:bodyPr>
          <a:lstStyle/>
          <a:p>
            <a:pPr marL="38096" defTabSz="914309">
              <a:spcBef>
                <a:spcPts val="130"/>
              </a:spcBef>
            </a:pPr>
            <a:r>
              <a:rPr sz="1850" kern="0" spc="-25" dirty="0">
                <a:solidFill>
                  <a:srgbClr val="FFFFFF"/>
                </a:solidFill>
                <a:latin typeface="Calibri"/>
                <a:cs typeface="Calibri"/>
              </a:rPr>
              <a:t>CO</a:t>
            </a:r>
            <a:r>
              <a:rPr sz="1875" kern="0" spc="-37" baseline="-20000" dirty="0">
                <a:solidFill>
                  <a:srgbClr val="FFFFFF"/>
                </a:solidFill>
                <a:latin typeface="Calibri"/>
                <a:cs typeface="Calibri"/>
              </a:rPr>
              <a:t>2</a:t>
            </a:r>
            <a:endParaRPr sz="1875" kern="0" baseline="-2000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87" name="object 87"/>
          <p:cNvSpPr txBox="1"/>
          <p:nvPr/>
        </p:nvSpPr>
        <p:spPr>
          <a:xfrm>
            <a:off x="2643193" y="4438138"/>
            <a:ext cx="429203" cy="148098"/>
          </a:xfrm>
          <a:prstGeom prst="rect">
            <a:avLst/>
          </a:prstGeom>
        </p:spPr>
        <p:txBody>
          <a:bodyPr vert="horz" wrap="square" lIns="0" tIns="17143" rIns="0" bIns="0" rtlCol="0">
            <a:spAutoFit/>
          </a:bodyPr>
          <a:lstStyle/>
          <a:p>
            <a:pPr marL="12699" defTabSz="914309">
              <a:spcBef>
                <a:spcPts val="135"/>
              </a:spcBef>
            </a:pPr>
            <a:r>
              <a:rPr sz="850" kern="0" dirty="0">
                <a:solidFill>
                  <a:srgbClr val="FFFFFF"/>
                </a:solidFill>
                <a:latin typeface="Calibri"/>
                <a:cs typeface="Calibri"/>
              </a:rPr>
              <a:t>5.</a:t>
            </a:r>
            <a:r>
              <a:rPr sz="850" kern="0" spc="3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850" kern="0" spc="-10" dirty="0">
                <a:solidFill>
                  <a:srgbClr val="FFFFFF"/>
                </a:solidFill>
                <a:latin typeface="Calibri"/>
                <a:cs typeface="Calibri"/>
              </a:rPr>
              <a:t>Waste</a:t>
            </a:r>
            <a:endParaRPr sz="850" kern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88" name="object 88"/>
          <p:cNvSpPr/>
          <p:nvPr/>
        </p:nvSpPr>
        <p:spPr>
          <a:xfrm>
            <a:off x="3100207" y="2531481"/>
            <a:ext cx="807615" cy="647616"/>
          </a:xfrm>
          <a:custGeom>
            <a:avLst/>
            <a:gdLst/>
            <a:ahLst/>
            <a:cxnLst/>
            <a:rect l="l" t="t" r="r" b="b"/>
            <a:pathLst>
              <a:path w="807720" h="647700">
                <a:moveTo>
                  <a:pt x="403859" y="0"/>
                </a:moveTo>
                <a:lnTo>
                  <a:pt x="0" y="323850"/>
                </a:lnTo>
                <a:lnTo>
                  <a:pt x="201930" y="323850"/>
                </a:lnTo>
                <a:lnTo>
                  <a:pt x="201930" y="647700"/>
                </a:lnTo>
                <a:lnTo>
                  <a:pt x="605789" y="647700"/>
                </a:lnTo>
                <a:lnTo>
                  <a:pt x="605789" y="323850"/>
                </a:lnTo>
                <a:lnTo>
                  <a:pt x="807719" y="323850"/>
                </a:lnTo>
                <a:lnTo>
                  <a:pt x="403859" y="0"/>
                </a:lnTo>
                <a:close/>
              </a:path>
            </a:pathLst>
          </a:custGeom>
          <a:solidFill>
            <a:srgbClr val="007BBB"/>
          </a:solidFill>
        </p:spPr>
        <p:txBody>
          <a:bodyPr wrap="square" lIns="0" tIns="0" rIns="0" bIns="0" rtlCol="0"/>
          <a:lstStyle/>
          <a:p>
            <a:pPr defTabSz="914309"/>
            <a:endParaRPr kern="0">
              <a:solidFill>
                <a:sysClr val="windowText" lastClr="000000"/>
              </a:solidFill>
            </a:endParaRPr>
          </a:p>
        </p:txBody>
      </p:sp>
      <p:sp>
        <p:nvSpPr>
          <p:cNvPr id="89" name="object 89"/>
          <p:cNvSpPr txBox="1"/>
          <p:nvPr/>
        </p:nvSpPr>
        <p:spPr>
          <a:xfrm>
            <a:off x="1844975" y="3000304"/>
            <a:ext cx="1573325" cy="280681"/>
          </a:xfrm>
          <a:prstGeom prst="rect">
            <a:avLst/>
          </a:prstGeom>
        </p:spPr>
        <p:txBody>
          <a:bodyPr vert="horz" wrap="square" lIns="0" tIns="11429" rIns="0" bIns="0" rtlCol="0">
            <a:spAutoFit/>
          </a:bodyPr>
          <a:lstStyle/>
          <a:p>
            <a:pPr marL="12699" marR="5079" defTabSz="914309">
              <a:lnSpc>
                <a:spcPct val="104700"/>
              </a:lnSpc>
              <a:spcBef>
                <a:spcPts val="90"/>
              </a:spcBef>
            </a:pPr>
            <a:r>
              <a:rPr sz="850" kern="0" dirty="0">
                <a:solidFill>
                  <a:srgbClr val="FFFFFF"/>
                </a:solidFill>
                <a:latin typeface="Calibri"/>
                <a:cs typeface="Calibri"/>
              </a:rPr>
              <a:t>Purchased</a:t>
            </a:r>
            <a:r>
              <a:rPr sz="850" kern="0" spc="8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850" kern="0" dirty="0">
                <a:solidFill>
                  <a:srgbClr val="FFFFFF"/>
                </a:solidFill>
                <a:latin typeface="Calibri"/>
                <a:cs typeface="Calibri"/>
              </a:rPr>
              <a:t>electricity,</a:t>
            </a:r>
            <a:r>
              <a:rPr sz="850" kern="0" spc="6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850" kern="0" dirty="0">
                <a:solidFill>
                  <a:srgbClr val="FFFFFF"/>
                </a:solidFill>
                <a:latin typeface="Calibri"/>
                <a:cs typeface="Calibri"/>
              </a:rPr>
              <a:t>steam,</a:t>
            </a:r>
            <a:r>
              <a:rPr sz="850" kern="0" spc="114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850" kern="0" spc="-20" dirty="0">
                <a:solidFill>
                  <a:srgbClr val="FFFFFF"/>
                </a:solidFill>
                <a:latin typeface="Calibri"/>
                <a:cs typeface="Calibri"/>
              </a:rPr>
              <a:t>heat</a:t>
            </a:r>
            <a:r>
              <a:rPr sz="850" kern="0" spc="50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850" kern="0" dirty="0">
                <a:solidFill>
                  <a:srgbClr val="FFFFFF"/>
                </a:solidFill>
                <a:latin typeface="Calibri"/>
                <a:cs typeface="Calibri"/>
              </a:rPr>
              <a:t>and</a:t>
            </a:r>
            <a:r>
              <a:rPr sz="850" kern="0" spc="3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850" kern="0" dirty="0">
                <a:solidFill>
                  <a:srgbClr val="FFFFFF"/>
                </a:solidFill>
                <a:latin typeface="Calibri"/>
                <a:cs typeface="Calibri"/>
              </a:rPr>
              <a:t>cooling</a:t>
            </a:r>
            <a:r>
              <a:rPr sz="850" kern="0" spc="4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850" kern="0" dirty="0">
                <a:solidFill>
                  <a:srgbClr val="FFFFFF"/>
                </a:solidFill>
                <a:latin typeface="Calibri"/>
                <a:cs typeface="Calibri"/>
              </a:rPr>
              <a:t>for</a:t>
            </a:r>
            <a:r>
              <a:rPr sz="850" kern="0" spc="7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850" kern="0" dirty="0">
                <a:solidFill>
                  <a:srgbClr val="FFFFFF"/>
                </a:solidFill>
                <a:latin typeface="Calibri"/>
                <a:cs typeface="Calibri"/>
              </a:rPr>
              <a:t>own</a:t>
            </a:r>
            <a:r>
              <a:rPr sz="850" kern="0" spc="5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850" kern="0" spc="-25" dirty="0">
                <a:solidFill>
                  <a:srgbClr val="FFFFFF"/>
                </a:solidFill>
                <a:latin typeface="Calibri"/>
                <a:cs typeface="Calibri"/>
              </a:rPr>
              <a:t>use</a:t>
            </a:r>
            <a:endParaRPr sz="850" kern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90" name="object 90"/>
          <p:cNvSpPr txBox="1"/>
          <p:nvPr/>
        </p:nvSpPr>
        <p:spPr>
          <a:xfrm>
            <a:off x="2637734" y="3862522"/>
            <a:ext cx="862853" cy="148098"/>
          </a:xfrm>
          <a:prstGeom prst="rect">
            <a:avLst/>
          </a:prstGeom>
        </p:spPr>
        <p:txBody>
          <a:bodyPr vert="horz" wrap="square" lIns="0" tIns="17143" rIns="0" bIns="0" rtlCol="0">
            <a:spAutoFit/>
          </a:bodyPr>
          <a:lstStyle/>
          <a:p>
            <a:pPr marL="12699" defTabSz="914309">
              <a:spcBef>
                <a:spcPts val="135"/>
              </a:spcBef>
            </a:pPr>
            <a:r>
              <a:rPr sz="850" kern="0" dirty="0">
                <a:solidFill>
                  <a:srgbClr val="FFFFFF"/>
                </a:solidFill>
                <a:latin typeface="Calibri"/>
                <a:cs typeface="Calibri"/>
              </a:rPr>
              <a:t>6.</a:t>
            </a:r>
            <a:r>
              <a:rPr sz="850" kern="0" spc="5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850" kern="0" dirty="0">
                <a:solidFill>
                  <a:srgbClr val="FFFFFF"/>
                </a:solidFill>
                <a:latin typeface="Calibri"/>
                <a:cs typeface="Calibri"/>
              </a:rPr>
              <a:t>Business</a:t>
            </a:r>
            <a:r>
              <a:rPr sz="850" kern="0" spc="5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850" kern="0" spc="-10" dirty="0">
                <a:solidFill>
                  <a:srgbClr val="FFFFFF"/>
                </a:solidFill>
                <a:latin typeface="Calibri"/>
                <a:cs typeface="Calibri"/>
              </a:rPr>
              <a:t>travels</a:t>
            </a:r>
            <a:endParaRPr sz="850" kern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91" name="object 91"/>
          <p:cNvSpPr txBox="1"/>
          <p:nvPr/>
        </p:nvSpPr>
        <p:spPr>
          <a:xfrm>
            <a:off x="9813314" y="5025690"/>
            <a:ext cx="845709" cy="280681"/>
          </a:xfrm>
          <a:prstGeom prst="rect">
            <a:avLst/>
          </a:prstGeom>
        </p:spPr>
        <p:txBody>
          <a:bodyPr vert="horz" wrap="square" lIns="0" tIns="11429" rIns="0" bIns="0" rtlCol="0">
            <a:spAutoFit/>
          </a:bodyPr>
          <a:lstStyle/>
          <a:p>
            <a:pPr marL="12699" marR="5079" defTabSz="914309">
              <a:lnSpc>
                <a:spcPct val="104700"/>
              </a:lnSpc>
              <a:spcBef>
                <a:spcPts val="90"/>
              </a:spcBef>
            </a:pPr>
            <a:r>
              <a:rPr sz="850" kern="0" dirty="0">
                <a:solidFill>
                  <a:srgbClr val="FFFFFF"/>
                </a:solidFill>
                <a:latin typeface="Calibri"/>
                <a:cs typeface="Calibri"/>
              </a:rPr>
              <a:t>9.</a:t>
            </a:r>
            <a:r>
              <a:rPr sz="850" kern="0" spc="229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850" kern="0" spc="-10" dirty="0">
                <a:solidFill>
                  <a:srgbClr val="FFFFFF"/>
                </a:solidFill>
                <a:latin typeface="Calibri"/>
                <a:cs typeface="Calibri"/>
              </a:rPr>
              <a:t>Transportation</a:t>
            </a:r>
            <a:r>
              <a:rPr sz="850" kern="0" spc="50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850" kern="0" dirty="0">
                <a:solidFill>
                  <a:srgbClr val="FFFFFF"/>
                </a:solidFill>
                <a:latin typeface="Calibri"/>
                <a:cs typeface="Calibri"/>
              </a:rPr>
              <a:t>and</a:t>
            </a:r>
            <a:r>
              <a:rPr sz="850" kern="0" spc="2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850" kern="0" spc="-10" dirty="0">
                <a:solidFill>
                  <a:srgbClr val="FFFFFF"/>
                </a:solidFill>
                <a:latin typeface="Calibri"/>
                <a:cs typeface="Calibri"/>
              </a:rPr>
              <a:t>distribution</a:t>
            </a:r>
            <a:endParaRPr sz="850" kern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92" name="object 92"/>
          <p:cNvSpPr txBox="1"/>
          <p:nvPr/>
        </p:nvSpPr>
        <p:spPr>
          <a:xfrm>
            <a:off x="7278597" y="3240505"/>
            <a:ext cx="337776" cy="433014"/>
          </a:xfrm>
          <a:prstGeom prst="rect">
            <a:avLst/>
          </a:prstGeom>
        </p:spPr>
        <p:txBody>
          <a:bodyPr vert="horz" wrap="square" lIns="0" tIns="11429" rIns="0" bIns="0" rtlCol="0">
            <a:spAutoFit/>
          </a:bodyPr>
          <a:lstStyle/>
          <a:p>
            <a:pPr marL="12699" defTabSz="914309">
              <a:spcBef>
                <a:spcPts val="90"/>
              </a:spcBef>
            </a:pPr>
            <a:r>
              <a:rPr sz="900" kern="0" spc="-25" dirty="0">
                <a:solidFill>
                  <a:srgbClr val="FFFFFF"/>
                </a:solidFill>
                <a:latin typeface="Calibri"/>
                <a:cs typeface="Calibri"/>
              </a:rPr>
              <a:t>15.</a:t>
            </a:r>
            <a:endParaRPr sz="900" kern="0">
              <a:solidFill>
                <a:sysClr val="windowText" lastClr="000000"/>
              </a:solidFill>
              <a:latin typeface="Calibri"/>
              <a:cs typeface="Calibri"/>
            </a:endParaRPr>
          </a:p>
          <a:p>
            <a:pPr marL="12699" marR="5079" defTabSz="914309">
              <a:lnSpc>
                <a:spcPts val="1070"/>
              </a:lnSpc>
              <a:spcBef>
                <a:spcPts val="35"/>
              </a:spcBef>
            </a:pPr>
            <a:r>
              <a:rPr sz="850" kern="0" spc="-10" dirty="0">
                <a:solidFill>
                  <a:srgbClr val="FFFFFF"/>
                </a:solidFill>
                <a:latin typeface="Calibri"/>
                <a:cs typeface="Calibri"/>
              </a:rPr>
              <a:t>Invest-</a:t>
            </a:r>
            <a:r>
              <a:rPr sz="850" kern="0" spc="50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850" kern="0" spc="-10" dirty="0">
                <a:solidFill>
                  <a:srgbClr val="FFFFFF"/>
                </a:solidFill>
                <a:latin typeface="Calibri"/>
                <a:cs typeface="Calibri"/>
              </a:rPr>
              <a:t>ments</a:t>
            </a:r>
            <a:endParaRPr sz="850" kern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93" name="object 93"/>
          <p:cNvSpPr/>
          <p:nvPr/>
        </p:nvSpPr>
        <p:spPr>
          <a:xfrm>
            <a:off x="1439098" y="2880672"/>
            <a:ext cx="3713631" cy="2459670"/>
          </a:xfrm>
          <a:custGeom>
            <a:avLst/>
            <a:gdLst/>
            <a:ahLst/>
            <a:cxnLst/>
            <a:rect l="l" t="t" r="r" b="b"/>
            <a:pathLst>
              <a:path w="3714115" h="2459990">
                <a:moveTo>
                  <a:pt x="157899" y="377355"/>
                </a:moveTo>
                <a:lnTo>
                  <a:pt x="119837" y="377355"/>
                </a:lnTo>
                <a:lnTo>
                  <a:pt x="119837" y="393395"/>
                </a:lnTo>
                <a:lnTo>
                  <a:pt x="149910" y="393395"/>
                </a:lnTo>
                <a:lnTo>
                  <a:pt x="157899" y="377355"/>
                </a:lnTo>
                <a:close/>
              </a:path>
              <a:path w="3714115" h="2459990">
                <a:moveTo>
                  <a:pt x="160528" y="313220"/>
                </a:moveTo>
                <a:lnTo>
                  <a:pt x="119837" y="313220"/>
                </a:lnTo>
                <a:lnTo>
                  <a:pt x="119837" y="329247"/>
                </a:lnTo>
                <a:lnTo>
                  <a:pt x="146545" y="329247"/>
                </a:lnTo>
                <a:lnTo>
                  <a:pt x="160528" y="313220"/>
                </a:lnTo>
                <a:close/>
              </a:path>
              <a:path w="3714115" h="2459990">
                <a:moveTo>
                  <a:pt x="173875" y="345287"/>
                </a:moveTo>
                <a:lnTo>
                  <a:pt x="119837" y="345287"/>
                </a:lnTo>
                <a:lnTo>
                  <a:pt x="119837" y="361327"/>
                </a:lnTo>
                <a:lnTo>
                  <a:pt x="165887" y="361327"/>
                </a:lnTo>
                <a:lnTo>
                  <a:pt x="173875" y="345287"/>
                </a:lnTo>
                <a:close/>
              </a:path>
              <a:path w="3714115" h="2459990">
                <a:moveTo>
                  <a:pt x="188493" y="281152"/>
                </a:moveTo>
                <a:lnTo>
                  <a:pt x="119837" y="281152"/>
                </a:lnTo>
                <a:lnTo>
                  <a:pt x="119837" y="297180"/>
                </a:lnTo>
                <a:lnTo>
                  <a:pt x="174510" y="297180"/>
                </a:lnTo>
                <a:lnTo>
                  <a:pt x="188493" y="281152"/>
                </a:lnTo>
                <a:close/>
              </a:path>
              <a:path w="3714115" h="2459990">
                <a:moveTo>
                  <a:pt x="231673" y="313220"/>
                </a:moveTo>
                <a:lnTo>
                  <a:pt x="199720" y="313220"/>
                </a:lnTo>
                <a:lnTo>
                  <a:pt x="223685" y="265112"/>
                </a:lnTo>
                <a:lnTo>
                  <a:pt x="167767" y="329247"/>
                </a:lnTo>
                <a:lnTo>
                  <a:pt x="199720" y="329247"/>
                </a:lnTo>
                <a:lnTo>
                  <a:pt x="175755" y="377355"/>
                </a:lnTo>
                <a:lnTo>
                  <a:pt x="231673" y="313220"/>
                </a:lnTo>
                <a:close/>
              </a:path>
              <a:path w="3714115" h="2459990">
                <a:moveTo>
                  <a:pt x="279615" y="377355"/>
                </a:moveTo>
                <a:lnTo>
                  <a:pt x="196989" y="377355"/>
                </a:lnTo>
                <a:lnTo>
                  <a:pt x="183007" y="393395"/>
                </a:lnTo>
                <a:lnTo>
                  <a:pt x="279615" y="393395"/>
                </a:lnTo>
                <a:lnTo>
                  <a:pt x="279615" y="377355"/>
                </a:lnTo>
                <a:close/>
              </a:path>
              <a:path w="3714115" h="2459990">
                <a:moveTo>
                  <a:pt x="279615" y="345287"/>
                </a:moveTo>
                <a:lnTo>
                  <a:pt x="224955" y="345287"/>
                </a:lnTo>
                <a:lnTo>
                  <a:pt x="210972" y="361327"/>
                </a:lnTo>
                <a:lnTo>
                  <a:pt x="279615" y="361327"/>
                </a:lnTo>
                <a:lnTo>
                  <a:pt x="279615" y="345287"/>
                </a:lnTo>
                <a:close/>
              </a:path>
              <a:path w="3714115" h="2459990">
                <a:moveTo>
                  <a:pt x="279615" y="313220"/>
                </a:moveTo>
                <a:lnTo>
                  <a:pt x="252920" y="313220"/>
                </a:lnTo>
                <a:lnTo>
                  <a:pt x="238937" y="329247"/>
                </a:lnTo>
                <a:lnTo>
                  <a:pt x="279615" y="329247"/>
                </a:lnTo>
                <a:lnTo>
                  <a:pt x="279615" y="313220"/>
                </a:lnTo>
                <a:close/>
              </a:path>
              <a:path w="3714115" h="2459990">
                <a:moveTo>
                  <a:pt x="279615" y="281152"/>
                </a:moveTo>
                <a:lnTo>
                  <a:pt x="233578" y="281152"/>
                </a:lnTo>
                <a:lnTo>
                  <a:pt x="225590" y="297180"/>
                </a:lnTo>
                <a:lnTo>
                  <a:pt x="279615" y="297180"/>
                </a:lnTo>
                <a:lnTo>
                  <a:pt x="279615" y="281152"/>
                </a:lnTo>
                <a:close/>
              </a:path>
              <a:path w="3714115" h="2459990">
                <a:moveTo>
                  <a:pt x="319557" y="225018"/>
                </a:moveTo>
                <a:lnTo>
                  <a:pt x="315150" y="203200"/>
                </a:lnTo>
                <a:lnTo>
                  <a:pt x="303580" y="185991"/>
                </a:lnTo>
                <a:lnTo>
                  <a:pt x="303580" y="225018"/>
                </a:lnTo>
                <a:lnTo>
                  <a:pt x="303568" y="433565"/>
                </a:lnTo>
                <a:lnTo>
                  <a:pt x="300431" y="449072"/>
                </a:lnTo>
                <a:lnTo>
                  <a:pt x="291871" y="461822"/>
                </a:lnTo>
                <a:lnTo>
                  <a:pt x="278993" y="470547"/>
                </a:lnTo>
                <a:lnTo>
                  <a:pt x="278561" y="470547"/>
                </a:lnTo>
                <a:lnTo>
                  <a:pt x="263639" y="473570"/>
                </a:lnTo>
                <a:lnTo>
                  <a:pt x="135813" y="473570"/>
                </a:lnTo>
                <a:lnTo>
                  <a:pt x="120891" y="470547"/>
                </a:lnTo>
                <a:lnTo>
                  <a:pt x="120459" y="470547"/>
                </a:lnTo>
                <a:lnTo>
                  <a:pt x="95885" y="433565"/>
                </a:lnTo>
                <a:lnTo>
                  <a:pt x="95872" y="225018"/>
                </a:lnTo>
                <a:lnTo>
                  <a:pt x="99021" y="209435"/>
                </a:lnTo>
                <a:lnTo>
                  <a:pt x="107581" y="196697"/>
                </a:lnTo>
                <a:lnTo>
                  <a:pt x="120281" y="188087"/>
                </a:lnTo>
                <a:lnTo>
                  <a:pt x="135813" y="184937"/>
                </a:lnTo>
                <a:lnTo>
                  <a:pt x="263639" y="184937"/>
                </a:lnTo>
                <a:lnTo>
                  <a:pt x="279171" y="188087"/>
                </a:lnTo>
                <a:lnTo>
                  <a:pt x="291871" y="196697"/>
                </a:lnTo>
                <a:lnTo>
                  <a:pt x="300431" y="209435"/>
                </a:lnTo>
                <a:lnTo>
                  <a:pt x="303580" y="225018"/>
                </a:lnTo>
                <a:lnTo>
                  <a:pt x="303580" y="185991"/>
                </a:lnTo>
                <a:lnTo>
                  <a:pt x="303161" y="185356"/>
                </a:lnTo>
                <a:lnTo>
                  <a:pt x="302539" y="184937"/>
                </a:lnTo>
                <a:lnTo>
                  <a:pt x="285381" y="173316"/>
                </a:lnTo>
                <a:lnTo>
                  <a:pt x="263639" y="168897"/>
                </a:lnTo>
                <a:lnTo>
                  <a:pt x="135813" y="168897"/>
                </a:lnTo>
                <a:lnTo>
                  <a:pt x="114071" y="173316"/>
                </a:lnTo>
                <a:lnTo>
                  <a:pt x="96291" y="185356"/>
                </a:lnTo>
                <a:lnTo>
                  <a:pt x="84289" y="203200"/>
                </a:lnTo>
                <a:lnTo>
                  <a:pt x="79895" y="225018"/>
                </a:lnTo>
                <a:lnTo>
                  <a:pt x="79997" y="437565"/>
                </a:lnTo>
                <a:lnTo>
                  <a:pt x="80098" y="438886"/>
                </a:lnTo>
                <a:lnTo>
                  <a:pt x="80479" y="441502"/>
                </a:lnTo>
                <a:lnTo>
                  <a:pt x="47866" y="441502"/>
                </a:lnTo>
                <a:lnTo>
                  <a:pt x="39954" y="433565"/>
                </a:lnTo>
                <a:lnTo>
                  <a:pt x="39954" y="384327"/>
                </a:lnTo>
                <a:lnTo>
                  <a:pt x="49504" y="380072"/>
                </a:lnTo>
                <a:lnTo>
                  <a:pt x="57099" y="373087"/>
                </a:lnTo>
                <a:lnTo>
                  <a:pt x="62103" y="363956"/>
                </a:lnTo>
                <a:lnTo>
                  <a:pt x="63919" y="353301"/>
                </a:lnTo>
                <a:lnTo>
                  <a:pt x="63919" y="337273"/>
                </a:lnTo>
                <a:lnTo>
                  <a:pt x="55930" y="337273"/>
                </a:lnTo>
                <a:lnTo>
                  <a:pt x="55930" y="313220"/>
                </a:lnTo>
                <a:lnTo>
                  <a:pt x="39954" y="313220"/>
                </a:lnTo>
                <a:lnTo>
                  <a:pt x="39954" y="337273"/>
                </a:lnTo>
                <a:lnTo>
                  <a:pt x="23977" y="337273"/>
                </a:lnTo>
                <a:lnTo>
                  <a:pt x="23977" y="313220"/>
                </a:lnTo>
                <a:lnTo>
                  <a:pt x="8001" y="313220"/>
                </a:lnTo>
                <a:lnTo>
                  <a:pt x="8001" y="337273"/>
                </a:lnTo>
                <a:lnTo>
                  <a:pt x="0" y="337273"/>
                </a:lnTo>
                <a:lnTo>
                  <a:pt x="0" y="353301"/>
                </a:lnTo>
                <a:lnTo>
                  <a:pt x="1816" y="363956"/>
                </a:lnTo>
                <a:lnTo>
                  <a:pt x="6819" y="373087"/>
                </a:lnTo>
                <a:lnTo>
                  <a:pt x="14414" y="380072"/>
                </a:lnTo>
                <a:lnTo>
                  <a:pt x="23977" y="384327"/>
                </a:lnTo>
                <a:lnTo>
                  <a:pt x="23977" y="425462"/>
                </a:lnTo>
                <a:lnTo>
                  <a:pt x="26619" y="437565"/>
                </a:lnTo>
                <a:lnTo>
                  <a:pt x="33680" y="447802"/>
                </a:lnTo>
                <a:lnTo>
                  <a:pt x="43878" y="454888"/>
                </a:lnTo>
                <a:lnTo>
                  <a:pt x="55930" y="457542"/>
                </a:lnTo>
                <a:lnTo>
                  <a:pt x="85305" y="457542"/>
                </a:lnTo>
                <a:lnTo>
                  <a:pt x="93853" y="470547"/>
                </a:lnTo>
                <a:lnTo>
                  <a:pt x="105575" y="480682"/>
                </a:lnTo>
                <a:lnTo>
                  <a:pt x="119799" y="487260"/>
                </a:lnTo>
                <a:lnTo>
                  <a:pt x="135813" y="489610"/>
                </a:lnTo>
                <a:lnTo>
                  <a:pt x="263639" y="489610"/>
                </a:lnTo>
                <a:lnTo>
                  <a:pt x="285381" y="485190"/>
                </a:lnTo>
                <a:lnTo>
                  <a:pt x="302539" y="473570"/>
                </a:lnTo>
                <a:lnTo>
                  <a:pt x="303161" y="473151"/>
                </a:lnTo>
                <a:lnTo>
                  <a:pt x="315150" y="455307"/>
                </a:lnTo>
                <a:lnTo>
                  <a:pt x="319544" y="433565"/>
                </a:lnTo>
                <a:lnTo>
                  <a:pt x="319557" y="225018"/>
                </a:lnTo>
                <a:close/>
              </a:path>
              <a:path w="3714115" h="2459990">
                <a:moveTo>
                  <a:pt x="402336" y="2167572"/>
                </a:moveTo>
                <a:lnTo>
                  <a:pt x="374396" y="2158492"/>
                </a:lnTo>
                <a:lnTo>
                  <a:pt x="367233" y="2156980"/>
                </a:lnTo>
                <a:lnTo>
                  <a:pt x="358965" y="2156980"/>
                </a:lnTo>
                <a:lnTo>
                  <a:pt x="325247" y="2183409"/>
                </a:lnTo>
                <a:lnTo>
                  <a:pt x="321995" y="2195284"/>
                </a:lnTo>
                <a:lnTo>
                  <a:pt x="316865" y="2195284"/>
                </a:lnTo>
                <a:lnTo>
                  <a:pt x="316865" y="2213902"/>
                </a:lnTo>
                <a:lnTo>
                  <a:pt x="281241" y="2344280"/>
                </a:lnTo>
                <a:lnTo>
                  <a:pt x="93078" y="2344280"/>
                </a:lnTo>
                <a:lnTo>
                  <a:pt x="85623" y="2338692"/>
                </a:lnTo>
                <a:lnTo>
                  <a:pt x="83299" y="2330767"/>
                </a:lnTo>
                <a:lnTo>
                  <a:pt x="55359" y="2237181"/>
                </a:lnTo>
                <a:lnTo>
                  <a:pt x="54889" y="2235784"/>
                </a:lnTo>
                <a:lnTo>
                  <a:pt x="54660" y="2234158"/>
                </a:lnTo>
                <a:lnTo>
                  <a:pt x="54660" y="2232533"/>
                </a:lnTo>
                <a:lnTo>
                  <a:pt x="56121" y="2225294"/>
                </a:lnTo>
                <a:lnTo>
                  <a:pt x="60134" y="2219375"/>
                </a:lnTo>
                <a:lnTo>
                  <a:pt x="66052" y="2215375"/>
                </a:lnTo>
                <a:lnTo>
                  <a:pt x="73291" y="2213902"/>
                </a:lnTo>
                <a:lnTo>
                  <a:pt x="316865" y="2213902"/>
                </a:lnTo>
                <a:lnTo>
                  <a:pt x="316865" y="2195284"/>
                </a:lnTo>
                <a:lnTo>
                  <a:pt x="73291" y="2195284"/>
                </a:lnTo>
                <a:lnTo>
                  <a:pt x="58813" y="2198217"/>
                </a:lnTo>
                <a:lnTo>
                  <a:pt x="46977" y="2206218"/>
                </a:lnTo>
                <a:lnTo>
                  <a:pt x="38963" y="2218067"/>
                </a:lnTo>
                <a:lnTo>
                  <a:pt x="36029" y="2232533"/>
                </a:lnTo>
                <a:lnTo>
                  <a:pt x="36029" y="2235784"/>
                </a:lnTo>
                <a:lnTo>
                  <a:pt x="65366" y="2335898"/>
                </a:lnTo>
                <a:lnTo>
                  <a:pt x="101231" y="2362898"/>
                </a:lnTo>
                <a:lnTo>
                  <a:pt x="276110" y="2362898"/>
                </a:lnTo>
                <a:lnTo>
                  <a:pt x="270764" y="2382228"/>
                </a:lnTo>
                <a:lnTo>
                  <a:pt x="260883" y="2385720"/>
                </a:lnTo>
                <a:lnTo>
                  <a:pt x="252514" y="2391740"/>
                </a:lnTo>
                <a:lnTo>
                  <a:pt x="246100" y="2399804"/>
                </a:lnTo>
                <a:lnTo>
                  <a:pt x="242112" y="2409456"/>
                </a:lnTo>
                <a:lnTo>
                  <a:pt x="146646" y="2409456"/>
                </a:lnTo>
                <a:lnTo>
                  <a:pt x="142506" y="2400147"/>
                </a:lnTo>
                <a:lnTo>
                  <a:pt x="141693" y="2398318"/>
                </a:lnTo>
                <a:lnTo>
                  <a:pt x="133578" y="2389467"/>
                </a:lnTo>
                <a:lnTo>
                  <a:pt x="129171" y="2387054"/>
                </a:lnTo>
                <a:lnTo>
                  <a:pt x="129171" y="2418765"/>
                </a:lnTo>
                <a:lnTo>
                  <a:pt x="127711" y="2426004"/>
                </a:lnTo>
                <a:lnTo>
                  <a:pt x="123710" y="2431923"/>
                </a:lnTo>
                <a:lnTo>
                  <a:pt x="117779" y="2435923"/>
                </a:lnTo>
                <a:lnTo>
                  <a:pt x="110540" y="2437396"/>
                </a:lnTo>
                <a:lnTo>
                  <a:pt x="103314" y="2435923"/>
                </a:lnTo>
                <a:lnTo>
                  <a:pt x="97383" y="2431923"/>
                </a:lnTo>
                <a:lnTo>
                  <a:pt x="93383" y="2426004"/>
                </a:lnTo>
                <a:lnTo>
                  <a:pt x="91922" y="2418765"/>
                </a:lnTo>
                <a:lnTo>
                  <a:pt x="93383" y="2411539"/>
                </a:lnTo>
                <a:lnTo>
                  <a:pt x="97383" y="2405621"/>
                </a:lnTo>
                <a:lnTo>
                  <a:pt x="103314" y="2401620"/>
                </a:lnTo>
                <a:lnTo>
                  <a:pt x="110540" y="2400147"/>
                </a:lnTo>
                <a:lnTo>
                  <a:pt x="117779" y="2401620"/>
                </a:lnTo>
                <a:lnTo>
                  <a:pt x="123710" y="2405621"/>
                </a:lnTo>
                <a:lnTo>
                  <a:pt x="127711" y="2411539"/>
                </a:lnTo>
                <a:lnTo>
                  <a:pt x="129171" y="2418765"/>
                </a:lnTo>
                <a:lnTo>
                  <a:pt x="129171" y="2387054"/>
                </a:lnTo>
                <a:lnTo>
                  <a:pt x="122961" y="2383625"/>
                </a:lnTo>
                <a:lnTo>
                  <a:pt x="110540" y="2381529"/>
                </a:lnTo>
                <a:lnTo>
                  <a:pt x="96075" y="2384463"/>
                </a:lnTo>
                <a:lnTo>
                  <a:pt x="84226" y="2392464"/>
                </a:lnTo>
                <a:lnTo>
                  <a:pt x="76225" y="2404313"/>
                </a:lnTo>
                <a:lnTo>
                  <a:pt x="73291" y="2418765"/>
                </a:lnTo>
                <a:lnTo>
                  <a:pt x="76225" y="2433231"/>
                </a:lnTo>
                <a:lnTo>
                  <a:pt x="84226" y="2445080"/>
                </a:lnTo>
                <a:lnTo>
                  <a:pt x="96075" y="2453081"/>
                </a:lnTo>
                <a:lnTo>
                  <a:pt x="110540" y="2456015"/>
                </a:lnTo>
                <a:lnTo>
                  <a:pt x="122872" y="2453919"/>
                </a:lnTo>
                <a:lnTo>
                  <a:pt x="133489" y="2448077"/>
                </a:lnTo>
                <a:lnTo>
                  <a:pt x="141655" y="2439225"/>
                </a:lnTo>
                <a:lnTo>
                  <a:pt x="142481" y="2437396"/>
                </a:lnTo>
                <a:lnTo>
                  <a:pt x="146646" y="2428087"/>
                </a:lnTo>
                <a:lnTo>
                  <a:pt x="242354" y="2428087"/>
                </a:lnTo>
                <a:lnTo>
                  <a:pt x="247307" y="2439225"/>
                </a:lnTo>
                <a:lnTo>
                  <a:pt x="255422" y="2448077"/>
                </a:lnTo>
                <a:lnTo>
                  <a:pt x="266026" y="2453919"/>
                </a:lnTo>
                <a:lnTo>
                  <a:pt x="278447" y="2456015"/>
                </a:lnTo>
                <a:lnTo>
                  <a:pt x="292912" y="2453081"/>
                </a:lnTo>
                <a:lnTo>
                  <a:pt x="304761" y="2445080"/>
                </a:lnTo>
                <a:lnTo>
                  <a:pt x="309956" y="2437396"/>
                </a:lnTo>
                <a:lnTo>
                  <a:pt x="312762" y="2433231"/>
                </a:lnTo>
                <a:lnTo>
                  <a:pt x="315709" y="2418765"/>
                </a:lnTo>
                <a:lnTo>
                  <a:pt x="313804" y="2406954"/>
                </a:lnTo>
                <a:lnTo>
                  <a:pt x="310261" y="2400147"/>
                </a:lnTo>
                <a:lnTo>
                  <a:pt x="308483" y="2396718"/>
                </a:lnTo>
                <a:lnTo>
                  <a:pt x="300380" y="2388654"/>
                </a:lnTo>
                <a:lnTo>
                  <a:pt x="296837" y="2386850"/>
                </a:lnTo>
                <a:lnTo>
                  <a:pt x="296837" y="2418765"/>
                </a:lnTo>
                <a:lnTo>
                  <a:pt x="295376" y="2426004"/>
                </a:lnTo>
                <a:lnTo>
                  <a:pt x="291363" y="2431923"/>
                </a:lnTo>
                <a:lnTo>
                  <a:pt x="285445" y="2435923"/>
                </a:lnTo>
                <a:lnTo>
                  <a:pt x="278206" y="2437396"/>
                </a:lnTo>
                <a:lnTo>
                  <a:pt x="270979" y="2435923"/>
                </a:lnTo>
                <a:lnTo>
                  <a:pt x="265049" y="2431923"/>
                </a:lnTo>
                <a:lnTo>
                  <a:pt x="262458" y="2428087"/>
                </a:lnTo>
                <a:lnTo>
                  <a:pt x="261048" y="2426004"/>
                </a:lnTo>
                <a:lnTo>
                  <a:pt x="259588" y="2418765"/>
                </a:lnTo>
                <a:lnTo>
                  <a:pt x="261048" y="2411539"/>
                </a:lnTo>
                <a:lnTo>
                  <a:pt x="262458" y="2409456"/>
                </a:lnTo>
                <a:lnTo>
                  <a:pt x="265049" y="2405621"/>
                </a:lnTo>
                <a:lnTo>
                  <a:pt x="270979" y="2401620"/>
                </a:lnTo>
                <a:lnTo>
                  <a:pt x="278206" y="2400147"/>
                </a:lnTo>
                <a:lnTo>
                  <a:pt x="285445" y="2401620"/>
                </a:lnTo>
                <a:lnTo>
                  <a:pt x="291363" y="2405621"/>
                </a:lnTo>
                <a:lnTo>
                  <a:pt x="295376" y="2411539"/>
                </a:lnTo>
                <a:lnTo>
                  <a:pt x="296837" y="2418765"/>
                </a:lnTo>
                <a:lnTo>
                  <a:pt x="296837" y="2386850"/>
                </a:lnTo>
                <a:lnTo>
                  <a:pt x="290093" y="2383383"/>
                </a:lnTo>
                <a:lnTo>
                  <a:pt x="300736" y="2344280"/>
                </a:lnTo>
                <a:lnTo>
                  <a:pt x="336219" y="2213902"/>
                </a:lnTo>
                <a:lnTo>
                  <a:pt x="352031" y="2178050"/>
                </a:lnTo>
                <a:lnTo>
                  <a:pt x="363677" y="2174329"/>
                </a:lnTo>
                <a:lnTo>
                  <a:pt x="396519" y="2185263"/>
                </a:lnTo>
                <a:lnTo>
                  <a:pt x="400113" y="2174329"/>
                </a:lnTo>
                <a:lnTo>
                  <a:pt x="402336" y="2167572"/>
                </a:lnTo>
                <a:close/>
              </a:path>
              <a:path w="3714115" h="2459990">
                <a:moveTo>
                  <a:pt x="1133678" y="1518716"/>
                </a:moveTo>
                <a:lnTo>
                  <a:pt x="1117752" y="1518716"/>
                </a:lnTo>
                <a:lnTo>
                  <a:pt x="1117752" y="1534617"/>
                </a:lnTo>
                <a:lnTo>
                  <a:pt x="1117752" y="1566443"/>
                </a:lnTo>
                <a:lnTo>
                  <a:pt x="1093889" y="1566443"/>
                </a:lnTo>
                <a:lnTo>
                  <a:pt x="1093889" y="1582343"/>
                </a:lnTo>
                <a:lnTo>
                  <a:pt x="1093889" y="1782038"/>
                </a:lnTo>
                <a:lnTo>
                  <a:pt x="1086764" y="1789176"/>
                </a:lnTo>
                <a:lnTo>
                  <a:pt x="925969" y="1789176"/>
                </a:lnTo>
                <a:lnTo>
                  <a:pt x="918832" y="1782038"/>
                </a:lnTo>
                <a:lnTo>
                  <a:pt x="918832" y="1582343"/>
                </a:lnTo>
                <a:lnTo>
                  <a:pt x="950658" y="1582343"/>
                </a:lnTo>
                <a:lnTo>
                  <a:pt x="950658" y="1693710"/>
                </a:lnTo>
                <a:lnTo>
                  <a:pt x="966571" y="1693710"/>
                </a:lnTo>
                <a:lnTo>
                  <a:pt x="966571" y="1582343"/>
                </a:lnTo>
                <a:lnTo>
                  <a:pt x="998397" y="1582343"/>
                </a:lnTo>
                <a:lnTo>
                  <a:pt x="998397" y="1693710"/>
                </a:lnTo>
                <a:lnTo>
                  <a:pt x="1014310" y="1693710"/>
                </a:lnTo>
                <a:lnTo>
                  <a:pt x="1014310" y="1582343"/>
                </a:lnTo>
                <a:lnTo>
                  <a:pt x="1046137" y="1582343"/>
                </a:lnTo>
                <a:lnTo>
                  <a:pt x="1046137" y="1693710"/>
                </a:lnTo>
                <a:lnTo>
                  <a:pt x="1062062" y="1693710"/>
                </a:lnTo>
                <a:lnTo>
                  <a:pt x="1062062" y="1582343"/>
                </a:lnTo>
                <a:lnTo>
                  <a:pt x="1093889" y="1582343"/>
                </a:lnTo>
                <a:lnTo>
                  <a:pt x="1093889" y="1566443"/>
                </a:lnTo>
                <a:lnTo>
                  <a:pt x="894956" y="1566443"/>
                </a:lnTo>
                <a:lnTo>
                  <a:pt x="894956" y="1534617"/>
                </a:lnTo>
                <a:lnTo>
                  <a:pt x="1117752" y="1534617"/>
                </a:lnTo>
                <a:lnTo>
                  <a:pt x="1117752" y="1518716"/>
                </a:lnTo>
                <a:lnTo>
                  <a:pt x="1070013" y="1518716"/>
                </a:lnTo>
                <a:lnTo>
                  <a:pt x="1067511" y="1506347"/>
                </a:lnTo>
                <a:lnTo>
                  <a:pt x="1065123" y="1502803"/>
                </a:lnTo>
                <a:lnTo>
                  <a:pt x="1060678" y="1496225"/>
                </a:lnTo>
                <a:lnTo>
                  <a:pt x="1054100" y="1491780"/>
                </a:lnTo>
                <a:lnTo>
                  <a:pt x="1054100" y="1509941"/>
                </a:lnTo>
                <a:lnTo>
                  <a:pt x="1054100" y="1518716"/>
                </a:lnTo>
                <a:lnTo>
                  <a:pt x="958621" y="1518716"/>
                </a:lnTo>
                <a:lnTo>
                  <a:pt x="958621" y="1509941"/>
                </a:lnTo>
                <a:lnTo>
                  <a:pt x="965758" y="1502803"/>
                </a:lnTo>
                <a:lnTo>
                  <a:pt x="1046975" y="1502803"/>
                </a:lnTo>
                <a:lnTo>
                  <a:pt x="1054100" y="1509941"/>
                </a:lnTo>
                <a:lnTo>
                  <a:pt x="1054100" y="1491780"/>
                </a:lnTo>
                <a:lnTo>
                  <a:pt x="1050569" y="1489392"/>
                </a:lnTo>
                <a:lnTo>
                  <a:pt x="1038186" y="1486890"/>
                </a:lnTo>
                <a:lnTo>
                  <a:pt x="974534" y="1486890"/>
                </a:lnTo>
                <a:lnTo>
                  <a:pt x="962152" y="1489392"/>
                </a:lnTo>
                <a:lnTo>
                  <a:pt x="952030" y="1496225"/>
                </a:lnTo>
                <a:lnTo>
                  <a:pt x="945210" y="1506347"/>
                </a:lnTo>
                <a:lnTo>
                  <a:pt x="942708" y="1518716"/>
                </a:lnTo>
                <a:lnTo>
                  <a:pt x="879043" y="1518716"/>
                </a:lnTo>
                <a:lnTo>
                  <a:pt x="879043" y="1582343"/>
                </a:lnTo>
                <a:lnTo>
                  <a:pt x="902919" y="1582343"/>
                </a:lnTo>
                <a:lnTo>
                  <a:pt x="902919" y="1773262"/>
                </a:lnTo>
                <a:lnTo>
                  <a:pt x="905421" y="1785632"/>
                </a:lnTo>
                <a:lnTo>
                  <a:pt x="912253" y="1795754"/>
                </a:lnTo>
                <a:lnTo>
                  <a:pt x="922375" y="1802574"/>
                </a:lnTo>
                <a:lnTo>
                  <a:pt x="934745" y="1805089"/>
                </a:lnTo>
                <a:lnTo>
                  <a:pt x="1077976" y="1805089"/>
                </a:lnTo>
                <a:lnTo>
                  <a:pt x="1109802" y="1773262"/>
                </a:lnTo>
                <a:lnTo>
                  <a:pt x="1109802" y="1582343"/>
                </a:lnTo>
                <a:lnTo>
                  <a:pt x="1133678" y="1582343"/>
                </a:lnTo>
                <a:lnTo>
                  <a:pt x="1133678" y="1566443"/>
                </a:lnTo>
                <a:lnTo>
                  <a:pt x="1133678" y="1534617"/>
                </a:lnTo>
                <a:lnTo>
                  <a:pt x="1133678" y="1518716"/>
                </a:lnTo>
                <a:close/>
              </a:path>
              <a:path w="3714115" h="2459990">
                <a:moveTo>
                  <a:pt x="1188897" y="955916"/>
                </a:moveTo>
                <a:lnTo>
                  <a:pt x="1172883" y="929563"/>
                </a:lnTo>
                <a:lnTo>
                  <a:pt x="1172883" y="953173"/>
                </a:lnTo>
                <a:lnTo>
                  <a:pt x="1170813" y="960183"/>
                </a:lnTo>
                <a:lnTo>
                  <a:pt x="1169682" y="962837"/>
                </a:lnTo>
                <a:lnTo>
                  <a:pt x="1098727" y="1033995"/>
                </a:lnTo>
                <a:lnTo>
                  <a:pt x="1096467" y="1040942"/>
                </a:lnTo>
                <a:lnTo>
                  <a:pt x="1115250" y="1162342"/>
                </a:lnTo>
                <a:lnTo>
                  <a:pt x="1115047" y="1163205"/>
                </a:lnTo>
                <a:lnTo>
                  <a:pt x="1106932" y="1174051"/>
                </a:lnTo>
                <a:lnTo>
                  <a:pt x="1073810" y="1105458"/>
                </a:lnTo>
                <a:lnTo>
                  <a:pt x="1069187" y="1095883"/>
                </a:lnTo>
                <a:lnTo>
                  <a:pt x="1066596" y="1090993"/>
                </a:lnTo>
                <a:lnTo>
                  <a:pt x="1062291" y="1087818"/>
                </a:lnTo>
                <a:lnTo>
                  <a:pt x="1052106" y="1085900"/>
                </a:lnTo>
                <a:lnTo>
                  <a:pt x="1046937" y="1087272"/>
                </a:lnTo>
                <a:lnTo>
                  <a:pt x="1043025" y="1090650"/>
                </a:lnTo>
                <a:lnTo>
                  <a:pt x="998791" y="1134249"/>
                </a:lnTo>
                <a:lnTo>
                  <a:pt x="993343" y="1139075"/>
                </a:lnTo>
                <a:lnTo>
                  <a:pt x="990384" y="1145984"/>
                </a:lnTo>
                <a:lnTo>
                  <a:pt x="991984" y="1187831"/>
                </a:lnTo>
                <a:lnTo>
                  <a:pt x="992035" y="1189050"/>
                </a:lnTo>
                <a:lnTo>
                  <a:pt x="972591" y="1149959"/>
                </a:lnTo>
                <a:lnTo>
                  <a:pt x="963904" y="1141247"/>
                </a:lnTo>
                <a:lnTo>
                  <a:pt x="925004" y="1121765"/>
                </a:lnTo>
                <a:lnTo>
                  <a:pt x="967892" y="1123442"/>
                </a:lnTo>
                <a:lnTo>
                  <a:pt x="971753" y="1121765"/>
                </a:lnTo>
                <a:lnTo>
                  <a:pt x="974788" y="1120457"/>
                </a:lnTo>
                <a:lnTo>
                  <a:pt x="979589" y="1114996"/>
                </a:lnTo>
                <a:lnTo>
                  <a:pt x="989279" y="1105103"/>
                </a:lnTo>
                <a:lnTo>
                  <a:pt x="1022629" y="1071079"/>
                </a:lnTo>
                <a:lnTo>
                  <a:pt x="1023035" y="1070622"/>
                </a:lnTo>
                <a:lnTo>
                  <a:pt x="1026426" y="1066685"/>
                </a:lnTo>
                <a:lnTo>
                  <a:pt x="1027798" y="1061516"/>
                </a:lnTo>
                <a:lnTo>
                  <a:pt x="1025880" y="1051306"/>
                </a:lnTo>
                <a:lnTo>
                  <a:pt x="1022705" y="1046975"/>
                </a:lnTo>
                <a:lnTo>
                  <a:pt x="1018146" y="1044524"/>
                </a:lnTo>
                <a:lnTo>
                  <a:pt x="939914" y="1006513"/>
                </a:lnTo>
                <a:lnTo>
                  <a:pt x="950722" y="998385"/>
                </a:lnTo>
                <a:lnTo>
                  <a:pt x="951369" y="998207"/>
                </a:lnTo>
                <a:lnTo>
                  <a:pt x="951941" y="998207"/>
                </a:lnTo>
                <a:lnTo>
                  <a:pt x="1072616" y="1016990"/>
                </a:lnTo>
                <a:lnTo>
                  <a:pt x="1079538" y="1014730"/>
                </a:lnTo>
                <a:lnTo>
                  <a:pt x="1150454" y="943584"/>
                </a:lnTo>
                <a:lnTo>
                  <a:pt x="1153198" y="942403"/>
                </a:lnTo>
                <a:lnTo>
                  <a:pt x="1160119" y="940396"/>
                </a:lnTo>
                <a:lnTo>
                  <a:pt x="1166558" y="946708"/>
                </a:lnTo>
                <a:lnTo>
                  <a:pt x="1172883" y="953173"/>
                </a:lnTo>
                <a:lnTo>
                  <a:pt x="1172883" y="929563"/>
                </a:lnTo>
                <a:lnTo>
                  <a:pt x="1168260" y="926490"/>
                </a:lnTo>
                <a:lnTo>
                  <a:pt x="1157363" y="924280"/>
                </a:lnTo>
                <a:lnTo>
                  <a:pt x="1147749" y="925436"/>
                </a:lnTo>
                <a:lnTo>
                  <a:pt x="1140650" y="928268"/>
                </a:lnTo>
                <a:lnTo>
                  <a:pt x="1139596" y="928865"/>
                </a:lnTo>
                <a:lnTo>
                  <a:pt x="1071600" y="997077"/>
                </a:lnTo>
                <a:lnTo>
                  <a:pt x="1070813" y="997851"/>
                </a:lnTo>
                <a:lnTo>
                  <a:pt x="1069695" y="998207"/>
                </a:lnTo>
                <a:lnTo>
                  <a:pt x="949591" y="979525"/>
                </a:lnTo>
                <a:lnTo>
                  <a:pt x="943762" y="980973"/>
                </a:lnTo>
                <a:lnTo>
                  <a:pt x="920115" y="998753"/>
                </a:lnTo>
                <a:lnTo>
                  <a:pt x="918006" y="1003439"/>
                </a:lnTo>
                <a:lnTo>
                  <a:pt x="918768" y="1013218"/>
                </a:lnTo>
                <a:lnTo>
                  <a:pt x="921575" y="1017524"/>
                </a:lnTo>
                <a:lnTo>
                  <a:pt x="925880" y="1019822"/>
                </a:lnTo>
                <a:lnTo>
                  <a:pt x="1008291" y="1059865"/>
                </a:lnTo>
                <a:lnTo>
                  <a:pt x="966520" y="1102487"/>
                </a:lnTo>
                <a:lnTo>
                  <a:pt x="966101" y="1102944"/>
                </a:lnTo>
                <a:lnTo>
                  <a:pt x="964907" y="1104341"/>
                </a:lnTo>
                <a:lnTo>
                  <a:pt x="963180" y="1105103"/>
                </a:lnTo>
                <a:lnTo>
                  <a:pt x="911440" y="1103134"/>
                </a:lnTo>
                <a:lnTo>
                  <a:pt x="905814" y="1105992"/>
                </a:lnTo>
                <a:lnTo>
                  <a:pt x="900010" y="1114780"/>
                </a:lnTo>
                <a:lnTo>
                  <a:pt x="899325" y="1119644"/>
                </a:lnTo>
                <a:lnTo>
                  <a:pt x="902131" y="1128788"/>
                </a:lnTo>
                <a:lnTo>
                  <a:pt x="905421" y="1132484"/>
                </a:lnTo>
                <a:lnTo>
                  <a:pt x="909777" y="1134402"/>
                </a:lnTo>
                <a:lnTo>
                  <a:pt x="953211" y="1156144"/>
                </a:lnTo>
                <a:lnTo>
                  <a:pt x="957745" y="1160678"/>
                </a:lnTo>
                <a:lnTo>
                  <a:pt x="979576" y="1204620"/>
                </a:lnTo>
                <a:lnTo>
                  <a:pt x="981710" y="1209497"/>
                </a:lnTo>
                <a:lnTo>
                  <a:pt x="986078" y="1212951"/>
                </a:lnTo>
                <a:lnTo>
                  <a:pt x="992733" y="1214145"/>
                </a:lnTo>
                <a:lnTo>
                  <a:pt x="998562" y="1214145"/>
                </a:lnTo>
                <a:lnTo>
                  <a:pt x="1002842" y="1212278"/>
                </a:lnTo>
                <a:lnTo>
                  <a:pt x="1009002" y="1205547"/>
                </a:lnTo>
                <a:lnTo>
                  <a:pt x="1010577" y="1201089"/>
                </a:lnTo>
                <a:lnTo>
                  <a:pt x="1010119" y="1189050"/>
                </a:lnTo>
                <a:lnTo>
                  <a:pt x="1008646" y="1150734"/>
                </a:lnTo>
                <a:lnTo>
                  <a:pt x="1009408" y="1148981"/>
                </a:lnTo>
                <a:lnTo>
                  <a:pt x="1010805" y="1147787"/>
                </a:lnTo>
                <a:lnTo>
                  <a:pt x="1053744" y="1105458"/>
                </a:lnTo>
                <a:lnTo>
                  <a:pt x="1093520" y="1187831"/>
                </a:lnTo>
                <a:lnTo>
                  <a:pt x="1095959" y="1192466"/>
                </a:lnTo>
                <a:lnTo>
                  <a:pt x="1100251" y="1195273"/>
                </a:lnTo>
                <a:lnTo>
                  <a:pt x="1110018" y="1196035"/>
                </a:lnTo>
                <a:lnTo>
                  <a:pt x="1114666" y="1193914"/>
                </a:lnTo>
                <a:lnTo>
                  <a:pt x="1129512" y="1174051"/>
                </a:lnTo>
                <a:lnTo>
                  <a:pt x="1132382" y="1170203"/>
                </a:lnTo>
                <a:lnTo>
                  <a:pt x="1133843" y="1164361"/>
                </a:lnTo>
                <a:lnTo>
                  <a:pt x="1115301" y="1044524"/>
                </a:lnTo>
                <a:lnTo>
                  <a:pt x="1115187" y="1043851"/>
                </a:lnTo>
                <a:lnTo>
                  <a:pt x="1115568" y="1042733"/>
                </a:lnTo>
                <a:lnTo>
                  <a:pt x="1184338" y="973747"/>
                </a:lnTo>
                <a:lnTo>
                  <a:pt x="1184935" y="972693"/>
                </a:lnTo>
                <a:lnTo>
                  <a:pt x="1187754" y="965568"/>
                </a:lnTo>
                <a:lnTo>
                  <a:pt x="1188897" y="955916"/>
                </a:lnTo>
                <a:close/>
              </a:path>
              <a:path w="3714115" h="2459990">
                <a:moveTo>
                  <a:pt x="1856981" y="2317292"/>
                </a:moveTo>
                <a:lnTo>
                  <a:pt x="1855470" y="2309711"/>
                </a:lnTo>
                <a:lnTo>
                  <a:pt x="1850047" y="2282634"/>
                </a:lnTo>
                <a:lnTo>
                  <a:pt x="1841093" y="2259711"/>
                </a:lnTo>
                <a:lnTo>
                  <a:pt x="1840128" y="2258606"/>
                </a:lnTo>
                <a:lnTo>
                  <a:pt x="1840128" y="2326563"/>
                </a:lnTo>
                <a:lnTo>
                  <a:pt x="1840128" y="2393988"/>
                </a:lnTo>
                <a:lnTo>
                  <a:pt x="1829536" y="2393988"/>
                </a:lnTo>
                <a:lnTo>
                  <a:pt x="1824990" y="2385555"/>
                </a:lnTo>
                <a:lnTo>
                  <a:pt x="1824050" y="2383828"/>
                </a:lnTo>
                <a:lnTo>
                  <a:pt x="1815871" y="2375827"/>
                </a:lnTo>
                <a:lnTo>
                  <a:pt x="1814830" y="2375306"/>
                </a:lnTo>
                <a:lnTo>
                  <a:pt x="1814830" y="2406624"/>
                </a:lnTo>
                <a:lnTo>
                  <a:pt x="1813166" y="2414816"/>
                </a:lnTo>
                <a:lnTo>
                  <a:pt x="1808645" y="2421521"/>
                </a:lnTo>
                <a:lnTo>
                  <a:pt x="1801939" y="2426043"/>
                </a:lnTo>
                <a:lnTo>
                  <a:pt x="1793748" y="2427706"/>
                </a:lnTo>
                <a:lnTo>
                  <a:pt x="1785569" y="2426043"/>
                </a:lnTo>
                <a:lnTo>
                  <a:pt x="1778863" y="2421521"/>
                </a:lnTo>
                <a:lnTo>
                  <a:pt x="1774342" y="2414816"/>
                </a:lnTo>
                <a:lnTo>
                  <a:pt x="1773529" y="2410841"/>
                </a:lnTo>
                <a:lnTo>
                  <a:pt x="1772678" y="2406624"/>
                </a:lnTo>
                <a:lnTo>
                  <a:pt x="1774342" y="2398445"/>
                </a:lnTo>
                <a:lnTo>
                  <a:pt x="1777339" y="2393988"/>
                </a:lnTo>
                <a:lnTo>
                  <a:pt x="1778863" y="2391740"/>
                </a:lnTo>
                <a:lnTo>
                  <a:pt x="1785569" y="2387219"/>
                </a:lnTo>
                <a:lnTo>
                  <a:pt x="1793748" y="2385555"/>
                </a:lnTo>
                <a:lnTo>
                  <a:pt x="1801939" y="2387219"/>
                </a:lnTo>
                <a:lnTo>
                  <a:pt x="1808645" y="2391740"/>
                </a:lnTo>
                <a:lnTo>
                  <a:pt x="1813166" y="2398445"/>
                </a:lnTo>
                <a:lnTo>
                  <a:pt x="1814830" y="2406624"/>
                </a:lnTo>
                <a:lnTo>
                  <a:pt x="1814830" y="2375306"/>
                </a:lnTo>
                <a:lnTo>
                  <a:pt x="1805571" y="2370582"/>
                </a:lnTo>
                <a:lnTo>
                  <a:pt x="1793748" y="2368702"/>
                </a:lnTo>
                <a:lnTo>
                  <a:pt x="1781949" y="2370582"/>
                </a:lnTo>
                <a:lnTo>
                  <a:pt x="1771650" y="2375827"/>
                </a:lnTo>
                <a:lnTo>
                  <a:pt x="1763458" y="2383828"/>
                </a:lnTo>
                <a:lnTo>
                  <a:pt x="1757997" y="2393988"/>
                </a:lnTo>
                <a:lnTo>
                  <a:pt x="1635620" y="2393988"/>
                </a:lnTo>
                <a:lnTo>
                  <a:pt x="1631073" y="2385555"/>
                </a:lnTo>
                <a:lnTo>
                  <a:pt x="1630146" y="2383828"/>
                </a:lnTo>
                <a:lnTo>
                  <a:pt x="1621955" y="2375827"/>
                </a:lnTo>
                <a:lnTo>
                  <a:pt x="1620926" y="2375306"/>
                </a:lnTo>
                <a:lnTo>
                  <a:pt x="1620926" y="2406624"/>
                </a:lnTo>
                <a:lnTo>
                  <a:pt x="1619262" y="2414816"/>
                </a:lnTo>
                <a:lnTo>
                  <a:pt x="1614741" y="2421521"/>
                </a:lnTo>
                <a:lnTo>
                  <a:pt x="1608048" y="2426043"/>
                </a:lnTo>
                <a:lnTo>
                  <a:pt x="1599844" y="2427706"/>
                </a:lnTo>
                <a:lnTo>
                  <a:pt x="1591652" y="2426043"/>
                </a:lnTo>
                <a:lnTo>
                  <a:pt x="1584960" y="2421521"/>
                </a:lnTo>
                <a:lnTo>
                  <a:pt x="1580438" y="2414816"/>
                </a:lnTo>
                <a:lnTo>
                  <a:pt x="1578775" y="2406624"/>
                </a:lnTo>
                <a:lnTo>
                  <a:pt x="1580438" y="2398445"/>
                </a:lnTo>
                <a:lnTo>
                  <a:pt x="1583436" y="2393988"/>
                </a:lnTo>
                <a:lnTo>
                  <a:pt x="1584960" y="2391740"/>
                </a:lnTo>
                <a:lnTo>
                  <a:pt x="1591652" y="2387219"/>
                </a:lnTo>
                <a:lnTo>
                  <a:pt x="1599844" y="2385555"/>
                </a:lnTo>
                <a:lnTo>
                  <a:pt x="1608048" y="2387219"/>
                </a:lnTo>
                <a:lnTo>
                  <a:pt x="1614741" y="2391740"/>
                </a:lnTo>
                <a:lnTo>
                  <a:pt x="1619262" y="2398445"/>
                </a:lnTo>
                <a:lnTo>
                  <a:pt x="1620926" y="2406624"/>
                </a:lnTo>
                <a:lnTo>
                  <a:pt x="1620926" y="2375306"/>
                </a:lnTo>
                <a:lnTo>
                  <a:pt x="1611655" y="2370582"/>
                </a:lnTo>
                <a:lnTo>
                  <a:pt x="1599844" y="2368702"/>
                </a:lnTo>
                <a:lnTo>
                  <a:pt x="1588046" y="2370582"/>
                </a:lnTo>
                <a:lnTo>
                  <a:pt x="1577746" y="2375827"/>
                </a:lnTo>
                <a:lnTo>
                  <a:pt x="1569554" y="2383828"/>
                </a:lnTo>
                <a:lnTo>
                  <a:pt x="1564081" y="2393988"/>
                </a:lnTo>
                <a:lnTo>
                  <a:pt x="1536623" y="2393988"/>
                </a:lnTo>
                <a:lnTo>
                  <a:pt x="1536623" y="2351849"/>
                </a:lnTo>
                <a:lnTo>
                  <a:pt x="1738947" y="2351849"/>
                </a:lnTo>
                <a:lnTo>
                  <a:pt x="1738947" y="2334984"/>
                </a:lnTo>
                <a:lnTo>
                  <a:pt x="1738947" y="2242299"/>
                </a:lnTo>
                <a:lnTo>
                  <a:pt x="1764245" y="2242299"/>
                </a:lnTo>
                <a:lnTo>
                  <a:pt x="1764245" y="2326563"/>
                </a:lnTo>
                <a:lnTo>
                  <a:pt x="1840128" y="2326563"/>
                </a:lnTo>
                <a:lnTo>
                  <a:pt x="1840128" y="2258606"/>
                </a:lnTo>
                <a:lnTo>
                  <a:pt x="1838274" y="2256472"/>
                </a:lnTo>
                <a:lnTo>
                  <a:pt x="1838274" y="2309711"/>
                </a:lnTo>
                <a:lnTo>
                  <a:pt x="1781111" y="2309711"/>
                </a:lnTo>
                <a:lnTo>
                  <a:pt x="1781111" y="2242299"/>
                </a:lnTo>
                <a:lnTo>
                  <a:pt x="1799336" y="2245766"/>
                </a:lnTo>
                <a:lnTo>
                  <a:pt x="1814982" y="2254885"/>
                </a:lnTo>
                <a:lnTo>
                  <a:pt x="1826793" y="2268626"/>
                </a:lnTo>
                <a:lnTo>
                  <a:pt x="1833499" y="2285949"/>
                </a:lnTo>
                <a:lnTo>
                  <a:pt x="1838274" y="2309711"/>
                </a:lnTo>
                <a:lnTo>
                  <a:pt x="1838274" y="2256472"/>
                </a:lnTo>
                <a:lnTo>
                  <a:pt x="1825942" y="2242299"/>
                </a:lnTo>
                <a:lnTo>
                  <a:pt x="1825332" y="2241600"/>
                </a:lnTo>
                <a:lnTo>
                  <a:pt x="1804479" y="2229701"/>
                </a:lnTo>
                <a:lnTo>
                  <a:pt x="1780247" y="2225421"/>
                </a:lnTo>
                <a:lnTo>
                  <a:pt x="1738947" y="2225421"/>
                </a:lnTo>
                <a:lnTo>
                  <a:pt x="1738947" y="2208568"/>
                </a:lnTo>
                <a:lnTo>
                  <a:pt x="1738947" y="2191715"/>
                </a:lnTo>
                <a:lnTo>
                  <a:pt x="1722094" y="2191715"/>
                </a:lnTo>
                <a:lnTo>
                  <a:pt x="1722094" y="2208568"/>
                </a:lnTo>
                <a:lnTo>
                  <a:pt x="1722094" y="2334984"/>
                </a:lnTo>
                <a:lnTo>
                  <a:pt x="1536623" y="2334984"/>
                </a:lnTo>
                <a:lnTo>
                  <a:pt x="1536623" y="2208568"/>
                </a:lnTo>
                <a:lnTo>
                  <a:pt x="1722094" y="2208568"/>
                </a:lnTo>
                <a:lnTo>
                  <a:pt x="1722094" y="2191715"/>
                </a:lnTo>
                <a:lnTo>
                  <a:pt x="1519758" y="2191715"/>
                </a:lnTo>
                <a:lnTo>
                  <a:pt x="1519758" y="2410841"/>
                </a:lnTo>
                <a:lnTo>
                  <a:pt x="1562138" y="2410841"/>
                </a:lnTo>
                <a:lnTo>
                  <a:pt x="1566176" y="2424099"/>
                </a:lnTo>
                <a:lnTo>
                  <a:pt x="1574469" y="2434806"/>
                </a:lnTo>
                <a:lnTo>
                  <a:pt x="1586026" y="2441956"/>
                </a:lnTo>
                <a:lnTo>
                  <a:pt x="1599844" y="2444559"/>
                </a:lnTo>
                <a:lnTo>
                  <a:pt x="1613674" y="2441956"/>
                </a:lnTo>
                <a:lnTo>
                  <a:pt x="1625219" y="2434806"/>
                </a:lnTo>
                <a:lnTo>
                  <a:pt x="1630730" y="2427706"/>
                </a:lnTo>
                <a:lnTo>
                  <a:pt x="1633512" y="2424099"/>
                </a:lnTo>
                <a:lnTo>
                  <a:pt x="1637550" y="2410841"/>
                </a:lnTo>
                <a:lnTo>
                  <a:pt x="1756041" y="2410841"/>
                </a:lnTo>
                <a:lnTo>
                  <a:pt x="1760080" y="2424099"/>
                </a:lnTo>
                <a:lnTo>
                  <a:pt x="1768373" y="2434806"/>
                </a:lnTo>
                <a:lnTo>
                  <a:pt x="1779930" y="2441956"/>
                </a:lnTo>
                <a:lnTo>
                  <a:pt x="1793748" y="2444559"/>
                </a:lnTo>
                <a:lnTo>
                  <a:pt x="1807578" y="2441956"/>
                </a:lnTo>
                <a:lnTo>
                  <a:pt x="1819135" y="2434806"/>
                </a:lnTo>
                <a:lnTo>
                  <a:pt x="1824634" y="2427706"/>
                </a:lnTo>
                <a:lnTo>
                  <a:pt x="1827428" y="2424099"/>
                </a:lnTo>
                <a:lnTo>
                  <a:pt x="1831467" y="2410841"/>
                </a:lnTo>
                <a:lnTo>
                  <a:pt x="1856981" y="2410841"/>
                </a:lnTo>
                <a:lnTo>
                  <a:pt x="1856981" y="2393988"/>
                </a:lnTo>
                <a:lnTo>
                  <a:pt x="1856981" y="2317292"/>
                </a:lnTo>
                <a:close/>
              </a:path>
              <a:path w="3714115" h="2459990">
                <a:moveTo>
                  <a:pt x="2633154" y="1078052"/>
                </a:moveTo>
                <a:lnTo>
                  <a:pt x="2610078" y="1008862"/>
                </a:lnTo>
                <a:lnTo>
                  <a:pt x="2543289" y="1008862"/>
                </a:lnTo>
                <a:lnTo>
                  <a:pt x="2543289" y="1026160"/>
                </a:lnTo>
                <a:lnTo>
                  <a:pt x="2597607" y="1026160"/>
                </a:lnTo>
                <a:lnTo>
                  <a:pt x="2609151" y="1060754"/>
                </a:lnTo>
                <a:lnTo>
                  <a:pt x="2543289" y="1060754"/>
                </a:lnTo>
                <a:lnTo>
                  <a:pt x="2543289" y="1078052"/>
                </a:lnTo>
                <a:lnTo>
                  <a:pt x="2633154" y="1078052"/>
                </a:lnTo>
                <a:close/>
              </a:path>
              <a:path w="3714115" h="2459990">
                <a:moveTo>
                  <a:pt x="2713190" y="1626590"/>
                </a:moveTo>
                <a:lnTo>
                  <a:pt x="2711754" y="1619516"/>
                </a:lnTo>
                <a:lnTo>
                  <a:pt x="2707856" y="1613738"/>
                </a:lnTo>
                <a:lnTo>
                  <a:pt x="2702077" y="1609839"/>
                </a:lnTo>
                <a:lnTo>
                  <a:pt x="2695003" y="1608404"/>
                </a:lnTo>
                <a:lnTo>
                  <a:pt x="2687929" y="1609839"/>
                </a:lnTo>
                <a:lnTo>
                  <a:pt x="2682151" y="1613738"/>
                </a:lnTo>
                <a:lnTo>
                  <a:pt x="2678239" y="1619516"/>
                </a:lnTo>
                <a:lnTo>
                  <a:pt x="2676817" y="1626590"/>
                </a:lnTo>
                <a:lnTo>
                  <a:pt x="2678239" y="1633651"/>
                </a:lnTo>
                <a:lnTo>
                  <a:pt x="2682151" y="1639430"/>
                </a:lnTo>
                <a:lnTo>
                  <a:pt x="2687929" y="1643341"/>
                </a:lnTo>
                <a:lnTo>
                  <a:pt x="2695003" y="1644764"/>
                </a:lnTo>
                <a:lnTo>
                  <a:pt x="2702077" y="1643341"/>
                </a:lnTo>
                <a:lnTo>
                  <a:pt x="2707856" y="1639430"/>
                </a:lnTo>
                <a:lnTo>
                  <a:pt x="2711754" y="1633651"/>
                </a:lnTo>
                <a:lnTo>
                  <a:pt x="2713190" y="1626590"/>
                </a:lnTo>
                <a:close/>
              </a:path>
              <a:path w="3714115" h="2459990">
                <a:moveTo>
                  <a:pt x="2860929" y="2186635"/>
                </a:moveTo>
                <a:lnTo>
                  <a:pt x="2845333" y="2186635"/>
                </a:lnTo>
                <a:lnTo>
                  <a:pt x="2845333" y="2202218"/>
                </a:lnTo>
                <a:lnTo>
                  <a:pt x="2845333" y="2241207"/>
                </a:lnTo>
                <a:lnTo>
                  <a:pt x="2775127" y="2241207"/>
                </a:lnTo>
                <a:lnTo>
                  <a:pt x="2775127" y="2202218"/>
                </a:lnTo>
                <a:lnTo>
                  <a:pt x="2845333" y="2202218"/>
                </a:lnTo>
                <a:lnTo>
                  <a:pt x="2845333" y="2186635"/>
                </a:lnTo>
                <a:lnTo>
                  <a:pt x="2759532" y="2186635"/>
                </a:lnTo>
                <a:lnTo>
                  <a:pt x="2759532" y="2256802"/>
                </a:lnTo>
                <a:lnTo>
                  <a:pt x="2860929" y="2256802"/>
                </a:lnTo>
                <a:lnTo>
                  <a:pt x="2860929" y="2241207"/>
                </a:lnTo>
                <a:lnTo>
                  <a:pt x="2860929" y="2202218"/>
                </a:lnTo>
                <a:lnTo>
                  <a:pt x="2860929" y="2186635"/>
                </a:lnTo>
                <a:close/>
              </a:path>
              <a:path w="3714115" h="2459990">
                <a:moveTo>
                  <a:pt x="2876880" y="1817497"/>
                </a:moveTo>
                <a:lnTo>
                  <a:pt x="2865475" y="1817497"/>
                </a:lnTo>
                <a:lnTo>
                  <a:pt x="2856776" y="1813217"/>
                </a:lnTo>
                <a:lnTo>
                  <a:pt x="2854960" y="1810143"/>
                </a:lnTo>
                <a:lnTo>
                  <a:pt x="2854388" y="1809191"/>
                </a:lnTo>
                <a:lnTo>
                  <a:pt x="2848203" y="1802079"/>
                </a:lnTo>
                <a:lnTo>
                  <a:pt x="2839351" y="1796643"/>
                </a:lnTo>
                <a:lnTo>
                  <a:pt x="2828493" y="1793176"/>
                </a:lnTo>
                <a:lnTo>
                  <a:pt x="2816250" y="1791957"/>
                </a:lnTo>
                <a:lnTo>
                  <a:pt x="2804020" y="1793176"/>
                </a:lnTo>
                <a:lnTo>
                  <a:pt x="2793149" y="1796643"/>
                </a:lnTo>
                <a:lnTo>
                  <a:pt x="2784310" y="1802079"/>
                </a:lnTo>
                <a:lnTo>
                  <a:pt x="2778112" y="1809191"/>
                </a:lnTo>
                <a:lnTo>
                  <a:pt x="2776715" y="1811566"/>
                </a:lnTo>
                <a:lnTo>
                  <a:pt x="2773095" y="1814017"/>
                </a:lnTo>
                <a:lnTo>
                  <a:pt x="2768054" y="1815642"/>
                </a:lnTo>
                <a:lnTo>
                  <a:pt x="2816390" y="1702917"/>
                </a:lnTo>
                <a:lnTo>
                  <a:pt x="2791866" y="1694751"/>
                </a:lnTo>
                <a:lnTo>
                  <a:pt x="2791866" y="1713915"/>
                </a:lnTo>
                <a:lnTo>
                  <a:pt x="2747759" y="1816785"/>
                </a:lnTo>
                <a:lnTo>
                  <a:pt x="2740342" y="1815414"/>
                </a:lnTo>
                <a:lnTo>
                  <a:pt x="2734945" y="1812226"/>
                </a:lnTo>
                <a:lnTo>
                  <a:pt x="2733700" y="1810143"/>
                </a:lnTo>
                <a:lnTo>
                  <a:pt x="2733141" y="1809191"/>
                </a:lnTo>
                <a:lnTo>
                  <a:pt x="2726956" y="1802079"/>
                </a:lnTo>
                <a:lnTo>
                  <a:pt x="2718104" y="1796643"/>
                </a:lnTo>
                <a:lnTo>
                  <a:pt x="2707246" y="1793176"/>
                </a:lnTo>
                <a:lnTo>
                  <a:pt x="2695016" y="1791957"/>
                </a:lnTo>
                <a:lnTo>
                  <a:pt x="2682760" y="1793176"/>
                </a:lnTo>
                <a:lnTo>
                  <a:pt x="2671902" y="1796643"/>
                </a:lnTo>
                <a:lnTo>
                  <a:pt x="2663063" y="1802079"/>
                </a:lnTo>
                <a:lnTo>
                  <a:pt x="2656865" y="1809191"/>
                </a:lnTo>
                <a:lnTo>
                  <a:pt x="2655062" y="1812226"/>
                </a:lnTo>
                <a:lnTo>
                  <a:pt x="2649677" y="1815414"/>
                </a:lnTo>
                <a:lnTo>
                  <a:pt x="2642235" y="1816785"/>
                </a:lnTo>
                <a:lnTo>
                  <a:pt x="2641739" y="1815642"/>
                </a:lnTo>
                <a:lnTo>
                  <a:pt x="2598128" y="1713915"/>
                </a:lnTo>
                <a:lnTo>
                  <a:pt x="2695003" y="1681619"/>
                </a:lnTo>
                <a:lnTo>
                  <a:pt x="2791866" y="1713915"/>
                </a:lnTo>
                <a:lnTo>
                  <a:pt x="2791866" y="1694751"/>
                </a:lnTo>
                <a:lnTo>
                  <a:pt x="2758656" y="1683677"/>
                </a:lnTo>
                <a:lnTo>
                  <a:pt x="2758656" y="1681619"/>
                </a:lnTo>
                <a:lnTo>
                  <a:pt x="2758656" y="1677606"/>
                </a:lnTo>
                <a:lnTo>
                  <a:pt x="2758656" y="1590217"/>
                </a:lnTo>
                <a:lnTo>
                  <a:pt x="2758656" y="1572044"/>
                </a:lnTo>
                <a:lnTo>
                  <a:pt x="2740469" y="1572044"/>
                </a:lnTo>
                <a:lnTo>
                  <a:pt x="2740469" y="1590217"/>
                </a:lnTo>
                <a:lnTo>
                  <a:pt x="2740469" y="1677606"/>
                </a:lnTo>
                <a:lnTo>
                  <a:pt x="2695003" y="1662455"/>
                </a:lnTo>
                <a:lnTo>
                  <a:pt x="2649537" y="1677606"/>
                </a:lnTo>
                <a:lnTo>
                  <a:pt x="2649537" y="1590217"/>
                </a:lnTo>
                <a:lnTo>
                  <a:pt x="2740469" y="1590217"/>
                </a:lnTo>
                <a:lnTo>
                  <a:pt x="2740469" y="1572044"/>
                </a:lnTo>
                <a:lnTo>
                  <a:pt x="2722283" y="1572044"/>
                </a:lnTo>
                <a:lnTo>
                  <a:pt x="2722283" y="1544764"/>
                </a:lnTo>
                <a:lnTo>
                  <a:pt x="2722283" y="1526590"/>
                </a:lnTo>
                <a:lnTo>
                  <a:pt x="2704096" y="1526590"/>
                </a:lnTo>
                <a:lnTo>
                  <a:pt x="2704096" y="1544764"/>
                </a:lnTo>
                <a:lnTo>
                  <a:pt x="2704096" y="1572044"/>
                </a:lnTo>
                <a:lnTo>
                  <a:pt x="2685910" y="1572044"/>
                </a:lnTo>
                <a:lnTo>
                  <a:pt x="2685910" y="1544764"/>
                </a:lnTo>
                <a:lnTo>
                  <a:pt x="2704096" y="1544764"/>
                </a:lnTo>
                <a:lnTo>
                  <a:pt x="2704096" y="1526590"/>
                </a:lnTo>
                <a:lnTo>
                  <a:pt x="2667724" y="1526590"/>
                </a:lnTo>
                <a:lnTo>
                  <a:pt x="2667724" y="1572044"/>
                </a:lnTo>
                <a:lnTo>
                  <a:pt x="2631351" y="1572044"/>
                </a:lnTo>
                <a:lnTo>
                  <a:pt x="2631351" y="1683677"/>
                </a:lnTo>
                <a:lnTo>
                  <a:pt x="2573629" y="1702917"/>
                </a:lnTo>
                <a:lnTo>
                  <a:pt x="2621851" y="1815414"/>
                </a:lnTo>
                <a:lnTo>
                  <a:pt x="2621953" y="1815642"/>
                </a:lnTo>
                <a:lnTo>
                  <a:pt x="2616898" y="1814017"/>
                </a:lnTo>
                <a:lnTo>
                  <a:pt x="2613291" y="1811566"/>
                </a:lnTo>
                <a:lnTo>
                  <a:pt x="2612453" y="1810143"/>
                </a:lnTo>
                <a:lnTo>
                  <a:pt x="2611882" y="1809191"/>
                </a:lnTo>
                <a:lnTo>
                  <a:pt x="2605697" y="1802079"/>
                </a:lnTo>
                <a:lnTo>
                  <a:pt x="2596858" y="1796643"/>
                </a:lnTo>
                <a:lnTo>
                  <a:pt x="2585999" y="1793176"/>
                </a:lnTo>
                <a:lnTo>
                  <a:pt x="2573756" y="1791957"/>
                </a:lnTo>
                <a:lnTo>
                  <a:pt x="2561513" y="1793176"/>
                </a:lnTo>
                <a:lnTo>
                  <a:pt x="2550655" y="1796643"/>
                </a:lnTo>
                <a:lnTo>
                  <a:pt x="2541803" y="1802079"/>
                </a:lnTo>
                <a:lnTo>
                  <a:pt x="2535618" y="1809191"/>
                </a:lnTo>
                <a:lnTo>
                  <a:pt x="2533231" y="1813217"/>
                </a:lnTo>
                <a:lnTo>
                  <a:pt x="2524531" y="1817497"/>
                </a:lnTo>
                <a:lnTo>
                  <a:pt x="2513126" y="1817497"/>
                </a:lnTo>
                <a:lnTo>
                  <a:pt x="2513126" y="1835683"/>
                </a:lnTo>
                <a:lnTo>
                  <a:pt x="2551252" y="1818462"/>
                </a:lnTo>
                <a:lnTo>
                  <a:pt x="2553652" y="1814423"/>
                </a:lnTo>
                <a:lnTo>
                  <a:pt x="2562352" y="1810143"/>
                </a:lnTo>
                <a:lnTo>
                  <a:pt x="2585161" y="1810143"/>
                </a:lnTo>
                <a:lnTo>
                  <a:pt x="2593848" y="1814423"/>
                </a:lnTo>
                <a:lnTo>
                  <a:pt x="2596248" y="1818462"/>
                </a:lnTo>
                <a:lnTo>
                  <a:pt x="2602433" y="1825561"/>
                </a:lnTo>
                <a:lnTo>
                  <a:pt x="2611285" y="1830997"/>
                </a:lnTo>
                <a:lnTo>
                  <a:pt x="2622143" y="1834464"/>
                </a:lnTo>
                <a:lnTo>
                  <a:pt x="2634373" y="1835683"/>
                </a:lnTo>
                <a:lnTo>
                  <a:pt x="2646616" y="1834464"/>
                </a:lnTo>
                <a:lnTo>
                  <a:pt x="2657487" y="1830997"/>
                </a:lnTo>
                <a:lnTo>
                  <a:pt x="2666327" y="1825561"/>
                </a:lnTo>
                <a:lnTo>
                  <a:pt x="2672511" y="1818462"/>
                </a:lnTo>
                <a:lnTo>
                  <a:pt x="2673502" y="1816785"/>
                </a:lnTo>
                <a:lnTo>
                  <a:pt x="2674899" y="1814423"/>
                </a:lnTo>
                <a:lnTo>
                  <a:pt x="2683599" y="1810143"/>
                </a:lnTo>
                <a:lnTo>
                  <a:pt x="2706408" y="1810143"/>
                </a:lnTo>
                <a:lnTo>
                  <a:pt x="2715107" y="1814423"/>
                </a:lnTo>
                <a:lnTo>
                  <a:pt x="2717495" y="1818462"/>
                </a:lnTo>
                <a:lnTo>
                  <a:pt x="2723692" y="1825561"/>
                </a:lnTo>
                <a:lnTo>
                  <a:pt x="2732532" y="1830997"/>
                </a:lnTo>
                <a:lnTo>
                  <a:pt x="2743390" y="1834464"/>
                </a:lnTo>
                <a:lnTo>
                  <a:pt x="2755620" y="1835683"/>
                </a:lnTo>
                <a:lnTo>
                  <a:pt x="2767863" y="1834464"/>
                </a:lnTo>
                <a:lnTo>
                  <a:pt x="2778734" y="1830997"/>
                </a:lnTo>
                <a:lnTo>
                  <a:pt x="2787573" y="1825561"/>
                </a:lnTo>
                <a:lnTo>
                  <a:pt x="2793758" y="1818462"/>
                </a:lnTo>
                <a:lnTo>
                  <a:pt x="2794749" y="1816785"/>
                </a:lnTo>
                <a:lnTo>
                  <a:pt x="2795435" y="1815642"/>
                </a:lnTo>
                <a:lnTo>
                  <a:pt x="2796146" y="1814423"/>
                </a:lnTo>
                <a:lnTo>
                  <a:pt x="2804845" y="1810143"/>
                </a:lnTo>
                <a:lnTo>
                  <a:pt x="2827655" y="1810143"/>
                </a:lnTo>
                <a:lnTo>
                  <a:pt x="2836354" y="1814423"/>
                </a:lnTo>
                <a:lnTo>
                  <a:pt x="2838742" y="1818462"/>
                </a:lnTo>
                <a:lnTo>
                  <a:pt x="2844939" y="1825561"/>
                </a:lnTo>
                <a:lnTo>
                  <a:pt x="2853779" y="1830997"/>
                </a:lnTo>
                <a:lnTo>
                  <a:pt x="2864637" y="1834464"/>
                </a:lnTo>
                <a:lnTo>
                  <a:pt x="2876880" y="1835683"/>
                </a:lnTo>
                <a:lnTo>
                  <a:pt x="2876880" y="1817497"/>
                </a:lnTo>
                <a:close/>
              </a:path>
              <a:path w="3714115" h="2459990">
                <a:moveTo>
                  <a:pt x="2889351" y="1181849"/>
                </a:moveTo>
                <a:lnTo>
                  <a:pt x="2543289" y="1181849"/>
                </a:lnTo>
                <a:lnTo>
                  <a:pt x="2543289" y="1199146"/>
                </a:lnTo>
                <a:lnTo>
                  <a:pt x="2889351" y="1199146"/>
                </a:lnTo>
                <a:lnTo>
                  <a:pt x="2889351" y="1181849"/>
                </a:lnTo>
                <a:close/>
              </a:path>
              <a:path w="3714115" h="2459990">
                <a:moveTo>
                  <a:pt x="2889351" y="1112647"/>
                </a:moveTo>
                <a:lnTo>
                  <a:pt x="2872587" y="1074305"/>
                </a:lnTo>
                <a:lnTo>
                  <a:pt x="2853601" y="1060754"/>
                </a:lnTo>
                <a:lnTo>
                  <a:pt x="2823210" y="1039723"/>
                </a:lnTo>
                <a:lnTo>
                  <a:pt x="2823210" y="1060754"/>
                </a:lnTo>
                <a:lnTo>
                  <a:pt x="2679293" y="1060754"/>
                </a:lnTo>
                <a:lnTo>
                  <a:pt x="2667762" y="1026160"/>
                </a:lnTo>
                <a:lnTo>
                  <a:pt x="2773222" y="1026160"/>
                </a:lnTo>
                <a:lnTo>
                  <a:pt x="2823210" y="1060754"/>
                </a:lnTo>
                <a:lnTo>
                  <a:pt x="2823210" y="1039723"/>
                </a:lnTo>
                <a:lnTo>
                  <a:pt x="2803614" y="1026160"/>
                </a:lnTo>
                <a:lnTo>
                  <a:pt x="2750147" y="989126"/>
                </a:lnTo>
                <a:lnTo>
                  <a:pt x="2737256" y="982700"/>
                </a:lnTo>
                <a:lnTo>
                  <a:pt x="2717368" y="976833"/>
                </a:lnTo>
                <a:lnTo>
                  <a:pt x="2690545" y="974280"/>
                </a:lnTo>
                <a:lnTo>
                  <a:pt x="2543276" y="974280"/>
                </a:lnTo>
                <a:lnTo>
                  <a:pt x="2543289" y="991577"/>
                </a:lnTo>
                <a:lnTo>
                  <a:pt x="2690545" y="991577"/>
                </a:lnTo>
                <a:lnTo>
                  <a:pt x="2714447" y="993902"/>
                </a:lnTo>
                <a:lnTo>
                  <a:pt x="2731528" y="999083"/>
                </a:lnTo>
                <a:lnTo>
                  <a:pt x="2741739" y="1004265"/>
                </a:lnTo>
                <a:lnTo>
                  <a:pt x="2745181" y="1006678"/>
                </a:lnTo>
                <a:lnTo>
                  <a:pt x="2745575" y="1007021"/>
                </a:lnTo>
                <a:lnTo>
                  <a:pt x="2748216" y="1008862"/>
                </a:lnTo>
                <a:lnTo>
                  <a:pt x="2643759" y="1008862"/>
                </a:lnTo>
                <a:lnTo>
                  <a:pt x="2666822" y="1078052"/>
                </a:lnTo>
                <a:lnTo>
                  <a:pt x="2848203" y="1078052"/>
                </a:lnTo>
                <a:lnTo>
                  <a:pt x="2858478" y="1085164"/>
                </a:lnTo>
                <a:lnTo>
                  <a:pt x="2872054" y="1112647"/>
                </a:lnTo>
                <a:lnTo>
                  <a:pt x="2869819" y="1124267"/>
                </a:lnTo>
                <a:lnTo>
                  <a:pt x="2863926" y="1132344"/>
                </a:lnTo>
                <a:lnTo>
                  <a:pt x="2855607" y="1137069"/>
                </a:lnTo>
                <a:lnTo>
                  <a:pt x="2846095" y="1138593"/>
                </a:lnTo>
                <a:lnTo>
                  <a:pt x="2543289" y="1138593"/>
                </a:lnTo>
                <a:lnTo>
                  <a:pt x="2543289" y="1155903"/>
                </a:lnTo>
                <a:lnTo>
                  <a:pt x="2846095" y="1155903"/>
                </a:lnTo>
                <a:lnTo>
                  <a:pt x="2863431" y="1152664"/>
                </a:lnTo>
                <a:lnTo>
                  <a:pt x="2877134" y="1143673"/>
                </a:lnTo>
                <a:lnTo>
                  <a:pt x="2886125" y="1129982"/>
                </a:lnTo>
                <a:lnTo>
                  <a:pt x="2889351" y="1112647"/>
                </a:lnTo>
                <a:close/>
              </a:path>
              <a:path w="3714115" h="2459990">
                <a:moveTo>
                  <a:pt x="2892120" y="2443924"/>
                </a:moveTo>
                <a:lnTo>
                  <a:pt x="2892094" y="2186635"/>
                </a:lnTo>
                <a:lnTo>
                  <a:pt x="2876524" y="2156358"/>
                </a:lnTo>
                <a:lnTo>
                  <a:pt x="2876524" y="2443924"/>
                </a:lnTo>
                <a:lnTo>
                  <a:pt x="2743936" y="2443924"/>
                </a:lnTo>
                <a:lnTo>
                  <a:pt x="2743936" y="2412746"/>
                </a:lnTo>
                <a:lnTo>
                  <a:pt x="2743936" y="2186635"/>
                </a:lnTo>
                <a:lnTo>
                  <a:pt x="2745752" y="2177643"/>
                </a:lnTo>
                <a:lnTo>
                  <a:pt x="2750756" y="2170150"/>
                </a:lnTo>
                <a:lnTo>
                  <a:pt x="2758211" y="2165096"/>
                </a:lnTo>
                <a:lnTo>
                  <a:pt x="2767330" y="2163241"/>
                </a:lnTo>
                <a:lnTo>
                  <a:pt x="2852966" y="2163241"/>
                </a:lnTo>
                <a:lnTo>
                  <a:pt x="2876524" y="2443924"/>
                </a:lnTo>
                <a:lnTo>
                  <a:pt x="2876524" y="2156358"/>
                </a:lnTo>
                <a:lnTo>
                  <a:pt x="2868193" y="2150732"/>
                </a:lnTo>
                <a:lnTo>
                  <a:pt x="2852966" y="2147646"/>
                </a:lnTo>
                <a:lnTo>
                  <a:pt x="2767330" y="2147646"/>
                </a:lnTo>
                <a:lnTo>
                  <a:pt x="2732303" y="2170150"/>
                </a:lnTo>
                <a:lnTo>
                  <a:pt x="2728341" y="2186635"/>
                </a:lnTo>
                <a:lnTo>
                  <a:pt x="2728341" y="2412746"/>
                </a:lnTo>
                <a:lnTo>
                  <a:pt x="2665869" y="2412746"/>
                </a:lnTo>
                <a:lnTo>
                  <a:pt x="2658148" y="2405024"/>
                </a:lnTo>
                <a:lnTo>
                  <a:pt x="2658148" y="2293124"/>
                </a:lnTo>
                <a:lnTo>
                  <a:pt x="2661704" y="2294813"/>
                </a:lnTo>
                <a:lnTo>
                  <a:pt x="2665653" y="2295791"/>
                </a:lnTo>
                <a:lnTo>
                  <a:pt x="2669844" y="2295791"/>
                </a:lnTo>
                <a:lnTo>
                  <a:pt x="2680462" y="2293645"/>
                </a:lnTo>
                <a:lnTo>
                  <a:pt x="2681224" y="2293124"/>
                </a:lnTo>
                <a:lnTo>
                  <a:pt x="2689136" y="2287790"/>
                </a:lnTo>
                <a:lnTo>
                  <a:pt x="2694267" y="2280196"/>
                </a:lnTo>
                <a:lnTo>
                  <a:pt x="2694990" y="2279116"/>
                </a:lnTo>
                <a:lnTo>
                  <a:pt x="2697149" y="2268499"/>
                </a:lnTo>
                <a:lnTo>
                  <a:pt x="2696121" y="2261095"/>
                </a:lnTo>
                <a:lnTo>
                  <a:pt x="2694317" y="2256942"/>
                </a:lnTo>
                <a:lnTo>
                  <a:pt x="2693238" y="2254453"/>
                </a:lnTo>
                <a:lnTo>
                  <a:pt x="2688767" y="2248865"/>
                </a:lnTo>
                <a:lnTo>
                  <a:pt x="2683014" y="2244623"/>
                </a:lnTo>
                <a:lnTo>
                  <a:pt x="2702877" y="2223109"/>
                </a:lnTo>
                <a:lnTo>
                  <a:pt x="2691409" y="2212543"/>
                </a:lnTo>
                <a:lnTo>
                  <a:pt x="2681541" y="2223236"/>
                </a:lnTo>
                <a:lnTo>
                  <a:pt x="2681541" y="2262644"/>
                </a:lnTo>
                <a:lnTo>
                  <a:pt x="2681541" y="2274951"/>
                </a:lnTo>
                <a:lnTo>
                  <a:pt x="2676296" y="2280196"/>
                </a:lnTo>
                <a:lnTo>
                  <a:pt x="2664320" y="2280196"/>
                </a:lnTo>
                <a:lnTo>
                  <a:pt x="2659697" y="2276348"/>
                </a:lnTo>
                <a:lnTo>
                  <a:pt x="2658465" y="2271191"/>
                </a:lnTo>
                <a:lnTo>
                  <a:pt x="2671622" y="2256942"/>
                </a:lnTo>
                <a:lnTo>
                  <a:pt x="2677236" y="2257806"/>
                </a:lnTo>
                <a:lnTo>
                  <a:pt x="2681541" y="2262644"/>
                </a:lnTo>
                <a:lnTo>
                  <a:pt x="2681541" y="2223236"/>
                </a:lnTo>
                <a:lnTo>
                  <a:pt x="2642552" y="2265438"/>
                </a:lnTo>
                <a:lnTo>
                  <a:pt x="2642552" y="2397150"/>
                </a:lnTo>
                <a:lnTo>
                  <a:pt x="2645130" y="2408910"/>
                </a:lnTo>
                <a:lnTo>
                  <a:pt x="2652026" y="2418867"/>
                </a:lnTo>
                <a:lnTo>
                  <a:pt x="2661983" y="2425763"/>
                </a:lnTo>
                <a:lnTo>
                  <a:pt x="2673743" y="2428341"/>
                </a:lnTo>
                <a:lnTo>
                  <a:pt x="2728341" y="2428341"/>
                </a:lnTo>
                <a:lnTo>
                  <a:pt x="2728341" y="2459520"/>
                </a:lnTo>
                <a:lnTo>
                  <a:pt x="2892120" y="2459520"/>
                </a:lnTo>
                <a:lnTo>
                  <a:pt x="2892120" y="2443924"/>
                </a:lnTo>
                <a:close/>
              </a:path>
              <a:path w="3714115" h="2459990">
                <a:moveTo>
                  <a:pt x="3504184" y="162064"/>
                </a:moveTo>
                <a:lnTo>
                  <a:pt x="3485108" y="162064"/>
                </a:lnTo>
                <a:lnTo>
                  <a:pt x="3485108" y="200190"/>
                </a:lnTo>
                <a:lnTo>
                  <a:pt x="3504184" y="200190"/>
                </a:lnTo>
                <a:lnTo>
                  <a:pt x="3504184" y="162064"/>
                </a:lnTo>
                <a:close/>
              </a:path>
              <a:path w="3714115" h="2459990">
                <a:moveTo>
                  <a:pt x="3504184" y="104863"/>
                </a:moveTo>
                <a:lnTo>
                  <a:pt x="3485108" y="104863"/>
                </a:lnTo>
                <a:lnTo>
                  <a:pt x="3485108" y="142989"/>
                </a:lnTo>
                <a:lnTo>
                  <a:pt x="3504184" y="142989"/>
                </a:lnTo>
                <a:lnTo>
                  <a:pt x="3504184" y="104863"/>
                </a:lnTo>
                <a:close/>
              </a:path>
              <a:path w="3714115" h="2459990">
                <a:moveTo>
                  <a:pt x="3504184" y="47663"/>
                </a:moveTo>
                <a:lnTo>
                  <a:pt x="3485108" y="47663"/>
                </a:lnTo>
                <a:lnTo>
                  <a:pt x="3485108" y="85801"/>
                </a:lnTo>
                <a:lnTo>
                  <a:pt x="3504184" y="85801"/>
                </a:lnTo>
                <a:lnTo>
                  <a:pt x="3504184" y="47663"/>
                </a:lnTo>
                <a:close/>
              </a:path>
              <a:path w="3714115" h="2459990">
                <a:moveTo>
                  <a:pt x="3542322" y="162064"/>
                </a:moveTo>
                <a:lnTo>
                  <a:pt x="3523246" y="162064"/>
                </a:lnTo>
                <a:lnTo>
                  <a:pt x="3523246" y="200190"/>
                </a:lnTo>
                <a:lnTo>
                  <a:pt x="3542322" y="200190"/>
                </a:lnTo>
                <a:lnTo>
                  <a:pt x="3542322" y="162064"/>
                </a:lnTo>
                <a:close/>
              </a:path>
              <a:path w="3714115" h="2459990">
                <a:moveTo>
                  <a:pt x="3542322" y="104863"/>
                </a:moveTo>
                <a:lnTo>
                  <a:pt x="3523246" y="104863"/>
                </a:lnTo>
                <a:lnTo>
                  <a:pt x="3523246" y="142989"/>
                </a:lnTo>
                <a:lnTo>
                  <a:pt x="3542322" y="142989"/>
                </a:lnTo>
                <a:lnTo>
                  <a:pt x="3542322" y="104863"/>
                </a:lnTo>
                <a:close/>
              </a:path>
              <a:path w="3714115" h="2459990">
                <a:moveTo>
                  <a:pt x="3542322" y="47663"/>
                </a:moveTo>
                <a:lnTo>
                  <a:pt x="3523246" y="47663"/>
                </a:lnTo>
                <a:lnTo>
                  <a:pt x="3523246" y="85801"/>
                </a:lnTo>
                <a:lnTo>
                  <a:pt x="3542322" y="85801"/>
                </a:lnTo>
                <a:lnTo>
                  <a:pt x="3542322" y="47663"/>
                </a:lnTo>
                <a:close/>
              </a:path>
              <a:path w="3714115" h="2459990">
                <a:moveTo>
                  <a:pt x="3580460" y="0"/>
                </a:moveTo>
                <a:lnTo>
                  <a:pt x="3561384" y="0"/>
                </a:lnTo>
                <a:lnTo>
                  <a:pt x="3561384" y="19062"/>
                </a:lnTo>
                <a:lnTo>
                  <a:pt x="3561384" y="285991"/>
                </a:lnTo>
                <a:lnTo>
                  <a:pt x="3466033" y="285991"/>
                </a:lnTo>
                <a:lnTo>
                  <a:pt x="3466033" y="19062"/>
                </a:lnTo>
                <a:lnTo>
                  <a:pt x="3561384" y="19062"/>
                </a:lnTo>
                <a:lnTo>
                  <a:pt x="3561384" y="0"/>
                </a:lnTo>
                <a:lnTo>
                  <a:pt x="3446970" y="0"/>
                </a:lnTo>
                <a:lnTo>
                  <a:pt x="3446970" y="305054"/>
                </a:lnTo>
                <a:lnTo>
                  <a:pt x="3580460" y="305054"/>
                </a:lnTo>
                <a:lnTo>
                  <a:pt x="3580460" y="285991"/>
                </a:lnTo>
                <a:lnTo>
                  <a:pt x="3580460" y="19062"/>
                </a:lnTo>
                <a:lnTo>
                  <a:pt x="3580460" y="0"/>
                </a:lnTo>
                <a:close/>
              </a:path>
              <a:path w="3714115" h="2459990">
                <a:moveTo>
                  <a:pt x="3637673" y="171589"/>
                </a:moveTo>
                <a:lnTo>
                  <a:pt x="3618611" y="171589"/>
                </a:lnTo>
                <a:lnTo>
                  <a:pt x="3618611" y="209727"/>
                </a:lnTo>
                <a:lnTo>
                  <a:pt x="3637673" y="209727"/>
                </a:lnTo>
                <a:lnTo>
                  <a:pt x="3637673" y="171589"/>
                </a:lnTo>
                <a:close/>
              </a:path>
              <a:path w="3714115" h="2459990">
                <a:moveTo>
                  <a:pt x="3637673" y="114388"/>
                </a:moveTo>
                <a:lnTo>
                  <a:pt x="3618611" y="114388"/>
                </a:lnTo>
                <a:lnTo>
                  <a:pt x="3618611" y="152527"/>
                </a:lnTo>
                <a:lnTo>
                  <a:pt x="3637673" y="152527"/>
                </a:lnTo>
                <a:lnTo>
                  <a:pt x="3637673" y="114388"/>
                </a:lnTo>
                <a:close/>
              </a:path>
              <a:path w="3714115" h="2459990">
                <a:moveTo>
                  <a:pt x="3675824" y="171589"/>
                </a:moveTo>
                <a:lnTo>
                  <a:pt x="3656749" y="171589"/>
                </a:lnTo>
                <a:lnTo>
                  <a:pt x="3656749" y="209727"/>
                </a:lnTo>
                <a:lnTo>
                  <a:pt x="3675824" y="209727"/>
                </a:lnTo>
                <a:lnTo>
                  <a:pt x="3675824" y="171589"/>
                </a:lnTo>
                <a:close/>
              </a:path>
              <a:path w="3714115" h="2459990">
                <a:moveTo>
                  <a:pt x="3675824" y="114388"/>
                </a:moveTo>
                <a:lnTo>
                  <a:pt x="3656749" y="114388"/>
                </a:lnTo>
                <a:lnTo>
                  <a:pt x="3656749" y="152527"/>
                </a:lnTo>
                <a:lnTo>
                  <a:pt x="3675824" y="152527"/>
                </a:lnTo>
                <a:lnTo>
                  <a:pt x="3675824" y="114388"/>
                </a:lnTo>
                <a:close/>
              </a:path>
              <a:path w="3714115" h="2459990">
                <a:moveTo>
                  <a:pt x="3713962" y="76263"/>
                </a:moveTo>
                <a:lnTo>
                  <a:pt x="3599535" y="76263"/>
                </a:lnTo>
                <a:lnTo>
                  <a:pt x="3599535" y="95326"/>
                </a:lnTo>
                <a:lnTo>
                  <a:pt x="3694900" y="95326"/>
                </a:lnTo>
                <a:lnTo>
                  <a:pt x="3694900" y="285991"/>
                </a:lnTo>
                <a:lnTo>
                  <a:pt x="3599535" y="285991"/>
                </a:lnTo>
                <a:lnTo>
                  <a:pt x="3599535" y="305054"/>
                </a:lnTo>
                <a:lnTo>
                  <a:pt x="3713962" y="305054"/>
                </a:lnTo>
                <a:lnTo>
                  <a:pt x="3713962" y="76263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914309"/>
            <a:endParaRPr kern="0">
              <a:solidFill>
                <a:sysClr val="windowText" lastClr="000000"/>
              </a:solidFill>
            </a:endParaRPr>
          </a:p>
        </p:txBody>
      </p:sp>
      <p:sp>
        <p:nvSpPr>
          <p:cNvPr id="94" name="object 94"/>
          <p:cNvSpPr/>
          <p:nvPr/>
        </p:nvSpPr>
        <p:spPr>
          <a:xfrm>
            <a:off x="7143437" y="2891314"/>
            <a:ext cx="2613955" cy="2445067"/>
          </a:xfrm>
          <a:custGeom>
            <a:avLst/>
            <a:gdLst/>
            <a:ahLst/>
            <a:cxnLst/>
            <a:rect l="l" t="t" r="r" b="b"/>
            <a:pathLst>
              <a:path w="2614295" h="2445385">
                <a:moveTo>
                  <a:pt x="44323" y="1634337"/>
                </a:moveTo>
                <a:lnTo>
                  <a:pt x="0" y="1634337"/>
                </a:lnTo>
                <a:lnTo>
                  <a:pt x="0" y="1652143"/>
                </a:lnTo>
                <a:lnTo>
                  <a:pt x="44323" y="1652143"/>
                </a:lnTo>
                <a:lnTo>
                  <a:pt x="44323" y="1634337"/>
                </a:lnTo>
                <a:close/>
              </a:path>
              <a:path w="2614295" h="2445385">
                <a:moveTo>
                  <a:pt x="87807" y="1733778"/>
                </a:moveTo>
                <a:lnTo>
                  <a:pt x="75272" y="1721129"/>
                </a:lnTo>
                <a:lnTo>
                  <a:pt x="43459" y="1752638"/>
                </a:lnTo>
                <a:lnTo>
                  <a:pt x="55994" y="1765287"/>
                </a:lnTo>
                <a:lnTo>
                  <a:pt x="87807" y="1733778"/>
                </a:lnTo>
                <a:close/>
              </a:path>
              <a:path w="2614295" h="2445385">
                <a:moveTo>
                  <a:pt x="88074" y="1548218"/>
                </a:moveTo>
                <a:lnTo>
                  <a:pt x="55994" y="1516430"/>
                </a:lnTo>
                <a:lnTo>
                  <a:pt x="43459" y="1529080"/>
                </a:lnTo>
                <a:lnTo>
                  <a:pt x="75539" y="1560868"/>
                </a:lnTo>
                <a:lnTo>
                  <a:pt x="88074" y="1548218"/>
                </a:lnTo>
                <a:close/>
              </a:path>
              <a:path w="2614295" h="2445385">
                <a:moveTo>
                  <a:pt x="177876" y="1474114"/>
                </a:moveTo>
                <a:lnTo>
                  <a:pt x="160070" y="1474114"/>
                </a:lnTo>
                <a:lnTo>
                  <a:pt x="160070" y="1518615"/>
                </a:lnTo>
                <a:lnTo>
                  <a:pt x="177876" y="1518615"/>
                </a:lnTo>
                <a:lnTo>
                  <a:pt x="177876" y="1474114"/>
                </a:lnTo>
                <a:close/>
              </a:path>
              <a:path w="2614295" h="2445385">
                <a:moveTo>
                  <a:pt x="213499" y="1812378"/>
                </a:moveTo>
                <a:lnTo>
                  <a:pt x="124460" y="1812378"/>
                </a:lnTo>
                <a:lnTo>
                  <a:pt x="124460" y="1830171"/>
                </a:lnTo>
                <a:lnTo>
                  <a:pt x="213499" y="1830171"/>
                </a:lnTo>
                <a:lnTo>
                  <a:pt x="213499" y="1812378"/>
                </a:lnTo>
                <a:close/>
              </a:path>
              <a:path w="2614295" h="2445385">
                <a:moveTo>
                  <a:pt x="222402" y="1776768"/>
                </a:moveTo>
                <a:lnTo>
                  <a:pt x="115557" y="1776768"/>
                </a:lnTo>
                <a:lnTo>
                  <a:pt x="115557" y="1794573"/>
                </a:lnTo>
                <a:lnTo>
                  <a:pt x="222402" y="1794573"/>
                </a:lnTo>
                <a:lnTo>
                  <a:pt x="222402" y="1776768"/>
                </a:lnTo>
                <a:close/>
              </a:path>
              <a:path w="2614295" h="2445385">
                <a:moveTo>
                  <a:pt x="275831" y="1640852"/>
                </a:moveTo>
                <a:lnTo>
                  <a:pt x="267728" y="1600809"/>
                </a:lnTo>
                <a:lnTo>
                  <a:pt x="244462" y="1566926"/>
                </a:lnTo>
                <a:lnTo>
                  <a:pt x="228625" y="1554226"/>
                </a:lnTo>
                <a:lnTo>
                  <a:pt x="228168" y="1553857"/>
                </a:lnTo>
                <a:lnTo>
                  <a:pt x="209842" y="1544294"/>
                </a:lnTo>
                <a:lnTo>
                  <a:pt x="189966" y="1538414"/>
                </a:lnTo>
                <a:lnTo>
                  <a:pt x="168973" y="1536420"/>
                </a:lnTo>
                <a:lnTo>
                  <a:pt x="147993" y="1538414"/>
                </a:lnTo>
                <a:lnTo>
                  <a:pt x="109791" y="1553857"/>
                </a:lnTo>
                <a:lnTo>
                  <a:pt x="80060" y="1582877"/>
                </a:lnTo>
                <a:lnTo>
                  <a:pt x="64185" y="1620291"/>
                </a:lnTo>
                <a:lnTo>
                  <a:pt x="62128" y="1640852"/>
                </a:lnTo>
                <a:lnTo>
                  <a:pt x="64185" y="1661401"/>
                </a:lnTo>
                <a:lnTo>
                  <a:pt x="80060" y="1698815"/>
                </a:lnTo>
                <a:lnTo>
                  <a:pt x="104508" y="1724355"/>
                </a:lnTo>
                <a:lnTo>
                  <a:pt x="106108" y="1725714"/>
                </a:lnTo>
                <a:lnTo>
                  <a:pt x="115557" y="1733296"/>
                </a:lnTo>
                <a:lnTo>
                  <a:pt x="115557" y="1758962"/>
                </a:lnTo>
                <a:lnTo>
                  <a:pt x="133362" y="1758962"/>
                </a:lnTo>
                <a:lnTo>
                  <a:pt x="133362" y="1736712"/>
                </a:lnTo>
                <a:lnTo>
                  <a:pt x="131787" y="1728533"/>
                </a:lnTo>
                <a:lnTo>
                  <a:pt x="127927" y="1721891"/>
                </a:lnTo>
                <a:lnTo>
                  <a:pt x="123113" y="1716722"/>
                </a:lnTo>
                <a:lnTo>
                  <a:pt x="118643" y="1712937"/>
                </a:lnTo>
                <a:lnTo>
                  <a:pt x="117068" y="1711667"/>
                </a:lnTo>
                <a:lnTo>
                  <a:pt x="108534" y="1704555"/>
                </a:lnTo>
                <a:lnTo>
                  <a:pt x="81635" y="1657845"/>
                </a:lnTo>
                <a:lnTo>
                  <a:pt x="79933" y="1640852"/>
                </a:lnTo>
                <a:lnTo>
                  <a:pt x="81635" y="1623847"/>
                </a:lnTo>
                <a:lnTo>
                  <a:pt x="105930" y="1579664"/>
                </a:lnTo>
                <a:lnTo>
                  <a:pt x="151447" y="1555889"/>
                </a:lnTo>
                <a:lnTo>
                  <a:pt x="168973" y="1554226"/>
                </a:lnTo>
                <a:lnTo>
                  <a:pt x="186512" y="1555889"/>
                </a:lnTo>
                <a:lnTo>
                  <a:pt x="232029" y="1579664"/>
                </a:lnTo>
                <a:lnTo>
                  <a:pt x="256311" y="1623847"/>
                </a:lnTo>
                <a:lnTo>
                  <a:pt x="258013" y="1640852"/>
                </a:lnTo>
                <a:lnTo>
                  <a:pt x="256311" y="1657845"/>
                </a:lnTo>
                <a:lnTo>
                  <a:pt x="232029" y="1702015"/>
                </a:lnTo>
                <a:lnTo>
                  <a:pt x="221970" y="1710740"/>
                </a:lnTo>
                <a:lnTo>
                  <a:pt x="220433" y="1712048"/>
                </a:lnTo>
                <a:lnTo>
                  <a:pt x="204597" y="1736712"/>
                </a:lnTo>
                <a:lnTo>
                  <a:pt x="204597" y="1758962"/>
                </a:lnTo>
                <a:lnTo>
                  <a:pt x="222402" y="1758962"/>
                </a:lnTo>
                <a:lnTo>
                  <a:pt x="222402" y="1733296"/>
                </a:lnTo>
                <a:lnTo>
                  <a:pt x="231838" y="1725714"/>
                </a:lnTo>
                <a:lnTo>
                  <a:pt x="267728" y="1680883"/>
                </a:lnTo>
                <a:lnTo>
                  <a:pt x="273773" y="1661401"/>
                </a:lnTo>
                <a:lnTo>
                  <a:pt x="275831" y="1640852"/>
                </a:lnTo>
                <a:close/>
              </a:path>
              <a:path w="2614295" h="2445385">
                <a:moveTo>
                  <a:pt x="294513" y="1752638"/>
                </a:moveTo>
                <a:lnTo>
                  <a:pt x="262699" y="1721129"/>
                </a:lnTo>
                <a:lnTo>
                  <a:pt x="250151" y="1733778"/>
                </a:lnTo>
                <a:lnTo>
                  <a:pt x="281965" y="1765287"/>
                </a:lnTo>
                <a:lnTo>
                  <a:pt x="294513" y="1752638"/>
                </a:lnTo>
                <a:close/>
              </a:path>
              <a:path w="2614295" h="2445385">
                <a:moveTo>
                  <a:pt x="294513" y="1529080"/>
                </a:moveTo>
                <a:lnTo>
                  <a:pt x="281965" y="1516430"/>
                </a:lnTo>
                <a:lnTo>
                  <a:pt x="249872" y="1548218"/>
                </a:lnTo>
                <a:lnTo>
                  <a:pt x="262420" y="1560868"/>
                </a:lnTo>
                <a:lnTo>
                  <a:pt x="294513" y="1529080"/>
                </a:lnTo>
                <a:close/>
              </a:path>
              <a:path w="2614295" h="2445385">
                <a:moveTo>
                  <a:pt x="329196" y="137426"/>
                </a:moveTo>
                <a:lnTo>
                  <a:pt x="290842" y="109080"/>
                </a:lnTo>
                <a:lnTo>
                  <a:pt x="281178" y="110210"/>
                </a:lnTo>
                <a:lnTo>
                  <a:pt x="270789" y="114693"/>
                </a:lnTo>
                <a:lnTo>
                  <a:pt x="261353" y="124129"/>
                </a:lnTo>
                <a:lnTo>
                  <a:pt x="254533" y="140144"/>
                </a:lnTo>
                <a:lnTo>
                  <a:pt x="244246" y="140144"/>
                </a:lnTo>
                <a:lnTo>
                  <a:pt x="244246" y="155676"/>
                </a:lnTo>
                <a:lnTo>
                  <a:pt x="252247" y="155676"/>
                </a:lnTo>
                <a:lnTo>
                  <a:pt x="251929" y="160858"/>
                </a:lnTo>
                <a:lnTo>
                  <a:pt x="251929" y="166027"/>
                </a:lnTo>
                <a:lnTo>
                  <a:pt x="252247" y="171208"/>
                </a:lnTo>
                <a:lnTo>
                  <a:pt x="244246" y="171208"/>
                </a:lnTo>
                <a:lnTo>
                  <a:pt x="244246" y="186740"/>
                </a:lnTo>
                <a:lnTo>
                  <a:pt x="254533" y="186740"/>
                </a:lnTo>
                <a:lnTo>
                  <a:pt x="261353" y="202755"/>
                </a:lnTo>
                <a:lnTo>
                  <a:pt x="270789" y="212191"/>
                </a:lnTo>
                <a:lnTo>
                  <a:pt x="281178" y="216674"/>
                </a:lnTo>
                <a:lnTo>
                  <a:pt x="290842" y="217805"/>
                </a:lnTo>
                <a:lnTo>
                  <a:pt x="303352" y="215988"/>
                </a:lnTo>
                <a:lnTo>
                  <a:pt x="313994" y="210604"/>
                </a:lnTo>
                <a:lnTo>
                  <a:pt x="322148" y="202272"/>
                </a:lnTo>
                <a:lnTo>
                  <a:pt x="322630" y="201764"/>
                </a:lnTo>
                <a:lnTo>
                  <a:pt x="329145" y="189560"/>
                </a:lnTo>
                <a:lnTo>
                  <a:pt x="314680" y="183908"/>
                </a:lnTo>
                <a:lnTo>
                  <a:pt x="310489" y="192062"/>
                </a:lnTo>
                <a:lnTo>
                  <a:pt x="305193" y="197789"/>
                </a:lnTo>
                <a:lnTo>
                  <a:pt x="298678" y="201168"/>
                </a:lnTo>
                <a:lnTo>
                  <a:pt x="290842" y="202272"/>
                </a:lnTo>
                <a:lnTo>
                  <a:pt x="286651" y="202018"/>
                </a:lnTo>
                <a:lnTo>
                  <a:pt x="281152" y="200317"/>
                </a:lnTo>
                <a:lnTo>
                  <a:pt x="275463" y="195707"/>
                </a:lnTo>
                <a:lnTo>
                  <a:pt x="270662" y="186740"/>
                </a:lnTo>
                <a:lnTo>
                  <a:pt x="298615" y="186740"/>
                </a:lnTo>
                <a:lnTo>
                  <a:pt x="298615" y="171208"/>
                </a:lnTo>
                <a:lnTo>
                  <a:pt x="267817" y="171208"/>
                </a:lnTo>
                <a:lnTo>
                  <a:pt x="267728" y="155676"/>
                </a:lnTo>
                <a:lnTo>
                  <a:pt x="298615" y="155676"/>
                </a:lnTo>
                <a:lnTo>
                  <a:pt x="298615" y="140144"/>
                </a:lnTo>
                <a:lnTo>
                  <a:pt x="270560" y="140144"/>
                </a:lnTo>
                <a:lnTo>
                  <a:pt x="273354" y="134188"/>
                </a:lnTo>
                <a:lnTo>
                  <a:pt x="277482" y="129235"/>
                </a:lnTo>
                <a:lnTo>
                  <a:pt x="283222" y="125869"/>
                </a:lnTo>
                <a:lnTo>
                  <a:pt x="290842" y="124612"/>
                </a:lnTo>
                <a:lnTo>
                  <a:pt x="298780" y="125717"/>
                </a:lnTo>
                <a:lnTo>
                  <a:pt x="305333" y="129082"/>
                </a:lnTo>
                <a:lnTo>
                  <a:pt x="310578" y="134772"/>
                </a:lnTo>
                <a:lnTo>
                  <a:pt x="314642" y="142875"/>
                </a:lnTo>
                <a:lnTo>
                  <a:pt x="329196" y="137426"/>
                </a:lnTo>
                <a:close/>
              </a:path>
              <a:path w="2614295" h="2445385">
                <a:moveTo>
                  <a:pt x="337959" y="1634337"/>
                </a:moveTo>
                <a:lnTo>
                  <a:pt x="293636" y="1634337"/>
                </a:lnTo>
                <a:lnTo>
                  <a:pt x="293636" y="1652143"/>
                </a:lnTo>
                <a:lnTo>
                  <a:pt x="337959" y="1652143"/>
                </a:lnTo>
                <a:lnTo>
                  <a:pt x="337959" y="1634337"/>
                </a:lnTo>
                <a:close/>
              </a:path>
              <a:path w="2614295" h="2445385">
                <a:moveTo>
                  <a:pt x="350520" y="2303818"/>
                </a:moveTo>
                <a:lnTo>
                  <a:pt x="282816" y="2303818"/>
                </a:lnTo>
                <a:lnTo>
                  <a:pt x="282816" y="2320671"/>
                </a:lnTo>
                <a:lnTo>
                  <a:pt x="350520" y="2320671"/>
                </a:lnTo>
                <a:lnTo>
                  <a:pt x="350520" y="2303818"/>
                </a:lnTo>
                <a:close/>
              </a:path>
              <a:path w="2614295" h="2445385">
                <a:moveTo>
                  <a:pt x="443598" y="2303818"/>
                </a:moveTo>
                <a:lnTo>
                  <a:pt x="375907" y="2303818"/>
                </a:lnTo>
                <a:lnTo>
                  <a:pt x="375907" y="2320671"/>
                </a:lnTo>
                <a:lnTo>
                  <a:pt x="443598" y="2320671"/>
                </a:lnTo>
                <a:lnTo>
                  <a:pt x="443598" y="2303818"/>
                </a:lnTo>
                <a:close/>
              </a:path>
              <a:path w="2614295" h="2445385">
                <a:moveTo>
                  <a:pt x="446201" y="49034"/>
                </a:moveTo>
                <a:lnTo>
                  <a:pt x="430657" y="44132"/>
                </a:lnTo>
                <a:lnTo>
                  <a:pt x="430657" y="60426"/>
                </a:lnTo>
                <a:lnTo>
                  <a:pt x="430657" y="70256"/>
                </a:lnTo>
                <a:lnTo>
                  <a:pt x="407365" y="70256"/>
                </a:lnTo>
                <a:lnTo>
                  <a:pt x="407365" y="85788"/>
                </a:lnTo>
                <a:lnTo>
                  <a:pt x="407365" y="241096"/>
                </a:lnTo>
                <a:lnTo>
                  <a:pt x="391820" y="241096"/>
                </a:lnTo>
                <a:lnTo>
                  <a:pt x="391820" y="85788"/>
                </a:lnTo>
                <a:lnTo>
                  <a:pt x="407365" y="85788"/>
                </a:lnTo>
                <a:lnTo>
                  <a:pt x="407365" y="70256"/>
                </a:lnTo>
                <a:lnTo>
                  <a:pt x="376288" y="70256"/>
                </a:lnTo>
                <a:lnTo>
                  <a:pt x="376288" y="85788"/>
                </a:lnTo>
                <a:lnTo>
                  <a:pt x="376288" y="241096"/>
                </a:lnTo>
                <a:lnTo>
                  <a:pt x="205397" y="241096"/>
                </a:lnTo>
                <a:lnTo>
                  <a:pt x="205397" y="85788"/>
                </a:lnTo>
                <a:lnTo>
                  <a:pt x="376288" y="85788"/>
                </a:lnTo>
                <a:lnTo>
                  <a:pt x="376288" y="70256"/>
                </a:lnTo>
                <a:lnTo>
                  <a:pt x="189865" y="70256"/>
                </a:lnTo>
                <a:lnTo>
                  <a:pt x="189865" y="85788"/>
                </a:lnTo>
                <a:lnTo>
                  <a:pt x="189865" y="241096"/>
                </a:lnTo>
                <a:lnTo>
                  <a:pt x="174332" y="241096"/>
                </a:lnTo>
                <a:lnTo>
                  <a:pt x="174332" y="85788"/>
                </a:lnTo>
                <a:lnTo>
                  <a:pt x="189865" y="85788"/>
                </a:lnTo>
                <a:lnTo>
                  <a:pt x="189865" y="70256"/>
                </a:lnTo>
                <a:lnTo>
                  <a:pt x="151028" y="70256"/>
                </a:lnTo>
                <a:lnTo>
                  <a:pt x="151028" y="60426"/>
                </a:lnTo>
                <a:lnTo>
                  <a:pt x="290842" y="16294"/>
                </a:lnTo>
                <a:lnTo>
                  <a:pt x="430657" y="60426"/>
                </a:lnTo>
                <a:lnTo>
                  <a:pt x="430657" y="44132"/>
                </a:lnTo>
                <a:lnTo>
                  <a:pt x="342455" y="16294"/>
                </a:lnTo>
                <a:lnTo>
                  <a:pt x="290842" y="0"/>
                </a:lnTo>
                <a:lnTo>
                  <a:pt x="135496" y="49034"/>
                </a:lnTo>
                <a:lnTo>
                  <a:pt x="135496" y="85788"/>
                </a:lnTo>
                <a:lnTo>
                  <a:pt x="158800" y="85788"/>
                </a:lnTo>
                <a:lnTo>
                  <a:pt x="158800" y="241096"/>
                </a:lnTo>
                <a:lnTo>
                  <a:pt x="135496" y="241096"/>
                </a:lnTo>
                <a:lnTo>
                  <a:pt x="135496" y="287693"/>
                </a:lnTo>
                <a:lnTo>
                  <a:pt x="446201" y="287693"/>
                </a:lnTo>
                <a:lnTo>
                  <a:pt x="446201" y="272161"/>
                </a:lnTo>
                <a:lnTo>
                  <a:pt x="446201" y="256628"/>
                </a:lnTo>
                <a:lnTo>
                  <a:pt x="446201" y="241096"/>
                </a:lnTo>
                <a:lnTo>
                  <a:pt x="430657" y="241096"/>
                </a:lnTo>
                <a:lnTo>
                  <a:pt x="430657" y="256628"/>
                </a:lnTo>
                <a:lnTo>
                  <a:pt x="430657" y="272161"/>
                </a:lnTo>
                <a:lnTo>
                  <a:pt x="151028" y="272161"/>
                </a:lnTo>
                <a:lnTo>
                  <a:pt x="151028" y="256628"/>
                </a:lnTo>
                <a:lnTo>
                  <a:pt x="430657" y="256628"/>
                </a:lnTo>
                <a:lnTo>
                  <a:pt x="430657" y="241096"/>
                </a:lnTo>
                <a:lnTo>
                  <a:pt x="422897" y="241096"/>
                </a:lnTo>
                <a:lnTo>
                  <a:pt x="422897" y="85788"/>
                </a:lnTo>
                <a:lnTo>
                  <a:pt x="446201" y="85788"/>
                </a:lnTo>
                <a:lnTo>
                  <a:pt x="446201" y="70256"/>
                </a:lnTo>
                <a:lnTo>
                  <a:pt x="446201" y="49034"/>
                </a:lnTo>
                <a:close/>
              </a:path>
              <a:path w="2614295" h="2445385">
                <a:moveTo>
                  <a:pt x="536689" y="2303818"/>
                </a:moveTo>
                <a:lnTo>
                  <a:pt x="468985" y="2303818"/>
                </a:lnTo>
                <a:lnTo>
                  <a:pt x="468985" y="2320671"/>
                </a:lnTo>
                <a:lnTo>
                  <a:pt x="536689" y="2320671"/>
                </a:lnTo>
                <a:lnTo>
                  <a:pt x="536689" y="2303818"/>
                </a:lnTo>
                <a:close/>
              </a:path>
              <a:path w="2614295" h="2445385">
                <a:moveTo>
                  <a:pt x="578993" y="2253246"/>
                </a:moveTo>
                <a:lnTo>
                  <a:pt x="562076" y="2253246"/>
                </a:lnTo>
                <a:lnTo>
                  <a:pt x="562076" y="2270112"/>
                </a:lnTo>
                <a:lnTo>
                  <a:pt x="562076" y="2388108"/>
                </a:lnTo>
                <a:lnTo>
                  <a:pt x="257429" y="2388108"/>
                </a:lnTo>
                <a:lnTo>
                  <a:pt x="257429" y="2266353"/>
                </a:lnTo>
                <a:lnTo>
                  <a:pt x="308203" y="2234742"/>
                </a:lnTo>
                <a:lnTo>
                  <a:pt x="308203" y="2276881"/>
                </a:lnTo>
                <a:lnTo>
                  <a:pt x="357060" y="2246477"/>
                </a:lnTo>
                <a:lnTo>
                  <a:pt x="375907" y="2234742"/>
                </a:lnTo>
                <a:lnTo>
                  <a:pt x="375907" y="2276881"/>
                </a:lnTo>
                <a:lnTo>
                  <a:pt x="424751" y="2246477"/>
                </a:lnTo>
                <a:lnTo>
                  <a:pt x="443598" y="2234742"/>
                </a:lnTo>
                <a:lnTo>
                  <a:pt x="443598" y="2270112"/>
                </a:lnTo>
                <a:lnTo>
                  <a:pt x="485025" y="2270112"/>
                </a:lnTo>
                <a:lnTo>
                  <a:pt x="486905" y="2253246"/>
                </a:lnTo>
                <a:lnTo>
                  <a:pt x="501954" y="2118398"/>
                </a:lnTo>
                <a:lnTo>
                  <a:pt x="529120" y="2118398"/>
                </a:lnTo>
                <a:lnTo>
                  <a:pt x="546049" y="2270112"/>
                </a:lnTo>
                <a:lnTo>
                  <a:pt x="562076" y="2270112"/>
                </a:lnTo>
                <a:lnTo>
                  <a:pt x="562076" y="2253246"/>
                </a:lnTo>
                <a:lnTo>
                  <a:pt x="561187" y="2253246"/>
                </a:lnTo>
                <a:lnTo>
                  <a:pt x="546150" y="2118398"/>
                </a:lnTo>
                <a:lnTo>
                  <a:pt x="544271" y="2101545"/>
                </a:lnTo>
                <a:lnTo>
                  <a:pt x="486803" y="2101545"/>
                </a:lnTo>
                <a:lnTo>
                  <a:pt x="469887" y="2253246"/>
                </a:lnTo>
                <a:lnTo>
                  <a:pt x="460527" y="2253246"/>
                </a:lnTo>
                <a:lnTo>
                  <a:pt x="460527" y="2234742"/>
                </a:lnTo>
                <a:lnTo>
                  <a:pt x="460527" y="2204326"/>
                </a:lnTo>
                <a:lnTo>
                  <a:pt x="392823" y="2246477"/>
                </a:lnTo>
                <a:lnTo>
                  <a:pt x="392823" y="2234742"/>
                </a:lnTo>
                <a:lnTo>
                  <a:pt x="392823" y="2204326"/>
                </a:lnTo>
                <a:lnTo>
                  <a:pt x="325132" y="2246477"/>
                </a:lnTo>
                <a:lnTo>
                  <a:pt x="325132" y="2234742"/>
                </a:lnTo>
                <a:lnTo>
                  <a:pt x="325132" y="2204326"/>
                </a:lnTo>
                <a:lnTo>
                  <a:pt x="240499" y="2257006"/>
                </a:lnTo>
                <a:lnTo>
                  <a:pt x="240499" y="2404961"/>
                </a:lnTo>
                <a:lnTo>
                  <a:pt x="578993" y="2404961"/>
                </a:lnTo>
                <a:lnTo>
                  <a:pt x="578993" y="2388108"/>
                </a:lnTo>
                <a:lnTo>
                  <a:pt x="578993" y="2253246"/>
                </a:lnTo>
                <a:close/>
              </a:path>
              <a:path w="2614295" h="2445385">
                <a:moveTo>
                  <a:pt x="718781" y="1067447"/>
                </a:moveTo>
                <a:lnTo>
                  <a:pt x="701471" y="1067447"/>
                </a:lnTo>
                <a:lnTo>
                  <a:pt x="701471" y="1084745"/>
                </a:lnTo>
                <a:lnTo>
                  <a:pt x="701471" y="1110691"/>
                </a:lnTo>
                <a:lnTo>
                  <a:pt x="658215" y="1110691"/>
                </a:lnTo>
                <a:lnTo>
                  <a:pt x="658215" y="1084745"/>
                </a:lnTo>
                <a:lnTo>
                  <a:pt x="701471" y="1084745"/>
                </a:lnTo>
                <a:lnTo>
                  <a:pt x="701471" y="1067447"/>
                </a:lnTo>
                <a:lnTo>
                  <a:pt x="640918" y="1067447"/>
                </a:lnTo>
                <a:lnTo>
                  <a:pt x="640918" y="1128001"/>
                </a:lnTo>
                <a:lnTo>
                  <a:pt x="718781" y="1128001"/>
                </a:lnTo>
                <a:lnTo>
                  <a:pt x="718781" y="1110691"/>
                </a:lnTo>
                <a:lnTo>
                  <a:pt x="718781" y="1084745"/>
                </a:lnTo>
                <a:lnTo>
                  <a:pt x="718781" y="1067447"/>
                </a:lnTo>
                <a:close/>
              </a:path>
              <a:path w="2614295" h="2445385">
                <a:moveTo>
                  <a:pt x="796645" y="991781"/>
                </a:moveTo>
                <a:lnTo>
                  <a:pt x="790943" y="980960"/>
                </a:lnTo>
                <a:lnTo>
                  <a:pt x="779043" y="958354"/>
                </a:lnTo>
                <a:lnTo>
                  <a:pt x="779043" y="998258"/>
                </a:lnTo>
                <a:lnTo>
                  <a:pt x="775614" y="1008494"/>
                </a:lnTo>
                <a:lnTo>
                  <a:pt x="768972" y="1016736"/>
                </a:lnTo>
                <a:lnTo>
                  <a:pt x="759879" y="1022210"/>
                </a:lnTo>
                <a:lnTo>
                  <a:pt x="749058" y="1024204"/>
                </a:lnTo>
                <a:lnTo>
                  <a:pt x="744740" y="1023416"/>
                </a:lnTo>
                <a:lnTo>
                  <a:pt x="744740" y="1041298"/>
                </a:lnTo>
                <a:lnTo>
                  <a:pt x="744740" y="1179893"/>
                </a:lnTo>
                <a:lnTo>
                  <a:pt x="623608" y="1179893"/>
                </a:lnTo>
                <a:lnTo>
                  <a:pt x="623608" y="1084745"/>
                </a:lnTo>
                <a:lnTo>
                  <a:pt x="623608" y="1067447"/>
                </a:lnTo>
                <a:lnTo>
                  <a:pt x="606310" y="1067447"/>
                </a:lnTo>
                <a:lnTo>
                  <a:pt x="606310" y="1084745"/>
                </a:lnTo>
                <a:lnTo>
                  <a:pt x="606310" y="1179893"/>
                </a:lnTo>
                <a:lnTo>
                  <a:pt x="563054" y="1179893"/>
                </a:lnTo>
                <a:lnTo>
                  <a:pt x="563054" y="1084745"/>
                </a:lnTo>
                <a:lnTo>
                  <a:pt x="606310" y="1084745"/>
                </a:lnTo>
                <a:lnTo>
                  <a:pt x="606310" y="1067447"/>
                </a:lnTo>
                <a:lnTo>
                  <a:pt x="545744" y="1067447"/>
                </a:lnTo>
                <a:lnTo>
                  <a:pt x="545744" y="1179893"/>
                </a:lnTo>
                <a:lnTo>
                  <a:pt x="519785" y="1179893"/>
                </a:lnTo>
                <a:lnTo>
                  <a:pt x="519785" y="1041298"/>
                </a:lnTo>
                <a:lnTo>
                  <a:pt x="530123" y="1039190"/>
                </a:lnTo>
                <a:lnTo>
                  <a:pt x="539521" y="1034961"/>
                </a:lnTo>
                <a:lnTo>
                  <a:pt x="547700" y="1028890"/>
                </a:lnTo>
                <a:lnTo>
                  <a:pt x="551802" y="1024204"/>
                </a:lnTo>
                <a:lnTo>
                  <a:pt x="554393" y="1021232"/>
                </a:lnTo>
                <a:lnTo>
                  <a:pt x="561848" y="1029563"/>
                </a:lnTo>
                <a:lnTo>
                  <a:pt x="571055" y="1035964"/>
                </a:lnTo>
                <a:lnTo>
                  <a:pt x="581672" y="1040053"/>
                </a:lnTo>
                <a:lnTo>
                  <a:pt x="593331" y="1041501"/>
                </a:lnTo>
                <a:lnTo>
                  <a:pt x="604989" y="1040053"/>
                </a:lnTo>
                <a:lnTo>
                  <a:pt x="615607" y="1035964"/>
                </a:lnTo>
                <a:lnTo>
                  <a:pt x="624814" y="1029563"/>
                </a:lnTo>
                <a:lnTo>
                  <a:pt x="629602" y="1024204"/>
                </a:lnTo>
                <a:lnTo>
                  <a:pt x="632256" y="1021232"/>
                </a:lnTo>
                <a:lnTo>
                  <a:pt x="639711" y="1029563"/>
                </a:lnTo>
                <a:lnTo>
                  <a:pt x="648919" y="1035964"/>
                </a:lnTo>
                <a:lnTo>
                  <a:pt x="659536" y="1040053"/>
                </a:lnTo>
                <a:lnTo>
                  <a:pt x="671195" y="1041501"/>
                </a:lnTo>
                <a:lnTo>
                  <a:pt x="682853" y="1040053"/>
                </a:lnTo>
                <a:lnTo>
                  <a:pt x="693470" y="1035964"/>
                </a:lnTo>
                <a:lnTo>
                  <a:pt x="702678" y="1029563"/>
                </a:lnTo>
                <a:lnTo>
                  <a:pt x="707466" y="1024204"/>
                </a:lnTo>
                <a:lnTo>
                  <a:pt x="710133" y="1021232"/>
                </a:lnTo>
                <a:lnTo>
                  <a:pt x="716838" y="1028890"/>
                </a:lnTo>
                <a:lnTo>
                  <a:pt x="725017" y="1034961"/>
                </a:lnTo>
                <a:lnTo>
                  <a:pt x="734402" y="1039190"/>
                </a:lnTo>
                <a:lnTo>
                  <a:pt x="744740" y="1041298"/>
                </a:lnTo>
                <a:lnTo>
                  <a:pt x="744740" y="1023416"/>
                </a:lnTo>
                <a:lnTo>
                  <a:pt x="738251" y="1022210"/>
                </a:lnTo>
                <a:lnTo>
                  <a:pt x="736625" y="1021232"/>
                </a:lnTo>
                <a:lnTo>
                  <a:pt x="729157" y="1016736"/>
                </a:lnTo>
                <a:lnTo>
                  <a:pt x="722528" y="1008494"/>
                </a:lnTo>
                <a:lnTo>
                  <a:pt x="719086" y="998258"/>
                </a:lnTo>
                <a:lnTo>
                  <a:pt x="779043" y="998258"/>
                </a:lnTo>
                <a:lnTo>
                  <a:pt x="779043" y="958354"/>
                </a:lnTo>
                <a:lnTo>
                  <a:pt x="771398" y="943825"/>
                </a:lnTo>
                <a:lnTo>
                  <a:pt x="771398" y="980960"/>
                </a:lnTo>
                <a:lnTo>
                  <a:pt x="701167" y="980960"/>
                </a:lnTo>
                <a:lnTo>
                  <a:pt x="701167" y="998258"/>
                </a:lnTo>
                <a:lnTo>
                  <a:pt x="697738" y="1008494"/>
                </a:lnTo>
                <a:lnTo>
                  <a:pt x="691108" y="1016736"/>
                </a:lnTo>
                <a:lnTo>
                  <a:pt x="682002" y="1022210"/>
                </a:lnTo>
                <a:lnTo>
                  <a:pt x="671195" y="1024204"/>
                </a:lnTo>
                <a:lnTo>
                  <a:pt x="660387" y="1022210"/>
                </a:lnTo>
                <a:lnTo>
                  <a:pt x="658761" y="1021232"/>
                </a:lnTo>
                <a:lnTo>
                  <a:pt x="651294" y="1016736"/>
                </a:lnTo>
                <a:lnTo>
                  <a:pt x="644652" y="1008494"/>
                </a:lnTo>
                <a:lnTo>
                  <a:pt x="641223" y="998258"/>
                </a:lnTo>
                <a:lnTo>
                  <a:pt x="701167" y="998258"/>
                </a:lnTo>
                <a:lnTo>
                  <a:pt x="701167" y="980960"/>
                </a:lnTo>
                <a:lnTo>
                  <a:pt x="623303" y="980960"/>
                </a:lnTo>
                <a:lnTo>
                  <a:pt x="623303" y="998258"/>
                </a:lnTo>
                <a:lnTo>
                  <a:pt x="619874" y="1008494"/>
                </a:lnTo>
                <a:lnTo>
                  <a:pt x="613232" y="1016736"/>
                </a:lnTo>
                <a:lnTo>
                  <a:pt x="604139" y="1022210"/>
                </a:lnTo>
                <a:lnTo>
                  <a:pt x="593331" y="1024204"/>
                </a:lnTo>
                <a:lnTo>
                  <a:pt x="582523" y="1022210"/>
                </a:lnTo>
                <a:lnTo>
                  <a:pt x="580898" y="1021232"/>
                </a:lnTo>
                <a:lnTo>
                  <a:pt x="573430" y="1016736"/>
                </a:lnTo>
                <a:lnTo>
                  <a:pt x="566788" y="1008494"/>
                </a:lnTo>
                <a:lnTo>
                  <a:pt x="563359" y="998258"/>
                </a:lnTo>
                <a:lnTo>
                  <a:pt x="623303" y="998258"/>
                </a:lnTo>
                <a:lnTo>
                  <a:pt x="623303" y="980960"/>
                </a:lnTo>
                <a:lnTo>
                  <a:pt x="545439" y="980960"/>
                </a:lnTo>
                <a:lnTo>
                  <a:pt x="545439" y="998258"/>
                </a:lnTo>
                <a:lnTo>
                  <a:pt x="542010" y="1008494"/>
                </a:lnTo>
                <a:lnTo>
                  <a:pt x="535368" y="1016736"/>
                </a:lnTo>
                <a:lnTo>
                  <a:pt x="526275" y="1022210"/>
                </a:lnTo>
                <a:lnTo>
                  <a:pt x="515467" y="1024204"/>
                </a:lnTo>
                <a:lnTo>
                  <a:pt x="504647" y="1022210"/>
                </a:lnTo>
                <a:lnTo>
                  <a:pt x="495554" y="1016736"/>
                </a:lnTo>
                <a:lnTo>
                  <a:pt x="488911" y="1008494"/>
                </a:lnTo>
                <a:lnTo>
                  <a:pt x="485482" y="998258"/>
                </a:lnTo>
                <a:lnTo>
                  <a:pt x="545439" y="998258"/>
                </a:lnTo>
                <a:lnTo>
                  <a:pt x="545439" y="980960"/>
                </a:lnTo>
                <a:lnTo>
                  <a:pt x="493141" y="980960"/>
                </a:lnTo>
                <a:lnTo>
                  <a:pt x="525030" y="920419"/>
                </a:lnTo>
                <a:lnTo>
                  <a:pt x="739508" y="920419"/>
                </a:lnTo>
                <a:lnTo>
                  <a:pt x="771398" y="980960"/>
                </a:lnTo>
                <a:lnTo>
                  <a:pt x="771398" y="943825"/>
                </a:lnTo>
                <a:lnTo>
                  <a:pt x="759079" y="920419"/>
                </a:lnTo>
                <a:lnTo>
                  <a:pt x="749985" y="903109"/>
                </a:lnTo>
                <a:lnTo>
                  <a:pt x="514553" y="903109"/>
                </a:lnTo>
                <a:lnTo>
                  <a:pt x="467880" y="991781"/>
                </a:lnTo>
                <a:lnTo>
                  <a:pt x="467880" y="993927"/>
                </a:lnTo>
                <a:lnTo>
                  <a:pt x="470484" y="1009459"/>
                </a:lnTo>
                <a:lnTo>
                  <a:pt x="477697" y="1022845"/>
                </a:lnTo>
                <a:lnTo>
                  <a:pt x="488657" y="1033208"/>
                </a:lnTo>
                <a:lnTo>
                  <a:pt x="502488" y="1039685"/>
                </a:lnTo>
                <a:lnTo>
                  <a:pt x="502488" y="1197190"/>
                </a:lnTo>
                <a:lnTo>
                  <a:pt x="762038" y="1197190"/>
                </a:lnTo>
                <a:lnTo>
                  <a:pt x="762038" y="1179893"/>
                </a:lnTo>
                <a:lnTo>
                  <a:pt x="762038" y="1039685"/>
                </a:lnTo>
                <a:lnTo>
                  <a:pt x="794054" y="1009459"/>
                </a:lnTo>
                <a:lnTo>
                  <a:pt x="795921" y="998258"/>
                </a:lnTo>
                <a:lnTo>
                  <a:pt x="796645" y="993927"/>
                </a:lnTo>
                <a:lnTo>
                  <a:pt x="796645" y="991781"/>
                </a:lnTo>
                <a:close/>
              </a:path>
              <a:path w="2614295" h="2445385">
                <a:moveTo>
                  <a:pt x="1427010" y="1815642"/>
                </a:moveTo>
                <a:lnTo>
                  <a:pt x="1379461" y="1807959"/>
                </a:lnTo>
                <a:lnTo>
                  <a:pt x="1338122" y="1786559"/>
                </a:lnTo>
                <a:lnTo>
                  <a:pt x="1305496" y="1753946"/>
                </a:lnTo>
                <a:lnTo>
                  <a:pt x="1284084" y="1712620"/>
                </a:lnTo>
                <a:lnTo>
                  <a:pt x="1276400" y="1665071"/>
                </a:lnTo>
                <a:lnTo>
                  <a:pt x="1280223" y="1632038"/>
                </a:lnTo>
                <a:lnTo>
                  <a:pt x="1291488" y="1601584"/>
                </a:lnTo>
                <a:lnTo>
                  <a:pt x="1309852" y="1574279"/>
                </a:lnTo>
                <a:lnTo>
                  <a:pt x="1334973" y="1550733"/>
                </a:lnTo>
                <a:lnTo>
                  <a:pt x="1334973" y="1598155"/>
                </a:lnTo>
                <a:lnTo>
                  <a:pt x="1351711" y="1598155"/>
                </a:lnTo>
                <a:lnTo>
                  <a:pt x="1351711" y="1550733"/>
                </a:lnTo>
                <a:lnTo>
                  <a:pt x="1351711" y="1522869"/>
                </a:lnTo>
                <a:lnTo>
                  <a:pt x="1276400" y="1522869"/>
                </a:lnTo>
                <a:lnTo>
                  <a:pt x="1276400" y="1539595"/>
                </a:lnTo>
                <a:lnTo>
                  <a:pt x="1321993" y="1539595"/>
                </a:lnTo>
                <a:lnTo>
                  <a:pt x="1295247" y="1565567"/>
                </a:lnTo>
                <a:lnTo>
                  <a:pt x="1275715" y="1595564"/>
                </a:lnTo>
                <a:lnTo>
                  <a:pt x="1263738" y="1628940"/>
                </a:lnTo>
                <a:lnTo>
                  <a:pt x="1259662" y="1665071"/>
                </a:lnTo>
                <a:lnTo>
                  <a:pt x="1265656" y="1709496"/>
                </a:lnTo>
                <a:lnTo>
                  <a:pt x="1282547" y="1749450"/>
                </a:lnTo>
                <a:lnTo>
                  <a:pt x="1308735" y="1783321"/>
                </a:lnTo>
                <a:lnTo>
                  <a:pt x="1342618" y="1809508"/>
                </a:lnTo>
                <a:lnTo>
                  <a:pt x="1382572" y="1826387"/>
                </a:lnTo>
                <a:lnTo>
                  <a:pt x="1427010" y="1832381"/>
                </a:lnTo>
                <a:lnTo>
                  <a:pt x="1427010" y="1815642"/>
                </a:lnTo>
                <a:close/>
              </a:path>
              <a:path w="2614295" h="2445385">
                <a:moveTo>
                  <a:pt x="1594370" y="1665071"/>
                </a:moveTo>
                <a:lnTo>
                  <a:pt x="1588376" y="1620647"/>
                </a:lnTo>
                <a:lnTo>
                  <a:pt x="1571485" y="1580705"/>
                </a:lnTo>
                <a:lnTo>
                  <a:pt x="1545297" y="1546834"/>
                </a:lnTo>
                <a:lnTo>
                  <a:pt x="1511414" y="1520647"/>
                </a:lnTo>
                <a:lnTo>
                  <a:pt x="1471460" y="1503756"/>
                </a:lnTo>
                <a:lnTo>
                  <a:pt x="1427010" y="1497774"/>
                </a:lnTo>
                <a:lnTo>
                  <a:pt x="1427010" y="1514500"/>
                </a:lnTo>
                <a:lnTo>
                  <a:pt x="1474571" y="1522196"/>
                </a:lnTo>
                <a:lnTo>
                  <a:pt x="1515910" y="1543596"/>
                </a:lnTo>
                <a:lnTo>
                  <a:pt x="1548536" y="1576209"/>
                </a:lnTo>
                <a:lnTo>
                  <a:pt x="1569935" y="1617535"/>
                </a:lnTo>
                <a:lnTo>
                  <a:pt x="1577632" y="1665071"/>
                </a:lnTo>
                <a:lnTo>
                  <a:pt x="1573809" y="1698104"/>
                </a:lnTo>
                <a:lnTo>
                  <a:pt x="1562544" y="1728571"/>
                </a:lnTo>
                <a:lnTo>
                  <a:pt x="1544180" y="1755876"/>
                </a:lnTo>
                <a:lnTo>
                  <a:pt x="1519059" y="1779422"/>
                </a:lnTo>
                <a:lnTo>
                  <a:pt x="1519059" y="1732000"/>
                </a:lnTo>
                <a:lnTo>
                  <a:pt x="1502321" y="1732000"/>
                </a:lnTo>
                <a:lnTo>
                  <a:pt x="1502321" y="1807286"/>
                </a:lnTo>
                <a:lnTo>
                  <a:pt x="1577632" y="1807286"/>
                </a:lnTo>
                <a:lnTo>
                  <a:pt x="1577632" y="1790547"/>
                </a:lnTo>
                <a:lnTo>
                  <a:pt x="1532051" y="1790547"/>
                </a:lnTo>
                <a:lnTo>
                  <a:pt x="1543507" y="1779422"/>
                </a:lnTo>
                <a:lnTo>
                  <a:pt x="1558798" y="1764576"/>
                </a:lnTo>
                <a:lnTo>
                  <a:pt x="1578330" y="1734591"/>
                </a:lnTo>
                <a:lnTo>
                  <a:pt x="1590306" y="1701215"/>
                </a:lnTo>
                <a:lnTo>
                  <a:pt x="1594370" y="1665071"/>
                </a:lnTo>
                <a:close/>
              </a:path>
              <a:path w="2614295" h="2445385">
                <a:moveTo>
                  <a:pt x="1852434" y="1052106"/>
                </a:moveTo>
                <a:lnTo>
                  <a:pt x="1833422" y="1052106"/>
                </a:lnTo>
                <a:lnTo>
                  <a:pt x="1833422" y="1090231"/>
                </a:lnTo>
                <a:lnTo>
                  <a:pt x="1852434" y="1090231"/>
                </a:lnTo>
                <a:lnTo>
                  <a:pt x="1852434" y="1052106"/>
                </a:lnTo>
                <a:close/>
              </a:path>
              <a:path w="2614295" h="2445385">
                <a:moveTo>
                  <a:pt x="1852434" y="994905"/>
                </a:moveTo>
                <a:lnTo>
                  <a:pt x="1833422" y="994905"/>
                </a:lnTo>
                <a:lnTo>
                  <a:pt x="1833422" y="1033030"/>
                </a:lnTo>
                <a:lnTo>
                  <a:pt x="1852434" y="1033030"/>
                </a:lnTo>
                <a:lnTo>
                  <a:pt x="1852434" y="994905"/>
                </a:lnTo>
                <a:close/>
              </a:path>
              <a:path w="2614295" h="2445385">
                <a:moveTo>
                  <a:pt x="1852434" y="937704"/>
                </a:moveTo>
                <a:lnTo>
                  <a:pt x="1833422" y="937704"/>
                </a:lnTo>
                <a:lnTo>
                  <a:pt x="1833422" y="975842"/>
                </a:lnTo>
                <a:lnTo>
                  <a:pt x="1852434" y="975842"/>
                </a:lnTo>
                <a:lnTo>
                  <a:pt x="1852434" y="937704"/>
                </a:lnTo>
                <a:close/>
              </a:path>
              <a:path w="2614295" h="2445385">
                <a:moveTo>
                  <a:pt x="1890445" y="1052106"/>
                </a:moveTo>
                <a:lnTo>
                  <a:pt x="1871433" y="1052106"/>
                </a:lnTo>
                <a:lnTo>
                  <a:pt x="1871433" y="1090231"/>
                </a:lnTo>
                <a:lnTo>
                  <a:pt x="1890445" y="1090231"/>
                </a:lnTo>
                <a:lnTo>
                  <a:pt x="1890445" y="1052106"/>
                </a:lnTo>
                <a:close/>
              </a:path>
              <a:path w="2614295" h="2445385">
                <a:moveTo>
                  <a:pt x="1890445" y="994905"/>
                </a:moveTo>
                <a:lnTo>
                  <a:pt x="1871433" y="994905"/>
                </a:lnTo>
                <a:lnTo>
                  <a:pt x="1871433" y="1033030"/>
                </a:lnTo>
                <a:lnTo>
                  <a:pt x="1890445" y="1033030"/>
                </a:lnTo>
                <a:lnTo>
                  <a:pt x="1890445" y="994905"/>
                </a:lnTo>
                <a:close/>
              </a:path>
              <a:path w="2614295" h="2445385">
                <a:moveTo>
                  <a:pt x="1890445" y="937704"/>
                </a:moveTo>
                <a:lnTo>
                  <a:pt x="1871433" y="937704"/>
                </a:lnTo>
                <a:lnTo>
                  <a:pt x="1871433" y="975842"/>
                </a:lnTo>
                <a:lnTo>
                  <a:pt x="1890445" y="975842"/>
                </a:lnTo>
                <a:lnTo>
                  <a:pt x="1890445" y="937704"/>
                </a:lnTo>
                <a:close/>
              </a:path>
              <a:path w="2614295" h="2445385">
                <a:moveTo>
                  <a:pt x="1928456" y="890041"/>
                </a:moveTo>
                <a:lnTo>
                  <a:pt x="1909457" y="890041"/>
                </a:lnTo>
                <a:lnTo>
                  <a:pt x="1909457" y="909104"/>
                </a:lnTo>
                <a:lnTo>
                  <a:pt x="1909457" y="1176032"/>
                </a:lnTo>
                <a:lnTo>
                  <a:pt x="1814410" y="1176032"/>
                </a:lnTo>
                <a:lnTo>
                  <a:pt x="1814410" y="909104"/>
                </a:lnTo>
                <a:lnTo>
                  <a:pt x="1909457" y="909104"/>
                </a:lnTo>
                <a:lnTo>
                  <a:pt x="1909457" y="890041"/>
                </a:lnTo>
                <a:lnTo>
                  <a:pt x="1795399" y="890041"/>
                </a:lnTo>
                <a:lnTo>
                  <a:pt x="1795399" y="1195095"/>
                </a:lnTo>
                <a:lnTo>
                  <a:pt x="1928456" y="1195095"/>
                </a:lnTo>
                <a:lnTo>
                  <a:pt x="1928456" y="1176032"/>
                </a:lnTo>
                <a:lnTo>
                  <a:pt x="1928456" y="909104"/>
                </a:lnTo>
                <a:lnTo>
                  <a:pt x="1928456" y="890041"/>
                </a:lnTo>
                <a:close/>
              </a:path>
              <a:path w="2614295" h="2445385">
                <a:moveTo>
                  <a:pt x="1985492" y="1061631"/>
                </a:moveTo>
                <a:lnTo>
                  <a:pt x="1966480" y="1061631"/>
                </a:lnTo>
                <a:lnTo>
                  <a:pt x="1966480" y="1099769"/>
                </a:lnTo>
                <a:lnTo>
                  <a:pt x="1985492" y="1099769"/>
                </a:lnTo>
                <a:lnTo>
                  <a:pt x="1985492" y="1061631"/>
                </a:lnTo>
                <a:close/>
              </a:path>
              <a:path w="2614295" h="2445385">
                <a:moveTo>
                  <a:pt x="1985492" y="1004430"/>
                </a:moveTo>
                <a:lnTo>
                  <a:pt x="1966480" y="1004430"/>
                </a:lnTo>
                <a:lnTo>
                  <a:pt x="1966480" y="1042568"/>
                </a:lnTo>
                <a:lnTo>
                  <a:pt x="1985492" y="1042568"/>
                </a:lnTo>
                <a:lnTo>
                  <a:pt x="1985492" y="1004430"/>
                </a:lnTo>
                <a:close/>
              </a:path>
              <a:path w="2614295" h="2445385">
                <a:moveTo>
                  <a:pt x="2023503" y="1061631"/>
                </a:moveTo>
                <a:lnTo>
                  <a:pt x="2004491" y="1061631"/>
                </a:lnTo>
                <a:lnTo>
                  <a:pt x="2004491" y="1099769"/>
                </a:lnTo>
                <a:lnTo>
                  <a:pt x="2023503" y="1099769"/>
                </a:lnTo>
                <a:lnTo>
                  <a:pt x="2023503" y="1061631"/>
                </a:lnTo>
                <a:close/>
              </a:path>
              <a:path w="2614295" h="2445385">
                <a:moveTo>
                  <a:pt x="2023503" y="1004430"/>
                </a:moveTo>
                <a:lnTo>
                  <a:pt x="2004491" y="1004430"/>
                </a:lnTo>
                <a:lnTo>
                  <a:pt x="2004491" y="1042568"/>
                </a:lnTo>
                <a:lnTo>
                  <a:pt x="2023503" y="1042568"/>
                </a:lnTo>
                <a:lnTo>
                  <a:pt x="2023503" y="1004430"/>
                </a:lnTo>
                <a:close/>
              </a:path>
              <a:path w="2614295" h="2445385">
                <a:moveTo>
                  <a:pt x="2061527" y="966304"/>
                </a:moveTo>
                <a:lnTo>
                  <a:pt x="1947468" y="966304"/>
                </a:lnTo>
                <a:lnTo>
                  <a:pt x="1947468" y="985367"/>
                </a:lnTo>
                <a:lnTo>
                  <a:pt x="2042515" y="985367"/>
                </a:lnTo>
                <a:lnTo>
                  <a:pt x="2042515" y="1176032"/>
                </a:lnTo>
                <a:lnTo>
                  <a:pt x="1947468" y="1176032"/>
                </a:lnTo>
                <a:lnTo>
                  <a:pt x="1947468" y="1195095"/>
                </a:lnTo>
                <a:lnTo>
                  <a:pt x="2061527" y="1195095"/>
                </a:lnTo>
                <a:lnTo>
                  <a:pt x="2061527" y="966304"/>
                </a:lnTo>
                <a:close/>
              </a:path>
              <a:path w="2614295" h="2445385">
                <a:moveTo>
                  <a:pt x="2450312" y="2236216"/>
                </a:moveTo>
                <a:lnTo>
                  <a:pt x="2448877" y="2229142"/>
                </a:lnTo>
                <a:lnTo>
                  <a:pt x="2444978" y="2223363"/>
                </a:lnTo>
                <a:lnTo>
                  <a:pt x="2439200" y="2219464"/>
                </a:lnTo>
                <a:lnTo>
                  <a:pt x="2432126" y="2218029"/>
                </a:lnTo>
                <a:lnTo>
                  <a:pt x="2425052" y="2219464"/>
                </a:lnTo>
                <a:lnTo>
                  <a:pt x="2419273" y="2223363"/>
                </a:lnTo>
                <a:lnTo>
                  <a:pt x="2415362" y="2229142"/>
                </a:lnTo>
                <a:lnTo>
                  <a:pt x="2413939" y="2236216"/>
                </a:lnTo>
                <a:lnTo>
                  <a:pt x="2415362" y="2243277"/>
                </a:lnTo>
                <a:lnTo>
                  <a:pt x="2419273" y="2249055"/>
                </a:lnTo>
                <a:lnTo>
                  <a:pt x="2425052" y="2252967"/>
                </a:lnTo>
                <a:lnTo>
                  <a:pt x="2432126" y="2254389"/>
                </a:lnTo>
                <a:lnTo>
                  <a:pt x="2439200" y="2252967"/>
                </a:lnTo>
                <a:lnTo>
                  <a:pt x="2444978" y="2249055"/>
                </a:lnTo>
                <a:lnTo>
                  <a:pt x="2448877" y="2243277"/>
                </a:lnTo>
                <a:lnTo>
                  <a:pt x="2450312" y="2236216"/>
                </a:lnTo>
                <a:close/>
              </a:path>
              <a:path w="2614295" h="2445385">
                <a:moveTo>
                  <a:pt x="2614003" y="2427122"/>
                </a:moveTo>
                <a:lnTo>
                  <a:pt x="2602598" y="2427122"/>
                </a:lnTo>
                <a:lnTo>
                  <a:pt x="2593898" y="2422842"/>
                </a:lnTo>
                <a:lnTo>
                  <a:pt x="2592082" y="2419769"/>
                </a:lnTo>
                <a:lnTo>
                  <a:pt x="2591511" y="2418816"/>
                </a:lnTo>
                <a:lnTo>
                  <a:pt x="2585326" y="2411704"/>
                </a:lnTo>
                <a:lnTo>
                  <a:pt x="2576474" y="2406269"/>
                </a:lnTo>
                <a:lnTo>
                  <a:pt x="2565616" y="2402802"/>
                </a:lnTo>
                <a:lnTo>
                  <a:pt x="2553373" y="2401582"/>
                </a:lnTo>
                <a:lnTo>
                  <a:pt x="2541143" y="2402802"/>
                </a:lnTo>
                <a:lnTo>
                  <a:pt x="2530271" y="2406269"/>
                </a:lnTo>
                <a:lnTo>
                  <a:pt x="2521432" y="2411704"/>
                </a:lnTo>
                <a:lnTo>
                  <a:pt x="2515235" y="2418816"/>
                </a:lnTo>
                <a:lnTo>
                  <a:pt x="2513838" y="2421191"/>
                </a:lnTo>
                <a:lnTo>
                  <a:pt x="2510218" y="2423642"/>
                </a:lnTo>
                <a:lnTo>
                  <a:pt x="2505176" y="2425268"/>
                </a:lnTo>
                <a:lnTo>
                  <a:pt x="2553512" y="2312543"/>
                </a:lnTo>
                <a:lnTo>
                  <a:pt x="2528989" y="2304377"/>
                </a:lnTo>
                <a:lnTo>
                  <a:pt x="2528989" y="2323541"/>
                </a:lnTo>
                <a:lnTo>
                  <a:pt x="2484882" y="2426411"/>
                </a:lnTo>
                <a:lnTo>
                  <a:pt x="2477465" y="2425039"/>
                </a:lnTo>
                <a:lnTo>
                  <a:pt x="2472067" y="2421852"/>
                </a:lnTo>
                <a:lnTo>
                  <a:pt x="2470823" y="2419769"/>
                </a:lnTo>
                <a:lnTo>
                  <a:pt x="2470264" y="2418816"/>
                </a:lnTo>
                <a:lnTo>
                  <a:pt x="2464079" y="2411704"/>
                </a:lnTo>
                <a:lnTo>
                  <a:pt x="2455227" y="2406269"/>
                </a:lnTo>
                <a:lnTo>
                  <a:pt x="2444369" y="2402802"/>
                </a:lnTo>
                <a:lnTo>
                  <a:pt x="2432139" y="2401582"/>
                </a:lnTo>
                <a:lnTo>
                  <a:pt x="2419883" y="2402802"/>
                </a:lnTo>
                <a:lnTo>
                  <a:pt x="2409025" y="2406269"/>
                </a:lnTo>
                <a:lnTo>
                  <a:pt x="2400185" y="2411704"/>
                </a:lnTo>
                <a:lnTo>
                  <a:pt x="2393988" y="2418816"/>
                </a:lnTo>
                <a:lnTo>
                  <a:pt x="2392184" y="2421852"/>
                </a:lnTo>
                <a:lnTo>
                  <a:pt x="2386800" y="2425039"/>
                </a:lnTo>
                <a:lnTo>
                  <a:pt x="2379357" y="2426411"/>
                </a:lnTo>
                <a:lnTo>
                  <a:pt x="2378862" y="2425268"/>
                </a:lnTo>
                <a:lnTo>
                  <a:pt x="2335250" y="2323541"/>
                </a:lnTo>
                <a:lnTo>
                  <a:pt x="2432126" y="2291245"/>
                </a:lnTo>
                <a:lnTo>
                  <a:pt x="2528989" y="2323541"/>
                </a:lnTo>
                <a:lnTo>
                  <a:pt x="2528989" y="2304377"/>
                </a:lnTo>
                <a:lnTo>
                  <a:pt x="2495778" y="2293302"/>
                </a:lnTo>
                <a:lnTo>
                  <a:pt x="2495778" y="2291245"/>
                </a:lnTo>
                <a:lnTo>
                  <a:pt x="2495778" y="2287232"/>
                </a:lnTo>
                <a:lnTo>
                  <a:pt x="2495778" y="2199843"/>
                </a:lnTo>
                <a:lnTo>
                  <a:pt x="2495778" y="2181669"/>
                </a:lnTo>
                <a:lnTo>
                  <a:pt x="2477592" y="2181669"/>
                </a:lnTo>
                <a:lnTo>
                  <a:pt x="2477592" y="2199843"/>
                </a:lnTo>
                <a:lnTo>
                  <a:pt x="2477592" y="2287232"/>
                </a:lnTo>
                <a:lnTo>
                  <a:pt x="2432126" y="2272080"/>
                </a:lnTo>
                <a:lnTo>
                  <a:pt x="2386660" y="2287232"/>
                </a:lnTo>
                <a:lnTo>
                  <a:pt x="2386660" y="2199843"/>
                </a:lnTo>
                <a:lnTo>
                  <a:pt x="2477592" y="2199843"/>
                </a:lnTo>
                <a:lnTo>
                  <a:pt x="2477592" y="2181669"/>
                </a:lnTo>
                <a:lnTo>
                  <a:pt x="2459405" y="2181669"/>
                </a:lnTo>
                <a:lnTo>
                  <a:pt x="2459405" y="2154390"/>
                </a:lnTo>
                <a:lnTo>
                  <a:pt x="2459405" y="2136216"/>
                </a:lnTo>
                <a:lnTo>
                  <a:pt x="2441219" y="2136216"/>
                </a:lnTo>
                <a:lnTo>
                  <a:pt x="2441219" y="2154390"/>
                </a:lnTo>
                <a:lnTo>
                  <a:pt x="2441219" y="2181669"/>
                </a:lnTo>
                <a:lnTo>
                  <a:pt x="2423033" y="2181669"/>
                </a:lnTo>
                <a:lnTo>
                  <a:pt x="2423033" y="2154390"/>
                </a:lnTo>
                <a:lnTo>
                  <a:pt x="2441219" y="2154390"/>
                </a:lnTo>
                <a:lnTo>
                  <a:pt x="2441219" y="2136216"/>
                </a:lnTo>
                <a:lnTo>
                  <a:pt x="2404846" y="2136216"/>
                </a:lnTo>
                <a:lnTo>
                  <a:pt x="2404846" y="2181669"/>
                </a:lnTo>
                <a:lnTo>
                  <a:pt x="2368473" y="2181669"/>
                </a:lnTo>
                <a:lnTo>
                  <a:pt x="2368473" y="2293302"/>
                </a:lnTo>
                <a:lnTo>
                  <a:pt x="2310752" y="2312543"/>
                </a:lnTo>
                <a:lnTo>
                  <a:pt x="2358974" y="2425039"/>
                </a:lnTo>
                <a:lnTo>
                  <a:pt x="2359075" y="2425268"/>
                </a:lnTo>
                <a:lnTo>
                  <a:pt x="2354021" y="2423642"/>
                </a:lnTo>
                <a:lnTo>
                  <a:pt x="2350414" y="2421191"/>
                </a:lnTo>
                <a:lnTo>
                  <a:pt x="2349576" y="2419769"/>
                </a:lnTo>
                <a:lnTo>
                  <a:pt x="2349004" y="2418816"/>
                </a:lnTo>
                <a:lnTo>
                  <a:pt x="2342819" y="2411704"/>
                </a:lnTo>
                <a:lnTo>
                  <a:pt x="2333980" y="2406269"/>
                </a:lnTo>
                <a:lnTo>
                  <a:pt x="2323122" y="2402802"/>
                </a:lnTo>
                <a:lnTo>
                  <a:pt x="2310879" y="2401582"/>
                </a:lnTo>
                <a:lnTo>
                  <a:pt x="2298636" y="2402802"/>
                </a:lnTo>
                <a:lnTo>
                  <a:pt x="2287778" y="2406269"/>
                </a:lnTo>
                <a:lnTo>
                  <a:pt x="2278926" y="2411704"/>
                </a:lnTo>
                <a:lnTo>
                  <a:pt x="2272741" y="2418816"/>
                </a:lnTo>
                <a:lnTo>
                  <a:pt x="2270353" y="2422842"/>
                </a:lnTo>
                <a:lnTo>
                  <a:pt x="2261654" y="2427122"/>
                </a:lnTo>
                <a:lnTo>
                  <a:pt x="2250249" y="2427122"/>
                </a:lnTo>
                <a:lnTo>
                  <a:pt x="2250249" y="2445308"/>
                </a:lnTo>
                <a:lnTo>
                  <a:pt x="2288375" y="2428087"/>
                </a:lnTo>
                <a:lnTo>
                  <a:pt x="2290775" y="2424049"/>
                </a:lnTo>
                <a:lnTo>
                  <a:pt x="2299474" y="2419769"/>
                </a:lnTo>
                <a:lnTo>
                  <a:pt x="2322284" y="2419769"/>
                </a:lnTo>
                <a:lnTo>
                  <a:pt x="2330970" y="2424049"/>
                </a:lnTo>
                <a:lnTo>
                  <a:pt x="2333371" y="2428087"/>
                </a:lnTo>
                <a:lnTo>
                  <a:pt x="2339556" y="2435187"/>
                </a:lnTo>
                <a:lnTo>
                  <a:pt x="2348407" y="2440622"/>
                </a:lnTo>
                <a:lnTo>
                  <a:pt x="2359266" y="2444089"/>
                </a:lnTo>
                <a:lnTo>
                  <a:pt x="2371496" y="2445308"/>
                </a:lnTo>
                <a:lnTo>
                  <a:pt x="2383739" y="2444089"/>
                </a:lnTo>
                <a:lnTo>
                  <a:pt x="2394610" y="2440622"/>
                </a:lnTo>
                <a:lnTo>
                  <a:pt x="2403449" y="2435187"/>
                </a:lnTo>
                <a:lnTo>
                  <a:pt x="2409634" y="2428087"/>
                </a:lnTo>
                <a:lnTo>
                  <a:pt x="2410625" y="2426411"/>
                </a:lnTo>
                <a:lnTo>
                  <a:pt x="2412022" y="2424049"/>
                </a:lnTo>
                <a:lnTo>
                  <a:pt x="2420721" y="2419769"/>
                </a:lnTo>
                <a:lnTo>
                  <a:pt x="2443530" y="2419769"/>
                </a:lnTo>
                <a:lnTo>
                  <a:pt x="2452230" y="2424049"/>
                </a:lnTo>
                <a:lnTo>
                  <a:pt x="2454618" y="2428087"/>
                </a:lnTo>
                <a:lnTo>
                  <a:pt x="2460815" y="2435187"/>
                </a:lnTo>
                <a:lnTo>
                  <a:pt x="2469654" y="2440622"/>
                </a:lnTo>
                <a:lnTo>
                  <a:pt x="2480513" y="2444089"/>
                </a:lnTo>
                <a:lnTo>
                  <a:pt x="2492743" y="2445308"/>
                </a:lnTo>
                <a:lnTo>
                  <a:pt x="2504986" y="2444089"/>
                </a:lnTo>
                <a:lnTo>
                  <a:pt x="2515857" y="2440622"/>
                </a:lnTo>
                <a:lnTo>
                  <a:pt x="2524696" y="2435187"/>
                </a:lnTo>
                <a:lnTo>
                  <a:pt x="2530881" y="2428087"/>
                </a:lnTo>
                <a:lnTo>
                  <a:pt x="2531872" y="2426411"/>
                </a:lnTo>
                <a:lnTo>
                  <a:pt x="2532557" y="2425268"/>
                </a:lnTo>
                <a:lnTo>
                  <a:pt x="2533269" y="2424049"/>
                </a:lnTo>
                <a:lnTo>
                  <a:pt x="2541968" y="2419769"/>
                </a:lnTo>
                <a:lnTo>
                  <a:pt x="2564777" y="2419769"/>
                </a:lnTo>
                <a:lnTo>
                  <a:pt x="2573477" y="2424049"/>
                </a:lnTo>
                <a:lnTo>
                  <a:pt x="2575864" y="2428087"/>
                </a:lnTo>
                <a:lnTo>
                  <a:pt x="2582062" y="2435187"/>
                </a:lnTo>
                <a:lnTo>
                  <a:pt x="2590901" y="2440622"/>
                </a:lnTo>
                <a:lnTo>
                  <a:pt x="2601760" y="2444089"/>
                </a:lnTo>
                <a:lnTo>
                  <a:pt x="2614003" y="2445308"/>
                </a:lnTo>
                <a:lnTo>
                  <a:pt x="2614003" y="242712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914309"/>
            <a:endParaRPr kern="0">
              <a:solidFill>
                <a:sysClr val="windowText" lastClr="000000"/>
              </a:solidFill>
            </a:endParaRPr>
          </a:p>
        </p:txBody>
      </p:sp>
      <p:sp>
        <p:nvSpPr>
          <p:cNvPr id="95" name="object 95"/>
          <p:cNvSpPr/>
          <p:nvPr/>
        </p:nvSpPr>
        <p:spPr>
          <a:xfrm>
            <a:off x="1373739" y="5516607"/>
            <a:ext cx="661584" cy="273014"/>
          </a:xfrm>
          <a:custGeom>
            <a:avLst/>
            <a:gdLst/>
            <a:ahLst/>
            <a:cxnLst/>
            <a:rect l="l" t="t" r="r" b="b"/>
            <a:pathLst>
              <a:path w="661669" h="273050">
                <a:moveTo>
                  <a:pt x="0" y="272796"/>
                </a:moveTo>
                <a:lnTo>
                  <a:pt x="661415" y="272796"/>
                </a:lnTo>
                <a:lnTo>
                  <a:pt x="661415" y="0"/>
                </a:lnTo>
                <a:lnTo>
                  <a:pt x="0" y="0"/>
                </a:lnTo>
                <a:lnTo>
                  <a:pt x="0" y="272796"/>
                </a:lnTo>
                <a:close/>
              </a:path>
            </a:pathLst>
          </a:custGeom>
          <a:ln w="9524">
            <a:solidFill>
              <a:srgbClr val="00A633"/>
            </a:solidFill>
          </a:ln>
        </p:spPr>
        <p:txBody>
          <a:bodyPr wrap="square" lIns="0" tIns="0" rIns="0" bIns="0" rtlCol="0"/>
          <a:lstStyle/>
          <a:p>
            <a:pPr defTabSz="914309"/>
            <a:endParaRPr kern="0">
              <a:solidFill>
                <a:sysClr val="windowText" lastClr="000000"/>
              </a:solidFill>
            </a:endParaRPr>
          </a:p>
        </p:txBody>
      </p:sp>
      <p:sp>
        <p:nvSpPr>
          <p:cNvPr id="96" name="object 96"/>
          <p:cNvSpPr txBox="1"/>
          <p:nvPr/>
        </p:nvSpPr>
        <p:spPr>
          <a:xfrm>
            <a:off x="1368977" y="5511846"/>
            <a:ext cx="671108" cy="219262"/>
          </a:xfrm>
          <a:prstGeom prst="rect">
            <a:avLst/>
          </a:prstGeom>
          <a:solidFill>
            <a:srgbClr val="00A633"/>
          </a:solidFill>
        </p:spPr>
        <p:txBody>
          <a:bodyPr vert="horz" wrap="square" lIns="0" tIns="49524" rIns="0" bIns="0" rtlCol="0">
            <a:spAutoFit/>
          </a:bodyPr>
          <a:lstStyle/>
          <a:p>
            <a:pPr marL="105399" defTabSz="914309">
              <a:spcBef>
                <a:spcPts val="390"/>
              </a:spcBef>
            </a:pPr>
            <a:r>
              <a:rPr sz="1100" b="1" kern="0" dirty="0">
                <a:solidFill>
                  <a:srgbClr val="FFFFFF"/>
                </a:solidFill>
                <a:latin typeface="Calibri"/>
                <a:cs typeface="Calibri"/>
              </a:rPr>
              <a:t>Scope </a:t>
            </a:r>
            <a:r>
              <a:rPr sz="1100" b="1" kern="0" spc="-50" dirty="0">
                <a:solidFill>
                  <a:srgbClr val="FFFFFF"/>
                </a:solidFill>
                <a:latin typeface="Calibri"/>
                <a:cs typeface="Calibri"/>
              </a:rPr>
              <a:t>3</a:t>
            </a:r>
            <a:endParaRPr sz="1100" kern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97" name="object 97"/>
          <p:cNvSpPr txBox="1"/>
          <p:nvPr/>
        </p:nvSpPr>
        <p:spPr>
          <a:xfrm>
            <a:off x="10313374" y="5793737"/>
            <a:ext cx="601902" cy="191694"/>
          </a:xfrm>
          <a:prstGeom prst="rect">
            <a:avLst/>
          </a:prstGeom>
        </p:spPr>
        <p:txBody>
          <a:bodyPr vert="horz" wrap="square" lIns="0" tIns="14603" rIns="0" bIns="0" rtlCol="0">
            <a:spAutoFit/>
          </a:bodyPr>
          <a:lstStyle/>
          <a:p>
            <a:pPr marL="12699" defTabSz="914309">
              <a:spcBef>
                <a:spcPts val="115"/>
              </a:spcBef>
            </a:pPr>
            <a:r>
              <a:rPr sz="1150" b="1" kern="0" spc="-10" dirty="0">
                <a:solidFill>
                  <a:sysClr val="windowText" lastClr="000000"/>
                </a:solidFill>
                <a:latin typeface="Calibri"/>
                <a:cs typeface="Calibri"/>
              </a:rPr>
              <a:t>INDIRECT</a:t>
            </a:r>
            <a:endParaRPr sz="1150" kern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98" name="object 98"/>
          <p:cNvSpPr txBox="1"/>
          <p:nvPr/>
        </p:nvSpPr>
        <p:spPr>
          <a:xfrm>
            <a:off x="10223789" y="5484419"/>
            <a:ext cx="672377" cy="219903"/>
          </a:xfrm>
          <a:prstGeom prst="rect">
            <a:avLst/>
          </a:prstGeom>
          <a:solidFill>
            <a:srgbClr val="00A633"/>
          </a:solidFill>
          <a:ln w="3175">
            <a:solidFill>
              <a:srgbClr val="00A633"/>
            </a:solidFill>
          </a:ln>
        </p:spPr>
        <p:txBody>
          <a:bodyPr vert="horz" wrap="square" lIns="0" tIns="50158" rIns="0" bIns="0" rtlCol="0">
            <a:spAutoFit/>
          </a:bodyPr>
          <a:lstStyle/>
          <a:p>
            <a:pPr marL="107939" defTabSz="914309">
              <a:spcBef>
                <a:spcPts val="395"/>
              </a:spcBef>
            </a:pPr>
            <a:r>
              <a:rPr sz="1100" b="1" kern="0" dirty="0">
                <a:solidFill>
                  <a:srgbClr val="FFFFFF"/>
                </a:solidFill>
                <a:latin typeface="Calibri"/>
                <a:cs typeface="Calibri"/>
              </a:rPr>
              <a:t>Scope</a:t>
            </a:r>
            <a:r>
              <a:rPr sz="1100" b="1" kern="0" spc="-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100" b="1" kern="0" spc="-50" dirty="0">
                <a:solidFill>
                  <a:srgbClr val="FFFFFF"/>
                </a:solidFill>
                <a:latin typeface="Calibri"/>
                <a:cs typeface="Calibri"/>
              </a:rPr>
              <a:t>3</a:t>
            </a:r>
            <a:endParaRPr sz="1100" kern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99" name="object 99"/>
          <p:cNvSpPr txBox="1"/>
          <p:nvPr/>
        </p:nvSpPr>
        <p:spPr>
          <a:xfrm>
            <a:off x="1387453" y="2447673"/>
            <a:ext cx="666028" cy="207081"/>
          </a:xfrm>
          <a:prstGeom prst="rect">
            <a:avLst/>
          </a:prstGeom>
          <a:solidFill>
            <a:srgbClr val="007BBB"/>
          </a:solidFill>
        </p:spPr>
        <p:txBody>
          <a:bodyPr vert="horz" wrap="square" lIns="0" tIns="37460" rIns="0" bIns="0" rtlCol="0">
            <a:spAutoFit/>
          </a:bodyPr>
          <a:lstStyle/>
          <a:p>
            <a:pPr marL="92066" defTabSz="914309">
              <a:spcBef>
                <a:spcPts val="295"/>
              </a:spcBef>
            </a:pPr>
            <a:r>
              <a:rPr sz="1100" b="1" kern="0" dirty="0">
                <a:solidFill>
                  <a:srgbClr val="FFFFFF"/>
                </a:solidFill>
                <a:latin typeface="Calibri"/>
                <a:cs typeface="Calibri"/>
              </a:rPr>
              <a:t>Scope</a:t>
            </a:r>
            <a:r>
              <a:rPr sz="1100" b="1" kern="0" spc="-2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100" b="1" kern="0" spc="-50" dirty="0">
                <a:solidFill>
                  <a:srgbClr val="FFFFFF"/>
                </a:solidFill>
                <a:latin typeface="Calibri"/>
                <a:cs typeface="Calibri"/>
              </a:rPr>
              <a:t>2</a:t>
            </a:r>
            <a:endParaRPr sz="1100" kern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100" name="object 100"/>
          <p:cNvSpPr/>
          <p:nvPr/>
        </p:nvSpPr>
        <p:spPr>
          <a:xfrm>
            <a:off x="5939050" y="2636623"/>
            <a:ext cx="626663" cy="2798081"/>
          </a:xfrm>
          <a:custGeom>
            <a:avLst/>
            <a:gdLst/>
            <a:ahLst/>
            <a:cxnLst/>
            <a:rect l="l" t="t" r="r" b="b"/>
            <a:pathLst>
              <a:path w="626745" h="2798445">
                <a:moveTo>
                  <a:pt x="626364" y="259842"/>
                </a:moveTo>
                <a:lnTo>
                  <a:pt x="622173" y="213144"/>
                </a:lnTo>
                <a:lnTo>
                  <a:pt x="610095" y="169176"/>
                </a:lnTo>
                <a:lnTo>
                  <a:pt x="590880" y="128701"/>
                </a:lnTo>
                <a:lnTo>
                  <a:pt x="565251" y="92430"/>
                </a:lnTo>
                <a:lnTo>
                  <a:pt x="533933" y="61112"/>
                </a:lnTo>
                <a:lnTo>
                  <a:pt x="497662" y="35483"/>
                </a:lnTo>
                <a:lnTo>
                  <a:pt x="457187" y="16256"/>
                </a:lnTo>
                <a:lnTo>
                  <a:pt x="413219" y="4191"/>
                </a:lnTo>
                <a:lnTo>
                  <a:pt x="366522" y="0"/>
                </a:lnTo>
                <a:lnTo>
                  <a:pt x="259842" y="0"/>
                </a:lnTo>
                <a:lnTo>
                  <a:pt x="213131" y="4191"/>
                </a:lnTo>
                <a:lnTo>
                  <a:pt x="169164" y="16256"/>
                </a:lnTo>
                <a:lnTo>
                  <a:pt x="128689" y="35483"/>
                </a:lnTo>
                <a:lnTo>
                  <a:pt x="92417" y="61112"/>
                </a:lnTo>
                <a:lnTo>
                  <a:pt x="61099" y="92430"/>
                </a:lnTo>
                <a:lnTo>
                  <a:pt x="35471" y="128701"/>
                </a:lnTo>
                <a:lnTo>
                  <a:pt x="16243" y="169176"/>
                </a:lnTo>
                <a:lnTo>
                  <a:pt x="4178" y="213144"/>
                </a:lnTo>
                <a:lnTo>
                  <a:pt x="0" y="259842"/>
                </a:lnTo>
                <a:lnTo>
                  <a:pt x="0" y="2183892"/>
                </a:lnTo>
                <a:lnTo>
                  <a:pt x="0" y="2538222"/>
                </a:lnTo>
                <a:lnTo>
                  <a:pt x="0" y="2796540"/>
                </a:lnTo>
                <a:lnTo>
                  <a:pt x="242798" y="2796540"/>
                </a:lnTo>
                <a:lnTo>
                  <a:pt x="259842" y="2798064"/>
                </a:lnTo>
                <a:lnTo>
                  <a:pt x="366522" y="2798064"/>
                </a:lnTo>
                <a:lnTo>
                  <a:pt x="383552" y="2796540"/>
                </a:lnTo>
                <a:lnTo>
                  <a:pt x="626364" y="2796540"/>
                </a:lnTo>
                <a:lnTo>
                  <a:pt x="626364" y="2538222"/>
                </a:lnTo>
                <a:lnTo>
                  <a:pt x="626364" y="2183892"/>
                </a:lnTo>
                <a:lnTo>
                  <a:pt x="626364" y="259842"/>
                </a:lnTo>
                <a:close/>
              </a:path>
            </a:pathLst>
          </a:custGeom>
          <a:solidFill>
            <a:srgbClr val="007BBB"/>
          </a:solidFill>
        </p:spPr>
        <p:txBody>
          <a:bodyPr wrap="square" lIns="0" tIns="0" rIns="0" bIns="0" rtlCol="0"/>
          <a:lstStyle/>
          <a:p>
            <a:pPr defTabSz="914309"/>
            <a:endParaRPr kern="0">
              <a:solidFill>
                <a:sysClr val="windowText" lastClr="000000"/>
              </a:solidFill>
            </a:endParaRPr>
          </a:p>
        </p:txBody>
      </p:sp>
      <p:sp>
        <p:nvSpPr>
          <p:cNvPr id="101" name="object 101"/>
          <p:cNvSpPr txBox="1"/>
          <p:nvPr/>
        </p:nvSpPr>
        <p:spPr>
          <a:xfrm>
            <a:off x="5948317" y="5802270"/>
            <a:ext cx="477458" cy="197464"/>
          </a:xfrm>
          <a:prstGeom prst="rect">
            <a:avLst/>
          </a:prstGeom>
        </p:spPr>
        <p:txBody>
          <a:bodyPr vert="horz" wrap="square" lIns="0" tIns="12698" rIns="0" bIns="0" rtlCol="0">
            <a:spAutoFit/>
          </a:bodyPr>
          <a:lstStyle/>
          <a:p>
            <a:pPr marL="12699" defTabSz="914309">
              <a:spcBef>
                <a:spcPts val="100"/>
              </a:spcBef>
            </a:pPr>
            <a:r>
              <a:rPr sz="1200" b="1" kern="0" spc="-10" dirty="0">
                <a:solidFill>
                  <a:sysClr val="windowText" lastClr="000000"/>
                </a:solidFill>
                <a:latin typeface="Calibri"/>
                <a:cs typeface="Calibri"/>
              </a:rPr>
              <a:t>DIRECT</a:t>
            </a:r>
            <a:endParaRPr sz="1200" kern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102" name="object 102"/>
          <p:cNvSpPr txBox="1"/>
          <p:nvPr/>
        </p:nvSpPr>
        <p:spPr>
          <a:xfrm>
            <a:off x="6002541" y="3799666"/>
            <a:ext cx="485077" cy="280681"/>
          </a:xfrm>
          <a:prstGeom prst="rect">
            <a:avLst/>
          </a:prstGeom>
        </p:spPr>
        <p:txBody>
          <a:bodyPr vert="horz" wrap="square" lIns="0" tIns="11429" rIns="0" bIns="0" rtlCol="0">
            <a:spAutoFit/>
          </a:bodyPr>
          <a:lstStyle/>
          <a:p>
            <a:pPr marL="53335" marR="5079" indent="-41271" defTabSz="914309">
              <a:lnSpc>
                <a:spcPct val="104700"/>
              </a:lnSpc>
              <a:spcBef>
                <a:spcPts val="90"/>
              </a:spcBef>
            </a:pPr>
            <a:r>
              <a:rPr sz="850" kern="0" spc="-10" dirty="0">
                <a:solidFill>
                  <a:srgbClr val="FFFFFF"/>
                </a:solidFill>
                <a:latin typeface="Calibri"/>
                <a:cs typeface="Calibri"/>
              </a:rPr>
              <a:t>Operating</a:t>
            </a:r>
            <a:r>
              <a:rPr sz="850" kern="0" spc="50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850" kern="0" spc="-10" dirty="0">
                <a:solidFill>
                  <a:srgbClr val="FFFFFF"/>
                </a:solidFill>
                <a:latin typeface="Calibri"/>
                <a:cs typeface="Calibri"/>
              </a:rPr>
              <a:t>facilities</a:t>
            </a:r>
            <a:endParaRPr sz="850" kern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103" name="object 103"/>
          <p:cNvSpPr txBox="1"/>
          <p:nvPr/>
        </p:nvSpPr>
        <p:spPr>
          <a:xfrm>
            <a:off x="6055239" y="4972103"/>
            <a:ext cx="360633" cy="280681"/>
          </a:xfrm>
          <a:prstGeom prst="rect">
            <a:avLst/>
          </a:prstGeom>
        </p:spPr>
        <p:txBody>
          <a:bodyPr vert="horz" wrap="square" lIns="0" tIns="11429" rIns="0" bIns="0" rtlCol="0">
            <a:spAutoFit/>
          </a:bodyPr>
          <a:lstStyle/>
          <a:p>
            <a:pPr marL="74923" marR="5079" indent="-62859" defTabSz="914309">
              <a:lnSpc>
                <a:spcPct val="104700"/>
              </a:lnSpc>
              <a:spcBef>
                <a:spcPts val="90"/>
              </a:spcBef>
            </a:pPr>
            <a:r>
              <a:rPr sz="850" kern="0" spc="-10" dirty="0">
                <a:solidFill>
                  <a:srgbClr val="FFFFFF"/>
                </a:solidFill>
                <a:latin typeface="Calibri"/>
                <a:cs typeface="Calibri"/>
              </a:rPr>
              <a:t>Vehicle</a:t>
            </a:r>
            <a:r>
              <a:rPr sz="850" kern="0" spc="50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850" kern="0" spc="-10" dirty="0">
                <a:solidFill>
                  <a:srgbClr val="FFFFFF"/>
                </a:solidFill>
                <a:latin typeface="Calibri"/>
                <a:cs typeface="Calibri"/>
              </a:rPr>
              <a:t>fleet</a:t>
            </a:r>
            <a:endParaRPr sz="850" kern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104" name="object 104"/>
          <p:cNvSpPr/>
          <p:nvPr/>
        </p:nvSpPr>
        <p:spPr>
          <a:xfrm>
            <a:off x="5826287" y="2520814"/>
            <a:ext cx="844440" cy="624759"/>
          </a:xfrm>
          <a:custGeom>
            <a:avLst/>
            <a:gdLst/>
            <a:ahLst/>
            <a:cxnLst/>
            <a:rect l="l" t="t" r="r" b="b"/>
            <a:pathLst>
              <a:path w="844550" h="624839">
                <a:moveTo>
                  <a:pt x="422148" y="0"/>
                </a:moveTo>
                <a:lnTo>
                  <a:pt x="0" y="312419"/>
                </a:lnTo>
                <a:lnTo>
                  <a:pt x="211074" y="312419"/>
                </a:lnTo>
                <a:lnTo>
                  <a:pt x="211074" y="624839"/>
                </a:lnTo>
                <a:lnTo>
                  <a:pt x="633222" y="624839"/>
                </a:lnTo>
                <a:lnTo>
                  <a:pt x="633222" y="312419"/>
                </a:lnTo>
                <a:lnTo>
                  <a:pt x="844296" y="312419"/>
                </a:lnTo>
                <a:lnTo>
                  <a:pt x="422148" y="0"/>
                </a:lnTo>
                <a:close/>
              </a:path>
            </a:pathLst>
          </a:custGeom>
          <a:solidFill>
            <a:srgbClr val="007BBB"/>
          </a:solidFill>
        </p:spPr>
        <p:txBody>
          <a:bodyPr wrap="square" lIns="0" tIns="0" rIns="0" bIns="0" rtlCol="0"/>
          <a:lstStyle/>
          <a:p>
            <a:pPr defTabSz="914309"/>
            <a:endParaRPr kern="0">
              <a:solidFill>
                <a:sysClr val="windowText" lastClr="000000"/>
              </a:solidFill>
            </a:endParaRPr>
          </a:p>
        </p:txBody>
      </p:sp>
      <p:sp>
        <p:nvSpPr>
          <p:cNvPr id="105" name="object 105"/>
          <p:cNvSpPr txBox="1"/>
          <p:nvPr/>
        </p:nvSpPr>
        <p:spPr>
          <a:xfrm>
            <a:off x="6003810" y="3043605"/>
            <a:ext cx="511742" cy="148098"/>
          </a:xfrm>
          <a:prstGeom prst="rect">
            <a:avLst/>
          </a:prstGeom>
        </p:spPr>
        <p:txBody>
          <a:bodyPr vert="horz" wrap="square" lIns="0" tIns="17143" rIns="0" bIns="0" rtlCol="0">
            <a:spAutoFit/>
          </a:bodyPr>
          <a:lstStyle/>
          <a:p>
            <a:pPr marL="12699" defTabSz="914309">
              <a:spcBef>
                <a:spcPts val="135"/>
              </a:spcBef>
            </a:pPr>
            <a:r>
              <a:rPr sz="850" b="1" kern="0" spc="-10" dirty="0">
                <a:solidFill>
                  <a:srgbClr val="FFFFFF"/>
                </a:solidFill>
                <a:latin typeface="Calibri"/>
                <a:cs typeface="Calibri"/>
              </a:rPr>
              <a:t>Subsidiary</a:t>
            </a:r>
            <a:endParaRPr sz="850" kern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106" name="object 106"/>
          <p:cNvSpPr/>
          <p:nvPr/>
        </p:nvSpPr>
        <p:spPr>
          <a:xfrm>
            <a:off x="6052281" y="3380747"/>
            <a:ext cx="400633" cy="1504119"/>
          </a:xfrm>
          <a:custGeom>
            <a:avLst/>
            <a:gdLst/>
            <a:ahLst/>
            <a:cxnLst/>
            <a:rect l="l" t="t" r="r" b="b"/>
            <a:pathLst>
              <a:path w="400685" h="1504314">
                <a:moveTo>
                  <a:pt x="67195" y="268655"/>
                </a:moveTo>
                <a:lnTo>
                  <a:pt x="47993" y="268655"/>
                </a:lnTo>
                <a:lnTo>
                  <a:pt x="47993" y="307035"/>
                </a:lnTo>
                <a:lnTo>
                  <a:pt x="67195" y="307035"/>
                </a:lnTo>
                <a:lnTo>
                  <a:pt x="67195" y="268655"/>
                </a:lnTo>
                <a:close/>
              </a:path>
              <a:path w="400685" h="1504314">
                <a:moveTo>
                  <a:pt x="67195" y="211074"/>
                </a:moveTo>
                <a:lnTo>
                  <a:pt x="47993" y="211074"/>
                </a:lnTo>
                <a:lnTo>
                  <a:pt x="47993" y="249466"/>
                </a:lnTo>
                <a:lnTo>
                  <a:pt x="67195" y="249466"/>
                </a:lnTo>
                <a:lnTo>
                  <a:pt x="67195" y="211074"/>
                </a:lnTo>
                <a:close/>
              </a:path>
              <a:path w="400685" h="1504314">
                <a:moveTo>
                  <a:pt x="87287" y="89319"/>
                </a:moveTo>
                <a:lnTo>
                  <a:pt x="87223" y="83248"/>
                </a:lnTo>
                <a:lnTo>
                  <a:pt x="79705" y="75895"/>
                </a:lnTo>
                <a:lnTo>
                  <a:pt x="73736" y="75895"/>
                </a:lnTo>
                <a:lnTo>
                  <a:pt x="66217" y="83248"/>
                </a:lnTo>
                <a:lnTo>
                  <a:pt x="66154" y="89319"/>
                </a:lnTo>
                <a:lnTo>
                  <a:pt x="73621" y="96964"/>
                </a:lnTo>
                <a:lnTo>
                  <a:pt x="79641" y="96964"/>
                </a:lnTo>
                <a:lnTo>
                  <a:pt x="83578" y="93116"/>
                </a:lnTo>
                <a:lnTo>
                  <a:pt x="87287" y="89319"/>
                </a:lnTo>
                <a:close/>
              </a:path>
              <a:path w="400685" h="1504314">
                <a:moveTo>
                  <a:pt x="101904" y="1460080"/>
                </a:moveTo>
                <a:lnTo>
                  <a:pt x="97650" y="1455826"/>
                </a:lnTo>
                <a:lnTo>
                  <a:pt x="87071" y="1455826"/>
                </a:lnTo>
                <a:lnTo>
                  <a:pt x="82804" y="1460080"/>
                </a:lnTo>
                <a:lnTo>
                  <a:pt x="82804" y="1499704"/>
                </a:lnTo>
                <a:lnTo>
                  <a:pt x="87071" y="1503972"/>
                </a:lnTo>
                <a:lnTo>
                  <a:pt x="97650" y="1503972"/>
                </a:lnTo>
                <a:lnTo>
                  <a:pt x="101904" y="1499704"/>
                </a:lnTo>
                <a:lnTo>
                  <a:pt x="101904" y="1460080"/>
                </a:lnTo>
                <a:close/>
              </a:path>
              <a:path w="400685" h="1504314">
                <a:moveTo>
                  <a:pt x="105600" y="268655"/>
                </a:moveTo>
                <a:lnTo>
                  <a:pt x="86398" y="268655"/>
                </a:lnTo>
                <a:lnTo>
                  <a:pt x="86398" y="307035"/>
                </a:lnTo>
                <a:lnTo>
                  <a:pt x="105600" y="307035"/>
                </a:lnTo>
                <a:lnTo>
                  <a:pt x="105600" y="268655"/>
                </a:lnTo>
                <a:close/>
              </a:path>
              <a:path w="400685" h="1504314">
                <a:moveTo>
                  <a:pt x="105600" y="211074"/>
                </a:moveTo>
                <a:lnTo>
                  <a:pt x="86398" y="211074"/>
                </a:lnTo>
                <a:lnTo>
                  <a:pt x="86398" y="249466"/>
                </a:lnTo>
                <a:lnTo>
                  <a:pt x="105600" y="249466"/>
                </a:lnTo>
                <a:lnTo>
                  <a:pt x="105600" y="211074"/>
                </a:lnTo>
                <a:close/>
              </a:path>
              <a:path w="400685" h="1504314">
                <a:moveTo>
                  <a:pt x="110731" y="52400"/>
                </a:moveTo>
                <a:lnTo>
                  <a:pt x="103416" y="46380"/>
                </a:lnTo>
                <a:lnTo>
                  <a:pt x="95173" y="41973"/>
                </a:lnTo>
                <a:lnTo>
                  <a:pt x="86233" y="39268"/>
                </a:lnTo>
                <a:lnTo>
                  <a:pt x="76796" y="38341"/>
                </a:lnTo>
                <a:lnTo>
                  <a:pt x="67360" y="39268"/>
                </a:lnTo>
                <a:lnTo>
                  <a:pt x="58420" y="41973"/>
                </a:lnTo>
                <a:lnTo>
                  <a:pt x="50177" y="46380"/>
                </a:lnTo>
                <a:lnTo>
                  <a:pt x="42862" y="52400"/>
                </a:lnTo>
                <a:lnTo>
                  <a:pt x="56438" y="65976"/>
                </a:lnTo>
                <a:lnTo>
                  <a:pt x="61874" y="60540"/>
                </a:lnTo>
                <a:lnTo>
                  <a:pt x="69100" y="57531"/>
                </a:lnTo>
                <a:lnTo>
                  <a:pt x="84493" y="57531"/>
                </a:lnTo>
                <a:lnTo>
                  <a:pt x="91719" y="60540"/>
                </a:lnTo>
                <a:lnTo>
                  <a:pt x="97155" y="65976"/>
                </a:lnTo>
                <a:lnTo>
                  <a:pt x="105600" y="57531"/>
                </a:lnTo>
                <a:lnTo>
                  <a:pt x="110731" y="52400"/>
                </a:lnTo>
                <a:close/>
              </a:path>
              <a:path w="400685" h="1504314">
                <a:moveTo>
                  <a:pt x="113652" y="1398168"/>
                </a:moveTo>
                <a:lnTo>
                  <a:pt x="91592" y="1398168"/>
                </a:lnTo>
                <a:lnTo>
                  <a:pt x="69532" y="1398168"/>
                </a:lnTo>
                <a:lnTo>
                  <a:pt x="75044" y="1409192"/>
                </a:lnTo>
                <a:lnTo>
                  <a:pt x="91592" y="1420215"/>
                </a:lnTo>
                <a:lnTo>
                  <a:pt x="108140" y="1409192"/>
                </a:lnTo>
                <a:lnTo>
                  <a:pt x="113652" y="1398168"/>
                </a:lnTo>
                <a:close/>
              </a:path>
              <a:path w="400685" h="1504314">
                <a:moveTo>
                  <a:pt x="134391" y="178308"/>
                </a:moveTo>
                <a:lnTo>
                  <a:pt x="103949" y="147878"/>
                </a:lnTo>
                <a:lnTo>
                  <a:pt x="76796" y="120726"/>
                </a:lnTo>
                <a:lnTo>
                  <a:pt x="0" y="197497"/>
                </a:lnTo>
                <a:lnTo>
                  <a:pt x="0" y="345427"/>
                </a:lnTo>
                <a:lnTo>
                  <a:pt x="134391" y="345427"/>
                </a:lnTo>
                <a:lnTo>
                  <a:pt x="134391" y="326224"/>
                </a:lnTo>
                <a:lnTo>
                  <a:pt x="19202" y="326224"/>
                </a:lnTo>
                <a:lnTo>
                  <a:pt x="19202" y="205460"/>
                </a:lnTo>
                <a:lnTo>
                  <a:pt x="76796" y="147878"/>
                </a:lnTo>
                <a:lnTo>
                  <a:pt x="134391" y="205460"/>
                </a:lnTo>
                <a:lnTo>
                  <a:pt x="134391" y="178308"/>
                </a:lnTo>
                <a:close/>
              </a:path>
              <a:path w="400685" h="1504314">
                <a:moveTo>
                  <a:pt x="137883" y="25247"/>
                </a:moveTo>
                <a:lnTo>
                  <a:pt x="128727" y="19177"/>
                </a:lnTo>
                <a:lnTo>
                  <a:pt x="109321" y="6311"/>
                </a:lnTo>
                <a:lnTo>
                  <a:pt x="76796" y="0"/>
                </a:lnTo>
                <a:lnTo>
                  <a:pt x="44272" y="6311"/>
                </a:lnTo>
                <a:lnTo>
                  <a:pt x="15709" y="25247"/>
                </a:lnTo>
                <a:lnTo>
                  <a:pt x="29286" y="38823"/>
                </a:lnTo>
                <a:lnTo>
                  <a:pt x="51498" y="24091"/>
                </a:lnTo>
                <a:lnTo>
                  <a:pt x="76796" y="19177"/>
                </a:lnTo>
                <a:lnTo>
                  <a:pt x="102095" y="24091"/>
                </a:lnTo>
                <a:lnTo>
                  <a:pt x="124307" y="38823"/>
                </a:lnTo>
                <a:lnTo>
                  <a:pt x="137883" y="25247"/>
                </a:lnTo>
                <a:close/>
              </a:path>
              <a:path w="400685" h="1504314">
                <a:moveTo>
                  <a:pt x="167881" y="1365872"/>
                </a:moveTo>
                <a:lnTo>
                  <a:pt x="163944" y="1359890"/>
                </a:lnTo>
                <a:lnTo>
                  <a:pt x="157302" y="1349794"/>
                </a:lnTo>
                <a:lnTo>
                  <a:pt x="147840" y="1356029"/>
                </a:lnTo>
                <a:lnTo>
                  <a:pt x="128498" y="1359890"/>
                </a:lnTo>
                <a:lnTo>
                  <a:pt x="124637" y="1350289"/>
                </a:lnTo>
                <a:lnTo>
                  <a:pt x="116865" y="1330960"/>
                </a:lnTo>
                <a:lnTo>
                  <a:pt x="67640" y="1330960"/>
                </a:lnTo>
                <a:lnTo>
                  <a:pt x="56121" y="1359611"/>
                </a:lnTo>
                <a:lnTo>
                  <a:pt x="38163" y="1356029"/>
                </a:lnTo>
                <a:lnTo>
                  <a:pt x="28981" y="1350289"/>
                </a:lnTo>
                <a:lnTo>
                  <a:pt x="18732" y="1366583"/>
                </a:lnTo>
                <a:lnTo>
                  <a:pt x="30810" y="1374178"/>
                </a:lnTo>
                <a:lnTo>
                  <a:pt x="41541" y="1376324"/>
                </a:lnTo>
                <a:lnTo>
                  <a:pt x="33807" y="1383385"/>
                </a:lnTo>
                <a:lnTo>
                  <a:pt x="40576" y="1439024"/>
                </a:lnTo>
                <a:lnTo>
                  <a:pt x="46405" y="1455000"/>
                </a:lnTo>
                <a:lnTo>
                  <a:pt x="46405" y="1475346"/>
                </a:lnTo>
                <a:lnTo>
                  <a:pt x="65659" y="1475346"/>
                </a:lnTo>
                <a:lnTo>
                  <a:pt x="65659" y="1451597"/>
                </a:lnTo>
                <a:lnTo>
                  <a:pt x="59423" y="1434490"/>
                </a:lnTo>
                <a:lnTo>
                  <a:pt x="54127" y="1390904"/>
                </a:lnTo>
                <a:lnTo>
                  <a:pt x="70091" y="1376324"/>
                </a:lnTo>
                <a:lnTo>
                  <a:pt x="71005" y="1374178"/>
                </a:lnTo>
                <a:lnTo>
                  <a:pt x="76758" y="1359890"/>
                </a:lnTo>
                <a:lnTo>
                  <a:pt x="76860" y="1359611"/>
                </a:lnTo>
                <a:lnTo>
                  <a:pt x="80619" y="1350289"/>
                </a:lnTo>
                <a:lnTo>
                  <a:pt x="103886" y="1350289"/>
                </a:lnTo>
                <a:lnTo>
                  <a:pt x="113487" y="1374178"/>
                </a:lnTo>
                <a:lnTo>
                  <a:pt x="114414" y="1376324"/>
                </a:lnTo>
                <a:lnTo>
                  <a:pt x="130378" y="1390904"/>
                </a:lnTo>
                <a:lnTo>
                  <a:pt x="125069" y="1434490"/>
                </a:lnTo>
                <a:lnTo>
                  <a:pt x="118833" y="1451597"/>
                </a:lnTo>
                <a:lnTo>
                  <a:pt x="118833" y="1475346"/>
                </a:lnTo>
                <a:lnTo>
                  <a:pt x="138087" y="1475346"/>
                </a:lnTo>
                <a:lnTo>
                  <a:pt x="138087" y="1455000"/>
                </a:lnTo>
                <a:lnTo>
                  <a:pt x="143916" y="1439024"/>
                </a:lnTo>
                <a:lnTo>
                  <a:pt x="150685" y="1383385"/>
                </a:lnTo>
                <a:lnTo>
                  <a:pt x="143230" y="1376578"/>
                </a:lnTo>
                <a:lnTo>
                  <a:pt x="155194" y="1374178"/>
                </a:lnTo>
                <a:lnTo>
                  <a:pt x="167881" y="1365872"/>
                </a:lnTo>
                <a:close/>
              </a:path>
              <a:path w="400685" h="1504314">
                <a:moveTo>
                  <a:pt x="211175" y="201472"/>
                </a:moveTo>
                <a:lnTo>
                  <a:pt x="191985" y="201472"/>
                </a:lnTo>
                <a:lnTo>
                  <a:pt x="191985" y="239864"/>
                </a:lnTo>
                <a:lnTo>
                  <a:pt x="211175" y="239864"/>
                </a:lnTo>
                <a:lnTo>
                  <a:pt x="211175" y="201472"/>
                </a:lnTo>
                <a:close/>
              </a:path>
              <a:path w="400685" h="1504314">
                <a:moveTo>
                  <a:pt x="211175" y="143903"/>
                </a:moveTo>
                <a:lnTo>
                  <a:pt x="191985" y="143903"/>
                </a:lnTo>
                <a:lnTo>
                  <a:pt x="191985" y="182283"/>
                </a:lnTo>
                <a:lnTo>
                  <a:pt x="211175" y="182283"/>
                </a:lnTo>
                <a:lnTo>
                  <a:pt x="211175" y="143903"/>
                </a:lnTo>
                <a:close/>
              </a:path>
              <a:path w="400685" h="1504314">
                <a:moveTo>
                  <a:pt x="211175" y="86321"/>
                </a:moveTo>
                <a:lnTo>
                  <a:pt x="191985" y="86321"/>
                </a:lnTo>
                <a:lnTo>
                  <a:pt x="191985" y="124714"/>
                </a:lnTo>
                <a:lnTo>
                  <a:pt x="211175" y="124714"/>
                </a:lnTo>
                <a:lnTo>
                  <a:pt x="211175" y="86321"/>
                </a:lnTo>
                <a:close/>
              </a:path>
              <a:path w="400685" h="1504314">
                <a:moveTo>
                  <a:pt x="249580" y="201472"/>
                </a:moveTo>
                <a:lnTo>
                  <a:pt x="230378" y="201472"/>
                </a:lnTo>
                <a:lnTo>
                  <a:pt x="230378" y="239864"/>
                </a:lnTo>
                <a:lnTo>
                  <a:pt x="249580" y="239864"/>
                </a:lnTo>
                <a:lnTo>
                  <a:pt x="249580" y="201472"/>
                </a:lnTo>
                <a:close/>
              </a:path>
              <a:path w="400685" h="1504314">
                <a:moveTo>
                  <a:pt x="249580" y="143903"/>
                </a:moveTo>
                <a:lnTo>
                  <a:pt x="230378" y="143903"/>
                </a:lnTo>
                <a:lnTo>
                  <a:pt x="230378" y="182283"/>
                </a:lnTo>
                <a:lnTo>
                  <a:pt x="249580" y="182283"/>
                </a:lnTo>
                <a:lnTo>
                  <a:pt x="249580" y="143903"/>
                </a:lnTo>
                <a:close/>
              </a:path>
              <a:path w="400685" h="1504314">
                <a:moveTo>
                  <a:pt x="249580" y="86321"/>
                </a:moveTo>
                <a:lnTo>
                  <a:pt x="230378" y="86321"/>
                </a:lnTo>
                <a:lnTo>
                  <a:pt x="230378" y="124714"/>
                </a:lnTo>
                <a:lnTo>
                  <a:pt x="249580" y="124714"/>
                </a:lnTo>
                <a:lnTo>
                  <a:pt x="249580" y="86321"/>
                </a:lnTo>
                <a:close/>
              </a:path>
              <a:path w="400685" h="1504314">
                <a:moveTo>
                  <a:pt x="265607" y="1181112"/>
                </a:moveTo>
                <a:lnTo>
                  <a:pt x="261188" y="1176794"/>
                </a:lnTo>
                <a:lnTo>
                  <a:pt x="251117" y="1176794"/>
                </a:lnTo>
                <a:lnTo>
                  <a:pt x="247243" y="1179969"/>
                </a:lnTo>
                <a:lnTo>
                  <a:pt x="246227" y="1184198"/>
                </a:lnTo>
                <a:lnTo>
                  <a:pt x="246227" y="1141514"/>
                </a:lnTo>
                <a:lnTo>
                  <a:pt x="245579" y="1138313"/>
                </a:lnTo>
                <a:lnTo>
                  <a:pt x="244462" y="1132776"/>
                </a:lnTo>
                <a:lnTo>
                  <a:pt x="239636" y="1125639"/>
                </a:lnTo>
                <a:lnTo>
                  <a:pt x="232498" y="1120825"/>
                </a:lnTo>
                <a:lnTo>
                  <a:pt x="226961" y="1119708"/>
                </a:lnTo>
                <a:lnTo>
                  <a:pt x="226961" y="1139748"/>
                </a:lnTo>
                <a:lnTo>
                  <a:pt x="226961" y="1236154"/>
                </a:lnTo>
                <a:lnTo>
                  <a:pt x="166306" y="1243812"/>
                </a:lnTo>
                <a:lnTo>
                  <a:pt x="148031" y="1244142"/>
                </a:lnTo>
                <a:lnTo>
                  <a:pt x="132842" y="1244142"/>
                </a:lnTo>
                <a:lnTo>
                  <a:pt x="91325" y="1242923"/>
                </a:lnTo>
                <a:lnTo>
                  <a:pt x="53822" y="1236154"/>
                </a:lnTo>
                <a:lnTo>
                  <a:pt x="53822" y="1225435"/>
                </a:lnTo>
                <a:lnTo>
                  <a:pt x="53822" y="1184198"/>
                </a:lnTo>
                <a:lnTo>
                  <a:pt x="53822" y="1139748"/>
                </a:lnTo>
                <a:lnTo>
                  <a:pt x="55257" y="1138313"/>
                </a:lnTo>
                <a:lnTo>
                  <a:pt x="225539" y="1138313"/>
                </a:lnTo>
                <a:lnTo>
                  <a:pt x="226961" y="1139748"/>
                </a:lnTo>
                <a:lnTo>
                  <a:pt x="226961" y="1119708"/>
                </a:lnTo>
                <a:lnTo>
                  <a:pt x="223774" y="1119060"/>
                </a:lnTo>
                <a:lnTo>
                  <a:pt x="57023" y="1119060"/>
                </a:lnTo>
                <a:lnTo>
                  <a:pt x="48298" y="1120825"/>
                </a:lnTo>
                <a:lnTo>
                  <a:pt x="41148" y="1125639"/>
                </a:lnTo>
                <a:lnTo>
                  <a:pt x="36334" y="1132776"/>
                </a:lnTo>
                <a:lnTo>
                  <a:pt x="34569" y="1141514"/>
                </a:lnTo>
                <a:lnTo>
                  <a:pt x="34569" y="1184160"/>
                </a:lnTo>
                <a:lnTo>
                  <a:pt x="33502" y="1179969"/>
                </a:lnTo>
                <a:lnTo>
                  <a:pt x="33464" y="1179804"/>
                </a:lnTo>
                <a:lnTo>
                  <a:pt x="29578" y="1176794"/>
                </a:lnTo>
                <a:lnTo>
                  <a:pt x="19672" y="1176794"/>
                </a:lnTo>
                <a:lnTo>
                  <a:pt x="15290" y="1181112"/>
                </a:lnTo>
                <a:lnTo>
                  <a:pt x="15290" y="1228471"/>
                </a:lnTo>
                <a:lnTo>
                  <a:pt x="19697" y="1232776"/>
                </a:lnTo>
                <a:lnTo>
                  <a:pt x="29667" y="1232776"/>
                </a:lnTo>
                <a:lnTo>
                  <a:pt x="33515" y="1229652"/>
                </a:lnTo>
                <a:lnTo>
                  <a:pt x="34569" y="1225435"/>
                </a:lnTo>
                <a:lnTo>
                  <a:pt x="34569" y="1319364"/>
                </a:lnTo>
                <a:lnTo>
                  <a:pt x="53822" y="1319364"/>
                </a:lnTo>
                <a:lnTo>
                  <a:pt x="53822" y="1257465"/>
                </a:lnTo>
                <a:lnTo>
                  <a:pt x="113385" y="1263027"/>
                </a:lnTo>
                <a:lnTo>
                  <a:pt x="132067" y="1263370"/>
                </a:lnTo>
                <a:lnTo>
                  <a:pt x="148805" y="1263370"/>
                </a:lnTo>
                <a:lnTo>
                  <a:pt x="191058" y="1262113"/>
                </a:lnTo>
                <a:lnTo>
                  <a:pt x="226961" y="1257465"/>
                </a:lnTo>
                <a:lnTo>
                  <a:pt x="226961" y="1315300"/>
                </a:lnTo>
                <a:lnTo>
                  <a:pt x="233083" y="1311732"/>
                </a:lnTo>
                <a:lnTo>
                  <a:pt x="239687" y="1309103"/>
                </a:lnTo>
                <a:lnTo>
                  <a:pt x="246227" y="1307147"/>
                </a:lnTo>
                <a:lnTo>
                  <a:pt x="246227" y="1257465"/>
                </a:lnTo>
                <a:lnTo>
                  <a:pt x="246227" y="1244142"/>
                </a:lnTo>
                <a:lnTo>
                  <a:pt x="246227" y="1225435"/>
                </a:lnTo>
                <a:lnTo>
                  <a:pt x="246976" y="1228471"/>
                </a:lnTo>
                <a:lnTo>
                  <a:pt x="247294" y="1229652"/>
                </a:lnTo>
                <a:lnTo>
                  <a:pt x="251117" y="1232776"/>
                </a:lnTo>
                <a:lnTo>
                  <a:pt x="261188" y="1232776"/>
                </a:lnTo>
                <a:lnTo>
                  <a:pt x="265607" y="1228471"/>
                </a:lnTo>
                <a:lnTo>
                  <a:pt x="265607" y="1225435"/>
                </a:lnTo>
                <a:lnTo>
                  <a:pt x="265607" y="1184198"/>
                </a:lnTo>
                <a:lnTo>
                  <a:pt x="265607" y="1181112"/>
                </a:lnTo>
                <a:close/>
              </a:path>
              <a:path w="400685" h="1504314">
                <a:moveTo>
                  <a:pt x="287972" y="38341"/>
                </a:moveTo>
                <a:lnTo>
                  <a:pt x="268770" y="38341"/>
                </a:lnTo>
                <a:lnTo>
                  <a:pt x="268770" y="57531"/>
                </a:lnTo>
                <a:lnTo>
                  <a:pt x="268770" y="326224"/>
                </a:lnTo>
                <a:lnTo>
                  <a:pt x="172783" y="326224"/>
                </a:lnTo>
                <a:lnTo>
                  <a:pt x="172783" y="57531"/>
                </a:lnTo>
                <a:lnTo>
                  <a:pt x="268770" y="57531"/>
                </a:lnTo>
                <a:lnTo>
                  <a:pt x="268770" y="38341"/>
                </a:lnTo>
                <a:lnTo>
                  <a:pt x="153593" y="38341"/>
                </a:lnTo>
                <a:lnTo>
                  <a:pt x="153593" y="345427"/>
                </a:lnTo>
                <a:lnTo>
                  <a:pt x="287972" y="345427"/>
                </a:lnTo>
                <a:lnTo>
                  <a:pt x="287972" y="326224"/>
                </a:lnTo>
                <a:lnTo>
                  <a:pt x="287972" y="57531"/>
                </a:lnTo>
                <a:lnTo>
                  <a:pt x="287972" y="38341"/>
                </a:lnTo>
                <a:close/>
              </a:path>
              <a:path w="400685" h="1504314">
                <a:moveTo>
                  <a:pt x="345567" y="211074"/>
                </a:moveTo>
                <a:lnTo>
                  <a:pt x="326377" y="211074"/>
                </a:lnTo>
                <a:lnTo>
                  <a:pt x="326377" y="249466"/>
                </a:lnTo>
                <a:lnTo>
                  <a:pt x="345567" y="249466"/>
                </a:lnTo>
                <a:lnTo>
                  <a:pt x="345567" y="211074"/>
                </a:lnTo>
                <a:close/>
              </a:path>
              <a:path w="400685" h="1504314">
                <a:moveTo>
                  <a:pt x="345567" y="153492"/>
                </a:moveTo>
                <a:lnTo>
                  <a:pt x="326377" y="153492"/>
                </a:lnTo>
                <a:lnTo>
                  <a:pt x="326377" y="191884"/>
                </a:lnTo>
                <a:lnTo>
                  <a:pt x="345567" y="191884"/>
                </a:lnTo>
                <a:lnTo>
                  <a:pt x="345567" y="153492"/>
                </a:lnTo>
                <a:close/>
              </a:path>
              <a:path w="400685" h="1504314">
                <a:moveTo>
                  <a:pt x="383971" y="115112"/>
                </a:moveTo>
                <a:lnTo>
                  <a:pt x="307174" y="115112"/>
                </a:lnTo>
                <a:lnTo>
                  <a:pt x="307174" y="134302"/>
                </a:lnTo>
                <a:lnTo>
                  <a:pt x="364769" y="134302"/>
                </a:lnTo>
                <a:lnTo>
                  <a:pt x="364769" y="326224"/>
                </a:lnTo>
                <a:lnTo>
                  <a:pt x="307174" y="326224"/>
                </a:lnTo>
                <a:lnTo>
                  <a:pt x="307174" y="345427"/>
                </a:lnTo>
                <a:lnTo>
                  <a:pt x="383971" y="345427"/>
                </a:lnTo>
                <a:lnTo>
                  <a:pt x="383971" y="115112"/>
                </a:lnTo>
                <a:close/>
              </a:path>
              <a:path w="400685" h="1504314">
                <a:moveTo>
                  <a:pt x="400329" y="1383195"/>
                </a:moveTo>
                <a:lnTo>
                  <a:pt x="396036" y="1378877"/>
                </a:lnTo>
                <a:lnTo>
                  <a:pt x="371538" y="1378877"/>
                </a:lnTo>
                <a:lnTo>
                  <a:pt x="371538" y="1423454"/>
                </a:lnTo>
                <a:lnTo>
                  <a:pt x="371538" y="1475447"/>
                </a:lnTo>
                <a:lnTo>
                  <a:pt x="369811" y="1481886"/>
                </a:lnTo>
                <a:lnTo>
                  <a:pt x="368452" y="1484782"/>
                </a:lnTo>
                <a:lnTo>
                  <a:pt x="355409" y="1484782"/>
                </a:lnTo>
                <a:lnTo>
                  <a:pt x="354101" y="1482559"/>
                </a:lnTo>
                <a:lnTo>
                  <a:pt x="352183" y="1476857"/>
                </a:lnTo>
                <a:lnTo>
                  <a:pt x="352183" y="1475143"/>
                </a:lnTo>
                <a:lnTo>
                  <a:pt x="352183" y="1455889"/>
                </a:lnTo>
                <a:lnTo>
                  <a:pt x="217411" y="1455889"/>
                </a:lnTo>
                <a:lnTo>
                  <a:pt x="217411" y="1477695"/>
                </a:lnTo>
                <a:lnTo>
                  <a:pt x="215480" y="1482559"/>
                </a:lnTo>
                <a:lnTo>
                  <a:pt x="215366" y="1482877"/>
                </a:lnTo>
                <a:lnTo>
                  <a:pt x="214261" y="1484782"/>
                </a:lnTo>
                <a:lnTo>
                  <a:pt x="201206" y="1484782"/>
                </a:lnTo>
                <a:lnTo>
                  <a:pt x="199872" y="1481886"/>
                </a:lnTo>
                <a:lnTo>
                  <a:pt x="198208" y="1475447"/>
                </a:lnTo>
                <a:lnTo>
                  <a:pt x="198208" y="1423022"/>
                </a:lnTo>
                <a:lnTo>
                  <a:pt x="207657" y="1413649"/>
                </a:lnTo>
                <a:lnTo>
                  <a:pt x="212801" y="1409509"/>
                </a:lnTo>
                <a:lnTo>
                  <a:pt x="221754" y="1389176"/>
                </a:lnTo>
                <a:lnTo>
                  <a:pt x="240004" y="1354137"/>
                </a:lnTo>
                <a:lnTo>
                  <a:pt x="284721" y="1340370"/>
                </a:lnTo>
                <a:lnTo>
                  <a:pt x="285546" y="1340370"/>
                </a:lnTo>
                <a:lnTo>
                  <a:pt x="297497" y="1341107"/>
                </a:lnTo>
                <a:lnTo>
                  <a:pt x="296913" y="1341107"/>
                </a:lnTo>
                <a:lnTo>
                  <a:pt x="309753" y="1343329"/>
                </a:lnTo>
                <a:lnTo>
                  <a:pt x="342455" y="1376095"/>
                </a:lnTo>
                <a:lnTo>
                  <a:pt x="348234" y="1388960"/>
                </a:lnTo>
                <a:lnTo>
                  <a:pt x="354495" y="1403146"/>
                </a:lnTo>
                <a:lnTo>
                  <a:pt x="357339" y="1409509"/>
                </a:lnTo>
                <a:lnTo>
                  <a:pt x="363131" y="1414246"/>
                </a:lnTo>
                <a:lnTo>
                  <a:pt x="371538" y="1423454"/>
                </a:lnTo>
                <a:lnTo>
                  <a:pt x="371538" y="1378877"/>
                </a:lnTo>
                <a:lnTo>
                  <a:pt x="364883" y="1378877"/>
                </a:lnTo>
                <a:lnTo>
                  <a:pt x="361848" y="1372069"/>
                </a:lnTo>
                <a:lnTo>
                  <a:pt x="331127" y="1330706"/>
                </a:lnTo>
                <a:lnTo>
                  <a:pt x="285102" y="1321130"/>
                </a:lnTo>
                <a:lnTo>
                  <a:pt x="275488" y="1321523"/>
                </a:lnTo>
                <a:lnTo>
                  <a:pt x="223977" y="1343494"/>
                </a:lnTo>
                <a:lnTo>
                  <a:pt x="205206" y="1378877"/>
                </a:lnTo>
                <a:lnTo>
                  <a:pt x="173786" y="1378877"/>
                </a:lnTo>
                <a:lnTo>
                  <a:pt x="169557" y="1383195"/>
                </a:lnTo>
                <a:lnTo>
                  <a:pt x="169659" y="1393825"/>
                </a:lnTo>
                <a:lnTo>
                  <a:pt x="173951" y="1398117"/>
                </a:lnTo>
                <a:lnTo>
                  <a:pt x="196418" y="1398117"/>
                </a:lnTo>
                <a:lnTo>
                  <a:pt x="191439" y="1403146"/>
                </a:lnTo>
                <a:lnTo>
                  <a:pt x="185674" y="1410627"/>
                </a:lnTo>
                <a:lnTo>
                  <a:pt x="180924" y="1419987"/>
                </a:lnTo>
                <a:lnTo>
                  <a:pt x="178955" y="1430743"/>
                </a:lnTo>
                <a:lnTo>
                  <a:pt x="178955" y="1467091"/>
                </a:lnTo>
                <a:lnTo>
                  <a:pt x="180086" y="1480616"/>
                </a:lnTo>
                <a:lnTo>
                  <a:pt x="183591" y="1492453"/>
                </a:lnTo>
                <a:lnTo>
                  <a:pt x="189572" y="1500847"/>
                </a:lnTo>
                <a:lnTo>
                  <a:pt x="198170" y="1504022"/>
                </a:lnTo>
                <a:lnTo>
                  <a:pt x="218655" y="1504022"/>
                </a:lnTo>
                <a:lnTo>
                  <a:pt x="222973" y="1502524"/>
                </a:lnTo>
                <a:lnTo>
                  <a:pt x="228142" y="1498346"/>
                </a:lnTo>
                <a:lnTo>
                  <a:pt x="233083" y="1489748"/>
                </a:lnTo>
                <a:lnTo>
                  <a:pt x="234149" y="1484782"/>
                </a:lnTo>
                <a:lnTo>
                  <a:pt x="236169" y="1475447"/>
                </a:lnTo>
                <a:lnTo>
                  <a:pt x="236232" y="1475143"/>
                </a:lnTo>
                <a:lnTo>
                  <a:pt x="333387" y="1475143"/>
                </a:lnTo>
                <a:lnTo>
                  <a:pt x="336575" y="1489748"/>
                </a:lnTo>
                <a:lnTo>
                  <a:pt x="341566" y="1498346"/>
                </a:lnTo>
                <a:lnTo>
                  <a:pt x="344678" y="1500847"/>
                </a:lnTo>
                <a:lnTo>
                  <a:pt x="346837" y="1502524"/>
                </a:lnTo>
                <a:lnTo>
                  <a:pt x="351205" y="1504022"/>
                </a:lnTo>
                <a:lnTo>
                  <a:pt x="371309" y="1504022"/>
                </a:lnTo>
                <a:lnTo>
                  <a:pt x="390804" y="1467091"/>
                </a:lnTo>
                <a:lnTo>
                  <a:pt x="390804" y="1430743"/>
                </a:lnTo>
                <a:lnTo>
                  <a:pt x="388861" y="1419987"/>
                </a:lnTo>
                <a:lnTo>
                  <a:pt x="384187" y="1410627"/>
                </a:lnTo>
                <a:lnTo>
                  <a:pt x="378523" y="1403146"/>
                </a:lnTo>
                <a:lnTo>
                  <a:pt x="373634" y="1398117"/>
                </a:lnTo>
                <a:lnTo>
                  <a:pt x="395998" y="1398117"/>
                </a:lnTo>
                <a:lnTo>
                  <a:pt x="400316" y="1393825"/>
                </a:lnTo>
                <a:lnTo>
                  <a:pt x="400329" y="1383195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914309"/>
            <a:endParaRPr kern="0">
              <a:solidFill>
                <a:sysClr val="windowText" lastClr="000000"/>
              </a:solidFill>
            </a:endParaRPr>
          </a:p>
        </p:txBody>
      </p:sp>
      <p:sp>
        <p:nvSpPr>
          <p:cNvPr id="107" name="object 107"/>
          <p:cNvSpPr txBox="1"/>
          <p:nvPr/>
        </p:nvSpPr>
        <p:spPr>
          <a:xfrm>
            <a:off x="5939049" y="5495276"/>
            <a:ext cx="666028" cy="208363"/>
          </a:xfrm>
          <a:prstGeom prst="rect">
            <a:avLst/>
          </a:prstGeom>
          <a:solidFill>
            <a:srgbClr val="007BBB"/>
          </a:solidFill>
        </p:spPr>
        <p:txBody>
          <a:bodyPr vert="horz" wrap="square" lIns="0" tIns="38730" rIns="0" bIns="0" rtlCol="0">
            <a:spAutoFit/>
          </a:bodyPr>
          <a:lstStyle/>
          <a:p>
            <a:pPr marL="92701" defTabSz="914309">
              <a:spcBef>
                <a:spcPts val="305"/>
              </a:spcBef>
            </a:pPr>
            <a:r>
              <a:rPr sz="1100" b="1" kern="0" dirty="0">
                <a:solidFill>
                  <a:srgbClr val="FFFFFF"/>
                </a:solidFill>
                <a:latin typeface="Calibri"/>
                <a:cs typeface="Calibri"/>
              </a:rPr>
              <a:t>Scope</a:t>
            </a:r>
            <a:r>
              <a:rPr sz="1100" b="1" kern="0" spc="-2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100" b="1" kern="0" spc="-50" dirty="0">
                <a:solidFill>
                  <a:srgbClr val="FFFFFF"/>
                </a:solidFill>
                <a:latin typeface="Calibri"/>
                <a:cs typeface="Calibri"/>
              </a:rPr>
              <a:t>1</a:t>
            </a:r>
            <a:endParaRPr sz="1100" kern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108" name="object 108"/>
          <p:cNvSpPr/>
          <p:nvPr/>
        </p:nvSpPr>
        <p:spPr>
          <a:xfrm>
            <a:off x="1491073" y="1490725"/>
            <a:ext cx="113015" cy="821583"/>
          </a:xfrm>
          <a:custGeom>
            <a:avLst/>
            <a:gdLst/>
            <a:ahLst/>
            <a:cxnLst/>
            <a:rect l="l" t="t" r="r" b="b"/>
            <a:pathLst>
              <a:path w="113030" h="821689">
                <a:moveTo>
                  <a:pt x="112775" y="821436"/>
                </a:moveTo>
                <a:lnTo>
                  <a:pt x="90838" y="820699"/>
                </a:lnTo>
                <a:lnTo>
                  <a:pt x="72913" y="818689"/>
                </a:lnTo>
                <a:lnTo>
                  <a:pt x="60823" y="815703"/>
                </a:lnTo>
                <a:lnTo>
                  <a:pt x="56387" y="812038"/>
                </a:lnTo>
                <a:lnTo>
                  <a:pt x="56387" y="420115"/>
                </a:lnTo>
                <a:lnTo>
                  <a:pt x="51952" y="416450"/>
                </a:lnTo>
                <a:lnTo>
                  <a:pt x="39862" y="413464"/>
                </a:lnTo>
                <a:lnTo>
                  <a:pt x="21937" y="411454"/>
                </a:lnTo>
                <a:lnTo>
                  <a:pt x="0" y="410717"/>
                </a:lnTo>
                <a:lnTo>
                  <a:pt x="21937" y="409981"/>
                </a:lnTo>
                <a:lnTo>
                  <a:pt x="39862" y="407971"/>
                </a:lnTo>
                <a:lnTo>
                  <a:pt x="51952" y="404985"/>
                </a:lnTo>
                <a:lnTo>
                  <a:pt x="56387" y="401319"/>
                </a:lnTo>
                <a:lnTo>
                  <a:pt x="56387" y="9398"/>
                </a:lnTo>
                <a:lnTo>
                  <a:pt x="60823" y="5732"/>
                </a:lnTo>
                <a:lnTo>
                  <a:pt x="72913" y="2746"/>
                </a:lnTo>
                <a:lnTo>
                  <a:pt x="90838" y="736"/>
                </a:lnTo>
                <a:lnTo>
                  <a:pt x="112775" y="0"/>
                </a:lnTo>
              </a:path>
            </a:pathLst>
          </a:custGeom>
          <a:ln w="6349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914309"/>
            <a:endParaRPr kern="0">
              <a:solidFill>
                <a:sysClr val="windowText" lastClr="000000"/>
              </a:solidFill>
            </a:endParaRPr>
          </a:p>
        </p:txBody>
      </p:sp>
      <p:sp>
        <p:nvSpPr>
          <p:cNvPr id="109" name="object 109"/>
          <p:cNvSpPr txBox="1"/>
          <p:nvPr/>
        </p:nvSpPr>
        <p:spPr>
          <a:xfrm>
            <a:off x="592030" y="1579867"/>
            <a:ext cx="808885" cy="652060"/>
          </a:xfrm>
          <a:prstGeom prst="rect">
            <a:avLst/>
          </a:prstGeom>
        </p:spPr>
        <p:txBody>
          <a:bodyPr vert="horz" wrap="square" lIns="0" tIns="155555" rIns="0" bIns="0" rtlCol="0">
            <a:spAutoFit/>
          </a:bodyPr>
          <a:lstStyle/>
          <a:p>
            <a:pPr marL="38096" defTabSz="914309">
              <a:spcBef>
                <a:spcPts val="1225"/>
              </a:spcBef>
            </a:pPr>
            <a:r>
              <a:rPr kern="0" spc="-20" dirty="0">
                <a:solidFill>
                  <a:sysClr val="windowText" lastClr="000000"/>
                </a:solidFill>
                <a:latin typeface="Calibri"/>
                <a:cs typeface="Calibri"/>
              </a:rPr>
              <a:t>CO</a:t>
            </a:r>
            <a:r>
              <a:rPr kern="0" spc="-30" baseline="-20833" dirty="0">
                <a:solidFill>
                  <a:sysClr val="windowText" lastClr="000000"/>
                </a:solidFill>
                <a:latin typeface="Calibri"/>
                <a:cs typeface="Calibri"/>
              </a:rPr>
              <a:t>2</a:t>
            </a:r>
            <a:r>
              <a:rPr kern="0" spc="-20" dirty="0">
                <a:solidFill>
                  <a:sysClr val="windowText" lastClr="000000"/>
                </a:solidFill>
                <a:latin typeface="Calibri"/>
                <a:cs typeface="Calibri"/>
              </a:rPr>
              <a:t>e</a:t>
            </a:r>
            <a:endParaRPr kern="0">
              <a:solidFill>
                <a:sysClr val="windowText" lastClr="000000"/>
              </a:solidFill>
              <a:latin typeface="Calibri"/>
              <a:cs typeface="Calibri"/>
            </a:endParaRPr>
          </a:p>
          <a:p>
            <a:pPr marL="38096" defTabSz="914309">
              <a:spcBef>
                <a:spcPts val="565"/>
              </a:spcBef>
            </a:pPr>
            <a:r>
              <a:rPr sz="900" kern="0" dirty="0">
                <a:solidFill>
                  <a:sysClr val="windowText" lastClr="000000"/>
                </a:solidFill>
                <a:latin typeface="Calibri"/>
                <a:cs typeface="Calibri"/>
              </a:rPr>
              <a:t>CO</a:t>
            </a:r>
            <a:r>
              <a:rPr sz="900" kern="0" baseline="-18518" dirty="0">
                <a:solidFill>
                  <a:sysClr val="windowText" lastClr="000000"/>
                </a:solidFill>
                <a:latin typeface="Calibri"/>
                <a:cs typeface="Calibri"/>
              </a:rPr>
              <a:t>2</a:t>
            </a:r>
            <a:r>
              <a:rPr sz="900" kern="0" spc="75" baseline="-18518" dirty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900" kern="0" spc="-10" dirty="0">
                <a:solidFill>
                  <a:sysClr val="windowText" lastClr="000000"/>
                </a:solidFill>
                <a:latin typeface="Calibri"/>
                <a:cs typeface="Calibri"/>
              </a:rPr>
              <a:t>equivalents</a:t>
            </a:r>
            <a:endParaRPr sz="900" kern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pic>
        <p:nvPicPr>
          <p:cNvPr id="110" name="object 110"/>
          <p:cNvPicPr/>
          <p:nvPr/>
        </p:nvPicPr>
        <p:blipFill>
          <a:blip r:embed="rId13" cstate="print"/>
          <a:stretch>
            <a:fillRect/>
          </a:stretch>
        </p:blipFill>
        <p:spPr>
          <a:xfrm>
            <a:off x="10469312" y="1652249"/>
            <a:ext cx="664377" cy="644567"/>
          </a:xfrm>
          <a:prstGeom prst="rect">
            <a:avLst/>
          </a:prstGeom>
        </p:spPr>
      </p:pic>
      <p:sp>
        <p:nvSpPr>
          <p:cNvPr id="111" name="object 111"/>
          <p:cNvSpPr txBox="1">
            <a:spLocks noGrp="1"/>
          </p:cNvSpPr>
          <p:nvPr>
            <p:ph type="sldNum" sz="quarter" idx="7"/>
          </p:nvPr>
        </p:nvSpPr>
        <p:spPr>
          <a:xfrm>
            <a:off x="314656" y="6665581"/>
            <a:ext cx="205178" cy="12822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pPr marL="38096" defTabSz="914309">
              <a:lnSpc>
                <a:spcPts val="955"/>
              </a:lnSpc>
            </a:pPr>
            <a:fld id="{81D60167-4931-47E6-BA6A-407CBD079E47}" type="slidenum">
              <a:rPr kern="0" spc="-25" dirty="0">
                <a:solidFill>
                  <a:prstClr val="black"/>
                </a:solidFill>
              </a:rPr>
              <a:pPr marL="38096" defTabSz="914309">
                <a:lnSpc>
                  <a:spcPts val="955"/>
                </a:lnSpc>
              </a:pPr>
              <a:t>22</a:t>
            </a:fld>
            <a:endParaRPr kern="0" spc="-25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hteck 17">
            <a:extLst>
              <a:ext uri="{FF2B5EF4-FFF2-40B4-BE49-F238E27FC236}">
                <a16:creationId xmlns:a16="http://schemas.microsoft.com/office/drawing/2014/main" id="{D7F7BCCE-F3BB-965D-E9A6-1FB949FA8994}"/>
              </a:ext>
            </a:extLst>
          </p:cNvPr>
          <p:cNvSpPr/>
          <p:nvPr/>
        </p:nvSpPr>
        <p:spPr>
          <a:xfrm>
            <a:off x="466835" y="1716906"/>
            <a:ext cx="5497750" cy="4779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16E119DB-26C0-482F-B7DD-D700DBFA483A}"/>
              </a:ext>
            </a:extLst>
          </p:cNvPr>
          <p:cNvSpPr txBox="1"/>
          <p:nvPr/>
        </p:nvSpPr>
        <p:spPr>
          <a:xfrm>
            <a:off x="470631" y="1716906"/>
            <a:ext cx="549585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</a:rPr>
              <a:t>K2S165</a:t>
            </a: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3D5F2618-2BA3-4308-B4A6-A0B1B79B34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rbon footprint – </a:t>
            </a:r>
            <a:r>
              <a:rPr lang="en-US" b="0" dirty="0"/>
              <a:t>AC diagonal module vs. EC diagonal modul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2123A24-AC72-4229-B98A-91AF96C1BB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Energy efficiency</a:t>
            </a:r>
          </a:p>
        </p:txBody>
      </p:sp>
      <p:sp>
        <p:nvSpPr>
          <p:cNvPr id="29" name="Fußzeilenplatzhalter 1">
            <a:extLst>
              <a:ext uri="{FF2B5EF4-FFF2-40B4-BE49-F238E27FC236}">
                <a16:creationId xmlns:a16="http://schemas.microsoft.com/office/drawing/2014/main" id="{B151CA76-C98A-B818-9A40-BE5F3496CE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18249" y="6591300"/>
            <a:ext cx="8998828" cy="2667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de-DE" sz="900" kern="1200">
                <a:solidFill>
                  <a:prstClr val="black"/>
                </a:solidFill>
                <a:latin typeface="+mn-lt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defTabSz="91430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/>
              <a:t>Die neue Generation Diagonalmodule für Schaltschrank-Filterlüfter</a:t>
            </a:r>
            <a:endParaRPr lang="en-US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785EC25-7990-4F95-8609-0131E4D128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95" y="6591300"/>
            <a:ext cx="469837" cy="2667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de-DE" sz="900" kern="1200">
                <a:solidFill>
                  <a:prstClr val="black"/>
                </a:solidFill>
                <a:latin typeface="+mn-lt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defTabSz="914309" fontAlgn="auto">
              <a:spcBef>
                <a:spcPts val="0"/>
              </a:spcBef>
              <a:spcAft>
                <a:spcPts val="0"/>
              </a:spcAft>
              <a:defRPr/>
            </a:pPr>
            <a:fld id="{5AFF31D0-8A17-47C0-8D09-D01303A85034}" type="slidenum">
              <a:rPr lang="cs-CZ" smtClean="0"/>
              <a:pPr defTabSz="914309" fontAlgn="auto">
                <a:spcBef>
                  <a:spcPts val="0"/>
                </a:spcBef>
                <a:spcAft>
                  <a:spcPts val="0"/>
                </a:spcAft>
                <a:defRPr/>
              </a:pPr>
              <a:t>23</a:t>
            </a:fld>
            <a:endParaRPr lang="en-US" dirty="0"/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0509E919-E4DD-4DE0-ADAF-770CD7261FC3}"/>
              </a:ext>
            </a:extLst>
          </p:cNvPr>
          <p:cNvSpPr txBox="1"/>
          <p:nvPr/>
        </p:nvSpPr>
        <p:spPr>
          <a:xfrm>
            <a:off x="470632" y="6034449"/>
            <a:ext cx="467672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/>
              <a:t>* Values from the GaBi database with EF 3.0; energy mix from Germany 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A8EDB39-D23F-9844-C474-26F079D41CD1}"/>
              </a:ext>
            </a:extLst>
          </p:cNvPr>
          <p:cNvSpPr/>
          <p:nvPr/>
        </p:nvSpPr>
        <p:spPr>
          <a:xfrm>
            <a:off x="6226285" y="1716906"/>
            <a:ext cx="5497750" cy="4779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CF450133-C68C-D1A0-A9DF-1B35857F85DB}"/>
              </a:ext>
            </a:extLst>
          </p:cNvPr>
          <p:cNvSpPr txBox="1"/>
          <p:nvPr/>
        </p:nvSpPr>
        <p:spPr>
          <a:xfrm>
            <a:off x="6230081" y="1716906"/>
            <a:ext cx="549585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</a:rPr>
              <a:t>K3G165</a:t>
            </a: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8AF08ABB-3FA6-605A-D1F1-23043E515761}"/>
              </a:ext>
            </a:extLst>
          </p:cNvPr>
          <p:cNvGrpSpPr/>
          <p:nvPr/>
        </p:nvGrpSpPr>
        <p:grpSpPr>
          <a:xfrm>
            <a:off x="468733" y="5466638"/>
            <a:ext cx="11257200" cy="567811"/>
            <a:chOff x="467939" y="5466637"/>
            <a:chExt cx="11257200" cy="567811"/>
          </a:xfrm>
        </p:grpSpPr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DA1AF03D-A924-4D37-A789-D65F395F2106}"/>
                </a:ext>
              </a:extLst>
            </p:cNvPr>
            <p:cNvSpPr/>
            <p:nvPr/>
          </p:nvSpPr>
          <p:spPr>
            <a:xfrm>
              <a:off x="467939" y="5466637"/>
              <a:ext cx="5493954" cy="567811"/>
            </a:xfrm>
            <a:prstGeom prst="rect">
              <a:avLst/>
            </a:prstGeom>
            <a:solidFill>
              <a:schemeClr val="accent6"/>
            </a:solidFill>
          </p:spPr>
          <p:txBody>
            <a:bodyPr wrap="square" lIns="0" tIns="144000" rIns="0" bIns="144000"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1600 kWh = </a:t>
              </a:r>
              <a:r>
                <a:rPr lang="en-US" b="1" u="sng" dirty="0">
                  <a:solidFill>
                    <a:schemeClr val="bg1"/>
                  </a:solidFill>
                </a:rPr>
                <a:t>821 kg CO2 eq.*</a:t>
              </a:r>
            </a:p>
          </p:txBody>
        </p:sp>
        <p:sp>
          <p:nvSpPr>
            <p:cNvPr id="34" name="Rechteck 33">
              <a:extLst>
                <a:ext uri="{FF2B5EF4-FFF2-40B4-BE49-F238E27FC236}">
                  <a16:creationId xmlns:a16="http://schemas.microsoft.com/office/drawing/2014/main" id="{2B2F9D38-956F-13F0-93DB-417FEB81AF9B}"/>
                </a:ext>
              </a:extLst>
            </p:cNvPr>
            <p:cNvSpPr/>
            <p:nvPr/>
          </p:nvSpPr>
          <p:spPr>
            <a:xfrm>
              <a:off x="6224725" y="5466637"/>
              <a:ext cx="5500414" cy="567811"/>
            </a:xfrm>
            <a:prstGeom prst="rect">
              <a:avLst/>
            </a:prstGeom>
            <a:solidFill>
              <a:schemeClr val="accent6"/>
            </a:solidFill>
          </p:spPr>
          <p:txBody>
            <a:bodyPr wrap="square" lIns="0" tIns="144000" rIns="0" bIns="144000"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580.2 kWh = </a:t>
              </a:r>
              <a:r>
                <a:rPr lang="en-US" b="1" u="sng" dirty="0">
                  <a:solidFill>
                    <a:schemeClr val="bg1"/>
                  </a:solidFill>
                </a:rPr>
                <a:t>298 kg CO2 eq.* </a:t>
              </a:r>
            </a:p>
          </p:txBody>
        </p:sp>
      </p:grp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2DE55FAC-4D36-3FB7-15C2-0B8D9204A1BD}"/>
              </a:ext>
            </a:extLst>
          </p:cNvPr>
          <p:cNvGrpSpPr/>
          <p:nvPr/>
        </p:nvGrpSpPr>
        <p:grpSpPr>
          <a:xfrm>
            <a:off x="466835" y="3388638"/>
            <a:ext cx="11257200" cy="405656"/>
            <a:chOff x="466041" y="3388638"/>
            <a:chExt cx="11257200" cy="405656"/>
          </a:xfrm>
        </p:grpSpPr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6A9A16B9-E799-5164-F415-35AC6838B79B}"/>
                </a:ext>
              </a:extLst>
            </p:cNvPr>
            <p:cNvSpPr/>
            <p:nvPr/>
          </p:nvSpPr>
          <p:spPr>
            <a:xfrm>
              <a:off x="466041" y="3388638"/>
              <a:ext cx="5495852" cy="396753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6" name="Textfeld 25">
              <a:extLst>
                <a:ext uri="{FF2B5EF4-FFF2-40B4-BE49-F238E27FC236}">
                  <a16:creationId xmlns:a16="http://schemas.microsoft.com/office/drawing/2014/main" id="{D364D258-C2D2-77ED-322C-A1BBDA723237}"/>
                </a:ext>
              </a:extLst>
            </p:cNvPr>
            <p:cNvSpPr txBox="1"/>
            <p:nvPr/>
          </p:nvSpPr>
          <p:spPr>
            <a:xfrm>
              <a:off x="467939" y="3397541"/>
              <a:ext cx="5495852" cy="396753"/>
            </a:xfrm>
            <a:prstGeom prst="rect">
              <a:avLst/>
            </a:prstGeom>
            <a:noFill/>
          </p:spPr>
          <p:txBody>
            <a:bodyPr wrap="square" lIns="144000" tIns="144000" rIns="144000" bIns="144000" rtlCol="0" anchor="ctr">
              <a:noAutofit/>
            </a:bodyPr>
            <a:lstStyle/>
            <a:p>
              <a:r>
                <a:rPr lang="en-US" sz="1600" dirty="0"/>
                <a:t>Conveying work at 40,000 operating hours = 331.2 MJ</a:t>
              </a:r>
            </a:p>
          </p:txBody>
        </p:sp>
        <p:sp>
          <p:nvSpPr>
            <p:cNvPr id="38" name="Rechteck 37">
              <a:extLst>
                <a:ext uri="{FF2B5EF4-FFF2-40B4-BE49-F238E27FC236}">
                  <a16:creationId xmlns:a16="http://schemas.microsoft.com/office/drawing/2014/main" id="{73790A5F-0048-D589-ED03-11919F4B60F8}"/>
                </a:ext>
              </a:extLst>
            </p:cNvPr>
            <p:cNvSpPr/>
            <p:nvPr/>
          </p:nvSpPr>
          <p:spPr>
            <a:xfrm>
              <a:off x="6225491" y="3388638"/>
              <a:ext cx="5495852" cy="396753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9" name="Textfeld 38">
              <a:extLst>
                <a:ext uri="{FF2B5EF4-FFF2-40B4-BE49-F238E27FC236}">
                  <a16:creationId xmlns:a16="http://schemas.microsoft.com/office/drawing/2014/main" id="{6885BFCB-3778-5D0D-BAF9-5E5D71C0E792}"/>
                </a:ext>
              </a:extLst>
            </p:cNvPr>
            <p:cNvSpPr txBox="1"/>
            <p:nvPr/>
          </p:nvSpPr>
          <p:spPr>
            <a:xfrm>
              <a:off x="6227389" y="3397541"/>
              <a:ext cx="5495852" cy="396753"/>
            </a:xfrm>
            <a:prstGeom prst="rect">
              <a:avLst/>
            </a:prstGeom>
            <a:noFill/>
          </p:spPr>
          <p:txBody>
            <a:bodyPr wrap="square" lIns="144000" tIns="144000" rIns="144000" bIns="144000" rtlCol="0" anchor="ctr">
              <a:noAutofit/>
            </a:bodyPr>
            <a:lstStyle/>
            <a:p>
              <a:r>
                <a:rPr lang="en-US" sz="1600" dirty="0"/>
                <a:t>Conveying work at 40,000 operating hours = 388.8 MJ</a:t>
              </a:r>
            </a:p>
          </p:txBody>
        </p:sp>
      </p:grp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E5214318-06FA-167F-5B27-4876B38862DA}"/>
              </a:ext>
            </a:extLst>
          </p:cNvPr>
          <p:cNvGrpSpPr/>
          <p:nvPr/>
        </p:nvGrpSpPr>
        <p:grpSpPr>
          <a:xfrm>
            <a:off x="466835" y="3845838"/>
            <a:ext cx="11257200" cy="697486"/>
            <a:chOff x="466041" y="3845838"/>
            <a:chExt cx="11257200" cy="697486"/>
          </a:xfrm>
        </p:grpSpPr>
        <p:sp>
          <p:nvSpPr>
            <p:cNvPr id="30" name="Rechteck 29">
              <a:extLst>
                <a:ext uri="{FF2B5EF4-FFF2-40B4-BE49-F238E27FC236}">
                  <a16:creationId xmlns:a16="http://schemas.microsoft.com/office/drawing/2014/main" id="{0D1B2DDF-EC3E-F218-243B-846F6C8263BE}"/>
                </a:ext>
              </a:extLst>
            </p:cNvPr>
            <p:cNvSpPr/>
            <p:nvPr/>
          </p:nvSpPr>
          <p:spPr>
            <a:xfrm>
              <a:off x="466041" y="3845838"/>
              <a:ext cx="5495852" cy="68784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1" name="Textfeld 30">
              <a:extLst>
                <a:ext uri="{FF2B5EF4-FFF2-40B4-BE49-F238E27FC236}">
                  <a16:creationId xmlns:a16="http://schemas.microsoft.com/office/drawing/2014/main" id="{9ADAB1EA-BA51-3052-83C2-F625244A4AE3}"/>
                </a:ext>
              </a:extLst>
            </p:cNvPr>
            <p:cNvSpPr txBox="1"/>
            <p:nvPr/>
          </p:nvSpPr>
          <p:spPr>
            <a:xfrm>
              <a:off x="469837" y="3861524"/>
              <a:ext cx="5493954" cy="681800"/>
            </a:xfrm>
            <a:prstGeom prst="rect">
              <a:avLst/>
            </a:prstGeom>
            <a:noFill/>
          </p:spPr>
          <p:txBody>
            <a:bodyPr wrap="square" lIns="144000" tIns="144000" rIns="144000" bIns="144000" rtlCol="0" anchor="ctr">
              <a:noAutofit/>
            </a:bodyPr>
            <a:lstStyle/>
            <a:p>
              <a:r>
                <a:rPr lang="en-US" sz="1600" dirty="0"/>
                <a:t>With a power consumption of 40 W, </a:t>
              </a:r>
            </a:p>
            <a:p>
              <a:r>
                <a:rPr lang="en-US" sz="1600" dirty="0"/>
                <a:t>5760 MJ = 5760 MWs= </a:t>
              </a:r>
              <a:r>
                <a:rPr lang="en-US" sz="1600" b="1" u="sng" dirty="0"/>
                <a:t>1600 kWh </a:t>
              </a:r>
              <a:r>
                <a:rPr lang="en-US" sz="1600" dirty="0"/>
                <a:t>are required for this.</a:t>
              </a:r>
            </a:p>
          </p:txBody>
        </p:sp>
        <p:sp>
          <p:nvSpPr>
            <p:cNvPr id="40" name="Rechteck 39">
              <a:extLst>
                <a:ext uri="{FF2B5EF4-FFF2-40B4-BE49-F238E27FC236}">
                  <a16:creationId xmlns:a16="http://schemas.microsoft.com/office/drawing/2014/main" id="{B7C66B9C-56FA-59CD-5048-79F4F20A6BED}"/>
                </a:ext>
              </a:extLst>
            </p:cNvPr>
            <p:cNvSpPr/>
            <p:nvPr/>
          </p:nvSpPr>
          <p:spPr>
            <a:xfrm>
              <a:off x="6225491" y="3845838"/>
              <a:ext cx="5495852" cy="68784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1" name="Textfeld 40">
              <a:extLst>
                <a:ext uri="{FF2B5EF4-FFF2-40B4-BE49-F238E27FC236}">
                  <a16:creationId xmlns:a16="http://schemas.microsoft.com/office/drawing/2014/main" id="{11661015-3CE5-5290-40F9-76E9302505D9}"/>
                </a:ext>
              </a:extLst>
            </p:cNvPr>
            <p:cNvSpPr txBox="1"/>
            <p:nvPr/>
          </p:nvSpPr>
          <p:spPr>
            <a:xfrm>
              <a:off x="6229287" y="3861524"/>
              <a:ext cx="5493954" cy="681800"/>
            </a:xfrm>
            <a:prstGeom prst="rect">
              <a:avLst/>
            </a:prstGeom>
            <a:noFill/>
          </p:spPr>
          <p:txBody>
            <a:bodyPr wrap="square" lIns="144000" tIns="144000" rIns="144000" bIns="144000" rtlCol="0" anchor="ctr">
              <a:noAutofit/>
            </a:bodyPr>
            <a:lstStyle/>
            <a:p>
              <a:r>
                <a:rPr lang="en-US" sz="1600" dirty="0"/>
                <a:t>With a power consumption of 17 W, </a:t>
              </a:r>
            </a:p>
            <a:p>
              <a:r>
                <a:rPr lang="en-US" sz="1600" dirty="0"/>
                <a:t>2448 MJ = 2448 MWs= </a:t>
              </a:r>
              <a:r>
                <a:rPr lang="en-US" sz="1600" b="1" u="sng" dirty="0"/>
                <a:t>680 kWh </a:t>
              </a:r>
              <a:r>
                <a:rPr lang="en-US" sz="1600" dirty="0"/>
                <a:t>are required for this.</a:t>
              </a:r>
            </a:p>
          </p:txBody>
        </p:sp>
      </p:grp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529DCAAE-0C4E-FBAF-956C-27FCF6003A83}"/>
              </a:ext>
            </a:extLst>
          </p:cNvPr>
          <p:cNvGrpSpPr/>
          <p:nvPr/>
        </p:nvGrpSpPr>
        <p:grpSpPr>
          <a:xfrm>
            <a:off x="466835" y="2194839"/>
            <a:ext cx="11255302" cy="1135473"/>
            <a:chOff x="466041" y="2194838"/>
            <a:chExt cx="11255302" cy="1135473"/>
          </a:xfrm>
        </p:grpSpPr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42A0D583-29AD-E2D0-8ACD-EFA8B0C39BAE}"/>
                </a:ext>
              </a:extLst>
            </p:cNvPr>
            <p:cNvSpPr/>
            <p:nvPr/>
          </p:nvSpPr>
          <p:spPr>
            <a:xfrm>
              <a:off x="466041" y="2194838"/>
              <a:ext cx="5495852" cy="1135473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5" name="Rechteck 34">
              <a:extLst>
                <a:ext uri="{FF2B5EF4-FFF2-40B4-BE49-F238E27FC236}">
                  <a16:creationId xmlns:a16="http://schemas.microsoft.com/office/drawing/2014/main" id="{C0BBC35E-FA22-A5CD-AD39-42A48D06ED02}"/>
                </a:ext>
              </a:extLst>
            </p:cNvPr>
            <p:cNvSpPr/>
            <p:nvPr/>
          </p:nvSpPr>
          <p:spPr>
            <a:xfrm>
              <a:off x="6225491" y="2194838"/>
              <a:ext cx="5495852" cy="1135473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4" name="Gruppieren 3">
              <a:extLst>
                <a:ext uri="{FF2B5EF4-FFF2-40B4-BE49-F238E27FC236}">
                  <a16:creationId xmlns:a16="http://schemas.microsoft.com/office/drawing/2014/main" id="{362E0384-26E5-D469-6436-BBAC9C55D86A}"/>
                </a:ext>
              </a:extLst>
            </p:cNvPr>
            <p:cNvGrpSpPr/>
            <p:nvPr/>
          </p:nvGrpSpPr>
          <p:grpSpPr>
            <a:xfrm>
              <a:off x="1045630" y="2252758"/>
              <a:ext cx="10257157" cy="432106"/>
              <a:chOff x="1045630" y="2252758"/>
              <a:chExt cx="10257157" cy="432106"/>
            </a:xfrm>
          </p:grpSpPr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23" name="Textfeld 22">
                    <a:extLst>
                      <a:ext uri="{FF2B5EF4-FFF2-40B4-BE49-F238E27FC236}">
                        <a16:creationId xmlns:a16="http://schemas.microsoft.com/office/drawing/2014/main" id="{C94AC284-A2F1-0023-C161-65CCB7EC173A}"/>
                      </a:ext>
                    </a:extLst>
                  </p:cNvPr>
                  <p:cNvSpPr txBox="1"/>
                  <p:nvPr/>
                </p:nvSpPr>
                <p:spPr>
                  <a:xfrm>
                    <a:off x="1045630" y="2252758"/>
                    <a:ext cx="4475456" cy="432106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14:m>
                      <m:oMath xmlns:m="http://schemas.openxmlformats.org/officeDocument/2006/math">
                        <m:r>
                          <a:rPr lang="en-US" i="1">
                            <a:latin typeface="Cambria Math" panose="02040503050406030204" pitchFamily="18" charset="0"/>
                          </a:rPr>
                          <m:t>𝑊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=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𝑝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∗</m:t>
                        </m:r>
                        <m:f>
                          <m:f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𝑉</m:t>
                            </m:r>
                          </m:num>
                          <m:den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𝑡</m:t>
                            </m:r>
                          </m:den>
                        </m:f>
                        <m:r>
                          <a:rPr lang="en-US" i="1">
                            <a:latin typeface="Cambria Math" panose="02040503050406030204" pitchFamily="18" charset="0"/>
                          </a:rPr>
                          <m:t>∗</m:t>
                        </m:r>
                        <m:f>
                          <m:f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num>
                          <m:den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3600</m:t>
                            </m:r>
                          </m:den>
                        </m:f>
                        <m:r>
                          <a:rPr lang="en-US">
                            <a:latin typeface="Cambria Math" panose="02040503050406030204" pitchFamily="18" charset="0"/>
                          </a:rPr>
                          <m:t>=70</m:t>
                        </m:r>
                        <m:r>
                          <m:rPr>
                            <m:sty m:val="p"/>
                          </m:rPr>
                          <a:rPr lang="en-US">
                            <a:latin typeface="Cambria Math" panose="02040503050406030204" pitchFamily="18" charset="0"/>
                          </a:rPr>
                          <m:t>Pa</m:t>
                        </m:r>
                        <m:r>
                          <a:rPr lang="en-US">
                            <a:latin typeface="Cambria Math" panose="02040503050406030204" pitchFamily="18" charset="0"/>
                          </a:rPr>
                          <m:t>∗</m:t>
                        </m:r>
                        <m:f>
                          <m:f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>
                                <a:latin typeface="Cambria Math" panose="02040503050406030204" pitchFamily="18" charset="0"/>
                              </a:rPr>
                              <m:t>120</m:t>
                            </m:r>
                            <m:sSup>
                              <m:s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m:rPr>
                                    <m:sty m:val="p"/>
                                  </m:rPr>
                                  <a:rPr lang="en-US">
                                    <a:latin typeface="Cambria Math" panose="02040503050406030204" pitchFamily="18" charset="0"/>
                                  </a:rPr>
                                  <m:t>m</m:t>
                                </m:r>
                              </m:e>
                              <m:sup>
                                <m:r>
                                  <a:rPr lang="en-US">
                                    <a:latin typeface="Cambria Math" panose="02040503050406030204" pitchFamily="18" charset="0"/>
                                  </a:rPr>
                                  <m:t>3</m:t>
                                </m:r>
                              </m:sup>
                            </m:sSup>
                          </m:num>
                          <m:den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</a:rPr>
                              <m:t>h</m:t>
                            </m:r>
                          </m:den>
                        </m:f>
                        <m:r>
                          <a:rPr lang="en-US">
                            <a:latin typeface="Cambria Math" panose="02040503050406030204" pitchFamily="18" charset="0"/>
                          </a:rPr>
                          <m:t>∗</m:t>
                        </m:r>
                        <m:f>
                          <m:f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>
                                <a:latin typeface="Cambria Math" panose="02040503050406030204" pitchFamily="18" charset="0"/>
                              </a:rPr>
                              <m:t>1</m:t>
                            </m:r>
                          </m:num>
                          <m:den>
                            <m:r>
                              <a:rPr lang="en-US">
                                <a:latin typeface="Cambria Math" panose="02040503050406030204" pitchFamily="18" charset="0"/>
                              </a:rPr>
                              <m:t>3600</m:t>
                            </m:r>
                          </m:den>
                        </m:f>
                      </m:oMath>
                    </a14:m>
                    <a:r>
                      <a:rPr lang="en-US" dirty="0"/>
                      <a:t> =2.3 W</a:t>
                    </a:r>
                  </a:p>
                </p:txBody>
              </p:sp>
            </mc:Choice>
            <mc:Fallback xmlns="">
              <p:sp>
                <p:nvSpPr>
                  <p:cNvPr id="23" name="Textfeld 22">
                    <a:extLst>
                      <a:ext uri="{FF2B5EF4-FFF2-40B4-BE49-F238E27FC236}">
                        <a16:creationId xmlns:a16="http://schemas.microsoft.com/office/drawing/2014/main" id="{C94AC284-A2F1-0023-C161-65CCB7EC173A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1045630" y="2252758"/>
                    <a:ext cx="4475456" cy="432106"/>
                  </a:xfrm>
                  <a:prstGeom prst="rect">
                    <a:avLst/>
                  </a:prstGeom>
                  <a:blipFill>
                    <a:blip r:embed="rId2"/>
                    <a:stretch>
                      <a:fillRect r="-2180" b="-20000"/>
                    </a:stretch>
                  </a:blipFill>
                </p:spPr>
                <p:txBody>
                  <a:bodyPr/>
                  <a:lstStyle/>
                  <a:p>
                    <a:r>
                      <a:rPr lang="de-DE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42" name="Textfeld 41">
                    <a:extLst>
                      <a:ext uri="{FF2B5EF4-FFF2-40B4-BE49-F238E27FC236}">
                        <a16:creationId xmlns:a16="http://schemas.microsoft.com/office/drawing/2014/main" id="{C2C29E82-82A4-EDB1-4580-64DF598A233A}"/>
                      </a:ext>
                    </a:extLst>
                  </p:cNvPr>
                  <p:cNvSpPr txBox="1"/>
                  <p:nvPr/>
                </p:nvSpPr>
                <p:spPr>
                  <a:xfrm>
                    <a:off x="6827331" y="2252758"/>
                    <a:ext cx="4475456" cy="432106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14:m>
                      <m:oMath xmlns:m="http://schemas.openxmlformats.org/officeDocument/2006/math">
                        <m:r>
                          <a:rPr lang="en-US" i="1">
                            <a:latin typeface="Cambria Math" panose="02040503050406030204" pitchFamily="18" charset="0"/>
                          </a:rPr>
                          <m:t>𝑊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=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𝑝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∗</m:t>
                        </m:r>
                        <m:f>
                          <m:f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𝑉</m:t>
                            </m:r>
                          </m:num>
                          <m:den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𝑡</m:t>
                            </m:r>
                          </m:den>
                        </m:f>
                        <m:r>
                          <a:rPr lang="en-US" i="1">
                            <a:latin typeface="Cambria Math" panose="02040503050406030204" pitchFamily="18" charset="0"/>
                          </a:rPr>
                          <m:t>∗</m:t>
                        </m:r>
                        <m:f>
                          <m:f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num>
                          <m:den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3600</m:t>
                            </m:r>
                          </m:den>
                        </m:f>
                        <m:r>
                          <a:rPr lang="en-US">
                            <a:latin typeface="Cambria Math" panose="02040503050406030204" pitchFamily="18" charset="0"/>
                          </a:rPr>
                          <m:t>=78</m:t>
                        </m:r>
                        <m:r>
                          <m:rPr>
                            <m:sty m:val="p"/>
                          </m:rPr>
                          <a:rPr lang="en-US">
                            <a:latin typeface="Cambria Math" panose="02040503050406030204" pitchFamily="18" charset="0"/>
                          </a:rPr>
                          <m:t>Pa</m:t>
                        </m:r>
                        <m:r>
                          <a:rPr lang="en-US">
                            <a:latin typeface="Cambria Math" panose="02040503050406030204" pitchFamily="18" charset="0"/>
                          </a:rPr>
                          <m:t>∗</m:t>
                        </m:r>
                        <m:f>
                          <m:f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>
                                <a:latin typeface="Cambria Math" panose="02040503050406030204" pitchFamily="18" charset="0"/>
                              </a:rPr>
                              <m:t>120</m:t>
                            </m:r>
                            <m:sSup>
                              <m:s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m:rPr>
                                    <m:sty m:val="p"/>
                                  </m:rPr>
                                  <a:rPr lang="en-US">
                                    <a:latin typeface="Cambria Math" panose="02040503050406030204" pitchFamily="18" charset="0"/>
                                  </a:rPr>
                                  <m:t>m</m:t>
                                </m:r>
                              </m:e>
                              <m:sup>
                                <m:r>
                                  <a:rPr lang="en-US">
                                    <a:latin typeface="Cambria Math" panose="02040503050406030204" pitchFamily="18" charset="0"/>
                                  </a:rPr>
                                  <m:t>3</m:t>
                                </m:r>
                              </m:sup>
                            </m:sSup>
                          </m:num>
                          <m:den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</a:rPr>
                              <m:t>h</m:t>
                            </m:r>
                          </m:den>
                        </m:f>
                        <m:r>
                          <a:rPr lang="en-US">
                            <a:latin typeface="Cambria Math" panose="02040503050406030204" pitchFamily="18" charset="0"/>
                          </a:rPr>
                          <m:t>∗</m:t>
                        </m:r>
                        <m:f>
                          <m:f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>
                                <a:latin typeface="Cambria Math" panose="02040503050406030204" pitchFamily="18" charset="0"/>
                              </a:rPr>
                              <m:t>1</m:t>
                            </m:r>
                          </m:num>
                          <m:den>
                            <m:r>
                              <a:rPr lang="en-US">
                                <a:latin typeface="Cambria Math" panose="02040503050406030204" pitchFamily="18" charset="0"/>
                              </a:rPr>
                              <m:t>3600</m:t>
                            </m:r>
                          </m:den>
                        </m:f>
                      </m:oMath>
                    </a14:m>
                    <a:r>
                      <a:rPr lang="en-US" dirty="0"/>
                      <a:t> =2.6 W</a:t>
                    </a:r>
                  </a:p>
                </p:txBody>
              </p:sp>
            </mc:Choice>
            <mc:Fallback xmlns="">
              <p:sp>
                <p:nvSpPr>
                  <p:cNvPr id="42" name="Textfeld 41">
                    <a:extLst>
                      <a:ext uri="{FF2B5EF4-FFF2-40B4-BE49-F238E27FC236}">
                        <a16:creationId xmlns:a16="http://schemas.microsoft.com/office/drawing/2014/main" id="{C2C29E82-82A4-EDB1-4580-64DF598A233A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6827331" y="2252758"/>
                    <a:ext cx="4475456" cy="432106"/>
                  </a:xfrm>
                  <a:prstGeom prst="rect">
                    <a:avLst/>
                  </a:prstGeom>
                  <a:blipFill>
                    <a:blip r:embed="rId3"/>
                    <a:stretch>
                      <a:fillRect r="-2180" b="-20000"/>
                    </a:stretch>
                  </a:blipFill>
                </p:spPr>
                <p:txBody>
                  <a:bodyPr/>
                  <a:lstStyle/>
                  <a:p>
                    <a:r>
                      <a:rPr lang="de-DE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</p:grp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86EC0AB1-BD8F-EF49-D76A-CC0E026D0C28}"/>
              </a:ext>
            </a:extLst>
          </p:cNvPr>
          <p:cNvGrpSpPr/>
          <p:nvPr/>
        </p:nvGrpSpPr>
        <p:grpSpPr>
          <a:xfrm>
            <a:off x="1655673" y="2708209"/>
            <a:ext cx="8558303" cy="520399"/>
            <a:chOff x="1654878" y="2708208"/>
            <a:chExt cx="8558303" cy="520399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4" name="Textfeld 23">
                  <a:extLst>
                    <a:ext uri="{FF2B5EF4-FFF2-40B4-BE49-F238E27FC236}">
                      <a16:creationId xmlns:a16="http://schemas.microsoft.com/office/drawing/2014/main" id="{44DF41D1-EFE8-AE7D-086A-6710933390DA}"/>
                    </a:ext>
                  </a:extLst>
                </p:cNvPr>
                <p:cNvSpPr txBox="1"/>
                <p:nvPr/>
              </p:nvSpPr>
              <p:spPr>
                <a:xfrm>
                  <a:off x="1654878" y="2708208"/>
                  <a:ext cx="2712474" cy="520399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de-DE" i="1">
                            <a:latin typeface="Cambria Math" panose="02040503050406030204" pitchFamily="18" charset="0"/>
                          </a:rPr>
                          <m:t>𝐸𝑓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𝑓𝑖𝑐𝑖𝑒𝑛𝑐𝑦</m:t>
                        </m:r>
                        <m:f>
                          <m:f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2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.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3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𝑊</m:t>
                            </m:r>
                          </m:num>
                          <m:den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40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𝑊</m:t>
                            </m:r>
                          </m:den>
                        </m:f>
                        <m:r>
                          <a:rPr lang="en-US" i="1">
                            <a:latin typeface="Cambria Math" panose="02040503050406030204" pitchFamily="18" charset="0"/>
                          </a:rPr>
                          <m:t>=5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.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75%</m:t>
                        </m:r>
                      </m:oMath>
                    </m:oMathPara>
                  </a14:m>
                  <a:endParaRPr lang="en-US" dirty="0"/>
                </a:p>
              </p:txBody>
            </p:sp>
          </mc:Choice>
          <mc:Fallback xmlns="">
            <p:sp>
              <p:nvSpPr>
                <p:cNvPr id="24" name="Textfeld 23">
                  <a:extLst>
                    <a:ext uri="{FF2B5EF4-FFF2-40B4-BE49-F238E27FC236}">
                      <a16:creationId xmlns:a16="http://schemas.microsoft.com/office/drawing/2014/main" id="{44DF41D1-EFE8-AE7D-086A-6710933390DA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654878" y="2708208"/>
                  <a:ext cx="2712474" cy="520399"/>
                </a:xfrm>
                <a:prstGeom prst="rect">
                  <a:avLst/>
                </a:prstGeom>
                <a:blipFill>
                  <a:blip r:embed="rId4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3" name="Textfeld 42">
                  <a:extLst>
                    <a:ext uri="{FF2B5EF4-FFF2-40B4-BE49-F238E27FC236}">
                      <a16:creationId xmlns:a16="http://schemas.microsoft.com/office/drawing/2014/main" id="{8558A93C-2353-7571-DAAF-50644EB89F7B}"/>
                    </a:ext>
                  </a:extLst>
                </p:cNvPr>
                <p:cNvSpPr txBox="1"/>
                <p:nvPr/>
              </p:nvSpPr>
              <p:spPr>
                <a:xfrm>
                  <a:off x="7372468" y="2708208"/>
                  <a:ext cx="2840713" cy="520079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de-DE" i="1">
                            <a:latin typeface="Cambria Math" panose="02040503050406030204" pitchFamily="18" charset="0"/>
                          </a:rPr>
                          <m:t>𝐸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𝑓𝑓𝑖𝑐𝑖𝑒𝑛𝑐𝑦</m:t>
                        </m:r>
                        <m:f>
                          <m:f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2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.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6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𝑊</m:t>
                            </m:r>
                          </m:num>
                          <m:den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17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𝑊</m:t>
                            </m:r>
                          </m:den>
                        </m:f>
                        <m:r>
                          <a:rPr lang="en-US" i="1">
                            <a:latin typeface="Cambria Math" panose="02040503050406030204" pitchFamily="18" charset="0"/>
                          </a:rPr>
                          <m:t>=15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.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29%</m:t>
                        </m:r>
                      </m:oMath>
                    </m:oMathPara>
                  </a14:m>
                  <a:endParaRPr lang="en-US" dirty="0"/>
                </a:p>
              </p:txBody>
            </p:sp>
          </mc:Choice>
          <mc:Fallback xmlns="">
            <p:sp>
              <p:nvSpPr>
                <p:cNvPr id="43" name="Textfeld 42">
                  <a:extLst>
                    <a:ext uri="{FF2B5EF4-FFF2-40B4-BE49-F238E27FC236}">
                      <a16:creationId xmlns:a16="http://schemas.microsoft.com/office/drawing/2014/main" id="{8558A93C-2353-7571-DAAF-50644EB89F7B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372468" y="2708208"/>
                  <a:ext cx="2840713" cy="520079"/>
                </a:xfrm>
                <a:prstGeom prst="rect">
                  <a:avLst/>
                </a:prstGeom>
                <a:blipFill>
                  <a:blip r:embed="rId5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58C9B0F4-6D2A-F29F-EFF0-3D4B8D0A40BC}"/>
              </a:ext>
            </a:extLst>
          </p:cNvPr>
          <p:cNvGrpSpPr/>
          <p:nvPr/>
        </p:nvGrpSpPr>
        <p:grpSpPr>
          <a:xfrm>
            <a:off x="466835" y="4595139"/>
            <a:ext cx="11308162" cy="805123"/>
            <a:chOff x="466041" y="4595138"/>
            <a:chExt cx="11308162" cy="805123"/>
          </a:xfrm>
        </p:grpSpPr>
        <p:sp>
          <p:nvSpPr>
            <p:cNvPr id="45" name="Rechteck 44">
              <a:extLst>
                <a:ext uri="{FF2B5EF4-FFF2-40B4-BE49-F238E27FC236}">
                  <a16:creationId xmlns:a16="http://schemas.microsoft.com/office/drawing/2014/main" id="{49C6E40D-3E21-1CDF-1D81-70FFBCF7CF8C}"/>
                </a:ext>
              </a:extLst>
            </p:cNvPr>
            <p:cNvSpPr/>
            <p:nvPr/>
          </p:nvSpPr>
          <p:spPr>
            <a:xfrm>
              <a:off x="466041" y="4595138"/>
              <a:ext cx="11255302" cy="805123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6" name="Textfeld 45">
              <a:extLst>
                <a:ext uri="{FF2B5EF4-FFF2-40B4-BE49-F238E27FC236}">
                  <a16:creationId xmlns:a16="http://schemas.microsoft.com/office/drawing/2014/main" id="{40BA3BB8-3CF2-BD44-6751-69556B029D31}"/>
                </a:ext>
              </a:extLst>
            </p:cNvPr>
            <p:cNvSpPr txBox="1"/>
            <p:nvPr/>
          </p:nvSpPr>
          <p:spPr>
            <a:xfrm>
              <a:off x="467939" y="4610554"/>
              <a:ext cx="11306264" cy="788855"/>
            </a:xfrm>
            <a:prstGeom prst="rect">
              <a:avLst/>
            </a:prstGeom>
            <a:noFill/>
          </p:spPr>
          <p:txBody>
            <a:bodyPr wrap="square" lIns="144000" tIns="144000" rIns="144000" bIns="144000" rtlCol="0">
              <a:noAutofit/>
            </a:bodyPr>
            <a:lstStyle/>
            <a:p>
              <a:pPr algn="ctr"/>
              <a:r>
                <a:rPr lang="en-US" sz="1600" i="1" dirty="0"/>
                <a:t>However, K2S’ conveying work of 331.2 MJ is achieved after 34126.73 operating hours with the K3G. </a:t>
              </a:r>
            </a:p>
            <a:p>
              <a:pPr algn="ctr"/>
              <a:r>
                <a:rPr lang="en-US" sz="1600" i="1" dirty="0"/>
                <a:t>This means that with a power consumption of 17 W, 2088.5 MJ = 2088.5 MWs = </a:t>
              </a:r>
              <a:r>
                <a:rPr lang="en-US" sz="1600" b="1" i="1" u="sng" dirty="0"/>
                <a:t>580.2 kWh </a:t>
              </a:r>
              <a:r>
                <a:rPr lang="en-US" sz="1600" i="1" dirty="0"/>
                <a:t>are required.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82736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hteck 17">
            <a:extLst>
              <a:ext uri="{FF2B5EF4-FFF2-40B4-BE49-F238E27FC236}">
                <a16:creationId xmlns:a16="http://schemas.microsoft.com/office/drawing/2014/main" id="{D7F7BCCE-F3BB-965D-E9A6-1FB949FA8994}"/>
              </a:ext>
            </a:extLst>
          </p:cNvPr>
          <p:cNvSpPr/>
          <p:nvPr/>
        </p:nvSpPr>
        <p:spPr>
          <a:xfrm>
            <a:off x="466835" y="1716906"/>
            <a:ext cx="5497750" cy="4779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16E119DB-26C0-482F-B7DD-D700DBFA483A}"/>
              </a:ext>
            </a:extLst>
          </p:cNvPr>
          <p:cNvSpPr txBox="1"/>
          <p:nvPr/>
        </p:nvSpPr>
        <p:spPr>
          <a:xfrm>
            <a:off x="470631" y="1716906"/>
            <a:ext cx="549585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</a:rPr>
              <a:t>K2S165</a:t>
            </a: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3D5F2618-2BA3-4308-B4A6-A0B1B79B34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rbon footprint – </a:t>
            </a:r>
            <a:r>
              <a:rPr lang="en-US" b="0" dirty="0"/>
              <a:t>AC diagonal module vs. EC diagonal modul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2123A24-AC72-4229-B98A-91AF96C1BB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Energy efficiency</a:t>
            </a:r>
          </a:p>
        </p:txBody>
      </p:sp>
      <p:sp>
        <p:nvSpPr>
          <p:cNvPr id="29" name="Fußzeilenplatzhalter 1">
            <a:extLst>
              <a:ext uri="{FF2B5EF4-FFF2-40B4-BE49-F238E27FC236}">
                <a16:creationId xmlns:a16="http://schemas.microsoft.com/office/drawing/2014/main" id="{B151CA76-C98A-B818-9A40-BE5F3496CE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18249" y="6591300"/>
            <a:ext cx="8998828" cy="2667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de-DE" sz="900" kern="1200">
                <a:solidFill>
                  <a:prstClr val="black"/>
                </a:solidFill>
                <a:latin typeface="+mn-lt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defTabSz="91430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/>
              <a:t>Die neue Generation Diagonalmodule für Schaltschrank-Filterlüfter</a:t>
            </a:r>
            <a:endParaRPr lang="en-US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785EC25-7990-4F95-8609-0131E4D128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95" y="6591300"/>
            <a:ext cx="469837" cy="2667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de-DE" sz="900" kern="1200">
                <a:solidFill>
                  <a:prstClr val="black"/>
                </a:solidFill>
                <a:latin typeface="+mn-lt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defTabSz="914309" fontAlgn="auto">
              <a:spcBef>
                <a:spcPts val="0"/>
              </a:spcBef>
              <a:spcAft>
                <a:spcPts val="0"/>
              </a:spcAft>
              <a:defRPr/>
            </a:pPr>
            <a:fld id="{5AFF31D0-8A17-47C0-8D09-D01303A85034}" type="slidenum">
              <a:rPr lang="cs-CZ" smtClean="0"/>
              <a:pPr defTabSz="914309" fontAlgn="auto">
                <a:spcBef>
                  <a:spcPts val="0"/>
                </a:spcBef>
                <a:spcAft>
                  <a:spcPts val="0"/>
                </a:spcAft>
                <a:defRPr/>
              </a:pPr>
              <a:t>24</a:t>
            </a:fld>
            <a:endParaRPr lang="en-US" dirty="0"/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0509E919-E4DD-4DE0-ADAF-770CD7261FC3}"/>
              </a:ext>
            </a:extLst>
          </p:cNvPr>
          <p:cNvSpPr txBox="1"/>
          <p:nvPr/>
        </p:nvSpPr>
        <p:spPr>
          <a:xfrm>
            <a:off x="470631" y="4344176"/>
            <a:ext cx="549128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i="1" dirty="0"/>
              <a:t>* Values from the GaBi database with EF 3.0; energy mix from Germany 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A8EDB39-D23F-9844-C474-26F079D41CD1}"/>
              </a:ext>
            </a:extLst>
          </p:cNvPr>
          <p:cNvSpPr/>
          <p:nvPr/>
        </p:nvSpPr>
        <p:spPr>
          <a:xfrm>
            <a:off x="6226285" y="1716906"/>
            <a:ext cx="5497750" cy="4779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CF450133-C68C-D1A0-A9DF-1B35857F85DB}"/>
              </a:ext>
            </a:extLst>
          </p:cNvPr>
          <p:cNvSpPr txBox="1"/>
          <p:nvPr/>
        </p:nvSpPr>
        <p:spPr>
          <a:xfrm>
            <a:off x="6230081" y="1716906"/>
            <a:ext cx="549585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</a:rPr>
              <a:t>K3G165</a:t>
            </a:r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0FF5ECE4-075A-1027-CA0E-C1D485BAF5D7}"/>
              </a:ext>
            </a:extLst>
          </p:cNvPr>
          <p:cNvGrpSpPr/>
          <p:nvPr/>
        </p:nvGrpSpPr>
        <p:grpSpPr>
          <a:xfrm>
            <a:off x="466835" y="2852378"/>
            <a:ext cx="11255302" cy="853802"/>
            <a:chOff x="466041" y="2852378"/>
            <a:chExt cx="11255302" cy="853802"/>
          </a:xfrm>
        </p:grpSpPr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8D221C95-AAE4-7966-2E87-36C088137457}"/>
                </a:ext>
              </a:extLst>
            </p:cNvPr>
            <p:cNvSpPr/>
            <p:nvPr/>
          </p:nvSpPr>
          <p:spPr>
            <a:xfrm>
              <a:off x="466041" y="2861370"/>
              <a:ext cx="5495852" cy="84481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62406550-D852-45C2-455A-168862470CB1}"/>
                </a:ext>
              </a:extLst>
            </p:cNvPr>
            <p:cNvSpPr/>
            <p:nvPr/>
          </p:nvSpPr>
          <p:spPr>
            <a:xfrm>
              <a:off x="6225491" y="2861370"/>
              <a:ext cx="5495852" cy="84481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4" name="Textfeld 3">
              <a:extLst>
                <a:ext uri="{FF2B5EF4-FFF2-40B4-BE49-F238E27FC236}">
                  <a16:creationId xmlns:a16="http://schemas.microsoft.com/office/drawing/2014/main" id="{C82F36DF-453E-5A62-16CB-CAB764CE8A31}"/>
                </a:ext>
              </a:extLst>
            </p:cNvPr>
            <p:cNvSpPr txBox="1"/>
            <p:nvPr/>
          </p:nvSpPr>
          <p:spPr>
            <a:xfrm>
              <a:off x="469837" y="2852378"/>
              <a:ext cx="5495852" cy="853802"/>
            </a:xfrm>
            <a:prstGeom prst="rect">
              <a:avLst/>
            </a:prstGeom>
            <a:noFill/>
          </p:spPr>
          <p:txBody>
            <a:bodyPr wrap="square" lIns="144000" tIns="144000" rIns="144000" bIns="144000" rtlCol="0" anchor="ctr">
              <a:noAutofit/>
            </a:bodyPr>
            <a:lstStyle/>
            <a:p>
              <a:r>
                <a:rPr lang="en-US" dirty="0"/>
                <a:t>Operating costs at 30 cents/kWh</a:t>
              </a:r>
            </a:p>
            <a:p>
              <a:r>
                <a:rPr lang="en-US" dirty="0"/>
                <a:t>1600 · €0.3 = </a:t>
              </a:r>
              <a:r>
                <a:rPr lang="en-US" b="1" u="sng" dirty="0"/>
                <a:t>€480</a:t>
              </a:r>
            </a:p>
          </p:txBody>
        </p:sp>
        <p:sp>
          <p:nvSpPr>
            <p:cNvPr id="5" name="Textfeld 4">
              <a:extLst>
                <a:ext uri="{FF2B5EF4-FFF2-40B4-BE49-F238E27FC236}">
                  <a16:creationId xmlns:a16="http://schemas.microsoft.com/office/drawing/2014/main" id="{D3CEDB56-16D1-3B08-B84F-A7C24DF75C9F}"/>
                </a:ext>
              </a:extLst>
            </p:cNvPr>
            <p:cNvSpPr txBox="1"/>
            <p:nvPr/>
          </p:nvSpPr>
          <p:spPr>
            <a:xfrm>
              <a:off x="6224726" y="2852378"/>
              <a:ext cx="4509536" cy="853802"/>
            </a:xfrm>
            <a:prstGeom prst="rect">
              <a:avLst/>
            </a:prstGeom>
            <a:noFill/>
          </p:spPr>
          <p:txBody>
            <a:bodyPr wrap="square" lIns="144000" tIns="144000" rIns="144000" bIns="144000" rtlCol="0" anchor="ctr">
              <a:noAutofit/>
            </a:bodyPr>
            <a:lstStyle/>
            <a:p>
              <a:r>
                <a:rPr lang="en-US" dirty="0"/>
                <a:t>Operating costs at 30 cents/kWh</a:t>
              </a:r>
            </a:p>
            <a:p>
              <a:r>
                <a:rPr lang="en-US" dirty="0"/>
                <a:t>580 · €0.3 = </a:t>
              </a:r>
              <a:r>
                <a:rPr lang="en-US" b="1" u="sng" dirty="0"/>
                <a:t>€174</a:t>
              </a:r>
            </a:p>
          </p:txBody>
        </p:sp>
      </p:grp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BCB31902-069A-10CF-31FA-4A6B899B6451}"/>
              </a:ext>
            </a:extLst>
          </p:cNvPr>
          <p:cNvGrpSpPr/>
          <p:nvPr/>
        </p:nvGrpSpPr>
        <p:grpSpPr>
          <a:xfrm>
            <a:off x="466835" y="2265024"/>
            <a:ext cx="11255302" cy="517171"/>
            <a:chOff x="466041" y="2265023"/>
            <a:chExt cx="11255302" cy="517171"/>
          </a:xfrm>
        </p:grpSpPr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42A0D583-29AD-E2D0-8ACD-EFA8B0C39BAE}"/>
                </a:ext>
              </a:extLst>
            </p:cNvPr>
            <p:cNvSpPr/>
            <p:nvPr/>
          </p:nvSpPr>
          <p:spPr>
            <a:xfrm>
              <a:off x="466041" y="2265023"/>
              <a:ext cx="5495852" cy="51717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35" name="Rechteck 34">
              <a:extLst>
                <a:ext uri="{FF2B5EF4-FFF2-40B4-BE49-F238E27FC236}">
                  <a16:creationId xmlns:a16="http://schemas.microsoft.com/office/drawing/2014/main" id="{C0BBC35E-FA22-A5CD-AD39-42A48D06ED02}"/>
                </a:ext>
              </a:extLst>
            </p:cNvPr>
            <p:cNvSpPr/>
            <p:nvPr/>
          </p:nvSpPr>
          <p:spPr>
            <a:xfrm>
              <a:off x="6225491" y="2265023"/>
              <a:ext cx="5495852" cy="51717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517EB426-F081-EB87-B5D2-122B0E6295B5}"/>
                </a:ext>
              </a:extLst>
            </p:cNvPr>
            <p:cNvSpPr/>
            <p:nvPr/>
          </p:nvSpPr>
          <p:spPr>
            <a:xfrm>
              <a:off x="469837" y="2265024"/>
              <a:ext cx="4760716" cy="517170"/>
            </a:xfrm>
            <a:prstGeom prst="rect">
              <a:avLst/>
            </a:prstGeom>
          </p:spPr>
          <p:txBody>
            <a:bodyPr wrap="square" lIns="144000" tIns="144000" rIns="144000" bIns="144000" anchor="ctr">
              <a:noAutofit/>
            </a:bodyPr>
            <a:lstStyle/>
            <a:p>
              <a:r>
                <a:rPr lang="en-US" b="1" dirty="0"/>
                <a:t>1600 kWh </a:t>
              </a:r>
              <a:r>
                <a:rPr lang="en-US" dirty="0"/>
                <a:t>(40,000 operating hours) </a:t>
              </a:r>
            </a:p>
          </p:txBody>
        </p:sp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357212BE-9A6F-D168-AA8C-C45D9BE9C556}"/>
                </a:ext>
              </a:extLst>
            </p:cNvPr>
            <p:cNvSpPr/>
            <p:nvPr/>
          </p:nvSpPr>
          <p:spPr>
            <a:xfrm>
              <a:off x="6229287" y="2265024"/>
              <a:ext cx="4756766" cy="517170"/>
            </a:xfrm>
            <a:prstGeom prst="rect">
              <a:avLst/>
            </a:prstGeom>
          </p:spPr>
          <p:txBody>
            <a:bodyPr wrap="square" lIns="144000" tIns="144000" rIns="144000" bIns="144000" anchor="ctr">
              <a:noAutofit/>
            </a:bodyPr>
            <a:lstStyle/>
            <a:p>
              <a:r>
                <a:rPr lang="en-US" b="1" dirty="0"/>
                <a:t>580.2 kWh </a:t>
              </a:r>
              <a:r>
                <a:rPr lang="en-US" dirty="0"/>
                <a:t>(40,000 operating hours) </a:t>
              </a:r>
            </a:p>
          </p:txBody>
        </p:sp>
      </p:grp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4F020896-1EE1-0985-2F47-8966CB5ACD9B}"/>
              </a:ext>
            </a:extLst>
          </p:cNvPr>
          <p:cNvGrpSpPr/>
          <p:nvPr/>
        </p:nvGrpSpPr>
        <p:grpSpPr>
          <a:xfrm>
            <a:off x="470632" y="3776365"/>
            <a:ext cx="11250737" cy="567811"/>
            <a:chOff x="469837" y="3776364"/>
            <a:chExt cx="11250737" cy="567811"/>
          </a:xfrm>
        </p:grpSpPr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08C40F1B-543C-8AB9-5483-1C7284389446}"/>
                </a:ext>
              </a:extLst>
            </p:cNvPr>
            <p:cNvSpPr/>
            <p:nvPr/>
          </p:nvSpPr>
          <p:spPr>
            <a:xfrm>
              <a:off x="469837" y="3776364"/>
              <a:ext cx="5495850" cy="567811"/>
            </a:xfrm>
            <a:prstGeom prst="rect">
              <a:avLst/>
            </a:prstGeom>
            <a:solidFill>
              <a:schemeClr val="accent6"/>
            </a:solidFill>
          </p:spPr>
          <p:txBody>
            <a:bodyPr wrap="square" lIns="144000" tIns="144000" rIns="144000" bIns="144000">
              <a:spAutoFit/>
            </a:bodyPr>
            <a:lstStyle/>
            <a:p>
              <a:r>
                <a:rPr lang="en-US" b="1" u="sng" dirty="0">
                  <a:solidFill>
                    <a:schemeClr val="bg1"/>
                  </a:solidFill>
                </a:rPr>
                <a:t>821 kg CO2 eq.*</a:t>
              </a:r>
              <a:r>
                <a:rPr lang="en-US" b="1" dirty="0">
                  <a:solidFill>
                    <a:schemeClr val="bg1"/>
                  </a:solidFill>
                </a:rPr>
                <a:t> </a:t>
              </a:r>
              <a:r>
                <a:rPr lang="en-US" dirty="0">
                  <a:solidFill>
                    <a:schemeClr val="bg1"/>
                  </a:solidFill>
                </a:rPr>
                <a:t>(40,000 operating hours) </a:t>
              </a:r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1D256E0C-AF0D-D09B-230A-10ABA4B2AE86}"/>
                </a:ext>
              </a:extLst>
            </p:cNvPr>
            <p:cNvSpPr/>
            <p:nvPr/>
          </p:nvSpPr>
          <p:spPr>
            <a:xfrm>
              <a:off x="6224724" y="3776364"/>
              <a:ext cx="5495850" cy="567811"/>
            </a:xfrm>
            <a:prstGeom prst="rect">
              <a:avLst/>
            </a:prstGeom>
            <a:solidFill>
              <a:schemeClr val="accent6"/>
            </a:solidFill>
          </p:spPr>
          <p:txBody>
            <a:bodyPr wrap="square" lIns="144000" tIns="144000" rIns="144000" bIns="144000">
              <a:spAutoFit/>
            </a:bodyPr>
            <a:lstStyle/>
            <a:p>
              <a:r>
                <a:rPr lang="en-US" b="1" u="sng" dirty="0">
                  <a:solidFill>
                    <a:schemeClr val="bg1"/>
                  </a:solidFill>
                </a:rPr>
                <a:t>298 kg CO2 eq.*</a:t>
              </a:r>
              <a:r>
                <a:rPr lang="en-US" dirty="0">
                  <a:solidFill>
                    <a:schemeClr val="bg1"/>
                  </a:solidFill>
                </a:rPr>
                <a:t> (40,000 operating hours) </a:t>
              </a:r>
            </a:p>
          </p:txBody>
        </p:sp>
      </p:grpSp>
      <p:pic>
        <p:nvPicPr>
          <p:cNvPr id="14" name="Grafik 13">
            <a:extLst>
              <a:ext uri="{FF2B5EF4-FFF2-40B4-BE49-F238E27FC236}">
                <a16:creationId xmlns:a16="http://schemas.microsoft.com/office/drawing/2014/main" id="{D8D1EBF3-A5AB-EB58-D69E-6E0A12B4B35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1624" r="523" b="1224"/>
          <a:stretch/>
        </p:blipFill>
        <p:spPr>
          <a:xfrm>
            <a:off x="6225518" y="4425696"/>
            <a:ext cx="5495850" cy="2039091"/>
          </a:xfrm>
          <a:prstGeom prst="rect">
            <a:avLst/>
          </a:prstGeom>
          <a:solidFill>
            <a:srgbClr val="2E2D29"/>
          </a:solidFill>
        </p:spPr>
      </p:pic>
    </p:spTree>
    <p:extLst>
      <p:ext uri="{BB962C8B-B14F-4D97-AF65-F5344CB8AC3E}">
        <p14:creationId xmlns:p14="http://schemas.microsoft.com/office/powerpoint/2010/main" val="2774724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91385E71-96BE-B917-5329-B0D2CF7F38CC}"/>
              </a:ext>
            </a:extLst>
          </p:cNvPr>
          <p:cNvGrpSpPr/>
          <p:nvPr/>
        </p:nvGrpSpPr>
        <p:grpSpPr>
          <a:xfrm>
            <a:off x="6226285" y="3077522"/>
            <a:ext cx="5495852" cy="1680274"/>
            <a:chOff x="6225491" y="3077522"/>
            <a:chExt cx="5495852" cy="1680274"/>
          </a:xfrm>
        </p:grpSpPr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29CF37DD-F438-F106-5223-1850506B2209}"/>
                </a:ext>
              </a:extLst>
            </p:cNvPr>
            <p:cNvSpPr/>
            <p:nvPr/>
          </p:nvSpPr>
          <p:spPr>
            <a:xfrm>
              <a:off x="6225491" y="3077522"/>
              <a:ext cx="5495852" cy="167580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25" name="Textfeld 24">
              <a:extLst>
                <a:ext uri="{FF2B5EF4-FFF2-40B4-BE49-F238E27FC236}">
                  <a16:creationId xmlns:a16="http://schemas.microsoft.com/office/drawing/2014/main" id="{9D9CB4DC-778B-407E-89B0-5AD5F6821CF5}"/>
                </a:ext>
              </a:extLst>
            </p:cNvPr>
            <p:cNvSpPr txBox="1"/>
            <p:nvPr/>
          </p:nvSpPr>
          <p:spPr>
            <a:xfrm>
              <a:off x="6359839" y="3081989"/>
              <a:ext cx="4593084" cy="1675807"/>
            </a:xfrm>
            <a:prstGeom prst="rect">
              <a:avLst/>
            </a:prstGeom>
            <a:noFill/>
          </p:spPr>
          <p:txBody>
            <a:bodyPr wrap="square" lIns="144000" tIns="144000" rIns="144000" bIns="144000" rtlCol="0">
              <a:spAutoFit/>
            </a:bodyPr>
            <a:lstStyle/>
            <a:p>
              <a:r>
                <a:rPr lang="en-US" b="1" dirty="0"/>
                <a:t>AC diagonal module</a:t>
              </a:r>
            </a:p>
            <a:p>
              <a:r>
                <a:rPr lang="en-US" dirty="0"/>
                <a:t>95,000 · 298 kg CO2 = </a:t>
              </a:r>
              <a:r>
                <a:rPr lang="en-US" b="1" u="sng" dirty="0"/>
                <a:t>28,310 t CO2</a:t>
              </a:r>
            </a:p>
            <a:p>
              <a:endParaRPr lang="en-US" b="1" dirty="0"/>
            </a:p>
            <a:p>
              <a:r>
                <a:rPr lang="en-US" b="1" dirty="0"/>
                <a:t>Operating costs</a:t>
              </a:r>
              <a:r>
                <a:rPr lang="en-US" dirty="0"/>
                <a:t> at 30 cents/kWh</a:t>
              </a:r>
            </a:p>
            <a:p>
              <a:r>
                <a:rPr lang="en-US" dirty="0"/>
                <a:t>95,000 · 580 · €0.3 = </a:t>
              </a:r>
              <a:r>
                <a:rPr lang="en-US" b="1" u="sng" dirty="0"/>
                <a:t>€16.5 million</a:t>
              </a:r>
            </a:p>
          </p:txBody>
        </p:sp>
      </p:grp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628E87EA-0462-CA40-911A-BA443666D819}"/>
              </a:ext>
            </a:extLst>
          </p:cNvPr>
          <p:cNvGrpSpPr/>
          <p:nvPr/>
        </p:nvGrpSpPr>
        <p:grpSpPr>
          <a:xfrm>
            <a:off x="470631" y="3077522"/>
            <a:ext cx="5495852" cy="1680274"/>
            <a:chOff x="469837" y="3077522"/>
            <a:chExt cx="5495852" cy="1680274"/>
          </a:xfrm>
        </p:grpSpPr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D9988411-C53F-2791-4A7A-29B75507F08E}"/>
                </a:ext>
              </a:extLst>
            </p:cNvPr>
            <p:cNvSpPr/>
            <p:nvPr/>
          </p:nvSpPr>
          <p:spPr>
            <a:xfrm>
              <a:off x="469837" y="3077522"/>
              <a:ext cx="5495852" cy="167580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30" name="Textfeld 29">
              <a:extLst>
                <a:ext uri="{FF2B5EF4-FFF2-40B4-BE49-F238E27FC236}">
                  <a16:creationId xmlns:a16="http://schemas.microsoft.com/office/drawing/2014/main" id="{8F3C87B3-0F41-4B98-9460-71C6101F29A9}"/>
                </a:ext>
              </a:extLst>
            </p:cNvPr>
            <p:cNvSpPr txBox="1"/>
            <p:nvPr/>
          </p:nvSpPr>
          <p:spPr>
            <a:xfrm>
              <a:off x="469837" y="3081989"/>
              <a:ext cx="4300946" cy="1675807"/>
            </a:xfrm>
            <a:prstGeom prst="rect">
              <a:avLst/>
            </a:prstGeom>
            <a:noFill/>
          </p:spPr>
          <p:txBody>
            <a:bodyPr wrap="square" lIns="144000" tIns="144000" rIns="144000" bIns="144000" rtlCol="0">
              <a:spAutoFit/>
            </a:bodyPr>
            <a:lstStyle/>
            <a:p>
              <a:r>
                <a:rPr lang="en-US" b="1" dirty="0"/>
                <a:t>AC diagonal module</a:t>
              </a:r>
            </a:p>
            <a:p>
              <a:r>
                <a:rPr lang="en-US" dirty="0"/>
                <a:t>95,000 · 821 kg CO2 = </a:t>
              </a:r>
              <a:r>
                <a:rPr lang="en-US" b="1" u="sng" dirty="0"/>
                <a:t>77,995 t CO2</a:t>
              </a:r>
            </a:p>
            <a:p>
              <a:endParaRPr lang="en-US" b="1" dirty="0"/>
            </a:p>
            <a:p>
              <a:r>
                <a:rPr lang="en-US" b="1" dirty="0"/>
                <a:t>Operating costs</a:t>
              </a:r>
              <a:r>
                <a:rPr lang="en-US" dirty="0"/>
                <a:t> at 30 cents/kWh</a:t>
              </a:r>
            </a:p>
            <a:p>
              <a:r>
                <a:rPr lang="en-US" dirty="0"/>
                <a:t>95,000 · 1600 · €0.3 = </a:t>
              </a:r>
              <a:r>
                <a:rPr lang="en-US" b="1" u="sng" dirty="0"/>
                <a:t>€45.6 million</a:t>
              </a:r>
            </a:p>
          </p:txBody>
        </p:sp>
      </p:grpSp>
      <p:sp>
        <p:nvSpPr>
          <p:cNvPr id="4" name="Titel 3">
            <a:extLst>
              <a:ext uri="{FF2B5EF4-FFF2-40B4-BE49-F238E27FC236}">
                <a16:creationId xmlns:a16="http://schemas.microsoft.com/office/drawing/2014/main" id="{E4E21791-1091-4AF8-8BC1-92E554AF00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 diagonal module versus EC diagonal modul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FCD4D67-887F-4314-879A-6BAE9C24AB3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Energy efficiency</a:t>
            </a:r>
          </a:p>
        </p:txBody>
      </p:sp>
      <p:sp>
        <p:nvSpPr>
          <p:cNvPr id="21" name="Fußzeilenplatzhalter 1">
            <a:extLst>
              <a:ext uri="{FF2B5EF4-FFF2-40B4-BE49-F238E27FC236}">
                <a16:creationId xmlns:a16="http://schemas.microsoft.com/office/drawing/2014/main" id="{8BAC5B68-24C7-E94C-F020-F26130E7D7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18249" y="6591300"/>
            <a:ext cx="8998828" cy="2667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de-DE" sz="900" kern="1200">
                <a:solidFill>
                  <a:prstClr val="black"/>
                </a:solidFill>
                <a:latin typeface="+mn-lt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defTabSz="91430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/>
              <a:t>Die neue Generation Diagonalmodule für Schaltschrank-Filterlüfter</a:t>
            </a:r>
            <a:endParaRPr lang="en-US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A15129F-38D5-4097-BEAB-7B258C8AA4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95" y="6591300"/>
            <a:ext cx="469837" cy="2667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de-DE" sz="900" kern="1200">
                <a:solidFill>
                  <a:prstClr val="black"/>
                </a:solidFill>
                <a:latin typeface="+mn-lt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defTabSz="914309" fontAlgn="auto">
              <a:spcBef>
                <a:spcPts val="0"/>
              </a:spcBef>
              <a:spcAft>
                <a:spcPts val="0"/>
              </a:spcAft>
              <a:defRPr/>
            </a:pPr>
            <a:fld id="{5AFF31D0-8A17-47C0-8D09-D01303A85034}" type="slidenum">
              <a:rPr lang="cs-CZ" smtClean="0"/>
              <a:pPr defTabSz="914309" fontAlgn="auto">
                <a:spcBef>
                  <a:spcPts val="0"/>
                </a:spcBef>
                <a:spcAft>
                  <a:spcPts val="0"/>
                </a:spcAft>
                <a:defRPr/>
              </a:pPr>
              <a:t>25</a:t>
            </a:fld>
            <a:endParaRPr lang="en-US" dirty="0"/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620660E3-9482-890D-2E11-5FB16D859F78}"/>
              </a:ext>
            </a:extLst>
          </p:cNvPr>
          <p:cNvSpPr txBox="1"/>
          <p:nvPr/>
        </p:nvSpPr>
        <p:spPr>
          <a:xfrm>
            <a:off x="3363968" y="5491733"/>
            <a:ext cx="5464064" cy="660144"/>
          </a:xfrm>
          <a:prstGeom prst="rect">
            <a:avLst/>
          </a:prstGeom>
          <a:solidFill>
            <a:schemeClr val="accent6"/>
          </a:solidFill>
        </p:spPr>
        <p:txBody>
          <a:bodyPr wrap="square" lIns="144000" tIns="144000" rIns="144000" bIns="144000" rtlCol="0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</a:rPr>
              <a:t>CO2 reduction: -64% </a:t>
            </a:r>
          </a:p>
        </p:txBody>
      </p: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929CFB33-229C-51B6-93C2-A6494A00B80E}"/>
              </a:ext>
            </a:extLst>
          </p:cNvPr>
          <p:cNvGrpSpPr/>
          <p:nvPr/>
        </p:nvGrpSpPr>
        <p:grpSpPr>
          <a:xfrm>
            <a:off x="470631" y="2237315"/>
            <a:ext cx="11251506" cy="844810"/>
            <a:chOff x="469837" y="2237315"/>
            <a:chExt cx="11251506" cy="844810"/>
          </a:xfrm>
        </p:grpSpPr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2F89C039-C5D1-B2DC-F649-E52F244C8A04}"/>
                </a:ext>
              </a:extLst>
            </p:cNvPr>
            <p:cNvSpPr/>
            <p:nvPr/>
          </p:nvSpPr>
          <p:spPr>
            <a:xfrm>
              <a:off x="469837" y="2265023"/>
              <a:ext cx="5495852" cy="74925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17" name="Textfeld 16">
              <a:extLst>
                <a:ext uri="{FF2B5EF4-FFF2-40B4-BE49-F238E27FC236}">
                  <a16:creationId xmlns:a16="http://schemas.microsoft.com/office/drawing/2014/main" id="{69D549A4-310A-D329-6874-3AC04A35CBCF}"/>
                </a:ext>
              </a:extLst>
            </p:cNvPr>
            <p:cNvSpPr txBox="1"/>
            <p:nvPr/>
          </p:nvSpPr>
          <p:spPr>
            <a:xfrm>
              <a:off x="469837" y="2237315"/>
              <a:ext cx="5495852" cy="844810"/>
            </a:xfrm>
            <a:prstGeom prst="rect">
              <a:avLst/>
            </a:prstGeom>
            <a:noFill/>
          </p:spPr>
          <p:txBody>
            <a:bodyPr wrap="square" lIns="144000" tIns="144000" rIns="144000" bIns="144000" rtlCol="0">
              <a:spAutoFit/>
            </a:bodyPr>
            <a:lstStyle/>
            <a:p>
              <a:pPr algn="ctr"/>
              <a:r>
                <a:rPr lang="en-US" dirty="0"/>
                <a:t>Units in 2021: 95,000.</a:t>
              </a:r>
            </a:p>
            <a:p>
              <a:pPr algn="ctr"/>
              <a:r>
                <a:rPr lang="en-US" dirty="0"/>
                <a:t>99.25%</a:t>
              </a:r>
            </a:p>
          </p:txBody>
        </p:sp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B8B9C082-04FF-4FFA-5D36-78B715B1656B}"/>
                </a:ext>
              </a:extLst>
            </p:cNvPr>
            <p:cNvSpPr/>
            <p:nvPr/>
          </p:nvSpPr>
          <p:spPr>
            <a:xfrm>
              <a:off x="6225491" y="2265023"/>
              <a:ext cx="5495852" cy="74925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26" name="Rechteck 25">
              <a:extLst>
                <a:ext uri="{FF2B5EF4-FFF2-40B4-BE49-F238E27FC236}">
                  <a16:creationId xmlns:a16="http://schemas.microsoft.com/office/drawing/2014/main" id="{6840F937-752C-AD8D-9A9E-5C5F823000A4}"/>
                </a:ext>
              </a:extLst>
            </p:cNvPr>
            <p:cNvSpPr/>
            <p:nvPr/>
          </p:nvSpPr>
          <p:spPr>
            <a:xfrm>
              <a:off x="6224725" y="2237315"/>
              <a:ext cx="5492048" cy="844810"/>
            </a:xfrm>
            <a:prstGeom prst="rect">
              <a:avLst/>
            </a:prstGeom>
          </p:spPr>
          <p:txBody>
            <a:bodyPr wrap="square" lIns="144000" tIns="144000" rIns="144000" bIns="144000">
              <a:spAutoFit/>
            </a:bodyPr>
            <a:lstStyle/>
            <a:p>
              <a:pPr algn="ctr"/>
              <a:r>
                <a:rPr lang="en-US" dirty="0"/>
                <a:t>Units in 2021: 719.</a:t>
              </a:r>
            </a:p>
            <a:p>
              <a:pPr algn="ctr"/>
              <a:r>
                <a:rPr lang="en-US" dirty="0"/>
                <a:t>0.75%</a:t>
              </a:r>
            </a:p>
          </p:txBody>
        </p:sp>
      </p:grpSp>
      <p:sp>
        <p:nvSpPr>
          <p:cNvPr id="10" name="Rechteck 9">
            <a:extLst>
              <a:ext uri="{FF2B5EF4-FFF2-40B4-BE49-F238E27FC236}">
                <a16:creationId xmlns:a16="http://schemas.microsoft.com/office/drawing/2014/main" id="{ED94B68E-788E-4FC3-15FE-449360B0B196}"/>
              </a:ext>
            </a:extLst>
          </p:cNvPr>
          <p:cNvSpPr/>
          <p:nvPr/>
        </p:nvSpPr>
        <p:spPr>
          <a:xfrm>
            <a:off x="466835" y="1716906"/>
            <a:ext cx="5497750" cy="4779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51D93FCC-90C0-95C1-7263-3478B6C86F1A}"/>
              </a:ext>
            </a:extLst>
          </p:cNvPr>
          <p:cNvSpPr txBox="1"/>
          <p:nvPr/>
        </p:nvSpPr>
        <p:spPr>
          <a:xfrm>
            <a:off x="470631" y="1716906"/>
            <a:ext cx="549585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</a:rPr>
              <a:t>K2S165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09F7B798-3594-0122-5A54-9C0F2391B9AE}"/>
              </a:ext>
            </a:extLst>
          </p:cNvPr>
          <p:cNvSpPr/>
          <p:nvPr/>
        </p:nvSpPr>
        <p:spPr>
          <a:xfrm>
            <a:off x="6226285" y="1716906"/>
            <a:ext cx="5497750" cy="4779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6DFB7543-CDDC-4412-AB41-DC7B9EA6FEB7}"/>
              </a:ext>
            </a:extLst>
          </p:cNvPr>
          <p:cNvSpPr txBox="1"/>
          <p:nvPr/>
        </p:nvSpPr>
        <p:spPr>
          <a:xfrm>
            <a:off x="6230081" y="1716906"/>
            <a:ext cx="549585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</a:rPr>
              <a:t>K3G165</a:t>
            </a:r>
          </a:p>
        </p:txBody>
      </p:sp>
      <p:sp>
        <p:nvSpPr>
          <p:cNvPr id="29" name="Pfeil: nach unten 28">
            <a:extLst>
              <a:ext uri="{FF2B5EF4-FFF2-40B4-BE49-F238E27FC236}">
                <a16:creationId xmlns:a16="http://schemas.microsoft.com/office/drawing/2014/main" id="{42A4020E-AEFD-437F-8BDA-E1C0FD00E7E9}"/>
              </a:ext>
            </a:extLst>
          </p:cNvPr>
          <p:cNvSpPr/>
          <p:nvPr/>
        </p:nvSpPr>
        <p:spPr>
          <a:xfrm>
            <a:off x="5831367" y="1716905"/>
            <a:ext cx="529266" cy="3652888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3091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47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42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9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0989C1-7873-96CA-05A8-3A4E7A9F43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Nadpis 7">
            <a:extLst>
              <a:ext uri="{FF2B5EF4-FFF2-40B4-BE49-F238E27FC236}">
                <a16:creationId xmlns:a16="http://schemas.microsoft.com/office/drawing/2014/main" id="{5CF06905-BEED-FA31-0146-44BC1584C2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Závěr</a:t>
            </a:r>
          </a:p>
        </p:txBody>
      </p:sp>
      <p:sp>
        <p:nvSpPr>
          <p:cNvPr id="10" name="Zástupný text 9">
            <a:extLst>
              <a:ext uri="{FF2B5EF4-FFF2-40B4-BE49-F238E27FC236}">
                <a16:creationId xmlns:a16="http://schemas.microsoft.com/office/drawing/2014/main" id="{B5D7133B-398E-5F34-5193-E9EC5118FED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obsah 8">
            <a:extLst>
              <a:ext uri="{FF2B5EF4-FFF2-40B4-BE49-F238E27FC236}">
                <a16:creationId xmlns:a16="http://schemas.microsoft.com/office/drawing/2014/main" id="{7E44DAFE-E40D-B099-73DD-8A2C91CA975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sz="2400" dirty="0"/>
              <a:t>Výměna starých, méně účinných, ventilátorů v jinak funkčních zařízeních má jednoznačný vliv na účinnost větrání a klimatizace.</a:t>
            </a:r>
          </a:p>
          <a:p>
            <a:pPr marL="612" indent="0">
              <a:buNone/>
            </a:pPr>
            <a:endParaRPr lang="cs-CZ" sz="2400" dirty="0"/>
          </a:p>
          <a:p>
            <a:r>
              <a:rPr lang="cs-CZ" sz="2400" dirty="0"/>
              <a:t>Je vždy potřeba zhodnotit, zda má smysl výměna komponentů, nebo celých zařízení dle technického stavu celkového zařízení.</a:t>
            </a:r>
          </a:p>
          <a:p>
            <a:pPr marL="612" indent="0">
              <a:buNone/>
            </a:pPr>
            <a:endParaRPr lang="cs-CZ" sz="2400" dirty="0"/>
          </a:p>
          <a:p>
            <a:r>
              <a:rPr lang="cs-CZ" sz="2400" dirty="0"/>
              <a:t>Nová legislativa tlačí výrobce i uživatele k vývoji i užívání energeticky úsporných technologií...</a:t>
            </a:r>
          </a:p>
          <a:p>
            <a:endParaRPr lang="cs-CZ" sz="2400" dirty="0"/>
          </a:p>
          <a:p>
            <a:pPr marL="612" indent="0">
              <a:buNone/>
            </a:pPr>
            <a:r>
              <a:rPr lang="cs-CZ" sz="2400" dirty="0"/>
              <a:t>						 </a:t>
            </a:r>
            <a:r>
              <a:rPr lang="cs-CZ" sz="2400" b="1" dirty="0"/>
              <a:t>....tak proč tomu nevyjít vstříc?</a:t>
            </a:r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883B4BC0-16F1-4160-9116-CC965BA664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Zástupný symbol pro číslo snímku 2">
            <a:extLst>
              <a:ext uri="{FF2B5EF4-FFF2-40B4-BE49-F238E27FC236}">
                <a16:creationId xmlns:a16="http://schemas.microsoft.com/office/drawing/2014/main" id="{A1EE513F-2594-F892-CEAD-4BBC18B94D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F31D0-8A17-47C0-8D09-D01303A85034}" type="slidenum">
              <a:rPr lang="de-DE" smtClean="0"/>
              <a:pPr/>
              <a:t>2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38972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CD8511C-6553-83FE-869F-E8B598A8CA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Obdélník 22">
            <a:extLst>
              <a:ext uri="{FF2B5EF4-FFF2-40B4-BE49-F238E27FC236}">
                <a16:creationId xmlns:a16="http://schemas.microsoft.com/office/drawing/2014/main" id="{89CA3AD6-1593-0FEB-80D9-C8BA5DC61725}"/>
              </a:ext>
            </a:extLst>
          </p:cNvPr>
          <p:cNvSpPr/>
          <p:nvPr/>
        </p:nvSpPr>
        <p:spPr>
          <a:xfrm>
            <a:off x="0" y="0"/>
            <a:ext cx="12192000" cy="6598763"/>
          </a:xfrm>
          <a:prstGeom prst="rect">
            <a:avLst/>
          </a:prstGeom>
          <a:solidFill>
            <a:srgbClr val="A3BA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F2E22BC4-1DA6-DD01-2E0F-7A32822F77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ěkuji za pozornost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2226DD31-CAD3-9EC1-AEA3-DADADD73D1D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cs-CZ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ontaktní osoba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8E378705-F155-1167-85AC-69143ED83D8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>
            <a:normAutofit/>
          </a:bodyPr>
          <a:lstStyle/>
          <a:p>
            <a:r>
              <a:rPr lang="cs-CZ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les.jakubec@cz.ebmpapst.com</a:t>
            </a:r>
            <a:endParaRPr lang="de-DE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834C2275-2B98-486D-B5B3-FBDB582702C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>
            <a:normAutofit/>
          </a:bodyPr>
          <a:lstStyle/>
          <a:p>
            <a:r>
              <a:rPr lang="cs-CZ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leš Jakubec</a:t>
            </a:r>
            <a:endParaRPr lang="de-DE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Zástupný text 5">
            <a:extLst>
              <a:ext uri="{FF2B5EF4-FFF2-40B4-BE49-F238E27FC236}">
                <a16:creationId xmlns:a16="http://schemas.microsoft.com/office/drawing/2014/main" id="{EB3FB008-C1DC-1D96-59DF-6A1EB8C7236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35119" y="3290967"/>
            <a:ext cx="2753360" cy="216000"/>
          </a:xfrm>
        </p:spPr>
        <p:txBody>
          <a:bodyPr>
            <a:normAutofit/>
          </a:bodyPr>
          <a:lstStyle/>
          <a:p>
            <a:r>
              <a:rPr lang="cs-CZ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elefon: </a:t>
            </a:r>
            <a:r>
              <a:rPr lang="cs-CZ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+420 </a:t>
            </a:r>
            <a:r>
              <a:rPr lang="de-DE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544</a:t>
            </a:r>
            <a:r>
              <a:rPr lang="cs-CZ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502</a:t>
            </a:r>
            <a:r>
              <a:rPr lang="cs-CZ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419</a:t>
            </a:r>
          </a:p>
        </p:txBody>
      </p:sp>
      <p:sp>
        <p:nvSpPr>
          <p:cNvPr id="7" name="Zástupný text 6">
            <a:extLst>
              <a:ext uri="{FF2B5EF4-FFF2-40B4-BE49-F238E27FC236}">
                <a16:creationId xmlns:a16="http://schemas.microsoft.com/office/drawing/2014/main" id="{95F9CA30-D0B9-44FB-0A4A-BCA0FEEF78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5119" y="3534432"/>
            <a:ext cx="2753360" cy="216000"/>
          </a:xfrm>
        </p:spPr>
        <p:txBody>
          <a:bodyPr>
            <a:normAutofit/>
          </a:bodyPr>
          <a:lstStyle/>
          <a:p>
            <a:r>
              <a:rPr lang="cs-CZ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obil: </a:t>
            </a:r>
            <a:r>
              <a:rPr lang="cs-CZ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+420 737 252 183</a:t>
            </a:r>
            <a:endParaRPr lang="de-DE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32AE1DBE-5988-A811-F361-90B074F75EB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>
            <a:normAutofit/>
          </a:bodyPr>
          <a:lstStyle/>
          <a:p>
            <a:r>
              <a:rPr lang="cs-CZ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aštanová 34a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BDAD17-B7B4-FF58-AFB2-17403888EA3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>
            <a:normAutofit/>
          </a:bodyPr>
          <a:lstStyle/>
          <a:p>
            <a:r>
              <a:rPr lang="cs-CZ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bm-papst CZ s.r.o.</a:t>
            </a:r>
          </a:p>
        </p:txBody>
      </p:sp>
      <p:sp>
        <p:nvSpPr>
          <p:cNvPr id="10" name="Zástupný text 9">
            <a:extLst>
              <a:ext uri="{FF2B5EF4-FFF2-40B4-BE49-F238E27FC236}">
                <a16:creationId xmlns:a16="http://schemas.microsoft.com/office/drawing/2014/main" id="{74C4DAEC-8B4F-FA4A-3BF8-5D98CB631D06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>
            <a:normAutofit/>
          </a:bodyPr>
          <a:lstStyle/>
          <a:p>
            <a:r>
              <a:rPr lang="cs-CZ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620 00 Brno</a:t>
            </a:r>
          </a:p>
        </p:txBody>
      </p:sp>
      <p:sp>
        <p:nvSpPr>
          <p:cNvPr id="11" name="Zástupný text 10">
            <a:extLst>
              <a:ext uri="{FF2B5EF4-FFF2-40B4-BE49-F238E27FC236}">
                <a16:creationId xmlns:a16="http://schemas.microsoft.com/office/drawing/2014/main" id="{09444D54-80D7-75B9-C01C-6853C187D4E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>
            <a:normAutofit/>
          </a:bodyPr>
          <a:lstStyle/>
          <a:p>
            <a:r>
              <a:rPr lang="cs-CZ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www.ebmpapst.cz</a:t>
            </a:r>
          </a:p>
        </p:txBody>
      </p:sp>
      <p:pic>
        <p:nvPicPr>
          <p:cNvPr id="12" name="Grafik 12">
            <a:extLst>
              <a:ext uri="{FF2B5EF4-FFF2-40B4-BE49-F238E27FC236}">
                <a16:creationId xmlns:a16="http://schemas.microsoft.com/office/drawing/2014/main" id="{9EB7D403-6C9C-D7CA-C00E-3581652173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215809" y="5778000"/>
            <a:ext cx="1505915" cy="1080000"/>
          </a:xfrm>
          <a:prstGeom prst="rect">
            <a:avLst/>
          </a:prstGeom>
        </p:spPr>
      </p:pic>
      <p:pic>
        <p:nvPicPr>
          <p:cNvPr id="13" name="Grafik 13">
            <a:hlinkClick r:id="rId4"/>
            <a:extLst>
              <a:ext uri="{FF2B5EF4-FFF2-40B4-BE49-F238E27FC236}">
                <a16:creationId xmlns:a16="http://schemas.microsoft.com/office/drawing/2014/main" id="{79242EA9-CB0E-5D26-B7C5-F8C0AB846BA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98954" y="4604794"/>
            <a:ext cx="455257" cy="455255"/>
          </a:xfrm>
          <a:prstGeom prst="rect">
            <a:avLst/>
          </a:prstGeom>
        </p:spPr>
      </p:pic>
      <p:pic>
        <p:nvPicPr>
          <p:cNvPr id="14" name="Grafik 14">
            <a:hlinkClick r:id="rId7"/>
            <a:extLst>
              <a:ext uri="{FF2B5EF4-FFF2-40B4-BE49-F238E27FC236}">
                <a16:creationId xmlns:a16="http://schemas.microsoft.com/office/drawing/2014/main" id="{92662DE8-D660-55A4-17F3-2C1ABDAD8EA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307589" y="4604794"/>
            <a:ext cx="455257" cy="455255"/>
          </a:xfrm>
          <a:prstGeom prst="rect">
            <a:avLst/>
          </a:prstGeom>
        </p:spPr>
      </p:pic>
      <p:pic>
        <p:nvPicPr>
          <p:cNvPr id="15" name="Grafik 15">
            <a:hlinkClick r:id="rId10"/>
            <a:extLst>
              <a:ext uri="{FF2B5EF4-FFF2-40B4-BE49-F238E27FC236}">
                <a16:creationId xmlns:a16="http://schemas.microsoft.com/office/drawing/2014/main" id="{860A6700-7835-90CB-204E-99B7C079EC2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916224" y="4659830"/>
            <a:ext cx="370208" cy="325182"/>
          </a:xfrm>
          <a:prstGeom prst="rect">
            <a:avLst/>
          </a:prstGeom>
        </p:spPr>
      </p:pic>
      <p:pic>
        <p:nvPicPr>
          <p:cNvPr id="16" name="Grafik 17">
            <a:hlinkClick r:id="rId13"/>
            <a:extLst>
              <a:ext uri="{FF2B5EF4-FFF2-40B4-BE49-F238E27FC236}">
                <a16:creationId xmlns:a16="http://schemas.microsoft.com/office/drawing/2014/main" id="{E50B901A-C9AA-EADE-D709-F2E891BF46D5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018427" y="4594211"/>
            <a:ext cx="425241" cy="480270"/>
          </a:xfrm>
          <a:prstGeom prst="rect">
            <a:avLst/>
          </a:prstGeom>
        </p:spPr>
      </p:pic>
      <p:pic>
        <p:nvPicPr>
          <p:cNvPr id="17" name="Graphic 7">
            <a:extLst>
              <a:ext uri="{FF2B5EF4-FFF2-40B4-BE49-F238E27FC236}">
                <a16:creationId xmlns:a16="http://schemas.microsoft.com/office/drawing/2014/main" id="{944CF386-FBAF-5673-80D4-A8C1667F7372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687213" y="5307052"/>
            <a:ext cx="462932" cy="462932"/>
          </a:xfrm>
          <a:prstGeom prst="rect">
            <a:avLst/>
          </a:prstGeom>
        </p:spPr>
      </p:pic>
      <p:pic>
        <p:nvPicPr>
          <p:cNvPr id="18" name="Graphic 8">
            <a:extLst>
              <a:ext uri="{FF2B5EF4-FFF2-40B4-BE49-F238E27FC236}">
                <a16:creationId xmlns:a16="http://schemas.microsoft.com/office/drawing/2014/main" id="{60CCFEF5-D268-83BD-6E46-C15AF07C0916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2305049" y="5311506"/>
            <a:ext cx="454025" cy="454025"/>
          </a:xfrm>
          <a:prstGeom prst="rect">
            <a:avLst/>
          </a:prstGeom>
        </p:spPr>
      </p:pic>
      <p:pic>
        <p:nvPicPr>
          <p:cNvPr id="19" name="Graphic 10">
            <a:extLst>
              <a:ext uri="{FF2B5EF4-FFF2-40B4-BE49-F238E27FC236}">
                <a16:creationId xmlns:a16="http://schemas.microsoft.com/office/drawing/2014/main" id="{C7865A43-C36E-5639-8BAB-CE38228E9D91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3870325" y="5307537"/>
            <a:ext cx="461963" cy="461963"/>
          </a:xfrm>
          <a:prstGeom prst="rect">
            <a:avLst/>
          </a:prstGeom>
        </p:spPr>
      </p:pic>
      <p:pic>
        <p:nvPicPr>
          <p:cNvPr id="20" name="Graphic 11">
            <a:extLst>
              <a:ext uri="{FF2B5EF4-FFF2-40B4-BE49-F238E27FC236}">
                <a16:creationId xmlns:a16="http://schemas.microsoft.com/office/drawing/2014/main" id="{C2D327FE-DBCB-4CBD-A360-0097487D82D1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6996588" y="5308965"/>
            <a:ext cx="459106" cy="459106"/>
          </a:xfrm>
          <a:prstGeom prst="rect">
            <a:avLst/>
          </a:prstGeom>
        </p:spPr>
      </p:pic>
      <p:pic>
        <p:nvPicPr>
          <p:cNvPr id="21" name="Grafik 709">
            <a:hlinkClick r:id="rId24"/>
            <a:extLst>
              <a:ext uri="{FF2B5EF4-FFF2-40B4-BE49-F238E27FC236}">
                <a16:creationId xmlns:a16="http://schemas.microsoft.com/office/drawing/2014/main" id="{6AFD03F6-6096-B22B-AAEE-B0434A05146D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5455249" y="4649245"/>
            <a:ext cx="342053" cy="350197"/>
          </a:xfrm>
          <a:prstGeom prst="rect">
            <a:avLst/>
          </a:prstGeom>
        </p:spPr>
      </p:pic>
      <p:pic>
        <p:nvPicPr>
          <p:cNvPr id="22" name="Grafik 710" descr="Ein Bild, das Muster, Grafiken, Kunst, Quadrat enthält.&#10;&#10;Automatisch generierte Beschreibung">
            <a:extLst>
              <a:ext uri="{FF2B5EF4-FFF2-40B4-BE49-F238E27FC236}">
                <a16:creationId xmlns:a16="http://schemas.microsoft.com/office/drawing/2014/main" id="{87EE94F2-0FAF-A281-1FF2-8A92C13ED2F2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1171" y="5250910"/>
            <a:ext cx="570210" cy="570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9891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A66D732-55DD-4D52-A88B-E677EBF7D55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16" imgW="416" imgH="416" progId="TCLayout.ActiveDocument.1">
                  <p:embed/>
                </p:oleObj>
              </mc:Choice>
              <mc:Fallback>
                <p:oleObj name="think-cell Folie" r:id="rId416" imgW="416" imgH="41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8A66D732-55DD-4D52-A88B-E677EBF7D5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B163E73-2739-481E-90FF-4DE0C14B73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>
              <a:spcAft>
                <a:spcPts val="800"/>
              </a:spcAft>
              <a:defRPr/>
            </a:pPr>
            <a:r>
              <a:rPr lang="cs-CZ" sz="2600" noProof="0" dirty="0"/>
              <a:t>S globálními i lokálními pobočkami blíže k vám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8314940-6533-47C4-B5A6-AB7951303FF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noProof="0" dirty="0"/>
              <a:t>Mezinárodní zastoupení</a:t>
            </a:r>
          </a:p>
        </p:txBody>
      </p:sp>
      <p:grpSp>
        <p:nvGrpSpPr>
          <p:cNvPr id="1068" name="Gruppieren 1067">
            <a:extLst>
              <a:ext uri="{FF2B5EF4-FFF2-40B4-BE49-F238E27FC236}">
                <a16:creationId xmlns:a16="http://schemas.microsoft.com/office/drawing/2014/main" id="{79E669D2-72DC-9DD4-5266-5A9DCD904FDC}"/>
              </a:ext>
            </a:extLst>
          </p:cNvPr>
          <p:cNvGrpSpPr/>
          <p:nvPr/>
        </p:nvGrpSpPr>
        <p:grpSpPr>
          <a:xfrm>
            <a:off x="1307805" y="1433639"/>
            <a:ext cx="10490592" cy="5028361"/>
            <a:chOff x="1307805" y="1433639"/>
            <a:chExt cx="10490592" cy="5028361"/>
          </a:xfrm>
        </p:grpSpPr>
        <p:sp>
          <p:nvSpPr>
            <p:cNvPr id="654" name="ee4p_NC_1_37365">
              <a:extLst>
                <a:ext uri="{FF2B5EF4-FFF2-40B4-BE49-F238E27FC236}">
                  <a16:creationId xmlns:a16="http://schemas.microsoft.com/office/drawing/2014/main" id="{1707E04D-1606-C4F3-193B-462A1EF55282}"/>
                </a:ext>
              </a:extLst>
            </p:cNvPr>
            <p:cNvSpPr>
              <a:spLocks noChangeAspect="1"/>
            </p:cNvSpPr>
            <p:nvPr>
              <p:custDataLst>
                <p:tags r:id="rId208"/>
              </p:custDataLst>
            </p:nvPr>
          </p:nvSpPr>
          <p:spPr>
            <a:xfrm>
              <a:off x="10955802" y="5227626"/>
              <a:ext cx="228008" cy="105639"/>
            </a:xfrm>
            <a:custGeom>
              <a:avLst/>
              <a:gdLst>
                <a:gd name="connsiteX0" fmla="*/ 166177 w 181558"/>
                <a:gd name="connsiteY0" fmla="*/ 79103 h 81888"/>
                <a:gd name="connsiteX1" fmla="*/ 168080 w 181558"/>
                <a:gd name="connsiteY1" fmla="*/ 79982 h 81888"/>
                <a:gd name="connsiteX2" fmla="*/ 168410 w 181558"/>
                <a:gd name="connsiteY2" fmla="*/ 81007 h 81888"/>
                <a:gd name="connsiteX3" fmla="*/ 167708 w 181558"/>
                <a:gd name="connsiteY3" fmla="*/ 81888 h 81888"/>
                <a:gd name="connsiteX4" fmla="*/ 166840 w 181558"/>
                <a:gd name="connsiteY4" fmla="*/ 81707 h 81888"/>
                <a:gd name="connsiteX5" fmla="*/ 166184 w 181558"/>
                <a:gd name="connsiteY5" fmla="*/ 81377 h 81888"/>
                <a:gd name="connsiteX6" fmla="*/ 165704 w 181558"/>
                <a:gd name="connsiteY6" fmla="*/ 80898 h 81888"/>
                <a:gd name="connsiteX7" fmla="*/ 178229 w 181558"/>
                <a:gd name="connsiteY7" fmla="*/ 51191 h 81888"/>
                <a:gd name="connsiteX8" fmla="*/ 178151 w 181558"/>
                <a:gd name="connsiteY8" fmla="*/ 51928 h 81888"/>
                <a:gd name="connsiteX9" fmla="*/ 178365 w 181558"/>
                <a:gd name="connsiteY9" fmla="*/ 52789 h 81888"/>
                <a:gd name="connsiteX10" fmla="*/ 178726 w 181558"/>
                <a:gd name="connsiteY10" fmla="*/ 53322 h 81888"/>
                <a:gd name="connsiteX11" fmla="*/ 179764 w 181558"/>
                <a:gd name="connsiteY11" fmla="*/ 53749 h 81888"/>
                <a:gd name="connsiteX12" fmla="*/ 181558 w 181558"/>
                <a:gd name="connsiteY12" fmla="*/ 53674 h 81888"/>
                <a:gd name="connsiteX13" fmla="*/ 181152 w 181558"/>
                <a:gd name="connsiteY13" fmla="*/ 57624 h 81888"/>
                <a:gd name="connsiteX14" fmla="*/ 178626 w 181558"/>
                <a:gd name="connsiteY14" fmla="*/ 58257 h 81888"/>
                <a:gd name="connsiteX15" fmla="*/ 177749 w 181558"/>
                <a:gd name="connsiteY15" fmla="*/ 58221 h 81888"/>
                <a:gd name="connsiteX16" fmla="*/ 177186 w 181558"/>
                <a:gd name="connsiteY16" fmla="*/ 57391 h 81888"/>
                <a:gd name="connsiteX17" fmla="*/ 175739 w 181558"/>
                <a:gd name="connsiteY17" fmla="*/ 56844 h 81888"/>
                <a:gd name="connsiteX18" fmla="*/ 175811 w 181558"/>
                <a:gd name="connsiteY18" fmla="*/ 55489 h 81888"/>
                <a:gd name="connsiteX19" fmla="*/ 174402 w 181558"/>
                <a:gd name="connsiteY19" fmla="*/ 52459 h 81888"/>
                <a:gd name="connsiteX20" fmla="*/ 176847 w 181558"/>
                <a:gd name="connsiteY20" fmla="*/ 52000 h 81888"/>
                <a:gd name="connsiteX21" fmla="*/ 160883 w 181558"/>
                <a:gd name="connsiteY21" fmla="*/ 35845 h 81888"/>
                <a:gd name="connsiteX22" fmla="*/ 162318 w 181558"/>
                <a:gd name="connsiteY22" fmla="*/ 36469 h 81888"/>
                <a:gd name="connsiteX23" fmla="*/ 162959 w 181558"/>
                <a:gd name="connsiteY23" fmla="*/ 37206 h 81888"/>
                <a:gd name="connsiteX24" fmla="*/ 162860 w 181558"/>
                <a:gd name="connsiteY24" fmla="*/ 40876 h 81888"/>
                <a:gd name="connsiteX25" fmla="*/ 164350 w 181558"/>
                <a:gd name="connsiteY25" fmla="*/ 42044 h 81888"/>
                <a:gd name="connsiteX26" fmla="*/ 165893 w 181558"/>
                <a:gd name="connsiteY26" fmla="*/ 44658 h 81888"/>
                <a:gd name="connsiteX27" fmla="*/ 165886 w 181558"/>
                <a:gd name="connsiteY27" fmla="*/ 45391 h 81888"/>
                <a:gd name="connsiteX28" fmla="*/ 165235 w 181558"/>
                <a:gd name="connsiteY28" fmla="*/ 47093 h 81888"/>
                <a:gd name="connsiteX29" fmla="*/ 164027 w 181558"/>
                <a:gd name="connsiteY29" fmla="*/ 47280 h 81888"/>
                <a:gd name="connsiteX30" fmla="*/ 162414 w 181558"/>
                <a:gd name="connsiteY30" fmla="*/ 45617 h 81888"/>
                <a:gd name="connsiteX31" fmla="*/ 159332 w 181558"/>
                <a:gd name="connsiteY31" fmla="*/ 44782 h 81888"/>
                <a:gd name="connsiteX32" fmla="*/ 157978 w 181558"/>
                <a:gd name="connsiteY32" fmla="*/ 43318 h 81888"/>
                <a:gd name="connsiteX33" fmla="*/ 157095 w 181558"/>
                <a:gd name="connsiteY33" fmla="*/ 41593 h 81888"/>
                <a:gd name="connsiteX34" fmla="*/ 158842 w 181558"/>
                <a:gd name="connsiteY34" fmla="*/ 41166 h 81888"/>
                <a:gd name="connsiteX35" fmla="*/ 160560 w 181558"/>
                <a:gd name="connsiteY35" fmla="*/ 38845 h 81888"/>
                <a:gd name="connsiteX36" fmla="*/ 159388 w 181558"/>
                <a:gd name="connsiteY36" fmla="*/ 37981 h 81888"/>
                <a:gd name="connsiteX37" fmla="*/ 157367 w 181558"/>
                <a:gd name="connsiteY37" fmla="*/ 37828 h 81888"/>
                <a:gd name="connsiteX38" fmla="*/ 157605 w 181558"/>
                <a:gd name="connsiteY38" fmla="*/ 36923 h 81888"/>
                <a:gd name="connsiteX39" fmla="*/ 147140 w 181558"/>
                <a:gd name="connsiteY39" fmla="*/ 29848 h 81888"/>
                <a:gd name="connsiteX40" fmla="*/ 148073 w 181558"/>
                <a:gd name="connsiteY40" fmla="*/ 29961 h 81888"/>
                <a:gd name="connsiteX41" fmla="*/ 149092 w 181558"/>
                <a:gd name="connsiteY41" fmla="*/ 30696 h 81888"/>
                <a:gd name="connsiteX42" fmla="*/ 147922 w 181558"/>
                <a:gd name="connsiteY42" fmla="*/ 31326 h 81888"/>
                <a:gd name="connsiteX43" fmla="*/ 147533 w 181558"/>
                <a:gd name="connsiteY43" fmla="*/ 32429 h 81888"/>
                <a:gd name="connsiteX44" fmla="*/ 147574 w 181558"/>
                <a:gd name="connsiteY44" fmla="*/ 33812 h 81888"/>
                <a:gd name="connsiteX45" fmla="*/ 148025 w 181558"/>
                <a:gd name="connsiteY45" fmla="*/ 34064 h 81888"/>
                <a:gd name="connsiteX46" fmla="*/ 147281 w 181558"/>
                <a:gd name="connsiteY46" fmla="*/ 35578 h 81888"/>
                <a:gd name="connsiteX47" fmla="*/ 146350 w 181558"/>
                <a:gd name="connsiteY47" fmla="*/ 36427 h 81888"/>
                <a:gd name="connsiteX48" fmla="*/ 145173 w 181558"/>
                <a:gd name="connsiteY48" fmla="*/ 36654 h 81888"/>
                <a:gd name="connsiteX49" fmla="*/ 146594 w 181558"/>
                <a:gd name="connsiteY49" fmla="*/ 34544 h 81888"/>
                <a:gd name="connsiteX50" fmla="*/ 146635 w 181558"/>
                <a:gd name="connsiteY50" fmla="*/ 33253 h 81888"/>
                <a:gd name="connsiteX51" fmla="*/ 147205 w 181558"/>
                <a:gd name="connsiteY51" fmla="*/ 30703 h 81888"/>
                <a:gd name="connsiteX52" fmla="*/ 91354 w 181558"/>
                <a:gd name="connsiteY52" fmla="*/ 23587 h 81888"/>
                <a:gd name="connsiteX53" fmla="*/ 94509 w 181558"/>
                <a:gd name="connsiteY53" fmla="*/ 25995 h 81888"/>
                <a:gd name="connsiteX54" fmla="*/ 97004 w 181558"/>
                <a:gd name="connsiteY54" fmla="*/ 27441 h 81888"/>
                <a:gd name="connsiteX55" fmla="*/ 99675 w 181558"/>
                <a:gd name="connsiteY55" fmla="*/ 26827 h 81888"/>
                <a:gd name="connsiteX56" fmla="*/ 103039 w 181558"/>
                <a:gd name="connsiteY56" fmla="*/ 29106 h 81888"/>
                <a:gd name="connsiteX57" fmla="*/ 111609 w 181558"/>
                <a:gd name="connsiteY57" fmla="*/ 36019 h 81888"/>
                <a:gd name="connsiteX58" fmla="*/ 114622 w 181558"/>
                <a:gd name="connsiteY58" fmla="*/ 37483 h 81888"/>
                <a:gd name="connsiteX59" fmla="*/ 116389 w 181558"/>
                <a:gd name="connsiteY59" fmla="*/ 38045 h 81888"/>
                <a:gd name="connsiteX60" fmla="*/ 117727 w 181558"/>
                <a:gd name="connsiteY60" fmla="*/ 39178 h 81888"/>
                <a:gd name="connsiteX61" fmla="*/ 118928 w 181558"/>
                <a:gd name="connsiteY61" fmla="*/ 40772 h 81888"/>
                <a:gd name="connsiteX62" fmla="*/ 120563 w 181558"/>
                <a:gd name="connsiteY62" fmla="*/ 41899 h 81888"/>
                <a:gd name="connsiteX63" fmla="*/ 121269 w 181558"/>
                <a:gd name="connsiteY63" fmla="*/ 42950 h 81888"/>
                <a:gd name="connsiteX64" fmla="*/ 121446 w 181558"/>
                <a:gd name="connsiteY64" fmla="*/ 44369 h 81888"/>
                <a:gd name="connsiteX65" fmla="*/ 122036 w 181558"/>
                <a:gd name="connsiteY65" fmla="*/ 45242 h 81888"/>
                <a:gd name="connsiteX66" fmla="*/ 125026 w 181558"/>
                <a:gd name="connsiteY66" fmla="*/ 47540 h 81888"/>
                <a:gd name="connsiteX67" fmla="*/ 126803 w 181558"/>
                <a:gd name="connsiteY67" fmla="*/ 49556 h 81888"/>
                <a:gd name="connsiteX68" fmla="*/ 129275 w 181558"/>
                <a:gd name="connsiteY68" fmla="*/ 50586 h 81888"/>
                <a:gd name="connsiteX69" fmla="*/ 130342 w 181558"/>
                <a:gd name="connsiteY69" fmla="*/ 51790 h 81888"/>
                <a:gd name="connsiteX70" fmla="*/ 131724 w 181558"/>
                <a:gd name="connsiteY70" fmla="*/ 52377 h 81888"/>
                <a:gd name="connsiteX71" fmla="*/ 133143 w 181558"/>
                <a:gd name="connsiteY71" fmla="*/ 53609 h 81888"/>
                <a:gd name="connsiteX72" fmla="*/ 135538 w 181558"/>
                <a:gd name="connsiteY72" fmla="*/ 54570 h 81888"/>
                <a:gd name="connsiteX73" fmla="*/ 140966 w 181558"/>
                <a:gd name="connsiteY73" fmla="*/ 58119 h 81888"/>
                <a:gd name="connsiteX74" fmla="*/ 145160 w 181558"/>
                <a:gd name="connsiteY74" fmla="*/ 61493 h 81888"/>
                <a:gd name="connsiteX75" fmla="*/ 147250 w 181558"/>
                <a:gd name="connsiteY75" fmla="*/ 63580 h 81888"/>
                <a:gd name="connsiteX76" fmla="*/ 149509 w 181558"/>
                <a:gd name="connsiteY76" fmla="*/ 65439 h 81888"/>
                <a:gd name="connsiteX77" fmla="*/ 152394 w 181558"/>
                <a:gd name="connsiteY77" fmla="*/ 66923 h 81888"/>
                <a:gd name="connsiteX78" fmla="*/ 155097 w 181558"/>
                <a:gd name="connsiteY78" fmla="*/ 68620 h 81888"/>
                <a:gd name="connsiteX79" fmla="*/ 156467 w 181558"/>
                <a:gd name="connsiteY79" fmla="*/ 72599 h 81888"/>
                <a:gd name="connsiteX80" fmla="*/ 155715 w 181558"/>
                <a:gd name="connsiteY80" fmla="*/ 74023 h 81888"/>
                <a:gd name="connsiteX81" fmla="*/ 154160 w 181558"/>
                <a:gd name="connsiteY81" fmla="*/ 74731 h 81888"/>
                <a:gd name="connsiteX82" fmla="*/ 152722 w 181558"/>
                <a:gd name="connsiteY82" fmla="*/ 74781 h 81888"/>
                <a:gd name="connsiteX83" fmla="*/ 151377 w 181558"/>
                <a:gd name="connsiteY83" fmla="*/ 75262 h 81888"/>
                <a:gd name="connsiteX84" fmla="*/ 146877 w 181558"/>
                <a:gd name="connsiteY84" fmla="*/ 72692 h 81888"/>
                <a:gd name="connsiteX85" fmla="*/ 145805 w 181558"/>
                <a:gd name="connsiteY85" fmla="*/ 72313 h 81888"/>
                <a:gd name="connsiteX86" fmla="*/ 144607 w 181558"/>
                <a:gd name="connsiteY86" fmla="*/ 72472 h 81888"/>
                <a:gd name="connsiteX87" fmla="*/ 143937 w 181558"/>
                <a:gd name="connsiteY87" fmla="*/ 71903 h 81888"/>
                <a:gd name="connsiteX88" fmla="*/ 143467 w 181558"/>
                <a:gd name="connsiteY88" fmla="*/ 71082 h 81888"/>
                <a:gd name="connsiteX89" fmla="*/ 140722 w 181558"/>
                <a:gd name="connsiteY89" fmla="*/ 70128 h 81888"/>
                <a:gd name="connsiteX90" fmla="*/ 138166 w 181558"/>
                <a:gd name="connsiteY90" fmla="*/ 68597 h 81888"/>
                <a:gd name="connsiteX91" fmla="*/ 137425 w 181558"/>
                <a:gd name="connsiteY91" fmla="*/ 67559 h 81888"/>
                <a:gd name="connsiteX92" fmla="*/ 136995 w 181558"/>
                <a:gd name="connsiteY92" fmla="*/ 66268 h 81888"/>
                <a:gd name="connsiteX93" fmla="*/ 136384 w 181558"/>
                <a:gd name="connsiteY93" fmla="*/ 65523 h 81888"/>
                <a:gd name="connsiteX94" fmla="*/ 132778 w 181558"/>
                <a:gd name="connsiteY94" fmla="*/ 64395 h 81888"/>
                <a:gd name="connsiteX95" fmla="*/ 130355 w 181558"/>
                <a:gd name="connsiteY95" fmla="*/ 63138 h 81888"/>
                <a:gd name="connsiteX96" fmla="*/ 128596 w 181558"/>
                <a:gd name="connsiteY96" fmla="*/ 61366 h 81888"/>
                <a:gd name="connsiteX97" fmla="*/ 125861 w 181558"/>
                <a:gd name="connsiteY97" fmla="*/ 60135 h 81888"/>
                <a:gd name="connsiteX98" fmla="*/ 121603 w 181558"/>
                <a:gd name="connsiteY98" fmla="*/ 57606 h 81888"/>
                <a:gd name="connsiteX99" fmla="*/ 119413 w 181558"/>
                <a:gd name="connsiteY99" fmla="*/ 56796 h 81888"/>
                <a:gd name="connsiteX100" fmla="*/ 117498 w 181558"/>
                <a:gd name="connsiteY100" fmla="*/ 55532 h 81888"/>
                <a:gd name="connsiteX101" fmla="*/ 112372 w 181558"/>
                <a:gd name="connsiteY101" fmla="*/ 50936 h 81888"/>
                <a:gd name="connsiteX102" fmla="*/ 110543 w 181558"/>
                <a:gd name="connsiteY102" fmla="*/ 50080 h 81888"/>
                <a:gd name="connsiteX103" fmla="*/ 108947 w 181558"/>
                <a:gd name="connsiteY103" fmla="*/ 48039 h 81888"/>
                <a:gd name="connsiteX104" fmla="*/ 104534 w 181558"/>
                <a:gd name="connsiteY104" fmla="*/ 43199 h 81888"/>
                <a:gd name="connsiteX105" fmla="*/ 102407 w 181558"/>
                <a:gd name="connsiteY105" fmla="*/ 41207 h 81888"/>
                <a:gd name="connsiteX106" fmla="*/ 100089 w 181558"/>
                <a:gd name="connsiteY106" fmla="*/ 39435 h 81888"/>
                <a:gd name="connsiteX107" fmla="*/ 98316 w 181558"/>
                <a:gd name="connsiteY107" fmla="*/ 37362 h 81888"/>
                <a:gd name="connsiteX108" fmla="*/ 96954 w 181558"/>
                <a:gd name="connsiteY108" fmla="*/ 34904 h 81888"/>
                <a:gd name="connsiteX109" fmla="*/ 93788 w 181558"/>
                <a:gd name="connsiteY109" fmla="*/ 31387 h 81888"/>
                <a:gd name="connsiteX110" fmla="*/ 93399 w 181558"/>
                <a:gd name="connsiteY110" fmla="*/ 29884 h 81888"/>
                <a:gd name="connsiteX111" fmla="*/ 93531 w 181558"/>
                <a:gd name="connsiteY111" fmla="*/ 28341 h 81888"/>
                <a:gd name="connsiteX112" fmla="*/ 92769 w 181558"/>
                <a:gd name="connsiteY112" fmla="*/ 27348 h 81888"/>
                <a:gd name="connsiteX113" fmla="*/ 91473 w 181558"/>
                <a:gd name="connsiteY113" fmla="*/ 26744 h 81888"/>
                <a:gd name="connsiteX114" fmla="*/ 90860 w 181558"/>
                <a:gd name="connsiteY114" fmla="*/ 25707 h 81888"/>
                <a:gd name="connsiteX115" fmla="*/ 90931 w 181558"/>
                <a:gd name="connsiteY115" fmla="*/ 24309 h 81888"/>
                <a:gd name="connsiteX116" fmla="*/ 700 w 181558"/>
                <a:gd name="connsiteY116" fmla="*/ 0 h 81888"/>
                <a:gd name="connsiteX117" fmla="*/ 1036 w 181558"/>
                <a:gd name="connsiteY117" fmla="*/ 2835 h 81888"/>
                <a:gd name="connsiteX118" fmla="*/ 520 w 181558"/>
                <a:gd name="connsiteY118" fmla="*/ 4520 h 81888"/>
                <a:gd name="connsiteX119" fmla="*/ 181 w 181558"/>
                <a:gd name="connsiteY119" fmla="*/ 5011 h 81888"/>
                <a:gd name="connsiteX120" fmla="*/ 0 w 181558"/>
                <a:gd name="connsiteY120" fmla="*/ 1369 h 81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181558" h="81888">
                  <a:moveTo>
                    <a:pt x="166177" y="79103"/>
                  </a:moveTo>
                  <a:lnTo>
                    <a:pt x="168080" y="79982"/>
                  </a:lnTo>
                  <a:lnTo>
                    <a:pt x="168410" y="81007"/>
                  </a:lnTo>
                  <a:lnTo>
                    <a:pt x="167708" y="81888"/>
                  </a:lnTo>
                  <a:lnTo>
                    <a:pt x="166840" y="81707"/>
                  </a:lnTo>
                  <a:lnTo>
                    <a:pt x="166184" y="81377"/>
                  </a:lnTo>
                  <a:lnTo>
                    <a:pt x="165704" y="80898"/>
                  </a:lnTo>
                  <a:close/>
                  <a:moveTo>
                    <a:pt x="178229" y="51191"/>
                  </a:moveTo>
                  <a:lnTo>
                    <a:pt x="178151" y="51928"/>
                  </a:lnTo>
                  <a:lnTo>
                    <a:pt x="178365" y="52789"/>
                  </a:lnTo>
                  <a:lnTo>
                    <a:pt x="178726" y="53322"/>
                  </a:lnTo>
                  <a:lnTo>
                    <a:pt x="179764" y="53749"/>
                  </a:lnTo>
                  <a:lnTo>
                    <a:pt x="181558" y="53674"/>
                  </a:lnTo>
                  <a:lnTo>
                    <a:pt x="181152" y="57624"/>
                  </a:lnTo>
                  <a:lnTo>
                    <a:pt x="178626" y="58257"/>
                  </a:lnTo>
                  <a:lnTo>
                    <a:pt x="177749" y="58221"/>
                  </a:lnTo>
                  <a:lnTo>
                    <a:pt x="177186" y="57391"/>
                  </a:lnTo>
                  <a:lnTo>
                    <a:pt x="175739" y="56844"/>
                  </a:lnTo>
                  <a:lnTo>
                    <a:pt x="175811" y="55489"/>
                  </a:lnTo>
                  <a:lnTo>
                    <a:pt x="174402" y="52459"/>
                  </a:lnTo>
                  <a:lnTo>
                    <a:pt x="176847" y="52000"/>
                  </a:lnTo>
                  <a:close/>
                  <a:moveTo>
                    <a:pt x="160883" y="35845"/>
                  </a:moveTo>
                  <a:lnTo>
                    <a:pt x="162318" y="36469"/>
                  </a:lnTo>
                  <a:lnTo>
                    <a:pt x="162959" y="37206"/>
                  </a:lnTo>
                  <a:lnTo>
                    <a:pt x="162860" y="40876"/>
                  </a:lnTo>
                  <a:lnTo>
                    <a:pt x="164350" y="42044"/>
                  </a:lnTo>
                  <a:lnTo>
                    <a:pt x="165893" y="44658"/>
                  </a:lnTo>
                  <a:lnTo>
                    <a:pt x="165886" y="45391"/>
                  </a:lnTo>
                  <a:lnTo>
                    <a:pt x="165235" y="47093"/>
                  </a:lnTo>
                  <a:lnTo>
                    <a:pt x="164027" y="47280"/>
                  </a:lnTo>
                  <a:lnTo>
                    <a:pt x="162414" y="45617"/>
                  </a:lnTo>
                  <a:lnTo>
                    <a:pt x="159332" y="44782"/>
                  </a:lnTo>
                  <a:lnTo>
                    <a:pt x="157978" y="43318"/>
                  </a:lnTo>
                  <a:lnTo>
                    <a:pt x="157095" y="41593"/>
                  </a:lnTo>
                  <a:lnTo>
                    <a:pt x="158842" y="41166"/>
                  </a:lnTo>
                  <a:lnTo>
                    <a:pt x="160560" y="38845"/>
                  </a:lnTo>
                  <a:lnTo>
                    <a:pt x="159388" y="37981"/>
                  </a:lnTo>
                  <a:lnTo>
                    <a:pt x="157367" y="37828"/>
                  </a:lnTo>
                  <a:lnTo>
                    <a:pt x="157605" y="36923"/>
                  </a:lnTo>
                  <a:close/>
                  <a:moveTo>
                    <a:pt x="147140" y="29848"/>
                  </a:moveTo>
                  <a:lnTo>
                    <a:pt x="148073" y="29961"/>
                  </a:lnTo>
                  <a:lnTo>
                    <a:pt x="149092" y="30696"/>
                  </a:lnTo>
                  <a:lnTo>
                    <a:pt x="147922" y="31326"/>
                  </a:lnTo>
                  <a:lnTo>
                    <a:pt x="147533" y="32429"/>
                  </a:lnTo>
                  <a:lnTo>
                    <a:pt x="147574" y="33812"/>
                  </a:lnTo>
                  <a:lnTo>
                    <a:pt x="148025" y="34064"/>
                  </a:lnTo>
                  <a:lnTo>
                    <a:pt x="147281" y="35578"/>
                  </a:lnTo>
                  <a:lnTo>
                    <a:pt x="146350" y="36427"/>
                  </a:lnTo>
                  <a:lnTo>
                    <a:pt x="145173" y="36654"/>
                  </a:lnTo>
                  <a:lnTo>
                    <a:pt x="146594" y="34544"/>
                  </a:lnTo>
                  <a:lnTo>
                    <a:pt x="146635" y="33253"/>
                  </a:lnTo>
                  <a:lnTo>
                    <a:pt x="147205" y="30703"/>
                  </a:lnTo>
                  <a:close/>
                  <a:moveTo>
                    <a:pt x="91354" y="23587"/>
                  </a:moveTo>
                  <a:lnTo>
                    <a:pt x="94509" y="25995"/>
                  </a:lnTo>
                  <a:lnTo>
                    <a:pt x="97004" y="27441"/>
                  </a:lnTo>
                  <a:lnTo>
                    <a:pt x="99675" y="26827"/>
                  </a:lnTo>
                  <a:lnTo>
                    <a:pt x="103039" y="29106"/>
                  </a:lnTo>
                  <a:lnTo>
                    <a:pt x="111609" y="36019"/>
                  </a:lnTo>
                  <a:lnTo>
                    <a:pt x="114622" y="37483"/>
                  </a:lnTo>
                  <a:lnTo>
                    <a:pt x="116389" y="38045"/>
                  </a:lnTo>
                  <a:lnTo>
                    <a:pt x="117727" y="39178"/>
                  </a:lnTo>
                  <a:lnTo>
                    <a:pt x="118928" y="40772"/>
                  </a:lnTo>
                  <a:lnTo>
                    <a:pt x="120563" y="41899"/>
                  </a:lnTo>
                  <a:lnTo>
                    <a:pt x="121269" y="42950"/>
                  </a:lnTo>
                  <a:lnTo>
                    <a:pt x="121446" y="44369"/>
                  </a:lnTo>
                  <a:lnTo>
                    <a:pt x="122036" y="45242"/>
                  </a:lnTo>
                  <a:lnTo>
                    <a:pt x="125026" y="47540"/>
                  </a:lnTo>
                  <a:lnTo>
                    <a:pt x="126803" y="49556"/>
                  </a:lnTo>
                  <a:lnTo>
                    <a:pt x="129275" y="50586"/>
                  </a:lnTo>
                  <a:lnTo>
                    <a:pt x="130342" y="51790"/>
                  </a:lnTo>
                  <a:lnTo>
                    <a:pt x="131724" y="52377"/>
                  </a:lnTo>
                  <a:lnTo>
                    <a:pt x="133143" y="53609"/>
                  </a:lnTo>
                  <a:lnTo>
                    <a:pt x="135538" y="54570"/>
                  </a:lnTo>
                  <a:lnTo>
                    <a:pt x="140966" y="58119"/>
                  </a:lnTo>
                  <a:lnTo>
                    <a:pt x="145160" y="61493"/>
                  </a:lnTo>
                  <a:lnTo>
                    <a:pt x="147250" y="63580"/>
                  </a:lnTo>
                  <a:lnTo>
                    <a:pt x="149509" y="65439"/>
                  </a:lnTo>
                  <a:lnTo>
                    <a:pt x="152394" y="66923"/>
                  </a:lnTo>
                  <a:lnTo>
                    <a:pt x="155097" y="68620"/>
                  </a:lnTo>
                  <a:lnTo>
                    <a:pt x="156467" y="72599"/>
                  </a:lnTo>
                  <a:lnTo>
                    <a:pt x="155715" y="74023"/>
                  </a:lnTo>
                  <a:lnTo>
                    <a:pt x="154160" y="74731"/>
                  </a:lnTo>
                  <a:lnTo>
                    <a:pt x="152722" y="74781"/>
                  </a:lnTo>
                  <a:lnTo>
                    <a:pt x="151377" y="75262"/>
                  </a:lnTo>
                  <a:lnTo>
                    <a:pt x="146877" y="72692"/>
                  </a:lnTo>
                  <a:lnTo>
                    <a:pt x="145805" y="72313"/>
                  </a:lnTo>
                  <a:lnTo>
                    <a:pt x="144607" y="72472"/>
                  </a:lnTo>
                  <a:lnTo>
                    <a:pt x="143937" y="71903"/>
                  </a:lnTo>
                  <a:lnTo>
                    <a:pt x="143467" y="71082"/>
                  </a:lnTo>
                  <a:lnTo>
                    <a:pt x="140722" y="70128"/>
                  </a:lnTo>
                  <a:lnTo>
                    <a:pt x="138166" y="68597"/>
                  </a:lnTo>
                  <a:lnTo>
                    <a:pt x="137425" y="67559"/>
                  </a:lnTo>
                  <a:lnTo>
                    <a:pt x="136995" y="66268"/>
                  </a:lnTo>
                  <a:lnTo>
                    <a:pt x="136384" y="65523"/>
                  </a:lnTo>
                  <a:lnTo>
                    <a:pt x="132778" y="64395"/>
                  </a:lnTo>
                  <a:lnTo>
                    <a:pt x="130355" y="63138"/>
                  </a:lnTo>
                  <a:lnTo>
                    <a:pt x="128596" y="61366"/>
                  </a:lnTo>
                  <a:lnTo>
                    <a:pt x="125861" y="60135"/>
                  </a:lnTo>
                  <a:lnTo>
                    <a:pt x="121603" y="57606"/>
                  </a:lnTo>
                  <a:lnTo>
                    <a:pt x="119413" y="56796"/>
                  </a:lnTo>
                  <a:lnTo>
                    <a:pt x="117498" y="55532"/>
                  </a:lnTo>
                  <a:lnTo>
                    <a:pt x="112372" y="50936"/>
                  </a:lnTo>
                  <a:lnTo>
                    <a:pt x="110543" y="50080"/>
                  </a:lnTo>
                  <a:lnTo>
                    <a:pt x="108947" y="48039"/>
                  </a:lnTo>
                  <a:lnTo>
                    <a:pt x="104534" y="43199"/>
                  </a:lnTo>
                  <a:lnTo>
                    <a:pt x="102407" y="41207"/>
                  </a:lnTo>
                  <a:lnTo>
                    <a:pt x="100089" y="39435"/>
                  </a:lnTo>
                  <a:lnTo>
                    <a:pt x="98316" y="37362"/>
                  </a:lnTo>
                  <a:lnTo>
                    <a:pt x="96954" y="34904"/>
                  </a:lnTo>
                  <a:lnTo>
                    <a:pt x="93788" y="31387"/>
                  </a:lnTo>
                  <a:lnTo>
                    <a:pt x="93399" y="29884"/>
                  </a:lnTo>
                  <a:lnTo>
                    <a:pt x="93531" y="28341"/>
                  </a:lnTo>
                  <a:lnTo>
                    <a:pt x="92769" y="27348"/>
                  </a:lnTo>
                  <a:lnTo>
                    <a:pt x="91473" y="26744"/>
                  </a:lnTo>
                  <a:lnTo>
                    <a:pt x="90860" y="25707"/>
                  </a:lnTo>
                  <a:lnTo>
                    <a:pt x="90931" y="24309"/>
                  </a:lnTo>
                  <a:close/>
                  <a:moveTo>
                    <a:pt x="700" y="0"/>
                  </a:moveTo>
                  <a:lnTo>
                    <a:pt x="1036" y="2835"/>
                  </a:lnTo>
                  <a:lnTo>
                    <a:pt x="520" y="4520"/>
                  </a:lnTo>
                  <a:lnTo>
                    <a:pt x="181" y="5011"/>
                  </a:lnTo>
                  <a:lnTo>
                    <a:pt x="0" y="1369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55" name="ee4p_AU_1_37365">
              <a:extLst>
                <a:ext uri="{FF2B5EF4-FFF2-40B4-BE49-F238E27FC236}">
                  <a16:creationId xmlns:a16="http://schemas.microsoft.com/office/drawing/2014/main" id="{0AD621F5-69C5-226A-8AAF-F98CFFAA7BBC}"/>
                </a:ext>
              </a:extLst>
            </p:cNvPr>
            <p:cNvSpPr>
              <a:spLocks noChangeAspect="1"/>
            </p:cNvSpPr>
            <p:nvPr>
              <p:custDataLst>
                <p:tags r:id="rId209"/>
              </p:custDataLst>
            </p:nvPr>
          </p:nvSpPr>
          <p:spPr>
            <a:xfrm>
              <a:off x="9650088" y="4963459"/>
              <a:ext cx="1130454" cy="1041511"/>
            </a:xfrm>
            <a:custGeom>
              <a:avLst/>
              <a:gdLst>
                <a:gd name="connsiteX0" fmla="*/ 760119 w 900155"/>
                <a:gd name="connsiteY0" fmla="*/ 798187 h 807349"/>
                <a:gd name="connsiteX1" fmla="*/ 760751 w 900155"/>
                <a:gd name="connsiteY1" fmla="*/ 798224 h 807349"/>
                <a:gd name="connsiteX2" fmla="*/ 761414 w 900155"/>
                <a:gd name="connsiteY2" fmla="*/ 799998 h 807349"/>
                <a:gd name="connsiteX3" fmla="*/ 761714 w 900155"/>
                <a:gd name="connsiteY3" fmla="*/ 801361 h 807349"/>
                <a:gd name="connsiteX4" fmla="*/ 760671 w 900155"/>
                <a:gd name="connsiteY4" fmla="*/ 804155 h 807349"/>
                <a:gd name="connsiteX5" fmla="*/ 758959 w 900155"/>
                <a:gd name="connsiteY5" fmla="*/ 803680 h 807349"/>
                <a:gd name="connsiteX6" fmla="*/ 757242 w 900155"/>
                <a:gd name="connsiteY6" fmla="*/ 804140 h 807349"/>
                <a:gd name="connsiteX7" fmla="*/ 756162 w 900155"/>
                <a:gd name="connsiteY7" fmla="*/ 802281 h 807349"/>
                <a:gd name="connsiteX8" fmla="*/ 756156 w 900155"/>
                <a:gd name="connsiteY8" fmla="*/ 801790 h 807349"/>
                <a:gd name="connsiteX9" fmla="*/ 757447 w 900155"/>
                <a:gd name="connsiteY9" fmla="*/ 802258 h 807349"/>
                <a:gd name="connsiteX10" fmla="*/ 757924 w 900155"/>
                <a:gd name="connsiteY10" fmla="*/ 801653 h 807349"/>
                <a:gd name="connsiteX11" fmla="*/ 758230 w 900155"/>
                <a:gd name="connsiteY11" fmla="*/ 800883 h 807349"/>
                <a:gd name="connsiteX12" fmla="*/ 758700 w 900155"/>
                <a:gd name="connsiteY12" fmla="*/ 800673 h 807349"/>
                <a:gd name="connsiteX13" fmla="*/ 759015 w 900155"/>
                <a:gd name="connsiteY13" fmla="*/ 799573 h 807349"/>
                <a:gd name="connsiteX14" fmla="*/ 761636 w 900155"/>
                <a:gd name="connsiteY14" fmla="*/ 792855 h 807349"/>
                <a:gd name="connsiteX15" fmla="*/ 762625 w 900155"/>
                <a:gd name="connsiteY15" fmla="*/ 793874 h 807349"/>
                <a:gd name="connsiteX16" fmla="*/ 763450 w 900155"/>
                <a:gd name="connsiteY16" fmla="*/ 797161 h 807349"/>
                <a:gd name="connsiteX17" fmla="*/ 762064 w 900155"/>
                <a:gd name="connsiteY17" fmla="*/ 797164 h 807349"/>
                <a:gd name="connsiteX18" fmla="*/ 761555 w 900155"/>
                <a:gd name="connsiteY18" fmla="*/ 796938 h 807349"/>
                <a:gd name="connsiteX19" fmla="*/ 761306 w 900155"/>
                <a:gd name="connsiteY19" fmla="*/ 795619 h 807349"/>
                <a:gd name="connsiteX20" fmla="*/ 760388 w 900155"/>
                <a:gd name="connsiteY20" fmla="*/ 795040 h 807349"/>
                <a:gd name="connsiteX21" fmla="*/ 760898 w 900155"/>
                <a:gd name="connsiteY21" fmla="*/ 794599 h 807349"/>
                <a:gd name="connsiteX22" fmla="*/ 761080 w 900155"/>
                <a:gd name="connsiteY22" fmla="*/ 793777 h 807349"/>
                <a:gd name="connsiteX23" fmla="*/ 777558 w 900155"/>
                <a:gd name="connsiteY23" fmla="*/ 779821 h 807349"/>
                <a:gd name="connsiteX24" fmla="*/ 779110 w 900155"/>
                <a:gd name="connsiteY24" fmla="*/ 780428 h 807349"/>
                <a:gd name="connsiteX25" fmla="*/ 779702 w 900155"/>
                <a:gd name="connsiteY25" fmla="*/ 781386 h 807349"/>
                <a:gd name="connsiteX26" fmla="*/ 778178 w 900155"/>
                <a:gd name="connsiteY26" fmla="*/ 782155 h 807349"/>
                <a:gd name="connsiteX27" fmla="*/ 778259 w 900155"/>
                <a:gd name="connsiteY27" fmla="*/ 782954 h 807349"/>
                <a:gd name="connsiteX28" fmla="*/ 777018 w 900155"/>
                <a:gd name="connsiteY28" fmla="*/ 783189 h 807349"/>
                <a:gd name="connsiteX29" fmla="*/ 776610 w 900155"/>
                <a:gd name="connsiteY29" fmla="*/ 783071 h 807349"/>
                <a:gd name="connsiteX30" fmla="*/ 776635 w 900155"/>
                <a:gd name="connsiteY30" fmla="*/ 781696 h 807349"/>
                <a:gd name="connsiteX31" fmla="*/ 776456 w 900155"/>
                <a:gd name="connsiteY31" fmla="*/ 781083 h 807349"/>
                <a:gd name="connsiteX32" fmla="*/ 703393 w 900155"/>
                <a:gd name="connsiteY32" fmla="*/ 728995 h 807349"/>
                <a:gd name="connsiteX33" fmla="*/ 705605 w 900155"/>
                <a:gd name="connsiteY33" fmla="*/ 730292 h 807349"/>
                <a:gd name="connsiteX34" fmla="*/ 710567 w 900155"/>
                <a:gd name="connsiteY34" fmla="*/ 731999 h 807349"/>
                <a:gd name="connsiteX35" fmla="*/ 713126 w 900155"/>
                <a:gd name="connsiteY35" fmla="*/ 732101 h 807349"/>
                <a:gd name="connsiteX36" fmla="*/ 714577 w 900155"/>
                <a:gd name="connsiteY36" fmla="*/ 731432 h 807349"/>
                <a:gd name="connsiteX37" fmla="*/ 715875 w 900155"/>
                <a:gd name="connsiteY37" fmla="*/ 731558 h 807349"/>
                <a:gd name="connsiteX38" fmla="*/ 717344 w 900155"/>
                <a:gd name="connsiteY38" fmla="*/ 733040 h 807349"/>
                <a:gd name="connsiteX39" fmla="*/ 719112 w 900155"/>
                <a:gd name="connsiteY39" fmla="*/ 733876 h 807349"/>
                <a:gd name="connsiteX40" fmla="*/ 720344 w 900155"/>
                <a:gd name="connsiteY40" fmla="*/ 733723 h 807349"/>
                <a:gd name="connsiteX41" fmla="*/ 721414 w 900155"/>
                <a:gd name="connsiteY41" fmla="*/ 734028 h 807349"/>
                <a:gd name="connsiteX42" fmla="*/ 722364 w 900155"/>
                <a:gd name="connsiteY42" fmla="*/ 735083 h 807349"/>
                <a:gd name="connsiteX43" fmla="*/ 724787 w 900155"/>
                <a:gd name="connsiteY43" fmla="*/ 736001 h 807349"/>
                <a:gd name="connsiteX44" fmla="*/ 725842 w 900155"/>
                <a:gd name="connsiteY44" fmla="*/ 736605 h 807349"/>
                <a:gd name="connsiteX45" fmla="*/ 726762 w 900155"/>
                <a:gd name="connsiteY45" fmla="*/ 737530 h 807349"/>
                <a:gd name="connsiteX46" fmla="*/ 727782 w 900155"/>
                <a:gd name="connsiteY46" fmla="*/ 738251 h 807349"/>
                <a:gd name="connsiteX47" fmla="*/ 734187 w 900155"/>
                <a:gd name="connsiteY47" fmla="*/ 740712 h 807349"/>
                <a:gd name="connsiteX48" fmla="*/ 738749 w 900155"/>
                <a:gd name="connsiteY48" fmla="*/ 741908 h 807349"/>
                <a:gd name="connsiteX49" fmla="*/ 744430 w 900155"/>
                <a:gd name="connsiteY49" fmla="*/ 741352 h 807349"/>
                <a:gd name="connsiteX50" fmla="*/ 746115 w 900155"/>
                <a:gd name="connsiteY50" fmla="*/ 740663 h 807349"/>
                <a:gd name="connsiteX51" fmla="*/ 747726 w 900155"/>
                <a:gd name="connsiteY51" fmla="*/ 739657 h 807349"/>
                <a:gd name="connsiteX52" fmla="*/ 749110 w 900155"/>
                <a:gd name="connsiteY52" fmla="*/ 740596 h 807349"/>
                <a:gd name="connsiteX53" fmla="*/ 750484 w 900155"/>
                <a:gd name="connsiteY53" fmla="*/ 742029 h 807349"/>
                <a:gd name="connsiteX54" fmla="*/ 750215 w 900155"/>
                <a:gd name="connsiteY54" fmla="*/ 740483 h 807349"/>
                <a:gd name="connsiteX55" fmla="*/ 750671 w 900155"/>
                <a:gd name="connsiteY55" fmla="*/ 739138 h 807349"/>
                <a:gd name="connsiteX56" fmla="*/ 752059 w 900155"/>
                <a:gd name="connsiteY56" fmla="*/ 738072 h 807349"/>
                <a:gd name="connsiteX57" fmla="*/ 753617 w 900155"/>
                <a:gd name="connsiteY57" fmla="*/ 737404 h 807349"/>
                <a:gd name="connsiteX58" fmla="*/ 756180 w 900155"/>
                <a:gd name="connsiteY58" fmla="*/ 737453 h 807349"/>
                <a:gd name="connsiteX59" fmla="*/ 758680 w 900155"/>
                <a:gd name="connsiteY59" fmla="*/ 737167 h 807349"/>
                <a:gd name="connsiteX60" fmla="*/ 759788 w 900155"/>
                <a:gd name="connsiteY60" fmla="*/ 736546 h 807349"/>
                <a:gd name="connsiteX61" fmla="*/ 760929 w 900155"/>
                <a:gd name="connsiteY61" fmla="*/ 736458 h 807349"/>
                <a:gd name="connsiteX62" fmla="*/ 762414 w 900155"/>
                <a:gd name="connsiteY62" fmla="*/ 737224 h 807349"/>
                <a:gd name="connsiteX63" fmla="*/ 763897 w 900155"/>
                <a:gd name="connsiteY63" fmla="*/ 737648 h 807349"/>
                <a:gd name="connsiteX64" fmla="*/ 764914 w 900155"/>
                <a:gd name="connsiteY64" fmla="*/ 736662 h 807349"/>
                <a:gd name="connsiteX65" fmla="*/ 766651 w 900155"/>
                <a:gd name="connsiteY65" fmla="*/ 734333 h 807349"/>
                <a:gd name="connsiteX66" fmla="*/ 767588 w 900155"/>
                <a:gd name="connsiteY66" fmla="*/ 733522 h 807349"/>
                <a:gd name="connsiteX67" fmla="*/ 771922 w 900155"/>
                <a:gd name="connsiteY67" fmla="*/ 734230 h 807349"/>
                <a:gd name="connsiteX68" fmla="*/ 773144 w 900155"/>
                <a:gd name="connsiteY68" fmla="*/ 734254 h 807349"/>
                <a:gd name="connsiteX69" fmla="*/ 775263 w 900155"/>
                <a:gd name="connsiteY69" fmla="*/ 731812 h 807349"/>
                <a:gd name="connsiteX70" fmla="*/ 776679 w 900155"/>
                <a:gd name="connsiteY70" fmla="*/ 731847 h 807349"/>
                <a:gd name="connsiteX71" fmla="*/ 780713 w 900155"/>
                <a:gd name="connsiteY71" fmla="*/ 733789 h 807349"/>
                <a:gd name="connsiteX72" fmla="*/ 782430 w 900155"/>
                <a:gd name="connsiteY72" fmla="*/ 736212 h 807349"/>
                <a:gd name="connsiteX73" fmla="*/ 782265 w 900155"/>
                <a:gd name="connsiteY73" fmla="*/ 740640 h 807349"/>
                <a:gd name="connsiteX74" fmla="*/ 782401 w 900155"/>
                <a:gd name="connsiteY74" fmla="*/ 742201 h 807349"/>
                <a:gd name="connsiteX75" fmla="*/ 782725 w 900155"/>
                <a:gd name="connsiteY75" fmla="*/ 743742 h 807349"/>
                <a:gd name="connsiteX76" fmla="*/ 782858 w 900155"/>
                <a:gd name="connsiteY76" fmla="*/ 746818 h 807349"/>
                <a:gd name="connsiteX77" fmla="*/ 782362 w 900155"/>
                <a:gd name="connsiteY77" fmla="*/ 749863 h 807349"/>
                <a:gd name="connsiteX78" fmla="*/ 782298 w 900155"/>
                <a:gd name="connsiteY78" fmla="*/ 752240 h 807349"/>
                <a:gd name="connsiteX79" fmla="*/ 782512 w 900155"/>
                <a:gd name="connsiteY79" fmla="*/ 754653 h 807349"/>
                <a:gd name="connsiteX80" fmla="*/ 782313 w 900155"/>
                <a:gd name="connsiteY80" fmla="*/ 759142 h 807349"/>
                <a:gd name="connsiteX81" fmla="*/ 782934 w 900155"/>
                <a:gd name="connsiteY81" fmla="*/ 762112 h 807349"/>
                <a:gd name="connsiteX82" fmla="*/ 782624 w 900155"/>
                <a:gd name="connsiteY82" fmla="*/ 764142 h 807349"/>
                <a:gd name="connsiteX83" fmla="*/ 782620 w 900155"/>
                <a:gd name="connsiteY83" fmla="*/ 765091 h 807349"/>
                <a:gd name="connsiteX84" fmla="*/ 783207 w 900155"/>
                <a:gd name="connsiteY84" fmla="*/ 765988 h 807349"/>
                <a:gd name="connsiteX85" fmla="*/ 783489 w 900155"/>
                <a:gd name="connsiteY85" fmla="*/ 766982 h 807349"/>
                <a:gd name="connsiteX86" fmla="*/ 783274 w 900155"/>
                <a:gd name="connsiteY86" fmla="*/ 768259 h 807349"/>
                <a:gd name="connsiteX87" fmla="*/ 783528 w 900155"/>
                <a:gd name="connsiteY87" fmla="*/ 769753 h 807349"/>
                <a:gd name="connsiteX88" fmla="*/ 783278 w 900155"/>
                <a:gd name="connsiteY88" fmla="*/ 770984 h 807349"/>
                <a:gd name="connsiteX89" fmla="*/ 782373 w 900155"/>
                <a:gd name="connsiteY89" fmla="*/ 770808 h 807349"/>
                <a:gd name="connsiteX90" fmla="*/ 782077 w 900155"/>
                <a:gd name="connsiteY90" fmla="*/ 769861 h 807349"/>
                <a:gd name="connsiteX91" fmla="*/ 782246 w 900155"/>
                <a:gd name="connsiteY91" fmla="*/ 768638 h 807349"/>
                <a:gd name="connsiteX92" fmla="*/ 782082 w 900155"/>
                <a:gd name="connsiteY92" fmla="*/ 767654 h 807349"/>
                <a:gd name="connsiteX93" fmla="*/ 781609 w 900155"/>
                <a:gd name="connsiteY93" fmla="*/ 766756 h 807349"/>
                <a:gd name="connsiteX94" fmla="*/ 780002 w 900155"/>
                <a:gd name="connsiteY94" fmla="*/ 765750 h 807349"/>
                <a:gd name="connsiteX95" fmla="*/ 780473 w 900155"/>
                <a:gd name="connsiteY95" fmla="*/ 765145 h 807349"/>
                <a:gd name="connsiteX96" fmla="*/ 781296 w 900155"/>
                <a:gd name="connsiteY96" fmla="*/ 764611 h 807349"/>
                <a:gd name="connsiteX97" fmla="*/ 780678 w 900155"/>
                <a:gd name="connsiteY97" fmla="*/ 763234 h 807349"/>
                <a:gd name="connsiteX98" fmla="*/ 779650 w 900155"/>
                <a:gd name="connsiteY98" fmla="*/ 764357 h 807349"/>
                <a:gd name="connsiteX99" fmla="*/ 779076 w 900155"/>
                <a:gd name="connsiteY99" fmla="*/ 765885 h 807349"/>
                <a:gd name="connsiteX100" fmla="*/ 779409 w 900155"/>
                <a:gd name="connsiteY100" fmla="*/ 766375 h 807349"/>
                <a:gd name="connsiteX101" fmla="*/ 778773 w 900155"/>
                <a:gd name="connsiteY101" fmla="*/ 766785 h 807349"/>
                <a:gd name="connsiteX102" fmla="*/ 777426 w 900155"/>
                <a:gd name="connsiteY102" fmla="*/ 768555 h 807349"/>
                <a:gd name="connsiteX103" fmla="*/ 776456 w 900155"/>
                <a:gd name="connsiteY103" fmla="*/ 770927 h 807349"/>
                <a:gd name="connsiteX104" fmla="*/ 776061 w 900155"/>
                <a:gd name="connsiteY104" fmla="*/ 773207 h 807349"/>
                <a:gd name="connsiteX105" fmla="*/ 776160 w 900155"/>
                <a:gd name="connsiteY105" fmla="*/ 775627 h 807349"/>
                <a:gd name="connsiteX106" fmla="*/ 775368 w 900155"/>
                <a:gd name="connsiteY106" fmla="*/ 777491 h 807349"/>
                <a:gd name="connsiteX107" fmla="*/ 774282 w 900155"/>
                <a:gd name="connsiteY107" fmla="*/ 779268 h 807349"/>
                <a:gd name="connsiteX108" fmla="*/ 774010 w 900155"/>
                <a:gd name="connsiteY108" fmla="*/ 781566 h 807349"/>
                <a:gd name="connsiteX109" fmla="*/ 774075 w 900155"/>
                <a:gd name="connsiteY109" fmla="*/ 785787 h 807349"/>
                <a:gd name="connsiteX110" fmla="*/ 775018 w 900155"/>
                <a:gd name="connsiteY110" fmla="*/ 789643 h 807349"/>
                <a:gd name="connsiteX111" fmla="*/ 775530 w 900155"/>
                <a:gd name="connsiteY111" fmla="*/ 794914 h 807349"/>
                <a:gd name="connsiteX112" fmla="*/ 774746 w 900155"/>
                <a:gd name="connsiteY112" fmla="*/ 795580 h 807349"/>
                <a:gd name="connsiteX113" fmla="*/ 772384 w 900155"/>
                <a:gd name="connsiteY113" fmla="*/ 795937 h 807349"/>
                <a:gd name="connsiteX114" fmla="*/ 771218 w 900155"/>
                <a:gd name="connsiteY114" fmla="*/ 796605 h 807349"/>
                <a:gd name="connsiteX115" fmla="*/ 769296 w 900155"/>
                <a:gd name="connsiteY115" fmla="*/ 793989 h 807349"/>
                <a:gd name="connsiteX116" fmla="*/ 768168 w 900155"/>
                <a:gd name="connsiteY116" fmla="*/ 791255 h 807349"/>
                <a:gd name="connsiteX117" fmla="*/ 769039 w 900155"/>
                <a:gd name="connsiteY117" fmla="*/ 790164 h 807349"/>
                <a:gd name="connsiteX118" fmla="*/ 770954 w 900155"/>
                <a:gd name="connsiteY118" fmla="*/ 790794 h 807349"/>
                <a:gd name="connsiteX119" fmla="*/ 771540 w 900155"/>
                <a:gd name="connsiteY119" fmla="*/ 790174 h 807349"/>
                <a:gd name="connsiteX120" fmla="*/ 771695 w 900155"/>
                <a:gd name="connsiteY120" fmla="*/ 789473 h 807349"/>
                <a:gd name="connsiteX121" fmla="*/ 771531 w 900155"/>
                <a:gd name="connsiteY121" fmla="*/ 788777 h 807349"/>
                <a:gd name="connsiteX122" fmla="*/ 769175 w 900155"/>
                <a:gd name="connsiteY122" fmla="*/ 787274 h 807349"/>
                <a:gd name="connsiteX123" fmla="*/ 766530 w 900155"/>
                <a:gd name="connsiteY123" fmla="*/ 786571 h 807349"/>
                <a:gd name="connsiteX124" fmla="*/ 765690 w 900155"/>
                <a:gd name="connsiteY124" fmla="*/ 787436 h 807349"/>
                <a:gd name="connsiteX125" fmla="*/ 765981 w 900155"/>
                <a:gd name="connsiteY125" fmla="*/ 790020 h 807349"/>
                <a:gd name="connsiteX126" fmla="*/ 765709 w 900155"/>
                <a:gd name="connsiteY126" fmla="*/ 790608 h 807349"/>
                <a:gd name="connsiteX127" fmla="*/ 763844 w 900155"/>
                <a:gd name="connsiteY127" fmla="*/ 791598 h 807349"/>
                <a:gd name="connsiteX128" fmla="*/ 762863 w 900155"/>
                <a:gd name="connsiteY128" fmla="*/ 787859 h 807349"/>
                <a:gd name="connsiteX129" fmla="*/ 760429 w 900155"/>
                <a:gd name="connsiteY129" fmla="*/ 785105 h 807349"/>
                <a:gd name="connsiteX130" fmla="*/ 760518 w 900155"/>
                <a:gd name="connsiteY130" fmla="*/ 786432 h 807349"/>
                <a:gd name="connsiteX131" fmla="*/ 761529 w 900155"/>
                <a:gd name="connsiteY131" fmla="*/ 788735 h 807349"/>
                <a:gd name="connsiteX132" fmla="*/ 761419 w 900155"/>
                <a:gd name="connsiteY132" fmla="*/ 789750 h 807349"/>
                <a:gd name="connsiteX133" fmla="*/ 761028 w 900155"/>
                <a:gd name="connsiteY133" fmla="*/ 791064 h 807349"/>
                <a:gd name="connsiteX134" fmla="*/ 760050 w 900155"/>
                <a:gd name="connsiteY134" fmla="*/ 791553 h 807349"/>
                <a:gd name="connsiteX135" fmla="*/ 759585 w 900155"/>
                <a:gd name="connsiteY135" fmla="*/ 792609 h 807349"/>
                <a:gd name="connsiteX136" fmla="*/ 759585 w 900155"/>
                <a:gd name="connsiteY136" fmla="*/ 794094 h 807349"/>
                <a:gd name="connsiteX137" fmla="*/ 759259 w 900155"/>
                <a:gd name="connsiteY137" fmla="*/ 796495 h 807349"/>
                <a:gd name="connsiteX138" fmla="*/ 757663 w 900155"/>
                <a:gd name="connsiteY138" fmla="*/ 797568 h 807349"/>
                <a:gd name="connsiteX139" fmla="*/ 753775 w 900155"/>
                <a:gd name="connsiteY139" fmla="*/ 794896 h 807349"/>
                <a:gd name="connsiteX140" fmla="*/ 753507 w 900155"/>
                <a:gd name="connsiteY140" fmla="*/ 795795 h 807349"/>
                <a:gd name="connsiteX141" fmla="*/ 753565 w 900155"/>
                <a:gd name="connsiteY141" fmla="*/ 796571 h 807349"/>
                <a:gd name="connsiteX142" fmla="*/ 755551 w 900155"/>
                <a:gd name="connsiteY142" fmla="*/ 798105 h 807349"/>
                <a:gd name="connsiteX143" fmla="*/ 754636 w 900155"/>
                <a:gd name="connsiteY143" fmla="*/ 799266 h 807349"/>
                <a:gd name="connsiteX144" fmla="*/ 753945 w 900155"/>
                <a:gd name="connsiteY144" fmla="*/ 800626 h 807349"/>
                <a:gd name="connsiteX145" fmla="*/ 752839 w 900155"/>
                <a:gd name="connsiteY145" fmla="*/ 804200 h 807349"/>
                <a:gd name="connsiteX146" fmla="*/ 751053 w 900155"/>
                <a:gd name="connsiteY146" fmla="*/ 807165 h 807349"/>
                <a:gd name="connsiteX147" fmla="*/ 750177 w 900155"/>
                <a:gd name="connsiteY147" fmla="*/ 807349 h 807349"/>
                <a:gd name="connsiteX148" fmla="*/ 747190 w 900155"/>
                <a:gd name="connsiteY148" fmla="*/ 806881 h 807349"/>
                <a:gd name="connsiteX149" fmla="*/ 743858 w 900155"/>
                <a:gd name="connsiteY149" fmla="*/ 804374 h 807349"/>
                <a:gd name="connsiteX150" fmla="*/ 740866 w 900155"/>
                <a:gd name="connsiteY150" fmla="*/ 804660 h 807349"/>
                <a:gd name="connsiteX151" fmla="*/ 735858 w 900155"/>
                <a:gd name="connsiteY151" fmla="*/ 804479 h 807349"/>
                <a:gd name="connsiteX152" fmla="*/ 732684 w 900155"/>
                <a:gd name="connsiteY152" fmla="*/ 805405 h 807349"/>
                <a:gd name="connsiteX153" fmla="*/ 732019 w 900155"/>
                <a:gd name="connsiteY153" fmla="*/ 802649 h 807349"/>
                <a:gd name="connsiteX154" fmla="*/ 731325 w 900155"/>
                <a:gd name="connsiteY154" fmla="*/ 801669 h 807349"/>
                <a:gd name="connsiteX155" fmla="*/ 731606 w 900155"/>
                <a:gd name="connsiteY155" fmla="*/ 800799 h 807349"/>
                <a:gd name="connsiteX156" fmla="*/ 734135 w 900155"/>
                <a:gd name="connsiteY156" fmla="*/ 800216 h 807349"/>
                <a:gd name="connsiteX157" fmla="*/ 736735 w 900155"/>
                <a:gd name="connsiteY157" fmla="*/ 800240 h 807349"/>
                <a:gd name="connsiteX158" fmla="*/ 736329 w 900155"/>
                <a:gd name="connsiteY158" fmla="*/ 799189 h 807349"/>
                <a:gd name="connsiteX159" fmla="*/ 735631 w 900155"/>
                <a:gd name="connsiteY159" fmla="*/ 798801 h 807349"/>
                <a:gd name="connsiteX160" fmla="*/ 734495 w 900155"/>
                <a:gd name="connsiteY160" fmla="*/ 799056 h 807349"/>
                <a:gd name="connsiteX161" fmla="*/ 731183 w 900155"/>
                <a:gd name="connsiteY161" fmla="*/ 798140 h 807349"/>
                <a:gd name="connsiteX162" fmla="*/ 728927 w 900155"/>
                <a:gd name="connsiteY162" fmla="*/ 798549 h 807349"/>
                <a:gd name="connsiteX163" fmla="*/ 727367 w 900155"/>
                <a:gd name="connsiteY163" fmla="*/ 797250 h 807349"/>
                <a:gd name="connsiteX164" fmla="*/ 724687 w 900155"/>
                <a:gd name="connsiteY164" fmla="*/ 792740 h 807349"/>
                <a:gd name="connsiteX165" fmla="*/ 723105 w 900155"/>
                <a:gd name="connsiteY165" fmla="*/ 790656 h 807349"/>
                <a:gd name="connsiteX166" fmla="*/ 722163 w 900155"/>
                <a:gd name="connsiteY166" fmla="*/ 789844 h 807349"/>
                <a:gd name="connsiteX167" fmla="*/ 721062 w 900155"/>
                <a:gd name="connsiteY167" fmla="*/ 789400 h 807349"/>
                <a:gd name="connsiteX168" fmla="*/ 720399 w 900155"/>
                <a:gd name="connsiteY168" fmla="*/ 788738 h 807349"/>
                <a:gd name="connsiteX169" fmla="*/ 715546 w 900155"/>
                <a:gd name="connsiteY169" fmla="*/ 778518 h 807349"/>
                <a:gd name="connsiteX170" fmla="*/ 714860 w 900155"/>
                <a:gd name="connsiteY170" fmla="*/ 776150 h 807349"/>
                <a:gd name="connsiteX171" fmla="*/ 714014 w 900155"/>
                <a:gd name="connsiteY171" fmla="*/ 770165 h 807349"/>
                <a:gd name="connsiteX172" fmla="*/ 717864 w 900155"/>
                <a:gd name="connsiteY172" fmla="*/ 773030 h 807349"/>
                <a:gd name="connsiteX173" fmla="*/ 719233 w 900155"/>
                <a:gd name="connsiteY173" fmla="*/ 774843 h 807349"/>
                <a:gd name="connsiteX174" fmla="*/ 719971 w 900155"/>
                <a:gd name="connsiteY174" fmla="*/ 777145 h 807349"/>
                <a:gd name="connsiteX175" fmla="*/ 721275 w 900155"/>
                <a:gd name="connsiteY175" fmla="*/ 774354 h 807349"/>
                <a:gd name="connsiteX176" fmla="*/ 721040 w 900155"/>
                <a:gd name="connsiteY176" fmla="*/ 773457 h 807349"/>
                <a:gd name="connsiteX177" fmla="*/ 717585 w 900155"/>
                <a:gd name="connsiteY177" fmla="*/ 770077 h 807349"/>
                <a:gd name="connsiteX178" fmla="*/ 717127 w 900155"/>
                <a:gd name="connsiteY178" fmla="*/ 769098 h 807349"/>
                <a:gd name="connsiteX179" fmla="*/ 716938 w 900155"/>
                <a:gd name="connsiteY179" fmla="*/ 767937 h 807349"/>
                <a:gd name="connsiteX180" fmla="*/ 716127 w 900155"/>
                <a:gd name="connsiteY180" fmla="*/ 769106 h 807349"/>
                <a:gd name="connsiteX181" fmla="*/ 714811 w 900155"/>
                <a:gd name="connsiteY181" fmla="*/ 769264 h 807349"/>
                <a:gd name="connsiteX182" fmla="*/ 715344 w 900155"/>
                <a:gd name="connsiteY182" fmla="*/ 766881 h 807349"/>
                <a:gd name="connsiteX183" fmla="*/ 714884 w 900155"/>
                <a:gd name="connsiteY183" fmla="*/ 764551 h 807349"/>
                <a:gd name="connsiteX184" fmla="*/ 710842 w 900155"/>
                <a:gd name="connsiteY184" fmla="*/ 759435 h 807349"/>
                <a:gd name="connsiteX185" fmla="*/ 707749 w 900155"/>
                <a:gd name="connsiteY185" fmla="*/ 754596 h 807349"/>
                <a:gd name="connsiteX186" fmla="*/ 704706 w 900155"/>
                <a:gd name="connsiteY186" fmla="*/ 748643 h 807349"/>
                <a:gd name="connsiteX187" fmla="*/ 704445 w 900155"/>
                <a:gd name="connsiteY187" fmla="*/ 747883 h 807349"/>
                <a:gd name="connsiteX188" fmla="*/ 704406 w 900155"/>
                <a:gd name="connsiteY188" fmla="*/ 746602 h 807349"/>
                <a:gd name="connsiteX189" fmla="*/ 702934 w 900155"/>
                <a:gd name="connsiteY189" fmla="*/ 742626 h 807349"/>
                <a:gd name="connsiteX190" fmla="*/ 702152 w 900155"/>
                <a:gd name="connsiteY190" fmla="*/ 739681 h 807349"/>
                <a:gd name="connsiteX191" fmla="*/ 701791 w 900155"/>
                <a:gd name="connsiteY191" fmla="*/ 737101 h 807349"/>
                <a:gd name="connsiteX192" fmla="*/ 703197 w 900155"/>
                <a:gd name="connsiteY192" fmla="*/ 731899 h 807349"/>
                <a:gd name="connsiteX193" fmla="*/ 780224 w 900155"/>
                <a:gd name="connsiteY193" fmla="*/ 724562 h 807349"/>
                <a:gd name="connsiteX194" fmla="*/ 780782 w 900155"/>
                <a:gd name="connsiteY194" fmla="*/ 724613 h 807349"/>
                <a:gd name="connsiteX195" fmla="*/ 781192 w 900155"/>
                <a:gd name="connsiteY195" fmla="*/ 724877 h 807349"/>
                <a:gd name="connsiteX196" fmla="*/ 780106 w 900155"/>
                <a:gd name="connsiteY196" fmla="*/ 726906 h 807349"/>
                <a:gd name="connsiteX197" fmla="*/ 778761 w 900155"/>
                <a:gd name="connsiteY197" fmla="*/ 725632 h 807349"/>
                <a:gd name="connsiteX198" fmla="*/ 778547 w 900155"/>
                <a:gd name="connsiteY198" fmla="*/ 725043 h 807349"/>
                <a:gd name="connsiteX199" fmla="*/ 704827 w 900155"/>
                <a:gd name="connsiteY199" fmla="*/ 722775 h 807349"/>
                <a:gd name="connsiteX200" fmla="*/ 704992 w 900155"/>
                <a:gd name="connsiteY200" fmla="*/ 722918 h 807349"/>
                <a:gd name="connsiteX201" fmla="*/ 704849 w 900155"/>
                <a:gd name="connsiteY201" fmla="*/ 724657 h 807349"/>
                <a:gd name="connsiteX202" fmla="*/ 704046 w 900155"/>
                <a:gd name="connsiteY202" fmla="*/ 726824 h 807349"/>
                <a:gd name="connsiteX203" fmla="*/ 703208 w 900155"/>
                <a:gd name="connsiteY203" fmla="*/ 724094 h 807349"/>
                <a:gd name="connsiteX204" fmla="*/ 704115 w 900155"/>
                <a:gd name="connsiteY204" fmla="*/ 723700 h 807349"/>
                <a:gd name="connsiteX205" fmla="*/ 783168 w 900155"/>
                <a:gd name="connsiteY205" fmla="*/ 719428 h 807349"/>
                <a:gd name="connsiteX206" fmla="*/ 785256 w 900155"/>
                <a:gd name="connsiteY206" fmla="*/ 721004 h 807349"/>
                <a:gd name="connsiteX207" fmla="*/ 786439 w 900155"/>
                <a:gd name="connsiteY207" fmla="*/ 722711 h 807349"/>
                <a:gd name="connsiteX208" fmla="*/ 784887 w 900155"/>
                <a:gd name="connsiteY208" fmla="*/ 724127 h 807349"/>
                <a:gd name="connsiteX209" fmla="*/ 783753 w 900155"/>
                <a:gd name="connsiteY209" fmla="*/ 724409 h 807349"/>
                <a:gd name="connsiteX210" fmla="*/ 783016 w 900155"/>
                <a:gd name="connsiteY210" fmla="*/ 722767 h 807349"/>
                <a:gd name="connsiteX211" fmla="*/ 780687 w 900155"/>
                <a:gd name="connsiteY211" fmla="*/ 723368 h 807349"/>
                <a:gd name="connsiteX212" fmla="*/ 778221 w 900155"/>
                <a:gd name="connsiteY212" fmla="*/ 723215 h 807349"/>
                <a:gd name="connsiteX213" fmla="*/ 776398 w 900155"/>
                <a:gd name="connsiteY213" fmla="*/ 721973 h 807349"/>
                <a:gd name="connsiteX214" fmla="*/ 776184 w 900155"/>
                <a:gd name="connsiteY214" fmla="*/ 721354 h 807349"/>
                <a:gd name="connsiteX215" fmla="*/ 777253 w 900155"/>
                <a:gd name="connsiteY215" fmla="*/ 720733 h 807349"/>
                <a:gd name="connsiteX216" fmla="*/ 780335 w 900155"/>
                <a:gd name="connsiteY216" fmla="*/ 720761 h 807349"/>
                <a:gd name="connsiteX217" fmla="*/ 774472 w 900155"/>
                <a:gd name="connsiteY217" fmla="*/ 704278 h 807349"/>
                <a:gd name="connsiteX218" fmla="*/ 775962 w 900155"/>
                <a:gd name="connsiteY218" fmla="*/ 705101 h 807349"/>
                <a:gd name="connsiteX219" fmla="*/ 779888 w 900155"/>
                <a:gd name="connsiteY219" fmla="*/ 709811 h 807349"/>
                <a:gd name="connsiteX220" fmla="*/ 781924 w 900155"/>
                <a:gd name="connsiteY220" fmla="*/ 710546 h 807349"/>
                <a:gd name="connsiteX221" fmla="*/ 782529 w 900155"/>
                <a:gd name="connsiteY221" fmla="*/ 711043 h 807349"/>
                <a:gd name="connsiteX222" fmla="*/ 782362 w 900155"/>
                <a:gd name="connsiteY222" fmla="*/ 713121 h 807349"/>
                <a:gd name="connsiteX223" fmla="*/ 781499 w 900155"/>
                <a:gd name="connsiteY223" fmla="*/ 714011 h 807349"/>
                <a:gd name="connsiteX224" fmla="*/ 783101 w 900155"/>
                <a:gd name="connsiteY224" fmla="*/ 715183 h 807349"/>
                <a:gd name="connsiteX225" fmla="*/ 782887 w 900155"/>
                <a:gd name="connsiteY225" fmla="*/ 715943 h 807349"/>
                <a:gd name="connsiteX226" fmla="*/ 782574 w 900155"/>
                <a:gd name="connsiteY226" fmla="*/ 715915 h 807349"/>
                <a:gd name="connsiteX227" fmla="*/ 780605 w 900155"/>
                <a:gd name="connsiteY227" fmla="*/ 717514 h 807349"/>
                <a:gd name="connsiteX228" fmla="*/ 778290 w 900155"/>
                <a:gd name="connsiteY228" fmla="*/ 718257 h 807349"/>
                <a:gd name="connsiteX229" fmla="*/ 777582 w 900155"/>
                <a:gd name="connsiteY229" fmla="*/ 717701 h 807349"/>
                <a:gd name="connsiteX230" fmla="*/ 776990 w 900155"/>
                <a:gd name="connsiteY230" fmla="*/ 716968 h 807349"/>
                <a:gd name="connsiteX231" fmla="*/ 776502 w 900155"/>
                <a:gd name="connsiteY231" fmla="*/ 715902 h 807349"/>
                <a:gd name="connsiteX232" fmla="*/ 773533 w 900155"/>
                <a:gd name="connsiteY232" fmla="*/ 711794 h 807349"/>
                <a:gd name="connsiteX233" fmla="*/ 773874 w 900155"/>
                <a:gd name="connsiteY233" fmla="*/ 710669 h 807349"/>
                <a:gd name="connsiteX234" fmla="*/ 773218 w 900155"/>
                <a:gd name="connsiteY234" fmla="*/ 708951 h 807349"/>
                <a:gd name="connsiteX235" fmla="*/ 771803 w 900155"/>
                <a:gd name="connsiteY235" fmla="*/ 709081 h 807349"/>
                <a:gd name="connsiteX236" fmla="*/ 770806 w 900155"/>
                <a:gd name="connsiteY236" fmla="*/ 708035 h 807349"/>
                <a:gd name="connsiteX237" fmla="*/ 772397 w 900155"/>
                <a:gd name="connsiteY237" fmla="*/ 707026 h 807349"/>
                <a:gd name="connsiteX238" fmla="*/ 687522 w 900155"/>
                <a:gd name="connsiteY238" fmla="*/ 700488 h 807349"/>
                <a:gd name="connsiteX239" fmla="*/ 689524 w 900155"/>
                <a:gd name="connsiteY239" fmla="*/ 701993 h 807349"/>
                <a:gd name="connsiteX240" fmla="*/ 690178 w 900155"/>
                <a:gd name="connsiteY240" fmla="*/ 705821 h 807349"/>
                <a:gd name="connsiteX241" fmla="*/ 689850 w 900155"/>
                <a:gd name="connsiteY241" fmla="*/ 708132 h 807349"/>
                <a:gd name="connsiteX242" fmla="*/ 690623 w 900155"/>
                <a:gd name="connsiteY242" fmla="*/ 710210 h 807349"/>
                <a:gd name="connsiteX243" fmla="*/ 689979 w 900155"/>
                <a:gd name="connsiteY243" fmla="*/ 711990 h 807349"/>
                <a:gd name="connsiteX244" fmla="*/ 688280 w 900155"/>
                <a:gd name="connsiteY244" fmla="*/ 713455 h 807349"/>
                <a:gd name="connsiteX245" fmla="*/ 685911 w 900155"/>
                <a:gd name="connsiteY245" fmla="*/ 714444 h 807349"/>
                <a:gd name="connsiteX246" fmla="*/ 685266 w 900155"/>
                <a:gd name="connsiteY246" fmla="*/ 714551 h 807349"/>
                <a:gd name="connsiteX247" fmla="*/ 684758 w 900155"/>
                <a:gd name="connsiteY247" fmla="*/ 713083 h 807349"/>
                <a:gd name="connsiteX248" fmla="*/ 685019 w 900155"/>
                <a:gd name="connsiteY248" fmla="*/ 710987 h 807349"/>
                <a:gd name="connsiteX249" fmla="*/ 683936 w 900155"/>
                <a:gd name="connsiteY249" fmla="*/ 708915 h 807349"/>
                <a:gd name="connsiteX250" fmla="*/ 684525 w 900155"/>
                <a:gd name="connsiteY250" fmla="*/ 706835 h 807349"/>
                <a:gd name="connsiteX251" fmla="*/ 684450 w 900155"/>
                <a:gd name="connsiteY251" fmla="*/ 704591 h 807349"/>
                <a:gd name="connsiteX252" fmla="*/ 684838 w 900155"/>
                <a:gd name="connsiteY252" fmla="*/ 703603 h 807349"/>
                <a:gd name="connsiteX253" fmla="*/ 686164 w 900155"/>
                <a:gd name="connsiteY253" fmla="*/ 702513 h 807349"/>
                <a:gd name="connsiteX254" fmla="*/ 686373 w 900155"/>
                <a:gd name="connsiteY254" fmla="*/ 700579 h 807349"/>
                <a:gd name="connsiteX255" fmla="*/ 714432 w 900155"/>
                <a:gd name="connsiteY255" fmla="*/ 671489 h 807349"/>
                <a:gd name="connsiteX256" fmla="*/ 715983 w 900155"/>
                <a:gd name="connsiteY256" fmla="*/ 671838 h 807349"/>
                <a:gd name="connsiteX257" fmla="*/ 716570 w 900155"/>
                <a:gd name="connsiteY257" fmla="*/ 672318 h 807349"/>
                <a:gd name="connsiteX258" fmla="*/ 717339 w 900155"/>
                <a:gd name="connsiteY258" fmla="*/ 673537 h 807349"/>
                <a:gd name="connsiteX259" fmla="*/ 717468 w 900155"/>
                <a:gd name="connsiteY259" fmla="*/ 674023 h 807349"/>
                <a:gd name="connsiteX260" fmla="*/ 715607 w 900155"/>
                <a:gd name="connsiteY260" fmla="*/ 673062 h 807349"/>
                <a:gd name="connsiteX261" fmla="*/ 712456 w 900155"/>
                <a:gd name="connsiteY261" fmla="*/ 673266 h 807349"/>
                <a:gd name="connsiteX262" fmla="*/ 719049 w 900155"/>
                <a:gd name="connsiteY262" fmla="*/ 667774 h 807349"/>
                <a:gd name="connsiteX263" fmla="*/ 720375 w 900155"/>
                <a:gd name="connsiteY263" fmla="*/ 668821 h 807349"/>
                <a:gd name="connsiteX264" fmla="*/ 717044 w 900155"/>
                <a:gd name="connsiteY264" fmla="*/ 670521 h 807349"/>
                <a:gd name="connsiteX265" fmla="*/ 715814 w 900155"/>
                <a:gd name="connsiteY265" fmla="*/ 669740 h 807349"/>
                <a:gd name="connsiteX266" fmla="*/ 715938 w 900155"/>
                <a:gd name="connsiteY266" fmla="*/ 668465 h 807349"/>
                <a:gd name="connsiteX267" fmla="*/ 716147 w 900155"/>
                <a:gd name="connsiteY267" fmla="*/ 667897 h 807349"/>
                <a:gd name="connsiteX268" fmla="*/ 540107 w 900155"/>
                <a:gd name="connsiteY268" fmla="*/ 598578 h 807349"/>
                <a:gd name="connsiteX269" fmla="*/ 544450 w 900155"/>
                <a:gd name="connsiteY269" fmla="*/ 598895 h 807349"/>
                <a:gd name="connsiteX270" fmla="*/ 545655 w 900155"/>
                <a:gd name="connsiteY270" fmla="*/ 599276 h 807349"/>
                <a:gd name="connsiteX271" fmla="*/ 546771 w 900155"/>
                <a:gd name="connsiteY271" fmla="*/ 600187 h 807349"/>
                <a:gd name="connsiteX272" fmla="*/ 545946 w 900155"/>
                <a:gd name="connsiteY272" fmla="*/ 601844 h 807349"/>
                <a:gd name="connsiteX273" fmla="*/ 545910 w 900155"/>
                <a:gd name="connsiteY273" fmla="*/ 602257 h 807349"/>
                <a:gd name="connsiteX274" fmla="*/ 551204 w 900155"/>
                <a:gd name="connsiteY274" fmla="*/ 602848 h 807349"/>
                <a:gd name="connsiteX275" fmla="*/ 553260 w 900155"/>
                <a:gd name="connsiteY275" fmla="*/ 601940 h 807349"/>
                <a:gd name="connsiteX276" fmla="*/ 555862 w 900155"/>
                <a:gd name="connsiteY276" fmla="*/ 602673 h 807349"/>
                <a:gd name="connsiteX277" fmla="*/ 557562 w 900155"/>
                <a:gd name="connsiteY277" fmla="*/ 605121 h 807349"/>
                <a:gd name="connsiteX278" fmla="*/ 556302 w 900155"/>
                <a:gd name="connsiteY278" fmla="*/ 606337 h 807349"/>
                <a:gd name="connsiteX279" fmla="*/ 555096 w 900155"/>
                <a:gd name="connsiteY279" fmla="*/ 606514 h 807349"/>
                <a:gd name="connsiteX280" fmla="*/ 551196 w 900155"/>
                <a:gd name="connsiteY280" fmla="*/ 605510 h 807349"/>
                <a:gd name="connsiteX281" fmla="*/ 547556 w 900155"/>
                <a:gd name="connsiteY281" fmla="*/ 606271 h 807349"/>
                <a:gd name="connsiteX282" fmla="*/ 546480 w 900155"/>
                <a:gd name="connsiteY282" fmla="*/ 607283 h 807349"/>
                <a:gd name="connsiteX283" fmla="*/ 545772 w 900155"/>
                <a:gd name="connsiteY283" fmla="*/ 609530 h 807349"/>
                <a:gd name="connsiteX284" fmla="*/ 542637 w 900155"/>
                <a:gd name="connsiteY284" fmla="*/ 610733 h 807349"/>
                <a:gd name="connsiteX285" fmla="*/ 541172 w 900155"/>
                <a:gd name="connsiteY285" fmla="*/ 609372 h 807349"/>
                <a:gd name="connsiteX286" fmla="*/ 537354 w 900155"/>
                <a:gd name="connsiteY286" fmla="*/ 608402 h 807349"/>
                <a:gd name="connsiteX287" fmla="*/ 535987 w 900155"/>
                <a:gd name="connsiteY287" fmla="*/ 609831 h 807349"/>
                <a:gd name="connsiteX288" fmla="*/ 533292 w 900155"/>
                <a:gd name="connsiteY288" fmla="*/ 609449 h 807349"/>
                <a:gd name="connsiteX289" fmla="*/ 530789 w 900155"/>
                <a:gd name="connsiteY289" fmla="*/ 610023 h 807349"/>
                <a:gd name="connsiteX290" fmla="*/ 527305 w 900155"/>
                <a:gd name="connsiteY290" fmla="*/ 609680 h 807349"/>
                <a:gd name="connsiteX291" fmla="*/ 523638 w 900155"/>
                <a:gd name="connsiteY291" fmla="*/ 607214 h 807349"/>
                <a:gd name="connsiteX292" fmla="*/ 522563 w 900155"/>
                <a:gd name="connsiteY292" fmla="*/ 606074 h 807349"/>
                <a:gd name="connsiteX293" fmla="*/ 523413 w 900155"/>
                <a:gd name="connsiteY293" fmla="*/ 604021 h 807349"/>
                <a:gd name="connsiteX294" fmla="*/ 524731 w 900155"/>
                <a:gd name="connsiteY294" fmla="*/ 602513 h 807349"/>
                <a:gd name="connsiteX295" fmla="*/ 534750 w 900155"/>
                <a:gd name="connsiteY295" fmla="*/ 600374 h 807349"/>
                <a:gd name="connsiteX296" fmla="*/ 896143 w 900155"/>
                <a:gd name="connsiteY296" fmla="*/ 398346 h 807349"/>
                <a:gd name="connsiteX297" fmla="*/ 898054 w 900155"/>
                <a:gd name="connsiteY297" fmla="*/ 398753 h 807349"/>
                <a:gd name="connsiteX298" fmla="*/ 898427 w 900155"/>
                <a:gd name="connsiteY298" fmla="*/ 399086 h 807349"/>
                <a:gd name="connsiteX299" fmla="*/ 896525 w 900155"/>
                <a:gd name="connsiteY299" fmla="*/ 405654 h 807349"/>
                <a:gd name="connsiteX300" fmla="*/ 895946 w 900155"/>
                <a:gd name="connsiteY300" fmla="*/ 405528 h 807349"/>
                <a:gd name="connsiteX301" fmla="*/ 895266 w 900155"/>
                <a:gd name="connsiteY301" fmla="*/ 404540 h 807349"/>
                <a:gd name="connsiteX302" fmla="*/ 895379 w 900155"/>
                <a:gd name="connsiteY302" fmla="*/ 400737 h 807349"/>
                <a:gd name="connsiteX303" fmla="*/ 896074 w 900155"/>
                <a:gd name="connsiteY303" fmla="*/ 389405 h 807349"/>
                <a:gd name="connsiteX304" fmla="*/ 896836 w 900155"/>
                <a:gd name="connsiteY304" fmla="*/ 389600 h 807349"/>
                <a:gd name="connsiteX305" fmla="*/ 895941 w 900155"/>
                <a:gd name="connsiteY305" fmla="*/ 393488 h 807349"/>
                <a:gd name="connsiteX306" fmla="*/ 896298 w 900155"/>
                <a:gd name="connsiteY306" fmla="*/ 396216 h 807349"/>
                <a:gd name="connsiteX307" fmla="*/ 895821 w 900155"/>
                <a:gd name="connsiteY307" fmla="*/ 396572 h 807349"/>
                <a:gd name="connsiteX308" fmla="*/ 894841 w 900155"/>
                <a:gd name="connsiteY308" fmla="*/ 394295 h 807349"/>
                <a:gd name="connsiteX309" fmla="*/ 894586 w 900155"/>
                <a:gd name="connsiteY309" fmla="*/ 391998 h 807349"/>
                <a:gd name="connsiteX310" fmla="*/ 894914 w 900155"/>
                <a:gd name="connsiteY310" fmla="*/ 389870 h 807349"/>
                <a:gd name="connsiteX311" fmla="*/ 1641 w 900155"/>
                <a:gd name="connsiteY311" fmla="*/ 353642 h 807349"/>
                <a:gd name="connsiteX312" fmla="*/ 4159 w 900155"/>
                <a:gd name="connsiteY312" fmla="*/ 360604 h 807349"/>
                <a:gd name="connsiteX313" fmla="*/ 4938 w 900155"/>
                <a:gd name="connsiteY313" fmla="*/ 362201 h 807349"/>
                <a:gd name="connsiteX314" fmla="*/ 4945 w 900155"/>
                <a:gd name="connsiteY314" fmla="*/ 363840 h 807349"/>
                <a:gd name="connsiteX315" fmla="*/ 5310 w 900155"/>
                <a:gd name="connsiteY315" fmla="*/ 364358 h 807349"/>
                <a:gd name="connsiteX316" fmla="*/ 6076 w 900155"/>
                <a:gd name="connsiteY316" fmla="*/ 366234 h 807349"/>
                <a:gd name="connsiteX317" fmla="*/ 5489 w 900155"/>
                <a:gd name="connsiteY317" fmla="*/ 367214 h 807349"/>
                <a:gd name="connsiteX318" fmla="*/ 1239 w 900155"/>
                <a:gd name="connsiteY318" fmla="*/ 359849 h 807349"/>
                <a:gd name="connsiteX319" fmla="*/ 0 w 900155"/>
                <a:gd name="connsiteY319" fmla="*/ 354813 h 807349"/>
                <a:gd name="connsiteX320" fmla="*/ 859 w 900155"/>
                <a:gd name="connsiteY320" fmla="*/ 353910 h 807349"/>
                <a:gd name="connsiteX321" fmla="*/ 892195 w 900155"/>
                <a:gd name="connsiteY321" fmla="*/ 335010 h 807349"/>
                <a:gd name="connsiteX322" fmla="*/ 892752 w 900155"/>
                <a:gd name="connsiteY322" fmla="*/ 335230 h 807349"/>
                <a:gd name="connsiteX323" fmla="*/ 893102 w 900155"/>
                <a:gd name="connsiteY323" fmla="*/ 339390 h 807349"/>
                <a:gd name="connsiteX324" fmla="*/ 894458 w 900155"/>
                <a:gd name="connsiteY324" fmla="*/ 340861 h 807349"/>
                <a:gd name="connsiteX325" fmla="*/ 894258 w 900155"/>
                <a:gd name="connsiteY325" fmla="*/ 342870 h 807349"/>
                <a:gd name="connsiteX326" fmla="*/ 889641 w 900155"/>
                <a:gd name="connsiteY326" fmla="*/ 353467 h 807349"/>
                <a:gd name="connsiteX327" fmla="*/ 888367 w 900155"/>
                <a:gd name="connsiteY327" fmla="*/ 357473 h 807349"/>
                <a:gd name="connsiteX328" fmla="*/ 888226 w 900155"/>
                <a:gd name="connsiteY328" fmla="*/ 359086 h 807349"/>
                <a:gd name="connsiteX329" fmla="*/ 887663 w 900155"/>
                <a:gd name="connsiteY329" fmla="*/ 359736 h 807349"/>
                <a:gd name="connsiteX330" fmla="*/ 886667 w 900155"/>
                <a:gd name="connsiteY330" fmla="*/ 358569 h 807349"/>
                <a:gd name="connsiteX331" fmla="*/ 885998 w 900155"/>
                <a:gd name="connsiteY331" fmla="*/ 354377 h 807349"/>
                <a:gd name="connsiteX332" fmla="*/ 886492 w 900155"/>
                <a:gd name="connsiteY332" fmla="*/ 351949 h 807349"/>
                <a:gd name="connsiteX333" fmla="*/ 887654 w 900155"/>
                <a:gd name="connsiteY333" fmla="*/ 349729 h 807349"/>
                <a:gd name="connsiteX334" fmla="*/ 887857 w 900155"/>
                <a:gd name="connsiteY334" fmla="*/ 348503 h 807349"/>
                <a:gd name="connsiteX335" fmla="*/ 887356 w 900155"/>
                <a:gd name="connsiteY335" fmla="*/ 345932 h 807349"/>
                <a:gd name="connsiteX336" fmla="*/ 890699 w 900155"/>
                <a:gd name="connsiteY336" fmla="*/ 343044 h 807349"/>
                <a:gd name="connsiteX337" fmla="*/ 891545 w 900155"/>
                <a:gd name="connsiteY337" fmla="*/ 341521 h 807349"/>
                <a:gd name="connsiteX338" fmla="*/ 891865 w 900155"/>
                <a:gd name="connsiteY338" fmla="*/ 339563 h 807349"/>
                <a:gd name="connsiteX339" fmla="*/ 890634 w 900155"/>
                <a:gd name="connsiteY339" fmla="*/ 337448 h 807349"/>
                <a:gd name="connsiteX340" fmla="*/ 889693 w 900155"/>
                <a:gd name="connsiteY340" fmla="*/ 337030 h 807349"/>
                <a:gd name="connsiteX341" fmla="*/ 890515 w 900155"/>
                <a:gd name="connsiteY341" fmla="*/ 335855 h 807349"/>
                <a:gd name="connsiteX342" fmla="*/ 891449 w 900155"/>
                <a:gd name="connsiteY342" fmla="*/ 335260 h 807349"/>
                <a:gd name="connsiteX343" fmla="*/ 843616 w 900155"/>
                <a:gd name="connsiteY343" fmla="*/ 305298 h 807349"/>
                <a:gd name="connsiteX344" fmla="*/ 845531 w 900155"/>
                <a:gd name="connsiteY344" fmla="*/ 306005 h 807349"/>
                <a:gd name="connsiteX345" fmla="*/ 846287 w 900155"/>
                <a:gd name="connsiteY345" fmla="*/ 306598 h 807349"/>
                <a:gd name="connsiteX346" fmla="*/ 846978 w 900155"/>
                <a:gd name="connsiteY346" fmla="*/ 306525 h 807349"/>
                <a:gd name="connsiteX347" fmla="*/ 847600 w 900155"/>
                <a:gd name="connsiteY347" fmla="*/ 306913 h 807349"/>
                <a:gd name="connsiteX348" fmla="*/ 847349 w 900155"/>
                <a:gd name="connsiteY348" fmla="*/ 308437 h 807349"/>
                <a:gd name="connsiteX349" fmla="*/ 848356 w 900155"/>
                <a:gd name="connsiteY349" fmla="*/ 310156 h 807349"/>
                <a:gd name="connsiteX350" fmla="*/ 848830 w 900155"/>
                <a:gd name="connsiteY350" fmla="*/ 311368 h 807349"/>
                <a:gd name="connsiteX351" fmla="*/ 848072 w 900155"/>
                <a:gd name="connsiteY351" fmla="*/ 312350 h 807349"/>
                <a:gd name="connsiteX352" fmla="*/ 847559 w 900155"/>
                <a:gd name="connsiteY352" fmla="*/ 312665 h 807349"/>
                <a:gd name="connsiteX353" fmla="*/ 846362 w 900155"/>
                <a:gd name="connsiteY353" fmla="*/ 311845 h 807349"/>
                <a:gd name="connsiteX354" fmla="*/ 843026 w 900155"/>
                <a:gd name="connsiteY354" fmla="*/ 306924 h 807349"/>
                <a:gd name="connsiteX355" fmla="*/ 830979 w 900155"/>
                <a:gd name="connsiteY355" fmla="*/ 276195 h 807349"/>
                <a:gd name="connsiteX356" fmla="*/ 831709 w 900155"/>
                <a:gd name="connsiteY356" fmla="*/ 276603 h 807349"/>
                <a:gd name="connsiteX357" fmla="*/ 832313 w 900155"/>
                <a:gd name="connsiteY357" fmla="*/ 278429 h 807349"/>
                <a:gd name="connsiteX358" fmla="*/ 831603 w 900155"/>
                <a:gd name="connsiteY358" fmla="*/ 278792 h 807349"/>
                <a:gd name="connsiteX359" fmla="*/ 830979 w 900155"/>
                <a:gd name="connsiteY359" fmla="*/ 278842 h 807349"/>
                <a:gd name="connsiteX360" fmla="*/ 830402 w 900155"/>
                <a:gd name="connsiteY360" fmla="*/ 278447 h 807349"/>
                <a:gd name="connsiteX361" fmla="*/ 830895 w 900155"/>
                <a:gd name="connsiteY361" fmla="*/ 277521 h 807349"/>
                <a:gd name="connsiteX362" fmla="*/ 818238 w 900155"/>
                <a:gd name="connsiteY362" fmla="*/ 272434 h 807349"/>
                <a:gd name="connsiteX363" fmla="*/ 818584 w 900155"/>
                <a:gd name="connsiteY363" fmla="*/ 274769 h 807349"/>
                <a:gd name="connsiteX364" fmla="*/ 818593 w 900155"/>
                <a:gd name="connsiteY364" fmla="*/ 275784 h 807349"/>
                <a:gd name="connsiteX365" fmla="*/ 817826 w 900155"/>
                <a:gd name="connsiteY365" fmla="*/ 276485 h 807349"/>
                <a:gd name="connsiteX366" fmla="*/ 817293 w 900155"/>
                <a:gd name="connsiteY366" fmla="*/ 274794 h 807349"/>
                <a:gd name="connsiteX367" fmla="*/ 817422 w 900155"/>
                <a:gd name="connsiteY367" fmla="*/ 273021 h 807349"/>
                <a:gd name="connsiteX368" fmla="*/ 55863 w 900155"/>
                <a:gd name="connsiteY368" fmla="*/ 240492 h 807349"/>
                <a:gd name="connsiteX369" fmla="*/ 56372 w 900155"/>
                <a:gd name="connsiteY369" fmla="*/ 241607 h 807349"/>
                <a:gd name="connsiteX370" fmla="*/ 56120 w 900155"/>
                <a:gd name="connsiteY370" fmla="*/ 243257 h 807349"/>
                <a:gd name="connsiteX371" fmla="*/ 54835 w 900155"/>
                <a:gd name="connsiteY371" fmla="*/ 245062 h 807349"/>
                <a:gd name="connsiteX372" fmla="*/ 53287 w 900155"/>
                <a:gd name="connsiteY372" fmla="*/ 244706 h 807349"/>
                <a:gd name="connsiteX373" fmla="*/ 53077 w 900155"/>
                <a:gd name="connsiteY373" fmla="*/ 243795 h 807349"/>
                <a:gd name="connsiteX374" fmla="*/ 54088 w 900155"/>
                <a:gd name="connsiteY374" fmla="*/ 242299 h 807349"/>
                <a:gd name="connsiteX375" fmla="*/ 797647 w 900155"/>
                <a:gd name="connsiteY375" fmla="*/ 228638 h 807349"/>
                <a:gd name="connsiteX376" fmla="*/ 798163 w 900155"/>
                <a:gd name="connsiteY376" fmla="*/ 230203 h 807349"/>
                <a:gd name="connsiteX377" fmla="*/ 799067 w 900155"/>
                <a:gd name="connsiteY377" fmla="*/ 231494 h 807349"/>
                <a:gd name="connsiteX378" fmla="*/ 799033 w 900155"/>
                <a:gd name="connsiteY378" fmla="*/ 231816 h 807349"/>
                <a:gd name="connsiteX379" fmla="*/ 798506 w 900155"/>
                <a:gd name="connsiteY379" fmla="*/ 232069 h 807349"/>
                <a:gd name="connsiteX380" fmla="*/ 797787 w 900155"/>
                <a:gd name="connsiteY380" fmla="*/ 232052 h 807349"/>
                <a:gd name="connsiteX381" fmla="*/ 796714 w 900155"/>
                <a:gd name="connsiteY381" fmla="*/ 231635 h 807349"/>
                <a:gd name="connsiteX382" fmla="*/ 797355 w 900155"/>
                <a:gd name="connsiteY382" fmla="*/ 226126 h 807349"/>
                <a:gd name="connsiteX383" fmla="*/ 797098 w 900155"/>
                <a:gd name="connsiteY383" fmla="*/ 228205 h 807349"/>
                <a:gd name="connsiteX384" fmla="*/ 796640 w 900155"/>
                <a:gd name="connsiteY384" fmla="*/ 228555 h 807349"/>
                <a:gd name="connsiteX385" fmla="*/ 796152 w 900155"/>
                <a:gd name="connsiteY385" fmla="*/ 228656 h 807349"/>
                <a:gd name="connsiteX386" fmla="*/ 795565 w 900155"/>
                <a:gd name="connsiteY386" fmla="*/ 228409 h 807349"/>
                <a:gd name="connsiteX387" fmla="*/ 795997 w 900155"/>
                <a:gd name="connsiteY387" fmla="*/ 227452 h 807349"/>
                <a:gd name="connsiteX388" fmla="*/ 796554 w 900155"/>
                <a:gd name="connsiteY388" fmla="*/ 226692 h 807349"/>
                <a:gd name="connsiteX389" fmla="*/ 737238 w 900155"/>
                <a:gd name="connsiteY389" fmla="*/ 184436 h 807349"/>
                <a:gd name="connsiteX390" fmla="*/ 737884 w 900155"/>
                <a:gd name="connsiteY390" fmla="*/ 184558 h 807349"/>
                <a:gd name="connsiteX391" fmla="*/ 738337 w 900155"/>
                <a:gd name="connsiteY391" fmla="*/ 186725 h 807349"/>
                <a:gd name="connsiteX392" fmla="*/ 739291 w 900155"/>
                <a:gd name="connsiteY392" fmla="*/ 188417 h 807349"/>
                <a:gd name="connsiteX393" fmla="*/ 738961 w 900155"/>
                <a:gd name="connsiteY393" fmla="*/ 189527 h 807349"/>
                <a:gd name="connsiteX394" fmla="*/ 738337 w 900155"/>
                <a:gd name="connsiteY394" fmla="*/ 190353 h 807349"/>
                <a:gd name="connsiteX395" fmla="*/ 736940 w 900155"/>
                <a:gd name="connsiteY395" fmla="*/ 189576 h 807349"/>
                <a:gd name="connsiteX396" fmla="*/ 735960 w 900155"/>
                <a:gd name="connsiteY396" fmla="*/ 187567 h 807349"/>
                <a:gd name="connsiteX397" fmla="*/ 734299 w 900155"/>
                <a:gd name="connsiteY397" fmla="*/ 185955 h 807349"/>
                <a:gd name="connsiteX398" fmla="*/ 733915 w 900155"/>
                <a:gd name="connsiteY398" fmla="*/ 185027 h 807349"/>
                <a:gd name="connsiteX399" fmla="*/ 735858 w 900155"/>
                <a:gd name="connsiteY399" fmla="*/ 185105 h 807349"/>
                <a:gd name="connsiteX400" fmla="*/ 736834 w 900155"/>
                <a:gd name="connsiteY400" fmla="*/ 184790 h 807349"/>
                <a:gd name="connsiteX401" fmla="*/ 587841 w 900155"/>
                <a:gd name="connsiteY401" fmla="*/ 156270 h 807349"/>
                <a:gd name="connsiteX402" fmla="*/ 589328 w 900155"/>
                <a:gd name="connsiteY402" fmla="*/ 157443 h 807349"/>
                <a:gd name="connsiteX403" fmla="*/ 589568 w 900155"/>
                <a:gd name="connsiteY403" fmla="*/ 158636 h 807349"/>
                <a:gd name="connsiteX404" fmla="*/ 587098 w 900155"/>
                <a:gd name="connsiteY404" fmla="*/ 159094 h 807349"/>
                <a:gd name="connsiteX405" fmla="*/ 586269 w 900155"/>
                <a:gd name="connsiteY405" fmla="*/ 159483 h 807349"/>
                <a:gd name="connsiteX406" fmla="*/ 585970 w 900155"/>
                <a:gd name="connsiteY406" fmla="*/ 158550 h 807349"/>
                <a:gd name="connsiteX407" fmla="*/ 587098 w 900155"/>
                <a:gd name="connsiteY407" fmla="*/ 157605 h 807349"/>
                <a:gd name="connsiteX408" fmla="*/ 589944 w 900155"/>
                <a:gd name="connsiteY408" fmla="*/ 142742 h 807349"/>
                <a:gd name="connsiteX409" fmla="*/ 590311 w 900155"/>
                <a:gd name="connsiteY409" fmla="*/ 142925 h 807349"/>
                <a:gd name="connsiteX410" fmla="*/ 592373 w 900155"/>
                <a:gd name="connsiteY410" fmla="*/ 145462 h 807349"/>
                <a:gd name="connsiteX411" fmla="*/ 589320 w 900155"/>
                <a:gd name="connsiteY411" fmla="*/ 145792 h 807349"/>
                <a:gd name="connsiteX412" fmla="*/ 588173 w 900155"/>
                <a:gd name="connsiteY412" fmla="*/ 146781 h 807349"/>
                <a:gd name="connsiteX413" fmla="*/ 586465 w 900155"/>
                <a:gd name="connsiteY413" fmla="*/ 148780 h 807349"/>
                <a:gd name="connsiteX414" fmla="*/ 585601 w 900155"/>
                <a:gd name="connsiteY414" fmla="*/ 148499 h 807349"/>
                <a:gd name="connsiteX415" fmla="*/ 584779 w 900155"/>
                <a:gd name="connsiteY415" fmla="*/ 149588 h 807349"/>
                <a:gd name="connsiteX416" fmla="*/ 583202 w 900155"/>
                <a:gd name="connsiteY416" fmla="*/ 150108 h 807349"/>
                <a:gd name="connsiteX417" fmla="*/ 582230 w 900155"/>
                <a:gd name="connsiteY417" fmla="*/ 150090 h 807349"/>
                <a:gd name="connsiteX418" fmla="*/ 580473 w 900155"/>
                <a:gd name="connsiteY418" fmla="*/ 150614 h 807349"/>
                <a:gd name="connsiteX419" fmla="*/ 580209 w 900155"/>
                <a:gd name="connsiteY419" fmla="*/ 149981 h 807349"/>
                <a:gd name="connsiteX420" fmla="*/ 580542 w 900155"/>
                <a:gd name="connsiteY420" fmla="*/ 147982 h 807349"/>
                <a:gd name="connsiteX421" fmla="*/ 582002 w 900155"/>
                <a:gd name="connsiteY421" fmla="*/ 145748 h 807349"/>
                <a:gd name="connsiteX422" fmla="*/ 583422 w 900155"/>
                <a:gd name="connsiteY422" fmla="*/ 144379 h 807349"/>
                <a:gd name="connsiteX423" fmla="*/ 587092 w 900155"/>
                <a:gd name="connsiteY423" fmla="*/ 143725 h 807349"/>
                <a:gd name="connsiteX424" fmla="*/ 532932 w 900155"/>
                <a:gd name="connsiteY424" fmla="*/ 124593 h 807349"/>
                <a:gd name="connsiteX425" fmla="*/ 534147 w 900155"/>
                <a:gd name="connsiteY425" fmla="*/ 126135 h 807349"/>
                <a:gd name="connsiteX426" fmla="*/ 534292 w 900155"/>
                <a:gd name="connsiteY426" fmla="*/ 127839 h 807349"/>
                <a:gd name="connsiteX427" fmla="*/ 534791 w 900155"/>
                <a:gd name="connsiteY427" fmla="*/ 128746 h 807349"/>
                <a:gd name="connsiteX428" fmla="*/ 533845 w 900155"/>
                <a:gd name="connsiteY428" fmla="*/ 129795 h 807349"/>
                <a:gd name="connsiteX429" fmla="*/ 532643 w 900155"/>
                <a:gd name="connsiteY429" fmla="*/ 128693 h 807349"/>
                <a:gd name="connsiteX430" fmla="*/ 532390 w 900155"/>
                <a:gd name="connsiteY430" fmla="*/ 127564 h 807349"/>
                <a:gd name="connsiteX431" fmla="*/ 531453 w 900155"/>
                <a:gd name="connsiteY431" fmla="*/ 127241 h 807349"/>
                <a:gd name="connsiteX432" fmla="*/ 531910 w 900155"/>
                <a:gd name="connsiteY432" fmla="*/ 126199 h 807349"/>
                <a:gd name="connsiteX433" fmla="*/ 532405 w 900155"/>
                <a:gd name="connsiteY433" fmla="*/ 125898 h 807349"/>
                <a:gd name="connsiteX434" fmla="*/ 523566 w 900155"/>
                <a:gd name="connsiteY434" fmla="*/ 123209 h 807349"/>
                <a:gd name="connsiteX435" fmla="*/ 524148 w 900155"/>
                <a:gd name="connsiteY435" fmla="*/ 123446 h 807349"/>
                <a:gd name="connsiteX436" fmla="*/ 523677 w 900155"/>
                <a:gd name="connsiteY436" fmla="*/ 125350 h 807349"/>
                <a:gd name="connsiteX437" fmla="*/ 522353 w 900155"/>
                <a:gd name="connsiteY437" fmla="*/ 125445 h 807349"/>
                <a:gd name="connsiteX438" fmla="*/ 521980 w 900155"/>
                <a:gd name="connsiteY438" fmla="*/ 125330 h 807349"/>
                <a:gd name="connsiteX439" fmla="*/ 521725 w 900155"/>
                <a:gd name="connsiteY439" fmla="*/ 124328 h 807349"/>
                <a:gd name="connsiteX440" fmla="*/ 522163 w 900155"/>
                <a:gd name="connsiteY440" fmla="*/ 123423 h 807349"/>
                <a:gd name="connsiteX441" fmla="*/ 529998 w 900155"/>
                <a:gd name="connsiteY441" fmla="*/ 122504 h 807349"/>
                <a:gd name="connsiteX442" fmla="*/ 530293 w 900155"/>
                <a:gd name="connsiteY442" fmla="*/ 124459 h 807349"/>
                <a:gd name="connsiteX443" fmla="*/ 529684 w 900155"/>
                <a:gd name="connsiteY443" fmla="*/ 125162 h 807349"/>
                <a:gd name="connsiteX444" fmla="*/ 529332 w 900155"/>
                <a:gd name="connsiteY444" fmla="*/ 125330 h 807349"/>
                <a:gd name="connsiteX445" fmla="*/ 529306 w 900155"/>
                <a:gd name="connsiteY445" fmla="*/ 123444 h 807349"/>
                <a:gd name="connsiteX446" fmla="*/ 256746 w 900155"/>
                <a:gd name="connsiteY446" fmla="*/ 117184 h 807349"/>
                <a:gd name="connsiteX447" fmla="*/ 257444 w 900155"/>
                <a:gd name="connsiteY447" fmla="*/ 117248 h 807349"/>
                <a:gd name="connsiteX448" fmla="*/ 257746 w 900155"/>
                <a:gd name="connsiteY448" fmla="*/ 118165 h 807349"/>
                <a:gd name="connsiteX449" fmla="*/ 258642 w 900155"/>
                <a:gd name="connsiteY449" fmla="*/ 119199 h 807349"/>
                <a:gd name="connsiteX450" fmla="*/ 258469 w 900155"/>
                <a:gd name="connsiteY450" fmla="*/ 120227 h 807349"/>
                <a:gd name="connsiteX451" fmla="*/ 257636 w 900155"/>
                <a:gd name="connsiteY451" fmla="*/ 120866 h 807349"/>
                <a:gd name="connsiteX452" fmla="*/ 256854 w 900155"/>
                <a:gd name="connsiteY452" fmla="*/ 120669 h 807349"/>
                <a:gd name="connsiteX453" fmla="*/ 256844 w 900155"/>
                <a:gd name="connsiteY453" fmla="*/ 119785 h 807349"/>
                <a:gd name="connsiteX454" fmla="*/ 255939 w 900155"/>
                <a:gd name="connsiteY454" fmla="*/ 118832 h 807349"/>
                <a:gd name="connsiteX455" fmla="*/ 256410 w 900155"/>
                <a:gd name="connsiteY455" fmla="*/ 117749 h 807349"/>
                <a:gd name="connsiteX456" fmla="*/ 270912 w 900155"/>
                <a:gd name="connsiteY456" fmla="*/ 98848 h 807349"/>
                <a:gd name="connsiteX457" fmla="*/ 271756 w 900155"/>
                <a:gd name="connsiteY457" fmla="*/ 99271 h 807349"/>
                <a:gd name="connsiteX458" fmla="*/ 271655 w 900155"/>
                <a:gd name="connsiteY458" fmla="*/ 101028 h 807349"/>
                <a:gd name="connsiteX459" fmla="*/ 271772 w 900155"/>
                <a:gd name="connsiteY459" fmla="*/ 101634 h 807349"/>
                <a:gd name="connsiteX460" fmla="*/ 270355 w 900155"/>
                <a:gd name="connsiteY460" fmla="*/ 103039 h 807349"/>
                <a:gd name="connsiteX461" fmla="*/ 269392 w 900155"/>
                <a:gd name="connsiteY461" fmla="*/ 101910 h 807349"/>
                <a:gd name="connsiteX462" fmla="*/ 269970 w 900155"/>
                <a:gd name="connsiteY462" fmla="*/ 99659 h 807349"/>
                <a:gd name="connsiteX463" fmla="*/ 525106 w 900155"/>
                <a:gd name="connsiteY463" fmla="*/ 81259 h 807349"/>
                <a:gd name="connsiteX464" fmla="*/ 526130 w 900155"/>
                <a:gd name="connsiteY464" fmla="*/ 81388 h 807349"/>
                <a:gd name="connsiteX465" fmla="*/ 525998 w 900155"/>
                <a:gd name="connsiteY465" fmla="*/ 82391 h 807349"/>
                <a:gd name="connsiteX466" fmla="*/ 526410 w 900155"/>
                <a:gd name="connsiteY466" fmla="*/ 84142 h 807349"/>
                <a:gd name="connsiteX467" fmla="*/ 527369 w 900155"/>
                <a:gd name="connsiteY467" fmla="*/ 85077 h 807349"/>
                <a:gd name="connsiteX468" fmla="*/ 528397 w 900155"/>
                <a:gd name="connsiteY468" fmla="*/ 85011 h 807349"/>
                <a:gd name="connsiteX469" fmla="*/ 529299 w 900155"/>
                <a:gd name="connsiteY469" fmla="*/ 82950 h 807349"/>
                <a:gd name="connsiteX470" fmla="*/ 529861 w 900155"/>
                <a:gd name="connsiteY470" fmla="*/ 83236 h 807349"/>
                <a:gd name="connsiteX471" fmla="*/ 530306 w 900155"/>
                <a:gd name="connsiteY471" fmla="*/ 83753 h 807349"/>
                <a:gd name="connsiteX472" fmla="*/ 530632 w 900155"/>
                <a:gd name="connsiteY472" fmla="*/ 84661 h 807349"/>
                <a:gd name="connsiteX473" fmla="*/ 529248 w 900155"/>
                <a:gd name="connsiteY473" fmla="*/ 86231 h 807349"/>
                <a:gd name="connsiteX474" fmla="*/ 528628 w 900155"/>
                <a:gd name="connsiteY474" fmla="*/ 86473 h 807349"/>
                <a:gd name="connsiteX475" fmla="*/ 528036 w 900155"/>
                <a:gd name="connsiteY475" fmla="*/ 87340 h 807349"/>
                <a:gd name="connsiteX476" fmla="*/ 527089 w 900155"/>
                <a:gd name="connsiteY476" fmla="*/ 90199 h 807349"/>
                <a:gd name="connsiteX477" fmla="*/ 527190 w 900155"/>
                <a:gd name="connsiteY477" fmla="*/ 91159 h 807349"/>
                <a:gd name="connsiteX478" fmla="*/ 528011 w 900155"/>
                <a:gd name="connsiteY478" fmla="*/ 92119 h 807349"/>
                <a:gd name="connsiteX479" fmla="*/ 530187 w 900155"/>
                <a:gd name="connsiteY479" fmla="*/ 93009 h 807349"/>
                <a:gd name="connsiteX480" fmla="*/ 531258 w 900155"/>
                <a:gd name="connsiteY480" fmla="*/ 92597 h 807349"/>
                <a:gd name="connsiteX481" fmla="*/ 531632 w 900155"/>
                <a:gd name="connsiteY481" fmla="*/ 92716 h 807349"/>
                <a:gd name="connsiteX482" fmla="*/ 531202 w 900155"/>
                <a:gd name="connsiteY482" fmla="*/ 94109 h 807349"/>
                <a:gd name="connsiteX483" fmla="*/ 530384 w 900155"/>
                <a:gd name="connsiteY483" fmla="*/ 95170 h 807349"/>
                <a:gd name="connsiteX484" fmla="*/ 527484 w 900155"/>
                <a:gd name="connsiteY484" fmla="*/ 94727 h 807349"/>
                <a:gd name="connsiteX485" fmla="*/ 524975 w 900155"/>
                <a:gd name="connsiteY485" fmla="*/ 94886 h 807349"/>
                <a:gd name="connsiteX486" fmla="*/ 520791 w 900155"/>
                <a:gd name="connsiteY486" fmla="*/ 93851 h 807349"/>
                <a:gd name="connsiteX487" fmla="*/ 518641 w 900155"/>
                <a:gd name="connsiteY487" fmla="*/ 93723 h 807349"/>
                <a:gd name="connsiteX488" fmla="*/ 518026 w 900155"/>
                <a:gd name="connsiteY488" fmla="*/ 93337 h 807349"/>
                <a:gd name="connsiteX489" fmla="*/ 519280 w 900155"/>
                <a:gd name="connsiteY489" fmla="*/ 92518 h 807349"/>
                <a:gd name="connsiteX490" fmla="*/ 520066 w 900155"/>
                <a:gd name="connsiteY490" fmla="*/ 91413 h 807349"/>
                <a:gd name="connsiteX491" fmla="*/ 519699 w 900155"/>
                <a:gd name="connsiteY491" fmla="*/ 88812 h 807349"/>
                <a:gd name="connsiteX492" fmla="*/ 519999 w 900155"/>
                <a:gd name="connsiteY492" fmla="*/ 85515 h 807349"/>
                <a:gd name="connsiteX493" fmla="*/ 522411 w 900155"/>
                <a:gd name="connsiteY493" fmla="*/ 83913 h 807349"/>
                <a:gd name="connsiteX494" fmla="*/ 523495 w 900155"/>
                <a:gd name="connsiteY494" fmla="*/ 82277 h 807349"/>
                <a:gd name="connsiteX495" fmla="*/ 515372 w 900155"/>
                <a:gd name="connsiteY495" fmla="*/ 81008 h 807349"/>
                <a:gd name="connsiteX496" fmla="*/ 516300 w 900155"/>
                <a:gd name="connsiteY496" fmla="*/ 81951 h 807349"/>
                <a:gd name="connsiteX497" fmla="*/ 516698 w 900155"/>
                <a:gd name="connsiteY497" fmla="*/ 83854 h 807349"/>
                <a:gd name="connsiteX498" fmla="*/ 515858 w 900155"/>
                <a:gd name="connsiteY498" fmla="*/ 84606 h 807349"/>
                <a:gd name="connsiteX499" fmla="*/ 515333 w 900155"/>
                <a:gd name="connsiteY499" fmla="*/ 84864 h 807349"/>
                <a:gd name="connsiteX500" fmla="*/ 513320 w 900155"/>
                <a:gd name="connsiteY500" fmla="*/ 84428 h 807349"/>
                <a:gd name="connsiteX501" fmla="*/ 513312 w 900155"/>
                <a:gd name="connsiteY501" fmla="*/ 83617 h 807349"/>
                <a:gd name="connsiteX502" fmla="*/ 513579 w 900155"/>
                <a:gd name="connsiteY502" fmla="*/ 82998 h 807349"/>
                <a:gd name="connsiteX503" fmla="*/ 514137 w 900155"/>
                <a:gd name="connsiteY503" fmla="*/ 82629 h 807349"/>
                <a:gd name="connsiteX504" fmla="*/ 521206 w 900155"/>
                <a:gd name="connsiteY504" fmla="*/ 31627 h 807349"/>
                <a:gd name="connsiteX505" fmla="*/ 521011 w 900155"/>
                <a:gd name="connsiteY505" fmla="*/ 32598 h 807349"/>
                <a:gd name="connsiteX506" fmla="*/ 518998 w 900155"/>
                <a:gd name="connsiteY506" fmla="*/ 34254 h 807349"/>
                <a:gd name="connsiteX507" fmla="*/ 518097 w 900155"/>
                <a:gd name="connsiteY507" fmla="*/ 34683 h 807349"/>
                <a:gd name="connsiteX508" fmla="*/ 514594 w 900155"/>
                <a:gd name="connsiteY508" fmla="*/ 36350 h 807349"/>
                <a:gd name="connsiteX509" fmla="*/ 516520 w 900155"/>
                <a:gd name="connsiteY509" fmla="*/ 34103 h 807349"/>
                <a:gd name="connsiteX510" fmla="*/ 520541 w 900155"/>
                <a:gd name="connsiteY510" fmla="*/ 32101 h 807349"/>
                <a:gd name="connsiteX511" fmla="*/ 384456 w 900155"/>
                <a:gd name="connsiteY511" fmla="*/ 28736 h 807349"/>
                <a:gd name="connsiteX512" fmla="*/ 385438 w 900155"/>
                <a:gd name="connsiteY512" fmla="*/ 28740 h 807349"/>
                <a:gd name="connsiteX513" fmla="*/ 386266 w 900155"/>
                <a:gd name="connsiteY513" fmla="*/ 30601 h 807349"/>
                <a:gd name="connsiteX514" fmla="*/ 386463 w 900155"/>
                <a:gd name="connsiteY514" fmla="*/ 32611 h 807349"/>
                <a:gd name="connsiteX515" fmla="*/ 387506 w 900155"/>
                <a:gd name="connsiteY515" fmla="*/ 34456 h 807349"/>
                <a:gd name="connsiteX516" fmla="*/ 388091 w 900155"/>
                <a:gd name="connsiteY516" fmla="*/ 36407 h 807349"/>
                <a:gd name="connsiteX517" fmla="*/ 389916 w 900155"/>
                <a:gd name="connsiteY517" fmla="*/ 36941 h 807349"/>
                <a:gd name="connsiteX518" fmla="*/ 390758 w 900155"/>
                <a:gd name="connsiteY518" fmla="*/ 37703 h 807349"/>
                <a:gd name="connsiteX519" fmla="*/ 391263 w 900155"/>
                <a:gd name="connsiteY519" fmla="*/ 38513 h 807349"/>
                <a:gd name="connsiteX520" fmla="*/ 391341 w 900155"/>
                <a:gd name="connsiteY520" fmla="*/ 39485 h 807349"/>
                <a:gd name="connsiteX521" fmla="*/ 389047 w 900155"/>
                <a:gd name="connsiteY521" fmla="*/ 39912 h 807349"/>
                <a:gd name="connsiteX522" fmla="*/ 384955 w 900155"/>
                <a:gd name="connsiteY522" fmla="*/ 38480 h 807349"/>
                <a:gd name="connsiteX523" fmla="*/ 380838 w 900155"/>
                <a:gd name="connsiteY523" fmla="*/ 39662 h 807349"/>
                <a:gd name="connsiteX524" fmla="*/ 379629 w 900155"/>
                <a:gd name="connsiteY524" fmla="*/ 39684 h 807349"/>
                <a:gd name="connsiteX525" fmla="*/ 378892 w 900155"/>
                <a:gd name="connsiteY525" fmla="*/ 38828 h 807349"/>
                <a:gd name="connsiteX526" fmla="*/ 379529 w 900155"/>
                <a:gd name="connsiteY526" fmla="*/ 36440 h 807349"/>
                <a:gd name="connsiteX527" fmla="*/ 381011 w 900155"/>
                <a:gd name="connsiteY527" fmla="*/ 36806 h 807349"/>
                <a:gd name="connsiteX528" fmla="*/ 382304 w 900155"/>
                <a:gd name="connsiteY528" fmla="*/ 35935 h 807349"/>
                <a:gd name="connsiteX529" fmla="*/ 382073 w 900155"/>
                <a:gd name="connsiteY529" fmla="*/ 33313 h 807349"/>
                <a:gd name="connsiteX530" fmla="*/ 381315 w 900155"/>
                <a:gd name="connsiteY530" fmla="*/ 31887 h 807349"/>
                <a:gd name="connsiteX531" fmla="*/ 383490 w 900155"/>
                <a:gd name="connsiteY531" fmla="*/ 29267 h 807349"/>
                <a:gd name="connsiteX532" fmla="*/ 386845 w 900155"/>
                <a:gd name="connsiteY532" fmla="*/ 25235 h 807349"/>
                <a:gd name="connsiteX533" fmla="*/ 387370 w 900155"/>
                <a:gd name="connsiteY533" fmla="*/ 25294 h 807349"/>
                <a:gd name="connsiteX534" fmla="*/ 389415 w 900155"/>
                <a:gd name="connsiteY534" fmla="*/ 27452 h 807349"/>
                <a:gd name="connsiteX535" fmla="*/ 390313 w 900155"/>
                <a:gd name="connsiteY535" fmla="*/ 28045 h 807349"/>
                <a:gd name="connsiteX536" fmla="*/ 391619 w 900155"/>
                <a:gd name="connsiteY536" fmla="*/ 29615 h 807349"/>
                <a:gd name="connsiteX537" fmla="*/ 394569 w 900155"/>
                <a:gd name="connsiteY537" fmla="*/ 29801 h 807349"/>
                <a:gd name="connsiteX538" fmla="*/ 398119 w 900155"/>
                <a:gd name="connsiteY538" fmla="*/ 28119 h 807349"/>
                <a:gd name="connsiteX539" fmla="*/ 399769 w 900155"/>
                <a:gd name="connsiteY539" fmla="*/ 28804 h 807349"/>
                <a:gd name="connsiteX540" fmla="*/ 400557 w 900155"/>
                <a:gd name="connsiteY540" fmla="*/ 28681 h 807349"/>
                <a:gd name="connsiteX541" fmla="*/ 403157 w 900155"/>
                <a:gd name="connsiteY541" fmla="*/ 27085 h 807349"/>
                <a:gd name="connsiteX542" fmla="*/ 404850 w 900155"/>
                <a:gd name="connsiteY542" fmla="*/ 26626 h 807349"/>
                <a:gd name="connsiteX543" fmla="*/ 405979 w 900155"/>
                <a:gd name="connsiteY543" fmla="*/ 25445 h 807349"/>
                <a:gd name="connsiteX544" fmla="*/ 407135 w 900155"/>
                <a:gd name="connsiteY544" fmla="*/ 26722 h 807349"/>
                <a:gd name="connsiteX545" fmla="*/ 409709 w 900155"/>
                <a:gd name="connsiteY545" fmla="*/ 28206 h 807349"/>
                <a:gd name="connsiteX546" fmla="*/ 410514 w 900155"/>
                <a:gd name="connsiteY546" fmla="*/ 29759 h 807349"/>
                <a:gd name="connsiteX547" fmla="*/ 411596 w 900155"/>
                <a:gd name="connsiteY547" fmla="*/ 30492 h 807349"/>
                <a:gd name="connsiteX548" fmla="*/ 411956 w 900155"/>
                <a:gd name="connsiteY548" fmla="*/ 30977 h 807349"/>
                <a:gd name="connsiteX549" fmla="*/ 410393 w 900155"/>
                <a:gd name="connsiteY549" fmla="*/ 32605 h 807349"/>
                <a:gd name="connsiteX550" fmla="*/ 410188 w 900155"/>
                <a:gd name="connsiteY550" fmla="*/ 34359 h 807349"/>
                <a:gd name="connsiteX551" fmla="*/ 408512 w 900155"/>
                <a:gd name="connsiteY551" fmla="*/ 34239 h 807349"/>
                <a:gd name="connsiteX552" fmla="*/ 406506 w 900155"/>
                <a:gd name="connsiteY552" fmla="*/ 37117 h 807349"/>
                <a:gd name="connsiteX553" fmla="*/ 398963 w 900155"/>
                <a:gd name="connsiteY553" fmla="*/ 41948 h 807349"/>
                <a:gd name="connsiteX554" fmla="*/ 392196 w 900155"/>
                <a:gd name="connsiteY554" fmla="*/ 37821 h 807349"/>
                <a:gd name="connsiteX555" fmla="*/ 389254 w 900155"/>
                <a:gd name="connsiteY555" fmla="*/ 35031 h 807349"/>
                <a:gd name="connsiteX556" fmla="*/ 387283 w 900155"/>
                <a:gd name="connsiteY556" fmla="*/ 31176 h 807349"/>
                <a:gd name="connsiteX557" fmla="*/ 386886 w 900155"/>
                <a:gd name="connsiteY557" fmla="*/ 28023 h 807349"/>
                <a:gd name="connsiteX558" fmla="*/ 386085 w 900155"/>
                <a:gd name="connsiteY558" fmla="*/ 26007 h 807349"/>
                <a:gd name="connsiteX559" fmla="*/ 386439 w 900155"/>
                <a:gd name="connsiteY559" fmla="*/ 25498 h 807349"/>
                <a:gd name="connsiteX560" fmla="*/ 527861 w 900155"/>
                <a:gd name="connsiteY560" fmla="*/ 21476 h 807349"/>
                <a:gd name="connsiteX561" fmla="*/ 527003 w 900155"/>
                <a:gd name="connsiteY561" fmla="*/ 25552 h 807349"/>
                <a:gd name="connsiteX562" fmla="*/ 523843 w 900155"/>
                <a:gd name="connsiteY562" fmla="*/ 29678 h 807349"/>
                <a:gd name="connsiteX563" fmla="*/ 522252 w 900155"/>
                <a:gd name="connsiteY563" fmla="*/ 31021 h 807349"/>
                <a:gd name="connsiteX564" fmla="*/ 522143 w 900155"/>
                <a:gd name="connsiteY564" fmla="*/ 30013 h 807349"/>
                <a:gd name="connsiteX565" fmla="*/ 522986 w 900155"/>
                <a:gd name="connsiteY565" fmla="*/ 29208 h 807349"/>
                <a:gd name="connsiteX566" fmla="*/ 524959 w 900155"/>
                <a:gd name="connsiteY566" fmla="*/ 25933 h 807349"/>
                <a:gd name="connsiteX567" fmla="*/ 525820 w 900155"/>
                <a:gd name="connsiteY567" fmla="*/ 25172 h 807349"/>
                <a:gd name="connsiteX568" fmla="*/ 526320 w 900155"/>
                <a:gd name="connsiteY568" fmla="*/ 24741 h 807349"/>
                <a:gd name="connsiteX569" fmla="*/ 526691 w 900155"/>
                <a:gd name="connsiteY569" fmla="*/ 23541 h 807349"/>
                <a:gd name="connsiteX570" fmla="*/ 526789 w 900155"/>
                <a:gd name="connsiteY570" fmla="*/ 21747 h 807349"/>
                <a:gd name="connsiteX571" fmla="*/ 434959 w 900155"/>
                <a:gd name="connsiteY571" fmla="*/ 20499 h 807349"/>
                <a:gd name="connsiteX572" fmla="*/ 435278 w 900155"/>
                <a:gd name="connsiteY572" fmla="*/ 21144 h 807349"/>
                <a:gd name="connsiteX573" fmla="*/ 435358 w 900155"/>
                <a:gd name="connsiteY573" fmla="*/ 23578 h 807349"/>
                <a:gd name="connsiteX574" fmla="*/ 436070 w 900155"/>
                <a:gd name="connsiteY574" fmla="*/ 24982 h 807349"/>
                <a:gd name="connsiteX575" fmla="*/ 435280 w 900155"/>
                <a:gd name="connsiteY575" fmla="*/ 27975 h 807349"/>
                <a:gd name="connsiteX576" fmla="*/ 434844 w 900155"/>
                <a:gd name="connsiteY576" fmla="*/ 28322 h 807349"/>
                <a:gd name="connsiteX577" fmla="*/ 433077 w 900155"/>
                <a:gd name="connsiteY577" fmla="*/ 24859 h 807349"/>
                <a:gd name="connsiteX578" fmla="*/ 433577 w 900155"/>
                <a:gd name="connsiteY578" fmla="*/ 23793 h 807349"/>
                <a:gd name="connsiteX579" fmla="*/ 432857 w 900155"/>
                <a:gd name="connsiteY579" fmla="*/ 22031 h 807349"/>
                <a:gd name="connsiteX580" fmla="*/ 434052 w 900155"/>
                <a:gd name="connsiteY580" fmla="*/ 21832 h 807349"/>
                <a:gd name="connsiteX581" fmla="*/ 653374 w 900155"/>
                <a:gd name="connsiteY581" fmla="*/ 14650 h 807349"/>
                <a:gd name="connsiteX582" fmla="*/ 655328 w 900155"/>
                <a:gd name="connsiteY582" fmla="*/ 14650 h 807349"/>
                <a:gd name="connsiteX583" fmla="*/ 656660 w 900155"/>
                <a:gd name="connsiteY583" fmla="*/ 15565 h 807349"/>
                <a:gd name="connsiteX584" fmla="*/ 655784 w 900155"/>
                <a:gd name="connsiteY584" fmla="*/ 17157 h 807349"/>
                <a:gd name="connsiteX585" fmla="*/ 655503 w 900155"/>
                <a:gd name="connsiteY585" fmla="*/ 18387 h 807349"/>
                <a:gd name="connsiteX586" fmla="*/ 659269 w 900155"/>
                <a:gd name="connsiteY586" fmla="*/ 21430 h 807349"/>
                <a:gd name="connsiteX587" fmla="*/ 660522 w 900155"/>
                <a:gd name="connsiteY587" fmla="*/ 23778 h 807349"/>
                <a:gd name="connsiteX588" fmla="*/ 661044 w 900155"/>
                <a:gd name="connsiteY588" fmla="*/ 25985 h 807349"/>
                <a:gd name="connsiteX589" fmla="*/ 661784 w 900155"/>
                <a:gd name="connsiteY589" fmla="*/ 28066 h 807349"/>
                <a:gd name="connsiteX590" fmla="*/ 662141 w 900155"/>
                <a:gd name="connsiteY590" fmla="*/ 30872 h 807349"/>
                <a:gd name="connsiteX591" fmla="*/ 662089 w 900155"/>
                <a:gd name="connsiteY591" fmla="*/ 35355 h 807349"/>
                <a:gd name="connsiteX592" fmla="*/ 662575 w 900155"/>
                <a:gd name="connsiteY592" fmla="*/ 39592 h 807349"/>
                <a:gd name="connsiteX593" fmla="*/ 663933 w 900155"/>
                <a:gd name="connsiteY593" fmla="*/ 40923 h 807349"/>
                <a:gd name="connsiteX594" fmla="*/ 665138 w 900155"/>
                <a:gd name="connsiteY594" fmla="*/ 41781 h 807349"/>
                <a:gd name="connsiteX595" fmla="*/ 666861 w 900155"/>
                <a:gd name="connsiteY595" fmla="*/ 41895 h 807349"/>
                <a:gd name="connsiteX596" fmla="*/ 669349 w 900155"/>
                <a:gd name="connsiteY596" fmla="*/ 42576 h 807349"/>
                <a:gd name="connsiteX597" fmla="*/ 668775 w 900155"/>
                <a:gd name="connsiteY597" fmla="*/ 45299 h 807349"/>
                <a:gd name="connsiteX598" fmla="*/ 667708 w 900155"/>
                <a:gd name="connsiteY598" fmla="*/ 47402 h 807349"/>
                <a:gd name="connsiteX599" fmla="*/ 667582 w 900155"/>
                <a:gd name="connsiteY599" fmla="*/ 48666 h 807349"/>
                <a:gd name="connsiteX600" fmla="*/ 667831 w 900155"/>
                <a:gd name="connsiteY600" fmla="*/ 50406 h 807349"/>
                <a:gd name="connsiteX601" fmla="*/ 669608 w 900155"/>
                <a:gd name="connsiteY601" fmla="*/ 51701 h 807349"/>
                <a:gd name="connsiteX602" fmla="*/ 671012 w 900155"/>
                <a:gd name="connsiteY602" fmla="*/ 52519 h 807349"/>
                <a:gd name="connsiteX603" fmla="*/ 671798 w 900155"/>
                <a:gd name="connsiteY603" fmla="*/ 54790 h 807349"/>
                <a:gd name="connsiteX604" fmla="*/ 674273 w 900155"/>
                <a:gd name="connsiteY604" fmla="*/ 57960 h 807349"/>
                <a:gd name="connsiteX605" fmla="*/ 674184 w 900155"/>
                <a:gd name="connsiteY605" fmla="*/ 60120 h 807349"/>
                <a:gd name="connsiteX606" fmla="*/ 675514 w 900155"/>
                <a:gd name="connsiteY606" fmla="*/ 62808 h 807349"/>
                <a:gd name="connsiteX607" fmla="*/ 676714 w 900155"/>
                <a:gd name="connsiteY607" fmla="*/ 68176 h 807349"/>
                <a:gd name="connsiteX608" fmla="*/ 677101 w 900155"/>
                <a:gd name="connsiteY608" fmla="*/ 72883 h 807349"/>
                <a:gd name="connsiteX609" fmla="*/ 678365 w 900155"/>
                <a:gd name="connsiteY609" fmla="*/ 76030 h 807349"/>
                <a:gd name="connsiteX610" fmla="*/ 677520 w 900155"/>
                <a:gd name="connsiteY610" fmla="*/ 82725 h 807349"/>
                <a:gd name="connsiteX611" fmla="*/ 678423 w 900155"/>
                <a:gd name="connsiteY611" fmla="*/ 85469 h 807349"/>
                <a:gd name="connsiteX612" fmla="*/ 679619 w 900155"/>
                <a:gd name="connsiteY612" fmla="*/ 87743 h 807349"/>
                <a:gd name="connsiteX613" fmla="*/ 681031 w 900155"/>
                <a:gd name="connsiteY613" fmla="*/ 92271 h 807349"/>
                <a:gd name="connsiteX614" fmla="*/ 682117 w 900155"/>
                <a:gd name="connsiteY614" fmla="*/ 96428 h 807349"/>
                <a:gd name="connsiteX615" fmla="*/ 683577 w 900155"/>
                <a:gd name="connsiteY615" fmla="*/ 97607 h 807349"/>
                <a:gd name="connsiteX616" fmla="*/ 686661 w 900155"/>
                <a:gd name="connsiteY616" fmla="*/ 99002 h 807349"/>
                <a:gd name="connsiteX617" fmla="*/ 689846 w 900155"/>
                <a:gd name="connsiteY617" fmla="*/ 97459 h 807349"/>
                <a:gd name="connsiteX618" fmla="*/ 692145 w 900155"/>
                <a:gd name="connsiteY618" fmla="*/ 95371 h 807349"/>
                <a:gd name="connsiteX619" fmla="*/ 694618 w 900155"/>
                <a:gd name="connsiteY619" fmla="*/ 94862 h 807349"/>
                <a:gd name="connsiteX620" fmla="*/ 697965 w 900155"/>
                <a:gd name="connsiteY620" fmla="*/ 93789 h 807349"/>
                <a:gd name="connsiteX621" fmla="*/ 700472 w 900155"/>
                <a:gd name="connsiteY621" fmla="*/ 96560 h 807349"/>
                <a:gd name="connsiteX622" fmla="*/ 701835 w 900155"/>
                <a:gd name="connsiteY622" fmla="*/ 99670 h 807349"/>
                <a:gd name="connsiteX623" fmla="*/ 707754 w 900155"/>
                <a:gd name="connsiteY623" fmla="*/ 103776 h 807349"/>
                <a:gd name="connsiteX624" fmla="*/ 711042 w 900155"/>
                <a:gd name="connsiteY624" fmla="*/ 106412 h 807349"/>
                <a:gd name="connsiteX625" fmla="*/ 713597 w 900155"/>
                <a:gd name="connsiteY625" fmla="*/ 107901 h 807349"/>
                <a:gd name="connsiteX626" fmla="*/ 715979 w 900155"/>
                <a:gd name="connsiteY626" fmla="*/ 109850 h 807349"/>
                <a:gd name="connsiteX627" fmla="*/ 715741 w 900155"/>
                <a:gd name="connsiteY627" fmla="*/ 111799 h 807349"/>
                <a:gd name="connsiteX628" fmla="*/ 715182 w 900155"/>
                <a:gd name="connsiteY628" fmla="*/ 113338 h 807349"/>
                <a:gd name="connsiteX629" fmla="*/ 715724 w 900155"/>
                <a:gd name="connsiteY629" fmla="*/ 115746 h 807349"/>
                <a:gd name="connsiteX630" fmla="*/ 716097 w 900155"/>
                <a:gd name="connsiteY630" fmla="*/ 118536 h 807349"/>
                <a:gd name="connsiteX631" fmla="*/ 715622 w 900155"/>
                <a:gd name="connsiteY631" fmla="*/ 121918 h 807349"/>
                <a:gd name="connsiteX632" fmla="*/ 717345 w 900155"/>
                <a:gd name="connsiteY632" fmla="*/ 127011 h 807349"/>
                <a:gd name="connsiteX633" fmla="*/ 717918 w 900155"/>
                <a:gd name="connsiteY633" fmla="*/ 131079 h 807349"/>
                <a:gd name="connsiteX634" fmla="*/ 719744 w 900155"/>
                <a:gd name="connsiteY634" fmla="*/ 135055 h 807349"/>
                <a:gd name="connsiteX635" fmla="*/ 719609 w 900155"/>
                <a:gd name="connsiteY635" fmla="*/ 139150 h 807349"/>
                <a:gd name="connsiteX636" fmla="*/ 719268 w 900155"/>
                <a:gd name="connsiteY636" fmla="*/ 140694 h 807349"/>
                <a:gd name="connsiteX637" fmla="*/ 719038 w 900155"/>
                <a:gd name="connsiteY637" fmla="*/ 142991 h 807349"/>
                <a:gd name="connsiteX638" fmla="*/ 720461 w 900155"/>
                <a:gd name="connsiteY638" fmla="*/ 145852 h 807349"/>
                <a:gd name="connsiteX639" fmla="*/ 721777 w 900155"/>
                <a:gd name="connsiteY639" fmla="*/ 147964 h 807349"/>
                <a:gd name="connsiteX640" fmla="*/ 723731 w 900155"/>
                <a:gd name="connsiteY640" fmla="*/ 150259 h 807349"/>
                <a:gd name="connsiteX641" fmla="*/ 726307 w 900155"/>
                <a:gd name="connsiteY641" fmla="*/ 153747 h 807349"/>
                <a:gd name="connsiteX642" fmla="*/ 728145 w 900155"/>
                <a:gd name="connsiteY642" fmla="*/ 154448 h 807349"/>
                <a:gd name="connsiteX643" fmla="*/ 729786 w 900155"/>
                <a:gd name="connsiteY643" fmla="*/ 154497 h 807349"/>
                <a:gd name="connsiteX644" fmla="*/ 729561 w 900155"/>
                <a:gd name="connsiteY644" fmla="*/ 158085 h 807349"/>
                <a:gd name="connsiteX645" fmla="*/ 732830 w 900155"/>
                <a:gd name="connsiteY645" fmla="*/ 165162 h 807349"/>
                <a:gd name="connsiteX646" fmla="*/ 734512 w 900155"/>
                <a:gd name="connsiteY646" fmla="*/ 170955 h 807349"/>
                <a:gd name="connsiteX647" fmla="*/ 733366 w 900155"/>
                <a:gd name="connsiteY647" fmla="*/ 178760 h 807349"/>
                <a:gd name="connsiteX648" fmla="*/ 732234 w 900155"/>
                <a:gd name="connsiteY648" fmla="*/ 183291 h 807349"/>
                <a:gd name="connsiteX649" fmla="*/ 732442 w 900155"/>
                <a:gd name="connsiteY649" fmla="*/ 185509 h 807349"/>
                <a:gd name="connsiteX650" fmla="*/ 736661 w 900155"/>
                <a:gd name="connsiteY650" fmla="*/ 190927 h 807349"/>
                <a:gd name="connsiteX651" fmla="*/ 739097 w 900155"/>
                <a:gd name="connsiteY651" fmla="*/ 191930 h 807349"/>
                <a:gd name="connsiteX652" fmla="*/ 738622 w 900155"/>
                <a:gd name="connsiteY652" fmla="*/ 194516 h 807349"/>
                <a:gd name="connsiteX653" fmla="*/ 738294 w 900155"/>
                <a:gd name="connsiteY653" fmla="*/ 198511 h 807349"/>
                <a:gd name="connsiteX654" fmla="*/ 740207 w 900155"/>
                <a:gd name="connsiteY654" fmla="*/ 201622 h 807349"/>
                <a:gd name="connsiteX655" fmla="*/ 742369 w 900155"/>
                <a:gd name="connsiteY655" fmla="*/ 203952 h 807349"/>
                <a:gd name="connsiteX656" fmla="*/ 744716 w 900155"/>
                <a:gd name="connsiteY656" fmla="*/ 205344 h 807349"/>
                <a:gd name="connsiteX657" fmla="*/ 747030 w 900155"/>
                <a:gd name="connsiteY657" fmla="*/ 206444 h 807349"/>
                <a:gd name="connsiteX658" fmla="*/ 750060 w 900155"/>
                <a:gd name="connsiteY658" fmla="*/ 207552 h 807349"/>
                <a:gd name="connsiteX659" fmla="*/ 753900 w 900155"/>
                <a:gd name="connsiteY659" fmla="*/ 208018 h 807349"/>
                <a:gd name="connsiteX660" fmla="*/ 755892 w 900155"/>
                <a:gd name="connsiteY660" fmla="*/ 209774 h 807349"/>
                <a:gd name="connsiteX661" fmla="*/ 756909 w 900155"/>
                <a:gd name="connsiteY661" fmla="*/ 211163 h 807349"/>
                <a:gd name="connsiteX662" fmla="*/ 759991 w 900155"/>
                <a:gd name="connsiteY662" fmla="*/ 211646 h 807349"/>
                <a:gd name="connsiteX663" fmla="*/ 761393 w 900155"/>
                <a:gd name="connsiteY663" fmla="*/ 211388 h 807349"/>
                <a:gd name="connsiteX664" fmla="*/ 763097 w 900155"/>
                <a:gd name="connsiteY664" fmla="*/ 210818 h 807349"/>
                <a:gd name="connsiteX665" fmla="*/ 764254 w 900155"/>
                <a:gd name="connsiteY665" fmla="*/ 211764 h 807349"/>
                <a:gd name="connsiteX666" fmla="*/ 765113 w 900155"/>
                <a:gd name="connsiteY666" fmla="*/ 213022 h 807349"/>
                <a:gd name="connsiteX667" fmla="*/ 766800 w 900155"/>
                <a:gd name="connsiteY667" fmla="*/ 216435 h 807349"/>
                <a:gd name="connsiteX668" fmla="*/ 770257 w 900155"/>
                <a:gd name="connsiteY668" fmla="*/ 219820 h 807349"/>
                <a:gd name="connsiteX669" fmla="*/ 772708 w 900155"/>
                <a:gd name="connsiteY669" fmla="*/ 220386 h 807349"/>
                <a:gd name="connsiteX670" fmla="*/ 774088 w 900155"/>
                <a:gd name="connsiteY670" fmla="*/ 222099 h 807349"/>
                <a:gd name="connsiteX671" fmla="*/ 776053 w 900155"/>
                <a:gd name="connsiteY671" fmla="*/ 222566 h 807349"/>
                <a:gd name="connsiteX672" fmla="*/ 777745 w 900155"/>
                <a:gd name="connsiteY672" fmla="*/ 222775 h 807349"/>
                <a:gd name="connsiteX673" fmla="*/ 780147 w 900155"/>
                <a:gd name="connsiteY673" fmla="*/ 224091 h 807349"/>
                <a:gd name="connsiteX674" fmla="*/ 784066 w 900155"/>
                <a:gd name="connsiteY674" fmla="*/ 227119 h 807349"/>
                <a:gd name="connsiteX675" fmla="*/ 787601 w 900155"/>
                <a:gd name="connsiteY675" fmla="*/ 227611 h 807349"/>
                <a:gd name="connsiteX676" fmla="*/ 789232 w 900155"/>
                <a:gd name="connsiteY676" fmla="*/ 228447 h 807349"/>
                <a:gd name="connsiteX677" fmla="*/ 792745 w 900155"/>
                <a:gd name="connsiteY677" fmla="*/ 231770 h 807349"/>
                <a:gd name="connsiteX678" fmla="*/ 794107 w 900155"/>
                <a:gd name="connsiteY678" fmla="*/ 233541 h 807349"/>
                <a:gd name="connsiteX679" fmla="*/ 795517 w 900155"/>
                <a:gd name="connsiteY679" fmla="*/ 236178 h 807349"/>
                <a:gd name="connsiteX680" fmla="*/ 793755 w 900155"/>
                <a:gd name="connsiteY680" fmla="*/ 236428 h 807349"/>
                <a:gd name="connsiteX681" fmla="*/ 792095 w 900155"/>
                <a:gd name="connsiteY681" fmla="*/ 235877 h 807349"/>
                <a:gd name="connsiteX682" fmla="*/ 791071 w 900155"/>
                <a:gd name="connsiteY682" fmla="*/ 238468 h 807349"/>
                <a:gd name="connsiteX683" fmla="*/ 793410 w 900155"/>
                <a:gd name="connsiteY683" fmla="*/ 242053 h 807349"/>
                <a:gd name="connsiteX684" fmla="*/ 796129 w 900155"/>
                <a:gd name="connsiteY684" fmla="*/ 244582 h 807349"/>
                <a:gd name="connsiteX685" fmla="*/ 799405 w 900155"/>
                <a:gd name="connsiteY685" fmla="*/ 247258 h 807349"/>
                <a:gd name="connsiteX686" fmla="*/ 802596 w 900155"/>
                <a:gd name="connsiteY686" fmla="*/ 251046 h 807349"/>
                <a:gd name="connsiteX687" fmla="*/ 803404 w 900155"/>
                <a:gd name="connsiteY687" fmla="*/ 253938 h 807349"/>
                <a:gd name="connsiteX688" fmla="*/ 804263 w 900155"/>
                <a:gd name="connsiteY688" fmla="*/ 255079 h 807349"/>
                <a:gd name="connsiteX689" fmla="*/ 805347 w 900155"/>
                <a:gd name="connsiteY689" fmla="*/ 259164 h 807349"/>
                <a:gd name="connsiteX690" fmla="*/ 808106 w 900155"/>
                <a:gd name="connsiteY690" fmla="*/ 261540 h 807349"/>
                <a:gd name="connsiteX691" fmla="*/ 808238 w 900155"/>
                <a:gd name="connsiteY691" fmla="*/ 265865 h 807349"/>
                <a:gd name="connsiteX692" fmla="*/ 809653 w 900155"/>
                <a:gd name="connsiteY692" fmla="*/ 271852 h 807349"/>
                <a:gd name="connsiteX693" fmla="*/ 811238 w 900155"/>
                <a:gd name="connsiteY693" fmla="*/ 277283 h 807349"/>
                <a:gd name="connsiteX694" fmla="*/ 812335 w 900155"/>
                <a:gd name="connsiteY694" fmla="*/ 278926 h 807349"/>
                <a:gd name="connsiteX695" fmla="*/ 813630 w 900155"/>
                <a:gd name="connsiteY695" fmla="*/ 281533 h 807349"/>
                <a:gd name="connsiteX696" fmla="*/ 815127 w 900155"/>
                <a:gd name="connsiteY696" fmla="*/ 281202 h 807349"/>
                <a:gd name="connsiteX697" fmla="*/ 816252 w 900155"/>
                <a:gd name="connsiteY697" fmla="*/ 280355 h 807349"/>
                <a:gd name="connsiteX698" fmla="*/ 818416 w 900155"/>
                <a:gd name="connsiteY698" fmla="*/ 282947 h 807349"/>
                <a:gd name="connsiteX699" fmla="*/ 819612 w 900155"/>
                <a:gd name="connsiteY699" fmla="*/ 284094 h 807349"/>
                <a:gd name="connsiteX700" fmla="*/ 820301 w 900155"/>
                <a:gd name="connsiteY700" fmla="*/ 283417 h 807349"/>
                <a:gd name="connsiteX701" fmla="*/ 818893 w 900155"/>
                <a:gd name="connsiteY701" fmla="*/ 278456 h 807349"/>
                <a:gd name="connsiteX702" fmla="*/ 819763 w 900155"/>
                <a:gd name="connsiteY702" fmla="*/ 275580 h 807349"/>
                <a:gd name="connsiteX703" fmla="*/ 820633 w 900155"/>
                <a:gd name="connsiteY703" fmla="*/ 275211 h 807349"/>
                <a:gd name="connsiteX704" fmla="*/ 821862 w 900155"/>
                <a:gd name="connsiteY704" fmla="*/ 275120 h 807349"/>
                <a:gd name="connsiteX705" fmla="*/ 823340 w 900155"/>
                <a:gd name="connsiteY705" fmla="*/ 277465 h 807349"/>
                <a:gd name="connsiteX706" fmla="*/ 825371 w 900155"/>
                <a:gd name="connsiteY706" fmla="*/ 279963 h 807349"/>
                <a:gd name="connsiteX707" fmla="*/ 829135 w 900155"/>
                <a:gd name="connsiteY707" fmla="*/ 282194 h 807349"/>
                <a:gd name="connsiteX708" fmla="*/ 832147 w 900155"/>
                <a:gd name="connsiteY708" fmla="*/ 284290 h 807349"/>
                <a:gd name="connsiteX709" fmla="*/ 832994 w 900155"/>
                <a:gd name="connsiteY709" fmla="*/ 284212 h 807349"/>
                <a:gd name="connsiteX710" fmla="*/ 832657 w 900155"/>
                <a:gd name="connsiteY710" fmla="*/ 282593 h 807349"/>
                <a:gd name="connsiteX711" fmla="*/ 832750 w 900155"/>
                <a:gd name="connsiteY711" fmla="*/ 280219 h 807349"/>
                <a:gd name="connsiteX712" fmla="*/ 833950 w 900155"/>
                <a:gd name="connsiteY712" fmla="*/ 279831 h 807349"/>
                <a:gd name="connsiteX713" fmla="*/ 835047 w 900155"/>
                <a:gd name="connsiteY713" fmla="*/ 281013 h 807349"/>
                <a:gd name="connsiteX714" fmla="*/ 837068 w 900155"/>
                <a:gd name="connsiteY714" fmla="*/ 284687 h 807349"/>
                <a:gd name="connsiteX715" fmla="*/ 837487 w 900155"/>
                <a:gd name="connsiteY715" fmla="*/ 292292 h 807349"/>
                <a:gd name="connsiteX716" fmla="*/ 837491 w 900155"/>
                <a:gd name="connsiteY716" fmla="*/ 298670 h 807349"/>
                <a:gd name="connsiteX717" fmla="*/ 838822 w 900155"/>
                <a:gd name="connsiteY717" fmla="*/ 305239 h 807349"/>
                <a:gd name="connsiteX718" fmla="*/ 840766 w 900155"/>
                <a:gd name="connsiteY718" fmla="*/ 306965 h 807349"/>
                <a:gd name="connsiteX719" fmla="*/ 842042 w 900155"/>
                <a:gd name="connsiteY719" fmla="*/ 308597 h 807349"/>
                <a:gd name="connsiteX720" fmla="*/ 844229 w 900155"/>
                <a:gd name="connsiteY720" fmla="*/ 310802 h 807349"/>
                <a:gd name="connsiteX721" fmla="*/ 845691 w 900155"/>
                <a:gd name="connsiteY721" fmla="*/ 312859 h 807349"/>
                <a:gd name="connsiteX722" fmla="*/ 847516 w 900155"/>
                <a:gd name="connsiteY722" fmla="*/ 313817 h 807349"/>
                <a:gd name="connsiteX723" fmla="*/ 853363 w 900155"/>
                <a:gd name="connsiteY723" fmla="*/ 318203 h 807349"/>
                <a:gd name="connsiteX724" fmla="*/ 855013 w 900155"/>
                <a:gd name="connsiteY724" fmla="*/ 318699 h 807349"/>
                <a:gd name="connsiteX725" fmla="*/ 857568 w 900155"/>
                <a:gd name="connsiteY725" fmla="*/ 318811 h 807349"/>
                <a:gd name="connsiteX726" fmla="*/ 860679 w 900155"/>
                <a:gd name="connsiteY726" fmla="*/ 320792 h 807349"/>
                <a:gd name="connsiteX727" fmla="*/ 862251 w 900155"/>
                <a:gd name="connsiteY727" fmla="*/ 322621 h 807349"/>
                <a:gd name="connsiteX728" fmla="*/ 865626 w 900155"/>
                <a:gd name="connsiteY728" fmla="*/ 329503 h 807349"/>
                <a:gd name="connsiteX729" fmla="*/ 867274 w 900155"/>
                <a:gd name="connsiteY729" fmla="*/ 331925 h 807349"/>
                <a:gd name="connsiteX730" fmla="*/ 870638 w 900155"/>
                <a:gd name="connsiteY730" fmla="*/ 334315 h 807349"/>
                <a:gd name="connsiteX731" fmla="*/ 872210 w 900155"/>
                <a:gd name="connsiteY731" fmla="*/ 335095 h 807349"/>
                <a:gd name="connsiteX732" fmla="*/ 874492 w 900155"/>
                <a:gd name="connsiteY732" fmla="*/ 336738 h 807349"/>
                <a:gd name="connsiteX733" fmla="*/ 875307 w 900155"/>
                <a:gd name="connsiteY733" fmla="*/ 339126 h 807349"/>
                <a:gd name="connsiteX734" fmla="*/ 875503 w 900155"/>
                <a:gd name="connsiteY734" fmla="*/ 340537 h 807349"/>
                <a:gd name="connsiteX735" fmla="*/ 876857 w 900155"/>
                <a:gd name="connsiteY735" fmla="*/ 343081 h 807349"/>
                <a:gd name="connsiteX736" fmla="*/ 878869 w 900155"/>
                <a:gd name="connsiteY736" fmla="*/ 346140 h 807349"/>
                <a:gd name="connsiteX737" fmla="*/ 881851 w 900155"/>
                <a:gd name="connsiteY737" fmla="*/ 347840 h 807349"/>
                <a:gd name="connsiteX738" fmla="*/ 884601 w 900155"/>
                <a:gd name="connsiteY738" fmla="*/ 351564 h 807349"/>
                <a:gd name="connsiteX739" fmla="*/ 884756 w 900155"/>
                <a:gd name="connsiteY739" fmla="*/ 357616 h 807349"/>
                <a:gd name="connsiteX740" fmla="*/ 886181 w 900155"/>
                <a:gd name="connsiteY740" fmla="*/ 360632 h 807349"/>
                <a:gd name="connsiteX741" fmla="*/ 887138 w 900155"/>
                <a:gd name="connsiteY741" fmla="*/ 361910 h 807349"/>
                <a:gd name="connsiteX742" fmla="*/ 889289 w 900155"/>
                <a:gd name="connsiteY742" fmla="*/ 363148 h 807349"/>
                <a:gd name="connsiteX743" fmla="*/ 890161 w 900155"/>
                <a:gd name="connsiteY743" fmla="*/ 364129 h 807349"/>
                <a:gd name="connsiteX744" fmla="*/ 888375 w 900155"/>
                <a:gd name="connsiteY744" fmla="*/ 372169 h 807349"/>
                <a:gd name="connsiteX745" fmla="*/ 890098 w 900155"/>
                <a:gd name="connsiteY745" fmla="*/ 388283 h 807349"/>
                <a:gd name="connsiteX746" fmla="*/ 889097 w 900155"/>
                <a:gd name="connsiteY746" fmla="*/ 393321 h 807349"/>
                <a:gd name="connsiteX747" fmla="*/ 890891 w 900155"/>
                <a:gd name="connsiteY747" fmla="*/ 398329 h 807349"/>
                <a:gd name="connsiteX748" fmla="*/ 895044 w 900155"/>
                <a:gd name="connsiteY748" fmla="*/ 407011 h 807349"/>
                <a:gd name="connsiteX749" fmla="*/ 895987 w 900155"/>
                <a:gd name="connsiteY749" fmla="*/ 410096 h 807349"/>
                <a:gd name="connsiteX750" fmla="*/ 896572 w 900155"/>
                <a:gd name="connsiteY750" fmla="*/ 413699 h 807349"/>
                <a:gd name="connsiteX751" fmla="*/ 899243 w 900155"/>
                <a:gd name="connsiteY751" fmla="*/ 418300 h 807349"/>
                <a:gd name="connsiteX752" fmla="*/ 899098 w 900155"/>
                <a:gd name="connsiteY752" fmla="*/ 425320 h 807349"/>
                <a:gd name="connsiteX753" fmla="*/ 900155 w 900155"/>
                <a:gd name="connsiteY753" fmla="*/ 428672 h 807349"/>
                <a:gd name="connsiteX754" fmla="*/ 899883 w 900155"/>
                <a:gd name="connsiteY754" fmla="*/ 433031 h 807349"/>
                <a:gd name="connsiteX755" fmla="*/ 896734 w 900155"/>
                <a:gd name="connsiteY755" fmla="*/ 437738 h 807349"/>
                <a:gd name="connsiteX756" fmla="*/ 894210 w 900155"/>
                <a:gd name="connsiteY756" fmla="*/ 443523 h 807349"/>
                <a:gd name="connsiteX757" fmla="*/ 894186 w 900155"/>
                <a:gd name="connsiteY757" fmla="*/ 448494 h 807349"/>
                <a:gd name="connsiteX758" fmla="*/ 892537 w 900155"/>
                <a:gd name="connsiteY758" fmla="*/ 458059 h 807349"/>
                <a:gd name="connsiteX759" fmla="*/ 891463 w 900155"/>
                <a:gd name="connsiteY759" fmla="*/ 460627 h 807349"/>
                <a:gd name="connsiteX760" fmla="*/ 890675 w 900155"/>
                <a:gd name="connsiteY760" fmla="*/ 464629 h 807349"/>
                <a:gd name="connsiteX761" fmla="*/ 887190 w 900155"/>
                <a:gd name="connsiteY761" fmla="*/ 474321 h 807349"/>
                <a:gd name="connsiteX762" fmla="*/ 887039 w 900155"/>
                <a:gd name="connsiteY762" fmla="*/ 478130 h 807349"/>
                <a:gd name="connsiteX763" fmla="*/ 887572 w 900155"/>
                <a:gd name="connsiteY763" fmla="*/ 482680 h 807349"/>
                <a:gd name="connsiteX764" fmla="*/ 886991 w 900155"/>
                <a:gd name="connsiteY764" fmla="*/ 487052 h 807349"/>
                <a:gd name="connsiteX765" fmla="*/ 886121 w 900155"/>
                <a:gd name="connsiteY765" fmla="*/ 490030 h 807349"/>
                <a:gd name="connsiteX766" fmla="*/ 885275 w 900155"/>
                <a:gd name="connsiteY766" fmla="*/ 495549 h 807349"/>
                <a:gd name="connsiteX767" fmla="*/ 881779 w 900155"/>
                <a:gd name="connsiteY767" fmla="*/ 504144 h 807349"/>
                <a:gd name="connsiteX768" fmla="*/ 876769 w 900155"/>
                <a:gd name="connsiteY768" fmla="*/ 510501 h 807349"/>
                <a:gd name="connsiteX769" fmla="*/ 876460 w 900155"/>
                <a:gd name="connsiteY769" fmla="*/ 515344 h 807349"/>
                <a:gd name="connsiteX770" fmla="*/ 875825 w 900155"/>
                <a:gd name="connsiteY770" fmla="*/ 517484 h 807349"/>
                <a:gd name="connsiteX771" fmla="*/ 874804 w 900155"/>
                <a:gd name="connsiteY771" fmla="*/ 520161 h 807349"/>
                <a:gd name="connsiteX772" fmla="*/ 871727 w 900155"/>
                <a:gd name="connsiteY772" fmla="*/ 523075 h 807349"/>
                <a:gd name="connsiteX773" fmla="*/ 869874 w 900155"/>
                <a:gd name="connsiteY773" fmla="*/ 524335 h 807349"/>
                <a:gd name="connsiteX774" fmla="*/ 869172 w 900155"/>
                <a:gd name="connsiteY774" fmla="*/ 526045 h 807349"/>
                <a:gd name="connsiteX775" fmla="*/ 867421 w 900155"/>
                <a:gd name="connsiteY775" fmla="*/ 526045 h 807349"/>
                <a:gd name="connsiteX776" fmla="*/ 867377 w 900155"/>
                <a:gd name="connsiteY776" fmla="*/ 526581 h 807349"/>
                <a:gd name="connsiteX777" fmla="*/ 868561 w 900155"/>
                <a:gd name="connsiteY777" fmla="*/ 527118 h 807349"/>
                <a:gd name="connsiteX778" fmla="*/ 868034 w 900155"/>
                <a:gd name="connsiteY778" fmla="*/ 527998 h 807349"/>
                <a:gd name="connsiteX779" fmla="*/ 863391 w 900155"/>
                <a:gd name="connsiteY779" fmla="*/ 529549 h 807349"/>
                <a:gd name="connsiteX780" fmla="*/ 860264 w 900155"/>
                <a:gd name="connsiteY780" fmla="*/ 531541 h 807349"/>
                <a:gd name="connsiteX781" fmla="*/ 857068 w 900155"/>
                <a:gd name="connsiteY781" fmla="*/ 536418 h 807349"/>
                <a:gd name="connsiteX782" fmla="*/ 855727 w 900155"/>
                <a:gd name="connsiteY782" fmla="*/ 538969 h 807349"/>
                <a:gd name="connsiteX783" fmla="*/ 854011 w 900155"/>
                <a:gd name="connsiteY783" fmla="*/ 541420 h 807349"/>
                <a:gd name="connsiteX784" fmla="*/ 852987 w 900155"/>
                <a:gd name="connsiteY784" fmla="*/ 542570 h 807349"/>
                <a:gd name="connsiteX785" fmla="*/ 852536 w 900155"/>
                <a:gd name="connsiteY785" fmla="*/ 543805 h 807349"/>
                <a:gd name="connsiteX786" fmla="*/ 851843 w 900155"/>
                <a:gd name="connsiteY786" fmla="*/ 546882 h 807349"/>
                <a:gd name="connsiteX787" fmla="*/ 850195 w 900155"/>
                <a:gd name="connsiteY787" fmla="*/ 547435 h 807349"/>
                <a:gd name="connsiteX788" fmla="*/ 848748 w 900155"/>
                <a:gd name="connsiteY788" fmla="*/ 548353 h 807349"/>
                <a:gd name="connsiteX789" fmla="*/ 849426 w 900155"/>
                <a:gd name="connsiteY789" fmla="*/ 551288 h 807349"/>
                <a:gd name="connsiteX790" fmla="*/ 848667 w 900155"/>
                <a:gd name="connsiteY790" fmla="*/ 554652 h 807349"/>
                <a:gd name="connsiteX791" fmla="*/ 848487 w 900155"/>
                <a:gd name="connsiteY791" fmla="*/ 556933 h 807349"/>
                <a:gd name="connsiteX792" fmla="*/ 847699 w 900155"/>
                <a:gd name="connsiteY792" fmla="*/ 558384 h 807349"/>
                <a:gd name="connsiteX793" fmla="*/ 846749 w 900155"/>
                <a:gd name="connsiteY793" fmla="*/ 557862 h 807349"/>
                <a:gd name="connsiteX794" fmla="*/ 846002 w 900155"/>
                <a:gd name="connsiteY794" fmla="*/ 558095 h 807349"/>
                <a:gd name="connsiteX795" fmla="*/ 845049 w 900155"/>
                <a:gd name="connsiteY795" fmla="*/ 558886 h 807349"/>
                <a:gd name="connsiteX796" fmla="*/ 846518 w 900155"/>
                <a:gd name="connsiteY796" fmla="*/ 559134 h 807349"/>
                <a:gd name="connsiteX797" fmla="*/ 847409 w 900155"/>
                <a:gd name="connsiteY797" fmla="*/ 559493 h 807349"/>
                <a:gd name="connsiteX798" fmla="*/ 844279 w 900155"/>
                <a:gd name="connsiteY798" fmla="*/ 562798 h 807349"/>
                <a:gd name="connsiteX799" fmla="*/ 841413 w 900155"/>
                <a:gd name="connsiteY799" fmla="*/ 566149 h 807349"/>
                <a:gd name="connsiteX800" fmla="*/ 840685 w 900155"/>
                <a:gd name="connsiteY800" fmla="*/ 568381 h 807349"/>
                <a:gd name="connsiteX801" fmla="*/ 839444 w 900155"/>
                <a:gd name="connsiteY801" fmla="*/ 571186 h 807349"/>
                <a:gd name="connsiteX802" fmla="*/ 838351 w 900155"/>
                <a:gd name="connsiteY802" fmla="*/ 577432 h 807349"/>
                <a:gd name="connsiteX803" fmla="*/ 837449 w 900155"/>
                <a:gd name="connsiteY803" fmla="*/ 581008 h 807349"/>
                <a:gd name="connsiteX804" fmla="*/ 838070 w 900155"/>
                <a:gd name="connsiteY804" fmla="*/ 583553 h 807349"/>
                <a:gd name="connsiteX805" fmla="*/ 837969 w 900155"/>
                <a:gd name="connsiteY805" fmla="*/ 584030 h 807349"/>
                <a:gd name="connsiteX806" fmla="*/ 837306 w 900155"/>
                <a:gd name="connsiteY806" fmla="*/ 584218 h 807349"/>
                <a:gd name="connsiteX807" fmla="*/ 836895 w 900155"/>
                <a:gd name="connsiteY807" fmla="*/ 583886 h 807349"/>
                <a:gd name="connsiteX808" fmla="*/ 835598 w 900155"/>
                <a:gd name="connsiteY808" fmla="*/ 584756 h 807349"/>
                <a:gd name="connsiteX809" fmla="*/ 835235 w 900155"/>
                <a:gd name="connsiteY809" fmla="*/ 585627 h 807349"/>
                <a:gd name="connsiteX810" fmla="*/ 835781 w 900155"/>
                <a:gd name="connsiteY810" fmla="*/ 586707 h 807349"/>
                <a:gd name="connsiteX811" fmla="*/ 836147 w 900155"/>
                <a:gd name="connsiteY811" fmla="*/ 587079 h 807349"/>
                <a:gd name="connsiteX812" fmla="*/ 835980 w 900155"/>
                <a:gd name="connsiteY812" fmla="*/ 587595 h 807349"/>
                <a:gd name="connsiteX813" fmla="*/ 835443 w 900155"/>
                <a:gd name="connsiteY813" fmla="*/ 588161 h 807349"/>
                <a:gd name="connsiteX814" fmla="*/ 834207 w 900155"/>
                <a:gd name="connsiteY814" fmla="*/ 588159 h 807349"/>
                <a:gd name="connsiteX815" fmla="*/ 832726 w 900155"/>
                <a:gd name="connsiteY815" fmla="*/ 589077 h 807349"/>
                <a:gd name="connsiteX816" fmla="*/ 828450 w 900155"/>
                <a:gd name="connsiteY816" fmla="*/ 598369 h 807349"/>
                <a:gd name="connsiteX817" fmla="*/ 826639 w 900155"/>
                <a:gd name="connsiteY817" fmla="*/ 600838 h 807349"/>
                <a:gd name="connsiteX818" fmla="*/ 824496 w 900155"/>
                <a:gd name="connsiteY818" fmla="*/ 604649 h 807349"/>
                <a:gd name="connsiteX819" fmla="*/ 823682 w 900155"/>
                <a:gd name="connsiteY819" fmla="*/ 608103 h 807349"/>
                <a:gd name="connsiteX820" fmla="*/ 823028 w 900155"/>
                <a:gd name="connsiteY820" fmla="*/ 611885 h 807349"/>
                <a:gd name="connsiteX821" fmla="*/ 822285 w 900155"/>
                <a:gd name="connsiteY821" fmla="*/ 618262 h 807349"/>
                <a:gd name="connsiteX822" fmla="*/ 821566 w 900155"/>
                <a:gd name="connsiteY822" fmla="*/ 622763 h 807349"/>
                <a:gd name="connsiteX823" fmla="*/ 819916 w 900155"/>
                <a:gd name="connsiteY823" fmla="*/ 627133 h 807349"/>
                <a:gd name="connsiteX824" fmla="*/ 819299 w 900155"/>
                <a:gd name="connsiteY824" fmla="*/ 630250 h 807349"/>
                <a:gd name="connsiteX825" fmla="*/ 819085 w 900155"/>
                <a:gd name="connsiteY825" fmla="*/ 636218 h 807349"/>
                <a:gd name="connsiteX826" fmla="*/ 819875 w 900155"/>
                <a:gd name="connsiteY826" fmla="*/ 640755 h 807349"/>
                <a:gd name="connsiteX827" fmla="*/ 819357 w 900155"/>
                <a:gd name="connsiteY827" fmla="*/ 643167 h 807349"/>
                <a:gd name="connsiteX828" fmla="*/ 819344 w 900155"/>
                <a:gd name="connsiteY828" fmla="*/ 645484 h 807349"/>
                <a:gd name="connsiteX829" fmla="*/ 818689 w 900155"/>
                <a:gd name="connsiteY829" fmla="*/ 647645 h 807349"/>
                <a:gd name="connsiteX830" fmla="*/ 815962 w 900155"/>
                <a:gd name="connsiteY830" fmla="*/ 648139 h 807349"/>
                <a:gd name="connsiteX831" fmla="*/ 813742 w 900155"/>
                <a:gd name="connsiteY831" fmla="*/ 649906 h 807349"/>
                <a:gd name="connsiteX832" fmla="*/ 810568 w 900155"/>
                <a:gd name="connsiteY832" fmla="*/ 652795 h 807349"/>
                <a:gd name="connsiteX833" fmla="*/ 808699 w 900155"/>
                <a:gd name="connsiteY833" fmla="*/ 653849 h 807349"/>
                <a:gd name="connsiteX834" fmla="*/ 804665 w 900155"/>
                <a:gd name="connsiteY834" fmla="*/ 654641 h 807349"/>
                <a:gd name="connsiteX835" fmla="*/ 796826 w 900155"/>
                <a:gd name="connsiteY835" fmla="*/ 654291 h 807349"/>
                <a:gd name="connsiteX836" fmla="*/ 781758 w 900155"/>
                <a:gd name="connsiteY836" fmla="*/ 655372 h 807349"/>
                <a:gd name="connsiteX837" fmla="*/ 778842 w 900155"/>
                <a:gd name="connsiteY837" fmla="*/ 656021 h 807349"/>
                <a:gd name="connsiteX838" fmla="*/ 773228 w 900155"/>
                <a:gd name="connsiteY838" fmla="*/ 658023 h 807349"/>
                <a:gd name="connsiteX839" fmla="*/ 767803 w 900155"/>
                <a:gd name="connsiteY839" fmla="*/ 661137 h 807349"/>
                <a:gd name="connsiteX840" fmla="*/ 762589 w 900155"/>
                <a:gd name="connsiteY840" fmla="*/ 665333 h 807349"/>
                <a:gd name="connsiteX841" fmla="*/ 750676 w 900155"/>
                <a:gd name="connsiteY841" fmla="*/ 676766 h 807349"/>
                <a:gd name="connsiteX842" fmla="*/ 741365 w 900155"/>
                <a:gd name="connsiteY842" fmla="*/ 678012 h 807349"/>
                <a:gd name="connsiteX843" fmla="*/ 739607 w 900155"/>
                <a:gd name="connsiteY843" fmla="*/ 678012 h 807349"/>
                <a:gd name="connsiteX844" fmla="*/ 738198 w 900155"/>
                <a:gd name="connsiteY844" fmla="*/ 677702 h 807349"/>
                <a:gd name="connsiteX845" fmla="*/ 736538 w 900155"/>
                <a:gd name="connsiteY845" fmla="*/ 678415 h 807349"/>
                <a:gd name="connsiteX846" fmla="*/ 736510 w 900155"/>
                <a:gd name="connsiteY846" fmla="*/ 679841 h 807349"/>
                <a:gd name="connsiteX847" fmla="*/ 738043 w 900155"/>
                <a:gd name="connsiteY847" fmla="*/ 681325 h 807349"/>
                <a:gd name="connsiteX848" fmla="*/ 739173 w 900155"/>
                <a:gd name="connsiteY848" fmla="*/ 682720 h 807349"/>
                <a:gd name="connsiteX849" fmla="*/ 741170 w 900155"/>
                <a:gd name="connsiteY849" fmla="*/ 680794 h 807349"/>
                <a:gd name="connsiteX850" fmla="*/ 742047 w 900155"/>
                <a:gd name="connsiteY850" fmla="*/ 681328 h 807349"/>
                <a:gd name="connsiteX851" fmla="*/ 742379 w 900155"/>
                <a:gd name="connsiteY851" fmla="*/ 684882 h 807349"/>
                <a:gd name="connsiteX852" fmla="*/ 742427 w 900155"/>
                <a:gd name="connsiteY852" fmla="*/ 687135 h 807349"/>
                <a:gd name="connsiteX853" fmla="*/ 741826 w 900155"/>
                <a:gd name="connsiteY853" fmla="*/ 688357 h 807349"/>
                <a:gd name="connsiteX854" fmla="*/ 740574 w 900155"/>
                <a:gd name="connsiteY854" fmla="*/ 689217 h 807349"/>
                <a:gd name="connsiteX855" fmla="*/ 739248 w 900155"/>
                <a:gd name="connsiteY855" fmla="*/ 688656 h 807349"/>
                <a:gd name="connsiteX856" fmla="*/ 739071 w 900155"/>
                <a:gd name="connsiteY856" fmla="*/ 687435 h 807349"/>
                <a:gd name="connsiteX857" fmla="*/ 737353 w 900155"/>
                <a:gd name="connsiteY857" fmla="*/ 684534 h 807349"/>
                <a:gd name="connsiteX858" fmla="*/ 735232 w 900155"/>
                <a:gd name="connsiteY858" fmla="*/ 681983 h 807349"/>
                <a:gd name="connsiteX859" fmla="*/ 733275 w 900155"/>
                <a:gd name="connsiteY859" fmla="*/ 681167 h 807349"/>
                <a:gd name="connsiteX860" fmla="*/ 732130 w 900155"/>
                <a:gd name="connsiteY860" fmla="*/ 682019 h 807349"/>
                <a:gd name="connsiteX861" fmla="*/ 730299 w 900155"/>
                <a:gd name="connsiteY861" fmla="*/ 682914 h 807349"/>
                <a:gd name="connsiteX862" fmla="*/ 728755 w 900155"/>
                <a:gd name="connsiteY862" fmla="*/ 679667 h 807349"/>
                <a:gd name="connsiteX863" fmla="*/ 727104 w 900155"/>
                <a:gd name="connsiteY863" fmla="*/ 676856 h 807349"/>
                <a:gd name="connsiteX864" fmla="*/ 724916 w 900155"/>
                <a:gd name="connsiteY864" fmla="*/ 676564 h 807349"/>
                <a:gd name="connsiteX865" fmla="*/ 723025 w 900155"/>
                <a:gd name="connsiteY865" fmla="*/ 676595 h 807349"/>
                <a:gd name="connsiteX866" fmla="*/ 721455 w 900155"/>
                <a:gd name="connsiteY866" fmla="*/ 675379 h 807349"/>
                <a:gd name="connsiteX867" fmla="*/ 718401 w 900155"/>
                <a:gd name="connsiteY867" fmla="*/ 673465 h 807349"/>
                <a:gd name="connsiteX868" fmla="*/ 718997 w 900155"/>
                <a:gd name="connsiteY868" fmla="*/ 671971 h 807349"/>
                <a:gd name="connsiteX869" fmla="*/ 719851 w 900155"/>
                <a:gd name="connsiteY869" fmla="*/ 670401 h 807349"/>
                <a:gd name="connsiteX870" fmla="*/ 721606 w 900155"/>
                <a:gd name="connsiteY870" fmla="*/ 669823 h 807349"/>
                <a:gd name="connsiteX871" fmla="*/ 721079 w 900155"/>
                <a:gd name="connsiteY871" fmla="*/ 667704 h 807349"/>
                <a:gd name="connsiteX872" fmla="*/ 720138 w 900155"/>
                <a:gd name="connsiteY872" fmla="*/ 665965 h 807349"/>
                <a:gd name="connsiteX873" fmla="*/ 717719 w 900155"/>
                <a:gd name="connsiteY873" fmla="*/ 665501 h 807349"/>
                <a:gd name="connsiteX874" fmla="*/ 716091 w 900155"/>
                <a:gd name="connsiteY874" fmla="*/ 665807 h 807349"/>
                <a:gd name="connsiteX875" fmla="*/ 715121 w 900155"/>
                <a:gd name="connsiteY875" fmla="*/ 667184 h 807349"/>
                <a:gd name="connsiteX876" fmla="*/ 713845 w 900155"/>
                <a:gd name="connsiteY876" fmla="*/ 669559 h 807349"/>
                <a:gd name="connsiteX877" fmla="*/ 708723 w 900155"/>
                <a:gd name="connsiteY877" fmla="*/ 672574 h 807349"/>
                <a:gd name="connsiteX878" fmla="*/ 706240 w 900155"/>
                <a:gd name="connsiteY878" fmla="*/ 670916 h 807349"/>
                <a:gd name="connsiteX879" fmla="*/ 703376 w 900155"/>
                <a:gd name="connsiteY879" fmla="*/ 668447 h 807349"/>
                <a:gd name="connsiteX880" fmla="*/ 704758 w 900155"/>
                <a:gd name="connsiteY880" fmla="*/ 668628 h 807349"/>
                <a:gd name="connsiteX881" fmla="*/ 707658 w 900155"/>
                <a:gd name="connsiteY881" fmla="*/ 668542 h 807349"/>
                <a:gd name="connsiteX882" fmla="*/ 710062 w 900155"/>
                <a:gd name="connsiteY882" fmla="*/ 666341 h 807349"/>
                <a:gd name="connsiteX883" fmla="*/ 711098 w 900155"/>
                <a:gd name="connsiteY883" fmla="*/ 664967 h 807349"/>
                <a:gd name="connsiteX884" fmla="*/ 712269 w 900155"/>
                <a:gd name="connsiteY884" fmla="*/ 662051 h 807349"/>
                <a:gd name="connsiteX885" fmla="*/ 710714 w 900155"/>
                <a:gd name="connsiteY885" fmla="*/ 659990 h 807349"/>
                <a:gd name="connsiteX886" fmla="*/ 709282 w 900155"/>
                <a:gd name="connsiteY886" fmla="*/ 658486 h 807349"/>
                <a:gd name="connsiteX887" fmla="*/ 707214 w 900155"/>
                <a:gd name="connsiteY887" fmla="*/ 657142 h 807349"/>
                <a:gd name="connsiteX888" fmla="*/ 699412 w 900155"/>
                <a:gd name="connsiteY888" fmla="*/ 661688 h 807349"/>
                <a:gd name="connsiteX889" fmla="*/ 697794 w 900155"/>
                <a:gd name="connsiteY889" fmla="*/ 662339 h 807349"/>
                <a:gd name="connsiteX890" fmla="*/ 696250 w 900155"/>
                <a:gd name="connsiteY890" fmla="*/ 663221 h 807349"/>
                <a:gd name="connsiteX891" fmla="*/ 698954 w 900155"/>
                <a:gd name="connsiteY891" fmla="*/ 663978 h 807349"/>
                <a:gd name="connsiteX892" fmla="*/ 700539 w 900155"/>
                <a:gd name="connsiteY892" fmla="*/ 663753 h 807349"/>
                <a:gd name="connsiteX893" fmla="*/ 702214 w 900155"/>
                <a:gd name="connsiteY893" fmla="*/ 665097 h 807349"/>
                <a:gd name="connsiteX894" fmla="*/ 699526 w 900155"/>
                <a:gd name="connsiteY894" fmla="*/ 667001 h 807349"/>
                <a:gd name="connsiteX895" fmla="*/ 697408 w 900155"/>
                <a:gd name="connsiteY895" fmla="*/ 667506 h 807349"/>
                <a:gd name="connsiteX896" fmla="*/ 694773 w 900155"/>
                <a:gd name="connsiteY896" fmla="*/ 668650 h 807349"/>
                <a:gd name="connsiteX897" fmla="*/ 689751 w 900155"/>
                <a:gd name="connsiteY897" fmla="*/ 671584 h 807349"/>
                <a:gd name="connsiteX898" fmla="*/ 683342 w 900155"/>
                <a:gd name="connsiteY898" fmla="*/ 677677 h 807349"/>
                <a:gd name="connsiteX899" fmla="*/ 680578 w 900155"/>
                <a:gd name="connsiteY899" fmla="*/ 679433 h 807349"/>
                <a:gd name="connsiteX900" fmla="*/ 677310 w 900155"/>
                <a:gd name="connsiteY900" fmla="*/ 680827 h 807349"/>
                <a:gd name="connsiteX901" fmla="*/ 672877 w 900155"/>
                <a:gd name="connsiteY901" fmla="*/ 679198 h 807349"/>
                <a:gd name="connsiteX902" fmla="*/ 670401 w 900155"/>
                <a:gd name="connsiteY902" fmla="*/ 678820 h 807349"/>
                <a:gd name="connsiteX903" fmla="*/ 667220 w 900155"/>
                <a:gd name="connsiteY903" fmla="*/ 676312 h 807349"/>
                <a:gd name="connsiteX904" fmla="*/ 661860 w 900155"/>
                <a:gd name="connsiteY904" fmla="*/ 674637 h 807349"/>
                <a:gd name="connsiteX905" fmla="*/ 656816 w 900155"/>
                <a:gd name="connsiteY905" fmla="*/ 671310 h 807349"/>
                <a:gd name="connsiteX906" fmla="*/ 653361 w 900155"/>
                <a:gd name="connsiteY906" fmla="*/ 669630 h 807349"/>
                <a:gd name="connsiteX907" fmla="*/ 650899 w 900155"/>
                <a:gd name="connsiteY907" fmla="*/ 669265 h 807349"/>
                <a:gd name="connsiteX908" fmla="*/ 647431 w 900155"/>
                <a:gd name="connsiteY908" fmla="*/ 669966 h 807349"/>
                <a:gd name="connsiteX909" fmla="*/ 641616 w 900155"/>
                <a:gd name="connsiteY909" fmla="*/ 666994 h 807349"/>
                <a:gd name="connsiteX910" fmla="*/ 637200 w 900155"/>
                <a:gd name="connsiteY910" fmla="*/ 666675 h 807349"/>
                <a:gd name="connsiteX911" fmla="*/ 634302 w 900155"/>
                <a:gd name="connsiteY911" fmla="*/ 669667 h 807349"/>
                <a:gd name="connsiteX912" fmla="*/ 632043 w 900155"/>
                <a:gd name="connsiteY912" fmla="*/ 669461 h 807349"/>
                <a:gd name="connsiteX913" fmla="*/ 630549 w 900155"/>
                <a:gd name="connsiteY913" fmla="*/ 669042 h 807349"/>
                <a:gd name="connsiteX914" fmla="*/ 625897 w 900155"/>
                <a:gd name="connsiteY914" fmla="*/ 664121 h 807349"/>
                <a:gd name="connsiteX915" fmla="*/ 621411 w 900155"/>
                <a:gd name="connsiteY915" fmla="*/ 661683 h 807349"/>
                <a:gd name="connsiteX916" fmla="*/ 612926 w 900155"/>
                <a:gd name="connsiteY916" fmla="*/ 660438 h 807349"/>
                <a:gd name="connsiteX917" fmla="*/ 607690 w 900155"/>
                <a:gd name="connsiteY917" fmla="*/ 657062 h 807349"/>
                <a:gd name="connsiteX918" fmla="*/ 603747 w 900155"/>
                <a:gd name="connsiteY918" fmla="*/ 650550 h 807349"/>
                <a:gd name="connsiteX919" fmla="*/ 596288 w 900155"/>
                <a:gd name="connsiteY919" fmla="*/ 643142 h 807349"/>
                <a:gd name="connsiteX920" fmla="*/ 594286 w 900155"/>
                <a:gd name="connsiteY920" fmla="*/ 640433 h 807349"/>
                <a:gd name="connsiteX921" fmla="*/ 593357 w 900155"/>
                <a:gd name="connsiteY921" fmla="*/ 637782 h 807349"/>
                <a:gd name="connsiteX922" fmla="*/ 593274 w 900155"/>
                <a:gd name="connsiteY922" fmla="*/ 635692 h 807349"/>
                <a:gd name="connsiteX923" fmla="*/ 594278 w 900155"/>
                <a:gd name="connsiteY923" fmla="*/ 631701 h 807349"/>
                <a:gd name="connsiteX924" fmla="*/ 595664 w 900155"/>
                <a:gd name="connsiteY924" fmla="*/ 627775 h 807349"/>
                <a:gd name="connsiteX925" fmla="*/ 595901 w 900155"/>
                <a:gd name="connsiteY925" fmla="*/ 625595 h 807349"/>
                <a:gd name="connsiteX926" fmla="*/ 593064 w 900155"/>
                <a:gd name="connsiteY926" fmla="*/ 618230 h 807349"/>
                <a:gd name="connsiteX927" fmla="*/ 589078 w 900155"/>
                <a:gd name="connsiteY927" fmla="*/ 611285 h 807349"/>
                <a:gd name="connsiteX928" fmla="*/ 587246 w 900155"/>
                <a:gd name="connsiteY928" fmla="*/ 609106 h 807349"/>
                <a:gd name="connsiteX929" fmla="*/ 582360 w 900155"/>
                <a:gd name="connsiteY929" fmla="*/ 604491 h 807349"/>
                <a:gd name="connsiteX930" fmla="*/ 577778 w 900155"/>
                <a:gd name="connsiteY930" fmla="*/ 601013 h 807349"/>
                <a:gd name="connsiteX931" fmla="*/ 576614 w 900155"/>
                <a:gd name="connsiteY931" fmla="*/ 599209 h 807349"/>
                <a:gd name="connsiteX932" fmla="*/ 576258 w 900155"/>
                <a:gd name="connsiteY932" fmla="*/ 598283 h 807349"/>
                <a:gd name="connsiteX933" fmla="*/ 578423 w 900155"/>
                <a:gd name="connsiteY933" fmla="*/ 598728 h 807349"/>
                <a:gd name="connsiteX934" fmla="*/ 579432 w 900155"/>
                <a:gd name="connsiteY934" fmla="*/ 597315 h 807349"/>
                <a:gd name="connsiteX935" fmla="*/ 580881 w 900155"/>
                <a:gd name="connsiteY935" fmla="*/ 596832 h 807349"/>
                <a:gd name="connsiteX936" fmla="*/ 582043 w 900155"/>
                <a:gd name="connsiteY936" fmla="*/ 598708 h 807349"/>
                <a:gd name="connsiteX937" fmla="*/ 583345 w 900155"/>
                <a:gd name="connsiteY937" fmla="*/ 599052 h 807349"/>
                <a:gd name="connsiteX938" fmla="*/ 583403 w 900155"/>
                <a:gd name="connsiteY938" fmla="*/ 595899 h 807349"/>
                <a:gd name="connsiteX939" fmla="*/ 584133 w 900155"/>
                <a:gd name="connsiteY939" fmla="*/ 594409 h 807349"/>
                <a:gd name="connsiteX940" fmla="*/ 583634 w 900155"/>
                <a:gd name="connsiteY940" fmla="*/ 593725 h 807349"/>
                <a:gd name="connsiteX941" fmla="*/ 583191 w 900155"/>
                <a:gd name="connsiteY941" fmla="*/ 593121 h 807349"/>
                <a:gd name="connsiteX942" fmla="*/ 581207 w 900155"/>
                <a:gd name="connsiteY942" fmla="*/ 592415 h 807349"/>
                <a:gd name="connsiteX943" fmla="*/ 579017 w 900155"/>
                <a:gd name="connsiteY943" fmla="*/ 593477 h 807349"/>
                <a:gd name="connsiteX944" fmla="*/ 577335 w 900155"/>
                <a:gd name="connsiteY944" fmla="*/ 594826 h 807349"/>
                <a:gd name="connsiteX945" fmla="*/ 575070 w 900155"/>
                <a:gd name="connsiteY945" fmla="*/ 595972 h 807349"/>
                <a:gd name="connsiteX946" fmla="*/ 574187 w 900155"/>
                <a:gd name="connsiteY946" fmla="*/ 597178 h 807349"/>
                <a:gd name="connsiteX947" fmla="*/ 571880 w 900155"/>
                <a:gd name="connsiteY947" fmla="*/ 597217 h 807349"/>
                <a:gd name="connsiteX948" fmla="*/ 570967 w 900155"/>
                <a:gd name="connsiteY948" fmla="*/ 597529 h 807349"/>
                <a:gd name="connsiteX949" fmla="*/ 566372 w 900155"/>
                <a:gd name="connsiteY949" fmla="*/ 599833 h 807349"/>
                <a:gd name="connsiteX950" fmla="*/ 563439 w 900155"/>
                <a:gd name="connsiteY950" fmla="*/ 599892 h 807349"/>
                <a:gd name="connsiteX951" fmla="*/ 558909 w 900155"/>
                <a:gd name="connsiteY951" fmla="*/ 599086 h 807349"/>
                <a:gd name="connsiteX952" fmla="*/ 560408 w 900155"/>
                <a:gd name="connsiteY952" fmla="*/ 595914 h 807349"/>
                <a:gd name="connsiteX953" fmla="*/ 562193 w 900155"/>
                <a:gd name="connsiteY953" fmla="*/ 594034 h 807349"/>
                <a:gd name="connsiteX954" fmla="*/ 563673 w 900155"/>
                <a:gd name="connsiteY954" fmla="*/ 591876 h 807349"/>
                <a:gd name="connsiteX955" fmla="*/ 566134 w 900155"/>
                <a:gd name="connsiteY955" fmla="*/ 584319 h 807349"/>
                <a:gd name="connsiteX956" fmla="*/ 565666 w 900155"/>
                <a:gd name="connsiteY956" fmla="*/ 577791 h 807349"/>
                <a:gd name="connsiteX957" fmla="*/ 564478 w 900155"/>
                <a:gd name="connsiteY957" fmla="*/ 575109 h 807349"/>
                <a:gd name="connsiteX958" fmla="*/ 560677 w 900155"/>
                <a:gd name="connsiteY958" fmla="*/ 569720 h 807349"/>
                <a:gd name="connsiteX959" fmla="*/ 558950 w 900155"/>
                <a:gd name="connsiteY959" fmla="*/ 566402 h 807349"/>
                <a:gd name="connsiteX960" fmla="*/ 556806 w 900155"/>
                <a:gd name="connsiteY960" fmla="*/ 562980 h 807349"/>
                <a:gd name="connsiteX961" fmla="*/ 555746 w 900155"/>
                <a:gd name="connsiteY961" fmla="*/ 564971 h 807349"/>
                <a:gd name="connsiteX962" fmla="*/ 555104 w 900155"/>
                <a:gd name="connsiteY962" fmla="*/ 567071 h 807349"/>
                <a:gd name="connsiteX963" fmla="*/ 553047 w 900155"/>
                <a:gd name="connsiteY963" fmla="*/ 570112 h 807349"/>
                <a:gd name="connsiteX964" fmla="*/ 552048 w 900155"/>
                <a:gd name="connsiteY964" fmla="*/ 576888 h 807349"/>
                <a:gd name="connsiteX965" fmla="*/ 548015 w 900155"/>
                <a:gd name="connsiteY965" fmla="*/ 587289 h 807349"/>
                <a:gd name="connsiteX966" fmla="*/ 545245 w 900155"/>
                <a:gd name="connsiteY966" fmla="*/ 587417 h 807349"/>
                <a:gd name="connsiteX967" fmla="*/ 542882 w 900155"/>
                <a:gd name="connsiteY967" fmla="*/ 586998 h 807349"/>
                <a:gd name="connsiteX968" fmla="*/ 538743 w 900155"/>
                <a:gd name="connsiteY968" fmla="*/ 588186 h 807349"/>
                <a:gd name="connsiteX969" fmla="*/ 535914 w 900155"/>
                <a:gd name="connsiteY969" fmla="*/ 589633 h 807349"/>
                <a:gd name="connsiteX970" fmla="*/ 533380 w 900155"/>
                <a:gd name="connsiteY970" fmla="*/ 589636 h 807349"/>
                <a:gd name="connsiteX971" fmla="*/ 531981 w 900155"/>
                <a:gd name="connsiteY971" fmla="*/ 590096 h 807349"/>
                <a:gd name="connsiteX972" fmla="*/ 530146 w 900155"/>
                <a:gd name="connsiteY972" fmla="*/ 589717 h 807349"/>
                <a:gd name="connsiteX973" fmla="*/ 533036 w 900155"/>
                <a:gd name="connsiteY973" fmla="*/ 581600 h 807349"/>
                <a:gd name="connsiteX974" fmla="*/ 535560 w 900155"/>
                <a:gd name="connsiteY974" fmla="*/ 581822 h 807349"/>
                <a:gd name="connsiteX975" fmla="*/ 538293 w 900155"/>
                <a:gd name="connsiteY975" fmla="*/ 581492 h 807349"/>
                <a:gd name="connsiteX976" fmla="*/ 539540 w 900155"/>
                <a:gd name="connsiteY976" fmla="*/ 581629 h 807349"/>
                <a:gd name="connsiteX977" fmla="*/ 541366 w 900155"/>
                <a:gd name="connsiteY977" fmla="*/ 581536 h 807349"/>
                <a:gd name="connsiteX978" fmla="*/ 542766 w 900155"/>
                <a:gd name="connsiteY978" fmla="*/ 577813 h 807349"/>
                <a:gd name="connsiteX979" fmla="*/ 543621 w 900155"/>
                <a:gd name="connsiteY979" fmla="*/ 573649 h 807349"/>
                <a:gd name="connsiteX980" fmla="*/ 543081 w 900155"/>
                <a:gd name="connsiteY980" fmla="*/ 570965 h 807349"/>
                <a:gd name="connsiteX981" fmla="*/ 542869 w 900155"/>
                <a:gd name="connsiteY981" fmla="*/ 568188 h 807349"/>
                <a:gd name="connsiteX982" fmla="*/ 543413 w 900155"/>
                <a:gd name="connsiteY982" fmla="*/ 565030 h 807349"/>
                <a:gd name="connsiteX983" fmla="*/ 543640 w 900155"/>
                <a:gd name="connsiteY983" fmla="*/ 562764 h 807349"/>
                <a:gd name="connsiteX984" fmla="*/ 547101 w 900155"/>
                <a:gd name="connsiteY984" fmla="*/ 555254 h 807349"/>
                <a:gd name="connsiteX985" fmla="*/ 549986 w 900155"/>
                <a:gd name="connsiteY985" fmla="*/ 551383 h 807349"/>
                <a:gd name="connsiteX986" fmla="*/ 553325 w 900155"/>
                <a:gd name="connsiteY986" fmla="*/ 548307 h 807349"/>
                <a:gd name="connsiteX987" fmla="*/ 552930 w 900155"/>
                <a:gd name="connsiteY987" fmla="*/ 545389 h 807349"/>
                <a:gd name="connsiteX988" fmla="*/ 551869 w 900155"/>
                <a:gd name="connsiteY988" fmla="*/ 541744 h 807349"/>
                <a:gd name="connsiteX989" fmla="*/ 551567 w 900155"/>
                <a:gd name="connsiteY989" fmla="*/ 538942 h 807349"/>
                <a:gd name="connsiteX990" fmla="*/ 553159 w 900155"/>
                <a:gd name="connsiteY990" fmla="*/ 538061 h 807349"/>
                <a:gd name="connsiteX991" fmla="*/ 554668 w 900155"/>
                <a:gd name="connsiteY991" fmla="*/ 536309 h 807349"/>
                <a:gd name="connsiteX992" fmla="*/ 552913 w 900155"/>
                <a:gd name="connsiteY992" fmla="*/ 528326 h 807349"/>
                <a:gd name="connsiteX993" fmla="*/ 551805 w 900155"/>
                <a:gd name="connsiteY993" fmla="*/ 525936 h 807349"/>
                <a:gd name="connsiteX994" fmla="*/ 550038 w 900155"/>
                <a:gd name="connsiteY994" fmla="*/ 523582 h 807349"/>
                <a:gd name="connsiteX995" fmla="*/ 550008 w 900155"/>
                <a:gd name="connsiteY995" fmla="*/ 526632 h 807349"/>
                <a:gd name="connsiteX996" fmla="*/ 550209 w 900155"/>
                <a:gd name="connsiteY996" fmla="*/ 529621 h 807349"/>
                <a:gd name="connsiteX997" fmla="*/ 547760 w 900155"/>
                <a:gd name="connsiteY997" fmla="*/ 533439 h 807349"/>
                <a:gd name="connsiteX998" fmla="*/ 544577 w 900155"/>
                <a:gd name="connsiteY998" fmla="*/ 536183 h 807349"/>
                <a:gd name="connsiteX999" fmla="*/ 542500 w 900155"/>
                <a:gd name="connsiteY999" fmla="*/ 538763 h 807349"/>
                <a:gd name="connsiteX1000" fmla="*/ 540552 w 900155"/>
                <a:gd name="connsiteY1000" fmla="*/ 544617 h 807349"/>
                <a:gd name="connsiteX1001" fmla="*/ 537968 w 900155"/>
                <a:gd name="connsiteY1001" fmla="*/ 549556 h 807349"/>
                <a:gd name="connsiteX1002" fmla="*/ 535601 w 900155"/>
                <a:gd name="connsiteY1002" fmla="*/ 551380 h 807349"/>
                <a:gd name="connsiteX1003" fmla="*/ 533482 w 900155"/>
                <a:gd name="connsiteY1003" fmla="*/ 551789 h 807349"/>
                <a:gd name="connsiteX1004" fmla="*/ 531316 w 900155"/>
                <a:gd name="connsiteY1004" fmla="*/ 552550 h 807349"/>
                <a:gd name="connsiteX1005" fmla="*/ 527933 w 900155"/>
                <a:gd name="connsiteY1005" fmla="*/ 554524 h 807349"/>
                <a:gd name="connsiteX1006" fmla="*/ 524661 w 900155"/>
                <a:gd name="connsiteY1006" fmla="*/ 556185 h 807349"/>
                <a:gd name="connsiteX1007" fmla="*/ 522236 w 900155"/>
                <a:gd name="connsiteY1007" fmla="*/ 558362 h 807349"/>
                <a:gd name="connsiteX1008" fmla="*/ 520131 w 900155"/>
                <a:gd name="connsiteY1008" fmla="*/ 559501 h 807349"/>
                <a:gd name="connsiteX1009" fmla="*/ 513286 w 900155"/>
                <a:gd name="connsiteY1009" fmla="*/ 569430 h 807349"/>
                <a:gd name="connsiteX1010" fmla="*/ 510159 w 900155"/>
                <a:gd name="connsiteY1010" fmla="*/ 572754 h 807349"/>
                <a:gd name="connsiteX1011" fmla="*/ 509515 w 900155"/>
                <a:gd name="connsiteY1011" fmla="*/ 574097 h 807349"/>
                <a:gd name="connsiteX1012" fmla="*/ 508198 w 900155"/>
                <a:gd name="connsiteY1012" fmla="*/ 575226 h 807349"/>
                <a:gd name="connsiteX1013" fmla="*/ 508455 w 900155"/>
                <a:gd name="connsiteY1013" fmla="*/ 576798 h 807349"/>
                <a:gd name="connsiteX1014" fmla="*/ 509515 w 900155"/>
                <a:gd name="connsiteY1014" fmla="*/ 577872 h 807349"/>
                <a:gd name="connsiteX1015" fmla="*/ 510576 w 900155"/>
                <a:gd name="connsiteY1015" fmla="*/ 582298 h 807349"/>
                <a:gd name="connsiteX1016" fmla="*/ 509939 w 900155"/>
                <a:gd name="connsiteY1016" fmla="*/ 583252 h 807349"/>
                <a:gd name="connsiteX1017" fmla="*/ 508820 w 900155"/>
                <a:gd name="connsiteY1017" fmla="*/ 582753 h 807349"/>
                <a:gd name="connsiteX1018" fmla="*/ 506017 w 900155"/>
                <a:gd name="connsiteY1018" fmla="*/ 580285 h 807349"/>
                <a:gd name="connsiteX1019" fmla="*/ 504250 w 900155"/>
                <a:gd name="connsiteY1019" fmla="*/ 581184 h 807349"/>
                <a:gd name="connsiteX1020" fmla="*/ 502815 w 900155"/>
                <a:gd name="connsiteY1020" fmla="*/ 582196 h 807349"/>
                <a:gd name="connsiteX1021" fmla="*/ 499129 w 900155"/>
                <a:gd name="connsiteY1021" fmla="*/ 577657 h 807349"/>
                <a:gd name="connsiteX1022" fmla="*/ 497600 w 900155"/>
                <a:gd name="connsiteY1022" fmla="*/ 576590 h 807349"/>
                <a:gd name="connsiteX1023" fmla="*/ 495665 w 900155"/>
                <a:gd name="connsiteY1023" fmla="*/ 574770 h 807349"/>
                <a:gd name="connsiteX1024" fmla="*/ 493597 w 900155"/>
                <a:gd name="connsiteY1024" fmla="*/ 573200 h 807349"/>
                <a:gd name="connsiteX1025" fmla="*/ 492716 w 900155"/>
                <a:gd name="connsiteY1025" fmla="*/ 573022 h 807349"/>
                <a:gd name="connsiteX1026" fmla="*/ 491217 w 900155"/>
                <a:gd name="connsiteY1026" fmla="*/ 573349 h 807349"/>
                <a:gd name="connsiteX1027" fmla="*/ 491361 w 900155"/>
                <a:gd name="connsiteY1027" fmla="*/ 572120 h 807349"/>
                <a:gd name="connsiteX1028" fmla="*/ 492387 w 900155"/>
                <a:gd name="connsiteY1028" fmla="*/ 571123 h 807349"/>
                <a:gd name="connsiteX1029" fmla="*/ 493290 w 900155"/>
                <a:gd name="connsiteY1029" fmla="*/ 570892 h 807349"/>
                <a:gd name="connsiteX1030" fmla="*/ 494963 w 900155"/>
                <a:gd name="connsiteY1030" fmla="*/ 572346 h 807349"/>
                <a:gd name="connsiteX1031" fmla="*/ 496870 w 900155"/>
                <a:gd name="connsiteY1031" fmla="*/ 573646 h 807349"/>
                <a:gd name="connsiteX1032" fmla="*/ 497945 w 900155"/>
                <a:gd name="connsiteY1032" fmla="*/ 573753 h 807349"/>
                <a:gd name="connsiteX1033" fmla="*/ 498446 w 900155"/>
                <a:gd name="connsiteY1033" fmla="*/ 573232 h 807349"/>
                <a:gd name="connsiteX1034" fmla="*/ 496632 w 900155"/>
                <a:gd name="connsiteY1034" fmla="*/ 568106 h 807349"/>
                <a:gd name="connsiteX1035" fmla="*/ 495395 w 900155"/>
                <a:gd name="connsiteY1035" fmla="*/ 563619 h 807349"/>
                <a:gd name="connsiteX1036" fmla="*/ 494827 w 900155"/>
                <a:gd name="connsiteY1036" fmla="*/ 562295 h 807349"/>
                <a:gd name="connsiteX1037" fmla="*/ 493337 w 900155"/>
                <a:gd name="connsiteY1037" fmla="*/ 557755 h 807349"/>
                <a:gd name="connsiteX1038" fmla="*/ 492597 w 900155"/>
                <a:gd name="connsiteY1038" fmla="*/ 556438 h 807349"/>
                <a:gd name="connsiteX1039" fmla="*/ 489427 w 900155"/>
                <a:gd name="connsiteY1039" fmla="*/ 553234 h 807349"/>
                <a:gd name="connsiteX1040" fmla="*/ 486036 w 900155"/>
                <a:gd name="connsiteY1040" fmla="*/ 549479 h 807349"/>
                <a:gd name="connsiteX1041" fmla="*/ 485106 w 900155"/>
                <a:gd name="connsiteY1041" fmla="*/ 544975 h 807349"/>
                <a:gd name="connsiteX1042" fmla="*/ 483875 w 900155"/>
                <a:gd name="connsiteY1042" fmla="*/ 542096 h 807349"/>
                <a:gd name="connsiteX1043" fmla="*/ 482283 w 900155"/>
                <a:gd name="connsiteY1043" fmla="*/ 540287 h 807349"/>
                <a:gd name="connsiteX1044" fmla="*/ 479822 w 900155"/>
                <a:gd name="connsiteY1044" fmla="*/ 538679 h 807349"/>
                <a:gd name="connsiteX1045" fmla="*/ 473045 w 900155"/>
                <a:gd name="connsiteY1045" fmla="*/ 538059 h 807349"/>
                <a:gd name="connsiteX1046" fmla="*/ 470221 w 900155"/>
                <a:gd name="connsiteY1046" fmla="*/ 533466 h 807349"/>
                <a:gd name="connsiteX1047" fmla="*/ 468604 w 900155"/>
                <a:gd name="connsiteY1047" fmla="*/ 527782 h 807349"/>
                <a:gd name="connsiteX1048" fmla="*/ 469887 w 900155"/>
                <a:gd name="connsiteY1048" fmla="*/ 527406 h 807349"/>
                <a:gd name="connsiteX1049" fmla="*/ 471406 w 900155"/>
                <a:gd name="connsiteY1049" fmla="*/ 527337 h 807349"/>
                <a:gd name="connsiteX1050" fmla="*/ 471895 w 900155"/>
                <a:gd name="connsiteY1050" fmla="*/ 525566 h 807349"/>
                <a:gd name="connsiteX1051" fmla="*/ 471562 w 900155"/>
                <a:gd name="connsiteY1051" fmla="*/ 522854 h 807349"/>
                <a:gd name="connsiteX1052" fmla="*/ 464840 w 900155"/>
                <a:gd name="connsiteY1052" fmla="*/ 519489 h 807349"/>
                <a:gd name="connsiteX1053" fmla="*/ 461668 w 900155"/>
                <a:gd name="connsiteY1053" fmla="*/ 515977 h 807349"/>
                <a:gd name="connsiteX1054" fmla="*/ 458983 w 900155"/>
                <a:gd name="connsiteY1054" fmla="*/ 514464 h 807349"/>
                <a:gd name="connsiteX1055" fmla="*/ 456463 w 900155"/>
                <a:gd name="connsiteY1055" fmla="*/ 513867 h 807349"/>
                <a:gd name="connsiteX1056" fmla="*/ 453130 w 900155"/>
                <a:gd name="connsiteY1056" fmla="*/ 514004 h 807349"/>
                <a:gd name="connsiteX1057" fmla="*/ 448962 w 900155"/>
                <a:gd name="connsiteY1057" fmla="*/ 513889 h 807349"/>
                <a:gd name="connsiteX1058" fmla="*/ 438908 w 900155"/>
                <a:gd name="connsiteY1058" fmla="*/ 508307 h 807349"/>
                <a:gd name="connsiteX1059" fmla="*/ 436503 w 900155"/>
                <a:gd name="connsiteY1059" fmla="*/ 508137 h 807349"/>
                <a:gd name="connsiteX1060" fmla="*/ 429316 w 900155"/>
                <a:gd name="connsiteY1060" fmla="*/ 509870 h 807349"/>
                <a:gd name="connsiteX1061" fmla="*/ 426906 w 900155"/>
                <a:gd name="connsiteY1061" fmla="*/ 509554 h 807349"/>
                <a:gd name="connsiteX1062" fmla="*/ 415995 w 900155"/>
                <a:gd name="connsiteY1062" fmla="*/ 501941 h 807349"/>
                <a:gd name="connsiteX1063" fmla="*/ 408741 w 900155"/>
                <a:gd name="connsiteY1063" fmla="*/ 498327 h 807349"/>
                <a:gd name="connsiteX1064" fmla="*/ 406349 w 900155"/>
                <a:gd name="connsiteY1064" fmla="*/ 497654 h 807349"/>
                <a:gd name="connsiteX1065" fmla="*/ 403224 w 900155"/>
                <a:gd name="connsiteY1065" fmla="*/ 497035 h 807349"/>
                <a:gd name="connsiteX1066" fmla="*/ 400696 w 900155"/>
                <a:gd name="connsiteY1066" fmla="*/ 497918 h 807349"/>
                <a:gd name="connsiteX1067" fmla="*/ 398901 w 900155"/>
                <a:gd name="connsiteY1067" fmla="*/ 498749 h 807349"/>
                <a:gd name="connsiteX1068" fmla="*/ 395249 w 900155"/>
                <a:gd name="connsiteY1068" fmla="*/ 499683 h 807349"/>
                <a:gd name="connsiteX1069" fmla="*/ 380805 w 900155"/>
                <a:gd name="connsiteY1069" fmla="*/ 499074 h 807349"/>
                <a:gd name="connsiteX1070" fmla="*/ 368401 w 900155"/>
                <a:gd name="connsiteY1070" fmla="*/ 500252 h 807349"/>
                <a:gd name="connsiteX1071" fmla="*/ 359974 w 900155"/>
                <a:gd name="connsiteY1071" fmla="*/ 501051 h 807349"/>
                <a:gd name="connsiteX1072" fmla="*/ 354633 w 900155"/>
                <a:gd name="connsiteY1072" fmla="*/ 502096 h 807349"/>
                <a:gd name="connsiteX1073" fmla="*/ 345787 w 900155"/>
                <a:gd name="connsiteY1073" fmla="*/ 506627 h 807349"/>
                <a:gd name="connsiteX1074" fmla="*/ 335207 w 900155"/>
                <a:gd name="connsiteY1074" fmla="*/ 511011 h 807349"/>
                <a:gd name="connsiteX1075" fmla="*/ 326592 w 900155"/>
                <a:gd name="connsiteY1075" fmla="*/ 513090 h 807349"/>
                <a:gd name="connsiteX1076" fmla="*/ 318671 w 900155"/>
                <a:gd name="connsiteY1076" fmla="*/ 515860 h 807349"/>
                <a:gd name="connsiteX1077" fmla="*/ 313458 w 900155"/>
                <a:gd name="connsiteY1077" fmla="*/ 516666 h 807349"/>
                <a:gd name="connsiteX1078" fmla="*/ 306719 w 900155"/>
                <a:gd name="connsiteY1078" fmla="*/ 517011 h 807349"/>
                <a:gd name="connsiteX1079" fmla="*/ 292505 w 900155"/>
                <a:gd name="connsiteY1079" fmla="*/ 515682 h 807349"/>
                <a:gd name="connsiteX1080" fmla="*/ 287656 w 900155"/>
                <a:gd name="connsiteY1080" fmla="*/ 516668 h 807349"/>
                <a:gd name="connsiteX1081" fmla="*/ 279923 w 900155"/>
                <a:gd name="connsiteY1081" fmla="*/ 521804 h 807349"/>
                <a:gd name="connsiteX1082" fmla="*/ 277627 w 900155"/>
                <a:gd name="connsiteY1082" fmla="*/ 523051 h 807349"/>
                <a:gd name="connsiteX1083" fmla="*/ 273270 w 900155"/>
                <a:gd name="connsiteY1083" fmla="*/ 524477 h 807349"/>
                <a:gd name="connsiteX1084" fmla="*/ 262041 w 900155"/>
                <a:gd name="connsiteY1084" fmla="*/ 531088 h 807349"/>
                <a:gd name="connsiteX1085" fmla="*/ 256863 w 900155"/>
                <a:gd name="connsiteY1085" fmla="*/ 532504 h 807349"/>
                <a:gd name="connsiteX1086" fmla="*/ 253516 w 900155"/>
                <a:gd name="connsiteY1086" fmla="*/ 532955 h 807349"/>
                <a:gd name="connsiteX1087" fmla="*/ 250653 w 900155"/>
                <a:gd name="connsiteY1087" fmla="*/ 534358 h 807349"/>
                <a:gd name="connsiteX1088" fmla="*/ 248051 w 900155"/>
                <a:gd name="connsiteY1088" fmla="*/ 537178 h 807349"/>
                <a:gd name="connsiteX1089" fmla="*/ 244537 w 900155"/>
                <a:gd name="connsiteY1089" fmla="*/ 545017 h 807349"/>
                <a:gd name="connsiteX1090" fmla="*/ 242352 w 900155"/>
                <a:gd name="connsiteY1090" fmla="*/ 548735 h 807349"/>
                <a:gd name="connsiteX1091" fmla="*/ 237532 w 900155"/>
                <a:gd name="connsiteY1091" fmla="*/ 554689 h 807349"/>
                <a:gd name="connsiteX1092" fmla="*/ 234358 w 900155"/>
                <a:gd name="connsiteY1092" fmla="*/ 556673 h 807349"/>
                <a:gd name="connsiteX1093" fmla="*/ 231231 w 900155"/>
                <a:gd name="connsiteY1093" fmla="*/ 556404 h 807349"/>
                <a:gd name="connsiteX1094" fmla="*/ 227742 w 900155"/>
                <a:gd name="connsiteY1094" fmla="*/ 558464 h 807349"/>
                <a:gd name="connsiteX1095" fmla="*/ 224645 w 900155"/>
                <a:gd name="connsiteY1095" fmla="*/ 556285 h 807349"/>
                <a:gd name="connsiteX1096" fmla="*/ 222170 w 900155"/>
                <a:gd name="connsiteY1096" fmla="*/ 555868 h 807349"/>
                <a:gd name="connsiteX1097" fmla="*/ 218232 w 900155"/>
                <a:gd name="connsiteY1097" fmla="*/ 556042 h 807349"/>
                <a:gd name="connsiteX1098" fmla="*/ 204377 w 900155"/>
                <a:gd name="connsiteY1098" fmla="*/ 558551 h 807349"/>
                <a:gd name="connsiteX1099" fmla="*/ 202391 w 900155"/>
                <a:gd name="connsiteY1099" fmla="*/ 555634 h 807349"/>
                <a:gd name="connsiteX1100" fmla="*/ 199853 w 900155"/>
                <a:gd name="connsiteY1100" fmla="*/ 555195 h 807349"/>
                <a:gd name="connsiteX1101" fmla="*/ 195062 w 900155"/>
                <a:gd name="connsiteY1101" fmla="*/ 555338 h 807349"/>
                <a:gd name="connsiteX1102" fmla="*/ 187883 w 900155"/>
                <a:gd name="connsiteY1102" fmla="*/ 554451 h 807349"/>
                <a:gd name="connsiteX1103" fmla="*/ 174826 w 900155"/>
                <a:gd name="connsiteY1103" fmla="*/ 555557 h 807349"/>
                <a:gd name="connsiteX1104" fmla="*/ 168546 w 900155"/>
                <a:gd name="connsiteY1104" fmla="*/ 556760 h 807349"/>
                <a:gd name="connsiteX1105" fmla="*/ 166065 w 900155"/>
                <a:gd name="connsiteY1105" fmla="*/ 557838 h 807349"/>
                <a:gd name="connsiteX1106" fmla="*/ 161444 w 900155"/>
                <a:gd name="connsiteY1106" fmla="*/ 557151 h 807349"/>
                <a:gd name="connsiteX1107" fmla="*/ 153588 w 900155"/>
                <a:gd name="connsiteY1107" fmla="*/ 558127 h 807349"/>
                <a:gd name="connsiteX1108" fmla="*/ 150824 w 900155"/>
                <a:gd name="connsiteY1108" fmla="*/ 559787 h 807349"/>
                <a:gd name="connsiteX1109" fmla="*/ 148747 w 900155"/>
                <a:gd name="connsiteY1109" fmla="*/ 561271 h 807349"/>
                <a:gd name="connsiteX1110" fmla="*/ 144665 w 900155"/>
                <a:gd name="connsiteY1110" fmla="*/ 567923 h 807349"/>
                <a:gd name="connsiteX1111" fmla="*/ 140178 w 900155"/>
                <a:gd name="connsiteY1111" fmla="*/ 570122 h 807349"/>
                <a:gd name="connsiteX1112" fmla="*/ 136501 w 900155"/>
                <a:gd name="connsiteY1112" fmla="*/ 570195 h 807349"/>
                <a:gd name="connsiteX1113" fmla="*/ 132387 w 900155"/>
                <a:gd name="connsiteY1113" fmla="*/ 570707 h 807349"/>
                <a:gd name="connsiteX1114" fmla="*/ 124091 w 900155"/>
                <a:gd name="connsiteY1114" fmla="*/ 577130 h 807349"/>
                <a:gd name="connsiteX1115" fmla="*/ 115587 w 900155"/>
                <a:gd name="connsiteY1115" fmla="*/ 583372 h 807349"/>
                <a:gd name="connsiteX1116" fmla="*/ 112733 w 900155"/>
                <a:gd name="connsiteY1116" fmla="*/ 584040 h 807349"/>
                <a:gd name="connsiteX1117" fmla="*/ 109562 w 900155"/>
                <a:gd name="connsiteY1117" fmla="*/ 585084 h 807349"/>
                <a:gd name="connsiteX1118" fmla="*/ 105412 w 900155"/>
                <a:gd name="connsiteY1118" fmla="*/ 585584 h 807349"/>
                <a:gd name="connsiteX1119" fmla="*/ 103346 w 900155"/>
                <a:gd name="connsiteY1119" fmla="*/ 586156 h 807349"/>
                <a:gd name="connsiteX1120" fmla="*/ 93661 w 900155"/>
                <a:gd name="connsiteY1120" fmla="*/ 584551 h 807349"/>
                <a:gd name="connsiteX1121" fmla="*/ 87502 w 900155"/>
                <a:gd name="connsiteY1121" fmla="*/ 584372 h 807349"/>
                <a:gd name="connsiteX1122" fmla="*/ 79802 w 900155"/>
                <a:gd name="connsiteY1122" fmla="*/ 583404 h 807349"/>
                <a:gd name="connsiteX1123" fmla="*/ 73166 w 900155"/>
                <a:gd name="connsiteY1123" fmla="*/ 580349 h 807349"/>
                <a:gd name="connsiteX1124" fmla="*/ 68072 w 900155"/>
                <a:gd name="connsiteY1124" fmla="*/ 578578 h 807349"/>
                <a:gd name="connsiteX1125" fmla="*/ 62313 w 900155"/>
                <a:gd name="connsiteY1125" fmla="*/ 571859 h 807349"/>
                <a:gd name="connsiteX1126" fmla="*/ 58748 w 900155"/>
                <a:gd name="connsiteY1126" fmla="*/ 569357 h 807349"/>
                <a:gd name="connsiteX1127" fmla="*/ 52393 w 900155"/>
                <a:gd name="connsiteY1127" fmla="*/ 566319 h 807349"/>
                <a:gd name="connsiteX1128" fmla="*/ 50562 w 900155"/>
                <a:gd name="connsiteY1128" fmla="*/ 566434 h 807349"/>
                <a:gd name="connsiteX1129" fmla="*/ 49083 w 900155"/>
                <a:gd name="connsiteY1129" fmla="*/ 567263 h 807349"/>
                <a:gd name="connsiteX1130" fmla="*/ 46448 w 900155"/>
                <a:gd name="connsiteY1130" fmla="*/ 565122 h 807349"/>
                <a:gd name="connsiteX1131" fmla="*/ 46379 w 900155"/>
                <a:gd name="connsiteY1131" fmla="*/ 562365 h 807349"/>
                <a:gd name="connsiteX1132" fmla="*/ 45666 w 900155"/>
                <a:gd name="connsiteY1132" fmla="*/ 560028 h 807349"/>
                <a:gd name="connsiteX1133" fmla="*/ 45716 w 900155"/>
                <a:gd name="connsiteY1133" fmla="*/ 553891 h 807349"/>
                <a:gd name="connsiteX1134" fmla="*/ 46118 w 900155"/>
                <a:gd name="connsiteY1134" fmla="*/ 546727 h 807349"/>
                <a:gd name="connsiteX1135" fmla="*/ 48441 w 900155"/>
                <a:gd name="connsiteY1135" fmla="*/ 548336 h 807349"/>
                <a:gd name="connsiteX1136" fmla="*/ 50270 w 900155"/>
                <a:gd name="connsiteY1136" fmla="*/ 549902 h 807349"/>
                <a:gd name="connsiteX1137" fmla="*/ 54187 w 900155"/>
                <a:gd name="connsiteY1137" fmla="*/ 549815 h 807349"/>
                <a:gd name="connsiteX1138" fmla="*/ 57649 w 900155"/>
                <a:gd name="connsiteY1138" fmla="*/ 547123 h 807349"/>
                <a:gd name="connsiteX1139" fmla="*/ 59620 w 900155"/>
                <a:gd name="connsiteY1139" fmla="*/ 543184 h 807349"/>
                <a:gd name="connsiteX1140" fmla="*/ 61357 w 900155"/>
                <a:gd name="connsiteY1140" fmla="*/ 538746 h 807349"/>
                <a:gd name="connsiteX1141" fmla="*/ 61088 w 900155"/>
                <a:gd name="connsiteY1141" fmla="*/ 534035 h 807349"/>
                <a:gd name="connsiteX1142" fmla="*/ 59931 w 900155"/>
                <a:gd name="connsiteY1142" fmla="*/ 525771 h 807349"/>
                <a:gd name="connsiteX1143" fmla="*/ 60722 w 900155"/>
                <a:gd name="connsiteY1143" fmla="*/ 524037 h 807349"/>
                <a:gd name="connsiteX1144" fmla="*/ 61907 w 900155"/>
                <a:gd name="connsiteY1144" fmla="*/ 523332 h 807349"/>
                <a:gd name="connsiteX1145" fmla="*/ 62294 w 900155"/>
                <a:gd name="connsiteY1145" fmla="*/ 519227 h 807349"/>
                <a:gd name="connsiteX1146" fmla="*/ 62574 w 900155"/>
                <a:gd name="connsiteY1146" fmla="*/ 506632 h 807349"/>
                <a:gd name="connsiteX1147" fmla="*/ 61698 w 900155"/>
                <a:gd name="connsiteY1147" fmla="*/ 501898 h 807349"/>
                <a:gd name="connsiteX1148" fmla="*/ 56306 w 900155"/>
                <a:gd name="connsiteY1148" fmla="*/ 492318 h 807349"/>
                <a:gd name="connsiteX1149" fmla="*/ 52762 w 900155"/>
                <a:gd name="connsiteY1149" fmla="*/ 484011 h 807349"/>
                <a:gd name="connsiteX1150" fmla="*/ 50164 w 900155"/>
                <a:gd name="connsiteY1150" fmla="*/ 480267 h 807349"/>
                <a:gd name="connsiteX1151" fmla="*/ 47977 w 900155"/>
                <a:gd name="connsiteY1151" fmla="*/ 474250 h 807349"/>
                <a:gd name="connsiteX1152" fmla="*/ 46133 w 900155"/>
                <a:gd name="connsiteY1152" fmla="*/ 465897 h 807349"/>
                <a:gd name="connsiteX1153" fmla="*/ 45565 w 900155"/>
                <a:gd name="connsiteY1153" fmla="*/ 461684 h 807349"/>
                <a:gd name="connsiteX1154" fmla="*/ 44973 w 900155"/>
                <a:gd name="connsiteY1154" fmla="*/ 453927 h 807349"/>
                <a:gd name="connsiteX1155" fmla="*/ 45621 w 900155"/>
                <a:gd name="connsiteY1155" fmla="*/ 449536 h 807349"/>
                <a:gd name="connsiteX1156" fmla="*/ 45347 w 900155"/>
                <a:gd name="connsiteY1156" fmla="*/ 446975 h 807349"/>
                <a:gd name="connsiteX1157" fmla="*/ 43088 w 900155"/>
                <a:gd name="connsiteY1157" fmla="*/ 439971 h 807349"/>
                <a:gd name="connsiteX1158" fmla="*/ 38037 w 900155"/>
                <a:gd name="connsiteY1158" fmla="*/ 433446 h 807349"/>
                <a:gd name="connsiteX1159" fmla="*/ 37201 w 900155"/>
                <a:gd name="connsiteY1159" fmla="*/ 431041 h 807349"/>
                <a:gd name="connsiteX1160" fmla="*/ 37227 w 900155"/>
                <a:gd name="connsiteY1160" fmla="*/ 428507 h 807349"/>
                <a:gd name="connsiteX1161" fmla="*/ 36025 w 900155"/>
                <a:gd name="connsiteY1161" fmla="*/ 425547 h 807349"/>
                <a:gd name="connsiteX1162" fmla="*/ 31958 w 900155"/>
                <a:gd name="connsiteY1162" fmla="*/ 419603 h 807349"/>
                <a:gd name="connsiteX1163" fmla="*/ 27793 w 900155"/>
                <a:gd name="connsiteY1163" fmla="*/ 414473 h 807349"/>
                <a:gd name="connsiteX1164" fmla="*/ 27094 w 900155"/>
                <a:gd name="connsiteY1164" fmla="*/ 411980 h 807349"/>
                <a:gd name="connsiteX1165" fmla="*/ 26318 w 900155"/>
                <a:gd name="connsiteY1165" fmla="*/ 401657 h 807349"/>
                <a:gd name="connsiteX1166" fmla="*/ 24763 w 900155"/>
                <a:gd name="connsiteY1166" fmla="*/ 396961 h 807349"/>
                <a:gd name="connsiteX1167" fmla="*/ 17715 w 900155"/>
                <a:gd name="connsiteY1167" fmla="*/ 385075 h 807349"/>
                <a:gd name="connsiteX1168" fmla="*/ 9393 w 900155"/>
                <a:gd name="connsiteY1168" fmla="*/ 374860 h 807349"/>
                <a:gd name="connsiteX1169" fmla="*/ 7138 w 900155"/>
                <a:gd name="connsiteY1169" fmla="*/ 370690 h 807349"/>
                <a:gd name="connsiteX1170" fmla="*/ 6115 w 900155"/>
                <a:gd name="connsiteY1170" fmla="*/ 369289 h 807349"/>
                <a:gd name="connsiteX1171" fmla="*/ 6689 w 900155"/>
                <a:gd name="connsiteY1171" fmla="*/ 369099 h 807349"/>
                <a:gd name="connsiteX1172" fmla="*/ 7627 w 900155"/>
                <a:gd name="connsiteY1172" fmla="*/ 369645 h 807349"/>
                <a:gd name="connsiteX1173" fmla="*/ 8665 w 900155"/>
                <a:gd name="connsiteY1173" fmla="*/ 370663 h 807349"/>
                <a:gd name="connsiteX1174" fmla="*/ 9177 w 900155"/>
                <a:gd name="connsiteY1174" fmla="*/ 370749 h 807349"/>
                <a:gd name="connsiteX1175" fmla="*/ 9665 w 900155"/>
                <a:gd name="connsiteY1175" fmla="*/ 369907 h 807349"/>
                <a:gd name="connsiteX1176" fmla="*/ 9611 w 900155"/>
                <a:gd name="connsiteY1176" fmla="*/ 367960 h 807349"/>
                <a:gd name="connsiteX1177" fmla="*/ 9902 w 900155"/>
                <a:gd name="connsiteY1177" fmla="*/ 366881 h 807349"/>
                <a:gd name="connsiteX1178" fmla="*/ 10630 w 900155"/>
                <a:gd name="connsiteY1178" fmla="*/ 367474 h 807349"/>
                <a:gd name="connsiteX1179" fmla="*/ 11481 w 900155"/>
                <a:gd name="connsiteY1179" fmla="*/ 369664 h 807349"/>
                <a:gd name="connsiteX1180" fmla="*/ 14116 w 900155"/>
                <a:gd name="connsiteY1180" fmla="*/ 375319 h 807349"/>
                <a:gd name="connsiteX1181" fmla="*/ 14890 w 900155"/>
                <a:gd name="connsiteY1181" fmla="*/ 378198 h 807349"/>
                <a:gd name="connsiteX1182" fmla="*/ 18253 w 900155"/>
                <a:gd name="connsiteY1182" fmla="*/ 379076 h 807349"/>
                <a:gd name="connsiteX1183" fmla="*/ 19286 w 900155"/>
                <a:gd name="connsiteY1183" fmla="*/ 378321 h 807349"/>
                <a:gd name="connsiteX1184" fmla="*/ 20525 w 900155"/>
                <a:gd name="connsiteY1184" fmla="*/ 376833 h 807349"/>
                <a:gd name="connsiteX1185" fmla="*/ 20887 w 900155"/>
                <a:gd name="connsiteY1185" fmla="*/ 372840 h 807349"/>
                <a:gd name="connsiteX1186" fmla="*/ 19184 w 900155"/>
                <a:gd name="connsiteY1186" fmla="*/ 371035 h 807349"/>
                <a:gd name="connsiteX1187" fmla="*/ 17651 w 900155"/>
                <a:gd name="connsiteY1187" fmla="*/ 370270 h 807349"/>
                <a:gd name="connsiteX1188" fmla="*/ 15055 w 900155"/>
                <a:gd name="connsiteY1188" fmla="*/ 367310 h 807349"/>
                <a:gd name="connsiteX1189" fmla="*/ 13381 w 900155"/>
                <a:gd name="connsiteY1189" fmla="*/ 362573 h 807349"/>
                <a:gd name="connsiteX1190" fmla="*/ 10771 w 900155"/>
                <a:gd name="connsiteY1190" fmla="*/ 358200 h 807349"/>
                <a:gd name="connsiteX1191" fmla="*/ 10816 w 900155"/>
                <a:gd name="connsiteY1191" fmla="*/ 356639 h 807349"/>
                <a:gd name="connsiteX1192" fmla="*/ 12010 w 900155"/>
                <a:gd name="connsiteY1192" fmla="*/ 355505 h 807349"/>
                <a:gd name="connsiteX1193" fmla="*/ 13958 w 900155"/>
                <a:gd name="connsiteY1193" fmla="*/ 356120 h 807349"/>
                <a:gd name="connsiteX1194" fmla="*/ 15766 w 900155"/>
                <a:gd name="connsiteY1194" fmla="*/ 358633 h 807349"/>
                <a:gd name="connsiteX1195" fmla="*/ 17797 w 900155"/>
                <a:gd name="connsiteY1195" fmla="*/ 360976 h 807349"/>
                <a:gd name="connsiteX1196" fmla="*/ 17461 w 900155"/>
                <a:gd name="connsiteY1196" fmla="*/ 365076 h 807349"/>
                <a:gd name="connsiteX1197" fmla="*/ 17145 w 900155"/>
                <a:gd name="connsiteY1197" fmla="*/ 366199 h 807349"/>
                <a:gd name="connsiteX1198" fmla="*/ 17324 w 900155"/>
                <a:gd name="connsiteY1198" fmla="*/ 367146 h 807349"/>
                <a:gd name="connsiteX1199" fmla="*/ 18033 w 900155"/>
                <a:gd name="connsiteY1199" fmla="*/ 368048 h 807349"/>
                <a:gd name="connsiteX1200" fmla="*/ 18964 w 900155"/>
                <a:gd name="connsiteY1200" fmla="*/ 368757 h 807349"/>
                <a:gd name="connsiteX1201" fmla="*/ 19980 w 900155"/>
                <a:gd name="connsiteY1201" fmla="*/ 367717 h 807349"/>
                <a:gd name="connsiteX1202" fmla="*/ 20911 w 900155"/>
                <a:gd name="connsiteY1202" fmla="*/ 365319 h 807349"/>
                <a:gd name="connsiteX1203" fmla="*/ 21485 w 900155"/>
                <a:gd name="connsiteY1203" fmla="*/ 365631 h 807349"/>
                <a:gd name="connsiteX1204" fmla="*/ 22867 w 900155"/>
                <a:gd name="connsiteY1204" fmla="*/ 371100 h 807349"/>
                <a:gd name="connsiteX1205" fmla="*/ 23964 w 900155"/>
                <a:gd name="connsiteY1205" fmla="*/ 372588 h 807349"/>
                <a:gd name="connsiteX1206" fmla="*/ 26139 w 900155"/>
                <a:gd name="connsiteY1206" fmla="*/ 374298 h 807349"/>
                <a:gd name="connsiteX1207" fmla="*/ 28033 w 900155"/>
                <a:gd name="connsiteY1207" fmla="*/ 372967 h 807349"/>
                <a:gd name="connsiteX1208" fmla="*/ 28911 w 900155"/>
                <a:gd name="connsiteY1208" fmla="*/ 371829 h 807349"/>
                <a:gd name="connsiteX1209" fmla="*/ 28638 w 900155"/>
                <a:gd name="connsiteY1209" fmla="*/ 367967 h 807349"/>
                <a:gd name="connsiteX1210" fmla="*/ 29194 w 900155"/>
                <a:gd name="connsiteY1210" fmla="*/ 364238 h 807349"/>
                <a:gd name="connsiteX1211" fmla="*/ 28880 w 900155"/>
                <a:gd name="connsiteY1211" fmla="*/ 361467 h 807349"/>
                <a:gd name="connsiteX1212" fmla="*/ 23982 w 900155"/>
                <a:gd name="connsiteY1212" fmla="*/ 354223 h 807349"/>
                <a:gd name="connsiteX1213" fmla="*/ 19551 w 900155"/>
                <a:gd name="connsiteY1213" fmla="*/ 345286 h 807349"/>
                <a:gd name="connsiteX1214" fmla="*/ 16862 w 900155"/>
                <a:gd name="connsiteY1214" fmla="*/ 340845 h 807349"/>
                <a:gd name="connsiteX1215" fmla="*/ 14617 w 900155"/>
                <a:gd name="connsiteY1215" fmla="*/ 334166 h 807349"/>
                <a:gd name="connsiteX1216" fmla="*/ 13163 w 900155"/>
                <a:gd name="connsiteY1216" fmla="*/ 331856 h 807349"/>
                <a:gd name="connsiteX1217" fmla="*/ 11265 w 900155"/>
                <a:gd name="connsiteY1217" fmla="*/ 328124 h 807349"/>
                <a:gd name="connsiteX1218" fmla="*/ 11161 w 900155"/>
                <a:gd name="connsiteY1218" fmla="*/ 323863 h 807349"/>
                <a:gd name="connsiteX1219" fmla="*/ 11345 w 900155"/>
                <a:gd name="connsiteY1219" fmla="*/ 321012 h 807349"/>
                <a:gd name="connsiteX1220" fmla="*/ 12861 w 900155"/>
                <a:gd name="connsiteY1220" fmla="*/ 314861 h 807349"/>
                <a:gd name="connsiteX1221" fmla="*/ 14256 w 900155"/>
                <a:gd name="connsiteY1221" fmla="*/ 311660 h 807349"/>
                <a:gd name="connsiteX1222" fmla="*/ 18769 w 900155"/>
                <a:gd name="connsiteY1222" fmla="*/ 304308 h 807349"/>
                <a:gd name="connsiteX1223" fmla="*/ 18989 w 900155"/>
                <a:gd name="connsiteY1223" fmla="*/ 301142 h 807349"/>
                <a:gd name="connsiteX1224" fmla="*/ 18942 w 900155"/>
                <a:gd name="connsiteY1224" fmla="*/ 298761 h 807349"/>
                <a:gd name="connsiteX1225" fmla="*/ 19607 w 900155"/>
                <a:gd name="connsiteY1225" fmla="*/ 295105 h 807349"/>
                <a:gd name="connsiteX1226" fmla="*/ 19611 w 900155"/>
                <a:gd name="connsiteY1226" fmla="*/ 292563 h 807349"/>
                <a:gd name="connsiteX1227" fmla="*/ 19009 w 900155"/>
                <a:gd name="connsiteY1227" fmla="*/ 290195 h 807349"/>
                <a:gd name="connsiteX1228" fmla="*/ 17128 w 900155"/>
                <a:gd name="connsiteY1228" fmla="*/ 286120 h 807349"/>
                <a:gd name="connsiteX1229" fmla="*/ 19609 w 900155"/>
                <a:gd name="connsiteY1229" fmla="*/ 279014 h 807349"/>
                <a:gd name="connsiteX1230" fmla="*/ 23222 w 900155"/>
                <a:gd name="connsiteY1230" fmla="*/ 269892 h 807349"/>
                <a:gd name="connsiteX1231" fmla="*/ 24647 w 900155"/>
                <a:gd name="connsiteY1231" fmla="*/ 268554 h 807349"/>
                <a:gd name="connsiteX1232" fmla="*/ 26882 w 900155"/>
                <a:gd name="connsiteY1232" fmla="*/ 267329 h 807349"/>
                <a:gd name="connsiteX1233" fmla="*/ 27294 w 900155"/>
                <a:gd name="connsiteY1233" fmla="*/ 269211 h 807349"/>
                <a:gd name="connsiteX1234" fmla="*/ 26193 w 900155"/>
                <a:gd name="connsiteY1234" fmla="*/ 275512 h 807349"/>
                <a:gd name="connsiteX1235" fmla="*/ 27765 w 900155"/>
                <a:gd name="connsiteY1235" fmla="*/ 278810 h 807349"/>
                <a:gd name="connsiteX1236" fmla="*/ 27273 w 900155"/>
                <a:gd name="connsiteY1236" fmla="*/ 282523 h 807349"/>
                <a:gd name="connsiteX1237" fmla="*/ 28679 w 900155"/>
                <a:gd name="connsiteY1237" fmla="*/ 281889 h 807349"/>
                <a:gd name="connsiteX1238" fmla="*/ 30853 w 900155"/>
                <a:gd name="connsiteY1238" fmla="*/ 281181 h 807349"/>
                <a:gd name="connsiteX1239" fmla="*/ 32494 w 900155"/>
                <a:gd name="connsiteY1239" fmla="*/ 279232 h 807349"/>
                <a:gd name="connsiteX1240" fmla="*/ 33362 w 900155"/>
                <a:gd name="connsiteY1240" fmla="*/ 277363 h 807349"/>
                <a:gd name="connsiteX1241" fmla="*/ 37471 w 900155"/>
                <a:gd name="connsiteY1241" fmla="*/ 269962 h 807349"/>
                <a:gd name="connsiteX1242" fmla="*/ 39825 w 900155"/>
                <a:gd name="connsiteY1242" fmla="*/ 267209 h 807349"/>
                <a:gd name="connsiteX1243" fmla="*/ 43138 w 900155"/>
                <a:gd name="connsiteY1243" fmla="*/ 265181 h 807349"/>
                <a:gd name="connsiteX1244" fmla="*/ 49829 w 900155"/>
                <a:gd name="connsiteY1244" fmla="*/ 262740 h 807349"/>
                <a:gd name="connsiteX1245" fmla="*/ 56340 w 900155"/>
                <a:gd name="connsiteY1245" fmla="*/ 259525 h 807349"/>
                <a:gd name="connsiteX1246" fmla="*/ 59434 w 900155"/>
                <a:gd name="connsiteY1246" fmla="*/ 256434 h 807349"/>
                <a:gd name="connsiteX1247" fmla="*/ 63313 w 900155"/>
                <a:gd name="connsiteY1247" fmla="*/ 253755 h 807349"/>
                <a:gd name="connsiteX1248" fmla="*/ 66012 w 900155"/>
                <a:gd name="connsiteY1248" fmla="*/ 250852 h 807349"/>
                <a:gd name="connsiteX1249" fmla="*/ 68608 w 900155"/>
                <a:gd name="connsiteY1249" fmla="*/ 248858 h 807349"/>
                <a:gd name="connsiteX1250" fmla="*/ 81763 w 900155"/>
                <a:gd name="connsiteY1250" fmla="*/ 241540 h 807349"/>
                <a:gd name="connsiteX1251" fmla="*/ 83993 w 900155"/>
                <a:gd name="connsiteY1251" fmla="*/ 240165 h 807349"/>
                <a:gd name="connsiteX1252" fmla="*/ 86859 w 900155"/>
                <a:gd name="connsiteY1252" fmla="*/ 240010 h 807349"/>
                <a:gd name="connsiteX1253" fmla="*/ 90374 w 900155"/>
                <a:gd name="connsiteY1253" fmla="*/ 240253 h 807349"/>
                <a:gd name="connsiteX1254" fmla="*/ 93553 w 900155"/>
                <a:gd name="connsiteY1254" fmla="*/ 239868 h 807349"/>
                <a:gd name="connsiteX1255" fmla="*/ 96952 w 900155"/>
                <a:gd name="connsiteY1255" fmla="*/ 241533 h 807349"/>
                <a:gd name="connsiteX1256" fmla="*/ 99461 w 900155"/>
                <a:gd name="connsiteY1256" fmla="*/ 241720 h 807349"/>
                <a:gd name="connsiteX1257" fmla="*/ 105600 w 900155"/>
                <a:gd name="connsiteY1257" fmla="*/ 239911 h 807349"/>
                <a:gd name="connsiteX1258" fmla="*/ 108882 w 900155"/>
                <a:gd name="connsiteY1258" fmla="*/ 238292 h 807349"/>
                <a:gd name="connsiteX1259" fmla="*/ 114521 w 900155"/>
                <a:gd name="connsiteY1259" fmla="*/ 234753 h 807349"/>
                <a:gd name="connsiteX1260" fmla="*/ 116995 w 900155"/>
                <a:gd name="connsiteY1260" fmla="*/ 233743 h 807349"/>
                <a:gd name="connsiteX1261" fmla="*/ 122724 w 900155"/>
                <a:gd name="connsiteY1261" fmla="*/ 232625 h 807349"/>
                <a:gd name="connsiteX1262" fmla="*/ 129207 w 900155"/>
                <a:gd name="connsiteY1262" fmla="*/ 231134 h 807349"/>
                <a:gd name="connsiteX1263" fmla="*/ 137012 w 900155"/>
                <a:gd name="connsiteY1263" fmla="*/ 224998 h 807349"/>
                <a:gd name="connsiteX1264" fmla="*/ 142635 w 900155"/>
                <a:gd name="connsiteY1264" fmla="*/ 225389 h 807349"/>
                <a:gd name="connsiteX1265" fmla="*/ 147658 w 900155"/>
                <a:gd name="connsiteY1265" fmla="*/ 225986 h 807349"/>
                <a:gd name="connsiteX1266" fmla="*/ 151679 w 900155"/>
                <a:gd name="connsiteY1266" fmla="*/ 224149 h 807349"/>
                <a:gd name="connsiteX1267" fmla="*/ 161154 w 900155"/>
                <a:gd name="connsiteY1267" fmla="*/ 223024 h 807349"/>
                <a:gd name="connsiteX1268" fmla="*/ 166404 w 900155"/>
                <a:gd name="connsiteY1268" fmla="*/ 221472 h 807349"/>
                <a:gd name="connsiteX1269" fmla="*/ 176238 w 900155"/>
                <a:gd name="connsiteY1269" fmla="*/ 217406 h 807349"/>
                <a:gd name="connsiteX1270" fmla="*/ 178881 w 900155"/>
                <a:gd name="connsiteY1270" fmla="*/ 216013 h 807349"/>
                <a:gd name="connsiteX1271" fmla="*/ 182902 w 900155"/>
                <a:gd name="connsiteY1271" fmla="*/ 213109 h 807349"/>
                <a:gd name="connsiteX1272" fmla="*/ 186394 w 900155"/>
                <a:gd name="connsiteY1272" fmla="*/ 209483 h 807349"/>
                <a:gd name="connsiteX1273" fmla="*/ 189839 w 900155"/>
                <a:gd name="connsiteY1273" fmla="*/ 204587 h 807349"/>
                <a:gd name="connsiteX1274" fmla="*/ 191960 w 900155"/>
                <a:gd name="connsiteY1274" fmla="*/ 200204 h 807349"/>
                <a:gd name="connsiteX1275" fmla="*/ 192872 w 900155"/>
                <a:gd name="connsiteY1275" fmla="*/ 197947 h 807349"/>
                <a:gd name="connsiteX1276" fmla="*/ 194891 w 900155"/>
                <a:gd name="connsiteY1276" fmla="*/ 194361 h 807349"/>
                <a:gd name="connsiteX1277" fmla="*/ 196282 w 900155"/>
                <a:gd name="connsiteY1277" fmla="*/ 191524 h 807349"/>
                <a:gd name="connsiteX1278" fmla="*/ 197363 w 900155"/>
                <a:gd name="connsiteY1278" fmla="*/ 190177 h 807349"/>
                <a:gd name="connsiteX1279" fmla="*/ 201177 w 900155"/>
                <a:gd name="connsiteY1279" fmla="*/ 188270 h 807349"/>
                <a:gd name="connsiteX1280" fmla="*/ 206835 w 900155"/>
                <a:gd name="connsiteY1280" fmla="*/ 182910 h 807349"/>
                <a:gd name="connsiteX1281" fmla="*/ 208676 w 900155"/>
                <a:gd name="connsiteY1281" fmla="*/ 181832 h 807349"/>
                <a:gd name="connsiteX1282" fmla="*/ 209020 w 900155"/>
                <a:gd name="connsiteY1282" fmla="*/ 180120 h 807349"/>
                <a:gd name="connsiteX1283" fmla="*/ 207800 w 900155"/>
                <a:gd name="connsiteY1283" fmla="*/ 179161 h 807349"/>
                <a:gd name="connsiteX1284" fmla="*/ 206288 w 900155"/>
                <a:gd name="connsiteY1284" fmla="*/ 178559 h 807349"/>
                <a:gd name="connsiteX1285" fmla="*/ 205269 w 900155"/>
                <a:gd name="connsiteY1285" fmla="*/ 172895 h 807349"/>
                <a:gd name="connsiteX1286" fmla="*/ 204299 w 900155"/>
                <a:gd name="connsiteY1286" fmla="*/ 168990 h 807349"/>
                <a:gd name="connsiteX1287" fmla="*/ 204204 w 900155"/>
                <a:gd name="connsiteY1287" fmla="*/ 166241 h 807349"/>
                <a:gd name="connsiteX1288" fmla="*/ 204582 w 900155"/>
                <a:gd name="connsiteY1288" fmla="*/ 163628 h 807349"/>
                <a:gd name="connsiteX1289" fmla="*/ 206808 w 900155"/>
                <a:gd name="connsiteY1289" fmla="*/ 159577 h 807349"/>
                <a:gd name="connsiteX1290" fmla="*/ 208396 w 900155"/>
                <a:gd name="connsiteY1290" fmla="*/ 157838 h 807349"/>
                <a:gd name="connsiteX1291" fmla="*/ 210592 w 900155"/>
                <a:gd name="connsiteY1291" fmla="*/ 155814 h 807349"/>
                <a:gd name="connsiteX1292" fmla="*/ 212593 w 900155"/>
                <a:gd name="connsiteY1292" fmla="*/ 155188 h 807349"/>
                <a:gd name="connsiteX1293" fmla="*/ 214260 w 900155"/>
                <a:gd name="connsiteY1293" fmla="*/ 153416 h 807349"/>
                <a:gd name="connsiteX1294" fmla="*/ 216968 w 900155"/>
                <a:gd name="connsiteY1294" fmla="*/ 151659 h 807349"/>
                <a:gd name="connsiteX1295" fmla="*/ 218111 w 900155"/>
                <a:gd name="connsiteY1295" fmla="*/ 149897 h 807349"/>
                <a:gd name="connsiteX1296" fmla="*/ 219790 w 900155"/>
                <a:gd name="connsiteY1296" fmla="*/ 146313 h 807349"/>
                <a:gd name="connsiteX1297" fmla="*/ 221310 w 900155"/>
                <a:gd name="connsiteY1297" fmla="*/ 143592 h 807349"/>
                <a:gd name="connsiteX1298" fmla="*/ 222503 w 900155"/>
                <a:gd name="connsiteY1298" fmla="*/ 143687 h 807349"/>
                <a:gd name="connsiteX1299" fmla="*/ 224796 w 900155"/>
                <a:gd name="connsiteY1299" fmla="*/ 150014 h 807349"/>
                <a:gd name="connsiteX1300" fmla="*/ 226292 w 900155"/>
                <a:gd name="connsiteY1300" fmla="*/ 153373 h 807349"/>
                <a:gd name="connsiteX1301" fmla="*/ 229031 w 900155"/>
                <a:gd name="connsiteY1301" fmla="*/ 157325 h 807349"/>
                <a:gd name="connsiteX1302" fmla="*/ 231624 w 900155"/>
                <a:gd name="connsiteY1302" fmla="*/ 163152 h 807349"/>
                <a:gd name="connsiteX1303" fmla="*/ 233738 w 900155"/>
                <a:gd name="connsiteY1303" fmla="*/ 165821 h 807349"/>
                <a:gd name="connsiteX1304" fmla="*/ 234764 w 900155"/>
                <a:gd name="connsiteY1304" fmla="*/ 167547 h 807349"/>
                <a:gd name="connsiteX1305" fmla="*/ 235602 w 900155"/>
                <a:gd name="connsiteY1305" fmla="*/ 168349 h 807349"/>
                <a:gd name="connsiteX1306" fmla="*/ 235787 w 900155"/>
                <a:gd name="connsiteY1306" fmla="*/ 167240 h 807349"/>
                <a:gd name="connsiteX1307" fmla="*/ 235573 w 900155"/>
                <a:gd name="connsiteY1307" fmla="*/ 165945 h 807349"/>
                <a:gd name="connsiteX1308" fmla="*/ 236593 w 900155"/>
                <a:gd name="connsiteY1308" fmla="*/ 161493 h 807349"/>
                <a:gd name="connsiteX1309" fmla="*/ 236116 w 900155"/>
                <a:gd name="connsiteY1309" fmla="*/ 158370 h 807349"/>
                <a:gd name="connsiteX1310" fmla="*/ 236275 w 900155"/>
                <a:gd name="connsiteY1310" fmla="*/ 157179 h 807349"/>
                <a:gd name="connsiteX1311" fmla="*/ 236809 w 900155"/>
                <a:gd name="connsiteY1311" fmla="*/ 156676 h 807349"/>
                <a:gd name="connsiteX1312" fmla="*/ 237834 w 900155"/>
                <a:gd name="connsiteY1312" fmla="*/ 157016 h 807349"/>
                <a:gd name="connsiteX1313" fmla="*/ 239819 w 900155"/>
                <a:gd name="connsiteY1313" fmla="*/ 158758 h 807349"/>
                <a:gd name="connsiteX1314" fmla="*/ 240819 w 900155"/>
                <a:gd name="connsiteY1314" fmla="*/ 159381 h 807349"/>
                <a:gd name="connsiteX1315" fmla="*/ 241527 w 900155"/>
                <a:gd name="connsiteY1315" fmla="*/ 159236 h 807349"/>
                <a:gd name="connsiteX1316" fmla="*/ 241492 w 900155"/>
                <a:gd name="connsiteY1316" fmla="*/ 156416 h 807349"/>
                <a:gd name="connsiteX1317" fmla="*/ 242486 w 900155"/>
                <a:gd name="connsiteY1317" fmla="*/ 154637 h 807349"/>
                <a:gd name="connsiteX1318" fmla="*/ 242086 w 900155"/>
                <a:gd name="connsiteY1318" fmla="*/ 153411 h 807349"/>
                <a:gd name="connsiteX1319" fmla="*/ 240357 w 900155"/>
                <a:gd name="connsiteY1319" fmla="*/ 153480 h 807349"/>
                <a:gd name="connsiteX1320" fmla="*/ 239625 w 900155"/>
                <a:gd name="connsiteY1320" fmla="*/ 151961 h 807349"/>
                <a:gd name="connsiteX1321" fmla="*/ 238197 w 900155"/>
                <a:gd name="connsiteY1321" fmla="*/ 150203 h 807349"/>
                <a:gd name="connsiteX1322" fmla="*/ 236575 w 900155"/>
                <a:gd name="connsiteY1322" fmla="*/ 148940 h 807349"/>
                <a:gd name="connsiteX1323" fmla="*/ 234604 w 900155"/>
                <a:gd name="connsiteY1323" fmla="*/ 146047 h 807349"/>
                <a:gd name="connsiteX1324" fmla="*/ 233995 w 900155"/>
                <a:gd name="connsiteY1324" fmla="*/ 144911 h 807349"/>
                <a:gd name="connsiteX1325" fmla="*/ 234762 w 900155"/>
                <a:gd name="connsiteY1325" fmla="*/ 144386 h 807349"/>
                <a:gd name="connsiteX1326" fmla="*/ 236006 w 900155"/>
                <a:gd name="connsiteY1326" fmla="*/ 144461 h 807349"/>
                <a:gd name="connsiteX1327" fmla="*/ 236992 w 900155"/>
                <a:gd name="connsiteY1327" fmla="*/ 143221 h 807349"/>
                <a:gd name="connsiteX1328" fmla="*/ 237446 w 900155"/>
                <a:gd name="connsiteY1328" fmla="*/ 141559 h 807349"/>
                <a:gd name="connsiteX1329" fmla="*/ 236573 w 900155"/>
                <a:gd name="connsiteY1329" fmla="*/ 138857 h 807349"/>
                <a:gd name="connsiteX1330" fmla="*/ 237468 w 900155"/>
                <a:gd name="connsiteY1330" fmla="*/ 137855 h 807349"/>
                <a:gd name="connsiteX1331" fmla="*/ 239268 w 900155"/>
                <a:gd name="connsiteY1331" fmla="*/ 138141 h 807349"/>
                <a:gd name="connsiteX1332" fmla="*/ 242149 w 900155"/>
                <a:gd name="connsiteY1332" fmla="*/ 142450 h 807349"/>
                <a:gd name="connsiteX1333" fmla="*/ 243388 w 900155"/>
                <a:gd name="connsiteY1333" fmla="*/ 142024 h 807349"/>
                <a:gd name="connsiteX1334" fmla="*/ 244407 w 900155"/>
                <a:gd name="connsiteY1334" fmla="*/ 140284 h 807349"/>
                <a:gd name="connsiteX1335" fmla="*/ 246245 w 900155"/>
                <a:gd name="connsiteY1335" fmla="*/ 139786 h 807349"/>
                <a:gd name="connsiteX1336" fmla="*/ 248133 w 900155"/>
                <a:gd name="connsiteY1336" fmla="*/ 140100 h 807349"/>
                <a:gd name="connsiteX1337" fmla="*/ 249376 w 900155"/>
                <a:gd name="connsiteY1337" fmla="*/ 141344 h 807349"/>
                <a:gd name="connsiteX1338" fmla="*/ 251905 w 900155"/>
                <a:gd name="connsiteY1338" fmla="*/ 142585 h 807349"/>
                <a:gd name="connsiteX1339" fmla="*/ 255273 w 900155"/>
                <a:gd name="connsiteY1339" fmla="*/ 142443 h 807349"/>
                <a:gd name="connsiteX1340" fmla="*/ 256982 w 900155"/>
                <a:gd name="connsiteY1340" fmla="*/ 142742 h 807349"/>
                <a:gd name="connsiteX1341" fmla="*/ 260573 w 900155"/>
                <a:gd name="connsiteY1341" fmla="*/ 142537 h 807349"/>
                <a:gd name="connsiteX1342" fmla="*/ 262333 w 900155"/>
                <a:gd name="connsiteY1342" fmla="*/ 142911 h 807349"/>
                <a:gd name="connsiteX1343" fmla="*/ 262002 w 900155"/>
                <a:gd name="connsiteY1343" fmla="*/ 142246 h 807349"/>
                <a:gd name="connsiteX1344" fmla="*/ 260061 w 900155"/>
                <a:gd name="connsiteY1344" fmla="*/ 141461 h 807349"/>
                <a:gd name="connsiteX1345" fmla="*/ 257873 w 900155"/>
                <a:gd name="connsiteY1345" fmla="*/ 141304 h 807349"/>
                <a:gd name="connsiteX1346" fmla="*/ 255312 w 900155"/>
                <a:gd name="connsiteY1346" fmla="*/ 141381 h 807349"/>
                <a:gd name="connsiteX1347" fmla="*/ 254215 w 900155"/>
                <a:gd name="connsiteY1347" fmla="*/ 140557 h 807349"/>
                <a:gd name="connsiteX1348" fmla="*/ 253848 w 900155"/>
                <a:gd name="connsiteY1348" fmla="*/ 138381 h 807349"/>
                <a:gd name="connsiteX1349" fmla="*/ 254470 w 900155"/>
                <a:gd name="connsiteY1349" fmla="*/ 136803 h 807349"/>
                <a:gd name="connsiteX1350" fmla="*/ 254872 w 900155"/>
                <a:gd name="connsiteY1350" fmla="*/ 136130 h 807349"/>
                <a:gd name="connsiteX1351" fmla="*/ 256539 w 900155"/>
                <a:gd name="connsiteY1351" fmla="*/ 136413 h 807349"/>
                <a:gd name="connsiteX1352" fmla="*/ 258018 w 900155"/>
                <a:gd name="connsiteY1352" fmla="*/ 136353 h 807349"/>
                <a:gd name="connsiteX1353" fmla="*/ 258200 w 900155"/>
                <a:gd name="connsiteY1353" fmla="*/ 134231 h 807349"/>
                <a:gd name="connsiteX1354" fmla="*/ 258720 w 900155"/>
                <a:gd name="connsiteY1354" fmla="*/ 132358 h 807349"/>
                <a:gd name="connsiteX1355" fmla="*/ 259603 w 900155"/>
                <a:gd name="connsiteY1355" fmla="*/ 130833 h 807349"/>
                <a:gd name="connsiteX1356" fmla="*/ 259599 w 900155"/>
                <a:gd name="connsiteY1356" fmla="*/ 129365 h 807349"/>
                <a:gd name="connsiteX1357" fmla="*/ 258677 w 900155"/>
                <a:gd name="connsiteY1357" fmla="*/ 129755 h 807349"/>
                <a:gd name="connsiteX1358" fmla="*/ 256414 w 900155"/>
                <a:gd name="connsiteY1358" fmla="*/ 133151 h 807349"/>
                <a:gd name="connsiteX1359" fmla="*/ 255330 w 900155"/>
                <a:gd name="connsiteY1359" fmla="*/ 130388 h 807349"/>
                <a:gd name="connsiteX1360" fmla="*/ 253701 w 900155"/>
                <a:gd name="connsiteY1360" fmla="*/ 128294 h 807349"/>
                <a:gd name="connsiteX1361" fmla="*/ 254032 w 900155"/>
                <a:gd name="connsiteY1361" fmla="*/ 125297 h 807349"/>
                <a:gd name="connsiteX1362" fmla="*/ 254982 w 900155"/>
                <a:gd name="connsiteY1362" fmla="*/ 122300 h 807349"/>
                <a:gd name="connsiteX1363" fmla="*/ 256444 w 900155"/>
                <a:gd name="connsiteY1363" fmla="*/ 121889 h 807349"/>
                <a:gd name="connsiteX1364" fmla="*/ 257682 w 900155"/>
                <a:gd name="connsiteY1364" fmla="*/ 122362 h 807349"/>
                <a:gd name="connsiteX1365" fmla="*/ 259510 w 900155"/>
                <a:gd name="connsiteY1365" fmla="*/ 120609 h 807349"/>
                <a:gd name="connsiteX1366" fmla="*/ 260541 w 900155"/>
                <a:gd name="connsiteY1366" fmla="*/ 119270 h 807349"/>
                <a:gd name="connsiteX1367" fmla="*/ 260303 w 900155"/>
                <a:gd name="connsiteY1367" fmla="*/ 118169 h 807349"/>
                <a:gd name="connsiteX1368" fmla="*/ 260577 w 900155"/>
                <a:gd name="connsiteY1368" fmla="*/ 117323 h 807349"/>
                <a:gd name="connsiteX1369" fmla="*/ 261858 w 900155"/>
                <a:gd name="connsiteY1369" fmla="*/ 117586 h 807349"/>
                <a:gd name="connsiteX1370" fmla="*/ 266757 w 900155"/>
                <a:gd name="connsiteY1370" fmla="*/ 120280 h 807349"/>
                <a:gd name="connsiteX1371" fmla="*/ 267738 w 900155"/>
                <a:gd name="connsiteY1371" fmla="*/ 121688 h 807349"/>
                <a:gd name="connsiteX1372" fmla="*/ 268768 w 900155"/>
                <a:gd name="connsiteY1372" fmla="*/ 121140 h 807349"/>
                <a:gd name="connsiteX1373" fmla="*/ 269098 w 900155"/>
                <a:gd name="connsiteY1373" fmla="*/ 119606 h 807349"/>
                <a:gd name="connsiteX1374" fmla="*/ 268988 w 900155"/>
                <a:gd name="connsiteY1374" fmla="*/ 118072 h 807349"/>
                <a:gd name="connsiteX1375" fmla="*/ 267906 w 900155"/>
                <a:gd name="connsiteY1375" fmla="*/ 118304 h 807349"/>
                <a:gd name="connsiteX1376" fmla="*/ 265367 w 900155"/>
                <a:gd name="connsiteY1376" fmla="*/ 118147 h 807349"/>
                <a:gd name="connsiteX1377" fmla="*/ 264781 w 900155"/>
                <a:gd name="connsiteY1377" fmla="*/ 117285 h 807349"/>
                <a:gd name="connsiteX1378" fmla="*/ 265002 w 900155"/>
                <a:gd name="connsiteY1378" fmla="*/ 116574 h 807349"/>
                <a:gd name="connsiteX1379" fmla="*/ 263816 w 900155"/>
                <a:gd name="connsiteY1379" fmla="*/ 114769 h 807349"/>
                <a:gd name="connsiteX1380" fmla="*/ 265477 w 900155"/>
                <a:gd name="connsiteY1380" fmla="*/ 113621 h 807349"/>
                <a:gd name="connsiteX1381" fmla="*/ 266905 w 900155"/>
                <a:gd name="connsiteY1381" fmla="*/ 113546 h 807349"/>
                <a:gd name="connsiteX1382" fmla="*/ 267891 w 900155"/>
                <a:gd name="connsiteY1382" fmla="*/ 112760 h 807349"/>
                <a:gd name="connsiteX1383" fmla="*/ 267906 w 900155"/>
                <a:gd name="connsiteY1383" fmla="*/ 111686 h 807349"/>
                <a:gd name="connsiteX1384" fmla="*/ 268219 w 900155"/>
                <a:gd name="connsiteY1384" fmla="*/ 111228 h 807349"/>
                <a:gd name="connsiteX1385" fmla="*/ 268988 w 900155"/>
                <a:gd name="connsiteY1385" fmla="*/ 111866 h 807349"/>
                <a:gd name="connsiteX1386" fmla="*/ 271547 w 900155"/>
                <a:gd name="connsiteY1386" fmla="*/ 112161 h 807349"/>
                <a:gd name="connsiteX1387" fmla="*/ 274061 w 900155"/>
                <a:gd name="connsiteY1387" fmla="*/ 113550 h 807349"/>
                <a:gd name="connsiteX1388" fmla="*/ 275240 w 900155"/>
                <a:gd name="connsiteY1388" fmla="*/ 113844 h 807349"/>
                <a:gd name="connsiteX1389" fmla="*/ 275680 w 900155"/>
                <a:gd name="connsiteY1389" fmla="*/ 113098 h 807349"/>
                <a:gd name="connsiteX1390" fmla="*/ 275861 w 900155"/>
                <a:gd name="connsiteY1390" fmla="*/ 111488 h 807349"/>
                <a:gd name="connsiteX1391" fmla="*/ 272754 w 900155"/>
                <a:gd name="connsiteY1391" fmla="*/ 109881 h 807349"/>
                <a:gd name="connsiteX1392" fmla="*/ 272670 w 900155"/>
                <a:gd name="connsiteY1392" fmla="*/ 108301 h 807349"/>
                <a:gd name="connsiteX1393" fmla="*/ 271363 w 900155"/>
                <a:gd name="connsiteY1393" fmla="*/ 106480 h 807349"/>
                <a:gd name="connsiteX1394" fmla="*/ 271327 w 900155"/>
                <a:gd name="connsiteY1394" fmla="*/ 104689 h 807349"/>
                <a:gd name="connsiteX1395" fmla="*/ 273268 w 900155"/>
                <a:gd name="connsiteY1395" fmla="*/ 103191 h 807349"/>
                <a:gd name="connsiteX1396" fmla="*/ 273668 w 900155"/>
                <a:gd name="connsiteY1396" fmla="*/ 101738 h 807349"/>
                <a:gd name="connsiteX1397" fmla="*/ 274792 w 900155"/>
                <a:gd name="connsiteY1397" fmla="*/ 101147 h 807349"/>
                <a:gd name="connsiteX1398" fmla="*/ 277014 w 900155"/>
                <a:gd name="connsiteY1398" fmla="*/ 101123 h 807349"/>
                <a:gd name="connsiteX1399" fmla="*/ 278513 w 900155"/>
                <a:gd name="connsiteY1399" fmla="*/ 99891 h 807349"/>
                <a:gd name="connsiteX1400" fmla="*/ 280195 w 900155"/>
                <a:gd name="connsiteY1400" fmla="*/ 99461 h 807349"/>
                <a:gd name="connsiteX1401" fmla="*/ 280605 w 900155"/>
                <a:gd name="connsiteY1401" fmla="*/ 96717 h 807349"/>
                <a:gd name="connsiteX1402" fmla="*/ 280577 w 900155"/>
                <a:gd name="connsiteY1402" fmla="*/ 94833 h 807349"/>
                <a:gd name="connsiteX1403" fmla="*/ 281256 w 900155"/>
                <a:gd name="connsiteY1403" fmla="*/ 94348 h 807349"/>
                <a:gd name="connsiteX1404" fmla="*/ 282955 w 900155"/>
                <a:gd name="connsiteY1404" fmla="*/ 95133 h 807349"/>
                <a:gd name="connsiteX1405" fmla="*/ 282438 w 900155"/>
                <a:gd name="connsiteY1405" fmla="*/ 97312 h 807349"/>
                <a:gd name="connsiteX1406" fmla="*/ 282432 w 900155"/>
                <a:gd name="connsiteY1406" fmla="*/ 99392 h 807349"/>
                <a:gd name="connsiteX1407" fmla="*/ 282004 w 900155"/>
                <a:gd name="connsiteY1407" fmla="*/ 100506 h 807349"/>
                <a:gd name="connsiteX1408" fmla="*/ 282644 w 900155"/>
                <a:gd name="connsiteY1408" fmla="*/ 100413 h 807349"/>
                <a:gd name="connsiteX1409" fmla="*/ 283039 w 900155"/>
                <a:gd name="connsiteY1409" fmla="*/ 99950 h 807349"/>
                <a:gd name="connsiteX1410" fmla="*/ 283704 w 900155"/>
                <a:gd name="connsiteY1410" fmla="*/ 98583 h 807349"/>
                <a:gd name="connsiteX1411" fmla="*/ 285496 w 900155"/>
                <a:gd name="connsiteY1411" fmla="*/ 99143 h 807349"/>
                <a:gd name="connsiteX1412" fmla="*/ 285939 w 900155"/>
                <a:gd name="connsiteY1412" fmla="*/ 100605 h 807349"/>
                <a:gd name="connsiteX1413" fmla="*/ 286172 w 900155"/>
                <a:gd name="connsiteY1413" fmla="*/ 102036 h 807349"/>
                <a:gd name="connsiteX1414" fmla="*/ 287068 w 900155"/>
                <a:gd name="connsiteY1414" fmla="*/ 102503 h 807349"/>
                <a:gd name="connsiteX1415" fmla="*/ 288295 w 900155"/>
                <a:gd name="connsiteY1415" fmla="*/ 100301 h 807349"/>
                <a:gd name="connsiteX1416" fmla="*/ 289945 w 900155"/>
                <a:gd name="connsiteY1416" fmla="*/ 99717 h 807349"/>
                <a:gd name="connsiteX1417" fmla="*/ 289854 w 900155"/>
                <a:gd name="connsiteY1417" fmla="*/ 96935 h 807349"/>
                <a:gd name="connsiteX1418" fmla="*/ 290478 w 900155"/>
                <a:gd name="connsiteY1418" fmla="*/ 94943 h 807349"/>
                <a:gd name="connsiteX1419" fmla="*/ 290672 w 900155"/>
                <a:gd name="connsiteY1419" fmla="*/ 93448 h 807349"/>
                <a:gd name="connsiteX1420" fmla="*/ 291718 w 900155"/>
                <a:gd name="connsiteY1420" fmla="*/ 92719 h 807349"/>
                <a:gd name="connsiteX1421" fmla="*/ 291949 w 900155"/>
                <a:gd name="connsiteY1421" fmla="*/ 91133 h 807349"/>
                <a:gd name="connsiteX1422" fmla="*/ 291111 w 900155"/>
                <a:gd name="connsiteY1422" fmla="*/ 90039 h 807349"/>
                <a:gd name="connsiteX1423" fmla="*/ 290679 w 900155"/>
                <a:gd name="connsiteY1423" fmla="*/ 88048 h 807349"/>
                <a:gd name="connsiteX1424" fmla="*/ 292119 w 900155"/>
                <a:gd name="connsiteY1424" fmla="*/ 87608 h 807349"/>
                <a:gd name="connsiteX1425" fmla="*/ 293562 w 900155"/>
                <a:gd name="connsiteY1425" fmla="*/ 88608 h 807349"/>
                <a:gd name="connsiteX1426" fmla="*/ 294533 w 900155"/>
                <a:gd name="connsiteY1426" fmla="*/ 91118 h 807349"/>
                <a:gd name="connsiteX1427" fmla="*/ 295203 w 900155"/>
                <a:gd name="connsiteY1427" fmla="*/ 92249 h 807349"/>
                <a:gd name="connsiteX1428" fmla="*/ 296095 w 900155"/>
                <a:gd name="connsiteY1428" fmla="*/ 91633 h 807349"/>
                <a:gd name="connsiteX1429" fmla="*/ 296630 w 900155"/>
                <a:gd name="connsiteY1429" fmla="*/ 89961 h 807349"/>
                <a:gd name="connsiteX1430" fmla="*/ 298401 w 900155"/>
                <a:gd name="connsiteY1430" fmla="*/ 88988 h 807349"/>
                <a:gd name="connsiteX1431" fmla="*/ 300154 w 900155"/>
                <a:gd name="connsiteY1431" fmla="*/ 90340 h 807349"/>
                <a:gd name="connsiteX1432" fmla="*/ 302085 w 900155"/>
                <a:gd name="connsiteY1432" fmla="*/ 92190 h 807349"/>
                <a:gd name="connsiteX1433" fmla="*/ 304503 w 900155"/>
                <a:gd name="connsiteY1433" fmla="*/ 90576 h 807349"/>
                <a:gd name="connsiteX1434" fmla="*/ 306749 w 900155"/>
                <a:gd name="connsiteY1434" fmla="*/ 87551 h 807349"/>
                <a:gd name="connsiteX1435" fmla="*/ 306390 w 900155"/>
                <a:gd name="connsiteY1435" fmla="*/ 85700 h 807349"/>
                <a:gd name="connsiteX1436" fmla="*/ 306637 w 900155"/>
                <a:gd name="connsiteY1436" fmla="*/ 83795 h 807349"/>
                <a:gd name="connsiteX1437" fmla="*/ 309459 w 900155"/>
                <a:gd name="connsiteY1437" fmla="*/ 82796 h 807349"/>
                <a:gd name="connsiteX1438" fmla="*/ 311733 w 900155"/>
                <a:gd name="connsiteY1438" fmla="*/ 83531 h 807349"/>
                <a:gd name="connsiteX1439" fmla="*/ 313793 w 900155"/>
                <a:gd name="connsiteY1439" fmla="*/ 85573 h 807349"/>
                <a:gd name="connsiteX1440" fmla="*/ 318080 w 900155"/>
                <a:gd name="connsiteY1440" fmla="*/ 87091 h 807349"/>
                <a:gd name="connsiteX1441" fmla="*/ 321718 w 900155"/>
                <a:gd name="connsiteY1441" fmla="*/ 89270 h 807349"/>
                <a:gd name="connsiteX1442" fmla="*/ 323341 w 900155"/>
                <a:gd name="connsiteY1442" fmla="*/ 90695 h 807349"/>
                <a:gd name="connsiteX1443" fmla="*/ 326477 w 900155"/>
                <a:gd name="connsiteY1443" fmla="*/ 92961 h 807349"/>
                <a:gd name="connsiteX1444" fmla="*/ 328481 w 900155"/>
                <a:gd name="connsiteY1444" fmla="*/ 95313 h 807349"/>
                <a:gd name="connsiteX1445" fmla="*/ 331225 w 900155"/>
                <a:gd name="connsiteY1445" fmla="*/ 99505 h 807349"/>
                <a:gd name="connsiteX1446" fmla="*/ 337702 w 900155"/>
                <a:gd name="connsiteY1446" fmla="*/ 104618 h 807349"/>
                <a:gd name="connsiteX1447" fmla="*/ 338120 w 900155"/>
                <a:gd name="connsiteY1447" fmla="*/ 105525 h 807349"/>
                <a:gd name="connsiteX1448" fmla="*/ 337246 w 900155"/>
                <a:gd name="connsiteY1448" fmla="*/ 107233 h 807349"/>
                <a:gd name="connsiteX1449" fmla="*/ 336462 w 900155"/>
                <a:gd name="connsiteY1449" fmla="*/ 109420 h 807349"/>
                <a:gd name="connsiteX1450" fmla="*/ 335490 w 900155"/>
                <a:gd name="connsiteY1450" fmla="*/ 113124 h 807349"/>
                <a:gd name="connsiteX1451" fmla="*/ 335246 w 900155"/>
                <a:gd name="connsiteY1451" fmla="*/ 118583 h 807349"/>
                <a:gd name="connsiteX1452" fmla="*/ 336182 w 900155"/>
                <a:gd name="connsiteY1452" fmla="*/ 118192 h 807349"/>
                <a:gd name="connsiteX1453" fmla="*/ 337149 w 900155"/>
                <a:gd name="connsiteY1453" fmla="*/ 116236 h 807349"/>
                <a:gd name="connsiteX1454" fmla="*/ 338172 w 900155"/>
                <a:gd name="connsiteY1454" fmla="*/ 116638 h 807349"/>
                <a:gd name="connsiteX1455" fmla="*/ 339343 w 900155"/>
                <a:gd name="connsiteY1455" fmla="*/ 117887 h 807349"/>
                <a:gd name="connsiteX1456" fmla="*/ 339438 w 900155"/>
                <a:gd name="connsiteY1456" fmla="*/ 116689 h 807349"/>
                <a:gd name="connsiteX1457" fmla="*/ 338737 w 900155"/>
                <a:gd name="connsiteY1457" fmla="*/ 115965 h 807349"/>
                <a:gd name="connsiteX1458" fmla="*/ 337535 w 900155"/>
                <a:gd name="connsiteY1458" fmla="*/ 113446 h 807349"/>
                <a:gd name="connsiteX1459" fmla="*/ 337581 w 900155"/>
                <a:gd name="connsiteY1459" fmla="*/ 112111 h 807349"/>
                <a:gd name="connsiteX1460" fmla="*/ 338539 w 900155"/>
                <a:gd name="connsiteY1460" fmla="*/ 111038 h 807349"/>
                <a:gd name="connsiteX1461" fmla="*/ 340016 w 900155"/>
                <a:gd name="connsiteY1461" fmla="*/ 109753 h 807349"/>
                <a:gd name="connsiteX1462" fmla="*/ 341632 w 900155"/>
                <a:gd name="connsiteY1462" fmla="*/ 108912 h 807349"/>
                <a:gd name="connsiteX1463" fmla="*/ 342627 w 900155"/>
                <a:gd name="connsiteY1463" fmla="*/ 108177 h 807349"/>
                <a:gd name="connsiteX1464" fmla="*/ 342774 w 900155"/>
                <a:gd name="connsiteY1464" fmla="*/ 107268 h 807349"/>
                <a:gd name="connsiteX1465" fmla="*/ 344269 w 900155"/>
                <a:gd name="connsiteY1465" fmla="*/ 106343 h 807349"/>
                <a:gd name="connsiteX1466" fmla="*/ 346442 w 900155"/>
                <a:gd name="connsiteY1466" fmla="*/ 106039 h 807349"/>
                <a:gd name="connsiteX1467" fmla="*/ 347765 w 900155"/>
                <a:gd name="connsiteY1467" fmla="*/ 106185 h 807349"/>
                <a:gd name="connsiteX1468" fmla="*/ 357110 w 900155"/>
                <a:gd name="connsiteY1468" fmla="*/ 108521 h 807349"/>
                <a:gd name="connsiteX1469" fmla="*/ 359475 w 900155"/>
                <a:gd name="connsiteY1469" fmla="*/ 110854 h 807349"/>
                <a:gd name="connsiteX1470" fmla="*/ 359697 w 900155"/>
                <a:gd name="connsiteY1470" fmla="*/ 113736 h 807349"/>
                <a:gd name="connsiteX1471" fmla="*/ 360596 w 900155"/>
                <a:gd name="connsiteY1471" fmla="*/ 114758 h 807349"/>
                <a:gd name="connsiteX1472" fmla="*/ 361083 w 900155"/>
                <a:gd name="connsiteY1472" fmla="*/ 112947 h 807349"/>
                <a:gd name="connsiteX1473" fmla="*/ 360989 w 900155"/>
                <a:gd name="connsiteY1473" fmla="*/ 109011 h 807349"/>
                <a:gd name="connsiteX1474" fmla="*/ 361740 w 900155"/>
                <a:gd name="connsiteY1474" fmla="*/ 108230 h 807349"/>
                <a:gd name="connsiteX1475" fmla="*/ 364254 w 900155"/>
                <a:gd name="connsiteY1475" fmla="*/ 108839 h 807349"/>
                <a:gd name="connsiteX1476" fmla="*/ 365972 w 900155"/>
                <a:gd name="connsiteY1476" fmla="*/ 109625 h 807349"/>
                <a:gd name="connsiteX1477" fmla="*/ 368363 w 900155"/>
                <a:gd name="connsiteY1477" fmla="*/ 112205 h 807349"/>
                <a:gd name="connsiteX1478" fmla="*/ 368818 w 900155"/>
                <a:gd name="connsiteY1478" fmla="*/ 113471 h 807349"/>
                <a:gd name="connsiteX1479" fmla="*/ 369859 w 900155"/>
                <a:gd name="connsiteY1479" fmla="*/ 114294 h 807349"/>
                <a:gd name="connsiteX1480" fmla="*/ 370203 w 900155"/>
                <a:gd name="connsiteY1480" fmla="*/ 113098 h 807349"/>
                <a:gd name="connsiteX1481" fmla="*/ 369715 w 900155"/>
                <a:gd name="connsiteY1481" fmla="*/ 111402 h 807349"/>
                <a:gd name="connsiteX1482" fmla="*/ 369371 w 900155"/>
                <a:gd name="connsiteY1482" fmla="*/ 109459 h 807349"/>
                <a:gd name="connsiteX1483" fmla="*/ 369911 w 900155"/>
                <a:gd name="connsiteY1483" fmla="*/ 107767 h 807349"/>
                <a:gd name="connsiteX1484" fmla="*/ 372705 w 900155"/>
                <a:gd name="connsiteY1484" fmla="*/ 107632 h 807349"/>
                <a:gd name="connsiteX1485" fmla="*/ 374590 w 900155"/>
                <a:gd name="connsiteY1485" fmla="*/ 107268 h 807349"/>
                <a:gd name="connsiteX1486" fmla="*/ 373699 w 900155"/>
                <a:gd name="connsiteY1486" fmla="*/ 106608 h 807349"/>
                <a:gd name="connsiteX1487" fmla="*/ 372485 w 900155"/>
                <a:gd name="connsiteY1487" fmla="*/ 106379 h 807349"/>
                <a:gd name="connsiteX1488" fmla="*/ 370483 w 900155"/>
                <a:gd name="connsiteY1488" fmla="*/ 104828 h 807349"/>
                <a:gd name="connsiteX1489" fmla="*/ 369194 w 900155"/>
                <a:gd name="connsiteY1489" fmla="*/ 103161 h 807349"/>
                <a:gd name="connsiteX1490" fmla="*/ 371272 w 900155"/>
                <a:gd name="connsiteY1490" fmla="*/ 101540 h 807349"/>
                <a:gd name="connsiteX1491" fmla="*/ 371256 w 900155"/>
                <a:gd name="connsiteY1491" fmla="*/ 101136 h 807349"/>
                <a:gd name="connsiteX1492" fmla="*/ 369266 w 900155"/>
                <a:gd name="connsiteY1492" fmla="*/ 101187 h 807349"/>
                <a:gd name="connsiteX1493" fmla="*/ 366523 w 900155"/>
                <a:gd name="connsiteY1493" fmla="*/ 99609 h 807349"/>
                <a:gd name="connsiteX1494" fmla="*/ 364198 w 900155"/>
                <a:gd name="connsiteY1494" fmla="*/ 97413 h 807349"/>
                <a:gd name="connsiteX1495" fmla="*/ 365977 w 900155"/>
                <a:gd name="connsiteY1495" fmla="*/ 93375 h 807349"/>
                <a:gd name="connsiteX1496" fmla="*/ 369525 w 900155"/>
                <a:gd name="connsiteY1496" fmla="*/ 89427 h 807349"/>
                <a:gd name="connsiteX1497" fmla="*/ 371520 w 900155"/>
                <a:gd name="connsiteY1497" fmla="*/ 88110 h 807349"/>
                <a:gd name="connsiteX1498" fmla="*/ 371707 w 900155"/>
                <a:gd name="connsiteY1498" fmla="*/ 86778 h 807349"/>
                <a:gd name="connsiteX1499" fmla="*/ 372666 w 900155"/>
                <a:gd name="connsiteY1499" fmla="*/ 84323 h 807349"/>
                <a:gd name="connsiteX1500" fmla="*/ 373276 w 900155"/>
                <a:gd name="connsiteY1500" fmla="*/ 82250 h 807349"/>
                <a:gd name="connsiteX1501" fmla="*/ 373450 w 900155"/>
                <a:gd name="connsiteY1501" fmla="*/ 80640 h 807349"/>
                <a:gd name="connsiteX1502" fmla="*/ 374372 w 900155"/>
                <a:gd name="connsiteY1502" fmla="*/ 78941 h 807349"/>
                <a:gd name="connsiteX1503" fmla="*/ 376562 w 900155"/>
                <a:gd name="connsiteY1503" fmla="*/ 77336 h 807349"/>
                <a:gd name="connsiteX1504" fmla="*/ 379542 w 900155"/>
                <a:gd name="connsiteY1504" fmla="*/ 76762 h 807349"/>
                <a:gd name="connsiteX1505" fmla="*/ 380941 w 900155"/>
                <a:gd name="connsiteY1505" fmla="*/ 76136 h 807349"/>
                <a:gd name="connsiteX1506" fmla="*/ 382342 w 900155"/>
                <a:gd name="connsiteY1506" fmla="*/ 74656 h 807349"/>
                <a:gd name="connsiteX1507" fmla="*/ 383680 w 900155"/>
                <a:gd name="connsiteY1507" fmla="*/ 72848 h 807349"/>
                <a:gd name="connsiteX1508" fmla="*/ 380920 w 900155"/>
                <a:gd name="connsiteY1508" fmla="*/ 69322 h 807349"/>
                <a:gd name="connsiteX1509" fmla="*/ 381149 w 900155"/>
                <a:gd name="connsiteY1509" fmla="*/ 67381 h 807349"/>
                <a:gd name="connsiteX1510" fmla="*/ 381654 w 900155"/>
                <a:gd name="connsiteY1510" fmla="*/ 65093 h 807349"/>
                <a:gd name="connsiteX1511" fmla="*/ 384966 w 900155"/>
                <a:gd name="connsiteY1511" fmla="*/ 63419 h 807349"/>
                <a:gd name="connsiteX1512" fmla="*/ 386778 w 900155"/>
                <a:gd name="connsiteY1512" fmla="*/ 59037 h 807349"/>
                <a:gd name="connsiteX1513" fmla="*/ 387979 w 900155"/>
                <a:gd name="connsiteY1513" fmla="*/ 58379 h 807349"/>
                <a:gd name="connsiteX1514" fmla="*/ 390581 w 900155"/>
                <a:gd name="connsiteY1514" fmla="*/ 58508 h 807349"/>
                <a:gd name="connsiteX1515" fmla="*/ 391589 w 900155"/>
                <a:gd name="connsiteY1515" fmla="*/ 58115 h 807349"/>
                <a:gd name="connsiteX1516" fmla="*/ 391414 w 900155"/>
                <a:gd name="connsiteY1516" fmla="*/ 54621 h 807349"/>
                <a:gd name="connsiteX1517" fmla="*/ 391704 w 900155"/>
                <a:gd name="connsiteY1517" fmla="*/ 53269 h 807349"/>
                <a:gd name="connsiteX1518" fmla="*/ 392803 w 900155"/>
                <a:gd name="connsiteY1518" fmla="*/ 52727 h 807349"/>
                <a:gd name="connsiteX1519" fmla="*/ 394213 w 900155"/>
                <a:gd name="connsiteY1519" fmla="*/ 53194 h 807349"/>
                <a:gd name="connsiteX1520" fmla="*/ 395107 w 900155"/>
                <a:gd name="connsiteY1520" fmla="*/ 54711 h 807349"/>
                <a:gd name="connsiteX1521" fmla="*/ 397115 w 900155"/>
                <a:gd name="connsiteY1521" fmla="*/ 56115 h 807349"/>
                <a:gd name="connsiteX1522" fmla="*/ 397797 w 900155"/>
                <a:gd name="connsiteY1522" fmla="*/ 55347 h 807349"/>
                <a:gd name="connsiteX1523" fmla="*/ 397458 w 900155"/>
                <a:gd name="connsiteY1523" fmla="*/ 53808 h 807349"/>
                <a:gd name="connsiteX1524" fmla="*/ 397258 w 900155"/>
                <a:gd name="connsiteY1524" fmla="*/ 51835 h 807349"/>
                <a:gd name="connsiteX1525" fmla="*/ 399089 w 900155"/>
                <a:gd name="connsiteY1525" fmla="*/ 51410 h 807349"/>
                <a:gd name="connsiteX1526" fmla="*/ 400565 w 900155"/>
                <a:gd name="connsiteY1526" fmla="*/ 51289 h 807349"/>
                <a:gd name="connsiteX1527" fmla="*/ 400713 w 900155"/>
                <a:gd name="connsiteY1527" fmla="*/ 49678 h 807349"/>
                <a:gd name="connsiteX1528" fmla="*/ 400479 w 900155"/>
                <a:gd name="connsiteY1528" fmla="*/ 48394 h 807349"/>
                <a:gd name="connsiteX1529" fmla="*/ 401058 w 900155"/>
                <a:gd name="connsiteY1529" fmla="*/ 47851 h 807349"/>
                <a:gd name="connsiteX1530" fmla="*/ 404911 w 900155"/>
                <a:gd name="connsiteY1530" fmla="*/ 47588 h 807349"/>
                <a:gd name="connsiteX1531" fmla="*/ 405917 w 900155"/>
                <a:gd name="connsiteY1531" fmla="*/ 46267 h 807349"/>
                <a:gd name="connsiteX1532" fmla="*/ 406495 w 900155"/>
                <a:gd name="connsiteY1532" fmla="*/ 45119 h 807349"/>
                <a:gd name="connsiteX1533" fmla="*/ 406985 w 900155"/>
                <a:gd name="connsiteY1533" fmla="*/ 45748 h 807349"/>
                <a:gd name="connsiteX1534" fmla="*/ 407612 w 900155"/>
                <a:gd name="connsiteY1534" fmla="*/ 48309 h 807349"/>
                <a:gd name="connsiteX1535" fmla="*/ 409738 w 900155"/>
                <a:gd name="connsiteY1535" fmla="*/ 49810 h 807349"/>
                <a:gd name="connsiteX1536" fmla="*/ 416107 w 900155"/>
                <a:gd name="connsiteY1536" fmla="*/ 49836 h 807349"/>
                <a:gd name="connsiteX1537" fmla="*/ 419683 w 900155"/>
                <a:gd name="connsiteY1537" fmla="*/ 48800 h 807349"/>
                <a:gd name="connsiteX1538" fmla="*/ 421203 w 900155"/>
                <a:gd name="connsiteY1538" fmla="*/ 49413 h 807349"/>
                <a:gd name="connsiteX1539" fmla="*/ 423576 w 900155"/>
                <a:gd name="connsiteY1539" fmla="*/ 49895 h 807349"/>
                <a:gd name="connsiteX1540" fmla="*/ 426191 w 900155"/>
                <a:gd name="connsiteY1540" fmla="*/ 48688 h 807349"/>
                <a:gd name="connsiteX1541" fmla="*/ 427759 w 900155"/>
                <a:gd name="connsiteY1541" fmla="*/ 47770 h 807349"/>
                <a:gd name="connsiteX1542" fmla="*/ 430387 w 900155"/>
                <a:gd name="connsiteY1542" fmla="*/ 48962 h 807349"/>
                <a:gd name="connsiteX1543" fmla="*/ 431249 w 900155"/>
                <a:gd name="connsiteY1543" fmla="*/ 50217 h 807349"/>
                <a:gd name="connsiteX1544" fmla="*/ 431925 w 900155"/>
                <a:gd name="connsiteY1544" fmla="*/ 47553 h 807349"/>
                <a:gd name="connsiteX1545" fmla="*/ 433449 w 900155"/>
                <a:gd name="connsiteY1545" fmla="*/ 46622 h 807349"/>
                <a:gd name="connsiteX1546" fmla="*/ 435068 w 900155"/>
                <a:gd name="connsiteY1546" fmla="*/ 46070 h 807349"/>
                <a:gd name="connsiteX1547" fmla="*/ 437115 w 900155"/>
                <a:gd name="connsiteY1547" fmla="*/ 46515 h 807349"/>
                <a:gd name="connsiteX1548" fmla="*/ 437921 w 900155"/>
                <a:gd name="connsiteY1548" fmla="*/ 46366 h 807349"/>
                <a:gd name="connsiteX1549" fmla="*/ 436100 w 900155"/>
                <a:gd name="connsiteY1549" fmla="*/ 44385 h 807349"/>
                <a:gd name="connsiteX1550" fmla="*/ 436207 w 900155"/>
                <a:gd name="connsiteY1550" fmla="*/ 42581 h 807349"/>
                <a:gd name="connsiteX1551" fmla="*/ 436088 w 900155"/>
                <a:gd name="connsiteY1551" fmla="*/ 39916 h 807349"/>
                <a:gd name="connsiteX1552" fmla="*/ 436416 w 900155"/>
                <a:gd name="connsiteY1552" fmla="*/ 37480 h 807349"/>
                <a:gd name="connsiteX1553" fmla="*/ 437068 w 900155"/>
                <a:gd name="connsiteY1553" fmla="*/ 35729 h 807349"/>
                <a:gd name="connsiteX1554" fmla="*/ 432667 w 900155"/>
                <a:gd name="connsiteY1554" fmla="*/ 32200 h 807349"/>
                <a:gd name="connsiteX1555" fmla="*/ 428305 w 900155"/>
                <a:gd name="connsiteY1555" fmla="*/ 31666 h 807349"/>
                <a:gd name="connsiteX1556" fmla="*/ 425113 w 900155"/>
                <a:gd name="connsiteY1556" fmla="*/ 32406 h 807349"/>
                <a:gd name="connsiteX1557" fmla="*/ 423770 w 900155"/>
                <a:gd name="connsiteY1557" fmla="*/ 31824 h 807349"/>
                <a:gd name="connsiteX1558" fmla="*/ 420935 w 900155"/>
                <a:gd name="connsiteY1558" fmla="*/ 28998 h 807349"/>
                <a:gd name="connsiteX1559" fmla="*/ 418234 w 900155"/>
                <a:gd name="connsiteY1559" fmla="*/ 27966 h 807349"/>
                <a:gd name="connsiteX1560" fmla="*/ 417998 w 900155"/>
                <a:gd name="connsiteY1560" fmla="*/ 27271 h 807349"/>
                <a:gd name="connsiteX1561" fmla="*/ 421309 w 900155"/>
                <a:gd name="connsiteY1561" fmla="*/ 25244 h 807349"/>
                <a:gd name="connsiteX1562" fmla="*/ 422570 w 900155"/>
                <a:gd name="connsiteY1562" fmla="*/ 25592 h 807349"/>
                <a:gd name="connsiteX1563" fmla="*/ 424498 w 900155"/>
                <a:gd name="connsiteY1563" fmla="*/ 27489 h 807349"/>
                <a:gd name="connsiteX1564" fmla="*/ 425597 w 900155"/>
                <a:gd name="connsiteY1564" fmla="*/ 28161 h 807349"/>
                <a:gd name="connsiteX1565" fmla="*/ 426532 w 900155"/>
                <a:gd name="connsiteY1565" fmla="*/ 28023 h 807349"/>
                <a:gd name="connsiteX1566" fmla="*/ 427135 w 900155"/>
                <a:gd name="connsiteY1566" fmla="*/ 26541 h 807349"/>
                <a:gd name="connsiteX1567" fmla="*/ 427968 w 900155"/>
                <a:gd name="connsiteY1567" fmla="*/ 25762 h 807349"/>
                <a:gd name="connsiteX1568" fmla="*/ 429545 w 900155"/>
                <a:gd name="connsiteY1568" fmla="*/ 26199 h 807349"/>
                <a:gd name="connsiteX1569" fmla="*/ 434483 w 900155"/>
                <a:gd name="connsiteY1569" fmla="*/ 29409 h 807349"/>
                <a:gd name="connsiteX1570" fmla="*/ 437258 w 900155"/>
                <a:gd name="connsiteY1570" fmla="*/ 32515 h 807349"/>
                <a:gd name="connsiteX1571" fmla="*/ 438679 w 900155"/>
                <a:gd name="connsiteY1571" fmla="*/ 31695 h 807349"/>
                <a:gd name="connsiteX1572" fmla="*/ 441112 w 900155"/>
                <a:gd name="connsiteY1572" fmla="*/ 29952 h 807349"/>
                <a:gd name="connsiteX1573" fmla="*/ 443410 w 900155"/>
                <a:gd name="connsiteY1573" fmla="*/ 30315 h 807349"/>
                <a:gd name="connsiteX1574" fmla="*/ 444822 w 900155"/>
                <a:gd name="connsiteY1574" fmla="*/ 31334 h 807349"/>
                <a:gd name="connsiteX1575" fmla="*/ 446801 w 900155"/>
                <a:gd name="connsiteY1575" fmla="*/ 35119 h 807349"/>
                <a:gd name="connsiteX1576" fmla="*/ 448368 w 900155"/>
                <a:gd name="connsiteY1576" fmla="*/ 36998 h 807349"/>
                <a:gd name="connsiteX1577" fmla="*/ 452147 w 900155"/>
                <a:gd name="connsiteY1577" fmla="*/ 37504 h 807349"/>
                <a:gd name="connsiteX1578" fmla="*/ 454071 w 900155"/>
                <a:gd name="connsiteY1578" fmla="*/ 38224 h 807349"/>
                <a:gd name="connsiteX1579" fmla="*/ 456062 w 900155"/>
                <a:gd name="connsiteY1579" fmla="*/ 39476 h 807349"/>
                <a:gd name="connsiteX1580" fmla="*/ 458744 w 900155"/>
                <a:gd name="connsiteY1580" fmla="*/ 39366 h 807349"/>
                <a:gd name="connsiteX1581" fmla="*/ 464265 w 900155"/>
                <a:gd name="connsiteY1581" fmla="*/ 39831 h 807349"/>
                <a:gd name="connsiteX1582" fmla="*/ 469467 w 900155"/>
                <a:gd name="connsiteY1582" fmla="*/ 42255 h 807349"/>
                <a:gd name="connsiteX1583" fmla="*/ 471627 w 900155"/>
                <a:gd name="connsiteY1583" fmla="*/ 43770 h 807349"/>
                <a:gd name="connsiteX1584" fmla="*/ 474147 w 900155"/>
                <a:gd name="connsiteY1584" fmla="*/ 44175 h 807349"/>
                <a:gd name="connsiteX1585" fmla="*/ 475613 w 900155"/>
                <a:gd name="connsiteY1585" fmla="*/ 44780 h 807349"/>
                <a:gd name="connsiteX1586" fmla="*/ 478282 w 900155"/>
                <a:gd name="connsiteY1586" fmla="*/ 44962 h 807349"/>
                <a:gd name="connsiteX1587" fmla="*/ 482532 w 900155"/>
                <a:gd name="connsiteY1587" fmla="*/ 43246 h 807349"/>
                <a:gd name="connsiteX1588" fmla="*/ 484436 w 900155"/>
                <a:gd name="connsiteY1588" fmla="*/ 44824 h 807349"/>
                <a:gd name="connsiteX1589" fmla="*/ 485283 w 900155"/>
                <a:gd name="connsiteY1589" fmla="*/ 45897 h 807349"/>
                <a:gd name="connsiteX1590" fmla="*/ 489153 w 900155"/>
                <a:gd name="connsiteY1590" fmla="*/ 47943 h 807349"/>
                <a:gd name="connsiteX1591" fmla="*/ 493316 w 900155"/>
                <a:gd name="connsiteY1591" fmla="*/ 48570 h 807349"/>
                <a:gd name="connsiteX1592" fmla="*/ 496287 w 900155"/>
                <a:gd name="connsiteY1592" fmla="*/ 46495 h 807349"/>
                <a:gd name="connsiteX1593" fmla="*/ 500630 w 900155"/>
                <a:gd name="connsiteY1593" fmla="*/ 44957 h 807349"/>
                <a:gd name="connsiteX1594" fmla="*/ 503655 w 900155"/>
                <a:gd name="connsiteY1594" fmla="*/ 42614 h 807349"/>
                <a:gd name="connsiteX1595" fmla="*/ 505931 w 900155"/>
                <a:gd name="connsiteY1595" fmla="*/ 41512 h 807349"/>
                <a:gd name="connsiteX1596" fmla="*/ 508070 w 900155"/>
                <a:gd name="connsiteY1596" fmla="*/ 39599 h 807349"/>
                <a:gd name="connsiteX1597" fmla="*/ 508894 w 900155"/>
                <a:gd name="connsiteY1597" fmla="*/ 39691 h 807349"/>
                <a:gd name="connsiteX1598" fmla="*/ 507149 w 900155"/>
                <a:gd name="connsiteY1598" fmla="*/ 41477 h 807349"/>
                <a:gd name="connsiteX1599" fmla="*/ 506937 w 900155"/>
                <a:gd name="connsiteY1599" fmla="*/ 42491 h 807349"/>
                <a:gd name="connsiteX1600" fmla="*/ 508304 w 900155"/>
                <a:gd name="connsiteY1600" fmla="*/ 42914 h 807349"/>
                <a:gd name="connsiteX1601" fmla="*/ 508163 w 900155"/>
                <a:gd name="connsiteY1601" fmla="*/ 43435 h 807349"/>
                <a:gd name="connsiteX1602" fmla="*/ 506281 w 900155"/>
                <a:gd name="connsiteY1602" fmla="*/ 44825 h 807349"/>
                <a:gd name="connsiteX1603" fmla="*/ 504030 w 900155"/>
                <a:gd name="connsiteY1603" fmla="*/ 46997 h 807349"/>
                <a:gd name="connsiteX1604" fmla="*/ 504071 w 900155"/>
                <a:gd name="connsiteY1604" fmla="*/ 48305 h 807349"/>
                <a:gd name="connsiteX1605" fmla="*/ 504946 w 900155"/>
                <a:gd name="connsiteY1605" fmla="*/ 49019 h 807349"/>
                <a:gd name="connsiteX1606" fmla="*/ 505982 w 900155"/>
                <a:gd name="connsiteY1606" fmla="*/ 48701 h 807349"/>
                <a:gd name="connsiteX1607" fmla="*/ 507455 w 900155"/>
                <a:gd name="connsiteY1607" fmla="*/ 47601 h 807349"/>
                <a:gd name="connsiteX1608" fmla="*/ 509232 w 900155"/>
                <a:gd name="connsiteY1608" fmla="*/ 47009 h 807349"/>
                <a:gd name="connsiteX1609" fmla="*/ 510796 w 900155"/>
                <a:gd name="connsiteY1609" fmla="*/ 47890 h 807349"/>
                <a:gd name="connsiteX1610" fmla="*/ 511304 w 900155"/>
                <a:gd name="connsiteY1610" fmla="*/ 51020 h 807349"/>
                <a:gd name="connsiteX1611" fmla="*/ 512417 w 900155"/>
                <a:gd name="connsiteY1611" fmla="*/ 53076 h 807349"/>
                <a:gd name="connsiteX1612" fmla="*/ 514868 w 900155"/>
                <a:gd name="connsiteY1612" fmla="*/ 53361 h 807349"/>
                <a:gd name="connsiteX1613" fmla="*/ 516371 w 900155"/>
                <a:gd name="connsiteY1613" fmla="*/ 53330 h 807349"/>
                <a:gd name="connsiteX1614" fmla="*/ 517872 w 900155"/>
                <a:gd name="connsiteY1614" fmla="*/ 50452 h 807349"/>
                <a:gd name="connsiteX1615" fmla="*/ 517063 w 900155"/>
                <a:gd name="connsiteY1615" fmla="*/ 48002 h 807349"/>
                <a:gd name="connsiteX1616" fmla="*/ 516134 w 900155"/>
                <a:gd name="connsiteY1616" fmla="*/ 47478 h 807349"/>
                <a:gd name="connsiteX1617" fmla="*/ 516581 w 900155"/>
                <a:gd name="connsiteY1617" fmla="*/ 46549 h 807349"/>
                <a:gd name="connsiteX1618" fmla="*/ 520412 w 900155"/>
                <a:gd name="connsiteY1618" fmla="*/ 42509 h 807349"/>
                <a:gd name="connsiteX1619" fmla="*/ 522554 w 900155"/>
                <a:gd name="connsiteY1619" fmla="*/ 42647 h 807349"/>
                <a:gd name="connsiteX1620" fmla="*/ 524091 w 900155"/>
                <a:gd name="connsiteY1620" fmla="*/ 46593 h 807349"/>
                <a:gd name="connsiteX1621" fmla="*/ 526517 w 900155"/>
                <a:gd name="connsiteY1621" fmla="*/ 48677 h 807349"/>
                <a:gd name="connsiteX1622" fmla="*/ 529103 w 900155"/>
                <a:gd name="connsiteY1622" fmla="*/ 48513 h 807349"/>
                <a:gd name="connsiteX1623" fmla="*/ 530453 w 900155"/>
                <a:gd name="connsiteY1623" fmla="*/ 49060 h 807349"/>
                <a:gd name="connsiteX1624" fmla="*/ 531558 w 900155"/>
                <a:gd name="connsiteY1624" fmla="*/ 51447 h 807349"/>
                <a:gd name="connsiteX1625" fmla="*/ 522483 w 900155"/>
                <a:gd name="connsiteY1625" fmla="*/ 61202 h 807349"/>
                <a:gd name="connsiteX1626" fmla="*/ 522057 w 900155"/>
                <a:gd name="connsiteY1626" fmla="*/ 62293 h 807349"/>
                <a:gd name="connsiteX1627" fmla="*/ 523280 w 900155"/>
                <a:gd name="connsiteY1627" fmla="*/ 64064 h 807349"/>
                <a:gd name="connsiteX1628" fmla="*/ 523750 w 900155"/>
                <a:gd name="connsiteY1628" fmla="*/ 66136 h 807349"/>
                <a:gd name="connsiteX1629" fmla="*/ 520802 w 900155"/>
                <a:gd name="connsiteY1629" fmla="*/ 71115 h 807349"/>
                <a:gd name="connsiteX1630" fmla="*/ 519716 w 900155"/>
                <a:gd name="connsiteY1630" fmla="*/ 71361 h 807349"/>
                <a:gd name="connsiteX1631" fmla="*/ 518669 w 900155"/>
                <a:gd name="connsiteY1631" fmla="*/ 70016 h 807349"/>
                <a:gd name="connsiteX1632" fmla="*/ 517112 w 900155"/>
                <a:gd name="connsiteY1632" fmla="*/ 69153 h 807349"/>
                <a:gd name="connsiteX1633" fmla="*/ 515745 w 900155"/>
                <a:gd name="connsiteY1633" fmla="*/ 69759 h 807349"/>
                <a:gd name="connsiteX1634" fmla="*/ 514281 w 900155"/>
                <a:gd name="connsiteY1634" fmla="*/ 70122 h 807349"/>
                <a:gd name="connsiteX1635" fmla="*/ 509001 w 900155"/>
                <a:gd name="connsiteY1635" fmla="*/ 72894 h 807349"/>
                <a:gd name="connsiteX1636" fmla="*/ 509042 w 900155"/>
                <a:gd name="connsiteY1636" fmla="*/ 80036 h 807349"/>
                <a:gd name="connsiteX1637" fmla="*/ 510376 w 900155"/>
                <a:gd name="connsiteY1637" fmla="*/ 84283 h 807349"/>
                <a:gd name="connsiteX1638" fmla="*/ 509602 w 900155"/>
                <a:gd name="connsiteY1638" fmla="*/ 87093 h 807349"/>
                <a:gd name="connsiteX1639" fmla="*/ 508029 w 900155"/>
                <a:gd name="connsiteY1639" fmla="*/ 92014 h 807349"/>
                <a:gd name="connsiteX1640" fmla="*/ 506326 w 900155"/>
                <a:gd name="connsiteY1640" fmla="*/ 93842 h 807349"/>
                <a:gd name="connsiteX1641" fmla="*/ 504959 w 900155"/>
                <a:gd name="connsiteY1641" fmla="*/ 95025 h 807349"/>
                <a:gd name="connsiteX1642" fmla="*/ 500411 w 900155"/>
                <a:gd name="connsiteY1642" fmla="*/ 101758 h 807349"/>
                <a:gd name="connsiteX1643" fmla="*/ 498960 w 900155"/>
                <a:gd name="connsiteY1643" fmla="*/ 103377 h 807349"/>
                <a:gd name="connsiteX1644" fmla="*/ 497456 w 900155"/>
                <a:gd name="connsiteY1644" fmla="*/ 105671 h 807349"/>
                <a:gd name="connsiteX1645" fmla="*/ 497960 w 900155"/>
                <a:gd name="connsiteY1645" fmla="*/ 107872 h 807349"/>
                <a:gd name="connsiteX1646" fmla="*/ 498520 w 900155"/>
                <a:gd name="connsiteY1646" fmla="*/ 109397 h 807349"/>
                <a:gd name="connsiteX1647" fmla="*/ 500232 w 900155"/>
                <a:gd name="connsiteY1647" fmla="*/ 111144 h 807349"/>
                <a:gd name="connsiteX1648" fmla="*/ 506907 w 900155"/>
                <a:gd name="connsiteY1648" fmla="*/ 114756 h 807349"/>
                <a:gd name="connsiteX1649" fmla="*/ 509935 w 900155"/>
                <a:gd name="connsiteY1649" fmla="*/ 117246 h 807349"/>
                <a:gd name="connsiteX1650" fmla="*/ 515149 w 900155"/>
                <a:gd name="connsiteY1650" fmla="*/ 120260 h 807349"/>
                <a:gd name="connsiteX1651" fmla="*/ 516341 w 900155"/>
                <a:gd name="connsiteY1651" fmla="*/ 122338 h 807349"/>
                <a:gd name="connsiteX1652" fmla="*/ 517052 w 900155"/>
                <a:gd name="connsiteY1652" fmla="*/ 124034 h 807349"/>
                <a:gd name="connsiteX1653" fmla="*/ 520822 w 900155"/>
                <a:gd name="connsiteY1653" fmla="*/ 125962 h 807349"/>
                <a:gd name="connsiteX1654" fmla="*/ 523513 w 900155"/>
                <a:gd name="connsiteY1654" fmla="*/ 127124 h 807349"/>
                <a:gd name="connsiteX1655" fmla="*/ 524290 w 900155"/>
                <a:gd name="connsiteY1655" fmla="*/ 126825 h 807349"/>
                <a:gd name="connsiteX1656" fmla="*/ 524852 w 900155"/>
                <a:gd name="connsiteY1656" fmla="*/ 126423 h 807349"/>
                <a:gd name="connsiteX1657" fmla="*/ 525525 w 900155"/>
                <a:gd name="connsiteY1657" fmla="*/ 126418 h 807349"/>
                <a:gd name="connsiteX1658" fmla="*/ 526195 w 900155"/>
                <a:gd name="connsiteY1658" fmla="*/ 126642 h 807349"/>
                <a:gd name="connsiteX1659" fmla="*/ 526089 w 900155"/>
                <a:gd name="connsiteY1659" fmla="*/ 128153 h 807349"/>
                <a:gd name="connsiteX1660" fmla="*/ 525793 w 900155"/>
                <a:gd name="connsiteY1660" fmla="*/ 128980 h 807349"/>
                <a:gd name="connsiteX1661" fmla="*/ 526045 w 900155"/>
                <a:gd name="connsiteY1661" fmla="*/ 130034 h 807349"/>
                <a:gd name="connsiteX1662" fmla="*/ 527959 w 900155"/>
                <a:gd name="connsiteY1662" fmla="*/ 131378 h 807349"/>
                <a:gd name="connsiteX1663" fmla="*/ 531010 w 900155"/>
                <a:gd name="connsiteY1663" fmla="*/ 131335 h 807349"/>
                <a:gd name="connsiteX1664" fmla="*/ 532767 w 900155"/>
                <a:gd name="connsiteY1664" fmla="*/ 131017 h 807349"/>
                <a:gd name="connsiteX1665" fmla="*/ 534707 w 900155"/>
                <a:gd name="connsiteY1665" fmla="*/ 132445 h 807349"/>
                <a:gd name="connsiteX1666" fmla="*/ 536456 w 900155"/>
                <a:gd name="connsiteY1666" fmla="*/ 133370 h 807349"/>
                <a:gd name="connsiteX1667" fmla="*/ 539338 w 900155"/>
                <a:gd name="connsiteY1667" fmla="*/ 135279 h 807349"/>
                <a:gd name="connsiteX1668" fmla="*/ 544359 w 900155"/>
                <a:gd name="connsiteY1668" fmla="*/ 137565 h 807349"/>
                <a:gd name="connsiteX1669" fmla="*/ 548280 w 900155"/>
                <a:gd name="connsiteY1669" fmla="*/ 139061 h 807349"/>
                <a:gd name="connsiteX1670" fmla="*/ 552906 w 900155"/>
                <a:gd name="connsiteY1670" fmla="*/ 144590 h 807349"/>
                <a:gd name="connsiteX1671" fmla="*/ 556415 w 900155"/>
                <a:gd name="connsiteY1671" fmla="*/ 147780 h 807349"/>
                <a:gd name="connsiteX1672" fmla="*/ 560250 w 900155"/>
                <a:gd name="connsiteY1672" fmla="*/ 150083 h 807349"/>
                <a:gd name="connsiteX1673" fmla="*/ 566013 w 900155"/>
                <a:gd name="connsiteY1673" fmla="*/ 151701 h 807349"/>
                <a:gd name="connsiteX1674" fmla="*/ 568667 w 900155"/>
                <a:gd name="connsiteY1674" fmla="*/ 151435 h 807349"/>
                <a:gd name="connsiteX1675" fmla="*/ 572971 w 900155"/>
                <a:gd name="connsiteY1675" fmla="*/ 153318 h 807349"/>
                <a:gd name="connsiteX1676" fmla="*/ 577162 w 900155"/>
                <a:gd name="connsiteY1676" fmla="*/ 154197 h 807349"/>
                <a:gd name="connsiteX1677" fmla="*/ 579385 w 900155"/>
                <a:gd name="connsiteY1677" fmla="*/ 156807 h 807349"/>
                <a:gd name="connsiteX1678" fmla="*/ 580140 w 900155"/>
                <a:gd name="connsiteY1678" fmla="*/ 158787 h 807349"/>
                <a:gd name="connsiteX1679" fmla="*/ 580352 w 900155"/>
                <a:gd name="connsiteY1679" fmla="*/ 160306 h 807349"/>
                <a:gd name="connsiteX1680" fmla="*/ 582438 w 900155"/>
                <a:gd name="connsiteY1680" fmla="*/ 163968 h 807349"/>
                <a:gd name="connsiteX1681" fmla="*/ 586685 w 900155"/>
                <a:gd name="connsiteY1681" fmla="*/ 165151 h 807349"/>
                <a:gd name="connsiteX1682" fmla="*/ 592194 w 900155"/>
                <a:gd name="connsiteY1682" fmla="*/ 168800 h 807349"/>
                <a:gd name="connsiteX1683" fmla="*/ 596724 w 900155"/>
                <a:gd name="connsiteY1683" fmla="*/ 170410 h 807349"/>
                <a:gd name="connsiteX1684" fmla="*/ 597863 w 900155"/>
                <a:gd name="connsiteY1684" fmla="*/ 171374 h 807349"/>
                <a:gd name="connsiteX1685" fmla="*/ 599849 w 900155"/>
                <a:gd name="connsiteY1685" fmla="*/ 172492 h 807349"/>
                <a:gd name="connsiteX1686" fmla="*/ 603692 w 900155"/>
                <a:gd name="connsiteY1686" fmla="*/ 172532 h 807349"/>
                <a:gd name="connsiteX1687" fmla="*/ 610359 w 900155"/>
                <a:gd name="connsiteY1687" fmla="*/ 170710 h 807349"/>
                <a:gd name="connsiteX1688" fmla="*/ 613395 w 900155"/>
                <a:gd name="connsiteY1688" fmla="*/ 168869 h 807349"/>
                <a:gd name="connsiteX1689" fmla="*/ 617420 w 900155"/>
                <a:gd name="connsiteY1689" fmla="*/ 165923 h 807349"/>
                <a:gd name="connsiteX1690" fmla="*/ 619307 w 900155"/>
                <a:gd name="connsiteY1690" fmla="*/ 160870 h 807349"/>
                <a:gd name="connsiteX1691" fmla="*/ 620417 w 900155"/>
                <a:gd name="connsiteY1691" fmla="*/ 156819 h 807349"/>
                <a:gd name="connsiteX1692" fmla="*/ 626014 w 900155"/>
                <a:gd name="connsiteY1692" fmla="*/ 148443 h 807349"/>
                <a:gd name="connsiteX1693" fmla="*/ 627612 w 900155"/>
                <a:gd name="connsiteY1693" fmla="*/ 144293 h 807349"/>
                <a:gd name="connsiteX1694" fmla="*/ 629033 w 900155"/>
                <a:gd name="connsiteY1694" fmla="*/ 138790 h 807349"/>
                <a:gd name="connsiteX1695" fmla="*/ 630277 w 900155"/>
                <a:gd name="connsiteY1695" fmla="*/ 135352 h 807349"/>
                <a:gd name="connsiteX1696" fmla="*/ 629862 w 900155"/>
                <a:gd name="connsiteY1696" fmla="*/ 131614 h 807349"/>
                <a:gd name="connsiteX1697" fmla="*/ 631154 w 900155"/>
                <a:gd name="connsiteY1697" fmla="*/ 124830 h 807349"/>
                <a:gd name="connsiteX1698" fmla="*/ 634026 w 900155"/>
                <a:gd name="connsiteY1698" fmla="*/ 115553 h 807349"/>
                <a:gd name="connsiteX1699" fmla="*/ 634999 w 900155"/>
                <a:gd name="connsiteY1699" fmla="*/ 112415 h 807349"/>
                <a:gd name="connsiteX1700" fmla="*/ 634513 w 900155"/>
                <a:gd name="connsiteY1700" fmla="*/ 107807 h 807349"/>
                <a:gd name="connsiteX1701" fmla="*/ 632733 w 900155"/>
                <a:gd name="connsiteY1701" fmla="*/ 99166 h 807349"/>
                <a:gd name="connsiteX1702" fmla="*/ 633529 w 900155"/>
                <a:gd name="connsiteY1702" fmla="*/ 96182 h 807349"/>
                <a:gd name="connsiteX1703" fmla="*/ 634311 w 900155"/>
                <a:gd name="connsiteY1703" fmla="*/ 92007 h 807349"/>
                <a:gd name="connsiteX1704" fmla="*/ 633009 w 900155"/>
                <a:gd name="connsiteY1704" fmla="*/ 88982 h 807349"/>
                <a:gd name="connsiteX1705" fmla="*/ 631797 w 900155"/>
                <a:gd name="connsiteY1705" fmla="*/ 86910 h 807349"/>
                <a:gd name="connsiteX1706" fmla="*/ 631618 w 900155"/>
                <a:gd name="connsiteY1706" fmla="*/ 83999 h 807349"/>
                <a:gd name="connsiteX1707" fmla="*/ 632981 w 900155"/>
                <a:gd name="connsiteY1707" fmla="*/ 78510 h 807349"/>
                <a:gd name="connsiteX1708" fmla="*/ 634188 w 900155"/>
                <a:gd name="connsiteY1708" fmla="*/ 75612 h 807349"/>
                <a:gd name="connsiteX1709" fmla="*/ 635440 w 900155"/>
                <a:gd name="connsiteY1709" fmla="*/ 71877 h 807349"/>
                <a:gd name="connsiteX1710" fmla="*/ 634736 w 900155"/>
                <a:gd name="connsiteY1710" fmla="*/ 64779 h 807349"/>
                <a:gd name="connsiteX1711" fmla="*/ 637411 w 900155"/>
                <a:gd name="connsiteY1711" fmla="*/ 62308 h 807349"/>
                <a:gd name="connsiteX1712" fmla="*/ 638466 w 900155"/>
                <a:gd name="connsiteY1712" fmla="*/ 61077 h 807349"/>
                <a:gd name="connsiteX1713" fmla="*/ 640534 w 900155"/>
                <a:gd name="connsiteY1713" fmla="*/ 61066 h 807349"/>
                <a:gd name="connsiteX1714" fmla="*/ 641519 w 900155"/>
                <a:gd name="connsiteY1714" fmla="*/ 61621 h 807349"/>
                <a:gd name="connsiteX1715" fmla="*/ 641728 w 900155"/>
                <a:gd name="connsiteY1715" fmla="*/ 60204 h 807349"/>
                <a:gd name="connsiteX1716" fmla="*/ 640912 w 900155"/>
                <a:gd name="connsiteY1716" fmla="*/ 58889 h 807349"/>
                <a:gd name="connsiteX1717" fmla="*/ 640590 w 900155"/>
                <a:gd name="connsiteY1717" fmla="*/ 57361 h 807349"/>
                <a:gd name="connsiteX1718" fmla="*/ 640011 w 900155"/>
                <a:gd name="connsiteY1718" fmla="*/ 56584 h 807349"/>
                <a:gd name="connsiteX1719" fmla="*/ 638737 w 900155"/>
                <a:gd name="connsiteY1719" fmla="*/ 56312 h 807349"/>
                <a:gd name="connsiteX1720" fmla="*/ 637679 w 900155"/>
                <a:gd name="connsiteY1720" fmla="*/ 55477 h 807349"/>
                <a:gd name="connsiteX1721" fmla="*/ 636155 w 900155"/>
                <a:gd name="connsiteY1721" fmla="*/ 54624 h 807349"/>
                <a:gd name="connsiteX1722" fmla="*/ 636394 w 900155"/>
                <a:gd name="connsiteY1722" fmla="*/ 51474 h 807349"/>
                <a:gd name="connsiteX1723" fmla="*/ 638986 w 900155"/>
                <a:gd name="connsiteY1723" fmla="*/ 45393 h 807349"/>
                <a:gd name="connsiteX1724" fmla="*/ 640417 w 900155"/>
                <a:gd name="connsiteY1724" fmla="*/ 43050 h 807349"/>
                <a:gd name="connsiteX1725" fmla="*/ 641357 w 900155"/>
                <a:gd name="connsiteY1725" fmla="*/ 44028 h 807349"/>
                <a:gd name="connsiteX1726" fmla="*/ 642421 w 900155"/>
                <a:gd name="connsiteY1726" fmla="*/ 44815 h 807349"/>
                <a:gd name="connsiteX1727" fmla="*/ 642568 w 900155"/>
                <a:gd name="connsiteY1727" fmla="*/ 43065 h 807349"/>
                <a:gd name="connsiteX1728" fmla="*/ 642210 w 900155"/>
                <a:gd name="connsiteY1728" fmla="*/ 41269 h 807349"/>
                <a:gd name="connsiteX1729" fmla="*/ 644177 w 900155"/>
                <a:gd name="connsiteY1729" fmla="*/ 35342 h 807349"/>
                <a:gd name="connsiteX1730" fmla="*/ 646353 w 900155"/>
                <a:gd name="connsiteY1730" fmla="*/ 27312 h 807349"/>
                <a:gd name="connsiteX1731" fmla="*/ 647004 w 900155"/>
                <a:gd name="connsiteY1731" fmla="*/ 20001 h 807349"/>
                <a:gd name="connsiteX1732" fmla="*/ 650500 w 900155"/>
                <a:gd name="connsiteY1732" fmla="*/ 18605 h 807349"/>
                <a:gd name="connsiteX1733" fmla="*/ 652276 w 900155"/>
                <a:gd name="connsiteY1733" fmla="*/ 16773 h 807349"/>
                <a:gd name="connsiteX1734" fmla="*/ 647658 w 900155"/>
                <a:gd name="connsiteY1734" fmla="*/ 12071 h 807349"/>
                <a:gd name="connsiteX1735" fmla="*/ 649357 w 900155"/>
                <a:gd name="connsiteY1735" fmla="*/ 14593 h 807349"/>
                <a:gd name="connsiteX1736" fmla="*/ 647513 w 900155"/>
                <a:gd name="connsiteY1736" fmla="*/ 15873 h 807349"/>
                <a:gd name="connsiteX1737" fmla="*/ 646315 w 900155"/>
                <a:gd name="connsiteY1737" fmla="*/ 15200 h 807349"/>
                <a:gd name="connsiteX1738" fmla="*/ 646056 w 900155"/>
                <a:gd name="connsiteY1738" fmla="*/ 13780 h 807349"/>
                <a:gd name="connsiteX1739" fmla="*/ 646179 w 900155"/>
                <a:gd name="connsiteY1739" fmla="*/ 13158 h 807349"/>
                <a:gd name="connsiteX1740" fmla="*/ 649887 w 900155"/>
                <a:gd name="connsiteY1740" fmla="*/ 1980 h 807349"/>
                <a:gd name="connsiteX1741" fmla="*/ 650776 w 900155"/>
                <a:gd name="connsiteY1741" fmla="*/ 3137 h 807349"/>
                <a:gd name="connsiteX1742" fmla="*/ 649459 w 900155"/>
                <a:gd name="connsiteY1742" fmla="*/ 4522 h 807349"/>
                <a:gd name="connsiteX1743" fmla="*/ 648062 w 900155"/>
                <a:gd name="connsiteY1743" fmla="*/ 4107 h 807349"/>
                <a:gd name="connsiteX1744" fmla="*/ 647595 w 900155"/>
                <a:gd name="connsiteY1744" fmla="*/ 3296 h 807349"/>
                <a:gd name="connsiteX1745" fmla="*/ 648118 w 900155"/>
                <a:gd name="connsiteY1745" fmla="*/ 2181 h 807349"/>
                <a:gd name="connsiteX1746" fmla="*/ 646572 w 900155"/>
                <a:gd name="connsiteY1746" fmla="*/ 0 h 807349"/>
                <a:gd name="connsiteX1747" fmla="*/ 647526 w 900155"/>
                <a:gd name="connsiteY1747" fmla="*/ 748 h 807349"/>
                <a:gd name="connsiteX1748" fmla="*/ 646986 w 900155"/>
                <a:gd name="connsiteY1748" fmla="*/ 2286 h 807349"/>
                <a:gd name="connsiteX1749" fmla="*/ 646421 w 900155"/>
                <a:gd name="connsiteY1749" fmla="*/ 2892 h 807349"/>
                <a:gd name="connsiteX1750" fmla="*/ 645440 w 900155"/>
                <a:gd name="connsiteY1750" fmla="*/ 1564 h 807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</a:cxnLst>
              <a:rect l="l" t="t" r="r" b="b"/>
              <a:pathLst>
                <a:path w="900155" h="807349">
                  <a:moveTo>
                    <a:pt x="760119" y="798187"/>
                  </a:moveTo>
                  <a:lnTo>
                    <a:pt x="760751" y="798224"/>
                  </a:lnTo>
                  <a:lnTo>
                    <a:pt x="761414" y="799998"/>
                  </a:lnTo>
                  <a:lnTo>
                    <a:pt x="761714" y="801361"/>
                  </a:lnTo>
                  <a:lnTo>
                    <a:pt x="760671" y="804155"/>
                  </a:lnTo>
                  <a:lnTo>
                    <a:pt x="758959" y="803680"/>
                  </a:lnTo>
                  <a:lnTo>
                    <a:pt x="757242" y="804140"/>
                  </a:lnTo>
                  <a:lnTo>
                    <a:pt x="756162" y="802281"/>
                  </a:lnTo>
                  <a:lnTo>
                    <a:pt x="756156" y="801790"/>
                  </a:lnTo>
                  <a:lnTo>
                    <a:pt x="757447" y="802258"/>
                  </a:lnTo>
                  <a:lnTo>
                    <a:pt x="757924" y="801653"/>
                  </a:lnTo>
                  <a:lnTo>
                    <a:pt x="758230" y="800883"/>
                  </a:lnTo>
                  <a:lnTo>
                    <a:pt x="758700" y="800673"/>
                  </a:lnTo>
                  <a:lnTo>
                    <a:pt x="759015" y="799573"/>
                  </a:lnTo>
                  <a:close/>
                  <a:moveTo>
                    <a:pt x="761636" y="792855"/>
                  </a:moveTo>
                  <a:lnTo>
                    <a:pt x="762625" y="793874"/>
                  </a:lnTo>
                  <a:lnTo>
                    <a:pt x="763450" y="797161"/>
                  </a:lnTo>
                  <a:lnTo>
                    <a:pt x="762064" y="797164"/>
                  </a:lnTo>
                  <a:lnTo>
                    <a:pt x="761555" y="796938"/>
                  </a:lnTo>
                  <a:lnTo>
                    <a:pt x="761306" y="795619"/>
                  </a:lnTo>
                  <a:lnTo>
                    <a:pt x="760388" y="795040"/>
                  </a:lnTo>
                  <a:lnTo>
                    <a:pt x="760898" y="794599"/>
                  </a:lnTo>
                  <a:lnTo>
                    <a:pt x="761080" y="793777"/>
                  </a:lnTo>
                  <a:close/>
                  <a:moveTo>
                    <a:pt x="777558" y="779821"/>
                  </a:moveTo>
                  <a:lnTo>
                    <a:pt x="779110" y="780428"/>
                  </a:lnTo>
                  <a:lnTo>
                    <a:pt x="779702" y="781386"/>
                  </a:lnTo>
                  <a:lnTo>
                    <a:pt x="778178" y="782155"/>
                  </a:lnTo>
                  <a:lnTo>
                    <a:pt x="778259" y="782954"/>
                  </a:lnTo>
                  <a:lnTo>
                    <a:pt x="777018" y="783189"/>
                  </a:lnTo>
                  <a:lnTo>
                    <a:pt x="776610" y="783071"/>
                  </a:lnTo>
                  <a:lnTo>
                    <a:pt x="776635" y="781696"/>
                  </a:lnTo>
                  <a:lnTo>
                    <a:pt x="776456" y="781083"/>
                  </a:lnTo>
                  <a:close/>
                  <a:moveTo>
                    <a:pt x="703393" y="728995"/>
                  </a:moveTo>
                  <a:lnTo>
                    <a:pt x="705605" y="730292"/>
                  </a:lnTo>
                  <a:lnTo>
                    <a:pt x="710567" y="731999"/>
                  </a:lnTo>
                  <a:lnTo>
                    <a:pt x="713126" y="732101"/>
                  </a:lnTo>
                  <a:lnTo>
                    <a:pt x="714577" y="731432"/>
                  </a:lnTo>
                  <a:lnTo>
                    <a:pt x="715875" y="731558"/>
                  </a:lnTo>
                  <a:lnTo>
                    <a:pt x="717344" y="733040"/>
                  </a:lnTo>
                  <a:lnTo>
                    <a:pt x="719112" y="733876"/>
                  </a:lnTo>
                  <a:lnTo>
                    <a:pt x="720344" y="733723"/>
                  </a:lnTo>
                  <a:lnTo>
                    <a:pt x="721414" y="734028"/>
                  </a:lnTo>
                  <a:lnTo>
                    <a:pt x="722364" y="735083"/>
                  </a:lnTo>
                  <a:lnTo>
                    <a:pt x="724787" y="736001"/>
                  </a:lnTo>
                  <a:lnTo>
                    <a:pt x="725842" y="736605"/>
                  </a:lnTo>
                  <a:lnTo>
                    <a:pt x="726762" y="737530"/>
                  </a:lnTo>
                  <a:lnTo>
                    <a:pt x="727782" y="738251"/>
                  </a:lnTo>
                  <a:lnTo>
                    <a:pt x="734187" y="740712"/>
                  </a:lnTo>
                  <a:lnTo>
                    <a:pt x="738749" y="741908"/>
                  </a:lnTo>
                  <a:lnTo>
                    <a:pt x="744430" y="741352"/>
                  </a:lnTo>
                  <a:lnTo>
                    <a:pt x="746115" y="740663"/>
                  </a:lnTo>
                  <a:lnTo>
                    <a:pt x="747726" y="739657"/>
                  </a:lnTo>
                  <a:lnTo>
                    <a:pt x="749110" y="740596"/>
                  </a:lnTo>
                  <a:lnTo>
                    <a:pt x="750484" y="742029"/>
                  </a:lnTo>
                  <a:lnTo>
                    <a:pt x="750215" y="740483"/>
                  </a:lnTo>
                  <a:lnTo>
                    <a:pt x="750671" y="739138"/>
                  </a:lnTo>
                  <a:lnTo>
                    <a:pt x="752059" y="738072"/>
                  </a:lnTo>
                  <a:lnTo>
                    <a:pt x="753617" y="737404"/>
                  </a:lnTo>
                  <a:lnTo>
                    <a:pt x="756180" y="737453"/>
                  </a:lnTo>
                  <a:lnTo>
                    <a:pt x="758680" y="737167"/>
                  </a:lnTo>
                  <a:lnTo>
                    <a:pt x="759788" y="736546"/>
                  </a:lnTo>
                  <a:lnTo>
                    <a:pt x="760929" y="736458"/>
                  </a:lnTo>
                  <a:lnTo>
                    <a:pt x="762414" y="737224"/>
                  </a:lnTo>
                  <a:lnTo>
                    <a:pt x="763897" y="737648"/>
                  </a:lnTo>
                  <a:lnTo>
                    <a:pt x="764914" y="736662"/>
                  </a:lnTo>
                  <a:lnTo>
                    <a:pt x="766651" y="734333"/>
                  </a:lnTo>
                  <a:lnTo>
                    <a:pt x="767588" y="733522"/>
                  </a:lnTo>
                  <a:lnTo>
                    <a:pt x="771922" y="734230"/>
                  </a:lnTo>
                  <a:lnTo>
                    <a:pt x="773144" y="734254"/>
                  </a:lnTo>
                  <a:lnTo>
                    <a:pt x="775263" y="731812"/>
                  </a:lnTo>
                  <a:lnTo>
                    <a:pt x="776679" y="731847"/>
                  </a:lnTo>
                  <a:lnTo>
                    <a:pt x="780713" y="733789"/>
                  </a:lnTo>
                  <a:lnTo>
                    <a:pt x="782430" y="736212"/>
                  </a:lnTo>
                  <a:lnTo>
                    <a:pt x="782265" y="740640"/>
                  </a:lnTo>
                  <a:lnTo>
                    <a:pt x="782401" y="742201"/>
                  </a:lnTo>
                  <a:lnTo>
                    <a:pt x="782725" y="743742"/>
                  </a:lnTo>
                  <a:lnTo>
                    <a:pt x="782858" y="746818"/>
                  </a:lnTo>
                  <a:lnTo>
                    <a:pt x="782362" y="749863"/>
                  </a:lnTo>
                  <a:lnTo>
                    <a:pt x="782298" y="752240"/>
                  </a:lnTo>
                  <a:lnTo>
                    <a:pt x="782512" y="754653"/>
                  </a:lnTo>
                  <a:lnTo>
                    <a:pt x="782313" y="759142"/>
                  </a:lnTo>
                  <a:lnTo>
                    <a:pt x="782934" y="762112"/>
                  </a:lnTo>
                  <a:lnTo>
                    <a:pt x="782624" y="764142"/>
                  </a:lnTo>
                  <a:lnTo>
                    <a:pt x="782620" y="765091"/>
                  </a:lnTo>
                  <a:lnTo>
                    <a:pt x="783207" y="765988"/>
                  </a:lnTo>
                  <a:lnTo>
                    <a:pt x="783489" y="766982"/>
                  </a:lnTo>
                  <a:lnTo>
                    <a:pt x="783274" y="768259"/>
                  </a:lnTo>
                  <a:lnTo>
                    <a:pt x="783528" y="769753"/>
                  </a:lnTo>
                  <a:lnTo>
                    <a:pt x="783278" y="770984"/>
                  </a:lnTo>
                  <a:lnTo>
                    <a:pt x="782373" y="770808"/>
                  </a:lnTo>
                  <a:lnTo>
                    <a:pt x="782077" y="769861"/>
                  </a:lnTo>
                  <a:lnTo>
                    <a:pt x="782246" y="768638"/>
                  </a:lnTo>
                  <a:lnTo>
                    <a:pt x="782082" y="767654"/>
                  </a:lnTo>
                  <a:lnTo>
                    <a:pt x="781609" y="766756"/>
                  </a:lnTo>
                  <a:lnTo>
                    <a:pt x="780002" y="765750"/>
                  </a:lnTo>
                  <a:lnTo>
                    <a:pt x="780473" y="765145"/>
                  </a:lnTo>
                  <a:lnTo>
                    <a:pt x="781296" y="764611"/>
                  </a:lnTo>
                  <a:lnTo>
                    <a:pt x="780678" y="763234"/>
                  </a:lnTo>
                  <a:lnTo>
                    <a:pt x="779650" y="764357"/>
                  </a:lnTo>
                  <a:lnTo>
                    <a:pt x="779076" y="765885"/>
                  </a:lnTo>
                  <a:lnTo>
                    <a:pt x="779409" y="766375"/>
                  </a:lnTo>
                  <a:lnTo>
                    <a:pt x="778773" y="766785"/>
                  </a:lnTo>
                  <a:lnTo>
                    <a:pt x="777426" y="768555"/>
                  </a:lnTo>
                  <a:lnTo>
                    <a:pt x="776456" y="770927"/>
                  </a:lnTo>
                  <a:lnTo>
                    <a:pt x="776061" y="773207"/>
                  </a:lnTo>
                  <a:lnTo>
                    <a:pt x="776160" y="775627"/>
                  </a:lnTo>
                  <a:lnTo>
                    <a:pt x="775368" y="777491"/>
                  </a:lnTo>
                  <a:lnTo>
                    <a:pt x="774282" y="779268"/>
                  </a:lnTo>
                  <a:lnTo>
                    <a:pt x="774010" y="781566"/>
                  </a:lnTo>
                  <a:lnTo>
                    <a:pt x="774075" y="785787"/>
                  </a:lnTo>
                  <a:lnTo>
                    <a:pt x="775018" y="789643"/>
                  </a:lnTo>
                  <a:lnTo>
                    <a:pt x="775530" y="794914"/>
                  </a:lnTo>
                  <a:lnTo>
                    <a:pt x="774746" y="795580"/>
                  </a:lnTo>
                  <a:lnTo>
                    <a:pt x="772384" y="795937"/>
                  </a:lnTo>
                  <a:lnTo>
                    <a:pt x="771218" y="796605"/>
                  </a:lnTo>
                  <a:lnTo>
                    <a:pt x="769296" y="793989"/>
                  </a:lnTo>
                  <a:lnTo>
                    <a:pt x="768168" y="791255"/>
                  </a:lnTo>
                  <a:lnTo>
                    <a:pt x="769039" y="790164"/>
                  </a:lnTo>
                  <a:lnTo>
                    <a:pt x="770954" y="790794"/>
                  </a:lnTo>
                  <a:lnTo>
                    <a:pt x="771540" y="790174"/>
                  </a:lnTo>
                  <a:lnTo>
                    <a:pt x="771695" y="789473"/>
                  </a:lnTo>
                  <a:lnTo>
                    <a:pt x="771531" y="788777"/>
                  </a:lnTo>
                  <a:lnTo>
                    <a:pt x="769175" y="787274"/>
                  </a:lnTo>
                  <a:lnTo>
                    <a:pt x="766530" y="786571"/>
                  </a:lnTo>
                  <a:lnTo>
                    <a:pt x="765690" y="787436"/>
                  </a:lnTo>
                  <a:lnTo>
                    <a:pt x="765981" y="790020"/>
                  </a:lnTo>
                  <a:lnTo>
                    <a:pt x="765709" y="790608"/>
                  </a:lnTo>
                  <a:lnTo>
                    <a:pt x="763844" y="791598"/>
                  </a:lnTo>
                  <a:lnTo>
                    <a:pt x="762863" y="787859"/>
                  </a:lnTo>
                  <a:lnTo>
                    <a:pt x="760429" y="785105"/>
                  </a:lnTo>
                  <a:lnTo>
                    <a:pt x="760518" y="786432"/>
                  </a:lnTo>
                  <a:lnTo>
                    <a:pt x="761529" y="788735"/>
                  </a:lnTo>
                  <a:lnTo>
                    <a:pt x="761419" y="789750"/>
                  </a:lnTo>
                  <a:lnTo>
                    <a:pt x="761028" y="791064"/>
                  </a:lnTo>
                  <a:lnTo>
                    <a:pt x="760050" y="791553"/>
                  </a:lnTo>
                  <a:lnTo>
                    <a:pt x="759585" y="792609"/>
                  </a:lnTo>
                  <a:lnTo>
                    <a:pt x="759585" y="794094"/>
                  </a:lnTo>
                  <a:lnTo>
                    <a:pt x="759259" y="796495"/>
                  </a:lnTo>
                  <a:lnTo>
                    <a:pt x="757663" y="797568"/>
                  </a:lnTo>
                  <a:lnTo>
                    <a:pt x="753775" y="794896"/>
                  </a:lnTo>
                  <a:lnTo>
                    <a:pt x="753507" y="795795"/>
                  </a:lnTo>
                  <a:lnTo>
                    <a:pt x="753565" y="796571"/>
                  </a:lnTo>
                  <a:lnTo>
                    <a:pt x="755551" y="798105"/>
                  </a:lnTo>
                  <a:lnTo>
                    <a:pt x="754636" y="799266"/>
                  </a:lnTo>
                  <a:lnTo>
                    <a:pt x="753945" y="800626"/>
                  </a:lnTo>
                  <a:lnTo>
                    <a:pt x="752839" y="804200"/>
                  </a:lnTo>
                  <a:lnTo>
                    <a:pt x="751053" y="807165"/>
                  </a:lnTo>
                  <a:lnTo>
                    <a:pt x="750177" y="807349"/>
                  </a:lnTo>
                  <a:lnTo>
                    <a:pt x="747190" y="806881"/>
                  </a:lnTo>
                  <a:lnTo>
                    <a:pt x="743858" y="804374"/>
                  </a:lnTo>
                  <a:lnTo>
                    <a:pt x="740866" y="804660"/>
                  </a:lnTo>
                  <a:lnTo>
                    <a:pt x="735858" y="804479"/>
                  </a:lnTo>
                  <a:lnTo>
                    <a:pt x="732684" y="805405"/>
                  </a:lnTo>
                  <a:lnTo>
                    <a:pt x="732019" y="802649"/>
                  </a:lnTo>
                  <a:lnTo>
                    <a:pt x="731325" y="801669"/>
                  </a:lnTo>
                  <a:lnTo>
                    <a:pt x="731606" y="800799"/>
                  </a:lnTo>
                  <a:lnTo>
                    <a:pt x="734135" y="800216"/>
                  </a:lnTo>
                  <a:lnTo>
                    <a:pt x="736735" y="800240"/>
                  </a:lnTo>
                  <a:lnTo>
                    <a:pt x="736329" y="799189"/>
                  </a:lnTo>
                  <a:lnTo>
                    <a:pt x="735631" y="798801"/>
                  </a:lnTo>
                  <a:lnTo>
                    <a:pt x="734495" y="799056"/>
                  </a:lnTo>
                  <a:lnTo>
                    <a:pt x="731183" y="798140"/>
                  </a:lnTo>
                  <a:lnTo>
                    <a:pt x="728927" y="798549"/>
                  </a:lnTo>
                  <a:lnTo>
                    <a:pt x="727367" y="797250"/>
                  </a:lnTo>
                  <a:lnTo>
                    <a:pt x="724687" y="792740"/>
                  </a:lnTo>
                  <a:lnTo>
                    <a:pt x="723105" y="790656"/>
                  </a:lnTo>
                  <a:lnTo>
                    <a:pt x="722163" y="789844"/>
                  </a:lnTo>
                  <a:lnTo>
                    <a:pt x="721062" y="789400"/>
                  </a:lnTo>
                  <a:lnTo>
                    <a:pt x="720399" y="788738"/>
                  </a:lnTo>
                  <a:lnTo>
                    <a:pt x="715546" y="778518"/>
                  </a:lnTo>
                  <a:lnTo>
                    <a:pt x="714860" y="776150"/>
                  </a:lnTo>
                  <a:lnTo>
                    <a:pt x="714014" y="770165"/>
                  </a:lnTo>
                  <a:lnTo>
                    <a:pt x="717864" y="773030"/>
                  </a:lnTo>
                  <a:lnTo>
                    <a:pt x="719233" y="774843"/>
                  </a:lnTo>
                  <a:lnTo>
                    <a:pt x="719971" y="777145"/>
                  </a:lnTo>
                  <a:lnTo>
                    <a:pt x="721275" y="774354"/>
                  </a:lnTo>
                  <a:lnTo>
                    <a:pt x="721040" y="773457"/>
                  </a:lnTo>
                  <a:lnTo>
                    <a:pt x="717585" y="770077"/>
                  </a:lnTo>
                  <a:lnTo>
                    <a:pt x="717127" y="769098"/>
                  </a:lnTo>
                  <a:lnTo>
                    <a:pt x="716938" y="767937"/>
                  </a:lnTo>
                  <a:lnTo>
                    <a:pt x="716127" y="769106"/>
                  </a:lnTo>
                  <a:lnTo>
                    <a:pt x="714811" y="769264"/>
                  </a:lnTo>
                  <a:lnTo>
                    <a:pt x="715344" y="766881"/>
                  </a:lnTo>
                  <a:lnTo>
                    <a:pt x="714884" y="764551"/>
                  </a:lnTo>
                  <a:lnTo>
                    <a:pt x="710842" y="759435"/>
                  </a:lnTo>
                  <a:lnTo>
                    <a:pt x="707749" y="754596"/>
                  </a:lnTo>
                  <a:lnTo>
                    <a:pt x="704706" y="748643"/>
                  </a:lnTo>
                  <a:lnTo>
                    <a:pt x="704445" y="747883"/>
                  </a:lnTo>
                  <a:lnTo>
                    <a:pt x="704406" y="746602"/>
                  </a:lnTo>
                  <a:lnTo>
                    <a:pt x="702934" y="742626"/>
                  </a:lnTo>
                  <a:lnTo>
                    <a:pt x="702152" y="739681"/>
                  </a:lnTo>
                  <a:lnTo>
                    <a:pt x="701791" y="737101"/>
                  </a:lnTo>
                  <a:lnTo>
                    <a:pt x="703197" y="731899"/>
                  </a:lnTo>
                  <a:close/>
                  <a:moveTo>
                    <a:pt x="780224" y="724562"/>
                  </a:moveTo>
                  <a:lnTo>
                    <a:pt x="780782" y="724613"/>
                  </a:lnTo>
                  <a:lnTo>
                    <a:pt x="781192" y="724877"/>
                  </a:lnTo>
                  <a:lnTo>
                    <a:pt x="780106" y="726906"/>
                  </a:lnTo>
                  <a:lnTo>
                    <a:pt x="778761" y="725632"/>
                  </a:lnTo>
                  <a:lnTo>
                    <a:pt x="778547" y="725043"/>
                  </a:lnTo>
                  <a:close/>
                  <a:moveTo>
                    <a:pt x="704827" y="722775"/>
                  </a:moveTo>
                  <a:lnTo>
                    <a:pt x="704992" y="722918"/>
                  </a:lnTo>
                  <a:lnTo>
                    <a:pt x="704849" y="724657"/>
                  </a:lnTo>
                  <a:lnTo>
                    <a:pt x="704046" y="726824"/>
                  </a:lnTo>
                  <a:lnTo>
                    <a:pt x="703208" y="724094"/>
                  </a:lnTo>
                  <a:lnTo>
                    <a:pt x="704115" y="723700"/>
                  </a:lnTo>
                  <a:close/>
                  <a:moveTo>
                    <a:pt x="783168" y="719428"/>
                  </a:moveTo>
                  <a:lnTo>
                    <a:pt x="785256" y="721004"/>
                  </a:lnTo>
                  <a:lnTo>
                    <a:pt x="786439" y="722711"/>
                  </a:lnTo>
                  <a:lnTo>
                    <a:pt x="784887" y="724127"/>
                  </a:lnTo>
                  <a:lnTo>
                    <a:pt x="783753" y="724409"/>
                  </a:lnTo>
                  <a:lnTo>
                    <a:pt x="783016" y="722767"/>
                  </a:lnTo>
                  <a:lnTo>
                    <a:pt x="780687" y="723368"/>
                  </a:lnTo>
                  <a:lnTo>
                    <a:pt x="778221" y="723215"/>
                  </a:lnTo>
                  <a:lnTo>
                    <a:pt x="776398" y="721973"/>
                  </a:lnTo>
                  <a:lnTo>
                    <a:pt x="776184" y="721354"/>
                  </a:lnTo>
                  <a:lnTo>
                    <a:pt x="777253" y="720733"/>
                  </a:lnTo>
                  <a:lnTo>
                    <a:pt x="780335" y="720761"/>
                  </a:lnTo>
                  <a:close/>
                  <a:moveTo>
                    <a:pt x="774472" y="704278"/>
                  </a:moveTo>
                  <a:lnTo>
                    <a:pt x="775962" y="705101"/>
                  </a:lnTo>
                  <a:lnTo>
                    <a:pt x="779888" y="709811"/>
                  </a:lnTo>
                  <a:lnTo>
                    <a:pt x="781924" y="710546"/>
                  </a:lnTo>
                  <a:lnTo>
                    <a:pt x="782529" y="711043"/>
                  </a:lnTo>
                  <a:lnTo>
                    <a:pt x="782362" y="713121"/>
                  </a:lnTo>
                  <a:lnTo>
                    <a:pt x="781499" y="714011"/>
                  </a:lnTo>
                  <a:lnTo>
                    <a:pt x="783101" y="715183"/>
                  </a:lnTo>
                  <a:lnTo>
                    <a:pt x="782887" y="715943"/>
                  </a:lnTo>
                  <a:lnTo>
                    <a:pt x="782574" y="715915"/>
                  </a:lnTo>
                  <a:lnTo>
                    <a:pt x="780605" y="717514"/>
                  </a:lnTo>
                  <a:lnTo>
                    <a:pt x="778290" y="718257"/>
                  </a:lnTo>
                  <a:lnTo>
                    <a:pt x="777582" y="717701"/>
                  </a:lnTo>
                  <a:lnTo>
                    <a:pt x="776990" y="716968"/>
                  </a:lnTo>
                  <a:lnTo>
                    <a:pt x="776502" y="715902"/>
                  </a:lnTo>
                  <a:lnTo>
                    <a:pt x="773533" y="711794"/>
                  </a:lnTo>
                  <a:lnTo>
                    <a:pt x="773874" y="710669"/>
                  </a:lnTo>
                  <a:lnTo>
                    <a:pt x="773218" y="708951"/>
                  </a:lnTo>
                  <a:lnTo>
                    <a:pt x="771803" y="709081"/>
                  </a:lnTo>
                  <a:lnTo>
                    <a:pt x="770806" y="708035"/>
                  </a:lnTo>
                  <a:lnTo>
                    <a:pt x="772397" y="707026"/>
                  </a:lnTo>
                  <a:close/>
                  <a:moveTo>
                    <a:pt x="687522" y="700488"/>
                  </a:moveTo>
                  <a:lnTo>
                    <a:pt x="689524" y="701993"/>
                  </a:lnTo>
                  <a:lnTo>
                    <a:pt x="690178" y="705821"/>
                  </a:lnTo>
                  <a:lnTo>
                    <a:pt x="689850" y="708132"/>
                  </a:lnTo>
                  <a:lnTo>
                    <a:pt x="690623" y="710210"/>
                  </a:lnTo>
                  <a:lnTo>
                    <a:pt x="689979" y="711990"/>
                  </a:lnTo>
                  <a:lnTo>
                    <a:pt x="688280" y="713455"/>
                  </a:lnTo>
                  <a:lnTo>
                    <a:pt x="685911" y="714444"/>
                  </a:lnTo>
                  <a:lnTo>
                    <a:pt x="685266" y="714551"/>
                  </a:lnTo>
                  <a:lnTo>
                    <a:pt x="684758" y="713083"/>
                  </a:lnTo>
                  <a:lnTo>
                    <a:pt x="685019" y="710987"/>
                  </a:lnTo>
                  <a:lnTo>
                    <a:pt x="683936" y="708915"/>
                  </a:lnTo>
                  <a:lnTo>
                    <a:pt x="684525" y="706835"/>
                  </a:lnTo>
                  <a:lnTo>
                    <a:pt x="684450" y="704591"/>
                  </a:lnTo>
                  <a:lnTo>
                    <a:pt x="684838" y="703603"/>
                  </a:lnTo>
                  <a:lnTo>
                    <a:pt x="686164" y="702513"/>
                  </a:lnTo>
                  <a:lnTo>
                    <a:pt x="686373" y="700579"/>
                  </a:lnTo>
                  <a:close/>
                  <a:moveTo>
                    <a:pt x="714432" y="671489"/>
                  </a:moveTo>
                  <a:lnTo>
                    <a:pt x="715983" y="671838"/>
                  </a:lnTo>
                  <a:lnTo>
                    <a:pt x="716570" y="672318"/>
                  </a:lnTo>
                  <a:lnTo>
                    <a:pt x="717339" y="673537"/>
                  </a:lnTo>
                  <a:lnTo>
                    <a:pt x="717468" y="674023"/>
                  </a:lnTo>
                  <a:lnTo>
                    <a:pt x="715607" y="673062"/>
                  </a:lnTo>
                  <a:lnTo>
                    <a:pt x="712456" y="673266"/>
                  </a:lnTo>
                  <a:close/>
                  <a:moveTo>
                    <a:pt x="719049" y="667774"/>
                  </a:moveTo>
                  <a:lnTo>
                    <a:pt x="720375" y="668821"/>
                  </a:lnTo>
                  <a:lnTo>
                    <a:pt x="717044" y="670521"/>
                  </a:lnTo>
                  <a:lnTo>
                    <a:pt x="715814" y="669740"/>
                  </a:lnTo>
                  <a:lnTo>
                    <a:pt x="715938" y="668465"/>
                  </a:lnTo>
                  <a:lnTo>
                    <a:pt x="716147" y="667897"/>
                  </a:lnTo>
                  <a:close/>
                  <a:moveTo>
                    <a:pt x="540107" y="598578"/>
                  </a:moveTo>
                  <a:lnTo>
                    <a:pt x="544450" y="598895"/>
                  </a:lnTo>
                  <a:lnTo>
                    <a:pt x="545655" y="599276"/>
                  </a:lnTo>
                  <a:lnTo>
                    <a:pt x="546771" y="600187"/>
                  </a:lnTo>
                  <a:lnTo>
                    <a:pt x="545946" y="601844"/>
                  </a:lnTo>
                  <a:lnTo>
                    <a:pt x="545910" y="602257"/>
                  </a:lnTo>
                  <a:lnTo>
                    <a:pt x="551204" y="602848"/>
                  </a:lnTo>
                  <a:lnTo>
                    <a:pt x="553260" y="601940"/>
                  </a:lnTo>
                  <a:lnTo>
                    <a:pt x="555862" y="602673"/>
                  </a:lnTo>
                  <a:lnTo>
                    <a:pt x="557562" y="605121"/>
                  </a:lnTo>
                  <a:lnTo>
                    <a:pt x="556302" y="606337"/>
                  </a:lnTo>
                  <a:lnTo>
                    <a:pt x="555096" y="606514"/>
                  </a:lnTo>
                  <a:lnTo>
                    <a:pt x="551196" y="605510"/>
                  </a:lnTo>
                  <a:lnTo>
                    <a:pt x="547556" y="606271"/>
                  </a:lnTo>
                  <a:lnTo>
                    <a:pt x="546480" y="607283"/>
                  </a:lnTo>
                  <a:lnTo>
                    <a:pt x="545772" y="609530"/>
                  </a:lnTo>
                  <a:lnTo>
                    <a:pt x="542637" y="610733"/>
                  </a:lnTo>
                  <a:lnTo>
                    <a:pt x="541172" y="609372"/>
                  </a:lnTo>
                  <a:lnTo>
                    <a:pt x="537354" y="608402"/>
                  </a:lnTo>
                  <a:lnTo>
                    <a:pt x="535987" y="609831"/>
                  </a:lnTo>
                  <a:lnTo>
                    <a:pt x="533292" y="609449"/>
                  </a:lnTo>
                  <a:lnTo>
                    <a:pt x="530789" y="610023"/>
                  </a:lnTo>
                  <a:lnTo>
                    <a:pt x="527305" y="609680"/>
                  </a:lnTo>
                  <a:lnTo>
                    <a:pt x="523638" y="607214"/>
                  </a:lnTo>
                  <a:lnTo>
                    <a:pt x="522563" y="606074"/>
                  </a:lnTo>
                  <a:lnTo>
                    <a:pt x="523413" y="604021"/>
                  </a:lnTo>
                  <a:lnTo>
                    <a:pt x="524731" y="602513"/>
                  </a:lnTo>
                  <a:lnTo>
                    <a:pt x="534750" y="600374"/>
                  </a:lnTo>
                  <a:close/>
                  <a:moveTo>
                    <a:pt x="896143" y="398346"/>
                  </a:moveTo>
                  <a:lnTo>
                    <a:pt x="898054" y="398753"/>
                  </a:lnTo>
                  <a:lnTo>
                    <a:pt x="898427" y="399086"/>
                  </a:lnTo>
                  <a:lnTo>
                    <a:pt x="896525" y="405654"/>
                  </a:lnTo>
                  <a:lnTo>
                    <a:pt x="895946" y="405528"/>
                  </a:lnTo>
                  <a:lnTo>
                    <a:pt x="895266" y="404540"/>
                  </a:lnTo>
                  <a:lnTo>
                    <a:pt x="895379" y="400737"/>
                  </a:lnTo>
                  <a:close/>
                  <a:moveTo>
                    <a:pt x="896074" y="389405"/>
                  </a:moveTo>
                  <a:lnTo>
                    <a:pt x="896836" y="389600"/>
                  </a:lnTo>
                  <a:lnTo>
                    <a:pt x="895941" y="393488"/>
                  </a:lnTo>
                  <a:lnTo>
                    <a:pt x="896298" y="396216"/>
                  </a:lnTo>
                  <a:lnTo>
                    <a:pt x="895821" y="396572"/>
                  </a:lnTo>
                  <a:lnTo>
                    <a:pt x="894841" y="394295"/>
                  </a:lnTo>
                  <a:lnTo>
                    <a:pt x="894586" y="391998"/>
                  </a:lnTo>
                  <a:lnTo>
                    <a:pt x="894914" y="389870"/>
                  </a:lnTo>
                  <a:close/>
                  <a:moveTo>
                    <a:pt x="1641" y="353642"/>
                  </a:moveTo>
                  <a:lnTo>
                    <a:pt x="4159" y="360604"/>
                  </a:lnTo>
                  <a:lnTo>
                    <a:pt x="4938" y="362201"/>
                  </a:lnTo>
                  <a:lnTo>
                    <a:pt x="4945" y="363840"/>
                  </a:lnTo>
                  <a:lnTo>
                    <a:pt x="5310" y="364358"/>
                  </a:lnTo>
                  <a:lnTo>
                    <a:pt x="6076" y="366234"/>
                  </a:lnTo>
                  <a:lnTo>
                    <a:pt x="5489" y="367214"/>
                  </a:lnTo>
                  <a:lnTo>
                    <a:pt x="1239" y="359849"/>
                  </a:lnTo>
                  <a:lnTo>
                    <a:pt x="0" y="354813"/>
                  </a:lnTo>
                  <a:lnTo>
                    <a:pt x="859" y="353910"/>
                  </a:lnTo>
                  <a:close/>
                  <a:moveTo>
                    <a:pt x="892195" y="335010"/>
                  </a:moveTo>
                  <a:lnTo>
                    <a:pt x="892752" y="335230"/>
                  </a:lnTo>
                  <a:lnTo>
                    <a:pt x="893102" y="339390"/>
                  </a:lnTo>
                  <a:lnTo>
                    <a:pt x="894458" y="340861"/>
                  </a:lnTo>
                  <a:lnTo>
                    <a:pt x="894258" y="342870"/>
                  </a:lnTo>
                  <a:lnTo>
                    <a:pt x="889641" y="353467"/>
                  </a:lnTo>
                  <a:lnTo>
                    <a:pt x="888367" y="357473"/>
                  </a:lnTo>
                  <a:lnTo>
                    <a:pt x="888226" y="359086"/>
                  </a:lnTo>
                  <a:lnTo>
                    <a:pt x="887663" y="359736"/>
                  </a:lnTo>
                  <a:lnTo>
                    <a:pt x="886667" y="358569"/>
                  </a:lnTo>
                  <a:lnTo>
                    <a:pt x="885998" y="354377"/>
                  </a:lnTo>
                  <a:lnTo>
                    <a:pt x="886492" y="351949"/>
                  </a:lnTo>
                  <a:lnTo>
                    <a:pt x="887654" y="349729"/>
                  </a:lnTo>
                  <a:lnTo>
                    <a:pt x="887857" y="348503"/>
                  </a:lnTo>
                  <a:lnTo>
                    <a:pt x="887356" y="345932"/>
                  </a:lnTo>
                  <a:lnTo>
                    <a:pt x="890699" y="343044"/>
                  </a:lnTo>
                  <a:lnTo>
                    <a:pt x="891545" y="341521"/>
                  </a:lnTo>
                  <a:lnTo>
                    <a:pt x="891865" y="339563"/>
                  </a:lnTo>
                  <a:lnTo>
                    <a:pt x="890634" y="337448"/>
                  </a:lnTo>
                  <a:lnTo>
                    <a:pt x="889693" y="337030"/>
                  </a:lnTo>
                  <a:lnTo>
                    <a:pt x="890515" y="335855"/>
                  </a:lnTo>
                  <a:lnTo>
                    <a:pt x="891449" y="335260"/>
                  </a:lnTo>
                  <a:close/>
                  <a:moveTo>
                    <a:pt x="843616" y="305298"/>
                  </a:moveTo>
                  <a:lnTo>
                    <a:pt x="845531" y="306005"/>
                  </a:lnTo>
                  <a:lnTo>
                    <a:pt x="846287" y="306598"/>
                  </a:lnTo>
                  <a:lnTo>
                    <a:pt x="846978" y="306525"/>
                  </a:lnTo>
                  <a:lnTo>
                    <a:pt x="847600" y="306913"/>
                  </a:lnTo>
                  <a:lnTo>
                    <a:pt x="847349" y="308437"/>
                  </a:lnTo>
                  <a:lnTo>
                    <a:pt x="848356" y="310156"/>
                  </a:lnTo>
                  <a:lnTo>
                    <a:pt x="848830" y="311368"/>
                  </a:lnTo>
                  <a:lnTo>
                    <a:pt x="848072" y="312350"/>
                  </a:lnTo>
                  <a:lnTo>
                    <a:pt x="847559" y="312665"/>
                  </a:lnTo>
                  <a:lnTo>
                    <a:pt x="846362" y="311845"/>
                  </a:lnTo>
                  <a:lnTo>
                    <a:pt x="843026" y="306924"/>
                  </a:lnTo>
                  <a:close/>
                  <a:moveTo>
                    <a:pt x="830979" y="276195"/>
                  </a:moveTo>
                  <a:lnTo>
                    <a:pt x="831709" y="276603"/>
                  </a:lnTo>
                  <a:lnTo>
                    <a:pt x="832313" y="278429"/>
                  </a:lnTo>
                  <a:lnTo>
                    <a:pt x="831603" y="278792"/>
                  </a:lnTo>
                  <a:lnTo>
                    <a:pt x="830979" y="278842"/>
                  </a:lnTo>
                  <a:lnTo>
                    <a:pt x="830402" y="278447"/>
                  </a:lnTo>
                  <a:lnTo>
                    <a:pt x="830895" y="277521"/>
                  </a:lnTo>
                  <a:close/>
                  <a:moveTo>
                    <a:pt x="818238" y="272434"/>
                  </a:moveTo>
                  <a:lnTo>
                    <a:pt x="818584" y="274769"/>
                  </a:lnTo>
                  <a:lnTo>
                    <a:pt x="818593" y="275784"/>
                  </a:lnTo>
                  <a:lnTo>
                    <a:pt x="817826" y="276485"/>
                  </a:lnTo>
                  <a:lnTo>
                    <a:pt x="817293" y="274794"/>
                  </a:lnTo>
                  <a:lnTo>
                    <a:pt x="817422" y="273021"/>
                  </a:lnTo>
                  <a:close/>
                  <a:moveTo>
                    <a:pt x="55863" y="240492"/>
                  </a:moveTo>
                  <a:lnTo>
                    <a:pt x="56372" y="241607"/>
                  </a:lnTo>
                  <a:lnTo>
                    <a:pt x="56120" y="243257"/>
                  </a:lnTo>
                  <a:lnTo>
                    <a:pt x="54835" y="245062"/>
                  </a:lnTo>
                  <a:lnTo>
                    <a:pt x="53287" y="244706"/>
                  </a:lnTo>
                  <a:lnTo>
                    <a:pt x="53077" y="243795"/>
                  </a:lnTo>
                  <a:lnTo>
                    <a:pt x="54088" y="242299"/>
                  </a:lnTo>
                  <a:close/>
                  <a:moveTo>
                    <a:pt x="797647" y="228638"/>
                  </a:moveTo>
                  <a:lnTo>
                    <a:pt x="798163" y="230203"/>
                  </a:lnTo>
                  <a:lnTo>
                    <a:pt x="799067" y="231494"/>
                  </a:lnTo>
                  <a:lnTo>
                    <a:pt x="799033" y="231816"/>
                  </a:lnTo>
                  <a:lnTo>
                    <a:pt x="798506" y="232069"/>
                  </a:lnTo>
                  <a:lnTo>
                    <a:pt x="797787" y="232052"/>
                  </a:lnTo>
                  <a:lnTo>
                    <a:pt x="796714" y="231635"/>
                  </a:lnTo>
                  <a:close/>
                  <a:moveTo>
                    <a:pt x="797355" y="226126"/>
                  </a:moveTo>
                  <a:lnTo>
                    <a:pt x="797098" y="228205"/>
                  </a:lnTo>
                  <a:lnTo>
                    <a:pt x="796640" y="228555"/>
                  </a:lnTo>
                  <a:lnTo>
                    <a:pt x="796152" y="228656"/>
                  </a:lnTo>
                  <a:lnTo>
                    <a:pt x="795565" y="228409"/>
                  </a:lnTo>
                  <a:lnTo>
                    <a:pt x="795997" y="227452"/>
                  </a:lnTo>
                  <a:lnTo>
                    <a:pt x="796554" y="226692"/>
                  </a:lnTo>
                  <a:close/>
                  <a:moveTo>
                    <a:pt x="737238" y="184436"/>
                  </a:moveTo>
                  <a:lnTo>
                    <a:pt x="737884" y="184558"/>
                  </a:lnTo>
                  <a:lnTo>
                    <a:pt x="738337" y="186725"/>
                  </a:lnTo>
                  <a:lnTo>
                    <a:pt x="739291" y="188417"/>
                  </a:lnTo>
                  <a:lnTo>
                    <a:pt x="738961" y="189527"/>
                  </a:lnTo>
                  <a:lnTo>
                    <a:pt x="738337" y="190353"/>
                  </a:lnTo>
                  <a:lnTo>
                    <a:pt x="736940" y="189576"/>
                  </a:lnTo>
                  <a:lnTo>
                    <a:pt x="735960" y="187567"/>
                  </a:lnTo>
                  <a:lnTo>
                    <a:pt x="734299" y="185955"/>
                  </a:lnTo>
                  <a:lnTo>
                    <a:pt x="733915" y="185027"/>
                  </a:lnTo>
                  <a:lnTo>
                    <a:pt x="735858" y="185105"/>
                  </a:lnTo>
                  <a:lnTo>
                    <a:pt x="736834" y="184790"/>
                  </a:lnTo>
                  <a:close/>
                  <a:moveTo>
                    <a:pt x="587841" y="156270"/>
                  </a:moveTo>
                  <a:lnTo>
                    <a:pt x="589328" y="157443"/>
                  </a:lnTo>
                  <a:lnTo>
                    <a:pt x="589568" y="158636"/>
                  </a:lnTo>
                  <a:lnTo>
                    <a:pt x="587098" y="159094"/>
                  </a:lnTo>
                  <a:lnTo>
                    <a:pt x="586269" y="159483"/>
                  </a:lnTo>
                  <a:lnTo>
                    <a:pt x="585970" y="158550"/>
                  </a:lnTo>
                  <a:lnTo>
                    <a:pt x="587098" y="157605"/>
                  </a:lnTo>
                  <a:close/>
                  <a:moveTo>
                    <a:pt x="589944" y="142742"/>
                  </a:moveTo>
                  <a:lnTo>
                    <a:pt x="590311" y="142925"/>
                  </a:lnTo>
                  <a:lnTo>
                    <a:pt x="592373" y="145462"/>
                  </a:lnTo>
                  <a:lnTo>
                    <a:pt x="589320" y="145792"/>
                  </a:lnTo>
                  <a:lnTo>
                    <a:pt x="588173" y="146781"/>
                  </a:lnTo>
                  <a:lnTo>
                    <a:pt x="586465" y="148780"/>
                  </a:lnTo>
                  <a:lnTo>
                    <a:pt x="585601" y="148499"/>
                  </a:lnTo>
                  <a:lnTo>
                    <a:pt x="584779" y="149588"/>
                  </a:lnTo>
                  <a:lnTo>
                    <a:pt x="583202" y="150108"/>
                  </a:lnTo>
                  <a:lnTo>
                    <a:pt x="582230" y="150090"/>
                  </a:lnTo>
                  <a:lnTo>
                    <a:pt x="580473" y="150614"/>
                  </a:lnTo>
                  <a:lnTo>
                    <a:pt x="580209" y="149981"/>
                  </a:lnTo>
                  <a:lnTo>
                    <a:pt x="580542" y="147982"/>
                  </a:lnTo>
                  <a:lnTo>
                    <a:pt x="582002" y="145748"/>
                  </a:lnTo>
                  <a:lnTo>
                    <a:pt x="583422" y="144379"/>
                  </a:lnTo>
                  <a:lnTo>
                    <a:pt x="587092" y="143725"/>
                  </a:lnTo>
                  <a:close/>
                  <a:moveTo>
                    <a:pt x="532932" y="124593"/>
                  </a:moveTo>
                  <a:lnTo>
                    <a:pt x="534147" y="126135"/>
                  </a:lnTo>
                  <a:lnTo>
                    <a:pt x="534292" y="127839"/>
                  </a:lnTo>
                  <a:lnTo>
                    <a:pt x="534791" y="128746"/>
                  </a:lnTo>
                  <a:lnTo>
                    <a:pt x="533845" y="129795"/>
                  </a:lnTo>
                  <a:lnTo>
                    <a:pt x="532643" y="128693"/>
                  </a:lnTo>
                  <a:lnTo>
                    <a:pt x="532390" y="127564"/>
                  </a:lnTo>
                  <a:lnTo>
                    <a:pt x="531453" y="127241"/>
                  </a:lnTo>
                  <a:lnTo>
                    <a:pt x="531910" y="126199"/>
                  </a:lnTo>
                  <a:lnTo>
                    <a:pt x="532405" y="125898"/>
                  </a:lnTo>
                  <a:close/>
                  <a:moveTo>
                    <a:pt x="523566" y="123209"/>
                  </a:moveTo>
                  <a:lnTo>
                    <a:pt x="524148" y="123446"/>
                  </a:lnTo>
                  <a:lnTo>
                    <a:pt x="523677" y="125350"/>
                  </a:lnTo>
                  <a:lnTo>
                    <a:pt x="522353" y="125445"/>
                  </a:lnTo>
                  <a:lnTo>
                    <a:pt x="521980" y="125330"/>
                  </a:lnTo>
                  <a:lnTo>
                    <a:pt x="521725" y="124328"/>
                  </a:lnTo>
                  <a:lnTo>
                    <a:pt x="522163" y="123423"/>
                  </a:lnTo>
                  <a:close/>
                  <a:moveTo>
                    <a:pt x="529998" y="122504"/>
                  </a:moveTo>
                  <a:lnTo>
                    <a:pt x="530293" y="124459"/>
                  </a:lnTo>
                  <a:lnTo>
                    <a:pt x="529684" y="125162"/>
                  </a:lnTo>
                  <a:lnTo>
                    <a:pt x="529332" y="125330"/>
                  </a:lnTo>
                  <a:lnTo>
                    <a:pt x="529306" y="123444"/>
                  </a:lnTo>
                  <a:close/>
                  <a:moveTo>
                    <a:pt x="256746" y="117184"/>
                  </a:moveTo>
                  <a:lnTo>
                    <a:pt x="257444" y="117248"/>
                  </a:lnTo>
                  <a:lnTo>
                    <a:pt x="257746" y="118165"/>
                  </a:lnTo>
                  <a:lnTo>
                    <a:pt x="258642" y="119199"/>
                  </a:lnTo>
                  <a:lnTo>
                    <a:pt x="258469" y="120227"/>
                  </a:lnTo>
                  <a:lnTo>
                    <a:pt x="257636" y="120866"/>
                  </a:lnTo>
                  <a:lnTo>
                    <a:pt x="256854" y="120669"/>
                  </a:lnTo>
                  <a:lnTo>
                    <a:pt x="256844" y="119785"/>
                  </a:lnTo>
                  <a:lnTo>
                    <a:pt x="255939" y="118832"/>
                  </a:lnTo>
                  <a:lnTo>
                    <a:pt x="256410" y="117749"/>
                  </a:lnTo>
                  <a:close/>
                  <a:moveTo>
                    <a:pt x="270912" y="98848"/>
                  </a:moveTo>
                  <a:lnTo>
                    <a:pt x="271756" y="99271"/>
                  </a:lnTo>
                  <a:lnTo>
                    <a:pt x="271655" y="101028"/>
                  </a:lnTo>
                  <a:lnTo>
                    <a:pt x="271772" y="101634"/>
                  </a:lnTo>
                  <a:lnTo>
                    <a:pt x="270355" y="103039"/>
                  </a:lnTo>
                  <a:lnTo>
                    <a:pt x="269392" y="101910"/>
                  </a:lnTo>
                  <a:lnTo>
                    <a:pt x="269970" y="99659"/>
                  </a:lnTo>
                  <a:close/>
                  <a:moveTo>
                    <a:pt x="525106" y="81259"/>
                  </a:moveTo>
                  <a:lnTo>
                    <a:pt x="526130" y="81388"/>
                  </a:lnTo>
                  <a:lnTo>
                    <a:pt x="525998" y="82391"/>
                  </a:lnTo>
                  <a:lnTo>
                    <a:pt x="526410" y="84142"/>
                  </a:lnTo>
                  <a:lnTo>
                    <a:pt x="527369" y="85077"/>
                  </a:lnTo>
                  <a:lnTo>
                    <a:pt x="528397" y="85011"/>
                  </a:lnTo>
                  <a:lnTo>
                    <a:pt x="529299" y="82950"/>
                  </a:lnTo>
                  <a:lnTo>
                    <a:pt x="529861" y="83236"/>
                  </a:lnTo>
                  <a:lnTo>
                    <a:pt x="530306" y="83753"/>
                  </a:lnTo>
                  <a:lnTo>
                    <a:pt x="530632" y="84661"/>
                  </a:lnTo>
                  <a:lnTo>
                    <a:pt x="529248" y="86231"/>
                  </a:lnTo>
                  <a:lnTo>
                    <a:pt x="528628" y="86473"/>
                  </a:lnTo>
                  <a:lnTo>
                    <a:pt x="528036" y="87340"/>
                  </a:lnTo>
                  <a:lnTo>
                    <a:pt x="527089" y="90199"/>
                  </a:lnTo>
                  <a:lnTo>
                    <a:pt x="527190" y="91159"/>
                  </a:lnTo>
                  <a:lnTo>
                    <a:pt x="528011" y="92119"/>
                  </a:lnTo>
                  <a:lnTo>
                    <a:pt x="530187" y="93009"/>
                  </a:lnTo>
                  <a:lnTo>
                    <a:pt x="531258" y="92597"/>
                  </a:lnTo>
                  <a:lnTo>
                    <a:pt x="531632" y="92716"/>
                  </a:lnTo>
                  <a:lnTo>
                    <a:pt x="531202" y="94109"/>
                  </a:lnTo>
                  <a:lnTo>
                    <a:pt x="530384" y="95170"/>
                  </a:lnTo>
                  <a:lnTo>
                    <a:pt x="527484" y="94727"/>
                  </a:lnTo>
                  <a:lnTo>
                    <a:pt x="524975" y="94886"/>
                  </a:lnTo>
                  <a:lnTo>
                    <a:pt x="520791" y="93851"/>
                  </a:lnTo>
                  <a:lnTo>
                    <a:pt x="518641" y="93723"/>
                  </a:lnTo>
                  <a:lnTo>
                    <a:pt x="518026" y="93337"/>
                  </a:lnTo>
                  <a:lnTo>
                    <a:pt x="519280" y="92518"/>
                  </a:lnTo>
                  <a:lnTo>
                    <a:pt x="520066" y="91413"/>
                  </a:lnTo>
                  <a:lnTo>
                    <a:pt x="519699" y="88812"/>
                  </a:lnTo>
                  <a:lnTo>
                    <a:pt x="519999" y="85515"/>
                  </a:lnTo>
                  <a:lnTo>
                    <a:pt x="522411" y="83913"/>
                  </a:lnTo>
                  <a:lnTo>
                    <a:pt x="523495" y="82277"/>
                  </a:lnTo>
                  <a:close/>
                  <a:moveTo>
                    <a:pt x="515372" y="81008"/>
                  </a:moveTo>
                  <a:lnTo>
                    <a:pt x="516300" y="81951"/>
                  </a:lnTo>
                  <a:lnTo>
                    <a:pt x="516698" y="83854"/>
                  </a:lnTo>
                  <a:lnTo>
                    <a:pt x="515858" y="84606"/>
                  </a:lnTo>
                  <a:lnTo>
                    <a:pt x="515333" y="84864"/>
                  </a:lnTo>
                  <a:lnTo>
                    <a:pt x="513320" y="84428"/>
                  </a:lnTo>
                  <a:lnTo>
                    <a:pt x="513312" y="83617"/>
                  </a:lnTo>
                  <a:lnTo>
                    <a:pt x="513579" y="82998"/>
                  </a:lnTo>
                  <a:lnTo>
                    <a:pt x="514137" y="82629"/>
                  </a:lnTo>
                  <a:close/>
                  <a:moveTo>
                    <a:pt x="521206" y="31627"/>
                  </a:moveTo>
                  <a:lnTo>
                    <a:pt x="521011" y="32598"/>
                  </a:lnTo>
                  <a:lnTo>
                    <a:pt x="518998" y="34254"/>
                  </a:lnTo>
                  <a:lnTo>
                    <a:pt x="518097" y="34683"/>
                  </a:lnTo>
                  <a:lnTo>
                    <a:pt x="514594" y="36350"/>
                  </a:lnTo>
                  <a:lnTo>
                    <a:pt x="516520" y="34103"/>
                  </a:lnTo>
                  <a:lnTo>
                    <a:pt x="520541" y="32101"/>
                  </a:lnTo>
                  <a:close/>
                  <a:moveTo>
                    <a:pt x="384456" y="28736"/>
                  </a:moveTo>
                  <a:lnTo>
                    <a:pt x="385438" y="28740"/>
                  </a:lnTo>
                  <a:lnTo>
                    <a:pt x="386266" y="30601"/>
                  </a:lnTo>
                  <a:lnTo>
                    <a:pt x="386463" y="32611"/>
                  </a:lnTo>
                  <a:lnTo>
                    <a:pt x="387506" y="34456"/>
                  </a:lnTo>
                  <a:lnTo>
                    <a:pt x="388091" y="36407"/>
                  </a:lnTo>
                  <a:lnTo>
                    <a:pt x="389916" y="36941"/>
                  </a:lnTo>
                  <a:lnTo>
                    <a:pt x="390758" y="37703"/>
                  </a:lnTo>
                  <a:lnTo>
                    <a:pt x="391263" y="38513"/>
                  </a:lnTo>
                  <a:lnTo>
                    <a:pt x="391341" y="39485"/>
                  </a:lnTo>
                  <a:lnTo>
                    <a:pt x="389047" y="39912"/>
                  </a:lnTo>
                  <a:lnTo>
                    <a:pt x="384955" y="38480"/>
                  </a:lnTo>
                  <a:lnTo>
                    <a:pt x="380838" y="39662"/>
                  </a:lnTo>
                  <a:lnTo>
                    <a:pt x="379629" y="39684"/>
                  </a:lnTo>
                  <a:lnTo>
                    <a:pt x="378892" y="38828"/>
                  </a:lnTo>
                  <a:lnTo>
                    <a:pt x="379529" y="36440"/>
                  </a:lnTo>
                  <a:lnTo>
                    <a:pt x="381011" y="36806"/>
                  </a:lnTo>
                  <a:lnTo>
                    <a:pt x="382304" y="35935"/>
                  </a:lnTo>
                  <a:lnTo>
                    <a:pt x="382073" y="33313"/>
                  </a:lnTo>
                  <a:lnTo>
                    <a:pt x="381315" y="31887"/>
                  </a:lnTo>
                  <a:lnTo>
                    <a:pt x="383490" y="29267"/>
                  </a:lnTo>
                  <a:close/>
                  <a:moveTo>
                    <a:pt x="386845" y="25235"/>
                  </a:moveTo>
                  <a:lnTo>
                    <a:pt x="387370" y="25294"/>
                  </a:lnTo>
                  <a:lnTo>
                    <a:pt x="389415" y="27452"/>
                  </a:lnTo>
                  <a:lnTo>
                    <a:pt x="390313" y="28045"/>
                  </a:lnTo>
                  <a:lnTo>
                    <a:pt x="391619" y="29615"/>
                  </a:lnTo>
                  <a:lnTo>
                    <a:pt x="394569" y="29801"/>
                  </a:lnTo>
                  <a:lnTo>
                    <a:pt x="398119" y="28119"/>
                  </a:lnTo>
                  <a:lnTo>
                    <a:pt x="399769" y="28804"/>
                  </a:lnTo>
                  <a:lnTo>
                    <a:pt x="400557" y="28681"/>
                  </a:lnTo>
                  <a:lnTo>
                    <a:pt x="403157" y="27085"/>
                  </a:lnTo>
                  <a:lnTo>
                    <a:pt x="404850" y="26626"/>
                  </a:lnTo>
                  <a:lnTo>
                    <a:pt x="405979" y="25445"/>
                  </a:lnTo>
                  <a:lnTo>
                    <a:pt x="407135" y="26722"/>
                  </a:lnTo>
                  <a:lnTo>
                    <a:pt x="409709" y="28206"/>
                  </a:lnTo>
                  <a:lnTo>
                    <a:pt x="410514" y="29759"/>
                  </a:lnTo>
                  <a:lnTo>
                    <a:pt x="411596" y="30492"/>
                  </a:lnTo>
                  <a:lnTo>
                    <a:pt x="411956" y="30977"/>
                  </a:lnTo>
                  <a:lnTo>
                    <a:pt x="410393" y="32605"/>
                  </a:lnTo>
                  <a:lnTo>
                    <a:pt x="410188" y="34359"/>
                  </a:lnTo>
                  <a:lnTo>
                    <a:pt x="408512" y="34239"/>
                  </a:lnTo>
                  <a:lnTo>
                    <a:pt x="406506" y="37117"/>
                  </a:lnTo>
                  <a:lnTo>
                    <a:pt x="398963" y="41948"/>
                  </a:lnTo>
                  <a:lnTo>
                    <a:pt x="392196" y="37821"/>
                  </a:lnTo>
                  <a:lnTo>
                    <a:pt x="389254" y="35031"/>
                  </a:lnTo>
                  <a:lnTo>
                    <a:pt x="387283" y="31176"/>
                  </a:lnTo>
                  <a:lnTo>
                    <a:pt x="386886" y="28023"/>
                  </a:lnTo>
                  <a:lnTo>
                    <a:pt x="386085" y="26007"/>
                  </a:lnTo>
                  <a:lnTo>
                    <a:pt x="386439" y="25498"/>
                  </a:lnTo>
                  <a:close/>
                  <a:moveTo>
                    <a:pt x="527861" y="21476"/>
                  </a:moveTo>
                  <a:lnTo>
                    <a:pt x="527003" y="25552"/>
                  </a:lnTo>
                  <a:lnTo>
                    <a:pt x="523843" y="29678"/>
                  </a:lnTo>
                  <a:lnTo>
                    <a:pt x="522252" y="31021"/>
                  </a:lnTo>
                  <a:lnTo>
                    <a:pt x="522143" y="30013"/>
                  </a:lnTo>
                  <a:lnTo>
                    <a:pt x="522986" y="29208"/>
                  </a:lnTo>
                  <a:lnTo>
                    <a:pt x="524959" y="25933"/>
                  </a:lnTo>
                  <a:lnTo>
                    <a:pt x="525820" y="25172"/>
                  </a:lnTo>
                  <a:lnTo>
                    <a:pt x="526320" y="24741"/>
                  </a:lnTo>
                  <a:lnTo>
                    <a:pt x="526691" y="23541"/>
                  </a:lnTo>
                  <a:lnTo>
                    <a:pt x="526789" y="21747"/>
                  </a:lnTo>
                  <a:close/>
                  <a:moveTo>
                    <a:pt x="434959" y="20499"/>
                  </a:moveTo>
                  <a:lnTo>
                    <a:pt x="435278" y="21144"/>
                  </a:lnTo>
                  <a:lnTo>
                    <a:pt x="435358" y="23578"/>
                  </a:lnTo>
                  <a:lnTo>
                    <a:pt x="436070" y="24982"/>
                  </a:lnTo>
                  <a:lnTo>
                    <a:pt x="435280" y="27975"/>
                  </a:lnTo>
                  <a:lnTo>
                    <a:pt x="434844" y="28322"/>
                  </a:lnTo>
                  <a:lnTo>
                    <a:pt x="433077" y="24859"/>
                  </a:lnTo>
                  <a:lnTo>
                    <a:pt x="433577" y="23793"/>
                  </a:lnTo>
                  <a:lnTo>
                    <a:pt x="432857" y="22031"/>
                  </a:lnTo>
                  <a:lnTo>
                    <a:pt x="434052" y="21832"/>
                  </a:lnTo>
                  <a:close/>
                  <a:moveTo>
                    <a:pt x="653374" y="14650"/>
                  </a:moveTo>
                  <a:lnTo>
                    <a:pt x="655328" y="14650"/>
                  </a:lnTo>
                  <a:lnTo>
                    <a:pt x="656660" y="15565"/>
                  </a:lnTo>
                  <a:lnTo>
                    <a:pt x="655784" y="17157"/>
                  </a:lnTo>
                  <a:lnTo>
                    <a:pt x="655503" y="18387"/>
                  </a:lnTo>
                  <a:lnTo>
                    <a:pt x="659269" y="21430"/>
                  </a:lnTo>
                  <a:lnTo>
                    <a:pt x="660522" y="23778"/>
                  </a:lnTo>
                  <a:lnTo>
                    <a:pt x="661044" y="25985"/>
                  </a:lnTo>
                  <a:lnTo>
                    <a:pt x="661784" y="28066"/>
                  </a:lnTo>
                  <a:lnTo>
                    <a:pt x="662141" y="30872"/>
                  </a:lnTo>
                  <a:lnTo>
                    <a:pt x="662089" y="35355"/>
                  </a:lnTo>
                  <a:lnTo>
                    <a:pt x="662575" y="39592"/>
                  </a:lnTo>
                  <a:lnTo>
                    <a:pt x="663933" y="40923"/>
                  </a:lnTo>
                  <a:lnTo>
                    <a:pt x="665138" y="41781"/>
                  </a:lnTo>
                  <a:lnTo>
                    <a:pt x="666861" y="41895"/>
                  </a:lnTo>
                  <a:lnTo>
                    <a:pt x="669349" y="42576"/>
                  </a:lnTo>
                  <a:lnTo>
                    <a:pt x="668775" y="45299"/>
                  </a:lnTo>
                  <a:lnTo>
                    <a:pt x="667708" y="47402"/>
                  </a:lnTo>
                  <a:lnTo>
                    <a:pt x="667582" y="48666"/>
                  </a:lnTo>
                  <a:lnTo>
                    <a:pt x="667831" y="50406"/>
                  </a:lnTo>
                  <a:lnTo>
                    <a:pt x="669608" y="51701"/>
                  </a:lnTo>
                  <a:lnTo>
                    <a:pt x="671012" y="52519"/>
                  </a:lnTo>
                  <a:lnTo>
                    <a:pt x="671798" y="54790"/>
                  </a:lnTo>
                  <a:lnTo>
                    <a:pt x="674273" y="57960"/>
                  </a:lnTo>
                  <a:lnTo>
                    <a:pt x="674184" y="60120"/>
                  </a:lnTo>
                  <a:lnTo>
                    <a:pt x="675514" y="62808"/>
                  </a:lnTo>
                  <a:lnTo>
                    <a:pt x="676714" y="68176"/>
                  </a:lnTo>
                  <a:lnTo>
                    <a:pt x="677101" y="72883"/>
                  </a:lnTo>
                  <a:lnTo>
                    <a:pt x="678365" y="76030"/>
                  </a:lnTo>
                  <a:lnTo>
                    <a:pt x="677520" y="82725"/>
                  </a:lnTo>
                  <a:lnTo>
                    <a:pt x="678423" y="85469"/>
                  </a:lnTo>
                  <a:lnTo>
                    <a:pt x="679619" y="87743"/>
                  </a:lnTo>
                  <a:lnTo>
                    <a:pt x="681031" y="92271"/>
                  </a:lnTo>
                  <a:lnTo>
                    <a:pt x="682117" y="96428"/>
                  </a:lnTo>
                  <a:lnTo>
                    <a:pt x="683577" y="97607"/>
                  </a:lnTo>
                  <a:lnTo>
                    <a:pt x="686661" y="99002"/>
                  </a:lnTo>
                  <a:lnTo>
                    <a:pt x="689846" y="97459"/>
                  </a:lnTo>
                  <a:lnTo>
                    <a:pt x="692145" y="95371"/>
                  </a:lnTo>
                  <a:lnTo>
                    <a:pt x="694618" y="94862"/>
                  </a:lnTo>
                  <a:lnTo>
                    <a:pt x="697965" y="93789"/>
                  </a:lnTo>
                  <a:lnTo>
                    <a:pt x="700472" y="96560"/>
                  </a:lnTo>
                  <a:lnTo>
                    <a:pt x="701835" y="99670"/>
                  </a:lnTo>
                  <a:lnTo>
                    <a:pt x="707754" y="103776"/>
                  </a:lnTo>
                  <a:lnTo>
                    <a:pt x="711042" y="106412"/>
                  </a:lnTo>
                  <a:lnTo>
                    <a:pt x="713597" y="107901"/>
                  </a:lnTo>
                  <a:lnTo>
                    <a:pt x="715979" y="109850"/>
                  </a:lnTo>
                  <a:lnTo>
                    <a:pt x="715741" y="111799"/>
                  </a:lnTo>
                  <a:lnTo>
                    <a:pt x="715182" y="113338"/>
                  </a:lnTo>
                  <a:lnTo>
                    <a:pt x="715724" y="115746"/>
                  </a:lnTo>
                  <a:lnTo>
                    <a:pt x="716097" y="118536"/>
                  </a:lnTo>
                  <a:lnTo>
                    <a:pt x="715622" y="121918"/>
                  </a:lnTo>
                  <a:lnTo>
                    <a:pt x="717345" y="127011"/>
                  </a:lnTo>
                  <a:lnTo>
                    <a:pt x="717918" y="131079"/>
                  </a:lnTo>
                  <a:lnTo>
                    <a:pt x="719744" y="135055"/>
                  </a:lnTo>
                  <a:lnTo>
                    <a:pt x="719609" y="139150"/>
                  </a:lnTo>
                  <a:lnTo>
                    <a:pt x="719268" y="140694"/>
                  </a:lnTo>
                  <a:lnTo>
                    <a:pt x="719038" y="142991"/>
                  </a:lnTo>
                  <a:lnTo>
                    <a:pt x="720461" y="145852"/>
                  </a:lnTo>
                  <a:lnTo>
                    <a:pt x="721777" y="147964"/>
                  </a:lnTo>
                  <a:lnTo>
                    <a:pt x="723731" y="150259"/>
                  </a:lnTo>
                  <a:lnTo>
                    <a:pt x="726307" y="153747"/>
                  </a:lnTo>
                  <a:lnTo>
                    <a:pt x="728145" y="154448"/>
                  </a:lnTo>
                  <a:lnTo>
                    <a:pt x="729786" y="154497"/>
                  </a:lnTo>
                  <a:lnTo>
                    <a:pt x="729561" y="158085"/>
                  </a:lnTo>
                  <a:lnTo>
                    <a:pt x="732830" y="165162"/>
                  </a:lnTo>
                  <a:lnTo>
                    <a:pt x="734512" y="170955"/>
                  </a:lnTo>
                  <a:lnTo>
                    <a:pt x="733366" y="178760"/>
                  </a:lnTo>
                  <a:lnTo>
                    <a:pt x="732234" y="183291"/>
                  </a:lnTo>
                  <a:lnTo>
                    <a:pt x="732442" y="185509"/>
                  </a:lnTo>
                  <a:lnTo>
                    <a:pt x="736661" y="190927"/>
                  </a:lnTo>
                  <a:lnTo>
                    <a:pt x="739097" y="191930"/>
                  </a:lnTo>
                  <a:lnTo>
                    <a:pt x="738622" y="194516"/>
                  </a:lnTo>
                  <a:lnTo>
                    <a:pt x="738294" y="198511"/>
                  </a:lnTo>
                  <a:lnTo>
                    <a:pt x="740207" y="201622"/>
                  </a:lnTo>
                  <a:lnTo>
                    <a:pt x="742369" y="203952"/>
                  </a:lnTo>
                  <a:lnTo>
                    <a:pt x="744716" y="205344"/>
                  </a:lnTo>
                  <a:lnTo>
                    <a:pt x="747030" y="206444"/>
                  </a:lnTo>
                  <a:lnTo>
                    <a:pt x="750060" y="207552"/>
                  </a:lnTo>
                  <a:lnTo>
                    <a:pt x="753900" y="208018"/>
                  </a:lnTo>
                  <a:lnTo>
                    <a:pt x="755892" y="209774"/>
                  </a:lnTo>
                  <a:lnTo>
                    <a:pt x="756909" y="211163"/>
                  </a:lnTo>
                  <a:lnTo>
                    <a:pt x="759991" y="211646"/>
                  </a:lnTo>
                  <a:lnTo>
                    <a:pt x="761393" y="211388"/>
                  </a:lnTo>
                  <a:lnTo>
                    <a:pt x="763097" y="210818"/>
                  </a:lnTo>
                  <a:lnTo>
                    <a:pt x="764254" y="211764"/>
                  </a:lnTo>
                  <a:lnTo>
                    <a:pt x="765113" y="213022"/>
                  </a:lnTo>
                  <a:lnTo>
                    <a:pt x="766800" y="216435"/>
                  </a:lnTo>
                  <a:lnTo>
                    <a:pt x="770257" y="219820"/>
                  </a:lnTo>
                  <a:lnTo>
                    <a:pt x="772708" y="220386"/>
                  </a:lnTo>
                  <a:lnTo>
                    <a:pt x="774088" y="222099"/>
                  </a:lnTo>
                  <a:lnTo>
                    <a:pt x="776053" y="222566"/>
                  </a:lnTo>
                  <a:lnTo>
                    <a:pt x="777745" y="222775"/>
                  </a:lnTo>
                  <a:lnTo>
                    <a:pt x="780147" y="224091"/>
                  </a:lnTo>
                  <a:lnTo>
                    <a:pt x="784066" y="227119"/>
                  </a:lnTo>
                  <a:lnTo>
                    <a:pt x="787601" y="227611"/>
                  </a:lnTo>
                  <a:lnTo>
                    <a:pt x="789232" y="228447"/>
                  </a:lnTo>
                  <a:lnTo>
                    <a:pt x="792745" y="231770"/>
                  </a:lnTo>
                  <a:lnTo>
                    <a:pt x="794107" y="233541"/>
                  </a:lnTo>
                  <a:lnTo>
                    <a:pt x="795517" y="236178"/>
                  </a:lnTo>
                  <a:lnTo>
                    <a:pt x="793755" y="236428"/>
                  </a:lnTo>
                  <a:lnTo>
                    <a:pt x="792095" y="235877"/>
                  </a:lnTo>
                  <a:lnTo>
                    <a:pt x="791071" y="238468"/>
                  </a:lnTo>
                  <a:lnTo>
                    <a:pt x="793410" y="242053"/>
                  </a:lnTo>
                  <a:lnTo>
                    <a:pt x="796129" y="244582"/>
                  </a:lnTo>
                  <a:lnTo>
                    <a:pt x="799405" y="247258"/>
                  </a:lnTo>
                  <a:lnTo>
                    <a:pt x="802596" y="251046"/>
                  </a:lnTo>
                  <a:lnTo>
                    <a:pt x="803404" y="253938"/>
                  </a:lnTo>
                  <a:lnTo>
                    <a:pt x="804263" y="255079"/>
                  </a:lnTo>
                  <a:lnTo>
                    <a:pt x="805347" y="259164"/>
                  </a:lnTo>
                  <a:lnTo>
                    <a:pt x="808106" y="261540"/>
                  </a:lnTo>
                  <a:lnTo>
                    <a:pt x="808238" y="265865"/>
                  </a:lnTo>
                  <a:lnTo>
                    <a:pt x="809653" y="271852"/>
                  </a:lnTo>
                  <a:lnTo>
                    <a:pt x="811238" y="277283"/>
                  </a:lnTo>
                  <a:lnTo>
                    <a:pt x="812335" y="278926"/>
                  </a:lnTo>
                  <a:lnTo>
                    <a:pt x="813630" y="281533"/>
                  </a:lnTo>
                  <a:lnTo>
                    <a:pt x="815127" y="281202"/>
                  </a:lnTo>
                  <a:lnTo>
                    <a:pt x="816252" y="280355"/>
                  </a:lnTo>
                  <a:lnTo>
                    <a:pt x="818416" y="282947"/>
                  </a:lnTo>
                  <a:lnTo>
                    <a:pt x="819612" y="284094"/>
                  </a:lnTo>
                  <a:lnTo>
                    <a:pt x="820301" y="283417"/>
                  </a:lnTo>
                  <a:lnTo>
                    <a:pt x="818893" y="278456"/>
                  </a:lnTo>
                  <a:lnTo>
                    <a:pt x="819763" y="275580"/>
                  </a:lnTo>
                  <a:lnTo>
                    <a:pt x="820633" y="275211"/>
                  </a:lnTo>
                  <a:lnTo>
                    <a:pt x="821862" y="275120"/>
                  </a:lnTo>
                  <a:lnTo>
                    <a:pt x="823340" y="277465"/>
                  </a:lnTo>
                  <a:lnTo>
                    <a:pt x="825371" y="279963"/>
                  </a:lnTo>
                  <a:lnTo>
                    <a:pt x="829135" y="282194"/>
                  </a:lnTo>
                  <a:lnTo>
                    <a:pt x="832147" y="284290"/>
                  </a:lnTo>
                  <a:lnTo>
                    <a:pt x="832994" y="284212"/>
                  </a:lnTo>
                  <a:lnTo>
                    <a:pt x="832657" y="282593"/>
                  </a:lnTo>
                  <a:lnTo>
                    <a:pt x="832750" y="280219"/>
                  </a:lnTo>
                  <a:lnTo>
                    <a:pt x="833950" y="279831"/>
                  </a:lnTo>
                  <a:lnTo>
                    <a:pt x="835047" y="281013"/>
                  </a:lnTo>
                  <a:lnTo>
                    <a:pt x="837068" y="284687"/>
                  </a:lnTo>
                  <a:lnTo>
                    <a:pt x="837487" y="292292"/>
                  </a:lnTo>
                  <a:lnTo>
                    <a:pt x="837491" y="298670"/>
                  </a:lnTo>
                  <a:lnTo>
                    <a:pt x="838822" y="305239"/>
                  </a:lnTo>
                  <a:lnTo>
                    <a:pt x="840766" y="306965"/>
                  </a:lnTo>
                  <a:lnTo>
                    <a:pt x="842042" y="308597"/>
                  </a:lnTo>
                  <a:lnTo>
                    <a:pt x="844229" y="310802"/>
                  </a:lnTo>
                  <a:lnTo>
                    <a:pt x="845691" y="312859"/>
                  </a:lnTo>
                  <a:lnTo>
                    <a:pt x="847516" y="313817"/>
                  </a:lnTo>
                  <a:lnTo>
                    <a:pt x="853363" y="318203"/>
                  </a:lnTo>
                  <a:lnTo>
                    <a:pt x="855013" y="318699"/>
                  </a:lnTo>
                  <a:lnTo>
                    <a:pt x="857568" y="318811"/>
                  </a:lnTo>
                  <a:lnTo>
                    <a:pt x="860679" y="320792"/>
                  </a:lnTo>
                  <a:lnTo>
                    <a:pt x="862251" y="322621"/>
                  </a:lnTo>
                  <a:lnTo>
                    <a:pt x="865626" y="329503"/>
                  </a:lnTo>
                  <a:lnTo>
                    <a:pt x="867274" y="331925"/>
                  </a:lnTo>
                  <a:lnTo>
                    <a:pt x="870638" y="334315"/>
                  </a:lnTo>
                  <a:lnTo>
                    <a:pt x="872210" y="335095"/>
                  </a:lnTo>
                  <a:lnTo>
                    <a:pt x="874492" y="336738"/>
                  </a:lnTo>
                  <a:lnTo>
                    <a:pt x="875307" y="339126"/>
                  </a:lnTo>
                  <a:lnTo>
                    <a:pt x="875503" y="340537"/>
                  </a:lnTo>
                  <a:lnTo>
                    <a:pt x="876857" y="343081"/>
                  </a:lnTo>
                  <a:lnTo>
                    <a:pt x="878869" y="346140"/>
                  </a:lnTo>
                  <a:lnTo>
                    <a:pt x="881851" y="347840"/>
                  </a:lnTo>
                  <a:lnTo>
                    <a:pt x="884601" y="351564"/>
                  </a:lnTo>
                  <a:lnTo>
                    <a:pt x="884756" y="357616"/>
                  </a:lnTo>
                  <a:lnTo>
                    <a:pt x="886181" y="360632"/>
                  </a:lnTo>
                  <a:lnTo>
                    <a:pt x="887138" y="361910"/>
                  </a:lnTo>
                  <a:lnTo>
                    <a:pt x="889289" y="363148"/>
                  </a:lnTo>
                  <a:lnTo>
                    <a:pt x="890161" y="364129"/>
                  </a:lnTo>
                  <a:lnTo>
                    <a:pt x="888375" y="372169"/>
                  </a:lnTo>
                  <a:lnTo>
                    <a:pt x="890098" y="388283"/>
                  </a:lnTo>
                  <a:lnTo>
                    <a:pt x="889097" y="393321"/>
                  </a:lnTo>
                  <a:lnTo>
                    <a:pt x="890891" y="398329"/>
                  </a:lnTo>
                  <a:lnTo>
                    <a:pt x="895044" y="407011"/>
                  </a:lnTo>
                  <a:lnTo>
                    <a:pt x="895987" y="410096"/>
                  </a:lnTo>
                  <a:lnTo>
                    <a:pt x="896572" y="413699"/>
                  </a:lnTo>
                  <a:lnTo>
                    <a:pt x="899243" y="418300"/>
                  </a:lnTo>
                  <a:lnTo>
                    <a:pt x="899098" y="425320"/>
                  </a:lnTo>
                  <a:lnTo>
                    <a:pt x="900155" y="428672"/>
                  </a:lnTo>
                  <a:lnTo>
                    <a:pt x="899883" y="433031"/>
                  </a:lnTo>
                  <a:lnTo>
                    <a:pt x="896734" y="437738"/>
                  </a:lnTo>
                  <a:lnTo>
                    <a:pt x="894210" y="443523"/>
                  </a:lnTo>
                  <a:lnTo>
                    <a:pt x="894186" y="448494"/>
                  </a:lnTo>
                  <a:lnTo>
                    <a:pt x="892537" y="458059"/>
                  </a:lnTo>
                  <a:lnTo>
                    <a:pt x="891463" y="460627"/>
                  </a:lnTo>
                  <a:lnTo>
                    <a:pt x="890675" y="464629"/>
                  </a:lnTo>
                  <a:lnTo>
                    <a:pt x="887190" y="474321"/>
                  </a:lnTo>
                  <a:lnTo>
                    <a:pt x="887039" y="478130"/>
                  </a:lnTo>
                  <a:lnTo>
                    <a:pt x="887572" y="482680"/>
                  </a:lnTo>
                  <a:lnTo>
                    <a:pt x="886991" y="487052"/>
                  </a:lnTo>
                  <a:lnTo>
                    <a:pt x="886121" y="490030"/>
                  </a:lnTo>
                  <a:lnTo>
                    <a:pt x="885275" y="495549"/>
                  </a:lnTo>
                  <a:lnTo>
                    <a:pt x="881779" y="504144"/>
                  </a:lnTo>
                  <a:lnTo>
                    <a:pt x="876769" y="510501"/>
                  </a:lnTo>
                  <a:lnTo>
                    <a:pt x="876460" y="515344"/>
                  </a:lnTo>
                  <a:lnTo>
                    <a:pt x="875825" y="517484"/>
                  </a:lnTo>
                  <a:lnTo>
                    <a:pt x="874804" y="520161"/>
                  </a:lnTo>
                  <a:lnTo>
                    <a:pt x="871727" y="523075"/>
                  </a:lnTo>
                  <a:lnTo>
                    <a:pt x="869874" y="524335"/>
                  </a:lnTo>
                  <a:lnTo>
                    <a:pt x="869172" y="526045"/>
                  </a:lnTo>
                  <a:lnTo>
                    <a:pt x="867421" y="526045"/>
                  </a:lnTo>
                  <a:lnTo>
                    <a:pt x="867377" y="526581"/>
                  </a:lnTo>
                  <a:lnTo>
                    <a:pt x="868561" y="527118"/>
                  </a:lnTo>
                  <a:lnTo>
                    <a:pt x="868034" y="527998"/>
                  </a:lnTo>
                  <a:lnTo>
                    <a:pt x="863391" y="529549"/>
                  </a:lnTo>
                  <a:lnTo>
                    <a:pt x="860264" y="531541"/>
                  </a:lnTo>
                  <a:lnTo>
                    <a:pt x="857068" y="536418"/>
                  </a:lnTo>
                  <a:lnTo>
                    <a:pt x="855727" y="538969"/>
                  </a:lnTo>
                  <a:lnTo>
                    <a:pt x="854011" y="541420"/>
                  </a:lnTo>
                  <a:lnTo>
                    <a:pt x="852987" y="542570"/>
                  </a:lnTo>
                  <a:lnTo>
                    <a:pt x="852536" y="543805"/>
                  </a:lnTo>
                  <a:lnTo>
                    <a:pt x="851843" y="546882"/>
                  </a:lnTo>
                  <a:lnTo>
                    <a:pt x="850195" y="547435"/>
                  </a:lnTo>
                  <a:lnTo>
                    <a:pt x="848748" y="548353"/>
                  </a:lnTo>
                  <a:lnTo>
                    <a:pt x="849426" y="551288"/>
                  </a:lnTo>
                  <a:lnTo>
                    <a:pt x="848667" y="554652"/>
                  </a:lnTo>
                  <a:lnTo>
                    <a:pt x="848487" y="556933"/>
                  </a:lnTo>
                  <a:lnTo>
                    <a:pt x="847699" y="558384"/>
                  </a:lnTo>
                  <a:lnTo>
                    <a:pt x="846749" y="557862"/>
                  </a:lnTo>
                  <a:lnTo>
                    <a:pt x="846002" y="558095"/>
                  </a:lnTo>
                  <a:lnTo>
                    <a:pt x="845049" y="558886"/>
                  </a:lnTo>
                  <a:lnTo>
                    <a:pt x="846518" y="559134"/>
                  </a:lnTo>
                  <a:lnTo>
                    <a:pt x="847409" y="559493"/>
                  </a:lnTo>
                  <a:lnTo>
                    <a:pt x="844279" y="562798"/>
                  </a:lnTo>
                  <a:lnTo>
                    <a:pt x="841413" y="566149"/>
                  </a:lnTo>
                  <a:lnTo>
                    <a:pt x="840685" y="568381"/>
                  </a:lnTo>
                  <a:lnTo>
                    <a:pt x="839444" y="571186"/>
                  </a:lnTo>
                  <a:lnTo>
                    <a:pt x="838351" y="577432"/>
                  </a:lnTo>
                  <a:lnTo>
                    <a:pt x="837449" y="581008"/>
                  </a:lnTo>
                  <a:lnTo>
                    <a:pt x="838070" y="583553"/>
                  </a:lnTo>
                  <a:lnTo>
                    <a:pt x="837969" y="584030"/>
                  </a:lnTo>
                  <a:lnTo>
                    <a:pt x="837306" y="584218"/>
                  </a:lnTo>
                  <a:lnTo>
                    <a:pt x="836895" y="583886"/>
                  </a:lnTo>
                  <a:lnTo>
                    <a:pt x="835598" y="584756"/>
                  </a:lnTo>
                  <a:lnTo>
                    <a:pt x="835235" y="585627"/>
                  </a:lnTo>
                  <a:lnTo>
                    <a:pt x="835781" y="586707"/>
                  </a:lnTo>
                  <a:lnTo>
                    <a:pt x="836147" y="587079"/>
                  </a:lnTo>
                  <a:lnTo>
                    <a:pt x="835980" y="587595"/>
                  </a:lnTo>
                  <a:lnTo>
                    <a:pt x="835443" y="588161"/>
                  </a:lnTo>
                  <a:lnTo>
                    <a:pt x="834207" y="588159"/>
                  </a:lnTo>
                  <a:lnTo>
                    <a:pt x="832726" y="589077"/>
                  </a:lnTo>
                  <a:lnTo>
                    <a:pt x="828450" y="598369"/>
                  </a:lnTo>
                  <a:lnTo>
                    <a:pt x="826639" y="600838"/>
                  </a:lnTo>
                  <a:lnTo>
                    <a:pt x="824496" y="604649"/>
                  </a:lnTo>
                  <a:lnTo>
                    <a:pt x="823682" y="608103"/>
                  </a:lnTo>
                  <a:lnTo>
                    <a:pt x="823028" y="611885"/>
                  </a:lnTo>
                  <a:lnTo>
                    <a:pt x="822285" y="618262"/>
                  </a:lnTo>
                  <a:lnTo>
                    <a:pt x="821566" y="622763"/>
                  </a:lnTo>
                  <a:lnTo>
                    <a:pt x="819916" y="627133"/>
                  </a:lnTo>
                  <a:lnTo>
                    <a:pt x="819299" y="630250"/>
                  </a:lnTo>
                  <a:lnTo>
                    <a:pt x="819085" y="636218"/>
                  </a:lnTo>
                  <a:lnTo>
                    <a:pt x="819875" y="640755"/>
                  </a:lnTo>
                  <a:lnTo>
                    <a:pt x="819357" y="643167"/>
                  </a:lnTo>
                  <a:lnTo>
                    <a:pt x="819344" y="645484"/>
                  </a:lnTo>
                  <a:lnTo>
                    <a:pt x="818689" y="647645"/>
                  </a:lnTo>
                  <a:lnTo>
                    <a:pt x="815962" y="648139"/>
                  </a:lnTo>
                  <a:lnTo>
                    <a:pt x="813742" y="649906"/>
                  </a:lnTo>
                  <a:lnTo>
                    <a:pt x="810568" y="652795"/>
                  </a:lnTo>
                  <a:lnTo>
                    <a:pt x="808699" y="653849"/>
                  </a:lnTo>
                  <a:lnTo>
                    <a:pt x="804665" y="654641"/>
                  </a:lnTo>
                  <a:lnTo>
                    <a:pt x="796826" y="654291"/>
                  </a:lnTo>
                  <a:lnTo>
                    <a:pt x="781758" y="655372"/>
                  </a:lnTo>
                  <a:lnTo>
                    <a:pt x="778842" y="656021"/>
                  </a:lnTo>
                  <a:lnTo>
                    <a:pt x="773228" y="658023"/>
                  </a:lnTo>
                  <a:lnTo>
                    <a:pt x="767803" y="661137"/>
                  </a:lnTo>
                  <a:lnTo>
                    <a:pt x="762589" y="665333"/>
                  </a:lnTo>
                  <a:lnTo>
                    <a:pt x="750676" y="676766"/>
                  </a:lnTo>
                  <a:lnTo>
                    <a:pt x="741365" y="678012"/>
                  </a:lnTo>
                  <a:lnTo>
                    <a:pt x="739607" y="678012"/>
                  </a:lnTo>
                  <a:lnTo>
                    <a:pt x="738198" y="677702"/>
                  </a:lnTo>
                  <a:lnTo>
                    <a:pt x="736538" y="678415"/>
                  </a:lnTo>
                  <a:lnTo>
                    <a:pt x="736510" y="679841"/>
                  </a:lnTo>
                  <a:lnTo>
                    <a:pt x="738043" y="681325"/>
                  </a:lnTo>
                  <a:lnTo>
                    <a:pt x="739173" y="682720"/>
                  </a:lnTo>
                  <a:lnTo>
                    <a:pt x="741170" y="680794"/>
                  </a:lnTo>
                  <a:lnTo>
                    <a:pt x="742047" y="681328"/>
                  </a:lnTo>
                  <a:lnTo>
                    <a:pt x="742379" y="684882"/>
                  </a:lnTo>
                  <a:lnTo>
                    <a:pt x="742427" y="687135"/>
                  </a:lnTo>
                  <a:lnTo>
                    <a:pt x="741826" y="688357"/>
                  </a:lnTo>
                  <a:lnTo>
                    <a:pt x="740574" y="689217"/>
                  </a:lnTo>
                  <a:lnTo>
                    <a:pt x="739248" y="688656"/>
                  </a:lnTo>
                  <a:lnTo>
                    <a:pt x="739071" y="687435"/>
                  </a:lnTo>
                  <a:lnTo>
                    <a:pt x="737353" y="684534"/>
                  </a:lnTo>
                  <a:lnTo>
                    <a:pt x="735232" y="681983"/>
                  </a:lnTo>
                  <a:lnTo>
                    <a:pt x="733275" y="681167"/>
                  </a:lnTo>
                  <a:lnTo>
                    <a:pt x="732130" y="682019"/>
                  </a:lnTo>
                  <a:lnTo>
                    <a:pt x="730299" y="682914"/>
                  </a:lnTo>
                  <a:lnTo>
                    <a:pt x="728755" y="679667"/>
                  </a:lnTo>
                  <a:lnTo>
                    <a:pt x="727104" y="676856"/>
                  </a:lnTo>
                  <a:lnTo>
                    <a:pt x="724916" y="676564"/>
                  </a:lnTo>
                  <a:lnTo>
                    <a:pt x="723025" y="676595"/>
                  </a:lnTo>
                  <a:lnTo>
                    <a:pt x="721455" y="675379"/>
                  </a:lnTo>
                  <a:lnTo>
                    <a:pt x="718401" y="673465"/>
                  </a:lnTo>
                  <a:lnTo>
                    <a:pt x="718997" y="671971"/>
                  </a:lnTo>
                  <a:lnTo>
                    <a:pt x="719851" y="670401"/>
                  </a:lnTo>
                  <a:lnTo>
                    <a:pt x="721606" y="669823"/>
                  </a:lnTo>
                  <a:lnTo>
                    <a:pt x="721079" y="667704"/>
                  </a:lnTo>
                  <a:lnTo>
                    <a:pt x="720138" y="665965"/>
                  </a:lnTo>
                  <a:lnTo>
                    <a:pt x="717719" y="665501"/>
                  </a:lnTo>
                  <a:lnTo>
                    <a:pt x="716091" y="665807"/>
                  </a:lnTo>
                  <a:lnTo>
                    <a:pt x="715121" y="667184"/>
                  </a:lnTo>
                  <a:lnTo>
                    <a:pt x="713845" y="669559"/>
                  </a:lnTo>
                  <a:lnTo>
                    <a:pt x="708723" y="672574"/>
                  </a:lnTo>
                  <a:lnTo>
                    <a:pt x="706240" y="670916"/>
                  </a:lnTo>
                  <a:lnTo>
                    <a:pt x="703376" y="668447"/>
                  </a:lnTo>
                  <a:lnTo>
                    <a:pt x="704758" y="668628"/>
                  </a:lnTo>
                  <a:lnTo>
                    <a:pt x="707658" y="668542"/>
                  </a:lnTo>
                  <a:lnTo>
                    <a:pt x="710062" y="666341"/>
                  </a:lnTo>
                  <a:lnTo>
                    <a:pt x="711098" y="664967"/>
                  </a:lnTo>
                  <a:lnTo>
                    <a:pt x="712269" y="662051"/>
                  </a:lnTo>
                  <a:lnTo>
                    <a:pt x="710714" y="659990"/>
                  </a:lnTo>
                  <a:lnTo>
                    <a:pt x="709282" y="658486"/>
                  </a:lnTo>
                  <a:lnTo>
                    <a:pt x="707214" y="657142"/>
                  </a:lnTo>
                  <a:lnTo>
                    <a:pt x="699412" y="661688"/>
                  </a:lnTo>
                  <a:lnTo>
                    <a:pt x="697794" y="662339"/>
                  </a:lnTo>
                  <a:lnTo>
                    <a:pt x="696250" y="663221"/>
                  </a:lnTo>
                  <a:lnTo>
                    <a:pt x="698954" y="663978"/>
                  </a:lnTo>
                  <a:lnTo>
                    <a:pt x="700539" y="663753"/>
                  </a:lnTo>
                  <a:lnTo>
                    <a:pt x="702214" y="665097"/>
                  </a:lnTo>
                  <a:lnTo>
                    <a:pt x="699526" y="667001"/>
                  </a:lnTo>
                  <a:lnTo>
                    <a:pt x="697408" y="667506"/>
                  </a:lnTo>
                  <a:lnTo>
                    <a:pt x="694773" y="668650"/>
                  </a:lnTo>
                  <a:lnTo>
                    <a:pt x="689751" y="671584"/>
                  </a:lnTo>
                  <a:lnTo>
                    <a:pt x="683342" y="677677"/>
                  </a:lnTo>
                  <a:lnTo>
                    <a:pt x="680578" y="679433"/>
                  </a:lnTo>
                  <a:lnTo>
                    <a:pt x="677310" y="680827"/>
                  </a:lnTo>
                  <a:lnTo>
                    <a:pt x="672877" y="679198"/>
                  </a:lnTo>
                  <a:lnTo>
                    <a:pt x="670401" y="678820"/>
                  </a:lnTo>
                  <a:lnTo>
                    <a:pt x="667220" y="676312"/>
                  </a:lnTo>
                  <a:lnTo>
                    <a:pt x="661860" y="674637"/>
                  </a:lnTo>
                  <a:lnTo>
                    <a:pt x="656816" y="671310"/>
                  </a:lnTo>
                  <a:lnTo>
                    <a:pt x="653361" y="669630"/>
                  </a:lnTo>
                  <a:lnTo>
                    <a:pt x="650899" y="669265"/>
                  </a:lnTo>
                  <a:lnTo>
                    <a:pt x="647431" y="669966"/>
                  </a:lnTo>
                  <a:lnTo>
                    <a:pt x="641616" y="666994"/>
                  </a:lnTo>
                  <a:lnTo>
                    <a:pt x="637200" y="666675"/>
                  </a:lnTo>
                  <a:lnTo>
                    <a:pt x="634302" y="669667"/>
                  </a:lnTo>
                  <a:lnTo>
                    <a:pt x="632043" y="669461"/>
                  </a:lnTo>
                  <a:lnTo>
                    <a:pt x="630549" y="669042"/>
                  </a:lnTo>
                  <a:lnTo>
                    <a:pt x="625897" y="664121"/>
                  </a:lnTo>
                  <a:lnTo>
                    <a:pt x="621411" y="661683"/>
                  </a:lnTo>
                  <a:lnTo>
                    <a:pt x="612926" y="660438"/>
                  </a:lnTo>
                  <a:lnTo>
                    <a:pt x="607690" y="657062"/>
                  </a:lnTo>
                  <a:lnTo>
                    <a:pt x="603747" y="650550"/>
                  </a:lnTo>
                  <a:lnTo>
                    <a:pt x="596288" y="643142"/>
                  </a:lnTo>
                  <a:lnTo>
                    <a:pt x="594286" y="640433"/>
                  </a:lnTo>
                  <a:lnTo>
                    <a:pt x="593357" y="637782"/>
                  </a:lnTo>
                  <a:lnTo>
                    <a:pt x="593274" y="635692"/>
                  </a:lnTo>
                  <a:lnTo>
                    <a:pt x="594278" y="631701"/>
                  </a:lnTo>
                  <a:lnTo>
                    <a:pt x="595664" y="627775"/>
                  </a:lnTo>
                  <a:lnTo>
                    <a:pt x="595901" y="625595"/>
                  </a:lnTo>
                  <a:lnTo>
                    <a:pt x="593064" y="618230"/>
                  </a:lnTo>
                  <a:lnTo>
                    <a:pt x="589078" y="611285"/>
                  </a:lnTo>
                  <a:lnTo>
                    <a:pt x="587246" y="609106"/>
                  </a:lnTo>
                  <a:lnTo>
                    <a:pt x="582360" y="604491"/>
                  </a:lnTo>
                  <a:lnTo>
                    <a:pt x="577778" y="601013"/>
                  </a:lnTo>
                  <a:lnTo>
                    <a:pt x="576614" y="599209"/>
                  </a:lnTo>
                  <a:lnTo>
                    <a:pt x="576258" y="598283"/>
                  </a:lnTo>
                  <a:lnTo>
                    <a:pt x="578423" y="598728"/>
                  </a:lnTo>
                  <a:lnTo>
                    <a:pt x="579432" y="597315"/>
                  </a:lnTo>
                  <a:lnTo>
                    <a:pt x="580881" y="596832"/>
                  </a:lnTo>
                  <a:lnTo>
                    <a:pt x="582043" y="598708"/>
                  </a:lnTo>
                  <a:lnTo>
                    <a:pt x="583345" y="599052"/>
                  </a:lnTo>
                  <a:lnTo>
                    <a:pt x="583403" y="595899"/>
                  </a:lnTo>
                  <a:lnTo>
                    <a:pt x="584133" y="594409"/>
                  </a:lnTo>
                  <a:lnTo>
                    <a:pt x="583634" y="593725"/>
                  </a:lnTo>
                  <a:lnTo>
                    <a:pt x="583191" y="593121"/>
                  </a:lnTo>
                  <a:lnTo>
                    <a:pt x="581207" y="592415"/>
                  </a:lnTo>
                  <a:lnTo>
                    <a:pt x="579017" y="593477"/>
                  </a:lnTo>
                  <a:lnTo>
                    <a:pt x="577335" y="594826"/>
                  </a:lnTo>
                  <a:lnTo>
                    <a:pt x="575070" y="595972"/>
                  </a:lnTo>
                  <a:lnTo>
                    <a:pt x="574187" y="597178"/>
                  </a:lnTo>
                  <a:lnTo>
                    <a:pt x="571880" y="597217"/>
                  </a:lnTo>
                  <a:lnTo>
                    <a:pt x="570967" y="597529"/>
                  </a:lnTo>
                  <a:lnTo>
                    <a:pt x="566372" y="599833"/>
                  </a:lnTo>
                  <a:lnTo>
                    <a:pt x="563439" y="599892"/>
                  </a:lnTo>
                  <a:lnTo>
                    <a:pt x="558909" y="599086"/>
                  </a:lnTo>
                  <a:lnTo>
                    <a:pt x="560408" y="595914"/>
                  </a:lnTo>
                  <a:lnTo>
                    <a:pt x="562193" y="594034"/>
                  </a:lnTo>
                  <a:lnTo>
                    <a:pt x="563673" y="591876"/>
                  </a:lnTo>
                  <a:lnTo>
                    <a:pt x="566134" y="584319"/>
                  </a:lnTo>
                  <a:lnTo>
                    <a:pt x="565666" y="577791"/>
                  </a:lnTo>
                  <a:lnTo>
                    <a:pt x="564478" y="575109"/>
                  </a:lnTo>
                  <a:lnTo>
                    <a:pt x="560677" y="569720"/>
                  </a:lnTo>
                  <a:lnTo>
                    <a:pt x="558950" y="566402"/>
                  </a:lnTo>
                  <a:lnTo>
                    <a:pt x="556806" y="562980"/>
                  </a:lnTo>
                  <a:lnTo>
                    <a:pt x="555746" y="564971"/>
                  </a:lnTo>
                  <a:lnTo>
                    <a:pt x="555104" y="567071"/>
                  </a:lnTo>
                  <a:lnTo>
                    <a:pt x="553047" y="570112"/>
                  </a:lnTo>
                  <a:lnTo>
                    <a:pt x="552048" y="576888"/>
                  </a:lnTo>
                  <a:lnTo>
                    <a:pt x="548015" y="587289"/>
                  </a:lnTo>
                  <a:lnTo>
                    <a:pt x="545245" y="587417"/>
                  </a:lnTo>
                  <a:lnTo>
                    <a:pt x="542882" y="586998"/>
                  </a:lnTo>
                  <a:lnTo>
                    <a:pt x="538743" y="588186"/>
                  </a:lnTo>
                  <a:lnTo>
                    <a:pt x="535914" y="589633"/>
                  </a:lnTo>
                  <a:lnTo>
                    <a:pt x="533380" y="589636"/>
                  </a:lnTo>
                  <a:lnTo>
                    <a:pt x="531981" y="590096"/>
                  </a:lnTo>
                  <a:lnTo>
                    <a:pt x="530146" y="589717"/>
                  </a:lnTo>
                  <a:lnTo>
                    <a:pt x="533036" y="581600"/>
                  </a:lnTo>
                  <a:lnTo>
                    <a:pt x="535560" y="581822"/>
                  </a:lnTo>
                  <a:lnTo>
                    <a:pt x="538293" y="581492"/>
                  </a:lnTo>
                  <a:lnTo>
                    <a:pt x="539540" y="581629"/>
                  </a:lnTo>
                  <a:lnTo>
                    <a:pt x="541366" y="581536"/>
                  </a:lnTo>
                  <a:lnTo>
                    <a:pt x="542766" y="577813"/>
                  </a:lnTo>
                  <a:lnTo>
                    <a:pt x="543621" y="573649"/>
                  </a:lnTo>
                  <a:lnTo>
                    <a:pt x="543081" y="570965"/>
                  </a:lnTo>
                  <a:lnTo>
                    <a:pt x="542869" y="568188"/>
                  </a:lnTo>
                  <a:lnTo>
                    <a:pt x="543413" y="565030"/>
                  </a:lnTo>
                  <a:lnTo>
                    <a:pt x="543640" y="562764"/>
                  </a:lnTo>
                  <a:lnTo>
                    <a:pt x="547101" y="555254"/>
                  </a:lnTo>
                  <a:lnTo>
                    <a:pt x="549986" y="551383"/>
                  </a:lnTo>
                  <a:lnTo>
                    <a:pt x="553325" y="548307"/>
                  </a:lnTo>
                  <a:lnTo>
                    <a:pt x="552930" y="545389"/>
                  </a:lnTo>
                  <a:lnTo>
                    <a:pt x="551869" y="541744"/>
                  </a:lnTo>
                  <a:lnTo>
                    <a:pt x="551567" y="538942"/>
                  </a:lnTo>
                  <a:lnTo>
                    <a:pt x="553159" y="538061"/>
                  </a:lnTo>
                  <a:lnTo>
                    <a:pt x="554668" y="536309"/>
                  </a:lnTo>
                  <a:lnTo>
                    <a:pt x="552913" y="528326"/>
                  </a:lnTo>
                  <a:lnTo>
                    <a:pt x="551805" y="525936"/>
                  </a:lnTo>
                  <a:lnTo>
                    <a:pt x="550038" y="523582"/>
                  </a:lnTo>
                  <a:lnTo>
                    <a:pt x="550008" y="526632"/>
                  </a:lnTo>
                  <a:lnTo>
                    <a:pt x="550209" y="529621"/>
                  </a:lnTo>
                  <a:lnTo>
                    <a:pt x="547760" y="533439"/>
                  </a:lnTo>
                  <a:lnTo>
                    <a:pt x="544577" y="536183"/>
                  </a:lnTo>
                  <a:lnTo>
                    <a:pt x="542500" y="538763"/>
                  </a:lnTo>
                  <a:lnTo>
                    <a:pt x="540552" y="544617"/>
                  </a:lnTo>
                  <a:lnTo>
                    <a:pt x="537968" y="549556"/>
                  </a:lnTo>
                  <a:lnTo>
                    <a:pt x="535601" y="551380"/>
                  </a:lnTo>
                  <a:lnTo>
                    <a:pt x="533482" y="551789"/>
                  </a:lnTo>
                  <a:lnTo>
                    <a:pt x="531316" y="552550"/>
                  </a:lnTo>
                  <a:lnTo>
                    <a:pt x="527933" y="554524"/>
                  </a:lnTo>
                  <a:lnTo>
                    <a:pt x="524661" y="556185"/>
                  </a:lnTo>
                  <a:lnTo>
                    <a:pt x="522236" y="558362"/>
                  </a:lnTo>
                  <a:lnTo>
                    <a:pt x="520131" y="559501"/>
                  </a:lnTo>
                  <a:lnTo>
                    <a:pt x="513286" y="569430"/>
                  </a:lnTo>
                  <a:lnTo>
                    <a:pt x="510159" y="572754"/>
                  </a:lnTo>
                  <a:lnTo>
                    <a:pt x="509515" y="574097"/>
                  </a:lnTo>
                  <a:lnTo>
                    <a:pt x="508198" y="575226"/>
                  </a:lnTo>
                  <a:lnTo>
                    <a:pt x="508455" y="576798"/>
                  </a:lnTo>
                  <a:lnTo>
                    <a:pt x="509515" y="577872"/>
                  </a:lnTo>
                  <a:lnTo>
                    <a:pt x="510576" y="582298"/>
                  </a:lnTo>
                  <a:lnTo>
                    <a:pt x="509939" y="583252"/>
                  </a:lnTo>
                  <a:lnTo>
                    <a:pt x="508820" y="582753"/>
                  </a:lnTo>
                  <a:lnTo>
                    <a:pt x="506017" y="580285"/>
                  </a:lnTo>
                  <a:lnTo>
                    <a:pt x="504250" y="581184"/>
                  </a:lnTo>
                  <a:lnTo>
                    <a:pt x="502815" y="582196"/>
                  </a:lnTo>
                  <a:lnTo>
                    <a:pt x="499129" y="577657"/>
                  </a:lnTo>
                  <a:lnTo>
                    <a:pt x="497600" y="576590"/>
                  </a:lnTo>
                  <a:lnTo>
                    <a:pt x="495665" y="574770"/>
                  </a:lnTo>
                  <a:lnTo>
                    <a:pt x="493597" y="573200"/>
                  </a:lnTo>
                  <a:lnTo>
                    <a:pt x="492716" y="573022"/>
                  </a:lnTo>
                  <a:lnTo>
                    <a:pt x="491217" y="573349"/>
                  </a:lnTo>
                  <a:lnTo>
                    <a:pt x="491361" y="572120"/>
                  </a:lnTo>
                  <a:lnTo>
                    <a:pt x="492387" y="571123"/>
                  </a:lnTo>
                  <a:lnTo>
                    <a:pt x="493290" y="570892"/>
                  </a:lnTo>
                  <a:lnTo>
                    <a:pt x="494963" y="572346"/>
                  </a:lnTo>
                  <a:lnTo>
                    <a:pt x="496870" y="573646"/>
                  </a:lnTo>
                  <a:lnTo>
                    <a:pt x="497945" y="573753"/>
                  </a:lnTo>
                  <a:lnTo>
                    <a:pt x="498446" y="573232"/>
                  </a:lnTo>
                  <a:lnTo>
                    <a:pt x="496632" y="568106"/>
                  </a:lnTo>
                  <a:lnTo>
                    <a:pt x="495395" y="563619"/>
                  </a:lnTo>
                  <a:lnTo>
                    <a:pt x="494827" y="562295"/>
                  </a:lnTo>
                  <a:lnTo>
                    <a:pt x="493337" y="557755"/>
                  </a:lnTo>
                  <a:lnTo>
                    <a:pt x="492597" y="556438"/>
                  </a:lnTo>
                  <a:lnTo>
                    <a:pt x="489427" y="553234"/>
                  </a:lnTo>
                  <a:lnTo>
                    <a:pt x="486036" y="549479"/>
                  </a:lnTo>
                  <a:lnTo>
                    <a:pt x="485106" y="544975"/>
                  </a:lnTo>
                  <a:lnTo>
                    <a:pt x="483875" y="542096"/>
                  </a:lnTo>
                  <a:lnTo>
                    <a:pt x="482283" y="540287"/>
                  </a:lnTo>
                  <a:lnTo>
                    <a:pt x="479822" y="538679"/>
                  </a:lnTo>
                  <a:lnTo>
                    <a:pt x="473045" y="538059"/>
                  </a:lnTo>
                  <a:lnTo>
                    <a:pt x="470221" y="533466"/>
                  </a:lnTo>
                  <a:lnTo>
                    <a:pt x="468604" y="527782"/>
                  </a:lnTo>
                  <a:lnTo>
                    <a:pt x="469887" y="527406"/>
                  </a:lnTo>
                  <a:lnTo>
                    <a:pt x="471406" y="527337"/>
                  </a:lnTo>
                  <a:lnTo>
                    <a:pt x="471895" y="525566"/>
                  </a:lnTo>
                  <a:lnTo>
                    <a:pt x="471562" y="522854"/>
                  </a:lnTo>
                  <a:lnTo>
                    <a:pt x="464840" y="519489"/>
                  </a:lnTo>
                  <a:lnTo>
                    <a:pt x="461668" y="515977"/>
                  </a:lnTo>
                  <a:lnTo>
                    <a:pt x="458983" y="514464"/>
                  </a:lnTo>
                  <a:lnTo>
                    <a:pt x="456463" y="513867"/>
                  </a:lnTo>
                  <a:lnTo>
                    <a:pt x="453130" y="514004"/>
                  </a:lnTo>
                  <a:lnTo>
                    <a:pt x="448962" y="513889"/>
                  </a:lnTo>
                  <a:lnTo>
                    <a:pt x="438908" y="508307"/>
                  </a:lnTo>
                  <a:lnTo>
                    <a:pt x="436503" y="508137"/>
                  </a:lnTo>
                  <a:lnTo>
                    <a:pt x="429316" y="509870"/>
                  </a:lnTo>
                  <a:lnTo>
                    <a:pt x="426906" y="509554"/>
                  </a:lnTo>
                  <a:lnTo>
                    <a:pt x="415995" y="501941"/>
                  </a:lnTo>
                  <a:lnTo>
                    <a:pt x="408741" y="498327"/>
                  </a:lnTo>
                  <a:lnTo>
                    <a:pt x="406349" y="497654"/>
                  </a:lnTo>
                  <a:lnTo>
                    <a:pt x="403224" y="497035"/>
                  </a:lnTo>
                  <a:lnTo>
                    <a:pt x="400696" y="497918"/>
                  </a:lnTo>
                  <a:lnTo>
                    <a:pt x="398901" y="498749"/>
                  </a:lnTo>
                  <a:lnTo>
                    <a:pt x="395249" y="499683"/>
                  </a:lnTo>
                  <a:lnTo>
                    <a:pt x="380805" y="499074"/>
                  </a:lnTo>
                  <a:lnTo>
                    <a:pt x="368401" y="500252"/>
                  </a:lnTo>
                  <a:lnTo>
                    <a:pt x="359974" y="501051"/>
                  </a:lnTo>
                  <a:lnTo>
                    <a:pt x="354633" y="502096"/>
                  </a:lnTo>
                  <a:lnTo>
                    <a:pt x="345787" y="506627"/>
                  </a:lnTo>
                  <a:lnTo>
                    <a:pt x="335207" y="511011"/>
                  </a:lnTo>
                  <a:lnTo>
                    <a:pt x="326592" y="513090"/>
                  </a:lnTo>
                  <a:lnTo>
                    <a:pt x="318671" y="515860"/>
                  </a:lnTo>
                  <a:lnTo>
                    <a:pt x="313458" y="516666"/>
                  </a:lnTo>
                  <a:lnTo>
                    <a:pt x="306719" y="517011"/>
                  </a:lnTo>
                  <a:lnTo>
                    <a:pt x="292505" y="515682"/>
                  </a:lnTo>
                  <a:lnTo>
                    <a:pt x="287656" y="516668"/>
                  </a:lnTo>
                  <a:lnTo>
                    <a:pt x="279923" y="521804"/>
                  </a:lnTo>
                  <a:lnTo>
                    <a:pt x="277627" y="523051"/>
                  </a:lnTo>
                  <a:lnTo>
                    <a:pt x="273270" y="524477"/>
                  </a:lnTo>
                  <a:lnTo>
                    <a:pt x="262041" y="531088"/>
                  </a:lnTo>
                  <a:lnTo>
                    <a:pt x="256863" y="532504"/>
                  </a:lnTo>
                  <a:lnTo>
                    <a:pt x="253516" y="532955"/>
                  </a:lnTo>
                  <a:lnTo>
                    <a:pt x="250653" y="534358"/>
                  </a:lnTo>
                  <a:lnTo>
                    <a:pt x="248051" y="537178"/>
                  </a:lnTo>
                  <a:lnTo>
                    <a:pt x="244537" y="545017"/>
                  </a:lnTo>
                  <a:lnTo>
                    <a:pt x="242352" y="548735"/>
                  </a:lnTo>
                  <a:lnTo>
                    <a:pt x="237532" y="554689"/>
                  </a:lnTo>
                  <a:lnTo>
                    <a:pt x="234358" y="556673"/>
                  </a:lnTo>
                  <a:lnTo>
                    <a:pt x="231231" y="556404"/>
                  </a:lnTo>
                  <a:lnTo>
                    <a:pt x="227742" y="558464"/>
                  </a:lnTo>
                  <a:lnTo>
                    <a:pt x="224645" y="556285"/>
                  </a:lnTo>
                  <a:lnTo>
                    <a:pt x="222170" y="555868"/>
                  </a:lnTo>
                  <a:lnTo>
                    <a:pt x="218232" y="556042"/>
                  </a:lnTo>
                  <a:lnTo>
                    <a:pt x="204377" y="558551"/>
                  </a:lnTo>
                  <a:lnTo>
                    <a:pt x="202391" y="555634"/>
                  </a:lnTo>
                  <a:lnTo>
                    <a:pt x="199853" y="555195"/>
                  </a:lnTo>
                  <a:lnTo>
                    <a:pt x="195062" y="555338"/>
                  </a:lnTo>
                  <a:lnTo>
                    <a:pt x="187883" y="554451"/>
                  </a:lnTo>
                  <a:lnTo>
                    <a:pt x="174826" y="555557"/>
                  </a:lnTo>
                  <a:lnTo>
                    <a:pt x="168546" y="556760"/>
                  </a:lnTo>
                  <a:lnTo>
                    <a:pt x="166065" y="557838"/>
                  </a:lnTo>
                  <a:lnTo>
                    <a:pt x="161444" y="557151"/>
                  </a:lnTo>
                  <a:lnTo>
                    <a:pt x="153588" y="558127"/>
                  </a:lnTo>
                  <a:lnTo>
                    <a:pt x="150824" y="559787"/>
                  </a:lnTo>
                  <a:lnTo>
                    <a:pt x="148747" y="561271"/>
                  </a:lnTo>
                  <a:lnTo>
                    <a:pt x="144665" y="567923"/>
                  </a:lnTo>
                  <a:lnTo>
                    <a:pt x="140178" y="570122"/>
                  </a:lnTo>
                  <a:lnTo>
                    <a:pt x="136501" y="570195"/>
                  </a:lnTo>
                  <a:lnTo>
                    <a:pt x="132387" y="570707"/>
                  </a:lnTo>
                  <a:lnTo>
                    <a:pt x="124091" y="577130"/>
                  </a:lnTo>
                  <a:lnTo>
                    <a:pt x="115587" y="583372"/>
                  </a:lnTo>
                  <a:lnTo>
                    <a:pt x="112733" y="584040"/>
                  </a:lnTo>
                  <a:lnTo>
                    <a:pt x="109562" y="585084"/>
                  </a:lnTo>
                  <a:lnTo>
                    <a:pt x="105412" y="585584"/>
                  </a:lnTo>
                  <a:lnTo>
                    <a:pt x="103346" y="586156"/>
                  </a:lnTo>
                  <a:lnTo>
                    <a:pt x="93661" y="584551"/>
                  </a:lnTo>
                  <a:lnTo>
                    <a:pt x="87502" y="584372"/>
                  </a:lnTo>
                  <a:lnTo>
                    <a:pt x="79802" y="583404"/>
                  </a:lnTo>
                  <a:lnTo>
                    <a:pt x="73166" y="580349"/>
                  </a:lnTo>
                  <a:lnTo>
                    <a:pt x="68072" y="578578"/>
                  </a:lnTo>
                  <a:lnTo>
                    <a:pt x="62313" y="571859"/>
                  </a:lnTo>
                  <a:lnTo>
                    <a:pt x="58748" y="569357"/>
                  </a:lnTo>
                  <a:lnTo>
                    <a:pt x="52393" y="566319"/>
                  </a:lnTo>
                  <a:lnTo>
                    <a:pt x="50562" y="566434"/>
                  </a:lnTo>
                  <a:lnTo>
                    <a:pt x="49083" y="567263"/>
                  </a:lnTo>
                  <a:lnTo>
                    <a:pt x="46448" y="565122"/>
                  </a:lnTo>
                  <a:lnTo>
                    <a:pt x="46379" y="562365"/>
                  </a:lnTo>
                  <a:lnTo>
                    <a:pt x="45666" y="560028"/>
                  </a:lnTo>
                  <a:lnTo>
                    <a:pt x="45716" y="553891"/>
                  </a:lnTo>
                  <a:lnTo>
                    <a:pt x="46118" y="546727"/>
                  </a:lnTo>
                  <a:lnTo>
                    <a:pt x="48441" y="548336"/>
                  </a:lnTo>
                  <a:lnTo>
                    <a:pt x="50270" y="549902"/>
                  </a:lnTo>
                  <a:lnTo>
                    <a:pt x="54187" y="549815"/>
                  </a:lnTo>
                  <a:lnTo>
                    <a:pt x="57649" y="547123"/>
                  </a:lnTo>
                  <a:lnTo>
                    <a:pt x="59620" y="543184"/>
                  </a:lnTo>
                  <a:lnTo>
                    <a:pt x="61357" y="538746"/>
                  </a:lnTo>
                  <a:lnTo>
                    <a:pt x="61088" y="534035"/>
                  </a:lnTo>
                  <a:lnTo>
                    <a:pt x="59931" y="525771"/>
                  </a:lnTo>
                  <a:lnTo>
                    <a:pt x="60722" y="524037"/>
                  </a:lnTo>
                  <a:lnTo>
                    <a:pt x="61907" y="523332"/>
                  </a:lnTo>
                  <a:lnTo>
                    <a:pt x="62294" y="519227"/>
                  </a:lnTo>
                  <a:lnTo>
                    <a:pt x="62574" y="506632"/>
                  </a:lnTo>
                  <a:lnTo>
                    <a:pt x="61698" y="501898"/>
                  </a:lnTo>
                  <a:lnTo>
                    <a:pt x="56306" y="492318"/>
                  </a:lnTo>
                  <a:lnTo>
                    <a:pt x="52762" y="484011"/>
                  </a:lnTo>
                  <a:lnTo>
                    <a:pt x="50164" y="480267"/>
                  </a:lnTo>
                  <a:lnTo>
                    <a:pt x="47977" y="474250"/>
                  </a:lnTo>
                  <a:lnTo>
                    <a:pt x="46133" y="465897"/>
                  </a:lnTo>
                  <a:lnTo>
                    <a:pt x="45565" y="461684"/>
                  </a:lnTo>
                  <a:lnTo>
                    <a:pt x="44973" y="453927"/>
                  </a:lnTo>
                  <a:lnTo>
                    <a:pt x="45621" y="449536"/>
                  </a:lnTo>
                  <a:lnTo>
                    <a:pt x="45347" y="446975"/>
                  </a:lnTo>
                  <a:lnTo>
                    <a:pt x="43088" y="439971"/>
                  </a:lnTo>
                  <a:lnTo>
                    <a:pt x="38037" y="433446"/>
                  </a:lnTo>
                  <a:lnTo>
                    <a:pt x="37201" y="431041"/>
                  </a:lnTo>
                  <a:lnTo>
                    <a:pt x="37227" y="428507"/>
                  </a:lnTo>
                  <a:lnTo>
                    <a:pt x="36025" y="425547"/>
                  </a:lnTo>
                  <a:lnTo>
                    <a:pt x="31958" y="419603"/>
                  </a:lnTo>
                  <a:lnTo>
                    <a:pt x="27793" y="414473"/>
                  </a:lnTo>
                  <a:lnTo>
                    <a:pt x="27094" y="411980"/>
                  </a:lnTo>
                  <a:lnTo>
                    <a:pt x="26318" y="401657"/>
                  </a:lnTo>
                  <a:lnTo>
                    <a:pt x="24763" y="396961"/>
                  </a:lnTo>
                  <a:lnTo>
                    <a:pt x="17715" y="385075"/>
                  </a:lnTo>
                  <a:lnTo>
                    <a:pt x="9393" y="374860"/>
                  </a:lnTo>
                  <a:lnTo>
                    <a:pt x="7138" y="370690"/>
                  </a:lnTo>
                  <a:lnTo>
                    <a:pt x="6115" y="369289"/>
                  </a:lnTo>
                  <a:lnTo>
                    <a:pt x="6689" y="369099"/>
                  </a:lnTo>
                  <a:lnTo>
                    <a:pt x="7627" y="369645"/>
                  </a:lnTo>
                  <a:lnTo>
                    <a:pt x="8665" y="370663"/>
                  </a:lnTo>
                  <a:lnTo>
                    <a:pt x="9177" y="370749"/>
                  </a:lnTo>
                  <a:lnTo>
                    <a:pt x="9665" y="369907"/>
                  </a:lnTo>
                  <a:lnTo>
                    <a:pt x="9611" y="367960"/>
                  </a:lnTo>
                  <a:lnTo>
                    <a:pt x="9902" y="366881"/>
                  </a:lnTo>
                  <a:lnTo>
                    <a:pt x="10630" y="367474"/>
                  </a:lnTo>
                  <a:lnTo>
                    <a:pt x="11481" y="369664"/>
                  </a:lnTo>
                  <a:lnTo>
                    <a:pt x="14116" y="375319"/>
                  </a:lnTo>
                  <a:lnTo>
                    <a:pt x="14890" y="378198"/>
                  </a:lnTo>
                  <a:lnTo>
                    <a:pt x="18253" y="379076"/>
                  </a:lnTo>
                  <a:lnTo>
                    <a:pt x="19286" y="378321"/>
                  </a:lnTo>
                  <a:lnTo>
                    <a:pt x="20525" y="376833"/>
                  </a:lnTo>
                  <a:lnTo>
                    <a:pt x="20887" y="372840"/>
                  </a:lnTo>
                  <a:lnTo>
                    <a:pt x="19184" y="371035"/>
                  </a:lnTo>
                  <a:lnTo>
                    <a:pt x="17651" y="370270"/>
                  </a:lnTo>
                  <a:lnTo>
                    <a:pt x="15055" y="367310"/>
                  </a:lnTo>
                  <a:lnTo>
                    <a:pt x="13381" y="362573"/>
                  </a:lnTo>
                  <a:lnTo>
                    <a:pt x="10771" y="358200"/>
                  </a:lnTo>
                  <a:lnTo>
                    <a:pt x="10816" y="356639"/>
                  </a:lnTo>
                  <a:lnTo>
                    <a:pt x="12010" y="355505"/>
                  </a:lnTo>
                  <a:lnTo>
                    <a:pt x="13958" y="356120"/>
                  </a:lnTo>
                  <a:lnTo>
                    <a:pt x="15766" y="358633"/>
                  </a:lnTo>
                  <a:lnTo>
                    <a:pt x="17797" y="360976"/>
                  </a:lnTo>
                  <a:lnTo>
                    <a:pt x="17461" y="365076"/>
                  </a:lnTo>
                  <a:lnTo>
                    <a:pt x="17145" y="366199"/>
                  </a:lnTo>
                  <a:lnTo>
                    <a:pt x="17324" y="367146"/>
                  </a:lnTo>
                  <a:lnTo>
                    <a:pt x="18033" y="368048"/>
                  </a:lnTo>
                  <a:lnTo>
                    <a:pt x="18964" y="368757"/>
                  </a:lnTo>
                  <a:lnTo>
                    <a:pt x="19980" y="367717"/>
                  </a:lnTo>
                  <a:lnTo>
                    <a:pt x="20911" y="365319"/>
                  </a:lnTo>
                  <a:lnTo>
                    <a:pt x="21485" y="365631"/>
                  </a:lnTo>
                  <a:lnTo>
                    <a:pt x="22867" y="371100"/>
                  </a:lnTo>
                  <a:lnTo>
                    <a:pt x="23964" y="372588"/>
                  </a:lnTo>
                  <a:lnTo>
                    <a:pt x="26139" y="374298"/>
                  </a:lnTo>
                  <a:lnTo>
                    <a:pt x="28033" y="372967"/>
                  </a:lnTo>
                  <a:lnTo>
                    <a:pt x="28911" y="371829"/>
                  </a:lnTo>
                  <a:lnTo>
                    <a:pt x="28638" y="367967"/>
                  </a:lnTo>
                  <a:lnTo>
                    <a:pt x="29194" y="364238"/>
                  </a:lnTo>
                  <a:lnTo>
                    <a:pt x="28880" y="361467"/>
                  </a:lnTo>
                  <a:lnTo>
                    <a:pt x="23982" y="354223"/>
                  </a:lnTo>
                  <a:lnTo>
                    <a:pt x="19551" y="345286"/>
                  </a:lnTo>
                  <a:lnTo>
                    <a:pt x="16862" y="340845"/>
                  </a:lnTo>
                  <a:lnTo>
                    <a:pt x="14617" y="334166"/>
                  </a:lnTo>
                  <a:lnTo>
                    <a:pt x="13163" y="331856"/>
                  </a:lnTo>
                  <a:lnTo>
                    <a:pt x="11265" y="328124"/>
                  </a:lnTo>
                  <a:lnTo>
                    <a:pt x="11161" y="323863"/>
                  </a:lnTo>
                  <a:lnTo>
                    <a:pt x="11345" y="321012"/>
                  </a:lnTo>
                  <a:lnTo>
                    <a:pt x="12861" y="314861"/>
                  </a:lnTo>
                  <a:lnTo>
                    <a:pt x="14256" y="311660"/>
                  </a:lnTo>
                  <a:lnTo>
                    <a:pt x="18769" y="304308"/>
                  </a:lnTo>
                  <a:lnTo>
                    <a:pt x="18989" y="301142"/>
                  </a:lnTo>
                  <a:lnTo>
                    <a:pt x="18942" y="298761"/>
                  </a:lnTo>
                  <a:lnTo>
                    <a:pt x="19607" y="295105"/>
                  </a:lnTo>
                  <a:lnTo>
                    <a:pt x="19611" y="292563"/>
                  </a:lnTo>
                  <a:lnTo>
                    <a:pt x="19009" y="290195"/>
                  </a:lnTo>
                  <a:lnTo>
                    <a:pt x="17128" y="286120"/>
                  </a:lnTo>
                  <a:lnTo>
                    <a:pt x="19609" y="279014"/>
                  </a:lnTo>
                  <a:lnTo>
                    <a:pt x="23222" y="269892"/>
                  </a:lnTo>
                  <a:lnTo>
                    <a:pt x="24647" y="268554"/>
                  </a:lnTo>
                  <a:lnTo>
                    <a:pt x="26882" y="267329"/>
                  </a:lnTo>
                  <a:lnTo>
                    <a:pt x="27294" y="269211"/>
                  </a:lnTo>
                  <a:lnTo>
                    <a:pt x="26193" y="275512"/>
                  </a:lnTo>
                  <a:lnTo>
                    <a:pt x="27765" y="278810"/>
                  </a:lnTo>
                  <a:lnTo>
                    <a:pt x="27273" y="282523"/>
                  </a:lnTo>
                  <a:lnTo>
                    <a:pt x="28679" y="281889"/>
                  </a:lnTo>
                  <a:lnTo>
                    <a:pt x="30853" y="281181"/>
                  </a:lnTo>
                  <a:lnTo>
                    <a:pt x="32494" y="279232"/>
                  </a:lnTo>
                  <a:lnTo>
                    <a:pt x="33362" y="277363"/>
                  </a:lnTo>
                  <a:lnTo>
                    <a:pt x="37471" y="269962"/>
                  </a:lnTo>
                  <a:lnTo>
                    <a:pt x="39825" y="267209"/>
                  </a:lnTo>
                  <a:lnTo>
                    <a:pt x="43138" y="265181"/>
                  </a:lnTo>
                  <a:lnTo>
                    <a:pt x="49829" y="262740"/>
                  </a:lnTo>
                  <a:lnTo>
                    <a:pt x="56340" y="259525"/>
                  </a:lnTo>
                  <a:lnTo>
                    <a:pt x="59434" y="256434"/>
                  </a:lnTo>
                  <a:lnTo>
                    <a:pt x="63313" y="253755"/>
                  </a:lnTo>
                  <a:lnTo>
                    <a:pt x="66012" y="250852"/>
                  </a:lnTo>
                  <a:lnTo>
                    <a:pt x="68608" y="248858"/>
                  </a:lnTo>
                  <a:lnTo>
                    <a:pt x="81763" y="241540"/>
                  </a:lnTo>
                  <a:lnTo>
                    <a:pt x="83993" y="240165"/>
                  </a:lnTo>
                  <a:lnTo>
                    <a:pt x="86859" y="240010"/>
                  </a:lnTo>
                  <a:lnTo>
                    <a:pt x="90374" y="240253"/>
                  </a:lnTo>
                  <a:lnTo>
                    <a:pt x="93553" y="239868"/>
                  </a:lnTo>
                  <a:lnTo>
                    <a:pt x="96952" y="241533"/>
                  </a:lnTo>
                  <a:lnTo>
                    <a:pt x="99461" y="241720"/>
                  </a:lnTo>
                  <a:lnTo>
                    <a:pt x="105600" y="239911"/>
                  </a:lnTo>
                  <a:lnTo>
                    <a:pt x="108882" y="238292"/>
                  </a:lnTo>
                  <a:lnTo>
                    <a:pt x="114521" y="234753"/>
                  </a:lnTo>
                  <a:lnTo>
                    <a:pt x="116995" y="233743"/>
                  </a:lnTo>
                  <a:lnTo>
                    <a:pt x="122724" y="232625"/>
                  </a:lnTo>
                  <a:lnTo>
                    <a:pt x="129207" y="231134"/>
                  </a:lnTo>
                  <a:lnTo>
                    <a:pt x="137012" y="224998"/>
                  </a:lnTo>
                  <a:lnTo>
                    <a:pt x="142635" y="225389"/>
                  </a:lnTo>
                  <a:lnTo>
                    <a:pt x="147658" y="225986"/>
                  </a:lnTo>
                  <a:lnTo>
                    <a:pt x="151679" y="224149"/>
                  </a:lnTo>
                  <a:lnTo>
                    <a:pt x="161154" y="223024"/>
                  </a:lnTo>
                  <a:lnTo>
                    <a:pt x="166404" y="221472"/>
                  </a:lnTo>
                  <a:lnTo>
                    <a:pt x="176238" y="217406"/>
                  </a:lnTo>
                  <a:lnTo>
                    <a:pt x="178881" y="216013"/>
                  </a:lnTo>
                  <a:lnTo>
                    <a:pt x="182902" y="213109"/>
                  </a:lnTo>
                  <a:lnTo>
                    <a:pt x="186394" y="209483"/>
                  </a:lnTo>
                  <a:lnTo>
                    <a:pt x="189839" y="204587"/>
                  </a:lnTo>
                  <a:lnTo>
                    <a:pt x="191960" y="200204"/>
                  </a:lnTo>
                  <a:lnTo>
                    <a:pt x="192872" y="197947"/>
                  </a:lnTo>
                  <a:lnTo>
                    <a:pt x="194891" y="194361"/>
                  </a:lnTo>
                  <a:lnTo>
                    <a:pt x="196282" y="191524"/>
                  </a:lnTo>
                  <a:lnTo>
                    <a:pt x="197363" y="190177"/>
                  </a:lnTo>
                  <a:lnTo>
                    <a:pt x="201177" y="188270"/>
                  </a:lnTo>
                  <a:lnTo>
                    <a:pt x="206835" y="182910"/>
                  </a:lnTo>
                  <a:lnTo>
                    <a:pt x="208676" y="181832"/>
                  </a:lnTo>
                  <a:lnTo>
                    <a:pt x="209020" y="180120"/>
                  </a:lnTo>
                  <a:lnTo>
                    <a:pt x="207800" y="179161"/>
                  </a:lnTo>
                  <a:lnTo>
                    <a:pt x="206288" y="178559"/>
                  </a:lnTo>
                  <a:lnTo>
                    <a:pt x="205269" y="172895"/>
                  </a:lnTo>
                  <a:lnTo>
                    <a:pt x="204299" y="168990"/>
                  </a:lnTo>
                  <a:lnTo>
                    <a:pt x="204204" y="166241"/>
                  </a:lnTo>
                  <a:lnTo>
                    <a:pt x="204582" y="163628"/>
                  </a:lnTo>
                  <a:lnTo>
                    <a:pt x="206808" y="159577"/>
                  </a:lnTo>
                  <a:lnTo>
                    <a:pt x="208396" y="157838"/>
                  </a:lnTo>
                  <a:lnTo>
                    <a:pt x="210592" y="155814"/>
                  </a:lnTo>
                  <a:lnTo>
                    <a:pt x="212593" y="155188"/>
                  </a:lnTo>
                  <a:lnTo>
                    <a:pt x="214260" y="153416"/>
                  </a:lnTo>
                  <a:lnTo>
                    <a:pt x="216968" y="151659"/>
                  </a:lnTo>
                  <a:lnTo>
                    <a:pt x="218111" y="149897"/>
                  </a:lnTo>
                  <a:lnTo>
                    <a:pt x="219790" y="146313"/>
                  </a:lnTo>
                  <a:lnTo>
                    <a:pt x="221310" y="143592"/>
                  </a:lnTo>
                  <a:lnTo>
                    <a:pt x="222503" y="143687"/>
                  </a:lnTo>
                  <a:lnTo>
                    <a:pt x="224796" y="150014"/>
                  </a:lnTo>
                  <a:lnTo>
                    <a:pt x="226292" y="153373"/>
                  </a:lnTo>
                  <a:lnTo>
                    <a:pt x="229031" y="157325"/>
                  </a:lnTo>
                  <a:lnTo>
                    <a:pt x="231624" y="163152"/>
                  </a:lnTo>
                  <a:lnTo>
                    <a:pt x="233738" y="165821"/>
                  </a:lnTo>
                  <a:lnTo>
                    <a:pt x="234764" y="167547"/>
                  </a:lnTo>
                  <a:lnTo>
                    <a:pt x="235602" y="168349"/>
                  </a:lnTo>
                  <a:lnTo>
                    <a:pt x="235787" y="167240"/>
                  </a:lnTo>
                  <a:lnTo>
                    <a:pt x="235573" y="165945"/>
                  </a:lnTo>
                  <a:lnTo>
                    <a:pt x="236593" y="161493"/>
                  </a:lnTo>
                  <a:lnTo>
                    <a:pt x="236116" y="158370"/>
                  </a:lnTo>
                  <a:lnTo>
                    <a:pt x="236275" y="157179"/>
                  </a:lnTo>
                  <a:lnTo>
                    <a:pt x="236809" y="156676"/>
                  </a:lnTo>
                  <a:lnTo>
                    <a:pt x="237834" y="157016"/>
                  </a:lnTo>
                  <a:lnTo>
                    <a:pt x="239819" y="158758"/>
                  </a:lnTo>
                  <a:lnTo>
                    <a:pt x="240819" y="159381"/>
                  </a:lnTo>
                  <a:lnTo>
                    <a:pt x="241527" y="159236"/>
                  </a:lnTo>
                  <a:lnTo>
                    <a:pt x="241492" y="156416"/>
                  </a:lnTo>
                  <a:lnTo>
                    <a:pt x="242486" y="154637"/>
                  </a:lnTo>
                  <a:lnTo>
                    <a:pt x="242086" y="153411"/>
                  </a:lnTo>
                  <a:lnTo>
                    <a:pt x="240357" y="153480"/>
                  </a:lnTo>
                  <a:lnTo>
                    <a:pt x="239625" y="151961"/>
                  </a:lnTo>
                  <a:lnTo>
                    <a:pt x="238197" y="150203"/>
                  </a:lnTo>
                  <a:lnTo>
                    <a:pt x="236575" y="148940"/>
                  </a:lnTo>
                  <a:lnTo>
                    <a:pt x="234604" y="146047"/>
                  </a:lnTo>
                  <a:lnTo>
                    <a:pt x="233995" y="144911"/>
                  </a:lnTo>
                  <a:lnTo>
                    <a:pt x="234762" y="144386"/>
                  </a:lnTo>
                  <a:lnTo>
                    <a:pt x="236006" y="144461"/>
                  </a:lnTo>
                  <a:lnTo>
                    <a:pt x="236992" y="143221"/>
                  </a:lnTo>
                  <a:lnTo>
                    <a:pt x="237446" y="141559"/>
                  </a:lnTo>
                  <a:lnTo>
                    <a:pt x="236573" y="138857"/>
                  </a:lnTo>
                  <a:lnTo>
                    <a:pt x="237468" y="137855"/>
                  </a:lnTo>
                  <a:lnTo>
                    <a:pt x="239268" y="138141"/>
                  </a:lnTo>
                  <a:lnTo>
                    <a:pt x="242149" y="142450"/>
                  </a:lnTo>
                  <a:lnTo>
                    <a:pt x="243388" y="142024"/>
                  </a:lnTo>
                  <a:lnTo>
                    <a:pt x="244407" y="140284"/>
                  </a:lnTo>
                  <a:lnTo>
                    <a:pt x="246245" y="139786"/>
                  </a:lnTo>
                  <a:lnTo>
                    <a:pt x="248133" y="140100"/>
                  </a:lnTo>
                  <a:lnTo>
                    <a:pt x="249376" y="141344"/>
                  </a:lnTo>
                  <a:lnTo>
                    <a:pt x="251905" y="142585"/>
                  </a:lnTo>
                  <a:lnTo>
                    <a:pt x="255273" y="142443"/>
                  </a:lnTo>
                  <a:lnTo>
                    <a:pt x="256982" y="142742"/>
                  </a:lnTo>
                  <a:lnTo>
                    <a:pt x="260573" y="142537"/>
                  </a:lnTo>
                  <a:lnTo>
                    <a:pt x="262333" y="142911"/>
                  </a:lnTo>
                  <a:lnTo>
                    <a:pt x="262002" y="142246"/>
                  </a:lnTo>
                  <a:lnTo>
                    <a:pt x="260061" y="141461"/>
                  </a:lnTo>
                  <a:lnTo>
                    <a:pt x="257873" y="141304"/>
                  </a:lnTo>
                  <a:lnTo>
                    <a:pt x="255312" y="141381"/>
                  </a:lnTo>
                  <a:lnTo>
                    <a:pt x="254215" y="140557"/>
                  </a:lnTo>
                  <a:lnTo>
                    <a:pt x="253848" y="138381"/>
                  </a:lnTo>
                  <a:lnTo>
                    <a:pt x="254470" y="136803"/>
                  </a:lnTo>
                  <a:lnTo>
                    <a:pt x="254872" y="136130"/>
                  </a:lnTo>
                  <a:lnTo>
                    <a:pt x="256539" y="136413"/>
                  </a:lnTo>
                  <a:lnTo>
                    <a:pt x="258018" y="136353"/>
                  </a:lnTo>
                  <a:lnTo>
                    <a:pt x="258200" y="134231"/>
                  </a:lnTo>
                  <a:lnTo>
                    <a:pt x="258720" y="132358"/>
                  </a:lnTo>
                  <a:lnTo>
                    <a:pt x="259603" y="130833"/>
                  </a:lnTo>
                  <a:lnTo>
                    <a:pt x="259599" y="129365"/>
                  </a:lnTo>
                  <a:lnTo>
                    <a:pt x="258677" y="129755"/>
                  </a:lnTo>
                  <a:lnTo>
                    <a:pt x="256414" y="133151"/>
                  </a:lnTo>
                  <a:lnTo>
                    <a:pt x="255330" y="130388"/>
                  </a:lnTo>
                  <a:lnTo>
                    <a:pt x="253701" y="128294"/>
                  </a:lnTo>
                  <a:lnTo>
                    <a:pt x="254032" y="125297"/>
                  </a:lnTo>
                  <a:lnTo>
                    <a:pt x="254982" y="122300"/>
                  </a:lnTo>
                  <a:lnTo>
                    <a:pt x="256444" y="121889"/>
                  </a:lnTo>
                  <a:lnTo>
                    <a:pt x="257682" y="122362"/>
                  </a:lnTo>
                  <a:lnTo>
                    <a:pt x="259510" y="120609"/>
                  </a:lnTo>
                  <a:lnTo>
                    <a:pt x="260541" y="119270"/>
                  </a:lnTo>
                  <a:lnTo>
                    <a:pt x="260303" y="118169"/>
                  </a:lnTo>
                  <a:lnTo>
                    <a:pt x="260577" y="117323"/>
                  </a:lnTo>
                  <a:lnTo>
                    <a:pt x="261858" y="117586"/>
                  </a:lnTo>
                  <a:lnTo>
                    <a:pt x="266757" y="120280"/>
                  </a:lnTo>
                  <a:lnTo>
                    <a:pt x="267738" y="121688"/>
                  </a:lnTo>
                  <a:lnTo>
                    <a:pt x="268768" y="121140"/>
                  </a:lnTo>
                  <a:lnTo>
                    <a:pt x="269098" y="119606"/>
                  </a:lnTo>
                  <a:lnTo>
                    <a:pt x="268988" y="118072"/>
                  </a:lnTo>
                  <a:lnTo>
                    <a:pt x="267906" y="118304"/>
                  </a:lnTo>
                  <a:lnTo>
                    <a:pt x="265367" y="118147"/>
                  </a:lnTo>
                  <a:lnTo>
                    <a:pt x="264781" y="117285"/>
                  </a:lnTo>
                  <a:lnTo>
                    <a:pt x="265002" y="116574"/>
                  </a:lnTo>
                  <a:lnTo>
                    <a:pt x="263816" y="114769"/>
                  </a:lnTo>
                  <a:lnTo>
                    <a:pt x="265477" y="113621"/>
                  </a:lnTo>
                  <a:lnTo>
                    <a:pt x="266905" y="113546"/>
                  </a:lnTo>
                  <a:lnTo>
                    <a:pt x="267891" y="112760"/>
                  </a:lnTo>
                  <a:lnTo>
                    <a:pt x="267906" y="111686"/>
                  </a:lnTo>
                  <a:lnTo>
                    <a:pt x="268219" y="111228"/>
                  </a:lnTo>
                  <a:lnTo>
                    <a:pt x="268988" y="111866"/>
                  </a:lnTo>
                  <a:lnTo>
                    <a:pt x="271547" y="112161"/>
                  </a:lnTo>
                  <a:lnTo>
                    <a:pt x="274061" y="113550"/>
                  </a:lnTo>
                  <a:lnTo>
                    <a:pt x="275240" y="113844"/>
                  </a:lnTo>
                  <a:lnTo>
                    <a:pt x="275680" y="113098"/>
                  </a:lnTo>
                  <a:lnTo>
                    <a:pt x="275861" y="111488"/>
                  </a:lnTo>
                  <a:lnTo>
                    <a:pt x="272754" y="109881"/>
                  </a:lnTo>
                  <a:lnTo>
                    <a:pt x="272670" y="108301"/>
                  </a:lnTo>
                  <a:lnTo>
                    <a:pt x="271363" y="106480"/>
                  </a:lnTo>
                  <a:lnTo>
                    <a:pt x="271327" y="104689"/>
                  </a:lnTo>
                  <a:lnTo>
                    <a:pt x="273268" y="103191"/>
                  </a:lnTo>
                  <a:lnTo>
                    <a:pt x="273668" y="101738"/>
                  </a:lnTo>
                  <a:lnTo>
                    <a:pt x="274792" y="101147"/>
                  </a:lnTo>
                  <a:lnTo>
                    <a:pt x="277014" y="101123"/>
                  </a:lnTo>
                  <a:lnTo>
                    <a:pt x="278513" y="99891"/>
                  </a:lnTo>
                  <a:lnTo>
                    <a:pt x="280195" y="99461"/>
                  </a:lnTo>
                  <a:lnTo>
                    <a:pt x="280605" y="96717"/>
                  </a:lnTo>
                  <a:lnTo>
                    <a:pt x="280577" y="94833"/>
                  </a:lnTo>
                  <a:lnTo>
                    <a:pt x="281256" y="94348"/>
                  </a:lnTo>
                  <a:lnTo>
                    <a:pt x="282955" y="95133"/>
                  </a:lnTo>
                  <a:lnTo>
                    <a:pt x="282438" y="97312"/>
                  </a:lnTo>
                  <a:lnTo>
                    <a:pt x="282432" y="99392"/>
                  </a:lnTo>
                  <a:lnTo>
                    <a:pt x="282004" y="100506"/>
                  </a:lnTo>
                  <a:lnTo>
                    <a:pt x="282644" y="100413"/>
                  </a:lnTo>
                  <a:lnTo>
                    <a:pt x="283039" y="99950"/>
                  </a:lnTo>
                  <a:lnTo>
                    <a:pt x="283704" y="98583"/>
                  </a:lnTo>
                  <a:lnTo>
                    <a:pt x="285496" y="99143"/>
                  </a:lnTo>
                  <a:lnTo>
                    <a:pt x="285939" y="100605"/>
                  </a:lnTo>
                  <a:lnTo>
                    <a:pt x="286172" y="102036"/>
                  </a:lnTo>
                  <a:lnTo>
                    <a:pt x="287068" y="102503"/>
                  </a:lnTo>
                  <a:lnTo>
                    <a:pt x="288295" y="100301"/>
                  </a:lnTo>
                  <a:lnTo>
                    <a:pt x="289945" y="99717"/>
                  </a:lnTo>
                  <a:lnTo>
                    <a:pt x="289854" y="96935"/>
                  </a:lnTo>
                  <a:lnTo>
                    <a:pt x="290478" y="94943"/>
                  </a:lnTo>
                  <a:lnTo>
                    <a:pt x="290672" y="93448"/>
                  </a:lnTo>
                  <a:lnTo>
                    <a:pt x="291718" y="92719"/>
                  </a:lnTo>
                  <a:lnTo>
                    <a:pt x="291949" y="91133"/>
                  </a:lnTo>
                  <a:lnTo>
                    <a:pt x="291111" y="90039"/>
                  </a:lnTo>
                  <a:lnTo>
                    <a:pt x="290679" y="88048"/>
                  </a:lnTo>
                  <a:lnTo>
                    <a:pt x="292119" y="87608"/>
                  </a:lnTo>
                  <a:lnTo>
                    <a:pt x="293562" y="88608"/>
                  </a:lnTo>
                  <a:lnTo>
                    <a:pt x="294533" y="91118"/>
                  </a:lnTo>
                  <a:lnTo>
                    <a:pt x="295203" y="92249"/>
                  </a:lnTo>
                  <a:lnTo>
                    <a:pt x="296095" y="91633"/>
                  </a:lnTo>
                  <a:lnTo>
                    <a:pt x="296630" y="89961"/>
                  </a:lnTo>
                  <a:lnTo>
                    <a:pt x="298401" y="88988"/>
                  </a:lnTo>
                  <a:lnTo>
                    <a:pt x="300154" y="90340"/>
                  </a:lnTo>
                  <a:lnTo>
                    <a:pt x="302085" y="92190"/>
                  </a:lnTo>
                  <a:lnTo>
                    <a:pt x="304503" y="90576"/>
                  </a:lnTo>
                  <a:lnTo>
                    <a:pt x="306749" y="87551"/>
                  </a:lnTo>
                  <a:lnTo>
                    <a:pt x="306390" y="85700"/>
                  </a:lnTo>
                  <a:lnTo>
                    <a:pt x="306637" y="83795"/>
                  </a:lnTo>
                  <a:lnTo>
                    <a:pt x="309459" y="82796"/>
                  </a:lnTo>
                  <a:lnTo>
                    <a:pt x="311733" y="83531"/>
                  </a:lnTo>
                  <a:lnTo>
                    <a:pt x="313793" y="85573"/>
                  </a:lnTo>
                  <a:lnTo>
                    <a:pt x="318080" y="87091"/>
                  </a:lnTo>
                  <a:lnTo>
                    <a:pt x="321718" y="89270"/>
                  </a:lnTo>
                  <a:lnTo>
                    <a:pt x="323341" y="90695"/>
                  </a:lnTo>
                  <a:lnTo>
                    <a:pt x="326477" y="92961"/>
                  </a:lnTo>
                  <a:lnTo>
                    <a:pt x="328481" y="95313"/>
                  </a:lnTo>
                  <a:lnTo>
                    <a:pt x="331225" y="99505"/>
                  </a:lnTo>
                  <a:lnTo>
                    <a:pt x="337702" y="104618"/>
                  </a:lnTo>
                  <a:lnTo>
                    <a:pt x="338120" y="105525"/>
                  </a:lnTo>
                  <a:lnTo>
                    <a:pt x="337246" y="107233"/>
                  </a:lnTo>
                  <a:lnTo>
                    <a:pt x="336462" y="109420"/>
                  </a:lnTo>
                  <a:lnTo>
                    <a:pt x="335490" y="113124"/>
                  </a:lnTo>
                  <a:lnTo>
                    <a:pt x="335246" y="118583"/>
                  </a:lnTo>
                  <a:lnTo>
                    <a:pt x="336182" y="118192"/>
                  </a:lnTo>
                  <a:lnTo>
                    <a:pt x="337149" y="116236"/>
                  </a:lnTo>
                  <a:lnTo>
                    <a:pt x="338172" y="116638"/>
                  </a:lnTo>
                  <a:lnTo>
                    <a:pt x="339343" y="117887"/>
                  </a:lnTo>
                  <a:lnTo>
                    <a:pt x="339438" y="116689"/>
                  </a:lnTo>
                  <a:lnTo>
                    <a:pt x="338737" y="115965"/>
                  </a:lnTo>
                  <a:lnTo>
                    <a:pt x="337535" y="113446"/>
                  </a:lnTo>
                  <a:lnTo>
                    <a:pt x="337581" y="112111"/>
                  </a:lnTo>
                  <a:lnTo>
                    <a:pt x="338539" y="111038"/>
                  </a:lnTo>
                  <a:lnTo>
                    <a:pt x="340016" y="109753"/>
                  </a:lnTo>
                  <a:lnTo>
                    <a:pt x="341632" y="108912"/>
                  </a:lnTo>
                  <a:lnTo>
                    <a:pt x="342627" y="108177"/>
                  </a:lnTo>
                  <a:lnTo>
                    <a:pt x="342774" y="107268"/>
                  </a:lnTo>
                  <a:lnTo>
                    <a:pt x="344269" y="106343"/>
                  </a:lnTo>
                  <a:lnTo>
                    <a:pt x="346442" y="106039"/>
                  </a:lnTo>
                  <a:lnTo>
                    <a:pt x="347765" y="106185"/>
                  </a:lnTo>
                  <a:lnTo>
                    <a:pt x="357110" y="108521"/>
                  </a:lnTo>
                  <a:lnTo>
                    <a:pt x="359475" y="110854"/>
                  </a:lnTo>
                  <a:lnTo>
                    <a:pt x="359697" y="113736"/>
                  </a:lnTo>
                  <a:lnTo>
                    <a:pt x="360596" y="114758"/>
                  </a:lnTo>
                  <a:lnTo>
                    <a:pt x="361083" y="112947"/>
                  </a:lnTo>
                  <a:lnTo>
                    <a:pt x="360989" y="109011"/>
                  </a:lnTo>
                  <a:lnTo>
                    <a:pt x="361740" y="108230"/>
                  </a:lnTo>
                  <a:lnTo>
                    <a:pt x="364254" y="108839"/>
                  </a:lnTo>
                  <a:lnTo>
                    <a:pt x="365972" y="109625"/>
                  </a:lnTo>
                  <a:lnTo>
                    <a:pt x="368363" y="112205"/>
                  </a:lnTo>
                  <a:lnTo>
                    <a:pt x="368818" y="113471"/>
                  </a:lnTo>
                  <a:lnTo>
                    <a:pt x="369859" y="114294"/>
                  </a:lnTo>
                  <a:lnTo>
                    <a:pt x="370203" y="113098"/>
                  </a:lnTo>
                  <a:lnTo>
                    <a:pt x="369715" y="111402"/>
                  </a:lnTo>
                  <a:lnTo>
                    <a:pt x="369371" y="109459"/>
                  </a:lnTo>
                  <a:lnTo>
                    <a:pt x="369911" y="107767"/>
                  </a:lnTo>
                  <a:lnTo>
                    <a:pt x="372705" y="107632"/>
                  </a:lnTo>
                  <a:lnTo>
                    <a:pt x="374590" y="107268"/>
                  </a:lnTo>
                  <a:lnTo>
                    <a:pt x="373699" y="106608"/>
                  </a:lnTo>
                  <a:lnTo>
                    <a:pt x="372485" y="106379"/>
                  </a:lnTo>
                  <a:lnTo>
                    <a:pt x="370483" y="104828"/>
                  </a:lnTo>
                  <a:lnTo>
                    <a:pt x="369194" y="103161"/>
                  </a:lnTo>
                  <a:lnTo>
                    <a:pt x="371272" y="101540"/>
                  </a:lnTo>
                  <a:lnTo>
                    <a:pt x="371256" y="101136"/>
                  </a:lnTo>
                  <a:lnTo>
                    <a:pt x="369266" y="101187"/>
                  </a:lnTo>
                  <a:lnTo>
                    <a:pt x="366523" y="99609"/>
                  </a:lnTo>
                  <a:lnTo>
                    <a:pt x="364198" y="97413"/>
                  </a:lnTo>
                  <a:lnTo>
                    <a:pt x="365977" y="93375"/>
                  </a:lnTo>
                  <a:lnTo>
                    <a:pt x="369525" y="89427"/>
                  </a:lnTo>
                  <a:lnTo>
                    <a:pt x="371520" y="88110"/>
                  </a:lnTo>
                  <a:lnTo>
                    <a:pt x="371707" y="86778"/>
                  </a:lnTo>
                  <a:lnTo>
                    <a:pt x="372666" y="84323"/>
                  </a:lnTo>
                  <a:lnTo>
                    <a:pt x="373276" y="82250"/>
                  </a:lnTo>
                  <a:lnTo>
                    <a:pt x="373450" y="80640"/>
                  </a:lnTo>
                  <a:lnTo>
                    <a:pt x="374372" y="78941"/>
                  </a:lnTo>
                  <a:lnTo>
                    <a:pt x="376562" y="77336"/>
                  </a:lnTo>
                  <a:lnTo>
                    <a:pt x="379542" y="76762"/>
                  </a:lnTo>
                  <a:lnTo>
                    <a:pt x="380941" y="76136"/>
                  </a:lnTo>
                  <a:lnTo>
                    <a:pt x="382342" y="74656"/>
                  </a:lnTo>
                  <a:lnTo>
                    <a:pt x="383680" y="72848"/>
                  </a:lnTo>
                  <a:lnTo>
                    <a:pt x="380920" y="69322"/>
                  </a:lnTo>
                  <a:lnTo>
                    <a:pt x="381149" y="67381"/>
                  </a:lnTo>
                  <a:lnTo>
                    <a:pt x="381654" y="65093"/>
                  </a:lnTo>
                  <a:lnTo>
                    <a:pt x="384966" y="63419"/>
                  </a:lnTo>
                  <a:lnTo>
                    <a:pt x="386778" y="59037"/>
                  </a:lnTo>
                  <a:lnTo>
                    <a:pt x="387979" y="58379"/>
                  </a:lnTo>
                  <a:lnTo>
                    <a:pt x="390581" y="58508"/>
                  </a:lnTo>
                  <a:lnTo>
                    <a:pt x="391589" y="58115"/>
                  </a:lnTo>
                  <a:lnTo>
                    <a:pt x="391414" y="54621"/>
                  </a:lnTo>
                  <a:lnTo>
                    <a:pt x="391704" y="53269"/>
                  </a:lnTo>
                  <a:lnTo>
                    <a:pt x="392803" y="52727"/>
                  </a:lnTo>
                  <a:lnTo>
                    <a:pt x="394213" y="53194"/>
                  </a:lnTo>
                  <a:lnTo>
                    <a:pt x="395107" y="54711"/>
                  </a:lnTo>
                  <a:lnTo>
                    <a:pt x="397115" y="56115"/>
                  </a:lnTo>
                  <a:lnTo>
                    <a:pt x="397797" y="55347"/>
                  </a:lnTo>
                  <a:lnTo>
                    <a:pt x="397458" y="53808"/>
                  </a:lnTo>
                  <a:lnTo>
                    <a:pt x="397258" y="51835"/>
                  </a:lnTo>
                  <a:lnTo>
                    <a:pt x="399089" y="51410"/>
                  </a:lnTo>
                  <a:lnTo>
                    <a:pt x="400565" y="51289"/>
                  </a:lnTo>
                  <a:lnTo>
                    <a:pt x="400713" y="49678"/>
                  </a:lnTo>
                  <a:lnTo>
                    <a:pt x="400479" y="48394"/>
                  </a:lnTo>
                  <a:lnTo>
                    <a:pt x="401058" y="47851"/>
                  </a:lnTo>
                  <a:lnTo>
                    <a:pt x="404911" y="47588"/>
                  </a:lnTo>
                  <a:lnTo>
                    <a:pt x="405917" y="46267"/>
                  </a:lnTo>
                  <a:lnTo>
                    <a:pt x="406495" y="45119"/>
                  </a:lnTo>
                  <a:lnTo>
                    <a:pt x="406985" y="45748"/>
                  </a:lnTo>
                  <a:lnTo>
                    <a:pt x="407612" y="48309"/>
                  </a:lnTo>
                  <a:lnTo>
                    <a:pt x="409738" y="49810"/>
                  </a:lnTo>
                  <a:lnTo>
                    <a:pt x="416107" y="49836"/>
                  </a:lnTo>
                  <a:lnTo>
                    <a:pt x="419683" y="48800"/>
                  </a:lnTo>
                  <a:lnTo>
                    <a:pt x="421203" y="49413"/>
                  </a:lnTo>
                  <a:lnTo>
                    <a:pt x="423576" y="49895"/>
                  </a:lnTo>
                  <a:lnTo>
                    <a:pt x="426191" y="48688"/>
                  </a:lnTo>
                  <a:lnTo>
                    <a:pt x="427759" y="47770"/>
                  </a:lnTo>
                  <a:lnTo>
                    <a:pt x="430387" y="48962"/>
                  </a:lnTo>
                  <a:lnTo>
                    <a:pt x="431249" y="50217"/>
                  </a:lnTo>
                  <a:lnTo>
                    <a:pt x="431925" y="47553"/>
                  </a:lnTo>
                  <a:lnTo>
                    <a:pt x="433449" y="46622"/>
                  </a:lnTo>
                  <a:lnTo>
                    <a:pt x="435068" y="46070"/>
                  </a:lnTo>
                  <a:lnTo>
                    <a:pt x="437115" y="46515"/>
                  </a:lnTo>
                  <a:lnTo>
                    <a:pt x="437921" y="46366"/>
                  </a:lnTo>
                  <a:lnTo>
                    <a:pt x="436100" y="44385"/>
                  </a:lnTo>
                  <a:lnTo>
                    <a:pt x="436207" y="42581"/>
                  </a:lnTo>
                  <a:lnTo>
                    <a:pt x="436088" y="39916"/>
                  </a:lnTo>
                  <a:lnTo>
                    <a:pt x="436416" y="37480"/>
                  </a:lnTo>
                  <a:lnTo>
                    <a:pt x="437068" y="35729"/>
                  </a:lnTo>
                  <a:lnTo>
                    <a:pt x="432667" y="32200"/>
                  </a:lnTo>
                  <a:lnTo>
                    <a:pt x="428305" y="31666"/>
                  </a:lnTo>
                  <a:lnTo>
                    <a:pt x="425113" y="32406"/>
                  </a:lnTo>
                  <a:lnTo>
                    <a:pt x="423770" y="31824"/>
                  </a:lnTo>
                  <a:lnTo>
                    <a:pt x="420935" y="28998"/>
                  </a:lnTo>
                  <a:lnTo>
                    <a:pt x="418234" y="27966"/>
                  </a:lnTo>
                  <a:lnTo>
                    <a:pt x="417998" y="27271"/>
                  </a:lnTo>
                  <a:lnTo>
                    <a:pt x="421309" y="25244"/>
                  </a:lnTo>
                  <a:lnTo>
                    <a:pt x="422570" y="25592"/>
                  </a:lnTo>
                  <a:lnTo>
                    <a:pt x="424498" y="27489"/>
                  </a:lnTo>
                  <a:lnTo>
                    <a:pt x="425597" y="28161"/>
                  </a:lnTo>
                  <a:lnTo>
                    <a:pt x="426532" y="28023"/>
                  </a:lnTo>
                  <a:lnTo>
                    <a:pt x="427135" y="26541"/>
                  </a:lnTo>
                  <a:lnTo>
                    <a:pt x="427968" y="25762"/>
                  </a:lnTo>
                  <a:lnTo>
                    <a:pt x="429545" y="26199"/>
                  </a:lnTo>
                  <a:lnTo>
                    <a:pt x="434483" y="29409"/>
                  </a:lnTo>
                  <a:lnTo>
                    <a:pt x="437258" y="32515"/>
                  </a:lnTo>
                  <a:lnTo>
                    <a:pt x="438679" y="31695"/>
                  </a:lnTo>
                  <a:lnTo>
                    <a:pt x="441112" y="29952"/>
                  </a:lnTo>
                  <a:lnTo>
                    <a:pt x="443410" y="30315"/>
                  </a:lnTo>
                  <a:lnTo>
                    <a:pt x="444822" y="31334"/>
                  </a:lnTo>
                  <a:lnTo>
                    <a:pt x="446801" y="35119"/>
                  </a:lnTo>
                  <a:lnTo>
                    <a:pt x="448368" y="36998"/>
                  </a:lnTo>
                  <a:lnTo>
                    <a:pt x="452147" y="37504"/>
                  </a:lnTo>
                  <a:lnTo>
                    <a:pt x="454071" y="38224"/>
                  </a:lnTo>
                  <a:lnTo>
                    <a:pt x="456062" y="39476"/>
                  </a:lnTo>
                  <a:lnTo>
                    <a:pt x="458744" y="39366"/>
                  </a:lnTo>
                  <a:lnTo>
                    <a:pt x="464265" y="39831"/>
                  </a:lnTo>
                  <a:lnTo>
                    <a:pt x="469467" y="42255"/>
                  </a:lnTo>
                  <a:lnTo>
                    <a:pt x="471627" y="43770"/>
                  </a:lnTo>
                  <a:lnTo>
                    <a:pt x="474147" y="44175"/>
                  </a:lnTo>
                  <a:lnTo>
                    <a:pt x="475613" y="44780"/>
                  </a:lnTo>
                  <a:lnTo>
                    <a:pt x="478282" y="44962"/>
                  </a:lnTo>
                  <a:lnTo>
                    <a:pt x="482532" y="43246"/>
                  </a:lnTo>
                  <a:lnTo>
                    <a:pt x="484436" y="44824"/>
                  </a:lnTo>
                  <a:lnTo>
                    <a:pt x="485283" y="45897"/>
                  </a:lnTo>
                  <a:lnTo>
                    <a:pt x="489153" y="47943"/>
                  </a:lnTo>
                  <a:lnTo>
                    <a:pt x="493316" y="48570"/>
                  </a:lnTo>
                  <a:lnTo>
                    <a:pt x="496287" y="46495"/>
                  </a:lnTo>
                  <a:lnTo>
                    <a:pt x="500630" y="44957"/>
                  </a:lnTo>
                  <a:lnTo>
                    <a:pt x="503655" y="42614"/>
                  </a:lnTo>
                  <a:lnTo>
                    <a:pt x="505931" y="41512"/>
                  </a:lnTo>
                  <a:lnTo>
                    <a:pt x="508070" y="39599"/>
                  </a:lnTo>
                  <a:lnTo>
                    <a:pt x="508894" y="39691"/>
                  </a:lnTo>
                  <a:lnTo>
                    <a:pt x="507149" y="41477"/>
                  </a:lnTo>
                  <a:lnTo>
                    <a:pt x="506937" y="42491"/>
                  </a:lnTo>
                  <a:lnTo>
                    <a:pt x="508304" y="42914"/>
                  </a:lnTo>
                  <a:lnTo>
                    <a:pt x="508163" y="43435"/>
                  </a:lnTo>
                  <a:lnTo>
                    <a:pt x="506281" y="44825"/>
                  </a:lnTo>
                  <a:lnTo>
                    <a:pt x="504030" y="46997"/>
                  </a:lnTo>
                  <a:lnTo>
                    <a:pt x="504071" y="48305"/>
                  </a:lnTo>
                  <a:lnTo>
                    <a:pt x="504946" y="49019"/>
                  </a:lnTo>
                  <a:lnTo>
                    <a:pt x="505982" y="48701"/>
                  </a:lnTo>
                  <a:lnTo>
                    <a:pt x="507455" y="47601"/>
                  </a:lnTo>
                  <a:lnTo>
                    <a:pt x="509232" y="47009"/>
                  </a:lnTo>
                  <a:lnTo>
                    <a:pt x="510796" y="47890"/>
                  </a:lnTo>
                  <a:lnTo>
                    <a:pt x="511304" y="51020"/>
                  </a:lnTo>
                  <a:lnTo>
                    <a:pt x="512417" y="53076"/>
                  </a:lnTo>
                  <a:lnTo>
                    <a:pt x="514868" y="53361"/>
                  </a:lnTo>
                  <a:lnTo>
                    <a:pt x="516371" y="53330"/>
                  </a:lnTo>
                  <a:lnTo>
                    <a:pt x="517872" y="50452"/>
                  </a:lnTo>
                  <a:lnTo>
                    <a:pt x="517063" y="48002"/>
                  </a:lnTo>
                  <a:lnTo>
                    <a:pt x="516134" y="47478"/>
                  </a:lnTo>
                  <a:lnTo>
                    <a:pt x="516581" y="46549"/>
                  </a:lnTo>
                  <a:lnTo>
                    <a:pt x="520412" y="42509"/>
                  </a:lnTo>
                  <a:lnTo>
                    <a:pt x="522554" y="42647"/>
                  </a:lnTo>
                  <a:lnTo>
                    <a:pt x="524091" y="46593"/>
                  </a:lnTo>
                  <a:lnTo>
                    <a:pt x="526517" y="48677"/>
                  </a:lnTo>
                  <a:lnTo>
                    <a:pt x="529103" y="48513"/>
                  </a:lnTo>
                  <a:lnTo>
                    <a:pt x="530453" y="49060"/>
                  </a:lnTo>
                  <a:lnTo>
                    <a:pt x="531558" y="51447"/>
                  </a:lnTo>
                  <a:lnTo>
                    <a:pt x="522483" y="61202"/>
                  </a:lnTo>
                  <a:lnTo>
                    <a:pt x="522057" y="62293"/>
                  </a:lnTo>
                  <a:lnTo>
                    <a:pt x="523280" y="64064"/>
                  </a:lnTo>
                  <a:lnTo>
                    <a:pt x="523750" y="66136"/>
                  </a:lnTo>
                  <a:lnTo>
                    <a:pt x="520802" y="71115"/>
                  </a:lnTo>
                  <a:lnTo>
                    <a:pt x="519716" y="71361"/>
                  </a:lnTo>
                  <a:lnTo>
                    <a:pt x="518669" y="70016"/>
                  </a:lnTo>
                  <a:lnTo>
                    <a:pt x="517112" y="69153"/>
                  </a:lnTo>
                  <a:lnTo>
                    <a:pt x="515745" y="69759"/>
                  </a:lnTo>
                  <a:lnTo>
                    <a:pt x="514281" y="70122"/>
                  </a:lnTo>
                  <a:lnTo>
                    <a:pt x="509001" y="72894"/>
                  </a:lnTo>
                  <a:lnTo>
                    <a:pt x="509042" y="80036"/>
                  </a:lnTo>
                  <a:lnTo>
                    <a:pt x="510376" y="84283"/>
                  </a:lnTo>
                  <a:lnTo>
                    <a:pt x="509602" y="87093"/>
                  </a:lnTo>
                  <a:lnTo>
                    <a:pt x="508029" y="92014"/>
                  </a:lnTo>
                  <a:lnTo>
                    <a:pt x="506326" y="93842"/>
                  </a:lnTo>
                  <a:lnTo>
                    <a:pt x="504959" y="95025"/>
                  </a:lnTo>
                  <a:lnTo>
                    <a:pt x="500411" y="101758"/>
                  </a:lnTo>
                  <a:lnTo>
                    <a:pt x="498960" y="103377"/>
                  </a:lnTo>
                  <a:lnTo>
                    <a:pt x="497456" y="105671"/>
                  </a:lnTo>
                  <a:lnTo>
                    <a:pt x="497960" y="107872"/>
                  </a:lnTo>
                  <a:lnTo>
                    <a:pt x="498520" y="109397"/>
                  </a:lnTo>
                  <a:lnTo>
                    <a:pt x="500232" y="111144"/>
                  </a:lnTo>
                  <a:lnTo>
                    <a:pt x="506907" y="114756"/>
                  </a:lnTo>
                  <a:lnTo>
                    <a:pt x="509935" y="117246"/>
                  </a:lnTo>
                  <a:lnTo>
                    <a:pt x="515149" y="120260"/>
                  </a:lnTo>
                  <a:lnTo>
                    <a:pt x="516341" y="122338"/>
                  </a:lnTo>
                  <a:lnTo>
                    <a:pt x="517052" y="124034"/>
                  </a:lnTo>
                  <a:lnTo>
                    <a:pt x="520822" y="125962"/>
                  </a:lnTo>
                  <a:lnTo>
                    <a:pt x="523513" y="127124"/>
                  </a:lnTo>
                  <a:lnTo>
                    <a:pt x="524290" y="126825"/>
                  </a:lnTo>
                  <a:lnTo>
                    <a:pt x="524852" y="126423"/>
                  </a:lnTo>
                  <a:lnTo>
                    <a:pt x="525525" y="126418"/>
                  </a:lnTo>
                  <a:lnTo>
                    <a:pt x="526195" y="126642"/>
                  </a:lnTo>
                  <a:lnTo>
                    <a:pt x="526089" y="128153"/>
                  </a:lnTo>
                  <a:lnTo>
                    <a:pt x="525793" y="128980"/>
                  </a:lnTo>
                  <a:lnTo>
                    <a:pt x="526045" y="130034"/>
                  </a:lnTo>
                  <a:lnTo>
                    <a:pt x="527959" y="131378"/>
                  </a:lnTo>
                  <a:lnTo>
                    <a:pt x="531010" y="131335"/>
                  </a:lnTo>
                  <a:lnTo>
                    <a:pt x="532767" y="131017"/>
                  </a:lnTo>
                  <a:lnTo>
                    <a:pt x="534707" y="132445"/>
                  </a:lnTo>
                  <a:lnTo>
                    <a:pt x="536456" y="133370"/>
                  </a:lnTo>
                  <a:lnTo>
                    <a:pt x="539338" y="135279"/>
                  </a:lnTo>
                  <a:lnTo>
                    <a:pt x="544359" y="137565"/>
                  </a:lnTo>
                  <a:lnTo>
                    <a:pt x="548280" y="139061"/>
                  </a:lnTo>
                  <a:lnTo>
                    <a:pt x="552906" y="144590"/>
                  </a:lnTo>
                  <a:lnTo>
                    <a:pt x="556415" y="147780"/>
                  </a:lnTo>
                  <a:lnTo>
                    <a:pt x="560250" y="150083"/>
                  </a:lnTo>
                  <a:lnTo>
                    <a:pt x="566013" y="151701"/>
                  </a:lnTo>
                  <a:lnTo>
                    <a:pt x="568667" y="151435"/>
                  </a:lnTo>
                  <a:lnTo>
                    <a:pt x="572971" y="153318"/>
                  </a:lnTo>
                  <a:lnTo>
                    <a:pt x="577162" y="154197"/>
                  </a:lnTo>
                  <a:lnTo>
                    <a:pt x="579385" y="156807"/>
                  </a:lnTo>
                  <a:lnTo>
                    <a:pt x="580140" y="158787"/>
                  </a:lnTo>
                  <a:lnTo>
                    <a:pt x="580352" y="160306"/>
                  </a:lnTo>
                  <a:lnTo>
                    <a:pt x="582438" y="163968"/>
                  </a:lnTo>
                  <a:lnTo>
                    <a:pt x="586685" y="165151"/>
                  </a:lnTo>
                  <a:lnTo>
                    <a:pt x="592194" y="168800"/>
                  </a:lnTo>
                  <a:lnTo>
                    <a:pt x="596724" y="170410"/>
                  </a:lnTo>
                  <a:lnTo>
                    <a:pt x="597863" y="171374"/>
                  </a:lnTo>
                  <a:lnTo>
                    <a:pt x="599849" y="172492"/>
                  </a:lnTo>
                  <a:lnTo>
                    <a:pt x="603692" y="172532"/>
                  </a:lnTo>
                  <a:lnTo>
                    <a:pt x="610359" y="170710"/>
                  </a:lnTo>
                  <a:lnTo>
                    <a:pt x="613395" y="168869"/>
                  </a:lnTo>
                  <a:lnTo>
                    <a:pt x="617420" y="165923"/>
                  </a:lnTo>
                  <a:lnTo>
                    <a:pt x="619307" y="160870"/>
                  </a:lnTo>
                  <a:lnTo>
                    <a:pt x="620417" y="156819"/>
                  </a:lnTo>
                  <a:lnTo>
                    <a:pt x="626014" y="148443"/>
                  </a:lnTo>
                  <a:lnTo>
                    <a:pt x="627612" y="144293"/>
                  </a:lnTo>
                  <a:lnTo>
                    <a:pt x="629033" y="138790"/>
                  </a:lnTo>
                  <a:lnTo>
                    <a:pt x="630277" y="135352"/>
                  </a:lnTo>
                  <a:lnTo>
                    <a:pt x="629862" y="131614"/>
                  </a:lnTo>
                  <a:lnTo>
                    <a:pt x="631154" y="124830"/>
                  </a:lnTo>
                  <a:lnTo>
                    <a:pt x="634026" y="115553"/>
                  </a:lnTo>
                  <a:lnTo>
                    <a:pt x="634999" y="112415"/>
                  </a:lnTo>
                  <a:lnTo>
                    <a:pt x="634513" y="107807"/>
                  </a:lnTo>
                  <a:lnTo>
                    <a:pt x="632733" y="99166"/>
                  </a:lnTo>
                  <a:lnTo>
                    <a:pt x="633529" y="96182"/>
                  </a:lnTo>
                  <a:lnTo>
                    <a:pt x="634311" y="92007"/>
                  </a:lnTo>
                  <a:lnTo>
                    <a:pt x="633009" y="88982"/>
                  </a:lnTo>
                  <a:lnTo>
                    <a:pt x="631797" y="86910"/>
                  </a:lnTo>
                  <a:lnTo>
                    <a:pt x="631618" y="83999"/>
                  </a:lnTo>
                  <a:lnTo>
                    <a:pt x="632981" y="78510"/>
                  </a:lnTo>
                  <a:lnTo>
                    <a:pt x="634188" y="75612"/>
                  </a:lnTo>
                  <a:lnTo>
                    <a:pt x="635440" y="71877"/>
                  </a:lnTo>
                  <a:lnTo>
                    <a:pt x="634736" y="64779"/>
                  </a:lnTo>
                  <a:lnTo>
                    <a:pt x="637411" y="62308"/>
                  </a:lnTo>
                  <a:lnTo>
                    <a:pt x="638466" y="61077"/>
                  </a:lnTo>
                  <a:lnTo>
                    <a:pt x="640534" y="61066"/>
                  </a:lnTo>
                  <a:lnTo>
                    <a:pt x="641519" y="61621"/>
                  </a:lnTo>
                  <a:lnTo>
                    <a:pt x="641728" y="60204"/>
                  </a:lnTo>
                  <a:lnTo>
                    <a:pt x="640912" y="58889"/>
                  </a:lnTo>
                  <a:lnTo>
                    <a:pt x="640590" y="57361"/>
                  </a:lnTo>
                  <a:lnTo>
                    <a:pt x="640011" y="56584"/>
                  </a:lnTo>
                  <a:lnTo>
                    <a:pt x="638737" y="56312"/>
                  </a:lnTo>
                  <a:lnTo>
                    <a:pt x="637679" y="55477"/>
                  </a:lnTo>
                  <a:lnTo>
                    <a:pt x="636155" y="54624"/>
                  </a:lnTo>
                  <a:lnTo>
                    <a:pt x="636394" y="51474"/>
                  </a:lnTo>
                  <a:lnTo>
                    <a:pt x="638986" y="45393"/>
                  </a:lnTo>
                  <a:lnTo>
                    <a:pt x="640417" y="43050"/>
                  </a:lnTo>
                  <a:lnTo>
                    <a:pt x="641357" y="44028"/>
                  </a:lnTo>
                  <a:lnTo>
                    <a:pt x="642421" y="44815"/>
                  </a:lnTo>
                  <a:lnTo>
                    <a:pt x="642568" y="43065"/>
                  </a:lnTo>
                  <a:lnTo>
                    <a:pt x="642210" y="41269"/>
                  </a:lnTo>
                  <a:lnTo>
                    <a:pt x="644177" y="35342"/>
                  </a:lnTo>
                  <a:lnTo>
                    <a:pt x="646353" y="27312"/>
                  </a:lnTo>
                  <a:lnTo>
                    <a:pt x="647004" y="20001"/>
                  </a:lnTo>
                  <a:lnTo>
                    <a:pt x="650500" y="18605"/>
                  </a:lnTo>
                  <a:lnTo>
                    <a:pt x="652276" y="16773"/>
                  </a:lnTo>
                  <a:close/>
                  <a:moveTo>
                    <a:pt x="647658" y="12071"/>
                  </a:moveTo>
                  <a:lnTo>
                    <a:pt x="649357" y="14593"/>
                  </a:lnTo>
                  <a:lnTo>
                    <a:pt x="647513" y="15873"/>
                  </a:lnTo>
                  <a:lnTo>
                    <a:pt x="646315" y="15200"/>
                  </a:lnTo>
                  <a:lnTo>
                    <a:pt x="646056" y="13780"/>
                  </a:lnTo>
                  <a:lnTo>
                    <a:pt x="646179" y="13158"/>
                  </a:lnTo>
                  <a:close/>
                  <a:moveTo>
                    <a:pt x="649887" y="1980"/>
                  </a:moveTo>
                  <a:lnTo>
                    <a:pt x="650776" y="3137"/>
                  </a:lnTo>
                  <a:lnTo>
                    <a:pt x="649459" y="4522"/>
                  </a:lnTo>
                  <a:lnTo>
                    <a:pt x="648062" y="4107"/>
                  </a:lnTo>
                  <a:lnTo>
                    <a:pt x="647595" y="3296"/>
                  </a:lnTo>
                  <a:lnTo>
                    <a:pt x="648118" y="2181"/>
                  </a:lnTo>
                  <a:close/>
                  <a:moveTo>
                    <a:pt x="646572" y="0"/>
                  </a:moveTo>
                  <a:lnTo>
                    <a:pt x="647526" y="748"/>
                  </a:lnTo>
                  <a:lnTo>
                    <a:pt x="646986" y="2286"/>
                  </a:lnTo>
                  <a:lnTo>
                    <a:pt x="646421" y="2892"/>
                  </a:lnTo>
                  <a:lnTo>
                    <a:pt x="645440" y="1564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56" name="ee4p_FJ_1_37365">
              <a:extLst>
                <a:ext uri="{FF2B5EF4-FFF2-40B4-BE49-F238E27FC236}">
                  <a16:creationId xmlns:a16="http://schemas.microsoft.com/office/drawing/2014/main" id="{04EED881-A229-677B-ED98-5B405957EF8A}"/>
                </a:ext>
              </a:extLst>
            </p:cNvPr>
            <p:cNvSpPr>
              <a:spLocks noChangeAspect="1"/>
            </p:cNvSpPr>
            <p:nvPr>
              <p:custDataLst>
                <p:tags r:id="rId210"/>
              </p:custDataLst>
            </p:nvPr>
          </p:nvSpPr>
          <p:spPr>
            <a:xfrm>
              <a:off x="11362871" y="5139723"/>
              <a:ext cx="155245" cy="164931"/>
            </a:xfrm>
            <a:custGeom>
              <a:avLst/>
              <a:gdLst>
                <a:gd name="connsiteX0" fmla="*/ 376 w 123618"/>
                <a:gd name="connsiteY0" fmla="*/ 126960 h 127850"/>
                <a:gd name="connsiteX1" fmla="*/ 897 w 123618"/>
                <a:gd name="connsiteY1" fmla="*/ 127157 h 127850"/>
                <a:gd name="connsiteX2" fmla="*/ 940 w 123618"/>
                <a:gd name="connsiteY2" fmla="*/ 127598 h 127850"/>
                <a:gd name="connsiteX3" fmla="*/ 767 w 123618"/>
                <a:gd name="connsiteY3" fmla="*/ 127850 h 127850"/>
                <a:gd name="connsiteX4" fmla="*/ 128 w 123618"/>
                <a:gd name="connsiteY4" fmla="*/ 127768 h 127850"/>
                <a:gd name="connsiteX5" fmla="*/ 0 w 123618"/>
                <a:gd name="connsiteY5" fmla="*/ 127252 h 127850"/>
                <a:gd name="connsiteX6" fmla="*/ 82856 w 123618"/>
                <a:gd name="connsiteY6" fmla="*/ 64012 h 127850"/>
                <a:gd name="connsiteX7" fmla="*/ 84759 w 123618"/>
                <a:gd name="connsiteY7" fmla="*/ 64385 h 127850"/>
                <a:gd name="connsiteX8" fmla="*/ 86253 w 123618"/>
                <a:gd name="connsiteY8" fmla="*/ 64920 h 127850"/>
                <a:gd name="connsiteX9" fmla="*/ 86249 w 123618"/>
                <a:gd name="connsiteY9" fmla="*/ 65904 h 127850"/>
                <a:gd name="connsiteX10" fmla="*/ 83403 w 123618"/>
                <a:gd name="connsiteY10" fmla="*/ 66558 h 127850"/>
                <a:gd name="connsiteX11" fmla="*/ 82444 w 123618"/>
                <a:gd name="connsiteY11" fmla="*/ 65746 h 127850"/>
                <a:gd name="connsiteX12" fmla="*/ 81833 w 123618"/>
                <a:gd name="connsiteY12" fmla="*/ 65598 h 127850"/>
                <a:gd name="connsiteX13" fmla="*/ 80137 w 123618"/>
                <a:gd name="connsiteY13" fmla="*/ 67037 h 127850"/>
                <a:gd name="connsiteX14" fmla="*/ 79647 w 123618"/>
                <a:gd name="connsiteY14" fmla="*/ 67628 h 127850"/>
                <a:gd name="connsiteX15" fmla="*/ 79485 w 123618"/>
                <a:gd name="connsiteY15" fmla="*/ 68073 h 127850"/>
                <a:gd name="connsiteX16" fmla="*/ 79049 w 123618"/>
                <a:gd name="connsiteY16" fmla="*/ 68297 h 127850"/>
                <a:gd name="connsiteX17" fmla="*/ 75924 w 123618"/>
                <a:gd name="connsiteY17" fmla="*/ 68989 h 127850"/>
                <a:gd name="connsiteX18" fmla="*/ 74552 w 123618"/>
                <a:gd name="connsiteY18" fmla="*/ 68299 h 127850"/>
                <a:gd name="connsiteX19" fmla="*/ 75482 w 123618"/>
                <a:gd name="connsiteY19" fmla="*/ 67829 h 127850"/>
                <a:gd name="connsiteX20" fmla="*/ 76613 w 123618"/>
                <a:gd name="connsiteY20" fmla="*/ 66892 h 127850"/>
                <a:gd name="connsiteX21" fmla="*/ 77766 w 123618"/>
                <a:gd name="connsiteY21" fmla="*/ 67030 h 127850"/>
                <a:gd name="connsiteX22" fmla="*/ 78929 w 123618"/>
                <a:gd name="connsiteY22" fmla="*/ 66153 h 127850"/>
                <a:gd name="connsiteX23" fmla="*/ 80073 w 123618"/>
                <a:gd name="connsiteY23" fmla="*/ 64817 h 127850"/>
                <a:gd name="connsiteX24" fmla="*/ 81705 w 123618"/>
                <a:gd name="connsiteY24" fmla="*/ 64529 h 127850"/>
                <a:gd name="connsiteX25" fmla="*/ 104353 w 123618"/>
                <a:gd name="connsiteY25" fmla="*/ 41365 h 127850"/>
                <a:gd name="connsiteX26" fmla="*/ 105048 w 123618"/>
                <a:gd name="connsiteY26" fmla="*/ 42403 h 127850"/>
                <a:gd name="connsiteX27" fmla="*/ 105590 w 123618"/>
                <a:gd name="connsiteY27" fmla="*/ 44131 h 127850"/>
                <a:gd name="connsiteX28" fmla="*/ 105301 w 123618"/>
                <a:gd name="connsiteY28" fmla="*/ 44979 h 127850"/>
                <a:gd name="connsiteX29" fmla="*/ 105105 w 123618"/>
                <a:gd name="connsiteY29" fmla="*/ 45164 h 127850"/>
                <a:gd name="connsiteX30" fmla="*/ 103182 w 123618"/>
                <a:gd name="connsiteY30" fmla="*/ 43340 h 127850"/>
                <a:gd name="connsiteX31" fmla="*/ 103247 w 123618"/>
                <a:gd name="connsiteY31" fmla="*/ 42619 h 127850"/>
                <a:gd name="connsiteX32" fmla="*/ 103586 w 123618"/>
                <a:gd name="connsiteY32" fmla="*/ 41973 h 127850"/>
                <a:gd name="connsiteX33" fmla="*/ 93841 w 123618"/>
                <a:gd name="connsiteY33" fmla="*/ 33946 h 127850"/>
                <a:gd name="connsiteX34" fmla="*/ 94316 w 123618"/>
                <a:gd name="connsiteY34" fmla="*/ 35369 h 127850"/>
                <a:gd name="connsiteX35" fmla="*/ 93764 w 123618"/>
                <a:gd name="connsiteY35" fmla="*/ 36458 h 127850"/>
                <a:gd name="connsiteX36" fmla="*/ 92626 w 123618"/>
                <a:gd name="connsiteY36" fmla="*/ 36864 h 127850"/>
                <a:gd name="connsiteX37" fmla="*/ 91997 w 123618"/>
                <a:gd name="connsiteY37" fmla="*/ 35471 h 127850"/>
                <a:gd name="connsiteX38" fmla="*/ 92870 w 123618"/>
                <a:gd name="connsiteY38" fmla="*/ 34073 h 127850"/>
                <a:gd name="connsiteX39" fmla="*/ 79612 w 123618"/>
                <a:gd name="connsiteY39" fmla="*/ 26977 h 127850"/>
                <a:gd name="connsiteX40" fmla="*/ 80930 w 123618"/>
                <a:gd name="connsiteY40" fmla="*/ 27344 h 127850"/>
                <a:gd name="connsiteX41" fmla="*/ 81660 w 123618"/>
                <a:gd name="connsiteY41" fmla="*/ 28320 h 127850"/>
                <a:gd name="connsiteX42" fmla="*/ 81660 w 123618"/>
                <a:gd name="connsiteY42" fmla="*/ 29328 h 127850"/>
                <a:gd name="connsiteX43" fmla="*/ 82308 w 123618"/>
                <a:gd name="connsiteY43" fmla="*/ 29764 h 127850"/>
                <a:gd name="connsiteX44" fmla="*/ 82951 w 123618"/>
                <a:gd name="connsiteY44" fmla="*/ 29835 h 127850"/>
                <a:gd name="connsiteX45" fmla="*/ 84551 w 123618"/>
                <a:gd name="connsiteY45" fmla="*/ 31762 h 127850"/>
                <a:gd name="connsiteX46" fmla="*/ 87035 w 123618"/>
                <a:gd name="connsiteY46" fmla="*/ 33421 h 127850"/>
                <a:gd name="connsiteX47" fmla="*/ 88546 w 123618"/>
                <a:gd name="connsiteY47" fmla="*/ 34690 h 127850"/>
                <a:gd name="connsiteX48" fmla="*/ 88637 w 123618"/>
                <a:gd name="connsiteY48" fmla="*/ 35775 h 127850"/>
                <a:gd name="connsiteX49" fmla="*/ 88177 w 123618"/>
                <a:gd name="connsiteY49" fmla="*/ 36921 h 127850"/>
                <a:gd name="connsiteX50" fmla="*/ 88816 w 123618"/>
                <a:gd name="connsiteY50" fmla="*/ 38976 h 127850"/>
                <a:gd name="connsiteX51" fmla="*/ 89127 w 123618"/>
                <a:gd name="connsiteY51" fmla="*/ 41108 h 127850"/>
                <a:gd name="connsiteX52" fmla="*/ 90229 w 123618"/>
                <a:gd name="connsiteY52" fmla="*/ 44488 h 127850"/>
                <a:gd name="connsiteX53" fmla="*/ 88674 w 123618"/>
                <a:gd name="connsiteY53" fmla="*/ 45130 h 127850"/>
                <a:gd name="connsiteX54" fmla="*/ 86227 w 123618"/>
                <a:gd name="connsiteY54" fmla="*/ 45206 h 127850"/>
                <a:gd name="connsiteX55" fmla="*/ 85662 w 123618"/>
                <a:gd name="connsiteY55" fmla="*/ 45815 h 127850"/>
                <a:gd name="connsiteX56" fmla="*/ 84828 w 123618"/>
                <a:gd name="connsiteY56" fmla="*/ 45478 h 127850"/>
                <a:gd name="connsiteX57" fmla="*/ 82796 w 123618"/>
                <a:gd name="connsiteY57" fmla="*/ 45730 h 127850"/>
                <a:gd name="connsiteX58" fmla="*/ 80854 w 123618"/>
                <a:gd name="connsiteY58" fmla="*/ 46844 h 127850"/>
                <a:gd name="connsiteX59" fmla="*/ 79006 w 123618"/>
                <a:gd name="connsiteY59" fmla="*/ 48356 h 127850"/>
                <a:gd name="connsiteX60" fmla="*/ 76879 w 123618"/>
                <a:gd name="connsiteY60" fmla="*/ 48361 h 127850"/>
                <a:gd name="connsiteX61" fmla="*/ 74480 w 123618"/>
                <a:gd name="connsiteY61" fmla="*/ 48673 h 127850"/>
                <a:gd name="connsiteX62" fmla="*/ 72083 w 123618"/>
                <a:gd name="connsiteY62" fmla="*/ 48463 h 127850"/>
                <a:gd name="connsiteX63" fmla="*/ 70397 w 123618"/>
                <a:gd name="connsiteY63" fmla="*/ 47656 h 127850"/>
                <a:gd name="connsiteX64" fmla="*/ 67426 w 123618"/>
                <a:gd name="connsiteY64" fmla="*/ 46777 h 127850"/>
                <a:gd name="connsiteX65" fmla="*/ 63465 w 123618"/>
                <a:gd name="connsiteY65" fmla="*/ 46027 h 127850"/>
                <a:gd name="connsiteX66" fmla="*/ 61826 w 123618"/>
                <a:gd name="connsiteY66" fmla="*/ 45398 h 127850"/>
                <a:gd name="connsiteX67" fmla="*/ 60459 w 123618"/>
                <a:gd name="connsiteY67" fmla="*/ 44412 h 127850"/>
                <a:gd name="connsiteX68" fmla="*/ 59179 w 123618"/>
                <a:gd name="connsiteY68" fmla="*/ 41926 h 127850"/>
                <a:gd name="connsiteX69" fmla="*/ 58989 w 123618"/>
                <a:gd name="connsiteY69" fmla="*/ 40700 h 127850"/>
                <a:gd name="connsiteX70" fmla="*/ 59190 w 123618"/>
                <a:gd name="connsiteY70" fmla="*/ 39526 h 127850"/>
                <a:gd name="connsiteX71" fmla="*/ 60347 w 123618"/>
                <a:gd name="connsiteY71" fmla="*/ 39129 h 127850"/>
                <a:gd name="connsiteX72" fmla="*/ 61316 w 123618"/>
                <a:gd name="connsiteY72" fmla="*/ 38534 h 127850"/>
                <a:gd name="connsiteX73" fmla="*/ 61455 w 123618"/>
                <a:gd name="connsiteY73" fmla="*/ 37759 h 127850"/>
                <a:gd name="connsiteX74" fmla="*/ 61882 w 123618"/>
                <a:gd name="connsiteY74" fmla="*/ 37218 h 127850"/>
                <a:gd name="connsiteX75" fmla="*/ 62439 w 123618"/>
                <a:gd name="connsiteY75" fmla="*/ 37022 h 127850"/>
                <a:gd name="connsiteX76" fmla="*/ 62711 w 123618"/>
                <a:gd name="connsiteY76" fmla="*/ 36647 h 127850"/>
                <a:gd name="connsiteX77" fmla="*/ 62321 w 123618"/>
                <a:gd name="connsiteY77" fmla="*/ 35389 h 127850"/>
                <a:gd name="connsiteX78" fmla="*/ 62213 w 123618"/>
                <a:gd name="connsiteY78" fmla="*/ 34238 h 127850"/>
                <a:gd name="connsiteX79" fmla="*/ 64508 w 123618"/>
                <a:gd name="connsiteY79" fmla="*/ 32139 h 127850"/>
                <a:gd name="connsiteX80" fmla="*/ 67017 w 123618"/>
                <a:gd name="connsiteY80" fmla="*/ 30349 h 127850"/>
                <a:gd name="connsiteX81" fmla="*/ 71439 w 123618"/>
                <a:gd name="connsiteY81" fmla="*/ 28696 h 127850"/>
                <a:gd name="connsiteX82" fmla="*/ 74143 w 123618"/>
                <a:gd name="connsiteY82" fmla="*/ 28847 h 127850"/>
                <a:gd name="connsiteX83" fmla="*/ 78287 w 123618"/>
                <a:gd name="connsiteY83" fmla="*/ 27575 h 127850"/>
                <a:gd name="connsiteX84" fmla="*/ 105828 w 123618"/>
                <a:gd name="connsiteY84" fmla="*/ 25683 h 127850"/>
                <a:gd name="connsiteX85" fmla="*/ 106590 w 123618"/>
                <a:gd name="connsiteY85" fmla="*/ 25709 h 127850"/>
                <a:gd name="connsiteX86" fmla="*/ 107147 w 123618"/>
                <a:gd name="connsiteY86" fmla="*/ 26034 h 127850"/>
                <a:gd name="connsiteX87" fmla="*/ 107464 w 123618"/>
                <a:gd name="connsiteY87" fmla="*/ 26824 h 127850"/>
                <a:gd name="connsiteX88" fmla="*/ 106916 w 123618"/>
                <a:gd name="connsiteY88" fmla="*/ 28203 h 127850"/>
                <a:gd name="connsiteX89" fmla="*/ 106178 w 123618"/>
                <a:gd name="connsiteY89" fmla="*/ 28819 h 127850"/>
                <a:gd name="connsiteX90" fmla="*/ 122763 w 123618"/>
                <a:gd name="connsiteY90" fmla="*/ 12765 h 127850"/>
                <a:gd name="connsiteX91" fmla="*/ 123618 w 123618"/>
                <a:gd name="connsiteY91" fmla="*/ 14516 h 127850"/>
                <a:gd name="connsiteX92" fmla="*/ 122613 w 123618"/>
                <a:gd name="connsiteY92" fmla="*/ 16447 h 127850"/>
                <a:gd name="connsiteX93" fmla="*/ 120244 w 123618"/>
                <a:gd name="connsiteY93" fmla="*/ 18142 h 127850"/>
                <a:gd name="connsiteX94" fmla="*/ 119689 w 123618"/>
                <a:gd name="connsiteY94" fmla="*/ 19013 h 127850"/>
                <a:gd name="connsiteX95" fmla="*/ 118050 w 123618"/>
                <a:gd name="connsiteY95" fmla="*/ 19859 h 127850"/>
                <a:gd name="connsiteX96" fmla="*/ 117411 w 123618"/>
                <a:gd name="connsiteY96" fmla="*/ 19035 h 127850"/>
                <a:gd name="connsiteX97" fmla="*/ 118162 w 123618"/>
                <a:gd name="connsiteY97" fmla="*/ 17031 h 127850"/>
                <a:gd name="connsiteX98" fmla="*/ 119689 w 123618"/>
                <a:gd name="connsiteY98" fmla="*/ 14980 h 127850"/>
                <a:gd name="connsiteX99" fmla="*/ 122042 w 123618"/>
                <a:gd name="connsiteY99" fmla="*/ 13040 h 127850"/>
                <a:gd name="connsiteX100" fmla="*/ 121880 w 123618"/>
                <a:gd name="connsiteY100" fmla="*/ 6932 h 127850"/>
                <a:gd name="connsiteX101" fmla="*/ 121296 w 123618"/>
                <a:gd name="connsiteY101" fmla="*/ 8012 h 127850"/>
                <a:gd name="connsiteX102" fmla="*/ 121249 w 123618"/>
                <a:gd name="connsiteY102" fmla="*/ 8551 h 127850"/>
                <a:gd name="connsiteX103" fmla="*/ 119689 w 123618"/>
                <a:gd name="connsiteY103" fmla="*/ 9397 h 127850"/>
                <a:gd name="connsiteX104" fmla="*/ 119406 w 123618"/>
                <a:gd name="connsiteY104" fmla="*/ 9423 h 127850"/>
                <a:gd name="connsiteX105" fmla="*/ 119350 w 123618"/>
                <a:gd name="connsiteY105" fmla="*/ 8991 h 127850"/>
                <a:gd name="connsiteX106" fmla="*/ 119689 w 123618"/>
                <a:gd name="connsiteY106" fmla="*/ 8234 h 127850"/>
                <a:gd name="connsiteX107" fmla="*/ 120935 w 123618"/>
                <a:gd name="connsiteY107" fmla="*/ 7157 h 127850"/>
                <a:gd name="connsiteX108" fmla="*/ 120366 w 123618"/>
                <a:gd name="connsiteY108" fmla="*/ 0 h 127850"/>
                <a:gd name="connsiteX109" fmla="*/ 120915 w 123618"/>
                <a:gd name="connsiteY109" fmla="*/ 0 h 127850"/>
                <a:gd name="connsiteX110" fmla="*/ 120659 w 123618"/>
                <a:gd name="connsiteY110" fmla="*/ 525 h 127850"/>
                <a:gd name="connsiteX111" fmla="*/ 119689 w 123618"/>
                <a:gd name="connsiteY111" fmla="*/ 957 h 127850"/>
                <a:gd name="connsiteX112" fmla="*/ 119672 w 123618"/>
                <a:gd name="connsiteY112" fmla="*/ 963 h 127850"/>
                <a:gd name="connsiteX113" fmla="*/ 116333 w 123618"/>
                <a:gd name="connsiteY113" fmla="*/ 3984 h 127850"/>
                <a:gd name="connsiteX114" fmla="*/ 115130 w 123618"/>
                <a:gd name="connsiteY114" fmla="*/ 5542 h 127850"/>
                <a:gd name="connsiteX115" fmla="*/ 114120 w 123618"/>
                <a:gd name="connsiteY115" fmla="*/ 7267 h 127850"/>
                <a:gd name="connsiteX116" fmla="*/ 111267 w 123618"/>
                <a:gd name="connsiteY116" fmla="*/ 9117 h 127850"/>
                <a:gd name="connsiteX117" fmla="*/ 110052 w 123618"/>
                <a:gd name="connsiteY117" fmla="*/ 11597 h 127850"/>
                <a:gd name="connsiteX118" fmla="*/ 110140 w 123618"/>
                <a:gd name="connsiteY118" fmla="*/ 14110 h 127850"/>
                <a:gd name="connsiteX119" fmla="*/ 112990 w 123618"/>
                <a:gd name="connsiteY119" fmla="*/ 11484 h 127850"/>
                <a:gd name="connsiteX120" fmla="*/ 116173 w 123618"/>
                <a:gd name="connsiteY120" fmla="*/ 9339 h 127850"/>
                <a:gd name="connsiteX121" fmla="*/ 117145 w 123618"/>
                <a:gd name="connsiteY121" fmla="*/ 8906 h 127850"/>
                <a:gd name="connsiteX122" fmla="*/ 118150 w 123618"/>
                <a:gd name="connsiteY122" fmla="*/ 8928 h 127850"/>
                <a:gd name="connsiteX123" fmla="*/ 118065 w 123618"/>
                <a:gd name="connsiteY123" fmla="*/ 9661 h 127850"/>
                <a:gd name="connsiteX124" fmla="*/ 117609 w 123618"/>
                <a:gd name="connsiteY124" fmla="*/ 10386 h 127850"/>
                <a:gd name="connsiteX125" fmla="*/ 117257 w 123618"/>
                <a:gd name="connsiteY125" fmla="*/ 12281 h 127850"/>
                <a:gd name="connsiteX126" fmla="*/ 118095 w 123618"/>
                <a:gd name="connsiteY126" fmla="*/ 14041 h 127850"/>
                <a:gd name="connsiteX127" fmla="*/ 115727 w 123618"/>
                <a:gd name="connsiteY127" fmla="*/ 13870 h 127850"/>
                <a:gd name="connsiteX128" fmla="*/ 113382 w 123618"/>
                <a:gd name="connsiteY128" fmla="*/ 14021 h 127850"/>
                <a:gd name="connsiteX129" fmla="*/ 110600 w 123618"/>
                <a:gd name="connsiteY129" fmla="*/ 15009 h 127850"/>
                <a:gd name="connsiteX130" fmla="*/ 107868 w 123618"/>
                <a:gd name="connsiteY130" fmla="*/ 15442 h 127850"/>
                <a:gd name="connsiteX131" fmla="*/ 106850 w 123618"/>
                <a:gd name="connsiteY131" fmla="*/ 15453 h 127850"/>
                <a:gd name="connsiteX132" fmla="*/ 105869 w 123618"/>
                <a:gd name="connsiteY132" fmla="*/ 15122 h 127850"/>
                <a:gd name="connsiteX133" fmla="*/ 105227 w 123618"/>
                <a:gd name="connsiteY133" fmla="*/ 14616 h 127850"/>
                <a:gd name="connsiteX134" fmla="*/ 104726 w 123618"/>
                <a:gd name="connsiteY134" fmla="*/ 13442 h 127850"/>
                <a:gd name="connsiteX135" fmla="*/ 104221 w 123618"/>
                <a:gd name="connsiteY135" fmla="*/ 13266 h 127850"/>
                <a:gd name="connsiteX136" fmla="*/ 102051 w 123618"/>
                <a:gd name="connsiteY136" fmla="*/ 13320 h 127850"/>
                <a:gd name="connsiteX137" fmla="*/ 98804 w 123618"/>
                <a:gd name="connsiteY137" fmla="*/ 15613 h 127850"/>
                <a:gd name="connsiteX138" fmla="*/ 97728 w 123618"/>
                <a:gd name="connsiteY138" fmla="*/ 17582 h 127850"/>
                <a:gd name="connsiteX139" fmla="*/ 96480 w 123618"/>
                <a:gd name="connsiteY139" fmla="*/ 17669 h 127850"/>
                <a:gd name="connsiteX140" fmla="*/ 95005 w 123618"/>
                <a:gd name="connsiteY140" fmla="*/ 17261 h 127850"/>
                <a:gd name="connsiteX141" fmla="*/ 93219 w 123618"/>
                <a:gd name="connsiteY141" fmla="*/ 18764 h 127850"/>
                <a:gd name="connsiteX142" fmla="*/ 91090 w 123618"/>
                <a:gd name="connsiteY142" fmla="*/ 19310 h 127850"/>
                <a:gd name="connsiteX143" fmla="*/ 90170 w 123618"/>
                <a:gd name="connsiteY143" fmla="*/ 18033 h 127850"/>
                <a:gd name="connsiteX144" fmla="*/ 89574 w 123618"/>
                <a:gd name="connsiteY144" fmla="*/ 16470 h 127850"/>
                <a:gd name="connsiteX145" fmla="*/ 88814 w 123618"/>
                <a:gd name="connsiteY145" fmla="*/ 15317 h 127850"/>
                <a:gd name="connsiteX146" fmla="*/ 86465 w 123618"/>
                <a:gd name="connsiteY146" fmla="*/ 15029 h 127850"/>
                <a:gd name="connsiteX147" fmla="*/ 86825 w 123618"/>
                <a:gd name="connsiteY147" fmla="*/ 13624 h 127850"/>
                <a:gd name="connsiteX148" fmla="*/ 87449 w 123618"/>
                <a:gd name="connsiteY148" fmla="*/ 13042 h 127850"/>
                <a:gd name="connsiteX149" fmla="*/ 88020 w 123618"/>
                <a:gd name="connsiteY149" fmla="*/ 12210 h 127850"/>
                <a:gd name="connsiteX150" fmla="*/ 88369 w 123618"/>
                <a:gd name="connsiteY150" fmla="*/ 11256 h 127850"/>
                <a:gd name="connsiteX151" fmla="*/ 89490 w 123618"/>
                <a:gd name="connsiteY151" fmla="*/ 11861 h 127850"/>
                <a:gd name="connsiteX152" fmla="*/ 90640 w 123618"/>
                <a:gd name="connsiteY152" fmla="*/ 12250 h 127850"/>
                <a:gd name="connsiteX153" fmla="*/ 91928 w 123618"/>
                <a:gd name="connsiteY153" fmla="*/ 11535 h 127850"/>
                <a:gd name="connsiteX154" fmla="*/ 93267 w 123618"/>
                <a:gd name="connsiteY154" fmla="*/ 11473 h 127850"/>
                <a:gd name="connsiteX155" fmla="*/ 94608 w 123618"/>
                <a:gd name="connsiteY155" fmla="*/ 9397 h 127850"/>
                <a:gd name="connsiteX156" fmla="*/ 96704 w 123618"/>
                <a:gd name="connsiteY156" fmla="*/ 8097 h 127850"/>
                <a:gd name="connsiteX157" fmla="*/ 99598 w 123618"/>
                <a:gd name="connsiteY157" fmla="*/ 7068 h 127850"/>
                <a:gd name="connsiteX158" fmla="*/ 102544 w 123618"/>
                <a:gd name="connsiteY158" fmla="*/ 6334 h 127850"/>
                <a:gd name="connsiteX159" fmla="*/ 104068 w 123618"/>
                <a:gd name="connsiteY159" fmla="*/ 6185 h 127850"/>
                <a:gd name="connsiteX160" fmla="*/ 105519 w 123618"/>
                <a:gd name="connsiteY160" fmla="*/ 5759 h 127850"/>
                <a:gd name="connsiteX161" fmla="*/ 108082 w 123618"/>
                <a:gd name="connsiteY161" fmla="*/ 3813 h 127850"/>
                <a:gd name="connsiteX162" fmla="*/ 109777 w 123618"/>
                <a:gd name="connsiteY162" fmla="*/ 2809 h 127850"/>
                <a:gd name="connsiteX163" fmla="*/ 111624 w 123618"/>
                <a:gd name="connsiteY163" fmla="*/ 2204 h 127850"/>
                <a:gd name="connsiteX164" fmla="*/ 113388 w 123618"/>
                <a:gd name="connsiteY164" fmla="*/ 1849 h 127850"/>
                <a:gd name="connsiteX165" fmla="*/ 115020 w 123618"/>
                <a:gd name="connsiteY165" fmla="*/ 2164 h 127850"/>
                <a:gd name="connsiteX166" fmla="*/ 116331 w 123618"/>
                <a:gd name="connsiteY166" fmla="*/ 2000 h 127850"/>
                <a:gd name="connsiteX167" fmla="*/ 119689 w 123618"/>
                <a:gd name="connsiteY167" fmla="*/ 609 h 127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</a:cxnLst>
              <a:rect l="l" t="t" r="r" b="b"/>
              <a:pathLst>
                <a:path w="123618" h="127850">
                  <a:moveTo>
                    <a:pt x="376" y="126960"/>
                  </a:moveTo>
                  <a:lnTo>
                    <a:pt x="897" y="127157"/>
                  </a:lnTo>
                  <a:lnTo>
                    <a:pt x="940" y="127598"/>
                  </a:lnTo>
                  <a:lnTo>
                    <a:pt x="767" y="127850"/>
                  </a:lnTo>
                  <a:lnTo>
                    <a:pt x="128" y="127768"/>
                  </a:lnTo>
                  <a:lnTo>
                    <a:pt x="0" y="127252"/>
                  </a:lnTo>
                  <a:close/>
                  <a:moveTo>
                    <a:pt x="82856" y="64012"/>
                  </a:moveTo>
                  <a:lnTo>
                    <a:pt x="84759" y="64385"/>
                  </a:lnTo>
                  <a:lnTo>
                    <a:pt x="86253" y="64920"/>
                  </a:lnTo>
                  <a:lnTo>
                    <a:pt x="86249" y="65904"/>
                  </a:lnTo>
                  <a:lnTo>
                    <a:pt x="83403" y="66558"/>
                  </a:lnTo>
                  <a:lnTo>
                    <a:pt x="82444" y="65746"/>
                  </a:lnTo>
                  <a:lnTo>
                    <a:pt x="81833" y="65598"/>
                  </a:lnTo>
                  <a:lnTo>
                    <a:pt x="80137" y="67037"/>
                  </a:lnTo>
                  <a:lnTo>
                    <a:pt x="79647" y="67628"/>
                  </a:lnTo>
                  <a:lnTo>
                    <a:pt x="79485" y="68073"/>
                  </a:lnTo>
                  <a:lnTo>
                    <a:pt x="79049" y="68297"/>
                  </a:lnTo>
                  <a:lnTo>
                    <a:pt x="75924" y="68989"/>
                  </a:lnTo>
                  <a:lnTo>
                    <a:pt x="74552" y="68299"/>
                  </a:lnTo>
                  <a:lnTo>
                    <a:pt x="75482" y="67829"/>
                  </a:lnTo>
                  <a:lnTo>
                    <a:pt x="76613" y="66892"/>
                  </a:lnTo>
                  <a:lnTo>
                    <a:pt x="77766" y="67030"/>
                  </a:lnTo>
                  <a:lnTo>
                    <a:pt x="78929" y="66153"/>
                  </a:lnTo>
                  <a:lnTo>
                    <a:pt x="80073" y="64817"/>
                  </a:lnTo>
                  <a:lnTo>
                    <a:pt x="81705" y="64529"/>
                  </a:lnTo>
                  <a:close/>
                  <a:moveTo>
                    <a:pt x="104353" y="41365"/>
                  </a:moveTo>
                  <a:lnTo>
                    <a:pt x="105048" y="42403"/>
                  </a:lnTo>
                  <a:lnTo>
                    <a:pt x="105590" y="44131"/>
                  </a:lnTo>
                  <a:lnTo>
                    <a:pt x="105301" y="44979"/>
                  </a:lnTo>
                  <a:lnTo>
                    <a:pt x="105105" y="45164"/>
                  </a:lnTo>
                  <a:lnTo>
                    <a:pt x="103182" y="43340"/>
                  </a:lnTo>
                  <a:lnTo>
                    <a:pt x="103247" y="42619"/>
                  </a:lnTo>
                  <a:lnTo>
                    <a:pt x="103586" y="41973"/>
                  </a:lnTo>
                  <a:close/>
                  <a:moveTo>
                    <a:pt x="93841" y="33946"/>
                  </a:moveTo>
                  <a:lnTo>
                    <a:pt x="94316" y="35369"/>
                  </a:lnTo>
                  <a:lnTo>
                    <a:pt x="93764" y="36458"/>
                  </a:lnTo>
                  <a:lnTo>
                    <a:pt x="92626" y="36864"/>
                  </a:lnTo>
                  <a:lnTo>
                    <a:pt x="91997" y="35471"/>
                  </a:lnTo>
                  <a:lnTo>
                    <a:pt x="92870" y="34073"/>
                  </a:lnTo>
                  <a:close/>
                  <a:moveTo>
                    <a:pt x="79612" y="26977"/>
                  </a:moveTo>
                  <a:lnTo>
                    <a:pt x="80930" y="27344"/>
                  </a:lnTo>
                  <a:lnTo>
                    <a:pt x="81660" y="28320"/>
                  </a:lnTo>
                  <a:lnTo>
                    <a:pt x="81660" y="29328"/>
                  </a:lnTo>
                  <a:lnTo>
                    <a:pt x="82308" y="29764"/>
                  </a:lnTo>
                  <a:lnTo>
                    <a:pt x="82951" y="29835"/>
                  </a:lnTo>
                  <a:lnTo>
                    <a:pt x="84551" y="31762"/>
                  </a:lnTo>
                  <a:lnTo>
                    <a:pt x="87035" y="33421"/>
                  </a:lnTo>
                  <a:lnTo>
                    <a:pt x="88546" y="34690"/>
                  </a:lnTo>
                  <a:lnTo>
                    <a:pt x="88637" y="35775"/>
                  </a:lnTo>
                  <a:lnTo>
                    <a:pt x="88177" y="36921"/>
                  </a:lnTo>
                  <a:lnTo>
                    <a:pt x="88816" y="38976"/>
                  </a:lnTo>
                  <a:lnTo>
                    <a:pt x="89127" y="41108"/>
                  </a:lnTo>
                  <a:lnTo>
                    <a:pt x="90229" y="44488"/>
                  </a:lnTo>
                  <a:lnTo>
                    <a:pt x="88674" y="45130"/>
                  </a:lnTo>
                  <a:lnTo>
                    <a:pt x="86227" y="45206"/>
                  </a:lnTo>
                  <a:lnTo>
                    <a:pt x="85662" y="45815"/>
                  </a:lnTo>
                  <a:lnTo>
                    <a:pt x="84828" y="45478"/>
                  </a:lnTo>
                  <a:lnTo>
                    <a:pt x="82796" y="45730"/>
                  </a:lnTo>
                  <a:lnTo>
                    <a:pt x="80854" y="46844"/>
                  </a:lnTo>
                  <a:lnTo>
                    <a:pt x="79006" y="48356"/>
                  </a:lnTo>
                  <a:lnTo>
                    <a:pt x="76879" y="48361"/>
                  </a:lnTo>
                  <a:lnTo>
                    <a:pt x="74480" y="48673"/>
                  </a:lnTo>
                  <a:lnTo>
                    <a:pt x="72083" y="48463"/>
                  </a:lnTo>
                  <a:lnTo>
                    <a:pt x="70397" y="47656"/>
                  </a:lnTo>
                  <a:lnTo>
                    <a:pt x="67426" y="46777"/>
                  </a:lnTo>
                  <a:lnTo>
                    <a:pt x="63465" y="46027"/>
                  </a:lnTo>
                  <a:lnTo>
                    <a:pt x="61826" y="45398"/>
                  </a:lnTo>
                  <a:lnTo>
                    <a:pt x="60459" y="44412"/>
                  </a:lnTo>
                  <a:lnTo>
                    <a:pt x="59179" y="41926"/>
                  </a:lnTo>
                  <a:lnTo>
                    <a:pt x="58989" y="40700"/>
                  </a:lnTo>
                  <a:lnTo>
                    <a:pt x="59190" y="39526"/>
                  </a:lnTo>
                  <a:lnTo>
                    <a:pt x="60347" y="39129"/>
                  </a:lnTo>
                  <a:lnTo>
                    <a:pt x="61316" y="38534"/>
                  </a:lnTo>
                  <a:lnTo>
                    <a:pt x="61455" y="37759"/>
                  </a:lnTo>
                  <a:lnTo>
                    <a:pt x="61882" y="37218"/>
                  </a:lnTo>
                  <a:lnTo>
                    <a:pt x="62439" y="37022"/>
                  </a:lnTo>
                  <a:lnTo>
                    <a:pt x="62711" y="36647"/>
                  </a:lnTo>
                  <a:lnTo>
                    <a:pt x="62321" y="35389"/>
                  </a:lnTo>
                  <a:lnTo>
                    <a:pt x="62213" y="34238"/>
                  </a:lnTo>
                  <a:lnTo>
                    <a:pt x="64508" y="32139"/>
                  </a:lnTo>
                  <a:lnTo>
                    <a:pt x="67017" y="30349"/>
                  </a:lnTo>
                  <a:lnTo>
                    <a:pt x="71439" y="28696"/>
                  </a:lnTo>
                  <a:lnTo>
                    <a:pt x="74143" y="28847"/>
                  </a:lnTo>
                  <a:lnTo>
                    <a:pt x="78287" y="27575"/>
                  </a:lnTo>
                  <a:close/>
                  <a:moveTo>
                    <a:pt x="105828" y="25683"/>
                  </a:moveTo>
                  <a:lnTo>
                    <a:pt x="106590" y="25709"/>
                  </a:lnTo>
                  <a:lnTo>
                    <a:pt x="107147" y="26034"/>
                  </a:lnTo>
                  <a:lnTo>
                    <a:pt x="107464" y="26824"/>
                  </a:lnTo>
                  <a:lnTo>
                    <a:pt x="106916" y="28203"/>
                  </a:lnTo>
                  <a:lnTo>
                    <a:pt x="106178" y="28819"/>
                  </a:lnTo>
                  <a:close/>
                  <a:moveTo>
                    <a:pt x="122763" y="12765"/>
                  </a:moveTo>
                  <a:lnTo>
                    <a:pt x="123618" y="14516"/>
                  </a:lnTo>
                  <a:lnTo>
                    <a:pt x="122613" y="16447"/>
                  </a:lnTo>
                  <a:lnTo>
                    <a:pt x="120244" y="18142"/>
                  </a:lnTo>
                  <a:lnTo>
                    <a:pt x="119689" y="19013"/>
                  </a:lnTo>
                  <a:lnTo>
                    <a:pt x="118050" y="19859"/>
                  </a:lnTo>
                  <a:lnTo>
                    <a:pt x="117411" y="19035"/>
                  </a:lnTo>
                  <a:lnTo>
                    <a:pt x="118162" y="17031"/>
                  </a:lnTo>
                  <a:lnTo>
                    <a:pt x="119689" y="14980"/>
                  </a:lnTo>
                  <a:lnTo>
                    <a:pt x="122042" y="13040"/>
                  </a:lnTo>
                  <a:close/>
                  <a:moveTo>
                    <a:pt x="121880" y="6932"/>
                  </a:moveTo>
                  <a:lnTo>
                    <a:pt x="121296" y="8012"/>
                  </a:lnTo>
                  <a:lnTo>
                    <a:pt x="121249" y="8551"/>
                  </a:lnTo>
                  <a:lnTo>
                    <a:pt x="119689" y="9397"/>
                  </a:lnTo>
                  <a:lnTo>
                    <a:pt x="119406" y="9423"/>
                  </a:lnTo>
                  <a:lnTo>
                    <a:pt x="119350" y="8991"/>
                  </a:lnTo>
                  <a:lnTo>
                    <a:pt x="119689" y="8234"/>
                  </a:lnTo>
                  <a:lnTo>
                    <a:pt x="120935" y="7157"/>
                  </a:lnTo>
                  <a:close/>
                  <a:moveTo>
                    <a:pt x="120366" y="0"/>
                  </a:moveTo>
                  <a:lnTo>
                    <a:pt x="120915" y="0"/>
                  </a:lnTo>
                  <a:lnTo>
                    <a:pt x="120659" y="525"/>
                  </a:lnTo>
                  <a:lnTo>
                    <a:pt x="119689" y="957"/>
                  </a:lnTo>
                  <a:lnTo>
                    <a:pt x="119672" y="963"/>
                  </a:lnTo>
                  <a:lnTo>
                    <a:pt x="116333" y="3984"/>
                  </a:lnTo>
                  <a:lnTo>
                    <a:pt x="115130" y="5542"/>
                  </a:lnTo>
                  <a:lnTo>
                    <a:pt x="114120" y="7267"/>
                  </a:lnTo>
                  <a:lnTo>
                    <a:pt x="111267" y="9117"/>
                  </a:lnTo>
                  <a:lnTo>
                    <a:pt x="110052" y="11597"/>
                  </a:lnTo>
                  <a:lnTo>
                    <a:pt x="110140" y="14110"/>
                  </a:lnTo>
                  <a:lnTo>
                    <a:pt x="112990" y="11484"/>
                  </a:lnTo>
                  <a:lnTo>
                    <a:pt x="116173" y="9339"/>
                  </a:lnTo>
                  <a:lnTo>
                    <a:pt x="117145" y="8906"/>
                  </a:lnTo>
                  <a:lnTo>
                    <a:pt x="118150" y="8928"/>
                  </a:lnTo>
                  <a:lnTo>
                    <a:pt x="118065" y="9661"/>
                  </a:lnTo>
                  <a:lnTo>
                    <a:pt x="117609" y="10386"/>
                  </a:lnTo>
                  <a:lnTo>
                    <a:pt x="117257" y="12281"/>
                  </a:lnTo>
                  <a:lnTo>
                    <a:pt x="118095" y="14041"/>
                  </a:lnTo>
                  <a:lnTo>
                    <a:pt x="115727" y="13870"/>
                  </a:lnTo>
                  <a:lnTo>
                    <a:pt x="113382" y="14021"/>
                  </a:lnTo>
                  <a:lnTo>
                    <a:pt x="110600" y="15009"/>
                  </a:lnTo>
                  <a:lnTo>
                    <a:pt x="107868" y="15442"/>
                  </a:lnTo>
                  <a:lnTo>
                    <a:pt x="106850" y="15453"/>
                  </a:lnTo>
                  <a:lnTo>
                    <a:pt x="105869" y="15122"/>
                  </a:lnTo>
                  <a:lnTo>
                    <a:pt x="105227" y="14616"/>
                  </a:lnTo>
                  <a:lnTo>
                    <a:pt x="104726" y="13442"/>
                  </a:lnTo>
                  <a:lnTo>
                    <a:pt x="104221" y="13266"/>
                  </a:lnTo>
                  <a:lnTo>
                    <a:pt x="102051" y="13320"/>
                  </a:lnTo>
                  <a:lnTo>
                    <a:pt x="98804" y="15613"/>
                  </a:lnTo>
                  <a:lnTo>
                    <a:pt x="97728" y="17582"/>
                  </a:lnTo>
                  <a:lnTo>
                    <a:pt x="96480" y="17669"/>
                  </a:lnTo>
                  <a:lnTo>
                    <a:pt x="95005" y="17261"/>
                  </a:lnTo>
                  <a:lnTo>
                    <a:pt x="93219" y="18764"/>
                  </a:lnTo>
                  <a:lnTo>
                    <a:pt x="91090" y="19310"/>
                  </a:lnTo>
                  <a:lnTo>
                    <a:pt x="90170" y="18033"/>
                  </a:lnTo>
                  <a:lnTo>
                    <a:pt x="89574" y="16470"/>
                  </a:lnTo>
                  <a:lnTo>
                    <a:pt x="88814" y="15317"/>
                  </a:lnTo>
                  <a:lnTo>
                    <a:pt x="86465" y="15029"/>
                  </a:lnTo>
                  <a:lnTo>
                    <a:pt x="86825" y="13624"/>
                  </a:lnTo>
                  <a:lnTo>
                    <a:pt x="87449" y="13042"/>
                  </a:lnTo>
                  <a:lnTo>
                    <a:pt x="88020" y="12210"/>
                  </a:lnTo>
                  <a:lnTo>
                    <a:pt x="88369" y="11256"/>
                  </a:lnTo>
                  <a:lnTo>
                    <a:pt x="89490" y="11861"/>
                  </a:lnTo>
                  <a:lnTo>
                    <a:pt x="90640" y="12250"/>
                  </a:lnTo>
                  <a:lnTo>
                    <a:pt x="91928" y="11535"/>
                  </a:lnTo>
                  <a:lnTo>
                    <a:pt x="93267" y="11473"/>
                  </a:lnTo>
                  <a:lnTo>
                    <a:pt x="94608" y="9397"/>
                  </a:lnTo>
                  <a:lnTo>
                    <a:pt x="96704" y="8097"/>
                  </a:lnTo>
                  <a:lnTo>
                    <a:pt x="99598" y="7068"/>
                  </a:lnTo>
                  <a:lnTo>
                    <a:pt x="102544" y="6334"/>
                  </a:lnTo>
                  <a:lnTo>
                    <a:pt x="104068" y="6185"/>
                  </a:lnTo>
                  <a:lnTo>
                    <a:pt x="105519" y="5759"/>
                  </a:lnTo>
                  <a:lnTo>
                    <a:pt x="108082" y="3813"/>
                  </a:lnTo>
                  <a:lnTo>
                    <a:pt x="109777" y="2809"/>
                  </a:lnTo>
                  <a:lnTo>
                    <a:pt x="111624" y="2204"/>
                  </a:lnTo>
                  <a:lnTo>
                    <a:pt x="113388" y="1849"/>
                  </a:lnTo>
                  <a:lnTo>
                    <a:pt x="115020" y="2164"/>
                  </a:lnTo>
                  <a:lnTo>
                    <a:pt x="116331" y="2000"/>
                  </a:lnTo>
                  <a:lnTo>
                    <a:pt x="119689" y="609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57" name="ee4p_NZ_1_37365">
              <a:extLst>
                <a:ext uri="{FF2B5EF4-FFF2-40B4-BE49-F238E27FC236}">
                  <a16:creationId xmlns:a16="http://schemas.microsoft.com/office/drawing/2014/main" id="{2BAD07D3-0C69-5DF6-34A1-728A4926B27E}"/>
                </a:ext>
              </a:extLst>
            </p:cNvPr>
            <p:cNvSpPr>
              <a:spLocks noChangeAspect="1"/>
            </p:cNvSpPr>
            <p:nvPr>
              <p:custDataLst>
                <p:tags r:id="rId211"/>
              </p:custDataLst>
            </p:nvPr>
          </p:nvSpPr>
          <p:spPr>
            <a:xfrm>
              <a:off x="11137675" y="5698059"/>
              <a:ext cx="334859" cy="436019"/>
            </a:xfrm>
            <a:custGeom>
              <a:avLst/>
              <a:gdLst>
                <a:gd name="connsiteX0" fmla="*/ 32684 w 266641"/>
                <a:gd name="connsiteY0" fmla="*/ 322106 h 337989"/>
                <a:gd name="connsiteX1" fmla="*/ 36868 w 266641"/>
                <a:gd name="connsiteY1" fmla="*/ 326777 h 337989"/>
                <a:gd name="connsiteX2" fmla="*/ 36876 w 266641"/>
                <a:gd name="connsiteY2" fmla="*/ 327891 h 337989"/>
                <a:gd name="connsiteX3" fmla="*/ 34569 w 266641"/>
                <a:gd name="connsiteY3" fmla="*/ 327490 h 337989"/>
                <a:gd name="connsiteX4" fmla="*/ 34617 w 266641"/>
                <a:gd name="connsiteY4" fmla="*/ 328740 h 337989"/>
                <a:gd name="connsiteX5" fmla="*/ 36437 w 266641"/>
                <a:gd name="connsiteY5" fmla="*/ 329397 h 337989"/>
                <a:gd name="connsiteX6" fmla="*/ 37111 w 266641"/>
                <a:gd name="connsiteY6" fmla="*/ 330293 h 337989"/>
                <a:gd name="connsiteX7" fmla="*/ 39001 w 266641"/>
                <a:gd name="connsiteY7" fmla="*/ 330034 h 337989"/>
                <a:gd name="connsiteX8" fmla="*/ 39426 w 266641"/>
                <a:gd name="connsiteY8" fmla="*/ 331375 h 337989"/>
                <a:gd name="connsiteX9" fmla="*/ 38990 w 266641"/>
                <a:gd name="connsiteY9" fmla="*/ 332575 h 337989"/>
                <a:gd name="connsiteX10" fmla="*/ 37729 w 266641"/>
                <a:gd name="connsiteY10" fmla="*/ 333456 h 337989"/>
                <a:gd name="connsiteX11" fmla="*/ 33996 w 266641"/>
                <a:gd name="connsiteY11" fmla="*/ 333901 h 337989"/>
                <a:gd name="connsiteX12" fmla="*/ 31574 w 266641"/>
                <a:gd name="connsiteY12" fmla="*/ 335645 h 337989"/>
                <a:gd name="connsiteX13" fmla="*/ 29477 w 266641"/>
                <a:gd name="connsiteY13" fmla="*/ 335381 h 337989"/>
                <a:gd name="connsiteX14" fmla="*/ 28908 w 266641"/>
                <a:gd name="connsiteY14" fmla="*/ 335539 h 337989"/>
                <a:gd name="connsiteX15" fmla="*/ 26506 w 266641"/>
                <a:gd name="connsiteY15" fmla="*/ 337410 h 337989"/>
                <a:gd name="connsiteX16" fmla="*/ 23820 w 266641"/>
                <a:gd name="connsiteY16" fmla="*/ 337989 h 337989"/>
                <a:gd name="connsiteX17" fmla="*/ 23092 w 266641"/>
                <a:gd name="connsiteY17" fmla="*/ 337850 h 337989"/>
                <a:gd name="connsiteX18" fmla="*/ 23464 w 266641"/>
                <a:gd name="connsiteY18" fmla="*/ 336181 h 337989"/>
                <a:gd name="connsiteX19" fmla="*/ 25459 w 266641"/>
                <a:gd name="connsiteY19" fmla="*/ 334594 h 337989"/>
                <a:gd name="connsiteX20" fmla="*/ 25502 w 266641"/>
                <a:gd name="connsiteY20" fmla="*/ 333071 h 337989"/>
                <a:gd name="connsiteX21" fmla="*/ 26014 w 266641"/>
                <a:gd name="connsiteY21" fmla="*/ 331855 h 337989"/>
                <a:gd name="connsiteX22" fmla="*/ 27934 w 266641"/>
                <a:gd name="connsiteY22" fmla="*/ 330999 h 337989"/>
                <a:gd name="connsiteX23" fmla="*/ 27957 w 266641"/>
                <a:gd name="connsiteY23" fmla="*/ 329416 h 337989"/>
                <a:gd name="connsiteX24" fmla="*/ 29257 w 266641"/>
                <a:gd name="connsiteY24" fmla="*/ 328013 h 337989"/>
                <a:gd name="connsiteX25" fmla="*/ 28471 w 266641"/>
                <a:gd name="connsiteY25" fmla="*/ 324979 h 337989"/>
                <a:gd name="connsiteX26" fmla="*/ 28886 w 266641"/>
                <a:gd name="connsiteY26" fmla="*/ 322255 h 337989"/>
                <a:gd name="connsiteX27" fmla="*/ 4600 w 266641"/>
                <a:gd name="connsiteY27" fmla="*/ 292250 h 337989"/>
                <a:gd name="connsiteX28" fmla="*/ 5612 w 266641"/>
                <a:gd name="connsiteY28" fmla="*/ 292900 h 337989"/>
                <a:gd name="connsiteX29" fmla="*/ 5941 w 266641"/>
                <a:gd name="connsiteY29" fmla="*/ 293373 h 337989"/>
                <a:gd name="connsiteX30" fmla="*/ 5824 w 266641"/>
                <a:gd name="connsiteY30" fmla="*/ 294725 h 337989"/>
                <a:gd name="connsiteX31" fmla="*/ 5562 w 266641"/>
                <a:gd name="connsiteY31" fmla="*/ 295405 h 337989"/>
                <a:gd name="connsiteX32" fmla="*/ 4796 w 266641"/>
                <a:gd name="connsiteY32" fmla="*/ 295410 h 337989"/>
                <a:gd name="connsiteX33" fmla="*/ 3646 w 266641"/>
                <a:gd name="connsiteY33" fmla="*/ 295260 h 337989"/>
                <a:gd name="connsiteX34" fmla="*/ 2522 w 266641"/>
                <a:gd name="connsiteY34" fmla="*/ 294636 h 337989"/>
                <a:gd name="connsiteX35" fmla="*/ 1803 w 266641"/>
                <a:gd name="connsiteY35" fmla="*/ 294813 h 337989"/>
                <a:gd name="connsiteX36" fmla="*/ 1203 w 266641"/>
                <a:gd name="connsiteY36" fmla="*/ 294582 h 337989"/>
                <a:gd name="connsiteX37" fmla="*/ 1978 w 266641"/>
                <a:gd name="connsiteY37" fmla="*/ 293058 h 337989"/>
                <a:gd name="connsiteX38" fmla="*/ 11097 w 266641"/>
                <a:gd name="connsiteY38" fmla="*/ 280302 h 337989"/>
                <a:gd name="connsiteX39" fmla="*/ 12051 w 266641"/>
                <a:gd name="connsiteY39" fmla="*/ 283593 h 337989"/>
                <a:gd name="connsiteX40" fmla="*/ 10028 w 266641"/>
                <a:gd name="connsiteY40" fmla="*/ 282964 h 337989"/>
                <a:gd name="connsiteX41" fmla="*/ 9177 w 266641"/>
                <a:gd name="connsiteY41" fmla="*/ 281969 h 337989"/>
                <a:gd name="connsiteX42" fmla="*/ 10726 w 266641"/>
                <a:gd name="connsiteY42" fmla="*/ 280321 h 337989"/>
                <a:gd name="connsiteX43" fmla="*/ 165550 w 266641"/>
                <a:gd name="connsiteY43" fmla="*/ 160623 h 337989"/>
                <a:gd name="connsiteX44" fmla="*/ 165407 w 266641"/>
                <a:gd name="connsiteY44" fmla="*/ 162561 h 337989"/>
                <a:gd name="connsiteX45" fmla="*/ 164448 w 266641"/>
                <a:gd name="connsiteY45" fmla="*/ 164580 h 337989"/>
                <a:gd name="connsiteX46" fmla="*/ 161489 w 266641"/>
                <a:gd name="connsiteY46" fmla="*/ 166107 h 337989"/>
                <a:gd name="connsiteX47" fmla="*/ 161608 w 266641"/>
                <a:gd name="connsiteY47" fmla="*/ 165047 h 337989"/>
                <a:gd name="connsiteX48" fmla="*/ 162187 w 266641"/>
                <a:gd name="connsiteY48" fmla="*/ 162741 h 337989"/>
                <a:gd name="connsiteX49" fmla="*/ 163534 w 266641"/>
                <a:gd name="connsiteY49" fmla="*/ 161577 h 337989"/>
                <a:gd name="connsiteX50" fmla="*/ 164198 w 266641"/>
                <a:gd name="connsiteY50" fmla="*/ 161497 h 337989"/>
                <a:gd name="connsiteX51" fmla="*/ 140467 w 266641"/>
                <a:gd name="connsiteY51" fmla="*/ 154780 h 337989"/>
                <a:gd name="connsiteX52" fmla="*/ 142977 w 266641"/>
                <a:gd name="connsiteY52" fmla="*/ 155532 h 337989"/>
                <a:gd name="connsiteX53" fmla="*/ 138311 w 266641"/>
                <a:gd name="connsiteY53" fmla="*/ 156187 h 337989"/>
                <a:gd name="connsiteX54" fmla="*/ 137836 w 266641"/>
                <a:gd name="connsiteY54" fmla="*/ 157801 h 337989"/>
                <a:gd name="connsiteX55" fmla="*/ 137687 w 266641"/>
                <a:gd name="connsiteY55" fmla="*/ 159438 h 337989"/>
                <a:gd name="connsiteX56" fmla="*/ 138229 w 266641"/>
                <a:gd name="connsiteY56" fmla="*/ 160903 h 337989"/>
                <a:gd name="connsiteX57" fmla="*/ 139067 w 266641"/>
                <a:gd name="connsiteY57" fmla="*/ 162210 h 337989"/>
                <a:gd name="connsiteX58" fmla="*/ 141329 w 266641"/>
                <a:gd name="connsiteY58" fmla="*/ 163441 h 337989"/>
                <a:gd name="connsiteX59" fmla="*/ 143973 w 266641"/>
                <a:gd name="connsiteY59" fmla="*/ 164175 h 337989"/>
                <a:gd name="connsiteX60" fmla="*/ 145158 w 266641"/>
                <a:gd name="connsiteY60" fmla="*/ 166944 h 337989"/>
                <a:gd name="connsiteX61" fmla="*/ 145376 w 266641"/>
                <a:gd name="connsiteY61" fmla="*/ 170233 h 337989"/>
                <a:gd name="connsiteX62" fmla="*/ 145741 w 266641"/>
                <a:gd name="connsiteY62" fmla="*/ 173057 h 337989"/>
                <a:gd name="connsiteX63" fmla="*/ 146773 w 266641"/>
                <a:gd name="connsiteY63" fmla="*/ 175521 h 337989"/>
                <a:gd name="connsiteX64" fmla="*/ 149328 w 266641"/>
                <a:gd name="connsiteY64" fmla="*/ 175649 h 337989"/>
                <a:gd name="connsiteX65" fmla="*/ 151692 w 266641"/>
                <a:gd name="connsiteY65" fmla="*/ 173718 h 337989"/>
                <a:gd name="connsiteX66" fmla="*/ 154113 w 266641"/>
                <a:gd name="connsiteY66" fmla="*/ 172149 h 337989"/>
                <a:gd name="connsiteX67" fmla="*/ 156661 w 266641"/>
                <a:gd name="connsiteY67" fmla="*/ 170850 h 337989"/>
                <a:gd name="connsiteX68" fmla="*/ 160539 w 266641"/>
                <a:gd name="connsiteY68" fmla="*/ 167874 h 337989"/>
                <a:gd name="connsiteX69" fmla="*/ 161554 w 266641"/>
                <a:gd name="connsiteY69" fmla="*/ 167437 h 337989"/>
                <a:gd name="connsiteX70" fmla="*/ 164070 w 266641"/>
                <a:gd name="connsiteY70" fmla="*/ 166870 h 337989"/>
                <a:gd name="connsiteX71" fmla="*/ 165167 w 266641"/>
                <a:gd name="connsiteY71" fmla="*/ 166169 h 337989"/>
                <a:gd name="connsiteX72" fmla="*/ 166389 w 266641"/>
                <a:gd name="connsiteY72" fmla="*/ 166002 h 337989"/>
                <a:gd name="connsiteX73" fmla="*/ 165292 w 266641"/>
                <a:gd name="connsiteY73" fmla="*/ 167766 h 337989"/>
                <a:gd name="connsiteX74" fmla="*/ 163899 w 266641"/>
                <a:gd name="connsiteY74" fmla="*/ 168354 h 337989"/>
                <a:gd name="connsiteX75" fmla="*/ 163679 w 266641"/>
                <a:gd name="connsiteY75" fmla="*/ 168992 h 337989"/>
                <a:gd name="connsiteX76" fmla="*/ 164458 w 266641"/>
                <a:gd name="connsiteY76" fmla="*/ 170009 h 337989"/>
                <a:gd name="connsiteX77" fmla="*/ 163247 w 266641"/>
                <a:gd name="connsiteY77" fmla="*/ 171439 h 337989"/>
                <a:gd name="connsiteX78" fmla="*/ 163292 w 266641"/>
                <a:gd name="connsiteY78" fmla="*/ 173222 h 337989"/>
                <a:gd name="connsiteX79" fmla="*/ 161865 w 266641"/>
                <a:gd name="connsiteY79" fmla="*/ 175327 h 337989"/>
                <a:gd name="connsiteX80" fmla="*/ 164059 w 266641"/>
                <a:gd name="connsiteY80" fmla="*/ 174468 h 337989"/>
                <a:gd name="connsiteX81" fmla="*/ 164862 w 266641"/>
                <a:gd name="connsiteY81" fmla="*/ 173096 h 337989"/>
                <a:gd name="connsiteX82" fmla="*/ 164448 w 266641"/>
                <a:gd name="connsiteY82" fmla="*/ 172324 h 337989"/>
                <a:gd name="connsiteX83" fmla="*/ 165398 w 266641"/>
                <a:gd name="connsiteY83" fmla="*/ 170793 h 337989"/>
                <a:gd name="connsiteX84" fmla="*/ 166867 w 266641"/>
                <a:gd name="connsiteY84" fmla="*/ 170066 h 337989"/>
                <a:gd name="connsiteX85" fmla="*/ 166281 w 266641"/>
                <a:gd name="connsiteY85" fmla="*/ 168904 h 337989"/>
                <a:gd name="connsiteX86" fmla="*/ 166322 w 266641"/>
                <a:gd name="connsiteY86" fmla="*/ 167987 h 337989"/>
                <a:gd name="connsiteX87" fmla="*/ 168117 w 266641"/>
                <a:gd name="connsiteY87" fmla="*/ 168326 h 337989"/>
                <a:gd name="connsiteX88" fmla="*/ 169014 w 266641"/>
                <a:gd name="connsiteY88" fmla="*/ 168287 h 337989"/>
                <a:gd name="connsiteX89" fmla="*/ 169724 w 266641"/>
                <a:gd name="connsiteY89" fmla="*/ 167925 h 337989"/>
                <a:gd name="connsiteX90" fmla="*/ 171019 w 266641"/>
                <a:gd name="connsiteY90" fmla="*/ 167781 h 337989"/>
                <a:gd name="connsiteX91" fmla="*/ 171285 w 266641"/>
                <a:gd name="connsiteY91" fmla="*/ 168806 h 337989"/>
                <a:gd name="connsiteX92" fmla="*/ 173025 w 266641"/>
                <a:gd name="connsiteY92" fmla="*/ 168678 h 337989"/>
                <a:gd name="connsiteX93" fmla="*/ 172393 w 266641"/>
                <a:gd name="connsiteY93" fmla="*/ 169973 h 337989"/>
                <a:gd name="connsiteX94" fmla="*/ 171060 w 266641"/>
                <a:gd name="connsiteY94" fmla="*/ 171470 h 337989"/>
                <a:gd name="connsiteX95" fmla="*/ 170747 w 266641"/>
                <a:gd name="connsiteY95" fmla="*/ 172380 h 337989"/>
                <a:gd name="connsiteX96" fmla="*/ 168615 w 266641"/>
                <a:gd name="connsiteY96" fmla="*/ 173888 h 337989"/>
                <a:gd name="connsiteX97" fmla="*/ 167188 w 266641"/>
                <a:gd name="connsiteY97" fmla="*/ 174534 h 337989"/>
                <a:gd name="connsiteX98" fmla="*/ 169389 w 266641"/>
                <a:gd name="connsiteY98" fmla="*/ 174702 h 337989"/>
                <a:gd name="connsiteX99" fmla="*/ 172607 w 266641"/>
                <a:gd name="connsiteY99" fmla="*/ 172681 h 337989"/>
                <a:gd name="connsiteX100" fmla="*/ 174520 w 266641"/>
                <a:gd name="connsiteY100" fmla="*/ 170893 h 337989"/>
                <a:gd name="connsiteX101" fmla="*/ 174463 w 266641"/>
                <a:gd name="connsiteY101" fmla="*/ 173124 h 337989"/>
                <a:gd name="connsiteX102" fmla="*/ 172909 w 266641"/>
                <a:gd name="connsiteY102" fmla="*/ 175124 h 337989"/>
                <a:gd name="connsiteX103" fmla="*/ 171578 w 266641"/>
                <a:gd name="connsiteY103" fmla="*/ 176389 h 337989"/>
                <a:gd name="connsiteX104" fmla="*/ 170083 w 266641"/>
                <a:gd name="connsiteY104" fmla="*/ 176780 h 337989"/>
                <a:gd name="connsiteX105" fmla="*/ 168592 w 266641"/>
                <a:gd name="connsiteY105" fmla="*/ 177806 h 337989"/>
                <a:gd name="connsiteX106" fmla="*/ 167869 w 266641"/>
                <a:gd name="connsiteY106" fmla="*/ 179484 h 337989"/>
                <a:gd name="connsiteX107" fmla="*/ 167949 w 266641"/>
                <a:gd name="connsiteY107" fmla="*/ 180599 h 337989"/>
                <a:gd name="connsiteX108" fmla="*/ 168378 w 266641"/>
                <a:gd name="connsiteY108" fmla="*/ 181484 h 337989"/>
                <a:gd name="connsiteX109" fmla="*/ 169898 w 266641"/>
                <a:gd name="connsiteY109" fmla="*/ 182981 h 337989"/>
                <a:gd name="connsiteX110" fmla="*/ 168186 w 266641"/>
                <a:gd name="connsiteY110" fmla="*/ 185864 h 337989"/>
                <a:gd name="connsiteX111" fmla="*/ 170093 w 266641"/>
                <a:gd name="connsiteY111" fmla="*/ 185505 h 337989"/>
                <a:gd name="connsiteX112" fmla="*/ 171135 w 266641"/>
                <a:gd name="connsiteY112" fmla="*/ 186048 h 337989"/>
                <a:gd name="connsiteX113" fmla="*/ 172596 w 266641"/>
                <a:gd name="connsiteY113" fmla="*/ 187713 h 337989"/>
                <a:gd name="connsiteX114" fmla="*/ 171717 w 266641"/>
                <a:gd name="connsiteY114" fmla="*/ 189633 h 337989"/>
                <a:gd name="connsiteX115" fmla="*/ 171099 w 266641"/>
                <a:gd name="connsiteY115" fmla="*/ 190616 h 337989"/>
                <a:gd name="connsiteX116" fmla="*/ 167380 w 266641"/>
                <a:gd name="connsiteY116" fmla="*/ 194671 h 337989"/>
                <a:gd name="connsiteX117" fmla="*/ 165759 w 266641"/>
                <a:gd name="connsiteY117" fmla="*/ 196730 h 337989"/>
                <a:gd name="connsiteX118" fmla="*/ 163858 w 266641"/>
                <a:gd name="connsiteY118" fmla="*/ 198048 h 337989"/>
                <a:gd name="connsiteX119" fmla="*/ 163885 w 266641"/>
                <a:gd name="connsiteY119" fmla="*/ 200214 h 337989"/>
                <a:gd name="connsiteX120" fmla="*/ 162794 w 266641"/>
                <a:gd name="connsiteY120" fmla="*/ 201791 h 337989"/>
                <a:gd name="connsiteX121" fmla="*/ 157253 w 266641"/>
                <a:gd name="connsiteY121" fmla="*/ 207200 h 337989"/>
                <a:gd name="connsiteX122" fmla="*/ 156277 w 266641"/>
                <a:gd name="connsiteY122" fmla="*/ 208374 h 337989"/>
                <a:gd name="connsiteX123" fmla="*/ 151909 w 266641"/>
                <a:gd name="connsiteY123" fmla="*/ 217000 h 337989"/>
                <a:gd name="connsiteX124" fmla="*/ 149114 w 266641"/>
                <a:gd name="connsiteY124" fmla="*/ 220635 h 337989"/>
                <a:gd name="connsiteX125" fmla="*/ 147514 w 266641"/>
                <a:gd name="connsiteY125" fmla="*/ 221872 h 337989"/>
                <a:gd name="connsiteX126" fmla="*/ 145823 w 266641"/>
                <a:gd name="connsiteY126" fmla="*/ 222878 h 337989"/>
                <a:gd name="connsiteX127" fmla="*/ 141766 w 266641"/>
                <a:gd name="connsiteY127" fmla="*/ 224594 h 337989"/>
                <a:gd name="connsiteX128" fmla="*/ 139978 w 266641"/>
                <a:gd name="connsiteY128" fmla="*/ 226567 h 337989"/>
                <a:gd name="connsiteX129" fmla="*/ 137999 w 266641"/>
                <a:gd name="connsiteY129" fmla="*/ 228207 h 337989"/>
                <a:gd name="connsiteX130" fmla="*/ 135910 w 266641"/>
                <a:gd name="connsiteY130" fmla="*/ 228574 h 337989"/>
                <a:gd name="connsiteX131" fmla="*/ 135975 w 266641"/>
                <a:gd name="connsiteY131" fmla="*/ 229301 h 337989"/>
                <a:gd name="connsiteX132" fmla="*/ 137313 w 266641"/>
                <a:gd name="connsiteY132" fmla="*/ 229708 h 337989"/>
                <a:gd name="connsiteX133" fmla="*/ 138358 w 266641"/>
                <a:gd name="connsiteY133" fmla="*/ 230787 h 337989"/>
                <a:gd name="connsiteX134" fmla="*/ 137583 w 266641"/>
                <a:gd name="connsiteY134" fmla="*/ 231995 h 337989"/>
                <a:gd name="connsiteX135" fmla="*/ 136091 w 266641"/>
                <a:gd name="connsiteY135" fmla="*/ 232754 h 337989"/>
                <a:gd name="connsiteX136" fmla="*/ 134543 w 266641"/>
                <a:gd name="connsiteY136" fmla="*/ 232973 h 337989"/>
                <a:gd name="connsiteX137" fmla="*/ 133756 w 266641"/>
                <a:gd name="connsiteY137" fmla="*/ 233745 h 337989"/>
                <a:gd name="connsiteX138" fmla="*/ 137444 w 266641"/>
                <a:gd name="connsiteY138" fmla="*/ 233196 h 337989"/>
                <a:gd name="connsiteX139" fmla="*/ 138484 w 266641"/>
                <a:gd name="connsiteY139" fmla="*/ 233829 h 337989"/>
                <a:gd name="connsiteX140" fmla="*/ 138678 w 266641"/>
                <a:gd name="connsiteY140" fmla="*/ 235160 h 337989"/>
                <a:gd name="connsiteX141" fmla="*/ 139062 w 266641"/>
                <a:gd name="connsiteY141" fmla="*/ 236362 h 337989"/>
                <a:gd name="connsiteX142" fmla="*/ 139957 w 266641"/>
                <a:gd name="connsiteY142" fmla="*/ 237954 h 337989"/>
                <a:gd name="connsiteX143" fmla="*/ 143057 w 266641"/>
                <a:gd name="connsiteY143" fmla="*/ 238968 h 337989"/>
                <a:gd name="connsiteX144" fmla="*/ 145842 w 266641"/>
                <a:gd name="connsiteY144" fmla="*/ 239442 h 337989"/>
                <a:gd name="connsiteX145" fmla="*/ 146391 w 266641"/>
                <a:gd name="connsiteY145" fmla="*/ 240180 h 337989"/>
                <a:gd name="connsiteX146" fmla="*/ 146808 w 266641"/>
                <a:gd name="connsiteY146" fmla="*/ 242727 h 337989"/>
                <a:gd name="connsiteX147" fmla="*/ 146300 w 266641"/>
                <a:gd name="connsiteY147" fmla="*/ 243977 h 337989"/>
                <a:gd name="connsiteX148" fmla="*/ 145674 w 266641"/>
                <a:gd name="connsiteY148" fmla="*/ 244801 h 337989"/>
                <a:gd name="connsiteX149" fmla="*/ 144739 w 266641"/>
                <a:gd name="connsiteY149" fmla="*/ 245093 h 337989"/>
                <a:gd name="connsiteX150" fmla="*/ 142467 w 266641"/>
                <a:gd name="connsiteY150" fmla="*/ 245254 h 337989"/>
                <a:gd name="connsiteX151" fmla="*/ 140191 w 266641"/>
                <a:gd name="connsiteY151" fmla="*/ 244679 h 337989"/>
                <a:gd name="connsiteX152" fmla="*/ 138680 w 266641"/>
                <a:gd name="connsiteY152" fmla="*/ 243138 h 337989"/>
                <a:gd name="connsiteX153" fmla="*/ 134376 w 266641"/>
                <a:gd name="connsiteY153" fmla="*/ 243631 h 337989"/>
                <a:gd name="connsiteX154" fmla="*/ 133228 w 266641"/>
                <a:gd name="connsiteY154" fmla="*/ 243964 h 337989"/>
                <a:gd name="connsiteX155" fmla="*/ 132636 w 266641"/>
                <a:gd name="connsiteY155" fmla="*/ 243687 h 337989"/>
                <a:gd name="connsiteX156" fmla="*/ 135020 w 266641"/>
                <a:gd name="connsiteY156" fmla="*/ 242070 h 337989"/>
                <a:gd name="connsiteX157" fmla="*/ 133770 w 266641"/>
                <a:gd name="connsiteY157" fmla="*/ 241150 h 337989"/>
                <a:gd name="connsiteX158" fmla="*/ 132733 w 266641"/>
                <a:gd name="connsiteY158" fmla="*/ 240805 h 337989"/>
                <a:gd name="connsiteX159" fmla="*/ 131612 w 266641"/>
                <a:gd name="connsiteY159" fmla="*/ 241339 h 337989"/>
                <a:gd name="connsiteX160" fmla="*/ 130859 w 266641"/>
                <a:gd name="connsiteY160" fmla="*/ 242186 h 337989"/>
                <a:gd name="connsiteX161" fmla="*/ 130630 w 266641"/>
                <a:gd name="connsiteY161" fmla="*/ 243584 h 337989"/>
                <a:gd name="connsiteX162" fmla="*/ 129859 w 266641"/>
                <a:gd name="connsiteY162" fmla="*/ 244389 h 337989"/>
                <a:gd name="connsiteX163" fmla="*/ 128669 w 266641"/>
                <a:gd name="connsiteY163" fmla="*/ 244618 h 337989"/>
                <a:gd name="connsiteX164" fmla="*/ 126991 w 266641"/>
                <a:gd name="connsiteY164" fmla="*/ 243460 h 337989"/>
                <a:gd name="connsiteX165" fmla="*/ 125335 w 266641"/>
                <a:gd name="connsiteY165" fmla="*/ 241801 h 337989"/>
                <a:gd name="connsiteX166" fmla="*/ 122897 w 266641"/>
                <a:gd name="connsiteY166" fmla="*/ 240133 h 337989"/>
                <a:gd name="connsiteX167" fmla="*/ 123266 w 266641"/>
                <a:gd name="connsiteY167" fmla="*/ 241166 h 337989"/>
                <a:gd name="connsiteX168" fmla="*/ 125145 w 266641"/>
                <a:gd name="connsiteY168" fmla="*/ 243697 h 337989"/>
                <a:gd name="connsiteX169" fmla="*/ 126086 w 266641"/>
                <a:gd name="connsiteY169" fmla="*/ 245378 h 337989"/>
                <a:gd name="connsiteX170" fmla="*/ 123897 w 266641"/>
                <a:gd name="connsiteY170" fmla="*/ 246720 h 337989"/>
                <a:gd name="connsiteX171" fmla="*/ 121617 w 266641"/>
                <a:gd name="connsiteY171" fmla="*/ 247766 h 337989"/>
                <a:gd name="connsiteX172" fmla="*/ 119693 w 266641"/>
                <a:gd name="connsiteY172" fmla="*/ 248379 h 337989"/>
                <a:gd name="connsiteX173" fmla="*/ 117874 w 266641"/>
                <a:gd name="connsiteY173" fmla="*/ 249336 h 337989"/>
                <a:gd name="connsiteX174" fmla="*/ 115743 w 266641"/>
                <a:gd name="connsiteY174" fmla="*/ 250830 h 337989"/>
                <a:gd name="connsiteX175" fmla="*/ 114571 w 266641"/>
                <a:gd name="connsiteY175" fmla="*/ 251364 h 337989"/>
                <a:gd name="connsiteX176" fmla="*/ 111448 w 266641"/>
                <a:gd name="connsiteY176" fmla="*/ 251396 h 337989"/>
                <a:gd name="connsiteX177" fmla="*/ 109786 w 266641"/>
                <a:gd name="connsiteY177" fmla="*/ 251869 h 337989"/>
                <a:gd name="connsiteX178" fmla="*/ 109231 w 266641"/>
                <a:gd name="connsiteY178" fmla="*/ 253845 h 337989"/>
                <a:gd name="connsiteX179" fmla="*/ 108060 w 266641"/>
                <a:gd name="connsiteY179" fmla="*/ 255100 h 337989"/>
                <a:gd name="connsiteX180" fmla="*/ 105321 w 266641"/>
                <a:gd name="connsiteY180" fmla="*/ 255349 h 337989"/>
                <a:gd name="connsiteX181" fmla="*/ 106309 w 266641"/>
                <a:gd name="connsiteY181" fmla="*/ 255744 h 337989"/>
                <a:gd name="connsiteX182" fmla="*/ 106920 w 266641"/>
                <a:gd name="connsiteY182" fmla="*/ 256372 h 337989"/>
                <a:gd name="connsiteX183" fmla="*/ 105108 w 266641"/>
                <a:gd name="connsiteY183" fmla="*/ 262331 h 337989"/>
                <a:gd name="connsiteX184" fmla="*/ 104711 w 266641"/>
                <a:gd name="connsiteY184" fmla="*/ 264808 h 337989"/>
                <a:gd name="connsiteX185" fmla="*/ 104373 w 266641"/>
                <a:gd name="connsiteY185" fmla="*/ 269049 h 337989"/>
                <a:gd name="connsiteX186" fmla="*/ 103234 w 266641"/>
                <a:gd name="connsiteY186" fmla="*/ 272991 h 337989"/>
                <a:gd name="connsiteX187" fmla="*/ 99977 w 266641"/>
                <a:gd name="connsiteY187" fmla="*/ 272967 h 337989"/>
                <a:gd name="connsiteX188" fmla="*/ 100504 w 266641"/>
                <a:gd name="connsiteY188" fmla="*/ 273665 h 337989"/>
                <a:gd name="connsiteX189" fmla="*/ 102966 w 266641"/>
                <a:gd name="connsiteY189" fmla="*/ 274778 h 337989"/>
                <a:gd name="connsiteX190" fmla="*/ 102504 w 266641"/>
                <a:gd name="connsiteY190" fmla="*/ 276460 h 337989"/>
                <a:gd name="connsiteX191" fmla="*/ 99794 w 266641"/>
                <a:gd name="connsiteY191" fmla="*/ 279530 h 337989"/>
                <a:gd name="connsiteX192" fmla="*/ 98665 w 266641"/>
                <a:gd name="connsiteY192" fmla="*/ 281308 h 337989"/>
                <a:gd name="connsiteX193" fmla="*/ 97565 w 266641"/>
                <a:gd name="connsiteY193" fmla="*/ 285626 h 337989"/>
                <a:gd name="connsiteX194" fmla="*/ 95914 w 266641"/>
                <a:gd name="connsiteY194" fmla="*/ 289613 h 337989"/>
                <a:gd name="connsiteX195" fmla="*/ 93378 w 266641"/>
                <a:gd name="connsiteY195" fmla="*/ 294155 h 337989"/>
                <a:gd name="connsiteX196" fmla="*/ 93359 w 266641"/>
                <a:gd name="connsiteY196" fmla="*/ 294972 h 337989"/>
                <a:gd name="connsiteX197" fmla="*/ 94246 w 266641"/>
                <a:gd name="connsiteY197" fmla="*/ 296131 h 337989"/>
                <a:gd name="connsiteX198" fmla="*/ 95322 w 266641"/>
                <a:gd name="connsiteY198" fmla="*/ 297135 h 337989"/>
                <a:gd name="connsiteX199" fmla="*/ 95383 w 266641"/>
                <a:gd name="connsiteY199" fmla="*/ 298551 h 337989"/>
                <a:gd name="connsiteX200" fmla="*/ 95052 w 266641"/>
                <a:gd name="connsiteY200" fmla="*/ 299296 h 337989"/>
                <a:gd name="connsiteX201" fmla="*/ 93846 w 266641"/>
                <a:gd name="connsiteY201" fmla="*/ 299493 h 337989"/>
                <a:gd name="connsiteX202" fmla="*/ 92795 w 266641"/>
                <a:gd name="connsiteY202" fmla="*/ 299980 h 337989"/>
                <a:gd name="connsiteX203" fmla="*/ 87155 w 266641"/>
                <a:gd name="connsiteY203" fmla="*/ 301231 h 337989"/>
                <a:gd name="connsiteX204" fmla="*/ 85304 w 266641"/>
                <a:gd name="connsiteY204" fmla="*/ 302633 h 337989"/>
                <a:gd name="connsiteX205" fmla="*/ 83786 w 266641"/>
                <a:gd name="connsiteY205" fmla="*/ 305141 h 337989"/>
                <a:gd name="connsiteX206" fmla="*/ 82003 w 266641"/>
                <a:gd name="connsiteY206" fmla="*/ 307304 h 337989"/>
                <a:gd name="connsiteX207" fmla="*/ 76079 w 266641"/>
                <a:gd name="connsiteY207" fmla="*/ 312109 h 337989"/>
                <a:gd name="connsiteX208" fmla="*/ 72596 w 266641"/>
                <a:gd name="connsiteY208" fmla="*/ 316142 h 337989"/>
                <a:gd name="connsiteX209" fmla="*/ 71896 w 266641"/>
                <a:gd name="connsiteY209" fmla="*/ 317296 h 337989"/>
                <a:gd name="connsiteX210" fmla="*/ 70957 w 266641"/>
                <a:gd name="connsiteY210" fmla="*/ 318138 h 337989"/>
                <a:gd name="connsiteX211" fmla="*/ 63343 w 266641"/>
                <a:gd name="connsiteY211" fmla="*/ 320050 h 337989"/>
                <a:gd name="connsiteX212" fmla="*/ 57955 w 266641"/>
                <a:gd name="connsiteY212" fmla="*/ 320333 h 337989"/>
                <a:gd name="connsiteX213" fmla="*/ 55019 w 266641"/>
                <a:gd name="connsiteY213" fmla="*/ 319841 h 337989"/>
                <a:gd name="connsiteX214" fmla="*/ 52188 w 266641"/>
                <a:gd name="connsiteY214" fmla="*/ 318875 h 337989"/>
                <a:gd name="connsiteX215" fmla="*/ 50618 w 266641"/>
                <a:gd name="connsiteY215" fmla="*/ 318544 h 337989"/>
                <a:gd name="connsiteX216" fmla="*/ 47625 w 266641"/>
                <a:gd name="connsiteY216" fmla="*/ 319136 h 337989"/>
                <a:gd name="connsiteX217" fmla="*/ 46317 w 266641"/>
                <a:gd name="connsiteY217" fmla="*/ 319787 h 337989"/>
                <a:gd name="connsiteX218" fmla="*/ 43976 w 266641"/>
                <a:gd name="connsiteY218" fmla="*/ 319144 h 337989"/>
                <a:gd name="connsiteX219" fmla="*/ 42112 w 266641"/>
                <a:gd name="connsiteY219" fmla="*/ 319630 h 337989"/>
                <a:gd name="connsiteX220" fmla="*/ 41562 w 266641"/>
                <a:gd name="connsiteY220" fmla="*/ 319158 h 337989"/>
                <a:gd name="connsiteX221" fmla="*/ 40864 w 266641"/>
                <a:gd name="connsiteY221" fmla="*/ 317972 h 337989"/>
                <a:gd name="connsiteX222" fmla="*/ 41249 w 266641"/>
                <a:gd name="connsiteY222" fmla="*/ 316399 h 337989"/>
                <a:gd name="connsiteX223" fmla="*/ 40732 w 266641"/>
                <a:gd name="connsiteY223" fmla="*/ 315237 h 337989"/>
                <a:gd name="connsiteX224" fmla="*/ 39549 w 266641"/>
                <a:gd name="connsiteY224" fmla="*/ 314448 h 337989"/>
                <a:gd name="connsiteX225" fmla="*/ 38754 w 266641"/>
                <a:gd name="connsiteY225" fmla="*/ 313533 h 337989"/>
                <a:gd name="connsiteX226" fmla="*/ 37845 w 266641"/>
                <a:gd name="connsiteY226" fmla="*/ 312880 h 337989"/>
                <a:gd name="connsiteX227" fmla="*/ 35373 w 266641"/>
                <a:gd name="connsiteY227" fmla="*/ 312623 h 337989"/>
                <a:gd name="connsiteX228" fmla="*/ 31460 w 266641"/>
                <a:gd name="connsiteY228" fmla="*/ 313035 h 337989"/>
                <a:gd name="connsiteX229" fmla="*/ 30169 w 266641"/>
                <a:gd name="connsiteY229" fmla="*/ 312991 h 337989"/>
                <a:gd name="connsiteX230" fmla="*/ 27517 w 266641"/>
                <a:gd name="connsiteY230" fmla="*/ 309139 h 337989"/>
                <a:gd name="connsiteX231" fmla="*/ 26636 w 266641"/>
                <a:gd name="connsiteY231" fmla="*/ 308194 h 337989"/>
                <a:gd name="connsiteX232" fmla="*/ 23479 w 266641"/>
                <a:gd name="connsiteY232" fmla="*/ 306964 h 337989"/>
                <a:gd name="connsiteX233" fmla="*/ 22399 w 266641"/>
                <a:gd name="connsiteY233" fmla="*/ 307134 h 337989"/>
                <a:gd name="connsiteX234" fmla="*/ 20710 w 266641"/>
                <a:gd name="connsiteY234" fmla="*/ 309188 h 337989"/>
                <a:gd name="connsiteX235" fmla="*/ 19708 w 266641"/>
                <a:gd name="connsiteY235" fmla="*/ 309537 h 337989"/>
                <a:gd name="connsiteX236" fmla="*/ 13768 w 266641"/>
                <a:gd name="connsiteY236" fmla="*/ 309755 h 337989"/>
                <a:gd name="connsiteX237" fmla="*/ 7808 w 266641"/>
                <a:gd name="connsiteY237" fmla="*/ 309093 h 337989"/>
                <a:gd name="connsiteX238" fmla="*/ 5614 w 266641"/>
                <a:gd name="connsiteY238" fmla="*/ 308328 h 337989"/>
                <a:gd name="connsiteX239" fmla="*/ 5185 w 266641"/>
                <a:gd name="connsiteY239" fmla="*/ 306553 h 337989"/>
                <a:gd name="connsiteX240" fmla="*/ 9709 w 266641"/>
                <a:gd name="connsiteY240" fmla="*/ 301678 h 337989"/>
                <a:gd name="connsiteX241" fmla="*/ 8376 w 266641"/>
                <a:gd name="connsiteY241" fmla="*/ 302331 h 337989"/>
                <a:gd name="connsiteX242" fmla="*/ 5586 w 266641"/>
                <a:gd name="connsiteY242" fmla="*/ 304316 h 337989"/>
                <a:gd name="connsiteX243" fmla="*/ 3809 w 266641"/>
                <a:gd name="connsiteY243" fmla="*/ 304011 h 337989"/>
                <a:gd name="connsiteX244" fmla="*/ 5513 w 266641"/>
                <a:gd name="connsiteY244" fmla="*/ 301845 h 337989"/>
                <a:gd name="connsiteX245" fmla="*/ 5664 w 266641"/>
                <a:gd name="connsiteY245" fmla="*/ 300880 h 337989"/>
                <a:gd name="connsiteX246" fmla="*/ 5314 w 266641"/>
                <a:gd name="connsiteY246" fmla="*/ 299805 h 337989"/>
                <a:gd name="connsiteX247" fmla="*/ 2987 w 266641"/>
                <a:gd name="connsiteY247" fmla="*/ 301627 h 337989"/>
                <a:gd name="connsiteX248" fmla="*/ 343 w 266641"/>
                <a:gd name="connsiteY248" fmla="*/ 301861 h 337989"/>
                <a:gd name="connsiteX249" fmla="*/ 0 w 266641"/>
                <a:gd name="connsiteY249" fmla="*/ 300174 h 337989"/>
                <a:gd name="connsiteX250" fmla="*/ 235 w 266641"/>
                <a:gd name="connsiteY250" fmla="*/ 298219 h 337989"/>
                <a:gd name="connsiteX251" fmla="*/ 780 w 266641"/>
                <a:gd name="connsiteY251" fmla="*/ 297665 h 337989"/>
                <a:gd name="connsiteX252" fmla="*/ 7925 w 266641"/>
                <a:gd name="connsiteY252" fmla="*/ 296640 h 337989"/>
                <a:gd name="connsiteX253" fmla="*/ 10501 w 266641"/>
                <a:gd name="connsiteY253" fmla="*/ 295970 h 337989"/>
                <a:gd name="connsiteX254" fmla="*/ 11624 w 266641"/>
                <a:gd name="connsiteY254" fmla="*/ 294921 h 337989"/>
                <a:gd name="connsiteX255" fmla="*/ 7348 w 266641"/>
                <a:gd name="connsiteY255" fmla="*/ 294561 h 337989"/>
                <a:gd name="connsiteX256" fmla="*/ 7076 w 266641"/>
                <a:gd name="connsiteY256" fmla="*/ 293091 h 337989"/>
                <a:gd name="connsiteX257" fmla="*/ 7694 w 266641"/>
                <a:gd name="connsiteY257" fmla="*/ 291914 h 337989"/>
                <a:gd name="connsiteX258" fmla="*/ 11347 w 266641"/>
                <a:gd name="connsiteY258" fmla="*/ 289959 h 337989"/>
                <a:gd name="connsiteX259" fmla="*/ 8655 w 266641"/>
                <a:gd name="connsiteY259" fmla="*/ 290459 h 337989"/>
                <a:gd name="connsiteX260" fmla="*/ 5668 w 266641"/>
                <a:gd name="connsiteY260" fmla="*/ 290284 h 337989"/>
                <a:gd name="connsiteX261" fmla="*/ 5869 w 266641"/>
                <a:gd name="connsiteY261" fmla="*/ 288221 h 337989"/>
                <a:gd name="connsiteX262" fmla="*/ 6648 w 266641"/>
                <a:gd name="connsiteY262" fmla="*/ 286607 h 337989"/>
                <a:gd name="connsiteX263" fmla="*/ 9780 w 266641"/>
                <a:gd name="connsiteY263" fmla="*/ 286559 h 337989"/>
                <a:gd name="connsiteX264" fmla="*/ 8799 w 266641"/>
                <a:gd name="connsiteY264" fmla="*/ 285452 h 337989"/>
                <a:gd name="connsiteX265" fmla="*/ 8658 w 266641"/>
                <a:gd name="connsiteY265" fmla="*/ 283907 h 337989"/>
                <a:gd name="connsiteX266" fmla="*/ 9530 w 266641"/>
                <a:gd name="connsiteY266" fmla="*/ 283802 h 337989"/>
                <a:gd name="connsiteX267" fmla="*/ 12704 w 266641"/>
                <a:gd name="connsiteY267" fmla="*/ 285881 h 337989"/>
                <a:gd name="connsiteX268" fmla="*/ 14993 w 266641"/>
                <a:gd name="connsiteY268" fmla="*/ 286642 h 337989"/>
                <a:gd name="connsiteX269" fmla="*/ 14029 w 266641"/>
                <a:gd name="connsiteY269" fmla="*/ 285077 h 337989"/>
                <a:gd name="connsiteX270" fmla="*/ 14154 w 266641"/>
                <a:gd name="connsiteY270" fmla="*/ 284092 h 337989"/>
                <a:gd name="connsiteX271" fmla="*/ 14763 w 266641"/>
                <a:gd name="connsiteY271" fmla="*/ 283650 h 337989"/>
                <a:gd name="connsiteX272" fmla="*/ 16638 w 266641"/>
                <a:gd name="connsiteY272" fmla="*/ 283334 h 337989"/>
                <a:gd name="connsiteX273" fmla="*/ 16124 w 266641"/>
                <a:gd name="connsiteY273" fmla="*/ 283058 h 337989"/>
                <a:gd name="connsiteX274" fmla="*/ 14367 w 266641"/>
                <a:gd name="connsiteY274" fmla="*/ 282662 h 337989"/>
                <a:gd name="connsiteX275" fmla="*/ 12276 w 266641"/>
                <a:gd name="connsiteY275" fmla="*/ 281474 h 337989"/>
                <a:gd name="connsiteX276" fmla="*/ 12051 w 266641"/>
                <a:gd name="connsiteY276" fmla="*/ 280219 h 337989"/>
                <a:gd name="connsiteX277" fmla="*/ 12123 w 266641"/>
                <a:gd name="connsiteY277" fmla="*/ 278768 h 337989"/>
                <a:gd name="connsiteX278" fmla="*/ 14379 w 266641"/>
                <a:gd name="connsiteY278" fmla="*/ 276775 h 337989"/>
                <a:gd name="connsiteX279" fmla="*/ 15711 w 266641"/>
                <a:gd name="connsiteY279" fmla="*/ 277961 h 337989"/>
                <a:gd name="connsiteX280" fmla="*/ 17288 w 266641"/>
                <a:gd name="connsiteY280" fmla="*/ 277635 h 337989"/>
                <a:gd name="connsiteX281" fmla="*/ 16085 w 266641"/>
                <a:gd name="connsiteY281" fmla="*/ 276703 h 337989"/>
                <a:gd name="connsiteX282" fmla="*/ 15351 w 266641"/>
                <a:gd name="connsiteY282" fmla="*/ 275306 h 337989"/>
                <a:gd name="connsiteX283" fmla="*/ 15852 w 266641"/>
                <a:gd name="connsiteY283" fmla="*/ 274389 h 337989"/>
                <a:gd name="connsiteX284" fmla="*/ 20633 w 266641"/>
                <a:gd name="connsiteY284" fmla="*/ 270688 h 337989"/>
                <a:gd name="connsiteX285" fmla="*/ 21859 w 266641"/>
                <a:gd name="connsiteY285" fmla="*/ 274247 h 337989"/>
                <a:gd name="connsiteX286" fmla="*/ 22147 w 266641"/>
                <a:gd name="connsiteY286" fmla="*/ 273065 h 337989"/>
                <a:gd name="connsiteX287" fmla="*/ 22211 w 266641"/>
                <a:gd name="connsiteY287" fmla="*/ 271943 h 337989"/>
                <a:gd name="connsiteX288" fmla="*/ 21639 w 266641"/>
                <a:gd name="connsiteY288" fmla="*/ 270970 h 337989"/>
                <a:gd name="connsiteX289" fmla="*/ 21721 w 266641"/>
                <a:gd name="connsiteY289" fmla="*/ 269990 h 337989"/>
                <a:gd name="connsiteX290" fmla="*/ 22274 w 266641"/>
                <a:gd name="connsiteY290" fmla="*/ 269145 h 337989"/>
                <a:gd name="connsiteX291" fmla="*/ 24323 w 266641"/>
                <a:gd name="connsiteY291" fmla="*/ 268312 h 337989"/>
                <a:gd name="connsiteX292" fmla="*/ 26988 w 266641"/>
                <a:gd name="connsiteY292" fmla="*/ 265600 h 337989"/>
                <a:gd name="connsiteX293" fmla="*/ 28953 w 266641"/>
                <a:gd name="connsiteY293" fmla="*/ 264340 h 337989"/>
                <a:gd name="connsiteX294" fmla="*/ 30553 w 266641"/>
                <a:gd name="connsiteY294" fmla="*/ 265148 h 337989"/>
                <a:gd name="connsiteX295" fmla="*/ 31650 w 266641"/>
                <a:gd name="connsiteY295" fmla="*/ 266239 h 337989"/>
                <a:gd name="connsiteX296" fmla="*/ 31486 w 266641"/>
                <a:gd name="connsiteY296" fmla="*/ 265156 h 337989"/>
                <a:gd name="connsiteX297" fmla="*/ 30708 w 266641"/>
                <a:gd name="connsiteY297" fmla="*/ 264261 h 337989"/>
                <a:gd name="connsiteX298" fmla="*/ 30490 w 266641"/>
                <a:gd name="connsiteY298" fmla="*/ 261774 h 337989"/>
                <a:gd name="connsiteX299" fmla="*/ 34068 w 266641"/>
                <a:gd name="connsiteY299" fmla="*/ 257918 h 337989"/>
                <a:gd name="connsiteX300" fmla="*/ 38001 w 266641"/>
                <a:gd name="connsiteY300" fmla="*/ 254250 h 337989"/>
                <a:gd name="connsiteX301" fmla="*/ 41769 w 266641"/>
                <a:gd name="connsiteY301" fmla="*/ 250412 h 337989"/>
                <a:gd name="connsiteX302" fmla="*/ 43777 w 266641"/>
                <a:gd name="connsiteY302" fmla="*/ 249018 h 337989"/>
                <a:gd name="connsiteX303" fmla="*/ 48057 w 266641"/>
                <a:gd name="connsiteY303" fmla="*/ 247438 h 337989"/>
                <a:gd name="connsiteX304" fmla="*/ 50795 w 266641"/>
                <a:gd name="connsiteY304" fmla="*/ 248096 h 337989"/>
                <a:gd name="connsiteX305" fmla="*/ 51495 w 266641"/>
                <a:gd name="connsiteY305" fmla="*/ 247975 h 337989"/>
                <a:gd name="connsiteX306" fmla="*/ 55563 w 266641"/>
                <a:gd name="connsiteY306" fmla="*/ 245215 h 337989"/>
                <a:gd name="connsiteX307" fmla="*/ 57245 w 266641"/>
                <a:gd name="connsiteY307" fmla="*/ 244499 h 337989"/>
                <a:gd name="connsiteX308" fmla="*/ 58781 w 266641"/>
                <a:gd name="connsiteY308" fmla="*/ 245484 h 337989"/>
                <a:gd name="connsiteX309" fmla="*/ 59730 w 266641"/>
                <a:gd name="connsiteY309" fmla="*/ 245840 h 337989"/>
                <a:gd name="connsiteX310" fmla="*/ 58776 w 266641"/>
                <a:gd name="connsiteY310" fmla="*/ 243320 h 337989"/>
                <a:gd name="connsiteX311" fmla="*/ 59523 w 266641"/>
                <a:gd name="connsiteY311" fmla="*/ 242165 h 337989"/>
                <a:gd name="connsiteX312" fmla="*/ 62920 w 266641"/>
                <a:gd name="connsiteY312" fmla="*/ 240127 h 337989"/>
                <a:gd name="connsiteX313" fmla="*/ 67167 w 266641"/>
                <a:gd name="connsiteY313" fmla="*/ 238026 h 337989"/>
                <a:gd name="connsiteX314" fmla="*/ 70403 w 266641"/>
                <a:gd name="connsiteY314" fmla="*/ 237151 h 337989"/>
                <a:gd name="connsiteX315" fmla="*/ 72784 w 266641"/>
                <a:gd name="connsiteY315" fmla="*/ 235731 h 337989"/>
                <a:gd name="connsiteX316" fmla="*/ 74214 w 266641"/>
                <a:gd name="connsiteY316" fmla="*/ 235691 h 337989"/>
                <a:gd name="connsiteX317" fmla="*/ 73995 w 266641"/>
                <a:gd name="connsiteY317" fmla="*/ 234618 h 337989"/>
                <a:gd name="connsiteX318" fmla="*/ 74240 w 266641"/>
                <a:gd name="connsiteY318" fmla="*/ 233590 h 337989"/>
                <a:gd name="connsiteX319" fmla="*/ 75473 w 266641"/>
                <a:gd name="connsiteY319" fmla="*/ 233661 h 337989"/>
                <a:gd name="connsiteX320" fmla="*/ 75853 w 266641"/>
                <a:gd name="connsiteY320" fmla="*/ 233256 h 337989"/>
                <a:gd name="connsiteX321" fmla="*/ 74768 w 266641"/>
                <a:gd name="connsiteY321" fmla="*/ 232702 h 337989"/>
                <a:gd name="connsiteX322" fmla="*/ 78275 w 266641"/>
                <a:gd name="connsiteY322" fmla="*/ 230642 h 337989"/>
                <a:gd name="connsiteX323" fmla="*/ 80180 w 266641"/>
                <a:gd name="connsiteY323" fmla="*/ 228374 h 337989"/>
                <a:gd name="connsiteX324" fmla="*/ 81178 w 266641"/>
                <a:gd name="connsiteY324" fmla="*/ 227905 h 337989"/>
                <a:gd name="connsiteX325" fmla="*/ 82080 w 266641"/>
                <a:gd name="connsiteY325" fmla="*/ 227220 h 337989"/>
                <a:gd name="connsiteX326" fmla="*/ 83199 w 266641"/>
                <a:gd name="connsiteY326" fmla="*/ 225657 h 337989"/>
                <a:gd name="connsiteX327" fmla="*/ 84520 w 266641"/>
                <a:gd name="connsiteY327" fmla="*/ 225141 h 337989"/>
                <a:gd name="connsiteX328" fmla="*/ 85754 w 266641"/>
                <a:gd name="connsiteY328" fmla="*/ 225382 h 337989"/>
                <a:gd name="connsiteX329" fmla="*/ 86645 w 266641"/>
                <a:gd name="connsiteY329" fmla="*/ 226150 h 337989"/>
                <a:gd name="connsiteX330" fmla="*/ 86164 w 266641"/>
                <a:gd name="connsiteY330" fmla="*/ 224874 h 337989"/>
                <a:gd name="connsiteX331" fmla="*/ 84583 w 266641"/>
                <a:gd name="connsiteY331" fmla="*/ 224148 h 337989"/>
                <a:gd name="connsiteX332" fmla="*/ 86278 w 266641"/>
                <a:gd name="connsiteY332" fmla="*/ 223038 h 337989"/>
                <a:gd name="connsiteX333" fmla="*/ 88030 w 266641"/>
                <a:gd name="connsiteY333" fmla="*/ 222273 h 337989"/>
                <a:gd name="connsiteX334" fmla="*/ 89736 w 266641"/>
                <a:gd name="connsiteY334" fmla="*/ 222831 h 337989"/>
                <a:gd name="connsiteX335" fmla="*/ 91415 w 266641"/>
                <a:gd name="connsiteY335" fmla="*/ 223724 h 337989"/>
                <a:gd name="connsiteX336" fmla="*/ 89736 w 266641"/>
                <a:gd name="connsiteY336" fmla="*/ 222354 h 337989"/>
                <a:gd name="connsiteX337" fmla="*/ 89466 w 266641"/>
                <a:gd name="connsiteY337" fmla="*/ 221503 h 337989"/>
                <a:gd name="connsiteX338" fmla="*/ 91498 w 266641"/>
                <a:gd name="connsiteY338" fmla="*/ 220525 h 337989"/>
                <a:gd name="connsiteX339" fmla="*/ 92601 w 266641"/>
                <a:gd name="connsiteY339" fmla="*/ 220224 h 337989"/>
                <a:gd name="connsiteX340" fmla="*/ 94145 w 266641"/>
                <a:gd name="connsiteY340" fmla="*/ 222061 h 337989"/>
                <a:gd name="connsiteX341" fmla="*/ 93925 w 266641"/>
                <a:gd name="connsiteY341" fmla="*/ 220606 h 337989"/>
                <a:gd name="connsiteX342" fmla="*/ 94285 w 266641"/>
                <a:gd name="connsiteY342" fmla="*/ 219316 h 337989"/>
                <a:gd name="connsiteX343" fmla="*/ 96469 w 266641"/>
                <a:gd name="connsiteY343" fmla="*/ 217209 h 337989"/>
                <a:gd name="connsiteX344" fmla="*/ 99333 w 266641"/>
                <a:gd name="connsiteY344" fmla="*/ 213725 h 337989"/>
                <a:gd name="connsiteX345" fmla="*/ 100252 w 266641"/>
                <a:gd name="connsiteY345" fmla="*/ 214936 h 337989"/>
                <a:gd name="connsiteX346" fmla="*/ 100392 w 266641"/>
                <a:gd name="connsiteY346" fmla="*/ 216410 h 337989"/>
                <a:gd name="connsiteX347" fmla="*/ 100258 w 266641"/>
                <a:gd name="connsiteY347" fmla="*/ 218184 h 337989"/>
                <a:gd name="connsiteX348" fmla="*/ 100847 w 266641"/>
                <a:gd name="connsiteY348" fmla="*/ 217570 h 337989"/>
                <a:gd name="connsiteX349" fmla="*/ 101050 w 266641"/>
                <a:gd name="connsiteY349" fmla="*/ 215958 h 337989"/>
                <a:gd name="connsiteX350" fmla="*/ 100612 w 266641"/>
                <a:gd name="connsiteY350" fmla="*/ 213130 h 337989"/>
                <a:gd name="connsiteX351" fmla="*/ 104190 w 266641"/>
                <a:gd name="connsiteY351" fmla="*/ 207908 h 337989"/>
                <a:gd name="connsiteX352" fmla="*/ 104892 w 266641"/>
                <a:gd name="connsiteY352" fmla="*/ 207325 h 337989"/>
                <a:gd name="connsiteX353" fmla="*/ 105683 w 266641"/>
                <a:gd name="connsiteY353" fmla="*/ 206971 h 337989"/>
                <a:gd name="connsiteX354" fmla="*/ 106928 w 266641"/>
                <a:gd name="connsiteY354" fmla="*/ 206832 h 337989"/>
                <a:gd name="connsiteX355" fmla="*/ 106546 w 266641"/>
                <a:gd name="connsiteY355" fmla="*/ 206044 h 337989"/>
                <a:gd name="connsiteX356" fmla="*/ 105577 w 266641"/>
                <a:gd name="connsiteY356" fmla="*/ 205281 h 337989"/>
                <a:gd name="connsiteX357" fmla="*/ 106555 w 266641"/>
                <a:gd name="connsiteY357" fmla="*/ 202633 h 337989"/>
                <a:gd name="connsiteX358" fmla="*/ 107134 w 266641"/>
                <a:gd name="connsiteY358" fmla="*/ 199614 h 337989"/>
                <a:gd name="connsiteX359" fmla="*/ 107966 w 266641"/>
                <a:gd name="connsiteY359" fmla="*/ 196714 h 337989"/>
                <a:gd name="connsiteX360" fmla="*/ 109300 w 266641"/>
                <a:gd name="connsiteY360" fmla="*/ 193875 h 337989"/>
                <a:gd name="connsiteX361" fmla="*/ 110751 w 266641"/>
                <a:gd name="connsiteY361" fmla="*/ 189146 h 337989"/>
                <a:gd name="connsiteX362" fmla="*/ 111858 w 266641"/>
                <a:gd name="connsiteY362" fmla="*/ 188160 h 337989"/>
                <a:gd name="connsiteX363" fmla="*/ 114862 w 266641"/>
                <a:gd name="connsiteY363" fmla="*/ 187821 h 337989"/>
                <a:gd name="connsiteX364" fmla="*/ 116177 w 266641"/>
                <a:gd name="connsiteY364" fmla="*/ 187157 h 337989"/>
                <a:gd name="connsiteX365" fmla="*/ 118366 w 266641"/>
                <a:gd name="connsiteY365" fmla="*/ 185451 h 337989"/>
                <a:gd name="connsiteX366" fmla="*/ 120962 w 266641"/>
                <a:gd name="connsiteY366" fmla="*/ 182369 h 337989"/>
                <a:gd name="connsiteX367" fmla="*/ 122348 w 266641"/>
                <a:gd name="connsiteY367" fmla="*/ 179887 h 337989"/>
                <a:gd name="connsiteX368" fmla="*/ 124175 w 266641"/>
                <a:gd name="connsiteY368" fmla="*/ 173471 h 337989"/>
                <a:gd name="connsiteX369" fmla="*/ 125195 w 266641"/>
                <a:gd name="connsiteY369" fmla="*/ 166777 h 337989"/>
                <a:gd name="connsiteX370" fmla="*/ 128142 w 266641"/>
                <a:gd name="connsiteY370" fmla="*/ 161823 h 337989"/>
                <a:gd name="connsiteX371" fmla="*/ 132463 w 266641"/>
                <a:gd name="connsiteY371" fmla="*/ 158241 h 337989"/>
                <a:gd name="connsiteX372" fmla="*/ 136277 w 266641"/>
                <a:gd name="connsiteY372" fmla="*/ 155519 h 337989"/>
                <a:gd name="connsiteX373" fmla="*/ 137836 w 266641"/>
                <a:gd name="connsiteY373" fmla="*/ 154953 h 337989"/>
                <a:gd name="connsiteX374" fmla="*/ 197500 w 266641"/>
                <a:gd name="connsiteY374" fmla="*/ 41194 h 337989"/>
                <a:gd name="connsiteX375" fmla="*/ 198272 w 266641"/>
                <a:gd name="connsiteY375" fmla="*/ 42299 h 337989"/>
                <a:gd name="connsiteX376" fmla="*/ 199782 w 266641"/>
                <a:gd name="connsiteY376" fmla="*/ 43873 h 337989"/>
                <a:gd name="connsiteX377" fmla="*/ 200458 w 266641"/>
                <a:gd name="connsiteY377" fmla="*/ 46460 h 337989"/>
                <a:gd name="connsiteX378" fmla="*/ 200635 w 266641"/>
                <a:gd name="connsiteY378" fmla="*/ 47841 h 337989"/>
                <a:gd name="connsiteX379" fmla="*/ 198942 w 266641"/>
                <a:gd name="connsiteY379" fmla="*/ 47349 h 337989"/>
                <a:gd name="connsiteX380" fmla="*/ 198279 w 266641"/>
                <a:gd name="connsiteY380" fmla="*/ 46307 h 337989"/>
                <a:gd name="connsiteX381" fmla="*/ 196381 w 266641"/>
                <a:gd name="connsiteY381" fmla="*/ 45231 h 337989"/>
                <a:gd name="connsiteX382" fmla="*/ 196102 w 266641"/>
                <a:gd name="connsiteY382" fmla="*/ 44905 h 337989"/>
                <a:gd name="connsiteX383" fmla="*/ 195891 w 266641"/>
                <a:gd name="connsiteY383" fmla="*/ 42807 h 337989"/>
                <a:gd name="connsiteX384" fmla="*/ 196886 w 266641"/>
                <a:gd name="connsiteY384" fmla="*/ 41799 h 337989"/>
                <a:gd name="connsiteX385" fmla="*/ 197062 w 266641"/>
                <a:gd name="connsiteY385" fmla="*/ 41367 h 337989"/>
                <a:gd name="connsiteX386" fmla="*/ 145195 w 266641"/>
                <a:gd name="connsiteY386" fmla="*/ 0 h 337989"/>
                <a:gd name="connsiteX387" fmla="*/ 143422 w 266641"/>
                <a:gd name="connsiteY387" fmla="*/ 2646 h 337989"/>
                <a:gd name="connsiteX388" fmla="*/ 144218 w 266641"/>
                <a:gd name="connsiteY388" fmla="*/ 4177 h 337989"/>
                <a:gd name="connsiteX389" fmla="*/ 145426 w 266641"/>
                <a:gd name="connsiteY389" fmla="*/ 5469 h 337989"/>
                <a:gd name="connsiteX390" fmla="*/ 148006 w 266641"/>
                <a:gd name="connsiteY390" fmla="*/ 9435 h 337989"/>
                <a:gd name="connsiteX391" fmla="*/ 148231 w 266641"/>
                <a:gd name="connsiteY391" fmla="*/ 10581 h 337989"/>
                <a:gd name="connsiteX392" fmla="*/ 149541 w 266641"/>
                <a:gd name="connsiteY392" fmla="*/ 11739 h 337989"/>
                <a:gd name="connsiteX393" fmla="*/ 150181 w 266641"/>
                <a:gd name="connsiteY393" fmla="*/ 12634 h 337989"/>
                <a:gd name="connsiteX394" fmla="*/ 150516 w 266641"/>
                <a:gd name="connsiteY394" fmla="*/ 13781 h 337989"/>
                <a:gd name="connsiteX395" fmla="*/ 151740 w 266641"/>
                <a:gd name="connsiteY395" fmla="*/ 12964 h 337989"/>
                <a:gd name="connsiteX396" fmla="*/ 152653 w 266641"/>
                <a:gd name="connsiteY396" fmla="*/ 11676 h 337989"/>
                <a:gd name="connsiteX397" fmla="*/ 154126 w 266641"/>
                <a:gd name="connsiteY397" fmla="*/ 10371 h 337989"/>
                <a:gd name="connsiteX398" fmla="*/ 153923 w 266641"/>
                <a:gd name="connsiteY398" fmla="*/ 12477 h 337989"/>
                <a:gd name="connsiteX399" fmla="*/ 154674 w 266641"/>
                <a:gd name="connsiteY399" fmla="*/ 12939 h 337989"/>
                <a:gd name="connsiteX400" fmla="*/ 159564 w 266641"/>
                <a:gd name="connsiteY400" fmla="*/ 14409 h 337989"/>
                <a:gd name="connsiteX401" fmla="*/ 160570 w 266641"/>
                <a:gd name="connsiteY401" fmla="*/ 15635 h 337989"/>
                <a:gd name="connsiteX402" fmla="*/ 161608 w 266641"/>
                <a:gd name="connsiteY402" fmla="*/ 15984 h 337989"/>
                <a:gd name="connsiteX403" fmla="*/ 162196 w 266641"/>
                <a:gd name="connsiteY403" fmla="*/ 15299 h 337989"/>
                <a:gd name="connsiteX404" fmla="*/ 162885 w 266641"/>
                <a:gd name="connsiteY404" fmla="*/ 14925 h 337989"/>
                <a:gd name="connsiteX405" fmla="*/ 164651 w 266641"/>
                <a:gd name="connsiteY405" fmla="*/ 15698 h 337989"/>
                <a:gd name="connsiteX406" fmla="*/ 168635 w 266641"/>
                <a:gd name="connsiteY406" fmla="*/ 17847 h 337989"/>
                <a:gd name="connsiteX407" fmla="*/ 168965 w 266641"/>
                <a:gd name="connsiteY407" fmla="*/ 18586 h 337989"/>
                <a:gd name="connsiteX408" fmla="*/ 168763 w 266641"/>
                <a:gd name="connsiteY408" fmla="*/ 19691 h 337989"/>
                <a:gd name="connsiteX409" fmla="*/ 168961 w 266641"/>
                <a:gd name="connsiteY409" fmla="*/ 20857 h 337989"/>
                <a:gd name="connsiteX410" fmla="*/ 169501 w 266641"/>
                <a:gd name="connsiteY410" fmla="*/ 21789 h 337989"/>
                <a:gd name="connsiteX411" fmla="*/ 170828 w 266641"/>
                <a:gd name="connsiteY411" fmla="*/ 22004 h 337989"/>
                <a:gd name="connsiteX412" fmla="*/ 172591 w 266641"/>
                <a:gd name="connsiteY412" fmla="*/ 20622 h 337989"/>
                <a:gd name="connsiteX413" fmla="*/ 173418 w 266641"/>
                <a:gd name="connsiteY413" fmla="*/ 20451 h 337989"/>
                <a:gd name="connsiteX414" fmla="*/ 174590 w 266641"/>
                <a:gd name="connsiteY414" fmla="*/ 22404 h 337989"/>
                <a:gd name="connsiteX415" fmla="*/ 175029 w 266641"/>
                <a:gd name="connsiteY415" fmla="*/ 23510 h 337989"/>
                <a:gd name="connsiteX416" fmla="*/ 174847 w 266641"/>
                <a:gd name="connsiteY416" fmla="*/ 23473 h 337989"/>
                <a:gd name="connsiteX417" fmla="*/ 175603 w 266641"/>
                <a:gd name="connsiteY417" fmla="*/ 24569 h 337989"/>
                <a:gd name="connsiteX418" fmla="*/ 176612 w 266641"/>
                <a:gd name="connsiteY418" fmla="*/ 25659 h 337989"/>
                <a:gd name="connsiteX419" fmla="*/ 178353 w 266641"/>
                <a:gd name="connsiteY419" fmla="*/ 28875 h 337989"/>
                <a:gd name="connsiteX420" fmla="*/ 178093 w 266641"/>
                <a:gd name="connsiteY420" fmla="*/ 30005 h 337989"/>
                <a:gd name="connsiteX421" fmla="*/ 177581 w 266641"/>
                <a:gd name="connsiteY421" fmla="*/ 31022 h 337989"/>
                <a:gd name="connsiteX422" fmla="*/ 179175 w 266641"/>
                <a:gd name="connsiteY422" fmla="*/ 33998 h 337989"/>
                <a:gd name="connsiteX423" fmla="*/ 178132 w 266641"/>
                <a:gd name="connsiteY423" fmla="*/ 34204 h 337989"/>
                <a:gd name="connsiteX424" fmla="*/ 174982 w 266641"/>
                <a:gd name="connsiteY424" fmla="*/ 33700 h 337989"/>
                <a:gd name="connsiteX425" fmla="*/ 175087 w 266641"/>
                <a:gd name="connsiteY425" fmla="*/ 34296 h 337989"/>
                <a:gd name="connsiteX426" fmla="*/ 176920 w 266641"/>
                <a:gd name="connsiteY426" fmla="*/ 36481 h 337989"/>
                <a:gd name="connsiteX427" fmla="*/ 178469 w 266641"/>
                <a:gd name="connsiteY427" fmla="*/ 39572 h 337989"/>
                <a:gd name="connsiteX428" fmla="*/ 179711 w 266641"/>
                <a:gd name="connsiteY428" fmla="*/ 41439 h 337989"/>
                <a:gd name="connsiteX429" fmla="*/ 184072 w 266641"/>
                <a:gd name="connsiteY429" fmla="*/ 47223 h 337989"/>
                <a:gd name="connsiteX430" fmla="*/ 183416 w 266641"/>
                <a:gd name="connsiteY430" fmla="*/ 49284 h 337989"/>
                <a:gd name="connsiteX431" fmla="*/ 183517 w 266641"/>
                <a:gd name="connsiteY431" fmla="*/ 50644 h 337989"/>
                <a:gd name="connsiteX432" fmla="*/ 182958 w 266641"/>
                <a:gd name="connsiteY432" fmla="*/ 51813 h 337989"/>
                <a:gd name="connsiteX433" fmla="*/ 184450 w 266641"/>
                <a:gd name="connsiteY433" fmla="*/ 54887 h 337989"/>
                <a:gd name="connsiteX434" fmla="*/ 183520 w 266641"/>
                <a:gd name="connsiteY434" fmla="*/ 55843 h 337989"/>
                <a:gd name="connsiteX435" fmla="*/ 182902 w 266641"/>
                <a:gd name="connsiteY435" fmla="*/ 58995 h 337989"/>
                <a:gd name="connsiteX436" fmla="*/ 182226 w 266641"/>
                <a:gd name="connsiteY436" fmla="*/ 59547 h 337989"/>
                <a:gd name="connsiteX437" fmla="*/ 182311 w 266641"/>
                <a:gd name="connsiteY437" fmla="*/ 60701 h 337989"/>
                <a:gd name="connsiteX438" fmla="*/ 184068 w 266641"/>
                <a:gd name="connsiteY438" fmla="*/ 61006 h 337989"/>
                <a:gd name="connsiteX439" fmla="*/ 185128 w 266641"/>
                <a:gd name="connsiteY439" fmla="*/ 61497 h 337989"/>
                <a:gd name="connsiteX440" fmla="*/ 186046 w 266641"/>
                <a:gd name="connsiteY440" fmla="*/ 62433 h 337989"/>
                <a:gd name="connsiteX441" fmla="*/ 186617 w 266641"/>
                <a:gd name="connsiteY441" fmla="*/ 61306 h 337989"/>
                <a:gd name="connsiteX442" fmla="*/ 187387 w 266641"/>
                <a:gd name="connsiteY442" fmla="*/ 60999 h 337989"/>
                <a:gd name="connsiteX443" fmla="*/ 189488 w 266641"/>
                <a:gd name="connsiteY443" fmla="*/ 62505 h 337989"/>
                <a:gd name="connsiteX444" fmla="*/ 193867 w 266641"/>
                <a:gd name="connsiteY444" fmla="*/ 64007 h 337989"/>
                <a:gd name="connsiteX445" fmla="*/ 195070 w 266641"/>
                <a:gd name="connsiteY445" fmla="*/ 64565 h 337989"/>
                <a:gd name="connsiteX446" fmla="*/ 195666 w 266641"/>
                <a:gd name="connsiteY446" fmla="*/ 65777 h 337989"/>
                <a:gd name="connsiteX447" fmla="*/ 196113 w 266641"/>
                <a:gd name="connsiteY447" fmla="*/ 68710 h 337989"/>
                <a:gd name="connsiteX448" fmla="*/ 196969 w 266641"/>
                <a:gd name="connsiteY448" fmla="*/ 70003 h 337989"/>
                <a:gd name="connsiteX449" fmla="*/ 198640 w 266641"/>
                <a:gd name="connsiteY449" fmla="*/ 70252 h 337989"/>
                <a:gd name="connsiteX450" fmla="*/ 200443 w 266641"/>
                <a:gd name="connsiteY450" fmla="*/ 69862 h 337989"/>
                <a:gd name="connsiteX451" fmla="*/ 201010 w 266641"/>
                <a:gd name="connsiteY451" fmla="*/ 68792 h 337989"/>
                <a:gd name="connsiteX452" fmla="*/ 200652 w 266641"/>
                <a:gd name="connsiteY452" fmla="*/ 65919 h 337989"/>
                <a:gd name="connsiteX453" fmla="*/ 199352 w 266641"/>
                <a:gd name="connsiteY453" fmla="*/ 61323 h 337989"/>
                <a:gd name="connsiteX454" fmla="*/ 199346 w 266641"/>
                <a:gd name="connsiteY454" fmla="*/ 59830 h 337989"/>
                <a:gd name="connsiteX455" fmla="*/ 199531 w 266641"/>
                <a:gd name="connsiteY455" fmla="*/ 58335 h 337989"/>
                <a:gd name="connsiteX456" fmla="*/ 199225 w 266641"/>
                <a:gd name="connsiteY456" fmla="*/ 56851 h 337989"/>
                <a:gd name="connsiteX457" fmla="*/ 198575 w 266641"/>
                <a:gd name="connsiteY457" fmla="*/ 55449 h 337989"/>
                <a:gd name="connsiteX458" fmla="*/ 197875 w 266641"/>
                <a:gd name="connsiteY458" fmla="*/ 54375 h 337989"/>
                <a:gd name="connsiteX459" fmla="*/ 196972 w 266641"/>
                <a:gd name="connsiteY459" fmla="*/ 53473 h 337989"/>
                <a:gd name="connsiteX460" fmla="*/ 197288 w 266641"/>
                <a:gd name="connsiteY460" fmla="*/ 52066 h 337989"/>
                <a:gd name="connsiteX461" fmla="*/ 198637 w 266641"/>
                <a:gd name="connsiteY461" fmla="*/ 51430 h 337989"/>
                <a:gd name="connsiteX462" fmla="*/ 199451 w 266641"/>
                <a:gd name="connsiteY462" fmla="*/ 52620 h 337989"/>
                <a:gd name="connsiteX463" fmla="*/ 200123 w 266641"/>
                <a:gd name="connsiteY463" fmla="*/ 54055 h 337989"/>
                <a:gd name="connsiteX464" fmla="*/ 203515 w 266641"/>
                <a:gd name="connsiteY464" fmla="*/ 58308 h 337989"/>
                <a:gd name="connsiteX465" fmla="*/ 205522 w 266641"/>
                <a:gd name="connsiteY465" fmla="*/ 58008 h 337989"/>
                <a:gd name="connsiteX466" fmla="*/ 205710 w 266641"/>
                <a:gd name="connsiteY466" fmla="*/ 59771 h 337989"/>
                <a:gd name="connsiteX467" fmla="*/ 207070 w 266641"/>
                <a:gd name="connsiteY467" fmla="*/ 61562 h 337989"/>
                <a:gd name="connsiteX468" fmla="*/ 207821 w 266641"/>
                <a:gd name="connsiteY468" fmla="*/ 63661 h 337989"/>
                <a:gd name="connsiteX469" fmla="*/ 208814 w 266641"/>
                <a:gd name="connsiteY469" fmla="*/ 69943 h 337989"/>
                <a:gd name="connsiteX470" fmla="*/ 210341 w 266641"/>
                <a:gd name="connsiteY470" fmla="*/ 75869 h 337989"/>
                <a:gd name="connsiteX471" fmla="*/ 213092 w 266641"/>
                <a:gd name="connsiteY471" fmla="*/ 78455 h 337989"/>
                <a:gd name="connsiteX472" fmla="*/ 213412 w 266641"/>
                <a:gd name="connsiteY472" fmla="*/ 79692 h 337989"/>
                <a:gd name="connsiteX473" fmla="*/ 211738 w 266641"/>
                <a:gd name="connsiteY473" fmla="*/ 79054 h 337989"/>
                <a:gd name="connsiteX474" fmla="*/ 211220 w 266641"/>
                <a:gd name="connsiteY474" fmla="*/ 79425 h 337989"/>
                <a:gd name="connsiteX475" fmla="*/ 211397 w 266641"/>
                <a:gd name="connsiteY475" fmla="*/ 80049 h 337989"/>
                <a:gd name="connsiteX476" fmla="*/ 212956 w 266641"/>
                <a:gd name="connsiteY476" fmla="*/ 81185 h 337989"/>
                <a:gd name="connsiteX477" fmla="*/ 214785 w 266641"/>
                <a:gd name="connsiteY477" fmla="*/ 81744 h 337989"/>
                <a:gd name="connsiteX478" fmla="*/ 215936 w 266641"/>
                <a:gd name="connsiteY478" fmla="*/ 81664 h 337989"/>
                <a:gd name="connsiteX479" fmla="*/ 217010 w 266641"/>
                <a:gd name="connsiteY479" fmla="*/ 82078 h 337989"/>
                <a:gd name="connsiteX480" fmla="*/ 224153 w 266641"/>
                <a:gd name="connsiteY480" fmla="*/ 85939 h 337989"/>
                <a:gd name="connsiteX481" fmla="*/ 227586 w 266641"/>
                <a:gd name="connsiteY481" fmla="*/ 87442 h 337989"/>
                <a:gd name="connsiteX482" fmla="*/ 236250 w 266641"/>
                <a:gd name="connsiteY482" fmla="*/ 89904 h 337989"/>
                <a:gd name="connsiteX483" fmla="*/ 238730 w 266641"/>
                <a:gd name="connsiteY483" fmla="*/ 90102 h 337989"/>
                <a:gd name="connsiteX484" fmla="*/ 240100 w 266641"/>
                <a:gd name="connsiteY484" fmla="*/ 90034 h 337989"/>
                <a:gd name="connsiteX485" fmla="*/ 242695 w 266641"/>
                <a:gd name="connsiteY485" fmla="*/ 89178 h 337989"/>
                <a:gd name="connsiteX486" fmla="*/ 245017 w 266641"/>
                <a:gd name="connsiteY486" fmla="*/ 87642 h 337989"/>
                <a:gd name="connsiteX487" fmla="*/ 247021 w 266641"/>
                <a:gd name="connsiteY487" fmla="*/ 85346 h 337989"/>
                <a:gd name="connsiteX488" fmla="*/ 248755 w 266641"/>
                <a:gd name="connsiteY488" fmla="*/ 82730 h 337989"/>
                <a:gd name="connsiteX489" fmla="*/ 250642 w 266641"/>
                <a:gd name="connsiteY489" fmla="*/ 81462 h 337989"/>
                <a:gd name="connsiteX490" fmla="*/ 252782 w 266641"/>
                <a:gd name="connsiteY490" fmla="*/ 80463 h 337989"/>
                <a:gd name="connsiteX491" fmla="*/ 253855 w 266641"/>
                <a:gd name="connsiteY491" fmla="*/ 79537 h 337989"/>
                <a:gd name="connsiteX492" fmla="*/ 254987 w 266641"/>
                <a:gd name="connsiteY492" fmla="*/ 78879 h 337989"/>
                <a:gd name="connsiteX493" fmla="*/ 260802 w 266641"/>
                <a:gd name="connsiteY493" fmla="*/ 79186 h 337989"/>
                <a:gd name="connsiteX494" fmla="*/ 262761 w 266641"/>
                <a:gd name="connsiteY494" fmla="*/ 80503 h 337989"/>
                <a:gd name="connsiteX495" fmla="*/ 265309 w 266641"/>
                <a:gd name="connsiteY495" fmla="*/ 81559 h 337989"/>
                <a:gd name="connsiteX496" fmla="*/ 266641 w 266641"/>
                <a:gd name="connsiteY496" fmla="*/ 82386 h 337989"/>
                <a:gd name="connsiteX497" fmla="*/ 266194 w 266641"/>
                <a:gd name="connsiteY497" fmla="*/ 84062 h 337989"/>
                <a:gd name="connsiteX498" fmla="*/ 264669 w 266641"/>
                <a:gd name="connsiteY498" fmla="*/ 86539 h 337989"/>
                <a:gd name="connsiteX499" fmla="*/ 263495 w 266641"/>
                <a:gd name="connsiteY499" fmla="*/ 89251 h 337989"/>
                <a:gd name="connsiteX500" fmla="*/ 262462 w 266641"/>
                <a:gd name="connsiteY500" fmla="*/ 95424 h 337989"/>
                <a:gd name="connsiteX501" fmla="*/ 261758 w 266641"/>
                <a:gd name="connsiteY501" fmla="*/ 101674 h 337989"/>
                <a:gd name="connsiteX502" fmla="*/ 260702 w 266641"/>
                <a:gd name="connsiteY502" fmla="*/ 104432 h 337989"/>
                <a:gd name="connsiteX503" fmla="*/ 258779 w 266641"/>
                <a:gd name="connsiteY503" fmla="*/ 106558 h 337989"/>
                <a:gd name="connsiteX504" fmla="*/ 256660 w 266641"/>
                <a:gd name="connsiteY504" fmla="*/ 108111 h 337989"/>
                <a:gd name="connsiteX505" fmla="*/ 254257 w 266641"/>
                <a:gd name="connsiteY505" fmla="*/ 108841 h 337989"/>
                <a:gd name="connsiteX506" fmla="*/ 253283 w 266641"/>
                <a:gd name="connsiteY506" fmla="*/ 112402 h 337989"/>
                <a:gd name="connsiteX507" fmla="*/ 252802 w 266641"/>
                <a:gd name="connsiteY507" fmla="*/ 116576 h 337989"/>
                <a:gd name="connsiteX508" fmla="*/ 252940 w 266641"/>
                <a:gd name="connsiteY508" fmla="*/ 117626 h 337989"/>
                <a:gd name="connsiteX509" fmla="*/ 253709 w 266641"/>
                <a:gd name="connsiteY509" fmla="*/ 118457 h 337989"/>
                <a:gd name="connsiteX510" fmla="*/ 254023 w 266641"/>
                <a:gd name="connsiteY510" fmla="*/ 119698 h 337989"/>
                <a:gd name="connsiteX511" fmla="*/ 252767 w 266641"/>
                <a:gd name="connsiteY511" fmla="*/ 122212 h 337989"/>
                <a:gd name="connsiteX512" fmla="*/ 252030 w 266641"/>
                <a:gd name="connsiteY512" fmla="*/ 121848 h 337989"/>
                <a:gd name="connsiteX513" fmla="*/ 250996 w 266641"/>
                <a:gd name="connsiteY513" fmla="*/ 119756 h 337989"/>
                <a:gd name="connsiteX514" fmla="*/ 250055 w 266641"/>
                <a:gd name="connsiteY514" fmla="*/ 118882 h 337989"/>
                <a:gd name="connsiteX515" fmla="*/ 247174 w 266641"/>
                <a:gd name="connsiteY515" fmla="*/ 118230 h 337989"/>
                <a:gd name="connsiteX516" fmla="*/ 244235 w 266641"/>
                <a:gd name="connsiteY516" fmla="*/ 117922 h 337989"/>
                <a:gd name="connsiteX517" fmla="*/ 241682 w 266641"/>
                <a:gd name="connsiteY517" fmla="*/ 118111 h 337989"/>
                <a:gd name="connsiteX518" fmla="*/ 239230 w 266641"/>
                <a:gd name="connsiteY518" fmla="*/ 119009 h 337989"/>
                <a:gd name="connsiteX519" fmla="*/ 235517 w 266641"/>
                <a:gd name="connsiteY519" fmla="*/ 120828 h 337989"/>
                <a:gd name="connsiteX520" fmla="*/ 234369 w 266641"/>
                <a:gd name="connsiteY520" fmla="*/ 121751 h 337989"/>
                <a:gd name="connsiteX521" fmla="*/ 233363 w 266641"/>
                <a:gd name="connsiteY521" fmla="*/ 122920 h 337989"/>
                <a:gd name="connsiteX522" fmla="*/ 231656 w 266641"/>
                <a:gd name="connsiteY522" fmla="*/ 125530 h 337989"/>
                <a:gd name="connsiteX523" fmla="*/ 231251 w 266641"/>
                <a:gd name="connsiteY523" fmla="*/ 128725 h 337989"/>
                <a:gd name="connsiteX524" fmla="*/ 231329 w 266641"/>
                <a:gd name="connsiteY524" fmla="*/ 130401 h 337989"/>
                <a:gd name="connsiteX525" fmla="*/ 231933 w 266641"/>
                <a:gd name="connsiteY525" fmla="*/ 131698 h 337989"/>
                <a:gd name="connsiteX526" fmla="*/ 235101 w 266641"/>
                <a:gd name="connsiteY526" fmla="*/ 133464 h 337989"/>
                <a:gd name="connsiteX527" fmla="*/ 231963 w 266641"/>
                <a:gd name="connsiteY527" fmla="*/ 139648 h 337989"/>
                <a:gd name="connsiteX528" fmla="*/ 229182 w 266641"/>
                <a:gd name="connsiteY528" fmla="*/ 146092 h 337989"/>
                <a:gd name="connsiteX529" fmla="*/ 227602 w 266641"/>
                <a:gd name="connsiteY529" fmla="*/ 147936 h 337989"/>
                <a:gd name="connsiteX530" fmla="*/ 225789 w 266641"/>
                <a:gd name="connsiteY530" fmla="*/ 149636 h 337989"/>
                <a:gd name="connsiteX531" fmla="*/ 224082 w 266641"/>
                <a:gd name="connsiteY531" fmla="*/ 153522 h 337989"/>
                <a:gd name="connsiteX532" fmla="*/ 221095 w 266641"/>
                <a:gd name="connsiteY532" fmla="*/ 156874 h 337989"/>
                <a:gd name="connsiteX533" fmla="*/ 219077 w 266641"/>
                <a:gd name="connsiteY533" fmla="*/ 159435 h 337989"/>
                <a:gd name="connsiteX534" fmla="*/ 217500 w 266641"/>
                <a:gd name="connsiteY534" fmla="*/ 162092 h 337989"/>
                <a:gd name="connsiteX535" fmla="*/ 216126 w 266641"/>
                <a:gd name="connsiteY535" fmla="*/ 164926 h 337989"/>
                <a:gd name="connsiteX536" fmla="*/ 213183 w 266641"/>
                <a:gd name="connsiteY536" fmla="*/ 168930 h 337989"/>
                <a:gd name="connsiteX537" fmla="*/ 211886 w 266641"/>
                <a:gd name="connsiteY537" fmla="*/ 171578 h 337989"/>
                <a:gd name="connsiteX538" fmla="*/ 210182 w 266641"/>
                <a:gd name="connsiteY538" fmla="*/ 173780 h 337989"/>
                <a:gd name="connsiteX539" fmla="*/ 207014 w 266641"/>
                <a:gd name="connsiteY539" fmla="*/ 176597 h 337989"/>
                <a:gd name="connsiteX540" fmla="*/ 203645 w 266641"/>
                <a:gd name="connsiteY540" fmla="*/ 179015 h 337989"/>
                <a:gd name="connsiteX541" fmla="*/ 198333 w 266641"/>
                <a:gd name="connsiteY541" fmla="*/ 182359 h 337989"/>
                <a:gd name="connsiteX542" fmla="*/ 196856 w 266641"/>
                <a:gd name="connsiteY542" fmla="*/ 183464 h 337989"/>
                <a:gd name="connsiteX543" fmla="*/ 195297 w 266641"/>
                <a:gd name="connsiteY543" fmla="*/ 184272 h 337989"/>
                <a:gd name="connsiteX544" fmla="*/ 193360 w 266641"/>
                <a:gd name="connsiteY544" fmla="*/ 183314 h 337989"/>
                <a:gd name="connsiteX545" fmla="*/ 192970 w 266641"/>
                <a:gd name="connsiteY545" fmla="*/ 182271 h 337989"/>
                <a:gd name="connsiteX546" fmla="*/ 192531 w 266641"/>
                <a:gd name="connsiteY546" fmla="*/ 180000 h 337989"/>
                <a:gd name="connsiteX547" fmla="*/ 192110 w 266641"/>
                <a:gd name="connsiteY547" fmla="*/ 179165 h 337989"/>
                <a:gd name="connsiteX548" fmla="*/ 189640 w 266641"/>
                <a:gd name="connsiteY548" fmla="*/ 178474 h 337989"/>
                <a:gd name="connsiteX549" fmla="*/ 186370 w 266641"/>
                <a:gd name="connsiteY549" fmla="*/ 179575 h 337989"/>
                <a:gd name="connsiteX550" fmla="*/ 185824 w 266641"/>
                <a:gd name="connsiteY550" fmla="*/ 179340 h 337989"/>
                <a:gd name="connsiteX551" fmla="*/ 185688 w 266641"/>
                <a:gd name="connsiteY551" fmla="*/ 178819 h 337989"/>
                <a:gd name="connsiteX552" fmla="*/ 185683 w 266641"/>
                <a:gd name="connsiteY552" fmla="*/ 175492 h 337989"/>
                <a:gd name="connsiteX553" fmla="*/ 186241 w 266641"/>
                <a:gd name="connsiteY553" fmla="*/ 174555 h 337989"/>
                <a:gd name="connsiteX554" fmla="*/ 185476 w 266641"/>
                <a:gd name="connsiteY554" fmla="*/ 174037 h 337989"/>
                <a:gd name="connsiteX555" fmla="*/ 184723 w 266641"/>
                <a:gd name="connsiteY555" fmla="*/ 174241 h 337989"/>
                <a:gd name="connsiteX556" fmla="*/ 184461 w 266641"/>
                <a:gd name="connsiteY556" fmla="*/ 175088 h 337989"/>
                <a:gd name="connsiteX557" fmla="*/ 184936 w 266641"/>
                <a:gd name="connsiteY557" fmla="*/ 175822 h 337989"/>
                <a:gd name="connsiteX558" fmla="*/ 183075 w 266641"/>
                <a:gd name="connsiteY558" fmla="*/ 176734 h 337989"/>
                <a:gd name="connsiteX559" fmla="*/ 181140 w 266641"/>
                <a:gd name="connsiteY559" fmla="*/ 176760 h 337989"/>
                <a:gd name="connsiteX560" fmla="*/ 180553 w 266641"/>
                <a:gd name="connsiteY560" fmla="*/ 176402 h 337989"/>
                <a:gd name="connsiteX561" fmla="*/ 180384 w 266641"/>
                <a:gd name="connsiteY561" fmla="*/ 175788 h 337989"/>
                <a:gd name="connsiteX562" fmla="*/ 180853 w 266641"/>
                <a:gd name="connsiteY562" fmla="*/ 174782 h 337989"/>
                <a:gd name="connsiteX563" fmla="*/ 181479 w 266641"/>
                <a:gd name="connsiteY563" fmla="*/ 173896 h 337989"/>
                <a:gd name="connsiteX564" fmla="*/ 185081 w 266641"/>
                <a:gd name="connsiteY564" fmla="*/ 169711 h 337989"/>
                <a:gd name="connsiteX565" fmla="*/ 188819 w 266641"/>
                <a:gd name="connsiteY565" fmla="*/ 164159 h 337989"/>
                <a:gd name="connsiteX566" fmla="*/ 192041 w 266641"/>
                <a:gd name="connsiteY566" fmla="*/ 158226 h 337989"/>
                <a:gd name="connsiteX567" fmla="*/ 192880 w 266641"/>
                <a:gd name="connsiteY567" fmla="*/ 155181 h 337989"/>
                <a:gd name="connsiteX568" fmla="*/ 194066 w 266641"/>
                <a:gd name="connsiteY568" fmla="*/ 149529 h 337989"/>
                <a:gd name="connsiteX569" fmla="*/ 193094 w 266641"/>
                <a:gd name="connsiteY569" fmla="*/ 147179 h 337989"/>
                <a:gd name="connsiteX570" fmla="*/ 191896 w 266641"/>
                <a:gd name="connsiteY570" fmla="*/ 144973 h 337989"/>
                <a:gd name="connsiteX571" fmla="*/ 188653 w 266641"/>
                <a:gd name="connsiteY571" fmla="*/ 140727 h 337989"/>
                <a:gd name="connsiteX572" fmla="*/ 184329 w 266641"/>
                <a:gd name="connsiteY572" fmla="*/ 138331 h 337989"/>
                <a:gd name="connsiteX573" fmla="*/ 181533 w 266641"/>
                <a:gd name="connsiteY573" fmla="*/ 137992 h 337989"/>
                <a:gd name="connsiteX574" fmla="*/ 178884 w 266641"/>
                <a:gd name="connsiteY574" fmla="*/ 137102 h 337989"/>
                <a:gd name="connsiteX575" fmla="*/ 176389 w 266641"/>
                <a:gd name="connsiteY575" fmla="*/ 135077 h 337989"/>
                <a:gd name="connsiteX576" fmla="*/ 174120 w 266641"/>
                <a:gd name="connsiteY576" fmla="*/ 132690 h 337989"/>
                <a:gd name="connsiteX577" fmla="*/ 169622 w 266641"/>
                <a:gd name="connsiteY577" fmla="*/ 130736 h 337989"/>
                <a:gd name="connsiteX578" fmla="*/ 164884 w 266641"/>
                <a:gd name="connsiteY578" fmla="*/ 129202 h 337989"/>
                <a:gd name="connsiteX579" fmla="*/ 162180 w 266641"/>
                <a:gd name="connsiteY579" fmla="*/ 127039 h 337989"/>
                <a:gd name="connsiteX580" fmla="*/ 161537 w 266641"/>
                <a:gd name="connsiteY580" fmla="*/ 125753 h 337989"/>
                <a:gd name="connsiteX581" fmla="*/ 161110 w 266641"/>
                <a:gd name="connsiteY581" fmla="*/ 124264 h 337989"/>
                <a:gd name="connsiteX582" fmla="*/ 161170 w 266641"/>
                <a:gd name="connsiteY582" fmla="*/ 122880 h 337989"/>
                <a:gd name="connsiteX583" fmla="*/ 161507 w 266641"/>
                <a:gd name="connsiteY583" fmla="*/ 121478 h 337989"/>
                <a:gd name="connsiteX584" fmla="*/ 162047 w 266641"/>
                <a:gd name="connsiteY584" fmla="*/ 120398 h 337989"/>
                <a:gd name="connsiteX585" fmla="*/ 162893 w 266641"/>
                <a:gd name="connsiteY585" fmla="*/ 119617 h 337989"/>
                <a:gd name="connsiteX586" fmla="*/ 167914 w 266641"/>
                <a:gd name="connsiteY586" fmla="*/ 116821 h 337989"/>
                <a:gd name="connsiteX587" fmla="*/ 173228 w 266641"/>
                <a:gd name="connsiteY587" fmla="*/ 115266 h 337989"/>
                <a:gd name="connsiteX588" fmla="*/ 174208 w 266641"/>
                <a:gd name="connsiteY588" fmla="*/ 115293 h 337989"/>
                <a:gd name="connsiteX589" fmla="*/ 175146 w 266641"/>
                <a:gd name="connsiteY589" fmla="*/ 115046 h 337989"/>
                <a:gd name="connsiteX590" fmla="*/ 176474 w 266641"/>
                <a:gd name="connsiteY590" fmla="*/ 114095 h 337989"/>
                <a:gd name="connsiteX591" fmla="*/ 178855 w 266641"/>
                <a:gd name="connsiteY591" fmla="*/ 111921 h 337989"/>
                <a:gd name="connsiteX592" fmla="*/ 179544 w 266641"/>
                <a:gd name="connsiteY592" fmla="*/ 110461 h 337989"/>
                <a:gd name="connsiteX593" fmla="*/ 180013 w 266641"/>
                <a:gd name="connsiteY593" fmla="*/ 105826 h 337989"/>
                <a:gd name="connsiteX594" fmla="*/ 180775 w 266641"/>
                <a:gd name="connsiteY594" fmla="*/ 101270 h 337989"/>
                <a:gd name="connsiteX595" fmla="*/ 182153 w 266641"/>
                <a:gd name="connsiteY595" fmla="*/ 96058 h 337989"/>
                <a:gd name="connsiteX596" fmla="*/ 184230 w 266641"/>
                <a:gd name="connsiteY596" fmla="*/ 92829 h 337989"/>
                <a:gd name="connsiteX597" fmla="*/ 184910 w 266641"/>
                <a:gd name="connsiteY597" fmla="*/ 90850 h 337989"/>
                <a:gd name="connsiteX598" fmla="*/ 184062 w 266641"/>
                <a:gd name="connsiteY598" fmla="*/ 87592 h 337989"/>
                <a:gd name="connsiteX599" fmla="*/ 184839 w 266641"/>
                <a:gd name="connsiteY599" fmla="*/ 86399 h 337989"/>
                <a:gd name="connsiteX600" fmla="*/ 185785 w 266641"/>
                <a:gd name="connsiteY600" fmla="*/ 85679 h 337989"/>
                <a:gd name="connsiteX601" fmla="*/ 186856 w 266641"/>
                <a:gd name="connsiteY601" fmla="*/ 85261 h 337989"/>
                <a:gd name="connsiteX602" fmla="*/ 185042 w 266641"/>
                <a:gd name="connsiteY602" fmla="*/ 82209 h 337989"/>
                <a:gd name="connsiteX603" fmla="*/ 182907 w 266641"/>
                <a:gd name="connsiteY603" fmla="*/ 77597 h 337989"/>
                <a:gd name="connsiteX604" fmla="*/ 182459 w 266641"/>
                <a:gd name="connsiteY604" fmla="*/ 76169 h 337989"/>
                <a:gd name="connsiteX605" fmla="*/ 182786 w 266641"/>
                <a:gd name="connsiteY605" fmla="*/ 74758 h 337989"/>
                <a:gd name="connsiteX606" fmla="*/ 183310 w 266641"/>
                <a:gd name="connsiteY606" fmla="*/ 73371 h 337989"/>
                <a:gd name="connsiteX607" fmla="*/ 181978 w 266641"/>
                <a:gd name="connsiteY607" fmla="*/ 73020 h 337989"/>
                <a:gd name="connsiteX608" fmla="*/ 181207 w 266641"/>
                <a:gd name="connsiteY608" fmla="*/ 71690 h 337989"/>
                <a:gd name="connsiteX609" fmla="*/ 179290 w 266641"/>
                <a:gd name="connsiteY609" fmla="*/ 67223 h 337989"/>
                <a:gd name="connsiteX610" fmla="*/ 179816 w 266641"/>
                <a:gd name="connsiteY610" fmla="*/ 66515 h 337989"/>
                <a:gd name="connsiteX611" fmla="*/ 180922 w 266641"/>
                <a:gd name="connsiteY611" fmla="*/ 66995 h 337989"/>
                <a:gd name="connsiteX612" fmla="*/ 182572 w 266641"/>
                <a:gd name="connsiteY612" fmla="*/ 70215 h 337989"/>
                <a:gd name="connsiteX613" fmla="*/ 182839 w 266641"/>
                <a:gd name="connsiteY613" fmla="*/ 68556 h 337989"/>
                <a:gd name="connsiteX614" fmla="*/ 184105 w 266641"/>
                <a:gd name="connsiteY614" fmla="*/ 67537 h 337989"/>
                <a:gd name="connsiteX615" fmla="*/ 185438 w 266641"/>
                <a:gd name="connsiteY615" fmla="*/ 67007 h 337989"/>
                <a:gd name="connsiteX616" fmla="*/ 186875 w 266641"/>
                <a:gd name="connsiteY616" fmla="*/ 66893 h 337989"/>
                <a:gd name="connsiteX617" fmla="*/ 183628 w 266641"/>
                <a:gd name="connsiteY617" fmla="*/ 63306 h 337989"/>
                <a:gd name="connsiteX618" fmla="*/ 182542 w 266641"/>
                <a:gd name="connsiteY618" fmla="*/ 63450 h 337989"/>
                <a:gd name="connsiteX619" fmla="*/ 181105 w 266641"/>
                <a:gd name="connsiteY619" fmla="*/ 64021 h 337989"/>
                <a:gd name="connsiteX620" fmla="*/ 179635 w 266641"/>
                <a:gd name="connsiteY620" fmla="*/ 64374 h 337989"/>
                <a:gd name="connsiteX621" fmla="*/ 178199 w 266641"/>
                <a:gd name="connsiteY621" fmla="*/ 64058 h 337989"/>
                <a:gd name="connsiteX622" fmla="*/ 176851 w 266641"/>
                <a:gd name="connsiteY622" fmla="*/ 63259 h 337989"/>
                <a:gd name="connsiteX623" fmla="*/ 176164 w 266641"/>
                <a:gd name="connsiteY623" fmla="*/ 61750 h 337989"/>
                <a:gd name="connsiteX624" fmla="*/ 175314 w 266641"/>
                <a:gd name="connsiteY624" fmla="*/ 58848 h 337989"/>
                <a:gd name="connsiteX625" fmla="*/ 174781 w 266641"/>
                <a:gd name="connsiteY625" fmla="*/ 57775 h 337989"/>
                <a:gd name="connsiteX626" fmla="*/ 170512 w 266641"/>
                <a:gd name="connsiteY626" fmla="*/ 51851 h 337989"/>
                <a:gd name="connsiteX627" fmla="*/ 171768 w 266641"/>
                <a:gd name="connsiteY627" fmla="*/ 51665 h 337989"/>
                <a:gd name="connsiteX628" fmla="*/ 175215 w 266641"/>
                <a:gd name="connsiteY628" fmla="*/ 54630 h 337989"/>
                <a:gd name="connsiteX629" fmla="*/ 175882 w 266641"/>
                <a:gd name="connsiteY629" fmla="*/ 53682 h 337989"/>
                <a:gd name="connsiteX630" fmla="*/ 176381 w 266641"/>
                <a:gd name="connsiteY630" fmla="*/ 52318 h 337989"/>
                <a:gd name="connsiteX631" fmla="*/ 176216 w 266641"/>
                <a:gd name="connsiteY631" fmla="*/ 50802 h 337989"/>
                <a:gd name="connsiteX632" fmla="*/ 175392 w 266641"/>
                <a:gd name="connsiteY632" fmla="*/ 49655 h 337989"/>
                <a:gd name="connsiteX633" fmla="*/ 174165 w 266641"/>
                <a:gd name="connsiteY633" fmla="*/ 48906 h 337989"/>
                <a:gd name="connsiteX634" fmla="*/ 174144 w 266641"/>
                <a:gd name="connsiteY634" fmla="*/ 47562 h 337989"/>
                <a:gd name="connsiteX635" fmla="*/ 175078 w 266641"/>
                <a:gd name="connsiteY635" fmla="*/ 46329 h 337989"/>
                <a:gd name="connsiteX636" fmla="*/ 175020 w 266641"/>
                <a:gd name="connsiteY636" fmla="*/ 45467 h 337989"/>
                <a:gd name="connsiteX637" fmla="*/ 173047 w 266641"/>
                <a:gd name="connsiteY637" fmla="*/ 43710 h 337989"/>
                <a:gd name="connsiteX638" fmla="*/ 172258 w 266641"/>
                <a:gd name="connsiteY638" fmla="*/ 43522 h 337989"/>
                <a:gd name="connsiteX639" fmla="*/ 171909 w 266641"/>
                <a:gd name="connsiteY639" fmla="*/ 44345 h 337989"/>
                <a:gd name="connsiteX640" fmla="*/ 172472 w 266641"/>
                <a:gd name="connsiteY640" fmla="*/ 45561 h 337989"/>
                <a:gd name="connsiteX641" fmla="*/ 171945 w 266641"/>
                <a:gd name="connsiteY641" fmla="*/ 45697 h 337989"/>
                <a:gd name="connsiteX642" fmla="*/ 167140 w 266641"/>
                <a:gd name="connsiteY642" fmla="*/ 42496 h 337989"/>
                <a:gd name="connsiteX643" fmla="*/ 165657 w 266641"/>
                <a:gd name="connsiteY643" fmla="*/ 39925 h 337989"/>
                <a:gd name="connsiteX644" fmla="*/ 164443 w 266641"/>
                <a:gd name="connsiteY644" fmla="*/ 37102 h 337989"/>
                <a:gd name="connsiteX645" fmla="*/ 164320 w 266641"/>
                <a:gd name="connsiteY645" fmla="*/ 38250 h 337989"/>
                <a:gd name="connsiteX646" fmla="*/ 164506 w 266641"/>
                <a:gd name="connsiteY646" fmla="*/ 39863 h 337989"/>
                <a:gd name="connsiteX647" fmla="*/ 166405 w 266641"/>
                <a:gd name="connsiteY647" fmla="*/ 43098 h 337989"/>
                <a:gd name="connsiteX648" fmla="*/ 169483 w 266641"/>
                <a:gd name="connsiteY648" fmla="*/ 46717 h 337989"/>
                <a:gd name="connsiteX649" fmla="*/ 170015 w 266641"/>
                <a:gd name="connsiteY649" fmla="*/ 47683 h 337989"/>
                <a:gd name="connsiteX650" fmla="*/ 169559 w 266641"/>
                <a:gd name="connsiteY650" fmla="*/ 48930 h 337989"/>
                <a:gd name="connsiteX651" fmla="*/ 168490 w 266641"/>
                <a:gd name="connsiteY651" fmla="*/ 49286 h 337989"/>
                <a:gd name="connsiteX652" fmla="*/ 167545 w 266641"/>
                <a:gd name="connsiteY652" fmla="*/ 48495 h 337989"/>
                <a:gd name="connsiteX653" fmla="*/ 166136 w 266641"/>
                <a:gd name="connsiteY653" fmla="*/ 45396 h 337989"/>
                <a:gd name="connsiteX654" fmla="*/ 165122 w 266641"/>
                <a:gd name="connsiteY654" fmla="*/ 43846 h 337989"/>
                <a:gd name="connsiteX655" fmla="*/ 153338 w 266641"/>
                <a:gd name="connsiteY655" fmla="*/ 27883 h 337989"/>
                <a:gd name="connsiteX656" fmla="*/ 154843 w 266641"/>
                <a:gd name="connsiteY656" fmla="*/ 25781 h 337989"/>
                <a:gd name="connsiteX657" fmla="*/ 157177 w 266641"/>
                <a:gd name="connsiteY657" fmla="*/ 24012 h 337989"/>
                <a:gd name="connsiteX658" fmla="*/ 157719 w 266641"/>
                <a:gd name="connsiteY658" fmla="*/ 23225 h 337989"/>
                <a:gd name="connsiteX659" fmla="*/ 158069 w 266641"/>
                <a:gd name="connsiteY659" fmla="*/ 22269 h 337989"/>
                <a:gd name="connsiteX660" fmla="*/ 157084 w 266641"/>
                <a:gd name="connsiteY660" fmla="*/ 22105 h 337989"/>
                <a:gd name="connsiteX661" fmla="*/ 156201 w 266641"/>
                <a:gd name="connsiteY661" fmla="*/ 22539 h 337989"/>
                <a:gd name="connsiteX662" fmla="*/ 155193 w 266641"/>
                <a:gd name="connsiteY662" fmla="*/ 23353 h 337989"/>
                <a:gd name="connsiteX663" fmla="*/ 154269 w 266641"/>
                <a:gd name="connsiteY663" fmla="*/ 24280 h 337989"/>
                <a:gd name="connsiteX664" fmla="*/ 153105 w 266641"/>
                <a:gd name="connsiteY664" fmla="*/ 26339 h 337989"/>
                <a:gd name="connsiteX665" fmla="*/ 152546 w 266641"/>
                <a:gd name="connsiteY665" fmla="*/ 26815 h 337989"/>
                <a:gd name="connsiteX666" fmla="*/ 151165 w 266641"/>
                <a:gd name="connsiteY666" fmla="*/ 25389 h 337989"/>
                <a:gd name="connsiteX667" fmla="*/ 150640 w 266641"/>
                <a:gd name="connsiteY667" fmla="*/ 24508 h 337989"/>
                <a:gd name="connsiteX668" fmla="*/ 150663 w 266641"/>
                <a:gd name="connsiteY668" fmla="*/ 23453 h 337989"/>
                <a:gd name="connsiteX669" fmla="*/ 150293 w 266641"/>
                <a:gd name="connsiteY669" fmla="*/ 22784 h 337989"/>
                <a:gd name="connsiteX670" fmla="*/ 149268 w 266641"/>
                <a:gd name="connsiteY670" fmla="*/ 22573 h 337989"/>
                <a:gd name="connsiteX671" fmla="*/ 147765 w 266641"/>
                <a:gd name="connsiteY671" fmla="*/ 20477 h 337989"/>
                <a:gd name="connsiteX672" fmla="*/ 146803 w 266641"/>
                <a:gd name="connsiteY672" fmla="*/ 19412 h 337989"/>
                <a:gd name="connsiteX673" fmla="*/ 148397 w 266641"/>
                <a:gd name="connsiteY673" fmla="*/ 17367 h 337989"/>
                <a:gd name="connsiteX674" fmla="*/ 148438 w 266641"/>
                <a:gd name="connsiteY674" fmla="*/ 14673 h 337989"/>
                <a:gd name="connsiteX675" fmla="*/ 146817 w 266641"/>
                <a:gd name="connsiteY675" fmla="*/ 11847 h 337989"/>
                <a:gd name="connsiteX676" fmla="*/ 144877 w 266641"/>
                <a:gd name="connsiteY676" fmla="*/ 9260 h 337989"/>
                <a:gd name="connsiteX677" fmla="*/ 141144 w 266641"/>
                <a:gd name="connsiteY677" fmla="*/ 5072 h 337989"/>
                <a:gd name="connsiteX678" fmla="*/ 137721 w 266641"/>
                <a:gd name="connsiteY678" fmla="*/ 650 h 337989"/>
                <a:gd name="connsiteX679" fmla="*/ 141431 w 266641"/>
                <a:gd name="connsiteY679" fmla="*/ 95 h 3379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</a:cxnLst>
              <a:rect l="l" t="t" r="r" b="b"/>
              <a:pathLst>
                <a:path w="266641" h="337989">
                  <a:moveTo>
                    <a:pt x="32684" y="322106"/>
                  </a:moveTo>
                  <a:lnTo>
                    <a:pt x="36868" y="326777"/>
                  </a:lnTo>
                  <a:lnTo>
                    <a:pt x="36876" y="327891"/>
                  </a:lnTo>
                  <a:lnTo>
                    <a:pt x="34569" y="327490"/>
                  </a:lnTo>
                  <a:lnTo>
                    <a:pt x="34617" y="328740"/>
                  </a:lnTo>
                  <a:lnTo>
                    <a:pt x="36437" y="329397"/>
                  </a:lnTo>
                  <a:lnTo>
                    <a:pt x="37111" y="330293"/>
                  </a:lnTo>
                  <a:lnTo>
                    <a:pt x="39001" y="330034"/>
                  </a:lnTo>
                  <a:lnTo>
                    <a:pt x="39426" y="331375"/>
                  </a:lnTo>
                  <a:lnTo>
                    <a:pt x="38990" y="332575"/>
                  </a:lnTo>
                  <a:lnTo>
                    <a:pt x="37729" y="333456"/>
                  </a:lnTo>
                  <a:lnTo>
                    <a:pt x="33996" y="333901"/>
                  </a:lnTo>
                  <a:lnTo>
                    <a:pt x="31574" y="335645"/>
                  </a:lnTo>
                  <a:lnTo>
                    <a:pt x="29477" y="335381"/>
                  </a:lnTo>
                  <a:lnTo>
                    <a:pt x="28908" y="335539"/>
                  </a:lnTo>
                  <a:lnTo>
                    <a:pt x="26506" y="337410"/>
                  </a:lnTo>
                  <a:lnTo>
                    <a:pt x="23820" y="337989"/>
                  </a:lnTo>
                  <a:lnTo>
                    <a:pt x="23092" y="337850"/>
                  </a:lnTo>
                  <a:lnTo>
                    <a:pt x="23464" y="336181"/>
                  </a:lnTo>
                  <a:lnTo>
                    <a:pt x="25459" y="334594"/>
                  </a:lnTo>
                  <a:lnTo>
                    <a:pt x="25502" y="333071"/>
                  </a:lnTo>
                  <a:lnTo>
                    <a:pt x="26014" y="331855"/>
                  </a:lnTo>
                  <a:lnTo>
                    <a:pt x="27934" y="330999"/>
                  </a:lnTo>
                  <a:lnTo>
                    <a:pt x="27957" y="329416"/>
                  </a:lnTo>
                  <a:lnTo>
                    <a:pt x="29257" y="328013"/>
                  </a:lnTo>
                  <a:lnTo>
                    <a:pt x="28471" y="324979"/>
                  </a:lnTo>
                  <a:lnTo>
                    <a:pt x="28886" y="322255"/>
                  </a:lnTo>
                  <a:close/>
                  <a:moveTo>
                    <a:pt x="4600" y="292250"/>
                  </a:moveTo>
                  <a:lnTo>
                    <a:pt x="5612" y="292900"/>
                  </a:lnTo>
                  <a:lnTo>
                    <a:pt x="5941" y="293373"/>
                  </a:lnTo>
                  <a:lnTo>
                    <a:pt x="5824" y="294725"/>
                  </a:lnTo>
                  <a:lnTo>
                    <a:pt x="5562" y="295405"/>
                  </a:lnTo>
                  <a:lnTo>
                    <a:pt x="4796" y="295410"/>
                  </a:lnTo>
                  <a:lnTo>
                    <a:pt x="3646" y="295260"/>
                  </a:lnTo>
                  <a:lnTo>
                    <a:pt x="2522" y="294636"/>
                  </a:lnTo>
                  <a:lnTo>
                    <a:pt x="1803" y="294813"/>
                  </a:lnTo>
                  <a:lnTo>
                    <a:pt x="1203" y="294582"/>
                  </a:lnTo>
                  <a:lnTo>
                    <a:pt x="1978" y="293058"/>
                  </a:lnTo>
                  <a:close/>
                  <a:moveTo>
                    <a:pt x="11097" y="280302"/>
                  </a:moveTo>
                  <a:lnTo>
                    <a:pt x="12051" y="283593"/>
                  </a:lnTo>
                  <a:lnTo>
                    <a:pt x="10028" y="282964"/>
                  </a:lnTo>
                  <a:lnTo>
                    <a:pt x="9177" y="281969"/>
                  </a:lnTo>
                  <a:lnTo>
                    <a:pt x="10726" y="280321"/>
                  </a:lnTo>
                  <a:close/>
                  <a:moveTo>
                    <a:pt x="165550" y="160623"/>
                  </a:moveTo>
                  <a:lnTo>
                    <a:pt x="165407" y="162561"/>
                  </a:lnTo>
                  <a:lnTo>
                    <a:pt x="164448" y="164580"/>
                  </a:lnTo>
                  <a:lnTo>
                    <a:pt x="161489" y="166107"/>
                  </a:lnTo>
                  <a:lnTo>
                    <a:pt x="161608" y="165047"/>
                  </a:lnTo>
                  <a:lnTo>
                    <a:pt x="162187" y="162741"/>
                  </a:lnTo>
                  <a:lnTo>
                    <a:pt x="163534" y="161577"/>
                  </a:lnTo>
                  <a:lnTo>
                    <a:pt x="164198" y="161497"/>
                  </a:lnTo>
                  <a:close/>
                  <a:moveTo>
                    <a:pt x="140467" y="154780"/>
                  </a:moveTo>
                  <a:lnTo>
                    <a:pt x="142977" y="155532"/>
                  </a:lnTo>
                  <a:lnTo>
                    <a:pt x="138311" y="156187"/>
                  </a:lnTo>
                  <a:lnTo>
                    <a:pt x="137836" y="157801"/>
                  </a:lnTo>
                  <a:lnTo>
                    <a:pt x="137687" y="159438"/>
                  </a:lnTo>
                  <a:lnTo>
                    <a:pt x="138229" y="160903"/>
                  </a:lnTo>
                  <a:lnTo>
                    <a:pt x="139067" y="162210"/>
                  </a:lnTo>
                  <a:lnTo>
                    <a:pt x="141329" y="163441"/>
                  </a:lnTo>
                  <a:lnTo>
                    <a:pt x="143973" y="164175"/>
                  </a:lnTo>
                  <a:lnTo>
                    <a:pt x="145158" y="166944"/>
                  </a:lnTo>
                  <a:lnTo>
                    <a:pt x="145376" y="170233"/>
                  </a:lnTo>
                  <a:lnTo>
                    <a:pt x="145741" y="173057"/>
                  </a:lnTo>
                  <a:lnTo>
                    <a:pt x="146773" y="175521"/>
                  </a:lnTo>
                  <a:lnTo>
                    <a:pt x="149328" y="175649"/>
                  </a:lnTo>
                  <a:lnTo>
                    <a:pt x="151692" y="173718"/>
                  </a:lnTo>
                  <a:lnTo>
                    <a:pt x="154113" y="172149"/>
                  </a:lnTo>
                  <a:lnTo>
                    <a:pt x="156661" y="170850"/>
                  </a:lnTo>
                  <a:lnTo>
                    <a:pt x="160539" y="167874"/>
                  </a:lnTo>
                  <a:lnTo>
                    <a:pt x="161554" y="167437"/>
                  </a:lnTo>
                  <a:lnTo>
                    <a:pt x="164070" y="166870"/>
                  </a:lnTo>
                  <a:lnTo>
                    <a:pt x="165167" y="166169"/>
                  </a:lnTo>
                  <a:lnTo>
                    <a:pt x="166389" y="166002"/>
                  </a:lnTo>
                  <a:lnTo>
                    <a:pt x="165292" y="167766"/>
                  </a:lnTo>
                  <a:lnTo>
                    <a:pt x="163899" y="168354"/>
                  </a:lnTo>
                  <a:lnTo>
                    <a:pt x="163679" y="168992"/>
                  </a:lnTo>
                  <a:lnTo>
                    <a:pt x="164458" y="170009"/>
                  </a:lnTo>
                  <a:lnTo>
                    <a:pt x="163247" y="171439"/>
                  </a:lnTo>
                  <a:lnTo>
                    <a:pt x="163292" y="173222"/>
                  </a:lnTo>
                  <a:lnTo>
                    <a:pt x="161865" y="175327"/>
                  </a:lnTo>
                  <a:lnTo>
                    <a:pt x="164059" y="174468"/>
                  </a:lnTo>
                  <a:lnTo>
                    <a:pt x="164862" y="173096"/>
                  </a:lnTo>
                  <a:lnTo>
                    <a:pt x="164448" y="172324"/>
                  </a:lnTo>
                  <a:lnTo>
                    <a:pt x="165398" y="170793"/>
                  </a:lnTo>
                  <a:lnTo>
                    <a:pt x="166867" y="170066"/>
                  </a:lnTo>
                  <a:lnTo>
                    <a:pt x="166281" y="168904"/>
                  </a:lnTo>
                  <a:lnTo>
                    <a:pt x="166322" y="167987"/>
                  </a:lnTo>
                  <a:lnTo>
                    <a:pt x="168117" y="168326"/>
                  </a:lnTo>
                  <a:lnTo>
                    <a:pt x="169014" y="168287"/>
                  </a:lnTo>
                  <a:lnTo>
                    <a:pt x="169724" y="167925"/>
                  </a:lnTo>
                  <a:lnTo>
                    <a:pt x="171019" y="167781"/>
                  </a:lnTo>
                  <a:lnTo>
                    <a:pt x="171285" y="168806"/>
                  </a:lnTo>
                  <a:lnTo>
                    <a:pt x="173025" y="168678"/>
                  </a:lnTo>
                  <a:lnTo>
                    <a:pt x="172393" y="169973"/>
                  </a:lnTo>
                  <a:lnTo>
                    <a:pt x="171060" y="171470"/>
                  </a:lnTo>
                  <a:lnTo>
                    <a:pt x="170747" y="172380"/>
                  </a:lnTo>
                  <a:lnTo>
                    <a:pt x="168615" y="173888"/>
                  </a:lnTo>
                  <a:lnTo>
                    <a:pt x="167188" y="174534"/>
                  </a:lnTo>
                  <a:lnTo>
                    <a:pt x="169389" y="174702"/>
                  </a:lnTo>
                  <a:lnTo>
                    <a:pt x="172607" y="172681"/>
                  </a:lnTo>
                  <a:lnTo>
                    <a:pt x="174520" y="170893"/>
                  </a:lnTo>
                  <a:lnTo>
                    <a:pt x="174463" y="173124"/>
                  </a:lnTo>
                  <a:lnTo>
                    <a:pt x="172909" y="175124"/>
                  </a:lnTo>
                  <a:lnTo>
                    <a:pt x="171578" y="176389"/>
                  </a:lnTo>
                  <a:lnTo>
                    <a:pt x="170083" y="176780"/>
                  </a:lnTo>
                  <a:lnTo>
                    <a:pt x="168592" y="177806"/>
                  </a:lnTo>
                  <a:lnTo>
                    <a:pt x="167869" y="179484"/>
                  </a:lnTo>
                  <a:lnTo>
                    <a:pt x="167949" y="180599"/>
                  </a:lnTo>
                  <a:lnTo>
                    <a:pt x="168378" y="181484"/>
                  </a:lnTo>
                  <a:lnTo>
                    <a:pt x="169898" y="182981"/>
                  </a:lnTo>
                  <a:lnTo>
                    <a:pt x="168186" y="185864"/>
                  </a:lnTo>
                  <a:lnTo>
                    <a:pt x="170093" y="185505"/>
                  </a:lnTo>
                  <a:lnTo>
                    <a:pt x="171135" y="186048"/>
                  </a:lnTo>
                  <a:lnTo>
                    <a:pt x="172596" y="187713"/>
                  </a:lnTo>
                  <a:lnTo>
                    <a:pt x="171717" y="189633"/>
                  </a:lnTo>
                  <a:lnTo>
                    <a:pt x="171099" y="190616"/>
                  </a:lnTo>
                  <a:lnTo>
                    <a:pt x="167380" y="194671"/>
                  </a:lnTo>
                  <a:lnTo>
                    <a:pt x="165759" y="196730"/>
                  </a:lnTo>
                  <a:lnTo>
                    <a:pt x="163858" y="198048"/>
                  </a:lnTo>
                  <a:lnTo>
                    <a:pt x="163885" y="200214"/>
                  </a:lnTo>
                  <a:lnTo>
                    <a:pt x="162794" y="201791"/>
                  </a:lnTo>
                  <a:lnTo>
                    <a:pt x="157253" y="207200"/>
                  </a:lnTo>
                  <a:lnTo>
                    <a:pt x="156277" y="208374"/>
                  </a:lnTo>
                  <a:lnTo>
                    <a:pt x="151909" y="217000"/>
                  </a:lnTo>
                  <a:lnTo>
                    <a:pt x="149114" y="220635"/>
                  </a:lnTo>
                  <a:lnTo>
                    <a:pt x="147514" y="221872"/>
                  </a:lnTo>
                  <a:lnTo>
                    <a:pt x="145823" y="222878"/>
                  </a:lnTo>
                  <a:lnTo>
                    <a:pt x="141766" y="224594"/>
                  </a:lnTo>
                  <a:lnTo>
                    <a:pt x="139978" y="226567"/>
                  </a:lnTo>
                  <a:lnTo>
                    <a:pt x="137999" y="228207"/>
                  </a:lnTo>
                  <a:lnTo>
                    <a:pt x="135910" y="228574"/>
                  </a:lnTo>
                  <a:lnTo>
                    <a:pt x="135975" y="229301"/>
                  </a:lnTo>
                  <a:lnTo>
                    <a:pt x="137313" y="229708"/>
                  </a:lnTo>
                  <a:lnTo>
                    <a:pt x="138358" y="230787"/>
                  </a:lnTo>
                  <a:lnTo>
                    <a:pt x="137583" y="231995"/>
                  </a:lnTo>
                  <a:lnTo>
                    <a:pt x="136091" y="232754"/>
                  </a:lnTo>
                  <a:lnTo>
                    <a:pt x="134543" y="232973"/>
                  </a:lnTo>
                  <a:lnTo>
                    <a:pt x="133756" y="233745"/>
                  </a:lnTo>
                  <a:lnTo>
                    <a:pt x="137444" y="233196"/>
                  </a:lnTo>
                  <a:lnTo>
                    <a:pt x="138484" y="233829"/>
                  </a:lnTo>
                  <a:lnTo>
                    <a:pt x="138678" y="235160"/>
                  </a:lnTo>
                  <a:lnTo>
                    <a:pt x="139062" y="236362"/>
                  </a:lnTo>
                  <a:lnTo>
                    <a:pt x="139957" y="237954"/>
                  </a:lnTo>
                  <a:lnTo>
                    <a:pt x="143057" y="238968"/>
                  </a:lnTo>
                  <a:lnTo>
                    <a:pt x="145842" y="239442"/>
                  </a:lnTo>
                  <a:lnTo>
                    <a:pt x="146391" y="240180"/>
                  </a:lnTo>
                  <a:lnTo>
                    <a:pt x="146808" y="242727"/>
                  </a:lnTo>
                  <a:lnTo>
                    <a:pt x="146300" y="243977"/>
                  </a:lnTo>
                  <a:lnTo>
                    <a:pt x="145674" y="244801"/>
                  </a:lnTo>
                  <a:lnTo>
                    <a:pt x="144739" y="245093"/>
                  </a:lnTo>
                  <a:lnTo>
                    <a:pt x="142467" y="245254"/>
                  </a:lnTo>
                  <a:lnTo>
                    <a:pt x="140191" y="244679"/>
                  </a:lnTo>
                  <a:lnTo>
                    <a:pt x="138680" y="243138"/>
                  </a:lnTo>
                  <a:lnTo>
                    <a:pt x="134376" y="243631"/>
                  </a:lnTo>
                  <a:lnTo>
                    <a:pt x="133228" y="243964"/>
                  </a:lnTo>
                  <a:lnTo>
                    <a:pt x="132636" y="243687"/>
                  </a:lnTo>
                  <a:lnTo>
                    <a:pt x="135020" y="242070"/>
                  </a:lnTo>
                  <a:lnTo>
                    <a:pt x="133770" y="241150"/>
                  </a:lnTo>
                  <a:lnTo>
                    <a:pt x="132733" y="240805"/>
                  </a:lnTo>
                  <a:lnTo>
                    <a:pt x="131612" y="241339"/>
                  </a:lnTo>
                  <a:lnTo>
                    <a:pt x="130859" y="242186"/>
                  </a:lnTo>
                  <a:lnTo>
                    <a:pt x="130630" y="243584"/>
                  </a:lnTo>
                  <a:lnTo>
                    <a:pt x="129859" y="244389"/>
                  </a:lnTo>
                  <a:lnTo>
                    <a:pt x="128669" y="244618"/>
                  </a:lnTo>
                  <a:lnTo>
                    <a:pt x="126991" y="243460"/>
                  </a:lnTo>
                  <a:lnTo>
                    <a:pt x="125335" y="241801"/>
                  </a:lnTo>
                  <a:lnTo>
                    <a:pt x="122897" y="240133"/>
                  </a:lnTo>
                  <a:lnTo>
                    <a:pt x="123266" y="241166"/>
                  </a:lnTo>
                  <a:lnTo>
                    <a:pt x="125145" y="243697"/>
                  </a:lnTo>
                  <a:lnTo>
                    <a:pt x="126086" y="245378"/>
                  </a:lnTo>
                  <a:lnTo>
                    <a:pt x="123897" y="246720"/>
                  </a:lnTo>
                  <a:lnTo>
                    <a:pt x="121617" y="247766"/>
                  </a:lnTo>
                  <a:lnTo>
                    <a:pt x="119693" y="248379"/>
                  </a:lnTo>
                  <a:lnTo>
                    <a:pt x="117874" y="249336"/>
                  </a:lnTo>
                  <a:lnTo>
                    <a:pt x="115743" y="250830"/>
                  </a:lnTo>
                  <a:lnTo>
                    <a:pt x="114571" y="251364"/>
                  </a:lnTo>
                  <a:lnTo>
                    <a:pt x="111448" y="251396"/>
                  </a:lnTo>
                  <a:lnTo>
                    <a:pt x="109786" y="251869"/>
                  </a:lnTo>
                  <a:lnTo>
                    <a:pt x="109231" y="253845"/>
                  </a:lnTo>
                  <a:lnTo>
                    <a:pt x="108060" y="255100"/>
                  </a:lnTo>
                  <a:lnTo>
                    <a:pt x="105321" y="255349"/>
                  </a:lnTo>
                  <a:lnTo>
                    <a:pt x="106309" y="255744"/>
                  </a:lnTo>
                  <a:lnTo>
                    <a:pt x="106920" y="256372"/>
                  </a:lnTo>
                  <a:lnTo>
                    <a:pt x="105108" y="262331"/>
                  </a:lnTo>
                  <a:lnTo>
                    <a:pt x="104711" y="264808"/>
                  </a:lnTo>
                  <a:lnTo>
                    <a:pt x="104373" y="269049"/>
                  </a:lnTo>
                  <a:lnTo>
                    <a:pt x="103234" y="272991"/>
                  </a:lnTo>
                  <a:lnTo>
                    <a:pt x="99977" y="272967"/>
                  </a:lnTo>
                  <a:lnTo>
                    <a:pt x="100504" y="273665"/>
                  </a:lnTo>
                  <a:lnTo>
                    <a:pt x="102966" y="274778"/>
                  </a:lnTo>
                  <a:lnTo>
                    <a:pt x="102504" y="276460"/>
                  </a:lnTo>
                  <a:lnTo>
                    <a:pt x="99794" y="279530"/>
                  </a:lnTo>
                  <a:lnTo>
                    <a:pt x="98665" y="281308"/>
                  </a:lnTo>
                  <a:lnTo>
                    <a:pt x="97565" y="285626"/>
                  </a:lnTo>
                  <a:lnTo>
                    <a:pt x="95914" y="289613"/>
                  </a:lnTo>
                  <a:lnTo>
                    <a:pt x="93378" y="294155"/>
                  </a:lnTo>
                  <a:lnTo>
                    <a:pt x="93359" y="294972"/>
                  </a:lnTo>
                  <a:lnTo>
                    <a:pt x="94246" y="296131"/>
                  </a:lnTo>
                  <a:lnTo>
                    <a:pt x="95322" y="297135"/>
                  </a:lnTo>
                  <a:lnTo>
                    <a:pt x="95383" y="298551"/>
                  </a:lnTo>
                  <a:lnTo>
                    <a:pt x="95052" y="299296"/>
                  </a:lnTo>
                  <a:lnTo>
                    <a:pt x="93846" y="299493"/>
                  </a:lnTo>
                  <a:lnTo>
                    <a:pt x="92795" y="299980"/>
                  </a:lnTo>
                  <a:lnTo>
                    <a:pt x="87155" y="301231"/>
                  </a:lnTo>
                  <a:lnTo>
                    <a:pt x="85304" y="302633"/>
                  </a:lnTo>
                  <a:lnTo>
                    <a:pt x="83786" y="305141"/>
                  </a:lnTo>
                  <a:lnTo>
                    <a:pt x="82003" y="307304"/>
                  </a:lnTo>
                  <a:lnTo>
                    <a:pt x="76079" y="312109"/>
                  </a:lnTo>
                  <a:lnTo>
                    <a:pt x="72596" y="316142"/>
                  </a:lnTo>
                  <a:lnTo>
                    <a:pt x="71896" y="317296"/>
                  </a:lnTo>
                  <a:lnTo>
                    <a:pt x="70957" y="318138"/>
                  </a:lnTo>
                  <a:lnTo>
                    <a:pt x="63343" y="320050"/>
                  </a:lnTo>
                  <a:lnTo>
                    <a:pt x="57955" y="320333"/>
                  </a:lnTo>
                  <a:lnTo>
                    <a:pt x="55019" y="319841"/>
                  </a:lnTo>
                  <a:lnTo>
                    <a:pt x="52188" y="318875"/>
                  </a:lnTo>
                  <a:lnTo>
                    <a:pt x="50618" y="318544"/>
                  </a:lnTo>
                  <a:lnTo>
                    <a:pt x="47625" y="319136"/>
                  </a:lnTo>
                  <a:lnTo>
                    <a:pt x="46317" y="319787"/>
                  </a:lnTo>
                  <a:lnTo>
                    <a:pt x="43976" y="319144"/>
                  </a:lnTo>
                  <a:lnTo>
                    <a:pt x="42112" y="319630"/>
                  </a:lnTo>
                  <a:lnTo>
                    <a:pt x="41562" y="319158"/>
                  </a:lnTo>
                  <a:lnTo>
                    <a:pt x="40864" y="317972"/>
                  </a:lnTo>
                  <a:lnTo>
                    <a:pt x="41249" y="316399"/>
                  </a:lnTo>
                  <a:lnTo>
                    <a:pt x="40732" y="315237"/>
                  </a:lnTo>
                  <a:lnTo>
                    <a:pt x="39549" y="314448"/>
                  </a:lnTo>
                  <a:lnTo>
                    <a:pt x="38754" y="313533"/>
                  </a:lnTo>
                  <a:lnTo>
                    <a:pt x="37845" y="312880"/>
                  </a:lnTo>
                  <a:lnTo>
                    <a:pt x="35373" y="312623"/>
                  </a:lnTo>
                  <a:lnTo>
                    <a:pt x="31460" y="313035"/>
                  </a:lnTo>
                  <a:lnTo>
                    <a:pt x="30169" y="312991"/>
                  </a:lnTo>
                  <a:lnTo>
                    <a:pt x="27517" y="309139"/>
                  </a:lnTo>
                  <a:lnTo>
                    <a:pt x="26636" y="308194"/>
                  </a:lnTo>
                  <a:lnTo>
                    <a:pt x="23479" y="306964"/>
                  </a:lnTo>
                  <a:lnTo>
                    <a:pt x="22399" y="307134"/>
                  </a:lnTo>
                  <a:lnTo>
                    <a:pt x="20710" y="309188"/>
                  </a:lnTo>
                  <a:lnTo>
                    <a:pt x="19708" y="309537"/>
                  </a:lnTo>
                  <a:lnTo>
                    <a:pt x="13768" y="309755"/>
                  </a:lnTo>
                  <a:lnTo>
                    <a:pt x="7808" y="309093"/>
                  </a:lnTo>
                  <a:lnTo>
                    <a:pt x="5614" y="308328"/>
                  </a:lnTo>
                  <a:lnTo>
                    <a:pt x="5185" y="306553"/>
                  </a:lnTo>
                  <a:lnTo>
                    <a:pt x="9709" y="301678"/>
                  </a:lnTo>
                  <a:lnTo>
                    <a:pt x="8376" y="302331"/>
                  </a:lnTo>
                  <a:lnTo>
                    <a:pt x="5586" y="304316"/>
                  </a:lnTo>
                  <a:lnTo>
                    <a:pt x="3809" y="304011"/>
                  </a:lnTo>
                  <a:lnTo>
                    <a:pt x="5513" y="301845"/>
                  </a:lnTo>
                  <a:lnTo>
                    <a:pt x="5664" y="300880"/>
                  </a:lnTo>
                  <a:lnTo>
                    <a:pt x="5314" y="299805"/>
                  </a:lnTo>
                  <a:lnTo>
                    <a:pt x="2987" y="301627"/>
                  </a:lnTo>
                  <a:lnTo>
                    <a:pt x="343" y="301861"/>
                  </a:lnTo>
                  <a:lnTo>
                    <a:pt x="0" y="300174"/>
                  </a:lnTo>
                  <a:lnTo>
                    <a:pt x="235" y="298219"/>
                  </a:lnTo>
                  <a:lnTo>
                    <a:pt x="780" y="297665"/>
                  </a:lnTo>
                  <a:lnTo>
                    <a:pt x="7925" y="296640"/>
                  </a:lnTo>
                  <a:lnTo>
                    <a:pt x="10501" y="295970"/>
                  </a:lnTo>
                  <a:lnTo>
                    <a:pt x="11624" y="294921"/>
                  </a:lnTo>
                  <a:lnTo>
                    <a:pt x="7348" y="294561"/>
                  </a:lnTo>
                  <a:lnTo>
                    <a:pt x="7076" y="293091"/>
                  </a:lnTo>
                  <a:lnTo>
                    <a:pt x="7694" y="291914"/>
                  </a:lnTo>
                  <a:lnTo>
                    <a:pt x="11347" y="289959"/>
                  </a:lnTo>
                  <a:lnTo>
                    <a:pt x="8655" y="290459"/>
                  </a:lnTo>
                  <a:lnTo>
                    <a:pt x="5668" y="290284"/>
                  </a:lnTo>
                  <a:lnTo>
                    <a:pt x="5869" y="288221"/>
                  </a:lnTo>
                  <a:lnTo>
                    <a:pt x="6648" y="286607"/>
                  </a:lnTo>
                  <a:lnTo>
                    <a:pt x="9780" y="286559"/>
                  </a:lnTo>
                  <a:lnTo>
                    <a:pt x="8799" y="285452"/>
                  </a:lnTo>
                  <a:lnTo>
                    <a:pt x="8658" y="283907"/>
                  </a:lnTo>
                  <a:lnTo>
                    <a:pt x="9530" y="283802"/>
                  </a:lnTo>
                  <a:lnTo>
                    <a:pt x="12704" y="285881"/>
                  </a:lnTo>
                  <a:lnTo>
                    <a:pt x="14993" y="286642"/>
                  </a:lnTo>
                  <a:lnTo>
                    <a:pt x="14029" y="285077"/>
                  </a:lnTo>
                  <a:lnTo>
                    <a:pt x="14154" y="284092"/>
                  </a:lnTo>
                  <a:lnTo>
                    <a:pt x="14763" y="283650"/>
                  </a:lnTo>
                  <a:lnTo>
                    <a:pt x="16638" y="283334"/>
                  </a:lnTo>
                  <a:lnTo>
                    <a:pt x="16124" y="283058"/>
                  </a:lnTo>
                  <a:lnTo>
                    <a:pt x="14367" y="282662"/>
                  </a:lnTo>
                  <a:lnTo>
                    <a:pt x="12276" y="281474"/>
                  </a:lnTo>
                  <a:lnTo>
                    <a:pt x="12051" y="280219"/>
                  </a:lnTo>
                  <a:lnTo>
                    <a:pt x="12123" y="278768"/>
                  </a:lnTo>
                  <a:lnTo>
                    <a:pt x="14379" y="276775"/>
                  </a:lnTo>
                  <a:lnTo>
                    <a:pt x="15711" y="277961"/>
                  </a:lnTo>
                  <a:lnTo>
                    <a:pt x="17288" y="277635"/>
                  </a:lnTo>
                  <a:lnTo>
                    <a:pt x="16085" y="276703"/>
                  </a:lnTo>
                  <a:lnTo>
                    <a:pt x="15351" y="275306"/>
                  </a:lnTo>
                  <a:lnTo>
                    <a:pt x="15852" y="274389"/>
                  </a:lnTo>
                  <a:lnTo>
                    <a:pt x="20633" y="270688"/>
                  </a:lnTo>
                  <a:lnTo>
                    <a:pt x="21859" y="274247"/>
                  </a:lnTo>
                  <a:lnTo>
                    <a:pt x="22147" y="273065"/>
                  </a:lnTo>
                  <a:lnTo>
                    <a:pt x="22211" y="271943"/>
                  </a:lnTo>
                  <a:lnTo>
                    <a:pt x="21639" y="270970"/>
                  </a:lnTo>
                  <a:lnTo>
                    <a:pt x="21721" y="269990"/>
                  </a:lnTo>
                  <a:lnTo>
                    <a:pt x="22274" y="269145"/>
                  </a:lnTo>
                  <a:lnTo>
                    <a:pt x="24323" y="268312"/>
                  </a:lnTo>
                  <a:lnTo>
                    <a:pt x="26988" y="265600"/>
                  </a:lnTo>
                  <a:lnTo>
                    <a:pt x="28953" y="264340"/>
                  </a:lnTo>
                  <a:lnTo>
                    <a:pt x="30553" y="265148"/>
                  </a:lnTo>
                  <a:lnTo>
                    <a:pt x="31650" y="266239"/>
                  </a:lnTo>
                  <a:lnTo>
                    <a:pt x="31486" y="265156"/>
                  </a:lnTo>
                  <a:lnTo>
                    <a:pt x="30708" y="264261"/>
                  </a:lnTo>
                  <a:lnTo>
                    <a:pt x="30490" y="261774"/>
                  </a:lnTo>
                  <a:lnTo>
                    <a:pt x="34068" y="257918"/>
                  </a:lnTo>
                  <a:lnTo>
                    <a:pt x="38001" y="254250"/>
                  </a:lnTo>
                  <a:lnTo>
                    <a:pt x="41769" y="250412"/>
                  </a:lnTo>
                  <a:lnTo>
                    <a:pt x="43777" y="249018"/>
                  </a:lnTo>
                  <a:lnTo>
                    <a:pt x="48057" y="247438"/>
                  </a:lnTo>
                  <a:lnTo>
                    <a:pt x="50795" y="248096"/>
                  </a:lnTo>
                  <a:lnTo>
                    <a:pt x="51495" y="247975"/>
                  </a:lnTo>
                  <a:lnTo>
                    <a:pt x="55563" y="245215"/>
                  </a:lnTo>
                  <a:lnTo>
                    <a:pt x="57245" y="244499"/>
                  </a:lnTo>
                  <a:lnTo>
                    <a:pt x="58781" y="245484"/>
                  </a:lnTo>
                  <a:lnTo>
                    <a:pt x="59730" y="245840"/>
                  </a:lnTo>
                  <a:lnTo>
                    <a:pt x="58776" y="243320"/>
                  </a:lnTo>
                  <a:lnTo>
                    <a:pt x="59523" y="242165"/>
                  </a:lnTo>
                  <a:lnTo>
                    <a:pt x="62920" y="240127"/>
                  </a:lnTo>
                  <a:lnTo>
                    <a:pt x="67167" y="238026"/>
                  </a:lnTo>
                  <a:lnTo>
                    <a:pt x="70403" y="237151"/>
                  </a:lnTo>
                  <a:lnTo>
                    <a:pt x="72784" y="235731"/>
                  </a:lnTo>
                  <a:lnTo>
                    <a:pt x="74214" y="235691"/>
                  </a:lnTo>
                  <a:lnTo>
                    <a:pt x="73995" y="234618"/>
                  </a:lnTo>
                  <a:lnTo>
                    <a:pt x="74240" y="233590"/>
                  </a:lnTo>
                  <a:lnTo>
                    <a:pt x="75473" y="233661"/>
                  </a:lnTo>
                  <a:lnTo>
                    <a:pt x="75853" y="233256"/>
                  </a:lnTo>
                  <a:lnTo>
                    <a:pt x="74768" y="232702"/>
                  </a:lnTo>
                  <a:lnTo>
                    <a:pt x="78275" y="230642"/>
                  </a:lnTo>
                  <a:lnTo>
                    <a:pt x="80180" y="228374"/>
                  </a:lnTo>
                  <a:lnTo>
                    <a:pt x="81178" y="227905"/>
                  </a:lnTo>
                  <a:lnTo>
                    <a:pt x="82080" y="227220"/>
                  </a:lnTo>
                  <a:lnTo>
                    <a:pt x="83199" y="225657"/>
                  </a:lnTo>
                  <a:lnTo>
                    <a:pt x="84520" y="225141"/>
                  </a:lnTo>
                  <a:lnTo>
                    <a:pt x="85754" y="225382"/>
                  </a:lnTo>
                  <a:lnTo>
                    <a:pt x="86645" y="226150"/>
                  </a:lnTo>
                  <a:lnTo>
                    <a:pt x="86164" y="224874"/>
                  </a:lnTo>
                  <a:lnTo>
                    <a:pt x="84583" y="224148"/>
                  </a:lnTo>
                  <a:lnTo>
                    <a:pt x="86278" y="223038"/>
                  </a:lnTo>
                  <a:lnTo>
                    <a:pt x="88030" y="222273"/>
                  </a:lnTo>
                  <a:lnTo>
                    <a:pt x="89736" y="222831"/>
                  </a:lnTo>
                  <a:lnTo>
                    <a:pt x="91415" y="223724"/>
                  </a:lnTo>
                  <a:lnTo>
                    <a:pt x="89736" y="222354"/>
                  </a:lnTo>
                  <a:lnTo>
                    <a:pt x="89466" y="221503"/>
                  </a:lnTo>
                  <a:lnTo>
                    <a:pt x="91498" y="220525"/>
                  </a:lnTo>
                  <a:lnTo>
                    <a:pt x="92601" y="220224"/>
                  </a:lnTo>
                  <a:lnTo>
                    <a:pt x="94145" y="222061"/>
                  </a:lnTo>
                  <a:lnTo>
                    <a:pt x="93925" y="220606"/>
                  </a:lnTo>
                  <a:lnTo>
                    <a:pt x="94285" y="219316"/>
                  </a:lnTo>
                  <a:lnTo>
                    <a:pt x="96469" y="217209"/>
                  </a:lnTo>
                  <a:lnTo>
                    <a:pt x="99333" y="213725"/>
                  </a:lnTo>
                  <a:lnTo>
                    <a:pt x="100252" y="214936"/>
                  </a:lnTo>
                  <a:lnTo>
                    <a:pt x="100392" y="216410"/>
                  </a:lnTo>
                  <a:lnTo>
                    <a:pt x="100258" y="218184"/>
                  </a:lnTo>
                  <a:lnTo>
                    <a:pt x="100847" y="217570"/>
                  </a:lnTo>
                  <a:lnTo>
                    <a:pt x="101050" y="215958"/>
                  </a:lnTo>
                  <a:lnTo>
                    <a:pt x="100612" y="213130"/>
                  </a:lnTo>
                  <a:lnTo>
                    <a:pt x="104190" y="207908"/>
                  </a:lnTo>
                  <a:lnTo>
                    <a:pt x="104892" y="207325"/>
                  </a:lnTo>
                  <a:lnTo>
                    <a:pt x="105683" y="206971"/>
                  </a:lnTo>
                  <a:lnTo>
                    <a:pt x="106928" y="206832"/>
                  </a:lnTo>
                  <a:lnTo>
                    <a:pt x="106546" y="206044"/>
                  </a:lnTo>
                  <a:lnTo>
                    <a:pt x="105577" y="205281"/>
                  </a:lnTo>
                  <a:lnTo>
                    <a:pt x="106555" y="202633"/>
                  </a:lnTo>
                  <a:lnTo>
                    <a:pt x="107134" y="199614"/>
                  </a:lnTo>
                  <a:lnTo>
                    <a:pt x="107966" y="196714"/>
                  </a:lnTo>
                  <a:lnTo>
                    <a:pt x="109300" y="193875"/>
                  </a:lnTo>
                  <a:lnTo>
                    <a:pt x="110751" y="189146"/>
                  </a:lnTo>
                  <a:lnTo>
                    <a:pt x="111858" y="188160"/>
                  </a:lnTo>
                  <a:lnTo>
                    <a:pt x="114862" y="187821"/>
                  </a:lnTo>
                  <a:lnTo>
                    <a:pt x="116177" y="187157"/>
                  </a:lnTo>
                  <a:lnTo>
                    <a:pt x="118366" y="185451"/>
                  </a:lnTo>
                  <a:lnTo>
                    <a:pt x="120962" y="182369"/>
                  </a:lnTo>
                  <a:lnTo>
                    <a:pt x="122348" y="179887"/>
                  </a:lnTo>
                  <a:lnTo>
                    <a:pt x="124175" y="173471"/>
                  </a:lnTo>
                  <a:lnTo>
                    <a:pt x="125195" y="166777"/>
                  </a:lnTo>
                  <a:lnTo>
                    <a:pt x="128142" y="161823"/>
                  </a:lnTo>
                  <a:lnTo>
                    <a:pt x="132463" y="158241"/>
                  </a:lnTo>
                  <a:lnTo>
                    <a:pt x="136277" y="155519"/>
                  </a:lnTo>
                  <a:lnTo>
                    <a:pt x="137836" y="154953"/>
                  </a:lnTo>
                  <a:close/>
                  <a:moveTo>
                    <a:pt x="197500" y="41194"/>
                  </a:moveTo>
                  <a:lnTo>
                    <a:pt x="198272" y="42299"/>
                  </a:lnTo>
                  <a:lnTo>
                    <a:pt x="199782" y="43873"/>
                  </a:lnTo>
                  <a:lnTo>
                    <a:pt x="200458" y="46460"/>
                  </a:lnTo>
                  <a:lnTo>
                    <a:pt x="200635" y="47841"/>
                  </a:lnTo>
                  <a:lnTo>
                    <a:pt x="198942" y="47349"/>
                  </a:lnTo>
                  <a:lnTo>
                    <a:pt x="198279" y="46307"/>
                  </a:lnTo>
                  <a:lnTo>
                    <a:pt x="196381" y="45231"/>
                  </a:lnTo>
                  <a:lnTo>
                    <a:pt x="196102" y="44905"/>
                  </a:lnTo>
                  <a:lnTo>
                    <a:pt x="195891" y="42807"/>
                  </a:lnTo>
                  <a:lnTo>
                    <a:pt x="196886" y="41799"/>
                  </a:lnTo>
                  <a:lnTo>
                    <a:pt x="197062" y="41367"/>
                  </a:lnTo>
                  <a:close/>
                  <a:moveTo>
                    <a:pt x="145195" y="0"/>
                  </a:moveTo>
                  <a:lnTo>
                    <a:pt x="143422" y="2646"/>
                  </a:lnTo>
                  <a:lnTo>
                    <a:pt x="144218" y="4177"/>
                  </a:lnTo>
                  <a:lnTo>
                    <a:pt x="145426" y="5469"/>
                  </a:lnTo>
                  <a:lnTo>
                    <a:pt x="148006" y="9435"/>
                  </a:lnTo>
                  <a:lnTo>
                    <a:pt x="148231" y="10581"/>
                  </a:lnTo>
                  <a:lnTo>
                    <a:pt x="149541" y="11739"/>
                  </a:lnTo>
                  <a:lnTo>
                    <a:pt x="150181" y="12634"/>
                  </a:lnTo>
                  <a:lnTo>
                    <a:pt x="150516" y="13781"/>
                  </a:lnTo>
                  <a:lnTo>
                    <a:pt x="151740" y="12964"/>
                  </a:lnTo>
                  <a:lnTo>
                    <a:pt x="152653" y="11676"/>
                  </a:lnTo>
                  <a:lnTo>
                    <a:pt x="154126" y="10371"/>
                  </a:lnTo>
                  <a:lnTo>
                    <a:pt x="153923" y="12477"/>
                  </a:lnTo>
                  <a:lnTo>
                    <a:pt x="154674" y="12939"/>
                  </a:lnTo>
                  <a:lnTo>
                    <a:pt x="159564" y="14409"/>
                  </a:lnTo>
                  <a:lnTo>
                    <a:pt x="160570" y="15635"/>
                  </a:lnTo>
                  <a:lnTo>
                    <a:pt x="161608" y="15984"/>
                  </a:lnTo>
                  <a:lnTo>
                    <a:pt x="162196" y="15299"/>
                  </a:lnTo>
                  <a:lnTo>
                    <a:pt x="162885" y="14925"/>
                  </a:lnTo>
                  <a:lnTo>
                    <a:pt x="164651" y="15698"/>
                  </a:lnTo>
                  <a:lnTo>
                    <a:pt x="168635" y="17847"/>
                  </a:lnTo>
                  <a:lnTo>
                    <a:pt x="168965" y="18586"/>
                  </a:lnTo>
                  <a:lnTo>
                    <a:pt x="168763" y="19691"/>
                  </a:lnTo>
                  <a:lnTo>
                    <a:pt x="168961" y="20857"/>
                  </a:lnTo>
                  <a:lnTo>
                    <a:pt x="169501" y="21789"/>
                  </a:lnTo>
                  <a:lnTo>
                    <a:pt x="170828" y="22004"/>
                  </a:lnTo>
                  <a:lnTo>
                    <a:pt x="172591" y="20622"/>
                  </a:lnTo>
                  <a:lnTo>
                    <a:pt x="173418" y="20451"/>
                  </a:lnTo>
                  <a:lnTo>
                    <a:pt x="174590" y="22404"/>
                  </a:lnTo>
                  <a:lnTo>
                    <a:pt x="175029" y="23510"/>
                  </a:lnTo>
                  <a:lnTo>
                    <a:pt x="174847" y="23473"/>
                  </a:lnTo>
                  <a:lnTo>
                    <a:pt x="175603" y="24569"/>
                  </a:lnTo>
                  <a:lnTo>
                    <a:pt x="176612" y="25659"/>
                  </a:lnTo>
                  <a:lnTo>
                    <a:pt x="178353" y="28875"/>
                  </a:lnTo>
                  <a:lnTo>
                    <a:pt x="178093" y="30005"/>
                  </a:lnTo>
                  <a:lnTo>
                    <a:pt x="177581" y="31022"/>
                  </a:lnTo>
                  <a:lnTo>
                    <a:pt x="179175" y="33998"/>
                  </a:lnTo>
                  <a:lnTo>
                    <a:pt x="178132" y="34204"/>
                  </a:lnTo>
                  <a:lnTo>
                    <a:pt x="174982" y="33700"/>
                  </a:lnTo>
                  <a:lnTo>
                    <a:pt x="175087" y="34296"/>
                  </a:lnTo>
                  <a:lnTo>
                    <a:pt x="176920" y="36481"/>
                  </a:lnTo>
                  <a:lnTo>
                    <a:pt x="178469" y="39572"/>
                  </a:lnTo>
                  <a:lnTo>
                    <a:pt x="179711" y="41439"/>
                  </a:lnTo>
                  <a:lnTo>
                    <a:pt x="184072" y="47223"/>
                  </a:lnTo>
                  <a:lnTo>
                    <a:pt x="183416" y="49284"/>
                  </a:lnTo>
                  <a:lnTo>
                    <a:pt x="183517" y="50644"/>
                  </a:lnTo>
                  <a:lnTo>
                    <a:pt x="182958" y="51813"/>
                  </a:lnTo>
                  <a:lnTo>
                    <a:pt x="184450" y="54887"/>
                  </a:lnTo>
                  <a:lnTo>
                    <a:pt x="183520" y="55843"/>
                  </a:lnTo>
                  <a:lnTo>
                    <a:pt x="182902" y="58995"/>
                  </a:lnTo>
                  <a:lnTo>
                    <a:pt x="182226" y="59547"/>
                  </a:lnTo>
                  <a:lnTo>
                    <a:pt x="182311" y="60701"/>
                  </a:lnTo>
                  <a:lnTo>
                    <a:pt x="184068" y="61006"/>
                  </a:lnTo>
                  <a:lnTo>
                    <a:pt x="185128" y="61497"/>
                  </a:lnTo>
                  <a:lnTo>
                    <a:pt x="186046" y="62433"/>
                  </a:lnTo>
                  <a:lnTo>
                    <a:pt x="186617" y="61306"/>
                  </a:lnTo>
                  <a:lnTo>
                    <a:pt x="187387" y="60999"/>
                  </a:lnTo>
                  <a:lnTo>
                    <a:pt x="189488" y="62505"/>
                  </a:lnTo>
                  <a:lnTo>
                    <a:pt x="193867" y="64007"/>
                  </a:lnTo>
                  <a:lnTo>
                    <a:pt x="195070" y="64565"/>
                  </a:lnTo>
                  <a:lnTo>
                    <a:pt x="195666" y="65777"/>
                  </a:lnTo>
                  <a:lnTo>
                    <a:pt x="196113" y="68710"/>
                  </a:lnTo>
                  <a:lnTo>
                    <a:pt x="196969" y="70003"/>
                  </a:lnTo>
                  <a:lnTo>
                    <a:pt x="198640" y="70252"/>
                  </a:lnTo>
                  <a:lnTo>
                    <a:pt x="200443" y="69862"/>
                  </a:lnTo>
                  <a:lnTo>
                    <a:pt x="201010" y="68792"/>
                  </a:lnTo>
                  <a:lnTo>
                    <a:pt x="200652" y="65919"/>
                  </a:lnTo>
                  <a:lnTo>
                    <a:pt x="199352" y="61323"/>
                  </a:lnTo>
                  <a:lnTo>
                    <a:pt x="199346" y="59830"/>
                  </a:lnTo>
                  <a:lnTo>
                    <a:pt x="199531" y="58335"/>
                  </a:lnTo>
                  <a:lnTo>
                    <a:pt x="199225" y="56851"/>
                  </a:lnTo>
                  <a:lnTo>
                    <a:pt x="198575" y="55449"/>
                  </a:lnTo>
                  <a:lnTo>
                    <a:pt x="197875" y="54375"/>
                  </a:lnTo>
                  <a:lnTo>
                    <a:pt x="196972" y="53473"/>
                  </a:lnTo>
                  <a:lnTo>
                    <a:pt x="197288" y="52066"/>
                  </a:lnTo>
                  <a:lnTo>
                    <a:pt x="198637" y="51430"/>
                  </a:lnTo>
                  <a:lnTo>
                    <a:pt x="199451" y="52620"/>
                  </a:lnTo>
                  <a:lnTo>
                    <a:pt x="200123" y="54055"/>
                  </a:lnTo>
                  <a:lnTo>
                    <a:pt x="203515" y="58308"/>
                  </a:lnTo>
                  <a:lnTo>
                    <a:pt x="205522" y="58008"/>
                  </a:lnTo>
                  <a:lnTo>
                    <a:pt x="205710" y="59771"/>
                  </a:lnTo>
                  <a:lnTo>
                    <a:pt x="207070" y="61562"/>
                  </a:lnTo>
                  <a:lnTo>
                    <a:pt x="207821" y="63661"/>
                  </a:lnTo>
                  <a:lnTo>
                    <a:pt x="208814" y="69943"/>
                  </a:lnTo>
                  <a:lnTo>
                    <a:pt x="210341" y="75869"/>
                  </a:lnTo>
                  <a:lnTo>
                    <a:pt x="213092" y="78455"/>
                  </a:lnTo>
                  <a:lnTo>
                    <a:pt x="213412" y="79692"/>
                  </a:lnTo>
                  <a:lnTo>
                    <a:pt x="211738" y="79054"/>
                  </a:lnTo>
                  <a:lnTo>
                    <a:pt x="211220" y="79425"/>
                  </a:lnTo>
                  <a:lnTo>
                    <a:pt x="211397" y="80049"/>
                  </a:lnTo>
                  <a:lnTo>
                    <a:pt x="212956" y="81185"/>
                  </a:lnTo>
                  <a:lnTo>
                    <a:pt x="214785" y="81744"/>
                  </a:lnTo>
                  <a:lnTo>
                    <a:pt x="215936" y="81664"/>
                  </a:lnTo>
                  <a:lnTo>
                    <a:pt x="217010" y="82078"/>
                  </a:lnTo>
                  <a:lnTo>
                    <a:pt x="224153" y="85939"/>
                  </a:lnTo>
                  <a:lnTo>
                    <a:pt x="227586" y="87442"/>
                  </a:lnTo>
                  <a:lnTo>
                    <a:pt x="236250" y="89904"/>
                  </a:lnTo>
                  <a:lnTo>
                    <a:pt x="238730" y="90102"/>
                  </a:lnTo>
                  <a:lnTo>
                    <a:pt x="240100" y="90034"/>
                  </a:lnTo>
                  <a:lnTo>
                    <a:pt x="242695" y="89178"/>
                  </a:lnTo>
                  <a:lnTo>
                    <a:pt x="245017" y="87642"/>
                  </a:lnTo>
                  <a:lnTo>
                    <a:pt x="247021" y="85346"/>
                  </a:lnTo>
                  <a:lnTo>
                    <a:pt x="248755" y="82730"/>
                  </a:lnTo>
                  <a:lnTo>
                    <a:pt x="250642" y="81462"/>
                  </a:lnTo>
                  <a:lnTo>
                    <a:pt x="252782" y="80463"/>
                  </a:lnTo>
                  <a:lnTo>
                    <a:pt x="253855" y="79537"/>
                  </a:lnTo>
                  <a:lnTo>
                    <a:pt x="254987" y="78879"/>
                  </a:lnTo>
                  <a:lnTo>
                    <a:pt x="260802" y="79186"/>
                  </a:lnTo>
                  <a:lnTo>
                    <a:pt x="262761" y="80503"/>
                  </a:lnTo>
                  <a:lnTo>
                    <a:pt x="265309" y="81559"/>
                  </a:lnTo>
                  <a:lnTo>
                    <a:pt x="266641" y="82386"/>
                  </a:lnTo>
                  <a:lnTo>
                    <a:pt x="266194" y="84062"/>
                  </a:lnTo>
                  <a:lnTo>
                    <a:pt x="264669" y="86539"/>
                  </a:lnTo>
                  <a:lnTo>
                    <a:pt x="263495" y="89251"/>
                  </a:lnTo>
                  <a:lnTo>
                    <a:pt x="262462" y="95424"/>
                  </a:lnTo>
                  <a:lnTo>
                    <a:pt x="261758" y="101674"/>
                  </a:lnTo>
                  <a:lnTo>
                    <a:pt x="260702" y="104432"/>
                  </a:lnTo>
                  <a:lnTo>
                    <a:pt x="258779" y="106558"/>
                  </a:lnTo>
                  <a:lnTo>
                    <a:pt x="256660" y="108111"/>
                  </a:lnTo>
                  <a:lnTo>
                    <a:pt x="254257" y="108841"/>
                  </a:lnTo>
                  <a:lnTo>
                    <a:pt x="253283" y="112402"/>
                  </a:lnTo>
                  <a:lnTo>
                    <a:pt x="252802" y="116576"/>
                  </a:lnTo>
                  <a:lnTo>
                    <a:pt x="252940" y="117626"/>
                  </a:lnTo>
                  <a:lnTo>
                    <a:pt x="253709" y="118457"/>
                  </a:lnTo>
                  <a:lnTo>
                    <a:pt x="254023" y="119698"/>
                  </a:lnTo>
                  <a:lnTo>
                    <a:pt x="252767" y="122212"/>
                  </a:lnTo>
                  <a:lnTo>
                    <a:pt x="252030" y="121848"/>
                  </a:lnTo>
                  <a:lnTo>
                    <a:pt x="250996" y="119756"/>
                  </a:lnTo>
                  <a:lnTo>
                    <a:pt x="250055" y="118882"/>
                  </a:lnTo>
                  <a:lnTo>
                    <a:pt x="247174" y="118230"/>
                  </a:lnTo>
                  <a:lnTo>
                    <a:pt x="244235" y="117922"/>
                  </a:lnTo>
                  <a:lnTo>
                    <a:pt x="241682" y="118111"/>
                  </a:lnTo>
                  <a:lnTo>
                    <a:pt x="239230" y="119009"/>
                  </a:lnTo>
                  <a:lnTo>
                    <a:pt x="235517" y="120828"/>
                  </a:lnTo>
                  <a:lnTo>
                    <a:pt x="234369" y="121751"/>
                  </a:lnTo>
                  <a:lnTo>
                    <a:pt x="233363" y="122920"/>
                  </a:lnTo>
                  <a:lnTo>
                    <a:pt x="231656" y="125530"/>
                  </a:lnTo>
                  <a:lnTo>
                    <a:pt x="231251" y="128725"/>
                  </a:lnTo>
                  <a:lnTo>
                    <a:pt x="231329" y="130401"/>
                  </a:lnTo>
                  <a:lnTo>
                    <a:pt x="231933" y="131698"/>
                  </a:lnTo>
                  <a:lnTo>
                    <a:pt x="235101" y="133464"/>
                  </a:lnTo>
                  <a:lnTo>
                    <a:pt x="231963" y="139648"/>
                  </a:lnTo>
                  <a:lnTo>
                    <a:pt x="229182" y="146092"/>
                  </a:lnTo>
                  <a:lnTo>
                    <a:pt x="227602" y="147936"/>
                  </a:lnTo>
                  <a:lnTo>
                    <a:pt x="225789" y="149636"/>
                  </a:lnTo>
                  <a:lnTo>
                    <a:pt x="224082" y="153522"/>
                  </a:lnTo>
                  <a:lnTo>
                    <a:pt x="221095" y="156874"/>
                  </a:lnTo>
                  <a:lnTo>
                    <a:pt x="219077" y="159435"/>
                  </a:lnTo>
                  <a:lnTo>
                    <a:pt x="217500" y="162092"/>
                  </a:lnTo>
                  <a:lnTo>
                    <a:pt x="216126" y="164926"/>
                  </a:lnTo>
                  <a:lnTo>
                    <a:pt x="213183" y="168930"/>
                  </a:lnTo>
                  <a:lnTo>
                    <a:pt x="211886" y="171578"/>
                  </a:lnTo>
                  <a:lnTo>
                    <a:pt x="210182" y="173780"/>
                  </a:lnTo>
                  <a:lnTo>
                    <a:pt x="207014" y="176597"/>
                  </a:lnTo>
                  <a:lnTo>
                    <a:pt x="203645" y="179015"/>
                  </a:lnTo>
                  <a:lnTo>
                    <a:pt x="198333" y="182359"/>
                  </a:lnTo>
                  <a:lnTo>
                    <a:pt x="196856" y="183464"/>
                  </a:lnTo>
                  <a:lnTo>
                    <a:pt x="195297" y="184272"/>
                  </a:lnTo>
                  <a:lnTo>
                    <a:pt x="193360" y="183314"/>
                  </a:lnTo>
                  <a:lnTo>
                    <a:pt x="192970" y="182271"/>
                  </a:lnTo>
                  <a:lnTo>
                    <a:pt x="192531" y="180000"/>
                  </a:lnTo>
                  <a:lnTo>
                    <a:pt x="192110" y="179165"/>
                  </a:lnTo>
                  <a:lnTo>
                    <a:pt x="189640" y="178474"/>
                  </a:lnTo>
                  <a:lnTo>
                    <a:pt x="186370" y="179575"/>
                  </a:lnTo>
                  <a:lnTo>
                    <a:pt x="185824" y="179340"/>
                  </a:lnTo>
                  <a:lnTo>
                    <a:pt x="185688" y="178819"/>
                  </a:lnTo>
                  <a:lnTo>
                    <a:pt x="185683" y="175492"/>
                  </a:lnTo>
                  <a:lnTo>
                    <a:pt x="186241" y="174555"/>
                  </a:lnTo>
                  <a:lnTo>
                    <a:pt x="185476" y="174037"/>
                  </a:lnTo>
                  <a:lnTo>
                    <a:pt x="184723" y="174241"/>
                  </a:lnTo>
                  <a:lnTo>
                    <a:pt x="184461" y="175088"/>
                  </a:lnTo>
                  <a:lnTo>
                    <a:pt x="184936" y="175822"/>
                  </a:lnTo>
                  <a:lnTo>
                    <a:pt x="183075" y="176734"/>
                  </a:lnTo>
                  <a:lnTo>
                    <a:pt x="181140" y="176760"/>
                  </a:lnTo>
                  <a:lnTo>
                    <a:pt x="180553" y="176402"/>
                  </a:lnTo>
                  <a:lnTo>
                    <a:pt x="180384" y="175788"/>
                  </a:lnTo>
                  <a:lnTo>
                    <a:pt x="180853" y="174782"/>
                  </a:lnTo>
                  <a:lnTo>
                    <a:pt x="181479" y="173896"/>
                  </a:lnTo>
                  <a:lnTo>
                    <a:pt x="185081" y="169711"/>
                  </a:lnTo>
                  <a:lnTo>
                    <a:pt x="188819" y="164159"/>
                  </a:lnTo>
                  <a:lnTo>
                    <a:pt x="192041" y="158226"/>
                  </a:lnTo>
                  <a:lnTo>
                    <a:pt x="192880" y="155181"/>
                  </a:lnTo>
                  <a:lnTo>
                    <a:pt x="194066" y="149529"/>
                  </a:lnTo>
                  <a:lnTo>
                    <a:pt x="193094" y="147179"/>
                  </a:lnTo>
                  <a:lnTo>
                    <a:pt x="191896" y="144973"/>
                  </a:lnTo>
                  <a:lnTo>
                    <a:pt x="188653" y="140727"/>
                  </a:lnTo>
                  <a:lnTo>
                    <a:pt x="184329" y="138331"/>
                  </a:lnTo>
                  <a:lnTo>
                    <a:pt x="181533" y="137992"/>
                  </a:lnTo>
                  <a:lnTo>
                    <a:pt x="178884" y="137102"/>
                  </a:lnTo>
                  <a:lnTo>
                    <a:pt x="176389" y="135077"/>
                  </a:lnTo>
                  <a:lnTo>
                    <a:pt x="174120" y="132690"/>
                  </a:lnTo>
                  <a:lnTo>
                    <a:pt x="169622" y="130736"/>
                  </a:lnTo>
                  <a:lnTo>
                    <a:pt x="164884" y="129202"/>
                  </a:lnTo>
                  <a:lnTo>
                    <a:pt x="162180" y="127039"/>
                  </a:lnTo>
                  <a:lnTo>
                    <a:pt x="161537" y="125753"/>
                  </a:lnTo>
                  <a:lnTo>
                    <a:pt x="161110" y="124264"/>
                  </a:lnTo>
                  <a:lnTo>
                    <a:pt x="161170" y="122880"/>
                  </a:lnTo>
                  <a:lnTo>
                    <a:pt x="161507" y="121478"/>
                  </a:lnTo>
                  <a:lnTo>
                    <a:pt x="162047" y="120398"/>
                  </a:lnTo>
                  <a:lnTo>
                    <a:pt x="162893" y="119617"/>
                  </a:lnTo>
                  <a:lnTo>
                    <a:pt x="167914" y="116821"/>
                  </a:lnTo>
                  <a:lnTo>
                    <a:pt x="173228" y="115266"/>
                  </a:lnTo>
                  <a:lnTo>
                    <a:pt x="174208" y="115293"/>
                  </a:lnTo>
                  <a:lnTo>
                    <a:pt x="175146" y="115046"/>
                  </a:lnTo>
                  <a:lnTo>
                    <a:pt x="176474" y="114095"/>
                  </a:lnTo>
                  <a:lnTo>
                    <a:pt x="178855" y="111921"/>
                  </a:lnTo>
                  <a:lnTo>
                    <a:pt x="179544" y="110461"/>
                  </a:lnTo>
                  <a:lnTo>
                    <a:pt x="180013" y="105826"/>
                  </a:lnTo>
                  <a:lnTo>
                    <a:pt x="180775" y="101270"/>
                  </a:lnTo>
                  <a:lnTo>
                    <a:pt x="182153" y="96058"/>
                  </a:lnTo>
                  <a:lnTo>
                    <a:pt x="184230" y="92829"/>
                  </a:lnTo>
                  <a:lnTo>
                    <a:pt x="184910" y="90850"/>
                  </a:lnTo>
                  <a:lnTo>
                    <a:pt x="184062" y="87592"/>
                  </a:lnTo>
                  <a:lnTo>
                    <a:pt x="184839" y="86399"/>
                  </a:lnTo>
                  <a:lnTo>
                    <a:pt x="185785" y="85679"/>
                  </a:lnTo>
                  <a:lnTo>
                    <a:pt x="186856" y="85261"/>
                  </a:lnTo>
                  <a:lnTo>
                    <a:pt x="185042" y="82209"/>
                  </a:lnTo>
                  <a:lnTo>
                    <a:pt x="182907" y="77597"/>
                  </a:lnTo>
                  <a:lnTo>
                    <a:pt x="182459" y="76169"/>
                  </a:lnTo>
                  <a:lnTo>
                    <a:pt x="182786" y="74758"/>
                  </a:lnTo>
                  <a:lnTo>
                    <a:pt x="183310" y="73371"/>
                  </a:lnTo>
                  <a:lnTo>
                    <a:pt x="181978" y="73020"/>
                  </a:lnTo>
                  <a:lnTo>
                    <a:pt x="181207" y="71690"/>
                  </a:lnTo>
                  <a:lnTo>
                    <a:pt x="179290" y="67223"/>
                  </a:lnTo>
                  <a:lnTo>
                    <a:pt x="179816" y="66515"/>
                  </a:lnTo>
                  <a:lnTo>
                    <a:pt x="180922" y="66995"/>
                  </a:lnTo>
                  <a:lnTo>
                    <a:pt x="182572" y="70215"/>
                  </a:lnTo>
                  <a:lnTo>
                    <a:pt x="182839" y="68556"/>
                  </a:lnTo>
                  <a:lnTo>
                    <a:pt x="184105" y="67537"/>
                  </a:lnTo>
                  <a:lnTo>
                    <a:pt x="185438" y="67007"/>
                  </a:lnTo>
                  <a:lnTo>
                    <a:pt x="186875" y="66893"/>
                  </a:lnTo>
                  <a:lnTo>
                    <a:pt x="183628" y="63306"/>
                  </a:lnTo>
                  <a:lnTo>
                    <a:pt x="182542" y="63450"/>
                  </a:lnTo>
                  <a:lnTo>
                    <a:pt x="181105" y="64021"/>
                  </a:lnTo>
                  <a:lnTo>
                    <a:pt x="179635" y="64374"/>
                  </a:lnTo>
                  <a:lnTo>
                    <a:pt x="178199" y="64058"/>
                  </a:lnTo>
                  <a:lnTo>
                    <a:pt x="176851" y="63259"/>
                  </a:lnTo>
                  <a:lnTo>
                    <a:pt x="176164" y="61750"/>
                  </a:lnTo>
                  <a:lnTo>
                    <a:pt x="175314" y="58848"/>
                  </a:lnTo>
                  <a:lnTo>
                    <a:pt x="174781" y="57775"/>
                  </a:lnTo>
                  <a:lnTo>
                    <a:pt x="170512" y="51851"/>
                  </a:lnTo>
                  <a:lnTo>
                    <a:pt x="171768" y="51665"/>
                  </a:lnTo>
                  <a:lnTo>
                    <a:pt x="175215" y="54630"/>
                  </a:lnTo>
                  <a:lnTo>
                    <a:pt x="175882" y="53682"/>
                  </a:lnTo>
                  <a:lnTo>
                    <a:pt x="176381" y="52318"/>
                  </a:lnTo>
                  <a:lnTo>
                    <a:pt x="176216" y="50802"/>
                  </a:lnTo>
                  <a:lnTo>
                    <a:pt x="175392" y="49655"/>
                  </a:lnTo>
                  <a:lnTo>
                    <a:pt x="174165" y="48906"/>
                  </a:lnTo>
                  <a:lnTo>
                    <a:pt x="174144" y="47562"/>
                  </a:lnTo>
                  <a:lnTo>
                    <a:pt x="175078" y="46329"/>
                  </a:lnTo>
                  <a:lnTo>
                    <a:pt x="175020" y="45467"/>
                  </a:lnTo>
                  <a:lnTo>
                    <a:pt x="173047" y="43710"/>
                  </a:lnTo>
                  <a:lnTo>
                    <a:pt x="172258" y="43522"/>
                  </a:lnTo>
                  <a:lnTo>
                    <a:pt x="171909" y="44345"/>
                  </a:lnTo>
                  <a:lnTo>
                    <a:pt x="172472" y="45561"/>
                  </a:lnTo>
                  <a:lnTo>
                    <a:pt x="171945" y="45697"/>
                  </a:lnTo>
                  <a:lnTo>
                    <a:pt x="167140" y="42496"/>
                  </a:lnTo>
                  <a:lnTo>
                    <a:pt x="165657" y="39925"/>
                  </a:lnTo>
                  <a:lnTo>
                    <a:pt x="164443" y="37102"/>
                  </a:lnTo>
                  <a:lnTo>
                    <a:pt x="164320" y="38250"/>
                  </a:lnTo>
                  <a:lnTo>
                    <a:pt x="164506" y="39863"/>
                  </a:lnTo>
                  <a:lnTo>
                    <a:pt x="166405" y="43098"/>
                  </a:lnTo>
                  <a:lnTo>
                    <a:pt x="169483" y="46717"/>
                  </a:lnTo>
                  <a:lnTo>
                    <a:pt x="170015" y="47683"/>
                  </a:lnTo>
                  <a:lnTo>
                    <a:pt x="169559" y="48930"/>
                  </a:lnTo>
                  <a:lnTo>
                    <a:pt x="168490" y="49286"/>
                  </a:lnTo>
                  <a:lnTo>
                    <a:pt x="167545" y="48495"/>
                  </a:lnTo>
                  <a:lnTo>
                    <a:pt x="166136" y="45396"/>
                  </a:lnTo>
                  <a:lnTo>
                    <a:pt x="165122" y="43846"/>
                  </a:lnTo>
                  <a:lnTo>
                    <a:pt x="153338" y="27883"/>
                  </a:lnTo>
                  <a:lnTo>
                    <a:pt x="154843" y="25781"/>
                  </a:lnTo>
                  <a:lnTo>
                    <a:pt x="157177" y="24012"/>
                  </a:lnTo>
                  <a:lnTo>
                    <a:pt x="157719" y="23225"/>
                  </a:lnTo>
                  <a:lnTo>
                    <a:pt x="158069" y="22269"/>
                  </a:lnTo>
                  <a:lnTo>
                    <a:pt x="157084" y="22105"/>
                  </a:lnTo>
                  <a:lnTo>
                    <a:pt x="156201" y="22539"/>
                  </a:lnTo>
                  <a:lnTo>
                    <a:pt x="155193" y="23353"/>
                  </a:lnTo>
                  <a:lnTo>
                    <a:pt x="154269" y="24280"/>
                  </a:lnTo>
                  <a:lnTo>
                    <a:pt x="153105" y="26339"/>
                  </a:lnTo>
                  <a:lnTo>
                    <a:pt x="152546" y="26815"/>
                  </a:lnTo>
                  <a:lnTo>
                    <a:pt x="151165" y="25389"/>
                  </a:lnTo>
                  <a:lnTo>
                    <a:pt x="150640" y="24508"/>
                  </a:lnTo>
                  <a:lnTo>
                    <a:pt x="150663" y="23453"/>
                  </a:lnTo>
                  <a:lnTo>
                    <a:pt x="150293" y="22784"/>
                  </a:lnTo>
                  <a:lnTo>
                    <a:pt x="149268" y="22573"/>
                  </a:lnTo>
                  <a:lnTo>
                    <a:pt x="147765" y="20477"/>
                  </a:lnTo>
                  <a:lnTo>
                    <a:pt x="146803" y="19412"/>
                  </a:lnTo>
                  <a:lnTo>
                    <a:pt x="148397" y="17367"/>
                  </a:lnTo>
                  <a:lnTo>
                    <a:pt x="148438" y="14673"/>
                  </a:lnTo>
                  <a:lnTo>
                    <a:pt x="146817" y="11847"/>
                  </a:lnTo>
                  <a:lnTo>
                    <a:pt x="144877" y="9260"/>
                  </a:lnTo>
                  <a:lnTo>
                    <a:pt x="141144" y="5072"/>
                  </a:lnTo>
                  <a:lnTo>
                    <a:pt x="137721" y="650"/>
                  </a:lnTo>
                  <a:lnTo>
                    <a:pt x="141431" y="95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58" name="ee4p_PW_1_37365">
              <a:extLst>
                <a:ext uri="{FF2B5EF4-FFF2-40B4-BE49-F238E27FC236}">
                  <a16:creationId xmlns:a16="http://schemas.microsoft.com/office/drawing/2014/main" id="{B6AB4A9D-6DAE-7F8C-8657-B0104B572127}"/>
                </a:ext>
              </a:extLst>
            </p:cNvPr>
            <p:cNvSpPr>
              <a:spLocks noChangeAspect="1"/>
            </p:cNvSpPr>
            <p:nvPr>
              <p:custDataLst>
                <p:tags r:id="rId212"/>
              </p:custDataLst>
            </p:nvPr>
          </p:nvSpPr>
          <p:spPr>
            <a:xfrm>
              <a:off x="10156233" y="4588451"/>
              <a:ext cx="1471" cy="1107"/>
            </a:xfrm>
            <a:custGeom>
              <a:avLst/>
              <a:gdLst/>
              <a:ahLst/>
              <a:cxnLst/>
              <a:rect l="0" t="0" r="0" b="0"/>
              <a:pathLst>
                <a:path w="1171" h="858">
                  <a:moveTo>
                    <a:pt x="827" y="761"/>
                  </a:moveTo>
                  <a:lnTo>
                    <a:pt x="324" y="857"/>
                  </a:lnTo>
                  <a:lnTo>
                    <a:pt x="0" y="783"/>
                  </a:lnTo>
                  <a:lnTo>
                    <a:pt x="39" y="468"/>
                  </a:lnTo>
                  <a:lnTo>
                    <a:pt x="367" y="144"/>
                  </a:lnTo>
                  <a:lnTo>
                    <a:pt x="827" y="0"/>
                  </a:lnTo>
                  <a:lnTo>
                    <a:pt x="1170" y="111"/>
                  </a:lnTo>
                  <a:lnTo>
                    <a:pt x="1135" y="410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59" name="ee4p_PG_1_37365">
              <a:extLst>
                <a:ext uri="{FF2B5EF4-FFF2-40B4-BE49-F238E27FC236}">
                  <a16:creationId xmlns:a16="http://schemas.microsoft.com/office/drawing/2014/main" id="{9070D4F5-F23D-2415-E698-5E43BF9E58F4}"/>
                </a:ext>
              </a:extLst>
            </p:cNvPr>
            <p:cNvSpPr>
              <a:spLocks noChangeAspect="1"/>
            </p:cNvSpPr>
            <p:nvPr>
              <p:custDataLst>
                <p:tags r:id="rId213"/>
              </p:custDataLst>
            </p:nvPr>
          </p:nvSpPr>
          <p:spPr>
            <a:xfrm>
              <a:off x="10426354" y="4714387"/>
              <a:ext cx="419187" cy="294632"/>
            </a:xfrm>
            <a:custGeom>
              <a:avLst/>
              <a:gdLst>
                <a:gd name="connsiteX0" fmla="*/ 272892 w 333789"/>
                <a:gd name="connsiteY0" fmla="*/ 221525 h 228390"/>
                <a:gd name="connsiteX1" fmla="*/ 275173 w 333789"/>
                <a:gd name="connsiteY1" fmla="*/ 222247 h 228390"/>
                <a:gd name="connsiteX2" fmla="*/ 280245 w 333789"/>
                <a:gd name="connsiteY2" fmla="*/ 224930 h 228390"/>
                <a:gd name="connsiteX3" fmla="*/ 283939 w 333789"/>
                <a:gd name="connsiteY3" fmla="*/ 226103 h 228390"/>
                <a:gd name="connsiteX4" fmla="*/ 285192 w 333789"/>
                <a:gd name="connsiteY4" fmla="*/ 227398 h 228390"/>
                <a:gd name="connsiteX5" fmla="*/ 283858 w 333789"/>
                <a:gd name="connsiteY5" fmla="*/ 227987 h 228390"/>
                <a:gd name="connsiteX6" fmla="*/ 280633 w 333789"/>
                <a:gd name="connsiteY6" fmla="*/ 228390 h 228390"/>
                <a:gd name="connsiteX7" fmla="*/ 279871 w 333789"/>
                <a:gd name="connsiteY7" fmla="*/ 227597 h 228390"/>
                <a:gd name="connsiteX8" fmla="*/ 276770 w 333789"/>
                <a:gd name="connsiteY8" fmla="*/ 226799 h 228390"/>
                <a:gd name="connsiteX9" fmla="*/ 276284 w 333789"/>
                <a:gd name="connsiteY9" fmla="*/ 225353 h 228390"/>
                <a:gd name="connsiteX10" fmla="*/ 274732 w 333789"/>
                <a:gd name="connsiteY10" fmla="*/ 225845 h 228390"/>
                <a:gd name="connsiteX11" fmla="*/ 275517 w 333789"/>
                <a:gd name="connsiteY11" fmla="*/ 224825 h 228390"/>
                <a:gd name="connsiteX12" fmla="*/ 273574 w 333789"/>
                <a:gd name="connsiteY12" fmla="*/ 223679 h 228390"/>
                <a:gd name="connsiteX13" fmla="*/ 272968 w 333789"/>
                <a:gd name="connsiteY13" fmla="*/ 222147 h 228390"/>
                <a:gd name="connsiteX14" fmla="*/ 292752 w 333789"/>
                <a:gd name="connsiteY14" fmla="*/ 221241 h 228390"/>
                <a:gd name="connsiteX15" fmla="*/ 295762 w 333789"/>
                <a:gd name="connsiteY15" fmla="*/ 221855 h 228390"/>
                <a:gd name="connsiteX16" fmla="*/ 296710 w 333789"/>
                <a:gd name="connsiteY16" fmla="*/ 222361 h 228390"/>
                <a:gd name="connsiteX17" fmla="*/ 296384 w 333789"/>
                <a:gd name="connsiteY17" fmla="*/ 223581 h 228390"/>
                <a:gd name="connsiteX18" fmla="*/ 295578 w 333789"/>
                <a:gd name="connsiteY18" fmla="*/ 223168 h 228390"/>
                <a:gd name="connsiteX19" fmla="*/ 293181 w 333789"/>
                <a:gd name="connsiteY19" fmla="*/ 223800 h 228390"/>
                <a:gd name="connsiteX20" fmla="*/ 291919 w 333789"/>
                <a:gd name="connsiteY20" fmla="*/ 223658 h 228390"/>
                <a:gd name="connsiteX21" fmla="*/ 291191 w 333789"/>
                <a:gd name="connsiteY21" fmla="*/ 222564 h 228390"/>
                <a:gd name="connsiteX22" fmla="*/ 291020 w 333789"/>
                <a:gd name="connsiteY22" fmla="*/ 222059 h 228390"/>
                <a:gd name="connsiteX23" fmla="*/ 293104 w 333789"/>
                <a:gd name="connsiteY23" fmla="*/ 222453 h 228390"/>
                <a:gd name="connsiteX24" fmla="*/ 221337 w 333789"/>
                <a:gd name="connsiteY24" fmla="*/ 204248 h 228390"/>
                <a:gd name="connsiteX25" fmla="*/ 221926 w 333789"/>
                <a:gd name="connsiteY25" fmla="*/ 204549 h 228390"/>
                <a:gd name="connsiteX26" fmla="*/ 221615 w 333789"/>
                <a:gd name="connsiteY26" fmla="*/ 206296 h 228390"/>
                <a:gd name="connsiteX27" fmla="*/ 219795 w 333789"/>
                <a:gd name="connsiteY27" fmla="*/ 205776 h 228390"/>
                <a:gd name="connsiteX28" fmla="*/ 219428 w 333789"/>
                <a:gd name="connsiteY28" fmla="*/ 205401 h 228390"/>
                <a:gd name="connsiteX29" fmla="*/ 219729 w 333789"/>
                <a:gd name="connsiteY29" fmla="*/ 204298 h 228390"/>
                <a:gd name="connsiteX30" fmla="*/ 219214 w 333789"/>
                <a:gd name="connsiteY30" fmla="*/ 185424 h 228390"/>
                <a:gd name="connsiteX31" fmla="*/ 220112 w 333789"/>
                <a:gd name="connsiteY31" fmla="*/ 186024 h 228390"/>
                <a:gd name="connsiteX32" fmla="*/ 221121 w 333789"/>
                <a:gd name="connsiteY32" fmla="*/ 187508 h 228390"/>
                <a:gd name="connsiteX33" fmla="*/ 225303 w 333789"/>
                <a:gd name="connsiteY33" fmla="*/ 190555 h 228390"/>
                <a:gd name="connsiteX34" fmla="*/ 225141 w 333789"/>
                <a:gd name="connsiteY34" fmla="*/ 191541 h 228390"/>
                <a:gd name="connsiteX35" fmla="*/ 225956 w 333789"/>
                <a:gd name="connsiteY35" fmla="*/ 192368 h 228390"/>
                <a:gd name="connsiteX36" fmla="*/ 226895 w 333789"/>
                <a:gd name="connsiteY36" fmla="*/ 192370 h 228390"/>
                <a:gd name="connsiteX37" fmla="*/ 228463 w 333789"/>
                <a:gd name="connsiteY37" fmla="*/ 190702 h 228390"/>
                <a:gd name="connsiteX38" fmla="*/ 229819 w 333789"/>
                <a:gd name="connsiteY38" fmla="*/ 190192 h 228390"/>
                <a:gd name="connsiteX39" fmla="*/ 230722 w 333789"/>
                <a:gd name="connsiteY39" fmla="*/ 190952 h 228390"/>
                <a:gd name="connsiteX40" fmla="*/ 229271 w 333789"/>
                <a:gd name="connsiteY40" fmla="*/ 196268 h 228390"/>
                <a:gd name="connsiteX41" fmla="*/ 228046 w 333789"/>
                <a:gd name="connsiteY41" fmla="*/ 195467 h 228390"/>
                <a:gd name="connsiteX42" fmla="*/ 223263 w 333789"/>
                <a:gd name="connsiteY42" fmla="*/ 193986 h 228390"/>
                <a:gd name="connsiteX43" fmla="*/ 223114 w 333789"/>
                <a:gd name="connsiteY43" fmla="*/ 191884 h 228390"/>
                <a:gd name="connsiteX44" fmla="*/ 221868 w 333789"/>
                <a:gd name="connsiteY44" fmla="*/ 191205 h 228390"/>
                <a:gd name="connsiteX45" fmla="*/ 221099 w 333789"/>
                <a:gd name="connsiteY45" fmla="*/ 189154 h 228390"/>
                <a:gd name="connsiteX46" fmla="*/ 219514 w 333789"/>
                <a:gd name="connsiteY46" fmla="*/ 186880 h 228390"/>
                <a:gd name="connsiteX47" fmla="*/ 213086 w 333789"/>
                <a:gd name="connsiteY47" fmla="*/ 177315 h 228390"/>
                <a:gd name="connsiteX48" fmla="*/ 213738 w 333789"/>
                <a:gd name="connsiteY48" fmla="*/ 177337 h 228390"/>
                <a:gd name="connsiteX49" fmla="*/ 216847 w 333789"/>
                <a:gd name="connsiteY49" fmla="*/ 179164 h 228390"/>
                <a:gd name="connsiteX50" fmla="*/ 218560 w 333789"/>
                <a:gd name="connsiteY50" fmla="*/ 178629 h 228390"/>
                <a:gd name="connsiteX51" fmla="*/ 219493 w 333789"/>
                <a:gd name="connsiteY51" fmla="*/ 178929 h 228390"/>
                <a:gd name="connsiteX52" fmla="*/ 221493 w 333789"/>
                <a:gd name="connsiteY52" fmla="*/ 181042 h 228390"/>
                <a:gd name="connsiteX53" fmla="*/ 221603 w 333789"/>
                <a:gd name="connsiteY53" fmla="*/ 182587 h 228390"/>
                <a:gd name="connsiteX54" fmla="*/ 221925 w 333789"/>
                <a:gd name="connsiteY54" fmla="*/ 183914 h 228390"/>
                <a:gd name="connsiteX55" fmla="*/ 221823 w 333789"/>
                <a:gd name="connsiteY55" fmla="*/ 184496 h 228390"/>
                <a:gd name="connsiteX56" fmla="*/ 220717 w 333789"/>
                <a:gd name="connsiteY56" fmla="*/ 185285 h 228390"/>
                <a:gd name="connsiteX57" fmla="*/ 220810 w 333789"/>
                <a:gd name="connsiteY57" fmla="*/ 184387 h 228390"/>
                <a:gd name="connsiteX58" fmla="*/ 219963 w 333789"/>
                <a:gd name="connsiteY58" fmla="*/ 184212 h 228390"/>
                <a:gd name="connsiteX59" fmla="*/ 217053 w 333789"/>
                <a:gd name="connsiteY59" fmla="*/ 184252 h 228390"/>
                <a:gd name="connsiteX60" fmla="*/ 214796 w 333789"/>
                <a:gd name="connsiteY60" fmla="*/ 183685 h 228390"/>
                <a:gd name="connsiteX61" fmla="*/ 211700 w 333789"/>
                <a:gd name="connsiteY61" fmla="*/ 183539 h 228390"/>
                <a:gd name="connsiteX62" fmla="*/ 213006 w 333789"/>
                <a:gd name="connsiteY62" fmla="*/ 182136 h 228390"/>
                <a:gd name="connsiteX63" fmla="*/ 213298 w 333789"/>
                <a:gd name="connsiteY63" fmla="*/ 181565 h 228390"/>
                <a:gd name="connsiteX64" fmla="*/ 211665 w 333789"/>
                <a:gd name="connsiteY64" fmla="*/ 179308 h 228390"/>
                <a:gd name="connsiteX65" fmla="*/ 211593 w 333789"/>
                <a:gd name="connsiteY65" fmla="*/ 178230 h 228390"/>
                <a:gd name="connsiteX66" fmla="*/ 211724 w 333789"/>
                <a:gd name="connsiteY66" fmla="*/ 177635 h 228390"/>
                <a:gd name="connsiteX67" fmla="*/ 206660 w 333789"/>
                <a:gd name="connsiteY67" fmla="*/ 174210 h 228390"/>
                <a:gd name="connsiteX68" fmla="*/ 209132 w 333789"/>
                <a:gd name="connsiteY68" fmla="*/ 175499 h 228390"/>
                <a:gd name="connsiteX69" fmla="*/ 209948 w 333789"/>
                <a:gd name="connsiteY69" fmla="*/ 177392 h 228390"/>
                <a:gd name="connsiteX70" fmla="*/ 210194 w 333789"/>
                <a:gd name="connsiteY70" fmla="*/ 178450 h 228390"/>
                <a:gd name="connsiteX71" fmla="*/ 209691 w 333789"/>
                <a:gd name="connsiteY71" fmla="*/ 180622 h 228390"/>
                <a:gd name="connsiteX72" fmla="*/ 209380 w 333789"/>
                <a:gd name="connsiteY72" fmla="*/ 181173 h 228390"/>
                <a:gd name="connsiteX73" fmla="*/ 208087 w 333789"/>
                <a:gd name="connsiteY73" fmla="*/ 180768 h 228390"/>
                <a:gd name="connsiteX74" fmla="*/ 204481 w 333789"/>
                <a:gd name="connsiteY74" fmla="*/ 177679 h 228390"/>
                <a:gd name="connsiteX75" fmla="*/ 205038 w 333789"/>
                <a:gd name="connsiteY75" fmla="*/ 175397 h 228390"/>
                <a:gd name="connsiteX76" fmla="*/ 260229 w 333789"/>
                <a:gd name="connsiteY76" fmla="*/ 168705 h 228390"/>
                <a:gd name="connsiteX77" fmla="*/ 261519 w 333789"/>
                <a:gd name="connsiteY77" fmla="*/ 169044 h 228390"/>
                <a:gd name="connsiteX78" fmla="*/ 264190 w 333789"/>
                <a:gd name="connsiteY78" fmla="*/ 168879 h 228390"/>
                <a:gd name="connsiteX79" fmla="*/ 265069 w 333789"/>
                <a:gd name="connsiteY79" fmla="*/ 170156 h 228390"/>
                <a:gd name="connsiteX80" fmla="*/ 266291 w 333789"/>
                <a:gd name="connsiteY80" fmla="*/ 170596 h 228390"/>
                <a:gd name="connsiteX81" fmla="*/ 267349 w 333789"/>
                <a:gd name="connsiteY81" fmla="*/ 171173 h 228390"/>
                <a:gd name="connsiteX82" fmla="*/ 268286 w 333789"/>
                <a:gd name="connsiteY82" fmla="*/ 172013 h 228390"/>
                <a:gd name="connsiteX83" fmla="*/ 268280 w 333789"/>
                <a:gd name="connsiteY83" fmla="*/ 172525 h 228390"/>
                <a:gd name="connsiteX84" fmla="*/ 268057 w 333789"/>
                <a:gd name="connsiteY84" fmla="*/ 172971 h 228390"/>
                <a:gd name="connsiteX85" fmla="*/ 267489 w 333789"/>
                <a:gd name="connsiteY85" fmla="*/ 173370 h 228390"/>
                <a:gd name="connsiteX86" fmla="*/ 267658 w 333789"/>
                <a:gd name="connsiteY86" fmla="*/ 174269 h 228390"/>
                <a:gd name="connsiteX87" fmla="*/ 266682 w 333789"/>
                <a:gd name="connsiteY87" fmla="*/ 174136 h 228390"/>
                <a:gd name="connsiteX88" fmla="*/ 265459 w 333789"/>
                <a:gd name="connsiteY88" fmla="*/ 174611 h 228390"/>
                <a:gd name="connsiteX89" fmla="*/ 263072 w 333789"/>
                <a:gd name="connsiteY89" fmla="*/ 173559 h 228390"/>
                <a:gd name="connsiteX90" fmla="*/ 262201 w 333789"/>
                <a:gd name="connsiteY90" fmla="*/ 173322 h 228390"/>
                <a:gd name="connsiteX91" fmla="*/ 261938 w 333789"/>
                <a:gd name="connsiteY91" fmla="*/ 172421 h 228390"/>
                <a:gd name="connsiteX92" fmla="*/ 260387 w 333789"/>
                <a:gd name="connsiteY92" fmla="*/ 170912 h 228390"/>
                <a:gd name="connsiteX93" fmla="*/ 257668 w 333789"/>
                <a:gd name="connsiteY93" fmla="*/ 169830 h 228390"/>
                <a:gd name="connsiteX94" fmla="*/ 259038 w 333789"/>
                <a:gd name="connsiteY94" fmla="*/ 168942 h 228390"/>
                <a:gd name="connsiteX95" fmla="*/ 51842 w 333789"/>
                <a:gd name="connsiteY95" fmla="*/ 156766 h 228390"/>
                <a:gd name="connsiteX96" fmla="*/ 53749 w 333789"/>
                <a:gd name="connsiteY96" fmla="*/ 157864 h 228390"/>
                <a:gd name="connsiteX97" fmla="*/ 57073 w 333789"/>
                <a:gd name="connsiteY97" fmla="*/ 158893 h 228390"/>
                <a:gd name="connsiteX98" fmla="*/ 60322 w 333789"/>
                <a:gd name="connsiteY98" fmla="*/ 161442 h 228390"/>
                <a:gd name="connsiteX99" fmla="*/ 60717 w 333789"/>
                <a:gd name="connsiteY99" fmla="*/ 162416 h 228390"/>
                <a:gd name="connsiteX100" fmla="*/ 57502 w 333789"/>
                <a:gd name="connsiteY100" fmla="*/ 161079 h 228390"/>
                <a:gd name="connsiteX101" fmla="*/ 54436 w 333789"/>
                <a:gd name="connsiteY101" fmla="*/ 158845 h 228390"/>
                <a:gd name="connsiteX102" fmla="*/ 52881 w 333789"/>
                <a:gd name="connsiteY102" fmla="*/ 158238 h 228390"/>
                <a:gd name="connsiteX103" fmla="*/ 226765 w 333789"/>
                <a:gd name="connsiteY103" fmla="*/ 156664 h 228390"/>
                <a:gd name="connsiteX104" fmla="*/ 226740 w 333789"/>
                <a:gd name="connsiteY104" fmla="*/ 158958 h 228390"/>
                <a:gd name="connsiteX105" fmla="*/ 227230 w 333789"/>
                <a:gd name="connsiteY105" fmla="*/ 159987 h 228390"/>
                <a:gd name="connsiteX106" fmla="*/ 226528 w 333789"/>
                <a:gd name="connsiteY106" fmla="*/ 163672 h 228390"/>
                <a:gd name="connsiteX107" fmla="*/ 226910 w 333789"/>
                <a:gd name="connsiteY107" fmla="*/ 165262 h 228390"/>
                <a:gd name="connsiteX108" fmla="*/ 225187 w 333789"/>
                <a:gd name="connsiteY108" fmla="*/ 163556 h 228390"/>
                <a:gd name="connsiteX109" fmla="*/ 225951 w 333789"/>
                <a:gd name="connsiteY109" fmla="*/ 161629 h 228390"/>
                <a:gd name="connsiteX110" fmla="*/ 226086 w 333789"/>
                <a:gd name="connsiteY110" fmla="*/ 160587 h 228390"/>
                <a:gd name="connsiteX111" fmla="*/ 225997 w 333789"/>
                <a:gd name="connsiteY111" fmla="*/ 160000 h 228390"/>
                <a:gd name="connsiteX112" fmla="*/ 224276 w 333789"/>
                <a:gd name="connsiteY112" fmla="*/ 159002 h 228390"/>
                <a:gd name="connsiteX113" fmla="*/ 225190 w 333789"/>
                <a:gd name="connsiteY113" fmla="*/ 157371 h 228390"/>
                <a:gd name="connsiteX114" fmla="*/ 226158 w 333789"/>
                <a:gd name="connsiteY114" fmla="*/ 156823 h 228390"/>
                <a:gd name="connsiteX115" fmla="*/ 54386 w 333789"/>
                <a:gd name="connsiteY115" fmla="*/ 155522 h 228390"/>
                <a:gd name="connsiteX116" fmla="*/ 58949 w 333789"/>
                <a:gd name="connsiteY116" fmla="*/ 155766 h 228390"/>
                <a:gd name="connsiteX117" fmla="*/ 60126 w 333789"/>
                <a:gd name="connsiteY117" fmla="*/ 156042 h 228390"/>
                <a:gd name="connsiteX118" fmla="*/ 60372 w 333789"/>
                <a:gd name="connsiteY118" fmla="*/ 157580 h 228390"/>
                <a:gd name="connsiteX119" fmla="*/ 60245 w 333789"/>
                <a:gd name="connsiteY119" fmla="*/ 158064 h 228390"/>
                <a:gd name="connsiteX120" fmla="*/ 59279 w 333789"/>
                <a:gd name="connsiteY120" fmla="*/ 158132 h 228390"/>
                <a:gd name="connsiteX121" fmla="*/ 55382 w 333789"/>
                <a:gd name="connsiteY121" fmla="*/ 156620 h 228390"/>
                <a:gd name="connsiteX122" fmla="*/ 154435 w 333789"/>
                <a:gd name="connsiteY122" fmla="*/ 91608 h 228390"/>
                <a:gd name="connsiteX123" fmla="*/ 159041 w 333789"/>
                <a:gd name="connsiteY123" fmla="*/ 94285 h 228390"/>
                <a:gd name="connsiteX124" fmla="*/ 159511 w 333789"/>
                <a:gd name="connsiteY124" fmla="*/ 95143 h 228390"/>
                <a:gd name="connsiteX125" fmla="*/ 159166 w 333789"/>
                <a:gd name="connsiteY125" fmla="*/ 97682 h 228390"/>
                <a:gd name="connsiteX126" fmla="*/ 158400 w 333789"/>
                <a:gd name="connsiteY126" fmla="*/ 99051 h 228390"/>
                <a:gd name="connsiteX127" fmla="*/ 157508 w 333789"/>
                <a:gd name="connsiteY127" fmla="*/ 99220 h 228390"/>
                <a:gd name="connsiteX128" fmla="*/ 157122 w 333789"/>
                <a:gd name="connsiteY128" fmla="*/ 98212 h 228390"/>
                <a:gd name="connsiteX129" fmla="*/ 155054 w 333789"/>
                <a:gd name="connsiteY129" fmla="*/ 97339 h 228390"/>
                <a:gd name="connsiteX130" fmla="*/ 152988 w 333789"/>
                <a:gd name="connsiteY130" fmla="*/ 94634 h 228390"/>
                <a:gd name="connsiteX131" fmla="*/ 153020 w 333789"/>
                <a:gd name="connsiteY131" fmla="*/ 92310 h 228390"/>
                <a:gd name="connsiteX132" fmla="*/ 153288 w 333789"/>
                <a:gd name="connsiteY132" fmla="*/ 91642 h 228390"/>
                <a:gd name="connsiteX133" fmla="*/ 306628 w 333789"/>
                <a:gd name="connsiteY133" fmla="*/ 90579 h 228390"/>
                <a:gd name="connsiteX134" fmla="*/ 307587 w 333789"/>
                <a:gd name="connsiteY134" fmla="*/ 90794 h 228390"/>
                <a:gd name="connsiteX135" fmla="*/ 308600 w 333789"/>
                <a:gd name="connsiteY135" fmla="*/ 91679 h 228390"/>
                <a:gd name="connsiteX136" fmla="*/ 309751 w 333789"/>
                <a:gd name="connsiteY136" fmla="*/ 92286 h 228390"/>
                <a:gd name="connsiteX137" fmla="*/ 312549 w 333789"/>
                <a:gd name="connsiteY137" fmla="*/ 92697 h 228390"/>
                <a:gd name="connsiteX138" fmla="*/ 314689 w 333789"/>
                <a:gd name="connsiteY138" fmla="*/ 94478 h 228390"/>
                <a:gd name="connsiteX139" fmla="*/ 316743 w 333789"/>
                <a:gd name="connsiteY139" fmla="*/ 97955 h 228390"/>
                <a:gd name="connsiteX140" fmla="*/ 316989 w 333789"/>
                <a:gd name="connsiteY140" fmla="*/ 99094 h 228390"/>
                <a:gd name="connsiteX141" fmla="*/ 317645 w 333789"/>
                <a:gd name="connsiteY141" fmla="*/ 99913 h 228390"/>
                <a:gd name="connsiteX142" fmla="*/ 319757 w 333789"/>
                <a:gd name="connsiteY142" fmla="*/ 101389 h 228390"/>
                <a:gd name="connsiteX143" fmla="*/ 320852 w 333789"/>
                <a:gd name="connsiteY143" fmla="*/ 102336 h 228390"/>
                <a:gd name="connsiteX144" fmla="*/ 322940 w 333789"/>
                <a:gd name="connsiteY144" fmla="*/ 106124 h 228390"/>
                <a:gd name="connsiteX145" fmla="*/ 324097 w 333789"/>
                <a:gd name="connsiteY145" fmla="*/ 106932 h 228390"/>
                <a:gd name="connsiteX146" fmla="*/ 325462 w 333789"/>
                <a:gd name="connsiteY146" fmla="*/ 107257 h 228390"/>
                <a:gd name="connsiteX147" fmla="*/ 326732 w 333789"/>
                <a:gd name="connsiteY147" fmla="*/ 107804 h 228390"/>
                <a:gd name="connsiteX148" fmla="*/ 328848 w 333789"/>
                <a:gd name="connsiteY148" fmla="*/ 109466 h 228390"/>
                <a:gd name="connsiteX149" fmla="*/ 330802 w 333789"/>
                <a:gd name="connsiteY149" fmla="*/ 111348 h 228390"/>
                <a:gd name="connsiteX150" fmla="*/ 332123 w 333789"/>
                <a:gd name="connsiteY150" fmla="*/ 113327 h 228390"/>
                <a:gd name="connsiteX151" fmla="*/ 333126 w 333789"/>
                <a:gd name="connsiteY151" fmla="*/ 115446 h 228390"/>
                <a:gd name="connsiteX152" fmla="*/ 333789 w 333789"/>
                <a:gd name="connsiteY152" fmla="*/ 118150 h 228390"/>
                <a:gd name="connsiteX153" fmla="*/ 333249 w 333789"/>
                <a:gd name="connsiteY153" fmla="*/ 120230 h 228390"/>
                <a:gd name="connsiteX154" fmla="*/ 332846 w 333789"/>
                <a:gd name="connsiteY154" fmla="*/ 120590 h 228390"/>
                <a:gd name="connsiteX155" fmla="*/ 332336 w 333789"/>
                <a:gd name="connsiteY155" fmla="*/ 119809 h 228390"/>
                <a:gd name="connsiteX156" fmla="*/ 330414 w 333789"/>
                <a:gd name="connsiteY156" fmla="*/ 120566 h 228390"/>
                <a:gd name="connsiteX157" fmla="*/ 329496 w 333789"/>
                <a:gd name="connsiteY157" fmla="*/ 121428 h 228390"/>
                <a:gd name="connsiteX158" fmla="*/ 328520 w 333789"/>
                <a:gd name="connsiteY158" fmla="*/ 122059 h 228390"/>
                <a:gd name="connsiteX159" fmla="*/ 326266 w 333789"/>
                <a:gd name="connsiteY159" fmla="*/ 121907 h 228390"/>
                <a:gd name="connsiteX160" fmla="*/ 324132 w 333789"/>
                <a:gd name="connsiteY160" fmla="*/ 121336 h 228390"/>
                <a:gd name="connsiteX161" fmla="*/ 322063 w 333789"/>
                <a:gd name="connsiteY161" fmla="*/ 120280 h 228390"/>
                <a:gd name="connsiteX162" fmla="*/ 320222 w 333789"/>
                <a:gd name="connsiteY162" fmla="*/ 118925 h 228390"/>
                <a:gd name="connsiteX163" fmla="*/ 318375 w 333789"/>
                <a:gd name="connsiteY163" fmla="*/ 116801 h 228390"/>
                <a:gd name="connsiteX164" fmla="*/ 317227 w 333789"/>
                <a:gd name="connsiteY164" fmla="*/ 114598 h 228390"/>
                <a:gd name="connsiteX165" fmla="*/ 317799 w 333789"/>
                <a:gd name="connsiteY165" fmla="*/ 112039 h 228390"/>
                <a:gd name="connsiteX166" fmla="*/ 317084 w 333789"/>
                <a:gd name="connsiteY166" fmla="*/ 109731 h 228390"/>
                <a:gd name="connsiteX167" fmla="*/ 313601 w 333789"/>
                <a:gd name="connsiteY167" fmla="*/ 108090 h 228390"/>
                <a:gd name="connsiteX168" fmla="*/ 312838 w 333789"/>
                <a:gd name="connsiteY168" fmla="*/ 107559 h 228390"/>
                <a:gd name="connsiteX169" fmla="*/ 311293 w 333789"/>
                <a:gd name="connsiteY169" fmla="*/ 105259 h 228390"/>
                <a:gd name="connsiteX170" fmla="*/ 309746 w 333789"/>
                <a:gd name="connsiteY170" fmla="*/ 104267 h 228390"/>
                <a:gd name="connsiteX171" fmla="*/ 307792 w 333789"/>
                <a:gd name="connsiteY171" fmla="*/ 102253 h 228390"/>
                <a:gd name="connsiteX172" fmla="*/ 307291 w 333789"/>
                <a:gd name="connsiteY172" fmla="*/ 101380 h 228390"/>
                <a:gd name="connsiteX173" fmla="*/ 306447 w 333789"/>
                <a:gd name="connsiteY173" fmla="*/ 98832 h 228390"/>
                <a:gd name="connsiteX174" fmla="*/ 306179 w 333789"/>
                <a:gd name="connsiteY174" fmla="*/ 97292 h 228390"/>
                <a:gd name="connsiteX175" fmla="*/ 306890 w 333789"/>
                <a:gd name="connsiteY175" fmla="*/ 92816 h 228390"/>
                <a:gd name="connsiteX176" fmla="*/ 138615 w 333789"/>
                <a:gd name="connsiteY176" fmla="*/ 84956 h 228390"/>
                <a:gd name="connsiteX177" fmla="*/ 140280 w 333789"/>
                <a:gd name="connsiteY177" fmla="*/ 86303 h 228390"/>
                <a:gd name="connsiteX178" fmla="*/ 140623 w 333789"/>
                <a:gd name="connsiteY178" fmla="*/ 89185 h 228390"/>
                <a:gd name="connsiteX179" fmla="*/ 139615 w 333789"/>
                <a:gd name="connsiteY179" fmla="*/ 90302 h 228390"/>
                <a:gd name="connsiteX180" fmla="*/ 138375 w 333789"/>
                <a:gd name="connsiteY180" fmla="*/ 90423 h 228390"/>
                <a:gd name="connsiteX181" fmla="*/ 136359 w 333789"/>
                <a:gd name="connsiteY181" fmla="*/ 88316 h 228390"/>
                <a:gd name="connsiteX182" fmla="*/ 135847 w 333789"/>
                <a:gd name="connsiteY182" fmla="*/ 87532 h 228390"/>
                <a:gd name="connsiteX183" fmla="*/ 136043 w 333789"/>
                <a:gd name="connsiteY183" fmla="*/ 86432 h 228390"/>
                <a:gd name="connsiteX184" fmla="*/ 304490 w 333789"/>
                <a:gd name="connsiteY184" fmla="*/ 81033 h 228390"/>
                <a:gd name="connsiteX185" fmla="*/ 305583 w 333789"/>
                <a:gd name="connsiteY185" fmla="*/ 81923 h 228390"/>
                <a:gd name="connsiteX186" fmla="*/ 305741 w 333789"/>
                <a:gd name="connsiteY186" fmla="*/ 83889 h 228390"/>
                <a:gd name="connsiteX187" fmla="*/ 306581 w 333789"/>
                <a:gd name="connsiteY187" fmla="*/ 85560 h 228390"/>
                <a:gd name="connsiteX188" fmla="*/ 305946 w 333789"/>
                <a:gd name="connsiteY188" fmla="*/ 89213 h 228390"/>
                <a:gd name="connsiteX189" fmla="*/ 304814 w 333789"/>
                <a:gd name="connsiteY189" fmla="*/ 90319 h 228390"/>
                <a:gd name="connsiteX190" fmla="*/ 304374 w 333789"/>
                <a:gd name="connsiteY190" fmla="*/ 90495 h 228390"/>
                <a:gd name="connsiteX191" fmla="*/ 303413 w 333789"/>
                <a:gd name="connsiteY191" fmla="*/ 87697 h 228390"/>
                <a:gd name="connsiteX192" fmla="*/ 303242 w 333789"/>
                <a:gd name="connsiteY192" fmla="*/ 85623 h 228390"/>
                <a:gd name="connsiteX193" fmla="*/ 302947 w 333789"/>
                <a:gd name="connsiteY193" fmla="*/ 84094 h 228390"/>
                <a:gd name="connsiteX194" fmla="*/ 302444 w 333789"/>
                <a:gd name="connsiteY194" fmla="*/ 83183 h 228390"/>
                <a:gd name="connsiteX195" fmla="*/ 303892 w 333789"/>
                <a:gd name="connsiteY195" fmla="*/ 81501 h 228390"/>
                <a:gd name="connsiteX196" fmla="*/ 113513 w 333789"/>
                <a:gd name="connsiteY196" fmla="*/ 70515 h 228390"/>
                <a:gd name="connsiteX197" fmla="*/ 114432 w 333789"/>
                <a:gd name="connsiteY197" fmla="*/ 71266 h 228390"/>
                <a:gd name="connsiteX198" fmla="*/ 114786 w 333789"/>
                <a:gd name="connsiteY198" fmla="*/ 72750 h 228390"/>
                <a:gd name="connsiteX199" fmla="*/ 114033 w 333789"/>
                <a:gd name="connsiteY199" fmla="*/ 74657 h 228390"/>
                <a:gd name="connsiteX200" fmla="*/ 112551 w 333789"/>
                <a:gd name="connsiteY200" fmla="*/ 75312 h 228390"/>
                <a:gd name="connsiteX201" fmla="*/ 111483 w 333789"/>
                <a:gd name="connsiteY201" fmla="*/ 74808 h 228390"/>
                <a:gd name="connsiteX202" fmla="*/ 111031 w 333789"/>
                <a:gd name="connsiteY202" fmla="*/ 73356 h 228390"/>
                <a:gd name="connsiteX203" fmla="*/ 111398 w 333789"/>
                <a:gd name="connsiteY203" fmla="*/ 71954 h 228390"/>
                <a:gd name="connsiteX204" fmla="*/ 112693 w 333789"/>
                <a:gd name="connsiteY204" fmla="*/ 70848 h 228390"/>
                <a:gd name="connsiteX205" fmla="*/ 239726 w 333789"/>
                <a:gd name="connsiteY205" fmla="*/ 62999 h 228390"/>
                <a:gd name="connsiteX206" fmla="*/ 242283 w 333789"/>
                <a:gd name="connsiteY206" fmla="*/ 63376 h 228390"/>
                <a:gd name="connsiteX207" fmla="*/ 243287 w 333789"/>
                <a:gd name="connsiteY207" fmla="*/ 64347 h 228390"/>
                <a:gd name="connsiteX208" fmla="*/ 244412 w 333789"/>
                <a:gd name="connsiteY208" fmla="*/ 65143 h 228390"/>
                <a:gd name="connsiteX209" fmla="*/ 245560 w 333789"/>
                <a:gd name="connsiteY209" fmla="*/ 65591 h 228390"/>
                <a:gd name="connsiteX210" fmla="*/ 248869 w 333789"/>
                <a:gd name="connsiteY210" fmla="*/ 63270 h 228390"/>
                <a:gd name="connsiteX211" fmla="*/ 250640 w 333789"/>
                <a:gd name="connsiteY211" fmla="*/ 64886 h 228390"/>
                <a:gd name="connsiteX212" fmla="*/ 252899 w 333789"/>
                <a:gd name="connsiteY212" fmla="*/ 65673 h 228390"/>
                <a:gd name="connsiteX213" fmla="*/ 255248 w 333789"/>
                <a:gd name="connsiteY213" fmla="*/ 66117 h 228390"/>
                <a:gd name="connsiteX214" fmla="*/ 254317 w 333789"/>
                <a:gd name="connsiteY214" fmla="*/ 69442 h 228390"/>
                <a:gd name="connsiteX215" fmla="*/ 254593 w 333789"/>
                <a:gd name="connsiteY215" fmla="*/ 70980 h 228390"/>
                <a:gd name="connsiteX216" fmla="*/ 255200 w 333789"/>
                <a:gd name="connsiteY216" fmla="*/ 72510 h 228390"/>
                <a:gd name="connsiteX217" fmla="*/ 255123 w 333789"/>
                <a:gd name="connsiteY217" fmla="*/ 74769 h 228390"/>
                <a:gd name="connsiteX218" fmla="*/ 254043 w 333789"/>
                <a:gd name="connsiteY218" fmla="*/ 76784 h 228390"/>
                <a:gd name="connsiteX219" fmla="*/ 251975 w 333789"/>
                <a:gd name="connsiteY219" fmla="*/ 79722 h 228390"/>
                <a:gd name="connsiteX220" fmla="*/ 251048 w 333789"/>
                <a:gd name="connsiteY220" fmla="*/ 80265 h 228390"/>
                <a:gd name="connsiteX221" fmla="*/ 249962 w 333789"/>
                <a:gd name="connsiteY221" fmla="*/ 80574 h 228390"/>
                <a:gd name="connsiteX222" fmla="*/ 246571 w 333789"/>
                <a:gd name="connsiteY222" fmla="*/ 80810 h 228390"/>
                <a:gd name="connsiteX223" fmla="*/ 245917 w 333789"/>
                <a:gd name="connsiteY223" fmla="*/ 82375 h 228390"/>
                <a:gd name="connsiteX224" fmla="*/ 246144 w 333789"/>
                <a:gd name="connsiteY224" fmla="*/ 84029 h 228390"/>
                <a:gd name="connsiteX225" fmla="*/ 247977 w 333789"/>
                <a:gd name="connsiteY225" fmla="*/ 86203 h 228390"/>
                <a:gd name="connsiteX226" fmla="*/ 249439 w 333789"/>
                <a:gd name="connsiteY226" fmla="*/ 88641 h 228390"/>
                <a:gd name="connsiteX227" fmla="*/ 247982 w 333789"/>
                <a:gd name="connsiteY227" fmla="*/ 90887 h 228390"/>
                <a:gd name="connsiteX228" fmla="*/ 245581 w 333789"/>
                <a:gd name="connsiteY228" fmla="*/ 92451 h 228390"/>
                <a:gd name="connsiteX229" fmla="*/ 243302 w 333789"/>
                <a:gd name="connsiteY229" fmla="*/ 93250 h 228390"/>
                <a:gd name="connsiteX230" fmla="*/ 239532 w 333789"/>
                <a:gd name="connsiteY230" fmla="*/ 92778 h 228390"/>
                <a:gd name="connsiteX231" fmla="*/ 235556 w 333789"/>
                <a:gd name="connsiteY231" fmla="*/ 92973 h 228390"/>
                <a:gd name="connsiteX232" fmla="*/ 234811 w 333789"/>
                <a:gd name="connsiteY232" fmla="*/ 93828 h 228390"/>
                <a:gd name="connsiteX233" fmla="*/ 234790 w 333789"/>
                <a:gd name="connsiteY233" fmla="*/ 95240 h 228390"/>
                <a:gd name="connsiteX234" fmla="*/ 234231 w 333789"/>
                <a:gd name="connsiteY234" fmla="*/ 96317 h 228390"/>
                <a:gd name="connsiteX235" fmla="*/ 233507 w 333789"/>
                <a:gd name="connsiteY235" fmla="*/ 97298 h 228390"/>
                <a:gd name="connsiteX236" fmla="*/ 231491 w 333789"/>
                <a:gd name="connsiteY236" fmla="*/ 99333 h 228390"/>
                <a:gd name="connsiteX237" fmla="*/ 229236 w 333789"/>
                <a:gd name="connsiteY237" fmla="*/ 101126 h 228390"/>
                <a:gd name="connsiteX238" fmla="*/ 226157 w 333789"/>
                <a:gd name="connsiteY238" fmla="*/ 102830 h 228390"/>
                <a:gd name="connsiteX239" fmla="*/ 225121 w 333789"/>
                <a:gd name="connsiteY239" fmla="*/ 103237 h 228390"/>
                <a:gd name="connsiteX240" fmla="*/ 222395 w 333789"/>
                <a:gd name="connsiteY240" fmla="*/ 103508 h 228390"/>
                <a:gd name="connsiteX241" fmla="*/ 219942 w 333789"/>
                <a:gd name="connsiteY241" fmla="*/ 104487 h 228390"/>
                <a:gd name="connsiteX242" fmla="*/ 218850 w 333789"/>
                <a:gd name="connsiteY242" fmla="*/ 105443 h 228390"/>
                <a:gd name="connsiteX243" fmla="*/ 217660 w 333789"/>
                <a:gd name="connsiteY243" fmla="*/ 106219 h 228390"/>
                <a:gd name="connsiteX244" fmla="*/ 215058 w 333789"/>
                <a:gd name="connsiteY244" fmla="*/ 107071 h 228390"/>
                <a:gd name="connsiteX245" fmla="*/ 212524 w 333789"/>
                <a:gd name="connsiteY245" fmla="*/ 108749 h 228390"/>
                <a:gd name="connsiteX246" fmla="*/ 211524 w 333789"/>
                <a:gd name="connsiteY246" fmla="*/ 109033 h 228390"/>
                <a:gd name="connsiteX247" fmla="*/ 206274 w 333789"/>
                <a:gd name="connsiteY247" fmla="*/ 109325 h 228390"/>
                <a:gd name="connsiteX248" fmla="*/ 198759 w 333789"/>
                <a:gd name="connsiteY248" fmla="*/ 109405 h 228390"/>
                <a:gd name="connsiteX249" fmla="*/ 196532 w 333789"/>
                <a:gd name="connsiteY249" fmla="*/ 109581 h 228390"/>
                <a:gd name="connsiteX250" fmla="*/ 194370 w 333789"/>
                <a:gd name="connsiteY250" fmla="*/ 109349 h 228390"/>
                <a:gd name="connsiteX251" fmla="*/ 193174 w 333789"/>
                <a:gd name="connsiteY251" fmla="*/ 108695 h 228390"/>
                <a:gd name="connsiteX252" fmla="*/ 190622 w 333789"/>
                <a:gd name="connsiteY252" fmla="*/ 105673 h 228390"/>
                <a:gd name="connsiteX253" fmla="*/ 188396 w 333789"/>
                <a:gd name="connsiteY253" fmla="*/ 104637 h 228390"/>
                <a:gd name="connsiteX254" fmla="*/ 185971 w 333789"/>
                <a:gd name="connsiteY254" fmla="*/ 104667 h 228390"/>
                <a:gd name="connsiteX255" fmla="*/ 182740 w 333789"/>
                <a:gd name="connsiteY255" fmla="*/ 105736 h 228390"/>
                <a:gd name="connsiteX256" fmla="*/ 182131 w 333789"/>
                <a:gd name="connsiteY256" fmla="*/ 105500 h 228390"/>
                <a:gd name="connsiteX257" fmla="*/ 175686 w 333789"/>
                <a:gd name="connsiteY257" fmla="*/ 101049 h 228390"/>
                <a:gd name="connsiteX258" fmla="*/ 173731 w 333789"/>
                <a:gd name="connsiteY258" fmla="*/ 99961 h 228390"/>
                <a:gd name="connsiteX259" fmla="*/ 171646 w 333789"/>
                <a:gd name="connsiteY259" fmla="*/ 99148 h 228390"/>
                <a:gd name="connsiteX260" fmla="*/ 169101 w 333789"/>
                <a:gd name="connsiteY260" fmla="*/ 98585 h 228390"/>
                <a:gd name="connsiteX261" fmla="*/ 166700 w 333789"/>
                <a:gd name="connsiteY261" fmla="*/ 97690 h 228390"/>
                <a:gd name="connsiteX262" fmla="*/ 165285 w 333789"/>
                <a:gd name="connsiteY262" fmla="*/ 95569 h 228390"/>
                <a:gd name="connsiteX263" fmla="*/ 165452 w 333789"/>
                <a:gd name="connsiteY263" fmla="*/ 92808 h 228390"/>
                <a:gd name="connsiteX264" fmla="*/ 167382 w 333789"/>
                <a:gd name="connsiteY264" fmla="*/ 91186 h 228390"/>
                <a:gd name="connsiteX265" fmla="*/ 170322 w 333789"/>
                <a:gd name="connsiteY265" fmla="*/ 91987 h 228390"/>
                <a:gd name="connsiteX266" fmla="*/ 171446 w 333789"/>
                <a:gd name="connsiteY266" fmla="*/ 91976 h 228390"/>
                <a:gd name="connsiteX267" fmla="*/ 172552 w 333789"/>
                <a:gd name="connsiteY267" fmla="*/ 91515 h 228390"/>
                <a:gd name="connsiteX268" fmla="*/ 173845 w 333789"/>
                <a:gd name="connsiteY268" fmla="*/ 91662 h 228390"/>
                <a:gd name="connsiteX269" fmla="*/ 175154 w 333789"/>
                <a:gd name="connsiteY269" fmla="*/ 92069 h 228390"/>
                <a:gd name="connsiteX270" fmla="*/ 179924 w 333789"/>
                <a:gd name="connsiteY270" fmla="*/ 91469 h 228390"/>
                <a:gd name="connsiteX271" fmla="*/ 182684 w 333789"/>
                <a:gd name="connsiteY271" fmla="*/ 92314 h 228390"/>
                <a:gd name="connsiteX272" fmla="*/ 185366 w 333789"/>
                <a:gd name="connsiteY272" fmla="*/ 93432 h 228390"/>
                <a:gd name="connsiteX273" fmla="*/ 187877 w 333789"/>
                <a:gd name="connsiteY273" fmla="*/ 93674 h 228390"/>
                <a:gd name="connsiteX274" fmla="*/ 190453 w 333789"/>
                <a:gd name="connsiteY274" fmla="*/ 93436 h 228390"/>
                <a:gd name="connsiteX275" fmla="*/ 193911 w 333789"/>
                <a:gd name="connsiteY275" fmla="*/ 92167 h 228390"/>
                <a:gd name="connsiteX276" fmla="*/ 195001 w 333789"/>
                <a:gd name="connsiteY276" fmla="*/ 92334 h 228390"/>
                <a:gd name="connsiteX277" fmla="*/ 198327 w 333789"/>
                <a:gd name="connsiteY277" fmla="*/ 92347 h 228390"/>
                <a:gd name="connsiteX278" fmla="*/ 201231 w 333789"/>
                <a:gd name="connsiteY278" fmla="*/ 90653 h 228390"/>
                <a:gd name="connsiteX279" fmla="*/ 202317 w 333789"/>
                <a:gd name="connsiteY279" fmla="*/ 83819 h 228390"/>
                <a:gd name="connsiteX280" fmla="*/ 203056 w 333789"/>
                <a:gd name="connsiteY280" fmla="*/ 81494 h 228390"/>
                <a:gd name="connsiteX281" fmla="*/ 204045 w 333789"/>
                <a:gd name="connsiteY281" fmla="*/ 80988 h 228390"/>
                <a:gd name="connsiteX282" fmla="*/ 204757 w 333789"/>
                <a:gd name="connsiteY282" fmla="*/ 81128 h 228390"/>
                <a:gd name="connsiteX283" fmla="*/ 205819 w 333789"/>
                <a:gd name="connsiteY283" fmla="*/ 82291 h 228390"/>
                <a:gd name="connsiteX284" fmla="*/ 204457 w 333789"/>
                <a:gd name="connsiteY284" fmla="*/ 83741 h 228390"/>
                <a:gd name="connsiteX285" fmla="*/ 203857 w 333789"/>
                <a:gd name="connsiteY285" fmla="*/ 84858 h 228390"/>
                <a:gd name="connsiteX286" fmla="*/ 203656 w 333789"/>
                <a:gd name="connsiteY286" fmla="*/ 87589 h 228390"/>
                <a:gd name="connsiteX287" fmla="*/ 204403 w 333789"/>
                <a:gd name="connsiteY287" fmla="*/ 90237 h 228390"/>
                <a:gd name="connsiteX288" fmla="*/ 206102 w 333789"/>
                <a:gd name="connsiteY288" fmla="*/ 92336 h 228390"/>
                <a:gd name="connsiteX289" fmla="*/ 208660 w 333789"/>
                <a:gd name="connsiteY289" fmla="*/ 92602 h 228390"/>
                <a:gd name="connsiteX290" fmla="*/ 210995 w 333789"/>
                <a:gd name="connsiteY290" fmla="*/ 91216 h 228390"/>
                <a:gd name="connsiteX291" fmla="*/ 213539 w 333789"/>
                <a:gd name="connsiteY291" fmla="*/ 90930 h 228390"/>
                <a:gd name="connsiteX292" fmla="*/ 215891 w 333789"/>
                <a:gd name="connsiteY292" fmla="*/ 92275 h 228390"/>
                <a:gd name="connsiteX293" fmla="*/ 218294 w 333789"/>
                <a:gd name="connsiteY293" fmla="*/ 92043 h 228390"/>
                <a:gd name="connsiteX294" fmla="*/ 219398 w 333789"/>
                <a:gd name="connsiteY294" fmla="*/ 91166 h 228390"/>
                <a:gd name="connsiteX295" fmla="*/ 220684 w 333789"/>
                <a:gd name="connsiteY295" fmla="*/ 90785 h 228390"/>
                <a:gd name="connsiteX296" fmla="*/ 221961 w 333789"/>
                <a:gd name="connsiteY296" fmla="*/ 90640 h 228390"/>
                <a:gd name="connsiteX297" fmla="*/ 223125 w 333789"/>
                <a:gd name="connsiteY297" fmla="*/ 90120 h 228390"/>
                <a:gd name="connsiteX298" fmla="*/ 224658 w 333789"/>
                <a:gd name="connsiteY298" fmla="*/ 87836 h 228390"/>
                <a:gd name="connsiteX299" fmla="*/ 225688 w 333789"/>
                <a:gd name="connsiteY299" fmla="*/ 85259 h 228390"/>
                <a:gd name="connsiteX300" fmla="*/ 227213 w 333789"/>
                <a:gd name="connsiteY300" fmla="*/ 83228 h 228390"/>
                <a:gd name="connsiteX301" fmla="*/ 231387 w 333789"/>
                <a:gd name="connsiteY301" fmla="*/ 79847 h 228390"/>
                <a:gd name="connsiteX302" fmla="*/ 232589 w 333789"/>
                <a:gd name="connsiteY302" fmla="*/ 79425 h 228390"/>
                <a:gd name="connsiteX303" fmla="*/ 233892 w 333789"/>
                <a:gd name="connsiteY303" fmla="*/ 79195 h 228390"/>
                <a:gd name="connsiteX304" fmla="*/ 236826 w 333789"/>
                <a:gd name="connsiteY304" fmla="*/ 79341 h 228390"/>
                <a:gd name="connsiteX305" fmla="*/ 239007 w 333789"/>
                <a:gd name="connsiteY305" fmla="*/ 78139 h 228390"/>
                <a:gd name="connsiteX306" fmla="*/ 239178 w 333789"/>
                <a:gd name="connsiteY306" fmla="*/ 75430 h 228390"/>
                <a:gd name="connsiteX307" fmla="*/ 238862 w 333789"/>
                <a:gd name="connsiteY307" fmla="*/ 72681 h 228390"/>
                <a:gd name="connsiteX308" fmla="*/ 236370 w 333789"/>
                <a:gd name="connsiteY308" fmla="*/ 66223 h 228390"/>
                <a:gd name="connsiteX309" fmla="*/ 236200 w 333789"/>
                <a:gd name="connsiteY309" fmla="*/ 65197 h 228390"/>
                <a:gd name="connsiteX310" fmla="*/ 236561 w 333789"/>
                <a:gd name="connsiteY310" fmla="*/ 64048 h 228390"/>
                <a:gd name="connsiteX311" fmla="*/ 237279 w 333789"/>
                <a:gd name="connsiteY311" fmla="*/ 63017 h 228390"/>
                <a:gd name="connsiteX312" fmla="*/ 283050 w 333789"/>
                <a:gd name="connsiteY312" fmla="*/ 59482 h 228390"/>
                <a:gd name="connsiteX313" fmla="*/ 282968 w 333789"/>
                <a:gd name="connsiteY313" fmla="*/ 60769 h 228390"/>
                <a:gd name="connsiteX314" fmla="*/ 282765 w 333789"/>
                <a:gd name="connsiteY314" fmla="*/ 61295 h 228390"/>
                <a:gd name="connsiteX315" fmla="*/ 281469 w 333789"/>
                <a:gd name="connsiteY315" fmla="*/ 60696 h 228390"/>
                <a:gd name="connsiteX316" fmla="*/ 282536 w 333789"/>
                <a:gd name="connsiteY316" fmla="*/ 59560 h 228390"/>
                <a:gd name="connsiteX317" fmla="*/ 260402 w 333789"/>
                <a:gd name="connsiteY317" fmla="*/ 37378 h 228390"/>
                <a:gd name="connsiteX318" fmla="*/ 261107 w 333789"/>
                <a:gd name="connsiteY318" fmla="*/ 39383 h 228390"/>
                <a:gd name="connsiteX319" fmla="*/ 260566 w 333789"/>
                <a:gd name="connsiteY319" fmla="*/ 41327 h 228390"/>
                <a:gd name="connsiteX320" fmla="*/ 259215 w 333789"/>
                <a:gd name="connsiteY320" fmla="*/ 40190 h 228390"/>
                <a:gd name="connsiteX321" fmla="*/ 258291 w 333789"/>
                <a:gd name="connsiteY321" fmla="*/ 38547 h 228390"/>
                <a:gd name="connsiteX322" fmla="*/ 258880 w 333789"/>
                <a:gd name="connsiteY322" fmla="*/ 37814 h 228390"/>
                <a:gd name="connsiteX323" fmla="*/ 245718 w 333789"/>
                <a:gd name="connsiteY323" fmla="*/ 33014 h 228390"/>
                <a:gd name="connsiteX324" fmla="*/ 247928 w 333789"/>
                <a:gd name="connsiteY324" fmla="*/ 34626 h 228390"/>
                <a:gd name="connsiteX325" fmla="*/ 248472 w 333789"/>
                <a:gd name="connsiteY325" fmla="*/ 35266 h 228390"/>
                <a:gd name="connsiteX326" fmla="*/ 248234 w 333789"/>
                <a:gd name="connsiteY326" fmla="*/ 36383 h 228390"/>
                <a:gd name="connsiteX327" fmla="*/ 247546 w 333789"/>
                <a:gd name="connsiteY327" fmla="*/ 36319 h 228390"/>
                <a:gd name="connsiteX328" fmla="*/ 245639 w 333789"/>
                <a:gd name="connsiteY328" fmla="*/ 34131 h 228390"/>
                <a:gd name="connsiteX329" fmla="*/ 245274 w 333789"/>
                <a:gd name="connsiteY329" fmla="*/ 33565 h 228390"/>
                <a:gd name="connsiteX330" fmla="*/ 245092 w 333789"/>
                <a:gd name="connsiteY330" fmla="*/ 29982 h 228390"/>
                <a:gd name="connsiteX331" fmla="*/ 246321 w 333789"/>
                <a:gd name="connsiteY331" fmla="*/ 30628 h 228390"/>
                <a:gd name="connsiteX332" fmla="*/ 246529 w 333789"/>
                <a:gd name="connsiteY332" fmla="*/ 32208 h 228390"/>
                <a:gd name="connsiteX333" fmla="*/ 245332 w 333789"/>
                <a:gd name="connsiteY333" fmla="*/ 32673 h 228390"/>
                <a:gd name="connsiteX334" fmla="*/ 244805 w 333789"/>
                <a:gd name="connsiteY334" fmla="*/ 32677 h 228390"/>
                <a:gd name="connsiteX335" fmla="*/ 244726 w 333789"/>
                <a:gd name="connsiteY335" fmla="*/ 30911 h 228390"/>
                <a:gd name="connsiteX336" fmla="*/ 2457 w 333789"/>
                <a:gd name="connsiteY336" fmla="*/ 27796 h 228390"/>
                <a:gd name="connsiteX337" fmla="*/ 3118 w 333789"/>
                <a:gd name="connsiteY337" fmla="*/ 27804 h 228390"/>
                <a:gd name="connsiteX338" fmla="*/ 5362 w 333789"/>
                <a:gd name="connsiteY338" fmla="*/ 27830 h 228390"/>
                <a:gd name="connsiteX339" fmla="*/ 7149 w 333789"/>
                <a:gd name="connsiteY339" fmla="*/ 28195 h 228390"/>
                <a:gd name="connsiteX340" fmla="*/ 18232 w 333789"/>
                <a:gd name="connsiteY340" fmla="*/ 33001 h 228390"/>
                <a:gd name="connsiteX341" fmla="*/ 21541 w 333789"/>
                <a:gd name="connsiteY341" fmla="*/ 34929 h 228390"/>
                <a:gd name="connsiteX342" fmla="*/ 22669 w 333789"/>
                <a:gd name="connsiteY342" fmla="*/ 35381 h 228390"/>
                <a:gd name="connsiteX343" fmla="*/ 23781 w 333789"/>
                <a:gd name="connsiteY343" fmla="*/ 35398 h 228390"/>
                <a:gd name="connsiteX344" fmla="*/ 24842 w 333789"/>
                <a:gd name="connsiteY344" fmla="*/ 35625 h 228390"/>
                <a:gd name="connsiteX345" fmla="*/ 29834 w 333789"/>
                <a:gd name="connsiteY345" fmla="*/ 38279 h 228390"/>
                <a:gd name="connsiteX346" fmla="*/ 37297 w 333789"/>
                <a:gd name="connsiteY346" fmla="*/ 40959 h 228390"/>
                <a:gd name="connsiteX347" fmla="*/ 45172 w 333789"/>
                <a:gd name="connsiteY347" fmla="*/ 43529 h 228390"/>
                <a:gd name="connsiteX348" fmla="*/ 47614 w 333789"/>
                <a:gd name="connsiteY348" fmla="*/ 44066 h 228390"/>
                <a:gd name="connsiteX349" fmla="*/ 50143 w 333789"/>
                <a:gd name="connsiteY349" fmla="*/ 44290 h 228390"/>
                <a:gd name="connsiteX350" fmla="*/ 55634 w 333789"/>
                <a:gd name="connsiteY350" fmla="*/ 45181 h 228390"/>
                <a:gd name="connsiteX351" fmla="*/ 58524 w 333789"/>
                <a:gd name="connsiteY351" fmla="*/ 45974 h 228390"/>
                <a:gd name="connsiteX352" fmla="*/ 62761 w 333789"/>
                <a:gd name="connsiteY352" fmla="*/ 49122 h 228390"/>
                <a:gd name="connsiteX353" fmla="*/ 64895 w 333789"/>
                <a:gd name="connsiteY353" fmla="*/ 50095 h 228390"/>
                <a:gd name="connsiteX354" fmla="*/ 66898 w 333789"/>
                <a:gd name="connsiteY354" fmla="*/ 51870 h 228390"/>
                <a:gd name="connsiteX355" fmla="*/ 69731 w 333789"/>
                <a:gd name="connsiteY355" fmla="*/ 53777 h 228390"/>
                <a:gd name="connsiteX356" fmla="*/ 70849 w 333789"/>
                <a:gd name="connsiteY356" fmla="*/ 54255 h 228390"/>
                <a:gd name="connsiteX357" fmla="*/ 72078 w 333789"/>
                <a:gd name="connsiteY357" fmla="*/ 54478 h 228390"/>
                <a:gd name="connsiteX358" fmla="*/ 74864 w 333789"/>
                <a:gd name="connsiteY358" fmla="*/ 54545 h 228390"/>
                <a:gd name="connsiteX359" fmla="*/ 77661 w 333789"/>
                <a:gd name="connsiteY359" fmla="*/ 54201 h 228390"/>
                <a:gd name="connsiteX360" fmla="*/ 78813 w 333789"/>
                <a:gd name="connsiteY360" fmla="*/ 54355 h 228390"/>
                <a:gd name="connsiteX361" fmla="*/ 79945 w 333789"/>
                <a:gd name="connsiteY361" fmla="*/ 54701 h 228390"/>
                <a:gd name="connsiteX362" fmla="*/ 80979 w 333789"/>
                <a:gd name="connsiteY362" fmla="*/ 55365 h 228390"/>
                <a:gd name="connsiteX363" fmla="*/ 81504 w 333789"/>
                <a:gd name="connsiteY363" fmla="*/ 56645 h 228390"/>
                <a:gd name="connsiteX364" fmla="*/ 83238 w 333789"/>
                <a:gd name="connsiteY364" fmla="*/ 58416 h 228390"/>
                <a:gd name="connsiteX365" fmla="*/ 85697 w 333789"/>
                <a:gd name="connsiteY365" fmla="*/ 59214 h 228390"/>
                <a:gd name="connsiteX366" fmla="*/ 88032 w 333789"/>
                <a:gd name="connsiteY366" fmla="*/ 60817 h 228390"/>
                <a:gd name="connsiteX367" fmla="*/ 90133 w 333789"/>
                <a:gd name="connsiteY367" fmla="*/ 62738 h 228390"/>
                <a:gd name="connsiteX368" fmla="*/ 91678 w 333789"/>
                <a:gd name="connsiteY368" fmla="*/ 64672 h 228390"/>
                <a:gd name="connsiteX369" fmla="*/ 93434 w 333789"/>
                <a:gd name="connsiteY369" fmla="*/ 66303 h 228390"/>
                <a:gd name="connsiteX370" fmla="*/ 96093 w 333789"/>
                <a:gd name="connsiteY370" fmla="*/ 66993 h 228390"/>
                <a:gd name="connsiteX371" fmla="*/ 98891 w 333789"/>
                <a:gd name="connsiteY371" fmla="*/ 67103 h 228390"/>
                <a:gd name="connsiteX372" fmla="*/ 108453 w 333789"/>
                <a:gd name="connsiteY372" fmla="*/ 76804 h 228390"/>
                <a:gd name="connsiteX373" fmla="*/ 108919 w 333789"/>
                <a:gd name="connsiteY373" fmla="*/ 78301 h 228390"/>
                <a:gd name="connsiteX374" fmla="*/ 109025 w 333789"/>
                <a:gd name="connsiteY374" fmla="*/ 84670 h 228390"/>
                <a:gd name="connsiteX375" fmla="*/ 107971 w 333789"/>
                <a:gd name="connsiteY375" fmla="*/ 89648 h 228390"/>
                <a:gd name="connsiteX376" fmla="*/ 110351 w 333789"/>
                <a:gd name="connsiteY376" fmla="*/ 91175 h 228390"/>
                <a:gd name="connsiteX377" fmla="*/ 113592 w 333789"/>
                <a:gd name="connsiteY377" fmla="*/ 91747 h 228390"/>
                <a:gd name="connsiteX378" fmla="*/ 118146 w 333789"/>
                <a:gd name="connsiteY378" fmla="*/ 92812 h 228390"/>
                <a:gd name="connsiteX379" fmla="*/ 122525 w 333789"/>
                <a:gd name="connsiteY379" fmla="*/ 94398 h 228390"/>
                <a:gd name="connsiteX380" fmla="*/ 136475 w 333789"/>
                <a:gd name="connsiteY380" fmla="*/ 101111 h 228390"/>
                <a:gd name="connsiteX381" fmla="*/ 138390 w 333789"/>
                <a:gd name="connsiteY381" fmla="*/ 101683 h 228390"/>
                <a:gd name="connsiteX382" fmla="*/ 141206 w 333789"/>
                <a:gd name="connsiteY382" fmla="*/ 101900 h 228390"/>
                <a:gd name="connsiteX383" fmla="*/ 144046 w 333789"/>
                <a:gd name="connsiteY383" fmla="*/ 101811 h 228390"/>
                <a:gd name="connsiteX384" fmla="*/ 145066 w 333789"/>
                <a:gd name="connsiteY384" fmla="*/ 102153 h 228390"/>
                <a:gd name="connsiteX385" fmla="*/ 147183 w 333789"/>
                <a:gd name="connsiteY385" fmla="*/ 103372 h 228390"/>
                <a:gd name="connsiteX386" fmla="*/ 148248 w 333789"/>
                <a:gd name="connsiteY386" fmla="*/ 104167 h 228390"/>
                <a:gd name="connsiteX387" fmla="*/ 150157 w 333789"/>
                <a:gd name="connsiteY387" fmla="*/ 106339 h 228390"/>
                <a:gd name="connsiteX388" fmla="*/ 151861 w 333789"/>
                <a:gd name="connsiteY388" fmla="*/ 108699 h 228390"/>
                <a:gd name="connsiteX389" fmla="*/ 152586 w 333789"/>
                <a:gd name="connsiteY389" fmla="*/ 109373 h 228390"/>
                <a:gd name="connsiteX390" fmla="*/ 153452 w 333789"/>
                <a:gd name="connsiteY390" fmla="*/ 109900 h 228390"/>
                <a:gd name="connsiteX391" fmla="*/ 153949 w 333789"/>
                <a:gd name="connsiteY391" fmla="*/ 111183 h 228390"/>
                <a:gd name="connsiteX392" fmla="*/ 154612 w 333789"/>
                <a:gd name="connsiteY392" fmla="*/ 115138 h 228390"/>
                <a:gd name="connsiteX393" fmla="*/ 154413 w 333789"/>
                <a:gd name="connsiteY393" fmla="*/ 117608 h 228390"/>
                <a:gd name="connsiteX394" fmla="*/ 153638 w 333789"/>
                <a:gd name="connsiteY394" fmla="*/ 118523 h 228390"/>
                <a:gd name="connsiteX395" fmla="*/ 151407 w 333789"/>
                <a:gd name="connsiteY395" fmla="*/ 118968 h 228390"/>
                <a:gd name="connsiteX396" fmla="*/ 143584 w 333789"/>
                <a:gd name="connsiteY396" fmla="*/ 119384 h 228390"/>
                <a:gd name="connsiteX397" fmla="*/ 138352 w 333789"/>
                <a:gd name="connsiteY397" fmla="*/ 118925 h 228390"/>
                <a:gd name="connsiteX398" fmla="*/ 134691 w 333789"/>
                <a:gd name="connsiteY398" fmla="*/ 121421 h 228390"/>
                <a:gd name="connsiteX399" fmla="*/ 134594 w 333789"/>
                <a:gd name="connsiteY399" fmla="*/ 122510 h 228390"/>
                <a:gd name="connsiteX400" fmla="*/ 134849 w 333789"/>
                <a:gd name="connsiteY400" fmla="*/ 123525 h 228390"/>
                <a:gd name="connsiteX401" fmla="*/ 138037 w 333789"/>
                <a:gd name="connsiteY401" fmla="*/ 128818 h 228390"/>
                <a:gd name="connsiteX402" fmla="*/ 139920 w 333789"/>
                <a:gd name="connsiteY402" fmla="*/ 133510 h 228390"/>
                <a:gd name="connsiteX403" fmla="*/ 141470 w 333789"/>
                <a:gd name="connsiteY403" fmla="*/ 135421 h 228390"/>
                <a:gd name="connsiteX404" fmla="*/ 143795 w 333789"/>
                <a:gd name="connsiteY404" fmla="*/ 136971 h 228390"/>
                <a:gd name="connsiteX405" fmla="*/ 145866 w 333789"/>
                <a:gd name="connsiteY405" fmla="*/ 138804 h 228390"/>
                <a:gd name="connsiteX406" fmla="*/ 147771 w 333789"/>
                <a:gd name="connsiteY406" fmla="*/ 140911 h 228390"/>
                <a:gd name="connsiteX407" fmla="*/ 151734 w 333789"/>
                <a:gd name="connsiteY407" fmla="*/ 144588 h 228390"/>
                <a:gd name="connsiteX408" fmla="*/ 153891 w 333789"/>
                <a:gd name="connsiteY408" fmla="*/ 145950 h 228390"/>
                <a:gd name="connsiteX409" fmla="*/ 156417 w 333789"/>
                <a:gd name="connsiteY409" fmla="*/ 146793 h 228390"/>
                <a:gd name="connsiteX410" fmla="*/ 160632 w 333789"/>
                <a:gd name="connsiteY410" fmla="*/ 149647 h 228390"/>
                <a:gd name="connsiteX411" fmla="*/ 161190 w 333789"/>
                <a:gd name="connsiteY411" fmla="*/ 150907 h 228390"/>
                <a:gd name="connsiteX412" fmla="*/ 162395 w 333789"/>
                <a:gd name="connsiteY412" fmla="*/ 154879 h 228390"/>
                <a:gd name="connsiteX413" fmla="*/ 162915 w 333789"/>
                <a:gd name="connsiteY413" fmla="*/ 157573 h 228390"/>
                <a:gd name="connsiteX414" fmla="*/ 162995 w 333789"/>
                <a:gd name="connsiteY414" fmla="*/ 158684 h 228390"/>
                <a:gd name="connsiteX415" fmla="*/ 163288 w 333789"/>
                <a:gd name="connsiteY415" fmla="*/ 159680 h 228390"/>
                <a:gd name="connsiteX416" fmla="*/ 166994 w 333789"/>
                <a:gd name="connsiteY416" fmla="*/ 162123 h 228390"/>
                <a:gd name="connsiteX417" fmla="*/ 167805 w 333789"/>
                <a:gd name="connsiteY417" fmla="*/ 162804 h 228390"/>
                <a:gd name="connsiteX418" fmla="*/ 169458 w 333789"/>
                <a:gd name="connsiteY418" fmla="*/ 168241 h 228390"/>
                <a:gd name="connsiteX419" fmla="*/ 170723 w 333789"/>
                <a:gd name="connsiteY419" fmla="*/ 170764 h 228390"/>
                <a:gd name="connsiteX420" fmla="*/ 172854 w 333789"/>
                <a:gd name="connsiteY420" fmla="*/ 171660 h 228390"/>
                <a:gd name="connsiteX421" fmla="*/ 175338 w 333789"/>
                <a:gd name="connsiteY421" fmla="*/ 171604 h 228390"/>
                <a:gd name="connsiteX422" fmla="*/ 182097 w 333789"/>
                <a:gd name="connsiteY422" fmla="*/ 169987 h 228390"/>
                <a:gd name="connsiteX423" fmla="*/ 183074 w 333789"/>
                <a:gd name="connsiteY423" fmla="*/ 169935 h 228390"/>
                <a:gd name="connsiteX424" fmla="*/ 184327 w 333789"/>
                <a:gd name="connsiteY424" fmla="*/ 170307 h 228390"/>
                <a:gd name="connsiteX425" fmla="*/ 185418 w 333789"/>
                <a:gd name="connsiteY425" fmla="*/ 171193 h 228390"/>
                <a:gd name="connsiteX426" fmla="*/ 185780 w 333789"/>
                <a:gd name="connsiteY426" fmla="*/ 173639 h 228390"/>
                <a:gd name="connsiteX427" fmla="*/ 184722 w 333789"/>
                <a:gd name="connsiteY427" fmla="*/ 176207 h 228390"/>
                <a:gd name="connsiteX428" fmla="*/ 184431 w 333789"/>
                <a:gd name="connsiteY428" fmla="*/ 178681 h 228390"/>
                <a:gd name="connsiteX429" fmla="*/ 185761 w 333789"/>
                <a:gd name="connsiteY429" fmla="*/ 180711 h 228390"/>
                <a:gd name="connsiteX430" fmla="*/ 189201 w 333789"/>
                <a:gd name="connsiteY430" fmla="*/ 182295 h 228390"/>
                <a:gd name="connsiteX431" fmla="*/ 190462 w 333789"/>
                <a:gd name="connsiteY431" fmla="*/ 182728 h 228390"/>
                <a:gd name="connsiteX432" fmla="*/ 196653 w 333789"/>
                <a:gd name="connsiteY432" fmla="*/ 183234 h 228390"/>
                <a:gd name="connsiteX433" fmla="*/ 199083 w 333789"/>
                <a:gd name="connsiteY433" fmla="*/ 183661 h 228390"/>
                <a:gd name="connsiteX434" fmla="*/ 201468 w 333789"/>
                <a:gd name="connsiteY434" fmla="*/ 184345 h 228390"/>
                <a:gd name="connsiteX435" fmla="*/ 202298 w 333789"/>
                <a:gd name="connsiteY435" fmla="*/ 184958 h 228390"/>
                <a:gd name="connsiteX436" fmla="*/ 201715 w 333789"/>
                <a:gd name="connsiteY436" fmla="*/ 186048 h 228390"/>
                <a:gd name="connsiteX437" fmla="*/ 200466 w 333789"/>
                <a:gd name="connsiteY437" fmla="*/ 186579 h 228390"/>
                <a:gd name="connsiteX438" fmla="*/ 199054 w 333789"/>
                <a:gd name="connsiteY438" fmla="*/ 186797 h 228390"/>
                <a:gd name="connsiteX439" fmla="*/ 196774 w 333789"/>
                <a:gd name="connsiteY439" fmla="*/ 187584 h 228390"/>
                <a:gd name="connsiteX440" fmla="*/ 196815 w 333789"/>
                <a:gd name="connsiteY440" fmla="*/ 188986 h 228390"/>
                <a:gd name="connsiteX441" fmla="*/ 198102 w 333789"/>
                <a:gd name="connsiteY441" fmla="*/ 190449 h 228390"/>
                <a:gd name="connsiteX442" fmla="*/ 199276 w 333789"/>
                <a:gd name="connsiteY442" fmla="*/ 192208 h 228390"/>
                <a:gd name="connsiteX443" fmla="*/ 200265 w 333789"/>
                <a:gd name="connsiteY443" fmla="*/ 192847 h 228390"/>
                <a:gd name="connsiteX444" fmla="*/ 201337 w 333789"/>
                <a:gd name="connsiteY444" fmla="*/ 193275 h 228390"/>
                <a:gd name="connsiteX445" fmla="*/ 204012 w 333789"/>
                <a:gd name="connsiteY445" fmla="*/ 193885 h 228390"/>
                <a:gd name="connsiteX446" fmla="*/ 206615 w 333789"/>
                <a:gd name="connsiteY446" fmla="*/ 194723 h 228390"/>
                <a:gd name="connsiteX447" fmla="*/ 208331 w 333789"/>
                <a:gd name="connsiteY447" fmla="*/ 195556 h 228390"/>
                <a:gd name="connsiteX448" fmla="*/ 210104 w 333789"/>
                <a:gd name="connsiteY448" fmla="*/ 196154 h 228390"/>
                <a:gd name="connsiteX449" fmla="*/ 213968 w 333789"/>
                <a:gd name="connsiteY449" fmla="*/ 196536 h 228390"/>
                <a:gd name="connsiteX450" fmla="*/ 216802 w 333789"/>
                <a:gd name="connsiteY450" fmla="*/ 197661 h 228390"/>
                <a:gd name="connsiteX451" fmla="*/ 220839 w 333789"/>
                <a:gd name="connsiteY451" fmla="*/ 197190 h 228390"/>
                <a:gd name="connsiteX452" fmla="*/ 217340 w 333789"/>
                <a:gd name="connsiteY452" fmla="*/ 199019 h 228390"/>
                <a:gd name="connsiteX453" fmla="*/ 216135 w 333789"/>
                <a:gd name="connsiteY453" fmla="*/ 199468 h 228390"/>
                <a:gd name="connsiteX454" fmla="*/ 211917 w 333789"/>
                <a:gd name="connsiteY454" fmla="*/ 198783 h 228390"/>
                <a:gd name="connsiteX455" fmla="*/ 211125 w 333789"/>
                <a:gd name="connsiteY455" fmla="*/ 199496 h 228390"/>
                <a:gd name="connsiteX456" fmla="*/ 212863 w 333789"/>
                <a:gd name="connsiteY456" fmla="*/ 201430 h 228390"/>
                <a:gd name="connsiteX457" fmla="*/ 215442 w 333789"/>
                <a:gd name="connsiteY457" fmla="*/ 202733 h 228390"/>
                <a:gd name="connsiteX458" fmla="*/ 216364 w 333789"/>
                <a:gd name="connsiteY458" fmla="*/ 203490 h 228390"/>
                <a:gd name="connsiteX459" fmla="*/ 215718 w 333789"/>
                <a:gd name="connsiteY459" fmla="*/ 204377 h 228390"/>
                <a:gd name="connsiteX460" fmla="*/ 212721 w 333789"/>
                <a:gd name="connsiteY460" fmla="*/ 206149 h 228390"/>
                <a:gd name="connsiteX461" fmla="*/ 211469 w 333789"/>
                <a:gd name="connsiteY461" fmla="*/ 206409 h 228390"/>
                <a:gd name="connsiteX462" fmla="*/ 209128 w 333789"/>
                <a:gd name="connsiteY462" fmla="*/ 206551 h 228390"/>
                <a:gd name="connsiteX463" fmla="*/ 205202 w 333789"/>
                <a:gd name="connsiteY463" fmla="*/ 205787 h 228390"/>
                <a:gd name="connsiteX464" fmla="*/ 202425 w 333789"/>
                <a:gd name="connsiteY464" fmla="*/ 204813 h 228390"/>
                <a:gd name="connsiteX465" fmla="*/ 201645 w 333789"/>
                <a:gd name="connsiteY465" fmla="*/ 203484 h 228390"/>
                <a:gd name="connsiteX466" fmla="*/ 200905 w 333789"/>
                <a:gd name="connsiteY466" fmla="*/ 202700 h 228390"/>
                <a:gd name="connsiteX467" fmla="*/ 198400 w 333789"/>
                <a:gd name="connsiteY467" fmla="*/ 200827 h 228390"/>
                <a:gd name="connsiteX468" fmla="*/ 196616 w 333789"/>
                <a:gd name="connsiteY468" fmla="*/ 199804 h 228390"/>
                <a:gd name="connsiteX469" fmla="*/ 194345 w 333789"/>
                <a:gd name="connsiteY469" fmla="*/ 199457 h 228390"/>
                <a:gd name="connsiteX470" fmla="*/ 191978 w 333789"/>
                <a:gd name="connsiteY470" fmla="*/ 199479 h 228390"/>
                <a:gd name="connsiteX471" fmla="*/ 187739 w 333789"/>
                <a:gd name="connsiteY471" fmla="*/ 198390 h 228390"/>
                <a:gd name="connsiteX472" fmla="*/ 178544 w 333789"/>
                <a:gd name="connsiteY472" fmla="*/ 197618 h 228390"/>
                <a:gd name="connsiteX473" fmla="*/ 176352 w 333789"/>
                <a:gd name="connsiteY473" fmla="*/ 197144 h 228390"/>
                <a:gd name="connsiteX474" fmla="*/ 173593 w 333789"/>
                <a:gd name="connsiteY474" fmla="*/ 195645 h 228390"/>
                <a:gd name="connsiteX475" fmla="*/ 172295 w 333789"/>
                <a:gd name="connsiteY475" fmla="*/ 195432 h 228390"/>
                <a:gd name="connsiteX476" fmla="*/ 170902 w 333789"/>
                <a:gd name="connsiteY476" fmla="*/ 195903 h 228390"/>
                <a:gd name="connsiteX477" fmla="*/ 167350 w 333789"/>
                <a:gd name="connsiteY477" fmla="*/ 196193 h 228390"/>
                <a:gd name="connsiteX478" fmla="*/ 166307 w 333789"/>
                <a:gd name="connsiteY478" fmla="*/ 196060 h 228390"/>
                <a:gd name="connsiteX479" fmla="*/ 163772 w 333789"/>
                <a:gd name="connsiteY479" fmla="*/ 194782 h 228390"/>
                <a:gd name="connsiteX480" fmla="*/ 161157 w 333789"/>
                <a:gd name="connsiteY480" fmla="*/ 194315 h 228390"/>
                <a:gd name="connsiteX481" fmla="*/ 160069 w 333789"/>
                <a:gd name="connsiteY481" fmla="*/ 194699 h 228390"/>
                <a:gd name="connsiteX482" fmla="*/ 158965 w 333789"/>
                <a:gd name="connsiteY482" fmla="*/ 194784 h 228390"/>
                <a:gd name="connsiteX483" fmla="*/ 155400 w 333789"/>
                <a:gd name="connsiteY483" fmla="*/ 193870 h 228390"/>
                <a:gd name="connsiteX484" fmla="*/ 152713 w 333789"/>
                <a:gd name="connsiteY484" fmla="*/ 193484 h 228390"/>
                <a:gd name="connsiteX485" fmla="*/ 150507 w 333789"/>
                <a:gd name="connsiteY485" fmla="*/ 192210 h 228390"/>
                <a:gd name="connsiteX486" fmla="*/ 149302 w 333789"/>
                <a:gd name="connsiteY486" fmla="*/ 191020 h 228390"/>
                <a:gd name="connsiteX487" fmla="*/ 147948 w 333789"/>
                <a:gd name="connsiteY487" fmla="*/ 189962 h 228390"/>
                <a:gd name="connsiteX488" fmla="*/ 146696 w 333789"/>
                <a:gd name="connsiteY488" fmla="*/ 187240 h 228390"/>
                <a:gd name="connsiteX489" fmla="*/ 144746 w 333789"/>
                <a:gd name="connsiteY489" fmla="*/ 184657 h 228390"/>
                <a:gd name="connsiteX490" fmla="*/ 142327 w 333789"/>
                <a:gd name="connsiteY490" fmla="*/ 182535 h 228390"/>
                <a:gd name="connsiteX491" fmla="*/ 137142 w 333789"/>
                <a:gd name="connsiteY491" fmla="*/ 179110 h 228390"/>
                <a:gd name="connsiteX492" fmla="*/ 136097 w 333789"/>
                <a:gd name="connsiteY492" fmla="*/ 178259 h 228390"/>
                <a:gd name="connsiteX493" fmla="*/ 134067 w 333789"/>
                <a:gd name="connsiteY493" fmla="*/ 175120 h 228390"/>
                <a:gd name="connsiteX494" fmla="*/ 134178 w 333789"/>
                <a:gd name="connsiteY494" fmla="*/ 173041 h 228390"/>
                <a:gd name="connsiteX495" fmla="*/ 134916 w 333789"/>
                <a:gd name="connsiteY495" fmla="*/ 170938 h 228390"/>
                <a:gd name="connsiteX496" fmla="*/ 133800 w 333789"/>
                <a:gd name="connsiteY496" fmla="*/ 171654 h 228390"/>
                <a:gd name="connsiteX497" fmla="*/ 132539 w 333789"/>
                <a:gd name="connsiteY497" fmla="*/ 171565 h 228390"/>
                <a:gd name="connsiteX498" fmla="*/ 129008 w 333789"/>
                <a:gd name="connsiteY498" fmla="*/ 170176 h 228390"/>
                <a:gd name="connsiteX499" fmla="*/ 127554 w 333789"/>
                <a:gd name="connsiteY499" fmla="*/ 168522 h 228390"/>
                <a:gd name="connsiteX500" fmla="*/ 125195 w 333789"/>
                <a:gd name="connsiteY500" fmla="*/ 164033 h 228390"/>
                <a:gd name="connsiteX501" fmla="*/ 123685 w 333789"/>
                <a:gd name="connsiteY501" fmla="*/ 161668 h 228390"/>
                <a:gd name="connsiteX502" fmla="*/ 120161 w 333789"/>
                <a:gd name="connsiteY502" fmla="*/ 157482 h 228390"/>
                <a:gd name="connsiteX503" fmla="*/ 119146 w 333789"/>
                <a:gd name="connsiteY503" fmla="*/ 154996 h 228390"/>
                <a:gd name="connsiteX504" fmla="*/ 117676 w 333789"/>
                <a:gd name="connsiteY504" fmla="*/ 152824 h 228390"/>
                <a:gd name="connsiteX505" fmla="*/ 116767 w 333789"/>
                <a:gd name="connsiteY505" fmla="*/ 152020 h 228390"/>
                <a:gd name="connsiteX506" fmla="*/ 116011 w 333789"/>
                <a:gd name="connsiteY506" fmla="*/ 151090 h 228390"/>
                <a:gd name="connsiteX507" fmla="*/ 115341 w 333789"/>
                <a:gd name="connsiteY507" fmla="*/ 149882 h 228390"/>
                <a:gd name="connsiteX508" fmla="*/ 114339 w 333789"/>
                <a:gd name="connsiteY508" fmla="*/ 149041 h 228390"/>
                <a:gd name="connsiteX509" fmla="*/ 109424 w 333789"/>
                <a:gd name="connsiteY509" fmla="*/ 147180 h 228390"/>
                <a:gd name="connsiteX510" fmla="*/ 108559 w 333789"/>
                <a:gd name="connsiteY510" fmla="*/ 146594 h 228390"/>
                <a:gd name="connsiteX511" fmla="*/ 107606 w 333789"/>
                <a:gd name="connsiteY511" fmla="*/ 146283 h 228390"/>
                <a:gd name="connsiteX512" fmla="*/ 103950 w 333789"/>
                <a:gd name="connsiteY512" fmla="*/ 146092 h 228390"/>
                <a:gd name="connsiteX513" fmla="*/ 101837 w 333789"/>
                <a:gd name="connsiteY513" fmla="*/ 145785 h 228390"/>
                <a:gd name="connsiteX514" fmla="*/ 97851 w 333789"/>
                <a:gd name="connsiteY514" fmla="*/ 144263 h 228390"/>
                <a:gd name="connsiteX515" fmla="*/ 95790 w 333789"/>
                <a:gd name="connsiteY515" fmla="*/ 143806 h 228390"/>
                <a:gd name="connsiteX516" fmla="*/ 93313 w 333789"/>
                <a:gd name="connsiteY516" fmla="*/ 143517 h 228390"/>
                <a:gd name="connsiteX517" fmla="*/ 90914 w 333789"/>
                <a:gd name="connsiteY517" fmla="*/ 142939 h 228390"/>
                <a:gd name="connsiteX518" fmla="*/ 89744 w 333789"/>
                <a:gd name="connsiteY518" fmla="*/ 142372 h 228390"/>
                <a:gd name="connsiteX519" fmla="*/ 88958 w 333789"/>
                <a:gd name="connsiteY519" fmla="*/ 141415 h 228390"/>
                <a:gd name="connsiteX520" fmla="*/ 88492 w 333789"/>
                <a:gd name="connsiteY520" fmla="*/ 139145 h 228390"/>
                <a:gd name="connsiteX521" fmla="*/ 86483 w 333789"/>
                <a:gd name="connsiteY521" fmla="*/ 139388 h 228390"/>
                <a:gd name="connsiteX522" fmla="*/ 84514 w 333789"/>
                <a:gd name="connsiteY522" fmla="*/ 138995 h 228390"/>
                <a:gd name="connsiteX523" fmla="*/ 82603 w 333789"/>
                <a:gd name="connsiteY523" fmla="*/ 138198 h 228390"/>
                <a:gd name="connsiteX524" fmla="*/ 80655 w 333789"/>
                <a:gd name="connsiteY524" fmla="*/ 137718 h 228390"/>
                <a:gd name="connsiteX525" fmla="*/ 79325 w 333789"/>
                <a:gd name="connsiteY525" fmla="*/ 138402 h 228390"/>
                <a:gd name="connsiteX526" fmla="*/ 78917 w 333789"/>
                <a:gd name="connsiteY526" fmla="*/ 140209 h 228390"/>
                <a:gd name="connsiteX527" fmla="*/ 78301 w 333789"/>
                <a:gd name="connsiteY527" fmla="*/ 140303 h 228390"/>
                <a:gd name="connsiteX528" fmla="*/ 77161 w 333789"/>
                <a:gd name="connsiteY528" fmla="*/ 139933 h 228390"/>
                <a:gd name="connsiteX529" fmla="*/ 76593 w 333789"/>
                <a:gd name="connsiteY529" fmla="*/ 140150 h 228390"/>
                <a:gd name="connsiteX530" fmla="*/ 75356 w 333789"/>
                <a:gd name="connsiteY530" fmla="*/ 140984 h 228390"/>
                <a:gd name="connsiteX531" fmla="*/ 74365 w 333789"/>
                <a:gd name="connsiteY531" fmla="*/ 142112 h 228390"/>
                <a:gd name="connsiteX532" fmla="*/ 72540 w 333789"/>
                <a:gd name="connsiteY532" fmla="*/ 141940 h 228390"/>
                <a:gd name="connsiteX533" fmla="*/ 68798 w 333789"/>
                <a:gd name="connsiteY533" fmla="*/ 140800 h 228390"/>
                <a:gd name="connsiteX534" fmla="*/ 67131 w 333789"/>
                <a:gd name="connsiteY534" fmla="*/ 140085 h 228390"/>
                <a:gd name="connsiteX535" fmla="*/ 65714 w 333789"/>
                <a:gd name="connsiteY535" fmla="*/ 138798 h 228390"/>
                <a:gd name="connsiteX536" fmla="*/ 64496 w 333789"/>
                <a:gd name="connsiteY536" fmla="*/ 137334 h 228390"/>
                <a:gd name="connsiteX537" fmla="*/ 63264 w 333789"/>
                <a:gd name="connsiteY537" fmla="*/ 136181 h 228390"/>
                <a:gd name="connsiteX538" fmla="*/ 61749 w 333789"/>
                <a:gd name="connsiteY538" fmla="*/ 135339 h 228390"/>
                <a:gd name="connsiteX539" fmla="*/ 63678 w 333789"/>
                <a:gd name="connsiteY539" fmla="*/ 137327 h 228390"/>
                <a:gd name="connsiteX540" fmla="*/ 68105 w 333789"/>
                <a:gd name="connsiteY540" fmla="*/ 146100 h 228390"/>
                <a:gd name="connsiteX541" fmla="*/ 66997 w 333789"/>
                <a:gd name="connsiteY541" fmla="*/ 146270 h 228390"/>
                <a:gd name="connsiteX542" fmla="*/ 65857 w 333789"/>
                <a:gd name="connsiteY542" fmla="*/ 146048 h 228390"/>
                <a:gd name="connsiteX543" fmla="*/ 66904 w 333789"/>
                <a:gd name="connsiteY543" fmla="*/ 147734 h 228390"/>
                <a:gd name="connsiteX544" fmla="*/ 65697 w 333789"/>
                <a:gd name="connsiteY544" fmla="*/ 147989 h 228390"/>
                <a:gd name="connsiteX545" fmla="*/ 64501 w 333789"/>
                <a:gd name="connsiteY545" fmla="*/ 147969 h 228390"/>
                <a:gd name="connsiteX546" fmla="*/ 61974 w 333789"/>
                <a:gd name="connsiteY546" fmla="*/ 147241 h 228390"/>
                <a:gd name="connsiteX547" fmla="*/ 59465 w 333789"/>
                <a:gd name="connsiteY547" fmla="*/ 147000 h 228390"/>
                <a:gd name="connsiteX548" fmla="*/ 58727 w 333789"/>
                <a:gd name="connsiteY548" fmla="*/ 147357 h 228390"/>
                <a:gd name="connsiteX549" fmla="*/ 59258 w 333789"/>
                <a:gd name="connsiteY549" fmla="*/ 147989 h 228390"/>
                <a:gd name="connsiteX550" fmla="*/ 60139 w 333789"/>
                <a:gd name="connsiteY550" fmla="*/ 149849 h 228390"/>
                <a:gd name="connsiteX551" fmla="*/ 60841 w 333789"/>
                <a:gd name="connsiteY551" fmla="*/ 151801 h 228390"/>
                <a:gd name="connsiteX552" fmla="*/ 57219 w 333789"/>
                <a:gd name="connsiteY552" fmla="*/ 152679 h 228390"/>
                <a:gd name="connsiteX553" fmla="*/ 53505 w 333789"/>
                <a:gd name="connsiteY553" fmla="*/ 153214 h 228390"/>
                <a:gd name="connsiteX554" fmla="*/ 49368 w 333789"/>
                <a:gd name="connsiteY554" fmla="*/ 154268 h 228390"/>
                <a:gd name="connsiteX555" fmla="*/ 45179 w 333789"/>
                <a:gd name="connsiteY555" fmla="*/ 154340 h 228390"/>
                <a:gd name="connsiteX556" fmla="*/ 43030 w 333789"/>
                <a:gd name="connsiteY556" fmla="*/ 153740 h 228390"/>
                <a:gd name="connsiteX557" fmla="*/ 40825 w 333789"/>
                <a:gd name="connsiteY557" fmla="*/ 153401 h 228390"/>
                <a:gd name="connsiteX558" fmla="*/ 38757 w 333789"/>
                <a:gd name="connsiteY558" fmla="*/ 153740 h 228390"/>
                <a:gd name="connsiteX559" fmla="*/ 36746 w 333789"/>
                <a:gd name="connsiteY559" fmla="*/ 154501 h 228390"/>
                <a:gd name="connsiteX560" fmla="*/ 35053 w 333789"/>
                <a:gd name="connsiteY560" fmla="*/ 154379 h 228390"/>
                <a:gd name="connsiteX561" fmla="*/ 33984 w 333789"/>
                <a:gd name="connsiteY561" fmla="*/ 153009 h 228390"/>
                <a:gd name="connsiteX562" fmla="*/ 33481 w 333789"/>
                <a:gd name="connsiteY562" fmla="*/ 151970 h 228390"/>
                <a:gd name="connsiteX563" fmla="*/ 32839 w 333789"/>
                <a:gd name="connsiteY563" fmla="*/ 151068 h 228390"/>
                <a:gd name="connsiteX564" fmla="*/ 31257 w 333789"/>
                <a:gd name="connsiteY564" fmla="*/ 151212 h 228390"/>
                <a:gd name="connsiteX565" fmla="*/ 29730 w 333789"/>
                <a:gd name="connsiteY565" fmla="*/ 151699 h 228390"/>
                <a:gd name="connsiteX566" fmla="*/ 32345 w 333789"/>
                <a:gd name="connsiteY566" fmla="*/ 151755 h 228390"/>
                <a:gd name="connsiteX567" fmla="*/ 33129 w 333789"/>
                <a:gd name="connsiteY567" fmla="*/ 152905 h 228390"/>
                <a:gd name="connsiteX568" fmla="*/ 33803 w 333789"/>
                <a:gd name="connsiteY568" fmla="*/ 154301 h 228390"/>
                <a:gd name="connsiteX569" fmla="*/ 35655 w 333789"/>
                <a:gd name="connsiteY569" fmla="*/ 155564 h 228390"/>
                <a:gd name="connsiteX570" fmla="*/ 37892 w 333789"/>
                <a:gd name="connsiteY570" fmla="*/ 154812 h 228390"/>
                <a:gd name="connsiteX571" fmla="*/ 42801 w 333789"/>
                <a:gd name="connsiteY571" fmla="*/ 155020 h 228390"/>
                <a:gd name="connsiteX572" fmla="*/ 47571 w 333789"/>
                <a:gd name="connsiteY572" fmla="*/ 157221 h 228390"/>
                <a:gd name="connsiteX573" fmla="*/ 48703 w 333789"/>
                <a:gd name="connsiteY573" fmla="*/ 157473 h 228390"/>
                <a:gd name="connsiteX574" fmla="*/ 49741 w 333789"/>
                <a:gd name="connsiteY574" fmla="*/ 157904 h 228390"/>
                <a:gd name="connsiteX575" fmla="*/ 52199 w 333789"/>
                <a:gd name="connsiteY575" fmla="*/ 160078 h 228390"/>
                <a:gd name="connsiteX576" fmla="*/ 54051 w 333789"/>
                <a:gd name="connsiteY576" fmla="*/ 162055 h 228390"/>
                <a:gd name="connsiteX577" fmla="*/ 55611 w 333789"/>
                <a:gd name="connsiteY577" fmla="*/ 164311 h 228390"/>
                <a:gd name="connsiteX578" fmla="*/ 55941 w 333789"/>
                <a:gd name="connsiteY578" fmla="*/ 165195 h 228390"/>
                <a:gd name="connsiteX579" fmla="*/ 55837 w 333789"/>
                <a:gd name="connsiteY579" fmla="*/ 167564 h 228390"/>
                <a:gd name="connsiteX580" fmla="*/ 55367 w 333789"/>
                <a:gd name="connsiteY580" fmla="*/ 168742 h 228390"/>
                <a:gd name="connsiteX581" fmla="*/ 52285 w 333789"/>
                <a:gd name="connsiteY581" fmla="*/ 170411 h 228390"/>
                <a:gd name="connsiteX582" fmla="*/ 48998 w 333789"/>
                <a:gd name="connsiteY582" fmla="*/ 171671 h 228390"/>
                <a:gd name="connsiteX583" fmla="*/ 44155 w 333789"/>
                <a:gd name="connsiteY583" fmla="*/ 174127 h 228390"/>
                <a:gd name="connsiteX584" fmla="*/ 39467 w 333789"/>
                <a:gd name="connsiteY584" fmla="*/ 176919 h 228390"/>
                <a:gd name="connsiteX585" fmla="*/ 37003 w 333789"/>
                <a:gd name="connsiteY585" fmla="*/ 176372 h 228390"/>
                <a:gd name="connsiteX586" fmla="*/ 34781 w 333789"/>
                <a:gd name="connsiteY586" fmla="*/ 174894 h 228390"/>
                <a:gd name="connsiteX587" fmla="*/ 33920 w 333789"/>
                <a:gd name="connsiteY587" fmla="*/ 174493 h 228390"/>
                <a:gd name="connsiteX588" fmla="*/ 31631 w 333789"/>
                <a:gd name="connsiteY588" fmla="*/ 173687 h 228390"/>
                <a:gd name="connsiteX589" fmla="*/ 30233 w 333789"/>
                <a:gd name="connsiteY589" fmla="*/ 173398 h 228390"/>
                <a:gd name="connsiteX590" fmla="*/ 24690 w 333789"/>
                <a:gd name="connsiteY590" fmla="*/ 174027 h 228390"/>
                <a:gd name="connsiteX591" fmla="*/ 19128 w 333789"/>
                <a:gd name="connsiteY591" fmla="*/ 174349 h 228390"/>
                <a:gd name="connsiteX592" fmla="*/ 16789 w 333789"/>
                <a:gd name="connsiteY592" fmla="*/ 174321 h 228390"/>
                <a:gd name="connsiteX593" fmla="*/ 14516 w 333789"/>
                <a:gd name="connsiteY593" fmla="*/ 173849 h 228390"/>
                <a:gd name="connsiteX594" fmla="*/ 12015 w 333789"/>
                <a:gd name="connsiteY594" fmla="*/ 172969 h 228390"/>
                <a:gd name="connsiteX595" fmla="*/ 9538 w 333789"/>
                <a:gd name="connsiteY595" fmla="*/ 173359 h 228390"/>
                <a:gd name="connsiteX596" fmla="*/ 7842 w 333789"/>
                <a:gd name="connsiteY596" fmla="*/ 174391 h 228390"/>
                <a:gd name="connsiteX597" fmla="*/ 5990 w 333789"/>
                <a:gd name="connsiteY597" fmla="*/ 174543 h 228390"/>
                <a:gd name="connsiteX598" fmla="*/ 2518 w 333789"/>
                <a:gd name="connsiteY598" fmla="*/ 172257 h 228390"/>
                <a:gd name="connsiteX599" fmla="*/ 2513 w 333789"/>
                <a:gd name="connsiteY599" fmla="*/ 171963 h 228390"/>
                <a:gd name="connsiteX600" fmla="*/ 2513 w 333789"/>
                <a:gd name="connsiteY600" fmla="*/ 167432 h 228390"/>
                <a:gd name="connsiteX601" fmla="*/ 2511 w 333789"/>
                <a:gd name="connsiteY601" fmla="*/ 162902 h 228390"/>
                <a:gd name="connsiteX602" fmla="*/ 2509 w 333789"/>
                <a:gd name="connsiteY602" fmla="*/ 158375 h 228390"/>
                <a:gd name="connsiteX603" fmla="*/ 2507 w 333789"/>
                <a:gd name="connsiteY603" fmla="*/ 153848 h 228390"/>
                <a:gd name="connsiteX604" fmla="*/ 2505 w 333789"/>
                <a:gd name="connsiteY604" fmla="*/ 149323 h 228390"/>
                <a:gd name="connsiteX605" fmla="*/ 2505 w 333789"/>
                <a:gd name="connsiteY605" fmla="*/ 144799 h 228390"/>
                <a:gd name="connsiteX606" fmla="*/ 2503 w 333789"/>
                <a:gd name="connsiteY606" fmla="*/ 140279 h 228390"/>
                <a:gd name="connsiteX607" fmla="*/ 2501 w 333789"/>
                <a:gd name="connsiteY607" fmla="*/ 135758 h 228390"/>
                <a:gd name="connsiteX608" fmla="*/ 2498 w 333789"/>
                <a:gd name="connsiteY608" fmla="*/ 131238 h 228390"/>
                <a:gd name="connsiteX609" fmla="*/ 2496 w 333789"/>
                <a:gd name="connsiteY609" fmla="*/ 126719 h 228390"/>
                <a:gd name="connsiteX610" fmla="*/ 2496 w 333789"/>
                <a:gd name="connsiteY610" fmla="*/ 123005 h 228390"/>
                <a:gd name="connsiteX611" fmla="*/ 1265 w 333789"/>
                <a:gd name="connsiteY611" fmla="*/ 121553 h 228390"/>
                <a:gd name="connsiteX612" fmla="*/ 0 w 333789"/>
                <a:gd name="connsiteY612" fmla="*/ 119332 h 228390"/>
                <a:gd name="connsiteX613" fmla="*/ 271 w 333789"/>
                <a:gd name="connsiteY613" fmla="*/ 116478 h 228390"/>
                <a:gd name="connsiteX614" fmla="*/ 1807 w 333789"/>
                <a:gd name="connsiteY614" fmla="*/ 112942 h 228390"/>
                <a:gd name="connsiteX615" fmla="*/ 2492 w 333789"/>
                <a:gd name="connsiteY615" fmla="*/ 110585 h 228390"/>
                <a:gd name="connsiteX616" fmla="*/ 2492 w 333789"/>
                <a:gd name="connsiteY616" fmla="*/ 108660 h 228390"/>
                <a:gd name="connsiteX617" fmla="*/ 2490 w 333789"/>
                <a:gd name="connsiteY617" fmla="*/ 104149 h 228390"/>
                <a:gd name="connsiteX618" fmla="*/ 2488 w 333789"/>
                <a:gd name="connsiteY618" fmla="*/ 99638 h 228390"/>
                <a:gd name="connsiteX619" fmla="*/ 2485 w 333789"/>
                <a:gd name="connsiteY619" fmla="*/ 95128 h 228390"/>
                <a:gd name="connsiteX620" fmla="*/ 2483 w 333789"/>
                <a:gd name="connsiteY620" fmla="*/ 90618 h 228390"/>
                <a:gd name="connsiteX621" fmla="*/ 2483 w 333789"/>
                <a:gd name="connsiteY621" fmla="*/ 86112 h 228390"/>
                <a:gd name="connsiteX622" fmla="*/ 2481 w 333789"/>
                <a:gd name="connsiteY622" fmla="*/ 81605 h 228390"/>
                <a:gd name="connsiteX623" fmla="*/ 2478 w 333789"/>
                <a:gd name="connsiteY623" fmla="*/ 77098 h 228390"/>
                <a:gd name="connsiteX624" fmla="*/ 2477 w 333789"/>
                <a:gd name="connsiteY624" fmla="*/ 72592 h 228390"/>
                <a:gd name="connsiteX625" fmla="*/ 2474 w 333789"/>
                <a:gd name="connsiteY625" fmla="*/ 68090 h 228390"/>
                <a:gd name="connsiteX626" fmla="*/ 2474 w 333789"/>
                <a:gd name="connsiteY626" fmla="*/ 63586 h 228390"/>
                <a:gd name="connsiteX627" fmla="*/ 2471 w 333789"/>
                <a:gd name="connsiteY627" fmla="*/ 59082 h 228390"/>
                <a:gd name="connsiteX628" fmla="*/ 2471 w 333789"/>
                <a:gd name="connsiteY628" fmla="*/ 54580 h 228390"/>
                <a:gd name="connsiteX629" fmla="*/ 2467 w 333789"/>
                <a:gd name="connsiteY629" fmla="*/ 50080 h 228390"/>
                <a:gd name="connsiteX630" fmla="*/ 2466 w 333789"/>
                <a:gd name="connsiteY630" fmla="*/ 45579 h 228390"/>
                <a:gd name="connsiteX631" fmla="*/ 2464 w 333789"/>
                <a:gd name="connsiteY631" fmla="*/ 41078 h 228390"/>
                <a:gd name="connsiteX632" fmla="*/ 2461 w 333789"/>
                <a:gd name="connsiteY632" fmla="*/ 36578 h 228390"/>
                <a:gd name="connsiteX633" fmla="*/ 2460 w 333789"/>
                <a:gd name="connsiteY633" fmla="*/ 32081 h 228390"/>
                <a:gd name="connsiteX634" fmla="*/ 2457 w 333789"/>
                <a:gd name="connsiteY634" fmla="*/ 29373 h 228390"/>
                <a:gd name="connsiteX635" fmla="*/ 2457 w 333789"/>
                <a:gd name="connsiteY635" fmla="*/ 27880 h 228390"/>
                <a:gd name="connsiteX636" fmla="*/ 220305 w 333789"/>
                <a:gd name="connsiteY636" fmla="*/ 26981 h 228390"/>
                <a:gd name="connsiteX637" fmla="*/ 224062 w 333789"/>
                <a:gd name="connsiteY637" fmla="*/ 29533 h 228390"/>
                <a:gd name="connsiteX638" fmla="*/ 228027 w 333789"/>
                <a:gd name="connsiteY638" fmla="*/ 31763 h 228390"/>
                <a:gd name="connsiteX639" fmla="*/ 229173 w 333789"/>
                <a:gd name="connsiteY639" fmla="*/ 33561 h 228390"/>
                <a:gd name="connsiteX640" fmla="*/ 231126 w 333789"/>
                <a:gd name="connsiteY640" fmla="*/ 33671 h 228390"/>
                <a:gd name="connsiteX641" fmla="*/ 234677 w 333789"/>
                <a:gd name="connsiteY641" fmla="*/ 35158 h 228390"/>
                <a:gd name="connsiteX642" fmla="*/ 237117 w 333789"/>
                <a:gd name="connsiteY642" fmla="*/ 36498 h 228390"/>
                <a:gd name="connsiteX643" fmla="*/ 239420 w 333789"/>
                <a:gd name="connsiteY643" fmla="*/ 38043 h 228390"/>
                <a:gd name="connsiteX644" fmla="*/ 242013 w 333789"/>
                <a:gd name="connsiteY644" fmla="*/ 40256 h 228390"/>
                <a:gd name="connsiteX645" fmla="*/ 247005 w 333789"/>
                <a:gd name="connsiteY645" fmla="*/ 41994 h 228390"/>
                <a:gd name="connsiteX646" fmla="*/ 247716 w 333789"/>
                <a:gd name="connsiteY646" fmla="*/ 42626 h 228390"/>
                <a:gd name="connsiteX647" fmla="*/ 250245 w 333789"/>
                <a:gd name="connsiteY647" fmla="*/ 45514 h 228390"/>
                <a:gd name="connsiteX648" fmla="*/ 253564 w 333789"/>
                <a:gd name="connsiteY648" fmla="*/ 47963 h 228390"/>
                <a:gd name="connsiteX649" fmla="*/ 254691 w 333789"/>
                <a:gd name="connsiteY649" fmla="*/ 49313 h 228390"/>
                <a:gd name="connsiteX650" fmla="*/ 268761 w 333789"/>
                <a:gd name="connsiteY650" fmla="*/ 60910 h 228390"/>
                <a:gd name="connsiteX651" fmla="*/ 271137 w 333789"/>
                <a:gd name="connsiteY651" fmla="*/ 64159 h 228390"/>
                <a:gd name="connsiteX652" fmla="*/ 271320 w 333789"/>
                <a:gd name="connsiteY652" fmla="*/ 66376 h 228390"/>
                <a:gd name="connsiteX653" fmla="*/ 270856 w 333789"/>
                <a:gd name="connsiteY653" fmla="*/ 67246 h 228390"/>
                <a:gd name="connsiteX654" fmla="*/ 269371 w 333789"/>
                <a:gd name="connsiteY654" fmla="*/ 69122 h 228390"/>
                <a:gd name="connsiteX655" fmla="*/ 269398 w 333789"/>
                <a:gd name="connsiteY655" fmla="*/ 71337 h 228390"/>
                <a:gd name="connsiteX656" fmla="*/ 268904 w 333789"/>
                <a:gd name="connsiteY656" fmla="*/ 73330 h 228390"/>
                <a:gd name="connsiteX657" fmla="*/ 267634 w 333789"/>
                <a:gd name="connsiteY657" fmla="*/ 75326 h 228390"/>
                <a:gd name="connsiteX658" fmla="*/ 265995 w 333789"/>
                <a:gd name="connsiteY658" fmla="*/ 77012 h 228390"/>
                <a:gd name="connsiteX659" fmla="*/ 264976 w 333789"/>
                <a:gd name="connsiteY659" fmla="*/ 75440 h 228390"/>
                <a:gd name="connsiteX660" fmla="*/ 263669 w 333789"/>
                <a:gd name="connsiteY660" fmla="*/ 74064 h 228390"/>
                <a:gd name="connsiteX661" fmla="*/ 262639 w 333789"/>
                <a:gd name="connsiteY661" fmla="*/ 72655 h 228390"/>
                <a:gd name="connsiteX662" fmla="*/ 261329 w 333789"/>
                <a:gd name="connsiteY662" fmla="*/ 69611 h 228390"/>
                <a:gd name="connsiteX663" fmla="*/ 261264 w 333789"/>
                <a:gd name="connsiteY663" fmla="*/ 68077 h 228390"/>
                <a:gd name="connsiteX664" fmla="*/ 261610 w 333789"/>
                <a:gd name="connsiteY664" fmla="*/ 66454 h 228390"/>
                <a:gd name="connsiteX665" fmla="*/ 261685 w 333789"/>
                <a:gd name="connsiteY665" fmla="*/ 64817 h 228390"/>
                <a:gd name="connsiteX666" fmla="*/ 261052 w 333789"/>
                <a:gd name="connsiteY666" fmla="*/ 61490 h 228390"/>
                <a:gd name="connsiteX667" fmla="*/ 259511 w 333789"/>
                <a:gd name="connsiteY667" fmla="*/ 58455 h 228390"/>
                <a:gd name="connsiteX668" fmla="*/ 254144 w 333789"/>
                <a:gd name="connsiteY668" fmla="*/ 51222 h 228390"/>
                <a:gd name="connsiteX669" fmla="*/ 252455 w 333789"/>
                <a:gd name="connsiteY669" fmla="*/ 49323 h 228390"/>
                <a:gd name="connsiteX670" fmla="*/ 250528 w 333789"/>
                <a:gd name="connsiteY670" fmla="*/ 47628 h 228390"/>
                <a:gd name="connsiteX671" fmla="*/ 249292 w 333789"/>
                <a:gd name="connsiteY671" fmla="*/ 47213 h 228390"/>
                <a:gd name="connsiteX672" fmla="*/ 246791 w 333789"/>
                <a:gd name="connsiteY672" fmla="*/ 46806 h 228390"/>
                <a:gd name="connsiteX673" fmla="*/ 245680 w 333789"/>
                <a:gd name="connsiteY673" fmla="*/ 46467 h 228390"/>
                <a:gd name="connsiteX674" fmla="*/ 243619 w 333789"/>
                <a:gd name="connsiteY674" fmla="*/ 45287 h 228390"/>
                <a:gd name="connsiteX675" fmla="*/ 241704 w 333789"/>
                <a:gd name="connsiteY675" fmla="*/ 43910 h 228390"/>
                <a:gd name="connsiteX676" fmla="*/ 236958 w 333789"/>
                <a:gd name="connsiteY676" fmla="*/ 39829 h 228390"/>
                <a:gd name="connsiteX677" fmla="*/ 234449 w 333789"/>
                <a:gd name="connsiteY677" fmla="*/ 38674 h 228390"/>
                <a:gd name="connsiteX678" fmla="*/ 233123 w 333789"/>
                <a:gd name="connsiteY678" fmla="*/ 37248 h 228390"/>
                <a:gd name="connsiteX679" fmla="*/ 225643 w 333789"/>
                <a:gd name="connsiteY679" fmla="*/ 32647 h 228390"/>
                <a:gd name="connsiteX680" fmla="*/ 223459 w 333789"/>
                <a:gd name="connsiteY680" fmla="*/ 31560 h 228390"/>
                <a:gd name="connsiteX681" fmla="*/ 220801 w 333789"/>
                <a:gd name="connsiteY681" fmla="*/ 31558 h 228390"/>
                <a:gd name="connsiteX682" fmla="*/ 218551 w 333789"/>
                <a:gd name="connsiteY682" fmla="*/ 30652 h 228390"/>
                <a:gd name="connsiteX683" fmla="*/ 220329 w 333789"/>
                <a:gd name="connsiteY683" fmla="*/ 30077 h 228390"/>
                <a:gd name="connsiteX684" fmla="*/ 220694 w 333789"/>
                <a:gd name="connsiteY684" fmla="*/ 28543 h 228390"/>
                <a:gd name="connsiteX685" fmla="*/ 207076 w 333789"/>
                <a:gd name="connsiteY685" fmla="*/ 22804 h 228390"/>
                <a:gd name="connsiteX686" fmla="*/ 211551 w 333789"/>
                <a:gd name="connsiteY686" fmla="*/ 24712 h 228390"/>
                <a:gd name="connsiteX687" fmla="*/ 212004 w 333789"/>
                <a:gd name="connsiteY687" fmla="*/ 25660 h 228390"/>
                <a:gd name="connsiteX688" fmla="*/ 212038 w 333789"/>
                <a:gd name="connsiteY688" fmla="*/ 26276 h 228390"/>
                <a:gd name="connsiteX689" fmla="*/ 211917 w 333789"/>
                <a:gd name="connsiteY689" fmla="*/ 28294 h 228390"/>
                <a:gd name="connsiteX690" fmla="*/ 211708 w 333789"/>
                <a:gd name="connsiteY690" fmla="*/ 28947 h 228390"/>
                <a:gd name="connsiteX691" fmla="*/ 207305 w 333789"/>
                <a:gd name="connsiteY691" fmla="*/ 29250 h 228390"/>
                <a:gd name="connsiteX692" fmla="*/ 205718 w 333789"/>
                <a:gd name="connsiteY692" fmla="*/ 28913 h 228390"/>
                <a:gd name="connsiteX693" fmla="*/ 204299 w 333789"/>
                <a:gd name="connsiteY693" fmla="*/ 27636 h 228390"/>
                <a:gd name="connsiteX694" fmla="*/ 203014 w 333789"/>
                <a:gd name="connsiteY694" fmla="*/ 25643 h 228390"/>
                <a:gd name="connsiteX695" fmla="*/ 201725 w 333789"/>
                <a:gd name="connsiteY695" fmla="*/ 25179 h 228390"/>
                <a:gd name="connsiteX696" fmla="*/ 201205 w 333789"/>
                <a:gd name="connsiteY696" fmla="*/ 24788 h 228390"/>
                <a:gd name="connsiteX697" fmla="*/ 204321 w 333789"/>
                <a:gd name="connsiteY697" fmla="*/ 23265 h 228390"/>
                <a:gd name="connsiteX698" fmla="*/ 154200 w 333789"/>
                <a:gd name="connsiteY698" fmla="*/ 19764 h 228390"/>
                <a:gd name="connsiteX699" fmla="*/ 155109 w 333789"/>
                <a:gd name="connsiteY699" fmla="*/ 20568 h 228390"/>
                <a:gd name="connsiteX700" fmla="*/ 154392 w 333789"/>
                <a:gd name="connsiteY700" fmla="*/ 21732 h 228390"/>
                <a:gd name="connsiteX701" fmla="*/ 152720 w 333789"/>
                <a:gd name="connsiteY701" fmla="*/ 21633 h 228390"/>
                <a:gd name="connsiteX702" fmla="*/ 151982 w 333789"/>
                <a:gd name="connsiteY702" fmla="*/ 21286 h 228390"/>
                <a:gd name="connsiteX703" fmla="*/ 153191 w 333789"/>
                <a:gd name="connsiteY703" fmla="*/ 21065 h 228390"/>
                <a:gd name="connsiteX704" fmla="*/ 153677 w 333789"/>
                <a:gd name="connsiteY704" fmla="*/ 20103 h 228390"/>
                <a:gd name="connsiteX705" fmla="*/ 132558 w 333789"/>
                <a:gd name="connsiteY705" fmla="*/ 13167 h 228390"/>
                <a:gd name="connsiteX706" fmla="*/ 137212 w 333789"/>
                <a:gd name="connsiteY706" fmla="*/ 13424 h 228390"/>
                <a:gd name="connsiteX707" fmla="*/ 144575 w 333789"/>
                <a:gd name="connsiteY707" fmla="*/ 14860 h 228390"/>
                <a:gd name="connsiteX708" fmla="*/ 145061 w 333789"/>
                <a:gd name="connsiteY708" fmla="*/ 14843 h 228390"/>
                <a:gd name="connsiteX709" fmla="*/ 144977 w 333789"/>
                <a:gd name="connsiteY709" fmla="*/ 14329 h 228390"/>
                <a:gd name="connsiteX710" fmla="*/ 145101 w 333789"/>
                <a:gd name="connsiteY710" fmla="*/ 14184 h 228390"/>
                <a:gd name="connsiteX711" fmla="*/ 145538 w 333789"/>
                <a:gd name="connsiteY711" fmla="*/ 14560 h 228390"/>
                <a:gd name="connsiteX712" fmla="*/ 145404 w 333789"/>
                <a:gd name="connsiteY712" fmla="*/ 15610 h 228390"/>
                <a:gd name="connsiteX713" fmla="*/ 144240 w 333789"/>
                <a:gd name="connsiteY713" fmla="*/ 15867 h 228390"/>
                <a:gd name="connsiteX714" fmla="*/ 143159 w 333789"/>
                <a:gd name="connsiteY714" fmla="*/ 15766 h 228390"/>
                <a:gd name="connsiteX715" fmla="*/ 142381 w 333789"/>
                <a:gd name="connsiteY715" fmla="*/ 16306 h 228390"/>
                <a:gd name="connsiteX716" fmla="*/ 140280 w 333789"/>
                <a:gd name="connsiteY716" fmla="*/ 18330 h 228390"/>
                <a:gd name="connsiteX717" fmla="*/ 138861 w 333789"/>
                <a:gd name="connsiteY717" fmla="*/ 17991 h 228390"/>
                <a:gd name="connsiteX718" fmla="*/ 137130 w 333789"/>
                <a:gd name="connsiteY718" fmla="*/ 18444 h 228390"/>
                <a:gd name="connsiteX719" fmla="*/ 134089 w 333789"/>
                <a:gd name="connsiteY719" fmla="*/ 18488 h 228390"/>
                <a:gd name="connsiteX720" fmla="*/ 130142 w 333789"/>
                <a:gd name="connsiteY720" fmla="*/ 17597 h 228390"/>
                <a:gd name="connsiteX721" fmla="*/ 129064 w 333789"/>
                <a:gd name="connsiteY721" fmla="*/ 18347 h 228390"/>
                <a:gd name="connsiteX722" fmla="*/ 127656 w 333789"/>
                <a:gd name="connsiteY722" fmla="*/ 18140 h 228390"/>
                <a:gd name="connsiteX723" fmla="*/ 126264 w 333789"/>
                <a:gd name="connsiteY723" fmla="*/ 18961 h 228390"/>
                <a:gd name="connsiteX724" fmla="*/ 125689 w 333789"/>
                <a:gd name="connsiteY724" fmla="*/ 18920 h 228390"/>
                <a:gd name="connsiteX725" fmla="*/ 125355 w 333789"/>
                <a:gd name="connsiteY725" fmla="*/ 17714 h 228390"/>
                <a:gd name="connsiteX726" fmla="*/ 125378 w 333789"/>
                <a:gd name="connsiteY726" fmla="*/ 17096 h 228390"/>
                <a:gd name="connsiteX727" fmla="*/ 127027 w 333789"/>
                <a:gd name="connsiteY727" fmla="*/ 16573 h 228390"/>
                <a:gd name="connsiteX728" fmla="*/ 126782 w 333789"/>
                <a:gd name="connsiteY728" fmla="*/ 14679 h 228390"/>
                <a:gd name="connsiteX729" fmla="*/ 128116 w 333789"/>
                <a:gd name="connsiteY729" fmla="*/ 13731 h 228390"/>
                <a:gd name="connsiteX730" fmla="*/ 130412 w 333789"/>
                <a:gd name="connsiteY730" fmla="*/ 13813 h 228390"/>
                <a:gd name="connsiteX731" fmla="*/ 192788 w 333789"/>
                <a:gd name="connsiteY731" fmla="*/ 0 h 228390"/>
                <a:gd name="connsiteX732" fmla="*/ 193939 w 333789"/>
                <a:gd name="connsiteY732" fmla="*/ 194 h 228390"/>
                <a:gd name="connsiteX733" fmla="*/ 195980 w 333789"/>
                <a:gd name="connsiteY733" fmla="*/ 1712 h 228390"/>
                <a:gd name="connsiteX734" fmla="*/ 196866 w 333789"/>
                <a:gd name="connsiteY734" fmla="*/ 4419 h 228390"/>
                <a:gd name="connsiteX735" fmla="*/ 196817 w 333789"/>
                <a:gd name="connsiteY735" fmla="*/ 5218 h 228390"/>
                <a:gd name="connsiteX736" fmla="*/ 195219 w 333789"/>
                <a:gd name="connsiteY736" fmla="*/ 4814 h 228390"/>
                <a:gd name="connsiteX737" fmla="*/ 194781 w 333789"/>
                <a:gd name="connsiteY737" fmla="*/ 4933 h 228390"/>
                <a:gd name="connsiteX738" fmla="*/ 192012 w 333789"/>
                <a:gd name="connsiteY738" fmla="*/ 2620 h 228390"/>
                <a:gd name="connsiteX739" fmla="*/ 192056 w 333789"/>
                <a:gd name="connsiteY739" fmla="*/ 1205 h 2283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</a:cxnLst>
              <a:rect l="l" t="t" r="r" b="b"/>
              <a:pathLst>
                <a:path w="333789" h="228390">
                  <a:moveTo>
                    <a:pt x="272892" y="221525"/>
                  </a:moveTo>
                  <a:lnTo>
                    <a:pt x="275173" y="222247"/>
                  </a:lnTo>
                  <a:lnTo>
                    <a:pt x="280245" y="224930"/>
                  </a:lnTo>
                  <a:lnTo>
                    <a:pt x="283939" y="226103"/>
                  </a:lnTo>
                  <a:lnTo>
                    <a:pt x="285192" y="227398"/>
                  </a:lnTo>
                  <a:lnTo>
                    <a:pt x="283858" y="227987"/>
                  </a:lnTo>
                  <a:lnTo>
                    <a:pt x="280633" y="228390"/>
                  </a:lnTo>
                  <a:lnTo>
                    <a:pt x="279871" y="227597"/>
                  </a:lnTo>
                  <a:lnTo>
                    <a:pt x="276770" y="226799"/>
                  </a:lnTo>
                  <a:lnTo>
                    <a:pt x="276284" y="225353"/>
                  </a:lnTo>
                  <a:lnTo>
                    <a:pt x="274732" y="225845"/>
                  </a:lnTo>
                  <a:lnTo>
                    <a:pt x="275517" y="224825"/>
                  </a:lnTo>
                  <a:lnTo>
                    <a:pt x="273574" y="223679"/>
                  </a:lnTo>
                  <a:lnTo>
                    <a:pt x="272968" y="222147"/>
                  </a:lnTo>
                  <a:close/>
                  <a:moveTo>
                    <a:pt x="292752" y="221241"/>
                  </a:moveTo>
                  <a:lnTo>
                    <a:pt x="295762" y="221855"/>
                  </a:lnTo>
                  <a:lnTo>
                    <a:pt x="296710" y="222361"/>
                  </a:lnTo>
                  <a:lnTo>
                    <a:pt x="296384" y="223581"/>
                  </a:lnTo>
                  <a:lnTo>
                    <a:pt x="295578" y="223168"/>
                  </a:lnTo>
                  <a:lnTo>
                    <a:pt x="293181" y="223800"/>
                  </a:lnTo>
                  <a:lnTo>
                    <a:pt x="291919" y="223658"/>
                  </a:lnTo>
                  <a:lnTo>
                    <a:pt x="291191" y="222564"/>
                  </a:lnTo>
                  <a:lnTo>
                    <a:pt x="291020" y="222059"/>
                  </a:lnTo>
                  <a:lnTo>
                    <a:pt x="293104" y="222453"/>
                  </a:lnTo>
                  <a:close/>
                  <a:moveTo>
                    <a:pt x="221337" y="204248"/>
                  </a:moveTo>
                  <a:lnTo>
                    <a:pt x="221926" y="204549"/>
                  </a:lnTo>
                  <a:lnTo>
                    <a:pt x="221615" y="206296"/>
                  </a:lnTo>
                  <a:lnTo>
                    <a:pt x="219795" y="205776"/>
                  </a:lnTo>
                  <a:lnTo>
                    <a:pt x="219428" y="205401"/>
                  </a:lnTo>
                  <a:lnTo>
                    <a:pt x="219729" y="204298"/>
                  </a:lnTo>
                  <a:close/>
                  <a:moveTo>
                    <a:pt x="219214" y="185424"/>
                  </a:moveTo>
                  <a:lnTo>
                    <a:pt x="220112" y="186024"/>
                  </a:lnTo>
                  <a:lnTo>
                    <a:pt x="221121" y="187508"/>
                  </a:lnTo>
                  <a:lnTo>
                    <a:pt x="225303" y="190555"/>
                  </a:lnTo>
                  <a:lnTo>
                    <a:pt x="225141" y="191541"/>
                  </a:lnTo>
                  <a:lnTo>
                    <a:pt x="225956" y="192368"/>
                  </a:lnTo>
                  <a:lnTo>
                    <a:pt x="226895" y="192370"/>
                  </a:lnTo>
                  <a:lnTo>
                    <a:pt x="228463" y="190702"/>
                  </a:lnTo>
                  <a:lnTo>
                    <a:pt x="229819" y="190192"/>
                  </a:lnTo>
                  <a:lnTo>
                    <a:pt x="230722" y="190952"/>
                  </a:lnTo>
                  <a:lnTo>
                    <a:pt x="229271" y="196268"/>
                  </a:lnTo>
                  <a:lnTo>
                    <a:pt x="228046" y="195467"/>
                  </a:lnTo>
                  <a:lnTo>
                    <a:pt x="223263" y="193986"/>
                  </a:lnTo>
                  <a:lnTo>
                    <a:pt x="223114" y="191884"/>
                  </a:lnTo>
                  <a:lnTo>
                    <a:pt x="221868" y="191205"/>
                  </a:lnTo>
                  <a:lnTo>
                    <a:pt x="221099" y="189154"/>
                  </a:lnTo>
                  <a:lnTo>
                    <a:pt x="219514" y="186880"/>
                  </a:lnTo>
                  <a:close/>
                  <a:moveTo>
                    <a:pt x="213086" y="177315"/>
                  </a:moveTo>
                  <a:lnTo>
                    <a:pt x="213738" y="177337"/>
                  </a:lnTo>
                  <a:lnTo>
                    <a:pt x="216847" y="179164"/>
                  </a:lnTo>
                  <a:lnTo>
                    <a:pt x="218560" y="178629"/>
                  </a:lnTo>
                  <a:lnTo>
                    <a:pt x="219493" y="178929"/>
                  </a:lnTo>
                  <a:lnTo>
                    <a:pt x="221493" y="181042"/>
                  </a:lnTo>
                  <a:lnTo>
                    <a:pt x="221603" y="182587"/>
                  </a:lnTo>
                  <a:lnTo>
                    <a:pt x="221925" y="183914"/>
                  </a:lnTo>
                  <a:lnTo>
                    <a:pt x="221823" y="184496"/>
                  </a:lnTo>
                  <a:lnTo>
                    <a:pt x="220717" y="185285"/>
                  </a:lnTo>
                  <a:lnTo>
                    <a:pt x="220810" y="184387"/>
                  </a:lnTo>
                  <a:lnTo>
                    <a:pt x="219963" y="184212"/>
                  </a:lnTo>
                  <a:lnTo>
                    <a:pt x="217053" y="184252"/>
                  </a:lnTo>
                  <a:lnTo>
                    <a:pt x="214796" y="183685"/>
                  </a:lnTo>
                  <a:lnTo>
                    <a:pt x="211700" y="183539"/>
                  </a:lnTo>
                  <a:lnTo>
                    <a:pt x="213006" y="182136"/>
                  </a:lnTo>
                  <a:lnTo>
                    <a:pt x="213298" y="181565"/>
                  </a:lnTo>
                  <a:lnTo>
                    <a:pt x="211665" y="179308"/>
                  </a:lnTo>
                  <a:lnTo>
                    <a:pt x="211593" y="178230"/>
                  </a:lnTo>
                  <a:lnTo>
                    <a:pt x="211724" y="177635"/>
                  </a:lnTo>
                  <a:close/>
                  <a:moveTo>
                    <a:pt x="206660" y="174210"/>
                  </a:moveTo>
                  <a:lnTo>
                    <a:pt x="209132" y="175499"/>
                  </a:lnTo>
                  <a:lnTo>
                    <a:pt x="209948" y="177392"/>
                  </a:lnTo>
                  <a:lnTo>
                    <a:pt x="210194" y="178450"/>
                  </a:lnTo>
                  <a:lnTo>
                    <a:pt x="209691" y="180622"/>
                  </a:lnTo>
                  <a:lnTo>
                    <a:pt x="209380" y="181173"/>
                  </a:lnTo>
                  <a:lnTo>
                    <a:pt x="208087" y="180768"/>
                  </a:lnTo>
                  <a:lnTo>
                    <a:pt x="204481" y="177679"/>
                  </a:lnTo>
                  <a:lnTo>
                    <a:pt x="205038" y="175397"/>
                  </a:lnTo>
                  <a:close/>
                  <a:moveTo>
                    <a:pt x="260229" y="168705"/>
                  </a:moveTo>
                  <a:lnTo>
                    <a:pt x="261519" y="169044"/>
                  </a:lnTo>
                  <a:lnTo>
                    <a:pt x="264190" y="168879"/>
                  </a:lnTo>
                  <a:lnTo>
                    <a:pt x="265069" y="170156"/>
                  </a:lnTo>
                  <a:lnTo>
                    <a:pt x="266291" y="170596"/>
                  </a:lnTo>
                  <a:lnTo>
                    <a:pt x="267349" y="171173"/>
                  </a:lnTo>
                  <a:lnTo>
                    <a:pt x="268286" y="172013"/>
                  </a:lnTo>
                  <a:lnTo>
                    <a:pt x="268280" y="172525"/>
                  </a:lnTo>
                  <a:lnTo>
                    <a:pt x="268057" y="172971"/>
                  </a:lnTo>
                  <a:lnTo>
                    <a:pt x="267489" y="173370"/>
                  </a:lnTo>
                  <a:lnTo>
                    <a:pt x="267658" y="174269"/>
                  </a:lnTo>
                  <a:lnTo>
                    <a:pt x="266682" y="174136"/>
                  </a:lnTo>
                  <a:lnTo>
                    <a:pt x="265459" y="174611"/>
                  </a:lnTo>
                  <a:lnTo>
                    <a:pt x="263072" y="173559"/>
                  </a:lnTo>
                  <a:lnTo>
                    <a:pt x="262201" y="173322"/>
                  </a:lnTo>
                  <a:lnTo>
                    <a:pt x="261938" y="172421"/>
                  </a:lnTo>
                  <a:lnTo>
                    <a:pt x="260387" y="170912"/>
                  </a:lnTo>
                  <a:lnTo>
                    <a:pt x="257668" y="169830"/>
                  </a:lnTo>
                  <a:lnTo>
                    <a:pt x="259038" y="168942"/>
                  </a:lnTo>
                  <a:close/>
                  <a:moveTo>
                    <a:pt x="51842" y="156766"/>
                  </a:moveTo>
                  <a:lnTo>
                    <a:pt x="53749" y="157864"/>
                  </a:lnTo>
                  <a:lnTo>
                    <a:pt x="57073" y="158893"/>
                  </a:lnTo>
                  <a:lnTo>
                    <a:pt x="60322" y="161442"/>
                  </a:lnTo>
                  <a:lnTo>
                    <a:pt x="60717" y="162416"/>
                  </a:lnTo>
                  <a:lnTo>
                    <a:pt x="57502" y="161079"/>
                  </a:lnTo>
                  <a:lnTo>
                    <a:pt x="54436" y="158845"/>
                  </a:lnTo>
                  <a:lnTo>
                    <a:pt x="52881" y="158238"/>
                  </a:lnTo>
                  <a:close/>
                  <a:moveTo>
                    <a:pt x="226765" y="156664"/>
                  </a:moveTo>
                  <a:lnTo>
                    <a:pt x="226740" y="158958"/>
                  </a:lnTo>
                  <a:lnTo>
                    <a:pt x="227230" y="159987"/>
                  </a:lnTo>
                  <a:lnTo>
                    <a:pt x="226528" y="163672"/>
                  </a:lnTo>
                  <a:lnTo>
                    <a:pt x="226910" y="165262"/>
                  </a:lnTo>
                  <a:lnTo>
                    <a:pt x="225187" y="163556"/>
                  </a:lnTo>
                  <a:lnTo>
                    <a:pt x="225951" y="161629"/>
                  </a:lnTo>
                  <a:lnTo>
                    <a:pt x="226086" y="160587"/>
                  </a:lnTo>
                  <a:lnTo>
                    <a:pt x="225997" y="160000"/>
                  </a:lnTo>
                  <a:lnTo>
                    <a:pt x="224276" y="159002"/>
                  </a:lnTo>
                  <a:lnTo>
                    <a:pt x="225190" y="157371"/>
                  </a:lnTo>
                  <a:lnTo>
                    <a:pt x="226158" y="156823"/>
                  </a:lnTo>
                  <a:close/>
                  <a:moveTo>
                    <a:pt x="54386" y="155522"/>
                  </a:moveTo>
                  <a:lnTo>
                    <a:pt x="58949" y="155766"/>
                  </a:lnTo>
                  <a:lnTo>
                    <a:pt x="60126" y="156042"/>
                  </a:lnTo>
                  <a:lnTo>
                    <a:pt x="60372" y="157580"/>
                  </a:lnTo>
                  <a:lnTo>
                    <a:pt x="60245" y="158064"/>
                  </a:lnTo>
                  <a:lnTo>
                    <a:pt x="59279" y="158132"/>
                  </a:lnTo>
                  <a:lnTo>
                    <a:pt x="55382" y="156620"/>
                  </a:lnTo>
                  <a:close/>
                  <a:moveTo>
                    <a:pt x="154435" y="91608"/>
                  </a:moveTo>
                  <a:lnTo>
                    <a:pt x="159041" y="94285"/>
                  </a:lnTo>
                  <a:lnTo>
                    <a:pt x="159511" y="95143"/>
                  </a:lnTo>
                  <a:lnTo>
                    <a:pt x="159166" y="97682"/>
                  </a:lnTo>
                  <a:lnTo>
                    <a:pt x="158400" y="99051"/>
                  </a:lnTo>
                  <a:lnTo>
                    <a:pt x="157508" y="99220"/>
                  </a:lnTo>
                  <a:lnTo>
                    <a:pt x="157122" y="98212"/>
                  </a:lnTo>
                  <a:lnTo>
                    <a:pt x="155054" y="97339"/>
                  </a:lnTo>
                  <a:lnTo>
                    <a:pt x="152988" y="94634"/>
                  </a:lnTo>
                  <a:lnTo>
                    <a:pt x="153020" y="92310"/>
                  </a:lnTo>
                  <a:lnTo>
                    <a:pt x="153288" y="91642"/>
                  </a:lnTo>
                  <a:close/>
                  <a:moveTo>
                    <a:pt x="306628" y="90579"/>
                  </a:moveTo>
                  <a:lnTo>
                    <a:pt x="307587" y="90794"/>
                  </a:lnTo>
                  <a:lnTo>
                    <a:pt x="308600" y="91679"/>
                  </a:lnTo>
                  <a:lnTo>
                    <a:pt x="309751" y="92286"/>
                  </a:lnTo>
                  <a:lnTo>
                    <a:pt x="312549" y="92697"/>
                  </a:lnTo>
                  <a:lnTo>
                    <a:pt x="314689" y="94478"/>
                  </a:lnTo>
                  <a:lnTo>
                    <a:pt x="316743" y="97955"/>
                  </a:lnTo>
                  <a:lnTo>
                    <a:pt x="316989" y="99094"/>
                  </a:lnTo>
                  <a:lnTo>
                    <a:pt x="317645" y="99913"/>
                  </a:lnTo>
                  <a:lnTo>
                    <a:pt x="319757" y="101389"/>
                  </a:lnTo>
                  <a:lnTo>
                    <a:pt x="320852" y="102336"/>
                  </a:lnTo>
                  <a:lnTo>
                    <a:pt x="322940" y="106124"/>
                  </a:lnTo>
                  <a:lnTo>
                    <a:pt x="324097" y="106932"/>
                  </a:lnTo>
                  <a:lnTo>
                    <a:pt x="325462" y="107257"/>
                  </a:lnTo>
                  <a:lnTo>
                    <a:pt x="326732" y="107804"/>
                  </a:lnTo>
                  <a:lnTo>
                    <a:pt x="328848" y="109466"/>
                  </a:lnTo>
                  <a:lnTo>
                    <a:pt x="330802" y="111348"/>
                  </a:lnTo>
                  <a:lnTo>
                    <a:pt x="332123" y="113327"/>
                  </a:lnTo>
                  <a:lnTo>
                    <a:pt x="333126" y="115446"/>
                  </a:lnTo>
                  <a:lnTo>
                    <a:pt x="333789" y="118150"/>
                  </a:lnTo>
                  <a:lnTo>
                    <a:pt x="333249" y="120230"/>
                  </a:lnTo>
                  <a:lnTo>
                    <a:pt x="332846" y="120590"/>
                  </a:lnTo>
                  <a:lnTo>
                    <a:pt x="332336" y="119809"/>
                  </a:lnTo>
                  <a:lnTo>
                    <a:pt x="330414" y="120566"/>
                  </a:lnTo>
                  <a:lnTo>
                    <a:pt x="329496" y="121428"/>
                  </a:lnTo>
                  <a:lnTo>
                    <a:pt x="328520" y="122059"/>
                  </a:lnTo>
                  <a:lnTo>
                    <a:pt x="326266" y="121907"/>
                  </a:lnTo>
                  <a:lnTo>
                    <a:pt x="324132" y="121336"/>
                  </a:lnTo>
                  <a:lnTo>
                    <a:pt x="322063" y="120280"/>
                  </a:lnTo>
                  <a:lnTo>
                    <a:pt x="320222" y="118925"/>
                  </a:lnTo>
                  <a:lnTo>
                    <a:pt x="318375" y="116801"/>
                  </a:lnTo>
                  <a:lnTo>
                    <a:pt x="317227" y="114598"/>
                  </a:lnTo>
                  <a:lnTo>
                    <a:pt x="317799" y="112039"/>
                  </a:lnTo>
                  <a:lnTo>
                    <a:pt x="317084" y="109731"/>
                  </a:lnTo>
                  <a:lnTo>
                    <a:pt x="313601" y="108090"/>
                  </a:lnTo>
                  <a:lnTo>
                    <a:pt x="312838" y="107559"/>
                  </a:lnTo>
                  <a:lnTo>
                    <a:pt x="311293" y="105259"/>
                  </a:lnTo>
                  <a:lnTo>
                    <a:pt x="309746" y="104267"/>
                  </a:lnTo>
                  <a:lnTo>
                    <a:pt x="307792" y="102253"/>
                  </a:lnTo>
                  <a:lnTo>
                    <a:pt x="307291" y="101380"/>
                  </a:lnTo>
                  <a:lnTo>
                    <a:pt x="306447" y="98832"/>
                  </a:lnTo>
                  <a:lnTo>
                    <a:pt x="306179" y="97292"/>
                  </a:lnTo>
                  <a:lnTo>
                    <a:pt x="306890" y="92816"/>
                  </a:lnTo>
                  <a:close/>
                  <a:moveTo>
                    <a:pt x="138615" y="84956"/>
                  </a:moveTo>
                  <a:lnTo>
                    <a:pt x="140280" y="86303"/>
                  </a:lnTo>
                  <a:lnTo>
                    <a:pt x="140623" y="89185"/>
                  </a:lnTo>
                  <a:lnTo>
                    <a:pt x="139615" y="90302"/>
                  </a:lnTo>
                  <a:lnTo>
                    <a:pt x="138375" y="90423"/>
                  </a:lnTo>
                  <a:lnTo>
                    <a:pt x="136359" y="88316"/>
                  </a:lnTo>
                  <a:lnTo>
                    <a:pt x="135847" y="87532"/>
                  </a:lnTo>
                  <a:lnTo>
                    <a:pt x="136043" y="86432"/>
                  </a:lnTo>
                  <a:close/>
                  <a:moveTo>
                    <a:pt x="304490" y="81033"/>
                  </a:moveTo>
                  <a:lnTo>
                    <a:pt x="305583" y="81923"/>
                  </a:lnTo>
                  <a:lnTo>
                    <a:pt x="305741" y="83889"/>
                  </a:lnTo>
                  <a:lnTo>
                    <a:pt x="306581" y="85560"/>
                  </a:lnTo>
                  <a:lnTo>
                    <a:pt x="305946" y="89213"/>
                  </a:lnTo>
                  <a:lnTo>
                    <a:pt x="304814" y="90319"/>
                  </a:lnTo>
                  <a:lnTo>
                    <a:pt x="304374" y="90495"/>
                  </a:lnTo>
                  <a:lnTo>
                    <a:pt x="303413" y="87697"/>
                  </a:lnTo>
                  <a:lnTo>
                    <a:pt x="303242" y="85623"/>
                  </a:lnTo>
                  <a:lnTo>
                    <a:pt x="302947" y="84094"/>
                  </a:lnTo>
                  <a:lnTo>
                    <a:pt x="302444" y="83183"/>
                  </a:lnTo>
                  <a:lnTo>
                    <a:pt x="303892" y="81501"/>
                  </a:lnTo>
                  <a:close/>
                  <a:moveTo>
                    <a:pt x="113513" y="70515"/>
                  </a:moveTo>
                  <a:lnTo>
                    <a:pt x="114432" y="71266"/>
                  </a:lnTo>
                  <a:lnTo>
                    <a:pt x="114786" y="72750"/>
                  </a:lnTo>
                  <a:lnTo>
                    <a:pt x="114033" y="74657"/>
                  </a:lnTo>
                  <a:lnTo>
                    <a:pt x="112551" y="75312"/>
                  </a:lnTo>
                  <a:lnTo>
                    <a:pt x="111483" y="74808"/>
                  </a:lnTo>
                  <a:lnTo>
                    <a:pt x="111031" y="73356"/>
                  </a:lnTo>
                  <a:lnTo>
                    <a:pt x="111398" y="71954"/>
                  </a:lnTo>
                  <a:lnTo>
                    <a:pt x="112693" y="70848"/>
                  </a:lnTo>
                  <a:close/>
                  <a:moveTo>
                    <a:pt x="239726" y="62999"/>
                  </a:moveTo>
                  <a:lnTo>
                    <a:pt x="242283" y="63376"/>
                  </a:lnTo>
                  <a:lnTo>
                    <a:pt x="243287" y="64347"/>
                  </a:lnTo>
                  <a:lnTo>
                    <a:pt x="244412" y="65143"/>
                  </a:lnTo>
                  <a:lnTo>
                    <a:pt x="245560" y="65591"/>
                  </a:lnTo>
                  <a:lnTo>
                    <a:pt x="248869" y="63270"/>
                  </a:lnTo>
                  <a:lnTo>
                    <a:pt x="250640" y="64886"/>
                  </a:lnTo>
                  <a:lnTo>
                    <a:pt x="252899" y="65673"/>
                  </a:lnTo>
                  <a:lnTo>
                    <a:pt x="255248" y="66117"/>
                  </a:lnTo>
                  <a:lnTo>
                    <a:pt x="254317" y="69442"/>
                  </a:lnTo>
                  <a:lnTo>
                    <a:pt x="254593" y="70980"/>
                  </a:lnTo>
                  <a:lnTo>
                    <a:pt x="255200" y="72510"/>
                  </a:lnTo>
                  <a:lnTo>
                    <a:pt x="255123" y="74769"/>
                  </a:lnTo>
                  <a:lnTo>
                    <a:pt x="254043" y="76784"/>
                  </a:lnTo>
                  <a:lnTo>
                    <a:pt x="251975" y="79722"/>
                  </a:lnTo>
                  <a:lnTo>
                    <a:pt x="251048" y="80265"/>
                  </a:lnTo>
                  <a:lnTo>
                    <a:pt x="249962" y="80574"/>
                  </a:lnTo>
                  <a:lnTo>
                    <a:pt x="246571" y="80810"/>
                  </a:lnTo>
                  <a:lnTo>
                    <a:pt x="245917" y="82375"/>
                  </a:lnTo>
                  <a:lnTo>
                    <a:pt x="246144" y="84029"/>
                  </a:lnTo>
                  <a:lnTo>
                    <a:pt x="247977" y="86203"/>
                  </a:lnTo>
                  <a:lnTo>
                    <a:pt x="249439" y="88641"/>
                  </a:lnTo>
                  <a:lnTo>
                    <a:pt x="247982" y="90887"/>
                  </a:lnTo>
                  <a:lnTo>
                    <a:pt x="245581" y="92451"/>
                  </a:lnTo>
                  <a:lnTo>
                    <a:pt x="243302" y="93250"/>
                  </a:lnTo>
                  <a:lnTo>
                    <a:pt x="239532" y="92778"/>
                  </a:lnTo>
                  <a:lnTo>
                    <a:pt x="235556" y="92973"/>
                  </a:lnTo>
                  <a:lnTo>
                    <a:pt x="234811" y="93828"/>
                  </a:lnTo>
                  <a:lnTo>
                    <a:pt x="234790" y="95240"/>
                  </a:lnTo>
                  <a:lnTo>
                    <a:pt x="234231" y="96317"/>
                  </a:lnTo>
                  <a:lnTo>
                    <a:pt x="233507" y="97298"/>
                  </a:lnTo>
                  <a:lnTo>
                    <a:pt x="231491" y="99333"/>
                  </a:lnTo>
                  <a:lnTo>
                    <a:pt x="229236" y="101126"/>
                  </a:lnTo>
                  <a:lnTo>
                    <a:pt x="226157" y="102830"/>
                  </a:lnTo>
                  <a:lnTo>
                    <a:pt x="225121" y="103237"/>
                  </a:lnTo>
                  <a:lnTo>
                    <a:pt x="222395" y="103508"/>
                  </a:lnTo>
                  <a:lnTo>
                    <a:pt x="219942" y="104487"/>
                  </a:lnTo>
                  <a:lnTo>
                    <a:pt x="218850" y="105443"/>
                  </a:lnTo>
                  <a:lnTo>
                    <a:pt x="217660" y="106219"/>
                  </a:lnTo>
                  <a:lnTo>
                    <a:pt x="215058" y="107071"/>
                  </a:lnTo>
                  <a:lnTo>
                    <a:pt x="212524" y="108749"/>
                  </a:lnTo>
                  <a:lnTo>
                    <a:pt x="211524" y="109033"/>
                  </a:lnTo>
                  <a:lnTo>
                    <a:pt x="206274" y="109325"/>
                  </a:lnTo>
                  <a:lnTo>
                    <a:pt x="198759" y="109405"/>
                  </a:lnTo>
                  <a:lnTo>
                    <a:pt x="196532" y="109581"/>
                  </a:lnTo>
                  <a:lnTo>
                    <a:pt x="194370" y="109349"/>
                  </a:lnTo>
                  <a:lnTo>
                    <a:pt x="193174" y="108695"/>
                  </a:lnTo>
                  <a:lnTo>
                    <a:pt x="190622" y="105673"/>
                  </a:lnTo>
                  <a:lnTo>
                    <a:pt x="188396" y="104637"/>
                  </a:lnTo>
                  <a:lnTo>
                    <a:pt x="185971" y="104667"/>
                  </a:lnTo>
                  <a:lnTo>
                    <a:pt x="182740" y="105736"/>
                  </a:lnTo>
                  <a:lnTo>
                    <a:pt x="182131" y="105500"/>
                  </a:lnTo>
                  <a:lnTo>
                    <a:pt x="175686" y="101049"/>
                  </a:lnTo>
                  <a:lnTo>
                    <a:pt x="173731" y="99961"/>
                  </a:lnTo>
                  <a:lnTo>
                    <a:pt x="171646" y="99148"/>
                  </a:lnTo>
                  <a:lnTo>
                    <a:pt x="169101" y="98585"/>
                  </a:lnTo>
                  <a:lnTo>
                    <a:pt x="166700" y="97690"/>
                  </a:lnTo>
                  <a:lnTo>
                    <a:pt x="165285" y="95569"/>
                  </a:lnTo>
                  <a:lnTo>
                    <a:pt x="165452" y="92808"/>
                  </a:lnTo>
                  <a:lnTo>
                    <a:pt x="167382" y="91186"/>
                  </a:lnTo>
                  <a:lnTo>
                    <a:pt x="170322" y="91987"/>
                  </a:lnTo>
                  <a:lnTo>
                    <a:pt x="171446" y="91976"/>
                  </a:lnTo>
                  <a:lnTo>
                    <a:pt x="172552" y="91515"/>
                  </a:lnTo>
                  <a:lnTo>
                    <a:pt x="173845" y="91662"/>
                  </a:lnTo>
                  <a:lnTo>
                    <a:pt x="175154" y="92069"/>
                  </a:lnTo>
                  <a:lnTo>
                    <a:pt x="179924" y="91469"/>
                  </a:lnTo>
                  <a:lnTo>
                    <a:pt x="182684" y="92314"/>
                  </a:lnTo>
                  <a:lnTo>
                    <a:pt x="185366" y="93432"/>
                  </a:lnTo>
                  <a:lnTo>
                    <a:pt x="187877" y="93674"/>
                  </a:lnTo>
                  <a:lnTo>
                    <a:pt x="190453" y="93436"/>
                  </a:lnTo>
                  <a:lnTo>
                    <a:pt x="193911" y="92167"/>
                  </a:lnTo>
                  <a:lnTo>
                    <a:pt x="195001" y="92334"/>
                  </a:lnTo>
                  <a:lnTo>
                    <a:pt x="198327" y="92347"/>
                  </a:lnTo>
                  <a:lnTo>
                    <a:pt x="201231" y="90653"/>
                  </a:lnTo>
                  <a:lnTo>
                    <a:pt x="202317" y="83819"/>
                  </a:lnTo>
                  <a:lnTo>
                    <a:pt x="203056" y="81494"/>
                  </a:lnTo>
                  <a:lnTo>
                    <a:pt x="204045" y="80988"/>
                  </a:lnTo>
                  <a:lnTo>
                    <a:pt x="204757" y="81128"/>
                  </a:lnTo>
                  <a:lnTo>
                    <a:pt x="205819" y="82291"/>
                  </a:lnTo>
                  <a:lnTo>
                    <a:pt x="204457" y="83741"/>
                  </a:lnTo>
                  <a:lnTo>
                    <a:pt x="203857" y="84858"/>
                  </a:lnTo>
                  <a:lnTo>
                    <a:pt x="203656" y="87589"/>
                  </a:lnTo>
                  <a:lnTo>
                    <a:pt x="204403" y="90237"/>
                  </a:lnTo>
                  <a:lnTo>
                    <a:pt x="206102" y="92336"/>
                  </a:lnTo>
                  <a:lnTo>
                    <a:pt x="208660" y="92602"/>
                  </a:lnTo>
                  <a:lnTo>
                    <a:pt x="210995" y="91216"/>
                  </a:lnTo>
                  <a:lnTo>
                    <a:pt x="213539" y="90930"/>
                  </a:lnTo>
                  <a:lnTo>
                    <a:pt x="215891" y="92275"/>
                  </a:lnTo>
                  <a:lnTo>
                    <a:pt x="218294" y="92043"/>
                  </a:lnTo>
                  <a:lnTo>
                    <a:pt x="219398" y="91166"/>
                  </a:lnTo>
                  <a:lnTo>
                    <a:pt x="220684" y="90785"/>
                  </a:lnTo>
                  <a:lnTo>
                    <a:pt x="221961" y="90640"/>
                  </a:lnTo>
                  <a:lnTo>
                    <a:pt x="223125" y="90120"/>
                  </a:lnTo>
                  <a:lnTo>
                    <a:pt x="224658" y="87836"/>
                  </a:lnTo>
                  <a:lnTo>
                    <a:pt x="225688" y="85259"/>
                  </a:lnTo>
                  <a:lnTo>
                    <a:pt x="227213" y="83228"/>
                  </a:lnTo>
                  <a:lnTo>
                    <a:pt x="231387" y="79847"/>
                  </a:lnTo>
                  <a:lnTo>
                    <a:pt x="232589" y="79425"/>
                  </a:lnTo>
                  <a:lnTo>
                    <a:pt x="233892" y="79195"/>
                  </a:lnTo>
                  <a:lnTo>
                    <a:pt x="236826" y="79341"/>
                  </a:lnTo>
                  <a:lnTo>
                    <a:pt x="239007" y="78139"/>
                  </a:lnTo>
                  <a:lnTo>
                    <a:pt x="239178" y="75430"/>
                  </a:lnTo>
                  <a:lnTo>
                    <a:pt x="238862" y="72681"/>
                  </a:lnTo>
                  <a:lnTo>
                    <a:pt x="236370" y="66223"/>
                  </a:lnTo>
                  <a:lnTo>
                    <a:pt x="236200" y="65197"/>
                  </a:lnTo>
                  <a:lnTo>
                    <a:pt x="236561" y="64048"/>
                  </a:lnTo>
                  <a:lnTo>
                    <a:pt x="237279" y="63017"/>
                  </a:lnTo>
                  <a:close/>
                  <a:moveTo>
                    <a:pt x="283050" y="59482"/>
                  </a:moveTo>
                  <a:lnTo>
                    <a:pt x="282968" y="60769"/>
                  </a:lnTo>
                  <a:lnTo>
                    <a:pt x="282765" y="61295"/>
                  </a:lnTo>
                  <a:lnTo>
                    <a:pt x="281469" y="60696"/>
                  </a:lnTo>
                  <a:lnTo>
                    <a:pt x="282536" y="59560"/>
                  </a:lnTo>
                  <a:close/>
                  <a:moveTo>
                    <a:pt x="260402" y="37378"/>
                  </a:moveTo>
                  <a:lnTo>
                    <a:pt x="261107" y="39383"/>
                  </a:lnTo>
                  <a:lnTo>
                    <a:pt x="260566" y="41327"/>
                  </a:lnTo>
                  <a:lnTo>
                    <a:pt x="259215" y="40190"/>
                  </a:lnTo>
                  <a:lnTo>
                    <a:pt x="258291" y="38547"/>
                  </a:lnTo>
                  <a:lnTo>
                    <a:pt x="258880" y="37814"/>
                  </a:lnTo>
                  <a:close/>
                  <a:moveTo>
                    <a:pt x="245718" y="33014"/>
                  </a:moveTo>
                  <a:lnTo>
                    <a:pt x="247928" y="34626"/>
                  </a:lnTo>
                  <a:lnTo>
                    <a:pt x="248472" y="35266"/>
                  </a:lnTo>
                  <a:lnTo>
                    <a:pt x="248234" y="36383"/>
                  </a:lnTo>
                  <a:lnTo>
                    <a:pt x="247546" y="36319"/>
                  </a:lnTo>
                  <a:lnTo>
                    <a:pt x="245639" y="34131"/>
                  </a:lnTo>
                  <a:lnTo>
                    <a:pt x="245274" y="33565"/>
                  </a:lnTo>
                  <a:close/>
                  <a:moveTo>
                    <a:pt x="245092" y="29982"/>
                  </a:moveTo>
                  <a:lnTo>
                    <a:pt x="246321" y="30628"/>
                  </a:lnTo>
                  <a:lnTo>
                    <a:pt x="246529" y="32208"/>
                  </a:lnTo>
                  <a:lnTo>
                    <a:pt x="245332" y="32673"/>
                  </a:lnTo>
                  <a:lnTo>
                    <a:pt x="244805" y="32677"/>
                  </a:lnTo>
                  <a:lnTo>
                    <a:pt x="244726" y="30911"/>
                  </a:lnTo>
                  <a:close/>
                  <a:moveTo>
                    <a:pt x="2457" y="27796"/>
                  </a:moveTo>
                  <a:lnTo>
                    <a:pt x="3118" y="27804"/>
                  </a:lnTo>
                  <a:lnTo>
                    <a:pt x="5362" y="27830"/>
                  </a:lnTo>
                  <a:lnTo>
                    <a:pt x="7149" y="28195"/>
                  </a:lnTo>
                  <a:lnTo>
                    <a:pt x="18232" y="33001"/>
                  </a:lnTo>
                  <a:lnTo>
                    <a:pt x="21541" y="34929"/>
                  </a:lnTo>
                  <a:lnTo>
                    <a:pt x="22669" y="35381"/>
                  </a:lnTo>
                  <a:lnTo>
                    <a:pt x="23781" y="35398"/>
                  </a:lnTo>
                  <a:lnTo>
                    <a:pt x="24842" y="35625"/>
                  </a:lnTo>
                  <a:lnTo>
                    <a:pt x="29834" y="38279"/>
                  </a:lnTo>
                  <a:lnTo>
                    <a:pt x="37297" y="40959"/>
                  </a:lnTo>
                  <a:lnTo>
                    <a:pt x="45172" y="43529"/>
                  </a:lnTo>
                  <a:lnTo>
                    <a:pt x="47614" y="44066"/>
                  </a:lnTo>
                  <a:lnTo>
                    <a:pt x="50143" y="44290"/>
                  </a:lnTo>
                  <a:lnTo>
                    <a:pt x="55634" y="45181"/>
                  </a:lnTo>
                  <a:lnTo>
                    <a:pt x="58524" y="45974"/>
                  </a:lnTo>
                  <a:lnTo>
                    <a:pt x="62761" y="49122"/>
                  </a:lnTo>
                  <a:lnTo>
                    <a:pt x="64895" y="50095"/>
                  </a:lnTo>
                  <a:lnTo>
                    <a:pt x="66898" y="51870"/>
                  </a:lnTo>
                  <a:lnTo>
                    <a:pt x="69731" y="53777"/>
                  </a:lnTo>
                  <a:lnTo>
                    <a:pt x="70849" y="54255"/>
                  </a:lnTo>
                  <a:lnTo>
                    <a:pt x="72078" y="54478"/>
                  </a:lnTo>
                  <a:lnTo>
                    <a:pt x="74864" y="54545"/>
                  </a:lnTo>
                  <a:lnTo>
                    <a:pt x="77661" y="54201"/>
                  </a:lnTo>
                  <a:lnTo>
                    <a:pt x="78813" y="54355"/>
                  </a:lnTo>
                  <a:lnTo>
                    <a:pt x="79945" y="54701"/>
                  </a:lnTo>
                  <a:lnTo>
                    <a:pt x="80979" y="55365"/>
                  </a:lnTo>
                  <a:lnTo>
                    <a:pt x="81504" y="56645"/>
                  </a:lnTo>
                  <a:lnTo>
                    <a:pt x="83238" y="58416"/>
                  </a:lnTo>
                  <a:lnTo>
                    <a:pt x="85697" y="59214"/>
                  </a:lnTo>
                  <a:lnTo>
                    <a:pt x="88032" y="60817"/>
                  </a:lnTo>
                  <a:lnTo>
                    <a:pt x="90133" y="62738"/>
                  </a:lnTo>
                  <a:lnTo>
                    <a:pt x="91678" y="64672"/>
                  </a:lnTo>
                  <a:lnTo>
                    <a:pt x="93434" y="66303"/>
                  </a:lnTo>
                  <a:lnTo>
                    <a:pt x="96093" y="66993"/>
                  </a:lnTo>
                  <a:lnTo>
                    <a:pt x="98891" y="67103"/>
                  </a:lnTo>
                  <a:lnTo>
                    <a:pt x="108453" y="76804"/>
                  </a:lnTo>
                  <a:lnTo>
                    <a:pt x="108919" y="78301"/>
                  </a:lnTo>
                  <a:lnTo>
                    <a:pt x="109025" y="84670"/>
                  </a:lnTo>
                  <a:lnTo>
                    <a:pt x="107971" y="89648"/>
                  </a:lnTo>
                  <a:lnTo>
                    <a:pt x="110351" y="91175"/>
                  </a:lnTo>
                  <a:lnTo>
                    <a:pt x="113592" y="91747"/>
                  </a:lnTo>
                  <a:lnTo>
                    <a:pt x="118146" y="92812"/>
                  </a:lnTo>
                  <a:lnTo>
                    <a:pt x="122525" y="94398"/>
                  </a:lnTo>
                  <a:lnTo>
                    <a:pt x="136475" y="101111"/>
                  </a:lnTo>
                  <a:lnTo>
                    <a:pt x="138390" y="101683"/>
                  </a:lnTo>
                  <a:lnTo>
                    <a:pt x="141206" y="101900"/>
                  </a:lnTo>
                  <a:lnTo>
                    <a:pt x="144046" y="101811"/>
                  </a:lnTo>
                  <a:lnTo>
                    <a:pt x="145066" y="102153"/>
                  </a:lnTo>
                  <a:lnTo>
                    <a:pt x="147183" y="103372"/>
                  </a:lnTo>
                  <a:lnTo>
                    <a:pt x="148248" y="104167"/>
                  </a:lnTo>
                  <a:lnTo>
                    <a:pt x="150157" y="106339"/>
                  </a:lnTo>
                  <a:lnTo>
                    <a:pt x="151861" y="108699"/>
                  </a:lnTo>
                  <a:lnTo>
                    <a:pt x="152586" y="109373"/>
                  </a:lnTo>
                  <a:lnTo>
                    <a:pt x="153452" y="109900"/>
                  </a:lnTo>
                  <a:lnTo>
                    <a:pt x="153949" y="111183"/>
                  </a:lnTo>
                  <a:lnTo>
                    <a:pt x="154612" y="115138"/>
                  </a:lnTo>
                  <a:lnTo>
                    <a:pt x="154413" y="117608"/>
                  </a:lnTo>
                  <a:lnTo>
                    <a:pt x="153638" y="118523"/>
                  </a:lnTo>
                  <a:lnTo>
                    <a:pt x="151407" y="118968"/>
                  </a:lnTo>
                  <a:lnTo>
                    <a:pt x="143584" y="119384"/>
                  </a:lnTo>
                  <a:lnTo>
                    <a:pt x="138352" y="118925"/>
                  </a:lnTo>
                  <a:lnTo>
                    <a:pt x="134691" y="121421"/>
                  </a:lnTo>
                  <a:lnTo>
                    <a:pt x="134594" y="122510"/>
                  </a:lnTo>
                  <a:lnTo>
                    <a:pt x="134849" y="123525"/>
                  </a:lnTo>
                  <a:lnTo>
                    <a:pt x="138037" y="128818"/>
                  </a:lnTo>
                  <a:lnTo>
                    <a:pt x="139920" y="133510"/>
                  </a:lnTo>
                  <a:lnTo>
                    <a:pt x="141470" y="135421"/>
                  </a:lnTo>
                  <a:lnTo>
                    <a:pt x="143795" y="136971"/>
                  </a:lnTo>
                  <a:lnTo>
                    <a:pt x="145866" y="138804"/>
                  </a:lnTo>
                  <a:lnTo>
                    <a:pt x="147771" y="140911"/>
                  </a:lnTo>
                  <a:lnTo>
                    <a:pt x="151734" y="144588"/>
                  </a:lnTo>
                  <a:lnTo>
                    <a:pt x="153891" y="145950"/>
                  </a:lnTo>
                  <a:lnTo>
                    <a:pt x="156417" y="146793"/>
                  </a:lnTo>
                  <a:lnTo>
                    <a:pt x="160632" y="149647"/>
                  </a:lnTo>
                  <a:lnTo>
                    <a:pt x="161190" y="150907"/>
                  </a:lnTo>
                  <a:lnTo>
                    <a:pt x="162395" y="154879"/>
                  </a:lnTo>
                  <a:lnTo>
                    <a:pt x="162915" y="157573"/>
                  </a:lnTo>
                  <a:lnTo>
                    <a:pt x="162995" y="158684"/>
                  </a:lnTo>
                  <a:lnTo>
                    <a:pt x="163288" y="159680"/>
                  </a:lnTo>
                  <a:lnTo>
                    <a:pt x="166994" y="162123"/>
                  </a:lnTo>
                  <a:lnTo>
                    <a:pt x="167805" y="162804"/>
                  </a:lnTo>
                  <a:lnTo>
                    <a:pt x="169458" y="168241"/>
                  </a:lnTo>
                  <a:lnTo>
                    <a:pt x="170723" y="170764"/>
                  </a:lnTo>
                  <a:lnTo>
                    <a:pt x="172854" y="171660"/>
                  </a:lnTo>
                  <a:lnTo>
                    <a:pt x="175338" y="171604"/>
                  </a:lnTo>
                  <a:lnTo>
                    <a:pt x="182097" y="169987"/>
                  </a:lnTo>
                  <a:lnTo>
                    <a:pt x="183074" y="169935"/>
                  </a:lnTo>
                  <a:lnTo>
                    <a:pt x="184327" y="170307"/>
                  </a:lnTo>
                  <a:lnTo>
                    <a:pt x="185418" y="171193"/>
                  </a:lnTo>
                  <a:lnTo>
                    <a:pt x="185780" y="173639"/>
                  </a:lnTo>
                  <a:lnTo>
                    <a:pt x="184722" y="176207"/>
                  </a:lnTo>
                  <a:lnTo>
                    <a:pt x="184431" y="178681"/>
                  </a:lnTo>
                  <a:lnTo>
                    <a:pt x="185761" y="180711"/>
                  </a:lnTo>
                  <a:lnTo>
                    <a:pt x="189201" y="182295"/>
                  </a:lnTo>
                  <a:lnTo>
                    <a:pt x="190462" y="182728"/>
                  </a:lnTo>
                  <a:lnTo>
                    <a:pt x="196653" y="183234"/>
                  </a:lnTo>
                  <a:lnTo>
                    <a:pt x="199083" y="183661"/>
                  </a:lnTo>
                  <a:lnTo>
                    <a:pt x="201468" y="184345"/>
                  </a:lnTo>
                  <a:lnTo>
                    <a:pt x="202298" y="184958"/>
                  </a:lnTo>
                  <a:lnTo>
                    <a:pt x="201715" y="186048"/>
                  </a:lnTo>
                  <a:lnTo>
                    <a:pt x="200466" y="186579"/>
                  </a:lnTo>
                  <a:lnTo>
                    <a:pt x="199054" y="186797"/>
                  </a:lnTo>
                  <a:lnTo>
                    <a:pt x="196774" y="187584"/>
                  </a:lnTo>
                  <a:lnTo>
                    <a:pt x="196815" y="188986"/>
                  </a:lnTo>
                  <a:lnTo>
                    <a:pt x="198102" y="190449"/>
                  </a:lnTo>
                  <a:lnTo>
                    <a:pt x="199276" y="192208"/>
                  </a:lnTo>
                  <a:lnTo>
                    <a:pt x="200265" y="192847"/>
                  </a:lnTo>
                  <a:lnTo>
                    <a:pt x="201337" y="193275"/>
                  </a:lnTo>
                  <a:lnTo>
                    <a:pt x="204012" y="193885"/>
                  </a:lnTo>
                  <a:lnTo>
                    <a:pt x="206615" y="194723"/>
                  </a:lnTo>
                  <a:lnTo>
                    <a:pt x="208331" y="195556"/>
                  </a:lnTo>
                  <a:lnTo>
                    <a:pt x="210104" y="196154"/>
                  </a:lnTo>
                  <a:lnTo>
                    <a:pt x="213968" y="196536"/>
                  </a:lnTo>
                  <a:lnTo>
                    <a:pt x="216802" y="197661"/>
                  </a:lnTo>
                  <a:lnTo>
                    <a:pt x="220839" y="197190"/>
                  </a:lnTo>
                  <a:lnTo>
                    <a:pt x="217340" y="199019"/>
                  </a:lnTo>
                  <a:lnTo>
                    <a:pt x="216135" y="199468"/>
                  </a:lnTo>
                  <a:lnTo>
                    <a:pt x="211917" y="198783"/>
                  </a:lnTo>
                  <a:lnTo>
                    <a:pt x="211125" y="199496"/>
                  </a:lnTo>
                  <a:lnTo>
                    <a:pt x="212863" y="201430"/>
                  </a:lnTo>
                  <a:lnTo>
                    <a:pt x="215442" y="202733"/>
                  </a:lnTo>
                  <a:lnTo>
                    <a:pt x="216364" y="203490"/>
                  </a:lnTo>
                  <a:lnTo>
                    <a:pt x="215718" y="204377"/>
                  </a:lnTo>
                  <a:lnTo>
                    <a:pt x="212721" y="206149"/>
                  </a:lnTo>
                  <a:lnTo>
                    <a:pt x="211469" y="206409"/>
                  </a:lnTo>
                  <a:lnTo>
                    <a:pt x="209128" y="206551"/>
                  </a:lnTo>
                  <a:lnTo>
                    <a:pt x="205202" y="205787"/>
                  </a:lnTo>
                  <a:lnTo>
                    <a:pt x="202425" y="204813"/>
                  </a:lnTo>
                  <a:lnTo>
                    <a:pt x="201645" y="203484"/>
                  </a:lnTo>
                  <a:lnTo>
                    <a:pt x="200905" y="202700"/>
                  </a:lnTo>
                  <a:lnTo>
                    <a:pt x="198400" y="200827"/>
                  </a:lnTo>
                  <a:lnTo>
                    <a:pt x="196616" y="199804"/>
                  </a:lnTo>
                  <a:lnTo>
                    <a:pt x="194345" y="199457"/>
                  </a:lnTo>
                  <a:lnTo>
                    <a:pt x="191978" y="199479"/>
                  </a:lnTo>
                  <a:lnTo>
                    <a:pt x="187739" y="198390"/>
                  </a:lnTo>
                  <a:lnTo>
                    <a:pt x="178544" y="197618"/>
                  </a:lnTo>
                  <a:lnTo>
                    <a:pt x="176352" y="197144"/>
                  </a:lnTo>
                  <a:lnTo>
                    <a:pt x="173593" y="195645"/>
                  </a:lnTo>
                  <a:lnTo>
                    <a:pt x="172295" y="195432"/>
                  </a:lnTo>
                  <a:lnTo>
                    <a:pt x="170902" y="195903"/>
                  </a:lnTo>
                  <a:lnTo>
                    <a:pt x="167350" y="196193"/>
                  </a:lnTo>
                  <a:lnTo>
                    <a:pt x="166307" y="196060"/>
                  </a:lnTo>
                  <a:lnTo>
                    <a:pt x="163772" y="194782"/>
                  </a:lnTo>
                  <a:lnTo>
                    <a:pt x="161157" y="194315"/>
                  </a:lnTo>
                  <a:lnTo>
                    <a:pt x="160069" y="194699"/>
                  </a:lnTo>
                  <a:lnTo>
                    <a:pt x="158965" y="194784"/>
                  </a:lnTo>
                  <a:lnTo>
                    <a:pt x="155400" y="193870"/>
                  </a:lnTo>
                  <a:lnTo>
                    <a:pt x="152713" y="193484"/>
                  </a:lnTo>
                  <a:lnTo>
                    <a:pt x="150507" y="192210"/>
                  </a:lnTo>
                  <a:lnTo>
                    <a:pt x="149302" y="191020"/>
                  </a:lnTo>
                  <a:lnTo>
                    <a:pt x="147948" y="189962"/>
                  </a:lnTo>
                  <a:lnTo>
                    <a:pt x="146696" y="187240"/>
                  </a:lnTo>
                  <a:lnTo>
                    <a:pt x="144746" y="184657"/>
                  </a:lnTo>
                  <a:lnTo>
                    <a:pt x="142327" y="182535"/>
                  </a:lnTo>
                  <a:lnTo>
                    <a:pt x="137142" y="179110"/>
                  </a:lnTo>
                  <a:lnTo>
                    <a:pt x="136097" y="178259"/>
                  </a:lnTo>
                  <a:lnTo>
                    <a:pt x="134067" y="175120"/>
                  </a:lnTo>
                  <a:lnTo>
                    <a:pt x="134178" y="173041"/>
                  </a:lnTo>
                  <a:lnTo>
                    <a:pt x="134916" y="170938"/>
                  </a:lnTo>
                  <a:lnTo>
                    <a:pt x="133800" y="171654"/>
                  </a:lnTo>
                  <a:lnTo>
                    <a:pt x="132539" y="171565"/>
                  </a:lnTo>
                  <a:lnTo>
                    <a:pt x="129008" y="170176"/>
                  </a:lnTo>
                  <a:lnTo>
                    <a:pt x="127554" y="168522"/>
                  </a:lnTo>
                  <a:lnTo>
                    <a:pt x="125195" y="164033"/>
                  </a:lnTo>
                  <a:lnTo>
                    <a:pt x="123685" y="161668"/>
                  </a:lnTo>
                  <a:lnTo>
                    <a:pt x="120161" y="157482"/>
                  </a:lnTo>
                  <a:lnTo>
                    <a:pt x="119146" y="154996"/>
                  </a:lnTo>
                  <a:lnTo>
                    <a:pt x="117676" y="152824"/>
                  </a:lnTo>
                  <a:lnTo>
                    <a:pt x="116767" y="152020"/>
                  </a:lnTo>
                  <a:lnTo>
                    <a:pt x="116011" y="151090"/>
                  </a:lnTo>
                  <a:lnTo>
                    <a:pt x="115341" y="149882"/>
                  </a:lnTo>
                  <a:lnTo>
                    <a:pt x="114339" y="149041"/>
                  </a:lnTo>
                  <a:lnTo>
                    <a:pt x="109424" y="147180"/>
                  </a:lnTo>
                  <a:lnTo>
                    <a:pt x="108559" y="146594"/>
                  </a:lnTo>
                  <a:lnTo>
                    <a:pt x="107606" y="146283"/>
                  </a:lnTo>
                  <a:lnTo>
                    <a:pt x="103950" y="146092"/>
                  </a:lnTo>
                  <a:lnTo>
                    <a:pt x="101837" y="145785"/>
                  </a:lnTo>
                  <a:lnTo>
                    <a:pt x="97851" y="144263"/>
                  </a:lnTo>
                  <a:lnTo>
                    <a:pt x="95790" y="143806"/>
                  </a:lnTo>
                  <a:lnTo>
                    <a:pt x="93313" y="143517"/>
                  </a:lnTo>
                  <a:lnTo>
                    <a:pt x="90914" y="142939"/>
                  </a:lnTo>
                  <a:lnTo>
                    <a:pt x="89744" y="142372"/>
                  </a:lnTo>
                  <a:lnTo>
                    <a:pt x="88958" y="141415"/>
                  </a:lnTo>
                  <a:lnTo>
                    <a:pt x="88492" y="139145"/>
                  </a:lnTo>
                  <a:lnTo>
                    <a:pt x="86483" y="139388"/>
                  </a:lnTo>
                  <a:lnTo>
                    <a:pt x="84514" y="138995"/>
                  </a:lnTo>
                  <a:lnTo>
                    <a:pt x="82603" y="138198"/>
                  </a:lnTo>
                  <a:lnTo>
                    <a:pt x="80655" y="137718"/>
                  </a:lnTo>
                  <a:lnTo>
                    <a:pt x="79325" y="138402"/>
                  </a:lnTo>
                  <a:lnTo>
                    <a:pt x="78917" y="140209"/>
                  </a:lnTo>
                  <a:lnTo>
                    <a:pt x="78301" y="140303"/>
                  </a:lnTo>
                  <a:lnTo>
                    <a:pt x="77161" y="139933"/>
                  </a:lnTo>
                  <a:lnTo>
                    <a:pt x="76593" y="140150"/>
                  </a:lnTo>
                  <a:lnTo>
                    <a:pt x="75356" y="140984"/>
                  </a:lnTo>
                  <a:lnTo>
                    <a:pt x="74365" y="142112"/>
                  </a:lnTo>
                  <a:lnTo>
                    <a:pt x="72540" y="141940"/>
                  </a:lnTo>
                  <a:lnTo>
                    <a:pt x="68798" y="140800"/>
                  </a:lnTo>
                  <a:lnTo>
                    <a:pt x="67131" y="140085"/>
                  </a:lnTo>
                  <a:lnTo>
                    <a:pt x="65714" y="138798"/>
                  </a:lnTo>
                  <a:lnTo>
                    <a:pt x="64496" y="137334"/>
                  </a:lnTo>
                  <a:lnTo>
                    <a:pt x="63264" y="136181"/>
                  </a:lnTo>
                  <a:lnTo>
                    <a:pt x="61749" y="135339"/>
                  </a:lnTo>
                  <a:lnTo>
                    <a:pt x="63678" y="137327"/>
                  </a:lnTo>
                  <a:lnTo>
                    <a:pt x="68105" y="146100"/>
                  </a:lnTo>
                  <a:lnTo>
                    <a:pt x="66997" y="146270"/>
                  </a:lnTo>
                  <a:lnTo>
                    <a:pt x="65857" y="146048"/>
                  </a:lnTo>
                  <a:lnTo>
                    <a:pt x="66904" y="147734"/>
                  </a:lnTo>
                  <a:lnTo>
                    <a:pt x="65697" y="147989"/>
                  </a:lnTo>
                  <a:lnTo>
                    <a:pt x="64501" y="147969"/>
                  </a:lnTo>
                  <a:lnTo>
                    <a:pt x="61974" y="147241"/>
                  </a:lnTo>
                  <a:lnTo>
                    <a:pt x="59465" y="147000"/>
                  </a:lnTo>
                  <a:lnTo>
                    <a:pt x="58727" y="147357"/>
                  </a:lnTo>
                  <a:lnTo>
                    <a:pt x="59258" y="147989"/>
                  </a:lnTo>
                  <a:lnTo>
                    <a:pt x="60139" y="149849"/>
                  </a:lnTo>
                  <a:lnTo>
                    <a:pt x="60841" y="151801"/>
                  </a:lnTo>
                  <a:lnTo>
                    <a:pt x="57219" y="152679"/>
                  </a:lnTo>
                  <a:lnTo>
                    <a:pt x="53505" y="153214"/>
                  </a:lnTo>
                  <a:lnTo>
                    <a:pt x="49368" y="154268"/>
                  </a:lnTo>
                  <a:lnTo>
                    <a:pt x="45179" y="154340"/>
                  </a:lnTo>
                  <a:lnTo>
                    <a:pt x="43030" y="153740"/>
                  </a:lnTo>
                  <a:lnTo>
                    <a:pt x="40825" y="153401"/>
                  </a:lnTo>
                  <a:lnTo>
                    <a:pt x="38757" y="153740"/>
                  </a:lnTo>
                  <a:lnTo>
                    <a:pt x="36746" y="154501"/>
                  </a:lnTo>
                  <a:lnTo>
                    <a:pt x="35053" y="154379"/>
                  </a:lnTo>
                  <a:lnTo>
                    <a:pt x="33984" y="153009"/>
                  </a:lnTo>
                  <a:lnTo>
                    <a:pt x="33481" y="151970"/>
                  </a:lnTo>
                  <a:lnTo>
                    <a:pt x="32839" y="151068"/>
                  </a:lnTo>
                  <a:lnTo>
                    <a:pt x="31257" y="151212"/>
                  </a:lnTo>
                  <a:lnTo>
                    <a:pt x="29730" y="151699"/>
                  </a:lnTo>
                  <a:lnTo>
                    <a:pt x="32345" y="151755"/>
                  </a:lnTo>
                  <a:lnTo>
                    <a:pt x="33129" y="152905"/>
                  </a:lnTo>
                  <a:lnTo>
                    <a:pt x="33803" y="154301"/>
                  </a:lnTo>
                  <a:lnTo>
                    <a:pt x="35655" y="155564"/>
                  </a:lnTo>
                  <a:lnTo>
                    <a:pt x="37892" y="154812"/>
                  </a:lnTo>
                  <a:lnTo>
                    <a:pt x="42801" y="155020"/>
                  </a:lnTo>
                  <a:lnTo>
                    <a:pt x="47571" y="157221"/>
                  </a:lnTo>
                  <a:lnTo>
                    <a:pt x="48703" y="157473"/>
                  </a:lnTo>
                  <a:lnTo>
                    <a:pt x="49741" y="157904"/>
                  </a:lnTo>
                  <a:lnTo>
                    <a:pt x="52199" y="160078"/>
                  </a:lnTo>
                  <a:lnTo>
                    <a:pt x="54051" y="162055"/>
                  </a:lnTo>
                  <a:lnTo>
                    <a:pt x="55611" y="164311"/>
                  </a:lnTo>
                  <a:lnTo>
                    <a:pt x="55941" y="165195"/>
                  </a:lnTo>
                  <a:lnTo>
                    <a:pt x="55837" y="167564"/>
                  </a:lnTo>
                  <a:lnTo>
                    <a:pt x="55367" y="168742"/>
                  </a:lnTo>
                  <a:lnTo>
                    <a:pt x="52285" y="170411"/>
                  </a:lnTo>
                  <a:lnTo>
                    <a:pt x="48998" y="171671"/>
                  </a:lnTo>
                  <a:lnTo>
                    <a:pt x="44155" y="174127"/>
                  </a:lnTo>
                  <a:lnTo>
                    <a:pt x="39467" y="176919"/>
                  </a:lnTo>
                  <a:lnTo>
                    <a:pt x="37003" y="176372"/>
                  </a:lnTo>
                  <a:lnTo>
                    <a:pt x="34781" y="174894"/>
                  </a:lnTo>
                  <a:lnTo>
                    <a:pt x="33920" y="174493"/>
                  </a:lnTo>
                  <a:lnTo>
                    <a:pt x="31631" y="173687"/>
                  </a:lnTo>
                  <a:lnTo>
                    <a:pt x="30233" y="173398"/>
                  </a:lnTo>
                  <a:lnTo>
                    <a:pt x="24690" y="174027"/>
                  </a:lnTo>
                  <a:lnTo>
                    <a:pt x="19128" y="174349"/>
                  </a:lnTo>
                  <a:lnTo>
                    <a:pt x="16789" y="174321"/>
                  </a:lnTo>
                  <a:lnTo>
                    <a:pt x="14516" y="173849"/>
                  </a:lnTo>
                  <a:lnTo>
                    <a:pt x="12015" y="172969"/>
                  </a:lnTo>
                  <a:lnTo>
                    <a:pt x="9538" y="173359"/>
                  </a:lnTo>
                  <a:lnTo>
                    <a:pt x="7842" y="174391"/>
                  </a:lnTo>
                  <a:lnTo>
                    <a:pt x="5990" y="174543"/>
                  </a:lnTo>
                  <a:lnTo>
                    <a:pt x="2518" y="172257"/>
                  </a:lnTo>
                  <a:lnTo>
                    <a:pt x="2513" y="171963"/>
                  </a:lnTo>
                  <a:lnTo>
                    <a:pt x="2513" y="167432"/>
                  </a:lnTo>
                  <a:lnTo>
                    <a:pt x="2511" y="162902"/>
                  </a:lnTo>
                  <a:lnTo>
                    <a:pt x="2509" y="158375"/>
                  </a:lnTo>
                  <a:lnTo>
                    <a:pt x="2507" y="153848"/>
                  </a:lnTo>
                  <a:lnTo>
                    <a:pt x="2505" y="149323"/>
                  </a:lnTo>
                  <a:lnTo>
                    <a:pt x="2505" y="144799"/>
                  </a:lnTo>
                  <a:lnTo>
                    <a:pt x="2503" y="140279"/>
                  </a:lnTo>
                  <a:lnTo>
                    <a:pt x="2501" y="135758"/>
                  </a:lnTo>
                  <a:lnTo>
                    <a:pt x="2498" y="131238"/>
                  </a:lnTo>
                  <a:lnTo>
                    <a:pt x="2496" y="126719"/>
                  </a:lnTo>
                  <a:lnTo>
                    <a:pt x="2496" y="123005"/>
                  </a:lnTo>
                  <a:lnTo>
                    <a:pt x="1265" y="121553"/>
                  </a:lnTo>
                  <a:lnTo>
                    <a:pt x="0" y="119332"/>
                  </a:lnTo>
                  <a:lnTo>
                    <a:pt x="271" y="116478"/>
                  </a:lnTo>
                  <a:lnTo>
                    <a:pt x="1807" y="112942"/>
                  </a:lnTo>
                  <a:lnTo>
                    <a:pt x="2492" y="110585"/>
                  </a:lnTo>
                  <a:lnTo>
                    <a:pt x="2492" y="108660"/>
                  </a:lnTo>
                  <a:lnTo>
                    <a:pt x="2490" y="104149"/>
                  </a:lnTo>
                  <a:lnTo>
                    <a:pt x="2488" y="99638"/>
                  </a:lnTo>
                  <a:lnTo>
                    <a:pt x="2485" y="95128"/>
                  </a:lnTo>
                  <a:lnTo>
                    <a:pt x="2483" y="90618"/>
                  </a:lnTo>
                  <a:lnTo>
                    <a:pt x="2483" y="86112"/>
                  </a:lnTo>
                  <a:lnTo>
                    <a:pt x="2481" y="81605"/>
                  </a:lnTo>
                  <a:lnTo>
                    <a:pt x="2478" y="77098"/>
                  </a:lnTo>
                  <a:lnTo>
                    <a:pt x="2477" y="72592"/>
                  </a:lnTo>
                  <a:lnTo>
                    <a:pt x="2474" y="68090"/>
                  </a:lnTo>
                  <a:lnTo>
                    <a:pt x="2474" y="63586"/>
                  </a:lnTo>
                  <a:lnTo>
                    <a:pt x="2471" y="59082"/>
                  </a:lnTo>
                  <a:lnTo>
                    <a:pt x="2471" y="54580"/>
                  </a:lnTo>
                  <a:lnTo>
                    <a:pt x="2467" y="50080"/>
                  </a:lnTo>
                  <a:lnTo>
                    <a:pt x="2466" y="45579"/>
                  </a:lnTo>
                  <a:lnTo>
                    <a:pt x="2464" y="41078"/>
                  </a:lnTo>
                  <a:lnTo>
                    <a:pt x="2461" y="36578"/>
                  </a:lnTo>
                  <a:lnTo>
                    <a:pt x="2460" y="32081"/>
                  </a:lnTo>
                  <a:lnTo>
                    <a:pt x="2457" y="29373"/>
                  </a:lnTo>
                  <a:lnTo>
                    <a:pt x="2457" y="27880"/>
                  </a:lnTo>
                  <a:close/>
                  <a:moveTo>
                    <a:pt x="220305" y="26981"/>
                  </a:moveTo>
                  <a:lnTo>
                    <a:pt x="224062" y="29533"/>
                  </a:lnTo>
                  <a:lnTo>
                    <a:pt x="228027" y="31763"/>
                  </a:lnTo>
                  <a:lnTo>
                    <a:pt x="229173" y="33561"/>
                  </a:lnTo>
                  <a:lnTo>
                    <a:pt x="231126" y="33671"/>
                  </a:lnTo>
                  <a:lnTo>
                    <a:pt x="234677" y="35158"/>
                  </a:lnTo>
                  <a:lnTo>
                    <a:pt x="237117" y="36498"/>
                  </a:lnTo>
                  <a:lnTo>
                    <a:pt x="239420" y="38043"/>
                  </a:lnTo>
                  <a:lnTo>
                    <a:pt x="242013" y="40256"/>
                  </a:lnTo>
                  <a:lnTo>
                    <a:pt x="247005" y="41994"/>
                  </a:lnTo>
                  <a:lnTo>
                    <a:pt x="247716" y="42626"/>
                  </a:lnTo>
                  <a:lnTo>
                    <a:pt x="250245" y="45514"/>
                  </a:lnTo>
                  <a:lnTo>
                    <a:pt x="253564" y="47963"/>
                  </a:lnTo>
                  <a:lnTo>
                    <a:pt x="254691" y="49313"/>
                  </a:lnTo>
                  <a:lnTo>
                    <a:pt x="268761" y="60910"/>
                  </a:lnTo>
                  <a:lnTo>
                    <a:pt x="271137" y="64159"/>
                  </a:lnTo>
                  <a:lnTo>
                    <a:pt x="271320" y="66376"/>
                  </a:lnTo>
                  <a:lnTo>
                    <a:pt x="270856" y="67246"/>
                  </a:lnTo>
                  <a:lnTo>
                    <a:pt x="269371" y="69122"/>
                  </a:lnTo>
                  <a:lnTo>
                    <a:pt x="269398" y="71337"/>
                  </a:lnTo>
                  <a:lnTo>
                    <a:pt x="268904" y="73330"/>
                  </a:lnTo>
                  <a:lnTo>
                    <a:pt x="267634" y="75326"/>
                  </a:lnTo>
                  <a:lnTo>
                    <a:pt x="265995" y="77012"/>
                  </a:lnTo>
                  <a:lnTo>
                    <a:pt x="264976" y="75440"/>
                  </a:lnTo>
                  <a:lnTo>
                    <a:pt x="263669" y="74064"/>
                  </a:lnTo>
                  <a:lnTo>
                    <a:pt x="262639" y="72655"/>
                  </a:lnTo>
                  <a:lnTo>
                    <a:pt x="261329" y="69611"/>
                  </a:lnTo>
                  <a:lnTo>
                    <a:pt x="261264" y="68077"/>
                  </a:lnTo>
                  <a:lnTo>
                    <a:pt x="261610" y="66454"/>
                  </a:lnTo>
                  <a:lnTo>
                    <a:pt x="261685" y="64817"/>
                  </a:lnTo>
                  <a:lnTo>
                    <a:pt x="261052" y="61490"/>
                  </a:lnTo>
                  <a:lnTo>
                    <a:pt x="259511" y="58455"/>
                  </a:lnTo>
                  <a:lnTo>
                    <a:pt x="254144" y="51222"/>
                  </a:lnTo>
                  <a:lnTo>
                    <a:pt x="252455" y="49323"/>
                  </a:lnTo>
                  <a:lnTo>
                    <a:pt x="250528" y="47628"/>
                  </a:lnTo>
                  <a:lnTo>
                    <a:pt x="249292" y="47213"/>
                  </a:lnTo>
                  <a:lnTo>
                    <a:pt x="246791" y="46806"/>
                  </a:lnTo>
                  <a:lnTo>
                    <a:pt x="245680" y="46467"/>
                  </a:lnTo>
                  <a:lnTo>
                    <a:pt x="243619" y="45287"/>
                  </a:lnTo>
                  <a:lnTo>
                    <a:pt x="241704" y="43910"/>
                  </a:lnTo>
                  <a:lnTo>
                    <a:pt x="236958" y="39829"/>
                  </a:lnTo>
                  <a:lnTo>
                    <a:pt x="234449" y="38674"/>
                  </a:lnTo>
                  <a:lnTo>
                    <a:pt x="233123" y="37248"/>
                  </a:lnTo>
                  <a:lnTo>
                    <a:pt x="225643" y="32647"/>
                  </a:lnTo>
                  <a:lnTo>
                    <a:pt x="223459" y="31560"/>
                  </a:lnTo>
                  <a:lnTo>
                    <a:pt x="220801" y="31558"/>
                  </a:lnTo>
                  <a:lnTo>
                    <a:pt x="218551" y="30652"/>
                  </a:lnTo>
                  <a:lnTo>
                    <a:pt x="220329" y="30077"/>
                  </a:lnTo>
                  <a:lnTo>
                    <a:pt x="220694" y="28543"/>
                  </a:lnTo>
                  <a:close/>
                  <a:moveTo>
                    <a:pt x="207076" y="22804"/>
                  </a:moveTo>
                  <a:lnTo>
                    <a:pt x="211551" y="24712"/>
                  </a:lnTo>
                  <a:lnTo>
                    <a:pt x="212004" y="25660"/>
                  </a:lnTo>
                  <a:lnTo>
                    <a:pt x="212038" y="26276"/>
                  </a:lnTo>
                  <a:lnTo>
                    <a:pt x="211917" y="28294"/>
                  </a:lnTo>
                  <a:lnTo>
                    <a:pt x="211708" y="28947"/>
                  </a:lnTo>
                  <a:lnTo>
                    <a:pt x="207305" y="29250"/>
                  </a:lnTo>
                  <a:lnTo>
                    <a:pt x="205718" y="28913"/>
                  </a:lnTo>
                  <a:lnTo>
                    <a:pt x="204299" y="27636"/>
                  </a:lnTo>
                  <a:lnTo>
                    <a:pt x="203014" y="25643"/>
                  </a:lnTo>
                  <a:lnTo>
                    <a:pt x="201725" y="25179"/>
                  </a:lnTo>
                  <a:lnTo>
                    <a:pt x="201205" y="24788"/>
                  </a:lnTo>
                  <a:lnTo>
                    <a:pt x="204321" y="23265"/>
                  </a:lnTo>
                  <a:close/>
                  <a:moveTo>
                    <a:pt x="154200" y="19764"/>
                  </a:moveTo>
                  <a:lnTo>
                    <a:pt x="155109" y="20568"/>
                  </a:lnTo>
                  <a:lnTo>
                    <a:pt x="154392" y="21732"/>
                  </a:lnTo>
                  <a:lnTo>
                    <a:pt x="152720" y="21633"/>
                  </a:lnTo>
                  <a:lnTo>
                    <a:pt x="151982" y="21286"/>
                  </a:lnTo>
                  <a:lnTo>
                    <a:pt x="153191" y="21065"/>
                  </a:lnTo>
                  <a:lnTo>
                    <a:pt x="153677" y="20103"/>
                  </a:lnTo>
                  <a:close/>
                  <a:moveTo>
                    <a:pt x="132558" y="13167"/>
                  </a:moveTo>
                  <a:lnTo>
                    <a:pt x="137212" y="13424"/>
                  </a:lnTo>
                  <a:lnTo>
                    <a:pt x="144575" y="14860"/>
                  </a:lnTo>
                  <a:lnTo>
                    <a:pt x="145061" y="14843"/>
                  </a:lnTo>
                  <a:lnTo>
                    <a:pt x="144977" y="14329"/>
                  </a:lnTo>
                  <a:lnTo>
                    <a:pt x="145101" y="14184"/>
                  </a:lnTo>
                  <a:lnTo>
                    <a:pt x="145538" y="14560"/>
                  </a:lnTo>
                  <a:lnTo>
                    <a:pt x="145404" y="15610"/>
                  </a:lnTo>
                  <a:lnTo>
                    <a:pt x="144240" y="15867"/>
                  </a:lnTo>
                  <a:lnTo>
                    <a:pt x="143159" y="15766"/>
                  </a:lnTo>
                  <a:lnTo>
                    <a:pt x="142381" y="16306"/>
                  </a:lnTo>
                  <a:lnTo>
                    <a:pt x="140280" y="18330"/>
                  </a:lnTo>
                  <a:lnTo>
                    <a:pt x="138861" y="17991"/>
                  </a:lnTo>
                  <a:lnTo>
                    <a:pt x="137130" y="18444"/>
                  </a:lnTo>
                  <a:lnTo>
                    <a:pt x="134089" y="18488"/>
                  </a:lnTo>
                  <a:lnTo>
                    <a:pt x="130142" y="17597"/>
                  </a:lnTo>
                  <a:lnTo>
                    <a:pt x="129064" y="18347"/>
                  </a:lnTo>
                  <a:lnTo>
                    <a:pt x="127656" y="18140"/>
                  </a:lnTo>
                  <a:lnTo>
                    <a:pt x="126264" y="18961"/>
                  </a:lnTo>
                  <a:lnTo>
                    <a:pt x="125689" y="18920"/>
                  </a:lnTo>
                  <a:lnTo>
                    <a:pt x="125355" y="17714"/>
                  </a:lnTo>
                  <a:lnTo>
                    <a:pt x="125378" y="17096"/>
                  </a:lnTo>
                  <a:lnTo>
                    <a:pt x="127027" y="16573"/>
                  </a:lnTo>
                  <a:lnTo>
                    <a:pt x="126782" y="14679"/>
                  </a:lnTo>
                  <a:lnTo>
                    <a:pt x="128116" y="13731"/>
                  </a:lnTo>
                  <a:lnTo>
                    <a:pt x="130412" y="13813"/>
                  </a:lnTo>
                  <a:close/>
                  <a:moveTo>
                    <a:pt x="192788" y="0"/>
                  </a:moveTo>
                  <a:lnTo>
                    <a:pt x="193939" y="194"/>
                  </a:lnTo>
                  <a:lnTo>
                    <a:pt x="195980" y="1712"/>
                  </a:lnTo>
                  <a:lnTo>
                    <a:pt x="196866" y="4419"/>
                  </a:lnTo>
                  <a:lnTo>
                    <a:pt x="196817" y="5218"/>
                  </a:lnTo>
                  <a:lnTo>
                    <a:pt x="195219" y="4814"/>
                  </a:lnTo>
                  <a:lnTo>
                    <a:pt x="194781" y="4933"/>
                  </a:lnTo>
                  <a:lnTo>
                    <a:pt x="192012" y="2620"/>
                  </a:lnTo>
                  <a:lnTo>
                    <a:pt x="192056" y="1205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60" name="ee4p_SB_1_37365">
              <a:extLst>
                <a:ext uri="{FF2B5EF4-FFF2-40B4-BE49-F238E27FC236}">
                  <a16:creationId xmlns:a16="http://schemas.microsoft.com/office/drawing/2014/main" id="{449287CC-A7CA-4A41-E135-A7A45047887B}"/>
                </a:ext>
              </a:extLst>
            </p:cNvPr>
            <p:cNvSpPr>
              <a:spLocks noChangeAspect="1"/>
            </p:cNvSpPr>
            <p:nvPr>
              <p:custDataLst>
                <p:tags r:id="rId214"/>
              </p:custDataLst>
            </p:nvPr>
          </p:nvSpPr>
          <p:spPr>
            <a:xfrm>
              <a:off x="10837764" y="4864573"/>
              <a:ext cx="312451" cy="150275"/>
            </a:xfrm>
            <a:custGeom>
              <a:avLst/>
              <a:gdLst>
                <a:gd name="connsiteX0" fmla="*/ 245740 w 248798"/>
                <a:gd name="connsiteY0" fmla="*/ 110641 h 116489"/>
                <a:gd name="connsiteX1" fmla="*/ 247168 w 248798"/>
                <a:gd name="connsiteY1" fmla="*/ 110810 h 116489"/>
                <a:gd name="connsiteX2" fmla="*/ 247602 w 248798"/>
                <a:gd name="connsiteY2" fmla="*/ 111950 h 116489"/>
                <a:gd name="connsiteX3" fmla="*/ 248798 w 248798"/>
                <a:gd name="connsiteY3" fmla="*/ 112744 h 116489"/>
                <a:gd name="connsiteX4" fmla="*/ 246844 w 248798"/>
                <a:gd name="connsiteY4" fmla="*/ 113107 h 116489"/>
                <a:gd name="connsiteX5" fmla="*/ 246072 w 248798"/>
                <a:gd name="connsiteY5" fmla="*/ 113018 h 116489"/>
                <a:gd name="connsiteX6" fmla="*/ 244779 w 248798"/>
                <a:gd name="connsiteY6" fmla="*/ 111079 h 116489"/>
                <a:gd name="connsiteX7" fmla="*/ 95578 w 248798"/>
                <a:gd name="connsiteY7" fmla="*/ 108417 h 116489"/>
                <a:gd name="connsiteX8" fmla="*/ 97289 w 248798"/>
                <a:gd name="connsiteY8" fmla="*/ 108884 h 116489"/>
                <a:gd name="connsiteX9" fmla="*/ 105501 w 248798"/>
                <a:gd name="connsiteY9" fmla="*/ 113433 h 116489"/>
                <a:gd name="connsiteX10" fmla="*/ 107455 w 248798"/>
                <a:gd name="connsiteY10" fmla="*/ 114843 h 116489"/>
                <a:gd name="connsiteX11" fmla="*/ 108321 w 248798"/>
                <a:gd name="connsiteY11" fmla="*/ 115719 h 116489"/>
                <a:gd name="connsiteX12" fmla="*/ 106779 w 248798"/>
                <a:gd name="connsiteY12" fmla="*/ 116489 h 116489"/>
                <a:gd name="connsiteX13" fmla="*/ 105376 w 248798"/>
                <a:gd name="connsiteY13" fmla="*/ 116101 h 116489"/>
                <a:gd name="connsiteX14" fmla="*/ 104303 w 248798"/>
                <a:gd name="connsiteY14" fmla="*/ 115517 h 116489"/>
                <a:gd name="connsiteX15" fmla="*/ 103430 w 248798"/>
                <a:gd name="connsiteY15" fmla="*/ 113792 h 116489"/>
                <a:gd name="connsiteX16" fmla="*/ 101554 w 248798"/>
                <a:gd name="connsiteY16" fmla="*/ 112718 h 116489"/>
                <a:gd name="connsiteX17" fmla="*/ 98884 w 248798"/>
                <a:gd name="connsiteY17" fmla="*/ 112269 h 116489"/>
                <a:gd name="connsiteX18" fmla="*/ 97790 w 248798"/>
                <a:gd name="connsiteY18" fmla="*/ 111525 h 116489"/>
                <a:gd name="connsiteX19" fmla="*/ 97505 w 248798"/>
                <a:gd name="connsiteY19" fmla="*/ 111158 h 116489"/>
                <a:gd name="connsiteX20" fmla="*/ 95656 w 248798"/>
                <a:gd name="connsiteY20" fmla="*/ 110827 h 116489"/>
                <a:gd name="connsiteX21" fmla="*/ 95121 w 248798"/>
                <a:gd name="connsiteY21" fmla="*/ 109895 h 116489"/>
                <a:gd name="connsiteX22" fmla="*/ 95276 w 248798"/>
                <a:gd name="connsiteY22" fmla="*/ 108926 h 116489"/>
                <a:gd name="connsiteX23" fmla="*/ 228779 w 248798"/>
                <a:gd name="connsiteY23" fmla="*/ 90271 h 116489"/>
                <a:gd name="connsiteX24" fmla="*/ 231031 w 248798"/>
                <a:gd name="connsiteY24" fmla="*/ 90690 h 116489"/>
                <a:gd name="connsiteX25" fmla="*/ 231836 w 248798"/>
                <a:gd name="connsiteY25" fmla="*/ 90985 h 116489"/>
                <a:gd name="connsiteX26" fmla="*/ 231124 w 248798"/>
                <a:gd name="connsiteY26" fmla="*/ 92151 h 116489"/>
                <a:gd name="connsiteX27" fmla="*/ 231196 w 248798"/>
                <a:gd name="connsiteY27" fmla="*/ 92433 h 116489"/>
                <a:gd name="connsiteX28" fmla="*/ 229431 w 248798"/>
                <a:gd name="connsiteY28" fmla="*/ 92819 h 116489"/>
                <a:gd name="connsiteX29" fmla="*/ 228869 w 248798"/>
                <a:gd name="connsiteY29" fmla="*/ 92710 h 116489"/>
                <a:gd name="connsiteX30" fmla="*/ 227548 w 248798"/>
                <a:gd name="connsiteY30" fmla="*/ 92918 h 116489"/>
                <a:gd name="connsiteX31" fmla="*/ 226129 w 248798"/>
                <a:gd name="connsiteY31" fmla="*/ 94528 h 116489"/>
                <a:gd name="connsiteX32" fmla="*/ 225079 w 248798"/>
                <a:gd name="connsiteY32" fmla="*/ 94302 h 116489"/>
                <a:gd name="connsiteX33" fmla="*/ 224257 w 248798"/>
                <a:gd name="connsiteY33" fmla="*/ 94361 h 116489"/>
                <a:gd name="connsiteX34" fmla="*/ 223630 w 248798"/>
                <a:gd name="connsiteY34" fmla="*/ 93035 h 116489"/>
                <a:gd name="connsiteX35" fmla="*/ 223618 w 248798"/>
                <a:gd name="connsiteY35" fmla="*/ 92394 h 116489"/>
                <a:gd name="connsiteX36" fmla="*/ 224624 w 248798"/>
                <a:gd name="connsiteY36" fmla="*/ 92496 h 116489"/>
                <a:gd name="connsiteX37" fmla="*/ 225153 w 248798"/>
                <a:gd name="connsiteY37" fmla="*/ 91208 h 116489"/>
                <a:gd name="connsiteX38" fmla="*/ 226243 w 248798"/>
                <a:gd name="connsiteY38" fmla="*/ 90565 h 116489"/>
                <a:gd name="connsiteX39" fmla="*/ 124430 w 248798"/>
                <a:gd name="connsiteY39" fmla="*/ 80063 h 116489"/>
                <a:gd name="connsiteX40" fmla="*/ 126145 w 248798"/>
                <a:gd name="connsiteY40" fmla="*/ 80089 h 116489"/>
                <a:gd name="connsiteX41" fmla="*/ 128209 w 248798"/>
                <a:gd name="connsiteY41" fmla="*/ 80814 h 116489"/>
                <a:gd name="connsiteX42" fmla="*/ 132147 w 248798"/>
                <a:gd name="connsiteY42" fmla="*/ 83358 h 116489"/>
                <a:gd name="connsiteX43" fmla="*/ 133124 w 248798"/>
                <a:gd name="connsiteY43" fmla="*/ 83792 h 116489"/>
                <a:gd name="connsiteX44" fmla="*/ 133509 w 248798"/>
                <a:gd name="connsiteY44" fmla="*/ 84150 h 116489"/>
                <a:gd name="connsiteX45" fmla="*/ 136290 w 248798"/>
                <a:gd name="connsiteY45" fmla="*/ 85464 h 116489"/>
                <a:gd name="connsiteX46" fmla="*/ 137909 w 248798"/>
                <a:gd name="connsiteY46" fmla="*/ 85248 h 116489"/>
                <a:gd name="connsiteX47" fmla="*/ 140308 w 248798"/>
                <a:gd name="connsiteY47" fmla="*/ 86151 h 116489"/>
                <a:gd name="connsiteX48" fmla="*/ 142133 w 248798"/>
                <a:gd name="connsiteY48" fmla="*/ 85636 h 116489"/>
                <a:gd name="connsiteX49" fmla="*/ 143271 w 248798"/>
                <a:gd name="connsiteY49" fmla="*/ 86804 h 116489"/>
                <a:gd name="connsiteX50" fmla="*/ 146154 w 248798"/>
                <a:gd name="connsiteY50" fmla="*/ 91363 h 116489"/>
                <a:gd name="connsiteX51" fmla="*/ 146171 w 248798"/>
                <a:gd name="connsiteY51" fmla="*/ 92843 h 116489"/>
                <a:gd name="connsiteX52" fmla="*/ 148058 w 248798"/>
                <a:gd name="connsiteY52" fmla="*/ 93896 h 116489"/>
                <a:gd name="connsiteX53" fmla="*/ 146464 w 248798"/>
                <a:gd name="connsiteY53" fmla="*/ 94095 h 116489"/>
                <a:gd name="connsiteX54" fmla="*/ 144254 w 248798"/>
                <a:gd name="connsiteY54" fmla="*/ 93551 h 116489"/>
                <a:gd name="connsiteX55" fmla="*/ 142537 w 248798"/>
                <a:gd name="connsiteY55" fmla="*/ 93922 h 116489"/>
                <a:gd name="connsiteX56" fmla="*/ 140746 w 248798"/>
                <a:gd name="connsiteY56" fmla="*/ 93038 h 116489"/>
                <a:gd name="connsiteX57" fmla="*/ 137721 w 248798"/>
                <a:gd name="connsiteY57" fmla="*/ 92579 h 116489"/>
                <a:gd name="connsiteX58" fmla="*/ 135089 w 248798"/>
                <a:gd name="connsiteY58" fmla="*/ 91518 h 116489"/>
                <a:gd name="connsiteX59" fmla="*/ 129585 w 248798"/>
                <a:gd name="connsiteY59" fmla="*/ 88153 h 116489"/>
                <a:gd name="connsiteX60" fmla="*/ 129615 w 248798"/>
                <a:gd name="connsiteY60" fmla="*/ 86474 h 116489"/>
                <a:gd name="connsiteX61" fmla="*/ 128727 w 248798"/>
                <a:gd name="connsiteY61" fmla="*/ 85654 h 116489"/>
                <a:gd name="connsiteX62" fmla="*/ 128459 w 248798"/>
                <a:gd name="connsiteY62" fmla="*/ 83572 h 116489"/>
                <a:gd name="connsiteX63" fmla="*/ 126490 w 248798"/>
                <a:gd name="connsiteY63" fmla="*/ 82913 h 116489"/>
                <a:gd name="connsiteX64" fmla="*/ 124191 w 248798"/>
                <a:gd name="connsiteY64" fmla="*/ 82790 h 116489"/>
                <a:gd name="connsiteX65" fmla="*/ 124005 w 248798"/>
                <a:gd name="connsiteY65" fmla="*/ 81806 h 116489"/>
                <a:gd name="connsiteX66" fmla="*/ 125743 w 248798"/>
                <a:gd name="connsiteY66" fmla="*/ 61070 h 116489"/>
                <a:gd name="connsiteX67" fmla="*/ 126687 w 248798"/>
                <a:gd name="connsiteY67" fmla="*/ 61405 h 116489"/>
                <a:gd name="connsiteX68" fmla="*/ 129805 w 248798"/>
                <a:gd name="connsiteY68" fmla="*/ 67143 h 116489"/>
                <a:gd name="connsiteX69" fmla="*/ 130049 w 248798"/>
                <a:gd name="connsiteY69" fmla="*/ 69531 h 116489"/>
                <a:gd name="connsiteX70" fmla="*/ 129937 w 248798"/>
                <a:gd name="connsiteY70" fmla="*/ 70358 h 116489"/>
                <a:gd name="connsiteX71" fmla="*/ 128259 w 248798"/>
                <a:gd name="connsiteY71" fmla="*/ 68603 h 116489"/>
                <a:gd name="connsiteX72" fmla="*/ 127475 w 248798"/>
                <a:gd name="connsiteY72" fmla="*/ 69224 h 116489"/>
                <a:gd name="connsiteX73" fmla="*/ 126752 w 248798"/>
                <a:gd name="connsiteY73" fmla="*/ 68392 h 116489"/>
                <a:gd name="connsiteX74" fmla="*/ 126801 w 248798"/>
                <a:gd name="connsiteY74" fmla="*/ 66579 h 116489"/>
                <a:gd name="connsiteX75" fmla="*/ 126911 w 248798"/>
                <a:gd name="connsiteY75" fmla="*/ 64646 h 116489"/>
                <a:gd name="connsiteX76" fmla="*/ 126585 w 248798"/>
                <a:gd name="connsiteY76" fmla="*/ 63182 h 116489"/>
                <a:gd name="connsiteX77" fmla="*/ 88642 w 248798"/>
                <a:gd name="connsiteY77" fmla="*/ 59179 h 116489"/>
                <a:gd name="connsiteX78" fmla="*/ 90059 w 248798"/>
                <a:gd name="connsiteY78" fmla="*/ 59269 h 116489"/>
                <a:gd name="connsiteX79" fmla="*/ 94929 w 248798"/>
                <a:gd name="connsiteY79" fmla="*/ 62851 h 116489"/>
                <a:gd name="connsiteX80" fmla="*/ 97023 w 248798"/>
                <a:gd name="connsiteY80" fmla="*/ 62525 h 116489"/>
                <a:gd name="connsiteX81" fmla="*/ 103419 w 248798"/>
                <a:gd name="connsiteY81" fmla="*/ 62590 h 116489"/>
                <a:gd name="connsiteX82" fmla="*/ 107192 w 248798"/>
                <a:gd name="connsiteY82" fmla="*/ 65147 h 116489"/>
                <a:gd name="connsiteX83" fmla="*/ 109409 w 248798"/>
                <a:gd name="connsiteY83" fmla="*/ 66322 h 116489"/>
                <a:gd name="connsiteX84" fmla="*/ 110656 w 248798"/>
                <a:gd name="connsiteY84" fmla="*/ 68614 h 116489"/>
                <a:gd name="connsiteX85" fmla="*/ 112195 w 248798"/>
                <a:gd name="connsiteY85" fmla="*/ 69137 h 116489"/>
                <a:gd name="connsiteX86" fmla="*/ 113143 w 248798"/>
                <a:gd name="connsiteY86" fmla="*/ 70305 h 116489"/>
                <a:gd name="connsiteX87" fmla="*/ 113687 w 248798"/>
                <a:gd name="connsiteY87" fmla="*/ 72435 h 116489"/>
                <a:gd name="connsiteX88" fmla="*/ 113305 w 248798"/>
                <a:gd name="connsiteY88" fmla="*/ 72782 h 116489"/>
                <a:gd name="connsiteX89" fmla="*/ 111346 w 248798"/>
                <a:gd name="connsiteY89" fmla="*/ 73575 h 116489"/>
                <a:gd name="connsiteX90" fmla="*/ 109934 w 248798"/>
                <a:gd name="connsiteY90" fmla="*/ 73904 h 116489"/>
                <a:gd name="connsiteX91" fmla="*/ 106229 w 248798"/>
                <a:gd name="connsiteY91" fmla="*/ 73148 h 116489"/>
                <a:gd name="connsiteX92" fmla="*/ 102679 w 248798"/>
                <a:gd name="connsiteY92" fmla="*/ 71508 h 116489"/>
                <a:gd name="connsiteX93" fmla="*/ 95630 w 248798"/>
                <a:gd name="connsiteY93" fmla="*/ 71310 h 116489"/>
                <a:gd name="connsiteX94" fmla="*/ 92344 w 248798"/>
                <a:gd name="connsiteY94" fmla="*/ 70844 h 116489"/>
                <a:gd name="connsiteX95" fmla="*/ 91217 w 248798"/>
                <a:gd name="connsiteY95" fmla="*/ 70218 h 116489"/>
                <a:gd name="connsiteX96" fmla="*/ 90172 w 248798"/>
                <a:gd name="connsiteY96" fmla="*/ 69383 h 116489"/>
                <a:gd name="connsiteX97" fmla="*/ 88513 w 248798"/>
                <a:gd name="connsiteY97" fmla="*/ 67392 h 116489"/>
                <a:gd name="connsiteX98" fmla="*/ 87218 w 248798"/>
                <a:gd name="connsiteY98" fmla="*/ 65056 h 116489"/>
                <a:gd name="connsiteX99" fmla="*/ 87006 w 248798"/>
                <a:gd name="connsiteY99" fmla="*/ 63685 h 116489"/>
                <a:gd name="connsiteX100" fmla="*/ 86898 w 248798"/>
                <a:gd name="connsiteY100" fmla="*/ 61078 h 116489"/>
                <a:gd name="connsiteX101" fmla="*/ 87300 w 248798"/>
                <a:gd name="connsiteY101" fmla="*/ 60129 h 116489"/>
                <a:gd name="connsiteX102" fmla="*/ 99297 w 248798"/>
                <a:gd name="connsiteY102" fmla="*/ 53090 h 116489"/>
                <a:gd name="connsiteX103" fmla="*/ 100569 w 248798"/>
                <a:gd name="connsiteY103" fmla="*/ 53403 h 116489"/>
                <a:gd name="connsiteX104" fmla="*/ 101184 w 248798"/>
                <a:gd name="connsiteY104" fmla="*/ 53353 h 116489"/>
                <a:gd name="connsiteX105" fmla="*/ 102640 w 248798"/>
                <a:gd name="connsiteY105" fmla="*/ 54553 h 116489"/>
                <a:gd name="connsiteX106" fmla="*/ 104589 w 248798"/>
                <a:gd name="connsiteY106" fmla="*/ 56318 h 116489"/>
                <a:gd name="connsiteX107" fmla="*/ 103793 w 248798"/>
                <a:gd name="connsiteY107" fmla="*/ 57230 h 116489"/>
                <a:gd name="connsiteX108" fmla="*/ 102213 w 248798"/>
                <a:gd name="connsiteY108" fmla="*/ 56764 h 116489"/>
                <a:gd name="connsiteX109" fmla="*/ 101681 w 248798"/>
                <a:gd name="connsiteY109" fmla="*/ 56950 h 116489"/>
                <a:gd name="connsiteX110" fmla="*/ 101508 w 248798"/>
                <a:gd name="connsiteY110" fmla="*/ 56828 h 116489"/>
                <a:gd name="connsiteX111" fmla="*/ 101176 w 248798"/>
                <a:gd name="connsiteY111" fmla="*/ 55942 h 116489"/>
                <a:gd name="connsiteX112" fmla="*/ 99453 w 248798"/>
                <a:gd name="connsiteY112" fmla="*/ 55064 h 116489"/>
                <a:gd name="connsiteX113" fmla="*/ 97908 w 248798"/>
                <a:gd name="connsiteY113" fmla="*/ 54990 h 116489"/>
                <a:gd name="connsiteX114" fmla="*/ 97708 w 248798"/>
                <a:gd name="connsiteY114" fmla="*/ 53948 h 116489"/>
                <a:gd name="connsiteX115" fmla="*/ 76336 w 248798"/>
                <a:gd name="connsiteY115" fmla="*/ 53036 h 116489"/>
                <a:gd name="connsiteX116" fmla="*/ 76866 w 248798"/>
                <a:gd name="connsiteY116" fmla="*/ 53220 h 116489"/>
                <a:gd name="connsiteX117" fmla="*/ 77360 w 248798"/>
                <a:gd name="connsiteY117" fmla="*/ 53682 h 116489"/>
                <a:gd name="connsiteX118" fmla="*/ 78517 w 248798"/>
                <a:gd name="connsiteY118" fmla="*/ 53858 h 116489"/>
                <a:gd name="connsiteX119" fmla="*/ 78641 w 248798"/>
                <a:gd name="connsiteY119" fmla="*/ 55280 h 116489"/>
                <a:gd name="connsiteX120" fmla="*/ 77636 w 248798"/>
                <a:gd name="connsiteY120" fmla="*/ 55944 h 116489"/>
                <a:gd name="connsiteX121" fmla="*/ 77338 w 248798"/>
                <a:gd name="connsiteY121" fmla="*/ 55998 h 116489"/>
                <a:gd name="connsiteX122" fmla="*/ 76300 w 248798"/>
                <a:gd name="connsiteY122" fmla="*/ 55726 h 116489"/>
                <a:gd name="connsiteX123" fmla="*/ 75039 w 248798"/>
                <a:gd name="connsiteY123" fmla="*/ 55635 h 116489"/>
                <a:gd name="connsiteX124" fmla="*/ 74270 w 248798"/>
                <a:gd name="connsiteY124" fmla="*/ 54862 h 116489"/>
                <a:gd name="connsiteX125" fmla="*/ 75183 w 248798"/>
                <a:gd name="connsiteY125" fmla="*/ 53756 h 116489"/>
                <a:gd name="connsiteX126" fmla="*/ 40882 w 248798"/>
                <a:gd name="connsiteY126" fmla="*/ 46440 h 116489"/>
                <a:gd name="connsiteX127" fmla="*/ 42052 w 248798"/>
                <a:gd name="connsiteY127" fmla="*/ 46588 h 116489"/>
                <a:gd name="connsiteX128" fmla="*/ 43023 w 248798"/>
                <a:gd name="connsiteY128" fmla="*/ 47275 h 116489"/>
                <a:gd name="connsiteX129" fmla="*/ 43514 w 248798"/>
                <a:gd name="connsiteY129" fmla="*/ 47817 h 116489"/>
                <a:gd name="connsiteX130" fmla="*/ 43464 w 248798"/>
                <a:gd name="connsiteY130" fmla="*/ 48601 h 116489"/>
                <a:gd name="connsiteX131" fmla="*/ 42197 w 248798"/>
                <a:gd name="connsiteY131" fmla="*/ 48357 h 116489"/>
                <a:gd name="connsiteX132" fmla="*/ 39368 w 248798"/>
                <a:gd name="connsiteY132" fmla="*/ 47178 h 116489"/>
                <a:gd name="connsiteX133" fmla="*/ 39271 w 248798"/>
                <a:gd name="connsiteY133" fmla="*/ 46638 h 116489"/>
                <a:gd name="connsiteX134" fmla="*/ 55997 w 248798"/>
                <a:gd name="connsiteY134" fmla="*/ 46018 h 116489"/>
                <a:gd name="connsiteX135" fmla="*/ 56580 w 248798"/>
                <a:gd name="connsiteY135" fmla="*/ 47950 h 116489"/>
                <a:gd name="connsiteX136" fmla="*/ 56958 w 248798"/>
                <a:gd name="connsiteY136" fmla="*/ 48675 h 116489"/>
                <a:gd name="connsiteX137" fmla="*/ 55794 w 248798"/>
                <a:gd name="connsiteY137" fmla="*/ 49223 h 116489"/>
                <a:gd name="connsiteX138" fmla="*/ 55308 w 248798"/>
                <a:gd name="connsiteY138" fmla="*/ 49308 h 116489"/>
                <a:gd name="connsiteX139" fmla="*/ 54790 w 248798"/>
                <a:gd name="connsiteY139" fmla="*/ 48420 h 116489"/>
                <a:gd name="connsiteX140" fmla="*/ 51321 w 248798"/>
                <a:gd name="connsiteY140" fmla="*/ 42234 h 116489"/>
                <a:gd name="connsiteX141" fmla="*/ 53686 w 248798"/>
                <a:gd name="connsiteY141" fmla="*/ 42871 h 116489"/>
                <a:gd name="connsiteX142" fmla="*/ 54279 w 248798"/>
                <a:gd name="connsiteY142" fmla="*/ 43313 h 116489"/>
                <a:gd name="connsiteX143" fmla="*/ 52866 w 248798"/>
                <a:gd name="connsiteY143" fmla="*/ 44426 h 116489"/>
                <a:gd name="connsiteX144" fmla="*/ 53337 w 248798"/>
                <a:gd name="connsiteY144" fmla="*/ 44783 h 116489"/>
                <a:gd name="connsiteX145" fmla="*/ 53644 w 248798"/>
                <a:gd name="connsiteY145" fmla="*/ 45314 h 116489"/>
                <a:gd name="connsiteX146" fmla="*/ 53741 w 248798"/>
                <a:gd name="connsiteY146" fmla="*/ 46153 h 116489"/>
                <a:gd name="connsiteX147" fmla="*/ 51564 w 248798"/>
                <a:gd name="connsiteY147" fmla="*/ 47911 h 116489"/>
                <a:gd name="connsiteX148" fmla="*/ 49974 w 248798"/>
                <a:gd name="connsiteY148" fmla="*/ 47317 h 116489"/>
                <a:gd name="connsiteX149" fmla="*/ 48686 w 248798"/>
                <a:gd name="connsiteY149" fmla="*/ 45809 h 116489"/>
                <a:gd name="connsiteX150" fmla="*/ 49109 w 248798"/>
                <a:gd name="connsiteY150" fmla="*/ 43993 h 116489"/>
                <a:gd name="connsiteX151" fmla="*/ 49349 w 248798"/>
                <a:gd name="connsiteY151" fmla="*/ 43513 h 116489"/>
                <a:gd name="connsiteX152" fmla="*/ 49990 w 248798"/>
                <a:gd name="connsiteY152" fmla="*/ 43408 h 116489"/>
                <a:gd name="connsiteX153" fmla="*/ 50624 w 248798"/>
                <a:gd name="connsiteY153" fmla="*/ 43036 h 116489"/>
                <a:gd name="connsiteX154" fmla="*/ 37634 w 248798"/>
                <a:gd name="connsiteY154" fmla="*/ 40289 h 116489"/>
                <a:gd name="connsiteX155" fmla="*/ 38329 w 248798"/>
                <a:gd name="connsiteY155" fmla="*/ 41496 h 116489"/>
                <a:gd name="connsiteX156" fmla="*/ 37722 w 248798"/>
                <a:gd name="connsiteY156" fmla="*/ 43278 h 116489"/>
                <a:gd name="connsiteX157" fmla="*/ 36917 w 248798"/>
                <a:gd name="connsiteY157" fmla="*/ 43732 h 116489"/>
                <a:gd name="connsiteX158" fmla="*/ 36589 w 248798"/>
                <a:gd name="connsiteY158" fmla="*/ 45407 h 116489"/>
                <a:gd name="connsiteX159" fmla="*/ 37843 w 248798"/>
                <a:gd name="connsiteY159" fmla="*/ 46806 h 116489"/>
                <a:gd name="connsiteX160" fmla="*/ 37845 w 248798"/>
                <a:gd name="connsiteY160" fmla="*/ 47132 h 116489"/>
                <a:gd name="connsiteX161" fmla="*/ 36625 w 248798"/>
                <a:gd name="connsiteY161" fmla="*/ 46505 h 116489"/>
                <a:gd name="connsiteX162" fmla="*/ 33937 w 248798"/>
                <a:gd name="connsiteY162" fmla="*/ 43499 h 116489"/>
                <a:gd name="connsiteX163" fmla="*/ 34412 w 248798"/>
                <a:gd name="connsiteY163" fmla="*/ 42495 h 116489"/>
                <a:gd name="connsiteX164" fmla="*/ 36874 w 248798"/>
                <a:gd name="connsiteY164" fmla="*/ 40546 h 116489"/>
                <a:gd name="connsiteX165" fmla="*/ 86615 w 248798"/>
                <a:gd name="connsiteY165" fmla="*/ 39368 h 116489"/>
                <a:gd name="connsiteX166" fmla="*/ 87654 w 248798"/>
                <a:gd name="connsiteY166" fmla="*/ 40146 h 116489"/>
                <a:gd name="connsiteX167" fmla="*/ 87757 w 248798"/>
                <a:gd name="connsiteY167" fmla="*/ 40946 h 116489"/>
                <a:gd name="connsiteX168" fmla="*/ 88673 w 248798"/>
                <a:gd name="connsiteY168" fmla="*/ 42227 h 116489"/>
                <a:gd name="connsiteX169" fmla="*/ 87619 w 248798"/>
                <a:gd name="connsiteY169" fmla="*/ 42529 h 116489"/>
                <a:gd name="connsiteX170" fmla="*/ 86054 w 248798"/>
                <a:gd name="connsiteY170" fmla="*/ 41712 h 116489"/>
                <a:gd name="connsiteX171" fmla="*/ 85374 w 248798"/>
                <a:gd name="connsiteY171" fmla="*/ 40968 h 116489"/>
                <a:gd name="connsiteX172" fmla="*/ 85699 w 248798"/>
                <a:gd name="connsiteY172" fmla="*/ 39807 h 116489"/>
                <a:gd name="connsiteX173" fmla="*/ 112150 w 248798"/>
                <a:gd name="connsiteY173" fmla="*/ 37909 h 116489"/>
                <a:gd name="connsiteX174" fmla="*/ 117639 w 248798"/>
                <a:gd name="connsiteY174" fmla="*/ 44545 h 116489"/>
                <a:gd name="connsiteX175" fmla="*/ 117421 w 248798"/>
                <a:gd name="connsiteY175" fmla="*/ 45722 h 116489"/>
                <a:gd name="connsiteX176" fmla="*/ 116676 w 248798"/>
                <a:gd name="connsiteY176" fmla="*/ 46482 h 116489"/>
                <a:gd name="connsiteX177" fmla="*/ 116460 w 248798"/>
                <a:gd name="connsiteY177" fmla="*/ 48711 h 116489"/>
                <a:gd name="connsiteX178" fmla="*/ 117151 w 248798"/>
                <a:gd name="connsiteY178" fmla="*/ 49569 h 116489"/>
                <a:gd name="connsiteX179" fmla="*/ 118651 w 248798"/>
                <a:gd name="connsiteY179" fmla="*/ 49961 h 116489"/>
                <a:gd name="connsiteX180" fmla="*/ 121200 w 248798"/>
                <a:gd name="connsiteY180" fmla="*/ 52339 h 116489"/>
                <a:gd name="connsiteX181" fmla="*/ 122217 w 248798"/>
                <a:gd name="connsiteY181" fmla="*/ 55251 h 116489"/>
                <a:gd name="connsiteX182" fmla="*/ 122308 w 248798"/>
                <a:gd name="connsiteY182" fmla="*/ 56146 h 116489"/>
                <a:gd name="connsiteX183" fmla="*/ 123366 w 248798"/>
                <a:gd name="connsiteY183" fmla="*/ 57470 h 116489"/>
                <a:gd name="connsiteX184" fmla="*/ 123407 w 248798"/>
                <a:gd name="connsiteY184" fmla="*/ 60255 h 116489"/>
                <a:gd name="connsiteX185" fmla="*/ 125827 w 248798"/>
                <a:gd name="connsiteY185" fmla="*/ 64123 h 116489"/>
                <a:gd name="connsiteX186" fmla="*/ 126039 w 248798"/>
                <a:gd name="connsiteY186" fmla="*/ 65984 h 116489"/>
                <a:gd name="connsiteX187" fmla="*/ 125814 w 248798"/>
                <a:gd name="connsiteY187" fmla="*/ 66821 h 116489"/>
                <a:gd name="connsiteX188" fmla="*/ 124808 w 248798"/>
                <a:gd name="connsiteY188" fmla="*/ 66337 h 116489"/>
                <a:gd name="connsiteX189" fmla="*/ 121914 w 248798"/>
                <a:gd name="connsiteY189" fmla="*/ 61949 h 116489"/>
                <a:gd name="connsiteX190" fmla="*/ 118609 w 248798"/>
                <a:gd name="connsiteY190" fmla="*/ 60057 h 116489"/>
                <a:gd name="connsiteX191" fmla="*/ 118230 w 248798"/>
                <a:gd name="connsiteY191" fmla="*/ 59242 h 116489"/>
                <a:gd name="connsiteX192" fmla="*/ 114893 w 248798"/>
                <a:gd name="connsiteY192" fmla="*/ 56686 h 116489"/>
                <a:gd name="connsiteX193" fmla="*/ 112651 w 248798"/>
                <a:gd name="connsiteY193" fmla="*/ 52385 h 116489"/>
                <a:gd name="connsiteX194" fmla="*/ 110230 w 248798"/>
                <a:gd name="connsiteY194" fmla="*/ 44737 h 116489"/>
                <a:gd name="connsiteX195" fmla="*/ 111368 w 248798"/>
                <a:gd name="connsiteY195" fmla="*/ 42925 h 116489"/>
                <a:gd name="connsiteX196" fmla="*/ 108634 w 248798"/>
                <a:gd name="connsiteY196" fmla="*/ 39218 h 116489"/>
                <a:gd name="connsiteX197" fmla="*/ 108764 w 248798"/>
                <a:gd name="connsiteY197" fmla="*/ 38226 h 116489"/>
                <a:gd name="connsiteX198" fmla="*/ 109919 w 248798"/>
                <a:gd name="connsiteY198" fmla="*/ 38452 h 116489"/>
                <a:gd name="connsiteX199" fmla="*/ 110720 w 248798"/>
                <a:gd name="connsiteY199" fmla="*/ 38407 h 116489"/>
                <a:gd name="connsiteX200" fmla="*/ 111105 w 248798"/>
                <a:gd name="connsiteY200" fmla="*/ 37965 h 116489"/>
                <a:gd name="connsiteX201" fmla="*/ 40091 w 248798"/>
                <a:gd name="connsiteY201" fmla="*/ 30158 h 116489"/>
                <a:gd name="connsiteX202" fmla="*/ 42484 w 248798"/>
                <a:gd name="connsiteY202" fmla="*/ 31054 h 116489"/>
                <a:gd name="connsiteX203" fmla="*/ 42782 w 248798"/>
                <a:gd name="connsiteY203" fmla="*/ 34589 h 116489"/>
                <a:gd name="connsiteX204" fmla="*/ 43644 w 248798"/>
                <a:gd name="connsiteY204" fmla="*/ 35746 h 116489"/>
                <a:gd name="connsiteX205" fmla="*/ 46125 w 248798"/>
                <a:gd name="connsiteY205" fmla="*/ 36311 h 116489"/>
                <a:gd name="connsiteX206" fmla="*/ 47513 w 248798"/>
                <a:gd name="connsiteY206" fmla="*/ 38133 h 116489"/>
                <a:gd name="connsiteX207" fmla="*/ 49109 w 248798"/>
                <a:gd name="connsiteY207" fmla="*/ 42192 h 116489"/>
                <a:gd name="connsiteX208" fmla="*/ 48821 w 248798"/>
                <a:gd name="connsiteY208" fmla="*/ 43591 h 116489"/>
                <a:gd name="connsiteX209" fmla="*/ 47677 w 248798"/>
                <a:gd name="connsiteY209" fmla="*/ 43669 h 116489"/>
                <a:gd name="connsiteX210" fmla="*/ 47360 w 248798"/>
                <a:gd name="connsiteY210" fmla="*/ 44545 h 116489"/>
                <a:gd name="connsiteX211" fmla="*/ 45809 w 248798"/>
                <a:gd name="connsiteY211" fmla="*/ 42577 h 116489"/>
                <a:gd name="connsiteX212" fmla="*/ 43747 w 248798"/>
                <a:gd name="connsiteY212" fmla="*/ 42044 h 116489"/>
                <a:gd name="connsiteX213" fmla="*/ 42242 w 248798"/>
                <a:gd name="connsiteY213" fmla="*/ 40836 h 116489"/>
                <a:gd name="connsiteX214" fmla="*/ 41726 w 248798"/>
                <a:gd name="connsiteY214" fmla="*/ 38439 h 116489"/>
                <a:gd name="connsiteX215" fmla="*/ 41581 w 248798"/>
                <a:gd name="connsiteY215" fmla="*/ 36928 h 116489"/>
                <a:gd name="connsiteX216" fmla="*/ 40391 w 248798"/>
                <a:gd name="connsiteY216" fmla="*/ 36670 h 116489"/>
                <a:gd name="connsiteX217" fmla="*/ 37012 w 248798"/>
                <a:gd name="connsiteY217" fmla="*/ 37048 h 116489"/>
                <a:gd name="connsiteX218" fmla="*/ 35930 w 248798"/>
                <a:gd name="connsiteY218" fmla="*/ 38339 h 116489"/>
                <a:gd name="connsiteX219" fmla="*/ 34381 w 248798"/>
                <a:gd name="connsiteY219" fmla="*/ 37928 h 116489"/>
                <a:gd name="connsiteX220" fmla="*/ 34053 w 248798"/>
                <a:gd name="connsiteY220" fmla="*/ 36770 h 116489"/>
                <a:gd name="connsiteX221" fmla="*/ 34295 w 248798"/>
                <a:gd name="connsiteY221" fmla="*/ 35631 h 116489"/>
                <a:gd name="connsiteX222" fmla="*/ 36353 w 248798"/>
                <a:gd name="connsiteY222" fmla="*/ 34509 h 116489"/>
                <a:gd name="connsiteX223" fmla="*/ 36774 w 248798"/>
                <a:gd name="connsiteY223" fmla="*/ 33066 h 116489"/>
                <a:gd name="connsiteX224" fmla="*/ 38826 w 248798"/>
                <a:gd name="connsiteY224" fmla="*/ 30580 h 116489"/>
                <a:gd name="connsiteX225" fmla="*/ 19741 w 248798"/>
                <a:gd name="connsiteY225" fmla="*/ 30004 h 116489"/>
                <a:gd name="connsiteX226" fmla="*/ 20672 w 248798"/>
                <a:gd name="connsiteY226" fmla="*/ 33062 h 116489"/>
                <a:gd name="connsiteX227" fmla="*/ 20484 w 248798"/>
                <a:gd name="connsiteY227" fmla="*/ 34739 h 116489"/>
                <a:gd name="connsiteX228" fmla="*/ 20214 w 248798"/>
                <a:gd name="connsiteY228" fmla="*/ 35289 h 116489"/>
                <a:gd name="connsiteX229" fmla="*/ 19063 w 248798"/>
                <a:gd name="connsiteY229" fmla="*/ 32545 h 116489"/>
                <a:gd name="connsiteX230" fmla="*/ 19121 w 248798"/>
                <a:gd name="connsiteY230" fmla="*/ 31162 h 116489"/>
                <a:gd name="connsiteX231" fmla="*/ 19320 w 248798"/>
                <a:gd name="connsiteY231" fmla="*/ 30276 h 116489"/>
                <a:gd name="connsiteX232" fmla="*/ 31514 w 248798"/>
                <a:gd name="connsiteY232" fmla="*/ 27706 h 116489"/>
                <a:gd name="connsiteX233" fmla="*/ 32466 w 248798"/>
                <a:gd name="connsiteY233" fmla="*/ 28310 h 116489"/>
                <a:gd name="connsiteX234" fmla="*/ 33358 w 248798"/>
                <a:gd name="connsiteY234" fmla="*/ 29613 h 116489"/>
                <a:gd name="connsiteX235" fmla="*/ 33677 w 248798"/>
                <a:gd name="connsiteY235" fmla="*/ 31275 h 116489"/>
                <a:gd name="connsiteX236" fmla="*/ 33477 w 248798"/>
                <a:gd name="connsiteY236" fmla="*/ 32742 h 116489"/>
                <a:gd name="connsiteX237" fmla="*/ 33043 w 248798"/>
                <a:gd name="connsiteY237" fmla="*/ 33327 h 116489"/>
                <a:gd name="connsiteX238" fmla="*/ 32559 w 248798"/>
                <a:gd name="connsiteY238" fmla="*/ 33664 h 116489"/>
                <a:gd name="connsiteX239" fmla="*/ 30154 w 248798"/>
                <a:gd name="connsiteY239" fmla="*/ 33536 h 116489"/>
                <a:gd name="connsiteX240" fmla="*/ 28320 w 248798"/>
                <a:gd name="connsiteY240" fmla="*/ 31241 h 116489"/>
                <a:gd name="connsiteX241" fmla="*/ 28336 w 248798"/>
                <a:gd name="connsiteY241" fmla="*/ 29541 h 116489"/>
                <a:gd name="connsiteX242" fmla="*/ 29776 w 248798"/>
                <a:gd name="connsiteY242" fmla="*/ 27982 h 116489"/>
                <a:gd name="connsiteX243" fmla="*/ 19534 w 248798"/>
                <a:gd name="connsiteY243" fmla="*/ 21446 h 116489"/>
                <a:gd name="connsiteX244" fmla="*/ 21274 w 248798"/>
                <a:gd name="connsiteY244" fmla="*/ 22304 h 116489"/>
                <a:gd name="connsiteX245" fmla="*/ 23000 w 248798"/>
                <a:gd name="connsiteY245" fmla="*/ 24152 h 116489"/>
                <a:gd name="connsiteX246" fmla="*/ 25021 w 248798"/>
                <a:gd name="connsiteY246" fmla="*/ 24756 h 116489"/>
                <a:gd name="connsiteX247" fmla="*/ 24604 w 248798"/>
                <a:gd name="connsiteY247" fmla="*/ 25981 h 116489"/>
                <a:gd name="connsiteX248" fmla="*/ 22786 w 248798"/>
                <a:gd name="connsiteY248" fmla="*/ 28184 h 116489"/>
                <a:gd name="connsiteX249" fmla="*/ 22341 w 248798"/>
                <a:gd name="connsiteY249" fmla="*/ 29209 h 116489"/>
                <a:gd name="connsiteX250" fmla="*/ 21918 w 248798"/>
                <a:gd name="connsiteY250" fmla="*/ 29515 h 116489"/>
                <a:gd name="connsiteX251" fmla="*/ 21179 w 248798"/>
                <a:gd name="connsiteY251" fmla="*/ 28314 h 116489"/>
                <a:gd name="connsiteX252" fmla="*/ 20642 w 248798"/>
                <a:gd name="connsiteY252" fmla="*/ 27938 h 116489"/>
                <a:gd name="connsiteX253" fmla="*/ 20657 w 248798"/>
                <a:gd name="connsiteY253" fmla="*/ 26600 h 116489"/>
                <a:gd name="connsiteX254" fmla="*/ 18428 w 248798"/>
                <a:gd name="connsiteY254" fmla="*/ 24421 h 116489"/>
                <a:gd name="connsiteX255" fmla="*/ 18240 w 248798"/>
                <a:gd name="connsiteY255" fmla="*/ 22918 h 116489"/>
                <a:gd name="connsiteX256" fmla="*/ 61469 w 248798"/>
                <a:gd name="connsiteY256" fmla="*/ 20795 h 116489"/>
                <a:gd name="connsiteX257" fmla="*/ 67593 w 248798"/>
                <a:gd name="connsiteY257" fmla="*/ 22119 h 116489"/>
                <a:gd name="connsiteX258" fmla="*/ 70433 w 248798"/>
                <a:gd name="connsiteY258" fmla="*/ 24745 h 116489"/>
                <a:gd name="connsiteX259" fmla="*/ 72858 w 248798"/>
                <a:gd name="connsiteY259" fmla="*/ 26231 h 116489"/>
                <a:gd name="connsiteX260" fmla="*/ 73700 w 248798"/>
                <a:gd name="connsiteY260" fmla="*/ 27304 h 116489"/>
                <a:gd name="connsiteX261" fmla="*/ 75885 w 248798"/>
                <a:gd name="connsiteY261" fmla="*/ 28775 h 116489"/>
                <a:gd name="connsiteX262" fmla="*/ 77846 w 248798"/>
                <a:gd name="connsiteY262" fmla="*/ 28909 h 116489"/>
                <a:gd name="connsiteX263" fmla="*/ 79809 w 248798"/>
                <a:gd name="connsiteY263" fmla="*/ 30391 h 116489"/>
                <a:gd name="connsiteX264" fmla="*/ 81596 w 248798"/>
                <a:gd name="connsiteY264" fmla="*/ 30791 h 116489"/>
                <a:gd name="connsiteX265" fmla="*/ 83006 w 248798"/>
                <a:gd name="connsiteY265" fmla="*/ 31566 h 116489"/>
                <a:gd name="connsiteX266" fmla="*/ 92109 w 248798"/>
                <a:gd name="connsiteY266" fmla="*/ 38198 h 116489"/>
                <a:gd name="connsiteX267" fmla="*/ 91022 w 248798"/>
                <a:gd name="connsiteY267" fmla="*/ 39959 h 116489"/>
                <a:gd name="connsiteX268" fmla="*/ 92232 w 248798"/>
                <a:gd name="connsiteY268" fmla="*/ 41238 h 116489"/>
                <a:gd name="connsiteX269" fmla="*/ 92906 w 248798"/>
                <a:gd name="connsiteY269" fmla="*/ 42814 h 116489"/>
                <a:gd name="connsiteX270" fmla="*/ 92944 w 248798"/>
                <a:gd name="connsiteY270" fmla="*/ 43330 h 116489"/>
                <a:gd name="connsiteX271" fmla="*/ 89973 w 248798"/>
                <a:gd name="connsiteY271" fmla="*/ 41468 h 116489"/>
                <a:gd name="connsiteX272" fmla="*/ 87718 w 248798"/>
                <a:gd name="connsiteY272" fmla="*/ 39194 h 116489"/>
                <a:gd name="connsiteX273" fmla="*/ 81296 w 248798"/>
                <a:gd name="connsiteY273" fmla="*/ 36718 h 116489"/>
                <a:gd name="connsiteX274" fmla="*/ 79916 w 248798"/>
                <a:gd name="connsiteY274" fmla="*/ 35448 h 116489"/>
                <a:gd name="connsiteX275" fmla="*/ 78757 w 248798"/>
                <a:gd name="connsiteY275" fmla="*/ 35289 h 116489"/>
                <a:gd name="connsiteX276" fmla="*/ 75462 w 248798"/>
                <a:gd name="connsiteY276" fmla="*/ 33220 h 116489"/>
                <a:gd name="connsiteX277" fmla="*/ 72229 w 248798"/>
                <a:gd name="connsiteY277" fmla="*/ 31827 h 116489"/>
                <a:gd name="connsiteX278" fmla="*/ 70251 w 248798"/>
                <a:gd name="connsiteY278" fmla="*/ 30026 h 116489"/>
                <a:gd name="connsiteX279" fmla="*/ 69748 w 248798"/>
                <a:gd name="connsiteY279" fmla="*/ 29289 h 116489"/>
                <a:gd name="connsiteX280" fmla="*/ 68558 w 248798"/>
                <a:gd name="connsiteY280" fmla="*/ 28851 h 116489"/>
                <a:gd name="connsiteX281" fmla="*/ 66529 w 248798"/>
                <a:gd name="connsiteY281" fmla="*/ 26874 h 116489"/>
                <a:gd name="connsiteX282" fmla="*/ 64555 w 248798"/>
                <a:gd name="connsiteY282" fmla="*/ 25562 h 116489"/>
                <a:gd name="connsiteX283" fmla="*/ 63857 w 248798"/>
                <a:gd name="connsiteY283" fmla="*/ 23166 h 116489"/>
                <a:gd name="connsiteX284" fmla="*/ 61942 w 248798"/>
                <a:gd name="connsiteY284" fmla="*/ 21515 h 116489"/>
                <a:gd name="connsiteX285" fmla="*/ 1359 w 248798"/>
                <a:gd name="connsiteY285" fmla="*/ 8086 h 116489"/>
                <a:gd name="connsiteX286" fmla="*/ 4137 w 248798"/>
                <a:gd name="connsiteY286" fmla="*/ 9648 h 116489"/>
                <a:gd name="connsiteX287" fmla="*/ 3589 w 248798"/>
                <a:gd name="connsiteY287" fmla="*/ 10846 h 116489"/>
                <a:gd name="connsiteX288" fmla="*/ 1367 w 248798"/>
                <a:gd name="connsiteY288" fmla="*/ 11378 h 116489"/>
                <a:gd name="connsiteX289" fmla="*/ 0 w 248798"/>
                <a:gd name="connsiteY289" fmla="*/ 10664 h 116489"/>
                <a:gd name="connsiteX290" fmla="*/ 607 w 248798"/>
                <a:gd name="connsiteY290" fmla="*/ 8969 h 116489"/>
                <a:gd name="connsiteX291" fmla="*/ 17731 w 248798"/>
                <a:gd name="connsiteY291" fmla="*/ 0 h 116489"/>
                <a:gd name="connsiteX292" fmla="*/ 20491 w 248798"/>
                <a:gd name="connsiteY292" fmla="*/ 713 h 116489"/>
                <a:gd name="connsiteX293" fmla="*/ 24056 w 248798"/>
                <a:gd name="connsiteY293" fmla="*/ 3446 h 116489"/>
                <a:gd name="connsiteX294" fmla="*/ 29912 w 248798"/>
                <a:gd name="connsiteY294" fmla="*/ 6288 h 116489"/>
                <a:gd name="connsiteX295" fmla="*/ 31509 w 248798"/>
                <a:gd name="connsiteY295" fmla="*/ 7737 h 116489"/>
                <a:gd name="connsiteX296" fmla="*/ 32525 w 248798"/>
                <a:gd name="connsiteY296" fmla="*/ 11215 h 116489"/>
                <a:gd name="connsiteX297" fmla="*/ 33518 w 248798"/>
                <a:gd name="connsiteY297" fmla="*/ 12250 h 116489"/>
                <a:gd name="connsiteX298" fmla="*/ 36675 w 248798"/>
                <a:gd name="connsiteY298" fmla="*/ 14920 h 116489"/>
                <a:gd name="connsiteX299" fmla="*/ 38345 w 248798"/>
                <a:gd name="connsiteY299" fmla="*/ 15545 h 116489"/>
                <a:gd name="connsiteX300" fmla="*/ 39228 w 248798"/>
                <a:gd name="connsiteY300" fmla="*/ 15658 h 116489"/>
                <a:gd name="connsiteX301" fmla="*/ 40005 w 248798"/>
                <a:gd name="connsiteY301" fmla="*/ 16029 h 116489"/>
                <a:gd name="connsiteX302" fmla="*/ 40710 w 248798"/>
                <a:gd name="connsiteY302" fmla="*/ 16813 h 116489"/>
                <a:gd name="connsiteX303" fmla="*/ 39000 w 248798"/>
                <a:gd name="connsiteY303" fmla="*/ 18148 h 116489"/>
                <a:gd name="connsiteX304" fmla="*/ 36744 w 248798"/>
                <a:gd name="connsiteY304" fmla="*/ 17423 h 116489"/>
                <a:gd name="connsiteX305" fmla="*/ 36258 w 248798"/>
                <a:gd name="connsiteY305" fmla="*/ 16674 h 116489"/>
                <a:gd name="connsiteX306" fmla="*/ 36200 w 248798"/>
                <a:gd name="connsiteY306" fmla="*/ 16277 h 116489"/>
                <a:gd name="connsiteX307" fmla="*/ 34625 w 248798"/>
                <a:gd name="connsiteY307" fmla="*/ 16533 h 116489"/>
                <a:gd name="connsiteX308" fmla="*/ 31488 w 248798"/>
                <a:gd name="connsiteY308" fmla="*/ 15879 h 116489"/>
                <a:gd name="connsiteX309" fmla="*/ 27126 w 248798"/>
                <a:gd name="connsiteY309" fmla="*/ 12697 h 116489"/>
                <a:gd name="connsiteX310" fmla="*/ 22516 w 248798"/>
                <a:gd name="connsiteY310" fmla="*/ 6709 h 116489"/>
                <a:gd name="connsiteX311" fmla="*/ 18074 w 248798"/>
                <a:gd name="connsiteY311" fmla="*/ 3392 h 116489"/>
                <a:gd name="connsiteX312" fmla="*/ 17245 w 248798"/>
                <a:gd name="connsiteY312" fmla="*/ 2361 h 116489"/>
                <a:gd name="connsiteX313" fmla="*/ 17137 w 248798"/>
                <a:gd name="connsiteY313" fmla="*/ 652 h 1164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</a:cxnLst>
              <a:rect l="l" t="t" r="r" b="b"/>
              <a:pathLst>
                <a:path w="248798" h="116489">
                  <a:moveTo>
                    <a:pt x="245740" y="110641"/>
                  </a:moveTo>
                  <a:lnTo>
                    <a:pt x="247168" y="110810"/>
                  </a:lnTo>
                  <a:lnTo>
                    <a:pt x="247602" y="111950"/>
                  </a:lnTo>
                  <a:lnTo>
                    <a:pt x="248798" y="112744"/>
                  </a:lnTo>
                  <a:lnTo>
                    <a:pt x="246844" y="113107"/>
                  </a:lnTo>
                  <a:lnTo>
                    <a:pt x="246072" y="113018"/>
                  </a:lnTo>
                  <a:lnTo>
                    <a:pt x="244779" y="111079"/>
                  </a:lnTo>
                  <a:close/>
                  <a:moveTo>
                    <a:pt x="95578" y="108417"/>
                  </a:moveTo>
                  <a:lnTo>
                    <a:pt x="97289" y="108884"/>
                  </a:lnTo>
                  <a:lnTo>
                    <a:pt x="105501" y="113433"/>
                  </a:lnTo>
                  <a:lnTo>
                    <a:pt x="107455" y="114843"/>
                  </a:lnTo>
                  <a:lnTo>
                    <a:pt x="108321" y="115719"/>
                  </a:lnTo>
                  <a:lnTo>
                    <a:pt x="106779" y="116489"/>
                  </a:lnTo>
                  <a:lnTo>
                    <a:pt x="105376" y="116101"/>
                  </a:lnTo>
                  <a:lnTo>
                    <a:pt x="104303" y="115517"/>
                  </a:lnTo>
                  <a:lnTo>
                    <a:pt x="103430" y="113792"/>
                  </a:lnTo>
                  <a:lnTo>
                    <a:pt x="101554" y="112718"/>
                  </a:lnTo>
                  <a:lnTo>
                    <a:pt x="98884" y="112269"/>
                  </a:lnTo>
                  <a:lnTo>
                    <a:pt x="97790" y="111525"/>
                  </a:lnTo>
                  <a:lnTo>
                    <a:pt x="97505" y="111158"/>
                  </a:lnTo>
                  <a:lnTo>
                    <a:pt x="95656" y="110827"/>
                  </a:lnTo>
                  <a:lnTo>
                    <a:pt x="95121" y="109895"/>
                  </a:lnTo>
                  <a:lnTo>
                    <a:pt x="95276" y="108926"/>
                  </a:lnTo>
                  <a:close/>
                  <a:moveTo>
                    <a:pt x="228779" y="90271"/>
                  </a:moveTo>
                  <a:lnTo>
                    <a:pt x="231031" y="90690"/>
                  </a:lnTo>
                  <a:lnTo>
                    <a:pt x="231836" y="90985"/>
                  </a:lnTo>
                  <a:lnTo>
                    <a:pt x="231124" y="92151"/>
                  </a:lnTo>
                  <a:lnTo>
                    <a:pt x="231196" y="92433"/>
                  </a:lnTo>
                  <a:lnTo>
                    <a:pt x="229431" y="92819"/>
                  </a:lnTo>
                  <a:lnTo>
                    <a:pt x="228869" y="92710"/>
                  </a:lnTo>
                  <a:lnTo>
                    <a:pt x="227548" y="92918"/>
                  </a:lnTo>
                  <a:lnTo>
                    <a:pt x="226129" y="94528"/>
                  </a:lnTo>
                  <a:lnTo>
                    <a:pt x="225079" y="94302"/>
                  </a:lnTo>
                  <a:lnTo>
                    <a:pt x="224257" y="94361"/>
                  </a:lnTo>
                  <a:lnTo>
                    <a:pt x="223630" y="93035"/>
                  </a:lnTo>
                  <a:lnTo>
                    <a:pt x="223618" y="92394"/>
                  </a:lnTo>
                  <a:lnTo>
                    <a:pt x="224624" y="92496"/>
                  </a:lnTo>
                  <a:lnTo>
                    <a:pt x="225153" y="91208"/>
                  </a:lnTo>
                  <a:lnTo>
                    <a:pt x="226243" y="90565"/>
                  </a:lnTo>
                  <a:close/>
                  <a:moveTo>
                    <a:pt x="124430" y="80063"/>
                  </a:moveTo>
                  <a:lnTo>
                    <a:pt x="126145" y="80089"/>
                  </a:lnTo>
                  <a:lnTo>
                    <a:pt x="128209" y="80814"/>
                  </a:lnTo>
                  <a:lnTo>
                    <a:pt x="132147" y="83358"/>
                  </a:lnTo>
                  <a:lnTo>
                    <a:pt x="133124" y="83792"/>
                  </a:lnTo>
                  <a:lnTo>
                    <a:pt x="133509" y="84150"/>
                  </a:lnTo>
                  <a:lnTo>
                    <a:pt x="136290" y="85464"/>
                  </a:lnTo>
                  <a:lnTo>
                    <a:pt x="137909" y="85248"/>
                  </a:lnTo>
                  <a:lnTo>
                    <a:pt x="140308" y="86151"/>
                  </a:lnTo>
                  <a:lnTo>
                    <a:pt x="142133" y="85636"/>
                  </a:lnTo>
                  <a:lnTo>
                    <a:pt x="143271" y="86804"/>
                  </a:lnTo>
                  <a:lnTo>
                    <a:pt x="146154" y="91363"/>
                  </a:lnTo>
                  <a:lnTo>
                    <a:pt x="146171" y="92843"/>
                  </a:lnTo>
                  <a:lnTo>
                    <a:pt x="148058" y="93896"/>
                  </a:lnTo>
                  <a:lnTo>
                    <a:pt x="146464" y="94095"/>
                  </a:lnTo>
                  <a:lnTo>
                    <a:pt x="144254" y="93551"/>
                  </a:lnTo>
                  <a:lnTo>
                    <a:pt x="142537" y="93922"/>
                  </a:lnTo>
                  <a:lnTo>
                    <a:pt x="140746" y="93038"/>
                  </a:lnTo>
                  <a:lnTo>
                    <a:pt x="137721" y="92579"/>
                  </a:lnTo>
                  <a:lnTo>
                    <a:pt x="135089" y="91518"/>
                  </a:lnTo>
                  <a:lnTo>
                    <a:pt x="129585" y="88153"/>
                  </a:lnTo>
                  <a:lnTo>
                    <a:pt x="129615" y="86474"/>
                  </a:lnTo>
                  <a:lnTo>
                    <a:pt x="128727" y="85654"/>
                  </a:lnTo>
                  <a:lnTo>
                    <a:pt x="128459" y="83572"/>
                  </a:lnTo>
                  <a:lnTo>
                    <a:pt x="126490" y="82913"/>
                  </a:lnTo>
                  <a:lnTo>
                    <a:pt x="124191" y="82790"/>
                  </a:lnTo>
                  <a:lnTo>
                    <a:pt x="124005" y="81806"/>
                  </a:lnTo>
                  <a:close/>
                  <a:moveTo>
                    <a:pt x="125743" y="61070"/>
                  </a:moveTo>
                  <a:lnTo>
                    <a:pt x="126687" y="61405"/>
                  </a:lnTo>
                  <a:lnTo>
                    <a:pt x="129805" y="67143"/>
                  </a:lnTo>
                  <a:lnTo>
                    <a:pt x="130049" y="69531"/>
                  </a:lnTo>
                  <a:lnTo>
                    <a:pt x="129937" y="70358"/>
                  </a:lnTo>
                  <a:lnTo>
                    <a:pt x="128259" y="68603"/>
                  </a:lnTo>
                  <a:lnTo>
                    <a:pt x="127475" y="69224"/>
                  </a:lnTo>
                  <a:lnTo>
                    <a:pt x="126752" y="68392"/>
                  </a:lnTo>
                  <a:lnTo>
                    <a:pt x="126801" y="66579"/>
                  </a:lnTo>
                  <a:lnTo>
                    <a:pt x="126911" y="64646"/>
                  </a:lnTo>
                  <a:lnTo>
                    <a:pt x="126585" y="63182"/>
                  </a:lnTo>
                  <a:close/>
                  <a:moveTo>
                    <a:pt x="88642" y="59179"/>
                  </a:moveTo>
                  <a:lnTo>
                    <a:pt x="90059" y="59269"/>
                  </a:lnTo>
                  <a:lnTo>
                    <a:pt x="94929" y="62851"/>
                  </a:lnTo>
                  <a:lnTo>
                    <a:pt x="97023" y="62525"/>
                  </a:lnTo>
                  <a:lnTo>
                    <a:pt x="103419" y="62590"/>
                  </a:lnTo>
                  <a:lnTo>
                    <a:pt x="107192" y="65147"/>
                  </a:lnTo>
                  <a:lnTo>
                    <a:pt x="109409" y="66322"/>
                  </a:lnTo>
                  <a:lnTo>
                    <a:pt x="110656" y="68614"/>
                  </a:lnTo>
                  <a:lnTo>
                    <a:pt x="112195" y="69137"/>
                  </a:lnTo>
                  <a:lnTo>
                    <a:pt x="113143" y="70305"/>
                  </a:lnTo>
                  <a:lnTo>
                    <a:pt x="113687" y="72435"/>
                  </a:lnTo>
                  <a:lnTo>
                    <a:pt x="113305" y="72782"/>
                  </a:lnTo>
                  <a:lnTo>
                    <a:pt x="111346" y="73575"/>
                  </a:lnTo>
                  <a:lnTo>
                    <a:pt x="109934" y="73904"/>
                  </a:lnTo>
                  <a:lnTo>
                    <a:pt x="106229" y="73148"/>
                  </a:lnTo>
                  <a:lnTo>
                    <a:pt x="102679" y="71508"/>
                  </a:lnTo>
                  <a:lnTo>
                    <a:pt x="95630" y="71310"/>
                  </a:lnTo>
                  <a:lnTo>
                    <a:pt x="92344" y="70844"/>
                  </a:lnTo>
                  <a:lnTo>
                    <a:pt x="91217" y="70218"/>
                  </a:lnTo>
                  <a:lnTo>
                    <a:pt x="90172" y="69383"/>
                  </a:lnTo>
                  <a:lnTo>
                    <a:pt x="88513" y="67392"/>
                  </a:lnTo>
                  <a:lnTo>
                    <a:pt x="87218" y="65056"/>
                  </a:lnTo>
                  <a:lnTo>
                    <a:pt x="87006" y="63685"/>
                  </a:lnTo>
                  <a:lnTo>
                    <a:pt x="86898" y="61078"/>
                  </a:lnTo>
                  <a:lnTo>
                    <a:pt x="87300" y="60129"/>
                  </a:lnTo>
                  <a:close/>
                  <a:moveTo>
                    <a:pt x="99297" y="53090"/>
                  </a:moveTo>
                  <a:lnTo>
                    <a:pt x="100569" y="53403"/>
                  </a:lnTo>
                  <a:lnTo>
                    <a:pt x="101184" y="53353"/>
                  </a:lnTo>
                  <a:lnTo>
                    <a:pt x="102640" y="54553"/>
                  </a:lnTo>
                  <a:lnTo>
                    <a:pt x="104589" y="56318"/>
                  </a:lnTo>
                  <a:lnTo>
                    <a:pt x="103793" y="57230"/>
                  </a:lnTo>
                  <a:lnTo>
                    <a:pt x="102213" y="56764"/>
                  </a:lnTo>
                  <a:lnTo>
                    <a:pt x="101681" y="56950"/>
                  </a:lnTo>
                  <a:lnTo>
                    <a:pt x="101508" y="56828"/>
                  </a:lnTo>
                  <a:lnTo>
                    <a:pt x="101176" y="55942"/>
                  </a:lnTo>
                  <a:lnTo>
                    <a:pt x="99453" y="55064"/>
                  </a:lnTo>
                  <a:lnTo>
                    <a:pt x="97908" y="54990"/>
                  </a:lnTo>
                  <a:lnTo>
                    <a:pt x="97708" y="53948"/>
                  </a:lnTo>
                  <a:close/>
                  <a:moveTo>
                    <a:pt x="76336" y="53036"/>
                  </a:moveTo>
                  <a:lnTo>
                    <a:pt x="76866" y="53220"/>
                  </a:lnTo>
                  <a:lnTo>
                    <a:pt x="77360" y="53682"/>
                  </a:lnTo>
                  <a:lnTo>
                    <a:pt x="78517" y="53858"/>
                  </a:lnTo>
                  <a:lnTo>
                    <a:pt x="78641" y="55280"/>
                  </a:lnTo>
                  <a:lnTo>
                    <a:pt x="77636" y="55944"/>
                  </a:lnTo>
                  <a:lnTo>
                    <a:pt x="77338" y="55998"/>
                  </a:lnTo>
                  <a:lnTo>
                    <a:pt x="76300" y="55726"/>
                  </a:lnTo>
                  <a:lnTo>
                    <a:pt x="75039" y="55635"/>
                  </a:lnTo>
                  <a:lnTo>
                    <a:pt x="74270" y="54862"/>
                  </a:lnTo>
                  <a:lnTo>
                    <a:pt x="75183" y="53756"/>
                  </a:lnTo>
                  <a:close/>
                  <a:moveTo>
                    <a:pt x="40882" y="46440"/>
                  </a:moveTo>
                  <a:lnTo>
                    <a:pt x="42052" y="46588"/>
                  </a:lnTo>
                  <a:lnTo>
                    <a:pt x="43023" y="47275"/>
                  </a:lnTo>
                  <a:lnTo>
                    <a:pt x="43514" y="47817"/>
                  </a:lnTo>
                  <a:lnTo>
                    <a:pt x="43464" y="48601"/>
                  </a:lnTo>
                  <a:lnTo>
                    <a:pt x="42197" y="48357"/>
                  </a:lnTo>
                  <a:lnTo>
                    <a:pt x="39368" y="47178"/>
                  </a:lnTo>
                  <a:lnTo>
                    <a:pt x="39271" y="46638"/>
                  </a:lnTo>
                  <a:close/>
                  <a:moveTo>
                    <a:pt x="55997" y="46018"/>
                  </a:moveTo>
                  <a:lnTo>
                    <a:pt x="56580" y="47950"/>
                  </a:lnTo>
                  <a:lnTo>
                    <a:pt x="56958" y="48675"/>
                  </a:lnTo>
                  <a:lnTo>
                    <a:pt x="55794" y="49223"/>
                  </a:lnTo>
                  <a:lnTo>
                    <a:pt x="55308" y="49308"/>
                  </a:lnTo>
                  <a:lnTo>
                    <a:pt x="54790" y="48420"/>
                  </a:lnTo>
                  <a:close/>
                  <a:moveTo>
                    <a:pt x="51321" y="42234"/>
                  </a:moveTo>
                  <a:lnTo>
                    <a:pt x="53686" y="42871"/>
                  </a:lnTo>
                  <a:lnTo>
                    <a:pt x="54279" y="43313"/>
                  </a:lnTo>
                  <a:lnTo>
                    <a:pt x="52866" y="44426"/>
                  </a:lnTo>
                  <a:lnTo>
                    <a:pt x="53337" y="44783"/>
                  </a:lnTo>
                  <a:lnTo>
                    <a:pt x="53644" y="45314"/>
                  </a:lnTo>
                  <a:lnTo>
                    <a:pt x="53741" y="46153"/>
                  </a:lnTo>
                  <a:lnTo>
                    <a:pt x="51564" y="47911"/>
                  </a:lnTo>
                  <a:lnTo>
                    <a:pt x="49974" y="47317"/>
                  </a:lnTo>
                  <a:lnTo>
                    <a:pt x="48686" y="45809"/>
                  </a:lnTo>
                  <a:lnTo>
                    <a:pt x="49109" y="43993"/>
                  </a:lnTo>
                  <a:lnTo>
                    <a:pt x="49349" y="43513"/>
                  </a:lnTo>
                  <a:lnTo>
                    <a:pt x="49990" y="43408"/>
                  </a:lnTo>
                  <a:lnTo>
                    <a:pt x="50624" y="43036"/>
                  </a:lnTo>
                  <a:close/>
                  <a:moveTo>
                    <a:pt x="37634" y="40289"/>
                  </a:moveTo>
                  <a:lnTo>
                    <a:pt x="38329" y="41496"/>
                  </a:lnTo>
                  <a:lnTo>
                    <a:pt x="37722" y="43278"/>
                  </a:lnTo>
                  <a:lnTo>
                    <a:pt x="36917" y="43732"/>
                  </a:lnTo>
                  <a:lnTo>
                    <a:pt x="36589" y="45407"/>
                  </a:lnTo>
                  <a:lnTo>
                    <a:pt x="37843" y="46806"/>
                  </a:lnTo>
                  <a:lnTo>
                    <a:pt x="37845" y="47132"/>
                  </a:lnTo>
                  <a:lnTo>
                    <a:pt x="36625" y="46505"/>
                  </a:lnTo>
                  <a:lnTo>
                    <a:pt x="33937" y="43499"/>
                  </a:lnTo>
                  <a:lnTo>
                    <a:pt x="34412" y="42495"/>
                  </a:lnTo>
                  <a:lnTo>
                    <a:pt x="36874" y="40546"/>
                  </a:lnTo>
                  <a:close/>
                  <a:moveTo>
                    <a:pt x="86615" y="39368"/>
                  </a:moveTo>
                  <a:lnTo>
                    <a:pt x="87654" y="40146"/>
                  </a:lnTo>
                  <a:lnTo>
                    <a:pt x="87757" y="40946"/>
                  </a:lnTo>
                  <a:lnTo>
                    <a:pt x="88673" y="42227"/>
                  </a:lnTo>
                  <a:lnTo>
                    <a:pt x="87619" y="42529"/>
                  </a:lnTo>
                  <a:lnTo>
                    <a:pt x="86054" y="41712"/>
                  </a:lnTo>
                  <a:lnTo>
                    <a:pt x="85374" y="40968"/>
                  </a:lnTo>
                  <a:lnTo>
                    <a:pt x="85699" y="39807"/>
                  </a:lnTo>
                  <a:close/>
                  <a:moveTo>
                    <a:pt x="112150" y="37909"/>
                  </a:moveTo>
                  <a:lnTo>
                    <a:pt x="117639" y="44545"/>
                  </a:lnTo>
                  <a:lnTo>
                    <a:pt x="117421" y="45722"/>
                  </a:lnTo>
                  <a:lnTo>
                    <a:pt x="116676" y="46482"/>
                  </a:lnTo>
                  <a:lnTo>
                    <a:pt x="116460" y="48711"/>
                  </a:lnTo>
                  <a:lnTo>
                    <a:pt x="117151" y="49569"/>
                  </a:lnTo>
                  <a:lnTo>
                    <a:pt x="118651" y="49961"/>
                  </a:lnTo>
                  <a:lnTo>
                    <a:pt x="121200" y="52339"/>
                  </a:lnTo>
                  <a:lnTo>
                    <a:pt x="122217" y="55251"/>
                  </a:lnTo>
                  <a:lnTo>
                    <a:pt x="122308" y="56146"/>
                  </a:lnTo>
                  <a:lnTo>
                    <a:pt x="123366" y="57470"/>
                  </a:lnTo>
                  <a:lnTo>
                    <a:pt x="123407" y="60255"/>
                  </a:lnTo>
                  <a:lnTo>
                    <a:pt x="125827" y="64123"/>
                  </a:lnTo>
                  <a:lnTo>
                    <a:pt x="126039" y="65984"/>
                  </a:lnTo>
                  <a:lnTo>
                    <a:pt x="125814" y="66821"/>
                  </a:lnTo>
                  <a:lnTo>
                    <a:pt x="124808" y="66337"/>
                  </a:lnTo>
                  <a:lnTo>
                    <a:pt x="121914" y="61949"/>
                  </a:lnTo>
                  <a:lnTo>
                    <a:pt x="118609" y="60057"/>
                  </a:lnTo>
                  <a:lnTo>
                    <a:pt x="118230" y="59242"/>
                  </a:lnTo>
                  <a:lnTo>
                    <a:pt x="114893" y="56686"/>
                  </a:lnTo>
                  <a:lnTo>
                    <a:pt x="112651" y="52385"/>
                  </a:lnTo>
                  <a:lnTo>
                    <a:pt x="110230" y="44737"/>
                  </a:lnTo>
                  <a:lnTo>
                    <a:pt x="111368" y="42925"/>
                  </a:lnTo>
                  <a:lnTo>
                    <a:pt x="108634" y="39218"/>
                  </a:lnTo>
                  <a:lnTo>
                    <a:pt x="108764" y="38226"/>
                  </a:lnTo>
                  <a:lnTo>
                    <a:pt x="109919" y="38452"/>
                  </a:lnTo>
                  <a:lnTo>
                    <a:pt x="110720" y="38407"/>
                  </a:lnTo>
                  <a:lnTo>
                    <a:pt x="111105" y="37965"/>
                  </a:lnTo>
                  <a:close/>
                  <a:moveTo>
                    <a:pt x="40091" y="30158"/>
                  </a:moveTo>
                  <a:lnTo>
                    <a:pt x="42484" y="31054"/>
                  </a:lnTo>
                  <a:lnTo>
                    <a:pt x="42782" y="34589"/>
                  </a:lnTo>
                  <a:lnTo>
                    <a:pt x="43644" y="35746"/>
                  </a:lnTo>
                  <a:lnTo>
                    <a:pt x="46125" y="36311"/>
                  </a:lnTo>
                  <a:lnTo>
                    <a:pt x="47513" y="38133"/>
                  </a:lnTo>
                  <a:lnTo>
                    <a:pt x="49109" y="42192"/>
                  </a:lnTo>
                  <a:lnTo>
                    <a:pt x="48821" y="43591"/>
                  </a:lnTo>
                  <a:lnTo>
                    <a:pt x="47677" y="43669"/>
                  </a:lnTo>
                  <a:lnTo>
                    <a:pt x="47360" y="44545"/>
                  </a:lnTo>
                  <a:lnTo>
                    <a:pt x="45809" y="42577"/>
                  </a:lnTo>
                  <a:lnTo>
                    <a:pt x="43747" y="42044"/>
                  </a:lnTo>
                  <a:lnTo>
                    <a:pt x="42242" y="40836"/>
                  </a:lnTo>
                  <a:lnTo>
                    <a:pt x="41726" y="38439"/>
                  </a:lnTo>
                  <a:lnTo>
                    <a:pt x="41581" y="36928"/>
                  </a:lnTo>
                  <a:lnTo>
                    <a:pt x="40391" y="36670"/>
                  </a:lnTo>
                  <a:lnTo>
                    <a:pt x="37012" y="37048"/>
                  </a:lnTo>
                  <a:lnTo>
                    <a:pt x="35930" y="38339"/>
                  </a:lnTo>
                  <a:lnTo>
                    <a:pt x="34381" y="37928"/>
                  </a:lnTo>
                  <a:lnTo>
                    <a:pt x="34053" y="36770"/>
                  </a:lnTo>
                  <a:lnTo>
                    <a:pt x="34295" y="35631"/>
                  </a:lnTo>
                  <a:lnTo>
                    <a:pt x="36353" y="34509"/>
                  </a:lnTo>
                  <a:lnTo>
                    <a:pt x="36774" y="33066"/>
                  </a:lnTo>
                  <a:lnTo>
                    <a:pt x="38826" y="30580"/>
                  </a:lnTo>
                  <a:close/>
                  <a:moveTo>
                    <a:pt x="19741" y="30004"/>
                  </a:moveTo>
                  <a:lnTo>
                    <a:pt x="20672" y="33062"/>
                  </a:lnTo>
                  <a:lnTo>
                    <a:pt x="20484" y="34739"/>
                  </a:lnTo>
                  <a:lnTo>
                    <a:pt x="20214" y="35289"/>
                  </a:lnTo>
                  <a:lnTo>
                    <a:pt x="19063" y="32545"/>
                  </a:lnTo>
                  <a:lnTo>
                    <a:pt x="19121" y="31162"/>
                  </a:lnTo>
                  <a:lnTo>
                    <a:pt x="19320" y="30276"/>
                  </a:lnTo>
                  <a:close/>
                  <a:moveTo>
                    <a:pt x="31514" y="27706"/>
                  </a:moveTo>
                  <a:lnTo>
                    <a:pt x="32466" y="28310"/>
                  </a:lnTo>
                  <a:lnTo>
                    <a:pt x="33358" y="29613"/>
                  </a:lnTo>
                  <a:lnTo>
                    <a:pt x="33677" y="31275"/>
                  </a:lnTo>
                  <a:lnTo>
                    <a:pt x="33477" y="32742"/>
                  </a:lnTo>
                  <a:lnTo>
                    <a:pt x="33043" y="33327"/>
                  </a:lnTo>
                  <a:lnTo>
                    <a:pt x="32559" y="33664"/>
                  </a:lnTo>
                  <a:lnTo>
                    <a:pt x="30154" y="33536"/>
                  </a:lnTo>
                  <a:lnTo>
                    <a:pt x="28320" y="31241"/>
                  </a:lnTo>
                  <a:lnTo>
                    <a:pt x="28336" y="29541"/>
                  </a:lnTo>
                  <a:lnTo>
                    <a:pt x="29776" y="27982"/>
                  </a:lnTo>
                  <a:close/>
                  <a:moveTo>
                    <a:pt x="19534" y="21446"/>
                  </a:moveTo>
                  <a:lnTo>
                    <a:pt x="21274" y="22304"/>
                  </a:lnTo>
                  <a:lnTo>
                    <a:pt x="23000" y="24152"/>
                  </a:lnTo>
                  <a:lnTo>
                    <a:pt x="25021" y="24756"/>
                  </a:lnTo>
                  <a:lnTo>
                    <a:pt x="24604" y="25981"/>
                  </a:lnTo>
                  <a:lnTo>
                    <a:pt x="22786" y="28184"/>
                  </a:lnTo>
                  <a:lnTo>
                    <a:pt x="22341" y="29209"/>
                  </a:lnTo>
                  <a:lnTo>
                    <a:pt x="21918" y="29515"/>
                  </a:lnTo>
                  <a:lnTo>
                    <a:pt x="21179" y="28314"/>
                  </a:lnTo>
                  <a:lnTo>
                    <a:pt x="20642" y="27938"/>
                  </a:lnTo>
                  <a:lnTo>
                    <a:pt x="20657" y="26600"/>
                  </a:lnTo>
                  <a:lnTo>
                    <a:pt x="18428" y="24421"/>
                  </a:lnTo>
                  <a:lnTo>
                    <a:pt x="18240" y="22918"/>
                  </a:lnTo>
                  <a:close/>
                  <a:moveTo>
                    <a:pt x="61469" y="20795"/>
                  </a:moveTo>
                  <a:lnTo>
                    <a:pt x="67593" y="22119"/>
                  </a:lnTo>
                  <a:lnTo>
                    <a:pt x="70433" y="24745"/>
                  </a:lnTo>
                  <a:lnTo>
                    <a:pt x="72858" y="26231"/>
                  </a:lnTo>
                  <a:lnTo>
                    <a:pt x="73700" y="27304"/>
                  </a:lnTo>
                  <a:lnTo>
                    <a:pt x="75885" y="28775"/>
                  </a:lnTo>
                  <a:lnTo>
                    <a:pt x="77846" y="28909"/>
                  </a:lnTo>
                  <a:lnTo>
                    <a:pt x="79809" y="30391"/>
                  </a:lnTo>
                  <a:lnTo>
                    <a:pt x="81596" y="30791"/>
                  </a:lnTo>
                  <a:lnTo>
                    <a:pt x="83006" y="31566"/>
                  </a:lnTo>
                  <a:lnTo>
                    <a:pt x="92109" y="38198"/>
                  </a:lnTo>
                  <a:lnTo>
                    <a:pt x="91022" y="39959"/>
                  </a:lnTo>
                  <a:lnTo>
                    <a:pt x="92232" y="41238"/>
                  </a:lnTo>
                  <a:lnTo>
                    <a:pt x="92906" y="42814"/>
                  </a:lnTo>
                  <a:lnTo>
                    <a:pt x="92944" y="43330"/>
                  </a:lnTo>
                  <a:lnTo>
                    <a:pt x="89973" y="41468"/>
                  </a:lnTo>
                  <a:lnTo>
                    <a:pt x="87718" y="39194"/>
                  </a:lnTo>
                  <a:lnTo>
                    <a:pt x="81296" y="36718"/>
                  </a:lnTo>
                  <a:lnTo>
                    <a:pt x="79916" y="35448"/>
                  </a:lnTo>
                  <a:lnTo>
                    <a:pt x="78757" y="35289"/>
                  </a:lnTo>
                  <a:lnTo>
                    <a:pt x="75462" y="33220"/>
                  </a:lnTo>
                  <a:lnTo>
                    <a:pt x="72229" y="31827"/>
                  </a:lnTo>
                  <a:lnTo>
                    <a:pt x="70251" y="30026"/>
                  </a:lnTo>
                  <a:lnTo>
                    <a:pt x="69748" y="29289"/>
                  </a:lnTo>
                  <a:lnTo>
                    <a:pt x="68558" y="28851"/>
                  </a:lnTo>
                  <a:lnTo>
                    <a:pt x="66529" y="26874"/>
                  </a:lnTo>
                  <a:lnTo>
                    <a:pt x="64555" y="25562"/>
                  </a:lnTo>
                  <a:lnTo>
                    <a:pt x="63857" y="23166"/>
                  </a:lnTo>
                  <a:lnTo>
                    <a:pt x="61942" y="21515"/>
                  </a:lnTo>
                  <a:close/>
                  <a:moveTo>
                    <a:pt x="1359" y="8086"/>
                  </a:moveTo>
                  <a:lnTo>
                    <a:pt x="4137" y="9648"/>
                  </a:lnTo>
                  <a:lnTo>
                    <a:pt x="3589" y="10846"/>
                  </a:lnTo>
                  <a:lnTo>
                    <a:pt x="1367" y="11378"/>
                  </a:lnTo>
                  <a:lnTo>
                    <a:pt x="0" y="10664"/>
                  </a:lnTo>
                  <a:lnTo>
                    <a:pt x="607" y="8969"/>
                  </a:lnTo>
                  <a:close/>
                  <a:moveTo>
                    <a:pt x="17731" y="0"/>
                  </a:moveTo>
                  <a:lnTo>
                    <a:pt x="20491" y="713"/>
                  </a:lnTo>
                  <a:lnTo>
                    <a:pt x="24056" y="3446"/>
                  </a:lnTo>
                  <a:lnTo>
                    <a:pt x="29912" y="6288"/>
                  </a:lnTo>
                  <a:lnTo>
                    <a:pt x="31509" y="7737"/>
                  </a:lnTo>
                  <a:lnTo>
                    <a:pt x="32525" y="11215"/>
                  </a:lnTo>
                  <a:lnTo>
                    <a:pt x="33518" y="12250"/>
                  </a:lnTo>
                  <a:lnTo>
                    <a:pt x="36675" y="14920"/>
                  </a:lnTo>
                  <a:lnTo>
                    <a:pt x="38345" y="15545"/>
                  </a:lnTo>
                  <a:lnTo>
                    <a:pt x="39228" y="15658"/>
                  </a:lnTo>
                  <a:lnTo>
                    <a:pt x="40005" y="16029"/>
                  </a:lnTo>
                  <a:lnTo>
                    <a:pt x="40710" y="16813"/>
                  </a:lnTo>
                  <a:lnTo>
                    <a:pt x="39000" y="18148"/>
                  </a:lnTo>
                  <a:lnTo>
                    <a:pt x="36744" y="17423"/>
                  </a:lnTo>
                  <a:lnTo>
                    <a:pt x="36258" y="16674"/>
                  </a:lnTo>
                  <a:lnTo>
                    <a:pt x="36200" y="16277"/>
                  </a:lnTo>
                  <a:lnTo>
                    <a:pt x="34625" y="16533"/>
                  </a:lnTo>
                  <a:lnTo>
                    <a:pt x="31488" y="15879"/>
                  </a:lnTo>
                  <a:lnTo>
                    <a:pt x="27126" y="12697"/>
                  </a:lnTo>
                  <a:lnTo>
                    <a:pt x="22516" y="6709"/>
                  </a:lnTo>
                  <a:lnTo>
                    <a:pt x="18074" y="3392"/>
                  </a:lnTo>
                  <a:lnTo>
                    <a:pt x="17245" y="2361"/>
                  </a:lnTo>
                  <a:lnTo>
                    <a:pt x="17137" y="652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61" name="ee4p_VU_1_37365">
              <a:extLst>
                <a:ext uri="{FF2B5EF4-FFF2-40B4-BE49-F238E27FC236}">
                  <a16:creationId xmlns:a16="http://schemas.microsoft.com/office/drawing/2014/main" id="{27EC39B1-DE81-C364-D303-62C755EE8E7B}"/>
                </a:ext>
              </a:extLst>
            </p:cNvPr>
            <p:cNvSpPr>
              <a:spLocks noChangeAspect="1"/>
            </p:cNvSpPr>
            <p:nvPr>
              <p:custDataLst>
                <p:tags r:id="rId215"/>
              </p:custDataLst>
            </p:nvPr>
          </p:nvSpPr>
          <p:spPr>
            <a:xfrm>
              <a:off x="11139020" y="5069261"/>
              <a:ext cx="93588" cy="191772"/>
            </a:xfrm>
            <a:custGeom>
              <a:avLst/>
              <a:gdLst>
                <a:gd name="connsiteX0" fmla="*/ 73045 w 74522"/>
                <a:gd name="connsiteY0" fmla="*/ 146421 h 148656"/>
                <a:gd name="connsiteX1" fmla="*/ 73551 w 74522"/>
                <a:gd name="connsiteY1" fmla="*/ 146495 h 148656"/>
                <a:gd name="connsiteX2" fmla="*/ 74522 w 74522"/>
                <a:gd name="connsiteY2" fmla="*/ 147386 h 148656"/>
                <a:gd name="connsiteX3" fmla="*/ 73745 w 74522"/>
                <a:gd name="connsiteY3" fmla="*/ 148656 h 148656"/>
                <a:gd name="connsiteX4" fmla="*/ 72549 w 74522"/>
                <a:gd name="connsiteY4" fmla="*/ 148640 h 148656"/>
                <a:gd name="connsiteX5" fmla="*/ 71011 w 74522"/>
                <a:gd name="connsiteY5" fmla="*/ 147743 h 148656"/>
                <a:gd name="connsiteX6" fmla="*/ 71303 w 74522"/>
                <a:gd name="connsiteY6" fmla="*/ 146619 h 148656"/>
                <a:gd name="connsiteX7" fmla="*/ 61141 w 74522"/>
                <a:gd name="connsiteY7" fmla="*/ 127510 h 148656"/>
                <a:gd name="connsiteX8" fmla="*/ 62149 w 74522"/>
                <a:gd name="connsiteY8" fmla="*/ 127683 h 148656"/>
                <a:gd name="connsiteX9" fmla="*/ 62663 w 74522"/>
                <a:gd name="connsiteY9" fmla="*/ 130632 h 148656"/>
                <a:gd name="connsiteX10" fmla="*/ 65568 w 74522"/>
                <a:gd name="connsiteY10" fmla="*/ 132522 h 148656"/>
                <a:gd name="connsiteX11" fmla="*/ 64399 w 74522"/>
                <a:gd name="connsiteY11" fmla="*/ 135019 h 148656"/>
                <a:gd name="connsiteX12" fmla="*/ 62382 w 74522"/>
                <a:gd name="connsiteY12" fmla="*/ 134438 h 148656"/>
                <a:gd name="connsiteX13" fmla="*/ 60495 w 74522"/>
                <a:gd name="connsiteY13" fmla="*/ 132634 h 148656"/>
                <a:gd name="connsiteX14" fmla="*/ 59513 w 74522"/>
                <a:gd name="connsiteY14" fmla="*/ 131058 h 148656"/>
                <a:gd name="connsiteX15" fmla="*/ 60176 w 74522"/>
                <a:gd name="connsiteY15" fmla="*/ 128037 h 148656"/>
                <a:gd name="connsiteX16" fmla="*/ 56647 w 74522"/>
                <a:gd name="connsiteY16" fmla="*/ 111374 h 148656"/>
                <a:gd name="connsiteX17" fmla="*/ 57884 w 74522"/>
                <a:gd name="connsiteY17" fmla="*/ 111685 h 148656"/>
                <a:gd name="connsiteX18" fmla="*/ 58640 w 74522"/>
                <a:gd name="connsiteY18" fmla="*/ 113837 h 148656"/>
                <a:gd name="connsiteX19" fmla="*/ 60359 w 74522"/>
                <a:gd name="connsiteY19" fmla="*/ 114714 h 148656"/>
                <a:gd name="connsiteX20" fmla="*/ 59152 w 74522"/>
                <a:gd name="connsiteY20" fmla="*/ 115453 h 148656"/>
                <a:gd name="connsiteX21" fmla="*/ 61253 w 74522"/>
                <a:gd name="connsiteY21" fmla="*/ 117082 h 148656"/>
                <a:gd name="connsiteX22" fmla="*/ 62097 w 74522"/>
                <a:gd name="connsiteY22" fmla="*/ 118764 h 148656"/>
                <a:gd name="connsiteX23" fmla="*/ 61079 w 74522"/>
                <a:gd name="connsiteY23" fmla="*/ 119871 h 148656"/>
                <a:gd name="connsiteX24" fmla="*/ 60189 w 74522"/>
                <a:gd name="connsiteY24" fmla="*/ 119750 h 148656"/>
                <a:gd name="connsiteX25" fmla="*/ 54414 w 74522"/>
                <a:gd name="connsiteY25" fmla="*/ 117184 h 148656"/>
                <a:gd name="connsiteX26" fmla="*/ 54657 w 74522"/>
                <a:gd name="connsiteY26" fmla="*/ 116129 h 148656"/>
                <a:gd name="connsiteX27" fmla="*/ 54419 w 74522"/>
                <a:gd name="connsiteY27" fmla="*/ 113437 h 148656"/>
                <a:gd name="connsiteX28" fmla="*/ 55053 w 74522"/>
                <a:gd name="connsiteY28" fmla="*/ 111975 h 148656"/>
                <a:gd name="connsiteX29" fmla="*/ 42449 w 74522"/>
                <a:gd name="connsiteY29" fmla="*/ 86819 h 148656"/>
                <a:gd name="connsiteX30" fmla="*/ 44652 w 74522"/>
                <a:gd name="connsiteY30" fmla="*/ 90067 h 148656"/>
                <a:gd name="connsiteX31" fmla="*/ 45526 w 74522"/>
                <a:gd name="connsiteY31" fmla="*/ 90323 h 148656"/>
                <a:gd name="connsiteX32" fmla="*/ 44192 w 74522"/>
                <a:gd name="connsiteY32" fmla="*/ 92653 h 148656"/>
                <a:gd name="connsiteX33" fmla="*/ 41423 w 74522"/>
                <a:gd name="connsiteY33" fmla="*/ 92863 h 148656"/>
                <a:gd name="connsiteX34" fmla="*/ 38157 w 74522"/>
                <a:gd name="connsiteY34" fmla="*/ 92259 h 148656"/>
                <a:gd name="connsiteX35" fmla="*/ 39354 w 74522"/>
                <a:gd name="connsiteY35" fmla="*/ 91459 h 148656"/>
                <a:gd name="connsiteX36" fmla="*/ 38735 w 74522"/>
                <a:gd name="connsiteY36" fmla="*/ 90555 h 148656"/>
                <a:gd name="connsiteX37" fmla="*/ 37748 w 74522"/>
                <a:gd name="connsiteY37" fmla="*/ 90372 h 148656"/>
                <a:gd name="connsiteX38" fmla="*/ 36617 w 74522"/>
                <a:gd name="connsiteY38" fmla="*/ 90804 h 148656"/>
                <a:gd name="connsiteX39" fmla="*/ 36090 w 74522"/>
                <a:gd name="connsiteY39" fmla="*/ 90657 h 148656"/>
                <a:gd name="connsiteX40" fmla="*/ 36814 w 74522"/>
                <a:gd name="connsiteY40" fmla="*/ 89159 h 148656"/>
                <a:gd name="connsiteX41" fmla="*/ 38631 w 74522"/>
                <a:gd name="connsiteY41" fmla="*/ 87048 h 148656"/>
                <a:gd name="connsiteX42" fmla="*/ 39169 w 74522"/>
                <a:gd name="connsiteY42" fmla="*/ 86881 h 148656"/>
                <a:gd name="connsiteX43" fmla="*/ 39658 w 74522"/>
                <a:gd name="connsiteY43" fmla="*/ 86859 h 148656"/>
                <a:gd name="connsiteX44" fmla="*/ 40133 w 74522"/>
                <a:gd name="connsiteY44" fmla="*/ 87044 h 148656"/>
                <a:gd name="connsiteX45" fmla="*/ 36996 w 74522"/>
                <a:gd name="connsiteY45" fmla="*/ 65239 h 148656"/>
                <a:gd name="connsiteX46" fmla="*/ 37762 w 74522"/>
                <a:gd name="connsiteY46" fmla="*/ 66279 h 148656"/>
                <a:gd name="connsiteX47" fmla="*/ 38461 w 74522"/>
                <a:gd name="connsiteY47" fmla="*/ 66987 h 148656"/>
                <a:gd name="connsiteX48" fmla="*/ 39139 w 74522"/>
                <a:gd name="connsiteY48" fmla="*/ 67291 h 148656"/>
                <a:gd name="connsiteX49" fmla="*/ 40685 w 74522"/>
                <a:gd name="connsiteY49" fmla="*/ 68987 h 148656"/>
                <a:gd name="connsiteX50" fmla="*/ 42471 w 74522"/>
                <a:gd name="connsiteY50" fmla="*/ 69442 h 148656"/>
                <a:gd name="connsiteX51" fmla="*/ 43129 w 74522"/>
                <a:gd name="connsiteY51" fmla="*/ 69780 h 148656"/>
                <a:gd name="connsiteX52" fmla="*/ 42767 w 74522"/>
                <a:gd name="connsiteY52" fmla="*/ 70721 h 148656"/>
                <a:gd name="connsiteX53" fmla="*/ 39728 w 74522"/>
                <a:gd name="connsiteY53" fmla="*/ 69647 h 148656"/>
                <a:gd name="connsiteX54" fmla="*/ 37286 w 74522"/>
                <a:gd name="connsiteY54" fmla="*/ 70064 h 148656"/>
                <a:gd name="connsiteX55" fmla="*/ 36603 w 74522"/>
                <a:gd name="connsiteY55" fmla="*/ 70015 h 148656"/>
                <a:gd name="connsiteX56" fmla="*/ 35876 w 74522"/>
                <a:gd name="connsiteY56" fmla="*/ 69145 h 148656"/>
                <a:gd name="connsiteX57" fmla="*/ 35341 w 74522"/>
                <a:gd name="connsiteY57" fmla="*/ 67425 h 148656"/>
                <a:gd name="connsiteX58" fmla="*/ 35584 w 74522"/>
                <a:gd name="connsiteY58" fmla="*/ 66217 h 148656"/>
                <a:gd name="connsiteX59" fmla="*/ 36613 w 74522"/>
                <a:gd name="connsiteY59" fmla="*/ 65376 h 148656"/>
                <a:gd name="connsiteX60" fmla="*/ 36215 w 74522"/>
                <a:gd name="connsiteY60" fmla="*/ 53612 h 148656"/>
                <a:gd name="connsiteX61" fmla="*/ 36977 w 74522"/>
                <a:gd name="connsiteY61" fmla="*/ 54478 h 148656"/>
                <a:gd name="connsiteX62" fmla="*/ 37798 w 74522"/>
                <a:gd name="connsiteY62" fmla="*/ 57008 h 148656"/>
                <a:gd name="connsiteX63" fmla="*/ 38688 w 74522"/>
                <a:gd name="connsiteY63" fmla="*/ 57771 h 148656"/>
                <a:gd name="connsiteX64" fmla="*/ 39179 w 74522"/>
                <a:gd name="connsiteY64" fmla="*/ 58537 h 148656"/>
                <a:gd name="connsiteX65" fmla="*/ 39152 w 74522"/>
                <a:gd name="connsiteY65" fmla="*/ 59395 h 148656"/>
                <a:gd name="connsiteX66" fmla="*/ 36625 w 74522"/>
                <a:gd name="connsiteY66" fmla="*/ 59628 h 148656"/>
                <a:gd name="connsiteX67" fmla="*/ 33071 w 74522"/>
                <a:gd name="connsiteY67" fmla="*/ 58921 h 148656"/>
                <a:gd name="connsiteX68" fmla="*/ 31642 w 74522"/>
                <a:gd name="connsiteY68" fmla="*/ 57937 h 148656"/>
                <a:gd name="connsiteX69" fmla="*/ 31022 w 74522"/>
                <a:gd name="connsiteY69" fmla="*/ 56948 h 148656"/>
                <a:gd name="connsiteX70" fmla="*/ 32250 w 74522"/>
                <a:gd name="connsiteY70" fmla="*/ 56217 h 148656"/>
                <a:gd name="connsiteX71" fmla="*/ 34012 w 74522"/>
                <a:gd name="connsiteY71" fmla="*/ 55871 h 148656"/>
                <a:gd name="connsiteX72" fmla="*/ 16089 w 74522"/>
                <a:gd name="connsiteY72" fmla="*/ 48966 h 148656"/>
                <a:gd name="connsiteX73" fmla="*/ 17903 w 74522"/>
                <a:gd name="connsiteY73" fmla="*/ 49871 h 148656"/>
                <a:gd name="connsiteX74" fmla="*/ 19601 w 74522"/>
                <a:gd name="connsiteY74" fmla="*/ 53935 h 148656"/>
                <a:gd name="connsiteX75" fmla="*/ 20620 w 74522"/>
                <a:gd name="connsiteY75" fmla="*/ 54427 h 148656"/>
                <a:gd name="connsiteX76" fmla="*/ 21175 w 74522"/>
                <a:gd name="connsiteY76" fmla="*/ 54427 h 148656"/>
                <a:gd name="connsiteX77" fmla="*/ 21507 w 74522"/>
                <a:gd name="connsiteY77" fmla="*/ 55530 h 148656"/>
                <a:gd name="connsiteX78" fmla="*/ 24675 w 74522"/>
                <a:gd name="connsiteY78" fmla="*/ 57733 h 148656"/>
                <a:gd name="connsiteX79" fmla="*/ 25545 w 74522"/>
                <a:gd name="connsiteY79" fmla="*/ 57671 h 148656"/>
                <a:gd name="connsiteX80" fmla="*/ 26278 w 74522"/>
                <a:gd name="connsiteY80" fmla="*/ 58876 h 148656"/>
                <a:gd name="connsiteX81" fmla="*/ 27638 w 74522"/>
                <a:gd name="connsiteY81" fmla="*/ 59486 h 148656"/>
                <a:gd name="connsiteX82" fmla="*/ 28005 w 74522"/>
                <a:gd name="connsiteY82" fmla="*/ 60714 h 148656"/>
                <a:gd name="connsiteX83" fmla="*/ 28979 w 74522"/>
                <a:gd name="connsiteY83" fmla="*/ 61965 h 148656"/>
                <a:gd name="connsiteX84" fmla="*/ 27279 w 74522"/>
                <a:gd name="connsiteY84" fmla="*/ 63480 h 148656"/>
                <a:gd name="connsiteX85" fmla="*/ 24000 w 74522"/>
                <a:gd name="connsiteY85" fmla="*/ 63076 h 148656"/>
                <a:gd name="connsiteX86" fmla="*/ 22118 w 74522"/>
                <a:gd name="connsiteY86" fmla="*/ 64795 h 148656"/>
                <a:gd name="connsiteX87" fmla="*/ 20415 w 74522"/>
                <a:gd name="connsiteY87" fmla="*/ 64356 h 148656"/>
                <a:gd name="connsiteX88" fmla="*/ 20123 w 74522"/>
                <a:gd name="connsiteY88" fmla="*/ 63453 h 148656"/>
                <a:gd name="connsiteX89" fmla="*/ 20361 w 74522"/>
                <a:gd name="connsiteY89" fmla="*/ 63151 h 148656"/>
                <a:gd name="connsiteX90" fmla="*/ 19346 w 74522"/>
                <a:gd name="connsiteY90" fmla="*/ 60849 h 148656"/>
                <a:gd name="connsiteX91" fmla="*/ 18888 w 74522"/>
                <a:gd name="connsiteY91" fmla="*/ 57334 h 148656"/>
                <a:gd name="connsiteX92" fmla="*/ 18201 w 74522"/>
                <a:gd name="connsiteY92" fmla="*/ 55264 h 148656"/>
                <a:gd name="connsiteX93" fmla="*/ 17459 w 74522"/>
                <a:gd name="connsiteY93" fmla="*/ 54380 h 148656"/>
                <a:gd name="connsiteX94" fmla="*/ 15921 w 74522"/>
                <a:gd name="connsiteY94" fmla="*/ 55153 h 148656"/>
                <a:gd name="connsiteX95" fmla="*/ 15301 w 74522"/>
                <a:gd name="connsiteY95" fmla="*/ 55282 h 148656"/>
                <a:gd name="connsiteX96" fmla="*/ 13829 w 74522"/>
                <a:gd name="connsiteY96" fmla="*/ 53585 h 148656"/>
                <a:gd name="connsiteX97" fmla="*/ 14526 w 74522"/>
                <a:gd name="connsiteY97" fmla="*/ 50139 h 148656"/>
                <a:gd name="connsiteX98" fmla="*/ 14891 w 74522"/>
                <a:gd name="connsiteY98" fmla="*/ 49154 h 148656"/>
                <a:gd name="connsiteX99" fmla="*/ 13112 w 74522"/>
                <a:gd name="connsiteY99" fmla="*/ 43207 h 148656"/>
                <a:gd name="connsiteX100" fmla="*/ 15662 w 74522"/>
                <a:gd name="connsiteY100" fmla="*/ 43715 h 148656"/>
                <a:gd name="connsiteX101" fmla="*/ 15321 w 74522"/>
                <a:gd name="connsiteY101" fmla="*/ 45507 h 148656"/>
                <a:gd name="connsiteX102" fmla="*/ 14919 w 74522"/>
                <a:gd name="connsiteY102" fmla="*/ 46096 h 148656"/>
                <a:gd name="connsiteX103" fmla="*/ 12574 w 74522"/>
                <a:gd name="connsiteY103" fmla="*/ 44627 h 148656"/>
                <a:gd name="connsiteX104" fmla="*/ 36128 w 74522"/>
                <a:gd name="connsiteY104" fmla="*/ 39567 h 148656"/>
                <a:gd name="connsiteX105" fmla="*/ 36649 w 74522"/>
                <a:gd name="connsiteY105" fmla="*/ 40617 h 148656"/>
                <a:gd name="connsiteX106" fmla="*/ 38513 w 74522"/>
                <a:gd name="connsiteY106" fmla="*/ 49318 h 148656"/>
                <a:gd name="connsiteX107" fmla="*/ 38260 w 74522"/>
                <a:gd name="connsiteY107" fmla="*/ 50744 h 148656"/>
                <a:gd name="connsiteX108" fmla="*/ 37299 w 74522"/>
                <a:gd name="connsiteY108" fmla="*/ 51089 h 148656"/>
                <a:gd name="connsiteX109" fmla="*/ 36930 w 74522"/>
                <a:gd name="connsiteY109" fmla="*/ 51118 h 148656"/>
                <a:gd name="connsiteX110" fmla="*/ 36556 w 74522"/>
                <a:gd name="connsiteY110" fmla="*/ 50075 h 148656"/>
                <a:gd name="connsiteX111" fmla="*/ 35308 w 74522"/>
                <a:gd name="connsiteY111" fmla="*/ 44527 h 148656"/>
                <a:gd name="connsiteX112" fmla="*/ 32648 w 74522"/>
                <a:gd name="connsiteY112" fmla="*/ 35525 h 148656"/>
                <a:gd name="connsiteX113" fmla="*/ 30631 w 74522"/>
                <a:gd name="connsiteY113" fmla="*/ 38981 h 148656"/>
                <a:gd name="connsiteX114" fmla="*/ 29147 w 74522"/>
                <a:gd name="connsiteY114" fmla="*/ 40020 h 148656"/>
                <a:gd name="connsiteX115" fmla="*/ 26405 w 74522"/>
                <a:gd name="connsiteY115" fmla="*/ 39920 h 148656"/>
                <a:gd name="connsiteX116" fmla="*/ 25388 w 74522"/>
                <a:gd name="connsiteY116" fmla="*/ 39335 h 148656"/>
                <a:gd name="connsiteX117" fmla="*/ 28750 w 74522"/>
                <a:gd name="connsiteY117" fmla="*/ 36177 h 148656"/>
                <a:gd name="connsiteX118" fmla="*/ 35608 w 74522"/>
                <a:gd name="connsiteY118" fmla="*/ 28813 h 148656"/>
                <a:gd name="connsiteX119" fmla="*/ 36725 w 74522"/>
                <a:gd name="connsiteY119" fmla="*/ 33572 h 148656"/>
                <a:gd name="connsiteX120" fmla="*/ 36774 w 74522"/>
                <a:gd name="connsiteY120" fmla="*/ 36554 h 148656"/>
                <a:gd name="connsiteX121" fmla="*/ 36392 w 74522"/>
                <a:gd name="connsiteY121" fmla="*/ 37955 h 148656"/>
                <a:gd name="connsiteX122" fmla="*/ 35476 w 74522"/>
                <a:gd name="connsiteY122" fmla="*/ 36333 h 148656"/>
                <a:gd name="connsiteX123" fmla="*/ 34896 w 74522"/>
                <a:gd name="connsiteY123" fmla="*/ 29495 h 148656"/>
                <a:gd name="connsiteX124" fmla="*/ 35133 w 74522"/>
                <a:gd name="connsiteY124" fmla="*/ 28861 h 148656"/>
                <a:gd name="connsiteX125" fmla="*/ 1808 w 74522"/>
                <a:gd name="connsiteY125" fmla="*/ 20907 h 148656"/>
                <a:gd name="connsiteX126" fmla="*/ 3019 w 74522"/>
                <a:gd name="connsiteY126" fmla="*/ 23133 h 148656"/>
                <a:gd name="connsiteX127" fmla="*/ 4859 w 74522"/>
                <a:gd name="connsiteY127" fmla="*/ 25207 h 148656"/>
                <a:gd name="connsiteX128" fmla="*/ 6281 w 74522"/>
                <a:gd name="connsiteY128" fmla="*/ 32679 h 148656"/>
                <a:gd name="connsiteX129" fmla="*/ 7940 w 74522"/>
                <a:gd name="connsiteY129" fmla="*/ 32664 h 148656"/>
                <a:gd name="connsiteX130" fmla="*/ 8787 w 74522"/>
                <a:gd name="connsiteY130" fmla="*/ 32266 h 148656"/>
                <a:gd name="connsiteX131" fmla="*/ 9762 w 74522"/>
                <a:gd name="connsiteY131" fmla="*/ 30515 h 148656"/>
                <a:gd name="connsiteX132" fmla="*/ 10199 w 74522"/>
                <a:gd name="connsiteY132" fmla="*/ 27764 h 148656"/>
                <a:gd name="connsiteX133" fmla="*/ 11067 w 74522"/>
                <a:gd name="connsiteY133" fmla="*/ 27372 h 148656"/>
                <a:gd name="connsiteX134" fmla="*/ 12151 w 74522"/>
                <a:gd name="connsiteY134" fmla="*/ 27665 h 148656"/>
                <a:gd name="connsiteX135" fmla="*/ 11680 w 74522"/>
                <a:gd name="connsiteY135" fmla="*/ 28541 h 148656"/>
                <a:gd name="connsiteX136" fmla="*/ 11996 w 74522"/>
                <a:gd name="connsiteY136" fmla="*/ 30742 h 148656"/>
                <a:gd name="connsiteX137" fmla="*/ 12834 w 74522"/>
                <a:gd name="connsiteY137" fmla="*/ 31959 h 148656"/>
                <a:gd name="connsiteX138" fmla="*/ 13390 w 74522"/>
                <a:gd name="connsiteY138" fmla="*/ 32180 h 148656"/>
                <a:gd name="connsiteX139" fmla="*/ 14505 w 74522"/>
                <a:gd name="connsiteY139" fmla="*/ 37935 h 148656"/>
                <a:gd name="connsiteX140" fmla="*/ 14919 w 74522"/>
                <a:gd name="connsiteY140" fmla="*/ 39142 h 148656"/>
                <a:gd name="connsiteX141" fmla="*/ 14893 w 74522"/>
                <a:gd name="connsiteY141" fmla="*/ 40108 h 148656"/>
                <a:gd name="connsiteX142" fmla="*/ 12557 w 74522"/>
                <a:gd name="connsiteY142" fmla="*/ 42262 h 148656"/>
                <a:gd name="connsiteX143" fmla="*/ 9078 w 74522"/>
                <a:gd name="connsiteY143" fmla="*/ 42198 h 148656"/>
                <a:gd name="connsiteX144" fmla="*/ 6627 w 74522"/>
                <a:gd name="connsiteY144" fmla="*/ 43485 h 148656"/>
                <a:gd name="connsiteX145" fmla="*/ 5135 w 74522"/>
                <a:gd name="connsiteY145" fmla="*/ 43401 h 148656"/>
                <a:gd name="connsiteX146" fmla="*/ 5150 w 74522"/>
                <a:gd name="connsiteY146" fmla="*/ 41944 h 148656"/>
                <a:gd name="connsiteX147" fmla="*/ 3823 w 74522"/>
                <a:gd name="connsiteY147" fmla="*/ 40785 h 148656"/>
                <a:gd name="connsiteX148" fmla="*/ 2321 w 74522"/>
                <a:gd name="connsiteY148" fmla="*/ 38305 h 148656"/>
                <a:gd name="connsiteX149" fmla="*/ 2693 w 74522"/>
                <a:gd name="connsiteY149" fmla="*/ 33903 h 148656"/>
                <a:gd name="connsiteX150" fmla="*/ 26 w 74522"/>
                <a:gd name="connsiteY150" fmla="*/ 25732 h 148656"/>
                <a:gd name="connsiteX151" fmla="*/ 0 w 74522"/>
                <a:gd name="connsiteY151" fmla="*/ 23691 h 148656"/>
                <a:gd name="connsiteX152" fmla="*/ 913 w 74522"/>
                <a:gd name="connsiteY152" fmla="*/ 21026 h 148656"/>
                <a:gd name="connsiteX153" fmla="*/ 21678 w 74522"/>
                <a:gd name="connsiteY153" fmla="*/ 9752 h 148656"/>
                <a:gd name="connsiteX154" fmla="*/ 23723 w 74522"/>
                <a:gd name="connsiteY154" fmla="*/ 10690 h 148656"/>
                <a:gd name="connsiteX155" fmla="*/ 23412 w 74522"/>
                <a:gd name="connsiteY155" fmla="*/ 12430 h 148656"/>
                <a:gd name="connsiteX156" fmla="*/ 22492 w 74522"/>
                <a:gd name="connsiteY156" fmla="*/ 13574 h 148656"/>
                <a:gd name="connsiteX157" fmla="*/ 19994 w 74522"/>
                <a:gd name="connsiteY157" fmla="*/ 13197 h 148656"/>
                <a:gd name="connsiteX158" fmla="*/ 19402 w 74522"/>
                <a:gd name="connsiteY158" fmla="*/ 12895 h 148656"/>
                <a:gd name="connsiteX159" fmla="*/ 19562 w 74522"/>
                <a:gd name="connsiteY159" fmla="*/ 10999 h 148656"/>
                <a:gd name="connsiteX160" fmla="*/ 20188 w 74522"/>
                <a:gd name="connsiteY160" fmla="*/ 10344 h 148656"/>
                <a:gd name="connsiteX161" fmla="*/ 21117 w 74522"/>
                <a:gd name="connsiteY161" fmla="*/ 0 h 148656"/>
                <a:gd name="connsiteX162" fmla="*/ 22581 w 74522"/>
                <a:gd name="connsiteY162" fmla="*/ 1514 h 148656"/>
                <a:gd name="connsiteX163" fmla="*/ 22719 w 74522"/>
                <a:gd name="connsiteY163" fmla="*/ 2354 h 148656"/>
                <a:gd name="connsiteX164" fmla="*/ 22708 w 74522"/>
                <a:gd name="connsiteY164" fmla="*/ 3069 h 148656"/>
                <a:gd name="connsiteX165" fmla="*/ 22483 w 74522"/>
                <a:gd name="connsiteY165" fmla="*/ 3687 h 148656"/>
                <a:gd name="connsiteX166" fmla="*/ 21505 w 74522"/>
                <a:gd name="connsiteY166" fmla="*/ 3945 h 148656"/>
                <a:gd name="connsiteX167" fmla="*/ 21289 w 74522"/>
                <a:gd name="connsiteY167" fmla="*/ 4455 h 148656"/>
                <a:gd name="connsiteX168" fmla="*/ 20966 w 74522"/>
                <a:gd name="connsiteY168" fmla="*/ 4678 h 148656"/>
                <a:gd name="connsiteX169" fmla="*/ 20454 w 74522"/>
                <a:gd name="connsiteY169" fmla="*/ 4504 h 148656"/>
                <a:gd name="connsiteX170" fmla="*/ 19143 w 74522"/>
                <a:gd name="connsiteY170" fmla="*/ 1777 h 148656"/>
                <a:gd name="connsiteX171" fmla="*/ 19475 w 74522"/>
                <a:gd name="connsiteY171" fmla="*/ 869 h 148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</a:cxnLst>
              <a:rect l="l" t="t" r="r" b="b"/>
              <a:pathLst>
                <a:path w="74522" h="148656">
                  <a:moveTo>
                    <a:pt x="73045" y="146421"/>
                  </a:moveTo>
                  <a:lnTo>
                    <a:pt x="73551" y="146495"/>
                  </a:lnTo>
                  <a:lnTo>
                    <a:pt x="74522" y="147386"/>
                  </a:lnTo>
                  <a:lnTo>
                    <a:pt x="73745" y="148656"/>
                  </a:lnTo>
                  <a:lnTo>
                    <a:pt x="72549" y="148640"/>
                  </a:lnTo>
                  <a:lnTo>
                    <a:pt x="71011" y="147743"/>
                  </a:lnTo>
                  <a:lnTo>
                    <a:pt x="71303" y="146619"/>
                  </a:lnTo>
                  <a:close/>
                  <a:moveTo>
                    <a:pt x="61141" y="127510"/>
                  </a:moveTo>
                  <a:lnTo>
                    <a:pt x="62149" y="127683"/>
                  </a:lnTo>
                  <a:lnTo>
                    <a:pt x="62663" y="130632"/>
                  </a:lnTo>
                  <a:lnTo>
                    <a:pt x="65568" y="132522"/>
                  </a:lnTo>
                  <a:lnTo>
                    <a:pt x="64399" y="135019"/>
                  </a:lnTo>
                  <a:lnTo>
                    <a:pt x="62382" y="134438"/>
                  </a:lnTo>
                  <a:lnTo>
                    <a:pt x="60495" y="132634"/>
                  </a:lnTo>
                  <a:lnTo>
                    <a:pt x="59513" y="131058"/>
                  </a:lnTo>
                  <a:lnTo>
                    <a:pt x="60176" y="128037"/>
                  </a:lnTo>
                  <a:close/>
                  <a:moveTo>
                    <a:pt x="56647" y="111374"/>
                  </a:moveTo>
                  <a:lnTo>
                    <a:pt x="57884" y="111685"/>
                  </a:lnTo>
                  <a:lnTo>
                    <a:pt x="58640" y="113837"/>
                  </a:lnTo>
                  <a:lnTo>
                    <a:pt x="60359" y="114714"/>
                  </a:lnTo>
                  <a:lnTo>
                    <a:pt x="59152" y="115453"/>
                  </a:lnTo>
                  <a:lnTo>
                    <a:pt x="61253" y="117082"/>
                  </a:lnTo>
                  <a:lnTo>
                    <a:pt x="62097" y="118764"/>
                  </a:lnTo>
                  <a:lnTo>
                    <a:pt x="61079" y="119871"/>
                  </a:lnTo>
                  <a:lnTo>
                    <a:pt x="60189" y="119750"/>
                  </a:lnTo>
                  <a:lnTo>
                    <a:pt x="54414" y="117184"/>
                  </a:lnTo>
                  <a:lnTo>
                    <a:pt x="54657" y="116129"/>
                  </a:lnTo>
                  <a:lnTo>
                    <a:pt x="54419" y="113437"/>
                  </a:lnTo>
                  <a:lnTo>
                    <a:pt x="55053" y="111975"/>
                  </a:lnTo>
                  <a:close/>
                  <a:moveTo>
                    <a:pt x="42449" y="86819"/>
                  </a:moveTo>
                  <a:lnTo>
                    <a:pt x="44652" y="90067"/>
                  </a:lnTo>
                  <a:lnTo>
                    <a:pt x="45526" y="90323"/>
                  </a:lnTo>
                  <a:lnTo>
                    <a:pt x="44192" y="92653"/>
                  </a:lnTo>
                  <a:lnTo>
                    <a:pt x="41423" y="92863"/>
                  </a:lnTo>
                  <a:lnTo>
                    <a:pt x="38157" y="92259"/>
                  </a:lnTo>
                  <a:lnTo>
                    <a:pt x="39354" y="91459"/>
                  </a:lnTo>
                  <a:lnTo>
                    <a:pt x="38735" y="90555"/>
                  </a:lnTo>
                  <a:lnTo>
                    <a:pt x="37748" y="90372"/>
                  </a:lnTo>
                  <a:lnTo>
                    <a:pt x="36617" y="90804"/>
                  </a:lnTo>
                  <a:lnTo>
                    <a:pt x="36090" y="90657"/>
                  </a:lnTo>
                  <a:lnTo>
                    <a:pt x="36814" y="89159"/>
                  </a:lnTo>
                  <a:lnTo>
                    <a:pt x="38631" y="87048"/>
                  </a:lnTo>
                  <a:lnTo>
                    <a:pt x="39169" y="86881"/>
                  </a:lnTo>
                  <a:lnTo>
                    <a:pt x="39658" y="86859"/>
                  </a:lnTo>
                  <a:lnTo>
                    <a:pt x="40133" y="87044"/>
                  </a:lnTo>
                  <a:close/>
                  <a:moveTo>
                    <a:pt x="36996" y="65239"/>
                  </a:moveTo>
                  <a:lnTo>
                    <a:pt x="37762" y="66279"/>
                  </a:lnTo>
                  <a:lnTo>
                    <a:pt x="38461" y="66987"/>
                  </a:lnTo>
                  <a:lnTo>
                    <a:pt x="39139" y="67291"/>
                  </a:lnTo>
                  <a:lnTo>
                    <a:pt x="40685" y="68987"/>
                  </a:lnTo>
                  <a:lnTo>
                    <a:pt x="42471" y="69442"/>
                  </a:lnTo>
                  <a:lnTo>
                    <a:pt x="43129" y="69780"/>
                  </a:lnTo>
                  <a:lnTo>
                    <a:pt x="42767" y="70721"/>
                  </a:lnTo>
                  <a:lnTo>
                    <a:pt x="39728" y="69647"/>
                  </a:lnTo>
                  <a:lnTo>
                    <a:pt x="37286" y="70064"/>
                  </a:lnTo>
                  <a:lnTo>
                    <a:pt x="36603" y="70015"/>
                  </a:lnTo>
                  <a:lnTo>
                    <a:pt x="35876" y="69145"/>
                  </a:lnTo>
                  <a:lnTo>
                    <a:pt x="35341" y="67425"/>
                  </a:lnTo>
                  <a:lnTo>
                    <a:pt x="35584" y="66217"/>
                  </a:lnTo>
                  <a:lnTo>
                    <a:pt x="36613" y="65376"/>
                  </a:lnTo>
                  <a:close/>
                  <a:moveTo>
                    <a:pt x="36215" y="53612"/>
                  </a:moveTo>
                  <a:lnTo>
                    <a:pt x="36977" y="54478"/>
                  </a:lnTo>
                  <a:lnTo>
                    <a:pt x="37798" y="57008"/>
                  </a:lnTo>
                  <a:lnTo>
                    <a:pt x="38688" y="57771"/>
                  </a:lnTo>
                  <a:lnTo>
                    <a:pt x="39179" y="58537"/>
                  </a:lnTo>
                  <a:lnTo>
                    <a:pt x="39152" y="59395"/>
                  </a:lnTo>
                  <a:lnTo>
                    <a:pt x="36625" y="59628"/>
                  </a:lnTo>
                  <a:lnTo>
                    <a:pt x="33071" y="58921"/>
                  </a:lnTo>
                  <a:lnTo>
                    <a:pt x="31642" y="57937"/>
                  </a:lnTo>
                  <a:lnTo>
                    <a:pt x="31022" y="56948"/>
                  </a:lnTo>
                  <a:lnTo>
                    <a:pt x="32250" y="56217"/>
                  </a:lnTo>
                  <a:lnTo>
                    <a:pt x="34012" y="55871"/>
                  </a:lnTo>
                  <a:close/>
                  <a:moveTo>
                    <a:pt x="16089" y="48966"/>
                  </a:moveTo>
                  <a:lnTo>
                    <a:pt x="17903" y="49871"/>
                  </a:lnTo>
                  <a:lnTo>
                    <a:pt x="19601" y="53935"/>
                  </a:lnTo>
                  <a:lnTo>
                    <a:pt x="20620" y="54427"/>
                  </a:lnTo>
                  <a:lnTo>
                    <a:pt x="21175" y="54427"/>
                  </a:lnTo>
                  <a:lnTo>
                    <a:pt x="21507" y="55530"/>
                  </a:lnTo>
                  <a:lnTo>
                    <a:pt x="24675" y="57733"/>
                  </a:lnTo>
                  <a:lnTo>
                    <a:pt x="25545" y="57671"/>
                  </a:lnTo>
                  <a:lnTo>
                    <a:pt x="26278" y="58876"/>
                  </a:lnTo>
                  <a:lnTo>
                    <a:pt x="27638" y="59486"/>
                  </a:lnTo>
                  <a:lnTo>
                    <a:pt x="28005" y="60714"/>
                  </a:lnTo>
                  <a:lnTo>
                    <a:pt x="28979" y="61965"/>
                  </a:lnTo>
                  <a:lnTo>
                    <a:pt x="27279" y="63480"/>
                  </a:lnTo>
                  <a:lnTo>
                    <a:pt x="24000" y="63076"/>
                  </a:lnTo>
                  <a:lnTo>
                    <a:pt x="22118" y="64795"/>
                  </a:lnTo>
                  <a:lnTo>
                    <a:pt x="20415" y="64356"/>
                  </a:lnTo>
                  <a:lnTo>
                    <a:pt x="20123" y="63453"/>
                  </a:lnTo>
                  <a:lnTo>
                    <a:pt x="20361" y="63151"/>
                  </a:lnTo>
                  <a:lnTo>
                    <a:pt x="19346" y="60849"/>
                  </a:lnTo>
                  <a:lnTo>
                    <a:pt x="18888" y="57334"/>
                  </a:lnTo>
                  <a:lnTo>
                    <a:pt x="18201" y="55264"/>
                  </a:lnTo>
                  <a:lnTo>
                    <a:pt x="17459" y="54380"/>
                  </a:lnTo>
                  <a:lnTo>
                    <a:pt x="15921" y="55153"/>
                  </a:lnTo>
                  <a:lnTo>
                    <a:pt x="15301" y="55282"/>
                  </a:lnTo>
                  <a:lnTo>
                    <a:pt x="13829" y="53585"/>
                  </a:lnTo>
                  <a:lnTo>
                    <a:pt x="14526" y="50139"/>
                  </a:lnTo>
                  <a:lnTo>
                    <a:pt x="14891" y="49154"/>
                  </a:lnTo>
                  <a:close/>
                  <a:moveTo>
                    <a:pt x="13112" y="43207"/>
                  </a:moveTo>
                  <a:lnTo>
                    <a:pt x="15662" y="43715"/>
                  </a:lnTo>
                  <a:lnTo>
                    <a:pt x="15321" y="45507"/>
                  </a:lnTo>
                  <a:lnTo>
                    <a:pt x="14919" y="46096"/>
                  </a:lnTo>
                  <a:lnTo>
                    <a:pt x="12574" y="44627"/>
                  </a:lnTo>
                  <a:close/>
                  <a:moveTo>
                    <a:pt x="36128" y="39567"/>
                  </a:moveTo>
                  <a:lnTo>
                    <a:pt x="36649" y="40617"/>
                  </a:lnTo>
                  <a:lnTo>
                    <a:pt x="38513" y="49318"/>
                  </a:lnTo>
                  <a:lnTo>
                    <a:pt x="38260" y="50744"/>
                  </a:lnTo>
                  <a:lnTo>
                    <a:pt x="37299" y="51089"/>
                  </a:lnTo>
                  <a:lnTo>
                    <a:pt x="36930" y="51118"/>
                  </a:lnTo>
                  <a:lnTo>
                    <a:pt x="36556" y="50075"/>
                  </a:lnTo>
                  <a:lnTo>
                    <a:pt x="35308" y="44527"/>
                  </a:lnTo>
                  <a:close/>
                  <a:moveTo>
                    <a:pt x="32648" y="35525"/>
                  </a:moveTo>
                  <a:lnTo>
                    <a:pt x="30631" y="38981"/>
                  </a:lnTo>
                  <a:lnTo>
                    <a:pt x="29147" y="40020"/>
                  </a:lnTo>
                  <a:lnTo>
                    <a:pt x="26405" y="39920"/>
                  </a:lnTo>
                  <a:lnTo>
                    <a:pt x="25388" y="39335"/>
                  </a:lnTo>
                  <a:lnTo>
                    <a:pt x="28750" y="36177"/>
                  </a:lnTo>
                  <a:close/>
                  <a:moveTo>
                    <a:pt x="35608" y="28813"/>
                  </a:moveTo>
                  <a:lnTo>
                    <a:pt x="36725" y="33572"/>
                  </a:lnTo>
                  <a:lnTo>
                    <a:pt x="36774" y="36554"/>
                  </a:lnTo>
                  <a:lnTo>
                    <a:pt x="36392" y="37955"/>
                  </a:lnTo>
                  <a:lnTo>
                    <a:pt x="35476" y="36333"/>
                  </a:lnTo>
                  <a:lnTo>
                    <a:pt x="34896" y="29495"/>
                  </a:lnTo>
                  <a:lnTo>
                    <a:pt x="35133" y="28861"/>
                  </a:lnTo>
                  <a:close/>
                  <a:moveTo>
                    <a:pt x="1808" y="20907"/>
                  </a:moveTo>
                  <a:lnTo>
                    <a:pt x="3019" y="23133"/>
                  </a:lnTo>
                  <a:lnTo>
                    <a:pt x="4859" y="25207"/>
                  </a:lnTo>
                  <a:lnTo>
                    <a:pt x="6281" y="32679"/>
                  </a:lnTo>
                  <a:lnTo>
                    <a:pt x="7940" y="32664"/>
                  </a:lnTo>
                  <a:lnTo>
                    <a:pt x="8787" y="32266"/>
                  </a:lnTo>
                  <a:lnTo>
                    <a:pt x="9762" y="30515"/>
                  </a:lnTo>
                  <a:lnTo>
                    <a:pt x="10199" y="27764"/>
                  </a:lnTo>
                  <a:lnTo>
                    <a:pt x="11067" y="27372"/>
                  </a:lnTo>
                  <a:lnTo>
                    <a:pt x="12151" y="27665"/>
                  </a:lnTo>
                  <a:lnTo>
                    <a:pt x="11680" y="28541"/>
                  </a:lnTo>
                  <a:lnTo>
                    <a:pt x="11996" y="30742"/>
                  </a:lnTo>
                  <a:lnTo>
                    <a:pt x="12834" y="31959"/>
                  </a:lnTo>
                  <a:lnTo>
                    <a:pt x="13390" y="32180"/>
                  </a:lnTo>
                  <a:lnTo>
                    <a:pt x="14505" y="37935"/>
                  </a:lnTo>
                  <a:lnTo>
                    <a:pt x="14919" y="39142"/>
                  </a:lnTo>
                  <a:lnTo>
                    <a:pt x="14893" y="40108"/>
                  </a:lnTo>
                  <a:lnTo>
                    <a:pt x="12557" y="42262"/>
                  </a:lnTo>
                  <a:lnTo>
                    <a:pt x="9078" y="42198"/>
                  </a:lnTo>
                  <a:lnTo>
                    <a:pt x="6627" y="43485"/>
                  </a:lnTo>
                  <a:lnTo>
                    <a:pt x="5135" y="43401"/>
                  </a:lnTo>
                  <a:lnTo>
                    <a:pt x="5150" y="41944"/>
                  </a:lnTo>
                  <a:lnTo>
                    <a:pt x="3823" y="40785"/>
                  </a:lnTo>
                  <a:lnTo>
                    <a:pt x="2321" y="38305"/>
                  </a:lnTo>
                  <a:lnTo>
                    <a:pt x="2693" y="33903"/>
                  </a:lnTo>
                  <a:lnTo>
                    <a:pt x="26" y="25732"/>
                  </a:lnTo>
                  <a:lnTo>
                    <a:pt x="0" y="23691"/>
                  </a:lnTo>
                  <a:lnTo>
                    <a:pt x="913" y="21026"/>
                  </a:lnTo>
                  <a:close/>
                  <a:moveTo>
                    <a:pt x="21678" y="9752"/>
                  </a:moveTo>
                  <a:lnTo>
                    <a:pt x="23723" y="10690"/>
                  </a:lnTo>
                  <a:lnTo>
                    <a:pt x="23412" y="12430"/>
                  </a:lnTo>
                  <a:lnTo>
                    <a:pt x="22492" y="13574"/>
                  </a:lnTo>
                  <a:lnTo>
                    <a:pt x="19994" y="13197"/>
                  </a:lnTo>
                  <a:lnTo>
                    <a:pt x="19402" y="12895"/>
                  </a:lnTo>
                  <a:lnTo>
                    <a:pt x="19562" y="10999"/>
                  </a:lnTo>
                  <a:lnTo>
                    <a:pt x="20188" y="10344"/>
                  </a:lnTo>
                  <a:close/>
                  <a:moveTo>
                    <a:pt x="21117" y="0"/>
                  </a:moveTo>
                  <a:lnTo>
                    <a:pt x="22581" y="1514"/>
                  </a:lnTo>
                  <a:lnTo>
                    <a:pt x="22719" y="2354"/>
                  </a:lnTo>
                  <a:lnTo>
                    <a:pt x="22708" y="3069"/>
                  </a:lnTo>
                  <a:lnTo>
                    <a:pt x="22483" y="3687"/>
                  </a:lnTo>
                  <a:lnTo>
                    <a:pt x="21505" y="3945"/>
                  </a:lnTo>
                  <a:lnTo>
                    <a:pt x="21289" y="4455"/>
                  </a:lnTo>
                  <a:lnTo>
                    <a:pt x="20966" y="4678"/>
                  </a:lnTo>
                  <a:lnTo>
                    <a:pt x="20454" y="4504"/>
                  </a:lnTo>
                  <a:lnTo>
                    <a:pt x="19143" y="1777"/>
                  </a:lnTo>
                  <a:lnTo>
                    <a:pt x="19475" y="869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62" name="ee4p_AF_1_37365">
              <a:extLst>
                <a:ext uri="{FF2B5EF4-FFF2-40B4-BE49-F238E27FC236}">
                  <a16:creationId xmlns:a16="http://schemas.microsoft.com/office/drawing/2014/main" id="{2E4C84CD-33EC-0BB9-F2C7-2F783C82BA21}"/>
                </a:ext>
              </a:extLst>
            </p:cNvPr>
            <p:cNvSpPr>
              <a:spLocks noChangeAspect="1"/>
            </p:cNvSpPr>
            <p:nvPr>
              <p:custDataLst>
                <p:tags r:id="rId216"/>
              </p:custDataLst>
            </p:nvPr>
          </p:nvSpPr>
          <p:spPr>
            <a:xfrm>
              <a:off x="8194349" y="3521932"/>
              <a:ext cx="400035" cy="290856"/>
            </a:xfrm>
            <a:custGeom>
              <a:avLst/>
              <a:gdLst/>
              <a:ahLst/>
              <a:cxnLst/>
              <a:rect l="0" t="0" r="0" b="0"/>
              <a:pathLst>
                <a:path w="318539" h="225463">
                  <a:moveTo>
                    <a:pt x="318538" y="31360"/>
                  </a:moveTo>
                  <a:lnTo>
                    <a:pt x="317409" y="31528"/>
                  </a:lnTo>
                  <a:lnTo>
                    <a:pt x="315798" y="30913"/>
                  </a:lnTo>
                  <a:lnTo>
                    <a:pt x="315170" y="29984"/>
                  </a:lnTo>
                  <a:lnTo>
                    <a:pt x="314897" y="29854"/>
                  </a:lnTo>
                  <a:lnTo>
                    <a:pt x="313621" y="30466"/>
                  </a:lnTo>
                  <a:lnTo>
                    <a:pt x="311190" y="31233"/>
                  </a:lnTo>
                  <a:lnTo>
                    <a:pt x="307059" y="33243"/>
                  </a:lnTo>
                  <a:lnTo>
                    <a:pt x="307147" y="33761"/>
                  </a:lnTo>
                  <a:lnTo>
                    <a:pt x="309840" y="35801"/>
                  </a:lnTo>
                  <a:lnTo>
                    <a:pt x="310471" y="36477"/>
                  </a:lnTo>
                  <a:lnTo>
                    <a:pt x="310801" y="36692"/>
                  </a:lnTo>
                  <a:lnTo>
                    <a:pt x="308361" y="37671"/>
                  </a:lnTo>
                  <a:lnTo>
                    <a:pt x="303135" y="39878"/>
                  </a:lnTo>
                  <a:lnTo>
                    <a:pt x="299688" y="41685"/>
                  </a:lnTo>
                  <a:lnTo>
                    <a:pt x="298870" y="41752"/>
                  </a:lnTo>
                  <a:lnTo>
                    <a:pt x="296791" y="40994"/>
                  </a:lnTo>
                  <a:lnTo>
                    <a:pt x="293724" y="40091"/>
                  </a:lnTo>
                  <a:lnTo>
                    <a:pt x="292900" y="40108"/>
                  </a:lnTo>
                  <a:lnTo>
                    <a:pt x="285808" y="40263"/>
                  </a:lnTo>
                  <a:lnTo>
                    <a:pt x="279300" y="40597"/>
                  </a:lnTo>
                  <a:lnTo>
                    <a:pt x="276579" y="41028"/>
                  </a:lnTo>
                  <a:lnTo>
                    <a:pt x="271547" y="41449"/>
                  </a:lnTo>
                  <a:lnTo>
                    <a:pt x="268377" y="41587"/>
                  </a:lnTo>
                  <a:lnTo>
                    <a:pt x="266354" y="42287"/>
                  </a:lnTo>
                  <a:lnTo>
                    <a:pt x="264139" y="43206"/>
                  </a:lnTo>
                  <a:lnTo>
                    <a:pt x="261834" y="43801"/>
                  </a:lnTo>
                  <a:lnTo>
                    <a:pt x="260129" y="43995"/>
                  </a:lnTo>
                  <a:lnTo>
                    <a:pt x="258071" y="44854"/>
                  </a:lnTo>
                  <a:lnTo>
                    <a:pt x="256719" y="46557"/>
                  </a:lnTo>
                  <a:lnTo>
                    <a:pt x="252851" y="49081"/>
                  </a:lnTo>
                  <a:lnTo>
                    <a:pt x="250675" y="50299"/>
                  </a:lnTo>
                  <a:lnTo>
                    <a:pt x="249578" y="51673"/>
                  </a:lnTo>
                  <a:lnTo>
                    <a:pt x="248334" y="51806"/>
                  </a:lnTo>
                  <a:lnTo>
                    <a:pt x="246214" y="51555"/>
                  </a:lnTo>
                  <a:lnTo>
                    <a:pt x="244564" y="53044"/>
                  </a:lnTo>
                  <a:lnTo>
                    <a:pt x="242737" y="55179"/>
                  </a:lnTo>
                  <a:lnTo>
                    <a:pt x="239405" y="58265"/>
                  </a:lnTo>
                  <a:lnTo>
                    <a:pt x="237643" y="59513"/>
                  </a:lnTo>
                  <a:lnTo>
                    <a:pt x="236585" y="61525"/>
                  </a:lnTo>
                  <a:lnTo>
                    <a:pt x="237362" y="62570"/>
                  </a:lnTo>
                  <a:lnTo>
                    <a:pt x="240074" y="64138"/>
                  </a:lnTo>
                  <a:lnTo>
                    <a:pt x="241284" y="65610"/>
                  </a:lnTo>
                  <a:lnTo>
                    <a:pt x="241946" y="66780"/>
                  </a:lnTo>
                  <a:lnTo>
                    <a:pt x="243186" y="69781"/>
                  </a:lnTo>
                  <a:lnTo>
                    <a:pt x="243970" y="72728"/>
                  </a:lnTo>
                  <a:lnTo>
                    <a:pt x="245140" y="74003"/>
                  </a:lnTo>
                  <a:lnTo>
                    <a:pt x="245482" y="76164"/>
                  </a:lnTo>
                  <a:lnTo>
                    <a:pt x="245773" y="77495"/>
                  </a:lnTo>
                  <a:lnTo>
                    <a:pt x="245140" y="78436"/>
                  </a:lnTo>
                  <a:lnTo>
                    <a:pt x="244555" y="79488"/>
                  </a:lnTo>
                  <a:lnTo>
                    <a:pt x="244555" y="80484"/>
                  </a:lnTo>
                  <a:lnTo>
                    <a:pt x="245257" y="81509"/>
                  </a:lnTo>
                  <a:lnTo>
                    <a:pt x="245877" y="82418"/>
                  </a:lnTo>
                  <a:lnTo>
                    <a:pt x="246214" y="83139"/>
                  </a:lnTo>
                  <a:lnTo>
                    <a:pt x="245797" y="83950"/>
                  </a:lnTo>
                  <a:lnTo>
                    <a:pt x="244555" y="85185"/>
                  </a:lnTo>
                  <a:lnTo>
                    <a:pt x="243927" y="86445"/>
                  </a:lnTo>
                  <a:lnTo>
                    <a:pt x="242555" y="88553"/>
                  </a:lnTo>
                  <a:lnTo>
                    <a:pt x="240411" y="89988"/>
                  </a:lnTo>
                  <a:lnTo>
                    <a:pt x="238997" y="91036"/>
                  </a:lnTo>
                  <a:lnTo>
                    <a:pt x="237486" y="93242"/>
                  </a:lnTo>
                  <a:lnTo>
                    <a:pt x="234998" y="95690"/>
                  </a:lnTo>
                  <a:lnTo>
                    <a:pt x="233944" y="97738"/>
                  </a:lnTo>
                  <a:lnTo>
                    <a:pt x="232854" y="98861"/>
                  </a:lnTo>
                  <a:lnTo>
                    <a:pt x="231733" y="99466"/>
                  </a:lnTo>
                  <a:lnTo>
                    <a:pt x="232026" y="100566"/>
                  </a:lnTo>
                  <a:lnTo>
                    <a:pt x="233001" y="101942"/>
                  </a:lnTo>
                  <a:lnTo>
                    <a:pt x="234609" y="103480"/>
                  </a:lnTo>
                  <a:lnTo>
                    <a:pt x="234536" y="105877"/>
                  </a:lnTo>
                  <a:lnTo>
                    <a:pt x="234462" y="107600"/>
                  </a:lnTo>
                  <a:lnTo>
                    <a:pt x="234512" y="109686"/>
                  </a:lnTo>
                  <a:lnTo>
                    <a:pt x="233633" y="111441"/>
                  </a:lnTo>
                  <a:lnTo>
                    <a:pt x="229141" y="113128"/>
                  </a:lnTo>
                  <a:lnTo>
                    <a:pt x="224842" y="113863"/>
                  </a:lnTo>
                  <a:lnTo>
                    <a:pt x="219573" y="113909"/>
                  </a:lnTo>
                  <a:lnTo>
                    <a:pt x="217582" y="113643"/>
                  </a:lnTo>
                  <a:lnTo>
                    <a:pt x="215989" y="113275"/>
                  </a:lnTo>
                  <a:lnTo>
                    <a:pt x="210264" y="111389"/>
                  </a:lnTo>
                  <a:lnTo>
                    <a:pt x="207941" y="112496"/>
                  </a:lnTo>
                  <a:lnTo>
                    <a:pt x="207463" y="115221"/>
                  </a:lnTo>
                  <a:lnTo>
                    <a:pt x="211633" y="119635"/>
                  </a:lnTo>
                  <a:lnTo>
                    <a:pt x="213348" y="122093"/>
                  </a:lnTo>
                  <a:lnTo>
                    <a:pt x="215239" y="126208"/>
                  </a:lnTo>
                  <a:lnTo>
                    <a:pt x="216664" y="128329"/>
                  </a:lnTo>
                  <a:lnTo>
                    <a:pt x="216155" y="130309"/>
                  </a:lnTo>
                  <a:lnTo>
                    <a:pt x="212376" y="132557"/>
                  </a:lnTo>
                  <a:lnTo>
                    <a:pt x="208614" y="134672"/>
                  </a:lnTo>
                  <a:lnTo>
                    <a:pt x="203829" y="135112"/>
                  </a:lnTo>
                  <a:lnTo>
                    <a:pt x="200823" y="135867"/>
                  </a:lnTo>
                  <a:lnTo>
                    <a:pt x="199359" y="136955"/>
                  </a:lnTo>
                  <a:lnTo>
                    <a:pt x="198288" y="141576"/>
                  </a:lnTo>
                  <a:lnTo>
                    <a:pt x="197215" y="143266"/>
                  </a:lnTo>
                  <a:lnTo>
                    <a:pt x="197232" y="145275"/>
                  </a:lnTo>
                  <a:lnTo>
                    <a:pt x="196217" y="147550"/>
                  </a:lnTo>
                  <a:lnTo>
                    <a:pt x="194680" y="149021"/>
                  </a:lnTo>
                  <a:lnTo>
                    <a:pt x="193607" y="151407"/>
                  </a:lnTo>
                  <a:lnTo>
                    <a:pt x="193941" y="155931"/>
                  </a:lnTo>
                  <a:lnTo>
                    <a:pt x="194444" y="163602"/>
                  </a:lnTo>
                  <a:lnTo>
                    <a:pt x="192402" y="166021"/>
                  </a:lnTo>
                  <a:lnTo>
                    <a:pt x="190106" y="168460"/>
                  </a:lnTo>
                  <a:lnTo>
                    <a:pt x="187681" y="170199"/>
                  </a:lnTo>
                  <a:lnTo>
                    <a:pt x="185370" y="171011"/>
                  </a:lnTo>
                  <a:lnTo>
                    <a:pt x="183455" y="170712"/>
                  </a:lnTo>
                  <a:lnTo>
                    <a:pt x="181937" y="169204"/>
                  </a:lnTo>
                  <a:lnTo>
                    <a:pt x="181043" y="167940"/>
                  </a:lnTo>
                  <a:lnTo>
                    <a:pt x="179372" y="166881"/>
                  </a:lnTo>
                  <a:lnTo>
                    <a:pt x="177671" y="167097"/>
                  </a:lnTo>
                  <a:lnTo>
                    <a:pt x="175958" y="168068"/>
                  </a:lnTo>
                  <a:lnTo>
                    <a:pt x="173229" y="167745"/>
                  </a:lnTo>
                  <a:lnTo>
                    <a:pt x="170888" y="166773"/>
                  </a:lnTo>
                  <a:lnTo>
                    <a:pt x="169717" y="166881"/>
                  </a:lnTo>
                  <a:lnTo>
                    <a:pt x="169035" y="167853"/>
                  </a:lnTo>
                  <a:lnTo>
                    <a:pt x="166537" y="169940"/>
                  </a:lnTo>
                  <a:lnTo>
                    <a:pt x="160404" y="173114"/>
                  </a:lnTo>
                  <a:lnTo>
                    <a:pt x="157903" y="173345"/>
                  </a:lnTo>
                  <a:lnTo>
                    <a:pt x="156830" y="174133"/>
                  </a:lnTo>
                  <a:lnTo>
                    <a:pt x="157257" y="175433"/>
                  </a:lnTo>
                  <a:lnTo>
                    <a:pt x="158353" y="176492"/>
                  </a:lnTo>
                  <a:lnTo>
                    <a:pt x="160263" y="177242"/>
                  </a:lnTo>
                  <a:lnTo>
                    <a:pt x="160361" y="178104"/>
                  </a:lnTo>
                  <a:lnTo>
                    <a:pt x="158672" y="178859"/>
                  </a:lnTo>
                  <a:lnTo>
                    <a:pt x="157232" y="179721"/>
                  </a:lnTo>
                  <a:lnTo>
                    <a:pt x="154058" y="180772"/>
                  </a:lnTo>
                  <a:lnTo>
                    <a:pt x="150397" y="181182"/>
                  </a:lnTo>
                  <a:lnTo>
                    <a:pt x="146608" y="180569"/>
                  </a:lnTo>
                  <a:lnTo>
                    <a:pt x="144658" y="179171"/>
                  </a:lnTo>
                  <a:lnTo>
                    <a:pt x="142371" y="179040"/>
                  </a:lnTo>
                  <a:lnTo>
                    <a:pt x="140270" y="180063"/>
                  </a:lnTo>
                  <a:lnTo>
                    <a:pt x="138104" y="181750"/>
                  </a:lnTo>
                  <a:lnTo>
                    <a:pt x="135735" y="185369"/>
                  </a:lnTo>
                  <a:lnTo>
                    <a:pt x="135107" y="186005"/>
                  </a:lnTo>
                  <a:lnTo>
                    <a:pt x="134465" y="186574"/>
                  </a:lnTo>
                  <a:lnTo>
                    <a:pt x="132930" y="187355"/>
                  </a:lnTo>
                  <a:lnTo>
                    <a:pt x="130714" y="188629"/>
                  </a:lnTo>
                  <a:lnTo>
                    <a:pt x="129603" y="191292"/>
                  </a:lnTo>
                  <a:lnTo>
                    <a:pt x="128277" y="196030"/>
                  </a:lnTo>
                  <a:lnTo>
                    <a:pt x="128587" y="198579"/>
                  </a:lnTo>
                  <a:lnTo>
                    <a:pt x="128687" y="202991"/>
                  </a:lnTo>
                  <a:lnTo>
                    <a:pt x="128164" y="206087"/>
                  </a:lnTo>
                  <a:lnTo>
                    <a:pt x="127205" y="208118"/>
                  </a:lnTo>
                  <a:lnTo>
                    <a:pt x="127398" y="209719"/>
                  </a:lnTo>
                  <a:lnTo>
                    <a:pt x="128862" y="211533"/>
                  </a:lnTo>
                  <a:lnTo>
                    <a:pt x="128277" y="212708"/>
                  </a:lnTo>
                  <a:lnTo>
                    <a:pt x="127046" y="214021"/>
                  </a:lnTo>
                  <a:lnTo>
                    <a:pt x="125847" y="214749"/>
                  </a:lnTo>
                  <a:lnTo>
                    <a:pt x="121084" y="216120"/>
                  </a:lnTo>
                  <a:lnTo>
                    <a:pt x="114552" y="217995"/>
                  </a:lnTo>
                  <a:lnTo>
                    <a:pt x="110235" y="219197"/>
                  </a:lnTo>
                  <a:lnTo>
                    <a:pt x="103811" y="220982"/>
                  </a:lnTo>
                  <a:lnTo>
                    <a:pt x="101932" y="221421"/>
                  </a:lnTo>
                  <a:lnTo>
                    <a:pt x="98028" y="221582"/>
                  </a:lnTo>
                  <a:lnTo>
                    <a:pt x="96002" y="221307"/>
                  </a:lnTo>
                  <a:lnTo>
                    <a:pt x="93264" y="221235"/>
                  </a:lnTo>
                  <a:lnTo>
                    <a:pt x="89231" y="221299"/>
                  </a:lnTo>
                  <a:lnTo>
                    <a:pt x="86415" y="221786"/>
                  </a:lnTo>
                  <a:lnTo>
                    <a:pt x="83592" y="222688"/>
                  </a:lnTo>
                  <a:lnTo>
                    <a:pt x="81515" y="223812"/>
                  </a:lnTo>
                  <a:lnTo>
                    <a:pt x="80316" y="224924"/>
                  </a:lnTo>
                  <a:lnTo>
                    <a:pt x="79891" y="225462"/>
                  </a:lnTo>
                  <a:lnTo>
                    <a:pt x="77067" y="224543"/>
                  </a:lnTo>
                  <a:lnTo>
                    <a:pt x="68146" y="222904"/>
                  </a:lnTo>
                  <a:lnTo>
                    <a:pt x="44022" y="225067"/>
                  </a:lnTo>
                  <a:lnTo>
                    <a:pt x="41741" y="224656"/>
                  </a:lnTo>
                  <a:lnTo>
                    <a:pt x="33505" y="222122"/>
                  </a:lnTo>
                  <a:lnTo>
                    <a:pt x="22903" y="218856"/>
                  </a:lnTo>
                  <a:lnTo>
                    <a:pt x="16334" y="216833"/>
                  </a:lnTo>
                  <a:lnTo>
                    <a:pt x="7908" y="214191"/>
                  </a:lnTo>
                  <a:lnTo>
                    <a:pt x="13674" y="207663"/>
                  </a:lnTo>
                  <a:lnTo>
                    <a:pt x="18705" y="201958"/>
                  </a:lnTo>
                  <a:lnTo>
                    <a:pt x="23743" y="196237"/>
                  </a:lnTo>
                  <a:lnTo>
                    <a:pt x="28711" y="190583"/>
                  </a:lnTo>
                  <a:lnTo>
                    <a:pt x="29301" y="188603"/>
                  </a:lnTo>
                  <a:lnTo>
                    <a:pt x="29376" y="184723"/>
                  </a:lnTo>
                  <a:lnTo>
                    <a:pt x="28068" y="179535"/>
                  </a:lnTo>
                  <a:lnTo>
                    <a:pt x="25969" y="177164"/>
                  </a:lnTo>
                  <a:lnTo>
                    <a:pt x="19033" y="176207"/>
                  </a:lnTo>
                  <a:lnTo>
                    <a:pt x="13820" y="175486"/>
                  </a:lnTo>
                  <a:lnTo>
                    <a:pt x="8146" y="174701"/>
                  </a:lnTo>
                  <a:lnTo>
                    <a:pt x="7407" y="174410"/>
                  </a:lnTo>
                  <a:lnTo>
                    <a:pt x="6764" y="170365"/>
                  </a:lnTo>
                  <a:lnTo>
                    <a:pt x="7045" y="168558"/>
                  </a:lnTo>
                  <a:lnTo>
                    <a:pt x="6673" y="165062"/>
                  </a:lnTo>
                  <a:lnTo>
                    <a:pt x="6727" y="162369"/>
                  </a:lnTo>
                  <a:lnTo>
                    <a:pt x="7552" y="157932"/>
                  </a:lnTo>
                  <a:lnTo>
                    <a:pt x="7597" y="155932"/>
                  </a:lnTo>
                  <a:lnTo>
                    <a:pt x="4969" y="147312"/>
                  </a:lnTo>
                  <a:lnTo>
                    <a:pt x="3512" y="142523"/>
                  </a:lnTo>
                  <a:lnTo>
                    <a:pt x="2008" y="137577"/>
                  </a:lnTo>
                  <a:lnTo>
                    <a:pt x="1685" y="135999"/>
                  </a:lnTo>
                  <a:lnTo>
                    <a:pt x="1655" y="134046"/>
                  </a:lnTo>
                  <a:lnTo>
                    <a:pt x="5138" y="129455"/>
                  </a:lnTo>
                  <a:lnTo>
                    <a:pt x="6217" y="128458"/>
                  </a:lnTo>
                  <a:lnTo>
                    <a:pt x="8260" y="126169"/>
                  </a:lnTo>
                  <a:lnTo>
                    <a:pt x="9536" y="124956"/>
                  </a:lnTo>
                  <a:lnTo>
                    <a:pt x="9314" y="124120"/>
                  </a:lnTo>
                  <a:lnTo>
                    <a:pt x="7092" y="123631"/>
                  </a:lnTo>
                  <a:lnTo>
                    <a:pt x="3734" y="123589"/>
                  </a:lnTo>
                  <a:lnTo>
                    <a:pt x="1948" y="122897"/>
                  </a:lnTo>
                  <a:lnTo>
                    <a:pt x="555" y="121643"/>
                  </a:lnTo>
                  <a:lnTo>
                    <a:pt x="5" y="119832"/>
                  </a:lnTo>
                  <a:lnTo>
                    <a:pt x="914" y="116603"/>
                  </a:lnTo>
                  <a:lnTo>
                    <a:pt x="0" y="110320"/>
                  </a:lnTo>
                  <a:lnTo>
                    <a:pt x="1868" y="107212"/>
                  </a:lnTo>
                  <a:lnTo>
                    <a:pt x="3471" y="105032"/>
                  </a:lnTo>
                  <a:lnTo>
                    <a:pt x="8927" y="104727"/>
                  </a:lnTo>
                  <a:lnTo>
                    <a:pt x="7036" y="102269"/>
                  </a:lnTo>
                  <a:lnTo>
                    <a:pt x="6122" y="100842"/>
                  </a:lnTo>
                  <a:lnTo>
                    <a:pt x="5537" y="100429"/>
                  </a:lnTo>
                  <a:lnTo>
                    <a:pt x="5319" y="99768"/>
                  </a:lnTo>
                  <a:lnTo>
                    <a:pt x="5611" y="99108"/>
                  </a:lnTo>
                  <a:lnTo>
                    <a:pt x="7001" y="98861"/>
                  </a:lnTo>
                  <a:lnTo>
                    <a:pt x="7951" y="98035"/>
                  </a:lnTo>
                  <a:lnTo>
                    <a:pt x="9487" y="96879"/>
                  </a:lnTo>
                  <a:lnTo>
                    <a:pt x="10292" y="96383"/>
                  </a:lnTo>
                  <a:lnTo>
                    <a:pt x="10439" y="94979"/>
                  </a:lnTo>
                  <a:lnTo>
                    <a:pt x="11169" y="93987"/>
                  </a:lnTo>
                  <a:lnTo>
                    <a:pt x="12266" y="92746"/>
                  </a:lnTo>
                  <a:lnTo>
                    <a:pt x="13143" y="91339"/>
                  </a:lnTo>
                  <a:lnTo>
                    <a:pt x="12924" y="89685"/>
                  </a:lnTo>
                  <a:lnTo>
                    <a:pt x="13730" y="87697"/>
                  </a:lnTo>
                  <a:lnTo>
                    <a:pt x="14095" y="86455"/>
                  </a:lnTo>
                  <a:lnTo>
                    <a:pt x="14680" y="85377"/>
                  </a:lnTo>
                  <a:lnTo>
                    <a:pt x="14168" y="83803"/>
                  </a:lnTo>
                  <a:lnTo>
                    <a:pt x="13730" y="82475"/>
                  </a:lnTo>
                  <a:lnTo>
                    <a:pt x="13583" y="80899"/>
                  </a:lnTo>
                  <a:lnTo>
                    <a:pt x="14460" y="80484"/>
                  </a:lnTo>
                  <a:lnTo>
                    <a:pt x="15557" y="79903"/>
                  </a:lnTo>
                  <a:lnTo>
                    <a:pt x="15777" y="78657"/>
                  </a:lnTo>
                  <a:lnTo>
                    <a:pt x="16362" y="77079"/>
                  </a:lnTo>
                  <a:lnTo>
                    <a:pt x="16801" y="75832"/>
                  </a:lnTo>
                  <a:lnTo>
                    <a:pt x="17530" y="74834"/>
                  </a:lnTo>
                  <a:lnTo>
                    <a:pt x="17604" y="73837"/>
                  </a:lnTo>
                  <a:lnTo>
                    <a:pt x="17166" y="72173"/>
                  </a:lnTo>
                  <a:lnTo>
                    <a:pt x="18995" y="71924"/>
                  </a:lnTo>
                  <a:lnTo>
                    <a:pt x="19724" y="72839"/>
                  </a:lnTo>
                  <a:lnTo>
                    <a:pt x="20698" y="74029"/>
                  </a:lnTo>
                  <a:lnTo>
                    <a:pt x="23374" y="76239"/>
                  </a:lnTo>
                  <a:lnTo>
                    <a:pt x="25103" y="76881"/>
                  </a:lnTo>
                  <a:lnTo>
                    <a:pt x="27286" y="77205"/>
                  </a:lnTo>
                  <a:lnTo>
                    <a:pt x="29968" y="76902"/>
                  </a:lnTo>
                  <a:lnTo>
                    <a:pt x="32115" y="76490"/>
                  </a:lnTo>
                  <a:lnTo>
                    <a:pt x="33127" y="76595"/>
                  </a:lnTo>
                  <a:lnTo>
                    <a:pt x="35466" y="78203"/>
                  </a:lnTo>
                  <a:lnTo>
                    <a:pt x="38196" y="80456"/>
                  </a:lnTo>
                  <a:lnTo>
                    <a:pt x="39074" y="81452"/>
                  </a:lnTo>
                  <a:lnTo>
                    <a:pt x="39481" y="82986"/>
                  </a:lnTo>
                  <a:lnTo>
                    <a:pt x="40290" y="83445"/>
                  </a:lnTo>
                  <a:lnTo>
                    <a:pt x="42033" y="81929"/>
                  </a:lnTo>
                  <a:lnTo>
                    <a:pt x="43719" y="81425"/>
                  </a:lnTo>
                  <a:lnTo>
                    <a:pt x="45272" y="81713"/>
                  </a:lnTo>
                  <a:lnTo>
                    <a:pt x="46984" y="81881"/>
                  </a:lnTo>
                  <a:lnTo>
                    <a:pt x="48699" y="81325"/>
                  </a:lnTo>
                  <a:lnTo>
                    <a:pt x="49463" y="80923"/>
                  </a:lnTo>
                  <a:lnTo>
                    <a:pt x="52456" y="78957"/>
                  </a:lnTo>
                  <a:lnTo>
                    <a:pt x="55160" y="77462"/>
                  </a:lnTo>
                  <a:lnTo>
                    <a:pt x="56848" y="76542"/>
                  </a:lnTo>
                  <a:lnTo>
                    <a:pt x="57457" y="73469"/>
                  </a:lnTo>
                  <a:lnTo>
                    <a:pt x="58235" y="71721"/>
                  </a:lnTo>
                  <a:lnTo>
                    <a:pt x="59349" y="70700"/>
                  </a:lnTo>
                  <a:lnTo>
                    <a:pt x="58930" y="69437"/>
                  </a:lnTo>
                  <a:lnTo>
                    <a:pt x="58470" y="68468"/>
                  </a:lnTo>
                  <a:lnTo>
                    <a:pt x="57997" y="67159"/>
                  </a:lnTo>
                  <a:lnTo>
                    <a:pt x="58470" y="66467"/>
                  </a:lnTo>
                  <a:lnTo>
                    <a:pt x="59552" y="66158"/>
                  </a:lnTo>
                  <a:lnTo>
                    <a:pt x="62266" y="66159"/>
                  </a:lnTo>
                  <a:lnTo>
                    <a:pt x="67028" y="64779"/>
                  </a:lnTo>
                  <a:lnTo>
                    <a:pt x="70999" y="63400"/>
                  </a:lnTo>
                  <a:lnTo>
                    <a:pt x="74668" y="62276"/>
                  </a:lnTo>
                  <a:lnTo>
                    <a:pt x="76339" y="62090"/>
                  </a:lnTo>
                  <a:lnTo>
                    <a:pt x="77922" y="62282"/>
                  </a:lnTo>
                  <a:lnTo>
                    <a:pt x="78645" y="61954"/>
                  </a:lnTo>
                  <a:lnTo>
                    <a:pt x="78844" y="60881"/>
                  </a:lnTo>
                  <a:lnTo>
                    <a:pt x="79747" y="59743"/>
                  </a:lnTo>
                  <a:lnTo>
                    <a:pt x="81785" y="58827"/>
                  </a:lnTo>
                  <a:lnTo>
                    <a:pt x="85625" y="56878"/>
                  </a:lnTo>
                  <a:lnTo>
                    <a:pt x="89008" y="53980"/>
                  </a:lnTo>
                  <a:lnTo>
                    <a:pt x="90220" y="51780"/>
                  </a:lnTo>
                  <a:lnTo>
                    <a:pt x="91032" y="48565"/>
                  </a:lnTo>
                  <a:lnTo>
                    <a:pt x="92619" y="43603"/>
                  </a:lnTo>
                  <a:lnTo>
                    <a:pt x="94361" y="38151"/>
                  </a:lnTo>
                  <a:lnTo>
                    <a:pt x="95009" y="35748"/>
                  </a:lnTo>
                  <a:lnTo>
                    <a:pt x="95758" y="33896"/>
                  </a:lnTo>
                  <a:lnTo>
                    <a:pt x="98749" y="32330"/>
                  </a:lnTo>
                  <a:lnTo>
                    <a:pt x="101802" y="31199"/>
                  </a:lnTo>
                  <a:lnTo>
                    <a:pt x="106534" y="30974"/>
                  </a:lnTo>
                  <a:lnTo>
                    <a:pt x="112092" y="30862"/>
                  </a:lnTo>
                  <a:lnTo>
                    <a:pt x="113264" y="27874"/>
                  </a:lnTo>
                  <a:lnTo>
                    <a:pt x="113999" y="25337"/>
                  </a:lnTo>
                  <a:lnTo>
                    <a:pt x="114923" y="24026"/>
                  </a:lnTo>
                  <a:lnTo>
                    <a:pt x="116268" y="22961"/>
                  </a:lnTo>
                  <a:lnTo>
                    <a:pt x="116737" y="22749"/>
                  </a:lnTo>
                  <a:lnTo>
                    <a:pt x="119736" y="24308"/>
                  </a:lnTo>
                  <a:lnTo>
                    <a:pt x="124329" y="26691"/>
                  </a:lnTo>
                  <a:lnTo>
                    <a:pt x="129678" y="27880"/>
                  </a:lnTo>
                  <a:lnTo>
                    <a:pt x="132367" y="28477"/>
                  </a:lnTo>
                  <a:lnTo>
                    <a:pt x="133481" y="28382"/>
                  </a:lnTo>
                  <a:lnTo>
                    <a:pt x="140235" y="27800"/>
                  </a:lnTo>
                  <a:lnTo>
                    <a:pt x="145567" y="28730"/>
                  </a:lnTo>
                  <a:lnTo>
                    <a:pt x="148368" y="31269"/>
                  </a:lnTo>
                  <a:lnTo>
                    <a:pt x="151114" y="31922"/>
                  </a:lnTo>
                  <a:lnTo>
                    <a:pt x="153811" y="30688"/>
                  </a:lnTo>
                  <a:lnTo>
                    <a:pt x="155483" y="30468"/>
                  </a:lnTo>
                  <a:lnTo>
                    <a:pt x="156128" y="31258"/>
                  </a:lnTo>
                  <a:lnTo>
                    <a:pt x="157476" y="31592"/>
                  </a:lnTo>
                  <a:lnTo>
                    <a:pt x="159523" y="31472"/>
                  </a:lnTo>
                  <a:lnTo>
                    <a:pt x="160693" y="32171"/>
                  </a:lnTo>
                  <a:lnTo>
                    <a:pt x="160827" y="32874"/>
                  </a:lnTo>
                  <a:lnTo>
                    <a:pt x="160983" y="33690"/>
                  </a:lnTo>
                  <a:lnTo>
                    <a:pt x="162496" y="35623"/>
                  </a:lnTo>
                  <a:lnTo>
                    <a:pt x="165228" y="37967"/>
                  </a:lnTo>
                  <a:lnTo>
                    <a:pt x="167655" y="38532"/>
                  </a:lnTo>
                  <a:lnTo>
                    <a:pt x="170847" y="36709"/>
                  </a:lnTo>
                  <a:lnTo>
                    <a:pt x="171926" y="36923"/>
                  </a:lnTo>
                  <a:lnTo>
                    <a:pt x="172453" y="36332"/>
                  </a:lnTo>
                  <a:lnTo>
                    <a:pt x="172779" y="35006"/>
                  </a:lnTo>
                  <a:lnTo>
                    <a:pt x="174712" y="33757"/>
                  </a:lnTo>
                  <a:lnTo>
                    <a:pt x="178241" y="32588"/>
                  </a:lnTo>
                  <a:lnTo>
                    <a:pt x="180242" y="31543"/>
                  </a:lnTo>
                  <a:lnTo>
                    <a:pt x="180953" y="30678"/>
                  </a:lnTo>
                  <a:lnTo>
                    <a:pt x="182149" y="30433"/>
                  </a:lnTo>
                  <a:lnTo>
                    <a:pt x="183449" y="30688"/>
                  </a:lnTo>
                  <a:lnTo>
                    <a:pt x="184371" y="30364"/>
                  </a:lnTo>
                  <a:lnTo>
                    <a:pt x="184697" y="29546"/>
                  </a:lnTo>
                  <a:lnTo>
                    <a:pt x="185070" y="29188"/>
                  </a:lnTo>
                  <a:lnTo>
                    <a:pt x="185731" y="28902"/>
                  </a:lnTo>
                  <a:lnTo>
                    <a:pt x="186319" y="28753"/>
                  </a:lnTo>
                  <a:lnTo>
                    <a:pt x="187394" y="28979"/>
                  </a:lnTo>
                  <a:lnTo>
                    <a:pt x="189374" y="30471"/>
                  </a:lnTo>
                  <a:lnTo>
                    <a:pt x="192253" y="33228"/>
                  </a:lnTo>
                  <a:lnTo>
                    <a:pt x="194125" y="34498"/>
                  </a:lnTo>
                  <a:lnTo>
                    <a:pt x="194988" y="34281"/>
                  </a:lnTo>
                  <a:lnTo>
                    <a:pt x="196092" y="33438"/>
                  </a:lnTo>
                  <a:lnTo>
                    <a:pt x="197433" y="31968"/>
                  </a:lnTo>
                  <a:lnTo>
                    <a:pt x="197770" y="29851"/>
                  </a:lnTo>
                  <a:lnTo>
                    <a:pt x="197096" y="27085"/>
                  </a:lnTo>
                  <a:lnTo>
                    <a:pt x="197558" y="24854"/>
                  </a:lnTo>
                  <a:lnTo>
                    <a:pt x="199150" y="23160"/>
                  </a:lnTo>
                  <a:lnTo>
                    <a:pt x="202106" y="22113"/>
                  </a:lnTo>
                  <a:lnTo>
                    <a:pt x="206420" y="21717"/>
                  </a:lnTo>
                  <a:lnTo>
                    <a:pt x="209068" y="21953"/>
                  </a:lnTo>
                  <a:lnTo>
                    <a:pt x="210048" y="22825"/>
                  </a:lnTo>
                  <a:lnTo>
                    <a:pt x="211370" y="23309"/>
                  </a:lnTo>
                  <a:lnTo>
                    <a:pt x="213030" y="23404"/>
                  </a:lnTo>
                  <a:lnTo>
                    <a:pt x="214553" y="22409"/>
                  </a:lnTo>
                  <a:lnTo>
                    <a:pt x="215941" y="20321"/>
                  </a:lnTo>
                  <a:lnTo>
                    <a:pt x="216019" y="17732"/>
                  </a:lnTo>
                  <a:lnTo>
                    <a:pt x="214790" y="14643"/>
                  </a:lnTo>
                  <a:lnTo>
                    <a:pt x="215127" y="13660"/>
                  </a:lnTo>
                  <a:lnTo>
                    <a:pt x="215660" y="13230"/>
                  </a:lnTo>
                  <a:lnTo>
                    <a:pt x="217308" y="12112"/>
                  </a:lnTo>
                  <a:lnTo>
                    <a:pt x="219618" y="9788"/>
                  </a:lnTo>
                  <a:lnTo>
                    <a:pt x="221847" y="6797"/>
                  </a:lnTo>
                  <a:lnTo>
                    <a:pt x="223998" y="3137"/>
                  </a:lnTo>
                  <a:lnTo>
                    <a:pt x="226654" y="871"/>
                  </a:lnTo>
                  <a:lnTo>
                    <a:pt x="229815" y="0"/>
                  </a:lnTo>
                  <a:lnTo>
                    <a:pt x="233646" y="992"/>
                  </a:lnTo>
                  <a:lnTo>
                    <a:pt x="238151" y="3843"/>
                  </a:lnTo>
                  <a:lnTo>
                    <a:pt x="239850" y="7355"/>
                  </a:lnTo>
                  <a:lnTo>
                    <a:pt x="238746" y="11520"/>
                  </a:lnTo>
                  <a:lnTo>
                    <a:pt x="238651" y="13814"/>
                  </a:lnTo>
                  <a:lnTo>
                    <a:pt x="239567" y="14238"/>
                  </a:lnTo>
                  <a:lnTo>
                    <a:pt x="241109" y="14124"/>
                  </a:lnTo>
                  <a:lnTo>
                    <a:pt x="243279" y="13469"/>
                  </a:lnTo>
                  <a:lnTo>
                    <a:pt x="244698" y="13436"/>
                  </a:lnTo>
                  <a:lnTo>
                    <a:pt x="245367" y="14027"/>
                  </a:lnTo>
                  <a:lnTo>
                    <a:pt x="245326" y="15201"/>
                  </a:lnTo>
                  <a:lnTo>
                    <a:pt x="244570" y="16958"/>
                  </a:lnTo>
                  <a:lnTo>
                    <a:pt x="243661" y="21886"/>
                  </a:lnTo>
                  <a:lnTo>
                    <a:pt x="243100" y="26148"/>
                  </a:lnTo>
                  <a:lnTo>
                    <a:pt x="242549" y="30336"/>
                  </a:lnTo>
                  <a:lnTo>
                    <a:pt x="242065" y="34011"/>
                  </a:lnTo>
                  <a:lnTo>
                    <a:pt x="242927" y="36873"/>
                  </a:lnTo>
                  <a:lnTo>
                    <a:pt x="244231" y="41192"/>
                  </a:lnTo>
                  <a:lnTo>
                    <a:pt x="245704" y="44041"/>
                  </a:lnTo>
                  <a:lnTo>
                    <a:pt x="247211" y="44955"/>
                  </a:lnTo>
                  <a:lnTo>
                    <a:pt x="248719" y="45281"/>
                  </a:lnTo>
                  <a:lnTo>
                    <a:pt x="250228" y="45021"/>
                  </a:lnTo>
                  <a:lnTo>
                    <a:pt x="253322" y="43190"/>
                  </a:lnTo>
                  <a:lnTo>
                    <a:pt x="257999" y="39784"/>
                  </a:lnTo>
                  <a:lnTo>
                    <a:pt x="262539" y="37691"/>
                  </a:lnTo>
                  <a:lnTo>
                    <a:pt x="269142" y="36517"/>
                  </a:lnTo>
                  <a:lnTo>
                    <a:pt x="271345" y="32861"/>
                  </a:lnTo>
                  <a:lnTo>
                    <a:pt x="274407" y="30445"/>
                  </a:lnTo>
                  <a:lnTo>
                    <a:pt x="281386" y="26851"/>
                  </a:lnTo>
                  <a:lnTo>
                    <a:pt x="285184" y="25479"/>
                  </a:lnTo>
                  <a:lnTo>
                    <a:pt x="287361" y="25238"/>
                  </a:lnTo>
                  <a:lnTo>
                    <a:pt x="290088" y="25893"/>
                  </a:lnTo>
                  <a:lnTo>
                    <a:pt x="290706" y="26118"/>
                  </a:lnTo>
                  <a:lnTo>
                    <a:pt x="291248" y="26290"/>
                  </a:lnTo>
                  <a:lnTo>
                    <a:pt x="292651" y="26589"/>
                  </a:lnTo>
                  <a:lnTo>
                    <a:pt x="292943" y="27685"/>
                  </a:lnTo>
                  <a:lnTo>
                    <a:pt x="292578" y="28867"/>
                  </a:lnTo>
                  <a:lnTo>
                    <a:pt x="291064" y="29842"/>
                  </a:lnTo>
                  <a:lnTo>
                    <a:pt x="290593" y="30597"/>
                  </a:lnTo>
                  <a:lnTo>
                    <a:pt x="291167" y="31163"/>
                  </a:lnTo>
                  <a:lnTo>
                    <a:pt x="293293" y="31356"/>
                  </a:lnTo>
                  <a:lnTo>
                    <a:pt x="297698" y="30047"/>
                  </a:lnTo>
                  <a:lnTo>
                    <a:pt x="300548" y="29204"/>
                  </a:lnTo>
                  <a:lnTo>
                    <a:pt x="302524" y="28867"/>
                  </a:lnTo>
                  <a:lnTo>
                    <a:pt x="303330" y="27770"/>
                  </a:lnTo>
                  <a:lnTo>
                    <a:pt x="304571" y="26674"/>
                  </a:lnTo>
                  <a:lnTo>
                    <a:pt x="306547" y="26589"/>
                  </a:lnTo>
                  <a:lnTo>
                    <a:pt x="308667" y="27180"/>
                  </a:lnTo>
                  <a:lnTo>
                    <a:pt x="310421" y="27517"/>
                  </a:lnTo>
                  <a:lnTo>
                    <a:pt x="313410" y="27208"/>
                  </a:lnTo>
                  <a:lnTo>
                    <a:pt x="314983" y="28163"/>
                  </a:lnTo>
                  <a:lnTo>
                    <a:pt x="317193" y="29976"/>
                  </a:lnTo>
                  <a:lnTo>
                    <a:pt x="318186" y="31096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63" name="ee4p_AE_1_37365">
              <a:extLst>
                <a:ext uri="{FF2B5EF4-FFF2-40B4-BE49-F238E27FC236}">
                  <a16:creationId xmlns:a16="http://schemas.microsoft.com/office/drawing/2014/main" id="{8839A974-DA81-4CEB-3251-5C6EF38D1DDF}"/>
                </a:ext>
              </a:extLst>
            </p:cNvPr>
            <p:cNvSpPr>
              <a:spLocks noChangeAspect="1"/>
            </p:cNvSpPr>
            <p:nvPr>
              <p:custDataLst>
                <p:tags r:id="rId217"/>
              </p:custDataLst>
            </p:nvPr>
          </p:nvSpPr>
          <p:spPr>
            <a:xfrm>
              <a:off x="7946720" y="3915193"/>
              <a:ext cx="133838" cy="104298"/>
            </a:xfrm>
            <a:custGeom>
              <a:avLst/>
              <a:gdLst>
                <a:gd name="connsiteX0" fmla="*/ 50094 w 106572"/>
                <a:gd name="connsiteY0" fmla="*/ 42610 h 80849"/>
                <a:gd name="connsiteX1" fmla="*/ 51420 w 106572"/>
                <a:gd name="connsiteY1" fmla="*/ 43637 h 80849"/>
                <a:gd name="connsiteX2" fmla="*/ 52173 w 106572"/>
                <a:gd name="connsiteY2" fmla="*/ 44526 h 80849"/>
                <a:gd name="connsiteX3" fmla="*/ 52180 w 106572"/>
                <a:gd name="connsiteY3" fmla="*/ 45319 h 80849"/>
                <a:gd name="connsiteX4" fmla="*/ 49930 w 106572"/>
                <a:gd name="connsiteY4" fmla="*/ 45090 h 80849"/>
                <a:gd name="connsiteX5" fmla="*/ 49327 w 106572"/>
                <a:gd name="connsiteY5" fmla="*/ 45502 h 80849"/>
                <a:gd name="connsiteX6" fmla="*/ 47485 w 106572"/>
                <a:gd name="connsiteY6" fmla="*/ 45273 h 80849"/>
                <a:gd name="connsiteX7" fmla="*/ 45686 w 106572"/>
                <a:gd name="connsiteY7" fmla="*/ 44700 h 80849"/>
                <a:gd name="connsiteX8" fmla="*/ 46906 w 106572"/>
                <a:gd name="connsiteY8" fmla="*/ 43739 h 80849"/>
                <a:gd name="connsiteX9" fmla="*/ 23462 w 106572"/>
                <a:gd name="connsiteY9" fmla="*/ 39847 h 80849"/>
                <a:gd name="connsiteX10" fmla="*/ 24086 w 106572"/>
                <a:gd name="connsiteY10" fmla="*/ 40883 h 80849"/>
                <a:gd name="connsiteX11" fmla="*/ 23186 w 106572"/>
                <a:gd name="connsiteY11" fmla="*/ 41915 h 80849"/>
                <a:gd name="connsiteX12" fmla="*/ 22812 w 106572"/>
                <a:gd name="connsiteY12" fmla="*/ 42086 h 80849"/>
                <a:gd name="connsiteX13" fmla="*/ 22419 w 106572"/>
                <a:gd name="connsiteY13" fmla="*/ 40821 h 80849"/>
                <a:gd name="connsiteX14" fmla="*/ 22449 w 106572"/>
                <a:gd name="connsiteY14" fmla="*/ 40420 h 80849"/>
                <a:gd name="connsiteX15" fmla="*/ 40776 w 106572"/>
                <a:gd name="connsiteY15" fmla="*/ 39043 h 80849"/>
                <a:gd name="connsiteX16" fmla="*/ 41504 w 106572"/>
                <a:gd name="connsiteY16" fmla="*/ 39978 h 80849"/>
                <a:gd name="connsiteX17" fmla="*/ 40700 w 106572"/>
                <a:gd name="connsiteY17" fmla="*/ 41462 h 80849"/>
                <a:gd name="connsiteX18" fmla="*/ 40117 w 106572"/>
                <a:gd name="connsiteY18" fmla="*/ 42096 h 80849"/>
                <a:gd name="connsiteX19" fmla="*/ 39003 w 106572"/>
                <a:gd name="connsiteY19" fmla="*/ 42618 h 80849"/>
                <a:gd name="connsiteX20" fmla="*/ 37368 w 106572"/>
                <a:gd name="connsiteY20" fmla="*/ 42751 h 80849"/>
                <a:gd name="connsiteX21" fmla="*/ 35878 w 106572"/>
                <a:gd name="connsiteY21" fmla="*/ 41861 h 80849"/>
                <a:gd name="connsiteX22" fmla="*/ 39009 w 106572"/>
                <a:gd name="connsiteY22" fmla="*/ 40672 h 80849"/>
                <a:gd name="connsiteX23" fmla="*/ 39858 w 106572"/>
                <a:gd name="connsiteY23" fmla="*/ 40136 h 80849"/>
                <a:gd name="connsiteX24" fmla="*/ 62577 w 106572"/>
                <a:gd name="connsiteY24" fmla="*/ 36806 h 80849"/>
                <a:gd name="connsiteX25" fmla="*/ 63201 w 106572"/>
                <a:gd name="connsiteY25" fmla="*/ 37635 h 80849"/>
                <a:gd name="connsiteX26" fmla="*/ 64061 w 106572"/>
                <a:gd name="connsiteY26" fmla="*/ 38299 h 80849"/>
                <a:gd name="connsiteX27" fmla="*/ 63866 w 106572"/>
                <a:gd name="connsiteY27" fmla="*/ 38755 h 80849"/>
                <a:gd name="connsiteX28" fmla="*/ 63242 w 106572"/>
                <a:gd name="connsiteY28" fmla="*/ 38713 h 80849"/>
                <a:gd name="connsiteX29" fmla="*/ 61679 w 106572"/>
                <a:gd name="connsiteY29" fmla="*/ 38299 h 80849"/>
                <a:gd name="connsiteX30" fmla="*/ 61171 w 106572"/>
                <a:gd name="connsiteY30" fmla="*/ 37635 h 80849"/>
                <a:gd name="connsiteX31" fmla="*/ 62147 w 106572"/>
                <a:gd name="connsiteY31" fmla="*/ 36848 h 80849"/>
                <a:gd name="connsiteX32" fmla="*/ 103173 w 106572"/>
                <a:gd name="connsiteY32" fmla="*/ 18050 h 80849"/>
                <a:gd name="connsiteX33" fmla="*/ 102780 w 106572"/>
                <a:gd name="connsiteY33" fmla="*/ 18925 h 80849"/>
                <a:gd name="connsiteX34" fmla="*/ 102649 w 106572"/>
                <a:gd name="connsiteY34" fmla="*/ 20183 h 80849"/>
                <a:gd name="connsiteX35" fmla="*/ 103305 w 106572"/>
                <a:gd name="connsiteY35" fmla="*/ 20288 h 80849"/>
                <a:gd name="connsiteX36" fmla="*/ 104225 w 106572"/>
                <a:gd name="connsiteY36" fmla="*/ 19659 h 80849"/>
                <a:gd name="connsiteX37" fmla="*/ 104357 w 106572"/>
                <a:gd name="connsiteY37" fmla="*/ 18644 h 80849"/>
                <a:gd name="connsiteX38" fmla="*/ 104126 w 106572"/>
                <a:gd name="connsiteY38" fmla="*/ 18119 h 80849"/>
                <a:gd name="connsiteX39" fmla="*/ 100569 w 106572"/>
                <a:gd name="connsiteY39" fmla="*/ 0 h 80849"/>
                <a:gd name="connsiteX40" fmla="*/ 101696 w 106572"/>
                <a:gd name="connsiteY40" fmla="*/ 490 h 80849"/>
                <a:gd name="connsiteX41" fmla="*/ 101809 w 106572"/>
                <a:gd name="connsiteY41" fmla="*/ 2910 h 80849"/>
                <a:gd name="connsiteX42" fmla="*/ 101401 w 106572"/>
                <a:gd name="connsiteY42" fmla="*/ 5195 h 80849"/>
                <a:gd name="connsiteX43" fmla="*/ 101353 w 106572"/>
                <a:gd name="connsiteY43" fmla="*/ 7614 h 80849"/>
                <a:gd name="connsiteX44" fmla="*/ 101191 w 106572"/>
                <a:gd name="connsiteY44" fmla="*/ 8927 h 80849"/>
                <a:gd name="connsiteX45" fmla="*/ 102053 w 106572"/>
                <a:gd name="connsiteY45" fmla="*/ 10004 h 80849"/>
                <a:gd name="connsiteX46" fmla="*/ 103511 w 106572"/>
                <a:gd name="connsiteY46" fmla="*/ 10465 h 80849"/>
                <a:gd name="connsiteX47" fmla="*/ 104152 w 106572"/>
                <a:gd name="connsiteY47" fmla="*/ 10410 h 80849"/>
                <a:gd name="connsiteX48" fmla="*/ 104579 w 106572"/>
                <a:gd name="connsiteY48" fmla="*/ 9868 h 80849"/>
                <a:gd name="connsiteX49" fmla="*/ 106031 w 106572"/>
                <a:gd name="connsiteY49" fmla="*/ 11787 h 80849"/>
                <a:gd name="connsiteX50" fmla="*/ 106238 w 106572"/>
                <a:gd name="connsiteY50" fmla="*/ 24774 h 80849"/>
                <a:gd name="connsiteX51" fmla="*/ 106572 w 106572"/>
                <a:gd name="connsiteY51" fmla="*/ 25694 h 80849"/>
                <a:gd name="connsiteX52" fmla="*/ 105797 w 106572"/>
                <a:gd name="connsiteY52" fmla="*/ 25833 h 80849"/>
                <a:gd name="connsiteX53" fmla="*/ 104927 w 106572"/>
                <a:gd name="connsiteY53" fmla="*/ 26821 h 80849"/>
                <a:gd name="connsiteX54" fmla="*/ 103916 w 106572"/>
                <a:gd name="connsiteY54" fmla="*/ 28340 h 80849"/>
                <a:gd name="connsiteX55" fmla="*/ 102519 w 106572"/>
                <a:gd name="connsiteY55" fmla="*/ 29126 h 80849"/>
                <a:gd name="connsiteX56" fmla="*/ 101409 w 106572"/>
                <a:gd name="connsiteY56" fmla="*/ 30014 h 80849"/>
                <a:gd name="connsiteX57" fmla="*/ 100349 w 106572"/>
                <a:gd name="connsiteY57" fmla="*/ 31115 h 80849"/>
                <a:gd name="connsiteX58" fmla="*/ 99405 w 106572"/>
                <a:gd name="connsiteY58" fmla="*/ 31348 h 80849"/>
                <a:gd name="connsiteX59" fmla="*/ 98179 w 106572"/>
                <a:gd name="connsiteY59" fmla="*/ 29950 h 80849"/>
                <a:gd name="connsiteX60" fmla="*/ 97337 w 106572"/>
                <a:gd name="connsiteY60" fmla="*/ 28523 h 80849"/>
                <a:gd name="connsiteX61" fmla="*/ 97544 w 106572"/>
                <a:gd name="connsiteY61" fmla="*/ 28214 h 80849"/>
                <a:gd name="connsiteX62" fmla="*/ 98133 w 106572"/>
                <a:gd name="connsiteY62" fmla="*/ 28112 h 80849"/>
                <a:gd name="connsiteX63" fmla="*/ 98362 w 106572"/>
                <a:gd name="connsiteY63" fmla="*/ 27376 h 80849"/>
                <a:gd name="connsiteX64" fmla="*/ 98006 w 106572"/>
                <a:gd name="connsiteY64" fmla="*/ 26305 h 80849"/>
                <a:gd name="connsiteX65" fmla="*/ 97177 w 106572"/>
                <a:gd name="connsiteY65" fmla="*/ 25904 h 80849"/>
                <a:gd name="connsiteX66" fmla="*/ 96132 w 106572"/>
                <a:gd name="connsiteY66" fmla="*/ 25869 h 80849"/>
                <a:gd name="connsiteX67" fmla="*/ 95134 w 106572"/>
                <a:gd name="connsiteY67" fmla="*/ 26348 h 80849"/>
                <a:gd name="connsiteX68" fmla="*/ 94076 w 106572"/>
                <a:gd name="connsiteY68" fmla="*/ 27292 h 80849"/>
                <a:gd name="connsiteX69" fmla="*/ 93476 w 106572"/>
                <a:gd name="connsiteY69" fmla="*/ 28307 h 80849"/>
                <a:gd name="connsiteX70" fmla="*/ 93385 w 106572"/>
                <a:gd name="connsiteY70" fmla="*/ 30348 h 80849"/>
                <a:gd name="connsiteX71" fmla="*/ 93664 w 106572"/>
                <a:gd name="connsiteY71" fmla="*/ 32644 h 80849"/>
                <a:gd name="connsiteX72" fmla="*/ 93657 w 106572"/>
                <a:gd name="connsiteY72" fmla="*/ 33757 h 80849"/>
                <a:gd name="connsiteX73" fmla="*/ 93074 w 106572"/>
                <a:gd name="connsiteY73" fmla="*/ 35140 h 80849"/>
                <a:gd name="connsiteX74" fmla="*/ 92867 w 106572"/>
                <a:gd name="connsiteY74" fmla="*/ 37176 h 80849"/>
                <a:gd name="connsiteX75" fmla="*/ 93279 w 106572"/>
                <a:gd name="connsiteY75" fmla="*/ 38750 h 80849"/>
                <a:gd name="connsiteX76" fmla="*/ 93659 w 106572"/>
                <a:gd name="connsiteY76" fmla="*/ 39688 h 80849"/>
                <a:gd name="connsiteX77" fmla="*/ 93696 w 106572"/>
                <a:gd name="connsiteY77" fmla="*/ 40480 h 80849"/>
                <a:gd name="connsiteX78" fmla="*/ 92705 w 106572"/>
                <a:gd name="connsiteY78" fmla="*/ 42992 h 80849"/>
                <a:gd name="connsiteX79" fmla="*/ 93564 w 106572"/>
                <a:gd name="connsiteY79" fmla="*/ 43461 h 80849"/>
                <a:gd name="connsiteX80" fmla="*/ 96415 w 106572"/>
                <a:gd name="connsiteY80" fmla="*/ 43637 h 80849"/>
                <a:gd name="connsiteX81" fmla="*/ 97248 w 106572"/>
                <a:gd name="connsiteY81" fmla="*/ 45336 h 80849"/>
                <a:gd name="connsiteX82" fmla="*/ 97820 w 106572"/>
                <a:gd name="connsiteY82" fmla="*/ 46500 h 80849"/>
                <a:gd name="connsiteX83" fmla="*/ 97665 w 106572"/>
                <a:gd name="connsiteY83" fmla="*/ 47193 h 80849"/>
                <a:gd name="connsiteX84" fmla="*/ 95653 w 106572"/>
                <a:gd name="connsiteY84" fmla="*/ 47708 h 80849"/>
                <a:gd name="connsiteX85" fmla="*/ 93109 w 106572"/>
                <a:gd name="connsiteY85" fmla="*/ 48277 h 80849"/>
                <a:gd name="connsiteX86" fmla="*/ 91284 w 106572"/>
                <a:gd name="connsiteY86" fmla="*/ 48112 h 80849"/>
                <a:gd name="connsiteX87" fmla="*/ 87995 w 106572"/>
                <a:gd name="connsiteY87" fmla="*/ 48879 h 80849"/>
                <a:gd name="connsiteX88" fmla="*/ 86240 w 106572"/>
                <a:gd name="connsiteY88" fmla="*/ 50056 h 80849"/>
                <a:gd name="connsiteX89" fmla="*/ 86756 w 106572"/>
                <a:gd name="connsiteY89" fmla="*/ 50792 h 80849"/>
                <a:gd name="connsiteX90" fmla="*/ 87365 w 106572"/>
                <a:gd name="connsiteY90" fmla="*/ 51357 h 80849"/>
                <a:gd name="connsiteX91" fmla="*/ 87637 w 106572"/>
                <a:gd name="connsiteY91" fmla="*/ 52912 h 80849"/>
                <a:gd name="connsiteX92" fmla="*/ 87125 w 106572"/>
                <a:gd name="connsiteY92" fmla="*/ 55121 h 80849"/>
                <a:gd name="connsiteX93" fmla="*/ 86192 w 106572"/>
                <a:gd name="connsiteY93" fmla="*/ 57265 h 80849"/>
                <a:gd name="connsiteX94" fmla="*/ 85033 w 106572"/>
                <a:gd name="connsiteY94" fmla="*/ 59932 h 80849"/>
                <a:gd name="connsiteX95" fmla="*/ 83692 w 106572"/>
                <a:gd name="connsiteY95" fmla="*/ 62999 h 80849"/>
                <a:gd name="connsiteX96" fmla="*/ 81856 w 106572"/>
                <a:gd name="connsiteY96" fmla="*/ 67607 h 80849"/>
                <a:gd name="connsiteX97" fmla="*/ 80301 w 106572"/>
                <a:gd name="connsiteY97" fmla="*/ 71226 h 80849"/>
                <a:gd name="connsiteX98" fmla="*/ 80131 w 106572"/>
                <a:gd name="connsiteY98" fmla="*/ 73831 h 80849"/>
                <a:gd name="connsiteX99" fmla="*/ 80172 w 106572"/>
                <a:gd name="connsiteY99" fmla="*/ 75530 h 80849"/>
                <a:gd name="connsiteX100" fmla="*/ 79990 w 106572"/>
                <a:gd name="connsiteY100" fmla="*/ 78926 h 80849"/>
                <a:gd name="connsiteX101" fmla="*/ 78522 w 106572"/>
                <a:gd name="connsiteY101" fmla="*/ 80792 h 80849"/>
                <a:gd name="connsiteX102" fmla="*/ 78187 w 106572"/>
                <a:gd name="connsiteY102" fmla="*/ 80849 h 80849"/>
                <a:gd name="connsiteX103" fmla="*/ 76434 w 106572"/>
                <a:gd name="connsiteY103" fmla="*/ 80624 h 80849"/>
                <a:gd name="connsiteX104" fmla="*/ 75842 w 106572"/>
                <a:gd name="connsiteY104" fmla="*/ 80549 h 80849"/>
                <a:gd name="connsiteX105" fmla="*/ 74167 w 106572"/>
                <a:gd name="connsiteY105" fmla="*/ 80333 h 80849"/>
                <a:gd name="connsiteX106" fmla="*/ 71566 w 106572"/>
                <a:gd name="connsiteY106" fmla="*/ 79999 h 80849"/>
                <a:gd name="connsiteX107" fmla="*/ 68191 w 106572"/>
                <a:gd name="connsiteY107" fmla="*/ 79565 h 80849"/>
                <a:gd name="connsiteX108" fmla="*/ 64199 w 106572"/>
                <a:gd name="connsiteY108" fmla="*/ 79051 h 80849"/>
                <a:gd name="connsiteX109" fmla="*/ 59742 w 106572"/>
                <a:gd name="connsiteY109" fmla="*/ 78479 h 80849"/>
                <a:gd name="connsiteX110" fmla="*/ 54976 w 106572"/>
                <a:gd name="connsiteY110" fmla="*/ 77866 h 80849"/>
                <a:gd name="connsiteX111" fmla="*/ 50057 w 106572"/>
                <a:gd name="connsiteY111" fmla="*/ 77234 h 80849"/>
                <a:gd name="connsiteX112" fmla="*/ 45136 w 106572"/>
                <a:gd name="connsiteY112" fmla="*/ 76601 h 80849"/>
                <a:gd name="connsiteX113" fmla="*/ 40370 w 106572"/>
                <a:gd name="connsiteY113" fmla="*/ 75988 h 80849"/>
                <a:gd name="connsiteX114" fmla="*/ 35911 w 106572"/>
                <a:gd name="connsiteY114" fmla="*/ 75415 h 80849"/>
                <a:gd name="connsiteX115" fmla="*/ 31920 w 106572"/>
                <a:gd name="connsiteY115" fmla="*/ 74901 h 80849"/>
                <a:gd name="connsiteX116" fmla="*/ 28545 w 106572"/>
                <a:gd name="connsiteY116" fmla="*/ 74468 h 80849"/>
                <a:gd name="connsiteX117" fmla="*/ 25943 w 106572"/>
                <a:gd name="connsiteY117" fmla="*/ 74132 h 80849"/>
                <a:gd name="connsiteX118" fmla="*/ 24270 w 106572"/>
                <a:gd name="connsiteY118" fmla="*/ 73916 h 80849"/>
                <a:gd name="connsiteX119" fmla="*/ 23678 w 106572"/>
                <a:gd name="connsiteY119" fmla="*/ 73841 h 80849"/>
                <a:gd name="connsiteX120" fmla="*/ 21819 w 106572"/>
                <a:gd name="connsiteY120" fmla="*/ 73601 h 80849"/>
                <a:gd name="connsiteX121" fmla="*/ 20813 w 106572"/>
                <a:gd name="connsiteY121" fmla="*/ 72339 h 80849"/>
                <a:gd name="connsiteX122" fmla="*/ 19597 w 106572"/>
                <a:gd name="connsiteY122" fmla="*/ 70814 h 80849"/>
                <a:gd name="connsiteX123" fmla="*/ 18381 w 106572"/>
                <a:gd name="connsiteY123" fmla="*/ 69286 h 80849"/>
                <a:gd name="connsiteX124" fmla="*/ 17163 w 106572"/>
                <a:gd name="connsiteY124" fmla="*/ 67758 h 80849"/>
                <a:gd name="connsiteX125" fmla="*/ 15947 w 106572"/>
                <a:gd name="connsiteY125" fmla="*/ 66230 h 80849"/>
                <a:gd name="connsiteX126" fmla="*/ 14732 w 106572"/>
                <a:gd name="connsiteY126" fmla="*/ 64702 h 80849"/>
                <a:gd name="connsiteX127" fmla="*/ 13514 w 106572"/>
                <a:gd name="connsiteY127" fmla="*/ 63173 h 80849"/>
                <a:gd name="connsiteX128" fmla="*/ 12298 w 106572"/>
                <a:gd name="connsiteY128" fmla="*/ 61644 h 80849"/>
                <a:gd name="connsiteX129" fmla="*/ 11080 w 106572"/>
                <a:gd name="connsiteY129" fmla="*/ 60113 h 80849"/>
                <a:gd name="connsiteX130" fmla="*/ 9864 w 106572"/>
                <a:gd name="connsiteY130" fmla="*/ 58584 h 80849"/>
                <a:gd name="connsiteX131" fmla="*/ 8649 w 106572"/>
                <a:gd name="connsiteY131" fmla="*/ 57052 h 80849"/>
                <a:gd name="connsiteX132" fmla="*/ 7431 w 106572"/>
                <a:gd name="connsiteY132" fmla="*/ 55521 h 80849"/>
                <a:gd name="connsiteX133" fmla="*/ 6215 w 106572"/>
                <a:gd name="connsiteY133" fmla="*/ 53989 h 80849"/>
                <a:gd name="connsiteX134" fmla="*/ 4997 w 106572"/>
                <a:gd name="connsiteY134" fmla="*/ 52458 h 80849"/>
                <a:gd name="connsiteX135" fmla="*/ 3781 w 106572"/>
                <a:gd name="connsiteY135" fmla="*/ 50924 h 80849"/>
                <a:gd name="connsiteX136" fmla="*/ 2566 w 106572"/>
                <a:gd name="connsiteY136" fmla="*/ 49390 h 80849"/>
                <a:gd name="connsiteX137" fmla="*/ 1348 w 106572"/>
                <a:gd name="connsiteY137" fmla="*/ 47857 h 80849"/>
                <a:gd name="connsiteX138" fmla="*/ 536 w 106572"/>
                <a:gd name="connsiteY138" fmla="*/ 46830 h 80849"/>
                <a:gd name="connsiteX139" fmla="*/ 84 w 106572"/>
                <a:gd name="connsiteY139" fmla="*/ 45672 h 80849"/>
                <a:gd name="connsiteX140" fmla="*/ 0 w 106572"/>
                <a:gd name="connsiteY140" fmla="*/ 42634 h 80849"/>
                <a:gd name="connsiteX141" fmla="*/ 0 w 106572"/>
                <a:gd name="connsiteY141" fmla="*/ 41972 h 80849"/>
                <a:gd name="connsiteX142" fmla="*/ 821 w 106572"/>
                <a:gd name="connsiteY142" fmla="*/ 40746 h 80849"/>
                <a:gd name="connsiteX143" fmla="*/ 1212 w 106572"/>
                <a:gd name="connsiteY143" fmla="*/ 41622 h 80849"/>
                <a:gd name="connsiteX144" fmla="*/ 2127 w 106572"/>
                <a:gd name="connsiteY144" fmla="*/ 42809 h 80849"/>
                <a:gd name="connsiteX145" fmla="*/ 3680 w 106572"/>
                <a:gd name="connsiteY145" fmla="*/ 42520 h 80849"/>
                <a:gd name="connsiteX146" fmla="*/ 4405 w 106572"/>
                <a:gd name="connsiteY146" fmla="*/ 42717 h 80849"/>
                <a:gd name="connsiteX147" fmla="*/ 4939 w 106572"/>
                <a:gd name="connsiteY147" fmla="*/ 46926 h 80849"/>
                <a:gd name="connsiteX148" fmla="*/ 6077 w 106572"/>
                <a:gd name="connsiteY148" fmla="*/ 48422 h 80849"/>
                <a:gd name="connsiteX149" fmla="*/ 7468 w 106572"/>
                <a:gd name="connsiteY149" fmla="*/ 49020 h 80849"/>
                <a:gd name="connsiteX150" fmla="*/ 12166 w 106572"/>
                <a:gd name="connsiteY150" fmla="*/ 49354 h 80849"/>
                <a:gd name="connsiteX151" fmla="*/ 15092 w 106572"/>
                <a:gd name="connsiteY151" fmla="*/ 48789 h 80849"/>
                <a:gd name="connsiteX152" fmla="*/ 20854 w 106572"/>
                <a:gd name="connsiteY152" fmla="*/ 46042 h 80849"/>
                <a:gd name="connsiteX153" fmla="*/ 23879 w 106572"/>
                <a:gd name="connsiteY153" fmla="*/ 45055 h 80849"/>
                <a:gd name="connsiteX154" fmla="*/ 32240 w 106572"/>
                <a:gd name="connsiteY154" fmla="*/ 45227 h 80849"/>
                <a:gd name="connsiteX155" fmla="*/ 38945 w 106572"/>
                <a:gd name="connsiteY155" fmla="*/ 46372 h 80849"/>
                <a:gd name="connsiteX156" fmla="*/ 49386 w 106572"/>
                <a:gd name="connsiteY156" fmla="*/ 47050 h 80849"/>
                <a:gd name="connsiteX157" fmla="*/ 51411 w 106572"/>
                <a:gd name="connsiteY157" fmla="*/ 46873 h 80849"/>
                <a:gd name="connsiteX158" fmla="*/ 57041 w 106572"/>
                <a:gd name="connsiteY158" fmla="*/ 44667 h 80849"/>
                <a:gd name="connsiteX159" fmla="*/ 60498 w 106572"/>
                <a:gd name="connsiteY159" fmla="*/ 42719 h 80849"/>
                <a:gd name="connsiteX160" fmla="*/ 62549 w 106572"/>
                <a:gd name="connsiteY160" fmla="*/ 42160 h 80849"/>
                <a:gd name="connsiteX161" fmla="*/ 63905 w 106572"/>
                <a:gd name="connsiteY161" fmla="*/ 40281 h 80849"/>
                <a:gd name="connsiteX162" fmla="*/ 64799 w 106572"/>
                <a:gd name="connsiteY162" fmla="*/ 37831 h 80849"/>
                <a:gd name="connsiteX163" fmla="*/ 65592 w 106572"/>
                <a:gd name="connsiteY163" fmla="*/ 36229 h 80849"/>
                <a:gd name="connsiteX164" fmla="*/ 66604 w 106572"/>
                <a:gd name="connsiteY164" fmla="*/ 35464 h 80849"/>
                <a:gd name="connsiteX165" fmla="*/ 67570 w 106572"/>
                <a:gd name="connsiteY165" fmla="*/ 34108 h 80849"/>
                <a:gd name="connsiteX166" fmla="*/ 68341 w 106572"/>
                <a:gd name="connsiteY166" fmla="*/ 31894 h 80849"/>
                <a:gd name="connsiteX167" fmla="*/ 70282 w 106572"/>
                <a:gd name="connsiteY167" fmla="*/ 29663 h 80849"/>
                <a:gd name="connsiteX168" fmla="*/ 78051 w 106572"/>
                <a:gd name="connsiteY168" fmla="*/ 24226 h 80849"/>
                <a:gd name="connsiteX169" fmla="*/ 82592 w 106572"/>
                <a:gd name="connsiteY169" fmla="*/ 19629 h 80849"/>
                <a:gd name="connsiteX170" fmla="*/ 82994 w 106572"/>
                <a:gd name="connsiteY170" fmla="*/ 18145 h 80849"/>
                <a:gd name="connsiteX171" fmla="*/ 85464 w 106572"/>
                <a:gd name="connsiteY171" fmla="*/ 15913 h 80849"/>
                <a:gd name="connsiteX172" fmla="*/ 87443 w 106572"/>
                <a:gd name="connsiteY172" fmla="*/ 13468 h 80849"/>
                <a:gd name="connsiteX173" fmla="*/ 96693 w 106572"/>
                <a:gd name="connsiteY173" fmla="*/ 6483 h 80849"/>
                <a:gd name="connsiteX174" fmla="*/ 98550 w 106572"/>
                <a:gd name="connsiteY174" fmla="*/ 3599 h 80849"/>
                <a:gd name="connsiteX175" fmla="*/ 99643 w 106572"/>
                <a:gd name="connsiteY175" fmla="*/ 364 h 80849"/>
                <a:gd name="connsiteX176" fmla="*/ 99772 w 106572"/>
                <a:gd name="connsiteY176" fmla="*/ 131 h 808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</a:cxnLst>
              <a:rect l="l" t="t" r="r" b="b"/>
              <a:pathLst>
                <a:path w="106572" h="80849">
                  <a:moveTo>
                    <a:pt x="50094" y="42610"/>
                  </a:moveTo>
                  <a:lnTo>
                    <a:pt x="51420" y="43637"/>
                  </a:lnTo>
                  <a:lnTo>
                    <a:pt x="52173" y="44526"/>
                  </a:lnTo>
                  <a:lnTo>
                    <a:pt x="52180" y="45319"/>
                  </a:lnTo>
                  <a:lnTo>
                    <a:pt x="49930" y="45090"/>
                  </a:lnTo>
                  <a:lnTo>
                    <a:pt x="49327" y="45502"/>
                  </a:lnTo>
                  <a:lnTo>
                    <a:pt x="47485" y="45273"/>
                  </a:lnTo>
                  <a:lnTo>
                    <a:pt x="45686" y="44700"/>
                  </a:lnTo>
                  <a:lnTo>
                    <a:pt x="46906" y="43739"/>
                  </a:lnTo>
                  <a:close/>
                  <a:moveTo>
                    <a:pt x="23462" y="39847"/>
                  </a:moveTo>
                  <a:lnTo>
                    <a:pt x="24086" y="40883"/>
                  </a:lnTo>
                  <a:lnTo>
                    <a:pt x="23186" y="41915"/>
                  </a:lnTo>
                  <a:lnTo>
                    <a:pt x="22812" y="42086"/>
                  </a:lnTo>
                  <a:lnTo>
                    <a:pt x="22419" y="40821"/>
                  </a:lnTo>
                  <a:lnTo>
                    <a:pt x="22449" y="40420"/>
                  </a:lnTo>
                  <a:close/>
                  <a:moveTo>
                    <a:pt x="40776" y="39043"/>
                  </a:moveTo>
                  <a:lnTo>
                    <a:pt x="41504" y="39978"/>
                  </a:lnTo>
                  <a:lnTo>
                    <a:pt x="40700" y="41462"/>
                  </a:lnTo>
                  <a:lnTo>
                    <a:pt x="40117" y="42096"/>
                  </a:lnTo>
                  <a:lnTo>
                    <a:pt x="39003" y="42618"/>
                  </a:lnTo>
                  <a:lnTo>
                    <a:pt x="37368" y="42751"/>
                  </a:lnTo>
                  <a:lnTo>
                    <a:pt x="35878" y="41861"/>
                  </a:lnTo>
                  <a:lnTo>
                    <a:pt x="39009" y="40672"/>
                  </a:lnTo>
                  <a:lnTo>
                    <a:pt x="39858" y="40136"/>
                  </a:lnTo>
                  <a:close/>
                  <a:moveTo>
                    <a:pt x="62577" y="36806"/>
                  </a:moveTo>
                  <a:lnTo>
                    <a:pt x="63201" y="37635"/>
                  </a:lnTo>
                  <a:lnTo>
                    <a:pt x="64061" y="38299"/>
                  </a:lnTo>
                  <a:lnTo>
                    <a:pt x="63866" y="38755"/>
                  </a:lnTo>
                  <a:lnTo>
                    <a:pt x="63242" y="38713"/>
                  </a:lnTo>
                  <a:lnTo>
                    <a:pt x="61679" y="38299"/>
                  </a:lnTo>
                  <a:lnTo>
                    <a:pt x="61171" y="37635"/>
                  </a:lnTo>
                  <a:lnTo>
                    <a:pt x="62147" y="36848"/>
                  </a:lnTo>
                  <a:close/>
                  <a:moveTo>
                    <a:pt x="103173" y="18050"/>
                  </a:moveTo>
                  <a:lnTo>
                    <a:pt x="102780" y="18925"/>
                  </a:lnTo>
                  <a:lnTo>
                    <a:pt x="102649" y="20183"/>
                  </a:lnTo>
                  <a:lnTo>
                    <a:pt x="103305" y="20288"/>
                  </a:lnTo>
                  <a:lnTo>
                    <a:pt x="104225" y="19659"/>
                  </a:lnTo>
                  <a:lnTo>
                    <a:pt x="104357" y="18644"/>
                  </a:lnTo>
                  <a:lnTo>
                    <a:pt x="104126" y="18119"/>
                  </a:lnTo>
                  <a:close/>
                  <a:moveTo>
                    <a:pt x="100569" y="0"/>
                  </a:moveTo>
                  <a:lnTo>
                    <a:pt x="101696" y="490"/>
                  </a:lnTo>
                  <a:lnTo>
                    <a:pt x="101809" y="2910"/>
                  </a:lnTo>
                  <a:lnTo>
                    <a:pt x="101401" y="5195"/>
                  </a:lnTo>
                  <a:lnTo>
                    <a:pt x="101353" y="7614"/>
                  </a:lnTo>
                  <a:lnTo>
                    <a:pt x="101191" y="8927"/>
                  </a:lnTo>
                  <a:lnTo>
                    <a:pt x="102053" y="10004"/>
                  </a:lnTo>
                  <a:lnTo>
                    <a:pt x="103511" y="10465"/>
                  </a:lnTo>
                  <a:lnTo>
                    <a:pt x="104152" y="10410"/>
                  </a:lnTo>
                  <a:lnTo>
                    <a:pt x="104579" y="9868"/>
                  </a:lnTo>
                  <a:lnTo>
                    <a:pt x="106031" y="11787"/>
                  </a:lnTo>
                  <a:lnTo>
                    <a:pt x="106238" y="24774"/>
                  </a:lnTo>
                  <a:lnTo>
                    <a:pt x="106572" y="25694"/>
                  </a:lnTo>
                  <a:lnTo>
                    <a:pt x="105797" y="25833"/>
                  </a:lnTo>
                  <a:lnTo>
                    <a:pt x="104927" y="26821"/>
                  </a:lnTo>
                  <a:lnTo>
                    <a:pt x="103916" y="28340"/>
                  </a:lnTo>
                  <a:lnTo>
                    <a:pt x="102519" y="29126"/>
                  </a:lnTo>
                  <a:lnTo>
                    <a:pt x="101409" y="30014"/>
                  </a:lnTo>
                  <a:lnTo>
                    <a:pt x="100349" y="31115"/>
                  </a:lnTo>
                  <a:lnTo>
                    <a:pt x="99405" y="31348"/>
                  </a:lnTo>
                  <a:lnTo>
                    <a:pt x="98179" y="29950"/>
                  </a:lnTo>
                  <a:lnTo>
                    <a:pt x="97337" y="28523"/>
                  </a:lnTo>
                  <a:lnTo>
                    <a:pt x="97544" y="28214"/>
                  </a:lnTo>
                  <a:lnTo>
                    <a:pt x="98133" y="28112"/>
                  </a:lnTo>
                  <a:lnTo>
                    <a:pt x="98362" y="27376"/>
                  </a:lnTo>
                  <a:lnTo>
                    <a:pt x="98006" y="26305"/>
                  </a:lnTo>
                  <a:lnTo>
                    <a:pt x="97177" y="25904"/>
                  </a:lnTo>
                  <a:lnTo>
                    <a:pt x="96132" y="25869"/>
                  </a:lnTo>
                  <a:lnTo>
                    <a:pt x="95134" y="26348"/>
                  </a:lnTo>
                  <a:lnTo>
                    <a:pt x="94076" y="27292"/>
                  </a:lnTo>
                  <a:lnTo>
                    <a:pt x="93476" y="28307"/>
                  </a:lnTo>
                  <a:lnTo>
                    <a:pt x="93385" y="30348"/>
                  </a:lnTo>
                  <a:lnTo>
                    <a:pt x="93664" y="32644"/>
                  </a:lnTo>
                  <a:lnTo>
                    <a:pt x="93657" y="33757"/>
                  </a:lnTo>
                  <a:lnTo>
                    <a:pt x="93074" y="35140"/>
                  </a:lnTo>
                  <a:lnTo>
                    <a:pt x="92867" y="37176"/>
                  </a:lnTo>
                  <a:lnTo>
                    <a:pt x="93279" y="38750"/>
                  </a:lnTo>
                  <a:lnTo>
                    <a:pt x="93659" y="39688"/>
                  </a:lnTo>
                  <a:lnTo>
                    <a:pt x="93696" y="40480"/>
                  </a:lnTo>
                  <a:lnTo>
                    <a:pt x="92705" y="42992"/>
                  </a:lnTo>
                  <a:lnTo>
                    <a:pt x="93564" y="43461"/>
                  </a:lnTo>
                  <a:lnTo>
                    <a:pt x="96415" y="43637"/>
                  </a:lnTo>
                  <a:lnTo>
                    <a:pt x="97248" y="45336"/>
                  </a:lnTo>
                  <a:lnTo>
                    <a:pt x="97820" y="46500"/>
                  </a:lnTo>
                  <a:lnTo>
                    <a:pt x="97665" y="47193"/>
                  </a:lnTo>
                  <a:lnTo>
                    <a:pt x="95653" y="47708"/>
                  </a:lnTo>
                  <a:lnTo>
                    <a:pt x="93109" y="48277"/>
                  </a:lnTo>
                  <a:lnTo>
                    <a:pt x="91284" y="48112"/>
                  </a:lnTo>
                  <a:lnTo>
                    <a:pt x="87995" y="48879"/>
                  </a:lnTo>
                  <a:lnTo>
                    <a:pt x="86240" y="50056"/>
                  </a:lnTo>
                  <a:lnTo>
                    <a:pt x="86756" y="50792"/>
                  </a:lnTo>
                  <a:lnTo>
                    <a:pt x="87365" y="51357"/>
                  </a:lnTo>
                  <a:lnTo>
                    <a:pt x="87637" y="52912"/>
                  </a:lnTo>
                  <a:lnTo>
                    <a:pt x="87125" y="55121"/>
                  </a:lnTo>
                  <a:lnTo>
                    <a:pt x="86192" y="57265"/>
                  </a:lnTo>
                  <a:lnTo>
                    <a:pt x="85033" y="59932"/>
                  </a:lnTo>
                  <a:lnTo>
                    <a:pt x="83692" y="62999"/>
                  </a:lnTo>
                  <a:lnTo>
                    <a:pt x="81856" y="67607"/>
                  </a:lnTo>
                  <a:lnTo>
                    <a:pt x="80301" y="71226"/>
                  </a:lnTo>
                  <a:lnTo>
                    <a:pt x="80131" y="73831"/>
                  </a:lnTo>
                  <a:lnTo>
                    <a:pt x="80172" y="75530"/>
                  </a:lnTo>
                  <a:lnTo>
                    <a:pt x="79990" y="78926"/>
                  </a:lnTo>
                  <a:lnTo>
                    <a:pt x="78522" y="80792"/>
                  </a:lnTo>
                  <a:lnTo>
                    <a:pt x="78187" y="80849"/>
                  </a:lnTo>
                  <a:lnTo>
                    <a:pt x="76434" y="80624"/>
                  </a:lnTo>
                  <a:lnTo>
                    <a:pt x="75842" y="80549"/>
                  </a:lnTo>
                  <a:lnTo>
                    <a:pt x="74167" y="80333"/>
                  </a:lnTo>
                  <a:lnTo>
                    <a:pt x="71566" y="79999"/>
                  </a:lnTo>
                  <a:lnTo>
                    <a:pt x="68191" y="79565"/>
                  </a:lnTo>
                  <a:lnTo>
                    <a:pt x="64199" y="79051"/>
                  </a:lnTo>
                  <a:lnTo>
                    <a:pt x="59742" y="78479"/>
                  </a:lnTo>
                  <a:lnTo>
                    <a:pt x="54976" y="77866"/>
                  </a:lnTo>
                  <a:lnTo>
                    <a:pt x="50057" y="77234"/>
                  </a:lnTo>
                  <a:lnTo>
                    <a:pt x="45136" y="76601"/>
                  </a:lnTo>
                  <a:lnTo>
                    <a:pt x="40370" y="75988"/>
                  </a:lnTo>
                  <a:lnTo>
                    <a:pt x="35911" y="75415"/>
                  </a:lnTo>
                  <a:lnTo>
                    <a:pt x="31920" y="74901"/>
                  </a:lnTo>
                  <a:lnTo>
                    <a:pt x="28545" y="74468"/>
                  </a:lnTo>
                  <a:lnTo>
                    <a:pt x="25943" y="74132"/>
                  </a:lnTo>
                  <a:lnTo>
                    <a:pt x="24270" y="73916"/>
                  </a:lnTo>
                  <a:lnTo>
                    <a:pt x="23678" y="73841"/>
                  </a:lnTo>
                  <a:lnTo>
                    <a:pt x="21819" y="73601"/>
                  </a:lnTo>
                  <a:lnTo>
                    <a:pt x="20813" y="72339"/>
                  </a:lnTo>
                  <a:lnTo>
                    <a:pt x="19597" y="70814"/>
                  </a:lnTo>
                  <a:lnTo>
                    <a:pt x="18381" y="69286"/>
                  </a:lnTo>
                  <a:lnTo>
                    <a:pt x="17163" y="67758"/>
                  </a:lnTo>
                  <a:lnTo>
                    <a:pt x="15947" y="66230"/>
                  </a:lnTo>
                  <a:lnTo>
                    <a:pt x="14732" y="64702"/>
                  </a:lnTo>
                  <a:lnTo>
                    <a:pt x="13514" y="63173"/>
                  </a:lnTo>
                  <a:lnTo>
                    <a:pt x="12298" y="61644"/>
                  </a:lnTo>
                  <a:lnTo>
                    <a:pt x="11080" y="60113"/>
                  </a:lnTo>
                  <a:lnTo>
                    <a:pt x="9864" y="58584"/>
                  </a:lnTo>
                  <a:lnTo>
                    <a:pt x="8649" y="57052"/>
                  </a:lnTo>
                  <a:lnTo>
                    <a:pt x="7431" y="55521"/>
                  </a:lnTo>
                  <a:lnTo>
                    <a:pt x="6215" y="53989"/>
                  </a:lnTo>
                  <a:lnTo>
                    <a:pt x="4997" y="52458"/>
                  </a:lnTo>
                  <a:lnTo>
                    <a:pt x="3781" y="50924"/>
                  </a:lnTo>
                  <a:lnTo>
                    <a:pt x="2566" y="49390"/>
                  </a:lnTo>
                  <a:lnTo>
                    <a:pt x="1348" y="47857"/>
                  </a:lnTo>
                  <a:lnTo>
                    <a:pt x="536" y="46830"/>
                  </a:lnTo>
                  <a:lnTo>
                    <a:pt x="84" y="45672"/>
                  </a:lnTo>
                  <a:lnTo>
                    <a:pt x="0" y="42634"/>
                  </a:lnTo>
                  <a:lnTo>
                    <a:pt x="0" y="41972"/>
                  </a:lnTo>
                  <a:lnTo>
                    <a:pt x="821" y="40746"/>
                  </a:lnTo>
                  <a:lnTo>
                    <a:pt x="1212" y="41622"/>
                  </a:lnTo>
                  <a:lnTo>
                    <a:pt x="2127" y="42809"/>
                  </a:lnTo>
                  <a:lnTo>
                    <a:pt x="3680" y="42520"/>
                  </a:lnTo>
                  <a:lnTo>
                    <a:pt x="4405" y="42717"/>
                  </a:lnTo>
                  <a:lnTo>
                    <a:pt x="4939" y="46926"/>
                  </a:lnTo>
                  <a:lnTo>
                    <a:pt x="6077" y="48422"/>
                  </a:lnTo>
                  <a:lnTo>
                    <a:pt x="7468" y="49020"/>
                  </a:lnTo>
                  <a:lnTo>
                    <a:pt x="12166" y="49354"/>
                  </a:lnTo>
                  <a:lnTo>
                    <a:pt x="15092" y="48789"/>
                  </a:lnTo>
                  <a:lnTo>
                    <a:pt x="20854" y="46042"/>
                  </a:lnTo>
                  <a:lnTo>
                    <a:pt x="23879" y="45055"/>
                  </a:lnTo>
                  <a:lnTo>
                    <a:pt x="32240" y="45227"/>
                  </a:lnTo>
                  <a:lnTo>
                    <a:pt x="38945" y="46372"/>
                  </a:lnTo>
                  <a:lnTo>
                    <a:pt x="49386" y="47050"/>
                  </a:lnTo>
                  <a:lnTo>
                    <a:pt x="51411" y="46873"/>
                  </a:lnTo>
                  <a:lnTo>
                    <a:pt x="57041" y="44667"/>
                  </a:lnTo>
                  <a:lnTo>
                    <a:pt x="60498" y="42719"/>
                  </a:lnTo>
                  <a:lnTo>
                    <a:pt x="62549" y="42160"/>
                  </a:lnTo>
                  <a:lnTo>
                    <a:pt x="63905" y="40281"/>
                  </a:lnTo>
                  <a:lnTo>
                    <a:pt x="64799" y="37831"/>
                  </a:lnTo>
                  <a:lnTo>
                    <a:pt x="65592" y="36229"/>
                  </a:lnTo>
                  <a:lnTo>
                    <a:pt x="66604" y="35464"/>
                  </a:lnTo>
                  <a:lnTo>
                    <a:pt x="67570" y="34108"/>
                  </a:lnTo>
                  <a:lnTo>
                    <a:pt x="68341" y="31894"/>
                  </a:lnTo>
                  <a:lnTo>
                    <a:pt x="70282" y="29663"/>
                  </a:lnTo>
                  <a:lnTo>
                    <a:pt x="78051" y="24226"/>
                  </a:lnTo>
                  <a:lnTo>
                    <a:pt x="82592" y="19629"/>
                  </a:lnTo>
                  <a:lnTo>
                    <a:pt x="82994" y="18145"/>
                  </a:lnTo>
                  <a:lnTo>
                    <a:pt x="85464" y="15913"/>
                  </a:lnTo>
                  <a:lnTo>
                    <a:pt x="87443" y="13468"/>
                  </a:lnTo>
                  <a:lnTo>
                    <a:pt x="96693" y="6483"/>
                  </a:lnTo>
                  <a:lnTo>
                    <a:pt x="98550" y="3599"/>
                  </a:lnTo>
                  <a:lnTo>
                    <a:pt x="99643" y="364"/>
                  </a:lnTo>
                  <a:lnTo>
                    <a:pt x="99772" y="131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64" name="ee4p_AM_1_37365">
              <a:extLst>
                <a:ext uri="{FF2B5EF4-FFF2-40B4-BE49-F238E27FC236}">
                  <a16:creationId xmlns:a16="http://schemas.microsoft.com/office/drawing/2014/main" id="{8596888F-0B4E-01C1-0975-8AF8D6766DF9}"/>
                </a:ext>
              </a:extLst>
            </p:cNvPr>
            <p:cNvSpPr>
              <a:spLocks noChangeAspect="1"/>
            </p:cNvSpPr>
            <p:nvPr>
              <p:custDataLst>
                <p:tags r:id="rId218"/>
              </p:custDataLst>
            </p:nvPr>
          </p:nvSpPr>
          <p:spPr>
            <a:xfrm>
              <a:off x="7720987" y="3426682"/>
              <a:ext cx="87343" cy="81529"/>
            </a:xfrm>
            <a:custGeom>
              <a:avLst/>
              <a:gdLst>
                <a:gd name="connsiteX0" fmla="*/ 45662 w 69549"/>
                <a:gd name="connsiteY0" fmla="*/ 16468 h 63199"/>
                <a:gd name="connsiteX1" fmla="*/ 46319 w 69549"/>
                <a:gd name="connsiteY1" fmla="*/ 16490 h 63199"/>
                <a:gd name="connsiteX2" fmla="*/ 46941 w 69549"/>
                <a:gd name="connsiteY2" fmla="*/ 16879 h 63199"/>
                <a:gd name="connsiteX3" fmla="*/ 46720 w 69549"/>
                <a:gd name="connsiteY3" fmla="*/ 17747 h 63199"/>
                <a:gd name="connsiteX4" fmla="*/ 45881 w 69549"/>
                <a:gd name="connsiteY4" fmla="*/ 18180 h 63199"/>
                <a:gd name="connsiteX5" fmla="*/ 45095 w 69549"/>
                <a:gd name="connsiteY5" fmla="*/ 17985 h 63199"/>
                <a:gd name="connsiteX6" fmla="*/ 45095 w 69549"/>
                <a:gd name="connsiteY6" fmla="*/ 16901 h 63199"/>
                <a:gd name="connsiteX7" fmla="*/ 34382 w 69549"/>
                <a:gd name="connsiteY7" fmla="*/ 5412 h 63199"/>
                <a:gd name="connsiteX8" fmla="*/ 33654 w 69549"/>
                <a:gd name="connsiteY8" fmla="*/ 5579 h 63199"/>
                <a:gd name="connsiteX9" fmla="*/ 33598 w 69549"/>
                <a:gd name="connsiteY9" fmla="*/ 6279 h 63199"/>
                <a:gd name="connsiteX10" fmla="*/ 33822 w 69549"/>
                <a:gd name="connsiteY10" fmla="*/ 6947 h 63199"/>
                <a:gd name="connsiteX11" fmla="*/ 34552 w 69549"/>
                <a:gd name="connsiteY11" fmla="*/ 7248 h 63199"/>
                <a:gd name="connsiteX12" fmla="*/ 35030 w 69549"/>
                <a:gd name="connsiteY12" fmla="*/ 6947 h 63199"/>
                <a:gd name="connsiteX13" fmla="*/ 35142 w 69549"/>
                <a:gd name="connsiteY13" fmla="*/ 6248 h 63199"/>
                <a:gd name="connsiteX14" fmla="*/ 34974 w 69549"/>
                <a:gd name="connsiteY14" fmla="*/ 5612 h 63199"/>
                <a:gd name="connsiteX15" fmla="*/ 34537 w 69549"/>
                <a:gd name="connsiteY15" fmla="*/ 0 h 63199"/>
                <a:gd name="connsiteX16" fmla="*/ 35015 w 69549"/>
                <a:gd name="connsiteY16" fmla="*/ 1194 h 63199"/>
                <a:gd name="connsiteX17" fmla="*/ 36381 w 69549"/>
                <a:gd name="connsiteY17" fmla="*/ 2518 h 63199"/>
                <a:gd name="connsiteX18" fmla="*/ 37876 w 69549"/>
                <a:gd name="connsiteY18" fmla="*/ 3053 h 63199"/>
                <a:gd name="connsiteX19" fmla="*/ 38677 w 69549"/>
                <a:gd name="connsiteY19" fmla="*/ 3784 h 63199"/>
                <a:gd name="connsiteX20" fmla="*/ 38714 w 69549"/>
                <a:gd name="connsiteY20" fmla="*/ 4338 h 63199"/>
                <a:gd name="connsiteX21" fmla="*/ 36070 w 69549"/>
                <a:gd name="connsiteY21" fmla="*/ 5011 h 63199"/>
                <a:gd name="connsiteX22" fmla="*/ 35891 w 69549"/>
                <a:gd name="connsiteY22" fmla="*/ 5345 h 63199"/>
                <a:gd name="connsiteX23" fmla="*/ 36066 w 69549"/>
                <a:gd name="connsiteY23" fmla="*/ 5675 h 63199"/>
                <a:gd name="connsiteX24" fmla="*/ 36852 w 69549"/>
                <a:gd name="connsiteY24" fmla="*/ 5840 h 63199"/>
                <a:gd name="connsiteX25" fmla="*/ 40553 w 69549"/>
                <a:gd name="connsiteY25" fmla="*/ 7500 h 63199"/>
                <a:gd name="connsiteX26" fmla="*/ 42665 w 69549"/>
                <a:gd name="connsiteY26" fmla="*/ 7536 h 63199"/>
                <a:gd name="connsiteX27" fmla="*/ 43775 w 69549"/>
                <a:gd name="connsiteY27" fmla="*/ 8041 h 63199"/>
                <a:gd name="connsiteX28" fmla="*/ 44330 w 69549"/>
                <a:gd name="connsiteY28" fmla="*/ 9032 h 63199"/>
                <a:gd name="connsiteX29" fmla="*/ 46094 w 69549"/>
                <a:gd name="connsiteY29" fmla="*/ 10380 h 63199"/>
                <a:gd name="connsiteX30" fmla="*/ 47498 w 69549"/>
                <a:gd name="connsiteY30" fmla="*/ 11689 h 63199"/>
                <a:gd name="connsiteX31" fmla="*/ 47584 w 69549"/>
                <a:gd name="connsiteY31" fmla="*/ 12140 h 63199"/>
                <a:gd name="connsiteX32" fmla="*/ 47318 w 69549"/>
                <a:gd name="connsiteY32" fmla="*/ 12803 h 63199"/>
                <a:gd name="connsiteX33" fmla="*/ 43382 w 69549"/>
                <a:gd name="connsiteY33" fmla="*/ 15359 h 63199"/>
                <a:gd name="connsiteX34" fmla="*/ 42885 w 69549"/>
                <a:gd name="connsiteY34" fmla="*/ 16239 h 63199"/>
                <a:gd name="connsiteX35" fmla="*/ 42825 w 69549"/>
                <a:gd name="connsiteY35" fmla="*/ 17170 h 63199"/>
                <a:gd name="connsiteX36" fmla="*/ 44555 w 69549"/>
                <a:gd name="connsiteY36" fmla="*/ 19940 h 63199"/>
                <a:gd name="connsiteX37" fmla="*/ 47100 w 69549"/>
                <a:gd name="connsiteY37" fmla="*/ 22965 h 63199"/>
                <a:gd name="connsiteX38" fmla="*/ 50776 w 69549"/>
                <a:gd name="connsiteY38" fmla="*/ 25260 h 63199"/>
                <a:gd name="connsiteX39" fmla="*/ 55837 w 69549"/>
                <a:gd name="connsiteY39" fmla="*/ 27752 h 63199"/>
                <a:gd name="connsiteX40" fmla="*/ 55902 w 69549"/>
                <a:gd name="connsiteY40" fmla="*/ 29293 h 63199"/>
                <a:gd name="connsiteX41" fmla="*/ 55099 w 69549"/>
                <a:gd name="connsiteY41" fmla="*/ 31123 h 63199"/>
                <a:gd name="connsiteX42" fmla="*/ 54410 w 69549"/>
                <a:gd name="connsiteY42" fmla="*/ 32365 h 63199"/>
                <a:gd name="connsiteX43" fmla="*/ 54097 w 69549"/>
                <a:gd name="connsiteY43" fmla="*/ 33206 h 63199"/>
                <a:gd name="connsiteX44" fmla="*/ 53481 w 69549"/>
                <a:gd name="connsiteY44" fmla="*/ 33560 h 63199"/>
                <a:gd name="connsiteX45" fmla="*/ 48441 w 69549"/>
                <a:gd name="connsiteY45" fmla="*/ 33483 h 63199"/>
                <a:gd name="connsiteX46" fmla="*/ 47686 w 69549"/>
                <a:gd name="connsiteY46" fmla="*/ 33780 h 63199"/>
                <a:gd name="connsiteX47" fmla="*/ 47353 w 69549"/>
                <a:gd name="connsiteY47" fmla="*/ 34140 h 63199"/>
                <a:gd name="connsiteX48" fmla="*/ 47327 w 69549"/>
                <a:gd name="connsiteY48" fmla="*/ 34440 h 63199"/>
                <a:gd name="connsiteX49" fmla="*/ 49141 w 69549"/>
                <a:gd name="connsiteY49" fmla="*/ 34996 h 63199"/>
                <a:gd name="connsiteX50" fmla="*/ 51968 w 69549"/>
                <a:gd name="connsiteY50" fmla="*/ 36952 h 63199"/>
                <a:gd name="connsiteX51" fmla="*/ 53594 w 69549"/>
                <a:gd name="connsiteY51" fmla="*/ 38847 h 63199"/>
                <a:gd name="connsiteX52" fmla="*/ 55291 w 69549"/>
                <a:gd name="connsiteY52" fmla="*/ 39674 h 63199"/>
                <a:gd name="connsiteX53" fmla="*/ 57191 w 69549"/>
                <a:gd name="connsiteY53" fmla="*/ 41183 h 63199"/>
                <a:gd name="connsiteX54" fmla="*/ 58716 w 69549"/>
                <a:gd name="connsiteY54" fmla="*/ 42590 h 63199"/>
                <a:gd name="connsiteX55" fmla="*/ 61087 w 69549"/>
                <a:gd name="connsiteY55" fmla="*/ 44409 h 63199"/>
                <a:gd name="connsiteX56" fmla="*/ 63732 w 69549"/>
                <a:gd name="connsiteY56" fmla="*/ 43812 h 63199"/>
                <a:gd name="connsiteX57" fmla="*/ 67265 w 69549"/>
                <a:gd name="connsiteY57" fmla="*/ 45430 h 63199"/>
                <a:gd name="connsiteX58" fmla="*/ 67412 w 69549"/>
                <a:gd name="connsiteY58" fmla="*/ 46529 h 63199"/>
                <a:gd name="connsiteX59" fmla="*/ 67191 w 69549"/>
                <a:gd name="connsiteY59" fmla="*/ 47509 h 63199"/>
                <a:gd name="connsiteX60" fmla="*/ 64969 w 69549"/>
                <a:gd name="connsiteY60" fmla="*/ 48579 h 63199"/>
                <a:gd name="connsiteX61" fmla="*/ 64693 w 69549"/>
                <a:gd name="connsiteY61" fmla="*/ 49022 h 63199"/>
                <a:gd name="connsiteX62" fmla="*/ 64695 w 69549"/>
                <a:gd name="connsiteY62" fmla="*/ 49393 h 63199"/>
                <a:gd name="connsiteX63" fmla="*/ 64987 w 69549"/>
                <a:gd name="connsiteY63" fmla="*/ 49917 h 63199"/>
                <a:gd name="connsiteX64" fmla="*/ 66289 w 69549"/>
                <a:gd name="connsiteY64" fmla="*/ 50792 h 63199"/>
                <a:gd name="connsiteX65" fmla="*/ 67822 w 69549"/>
                <a:gd name="connsiteY65" fmla="*/ 52089 h 63199"/>
                <a:gd name="connsiteX66" fmla="*/ 69549 w 69549"/>
                <a:gd name="connsiteY66" fmla="*/ 54028 h 63199"/>
                <a:gd name="connsiteX67" fmla="*/ 68781 w 69549"/>
                <a:gd name="connsiteY67" fmla="*/ 54604 h 63199"/>
                <a:gd name="connsiteX68" fmla="*/ 67170 w 69549"/>
                <a:gd name="connsiteY68" fmla="*/ 54688 h 63199"/>
                <a:gd name="connsiteX69" fmla="*/ 65913 w 69549"/>
                <a:gd name="connsiteY69" fmla="*/ 54450 h 63199"/>
                <a:gd name="connsiteX70" fmla="*/ 65470 w 69549"/>
                <a:gd name="connsiteY70" fmla="*/ 54843 h 63199"/>
                <a:gd name="connsiteX71" fmla="*/ 65496 w 69549"/>
                <a:gd name="connsiteY71" fmla="*/ 55478 h 63199"/>
                <a:gd name="connsiteX72" fmla="*/ 67131 w 69549"/>
                <a:gd name="connsiteY72" fmla="*/ 56948 h 63199"/>
                <a:gd name="connsiteX73" fmla="*/ 67451 w 69549"/>
                <a:gd name="connsiteY73" fmla="*/ 58020 h 63199"/>
                <a:gd name="connsiteX74" fmla="*/ 67382 w 69549"/>
                <a:gd name="connsiteY74" fmla="*/ 59881 h 63199"/>
                <a:gd name="connsiteX75" fmla="*/ 67468 w 69549"/>
                <a:gd name="connsiteY75" fmla="*/ 62227 h 63199"/>
                <a:gd name="connsiteX76" fmla="*/ 63646 w 69549"/>
                <a:gd name="connsiteY76" fmla="*/ 62073 h 63199"/>
                <a:gd name="connsiteX77" fmla="*/ 60381 w 69549"/>
                <a:gd name="connsiteY77" fmla="*/ 63199 h 63199"/>
                <a:gd name="connsiteX78" fmla="*/ 59150 w 69549"/>
                <a:gd name="connsiteY78" fmla="*/ 62974 h 63199"/>
                <a:gd name="connsiteX79" fmla="*/ 58331 w 69549"/>
                <a:gd name="connsiteY79" fmla="*/ 60982 h 63199"/>
                <a:gd name="connsiteX80" fmla="*/ 57634 w 69549"/>
                <a:gd name="connsiteY80" fmla="*/ 59363 h 63199"/>
                <a:gd name="connsiteX81" fmla="*/ 55554 w 69549"/>
                <a:gd name="connsiteY81" fmla="*/ 55208 h 63199"/>
                <a:gd name="connsiteX82" fmla="*/ 56120 w 69549"/>
                <a:gd name="connsiteY82" fmla="*/ 53504 h 63199"/>
                <a:gd name="connsiteX83" fmla="*/ 54961 w 69549"/>
                <a:gd name="connsiteY83" fmla="*/ 52519 h 63199"/>
                <a:gd name="connsiteX84" fmla="*/ 52167 w 69549"/>
                <a:gd name="connsiteY84" fmla="*/ 50749 h 63199"/>
                <a:gd name="connsiteX85" fmla="*/ 51452 w 69549"/>
                <a:gd name="connsiteY85" fmla="*/ 50016 h 63199"/>
                <a:gd name="connsiteX86" fmla="*/ 51847 w 69549"/>
                <a:gd name="connsiteY86" fmla="*/ 49010 h 63199"/>
                <a:gd name="connsiteX87" fmla="*/ 52119 w 69549"/>
                <a:gd name="connsiteY87" fmla="*/ 47171 h 63199"/>
                <a:gd name="connsiteX88" fmla="*/ 51853 w 69549"/>
                <a:gd name="connsiteY88" fmla="*/ 45678 h 63199"/>
                <a:gd name="connsiteX89" fmla="*/ 51102 w 69549"/>
                <a:gd name="connsiteY89" fmla="*/ 45228 h 63199"/>
                <a:gd name="connsiteX90" fmla="*/ 49707 w 69549"/>
                <a:gd name="connsiteY90" fmla="*/ 45199 h 63199"/>
                <a:gd name="connsiteX91" fmla="*/ 48012 w 69549"/>
                <a:gd name="connsiteY91" fmla="*/ 45569 h 63199"/>
                <a:gd name="connsiteX92" fmla="*/ 44609 w 69549"/>
                <a:gd name="connsiteY92" fmla="*/ 47006 h 63199"/>
                <a:gd name="connsiteX93" fmla="*/ 42244 w 69549"/>
                <a:gd name="connsiteY93" fmla="*/ 46087 h 63199"/>
                <a:gd name="connsiteX94" fmla="*/ 40881 w 69549"/>
                <a:gd name="connsiteY94" fmla="*/ 45160 h 63199"/>
                <a:gd name="connsiteX95" fmla="*/ 40091 w 69549"/>
                <a:gd name="connsiteY95" fmla="*/ 44383 h 63199"/>
                <a:gd name="connsiteX96" fmla="*/ 38323 w 69549"/>
                <a:gd name="connsiteY96" fmla="*/ 45029 h 63199"/>
                <a:gd name="connsiteX97" fmla="*/ 37887 w 69549"/>
                <a:gd name="connsiteY97" fmla="*/ 44716 h 63199"/>
                <a:gd name="connsiteX98" fmla="*/ 37793 w 69549"/>
                <a:gd name="connsiteY98" fmla="*/ 42795 h 63199"/>
                <a:gd name="connsiteX99" fmla="*/ 37263 w 69549"/>
                <a:gd name="connsiteY99" fmla="*/ 41761 h 63199"/>
                <a:gd name="connsiteX100" fmla="*/ 36198 w 69549"/>
                <a:gd name="connsiteY100" fmla="*/ 40552 h 63199"/>
                <a:gd name="connsiteX101" fmla="*/ 35206 w 69549"/>
                <a:gd name="connsiteY101" fmla="*/ 39971 h 63199"/>
                <a:gd name="connsiteX102" fmla="*/ 31570 w 69549"/>
                <a:gd name="connsiteY102" fmla="*/ 41168 h 63199"/>
                <a:gd name="connsiteX103" fmla="*/ 29383 w 69549"/>
                <a:gd name="connsiteY103" fmla="*/ 41574 h 63199"/>
                <a:gd name="connsiteX104" fmla="*/ 28620 w 69549"/>
                <a:gd name="connsiteY104" fmla="*/ 40457 h 63199"/>
                <a:gd name="connsiteX105" fmla="*/ 24788 w 69549"/>
                <a:gd name="connsiteY105" fmla="*/ 36783 h 63199"/>
                <a:gd name="connsiteX106" fmla="*/ 21231 w 69549"/>
                <a:gd name="connsiteY106" fmla="*/ 33965 h 63199"/>
                <a:gd name="connsiteX107" fmla="*/ 18791 w 69549"/>
                <a:gd name="connsiteY107" fmla="*/ 32801 h 63199"/>
                <a:gd name="connsiteX108" fmla="*/ 16332 w 69549"/>
                <a:gd name="connsiteY108" fmla="*/ 32922 h 63199"/>
                <a:gd name="connsiteX109" fmla="*/ 12514 w 69549"/>
                <a:gd name="connsiteY109" fmla="*/ 33486 h 63199"/>
                <a:gd name="connsiteX110" fmla="*/ 11112 w 69549"/>
                <a:gd name="connsiteY110" fmla="*/ 33250 h 63199"/>
                <a:gd name="connsiteX111" fmla="*/ 7789 w 69549"/>
                <a:gd name="connsiteY111" fmla="*/ 32021 h 63199"/>
                <a:gd name="connsiteX112" fmla="*/ 5014 w 69549"/>
                <a:gd name="connsiteY112" fmla="*/ 30557 h 63199"/>
                <a:gd name="connsiteX113" fmla="*/ 5392 w 69549"/>
                <a:gd name="connsiteY113" fmla="*/ 29949 h 63199"/>
                <a:gd name="connsiteX114" fmla="*/ 5979 w 69549"/>
                <a:gd name="connsiteY114" fmla="*/ 29509 h 63199"/>
                <a:gd name="connsiteX115" fmla="*/ 5278 w 69549"/>
                <a:gd name="connsiteY115" fmla="*/ 27607 h 63199"/>
                <a:gd name="connsiteX116" fmla="*/ 3736 w 69549"/>
                <a:gd name="connsiteY116" fmla="*/ 24541 h 63199"/>
                <a:gd name="connsiteX117" fmla="*/ 3900 w 69549"/>
                <a:gd name="connsiteY117" fmla="*/ 23581 h 63199"/>
                <a:gd name="connsiteX118" fmla="*/ 3412 w 69549"/>
                <a:gd name="connsiteY118" fmla="*/ 22253 h 63199"/>
                <a:gd name="connsiteX119" fmla="*/ 2872 w 69549"/>
                <a:gd name="connsiteY119" fmla="*/ 21250 h 63199"/>
                <a:gd name="connsiteX120" fmla="*/ 5051 w 69549"/>
                <a:gd name="connsiteY120" fmla="*/ 18848 h 63199"/>
                <a:gd name="connsiteX121" fmla="*/ 6046 w 69549"/>
                <a:gd name="connsiteY121" fmla="*/ 16916 h 63199"/>
                <a:gd name="connsiteX122" fmla="*/ 6262 w 69549"/>
                <a:gd name="connsiteY122" fmla="*/ 15033 h 63199"/>
                <a:gd name="connsiteX123" fmla="*/ 5683 w 69549"/>
                <a:gd name="connsiteY123" fmla="*/ 13075 h 63199"/>
                <a:gd name="connsiteX124" fmla="*/ 4250 w 69549"/>
                <a:gd name="connsiteY124" fmla="*/ 9531 h 63199"/>
                <a:gd name="connsiteX125" fmla="*/ 3367 w 69549"/>
                <a:gd name="connsiteY125" fmla="*/ 8501 h 63199"/>
                <a:gd name="connsiteX126" fmla="*/ 1725 w 69549"/>
                <a:gd name="connsiteY126" fmla="*/ 7537 h 63199"/>
                <a:gd name="connsiteX127" fmla="*/ 350 w 69549"/>
                <a:gd name="connsiteY127" fmla="*/ 5962 h 63199"/>
                <a:gd name="connsiteX128" fmla="*/ 0 w 69549"/>
                <a:gd name="connsiteY128" fmla="*/ 4845 h 63199"/>
                <a:gd name="connsiteX129" fmla="*/ 1162 w 69549"/>
                <a:gd name="connsiteY129" fmla="*/ 4624 h 63199"/>
                <a:gd name="connsiteX130" fmla="*/ 4546 w 69549"/>
                <a:gd name="connsiteY130" fmla="*/ 4594 h 63199"/>
                <a:gd name="connsiteX131" fmla="*/ 7821 w 69549"/>
                <a:gd name="connsiteY131" fmla="*/ 4214 h 63199"/>
                <a:gd name="connsiteX132" fmla="*/ 10387 w 69549"/>
                <a:gd name="connsiteY132" fmla="*/ 3479 h 63199"/>
                <a:gd name="connsiteX133" fmla="*/ 14103 w 69549"/>
                <a:gd name="connsiteY133" fmla="*/ 2859 h 63199"/>
                <a:gd name="connsiteX134" fmla="*/ 15634 w 69549"/>
                <a:gd name="connsiteY134" fmla="*/ 2310 h 63199"/>
                <a:gd name="connsiteX135" fmla="*/ 17422 w 69549"/>
                <a:gd name="connsiteY135" fmla="*/ 2047 h 63199"/>
                <a:gd name="connsiteX136" fmla="*/ 22855 w 69549"/>
                <a:gd name="connsiteY136" fmla="*/ 2635 h 63199"/>
                <a:gd name="connsiteX137" fmla="*/ 24885 w 69549"/>
                <a:gd name="connsiteY137" fmla="*/ 2182 h 63199"/>
                <a:gd name="connsiteX138" fmla="*/ 31000 w 69549"/>
                <a:gd name="connsiteY138" fmla="*/ 2099 h 63199"/>
                <a:gd name="connsiteX139" fmla="*/ 31158 w 69549"/>
                <a:gd name="connsiteY139" fmla="*/ 1867 h 63199"/>
                <a:gd name="connsiteX140" fmla="*/ 30327 w 69549"/>
                <a:gd name="connsiteY140" fmla="*/ 1118 h 63199"/>
                <a:gd name="connsiteX141" fmla="*/ 30335 w 69549"/>
                <a:gd name="connsiteY141" fmla="*/ 833 h 63199"/>
                <a:gd name="connsiteX142" fmla="*/ 33974 w 69549"/>
                <a:gd name="connsiteY142" fmla="*/ 356 h 63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</a:cxnLst>
              <a:rect l="l" t="t" r="r" b="b"/>
              <a:pathLst>
                <a:path w="69549" h="63199">
                  <a:moveTo>
                    <a:pt x="45662" y="16468"/>
                  </a:moveTo>
                  <a:lnTo>
                    <a:pt x="46319" y="16490"/>
                  </a:lnTo>
                  <a:lnTo>
                    <a:pt x="46941" y="16879"/>
                  </a:lnTo>
                  <a:lnTo>
                    <a:pt x="46720" y="17747"/>
                  </a:lnTo>
                  <a:lnTo>
                    <a:pt x="45881" y="18180"/>
                  </a:lnTo>
                  <a:lnTo>
                    <a:pt x="45095" y="17985"/>
                  </a:lnTo>
                  <a:lnTo>
                    <a:pt x="45095" y="16901"/>
                  </a:lnTo>
                  <a:close/>
                  <a:moveTo>
                    <a:pt x="34382" y="5412"/>
                  </a:moveTo>
                  <a:lnTo>
                    <a:pt x="33654" y="5579"/>
                  </a:lnTo>
                  <a:lnTo>
                    <a:pt x="33598" y="6279"/>
                  </a:lnTo>
                  <a:lnTo>
                    <a:pt x="33822" y="6947"/>
                  </a:lnTo>
                  <a:lnTo>
                    <a:pt x="34552" y="7248"/>
                  </a:lnTo>
                  <a:lnTo>
                    <a:pt x="35030" y="6947"/>
                  </a:lnTo>
                  <a:lnTo>
                    <a:pt x="35142" y="6248"/>
                  </a:lnTo>
                  <a:lnTo>
                    <a:pt x="34974" y="5612"/>
                  </a:lnTo>
                  <a:close/>
                  <a:moveTo>
                    <a:pt x="34537" y="0"/>
                  </a:moveTo>
                  <a:lnTo>
                    <a:pt x="35015" y="1194"/>
                  </a:lnTo>
                  <a:lnTo>
                    <a:pt x="36381" y="2518"/>
                  </a:lnTo>
                  <a:lnTo>
                    <a:pt x="37876" y="3053"/>
                  </a:lnTo>
                  <a:lnTo>
                    <a:pt x="38677" y="3784"/>
                  </a:lnTo>
                  <a:lnTo>
                    <a:pt x="38714" y="4338"/>
                  </a:lnTo>
                  <a:lnTo>
                    <a:pt x="36070" y="5011"/>
                  </a:lnTo>
                  <a:lnTo>
                    <a:pt x="35891" y="5345"/>
                  </a:lnTo>
                  <a:lnTo>
                    <a:pt x="36066" y="5675"/>
                  </a:lnTo>
                  <a:lnTo>
                    <a:pt x="36852" y="5840"/>
                  </a:lnTo>
                  <a:lnTo>
                    <a:pt x="40553" y="7500"/>
                  </a:lnTo>
                  <a:lnTo>
                    <a:pt x="42665" y="7536"/>
                  </a:lnTo>
                  <a:lnTo>
                    <a:pt x="43775" y="8041"/>
                  </a:lnTo>
                  <a:lnTo>
                    <a:pt x="44330" y="9032"/>
                  </a:lnTo>
                  <a:lnTo>
                    <a:pt x="46094" y="10380"/>
                  </a:lnTo>
                  <a:lnTo>
                    <a:pt x="47498" y="11689"/>
                  </a:lnTo>
                  <a:lnTo>
                    <a:pt x="47584" y="12140"/>
                  </a:lnTo>
                  <a:lnTo>
                    <a:pt x="47318" y="12803"/>
                  </a:lnTo>
                  <a:lnTo>
                    <a:pt x="43382" y="15359"/>
                  </a:lnTo>
                  <a:lnTo>
                    <a:pt x="42885" y="16239"/>
                  </a:lnTo>
                  <a:lnTo>
                    <a:pt x="42825" y="17170"/>
                  </a:lnTo>
                  <a:lnTo>
                    <a:pt x="44555" y="19940"/>
                  </a:lnTo>
                  <a:lnTo>
                    <a:pt x="47100" y="22965"/>
                  </a:lnTo>
                  <a:lnTo>
                    <a:pt x="50776" y="25260"/>
                  </a:lnTo>
                  <a:lnTo>
                    <a:pt x="55837" y="27752"/>
                  </a:lnTo>
                  <a:lnTo>
                    <a:pt x="55902" y="29293"/>
                  </a:lnTo>
                  <a:lnTo>
                    <a:pt x="55099" y="31123"/>
                  </a:lnTo>
                  <a:lnTo>
                    <a:pt x="54410" y="32365"/>
                  </a:lnTo>
                  <a:lnTo>
                    <a:pt x="54097" y="33206"/>
                  </a:lnTo>
                  <a:lnTo>
                    <a:pt x="53481" y="33560"/>
                  </a:lnTo>
                  <a:lnTo>
                    <a:pt x="48441" y="33483"/>
                  </a:lnTo>
                  <a:lnTo>
                    <a:pt x="47686" y="33780"/>
                  </a:lnTo>
                  <a:lnTo>
                    <a:pt x="47353" y="34140"/>
                  </a:lnTo>
                  <a:lnTo>
                    <a:pt x="47327" y="34440"/>
                  </a:lnTo>
                  <a:lnTo>
                    <a:pt x="49141" y="34996"/>
                  </a:lnTo>
                  <a:lnTo>
                    <a:pt x="51968" y="36952"/>
                  </a:lnTo>
                  <a:lnTo>
                    <a:pt x="53594" y="38847"/>
                  </a:lnTo>
                  <a:lnTo>
                    <a:pt x="55291" y="39674"/>
                  </a:lnTo>
                  <a:lnTo>
                    <a:pt x="57191" y="41183"/>
                  </a:lnTo>
                  <a:lnTo>
                    <a:pt x="58716" y="42590"/>
                  </a:lnTo>
                  <a:lnTo>
                    <a:pt x="61087" y="44409"/>
                  </a:lnTo>
                  <a:lnTo>
                    <a:pt x="63732" y="43812"/>
                  </a:lnTo>
                  <a:lnTo>
                    <a:pt x="67265" y="45430"/>
                  </a:lnTo>
                  <a:lnTo>
                    <a:pt x="67412" y="46529"/>
                  </a:lnTo>
                  <a:lnTo>
                    <a:pt x="67191" y="47509"/>
                  </a:lnTo>
                  <a:lnTo>
                    <a:pt x="64969" y="48579"/>
                  </a:lnTo>
                  <a:lnTo>
                    <a:pt x="64693" y="49022"/>
                  </a:lnTo>
                  <a:lnTo>
                    <a:pt x="64695" y="49393"/>
                  </a:lnTo>
                  <a:lnTo>
                    <a:pt x="64987" y="49917"/>
                  </a:lnTo>
                  <a:lnTo>
                    <a:pt x="66289" y="50792"/>
                  </a:lnTo>
                  <a:lnTo>
                    <a:pt x="67822" y="52089"/>
                  </a:lnTo>
                  <a:lnTo>
                    <a:pt x="69549" y="54028"/>
                  </a:lnTo>
                  <a:lnTo>
                    <a:pt x="68781" y="54604"/>
                  </a:lnTo>
                  <a:lnTo>
                    <a:pt x="67170" y="54688"/>
                  </a:lnTo>
                  <a:lnTo>
                    <a:pt x="65913" y="54450"/>
                  </a:lnTo>
                  <a:lnTo>
                    <a:pt x="65470" y="54843"/>
                  </a:lnTo>
                  <a:lnTo>
                    <a:pt x="65496" y="55478"/>
                  </a:lnTo>
                  <a:lnTo>
                    <a:pt x="67131" y="56948"/>
                  </a:lnTo>
                  <a:lnTo>
                    <a:pt x="67451" y="58020"/>
                  </a:lnTo>
                  <a:lnTo>
                    <a:pt x="67382" y="59881"/>
                  </a:lnTo>
                  <a:lnTo>
                    <a:pt x="67468" y="62227"/>
                  </a:lnTo>
                  <a:lnTo>
                    <a:pt x="63646" y="62073"/>
                  </a:lnTo>
                  <a:lnTo>
                    <a:pt x="60381" y="63199"/>
                  </a:lnTo>
                  <a:lnTo>
                    <a:pt x="59150" y="62974"/>
                  </a:lnTo>
                  <a:lnTo>
                    <a:pt x="58331" y="60982"/>
                  </a:lnTo>
                  <a:lnTo>
                    <a:pt x="57634" y="59363"/>
                  </a:lnTo>
                  <a:lnTo>
                    <a:pt x="55554" y="55208"/>
                  </a:lnTo>
                  <a:lnTo>
                    <a:pt x="56120" y="53504"/>
                  </a:lnTo>
                  <a:lnTo>
                    <a:pt x="54961" y="52519"/>
                  </a:lnTo>
                  <a:lnTo>
                    <a:pt x="52167" y="50749"/>
                  </a:lnTo>
                  <a:lnTo>
                    <a:pt x="51452" y="50016"/>
                  </a:lnTo>
                  <a:lnTo>
                    <a:pt x="51847" y="49010"/>
                  </a:lnTo>
                  <a:lnTo>
                    <a:pt x="52119" y="47171"/>
                  </a:lnTo>
                  <a:lnTo>
                    <a:pt x="51853" y="45678"/>
                  </a:lnTo>
                  <a:lnTo>
                    <a:pt x="51102" y="45228"/>
                  </a:lnTo>
                  <a:lnTo>
                    <a:pt x="49707" y="45199"/>
                  </a:lnTo>
                  <a:lnTo>
                    <a:pt x="48012" y="45569"/>
                  </a:lnTo>
                  <a:lnTo>
                    <a:pt x="44609" y="47006"/>
                  </a:lnTo>
                  <a:lnTo>
                    <a:pt x="42244" y="46087"/>
                  </a:lnTo>
                  <a:lnTo>
                    <a:pt x="40881" y="45160"/>
                  </a:lnTo>
                  <a:lnTo>
                    <a:pt x="40091" y="44383"/>
                  </a:lnTo>
                  <a:lnTo>
                    <a:pt x="38323" y="45029"/>
                  </a:lnTo>
                  <a:lnTo>
                    <a:pt x="37887" y="44716"/>
                  </a:lnTo>
                  <a:lnTo>
                    <a:pt x="37793" y="42795"/>
                  </a:lnTo>
                  <a:lnTo>
                    <a:pt x="37263" y="41761"/>
                  </a:lnTo>
                  <a:lnTo>
                    <a:pt x="36198" y="40552"/>
                  </a:lnTo>
                  <a:lnTo>
                    <a:pt x="35206" y="39971"/>
                  </a:lnTo>
                  <a:lnTo>
                    <a:pt x="31570" y="41168"/>
                  </a:lnTo>
                  <a:lnTo>
                    <a:pt x="29383" y="41574"/>
                  </a:lnTo>
                  <a:lnTo>
                    <a:pt x="28620" y="40457"/>
                  </a:lnTo>
                  <a:lnTo>
                    <a:pt x="24788" y="36783"/>
                  </a:lnTo>
                  <a:lnTo>
                    <a:pt x="21231" y="33965"/>
                  </a:lnTo>
                  <a:lnTo>
                    <a:pt x="18791" y="32801"/>
                  </a:lnTo>
                  <a:lnTo>
                    <a:pt x="16332" y="32922"/>
                  </a:lnTo>
                  <a:lnTo>
                    <a:pt x="12514" y="33486"/>
                  </a:lnTo>
                  <a:lnTo>
                    <a:pt x="11112" y="33250"/>
                  </a:lnTo>
                  <a:lnTo>
                    <a:pt x="7789" y="32021"/>
                  </a:lnTo>
                  <a:lnTo>
                    <a:pt x="5014" y="30557"/>
                  </a:lnTo>
                  <a:lnTo>
                    <a:pt x="5392" y="29949"/>
                  </a:lnTo>
                  <a:lnTo>
                    <a:pt x="5979" y="29509"/>
                  </a:lnTo>
                  <a:lnTo>
                    <a:pt x="5278" y="27607"/>
                  </a:lnTo>
                  <a:lnTo>
                    <a:pt x="3736" y="24541"/>
                  </a:lnTo>
                  <a:lnTo>
                    <a:pt x="3900" y="23581"/>
                  </a:lnTo>
                  <a:lnTo>
                    <a:pt x="3412" y="22253"/>
                  </a:lnTo>
                  <a:lnTo>
                    <a:pt x="2872" y="21250"/>
                  </a:lnTo>
                  <a:lnTo>
                    <a:pt x="5051" y="18848"/>
                  </a:lnTo>
                  <a:lnTo>
                    <a:pt x="6046" y="16916"/>
                  </a:lnTo>
                  <a:lnTo>
                    <a:pt x="6262" y="15033"/>
                  </a:lnTo>
                  <a:lnTo>
                    <a:pt x="5683" y="13075"/>
                  </a:lnTo>
                  <a:lnTo>
                    <a:pt x="4250" y="9531"/>
                  </a:lnTo>
                  <a:lnTo>
                    <a:pt x="3367" y="8501"/>
                  </a:lnTo>
                  <a:lnTo>
                    <a:pt x="1725" y="7537"/>
                  </a:lnTo>
                  <a:lnTo>
                    <a:pt x="350" y="5962"/>
                  </a:lnTo>
                  <a:lnTo>
                    <a:pt x="0" y="4845"/>
                  </a:lnTo>
                  <a:lnTo>
                    <a:pt x="1162" y="4624"/>
                  </a:lnTo>
                  <a:lnTo>
                    <a:pt x="4546" y="4594"/>
                  </a:lnTo>
                  <a:lnTo>
                    <a:pt x="7821" y="4214"/>
                  </a:lnTo>
                  <a:lnTo>
                    <a:pt x="10387" y="3479"/>
                  </a:lnTo>
                  <a:lnTo>
                    <a:pt x="14103" y="2859"/>
                  </a:lnTo>
                  <a:lnTo>
                    <a:pt x="15634" y="2310"/>
                  </a:lnTo>
                  <a:lnTo>
                    <a:pt x="17422" y="2047"/>
                  </a:lnTo>
                  <a:lnTo>
                    <a:pt x="22855" y="2635"/>
                  </a:lnTo>
                  <a:lnTo>
                    <a:pt x="24885" y="2182"/>
                  </a:lnTo>
                  <a:lnTo>
                    <a:pt x="31000" y="2099"/>
                  </a:lnTo>
                  <a:lnTo>
                    <a:pt x="31158" y="1867"/>
                  </a:lnTo>
                  <a:lnTo>
                    <a:pt x="30327" y="1118"/>
                  </a:lnTo>
                  <a:lnTo>
                    <a:pt x="30335" y="833"/>
                  </a:lnTo>
                  <a:lnTo>
                    <a:pt x="33974" y="356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65" name="ee4p_AZ_1_37365">
              <a:extLst>
                <a:ext uri="{FF2B5EF4-FFF2-40B4-BE49-F238E27FC236}">
                  <a16:creationId xmlns:a16="http://schemas.microsoft.com/office/drawing/2014/main" id="{B9DCA344-AF2E-C3E8-A7B2-20394715930F}"/>
                </a:ext>
              </a:extLst>
            </p:cNvPr>
            <p:cNvSpPr>
              <a:spLocks noChangeAspect="1"/>
            </p:cNvSpPr>
            <p:nvPr>
              <p:custDataLst>
                <p:tags r:id="rId219"/>
              </p:custDataLst>
            </p:nvPr>
          </p:nvSpPr>
          <p:spPr>
            <a:xfrm>
              <a:off x="7757885" y="3406211"/>
              <a:ext cx="155443" cy="117637"/>
            </a:xfrm>
            <a:custGeom>
              <a:avLst/>
              <a:gdLst>
                <a:gd name="connsiteX0" fmla="*/ 5823 w 123776"/>
                <a:gd name="connsiteY0" fmla="*/ 55840 h 91189"/>
                <a:gd name="connsiteX1" fmla="*/ 6815 w 123776"/>
                <a:gd name="connsiteY1" fmla="*/ 56421 h 91189"/>
                <a:gd name="connsiteX2" fmla="*/ 7880 w 123776"/>
                <a:gd name="connsiteY2" fmla="*/ 57630 h 91189"/>
                <a:gd name="connsiteX3" fmla="*/ 8410 w 123776"/>
                <a:gd name="connsiteY3" fmla="*/ 58664 h 91189"/>
                <a:gd name="connsiteX4" fmla="*/ 8504 w 123776"/>
                <a:gd name="connsiteY4" fmla="*/ 60585 h 91189"/>
                <a:gd name="connsiteX5" fmla="*/ 8940 w 123776"/>
                <a:gd name="connsiteY5" fmla="*/ 60898 h 91189"/>
                <a:gd name="connsiteX6" fmla="*/ 10708 w 123776"/>
                <a:gd name="connsiteY6" fmla="*/ 60252 h 91189"/>
                <a:gd name="connsiteX7" fmla="*/ 11498 w 123776"/>
                <a:gd name="connsiteY7" fmla="*/ 61029 h 91189"/>
                <a:gd name="connsiteX8" fmla="*/ 12861 w 123776"/>
                <a:gd name="connsiteY8" fmla="*/ 61956 h 91189"/>
                <a:gd name="connsiteX9" fmla="*/ 15226 w 123776"/>
                <a:gd name="connsiteY9" fmla="*/ 62875 h 91189"/>
                <a:gd name="connsiteX10" fmla="*/ 18629 w 123776"/>
                <a:gd name="connsiteY10" fmla="*/ 61438 h 91189"/>
                <a:gd name="connsiteX11" fmla="*/ 20324 w 123776"/>
                <a:gd name="connsiteY11" fmla="*/ 61068 h 91189"/>
                <a:gd name="connsiteX12" fmla="*/ 21719 w 123776"/>
                <a:gd name="connsiteY12" fmla="*/ 61097 h 91189"/>
                <a:gd name="connsiteX13" fmla="*/ 22470 w 123776"/>
                <a:gd name="connsiteY13" fmla="*/ 61547 h 91189"/>
                <a:gd name="connsiteX14" fmla="*/ 22736 w 123776"/>
                <a:gd name="connsiteY14" fmla="*/ 63040 h 91189"/>
                <a:gd name="connsiteX15" fmla="*/ 22464 w 123776"/>
                <a:gd name="connsiteY15" fmla="*/ 64879 h 91189"/>
                <a:gd name="connsiteX16" fmla="*/ 22069 w 123776"/>
                <a:gd name="connsiteY16" fmla="*/ 65885 h 91189"/>
                <a:gd name="connsiteX17" fmla="*/ 22784 w 123776"/>
                <a:gd name="connsiteY17" fmla="*/ 66618 h 91189"/>
                <a:gd name="connsiteX18" fmla="*/ 25578 w 123776"/>
                <a:gd name="connsiteY18" fmla="*/ 68388 h 91189"/>
                <a:gd name="connsiteX19" fmla="*/ 26737 w 123776"/>
                <a:gd name="connsiteY19" fmla="*/ 69373 h 91189"/>
                <a:gd name="connsiteX20" fmla="*/ 26171 w 123776"/>
                <a:gd name="connsiteY20" fmla="*/ 71077 h 91189"/>
                <a:gd name="connsiteX21" fmla="*/ 28251 w 123776"/>
                <a:gd name="connsiteY21" fmla="*/ 75232 h 91189"/>
                <a:gd name="connsiteX22" fmla="*/ 28948 w 123776"/>
                <a:gd name="connsiteY22" fmla="*/ 76851 h 91189"/>
                <a:gd name="connsiteX23" fmla="*/ 29767 w 123776"/>
                <a:gd name="connsiteY23" fmla="*/ 78843 h 91189"/>
                <a:gd name="connsiteX24" fmla="*/ 25509 w 123776"/>
                <a:gd name="connsiteY24" fmla="*/ 78064 h 91189"/>
                <a:gd name="connsiteX25" fmla="*/ 17839 w 123776"/>
                <a:gd name="connsiteY25" fmla="*/ 76388 h 91189"/>
                <a:gd name="connsiteX26" fmla="*/ 15731 w 123776"/>
                <a:gd name="connsiteY26" fmla="*/ 75523 h 91189"/>
                <a:gd name="connsiteX27" fmla="*/ 13731 w 123776"/>
                <a:gd name="connsiteY27" fmla="*/ 73205 h 91189"/>
                <a:gd name="connsiteX28" fmla="*/ 12544 w 123776"/>
                <a:gd name="connsiteY28" fmla="*/ 72085 h 91189"/>
                <a:gd name="connsiteX29" fmla="*/ 10784 w 123776"/>
                <a:gd name="connsiteY29" fmla="*/ 70648 h 91189"/>
                <a:gd name="connsiteX30" fmla="*/ 9339 w 123776"/>
                <a:gd name="connsiteY30" fmla="*/ 70105 h 91189"/>
                <a:gd name="connsiteX31" fmla="*/ 8247 w 123776"/>
                <a:gd name="connsiteY31" fmla="*/ 69104 h 91189"/>
                <a:gd name="connsiteX32" fmla="*/ 7624 w 123776"/>
                <a:gd name="connsiteY32" fmla="*/ 67620 h 91189"/>
                <a:gd name="connsiteX33" fmla="*/ 6709 w 123776"/>
                <a:gd name="connsiteY33" fmla="*/ 66289 h 91189"/>
                <a:gd name="connsiteX34" fmla="*/ 5128 w 123776"/>
                <a:gd name="connsiteY34" fmla="*/ 64716 h 91189"/>
                <a:gd name="connsiteX35" fmla="*/ 1546 w 123776"/>
                <a:gd name="connsiteY35" fmla="*/ 59378 h 91189"/>
                <a:gd name="connsiteX36" fmla="*/ 1081 w 123776"/>
                <a:gd name="connsiteY36" fmla="*/ 58824 h 91189"/>
                <a:gd name="connsiteX37" fmla="*/ 335 w 123776"/>
                <a:gd name="connsiteY37" fmla="*/ 57934 h 91189"/>
                <a:gd name="connsiteX38" fmla="*/ 0 w 123776"/>
                <a:gd name="connsiteY38" fmla="*/ 57443 h 91189"/>
                <a:gd name="connsiteX39" fmla="*/ 2187 w 123776"/>
                <a:gd name="connsiteY39" fmla="*/ 57037 h 91189"/>
                <a:gd name="connsiteX40" fmla="*/ 16279 w 123776"/>
                <a:gd name="connsiteY40" fmla="*/ 32337 h 91189"/>
                <a:gd name="connsiteX41" fmla="*/ 15712 w 123776"/>
                <a:gd name="connsiteY41" fmla="*/ 32770 h 91189"/>
                <a:gd name="connsiteX42" fmla="*/ 15712 w 123776"/>
                <a:gd name="connsiteY42" fmla="*/ 33854 h 91189"/>
                <a:gd name="connsiteX43" fmla="*/ 16498 w 123776"/>
                <a:gd name="connsiteY43" fmla="*/ 34049 h 91189"/>
                <a:gd name="connsiteX44" fmla="*/ 17337 w 123776"/>
                <a:gd name="connsiteY44" fmla="*/ 33616 h 91189"/>
                <a:gd name="connsiteX45" fmla="*/ 17558 w 123776"/>
                <a:gd name="connsiteY45" fmla="*/ 32748 h 91189"/>
                <a:gd name="connsiteX46" fmla="*/ 16936 w 123776"/>
                <a:gd name="connsiteY46" fmla="*/ 32359 h 91189"/>
                <a:gd name="connsiteX47" fmla="*/ 4999 w 123776"/>
                <a:gd name="connsiteY47" fmla="*/ 21281 h 91189"/>
                <a:gd name="connsiteX48" fmla="*/ 5591 w 123776"/>
                <a:gd name="connsiteY48" fmla="*/ 21481 h 91189"/>
                <a:gd name="connsiteX49" fmla="*/ 5759 w 123776"/>
                <a:gd name="connsiteY49" fmla="*/ 22117 h 91189"/>
                <a:gd name="connsiteX50" fmla="*/ 5647 w 123776"/>
                <a:gd name="connsiteY50" fmla="*/ 22816 h 91189"/>
                <a:gd name="connsiteX51" fmla="*/ 5169 w 123776"/>
                <a:gd name="connsiteY51" fmla="*/ 23117 h 91189"/>
                <a:gd name="connsiteX52" fmla="*/ 4439 w 123776"/>
                <a:gd name="connsiteY52" fmla="*/ 22816 h 91189"/>
                <a:gd name="connsiteX53" fmla="*/ 4215 w 123776"/>
                <a:gd name="connsiteY53" fmla="*/ 22148 h 91189"/>
                <a:gd name="connsiteX54" fmla="*/ 4271 w 123776"/>
                <a:gd name="connsiteY54" fmla="*/ 21448 h 91189"/>
                <a:gd name="connsiteX55" fmla="*/ 36742 w 123776"/>
                <a:gd name="connsiteY55" fmla="*/ 0 h 91189"/>
                <a:gd name="connsiteX56" fmla="*/ 39126 w 123776"/>
                <a:gd name="connsiteY56" fmla="*/ 545 h 91189"/>
                <a:gd name="connsiteX57" fmla="*/ 39445 w 123776"/>
                <a:gd name="connsiteY57" fmla="*/ 2086 h 91189"/>
                <a:gd name="connsiteX58" fmla="*/ 39869 w 123776"/>
                <a:gd name="connsiteY58" fmla="*/ 2409 h 91189"/>
                <a:gd name="connsiteX59" fmla="*/ 40857 w 123776"/>
                <a:gd name="connsiteY59" fmla="*/ 2228 h 91189"/>
                <a:gd name="connsiteX60" fmla="*/ 42501 w 123776"/>
                <a:gd name="connsiteY60" fmla="*/ 1581 h 91189"/>
                <a:gd name="connsiteX61" fmla="*/ 43805 w 123776"/>
                <a:gd name="connsiteY61" fmla="*/ 2078 h 91189"/>
                <a:gd name="connsiteX62" fmla="*/ 45492 w 123776"/>
                <a:gd name="connsiteY62" fmla="*/ 3911 h 91189"/>
                <a:gd name="connsiteX63" fmla="*/ 47819 w 123776"/>
                <a:gd name="connsiteY63" fmla="*/ 5844 h 91189"/>
                <a:gd name="connsiteX64" fmla="*/ 49078 w 123776"/>
                <a:gd name="connsiteY64" fmla="*/ 7141 h 91189"/>
                <a:gd name="connsiteX65" fmla="*/ 49573 w 123776"/>
                <a:gd name="connsiteY65" fmla="*/ 8037 h 91189"/>
                <a:gd name="connsiteX66" fmla="*/ 50763 w 123776"/>
                <a:gd name="connsiteY66" fmla="*/ 8905 h 91189"/>
                <a:gd name="connsiteX67" fmla="*/ 52501 w 123776"/>
                <a:gd name="connsiteY67" fmla="*/ 9926 h 91189"/>
                <a:gd name="connsiteX68" fmla="*/ 53887 w 123776"/>
                <a:gd name="connsiteY68" fmla="*/ 11523 h 91189"/>
                <a:gd name="connsiteX69" fmla="*/ 55122 w 123776"/>
                <a:gd name="connsiteY69" fmla="*/ 15233 h 91189"/>
                <a:gd name="connsiteX70" fmla="*/ 56373 w 123776"/>
                <a:gd name="connsiteY70" fmla="*/ 16094 h 91189"/>
                <a:gd name="connsiteX71" fmla="*/ 60860 w 123776"/>
                <a:gd name="connsiteY71" fmla="*/ 17502 h 91189"/>
                <a:gd name="connsiteX72" fmla="*/ 62434 w 123776"/>
                <a:gd name="connsiteY72" fmla="*/ 17790 h 91189"/>
                <a:gd name="connsiteX73" fmla="*/ 66839 w 123776"/>
                <a:gd name="connsiteY73" fmla="*/ 18287 h 91189"/>
                <a:gd name="connsiteX74" fmla="*/ 68390 w 123776"/>
                <a:gd name="connsiteY74" fmla="*/ 17932 h 91189"/>
                <a:gd name="connsiteX75" fmla="*/ 70657 w 123776"/>
                <a:gd name="connsiteY75" fmla="*/ 14734 h 91189"/>
                <a:gd name="connsiteX76" fmla="*/ 72700 w 123776"/>
                <a:gd name="connsiteY76" fmla="*/ 11442 h 91189"/>
                <a:gd name="connsiteX77" fmla="*/ 74606 w 123776"/>
                <a:gd name="connsiteY77" fmla="*/ 10753 h 91189"/>
                <a:gd name="connsiteX78" fmla="*/ 78053 w 123776"/>
                <a:gd name="connsiteY78" fmla="*/ 9161 h 91189"/>
                <a:gd name="connsiteX79" fmla="*/ 80115 w 123776"/>
                <a:gd name="connsiteY79" fmla="*/ 7657 h 91189"/>
                <a:gd name="connsiteX80" fmla="*/ 80983 w 123776"/>
                <a:gd name="connsiteY80" fmla="*/ 6031 h 91189"/>
                <a:gd name="connsiteX81" fmla="*/ 82929 w 123776"/>
                <a:gd name="connsiteY81" fmla="*/ 2959 h 91189"/>
                <a:gd name="connsiteX82" fmla="*/ 84127 w 123776"/>
                <a:gd name="connsiteY82" fmla="*/ 1233 h 91189"/>
                <a:gd name="connsiteX83" fmla="*/ 86157 w 123776"/>
                <a:gd name="connsiteY83" fmla="*/ 2767 h 91189"/>
                <a:gd name="connsiteX84" fmla="*/ 89679 w 123776"/>
                <a:gd name="connsiteY84" fmla="*/ 6924 h 91189"/>
                <a:gd name="connsiteX85" fmla="*/ 94697 w 123776"/>
                <a:gd name="connsiteY85" fmla="*/ 13679 h 91189"/>
                <a:gd name="connsiteX86" fmla="*/ 95930 w 123776"/>
                <a:gd name="connsiteY86" fmla="*/ 15586 h 91189"/>
                <a:gd name="connsiteX87" fmla="*/ 96740 w 123776"/>
                <a:gd name="connsiteY87" fmla="*/ 17799 h 91189"/>
                <a:gd name="connsiteX88" fmla="*/ 97436 w 123776"/>
                <a:gd name="connsiteY88" fmla="*/ 20477 h 91189"/>
                <a:gd name="connsiteX89" fmla="*/ 98580 w 123776"/>
                <a:gd name="connsiteY89" fmla="*/ 22844 h 91189"/>
                <a:gd name="connsiteX90" fmla="*/ 103672 w 123776"/>
                <a:gd name="connsiteY90" fmla="*/ 28794 h 91189"/>
                <a:gd name="connsiteX91" fmla="*/ 105870 w 123776"/>
                <a:gd name="connsiteY91" fmla="*/ 30987 h 91189"/>
                <a:gd name="connsiteX92" fmla="*/ 109457 w 123776"/>
                <a:gd name="connsiteY92" fmla="*/ 33825 h 91189"/>
                <a:gd name="connsiteX93" fmla="*/ 110731 w 123776"/>
                <a:gd name="connsiteY93" fmla="*/ 34457 h 91189"/>
                <a:gd name="connsiteX94" fmla="*/ 112406 w 123776"/>
                <a:gd name="connsiteY94" fmla="*/ 34635 h 91189"/>
                <a:gd name="connsiteX95" fmla="*/ 115477 w 123776"/>
                <a:gd name="connsiteY95" fmla="*/ 34645 h 91189"/>
                <a:gd name="connsiteX96" fmla="*/ 118319 w 123776"/>
                <a:gd name="connsiteY96" fmla="*/ 35753 h 91189"/>
                <a:gd name="connsiteX97" fmla="*/ 119720 w 123776"/>
                <a:gd name="connsiteY97" fmla="*/ 36532 h 91189"/>
                <a:gd name="connsiteX98" fmla="*/ 121170 w 123776"/>
                <a:gd name="connsiteY98" fmla="*/ 37658 h 91189"/>
                <a:gd name="connsiteX99" fmla="*/ 122469 w 123776"/>
                <a:gd name="connsiteY99" fmla="*/ 38955 h 91189"/>
                <a:gd name="connsiteX100" fmla="*/ 123776 w 123776"/>
                <a:gd name="connsiteY100" fmla="*/ 42427 h 91189"/>
                <a:gd name="connsiteX101" fmla="*/ 118850 w 123776"/>
                <a:gd name="connsiteY101" fmla="*/ 41283 h 91189"/>
                <a:gd name="connsiteX102" fmla="*/ 113890 w 123776"/>
                <a:gd name="connsiteY102" fmla="*/ 41461 h 91189"/>
                <a:gd name="connsiteX103" fmla="*/ 111085 w 123776"/>
                <a:gd name="connsiteY103" fmla="*/ 42207 h 91189"/>
                <a:gd name="connsiteX104" fmla="*/ 108366 w 123776"/>
                <a:gd name="connsiteY104" fmla="*/ 43223 h 91189"/>
                <a:gd name="connsiteX105" fmla="*/ 105760 w 123776"/>
                <a:gd name="connsiteY105" fmla="*/ 44656 h 91189"/>
                <a:gd name="connsiteX106" fmla="*/ 104128 w 123776"/>
                <a:gd name="connsiteY106" fmla="*/ 47447 h 91189"/>
                <a:gd name="connsiteX107" fmla="*/ 102752 w 123776"/>
                <a:gd name="connsiteY107" fmla="*/ 53896 h 91189"/>
                <a:gd name="connsiteX108" fmla="*/ 100746 w 123776"/>
                <a:gd name="connsiteY108" fmla="*/ 59917 h 91189"/>
                <a:gd name="connsiteX109" fmla="*/ 100815 w 123776"/>
                <a:gd name="connsiteY109" fmla="*/ 62700 h 91189"/>
                <a:gd name="connsiteX110" fmla="*/ 101696 w 123776"/>
                <a:gd name="connsiteY110" fmla="*/ 65369 h 91189"/>
                <a:gd name="connsiteX111" fmla="*/ 101594 w 123776"/>
                <a:gd name="connsiteY111" fmla="*/ 66635 h 91189"/>
                <a:gd name="connsiteX112" fmla="*/ 100675 w 123776"/>
                <a:gd name="connsiteY112" fmla="*/ 67170 h 91189"/>
                <a:gd name="connsiteX113" fmla="*/ 99528 w 123776"/>
                <a:gd name="connsiteY113" fmla="*/ 68304 h 91189"/>
                <a:gd name="connsiteX114" fmla="*/ 97991 w 123776"/>
                <a:gd name="connsiteY114" fmla="*/ 73806 h 91189"/>
                <a:gd name="connsiteX115" fmla="*/ 97228 w 123776"/>
                <a:gd name="connsiteY115" fmla="*/ 74902 h 91189"/>
                <a:gd name="connsiteX116" fmla="*/ 96248 w 123776"/>
                <a:gd name="connsiteY116" fmla="*/ 75584 h 91189"/>
                <a:gd name="connsiteX117" fmla="*/ 95976 w 123776"/>
                <a:gd name="connsiteY117" fmla="*/ 74933 h 91189"/>
                <a:gd name="connsiteX118" fmla="*/ 96034 w 123776"/>
                <a:gd name="connsiteY118" fmla="*/ 73494 h 91189"/>
                <a:gd name="connsiteX119" fmla="*/ 93870 w 123776"/>
                <a:gd name="connsiteY119" fmla="*/ 72219 h 91189"/>
                <a:gd name="connsiteX120" fmla="*/ 92726 w 123776"/>
                <a:gd name="connsiteY120" fmla="*/ 73648 h 91189"/>
                <a:gd name="connsiteX121" fmla="*/ 91940 w 123776"/>
                <a:gd name="connsiteY121" fmla="*/ 76673 h 91189"/>
                <a:gd name="connsiteX122" fmla="*/ 90355 w 123776"/>
                <a:gd name="connsiteY122" fmla="*/ 79849 h 91189"/>
                <a:gd name="connsiteX123" fmla="*/ 90275 w 123776"/>
                <a:gd name="connsiteY123" fmla="*/ 80455 h 91189"/>
                <a:gd name="connsiteX124" fmla="*/ 90670 w 123776"/>
                <a:gd name="connsiteY124" fmla="*/ 90243 h 91189"/>
                <a:gd name="connsiteX125" fmla="*/ 90042 w 123776"/>
                <a:gd name="connsiteY125" fmla="*/ 90198 h 91189"/>
                <a:gd name="connsiteX126" fmla="*/ 85514 w 123776"/>
                <a:gd name="connsiteY126" fmla="*/ 91189 h 91189"/>
                <a:gd name="connsiteX127" fmla="*/ 84566 w 123776"/>
                <a:gd name="connsiteY127" fmla="*/ 90871 h 91189"/>
                <a:gd name="connsiteX128" fmla="*/ 80689 w 123776"/>
                <a:gd name="connsiteY128" fmla="*/ 86363 h 91189"/>
                <a:gd name="connsiteX129" fmla="*/ 79891 w 123776"/>
                <a:gd name="connsiteY129" fmla="*/ 85863 h 91189"/>
                <a:gd name="connsiteX130" fmla="*/ 78217 w 123776"/>
                <a:gd name="connsiteY130" fmla="*/ 85660 h 91189"/>
                <a:gd name="connsiteX131" fmla="*/ 77239 w 123776"/>
                <a:gd name="connsiteY131" fmla="*/ 84918 h 91189"/>
                <a:gd name="connsiteX132" fmla="*/ 76440 w 123776"/>
                <a:gd name="connsiteY132" fmla="*/ 83709 h 91189"/>
                <a:gd name="connsiteX133" fmla="*/ 75986 w 123776"/>
                <a:gd name="connsiteY133" fmla="*/ 82808 h 91189"/>
                <a:gd name="connsiteX134" fmla="*/ 71974 w 123776"/>
                <a:gd name="connsiteY134" fmla="*/ 80359 h 91189"/>
                <a:gd name="connsiteX135" fmla="*/ 71383 w 123776"/>
                <a:gd name="connsiteY135" fmla="*/ 79463 h 91189"/>
                <a:gd name="connsiteX136" fmla="*/ 71299 w 123776"/>
                <a:gd name="connsiteY136" fmla="*/ 78675 h 91189"/>
                <a:gd name="connsiteX137" fmla="*/ 71888 w 123776"/>
                <a:gd name="connsiteY137" fmla="*/ 77964 h 91189"/>
                <a:gd name="connsiteX138" fmla="*/ 72568 w 123776"/>
                <a:gd name="connsiteY138" fmla="*/ 77364 h 91189"/>
                <a:gd name="connsiteX139" fmla="*/ 74524 w 123776"/>
                <a:gd name="connsiteY139" fmla="*/ 76754 h 91189"/>
                <a:gd name="connsiteX140" fmla="*/ 76811 w 123776"/>
                <a:gd name="connsiteY140" fmla="*/ 76229 h 91189"/>
                <a:gd name="connsiteX141" fmla="*/ 77543 w 123776"/>
                <a:gd name="connsiteY141" fmla="*/ 75850 h 91189"/>
                <a:gd name="connsiteX142" fmla="*/ 77919 w 123776"/>
                <a:gd name="connsiteY142" fmla="*/ 75197 h 91189"/>
                <a:gd name="connsiteX143" fmla="*/ 77895 w 123776"/>
                <a:gd name="connsiteY143" fmla="*/ 74152 h 91189"/>
                <a:gd name="connsiteX144" fmla="*/ 77522 w 123776"/>
                <a:gd name="connsiteY144" fmla="*/ 73121 h 91189"/>
                <a:gd name="connsiteX145" fmla="*/ 74235 w 123776"/>
                <a:gd name="connsiteY145" fmla="*/ 71245 h 91189"/>
                <a:gd name="connsiteX146" fmla="*/ 73875 w 123776"/>
                <a:gd name="connsiteY146" fmla="*/ 70437 h 91189"/>
                <a:gd name="connsiteX147" fmla="*/ 73769 w 123776"/>
                <a:gd name="connsiteY147" fmla="*/ 69445 h 91189"/>
                <a:gd name="connsiteX148" fmla="*/ 73956 w 123776"/>
                <a:gd name="connsiteY148" fmla="*/ 68409 h 91189"/>
                <a:gd name="connsiteX149" fmla="*/ 74468 w 123776"/>
                <a:gd name="connsiteY149" fmla="*/ 67599 h 91189"/>
                <a:gd name="connsiteX150" fmla="*/ 77148 w 123776"/>
                <a:gd name="connsiteY150" fmla="*/ 66494 h 91189"/>
                <a:gd name="connsiteX151" fmla="*/ 78584 w 123776"/>
                <a:gd name="connsiteY151" fmla="*/ 65351 h 91189"/>
                <a:gd name="connsiteX152" fmla="*/ 77690 w 123776"/>
                <a:gd name="connsiteY152" fmla="*/ 64073 h 91189"/>
                <a:gd name="connsiteX153" fmla="*/ 74801 w 123776"/>
                <a:gd name="connsiteY153" fmla="*/ 61160 h 91189"/>
                <a:gd name="connsiteX154" fmla="*/ 71370 w 123776"/>
                <a:gd name="connsiteY154" fmla="*/ 57953 h 91189"/>
                <a:gd name="connsiteX155" fmla="*/ 69078 w 123776"/>
                <a:gd name="connsiteY155" fmla="*/ 57923 h 91189"/>
                <a:gd name="connsiteX156" fmla="*/ 66438 w 123776"/>
                <a:gd name="connsiteY156" fmla="*/ 58872 h 91189"/>
                <a:gd name="connsiteX157" fmla="*/ 62214 w 123776"/>
                <a:gd name="connsiteY157" fmla="*/ 61606 h 91189"/>
                <a:gd name="connsiteX158" fmla="*/ 59878 w 123776"/>
                <a:gd name="connsiteY158" fmla="*/ 62775 h 91189"/>
                <a:gd name="connsiteX159" fmla="*/ 56833 w 123776"/>
                <a:gd name="connsiteY159" fmla="*/ 64707 h 91189"/>
                <a:gd name="connsiteX160" fmla="*/ 53514 w 123776"/>
                <a:gd name="connsiteY160" fmla="*/ 66858 h 91189"/>
                <a:gd name="connsiteX161" fmla="*/ 50795 w 123776"/>
                <a:gd name="connsiteY161" fmla="*/ 69140 h 91189"/>
                <a:gd name="connsiteX162" fmla="*/ 49102 w 123776"/>
                <a:gd name="connsiteY162" fmla="*/ 71023 h 91189"/>
                <a:gd name="connsiteX163" fmla="*/ 46088 w 123776"/>
                <a:gd name="connsiteY163" fmla="*/ 71845 h 91189"/>
                <a:gd name="connsiteX164" fmla="*/ 44554 w 123776"/>
                <a:gd name="connsiteY164" fmla="*/ 73425 h 91189"/>
                <a:gd name="connsiteX165" fmla="*/ 39504 w 123776"/>
                <a:gd name="connsiteY165" fmla="*/ 78155 h 91189"/>
                <a:gd name="connsiteX166" fmla="*/ 38085 w 123776"/>
                <a:gd name="connsiteY166" fmla="*/ 78096 h 91189"/>
                <a:gd name="connsiteX167" fmla="*/ 37999 w 123776"/>
                <a:gd name="connsiteY167" fmla="*/ 75750 h 91189"/>
                <a:gd name="connsiteX168" fmla="*/ 38068 w 123776"/>
                <a:gd name="connsiteY168" fmla="*/ 73889 h 91189"/>
                <a:gd name="connsiteX169" fmla="*/ 37748 w 123776"/>
                <a:gd name="connsiteY169" fmla="*/ 72817 h 91189"/>
                <a:gd name="connsiteX170" fmla="*/ 36113 w 123776"/>
                <a:gd name="connsiteY170" fmla="*/ 71347 h 91189"/>
                <a:gd name="connsiteX171" fmla="*/ 36087 w 123776"/>
                <a:gd name="connsiteY171" fmla="*/ 70712 h 91189"/>
                <a:gd name="connsiteX172" fmla="*/ 36530 w 123776"/>
                <a:gd name="connsiteY172" fmla="*/ 70319 h 91189"/>
                <a:gd name="connsiteX173" fmla="*/ 37787 w 123776"/>
                <a:gd name="connsiteY173" fmla="*/ 70557 h 91189"/>
                <a:gd name="connsiteX174" fmla="*/ 39398 w 123776"/>
                <a:gd name="connsiteY174" fmla="*/ 70473 h 91189"/>
                <a:gd name="connsiteX175" fmla="*/ 40166 w 123776"/>
                <a:gd name="connsiteY175" fmla="*/ 69897 h 91189"/>
                <a:gd name="connsiteX176" fmla="*/ 38439 w 123776"/>
                <a:gd name="connsiteY176" fmla="*/ 67958 h 91189"/>
                <a:gd name="connsiteX177" fmla="*/ 36906 w 123776"/>
                <a:gd name="connsiteY177" fmla="*/ 66661 h 91189"/>
                <a:gd name="connsiteX178" fmla="*/ 35604 w 123776"/>
                <a:gd name="connsiteY178" fmla="*/ 65786 h 91189"/>
                <a:gd name="connsiteX179" fmla="*/ 35312 w 123776"/>
                <a:gd name="connsiteY179" fmla="*/ 65262 h 91189"/>
                <a:gd name="connsiteX180" fmla="*/ 35310 w 123776"/>
                <a:gd name="connsiteY180" fmla="*/ 64891 h 91189"/>
                <a:gd name="connsiteX181" fmla="*/ 35586 w 123776"/>
                <a:gd name="connsiteY181" fmla="*/ 64448 h 91189"/>
                <a:gd name="connsiteX182" fmla="*/ 37808 w 123776"/>
                <a:gd name="connsiteY182" fmla="*/ 63378 h 91189"/>
                <a:gd name="connsiteX183" fmla="*/ 38029 w 123776"/>
                <a:gd name="connsiteY183" fmla="*/ 62398 h 91189"/>
                <a:gd name="connsiteX184" fmla="*/ 37882 w 123776"/>
                <a:gd name="connsiteY184" fmla="*/ 61299 h 91189"/>
                <a:gd name="connsiteX185" fmla="*/ 34349 w 123776"/>
                <a:gd name="connsiteY185" fmla="*/ 59681 h 91189"/>
                <a:gd name="connsiteX186" fmla="*/ 31704 w 123776"/>
                <a:gd name="connsiteY186" fmla="*/ 60278 h 91189"/>
                <a:gd name="connsiteX187" fmla="*/ 29333 w 123776"/>
                <a:gd name="connsiteY187" fmla="*/ 58459 h 91189"/>
                <a:gd name="connsiteX188" fmla="*/ 27808 w 123776"/>
                <a:gd name="connsiteY188" fmla="*/ 57052 h 91189"/>
                <a:gd name="connsiteX189" fmla="*/ 25908 w 123776"/>
                <a:gd name="connsiteY189" fmla="*/ 55543 h 91189"/>
                <a:gd name="connsiteX190" fmla="*/ 24211 w 123776"/>
                <a:gd name="connsiteY190" fmla="*/ 54716 h 91189"/>
                <a:gd name="connsiteX191" fmla="*/ 22585 w 123776"/>
                <a:gd name="connsiteY191" fmla="*/ 52821 h 91189"/>
                <a:gd name="connsiteX192" fmla="*/ 19758 w 123776"/>
                <a:gd name="connsiteY192" fmla="*/ 50865 h 91189"/>
                <a:gd name="connsiteX193" fmla="*/ 17944 w 123776"/>
                <a:gd name="connsiteY193" fmla="*/ 50309 h 91189"/>
                <a:gd name="connsiteX194" fmla="*/ 17970 w 123776"/>
                <a:gd name="connsiteY194" fmla="*/ 50009 h 91189"/>
                <a:gd name="connsiteX195" fmla="*/ 18303 w 123776"/>
                <a:gd name="connsiteY195" fmla="*/ 49649 h 91189"/>
                <a:gd name="connsiteX196" fmla="*/ 19058 w 123776"/>
                <a:gd name="connsiteY196" fmla="*/ 49352 h 91189"/>
                <a:gd name="connsiteX197" fmla="*/ 24098 w 123776"/>
                <a:gd name="connsiteY197" fmla="*/ 49429 h 91189"/>
                <a:gd name="connsiteX198" fmla="*/ 24714 w 123776"/>
                <a:gd name="connsiteY198" fmla="*/ 49075 h 91189"/>
                <a:gd name="connsiteX199" fmla="*/ 25027 w 123776"/>
                <a:gd name="connsiteY199" fmla="*/ 48234 h 91189"/>
                <a:gd name="connsiteX200" fmla="*/ 25716 w 123776"/>
                <a:gd name="connsiteY200" fmla="*/ 46992 h 91189"/>
                <a:gd name="connsiteX201" fmla="*/ 26519 w 123776"/>
                <a:gd name="connsiteY201" fmla="*/ 45162 h 91189"/>
                <a:gd name="connsiteX202" fmla="*/ 26454 w 123776"/>
                <a:gd name="connsiteY202" fmla="*/ 43621 h 91189"/>
                <a:gd name="connsiteX203" fmla="*/ 21393 w 123776"/>
                <a:gd name="connsiteY203" fmla="*/ 41129 h 91189"/>
                <a:gd name="connsiteX204" fmla="*/ 17717 w 123776"/>
                <a:gd name="connsiteY204" fmla="*/ 38834 h 91189"/>
                <a:gd name="connsiteX205" fmla="*/ 15172 w 123776"/>
                <a:gd name="connsiteY205" fmla="*/ 35809 h 91189"/>
                <a:gd name="connsiteX206" fmla="*/ 13442 w 123776"/>
                <a:gd name="connsiteY206" fmla="*/ 33039 h 91189"/>
                <a:gd name="connsiteX207" fmla="*/ 13502 w 123776"/>
                <a:gd name="connsiteY207" fmla="*/ 32108 h 91189"/>
                <a:gd name="connsiteX208" fmla="*/ 13999 w 123776"/>
                <a:gd name="connsiteY208" fmla="*/ 31228 h 91189"/>
                <a:gd name="connsiteX209" fmla="*/ 17935 w 123776"/>
                <a:gd name="connsiteY209" fmla="*/ 28672 h 91189"/>
                <a:gd name="connsiteX210" fmla="*/ 18201 w 123776"/>
                <a:gd name="connsiteY210" fmla="*/ 28009 h 91189"/>
                <a:gd name="connsiteX211" fmla="*/ 18115 w 123776"/>
                <a:gd name="connsiteY211" fmla="*/ 27558 h 91189"/>
                <a:gd name="connsiteX212" fmla="*/ 16711 w 123776"/>
                <a:gd name="connsiteY212" fmla="*/ 26249 h 91189"/>
                <a:gd name="connsiteX213" fmla="*/ 14947 w 123776"/>
                <a:gd name="connsiteY213" fmla="*/ 24901 h 91189"/>
                <a:gd name="connsiteX214" fmla="*/ 14392 w 123776"/>
                <a:gd name="connsiteY214" fmla="*/ 23910 h 91189"/>
                <a:gd name="connsiteX215" fmla="*/ 13282 w 123776"/>
                <a:gd name="connsiteY215" fmla="*/ 23405 h 91189"/>
                <a:gd name="connsiteX216" fmla="*/ 11170 w 123776"/>
                <a:gd name="connsiteY216" fmla="*/ 23369 h 91189"/>
                <a:gd name="connsiteX217" fmla="*/ 7469 w 123776"/>
                <a:gd name="connsiteY217" fmla="*/ 21709 h 91189"/>
                <a:gd name="connsiteX218" fmla="*/ 6683 w 123776"/>
                <a:gd name="connsiteY218" fmla="*/ 21544 h 91189"/>
                <a:gd name="connsiteX219" fmla="*/ 6508 w 123776"/>
                <a:gd name="connsiteY219" fmla="*/ 21214 h 91189"/>
                <a:gd name="connsiteX220" fmla="*/ 6687 w 123776"/>
                <a:gd name="connsiteY220" fmla="*/ 20880 h 91189"/>
                <a:gd name="connsiteX221" fmla="*/ 9331 w 123776"/>
                <a:gd name="connsiteY221" fmla="*/ 20207 h 91189"/>
                <a:gd name="connsiteX222" fmla="*/ 9294 w 123776"/>
                <a:gd name="connsiteY222" fmla="*/ 19653 h 91189"/>
                <a:gd name="connsiteX223" fmla="*/ 8493 w 123776"/>
                <a:gd name="connsiteY223" fmla="*/ 18922 h 91189"/>
                <a:gd name="connsiteX224" fmla="*/ 6998 w 123776"/>
                <a:gd name="connsiteY224" fmla="*/ 18387 h 91189"/>
                <a:gd name="connsiteX225" fmla="*/ 5632 w 123776"/>
                <a:gd name="connsiteY225" fmla="*/ 17063 h 91189"/>
                <a:gd name="connsiteX226" fmla="*/ 5154 w 123776"/>
                <a:gd name="connsiteY226" fmla="*/ 15869 h 91189"/>
                <a:gd name="connsiteX227" fmla="*/ 9926 w 123776"/>
                <a:gd name="connsiteY227" fmla="*/ 12380 h 91189"/>
                <a:gd name="connsiteX228" fmla="*/ 11337 w 123776"/>
                <a:gd name="connsiteY228" fmla="*/ 11683 h 91189"/>
                <a:gd name="connsiteX229" fmla="*/ 14461 w 123776"/>
                <a:gd name="connsiteY229" fmla="*/ 12324 h 91189"/>
                <a:gd name="connsiteX230" fmla="*/ 20948 w 123776"/>
                <a:gd name="connsiteY230" fmla="*/ 14638 h 91189"/>
                <a:gd name="connsiteX231" fmla="*/ 20507 w 123776"/>
                <a:gd name="connsiteY231" fmla="*/ 15921 h 91189"/>
                <a:gd name="connsiteX232" fmla="*/ 21166 w 123776"/>
                <a:gd name="connsiteY232" fmla="*/ 16643 h 91189"/>
                <a:gd name="connsiteX233" fmla="*/ 22654 w 123776"/>
                <a:gd name="connsiteY233" fmla="*/ 17624 h 91189"/>
                <a:gd name="connsiteX234" fmla="*/ 25511 w 123776"/>
                <a:gd name="connsiteY234" fmla="*/ 18618 h 91189"/>
                <a:gd name="connsiteX235" fmla="*/ 27927 w 123776"/>
                <a:gd name="connsiteY235" fmla="*/ 19130 h 91189"/>
                <a:gd name="connsiteX236" fmla="*/ 29149 w 123776"/>
                <a:gd name="connsiteY236" fmla="*/ 18693 h 91189"/>
                <a:gd name="connsiteX237" fmla="*/ 31011 w 123776"/>
                <a:gd name="connsiteY237" fmla="*/ 18324 h 91189"/>
                <a:gd name="connsiteX238" fmla="*/ 33427 w 123776"/>
                <a:gd name="connsiteY238" fmla="*/ 19468 h 91189"/>
                <a:gd name="connsiteX239" fmla="*/ 35655 w 123776"/>
                <a:gd name="connsiteY239" fmla="*/ 20920 h 91189"/>
                <a:gd name="connsiteX240" fmla="*/ 36765 w 123776"/>
                <a:gd name="connsiteY240" fmla="*/ 21506 h 91189"/>
                <a:gd name="connsiteX241" fmla="*/ 37361 w 123776"/>
                <a:gd name="connsiteY241" fmla="*/ 21686 h 91189"/>
                <a:gd name="connsiteX242" fmla="*/ 39052 w 123776"/>
                <a:gd name="connsiteY242" fmla="*/ 21203 h 91189"/>
                <a:gd name="connsiteX243" fmla="*/ 41086 w 123776"/>
                <a:gd name="connsiteY243" fmla="*/ 19330 h 91189"/>
                <a:gd name="connsiteX244" fmla="*/ 41883 w 123776"/>
                <a:gd name="connsiteY244" fmla="*/ 17068 h 91189"/>
                <a:gd name="connsiteX245" fmla="*/ 42108 w 123776"/>
                <a:gd name="connsiteY245" fmla="*/ 15979 h 91189"/>
                <a:gd name="connsiteX246" fmla="*/ 40922 w 123776"/>
                <a:gd name="connsiteY246" fmla="*/ 14477 h 91189"/>
                <a:gd name="connsiteX247" fmla="*/ 38487 w 123776"/>
                <a:gd name="connsiteY247" fmla="*/ 12845 h 91189"/>
                <a:gd name="connsiteX248" fmla="*/ 35748 w 123776"/>
                <a:gd name="connsiteY248" fmla="*/ 11411 h 91189"/>
                <a:gd name="connsiteX249" fmla="*/ 33991 w 123776"/>
                <a:gd name="connsiteY249" fmla="*/ 10147 h 91189"/>
                <a:gd name="connsiteX250" fmla="*/ 32868 w 123776"/>
                <a:gd name="connsiteY250" fmla="*/ 7650 h 91189"/>
                <a:gd name="connsiteX251" fmla="*/ 31736 w 123776"/>
                <a:gd name="connsiteY251" fmla="*/ 7374 h 91189"/>
                <a:gd name="connsiteX252" fmla="*/ 31449 w 123776"/>
                <a:gd name="connsiteY252" fmla="*/ 7049 h 91189"/>
                <a:gd name="connsiteX253" fmla="*/ 31263 w 123776"/>
                <a:gd name="connsiteY253" fmla="*/ 6197 h 91189"/>
                <a:gd name="connsiteX254" fmla="*/ 31311 w 123776"/>
                <a:gd name="connsiteY254" fmla="*/ 5004 h 91189"/>
                <a:gd name="connsiteX255" fmla="*/ 31699 w 123776"/>
                <a:gd name="connsiteY255" fmla="*/ 4084 h 91189"/>
                <a:gd name="connsiteX256" fmla="*/ 32805 w 123776"/>
                <a:gd name="connsiteY256" fmla="*/ 3690 h 91189"/>
                <a:gd name="connsiteX257" fmla="*/ 33926 w 123776"/>
                <a:gd name="connsiteY257" fmla="*/ 3549 h 91189"/>
                <a:gd name="connsiteX258" fmla="*/ 34936 w 123776"/>
                <a:gd name="connsiteY258" fmla="*/ 2672 h 91189"/>
                <a:gd name="connsiteX259" fmla="*/ 36202 w 123776"/>
                <a:gd name="connsiteY259" fmla="*/ 952 h 911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</a:cxnLst>
              <a:rect l="l" t="t" r="r" b="b"/>
              <a:pathLst>
                <a:path w="123776" h="91189">
                  <a:moveTo>
                    <a:pt x="5823" y="55840"/>
                  </a:moveTo>
                  <a:lnTo>
                    <a:pt x="6815" y="56421"/>
                  </a:lnTo>
                  <a:lnTo>
                    <a:pt x="7880" y="57630"/>
                  </a:lnTo>
                  <a:lnTo>
                    <a:pt x="8410" y="58664"/>
                  </a:lnTo>
                  <a:lnTo>
                    <a:pt x="8504" y="60585"/>
                  </a:lnTo>
                  <a:lnTo>
                    <a:pt x="8940" y="60898"/>
                  </a:lnTo>
                  <a:lnTo>
                    <a:pt x="10708" y="60252"/>
                  </a:lnTo>
                  <a:lnTo>
                    <a:pt x="11498" y="61029"/>
                  </a:lnTo>
                  <a:lnTo>
                    <a:pt x="12861" y="61956"/>
                  </a:lnTo>
                  <a:lnTo>
                    <a:pt x="15226" y="62875"/>
                  </a:lnTo>
                  <a:lnTo>
                    <a:pt x="18629" y="61438"/>
                  </a:lnTo>
                  <a:lnTo>
                    <a:pt x="20324" y="61068"/>
                  </a:lnTo>
                  <a:lnTo>
                    <a:pt x="21719" y="61097"/>
                  </a:lnTo>
                  <a:lnTo>
                    <a:pt x="22470" y="61547"/>
                  </a:lnTo>
                  <a:lnTo>
                    <a:pt x="22736" y="63040"/>
                  </a:lnTo>
                  <a:lnTo>
                    <a:pt x="22464" y="64879"/>
                  </a:lnTo>
                  <a:lnTo>
                    <a:pt x="22069" y="65885"/>
                  </a:lnTo>
                  <a:lnTo>
                    <a:pt x="22784" y="66618"/>
                  </a:lnTo>
                  <a:lnTo>
                    <a:pt x="25578" y="68388"/>
                  </a:lnTo>
                  <a:lnTo>
                    <a:pt x="26737" y="69373"/>
                  </a:lnTo>
                  <a:lnTo>
                    <a:pt x="26171" y="71077"/>
                  </a:lnTo>
                  <a:lnTo>
                    <a:pt x="28251" y="75232"/>
                  </a:lnTo>
                  <a:lnTo>
                    <a:pt x="28948" y="76851"/>
                  </a:lnTo>
                  <a:lnTo>
                    <a:pt x="29767" y="78843"/>
                  </a:lnTo>
                  <a:lnTo>
                    <a:pt x="25509" y="78064"/>
                  </a:lnTo>
                  <a:lnTo>
                    <a:pt x="17839" y="76388"/>
                  </a:lnTo>
                  <a:lnTo>
                    <a:pt x="15731" y="75523"/>
                  </a:lnTo>
                  <a:lnTo>
                    <a:pt x="13731" y="73205"/>
                  </a:lnTo>
                  <a:lnTo>
                    <a:pt x="12544" y="72085"/>
                  </a:lnTo>
                  <a:lnTo>
                    <a:pt x="10784" y="70648"/>
                  </a:lnTo>
                  <a:lnTo>
                    <a:pt x="9339" y="70105"/>
                  </a:lnTo>
                  <a:lnTo>
                    <a:pt x="8247" y="69104"/>
                  </a:lnTo>
                  <a:lnTo>
                    <a:pt x="7624" y="67620"/>
                  </a:lnTo>
                  <a:lnTo>
                    <a:pt x="6709" y="66289"/>
                  </a:lnTo>
                  <a:lnTo>
                    <a:pt x="5128" y="64716"/>
                  </a:lnTo>
                  <a:lnTo>
                    <a:pt x="1546" y="59378"/>
                  </a:lnTo>
                  <a:lnTo>
                    <a:pt x="1081" y="58824"/>
                  </a:lnTo>
                  <a:lnTo>
                    <a:pt x="335" y="57934"/>
                  </a:lnTo>
                  <a:lnTo>
                    <a:pt x="0" y="57443"/>
                  </a:lnTo>
                  <a:lnTo>
                    <a:pt x="2187" y="57037"/>
                  </a:lnTo>
                  <a:close/>
                  <a:moveTo>
                    <a:pt x="16279" y="32337"/>
                  </a:moveTo>
                  <a:lnTo>
                    <a:pt x="15712" y="32770"/>
                  </a:lnTo>
                  <a:lnTo>
                    <a:pt x="15712" y="33854"/>
                  </a:lnTo>
                  <a:lnTo>
                    <a:pt x="16498" y="34049"/>
                  </a:lnTo>
                  <a:lnTo>
                    <a:pt x="17337" y="33616"/>
                  </a:lnTo>
                  <a:lnTo>
                    <a:pt x="17558" y="32748"/>
                  </a:lnTo>
                  <a:lnTo>
                    <a:pt x="16936" y="32359"/>
                  </a:lnTo>
                  <a:close/>
                  <a:moveTo>
                    <a:pt x="4999" y="21281"/>
                  </a:moveTo>
                  <a:lnTo>
                    <a:pt x="5591" y="21481"/>
                  </a:lnTo>
                  <a:lnTo>
                    <a:pt x="5759" y="22117"/>
                  </a:lnTo>
                  <a:lnTo>
                    <a:pt x="5647" y="22816"/>
                  </a:lnTo>
                  <a:lnTo>
                    <a:pt x="5169" y="23117"/>
                  </a:lnTo>
                  <a:lnTo>
                    <a:pt x="4439" y="22816"/>
                  </a:lnTo>
                  <a:lnTo>
                    <a:pt x="4215" y="22148"/>
                  </a:lnTo>
                  <a:lnTo>
                    <a:pt x="4271" y="21448"/>
                  </a:lnTo>
                  <a:close/>
                  <a:moveTo>
                    <a:pt x="36742" y="0"/>
                  </a:moveTo>
                  <a:lnTo>
                    <a:pt x="39126" y="545"/>
                  </a:lnTo>
                  <a:lnTo>
                    <a:pt x="39445" y="2086"/>
                  </a:lnTo>
                  <a:lnTo>
                    <a:pt x="39869" y="2409"/>
                  </a:lnTo>
                  <a:lnTo>
                    <a:pt x="40857" y="2228"/>
                  </a:lnTo>
                  <a:lnTo>
                    <a:pt x="42501" y="1581"/>
                  </a:lnTo>
                  <a:lnTo>
                    <a:pt x="43805" y="2078"/>
                  </a:lnTo>
                  <a:lnTo>
                    <a:pt x="45492" y="3911"/>
                  </a:lnTo>
                  <a:lnTo>
                    <a:pt x="47819" y="5844"/>
                  </a:lnTo>
                  <a:lnTo>
                    <a:pt x="49078" y="7141"/>
                  </a:lnTo>
                  <a:lnTo>
                    <a:pt x="49573" y="8037"/>
                  </a:lnTo>
                  <a:lnTo>
                    <a:pt x="50763" y="8905"/>
                  </a:lnTo>
                  <a:lnTo>
                    <a:pt x="52501" y="9926"/>
                  </a:lnTo>
                  <a:lnTo>
                    <a:pt x="53887" y="11523"/>
                  </a:lnTo>
                  <a:lnTo>
                    <a:pt x="55122" y="15233"/>
                  </a:lnTo>
                  <a:lnTo>
                    <a:pt x="56373" y="16094"/>
                  </a:lnTo>
                  <a:lnTo>
                    <a:pt x="60860" y="17502"/>
                  </a:lnTo>
                  <a:lnTo>
                    <a:pt x="62434" y="17790"/>
                  </a:lnTo>
                  <a:lnTo>
                    <a:pt x="66839" y="18287"/>
                  </a:lnTo>
                  <a:lnTo>
                    <a:pt x="68390" y="17932"/>
                  </a:lnTo>
                  <a:lnTo>
                    <a:pt x="70657" y="14734"/>
                  </a:lnTo>
                  <a:lnTo>
                    <a:pt x="72700" y="11442"/>
                  </a:lnTo>
                  <a:lnTo>
                    <a:pt x="74606" y="10753"/>
                  </a:lnTo>
                  <a:lnTo>
                    <a:pt x="78053" y="9161"/>
                  </a:lnTo>
                  <a:lnTo>
                    <a:pt x="80115" y="7657"/>
                  </a:lnTo>
                  <a:lnTo>
                    <a:pt x="80983" y="6031"/>
                  </a:lnTo>
                  <a:lnTo>
                    <a:pt x="82929" y="2959"/>
                  </a:lnTo>
                  <a:lnTo>
                    <a:pt x="84127" y="1233"/>
                  </a:lnTo>
                  <a:lnTo>
                    <a:pt x="86157" y="2767"/>
                  </a:lnTo>
                  <a:lnTo>
                    <a:pt x="89679" y="6924"/>
                  </a:lnTo>
                  <a:lnTo>
                    <a:pt x="94697" y="13679"/>
                  </a:lnTo>
                  <a:lnTo>
                    <a:pt x="95930" y="15586"/>
                  </a:lnTo>
                  <a:lnTo>
                    <a:pt x="96740" y="17799"/>
                  </a:lnTo>
                  <a:lnTo>
                    <a:pt x="97436" y="20477"/>
                  </a:lnTo>
                  <a:lnTo>
                    <a:pt x="98580" y="22844"/>
                  </a:lnTo>
                  <a:lnTo>
                    <a:pt x="103672" y="28794"/>
                  </a:lnTo>
                  <a:lnTo>
                    <a:pt x="105870" y="30987"/>
                  </a:lnTo>
                  <a:lnTo>
                    <a:pt x="109457" y="33825"/>
                  </a:lnTo>
                  <a:lnTo>
                    <a:pt x="110731" y="34457"/>
                  </a:lnTo>
                  <a:lnTo>
                    <a:pt x="112406" y="34635"/>
                  </a:lnTo>
                  <a:lnTo>
                    <a:pt x="115477" y="34645"/>
                  </a:lnTo>
                  <a:lnTo>
                    <a:pt x="118319" y="35753"/>
                  </a:lnTo>
                  <a:lnTo>
                    <a:pt x="119720" y="36532"/>
                  </a:lnTo>
                  <a:lnTo>
                    <a:pt x="121170" y="37658"/>
                  </a:lnTo>
                  <a:lnTo>
                    <a:pt x="122469" y="38955"/>
                  </a:lnTo>
                  <a:lnTo>
                    <a:pt x="123776" y="42427"/>
                  </a:lnTo>
                  <a:lnTo>
                    <a:pt x="118850" y="41283"/>
                  </a:lnTo>
                  <a:lnTo>
                    <a:pt x="113890" y="41461"/>
                  </a:lnTo>
                  <a:lnTo>
                    <a:pt x="111085" y="42207"/>
                  </a:lnTo>
                  <a:lnTo>
                    <a:pt x="108366" y="43223"/>
                  </a:lnTo>
                  <a:lnTo>
                    <a:pt x="105760" y="44656"/>
                  </a:lnTo>
                  <a:lnTo>
                    <a:pt x="104128" y="47447"/>
                  </a:lnTo>
                  <a:lnTo>
                    <a:pt x="102752" y="53896"/>
                  </a:lnTo>
                  <a:lnTo>
                    <a:pt x="100746" y="59917"/>
                  </a:lnTo>
                  <a:lnTo>
                    <a:pt x="100815" y="62700"/>
                  </a:lnTo>
                  <a:lnTo>
                    <a:pt x="101696" y="65369"/>
                  </a:lnTo>
                  <a:lnTo>
                    <a:pt x="101594" y="66635"/>
                  </a:lnTo>
                  <a:lnTo>
                    <a:pt x="100675" y="67170"/>
                  </a:lnTo>
                  <a:lnTo>
                    <a:pt x="99528" y="68304"/>
                  </a:lnTo>
                  <a:lnTo>
                    <a:pt x="97991" y="73806"/>
                  </a:lnTo>
                  <a:lnTo>
                    <a:pt x="97228" y="74902"/>
                  </a:lnTo>
                  <a:lnTo>
                    <a:pt x="96248" y="75584"/>
                  </a:lnTo>
                  <a:lnTo>
                    <a:pt x="95976" y="74933"/>
                  </a:lnTo>
                  <a:lnTo>
                    <a:pt x="96034" y="73494"/>
                  </a:lnTo>
                  <a:lnTo>
                    <a:pt x="93870" y="72219"/>
                  </a:lnTo>
                  <a:lnTo>
                    <a:pt x="92726" y="73648"/>
                  </a:lnTo>
                  <a:lnTo>
                    <a:pt x="91940" y="76673"/>
                  </a:lnTo>
                  <a:lnTo>
                    <a:pt x="90355" y="79849"/>
                  </a:lnTo>
                  <a:lnTo>
                    <a:pt x="90275" y="80455"/>
                  </a:lnTo>
                  <a:lnTo>
                    <a:pt x="90670" y="90243"/>
                  </a:lnTo>
                  <a:lnTo>
                    <a:pt x="90042" y="90198"/>
                  </a:lnTo>
                  <a:lnTo>
                    <a:pt x="85514" y="91189"/>
                  </a:lnTo>
                  <a:lnTo>
                    <a:pt x="84566" y="90871"/>
                  </a:lnTo>
                  <a:lnTo>
                    <a:pt x="80689" y="86363"/>
                  </a:lnTo>
                  <a:lnTo>
                    <a:pt x="79891" y="85863"/>
                  </a:lnTo>
                  <a:lnTo>
                    <a:pt x="78217" y="85660"/>
                  </a:lnTo>
                  <a:lnTo>
                    <a:pt x="77239" y="84918"/>
                  </a:lnTo>
                  <a:lnTo>
                    <a:pt x="76440" y="83709"/>
                  </a:lnTo>
                  <a:lnTo>
                    <a:pt x="75986" y="82808"/>
                  </a:lnTo>
                  <a:lnTo>
                    <a:pt x="71974" y="80359"/>
                  </a:lnTo>
                  <a:lnTo>
                    <a:pt x="71383" y="79463"/>
                  </a:lnTo>
                  <a:lnTo>
                    <a:pt x="71299" y="78675"/>
                  </a:lnTo>
                  <a:lnTo>
                    <a:pt x="71888" y="77964"/>
                  </a:lnTo>
                  <a:lnTo>
                    <a:pt x="72568" y="77364"/>
                  </a:lnTo>
                  <a:lnTo>
                    <a:pt x="74524" y="76754"/>
                  </a:lnTo>
                  <a:lnTo>
                    <a:pt x="76811" y="76229"/>
                  </a:lnTo>
                  <a:lnTo>
                    <a:pt x="77543" y="75850"/>
                  </a:lnTo>
                  <a:lnTo>
                    <a:pt x="77919" y="75197"/>
                  </a:lnTo>
                  <a:lnTo>
                    <a:pt x="77895" y="74152"/>
                  </a:lnTo>
                  <a:lnTo>
                    <a:pt x="77522" y="73121"/>
                  </a:lnTo>
                  <a:lnTo>
                    <a:pt x="74235" y="71245"/>
                  </a:lnTo>
                  <a:lnTo>
                    <a:pt x="73875" y="70437"/>
                  </a:lnTo>
                  <a:lnTo>
                    <a:pt x="73769" y="69445"/>
                  </a:lnTo>
                  <a:lnTo>
                    <a:pt x="73956" y="68409"/>
                  </a:lnTo>
                  <a:lnTo>
                    <a:pt x="74468" y="67599"/>
                  </a:lnTo>
                  <a:lnTo>
                    <a:pt x="77148" y="66494"/>
                  </a:lnTo>
                  <a:lnTo>
                    <a:pt x="78584" y="65351"/>
                  </a:lnTo>
                  <a:lnTo>
                    <a:pt x="77690" y="64073"/>
                  </a:lnTo>
                  <a:lnTo>
                    <a:pt x="74801" y="61160"/>
                  </a:lnTo>
                  <a:lnTo>
                    <a:pt x="71370" y="57953"/>
                  </a:lnTo>
                  <a:lnTo>
                    <a:pt x="69078" y="57923"/>
                  </a:lnTo>
                  <a:lnTo>
                    <a:pt x="66438" y="58872"/>
                  </a:lnTo>
                  <a:lnTo>
                    <a:pt x="62214" y="61606"/>
                  </a:lnTo>
                  <a:lnTo>
                    <a:pt x="59878" y="62775"/>
                  </a:lnTo>
                  <a:lnTo>
                    <a:pt x="56833" y="64707"/>
                  </a:lnTo>
                  <a:lnTo>
                    <a:pt x="53514" y="66858"/>
                  </a:lnTo>
                  <a:lnTo>
                    <a:pt x="50795" y="69140"/>
                  </a:lnTo>
                  <a:lnTo>
                    <a:pt x="49102" y="71023"/>
                  </a:lnTo>
                  <a:lnTo>
                    <a:pt x="46088" y="71845"/>
                  </a:lnTo>
                  <a:lnTo>
                    <a:pt x="44554" y="73425"/>
                  </a:lnTo>
                  <a:lnTo>
                    <a:pt x="39504" y="78155"/>
                  </a:lnTo>
                  <a:lnTo>
                    <a:pt x="38085" y="78096"/>
                  </a:lnTo>
                  <a:lnTo>
                    <a:pt x="37999" y="75750"/>
                  </a:lnTo>
                  <a:lnTo>
                    <a:pt x="38068" y="73889"/>
                  </a:lnTo>
                  <a:lnTo>
                    <a:pt x="37748" y="72817"/>
                  </a:lnTo>
                  <a:lnTo>
                    <a:pt x="36113" y="71347"/>
                  </a:lnTo>
                  <a:lnTo>
                    <a:pt x="36087" y="70712"/>
                  </a:lnTo>
                  <a:lnTo>
                    <a:pt x="36530" y="70319"/>
                  </a:lnTo>
                  <a:lnTo>
                    <a:pt x="37787" y="70557"/>
                  </a:lnTo>
                  <a:lnTo>
                    <a:pt x="39398" y="70473"/>
                  </a:lnTo>
                  <a:lnTo>
                    <a:pt x="40166" y="69897"/>
                  </a:lnTo>
                  <a:lnTo>
                    <a:pt x="38439" y="67958"/>
                  </a:lnTo>
                  <a:lnTo>
                    <a:pt x="36906" y="66661"/>
                  </a:lnTo>
                  <a:lnTo>
                    <a:pt x="35604" y="65786"/>
                  </a:lnTo>
                  <a:lnTo>
                    <a:pt x="35312" y="65262"/>
                  </a:lnTo>
                  <a:lnTo>
                    <a:pt x="35310" y="64891"/>
                  </a:lnTo>
                  <a:lnTo>
                    <a:pt x="35586" y="64448"/>
                  </a:lnTo>
                  <a:lnTo>
                    <a:pt x="37808" y="63378"/>
                  </a:lnTo>
                  <a:lnTo>
                    <a:pt x="38029" y="62398"/>
                  </a:lnTo>
                  <a:lnTo>
                    <a:pt x="37882" y="61299"/>
                  </a:lnTo>
                  <a:lnTo>
                    <a:pt x="34349" y="59681"/>
                  </a:lnTo>
                  <a:lnTo>
                    <a:pt x="31704" y="60278"/>
                  </a:lnTo>
                  <a:lnTo>
                    <a:pt x="29333" y="58459"/>
                  </a:lnTo>
                  <a:lnTo>
                    <a:pt x="27808" y="57052"/>
                  </a:lnTo>
                  <a:lnTo>
                    <a:pt x="25908" y="55543"/>
                  </a:lnTo>
                  <a:lnTo>
                    <a:pt x="24211" y="54716"/>
                  </a:lnTo>
                  <a:lnTo>
                    <a:pt x="22585" y="52821"/>
                  </a:lnTo>
                  <a:lnTo>
                    <a:pt x="19758" y="50865"/>
                  </a:lnTo>
                  <a:lnTo>
                    <a:pt x="17944" y="50309"/>
                  </a:lnTo>
                  <a:lnTo>
                    <a:pt x="17970" y="50009"/>
                  </a:lnTo>
                  <a:lnTo>
                    <a:pt x="18303" y="49649"/>
                  </a:lnTo>
                  <a:lnTo>
                    <a:pt x="19058" y="49352"/>
                  </a:lnTo>
                  <a:lnTo>
                    <a:pt x="24098" y="49429"/>
                  </a:lnTo>
                  <a:lnTo>
                    <a:pt x="24714" y="49075"/>
                  </a:lnTo>
                  <a:lnTo>
                    <a:pt x="25027" y="48234"/>
                  </a:lnTo>
                  <a:lnTo>
                    <a:pt x="25716" y="46992"/>
                  </a:lnTo>
                  <a:lnTo>
                    <a:pt x="26519" y="45162"/>
                  </a:lnTo>
                  <a:lnTo>
                    <a:pt x="26454" y="43621"/>
                  </a:lnTo>
                  <a:lnTo>
                    <a:pt x="21393" y="41129"/>
                  </a:lnTo>
                  <a:lnTo>
                    <a:pt x="17717" y="38834"/>
                  </a:lnTo>
                  <a:lnTo>
                    <a:pt x="15172" y="35809"/>
                  </a:lnTo>
                  <a:lnTo>
                    <a:pt x="13442" y="33039"/>
                  </a:lnTo>
                  <a:lnTo>
                    <a:pt x="13502" y="32108"/>
                  </a:lnTo>
                  <a:lnTo>
                    <a:pt x="13999" y="31228"/>
                  </a:lnTo>
                  <a:lnTo>
                    <a:pt x="17935" y="28672"/>
                  </a:lnTo>
                  <a:lnTo>
                    <a:pt x="18201" y="28009"/>
                  </a:lnTo>
                  <a:lnTo>
                    <a:pt x="18115" y="27558"/>
                  </a:lnTo>
                  <a:lnTo>
                    <a:pt x="16711" y="26249"/>
                  </a:lnTo>
                  <a:lnTo>
                    <a:pt x="14947" y="24901"/>
                  </a:lnTo>
                  <a:lnTo>
                    <a:pt x="14392" y="23910"/>
                  </a:lnTo>
                  <a:lnTo>
                    <a:pt x="13282" y="23405"/>
                  </a:lnTo>
                  <a:lnTo>
                    <a:pt x="11170" y="23369"/>
                  </a:lnTo>
                  <a:lnTo>
                    <a:pt x="7469" y="21709"/>
                  </a:lnTo>
                  <a:lnTo>
                    <a:pt x="6683" y="21544"/>
                  </a:lnTo>
                  <a:lnTo>
                    <a:pt x="6508" y="21214"/>
                  </a:lnTo>
                  <a:lnTo>
                    <a:pt x="6687" y="20880"/>
                  </a:lnTo>
                  <a:lnTo>
                    <a:pt x="9331" y="20207"/>
                  </a:lnTo>
                  <a:lnTo>
                    <a:pt x="9294" y="19653"/>
                  </a:lnTo>
                  <a:lnTo>
                    <a:pt x="8493" y="18922"/>
                  </a:lnTo>
                  <a:lnTo>
                    <a:pt x="6998" y="18387"/>
                  </a:lnTo>
                  <a:lnTo>
                    <a:pt x="5632" y="17063"/>
                  </a:lnTo>
                  <a:lnTo>
                    <a:pt x="5154" y="15869"/>
                  </a:lnTo>
                  <a:lnTo>
                    <a:pt x="9926" y="12380"/>
                  </a:lnTo>
                  <a:lnTo>
                    <a:pt x="11337" y="11683"/>
                  </a:lnTo>
                  <a:lnTo>
                    <a:pt x="14461" y="12324"/>
                  </a:lnTo>
                  <a:lnTo>
                    <a:pt x="20948" y="14638"/>
                  </a:lnTo>
                  <a:lnTo>
                    <a:pt x="20507" y="15921"/>
                  </a:lnTo>
                  <a:lnTo>
                    <a:pt x="21166" y="16643"/>
                  </a:lnTo>
                  <a:lnTo>
                    <a:pt x="22654" y="17624"/>
                  </a:lnTo>
                  <a:lnTo>
                    <a:pt x="25511" y="18618"/>
                  </a:lnTo>
                  <a:lnTo>
                    <a:pt x="27927" y="19130"/>
                  </a:lnTo>
                  <a:lnTo>
                    <a:pt x="29149" y="18693"/>
                  </a:lnTo>
                  <a:lnTo>
                    <a:pt x="31011" y="18324"/>
                  </a:lnTo>
                  <a:lnTo>
                    <a:pt x="33427" y="19468"/>
                  </a:lnTo>
                  <a:lnTo>
                    <a:pt x="35655" y="20920"/>
                  </a:lnTo>
                  <a:lnTo>
                    <a:pt x="36765" y="21506"/>
                  </a:lnTo>
                  <a:lnTo>
                    <a:pt x="37361" y="21686"/>
                  </a:lnTo>
                  <a:lnTo>
                    <a:pt x="39052" y="21203"/>
                  </a:lnTo>
                  <a:lnTo>
                    <a:pt x="41086" y="19330"/>
                  </a:lnTo>
                  <a:lnTo>
                    <a:pt x="41883" y="17068"/>
                  </a:lnTo>
                  <a:lnTo>
                    <a:pt x="42108" y="15979"/>
                  </a:lnTo>
                  <a:lnTo>
                    <a:pt x="40922" y="14477"/>
                  </a:lnTo>
                  <a:lnTo>
                    <a:pt x="38487" y="12845"/>
                  </a:lnTo>
                  <a:lnTo>
                    <a:pt x="35748" y="11411"/>
                  </a:lnTo>
                  <a:lnTo>
                    <a:pt x="33991" y="10147"/>
                  </a:lnTo>
                  <a:lnTo>
                    <a:pt x="32868" y="7650"/>
                  </a:lnTo>
                  <a:lnTo>
                    <a:pt x="31736" y="7374"/>
                  </a:lnTo>
                  <a:lnTo>
                    <a:pt x="31449" y="7049"/>
                  </a:lnTo>
                  <a:lnTo>
                    <a:pt x="31263" y="6197"/>
                  </a:lnTo>
                  <a:lnTo>
                    <a:pt x="31311" y="5004"/>
                  </a:lnTo>
                  <a:lnTo>
                    <a:pt x="31699" y="4084"/>
                  </a:lnTo>
                  <a:lnTo>
                    <a:pt x="32805" y="3690"/>
                  </a:lnTo>
                  <a:lnTo>
                    <a:pt x="33926" y="3549"/>
                  </a:lnTo>
                  <a:lnTo>
                    <a:pt x="34936" y="2672"/>
                  </a:lnTo>
                  <a:lnTo>
                    <a:pt x="36202" y="952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66" name="ee4p_BD_1_37365">
              <a:extLst>
                <a:ext uri="{FF2B5EF4-FFF2-40B4-BE49-F238E27FC236}">
                  <a16:creationId xmlns:a16="http://schemas.microsoft.com/office/drawing/2014/main" id="{DBD0422F-29BE-048E-0B2D-50FD8D56218F}"/>
                </a:ext>
              </a:extLst>
            </p:cNvPr>
            <p:cNvSpPr>
              <a:spLocks noChangeAspect="1"/>
            </p:cNvSpPr>
            <p:nvPr>
              <p:custDataLst>
                <p:tags r:id="rId220"/>
              </p:custDataLst>
            </p:nvPr>
          </p:nvSpPr>
          <p:spPr>
            <a:xfrm>
              <a:off x="8959055" y="3899806"/>
              <a:ext cx="127967" cy="174412"/>
            </a:xfrm>
            <a:custGeom>
              <a:avLst/>
              <a:gdLst>
                <a:gd name="connsiteX0" fmla="*/ 85889 w 101897"/>
                <a:gd name="connsiteY0" fmla="*/ 113636 h 135199"/>
                <a:gd name="connsiteX1" fmla="*/ 86471 w 101897"/>
                <a:gd name="connsiteY1" fmla="*/ 113654 h 135199"/>
                <a:gd name="connsiteX2" fmla="*/ 86794 w 101897"/>
                <a:gd name="connsiteY2" fmla="*/ 114572 h 135199"/>
                <a:gd name="connsiteX3" fmla="*/ 87088 w 101897"/>
                <a:gd name="connsiteY3" fmla="*/ 116258 h 135199"/>
                <a:gd name="connsiteX4" fmla="*/ 86807 w 101897"/>
                <a:gd name="connsiteY4" fmla="*/ 118613 h 135199"/>
                <a:gd name="connsiteX5" fmla="*/ 85473 w 101897"/>
                <a:gd name="connsiteY5" fmla="*/ 118722 h 135199"/>
                <a:gd name="connsiteX6" fmla="*/ 84823 w 101897"/>
                <a:gd name="connsiteY6" fmla="*/ 118036 h 135199"/>
                <a:gd name="connsiteX7" fmla="*/ 85127 w 101897"/>
                <a:gd name="connsiteY7" fmla="*/ 117076 h 135199"/>
                <a:gd name="connsiteX8" fmla="*/ 84769 w 101897"/>
                <a:gd name="connsiteY8" fmla="*/ 113964 h 135199"/>
                <a:gd name="connsiteX9" fmla="*/ 84628 w 101897"/>
                <a:gd name="connsiteY9" fmla="*/ 108905 h 135199"/>
                <a:gd name="connsiteX10" fmla="*/ 84864 w 101897"/>
                <a:gd name="connsiteY10" fmla="*/ 108914 h 135199"/>
                <a:gd name="connsiteX11" fmla="*/ 85333 w 101897"/>
                <a:gd name="connsiteY11" fmla="*/ 109911 h 135199"/>
                <a:gd name="connsiteX12" fmla="*/ 85140 w 101897"/>
                <a:gd name="connsiteY12" fmla="*/ 111106 h 135199"/>
                <a:gd name="connsiteX13" fmla="*/ 84339 w 101897"/>
                <a:gd name="connsiteY13" fmla="*/ 113003 h 135199"/>
                <a:gd name="connsiteX14" fmla="*/ 83944 w 101897"/>
                <a:gd name="connsiteY14" fmla="*/ 111623 h 135199"/>
                <a:gd name="connsiteX15" fmla="*/ 84285 w 101897"/>
                <a:gd name="connsiteY15" fmla="*/ 109872 h 135199"/>
                <a:gd name="connsiteX16" fmla="*/ 67576 w 101897"/>
                <a:gd name="connsiteY16" fmla="*/ 95142 h 135199"/>
                <a:gd name="connsiteX17" fmla="*/ 69318 w 101897"/>
                <a:gd name="connsiteY17" fmla="*/ 98729 h 135199"/>
                <a:gd name="connsiteX18" fmla="*/ 69759 w 101897"/>
                <a:gd name="connsiteY18" fmla="*/ 100643 h 135199"/>
                <a:gd name="connsiteX19" fmla="*/ 69152 w 101897"/>
                <a:gd name="connsiteY19" fmla="*/ 103147 h 135199"/>
                <a:gd name="connsiteX20" fmla="*/ 66807 w 101897"/>
                <a:gd name="connsiteY20" fmla="*/ 104773 h 135199"/>
                <a:gd name="connsiteX21" fmla="*/ 75902 w 101897"/>
                <a:gd name="connsiteY21" fmla="*/ 92892 h 135199"/>
                <a:gd name="connsiteX22" fmla="*/ 76520 w 101897"/>
                <a:gd name="connsiteY22" fmla="*/ 93821 h 135199"/>
                <a:gd name="connsiteX23" fmla="*/ 77384 w 101897"/>
                <a:gd name="connsiteY23" fmla="*/ 95817 h 135199"/>
                <a:gd name="connsiteX24" fmla="*/ 77943 w 101897"/>
                <a:gd name="connsiteY24" fmla="*/ 97335 h 135199"/>
                <a:gd name="connsiteX25" fmla="*/ 78129 w 101897"/>
                <a:gd name="connsiteY25" fmla="*/ 98338 h 135199"/>
                <a:gd name="connsiteX26" fmla="*/ 77105 w 101897"/>
                <a:gd name="connsiteY26" fmla="*/ 99023 h 135199"/>
                <a:gd name="connsiteX27" fmla="*/ 76142 w 101897"/>
                <a:gd name="connsiteY27" fmla="*/ 98427 h 135199"/>
                <a:gd name="connsiteX28" fmla="*/ 74913 w 101897"/>
                <a:gd name="connsiteY28" fmla="*/ 96166 h 135199"/>
                <a:gd name="connsiteX29" fmla="*/ 75523 w 101897"/>
                <a:gd name="connsiteY29" fmla="*/ 93303 h 135199"/>
                <a:gd name="connsiteX30" fmla="*/ 56895 w 101897"/>
                <a:gd name="connsiteY30" fmla="*/ 87142 h 135199"/>
                <a:gd name="connsiteX31" fmla="*/ 58571 w 101897"/>
                <a:gd name="connsiteY31" fmla="*/ 88314 h 135199"/>
                <a:gd name="connsiteX32" fmla="*/ 58809 w 101897"/>
                <a:gd name="connsiteY32" fmla="*/ 88963 h 135199"/>
                <a:gd name="connsiteX33" fmla="*/ 59167 w 101897"/>
                <a:gd name="connsiteY33" fmla="*/ 90634 h 135199"/>
                <a:gd name="connsiteX34" fmla="*/ 60001 w 101897"/>
                <a:gd name="connsiteY34" fmla="*/ 92374 h 135199"/>
                <a:gd name="connsiteX35" fmla="*/ 62903 w 101897"/>
                <a:gd name="connsiteY35" fmla="*/ 95953 h 135199"/>
                <a:gd name="connsiteX36" fmla="*/ 62851 w 101897"/>
                <a:gd name="connsiteY36" fmla="*/ 98144 h 135199"/>
                <a:gd name="connsiteX37" fmla="*/ 62056 w 101897"/>
                <a:gd name="connsiteY37" fmla="*/ 103501 h 135199"/>
                <a:gd name="connsiteX38" fmla="*/ 60901 w 101897"/>
                <a:gd name="connsiteY38" fmla="*/ 105141 h 135199"/>
                <a:gd name="connsiteX39" fmla="*/ 57053 w 101897"/>
                <a:gd name="connsiteY39" fmla="*/ 105955 h 135199"/>
                <a:gd name="connsiteX40" fmla="*/ 55094 w 101897"/>
                <a:gd name="connsiteY40" fmla="*/ 105702 h 135199"/>
                <a:gd name="connsiteX41" fmla="*/ 58752 w 101897"/>
                <a:gd name="connsiteY41" fmla="*/ 99610 h 135199"/>
                <a:gd name="connsiteX42" fmla="*/ 58630 w 101897"/>
                <a:gd name="connsiteY42" fmla="*/ 96880 h 135199"/>
                <a:gd name="connsiteX43" fmla="*/ 58062 w 101897"/>
                <a:gd name="connsiteY43" fmla="*/ 94655 h 135199"/>
                <a:gd name="connsiteX44" fmla="*/ 56198 w 101897"/>
                <a:gd name="connsiteY44" fmla="*/ 92866 h 135199"/>
                <a:gd name="connsiteX45" fmla="*/ 56097 w 101897"/>
                <a:gd name="connsiteY45" fmla="*/ 91587 h 135199"/>
                <a:gd name="connsiteX46" fmla="*/ 55261 w 101897"/>
                <a:gd name="connsiteY46" fmla="*/ 89843 h 135199"/>
                <a:gd name="connsiteX47" fmla="*/ 54827 w 101897"/>
                <a:gd name="connsiteY47" fmla="*/ 87798 h 135199"/>
                <a:gd name="connsiteX48" fmla="*/ 56528 w 101897"/>
                <a:gd name="connsiteY48" fmla="*/ 83136 h 135199"/>
                <a:gd name="connsiteX49" fmla="*/ 57897 w 101897"/>
                <a:gd name="connsiteY49" fmla="*/ 84825 h 135199"/>
                <a:gd name="connsiteX50" fmla="*/ 58290 w 101897"/>
                <a:gd name="connsiteY50" fmla="*/ 85826 h 135199"/>
                <a:gd name="connsiteX51" fmla="*/ 57059 w 101897"/>
                <a:gd name="connsiteY51" fmla="*/ 85231 h 135199"/>
                <a:gd name="connsiteX52" fmla="*/ 56140 w 101897"/>
                <a:gd name="connsiteY52" fmla="*/ 84535 h 135199"/>
                <a:gd name="connsiteX53" fmla="*/ 55566 w 101897"/>
                <a:gd name="connsiteY53" fmla="*/ 83616 h 135199"/>
                <a:gd name="connsiteX54" fmla="*/ 8728 w 101897"/>
                <a:gd name="connsiteY54" fmla="*/ 0 h 135199"/>
                <a:gd name="connsiteX55" fmla="*/ 10942 w 101897"/>
                <a:gd name="connsiteY55" fmla="*/ 1275 h 135199"/>
                <a:gd name="connsiteX56" fmla="*/ 13194 w 101897"/>
                <a:gd name="connsiteY56" fmla="*/ 3341 h 135199"/>
                <a:gd name="connsiteX57" fmla="*/ 14533 w 101897"/>
                <a:gd name="connsiteY57" fmla="*/ 5183 h 135199"/>
                <a:gd name="connsiteX58" fmla="*/ 14580 w 101897"/>
                <a:gd name="connsiteY58" fmla="*/ 6635 h 135199"/>
                <a:gd name="connsiteX59" fmla="*/ 15450 w 101897"/>
                <a:gd name="connsiteY59" fmla="*/ 6868 h 135199"/>
                <a:gd name="connsiteX60" fmla="*/ 16329 w 101897"/>
                <a:gd name="connsiteY60" fmla="*/ 6926 h 135199"/>
                <a:gd name="connsiteX61" fmla="*/ 17791 w 101897"/>
                <a:gd name="connsiteY61" fmla="*/ 7570 h 135199"/>
                <a:gd name="connsiteX62" fmla="*/ 19305 w 101897"/>
                <a:gd name="connsiteY62" fmla="*/ 7374 h 135199"/>
                <a:gd name="connsiteX63" fmla="*/ 20283 w 101897"/>
                <a:gd name="connsiteY63" fmla="*/ 7732 h 135199"/>
                <a:gd name="connsiteX64" fmla="*/ 20940 w 101897"/>
                <a:gd name="connsiteY64" fmla="*/ 7601 h 135199"/>
                <a:gd name="connsiteX65" fmla="*/ 21186 w 101897"/>
                <a:gd name="connsiteY65" fmla="*/ 6767 h 135199"/>
                <a:gd name="connsiteX66" fmla="*/ 20449 w 101897"/>
                <a:gd name="connsiteY66" fmla="*/ 5538 h 135199"/>
                <a:gd name="connsiteX67" fmla="*/ 19916 w 101897"/>
                <a:gd name="connsiteY67" fmla="*/ 4659 h 135199"/>
                <a:gd name="connsiteX68" fmla="*/ 20531 w 101897"/>
                <a:gd name="connsiteY68" fmla="*/ 3781 h 135199"/>
                <a:gd name="connsiteX69" fmla="*/ 21227 w 101897"/>
                <a:gd name="connsiteY69" fmla="*/ 3605 h 135199"/>
                <a:gd name="connsiteX70" fmla="*/ 22007 w 101897"/>
                <a:gd name="connsiteY70" fmla="*/ 3825 h 135199"/>
                <a:gd name="connsiteX71" fmla="*/ 23071 w 101897"/>
                <a:gd name="connsiteY71" fmla="*/ 4616 h 135199"/>
                <a:gd name="connsiteX72" fmla="*/ 23848 w 101897"/>
                <a:gd name="connsiteY72" fmla="*/ 6240 h 135199"/>
                <a:gd name="connsiteX73" fmla="*/ 23989 w 101897"/>
                <a:gd name="connsiteY73" fmla="*/ 8753 h 135199"/>
                <a:gd name="connsiteX74" fmla="*/ 25716 w 101897"/>
                <a:gd name="connsiteY74" fmla="*/ 11033 h 135199"/>
                <a:gd name="connsiteX75" fmla="*/ 27990 w 101897"/>
                <a:gd name="connsiteY75" fmla="*/ 12650 h 135199"/>
                <a:gd name="connsiteX76" fmla="*/ 29770 w 101897"/>
                <a:gd name="connsiteY76" fmla="*/ 13395 h 135199"/>
                <a:gd name="connsiteX77" fmla="*/ 31918 w 101897"/>
                <a:gd name="connsiteY77" fmla="*/ 13929 h 135199"/>
                <a:gd name="connsiteX78" fmla="*/ 33753 w 101897"/>
                <a:gd name="connsiteY78" fmla="*/ 13415 h 135199"/>
                <a:gd name="connsiteX79" fmla="*/ 34671 w 101897"/>
                <a:gd name="connsiteY79" fmla="*/ 11827 h 135199"/>
                <a:gd name="connsiteX80" fmla="*/ 34258 w 101897"/>
                <a:gd name="connsiteY80" fmla="*/ 10409 h 135199"/>
                <a:gd name="connsiteX81" fmla="*/ 34546 w 101897"/>
                <a:gd name="connsiteY81" fmla="*/ 9137 h 135199"/>
                <a:gd name="connsiteX82" fmla="*/ 35282 w 101897"/>
                <a:gd name="connsiteY82" fmla="*/ 8435 h 135199"/>
                <a:gd name="connsiteX83" fmla="*/ 36429 w 101897"/>
                <a:gd name="connsiteY83" fmla="*/ 8479 h 135199"/>
                <a:gd name="connsiteX84" fmla="*/ 37290 w 101897"/>
                <a:gd name="connsiteY84" fmla="*/ 9487 h 135199"/>
                <a:gd name="connsiteX85" fmla="*/ 39791 w 101897"/>
                <a:gd name="connsiteY85" fmla="*/ 14925 h 135199"/>
                <a:gd name="connsiteX86" fmla="*/ 39274 w 101897"/>
                <a:gd name="connsiteY86" fmla="*/ 17332 h 135199"/>
                <a:gd name="connsiteX87" fmla="*/ 39834 w 101897"/>
                <a:gd name="connsiteY87" fmla="*/ 23932 h 135199"/>
                <a:gd name="connsiteX88" fmla="*/ 39202 w 101897"/>
                <a:gd name="connsiteY88" fmla="*/ 28280 h 135199"/>
                <a:gd name="connsiteX89" fmla="*/ 39303 w 101897"/>
                <a:gd name="connsiteY89" fmla="*/ 29215 h 135199"/>
                <a:gd name="connsiteX90" fmla="*/ 39595 w 101897"/>
                <a:gd name="connsiteY90" fmla="*/ 29940 h 135199"/>
                <a:gd name="connsiteX91" fmla="*/ 40020 w 101897"/>
                <a:gd name="connsiteY91" fmla="*/ 30237 h 135199"/>
                <a:gd name="connsiteX92" fmla="*/ 40750 w 101897"/>
                <a:gd name="connsiteY92" fmla="*/ 30228 h 135199"/>
                <a:gd name="connsiteX93" fmla="*/ 43790 w 101897"/>
                <a:gd name="connsiteY93" fmla="*/ 31048 h 135199"/>
                <a:gd name="connsiteX94" fmla="*/ 46352 w 101897"/>
                <a:gd name="connsiteY94" fmla="*/ 31953 h 135199"/>
                <a:gd name="connsiteX95" fmla="*/ 49243 w 101897"/>
                <a:gd name="connsiteY95" fmla="*/ 32777 h 135199"/>
                <a:gd name="connsiteX96" fmla="*/ 53421 w 101897"/>
                <a:gd name="connsiteY96" fmla="*/ 33419 h 135199"/>
                <a:gd name="connsiteX97" fmla="*/ 55984 w 101897"/>
                <a:gd name="connsiteY97" fmla="*/ 33210 h 135199"/>
                <a:gd name="connsiteX98" fmla="*/ 57262 w 101897"/>
                <a:gd name="connsiteY98" fmla="*/ 33183 h 135199"/>
                <a:gd name="connsiteX99" fmla="*/ 59851 w 101897"/>
                <a:gd name="connsiteY99" fmla="*/ 33378 h 135199"/>
                <a:gd name="connsiteX100" fmla="*/ 66665 w 101897"/>
                <a:gd name="connsiteY100" fmla="*/ 33034 h 135199"/>
                <a:gd name="connsiteX101" fmla="*/ 72300 w 101897"/>
                <a:gd name="connsiteY101" fmla="*/ 32942 h 135199"/>
                <a:gd name="connsiteX102" fmla="*/ 74589 w 101897"/>
                <a:gd name="connsiteY102" fmla="*/ 33563 h 135199"/>
                <a:gd name="connsiteX103" fmla="*/ 76425 w 101897"/>
                <a:gd name="connsiteY103" fmla="*/ 33786 h 135199"/>
                <a:gd name="connsiteX104" fmla="*/ 82700 w 101897"/>
                <a:gd name="connsiteY104" fmla="*/ 33350 h 135199"/>
                <a:gd name="connsiteX105" fmla="*/ 89030 w 101897"/>
                <a:gd name="connsiteY105" fmla="*/ 33142 h 135199"/>
                <a:gd name="connsiteX106" fmla="*/ 92456 w 101897"/>
                <a:gd name="connsiteY106" fmla="*/ 34521 h 135199"/>
                <a:gd name="connsiteX107" fmla="*/ 96188 w 101897"/>
                <a:gd name="connsiteY107" fmla="*/ 36776 h 135199"/>
                <a:gd name="connsiteX108" fmla="*/ 98286 w 101897"/>
                <a:gd name="connsiteY108" fmla="*/ 38446 h 135199"/>
                <a:gd name="connsiteX109" fmla="*/ 98665 w 101897"/>
                <a:gd name="connsiteY109" fmla="*/ 39406 h 135199"/>
                <a:gd name="connsiteX110" fmla="*/ 98434 w 101897"/>
                <a:gd name="connsiteY110" fmla="*/ 40225 h 135199"/>
                <a:gd name="connsiteX111" fmla="*/ 97730 w 101897"/>
                <a:gd name="connsiteY111" fmla="*/ 40674 h 135199"/>
                <a:gd name="connsiteX112" fmla="*/ 96442 w 101897"/>
                <a:gd name="connsiteY112" fmla="*/ 40689 h 135199"/>
                <a:gd name="connsiteX113" fmla="*/ 93486 w 101897"/>
                <a:gd name="connsiteY113" fmla="*/ 39600 h 135199"/>
                <a:gd name="connsiteX114" fmla="*/ 92979 w 101897"/>
                <a:gd name="connsiteY114" fmla="*/ 39923 h 135199"/>
                <a:gd name="connsiteX115" fmla="*/ 93029 w 101897"/>
                <a:gd name="connsiteY115" fmla="*/ 42159 h 135199"/>
                <a:gd name="connsiteX116" fmla="*/ 92942 w 101897"/>
                <a:gd name="connsiteY116" fmla="*/ 42517 h 135199"/>
                <a:gd name="connsiteX117" fmla="*/ 92309 w 101897"/>
                <a:gd name="connsiteY117" fmla="*/ 44521 h 135199"/>
                <a:gd name="connsiteX118" fmla="*/ 90528 w 101897"/>
                <a:gd name="connsiteY118" fmla="*/ 49024 h 135199"/>
                <a:gd name="connsiteX119" fmla="*/ 90185 w 101897"/>
                <a:gd name="connsiteY119" fmla="*/ 51040 h 135199"/>
                <a:gd name="connsiteX120" fmla="*/ 89811 w 101897"/>
                <a:gd name="connsiteY120" fmla="*/ 51553 h 135199"/>
                <a:gd name="connsiteX121" fmla="*/ 89349 w 101897"/>
                <a:gd name="connsiteY121" fmla="*/ 51830 h 135199"/>
                <a:gd name="connsiteX122" fmla="*/ 87954 w 101897"/>
                <a:gd name="connsiteY122" fmla="*/ 51912 h 135199"/>
                <a:gd name="connsiteX123" fmla="*/ 86861 w 101897"/>
                <a:gd name="connsiteY123" fmla="*/ 52244 h 135199"/>
                <a:gd name="connsiteX124" fmla="*/ 86406 w 101897"/>
                <a:gd name="connsiteY124" fmla="*/ 52976 h 135199"/>
                <a:gd name="connsiteX125" fmla="*/ 85697 w 101897"/>
                <a:gd name="connsiteY125" fmla="*/ 54496 h 135199"/>
                <a:gd name="connsiteX126" fmla="*/ 85210 w 101897"/>
                <a:gd name="connsiteY126" fmla="*/ 56029 h 135199"/>
                <a:gd name="connsiteX127" fmla="*/ 84529 w 101897"/>
                <a:gd name="connsiteY127" fmla="*/ 56498 h 135199"/>
                <a:gd name="connsiteX128" fmla="*/ 82899 w 101897"/>
                <a:gd name="connsiteY128" fmla="*/ 55669 h 135199"/>
                <a:gd name="connsiteX129" fmla="*/ 81884 w 101897"/>
                <a:gd name="connsiteY129" fmla="*/ 55800 h 135199"/>
                <a:gd name="connsiteX130" fmla="*/ 80605 w 101897"/>
                <a:gd name="connsiteY130" fmla="*/ 56151 h 135199"/>
                <a:gd name="connsiteX131" fmla="*/ 79332 w 101897"/>
                <a:gd name="connsiteY131" fmla="*/ 57024 h 135199"/>
                <a:gd name="connsiteX132" fmla="*/ 78453 w 101897"/>
                <a:gd name="connsiteY132" fmla="*/ 58108 h 135199"/>
                <a:gd name="connsiteX133" fmla="*/ 77457 w 101897"/>
                <a:gd name="connsiteY133" fmla="*/ 58478 h 135199"/>
                <a:gd name="connsiteX134" fmla="*/ 74501 w 101897"/>
                <a:gd name="connsiteY134" fmla="*/ 58260 h 135199"/>
                <a:gd name="connsiteX135" fmla="*/ 73935 w 101897"/>
                <a:gd name="connsiteY135" fmla="*/ 58414 h 135199"/>
                <a:gd name="connsiteX136" fmla="*/ 73561 w 101897"/>
                <a:gd name="connsiteY136" fmla="*/ 59187 h 135199"/>
                <a:gd name="connsiteX137" fmla="*/ 73257 w 101897"/>
                <a:gd name="connsiteY137" fmla="*/ 60164 h 135199"/>
                <a:gd name="connsiteX138" fmla="*/ 70948 w 101897"/>
                <a:gd name="connsiteY138" fmla="*/ 62466 h 135199"/>
                <a:gd name="connsiteX139" fmla="*/ 70074 w 101897"/>
                <a:gd name="connsiteY139" fmla="*/ 66153 h 135199"/>
                <a:gd name="connsiteX140" fmla="*/ 69366 w 101897"/>
                <a:gd name="connsiteY140" fmla="*/ 68543 h 135199"/>
                <a:gd name="connsiteX141" fmla="*/ 69478 w 101897"/>
                <a:gd name="connsiteY141" fmla="*/ 70404 h 135199"/>
                <a:gd name="connsiteX142" fmla="*/ 71431 w 101897"/>
                <a:gd name="connsiteY142" fmla="*/ 75248 h 135199"/>
                <a:gd name="connsiteX143" fmla="*/ 72789 w 101897"/>
                <a:gd name="connsiteY143" fmla="*/ 81529 h 135199"/>
                <a:gd name="connsiteX144" fmla="*/ 73311 w 101897"/>
                <a:gd name="connsiteY144" fmla="*/ 82168 h 135199"/>
                <a:gd name="connsiteX145" fmla="*/ 73765 w 101897"/>
                <a:gd name="connsiteY145" fmla="*/ 82369 h 135199"/>
                <a:gd name="connsiteX146" fmla="*/ 73970 w 101897"/>
                <a:gd name="connsiteY146" fmla="*/ 82225 h 135199"/>
                <a:gd name="connsiteX147" fmla="*/ 73929 w 101897"/>
                <a:gd name="connsiteY147" fmla="*/ 80921 h 135199"/>
                <a:gd name="connsiteX148" fmla="*/ 74013 w 101897"/>
                <a:gd name="connsiteY148" fmla="*/ 79347 h 135199"/>
                <a:gd name="connsiteX149" fmla="*/ 74650 w 101897"/>
                <a:gd name="connsiteY149" fmla="*/ 78976 h 135199"/>
                <a:gd name="connsiteX150" fmla="*/ 75464 w 101897"/>
                <a:gd name="connsiteY150" fmla="*/ 79302 h 135199"/>
                <a:gd name="connsiteX151" fmla="*/ 76241 w 101897"/>
                <a:gd name="connsiteY151" fmla="*/ 80670 h 135199"/>
                <a:gd name="connsiteX152" fmla="*/ 77123 w 101897"/>
                <a:gd name="connsiteY152" fmla="*/ 83177 h 135199"/>
                <a:gd name="connsiteX153" fmla="*/ 78057 w 101897"/>
                <a:gd name="connsiteY153" fmla="*/ 84159 h 135199"/>
                <a:gd name="connsiteX154" fmla="*/ 79517 w 101897"/>
                <a:gd name="connsiteY154" fmla="*/ 84436 h 135199"/>
                <a:gd name="connsiteX155" fmla="*/ 81184 w 101897"/>
                <a:gd name="connsiteY155" fmla="*/ 83850 h 135199"/>
                <a:gd name="connsiteX156" fmla="*/ 82424 w 101897"/>
                <a:gd name="connsiteY156" fmla="*/ 82715 h 135199"/>
                <a:gd name="connsiteX157" fmla="*/ 82929 w 101897"/>
                <a:gd name="connsiteY157" fmla="*/ 81489 h 135199"/>
                <a:gd name="connsiteX158" fmla="*/ 82577 w 101897"/>
                <a:gd name="connsiteY158" fmla="*/ 79071 h 135199"/>
                <a:gd name="connsiteX159" fmla="*/ 82495 w 101897"/>
                <a:gd name="connsiteY159" fmla="*/ 77263 h 135199"/>
                <a:gd name="connsiteX160" fmla="*/ 83287 w 101897"/>
                <a:gd name="connsiteY160" fmla="*/ 75542 h 135199"/>
                <a:gd name="connsiteX161" fmla="*/ 86142 w 101897"/>
                <a:gd name="connsiteY161" fmla="*/ 72974 h 135199"/>
                <a:gd name="connsiteX162" fmla="*/ 86557 w 101897"/>
                <a:gd name="connsiteY162" fmla="*/ 72188 h 135199"/>
                <a:gd name="connsiteX163" fmla="*/ 86371 w 101897"/>
                <a:gd name="connsiteY163" fmla="*/ 70002 h 135199"/>
                <a:gd name="connsiteX164" fmla="*/ 86373 w 101897"/>
                <a:gd name="connsiteY164" fmla="*/ 67951 h 135199"/>
                <a:gd name="connsiteX165" fmla="*/ 87455 w 101897"/>
                <a:gd name="connsiteY165" fmla="*/ 67810 h 135199"/>
                <a:gd name="connsiteX166" fmla="*/ 88904 w 101897"/>
                <a:gd name="connsiteY166" fmla="*/ 68143 h 135199"/>
                <a:gd name="connsiteX167" fmla="*/ 90740 w 101897"/>
                <a:gd name="connsiteY167" fmla="*/ 67132 h 135199"/>
                <a:gd name="connsiteX168" fmla="*/ 91299 w 101897"/>
                <a:gd name="connsiteY168" fmla="*/ 67112 h 135199"/>
                <a:gd name="connsiteX169" fmla="*/ 92067 w 101897"/>
                <a:gd name="connsiteY169" fmla="*/ 68195 h 135199"/>
                <a:gd name="connsiteX170" fmla="*/ 93372 w 101897"/>
                <a:gd name="connsiteY170" fmla="*/ 68007 h 135199"/>
                <a:gd name="connsiteX171" fmla="*/ 94328 w 101897"/>
                <a:gd name="connsiteY171" fmla="*/ 72473 h 135199"/>
                <a:gd name="connsiteX172" fmla="*/ 95320 w 101897"/>
                <a:gd name="connsiteY172" fmla="*/ 76411 h 135199"/>
                <a:gd name="connsiteX173" fmla="*/ 95311 w 101897"/>
                <a:gd name="connsiteY173" fmla="*/ 78311 h 135199"/>
                <a:gd name="connsiteX174" fmla="*/ 95475 w 101897"/>
                <a:gd name="connsiteY174" fmla="*/ 82335 h 135199"/>
                <a:gd name="connsiteX175" fmla="*/ 95926 w 101897"/>
                <a:gd name="connsiteY175" fmla="*/ 85617 h 135199"/>
                <a:gd name="connsiteX176" fmla="*/ 96624 w 101897"/>
                <a:gd name="connsiteY176" fmla="*/ 86362 h 135199"/>
                <a:gd name="connsiteX177" fmla="*/ 97448 w 101897"/>
                <a:gd name="connsiteY177" fmla="*/ 88113 h 135199"/>
                <a:gd name="connsiteX178" fmla="*/ 98200 w 101897"/>
                <a:gd name="connsiteY178" fmla="*/ 90147 h 135199"/>
                <a:gd name="connsiteX179" fmla="*/ 98796 w 101897"/>
                <a:gd name="connsiteY179" fmla="*/ 91289 h 135199"/>
                <a:gd name="connsiteX180" fmla="*/ 99198 w 101897"/>
                <a:gd name="connsiteY180" fmla="*/ 95004 h 135199"/>
                <a:gd name="connsiteX181" fmla="*/ 99690 w 101897"/>
                <a:gd name="connsiteY181" fmla="*/ 97686 h 135199"/>
                <a:gd name="connsiteX182" fmla="*/ 100340 w 101897"/>
                <a:gd name="connsiteY182" fmla="*/ 106098 h 135199"/>
                <a:gd name="connsiteX183" fmla="*/ 100643 w 101897"/>
                <a:gd name="connsiteY183" fmla="*/ 107722 h 135199"/>
                <a:gd name="connsiteX184" fmla="*/ 100817 w 101897"/>
                <a:gd name="connsiteY184" fmla="*/ 108597 h 135199"/>
                <a:gd name="connsiteX185" fmla="*/ 100850 w 101897"/>
                <a:gd name="connsiteY185" fmla="*/ 116275 h 135199"/>
                <a:gd name="connsiteX186" fmla="*/ 101053 w 101897"/>
                <a:gd name="connsiteY186" fmla="*/ 119555 h 135199"/>
                <a:gd name="connsiteX187" fmla="*/ 101757 w 101897"/>
                <a:gd name="connsiteY187" fmla="*/ 122253 h 135199"/>
                <a:gd name="connsiteX188" fmla="*/ 101897 w 101897"/>
                <a:gd name="connsiteY188" fmla="*/ 123283 h 135199"/>
                <a:gd name="connsiteX189" fmla="*/ 101193 w 101897"/>
                <a:gd name="connsiteY189" fmla="*/ 124117 h 135199"/>
                <a:gd name="connsiteX190" fmla="*/ 100502 w 101897"/>
                <a:gd name="connsiteY190" fmla="*/ 124274 h 135199"/>
                <a:gd name="connsiteX191" fmla="*/ 99852 w 101897"/>
                <a:gd name="connsiteY191" fmla="*/ 122968 h 135199"/>
                <a:gd name="connsiteX192" fmla="*/ 98365 w 101897"/>
                <a:gd name="connsiteY192" fmla="*/ 121970 h 135199"/>
                <a:gd name="connsiteX193" fmla="*/ 96170 w 101897"/>
                <a:gd name="connsiteY193" fmla="*/ 120905 h 135199"/>
                <a:gd name="connsiteX194" fmla="*/ 95240 w 101897"/>
                <a:gd name="connsiteY194" fmla="*/ 120193 h 135199"/>
                <a:gd name="connsiteX195" fmla="*/ 94115 w 101897"/>
                <a:gd name="connsiteY195" fmla="*/ 120475 h 135199"/>
                <a:gd name="connsiteX196" fmla="*/ 92534 w 101897"/>
                <a:gd name="connsiteY196" fmla="*/ 122088 h 135199"/>
                <a:gd name="connsiteX197" fmla="*/ 91901 w 101897"/>
                <a:gd name="connsiteY197" fmla="*/ 123586 h 135199"/>
                <a:gd name="connsiteX198" fmla="*/ 92176 w 101897"/>
                <a:gd name="connsiteY198" fmla="*/ 125687 h 135199"/>
                <a:gd name="connsiteX199" fmla="*/ 92679 w 101897"/>
                <a:gd name="connsiteY199" fmla="*/ 127757 h 135199"/>
                <a:gd name="connsiteX200" fmla="*/ 93778 w 101897"/>
                <a:gd name="connsiteY200" fmla="*/ 128940 h 135199"/>
                <a:gd name="connsiteX201" fmla="*/ 93866 w 101897"/>
                <a:gd name="connsiteY201" fmla="*/ 130252 h 135199"/>
                <a:gd name="connsiteX202" fmla="*/ 94259 w 101897"/>
                <a:gd name="connsiteY202" fmla="*/ 131940 h 135199"/>
                <a:gd name="connsiteX203" fmla="*/ 94827 w 101897"/>
                <a:gd name="connsiteY203" fmla="*/ 133491 h 135199"/>
                <a:gd name="connsiteX204" fmla="*/ 95097 w 101897"/>
                <a:gd name="connsiteY204" fmla="*/ 135166 h 135199"/>
                <a:gd name="connsiteX205" fmla="*/ 94737 w 101897"/>
                <a:gd name="connsiteY205" fmla="*/ 135199 h 135199"/>
                <a:gd name="connsiteX206" fmla="*/ 93417 w 101897"/>
                <a:gd name="connsiteY206" fmla="*/ 133048 h 135199"/>
                <a:gd name="connsiteX207" fmla="*/ 92234 w 101897"/>
                <a:gd name="connsiteY207" fmla="*/ 130724 h 135199"/>
                <a:gd name="connsiteX208" fmla="*/ 89170 w 101897"/>
                <a:gd name="connsiteY208" fmla="*/ 126321 h 135199"/>
                <a:gd name="connsiteX209" fmla="*/ 88172 w 101897"/>
                <a:gd name="connsiteY209" fmla="*/ 118423 h 135199"/>
                <a:gd name="connsiteX210" fmla="*/ 88107 w 101897"/>
                <a:gd name="connsiteY210" fmla="*/ 114521 h 135199"/>
                <a:gd name="connsiteX211" fmla="*/ 86010 w 101897"/>
                <a:gd name="connsiteY211" fmla="*/ 109925 h 135199"/>
                <a:gd name="connsiteX212" fmla="*/ 84614 w 101897"/>
                <a:gd name="connsiteY212" fmla="*/ 103561 h 135199"/>
                <a:gd name="connsiteX213" fmla="*/ 84056 w 101897"/>
                <a:gd name="connsiteY213" fmla="*/ 101906 h 135199"/>
                <a:gd name="connsiteX214" fmla="*/ 84786 w 101897"/>
                <a:gd name="connsiteY214" fmla="*/ 99846 h 135199"/>
                <a:gd name="connsiteX215" fmla="*/ 84909 w 101897"/>
                <a:gd name="connsiteY215" fmla="*/ 99076 h 135199"/>
                <a:gd name="connsiteX216" fmla="*/ 84512 w 101897"/>
                <a:gd name="connsiteY216" fmla="*/ 99247 h 135199"/>
                <a:gd name="connsiteX217" fmla="*/ 83443 w 101897"/>
                <a:gd name="connsiteY217" fmla="*/ 100308 h 135199"/>
                <a:gd name="connsiteX218" fmla="*/ 82050 w 101897"/>
                <a:gd name="connsiteY218" fmla="*/ 97770 h 135199"/>
                <a:gd name="connsiteX219" fmla="*/ 81141 w 101897"/>
                <a:gd name="connsiteY219" fmla="*/ 95490 h 135199"/>
                <a:gd name="connsiteX220" fmla="*/ 77530 w 101897"/>
                <a:gd name="connsiteY220" fmla="*/ 90770 h 135199"/>
                <a:gd name="connsiteX221" fmla="*/ 76479 w 101897"/>
                <a:gd name="connsiteY221" fmla="*/ 88681 h 135199"/>
                <a:gd name="connsiteX222" fmla="*/ 76433 w 101897"/>
                <a:gd name="connsiteY222" fmla="*/ 86646 h 135199"/>
                <a:gd name="connsiteX223" fmla="*/ 74875 w 101897"/>
                <a:gd name="connsiteY223" fmla="*/ 88691 h 135199"/>
                <a:gd name="connsiteX224" fmla="*/ 72756 w 101897"/>
                <a:gd name="connsiteY224" fmla="*/ 90130 h 135199"/>
                <a:gd name="connsiteX225" fmla="*/ 70599 w 101897"/>
                <a:gd name="connsiteY225" fmla="*/ 92293 h 135199"/>
                <a:gd name="connsiteX226" fmla="*/ 69165 w 101897"/>
                <a:gd name="connsiteY226" fmla="*/ 92948 h 135199"/>
                <a:gd name="connsiteX227" fmla="*/ 64616 w 101897"/>
                <a:gd name="connsiteY227" fmla="*/ 93345 h 135199"/>
                <a:gd name="connsiteX228" fmla="*/ 61988 w 101897"/>
                <a:gd name="connsiteY228" fmla="*/ 90451 h 135199"/>
                <a:gd name="connsiteX229" fmla="*/ 58217 w 101897"/>
                <a:gd name="connsiteY229" fmla="*/ 83369 h 135199"/>
                <a:gd name="connsiteX230" fmla="*/ 57716 w 101897"/>
                <a:gd name="connsiteY230" fmla="*/ 81766 h 135199"/>
                <a:gd name="connsiteX231" fmla="*/ 58213 w 101897"/>
                <a:gd name="connsiteY231" fmla="*/ 77596 h 135199"/>
                <a:gd name="connsiteX232" fmla="*/ 57318 w 101897"/>
                <a:gd name="connsiteY232" fmla="*/ 73644 h 135199"/>
                <a:gd name="connsiteX233" fmla="*/ 57329 w 101897"/>
                <a:gd name="connsiteY233" fmla="*/ 71558 h 135199"/>
                <a:gd name="connsiteX234" fmla="*/ 57062 w 101897"/>
                <a:gd name="connsiteY234" fmla="*/ 70163 h 135199"/>
                <a:gd name="connsiteX235" fmla="*/ 56386 w 101897"/>
                <a:gd name="connsiteY235" fmla="*/ 70472 h 135199"/>
                <a:gd name="connsiteX236" fmla="*/ 56125 w 101897"/>
                <a:gd name="connsiteY236" fmla="*/ 71430 h 135199"/>
                <a:gd name="connsiteX237" fmla="*/ 56267 w 101897"/>
                <a:gd name="connsiteY237" fmla="*/ 72898 h 135199"/>
                <a:gd name="connsiteX238" fmla="*/ 55993 w 101897"/>
                <a:gd name="connsiteY238" fmla="*/ 74130 h 135199"/>
                <a:gd name="connsiteX239" fmla="*/ 52728 w 101897"/>
                <a:gd name="connsiteY239" fmla="*/ 73888 h 135199"/>
                <a:gd name="connsiteX240" fmla="*/ 49658 w 101897"/>
                <a:gd name="connsiteY240" fmla="*/ 73328 h 135199"/>
                <a:gd name="connsiteX241" fmla="*/ 52363 w 101897"/>
                <a:gd name="connsiteY241" fmla="*/ 75404 h 135199"/>
                <a:gd name="connsiteX242" fmla="*/ 55265 w 101897"/>
                <a:gd name="connsiteY242" fmla="*/ 75890 h 135199"/>
                <a:gd name="connsiteX243" fmla="*/ 56773 w 101897"/>
                <a:gd name="connsiteY243" fmla="*/ 77751 h 135199"/>
                <a:gd name="connsiteX244" fmla="*/ 56956 w 101897"/>
                <a:gd name="connsiteY244" fmla="*/ 79203 h 135199"/>
                <a:gd name="connsiteX245" fmla="*/ 56866 w 101897"/>
                <a:gd name="connsiteY245" fmla="*/ 80840 h 135199"/>
                <a:gd name="connsiteX246" fmla="*/ 55375 w 101897"/>
                <a:gd name="connsiteY246" fmla="*/ 81982 h 135199"/>
                <a:gd name="connsiteX247" fmla="*/ 54011 w 101897"/>
                <a:gd name="connsiteY247" fmla="*/ 82706 h 135199"/>
                <a:gd name="connsiteX248" fmla="*/ 54266 w 101897"/>
                <a:gd name="connsiteY248" fmla="*/ 84271 h 135199"/>
                <a:gd name="connsiteX249" fmla="*/ 55918 w 101897"/>
                <a:gd name="connsiteY249" fmla="*/ 86179 h 135199"/>
                <a:gd name="connsiteX250" fmla="*/ 53913 w 101897"/>
                <a:gd name="connsiteY250" fmla="*/ 86717 h 135199"/>
                <a:gd name="connsiteX251" fmla="*/ 53367 w 101897"/>
                <a:gd name="connsiteY251" fmla="*/ 87965 h 135199"/>
                <a:gd name="connsiteX252" fmla="*/ 53326 w 101897"/>
                <a:gd name="connsiteY252" fmla="*/ 89741 h 135199"/>
                <a:gd name="connsiteX253" fmla="*/ 54335 w 101897"/>
                <a:gd name="connsiteY253" fmla="*/ 91306 h 135199"/>
                <a:gd name="connsiteX254" fmla="*/ 54728 w 101897"/>
                <a:gd name="connsiteY254" fmla="*/ 92466 h 135199"/>
                <a:gd name="connsiteX255" fmla="*/ 54484 w 101897"/>
                <a:gd name="connsiteY255" fmla="*/ 93538 h 135199"/>
                <a:gd name="connsiteX256" fmla="*/ 55464 w 101897"/>
                <a:gd name="connsiteY256" fmla="*/ 94687 h 135199"/>
                <a:gd name="connsiteX257" fmla="*/ 56874 w 101897"/>
                <a:gd name="connsiteY257" fmla="*/ 97092 h 135199"/>
                <a:gd name="connsiteX258" fmla="*/ 57329 w 101897"/>
                <a:gd name="connsiteY258" fmla="*/ 98805 h 135199"/>
                <a:gd name="connsiteX259" fmla="*/ 56740 w 101897"/>
                <a:gd name="connsiteY259" fmla="*/ 101214 h 135199"/>
                <a:gd name="connsiteX260" fmla="*/ 55930 w 101897"/>
                <a:gd name="connsiteY260" fmla="*/ 102149 h 135199"/>
                <a:gd name="connsiteX261" fmla="*/ 54632 w 101897"/>
                <a:gd name="connsiteY261" fmla="*/ 103061 h 135199"/>
                <a:gd name="connsiteX262" fmla="*/ 51573 w 101897"/>
                <a:gd name="connsiteY262" fmla="*/ 106094 h 135199"/>
                <a:gd name="connsiteX263" fmla="*/ 50078 w 101897"/>
                <a:gd name="connsiteY263" fmla="*/ 109546 h 135199"/>
                <a:gd name="connsiteX264" fmla="*/ 48804 w 101897"/>
                <a:gd name="connsiteY264" fmla="*/ 111160 h 135199"/>
                <a:gd name="connsiteX265" fmla="*/ 47217 w 101897"/>
                <a:gd name="connsiteY265" fmla="*/ 111460 h 135199"/>
                <a:gd name="connsiteX266" fmla="*/ 46597 w 101897"/>
                <a:gd name="connsiteY266" fmla="*/ 110751 h 135199"/>
                <a:gd name="connsiteX267" fmla="*/ 45280 w 101897"/>
                <a:gd name="connsiteY267" fmla="*/ 109828 h 135199"/>
                <a:gd name="connsiteX268" fmla="*/ 45255 w 101897"/>
                <a:gd name="connsiteY268" fmla="*/ 108143 h 135199"/>
                <a:gd name="connsiteX269" fmla="*/ 45649 w 101897"/>
                <a:gd name="connsiteY269" fmla="*/ 106807 h 135199"/>
                <a:gd name="connsiteX270" fmla="*/ 48340 w 101897"/>
                <a:gd name="connsiteY270" fmla="*/ 103579 h 135199"/>
                <a:gd name="connsiteX271" fmla="*/ 46878 w 101897"/>
                <a:gd name="connsiteY271" fmla="*/ 104013 h 135199"/>
                <a:gd name="connsiteX272" fmla="*/ 45222 w 101897"/>
                <a:gd name="connsiteY272" fmla="*/ 104935 h 135199"/>
                <a:gd name="connsiteX273" fmla="*/ 42693 w 101897"/>
                <a:gd name="connsiteY273" fmla="*/ 106683 h 135199"/>
                <a:gd name="connsiteX274" fmla="*/ 41894 w 101897"/>
                <a:gd name="connsiteY274" fmla="*/ 104518 h 135199"/>
                <a:gd name="connsiteX275" fmla="*/ 41363 w 101897"/>
                <a:gd name="connsiteY275" fmla="*/ 102511 h 135199"/>
                <a:gd name="connsiteX276" fmla="*/ 41359 w 101897"/>
                <a:gd name="connsiteY276" fmla="*/ 100054 h 135199"/>
                <a:gd name="connsiteX277" fmla="*/ 43377 w 101897"/>
                <a:gd name="connsiteY277" fmla="*/ 96382 h 135199"/>
                <a:gd name="connsiteX278" fmla="*/ 41093 w 101897"/>
                <a:gd name="connsiteY278" fmla="*/ 98214 h 135199"/>
                <a:gd name="connsiteX279" fmla="*/ 40460 w 101897"/>
                <a:gd name="connsiteY279" fmla="*/ 100505 h 135199"/>
                <a:gd name="connsiteX280" fmla="*/ 40739 w 101897"/>
                <a:gd name="connsiteY280" fmla="*/ 103197 h 135199"/>
                <a:gd name="connsiteX281" fmla="*/ 40445 w 101897"/>
                <a:gd name="connsiteY281" fmla="*/ 105103 h 135199"/>
                <a:gd name="connsiteX282" fmla="*/ 39547 w 101897"/>
                <a:gd name="connsiteY282" fmla="*/ 107596 h 135199"/>
                <a:gd name="connsiteX283" fmla="*/ 38329 w 101897"/>
                <a:gd name="connsiteY283" fmla="*/ 109091 h 135199"/>
                <a:gd name="connsiteX284" fmla="*/ 36360 w 101897"/>
                <a:gd name="connsiteY284" fmla="*/ 110050 h 135199"/>
                <a:gd name="connsiteX285" fmla="*/ 35483 w 101897"/>
                <a:gd name="connsiteY285" fmla="*/ 111522 h 135199"/>
                <a:gd name="connsiteX286" fmla="*/ 34166 w 101897"/>
                <a:gd name="connsiteY286" fmla="*/ 112605 h 135199"/>
                <a:gd name="connsiteX287" fmla="*/ 34123 w 101897"/>
                <a:gd name="connsiteY287" fmla="*/ 110446 h 135199"/>
                <a:gd name="connsiteX288" fmla="*/ 33700 w 101897"/>
                <a:gd name="connsiteY288" fmla="*/ 107591 h 135199"/>
                <a:gd name="connsiteX289" fmla="*/ 32279 w 101897"/>
                <a:gd name="connsiteY289" fmla="*/ 100817 h 135199"/>
                <a:gd name="connsiteX290" fmla="*/ 31972 w 101897"/>
                <a:gd name="connsiteY290" fmla="*/ 102271 h 135199"/>
                <a:gd name="connsiteX291" fmla="*/ 32706 w 101897"/>
                <a:gd name="connsiteY291" fmla="*/ 106473 h 135199"/>
                <a:gd name="connsiteX292" fmla="*/ 32663 w 101897"/>
                <a:gd name="connsiteY292" fmla="*/ 109199 h 135199"/>
                <a:gd name="connsiteX293" fmla="*/ 31587 w 101897"/>
                <a:gd name="connsiteY293" fmla="*/ 111362 h 135199"/>
                <a:gd name="connsiteX294" fmla="*/ 29415 w 101897"/>
                <a:gd name="connsiteY294" fmla="*/ 113679 h 135199"/>
                <a:gd name="connsiteX295" fmla="*/ 27754 w 101897"/>
                <a:gd name="connsiteY295" fmla="*/ 114006 h 135199"/>
                <a:gd name="connsiteX296" fmla="*/ 26774 w 101897"/>
                <a:gd name="connsiteY296" fmla="*/ 113650 h 135199"/>
                <a:gd name="connsiteX297" fmla="*/ 25288 w 101897"/>
                <a:gd name="connsiteY297" fmla="*/ 112215 h 135199"/>
                <a:gd name="connsiteX298" fmla="*/ 23672 w 101897"/>
                <a:gd name="connsiteY298" fmla="*/ 110164 h 135199"/>
                <a:gd name="connsiteX299" fmla="*/ 23399 w 101897"/>
                <a:gd name="connsiteY299" fmla="*/ 106866 h 135199"/>
                <a:gd name="connsiteX300" fmla="*/ 22732 w 101897"/>
                <a:gd name="connsiteY300" fmla="*/ 105051 h 135199"/>
                <a:gd name="connsiteX301" fmla="*/ 22829 w 101897"/>
                <a:gd name="connsiteY301" fmla="*/ 102891 h 135199"/>
                <a:gd name="connsiteX302" fmla="*/ 22699 w 101897"/>
                <a:gd name="connsiteY302" fmla="*/ 100839 h 135199"/>
                <a:gd name="connsiteX303" fmla="*/ 20963 w 101897"/>
                <a:gd name="connsiteY303" fmla="*/ 95347 h 135199"/>
                <a:gd name="connsiteX304" fmla="*/ 19841 w 101897"/>
                <a:gd name="connsiteY304" fmla="*/ 92530 h 135199"/>
                <a:gd name="connsiteX305" fmla="*/ 19979 w 101897"/>
                <a:gd name="connsiteY305" fmla="*/ 91620 h 135199"/>
                <a:gd name="connsiteX306" fmla="*/ 19901 w 101897"/>
                <a:gd name="connsiteY306" fmla="*/ 91239 h 135199"/>
                <a:gd name="connsiteX307" fmla="*/ 19376 w 101897"/>
                <a:gd name="connsiteY307" fmla="*/ 87608 h 135199"/>
                <a:gd name="connsiteX308" fmla="*/ 18652 w 101897"/>
                <a:gd name="connsiteY308" fmla="*/ 85387 h 135199"/>
                <a:gd name="connsiteX309" fmla="*/ 18290 w 101897"/>
                <a:gd name="connsiteY309" fmla="*/ 83018 h 135199"/>
                <a:gd name="connsiteX310" fmla="*/ 20004 w 101897"/>
                <a:gd name="connsiteY310" fmla="*/ 79612 h 135199"/>
                <a:gd name="connsiteX311" fmla="*/ 19318 w 101897"/>
                <a:gd name="connsiteY311" fmla="*/ 79057 h 135199"/>
                <a:gd name="connsiteX312" fmla="*/ 17340 w 101897"/>
                <a:gd name="connsiteY312" fmla="*/ 78607 h 135199"/>
                <a:gd name="connsiteX313" fmla="*/ 15500 w 101897"/>
                <a:gd name="connsiteY313" fmla="*/ 78017 h 135199"/>
                <a:gd name="connsiteX314" fmla="*/ 15049 w 101897"/>
                <a:gd name="connsiteY314" fmla="*/ 77134 h 135199"/>
                <a:gd name="connsiteX315" fmla="*/ 15863 w 101897"/>
                <a:gd name="connsiteY315" fmla="*/ 73778 h 135199"/>
                <a:gd name="connsiteX316" fmla="*/ 14908 w 101897"/>
                <a:gd name="connsiteY316" fmla="*/ 72460 h 135199"/>
                <a:gd name="connsiteX317" fmla="*/ 13539 w 101897"/>
                <a:gd name="connsiteY317" fmla="*/ 71129 h 135199"/>
                <a:gd name="connsiteX318" fmla="*/ 13112 w 101897"/>
                <a:gd name="connsiteY318" fmla="*/ 70598 h 135199"/>
                <a:gd name="connsiteX319" fmla="*/ 12661 w 101897"/>
                <a:gd name="connsiteY319" fmla="*/ 69910 h 135199"/>
                <a:gd name="connsiteX320" fmla="*/ 12028 w 101897"/>
                <a:gd name="connsiteY320" fmla="*/ 68222 h 135199"/>
                <a:gd name="connsiteX321" fmla="*/ 13248 w 101897"/>
                <a:gd name="connsiteY321" fmla="*/ 64668 h 135199"/>
                <a:gd name="connsiteX322" fmla="*/ 14956 w 101897"/>
                <a:gd name="connsiteY322" fmla="*/ 60545 h 135199"/>
                <a:gd name="connsiteX323" fmla="*/ 15264 w 101897"/>
                <a:gd name="connsiteY323" fmla="*/ 58973 h 135199"/>
                <a:gd name="connsiteX324" fmla="*/ 15547 w 101897"/>
                <a:gd name="connsiteY324" fmla="*/ 56242 h 135199"/>
                <a:gd name="connsiteX325" fmla="*/ 15703 w 101897"/>
                <a:gd name="connsiteY325" fmla="*/ 55195 h 135199"/>
                <a:gd name="connsiteX326" fmla="*/ 15481 w 101897"/>
                <a:gd name="connsiteY326" fmla="*/ 54163 h 135199"/>
                <a:gd name="connsiteX327" fmla="*/ 13684 w 101897"/>
                <a:gd name="connsiteY327" fmla="*/ 52965 h 135199"/>
                <a:gd name="connsiteX328" fmla="*/ 10505 w 101897"/>
                <a:gd name="connsiteY328" fmla="*/ 52481 h 135199"/>
                <a:gd name="connsiteX329" fmla="*/ 8260 w 101897"/>
                <a:gd name="connsiteY329" fmla="*/ 51481 h 135199"/>
                <a:gd name="connsiteX330" fmla="*/ 6945 w 101897"/>
                <a:gd name="connsiteY330" fmla="*/ 49965 h 135199"/>
                <a:gd name="connsiteX331" fmla="*/ 5830 w 101897"/>
                <a:gd name="connsiteY331" fmla="*/ 49358 h 135199"/>
                <a:gd name="connsiteX332" fmla="*/ 4457 w 101897"/>
                <a:gd name="connsiteY332" fmla="*/ 49806 h 135199"/>
                <a:gd name="connsiteX333" fmla="*/ 2699 w 101897"/>
                <a:gd name="connsiteY333" fmla="*/ 49216 h 135199"/>
                <a:gd name="connsiteX334" fmla="*/ 1231 w 101897"/>
                <a:gd name="connsiteY334" fmla="*/ 47711 h 135199"/>
                <a:gd name="connsiteX335" fmla="*/ 0 w 101897"/>
                <a:gd name="connsiteY335" fmla="*/ 45881 h 135199"/>
                <a:gd name="connsiteX336" fmla="*/ 151 w 101897"/>
                <a:gd name="connsiteY336" fmla="*/ 45021 h 135199"/>
                <a:gd name="connsiteX337" fmla="*/ 480 w 101897"/>
                <a:gd name="connsiteY337" fmla="*/ 43879 h 135199"/>
                <a:gd name="connsiteX338" fmla="*/ 2794 w 101897"/>
                <a:gd name="connsiteY338" fmla="*/ 39140 h 135199"/>
                <a:gd name="connsiteX339" fmla="*/ 3658 w 101897"/>
                <a:gd name="connsiteY339" fmla="*/ 38999 h 135199"/>
                <a:gd name="connsiteX340" fmla="*/ 5662 w 101897"/>
                <a:gd name="connsiteY340" fmla="*/ 39909 h 135199"/>
                <a:gd name="connsiteX341" fmla="*/ 6411 w 101897"/>
                <a:gd name="connsiteY341" fmla="*/ 39911 h 135199"/>
                <a:gd name="connsiteX342" fmla="*/ 7728 w 101897"/>
                <a:gd name="connsiteY342" fmla="*/ 38037 h 135199"/>
                <a:gd name="connsiteX343" fmla="*/ 9570 w 101897"/>
                <a:gd name="connsiteY343" fmla="*/ 32696 h 135199"/>
                <a:gd name="connsiteX344" fmla="*/ 12170 w 101897"/>
                <a:gd name="connsiteY344" fmla="*/ 32708 h 135199"/>
                <a:gd name="connsiteX345" fmla="*/ 14464 w 101897"/>
                <a:gd name="connsiteY345" fmla="*/ 32883 h 135199"/>
                <a:gd name="connsiteX346" fmla="*/ 16012 w 101897"/>
                <a:gd name="connsiteY346" fmla="*/ 33154 h 135199"/>
                <a:gd name="connsiteX347" fmla="*/ 17553 w 101897"/>
                <a:gd name="connsiteY347" fmla="*/ 32983 h 135199"/>
                <a:gd name="connsiteX348" fmla="*/ 19165 w 101897"/>
                <a:gd name="connsiteY348" fmla="*/ 32555 h 135199"/>
                <a:gd name="connsiteX349" fmla="*/ 20042 w 101897"/>
                <a:gd name="connsiteY349" fmla="*/ 31881 h 135199"/>
                <a:gd name="connsiteX350" fmla="*/ 20525 w 101897"/>
                <a:gd name="connsiteY350" fmla="*/ 31027 h 135199"/>
                <a:gd name="connsiteX351" fmla="*/ 20359 w 101897"/>
                <a:gd name="connsiteY351" fmla="*/ 30284 h 135199"/>
                <a:gd name="connsiteX352" fmla="*/ 18383 w 101897"/>
                <a:gd name="connsiteY352" fmla="*/ 29276 h 135199"/>
                <a:gd name="connsiteX353" fmla="*/ 17621 w 101897"/>
                <a:gd name="connsiteY353" fmla="*/ 28522 h 135199"/>
                <a:gd name="connsiteX354" fmla="*/ 17070 w 101897"/>
                <a:gd name="connsiteY354" fmla="*/ 26383 h 135199"/>
                <a:gd name="connsiteX355" fmla="*/ 16489 w 101897"/>
                <a:gd name="connsiteY355" fmla="*/ 25575 h 135199"/>
                <a:gd name="connsiteX356" fmla="*/ 12604 w 101897"/>
                <a:gd name="connsiteY356" fmla="*/ 25462 h 135199"/>
                <a:gd name="connsiteX357" fmla="*/ 10592 w 101897"/>
                <a:gd name="connsiteY357" fmla="*/ 24478 h 135199"/>
                <a:gd name="connsiteX358" fmla="*/ 9484 w 101897"/>
                <a:gd name="connsiteY358" fmla="*/ 23595 h 135199"/>
                <a:gd name="connsiteX359" fmla="*/ 7510 w 101897"/>
                <a:gd name="connsiteY359" fmla="*/ 20673 h 135199"/>
                <a:gd name="connsiteX360" fmla="*/ 5075 w 101897"/>
                <a:gd name="connsiteY360" fmla="*/ 18509 h 135199"/>
                <a:gd name="connsiteX361" fmla="*/ 2743 w 101897"/>
                <a:gd name="connsiteY361" fmla="*/ 17998 h 135199"/>
                <a:gd name="connsiteX362" fmla="*/ 1840 w 101897"/>
                <a:gd name="connsiteY362" fmla="*/ 17297 h 135199"/>
                <a:gd name="connsiteX363" fmla="*/ 1352 w 101897"/>
                <a:gd name="connsiteY363" fmla="*/ 16183 h 135199"/>
                <a:gd name="connsiteX364" fmla="*/ 1634 w 101897"/>
                <a:gd name="connsiteY364" fmla="*/ 14572 h 135199"/>
                <a:gd name="connsiteX365" fmla="*/ 2334 w 101897"/>
                <a:gd name="connsiteY365" fmla="*/ 13109 h 135199"/>
                <a:gd name="connsiteX366" fmla="*/ 2816 w 101897"/>
                <a:gd name="connsiteY366" fmla="*/ 11477 h 135199"/>
                <a:gd name="connsiteX367" fmla="*/ 4681 w 101897"/>
                <a:gd name="connsiteY367" fmla="*/ 9326 h 135199"/>
                <a:gd name="connsiteX368" fmla="*/ 6867 w 101897"/>
                <a:gd name="connsiteY368" fmla="*/ 7444 h 135199"/>
                <a:gd name="connsiteX369" fmla="*/ 7841 w 101897"/>
                <a:gd name="connsiteY369" fmla="*/ 6153 h 135199"/>
                <a:gd name="connsiteX370" fmla="*/ 9220 w 101897"/>
                <a:gd name="connsiteY370" fmla="*/ 4791 h 135199"/>
                <a:gd name="connsiteX371" fmla="*/ 9385 w 101897"/>
                <a:gd name="connsiteY371" fmla="*/ 4044 h 135199"/>
                <a:gd name="connsiteX372" fmla="*/ 9139 w 101897"/>
                <a:gd name="connsiteY372" fmla="*/ 3188 h 135199"/>
                <a:gd name="connsiteX373" fmla="*/ 8022 w 101897"/>
                <a:gd name="connsiteY373" fmla="*/ 2372 h 135199"/>
                <a:gd name="connsiteX374" fmla="*/ 7253 w 101897"/>
                <a:gd name="connsiteY374" fmla="*/ 2111 h 135199"/>
                <a:gd name="connsiteX375" fmla="*/ 7130 w 101897"/>
                <a:gd name="connsiteY375" fmla="*/ 1584 h 135199"/>
                <a:gd name="connsiteX376" fmla="*/ 7661 w 101897"/>
                <a:gd name="connsiteY376" fmla="*/ 176 h 135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</a:cxnLst>
              <a:rect l="l" t="t" r="r" b="b"/>
              <a:pathLst>
                <a:path w="101897" h="135199">
                  <a:moveTo>
                    <a:pt x="85889" y="113636"/>
                  </a:moveTo>
                  <a:lnTo>
                    <a:pt x="86471" y="113654"/>
                  </a:lnTo>
                  <a:lnTo>
                    <a:pt x="86794" y="114572"/>
                  </a:lnTo>
                  <a:lnTo>
                    <a:pt x="87088" y="116258"/>
                  </a:lnTo>
                  <a:lnTo>
                    <a:pt x="86807" y="118613"/>
                  </a:lnTo>
                  <a:lnTo>
                    <a:pt x="85473" y="118722"/>
                  </a:lnTo>
                  <a:lnTo>
                    <a:pt x="84823" y="118036"/>
                  </a:lnTo>
                  <a:lnTo>
                    <a:pt x="85127" y="117076"/>
                  </a:lnTo>
                  <a:lnTo>
                    <a:pt x="84769" y="113964"/>
                  </a:lnTo>
                  <a:close/>
                  <a:moveTo>
                    <a:pt x="84628" y="108905"/>
                  </a:moveTo>
                  <a:lnTo>
                    <a:pt x="84864" y="108914"/>
                  </a:lnTo>
                  <a:lnTo>
                    <a:pt x="85333" y="109911"/>
                  </a:lnTo>
                  <a:lnTo>
                    <a:pt x="85140" y="111106"/>
                  </a:lnTo>
                  <a:lnTo>
                    <a:pt x="84339" y="113003"/>
                  </a:lnTo>
                  <a:lnTo>
                    <a:pt x="83944" y="111623"/>
                  </a:lnTo>
                  <a:lnTo>
                    <a:pt x="84285" y="109872"/>
                  </a:lnTo>
                  <a:close/>
                  <a:moveTo>
                    <a:pt x="67576" y="95142"/>
                  </a:moveTo>
                  <a:lnTo>
                    <a:pt x="69318" y="98729"/>
                  </a:lnTo>
                  <a:lnTo>
                    <a:pt x="69759" y="100643"/>
                  </a:lnTo>
                  <a:lnTo>
                    <a:pt x="69152" y="103147"/>
                  </a:lnTo>
                  <a:lnTo>
                    <a:pt x="66807" y="104773"/>
                  </a:lnTo>
                  <a:close/>
                  <a:moveTo>
                    <a:pt x="75902" y="92892"/>
                  </a:moveTo>
                  <a:lnTo>
                    <a:pt x="76520" y="93821"/>
                  </a:lnTo>
                  <a:lnTo>
                    <a:pt x="77384" y="95817"/>
                  </a:lnTo>
                  <a:lnTo>
                    <a:pt x="77943" y="97335"/>
                  </a:lnTo>
                  <a:lnTo>
                    <a:pt x="78129" y="98338"/>
                  </a:lnTo>
                  <a:lnTo>
                    <a:pt x="77105" y="99023"/>
                  </a:lnTo>
                  <a:lnTo>
                    <a:pt x="76142" y="98427"/>
                  </a:lnTo>
                  <a:lnTo>
                    <a:pt x="74913" y="96166"/>
                  </a:lnTo>
                  <a:lnTo>
                    <a:pt x="75523" y="93303"/>
                  </a:lnTo>
                  <a:close/>
                  <a:moveTo>
                    <a:pt x="56895" y="87142"/>
                  </a:moveTo>
                  <a:lnTo>
                    <a:pt x="58571" y="88314"/>
                  </a:lnTo>
                  <a:lnTo>
                    <a:pt x="58809" y="88963"/>
                  </a:lnTo>
                  <a:lnTo>
                    <a:pt x="59167" y="90634"/>
                  </a:lnTo>
                  <a:lnTo>
                    <a:pt x="60001" y="92374"/>
                  </a:lnTo>
                  <a:lnTo>
                    <a:pt x="62903" y="95953"/>
                  </a:lnTo>
                  <a:lnTo>
                    <a:pt x="62851" y="98144"/>
                  </a:lnTo>
                  <a:lnTo>
                    <a:pt x="62056" y="103501"/>
                  </a:lnTo>
                  <a:lnTo>
                    <a:pt x="60901" y="105141"/>
                  </a:lnTo>
                  <a:lnTo>
                    <a:pt x="57053" y="105955"/>
                  </a:lnTo>
                  <a:lnTo>
                    <a:pt x="55094" y="105702"/>
                  </a:lnTo>
                  <a:lnTo>
                    <a:pt x="58752" y="99610"/>
                  </a:lnTo>
                  <a:lnTo>
                    <a:pt x="58630" y="96880"/>
                  </a:lnTo>
                  <a:lnTo>
                    <a:pt x="58062" y="94655"/>
                  </a:lnTo>
                  <a:lnTo>
                    <a:pt x="56198" y="92866"/>
                  </a:lnTo>
                  <a:lnTo>
                    <a:pt x="56097" y="91587"/>
                  </a:lnTo>
                  <a:lnTo>
                    <a:pt x="55261" y="89843"/>
                  </a:lnTo>
                  <a:lnTo>
                    <a:pt x="54827" y="87798"/>
                  </a:lnTo>
                  <a:close/>
                  <a:moveTo>
                    <a:pt x="56528" y="83136"/>
                  </a:moveTo>
                  <a:lnTo>
                    <a:pt x="57897" y="84825"/>
                  </a:lnTo>
                  <a:lnTo>
                    <a:pt x="58290" y="85826"/>
                  </a:lnTo>
                  <a:lnTo>
                    <a:pt x="57059" y="85231"/>
                  </a:lnTo>
                  <a:lnTo>
                    <a:pt x="56140" y="84535"/>
                  </a:lnTo>
                  <a:lnTo>
                    <a:pt x="55566" y="83616"/>
                  </a:lnTo>
                  <a:close/>
                  <a:moveTo>
                    <a:pt x="8728" y="0"/>
                  </a:moveTo>
                  <a:lnTo>
                    <a:pt x="10942" y="1275"/>
                  </a:lnTo>
                  <a:lnTo>
                    <a:pt x="13194" y="3341"/>
                  </a:lnTo>
                  <a:lnTo>
                    <a:pt x="14533" y="5183"/>
                  </a:lnTo>
                  <a:lnTo>
                    <a:pt x="14580" y="6635"/>
                  </a:lnTo>
                  <a:lnTo>
                    <a:pt x="15450" y="6868"/>
                  </a:lnTo>
                  <a:lnTo>
                    <a:pt x="16329" y="6926"/>
                  </a:lnTo>
                  <a:lnTo>
                    <a:pt x="17791" y="7570"/>
                  </a:lnTo>
                  <a:lnTo>
                    <a:pt x="19305" y="7374"/>
                  </a:lnTo>
                  <a:lnTo>
                    <a:pt x="20283" y="7732"/>
                  </a:lnTo>
                  <a:lnTo>
                    <a:pt x="20940" y="7601"/>
                  </a:lnTo>
                  <a:lnTo>
                    <a:pt x="21186" y="6767"/>
                  </a:lnTo>
                  <a:lnTo>
                    <a:pt x="20449" y="5538"/>
                  </a:lnTo>
                  <a:lnTo>
                    <a:pt x="19916" y="4659"/>
                  </a:lnTo>
                  <a:lnTo>
                    <a:pt x="20531" y="3781"/>
                  </a:lnTo>
                  <a:lnTo>
                    <a:pt x="21227" y="3605"/>
                  </a:lnTo>
                  <a:lnTo>
                    <a:pt x="22007" y="3825"/>
                  </a:lnTo>
                  <a:lnTo>
                    <a:pt x="23071" y="4616"/>
                  </a:lnTo>
                  <a:lnTo>
                    <a:pt x="23848" y="6240"/>
                  </a:lnTo>
                  <a:lnTo>
                    <a:pt x="23989" y="8753"/>
                  </a:lnTo>
                  <a:lnTo>
                    <a:pt x="25716" y="11033"/>
                  </a:lnTo>
                  <a:lnTo>
                    <a:pt x="27990" y="12650"/>
                  </a:lnTo>
                  <a:lnTo>
                    <a:pt x="29770" y="13395"/>
                  </a:lnTo>
                  <a:lnTo>
                    <a:pt x="31918" y="13929"/>
                  </a:lnTo>
                  <a:lnTo>
                    <a:pt x="33753" y="13415"/>
                  </a:lnTo>
                  <a:lnTo>
                    <a:pt x="34671" y="11827"/>
                  </a:lnTo>
                  <a:lnTo>
                    <a:pt x="34258" y="10409"/>
                  </a:lnTo>
                  <a:lnTo>
                    <a:pt x="34546" y="9137"/>
                  </a:lnTo>
                  <a:lnTo>
                    <a:pt x="35282" y="8435"/>
                  </a:lnTo>
                  <a:lnTo>
                    <a:pt x="36429" y="8479"/>
                  </a:lnTo>
                  <a:lnTo>
                    <a:pt x="37290" y="9487"/>
                  </a:lnTo>
                  <a:lnTo>
                    <a:pt x="39791" y="14925"/>
                  </a:lnTo>
                  <a:lnTo>
                    <a:pt x="39274" y="17332"/>
                  </a:lnTo>
                  <a:lnTo>
                    <a:pt x="39834" y="23932"/>
                  </a:lnTo>
                  <a:lnTo>
                    <a:pt x="39202" y="28280"/>
                  </a:lnTo>
                  <a:lnTo>
                    <a:pt x="39303" y="29215"/>
                  </a:lnTo>
                  <a:lnTo>
                    <a:pt x="39595" y="29940"/>
                  </a:lnTo>
                  <a:lnTo>
                    <a:pt x="40020" y="30237"/>
                  </a:lnTo>
                  <a:lnTo>
                    <a:pt x="40750" y="30228"/>
                  </a:lnTo>
                  <a:lnTo>
                    <a:pt x="43790" y="31048"/>
                  </a:lnTo>
                  <a:lnTo>
                    <a:pt x="46352" y="31953"/>
                  </a:lnTo>
                  <a:lnTo>
                    <a:pt x="49243" y="32777"/>
                  </a:lnTo>
                  <a:lnTo>
                    <a:pt x="53421" y="33419"/>
                  </a:lnTo>
                  <a:lnTo>
                    <a:pt x="55984" y="33210"/>
                  </a:lnTo>
                  <a:lnTo>
                    <a:pt x="57262" y="33183"/>
                  </a:lnTo>
                  <a:lnTo>
                    <a:pt x="59851" y="33378"/>
                  </a:lnTo>
                  <a:lnTo>
                    <a:pt x="66665" y="33034"/>
                  </a:lnTo>
                  <a:lnTo>
                    <a:pt x="72300" y="32942"/>
                  </a:lnTo>
                  <a:lnTo>
                    <a:pt x="74589" y="33563"/>
                  </a:lnTo>
                  <a:lnTo>
                    <a:pt x="76425" y="33786"/>
                  </a:lnTo>
                  <a:lnTo>
                    <a:pt x="82700" y="33350"/>
                  </a:lnTo>
                  <a:lnTo>
                    <a:pt x="89030" y="33142"/>
                  </a:lnTo>
                  <a:lnTo>
                    <a:pt x="92456" y="34521"/>
                  </a:lnTo>
                  <a:lnTo>
                    <a:pt x="96188" y="36776"/>
                  </a:lnTo>
                  <a:lnTo>
                    <a:pt x="98286" y="38446"/>
                  </a:lnTo>
                  <a:lnTo>
                    <a:pt x="98665" y="39406"/>
                  </a:lnTo>
                  <a:lnTo>
                    <a:pt x="98434" y="40225"/>
                  </a:lnTo>
                  <a:lnTo>
                    <a:pt x="97730" y="40674"/>
                  </a:lnTo>
                  <a:lnTo>
                    <a:pt x="96442" y="40689"/>
                  </a:lnTo>
                  <a:lnTo>
                    <a:pt x="93486" y="39600"/>
                  </a:lnTo>
                  <a:lnTo>
                    <a:pt x="92979" y="39923"/>
                  </a:lnTo>
                  <a:lnTo>
                    <a:pt x="93029" y="42159"/>
                  </a:lnTo>
                  <a:lnTo>
                    <a:pt x="92942" y="42517"/>
                  </a:lnTo>
                  <a:lnTo>
                    <a:pt x="92309" y="44521"/>
                  </a:lnTo>
                  <a:lnTo>
                    <a:pt x="90528" y="49024"/>
                  </a:lnTo>
                  <a:lnTo>
                    <a:pt x="90185" y="51040"/>
                  </a:lnTo>
                  <a:lnTo>
                    <a:pt x="89811" y="51553"/>
                  </a:lnTo>
                  <a:lnTo>
                    <a:pt x="89349" y="51830"/>
                  </a:lnTo>
                  <a:lnTo>
                    <a:pt x="87954" y="51912"/>
                  </a:lnTo>
                  <a:lnTo>
                    <a:pt x="86861" y="52244"/>
                  </a:lnTo>
                  <a:lnTo>
                    <a:pt x="86406" y="52976"/>
                  </a:lnTo>
                  <a:lnTo>
                    <a:pt x="85697" y="54496"/>
                  </a:lnTo>
                  <a:lnTo>
                    <a:pt x="85210" y="56029"/>
                  </a:lnTo>
                  <a:lnTo>
                    <a:pt x="84529" y="56498"/>
                  </a:lnTo>
                  <a:lnTo>
                    <a:pt x="82899" y="55669"/>
                  </a:lnTo>
                  <a:lnTo>
                    <a:pt x="81884" y="55800"/>
                  </a:lnTo>
                  <a:lnTo>
                    <a:pt x="80605" y="56151"/>
                  </a:lnTo>
                  <a:lnTo>
                    <a:pt x="79332" y="57024"/>
                  </a:lnTo>
                  <a:lnTo>
                    <a:pt x="78453" y="58108"/>
                  </a:lnTo>
                  <a:lnTo>
                    <a:pt x="77457" y="58478"/>
                  </a:lnTo>
                  <a:lnTo>
                    <a:pt x="74501" y="58260"/>
                  </a:lnTo>
                  <a:lnTo>
                    <a:pt x="73935" y="58414"/>
                  </a:lnTo>
                  <a:lnTo>
                    <a:pt x="73561" y="59187"/>
                  </a:lnTo>
                  <a:lnTo>
                    <a:pt x="73257" y="60164"/>
                  </a:lnTo>
                  <a:lnTo>
                    <a:pt x="70948" y="62466"/>
                  </a:lnTo>
                  <a:lnTo>
                    <a:pt x="70074" y="66153"/>
                  </a:lnTo>
                  <a:lnTo>
                    <a:pt x="69366" y="68543"/>
                  </a:lnTo>
                  <a:lnTo>
                    <a:pt x="69478" y="70404"/>
                  </a:lnTo>
                  <a:lnTo>
                    <a:pt x="71431" y="75248"/>
                  </a:lnTo>
                  <a:lnTo>
                    <a:pt x="72789" y="81529"/>
                  </a:lnTo>
                  <a:lnTo>
                    <a:pt x="73311" y="82168"/>
                  </a:lnTo>
                  <a:lnTo>
                    <a:pt x="73765" y="82369"/>
                  </a:lnTo>
                  <a:lnTo>
                    <a:pt x="73970" y="82225"/>
                  </a:lnTo>
                  <a:lnTo>
                    <a:pt x="73929" y="80921"/>
                  </a:lnTo>
                  <a:lnTo>
                    <a:pt x="74013" y="79347"/>
                  </a:lnTo>
                  <a:lnTo>
                    <a:pt x="74650" y="78976"/>
                  </a:lnTo>
                  <a:lnTo>
                    <a:pt x="75464" y="79302"/>
                  </a:lnTo>
                  <a:lnTo>
                    <a:pt x="76241" y="80670"/>
                  </a:lnTo>
                  <a:lnTo>
                    <a:pt x="77123" y="83177"/>
                  </a:lnTo>
                  <a:lnTo>
                    <a:pt x="78057" y="84159"/>
                  </a:lnTo>
                  <a:lnTo>
                    <a:pt x="79517" y="84436"/>
                  </a:lnTo>
                  <a:lnTo>
                    <a:pt x="81184" y="83850"/>
                  </a:lnTo>
                  <a:lnTo>
                    <a:pt x="82424" y="82715"/>
                  </a:lnTo>
                  <a:lnTo>
                    <a:pt x="82929" y="81489"/>
                  </a:lnTo>
                  <a:lnTo>
                    <a:pt x="82577" y="79071"/>
                  </a:lnTo>
                  <a:lnTo>
                    <a:pt x="82495" y="77263"/>
                  </a:lnTo>
                  <a:lnTo>
                    <a:pt x="83287" y="75542"/>
                  </a:lnTo>
                  <a:lnTo>
                    <a:pt x="86142" y="72974"/>
                  </a:lnTo>
                  <a:lnTo>
                    <a:pt x="86557" y="72188"/>
                  </a:lnTo>
                  <a:lnTo>
                    <a:pt x="86371" y="70002"/>
                  </a:lnTo>
                  <a:lnTo>
                    <a:pt x="86373" y="67951"/>
                  </a:lnTo>
                  <a:lnTo>
                    <a:pt x="87455" y="67810"/>
                  </a:lnTo>
                  <a:lnTo>
                    <a:pt x="88904" y="68143"/>
                  </a:lnTo>
                  <a:lnTo>
                    <a:pt x="90740" y="67132"/>
                  </a:lnTo>
                  <a:lnTo>
                    <a:pt x="91299" y="67112"/>
                  </a:lnTo>
                  <a:lnTo>
                    <a:pt x="92067" y="68195"/>
                  </a:lnTo>
                  <a:lnTo>
                    <a:pt x="93372" y="68007"/>
                  </a:lnTo>
                  <a:lnTo>
                    <a:pt x="94328" y="72473"/>
                  </a:lnTo>
                  <a:lnTo>
                    <a:pt x="95320" y="76411"/>
                  </a:lnTo>
                  <a:lnTo>
                    <a:pt x="95311" y="78311"/>
                  </a:lnTo>
                  <a:lnTo>
                    <a:pt x="95475" y="82335"/>
                  </a:lnTo>
                  <a:lnTo>
                    <a:pt x="95926" y="85617"/>
                  </a:lnTo>
                  <a:lnTo>
                    <a:pt x="96624" y="86362"/>
                  </a:lnTo>
                  <a:lnTo>
                    <a:pt x="97448" y="88113"/>
                  </a:lnTo>
                  <a:lnTo>
                    <a:pt x="98200" y="90147"/>
                  </a:lnTo>
                  <a:lnTo>
                    <a:pt x="98796" y="91289"/>
                  </a:lnTo>
                  <a:lnTo>
                    <a:pt x="99198" y="95004"/>
                  </a:lnTo>
                  <a:lnTo>
                    <a:pt x="99690" y="97686"/>
                  </a:lnTo>
                  <a:lnTo>
                    <a:pt x="100340" y="106098"/>
                  </a:lnTo>
                  <a:lnTo>
                    <a:pt x="100643" y="107722"/>
                  </a:lnTo>
                  <a:lnTo>
                    <a:pt x="100817" y="108597"/>
                  </a:lnTo>
                  <a:lnTo>
                    <a:pt x="100850" y="116275"/>
                  </a:lnTo>
                  <a:lnTo>
                    <a:pt x="101053" y="119555"/>
                  </a:lnTo>
                  <a:lnTo>
                    <a:pt x="101757" y="122253"/>
                  </a:lnTo>
                  <a:lnTo>
                    <a:pt x="101897" y="123283"/>
                  </a:lnTo>
                  <a:lnTo>
                    <a:pt x="101193" y="124117"/>
                  </a:lnTo>
                  <a:lnTo>
                    <a:pt x="100502" y="124274"/>
                  </a:lnTo>
                  <a:lnTo>
                    <a:pt x="99852" y="122968"/>
                  </a:lnTo>
                  <a:lnTo>
                    <a:pt x="98365" y="121970"/>
                  </a:lnTo>
                  <a:lnTo>
                    <a:pt x="96170" y="120905"/>
                  </a:lnTo>
                  <a:lnTo>
                    <a:pt x="95240" y="120193"/>
                  </a:lnTo>
                  <a:lnTo>
                    <a:pt x="94115" y="120475"/>
                  </a:lnTo>
                  <a:lnTo>
                    <a:pt x="92534" y="122088"/>
                  </a:lnTo>
                  <a:lnTo>
                    <a:pt x="91901" y="123586"/>
                  </a:lnTo>
                  <a:lnTo>
                    <a:pt x="92176" y="125687"/>
                  </a:lnTo>
                  <a:lnTo>
                    <a:pt x="92679" y="127757"/>
                  </a:lnTo>
                  <a:lnTo>
                    <a:pt x="93778" y="128940"/>
                  </a:lnTo>
                  <a:lnTo>
                    <a:pt x="93866" y="130252"/>
                  </a:lnTo>
                  <a:lnTo>
                    <a:pt x="94259" y="131940"/>
                  </a:lnTo>
                  <a:lnTo>
                    <a:pt x="94827" y="133491"/>
                  </a:lnTo>
                  <a:lnTo>
                    <a:pt x="95097" y="135166"/>
                  </a:lnTo>
                  <a:lnTo>
                    <a:pt x="94737" y="135199"/>
                  </a:lnTo>
                  <a:lnTo>
                    <a:pt x="93417" y="133048"/>
                  </a:lnTo>
                  <a:lnTo>
                    <a:pt x="92234" y="130724"/>
                  </a:lnTo>
                  <a:lnTo>
                    <a:pt x="89170" y="126321"/>
                  </a:lnTo>
                  <a:lnTo>
                    <a:pt x="88172" y="118423"/>
                  </a:lnTo>
                  <a:lnTo>
                    <a:pt x="88107" y="114521"/>
                  </a:lnTo>
                  <a:lnTo>
                    <a:pt x="86010" y="109925"/>
                  </a:lnTo>
                  <a:lnTo>
                    <a:pt x="84614" y="103561"/>
                  </a:lnTo>
                  <a:lnTo>
                    <a:pt x="84056" y="101906"/>
                  </a:lnTo>
                  <a:lnTo>
                    <a:pt x="84786" y="99846"/>
                  </a:lnTo>
                  <a:lnTo>
                    <a:pt x="84909" y="99076"/>
                  </a:lnTo>
                  <a:lnTo>
                    <a:pt x="84512" y="99247"/>
                  </a:lnTo>
                  <a:lnTo>
                    <a:pt x="83443" y="100308"/>
                  </a:lnTo>
                  <a:lnTo>
                    <a:pt x="82050" y="97770"/>
                  </a:lnTo>
                  <a:lnTo>
                    <a:pt x="81141" y="95490"/>
                  </a:lnTo>
                  <a:lnTo>
                    <a:pt x="77530" y="90770"/>
                  </a:lnTo>
                  <a:lnTo>
                    <a:pt x="76479" y="88681"/>
                  </a:lnTo>
                  <a:lnTo>
                    <a:pt x="76433" y="86646"/>
                  </a:lnTo>
                  <a:lnTo>
                    <a:pt x="74875" y="88691"/>
                  </a:lnTo>
                  <a:lnTo>
                    <a:pt x="72756" y="90130"/>
                  </a:lnTo>
                  <a:lnTo>
                    <a:pt x="70599" y="92293"/>
                  </a:lnTo>
                  <a:lnTo>
                    <a:pt x="69165" y="92948"/>
                  </a:lnTo>
                  <a:lnTo>
                    <a:pt x="64616" y="93345"/>
                  </a:lnTo>
                  <a:lnTo>
                    <a:pt x="61988" y="90451"/>
                  </a:lnTo>
                  <a:lnTo>
                    <a:pt x="58217" y="83369"/>
                  </a:lnTo>
                  <a:lnTo>
                    <a:pt x="57716" y="81766"/>
                  </a:lnTo>
                  <a:lnTo>
                    <a:pt x="58213" y="77596"/>
                  </a:lnTo>
                  <a:lnTo>
                    <a:pt x="57318" y="73644"/>
                  </a:lnTo>
                  <a:lnTo>
                    <a:pt x="57329" y="71558"/>
                  </a:lnTo>
                  <a:lnTo>
                    <a:pt x="57062" y="70163"/>
                  </a:lnTo>
                  <a:lnTo>
                    <a:pt x="56386" y="70472"/>
                  </a:lnTo>
                  <a:lnTo>
                    <a:pt x="56125" y="71430"/>
                  </a:lnTo>
                  <a:lnTo>
                    <a:pt x="56267" y="72898"/>
                  </a:lnTo>
                  <a:lnTo>
                    <a:pt x="55993" y="74130"/>
                  </a:lnTo>
                  <a:lnTo>
                    <a:pt x="52728" y="73888"/>
                  </a:lnTo>
                  <a:lnTo>
                    <a:pt x="49658" y="73328"/>
                  </a:lnTo>
                  <a:lnTo>
                    <a:pt x="52363" y="75404"/>
                  </a:lnTo>
                  <a:lnTo>
                    <a:pt x="55265" y="75890"/>
                  </a:lnTo>
                  <a:lnTo>
                    <a:pt x="56773" y="77751"/>
                  </a:lnTo>
                  <a:lnTo>
                    <a:pt x="56956" y="79203"/>
                  </a:lnTo>
                  <a:lnTo>
                    <a:pt x="56866" y="80840"/>
                  </a:lnTo>
                  <a:lnTo>
                    <a:pt x="55375" y="81982"/>
                  </a:lnTo>
                  <a:lnTo>
                    <a:pt x="54011" y="82706"/>
                  </a:lnTo>
                  <a:lnTo>
                    <a:pt x="54266" y="84271"/>
                  </a:lnTo>
                  <a:lnTo>
                    <a:pt x="55918" y="86179"/>
                  </a:lnTo>
                  <a:lnTo>
                    <a:pt x="53913" y="86717"/>
                  </a:lnTo>
                  <a:lnTo>
                    <a:pt x="53367" y="87965"/>
                  </a:lnTo>
                  <a:lnTo>
                    <a:pt x="53326" y="89741"/>
                  </a:lnTo>
                  <a:lnTo>
                    <a:pt x="54335" y="91306"/>
                  </a:lnTo>
                  <a:lnTo>
                    <a:pt x="54728" y="92466"/>
                  </a:lnTo>
                  <a:lnTo>
                    <a:pt x="54484" y="93538"/>
                  </a:lnTo>
                  <a:lnTo>
                    <a:pt x="55464" y="94687"/>
                  </a:lnTo>
                  <a:lnTo>
                    <a:pt x="56874" y="97092"/>
                  </a:lnTo>
                  <a:lnTo>
                    <a:pt x="57329" y="98805"/>
                  </a:lnTo>
                  <a:lnTo>
                    <a:pt x="56740" y="101214"/>
                  </a:lnTo>
                  <a:lnTo>
                    <a:pt x="55930" y="102149"/>
                  </a:lnTo>
                  <a:lnTo>
                    <a:pt x="54632" y="103061"/>
                  </a:lnTo>
                  <a:lnTo>
                    <a:pt x="51573" y="106094"/>
                  </a:lnTo>
                  <a:lnTo>
                    <a:pt x="50078" y="109546"/>
                  </a:lnTo>
                  <a:lnTo>
                    <a:pt x="48804" y="111160"/>
                  </a:lnTo>
                  <a:lnTo>
                    <a:pt x="47217" y="111460"/>
                  </a:lnTo>
                  <a:lnTo>
                    <a:pt x="46597" y="110751"/>
                  </a:lnTo>
                  <a:lnTo>
                    <a:pt x="45280" y="109828"/>
                  </a:lnTo>
                  <a:lnTo>
                    <a:pt x="45255" y="108143"/>
                  </a:lnTo>
                  <a:lnTo>
                    <a:pt x="45649" y="106807"/>
                  </a:lnTo>
                  <a:lnTo>
                    <a:pt x="48340" y="103579"/>
                  </a:lnTo>
                  <a:lnTo>
                    <a:pt x="46878" y="104013"/>
                  </a:lnTo>
                  <a:lnTo>
                    <a:pt x="45222" y="104935"/>
                  </a:lnTo>
                  <a:lnTo>
                    <a:pt x="42693" y="106683"/>
                  </a:lnTo>
                  <a:lnTo>
                    <a:pt x="41894" y="104518"/>
                  </a:lnTo>
                  <a:lnTo>
                    <a:pt x="41363" y="102511"/>
                  </a:lnTo>
                  <a:lnTo>
                    <a:pt x="41359" y="100054"/>
                  </a:lnTo>
                  <a:lnTo>
                    <a:pt x="43377" y="96382"/>
                  </a:lnTo>
                  <a:lnTo>
                    <a:pt x="41093" y="98214"/>
                  </a:lnTo>
                  <a:lnTo>
                    <a:pt x="40460" y="100505"/>
                  </a:lnTo>
                  <a:lnTo>
                    <a:pt x="40739" y="103197"/>
                  </a:lnTo>
                  <a:lnTo>
                    <a:pt x="40445" y="105103"/>
                  </a:lnTo>
                  <a:lnTo>
                    <a:pt x="39547" y="107596"/>
                  </a:lnTo>
                  <a:lnTo>
                    <a:pt x="38329" y="109091"/>
                  </a:lnTo>
                  <a:lnTo>
                    <a:pt x="36360" y="110050"/>
                  </a:lnTo>
                  <a:lnTo>
                    <a:pt x="35483" y="111522"/>
                  </a:lnTo>
                  <a:lnTo>
                    <a:pt x="34166" y="112605"/>
                  </a:lnTo>
                  <a:lnTo>
                    <a:pt x="34123" y="110446"/>
                  </a:lnTo>
                  <a:lnTo>
                    <a:pt x="33700" y="107591"/>
                  </a:lnTo>
                  <a:lnTo>
                    <a:pt x="32279" y="100817"/>
                  </a:lnTo>
                  <a:lnTo>
                    <a:pt x="31972" y="102271"/>
                  </a:lnTo>
                  <a:lnTo>
                    <a:pt x="32706" y="106473"/>
                  </a:lnTo>
                  <a:lnTo>
                    <a:pt x="32663" y="109199"/>
                  </a:lnTo>
                  <a:lnTo>
                    <a:pt x="31587" y="111362"/>
                  </a:lnTo>
                  <a:lnTo>
                    <a:pt x="29415" y="113679"/>
                  </a:lnTo>
                  <a:lnTo>
                    <a:pt x="27754" y="114006"/>
                  </a:lnTo>
                  <a:lnTo>
                    <a:pt x="26774" y="113650"/>
                  </a:lnTo>
                  <a:lnTo>
                    <a:pt x="25288" y="112215"/>
                  </a:lnTo>
                  <a:lnTo>
                    <a:pt x="23672" y="110164"/>
                  </a:lnTo>
                  <a:lnTo>
                    <a:pt x="23399" y="106866"/>
                  </a:lnTo>
                  <a:lnTo>
                    <a:pt x="22732" y="105051"/>
                  </a:lnTo>
                  <a:lnTo>
                    <a:pt x="22829" y="102891"/>
                  </a:lnTo>
                  <a:lnTo>
                    <a:pt x="22699" y="100839"/>
                  </a:lnTo>
                  <a:lnTo>
                    <a:pt x="20963" y="95347"/>
                  </a:lnTo>
                  <a:lnTo>
                    <a:pt x="19841" y="92530"/>
                  </a:lnTo>
                  <a:lnTo>
                    <a:pt x="19979" y="91620"/>
                  </a:lnTo>
                  <a:lnTo>
                    <a:pt x="19901" y="91239"/>
                  </a:lnTo>
                  <a:lnTo>
                    <a:pt x="19376" y="87608"/>
                  </a:lnTo>
                  <a:lnTo>
                    <a:pt x="18652" y="85387"/>
                  </a:lnTo>
                  <a:lnTo>
                    <a:pt x="18290" y="83018"/>
                  </a:lnTo>
                  <a:lnTo>
                    <a:pt x="20004" y="79612"/>
                  </a:lnTo>
                  <a:lnTo>
                    <a:pt x="19318" y="79057"/>
                  </a:lnTo>
                  <a:lnTo>
                    <a:pt x="17340" y="78607"/>
                  </a:lnTo>
                  <a:lnTo>
                    <a:pt x="15500" y="78017"/>
                  </a:lnTo>
                  <a:lnTo>
                    <a:pt x="15049" y="77134"/>
                  </a:lnTo>
                  <a:lnTo>
                    <a:pt x="15863" y="73778"/>
                  </a:lnTo>
                  <a:lnTo>
                    <a:pt x="14908" y="72460"/>
                  </a:lnTo>
                  <a:lnTo>
                    <a:pt x="13539" y="71129"/>
                  </a:lnTo>
                  <a:lnTo>
                    <a:pt x="13112" y="70598"/>
                  </a:lnTo>
                  <a:lnTo>
                    <a:pt x="12661" y="69910"/>
                  </a:lnTo>
                  <a:lnTo>
                    <a:pt x="12028" y="68222"/>
                  </a:lnTo>
                  <a:lnTo>
                    <a:pt x="13248" y="64668"/>
                  </a:lnTo>
                  <a:lnTo>
                    <a:pt x="14956" y="60545"/>
                  </a:lnTo>
                  <a:lnTo>
                    <a:pt x="15264" y="58973"/>
                  </a:lnTo>
                  <a:lnTo>
                    <a:pt x="15547" y="56242"/>
                  </a:lnTo>
                  <a:lnTo>
                    <a:pt x="15703" y="55195"/>
                  </a:lnTo>
                  <a:lnTo>
                    <a:pt x="15481" y="54163"/>
                  </a:lnTo>
                  <a:lnTo>
                    <a:pt x="13684" y="52965"/>
                  </a:lnTo>
                  <a:lnTo>
                    <a:pt x="10505" y="52481"/>
                  </a:lnTo>
                  <a:lnTo>
                    <a:pt x="8260" y="51481"/>
                  </a:lnTo>
                  <a:lnTo>
                    <a:pt x="6945" y="49965"/>
                  </a:lnTo>
                  <a:lnTo>
                    <a:pt x="5830" y="49358"/>
                  </a:lnTo>
                  <a:lnTo>
                    <a:pt x="4457" y="49806"/>
                  </a:lnTo>
                  <a:lnTo>
                    <a:pt x="2699" y="49216"/>
                  </a:lnTo>
                  <a:lnTo>
                    <a:pt x="1231" y="47711"/>
                  </a:lnTo>
                  <a:lnTo>
                    <a:pt x="0" y="45881"/>
                  </a:lnTo>
                  <a:lnTo>
                    <a:pt x="151" y="45021"/>
                  </a:lnTo>
                  <a:lnTo>
                    <a:pt x="480" y="43879"/>
                  </a:lnTo>
                  <a:lnTo>
                    <a:pt x="2794" y="39140"/>
                  </a:lnTo>
                  <a:lnTo>
                    <a:pt x="3658" y="38999"/>
                  </a:lnTo>
                  <a:lnTo>
                    <a:pt x="5662" y="39909"/>
                  </a:lnTo>
                  <a:lnTo>
                    <a:pt x="6411" y="39911"/>
                  </a:lnTo>
                  <a:lnTo>
                    <a:pt x="7728" y="38037"/>
                  </a:lnTo>
                  <a:lnTo>
                    <a:pt x="9570" y="32696"/>
                  </a:lnTo>
                  <a:lnTo>
                    <a:pt x="12170" y="32708"/>
                  </a:lnTo>
                  <a:lnTo>
                    <a:pt x="14464" y="32883"/>
                  </a:lnTo>
                  <a:lnTo>
                    <a:pt x="16012" y="33154"/>
                  </a:lnTo>
                  <a:lnTo>
                    <a:pt x="17553" y="32983"/>
                  </a:lnTo>
                  <a:lnTo>
                    <a:pt x="19165" y="32555"/>
                  </a:lnTo>
                  <a:lnTo>
                    <a:pt x="20042" y="31881"/>
                  </a:lnTo>
                  <a:lnTo>
                    <a:pt x="20525" y="31027"/>
                  </a:lnTo>
                  <a:lnTo>
                    <a:pt x="20359" y="30284"/>
                  </a:lnTo>
                  <a:lnTo>
                    <a:pt x="18383" y="29276"/>
                  </a:lnTo>
                  <a:lnTo>
                    <a:pt x="17621" y="28522"/>
                  </a:lnTo>
                  <a:lnTo>
                    <a:pt x="17070" y="26383"/>
                  </a:lnTo>
                  <a:lnTo>
                    <a:pt x="16489" y="25575"/>
                  </a:lnTo>
                  <a:lnTo>
                    <a:pt x="12604" y="25462"/>
                  </a:lnTo>
                  <a:lnTo>
                    <a:pt x="10592" y="24478"/>
                  </a:lnTo>
                  <a:lnTo>
                    <a:pt x="9484" y="23595"/>
                  </a:lnTo>
                  <a:lnTo>
                    <a:pt x="7510" y="20673"/>
                  </a:lnTo>
                  <a:lnTo>
                    <a:pt x="5075" y="18509"/>
                  </a:lnTo>
                  <a:lnTo>
                    <a:pt x="2743" y="17998"/>
                  </a:lnTo>
                  <a:lnTo>
                    <a:pt x="1840" y="17297"/>
                  </a:lnTo>
                  <a:lnTo>
                    <a:pt x="1352" y="16183"/>
                  </a:lnTo>
                  <a:lnTo>
                    <a:pt x="1634" y="14572"/>
                  </a:lnTo>
                  <a:lnTo>
                    <a:pt x="2334" y="13109"/>
                  </a:lnTo>
                  <a:lnTo>
                    <a:pt x="2816" y="11477"/>
                  </a:lnTo>
                  <a:lnTo>
                    <a:pt x="4681" y="9326"/>
                  </a:lnTo>
                  <a:lnTo>
                    <a:pt x="6867" y="7444"/>
                  </a:lnTo>
                  <a:lnTo>
                    <a:pt x="7841" y="6153"/>
                  </a:lnTo>
                  <a:lnTo>
                    <a:pt x="9220" y="4791"/>
                  </a:lnTo>
                  <a:lnTo>
                    <a:pt x="9385" y="4044"/>
                  </a:lnTo>
                  <a:lnTo>
                    <a:pt x="9139" y="3188"/>
                  </a:lnTo>
                  <a:lnTo>
                    <a:pt x="8022" y="2372"/>
                  </a:lnTo>
                  <a:lnTo>
                    <a:pt x="7253" y="2111"/>
                  </a:lnTo>
                  <a:lnTo>
                    <a:pt x="7130" y="1584"/>
                  </a:lnTo>
                  <a:lnTo>
                    <a:pt x="7661" y="176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67" name="ee4p_BH_1_37365">
              <a:extLst>
                <a:ext uri="{FF2B5EF4-FFF2-40B4-BE49-F238E27FC236}">
                  <a16:creationId xmlns:a16="http://schemas.microsoft.com/office/drawing/2014/main" id="{D44C6484-78C8-2ACA-C4A8-C4299BD4852F}"/>
                </a:ext>
              </a:extLst>
            </p:cNvPr>
            <p:cNvSpPr>
              <a:spLocks noChangeAspect="1"/>
            </p:cNvSpPr>
            <p:nvPr>
              <p:custDataLst>
                <p:tags r:id="rId221"/>
              </p:custDataLst>
            </p:nvPr>
          </p:nvSpPr>
          <p:spPr>
            <a:xfrm>
              <a:off x="7915732" y="3909747"/>
              <a:ext cx="4584" cy="13419"/>
            </a:xfrm>
            <a:custGeom>
              <a:avLst/>
              <a:gdLst/>
              <a:ahLst/>
              <a:cxnLst/>
              <a:rect l="0" t="0" r="0" b="0"/>
              <a:pathLst>
                <a:path w="3650" h="10402">
                  <a:moveTo>
                    <a:pt x="3423" y="8597"/>
                  </a:moveTo>
                  <a:lnTo>
                    <a:pt x="2708" y="10401"/>
                  </a:lnTo>
                  <a:lnTo>
                    <a:pt x="2025" y="9769"/>
                  </a:lnTo>
                  <a:lnTo>
                    <a:pt x="298" y="6648"/>
                  </a:lnTo>
                  <a:lnTo>
                    <a:pt x="818" y="4450"/>
                  </a:lnTo>
                  <a:lnTo>
                    <a:pt x="0" y="1317"/>
                  </a:lnTo>
                  <a:lnTo>
                    <a:pt x="386" y="414"/>
                  </a:lnTo>
                  <a:lnTo>
                    <a:pt x="2468" y="0"/>
                  </a:lnTo>
                  <a:lnTo>
                    <a:pt x="2952" y="135"/>
                  </a:lnTo>
                  <a:lnTo>
                    <a:pt x="2330" y="1140"/>
                  </a:lnTo>
                  <a:lnTo>
                    <a:pt x="3479" y="2888"/>
                  </a:lnTo>
                  <a:lnTo>
                    <a:pt x="3649" y="5777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68" name="ee4p_BN_1_37365">
              <a:extLst>
                <a:ext uri="{FF2B5EF4-FFF2-40B4-BE49-F238E27FC236}">
                  <a16:creationId xmlns:a16="http://schemas.microsoft.com/office/drawing/2014/main" id="{D80293E9-9B7E-AE4B-4440-670192412FA6}"/>
                </a:ext>
              </a:extLst>
            </p:cNvPr>
            <p:cNvSpPr>
              <a:spLocks noChangeAspect="1"/>
            </p:cNvSpPr>
            <p:nvPr>
              <p:custDataLst>
                <p:tags r:id="rId222"/>
              </p:custDataLst>
            </p:nvPr>
          </p:nvSpPr>
          <p:spPr>
            <a:xfrm>
              <a:off x="9682179" y="4532401"/>
              <a:ext cx="35069" cy="28537"/>
            </a:xfrm>
            <a:custGeom>
              <a:avLst/>
              <a:gdLst>
                <a:gd name="connsiteX0" fmla="*/ 23796 w 27925"/>
                <a:gd name="connsiteY0" fmla="*/ 2718 h 22121"/>
                <a:gd name="connsiteX1" fmla="*/ 24424 w 27925"/>
                <a:gd name="connsiteY1" fmla="*/ 3450 h 22121"/>
                <a:gd name="connsiteX2" fmla="*/ 25740 w 27925"/>
                <a:gd name="connsiteY2" fmla="*/ 6024 h 22121"/>
                <a:gd name="connsiteX3" fmla="*/ 26597 w 27925"/>
                <a:gd name="connsiteY3" fmla="*/ 8607 h 22121"/>
                <a:gd name="connsiteX4" fmla="*/ 26875 w 27925"/>
                <a:gd name="connsiteY4" fmla="*/ 12543 h 22121"/>
                <a:gd name="connsiteX5" fmla="*/ 27925 w 27925"/>
                <a:gd name="connsiteY5" fmla="*/ 14218 h 22121"/>
                <a:gd name="connsiteX6" fmla="*/ 27759 w 27925"/>
                <a:gd name="connsiteY6" fmla="*/ 14561 h 22121"/>
                <a:gd name="connsiteX7" fmla="*/ 27126 w 27925"/>
                <a:gd name="connsiteY7" fmla="*/ 14842 h 22121"/>
                <a:gd name="connsiteX8" fmla="*/ 26154 w 27925"/>
                <a:gd name="connsiteY8" fmla="*/ 14961 h 22121"/>
                <a:gd name="connsiteX9" fmla="*/ 24472 w 27925"/>
                <a:gd name="connsiteY9" fmla="*/ 14585 h 22121"/>
                <a:gd name="connsiteX10" fmla="*/ 23066 w 27925"/>
                <a:gd name="connsiteY10" fmla="*/ 14004 h 22121"/>
                <a:gd name="connsiteX11" fmla="*/ 21840 w 27925"/>
                <a:gd name="connsiteY11" fmla="*/ 9745 h 22121"/>
                <a:gd name="connsiteX12" fmla="*/ 21291 w 27925"/>
                <a:gd name="connsiteY12" fmla="*/ 7336 h 22121"/>
                <a:gd name="connsiteX13" fmla="*/ 21337 w 27925"/>
                <a:gd name="connsiteY13" fmla="*/ 4460 h 22121"/>
                <a:gd name="connsiteX14" fmla="*/ 21291 w 27925"/>
                <a:gd name="connsiteY14" fmla="*/ 2719 h 22121"/>
                <a:gd name="connsiteX15" fmla="*/ 20598 w 27925"/>
                <a:gd name="connsiteY15" fmla="*/ 0 h 22121"/>
                <a:gd name="connsiteX16" fmla="*/ 21753 w 27925"/>
                <a:gd name="connsiteY16" fmla="*/ 133 h 22121"/>
                <a:gd name="connsiteX17" fmla="*/ 21741 w 27925"/>
                <a:gd name="connsiteY17" fmla="*/ 1328 h 22121"/>
                <a:gd name="connsiteX18" fmla="*/ 21291 w 27925"/>
                <a:gd name="connsiteY18" fmla="*/ 2719 h 22121"/>
                <a:gd name="connsiteX19" fmla="*/ 19477 w 27925"/>
                <a:gd name="connsiteY19" fmla="*/ 3682 h 22121"/>
                <a:gd name="connsiteX20" fmla="*/ 17704 w 27925"/>
                <a:gd name="connsiteY20" fmla="*/ 4890 h 22121"/>
                <a:gd name="connsiteX21" fmla="*/ 15928 w 27925"/>
                <a:gd name="connsiteY21" fmla="*/ 5930 h 22121"/>
                <a:gd name="connsiteX22" fmla="*/ 15098 w 27925"/>
                <a:gd name="connsiteY22" fmla="*/ 6744 h 22121"/>
                <a:gd name="connsiteX23" fmla="*/ 15392 w 27925"/>
                <a:gd name="connsiteY23" fmla="*/ 7887 h 22121"/>
                <a:gd name="connsiteX24" fmla="*/ 15819 w 27925"/>
                <a:gd name="connsiteY24" fmla="*/ 10401 h 22121"/>
                <a:gd name="connsiteX25" fmla="*/ 16060 w 27925"/>
                <a:gd name="connsiteY25" fmla="*/ 12376 h 22121"/>
                <a:gd name="connsiteX26" fmla="*/ 16681 w 27925"/>
                <a:gd name="connsiteY26" fmla="*/ 13154 h 22121"/>
                <a:gd name="connsiteX27" fmla="*/ 17167 w 27925"/>
                <a:gd name="connsiteY27" fmla="*/ 13942 h 22121"/>
                <a:gd name="connsiteX28" fmla="*/ 16964 w 27925"/>
                <a:gd name="connsiteY28" fmla="*/ 14800 h 22121"/>
                <a:gd name="connsiteX29" fmla="*/ 15912 w 27925"/>
                <a:gd name="connsiteY29" fmla="*/ 16433 h 22121"/>
                <a:gd name="connsiteX30" fmla="*/ 16508 w 27925"/>
                <a:gd name="connsiteY30" fmla="*/ 16749 h 22121"/>
                <a:gd name="connsiteX31" fmla="*/ 15750 w 27925"/>
                <a:gd name="connsiteY31" fmla="*/ 18913 h 22121"/>
                <a:gd name="connsiteX32" fmla="*/ 14619 w 27925"/>
                <a:gd name="connsiteY32" fmla="*/ 20514 h 22121"/>
                <a:gd name="connsiteX33" fmla="*/ 13051 w 27925"/>
                <a:gd name="connsiteY33" fmla="*/ 21818 h 22121"/>
                <a:gd name="connsiteX34" fmla="*/ 12038 w 27925"/>
                <a:gd name="connsiteY34" fmla="*/ 22121 h 22121"/>
                <a:gd name="connsiteX35" fmla="*/ 11230 w 27925"/>
                <a:gd name="connsiteY35" fmla="*/ 21565 h 22121"/>
                <a:gd name="connsiteX36" fmla="*/ 9913 w 27925"/>
                <a:gd name="connsiteY36" fmla="*/ 20137 h 22121"/>
                <a:gd name="connsiteX37" fmla="*/ 8473 w 27925"/>
                <a:gd name="connsiteY37" fmla="*/ 18143 h 22121"/>
                <a:gd name="connsiteX38" fmla="*/ 7800 w 27925"/>
                <a:gd name="connsiteY38" fmla="*/ 16985 h 22121"/>
                <a:gd name="connsiteX39" fmla="*/ 5728 w 27925"/>
                <a:gd name="connsiteY39" fmla="*/ 16831 h 22121"/>
                <a:gd name="connsiteX40" fmla="*/ 4992 w 27925"/>
                <a:gd name="connsiteY40" fmla="*/ 15914 h 22121"/>
                <a:gd name="connsiteX41" fmla="*/ 4947 w 27925"/>
                <a:gd name="connsiteY41" fmla="*/ 14795 h 22121"/>
                <a:gd name="connsiteX42" fmla="*/ 4360 w 27925"/>
                <a:gd name="connsiteY42" fmla="*/ 13476 h 22121"/>
                <a:gd name="connsiteX43" fmla="*/ 3543 w 27925"/>
                <a:gd name="connsiteY43" fmla="*/ 12066 h 22121"/>
                <a:gd name="connsiteX44" fmla="*/ 2321 w 27925"/>
                <a:gd name="connsiteY44" fmla="*/ 10979 h 22121"/>
                <a:gd name="connsiteX45" fmla="*/ 691 w 27925"/>
                <a:gd name="connsiteY45" fmla="*/ 10131 h 22121"/>
                <a:gd name="connsiteX46" fmla="*/ 0 w 27925"/>
                <a:gd name="connsiteY46" fmla="*/ 9523 h 22121"/>
                <a:gd name="connsiteX47" fmla="*/ 2522 w 27925"/>
                <a:gd name="connsiteY47" fmla="*/ 9561 h 22121"/>
                <a:gd name="connsiteX48" fmla="*/ 5208 w 27925"/>
                <a:gd name="connsiteY48" fmla="*/ 9202 h 22121"/>
                <a:gd name="connsiteX49" fmla="*/ 7973 w 27925"/>
                <a:gd name="connsiteY49" fmla="*/ 8022 h 22121"/>
                <a:gd name="connsiteX50" fmla="*/ 10633 w 27925"/>
                <a:gd name="connsiteY50" fmla="*/ 6601 h 22121"/>
                <a:gd name="connsiteX51" fmla="*/ 12870 w 27925"/>
                <a:gd name="connsiteY51" fmla="*/ 4970 h 22121"/>
                <a:gd name="connsiteX52" fmla="*/ 14969 w 27925"/>
                <a:gd name="connsiteY52" fmla="*/ 3133 h 22121"/>
                <a:gd name="connsiteX53" fmla="*/ 17176 w 27925"/>
                <a:gd name="connsiteY53" fmla="*/ 1684 h 221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27925" h="22121">
                  <a:moveTo>
                    <a:pt x="23796" y="2718"/>
                  </a:moveTo>
                  <a:lnTo>
                    <a:pt x="24424" y="3450"/>
                  </a:lnTo>
                  <a:lnTo>
                    <a:pt x="25740" y="6024"/>
                  </a:lnTo>
                  <a:lnTo>
                    <a:pt x="26597" y="8607"/>
                  </a:lnTo>
                  <a:lnTo>
                    <a:pt x="26875" y="12543"/>
                  </a:lnTo>
                  <a:lnTo>
                    <a:pt x="27925" y="14218"/>
                  </a:lnTo>
                  <a:lnTo>
                    <a:pt x="27759" y="14561"/>
                  </a:lnTo>
                  <a:lnTo>
                    <a:pt x="27126" y="14842"/>
                  </a:lnTo>
                  <a:lnTo>
                    <a:pt x="26154" y="14961"/>
                  </a:lnTo>
                  <a:lnTo>
                    <a:pt x="24472" y="14585"/>
                  </a:lnTo>
                  <a:lnTo>
                    <a:pt x="23066" y="14004"/>
                  </a:lnTo>
                  <a:lnTo>
                    <a:pt x="21840" y="9745"/>
                  </a:lnTo>
                  <a:lnTo>
                    <a:pt x="21291" y="7336"/>
                  </a:lnTo>
                  <a:lnTo>
                    <a:pt x="21337" y="4460"/>
                  </a:lnTo>
                  <a:lnTo>
                    <a:pt x="21291" y="2719"/>
                  </a:lnTo>
                  <a:close/>
                  <a:moveTo>
                    <a:pt x="20598" y="0"/>
                  </a:moveTo>
                  <a:lnTo>
                    <a:pt x="21753" y="133"/>
                  </a:lnTo>
                  <a:lnTo>
                    <a:pt x="21741" y="1328"/>
                  </a:lnTo>
                  <a:lnTo>
                    <a:pt x="21291" y="2719"/>
                  </a:lnTo>
                  <a:lnTo>
                    <a:pt x="19477" y="3682"/>
                  </a:lnTo>
                  <a:lnTo>
                    <a:pt x="17704" y="4890"/>
                  </a:lnTo>
                  <a:lnTo>
                    <a:pt x="15928" y="5930"/>
                  </a:lnTo>
                  <a:lnTo>
                    <a:pt x="15098" y="6744"/>
                  </a:lnTo>
                  <a:lnTo>
                    <a:pt x="15392" y="7887"/>
                  </a:lnTo>
                  <a:lnTo>
                    <a:pt x="15819" y="10401"/>
                  </a:lnTo>
                  <a:lnTo>
                    <a:pt x="16060" y="12376"/>
                  </a:lnTo>
                  <a:lnTo>
                    <a:pt x="16681" y="13154"/>
                  </a:lnTo>
                  <a:lnTo>
                    <a:pt x="17167" y="13942"/>
                  </a:lnTo>
                  <a:lnTo>
                    <a:pt x="16964" y="14800"/>
                  </a:lnTo>
                  <a:lnTo>
                    <a:pt x="15912" y="16433"/>
                  </a:lnTo>
                  <a:lnTo>
                    <a:pt x="16508" y="16749"/>
                  </a:lnTo>
                  <a:lnTo>
                    <a:pt x="15750" y="18913"/>
                  </a:lnTo>
                  <a:lnTo>
                    <a:pt x="14619" y="20514"/>
                  </a:lnTo>
                  <a:lnTo>
                    <a:pt x="13051" y="21818"/>
                  </a:lnTo>
                  <a:lnTo>
                    <a:pt x="12038" y="22121"/>
                  </a:lnTo>
                  <a:lnTo>
                    <a:pt x="11230" y="21565"/>
                  </a:lnTo>
                  <a:lnTo>
                    <a:pt x="9913" y="20137"/>
                  </a:lnTo>
                  <a:lnTo>
                    <a:pt x="8473" y="18143"/>
                  </a:lnTo>
                  <a:lnTo>
                    <a:pt x="7800" y="16985"/>
                  </a:lnTo>
                  <a:lnTo>
                    <a:pt x="5728" y="16831"/>
                  </a:lnTo>
                  <a:lnTo>
                    <a:pt x="4992" y="15914"/>
                  </a:lnTo>
                  <a:lnTo>
                    <a:pt x="4947" y="14795"/>
                  </a:lnTo>
                  <a:lnTo>
                    <a:pt x="4360" y="13476"/>
                  </a:lnTo>
                  <a:lnTo>
                    <a:pt x="3543" y="12066"/>
                  </a:lnTo>
                  <a:lnTo>
                    <a:pt x="2321" y="10979"/>
                  </a:lnTo>
                  <a:lnTo>
                    <a:pt x="691" y="10131"/>
                  </a:lnTo>
                  <a:lnTo>
                    <a:pt x="0" y="9523"/>
                  </a:lnTo>
                  <a:lnTo>
                    <a:pt x="2522" y="9561"/>
                  </a:lnTo>
                  <a:lnTo>
                    <a:pt x="5208" y="9202"/>
                  </a:lnTo>
                  <a:lnTo>
                    <a:pt x="7973" y="8022"/>
                  </a:lnTo>
                  <a:lnTo>
                    <a:pt x="10633" y="6601"/>
                  </a:lnTo>
                  <a:lnTo>
                    <a:pt x="12870" y="4970"/>
                  </a:lnTo>
                  <a:lnTo>
                    <a:pt x="14969" y="3133"/>
                  </a:lnTo>
                  <a:lnTo>
                    <a:pt x="17176" y="1684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69" name="ee4p_BT_1_37365">
              <a:extLst>
                <a:ext uri="{FF2B5EF4-FFF2-40B4-BE49-F238E27FC236}">
                  <a16:creationId xmlns:a16="http://schemas.microsoft.com/office/drawing/2014/main" id="{7CE4C220-EE4A-F810-7582-8A1DC4349F2C}"/>
                </a:ext>
              </a:extLst>
            </p:cNvPr>
            <p:cNvSpPr>
              <a:spLocks noChangeAspect="1"/>
            </p:cNvSpPr>
            <p:nvPr>
              <p:custDataLst>
                <p:tags r:id="rId223"/>
              </p:custDataLst>
            </p:nvPr>
          </p:nvSpPr>
          <p:spPr>
            <a:xfrm>
              <a:off x="8978918" y="3846299"/>
              <a:ext cx="92878" cy="49526"/>
            </a:xfrm>
            <a:custGeom>
              <a:avLst/>
              <a:gdLst/>
              <a:ahLst/>
              <a:cxnLst/>
              <a:rect l="0" t="0" r="0" b="0"/>
              <a:pathLst>
                <a:path w="73957" h="38391">
                  <a:moveTo>
                    <a:pt x="63973" y="13187"/>
                  </a:moveTo>
                  <a:lnTo>
                    <a:pt x="63839" y="13728"/>
                  </a:lnTo>
                  <a:lnTo>
                    <a:pt x="63215" y="15167"/>
                  </a:lnTo>
                  <a:lnTo>
                    <a:pt x="62810" y="16732"/>
                  </a:lnTo>
                  <a:lnTo>
                    <a:pt x="63151" y="18015"/>
                  </a:lnTo>
                  <a:lnTo>
                    <a:pt x="64552" y="19543"/>
                  </a:lnTo>
                  <a:lnTo>
                    <a:pt x="66431" y="20761"/>
                  </a:lnTo>
                  <a:lnTo>
                    <a:pt x="68823" y="20854"/>
                  </a:lnTo>
                  <a:lnTo>
                    <a:pt x="71028" y="20385"/>
                  </a:lnTo>
                  <a:lnTo>
                    <a:pt x="71909" y="20578"/>
                  </a:lnTo>
                  <a:lnTo>
                    <a:pt x="73105" y="22616"/>
                  </a:lnTo>
                  <a:lnTo>
                    <a:pt x="73956" y="24381"/>
                  </a:lnTo>
                  <a:lnTo>
                    <a:pt x="72801" y="26199"/>
                  </a:lnTo>
                  <a:lnTo>
                    <a:pt x="72168" y="27792"/>
                  </a:lnTo>
                  <a:lnTo>
                    <a:pt x="71942" y="28922"/>
                  </a:lnTo>
                  <a:lnTo>
                    <a:pt x="72082" y="29412"/>
                  </a:lnTo>
                  <a:lnTo>
                    <a:pt x="72795" y="30327"/>
                  </a:lnTo>
                  <a:lnTo>
                    <a:pt x="73619" y="31888"/>
                  </a:lnTo>
                  <a:lnTo>
                    <a:pt x="73736" y="33323"/>
                  </a:lnTo>
                  <a:lnTo>
                    <a:pt x="73212" y="34274"/>
                  </a:lnTo>
                  <a:lnTo>
                    <a:pt x="72075" y="34746"/>
                  </a:lnTo>
                  <a:lnTo>
                    <a:pt x="70868" y="34607"/>
                  </a:lnTo>
                  <a:lnTo>
                    <a:pt x="69871" y="34625"/>
                  </a:lnTo>
                  <a:lnTo>
                    <a:pt x="68620" y="34793"/>
                  </a:lnTo>
                  <a:lnTo>
                    <a:pt x="66666" y="35321"/>
                  </a:lnTo>
                  <a:lnTo>
                    <a:pt x="64850" y="36005"/>
                  </a:lnTo>
                  <a:lnTo>
                    <a:pt x="61445" y="35878"/>
                  </a:lnTo>
                  <a:lnTo>
                    <a:pt x="60080" y="34463"/>
                  </a:lnTo>
                  <a:lnTo>
                    <a:pt x="59436" y="34458"/>
                  </a:lnTo>
                  <a:lnTo>
                    <a:pt x="56336" y="36291"/>
                  </a:lnTo>
                  <a:lnTo>
                    <a:pt x="52961" y="35971"/>
                  </a:lnTo>
                  <a:lnTo>
                    <a:pt x="46811" y="36581"/>
                  </a:lnTo>
                  <a:lnTo>
                    <a:pt x="44243" y="36725"/>
                  </a:lnTo>
                  <a:lnTo>
                    <a:pt x="41604" y="36522"/>
                  </a:lnTo>
                  <a:lnTo>
                    <a:pt x="40268" y="36133"/>
                  </a:lnTo>
                  <a:lnTo>
                    <a:pt x="37787" y="34846"/>
                  </a:lnTo>
                  <a:lnTo>
                    <a:pt x="35536" y="33906"/>
                  </a:lnTo>
                  <a:lnTo>
                    <a:pt x="33247" y="34765"/>
                  </a:lnTo>
                  <a:lnTo>
                    <a:pt x="32444" y="34923"/>
                  </a:lnTo>
                  <a:lnTo>
                    <a:pt x="30606" y="37131"/>
                  </a:lnTo>
                  <a:lnTo>
                    <a:pt x="26631" y="37859"/>
                  </a:lnTo>
                  <a:lnTo>
                    <a:pt x="22667" y="38390"/>
                  </a:lnTo>
                  <a:lnTo>
                    <a:pt x="21496" y="38097"/>
                  </a:lnTo>
                  <a:lnTo>
                    <a:pt x="19264" y="37966"/>
                  </a:lnTo>
                  <a:lnTo>
                    <a:pt x="19179" y="37451"/>
                  </a:lnTo>
                  <a:lnTo>
                    <a:pt x="19246" y="36950"/>
                  </a:lnTo>
                  <a:lnTo>
                    <a:pt x="18737" y="36552"/>
                  </a:lnTo>
                  <a:lnTo>
                    <a:pt x="17830" y="36141"/>
                  </a:lnTo>
                  <a:lnTo>
                    <a:pt x="16271" y="35971"/>
                  </a:lnTo>
                  <a:lnTo>
                    <a:pt x="14271" y="35421"/>
                  </a:lnTo>
                  <a:lnTo>
                    <a:pt x="13120" y="34896"/>
                  </a:lnTo>
                  <a:lnTo>
                    <a:pt x="9053" y="35668"/>
                  </a:lnTo>
                  <a:lnTo>
                    <a:pt x="6681" y="34507"/>
                  </a:lnTo>
                  <a:lnTo>
                    <a:pt x="3988" y="32910"/>
                  </a:lnTo>
                  <a:lnTo>
                    <a:pt x="2627" y="32214"/>
                  </a:lnTo>
                  <a:lnTo>
                    <a:pt x="2131" y="29739"/>
                  </a:lnTo>
                  <a:lnTo>
                    <a:pt x="1654" y="28943"/>
                  </a:lnTo>
                  <a:lnTo>
                    <a:pt x="593" y="28105"/>
                  </a:lnTo>
                  <a:lnTo>
                    <a:pt x="0" y="27121"/>
                  </a:lnTo>
                  <a:lnTo>
                    <a:pt x="476" y="26108"/>
                  </a:lnTo>
                  <a:lnTo>
                    <a:pt x="3158" y="24218"/>
                  </a:lnTo>
                  <a:lnTo>
                    <a:pt x="3375" y="23775"/>
                  </a:lnTo>
                  <a:lnTo>
                    <a:pt x="4616" y="20249"/>
                  </a:lnTo>
                  <a:lnTo>
                    <a:pt x="6340" y="18964"/>
                  </a:lnTo>
                  <a:lnTo>
                    <a:pt x="8039" y="17182"/>
                  </a:lnTo>
                  <a:lnTo>
                    <a:pt x="9324" y="14349"/>
                  </a:lnTo>
                  <a:lnTo>
                    <a:pt x="11805" y="11438"/>
                  </a:lnTo>
                  <a:lnTo>
                    <a:pt x="14530" y="8450"/>
                  </a:lnTo>
                  <a:lnTo>
                    <a:pt x="16404" y="6015"/>
                  </a:lnTo>
                  <a:lnTo>
                    <a:pt x="17648" y="4879"/>
                  </a:lnTo>
                  <a:lnTo>
                    <a:pt x="20209" y="3662"/>
                  </a:lnTo>
                  <a:lnTo>
                    <a:pt x="22356" y="2946"/>
                  </a:lnTo>
                  <a:lnTo>
                    <a:pt x="23839" y="1315"/>
                  </a:lnTo>
                  <a:lnTo>
                    <a:pt x="25629" y="409"/>
                  </a:lnTo>
                  <a:lnTo>
                    <a:pt x="27469" y="0"/>
                  </a:lnTo>
                  <a:lnTo>
                    <a:pt x="30199" y="219"/>
                  </a:lnTo>
                  <a:lnTo>
                    <a:pt x="32771" y="802"/>
                  </a:lnTo>
                  <a:lnTo>
                    <a:pt x="35588" y="1611"/>
                  </a:lnTo>
                  <a:lnTo>
                    <a:pt x="35915" y="2268"/>
                  </a:lnTo>
                  <a:lnTo>
                    <a:pt x="35674" y="3425"/>
                  </a:lnTo>
                  <a:lnTo>
                    <a:pt x="35269" y="4599"/>
                  </a:lnTo>
                  <a:lnTo>
                    <a:pt x="35253" y="5201"/>
                  </a:lnTo>
                  <a:lnTo>
                    <a:pt x="35687" y="5530"/>
                  </a:lnTo>
                  <a:lnTo>
                    <a:pt x="38443" y="5754"/>
                  </a:lnTo>
                  <a:lnTo>
                    <a:pt x="41820" y="5570"/>
                  </a:lnTo>
                  <a:lnTo>
                    <a:pt x="43714" y="5733"/>
                  </a:lnTo>
                  <a:lnTo>
                    <a:pt x="47936" y="6815"/>
                  </a:lnTo>
                  <a:lnTo>
                    <a:pt x="49171" y="7579"/>
                  </a:lnTo>
                  <a:lnTo>
                    <a:pt x="50460" y="8165"/>
                  </a:lnTo>
                  <a:lnTo>
                    <a:pt x="51719" y="8060"/>
                  </a:lnTo>
                  <a:lnTo>
                    <a:pt x="53314" y="6809"/>
                  </a:lnTo>
                  <a:lnTo>
                    <a:pt x="54995" y="5745"/>
                  </a:lnTo>
                  <a:lnTo>
                    <a:pt x="56037" y="5575"/>
                  </a:lnTo>
                  <a:lnTo>
                    <a:pt x="56785" y="5918"/>
                  </a:lnTo>
                  <a:lnTo>
                    <a:pt x="58128" y="6932"/>
                  </a:lnTo>
                  <a:lnTo>
                    <a:pt x="60909" y="7885"/>
                  </a:lnTo>
                  <a:lnTo>
                    <a:pt x="63390" y="8604"/>
                  </a:lnTo>
                  <a:lnTo>
                    <a:pt x="64193" y="9285"/>
                  </a:lnTo>
                  <a:lnTo>
                    <a:pt x="63918" y="12209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70" name="ee4p_CN_1_37365">
              <a:extLst>
                <a:ext uri="{FF2B5EF4-FFF2-40B4-BE49-F238E27FC236}">
                  <a16:creationId xmlns:a16="http://schemas.microsoft.com/office/drawing/2014/main" id="{C3DE696F-8A52-19EF-ADB2-25BF998911D5}"/>
                </a:ext>
              </a:extLst>
            </p:cNvPr>
            <p:cNvSpPr>
              <a:spLocks noChangeAspect="1"/>
            </p:cNvSpPr>
            <p:nvPr>
              <p:custDataLst>
                <p:tags r:id="rId224"/>
              </p:custDataLst>
            </p:nvPr>
          </p:nvSpPr>
          <p:spPr>
            <a:xfrm>
              <a:off x="8558727" y="2981873"/>
              <a:ext cx="1697958" cy="1168528"/>
            </a:xfrm>
            <a:custGeom>
              <a:avLst/>
              <a:gdLst>
                <a:gd name="connsiteX0" fmla="*/ 819130 w 1352046"/>
                <a:gd name="connsiteY0" fmla="*/ 861795 h 905809"/>
                <a:gd name="connsiteX1" fmla="*/ 819723 w 1352046"/>
                <a:gd name="connsiteY1" fmla="*/ 861811 h 905809"/>
                <a:gd name="connsiteX2" fmla="*/ 821182 w 1352046"/>
                <a:gd name="connsiteY2" fmla="*/ 863596 h 905809"/>
                <a:gd name="connsiteX3" fmla="*/ 822609 w 1352046"/>
                <a:gd name="connsiteY3" fmla="*/ 864633 h 905809"/>
                <a:gd name="connsiteX4" fmla="*/ 824372 w 1352046"/>
                <a:gd name="connsiteY4" fmla="*/ 865150 h 905809"/>
                <a:gd name="connsiteX5" fmla="*/ 825467 w 1352046"/>
                <a:gd name="connsiteY5" fmla="*/ 866171 h 905809"/>
                <a:gd name="connsiteX6" fmla="*/ 826184 w 1352046"/>
                <a:gd name="connsiteY6" fmla="*/ 867648 h 905809"/>
                <a:gd name="connsiteX7" fmla="*/ 826780 w 1352046"/>
                <a:gd name="connsiteY7" fmla="*/ 870375 h 905809"/>
                <a:gd name="connsiteX8" fmla="*/ 827134 w 1352046"/>
                <a:gd name="connsiteY8" fmla="*/ 872884 h 905809"/>
                <a:gd name="connsiteX9" fmla="*/ 824901 w 1352046"/>
                <a:gd name="connsiteY9" fmla="*/ 874478 h 905809"/>
                <a:gd name="connsiteX10" fmla="*/ 822901 w 1352046"/>
                <a:gd name="connsiteY10" fmla="*/ 875125 h 905809"/>
                <a:gd name="connsiteX11" fmla="*/ 818891 w 1352046"/>
                <a:gd name="connsiteY11" fmla="*/ 881246 h 905809"/>
                <a:gd name="connsiteX12" fmla="*/ 818055 w 1352046"/>
                <a:gd name="connsiteY12" fmla="*/ 883177 h 905809"/>
                <a:gd name="connsiteX13" fmla="*/ 817371 w 1352046"/>
                <a:gd name="connsiteY13" fmla="*/ 883983 h 905809"/>
                <a:gd name="connsiteX14" fmla="*/ 817157 w 1352046"/>
                <a:gd name="connsiteY14" fmla="*/ 884825 h 905809"/>
                <a:gd name="connsiteX15" fmla="*/ 817235 w 1352046"/>
                <a:gd name="connsiteY15" fmla="*/ 885664 h 905809"/>
                <a:gd name="connsiteX16" fmla="*/ 816203 w 1352046"/>
                <a:gd name="connsiteY16" fmla="*/ 888605 h 905809"/>
                <a:gd name="connsiteX17" fmla="*/ 815281 w 1352046"/>
                <a:gd name="connsiteY17" fmla="*/ 892215 h 905809"/>
                <a:gd name="connsiteX18" fmla="*/ 814697 w 1352046"/>
                <a:gd name="connsiteY18" fmla="*/ 893695 h 905809"/>
                <a:gd name="connsiteX19" fmla="*/ 813553 w 1352046"/>
                <a:gd name="connsiteY19" fmla="*/ 894831 h 905809"/>
                <a:gd name="connsiteX20" fmla="*/ 812098 w 1352046"/>
                <a:gd name="connsiteY20" fmla="*/ 895404 h 905809"/>
                <a:gd name="connsiteX21" fmla="*/ 811150 w 1352046"/>
                <a:gd name="connsiteY21" fmla="*/ 895490 h 905809"/>
                <a:gd name="connsiteX22" fmla="*/ 810286 w 1352046"/>
                <a:gd name="connsiteY22" fmla="*/ 895805 h 905809"/>
                <a:gd name="connsiteX23" fmla="*/ 808175 w 1352046"/>
                <a:gd name="connsiteY23" fmla="*/ 897772 h 905809"/>
                <a:gd name="connsiteX24" fmla="*/ 805793 w 1352046"/>
                <a:gd name="connsiteY24" fmla="*/ 899249 h 905809"/>
                <a:gd name="connsiteX25" fmla="*/ 806188 w 1352046"/>
                <a:gd name="connsiteY25" fmla="*/ 899926 h 905809"/>
                <a:gd name="connsiteX26" fmla="*/ 806210 w 1352046"/>
                <a:gd name="connsiteY26" fmla="*/ 900568 h 905809"/>
                <a:gd name="connsiteX27" fmla="*/ 805166 w 1352046"/>
                <a:gd name="connsiteY27" fmla="*/ 901284 h 905809"/>
                <a:gd name="connsiteX28" fmla="*/ 804004 w 1352046"/>
                <a:gd name="connsiteY28" fmla="*/ 901151 h 905809"/>
                <a:gd name="connsiteX29" fmla="*/ 800642 w 1352046"/>
                <a:gd name="connsiteY29" fmla="*/ 901731 h 905809"/>
                <a:gd name="connsiteX30" fmla="*/ 799407 w 1352046"/>
                <a:gd name="connsiteY30" fmla="*/ 902838 h 905809"/>
                <a:gd name="connsiteX31" fmla="*/ 798146 w 1352046"/>
                <a:gd name="connsiteY31" fmla="*/ 904875 h 905809"/>
                <a:gd name="connsiteX32" fmla="*/ 797667 w 1352046"/>
                <a:gd name="connsiteY32" fmla="*/ 905149 h 905809"/>
                <a:gd name="connsiteX33" fmla="*/ 795644 w 1352046"/>
                <a:gd name="connsiteY33" fmla="*/ 905625 h 905809"/>
                <a:gd name="connsiteX34" fmla="*/ 794091 w 1352046"/>
                <a:gd name="connsiteY34" fmla="*/ 905809 h 905809"/>
                <a:gd name="connsiteX35" fmla="*/ 791454 w 1352046"/>
                <a:gd name="connsiteY35" fmla="*/ 904373 h 905809"/>
                <a:gd name="connsiteX36" fmla="*/ 790145 w 1352046"/>
                <a:gd name="connsiteY36" fmla="*/ 903950 h 905809"/>
                <a:gd name="connsiteX37" fmla="*/ 786658 w 1352046"/>
                <a:gd name="connsiteY37" fmla="*/ 903367 h 905809"/>
                <a:gd name="connsiteX38" fmla="*/ 783268 w 1352046"/>
                <a:gd name="connsiteY38" fmla="*/ 902392 h 905809"/>
                <a:gd name="connsiteX39" fmla="*/ 780888 w 1352046"/>
                <a:gd name="connsiteY39" fmla="*/ 901287 h 905809"/>
                <a:gd name="connsiteX40" fmla="*/ 776008 w 1352046"/>
                <a:gd name="connsiteY40" fmla="*/ 898562 h 905809"/>
                <a:gd name="connsiteX41" fmla="*/ 775444 w 1352046"/>
                <a:gd name="connsiteY41" fmla="*/ 893643 h 905809"/>
                <a:gd name="connsiteX42" fmla="*/ 774605 w 1352046"/>
                <a:gd name="connsiteY42" fmla="*/ 890985 h 905809"/>
                <a:gd name="connsiteX43" fmla="*/ 774550 w 1352046"/>
                <a:gd name="connsiteY43" fmla="*/ 890037 h 905809"/>
                <a:gd name="connsiteX44" fmla="*/ 774868 w 1352046"/>
                <a:gd name="connsiteY44" fmla="*/ 881847 h 905809"/>
                <a:gd name="connsiteX45" fmla="*/ 775211 w 1352046"/>
                <a:gd name="connsiteY45" fmla="*/ 880951 h 905809"/>
                <a:gd name="connsiteX46" fmla="*/ 775831 w 1352046"/>
                <a:gd name="connsiteY46" fmla="*/ 880166 h 905809"/>
                <a:gd name="connsiteX47" fmla="*/ 777986 w 1352046"/>
                <a:gd name="connsiteY47" fmla="*/ 878333 h 905809"/>
                <a:gd name="connsiteX48" fmla="*/ 780458 w 1352046"/>
                <a:gd name="connsiteY48" fmla="*/ 876883 h 905809"/>
                <a:gd name="connsiteX49" fmla="*/ 783998 w 1352046"/>
                <a:gd name="connsiteY49" fmla="*/ 873847 h 905809"/>
                <a:gd name="connsiteX50" fmla="*/ 786567 w 1352046"/>
                <a:gd name="connsiteY50" fmla="*/ 872456 h 905809"/>
                <a:gd name="connsiteX51" fmla="*/ 788725 w 1352046"/>
                <a:gd name="connsiteY51" fmla="*/ 870457 h 905809"/>
                <a:gd name="connsiteX52" fmla="*/ 787461 w 1352046"/>
                <a:gd name="connsiteY52" fmla="*/ 870541 h 905809"/>
                <a:gd name="connsiteX53" fmla="*/ 786531 w 1352046"/>
                <a:gd name="connsiteY53" fmla="*/ 870288 h 905809"/>
                <a:gd name="connsiteX54" fmla="*/ 787449 w 1352046"/>
                <a:gd name="connsiteY54" fmla="*/ 868579 h 905809"/>
                <a:gd name="connsiteX55" fmla="*/ 788433 w 1352046"/>
                <a:gd name="connsiteY55" fmla="*/ 867663 h 905809"/>
                <a:gd name="connsiteX56" fmla="*/ 789569 w 1352046"/>
                <a:gd name="connsiteY56" fmla="*/ 867163 h 905809"/>
                <a:gd name="connsiteX57" fmla="*/ 791854 w 1352046"/>
                <a:gd name="connsiteY57" fmla="*/ 867522 h 905809"/>
                <a:gd name="connsiteX58" fmla="*/ 793965 w 1352046"/>
                <a:gd name="connsiteY58" fmla="*/ 867167 h 905809"/>
                <a:gd name="connsiteX59" fmla="*/ 795526 w 1352046"/>
                <a:gd name="connsiteY59" fmla="*/ 865648 h 905809"/>
                <a:gd name="connsiteX60" fmla="*/ 797010 w 1352046"/>
                <a:gd name="connsiteY60" fmla="*/ 865324 h 905809"/>
                <a:gd name="connsiteX61" fmla="*/ 802646 w 1352046"/>
                <a:gd name="connsiteY61" fmla="*/ 865822 h 905809"/>
                <a:gd name="connsiteX62" fmla="*/ 806554 w 1352046"/>
                <a:gd name="connsiteY62" fmla="*/ 865127 h 905809"/>
                <a:gd name="connsiteX63" fmla="*/ 808513 w 1352046"/>
                <a:gd name="connsiteY63" fmla="*/ 863729 h 905809"/>
                <a:gd name="connsiteX64" fmla="*/ 809437 w 1352046"/>
                <a:gd name="connsiteY64" fmla="*/ 863675 h 905809"/>
                <a:gd name="connsiteX65" fmla="*/ 812325 w 1352046"/>
                <a:gd name="connsiteY65" fmla="*/ 864072 h 905809"/>
                <a:gd name="connsiteX66" fmla="*/ 813394 w 1352046"/>
                <a:gd name="connsiteY66" fmla="*/ 865526 h 905809"/>
                <a:gd name="connsiteX67" fmla="*/ 813298 w 1352046"/>
                <a:gd name="connsiteY67" fmla="*/ 864550 h 905809"/>
                <a:gd name="connsiteX68" fmla="*/ 813422 w 1352046"/>
                <a:gd name="connsiteY68" fmla="*/ 863602 h 905809"/>
                <a:gd name="connsiteX69" fmla="*/ 813952 w 1352046"/>
                <a:gd name="connsiteY69" fmla="*/ 863705 h 905809"/>
                <a:gd name="connsiteX70" fmla="*/ 817725 w 1352046"/>
                <a:gd name="connsiteY70" fmla="*/ 865508 h 905809"/>
                <a:gd name="connsiteX71" fmla="*/ 817738 w 1352046"/>
                <a:gd name="connsiteY71" fmla="*/ 863297 h 905809"/>
                <a:gd name="connsiteX72" fmla="*/ 817950 w 1352046"/>
                <a:gd name="connsiteY72" fmla="*/ 862719 h 905809"/>
                <a:gd name="connsiteX73" fmla="*/ 813235 w 1352046"/>
                <a:gd name="connsiteY73" fmla="*/ 839762 h 905809"/>
                <a:gd name="connsiteX74" fmla="*/ 814059 w 1352046"/>
                <a:gd name="connsiteY74" fmla="*/ 840561 h 905809"/>
                <a:gd name="connsiteX75" fmla="*/ 816252 w 1352046"/>
                <a:gd name="connsiteY75" fmla="*/ 839995 h 905809"/>
                <a:gd name="connsiteX76" fmla="*/ 816650 w 1352046"/>
                <a:gd name="connsiteY76" fmla="*/ 841013 h 905809"/>
                <a:gd name="connsiteX77" fmla="*/ 816635 w 1352046"/>
                <a:gd name="connsiteY77" fmla="*/ 841488 h 905809"/>
                <a:gd name="connsiteX78" fmla="*/ 815862 w 1352046"/>
                <a:gd name="connsiteY78" fmla="*/ 842660 h 905809"/>
                <a:gd name="connsiteX79" fmla="*/ 814048 w 1352046"/>
                <a:gd name="connsiteY79" fmla="*/ 841755 h 905809"/>
                <a:gd name="connsiteX80" fmla="*/ 812236 w 1352046"/>
                <a:gd name="connsiteY80" fmla="*/ 841966 h 905809"/>
                <a:gd name="connsiteX81" fmla="*/ 810932 w 1352046"/>
                <a:gd name="connsiteY81" fmla="*/ 841887 h 905809"/>
                <a:gd name="connsiteX82" fmla="*/ 810571 w 1352046"/>
                <a:gd name="connsiteY82" fmla="*/ 841332 h 905809"/>
                <a:gd name="connsiteX83" fmla="*/ 811570 w 1352046"/>
                <a:gd name="connsiteY83" fmla="*/ 840188 h 905809"/>
                <a:gd name="connsiteX84" fmla="*/ 863264 w 1352046"/>
                <a:gd name="connsiteY84" fmla="*/ 825484 h 905809"/>
                <a:gd name="connsiteX85" fmla="*/ 863178 w 1352046"/>
                <a:gd name="connsiteY85" fmla="*/ 827120 h 905809"/>
                <a:gd name="connsiteX86" fmla="*/ 861008 w 1352046"/>
                <a:gd name="connsiteY86" fmla="*/ 827609 h 905809"/>
                <a:gd name="connsiteX87" fmla="*/ 860552 w 1352046"/>
                <a:gd name="connsiteY87" fmla="*/ 827504 h 905809"/>
                <a:gd name="connsiteX88" fmla="*/ 861304 w 1352046"/>
                <a:gd name="connsiteY88" fmla="*/ 826307 h 905809"/>
                <a:gd name="connsiteX89" fmla="*/ 866235 w 1352046"/>
                <a:gd name="connsiteY89" fmla="*/ 824047 h 905809"/>
                <a:gd name="connsiteX90" fmla="*/ 867497 w 1352046"/>
                <a:gd name="connsiteY90" fmla="*/ 824227 h 905809"/>
                <a:gd name="connsiteX91" fmla="*/ 868017 w 1352046"/>
                <a:gd name="connsiteY91" fmla="*/ 824502 h 905809"/>
                <a:gd name="connsiteX92" fmla="*/ 866912 w 1352046"/>
                <a:gd name="connsiteY92" fmla="*/ 825440 h 905809"/>
                <a:gd name="connsiteX93" fmla="*/ 866649 w 1352046"/>
                <a:gd name="connsiteY93" fmla="*/ 825840 h 905809"/>
                <a:gd name="connsiteX94" fmla="*/ 866418 w 1352046"/>
                <a:gd name="connsiteY94" fmla="*/ 827995 h 905809"/>
                <a:gd name="connsiteX95" fmla="*/ 865994 w 1352046"/>
                <a:gd name="connsiteY95" fmla="*/ 828458 h 905809"/>
                <a:gd name="connsiteX96" fmla="*/ 865350 w 1352046"/>
                <a:gd name="connsiteY96" fmla="*/ 827620 h 905809"/>
                <a:gd name="connsiteX97" fmla="*/ 865163 w 1352046"/>
                <a:gd name="connsiteY97" fmla="*/ 826419 h 905809"/>
                <a:gd name="connsiteX98" fmla="*/ 864702 w 1352046"/>
                <a:gd name="connsiteY98" fmla="*/ 825769 h 905809"/>
                <a:gd name="connsiteX99" fmla="*/ 865761 w 1352046"/>
                <a:gd name="connsiteY99" fmla="*/ 824951 h 905809"/>
                <a:gd name="connsiteX100" fmla="*/ 897312 w 1352046"/>
                <a:gd name="connsiteY100" fmla="*/ 811881 h 905809"/>
                <a:gd name="connsiteX101" fmla="*/ 898626 w 1352046"/>
                <a:gd name="connsiteY101" fmla="*/ 812649 h 905809"/>
                <a:gd name="connsiteX102" fmla="*/ 898553 w 1352046"/>
                <a:gd name="connsiteY102" fmla="*/ 813346 h 905809"/>
                <a:gd name="connsiteX103" fmla="*/ 898299 w 1352046"/>
                <a:gd name="connsiteY103" fmla="*/ 813880 h 905809"/>
                <a:gd name="connsiteX104" fmla="*/ 897750 w 1352046"/>
                <a:gd name="connsiteY104" fmla="*/ 814238 h 905809"/>
                <a:gd name="connsiteX105" fmla="*/ 896236 w 1352046"/>
                <a:gd name="connsiteY105" fmla="*/ 812538 h 905809"/>
                <a:gd name="connsiteX106" fmla="*/ 896141 w 1352046"/>
                <a:gd name="connsiteY106" fmla="*/ 811983 h 905809"/>
                <a:gd name="connsiteX107" fmla="*/ 894139 w 1352046"/>
                <a:gd name="connsiteY107" fmla="*/ 811027 h 905809"/>
                <a:gd name="connsiteX108" fmla="*/ 893241 w 1352046"/>
                <a:gd name="connsiteY108" fmla="*/ 812324 h 905809"/>
                <a:gd name="connsiteX109" fmla="*/ 893118 w 1352046"/>
                <a:gd name="connsiteY109" fmla="*/ 813881 h 905809"/>
                <a:gd name="connsiteX110" fmla="*/ 890456 w 1352046"/>
                <a:gd name="connsiteY110" fmla="*/ 813883 h 905809"/>
                <a:gd name="connsiteX111" fmla="*/ 889885 w 1352046"/>
                <a:gd name="connsiteY111" fmla="*/ 813650 h 905809"/>
                <a:gd name="connsiteX112" fmla="*/ 889604 w 1352046"/>
                <a:gd name="connsiteY112" fmla="*/ 813157 h 905809"/>
                <a:gd name="connsiteX113" fmla="*/ 890549 w 1352046"/>
                <a:gd name="connsiteY113" fmla="*/ 812261 h 905809"/>
                <a:gd name="connsiteX114" fmla="*/ 881336 w 1352046"/>
                <a:gd name="connsiteY114" fmla="*/ 797740 h 905809"/>
                <a:gd name="connsiteX115" fmla="*/ 882565 w 1352046"/>
                <a:gd name="connsiteY115" fmla="*/ 798963 h 905809"/>
                <a:gd name="connsiteX116" fmla="*/ 883334 w 1352046"/>
                <a:gd name="connsiteY116" fmla="*/ 800078 h 905809"/>
                <a:gd name="connsiteX117" fmla="*/ 883520 w 1352046"/>
                <a:gd name="connsiteY117" fmla="*/ 801155 h 905809"/>
                <a:gd name="connsiteX118" fmla="*/ 881794 w 1352046"/>
                <a:gd name="connsiteY118" fmla="*/ 799516 h 905809"/>
                <a:gd name="connsiteX119" fmla="*/ 881302 w 1352046"/>
                <a:gd name="connsiteY119" fmla="*/ 799421 h 905809"/>
                <a:gd name="connsiteX120" fmla="*/ 880477 w 1352046"/>
                <a:gd name="connsiteY120" fmla="*/ 798811 h 905809"/>
                <a:gd name="connsiteX121" fmla="*/ 879997 w 1352046"/>
                <a:gd name="connsiteY121" fmla="*/ 797780 h 905809"/>
                <a:gd name="connsiteX122" fmla="*/ 983911 w 1352046"/>
                <a:gd name="connsiteY122" fmla="*/ 759208 h 905809"/>
                <a:gd name="connsiteX123" fmla="*/ 985391 w 1352046"/>
                <a:gd name="connsiteY123" fmla="*/ 760002 h 905809"/>
                <a:gd name="connsiteX124" fmla="*/ 985663 w 1352046"/>
                <a:gd name="connsiteY124" fmla="*/ 760524 h 905809"/>
                <a:gd name="connsiteX125" fmla="*/ 984922 w 1352046"/>
                <a:gd name="connsiteY125" fmla="*/ 761935 h 905809"/>
                <a:gd name="connsiteX126" fmla="*/ 983618 w 1352046"/>
                <a:gd name="connsiteY126" fmla="*/ 761700 h 905809"/>
                <a:gd name="connsiteX127" fmla="*/ 983579 w 1352046"/>
                <a:gd name="connsiteY127" fmla="*/ 760698 h 905809"/>
                <a:gd name="connsiteX128" fmla="*/ 983313 w 1352046"/>
                <a:gd name="connsiteY128" fmla="*/ 760403 h 905809"/>
                <a:gd name="connsiteX129" fmla="*/ 983672 w 1352046"/>
                <a:gd name="connsiteY129" fmla="*/ 759469 h 905809"/>
                <a:gd name="connsiteX130" fmla="*/ 1020930 w 1352046"/>
                <a:gd name="connsiteY130" fmla="*/ 733290 h 905809"/>
                <a:gd name="connsiteX131" fmla="*/ 1021362 w 1352046"/>
                <a:gd name="connsiteY131" fmla="*/ 733997 h 905809"/>
                <a:gd name="connsiteX132" fmla="*/ 1022053 w 1352046"/>
                <a:gd name="connsiteY132" fmla="*/ 734371 h 905809"/>
                <a:gd name="connsiteX133" fmla="*/ 1022266 w 1352046"/>
                <a:gd name="connsiteY133" fmla="*/ 734756 h 905809"/>
                <a:gd name="connsiteX134" fmla="*/ 1022273 w 1352046"/>
                <a:gd name="connsiteY134" fmla="*/ 735497 h 905809"/>
                <a:gd name="connsiteX135" fmla="*/ 1021619 w 1352046"/>
                <a:gd name="connsiteY135" fmla="*/ 736721 h 905809"/>
                <a:gd name="connsiteX136" fmla="*/ 1022134 w 1352046"/>
                <a:gd name="connsiteY136" fmla="*/ 737386 h 905809"/>
                <a:gd name="connsiteX137" fmla="*/ 1021880 w 1352046"/>
                <a:gd name="connsiteY137" fmla="*/ 737920 h 905809"/>
                <a:gd name="connsiteX138" fmla="*/ 1020239 w 1352046"/>
                <a:gd name="connsiteY138" fmla="*/ 739012 h 905809"/>
                <a:gd name="connsiteX139" fmla="*/ 1019213 w 1352046"/>
                <a:gd name="connsiteY139" fmla="*/ 738492 h 905809"/>
                <a:gd name="connsiteX140" fmla="*/ 1019193 w 1352046"/>
                <a:gd name="connsiteY140" fmla="*/ 737029 h 905809"/>
                <a:gd name="connsiteX141" fmla="*/ 1019716 w 1352046"/>
                <a:gd name="connsiteY141" fmla="*/ 735711 h 905809"/>
                <a:gd name="connsiteX142" fmla="*/ 1019118 w 1352046"/>
                <a:gd name="connsiteY142" fmla="*/ 734761 h 905809"/>
                <a:gd name="connsiteX143" fmla="*/ 1019706 w 1352046"/>
                <a:gd name="connsiteY143" fmla="*/ 733629 h 905809"/>
                <a:gd name="connsiteX144" fmla="*/ 1052495 w 1352046"/>
                <a:gd name="connsiteY144" fmla="*/ 672636 h 905809"/>
                <a:gd name="connsiteX145" fmla="*/ 1053135 w 1352046"/>
                <a:gd name="connsiteY145" fmla="*/ 673189 h 905809"/>
                <a:gd name="connsiteX146" fmla="*/ 1053502 w 1352046"/>
                <a:gd name="connsiteY146" fmla="*/ 674053 h 905809"/>
                <a:gd name="connsiteX147" fmla="*/ 1053511 w 1352046"/>
                <a:gd name="connsiteY147" fmla="*/ 675460 h 905809"/>
                <a:gd name="connsiteX148" fmla="*/ 1051585 w 1352046"/>
                <a:gd name="connsiteY148" fmla="*/ 676032 h 905809"/>
                <a:gd name="connsiteX149" fmla="*/ 1050861 w 1352046"/>
                <a:gd name="connsiteY149" fmla="*/ 676030 h 905809"/>
                <a:gd name="connsiteX150" fmla="*/ 1050916 w 1352046"/>
                <a:gd name="connsiteY150" fmla="*/ 674291 h 905809"/>
                <a:gd name="connsiteX151" fmla="*/ 1072710 w 1352046"/>
                <a:gd name="connsiteY151" fmla="*/ 634678 h 905809"/>
                <a:gd name="connsiteX152" fmla="*/ 1073714 w 1352046"/>
                <a:gd name="connsiteY152" fmla="*/ 636646 h 905809"/>
                <a:gd name="connsiteX153" fmla="*/ 1073880 w 1352046"/>
                <a:gd name="connsiteY153" fmla="*/ 637172 h 905809"/>
                <a:gd name="connsiteX154" fmla="*/ 1073803 w 1352046"/>
                <a:gd name="connsiteY154" fmla="*/ 637625 h 905809"/>
                <a:gd name="connsiteX155" fmla="*/ 1071917 w 1352046"/>
                <a:gd name="connsiteY155" fmla="*/ 636053 h 905809"/>
                <a:gd name="connsiteX156" fmla="*/ 1071008 w 1352046"/>
                <a:gd name="connsiteY156" fmla="*/ 635796 h 905809"/>
                <a:gd name="connsiteX157" fmla="*/ 1071442 w 1352046"/>
                <a:gd name="connsiteY157" fmla="*/ 634907 h 905809"/>
                <a:gd name="connsiteX158" fmla="*/ 1077826 w 1352046"/>
                <a:gd name="connsiteY158" fmla="*/ 630494 h 905809"/>
                <a:gd name="connsiteX159" fmla="*/ 1078944 w 1352046"/>
                <a:gd name="connsiteY159" fmla="*/ 630614 h 905809"/>
                <a:gd name="connsiteX160" fmla="*/ 1078995 w 1352046"/>
                <a:gd name="connsiteY160" fmla="*/ 632014 h 905809"/>
                <a:gd name="connsiteX161" fmla="*/ 1078777 w 1352046"/>
                <a:gd name="connsiteY161" fmla="*/ 633133 h 905809"/>
                <a:gd name="connsiteX162" fmla="*/ 1078192 w 1352046"/>
                <a:gd name="connsiteY162" fmla="*/ 632974 h 905809"/>
                <a:gd name="connsiteX163" fmla="*/ 1077402 w 1352046"/>
                <a:gd name="connsiteY163" fmla="*/ 630984 h 905809"/>
                <a:gd name="connsiteX164" fmla="*/ 1069389 w 1352046"/>
                <a:gd name="connsiteY164" fmla="*/ 625944 h 905809"/>
                <a:gd name="connsiteX165" fmla="*/ 1072509 w 1352046"/>
                <a:gd name="connsiteY165" fmla="*/ 626026 h 905809"/>
                <a:gd name="connsiteX166" fmla="*/ 1076355 w 1352046"/>
                <a:gd name="connsiteY166" fmla="*/ 627764 h 905809"/>
                <a:gd name="connsiteX167" fmla="*/ 1077191 w 1352046"/>
                <a:gd name="connsiteY167" fmla="*/ 628650 h 905809"/>
                <a:gd name="connsiteX168" fmla="*/ 1076608 w 1352046"/>
                <a:gd name="connsiteY168" fmla="*/ 630295 h 905809"/>
                <a:gd name="connsiteX169" fmla="*/ 1076290 w 1352046"/>
                <a:gd name="connsiteY169" fmla="*/ 630769 h 905809"/>
                <a:gd name="connsiteX170" fmla="*/ 1073554 w 1352046"/>
                <a:gd name="connsiteY170" fmla="*/ 629379 h 905809"/>
                <a:gd name="connsiteX171" fmla="*/ 1070596 w 1352046"/>
                <a:gd name="connsiteY171" fmla="*/ 629088 h 905809"/>
                <a:gd name="connsiteX172" fmla="*/ 1069574 w 1352046"/>
                <a:gd name="connsiteY172" fmla="*/ 627865 h 905809"/>
                <a:gd name="connsiteX173" fmla="*/ 1052621 w 1352046"/>
                <a:gd name="connsiteY173" fmla="*/ 585460 h 905809"/>
                <a:gd name="connsiteX174" fmla="*/ 1055448 w 1352046"/>
                <a:gd name="connsiteY174" fmla="*/ 585656 h 905809"/>
                <a:gd name="connsiteX175" fmla="*/ 1058216 w 1352046"/>
                <a:gd name="connsiteY175" fmla="*/ 586658 h 905809"/>
                <a:gd name="connsiteX176" fmla="*/ 1058827 w 1352046"/>
                <a:gd name="connsiteY176" fmla="*/ 588194 h 905809"/>
                <a:gd name="connsiteX177" fmla="*/ 1059944 w 1352046"/>
                <a:gd name="connsiteY177" fmla="*/ 588677 h 905809"/>
                <a:gd name="connsiteX178" fmla="*/ 1060701 w 1352046"/>
                <a:gd name="connsiteY178" fmla="*/ 589573 h 905809"/>
                <a:gd name="connsiteX179" fmla="*/ 1065825 w 1352046"/>
                <a:gd name="connsiteY179" fmla="*/ 591655 h 905809"/>
                <a:gd name="connsiteX180" fmla="*/ 1066608 w 1352046"/>
                <a:gd name="connsiteY180" fmla="*/ 592286 h 905809"/>
                <a:gd name="connsiteX181" fmla="*/ 1067029 w 1352046"/>
                <a:gd name="connsiteY181" fmla="*/ 593118 h 905809"/>
                <a:gd name="connsiteX182" fmla="*/ 1065210 w 1352046"/>
                <a:gd name="connsiteY182" fmla="*/ 593815 h 905809"/>
                <a:gd name="connsiteX183" fmla="*/ 1059449 w 1352046"/>
                <a:gd name="connsiteY183" fmla="*/ 591717 h 905809"/>
                <a:gd name="connsiteX184" fmla="*/ 1055391 w 1352046"/>
                <a:gd name="connsiteY184" fmla="*/ 589416 h 905809"/>
                <a:gd name="connsiteX185" fmla="*/ 1052969 w 1352046"/>
                <a:gd name="connsiteY185" fmla="*/ 586617 h 905809"/>
                <a:gd name="connsiteX186" fmla="*/ 1099022 w 1352046"/>
                <a:gd name="connsiteY186" fmla="*/ 0 h 905809"/>
                <a:gd name="connsiteX187" fmla="*/ 1101553 w 1352046"/>
                <a:gd name="connsiteY187" fmla="*/ 749 h 905809"/>
                <a:gd name="connsiteX188" fmla="*/ 1102999 w 1352046"/>
                <a:gd name="connsiteY188" fmla="*/ 789 h 905809"/>
                <a:gd name="connsiteX189" fmla="*/ 1104001 w 1352046"/>
                <a:gd name="connsiteY189" fmla="*/ 879 h 905809"/>
                <a:gd name="connsiteX190" fmla="*/ 1104554 w 1352046"/>
                <a:gd name="connsiteY190" fmla="*/ 873 h 905809"/>
                <a:gd name="connsiteX191" fmla="*/ 1105616 w 1352046"/>
                <a:gd name="connsiteY191" fmla="*/ 274 h 905809"/>
                <a:gd name="connsiteX192" fmla="*/ 1108560 w 1352046"/>
                <a:gd name="connsiteY192" fmla="*/ 1345 h 905809"/>
                <a:gd name="connsiteX193" fmla="*/ 1114172 w 1352046"/>
                <a:gd name="connsiteY193" fmla="*/ 4519 h 905809"/>
                <a:gd name="connsiteX194" fmla="*/ 1117701 w 1352046"/>
                <a:gd name="connsiteY194" fmla="*/ 5931 h 905809"/>
                <a:gd name="connsiteX195" fmla="*/ 1119152 w 1352046"/>
                <a:gd name="connsiteY195" fmla="*/ 5587 h 905809"/>
                <a:gd name="connsiteX196" fmla="*/ 1120732 w 1352046"/>
                <a:gd name="connsiteY196" fmla="*/ 6467 h 905809"/>
                <a:gd name="connsiteX197" fmla="*/ 1122451 w 1352046"/>
                <a:gd name="connsiteY197" fmla="*/ 8569 h 905809"/>
                <a:gd name="connsiteX198" fmla="*/ 1124591 w 1352046"/>
                <a:gd name="connsiteY198" fmla="*/ 9810 h 905809"/>
                <a:gd name="connsiteX199" fmla="*/ 1128437 w 1352046"/>
                <a:gd name="connsiteY199" fmla="*/ 10380 h 905809"/>
                <a:gd name="connsiteX200" fmla="*/ 1132250 w 1352046"/>
                <a:gd name="connsiteY200" fmla="*/ 12685 h 905809"/>
                <a:gd name="connsiteX201" fmla="*/ 1133794 w 1352046"/>
                <a:gd name="connsiteY201" fmla="*/ 12808 h 905809"/>
                <a:gd name="connsiteX202" fmla="*/ 1134336 w 1352046"/>
                <a:gd name="connsiteY202" fmla="*/ 11521 h 905809"/>
                <a:gd name="connsiteX203" fmla="*/ 1135758 w 1352046"/>
                <a:gd name="connsiteY203" fmla="*/ 10781 h 905809"/>
                <a:gd name="connsiteX204" fmla="*/ 1138059 w 1352046"/>
                <a:gd name="connsiteY204" fmla="*/ 10590 h 905809"/>
                <a:gd name="connsiteX205" fmla="*/ 1141389 w 1352046"/>
                <a:gd name="connsiteY205" fmla="*/ 11726 h 905809"/>
                <a:gd name="connsiteX206" fmla="*/ 1145742 w 1352046"/>
                <a:gd name="connsiteY206" fmla="*/ 14188 h 905809"/>
                <a:gd name="connsiteX207" fmla="*/ 1148474 w 1352046"/>
                <a:gd name="connsiteY207" fmla="*/ 15270 h 905809"/>
                <a:gd name="connsiteX208" fmla="*/ 1149579 w 1352046"/>
                <a:gd name="connsiteY208" fmla="*/ 14975 h 905809"/>
                <a:gd name="connsiteX209" fmla="*/ 1150752 w 1352046"/>
                <a:gd name="connsiteY209" fmla="*/ 15430 h 905809"/>
                <a:gd name="connsiteX210" fmla="*/ 1151695 w 1352046"/>
                <a:gd name="connsiteY210" fmla="*/ 16585 h 905809"/>
                <a:gd name="connsiteX211" fmla="*/ 1151776 w 1352046"/>
                <a:gd name="connsiteY211" fmla="*/ 18005 h 905809"/>
                <a:gd name="connsiteX212" fmla="*/ 1151454 w 1352046"/>
                <a:gd name="connsiteY212" fmla="*/ 18767 h 905809"/>
                <a:gd name="connsiteX213" fmla="*/ 1152502 w 1352046"/>
                <a:gd name="connsiteY213" fmla="*/ 19966 h 905809"/>
                <a:gd name="connsiteX214" fmla="*/ 1153710 w 1352046"/>
                <a:gd name="connsiteY214" fmla="*/ 19966 h 905809"/>
                <a:gd name="connsiteX215" fmla="*/ 1155680 w 1352046"/>
                <a:gd name="connsiteY215" fmla="*/ 20540 h 905809"/>
                <a:gd name="connsiteX216" fmla="*/ 1157221 w 1352046"/>
                <a:gd name="connsiteY216" fmla="*/ 22657 h 905809"/>
                <a:gd name="connsiteX217" fmla="*/ 1158608 w 1352046"/>
                <a:gd name="connsiteY217" fmla="*/ 23637 h 905809"/>
                <a:gd name="connsiteX218" fmla="*/ 1159577 w 1352046"/>
                <a:gd name="connsiteY218" fmla="*/ 24485 h 905809"/>
                <a:gd name="connsiteX219" fmla="*/ 1159752 w 1352046"/>
                <a:gd name="connsiteY219" fmla="*/ 25189 h 905809"/>
                <a:gd name="connsiteX220" fmla="*/ 1159843 w 1352046"/>
                <a:gd name="connsiteY220" fmla="*/ 25901 h 905809"/>
                <a:gd name="connsiteX221" fmla="*/ 1159554 w 1352046"/>
                <a:gd name="connsiteY221" fmla="*/ 26453 h 905809"/>
                <a:gd name="connsiteX222" fmla="*/ 1159027 w 1352046"/>
                <a:gd name="connsiteY222" fmla="*/ 27362 h 905809"/>
                <a:gd name="connsiteX223" fmla="*/ 1158867 w 1352046"/>
                <a:gd name="connsiteY223" fmla="*/ 28339 h 905809"/>
                <a:gd name="connsiteX224" fmla="*/ 1159528 w 1352046"/>
                <a:gd name="connsiteY224" fmla="*/ 29438 h 905809"/>
                <a:gd name="connsiteX225" fmla="*/ 1161976 w 1352046"/>
                <a:gd name="connsiteY225" fmla="*/ 30233 h 905809"/>
                <a:gd name="connsiteX226" fmla="*/ 1162813 w 1352046"/>
                <a:gd name="connsiteY226" fmla="*/ 31051 h 905809"/>
                <a:gd name="connsiteX227" fmla="*/ 1163000 w 1352046"/>
                <a:gd name="connsiteY227" fmla="*/ 32102 h 905809"/>
                <a:gd name="connsiteX228" fmla="*/ 1163767 w 1352046"/>
                <a:gd name="connsiteY228" fmla="*/ 33262 h 905809"/>
                <a:gd name="connsiteX229" fmla="*/ 1165432 w 1352046"/>
                <a:gd name="connsiteY229" fmla="*/ 34602 h 905809"/>
                <a:gd name="connsiteX230" fmla="*/ 1166068 w 1352046"/>
                <a:gd name="connsiteY230" fmla="*/ 35723 h 905809"/>
                <a:gd name="connsiteX231" fmla="*/ 1165682 w 1352046"/>
                <a:gd name="connsiteY231" fmla="*/ 36625 h 905809"/>
                <a:gd name="connsiteX232" fmla="*/ 1166170 w 1352046"/>
                <a:gd name="connsiteY232" fmla="*/ 37379 h 905809"/>
                <a:gd name="connsiteX233" fmla="*/ 1166993 w 1352046"/>
                <a:gd name="connsiteY233" fmla="*/ 37964 h 905809"/>
                <a:gd name="connsiteX234" fmla="*/ 1167170 w 1352046"/>
                <a:gd name="connsiteY234" fmla="*/ 40101 h 905809"/>
                <a:gd name="connsiteX235" fmla="*/ 1167243 w 1352046"/>
                <a:gd name="connsiteY235" fmla="*/ 41331 h 905809"/>
                <a:gd name="connsiteX236" fmla="*/ 1168587 w 1352046"/>
                <a:gd name="connsiteY236" fmla="*/ 42709 h 905809"/>
                <a:gd name="connsiteX237" fmla="*/ 1168863 w 1352046"/>
                <a:gd name="connsiteY237" fmla="*/ 45526 h 905809"/>
                <a:gd name="connsiteX238" fmla="*/ 1169802 w 1352046"/>
                <a:gd name="connsiteY238" fmla="*/ 48644 h 905809"/>
                <a:gd name="connsiteX239" fmla="*/ 1172968 w 1352046"/>
                <a:gd name="connsiteY239" fmla="*/ 52910 h 905809"/>
                <a:gd name="connsiteX240" fmla="*/ 1174009 w 1352046"/>
                <a:gd name="connsiteY240" fmla="*/ 55217 h 905809"/>
                <a:gd name="connsiteX241" fmla="*/ 1173741 w 1352046"/>
                <a:gd name="connsiteY241" fmla="*/ 57959 h 905809"/>
                <a:gd name="connsiteX242" fmla="*/ 1174195 w 1352046"/>
                <a:gd name="connsiteY242" fmla="*/ 59242 h 905809"/>
                <a:gd name="connsiteX243" fmla="*/ 1175639 w 1352046"/>
                <a:gd name="connsiteY243" fmla="*/ 59866 h 905809"/>
                <a:gd name="connsiteX244" fmla="*/ 1176323 w 1352046"/>
                <a:gd name="connsiteY244" fmla="*/ 61025 h 905809"/>
                <a:gd name="connsiteX245" fmla="*/ 1176241 w 1352046"/>
                <a:gd name="connsiteY245" fmla="*/ 62717 h 905809"/>
                <a:gd name="connsiteX246" fmla="*/ 1176807 w 1352046"/>
                <a:gd name="connsiteY246" fmla="*/ 63768 h 905809"/>
                <a:gd name="connsiteX247" fmla="*/ 1177259 w 1352046"/>
                <a:gd name="connsiteY247" fmla="*/ 64886 h 905809"/>
                <a:gd name="connsiteX248" fmla="*/ 1176950 w 1352046"/>
                <a:gd name="connsiteY248" fmla="*/ 66625 h 905809"/>
                <a:gd name="connsiteX249" fmla="*/ 1177406 w 1352046"/>
                <a:gd name="connsiteY249" fmla="*/ 68194 h 905809"/>
                <a:gd name="connsiteX250" fmla="*/ 1178142 w 1352046"/>
                <a:gd name="connsiteY250" fmla="*/ 69109 h 905809"/>
                <a:gd name="connsiteX251" fmla="*/ 1178669 w 1352046"/>
                <a:gd name="connsiteY251" fmla="*/ 70802 h 905809"/>
                <a:gd name="connsiteX252" fmla="*/ 1178962 w 1352046"/>
                <a:gd name="connsiteY252" fmla="*/ 72913 h 905809"/>
                <a:gd name="connsiteX253" fmla="*/ 1181077 w 1352046"/>
                <a:gd name="connsiteY253" fmla="*/ 76253 h 905809"/>
                <a:gd name="connsiteX254" fmla="*/ 1185009 w 1352046"/>
                <a:gd name="connsiteY254" fmla="*/ 80817 h 905809"/>
                <a:gd name="connsiteX255" fmla="*/ 1187414 w 1352046"/>
                <a:gd name="connsiteY255" fmla="*/ 84356 h 905809"/>
                <a:gd name="connsiteX256" fmla="*/ 1188296 w 1352046"/>
                <a:gd name="connsiteY256" fmla="*/ 86876 h 905809"/>
                <a:gd name="connsiteX257" fmla="*/ 1188302 w 1352046"/>
                <a:gd name="connsiteY257" fmla="*/ 88947 h 905809"/>
                <a:gd name="connsiteX258" fmla="*/ 1187441 w 1352046"/>
                <a:gd name="connsiteY258" fmla="*/ 90571 h 905809"/>
                <a:gd name="connsiteX259" fmla="*/ 1187392 w 1352046"/>
                <a:gd name="connsiteY259" fmla="*/ 91751 h 905809"/>
                <a:gd name="connsiteX260" fmla="*/ 1188161 w 1352046"/>
                <a:gd name="connsiteY260" fmla="*/ 92490 h 905809"/>
                <a:gd name="connsiteX261" fmla="*/ 1188390 w 1352046"/>
                <a:gd name="connsiteY261" fmla="*/ 93489 h 905809"/>
                <a:gd name="connsiteX262" fmla="*/ 1188081 w 1352046"/>
                <a:gd name="connsiteY262" fmla="*/ 94749 h 905809"/>
                <a:gd name="connsiteX263" fmla="*/ 1189366 w 1352046"/>
                <a:gd name="connsiteY263" fmla="*/ 96243 h 905809"/>
                <a:gd name="connsiteX264" fmla="*/ 1193677 w 1352046"/>
                <a:gd name="connsiteY264" fmla="*/ 98837 h 905809"/>
                <a:gd name="connsiteX265" fmla="*/ 1191953 w 1352046"/>
                <a:gd name="connsiteY265" fmla="*/ 102807 h 905809"/>
                <a:gd name="connsiteX266" fmla="*/ 1191499 w 1352046"/>
                <a:gd name="connsiteY266" fmla="*/ 105597 h 905809"/>
                <a:gd name="connsiteX267" fmla="*/ 1191735 w 1352046"/>
                <a:gd name="connsiteY267" fmla="*/ 108528 h 905809"/>
                <a:gd name="connsiteX268" fmla="*/ 1192804 w 1352046"/>
                <a:gd name="connsiteY268" fmla="*/ 110592 h 905809"/>
                <a:gd name="connsiteX269" fmla="*/ 1194704 w 1352046"/>
                <a:gd name="connsiteY269" fmla="*/ 111789 h 905809"/>
                <a:gd name="connsiteX270" fmla="*/ 1195886 w 1352046"/>
                <a:gd name="connsiteY270" fmla="*/ 113040 h 905809"/>
                <a:gd name="connsiteX271" fmla="*/ 1196350 w 1352046"/>
                <a:gd name="connsiteY271" fmla="*/ 114340 h 905809"/>
                <a:gd name="connsiteX272" fmla="*/ 1198630 w 1352046"/>
                <a:gd name="connsiteY272" fmla="*/ 115761 h 905809"/>
                <a:gd name="connsiteX273" fmla="*/ 1202729 w 1352046"/>
                <a:gd name="connsiteY273" fmla="*/ 117298 h 905809"/>
                <a:gd name="connsiteX274" fmla="*/ 1207980 w 1352046"/>
                <a:gd name="connsiteY274" fmla="*/ 117566 h 905809"/>
                <a:gd name="connsiteX275" fmla="*/ 1214385 w 1352046"/>
                <a:gd name="connsiteY275" fmla="*/ 116562 h 905809"/>
                <a:gd name="connsiteX276" fmla="*/ 1218305 w 1352046"/>
                <a:gd name="connsiteY276" fmla="*/ 116392 h 905809"/>
                <a:gd name="connsiteX277" fmla="*/ 1219742 w 1352046"/>
                <a:gd name="connsiteY277" fmla="*/ 117058 h 905809"/>
                <a:gd name="connsiteX278" fmla="*/ 1220228 w 1352046"/>
                <a:gd name="connsiteY278" fmla="*/ 118067 h 905809"/>
                <a:gd name="connsiteX279" fmla="*/ 1219770 w 1352046"/>
                <a:gd name="connsiteY279" fmla="*/ 119419 h 905809"/>
                <a:gd name="connsiteX280" fmla="*/ 1220854 w 1352046"/>
                <a:gd name="connsiteY280" fmla="*/ 120307 h 905809"/>
                <a:gd name="connsiteX281" fmla="*/ 1223484 w 1352046"/>
                <a:gd name="connsiteY281" fmla="*/ 120733 h 905809"/>
                <a:gd name="connsiteX282" fmla="*/ 1225298 w 1352046"/>
                <a:gd name="connsiteY282" fmla="*/ 121584 h 905809"/>
                <a:gd name="connsiteX283" fmla="*/ 1226289 w 1352046"/>
                <a:gd name="connsiteY283" fmla="*/ 122862 h 905809"/>
                <a:gd name="connsiteX284" fmla="*/ 1227506 w 1352046"/>
                <a:gd name="connsiteY284" fmla="*/ 123223 h 905809"/>
                <a:gd name="connsiteX285" fmla="*/ 1228943 w 1352046"/>
                <a:gd name="connsiteY285" fmla="*/ 122669 h 905809"/>
                <a:gd name="connsiteX286" fmla="*/ 1230343 w 1352046"/>
                <a:gd name="connsiteY286" fmla="*/ 122748 h 905809"/>
                <a:gd name="connsiteX287" fmla="*/ 1231701 w 1352046"/>
                <a:gd name="connsiteY287" fmla="*/ 123458 h 905809"/>
                <a:gd name="connsiteX288" fmla="*/ 1232591 w 1352046"/>
                <a:gd name="connsiteY288" fmla="*/ 123215 h 905809"/>
                <a:gd name="connsiteX289" fmla="*/ 1233355 w 1352046"/>
                <a:gd name="connsiteY289" fmla="*/ 122438 h 905809"/>
                <a:gd name="connsiteX290" fmla="*/ 1234594 w 1352046"/>
                <a:gd name="connsiteY290" fmla="*/ 122438 h 905809"/>
                <a:gd name="connsiteX291" fmla="*/ 1235864 w 1352046"/>
                <a:gd name="connsiteY291" fmla="*/ 122457 h 905809"/>
                <a:gd name="connsiteX292" fmla="*/ 1236650 w 1352046"/>
                <a:gd name="connsiteY292" fmla="*/ 124330 h 905809"/>
                <a:gd name="connsiteX293" fmla="*/ 1237927 w 1352046"/>
                <a:gd name="connsiteY293" fmla="*/ 125383 h 905809"/>
                <a:gd name="connsiteX294" fmla="*/ 1239689 w 1352046"/>
                <a:gd name="connsiteY294" fmla="*/ 125616 h 905809"/>
                <a:gd name="connsiteX295" fmla="*/ 1242374 w 1352046"/>
                <a:gd name="connsiteY295" fmla="*/ 127895 h 905809"/>
                <a:gd name="connsiteX296" fmla="*/ 1247782 w 1352046"/>
                <a:gd name="connsiteY296" fmla="*/ 134367 h 905809"/>
                <a:gd name="connsiteX297" fmla="*/ 1251296 w 1352046"/>
                <a:gd name="connsiteY297" fmla="*/ 136665 h 905809"/>
                <a:gd name="connsiteX298" fmla="*/ 1254817 w 1352046"/>
                <a:gd name="connsiteY298" fmla="*/ 137386 h 905809"/>
                <a:gd name="connsiteX299" fmla="*/ 1259193 w 1352046"/>
                <a:gd name="connsiteY299" fmla="*/ 137534 h 905809"/>
                <a:gd name="connsiteX300" fmla="*/ 1260609 w 1352046"/>
                <a:gd name="connsiteY300" fmla="*/ 140039 h 905809"/>
                <a:gd name="connsiteX301" fmla="*/ 1259469 w 1352046"/>
                <a:gd name="connsiteY301" fmla="*/ 142686 h 905809"/>
                <a:gd name="connsiteX302" fmla="*/ 1259170 w 1352046"/>
                <a:gd name="connsiteY302" fmla="*/ 144893 h 905809"/>
                <a:gd name="connsiteX303" fmla="*/ 1260168 w 1352046"/>
                <a:gd name="connsiteY303" fmla="*/ 145683 h 905809"/>
                <a:gd name="connsiteX304" fmla="*/ 1261538 w 1352046"/>
                <a:gd name="connsiteY304" fmla="*/ 148273 h 905809"/>
                <a:gd name="connsiteX305" fmla="*/ 1263476 w 1352046"/>
                <a:gd name="connsiteY305" fmla="*/ 149777 h 905809"/>
                <a:gd name="connsiteX306" fmla="*/ 1263844 w 1352046"/>
                <a:gd name="connsiteY306" fmla="*/ 150966 h 905809"/>
                <a:gd name="connsiteX307" fmla="*/ 1264746 w 1352046"/>
                <a:gd name="connsiteY307" fmla="*/ 152295 h 905809"/>
                <a:gd name="connsiteX308" fmla="*/ 1264368 w 1352046"/>
                <a:gd name="connsiteY308" fmla="*/ 154756 h 905809"/>
                <a:gd name="connsiteX309" fmla="*/ 1262708 w 1352046"/>
                <a:gd name="connsiteY309" fmla="*/ 158345 h 905809"/>
                <a:gd name="connsiteX310" fmla="*/ 1263162 w 1352046"/>
                <a:gd name="connsiteY310" fmla="*/ 161406 h 905809"/>
                <a:gd name="connsiteX311" fmla="*/ 1265726 w 1352046"/>
                <a:gd name="connsiteY311" fmla="*/ 163939 h 905809"/>
                <a:gd name="connsiteX312" fmla="*/ 1267204 w 1352046"/>
                <a:gd name="connsiteY312" fmla="*/ 166377 h 905809"/>
                <a:gd name="connsiteX313" fmla="*/ 1267588 w 1352046"/>
                <a:gd name="connsiteY313" fmla="*/ 168717 h 905809"/>
                <a:gd name="connsiteX314" fmla="*/ 1268231 w 1352046"/>
                <a:gd name="connsiteY314" fmla="*/ 170137 h 905809"/>
                <a:gd name="connsiteX315" fmla="*/ 1269134 w 1352046"/>
                <a:gd name="connsiteY315" fmla="*/ 170640 h 905809"/>
                <a:gd name="connsiteX316" fmla="*/ 1271769 w 1352046"/>
                <a:gd name="connsiteY316" fmla="*/ 170466 h 905809"/>
                <a:gd name="connsiteX317" fmla="*/ 1276134 w 1352046"/>
                <a:gd name="connsiteY317" fmla="*/ 169617 h 905809"/>
                <a:gd name="connsiteX318" fmla="*/ 1279339 w 1352046"/>
                <a:gd name="connsiteY318" fmla="*/ 169764 h 905809"/>
                <a:gd name="connsiteX319" fmla="*/ 1281384 w 1352046"/>
                <a:gd name="connsiteY319" fmla="*/ 170905 h 905809"/>
                <a:gd name="connsiteX320" fmla="*/ 1286437 w 1352046"/>
                <a:gd name="connsiteY320" fmla="*/ 170948 h 905809"/>
                <a:gd name="connsiteX321" fmla="*/ 1294498 w 1352046"/>
                <a:gd name="connsiteY321" fmla="*/ 169894 h 905809"/>
                <a:gd name="connsiteX322" fmla="*/ 1299592 w 1352046"/>
                <a:gd name="connsiteY322" fmla="*/ 169570 h 905809"/>
                <a:gd name="connsiteX323" fmla="*/ 1301717 w 1352046"/>
                <a:gd name="connsiteY323" fmla="*/ 169978 h 905809"/>
                <a:gd name="connsiteX324" fmla="*/ 1303611 w 1352046"/>
                <a:gd name="connsiteY324" fmla="*/ 168473 h 905809"/>
                <a:gd name="connsiteX325" fmla="*/ 1305269 w 1352046"/>
                <a:gd name="connsiteY325" fmla="*/ 165048 h 905809"/>
                <a:gd name="connsiteX326" fmla="*/ 1306824 w 1352046"/>
                <a:gd name="connsiteY326" fmla="*/ 163437 h 905809"/>
                <a:gd name="connsiteX327" fmla="*/ 1308275 w 1352046"/>
                <a:gd name="connsiteY327" fmla="*/ 163639 h 905809"/>
                <a:gd name="connsiteX328" fmla="*/ 1310581 w 1352046"/>
                <a:gd name="connsiteY328" fmla="*/ 162539 h 905809"/>
                <a:gd name="connsiteX329" fmla="*/ 1313742 w 1352046"/>
                <a:gd name="connsiteY329" fmla="*/ 160131 h 905809"/>
                <a:gd name="connsiteX330" fmla="*/ 1316483 w 1352046"/>
                <a:gd name="connsiteY330" fmla="*/ 158966 h 905809"/>
                <a:gd name="connsiteX331" fmla="*/ 1319957 w 1352046"/>
                <a:gd name="connsiteY331" fmla="*/ 159083 h 905809"/>
                <a:gd name="connsiteX332" fmla="*/ 1323654 w 1352046"/>
                <a:gd name="connsiteY332" fmla="*/ 159206 h 905809"/>
                <a:gd name="connsiteX333" fmla="*/ 1325973 w 1352046"/>
                <a:gd name="connsiteY333" fmla="*/ 158193 h 905809"/>
                <a:gd name="connsiteX334" fmla="*/ 1328152 w 1352046"/>
                <a:gd name="connsiteY334" fmla="*/ 156082 h 905809"/>
                <a:gd name="connsiteX335" fmla="*/ 1331920 w 1352046"/>
                <a:gd name="connsiteY335" fmla="*/ 154214 h 905809"/>
                <a:gd name="connsiteX336" fmla="*/ 1339961 w 1352046"/>
                <a:gd name="connsiteY336" fmla="*/ 151774 h 905809"/>
                <a:gd name="connsiteX337" fmla="*/ 1341897 w 1352046"/>
                <a:gd name="connsiteY337" fmla="*/ 151391 h 905809"/>
                <a:gd name="connsiteX338" fmla="*/ 1342816 w 1352046"/>
                <a:gd name="connsiteY338" fmla="*/ 151521 h 905809"/>
                <a:gd name="connsiteX339" fmla="*/ 1345496 w 1352046"/>
                <a:gd name="connsiteY339" fmla="*/ 151904 h 905809"/>
                <a:gd name="connsiteX340" fmla="*/ 1347871 w 1352046"/>
                <a:gd name="connsiteY340" fmla="*/ 152855 h 905809"/>
                <a:gd name="connsiteX341" fmla="*/ 1350120 w 1352046"/>
                <a:gd name="connsiteY341" fmla="*/ 154775 h 905809"/>
                <a:gd name="connsiteX342" fmla="*/ 1350465 w 1352046"/>
                <a:gd name="connsiteY342" fmla="*/ 156004 h 905809"/>
                <a:gd name="connsiteX343" fmla="*/ 1350210 w 1352046"/>
                <a:gd name="connsiteY343" fmla="*/ 157619 h 905809"/>
                <a:gd name="connsiteX344" fmla="*/ 1349722 w 1352046"/>
                <a:gd name="connsiteY344" fmla="*/ 158556 h 905809"/>
                <a:gd name="connsiteX345" fmla="*/ 1348796 w 1352046"/>
                <a:gd name="connsiteY345" fmla="*/ 159609 h 905809"/>
                <a:gd name="connsiteX346" fmla="*/ 1347925 w 1352046"/>
                <a:gd name="connsiteY346" fmla="*/ 161314 h 905809"/>
                <a:gd name="connsiteX347" fmla="*/ 1348485 w 1352046"/>
                <a:gd name="connsiteY347" fmla="*/ 162649 h 905809"/>
                <a:gd name="connsiteX348" fmla="*/ 1349790 w 1352046"/>
                <a:gd name="connsiteY348" fmla="*/ 165494 h 905809"/>
                <a:gd name="connsiteX349" fmla="*/ 1350858 w 1352046"/>
                <a:gd name="connsiteY349" fmla="*/ 167546 h 905809"/>
                <a:gd name="connsiteX350" fmla="*/ 1352046 w 1352046"/>
                <a:gd name="connsiteY350" fmla="*/ 169966 h 905809"/>
                <a:gd name="connsiteX351" fmla="*/ 1351510 w 1352046"/>
                <a:gd name="connsiteY351" fmla="*/ 170837 h 905809"/>
                <a:gd name="connsiteX352" fmla="*/ 1350796 w 1352046"/>
                <a:gd name="connsiteY352" fmla="*/ 172512 h 905809"/>
                <a:gd name="connsiteX353" fmla="*/ 1348593 w 1352046"/>
                <a:gd name="connsiteY353" fmla="*/ 175348 h 905809"/>
                <a:gd name="connsiteX354" fmla="*/ 1347392 w 1352046"/>
                <a:gd name="connsiteY354" fmla="*/ 176435 h 905809"/>
                <a:gd name="connsiteX355" fmla="*/ 1346101 w 1352046"/>
                <a:gd name="connsiteY355" fmla="*/ 177495 h 905809"/>
                <a:gd name="connsiteX356" fmla="*/ 1343868 w 1352046"/>
                <a:gd name="connsiteY356" fmla="*/ 177751 h 905809"/>
                <a:gd name="connsiteX357" fmla="*/ 1342916 w 1352046"/>
                <a:gd name="connsiteY357" fmla="*/ 177996 h 905809"/>
                <a:gd name="connsiteX358" fmla="*/ 1341840 w 1352046"/>
                <a:gd name="connsiteY358" fmla="*/ 178442 h 905809"/>
                <a:gd name="connsiteX359" fmla="*/ 1341161 w 1352046"/>
                <a:gd name="connsiteY359" fmla="*/ 179446 h 905809"/>
                <a:gd name="connsiteX360" fmla="*/ 1340389 w 1352046"/>
                <a:gd name="connsiteY360" fmla="*/ 180150 h 905809"/>
                <a:gd name="connsiteX361" fmla="*/ 1339117 w 1352046"/>
                <a:gd name="connsiteY361" fmla="*/ 181563 h 905809"/>
                <a:gd name="connsiteX362" fmla="*/ 1339013 w 1352046"/>
                <a:gd name="connsiteY362" fmla="*/ 182779 h 905809"/>
                <a:gd name="connsiteX363" fmla="*/ 1339595 w 1352046"/>
                <a:gd name="connsiteY363" fmla="*/ 184584 h 905809"/>
                <a:gd name="connsiteX364" fmla="*/ 1339880 w 1352046"/>
                <a:gd name="connsiteY364" fmla="*/ 186433 h 905809"/>
                <a:gd name="connsiteX365" fmla="*/ 1338438 w 1352046"/>
                <a:gd name="connsiteY365" fmla="*/ 188084 h 905809"/>
                <a:gd name="connsiteX366" fmla="*/ 1337321 w 1352046"/>
                <a:gd name="connsiteY366" fmla="*/ 190621 h 905809"/>
                <a:gd name="connsiteX367" fmla="*/ 1336988 w 1352046"/>
                <a:gd name="connsiteY367" fmla="*/ 191384 h 905809"/>
                <a:gd name="connsiteX368" fmla="*/ 1336427 w 1352046"/>
                <a:gd name="connsiteY368" fmla="*/ 193302 h 905809"/>
                <a:gd name="connsiteX369" fmla="*/ 1336262 w 1352046"/>
                <a:gd name="connsiteY369" fmla="*/ 193966 h 905809"/>
                <a:gd name="connsiteX370" fmla="*/ 1335911 w 1352046"/>
                <a:gd name="connsiteY370" fmla="*/ 198003 h 905809"/>
                <a:gd name="connsiteX371" fmla="*/ 1334470 w 1352046"/>
                <a:gd name="connsiteY371" fmla="*/ 200754 h 905809"/>
                <a:gd name="connsiteX372" fmla="*/ 1332460 w 1352046"/>
                <a:gd name="connsiteY372" fmla="*/ 203952 h 905809"/>
                <a:gd name="connsiteX373" fmla="*/ 1332905 w 1352046"/>
                <a:gd name="connsiteY373" fmla="*/ 205855 h 905809"/>
                <a:gd name="connsiteX374" fmla="*/ 1333260 w 1352046"/>
                <a:gd name="connsiteY374" fmla="*/ 207619 h 905809"/>
                <a:gd name="connsiteX375" fmla="*/ 1332763 w 1352046"/>
                <a:gd name="connsiteY375" fmla="*/ 208475 h 905809"/>
                <a:gd name="connsiteX376" fmla="*/ 1332641 w 1352046"/>
                <a:gd name="connsiteY376" fmla="*/ 209222 h 905809"/>
                <a:gd name="connsiteX377" fmla="*/ 1332343 w 1352046"/>
                <a:gd name="connsiteY377" fmla="*/ 210921 h 905809"/>
                <a:gd name="connsiteX378" fmla="*/ 1331712 w 1352046"/>
                <a:gd name="connsiteY378" fmla="*/ 211571 h 905809"/>
                <a:gd name="connsiteX379" fmla="*/ 1329886 w 1352046"/>
                <a:gd name="connsiteY379" fmla="*/ 212632 h 905809"/>
                <a:gd name="connsiteX380" fmla="*/ 1328791 w 1352046"/>
                <a:gd name="connsiteY380" fmla="*/ 213909 h 905809"/>
                <a:gd name="connsiteX381" fmla="*/ 1329023 w 1352046"/>
                <a:gd name="connsiteY381" fmla="*/ 215848 h 905809"/>
                <a:gd name="connsiteX382" fmla="*/ 1328461 w 1352046"/>
                <a:gd name="connsiteY382" fmla="*/ 217525 h 905809"/>
                <a:gd name="connsiteX383" fmla="*/ 1327623 w 1352046"/>
                <a:gd name="connsiteY383" fmla="*/ 219008 h 905809"/>
                <a:gd name="connsiteX384" fmla="*/ 1326742 w 1352046"/>
                <a:gd name="connsiteY384" fmla="*/ 219971 h 905809"/>
                <a:gd name="connsiteX385" fmla="*/ 1325486 w 1352046"/>
                <a:gd name="connsiteY385" fmla="*/ 220592 h 905809"/>
                <a:gd name="connsiteX386" fmla="*/ 1324643 w 1352046"/>
                <a:gd name="connsiteY386" fmla="*/ 221116 h 905809"/>
                <a:gd name="connsiteX387" fmla="*/ 1324014 w 1352046"/>
                <a:gd name="connsiteY387" fmla="*/ 223001 h 905809"/>
                <a:gd name="connsiteX388" fmla="*/ 1323818 w 1352046"/>
                <a:gd name="connsiteY388" fmla="*/ 224455 h 905809"/>
                <a:gd name="connsiteX389" fmla="*/ 1323229 w 1352046"/>
                <a:gd name="connsiteY389" fmla="*/ 225903 h 905809"/>
                <a:gd name="connsiteX390" fmla="*/ 1323593 w 1352046"/>
                <a:gd name="connsiteY390" fmla="*/ 227385 h 905809"/>
                <a:gd name="connsiteX391" fmla="*/ 1322948 w 1352046"/>
                <a:gd name="connsiteY391" fmla="*/ 228666 h 905809"/>
                <a:gd name="connsiteX392" fmla="*/ 1321158 w 1352046"/>
                <a:gd name="connsiteY392" fmla="*/ 229559 h 905809"/>
                <a:gd name="connsiteX393" fmla="*/ 1320143 w 1352046"/>
                <a:gd name="connsiteY393" fmla="*/ 230084 h 905809"/>
                <a:gd name="connsiteX394" fmla="*/ 1319202 w 1352046"/>
                <a:gd name="connsiteY394" fmla="*/ 230299 h 905809"/>
                <a:gd name="connsiteX395" fmla="*/ 1317412 w 1352046"/>
                <a:gd name="connsiteY395" fmla="*/ 231685 h 905809"/>
                <a:gd name="connsiteX396" fmla="*/ 1315805 w 1352046"/>
                <a:gd name="connsiteY396" fmla="*/ 236444 h 905809"/>
                <a:gd name="connsiteX397" fmla="*/ 1315440 w 1352046"/>
                <a:gd name="connsiteY397" fmla="*/ 239211 h 905809"/>
                <a:gd name="connsiteX398" fmla="*/ 1315807 w 1352046"/>
                <a:gd name="connsiteY398" fmla="*/ 241669 h 905809"/>
                <a:gd name="connsiteX399" fmla="*/ 1313557 w 1352046"/>
                <a:gd name="connsiteY399" fmla="*/ 243205 h 905809"/>
                <a:gd name="connsiteX400" fmla="*/ 1311883 w 1352046"/>
                <a:gd name="connsiteY400" fmla="*/ 244426 h 905809"/>
                <a:gd name="connsiteX401" fmla="*/ 1310838 w 1352046"/>
                <a:gd name="connsiteY401" fmla="*/ 243985 h 905809"/>
                <a:gd name="connsiteX402" fmla="*/ 1309730 w 1352046"/>
                <a:gd name="connsiteY402" fmla="*/ 243572 h 905809"/>
                <a:gd name="connsiteX403" fmla="*/ 1307176 w 1352046"/>
                <a:gd name="connsiteY403" fmla="*/ 243041 h 905809"/>
                <a:gd name="connsiteX404" fmla="*/ 1305904 w 1352046"/>
                <a:gd name="connsiteY404" fmla="*/ 242682 h 905809"/>
                <a:gd name="connsiteX405" fmla="*/ 1303326 w 1352046"/>
                <a:gd name="connsiteY405" fmla="*/ 241885 h 905809"/>
                <a:gd name="connsiteX406" fmla="*/ 1299212 w 1352046"/>
                <a:gd name="connsiteY406" fmla="*/ 240868 h 905809"/>
                <a:gd name="connsiteX407" fmla="*/ 1295195 w 1352046"/>
                <a:gd name="connsiteY407" fmla="*/ 239682 h 905809"/>
                <a:gd name="connsiteX408" fmla="*/ 1292675 w 1352046"/>
                <a:gd name="connsiteY408" fmla="*/ 239061 h 905809"/>
                <a:gd name="connsiteX409" fmla="*/ 1290689 w 1352046"/>
                <a:gd name="connsiteY409" fmla="*/ 238567 h 905809"/>
                <a:gd name="connsiteX410" fmla="*/ 1289179 w 1352046"/>
                <a:gd name="connsiteY410" fmla="*/ 237752 h 905809"/>
                <a:gd name="connsiteX411" fmla="*/ 1287910 w 1352046"/>
                <a:gd name="connsiteY411" fmla="*/ 236295 h 905809"/>
                <a:gd name="connsiteX412" fmla="*/ 1286651 w 1352046"/>
                <a:gd name="connsiteY412" fmla="*/ 236887 h 905809"/>
                <a:gd name="connsiteX413" fmla="*/ 1285483 w 1352046"/>
                <a:gd name="connsiteY413" fmla="*/ 238604 h 905809"/>
                <a:gd name="connsiteX414" fmla="*/ 1283535 w 1352046"/>
                <a:gd name="connsiteY414" fmla="*/ 239625 h 905809"/>
                <a:gd name="connsiteX415" fmla="*/ 1282649 w 1352046"/>
                <a:gd name="connsiteY415" fmla="*/ 241509 h 905809"/>
                <a:gd name="connsiteX416" fmla="*/ 1281870 w 1352046"/>
                <a:gd name="connsiteY416" fmla="*/ 242957 h 905809"/>
                <a:gd name="connsiteX417" fmla="*/ 1279854 w 1352046"/>
                <a:gd name="connsiteY417" fmla="*/ 244885 h 905809"/>
                <a:gd name="connsiteX418" fmla="*/ 1278954 w 1352046"/>
                <a:gd name="connsiteY418" fmla="*/ 245680 h 905809"/>
                <a:gd name="connsiteX419" fmla="*/ 1275005 w 1352046"/>
                <a:gd name="connsiteY419" fmla="*/ 246989 h 905809"/>
                <a:gd name="connsiteX420" fmla="*/ 1274114 w 1352046"/>
                <a:gd name="connsiteY420" fmla="*/ 247425 h 905809"/>
                <a:gd name="connsiteX421" fmla="*/ 1270894 w 1352046"/>
                <a:gd name="connsiteY421" fmla="*/ 247702 h 905809"/>
                <a:gd name="connsiteX422" fmla="*/ 1269803 w 1352046"/>
                <a:gd name="connsiteY422" fmla="*/ 248280 h 905809"/>
                <a:gd name="connsiteX423" fmla="*/ 1268667 w 1352046"/>
                <a:gd name="connsiteY423" fmla="*/ 249495 h 905809"/>
                <a:gd name="connsiteX424" fmla="*/ 1268361 w 1352046"/>
                <a:gd name="connsiteY424" fmla="*/ 250706 h 905809"/>
                <a:gd name="connsiteX425" fmla="*/ 1269160 w 1352046"/>
                <a:gd name="connsiteY425" fmla="*/ 251980 h 905809"/>
                <a:gd name="connsiteX426" fmla="*/ 1270415 w 1352046"/>
                <a:gd name="connsiteY426" fmla="*/ 254530 h 905809"/>
                <a:gd name="connsiteX427" fmla="*/ 1270995 w 1352046"/>
                <a:gd name="connsiteY427" fmla="*/ 256273 h 905809"/>
                <a:gd name="connsiteX428" fmla="*/ 1271855 w 1352046"/>
                <a:gd name="connsiteY428" fmla="*/ 259713 h 905809"/>
                <a:gd name="connsiteX429" fmla="*/ 1274718 w 1352046"/>
                <a:gd name="connsiteY429" fmla="*/ 270501 h 905809"/>
                <a:gd name="connsiteX430" fmla="*/ 1273790 w 1352046"/>
                <a:gd name="connsiteY430" fmla="*/ 272360 h 905809"/>
                <a:gd name="connsiteX431" fmla="*/ 1272926 w 1352046"/>
                <a:gd name="connsiteY431" fmla="*/ 280417 h 905809"/>
                <a:gd name="connsiteX432" fmla="*/ 1273133 w 1352046"/>
                <a:gd name="connsiteY432" fmla="*/ 281870 h 905809"/>
                <a:gd name="connsiteX433" fmla="*/ 1273055 w 1352046"/>
                <a:gd name="connsiteY433" fmla="*/ 284129 h 905809"/>
                <a:gd name="connsiteX434" fmla="*/ 1273107 w 1352046"/>
                <a:gd name="connsiteY434" fmla="*/ 285786 h 905809"/>
                <a:gd name="connsiteX435" fmla="*/ 1273699 w 1352046"/>
                <a:gd name="connsiteY435" fmla="*/ 286194 h 905809"/>
                <a:gd name="connsiteX436" fmla="*/ 1274468 w 1352046"/>
                <a:gd name="connsiteY436" fmla="*/ 286770 h 905809"/>
                <a:gd name="connsiteX437" fmla="*/ 1274862 w 1352046"/>
                <a:gd name="connsiteY437" fmla="*/ 287738 h 905809"/>
                <a:gd name="connsiteX438" fmla="*/ 1274764 w 1352046"/>
                <a:gd name="connsiteY438" fmla="*/ 289218 h 905809"/>
                <a:gd name="connsiteX439" fmla="*/ 1274366 w 1352046"/>
                <a:gd name="connsiteY439" fmla="*/ 290305 h 905809"/>
                <a:gd name="connsiteX440" fmla="*/ 1273759 w 1352046"/>
                <a:gd name="connsiteY440" fmla="*/ 292452 h 905809"/>
                <a:gd name="connsiteX441" fmla="*/ 1272956 w 1352046"/>
                <a:gd name="connsiteY441" fmla="*/ 295555 h 905809"/>
                <a:gd name="connsiteX442" fmla="*/ 1272071 w 1352046"/>
                <a:gd name="connsiteY442" fmla="*/ 296751 h 905809"/>
                <a:gd name="connsiteX443" fmla="*/ 1271483 w 1352046"/>
                <a:gd name="connsiteY443" fmla="*/ 297694 h 905809"/>
                <a:gd name="connsiteX444" fmla="*/ 1270978 w 1352046"/>
                <a:gd name="connsiteY444" fmla="*/ 298347 h 905809"/>
                <a:gd name="connsiteX445" fmla="*/ 1270920 w 1352046"/>
                <a:gd name="connsiteY445" fmla="*/ 300539 h 905809"/>
                <a:gd name="connsiteX446" fmla="*/ 1270590 w 1352046"/>
                <a:gd name="connsiteY446" fmla="*/ 301986 h 905809"/>
                <a:gd name="connsiteX447" fmla="*/ 1269197 w 1352046"/>
                <a:gd name="connsiteY447" fmla="*/ 302499 h 905809"/>
                <a:gd name="connsiteX448" fmla="*/ 1267810 w 1352046"/>
                <a:gd name="connsiteY448" fmla="*/ 303338 h 905809"/>
                <a:gd name="connsiteX449" fmla="*/ 1266167 w 1352046"/>
                <a:gd name="connsiteY449" fmla="*/ 303028 h 905809"/>
                <a:gd name="connsiteX450" fmla="*/ 1264724 w 1352046"/>
                <a:gd name="connsiteY450" fmla="*/ 303202 h 905809"/>
                <a:gd name="connsiteX451" fmla="*/ 1262937 w 1352046"/>
                <a:gd name="connsiteY451" fmla="*/ 303764 h 905809"/>
                <a:gd name="connsiteX452" fmla="*/ 1259725 w 1352046"/>
                <a:gd name="connsiteY452" fmla="*/ 304412 h 905809"/>
                <a:gd name="connsiteX453" fmla="*/ 1257862 w 1352046"/>
                <a:gd name="connsiteY453" fmla="*/ 305281 h 905809"/>
                <a:gd name="connsiteX454" fmla="*/ 1256972 w 1352046"/>
                <a:gd name="connsiteY454" fmla="*/ 305915 h 905809"/>
                <a:gd name="connsiteX455" fmla="*/ 1256354 w 1352046"/>
                <a:gd name="connsiteY455" fmla="*/ 306673 h 905809"/>
                <a:gd name="connsiteX456" fmla="*/ 1256246 w 1352046"/>
                <a:gd name="connsiteY456" fmla="*/ 307400 h 905809"/>
                <a:gd name="connsiteX457" fmla="*/ 1256674 w 1352046"/>
                <a:gd name="connsiteY457" fmla="*/ 307782 h 905809"/>
                <a:gd name="connsiteX458" fmla="*/ 1258473 w 1352046"/>
                <a:gd name="connsiteY458" fmla="*/ 308082 h 905809"/>
                <a:gd name="connsiteX459" fmla="*/ 1259711 w 1352046"/>
                <a:gd name="connsiteY459" fmla="*/ 309447 h 905809"/>
                <a:gd name="connsiteX460" fmla="*/ 1259885 w 1352046"/>
                <a:gd name="connsiteY460" fmla="*/ 310939 h 905809"/>
                <a:gd name="connsiteX461" fmla="*/ 1258614 w 1352046"/>
                <a:gd name="connsiteY461" fmla="*/ 311791 h 905809"/>
                <a:gd name="connsiteX462" fmla="*/ 1257979 w 1352046"/>
                <a:gd name="connsiteY462" fmla="*/ 310854 h 905809"/>
                <a:gd name="connsiteX463" fmla="*/ 1256918 w 1352046"/>
                <a:gd name="connsiteY463" fmla="*/ 310556 h 905809"/>
                <a:gd name="connsiteX464" fmla="*/ 1254938 w 1352046"/>
                <a:gd name="connsiteY464" fmla="*/ 309243 h 905809"/>
                <a:gd name="connsiteX465" fmla="*/ 1253498 w 1352046"/>
                <a:gd name="connsiteY465" fmla="*/ 307798 h 905809"/>
                <a:gd name="connsiteX466" fmla="*/ 1252416 w 1352046"/>
                <a:gd name="connsiteY466" fmla="*/ 306198 h 905809"/>
                <a:gd name="connsiteX467" fmla="*/ 1252464 w 1352046"/>
                <a:gd name="connsiteY467" fmla="*/ 302780 h 905809"/>
                <a:gd name="connsiteX468" fmla="*/ 1252275 w 1352046"/>
                <a:gd name="connsiteY468" fmla="*/ 302266 h 905809"/>
                <a:gd name="connsiteX469" fmla="*/ 1250306 w 1352046"/>
                <a:gd name="connsiteY469" fmla="*/ 301565 h 905809"/>
                <a:gd name="connsiteX470" fmla="*/ 1249721 w 1352046"/>
                <a:gd name="connsiteY470" fmla="*/ 300547 h 905809"/>
                <a:gd name="connsiteX471" fmla="*/ 1248788 w 1352046"/>
                <a:gd name="connsiteY471" fmla="*/ 300060 h 905809"/>
                <a:gd name="connsiteX472" fmla="*/ 1247454 w 1352046"/>
                <a:gd name="connsiteY472" fmla="*/ 300370 h 905809"/>
                <a:gd name="connsiteX473" fmla="*/ 1246452 w 1352046"/>
                <a:gd name="connsiteY473" fmla="*/ 300042 h 905809"/>
                <a:gd name="connsiteX474" fmla="*/ 1245661 w 1352046"/>
                <a:gd name="connsiteY474" fmla="*/ 299484 h 905809"/>
                <a:gd name="connsiteX475" fmla="*/ 1244711 w 1352046"/>
                <a:gd name="connsiteY475" fmla="*/ 299417 h 905809"/>
                <a:gd name="connsiteX476" fmla="*/ 1243888 w 1352046"/>
                <a:gd name="connsiteY476" fmla="*/ 300303 h 905809"/>
                <a:gd name="connsiteX477" fmla="*/ 1243457 w 1352046"/>
                <a:gd name="connsiteY477" fmla="*/ 302201 h 905809"/>
                <a:gd name="connsiteX478" fmla="*/ 1242079 w 1352046"/>
                <a:gd name="connsiteY478" fmla="*/ 305349 h 905809"/>
                <a:gd name="connsiteX479" fmla="*/ 1241952 w 1352046"/>
                <a:gd name="connsiteY479" fmla="*/ 307250 h 905809"/>
                <a:gd name="connsiteX480" fmla="*/ 1241356 w 1352046"/>
                <a:gd name="connsiteY480" fmla="*/ 309965 h 905809"/>
                <a:gd name="connsiteX481" fmla="*/ 1240764 w 1352046"/>
                <a:gd name="connsiteY481" fmla="*/ 313402 h 905809"/>
                <a:gd name="connsiteX482" fmla="*/ 1240280 w 1352046"/>
                <a:gd name="connsiteY482" fmla="*/ 314118 h 905809"/>
                <a:gd name="connsiteX483" fmla="*/ 1238734 w 1352046"/>
                <a:gd name="connsiteY483" fmla="*/ 314221 h 905809"/>
                <a:gd name="connsiteX484" fmla="*/ 1238203 w 1352046"/>
                <a:gd name="connsiteY484" fmla="*/ 314445 h 905809"/>
                <a:gd name="connsiteX485" fmla="*/ 1237400 w 1352046"/>
                <a:gd name="connsiteY485" fmla="*/ 315612 h 905809"/>
                <a:gd name="connsiteX486" fmla="*/ 1236430 w 1352046"/>
                <a:gd name="connsiteY486" fmla="*/ 315810 h 905809"/>
                <a:gd name="connsiteX487" fmla="*/ 1235571 w 1352046"/>
                <a:gd name="connsiteY487" fmla="*/ 315127 h 905809"/>
                <a:gd name="connsiteX488" fmla="*/ 1234217 w 1352046"/>
                <a:gd name="connsiteY488" fmla="*/ 314445 h 905809"/>
                <a:gd name="connsiteX489" fmla="*/ 1232939 w 1352046"/>
                <a:gd name="connsiteY489" fmla="*/ 314356 h 905809"/>
                <a:gd name="connsiteX490" fmla="*/ 1231785 w 1352046"/>
                <a:gd name="connsiteY490" fmla="*/ 315040 h 905809"/>
                <a:gd name="connsiteX491" fmla="*/ 1230433 w 1352046"/>
                <a:gd name="connsiteY491" fmla="*/ 316524 h 905809"/>
                <a:gd name="connsiteX492" fmla="*/ 1229664 w 1352046"/>
                <a:gd name="connsiteY492" fmla="*/ 317727 h 905809"/>
                <a:gd name="connsiteX493" fmla="*/ 1229390 w 1352046"/>
                <a:gd name="connsiteY493" fmla="*/ 318848 h 905809"/>
                <a:gd name="connsiteX494" fmla="*/ 1229172 w 1352046"/>
                <a:gd name="connsiteY494" fmla="*/ 320235 h 905809"/>
                <a:gd name="connsiteX495" fmla="*/ 1227806 w 1352046"/>
                <a:gd name="connsiteY495" fmla="*/ 321563 h 905809"/>
                <a:gd name="connsiteX496" fmla="*/ 1226558 w 1352046"/>
                <a:gd name="connsiteY496" fmla="*/ 322258 h 905809"/>
                <a:gd name="connsiteX497" fmla="*/ 1223979 w 1352046"/>
                <a:gd name="connsiteY497" fmla="*/ 324213 h 905809"/>
                <a:gd name="connsiteX498" fmla="*/ 1223156 w 1352046"/>
                <a:gd name="connsiteY498" fmla="*/ 325025 h 905809"/>
                <a:gd name="connsiteX499" fmla="*/ 1221307 w 1352046"/>
                <a:gd name="connsiteY499" fmla="*/ 325036 h 905809"/>
                <a:gd name="connsiteX500" fmla="*/ 1219300 w 1352046"/>
                <a:gd name="connsiteY500" fmla="*/ 324960 h 905809"/>
                <a:gd name="connsiteX501" fmla="*/ 1216596 w 1352046"/>
                <a:gd name="connsiteY501" fmla="*/ 325487 h 905809"/>
                <a:gd name="connsiteX502" fmla="*/ 1212184 w 1352046"/>
                <a:gd name="connsiteY502" fmla="*/ 325755 h 905809"/>
                <a:gd name="connsiteX503" fmla="*/ 1209544 w 1352046"/>
                <a:gd name="connsiteY503" fmla="*/ 325360 h 905809"/>
                <a:gd name="connsiteX504" fmla="*/ 1206278 w 1352046"/>
                <a:gd name="connsiteY504" fmla="*/ 325732 h 905809"/>
                <a:gd name="connsiteX505" fmla="*/ 1203737 w 1352046"/>
                <a:gd name="connsiteY505" fmla="*/ 326372 h 905809"/>
                <a:gd name="connsiteX506" fmla="*/ 1203372 w 1352046"/>
                <a:gd name="connsiteY506" fmla="*/ 327325 h 905809"/>
                <a:gd name="connsiteX507" fmla="*/ 1203465 w 1352046"/>
                <a:gd name="connsiteY507" fmla="*/ 328734 h 905809"/>
                <a:gd name="connsiteX508" fmla="*/ 1203977 w 1352046"/>
                <a:gd name="connsiteY508" fmla="*/ 329655 h 905809"/>
                <a:gd name="connsiteX509" fmla="*/ 1204598 w 1352046"/>
                <a:gd name="connsiteY509" fmla="*/ 330269 h 905809"/>
                <a:gd name="connsiteX510" fmla="*/ 1205654 w 1352046"/>
                <a:gd name="connsiteY510" fmla="*/ 332163 h 905809"/>
                <a:gd name="connsiteX511" fmla="*/ 1206756 w 1352046"/>
                <a:gd name="connsiteY511" fmla="*/ 333992 h 905809"/>
                <a:gd name="connsiteX512" fmla="*/ 1208438 w 1352046"/>
                <a:gd name="connsiteY512" fmla="*/ 335175 h 905809"/>
                <a:gd name="connsiteX513" fmla="*/ 1209133 w 1352046"/>
                <a:gd name="connsiteY513" fmla="*/ 336443 h 905809"/>
                <a:gd name="connsiteX514" fmla="*/ 1209170 w 1352046"/>
                <a:gd name="connsiteY514" fmla="*/ 337624 h 905809"/>
                <a:gd name="connsiteX515" fmla="*/ 1208373 w 1352046"/>
                <a:gd name="connsiteY515" fmla="*/ 339111 h 905809"/>
                <a:gd name="connsiteX516" fmla="*/ 1207166 w 1352046"/>
                <a:gd name="connsiteY516" fmla="*/ 341053 h 905809"/>
                <a:gd name="connsiteX517" fmla="*/ 1206041 w 1352046"/>
                <a:gd name="connsiteY517" fmla="*/ 342249 h 905809"/>
                <a:gd name="connsiteX518" fmla="*/ 1205197 w 1352046"/>
                <a:gd name="connsiteY518" fmla="*/ 342209 h 905809"/>
                <a:gd name="connsiteX519" fmla="*/ 1203903 w 1352046"/>
                <a:gd name="connsiteY519" fmla="*/ 341513 h 905809"/>
                <a:gd name="connsiteX520" fmla="*/ 1203026 w 1352046"/>
                <a:gd name="connsiteY520" fmla="*/ 340639 h 905809"/>
                <a:gd name="connsiteX521" fmla="*/ 1200938 w 1352046"/>
                <a:gd name="connsiteY521" fmla="*/ 340311 h 905809"/>
                <a:gd name="connsiteX522" fmla="*/ 1195832 w 1352046"/>
                <a:gd name="connsiteY522" fmla="*/ 340869 h 905809"/>
                <a:gd name="connsiteX523" fmla="*/ 1193277 w 1352046"/>
                <a:gd name="connsiteY523" fmla="*/ 340480 h 905809"/>
                <a:gd name="connsiteX524" fmla="*/ 1192057 w 1352046"/>
                <a:gd name="connsiteY524" fmla="*/ 339766 h 905809"/>
                <a:gd name="connsiteX525" fmla="*/ 1189919 w 1352046"/>
                <a:gd name="connsiteY525" fmla="*/ 339712 h 905809"/>
                <a:gd name="connsiteX526" fmla="*/ 1186613 w 1352046"/>
                <a:gd name="connsiteY526" fmla="*/ 338760 h 905809"/>
                <a:gd name="connsiteX527" fmla="*/ 1184598 w 1352046"/>
                <a:gd name="connsiteY527" fmla="*/ 338455 h 905809"/>
                <a:gd name="connsiteX528" fmla="*/ 1183649 w 1352046"/>
                <a:gd name="connsiteY528" fmla="*/ 337842 h 905809"/>
                <a:gd name="connsiteX529" fmla="*/ 1183465 w 1352046"/>
                <a:gd name="connsiteY529" fmla="*/ 336443 h 905809"/>
                <a:gd name="connsiteX530" fmla="*/ 1182512 w 1352046"/>
                <a:gd name="connsiteY530" fmla="*/ 335481 h 905809"/>
                <a:gd name="connsiteX531" fmla="*/ 1181981 w 1352046"/>
                <a:gd name="connsiteY531" fmla="*/ 334328 h 905809"/>
                <a:gd name="connsiteX532" fmla="*/ 1180778 w 1352046"/>
                <a:gd name="connsiteY532" fmla="*/ 332880 h 905809"/>
                <a:gd name="connsiteX533" fmla="*/ 1179626 w 1352046"/>
                <a:gd name="connsiteY533" fmla="*/ 332153 h 905809"/>
                <a:gd name="connsiteX534" fmla="*/ 1178491 w 1352046"/>
                <a:gd name="connsiteY534" fmla="*/ 331847 h 905809"/>
                <a:gd name="connsiteX535" fmla="*/ 1177248 w 1352046"/>
                <a:gd name="connsiteY535" fmla="*/ 332723 h 905809"/>
                <a:gd name="connsiteX536" fmla="*/ 1175930 w 1352046"/>
                <a:gd name="connsiteY536" fmla="*/ 333511 h 905809"/>
                <a:gd name="connsiteX537" fmla="*/ 1174944 w 1352046"/>
                <a:gd name="connsiteY537" fmla="*/ 333336 h 905809"/>
                <a:gd name="connsiteX538" fmla="*/ 1174468 w 1352046"/>
                <a:gd name="connsiteY538" fmla="*/ 333555 h 905809"/>
                <a:gd name="connsiteX539" fmla="*/ 1173924 w 1352046"/>
                <a:gd name="connsiteY539" fmla="*/ 334208 h 905809"/>
                <a:gd name="connsiteX540" fmla="*/ 1171808 w 1352046"/>
                <a:gd name="connsiteY540" fmla="*/ 335556 h 905809"/>
                <a:gd name="connsiteX541" fmla="*/ 1171301 w 1352046"/>
                <a:gd name="connsiteY541" fmla="*/ 336790 h 905809"/>
                <a:gd name="connsiteX542" fmla="*/ 1170456 w 1352046"/>
                <a:gd name="connsiteY542" fmla="*/ 339401 h 905809"/>
                <a:gd name="connsiteX543" fmla="*/ 1169869 w 1352046"/>
                <a:gd name="connsiteY543" fmla="*/ 342083 h 905809"/>
                <a:gd name="connsiteX544" fmla="*/ 1169357 w 1352046"/>
                <a:gd name="connsiteY544" fmla="*/ 343032 h 905809"/>
                <a:gd name="connsiteX545" fmla="*/ 1168496 w 1352046"/>
                <a:gd name="connsiteY545" fmla="*/ 343196 h 905809"/>
                <a:gd name="connsiteX546" fmla="*/ 1167619 w 1352046"/>
                <a:gd name="connsiteY546" fmla="*/ 344001 h 905809"/>
                <a:gd name="connsiteX547" fmla="*/ 1165781 w 1352046"/>
                <a:gd name="connsiteY547" fmla="*/ 346523 h 905809"/>
                <a:gd name="connsiteX548" fmla="*/ 1164121 w 1352046"/>
                <a:gd name="connsiteY548" fmla="*/ 348839 h 905809"/>
                <a:gd name="connsiteX549" fmla="*/ 1161709 w 1352046"/>
                <a:gd name="connsiteY549" fmla="*/ 350407 h 905809"/>
                <a:gd name="connsiteX550" fmla="*/ 1160573 w 1352046"/>
                <a:gd name="connsiteY550" fmla="*/ 351843 h 905809"/>
                <a:gd name="connsiteX551" fmla="*/ 1159990 w 1352046"/>
                <a:gd name="connsiteY551" fmla="*/ 353149 h 905809"/>
                <a:gd name="connsiteX552" fmla="*/ 1158271 w 1352046"/>
                <a:gd name="connsiteY552" fmla="*/ 354974 h 905809"/>
                <a:gd name="connsiteX553" fmla="*/ 1155746 w 1352046"/>
                <a:gd name="connsiteY553" fmla="*/ 355300 h 905809"/>
                <a:gd name="connsiteX554" fmla="*/ 1153736 w 1352046"/>
                <a:gd name="connsiteY554" fmla="*/ 355831 h 905809"/>
                <a:gd name="connsiteX555" fmla="*/ 1152505 w 1352046"/>
                <a:gd name="connsiteY555" fmla="*/ 355971 h 905809"/>
                <a:gd name="connsiteX556" fmla="*/ 1151620 w 1352046"/>
                <a:gd name="connsiteY556" fmla="*/ 356707 h 905809"/>
                <a:gd name="connsiteX557" fmla="*/ 1150977 w 1352046"/>
                <a:gd name="connsiteY557" fmla="*/ 357831 h 905809"/>
                <a:gd name="connsiteX558" fmla="*/ 1150665 w 1352046"/>
                <a:gd name="connsiteY558" fmla="*/ 358275 h 905809"/>
                <a:gd name="connsiteX559" fmla="*/ 1149532 w 1352046"/>
                <a:gd name="connsiteY559" fmla="*/ 358275 h 905809"/>
                <a:gd name="connsiteX560" fmla="*/ 1148399 w 1352046"/>
                <a:gd name="connsiteY560" fmla="*/ 359230 h 905809"/>
                <a:gd name="connsiteX561" fmla="*/ 1145619 w 1352046"/>
                <a:gd name="connsiteY561" fmla="*/ 361399 h 905809"/>
                <a:gd name="connsiteX562" fmla="*/ 1143354 w 1352046"/>
                <a:gd name="connsiteY562" fmla="*/ 361800 h 905809"/>
                <a:gd name="connsiteX563" fmla="*/ 1140512 w 1352046"/>
                <a:gd name="connsiteY563" fmla="*/ 363248 h 905809"/>
                <a:gd name="connsiteX564" fmla="*/ 1138014 w 1352046"/>
                <a:gd name="connsiteY564" fmla="*/ 364347 h 905809"/>
                <a:gd name="connsiteX565" fmla="*/ 1136975 w 1352046"/>
                <a:gd name="connsiteY565" fmla="*/ 364965 h 905809"/>
                <a:gd name="connsiteX566" fmla="*/ 1136696 w 1352046"/>
                <a:gd name="connsiteY566" fmla="*/ 365646 h 905809"/>
                <a:gd name="connsiteX567" fmla="*/ 1136332 w 1352046"/>
                <a:gd name="connsiteY567" fmla="*/ 366513 h 905809"/>
                <a:gd name="connsiteX568" fmla="*/ 1135124 w 1352046"/>
                <a:gd name="connsiteY568" fmla="*/ 366686 h 905809"/>
                <a:gd name="connsiteX569" fmla="*/ 1133954 w 1352046"/>
                <a:gd name="connsiteY569" fmla="*/ 366642 h 905809"/>
                <a:gd name="connsiteX570" fmla="*/ 1131359 w 1352046"/>
                <a:gd name="connsiteY570" fmla="*/ 368633 h 905809"/>
                <a:gd name="connsiteX571" fmla="*/ 1130041 w 1352046"/>
                <a:gd name="connsiteY571" fmla="*/ 370320 h 905809"/>
                <a:gd name="connsiteX572" fmla="*/ 1124926 w 1352046"/>
                <a:gd name="connsiteY572" fmla="*/ 373916 h 905809"/>
                <a:gd name="connsiteX573" fmla="*/ 1122838 w 1352046"/>
                <a:gd name="connsiteY573" fmla="*/ 375936 h 905809"/>
                <a:gd name="connsiteX574" fmla="*/ 1122296 w 1352046"/>
                <a:gd name="connsiteY574" fmla="*/ 378550 h 905809"/>
                <a:gd name="connsiteX575" fmla="*/ 1122028 w 1352046"/>
                <a:gd name="connsiteY575" fmla="*/ 378354 h 905809"/>
                <a:gd name="connsiteX576" fmla="*/ 1120204 w 1352046"/>
                <a:gd name="connsiteY576" fmla="*/ 380632 h 905809"/>
                <a:gd name="connsiteX577" fmla="*/ 1116627 w 1352046"/>
                <a:gd name="connsiteY577" fmla="*/ 382798 h 905809"/>
                <a:gd name="connsiteX578" fmla="*/ 1108986 w 1352046"/>
                <a:gd name="connsiteY578" fmla="*/ 383283 h 905809"/>
                <a:gd name="connsiteX579" fmla="*/ 1106569 w 1352046"/>
                <a:gd name="connsiteY579" fmla="*/ 381741 h 905809"/>
                <a:gd name="connsiteX580" fmla="*/ 1105692 w 1352046"/>
                <a:gd name="connsiteY580" fmla="*/ 382803 h 905809"/>
                <a:gd name="connsiteX581" fmla="*/ 1105016 w 1352046"/>
                <a:gd name="connsiteY581" fmla="*/ 384227 h 905809"/>
                <a:gd name="connsiteX582" fmla="*/ 1103012 w 1352046"/>
                <a:gd name="connsiteY582" fmla="*/ 384702 h 905809"/>
                <a:gd name="connsiteX583" fmla="*/ 1099875 w 1352046"/>
                <a:gd name="connsiteY583" fmla="*/ 384830 h 905809"/>
                <a:gd name="connsiteX584" fmla="*/ 1098124 w 1352046"/>
                <a:gd name="connsiteY584" fmla="*/ 385768 h 905809"/>
                <a:gd name="connsiteX585" fmla="*/ 1097186 w 1352046"/>
                <a:gd name="connsiteY585" fmla="*/ 386816 h 905809"/>
                <a:gd name="connsiteX586" fmla="*/ 1092889 w 1352046"/>
                <a:gd name="connsiteY586" fmla="*/ 387156 h 905809"/>
                <a:gd name="connsiteX587" fmla="*/ 1091313 w 1352046"/>
                <a:gd name="connsiteY587" fmla="*/ 388550 h 905809"/>
                <a:gd name="connsiteX588" fmla="*/ 1088640 w 1352046"/>
                <a:gd name="connsiteY588" fmla="*/ 389046 h 905809"/>
                <a:gd name="connsiteX589" fmla="*/ 1077469 w 1352046"/>
                <a:gd name="connsiteY589" fmla="*/ 395139 h 905809"/>
                <a:gd name="connsiteX590" fmla="*/ 1075040 w 1352046"/>
                <a:gd name="connsiteY590" fmla="*/ 397699 h 905809"/>
                <a:gd name="connsiteX591" fmla="*/ 1072737 w 1352046"/>
                <a:gd name="connsiteY591" fmla="*/ 400688 h 905809"/>
                <a:gd name="connsiteX592" fmla="*/ 1071118 w 1352046"/>
                <a:gd name="connsiteY592" fmla="*/ 402192 h 905809"/>
                <a:gd name="connsiteX593" fmla="*/ 1069674 w 1352046"/>
                <a:gd name="connsiteY593" fmla="*/ 403243 h 905809"/>
                <a:gd name="connsiteX594" fmla="*/ 1068354 w 1352046"/>
                <a:gd name="connsiteY594" fmla="*/ 403673 h 905809"/>
                <a:gd name="connsiteX595" fmla="*/ 1067065 w 1352046"/>
                <a:gd name="connsiteY595" fmla="*/ 404709 h 905809"/>
                <a:gd name="connsiteX596" fmla="*/ 1065757 w 1352046"/>
                <a:gd name="connsiteY596" fmla="*/ 404840 h 905809"/>
                <a:gd name="connsiteX597" fmla="*/ 1064422 w 1352046"/>
                <a:gd name="connsiteY597" fmla="*/ 404368 h 905809"/>
                <a:gd name="connsiteX598" fmla="*/ 1062928 w 1352046"/>
                <a:gd name="connsiteY598" fmla="*/ 404529 h 905809"/>
                <a:gd name="connsiteX599" fmla="*/ 1061945 w 1352046"/>
                <a:gd name="connsiteY599" fmla="*/ 405785 h 905809"/>
                <a:gd name="connsiteX600" fmla="*/ 1062777 w 1352046"/>
                <a:gd name="connsiteY600" fmla="*/ 407414 h 905809"/>
                <a:gd name="connsiteX601" fmla="*/ 1062323 w 1352046"/>
                <a:gd name="connsiteY601" fmla="*/ 408103 h 905809"/>
                <a:gd name="connsiteX602" fmla="*/ 1059389 w 1352046"/>
                <a:gd name="connsiteY602" fmla="*/ 408990 h 905809"/>
                <a:gd name="connsiteX603" fmla="*/ 1055031 w 1352046"/>
                <a:gd name="connsiteY603" fmla="*/ 409572 h 905809"/>
                <a:gd name="connsiteX604" fmla="*/ 1053178 w 1352046"/>
                <a:gd name="connsiteY604" fmla="*/ 410637 h 905809"/>
                <a:gd name="connsiteX605" fmla="*/ 1052539 w 1352046"/>
                <a:gd name="connsiteY605" fmla="*/ 411241 h 905809"/>
                <a:gd name="connsiteX606" fmla="*/ 1051570 w 1352046"/>
                <a:gd name="connsiteY606" fmla="*/ 411547 h 905809"/>
                <a:gd name="connsiteX607" fmla="*/ 1050643 w 1352046"/>
                <a:gd name="connsiteY607" fmla="*/ 409441 h 905809"/>
                <a:gd name="connsiteX608" fmla="*/ 1050312 w 1352046"/>
                <a:gd name="connsiteY608" fmla="*/ 406664 h 905809"/>
                <a:gd name="connsiteX609" fmla="*/ 1052115 w 1352046"/>
                <a:gd name="connsiteY609" fmla="*/ 405996 h 905809"/>
                <a:gd name="connsiteX610" fmla="*/ 1053774 w 1352046"/>
                <a:gd name="connsiteY610" fmla="*/ 405645 h 905809"/>
                <a:gd name="connsiteX611" fmla="*/ 1062986 w 1352046"/>
                <a:gd name="connsiteY611" fmla="*/ 401807 h 905809"/>
                <a:gd name="connsiteX612" fmla="*/ 1061830 w 1352046"/>
                <a:gd name="connsiteY612" fmla="*/ 398921 h 905809"/>
                <a:gd name="connsiteX613" fmla="*/ 1062647 w 1352046"/>
                <a:gd name="connsiteY613" fmla="*/ 397662 h 905809"/>
                <a:gd name="connsiteX614" fmla="*/ 1064709 w 1352046"/>
                <a:gd name="connsiteY614" fmla="*/ 395620 h 905809"/>
                <a:gd name="connsiteX615" fmla="*/ 1066050 w 1352046"/>
                <a:gd name="connsiteY615" fmla="*/ 394609 h 905809"/>
                <a:gd name="connsiteX616" fmla="*/ 1065320 w 1352046"/>
                <a:gd name="connsiteY616" fmla="*/ 394238 h 905809"/>
                <a:gd name="connsiteX617" fmla="*/ 1059285 w 1352046"/>
                <a:gd name="connsiteY617" fmla="*/ 394912 h 905809"/>
                <a:gd name="connsiteX618" fmla="*/ 1055817 w 1352046"/>
                <a:gd name="connsiteY618" fmla="*/ 394861 h 905809"/>
                <a:gd name="connsiteX619" fmla="*/ 1054044 w 1352046"/>
                <a:gd name="connsiteY619" fmla="*/ 394655 h 905809"/>
                <a:gd name="connsiteX620" fmla="*/ 1054582 w 1352046"/>
                <a:gd name="connsiteY620" fmla="*/ 392906 h 905809"/>
                <a:gd name="connsiteX621" fmla="*/ 1054284 w 1352046"/>
                <a:gd name="connsiteY621" fmla="*/ 391160 h 905809"/>
                <a:gd name="connsiteX622" fmla="*/ 1053867 w 1352046"/>
                <a:gd name="connsiteY622" fmla="*/ 390504 h 905809"/>
                <a:gd name="connsiteX623" fmla="*/ 1056940 w 1352046"/>
                <a:gd name="connsiteY623" fmla="*/ 388515 h 905809"/>
                <a:gd name="connsiteX624" fmla="*/ 1058334 w 1352046"/>
                <a:gd name="connsiteY624" fmla="*/ 388024 h 905809"/>
                <a:gd name="connsiteX625" fmla="*/ 1059397 w 1352046"/>
                <a:gd name="connsiteY625" fmla="*/ 388055 h 905809"/>
                <a:gd name="connsiteX626" fmla="*/ 1059324 w 1352046"/>
                <a:gd name="connsiteY626" fmla="*/ 386851 h 905809"/>
                <a:gd name="connsiteX627" fmla="*/ 1058438 w 1352046"/>
                <a:gd name="connsiteY627" fmla="*/ 385040 h 905809"/>
                <a:gd name="connsiteX628" fmla="*/ 1059393 w 1352046"/>
                <a:gd name="connsiteY628" fmla="*/ 382699 h 905809"/>
                <a:gd name="connsiteX629" fmla="*/ 1065663 w 1352046"/>
                <a:gd name="connsiteY629" fmla="*/ 379945 h 905809"/>
                <a:gd name="connsiteX630" fmla="*/ 1067166 w 1352046"/>
                <a:gd name="connsiteY630" fmla="*/ 377446 h 905809"/>
                <a:gd name="connsiteX631" fmla="*/ 1069684 w 1352046"/>
                <a:gd name="connsiteY631" fmla="*/ 375112 h 905809"/>
                <a:gd name="connsiteX632" fmla="*/ 1074286 w 1352046"/>
                <a:gd name="connsiteY632" fmla="*/ 369300 h 905809"/>
                <a:gd name="connsiteX633" fmla="*/ 1074561 w 1352046"/>
                <a:gd name="connsiteY633" fmla="*/ 368311 h 905809"/>
                <a:gd name="connsiteX634" fmla="*/ 1075899 w 1352046"/>
                <a:gd name="connsiteY634" fmla="*/ 365585 h 905809"/>
                <a:gd name="connsiteX635" fmla="*/ 1076145 w 1352046"/>
                <a:gd name="connsiteY635" fmla="*/ 364494 h 905809"/>
                <a:gd name="connsiteX636" fmla="*/ 1074016 w 1352046"/>
                <a:gd name="connsiteY636" fmla="*/ 362898 h 905809"/>
                <a:gd name="connsiteX637" fmla="*/ 1073169 w 1352046"/>
                <a:gd name="connsiteY637" fmla="*/ 360658 h 905809"/>
                <a:gd name="connsiteX638" fmla="*/ 1066942 w 1352046"/>
                <a:gd name="connsiteY638" fmla="*/ 356617 h 905809"/>
                <a:gd name="connsiteX639" fmla="*/ 1066413 w 1352046"/>
                <a:gd name="connsiteY639" fmla="*/ 353143 h 905809"/>
                <a:gd name="connsiteX640" fmla="*/ 1065832 w 1352046"/>
                <a:gd name="connsiteY640" fmla="*/ 353295 h 905809"/>
                <a:gd name="connsiteX641" fmla="*/ 1064882 w 1352046"/>
                <a:gd name="connsiteY641" fmla="*/ 355730 h 905809"/>
                <a:gd name="connsiteX642" fmla="*/ 1064078 w 1352046"/>
                <a:gd name="connsiteY642" fmla="*/ 356511 h 905809"/>
                <a:gd name="connsiteX643" fmla="*/ 1061196 w 1352046"/>
                <a:gd name="connsiteY643" fmla="*/ 356583 h 905809"/>
                <a:gd name="connsiteX644" fmla="*/ 1059829 w 1352046"/>
                <a:gd name="connsiteY644" fmla="*/ 355663 h 905809"/>
                <a:gd name="connsiteX645" fmla="*/ 1051811 w 1352046"/>
                <a:gd name="connsiteY645" fmla="*/ 355062 h 905809"/>
                <a:gd name="connsiteX646" fmla="*/ 1049853 w 1352046"/>
                <a:gd name="connsiteY646" fmla="*/ 356630 h 905809"/>
                <a:gd name="connsiteX647" fmla="*/ 1048017 w 1352046"/>
                <a:gd name="connsiteY647" fmla="*/ 359059 h 905809"/>
                <a:gd name="connsiteX648" fmla="*/ 1046234 w 1352046"/>
                <a:gd name="connsiteY648" fmla="*/ 360791 h 905809"/>
                <a:gd name="connsiteX649" fmla="*/ 1044443 w 1352046"/>
                <a:gd name="connsiteY649" fmla="*/ 361680 h 905809"/>
                <a:gd name="connsiteX650" fmla="*/ 1042882 w 1352046"/>
                <a:gd name="connsiteY650" fmla="*/ 363257 h 905809"/>
                <a:gd name="connsiteX651" fmla="*/ 1036434 w 1352046"/>
                <a:gd name="connsiteY651" fmla="*/ 372628 h 905809"/>
                <a:gd name="connsiteX652" fmla="*/ 1033999 w 1352046"/>
                <a:gd name="connsiteY652" fmla="*/ 373336 h 905809"/>
                <a:gd name="connsiteX653" fmla="*/ 1022532 w 1352046"/>
                <a:gd name="connsiteY653" fmla="*/ 378983 h 905809"/>
                <a:gd name="connsiteX654" fmla="*/ 1016799 w 1352046"/>
                <a:gd name="connsiteY654" fmla="*/ 381193 h 905809"/>
                <a:gd name="connsiteX655" fmla="*/ 1012377 w 1352046"/>
                <a:gd name="connsiteY655" fmla="*/ 385102 h 905809"/>
                <a:gd name="connsiteX656" fmla="*/ 1010856 w 1352046"/>
                <a:gd name="connsiteY656" fmla="*/ 387466 h 905809"/>
                <a:gd name="connsiteX657" fmla="*/ 1009506 w 1352046"/>
                <a:gd name="connsiteY657" fmla="*/ 390084 h 905809"/>
                <a:gd name="connsiteX658" fmla="*/ 1008695 w 1352046"/>
                <a:gd name="connsiteY658" fmla="*/ 394051 h 905809"/>
                <a:gd name="connsiteX659" fmla="*/ 1004616 w 1352046"/>
                <a:gd name="connsiteY659" fmla="*/ 398864 h 905809"/>
                <a:gd name="connsiteX660" fmla="*/ 1003218 w 1352046"/>
                <a:gd name="connsiteY660" fmla="*/ 399895 h 905809"/>
                <a:gd name="connsiteX661" fmla="*/ 1001789 w 1352046"/>
                <a:gd name="connsiteY661" fmla="*/ 400313 h 905809"/>
                <a:gd name="connsiteX662" fmla="*/ 999891 w 1352046"/>
                <a:gd name="connsiteY662" fmla="*/ 400165 h 905809"/>
                <a:gd name="connsiteX663" fmla="*/ 998254 w 1352046"/>
                <a:gd name="connsiteY663" fmla="*/ 400466 h 905809"/>
                <a:gd name="connsiteX664" fmla="*/ 995466 w 1352046"/>
                <a:gd name="connsiteY664" fmla="*/ 400042 h 905809"/>
                <a:gd name="connsiteX665" fmla="*/ 992052 w 1352046"/>
                <a:gd name="connsiteY665" fmla="*/ 401565 h 905809"/>
                <a:gd name="connsiteX666" fmla="*/ 988202 w 1352046"/>
                <a:gd name="connsiteY666" fmla="*/ 402883 h 905809"/>
                <a:gd name="connsiteX667" fmla="*/ 984885 w 1352046"/>
                <a:gd name="connsiteY667" fmla="*/ 399571 h 905809"/>
                <a:gd name="connsiteX668" fmla="*/ 982521 w 1352046"/>
                <a:gd name="connsiteY668" fmla="*/ 398750 h 905809"/>
                <a:gd name="connsiteX669" fmla="*/ 978647 w 1352046"/>
                <a:gd name="connsiteY669" fmla="*/ 399669 h 905809"/>
                <a:gd name="connsiteX670" fmla="*/ 976855 w 1352046"/>
                <a:gd name="connsiteY670" fmla="*/ 401140 h 905809"/>
                <a:gd name="connsiteX671" fmla="*/ 973140 w 1352046"/>
                <a:gd name="connsiteY671" fmla="*/ 408419 h 905809"/>
                <a:gd name="connsiteX672" fmla="*/ 971750 w 1352046"/>
                <a:gd name="connsiteY672" fmla="*/ 412583 h 905809"/>
                <a:gd name="connsiteX673" fmla="*/ 971838 w 1352046"/>
                <a:gd name="connsiteY673" fmla="*/ 414293 h 905809"/>
                <a:gd name="connsiteX674" fmla="*/ 974010 w 1352046"/>
                <a:gd name="connsiteY674" fmla="*/ 419466 h 905809"/>
                <a:gd name="connsiteX675" fmla="*/ 976457 w 1352046"/>
                <a:gd name="connsiteY675" fmla="*/ 422361 h 905809"/>
                <a:gd name="connsiteX676" fmla="*/ 981946 w 1352046"/>
                <a:gd name="connsiteY676" fmla="*/ 425655 h 905809"/>
                <a:gd name="connsiteX677" fmla="*/ 993628 w 1352046"/>
                <a:gd name="connsiteY677" fmla="*/ 427927 h 905809"/>
                <a:gd name="connsiteX678" fmla="*/ 996367 w 1352046"/>
                <a:gd name="connsiteY678" fmla="*/ 427120 h 905809"/>
                <a:gd name="connsiteX679" fmla="*/ 999306 w 1352046"/>
                <a:gd name="connsiteY679" fmla="*/ 427112 h 905809"/>
                <a:gd name="connsiteX680" fmla="*/ 1002402 w 1352046"/>
                <a:gd name="connsiteY680" fmla="*/ 429264 h 905809"/>
                <a:gd name="connsiteX681" fmla="*/ 1004337 w 1352046"/>
                <a:gd name="connsiteY681" fmla="*/ 432821 h 905809"/>
                <a:gd name="connsiteX682" fmla="*/ 1004516 w 1352046"/>
                <a:gd name="connsiteY682" fmla="*/ 435249 h 905809"/>
                <a:gd name="connsiteX683" fmla="*/ 1004579 w 1352046"/>
                <a:gd name="connsiteY683" fmla="*/ 436085 h 905809"/>
                <a:gd name="connsiteX684" fmla="*/ 1005283 w 1352046"/>
                <a:gd name="connsiteY684" fmla="*/ 436800 h 905809"/>
                <a:gd name="connsiteX685" fmla="*/ 1005700 w 1352046"/>
                <a:gd name="connsiteY685" fmla="*/ 438024 h 905809"/>
                <a:gd name="connsiteX686" fmla="*/ 1004469 w 1352046"/>
                <a:gd name="connsiteY686" fmla="*/ 439039 h 905809"/>
                <a:gd name="connsiteX687" fmla="*/ 1003525 w 1352046"/>
                <a:gd name="connsiteY687" fmla="*/ 439542 h 905809"/>
                <a:gd name="connsiteX688" fmla="*/ 1002730 w 1352046"/>
                <a:gd name="connsiteY688" fmla="*/ 443304 h 905809"/>
                <a:gd name="connsiteX689" fmla="*/ 1002681 w 1352046"/>
                <a:gd name="connsiteY689" fmla="*/ 447461 h 905809"/>
                <a:gd name="connsiteX690" fmla="*/ 1003687 w 1352046"/>
                <a:gd name="connsiteY690" fmla="*/ 448839 h 905809"/>
                <a:gd name="connsiteX691" fmla="*/ 1006200 w 1352046"/>
                <a:gd name="connsiteY691" fmla="*/ 450774 h 905809"/>
                <a:gd name="connsiteX692" fmla="*/ 1010083 w 1352046"/>
                <a:gd name="connsiteY692" fmla="*/ 452376 h 905809"/>
                <a:gd name="connsiteX693" fmla="*/ 1013677 w 1352046"/>
                <a:gd name="connsiteY693" fmla="*/ 452720 h 905809"/>
                <a:gd name="connsiteX694" fmla="*/ 1020545 w 1352046"/>
                <a:gd name="connsiteY694" fmla="*/ 451948 h 905809"/>
                <a:gd name="connsiteX695" fmla="*/ 1023353 w 1352046"/>
                <a:gd name="connsiteY695" fmla="*/ 449444 h 905809"/>
                <a:gd name="connsiteX696" fmla="*/ 1023186 w 1352046"/>
                <a:gd name="connsiteY696" fmla="*/ 448363 h 905809"/>
                <a:gd name="connsiteX697" fmla="*/ 1023251 w 1352046"/>
                <a:gd name="connsiteY697" fmla="*/ 446960 h 905809"/>
                <a:gd name="connsiteX698" fmla="*/ 1029287 w 1352046"/>
                <a:gd name="connsiteY698" fmla="*/ 443280 h 905809"/>
                <a:gd name="connsiteX699" fmla="*/ 1032729 w 1352046"/>
                <a:gd name="connsiteY699" fmla="*/ 440019 h 905809"/>
                <a:gd name="connsiteX700" fmla="*/ 1032189 w 1352046"/>
                <a:gd name="connsiteY700" fmla="*/ 439155 h 905809"/>
                <a:gd name="connsiteX701" fmla="*/ 1031528 w 1352046"/>
                <a:gd name="connsiteY701" fmla="*/ 438579 h 905809"/>
                <a:gd name="connsiteX702" fmla="*/ 1032135 w 1352046"/>
                <a:gd name="connsiteY702" fmla="*/ 438245 h 905809"/>
                <a:gd name="connsiteX703" fmla="*/ 1034024 w 1352046"/>
                <a:gd name="connsiteY703" fmla="*/ 438016 h 905809"/>
                <a:gd name="connsiteX704" fmla="*/ 1042425 w 1352046"/>
                <a:gd name="connsiteY704" fmla="*/ 434615 h 905809"/>
                <a:gd name="connsiteX705" fmla="*/ 1049037 w 1352046"/>
                <a:gd name="connsiteY705" fmla="*/ 437398 h 905809"/>
                <a:gd name="connsiteX706" fmla="*/ 1052807 w 1352046"/>
                <a:gd name="connsiteY706" fmla="*/ 440595 h 905809"/>
                <a:gd name="connsiteX707" fmla="*/ 1056534 w 1352046"/>
                <a:gd name="connsiteY707" fmla="*/ 441137 h 905809"/>
                <a:gd name="connsiteX708" fmla="*/ 1059125 w 1352046"/>
                <a:gd name="connsiteY708" fmla="*/ 442769 h 905809"/>
                <a:gd name="connsiteX709" fmla="*/ 1062109 w 1352046"/>
                <a:gd name="connsiteY709" fmla="*/ 444166 h 905809"/>
                <a:gd name="connsiteX710" fmla="*/ 1066005 w 1352046"/>
                <a:gd name="connsiteY710" fmla="*/ 444260 h 905809"/>
                <a:gd name="connsiteX711" fmla="*/ 1069287 w 1352046"/>
                <a:gd name="connsiteY711" fmla="*/ 444549 h 905809"/>
                <a:gd name="connsiteX712" fmla="*/ 1070289 w 1352046"/>
                <a:gd name="connsiteY712" fmla="*/ 443262 h 905809"/>
                <a:gd name="connsiteX713" fmla="*/ 1071317 w 1352046"/>
                <a:gd name="connsiteY713" fmla="*/ 442415 h 905809"/>
                <a:gd name="connsiteX714" fmla="*/ 1072487 w 1352046"/>
                <a:gd name="connsiteY714" fmla="*/ 442583 h 905809"/>
                <a:gd name="connsiteX715" fmla="*/ 1073805 w 1352046"/>
                <a:gd name="connsiteY715" fmla="*/ 444273 h 905809"/>
                <a:gd name="connsiteX716" fmla="*/ 1077532 w 1352046"/>
                <a:gd name="connsiteY716" fmla="*/ 445571 h 905809"/>
                <a:gd name="connsiteX717" fmla="*/ 1080972 w 1352046"/>
                <a:gd name="connsiteY717" fmla="*/ 445502 h 905809"/>
                <a:gd name="connsiteX718" fmla="*/ 1083383 w 1352046"/>
                <a:gd name="connsiteY718" fmla="*/ 445031 h 905809"/>
                <a:gd name="connsiteX719" fmla="*/ 1084813 w 1352046"/>
                <a:gd name="connsiteY719" fmla="*/ 445633 h 905809"/>
                <a:gd name="connsiteX720" fmla="*/ 1082742 w 1352046"/>
                <a:gd name="connsiteY720" fmla="*/ 447799 h 905809"/>
                <a:gd name="connsiteX721" fmla="*/ 1083051 w 1352046"/>
                <a:gd name="connsiteY721" fmla="*/ 451285 h 905809"/>
                <a:gd name="connsiteX722" fmla="*/ 1081464 w 1352046"/>
                <a:gd name="connsiteY722" fmla="*/ 452387 h 905809"/>
                <a:gd name="connsiteX723" fmla="*/ 1079942 w 1352046"/>
                <a:gd name="connsiteY723" fmla="*/ 454161 h 905809"/>
                <a:gd name="connsiteX724" fmla="*/ 1080842 w 1352046"/>
                <a:gd name="connsiteY724" fmla="*/ 455328 h 905809"/>
                <a:gd name="connsiteX725" fmla="*/ 1081639 w 1352046"/>
                <a:gd name="connsiteY725" fmla="*/ 455827 h 905809"/>
                <a:gd name="connsiteX726" fmla="*/ 1081557 w 1352046"/>
                <a:gd name="connsiteY726" fmla="*/ 457246 h 905809"/>
                <a:gd name="connsiteX727" fmla="*/ 1080170 w 1352046"/>
                <a:gd name="connsiteY727" fmla="*/ 458052 h 905809"/>
                <a:gd name="connsiteX728" fmla="*/ 1077603 w 1352046"/>
                <a:gd name="connsiteY728" fmla="*/ 460158 h 905809"/>
                <a:gd name="connsiteX729" fmla="*/ 1076128 w 1352046"/>
                <a:gd name="connsiteY729" fmla="*/ 460117 h 905809"/>
                <a:gd name="connsiteX730" fmla="*/ 1075422 w 1352046"/>
                <a:gd name="connsiteY730" fmla="*/ 459710 h 905809"/>
                <a:gd name="connsiteX731" fmla="*/ 1074923 w 1352046"/>
                <a:gd name="connsiteY731" fmla="*/ 458956 h 905809"/>
                <a:gd name="connsiteX732" fmla="*/ 1074558 w 1352046"/>
                <a:gd name="connsiteY732" fmla="*/ 457745 h 905809"/>
                <a:gd name="connsiteX733" fmla="*/ 1073655 w 1352046"/>
                <a:gd name="connsiteY733" fmla="*/ 456946 h 905809"/>
                <a:gd name="connsiteX734" fmla="*/ 1071159 w 1352046"/>
                <a:gd name="connsiteY734" fmla="*/ 456638 h 905809"/>
                <a:gd name="connsiteX735" fmla="*/ 1068576 w 1352046"/>
                <a:gd name="connsiteY735" fmla="*/ 456924 h 905809"/>
                <a:gd name="connsiteX736" fmla="*/ 1062759 w 1352046"/>
                <a:gd name="connsiteY736" fmla="*/ 460053 h 905809"/>
                <a:gd name="connsiteX737" fmla="*/ 1057086 w 1352046"/>
                <a:gd name="connsiteY737" fmla="*/ 462540 h 905809"/>
                <a:gd name="connsiteX738" fmla="*/ 1051137 w 1352046"/>
                <a:gd name="connsiteY738" fmla="*/ 464518 h 905809"/>
                <a:gd name="connsiteX739" fmla="*/ 1049142 w 1352046"/>
                <a:gd name="connsiteY739" fmla="*/ 465762 h 905809"/>
                <a:gd name="connsiteX740" fmla="*/ 1047730 w 1352046"/>
                <a:gd name="connsiteY740" fmla="*/ 466103 h 905809"/>
                <a:gd name="connsiteX741" fmla="*/ 1045266 w 1352046"/>
                <a:gd name="connsiteY741" fmla="*/ 465159 h 905809"/>
                <a:gd name="connsiteX742" fmla="*/ 1043769 w 1352046"/>
                <a:gd name="connsiteY742" fmla="*/ 465219 h 905809"/>
                <a:gd name="connsiteX743" fmla="*/ 1043456 w 1352046"/>
                <a:gd name="connsiteY743" fmla="*/ 465867 h 905809"/>
                <a:gd name="connsiteX744" fmla="*/ 1045357 w 1352046"/>
                <a:gd name="connsiteY744" fmla="*/ 467599 h 905809"/>
                <a:gd name="connsiteX745" fmla="*/ 1045852 w 1352046"/>
                <a:gd name="connsiteY745" fmla="*/ 468957 h 905809"/>
                <a:gd name="connsiteX746" fmla="*/ 1045648 w 1352046"/>
                <a:gd name="connsiteY746" fmla="*/ 469999 h 905809"/>
                <a:gd name="connsiteX747" fmla="*/ 1044571 w 1352046"/>
                <a:gd name="connsiteY747" fmla="*/ 470457 h 905809"/>
                <a:gd name="connsiteX748" fmla="*/ 1043003 w 1352046"/>
                <a:gd name="connsiteY748" fmla="*/ 469692 h 905809"/>
                <a:gd name="connsiteX749" fmla="*/ 1041573 w 1352046"/>
                <a:gd name="connsiteY749" fmla="*/ 470781 h 905809"/>
                <a:gd name="connsiteX750" fmla="*/ 1040925 w 1352046"/>
                <a:gd name="connsiteY750" fmla="*/ 472617 h 905809"/>
                <a:gd name="connsiteX751" fmla="*/ 1040898 w 1352046"/>
                <a:gd name="connsiteY751" fmla="*/ 476975 h 905809"/>
                <a:gd name="connsiteX752" fmla="*/ 1039946 w 1352046"/>
                <a:gd name="connsiteY752" fmla="*/ 477945 h 905809"/>
                <a:gd name="connsiteX753" fmla="*/ 1037324 w 1352046"/>
                <a:gd name="connsiteY753" fmla="*/ 478482 h 905809"/>
                <a:gd name="connsiteX754" fmla="*/ 1034532 w 1352046"/>
                <a:gd name="connsiteY754" fmla="*/ 479866 h 905809"/>
                <a:gd name="connsiteX755" fmla="*/ 1033541 w 1352046"/>
                <a:gd name="connsiteY755" fmla="*/ 479227 h 905809"/>
                <a:gd name="connsiteX756" fmla="*/ 1033143 w 1352046"/>
                <a:gd name="connsiteY756" fmla="*/ 478446 h 905809"/>
                <a:gd name="connsiteX757" fmla="*/ 1033435 w 1352046"/>
                <a:gd name="connsiteY757" fmla="*/ 476441 h 905809"/>
                <a:gd name="connsiteX758" fmla="*/ 1033087 w 1352046"/>
                <a:gd name="connsiteY758" fmla="*/ 475463 h 905809"/>
                <a:gd name="connsiteX759" fmla="*/ 1031814 w 1352046"/>
                <a:gd name="connsiteY759" fmla="*/ 475514 h 905809"/>
                <a:gd name="connsiteX760" fmla="*/ 1029894 w 1352046"/>
                <a:gd name="connsiteY760" fmla="*/ 476113 h 905809"/>
                <a:gd name="connsiteX761" fmla="*/ 1028427 w 1352046"/>
                <a:gd name="connsiteY761" fmla="*/ 477431 h 905809"/>
                <a:gd name="connsiteX762" fmla="*/ 1027922 w 1352046"/>
                <a:gd name="connsiteY762" fmla="*/ 478224 h 905809"/>
                <a:gd name="connsiteX763" fmla="*/ 1029852 w 1352046"/>
                <a:gd name="connsiteY763" fmla="*/ 480785 h 905809"/>
                <a:gd name="connsiteX764" fmla="*/ 1031694 w 1352046"/>
                <a:gd name="connsiteY764" fmla="*/ 481044 h 905809"/>
                <a:gd name="connsiteX765" fmla="*/ 1032137 w 1352046"/>
                <a:gd name="connsiteY765" fmla="*/ 481619 h 905809"/>
                <a:gd name="connsiteX766" fmla="*/ 1030683 w 1352046"/>
                <a:gd name="connsiteY766" fmla="*/ 482867 h 905809"/>
                <a:gd name="connsiteX767" fmla="*/ 1027050 w 1352046"/>
                <a:gd name="connsiteY767" fmla="*/ 484728 h 905809"/>
                <a:gd name="connsiteX768" fmla="*/ 1026447 w 1352046"/>
                <a:gd name="connsiteY768" fmla="*/ 486284 h 905809"/>
                <a:gd name="connsiteX769" fmla="*/ 1025370 w 1352046"/>
                <a:gd name="connsiteY769" fmla="*/ 487774 h 905809"/>
                <a:gd name="connsiteX770" fmla="*/ 1023888 w 1352046"/>
                <a:gd name="connsiteY770" fmla="*/ 488958 h 905809"/>
                <a:gd name="connsiteX771" fmla="*/ 1022882 w 1352046"/>
                <a:gd name="connsiteY771" fmla="*/ 490205 h 905809"/>
                <a:gd name="connsiteX772" fmla="*/ 1021651 w 1352046"/>
                <a:gd name="connsiteY772" fmla="*/ 490858 h 905809"/>
                <a:gd name="connsiteX773" fmla="*/ 1019643 w 1352046"/>
                <a:gd name="connsiteY773" fmla="*/ 491587 h 905809"/>
                <a:gd name="connsiteX774" fmla="*/ 1017181 w 1352046"/>
                <a:gd name="connsiteY774" fmla="*/ 494576 h 905809"/>
                <a:gd name="connsiteX775" fmla="*/ 1015370 w 1352046"/>
                <a:gd name="connsiteY775" fmla="*/ 497371 h 905809"/>
                <a:gd name="connsiteX776" fmla="*/ 1013229 w 1352046"/>
                <a:gd name="connsiteY776" fmla="*/ 498806 h 905809"/>
                <a:gd name="connsiteX777" fmla="*/ 1011530 w 1352046"/>
                <a:gd name="connsiteY777" fmla="*/ 503512 h 905809"/>
                <a:gd name="connsiteX778" fmla="*/ 1008500 w 1352046"/>
                <a:gd name="connsiteY778" fmla="*/ 506069 h 905809"/>
                <a:gd name="connsiteX779" fmla="*/ 1007384 w 1352046"/>
                <a:gd name="connsiteY779" fmla="*/ 510147 h 905809"/>
                <a:gd name="connsiteX780" fmla="*/ 1008172 w 1352046"/>
                <a:gd name="connsiteY780" fmla="*/ 512658 h 905809"/>
                <a:gd name="connsiteX781" fmla="*/ 1011498 w 1352046"/>
                <a:gd name="connsiteY781" fmla="*/ 512633 h 905809"/>
                <a:gd name="connsiteX782" fmla="*/ 1013164 w 1352046"/>
                <a:gd name="connsiteY782" fmla="*/ 513514 h 905809"/>
                <a:gd name="connsiteX783" fmla="*/ 1016618 w 1352046"/>
                <a:gd name="connsiteY783" fmla="*/ 516810 h 905809"/>
                <a:gd name="connsiteX784" fmla="*/ 1020748 w 1352046"/>
                <a:gd name="connsiteY784" fmla="*/ 518957 h 905809"/>
                <a:gd name="connsiteX785" fmla="*/ 1025037 w 1352046"/>
                <a:gd name="connsiteY785" fmla="*/ 520164 h 905809"/>
                <a:gd name="connsiteX786" fmla="*/ 1030295 w 1352046"/>
                <a:gd name="connsiteY786" fmla="*/ 523209 h 905809"/>
                <a:gd name="connsiteX787" fmla="*/ 1031738 w 1352046"/>
                <a:gd name="connsiteY787" fmla="*/ 524496 h 905809"/>
                <a:gd name="connsiteX788" fmla="*/ 1032975 w 1352046"/>
                <a:gd name="connsiteY788" fmla="*/ 527111 h 905809"/>
                <a:gd name="connsiteX789" fmla="*/ 1035253 w 1352046"/>
                <a:gd name="connsiteY789" fmla="*/ 534638 h 905809"/>
                <a:gd name="connsiteX790" fmla="*/ 1036892 w 1352046"/>
                <a:gd name="connsiteY790" fmla="*/ 538357 h 905809"/>
                <a:gd name="connsiteX791" fmla="*/ 1037002 w 1352046"/>
                <a:gd name="connsiteY791" fmla="*/ 540299 h 905809"/>
                <a:gd name="connsiteX792" fmla="*/ 1039453 w 1352046"/>
                <a:gd name="connsiteY792" fmla="*/ 543958 h 905809"/>
                <a:gd name="connsiteX793" fmla="*/ 1042081 w 1352046"/>
                <a:gd name="connsiteY793" fmla="*/ 550242 h 905809"/>
                <a:gd name="connsiteX794" fmla="*/ 1045102 w 1352046"/>
                <a:gd name="connsiteY794" fmla="*/ 555681 h 905809"/>
                <a:gd name="connsiteX795" fmla="*/ 1045683 w 1352046"/>
                <a:gd name="connsiteY795" fmla="*/ 559957 h 905809"/>
                <a:gd name="connsiteX796" fmla="*/ 1044703 w 1352046"/>
                <a:gd name="connsiteY796" fmla="*/ 561907 h 905809"/>
                <a:gd name="connsiteX797" fmla="*/ 1044707 w 1352046"/>
                <a:gd name="connsiteY797" fmla="*/ 564438 h 905809"/>
                <a:gd name="connsiteX798" fmla="*/ 1047730 w 1352046"/>
                <a:gd name="connsiteY798" fmla="*/ 566761 h 905809"/>
                <a:gd name="connsiteX799" fmla="*/ 1054439 w 1352046"/>
                <a:gd name="connsiteY799" fmla="*/ 569460 h 905809"/>
                <a:gd name="connsiteX800" fmla="*/ 1055508 w 1352046"/>
                <a:gd name="connsiteY800" fmla="*/ 570254 h 905809"/>
                <a:gd name="connsiteX801" fmla="*/ 1056819 w 1352046"/>
                <a:gd name="connsiteY801" fmla="*/ 571560 h 905809"/>
                <a:gd name="connsiteX802" fmla="*/ 1056883 w 1352046"/>
                <a:gd name="connsiteY802" fmla="*/ 575630 h 905809"/>
                <a:gd name="connsiteX803" fmla="*/ 1057920 w 1352046"/>
                <a:gd name="connsiteY803" fmla="*/ 576930 h 905809"/>
                <a:gd name="connsiteX804" fmla="*/ 1058799 w 1352046"/>
                <a:gd name="connsiteY804" fmla="*/ 577721 h 905809"/>
                <a:gd name="connsiteX805" fmla="*/ 1062861 w 1352046"/>
                <a:gd name="connsiteY805" fmla="*/ 579439 h 905809"/>
                <a:gd name="connsiteX806" fmla="*/ 1064560 w 1352046"/>
                <a:gd name="connsiteY806" fmla="*/ 580866 h 905809"/>
                <a:gd name="connsiteX807" fmla="*/ 1066359 w 1352046"/>
                <a:gd name="connsiteY807" fmla="*/ 583148 h 905809"/>
                <a:gd name="connsiteX808" fmla="*/ 1066888 w 1352046"/>
                <a:gd name="connsiteY808" fmla="*/ 585188 h 905809"/>
                <a:gd name="connsiteX809" fmla="*/ 1067108 w 1352046"/>
                <a:gd name="connsiteY809" fmla="*/ 587952 h 905809"/>
                <a:gd name="connsiteX810" fmla="*/ 1064836 w 1352046"/>
                <a:gd name="connsiteY810" fmla="*/ 588051 h 905809"/>
                <a:gd name="connsiteX811" fmla="*/ 1063008 w 1352046"/>
                <a:gd name="connsiteY811" fmla="*/ 587742 h 905809"/>
                <a:gd name="connsiteX812" fmla="*/ 1055735 w 1352046"/>
                <a:gd name="connsiteY812" fmla="*/ 584152 h 905809"/>
                <a:gd name="connsiteX813" fmla="*/ 1053843 w 1352046"/>
                <a:gd name="connsiteY813" fmla="*/ 584056 h 905809"/>
                <a:gd name="connsiteX814" fmla="*/ 1051176 w 1352046"/>
                <a:gd name="connsiteY814" fmla="*/ 584555 h 905809"/>
                <a:gd name="connsiteX815" fmla="*/ 1047367 w 1352046"/>
                <a:gd name="connsiteY815" fmla="*/ 583892 h 905809"/>
                <a:gd name="connsiteX816" fmla="*/ 1043346 w 1352046"/>
                <a:gd name="connsiteY816" fmla="*/ 579913 h 905809"/>
                <a:gd name="connsiteX817" fmla="*/ 1040446 w 1352046"/>
                <a:gd name="connsiteY817" fmla="*/ 578703 h 905809"/>
                <a:gd name="connsiteX818" fmla="*/ 1037341 w 1352046"/>
                <a:gd name="connsiteY818" fmla="*/ 578095 h 905809"/>
                <a:gd name="connsiteX819" fmla="*/ 1029911 w 1352046"/>
                <a:gd name="connsiteY819" fmla="*/ 581520 h 905809"/>
                <a:gd name="connsiteX820" fmla="*/ 1028023 w 1352046"/>
                <a:gd name="connsiteY820" fmla="*/ 581280 h 905809"/>
                <a:gd name="connsiteX821" fmla="*/ 1027475 w 1352046"/>
                <a:gd name="connsiteY821" fmla="*/ 581665 h 905809"/>
                <a:gd name="connsiteX822" fmla="*/ 1026635 w 1352046"/>
                <a:gd name="connsiteY822" fmla="*/ 582253 h 905809"/>
                <a:gd name="connsiteX823" fmla="*/ 1030077 w 1352046"/>
                <a:gd name="connsiteY823" fmla="*/ 582987 h 905809"/>
                <a:gd name="connsiteX824" fmla="*/ 1033524 w 1352046"/>
                <a:gd name="connsiteY824" fmla="*/ 581865 h 905809"/>
                <a:gd name="connsiteX825" fmla="*/ 1036833 w 1352046"/>
                <a:gd name="connsiteY825" fmla="*/ 580205 h 905809"/>
                <a:gd name="connsiteX826" fmla="*/ 1041662 w 1352046"/>
                <a:gd name="connsiteY826" fmla="*/ 581089 h 905809"/>
                <a:gd name="connsiteX827" fmla="*/ 1042474 w 1352046"/>
                <a:gd name="connsiteY827" fmla="*/ 582582 h 905809"/>
                <a:gd name="connsiteX828" fmla="*/ 1043260 w 1352046"/>
                <a:gd name="connsiteY828" fmla="*/ 585107 h 905809"/>
                <a:gd name="connsiteX829" fmla="*/ 1046570 w 1352046"/>
                <a:gd name="connsiteY829" fmla="*/ 586811 h 905809"/>
                <a:gd name="connsiteX830" fmla="*/ 1049177 w 1352046"/>
                <a:gd name="connsiteY830" fmla="*/ 587564 h 905809"/>
                <a:gd name="connsiteX831" fmla="*/ 1052483 w 1352046"/>
                <a:gd name="connsiteY831" fmla="*/ 589799 h 905809"/>
                <a:gd name="connsiteX832" fmla="*/ 1055713 w 1352046"/>
                <a:gd name="connsiteY832" fmla="*/ 593288 h 905809"/>
                <a:gd name="connsiteX833" fmla="*/ 1062561 w 1352046"/>
                <a:gd name="connsiteY833" fmla="*/ 597333 h 905809"/>
                <a:gd name="connsiteX834" fmla="*/ 1065331 w 1352046"/>
                <a:gd name="connsiteY834" fmla="*/ 601159 h 905809"/>
                <a:gd name="connsiteX835" fmla="*/ 1066405 w 1352046"/>
                <a:gd name="connsiteY835" fmla="*/ 603628 h 905809"/>
                <a:gd name="connsiteX836" fmla="*/ 1067365 w 1352046"/>
                <a:gd name="connsiteY836" fmla="*/ 607151 h 905809"/>
                <a:gd name="connsiteX837" fmla="*/ 1064966 w 1352046"/>
                <a:gd name="connsiteY837" fmla="*/ 608286 h 905809"/>
                <a:gd name="connsiteX838" fmla="*/ 1062882 w 1352046"/>
                <a:gd name="connsiteY838" fmla="*/ 608446 h 905809"/>
                <a:gd name="connsiteX839" fmla="*/ 1059617 w 1352046"/>
                <a:gd name="connsiteY839" fmla="*/ 609001 h 905809"/>
                <a:gd name="connsiteX840" fmla="*/ 1057216 w 1352046"/>
                <a:gd name="connsiteY840" fmla="*/ 610246 h 905809"/>
                <a:gd name="connsiteX841" fmla="*/ 1054806 w 1352046"/>
                <a:gd name="connsiteY841" fmla="*/ 612437 h 905809"/>
                <a:gd name="connsiteX842" fmla="*/ 1047901 w 1352046"/>
                <a:gd name="connsiteY842" fmla="*/ 615874 h 905809"/>
                <a:gd name="connsiteX843" fmla="*/ 1046588 w 1352046"/>
                <a:gd name="connsiteY843" fmla="*/ 618024 h 905809"/>
                <a:gd name="connsiteX844" fmla="*/ 1045685 w 1352046"/>
                <a:gd name="connsiteY844" fmla="*/ 619895 h 905809"/>
                <a:gd name="connsiteX845" fmla="*/ 1044005 w 1352046"/>
                <a:gd name="connsiteY845" fmla="*/ 620817 h 905809"/>
                <a:gd name="connsiteX846" fmla="*/ 1039770 w 1352046"/>
                <a:gd name="connsiteY846" fmla="*/ 619938 h 905809"/>
                <a:gd name="connsiteX847" fmla="*/ 1035786 w 1352046"/>
                <a:gd name="connsiteY847" fmla="*/ 620011 h 905809"/>
                <a:gd name="connsiteX848" fmla="*/ 1031269 w 1352046"/>
                <a:gd name="connsiteY848" fmla="*/ 622541 h 905809"/>
                <a:gd name="connsiteX849" fmla="*/ 1030144 w 1352046"/>
                <a:gd name="connsiteY849" fmla="*/ 623565 h 905809"/>
                <a:gd name="connsiteX850" fmla="*/ 1030894 w 1352046"/>
                <a:gd name="connsiteY850" fmla="*/ 623365 h 905809"/>
                <a:gd name="connsiteX851" fmla="*/ 1031601 w 1352046"/>
                <a:gd name="connsiteY851" fmla="*/ 623038 h 905809"/>
                <a:gd name="connsiteX852" fmla="*/ 1033636 w 1352046"/>
                <a:gd name="connsiteY852" fmla="*/ 623417 h 905809"/>
                <a:gd name="connsiteX853" fmla="*/ 1036775 w 1352046"/>
                <a:gd name="connsiteY853" fmla="*/ 622067 h 905809"/>
                <a:gd name="connsiteX854" fmla="*/ 1039846 w 1352046"/>
                <a:gd name="connsiteY854" fmla="*/ 626186 h 905809"/>
                <a:gd name="connsiteX855" fmla="*/ 1045841 w 1352046"/>
                <a:gd name="connsiteY855" fmla="*/ 625520 h 905809"/>
                <a:gd name="connsiteX856" fmla="*/ 1051477 w 1352046"/>
                <a:gd name="connsiteY856" fmla="*/ 622099 h 905809"/>
                <a:gd name="connsiteX857" fmla="*/ 1053658 w 1352046"/>
                <a:gd name="connsiteY857" fmla="*/ 622042 h 905809"/>
                <a:gd name="connsiteX858" fmla="*/ 1055484 w 1352046"/>
                <a:gd name="connsiteY858" fmla="*/ 622569 h 905809"/>
                <a:gd name="connsiteX859" fmla="*/ 1057521 w 1352046"/>
                <a:gd name="connsiteY859" fmla="*/ 623920 h 905809"/>
                <a:gd name="connsiteX860" fmla="*/ 1062943 w 1352046"/>
                <a:gd name="connsiteY860" fmla="*/ 629916 h 905809"/>
                <a:gd name="connsiteX861" fmla="*/ 1065914 w 1352046"/>
                <a:gd name="connsiteY861" fmla="*/ 630568 h 905809"/>
                <a:gd name="connsiteX862" fmla="*/ 1068834 w 1352046"/>
                <a:gd name="connsiteY862" fmla="*/ 631973 h 905809"/>
                <a:gd name="connsiteX863" fmla="*/ 1070447 w 1352046"/>
                <a:gd name="connsiteY863" fmla="*/ 632128 h 905809"/>
                <a:gd name="connsiteX864" fmla="*/ 1071898 w 1352046"/>
                <a:gd name="connsiteY864" fmla="*/ 632547 h 905809"/>
                <a:gd name="connsiteX865" fmla="*/ 1067980 w 1352046"/>
                <a:gd name="connsiteY865" fmla="*/ 634739 h 905809"/>
                <a:gd name="connsiteX866" fmla="*/ 1062912 w 1352046"/>
                <a:gd name="connsiteY866" fmla="*/ 639471 h 905809"/>
                <a:gd name="connsiteX867" fmla="*/ 1060658 w 1352046"/>
                <a:gd name="connsiteY867" fmla="*/ 640600 h 905809"/>
                <a:gd name="connsiteX868" fmla="*/ 1059147 w 1352046"/>
                <a:gd name="connsiteY868" fmla="*/ 641866 h 905809"/>
                <a:gd name="connsiteX869" fmla="*/ 1063219 w 1352046"/>
                <a:gd name="connsiteY869" fmla="*/ 641229 h 905809"/>
                <a:gd name="connsiteX870" fmla="*/ 1066125 w 1352046"/>
                <a:gd name="connsiteY870" fmla="*/ 638968 h 905809"/>
                <a:gd name="connsiteX871" fmla="*/ 1067587 w 1352046"/>
                <a:gd name="connsiteY871" fmla="*/ 638409 h 905809"/>
                <a:gd name="connsiteX872" fmla="*/ 1068765 w 1352046"/>
                <a:gd name="connsiteY872" fmla="*/ 638937 h 905809"/>
                <a:gd name="connsiteX873" fmla="*/ 1069365 w 1352046"/>
                <a:gd name="connsiteY873" fmla="*/ 641720 h 905809"/>
                <a:gd name="connsiteX874" fmla="*/ 1068246 w 1352046"/>
                <a:gd name="connsiteY874" fmla="*/ 650291 h 905809"/>
                <a:gd name="connsiteX875" fmla="*/ 1066825 w 1352046"/>
                <a:gd name="connsiteY875" fmla="*/ 650438 h 905809"/>
                <a:gd name="connsiteX876" fmla="*/ 1065439 w 1352046"/>
                <a:gd name="connsiteY876" fmla="*/ 648108 h 905809"/>
                <a:gd name="connsiteX877" fmla="*/ 1063817 w 1352046"/>
                <a:gd name="connsiteY877" fmla="*/ 647369 h 905809"/>
                <a:gd name="connsiteX878" fmla="*/ 1062457 w 1352046"/>
                <a:gd name="connsiteY878" fmla="*/ 647856 h 905809"/>
                <a:gd name="connsiteX879" fmla="*/ 1059754 w 1352046"/>
                <a:gd name="connsiteY879" fmla="*/ 647842 h 905809"/>
                <a:gd name="connsiteX880" fmla="*/ 1058724 w 1352046"/>
                <a:gd name="connsiteY880" fmla="*/ 648891 h 905809"/>
                <a:gd name="connsiteX881" fmla="*/ 1057851 w 1352046"/>
                <a:gd name="connsiteY881" fmla="*/ 650380 h 905809"/>
                <a:gd name="connsiteX882" fmla="*/ 1059471 w 1352046"/>
                <a:gd name="connsiteY882" fmla="*/ 650690 h 905809"/>
                <a:gd name="connsiteX883" fmla="*/ 1062656 w 1352046"/>
                <a:gd name="connsiteY883" fmla="*/ 653286 h 905809"/>
                <a:gd name="connsiteX884" fmla="*/ 1062981 w 1352046"/>
                <a:gd name="connsiteY884" fmla="*/ 654668 h 905809"/>
                <a:gd name="connsiteX885" fmla="*/ 1062126 w 1352046"/>
                <a:gd name="connsiteY885" fmla="*/ 655563 h 905809"/>
                <a:gd name="connsiteX886" fmla="*/ 1059893 w 1352046"/>
                <a:gd name="connsiteY886" fmla="*/ 655179 h 905809"/>
                <a:gd name="connsiteX887" fmla="*/ 1062602 w 1352046"/>
                <a:gd name="connsiteY887" fmla="*/ 657114 h 905809"/>
                <a:gd name="connsiteX888" fmla="*/ 1061885 w 1352046"/>
                <a:gd name="connsiteY888" fmla="*/ 659120 h 905809"/>
                <a:gd name="connsiteX889" fmla="*/ 1061006 w 1352046"/>
                <a:gd name="connsiteY889" fmla="*/ 659916 h 905809"/>
                <a:gd name="connsiteX890" fmla="*/ 1059432 w 1352046"/>
                <a:gd name="connsiteY890" fmla="*/ 660423 h 905809"/>
                <a:gd name="connsiteX891" fmla="*/ 1058460 w 1352046"/>
                <a:gd name="connsiteY891" fmla="*/ 662158 h 905809"/>
                <a:gd name="connsiteX892" fmla="*/ 1059851 w 1352046"/>
                <a:gd name="connsiteY892" fmla="*/ 665045 h 905809"/>
                <a:gd name="connsiteX893" fmla="*/ 1061265 w 1352046"/>
                <a:gd name="connsiteY893" fmla="*/ 668750 h 905809"/>
                <a:gd name="connsiteX894" fmla="*/ 1061440 w 1352046"/>
                <a:gd name="connsiteY894" fmla="*/ 670534 h 905809"/>
                <a:gd name="connsiteX895" fmla="*/ 1059229 w 1352046"/>
                <a:gd name="connsiteY895" fmla="*/ 669765 h 905809"/>
                <a:gd name="connsiteX896" fmla="*/ 1055794 w 1352046"/>
                <a:gd name="connsiteY896" fmla="*/ 672026 h 905809"/>
                <a:gd name="connsiteX897" fmla="*/ 1053973 w 1352046"/>
                <a:gd name="connsiteY897" fmla="*/ 672212 h 905809"/>
                <a:gd name="connsiteX898" fmla="*/ 1052746 w 1352046"/>
                <a:gd name="connsiteY898" fmla="*/ 669239 h 905809"/>
                <a:gd name="connsiteX899" fmla="*/ 1051174 w 1352046"/>
                <a:gd name="connsiteY899" fmla="*/ 669707 h 905809"/>
                <a:gd name="connsiteX900" fmla="*/ 1050129 w 1352046"/>
                <a:gd name="connsiteY900" fmla="*/ 670573 h 905809"/>
                <a:gd name="connsiteX901" fmla="*/ 1048736 w 1352046"/>
                <a:gd name="connsiteY901" fmla="*/ 673764 h 905809"/>
                <a:gd name="connsiteX902" fmla="*/ 1047037 w 1352046"/>
                <a:gd name="connsiteY902" fmla="*/ 676642 h 905809"/>
                <a:gd name="connsiteX903" fmla="*/ 1045575 w 1352046"/>
                <a:gd name="connsiteY903" fmla="*/ 677434 h 905809"/>
                <a:gd name="connsiteX904" fmla="*/ 1043817 w 1352046"/>
                <a:gd name="connsiteY904" fmla="*/ 677207 h 905809"/>
                <a:gd name="connsiteX905" fmla="*/ 1042373 w 1352046"/>
                <a:gd name="connsiteY905" fmla="*/ 677289 h 905809"/>
                <a:gd name="connsiteX906" fmla="*/ 1042722 w 1352046"/>
                <a:gd name="connsiteY906" fmla="*/ 678067 h 905809"/>
                <a:gd name="connsiteX907" fmla="*/ 1044260 w 1352046"/>
                <a:gd name="connsiteY907" fmla="*/ 679015 h 905809"/>
                <a:gd name="connsiteX908" fmla="*/ 1044260 w 1352046"/>
                <a:gd name="connsiteY908" fmla="*/ 680122 h 905809"/>
                <a:gd name="connsiteX909" fmla="*/ 1040991 w 1352046"/>
                <a:gd name="connsiteY909" fmla="*/ 683632 h 905809"/>
                <a:gd name="connsiteX910" fmla="*/ 1040463 w 1352046"/>
                <a:gd name="connsiteY910" fmla="*/ 684985 h 905809"/>
                <a:gd name="connsiteX911" fmla="*/ 1040541 w 1352046"/>
                <a:gd name="connsiteY911" fmla="*/ 686141 h 905809"/>
                <a:gd name="connsiteX912" fmla="*/ 1038831 w 1352046"/>
                <a:gd name="connsiteY912" fmla="*/ 687542 h 905809"/>
                <a:gd name="connsiteX913" fmla="*/ 1039751 w 1352046"/>
                <a:gd name="connsiteY913" fmla="*/ 689895 h 905809"/>
                <a:gd name="connsiteX914" fmla="*/ 1039274 w 1352046"/>
                <a:gd name="connsiteY914" fmla="*/ 691557 h 905809"/>
                <a:gd name="connsiteX915" fmla="*/ 1037777 w 1352046"/>
                <a:gd name="connsiteY915" fmla="*/ 693798 h 905809"/>
                <a:gd name="connsiteX916" fmla="*/ 1036203 w 1352046"/>
                <a:gd name="connsiteY916" fmla="*/ 695278 h 905809"/>
                <a:gd name="connsiteX917" fmla="*/ 1034344 w 1352046"/>
                <a:gd name="connsiteY917" fmla="*/ 697676 h 905809"/>
                <a:gd name="connsiteX918" fmla="*/ 1032004 w 1352046"/>
                <a:gd name="connsiteY918" fmla="*/ 699067 h 905809"/>
                <a:gd name="connsiteX919" fmla="*/ 1028904 w 1352046"/>
                <a:gd name="connsiteY919" fmla="*/ 704083 h 905809"/>
                <a:gd name="connsiteX920" fmla="*/ 1027995 w 1352046"/>
                <a:gd name="connsiteY920" fmla="*/ 706589 h 905809"/>
                <a:gd name="connsiteX921" fmla="*/ 1027758 w 1352046"/>
                <a:gd name="connsiteY921" fmla="*/ 709180 h 905809"/>
                <a:gd name="connsiteX922" fmla="*/ 1026791 w 1352046"/>
                <a:gd name="connsiteY922" fmla="*/ 710076 h 905809"/>
                <a:gd name="connsiteX923" fmla="*/ 1025128 w 1352046"/>
                <a:gd name="connsiteY923" fmla="*/ 711202 h 905809"/>
                <a:gd name="connsiteX924" fmla="*/ 1023236 w 1352046"/>
                <a:gd name="connsiteY924" fmla="*/ 710631 h 905809"/>
                <a:gd name="connsiteX925" fmla="*/ 1023175 w 1352046"/>
                <a:gd name="connsiteY925" fmla="*/ 708908 h 905809"/>
                <a:gd name="connsiteX926" fmla="*/ 1022355 w 1352046"/>
                <a:gd name="connsiteY926" fmla="*/ 708759 h 905809"/>
                <a:gd name="connsiteX927" fmla="*/ 1021889 w 1352046"/>
                <a:gd name="connsiteY927" fmla="*/ 707629 h 905809"/>
                <a:gd name="connsiteX928" fmla="*/ 1021752 w 1352046"/>
                <a:gd name="connsiteY928" fmla="*/ 706187 h 905809"/>
                <a:gd name="connsiteX929" fmla="*/ 1021954 w 1352046"/>
                <a:gd name="connsiteY929" fmla="*/ 705028 h 905809"/>
                <a:gd name="connsiteX930" fmla="*/ 1021168 w 1352046"/>
                <a:gd name="connsiteY930" fmla="*/ 705382 h 905809"/>
                <a:gd name="connsiteX931" fmla="*/ 1020682 w 1352046"/>
                <a:gd name="connsiteY931" fmla="*/ 706731 h 905809"/>
                <a:gd name="connsiteX932" fmla="*/ 1019438 w 1352046"/>
                <a:gd name="connsiteY932" fmla="*/ 707824 h 905809"/>
                <a:gd name="connsiteX933" fmla="*/ 1018135 w 1352046"/>
                <a:gd name="connsiteY933" fmla="*/ 707383 h 905809"/>
                <a:gd name="connsiteX934" fmla="*/ 1016734 w 1352046"/>
                <a:gd name="connsiteY934" fmla="*/ 706487 h 905809"/>
                <a:gd name="connsiteX935" fmla="*/ 1016773 w 1352046"/>
                <a:gd name="connsiteY935" fmla="*/ 707782 h 905809"/>
                <a:gd name="connsiteX936" fmla="*/ 1017518 w 1352046"/>
                <a:gd name="connsiteY936" fmla="*/ 709078 h 905809"/>
                <a:gd name="connsiteX937" fmla="*/ 1017840 w 1352046"/>
                <a:gd name="connsiteY937" fmla="*/ 710376 h 905809"/>
                <a:gd name="connsiteX938" fmla="*/ 1019781 w 1352046"/>
                <a:gd name="connsiteY938" fmla="*/ 710655 h 905809"/>
                <a:gd name="connsiteX939" fmla="*/ 1021081 w 1352046"/>
                <a:gd name="connsiteY939" fmla="*/ 712145 h 905809"/>
                <a:gd name="connsiteX940" fmla="*/ 1022106 w 1352046"/>
                <a:gd name="connsiteY940" fmla="*/ 714432 h 905809"/>
                <a:gd name="connsiteX941" fmla="*/ 1022310 w 1352046"/>
                <a:gd name="connsiteY941" fmla="*/ 715287 h 905809"/>
                <a:gd name="connsiteX942" fmla="*/ 1023109 w 1352046"/>
                <a:gd name="connsiteY942" fmla="*/ 716311 h 905809"/>
                <a:gd name="connsiteX943" fmla="*/ 1023210 w 1352046"/>
                <a:gd name="connsiteY943" fmla="*/ 717182 h 905809"/>
                <a:gd name="connsiteX944" fmla="*/ 1021358 w 1352046"/>
                <a:gd name="connsiteY944" fmla="*/ 717988 h 905809"/>
                <a:gd name="connsiteX945" fmla="*/ 1019045 w 1352046"/>
                <a:gd name="connsiteY945" fmla="*/ 719498 h 905809"/>
                <a:gd name="connsiteX946" fmla="*/ 1016268 w 1352046"/>
                <a:gd name="connsiteY946" fmla="*/ 722080 h 905809"/>
                <a:gd name="connsiteX947" fmla="*/ 1013968 w 1352046"/>
                <a:gd name="connsiteY947" fmla="*/ 723800 h 905809"/>
                <a:gd name="connsiteX948" fmla="*/ 1011904 w 1352046"/>
                <a:gd name="connsiteY948" fmla="*/ 723815 h 905809"/>
                <a:gd name="connsiteX949" fmla="*/ 1010651 w 1352046"/>
                <a:gd name="connsiteY949" fmla="*/ 723614 h 905809"/>
                <a:gd name="connsiteX950" fmla="*/ 1008861 w 1352046"/>
                <a:gd name="connsiteY950" fmla="*/ 722624 h 905809"/>
                <a:gd name="connsiteX951" fmla="*/ 1006812 w 1352046"/>
                <a:gd name="connsiteY951" fmla="*/ 722212 h 905809"/>
                <a:gd name="connsiteX952" fmla="*/ 1009561 w 1352046"/>
                <a:gd name="connsiteY952" fmla="*/ 725690 h 905809"/>
                <a:gd name="connsiteX953" fmla="*/ 1011070 w 1352046"/>
                <a:gd name="connsiteY953" fmla="*/ 726306 h 905809"/>
                <a:gd name="connsiteX954" fmla="*/ 1012966 w 1352046"/>
                <a:gd name="connsiteY954" fmla="*/ 726174 h 905809"/>
                <a:gd name="connsiteX955" fmla="*/ 1014804 w 1352046"/>
                <a:gd name="connsiteY955" fmla="*/ 724877 h 905809"/>
                <a:gd name="connsiteX956" fmla="*/ 1017410 w 1352046"/>
                <a:gd name="connsiteY956" fmla="*/ 725009 h 905809"/>
                <a:gd name="connsiteX957" fmla="*/ 1018062 w 1352046"/>
                <a:gd name="connsiteY957" fmla="*/ 727017 h 905809"/>
                <a:gd name="connsiteX958" fmla="*/ 1017369 w 1352046"/>
                <a:gd name="connsiteY958" fmla="*/ 729281 h 905809"/>
                <a:gd name="connsiteX959" fmla="*/ 1015953 w 1352046"/>
                <a:gd name="connsiteY959" fmla="*/ 732215 h 905809"/>
                <a:gd name="connsiteX960" fmla="*/ 1015656 w 1352046"/>
                <a:gd name="connsiteY960" fmla="*/ 734752 h 905809"/>
                <a:gd name="connsiteX961" fmla="*/ 1017418 w 1352046"/>
                <a:gd name="connsiteY961" fmla="*/ 738381 h 905809"/>
                <a:gd name="connsiteX962" fmla="*/ 1017492 w 1352046"/>
                <a:gd name="connsiteY962" fmla="*/ 739472 h 905809"/>
                <a:gd name="connsiteX963" fmla="*/ 1016835 w 1352046"/>
                <a:gd name="connsiteY963" fmla="*/ 740018 h 905809"/>
                <a:gd name="connsiteX964" fmla="*/ 1014767 w 1352046"/>
                <a:gd name="connsiteY964" fmla="*/ 739060 h 905809"/>
                <a:gd name="connsiteX965" fmla="*/ 1013054 w 1352046"/>
                <a:gd name="connsiteY965" fmla="*/ 737858 h 905809"/>
                <a:gd name="connsiteX966" fmla="*/ 1011329 w 1352046"/>
                <a:gd name="connsiteY966" fmla="*/ 738172 h 905809"/>
                <a:gd name="connsiteX967" fmla="*/ 1009545 w 1352046"/>
                <a:gd name="connsiteY967" fmla="*/ 737660 h 905809"/>
                <a:gd name="connsiteX968" fmla="*/ 1007710 w 1352046"/>
                <a:gd name="connsiteY968" fmla="*/ 738089 h 905809"/>
                <a:gd name="connsiteX969" fmla="*/ 1006963 w 1352046"/>
                <a:gd name="connsiteY969" fmla="*/ 738926 h 905809"/>
                <a:gd name="connsiteX970" fmla="*/ 1007472 w 1352046"/>
                <a:gd name="connsiteY970" fmla="*/ 740308 h 905809"/>
                <a:gd name="connsiteX971" fmla="*/ 1009113 w 1352046"/>
                <a:gd name="connsiteY971" fmla="*/ 741455 h 905809"/>
                <a:gd name="connsiteX972" fmla="*/ 1010042 w 1352046"/>
                <a:gd name="connsiteY972" fmla="*/ 743218 h 905809"/>
                <a:gd name="connsiteX973" fmla="*/ 1008937 w 1352046"/>
                <a:gd name="connsiteY973" fmla="*/ 743837 h 905809"/>
                <a:gd name="connsiteX974" fmla="*/ 1004273 w 1352046"/>
                <a:gd name="connsiteY974" fmla="*/ 743425 h 905809"/>
                <a:gd name="connsiteX975" fmla="*/ 1003232 w 1352046"/>
                <a:gd name="connsiteY975" fmla="*/ 743759 h 905809"/>
                <a:gd name="connsiteX976" fmla="*/ 1001836 w 1352046"/>
                <a:gd name="connsiteY976" fmla="*/ 745701 h 905809"/>
                <a:gd name="connsiteX977" fmla="*/ 1002748 w 1352046"/>
                <a:gd name="connsiteY977" fmla="*/ 748573 h 905809"/>
                <a:gd name="connsiteX978" fmla="*/ 1001718 w 1352046"/>
                <a:gd name="connsiteY978" fmla="*/ 750358 h 905809"/>
                <a:gd name="connsiteX979" fmla="*/ 999794 w 1352046"/>
                <a:gd name="connsiteY979" fmla="*/ 750776 h 905809"/>
                <a:gd name="connsiteX980" fmla="*/ 997261 w 1352046"/>
                <a:gd name="connsiteY980" fmla="*/ 752219 h 905809"/>
                <a:gd name="connsiteX981" fmla="*/ 995700 w 1352046"/>
                <a:gd name="connsiteY981" fmla="*/ 752554 h 905809"/>
                <a:gd name="connsiteX982" fmla="*/ 995773 w 1352046"/>
                <a:gd name="connsiteY982" fmla="*/ 753176 h 905809"/>
                <a:gd name="connsiteX983" fmla="*/ 996913 w 1352046"/>
                <a:gd name="connsiteY983" fmla="*/ 753805 h 905809"/>
                <a:gd name="connsiteX984" fmla="*/ 997518 w 1352046"/>
                <a:gd name="connsiteY984" fmla="*/ 754656 h 905809"/>
                <a:gd name="connsiteX985" fmla="*/ 996144 w 1352046"/>
                <a:gd name="connsiteY985" fmla="*/ 757585 h 905809"/>
                <a:gd name="connsiteX986" fmla="*/ 994007 w 1352046"/>
                <a:gd name="connsiteY986" fmla="*/ 758549 h 905809"/>
                <a:gd name="connsiteX987" fmla="*/ 990726 w 1352046"/>
                <a:gd name="connsiteY987" fmla="*/ 758072 h 905809"/>
                <a:gd name="connsiteX988" fmla="*/ 988146 w 1352046"/>
                <a:gd name="connsiteY988" fmla="*/ 758729 h 905809"/>
                <a:gd name="connsiteX989" fmla="*/ 985918 w 1352046"/>
                <a:gd name="connsiteY989" fmla="*/ 757482 h 905809"/>
                <a:gd name="connsiteX990" fmla="*/ 983542 w 1352046"/>
                <a:gd name="connsiteY990" fmla="*/ 757455 h 905809"/>
                <a:gd name="connsiteX991" fmla="*/ 981923 w 1352046"/>
                <a:gd name="connsiteY991" fmla="*/ 759030 h 905809"/>
                <a:gd name="connsiteX992" fmla="*/ 981748 w 1352046"/>
                <a:gd name="connsiteY992" fmla="*/ 760859 h 905809"/>
                <a:gd name="connsiteX993" fmla="*/ 980180 w 1352046"/>
                <a:gd name="connsiteY993" fmla="*/ 761042 h 905809"/>
                <a:gd name="connsiteX994" fmla="*/ 979336 w 1352046"/>
                <a:gd name="connsiteY994" fmla="*/ 760910 h 905809"/>
                <a:gd name="connsiteX995" fmla="*/ 978137 w 1352046"/>
                <a:gd name="connsiteY995" fmla="*/ 761039 h 905809"/>
                <a:gd name="connsiteX996" fmla="*/ 978260 w 1352046"/>
                <a:gd name="connsiteY996" fmla="*/ 762021 h 905809"/>
                <a:gd name="connsiteX997" fmla="*/ 978941 w 1352046"/>
                <a:gd name="connsiteY997" fmla="*/ 762879 h 905809"/>
                <a:gd name="connsiteX998" fmla="*/ 982152 w 1352046"/>
                <a:gd name="connsiteY998" fmla="*/ 763261 h 905809"/>
                <a:gd name="connsiteX999" fmla="*/ 982734 w 1352046"/>
                <a:gd name="connsiteY999" fmla="*/ 764492 h 905809"/>
                <a:gd name="connsiteX1000" fmla="*/ 982855 w 1352046"/>
                <a:gd name="connsiteY1000" fmla="*/ 766392 h 905809"/>
                <a:gd name="connsiteX1001" fmla="*/ 979496 w 1352046"/>
                <a:gd name="connsiteY1001" fmla="*/ 769665 h 905809"/>
                <a:gd name="connsiteX1002" fmla="*/ 978066 w 1352046"/>
                <a:gd name="connsiteY1002" fmla="*/ 771870 h 905809"/>
                <a:gd name="connsiteX1003" fmla="*/ 975905 w 1352046"/>
                <a:gd name="connsiteY1003" fmla="*/ 771812 h 905809"/>
                <a:gd name="connsiteX1004" fmla="*/ 974272 w 1352046"/>
                <a:gd name="connsiteY1004" fmla="*/ 773580 h 905809"/>
                <a:gd name="connsiteX1005" fmla="*/ 973395 w 1352046"/>
                <a:gd name="connsiteY1005" fmla="*/ 775980 h 905809"/>
                <a:gd name="connsiteX1006" fmla="*/ 972311 w 1352046"/>
                <a:gd name="connsiteY1006" fmla="*/ 775505 h 905809"/>
                <a:gd name="connsiteX1007" fmla="*/ 969817 w 1352046"/>
                <a:gd name="connsiteY1007" fmla="*/ 775889 h 905809"/>
                <a:gd name="connsiteX1008" fmla="*/ 969081 w 1352046"/>
                <a:gd name="connsiteY1008" fmla="*/ 777033 h 905809"/>
                <a:gd name="connsiteX1009" fmla="*/ 969666 w 1352046"/>
                <a:gd name="connsiteY1009" fmla="*/ 777506 h 905809"/>
                <a:gd name="connsiteX1010" fmla="*/ 969724 w 1352046"/>
                <a:gd name="connsiteY1010" fmla="*/ 778330 h 905809"/>
                <a:gd name="connsiteX1011" fmla="*/ 968724 w 1352046"/>
                <a:gd name="connsiteY1011" fmla="*/ 781024 h 905809"/>
                <a:gd name="connsiteX1012" fmla="*/ 967634 w 1352046"/>
                <a:gd name="connsiteY1012" fmla="*/ 781781 h 905809"/>
                <a:gd name="connsiteX1013" fmla="*/ 967169 w 1352046"/>
                <a:gd name="connsiteY1013" fmla="*/ 780680 h 905809"/>
                <a:gd name="connsiteX1014" fmla="*/ 966818 w 1352046"/>
                <a:gd name="connsiteY1014" fmla="*/ 778972 h 905809"/>
                <a:gd name="connsiteX1015" fmla="*/ 965935 w 1352046"/>
                <a:gd name="connsiteY1015" fmla="*/ 778842 h 905809"/>
                <a:gd name="connsiteX1016" fmla="*/ 964479 w 1352046"/>
                <a:gd name="connsiteY1016" fmla="*/ 780416 h 905809"/>
                <a:gd name="connsiteX1017" fmla="*/ 962780 w 1352046"/>
                <a:gd name="connsiteY1017" fmla="*/ 781543 h 905809"/>
                <a:gd name="connsiteX1018" fmla="*/ 961329 w 1352046"/>
                <a:gd name="connsiteY1018" fmla="*/ 782011 h 905809"/>
                <a:gd name="connsiteX1019" fmla="*/ 960230 w 1352046"/>
                <a:gd name="connsiteY1019" fmla="*/ 780967 h 905809"/>
                <a:gd name="connsiteX1020" fmla="*/ 957528 w 1352046"/>
                <a:gd name="connsiteY1020" fmla="*/ 780424 h 905809"/>
                <a:gd name="connsiteX1021" fmla="*/ 956429 w 1352046"/>
                <a:gd name="connsiteY1021" fmla="*/ 784947 h 905809"/>
                <a:gd name="connsiteX1022" fmla="*/ 954187 w 1352046"/>
                <a:gd name="connsiteY1022" fmla="*/ 786595 h 905809"/>
                <a:gd name="connsiteX1023" fmla="*/ 953138 w 1352046"/>
                <a:gd name="connsiteY1023" fmla="*/ 787109 h 905809"/>
                <a:gd name="connsiteX1024" fmla="*/ 951309 w 1352046"/>
                <a:gd name="connsiteY1024" fmla="*/ 787264 h 905809"/>
                <a:gd name="connsiteX1025" fmla="*/ 952480 w 1352046"/>
                <a:gd name="connsiteY1025" fmla="*/ 787881 h 905809"/>
                <a:gd name="connsiteX1026" fmla="*/ 952845 w 1352046"/>
                <a:gd name="connsiteY1026" fmla="*/ 789039 h 905809"/>
                <a:gd name="connsiteX1027" fmla="*/ 952188 w 1352046"/>
                <a:gd name="connsiteY1027" fmla="*/ 790196 h 905809"/>
                <a:gd name="connsiteX1028" fmla="*/ 950359 w 1352046"/>
                <a:gd name="connsiteY1028" fmla="*/ 790428 h 905809"/>
                <a:gd name="connsiteX1029" fmla="*/ 949295 w 1352046"/>
                <a:gd name="connsiteY1029" fmla="*/ 791328 h 905809"/>
                <a:gd name="connsiteX1030" fmla="*/ 948886 w 1352046"/>
                <a:gd name="connsiteY1030" fmla="*/ 795363 h 905809"/>
                <a:gd name="connsiteX1031" fmla="*/ 947800 w 1352046"/>
                <a:gd name="connsiteY1031" fmla="*/ 796777 h 905809"/>
                <a:gd name="connsiteX1032" fmla="*/ 945032 w 1352046"/>
                <a:gd name="connsiteY1032" fmla="*/ 796890 h 905809"/>
                <a:gd name="connsiteX1033" fmla="*/ 942961 w 1352046"/>
                <a:gd name="connsiteY1033" fmla="*/ 795951 h 905809"/>
                <a:gd name="connsiteX1034" fmla="*/ 942302 w 1352046"/>
                <a:gd name="connsiteY1034" fmla="*/ 796692 h 905809"/>
                <a:gd name="connsiteX1035" fmla="*/ 941955 w 1352046"/>
                <a:gd name="connsiteY1035" fmla="*/ 797412 h 905809"/>
                <a:gd name="connsiteX1036" fmla="*/ 940873 w 1352046"/>
                <a:gd name="connsiteY1036" fmla="*/ 798139 h 905809"/>
                <a:gd name="connsiteX1037" fmla="*/ 938776 w 1352046"/>
                <a:gd name="connsiteY1037" fmla="*/ 798333 h 905809"/>
                <a:gd name="connsiteX1038" fmla="*/ 934123 w 1352046"/>
                <a:gd name="connsiteY1038" fmla="*/ 800139 h 905809"/>
                <a:gd name="connsiteX1039" fmla="*/ 931993 w 1352046"/>
                <a:gd name="connsiteY1039" fmla="*/ 799618 h 905809"/>
                <a:gd name="connsiteX1040" fmla="*/ 929441 w 1352046"/>
                <a:gd name="connsiteY1040" fmla="*/ 798932 h 905809"/>
                <a:gd name="connsiteX1041" fmla="*/ 927687 w 1352046"/>
                <a:gd name="connsiteY1041" fmla="*/ 799600 h 905809"/>
                <a:gd name="connsiteX1042" fmla="*/ 927102 w 1352046"/>
                <a:gd name="connsiteY1042" fmla="*/ 800986 h 905809"/>
                <a:gd name="connsiteX1043" fmla="*/ 926299 w 1352046"/>
                <a:gd name="connsiteY1043" fmla="*/ 802064 h 905809"/>
                <a:gd name="connsiteX1044" fmla="*/ 923738 w 1352046"/>
                <a:gd name="connsiteY1044" fmla="*/ 802064 h 905809"/>
                <a:gd name="connsiteX1045" fmla="*/ 921691 w 1352046"/>
                <a:gd name="connsiteY1045" fmla="*/ 800734 h 905809"/>
                <a:gd name="connsiteX1046" fmla="*/ 919610 w 1352046"/>
                <a:gd name="connsiteY1046" fmla="*/ 799773 h 905809"/>
                <a:gd name="connsiteX1047" fmla="*/ 917303 w 1352046"/>
                <a:gd name="connsiteY1047" fmla="*/ 800602 h 905809"/>
                <a:gd name="connsiteX1048" fmla="*/ 915547 w 1352046"/>
                <a:gd name="connsiteY1048" fmla="*/ 802295 h 905809"/>
                <a:gd name="connsiteX1049" fmla="*/ 913388 w 1352046"/>
                <a:gd name="connsiteY1049" fmla="*/ 802861 h 905809"/>
                <a:gd name="connsiteX1050" fmla="*/ 912988 w 1352046"/>
                <a:gd name="connsiteY1050" fmla="*/ 803911 h 905809"/>
                <a:gd name="connsiteX1051" fmla="*/ 912047 w 1352046"/>
                <a:gd name="connsiteY1051" fmla="*/ 804439 h 905809"/>
                <a:gd name="connsiteX1052" fmla="*/ 909761 w 1352046"/>
                <a:gd name="connsiteY1052" fmla="*/ 804217 h 905809"/>
                <a:gd name="connsiteX1053" fmla="*/ 908892 w 1352046"/>
                <a:gd name="connsiteY1053" fmla="*/ 801601 h 905809"/>
                <a:gd name="connsiteX1054" fmla="*/ 907577 w 1352046"/>
                <a:gd name="connsiteY1054" fmla="*/ 801216 h 905809"/>
                <a:gd name="connsiteX1055" fmla="*/ 906275 w 1352046"/>
                <a:gd name="connsiteY1055" fmla="*/ 802539 h 905809"/>
                <a:gd name="connsiteX1056" fmla="*/ 905815 w 1352046"/>
                <a:gd name="connsiteY1056" fmla="*/ 803572 h 905809"/>
                <a:gd name="connsiteX1057" fmla="*/ 905206 w 1352046"/>
                <a:gd name="connsiteY1057" fmla="*/ 804350 h 905809"/>
                <a:gd name="connsiteX1058" fmla="*/ 905422 w 1352046"/>
                <a:gd name="connsiteY1058" fmla="*/ 806483 h 905809"/>
                <a:gd name="connsiteX1059" fmla="*/ 904139 w 1352046"/>
                <a:gd name="connsiteY1059" fmla="*/ 806526 h 905809"/>
                <a:gd name="connsiteX1060" fmla="*/ 902457 w 1352046"/>
                <a:gd name="connsiteY1060" fmla="*/ 805219 h 905809"/>
                <a:gd name="connsiteX1061" fmla="*/ 900700 w 1352046"/>
                <a:gd name="connsiteY1061" fmla="*/ 804987 h 905809"/>
                <a:gd name="connsiteX1062" fmla="*/ 899050 w 1352046"/>
                <a:gd name="connsiteY1062" fmla="*/ 806202 h 905809"/>
                <a:gd name="connsiteX1063" fmla="*/ 899129 w 1352046"/>
                <a:gd name="connsiteY1063" fmla="*/ 806300 h 905809"/>
                <a:gd name="connsiteX1064" fmla="*/ 899605 w 1352046"/>
                <a:gd name="connsiteY1064" fmla="*/ 807167 h 905809"/>
                <a:gd name="connsiteX1065" fmla="*/ 899460 w 1352046"/>
                <a:gd name="connsiteY1065" fmla="*/ 808140 h 905809"/>
                <a:gd name="connsiteX1066" fmla="*/ 900358 w 1352046"/>
                <a:gd name="connsiteY1066" fmla="*/ 808610 h 905809"/>
                <a:gd name="connsiteX1067" fmla="*/ 900581 w 1352046"/>
                <a:gd name="connsiteY1067" fmla="*/ 809567 h 905809"/>
                <a:gd name="connsiteX1068" fmla="*/ 899591 w 1352046"/>
                <a:gd name="connsiteY1068" fmla="*/ 810089 h 905809"/>
                <a:gd name="connsiteX1069" fmla="*/ 899533 w 1352046"/>
                <a:gd name="connsiteY1069" fmla="*/ 811215 h 905809"/>
                <a:gd name="connsiteX1070" fmla="*/ 899093 w 1352046"/>
                <a:gd name="connsiteY1070" fmla="*/ 811906 h 905809"/>
                <a:gd name="connsiteX1071" fmla="*/ 896243 w 1352046"/>
                <a:gd name="connsiteY1071" fmla="*/ 810678 h 905809"/>
                <a:gd name="connsiteX1072" fmla="*/ 893893 w 1352046"/>
                <a:gd name="connsiteY1072" fmla="*/ 810040 h 905809"/>
                <a:gd name="connsiteX1073" fmla="*/ 891781 w 1352046"/>
                <a:gd name="connsiteY1073" fmla="*/ 810293 h 905809"/>
                <a:gd name="connsiteX1074" fmla="*/ 891013 w 1352046"/>
                <a:gd name="connsiteY1074" fmla="*/ 809570 h 905809"/>
                <a:gd name="connsiteX1075" fmla="*/ 890879 w 1352046"/>
                <a:gd name="connsiteY1075" fmla="*/ 808825 h 905809"/>
                <a:gd name="connsiteX1076" fmla="*/ 893317 w 1352046"/>
                <a:gd name="connsiteY1076" fmla="*/ 807526 h 905809"/>
                <a:gd name="connsiteX1077" fmla="*/ 893509 w 1352046"/>
                <a:gd name="connsiteY1077" fmla="*/ 806878 h 905809"/>
                <a:gd name="connsiteX1078" fmla="*/ 891645 w 1352046"/>
                <a:gd name="connsiteY1078" fmla="*/ 806433 h 905809"/>
                <a:gd name="connsiteX1079" fmla="*/ 889372 w 1352046"/>
                <a:gd name="connsiteY1079" fmla="*/ 804661 h 905809"/>
                <a:gd name="connsiteX1080" fmla="*/ 887739 w 1352046"/>
                <a:gd name="connsiteY1080" fmla="*/ 801720 h 905809"/>
                <a:gd name="connsiteX1081" fmla="*/ 885674 w 1352046"/>
                <a:gd name="connsiteY1081" fmla="*/ 800136 h 905809"/>
                <a:gd name="connsiteX1082" fmla="*/ 884757 w 1352046"/>
                <a:gd name="connsiteY1082" fmla="*/ 798745 h 905809"/>
                <a:gd name="connsiteX1083" fmla="*/ 884399 w 1352046"/>
                <a:gd name="connsiteY1083" fmla="*/ 796241 h 905809"/>
                <a:gd name="connsiteX1084" fmla="*/ 884020 w 1352046"/>
                <a:gd name="connsiteY1084" fmla="*/ 795050 h 905809"/>
                <a:gd name="connsiteX1085" fmla="*/ 884150 w 1352046"/>
                <a:gd name="connsiteY1085" fmla="*/ 793723 h 905809"/>
                <a:gd name="connsiteX1086" fmla="*/ 884776 w 1352046"/>
                <a:gd name="connsiteY1086" fmla="*/ 792545 h 905809"/>
                <a:gd name="connsiteX1087" fmla="*/ 882548 w 1352046"/>
                <a:gd name="connsiteY1087" fmla="*/ 793137 h 905809"/>
                <a:gd name="connsiteX1088" fmla="*/ 880902 w 1352046"/>
                <a:gd name="connsiteY1088" fmla="*/ 794233 h 905809"/>
                <a:gd name="connsiteX1089" fmla="*/ 881234 w 1352046"/>
                <a:gd name="connsiteY1089" fmla="*/ 795617 h 905809"/>
                <a:gd name="connsiteX1090" fmla="*/ 880827 w 1352046"/>
                <a:gd name="connsiteY1090" fmla="*/ 796901 h 905809"/>
                <a:gd name="connsiteX1091" fmla="*/ 878376 w 1352046"/>
                <a:gd name="connsiteY1091" fmla="*/ 797566 h 905809"/>
                <a:gd name="connsiteX1092" fmla="*/ 878525 w 1352046"/>
                <a:gd name="connsiteY1092" fmla="*/ 798107 h 905809"/>
                <a:gd name="connsiteX1093" fmla="*/ 878680 w 1352046"/>
                <a:gd name="connsiteY1093" fmla="*/ 798671 h 905809"/>
                <a:gd name="connsiteX1094" fmla="*/ 880609 w 1352046"/>
                <a:gd name="connsiteY1094" fmla="*/ 800422 h 905809"/>
                <a:gd name="connsiteX1095" fmla="*/ 881002 w 1352046"/>
                <a:gd name="connsiteY1095" fmla="*/ 801895 h 905809"/>
                <a:gd name="connsiteX1096" fmla="*/ 881775 w 1352046"/>
                <a:gd name="connsiteY1096" fmla="*/ 802680 h 905809"/>
                <a:gd name="connsiteX1097" fmla="*/ 883284 w 1352046"/>
                <a:gd name="connsiteY1097" fmla="*/ 804968 h 905809"/>
                <a:gd name="connsiteX1098" fmla="*/ 883250 w 1352046"/>
                <a:gd name="connsiteY1098" fmla="*/ 809383 h 905809"/>
                <a:gd name="connsiteX1099" fmla="*/ 884077 w 1352046"/>
                <a:gd name="connsiteY1099" fmla="*/ 810630 h 905809"/>
                <a:gd name="connsiteX1100" fmla="*/ 883802 w 1352046"/>
                <a:gd name="connsiteY1100" fmla="*/ 811866 h 905809"/>
                <a:gd name="connsiteX1101" fmla="*/ 883198 w 1352046"/>
                <a:gd name="connsiteY1101" fmla="*/ 813540 h 905809"/>
                <a:gd name="connsiteX1102" fmla="*/ 883146 w 1352046"/>
                <a:gd name="connsiteY1102" fmla="*/ 813565 h 905809"/>
                <a:gd name="connsiteX1103" fmla="*/ 882710 w 1352046"/>
                <a:gd name="connsiteY1103" fmla="*/ 813058 h 905809"/>
                <a:gd name="connsiteX1104" fmla="*/ 883176 w 1352046"/>
                <a:gd name="connsiteY1104" fmla="*/ 813600 h 905809"/>
                <a:gd name="connsiteX1105" fmla="*/ 883118 w 1352046"/>
                <a:gd name="connsiteY1105" fmla="*/ 813626 h 905809"/>
                <a:gd name="connsiteX1106" fmla="*/ 882086 w 1352046"/>
                <a:gd name="connsiteY1106" fmla="*/ 814087 h 905809"/>
                <a:gd name="connsiteX1107" fmla="*/ 881762 w 1352046"/>
                <a:gd name="connsiteY1107" fmla="*/ 814177 h 905809"/>
                <a:gd name="connsiteX1108" fmla="*/ 881645 w 1352046"/>
                <a:gd name="connsiteY1108" fmla="*/ 814228 h 905809"/>
                <a:gd name="connsiteX1109" fmla="*/ 881524 w 1352046"/>
                <a:gd name="connsiteY1109" fmla="*/ 814255 h 905809"/>
                <a:gd name="connsiteX1110" fmla="*/ 880248 w 1352046"/>
                <a:gd name="connsiteY1110" fmla="*/ 814627 h 905809"/>
                <a:gd name="connsiteX1111" fmla="*/ 879180 w 1352046"/>
                <a:gd name="connsiteY1111" fmla="*/ 814941 h 905809"/>
                <a:gd name="connsiteX1112" fmla="*/ 878302 w 1352046"/>
                <a:gd name="connsiteY1112" fmla="*/ 815393 h 905809"/>
                <a:gd name="connsiteX1113" fmla="*/ 876946 w 1352046"/>
                <a:gd name="connsiteY1113" fmla="*/ 816707 h 905809"/>
                <a:gd name="connsiteX1114" fmla="*/ 874350 w 1352046"/>
                <a:gd name="connsiteY1114" fmla="*/ 817027 h 905809"/>
                <a:gd name="connsiteX1115" fmla="*/ 873019 w 1352046"/>
                <a:gd name="connsiteY1115" fmla="*/ 813940 h 905809"/>
                <a:gd name="connsiteX1116" fmla="*/ 871237 w 1352046"/>
                <a:gd name="connsiteY1116" fmla="*/ 815998 h 905809"/>
                <a:gd name="connsiteX1117" fmla="*/ 870697 w 1352046"/>
                <a:gd name="connsiteY1117" fmla="*/ 820200 h 905809"/>
                <a:gd name="connsiteX1118" fmla="*/ 870036 w 1352046"/>
                <a:gd name="connsiteY1118" fmla="*/ 820916 h 905809"/>
                <a:gd name="connsiteX1119" fmla="*/ 868928 w 1352046"/>
                <a:gd name="connsiteY1119" fmla="*/ 821517 h 905809"/>
                <a:gd name="connsiteX1120" fmla="*/ 866823 w 1352046"/>
                <a:gd name="connsiteY1120" fmla="*/ 820051 h 905809"/>
                <a:gd name="connsiteX1121" fmla="*/ 864983 w 1352046"/>
                <a:gd name="connsiteY1121" fmla="*/ 821032 h 905809"/>
                <a:gd name="connsiteX1122" fmla="*/ 863554 w 1352046"/>
                <a:gd name="connsiteY1122" fmla="*/ 822026 h 905809"/>
                <a:gd name="connsiteX1123" fmla="*/ 862964 w 1352046"/>
                <a:gd name="connsiteY1123" fmla="*/ 822944 h 905809"/>
                <a:gd name="connsiteX1124" fmla="*/ 861908 w 1352046"/>
                <a:gd name="connsiteY1124" fmla="*/ 823941 h 905809"/>
                <a:gd name="connsiteX1125" fmla="*/ 859883 w 1352046"/>
                <a:gd name="connsiteY1125" fmla="*/ 822980 h 905809"/>
                <a:gd name="connsiteX1126" fmla="*/ 858259 w 1352046"/>
                <a:gd name="connsiteY1126" fmla="*/ 821536 h 905809"/>
                <a:gd name="connsiteX1127" fmla="*/ 858661 w 1352046"/>
                <a:gd name="connsiteY1127" fmla="*/ 820452 h 905809"/>
                <a:gd name="connsiteX1128" fmla="*/ 858436 w 1352046"/>
                <a:gd name="connsiteY1128" fmla="*/ 819739 h 905809"/>
                <a:gd name="connsiteX1129" fmla="*/ 857702 w 1352046"/>
                <a:gd name="connsiteY1129" fmla="*/ 819200 h 905809"/>
                <a:gd name="connsiteX1130" fmla="*/ 856896 w 1352046"/>
                <a:gd name="connsiteY1130" fmla="*/ 819277 h 905809"/>
                <a:gd name="connsiteX1131" fmla="*/ 857289 w 1352046"/>
                <a:gd name="connsiteY1131" fmla="*/ 820681 h 905809"/>
                <a:gd name="connsiteX1132" fmla="*/ 857561 w 1352046"/>
                <a:gd name="connsiteY1132" fmla="*/ 823376 h 905809"/>
                <a:gd name="connsiteX1133" fmla="*/ 856825 w 1352046"/>
                <a:gd name="connsiteY1133" fmla="*/ 824156 h 905809"/>
                <a:gd name="connsiteX1134" fmla="*/ 855687 w 1352046"/>
                <a:gd name="connsiteY1134" fmla="*/ 824756 h 905809"/>
                <a:gd name="connsiteX1135" fmla="*/ 853219 w 1352046"/>
                <a:gd name="connsiteY1135" fmla="*/ 824259 h 905809"/>
                <a:gd name="connsiteX1136" fmla="*/ 851535 w 1352046"/>
                <a:gd name="connsiteY1136" fmla="*/ 823254 h 905809"/>
                <a:gd name="connsiteX1137" fmla="*/ 849501 w 1352046"/>
                <a:gd name="connsiteY1137" fmla="*/ 822407 h 905809"/>
                <a:gd name="connsiteX1138" fmla="*/ 847704 w 1352046"/>
                <a:gd name="connsiteY1138" fmla="*/ 822253 h 905809"/>
                <a:gd name="connsiteX1139" fmla="*/ 847317 w 1352046"/>
                <a:gd name="connsiteY1139" fmla="*/ 823954 h 905809"/>
                <a:gd name="connsiteX1140" fmla="*/ 846145 w 1352046"/>
                <a:gd name="connsiteY1140" fmla="*/ 825324 h 905809"/>
                <a:gd name="connsiteX1141" fmla="*/ 845065 w 1352046"/>
                <a:gd name="connsiteY1141" fmla="*/ 825495 h 905809"/>
                <a:gd name="connsiteX1142" fmla="*/ 843989 w 1352046"/>
                <a:gd name="connsiteY1142" fmla="*/ 825276 h 905809"/>
                <a:gd name="connsiteX1143" fmla="*/ 842573 w 1352046"/>
                <a:gd name="connsiteY1143" fmla="*/ 826759 h 905809"/>
                <a:gd name="connsiteX1144" fmla="*/ 841904 w 1352046"/>
                <a:gd name="connsiteY1144" fmla="*/ 827841 h 905809"/>
                <a:gd name="connsiteX1145" fmla="*/ 840159 w 1352046"/>
                <a:gd name="connsiteY1145" fmla="*/ 828985 h 905809"/>
                <a:gd name="connsiteX1146" fmla="*/ 835508 w 1352046"/>
                <a:gd name="connsiteY1146" fmla="*/ 829540 h 905809"/>
                <a:gd name="connsiteX1147" fmla="*/ 833888 w 1352046"/>
                <a:gd name="connsiteY1147" fmla="*/ 830674 h 905809"/>
                <a:gd name="connsiteX1148" fmla="*/ 831710 w 1352046"/>
                <a:gd name="connsiteY1148" fmla="*/ 830494 h 905809"/>
                <a:gd name="connsiteX1149" fmla="*/ 830021 w 1352046"/>
                <a:gd name="connsiteY1149" fmla="*/ 830764 h 905809"/>
                <a:gd name="connsiteX1150" fmla="*/ 829055 w 1352046"/>
                <a:gd name="connsiteY1150" fmla="*/ 830707 h 905809"/>
                <a:gd name="connsiteX1151" fmla="*/ 828183 w 1352046"/>
                <a:gd name="connsiteY1151" fmla="*/ 830099 h 905809"/>
                <a:gd name="connsiteX1152" fmla="*/ 827204 w 1352046"/>
                <a:gd name="connsiteY1152" fmla="*/ 830082 h 905809"/>
                <a:gd name="connsiteX1153" fmla="*/ 826760 w 1352046"/>
                <a:gd name="connsiteY1153" fmla="*/ 831967 h 905809"/>
                <a:gd name="connsiteX1154" fmla="*/ 824134 w 1352046"/>
                <a:gd name="connsiteY1154" fmla="*/ 832761 h 905809"/>
                <a:gd name="connsiteX1155" fmla="*/ 821770 w 1352046"/>
                <a:gd name="connsiteY1155" fmla="*/ 832979 h 905809"/>
                <a:gd name="connsiteX1156" fmla="*/ 819140 w 1352046"/>
                <a:gd name="connsiteY1156" fmla="*/ 835464 h 905809"/>
                <a:gd name="connsiteX1157" fmla="*/ 817261 w 1352046"/>
                <a:gd name="connsiteY1157" fmla="*/ 836968 h 905809"/>
                <a:gd name="connsiteX1158" fmla="*/ 815870 w 1352046"/>
                <a:gd name="connsiteY1158" fmla="*/ 837121 h 905809"/>
                <a:gd name="connsiteX1159" fmla="*/ 814847 w 1352046"/>
                <a:gd name="connsiteY1159" fmla="*/ 836586 h 905809"/>
                <a:gd name="connsiteX1160" fmla="*/ 814328 w 1352046"/>
                <a:gd name="connsiteY1160" fmla="*/ 834358 h 905809"/>
                <a:gd name="connsiteX1161" fmla="*/ 813806 w 1352046"/>
                <a:gd name="connsiteY1161" fmla="*/ 834099 h 905809"/>
                <a:gd name="connsiteX1162" fmla="*/ 813508 w 1352046"/>
                <a:gd name="connsiteY1162" fmla="*/ 836190 h 905809"/>
                <a:gd name="connsiteX1163" fmla="*/ 813003 w 1352046"/>
                <a:gd name="connsiteY1163" fmla="*/ 837932 h 905809"/>
                <a:gd name="connsiteX1164" fmla="*/ 812042 w 1352046"/>
                <a:gd name="connsiteY1164" fmla="*/ 838880 h 905809"/>
                <a:gd name="connsiteX1165" fmla="*/ 808999 w 1352046"/>
                <a:gd name="connsiteY1165" fmla="*/ 841045 h 905809"/>
                <a:gd name="connsiteX1166" fmla="*/ 808124 w 1352046"/>
                <a:gd name="connsiteY1166" fmla="*/ 843193 h 905809"/>
                <a:gd name="connsiteX1167" fmla="*/ 808708 w 1352046"/>
                <a:gd name="connsiteY1167" fmla="*/ 845180 h 905809"/>
                <a:gd name="connsiteX1168" fmla="*/ 812800 w 1352046"/>
                <a:gd name="connsiteY1168" fmla="*/ 845664 h 905809"/>
                <a:gd name="connsiteX1169" fmla="*/ 813309 w 1352046"/>
                <a:gd name="connsiteY1169" fmla="*/ 846751 h 905809"/>
                <a:gd name="connsiteX1170" fmla="*/ 812912 w 1352046"/>
                <a:gd name="connsiteY1170" fmla="*/ 847639 h 905809"/>
                <a:gd name="connsiteX1171" fmla="*/ 811932 w 1352046"/>
                <a:gd name="connsiteY1171" fmla="*/ 848380 h 905809"/>
                <a:gd name="connsiteX1172" fmla="*/ 811643 w 1352046"/>
                <a:gd name="connsiteY1172" fmla="*/ 849493 h 905809"/>
                <a:gd name="connsiteX1173" fmla="*/ 816030 w 1352046"/>
                <a:gd name="connsiteY1173" fmla="*/ 853031 h 905809"/>
                <a:gd name="connsiteX1174" fmla="*/ 816164 w 1352046"/>
                <a:gd name="connsiteY1174" fmla="*/ 854373 h 905809"/>
                <a:gd name="connsiteX1175" fmla="*/ 815486 w 1352046"/>
                <a:gd name="connsiteY1175" fmla="*/ 855137 h 905809"/>
                <a:gd name="connsiteX1176" fmla="*/ 814659 w 1352046"/>
                <a:gd name="connsiteY1176" fmla="*/ 856783 h 905809"/>
                <a:gd name="connsiteX1177" fmla="*/ 812342 w 1352046"/>
                <a:gd name="connsiteY1177" fmla="*/ 858179 h 905809"/>
                <a:gd name="connsiteX1178" fmla="*/ 807442 w 1352046"/>
                <a:gd name="connsiteY1178" fmla="*/ 858895 h 905809"/>
                <a:gd name="connsiteX1179" fmla="*/ 803359 w 1352046"/>
                <a:gd name="connsiteY1179" fmla="*/ 858172 h 905809"/>
                <a:gd name="connsiteX1180" fmla="*/ 802121 w 1352046"/>
                <a:gd name="connsiteY1180" fmla="*/ 856584 h 905809"/>
                <a:gd name="connsiteX1181" fmla="*/ 802195 w 1352046"/>
                <a:gd name="connsiteY1181" fmla="*/ 855453 h 905809"/>
                <a:gd name="connsiteX1182" fmla="*/ 803207 w 1352046"/>
                <a:gd name="connsiteY1182" fmla="*/ 855782 h 905809"/>
                <a:gd name="connsiteX1183" fmla="*/ 804363 w 1352046"/>
                <a:gd name="connsiteY1183" fmla="*/ 855680 h 905809"/>
                <a:gd name="connsiteX1184" fmla="*/ 804020 w 1352046"/>
                <a:gd name="connsiteY1184" fmla="*/ 854646 h 905809"/>
                <a:gd name="connsiteX1185" fmla="*/ 803534 w 1352046"/>
                <a:gd name="connsiteY1185" fmla="*/ 854042 h 905809"/>
                <a:gd name="connsiteX1186" fmla="*/ 801646 w 1352046"/>
                <a:gd name="connsiteY1186" fmla="*/ 853122 h 905809"/>
                <a:gd name="connsiteX1187" fmla="*/ 800120 w 1352046"/>
                <a:gd name="connsiteY1187" fmla="*/ 850642 h 905809"/>
                <a:gd name="connsiteX1188" fmla="*/ 800414 w 1352046"/>
                <a:gd name="connsiteY1188" fmla="*/ 848575 h 905809"/>
                <a:gd name="connsiteX1189" fmla="*/ 799576 w 1352046"/>
                <a:gd name="connsiteY1189" fmla="*/ 846977 h 905809"/>
                <a:gd name="connsiteX1190" fmla="*/ 798667 w 1352046"/>
                <a:gd name="connsiteY1190" fmla="*/ 845637 h 905809"/>
                <a:gd name="connsiteX1191" fmla="*/ 797749 w 1352046"/>
                <a:gd name="connsiteY1191" fmla="*/ 844833 h 905809"/>
                <a:gd name="connsiteX1192" fmla="*/ 797259 w 1352046"/>
                <a:gd name="connsiteY1192" fmla="*/ 843834 h 905809"/>
                <a:gd name="connsiteX1193" fmla="*/ 798184 w 1352046"/>
                <a:gd name="connsiteY1193" fmla="*/ 840696 h 905809"/>
                <a:gd name="connsiteX1194" fmla="*/ 797671 w 1352046"/>
                <a:gd name="connsiteY1194" fmla="*/ 838873 h 905809"/>
                <a:gd name="connsiteX1195" fmla="*/ 799415 w 1352046"/>
                <a:gd name="connsiteY1195" fmla="*/ 836637 h 905809"/>
                <a:gd name="connsiteX1196" fmla="*/ 799846 w 1352046"/>
                <a:gd name="connsiteY1196" fmla="*/ 834114 h 905809"/>
                <a:gd name="connsiteX1197" fmla="*/ 802974 w 1352046"/>
                <a:gd name="connsiteY1197" fmla="*/ 833212 h 905809"/>
                <a:gd name="connsiteX1198" fmla="*/ 803188 w 1352046"/>
                <a:gd name="connsiteY1198" fmla="*/ 830803 h 905809"/>
                <a:gd name="connsiteX1199" fmla="*/ 800951 w 1352046"/>
                <a:gd name="connsiteY1199" fmla="*/ 830733 h 905809"/>
                <a:gd name="connsiteX1200" fmla="*/ 799398 w 1352046"/>
                <a:gd name="connsiteY1200" fmla="*/ 828963 h 905809"/>
                <a:gd name="connsiteX1201" fmla="*/ 799044 w 1352046"/>
                <a:gd name="connsiteY1201" fmla="*/ 829706 h 905809"/>
                <a:gd name="connsiteX1202" fmla="*/ 797796 w 1352046"/>
                <a:gd name="connsiteY1202" fmla="*/ 829783 h 905809"/>
                <a:gd name="connsiteX1203" fmla="*/ 795749 w 1352046"/>
                <a:gd name="connsiteY1203" fmla="*/ 826371 h 905809"/>
                <a:gd name="connsiteX1204" fmla="*/ 795131 w 1352046"/>
                <a:gd name="connsiteY1204" fmla="*/ 825940 h 905809"/>
                <a:gd name="connsiteX1205" fmla="*/ 794138 w 1352046"/>
                <a:gd name="connsiteY1205" fmla="*/ 825874 h 905809"/>
                <a:gd name="connsiteX1206" fmla="*/ 794637 w 1352046"/>
                <a:gd name="connsiteY1206" fmla="*/ 829475 h 905809"/>
                <a:gd name="connsiteX1207" fmla="*/ 792238 w 1352046"/>
                <a:gd name="connsiteY1207" fmla="*/ 830828 h 905809"/>
                <a:gd name="connsiteX1208" fmla="*/ 790273 w 1352046"/>
                <a:gd name="connsiteY1208" fmla="*/ 831419 h 905809"/>
                <a:gd name="connsiteX1209" fmla="*/ 787481 w 1352046"/>
                <a:gd name="connsiteY1209" fmla="*/ 831663 h 905809"/>
                <a:gd name="connsiteX1210" fmla="*/ 785894 w 1352046"/>
                <a:gd name="connsiteY1210" fmla="*/ 832076 h 905809"/>
                <a:gd name="connsiteX1211" fmla="*/ 784410 w 1352046"/>
                <a:gd name="connsiteY1211" fmla="*/ 831735 h 905809"/>
                <a:gd name="connsiteX1212" fmla="*/ 784778 w 1352046"/>
                <a:gd name="connsiteY1212" fmla="*/ 830646 h 905809"/>
                <a:gd name="connsiteX1213" fmla="*/ 785559 w 1352046"/>
                <a:gd name="connsiteY1213" fmla="*/ 829344 h 905809"/>
                <a:gd name="connsiteX1214" fmla="*/ 784857 w 1352046"/>
                <a:gd name="connsiteY1214" fmla="*/ 828258 h 905809"/>
                <a:gd name="connsiteX1215" fmla="*/ 783283 w 1352046"/>
                <a:gd name="connsiteY1215" fmla="*/ 827424 h 905809"/>
                <a:gd name="connsiteX1216" fmla="*/ 780878 w 1352046"/>
                <a:gd name="connsiteY1216" fmla="*/ 827472 h 905809"/>
                <a:gd name="connsiteX1217" fmla="*/ 779210 w 1352046"/>
                <a:gd name="connsiteY1217" fmla="*/ 827239 h 905809"/>
                <a:gd name="connsiteX1218" fmla="*/ 777559 w 1352046"/>
                <a:gd name="connsiteY1218" fmla="*/ 827332 h 905809"/>
                <a:gd name="connsiteX1219" fmla="*/ 776945 w 1352046"/>
                <a:gd name="connsiteY1219" fmla="*/ 826850 h 905809"/>
                <a:gd name="connsiteX1220" fmla="*/ 775410 w 1352046"/>
                <a:gd name="connsiteY1220" fmla="*/ 825150 h 905809"/>
                <a:gd name="connsiteX1221" fmla="*/ 774112 w 1352046"/>
                <a:gd name="connsiteY1221" fmla="*/ 824089 h 905809"/>
                <a:gd name="connsiteX1222" fmla="*/ 773527 w 1352046"/>
                <a:gd name="connsiteY1222" fmla="*/ 823034 h 905809"/>
                <a:gd name="connsiteX1223" fmla="*/ 774112 w 1352046"/>
                <a:gd name="connsiteY1223" fmla="*/ 821807 h 905809"/>
                <a:gd name="connsiteX1224" fmla="*/ 773624 w 1352046"/>
                <a:gd name="connsiteY1224" fmla="*/ 821062 h 905809"/>
                <a:gd name="connsiteX1225" fmla="*/ 771106 w 1352046"/>
                <a:gd name="connsiteY1225" fmla="*/ 820979 h 905809"/>
                <a:gd name="connsiteX1226" fmla="*/ 771128 w 1352046"/>
                <a:gd name="connsiteY1226" fmla="*/ 822737 h 905809"/>
                <a:gd name="connsiteX1227" fmla="*/ 771387 w 1352046"/>
                <a:gd name="connsiteY1227" fmla="*/ 824809 h 905809"/>
                <a:gd name="connsiteX1228" fmla="*/ 772119 w 1352046"/>
                <a:gd name="connsiteY1228" fmla="*/ 826384 h 905809"/>
                <a:gd name="connsiteX1229" fmla="*/ 771598 w 1352046"/>
                <a:gd name="connsiteY1229" fmla="*/ 827263 h 905809"/>
                <a:gd name="connsiteX1230" fmla="*/ 770320 w 1352046"/>
                <a:gd name="connsiteY1230" fmla="*/ 827868 h 905809"/>
                <a:gd name="connsiteX1231" fmla="*/ 768960 w 1352046"/>
                <a:gd name="connsiteY1231" fmla="*/ 826203 h 905809"/>
                <a:gd name="connsiteX1232" fmla="*/ 768336 w 1352046"/>
                <a:gd name="connsiteY1232" fmla="*/ 825793 h 905809"/>
                <a:gd name="connsiteX1233" fmla="*/ 767677 w 1352046"/>
                <a:gd name="connsiteY1233" fmla="*/ 825872 h 905809"/>
                <a:gd name="connsiteX1234" fmla="*/ 767176 w 1352046"/>
                <a:gd name="connsiteY1234" fmla="*/ 827530 h 905809"/>
                <a:gd name="connsiteX1235" fmla="*/ 765941 w 1352046"/>
                <a:gd name="connsiteY1235" fmla="*/ 829001 h 905809"/>
                <a:gd name="connsiteX1236" fmla="*/ 763714 w 1352046"/>
                <a:gd name="connsiteY1236" fmla="*/ 828844 h 905809"/>
                <a:gd name="connsiteX1237" fmla="*/ 761985 w 1352046"/>
                <a:gd name="connsiteY1237" fmla="*/ 829752 h 905809"/>
                <a:gd name="connsiteX1238" fmla="*/ 759890 w 1352046"/>
                <a:gd name="connsiteY1238" fmla="*/ 830169 h 905809"/>
                <a:gd name="connsiteX1239" fmla="*/ 758470 w 1352046"/>
                <a:gd name="connsiteY1239" fmla="*/ 828955 h 905809"/>
                <a:gd name="connsiteX1240" fmla="*/ 756118 w 1352046"/>
                <a:gd name="connsiteY1240" fmla="*/ 826992 h 905809"/>
                <a:gd name="connsiteX1241" fmla="*/ 755172 w 1352046"/>
                <a:gd name="connsiteY1241" fmla="*/ 826764 h 905809"/>
                <a:gd name="connsiteX1242" fmla="*/ 752557 w 1352046"/>
                <a:gd name="connsiteY1242" fmla="*/ 827716 h 905809"/>
                <a:gd name="connsiteX1243" fmla="*/ 748806 w 1352046"/>
                <a:gd name="connsiteY1243" fmla="*/ 828076 h 905809"/>
                <a:gd name="connsiteX1244" fmla="*/ 747968 w 1352046"/>
                <a:gd name="connsiteY1244" fmla="*/ 827059 h 905809"/>
                <a:gd name="connsiteX1245" fmla="*/ 746148 w 1352046"/>
                <a:gd name="connsiteY1245" fmla="*/ 827832 h 905809"/>
                <a:gd name="connsiteX1246" fmla="*/ 744399 w 1352046"/>
                <a:gd name="connsiteY1246" fmla="*/ 825475 h 905809"/>
                <a:gd name="connsiteX1247" fmla="*/ 742331 w 1352046"/>
                <a:gd name="connsiteY1247" fmla="*/ 825326 h 905809"/>
                <a:gd name="connsiteX1248" fmla="*/ 739745 w 1352046"/>
                <a:gd name="connsiteY1248" fmla="*/ 823539 h 905809"/>
                <a:gd name="connsiteX1249" fmla="*/ 738821 w 1352046"/>
                <a:gd name="connsiteY1249" fmla="*/ 822596 h 905809"/>
                <a:gd name="connsiteX1250" fmla="*/ 738525 w 1352046"/>
                <a:gd name="connsiteY1250" fmla="*/ 821239 h 905809"/>
                <a:gd name="connsiteX1251" fmla="*/ 737742 w 1352046"/>
                <a:gd name="connsiteY1251" fmla="*/ 820531 h 905809"/>
                <a:gd name="connsiteX1252" fmla="*/ 736729 w 1352046"/>
                <a:gd name="connsiteY1252" fmla="*/ 820620 h 905809"/>
                <a:gd name="connsiteX1253" fmla="*/ 735608 w 1352046"/>
                <a:gd name="connsiteY1253" fmla="*/ 819897 h 905809"/>
                <a:gd name="connsiteX1254" fmla="*/ 733831 w 1352046"/>
                <a:gd name="connsiteY1254" fmla="*/ 819185 h 905809"/>
                <a:gd name="connsiteX1255" fmla="*/ 732402 w 1352046"/>
                <a:gd name="connsiteY1255" fmla="*/ 818759 h 905809"/>
                <a:gd name="connsiteX1256" fmla="*/ 731697 w 1352046"/>
                <a:gd name="connsiteY1256" fmla="*/ 819088 h 905809"/>
                <a:gd name="connsiteX1257" fmla="*/ 730944 w 1352046"/>
                <a:gd name="connsiteY1257" fmla="*/ 819256 h 905809"/>
                <a:gd name="connsiteX1258" fmla="*/ 730814 w 1352046"/>
                <a:gd name="connsiteY1258" fmla="*/ 818344 h 905809"/>
                <a:gd name="connsiteX1259" fmla="*/ 730866 w 1352046"/>
                <a:gd name="connsiteY1259" fmla="*/ 815600 h 905809"/>
                <a:gd name="connsiteX1260" fmla="*/ 730737 w 1352046"/>
                <a:gd name="connsiteY1260" fmla="*/ 813163 h 905809"/>
                <a:gd name="connsiteX1261" fmla="*/ 730345 w 1352046"/>
                <a:gd name="connsiteY1261" fmla="*/ 812067 h 905809"/>
                <a:gd name="connsiteX1262" fmla="*/ 729387 w 1352046"/>
                <a:gd name="connsiteY1262" fmla="*/ 811233 h 905809"/>
                <a:gd name="connsiteX1263" fmla="*/ 728512 w 1352046"/>
                <a:gd name="connsiteY1263" fmla="*/ 810834 h 905809"/>
                <a:gd name="connsiteX1264" fmla="*/ 728130 w 1352046"/>
                <a:gd name="connsiteY1264" fmla="*/ 809586 h 905809"/>
                <a:gd name="connsiteX1265" fmla="*/ 728441 w 1352046"/>
                <a:gd name="connsiteY1265" fmla="*/ 807123 h 905809"/>
                <a:gd name="connsiteX1266" fmla="*/ 729149 w 1352046"/>
                <a:gd name="connsiteY1266" fmla="*/ 805452 h 905809"/>
                <a:gd name="connsiteX1267" fmla="*/ 730270 w 1352046"/>
                <a:gd name="connsiteY1267" fmla="*/ 805154 h 905809"/>
                <a:gd name="connsiteX1268" fmla="*/ 731784 w 1352046"/>
                <a:gd name="connsiteY1268" fmla="*/ 803951 h 905809"/>
                <a:gd name="connsiteX1269" fmla="*/ 732553 w 1352046"/>
                <a:gd name="connsiteY1269" fmla="*/ 802248 h 905809"/>
                <a:gd name="connsiteX1270" fmla="*/ 733524 w 1352046"/>
                <a:gd name="connsiteY1270" fmla="*/ 800666 h 905809"/>
                <a:gd name="connsiteX1271" fmla="*/ 730069 w 1352046"/>
                <a:gd name="connsiteY1271" fmla="*/ 798446 h 905809"/>
                <a:gd name="connsiteX1272" fmla="*/ 728251 w 1352046"/>
                <a:gd name="connsiteY1272" fmla="*/ 797652 h 905809"/>
                <a:gd name="connsiteX1273" fmla="*/ 726241 w 1352046"/>
                <a:gd name="connsiteY1273" fmla="*/ 797989 h 905809"/>
                <a:gd name="connsiteX1274" fmla="*/ 723746 w 1352046"/>
                <a:gd name="connsiteY1274" fmla="*/ 798697 h 905809"/>
                <a:gd name="connsiteX1275" fmla="*/ 722440 w 1352046"/>
                <a:gd name="connsiteY1275" fmla="*/ 798837 h 905809"/>
                <a:gd name="connsiteX1276" fmla="*/ 721786 w 1352046"/>
                <a:gd name="connsiteY1276" fmla="*/ 798558 h 905809"/>
                <a:gd name="connsiteX1277" fmla="*/ 720339 w 1352046"/>
                <a:gd name="connsiteY1277" fmla="*/ 796562 h 905809"/>
                <a:gd name="connsiteX1278" fmla="*/ 719553 w 1352046"/>
                <a:gd name="connsiteY1278" fmla="*/ 796214 h 905809"/>
                <a:gd name="connsiteX1279" fmla="*/ 717785 w 1352046"/>
                <a:gd name="connsiteY1279" fmla="*/ 796087 h 905809"/>
                <a:gd name="connsiteX1280" fmla="*/ 716293 w 1352046"/>
                <a:gd name="connsiteY1280" fmla="*/ 796105 h 905809"/>
                <a:gd name="connsiteX1281" fmla="*/ 715438 w 1352046"/>
                <a:gd name="connsiteY1281" fmla="*/ 796974 h 905809"/>
                <a:gd name="connsiteX1282" fmla="*/ 714118 w 1352046"/>
                <a:gd name="connsiteY1282" fmla="*/ 797265 h 905809"/>
                <a:gd name="connsiteX1283" fmla="*/ 712798 w 1352046"/>
                <a:gd name="connsiteY1283" fmla="*/ 797315 h 905809"/>
                <a:gd name="connsiteX1284" fmla="*/ 711457 w 1352046"/>
                <a:gd name="connsiteY1284" fmla="*/ 796231 h 905809"/>
                <a:gd name="connsiteX1285" fmla="*/ 709443 w 1352046"/>
                <a:gd name="connsiteY1285" fmla="*/ 794819 h 905809"/>
                <a:gd name="connsiteX1286" fmla="*/ 706279 w 1352046"/>
                <a:gd name="connsiteY1286" fmla="*/ 793823 h 905809"/>
                <a:gd name="connsiteX1287" fmla="*/ 705897 w 1352046"/>
                <a:gd name="connsiteY1287" fmla="*/ 792673 h 905809"/>
                <a:gd name="connsiteX1288" fmla="*/ 705094 w 1352046"/>
                <a:gd name="connsiteY1288" fmla="*/ 791300 h 905809"/>
                <a:gd name="connsiteX1289" fmla="*/ 703891 w 1352046"/>
                <a:gd name="connsiteY1289" fmla="*/ 790029 h 905809"/>
                <a:gd name="connsiteX1290" fmla="*/ 701908 w 1352046"/>
                <a:gd name="connsiteY1290" fmla="*/ 788342 h 905809"/>
                <a:gd name="connsiteX1291" fmla="*/ 700248 w 1352046"/>
                <a:gd name="connsiteY1291" fmla="*/ 787466 h 905809"/>
                <a:gd name="connsiteX1292" fmla="*/ 699439 w 1352046"/>
                <a:gd name="connsiteY1292" fmla="*/ 788005 h 905809"/>
                <a:gd name="connsiteX1293" fmla="*/ 698339 w 1352046"/>
                <a:gd name="connsiteY1293" fmla="*/ 788963 h 905809"/>
                <a:gd name="connsiteX1294" fmla="*/ 694064 w 1352046"/>
                <a:gd name="connsiteY1294" fmla="*/ 790986 h 905809"/>
                <a:gd name="connsiteX1295" fmla="*/ 692172 w 1352046"/>
                <a:gd name="connsiteY1295" fmla="*/ 791774 h 905809"/>
                <a:gd name="connsiteX1296" fmla="*/ 691168 w 1352046"/>
                <a:gd name="connsiteY1296" fmla="*/ 792338 h 905809"/>
                <a:gd name="connsiteX1297" fmla="*/ 690324 w 1352046"/>
                <a:gd name="connsiteY1297" fmla="*/ 793181 h 905809"/>
                <a:gd name="connsiteX1298" fmla="*/ 690062 w 1352046"/>
                <a:gd name="connsiteY1298" fmla="*/ 795265 h 905809"/>
                <a:gd name="connsiteX1299" fmla="*/ 689641 w 1352046"/>
                <a:gd name="connsiteY1299" fmla="*/ 797587 h 905809"/>
                <a:gd name="connsiteX1300" fmla="*/ 688411 w 1352046"/>
                <a:gd name="connsiteY1300" fmla="*/ 798766 h 905809"/>
                <a:gd name="connsiteX1301" fmla="*/ 687244 w 1352046"/>
                <a:gd name="connsiteY1301" fmla="*/ 799658 h 905809"/>
                <a:gd name="connsiteX1302" fmla="*/ 686015 w 1352046"/>
                <a:gd name="connsiteY1302" fmla="*/ 799751 h 905809"/>
                <a:gd name="connsiteX1303" fmla="*/ 684817 w 1352046"/>
                <a:gd name="connsiteY1303" fmla="*/ 799709 h 905809"/>
                <a:gd name="connsiteX1304" fmla="*/ 683696 w 1352046"/>
                <a:gd name="connsiteY1304" fmla="*/ 800079 h 905809"/>
                <a:gd name="connsiteX1305" fmla="*/ 680268 w 1352046"/>
                <a:gd name="connsiteY1305" fmla="*/ 802408 h 905809"/>
                <a:gd name="connsiteX1306" fmla="*/ 678644 w 1352046"/>
                <a:gd name="connsiteY1306" fmla="*/ 802223 h 905809"/>
                <a:gd name="connsiteX1307" fmla="*/ 677315 w 1352046"/>
                <a:gd name="connsiteY1307" fmla="*/ 800909 h 905809"/>
                <a:gd name="connsiteX1308" fmla="*/ 676745 w 1352046"/>
                <a:gd name="connsiteY1308" fmla="*/ 799956 h 905809"/>
                <a:gd name="connsiteX1309" fmla="*/ 675210 w 1352046"/>
                <a:gd name="connsiteY1309" fmla="*/ 800172 h 905809"/>
                <a:gd name="connsiteX1310" fmla="*/ 673239 w 1352046"/>
                <a:gd name="connsiteY1310" fmla="*/ 801286 h 905809"/>
                <a:gd name="connsiteX1311" fmla="*/ 672327 w 1352046"/>
                <a:gd name="connsiteY1311" fmla="*/ 803286 h 905809"/>
                <a:gd name="connsiteX1312" fmla="*/ 671843 w 1352046"/>
                <a:gd name="connsiteY1312" fmla="*/ 805152 h 905809"/>
                <a:gd name="connsiteX1313" fmla="*/ 671414 w 1352046"/>
                <a:gd name="connsiteY1313" fmla="*/ 805981 h 905809"/>
                <a:gd name="connsiteX1314" fmla="*/ 670753 w 1352046"/>
                <a:gd name="connsiteY1314" fmla="*/ 806223 h 905809"/>
                <a:gd name="connsiteX1315" fmla="*/ 670167 w 1352046"/>
                <a:gd name="connsiteY1315" fmla="*/ 806266 h 905809"/>
                <a:gd name="connsiteX1316" fmla="*/ 664027 w 1352046"/>
                <a:gd name="connsiteY1316" fmla="*/ 800873 h 905809"/>
                <a:gd name="connsiteX1317" fmla="*/ 663648 w 1352046"/>
                <a:gd name="connsiteY1317" fmla="*/ 800593 h 905809"/>
                <a:gd name="connsiteX1318" fmla="*/ 662554 w 1352046"/>
                <a:gd name="connsiteY1318" fmla="*/ 801701 h 905809"/>
                <a:gd name="connsiteX1319" fmla="*/ 661552 w 1352046"/>
                <a:gd name="connsiteY1319" fmla="*/ 804560 h 905809"/>
                <a:gd name="connsiteX1320" fmla="*/ 660835 w 1352046"/>
                <a:gd name="connsiteY1320" fmla="*/ 805109 h 905809"/>
                <a:gd name="connsiteX1321" fmla="*/ 660349 w 1352046"/>
                <a:gd name="connsiteY1321" fmla="*/ 804890 h 905809"/>
                <a:gd name="connsiteX1322" fmla="*/ 657808 w 1352046"/>
                <a:gd name="connsiteY1322" fmla="*/ 801230 h 905809"/>
                <a:gd name="connsiteX1323" fmla="*/ 657157 w 1352046"/>
                <a:gd name="connsiteY1323" fmla="*/ 800879 h 905809"/>
                <a:gd name="connsiteX1324" fmla="*/ 656581 w 1352046"/>
                <a:gd name="connsiteY1324" fmla="*/ 801004 h 905809"/>
                <a:gd name="connsiteX1325" fmla="*/ 655823 w 1352046"/>
                <a:gd name="connsiteY1325" fmla="*/ 802188 h 905809"/>
                <a:gd name="connsiteX1326" fmla="*/ 654210 w 1352046"/>
                <a:gd name="connsiteY1326" fmla="*/ 803933 h 905809"/>
                <a:gd name="connsiteX1327" fmla="*/ 652977 w 1352046"/>
                <a:gd name="connsiteY1327" fmla="*/ 804993 h 905809"/>
                <a:gd name="connsiteX1328" fmla="*/ 652949 w 1352046"/>
                <a:gd name="connsiteY1328" fmla="*/ 806173 h 905809"/>
                <a:gd name="connsiteX1329" fmla="*/ 651612 w 1352046"/>
                <a:gd name="connsiteY1329" fmla="*/ 807213 h 905809"/>
                <a:gd name="connsiteX1330" fmla="*/ 650053 w 1352046"/>
                <a:gd name="connsiteY1330" fmla="*/ 808248 h 905809"/>
                <a:gd name="connsiteX1331" fmla="*/ 649535 w 1352046"/>
                <a:gd name="connsiteY1331" fmla="*/ 808358 h 905809"/>
                <a:gd name="connsiteX1332" fmla="*/ 648501 w 1352046"/>
                <a:gd name="connsiteY1332" fmla="*/ 807942 h 905809"/>
                <a:gd name="connsiteX1333" fmla="*/ 647153 w 1352046"/>
                <a:gd name="connsiteY1333" fmla="*/ 806565 h 905809"/>
                <a:gd name="connsiteX1334" fmla="*/ 646177 w 1352046"/>
                <a:gd name="connsiteY1334" fmla="*/ 805128 h 905809"/>
                <a:gd name="connsiteX1335" fmla="*/ 643765 w 1352046"/>
                <a:gd name="connsiteY1335" fmla="*/ 803701 h 905809"/>
                <a:gd name="connsiteX1336" fmla="*/ 641057 w 1352046"/>
                <a:gd name="connsiteY1336" fmla="*/ 802494 h 905809"/>
                <a:gd name="connsiteX1337" fmla="*/ 639259 w 1352046"/>
                <a:gd name="connsiteY1337" fmla="*/ 801548 h 905809"/>
                <a:gd name="connsiteX1338" fmla="*/ 638235 w 1352046"/>
                <a:gd name="connsiteY1338" fmla="*/ 801317 h 905809"/>
                <a:gd name="connsiteX1339" fmla="*/ 637285 w 1352046"/>
                <a:gd name="connsiteY1339" fmla="*/ 801739 h 905809"/>
                <a:gd name="connsiteX1340" fmla="*/ 636810 w 1352046"/>
                <a:gd name="connsiteY1340" fmla="*/ 802317 h 905809"/>
                <a:gd name="connsiteX1341" fmla="*/ 636132 w 1352046"/>
                <a:gd name="connsiteY1341" fmla="*/ 803745 h 905809"/>
                <a:gd name="connsiteX1342" fmla="*/ 634505 w 1352046"/>
                <a:gd name="connsiteY1342" fmla="*/ 806085 h 905809"/>
                <a:gd name="connsiteX1343" fmla="*/ 633064 w 1352046"/>
                <a:gd name="connsiteY1343" fmla="*/ 807945 h 905809"/>
                <a:gd name="connsiteX1344" fmla="*/ 631714 w 1352046"/>
                <a:gd name="connsiteY1344" fmla="*/ 809139 h 905809"/>
                <a:gd name="connsiteX1345" fmla="*/ 630640 w 1352046"/>
                <a:gd name="connsiteY1345" fmla="*/ 809963 h 905809"/>
                <a:gd name="connsiteX1346" fmla="*/ 629846 w 1352046"/>
                <a:gd name="connsiteY1346" fmla="*/ 809194 h 905809"/>
                <a:gd name="connsiteX1347" fmla="*/ 628362 w 1352046"/>
                <a:gd name="connsiteY1347" fmla="*/ 808568 h 905809"/>
                <a:gd name="connsiteX1348" fmla="*/ 626615 w 1352046"/>
                <a:gd name="connsiteY1348" fmla="*/ 808563 h 905809"/>
                <a:gd name="connsiteX1349" fmla="*/ 624324 w 1352046"/>
                <a:gd name="connsiteY1349" fmla="*/ 809747 h 905809"/>
                <a:gd name="connsiteX1350" fmla="*/ 622515 w 1352046"/>
                <a:gd name="connsiteY1350" fmla="*/ 807380 h 905809"/>
                <a:gd name="connsiteX1351" fmla="*/ 622046 w 1352046"/>
                <a:gd name="connsiteY1351" fmla="*/ 807265 h 905809"/>
                <a:gd name="connsiteX1352" fmla="*/ 621355 w 1352046"/>
                <a:gd name="connsiteY1352" fmla="*/ 807467 h 905809"/>
                <a:gd name="connsiteX1353" fmla="*/ 620558 w 1352046"/>
                <a:gd name="connsiteY1353" fmla="*/ 808031 h 905809"/>
                <a:gd name="connsiteX1354" fmla="*/ 619999 w 1352046"/>
                <a:gd name="connsiteY1354" fmla="*/ 809353 h 905809"/>
                <a:gd name="connsiteX1355" fmla="*/ 619418 w 1352046"/>
                <a:gd name="connsiteY1355" fmla="*/ 811165 h 905809"/>
                <a:gd name="connsiteX1356" fmla="*/ 618267 w 1352046"/>
                <a:gd name="connsiteY1356" fmla="*/ 812352 h 905809"/>
                <a:gd name="connsiteX1357" fmla="*/ 617308 w 1352046"/>
                <a:gd name="connsiteY1357" fmla="*/ 812879 h 905809"/>
                <a:gd name="connsiteX1358" fmla="*/ 617591 w 1352046"/>
                <a:gd name="connsiteY1358" fmla="*/ 813896 h 905809"/>
                <a:gd name="connsiteX1359" fmla="*/ 618133 w 1352046"/>
                <a:gd name="connsiteY1359" fmla="*/ 814998 h 905809"/>
                <a:gd name="connsiteX1360" fmla="*/ 618099 w 1352046"/>
                <a:gd name="connsiteY1360" fmla="*/ 815961 h 905809"/>
                <a:gd name="connsiteX1361" fmla="*/ 618442 w 1352046"/>
                <a:gd name="connsiteY1361" fmla="*/ 817485 h 905809"/>
                <a:gd name="connsiteX1362" fmla="*/ 619042 w 1352046"/>
                <a:gd name="connsiteY1362" fmla="*/ 819006 h 905809"/>
                <a:gd name="connsiteX1363" fmla="*/ 621180 w 1352046"/>
                <a:gd name="connsiteY1363" fmla="*/ 821493 h 905809"/>
                <a:gd name="connsiteX1364" fmla="*/ 621996 w 1352046"/>
                <a:gd name="connsiteY1364" fmla="*/ 822790 h 905809"/>
                <a:gd name="connsiteX1365" fmla="*/ 622160 w 1352046"/>
                <a:gd name="connsiteY1365" fmla="*/ 823915 h 905809"/>
                <a:gd name="connsiteX1366" fmla="*/ 622234 w 1352046"/>
                <a:gd name="connsiteY1366" fmla="*/ 827905 h 905809"/>
                <a:gd name="connsiteX1367" fmla="*/ 622149 w 1352046"/>
                <a:gd name="connsiteY1367" fmla="*/ 829570 h 905809"/>
                <a:gd name="connsiteX1368" fmla="*/ 621724 w 1352046"/>
                <a:gd name="connsiteY1368" fmla="*/ 832783 h 905809"/>
                <a:gd name="connsiteX1369" fmla="*/ 621696 w 1352046"/>
                <a:gd name="connsiteY1369" fmla="*/ 834635 h 905809"/>
                <a:gd name="connsiteX1370" fmla="*/ 622584 w 1352046"/>
                <a:gd name="connsiteY1370" fmla="*/ 835468 h 905809"/>
                <a:gd name="connsiteX1371" fmla="*/ 623446 w 1352046"/>
                <a:gd name="connsiteY1371" fmla="*/ 836461 h 905809"/>
                <a:gd name="connsiteX1372" fmla="*/ 623413 w 1352046"/>
                <a:gd name="connsiteY1372" fmla="*/ 837002 h 905809"/>
                <a:gd name="connsiteX1373" fmla="*/ 623035 w 1352046"/>
                <a:gd name="connsiteY1373" fmla="*/ 837197 h 905809"/>
                <a:gd name="connsiteX1374" fmla="*/ 621811 w 1352046"/>
                <a:gd name="connsiteY1374" fmla="*/ 838301 h 905809"/>
                <a:gd name="connsiteX1375" fmla="*/ 621294 w 1352046"/>
                <a:gd name="connsiteY1375" fmla="*/ 838445 h 905809"/>
                <a:gd name="connsiteX1376" fmla="*/ 620493 w 1352046"/>
                <a:gd name="connsiteY1376" fmla="*/ 837995 h 905809"/>
                <a:gd name="connsiteX1377" fmla="*/ 619457 w 1352046"/>
                <a:gd name="connsiteY1377" fmla="*/ 837653 h 905809"/>
                <a:gd name="connsiteX1378" fmla="*/ 618621 w 1352046"/>
                <a:gd name="connsiteY1378" fmla="*/ 837211 h 905809"/>
                <a:gd name="connsiteX1379" fmla="*/ 617703 w 1352046"/>
                <a:gd name="connsiteY1379" fmla="*/ 836501 h 905809"/>
                <a:gd name="connsiteX1380" fmla="*/ 615518 w 1352046"/>
                <a:gd name="connsiteY1380" fmla="*/ 836581 h 905809"/>
                <a:gd name="connsiteX1381" fmla="*/ 611934 w 1352046"/>
                <a:gd name="connsiteY1381" fmla="*/ 837660 h 905809"/>
                <a:gd name="connsiteX1382" fmla="*/ 611190 w 1352046"/>
                <a:gd name="connsiteY1382" fmla="*/ 837355 h 905809"/>
                <a:gd name="connsiteX1383" fmla="*/ 610673 w 1352046"/>
                <a:gd name="connsiteY1383" fmla="*/ 836744 h 905809"/>
                <a:gd name="connsiteX1384" fmla="*/ 610394 w 1352046"/>
                <a:gd name="connsiteY1384" fmla="*/ 835484 h 905809"/>
                <a:gd name="connsiteX1385" fmla="*/ 610573 w 1352046"/>
                <a:gd name="connsiteY1385" fmla="*/ 833999 h 905809"/>
                <a:gd name="connsiteX1386" fmla="*/ 610256 w 1352046"/>
                <a:gd name="connsiteY1386" fmla="*/ 833054 h 905809"/>
                <a:gd name="connsiteX1387" fmla="*/ 609588 w 1352046"/>
                <a:gd name="connsiteY1387" fmla="*/ 832493 h 905809"/>
                <a:gd name="connsiteX1388" fmla="*/ 610059 w 1352046"/>
                <a:gd name="connsiteY1388" fmla="*/ 829842 h 905809"/>
                <a:gd name="connsiteX1389" fmla="*/ 608781 w 1352046"/>
                <a:gd name="connsiteY1389" fmla="*/ 828791 h 905809"/>
                <a:gd name="connsiteX1390" fmla="*/ 608967 w 1352046"/>
                <a:gd name="connsiteY1390" fmla="*/ 828463 h 905809"/>
                <a:gd name="connsiteX1391" fmla="*/ 608543 w 1352046"/>
                <a:gd name="connsiteY1391" fmla="*/ 825603 h 905809"/>
                <a:gd name="connsiteX1392" fmla="*/ 608604 w 1352046"/>
                <a:gd name="connsiteY1392" fmla="*/ 824898 h 905809"/>
                <a:gd name="connsiteX1393" fmla="*/ 608379 w 1352046"/>
                <a:gd name="connsiteY1393" fmla="*/ 824654 h 905809"/>
                <a:gd name="connsiteX1394" fmla="*/ 607474 w 1352046"/>
                <a:gd name="connsiteY1394" fmla="*/ 824427 h 905809"/>
                <a:gd name="connsiteX1395" fmla="*/ 606137 w 1352046"/>
                <a:gd name="connsiteY1395" fmla="*/ 824879 h 905809"/>
                <a:gd name="connsiteX1396" fmla="*/ 602065 w 1352046"/>
                <a:gd name="connsiteY1396" fmla="*/ 826760 h 905809"/>
                <a:gd name="connsiteX1397" fmla="*/ 598571 w 1352046"/>
                <a:gd name="connsiteY1397" fmla="*/ 830239 h 905809"/>
                <a:gd name="connsiteX1398" fmla="*/ 596967 w 1352046"/>
                <a:gd name="connsiteY1398" fmla="*/ 831006 h 905809"/>
                <a:gd name="connsiteX1399" fmla="*/ 595347 w 1352046"/>
                <a:gd name="connsiteY1399" fmla="*/ 831323 h 905809"/>
                <a:gd name="connsiteX1400" fmla="*/ 593454 w 1352046"/>
                <a:gd name="connsiteY1400" fmla="*/ 830722 h 905809"/>
                <a:gd name="connsiteX1401" fmla="*/ 591351 w 1352046"/>
                <a:gd name="connsiteY1401" fmla="*/ 830330 h 905809"/>
                <a:gd name="connsiteX1402" fmla="*/ 588346 w 1352046"/>
                <a:gd name="connsiteY1402" fmla="*/ 831210 h 905809"/>
                <a:gd name="connsiteX1403" fmla="*/ 586863 w 1352046"/>
                <a:gd name="connsiteY1403" fmla="*/ 830804 h 905809"/>
                <a:gd name="connsiteX1404" fmla="*/ 586180 w 1352046"/>
                <a:gd name="connsiteY1404" fmla="*/ 830094 h 905809"/>
                <a:gd name="connsiteX1405" fmla="*/ 585572 w 1352046"/>
                <a:gd name="connsiteY1405" fmla="*/ 829013 h 905809"/>
                <a:gd name="connsiteX1406" fmla="*/ 585937 w 1352046"/>
                <a:gd name="connsiteY1406" fmla="*/ 827643 h 905809"/>
                <a:gd name="connsiteX1407" fmla="*/ 585710 w 1352046"/>
                <a:gd name="connsiteY1407" fmla="*/ 826633 h 905809"/>
                <a:gd name="connsiteX1408" fmla="*/ 584509 w 1352046"/>
                <a:gd name="connsiteY1408" fmla="*/ 826121 h 905809"/>
                <a:gd name="connsiteX1409" fmla="*/ 583116 w 1352046"/>
                <a:gd name="connsiteY1409" fmla="*/ 825685 h 905809"/>
                <a:gd name="connsiteX1410" fmla="*/ 582288 w 1352046"/>
                <a:gd name="connsiteY1410" fmla="*/ 824361 h 905809"/>
                <a:gd name="connsiteX1411" fmla="*/ 581953 w 1352046"/>
                <a:gd name="connsiteY1411" fmla="*/ 822922 h 905809"/>
                <a:gd name="connsiteX1412" fmla="*/ 582281 w 1352046"/>
                <a:gd name="connsiteY1412" fmla="*/ 821049 h 905809"/>
                <a:gd name="connsiteX1413" fmla="*/ 582445 w 1352046"/>
                <a:gd name="connsiteY1413" fmla="*/ 819038 h 905809"/>
                <a:gd name="connsiteX1414" fmla="*/ 581778 w 1352046"/>
                <a:gd name="connsiteY1414" fmla="*/ 818117 h 905809"/>
                <a:gd name="connsiteX1415" fmla="*/ 579737 w 1352046"/>
                <a:gd name="connsiteY1415" fmla="*/ 817614 h 905809"/>
                <a:gd name="connsiteX1416" fmla="*/ 574591 w 1352046"/>
                <a:gd name="connsiteY1416" fmla="*/ 816698 h 905809"/>
                <a:gd name="connsiteX1417" fmla="*/ 570081 w 1352046"/>
                <a:gd name="connsiteY1417" fmla="*/ 816196 h 905809"/>
                <a:gd name="connsiteX1418" fmla="*/ 568188 w 1352046"/>
                <a:gd name="connsiteY1418" fmla="*/ 816432 h 905809"/>
                <a:gd name="connsiteX1419" fmla="*/ 566647 w 1352046"/>
                <a:gd name="connsiteY1419" fmla="*/ 816211 h 905809"/>
                <a:gd name="connsiteX1420" fmla="*/ 565753 w 1352046"/>
                <a:gd name="connsiteY1420" fmla="*/ 815844 h 905809"/>
                <a:gd name="connsiteX1421" fmla="*/ 565321 w 1352046"/>
                <a:gd name="connsiteY1421" fmla="*/ 815209 h 905809"/>
                <a:gd name="connsiteX1422" fmla="*/ 565297 w 1352046"/>
                <a:gd name="connsiteY1422" fmla="*/ 814300 h 905809"/>
                <a:gd name="connsiteX1423" fmla="*/ 566027 w 1352046"/>
                <a:gd name="connsiteY1423" fmla="*/ 812208 h 905809"/>
                <a:gd name="connsiteX1424" fmla="*/ 566861 w 1352046"/>
                <a:gd name="connsiteY1424" fmla="*/ 810168 h 905809"/>
                <a:gd name="connsiteX1425" fmla="*/ 568953 w 1352046"/>
                <a:gd name="connsiteY1425" fmla="*/ 807200 h 905809"/>
                <a:gd name="connsiteX1426" fmla="*/ 569074 w 1352046"/>
                <a:gd name="connsiteY1426" fmla="*/ 805143 h 905809"/>
                <a:gd name="connsiteX1427" fmla="*/ 568966 w 1352046"/>
                <a:gd name="connsiteY1427" fmla="*/ 802767 h 905809"/>
                <a:gd name="connsiteX1428" fmla="*/ 570002 w 1352046"/>
                <a:gd name="connsiteY1428" fmla="*/ 799591 h 905809"/>
                <a:gd name="connsiteX1429" fmla="*/ 571808 w 1352046"/>
                <a:gd name="connsiteY1429" fmla="*/ 797211 h 905809"/>
                <a:gd name="connsiteX1430" fmla="*/ 572700 w 1352046"/>
                <a:gd name="connsiteY1430" fmla="*/ 796469 h 905809"/>
                <a:gd name="connsiteX1431" fmla="*/ 572482 w 1352046"/>
                <a:gd name="connsiteY1431" fmla="*/ 795410 h 905809"/>
                <a:gd name="connsiteX1432" fmla="*/ 571758 w 1352046"/>
                <a:gd name="connsiteY1432" fmla="*/ 794439 h 905809"/>
                <a:gd name="connsiteX1433" fmla="*/ 570730 w 1352046"/>
                <a:gd name="connsiteY1433" fmla="*/ 793903 h 905809"/>
                <a:gd name="connsiteX1434" fmla="*/ 569022 w 1352046"/>
                <a:gd name="connsiteY1434" fmla="*/ 793281 h 905809"/>
                <a:gd name="connsiteX1435" fmla="*/ 566358 w 1352046"/>
                <a:gd name="connsiteY1435" fmla="*/ 793108 h 905809"/>
                <a:gd name="connsiteX1436" fmla="*/ 562703 w 1352046"/>
                <a:gd name="connsiteY1436" fmla="*/ 792473 h 905809"/>
                <a:gd name="connsiteX1437" fmla="*/ 558474 w 1352046"/>
                <a:gd name="connsiteY1437" fmla="*/ 791058 h 905809"/>
                <a:gd name="connsiteX1438" fmla="*/ 558955 w 1352046"/>
                <a:gd name="connsiteY1438" fmla="*/ 788346 h 905809"/>
                <a:gd name="connsiteX1439" fmla="*/ 558891 w 1352046"/>
                <a:gd name="connsiteY1439" fmla="*/ 786646 h 905809"/>
                <a:gd name="connsiteX1440" fmla="*/ 558366 w 1352046"/>
                <a:gd name="connsiteY1440" fmla="*/ 785251 h 905809"/>
                <a:gd name="connsiteX1441" fmla="*/ 557500 w 1352046"/>
                <a:gd name="connsiteY1441" fmla="*/ 784260 h 905809"/>
                <a:gd name="connsiteX1442" fmla="*/ 557016 w 1352046"/>
                <a:gd name="connsiteY1442" fmla="*/ 783374 h 905809"/>
                <a:gd name="connsiteX1443" fmla="*/ 557776 w 1352046"/>
                <a:gd name="connsiteY1443" fmla="*/ 780945 h 905809"/>
                <a:gd name="connsiteX1444" fmla="*/ 556791 w 1352046"/>
                <a:gd name="connsiteY1444" fmla="*/ 778292 h 905809"/>
                <a:gd name="connsiteX1445" fmla="*/ 555628 w 1352046"/>
                <a:gd name="connsiteY1445" fmla="*/ 777234 h 905809"/>
                <a:gd name="connsiteX1446" fmla="*/ 554430 w 1352046"/>
                <a:gd name="connsiteY1446" fmla="*/ 775861 h 905809"/>
                <a:gd name="connsiteX1447" fmla="*/ 554338 w 1352046"/>
                <a:gd name="connsiteY1447" fmla="*/ 774380 h 905809"/>
                <a:gd name="connsiteX1448" fmla="*/ 554887 w 1352046"/>
                <a:gd name="connsiteY1448" fmla="*/ 772999 h 905809"/>
                <a:gd name="connsiteX1449" fmla="*/ 557815 w 1352046"/>
                <a:gd name="connsiteY1449" fmla="*/ 770037 h 905809"/>
                <a:gd name="connsiteX1450" fmla="*/ 557839 w 1352046"/>
                <a:gd name="connsiteY1450" fmla="*/ 769320 h 905809"/>
                <a:gd name="connsiteX1451" fmla="*/ 557115 w 1352046"/>
                <a:gd name="connsiteY1451" fmla="*/ 769378 h 905809"/>
                <a:gd name="connsiteX1452" fmla="*/ 556275 w 1352046"/>
                <a:gd name="connsiteY1452" fmla="*/ 769440 h 905809"/>
                <a:gd name="connsiteX1453" fmla="*/ 552274 w 1352046"/>
                <a:gd name="connsiteY1453" fmla="*/ 770523 h 905809"/>
                <a:gd name="connsiteX1454" fmla="*/ 551848 w 1352046"/>
                <a:gd name="connsiteY1454" fmla="*/ 769844 h 905809"/>
                <a:gd name="connsiteX1455" fmla="*/ 550417 w 1352046"/>
                <a:gd name="connsiteY1455" fmla="*/ 769449 h 905809"/>
                <a:gd name="connsiteX1456" fmla="*/ 547495 w 1352046"/>
                <a:gd name="connsiteY1456" fmla="*/ 769370 h 905809"/>
                <a:gd name="connsiteX1457" fmla="*/ 544073 w 1352046"/>
                <a:gd name="connsiteY1457" fmla="*/ 769567 h 905809"/>
                <a:gd name="connsiteX1458" fmla="*/ 539748 w 1352046"/>
                <a:gd name="connsiteY1458" fmla="*/ 770626 h 905809"/>
                <a:gd name="connsiteX1459" fmla="*/ 535785 w 1352046"/>
                <a:gd name="connsiteY1459" fmla="*/ 772479 h 905809"/>
                <a:gd name="connsiteX1460" fmla="*/ 533971 w 1352046"/>
                <a:gd name="connsiteY1460" fmla="*/ 773753 h 905809"/>
                <a:gd name="connsiteX1461" fmla="*/ 532432 w 1352046"/>
                <a:gd name="connsiteY1461" fmla="*/ 774543 h 905809"/>
                <a:gd name="connsiteX1462" fmla="*/ 531185 w 1352046"/>
                <a:gd name="connsiteY1462" fmla="*/ 774800 h 905809"/>
                <a:gd name="connsiteX1463" fmla="*/ 529745 w 1352046"/>
                <a:gd name="connsiteY1463" fmla="*/ 774241 h 905809"/>
                <a:gd name="connsiteX1464" fmla="*/ 529827 w 1352046"/>
                <a:gd name="connsiteY1464" fmla="*/ 772428 h 905809"/>
                <a:gd name="connsiteX1465" fmla="*/ 532533 w 1352046"/>
                <a:gd name="connsiteY1465" fmla="*/ 769094 h 905809"/>
                <a:gd name="connsiteX1466" fmla="*/ 532922 w 1352046"/>
                <a:gd name="connsiteY1466" fmla="*/ 766799 h 905809"/>
                <a:gd name="connsiteX1467" fmla="*/ 532092 w 1352046"/>
                <a:gd name="connsiteY1467" fmla="*/ 764830 h 905809"/>
                <a:gd name="connsiteX1468" fmla="*/ 532001 w 1352046"/>
                <a:gd name="connsiteY1468" fmla="*/ 763253 h 905809"/>
                <a:gd name="connsiteX1469" fmla="*/ 531052 w 1352046"/>
                <a:gd name="connsiteY1469" fmla="*/ 762245 h 905809"/>
                <a:gd name="connsiteX1470" fmla="*/ 529717 w 1352046"/>
                <a:gd name="connsiteY1470" fmla="*/ 761754 h 905809"/>
                <a:gd name="connsiteX1471" fmla="*/ 529013 w 1352046"/>
                <a:gd name="connsiteY1471" fmla="*/ 760632 h 905809"/>
                <a:gd name="connsiteX1472" fmla="*/ 528968 w 1352046"/>
                <a:gd name="connsiteY1472" fmla="*/ 757356 h 905809"/>
                <a:gd name="connsiteX1473" fmla="*/ 530160 w 1352046"/>
                <a:gd name="connsiteY1473" fmla="*/ 753982 h 905809"/>
                <a:gd name="connsiteX1474" fmla="*/ 532092 w 1352046"/>
                <a:gd name="connsiteY1474" fmla="*/ 752916 h 905809"/>
                <a:gd name="connsiteX1475" fmla="*/ 533267 w 1352046"/>
                <a:gd name="connsiteY1475" fmla="*/ 752402 h 905809"/>
                <a:gd name="connsiteX1476" fmla="*/ 533578 w 1352046"/>
                <a:gd name="connsiteY1476" fmla="*/ 751747 h 905809"/>
                <a:gd name="connsiteX1477" fmla="*/ 532977 w 1352046"/>
                <a:gd name="connsiteY1477" fmla="*/ 749383 h 905809"/>
                <a:gd name="connsiteX1478" fmla="*/ 533070 w 1352046"/>
                <a:gd name="connsiteY1478" fmla="*/ 747878 h 905809"/>
                <a:gd name="connsiteX1479" fmla="*/ 534230 w 1352046"/>
                <a:gd name="connsiteY1479" fmla="*/ 744965 h 905809"/>
                <a:gd name="connsiteX1480" fmla="*/ 535383 w 1352046"/>
                <a:gd name="connsiteY1480" fmla="*/ 742755 h 905809"/>
                <a:gd name="connsiteX1481" fmla="*/ 537560 w 1352046"/>
                <a:gd name="connsiteY1481" fmla="*/ 743126 h 905809"/>
                <a:gd name="connsiteX1482" fmla="*/ 538534 w 1352046"/>
                <a:gd name="connsiteY1482" fmla="*/ 742580 h 905809"/>
                <a:gd name="connsiteX1483" fmla="*/ 539611 w 1352046"/>
                <a:gd name="connsiteY1483" fmla="*/ 741797 h 905809"/>
                <a:gd name="connsiteX1484" fmla="*/ 540790 w 1352046"/>
                <a:gd name="connsiteY1484" fmla="*/ 740466 h 905809"/>
                <a:gd name="connsiteX1485" fmla="*/ 541576 w 1352046"/>
                <a:gd name="connsiteY1485" fmla="*/ 738893 h 905809"/>
                <a:gd name="connsiteX1486" fmla="*/ 542533 w 1352046"/>
                <a:gd name="connsiteY1486" fmla="*/ 735228 h 905809"/>
                <a:gd name="connsiteX1487" fmla="*/ 543190 w 1352046"/>
                <a:gd name="connsiteY1487" fmla="*/ 734674 h 905809"/>
                <a:gd name="connsiteX1488" fmla="*/ 545932 w 1352046"/>
                <a:gd name="connsiteY1488" fmla="*/ 735280 h 905809"/>
                <a:gd name="connsiteX1489" fmla="*/ 546755 w 1352046"/>
                <a:gd name="connsiteY1489" fmla="*/ 734858 h 905809"/>
                <a:gd name="connsiteX1490" fmla="*/ 548256 w 1352046"/>
                <a:gd name="connsiteY1490" fmla="*/ 732704 h 905809"/>
                <a:gd name="connsiteX1491" fmla="*/ 549668 w 1352046"/>
                <a:gd name="connsiteY1491" fmla="*/ 730085 h 905809"/>
                <a:gd name="connsiteX1492" fmla="*/ 551721 w 1352046"/>
                <a:gd name="connsiteY1492" fmla="*/ 729273 h 905809"/>
                <a:gd name="connsiteX1493" fmla="*/ 553203 w 1352046"/>
                <a:gd name="connsiteY1493" fmla="*/ 729191 h 905809"/>
                <a:gd name="connsiteX1494" fmla="*/ 553885 w 1352046"/>
                <a:gd name="connsiteY1494" fmla="*/ 728320 h 905809"/>
                <a:gd name="connsiteX1495" fmla="*/ 553851 w 1352046"/>
                <a:gd name="connsiteY1495" fmla="*/ 727038 h 905809"/>
                <a:gd name="connsiteX1496" fmla="*/ 552443 w 1352046"/>
                <a:gd name="connsiteY1496" fmla="*/ 725006 h 905809"/>
                <a:gd name="connsiteX1497" fmla="*/ 551847 w 1352046"/>
                <a:gd name="connsiteY1497" fmla="*/ 723381 h 905809"/>
                <a:gd name="connsiteX1498" fmla="*/ 552021 w 1352046"/>
                <a:gd name="connsiteY1498" fmla="*/ 722395 h 905809"/>
                <a:gd name="connsiteX1499" fmla="*/ 554038 w 1352046"/>
                <a:gd name="connsiteY1499" fmla="*/ 721794 h 905809"/>
                <a:gd name="connsiteX1500" fmla="*/ 554533 w 1352046"/>
                <a:gd name="connsiteY1500" fmla="*/ 720613 h 905809"/>
                <a:gd name="connsiteX1501" fmla="*/ 554230 w 1352046"/>
                <a:gd name="connsiteY1501" fmla="*/ 718027 h 905809"/>
                <a:gd name="connsiteX1502" fmla="*/ 555062 w 1352046"/>
                <a:gd name="connsiteY1502" fmla="*/ 714918 h 905809"/>
                <a:gd name="connsiteX1503" fmla="*/ 555556 w 1352046"/>
                <a:gd name="connsiteY1503" fmla="*/ 711273 h 905809"/>
                <a:gd name="connsiteX1504" fmla="*/ 555723 w 1352046"/>
                <a:gd name="connsiteY1504" fmla="*/ 708549 h 905809"/>
                <a:gd name="connsiteX1505" fmla="*/ 555703 w 1352046"/>
                <a:gd name="connsiteY1505" fmla="*/ 706469 h 905809"/>
                <a:gd name="connsiteX1506" fmla="*/ 555505 w 1352046"/>
                <a:gd name="connsiteY1506" fmla="*/ 704291 h 905809"/>
                <a:gd name="connsiteX1507" fmla="*/ 555217 w 1352046"/>
                <a:gd name="connsiteY1507" fmla="*/ 700308 h 905809"/>
                <a:gd name="connsiteX1508" fmla="*/ 554295 w 1352046"/>
                <a:gd name="connsiteY1508" fmla="*/ 696840 h 905809"/>
                <a:gd name="connsiteX1509" fmla="*/ 554464 w 1352046"/>
                <a:gd name="connsiteY1509" fmla="*/ 695538 h 905809"/>
                <a:gd name="connsiteX1510" fmla="*/ 554338 w 1352046"/>
                <a:gd name="connsiteY1510" fmla="*/ 691330 h 905809"/>
                <a:gd name="connsiteX1511" fmla="*/ 553772 w 1352046"/>
                <a:gd name="connsiteY1511" fmla="*/ 687740 h 905809"/>
                <a:gd name="connsiteX1512" fmla="*/ 552637 w 1352046"/>
                <a:gd name="connsiteY1512" fmla="*/ 687111 h 905809"/>
                <a:gd name="connsiteX1513" fmla="*/ 550529 w 1352046"/>
                <a:gd name="connsiteY1513" fmla="*/ 685946 h 905809"/>
                <a:gd name="connsiteX1514" fmla="*/ 549380 w 1352046"/>
                <a:gd name="connsiteY1514" fmla="*/ 685717 h 905809"/>
                <a:gd name="connsiteX1515" fmla="*/ 548415 w 1352046"/>
                <a:gd name="connsiteY1515" fmla="*/ 686141 h 905809"/>
                <a:gd name="connsiteX1516" fmla="*/ 548050 w 1352046"/>
                <a:gd name="connsiteY1516" fmla="*/ 687392 h 905809"/>
                <a:gd name="connsiteX1517" fmla="*/ 547124 w 1352046"/>
                <a:gd name="connsiteY1517" fmla="*/ 688560 h 905809"/>
                <a:gd name="connsiteX1518" fmla="*/ 545981 w 1352046"/>
                <a:gd name="connsiteY1518" fmla="*/ 688274 h 905809"/>
                <a:gd name="connsiteX1519" fmla="*/ 545437 w 1352046"/>
                <a:gd name="connsiteY1519" fmla="*/ 687105 h 905809"/>
                <a:gd name="connsiteX1520" fmla="*/ 544703 w 1352046"/>
                <a:gd name="connsiteY1520" fmla="*/ 685575 h 905809"/>
                <a:gd name="connsiteX1521" fmla="*/ 542259 w 1352046"/>
                <a:gd name="connsiteY1521" fmla="*/ 678303 h 905809"/>
                <a:gd name="connsiteX1522" fmla="*/ 541991 w 1352046"/>
                <a:gd name="connsiteY1522" fmla="*/ 676206 h 905809"/>
                <a:gd name="connsiteX1523" fmla="*/ 541561 w 1352046"/>
                <a:gd name="connsiteY1523" fmla="*/ 674123 h 905809"/>
                <a:gd name="connsiteX1524" fmla="*/ 540737 w 1352046"/>
                <a:gd name="connsiteY1524" fmla="*/ 673079 h 905809"/>
                <a:gd name="connsiteX1525" fmla="*/ 539866 w 1352046"/>
                <a:gd name="connsiteY1525" fmla="*/ 672465 h 905809"/>
                <a:gd name="connsiteX1526" fmla="*/ 537916 w 1352046"/>
                <a:gd name="connsiteY1526" fmla="*/ 670015 h 905809"/>
                <a:gd name="connsiteX1527" fmla="*/ 536888 w 1352046"/>
                <a:gd name="connsiteY1527" fmla="*/ 668993 h 905809"/>
                <a:gd name="connsiteX1528" fmla="*/ 536387 w 1352046"/>
                <a:gd name="connsiteY1528" fmla="*/ 668823 h 905809"/>
                <a:gd name="connsiteX1529" fmla="*/ 535316 w 1352046"/>
                <a:gd name="connsiteY1529" fmla="*/ 668996 h 905809"/>
                <a:gd name="connsiteX1530" fmla="*/ 534267 w 1352046"/>
                <a:gd name="connsiteY1530" fmla="*/ 669001 h 905809"/>
                <a:gd name="connsiteX1531" fmla="*/ 533405 w 1352046"/>
                <a:gd name="connsiteY1531" fmla="*/ 667779 h 905809"/>
                <a:gd name="connsiteX1532" fmla="*/ 532622 w 1352046"/>
                <a:gd name="connsiteY1532" fmla="*/ 666287 h 905809"/>
                <a:gd name="connsiteX1533" fmla="*/ 531831 w 1352046"/>
                <a:gd name="connsiteY1533" fmla="*/ 665552 h 905809"/>
                <a:gd name="connsiteX1534" fmla="*/ 530512 w 1352046"/>
                <a:gd name="connsiteY1534" fmla="*/ 665143 h 905809"/>
                <a:gd name="connsiteX1535" fmla="*/ 529156 w 1352046"/>
                <a:gd name="connsiteY1535" fmla="*/ 665307 h 905809"/>
                <a:gd name="connsiteX1536" fmla="*/ 528365 w 1352046"/>
                <a:gd name="connsiteY1536" fmla="*/ 666598 h 905809"/>
                <a:gd name="connsiteX1537" fmla="*/ 527826 w 1352046"/>
                <a:gd name="connsiteY1537" fmla="*/ 667335 h 905809"/>
                <a:gd name="connsiteX1538" fmla="*/ 526802 w 1352046"/>
                <a:gd name="connsiteY1538" fmla="*/ 669055 h 905809"/>
                <a:gd name="connsiteX1539" fmla="*/ 525144 w 1352046"/>
                <a:gd name="connsiteY1539" fmla="*/ 671436 h 905809"/>
                <a:gd name="connsiteX1540" fmla="*/ 524392 w 1352046"/>
                <a:gd name="connsiteY1540" fmla="*/ 672311 h 905809"/>
                <a:gd name="connsiteX1541" fmla="*/ 523662 w 1352046"/>
                <a:gd name="connsiteY1541" fmla="*/ 671859 h 905809"/>
                <a:gd name="connsiteX1542" fmla="*/ 520470 w 1352046"/>
                <a:gd name="connsiteY1542" fmla="*/ 669380 h 905809"/>
                <a:gd name="connsiteX1543" fmla="*/ 518929 w 1352046"/>
                <a:gd name="connsiteY1543" fmla="*/ 668694 h 905809"/>
                <a:gd name="connsiteX1544" fmla="*/ 516839 w 1352046"/>
                <a:gd name="connsiteY1544" fmla="*/ 669443 h 905809"/>
                <a:gd name="connsiteX1545" fmla="*/ 513569 w 1352046"/>
                <a:gd name="connsiteY1545" fmla="*/ 668851 h 905809"/>
                <a:gd name="connsiteX1546" fmla="*/ 512303 w 1352046"/>
                <a:gd name="connsiteY1546" fmla="*/ 668739 h 905809"/>
                <a:gd name="connsiteX1547" fmla="*/ 509585 w 1352046"/>
                <a:gd name="connsiteY1547" fmla="*/ 666757 h 905809"/>
                <a:gd name="connsiteX1548" fmla="*/ 508475 w 1352046"/>
                <a:gd name="connsiteY1548" fmla="*/ 666513 h 905809"/>
                <a:gd name="connsiteX1549" fmla="*/ 504608 w 1352046"/>
                <a:gd name="connsiteY1549" fmla="*/ 667805 h 905809"/>
                <a:gd name="connsiteX1550" fmla="*/ 503753 w 1352046"/>
                <a:gd name="connsiteY1550" fmla="*/ 668719 h 905809"/>
                <a:gd name="connsiteX1551" fmla="*/ 503251 w 1352046"/>
                <a:gd name="connsiteY1551" fmla="*/ 668734 h 905809"/>
                <a:gd name="connsiteX1552" fmla="*/ 502222 w 1352046"/>
                <a:gd name="connsiteY1552" fmla="*/ 668273 h 905809"/>
                <a:gd name="connsiteX1553" fmla="*/ 501373 w 1352046"/>
                <a:gd name="connsiteY1553" fmla="*/ 667660 h 905809"/>
                <a:gd name="connsiteX1554" fmla="*/ 501317 w 1352046"/>
                <a:gd name="connsiteY1554" fmla="*/ 667274 h 905809"/>
                <a:gd name="connsiteX1555" fmla="*/ 502362 w 1352046"/>
                <a:gd name="connsiteY1555" fmla="*/ 666306 h 905809"/>
                <a:gd name="connsiteX1556" fmla="*/ 502444 w 1352046"/>
                <a:gd name="connsiteY1556" fmla="*/ 665628 h 905809"/>
                <a:gd name="connsiteX1557" fmla="*/ 502388 w 1352046"/>
                <a:gd name="connsiteY1557" fmla="*/ 664942 h 905809"/>
                <a:gd name="connsiteX1558" fmla="*/ 503897 w 1352046"/>
                <a:gd name="connsiteY1558" fmla="*/ 662995 h 905809"/>
                <a:gd name="connsiteX1559" fmla="*/ 507994 w 1352046"/>
                <a:gd name="connsiteY1559" fmla="*/ 659222 h 905809"/>
                <a:gd name="connsiteX1560" fmla="*/ 507312 w 1352046"/>
                <a:gd name="connsiteY1560" fmla="*/ 657638 h 905809"/>
                <a:gd name="connsiteX1561" fmla="*/ 505701 w 1352046"/>
                <a:gd name="connsiteY1561" fmla="*/ 654519 h 905809"/>
                <a:gd name="connsiteX1562" fmla="*/ 505478 w 1352046"/>
                <a:gd name="connsiteY1562" fmla="*/ 653005 h 905809"/>
                <a:gd name="connsiteX1563" fmla="*/ 504785 w 1352046"/>
                <a:gd name="connsiteY1563" fmla="*/ 652321 h 905809"/>
                <a:gd name="connsiteX1564" fmla="*/ 502820 w 1352046"/>
                <a:gd name="connsiteY1564" fmla="*/ 652881 h 905809"/>
                <a:gd name="connsiteX1565" fmla="*/ 498736 w 1352046"/>
                <a:gd name="connsiteY1565" fmla="*/ 655712 h 905809"/>
                <a:gd name="connsiteX1566" fmla="*/ 498181 w 1352046"/>
                <a:gd name="connsiteY1566" fmla="*/ 655402 h 905809"/>
                <a:gd name="connsiteX1567" fmla="*/ 498276 w 1352046"/>
                <a:gd name="connsiteY1567" fmla="*/ 654419 h 905809"/>
                <a:gd name="connsiteX1568" fmla="*/ 497856 w 1352046"/>
                <a:gd name="connsiteY1568" fmla="*/ 651566 h 905809"/>
                <a:gd name="connsiteX1569" fmla="*/ 499148 w 1352046"/>
                <a:gd name="connsiteY1569" fmla="*/ 650709 h 905809"/>
                <a:gd name="connsiteX1570" fmla="*/ 501131 w 1352046"/>
                <a:gd name="connsiteY1570" fmla="*/ 649660 h 905809"/>
                <a:gd name="connsiteX1571" fmla="*/ 502662 w 1352046"/>
                <a:gd name="connsiteY1571" fmla="*/ 648490 h 905809"/>
                <a:gd name="connsiteX1572" fmla="*/ 503018 w 1352046"/>
                <a:gd name="connsiteY1572" fmla="*/ 647544 h 905809"/>
                <a:gd name="connsiteX1573" fmla="*/ 502606 w 1352046"/>
                <a:gd name="connsiteY1573" fmla="*/ 647257 h 905809"/>
                <a:gd name="connsiteX1574" fmla="*/ 500345 w 1352046"/>
                <a:gd name="connsiteY1574" fmla="*/ 647623 h 905809"/>
                <a:gd name="connsiteX1575" fmla="*/ 499455 w 1352046"/>
                <a:gd name="connsiteY1575" fmla="*/ 646981 h 905809"/>
                <a:gd name="connsiteX1576" fmla="*/ 497991 w 1352046"/>
                <a:gd name="connsiteY1576" fmla="*/ 644355 h 905809"/>
                <a:gd name="connsiteX1577" fmla="*/ 496910 w 1352046"/>
                <a:gd name="connsiteY1577" fmla="*/ 643324 h 905809"/>
                <a:gd name="connsiteX1578" fmla="*/ 495932 w 1352046"/>
                <a:gd name="connsiteY1578" fmla="*/ 642769 h 905809"/>
                <a:gd name="connsiteX1579" fmla="*/ 492608 w 1352046"/>
                <a:gd name="connsiteY1579" fmla="*/ 644125 h 905809"/>
                <a:gd name="connsiteX1580" fmla="*/ 488744 w 1352046"/>
                <a:gd name="connsiteY1580" fmla="*/ 645984 h 905809"/>
                <a:gd name="connsiteX1581" fmla="*/ 484443 w 1352046"/>
                <a:gd name="connsiteY1581" fmla="*/ 648573 h 905809"/>
                <a:gd name="connsiteX1582" fmla="*/ 484470 w 1352046"/>
                <a:gd name="connsiteY1582" fmla="*/ 649902 h 905809"/>
                <a:gd name="connsiteX1583" fmla="*/ 483956 w 1352046"/>
                <a:gd name="connsiteY1583" fmla="*/ 650243 h 905809"/>
                <a:gd name="connsiteX1584" fmla="*/ 483132 w 1352046"/>
                <a:gd name="connsiteY1584" fmla="*/ 651079 h 905809"/>
                <a:gd name="connsiteX1585" fmla="*/ 482329 w 1352046"/>
                <a:gd name="connsiteY1585" fmla="*/ 652234 h 905809"/>
                <a:gd name="connsiteX1586" fmla="*/ 481645 w 1352046"/>
                <a:gd name="connsiteY1586" fmla="*/ 652641 h 905809"/>
                <a:gd name="connsiteX1587" fmla="*/ 480846 w 1352046"/>
                <a:gd name="connsiteY1587" fmla="*/ 652677 h 905809"/>
                <a:gd name="connsiteX1588" fmla="*/ 479209 w 1352046"/>
                <a:gd name="connsiteY1588" fmla="*/ 652348 h 905809"/>
                <a:gd name="connsiteX1589" fmla="*/ 476237 w 1352046"/>
                <a:gd name="connsiteY1589" fmla="*/ 651037 h 905809"/>
                <a:gd name="connsiteX1590" fmla="*/ 473011 w 1352046"/>
                <a:gd name="connsiteY1590" fmla="*/ 649951 h 905809"/>
                <a:gd name="connsiteX1591" fmla="*/ 472318 w 1352046"/>
                <a:gd name="connsiteY1591" fmla="*/ 650074 h 905809"/>
                <a:gd name="connsiteX1592" fmla="*/ 467940 w 1352046"/>
                <a:gd name="connsiteY1592" fmla="*/ 649307 h 905809"/>
                <a:gd name="connsiteX1593" fmla="*/ 467798 w 1352046"/>
                <a:gd name="connsiteY1593" fmla="*/ 648696 h 905809"/>
                <a:gd name="connsiteX1594" fmla="*/ 467143 w 1352046"/>
                <a:gd name="connsiteY1594" fmla="*/ 647483 h 905809"/>
                <a:gd name="connsiteX1595" fmla="*/ 465896 w 1352046"/>
                <a:gd name="connsiteY1595" fmla="*/ 646389 h 905809"/>
                <a:gd name="connsiteX1596" fmla="*/ 464702 w 1352046"/>
                <a:gd name="connsiteY1596" fmla="*/ 646018 h 905809"/>
                <a:gd name="connsiteX1597" fmla="*/ 461276 w 1352046"/>
                <a:gd name="connsiteY1597" fmla="*/ 648336 h 905809"/>
                <a:gd name="connsiteX1598" fmla="*/ 457410 w 1352046"/>
                <a:gd name="connsiteY1598" fmla="*/ 650060 h 905809"/>
                <a:gd name="connsiteX1599" fmla="*/ 455203 w 1352046"/>
                <a:gd name="connsiteY1599" fmla="*/ 652099 h 905809"/>
                <a:gd name="connsiteX1600" fmla="*/ 453392 w 1352046"/>
                <a:gd name="connsiteY1600" fmla="*/ 654121 h 905809"/>
                <a:gd name="connsiteX1601" fmla="*/ 451316 w 1352046"/>
                <a:gd name="connsiteY1601" fmla="*/ 654514 h 905809"/>
                <a:gd name="connsiteX1602" fmla="*/ 451219 w 1352046"/>
                <a:gd name="connsiteY1602" fmla="*/ 655765 h 905809"/>
                <a:gd name="connsiteX1603" fmla="*/ 450342 w 1352046"/>
                <a:gd name="connsiteY1603" fmla="*/ 656888 h 905809"/>
                <a:gd name="connsiteX1604" fmla="*/ 448764 w 1352046"/>
                <a:gd name="connsiteY1604" fmla="*/ 658272 h 905809"/>
                <a:gd name="connsiteX1605" fmla="*/ 445635 w 1352046"/>
                <a:gd name="connsiteY1605" fmla="*/ 660036 h 905809"/>
                <a:gd name="connsiteX1606" fmla="*/ 443516 w 1352046"/>
                <a:gd name="connsiteY1606" fmla="*/ 660986 h 905809"/>
                <a:gd name="connsiteX1607" fmla="*/ 436786 w 1352046"/>
                <a:gd name="connsiteY1607" fmla="*/ 661855 h 905809"/>
                <a:gd name="connsiteX1608" fmla="*/ 434384 w 1352046"/>
                <a:gd name="connsiteY1608" fmla="*/ 662444 h 905809"/>
                <a:gd name="connsiteX1609" fmla="*/ 433380 w 1352046"/>
                <a:gd name="connsiteY1609" fmla="*/ 663373 h 905809"/>
                <a:gd name="connsiteX1610" fmla="*/ 432303 w 1352046"/>
                <a:gd name="connsiteY1610" fmla="*/ 665726 h 905809"/>
                <a:gd name="connsiteX1611" fmla="*/ 431450 w 1352046"/>
                <a:gd name="connsiteY1611" fmla="*/ 667895 h 905809"/>
                <a:gd name="connsiteX1612" fmla="*/ 429586 w 1352046"/>
                <a:gd name="connsiteY1612" fmla="*/ 669684 h 905809"/>
                <a:gd name="connsiteX1613" fmla="*/ 426200 w 1352046"/>
                <a:gd name="connsiteY1613" fmla="*/ 672068 h 905809"/>
                <a:gd name="connsiteX1614" fmla="*/ 422221 w 1352046"/>
                <a:gd name="connsiteY1614" fmla="*/ 674007 h 905809"/>
                <a:gd name="connsiteX1615" fmla="*/ 421130 w 1352046"/>
                <a:gd name="connsiteY1615" fmla="*/ 675294 h 905809"/>
                <a:gd name="connsiteX1616" fmla="*/ 420929 w 1352046"/>
                <a:gd name="connsiteY1616" fmla="*/ 676056 h 905809"/>
                <a:gd name="connsiteX1617" fmla="*/ 421420 w 1352046"/>
                <a:gd name="connsiteY1617" fmla="*/ 676335 h 905809"/>
                <a:gd name="connsiteX1618" fmla="*/ 421904 w 1352046"/>
                <a:gd name="connsiteY1618" fmla="*/ 676912 h 905809"/>
                <a:gd name="connsiteX1619" fmla="*/ 421910 w 1352046"/>
                <a:gd name="connsiteY1619" fmla="*/ 677791 h 905809"/>
                <a:gd name="connsiteX1620" fmla="*/ 421391 w 1352046"/>
                <a:gd name="connsiteY1620" fmla="*/ 678749 h 905809"/>
                <a:gd name="connsiteX1621" fmla="*/ 418790 w 1352046"/>
                <a:gd name="connsiteY1621" fmla="*/ 680415 h 905809"/>
                <a:gd name="connsiteX1622" fmla="*/ 417329 w 1352046"/>
                <a:gd name="connsiteY1622" fmla="*/ 681210 h 905809"/>
                <a:gd name="connsiteX1623" fmla="*/ 415874 w 1352046"/>
                <a:gd name="connsiteY1623" fmla="*/ 681720 h 905809"/>
                <a:gd name="connsiteX1624" fmla="*/ 414242 w 1352046"/>
                <a:gd name="connsiteY1624" fmla="*/ 681812 h 905809"/>
                <a:gd name="connsiteX1625" fmla="*/ 412674 w 1352046"/>
                <a:gd name="connsiteY1625" fmla="*/ 681586 h 905809"/>
                <a:gd name="connsiteX1626" fmla="*/ 412240 w 1352046"/>
                <a:gd name="connsiteY1626" fmla="*/ 681316 h 905809"/>
                <a:gd name="connsiteX1627" fmla="*/ 411616 w 1352046"/>
                <a:gd name="connsiteY1627" fmla="*/ 681664 h 905809"/>
                <a:gd name="connsiteX1628" fmla="*/ 410186 w 1352046"/>
                <a:gd name="connsiteY1628" fmla="*/ 682015 h 905809"/>
                <a:gd name="connsiteX1629" fmla="*/ 408941 w 1352046"/>
                <a:gd name="connsiteY1629" fmla="*/ 682126 h 905809"/>
                <a:gd name="connsiteX1630" fmla="*/ 406207 w 1352046"/>
                <a:gd name="connsiteY1630" fmla="*/ 683971 h 905809"/>
                <a:gd name="connsiteX1631" fmla="*/ 404698 w 1352046"/>
                <a:gd name="connsiteY1631" fmla="*/ 683987 h 905809"/>
                <a:gd name="connsiteX1632" fmla="*/ 402825 w 1352046"/>
                <a:gd name="connsiteY1632" fmla="*/ 683587 h 905809"/>
                <a:gd name="connsiteX1633" fmla="*/ 400346 w 1352046"/>
                <a:gd name="connsiteY1633" fmla="*/ 683268 h 905809"/>
                <a:gd name="connsiteX1634" fmla="*/ 398562 w 1352046"/>
                <a:gd name="connsiteY1634" fmla="*/ 683265 h 905809"/>
                <a:gd name="connsiteX1635" fmla="*/ 398507 w 1352046"/>
                <a:gd name="connsiteY1635" fmla="*/ 682287 h 905809"/>
                <a:gd name="connsiteX1636" fmla="*/ 398782 w 1352046"/>
                <a:gd name="connsiteY1636" fmla="*/ 679363 h 905809"/>
                <a:gd name="connsiteX1637" fmla="*/ 397979 w 1352046"/>
                <a:gd name="connsiteY1637" fmla="*/ 678682 h 905809"/>
                <a:gd name="connsiteX1638" fmla="*/ 395498 w 1352046"/>
                <a:gd name="connsiteY1638" fmla="*/ 677963 h 905809"/>
                <a:gd name="connsiteX1639" fmla="*/ 392717 w 1352046"/>
                <a:gd name="connsiteY1639" fmla="*/ 677010 h 905809"/>
                <a:gd name="connsiteX1640" fmla="*/ 391374 w 1352046"/>
                <a:gd name="connsiteY1640" fmla="*/ 675996 h 905809"/>
                <a:gd name="connsiteX1641" fmla="*/ 390626 w 1352046"/>
                <a:gd name="connsiteY1641" fmla="*/ 675653 h 905809"/>
                <a:gd name="connsiteX1642" fmla="*/ 389584 w 1352046"/>
                <a:gd name="connsiteY1642" fmla="*/ 675823 h 905809"/>
                <a:gd name="connsiteX1643" fmla="*/ 387903 w 1352046"/>
                <a:gd name="connsiteY1643" fmla="*/ 676887 h 905809"/>
                <a:gd name="connsiteX1644" fmla="*/ 386308 w 1352046"/>
                <a:gd name="connsiteY1644" fmla="*/ 678138 h 905809"/>
                <a:gd name="connsiteX1645" fmla="*/ 385049 w 1352046"/>
                <a:gd name="connsiteY1645" fmla="*/ 678243 h 905809"/>
                <a:gd name="connsiteX1646" fmla="*/ 383760 w 1352046"/>
                <a:gd name="connsiteY1646" fmla="*/ 677657 h 905809"/>
                <a:gd name="connsiteX1647" fmla="*/ 382525 w 1352046"/>
                <a:gd name="connsiteY1647" fmla="*/ 676893 h 905809"/>
                <a:gd name="connsiteX1648" fmla="*/ 378303 w 1352046"/>
                <a:gd name="connsiteY1648" fmla="*/ 675811 h 905809"/>
                <a:gd name="connsiteX1649" fmla="*/ 376409 w 1352046"/>
                <a:gd name="connsiteY1649" fmla="*/ 675648 h 905809"/>
                <a:gd name="connsiteX1650" fmla="*/ 373032 w 1352046"/>
                <a:gd name="connsiteY1650" fmla="*/ 675832 h 905809"/>
                <a:gd name="connsiteX1651" fmla="*/ 370276 w 1352046"/>
                <a:gd name="connsiteY1651" fmla="*/ 675608 h 905809"/>
                <a:gd name="connsiteX1652" fmla="*/ 369842 w 1352046"/>
                <a:gd name="connsiteY1652" fmla="*/ 675279 h 905809"/>
                <a:gd name="connsiteX1653" fmla="*/ 369858 w 1352046"/>
                <a:gd name="connsiteY1653" fmla="*/ 674677 h 905809"/>
                <a:gd name="connsiteX1654" fmla="*/ 370263 w 1352046"/>
                <a:gd name="connsiteY1654" fmla="*/ 673503 h 905809"/>
                <a:gd name="connsiteX1655" fmla="*/ 370504 w 1352046"/>
                <a:gd name="connsiteY1655" fmla="*/ 672346 h 905809"/>
                <a:gd name="connsiteX1656" fmla="*/ 370177 w 1352046"/>
                <a:gd name="connsiteY1656" fmla="*/ 671689 h 905809"/>
                <a:gd name="connsiteX1657" fmla="*/ 367360 w 1352046"/>
                <a:gd name="connsiteY1657" fmla="*/ 670880 h 905809"/>
                <a:gd name="connsiteX1658" fmla="*/ 364788 w 1352046"/>
                <a:gd name="connsiteY1658" fmla="*/ 670297 h 905809"/>
                <a:gd name="connsiteX1659" fmla="*/ 362058 w 1352046"/>
                <a:gd name="connsiteY1659" fmla="*/ 670078 h 905809"/>
                <a:gd name="connsiteX1660" fmla="*/ 360218 w 1352046"/>
                <a:gd name="connsiteY1660" fmla="*/ 670487 h 905809"/>
                <a:gd name="connsiteX1661" fmla="*/ 358428 w 1352046"/>
                <a:gd name="connsiteY1661" fmla="*/ 671393 h 905809"/>
                <a:gd name="connsiteX1662" fmla="*/ 356945 w 1352046"/>
                <a:gd name="connsiteY1662" fmla="*/ 673024 h 905809"/>
                <a:gd name="connsiteX1663" fmla="*/ 354798 w 1352046"/>
                <a:gd name="connsiteY1663" fmla="*/ 673740 h 905809"/>
                <a:gd name="connsiteX1664" fmla="*/ 352237 w 1352046"/>
                <a:gd name="connsiteY1664" fmla="*/ 674957 h 905809"/>
                <a:gd name="connsiteX1665" fmla="*/ 350993 w 1352046"/>
                <a:gd name="connsiteY1665" fmla="*/ 676093 h 905809"/>
                <a:gd name="connsiteX1666" fmla="*/ 349119 w 1352046"/>
                <a:gd name="connsiteY1666" fmla="*/ 678528 h 905809"/>
                <a:gd name="connsiteX1667" fmla="*/ 346394 w 1352046"/>
                <a:gd name="connsiteY1667" fmla="*/ 681516 h 905809"/>
                <a:gd name="connsiteX1668" fmla="*/ 343913 w 1352046"/>
                <a:gd name="connsiteY1668" fmla="*/ 684427 h 905809"/>
                <a:gd name="connsiteX1669" fmla="*/ 342628 w 1352046"/>
                <a:gd name="connsiteY1669" fmla="*/ 687260 h 905809"/>
                <a:gd name="connsiteX1670" fmla="*/ 340929 w 1352046"/>
                <a:gd name="connsiteY1670" fmla="*/ 689042 h 905809"/>
                <a:gd name="connsiteX1671" fmla="*/ 339205 w 1352046"/>
                <a:gd name="connsiteY1671" fmla="*/ 690327 h 905809"/>
                <a:gd name="connsiteX1672" fmla="*/ 337964 w 1352046"/>
                <a:gd name="connsiteY1672" fmla="*/ 693853 h 905809"/>
                <a:gd name="connsiteX1673" fmla="*/ 336661 w 1352046"/>
                <a:gd name="connsiteY1673" fmla="*/ 692738 h 905809"/>
                <a:gd name="connsiteX1674" fmla="*/ 335165 w 1352046"/>
                <a:gd name="connsiteY1674" fmla="*/ 691140 h 905809"/>
                <a:gd name="connsiteX1675" fmla="*/ 334815 w 1352046"/>
                <a:gd name="connsiteY1675" fmla="*/ 688947 h 905809"/>
                <a:gd name="connsiteX1676" fmla="*/ 336603 w 1352046"/>
                <a:gd name="connsiteY1676" fmla="*/ 683087 h 905809"/>
                <a:gd name="connsiteX1677" fmla="*/ 337022 w 1352046"/>
                <a:gd name="connsiteY1677" fmla="*/ 680667 h 905809"/>
                <a:gd name="connsiteX1678" fmla="*/ 336575 w 1352046"/>
                <a:gd name="connsiteY1678" fmla="*/ 679745 h 905809"/>
                <a:gd name="connsiteX1679" fmla="*/ 336024 w 1352046"/>
                <a:gd name="connsiteY1679" fmla="*/ 677361 h 905809"/>
                <a:gd name="connsiteX1680" fmla="*/ 334975 w 1352046"/>
                <a:gd name="connsiteY1680" fmla="*/ 676578 h 905809"/>
                <a:gd name="connsiteX1681" fmla="*/ 331987 w 1352046"/>
                <a:gd name="connsiteY1681" fmla="*/ 675330 h 905809"/>
                <a:gd name="connsiteX1682" fmla="*/ 331032 w 1352046"/>
                <a:gd name="connsiteY1682" fmla="*/ 675294 h 905809"/>
                <a:gd name="connsiteX1683" fmla="*/ 330008 w 1352046"/>
                <a:gd name="connsiteY1683" fmla="*/ 676155 h 905809"/>
                <a:gd name="connsiteX1684" fmla="*/ 329002 w 1352046"/>
                <a:gd name="connsiteY1684" fmla="*/ 676703 h 905809"/>
                <a:gd name="connsiteX1685" fmla="*/ 327672 w 1352046"/>
                <a:gd name="connsiteY1685" fmla="*/ 677248 h 905809"/>
                <a:gd name="connsiteX1686" fmla="*/ 324338 w 1352046"/>
                <a:gd name="connsiteY1686" fmla="*/ 678272 h 905809"/>
                <a:gd name="connsiteX1687" fmla="*/ 321373 w 1352046"/>
                <a:gd name="connsiteY1687" fmla="*/ 678749 h 905809"/>
                <a:gd name="connsiteX1688" fmla="*/ 320662 w 1352046"/>
                <a:gd name="connsiteY1688" fmla="*/ 679129 h 905809"/>
                <a:gd name="connsiteX1689" fmla="*/ 320440 w 1352046"/>
                <a:gd name="connsiteY1689" fmla="*/ 679810 h 905809"/>
                <a:gd name="connsiteX1690" fmla="*/ 320680 w 1352046"/>
                <a:gd name="connsiteY1690" fmla="*/ 680621 h 905809"/>
                <a:gd name="connsiteX1691" fmla="*/ 318769 w 1352046"/>
                <a:gd name="connsiteY1691" fmla="*/ 680315 h 905809"/>
                <a:gd name="connsiteX1692" fmla="*/ 316780 w 1352046"/>
                <a:gd name="connsiteY1692" fmla="*/ 680138 h 905809"/>
                <a:gd name="connsiteX1693" fmla="*/ 315173 w 1352046"/>
                <a:gd name="connsiteY1693" fmla="*/ 680251 h 905809"/>
                <a:gd name="connsiteX1694" fmla="*/ 311237 w 1352046"/>
                <a:gd name="connsiteY1694" fmla="*/ 681797 h 905809"/>
                <a:gd name="connsiteX1695" fmla="*/ 309907 w 1352046"/>
                <a:gd name="connsiteY1695" fmla="*/ 681945 h 905809"/>
                <a:gd name="connsiteX1696" fmla="*/ 308419 w 1352046"/>
                <a:gd name="connsiteY1696" fmla="*/ 681786 h 905809"/>
                <a:gd name="connsiteX1697" fmla="*/ 306404 w 1352046"/>
                <a:gd name="connsiteY1697" fmla="*/ 681739 h 905809"/>
                <a:gd name="connsiteX1698" fmla="*/ 302569 w 1352046"/>
                <a:gd name="connsiteY1698" fmla="*/ 681784 h 905809"/>
                <a:gd name="connsiteX1699" fmla="*/ 299267 w 1352046"/>
                <a:gd name="connsiteY1699" fmla="*/ 681392 h 905809"/>
                <a:gd name="connsiteX1700" fmla="*/ 296586 w 1352046"/>
                <a:gd name="connsiteY1700" fmla="*/ 679233 h 905809"/>
                <a:gd name="connsiteX1701" fmla="*/ 294677 w 1352046"/>
                <a:gd name="connsiteY1701" fmla="*/ 678282 h 905809"/>
                <a:gd name="connsiteX1702" fmla="*/ 292655 w 1352046"/>
                <a:gd name="connsiteY1702" fmla="*/ 677547 h 905809"/>
                <a:gd name="connsiteX1703" fmla="*/ 290621 w 1352046"/>
                <a:gd name="connsiteY1703" fmla="*/ 676999 h 905809"/>
                <a:gd name="connsiteX1704" fmla="*/ 289941 w 1352046"/>
                <a:gd name="connsiteY1704" fmla="*/ 675837 h 905809"/>
                <a:gd name="connsiteX1705" fmla="*/ 289298 w 1352046"/>
                <a:gd name="connsiteY1705" fmla="*/ 675256 h 905809"/>
                <a:gd name="connsiteX1706" fmla="*/ 287615 w 1352046"/>
                <a:gd name="connsiteY1706" fmla="*/ 675063 h 905809"/>
                <a:gd name="connsiteX1707" fmla="*/ 286289 w 1352046"/>
                <a:gd name="connsiteY1707" fmla="*/ 675489 h 905809"/>
                <a:gd name="connsiteX1708" fmla="*/ 285458 w 1352046"/>
                <a:gd name="connsiteY1708" fmla="*/ 678400 h 905809"/>
                <a:gd name="connsiteX1709" fmla="*/ 284752 w 1352046"/>
                <a:gd name="connsiteY1709" fmla="*/ 678973 h 905809"/>
                <a:gd name="connsiteX1710" fmla="*/ 283066 w 1352046"/>
                <a:gd name="connsiteY1710" fmla="*/ 679233 h 905809"/>
                <a:gd name="connsiteX1711" fmla="*/ 281295 w 1352046"/>
                <a:gd name="connsiteY1711" fmla="*/ 678495 h 905809"/>
                <a:gd name="connsiteX1712" fmla="*/ 278848 w 1352046"/>
                <a:gd name="connsiteY1712" fmla="*/ 676999 h 905809"/>
                <a:gd name="connsiteX1713" fmla="*/ 277881 w 1352046"/>
                <a:gd name="connsiteY1713" fmla="*/ 675334 h 905809"/>
                <a:gd name="connsiteX1714" fmla="*/ 277058 w 1352046"/>
                <a:gd name="connsiteY1714" fmla="*/ 674791 h 905809"/>
                <a:gd name="connsiteX1715" fmla="*/ 275769 w 1352046"/>
                <a:gd name="connsiteY1715" fmla="*/ 675527 h 905809"/>
                <a:gd name="connsiteX1716" fmla="*/ 275698 w 1352046"/>
                <a:gd name="connsiteY1716" fmla="*/ 677657 h 905809"/>
                <a:gd name="connsiteX1717" fmla="*/ 275447 w 1352046"/>
                <a:gd name="connsiteY1717" fmla="*/ 679088 h 905809"/>
                <a:gd name="connsiteX1718" fmla="*/ 273908 w 1352046"/>
                <a:gd name="connsiteY1718" fmla="*/ 679670 h 905809"/>
                <a:gd name="connsiteX1719" fmla="*/ 273013 w 1352046"/>
                <a:gd name="connsiteY1719" fmla="*/ 679244 h 905809"/>
                <a:gd name="connsiteX1720" fmla="*/ 272296 w 1352046"/>
                <a:gd name="connsiteY1720" fmla="*/ 677774 h 905809"/>
                <a:gd name="connsiteX1721" fmla="*/ 270496 w 1352046"/>
                <a:gd name="connsiteY1721" fmla="*/ 674289 h 905809"/>
                <a:gd name="connsiteX1722" fmla="*/ 268710 w 1352046"/>
                <a:gd name="connsiteY1722" fmla="*/ 672247 h 905809"/>
                <a:gd name="connsiteX1723" fmla="*/ 266916 w 1352046"/>
                <a:gd name="connsiteY1723" fmla="*/ 670887 h 905809"/>
                <a:gd name="connsiteX1724" fmla="*/ 260997 w 1352046"/>
                <a:gd name="connsiteY1724" fmla="*/ 670920 h 905809"/>
                <a:gd name="connsiteX1725" fmla="*/ 256607 w 1352046"/>
                <a:gd name="connsiteY1725" fmla="*/ 670523 h 905809"/>
                <a:gd name="connsiteX1726" fmla="*/ 254624 w 1352046"/>
                <a:gd name="connsiteY1726" fmla="*/ 669963 h 905809"/>
                <a:gd name="connsiteX1727" fmla="*/ 253875 w 1352046"/>
                <a:gd name="connsiteY1727" fmla="*/ 668614 h 905809"/>
                <a:gd name="connsiteX1728" fmla="*/ 254603 w 1352046"/>
                <a:gd name="connsiteY1728" fmla="*/ 665929 h 905809"/>
                <a:gd name="connsiteX1729" fmla="*/ 255458 w 1352046"/>
                <a:gd name="connsiteY1729" fmla="*/ 663827 h 905809"/>
                <a:gd name="connsiteX1730" fmla="*/ 255434 w 1352046"/>
                <a:gd name="connsiteY1730" fmla="*/ 663339 h 905809"/>
                <a:gd name="connsiteX1731" fmla="*/ 254711 w 1352046"/>
                <a:gd name="connsiteY1731" fmla="*/ 663089 h 905809"/>
                <a:gd name="connsiteX1732" fmla="*/ 253445 w 1352046"/>
                <a:gd name="connsiteY1732" fmla="*/ 662920 h 905809"/>
                <a:gd name="connsiteX1733" fmla="*/ 248712 w 1352046"/>
                <a:gd name="connsiteY1733" fmla="*/ 664265 h 905809"/>
                <a:gd name="connsiteX1734" fmla="*/ 247425 w 1352046"/>
                <a:gd name="connsiteY1734" fmla="*/ 664107 h 905809"/>
                <a:gd name="connsiteX1735" fmla="*/ 246596 w 1352046"/>
                <a:gd name="connsiteY1735" fmla="*/ 663650 h 905809"/>
                <a:gd name="connsiteX1736" fmla="*/ 245598 w 1352046"/>
                <a:gd name="connsiteY1736" fmla="*/ 663259 h 905809"/>
                <a:gd name="connsiteX1737" fmla="*/ 244769 w 1352046"/>
                <a:gd name="connsiteY1737" fmla="*/ 662636 h 905809"/>
                <a:gd name="connsiteX1738" fmla="*/ 244190 w 1352046"/>
                <a:gd name="connsiteY1738" fmla="*/ 661722 h 905809"/>
                <a:gd name="connsiteX1739" fmla="*/ 240096 w 1352046"/>
                <a:gd name="connsiteY1739" fmla="*/ 659480 h 905809"/>
                <a:gd name="connsiteX1740" fmla="*/ 238887 w 1352046"/>
                <a:gd name="connsiteY1740" fmla="*/ 658256 h 905809"/>
                <a:gd name="connsiteX1741" fmla="*/ 236706 w 1352046"/>
                <a:gd name="connsiteY1741" fmla="*/ 656712 h 905809"/>
                <a:gd name="connsiteX1742" fmla="*/ 234861 w 1352046"/>
                <a:gd name="connsiteY1742" fmla="*/ 655663 h 905809"/>
                <a:gd name="connsiteX1743" fmla="*/ 233687 w 1352046"/>
                <a:gd name="connsiteY1743" fmla="*/ 652666 h 905809"/>
                <a:gd name="connsiteX1744" fmla="*/ 232631 w 1352046"/>
                <a:gd name="connsiteY1744" fmla="*/ 649779 h 905809"/>
                <a:gd name="connsiteX1745" fmla="*/ 232046 w 1352046"/>
                <a:gd name="connsiteY1745" fmla="*/ 648245 h 905809"/>
                <a:gd name="connsiteX1746" fmla="*/ 230290 w 1352046"/>
                <a:gd name="connsiteY1746" fmla="*/ 647429 h 905809"/>
                <a:gd name="connsiteX1747" fmla="*/ 228388 w 1352046"/>
                <a:gd name="connsiteY1747" fmla="*/ 646811 h 905809"/>
                <a:gd name="connsiteX1748" fmla="*/ 225170 w 1352046"/>
                <a:gd name="connsiteY1748" fmla="*/ 648066 h 905809"/>
                <a:gd name="connsiteX1749" fmla="*/ 222532 w 1352046"/>
                <a:gd name="connsiteY1749" fmla="*/ 649025 h 905809"/>
                <a:gd name="connsiteX1750" fmla="*/ 220595 w 1352046"/>
                <a:gd name="connsiteY1750" fmla="*/ 649122 h 905809"/>
                <a:gd name="connsiteX1751" fmla="*/ 217789 w 1352046"/>
                <a:gd name="connsiteY1751" fmla="*/ 646164 h 905809"/>
                <a:gd name="connsiteX1752" fmla="*/ 215546 w 1352046"/>
                <a:gd name="connsiteY1752" fmla="*/ 642962 h 905809"/>
                <a:gd name="connsiteX1753" fmla="*/ 212892 w 1352046"/>
                <a:gd name="connsiteY1753" fmla="*/ 640176 h 905809"/>
                <a:gd name="connsiteX1754" fmla="*/ 211130 w 1352046"/>
                <a:gd name="connsiteY1754" fmla="*/ 638775 h 905809"/>
                <a:gd name="connsiteX1755" fmla="*/ 208001 w 1352046"/>
                <a:gd name="connsiteY1755" fmla="*/ 638644 h 905809"/>
                <a:gd name="connsiteX1756" fmla="*/ 204470 w 1352046"/>
                <a:gd name="connsiteY1756" fmla="*/ 637066 h 905809"/>
                <a:gd name="connsiteX1757" fmla="*/ 199750 w 1352046"/>
                <a:gd name="connsiteY1757" fmla="*/ 633494 h 905809"/>
                <a:gd name="connsiteX1758" fmla="*/ 196338 w 1352046"/>
                <a:gd name="connsiteY1758" fmla="*/ 630826 h 905809"/>
                <a:gd name="connsiteX1759" fmla="*/ 190460 w 1352046"/>
                <a:gd name="connsiteY1759" fmla="*/ 627864 h 905809"/>
                <a:gd name="connsiteX1760" fmla="*/ 189095 w 1352046"/>
                <a:gd name="connsiteY1760" fmla="*/ 626621 h 905809"/>
                <a:gd name="connsiteX1761" fmla="*/ 188573 w 1352046"/>
                <a:gd name="connsiteY1761" fmla="*/ 625560 h 905809"/>
                <a:gd name="connsiteX1762" fmla="*/ 187767 w 1352046"/>
                <a:gd name="connsiteY1762" fmla="*/ 623474 h 905809"/>
                <a:gd name="connsiteX1763" fmla="*/ 186539 w 1352046"/>
                <a:gd name="connsiteY1763" fmla="*/ 621493 h 905809"/>
                <a:gd name="connsiteX1764" fmla="*/ 182371 w 1352046"/>
                <a:gd name="connsiteY1764" fmla="*/ 620628 h 905809"/>
                <a:gd name="connsiteX1765" fmla="*/ 177661 w 1352046"/>
                <a:gd name="connsiteY1765" fmla="*/ 620020 h 905809"/>
                <a:gd name="connsiteX1766" fmla="*/ 172693 w 1352046"/>
                <a:gd name="connsiteY1766" fmla="*/ 621230 h 905809"/>
                <a:gd name="connsiteX1767" fmla="*/ 169108 w 1352046"/>
                <a:gd name="connsiteY1767" fmla="*/ 627151 h 905809"/>
                <a:gd name="connsiteX1768" fmla="*/ 167385 w 1352046"/>
                <a:gd name="connsiteY1768" fmla="*/ 628445 h 905809"/>
                <a:gd name="connsiteX1769" fmla="*/ 165908 w 1352046"/>
                <a:gd name="connsiteY1769" fmla="*/ 628519 h 905809"/>
                <a:gd name="connsiteX1770" fmla="*/ 164696 w 1352046"/>
                <a:gd name="connsiteY1770" fmla="*/ 627014 h 905809"/>
                <a:gd name="connsiteX1771" fmla="*/ 163695 w 1352046"/>
                <a:gd name="connsiteY1771" fmla="*/ 625427 h 905809"/>
                <a:gd name="connsiteX1772" fmla="*/ 163146 w 1352046"/>
                <a:gd name="connsiteY1772" fmla="*/ 623667 h 905809"/>
                <a:gd name="connsiteX1773" fmla="*/ 160671 w 1352046"/>
                <a:gd name="connsiteY1773" fmla="*/ 622371 h 905809"/>
                <a:gd name="connsiteX1774" fmla="*/ 157869 w 1352046"/>
                <a:gd name="connsiteY1774" fmla="*/ 620677 h 905809"/>
                <a:gd name="connsiteX1775" fmla="*/ 156439 w 1352046"/>
                <a:gd name="connsiteY1775" fmla="*/ 619356 h 905809"/>
                <a:gd name="connsiteX1776" fmla="*/ 154819 w 1352046"/>
                <a:gd name="connsiteY1776" fmla="*/ 618530 h 905809"/>
                <a:gd name="connsiteX1777" fmla="*/ 153319 w 1352046"/>
                <a:gd name="connsiteY1777" fmla="*/ 618174 h 905809"/>
                <a:gd name="connsiteX1778" fmla="*/ 150412 w 1352046"/>
                <a:gd name="connsiteY1778" fmla="*/ 617059 h 905809"/>
                <a:gd name="connsiteX1779" fmla="*/ 147126 w 1352046"/>
                <a:gd name="connsiteY1779" fmla="*/ 615800 h 905809"/>
                <a:gd name="connsiteX1780" fmla="*/ 145584 w 1352046"/>
                <a:gd name="connsiteY1780" fmla="*/ 615628 h 905809"/>
                <a:gd name="connsiteX1781" fmla="*/ 145474 w 1352046"/>
                <a:gd name="connsiteY1781" fmla="*/ 614731 h 905809"/>
                <a:gd name="connsiteX1782" fmla="*/ 145936 w 1352046"/>
                <a:gd name="connsiteY1782" fmla="*/ 612825 h 905809"/>
                <a:gd name="connsiteX1783" fmla="*/ 145653 w 1352046"/>
                <a:gd name="connsiteY1783" fmla="*/ 610989 h 905809"/>
                <a:gd name="connsiteX1784" fmla="*/ 144660 w 1352046"/>
                <a:gd name="connsiteY1784" fmla="*/ 610245 h 905809"/>
                <a:gd name="connsiteX1785" fmla="*/ 143157 w 1352046"/>
                <a:gd name="connsiteY1785" fmla="*/ 610437 h 905809"/>
                <a:gd name="connsiteX1786" fmla="*/ 139687 w 1352046"/>
                <a:gd name="connsiteY1786" fmla="*/ 607838 h 905809"/>
                <a:gd name="connsiteX1787" fmla="*/ 139512 w 1352046"/>
                <a:gd name="connsiteY1787" fmla="*/ 607706 h 905809"/>
                <a:gd name="connsiteX1788" fmla="*/ 138523 w 1352046"/>
                <a:gd name="connsiteY1788" fmla="*/ 606965 h 905809"/>
                <a:gd name="connsiteX1789" fmla="*/ 136815 w 1352046"/>
                <a:gd name="connsiteY1789" fmla="*/ 605902 h 905809"/>
                <a:gd name="connsiteX1790" fmla="*/ 133932 w 1352046"/>
                <a:gd name="connsiteY1790" fmla="*/ 605976 h 905809"/>
                <a:gd name="connsiteX1791" fmla="*/ 131746 w 1352046"/>
                <a:gd name="connsiteY1791" fmla="*/ 606370 h 905809"/>
                <a:gd name="connsiteX1792" fmla="*/ 130148 w 1352046"/>
                <a:gd name="connsiteY1792" fmla="*/ 605282 h 905809"/>
                <a:gd name="connsiteX1793" fmla="*/ 127834 w 1352046"/>
                <a:gd name="connsiteY1793" fmla="*/ 603565 h 905809"/>
                <a:gd name="connsiteX1794" fmla="*/ 127417 w 1352046"/>
                <a:gd name="connsiteY1794" fmla="*/ 603181 h 905809"/>
                <a:gd name="connsiteX1795" fmla="*/ 126735 w 1352046"/>
                <a:gd name="connsiteY1795" fmla="*/ 602553 h 905809"/>
                <a:gd name="connsiteX1796" fmla="*/ 124388 w 1352046"/>
                <a:gd name="connsiteY1796" fmla="*/ 599236 h 905809"/>
                <a:gd name="connsiteX1797" fmla="*/ 121613 w 1352046"/>
                <a:gd name="connsiteY1797" fmla="*/ 595309 h 905809"/>
                <a:gd name="connsiteX1798" fmla="*/ 120211 w 1352046"/>
                <a:gd name="connsiteY1798" fmla="*/ 594733 h 905809"/>
                <a:gd name="connsiteX1799" fmla="*/ 119490 w 1352046"/>
                <a:gd name="connsiteY1799" fmla="*/ 595028 h 905809"/>
                <a:gd name="connsiteX1800" fmla="*/ 118667 w 1352046"/>
                <a:gd name="connsiteY1800" fmla="*/ 597116 h 905809"/>
                <a:gd name="connsiteX1801" fmla="*/ 118050 w 1352046"/>
                <a:gd name="connsiteY1801" fmla="*/ 596906 h 905809"/>
                <a:gd name="connsiteX1802" fmla="*/ 117022 w 1352046"/>
                <a:gd name="connsiteY1802" fmla="*/ 597049 h 905809"/>
                <a:gd name="connsiteX1803" fmla="*/ 115806 w 1352046"/>
                <a:gd name="connsiteY1803" fmla="*/ 597778 h 905809"/>
                <a:gd name="connsiteX1804" fmla="*/ 114635 w 1352046"/>
                <a:gd name="connsiteY1804" fmla="*/ 597969 h 905809"/>
                <a:gd name="connsiteX1805" fmla="*/ 113888 w 1352046"/>
                <a:gd name="connsiteY1805" fmla="*/ 597754 h 905809"/>
                <a:gd name="connsiteX1806" fmla="*/ 113573 w 1352046"/>
                <a:gd name="connsiteY1806" fmla="*/ 597234 h 905809"/>
                <a:gd name="connsiteX1807" fmla="*/ 113906 w 1352046"/>
                <a:gd name="connsiteY1807" fmla="*/ 594480 h 905809"/>
                <a:gd name="connsiteX1808" fmla="*/ 113202 w 1352046"/>
                <a:gd name="connsiteY1808" fmla="*/ 593618 h 905809"/>
                <a:gd name="connsiteX1809" fmla="*/ 113828 w 1352046"/>
                <a:gd name="connsiteY1809" fmla="*/ 591701 h 905809"/>
                <a:gd name="connsiteX1810" fmla="*/ 114886 w 1352046"/>
                <a:gd name="connsiteY1810" fmla="*/ 590044 h 905809"/>
                <a:gd name="connsiteX1811" fmla="*/ 113802 w 1352046"/>
                <a:gd name="connsiteY1811" fmla="*/ 588813 h 905809"/>
                <a:gd name="connsiteX1812" fmla="*/ 112465 w 1352046"/>
                <a:gd name="connsiteY1812" fmla="*/ 587051 h 905809"/>
                <a:gd name="connsiteX1813" fmla="*/ 112323 w 1352046"/>
                <a:gd name="connsiteY1813" fmla="*/ 585457 h 905809"/>
                <a:gd name="connsiteX1814" fmla="*/ 113046 w 1352046"/>
                <a:gd name="connsiteY1814" fmla="*/ 583445 h 905809"/>
                <a:gd name="connsiteX1815" fmla="*/ 113394 w 1352046"/>
                <a:gd name="connsiteY1815" fmla="*/ 581722 h 905809"/>
                <a:gd name="connsiteX1816" fmla="*/ 113176 w 1352046"/>
                <a:gd name="connsiteY1816" fmla="*/ 581088 h 905809"/>
                <a:gd name="connsiteX1817" fmla="*/ 112118 w 1352046"/>
                <a:gd name="connsiteY1817" fmla="*/ 580126 h 905809"/>
                <a:gd name="connsiteX1818" fmla="*/ 108097 w 1352046"/>
                <a:gd name="connsiteY1818" fmla="*/ 575397 h 905809"/>
                <a:gd name="connsiteX1819" fmla="*/ 107881 w 1352046"/>
                <a:gd name="connsiteY1819" fmla="*/ 574894 h 905809"/>
                <a:gd name="connsiteX1820" fmla="*/ 107199 w 1352046"/>
                <a:gd name="connsiteY1820" fmla="*/ 573319 h 905809"/>
                <a:gd name="connsiteX1821" fmla="*/ 106890 w 1352046"/>
                <a:gd name="connsiteY1821" fmla="*/ 570935 h 905809"/>
                <a:gd name="connsiteX1822" fmla="*/ 106363 w 1352046"/>
                <a:gd name="connsiteY1822" fmla="*/ 569230 h 905809"/>
                <a:gd name="connsiteX1823" fmla="*/ 105748 w 1352046"/>
                <a:gd name="connsiteY1823" fmla="*/ 567922 h 905809"/>
                <a:gd name="connsiteX1824" fmla="*/ 105793 w 1352046"/>
                <a:gd name="connsiteY1824" fmla="*/ 567310 h 905809"/>
                <a:gd name="connsiteX1825" fmla="*/ 106253 w 1352046"/>
                <a:gd name="connsiteY1825" fmla="*/ 566991 h 905809"/>
                <a:gd name="connsiteX1826" fmla="*/ 108771 w 1352046"/>
                <a:gd name="connsiteY1826" fmla="*/ 566669 h 905809"/>
                <a:gd name="connsiteX1827" fmla="*/ 111097 w 1352046"/>
                <a:gd name="connsiteY1827" fmla="*/ 566468 h 905809"/>
                <a:gd name="connsiteX1828" fmla="*/ 112629 w 1352046"/>
                <a:gd name="connsiteY1828" fmla="*/ 566023 h 905809"/>
                <a:gd name="connsiteX1829" fmla="*/ 113422 w 1352046"/>
                <a:gd name="connsiteY1829" fmla="*/ 566974 h 905809"/>
                <a:gd name="connsiteX1830" fmla="*/ 113793 w 1352046"/>
                <a:gd name="connsiteY1830" fmla="*/ 568429 h 905809"/>
                <a:gd name="connsiteX1831" fmla="*/ 114186 w 1352046"/>
                <a:gd name="connsiteY1831" fmla="*/ 569196 h 905809"/>
                <a:gd name="connsiteX1832" fmla="*/ 115659 w 1352046"/>
                <a:gd name="connsiteY1832" fmla="*/ 570576 h 905809"/>
                <a:gd name="connsiteX1833" fmla="*/ 117451 w 1352046"/>
                <a:gd name="connsiteY1833" fmla="*/ 571898 h 905809"/>
                <a:gd name="connsiteX1834" fmla="*/ 119192 w 1352046"/>
                <a:gd name="connsiteY1834" fmla="*/ 571727 h 905809"/>
                <a:gd name="connsiteX1835" fmla="*/ 120725 w 1352046"/>
                <a:gd name="connsiteY1835" fmla="*/ 571161 h 905809"/>
                <a:gd name="connsiteX1836" fmla="*/ 122059 w 1352046"/>
                <a:gd name="connsiteY1836" fmla="*/ 569006 h 905809"/>
                <a:gd name="connsiteX1837" fmla="*/ 123001 w 1352046"/>
                <a:gd name="connsiteY1837" fmla="*/ 568479 h 905809"/>
                <a:gd name="connsiteX1838" fmla="*/ 124094 w 1352046"/>
                <a:gd name="connsiteY1838" fmla="*/ 568384 h 905809"/>
                <a:gd name="connsiteX1839" fmla="*/ 124087 w 1352046"/>
                <a:gd name="connsiteY1839" fmla="*/ 568224 h 905809"/>
                <a:gd name="connsiteX1840" fmla="*/ 124031 w 1352046"/>
                <a:gd name="connsiteY1840" fmla="*/ 566836 h 905809"/>
                <a:gd name="connsiteX1841" fmla="*/ 124416 w 1352046"/>
                <a:gd name="connsiteY1841" fmla="*/ 563411 h 905809"/>
                <a:gd name="connsiteX1842" fmla="*/ 124284 w 1352046"/>
                <a:gd name="connsiteY1842" fmla="*/ 562038 h 905809"/>
                <a:gd name="connsiteX1843" fmla="*/ 123789 w 1352046"/>
                <a:gd name="connsiteY1843" fmla="*/ 560800 h 905809"/>
                <a:gd name="connsiteX1844" fmla="*/ 123878 w 1352046"/>
                <a:gd name="connsiteY1844" fmla="*/ 559424 h 905809"/>
                <a:gd name="connsiteX1845" fmla="*/ 123716 w 1352046"/>
                <a:gd name="connsiteY1845" fmla="*/ 557420 h 905809"/>
                <a:gd name="connsiteX1846" fmla="*/ 122461 w 1352046"/>
                <a:gd name="connsiteY1846" fmla="*/ 556053 h 905809"/>
                <a:gd name="connsiteX1847" fmla="*/ 121645 w 1352046"/>
                <a:gd name="connsiteY1847" fmla="*/ 555529 h 905809"/>
                <a:gd name="connsiteX1848" fmla="*/ 121518 w 1352046"/>
                <a:gd name="connsiteY1848" fmla="*/ 554791 h 905809"/>
                <a:gd name="connsiteX1849" fmla="*/ 121934 w 1352046"/>
                <a:gd name="connsiteY1849" fmla="*/ 553419 h 905809"/>
                <a:gd name="connsiteX1850" fmla="*/ 122232 w 1352046"/>
                <a:gd name="connsiteY1850" fmla="*/ 551842 h 905809"/>
                <a:gd name="connsiteX1851" fmla="*/ 121801 w 1352046"/>
                <a:gd name="connsiteY1851" fmla="*/ 550680 h 905809"/>
                <a:gd name="connsiteX1852" fmla="*/ 121732 w 1352046"/>
                <a:gd name="connsiteY1852" fmla="*/ 550498 h 905809"/>
                <a:gd name="connsiteX1853" fmla="*/ 120714 w 1352046"/>
                <a:gd name="connsiteY1853" fmla="*/ 549902 h 905809"/>
                <a:gd name="connsiteX1854" fmla="*/ 119522 w 1352046"/>
                <a:gd name="connsiteY1854" fmla="*/ 548886 h 905809"/>
                <a:gd name="connsiteX1855" fmla="*/ 118103 w 1352046"/>
                <a:gd name="connsiteY1855" fmla="*/ 547524 h 905809"/>
                <a:gd name="connsiteX1856" fmla="*/ 117402 w 1352046"/>
                <a:gd name="connsiteY1856" fmla="*/ 546528 h 905809"/>
                <a:gd name="connsiteX1857" fmla="*/ 116259 w 1352046"/>
                <a:gd name="connsiteY1857" fmla="*/ 545430 h 905809"/>
                <a:gd name="connsiteX1858" fmla="*/ 114863 w 1352046"/>
                <a:gd name="connsiteY1858" fmla="*/ 543731 h 905809"/>
                <a:gd name="connsiteX1859" fmla="*/ 114599 w 1352046"/>
                <a:gd name="connsiteY1859" fmla="*/ 539997 h 905809"/>
                <a:gd name="connsiteX1860" fmla="*/ 114463 w 1352046"/>
                <a:gd name="connsiteY1860" fmla="*/ 536066 h 905809"/>
                <a:gd name="connsiteX1861" fmla="*/ 113975 w 1352046"/>
                <a:gd name="connsiteY1861" fmla="*/ 534109 h 905809"/>
                <a:gd name="connsiteX1862" fmla="*/ 113200 w 1352046"/>
                <a:gd name="connsiteY1862" fmla="*/ 530983 h 905809"/>
                <a:gd name="connsiteX1863" fmla="*/ 113312 w 1352046"/>
                <a:gd name="connsiteY1863" fmla="*/ 529934 h 905809"/>
                <a:gd name="connsiteX1864" fmla="*/ 113783 w 1352046"/>
                <a:gd name="connsiteY1864" fmla="*/ 529134 h 905809"/>
                <a:gd name="connsiteX1865" fmla="*/ 117735 w 1352046"/>
                <a:gd name="connsiteY1865" fmla="*/ 526614 h 905809"/>
                <a:gd name="connsiteX1866" fmla="*/ 118594 w 1352046"/>
                <a:gd name="connsiteY1866" fmla="*/ 525637 h 905809"/>
                <a:gd name="connsiteX1867" fmla="*/ 118734 w 1352046"/>
                <a:gd name="connsiteY1867" fmla="*/ 524892 h 905809"/>
                <a:gd name="connsiteX1868" fmla="*/ 118583 w 1352046"/>
                <a:gd name="connsiteY1868" fmla="*/ 523783 h 905809"/>
                <a:gd name="connsiteX1869" fmla="*/ 117838 w 1352046"/>
                <a:gd name="connsiteY1869" fmla="*/ 522554 h 905809"/>
                <a:gd name="connsiteX1870" fmla="*/ 116255 w 1352046"/>
                <a:gd name="connsiteY1870" fmla="*/ 521597 h 905809"/>
                <a:gd name="connsiteX1871" fmla="*/ 114005 w 1352046"/>
                <a:gd name="connsiteY1871" fmla="*/ 520037 h 905809"/>
                <a:gd name="connsiteX1872" fmla="*/ 111964 w 1352046"/>
                <a:gd name="connsiteY1872" fmla="*/ 518409 h 905809"/>
                <a:gd name="connsiteX1873" fmla="*/ 108535 w 1352046"/>
                <a:gd name="connsiteY1873" fmla="*/ 517416 h 905809"/>
                <a:gd name="connsiteX1874" fmla="*/ 104361 w 1352046"/>
                <a:gd name="connsiteY1874" fmla="*/ 516206 h 905809"/>
                <a:gd name="connsiteX1875" fmla="*/ 103368 w 1352046"/>
                <a:gd name="connsiteY1875" fmla="*/ 515020 h 905809"/>
                <a:gd name="connsiteX1876" fmla="*/ 102353 w 1352046"/>
                <a:gd name="connsiteY1876" fmla="*/ 512123 h 905809"/>
                <a:gd name="connsiteX1877" fmla="*/ 100636 w 1352046"/>
                <a:gd name="connsiteY1877" fmla="*/ 507704 h 905809"/>
                <a:gd name="connsiteX1878" fmla="*/ 98807 w 1352046"/>
                <a:gd name="connsiteY1878" fmla="*/ 502983 h 905809"/>
                <a:gd name="connsiteX1879" fmla="*/ 97402 w 1352046"/>
                <a:gd name="connsiteY1879" fmla="*/ 500071 h 905809"/>
                <a:gd name="connsiteX1880" fmla="*/ 97335 w 1352046"/>
                <a:gd name="connsiteY1880" fmla="*/ 498668 h 905809"/>
                <a:gd name="connsiteX1881" fmla="*/ 98181 w 1352046"/>
                <a:gd name="connsiteY1881" fmla="*/ 495090 h 905809"/>
                <a:gd name="connsiteX1882" fmla="*/ 98075 w 1352046"/>
                <a:gd name="connsiteY1882" fmla="*/ 494326 h 905809"/>
                <a:gd name="connsiteX1883" fmla="*/ 97341 w 1352046"/>
                <a:gd name="connsiteY1883" fmla="*/ 494064 h 905809"/>
                <a:gd name="connsiteX1884" fmla="*/ 95935 w 1352046"/>
                <a:gd name="connsiteY1884" fmla="*/ 494531 h 905809"/>
                <a:gd name="connsiteX1885" fmla="*/ 94808 w 1352046"/>
                <a:gd name="connsiteY1885" fmla="*/ 495099 h 905809"/>
                <a:gd name="connsiteX1886" fmla="*/ 93849 w 1352046"/>
                <a:gd name="connsiteY1886" fmla="*/ 494804 h 905809"/>
                <a:gd name="connsiteX1887" fmla="*/ 92951 w 1352046"/>
                <a:gd name="connsiteY1887" fmla="*/ 494207 h 905809"/>
                <a:gd name="connsiteX1888" fmla="*/ 92765 w 1352046"/>
                <a:gd name="connsiteY1888" fmla="*/ 494000 h 905809"/>
                <a:gd name="connsiteX1889" fmla="*/ 92696 w 1352046"/>
                <a:gd name="connsiteY1889" fmla="*/ 493921 h 905809"/>
                <a:gd name="connsiteX1890" fmla="*/ 91029 w 1352046"/>
                <a:gd name="connsiteY1890" fmla="*/ 494307 h 905809"/>
                <a:gd name="connsiteX1891" fmla="*/ 87680 w 1352046"/>
                <a:gd name="connsiteY1891" fmla="*/ 494526 h 905809"/>
                <a:gd name="connsiteX1892" fmla="*/ 86518 w 1352046"/>
                <a:gd name="connsiteY1892" fmla="*/ 494486 h 905809"/>
                <a:gd name="connsiteX1893" fmla="*/ 84892 w 1352046"/>
                <a:gd name="connsiteY1893" fmla="*/ 494432 h 905809"/>
                <a:gd name="connsiteX1894" fmla="*/ 81539 w 1352046"/>
                <a:gd name="connsiteY1894" fmla="*/ 493613 h 905809"/>
                <a:gd name="connsiteX1895" fmla="*/ 77011 w 1352046"/>
                <a:gd name="connsiteY1895" fmla="*/ 492510 h 905809"/>
                <a:gd name="connsiteX1896" fmla="*/ 72342 w 1352046"/>
                <a:gd name="connsiteY1896" fmla="*/ 490969 h 905809"/>
                <a:gd name="connsiteX1897" fmla="*/ 69865 w 1352046"/>
                <a:gd name="connsiteY1897" fmla="*/ 489750 h 905809"/>
                <a:gd name="connsiteX1898" fmla="*/ 68995 w 1352046"/>
                <a:gd name="connsiteY1898" fmla="*/ 489324 h 905809"/>
                <a:gd name="connsiteX1899" fmla="*/ 66879 w 1352046"/>
                <a:gd name="connsiteY1899" fmla="*/ 488047 h 905809"/>
                <a:gd name="connsiteX1900" fmla="*/ 65367 w 1352046"/>
                <a:gd name="connsiteY1900" fmla="*/ 486949 h 905809"/>
                <a:gd name="connsiteX1901" fmla="*/ 65097 w 1352046"/>
                <a:gd name="connsiteY1901" fmla="*/ 484074 h 905809"/>
                <a:gd name="connsiteX1902" fmla="*/ 64009 w 1352046"/>
                <a:gd name="connsiteY1902" fmla="*/ 484297 h 905809"/>
                <a:gd name="connsiteX1903" fmla="*/ 61437 w 1352046"/>
                <a:gd name="connsiteY1903" fmla="*/ 485332 h 905809"/>
                <a:gd name="connsiteX1904" fmla="*/ 58472 w 1352046"/>
                <a:gd name="connsiteY1904" fmla="*/ 485993 h 905809"/>
                <a:gd name="connsiteX1905" fmla="*/ 56840 w 1352046"/>
                <a:gd name="connsiteY1905" fmla="*/ 486003 h 905809"/>
                <a:gd name="connsiteX1906" fmla="*/ 56177 w 1352046"/>
                <a:gd name="connsiteY1906" fmla="*/ 485537 h 905809"/>
                <a:gd name="connsiteX1907" fmla="*/ 55192 w 1352046"/>
                <a:gd name="connsiteY1907" fmla="*/ 482507 h 905809"/>
                <a:gd name="connsiteX1908" fmla="*/ 54475 w 1352046"/>
                <a:gd name="connsiteY1908" fmla="*/ 481654 h 905809"/>
                <a:gd name="connsiteX1909" fmla="*/ 53138 w 1352046"/>
                <a:gd name="connsiteY1909" fmla="*/ 481318 h 905809"/>
                <a:gd name="connsiteX1910" fmla="*/ 51694 w 1352046"/>
                <a:gd name="connsiteY1910" fmla="*/ 480782 h 905809"/>
                <a:gd name="connsiteX1911" fmla="*/ 50968 w 1352046"/>
                <a:gd name="connsiteY1911" fmla="*/ 479990 h 905809"/>
                <a:gd name="connsiteX1912" fmla="*/ 50804 w 1352046"/>
                <a:gd name="connsiteY1912" fmla="*/ 478992 h 905809"/>
                <a:gd name="connsiteX1913" fmla="*/ 51450 w 1352046"/>
                <a:gd name="connsiteY1913" fmla="*/ 477844 h 905809"/>
                <a:gd name="connsiteX1914" fmla="*/ 52214 w 1352046"/>
                <a:gd name="connsiteY1914" fmla="*/ 476962 h 905809"/>
                <a:gd name="connsiteX1915" fmla="*/ 52342 w 1352046"/>
                <a:gd name="connsiteY1915" fmla="*/ 471562 h 905809"/>
                <a:gd name="connsiteX1916" fmla="*/ 51843 w 1352046"/>
                <a:gd name="connsiteY1916" fmla="*/ 469646 h 905809"/>
                <a:gd name="connsiteX1917" fmla="*/ 51426 w 1352046"/>
                <a:gd name="connsiteY1917" fmla="*/ 468038 h 905809"/>
                <a:gd name="connsiteX1918" fmla="*/ 50364 w 1352046"/>
                <a:gd name="connsiteY1918" fmla="*/ 466032 h 905809"/>
                <a:gd name="connsiteX1919" fmla="*/ 49375 w 1352046"/>
                <a:gd name="connsiteY1919" fmla="*/ 464790 h 905809"/>
                <a:gd name="connsiteX1920" fmla="*/ 47870 w 1352046"/>
                <a:gd name="connsiteY1920" fmla="*/ 463643 h 905809"/>
                <a:gd name="connsiteX1921" fmla="*/ 45548 w 1352046"/>
                <a:gd name="connsiteY1921" fmla="*/ 462449 h 905809"/>
                <a:gd name="connsiteX1922" fmla="*/ 43482 w 1352046"/>
                <a:gd name="connsiteY1922" fmla="*/ 462009 h 905809"/>
                <a:gd name="connsiteX1923" fmla="*/ 40973 w 1352046"/>
                <a:gd name="connsiteY1923" fmla="*/ 462879 h 905809"/>
                <a:gd name="connsiteX1924" fmla="*/ 40176 w 1352046"/>
                <a:gd name="connsiteY1924" fmla="*/ 462544 h 905809"/>
                <a:gd name="connsiteX1925" fmla="*/ 39128 w 1352046"/>
                <a:gd name="connsiteY1925" fmla="*/ 458851 h 905809"/>
                <a:gd name="connsiteX1926" fmla="*/ 38461 w 1352046"/>
                <a:gd name="connsiteY1926" fmla="*/ 458094 h 905809"/>
                <a:gd name="connsiteX1927" fmla="*/ 34006 w 1352046"/>
                <a:gd name="connsiteY1927" fmla="*/ 456574 h 905809"/>
                <a:gd name="connsiteX1928" fmla="*/ 31987 w 1352046"/>
                <a:gd name="connsiteY1928" fmla="*/ 456221 h 905809"/>
                <a:gd name="connsiteX1929" fmla="*/ 29670 w 1352046"/>
                <a:gd name="connsiteY1929" fmla="*/ 456699 h 905809"/>
                <a:gd name="connsiteX1930" fmla="*/ 28347 w 1352046"/>
                <a:gd name="connsiteY1930" fmla="*/ 457104 h 905809"/>
                <a:gd name="connsiteX1931" fmla="*/ 27284 w 1352046"/>
                <a:gd name="connsiteY1931" fmla="*/ 456426 h 905809"/>
                <a:gd name="connsiteX1932" fmla="*/ 25622 w 1352046"/>
                <a:gd name="connsiteY1932" fmla="*/ 455570 h 905809"/>
                <a:gd name="connsiteX1933" fmla="*/ 23989 w 1352046"/>
                <a:gd name="connsiteY1933" fmla="*/ 454985 h 905809"/>
                <a:gd name="connsiteX1934" fmla="*/ 21963 w 1352046"/>
                <a:gd name="connsiteY1934" fmla="*/ 454961 h 905809"/>
                <a:gd name="connsiteX1935" fmla="*/ 20655 w 1352046"/>
                <a:gd name="connsiteY1935" fmla="*/ 455330 h 905809"/>
                <a:gd name="connsiteX1936" fmla="*/ 20325 w 1352046"/>
                <a:gd name="connsiteY1936" fmla="*/ 455115 h 905809"/>
                <a:gd name="connsiteX1937" fmla="*/ 19694 w 1352046"/>
                <a:gd name="connsiteY1937" fmla="*/ 454439 h 905809"/>
                <a:gd name="connsiteX1938" fmla="*/ 17001 w 1352046"/>
                <a:gd name="connsiteY1938" fmla="*/ 452399 h 905809"/>
                <a:gd name="connsiteX1939" fmla="*/ 16913 w 1352046"/>
                <a:gd name="connsiteY1939" fmla="*/ 451881 h 905809"/>
                <a:gd name="connsiteX1940" fmla="*/ 21044 w 1352046"/>
                <a:gd name="connsiteY1940" fmla="*/ 449871 h 905809"/>
                <a:gd name="connsiteX1941" fmla="*/ 23475 w 1352046"/>
                <a:gd name="connsiteY1941" fmla="*/ 449104 h 905809"/>
                <a:gd name="connsiteX1942" fmla="*/ 24751 w 1352046"/>
                <a:gd name="connsiteY1942" fmla="*/ 448492 h 905809"/>
                <a:gd name="connsiteX1943" fmla="*/ 25024 w 1352046"/>
                <a:gd name="connsiteY1943" fmla="*/ 448622 h 905809"/>
                <a:gd name="connsiteX1944" fmla="*/ 25652 w 1352046"/>
                <a:gd name="connsiteY1944" fmla="*/ 449551 h 905809"/>
                <a:gd name="connsiteX1945" fmla="*/ 27263 w 1352046"/>
                <a:gd name="connsiteY1945" fmla="*/ 450166 h 905809"/>
                <a:gd name="connsiteX1946" fmla="*/ 28392 w 1352046"/>
                <a:gd name="connsiteY1946" fmla="*/ 449998 h 905809"/>
                <a:gd name="connsiteX1947" fmla="*/ 28986 w 1352046"/>
                <a:gd name="connsiteY1947" fmla="*/ 449530 h 905809"/>
                <a:gd name="connsiteX1948" fmla="*/ 30981 w 1352046"/>
                <a:gd name="connsiteY1948" fmla="*/ 448420 h 905809"/>
                <a:gd name="connsiteX1949" fmla="*/ 32542 w 1352046"/>
                <a:gd name="connsiteY1949" fmla="*/ 447133 h 905809"/>
                <a:gd name="connsiteX1950" fmla="*/ 33421 w 1352046"/>
                <a:gd name="connsiteY1950" fmla="*/ 446070 h 905809"/>
                <a:gd name="connsiteX1951" fmla="*/ 32950 w 1352046"/>
                <a:gd name="connsiteY1951" fmla="*/ 444397 h 905809"/>
                <a:gd name="connsiteX1952" fmla="*/ 30495 w 1352046"/>
                <a:gd name="connsiteY1952" fmla="*/ 442378 h 905809"/>
                <a:gd name="connsiteX1953" fmla="*/ 28934 w 1352046"/>
                <a:gd name="connsiteY1953" fmla="*/ 441294 h 905809"/>
                <a:gd name="connsiteX1954" fmla="*/ 28457 w 1352046"/>
                <a:gd name="connsiteY1954" fmla="*/ 440563 h 905809"/>
                <a:gd name="connsiteX1955" fmla="*/ 28856 w 1352046"/>
                <a:gd name="connsiteY1955" fmla="*/ 438367 h 905809"/>
                <a:gd name="connsiteX1956" fmla="*/ 29431 w 1352046"/>
                <a:gd name="connsiteY1956" fmla="*/ 436188 h 905809"/>
                <a:gd name="connsiteX1957" fmla="*/ 29055 w 1352046"/>
                <a:gd name="connsiteY1957" fmla="*/ 435357 h 905809"/>
                <a:gd name="connsiteX1958" fmla="*/ 28590 w 1352046"/>
                <a:gd name="connsiteY1958" fmla="*/ 434647 h 905809"/>
                <a:gd name="connsiteX1959" fmla="*/ 28381 w 1352046"/>
                <a:gd name="connsiteY1959" fmla="*/ 432263 h 905809"/>
                <a:gd name="connsiteX1960" fmla="*/ 27312 w 1352046"/>
                <a:gd name="connsiteY1960" fmla="*/ 429384 h 905809"/>
                <a:gd name="connsiteX1961" fmla="*/ 26144 w 1352046"/>
                <a:gd name="connsiteY1961" fmla="*/ 427703 h 905809"/>
                <a:gd name="connsiteX1962" fmla="*/ 25822 w 1352046"/>
                <a:gd name="connsiteY1962" fmla="*/ 425438 h 905809"/>
                <a:gd name="connsiteX1963" fmla="*/ 25755 w 1352046"/>
                <a:gd name="connsiteY1963" fmla="*/ 423309 h 905809"/>
                <a:gd name="connsiteX1964" fmla="*/ 27168 w 1352046"/>
                <a:gd name="connsiteY1964" fmla="*/ 419979 h 905809"/>
                <a:gd name="connsiteX1965" fmla="*/ 26645 w 1352046"/>
                <a:gd name="connsiteY1965" fmla="*/ 418538 h 905809"/>
                <a:gd name="connsiteX1966" fmla="*/ 25157 w 1352046"/>
                <a:gd name="connsiteY1966" fmla="*/ 417258 h 905809"/>
                <a:gd name="connsiteX1967" fmla="*/ 20050 w 1352046"/>
                <a:gd name="connsiteY1967" fmla="*/ 414941 h 905809"/>
                <a:gd name="connsiteX1968" fmla="*/ 14818 w 1352046"/>
                <a:gd name="connsiteY1968" fmla="*/ 413400 h 905809"/>
                <a:gd name="connsiteX1969" fmla="*/ 12825 w 1352046"/>
                <a:gd name="connsiteY1969" fmla="*/ 413459 h 905809"/>
                <a:gd name="connsiteX1970" fmla="*/ 11588 w 1352046"/>
                <a:gd name="connsiteY1970" fmla="*/ 413364 h 905809"/>
                <a:gd name="connsiteX1971" fmla="*/ 10128 w 1352046"/>
                <a:gd name="connsiteY1971" fmla="*/ 414722 h 905809"/>
                <a:gd name="connsiteX1972" fmla="*/ 9249 w 1352046"/>
                <a:gd name="connsiteY1972" fmla="*/ 416490 h 905809"/>
                <a:gd name="connsiteX1973" fmla="*/ 8020 w 1352046"/>
                <a:gd name="connsiteY1973" fmla="*/ 416649 h 905809"/>
                <a:gd name="connsiteX1974" fmla="*/ 5789 w 1352046"/>
                <a:gd name="connsiteY1974" fmla="*/ 415897 h 905809"/>
                <a:gd name="connsiteX1975" fmla="*/ 4297 w 1352046"/>
                <a:gd name="connsiteY1975" fmla="*/ 414763 h 905809"/>
                <a:gd name="connsiteX1976" fmla="*/ 3246 w 1352046"/>
                <a:gd name="connsiteY1976" fmla="*/ 412391 h 905809"/>
                <a:gd name="connsiteX1977" fmla="*/ 2421 w 1352046"/>
                <a:gd name="connsiteY1977" fmla="*/ 409339 h 905809"/>
                <a:gd name="connsiteX1978" fmla="*/ 1963 w 1352046"/>
                <a:gd name="connsiteY1978" fmla="*/ 408382 h 905809"/>
                <a:gd name="connsiteX1979" fmla="*/ 2200 w 1352046"/>
                <a:gd name="connsiteY1979" fmla="*/ 407557 h 905809"/>
                <a:gd name="connsiteX1980" fmla="*/ 2712 w 1352046"/>
                <a:gd name="connsiteY1980" fmla="*/ 406822 h 905809"/>
                <a:gd name="connsiteX1981" fmla="*/ 4140 w 1352046"/>
                <a:gd name="connsiteY1981" fmla="*/ 406135 h 905809"/>
                <a:gd name="connsiteX1982" fmla="*/ 4377 w 1352046"/>
                <a:gd name="connsiteY1982" fmla="*/ 405428 h 905809"/>
                <a:gd name="connsiteX1983" fmla="*/ 4164 w 1352046"/>
                <a:gd name="connsiteY1983" fmla="*/ 404562 h 905809"/>
                <a:gd name="connsiteX1984" fmla="*/ 3017 w 1352046"/>
                <a:gd name="connsiteY1984" fmla="*/ 403466 h 905809"/>
                <a:gd name="connsiteX1985" fmla="*/ 1838 w 1352046"/>
                <a:gd name="connsiteY1985" fmla="*/ 401914 h 905809"/>
                <a:gd name="connsiteX1986" fmla="*/ 0 w 1352046"/>
                <a:gd name="connsiteY1986" fmla="*/ 398687 h 905809"/>
                <a:gd name="connsiteX1987" fmla="*/ 350 w 1352046"/>
                <a:gd name="connsiteY1987" fmla="*/ 396908 h 905809"/>
                <a:gd name="connsiteX1988" fmla="*/ 642 w 1352046"/>
                <a:gd name="connsiteY1988" fmla="*/ 394346 h 905809"/>
                <a:gd name="connsiteX1989" fmla="*/ 538 w 1352046"/>
                <a:gd name="connsiteY1989" fmla="*/ 392992 h 905809"/>
                <a:gd name="connsiteX1990" fmla="*/ 2397 w 1352046"/>
                <a:gd name="connsiteY1990" fmla="*/ 392644 h 905809"/>
                <a:gd name="connsiteX1991" fmla="*/ 4768 w 1352046"/>
                <a:gd name="connsiteY1991" fmla="*/ 391951 h 905809"/>
                <a:gd name="connsiteX1992" fmla="*/ 5870 w 1352046"/>
                <a:gd name="connsiteY1992" fmla="*/ 390800 h 905809"/>
                <a:gd name="connsiteX1993" fmla="*/ 6630 w 1352046"/>
                <a:gd name="connsiteY1993" fmla="*/ 389625 h 905809"/>
                <a:gd name="connsiteX1994" fmla="*/ 6796 w 1352046"/>
                <a:gd name="connsiteY1994" fmla="*/ 388898 h 905809"/>
                <a:gd name="connsiteX1995" fmla="*/ 6086 w 1352046"/>
                <a:gd name="connsiteY1995" fmla="*/ 386089 h 905809"/>
                <a:gd name="connsiteX1996" fmla="*/ 5140 w 1352046"/>
                <a:gd name="connsiteY1996" fmla="*/ 384833 h 905809"/>
                <a:gd name="connsiteX1997" fmla="*/ 5043 w 1352046"/>
                <a:gd name="connsiteY1997" fmla="*/ 383862 h 905809"/>
                <a:gd name="connsiteX1998" fmla="*/ 5505 w 1352046"/>
                <a:gd name="connsiteY1998" fmla="*/ 383120 h 905809"/>
                <a:gd name="connsiteX1999" fmla="*/ 6131 w 1352046"/>
                <a:gd name="connsiteY1999" fmla="*/ 381837 h 905809"/>
                <a:gd name="connsiteX2000" fmla="*/ 7329 w 1352046"/>
                <a:gd name="connsiteY2000" fmla="*/ 379208 h 905809"/>
                <a:gd name="connsiteX2001" fmla="*/ 8497 w 1352046"/>
                <a:gd name="connsiteY2001" fmla="*/ 377532 h 905809"/>
                <a:gd name="connsiteX2002" fmla="*/ 9137 w 1352046"/>
                <a:gd name="connsiteY2002" fmla="*/ 377107 h 905809"/>
                <a:gd name="connsiteX2003" fmla="*/ 10566 w 1352046"/>
                <a:gd name="connsiteY2003" fmla="*/ 376717 h 905809"/>
                <a:gd name="connsiteX2004" fmla="*/ 14049 w 1352046"/>
                <a:gd name="connsiteY2004" fmla="*/ 376255 h 905809"/>
                <a:gd name="connsiteX2005" fmla="*/ 17791 w 1352046"/>
                <a:gd name="connsiteY2005" fmla="*/ 375076 h 905809"/>
                <a:gd name="connsiteX2006" fmla="*/ 22240 w 1352046"/>
                <a:gd name="connsiteY2006" fmla="*/ 371551 h 905809"/>
                <a:gd name="connsiteX2007" fmla="*/ 23717 w 1352046"/>
                <a:gd name="connsiteY2007" fmla="*/ 370546 h 905809"/>
                <a:gd name="connsiteX2008" fmla="*/ 25660 w 1352046"/>
                <a:gd name="connsiteY2008" fmla="*/ 370042 h 905809"/>
                <a:gd name="connsiteX2009" fmla="*/ 27047 w 1352046"/>
                <a:gd name="connsiteY2009" fmla="*/ 370078 h 905809"/>
                <a:gd name="connsiteX2010" fmla="*/ 27297 w 1352046"/>
                <a:gd name="connsiteY2010" fmla="*/ 369647 h 905809"/>
                <a:gd name="connsiteX2011" fmla="*/ 26401 w 1352046"/>
                <a:gd name="connsiteY2011" fmla="*/ 367462 h 905809"/>
                <a:gd name="connsiteX2012" fmla="*/ 26619 w 1352046"/>
                <a:gd name="connsiteY2012" fmla="*/ 366669 h 905809"/>
                <a:gd name="connsiteX2013" fmla="*/ 27150 w 1352046"/>
                <a:gd name="connsiteY2013" fmla="*/ 366046 h 905809"/>
                <a:gd name="connsiteX2014" fmla="*/ 27824 w 1352046"/>
                <a:gd name="connsiteY2014" fmla="*/ 365760 h 905809"/>
                <a:gd name="connsiteX2015" fmla="*/ 30894 w 1352046"/>
                <a:gd name="connsiteY2015" fmla="*/ 366912 h 905809"/>
                <a:gd name="connsiteX2016" fmla="*/ 33257 w 1352046"/>
                <a:gd name="connsiteY2016" fmla="*/ 366792 h 905809"/>
                <a:gd name="connsiteX2017" fmla="*/ 36125 w 1352046"/>
                <a:gd name="connsiteY2017" fmla="*/ 366107 h 905809"/>
                <a:gd name="connsiteX2018" fmla="*/ 42311 w 1352046"/>
                <a:gd name="connsiteY2018" fmla="*/ 362248 h 905809"/>
                <a:gd name="connsiteX2019" fmla="*/ 43080 w 1352046"/>
                <a:gd name="connsiteY2019" fmla="*/ 362310 h 905809"/>
                <a:gd name="connsiteX2020" fmla="*/ 43698 w 1352046"/>
                <a:gd name="connsiteY2020" fmla="*/ 362831 h 905809"/>
                <a:gd name="connsiteX2021" fmla="*/ 44447 w 1352046"/>
                <a:gd name="connsiteY2021" fmla="*/ 365155 h 905809"/>
                <a:gd name="connsiteX2022" fmla="*/ 45300 w 1352046"/>
                <a:gd name="connsiteY2022" fmla="*/ 370059 h 905809"/>
                <a:gd name="connsiteX2023" fmla="*/ 45768 w 1352046"/>
                <a:gd name="connsiteY2023" fmla="*/ 370672 h 905809"/>
                <a:gd name="connsiteX2024" fmla="*/ 50076 w 1352046"/>
                <a:gd name="connsiteY2024" fmla="*/ 370739 h 905809"/>
                <a:gd name="connsiteX2025" fmla="*/ 53002 w 1352046"/>
                <a:gd name="connsiteY2025" fmla="*/ 368955 h 905809"/>
                <a:gd name="connsiteX2026" fmla="*/ 54285 w 1352046"/>
                <a:gd name="connsiteY2026" fmla="*/ 368534 h 905809"/>
                <a:gd name="connsiteX2027" fmla="*/ 56371 w 1352046"/>
                <a:gd name="connsiteY2027" fmla="*/ 368824 h 905809"/>
                <a:gd name="connsiteX2028" fmla="*/ 57464 w 1352046"/>
                <a:gd name="connsiteY2028" fmla="*/ 367988 h 905809"/>
                <a:gd name="connsiteX2029" fmla="*/ 58619 w 1352046"/>
                <a:gd name="connsiteY2029" fmla="*/ 367403 h 905809"/>
                <a:gd name="connsiteX2030" fmla="*/ 59952 w 1352046"/>
                <a:gd name="connsiteY2030" fmla="*/ 369457 h 905809"/>
                <a:gd name="connsiteX2031" fmla="*/ 61672 w 1352046"/>
                <a:gd name="connsiteY2031" fmla="*/ 368475 h 905809"/>
                <a:gd name="connsiteX2032" fmla="*/ 63525 w 1352046"/>
                <a:gd name="connsiteY2032" fmla="*/ 366912 h 905809"/>
                <a:gd name="connsiteX2033" fmla="*/ 64425 w 1352046"/>
                <a:gd name="connsiteY2033" fmla="*/ 365296 h 905809"/>
                <a:gd name="connsiteX2034" fmla="*/ 65687 w 1352046"/>
                <a:gd name="connsiteY2034" fmla="*/ 363550 h 905809"/>
                <a:gd name="connsiteX2035" fmla="*/ 66665 w 1352046"/>
                <a:gd name="connsiteY2035" fmla="*/ 361335 h 905809"/>
                <a:gd name="connsiteX2036" fmla="*/ 67056 w 1352046"/>
                <a:gd name="connsiteY2036" fmla="*/ 359239 h 905809"/>
                <a:gd name="connsiteX2037" fmla="*/ 67526 w 1352046"/>
                <a:gd name="connsiteY2037" fmla="*/ 358258 h 905809"/>
                <a:gd name="connsiteX2038" fmla="*/ 68572 w 1352046"/>
                <a:gd name="connsiteY2038" fmla="*/ 357247 h 905809"/>
                <a:gd name="connsiteX2039" fmla="*/ 71128 w 1352046"/>
                <a:gd name="connsiteY2039" fmla="*/ 352932 h 905809"/>
                <a:gd name="connsiteX2040" fmla="*/ 72979 w 1352046"/>
                <a:gd name="connsiteY2040" fmla="*/ 351830 h 905809"/>
                <a:gd name="connsiteX2041" fmla="*/ 74724 w 1352046"/>
                <a:gd name="connsiteY2041" fmla="*/ 351436 h 905809"/>
                <a:gd name="connsiteX2042" fmla="*/ 79045 w 1352046"/>
                <a:gd name="connsiteY2042" fmla="*/ 352184 h 905809"/>
                <a:gd name="connsiteX2043" fmla="*/ 81299 w 1352046"/>
                <a:gd name="connsiteY2043" fmla="*/ 352089 h 905809"/>
                <a:gd name="connsiteX2044" fmla="*/ 87883 w 1352046"/>
                <a:gd name="connsiteY2044" fmla="*/ 352656 h 905809"/>
                <a:gd name="connsiteX2045" fmla="*/ 90926 w 1352046"/>
                <a:gd name="connsiteY2045" fmla="*/ 351827 h 905809"/>
                <a:gd name="connsiteX2046" fmla="*/ 93046 w 1352046"/>
                <a:gd name="connsiteY2046" fmla="*/ 351003 h 905809"/>
                <a:gd name="connsiteX2047" fmla="*/ 96168 w 1352046"/>
                <a:gd name="connsiteY2047" fmla="*/ 351133 h 905809"/>
                <a:gd name="connsiteX2048" fmla="*/ 99861 w 1352046"/>
                <a:gd name="connsiteY2048" fmla="*/ 350476 h 905809"/>
                <a:gd name="connsiteX2049" fmla="*/ 104789 w 1352046"/>
                <a:gd name="connsiteY2049" fmla="*/ 345053 h 905809"/>
                <a:gd name="connsiteX2050" fmla="*/ 104845 w 1352046"/>
                <a:gd name="connsiteY2050" fmla="*/ 343899 h 905809"/>
                <a:gd name="connsiteX2051" fmla="*/ 105145 w 1352046"/>
                <a:gd name="connsiteY2051" fmla="*/ 342674 h 905809"/>
                <a:gd name="connsiteX2052" fmla="*/ 106924 w 1352046"/>
                <a:gd name="connsiteY2052" fmla="*/ 341462 h 905809"/>
                <a:gd name="connsiteX2053" fmla="*/ 109142 w 1352046"/>
                <a:gd name="connsiteY2053" fmla="*/ 340352 h 905809"/>
                <a:gd name="connsiteX2054" fmla="*/ 113551 w 1352046"/>
                <a:gd name="connsiteY2054" fmla="*/ 337696 h 905809"/>
                <a:gd name="connsiteX2055" fmla="*/ 122526 w 1352046"/>
                <a:gd name="connsiteY2055" fmla="*/ 333487 h 905809"/>
                <a:gd name="connsiteX2056" fmla="*/ 125735 w 1352046"/>
                <a:gd name="connsiteY2056" fmla="*/ 331800 h 905809"/>
                <a:gd name="connsiteX2057" fmla="*/ 127080 w 1352046"/>
                <a:gd name="connsiteY2057" fmla="*/ 331847 h 905809"/>
                <a:gd name="connsiteX2058" fmla="*/ 130386 w 1352046"/>
                <a:gd name="connsiteY2058" fmla="*/ 330788 h 905809"/>
                <a:gd name="connsiteX2059" fmla="*/ 136184 w 1352046"/>
                <a:gd name="connsiteY2059" fmla="*/ 328724 h 905809"/>
                <a:gd name="connsiteX2060" fmla="*/ 137827 w 1352046"/>
                <a:gd name="connsiteY2060" fmla="*/ 326153 h 905809"/>
                <a:gd name="connsiteX2061" fmla="*/ 139358 w 1352046"/>
                <a:gd name="connsiteY2061" fmla="*/ 325642 h 905809"/>
                <a:gd name="connsiteX2062" fmla="*/ 146137 w 1352046"/>
                <a:gd name="connsiteY2062" fmla="*/ 325179 h 905809"/>
                <a:gd name="connsiteX2063" fmla="*/ 146556 w 1352046"/>
                <a:gd name="connsiteY2063" fmla="*/ 324886 h 905809"/>
                <a:gd name="connsiteX2064" fmla="*/ 146800 w 1352046"/>
                <a:gd name="connsiteY2064" fmla="*/ 324452 h 905809"/>
                <a:gd name="connsiteX2065" fmla="*/ 146424 w 1352046"/>
                <a:gd name="connsiteY2065" fmla="*/ 322592 h 905809"/>
                <a:gd name="connsiteX2066" fmla="*/ 145986 w 1352046"/>
                <a:gd name="connsiteY2066" fmla="*/ 320991 h 905809"/>
                <a:gd name="connsiteX2067" fmla="*/ 146508 w 1352046"/>
                <a:gd name="connsiteY2067" fmla="*/ 320518 h 905809"/>
                <a:gd name="connsiteX2068" fmla="*/ 147085 w 1352046"/>
                <a:gd name="connsiteY2068" fmla="*/ 319784 h 905809"/>
                <a:gd name="connsiteX2069" fmla="*/ 146996 w 1352046"/>
                <a:gd name="connsiteY2069" fmla="*/ 318752 h 905809"/>
                <a:gd name="connsiteX2070" fmla="*/ 145906 w 1352046"/>
                <a:gd name="connsiteY2070" fmla="*/ 315417 h 905809"/>
                <a:gd name="connsiteX2071" fmla="*/ 145320 w 1352046"/>
                <a:gd name="connsiteY2071" fmla="*/ 312246 h 905809"/>
                <a:gd name="connsiteX2072" fmla="*/ 144936 w 1352046"/>
                <a:gd name="connsiteY2072" fmla="*/ 309385 h 905809"/>
                <a:gd name="connsiteX2073" fmla="*/ 145005 w 1352046"/>
                <a:gd name="connsiteY2073" fmla="*/ 308317 h 905809"/>
                <a:gd name="connsiteX2074" fmla="*/ 145828 w 1352046"/>
                <a:gd name="connsiteY2074" fmla="*/ 306475 h 905809"/>
                <a:gd name="connsiteX2075" fmla="*/ 146890 w 1352046"/>
                <a:gd name="connsiteY2075" fmla="*/ 304796 h 905809"/>
                <a:gd name="connsiteX2076" fmla="*/ 150732 w 1352046"/>
                <a:gd name="connsiteY2076" fmla="*/ 303231 h 905809"/>
                <a:gd name="connsiteX2077" fmla="*/ 153273 w 1352046"/>
                <a:gd name="connsiteY2077" fmla="*/ 302756 h 905809"/>
                <a:gd name="connsiteX2078" fmla="*/ 153379 w 1352046"/>
                <a:gd name="connsiteY2078" fmla="*/ 301733 h 905809"/>
                <a:gd name="connsiteX2079" fmla="*/ 151321 w 1352046"/>
                <a:gd name="connsiteY2079" fmla="*/ 301094 h 905809"/>
                <a:gd name="connsiteX2080" fmla="*/ 149834 w 1352046"/>
                <a:gd name="connsiteY2080" fmla="*/ 300070 h 905809"/>
                <a:gd name="connsiteX2081" fmla="*/ 149566 w 1352046"/>
                <a:gd name="connsiteY2081" fmla="*/ 299486 h 905809"/>
                <a:gd name="connsiteX2082" fmla="*/ 149637 w 1352046"/>
                <a:gd name="connsiteY2082" fmla="*/ 298821 h 905809"/>
                <a:gd name="connsiteX2083" fmla="*/ 149985 w 1352046"/>
                <a:gd name="connsiteY2083" fmla="*/ 298212 h 905809"/>
                <a:gd name="connsiteX2084" fmla="*/ 152568 w 1352046"/>
                <a:gd name="connsiteY2084" fmla="*/ 297068 h 905809"/>
                <a:gd name="connsiteX2085" fmla="*/ 154999 w 1352046"/>
                <a:gd name="connsiteY2085" fmla="*/ 295928 h 905809"/>
                <a:gd name="connsiteX2086" fmla="*/ 157966 w 1352046"/>
                <a:gd name="connsiteY2086" fmla="*/ 296620 h 905809"/>
                <a:gd name="connsiteX2087" fmla="*/ 158553 w 1352046"/>
                <a:gd name="connsiteY2087" fmla="*/ 296178 h 905809"/>
                <a:gd name="connsiteX2088" fmla="*/ 158730 w 1352046"/>
                <a:gd name="connsiteY2088" fmla="*/ 295035 h 905809"/>
                <a:gd name="connsiteX2089" fmla="*/ 158096 w 1352046"/>
                <a:gd name="connsiteY2089" fmla="*/ 293886 h 905809"/>
                <a:gd name="connsiteX2090" fmla="*/ 157493 w 1352046"/>
                <a:gd name="connsiteY2090" fmla="*/ 292008 h 905809"/>
                <a:gd name="connsiteX2091" fmla="*/ 156122 w 1352046"/>
                <a:gd name="connsiteY2091" fmla="*/ 291046 h 905809"/>
                <a:gd name="connsiteX2092" fmla="*/ 156070 w 1352046"/>
                <a:gd name="connsiteY2092" fmla="*/ 289892 h 905809"/>
                <a:gd name="connsiteX2093" fmla="*/ 156919 w 1352046"/>
                <a:gd name="connsiteY2093" fmla="*/ 287900 h 905809"/>
                <a:gd name="connsiteX2094" fmla="*/ 155746 w 1352046"/>
                <a:gd name="connsiteY2094" fmla="*/ 284208 h 905809"/>
                <a:gd name="connsiteX2095" fmla="*/ 154478 w 1352046"/>
                <a:gd name="connsiteY2095" fmla="*/ 280947 h 905809"/>
                <a:gd name="connsiteX2096" fmla="*/ 152323 w 1352046"/>
                <a:gd name="connsiteY2096" fmla="*/ 275358 h 905809"/>
                <a:gd name="connsiteX2097" fmla="*/ 150898 w 1352046"/>
                <a:gd name="connsiteY2097" fmla="*/ 273744 h 905809"/>
                <a:gd name="connsiteX2098" fmla="*/ 150108 w 1352046"/>
                <a:gd name="connsiteY2098" fmla="*/ 271163 h 905809"/>
                <a:gd name="connsiteX2099" fmla="*/ 149212 w 1352046"/>
                <a:gd name="connsiteY2099" fmla="*/ 269806 h 905809"/>
                <a:gd name="connsiteX2100" fmla="*/ 149294 w 1352046"/>
                <a:gd name="connsiteY2100" fmla="*/ 267800 h 905809"/>
                <a:gd name="connsiteX2101" fmla="*/ 149434 w 1352046"/>
                <a:gd name="connsiteY2101" fmla="*/ 266390 h 905809"/>
                <a:gd name="connsiteX2102" fmla="*/ 149203 w 1352046"/>
                <a:gd name="connsiteY2102" fmla="*/ 263589 h 905809"/>
                <a:gd name="connsiteX2103" fmla="*/ 148793 w 1352046"/>
                <a:gd name="connsiteY2103" fmla="*/ 260551 h 905809"/>
                <a:gd name="connsiteX2104" fmla="*/ 149207 w 1352046"/>
                <a:gd name="connsiteY2104" fmla="*/ 257461 h 905809"/>
                <a:gd name="connsiteX2105" fmla="*/ 150002 w 1352046"/>
                <a:gd name="connsiteY2105" fmla="*/ 255425 h 905809"/>
                <a:gd name="connsiteX2106" fmla="*/ 149790 w 1352046"/>
                <a:gd name="connsiteY2106" fmla="*/ 254646 h 905809"/>
                <a:gd name="connsiteX2107" fmla="*/ 150214 w 1352046"/>
                <a:gd name="connsiteY2107" fmla="*/ 254060 h 905809"/>
                <a:gd name="connsiteX2108" fmla="*/ 151427 w 1352046"/>
                <a:gd name="connsiteY2108" fmla="*/ 253865 h 905809"/>
                <a:gd name="connsiteX2109" fmla="*/ 152004 w 1352046"/>
                <a:gd name="connsiteY2109" fmla="*/ 253032 h 905809"/>
                <a:gd name="connsiteX2110" fmla="*/ 151427 w 1352046"/>
                <a:gd name="connsiteY2110" fmla="*/ 252175 h 905809"/>
                <a:gd name="connsiteX2111" fmla="*/ 149335 w 1352046"/>
                <a:gd name="connsiteY2111" fmla="*/ 251515 h 905809"/>
                <a:gd name="connsiteX2112" fmla="*/ 146996 w 1352046"/>
                <a:gd name="connsiteY2112" fmla="*/ 250484 h 905809"/>
                <a:gd name="connsiteX2113" fmla="*/ 144183 w 1352046"/>
                <a:gd name="connsiteY2113" fmla="*/ 250602 h 905809"/>
                <a:gd name="connsiteX2114" fmla="*/ 141293 w 1352046"/>
                <a:gd name="connsiteY2114" fmla="*/ 250781 h 905809"/>
                <a:gd name="connsiteX2115" fmla="*/ 139855 w 1352046"/>
                <a:gd name="connsiteY2115" fmla="*/ 250018 h 905809"/>
                <a:gd name="connsiteX2116" fmla="*/ 138598 w 1352046"/>
                <a:gd name="connsiteY2116" fmla="*/ 249045 h 905809"/>
                <a:gd name="connsiteX2117" fmla="*/ 138523 w 1352046"/>
                <a:gd name="connsiteY2117" fmla="*/ 248418 h 905809"/>
                <a:gd name="connsiteX2118" fmla="*/ 140254 w 1352046"/>
                <a:gd name="connsiteY2118" fmla="*/ 246771 h 905809"/>
                <a:gd name="connsiteX2119" fmla="*/ 142664 w 1352046"/>
                <a:gd name="connsiteY2119" fmla="*/ 245068 h 905809"/>
                <a:gd name="connsiteX2120" fmla="*/ 146403 w 1352046"/>
                <a:gd name="connsiteY2120" fmla="*/ 244315 h 905809"/>
                <a:gd name="connsiteX2121" fmla="*/ 150531 w 1352046"/>
                <a:gd name="connsiteY2121" fmla="*/ 243191 h 905809"/>
                <a:gd name="connsiteX2122" fmla="*/ 152615 w 1352046"/>
                <a:gd name="connsiteY2122" fmla="*/ 242373 h 905809"/>
                <a:gd name="connsiteX2123" fmla="*/ 155392 w 1352046"/>
                <a:gd name="connsiteY2123" fmla="*/ 241784 h 905809"/>
                <a:gd name="connsiteX2124" fmla="*/ 158605 w 1352046"/>
                <a:gd name="connsiteY2124" fmla="*/ 241536 h 905809"/>
                <a:gd name="connsiteX2125" fmla="*/ 160225 w 1352046"/>
                <a:gd name="connsiteY2125" fmla="*/ 241708 h 905809"/>
                <a:gd name="connsiteX2126" fmla="*/ 164360 w 1352046"/>
                <a:gd name="connsiteY2126" fmla="*/ 240617 h 905809"/>
                <a:gd name="connsiteX2127" fmla="*/ 170870 w 1352046"/>
                <a:gd name="connsiteY2127" fmla="*/ 238506 h 905809"/>
                <a:gd name="connsiteX2128" fmla="*/ 176781 w 1352046"/>
                <a:gd name="connsiteY2128" fmla="*/ 236734 h 905809"/>
                <a:gd name="connsiteX2129" fmla="*/ 178770 w 1352046"/>
                <a:gd name="connsiteY2129" fmla="*/ 235678 h 905809"/>
                <a:gd name="connsiteX2130" fmla="*/ 180249 w 1352046"/>
                <a:gd name="connsiteY2130" fmla="*/ 236734 h 905809"/>
                <a:gd name="connsiteX2131" fmla="*/ 180929 w 1352046"/>
                <a:gd name="connsiteY2131" fmla="*/ 239059 h 905809"/>
                <a:gd name="connsiteX2132" fmla="*/ 182650 w 1352046"/>
                <a:gd name="connsiteY2132" fmla="*/ 240263 h 905809"/>
                <a:gd name="connsiteX2133" fmla="*/ 184362 w 1352046"/>
                <a:gd name="connsiteY2133" fmla="*/ 240844 h 905809"/>
                <a:gd name="connsiteX2134" fmla="*/ 185342 w 1352046"/>
                <a:gd name="connsiteY2134" fmla="*/ 240816 h 905809"/>
                <a:gd name="connsiteX2135" fmla="*/ 188295 w 1352046"/>
                <a:gd name="connsiteY2135" fmla="*/ 239913 h 905809"/>
                <a:gd name="connsiteX2136" fmla="*/ 191475 w 1352046"/>
                <a:gd name="connsiteY2136" fmla="*/ 239249 h 905809"/>
                <a:gd name="connsiteX2137" fmla="*/ 192732 w 1352046"/>
                <a:gd name="connsiteY2137" fmla="*/ 239611 h 905809"/>
                <a:gd name="connsiteX2138" fmla="*/ 194352 w 1352046"/>
                <a:gd name="connsiteY2138" fmla="*/ 240800 h 905809"/>
                <a:gd name="connsiteX2139" fmla="*/ 196165 w 1352046"/>
                <a:gd name="connsiteY2139" fmla="*/ 241864 h 905809"/>
                <a:gd name="connsiteX2140" fmla="*/ 197111 w 1352046"/>
                <a:gd name="connsiteY2140" fmla="*/ 241812 h 905809"/>
                <a:gd name="connsiteX2141" fmla="*/ 197940 w 1352046"/>
                <a:gd name="connsiteY2141" fmla="*/ 240993 h 905809"/>
                <a:gd name="connsiteX2142" fmla="*/ 198780 w 1352046"/>
                <a:gd name="connsiteY2142" fmla="*/ 239335 h 905809"/>
                <a:gd name="connsiteX2143" fmla="*/ 199314 w 1352046"/>
                <a:gd name="connsiteY2143" fmla="*/ 237220 h 905809"/>
                <a:gd name="connsiteX2144" fmla="*/ 199417 w 1352046"/>
                <a:gd name="connsiteY2144" fmla="*/ 234991 h 905809"/>
                <a:gd name="connsiteX2145" fmla="*/ 199104 w 1352046"/>
                <a:gd name="connsiteY2145" fmla="*/ 233623 h 905809"/>
                <a:gd name="connsiteX2146" fmla="*/ 198461 w 1352046"/>
                <a:gd name="connsiteY2146" fmla="*/ 233120 h 905809"/>
                <a:gd name="connsiteX2147" fmla="*/ 195567 w 1352046"/>
                <a:gd name="connsiteY2147" fmla="*/ 232313 h 905809"/>
                <a:gd name="connsiteX2148" fmla="*/ 192803 w 1352046"/>
                <a:gd name="connsiteY2148" fmla="*/ 230996 h 905809"/>
                <a:gd name="connsiteX2149" fmla="*/ 192483 w 1352046"/>
                <a:gd name="connsiteY2149" fmla="*/ 229792 h 905809"/>
                <a:gd name="connsiteX2150" fmla="*/ 192551 w 1352046"/>
                <a:gd name="connsiteY2150" fmla="*/ 228934 h 905809"/>
                <a:gd name="connsiteX2151" fmla="*/ 193278 w 1352046"/>
                <a:gd name="connsiteY2151" fmla="*/ 226827 h 905809"/>
                <a:gd name="connsiteX2152" fmla="*/ 195081 w 1352046"/>
                <a:gd name="connsiteY2152" fmla="*/ 222960 h 905809"/>
                <a:gd name="connsiteX2153" fmla="*/ 196895 w 1352046"/>
                <a:gd name="connsiteY2153" fmla="*/ 217611 h 905809"/>
                <a:gd name="connsiteX2154" fmla="*/ 197854 w 1352046"/>
                <a:gd name="connsiteY2154" fmla="*/ 213385 h 905809"/>
                <a:gd name="connsiteX2155" fmla="*/ 200886 w 1352046"/>
                <a:gd name="connsiteY2155" fmla="*/ 207072 h 905809"/>
                <a:gd name="connsiteX2156" fmla="*/ 203270 w 1352046"/>
                <a:gd name="connsiteY2156" fmla="*/ 200470 h 905809"/>
                <a:gd name="connsiteX2157" fmla="*/ 207137 w 1352046"/>
                <a:gd name="connsiteY2157" fmla="*/ 190959 h 905809"/>
                <a:gd name="connsiteX2158" fmla="*/ 207783 w 1352046"/>
                <a:gd name="connsiteY2158" fmla="*/ 189075 h 905809"/>
                <a:gd name="connsiteX2159" fmla="*/ 208137 w 1352046"/>
                <a:gd name="connsiteY2159" fmla="*/ 186060 h 905809"/>
                <a:gd name="connsiteX2160" fmla="*/ 208344 w 1352046"/>
                <a:gd name="connsiteY2160" fmla="*/ 184816 h 905809"/>
                <a:gd name="connsiteX2161" fmla="*/ 209689 w 1352046"/>
                <a:gd name="connsiteY2161" fmla="*/ 184161 h 905809"/>
                <a:gd name="connsiteX2162" fmla="*/ 211961 w 1352046"/>
                <a:gd name="connsiteY2162" fmla="*/ 184798 h 905809"/>
                <a:gd name="connsiteX2163" fmla="*/ 217500 w 1352046"/>
                <a:gd name="connsiteY2163" fmla="*/ 186977 h 905809"/>
                <a:gd name="connsiteX2164" fmla="*/ 221713 w 1352046"/>
                <a:gd name="connsiteY2164" fmla="*/ 188804 h 905809"/>
                <a:gd name="connsiteX2165" fmla="*/ 223480 w 1352046"/>
                <a:gd name="connsiteY2165" fmla="*/ 189423 h 905809"/>
                <a:gd name="connsiteX2166" fmla="*/ 226103 w 1352046"/>
                <a:gd name="connsiteY2166" fmla="*/ 190070 h 905809"/>
                <a:gd name="connsiteX2167" fmla="*/ 230158 w 1352046"/>
                <a:gd name="connsiteY2167" fmla="*/ 190833 h 905809"/>
                <a:gd name="connsiteX2168" fmla="*/ 232503 w 1352046"/>
                <a:gd name="connsiteY2168" fmla="*/ 190607 h 905809"/>
                <a:gd name="connsiteX2169" fmla="*/ 234562 w 1352046"/>
                <a:gd name="connsiteY2169" fmla="*/ 190157 h 905809"/>
                <a:gd name="connsiteX2170" fmla="*/ 237297 w 1352046"/>
                <a:gd name="connsiteY2170" fmla="*/ 190118 h 905809"/>
                <a:gd name="connsiteX2171" fmla="*/ 241577 w 1352046"/>
                <a:gd name="connsiteY2171" fmla="*/ 190686 h 905809"/>
                <a:gd name="connsiteX2172" fmla="*/ 242901 w 1352046"/>
                <a:gd name="connsiteY2172" fmla="*/ 190709 h 905809"/>
                <a:gd name="connsiteX2173" fmla="*/ 244544 w 1352046"/>
                <a:gd name="connsiteY2173" fmla="*/ 190781 h 905809"/>
                <a:gd name="connsiteX2174" fmla="*/ 245715 w 1352046"/>
                <a:gd name="connsiteY2174" fmla="*/ 191702 h 905809"/>
                <a:gd name="connsiteX2175" fmla="*/ 246300 w 1352046"/>
                <a:gd name="connsiteY2175" fmla="*/ 193793 h 905809"/>
                <a:gd name="connsiteX2176" fmla="*/ 247187 w 1352046"/>
                <a:gd name="connsiteY2176" fmla="*/ 194731 h 905809"/>
                <a:gd name="connsiteX2177" fmla="*/ 248781 w 1352046"/>
                <a:gd name="connsiteY2177" fmla="*/ 194384 h 905809"/>
                <a:gd name="connsiteX2178" fmla="*/ 252186 w 1352046"/>
                <a:gd name="connsiteY2178" fmla="*/ 192543 h 905809"/>
                <a:gd name="connsiteX2179" fmla="*/ 254361 w 1352046"/>
                <a:gd name="connsiteY2179" fmla="*/ 191092 h 905809"/>
                <a:gd name="connsiteX2180" fmla="*/ 257080 w 1352046"/>
                <a:gd name="connsiteY2180" fmla="*/ 188995 h 905809"/>
                <a:gd name="connsiteX2181" fmla="*/ 259774 w 1352046"/>
                <a:gd name="connsiteY2181" fmla="*/ 188706 h 905809"/>
                <a:gd name="connsiteX2182" fmla="*/ 262635 w 1352046"/>
                <a:gd name="connsiteY2182" fmla="*/ 188237 h 905809"/>
                <a:gd name="connsiteX2183" fmla="*/ 263629 w 1352046"/>
                <a:gd name="connsiteY2183" fmla="*/ 187196 h 905809"/>
                <a:gd name="connsiteX2184" fmla="*/ 264681 w 1352046"/>
                <a:gd name="connsiteY2184" fmla="*/ 184745 h 905809"/>
                <a:gd name="connsiteX2185" fmla="*/ 266436 w 1352046"/>
                <a:gd name="connsiteY2185" fmla="*/ 182894 h 905809"/>
                <a:gd name="connsiteX2186" fmla="*/ 266727 w 1352046"/>
                <a:gd name="connsiteY2186" fmla="*/ 180549 h 905809"/>
                <a:gd name="connsiteX2187" fmla="*/ 266108 w 1352046"/>
                <a:gd name="connsiteY2187" fmla="*/ 178895 h 905809"/>
                <a:gd name="connsiteX2188" fmla="*/ 264888 w 1352046"/>
                <a:gd name="connsiteY2188" fmla="*/ 176196 h 905809"/>
                <a:gd name="connsiteX2189" fmla="*/ 264924 w 1352046"/>
                <a:gd name="connsiteY2189" fmla="*/ 174376 h 905809"/>
                <a:gd name="connsiteX2190" fmla="*/ 264335 w 1352046"/>
                <a:gd name="connsiteY2190" fmla="*/ 169092 h 905809"/>
                <a:gd name="connsiteX2191" fmla="*/ 263547 w 1352046"/>
                <a:gd name="connsiteY2191" fmla="*/ 164329 h 905809"/>
                <a:gd name="connsiteX2192" fmla="*/ 264350 w 1352046"/>
                <a:gd name="connsiteY2192" fmla="*/ 160486 h 905809"/>
                <a:gd name="connsiteX2193" fmla="*/ 265767 w 1352046"/>
                <a:gd name="connsiteY2193" fmla="*/ 156187 h 905809"/>
                <a:gd name="connsiteX2194" fmla="*/ 266324 w 1352046"/>
                <a:gd name="connsiteY2194" fmla="*/ 154870 h 905809"/>
                <a:gd name="connsiteX2195" fmla="*/ 267222 w 1352046"/>
                <a:gd name="connsiteY2195" fmla="*/ 153136 h 905809"/>
                <a:gd name="connsiteX2196" fmla="*/ 268487 w 1352046"/>
                <a:gd name="connsiteY2196" fmla="*/ 151061 h 905809"/>
                <a:gd name="connsiteX2197" fmla="*/ 270267 w 1352046"/>
                <a:gd name="connsiteY2197" fmla="*/ 150409 h 905809"/>
                <a:gd name="connsiteX2198" fmla="*/ 275270 w 1352046"/>
                <a:gd name="connsiteY2198" fmla="*/ 149965 h 905809"/>
                <a:gd name="connsiteX2199" fmla="*/ 279902 w 1352046"/>
                <a:gd name="connsiteY2199" fmla="*/ 149092 h 905809"/>
                <a:gd name="connsiteX2200" fmla="*/ 282266 w 1352046"/>
                <a:gd name="connsiteY2200" fmla="*/ 148193 h 905809"/>
                <a:gd name="connsiteX2201" fmla="*/ 284715 w 1352046"/>
                <a:gd name="connsiteY2201" fmla="*/ 147650 h 905809"/>
                <a:gd name="connsiteX2202" fmla="*/ 286177 w 1352046"/>
                <a:gd name="connsiteY2202" fmla="*/ 146990 h 905809"/>
                <a:gd name="connsiteX2203" fmla="*/ 288706 w 1352046"/>
                <a:gd name="connsiteY2203" fmla="*/ 143954 h 905809"/>
                <a:gd name="connsiteX2204" fmla="*/ 289904 w 1352046"/>
                <a:gd name="connsiteY2204" fmla="*/ 142202 h 905809"/>
                <a:gd name="connsiteX2205" fmla="*/ 290785 w 1352046"/>
                <a:gd name="connsiteY2205" fmla="*/ 137546 h 905809"/>
                <a:gd name="connsiteX2206" fmla="*/ 290140 w 1352046"/>
                <a:gd name="connsiteY2206" fmla="*/ 135306 h 905809"/>
                <a:gd name="connsiteX2207" fmla="*/ 290682 w 1352046"/>
                <a:gd name="connsiteY2207" fmla="*/ 133324 h 905809"/>
                <a:gd name="connsiteX2208" fmla="*/ 291902 w 1352046"/>
                <a:gd name="connsiteY2208" fmla="*/ 132157 h 905809"/>
                <a:gd name="connsiteX2209" fmla="*/ 293618 w 1352046"/>
                <a:gd name="connsiteY2209" fmla="*/ 130990 h 905809"/>
                <a:gd name="connsiteX2210" fmla="*/ 294769 w 1352046"/>
                <a:gd name="connsiteY2210" fmla="*/ 130791 h 905809"/>
                <a:gd name="connsiteX2211" fmla="*/ 297214 w 1352046"/>
                <a:gd name="connsiteY2211" fmla="*/ 130437 h 905809"/>
                <a:gd name="connsiteX2212" fmla="*/ 301226 w 1352046"/>
                <a:gd name="connsiteY2212" fmla="*/ 130553 h 905809"/>
                <a:gd name="connsiteX2213" fmla="*/ 303280 w 1352046"/>
                <a:gd name="connsiteY2213" fmla="*/ 131127 h 905809"/>
                <a:gd name="connsiteX2214" fmla="*/ 305355 w 1352046"/>
                <a:gd name="connsiteY2214" fmla="*/ 131389 h 905809"/>
                <a:gd name="connsiteX2215" fmla="*/ 306670 w 1352046"/>
                <a:gd name="connsiteY2215" fmla="*/ 130965 h 905809"/>
                <a:gd name="connsiteX2216" fmla="*/ 307547 w 1352046"/>
                <a:gd name="connsiteY2216" fmla="*/ 130080 h 905809"/>
                <a:gd name="connsiteX2217" fmla="*/ 308890 w 1352046"/>
                <a:gd name="connsiteY2217" fmla="*/ 129796 h 905809"/>
                <a:gd name="connsiteX2218" fmla="*/ 310920 w 1352046"/>
                <a:gd name="connsiteY2218" fmla="*/ 129372 h 905809"/>
                <a:gd name="connsiteX2219" fmla="*/ 313001 w 1352046"/>
                <a:gd name="connsiteY2219" fmla="*/ 128840 h 905809"/>
                <a:gd name="connsiteX2220" fmla="*/ 314145 w 1352046"/>
                <a:gd name="connsiteY2220" fmla="*/ 128940 h 905809"/>
                <a:gd name="connsiteX2221" fmla="*/ 314387 w 1352046"/>
                <a:gd name="connsiteY2221" fmla="*/ 130255 h 905809"/>
                <a:gd name="connsiteX2222" fmla="*/ 314191 w 1352046"/>
                <a:gd name="connsiteY2222" fmla="*/ 131284 h 905809"/>
                <a:gd name="connsiteX2223" fmla="*/ 314597 w 1352046"/>
                <a:gd name="connsiteY2223" fmla="*/ 132664 h 905809"/>
                <a:gd name="connsiteX2224" fmla="*/ 315426 w 1352046"/>
                <a:gd name="connsiteY2224" fmla="*/ 133572 h 905809"/>
                <a:gd name="connsiteX2225" fmla="*/ 315154 w 1352046"/>
                <a:gd name="connsiteY2225" fmla="*/ 134559 h 905809"/>
                <a:gd name="connsiteX2226" fmla="*/ 313981 w 1352046"/>
                <a:gd name="connsiteY2226" fmla="*/ 135130 h 905809"/>
                <a:gd name="connsiteX2227" fmla="*/ 312828 w 1352046"/>
                <a:gd name="connsiteY2227" fmla="*/ 135898 h 905809"/>
                <a:gd name="connsiteX2228" fmla="*/ 312573 w 1352046"/>
                <a:gd name="connsiteY2228" fmla="*/ 136951 h 905809"/>
                <a:gd name="connsiteX2229" fmla="*/ 314033 w 1352046"/>
                <a:gd name="connsiteY2229" fmla="*/ 138258 h 905809"/>
                <a:gd name="connsiteX2230" fmla="*/ 314534 w 1352046"/>
                <a:gd name="connsiteY2230" fmla="*/ 139514 h 905809"/>
                <a:gd name="connsiteX2231" fmla="*/ 316974 w 1352046"/>
                <a:gd name="connsiteY2231" fmla="*/ 140264 h 905809"/>
                <a:gd name="connsiteX2232" fmla="*/ 318870 w 1352046"/>
                <a:gd name="connsiteY2232" fmla="*/ 141109 h 905809"/>
                <a:gd name="connsiteX2233" fmla="*/ 319581 w 1352046"/>
                <a:gd name="connsiteY2233" fmla="*/ 141917 h 905809"/>
                <a:gd name="connsiteX2234" fmla="*/ 319363 w 1352046"/>
                <a:gd name="connsiteY2234" fmla="*/ 142831 h 905809"/>
                <a:gd name="connsiteX2235" fmla="*/ 318488 w 1352046"/>
                <a:gd name="connsiteY2235" fmla="*/ 143815 h 905809"/>
                <a:gd name="connsiteX2236" fmla="*/ 317639 w 1352046"/>
                <a:gd name="connsiteY2236" fmla="*/ 144869 h 905809"/>
                <a:gd name="connsiteX2237" fmla="*/ 317532 w 1352046"/>
                <a:gd name="connsiteY2237" fmla="*/ 145502 h 905809"/>
                <a:gd name="connsiteX2238" fmla="*/ 317804 w 1352046"/>
                <a:gd name="connsiteY2238" fmla="*/ 146238 h 905809"/>
                <a:gd name="connsiteX2239" fmla="*/ 319637 w 1352046"/>
                <a:gd name="connsiteY2239" fmla="*/ 146728 h 905809"/>
                <a:gd name="connsiteX2240" fmla="*/ 321751 w 1352046"/>
                <a:gd name="connsiteY2240" fmla="*/ 147545 h 905809"/>
                <a:gd name="connsiteX2241" fmla="*/ 325107 w 1352046"/>
                <a:gd name="connsiteY2241" fmla="*/ 148594 h 905809"/>
                <a:gd name="connsiteX2242" fmla="*/ 327406 w 1352046"/>
                <a:gd name="connsiteY2242" fmla="*/ 150541 h 905809"/>
                <a:gd name="connsiteX2243" fmla="*/ 329687 w 1352046"/>
                <a:gd name="connsiteY2243" fmla="*/ 151078 h 905809"/>
                <a:gd name="connsiteX2244" fmla="*/ 330786 w 1352046"/>
                <a:gd name="connsiteY2244" fmla="*/ 152977 h 905809"/>
                <a:gd name="connsiteX2245" fmla="*/ 330989 w 1352046"/>
                <a:gd name="connsiteY2245" fmla="*/ 155730 h 905809"/>
                <a:gd name="connsiteX2246" fmla="*/ 333330 w 1352046"/>
                <a:gd name="connsiteY2246" fmla="*/ 157132 h 905809"/>
                <a:gd name="connsiteX2247" fmla="*/ 336789 w 1352046"/>
                <a:gd name="connsiteY2247" fmla="*/ 159078 h 905809"/>
                <a:gd name="connsiteX2248" fmla="*/ 338547 w 1352046"/>
                <a:gd name="connsiteY2248" fmla="*/ 159436 h 905809"/>
                <a:gd name="connsiteX2249" fmla="*/ 339726 w 1352046"/>
                <a:gd name="connsiteY2249" fmla="*/ 160539 h 905809"/>
                <a:gd name="connsiteX2250" fmla="*/ 341419 w 1352046"/>
                <a:gd name="connsiteY2250" fmla="*/ 161877 h 905809"/>
                <a:gd name="connsiteX2251" fmla="*/ 342922 w 1352046"/>
                <a:gd name="connsiteY2251" fmla="*/ 162296 h 905809"/>
                <a:gd name="connsiteX2252" fmla="*/ 344705 w 1352046"/>
                <a:gd name="connsiteY2252" fmla="*/ 162488 h 905809"/>
                <a:gd name="connsiteX2253" fmla="*/ 347659 w 1352046"/>
                <a:gd name="connsiteY2253" fmla="*/ 161248 h 905809"/>
                <a:gd name="connsiteX2254" fmla="*/ 350961 w 1352046"/>
                <a:gd name="connsiteY2254" fmla="*/ 161129 h 905809"/>
                <a:gd name="connsiteX2255" fmla="*/ 352768 w 1352046"/>
                <a:gd name="connsiteY2255" fmla="*/ 161837 h 905809"/>
                <a:gd name="connsiteX2256" fmla="*/ 354483 w 1352046"/>
                <a:gd name="connsiteY2256" fmla="*/ 164513 h 905809"/>
                <a:gd name="connsiteX2257" fmla="*/ 355692 w 1352046"/>
                <a:gd name="connsiteY2257" fmla="*/ 165357 h 905809"/>
                <a:gd name="connsiteX2258" fmla="*/ 356409 w 1352046"/>
                <a:gd name="connsiteY2258" fmla="*/ 166108 h 905809"/>
                <a:gd name="connsiteX2259" fmla="*/ 357571 w 1352046"/>
                <a:gd name="connsiteY2259" fmla="*/ 166826 h 905809"/>
                <a:gd name="connsiteX2260" fmla="*/ 358748 w 1352046"/>
                <a:gd name="connsiteY2260" fmla="*/ 166930 h 905809"/>
                <a:gd name="connsiteX2261" fmla="*/ 360496 w 1352046"/>
                <a:gd name="connsiteY2261" fmla="*/ 166338 h 905809"/>
                <a:gd name="connsiteX2262" fmla="*/ 361564 w 1352046"/>
                <a:gd name="connsiteY2262" fmla="*/ 165154 h 905809"/>
                <a:gd name="connsiteX2263" fmla="*/ 363095 w 1352046"/>
                <a:gd name="connsiteY2263" fmla="*/ 165398 h 905809"/>
                <a:gd name="connsiteX2264" fmla="*/ 363669 w 1352046"/>
                <a:gd name="connsiteY2264" fmla="*/ 166164 h 905809"/>
                <a:gd name="connsiteX2265" fmla="*/ 363950 w 1352046"/>
                <a:gd name="connsiteY2265" fmla="*/ 167486 h 905809"/>
                <a:gd name="connsiteX2266" fmla="*/ 364760 w 1352046"/>
                <a:gd name="connsiteY2266" fmla="*/ 169122 h 905809"/>
                <a:gd name="connsiteX2267" fmla="*/ 366701 w 1352046"/>
                <a:gd name="connsiteY2267" fmla="*/ 170341 h 905809"/>
                <a:gd name="connsiteX2268" fmla="*/ 369404 w 1352046"/>
                <a:gd name="connsiteY2268" fmla="*/ 171070 h 905809"/>
                <a:gd name="connsiteX2269" fmla="*/ 369789 w 1352046"/>
                <a:gd name="connsiteY2269" fmla="*/ 171660 h 905809"/>
                <a:gd name="connsiteX2270" fmla="*/ 370160 w 1352046"/>
                <a:gd name="connsiteY2270" fmla="*/ 173296 h 905809"/>
                <a:gd name="connsiteX2271" fmla="*/ 370894 w 1352046"/>
                <a:gd name="connsiteY2271" fmla="*/ 174428 h 905809"/>
                <a:gd name="connsiteX2272" fmla="*/ 371879 w 1352046"/>
                <a:gd name="connsiteY2272" fmla="*/ 175903 h 905809"/>
                <a:gd name="connsiteX2273" fmla="*/ 372814 w 1352046"/>
                <a:gd name="connsiteY2273" fmla="*/ 178594 h 905809"/>
                <a:gd name="connsiteX2274" fmla="*/ 373013 w 1352046"/>
                <a:gd name="connsiteY2274" fmla="*/ 180817 h 905809"/>
                <a:gd name="connsiteX2275" fmla="*/ 373449 w 1352046"/>
                <a:gd name="connsiteY2275" fmla="*/ 182040 h 905809"/>
                <a:gd name="connsiteX2276" fmla="*/ 374703 w 1352046"/>
                <a:gd name="connsiteY2276" fmla="*/ 184031 h 905809"/>
                <a:gd name="connsiteX2277" fmla="*/ 376703 w 1352046"/>
                <a:gd name="connsiteY2277" fmla="*/ 187210 h 905809"/>
                <a:gd name="connsiteX2278" fmla="*/ 378299 w 1352046"/>
                <a:gd name="connsiteY2278" fmla="*/ 189903 h 905809"/>
                <a:gd name="connsiteX2279" fmla="*/ 380145 w 1352046"/>
                <a:gd name="connsiteY2279" fmla="*/ 190424 h 905809"/>
                <a:gd name="connsiteX2280" fmla="*/ 381713 w 1352046"/>
                <a:gd name="connsiteY2280" fmla="*/ 191280 h 905809"/>
                <a:gd name="connsiteX2281" fmla="*/ 382611 w 1352046"/>
                <a:gd name="connsiteY2281" fmla="*/ 193267 h 905809"/>
                <a:gd name="connsiteX2282" fmla="*/ 384274 w 1352046"/>
                <a:gd name="connsiteY2282" fmla="*/ 197005 h 905809"/>
                <a:gd name="connsiteX2283" fmla="*/ 384541 w 1352046"/>
                <a:gd name="connsiteY2283" fmla="*/ 199452 h 905809"/>
                <a:gd name="connsiteX2284" fmla="*/ 384684 w 1352046"/>
                <a:gd name="connsiteY2284" fmla="*/ 201268 h 905809"/>
                <a:gd name="connsiteX2285" fmla="*/ 385228 w 1352046"/>
                <a:gd name="connsiteY2285" fmla="*/ 202093 h 905809"/>
                <a:gd name="connsiteX2286" fmla="*/ 385338 w 1352046"/>
                <a:gd name="connsiteY2286" fmla="*/ 203123 h 905809"/>
                <a:gd name="connsiteX2287" fmla="*/ 383959 w 1352046"/>
                <a:gd name="connsiteY2287" fmla="*/ 207035 h 905809"/>
                <a:gd name="connsiteX2288" fmla="*/ 382782 w 1352046"/>
                <a:gd name="connsiteY2288" fmla="*/ 208802 h 905809"/>
                <a:gd name="connsiteX2289" fmla="*/ 382632 w 1352046"/>
                <a:gd name="connsiteY2289" fmla="*/ 210287 h 905809"/>
                <a:gd name="connsiteX2290" fmla="*/ 383429 w 1352046"/>
                <a:gd name="connsiteY2290" fmla="*/ 212871 h 905809"/>
                <a:gd name="connsiteX2291" fmla="*/ 384518 w 1352046"/>
                <a:gd name="connsiteY2291" fmla="*/ 214871 h 905809"/>
                <a:gd name="connsiteX2292" fmla="*/ 384628 w 1352046"/>
                <a:gd name="connsiteY2292" fmla="*/ 216783 h 905809"/>
                <a:gd name="connsiteX2293" fmla="*/ 383699 w 1352046"/>
                <a:gd name="connsiteY2293" fmla="*/ 218184 h 905809"/>
                <a:gd name="connsiteX2294" fmla="*/ 382093 w 1352046"/>
                <a:gd name="connsiteY2294" fmla="*/ 219935 h 905809"/>
                <a:gd name="connsiteX2295" fmla="*/ 381326 w 1352046"/>
                <a:gd name="connsiteY2295" fmla="*/ 220934 h 905809"/>
                <a:gd name="connsiteX2296" fmla="*/ 380076 w 1352046"/>
                <a:gd name="connsiteY2296" fmla="*/ 221814 h 905809"/>
                <a:gd name="connsiteX2297" fmla="*/ 378169 w 1352046"/>
                <a:gd name="connsiteY2297" fmla="*/ 225194 h 905809"/>
                <a:gd name="connsiteX2298" fmla="*/ 377308 w 1352046"/>
                <a:gd name="connsiteY2298" fmla="*/ 228927 h 905809"/>
                <a:gd name="connsiteX2299" fmla="*/ 377111 w 1352046"/>
                <a:gd name="connsiteY2299" fmla="*/ 230850 h 905809"/>
                <a:gd name="connsiteX2300" fmla="*/ 377833 w 1352046"/>
                <a:gd name="connsiteY2300" fmla="*/ 232239 h 905809"/>
                <a:gd name="connsiteX2301" fmla="*/ 379053 w 1352046"/>
                <a:gd name="connsiteY2301" fmla="*/ 233769 h 905809"/>
                <a:gd name="connsiteX2302" fmla="*/ 379353 w 1352046"/>
                <a:gd name="connsiteY2302" fmla="*/ 235094 h 905809"/>
                <a:gd name="connsiteX2303" fmla="*/ 381343 w 1352046"/>
                <a:gd name="connsiteY2303" fmla="*/ 238049 h 905809"/>
                <a:gd name="connsiteX2304" fmla="*/ 381875 w 1352046"/>
                <a:gd name="connsiteY2304" fmla="*/ 239879 h 905809"/>
                <a:gd name="connsiteX2305" fmla="*/ 382687 w 1352046"/>
                <a:gd name="connsiteY2305" fmla="*/ 239938 h 905809"/>
                <a:gd name="connsiteX2306" fmla="*/ 383563 w 1352046"/>
                <a:gd name="connsiteY2306" fmla="*/ 239336 h 905809"/>
                <a:gd name="connsiteX2307" fmla="*/ 385695 w 1352046"/>
                <a:gd name="connsiteY2307" fmla="*/ 239295 h 905809"/>
                <a:gd name="connsiteX2308" fmla="*/ 387634 w 1352046"/>
                <a:gd name="connsiteY2308" fmla="*/ 239938 h 905809"/>
                <a:gd name="connsiteX2309" fmla="*/ 389493 w 1352046"/>
                <a:gd name="connsiteY2309" fmla="*/ 241291 h 905809"/>
                <a:gd name="connsiteX2310" fmla="*/ 391491 w 1352046"/>
                <a:gd name="connsiteY2310" fmla="*/ 242014 h 905809"/>
                <a:gd name="connsiteX2311" fmla="*/ 394341 w 1352046"/>
                <a:gd name="connsiteY2311" fmla="*/ 241832 h 905809"/>
                <a:gd name="connsiteX2312" fmla="*/ 395867 w 1352046"/>
                <a:gd name="connsiteY2312" fmla="*/ 242557 h 905809"/>
                <a:gd name="connsiteX2313" fmla="*/ 397510 w 1352046"/>
                <a:gd name="connsiteY2313" fmla="*/ 243152 h 905809"/>
                <a:gd name="connsiteX2314" fmla="*/ 400903 w 1352046"/>
                <a:gd name="connsiteY2314" fmla="*/ 243359 h 905809"/>
                <a:gd name="connsiteX2315" fmla="*/ 403447 w 1352046"/>
                <a:gd name="connsiteY2315" fmla="*/ 243348 h 905809"/>
                <a:gd name="connsiteX2316" fmla="*/ 407359 w 1352046"/>
                <a:gd name="connsiteY2316" fmla="*/ 243371 h 905809"/>
                <a:gd name="connsiteX2317" fmla="*/ 410519 w 1352046"/>
                <a:gd name="connsiteY2317" fmla="*/ 244280 h 905809"/>
                <a:gd name="connsiteX2318" fmla="*/ 416073 w 1352046"/>
                <a:gd name="connsiteY2318" fmla="*/ 245000 h 905809"/>
                <a:gd name="connsiteX2319" fmla="*/ 419502 w 1352046"/>
                <a:gd name="connsiteY2319" fmla="*/ 244944 h 905809"/>
                <a:gd name="connsiteX2320" fmla="*/ 424123 w 1352046"/>
                <a:gd name="connsiteY2320" fmla="*/ 244267 h 905809"/>
                <a:gd name="connsiteX2321" fmla="*/ 426956 w 1352046"/>
                <a:gd name="connsiteY2321" fmla="*/ 244693 h 905809"/>
                <a:gd name="connsiteX2322" fmla="*/ 435321 w 1352046"/>
                <a:gd name="connsiteY2322" fmla="*/ 245704 h 905809"/>
                <a:gd name="connsiteX2323" fmla="*/ 440228 w 1352046"/>
                <a:gd name="connsiteY2323" fmla="*/ 246761 h 905809"/>
                <a:gd name="connsiteX2324" fmla="*/ 443329 w 1352046"/>
                <a:gd name="connsiteY2324" fmla="*/ 247949 h 905809"/>
                <a:gd name="connsiteX2325" fmla="*/ 445514 w 1352046"/>
                <a:gd name="connsiteY2325" fmla="*/ 249834 h 905809"/>
                <a:gd name="connsiteX2326" fmla="*/ 448010 w 1352046"/>
                <a:gd name="connsiteY2326" fmla="*/ 252771 h 905809"/>
                <a:gd name="connsiteX2327" fmla="*/ 449995 w 1352046"/>
                <a:gd name="connsiteY2327" fmla="*/ 254114 h 905809"/>
                <a:gd name="connsiteX2328" fmla="*/ 455333 w 1352046"/>
                <a:gd name="connsiteY2328" fmla="*/ 254925 h 905809"/>
                <a:gd name="connsiteX2329" fmla="*/ 458990 w 1352046"/>
                <a:gd name="connsiteY2329" fmla="*/ 258346 h 905809"/>
                <a:gd name="connsiteX2330" fmla="*/ 461856 w 1352046"/>
                <a:gd name="connsiteY2330" fmla="*/ 259623 h 905809"/>
                <a:gd name="connsiteX2331" fmla="*/ 466670 w 1352046"/>
                <a:gd name="connsiteY2331" fmla="*/ 262929 h 905809"/>
                <a:gd name="connsiteX2332" fmla="*/ 470075 w 1352046"/>
                <a:gd name="connsiteY2332" fmla="*/ 264219 h 905809"/>
                <a:gd name="connsiteX2333" fmla="*/ 474139 w 1352046"/>
                <a:gd name="connsiteY2333" fmla="*/ 265410 h 905809"/>
                <a:gd name="connsiteX2334" fmla="*/ 480783 w 1352046"/>
                <a:gd name="connsiteY2334" fmla="*/ 264904 h 905809"/>
                <a:gd name="connsiteX2335" fmla="*/ 481148 w 1352046"/>
                <a:gd name="connsiteY2335" fmla="*/ 265353 h 905809"/>
                <a:gd name="connsiteX2336" fmla="*/ 480636 w 1352046"/>
                <a:gd name="connsiteY2336" fmla="*/ 267146 h 905809"/>
                <a:gd name="connsiteX2337" fmla="*/ 480237 w 1352046"/>
                <a:gd name="connsiteY2337" fmla="*/ 269599 h 905809"/>
                <a:gd name="connsiteX2338" fmla="*/ 480237 w 1352046"/>
                <a:gd name="connsiteY2338" fmla="*/ 271374 h 905809"/>
                <a:gd name="connsiteX2339" fmla="*/ 480919 w 1352046"/>
                <a:gd name="connsiteY2339" fmla="*/ 272278 h 905809"/>
                <a:gd name="connsiteX2340" fmla="*/ 483459 w 1352046"/>
                <a:gd name="connsiteY2340" fmla="*/ 272813 h 905809"/>
                <a:gd name="connsiteX2341" fmla="*/ 484659 w 1352046"/>
                <a:gd name="connsiteY2341" fmla="*/ 273685 h 905809"/>
                <a:gd name="connsiteX2342" fmla="*/ 485580 w 1352046"/>
                <a:gd name="connsiteY2342" fmla="*/ 275354 h 905809"/>
                <a:gd name="connsiteX2343" fmla="*/ 486110 w 1352046"/>
                <a:gd name="connsiteY2343" fmla="*/ 276398 h 905809"/>
                <a:gd name="connsiteX2344" fmla="*/ 488235 w 1352046"/>
                <a:gd name="connsiteY2344" fmla="*/ 281515 h 905809"/>
                <a:gd name="connsiteX2345" fmla="*/ 491656 w 1352046"/>
                <a:gd name="connsiteY2345" fmla="*/ 289067 h 905809"/>
                <a:gd name="connsiteX2346" fmla="*/ 492044 w 1352046"/>
                <a:gd name="connsiteY2346" fmla="*/ 291962 h 905809"/>
                <a:gd name="connsiteX2347" fmla="*/ 493215 w 1352046"/>
                <a:gd name="connsiteY2347" fmla="*/ 293829 h 905809"/>
                <a:gd name="connsiteX2348" fmla="*/ 496925 w 1352046"/>
                <a:gd name="connsiteY2348" fmla="*/ 296790 h 905809"/>
                <a:gd name="connsiteX2349" fmla="*/ 498875 w 1352046"/>
                <a:gd name="connsiteY2349" fmla="*/ 298979 h 905809"/>
                <a:gd name="connsiteX2350" fmla="*/ 501772 w 1352046"/>
                <a:gd name="connsiteY2350" fmla="*/ 301278 h 905809"/>
                <a:gd name="connsiteX2351" fmla="*/ 502723 w 1352046"/>
                <a:gd name="connsiteY2351" fmla="*/ 303403 h 905809"/>
                <a:gd name="connsiteX2352" fmla="*/ 502940 w 1352046"/>
                <a:gd name="connsiteY2352" fmla="*/ 306146 h 905809"/>
                <a:gd name="connsiteX2353" fmla="*/ 503673 w 1352046"/>
                <a:gd name="connsiteY2353" fmla="*/ 306852 h 905809"/>
                <a:gd name="connsiteX2354" fmla="*/ 508977 w 1352046"/>
                <a:gd name="connsiteY2354" fmla="*/ 306224 h 905809"/>
                <a:gd name="connsiteX2355" fmla="*/ 513569 w 1352046"/>
                <a:gd name="connsiteY2355" fmla="*/ 305786 h 905809"/>
                <a:gd name="connsiteX2356" fmla="*/ 521809 w 1352046"/>
                <a:gd name="connsiteY2356" fmla="*/ 304995 h 905809"/>
                <a:gd name="connsiteX2357" fmla="*/ 533160 w 1352046"/>
                <a:gd name="connsiteY2357" fmla="*/ 306426 h 905809"/>
                <a:gd name="connsiteX2358" fmla="*/ 544863 w 1352046"/>
                <a:gd name="connsiteY2358" fmla="*/ 307810 h 905809"/>
                <a:gd name="connsiteX2359" fmla="*/ 555213 w 1352046"/>
                <a:gd name="connsiteY2359" fmla="*/ 309033 h 905809"/>
                <a:gd name="connsiteX2360" fmla="*/ 560311 w 1352046"/>
                <a:gd name="connsiteY2360" fmla="*/ 309634 h 905809"/>
                <a:gd name="connsiteX2361" fmla="*/ 571832 w 1352046"/>
                <a:gd name="connsiteY2361" fmla="*/ 310916 h 905809"/>
                <a:gd name="connsiteX2362" fmla="*/ 578234 w 1352046"/>
                <a:gd name="connsiteY2362" fmla="*/ 309281 h 905809"/>
                <a:gd name="connsiteX2363" fmla="*/ 583239 w 1352046"/>
                <a:gd name="connsiteY2363" fmla="*/ 308001 h 905809"/>
                <a:gd name="connsiteX2364" fmla="*/ 585507 w 1352046"/>
                <a:gd name="connsiteY2364" fmla="*/ 308177 h 905809"/>
                <a:gd name="connsiteX2365" fmla="*/ 595075 w 1352046"/>
                <a:gd name="connsiteY2365" fmla="*/ 309618 h 905809"/>
                <a:gd name="connsiteX2366" fmla="*/ 600681 w 1352046"/>
                <a:gd name="connsiteY2366" fmla="*/ 310393 h 905809"/>
                <a:gd name="connsiteX2367" fmla="*/ 607744 w 1352046"/>
                <a:gd name="connsiteY2367" fmla="*/ 311366 h 905809"/>
                <a:gd name="connsiteX2368" fmla="*/ 612649 w 1352046"/>
                <a:gd name="connsiteY2368" fmla="*/ 311725 h 905809"/>
                <a:gd name="connsiteX2369" fmla="*/ 616662 w 1352046"/>
                <a:gd name="connsiteY2369" fmla="*/ 311701 h 905809"/>
                <a:gd name="connsiteX2370" fmla="*/ 618516 w 1352046"/>
                <a:gd name="connsiteY2370" fmla="*/ 312108 h 905809"/>
                <a:gd name="connsiteX2371" fmla="*/ 620303 w 1352046"/>
                <a:gd name="connsiteY2371" fmla="*/ 312734 h 905809"/>
                <a:gd name="connsiteX2372" fmla="*/ 621495 w 1352046"/>
                <a:gd name="connsiteY2372" fmla="*/ 313647 h 905809"/>
                <a:gd name="connsiteX2373" fmla="*/ 625166 w 1352046"/>
                <a:gd name="connsiteY2373" fmla="*/ 318269 h 905809"/>
                <a:gd name="connsiteX2374" fmla="*/ 627224 w 1352046"/>
                <a:gd name="connsiteY2374" fmla="*/ 320304 h 905809"/>
                <a:gd name="connsiteX2375" fmla="*/ 631286 w 1352046"/>
                <a:gd name="connsiteY2375" fmla="*/ 321840 h 905809"/>
                <a:gd name="connsiteX2376" fmla="*/ 640541 w 1352046"/>
                <a:gd name="connsiteY2376" fmla="*/ 323595 h 905809"/>
                <a:gd name="connsiteX2377" fmla="*/ 645664 w 1352046"/>
                <a:gd name="connsiteY2377" fmla="*/ 324659 h 905809"/>
                <a:gd name="connsiteX2378" fmla="*/ 651545 w 1352046"/>
                <a:gd name="connsiteY2378" fmla="*/ 325882 h 905809"/>
                <a:gd name="connsiteX2379" fmla="*/ 655415 w 1352046"/>
                <a:gd name="connsiteY2379" fmla="*/ 327724 h 905809"/>
                <a:gd name="connsiteX2380" fmla="*/ 659878 w 1352046"/>
                <a:gd name="connsiteY2380" fmla="*/ 329864 h 905809"/>
                <a:gd name="connsiteX2381" fmla="*/ 665659 w 1352046"/>
                <a:gd name="connsiteY2381" fmla="*/ 332635 h 905809"/>
                <a:gd name="connsiteX2382" fmla="*/ 671986 w 1352046"/>
                <a:gd name="connsiteY2382" fmla="*/ 331425 h 905809"/>
                <a:gd name="connsiteX2383" fmla="*/ 678795 w 1352046"/>
                <a:gd name="connsiteY2383" fmla="*/ 330122 h 905809"/>
                <a:gd name="connsiteX2384" fmla="*/ 683064 w 1352046"/>
                <a:gd name="connsiteY2384" fmla="*/ 329304 h 905809"/>
                <a:gd name="connsiteX2385" fmla="*/ 683064 w 1352046"/>
                <a:gd name="connsiteY2385" fmla="*/ 335087 h 905809"/>
                <a:gd name="connsiteX2386" fmla="*/ 689153 w 1352046"/>
                <a:gd name="connsiteY2386" fmla="*/ 335551 h 905809"/>
                <a:gd name="connsiteX2387" fmla="*/ 691071 w 1352046"/>
                <a:gd name="connsiteY2387" fmla="*/ 335482 h 905809"/>
                <a:gd name="connsiteX2388" fmla="*/ 693761 w 1352046"/>
                <a:gd name="connsiteY2388" fmla="*/ 336759 h 905809"/>
                <a:gd name="connsiteX2389" fmla="*/ 695277 w 1352046"/>
                <a:gd name="connsiteY2389" fmla="*/ 336219 h 905809"/>
                <a:gd name="connsiteX2390" fmla="*/ 696711 w 1352046"/>
                <a:gd name="connsiteY2390" fmla="*/ 334966 h 905809"/>
                <a:gd name="connsiteX2391" fmla="*/ 698516 w 1352046"/>
                <a:gd name="connsiteY2391" fmla="*/ 332986 h 905809"/>
                <a:gd name="connsiteX2392" fmla="*/ 701110 w 1352046"/>
                <a:gd name="connsiteY2392" fmla="*/ 332116 h 905809"/>
                <a:gd name="connsiteX2393" fmla="*/ 705592 w 1352046"/>
                <a:gd name="connsiteY2393" fmla="*/ 329894 h 905809"/>
                <a:gd name="connsiteX2394" fmla="*/ 706683 w 1352046"/>
                <a:gd name="connsiteY2394" fmla="*/ 329354 h 905809"/>
                <a:gd name="connsiteX2395" fmla="*/ 713342 w 1352046"/>
                <a:gd name="connsiteY2395" fmla="*/ 326200 h 905809"/>
                <a:gd name="connsiteX2396" fmla="*/ 723284 w 1352046"/>
                <a:gd name="connsiteY2396" fmla="*/ 322306 h 905809"/>
                <a:gd name="connsiteX2397" fmla="*/ 727741 w 1352046"/>
                <a:gd name="connsiteY2397" fmla="*/ 320418 h 905809"/>
                <a:gd name="connsiteX2398" fmla="*/ 729076 w 1352046"/>
                <a:gd name="connsiteY2398" fmla="*/ 319998 h 905809"/>
                <a:gd name="connsiteX2399" fmla="*/ 731598 w 1352046"/>
                <a:gd name="connsiteY2399" fmla="*/ 319034 h 905809"/>
                <a:gd name="connsiteX2400" fmla="*/ 733298 w 1352046"/>
                <a:gd name="connsiteY2400" fmla="*/ 318365 h 905809"/>
                <a:gd name="connsiteX2401" fmla="*/ 736305 w 1352046"/>
                <a:gd name="connsiteY2401" fmla="*/ 317828 h 905809"/>
                <a:gd name="connsiteX2402" fmla="*/ 740389 w 1352046"/>
                <a:gd name="connsiteY2402" fmla="*/ 317492 h 905809"/>
                <a:gd name="connsiteX2403" fmla="*/ 744848 w 1352046"/>
                <a:gd name="connsiteY2403" fmla="*/ 316753 h 905809"/>
                <a:gd name="connsiteX2404" fmla="*/ 754939 w 1352046"/>
                <a:gd name="connsiteY2404" fmla="*/ 315375 h 905809"/>
                <a:gd name="connsiteX2405" fmla="*/ 756204 w 1352046"/>
                <a:gd name="connsiteY2405" fmla="*/ 315245 h 905809"/>
                <a:gd name="connsiteX2406" fmla="*/ 761873 w 1352046"/>
                <a:gd name="connsiteY2406" fmla="*/ 314677 h 905809"/>
                <a:gd name="connsiteX2407" fmla="*/ 764280 w 1352046"/>
                <a:gd name="connsiteY2407" fmla="*/ 314141 h 905809"/>
                <a:gd name="connsiteX2408" fmla="*/ 767880 w 1352046"/>
                <a:gd name="connsiteY2408" fmla="*/ 314422 h 905809"/>
                <a:gd name="connsiteX2409" fmla="*/ 772579 w 1352046"/>
                <a:gd name="connsiteY2409" fmla="*/ 314621 h 905809"/>
                <a:gd name="connsiteX2410" fmla="*/ 775693 w 1352046"/>
                <a:gd name="connsiteY2410" fmla="*/ 314972 h 905809"/>
                <a:gd name="connsiteX2411" fmla="*/ 779832 w 1352046"/>
                <a:gd name="connsiteY2411" fmla="*/ 314696 h 905809"/>
                <a:gd name="connsiteX2412" fmla="*/ 785518 w 1352046"/>
                <a:gd name="connsiteY2412" fmla="*/ 314320 h 905809"/>
                <a:gd name="connsiteX2413" fmla="*/ 790122 w 1352046"/>
                <a:gd name="connsiteY2413" fmla="*/ 314379 h 905809"/>
                <a:gd name="connsiteX2414" fmla="*/ 792407 w 1352046"/>
                <a:gd name="connsiteY2414" fmla="*/ 313910 h 905809"/>
                <a:gd name="connsiteX2415" fmla="*/ 795775 w 1352046"/>
                <a:gd name="connsiteY2415" fmla="*/ 312454 h 905809"/>
                <a:gd name="connsiteX2416" fmla="*/ 798043 w 1352046"/>
                <a:gd name="connsiteY2416" fmla="*/ 311300 h 905809"/>
                <a:gd name="connsiteX2417" fmla="*/ 801597 w 1352046"/>
                <a:gd name="connsiteY2417" fmla="*/ 309900 h 905809"/>
                <a:gd name="connsiteX2418" fmla="*/ 806002 w 1352046"/>
                <a:gd name="connsiteY2418" fmla="*/ 308449 h 905809"/>
                <a:gd name="connsiteX2419" fmla="*/ 809073 w 1352046"/>
                <a:gd name="connsiteY2419" fmla="*/ 307129 h 905809"/>
                <a:gd name="connsiteX2420" fmla="*/ 811106 w 1352046"/>
                <a:gd name="connsiteY2420" fmla="*/ 306254 h 905809"/>
                <a:gd name="connsiteX2421" fmla="*/ 813573 w 1352046"/>
                <a:gd name="connsiteY2421" fmla="*/ 305426 h 905809"/>
                <a:gd name="connsiteX2422" fmla="*/ 814218 w 1352046"/>
                <a:gd name="connsiteY2422" fmla="*/ 304359 h 905809"/>
                <a:gd name="connsiteX2423" fmla="*/ 814928 w 1352046"/>
                <a:gd name="connsiteY2423" fmla="*/ 303542 h 905809"/>
                <a:gd name="connsiteX2424" fmla="*/ 816238 w 1352046"/>
                <a:gd name="connsiteY2424" fmla="*/ 302173 h 905809"/>
                <a:gd name="connsiteX2425" fmla="*/ 818596 w 1352046"/>
                <a:gd name="connsiteY2425" fmla="*/ 299622 h 905809"/>
                <a:gd name="connsiteX2426" fmla="*/ 820388 w 1352046"/>
                <a:gd name="connsiteY2426" fmla="*/ 297387 h 905809"/>
                <a:gd name="connsiteX2427" fmla="*/ 821271 w 1352046"/>
                <a:gd name="connsiteY2427" fmla="*/ 296397 h 905809"/>
                <a:gd name="connsiteX2428" fmla="*/ 823284 w 1352046"/>
                <a:gd name="connsiteY2428" fmla="*/ 294162 h 905809"/>
                <a:gd name="connsiteX2429" fmla="*/ 824914 w 1352046"/>
                <a:gd name="connsiteY2429" fmla="*/ 292475 h 905809"/>
                <a:gd name="connsiteX2430" fmla="*/ 826991 w 1352046"/>
                <a:gd name="connsiteY2430" fmla="*/ 290204 h 905809"/>
                <a:gd name="connsiteX2431" fmla="*/ 828745 w 1352046"/>
                <a:gd name="connsiteY2431" fmla="*/ 289468 h 905809"/>
                <a:gd name="connsiteX2432" fmla="*/ 830962 w 1352046"/>
                <a:gd name="connsiteY2432" fmla="*/ 288843 h 905809"/>
                <a:gd name="connsiteX2433" fmla="*/ 836805 w 1352046"/>
                <a:gd name="connsiteY2433" fmla="*/ 286612 h 905809"/>
                <a:gd name="connsiteX2434" fmla="*/ 837965 w 1352046"/>
                <a:gd name="connsiteY2434" fmla="*/ 286131 h 905809"/>
                <a:gd name="connsiteX2435" fmla="*/ 838935 w 1352046"/>
                <a:gd name="connsiteY2435" fmla="*/ 286036 h 905809"/>
                <a:gd name="connsiteX2436" fmla="*/ 841001 w 1352046"/>
                <a:gd name="connsiteY2436" fmla="*/ 284234 h 905809"/>
                <a:gd name="connsiteX2437" fmla="*/ 842746 w 1352046"/>
                <a:gd name="connsiteY2437" fmla="*/ 282672 h 905809"/>
                <a:gd name="connsiteX2438" fmla="*/ 843882 w 1352046"/>
                <a:gd name="connsiteY2438" fmla="*/ 281500 h 905809"/>
                <a:gd name="connsiteX2439" fmla="*/ 846248 w 1352046"/>
                <a:gd name="connsiteY2439" fmla="*/ 281080 h 905809"/>
                <a:gd name="connsiteX2440" fmla="*/ 847466 w 1352046"/>
                <a:gd name="connsiteY2440" fmla="*/ 280237 h 905809"/>
                <a:gd name="connsiteX2441" fmla="*/ 847680 w 1352046"/>
                <a:gd name="connsiteY2441" fmla="*/ 279130 h 905809"/>
                <a:gd name="connsiteX2442" fmla="*/ 847434 w 1352046"/>
                <a:gd name="connsiteY2442" fmla="*/ 277442 h 905809"/>
                <a:gd name="connsiteX2443" fmla="*/ 846296 w 1352046"/>
                <a:gd name="connsiteY2443" fmla="*/ 275714 h 905809"/>
                <a:gd name="connsiteX2444" fmla="*/ 845337 w 1352046"/>
                <a:gd name="connsiteY2444" fmla="*/ 274207 h 905809"/>
                <a:gd name="connsiteX2445" fmla="*/ 841952 w 1352046"/>
                <a:gd name="connsiteY2445" fmla="*/ 271326 h 905809"/>
                <a:gd name="connsiteX2446" fmla="*/ 840157 w 1352046"/>
                <a:gd name="connsiteY2446" fmla="*/ 269539 h 905809"/>
                <a:gd name="connsiteX2447" fmla="*/ 838324 w 1352046"/>
                <a:gd name="connsiteY2447" fmla="*/ 267241 h 905809"/>
                <a:gd name="connsiteX2448" fmla="*/ 837583 w 1352046"/>
                <a:gd name="connsiteY2448" fmla="*/ 265079 h 905809"/>
                <a:gd name="connsiteX2449" fmla="*/ 836330 w 1352046"/>
                <a:gd name="connsiteY2449" fmla="*/ 263702 h 905809"/>
                <a:gd name="connsiteX2450" fmla="*/ 835726 w 1352046"/>
                <a:gd name="connsiteY2450" fmla="*/ 262482 h 905809"/>
                <a:gd name="connsiteX2451" fmla="*/ 835918 w 1352046"/>
                <a:gd name="connsiteY2451" fmla="*/ 261072 h 905809"/>
                <a:gd name="connsiteX2452" fmla="*/ 837654 w 1352046"/>
                <a:gd name="connsiteY2452" fmla="*/ 258561 h 905809"/>
                <a:gd name="connsiteX2453" fmla="*/ 838214 w 1352046"/>
                <a:gd name="connsiteY2453" fmla="*/ 256976 h 905809"/>
                <a:gd name="connsiteX2454" fmla="*/ 838937 w 1352046"/>
                <a:gd name="connsiteY2454" fmla="*/ 254169 h 905809"/>
                <a:gd name="connsiteX2455" fmla="*/ 840569 w 1352046"/>
                <a:gd name="connsiteY2455" fmla="*/ 249964 h 905809"/>
                <a:gd name="connsiteX2456" fmla="*/ 841900 w 1352046"/>
                <a:gd name="connsiteY2456" fmla="*/ 247998 h 905809"/>
                <a:gd name="connsiteX2457" fmla="*/ 843439 w 1352046"/>
                <a:gd name="connsiteY2457" fmla="*/ 246076 h 905809"/>
                <a:gd name="connsiteX2458" fmla="*/ 846689 w 1352046"/>
                <a:gd name="connsiteY2458" fmla="*/ 243493 h 905809"/>
                <a:gd name="connsiteX2459" fmla="*/ 849664 w 1352046"/>
                <a:gd name="connsiteY2459" fmla="*/ 243012 h 905809"/>
                <a:gd name="connsiteX2460" fmla="*/ 851439 w 1352046"/>
                <a:gd name="connsiteY2460" fmla="*/ 243523 h 905809"/>
                <a:gd name="connsiteX2461" fmla="*/ 855402 w 1352046"/>
                <a:gd name="connsiteY2461" fmla="*/ 243520 h 905809"/>
                <a:gd name="connsiteX2462" fmla="*/ 858039 w 1352046"/>
                <a:gd name="connsiteY2462" fmla="*/ 243653 h 905809"/>
                <a:gd name="connsiteX2463" fmla="*/ 859985 w 1352046"/>
                <a:gd name="connsiteY2463" fmla="*/ 244945 h 905809"/>
                <a:gd name="connsiteX2464" fmla="*/ 862139 w 1352046"/>
                <a:gd name="connsiteY2464" fmla="*/ 247493 h 905809"/>
                <a:gd name="connsiteX2465" fmla="*/ 864571 w 1352046"/>
                <a:gd name="connsiteY2465" fmla="*/ 248428 h 905809"/>
                <a:gd name="connsiteX2466" fmla="*/ 872148 w 1352046"/>
                <a:gd name="connsiteY2466" fmla="*/ 250422 h 905809"/>
                <a:gd name="connsiteX2467" fmla="*/ 875391 w 1352046"/>
                <a:gd name="connsiteY2467" fmla="*/ 250846 h 905809"/>
                <a:gd name="connsiteX2468" fmla="*/ 877711 w 1352046"/>
                <a:gd name="connsiteY2468" fmla="*/ 250933 h 905809"/>
                <a:gd name="connsiteX2469" fmla="*/ 881131 w 1352046"/>
                <a:gd name="connsiteY2469" fmla="*/ 251593 h 905809"/>
                <a:gd name="connsiteX2470" fmla="*/ 882286 w 1352046"/>
                <a:gd name="connsiteY2470" fmla="*/ 251732 h 905809"/>
                <a:gd name="connsiteX2471" fmla="*/ 884036 w 1352046"/>
                <a:gd name="connsiteY2471" fmla="*/ 252185 h 905809"/>
                <a:gd name="connsiteX2472" fmla="*/ 885487 w 1352046"/>
                <a:gd name="connsiteY2472" fmla="*/ 251701 h 905809"/>
                <a:gd name="connsiteX2473" fmla="*/ 887687 w 1352046"/>
                <a:gd name="connsiteY2473" fmla="*/ 249998 h 905809"/>
                <a:gd name="connsiteX2474" fmla="*/ 890449 w 1352046"/>
                <a:gd name="connsiteY2474" fmla="*/ 248080 h 905809"/>
                <a:gd name="connsiteX2475" fmla="*/ 891638 w 1352046"/>
                <a:gd name="connsiteY2475" fmla="*/ 247640 h 905809"/>
                <a:gd name="connsiteX2476" fmla="*/ 893837 w 1352046"/>
                <a:gd name="connsiteY2476" fmla="*/ 246813 h 905809"/>
                <a:gd name="connsiteX2477" fmla="*/ 894943 w 1352046"/>
                <a:gd name="connsiteY2477" fmla="*/ 246033 h 905809"/>
                <a:gd name="connsiteX2478" fmla="*/ 896869 w 1352046"/>
                <a:gd name="connsiteY2478" fmla="*/ 243881 h 905809"/>
                <a:gd name="connsiteX2479" fmla="*/ 899382 w 1352046"/>
                <a:gd name="connsiteY2479" fmla="*/ 242211 h 905809"/>
                <a:gd name="connsiteX2480" fmla="*/ 902435 w 1352046"/>
                <a:gd name="connsiteY2480" fmla="*/ 239701 h 905809"/>
                <a:gd name="connsiteX2481" fmla="*/ 903943 w 1352046"/>
                <a:gd name="connsiteY2481" fmla="*/ 237807 h 905809"/>
                <a:gd name="connsiteX2482" fmla="*/ 904273 w 1352046"/>
                <a:gd name="connsiteY2482" fmla="*/ 236585 h 905809"/>
                <a:gd name="connsiteX2483" fmla="*/ 904604 w 1352046"/>
                <a:gd name="connsiteY2483" fmla="*/ 235260 h 905809"/>
                <a:gd name="connsiteX2484" fmla="*/ 905554 w 1352046"/>
                <a:gd name="connsiteY2484" fmla="*/ 234564 h 905809"/>
                <a:gd name="connsiteX2485" fmla="*/ 907415 w 1352046"/>
                <a:gd name="connsiteY2485" fmla="*/ 233924 h 905809"/>
                <a:gd name="connsiteX2486" fmla="*/ 909503 w 1352046"/>
                <a:gd name="connsiteY2486" fmla="*/ 233750 h 905809"/>
                <a:gd name="connsiteX2487" fmla="*/ 913494 w 1352046"/>
                <a:gd name="connsiteY2487" fmla="*/ 234885 h 905809"/>
                <a:gd name="connsiteX2488" fmla="*/ 918876 w 1352046"/>
                <a:gd name="connsiteY2488" fmla="*/ 234557 h 905809"/>
                <a:gd name="connsiteX2489" fmla="*/ 920089 w 1352046"/>
                <a:gd name="connsiteY2489" fmla="*/ 234393 h 905809"/>
                <a:gd name="connsiteX2490" fmla="*/ 924997 w 1352046"/>
                <a:gd name="connsiteY2490" fmla="*/ 233741 h 905809"/>
                <a:gd name="connsiteX2491" fmla="*/ 927208 w 1352046"/>
                <a:gd name="connsiteY2491" fmla="*/ 233204 h 905809"/>
                <a:gd name="connsiteX2492" fmla="*/ 930339 w 1352046"/>
                <a:gd name="connsiteY2492" fmla="*/ 232690 h 905809"/>
                <a:gd name="connsiteX2493" fmla="*/ 932730 w 1352046"/>
                <a:gd name="connsiteY2493" fmla="*/ 230586 h 905809"/>
                <a:gd name="connsiteX2494" fmla="*/ 935937 w 1352046"/>
                <a:gd name="connsiteY2494" fmla="*/ 228074 h 905809"/>
                <a:gd name="connsiteX2495" fmla="*/ 938267 w 1352046"/>
                <a:gd name="connsiteY2495" fmla="*/ 226677 h 905809"/>
                <a:gd name="connsiteX2496" fmla="*/ 939822 w 1352046"/>
                <a:gd name="connsiteY2496" fmla="*/ 226409 h 905809"/>
                <a:gd name="connsiteX2497" fmla="*/ 941763 w 1352046"/>
                <a:gd name="connsiteY2497" fmla="*/ 224959 h 905809"/>
                <a:gd name="connsiteX2498" fmla="*/ 942713 w 1352046"/>
                <a:gd name="connsiteY2498" fmla="*/ 223399 h 905809"/>
                <a:gd name="connsiteX2499" fmla="*/ 942458 w 1352046"/>
                <a:gd name="connsiteY2499" fmla="*/ 222028 h 905809"/>
                <a:gd name="connsiteX2500" fmla="*/ 942101 w 1352046"/>
                <a:gd name="connsiteY2500" fmla="*/ 220892 h 905809"/>
                <a:gd name="connsiteX2501" fmla="*/ 943242 w 1352046"/>
                <a:gd name="connsiteY2501" fmla="*/ 218792 h 905809"/>
                <a:gd name="connsiteX2502" fmla="*/ 945300 w 1352046"/>
                <a:gd name="connsiteY2502" fmla="*/ 215103 h 905809"/>
                <a:gd name="connsiteX2503" fmla="*/ 947228 w 1352046"/>
                <a:gd name="connsiteY2503" fmla="*/ 213383 h 905809"/>
                <a:gd name="connsiteX2504" fmla="*/ 948817 w 1352046"/>
                <a:gd name="connsiteY2504" fmla="*/ 211991 h 905809"/>
                <a:gd name="connsiteX2505" fmla="*/ 949832 w 1352046"/>
                <a:gd name="connsiteY2505" fmla="*/ 209757 h 905809"/>
                <a:gd name="connsiteX2506" fmla="*/ 951087 w 1352046"/>
                <a:gd name="connsiteY2506" fmla="*/ 209111 h 905809"/>
                <a:gd name="connsiteX2507" fmla="*/ 952624 w 1352046"/>
                <a:gd name="connsiteY2507" fmla="*/ 208865 h 905809"/>
                <a:gd name="connsiteX2508" fmla="*/ 954794 w 1352046"/>
                <a:gd name="connsiteY2508" fmla="*/ 207349 h 905809"/>
                <a:gd name="connsiteX2509" fmla="*/ 956388 w 1352046"/>
                <a:gd name="connsiteY2509" fmla="*/ 207037 h 905809"/>
                <a:gd name="connsiteX2510" fmla="*/ 959035 w 1352046"/>
                <a:gd name="connsiteY2510" fmla="*/ 207762 h 905809"/>
                <a:gd name="connsiteX2511" fmla="*/ 962953 w 1352046"/>
                <a:gd name="connsiteY2511" fmla="*/ 207948 h 905809"/>
                <a:gd name="connsiteX2512" fmla="*/ 965453 w 1352046"/>
                <a:gd name="connsiteY2512" fmla="*/ 208026 h 905809"/>
                <a:gd name="connsiteX2513" fmla="*/ 966876 w 1352046"/>
                <a:gd name="connsiteY2513" fmla="*/ 207756 h 905809"/>
                <a:gd name="connsiteX2514" fmla="*/ 967397 w 1352046"/>
                <a:gd name="connsiteY2514" fmla="*/ 206943 h 905809"/>
                <a:gd name="connsiteX2515" fmla="*/ 967383 w 1352046"/>
                <a:gd name="connsiteY2515" fmla="*/ 205685 h 905809"/>
                <a:gd name="connsiteX2516" fmla="*/ 968176 w 1352046"/>
                <a:gd name="connsiteY2516" fmla="*/ 202884 h 905809"/>
                <a:gd name="connsiteX2517" fmla="*/ 968472 w 1352046"/>
                <a:gd name="connsiteY2517" fmla="*/ 201959 h 905809"/>
                <a:gd name="connsiteX2518" fmla="*/ 969191 w 1352046"/>
                <a:gd name="connsiteY2518" fmla="*/ 201533 h 905809"/>
                <a:gd name="connsiteX2519" fmla="*/ 971596 w 1352046"/>
                <a:gd name="connsiteY2519" fmla="*/ 201476 h 905809"/>
                <a:gd name="connsiteX2520" fmla="*/ 973224 w 1352046"/>
                <a:gd name="connsiteY2520" fmla="*/ 202484 h 905809"/>
                <a:gd name="connsiteX2521" fmla="*/ 974343 w 1352046"/>
                <a:gd name="connsiteY2521" fmla="*/ 203315 h 905809"/>
                <a:gd name="connsiteX2522" fmla="*/ 975894 w 1352046"/>
                <a:gd name="connsiteY2522" fmla="*/ 203423 h 905809"/>
                <a:gd name="connsiteX2523" fmla="*/ 977492 w 1352046"/>
                <a:gd name="connsiteY2523" fmla="*/ 202881 h 905809"/>
                <a:gd name="connsiteX2524" fmla="*/ 979635 w 1352046"/>
                <a:gd name="connsiteY2524" fmla="*/ 200613 h 905809"/>
                <a:gd name="connsiteX2525" fmla="*/ 983193 w 1352046"/>
                <a:gd name="connsiteY2525" fmla="*/ 199299 h 905809"/>
                <a:gd name="connsiteX2526" fmla="*/ 985084 w 1352046"/>
                <a:gd name="connsiteY2526" fmla="*/ 198966 h 905809"/>
                <a:gd name="connsiteX2527" fmla="*/ 988442 w 1352046"/>
                <a:gd name="connsiteY2527" fmla="*/ 197896 h 905809"/>
                <a:gd name="connsiteX2528" fmla="*/ 990558 w 1352046"/>
                <a:gd name="connsiteY2528" fmla="*/ 198281 h 905809"/>
                <a:gd name="connsiteX2529" fmla="*/ 994452 w 1352046"/>
                <a:gd name="connsiteY2529" fmla="*/ 198595 h 905809"/>
                <a:gd name="connsiteX2530" fmla="*/ 995961 w 1352046"/>
                <a:gd name="connsiteY2530" fmla="*/ 198324 h 905809"/>
                <a:gd name="connsiteX2531" fmla="*/ 997602 w 1352046"/>
                <a:gd name="connsiteY2531" fmla="*/ 198595 h 905809"/>
                <a:gd name="connsiteX2532" fmla="*/ 999092 w 1352046"/>
                <a:gd name="connsiteY2532" fmla="*/ 197060 h 905809"/>
                <a:gd name="connsiteX2533" fmla="*/ 1000278 w 1352046"/>
                <a:gd name="connsiteY2533" fmla="*/ 196694 h 905809"/>
                <a:gd name="connsiteX2534" fmla="*/ 1002781 w 1352046"/>
                <a:gd name="connsiteY2534" fmla="*/ 197400 h 905809"/>
                <a:gd name="connsiteX2535" fmla="*/ 1004359 w 1352046"/>
                <a:gd name="connsiteY2535" fmla="*/ 198587 h 905809"/>
                <a:gd name="connsiteX2536" fmla="*/ 1007313 w 1352046"/>
                <a:gd name="connsiteY2536" fmla="*/ 200075 h 905809"/>
                <a:gd name="connsiteX2537" fmla="*/ 1011066 w 1352046"/>
                <a:gd name="connsiteY2537" fmla="*/ 200766 h 905809"/>
                <a:gd name="connsiteX2538" fmla="*/ 1014210 w 1352046"/>
                <a:gd name="connsiteY2538" fmla="*/ 200409 h 905809"/>
                <a:gd name="connsiteX2539" fmla="*/ 1017442 w 1352046"/>
                <a:gd name="connsiteY2539" fmla="*/ 201040 h 905809"/>
                <a:gd name="connsiteX2540" fmla="*/ 1019354 w 1352046"/>
                <a:gd name="connsiteY2540" fmla="*/ 200983 h 905809"/>
                <a:gd name="connsiteX2541" fmla="*/ 1020256 w 1352046"/>
                <a:gd name="connsiteY2541" fmla="*/ 200394 h 905809"/>
                <a:gd name="connsiteX2542" fmla="*/ 1022903 w 1352046"/>
                <a:gd name="connsiteY2542" fmla="*/ 199144 h 905809"/>
                <a:gd name="connsiteX2543" fmla="*/ 1023538 w 1352046"/>
                <a:gd name="connsiteY2543" fmla="*/ 197455 h 905809"/>
                <a:gd name="connsiteX2544" fmla="*/ 1023279 w 1352046"/>
                <a:gd name="connsiteY2544" fmla="*/ 195824 h 905809"/>
                <a:gd name="connsiteX2545" fmla="*/ 1023582 w 1352046"/>
                <a:gd name="connsiteY2545" fmla="*/ 193976 h 905809"/>
                <a:gd name="connsiteX2546" fmla="*/ 1022804 w 1352046"/>
                <a:gd name="connsiteY2546" fmla="*/ 192616 h 905809"/>
                <a:gd name="connsiteX2547" fmla="*/ 1021163 w 1352046"/>
                <a:gd name="connsiteY2547" fmla="*/ 190602 h 905809"/>
                <a:gd name="connsiteX2548" fmla="*/ 1020531 w 1352046"/>
                <a:gd name="connsiteY2548" fmla="*/ 189257 h 905809"/>
                <a:gd name="connsiteX2549" fmla="*/ 1020472 w 1352046"/>
                <a:gd name="connsiteY2549" fmla="*/ 187496 h 905809"/>
                <a:gd name="connsiteX2550" fmla="*/ 1019453 w 1352046"/>
                <a:gd name="connsiteY2550" fmla="*/ 185820 h 905809"/>
                <a:gd name="connsiteX2551" fmla="*/ 1017000 w 1352046"/>
                <a:gd name="connsiteY2551" fmla="*/ 183794 h 905809"/>
                <a:gd name="connsiteX2552" fmla="*/ 1015381 w 1352046"/>
                <a:gd name="connsiteY2552" fmla="*/ 182858 h 905809"/>
                <a:gd name="connsiteX2553" fmla="*/ 1012057 w 1352046"/>
                <a:gd name="connsiteY2553" fmla="*/ 179359 h 905809"/>
                <a:gd name="connsiteX2554" fmla="*/ 1010936 w 1352046"/>
                <a:gd name="connsiteY2554" fmla="*/ 178538 h 905809"/>
                <a:gd name="connsiteX2555" fmla="*/ 1010552 w 1352046"/>
                <a:gd name="connsiteY2555" fmla="*/ 177962 h 905809"/>
                <a:gd name="connsiteX2556" fmla="*/ 1010158 w 1352046"/>
                <a:gd name="connsiteY2556" fmla="*/ 176785 h 905809"/>
                <a:gd name="connsiteX2557" fmla="*/ 1008930 w 1352046"/>
                <a:gd name="connsiteY2557" fmla="*/ 176226 h 905809"/>
                <a:gd name="connsiteX2558" fmla="*/ 1007319 w 1352046"/>
                <a:gd name="connsiteY2558" fmla="*/ 175311 h 905809"/>
                <a:gd name="connsiteX2559" fmla="*/ 1006447 w 1352046"/>
                <a:gd name="connsiteY2559" fmla="*/ 174376 h 905809"/>
                <a:gd name="connsiteX2560" fmla="*/ 1005879 w 1352046"/>
                <a:gd name="connsiteY2560" fmla="*/ 172754 h 905809"/>
                <a:gd name="connsiteX2561" fmla="*/ 1005540 w 1352046"/>
                <a:gd name="connsiteY2561" fmla="*/ 171689 h 905809"/>
                <a:gd name="connsiteX2562" fmla="*/ 1004117 w 1352046"/>
                <a:gd name="connsiteY2562" fmla="*/ 170812 h 905809"/>
                <a:gd name="connsiteX2563" fmla="*/ 1002691 w 1352046"/>
                <a:gd name="connsiteY2563" fmla="*/ 170318 h 905809"/>
                <a:gd name="connsiteX2564" fmla="*/ 1001081 w 1352046"/>
                <a:gd name="connsiteY2564" fmla="*/ 169694 h 905809"/>
                <a:gd name="connsiteX2565" fmla="*/ 998420 w 1352046"/>
                <a:gd name="connsiteY2565" fmla="*/ 168779 h 905809"/>
                <a:gd name="connsiteX2566" fmla="*/ 996886 w 1352046"/>
                <a:gd name="connsiteY2566" fmla="*/ 166959 h 905809"/>
                <a:gd name="connsiteX2567" fmla="*/ 994171 w 1352046"/>
                <a:gd name="connsiteY2567" fmla="*/ 163550 h 905809"/>
                <a:gd name="connsiteX2568" fmla="*/ 992638 w 1352046"/>
                <a:gd name="connsiteY2568" fmla="*/ 162401 h 905809"/>
                <a:gd name="connsiteX2569" fmla="*/ 986915 w 1352046"/>
                <a:gd name="connsiteY2569" fmla="*/ 161963 h 905809"/>
                <a:gd name="connsiteX2570" fmla="*/ 984868 w 1352046"/>
                <a:gd name="connsiteY2570" fmla="*/ 161133 h 905809"/>
                <a:gd name="connsiteX2571" fmla="*/ 982542 w 1352046"/>
                <a:gd name="connsiteY2571" fmla="*/ 161415 h 905809"/>
                <a:gd name="connsiteX2572" fmla="*/ 981156 w 1352046"/>
                <a:gd name="connsiteY2572" fmla="*/ 161960 h 905809"/>
                <a:gd name="connsiteX2573" fmla="*/ 978087 w 1352046"/>
                <a:gd name="connsiteY2573" fmla="*/ 161953 h 905809"/>
                <a:gd name="connsiteX2574" fmla="*/ 976494 w 1352046"/>
                <a:gd name="connsiteY2574" fmla="*/ 162291 h 905809"/>
                <a:gd name="connsiteX2575" fmla="*/ 974466 w 1352046"/>
                <a:gd name="connsiteY2575" fmla="*/ 164535 h 905809"/>
                <a:gd name="connsiteX2576" fmla="*/ 971784 w 1352046"/>
                <a:gd name="connsiteY2576" fmla="*/ 167454 h 905809"/>
                <a:gd name="connsiteX2577" fmla="*/ 969566 w 1352046"/>
                <a:gd name="connsiteY2577" fmla="*/ 169237 h 905809"/>
                <a:gd name="connsiteX2578" fmla="*/ 967995 w 1352046"/>
                <a:gd name="connsiteY2578" fmla="*/ 171082 h 905809"/>
                <a:gd name="connsiteX2579" fmla="*/ 967260 w 1352046"/>
                <a:gd name="connsiteY2579" fmla="*/ 171744 h 905809"/>
                <a:gd name="connsiteX2580" fmla="*/ 965826 w 1352046"/>
                <a:gd name="connsiteY2580" fmla="*/ 171346 h 905809"/>
                <a:gd name="connsiteX2581" fmla="*/ 963862 w 1352046"/>
                <a:gd name="connsiteY2581" fmla="*/ 169267 h 905809"/>
                <a:gd name="connsiteX2582" fmla="*/ 961046 w 1352046"/>
                <a:gd name="connsiteY2582" fmla="*/ 167406 h 905809"/>
                <a:gd name="connsiteX2583" fmla="*/ 958435 w 1352046"/>
                <a:gd name="connsiteY2583" fmla="*/ 166556 h 905809"/>
                <a:gd name="connsiteX2584" fmla="*/ 957319 w 1352046"/>
                <a:gd name="connsiteY2584" fmla="*/ 166091 h 905809"/>
                <a:gd name="connsiteX2585" fmla="*/ 954209 w 1352046"/>
                <a:gd name="connsiteY2585" fmla="*/ 165621 h 905809"/>
                <a:gd name="connsiteX2586" fmla="*/ 951808 w 1352046"/>
                <a:gd name="connsiteY2586" fmla="*/ 165769 h 905809"/>
                <a:gd name="connsiteX2587" fmla="*/ 948746 w 1352046"/>
                <a:gd name="connsiteY2587" fmla="*/ 166472 h 905809"/>
                <a:gd name="connsiteX2588" fmla="*/ 945755 w 1352046"/>
                <a:gd name="connsiteY2588" fmla="*/ 166346 h 905809"/>
                <a:gd name="connsiteX2589" fmla="*/ 944405 w 1352046"/>
                <a:gd name="connsiteY2589" fmla="*/ 165900 h 905809"/>
                <a:gd name="connsiteX2590" fmla="*/ 942504 w 1352046"/>
                <a:gd name="connsiteY2590" fmla="*/ 165947 h 905809"/>
                <a:gd name="connsiteX2591" fmla="*/ 939046 w 1352046"/>
                <a:gd name="connsiteY2591" fmla="*/ 167880 h 905809"/>
                <a:gd name="connsiteX2592" fmla="*/ 937256 w 1352046"/>
                <a:gd name="connsiteY2592" fmla="*/ 170081 h 905809"/>
                <a:gd name="connsiteX2593" fmla="*/ 935142 w 1352046"/>
                <a:gd name="connsiteY2593" fmla="*/ 170768 h 905809"/>
                <a:gd name="connsiteX2594" fmla="*/ 933228 w 1352046"/>
                <a:gd name="connsiteY2594" fmla="*/ 169324 h 905809"/>
                <a:gd name="connsiteX2595" fmla="*/ 931017 w 1352046"/>
                <a:gd name="connsiteY2595" fmla="*/ 167616 h 905809"/>
                <a:gd name="connsiteX2596" fmla="*/ 928910 w 1352046"/>
                <a:gd name="connsiteY2596" fmla="*/ 165479 h 905809"/>
                <a:gd name="connsiteX2597" fmla="*/ 927610 w 1352046"/>
                <a:gd name="connsiteY2597" fmla="*/ 163500 h 905809"/>
                <a:gd name="connsiteX2598" fmla="*/ 926891 w 1352046"/>
                <a:gd name="connsiteY2598" fmla="*/ 158254 h 905809"/>
                <a:gd name="connsiteX2599" fmla="*/ 929419 w 1352046"/>
                <a:gd name="connsiteY2599" fmla="*/ 156689 h 905809"/>
                <a:gd name="connsiteX2600" fmla="*/ 932650 w 1352046"/>
                <a:gd name="connsiteY2600" fmla="*/ 154936 h 905809"/>
                <a:gd name="connsiteX2601" fmla="*/ 932894 w 1352046"/>
                <a:gd name="connsiteY2601" fmla="*/ 152159 h 905809"/>
                <a:gd name="connsiteX2602" fmla="*/ 932786 w 1352046"/>
                <a:gd name="connsiteY2602" fmla="*/ 149058 h 905809"/>
                <a:gd name="connsiteX2603" fmla="*/ 933423 w 1352046"/>
                <a:gd name="connsiteY2603" fmla="*/ 145610 h 905809"/>
                <a:gd name="connsiteX2604" fmla="*/ 936371 w 1352046"/>
                <a:gd name="connsiteY2604" fmla="*/ 142424 h 905809"/>
                <a:gd name="connsiteX2605" fmla="*/ 937956 w 1352046"/>
                <a:gd name="connsiteY2605" fmla="*/ 139781 h 905809"/>
                <a:gd name="connsiteX2606" fmla="*/ 938152 w 1352046"/>
                <a:gd name="connsiteY2606" fmla="*/ 138136 h 905809"/>
                <a:gd name="connsiteX2607" fmla="*/ 939564 w 1352046"/>
                <a:gd name="connsiteY2607" fmla="*/ 135397 h 905809"/>
                <a:gd name="connsiteX2608" fmla="*/ 940922 w 1352046"/>
                <a:gd name="connsiteY2608" fmla="*/ 132507 h 905809"/>
                <a:gd name="connsiteX2609" fmla="*/ 942773 w 1352046"/>
                <a:gd name="connsiteY2609" fmla="*/ 128710 h 905809"/>
                <a:gd name="connsiteX2610" fmla="*/ 946284 w 1352046"/>
                <a:gd name="connsiteY2610" fmla="*/ 121958 h 905809"/>
                <a:gd name="connsiteX2611" fmla="*/ 950433 w 1352046"/>
                <a:gd name="connsiteY2611" fmla="*/ 113959 h 905809"/>
                <a:gd name="connsiteX2612" fmla="*/ 952501 w 1352046"/>
                <a:gd name="connsiteY2612" fmla="*/ 109959 h 905809"/>
                <a:gd name="connsiteX2613" fmla="*/ 957048 w 1352046"/>
                <a:gd name="connsiteY2613" fmla="*/ 112434 h 905809"/>
                <a:gd name="connsiteX2614" fmla="*/ 959983 w 1352046"/>
                <a:gd name="connsiteY2614" fmla="*/ 113724 h 905809"/>
                <a:gd name="connsiteX2615" fmla="*/ 964935 w 1352046"/>
                <a:gd name="connsiteY2615" fmla="*/ 115682 h 905809"/>
                <a:gd name="connsiteX2616" fmla="*/ 970055 w 1352046"/>
                <a:gd name="connsiteY2616" fmla="*/ 116126 h 905809"/>
                <a:gd name="connsiteX2617" fmla="*/ 974948 w 1352046"/>
                <a:gd name="connsiteY2617" fmla="*/ 118239 h 905809"/>
                <a:gd name="connsiteX2618" fmla="*/ 977472 w 1352046"/>
                <a:gd name="connsiteY2618" fmla="*/ 118880 h 905809"/>
                <a:gd name="connsiteX2619" fmla="*/ 978818 w 1352046"/>
                <a:gd name="connsiteY2619" fmla="*/ 118881 h 905809"/>
                <a:gd name="connsiteX2620" fmla="*/ 985743 w 1352046"/>
                <a:gd name="connsiteY2620" fmla="*/ 113730 h 905809"/>
                <a:gd name="connsiteX2621" fmla="*/ 991601 w 1352046"/>
                <a:gd name="connsiteY2621" fmla="*/ 109362 h 905809"/>
                <a:gd name="connsiteX2622" fmla="*/ 998332 w 1352046"/>
                <a:gd name="connsiteY2622" fmla="*/ 105950 h 905809"/>
                <a:gd name="connsiteX2623" fmla="*/ 1003275 w 1352046"/>
                <a:gd name="connsiteY2623" fmla="*/ 105487 h 905809"/>
                <a:gd name="connsiteX2624" fmla="*/ 1006989 w 1352046"/>
                <a:gd name="connsiteY2624" fmla="*/ 104491 h 905809"/>
                <a:gd name="connsiteX2625" fmla="*/ 1009475 w 1352046"/>
                <a:gd name="connsiteY2625" fmla="*/ 102960 h 905809"/>
                <a:gd name="connsiteX2626" fmla="*/ 1010938 w 1352046"/>
                <a:gd name="connsiteY2626" fmla="*/ 100401 h 905809"/>
                <a:gd name="connsiteX2627" fmla="*/ 1011385 w 1352046"/>
                <a:gd name="connsiteY2627" fmla="*/ 96812 h 905809"/>
                <a:gd name="connsiteX2628" fmla="*/ 1010396 w 1352046"/>
                <a:gd name="connsiteY2628" fmla="*/ 94640 h 905809"/>
                <a:gd name="connsiteX2629" fmla="*/ 1007972 w 1352046"/>
                <a:gd name="connsiteY2629" fmla="*/ 93889 h 905809"/>
                <a:gd name="connsiteX2630" fmla="*/ 1007348 w 1352046"/>
                <a:gd name="connsiteY2630" fmla="*/ 93130 h 905809"/>
                <a:gd name="connsiteX2631" fmla="*/ 1008520 w 1352046"/>
                <a:gd name="connsiteY2631" fmla="*/ 92361 h 905809"/>
                <a:gd name="connsiteX2632" fmla="*/ 1009386 w 1352046"/>
                <a:gd name="connsiteY2632" fmla="*/ 90861 h 905809"/>
                <a:gd name="connsiteX2633" fmla="*/ 1009934 w 1352046"/>
                <a:gd name="connsiteY2633" fmla="*/ 88631 h 905809"/>
                <a:gd name="connsiteX2634" fmla="*/ 1011336 w 1352046"/>
                <a:gd name="connsiteY2634" fmla="*/ 86511 h 905809"/>
                <a:gd name="connsiteX2635" fmla="*/ 1013584 w 1352046"/>
                <a:gd name="connsiteY2635" fmla="*/ 84506 h 905809"/>
                <a:gd name="connsiteX2636" fmla="*/ 1014823 w 1352046"/>
                <a:gd name="connsiteY2636" fmla="*/ 82280 h 905809"/>
                <a:gd name="connsiteX2637" fmla="*/ 1015056 w 1352046"/>
                <a:gd name="connsiteY2637" fmla="*/ 79835 h 905809"/>
                <a:gd name="connsiteX2638" fmla="*/ 1016408 w 1352046"/>
                <a:gd name="connsiteY2638" fmla="*/ 77395 h 905809"/>
                <a:gd name="connsiteX2639" fmla="*/ 1018874 w 1352046"/>
                <a:gd name="connsiteY2639" fmla="*/ 74960 h 905809"/>
                <a:gd name="connsiteX2640" fmla="*/ 1020224 w 1352046"/>
                <a:gd name="connsiteY2640" fmla="*/ 72692 h 905809"/>
                <a:gd name="connsiteX2641" fmla="*/ 1020459 w 1352046"/>
                <a:gd name="connsiteY2641" fmla="*/ 70592 h 905809"/>
                <a:gd name="connsiteX2642" fmla="*/ 1021710 w 1352046"/>
                <a:gd name="connsiteY2642" fmla="*/ 68028 h 905809"/>
                <a:gd name="connsiteX2643" fmla="*/ 1025111 w 1352046"/>
                <a:gd name="connsiteY2643" fmla="*/ 63479 h 905809"/>
                <a:gd name="connsiteX2644" fmla="*/ 1027319 w 1352046"/>
                <a:gd name="connsiteY2644" fmla="*/ 58230 h 905809"/>
                <a:gd name="connsiteX2645" fmla="*/ 1031081 w 1352046"/>
                <a:gd name="connsiteY2645" fmla="*/ 54628 h 905809"/>
                <a:gd name="connsiteX2646" fmla="*/ 1037130 w 1352046"/>
                <a:gd name="connsiteY2646" fmla="*/ 50926 h 905809"/>
                <a:gd name="connsiteX2647" fmla="*/ 1040908 w 1352046"/>
                <a:gd name="connsiteY2647" fmla="*/ 47249 h 905809"/>
                <a:gd name="connsiteX2648" fmla="*/ 1042420 w 1352046"/>
                <a:gd name="connsiteY2648" fmla="*/ 43596 h 905809"/>
                <a:gd name="connsiteX2649" fmla="*/ 1042304 w 1352046"/>
                <a:gd name="connsiteY2649" fmla="*/ 40368 h 905809"/>
                <a:gd name="connsiteX2650" fmla="*/ 1040554 w 1352046"/>
                <a:gd name="connsiteY2650" fmla="*/ 37567 h 905809"/>
                <a:gd name="connsiteX2651" fmla="*/ 1040222 w 1352046"/>
                <a:gd name="connsiteY2651" fmla="*/ 34716 h 905809"/>
                <a:gd name="connsiteX2652" fmla="*/ 1041301 w 1352046"/>
                <a:gd name="connsiteY2652" fmla="*/ 31811 h 905809"/>
                <a:gd name="connsiteX2653" fmla="*/ 1040350 w 1352046"/>
                <a:gd name="connsiteY2653" fmla="*/ 29637 h 905809"/>
                <a:gd name="connsiteX2654" fmla="*/ 1037363 w 1352046"/>
                <a:gd name="connsiteY2654" fmla="*/ 28195 h 905809"/>
                <a:gd name="connsiteX2655" fmla="*/ 1033802 w 1352046"/>
                <a:gd name="connsiteY2655" fmla="*/ 27839 h 905809"/>
                <a:gd name="connsiteX2656" fmla="*/ 1029660 w 1352046"/>
                <a:gd name="connsiteY2656" fmla="*/ 28569 h 905809"/>
                <a:gd name="connsiteX2657" fmla="*/ 1027335 w 1352046"/>
                <a:gd name="connsiteY2657" fmla="*/ 27663 h 905809"/>
                <a:gd name="connsiteX2658" fmla="*/ 1026821 w 1352046"/>
                <a:gd name="connsiteY2658" fmla="*/ 25119 h 905809"/>
                <a:gd name="connsiteX2659" fmla="*/ 1027931 w 1352046"/>
                <a:gd name="connsiteY2659" fmla="*/ 23059 h 905809"/>
                <a:gd name="connsiteX2660" fmla="*/ 1030664 w 1352046"/>
                <a:gd name="connsiteY2660" fmla="*/ 21486 h 905809"/>
                <a:gd name="connsiteX2661" fmla="*/ 1035156 w 1352046"/>
                <a:gd name="connsiteY2661" fmla="*/ 17652 h 905809"/>
                <a:gd name="connsiteX2662" fmla="*/ 1041409 w 1352046"/>
                <a:gd name="connsiteY2662" fmla="*/ 11546 h 905809"/>
                <a:gd name="connsiteX2663" fmla="*/ 1047630 w 1352046"/>
                <a:gd name="connsiteY2663" fmla="*/ 8160 h 905809"/>
                <a:gd name="connsiteX2664" fmla="*/ 1056918 w 1352046"/>
                <a:gd name="connsiteY2664" fmla="*/ 7184 h 905809"/>
                <a:gd name="connsiteX2665" fmla="*/ 1064402 w 1352046"/>
                <a:gd name="connsiteY2665" fmla="*/ 5182 h 905809"/>
                <a:gd name="connsiteX2666" fmla="*/ 1072030 w 1352046"/>
                <a:gd name="connsiteY2666" fmla="*/ 3139 h 905809"/>
                <a:gd name="connsiteX2667" fmla="*/ 1077533 w 1352046"/>
                <a:gd name="connsiteY2667" fmla="*/ 2128 h 905809"/>
                <a:gd name="connsiteX2668" fmla="*/ 1078471 w 1352046"/>
                <a:gd name="connsiteY2668" fmla="*/ 2806 h 905809"/>
                <a:gd name="connsiteX2669" fmla="*/ 1081470 w 1352046"/>
                <a:gd name="connsiteY2669" fmla="*/ 2973 h 905809"/>
                <a:gd name="connsiteX2670" fmla="*/ 1086532 w 1352046"/>
                <a:gd name="connsiteY2670" fmla="*/ 2625 h 905809"/>
                <a:gd name="connsiteX2671" fmla="*/ 1091239 w 1352046"/>
                <a:gd name="connsiteY2671" fmla="*/ 1746 h 905809"/>
                <a:gd name="connsiteX2672" fmla="*/ 1095584 w 1352046"/>
                <a:gd name="connsiteY2672" fmla="*/ 333 h 905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  <a:cxn ang="0">
                  <a:pos x="connsiteX2223" y="connsiteY2223"/>
                </a:cxn>
                <a:cxn ang="0">
                  <a:pos x="connsiteX2224" y="connsiteY2224"/>
                </a:cxn>
                <a:cxn ang="0">
                  <a:pos x="connsiteX2225" y="connsiteY2225"/>
                </a:cxn>
                <a:cxn ang="0">
                  <a:pos x="connsiteX2226" y="connsiteY2226"/>
                </a:cxn>
                <a:cxn ang="0">
                  <a:pos x="connsiteX2227" y="connsiteY2227"/>
                </a:cxn>
                <a:cxn ang="0">
                  <a:pos x="connsiteX2228" y="connsiteY2228"/>
                </a:cxn>
                <a:cxn ang="0">
                  <a:pos x="connsiteX2229" y="connsiteY2229"/>
                </a:cxn>
                <a:cxn ang="0">
                  <a:pos x="connsiteX2230" y="connsiteY2230"/>
                </a:cxn>
                <a:cxn ang="0">
                  <a:pos x="connsiteX2231" y="connsiteY2231"/>
                </a:cxn>
                <a:cxn ang="0">
                  <a:pos x="connsiteX2232" y="connsiteY2232"/>
                </a:cxn>
                <a:cxn ang="0">
                  <a:pos x="connsiteX2233" y="connsiteY2233"/>
                </a:cxn>
                <a:cxn ang="0">
                  <a:pos x="connsiteX2234" y="connsiteY2234"/>
                </a:cxn>
                <a:cxn ang="0">
                  <a:pos x="connsiteX2235" y="connsiteY2235"/>
                </a:cxn>
                <a:cxn ang="0">
                  <a:pos x="connsiteX2236" y="connsiteY2236"/>
                </a:cxn>
                <a:cxn ang="0">
                  <a:pos x="connsiteX2237" y="connsiteY2237"/>
                </a:cxn>
                <a:cxn ang="0">
                  <a:pos x="connsiteX2238" y="connsiteY2238"/>
                </a:cxn>
                <a:cxn ang="0">
                  <a:pos x="connsiteX2239" y="connsiteY2239"/>
                </a:cxn>
                <a:cxn ang="0">
                  <a:pos x="connsiteX2240" y="connsiteY2240"/>
                </a:cxn>
                <a:cxn ang="0">
                  <a:pos x="connsiteX2241" y="connsiteY2241"/>
                </a:cxn>
                <a:cxn ang="0">
                  <a:pos x="connsiteX2242" y="connsiteY2242"/>
                </a:cxn>
                <a:cxn ang="0">
                  <a:pos x="connsiteX2243" y="connsiteY2243"/>
                </a:cxn>
                <a:cxn ang="0">
                  <a:pos x="connsiteX2244" y="connsiteY2244"/>
                </a:cxn>
                <a:cxn ang="0">
                  <a:pos x="connsiteX2245" y="connsiteY2245"/>
                </a:cxn>
                <a:cxn ang="0">
                  <a:pos x="connsiteX2246" y="connsiteY2246"/>
                </a:cxn>
                <a:cxn ang="0">
                  <a:pos x="connsiteX2247" y="connsiteY2247"/>
                </a:cxn>
                <a:cxn ang="0">
                  <a:pos x="connsiteX2248" y="connsiteY2248"/>
                </a:cxn>
                <a:cxn ang="0">
                  <a:pos x="connsiteX2249" y="connsiteY2249"/>
                </a:cxn>
                <a:cxn ang="0">
                  <a:pos x="connsiteX2250" y="connsiteY2250"/>
                </a:cxn>
                <a:cxn ang="0">
                  <a:pos x="connsiteX2251" y="connsiteY2251"/>
                </a:cxn>
                <a:cxn ang="0">
                  <a:pos x="connsiteX2252" y="connsiteY2252"/>
                </a:cxn>
                <a:cxn ang="0">
                  <a:pos x="connsiteX2253" y="connsiteY2253"/>
                </a:cxn>
                <a:cxn ang="0">
                  <a:pos x="connsiteX2254" y="connsiteY2254"/>
                </a:cxn>
                <a:cxn ang="0">
                  <a:pos x="connsiteX2255" y="connsiteY2255"/>
                </a:cxn>
                <a:cxn ang="0">
                  <a:pos x="connsiteX2256" y="connsiteY2256"/>
                </a:cxn>
                <a:cxn ang="0">
                  <a:pos x="connsiteX2257" y="connsiteY2257"/>
                </a:cxn>
                <a:cxn ang="0">
                  <a:pos x="connsiteX2258" y="connsiteY2258"/>
                </a:cxn>
                <a:cxn ang="0">
                  <a:pos x="connsiteX2259" y="connsiteY2259"/>
                </a:cxn>
                <a:cxn ang="0">
                  <a:pos x="connsiteX2260" y="connsiteY2260"/>
                </a:cxn>
                <a:cxn ang="0">
                  <a:pos x="connsiteX2261" y="connsiteY2261"/>
                </a:cxn>
                <a:cxn ang="0">
                  <a:pos x="connsiteX2262" y="connsiteY2262"/>
                </a:cxn>
                <a:cxn ang="0">
                  <a:pos x="connsiteX2263" y="connsiteY2263"/>
                </a:cxn>
                <a:cxn ang="0">
                  <a:pos x="connsiteX2264" y="connsiteY2264"/>
                </a:cxn>
                <a:cxn ang="0">
                  <a:pos x="connsiteX2265" y="connsiteY2265"/>
                </a:cxn>
                <a:cxn ang="0">
                  <a:pos x="connsiteX2266" y="connsiteY2266"/>
                </a:cxn>
                <a:cxn ang="0">
                  <a:pos x="connsiteX2267" y="connsiteY2267"/>
                </a:cxn>
                <a:cxn ang="0">
                  <a:pos x="connsiteX2268" y="connsiteY2268"/>
                </a:cxn>
                <a:cxn ang="0">
                  <a:pos x="connsiteX2269" y="connsiteY2269"/>
                </a:cxn>
                <a:cxn ang="0">
                  <a:pos x="connsiteX2270" y="connsiteY2270"/>
                </a:cxn>
                <a:cxn ang="0">
                  <a:pos x="connsiteX2271" y="connsiteY2271"/>
                </a:cxn>
                <a:cxn ang="0">
                  <a:pos x="connsiteX2272" y="connsiteY2272"/>
                </a:cxn>
                <a:cxn ang="0">
                  <a:pos x="connsiteX2273" y="connsiteY2273"/>
                </a:cxn>
                <a:cxn ang="0">
                  <a:pos x="connsiteX2274" y="connsiteY2274"/>
                </a:cxn>
                <a:cxn ang="0">
                  <a:pos x="connsiteX2275" y="connsiteY2275"/>
                </a:cxn>
                <a:cxn ang="0">
                  <a:pos x="connsiteX2276" y="connsiteY2276"/>
                </a:cxn>
                <a:cxn ang="0">
                  <a:pos x="connsiteX2277" y="connsiteY2277"/>
                </a:cxn>
                <a:cxn ang="0">
                  <a:pos x="connsiteX2278" y="connsiteY2278"/>
                </a:cxn>
                <a:cxn ang="0">
                  <a:pos x="connsiteX2279" y="connsiteY2279"/>
                </a:cxn>
                <a:cxn ang="0">
                  <a:pos x="connsiteX2280" y="connsiteY2280"/>
                </a:cxn>
                <a:cxn ang="0">
                  <a:pos x="connsiteX2281" y="connsiteY2281"/>
                </a:cxn>
                <a:cxn ang="0">
                  <a:pos x="connsiteX2282" y="connsiteY2282"/>
                </a:cxn>
                <a:cxn ang="0">
                  <a:pos x="connsiteX2283" y="connsiteY2283"/>
                </a:cxn>
                <a:cxn ang="0">
                  <a:pos x="connsiteX2284" y="connsiteY2284"/>
                </a:cxn>
                <a:cxn ang="0">
                  <a:pos x="connsiteX2285" y="connsiteY2285"/>
                </a:cxn>
                <a:cxn ang="0">
                  <a:pos x="connsiteX2286" y="connsiteY2286"/>
                </a:cxn>
                <a:cxn ang="0">
                  <a:pos x="connsiteX2287" y="connsiteY2287"/>
                </a:cxn>
                <a:cxn ang="0">
                  <a:pos x="connsiteX2288" y="connsiteY2288"/>
                </a:cxn>
                <a:cxn ang="0">
                  <a:pos x="connsiteX2289" y="connsiteY2289"/>
                </a:cxn>
                <a:cxn ang="0">
                  <a:pos x="connsiteX2290" y="connsiteY2290"/>
                </a:cxn>
                <a:cxn ang="0">
                  <a:pos x="connsiteX2291" y="connsiteY2291"/>
                </a:cxn>
                <a:cxn ang="0">
                  <a:pos x="connsiteX2292" y="connsiteY2292"/>
                </a:cxn>
                <a:cxn ang="0">
                  <a:pos x="connsiteX2293" y="connsiteY2293"/>
                </a:cxn>
                <a:cxn ang="0">
                  <a:pos x="connsiteX2294" y="connsiteY2294"/>
                </a:cxn>
                <a:cxn ang="0">
                  <a:pos x="connsiteX2295" y="connsiteY2295"/>
                </a:cxn>
                <a:cxn ang="0">
                  <a:pos x="connsiteX2296" y="connsiteY2296"/>
                </a:cxn>
                <a:cxn ang="0">
                  <a:pos x="connsiteX2297" y="connsiteY2297"/>
                </a:cxn>
                <a:cxn ang="0">
                  <a:pos x="connsiteX2298" y="connsiteY2298"/>
                </a:cxn>
                <a:cxn ang="0">
                  <a:pos x="connsiteX2299" y="connsiteY2299"/>
                </a:cxn>
                <a:cxn ang="0">
                  <a:pos x="connsiteX2300" y="connsiteY2300"/>
                </a:cxn>
                <a:cxn ang="0">
                  <a:pos x="connsiteX2301" y="connsiteY2301"/>
                </a:cxn>
                <a:cxn ang="0">
                  <a:pos x="connsiteX2302" y="connsiteY2302"/>
                </a:cxn>
                <a:cxn ang="0">
                  <a:pos x="connsiteX2303" y="connsiteY2303"/>
                </a:cxn>
                <a:cxn ang="0">
                  <a:pos x="connsiteX2304" y="connsiteY2304"/>
                </a:cxn>
                <a:cxn ang="0">
                  <a:pos x="connsiteX2305" y="connsiteY2305"/>
                </a:cxn>
                <a:cxn ang="0">
                  <a:pos x="connsiteX2306" y="connsiteY2306"/>
                </a:cxn>
                <a:cxn ang="0">
                  <a:pos x="connsiteX2307" y="connsiteY2307"/>
                </a:cxn>
                <a:cxn ang="0">
                  <a:pos x="connsiteX2308" y="connsiteY2308"/>
                </a:cxn>
                <a:cxn ang="0">
                  <a:pos x="connsiteX2309" y="connsiteY2309"/>
                </a:cxn>
                <a:cxn ang="0">
                  <a:pos x="connsiteX2310" y="connsiteY2310"/>
                </a:cxn>
                <a:cxn ang="0">
                  <a:pos x="connsiteX2311" y="connsiteY2311"/>
                </a:cxn>
                <a:cxn ang="0">
                  <a:pos x="connsiteX2312" y="connsiteY2312"/>
                </a:cxn>
                <a:cxn ang="0">
                  <a:pos x="connsiteX2313" y="connsiteY2313"/>
                </a:cxn>
                <a:cxn ang="0">
                  <a:pos x="connsiteX2314" y="connsiteY2314"/>
                </a:cxn>
                <a:cxn ang="0">
                  <a:pos x="connsiteX2315" y="connsiteY2315"/>
                </a:cxn>
                <a:cxn ang="0">
                  <a:pos x="connsiteX2316" y="connsiteY2316"/>
                </a:cxn>
                <a:cxn ang="0">
                  <a:pos x="connsiteX2317" y="connsiteY2317"/>
                </a:cxn>
                <a:cxn ang="0">
                  <a:pos x="connsiteX2318" y="connsiteY2318"/>
                </a:cxn>
                <a:cxn ang="0">
                  <a:pos x="connsiteX2319" y="connsiteY2319"/>
                </a:cxn>
                <a:cxn ang="0">
                  <a:pos x="connsiteX2320" y="connsiteY2320"/>
                </a:cxn>
                <a:cxn ang="0">
                  <a:pos x="connsiteX2321" y="connsiteY2321"/>
                </a:cxn>
                <a:cxn ang="0">
                  <a:pos x="connsiteX2322" y="connsiteY2322"/>
                </a:cxn>
                <a:cxn ang="0">
                  <a:pos x="connsiteX2323" y="connsiteY2323"/>
                </a:cxn>
                <a:cxn ang="0">
                  <a:pos x="connsiteX2324" y="connsiteY2324"/>
                </a:cxn>
                <a:cxn ang="0">
                  <a:pos x="connsiteX2325" y="connsiteY2325"/>
                </a:cxn>
                <a:cxn ang="0">
                  <a:pos x="connsiteX2326" y="connsiteY2326"/>
                </a:cxn>
                <a:cxn ang="0">
                  <a:pos x="connsiteX2327" y="connsiteY2327"/>
                </a:cxn>
                <a:cxn ang="0">
                  <a:pos x="connsiteX2328" y="connsiteY2328"/>
                </a:cxn>
                <a:cxn ang="0">
                  <a:pos x="connsiteX2329" y="connsiteY2329"/>
                </a:cxn>
                <a:cxn ang="0">
                  <a:pos x="connsiteX2330" y="connsiteY2330"/>
                </a:cxn>
                <a:cxn ang="0">
                  <a:pos x="connsiteX2331" y="connsiteY2331"/>
                </a:cxn>
                <a:cxn ang="0">
                  <a:pos x="connsiteX2332" y="connsiteY2332"/>
                </a:cxn>
                <a:cxn ang="0">
                  <a:pos x="connsiteX2333" y="connsiteY2333"/>
                </a:cxn>
                <a:cxn ang="0">
                  <a:pos x="connsiteX2334" y="connsiteY2334"/>
                </a:cxn>
                <a:cxn ang="0">
                  <a:pos x="connsiteX2335" y="connsiteY2335"/>
                </a:cxn>
                <a:cxn ang="0">
                  <a:pos x="connsiteX2336" y="connsiteY2336"/>
                </a:cxn>
                <a:cxn ang="0">
                  <a:pos x="connsiteX2337" y="connsiteY2337"/>
                </a:cxn>
                <a:cxn ang="0">
                  <a:pos x="connsiteX2338" y="connsiteY2338"/>
                </a:cxn>
                <a:cxn ang="0">
                  <a:pos x="connsiteX2339" y="connsiteY2339"/>
                </a:cxn>
                <a:cxn ang="0">
                  <a:pos x="connsiteX2340" y="connsiteY2340"/>
                </a:cxn>
                <a:cxn ang="0">
                  <a:pos x="connsiteX2341" y="connsiteY2341"/>
                </a:cxn>
                <a:cxn ang="0">
                  <a:pos x="connsiteX2342" y="connsiteY2342"/>
                </a:cxn>
                <a:cxn ang="0">
                  <a:pos x="connsiteX2343" y="connsiteY2343"/>
                </a:cxn>
                <a:cxn ang="0">
                  <a:pos x="connsiteX2344" y="connsiteY2344"/>
                </a:cxn>
                <a:cxn ang="0">
                  <a:pos x="connsiteX2345" y="connsiteY2345"/>
                </a:cxn>
                <a:cxn ang="0">
                  <a:pos x="connsiteX2346" y="connsiteY2346"/>
                </a:cxn>
                <a:cxn ang="0">
                  <a:pos x="connsiteX2347" y="connsiteY2347"/>
                </a:cxn>
                <a:cxn ang="0">
                  <a:pos x="connsiteX2348" y="connsiteY2348"/>
                </a:cxn>
                <a:cxn ang="0">
                  <a:pos x="connsiteX2349" y="connsiteY2349"/>
                </a:cxn>
                <a:cxn ang="0">
                  <a:pos x="connsiteX2350" y="connsiteY2350"/>
                </a:cxn>
                <a:cxn ang="0">
                  <a:pos x="connsiteX2351" y="connsiteY2351"/>
                </a:cxn>
                <a:cxn ang="0">
                  <a:pos x="connsiteX2352" y="connsiteY2352"/>
                </a:cxn>
                <a:cxn ang="0">
                  <a:pos x="connsiteX2353" y="connsiteY2353"/>
                </a:cxn>
                <a:cxn ang="0">
                  <a:pos x="connsiteX2354" y="connsiteY2354"/>
                </a:cxn>
                <a:cxn ang="0">
                  <a:pos x="connsiteX2355" y="connsiteY2355"/>
                </a:cxn>
                <a:cxn ang="0">
                  <a:pos x="connsiteX2356" y="connsiteY2356"/>
                </a:cxn>
                <a:cxn ang="0">
                  <a:pos x="connsiteX2357" y="connsiteY2357"/>
                </a:cxn>
                <a:cxn ang="0">
                  <a:pos x="connsiteX2358" y="connsiteY2358"/>
                </a:cxn>
                <a:cxn ang="0">
                  <a:pos x="connsiteX2359" y="connsiteY2359"/>
                </a:cxn>
                <a:cxn ang="0">
                  <a:pos x="connsiteX2360" y="connsiteY2360"/>
                </a:cxn>
                <a:cxn ang="0">
                  <a:pos x="connsiteX2361" y="connsiteY2361"/>
                </a:cxn>
                <a:cxn ang="0">
                  <a:pos x="connsiteX2362" y="connsiteY2362"/>
                </a:cxn>
                <a:cxn ang="0">
                  <a:pos x="connsiteX2363" y="connsiteY2363"/>
                </a:cxn>
                <a:cxn ang="0">
                  <a:pos x="connsiteX2364" y="connsiteY2364"/>
                </a:cxn>
                <a:cxn ang="0">
                  <a:pos x="connsiteX2365" y="connsiteY2365"/>
                </a:cxn>
                <a:cxn ang="0">
                  <a:pos x="connsiteX2366" y="connsiteY2366"/>
                </a:cxn>
                <a:cxn ang="0">
                  <a:pos x="connsiteX2367" y="connsiteY2367"/>
                </a:cxn>
                <a:cxn ang="0">
                  <a:pos x="connsiteX2368" y="connsiteY2368"/>
                </a:cxn>
                <a:cxn ang="0">
                  <a:pos x="connsiteX2369" y="connsiteY2369"/>
                </a:cxn>
                <a:cxn ang="0">
                  <a:pos x="connsiteX2370" y="connsiteY2370"/>
                </a:cxn>
                <a:cxn ang="0">
                  <a:pos x="connsiteX2371" y="connsiteY2371"/>
                </a:cxn>
                <a:cxn ang="0">
                  <a:pos x="connsiteX2372" y="connsiteY2372"/>
                </a:cxn>
                <a:cxn ang="0">
                  <a:pos x="connsiteX2373" y="connsiteY2373"/>
                </a:cxn>
                <a:cxn ang="0">
                  <a:pos x="connsiteX2374" y="connsiteY2374"/>
                </a:cxn>
                <a:cxn ang="0">
                  <a:pos x="connsiteX2375" y="connsiteY2375"/>
                </a:cxn>
                <a:cxn ang="0">
                  <a:pos x="connsiteX2376" y="connsiteY2376"/>
                </a:cxn>
                <a:cxn ang="0">
                  <a:pos x="connsiteX2377" y="connsiteY2377"/>
                </a:cxn>
                <a:cxn ang="0">
                  <a:pos x="connsiteX2378" y="connsiteY2378"/>
                </a:cxn>
                <a:cxn ang="0">
                  <a:pos x="connsiteX2379" y="connsiteY2379"/>
                </a:cxn>
                <a:cxn ang="0">
                  <a:pos x="connsiteX2380" y="connsiteY2380"/>
                </a:cxn>
                <a:cxn ang="0">
                  <a:pos x="connsiteX2381" y="connsiteY2381"/>
                </a:cxn>
                <a:cxn ang="0">
                  <a:pos x="connsiteX2382" y="connsiteY2382"/>
                </a:cxn>
                <a:cxn ang="0">
                  <a:pos x="connsiteX2383" y="connsiteY2383"/>
                </a:cxn>
                <a:cxn ang="0">
                  <a:pos x="connsiteX2384" y="connsiteY2384"/>
                </a:cxn>
                <a:cxn ang="0">
                  <a:pos x="connsiteX2385" y="connsiteY2385"/>
                </a:cxn>
                <a:cxn ang="0">
                  <a:pos x="connsiteX2386" y="connsiteY2386"/>
                </a:cxn>
                <a:cxn ang="0">
                  <a:pos x="connsiteX2387" y="connsiteY2387"/>
                </a:cxn>
                <a:cxn ang="0">
                  <a:pos x="connsiteX2388" y="connsiteY2388"/>
                </a:cxn>
                <a:cxn ang="0">
                  <a:pos x="connsiteX2389" y="connsiteY2389"/>
                </a:cxn>
                <a:cxn ang="0">
                  <a:pos x="connsiteX2390" y="connsiteY2390"/>
                </a:cxn>
                <a:cxn ang="0">
                  <a:pos x="connsiteX2391" y="connsiteY2391"/>
                </a:cxn>
                <a:cxn ang="0">
                  <a:pos x="connsiteX2392" y="connsiteY2392"/>
                </a:cxn>
                <a:cxn ang="0">
                  <a:pos x="connsiteX2393" y="connsiteY2393"/>
                </a:cxn>
                <a:cxn ang="0">
                  <a:pos x="connsiteX2394" y="connsiteY2394"/>
                </a:cxn>
                <a:cxn ang="0">
                  <a:pos x="connsiteX2395" y="connsiteY2395"/>
                </a:cxn>
                <a:cxn ang="0">
                  <a:pos x="connsiteX2396" y="connsiteY2396"/>
                </a:cxn>
                <a:cxn ang="0">
                  <a:pos x="connsiteX2397" y="connsiteY2397"/>
                </a:cxn>
                <a:cxn ang="0">
                  <a:pos x="connsiteX2398" y="connsiteY2398"/>
                </a:cxn>
                <a:cxn ang="0">
                  <a:pos x="connsiteX2399" y="connsiteY2399"/>
                </a:cxn>
                <a:cxn ang="0">
                  <a:pos x="connsiteX2400" y="connsiteY2400"/>
                </a:cxn>
                <a:cxn ang="0">
                  <a:pos x="connsiteX2401" y="connsiteY2401"/>
                </a:cxn>
                <a:cxn ang="0">
                  <a:pos x="connsiteX2402" y="connsiteY2402"/>
                </a:cxn>
                <a:cxn ang="0">
                  <a:pos x="connsiteX2403" y="connsiteY2403"/>
                </a:cxn>
                <a:cxn ang="0">
                  <a:pos x="connsiteX2404" y="connsiteY2404"/>
                </a:cxn>
                <a:cxn ang="0">
                  <a:pos x="connsiteX2405" y="connsiteY2405"/>
                </a:cxn>
                <a:cxn ang="0">
                  <a:pos x="connsiteX2406" y="connsiteY2406"/>
                </a:cxn>
                <a:cxn ang="0">
                  <a:pos x="connsiteX2407" y="connsiteY2407"/>
                </a:cxn>
                <a:cxn ang="0">
                  <a:pos x="connsiteX2408" y="connsiteY2408"/>
                </a:cxn>
                <a:cxn ang="0">
                  <a:pos x="connsiteX2409" y="connsiteY2409"/>
                </a:cxn>
                <a:cxn ang="0">
                  <a:pos x="connsiteX2410" y="connsiteY2410"/>
                </a:cxn>
                <a:cxn ang="0">
                  <a:pos x="connsiteX2411" y="connsiteY2411"/>
                </a:cxn>
                <a:cxn ang="0">
                  <a:pos x="connsiteX2412" y="connsiteY2412"/>
                </a:cxn>
                <a:cxn ang="0">
                  <a:pos x="connsiteX2413" y="connsiteY2413"/>
                </a:cxn>
                <a:cxn ang="0">
                  <a:pos x="connsiteX2414" y="connsiteY2414"/>
                </a:cxn>
                <a:cxn ang="0">
                  <a:pos x="connsiteX2415" y="connsiteY2415"/>
                </a:cxn>
                <a:cxn ang="0">
                  <a:pos x="connsiteX2416" y="connsiteY2416"/>
                </a:cxn>
                <a:cxn ang="0">
                  <a:pos x="connsiteX2417" y="connsiteY2417"/>
                </a:cxn>
                <a:cxn ang="0">
                  <a:pos x="connsiteX2418" y="connsiteY2418"/>
                </a:cxn>
                <a:cxn ang="0">
                  <a:pos x="connsiteX2419" y="connsiteY2419"/>
                </a:cxn>
                <a:cxn ang="0">
                  <a:pos x="connsiteX2420" y="connsiteY2420"/>
                </a:cxn>
                <a:cxn ang="0">
                  <a:pos x="connsiteX2421" y="connsiteY2421"/>
                </a:cxn>
                <a:cxn ang="0">
                  <a:pos x="connsiteX2422" y="connsiteY2422"/>
                </a:cxn>
                <a:cxn ang="0">
                  <a:pos x="connsiteX2423" y="connsiteY2423"/>
                </a:cxn>
                <a:cxn ang="0">
                  <a:pos x="connsiteX2424" y="connsiteY2424"/>
                </a:cxn>
                <a:cxn ang="0">
                  <a:pos x="connsiteX2425" y="connsiteY2425"/>
                </a:cxn>
                <a:cxn ang="0">
                  <a:pos x="connsiteX2426" y="connsiteY2426"/>
                </a:cxn>
                <a:cxn ang="0">
                  <a:pos x="connsiteX2427" y="connsiteY2427"/>
                </a:cxn>
                <a:cxn ang="0">
                  <a:pos x="connsiteX2428" y="connsiteY2428"/>
                </a:cxn>
                <a:cxn ang="0">
                  <a:pos x="connsiteX2429" y="connsiteY2429"/>
                </a:cxn>
                <a:cxn ang="0">
                  <a:pos x="connsiteX2430" y="connsiteY2430"/>
                </a:cxn>
                <a:cxn ang="0">
                  <a:pos x="connsiteX2431" y="connsiteY2431"/>
                </a:cxn>
                <a:cxn ang="0">
                  <a:pos x="connsiteX2432" y="connsiteY2432"/>
                </a:cxn>
                <a:cxn ang="0">
                  <a:pos x="connsiteX2433" y="connsiteY2433"/>
                </a:cxn>
                <a:cxn ang="0">
                  <a:pos x="connsiteX2434" y="connsiteY2434"/>
                </a:cxn>
                <a:cxn ang="0">
                  <a:pos x="connsiteX2435" y="connsiteY2435"/>
                </a:cxn>
                <a:cxn ang="0">
                  <a:pos x="connsiteX2436" y="connsiteY2436"/>
                </a:cxn>
                <a:cxn ang="0">
                  <a:pos x="connsiteX2437" y="connsiteY2437"/>
                </a:cxn>
                <a:cxn ang="0">
                  <a:pos x="connsiteX2438" y="connsiteY2438"/>
                </a:cxn>
                <a:cxn ang="0">
                  <a:pos x="connsiteX2439" y="connsiteY2439"/>
                </a:cxn>
                <a:cxn ang="0">
                  <a:pos x="connsiteX2440" y="connsiteY2440"/>
                </a:cxn>
                <a:cxn ang="0">
                  <a:pos x="connsiteX2441" y="connsiteY2441"/>
                </a:cxn>
                <a:cxn ang="0">
                  <a:pos x="connsiteX2442" y="connsiteY2442"/>
                </a:cxn>
                <a:cxn ang="0">
                  <a:pos x="connsiteX2443" y="connsiteY2443"/>
                </a:cxn>
                <a:cxn ang="0">
                  <a:pos x="connsiteX2444" y="connsiteY2444"/>
                </a:cxn>
                <a:cxn ang="0">
                  <a:pos x="connsiteX2445" y="connsiteY2445"/>
                </a:cxn>
                <a:cxn ang="0">
                  <a:pos x="connsiteX2446" y="connsiteY2446"/>
                </a:cxn>
                <a:cxn ang="0">
                  <a:pos x="connsiteX2447" y="connsiteY2447"/>
                </a:cxn>
                <a:cxn ang="0">
                  <a:pos x="connsiteX2448" y="connsiteY2448"/>
                </a:cxn>
                <a:cxn ang="0">
                  <a:pos x="connsiteX2449" y="connsiteY2449"/>
                </a:cxn>
                <a:cxn ang="0">
                  <a:pos x="connsiteX2450" y="connsiteY2450"/>
                </a:cxn>
                <a:cxn ang="0">
                  <a:pos x="connsiteX2451" y="connsiteY2451"/>
                </a:cxn>
                <a:cxn ang="0">
                  <a:pos x="connsiteX2452" y="connsiteY2452"/>
                </a:cxn>
                <a:cxn ang="0">
                  <a:pos x="connsiteX2453" y="connsiteY2453"/>
                </a:cxn>
                <a:cxn ang="0">
                  <a:pos x="connsiteX2454" y="connsiteY2454"/>
                </a:cxn>
                <a:cxn ang="0">
                  <a:pos x="connsiteX2455" y="connsiteY2455"/>
                </a:cxn>
                <a:cxn ang="0">
                  <a:pos x="connsiteX2456" y="connsiteY2456"/>
                </a:cxn>
                <a:cxn ang="0">
                  <a:pos x="connsiteX2457" y="connsiteY2457"/>
                </a:cxn>
                <a:cxn ang="0">
                  <a:pos x="connsiteX2458" y="connsiteY2458"/>
                </a:cxn>
                <a:cxn ang="0">
                  <a:pos x="connsiteX2459" y="connsiteY2459"/>
                </a:cxn>
                <a:cxn ang="0">
                  <a:pos x="connsiteX2460" y="connsiteY2460"/>
                </a:cxn>
                <a:cxn ang="0">
                  <a:pos x="connsiteX2461" y="connsiteY2461"/>
                </a:cxn>
                <a:cxn ang="0">
                  <a:pos x="connsiteX2462" y="connsiteY2462"/>
                </a:cxn>
                <a:cxn ang="0">
                  <a:pos x="connsiteX2463" y="connsiteY2463"/>
                </a:cxn>
                <a:cxn ang="0">
                  <a:pos x="connsiteX2464" y="connsiteY2464"/>
                </a:cxn>
                <a:cxn ang="0">
                  <a:pos x="connsiteX2465" y="connsiteY2465"/>
                </a:cxn>
                <a:cxn ang="0">
                  <a:pos x="connsiteX2466" y="connsiteY2466"/>
                </a:cxn>
                <a:cxn ang="0">
                  <a:pos x="connsiteX2467" y="connsiteY2467"/>
                </a:cxn>
                <a:cxn ang="0">
                  <a:pos x="connsiteX2468" y="connsiteY2468"/>
                </a:cxn>
                <a:cxn ang="0">
                  <a:pos x="connsiteX2469" y="connsiteY2469"/>
                </a:cxn>
                <a:cxn ang="0">
                  <a:pos x="connsiteX2470" y="connsiteY2470"/>
                </a:cxn>
                <a:cxn ang="0">
                  <a:pos x="connsiteX2471" y="connsiteY2471"/>
                </a:cxn>
                <a:cxn ang="0">
                  <a:pos x="connsiteX2472" y="connsiteY2472"/>
                </a:cxn>
                <a:cxn ang="0">
                  <a:pos x="connsiteX2473" y="connsiteY2473"/>
                </a:cxn>
                <a:cxn ang="0">
                  <a:pos x="connsiteX2474" y="connsiteY2474"/>
                </a:cxn>
                <a:cxn ang="0">
                  <a:pos x="connsiteX2475" y="connsiteY2475"/>
                </a:cxn>
                <a:cxn ang="0">
                  <a:pos x="connsiteX2476" y="connsiteY2476"/>
                </a:cxn>
                <a:cxn ang="0">
                  <a:pos x="connsiteX2477" y="connsiteY2477"/>
                </a:cxn>
                <a:cxn ang="0">
                  <a:pos x="connsiteX2478" y="connsiteY2478"/>
                </a:cxn>
                <a:cxn ang="0">
                  <a:pos x="connsiteX2479" y="connsiteY2479"/>
                </a:cxn>
                <a:cxn ang="0">
                  <a:pos x="connsiteX2480" y="connsiteY2480"/>
                </a:cxn>
                <a:cxn ang="0">
                  <a:pos x="connsiteX2481" y="connsiteY2481"/>
                </a:cxn>
                <a:cxn ang="0">
                  <a:pos x="connsiteX2482" y="connsiteY2482"/>
                </a:cxn>
                <a:cxn ang="0">
                  <a:pos x="connsiteX2483" y="connsiteY2483"/>
                </a:cxn>
                <a:cxn ang="0">
                  <a:pos x="connsiteX2484" y="connsiteY2484"/>
                </a:cxn>
                <a:cxn ang="0">
                  <a:pos x="connsiteX2485" y="connsiteY2485"/>
                </a:cxn>
                <a:cxn ang="0">
                  <a:pos x="connsiteX2486" y="connsiteY2486"/>
                </a:cxn>
                <a:cxn ang="0">
                  <a:pos x="connsiteX2487" y="connsiteY2487"/>
                </a:cxn>
                <a:cxn ang="0">
                  <a:pos x="connsiteX2488" y="connsiteY2488"/>
                </a:cxn>
                <a:cxn ang="0">
                  <a:pos x="connsiteX2489" y="connsiteY2489"/>
                </a:cxn>
                <a:cxn ang="0">
                  <a:pos x="connsiteX2490" y="connsiteY2490"/>
                </a:cxn>
                <a:cxn ang="0">
                  <a:pos x="connsiteX2491" y="connsiteY2491"/>
                </a:cxn>
                <a:cxn ang="0">
                  <a:pos x="connsiteX2492" y="connsiteY2492"/>
                </a:cxn>
                <a:cxn ang="0">
                  <a:pos x="connsiteX2493" y="connsiteY2493"/>
                </a:cxn>
                <a:cxn ang="0">
                  <a:pos x="connsiteX2494" y="connsiteY2494"/>
                </a:cxn>
                <a:cxn ang="0">
                  <a:pos x="connsiteX2495" y="connsiteY2495"/>
                </a:cxn>
                <a:cxn ang="0">
                  <a:pos x="connsiteX2496" y="connsiteY2496"/>
                </a:cxn>
                <a:cxn ang="0">
                  <a:pos x="connsiteX2497" y="connsiteY2497"/>
                </a:cxn>
                <a:cxn ang="0">
                  <a:pos x="connsiteX2498" y="connsiteY2498"/>
                </a:cxn>
                <a:cxn ang="0">
                  <a:pos x="connsiteX2499" y="connsiteY2499"/>
                </a:cxn>
                <a:cxn ang="0">
                  <a:pos x="connsiteX2500" y="connsiteY2500"/>
                </a:cxn>
                <a:cxn ang="0">
                  <a:pos x="connsiteX2501" y="connsiteY2501"/>
                </a:cxn>
                <a:cxn ang="0">
                  <a:pos x="connsiteX2502" y="connsiteY2502"/>
                </a:cxn>
                <a:cxn ang="0">
                  <a:pos x="connsiteX2503" y="connsiteY2503"/>
                </a:cxn>
                <a:cxn ang="0">
                  <a:pos x="connsiteX2504" y="connsiteY2504"/>
                </a:cxn>
                <a:cxn ang="0">
                  <a:pos x="connsiteX2505" y="connsiteY2505"/>
                </a:cxn>
                <a:cxn ang="0">
                  <a:pos x="connsiteX2506" y="connsiteY2506"/>
                </a:cxn>
                <a:cxn ang="0">
                  <a:pos x="connsiteX2507" y="connsiteY2507"/>
                </a:cxn>
                <a:cxn ang="0">
                  <a:pos x="connsiteX2508" y="connsiteY2508"/>
                </a:cxn>
                <a:cxn ang="0">
                  <a:pos x="connsiteX2509" y="connsiteY2509"/>
                </a:cxn>
                <a:cxn ang="0">
                  <a:pos x="connsiteX2510" y="connsiteY2510"/>
                </a:cxn>
                <a:cxn ang="0">
                  <a:pos x="connsiteX2511" y="connsiteY2511"/>
                </a:cxn>
                <a:cxn ang="0">
                  <a:pos x="connsiteX2512" y="connsiteY2512"/>
                </a:cxn>
                <a:cxn ang="0">
                  <a:pos x="connsiteX2513" y="connsiteY2513"/>
                </a:cxn>
                <a:cxn ang="0">
                  <a:pos x="connsiteX2514" y="connsiteY2514"/>
                </a:cxn>
                <a:cxn ang="0">
                  <a:pos x="connsiteX2515" y="connsiteY2515"/>
                </a:cxn>
                <a:cxn ang="0">
                  <a:pos x="connsiteX2516" y="connsiteY2516"/>
                </a:cxn>
                <a:cxn ang="0">
                  <a:pos x="connsiteX2517" y="connsiteY2517"/>
                </a:cxn>
                <a:cxn ang="0">
                  <a:pos x="connsiteX2518" y="connsiteY2518"/>
                </a:cxn>
                <a:cxn ang="0">
                  <a:pos x="connsiteX2519" y="connsiteY2519"/>
                </a:cxn>
                <a:cxn ang="0">
                  <a:pos x="connsiteX2520" y="connsiteY2520"/>
                </a:cxn>
                <a:cxn ang="0">
                  <a:pos x="connsiteX2521" y="connsiteY2521"/>
                </a:cxn>
                <a:cxn ang="0">
                  <a:pos x="connsiteX2522" y="connsiteY2522"/>
                </a:cxn>
                <a:cxn ang="0">
                  <a:pos x="connsiteX2523" y="connsiteY2523"/>
                </a:cxn>
                <a:cxn ang="0">
                  <a:pos x="connsiteX2524" y="connsiteY2524"/>
                </a:cxn>
                <a:cxn ang="0">
                  <a:pos x="connsiteX2525" y="connsiteY2525"/>
                </a:cxn>
                <a:cxn ang="0">
                  <a:pos x="connsiteX2526" y="connsiteY2526"/>
                </a:cxn>
                <a:cxn ang="0">
                  <a:pos x="connsiteX2527" y="connsiteY2527"/>
                </a:cxn>
                <a:cxn ang="0">
                  <a:pos x="connsiteX2528" y="connsiteY2528"/>
                </a:cxn>
                <a:cxn ang="0">
                  <a:pos x="connsiteX2529" y="connsiteY2529"/>
                </a:cxn>
                <a:cxn ang="0">
                  <a:pos x="connsiteX2530" y="connsiteY2530"/>
                </a:cxn>
                <a:cxn ang="0">
                  <a:pos x="connsiteX2531" y="connsiteY2531"/>
                </a:cxn>
                <a:cxn ang="0">
                  <a:pos x="connsiteX2532" y="connsiteY2532"/>
                </a:cxn>
                <a:cxn ang="0">
                  <a:pos x="connsiteX2533" y="connsiteY2533"/>
                </a:cxn>
                <a:cxn ang="0">
                  <a:pos x="connsiteX2534" y="connsiteY2534"/>
                </a:cxn>
                <a:cxn ang="0">
                  <a:pos x="connsiteX2535" y="connsiteY2535"/>
                </a:cxn>
                <a:cxn ang="0">
                  <a:pos x="connsiteX2536" y="connsiteY2536"/>
                </a:cxn>
                <a:cxn ang="0">
                  <a:pos x="connsiteX2537" y="connsiteY2537"/>
                </a:cxn>
                <a:cxn ang="0">
                  <a:pos x="connsiteX2538" y="connsiteY2538"/>
                </a:cxn>
                <a:cxn ang="0">
                  <a:pos x="connsiteX2539" y="connsiteY2539"/>
                </a:cxn>
                <a:cxn ang="0">
                  <a:pos x="connsiteX2540" y="connsiteY2540"/>
                </a:cxn>
                <a:cxn ang="0">
                  <a:pos x="connsiteX2541" y="connsiteY2541"/>
                </a:cxn>
                <a:cxn ang="0">
                  <a:pos x="connsiteX2542" y="connsiteY2542"/>
                </a:cxn>
                <a:cxn ang="0">
                  <a:pos x="connsiteX2543" y="connsiteY2543"/>
                </a:cxn>
                <a:cxn ang="0">
                  <a:pos x="connsiteX2544" y="connsiteY2544"/>
                </a:cxn>
                <a:cxn ang="0">
                  <a:pos x="connsiteX2545" y="connsiteY2545"/>
                </a:cxn>
                <a:cxn ang="0">
                  <a:pos x="connsiteX2546" y="connsiteY2546"/>
                </a:cxn>
                <a:cxn ang="0">
                  <a:pos x="connsiteX2547" y="connsiteY2547"/>
                </a:cxn>
                <a:cxn ang="0">
                  <a:pos x="connsiteX2548" y="connsiteY2548"/>
                </a:cxn>
                <a:cxn ang="0">
                  <a:pos x="connsiteX2549" y="connsiteY2549"/>
                </a:cxn>
                <a:cxn ang="0">
                  <a:pos x="connsiteX2550" y="connsiteY2550"/>
                </a:cxn>
                <a:cxn ang="0">
                  <a:pos x="connsiteX2551" y="connsiteY2551"/>
                </a:cxn>
                <a:cxn ang="0">
                  <a:pos x="connsiteX2552" y="connsiteY2552"/>
                </a:cxn>
                <a:cxn ang="0">
                  <a:pos x="connsiteX2553" y="connsiteY2553"/>
                </a:cxn>
                <a:cxn ang="0">
                  <a:pos x="connsiteX2554" y="connsiteY2554"/>
                </a:cxn>
                <a:cxn ang="0">
                  <a:pos x="connsiteX2555" y="connsiteY2555"/>
                </a:cxn>
                <a:cxn ang="0">
                  <a:pos x="connsiteX2556" y="connsiteY2556"/>
                </a:cxn>
                <a:cxn ang="0">
                  <a:pos x="connsiteX2557" y="connsiteY2557"/>
                </a:cxn>
                <a:cxn ang="0">
                  <a:pos x="connsiteX2558" y="connsiteY2558"/>
                </a:cxn>
                <a:cxn ang="0">
                  <a:pos x="connsiteX2559" y="connsiteY2559"/>
                </a:cxn>
                <a:cxn ang="0">
                  <a:pos x="connsiteX2560" y="connsiteY2560"/>
                </a:cxn>
                <a:cxn ang="0">
                  <a:pos x="connsiteX2561" y="connsiteY2561"/>
                </a:cxn>
                <a:cxn ang="0">
                  <a:pos x="connsiteX2562" y="connsiteY2562"/>
                </a:cxn>
                <a:cxn ang="0">
                  <a:pos x="connsiteX2563" y="connsiteY2563"/>
                </a:cxn>
                <a:cxn ang="0">
                  <a:pos x="connsiteX2564" y="connsiteY2564"/>
                </a:cxn>
                <a:cxn ang="0">
                  <a:pos x="connsiteX2565" y="connsiteY2565"/>
                </a:cxn>
                <a:cxn ang="0">
                  <a:pos x="connsiteX2566" y="connsiteY2566"/>
                </a:cxn>
                <a:cxn ang="0">
                  <a:pos x="connsiteX2567" y="connsiteY2567"/>
                </a:cxn>
                <a:cxn ang="0">
                  <a:pos x="connsiteX2568" y="connsiteY2568"/>
                </a:cxn>
                <a:cxn ang="0">
                  <a:pos x="connsiteX2569" y="connsiteY2569"/>
                </a:cxn>
                <a:cxn ang="0">
                  <a:pos x="connsiteX2570" y="connsiteY2570"/>
                </a:cxn>
                <a:cxn ang="0">
                  <a:pos x="connsiteX2571" y="connsiteY2571"/>
                </a:cxn>
                <a:cxn ang="0">
                  <a:pos x="connsiteX2572" y="connsiteY2572"/>
                </a:cxn>
                <a:cxn ang="0">
                  <a:pos x="connsiteX2573" y="connsiteY2573"/>
                </a:cxn>
                <a:cxn ang="0">
                  <a:pos x="connsiteX2574" y="connsiteY2574"/>
                </a:cxn>
                <a:cxn ang="0">
                  <a:pos x="connsiteX2575" y="connsiteY2575"/>
                </a:cxn>
                <a:cxn ang="0">
                  <a:pos x="connsiteX2576" y="connsiteY2576"/>
                </a:cxn>
                <a:cxn ang="0">
                  <a:pos x="connsiteX2577" y="connsiteY2577"/>
                </a:cxn>
                <a:cxn ang="0">
                  <a:pos x="connsiteX2578" y="connsiteY2578"/>
                </a:cxn>
                <a:cxn ang="0">
                  <a:pos x="connsiteX2579" y="connsiteY2579"/>
                </a:cxn>
                <a:cxn ang="0">
                  <a:pos x="connsiteX2580" y="connsiteY2580"/>
                </a:cxn>
                <a:cxn ang="0">
                  <a:pos x="connsiteX2581" y="connsiteY2581"/>
                </a:cxn>
                <a:cxn ang="0">
                  <a:pos x="connsiteX2582" y="connsiteY2582"/>
                </a:cxn>
                <a:cxn ang="0">
                  <a:pos x="connsiteX2583" y="connsiteY2583"/>
                </a:cxn>
                <a:cxn ang="0">
                  <a:pos x="connsiteX2584" y="connsiteY2584"/>
                </a:cxn>
                <a:cxn ang="0">
                  <a:pos x="connsiteX2585" y="connsiteY2585"/>
                </a:cxn>
                <a:cxn ang="0">
                  <a:pos x="connsiteX2586" y="connsiteY2586"/>
                </a:cxn>
                <a:cxn ang="0">
                  <a:pos x="connsiteX2587" y="connsiteY2587"/>
                </a:cxn>
                <a:cxn ang="0">
                  <a:pos x="connsiteX2588" y="connsiteY2588"/>
                </a:cxn>
                <a:cxn ang="0">
                  <a:pos x="connsiteX2589" y="connsiteY2589"/>
                </a:cxn>
                <a:cxn ang="0">
                  <a:pos x="connsiteX2590" y="connsiteY2590"/>
                </a:cxn>
                <a:cxn ang="0">
                  <a:pos x="connsiteX2591" y="connsiteY2591"/>
                </a:cxn>
                <a:cxn ang="0">
                  <a:pos x="connsiteX2592" y="connsiteY2592"/>
                </a:cxn>
                <a:cxn ang="0">
                  <a:pos x="connsiteX2593" y="connsiteY2593"/>
                </a:cxn>
                <a:cxn ang="0">
                  <a:pos x="connsiteX2594" y="connsiteY2594"/>
                </a:cxn>
                <a:cxn ang="0">
                  <a:pos x="connsiteX2595" y="connsiteY2595"/>
                </a:cxn>
                <a:cxn ang="0">
                  <a:pos x="connsiteX2596" y="connsiteY2596"/>
                </a:cxn>
                <a:cxn ang="0">
                  <a:pos x="connsiteX2597" y="connsiteY2597"/>
                </a:cxn>
                <a:cxn ang="0">
                  <a:pos x="connsiteX2598" y="connsiteY2598"/>
                </a:cxn>
                <a:cxn ang="0">
                  <a:pos x="connsiteX2599" y="connsiteY2599"/>
                </a:cxn>
                <a:cxn ang="0">
                  <a:pos x="connsiteX2600" y="connsiteY2600"/>
                </a:cxn>
                <a:cxn ang="0">
                  <a:pos x="connsiteX2601" y="connsiteY2601"/>
                </a:cxn>
                <a:cxn ang="0">
                  <a:pos x="connsiteX2602" y="connsiteY2602"/>
                </a:cxn>
                <a:cxn ang="0">
                  <a:pos x="connsiteX2603" y="connsiteY2603"/>
                </a:cxn>
                <a:cxn ang="0">
                  <a:pos x="connsiteX2604" y="connsiteY2604"/>
                </a:cxn>
                <a:cxn ang="0">
                  <a:pos x="connsiteX2605" y="connsiteY2605"/>
                </a:cxn>
                <a:cxn ang="0">
                  <a:pos x="connsiteX2606" y="connsiteY2606"/>
                </a:cxn>
                <a:cxn ang="0">
                  <a:pos x="connsiteX2607" y="connsiteY2607"/>
                </a:cxn>
                <a:cxn ang="0">
                  <a:pos x="connsiteX2608" y="connsiteY2608"/>
                </a:cxn>
                <a:cxn ang="0">
                  <a:pos x="connsiteX2609" y="connsiteY2609"/>
                </a:cxn>
                <a:cxn ang="0">
                  <a:pos x="connsiteX2610" y="connsiteY2610"/>
                </a:cxn>
                <a:cxn ang="0">
                  <a:pos x="connsiteX2611" y="connsiteY2611"/>
                </a:cxn>
                <a:cxn ang="0">
                  <a:pos x="connsiteX2612" y="connsiteY2612"/>
                </a:cxn>
                <a:cxn ang="0">
                  <a:pos x="connsiteX2613" y="connsiteY2613"/>
                </a:cxn>
                <a:cxn ang="0">
                  <a:pos x="connsiteX2614" y="connsiteY2614"/>
                </a:cxn>
                <a:cxn ang="0">
                  <a:pos x="connsiteX2615" y="connsiteY2615"/>
                </a:cxn>
                <a:cxn ang="0">
                  <a:pos x="connsiteX2616" y="connsiteY2616"/>
                </a:cxn>
                <a:cxn ang="0">
                  <a:pos x="connsiteX2617" y="connsiteY2617"/>
                </a:cxn>
                <a:cxn ang="0">
                  <a:pos x="connsiteX2618" y="connsiteY2618"/>
                </a:cxn>
                <a:cxn ang="0">
                  <a:pos x="connsiteX2619" y="connsiteY2619"/>
                </a:cxn>
                <a:cxn ang="0">
                  <a:pos x="connsiteX2620" y="connsiteY2620"/>
                </a:cxn>
                <a:cxn ang="0">
                  <a:pos x="connsiteX2621" y="connsiteY2621"/>
                </a:cxn>
                <a:cxn ang="0">
                  <a:pos x="connsiteX2622" y="connsiteY2622"/>
                </a:cxn>
                <a:cxn ang="0">
                  <a:pos x="connsiteX2623" y="connsiteY2623"/>
                </a:cxn>
                <a:cxn ang="0">
                  <a:pos x="connsiteX2624" y="connsiteY2624"/>
                </a:cxn>
                <a:cxn ang="0">
                  <a:pos x="connsiteX2625" y="connsiteY2625"/>
                </a:cxn>
                <a:cxn ang="0">
                  <a:pos x="connsiteX2626" y="connsiteY2626"/>
                </a:cxn>
                <a:cxn ang="0">
                  <a:pos x="connsiteX2627" y="connsiteY2627"/>
                </a:cxn>
                <a:cxn ang="0">
                  <a:pos x="connsiteX2628" y="connsiteY2628"/>
                </a:cxn>
                <a:cxn ang="0">
                  <a:pos x="connsiteX2629" y="connsiteY2629"/>
                </a:cxn>
                <a:cxn ang="0">
                  <a:pos x="connsiteX2630" y="connsiteY2630"/>
                </a:cxn>
                <a:cxn ang="0">
                  <a:pos x="connsiteX2631" y="connsiteY2631"/>
                </a:cxn>
                <a:cxn ang="0">
                  <a:pos x="connsiteX2632" y="connsiteY2632"/>
                </a:cxn>
                <a:cxn ang="0">
                  <a:pos x="connsiteX2633" y="connsiteY2633"/>
                </a:cxn>
                <a:cxn ang="0">
                  <a:pos x="connsiteX2634" y="connsiteY2634"/>
                </a:cxn>
                <a:cxn ang="0">
                  <a:pos x="connsiteX2635" y="connsiteY2635"/>
                </a:cxn>
                <a:cxn ang="0">
                  <a:pos x="connsiteX2636" y="connsiteY2636"/>
                </a:cxn>
                <a:cxn ang="0">
                  <a:pos x="connsiteX2637" y="connsiteY2637"/>
                </a:cxn>
                <a:cxn ang="0">
                  <a:pos x="connsiteX2638" y="connsiteY2638"/>
                </a:cxn>
                <a:cxn ang="0">
                  <a:pos x="connsiteX2639" y="connsiteY2639"/>
                </a:cxn>
                <a:cxn ang="0">
                  <a:pos x="connsiteX2640" y="connsiteY2640"/>
                </a:cxn>
                <a:cxn ang="0">
                  <a:pos x="connsiteX2641" y="connsiteY2641"/>
                </a:cxn>
                <a:cxn ang="0">
                  <a:pos x="connsiteX2642" y="connsiteY2642"/>
                </a:cxn>
                <a:cxn ang="0">
                  <a:pos x="connsiteX2643" y="connsiteY2643"/>
                </a:cxn>
                <a:cxn ang="0">
                  <a:pos x="connsiteX2644" y="connsiteY2644"/>
                </a:cxn>
                <a:cxn ang="0">
                  <a:pos x="connsiteX2645" y="connsiteY2645"/>
                </a:cxn>
                <a:cxn ang="0">
                  <a:pos x="connsiteX2646" y="connsiteY2646"/>
                </a:cxn>
                <a:cxn ang="0">
                  <a:pos x="connsiteX2647" y="connsiteY2647"/>
                </a:cxn>
                <a:cxn ang="0">
                  <a:pos x="connsiteX2648" y="connsiteY2648"/>
                </a:cxn>
                <a:cxn ang="0">
                  <a:pos x="connsiteX2649" y="connsiteY2649"/>
                </a:cxn>
                <a:cxn ang="0">
                  <a:pos x="connsiteX2650" y="connsiteY2650"/>
                </a:cxn>
                <a:cxn ang="0">
                  <a:pos x="connsiteX2651" y="connsiteY2651"/>
                </a:cxn>
                <a:cxn ang="0">
                  <a:pos x="connsiteX2652" y="connsiteY2652"/>
                </a:cxn>
                <a:cxn ang="0">
                  <a:pos x="connsiteX2653" y="connsiteY2653"/>
                </a:cxn>
                <a:cxn ang="0">
                  <a:pos x="connsiteX2654" y="connsiteY2654"/>
                </a:cxn>
                <a:cxn ang="0">
                  <a:pos x="connsiteX2655" y="connsiteY2655"/>
                </a:cxn>
                <a:cxn ang="0">
                  <a:pos x="connsiteX2656" y="connsiteY2656"/>
                </a:cxn>
                <a:cxn ang="0">
                  <a:pos x="connsiteX2657" y="connsiteY2657"/>
                </a:cxn>
                <a:cxn ang="0">
                  <a:pos x="connsiteX2658" y="connsiteY2658"/>
                </a:cxn>
                <a:cxn ang="0">
                  <a:pos x="connsiteX2659" y="connsiteY2659"/>
                </a:cxn>
                <a:cxn ang="0">
                  <a:pos x="connsiteX2660" y="connsiteY2660"/>
                </a:cxn>
                <a:cxn ang="0">
                  <a:pos x="connsiteX2661" y="connsiteY2661"/>
                </a:cxn>
                <a:cxn ang="0">
                  <a:pos x="connsiteX2662" y="connsiteY2662"/>
                </a:cxn>
                <a:cxn ang="0">
                  <a:pos x="connsiteX2663" y="connsiteY2663"/>
                </a:cxn>
                <a:cxn ang="0">
                  <a:pos x="connsiteX2664" y="connsiteY2664"/>
                </a:cxn>
                <a:cxn ang="0">
                  <a:pos x="connsiteX2665" y="connsiteY2665"/>
                </a:cxn>
                <a:cxn ang="0">
                  <a:pos x="connsiteX2666" y="connsiteY2666"/>
                </a:cxn>
                <a:cxn ang="0">
                  <a:pos x="connsiteX2667" y="connsiteY2667"/>
                </a:cxn>
                <a:cxn ang="0">
                  <a:pos x="connsiteX2668" y="connsiteY2668"/>
                </a:cxn>
                <a:cxn ang="0">
                  <a:pos x="connsiteX2669" y="connsiteY2669"/>
                </a:cxn>
                <a:cxn ang="0">
                  <a:pos x="connsiteX2670" y="connsiteY2670"/>
                </a:cxn>
                <a:cxn ang="0">
                  <a:pos x="connsiteX2671" y="connsiteY2671"/>
                </a:cxn>
                <a:cxn ang="0">
                  <a:pos x="connsiteX2672" y="connsiteY2672"/>
                </a:cxn>
              </a:cxnLst>
              <a:rect l="l" t="t" r="r" b="b"/>
              <a:pathLst>
                <a:path w="1352046" h="905809">
                  <a:moveTo>
                    <a:pt x="819130" y="861795"/>
                  </a:moveTo>
                  <a:lnTo>
                    <a:pt x="819723" y="861811"/>
                  </a:lnTo>
                  <a:lnTo>
                    <a:pt x="821182" y="863596"/>
                  </a:lnTo>
                  <a:lnTo>
                    <a:pt x="822609" y="864633"/>
                  </a:lnTo>
                  <a:lnTo>
                    <a:pt x="824372" y="865150"/>
                  </a:lnTo>
                  <a:lnTo>
                    <a:pt x="825467" y="866171"/>
                  </a:lnTo>
                  <a:lnTo>
                    <a:pt x="826184" y="867648"/>
                  </a:lnTo>
                  <a:lnTo>
                    <a:pt x="826780" y="870375"/>
                  </a:lnTo>
                  <a:lnTo>
                    <a:pt x="827134" y="872884"/>
                  </a:lnTo>
                  <a:lnTo>
                    <a:pt x="824901" y="874478"/>
                  </a:lnTo>
                  <a:lnTo>
                    <a:pt x="822901" y="875125"/>
                  </a:lnTo>
                  <a:lnTo>
                    <a:pt x="818891" y="881246"/>
                  </a:lnTo>
                  <a:lnTo>
                    <a:pt x="818055" y="883177"/>
                  </a:lnTo>
                  <a:lnTo>
                    <a:pt x="817371" y="883983"/>
                  </a:lnTo>
                  <a:lnTo>
                    <a:pt x="817157" y="884825"/>
                  </a:lnTo>
                  <a:lnTo>
                    <a:pt x="817235" y="885664"/>
                  </a:lnTo>
                  <a:lnTo>
                    <a:pt x="816203" y="888605"/>
                  </a:lnTo>
                  <a:lnTo>
                    <a:pt x="815281" y="892215"/>
                  </a:lnTo>
                  <a:lnTo>
                    <a:pt x="814697" y="893695"/>
                  </a:lnTo>
                  <a:lnTo>
                    <a:pt x="813553" y="894831"/>
                  </a:lnTo>
                  <a:lnTo>
                    <a:pt x="812098" y="895404"/>
                  </a:lnTo>
                  <a:lnTo>
                    <a:pt x="811150" y="895490"/>
                  </a:lnTo>
                  <a:lnTo>
                    <a:pt x="810286" y="895805"/>
                  </a:lnTo>
                  <a:lnTo>
                    <a:pt x="808175" y="897772"/>
                  </a:lnTo>
                  <a:lnTo>
                    <a:pt x="805793" y="899249"/>
                  </a:lnTo>
                  <a:lnTo>
                    <a:pt x="806188" y="899926"/>
                  </a:lnTo>
                  <a:lnTo>
                    <a:pt x="806210" y="900568"/>
                  </a:lnTo>
                  <a:lnTo>
                    <a:pt x="805166" y="901284"/>
                  </a:lnTo>
                  <a:lnTo>
                    <a:pt x="804004" y="901151"/>
                  </a:lnTo>
                  <a:lnTo>
                    <a:pt x="800642" y="901731"/>
                  </a:lnTo>
                  <a:lnTo>
                    <a:pt x="799407" y="902838"/>
                  </a:lnTo>
                  <a:lnTo>
                    <a:pt x="798146" y="904875"/>
                  </a:lnTo>
                  <a:lnTo>
                    <a:pt x="797667" y="905149"/>
                  </a:lnTo>
                  <a:lnTo>
                    <a:pt x="795644" y="905625"/>
                  </a:lnTo>
                  <a:lnTo>
                    <a:pt x="794091" y="905809"/>
                  </a:lnTo>
                  <a:lnTo>
                    <a:pt x="791454" y="904373"/>
                  </a:lnTo>
                  <a:lnTo>
                    <a:pt x="790145" y="903950"/>
                  </a:lnTo>
                  <a:lnTo>
                    <a:pt x="786658" y="903367"/>
                  </a:lnTo>
                  <a:lnTo>
                    <a:pt x="783268" y="902392"/>
                  </a:lnTo>
                  <a:lnTo>
                    <a:pt x="780888" y="901287"/>
                  </a:lnTo>
                  <a:lnTo>
                    <a:pt x="776008" y="898562"/>
                  </a:lnTo>
                  <a:lnTo>
                    <a:pt x="775444" y="893643"/>
                  </a:lnTo>
                  <a:lnTo>
                    <a:pt x="774605" y="890985"/>
                  </a:lnTo>
                  <a:lnTo>
                    <a:pt x="774550" y="890037"/>
                  </a:lnTo>
                  <a:lnTo>
                    <a:pt x="774868" y="881847"/>
                  </a:lnTo>
                  <a:lnTo>
                    <a:pt x="775211" y="880951"/>
                  </a:lnTo>
                  <a:lnTo>
                    <a:pt x="775831" y="880166"/>
                  </a:lnTo>
                  <a:lnTo>
                    <a:pt x="777986" y="878333"/>
                  </a:lnTo>
                  <a:lnTo>
                    <a:pt x="780458" y="876883"/>
                  </a:lnTo>
                  <a:lnTo>
                    <a:pt x="783998" y="873847"/>
                  </a:lnTo>
                  <a:lnTo>
                    <a:pt x="786567" y="872456"/>
                  </a:lnTo>
                  <a:lnTo>
                    <a:pt x="788725" y="870457"/>
                  </a:lnTo>
                  <a:lnTo>
                    <a:pt x="787461" y="870541"/>
                  </a:lnTo>
                  <a:lnTo>
                    <a:pt x="786531" y="870288"/>
                  </a:lnTo>
                  <a:lnTo>
                    <a:pt x="787449" y="868579"/>
                  </a:lnTo>
                  <a:lnTo>
                    <a:pt x="788433" y="867663"/>
                  </a:lnTo>
                  <a:lnTo>
                    <a:pt x="789569" y="867163"/>
                  </a:lnTo>
                  <a:lnTo>
                    <a:pt x="791854" y="867522"/>
                  </a:lnTo>
                  <a:lnTo>
                    <a:pt x="793965" y="867167"/>
                  </a:lnTo>
                  <a:lnTo>
                    <a:pt x="795526" y="865648"/>
                  </a:lnTo>
                  <a:lnTo>
                    <a:pt x="797010" y="865324"/>
                  </a:lnTo>
                  <a:lnTo>
                    <a:pt x="802646" y="865822"/>
                  </a:lnTo>
                  <a:lnTo>
                    <a:pt x="806554" y="865127"/>
                  </a:lnTo>
                  <a:lnTo>
                    <a:pt x="808513" y="863729"/>
                  </a:lnTo>
                  <a:lnTo>
                    <a:pt x="809437" y="863675"/>
                  </a:lnTo>
                  <a:lnTo>
                    <a:pt x="812325" y="864072"/>
                  </a:lnTo>
                  <a:lnTo>
                    <a:pt x="813394" y="865526"/>
                  </a:lnTo>
                  <a:lnTo>
                    <a:pt x="813298" y="864550"/>
                  </a:lnTo>
                  <a:lnTo>
                    <a:pt x="813422" y="863602"/>
                  </a:lnTo>
                  <a:lnTo>
                    <a:pt x="813952" y="863705"/>
                  </a:lnTo>
                  <a:lnTo>
                    <a:pt x="817725" y="865508"/>
                  </a:lnTo>
                  <a:lnTo>
                    <a:pt x="817738" y="863297"/>
                  </a:lnTo>
                  <a:lnTo>
                    <a:pt x="817950" y="862719"/>
                  </a:lnTo>
                  <a:close/>
                  <a:moveTo>
                    <a:pt x="813235" y="839762"/>
                  </a:moveTo>
                  <a:lnTo>
                    <a:pt x="814059" y="840561"/>
                  </a:lnTo>
                  <a:lnTo>
                    <a:pt x="816252" y="839995"/>
                  </a:lnTo>
                  <a:lnTo>
                    <a:pt x="816650" y="841013"/>
                  </a:lnTo>
                  <a:lnTo>
                    <a:pt x="816635" y="841488"/>
                  </a:lnTo>
                  <a:lnTo>
                    <a:pt x="815862" y="842660"/>
                  </a:lnTo>
                  <a:lnTo>
                    <a:pt x="814048" y="841755"/>
                  </a:lnTo>
                  <a:lnTo>
                    <a:pt x="812236" y="841966"/>
                  </a:lnTo>
                  <a:lnTo>
                    <a:pt x="810932" y="841887"/>
                  </a:lnTo>
                  <a:lnTo>
                    <a:pt x="810571" y="841332"/>
                  </a:lnTo>
                  <a:lnTo>
                    <a:pt x="811570" y="840188"/>
                  </a:lnTo>
                  <a:close/>
                  <a:moveTo>
                    <a:pt x="863264" y="825484"/>
                  </a:moveTo>
                  <a:lnTo>
                    <a:pt x="863178" y="827120"/>
                  </a:lnTo>
                  <a:lnTo>
                    <a:pt x="861008" y="827609"/>
                  </a:lnTo>
                  <a:lnTo>
                    <a:pt x="860552" y="827504"/>
                  </a:lnTo>
                  <a:lnTo>
                    <a:pt x="861304" y="826307"/>
                  </a:lnTo>
                  <a:close/>
                  <a:moveTo>
                    <a:pt x="866235" y="824047"/>
                  </a:moveTo>
                  <a:lnTo>
                    <a:pt x="867497" y="824227"/>
                  </a:lnTo>
                  <a:lnTo>
                    <a:pt x="868017" y="824502"/>
                  </a:lnTo>
                  <a:lnTo>
                    <a:pt x="866912" y="825440"/>
                  </a:lnTo>
                  <a:lnTo>
                    <a:pt x="866649" y="825840"/>
                  </a:lnTo>
                  <a:lnTo>
                    <a:pt x="866418" y="827995"/>
                  </a:lnTo>
                  <a:lnTo>
                    <a:pt x="865994" y="828458"/>
                  </a:lnTo>
                  <a:lnTo>
                    <a:pt x="865350" y="827620"/>
                  </a:lnTo>
                  <a:lnTo>
                    <a:pt x="865163" y="826419"/>
                  </a:lnTo>
                  <a:lnTo>
                    <a:pt x="864702" y="825769"/>
                  </a:lnTo>
                  <a:lnTo>
                    <a:pt x="865761" y="824951"/>
                  </a:lnTo>
                  <a:close/>
                  <a:moveTo>
                    <a:pt x="897312" y="811881"/>
                  </a:moveTo>
                  <a:lnTo>
                    <a:pt x="898626" y="812649"/>
                  </a:lnTo>
                  <a:lnTo>
                    <a:pt x="898553" y="813346"/>
                  </a:lnTo>
                  <a:lnTo>
                    <a:pt x="898299" y="813880"/>
                  </a:lnTo>
                  <a:lnTo>
                    <a:pt x="897750" y="814238"/>
                  </a:lnTo>
                  <a:lnTo>
                    <a:pt x="896236" y="812538"/>
                  </a:lnTo>
                  <a:lnTo>
                    <a:pt x="896141" y="811983"/>
                  </a:lnTo>
                  <a:close/>
                  <a:moveTo>
                    <a:pt x="894139" y="811027"/>
                  </a:moveTo>
                  <a:lnTo>
                    <a:pt x="893241" y="812324"/>
                  </a:lnTo>
                  <a:lnTo>
                    <a:pt x="893118" y="813881"/>
                  </a:lnTo>
                  <a:lnTo>
                    <a:pt x="890456" y="813883"/>
                  </a:lnTo>
                  <a:lnTo>
                    <a:pt x="889885" y="813650"/>
                  </a:lnTo>
                  <a:lnTo>
                    <a:pt x="889604" y="813157"/>
                  </a:lnTo>
                  <a:lnTo>
                    <a:pt x="890549" y="812261"/>
                  </a:lnTo>
                  <a:close/>
                  <a:moveTo>
                    <a:pt x="881336" y="797740"/>
                  </a:moveTo>
                  <a:lnTo>
                    <a:pt x="882565" y="798963"/>
                  </a:lnTo>
                  <a:lnTo>
                    <a:pt x="883334" y="800078"/>
                  </a:lnTo>
                  <a:lnTo>
                    <a:pt x="883520" y="801155"/>
                  </a:lnTo>
                  <a:lnTo>
                    <a:pt x="881794" y="799516"/>
                  </a:lnTo>
                  <a:lnTo>
                    <a:pt x="881302" y="799421"/>
                  </a:lnTo>
                  <a:lnTo>
                    <a:pt x="880477" y="798811"/>
                  </a:lnTo>
                  <a:lnTo>
                    <a:pt x="879997" y="797780"/>
                  </a:lnTo>
                  <a:close/>
                  <a:moveTo>
                    <a:pt x="983911" y="759208"/>
                  </a:moveTo>
                  <a:lnTo>
                    <a:pt x="985391" y="760002"/>
                  </a:lnTo>
                  <a:lnTo>
                    <a:pt x="985663" y="760524"/>
                  </a:lnTo>
                  <a:lnTo>
                    <a:pt x="984922" y="761935"/>
                  </a:lnTo>
                  <a:lnTo>
                    <a:pt x="983618" y="761700"/>
                  </a:lnTo>
                  <a:lnTo>
                    <a:pt x="983579" y="760698"/>
                  </a:lnTo>
                  <a:lnTo>
                    <a:pt x="983313" y="760403"/>
                  </a:lnTo>
                  <a:lnTo>
                    <a:pt x="983672" y="759469"/>
                  </a:lnTo>
                  <a:close/>
                  <a:moveTo>
                    <a:pt x="1020930" y="733290"/>
                  </a:moveTo>
                  <a:lnTo>
                    <a:pt x="1021362" y="733997"/>
                  </a:lnTo>
                  <a:lnTo>
                    <a:pt x="1022053" y="734371"/>
                  </a:lnTo>
                  <a:lnTo>
                    <a:pt x="1022266" y="734756"/>
                  </a:lnTo>
                  <a:lnTo>
                    <a:pt x="1022273" y="735497"/>
                  </a:lnTo>
                  <a:lnTo>
                    <a:pt x="1021619" y="736721"/>
                  </a:lnTo>
                  <a:lnTo>
                    <a:pt x="1022134" y="737386"/>
                  </a:lnTo>
                  <a:lnTo>
                    <a:pt x="1021880" y="737920"/>
                  </a:lnTo>
                  <a:lnTo>
                    <a:pt x="1020239" y="739012"/>
                  </a:lnTo>
                  <a:lnTo>
                    <a:pt x="1019213" y="738492"/>
                  </a:lnTo>
                  <a:lnTo>
                    <a:pt x="1019193" y="737029"/>
                  </a:lnTo>
                  <a:lnTo>
                    <a:pt x="1019716" y="735711"/>
                  </a:lnTo>
                  <a:lnTo>
                    <a:pt x="1019118" y="734761"/>
                  </a:lnTo>
                  <a:lnTo>
                    <a:pt x="1019706" y="733629"/>
                  </a:lnTo>
                  <a:close/>
                  <a:moveTo>
                    <a:pt x="1052495" y="672636"/>
                  </a:moveTo>
                  <a:lnTo>
                    <a:pt x="1053135" y="673189"/>
                  </a:lnTo>
                  <a:lnTo>
                    <a:pt x="1053502" y="674053"/>
                  </a:lnTo>
                  <a:lnTo>
                    <a:pt x="1053511" y="675460"/>
                  </a:lnTo>
                  <a:lnTo>
                    <a:pt x="1051585" y="676032"/>
                  </a:lnTo>
                  <a:lnTo>
                    <a:pt x="1050861" y="676030"/>
                  </a:lnTo>
                  <a:lnTo>
                    <a:pt x="1050916" y="674291"/>
                  </a:lnTo>
                  <a:close/>
                  <a:moveTo>
                    <a:pt x="1072710" y="634678"/>
                  </a:moveTo>
                  <a:lnTo>
                    <a:pt x="1073714" y="636646"/>
                  </a:lnTo>
                  <a:lnTo>
                    <a:pt x="1073880" y="637172"/>
                  </a:lnTo>
                  <a:lnTo>
                    <a:pt x="1073803" y="637625"/>
                  </a:lnTo>
                  <a:lnTo>
                    <a:pt x="1071917" y="636053"/>
                  </a:lnTo>
                  <a:lnTo>
                    <a:pt x="1071008" y="635796"/>
                  </a:lnTo>
                  <a:lnTo>
                    <a:pt x="1071442" y="634907"/>
                  </a:lnTo>
                  <a:close/>
                  <a:moveTo>
                    <a:pt x="1077826" y="630494"/>
                  </a:moveTo>
                  <a:lnTo>
                    <a:pt x="1078944" y="630614"/>
                  </a:lnTo>
                  <a:lnTo>
                    <a:pt x="1078995" y="632014"/>
                  </a:lnTo>
                  <a:lnTo>
                    <a:pt x="1078777" y="633133"/>
                  </a:lnTo>
                  <a:lnTo>
                    <a:pt x="1078192" y="632974"/>
                  </a:lnTo>
                  <a:lnTo>
                    <a:pt x="1077402" y="630984"/>
                  </a:lnTo>
                  <a:close/>
                  <a:moveTo>
                    <a:pt x="1069389" y="625944"/>
                  </a:moveTo>
                  <a:lnTo>
                    <a:pt x="1072509" y="626026"/>
                  </a:lnTo>
                  <a:lnTo>
                    <a:pt x="1076355" y="627764"/>
                  </a:lnTo>
                  <a:lnTo>
                    <a:pt x="1077191" y="628650"/>
                  </a:lnTo>
                  <a:lnTo>
                    <a:pt x="1076608" y="630295"/>
                  </a:lnTo>
                  <a:lnTo>
                    <a:pt x="1076290" y="630769"/>
                  </a:lnTo>
                  <a:lnTo>
                    <a:pt x="1073554" y="629379"/>
                  </a:lnTo>
                  <a:lnTo>
                    <a:pt x="1070596" y="629088"/>
                  </a:lnTo>
                  <a:lnTo>
                    <a:pt x="1069574" y="627865"/>
                  </a:lnTo>
                  <a:close/>
                  <a:moveTo>
                    <a:pt x="1052621" y="585460"/>
                  </a:moveTo>
                  <a:lnTo>
                    <a:pt x="1055448" y="585656"/>
                  </a:lnTo>
                  <a:lnTo>
                    <a:pt x="1058216" y="586658"/>
                  </a:lnTo>
                  <a:lnTo>
                    <a:pt x="1058827" y="588194"/>
                  </a:lnTo>
                  <a:lnTo>
                    <a:pt x="1059944" y="588677"/>
                  </a:lnTo>
                  <a:lnTo>
                    <a:pt x="1060701" y="589573"/>
                  </a:lnTo>
                  <a:lnTo>
                    <a:pt x="1065825" y="591655"/>
                  </a:lnTo>
                  <a:lnTo>
                    <a:pt x="1066608" y="592286"/>
                  </a:lnTo>
                  <a:lnTo>
                    <a:pt x="1067029" y="593118"/>
                  </a:lnTo>
                  <a:lnTo>
                    <a:pt x="1065210" y="593815"/>
                  </a:lnTo>
                  <a:lnTo>
                    <a:pt x="1059449" y="591717"/>
                  </a:lnTo>
                  <a:lnTo>
                    <a:pt x="1055391" y="589416"/>
                  </a:lnTo>
                  <a:lnTo>
                    <a:pt x="1052969" y="586617"/>
                  </a:lnTo>
                  <a:close/>
                  <a:moveTo>
                    <a:pt x="1099022" y="0"/>
                  </a:moveTo>
                  <a:lnTo>
                    <a:pt x="1101553" y="749"/>
                  </a:lnTo>
                  <a:lnTo>
                    <a:pt x="1102999" y="789"/>
                  </a:lnTo>
                  <a:lnTo>
                    <a:pt x="1104001" y="879"/>
                  </a:lnTo>
                  <a:lnTo>
                    <a:pt x="1104554" y="873"/>
                  </a:lnTo>
                  <a:lnTo>
                    <a:pt x="1105616" y="274"/>
                  </a:lnTo>
                  <a:lnTo>
                    <a:pt x="1108560" y="1345"/>
                  </a:lnTo>
                  <a:lnTo>
                    <a:pt x="1114172" y="4519"/>
                  </a:lnTo>
                  <a:lnTo>
                    <a:pt x="1117701" y="5931"/>
                  </a:lnTo>
                  <a:lnTo>
                    <a:pt x="1119152" y="5587"/>
                  </a:lnTo>
                  <a:lnTo>
                    <a:pt x="1120732" y="6467"/>
                  </a:lnTo>
                  <a:lnTo>
                    <a:pt x="1122451" y="8569"/>
                  </a:lnTo>
                  <a:lnTo>
                    <a:pt x="1124591" y="9810"/>
                  </a:lnTo>
                  <a:lnTo>
                    <a:pt x="1128437" y="10380"/>
                  </a:lnTo>
                  <a:lnTo>
                    <a:pt x="1132250" y="12685"/>
                  </a:lnTo>
                  <a:lnTo>
                    <a:pt x="1133794" y="12808"/>
                  </a:lnTo>
                  <a:lnTo>
                    <a:pt x="1134336" y="11521"/>
                  </a:lnTo>
                  <a:lnTo>
                    <a:pt x="1135758" y="10781"/>
                  </a:lnTo>
                  <a:lnTo>
                    <a:pt x="1138059" y="10590"/>
                  </a:lnTo>
                  <a:lnTo>
                    <a:pt x="1141389" y="11726"/>
                  </a:lnTo>
                  <a:lnTo>
                    <a:pt x="1145742" y="14188"/>
                  </a:lnTo>
                  <a:lnTo>
                    <a:pt x="1148474" y="15270"/>
                  </a:lnTo>
                  <a:lnTo>
                    <a:pt x="1149579" y="14975"/>
                  </a:lnTo>
                  <a:lnTo>
                    <a:pt x="1150752" y="15430"/>
                  </a:lnTo>
                  <a:lnTo>
                    <a:pt x="1151695" y="16585"/>
                  </a:lnTo>
                  <a:lnTo>
                    <a:pt x="1151776" y="18005"/>
                  </a:lnTo>
                  <a:lnTo>
                    <a:pt x="1151454" y="18767"/>
                  </a:lnTo>
                  <a:lnTo>
                    <a:pt x="1152502" y="19966"/>
                  </a:lnTo>
                  <a:lnTo>
                    <a:pt x="1153710" y="19966"/>
                  </a:lnTo>
                  <a:lnTo>
                    <a:pt x="1155680" y="20540"/>
                  </a:lnTo>
                  <a:lnTo>
                    <a:pt x="1157221" y="22657"/>
                  </a:lnTo>
                  <a:lnTo>
                    <a:pt x="1158608" y="23637"/>
                  </a:lnTo>
                  <a:lnTo>
                    <a:pt x="1159577" y="24485"/>
                  </a:lnTo>
                  <a:lnTo>
                    <a:pt x="1159752" y="25189"/>
                  </a:lnTo>
                  <a:lnTo>
                    <a:pt x="1159843" y="25901"/>
                  </a:lnTo>
                  <a:lnTo>
                    <a:pt x="1159554" y="26453"/>
                  </a:lnTo>
                  <a:lnTo>
                    <a:pt x="1159027" y="27362"/>
                  </a:lnTo>
                  <a:lnTo>
                    <a:pt x="1158867" y="28339"/>
                  </a:lnTo>
                  <a:lnTo>
                    <a:pt x="1159528" y="29438"/>
                  </a:lnTo>
                  <a:lnTo>
                    <a:pt x="1161976" y="30233"/>
                  </a:lnTo>
                  <a:lnTo>
                    <a:pt x="1162813" y="31051"/>
                  </a:lnTo>
                  <a:lnTo>
                    <a:pt x="1163000" y="32102"/>
                  </a:lnTo>
                  <a:lnTo>
                    <a:pt x="1163767" y="33262"/>
                  </a:lnTo>
                  <a:lnTo>
                    <a:pt x="1165432" y="34602"/>
                  </a:lnTo>
                  <a:lnTo>
                    <a:pt x="1166068" y="35723"/>
                  </a:lnTo>
                  <a:lnTo>
                    <a:pt x="1165682" y="36625"/>
                  </a:lnTo>
                  <a:lnTo>
                    <a:pt x="1166170" y="37379"/>
                  </a:lnTo>
                  <a:lnTo>
                    <a:pt x="1166993" y="37964"/>
                  </a:lnTo>
                  <a:lnTo>
                    <a:pt x="1167170" y="40101"/>
                  </a:lnTo>
                  <a:lnTo>
                    <a:pt x="1167243" y="41331"/>
                  </a:lnTo>
                  <a:lnTo>
                    <a:pt x="1168587" y="42709"/>
                  </a:lnTo>
                  <a:lnTo>
                    <a:pt x="1168863" y="45526"/>
                  </a:lnTo>
                  <a:lnTo>
                    <a:pt x="1169802" y="48644"/>
                  </a:lnTo>
                  <a:lnTo>
                    <a:pt x="1172968" y="52910"/>
                  </a:lnTo>
                  <a:lnTo>
                    <a:pt x="1174009" y="55217"/>
                  </a:lnTo>
                  <a:lnTo>
                    <a:pt x="1173741" y="57959"/>
                  </a:lnTo>
                  <a:lnTo>
                    <a:pt x="1174195" y="59242"/>
                  </a:lnTo>
                  <a:lnTo>
                    <a:pt x="1175639" y="59866"/>
                  </a:lnTo>
                  <a:lnTo>
                    <a:pt x="1176323" y="61025"/>
                  </a:lnTo>
                  <a:lnTo>
                    <a:pt x="1176241" y="62717"/>
                  </a:lnTo>
                  <a:lnTo>
                    <a:pt x="1176807" y="63768"/>
                  </a:lnTo>
                  <a:lnTo>
                    <a:pt x="1177259" y="64886"/>
                  </a:lnTo>
                  <a:lnTo>
                    <a:pt x="1176950" y="66625"/>
                  </a:lnTo>
                  <a:lnTo>
                    <a:pt x="1177406" y="68194"/>
                  </a:lnTo>
                  <a:lnTo>
                    <a:pt x="1178142" y="69109"/>
                  </a:lnTo>
                  <a:lnTo>
                    <a:pt x="1178669" y="70802"/>
                  </a:lnTo>
                  <a:lnTo>
                    <a:pt x="1178962" y="72913"/>
                  </a:lnTo>
                  <a:lnTo>
                    <a:pt x="1181077" y="76253"/>
                  </a:lnTo>
                  <a:lnTo>
                    <a:pt x="1185009" y="80817"/>
                  </a:lnTo>
                  <a:lnTo>
                    <a:pt x="1187414" y="84356"/>
                  </a:lnTo>
                  <a:lnTo>
                    <a:pt x="1188296" y="86876"/>
                  </a:lnTo>
                  <a:lnTo>
                    <a:pt x="1188302" y="88947"/>
                  </a:lnTo>
                  <a:lnTo>
                    <a:pt x="1187441" y="90571"/>
                  </a:lnTo>
                  <a:lnTo>
                    <a:pt x="1187392" y="91751"/>
                  </a:lnTo>
                  <a:lnTo>
                    <a:pt x="1188161" y="92490"/>
                  </a:lnTo>
                  <a:lnTo>
                    <a:pt x="1188390" y="93489"/>
                  </a:lnTo>
                  <a:lnTo>
                    <a:pt x="1188081" y="94749"/>
                  </a:lnTo>
                  <a:lnTo>
                    <a:pt x="1189366" y="96243"/>
                  </a:lnTo>
                  <a:lnTo>
                    <a:pt x="1193677" y="98837"/>
                  </a:lnTo>
                  <a:lnTo>
                    <a:pt x="1191953" y="102807"/>
                  </a:lnTo>
                  <a:lnTo>
                    <a:pt x="1191499" y="105597"/>
                  </a:lnTo>
                  <a:lnTo>
                    <a:pt x="1191735" y="108528"/>
                  </a:lnTo>
                  <a:lnTo>
                    <a:pt x="1192804" y="110592"/>
                  </a:lnTo>
                  <a:lnTo>
                    <a:pt x="1194704" y="111789"/>
                  </a:lnTo>
                  <a:lnTo>
                    <a:pt x="1195886" y="113040"/>
                  </a:lnTo>
                  <a:lnTo>
                    <a:pt x="1196350" y="114340"/>
                  </a:lnTo>
                  <a:lnTo>
                    <a:pt x="1198630" y="115761"/>
                  </a:lnTo>
                  <a:lnTo>
                    <a:pt x="1202729" y="117298"/>
                  </a:lnTo>
                  <a:lnTo>
                    <a:pt x="1207980" y="117566"/>
                  </a:lnTo>
                  <a:lnTo>
                    <a:pt x="1214385" y="116562"/>
                  </a:lnTo>
                  <a:lnTo>
                    <a:pt x="1218305" y="116392"/>
                  </a:lnTo>
                  <a:lnTo>
                    <a:pt x="1219742" y="117058"/>
                  </a:lnTo>
                  <a:lnTo>
                    <a:pt x="1220228" y="118067"/>
                  </a:lnTo>
                  <a:lnTo>
                    <a:pt x="1219770" y="119419"/>
                  </a:lnTo>
                  <a:lnTo>
                    <a:pt x="1220854" y="120307"/>
                  </a:lnTo>
                  <a:lnTo>
                    <a:pt x="1223484" y="120733"/>
                  </a:lnTo>
                  <a:lnTo>
                    <a:pt x="1225298" y="121584"/>
                  </a:lnTo>
                  <a:lnTo>
                    <a:pt x="1226289" y="122862"/>
                  </a:lnTo>
                  <a:lnTo>
                    <a:pt x="1227506" y="123223"/>
                  </a:lnTo>
                  <a:lnTo>
                    <a:pt x="1228943" y="122669"/>
                  </a:lnTo>
                  <a:lnTo>
                    <a:pt x="1230343" y="122748"/>
                  </a:lnTo>
                  <a:lnTo>
                    <a:pt x="1231701" y="123458"/>
                  </a:lnTo>
                  <a:lnTo>
                    <a:pt x="1232591" y="123215"/>
                  </a:lnTo>
                  <a:lnTo>
                    <a:pt x="1233355" y="122438"/>
                  </a:lnTo>
                  <a:lnTo>
                    <a:pt x="1234594" y="122438"/>
                  </a:lnTo>
                  <a:lnTo>
                    <a:pt x="1235864" y="122457"/>
                  </a:lnTo>
                  <a:lnTo>
                    <a:pt x="1236650" y="124330"/>
                  </a:lnTo>
                  <a:lnTo>
                    <a:pt x="1237927" y="125383"/>
                  </a:lnTo>
                  <a:lnTo>
                    <a:pt x="1239689" y="125616"/>
                  </a:lnTo>
                  <a:lnTo>
                    <a:pt x="1242374" y="127895"/>
                  </a:lnTo>
                  <a:lnTo>
                    <a:pt x="1247782" y="134367"/>
                  </a:lnTo>
                  <a:lnTo>
                    <a:pt x="1251296" y="136665"/>
                  </a:lnTo>
                  <a:lnTo>
                    <a:pt x="1254817" y="137386"/>
                  </a:lnTo>
                  <a:lnTo>
                    <a:pt x="1259193" y="137534"/>
                  </a:lnTo>
                  <a:lnTo>
                    <a:pt x="1260609" y="140039"/>
                  </a:lnTo>
                  <a:lnTo>
                    <a:pt x="1259469" y="142686"/>
                  </a:lnTo>
                  <a:lnTo>
                    <a:pt x="1259170" y="144893"/>
                  </a:lnTo>
                  <a:lnTo>
                    <a:pt x="1260168" y="145683"/>
                  </a:lnTo>
                  <a:lnTo>
                    <a:pt x="1261538" y="148273"/>
                  </a:lnTo>
                  <a:lnTo>
                    <a:pt x="1263476" y="149777"/>
                  </a:lnTo>
                  <a:lnTo>
                    <a:pt x="1263844" y="150966"/>
                  </a:lnTo>
                  <a:lnTo>
                    <a:pt x="1264746" y="152295"/>
                  </a:lnTo>
                  <a:lnTo>
                    <a:pt x="1264368" y="154756"/>
                  </a:lnTo>
                  <a:lnTo>
                    <a:pt x="1262708" y="158345"/>
                  </a:lnTo>
                  <a:lnTo>
                    <a:pt x="1263162" y="161406"/>
                  </a:lnTo>
                  <a:lnTo>
                    <a:pt x="1265726" y="163939"/>
                  </a:lnTo>
                  <a:lnTo>
                    <a:pt x="1267204" y="166377"/>
                  </a:lnTo>
                  <a:lnTo>
                    <a:pt x="1267588" y="168717"/>
                  </a:lnTo>
                  <a:lnTo>
                    <a:pt x="1268231" y="170137"/>
                  </a:lnTo>
                  <a:lnTo>
                    <a:pt x="1269134" y="170640"/>
                  </a:lnTo>
                  <a:lnTo>
                    <a:pt x="1271769" y="170466"/>
                  </a:lnTo>
                  <a:lnTo>
                    <a:pt x="1276134" y="169617"/>
                  </a:lnTo>
                  <a:lnTo>
                    <a:pt x="1279339" y="169764"/>
                  </a:lnTo>
                  <a:lnTo>
                    <a:pt x="1281384" y="170905"/>
                  </a:lnTo>
                  <a:lnTo>
                    <a:pt x="1286437" y="170948"/>
                  </a:lnTo>
                  <a:lnTo>
                    <a:pt x="1294498" y="169894"/>
                  </a:lnTo>
                  <a:lnTo>
                    <a:pt x="1299592" y="169570"/>
                  </a:lnTo>
                  <a:lnTo>
                    <a:pt x="1301717" y="169978"/>
                  </a:lnTo>
                  <a:lnTo>
                    <a:pt x="1303611" y="168473"/>
                  </a:lnTo>
                  <a:lnTo>
                    <a:pt x="1305269" y="165048"/>
                  </a:lnTo>
                  <a:lnTo>
                    <a:pt x="1306824" y="163437"/>
                  </a:lnTo>
                  <a:lnTo>
                    <a:pt x="1308275" y="163639"/>
                  </a:lnTo>
                  <a:lnTo>
                    <a:pt x="1310581" y="162539"/>
                  </a:lnTo>
                  <a:lnTo>
                    <a:pt x="1313742" y="160131"/>
                  </a:lnTo>
                  <a:lnTo>
                    <a:pt x="1316483" y="158966"/>
                  </a:lnTo>
                  <a:lnTo>
                    <a:pt x="1319957" y="159083"/>
                  </a:lnTo>
                  <a:lnTo>
                    <a:pt x="1323654" y="159206"/>
                  </a:lnTo>
                  <a:lnTo>
                    <a:pt x="1325973" y="158193"/>
                  </a:lnTo>
                  <a:lnTo>
                    <a:pt x="1328152" y="156082"/>
                  </a:lnTo>
                  <a:lnTo>
                    <a:pt x="1331920" y="154214"/>
                  </a:lnTo>
                  <a:lnTo>
                    <a:pt x="1339961" y="151774"/>
                  </a:lnTo>
                  <a:lnTo>
                    <a:pt x="1341897" y="151391"/>
                  </a:lnTo>
                  <a:lnTo>
                    <a:pt x="1342816" y="151521"/>
                  </a:lnTo>
                  <a:lnTo>
                    <a:pt x="1345496" y="151904"/>
                  </a:lnTo>
                  <a:lnTo>
                    <a:pt x="1347871" y="152855"/>
                  </a:lnTo>
                  <a:lnTo>
                    <a:pt x="1350120" y="154775"/>
                  </a:lnTo>
                  <a:lnTo>
                    <a:pt x="1350465" y="156004"/>
                  </a:lnTo>
                  <a:lnTo>
                    <a:pt x="1350210" y="157619"/>
                  </a:lnTo>
                  <a:lnTo>
                    <a:pt x="1349722" y="158556"/>
                  </a:lnTo>
                  <a:lnTo>
                    <a:pt x="1348796" y="159609"/>
                  </a:lnTo>
                  <a:lnTo>
                    <a:pt x="1347925" y="161314"/>
                  </a:lnTo>
                  <a:lnTo>
                    <a:pt x="1348485" y="162649"/>
                  </a:lnTo>
                  <a:lnTo>
                    <a:pt x="1349790" y="165494"/>
                  </a:lnTo>
                  <a:lnTo>
                    <a:pt x="1350858" y="167546"/>
                  </a:lnTo>
                  <a:lnTo>
                    <a:pt x="1352046" y="169966"/>
                  </a:lnTo>
                  <a:lnTo>
                    <a:pt x="1351510" y="170837"/>
                  </a:lnTo>
                  <a:lnTo>
                    <a:pt x="1350796" y="172512"/>
                  </a:lnTo>
                  <a:lnTo>
                    <a:pt x="1348593" y="175348"/>
                  </a:lnTo>
                  <a:lnTo>
                    <a:pt x="1347392" y="176435"/>
                  </a:lnTo>
                  <a:lnTo>
                    <a:pt x="1346101" y="177495"/>
                  </a:lnTo>
                  <a:lnTo>
                    <a:pt x="1343868" y="177751"/>
                  </a:lnTo>
                  <a:lnTo>
                    <a:pt x="1342916" y="177996"/>
                  </a:lnTo>
                  <a:lnTo>
                    <a:pt x="1341840" y="178442"/>
                  </a:lnTo>
                  <a:lnTo>
                    <a:pt x="1341161" y="179446"/>
                  </a:lnTo>
                  <a:lnTo>
                    <a:pt x="1340389" y="180150"/>
                  </a:lnTo>
                  <a:lnTo>
                    <a:pt x="1339117" y="181563"/>
                  </a:lnTo>
                  <a:lnTo>
                    <a:pt x="1339013" y="182779"/>
                  </a:lnTo>
                  <a:lnTo>
                    <a:pt x="1339595" y="184584"/>
                  </a:lnTo>
                  <a:lnTo>
                    <a:pt x="1339880" y="186433"/>
                  </a:lnTo>
                  <a:lnTo>
                    <a:pt x="1338438" y="188084"/>
                  </a:lnTo>
                  <a:lnTo>
                    <a:pt x="1337321" y="190621"/>
                  </a:lnTo>
                  <a:lnTo>
                    <a:pt x="1336988" y="191384"/>
                  </a:lnTo>
                  <a:lnTo>
                    <a:pt x="1336427" y="193302"/>
                  </a:lnTo>
                  <a:lnTo>
                    <a:pt x="1336262" y="193966"/>
                  </a:lnTo>
                  <a:lnTo>
                    <a:pt x="1335911" y="198003"/>
                  </a:lnTo>
                  <a:lnTo>
                    <a:pt x="1334470" y="200754"/>
                  </a:lnTo>
                  <a:lnTo>
                    <a:pt x="1332460" y="203952"/>
                  </a:lnTo>
                  <a:lnTo>
                    <a:pt x="1332905" y="205855"/>
                  </a:lnTo>
                  <a:lnTo>
                    <a:pt x="1333260" y="207619"/>
                  </a:lnTo>
                  <a:lnTo>
                    <a:pt x="1332763" y="208475"/>
                  </a:lnTo>
                  <a:lnTo>
                    <a:pt x="1332641" y="209222"/>
                  </a:lnTo>
                  <a:lnTo>
                    <a:pt x="1332343" y="210921"/>
                  </a:lnTo>
                  <a:lnTo>
                    <a:pt x="1331712" y="211571"/>
                  </a:lnTo>
                  <a:lnTo>
                    <a:pt x="1329886" y="212632"/>
                  </a:lnTo>
                  <a:lnTo>
                    <a:pt x="1328791" y="213909"/>
                  </a:lnTo>
                  <a:lnTo>
                    <a:pt x="1329023" y="215848"/>
                  </a:lnTo>
                  <a:lnTo>
                    <a:pt x="1328461" y="217525"/>
                  </a:lnTo>
                  <a:lnTo>
                    <a:pt x="1327623" y="219008"/>
                  </a:lnTo>
                  <a:lnTo>
                    <a:pt x="1326742" y="219971"/>
                  </a:lnTo>
                  <a:lnTo>
                    <a:pt x="1325486" y="220592"/>
                  </a:lnTo>
                  <a:lnTo>
                    <a:pt x="1324643" y="221116"/>
                  </a:lnTo>
                  <a:lnTo>
                    <a:pt x="1324014" y="223001"/>
                  </a:lnTo>
                  <a:lnTo>
                    <a:pt x="1323818" y="224455"/>
                  </a:lnTo>
                  <a:lnTo>
                    <a:pt x="1323229" y="225903"/>
                  </a:lnTo>
                  <a:lnTo>
                    <a:pt x="1323593" y="227385"/>
                  </a:lnTo>
                  <a:lnTo>
                    <a:pt x="1322948" y="228666"/>
                  </a:lnTo>
                  <a:lnTo>
                    <a:pt x="1321158" y="229559"/>
                  </a:lnTo>
                  <a:lnTo>
                    <a:pt x="1320143" y="230084"/>
                  </a:lnTo>
                  <a:lnTo>
                    <a:pt x="1319202" y="230299"/>
                  </a:lnTo>
                  <a:lnTo>
                    <a:pt x="1317412" y="231685"/>
                  </a:lnTo>
                  <a:lnTo>
                    <a:pt x="1315805" y="236444"/>
                  </a:lnTo>
                  <a:lnTo>
                    <a:pt x="1315440" y="239211"/>
                  </a:lnTo>
                  <a:lnTo>
                    <a:pt x="1315807" y="241669"/>
                  </a:lnTo>
                  <a:lnTo>
                    <a:pt x="1313557" y="243205"/>
                  </a:lnTo>
                  <a:lnTo>
                    <a:pt x="1311883" y="244426"/>
                  </a:lnTo>
                  <a:lnTo>
                    <a:pt x="1310838" y="243985"/>
                  </a:lnTo>
                  <a:lnTo>
                    <a:pt x="1309730" y="243572"/>
                  </a:lnTo>
                  <a:lnTo>
                    <a:pt x="1307176" y="243041"/>
                  </a:lnTo>
                  <a:lnTo>
                    <a:pt x="1305904" y="242682"/>
                  </a:lnTo>
                  <a:lnTo>
                    <a:pt x="1303326" y="241885"/>
                  </a:lnTo>
                  <a:lnTo>
                    <a:pt x="1299212" y="240868"/>
                  </a:lnTo>
                  <a:lnTo>
                    <a:pt x="1295195" y="239682"/>
                  </a:lnTo>
                  <a:lnTo>
                    <a:pt x="1292675" y="239061"/>
                  </a:lnTo>
                  <a:lnTo>
                    <a:pt x="1290689" y="238567"/>
                  </a:lnTo>
                  <a:lnTo>
                    <a:pt x="1289179" y="237752"/>
                  </a:lnTo>
                  <a:lnTo>
                    <a:pt x="1287910" y="236295"/>
                  </a:lnTo>
                  <a:lnTo>
                    <a:pt x="1286651" y="236887"/>
                  </a:lnTo>
                  <a:lnTo>
                    <a:pt x="1285483" y="238604"/>
                  </a:lnTo>
                  <a:lnTo>
                    <a:pt x="1283535" y="239625"/>
                  </a:lnTo>
                  <a:lnTo>
                    <a:pt x="1282649" y="241509"/>
                  </a:lnTo>
                  <a:lnTo>
                    <a:pt x="1281870" y="242957"/>
                  </a:lnTo>
                  <a:lnTo>
                    <a:pt x="1279854" y="244885"/>
                  </a:lnTo>
                  <a:lnTo>
                    <a:pt x="1278954" y="245680"/>
                  </a:lnTo>
                  <a:lnTo>
                    <a:pt x="1275005" y="246989"/>
                  </a:lnTo>
                  <a:lnTo>
                    <a:pt x="1274114" y="247425"/>
                  </a:lnTo>
                  <a:lnTo>
                    <a:pt x="1270894" y="247702"/>
                  </a:lnTo>
                  <a:lnTo>
                    <a:pt x="1269803" y="248280"/>
                  </a:lnTo>
                  <a:lnTo>
                    <a:pt x="1268667" y="249495"/>
                  </a:lnTo>
                  <a:lnTo>
                    <a:pt x="1268361" y="250706"/>
                  </a:lnTo>
                  <a:lnTo>
                    <a:pt x="1269160" y="251980"/>
                  </a:lnTo>
                  <a:lnTo>
                    <a:pt x="1270415" y="254530"/>
                  </a:lnTo>
                  <a:lnTo>
                    <a:pt x="1270995" y="256273"/>
                  </a:lnTo>
                  <a:lnTo>
                    <a:pt x="1271855" y="259713"/>
                  </a:lnTo>
                  <a:lnTo>
                    <a:pt x="1274718" y="270501"/>
                  </a:lnTo>
                  <a:lnTo>
                    <a:pt x="1273790" y="272360"/>
                  </a:lnTo>
                  <a:lnTo>
                    <a:pt x="1272926" y="280417"/>
                  </a:lnTo>
                  <a:lnTo>
                    <a:pt x="1273133" y="281870"/>
                  </a:lnTo>
                  <a:lnTo>
                    <a:pt x="1273055" y="284129"/>
                  </a:lnTo>
                  <a:lnTo>
                    <a:pt x="1273107" y="285786"/>
                  </a:lnTo>
                  <a:lnTo>
                    <a:pt x="1273699" y="286194"/>
                  </a:lnTo>
                  <a:lnTo>
                    <a:pt x="1274468" y="286770"/>
                  </a:lnTo>
                  <a:lnTo>
                    <a:pt x="1274862" y="287738"/>
                  </a:lnTo>
                  <a:lnTo>
                    <a:pt x="1274764" y="289218"/>
                  </a:lnTo>
                  <a:lnTo>
                    <a:pt x="1274366" y="290305"/>
                  </a:lnTo>
                  <a:lnTo>
                    <a:pt x="1273759" y="292452"/>
                  </a:lnTo>
                  <a:lnTo>
                    <a:pt x="1272956" y="295555"/>
                  </a:lnTo>
                  <a:lnTo>
                    <a:pt x="1272071" y="296751"/>
                  </a:lnTo>
                  <a:lnTo>
                    <a:pt x="1271483" y="297694"/>
                  </a:lnTo>
                  <a:lnTo>
                    <a:pt x="1270978" y="298347"/>
                  </a:lnTo>
                  <a:lnTo>
                    <a:pt x="1270920" y="300539"/>
                  </a:lnTo>
                  <a:lnTo>
                    <a:pt x="1270590" y="301986"/>
                  </a:lnTo>
                  <a:lnTo>
                    <a:pt x="1269197" y="302499"/>
                  </a:lnTo>
                  <a:lnTo>
                    <a:pt x="1267810" y="303338"/>
                  </a:lnTo>
                  <a:lnTo>
                    <a:pt x="1266167" y="303028"/>
                  </a:lnTo>
                  <a:lnTo>
                    <a:pt x="1264724" y="303202"/>
                  </a:lnTo>
                  <a:lnTo>
                    <a:pt x="1262937" y="303764"/>
                  </a:lnTo>
                  <a:lnTo>
                    <a:pt x="1259725" y="304412"/>
                  </a:lnTo>
                  <a:lnTo>
                    <a:pt x="1257862" y="305281"/>
                  </a:lnTo>
                  <a:lnTo>
                    <a:pt x="1256972" y="305915"/>
                  </a:lnTo>
                  <a:lnTo>
                    <a:pt x="1256354" y="306673"/>
                  </a:lnTo>
                  <a:lnTo>
                    <a:pt x="1256246" y="307400"/>
                  </a:lnTo>
                  <a:lnTo>
                    <a:pt x="1256674" y="307782"/>
                  </a:lnTo>
                  <a:lnTo>
                    <a:pt x="1258473" y="308082"/>
                  </a:lnTo>
                  <a:lnTo>
                    <a:pt x="1259711" y="309447"/>
                  </a:lnTo>
                  <a:lnTo>
                    <a:pt x="1259885" y="310939"/>
                  </a:lnTo>
                  <a:lnTo>
                    <a:pt x="1258614" y="311791"/>
                  </a:lnTo>
                  <a:lnTo>
                    <a:pt x="1257979" y="310854"/>
                  </a:lnTo>
                  <a:lnTo>
                    <a:pt x="1256918" y="310556"/>
                  </a:lnTo>
                  <a:lnTo>
                    <a:pt x="1254938" y="309243"/>
                  </a:lnTo>
                  <a:lnTo>
                    <a:pt x="1253498" y="307798"/>
                  </a:lnTo>
                  <a:lnTo>
                    <a:pt x="1252416" y="306198"/>
                  </a:lnTo>
                  <a:lnTo>
                    <a:pt x="1252464" y="302780"/>
                  </a:lnTo>
                  <a:lnTo>
                    <a:pt x="1252275" y="302266"/>
                  </a:lnTo>
                  <a:lnTo>
                    <a:pt x="1250306" y="301565"/>
                  </a:lnTo>
                  <a:lnTo>
                    <a:pt x="1249721" y="300547"/>
                  </a:lnTo>
                  <a:lnTo>
                    <a:pt x="1248788" y="300060"/>
                  </a:lnTo>
                  <a:lnTo>
                    <a:pt x="1247454" y="300370"/>
                  </a:lnTo>
                  <a:lnTo>
                    <a:pt x="1246452" y="300042"/>
                  </a:lnTo>
                  <a:lnTo>
                    <a:pt x="1245661" y="299484"/>
                  </a:lnTo>
                  <a:lnTo>
                    <a:pt x="1244711" y="299417"/>
                  </a:lnTo>
                  <a:lnTo>
                    <a:pt x="1243888" y="300303"/>
                  </a:lnTo>
                  <a:lnTo>
                    <a:pt x="1243457" y="302201"/>
                  </a:lnTo>
                  <a:lnTo>
                    <a:pt x="1242079" y="305349"/>
                  </a:lnTo>
                  <a:lnTo>
                    <a:pt x="1241952" y="307250"/>
                  </a:lnTo>
                  <a:lnTo>
                    <a:pt x="1241356" y="309965"/>
                  </a:lnTo>
                  <a:lnTo>
                    <a:pt x="1240764" y="313402"/>
                  </a:lnTo>
                  <a:lnTo>
                    <a:pt x="1240280" y="314118"/>
                  </a:lnTo>
                  <a:lnTo>
                    <a:pt x="1238734" y="314221"/>
                  </a:lnTo>
                  <a:lnTo>
                    <a:pt x="1238203" y="314445"/>
                  </a:lnTo>
                  <a:lnTo>
                    <a:pt x="1237400" y="315612"/>
                  </a:lnTo>
                  <a:lnTo>
                    <a:pt x="1236430" y="315810"/>
                  </a:lnTo>
                  <a:lnTo>
                    <a:pt x="1235571" y="315127"/>
                  </a:lnTo>
                  <a:lnTo>
                    <a:pt x="1234217" y="314445"/>
                  </a:lnTo>
                  <a:lnTo>
                    <a:pt x="1232939" y="314356"/>
                  </a:lnTo>
                  <a:lnTo>
                    <a:pt x="1231785" y="315040"/>
                  </a:lnTo>
                  <a:lnTo>
                    <a:pt x="1230433" y="316524"/>
                  </a:lnTo>
                  <a:lnTo>
                    <a:pt x="1229664" y="317727"/>
                  </a:lnTo>
                  <a:lnTo>
                    <a:pt x="1229390" y="318848"/>
                  </a:lnTo>
                  <a:lnTo>
                    <a:pt x="1229172" y="320235"/>
                  </a:lnTo>
                  <a:lnTo>
                    <a:pt x="1227806" y="321563"/>
                  </a:lnTo>
                  <a:lnTo>
                    <a:pt x="1226558" y="322258"/>
                  </a:lnTo>
                  <a:lnTo>
                    <a:pt x="1223979" y="324213"/>
                  </a:lnTo>
                  <a:lnTo>
                    <a:pt x="1223156" y="325025"/>
                  </a:lnTo>
                  <a:lnTo>
                    <a:pt x="1221307" y="325036"/>
                  </a:lnTo>
                  <a:lnTo>
                    <a:pt x="1219300" y="324960"/>
                  </a:lnTo>
                  <a:lnTo>
                    <a:pt x="1216596" y="325487"/>
                  </a:lnTo>
                  <a:lnTo>
                    <a:pt x="1212184" y="325755"/>
                  </a:lnTo>
                  <a:lnTo>
                    <a:pt x="1209544" y="325360"/>
                  </a:lnTo>
                  <a:lnTo>
                    <a:pt x="1206278" y="325732"/>
                  </a:lnTo>
                  <a:lnTo>
                    <a:pt x="1203737" y="326372"/>
                  </a:lnTo>
                  <a:lnTo>
                    <a:pt x="1203372" y="327325"/>
                  </a:lnTo>
                  <a:lnTo>
                    <a:pt x="1203465" y="328734"/>
                  </a:lnTo>
                  <a:lnTo>
                    <a:pt x="1203977" y="329655"/>
                  </a:lnTo>
                  <a:lnTo>
                    <a:pt x="1204598" y="330269"/>
                  </a:lnTo>
                  <a:lnTo>
                    <a:pt x="1205654" y="332163"/>
                  </a:lnTo>
                  <a:lnTo>
                    <a:pt x="1206756" y="333992"/>
                  </a:lnTo>
                  <a:lnTo>
                    <a:pt x="1208438" y="335175"/>
                  </a:lnTo>
                  <a:lnTo>
                    <a:pt x="1209133" y="336443"/>
                  </a:lnTo>
                  <a:lnTo>
                    <a:pt x="1209170" y="337624"/>
                  </a:lnTo>
                  <a:lnTo>
                    <a:pt x="1208373" y="339111"/>
                  </a:lnTo>
                  <a:lnTo>
                    <a:pt x="1207166" y="341053"/>
                  </a:lnTo>
                  <a:lnTo>
                    <a:pt x="1206041" y="342249"/>
                  </a:lnTo>
                  <a:lnTo>
                    <a:pt x="1205197" y="342209"/>
                  </a:lnTo>
                  <a:lnTo>
                    <a:pt x="1203903" y="341513"/>
                  </a:lnTo>
                  <a:lnTo>
                    <a:pt x="1203026" y="340639"/>
                  </a:lnTo>
                  <a:lnTo>
                    <a:pt x="1200938" y="340311"/>
                  </a:lnTo>
                  <a:lnTo>
                    <a:pt x="1195832" y="340869"/>
                  </a:lnTo>
                  <a:lnTo>
                    <a:pt x="1193277" y="340480"/>
                  </a:lnTo>
                  <a:lnTo>
                    <a:pt x="1192057" y="339766"/>
                  </a:lnTo>
                  <a:lnTo>
                    <a:pt x="1189919" y="339712"/>
                  </a:lnTo>
                  <a:lnTo>
                    <a:pt x="1186613" y="338760"/>
                  </a:lnTo>
                  <a:lnTo>
                    <a:pt x="1184598" y="338455"/>
                  </a:lnTo>
                  <a:lnTo>
                    <a:pt x="1183649" y="337842"/>
                  </a:lnTo>
                  <a:lnTo>
                    <a:pt x="1183465" y="336443"/>
                  </a:lnTo>
                  <a:lnTo>
                    <a:pt x="1182512" y="335481"/>
                  </a:lnTo>
                  <a:lnTo>
                    <a:pt x="1181981" y="334328"/>
                  </a:lnTo>
                  <a:lnTo>
                    <a:pt x="1180778" y="332880"/>
                  </a:lnTo>
                  <a:lnTo>
                    <a:pt x="1179626" y="332153"/>
                  </a:lnTo>
                  <a:lnTo>
                    <a:pt x="1178491" y="331847"/>
                  </a:lnTo>
                  <a:lnTo>
                    <a:pt x="1177248" y="332723"/>
                  </a:lnTo>
                  <a:lnTo>
                    <a:pt x="1175930" y="333511"/>
                  </a:lnTo>
                  <a:lnTo>
                    <a:pt x="1174944" y="333336"/>
                  </a:lnTo>
                  <a:lnTo>
                    <a:pt x="1174468" y="333555"/>
                  </a:lnTo>
                  <a:lnTo>
                    <a:pt x="1173924" y="334208"/>
                  </a:lnTo>
                  <a:lnTo>
                    <a:pt x="1171808" y="335556"/>
                  </a:lnTo>
                  <a:lnTo>
                    <a:pt x="1171301" y="336790"/>
                  </a:lnTo>
                  <a:lnTo>
                    <a:pt x="1170456" y="339401"/>
                  </a:lnTo>
                  <a:lnTo>
                    <a:pt x="1169869" y="342083"/>
                  </a:lnTo>
                  <a:lnTo>
                    <a:pt x="1169357" y="343032"/>
                  </a:lnTo>
                  <a:lnTo>
                    <a:pt x="1168496" y="343196"/>
                  </a:lnTo>
                  <a:lnTo>
                    <a:pt x="1167619" y="344001"/>
                  </a:lnTo>
                  <a:lnTo>
                    <a:pt x="1165781" y="346523"/>
                  </a:lnTo>
                  <a:lnTo>
                    <a:pt x="1164121" y="348839"/>
                  </a:lnTo>
                  <a:lnTo>
                    <a:pt x="1161709" y="350407"/>
                  </a:lnTo>
                  <a:lnTo>
                    <a:pt x="1160573" y="351843"/>
                  </a:lnTo>
                  <a:lnTo>
                    <a:pt x="1159990" y="353149"/>
                  </a:lnTo>
                  <a:lnTo>
                    <a:pt x="1158271" y="354974"/>
                  </a:lnTo>
                  <a:lnTo>
                    <a:pt x="1155746" y="355300"/>
                  </a:lnTo>
                  <a:lnTo>
                    <a:pt x="1153736" y="355831"/>
                  </a:lnTo>
                  <a:lnTo>
                    <a:pt x="1152505" y="355971"/>
                  </a:lnTo>
                  <a:lnTo>
                    <a:pt x="1151620" y="356707"/>
                  </a:lnTo>
                  <a:lnTo>
                    <a:pt x="1150977" y="357831"/>
                  </a:lnTo>
                  <a:lnTo>
                    <a:pt x="1150665" y="358275"/>
                  </a:lnTo>
                  <a:lnTo>
                    <a:pt x="1149532" y="358275"/>
                  </a:lnTo>
                  <a:lnTo>
                    <a:pt x="1148399" y="359230"/>
                  </a:lnTo>
                  <a:lnTo>
                    <a:pt x="1145619" y="361399"/>
                  </a:lnTo>
                  <a:lnTo>
                    <a:pt x="1143354" y="361800"/>
                  </a:lnTo>
                  <a:lnTo>
                    <a:pt x="1140512" y="363248"/>
                  </a:lnTo>
                  <a:lnTo>
                    <a:pt x="1138014" y="364347"/>
                  </a:lnTo>
                  <a:lnTo>
                    <a:pt x="1136975" y="364965"/>
                  </a:lnTo>
                  <a:lnTo>
                    <a:pt x="1136696" y="365646"/>
                  </a:lnTo>
                  <a:lnTo>
                    <a:pt x="1136332" y="366513"/>
                  </a:lnTo>
                  <a:lnTo>
                    <a:pt x="1135124" y="366686"/>
                  </a:lnTo>
                  <a:lnTo>
                    <a:pt x="1133954" y="366642"/>
                  </a:lnTo>
                  <a:lnTo>
                    <a:pt x="1131359" y="368633"/>
                  </a:lnTo>
                  <a:lnTo>
                    <a:pt x="1130041" y="370320"/>
                  </a:lnTo>
                  <a:lnTo>
                    <a:pt x="1124926" y="373916"/>
                  </a:lnTo>
                  <a:lnTo>
                    <a:pt x="1122838" y="375936"/>
                  </a:lnTo>
                  <a:lnTo>
                    <a:pt x="1122296" y="378550"/>
                  </a:lnTo>
                  <a:lnTo>
                    <a:pt x="1122028" y="378354"/>
                  </a:lnTo>
                  <a:lnTo>
                    <a:pt x="1120204" y="380632"/>
                  </a:lnTo>
                  <a:lnTo>
                    <a:pt x="1116627" y="382798"/>
                  </a:lnTo>
                  <a:lnTo>
                    <a:pt x="1108986" y="383283"/>
                  </a:lnTo>
                  <a:lnTo>
                    <a:pt x="1106569" y="381741"/>
                  </a:lnTo>
                  <a:lnTo>
                    <a:pt x="1105692" y="382803"/>
                  </a:lnTo>
                  <a:lnTo>
                    <a:pt x="1105016" y="384227"/>
                  </a:lnTo>
                  <a:lnTo>
                    <a:pt x="1103012" y="384702"/>
                  </a:lnTo>
                  <a:lnTo>
                    <a:pt x="1099875" y="384830"/>
                  </a:lnTo>
                  <a:lnTo>
                    <a:pt x="1098124" y="385768"/>
                  </a:lnTo>
                  <a:lnTo>
                    <a:pt x="1097186" y="386816"/>
                  </a:lnTo>
                  <a:lnTo>
                    <a:pt x="1092889" y="387156"/>
                  </a:lnTo>
                  <a:lnTo>
                    <a:pt x="1091313" y="388550"/>
                  </a:lnTo>
                  <a:lnTo>
                    <a:pt x="1088640" y="389046"/>
                  </a:lnTo>
                  <a:lnTo>
                    <a:pt x="1077469" y="395139"/>
                  </a:lnTo>
                  <a:lnTo>
                    <a:pt x="1075040" y="397699"/>
                  </a:lnTo>
                  <a:lnTo>
                    <a:pt x="1072737" y="400688"/>
                  </a:lnTo>
                  <a:lnTo>
                    <a:pt x="1071118" y="402192"/>
                  </a:lnTo>
                  <a:lnTo>
                    <a:pt x="1069674" y="403243"/>
                  </a:lnTo>
                  <a:lnTo>
                    <a:pt x="1068354" y="403673"/>
                  </a:lnTo>
                  <a:lnTo>
                    <a:pt x="1067065" y="404709"/>
                  </a:lnTo>
                  <a:lnTo>
                    <a:pt x="1065757" y="404840"/>
                  </a:lnTo>
                  <a:lnTo>
                    <a:pt x="1064422" y="404368"/>
                  </a:lnTo>
                  <a:lnTo>
                    <a:pt x="1062928" y="404529"/>
                  </a:lnTo>
                  <a:lnTo>
                    <a:pt x="1061945" y="405785"/>
                  </a:lnTo>
                  <a:lnTo>
                    <a:pt x="1062777" y="407414"/>
                  </a:lnTo>
                  <a:lnTo>
                    <a:pt x="1062323" y="408103"/>
                  </a:lnTo>
                  <a:lnTo>
                    <a:pt x="1059389" y="408990"/>
                  </a:lnTo>
                  <a:lnTo>
                    <a:pt x="1055031" y="409572"/>
                  </a:lnTo>
                  <a:lnTo>
                    <a:pt x="1053178" y="410637"/>
                  </a:lnTo>
                  <a:lnTo>
                    <a:pt x="1052539" y="411241"/>
                  </a:lnTo>
                  <a:lnTo>
                    <a:pt x="1051570" y="411547"/>
                  </a:lnTo>
                  <a:lnTo>
                    <a:pt x="1050643" y="409441"/>
                  </a:lnTo>
                  <a:lnTo>
                    <a:pt x="1050312" y="406664"/>
                  </a:lnTo>
                  <a:lnTo>
                    <a:pt x="1052115" y="405996"/>
                  </a:lnTo>
                  <a:lnTo>
                    <a:pt x="1053774" y="405645"/>
                  </a:lnTo>
                  <a:lnTo>
                    <a:pt x="1062986" y="401807"/>
                  </a:lnTo>
                  <a:lnTo>
                    <a:pt x="1061830" y="398921"/>
                  </a:lnTo>
                  <a:lnTo>
                    <a:pt x="1062647" y="397662"/>
                  </a:lnTo>
                  <a:lnTo>
                    <a:pt x="1064709" y="395620"/>
                  </a:lnTo>
                  <a:lnTo>
                    <a:pt x="1066050" y="394609"/>
                  </a:lnTo>
                  <a:lnTo>
                    <a:pt x="1065320" y="394238"/>
                  </a:lnTo>
                  <a:lnTo>
                    <a:pt x="1059285" y="394912"/>
                  </a:lnTo>
                  <a:lnTo>
                    <a:pt x="1055817" y="394861"/>
                  </a:lnTo>
                  <a:lnTo>
                    <a:pt x="1054044" y="394655"/>
                  </a:lnTo>
                  <a:lnTo>
                    <a:pt x="1054582" y="392906"/>
                  </a:lnTo>
                  <a:lnTo>
                    <a:pt x="1054284" y="391160"/>
                  </a:lnTo>
                  <a:lnTo>
                    <a:pt x="1053867" y="390504"/>
                  </a:lnTo>
                  <a:lnTo>
                    <a:pt x="1056940" y="388515"/>
                  </a:lnTo>
                  <a:lnTo>
                    <a:pt x="1058334" y="388024"/>
                  </a:lnTo>
                  <a:lnTo>
                    <a:pt x="1059397" y="388055"/>
                  </a:lnTo>
                  <a:lnTo>
                    <a:pt x="1059324" y="386851"/>
                  </a:lnTo>
                  <a:lnTo>
                    <a:pt x="1058438" y="385040"/>
                  </a:lnTo>
                  <a:lnTo>
                    <a:pt x="1059393" y="382699"/>
                  </a:lnTo>
                  <a:lnTo>
                    <a:pt x="1065663" y="379945"/>
                  </a:lnTo>
                  <a:lnTo>
                    <a:pt x="1067166" y="377446"/>
                  </a:lnTo>
                  <a:lnTo>
                    <a:pt x="1069684" y="375112"/>
                  </a:lnTo>
                  <a:lnTo>
                    <a:pt x="1074286" y="369300"/>
                  </a:lnTo>
                  <a:lnTo>
                    <a:pt x="1074561" y="368311"/>
                  </a:lnTo>
                  <a:lnTo>
                    <a:pt x="1075899" y="365585"/>
                  </a:lnTo>
                  <a:lnTo>
                    <a:pt x="1076145" y="364494"/>
                  </a:lnTo>
                  <a:lnTo>
                    <a:pt x="1074016" y="362898"/>
                  </a:lnTo>
                  <a:lnTo>
                    <a:pt x="1073169" y="360658"/>
                  </a:lnTo>
                  <a:lnTo>
                    <a:pt x="1066942" y="356617"/>
                  </a:lnTo>
                  <a:lnTo>
                    <a:pt x="1066413" y="353143"/>
                  </a:lnTo>
                  <a:lnTo>
                    <a:pt x="1065832" y="353295"/>
                  </a:lnTo>
                  <a:lnTo>
                    <a:pt x="1064882" y="355730"/>
                  </a:lnTo>
                  <a:lnTo>
                    <a:pt x="1064078" y="356511"/>
                  </a:lnTo>
                  <a:lnTo>
                    <a:pt x="1061196" y="356583"/>
                  </a:lnTo>
                  <a:lnTo>
                    <a:pt x="1059829" y="355663"/>
                  </a:lnTo>
                  <a:lnTo>
                    <a:pt x="1051811" y="355062"/>
                  </a:lnTo>
                  <a:lnTo>
                    <a:pt x="1049853" y="356630"/>
                  </a:lnTo>
                  <a:lnTo>
                    <a:pt x="1048017" y="359059"/>
                  </a:lnTo>
                  <a:lnTo>
                    <a:pt x="1046234" y="360791"/>
                  </a:lnTo>
                  <a:lnTo>
                    <a:pt x="1044443" y="361680"/>
                  </a:lnTo>
                  <a:lnTo>
                    <a:pt x="1042882" y="363257"/>
                  </a:lnTo>
                  <a:lnTo>
                    <a:pt x="1036434" y="372628"/>
                  </a:lnTo>
                  <a:lnTo>
                    <a:pt x="1033999" y="373336"/>
                  </a:lnTo>
                  <a:lnTo>
                    <a:pt x="1022532" y="378983"/>
                  </a:lnTo>
                  <a:lnTo>
                    <a:pt x="1016799" y="381193"/>
                  </a:lnTo>
                  <a:lnTo>
                    <a:pt x="1012377" y="385102"/>
                  </a:lnTo>
                  <a:lnTo>
                    <a:pt x="1010856" y="387466"/>
                  </a:lnTo>
                  <a:lnTo>
                    <a:pt x="1009506" y="390084"/>
                  </a:lnTo>
                  <a:lnTo>
                    <a:pt x="1008695" y="394051"/>
                  </a:lnTo>
                  <a:lnTo>
                    <a:pt x="1004616" y="398864"/>
                  </a:lnTo>
                  <a:lnTo>
                    <a:pt x="1003218" y="399895"/>
                  </a:lnTo>
                  <a:lnTo>
                    <a:pt x="1001789" y="400313"/>
                  </a:lnTo>
                  <a:lnTo>
                    <a:pt x="999891" y="400165"/>
                  </a:lnTo>
                  <a:lnTo>
                    <a:pt x="998254" y="400466"/>
                  </a:lnTo>
                  <a:lnTo>
                    <a:pt x="995466" y="400042"/>
                  </a:lnTo>
                  <a:lnTo>
                    <a:pt x="992052" y="401565"/>
                  </a:lnTo>
                  <a:lnTo>
                    <a:pt x="988202" y="402883"/>
                  </a:lnTo>
                  <a:lnTo>
                    <a:pt x="984885" y="399571"/>
                  </a:lnTo>
                  <a:lnTo>
                    <a:pt x="982521" y="398750"/>
                  </a:lnTo>
                  <a:lnTo>
                    <a:pt x="978647" y="399669"/>
                  </a:lnTo>
                  <a:lnTo>
                    <a:pt x="976855" y="401140"/>
                  </a:lnTo>
                  <a:lnTo>
                    <a:pt x="973140" y="408419"/>
                  </a:lnTo>
                  <a:lnTo>
                    <a:pt x="971750" y="412583"/>
                  </a:lnTo>
                  <a:lnTo>
                    <a:pt x="971838" y="414293"/>
                  </a:lnTo>
                  <a:lnTo>
                    <a:pt x="974010" y="419466"/>
                  </a:lnTo>
                  <a:lnTo>
                    <a:pt x="976457" y="422361"/>
                  </a:lnTo>
                  <a:lnTo>
                    <a:pt x="981946" y="425655"/>
                  </a:lnTo>
                  <a:lnTo>
                    <a:pt x="993628" y="427927"/>
                  </a:lnTo>
                  <a:lnTo>
                    <a:pt x="996367" y="427120"/>
                  </a:lnTo>
                  <a:lnTo>
                    <a:pt x="999306" y="427112"/>
                  </a:lnTo>
                  <a:lnTo>
                    <a:pt x="1002402" y="429264"/>
                  </a:lnTo>
                  <a:lnTo>
                    <a:pt x="1004337" y="432821"/>
                  </a:lnTo>
                  <a:lnTo>
                    <a:pt x="1004516" y="435249"/>
                  </a:lnTo>
                  <a:lnTo>
                    <a:pt x="1004579" y="436085"/>
                  </a:lnTo>
                  <a:lnTo>
                    <a:pt x="1005283" y="436800"/>
                  </a:lnTo>
                  <a:lnTo>
                    <a:pt x="1005700" y="438024"/>
                  </a:lnTo>
                  <a:lnTo>
                    <a:pt x="1004469" y="439039"/>
                  </a:lnTo>
                  <a:lnTo>
                    <a:pt x="1003525" y="439542"/>
                  </a:lnTo>
                  <a:lnTo>
                    <a:pt x="1002730" y="443304"/>
                  </a:lnTo>
                  <a:lnTo>
                    <a:pt x="1002681" y="447461"/>
                  </a:lnTo>
                  <a:lnTo>
                    <a:pt x="1003687" y="448839"/>
                  </a:lnTo>
                  <a:lnTo>
                    <a:pt x="1006200" y="450774"/>
                  </a:lnTo>
                  <a:lnTo>
                    <a:pt x="1010083" y="452376"/>
                  </a:lnTo>
                  <a:lnTo>
                    <a:pt x="1013677" y="452720"/>
                  </a:lnTo>
                  <a:lnTo>
                    <a:pt x="1020545" y="451948"/>
                  </a:lnTo>
                  <a:lnTo>
                    <a:pt x="1023353" y="449444"/>
                  </a:lnTo>
                  <a:lnTo>
                    <a:pt x="1023186" y="448363"/>
                  </a:lnTo>
                  <a:lnTo>
                    <a:pt x="1023251" y="446960"/>
                  </a:lnTo>
                  <a:lnTo>
                    <a:pt x="1029287" y="443280"/>
                  </a:lnTo>
                  <a:lnTo>
                    <a:pt x="1032729" y="440019"/>
                  </a:lnTo>
                  <a:lnTo>
                    <a:pt x="1032189" y="439155"/>
                  </a:lnTo>
                  <a:lnTo>
                    <a:pt x="1031528" y="438579"/>
                  </a:lnTo>
                  <a:lnTo>
                    <a:pt x="1032135" y="438245"/>
                  </a:lnTo>
                  <a:lnTo>
                    <a:pt x="1034024" y="438016"/>
                  </a:lnTo>
                  <a:lnTo>
                    <a:pt x="1042425" y="434615"/>
                  </a:lnTo>
                  <a:lnTo>
                    <a:pt x="1049037" y="437398"/>
                  </a:lnTo>
                  <a:lnTo>
                    <a:pt x="1052807" y="440595"/>
                  </a:lnTo>
                  <a:lnTo>
                    <a:pt x="1056534" y="441137"/>
                  </a:lnTo>
                  <a:lnTo>
                    <a:pt x="1059125" y="442769"/>
                  </a:lnTo>
                  <a:lnTo>
                    <a:pt x="1062109" y="444166"/>
                  </a:lnTo>
                  <a:lnTo>
                    <a:pt x="1066005" y="444260"/>
                  </a:lnTo>
                  <a:lnTo>
                    <a:pt x="1069287" y="444549"/>
                  </a:lnTo>
                  <a:lnTo>
                    <a:pt x="1070289" y="443262"/>
                  </a:lnTo>
                  <a:lnTo>
                    <a:pt x="1071317" y="442415"/>
                  </a:lnTo>
                  <a:lnTo>
                    <a:pt x="1072487" y="442583"/>
                  </a:lnTo>
                  <a:lnTo>
                    <a:pt x="1073805" y="444273"/>
                  </a:lnTo>
                  <a:lnTo>
                    <a:pt x="1077532" y="445571"/>
                  </a:lnTo>
                  <a:lnTo>
                    <a:pt x="1080972" y="445502"/>
                  </a:lnTo>
                  <a:lnTo>
                    <a:pt x="1083383" y="445031"/>
                  </a:lnTo>
                  <a:lnTo>
                    <a:pt x="1084813" y="445633"/>
                  </a:lnTo>
                  <a:lnTo>
                    <a:pt x="1082742" y="447799"/>
                  </a:lnTo>
                  <a:lnTo>
                    <a:pt x="1083051" y="451285"/>
                  </a:lnTo>
                  <a:lnTo>
                    <a:pt x="1081464" y="452387"/>
                  </a:lnTo>
                  <a:lnTo>
                    <a:pt x="1079942" y="454161"/>
                  </a:lnTo>
                  <a:lnTo>
                    <a:pt x="1080842" y="455328"/>
                  </a:lnTo>
                  <a:lnTo>
                    <a:pt x="1081639" y="455827"/>
                  </a:lnTo>
                  <a:lnTo>
                    <a:pt x="1081557" y="457246"/>
                  </a:lnTo>
                  <a:lnTo>
                    <a:pt x="1080170" y="458052"/>
                  </a:lnTo>
                  <a:lnTo>
                    <a:pt x="1077603" y="460158"/>
                  </a:lnTo>
                  <a:lnTo>
                    <a:pt x="1076128" y="460117"/>
                  </a:lnTo>
                  <a:lnTo>
                    <a:pt x="1075422" y="459710"/>
                  </a:lnTo>
                  <a:lnTo>
                    <a:pt x="1074923" y="458956"/>
                  </a:lnTo>
                  <a:lnTo>
                    <a:pt x="1074558" y="457745"/>
                  </a:lnTo>
                  <a:lnTo>
                    <a:pt x="1073655" y="456946"/>
                  </a:lnTo>
                  <a:lnTo>
                    <a:pt x="1071159" y="456638"/>
                  </a:lnTo>
                  <a:lnTo>
                    <a:pt x="1068576" y="456924"/>
                  </a:lnTo>
                  <a:lnTo>
                    <a:pt x="1062759" y="460053"/>
                  </a:lnTo>
                  <a:lnTo>
                    <a:pt x="1057086" y="462540"/>
                  </a:lnTo>
                  <a:lnTo>
                    <a:pt x="1051137" y="464518"/>
                  </a:lnTo>
                  <a:lnTo>
                    <a:pt x="1049142" y="465762"/>
                  </a:lnTo>
                  <a:lnTo>
                    <a:pt x="1047730" y="466103"/>
                  </a:lnTo>
                  <a:lnTo>
                    <a:pt x="1045266" y="465159"/>
                  </a:lnTo>
                  <a:lnTo>
                    <a:pt x="1043769" y="465219"/>
                  </a:lnTo>
                  <a:lnTo>
                    <a:pt x="1043456" y="465867"/>
                  </a:lnTo>
                  <a:lnTo>
                    <a:pt x="1045357" y="467599"/>
                  </a:lnTo>
                  <a:lnTo>
                    <a:pt x="1045852" y="468957"/>
                  </a:lnTo>
                  <a:lnTo>
                    <a:pt x="1045648" y="469999"/>
                  </a:lnTo>
                  <a:lnTo>
                    <a:pt x="1044571" y="470457"/>
                  </a:lnTo>
                  <a:lnTo>
                    <a:pt x="1043003" y="469692"/>
                  </a:lnTo>
                  <a:lnTo>
                    <a:pt x="1041573" y="470781"/>
                  </a:lnTo>
                  <a:lnTo>
                    <a:pt x="1040925" y="472617"/>
                  </a:lnTo>
                  <a:lnTo>
                    <a:pt x="1040898" y="476975"/>
                  </a:lnTo>
                  <a:lnTo>
                    <a:pt x="1039946" y="477945"/>
                  </a:lnTo>
                  <a:lnTo>
                    <a:pt x="1037324" y="478482"/>
                  </a:lnTo>
                  <a:lnTo>
                    <a:pt x="1034532" y="479866"/>
                  </a:lnTo>
                  <a:lnTo>
                    <a:pt x="1033541" y="479227"/>
                  </a:lnTo>
                  <a:lnTo>
                    <a:pt x="1033143" y="478446"/>
                  </a:lnTo>
                  <a:lnTo>
                    <a:pt x="1033435" y="476441"/>
                  </a:lnTo>
                  <a:lnTo>
                    <a:pt x="1033087" y="475463"/>
                  </a:lnTo>
                  <a:lnTo>
                    <a:pt x="1031814" y="475514"/>
                  </a:lnTo>
                  <a:lnTo>
                    <a:pt x="1029894" y="476113"/>
                  </a:lnTo>
                  <a:lnTo>
                    <a:pt x="1028427" y="477431"/>
                  </a:lnTo>
                  <a:lnTo>
                    <a:pt x="1027922" y="478224"/>
                  </a:lnTo>
                  <a:lnTo>
                    <a:pt x="1029852" y="480785"/>
                  </a:lnTo>
                  <a:lnTo>
                    <a:pt x="1031694" y="481044"/>
                  </a:lnTo>
                  <a:lnTo>
                    <a:pt x="1032137" y="481619"/>
                  </a:lnTo>
                  <a:lnTo>
                    <a:pt x="1030683" y="482867"/>
                  </a:lnTo>
                  <a:lnTo>
                    <a:pt x="1027050" y="484728"/>
                  </a:lnTo>
                  <a:lnTo>
                    <a:pt x="1026447" y="486284"/>
                  </a:lnTo>
                  <a:lnTo>
                    <a:pt x="1025370" y="487774"/>
                  </a:lnTo>
                  <a:lnTo>
                    <a:pt x="1023888" y="488958"/>
                  </a:lnTo>
                  <a:lnTo>
                    <a:pt x="1022882" y="490205"/>
                  </a:lnTo>
                  <a:lnTo>
                    <a:pt x="1021651" y="490858"/>
                  </a:lnTo>
                  <a:lnTo>
                    <a:pt x="1019643" y="491587"/>
                  </a:lnTo>
                  <a:lnTo>
                    <a:pt x="1017181" y="494576"/>
                  </a:lnTo>
                  <a:lnTo>
                    <a:pt x="1015370" y="497371"/>
                  </a:lnTo>
                  <a:lnTo>
                    <a:pt x="1013229" y="498806"/>
                  </a:lnTo>
                  <a:lnTo>
                    <a:pt x="1011530" y="503512"/>
                  </a:lnTo>
                  <a:lnTo>
                    <a:pt x="1008500" y="506069"/>
                  </a:lnTo>
                  <a:lnTo>
                    <a:pt x="1007384" y="510147"/>
                  </a:lnTo>
                  <a:lnTo>
                    <a:pt x="1008172" y="512658"/>
                  </a:lnTo>
                  <a:lnTo>
                    <a:pt x="1011498" y="512633"/>
                  </a:lnTo>
                  <a:lnTo>
                    <a:pt x="1013164" y="513514"/>
                  </a:lnTo>
                  <a:lnTo>
                    <a:pt x="1016618" y="516810"/>
                  </a:lnTo>
                  <a:lnTo>
                    <a:pt x="1020748" y="518957"/>
                  </a:lnTo>
                  <a:lnTo>
                    <a:pt x="1025037" y="520164"/>
                  </a:lnTo>
                  <a:lnTo>
                    <a:pt x="1030295" y="523209"/>
                  </a:lnTo>
                  <a:lnTo>
                    <a:pt x="1031738" y="524496"/>
                  </a:lnTo>
                  <a:lnTo>
                    <a:pt x="1032975" y="527111"/>
                  </a:lnTo>
                  <a:lnTo>
                    <a:pt x="1035253" y="534638"/>
                  </a:lnTo>
                  <a:lnTo>
                    <a:pt x="1036892" y="538357"/>
                  </a:lnTo>
                  <a:lnTo>
                    <a:pt x="1037002" y="540299"/>
                  </a:lnTo>
                  <a:lnTo>
                    <a:pt x="1039453" y="543958"/>
                  </a:lnTo>
                  <a:lnTo>
                    <a:pt x="1042081" y="550242"/>
                  </a:lnTo>
                  <a:lnTo>
                    <a:pt x="1045102" y="555681"/>
                  </a:lnTo>
                  <a:lnTo>
                    <a:pt x="1045683" y="559957"/>
                  </a:lnTo>
                  <a:lnTo>
                    <a:pt x="1044703" y="561907"/>
                  </a:lnTo>
                  <a:lnTo>
                    <a:pt x="1044707" y="564438"/>
                  </a:lnTo>
                  <a:lnTo>
                    <a:pt x="1047730" y="566761"/>
                  </a:lnTo>
                  <a:lnTo>
                    <a:pt x="1054439" y="569460"/>
                  </a:lnTo>
                  <a:lnTo>
                    <a:pt x="1055508" y="570254"/>
                  </a:lnTo>
                  <a:lnTo>
                    <a:pt x="1056819" y="571560"/>
                  </a:lnTo>
                  <a:lnTo>
                    <a:pt x="1056883" y="575630"/>
                  </a:lnTo>
                  <a:lnTo>
                    <a:pt x="1057920" y="576930"/>
                  </a:lnTo>
                  <a:lnTo>
                    <a:pt x="1058799" y="577721"/>
                  </a:lnTo>
                  <a:lnTo>
                    <a:pt x="1062861" y="579439"/>
                  </a:lnTo>
                  <a:lnTo>
                    <a:pt x="1064560" y="580866"/>
                  </a:lnTo>
                  <a:lnTo>
                    <a:pt x="1066359" y="583148"/>
                  </a:lnTo>
                  <a:lnTo>
                    <a:pt x="1066888" y="585188"/>
                  </a:lnTo>
                  <a:lnTo>
                    <a:pt x="1067108" y="587952"/>
                  </a:lnTo>
                  <a:lnTo>
                    <a:pt x="1064836" y="588051"/>
                  </a:lnTo>
                  <a:lnTo>
                    <a:pt x="1063008" y="587742"/>
                  </a:lnTo>
                  <a:lnTo>
                    <a:pt x="1055735" y="584152"/>
                  </a:lnTo>
                  <a:lnTo>
                    <a:pt x="1053843" y="584056"/>
                  </a:lnTo>
                  <a:lnTo>
                    <a:pt x="1051176" y="584555"/>
                  </a:lnTo>
                  <a:lnTo>
                    <a:pt x="1047367" y="583892"/>
                  </a:lnTo>
                  <a:lnTo>
                    <a:pt x="1043346" y="579913"/>
                  </a:lnTo>
                  <a:lnTo>
                    <a:pt x="1040446" y="578703"/>
                  </a:lnTo>
                  <a:lnTo>
                    <a:pt x="1037341" y="578095"/>
                  </a:lnTo>
                  <a:lnTo>
                    <a:pt x="1029911" y="581520"/>
                  </a:lnTo>
                  <a:lnTo>
                    <a:pt x="1028023" y="581280"/>
                  </a:lnTo>
                  <a:lnTo>
                    <a:pt x="1027475" y="581665"/>
                  </a:lnTo>
                  <a:lnTo>
                    <a:pt x="1026635" y="582253"/>
                  </a:lnTo>
                  <a:lnTo>
                    <a:pt x="1030077" y="582987"/>
                  </a:lnTo>
                  <a:lnTo>
                    <a:pt x="1033524" y="581865"/>
                  </a:lnTo>
                  <a:lnTo>
                    <a:pt x="1036833" y="580205"/>
                  </a:lnTo>
                  <a:lnTo>
                    <a:pt x="1041662" y="581089"/>
                  </a:lnTo>
                  <a:lnTo>
                    <a:pt x="1042474" y="582582"/>
                  </a:lnTo>
                  <a:lnTo>
                    <a:pt x="1043260" y="585107"/>
                  </a:lnTo>
                  <a:lnTo>
                    <a:pt x="1046570" y="586811"/>
                  </a:lnTo>
                  <a:lnTo>
                    <a:pt x="1049177" y="587564"/>
                  </a:lnTo>
                  <a:lnTo>
                    <a:pt x="1052483" y="589799"/>
                  </a:lnTo>
                  <a:lnTo>
                    <a:pt x="1055713" y="593288"/>
                  </a:lnTo>
                  <a:lnTo>
                    <a:pt x="1062561" y="597333"/>
                  </a:lnTo>
                  <a:lnTo>
                    <a:pt x="1065331" y="601159"/>
                  </a:lnTo>
                  <a:lnTo>
                    <a:pt x="1066405" y="603628"/>
                  </a:lnTo>
                  <a:lnTo>
                    <a:pt x="1067365" y="607151"/>
                  </a:lnTo>
                  <a:lnTo>
                    <a:pt x="1064966" y="608286"/>
                  </a:lnTo>
                  <a:lnTo>
                    <a:pt x="1062882" y="608446"/>
                  </a:lnTo>
                  <a:lnTo>
                    <a:pt x="1059617" y="609001"/>
                  </a:lnTo>
                  <a:lnTo>
                    <a:pt x="1057216" y="610246"/>
                  </a:lnTo>
                  <a:lnTo>
                    <a:pt x="1054806" y="612437"/>
                  </a:lnTo>
                  <a:lnTo>
                    <a:pt x="1047901" y="615874"/>
                  </a:lnTo>
                  <a:lnTo>
                    <a:pt x="1046588" y="618024"/>
                  </a:lnTo>
                  <a:lnTo>
                    <a:pt x="1045685" y="619895"/>
                  </a:lnTo>
                  <a:lnTo>
                    <a:pt x="1044005" y="620817"/>
                  </a:lnTo>
                  <a:lnTo>
                    <a:pt x="1039770" y="619938"/>
                  </a:lnTo>
                  <a:lnTo>
                    <a:pt x="1035786" y="620011"/>
                  </a:lnTo>
                  <a:lnTo>
                    <a:pt x="1031269" y="622541"/>
                  </a:lnTo>
                  <a:lnTo>
                    <a:pt x="1030144" y="623565"/>
                  </a:lnTo>
                  <a:lnTo>
                    <a:pt x="1030894" y="623365"/>
                  </a:lnTo>
                  <a:lnTo>
                    <a:pt x="1031601" y="623038"/>
                  </a:lnTo>
                  <a:lnTo>
                    <a:pt x="1033636" y="623417"/>
                  </a:lnTo>
                  <a:lnTo>
                    <a:pt x="1036775" y="622067"/>
                  </a:lnTo>
                  <a:lnTo>
                    <a:pt x="1039846" y="626186"/>
                  </a:lnTo>
                  <a:lnTo>
                    <a:pt x="1045841" y="625520"/>
                  </a:lnTo>
                  <a:lnTo>
                    <a:pt x="1051477" y="622099"/>
                  </a:lnTo>
                  <a:lnTo>
                    <a:pt x="1053658" y="622042"/>
                  </a:lnTo>
                  <a:lnTo>
                    <a:pt x="1055484" y="622569"/>
                  </a:lnTo>
                  <a:lnTo>
                    <a:pt x="1057521" y="623920"/>
                  </a:lnTo>
                  <a:lnTo>
                    <a:pt x="1062943" y="629916"/>
                  </a:lnTo>
                  <a:lnTo>
                    <a:pt x="1065914" y="630568"/>
                  </a:lnTo>
                  <a:lnTo>
                    <a:pt x="1068834" y="631973"/>
                  </a:lnTo>
                  <a:lnTo>
                    <a:pt x="1070447" y="632128"/>
                  </a:lnTo>
                  <a:lnTo>
                    <a:pt x="1071898" y="632547"/>
                  </a:lnTo>
                  <a:lnTo>
                    <a:pt x="1067980" y="634739"/>
                  </a:lnTo>
                  <a:lnTo>
                    <a:pt x="1062912" y="639471"/>
                  </a:lnTo>
                  <a:lnTo>
                    <a:pt x="1060658" y="640600"/>
                  </a:lnTo>
                  <a:lnTo>
                    <a:pt x="1059147" y="641866"/>
                  </a:lnTo>
                  <a:lnTo>
                    <a:pt x="1063219" y="641229"/>
                  </a:lnTo>
                  <a:lnTo>
                    <a:pt x="1066125" y="638968"/>
                  </a:lnTo>
                  <a:lnTo>
                    <a:pt x="1067587" y="638409"/>
                  </a:lnTo>
                  <a:lnTo>
                    <a:pt x="1068765" y="638937"/>
                  </a:lnTo>
                  <a:lnTo>
                    <a:pt x="1069365" y="641720"/>
                  </a:lnTo>
                  <a:lnTo>
                    <a:pt x="1068246" y="650291"/>
                  </a:lnTo>
                  <a:lnTo>
                    <a:pt x="1066825" y="650438"/>
                  </a:lnTo>
                  <a:lnTo>
                    <a:pt x="1065439" y="648108"/>
                  </a:lnTo>
                  <a:lnTo>
                    <a:pt x="1063817" y="647369"/>
                  </a:lnTo>
                  <a:lnTo>
                    <a:pt x="1062457" y="647856"/>
                  </a:lnTo>
                  <a:lnTo>
                    <a:pt x="1059754" y="647842"/>
                  </a:lnTo>
                  <a:lnTo>
                    <a:pt x="1058724" y="648891"/>
                  </a:lnTo>
                  <a:lnTo>
                    <a:pt x="1057851" y="650380"/>
                  </a:lnTo>
                  <a:lnTo>
                    <a:pt x="1059471" y="650690"/>
                  </a:lnTo>
                  <a:lnTo>
                    <a:pt x="1062656" y="653286"/>
                  </a:lnTo>
                  <a:lnTo>
                    <a:pt x="1062981" y="654668"/>
                  </a:lnTo>
                  <a:lnTo>
                    <a:pt x="1062126" y="655563"/>
                  </a:lnTo>
                  <a:lnTo>
                    <a:pt x="1059893" y="655179"/>
                  </a:lnTo>
                  <a:lnTo>
                    <a:pt x="1062602" y="657114"/>
                  </a:lnTo>
                  <a:lnTo>
                    <a:pt x="1061885" y="659120"/>
                  </a:lnTo>
                  <a:lnTo>
                    <a:pt x="1061006" y="659916"/>
                  </a:lnTo>
                  <a:lnTo>
                    <a:pt x="1059432" y="660423"/>
                  </a:lnTo>
                  <a:lnTo>
                    <a:pt x="1058460" y="662158"/>
                  </a:lnTo>
                  <a:lnTo>
                    <a:pt x="1059851" y="665045"/>
                  </a:lnTo>
                  <a:lnTo>
                    <a:pt x="1061265" y="668750"/>
                  </a:lnTo>
                  <a:lnTo>
                    <a:pt x="1061440" y="670534"/>
                  </a:lnTo>
                  <a:lnTo>
                    <a:pt x="1059229" y="669765"/>
                  </a:lnTo>
                  <a:lnTo>
                    <a:pt x="1055794" y="672026"/>
                  </a:lnTo>
                  <a:lnTo>
                    <a:pt x="1053973" y="672212"/>
                  </a:lnTo>
                  <a:lnTo>
                    <a:pt x="1052746" y="669239"/>
                  </a:lnTo>
                  <a:lnTo>
                    <a:pt x="1051174" y="669707"/>
                  </a:lnTo>
                  <a:lnTo>
                    <a:pt x="1050129" y="670573"/>
                  </a:lnTo>
                  <a:lnTo>
                    <a:pt x="1048736" y="673764"/>
                  </a:lnTo>
                  <a:lnTo>
                    <a:pt x="1047037" y="676642"/>
                  </a:lnTo>
                  <a:lnTo>
                    <a:pt x="1045575" y="677434"/>
                  </a:lnTo>
                  <a:lnTo>
                    <a:pt x="1043817" y="677207"/>
                  </a:lnTo>
                  <a:lnTo>
                    <a:pt x="1042373" y="677289"/>
                  </a:lnTo>
                  <a:lnTo>
                    <a:pt x="1042722" y="678067"/>
                  </a:lnTo>
                  <a:lnTo>
                    <a:pt x="1044260" y="679015"/>
                  </a:lnTo>
                  <a:lnTo>
                    <a:pt x="1044260" y="680122"/>
                  </a:lnTo>
                  <a:lnTo>
                    <a:pt x="1040991" y="683632"/>
                  </a:lnTo>
                  <a:lnTo>
                    <a:pt x="1040463" y="684985"/>
                  </a:lnTo>
                  <a:lnTo>
                    <a:pt x="1040541" y="686141"/>
                  </a:lnTo>
                  <a:lnTo>
                    <a:pt x="1038831" y="687542"/>
                  </a:lnTo>
                  <a:lnTo>
                    <a:pt x="1039751" y="689895"/>
                  </a:lnTo>
                  <a:lnTo>
                    <a:pt x="1039274" y="691557"/>
                  </a:lnTo>
                  <a:lnTo>
                    <a:pt x="1037777" y="693798"/>
                  </a:lnTo>
                  <a:lnTo>
                    <a:pt x="1036203" y="695278"/>
                  </a:lnTo>
                  <a:lnTo>
                    <a:pt x="1034344" y="697676"/>
                  </a:lnTo>
                  <a:lnTo>
                    <a:pt x="1032004" y="699067"/>
                  </a:lnTo>
                  <a:lnTo>
                    <a:pt x="1028904" y="704083"/>
                  </a:lnTo>
                  <a:lnTo>
                    <a:pt x="1027995" y="706589"/>
                  </a:lnTo>
                  <a:lnTo>
                    <a:pt x="1027758" y="709180"/>
                  </a:lnTo>
                  <a:lnTo>
                    <a:pt x="1026791" y="710076"/>
                  </a:lnTo>
                  <a:lnTo>
                    <a:pt x="1025128" y="711202"/>
                  </a:lnTo>
                  <a:lnTo>
                    <a:pt x="1023236" y="710631"/>
                  </a:lnTo>
                  <a:lnTo>
                    <a:pt x="1023175" y="708908"/>
                  </a:lnTo>
                  <a:lnTo>
                    <a:pt x="1022355" y="708759"/>
                  </a:lnTo>
                  <a:lnTo>
                    <a:pt x="1021889" y="707629"/>
                  </a:lnTo>
                  <a:lnTo>
                    <a:pt x="1021752" y="706187"/>
                  </a:lnTo>
                  <a:lnTo>
                    <a:pt x="1021954" y="705028"/>
                  </a:lnTo>
                  <a:lnTo>
                    <a:pt x="1021168" y="705382"/>
                  </a:lnTo>
                  <a:lnTo>
                    <a:pt x="1020682" y="706731"/>
                  </a:lnTo>
                  <a:lnTo>
                    <a:pt x="1019438" y="707824"/>
                  </a:lnTo>
                  <a:lnTo>
                    <a:pt x="1018135" y="707383"/>
                  </a:lnTo>
                  <a:lnTo>
                    <a:pt x="1016734" y="706487"/>
                  </a:lnTo>
                  <a:lnTo>
                    <a:pt x="1016773" y="707782"/>
                  </a:lnTo>
                  <a:lnTo>
                    <a:pt x="1017518" y="709078"/>
                  </a:lnTo>
                  <a:lnTo>
                    <a:pt x="1017840" y="710376"/>
                  </a:lnTo>
                  <a:lnTo>
                    <a:pt x="1019781" y="710655"/>
                  </a:lnTo>
                  <a:lnTo>
                    <a:pt x="1021081" y="712145"/>
                  </a:lnTo>
                  <a:lnTo>
                    <a:pt x="1022106" y="714432"/>
                  </a:lnTo>
                  <a:lnTo>
                    <a:pt x="1022310" y="715287"/>
                  </a:lnTo>
                  <a:lnTo>
                    <a:pt x="1023109" y="716311"/>
                  </a:lnTo>
                  <a:lnTo>
                    <a:pt x="1023210" y="717182"/>
                  </a:lnTo>
                  <a:lnTo>
                    <a:pt x="1021358" y="717988"/>
                  </a:lnTo>
                  <a:lnTo>
                    <a:pt x="1019045" y="719498"/>
                  </a:lnTo>
                  <a:lnTo>
                    <a:pt x="1016268" y="722080"/>
                  </a:lnTo>
                  <a:lnTo>
                    <a:pt x="1013968" y="723800"/>
                  </a:lnTo>
                  <a:lnTo>
                    <a:pt x="1011904" y="723815"/>
                  </a:lnTo>
                  <a:lnTo>
                    <a:pt x="1010651" y="723614"/>
                  </a:lnTo>
                  <a:lnTo>
                    <a:pt x="1008861" y="722624"/>
                  </a:lnTo>
                  <a:lnTo>
                    <a:pt x="1006812" y="722212"/>
                  </a:lnTo>
                  <a:lnTo>
                    <a:pt x="1009561" y="725690"/>
                  </a:lnTo>
                  <a:lnTo>
                    <a:pt x="1011070" y="726306"/>
                  </a:lnTo>
                  <a:lnTo>
                    <a:pt x="1012966" y="726174"/>
                  </a:lnTo>
                  <a:lnTo>
                    <a:pt x="1014804" y="724877"/>
                  </a:lnTo>
                  <a:lnTo>
                    <a:pt x="1017410" y="725009"/>
                  </a:lnTo>
                  <a:lnTo>
                    <a:pt x="1018062" y="727017"/>
                  </a:lnTo>
                  <a:lnTo>
                    <a:pt x="1017369" y="729281"/>
                  </a:lnTo>
                  <a:lnTo>
                    <a:pt x="1015953" y="732215"/>
                  </a:lnTo>
                  <a:lnTo>
                    <a:pt x="1015656" y="734752"/>
                  </a:lnTo>
                  <a:lnTo>
                    <a:pt x="1017418" y="738381"/>
                  </a:lnTo>
                  <a:lnTo>
                    <a:pt x="1017492" y="739472"/>
                  </a:lnTo>
                  <a:lnTo>
                    <a:pt x="1016835" y="740018"/>
                  </a:lnTo>
                  <a:lnTo>
                    <a:pt x="1014767" y="739060"/>
                  </a:lnTo>
                  <a:lnTo>
                    <a:pt x="1013054" y="737858"/>
                  </a:lnTo>
                  <a:lnTo>
                    <a:pt x="1011329" y="738172"/>
                  </a:lnTo>
                  <a:lnTo>
                    <a:pt x="1009545" y="737660"/>
                  </a:lnTo>
                  <a:lnTo>
                    <a:pt x="1007710" y="738089"/>
                  </a:lnTo>
                  <a:lnTo>
                    <a:pt x="1006963" y="738926"/>
                  </a:lnTo>
                  <a:lnTo>
                    <a:pt x="1007472" y="740308"/>
                  </a:lnTo>
                  <a:lnTo>
                    <a:pt x="1009113" y="741455"/>
                  </a:lnTo>
                  <a:lnTo>
                    <a:pt x="1010042" y="743218"/>
                  </a:lnTo>
                  <a:lnTo>
                    <a:pt x="1008937" y="743837"/>
                  </a:lnTo>
                  <a:lnTo>
                    <a:pt x="1004273" y="743425"/>
                  </a:lnTo>
                  <a:lnTo>
                    <a:pt x="1003232" y="743759"/>
                  </a:lnTo>
                  <a:lnTo>
                    <a:pt x="1001836" y="745701"/>
                  </a:lnTo>
                  <a:lnTo>
                    <a:pt x="1002748" y="748573"/>
                  </a:lnTo>
                  <a:lnTo>
                    <a:pt x="1001718" y="750358"/>
                  </a:lnTo>
                  <a:lnTo>
                    <a:pt x="999794" y="750776"/>
                  </a:lnTo>
                  <a:lnTo>
                    <a:pt x="997261" y="752219"/>
                  </a:lnTo>
                  <a:lnTo>
                    <a:pt x="995700" y="752554"/>
                  </a:lnTo>
                  <a:lnTo>
                    <a:pt x="995773" y="753176"/>
                  </a:lnTo>
                  <a:lnTo>
                    <a:pt x="996913" y="753805"/>
                  </a:lnTo>
                  <a:lnTo>
                    <a:pt x="997518" y="754656"/>
                  </a:lnTo>
                  <a:lnTo>
                    <a:pt x="996144" y="757585"/>
                  </a:lnTo>
                  <a:lnTo>
                    <a:pt x="994007" y="758549"/>
                  </a:lnTo>
                  <a:lnTo>
                    <a:pt x="990726" y="758072"/>
                  </a:lnTo>
                  <a:lnTo>
                    <a:pt x="988146" y="758729"/>
                  </a:lnTo>
                  <a:lnTo>
                    <a:pt x="985918" y="757482"/>
                  </a:lnTo>
                  <a:lnTo>
                    <a:pt x="983542" y="757455"/>
                  </a:lnTo>
                  <a:lnTo>
                    <a:pt x="981923" y="759030"/>
                  </a:lnTo>
                  <a:lnTo>
                    <a:pt x="981748" y="760859"/>
                  </a:lnTo>
                  <a:lnTo>
                    <a:pt x="980180" y="761042"/>
                  </a:lnTo>
                  <a:lnTo>
                    <a:pt x="979336" y="760910"/>
                  </a:lnTo>
                  <a:lnTo>
                    <a:pt x="978137" y="761039"/>
                  </a:lnTo>
                  <a:lnTo>
                    <a:pt x="978260" y="762021"/>
                  </a:lnTo>
                  <a:lnTo>
                    <a:pt x="978941" y="762879"/>
                  </a:lnTo>
                  <a:lnTo>
                    <a:pt x="982152" y="763261"/>
                  </a:lnTo>
                  <a:lnTo>
                    <a:pt x="982734" y="764492"/>
                  </a:lnTo>
                  <a:lnTo>
                    <a:pt x="982855" y="766392"/>
                  </a:lnTo>
                  <a:lnTo>
                    <a:pt x="979496" y="769665"/>
                  </a:lnTo>
                  <a:lnTo>
                    <a:pt x="978066" y="771870"/>
                  </a:lnTo>
                  <a:lnTo>
                    <a:pt x="975905" y="771812"/>
                  </a:lnTo>
                  <a:lnTo>
                    <a:pt x="974272" y="773580"/>
                  </a:lnTo>
                  <a:lnTo>
                    <a:pt x="973395" y="775980"/>
                  </a:lnTo>
                  <a:lnTo>
                    <a:pt x="972311" y="775505"/>
                  </a:lnTo>
                  <a:lnTo>
                    <a:pt x="969817" y="775889"/>
                  </a:lnTo>
                  <a:lnTo>
                    <a:pt x="969081" y="777033"/>
                  </a:lnTo>
                  <a:lnTo>
                    <a:pt x="969666" y="777506"/>
                  </a:lnTo>
                  <a:lnTo>
                    <a:pt x="969724" y="778330"/>
                  </a:lnTo>
                  <a:lnTo>
                    <a:pt x="968724" y="781024"/>
                  </a:lnTo>
                  <a:lnTo>
                    <a:pt x="967634" y="781781"/>
                  </a:lnTo>
                  <a:lnTo>
                    <a:pt x="967169" y="780680"/>
                  </a:lnTo>
                  <a:lnTo>
                    <a:pt x="966818" y="778972"/>
                  </a:lnTo>
                  <a:lnTo>
                    <a:pt x="965935" y="778842"/>
                  </a:lnTo>
                  <a:lnTo>
                    <a:pt x="964479" y="780416"/>
                  </a:lnTo>
                  <a:lnTo>
                    <a:pt x="962780" y="781543"/>
                  </a:lnTo>
                  <a:lnTo>
                    <a:pt x="961329" y="782011"/>
                  </a:lnTo>
                  <a:lnTo>
                    <a:pt x="960230" y="780967"/>
                  </a:lnTo>
                  <a:lnTo>
                    <a:pt x="957528" y="780424"/>
                  </a:lnTo>
                  <a:lnTo>
                    <a:pt x="956429" y="784947"/>
                  </a:lnTo>
                  <a:lnTo>
                    <a:pt x="954187" y="786595"/>
                  </a:lnTo>
                  <a:lnTo>
                    <a:pt x="953138" y="787109"/>
                  </a:lnTo>
                  <a:lnTo>
                    <a:pt x="951309" y="787264"/>
                  </a:lnTo>
                  <a:lnTo>
                    <a:pt x="952480" y="787881"/>
                  </a:lnTo>
                  <a:lnTo>
                    <a:pt x="952845" y="789039"/>
                  </a:lnTo>
                  <a:lnTo>
                    <a:pt x="952188" y="790196"/>
                  </a:lnTo>
                  <a:lnTo>
                    <a:pt x="950359" y="790428"/>
                  </a:lnTo>
                  <a:lnTo>
                    <a:pt x="949295" y="791328"/>
                  </a:lnTo>
                  <a:lnTo>
                    <a:pt x="948886" y="795363"/>
                  </a:lnTo>
                  <a:lnTo>
                    <a:pt x="947800" y="796777"/>
                  </a:lnTo>
                  <a:lnTo>
                    <a:pt x="945032" y="796890"/>
                  </a:lnTo>
                  <a:lnTo>
                    <a:pt x="942961" y="795951"/>
                  </a:lnTo>
                  <a:lnTo>
                    <a:pt x="942302" y="796692"/>
                  </a:lnTo>
                  <a:lnTo>
                    <a:pt x="941955" y="797412"/>
                  </a:lnTo>
                  <a:lnTo>
                    <a:pt x="940873" y="798139"/>
                  </a:lnTo>
                  <a:lnTo>
                    <a:pt x="938776" y="798333"/>
                  </a:lnTo>
                  <a:lnTo>
                    <a:pt x="934123" y="800139"/>
                  </a:lnTo>
                  <a:lnTo>
                    <a:pt x="931993" y="799618"/>
                  </a:lnTo>
                  <a:lnTo>
                    <a:pt x="929441" y="798932"/>
                  </a:lnTo>
                  <a:lnTo>
                    <a:pt x="927687" y="799600"/>
                  </a:lnTo>
                  <a:lnTo>
                    <a:pt x="927102" y="800986"/>
                  </a:lnTo>
                  <a:lnTo>
                    <a:pt x="926299" y="802064"/>
                  </a:lnTo>
                  <a:lnTo>
                    <a:pt x="923738" y="802064"/>
                  </a:lnTo>
                  <a:lnTo>
                    <a:pt x="921691" y="800734"/>
                  </a:lnTo>
                  <a:lnTo>
                    <a:pt x="919610" y="799773"/>
                  </a:lnTo>
                  <a:lnTo>
                    <a:pt x="917303" y="800602"/>
                  </a:lnTo>
                  <a:lnTo>
                    <a:pt x="915547" y="802295"/>
                  </a:lnTo>
                  <a:lnTo>
                    <a:pt x="913388" y="802861"/>
                  </a:lnTo>
                  <a:lnTo>
                    <a:pt x="912988" y="803911"/>
                  </a:lnTo>
                  <a:lnTo>
                    <a:pt x="912047" y="804439"/>
                  </a:lnTo>
                  <a:lnTo>
                    <a:pt x="909761" y="804217"/>
                  </a:lnTo>
                  <a:lnTo>
                    <a:pt x="908892" y="801601"/>
                  </a:lnTo>
                  <a:lnTo>
                    <a:pt x="907577" y="801216"/>
                  </a:lnTo>
                  <a:lnTo>
                    <a:pt x="906275" y="802539"/>
                  </a:lnTo>
                  <a:lnTo>
                    <a:pt x="905815" y="803572"/>
                  </a:lnTo>
                  <a:lnTo>
                    <a:pt x="905206" y="804350"/>
                  </a:lnTo>
                  <a:lnTo>
                    <a:pt x="905422" y="806483"/>
                  </a:lnTo>
                  <a:lnTo>
                    <a:pt x="904139" y="806526"/>
                  </a:lnTo>
                  <a:lnTo>
                    <a:pt x="902457" y="805219"/>
                  </a:lnTo>
                  <a:lnTo>
                    <a:pt x="900700" y="804987"/>
                  </a:lnTo>
                  <a:lnTo>
                    <a:pt x="899050" y="806202"/>
                  </a:lnTo>
                  <a:lnTo>
                    <a:pt x="899129" y="806300"/>
                  </a:lnTo>
                  <a:lnTo>
                    <a:pt x="899605" y="807167"/>
                  </a:lnTo>
                  <a:lnTo>
                    <a:pt x="899460" y="808140"/>
                  </a:lnTo>
                  <a:lnTo>
                    <a:pt x="900358" y="808610"/>
                  </a:lnTo>
                  <a:lnTo>
                    <a:pt x="900581" y="809567"/>
                  </a:lnTo>
                  <a:lnTo>
                    <a:pt x="899591" y="810089"/>
                  </a:lnTo>
                  <a:lnTo>
                    <a:pt x="899533" y="811215"/>
                  </a:lnTo>
                  <a:lnTo>
                    <a:pt x="899093" y="811906"/>
                  </a:lnTo>
                  <a:lnTo>
                    <a:pt x="896243" y="810678"/>
                  </a:lnTo>
                  <a:lnTo>
                    <a:pt x="893893" y="810040"/>
                  </a:lnTo>
                  <a:lnTo>
                    <a:pt x="891781" y="810293"/>
                  </a:lnTo>
                  <a:lnTo>
                    <a:pt x="891013" y="809570"/>
                  </a:lnTo>
                  <a:lnTo>
                    <a:pt x="890879" y="808825"/>
                  </a:lnTo>
                  <a:lnTo>
                    <a:pt x="893317" y="807526"/>
                  </a:lnTo>
                  <a:lnTo>
                    <a:pt x="893509" y="806878"/>
                  </a:lnTo>
                  <a:lnTo>
                    <a:pt x="891645" y="806433"/>
                  </a:lnTo>
                  <a:lnTo>
                    <a:pt x="889372" y="804661"/>
                  </a:lnTo>
                  <a:lnTo>
                    <a:pt x="887739" y="801720"/>
                  </a:lnTo>
                  <a:lnTo>
                    <a:pt x="885674" y="800136"/>
                  </a:lnTo>
                  <a:lnTo>
                    <a:pt x="884757" y="798745"/>
                  </a:lnTo>
                  <a:lnTo>
                    <a:pt x="884399" y="796241"/>
                  </a:lnTo>
                  <a:lnTo>
                    <a:pt x="884020" y="795050"/>
                  </a:lnTo>
                  <a:lnTo>
                    <a:pt x="884150" y="793723"/>
                  </a:lnTo>
                  <a:lnTo>
                    <a:pt x="884776" y="792545"/>
                  </a:lnTo>
                  <a:lnTo>
                    <a:pt x="882548" y="793137"/>
                  </a:lnTo>
                  <a:lnTo>
                    <a:pt x="880902" y="794233"/>
                  </a:lnTo>
                  <a:lnTo>
                    <a:pt x="881234" y="795617"/>
                  </a:lnTo>
                  <a:lnTo>
                    <a:pt x="880827" y="796901"/>
                  </a:lnTo>
                  <a:lnTo>
                    <a:pt x="878376" y="797566"/>
                  </a:lnTo>
                  <a:lnTo>
                    <a:pt x="878525" y="798107"/>
                  </a:lnTo>
                  <a:lnTo>
                    <a:pt x="878680" y="798671"/>
                  </a:lnTo>
                  <a:lnTo>
                    <a:pt x="880609" y="800422"/>
                  </a:lnTo>
                  <a:lnTo>
                    <a:pt x="881002" y="801895"/>
                  </a:lnTo>
                  <a:lnTo>
                    <a:pt x="881775" y="802680"/>
                  </a:lnTo>
                  <a:lnTo>
                    <a:pt x="883284" y="804968"/>
                  </a:lnTo>
                  <a:lnTo>
                    <a:pt x="883250" y="809383"/>
                  </a:lnTo>
                  <a:lnTo>
                    <a:pt x="884077" y="810630"/>
                  </a:lnTo>
                  <a:lnTo>
                    <a:pt x="883802" y="811866"/>
                  </a:lnTo>
                  <a:lnTo>
                    <a:pt x="883198" y="813540"/>
                  </a:lnTo>
                  <a:lnTo>
                    <a:pt x="883146" y="813565"/>
                  </a:lnTo>
                  <a:lnTo>
                    <a:pt x="882710" y="813058"/>
                  </a:lnTo>
                  <a:lnTo>
                    <a:pt x="883176" y="813600"/>
                  </a:lnTo>
                  <a:lnTo>
                    <a:pt x="883118" y="813626"/>
                  </a:lnTo>
                  <a:lnTo>
                    <a:pt x="882086" y="814087"/>
                  </a:lnTo>
                  <a:lnTo>
                    <a:pt x="881762" y="814177"/>
                  </a:lnTo>
                  <a:lnTo>
                    <a:pt x="881645" y="814228"/>
                  </a:lnTo>
                  <a:lnTo>
                    <a:pt x="881524" y="814255"/>
                  </a:lnTo>
                  <a:lnTo>
                    <a:pt x="880248" y="814627"/>
                  </a:lnTo>
                  <a:lnTo>
                    <a:pt x="879180" y="814941"/>
                  </a:lnTo>
                  <a:lnTo>
                    <a:pt x="878302" y="815393"/>
                  </a:lnTo>
                  <a:lnTo>
                    <a:pt x="876946" y="816707"/>
                  </a:lnTo>
                  <a:lnTo>
                    <a:pt x="874350" y="817027"/>
                  </a:lnTo>
                  <a:lnTo>
                    <a:pt x="873019" y="813940"/>
                  </a:lnTo>
                  <a:lnTo>
                    <a:pt x="871237" y="815998"/>
                  </a:lnTo>
                  <a:lnTo>
                    <a:pt x="870697" y="820200"/>
                  </a:lnTo>
                  <a:lnTo>
                    <a:pt x="870036" y="820916"/>
                  </a:lnTo>
                  <a:lnTo>
                    <a:pt x="868928" y="821517"/>
                  </a:lnTo>
                  <a:lnTo>
                    <a:pt x="866823" y="820051"/>
                  </a:lnTo>
                  <a:lnTo>
                    <a:pt x="864983" y="821032"/>
                  </a:lnTo>
                  <a:lnTo>
                    <a:pt x="863554" y="822026"/>
                  </a:lnTo>
                  <a:lnTo>
                    <a:pt x="862964" y="822944"/>
                  </a:lnTo>
                  <a:lnTo>
                    <a:pt x="861908" y="823941"/>
                  </a:lnTo>
                  <a:lnTo>
                    <a:pt x="859883" y="822980"/>
                  </a:lnTo>
                  <a:lnTo>
                    <a:pt x="858259" y="821536"/>
                  </a:lnTo>
                  <a:lnTo>
                    <a:pt x="858661" y="820452"/>
                  </a:lnTo>
                  <a:lnTo>
                    <a:pt x="858436" y="819739"/>
                  </a:lnTo>
                  <a:lnTo>
                    <a:pt x="857702" y="819200"/>
                  </a:lnTo>
                  <a:lnTo>
                    <a:pt x="856896" y="819277"/>
                  </a:lnTo>
                  <a:lnTo>
                    <a:pt x="857289" y="820681"/>
                  </a:lnTo>
                  <a:lnTo>
                    <a:pt x="857561" y="823376"/>
                  </a:lnTo>
                  <a:lnTo>
                    <a:pt x="856825" y="824156"/>
                  </a:lnTo>
                  <a:lnTo>
                    <a:pt x="855687" y="824756"/>
                  </a:lnTo>
                  <a:lnTo>
                    <a:pt x="853219" y="824259"/>
                  </a:lnTo>
                  <a:lnTo>
                    <a:pt x="851535" y="823254"/>
                  </a:lnTo>
                  <a:lnTo>
                    <a:pt x="849501" y="822407"/>
                  </a:lnTo>
                  <a:lnTo>
                    <a:pt x="847704" y="822253"/>
                  </a:lnTo>
                  <a:lnTo>
                    <a:pt x="847317" y="823954"/>
                  </a:lnTo>
                  <a:lnTo>
                    <a:pt x="846145" y="825324"/>
                  </a:lnTo>
                  <a:lnTo>
                    <a:pt x="845065" y="825495"/>
                  </a:lnTo>
                  <a:lnTo>
                    <a:pt x="843989" y="825276"/>
                  </a:lnTo>
                  <a:lnTo>
                    <a:pt x="842573" y="826759"/>
                  </a:lnTo>
                  <a:lnTo>
                    <a:pt x="841904" y="827841"/>
                  </a:lnTo>
                  <a:lnTo>
                    <a:pt x="840159" y="828985"/>
                  </a:lnTo>
                  <a:lnTo>
                    <a:pt x="835508" y="829540"/>
                  </a:lnTo>
                  <a:lnTo>
                    <a:pt x="833888" y="830674"/>
                  </a:lnTo>
                  <a:lnTo>
                    <a:pt x="831710" y="830494"/>
                  </a:lnTo>
                  <a:lnTo>
                    <a:pt x="830021" y="830764"/>
                  </a:lnTo>
                  <a:lnTo>
                    <a:pt x="829055" y="830707"/>
                  </a:lnTo>
                  <a:lnTo>
                    <a:pt x="828183" y="830099"/>
                  </a:lnTo>
                  <a:lnTo>
                    <a:pt x="827204" y="830082"/>
                  </a:lnTo>
                  <a:lnTo>
                    <a:pt x="826760" y="831967"/>
                  </a:lnTo>
                  <a:lnTo>
                    <a:pt x="824134" y="832761"/>
                  </a:lnTo>
                  <a:lnTo>
                    <a:pt x="821770" y="832979"/>
                  </a:lnTo>
                  <a:lnTo>
                    <a:pt x="819140" y="835464"/>
                  </a:lnTo>
                  <a:lnTo>
                    <a:pt x="817261" y="836968"/>
                  </a:lnTo>
                  <a:lnTo>
                    <a:pt x="815870" y="837121"/>
                  </a:lnTo>
                  <a:lnTo>
                    <a:pt x="814847" y="836586"/>
                  </a:lnTo>
                  <a:lnTo>
                    <a:pt x="814328" y="834358"/>
                  </a:lnTo>
                  <a:lnTo>
                    <a:pt x="813806" y="834099"/>
                  </a:lnTo>
                  <a:lnTo>
                    <a:pt x="813508" y="836190"/>
                  </a:lnTo>
                  <a:lnTo>
                    <a:pt x="813003" y="837932"/>
                  </a:lnTo>
                  <a:lnTo>
                    <a:pt x="812042" y="838880"/>
                  </a:lnTo>
                  <a:lnTo>
                    <a:pt x="808999" y="841045"/>
                  </a:lnTo>
                  <a:lnTo>
                    <a:pt x="808124" y="843193"/>
                  </a:lnTo>
                  <a:lnTo>
                    <a:pt x="808708" y="845180"/>
                  </a:lnTo>
                  <a:lnTo>
                    <a:pt x="812800" y="845664"/>
                  </a:lnTo>
                  <a:lnTo>
                    <a:pt x="813309" y="846751"/>
                  </a:lnTo>
                  <a:lnTo>
                    <a:pt x="812912" y="847639"/>
                  </a:lnTo>
                  <a:lnTo>
                    <a:pt x="811932" y="848380"/>
                  </a:lnTo>
                  <a:lnTo>
                    <a:pt x="811643" y="849493"/>
                  </a:lnTo>
                  <a:lnTo>
                    <a:pt x="816030" y="853031"/>
                  </a:lnTo>
                  <a:lnTo>
                    <a:pt x="816164" y="854373"/>
                  </a:lnTo>
                  <a:lnTo>
                    <a:pt x="815486" y="855137"/>
                  </a:lnTo>
                  <a:lnTo>
                    <a:pt x="814659" y="856783"/>
                  </a:lnTo>
                  <a:lnTo>
                    <a:pt x="812342" y="858179"/>
                  </a:lnTo>
                  <a:lnTo>
                    <a:pt x="807442" y="858895"/>
                  </a:lnTo>
                  <a:lnTo>
                    <a:pt x="803359" y="858172"/>
                  </a:lnTo>
                  <a:lnTo>
                    <a:pt x="802121" y="856584"/>
                  </a:lnTo>
                  <a:lnTo>
                    <a:pt x="802195" y="855453"/>
                  </a:lnTo>
                  <a:lnTo>
                    <a:pt x="803207" y="855782"/>
                  </a:lnTo>
                  <a:lnTo>
                    <a:pt x="804363" y="855680"/>
                  </a:lnTo>
                  <a:lnTo>
                    <a:pt x="804020" y="854646"/>
                  </a:lnTo>
                  <a:lnTo>
                    <a:pt x="803534" y="854042"/>
                  </a:lnTo>
                  <a:lnTo>
                    <a:pt x="801646" y="853122"/>
                  </a:lnTo>
                  <a:lnTo>
                    <a:pt x="800120" y="850642"/>
                  </a:lnTo>
                  <a:lnTo>
                    <a:pt x="800414" y="848575"/>
                  </a:lnTo>
                  <a:lnTo>
                    <a:pt x="799576" y="846977"/>
                  </a:lnTo>
                  <a:lnTo>
                    <a:pt x="798667" y="845637"/>
                  </a:lnTo>
                  <a:lnTo>
                    <a:pt x="797749" y="844833"/>
                  </a:lnTo>
                  <a:lnTo>
                    <a:pt x="797259" y="843834"/>
                  </a:lnTo>
                  <a:lnTo>
                    <a:pt x="798184" y="840696"/>
                  </a:lnTo>
                  <a:lnTo>
                    <a:pt x="797671" y="838873"/>
                  </a:lnTo>
                  <a:lnTo>
                    <a:pt x="799415" y="836637"/>
                  </a:lnTo>
                  <a:lnTo>
                    <a:pt x="799846" y="834114"/>
                  </a:lnTo>
                  <a:lnTo>
                    <a:pt x="802974" y="833212"/>
                  </a:lnTo>
                  <a:lnTo>
                    <a:pt x="803188" y="830803"/>
                  </a:lnTo>
                  <a:lnTo>
                    <a:pt x="800951" y="830733"/>
                  </a:lnTo>
                  <a:lnTo>
                    <a:pt x="799398" y="828963"/>
                  </a:lnTo>
                  <a:lnTo>
                    <a:pt x="799044" y="829706"/>
                  </a:lnTo>
                  <a:lnTo>
                    <a:pt x="797796" y="829783"/>
                  </a:lnTo>
                  <a:lnTo>
                    <a:pt x="795749" y="826371"/>
                  </a:lnTo>
                  <a:lnTo>
                    <a:pt x="795131" y="825940"/>
                  </a:lnTo>
                  <a:lnTo>
                    <a:pt x="794138" y="825874"/>
                  </a:lnTo>
                  <a:lnTo>
                    <a:pt x="794637" y="829475"/>
                  </a:lnTo>
                  <a:lnTo>
                    <a:pt x="792238" y="830828"/>
                  </a:lnTo>
                  <a:lnTo>
                    <a:pt x="790273" y="831419"/>
                  </a:lnTo>
                  <a:lnTo>
                    <a:pt x="787481" y="831663"/>
                  </a:lnTo>
                  <a:lnTo>
                    <a:pt x="785894" y="832076"/>
                  </a:lnTo>
                  <a:lnTo>
                    <a:pt x="784410" y="831735"/>
                  </a:lnTo>
                  <a:lnTo>
                    <a:pt x="784778" y="830646"/>
                  </a:lnTo>
                  <a:lnTo>
                    <a:pt x="785559" y="829344"/>
                  </a:lnTo>
                  <a:lnTo>
                    <a:pt x="784857" y="828258"/>
                  </a:lnTo>
                  <a:lnTo>
                    <a:pt x="783283" y="827424"/>
                  </a:lnTo>
                  <a:lnTo>
                    <a:pt x="780878" y="827472"/>
                  </a:lnTo>
                  <a:lnTo>
                    <a:pt x="779210" y="827239"/>
                  </a:lnTo>
                  <a:lnTo>
                    <a:pt x="777559" y="827332"/>
                  </a:lnTo>
                  <a:lnTo>
                    <a:pt x="776945" y="826850"/>
                  </a:lnTo>
                  <a:lnTo>
                    <a:pt x="775410" y="825150"/>
                  </a:lnTo>
                  <a:lnTo>
                    <a:pt x="774112" y="824089"/>
                  </a:lnTo>
                  <a:lnTo>
                    <a:pt x="773527" y="823034"/>
                  </a:lnTo>
                  <a:lnTo>
                    <a:pt x="774112" y="821807"/>
                  </a:lnTo>
                  <a:lnTo>
                    <a:pt x="773624" y="821062"/>
                  </a:lnTo>
                  <a:lnTo>
                    <a:pt x="771106" y="820979"/>
                  </a:lnTo>
                  <a:lnTo>
                    <a:pt x="771128" y="822737"/>
                  </a:lnTo>
                  <a:lnTo>
                    <a:pt x="771387" y="824809"/>
                  </a:lnTo>
                  <a:lnTo>
                    <a:pt x="772119" y="826384"/>
                  </a:lnTo>
                  <a:lnTo>
                    <a:pt x="771598" y="827263"/>
                  </a:lnTo>
                  <a:lnTo>
                    <a:pt x="770320" y="827868"/>
                  </a:lnTo>
                  <a:lnTo>
                    <a:pt x="768960" y="826203"/>
                  </a:lnTo>
                  <a:lnTo>
                    <a:pt x="768336" y="825793"/>
                  </a:lnTo>
                  <a:lnTo>
                    <a:pt x="767677" y="825872"/>
                  </a:lnTo>
                  <a:lnTo>
                    <a:pt x="767176" y="827530"/>
                  </a:lnTo>
                  <a:lnTo>
                    <a:pt x="765941" y="829001"/>
                  </a:lnTo>
                  <a:lnTo>
                    <a:pt x="763714" y="828844"/>
                  </a:lnTo>
                  <a:lnTo>
                    <a:pt x="761985" y="829752"/>
                  </a:lnTo>
                  <a:lnTo>
                    <a:pt x="759890" y="830169"/>
                  </a:lnTo>
                  <a:lnTo>
                    <a:pt x="758470" y="828955"/>
                  </a:lnTo>
                  <a:lnTo>
                    <a:pt x="756118" y="826992"/>
                  </a:lnTo>
                  <a:lnTo>
                    <a:pt x="755172" y="826764"/>
                  </a:lnTo>
                  <a:lnTo>
                    <a:pt x="752557" y="827716"/>
                  </a:lnTo>
                  <a:lnTo>
                    <a:pt x="748806" y="828076"/>
                  </a:lnTo>
                  <a:lnTo>
                    <a:pt x="747968" y="827059"/>
                  </a:lnTo>
                  <a:lnTo>
                    <a:pt x="746148" y="827832"/>
                  </a:lnTo>
                  <a:lnTo>
                    <a:pt x="744399" y="825475"/>
                  </a:lnTo>
                  <a:lnTo>
                    <a:pt x="742331" y="825326"/>
                  </a:lnTo>
                  <a:lnTo>
                    <a:pt x="739745" y="823539"/>
                  </a:lnTo>
                  <a:lnTo>
                    <a:pt x="738821" y="822596"/>
                  </a:lnTo>
                  <a:lnTo>
                    <a:pt x="738525" y="821239"/>
                  </a:lnTo>
                  <a:lnTo>
                    <a:pt x="737742" y="820531"/>
                  </a:lnTo>
                  <a:lnTo>
                    <a:pt x="736729" y="820620"/>
                  </a:lnTo>
                  <a:lnTo>
                    <a:pt x="735608" y="819897"/>
                  </a:lnTo>
                  <a:lnTo>
                    <a:pt x="733831" y="819185"/>
                  </a:lnTo>
                  <a:lnTo>
                    <a:pt x="732402" y="818759"/>
                  </a:lnTo>
                  <a:lnTo>
                    <a:pt x="731697" y="819088"/>
                  </a:lnTo>
                  <a:lnTo>
                    <a:pt x="730944" y="819256"/>
                  </a:lnTo>
                  <a:lnTo>
                    <a:pt x="730814" y="818344"/>
                  </a:lnTo>
                  <a:lnTo>
                    <a:pt x="730866" y="815600"/>
                  </a:lnTo>
                  <a:lnTo>
                    <a:pt x="730737" y="813163"/>
                  </a:lnTo>
                  <a:lnTo>
                    <a:pt x="730345" y="812067"/>
                  </a:lnTo>
                  <a:lnTo>
                    <a:pt x="729387" y="811233"/>
                  </a:lnTo>
                  <a:lnTo>
                    <a:pt x="728512" y="810834"/>
                  </a:lnTo>
                  <a:lnTo>
                    <a:pt x="728130" y="809586"/>
                  </a:lnTo>
                  <a:lnTo>
                    <a:pt x="728441" y="807123"/>
                  </a:lnTo>
                  <a:lnTo>
                    <a:pt x="729149" y="805452"/>
                  </a:lnTo>
                  <a:lnTo>
                    <a:pt x="730270" y="805154"/>
                  </a:lnTo>
                  <a:lnTo>
                    <a:pt x="731784" y="803951"/>
                  </a:lnTo>
                  <a:lnTo>
                    <a:pt x="732553" y="802248"/>
                  </a:lnTo>
                  <a:lnTo>
                    <a:pt x="733524" y="800666"/>
                  </a:lnTo>
                  <a:lnTo>
                    <a:pt x="730069" y="798446"/>
                  </a:lnTo>
                  <a:lnTo>
                    <a:pt x="728251" y="797652"/>
                  </a:lnTo>
                  <a:lnTo>
                    <a:pt x="726241" y="797989"/>
                  </a:lnTo>
                  <a:lnTo>
                    <a:pt x="723746" y="798697"/>
                  </a:lnTo>
                  <a:lnTo>
                    <a:pt x="722440" y="798837"/>
                  </a:lnTo>
                  <a:lnTo>
                    <a:pt x="721786" y="798558"/>
                  </a:lnTo>
                  <a:lnTo>
                    <a:pt x="720339" y="796562"/>
                  </a:lnTo>
                  <a:lnTo>
                    <a:pt x="719553" y="796214"/>
                  </a:lnTo>
                  <a:lnTo>
                    <a:pt x="717785" y="796087"/>
                  </a:lnTo>
                  <a:lnTo>
                    <a:pt x="716293" y="796105"/>
                  </a:lnTo>
                  <a:lnTo>
                    <a:pt x="715438" y="796974"/>
                  </a:lnTo>
                  <a:lnTo>
                    <a:pt x="714118" y="797265"/>
                  </a:lnTo>
                  <a:lnTo>
                    <a:pt x="712798" y="797315"/>
                  </a:lnTo>
                  <a:lnTo>
                    <a:pt x="711457" y="796231"/>
                  </a:lnTo>
                  <a:lnTo>
                    <a:pt x="709443" y="794819"/>
                  </a:lnTo>
                  <a:lnTo>
                    <a:pt x="706279" y="793823"/>
                  </a:lnTo>
                  <a:lnTo>
                    <a:pt x="705897" y="792673"/>
                  </a:lnTo>
                  <a:lnTo>
                    <a:pt x="705094" y="791300"/>
                  </a:lnTo>
                  <a:lnTo>
                    <a:pt x="703891" y="790029"/>
                  </a:lnTo>
                  <a:lnTo>
                    <a:pt x="701908" y="788342"/>
                  </a:lnTo>
                  <a:lnTo>
                    <a:pt x="700248" y="787466"/>
                  </a:lnTo>
                  <a:lnTo>
                    <a:pt x="699439" y="788005"/>
                  </a:lnTo>
                  <a:lnTo>
                    <a:pt x="698339" y="788963"/>
                  </a:lnTo>
                  <a:lnTo>
                    <a:pt x="694064" y="790986"/>
                  </a:lnTo>
                  <a:lnTo>
                    <a:pt x="692172" y="791774"/>
                  </a:lnTo>
                  <a:lnTo>
                    <a:pt x="691168" y="792338"/>
                  </a:lnTo>
                  <a:lnTo>
                    <a:pt x="690324" y="793181"/>
                  </a:lnTo>
                  <a:lnTo>
                    <a:pt x="690062" y="795265"/>
                  </a:lnTo>
                  <a:lnTo>
                    <a:pt x="689641" y="797587"/>
                  </a:lnTo>
                  <a:lnTo>
                    <a:pt x="688411" y="798766"/>
                  </a:lnTo>
                  <a:lnTo>
                    <a:pt x="687244" y="799658"/>
                  </a:lnTo>
                  <a:lnTo>
                    <a:pt x="686015" y="799751"/>
                  </a:lnTo>
                  <a:lnTo>
                    <a:pt x="684817" y="799709"/>
                  </a:lnTo>
                  <a:lnTo>
                    <a:pt x="683696" y="800079"/>
                  </a:lnTo>
                  <a:lnTo>
                    <a:pt x="680268" y="802408"/>
                  </a:lnTo>
                  <a:lnTo>
                    <a:pt x="678644" y="802223"/>
                  </a:lnTo>
                  <a:lnTo>
                    <a:pt x="677315" y="800909"/>
                  </a:lnTo>
                  <a:lnTo>
                    <a:pt x="676745" y="799956"/>
                  </a:lnTo>
                  <a:lnTo>
                    <a:pt x="675210" y="800172"/>
                  </a:lnTo>
                  <a:lnTo>
                    <a:pt x="673239" y="801286"/>
                  </a:lnTo>
                  <a:lnTo>
                    <a:pt x="672327" y="803286"/>
                  </a:lnTo>
                  <a:lnTo>
                    <a:pt x="671843" y="805152"/>
                  </a:lnTo>
                  <a:lnTo>
                    <a:pt x="671414" y="805981"/>
                  </a:lnTo>
                  <a:lnTo>
                    <a:pt x="670753" y="806223"/>
                  </a:lnTo>
                  <a:lnTo>
                    <a:pt x="670167" y="806266"/>
                  </a:lnTo>
                  <a:lnTo>
                    <a:pt x="664027" y="800873"/>
                  </a:lnTo>
                  <a:lnTo>
                    <a:pt x="663648" y="800593"/>
                  </a:lnTo>
                  <a:lnTo>
                    <a:pt x="662554" y="801701"/>
                  </a:lnTo>
                  <a:lnTo>
                    <a:pt x="661552" y="804560"/>
                  </a:lnTo>
                  <a:lnTo>
                    <a:pt x="660835" y="805109"/>
                  </a:lnTo>
                  <a:lnTo>
                    <a:pt x="660349" y="804890"/>
                  </a:lnTo>
                  <a:lnTo>
                    <a:pt x="657808" y="801230"/>
                  </a:lnTo>
                  <a:lnTo>
                    <a:pt x="657157" y="800879"/>
                  </a:lnTo>
                  <a:lnTo>
                    <a:pt x="656581" y="801004"/>
                  </a:lnTo>
                  <a:lnTo>
                    <a:pt x="655823" y="802188"/>
                  </a:lnTo>
                  <a:lnTo>
                    <a:pt x="654210" y="803933"/>
                  </a:lnTo>
                  <a:lnTo>
                    <a:pt x="652977" y="804993"/>
                  </a:lnTo>
                  <a:lnTo>
                    <a:pt x="652949" y="806173"/>
                  </a:lnTo>
                  <a:lnTo>
                    <a:pt x="651612" y="807213"/>
                  </a:lnTo>
                  <a:lnTo>
                    <a:pt x="650053" y="808248"/>
                  </a:lnTo>
                  <a:lnTo>
                    <a:pt x="649535" y="808358"/>
                  </a:lnTo>
                  <a:lnTo>
                    <a:pt x="648501" y="807942"/>
                  </a:lnTo>
                  <a:lnTo>
                    <a:pt x="647153" y="806565"/>
                  </a:lnTo>
                  <a:lnTo>
                    <a:pt x="646177" y="805128"/>
                  </a:lnTo>
                  <a:lnTo>
                    <a:pt x="643765" y="803701"/>
                  </a:lnTo>
                  <a:lnTo>
                    <a:pt x="641057" y="802494"/>
                  </a:lnTo>
                  <a:lnTo>
                    <a:pt x="639259" y="801548"/>
                  </a:lnTo>
                  <a:lnTo>
                    <a:pt x="638235" y="801317"/>
                  </a:lnTo>
                  <a:lnTo>
                    <a:pt x="637285" y="801739"/>
                  </a:lnTo>
                  <a:lnTo>
                    <a:pt x="636810" y="802317"/>
                  </a:lnTo>
                  <a:lnTo>
                    <a:pt x="636132" y="803745"/>
                  </a:lnTo>
                  <a:lnTo>
                    <a:pt x="634505" y="806085"/>
                  </a:lnTo>
                  <a:lnTo>
                    <a:pt x="633064" y="807945"/>
                  </a:lnTo>
                  <a:lnTo>
                    <a:pt x="631714" y="809139"/>
                  </a:lnTo>
                  <a:lnTo>
                    <a:pt x="630640" y="809963"/>
                  </a:lnTo>
                  <a:lnTo>
                    <a:pt x="629846" y="809194"/>
                  </a:lnTo>
                  <a:lnTo>
                    <a:pt x="628362" y="808568"/>
                  </a:lnTo>
                  <a:lnTo>
                    <a:pt x="626615" y="808563"/>
                  </a:lnTo>
                  <a:lnTo>
                    <a:pt x="624324" y="809747"/>
                  </a:lnTo>
                  <a:lnTo>
                    <a:pt x="622515" y="807380"/>
                  </a:lnTo>
                  <a:lnTo>
                    <a:pt x="622046" y="807265"/>
                  </a:lnTo>
                  <a:lnTo>
                    <a:pt x="621355" y="807467"/>
                  </a:lnTo>
                  <a:lnTo>
                    <a:pt x="620558" y="808031"/>
                  </a:lnTo>
                  <a:lnTo>
                    <a:pt x="619999" y="809353"/>
                  </a:lnTo>
                  <a:lnTo>
                    <a:pt x="619418" y="811165"/>
                  </a:lnTo>
                  <a:lnTo>
                    <a:pt x="618267" y="812352"/>
                  </a:lnTo>
                  <a:lnTo>
                    <a:pt x="617308" y="812879"/>
                  </a:lnTo>
                  <a:lnTo>
                    <a:pt x="617591" y="813896"/>
                  </a:lnTo>
                  <a:lnTo>
                    <a:pt x="618133" y="814998"/>
                  </a:lnTo>
                  <a:lnTo>
                    <a:pt x="618099" y="815961"/>
                  </a:lnTo>
                  <a:lnTo>
                    <a:pt x="618442" y="817485"/>
                  </a:lnTo>
                  <a:lnTo>
                    <a:pt x="619042" y="819006"/>
                  </a:lnTo>
                  <a:lnTo>
                    <a:pt x="621180" y="821493"/>
                  </a:lnTo>
                  <a:lnTo>
                    <a:pt x="621996" y="822790"/>
                  </a:lnTo>
                  <a:lnTo>
                    <a:pt x="622160" y="823915"/>
                  </a:lnTo>
                  <a:lnTo>
                    <a:pt x="622234" y="827905"/>
                  </a:lnTo>
                  <a:lnTo>
                    <a:pt x="622149" y="829570"/>
                  </a:lnTo>
                  <a:lnTo>
                    <a:pt x="621724" y="832783"/>
                  </a:lnTo>
                  <a:lnTo>
                    <a:pt x="621696" y="834635"/>
                  </a:lnTo>
                  <a:lnTo>
                    <a:pt x="622584" y="835468"/>
                  </a:lnTo>
                  <a:lnTo>
                    <a:pt x="623446" y="836461"/>
                  </a:lnTo>
                  <a:lnTo>
                    <a:pt x="623413" y="837002"/>
                  </a:lnTo>
                  <a:lnTo>
                    <a:pt x="623035" y="837197"/>
                  </a:lnTo>
                  <a:lnTo>
                    <a:pt x="621811" y="838301"/>
                  </a:lnTo>
                  <a:lnTo>
                    <a:pt x="621294" y="838445"/>
                  </a:lnTo>
                  <a:lnTo>
                    <a:pt x="620493" y="837995"/>
                  </a:lnTo>
                  <a:lnTo>
                    <a:pt x="619457" y="837653"/>
                  </a:lnTo>
                  <a:lnTo>
                    <a:pt x="618621" y="837211"/>
                  </a:lnTo>
                  <a:lnTo>
                    <a:pt x="617703" y="836501"/>
                  </a:lnTo>
                  <a:lnTo>
                    <a:pt x="615518" y="836581"/>
                  </a:lnTo>
                  <a:lnTo>
                    <a:pt x="611934" y="837660"/>
                  </a:lnTo>
                  <a:lnTo>
                    <a:pt x="611190" y="837355"/>
                  </a:lnTo>
                  <a:lnTo>
                    <a:pt x="610673" y="836744"/>
                  </a:lnTo>
                  <a:lnTo>
                    <a:pt x="610394" y="835484"/>
                  </a:lnTo>
                  <a:lnTo>
                    <a:pt x="610573" y="833999"/>
                  </a:lnTo>
                  <a:lnTo>
                    <a:pt x="610256" y="833054"/>
                  </a:lnTo>
                  <a:lnTo>
                    <a:pt x="609588" y="832493"/>
                  </a:lnTo>
                  <a:lnTo>
                    <a:pt x="610059" y="829842"/>
                  </a:lnTo>
                  <a:lnTo>
                    <a:pt x="608781" y="828791"/>
                  </a:lnTo>
                  <a:lnTo>
                    <a:pt x="608967" y="828463"/>
                  </a:lnTo>
                  <a:lnTo>
                    <a:pt x="608543" y="825603"/>
                  </a:lnTo>
                  <a:lnTo>
                    <a:pt x="608604" y="824898"/>
                  </a:lnTo>
                  <a:lnTo>
                    <a:pt x="608379" y="824654"/>
                  </a:lnTo>
                  <a:lnTo>
                    <a:pt x="607474" y="824427"/>
                  </a:lnTo>
                  <a:lnTo>
                    <a:pt x="606137" y="824879"/>
                  </a:lnTo>
                  <a:lnTo>
                    <a:pt x="602065" y="826760"/>
                  </a:lnTo>
                  <a:lnTo>
                    <a:pt x="598571" y="830239"/>
                  </a:lnTo>
                  <a:lnTo>
                    <a:pt x="596967" y="831006"/>
                  </a:lnTo>
                  <a:lnTo>
                    <a:pt x="595347" y="831323"/>
                  </a:lnTo>
                  <a:lnTo>
                    <a:pt x="593454" y="830722"/>
                  </a:lnTo>
                  <a:lnTo>
                    <a:pt x="591351" y="830330"/>
                  </a:lnTo>
                  <a:lnTo>
                    <a:pt x="588346" y="831210"/>
                  </a:lnTo>
                  <a:lnTo>
                    <a:pt x="586863" y="830804"/>
                  </a:lnTo>
                  <a:lnTo>
                    <a:pt x="586180" y="830094"/>
                  </a:lnTo>
                  <a:lnTo>
                    <a:pt x="585572" y="829013"/>
                  </a:lnTo>
                  <a:lnTo>
                    <a:pt x="585937" y="827643"/>
                  </a:lnTo>
                  <a:lnTo>
                    <a:pt x="585710" y="826633"/>
                  </a:lnTo>
                  <a:lnTo>
                    <a:pt x="584509" y="826121"/>
                  </a:lnTo>
                  <a:lnTo>
                    <a:pt x="583116" y="825685"/>
                  </a:lnTo>
                  <a:lnTo>
                    <a:pt x="582288" y="824361"/>
                  </a:lnTo>
                  <a:lnTo>
                    <a:pt x="581953" y="822922"/>
                  </a:lnTo>
                  <a:lnTo>
                    <a:pt x="582281" y="821049"/>
                  </a:lnTo>
                  <a:lnTo>
                    <a:pt x="582445" y="819038"/>
                  </a:lnTo>
                  <a:lnTo>
                    <a:pt x="581778" y="818117"/>
                  </a:lnTo>
                  <a:lnTo>
                    <a:pt x="579737" y="817614"/>
                  </a:lnTo>
                  <a:lnTo>
                    <a:pt x="574591" y="816698"/>
                  </a:lnTo>
                  <a:lnTo>
                    <a:pt x="570081" y="816196"/>
                  </a:lnTo>
                  <a:lnTo>
                    <a:pt x="568188" y="816432"/>
                  </a:lnTo>
                  <a:lnTo>
                    <a:pt x="566647" y="816211"/>
                  </a:lnTo>
                  <a:lnTo>
                    <a:pt x="565753" y="815844"/>
                  </a:lnTo>
                  <a:lnTo>
                    <a:pt x="565321" y="815209"/>
                  </a:lnTo>
                  <a:lnTo>
                    <a:pt x="565297" y="814300"/>
                  </a:lnTo>
                  <a:lnTo>
                    <a:pt x="566027" y="812208"/>
                  </a:lnTo>
                  <a:lnTo>
                    <a:pt x="566861" y="810168"/>
                  </a:lnTo>
                  <a:lnTo>
                    <a:pt x="568953" y="807200"/>
                  </a:lnTo>
                  <a:lnTo>
                    <a:pt x="569074" y="805143"/>
                  </a:lnTo>
                  <a:lnTo>
                    <a:pt x="568966" y="802767"/>
                  </a:lnTo>
                  <a:lnTo>
                    <a:pt x="570002" y="799591"/>
                  </a:lnTo>
                  <a:lnTo>
                    <a:pt x="571808" y="797211"/>
                  </a:lnTo>
                  <a:lnTo>
                    <a:pt x="572700" y="796469"/>
                  </a:lnTo>
                  <a:lnTo>
                    <a:pt x="572482" y="795410"/>
                  </a:lnTo>
                  <a:lnTo>
                    <a:pt x="571758" y="794439"/>
                  </a:lnTo>
                  <a:lnTo>
                    <a:pt x="570730" y="793903"/>
                  </a:lnTo>
                  <a:lnTo>
                    <a:pt x="569022" y="793281"/>
                  </a:lnTo>
                  <a:lnTo>
                    <a:pt x="566358" y="793108"/>
                  </a:lnTo>
                  <a:lnTo>
                    <a:pt x="562703" y="792473"/>
                  </a:lnTo>
                  <a:lnTo>
                    <a:pt x="558474" y="791058"/>
                  </a:lnTo>
                  <a:lnTo>
                    <a:pt x="558955" y="788346"/>
                  </a:lnTo>
                  <a:lnTo>
                    <a:pt x="558891" y="786646"/>
                  </a:lnTo>
                  <a:lnTo>
                    <a:pt x="558366" y="785251"/>
                  </a:lnTo>
                  <a:lnTo>
                    <a:pt x="557500" y="784260"/>
                  </a:lnTo>
                  <a:lnTo>
                    <a:pt x="557016" y="783374"/>
                  </a:lnTo>
                  <a:lnTo>
                    <a:pt x="557776" y="780945"/>
                  </a:lnTo>
                  <a:lnTo>
                    <a:pt x="556791" y="778292"/>
                  </a:lnTo>
                  <a:lnTo>
                    <a:pt x="555628" y="777234"/>
                  </a:lnTo>
                  <a:lnTo>
                    <a:pt x="554430" y="775861"/>
                  </a:lnTo>
                  <a:lnTo>
                    <a:pt x="554338" y="774380"/>
                  </a:lnTo>
                  <a:lnTo>
                    <a:pt x="554887" y="772999"/>
                  </a:lnTo>
                  <a:lnTo>
                    <a:pt x="557815" y="770037"/>
                  </a:lnTo>
                  <a:lnTo>
                    <a:pt x="557839" y="769320"/>
                  </a:lnTo>
                  <a:lnTo>
                    <a:pt x="557115" y="769378"/>
                  </a:lnTo>
                  <a:lnTo>
                    <a:pt x="556275" y="769440"/>
                  </a:lnTo>
                  <a:lnTo>
                    <a:pt x="552274" y="770523"/>
                  </a:lnTo>
                  <a:lnTo>
                    <a:pt x="551848" y="769844"/>
                  </a:lnTo>
                  <a:lnTo>
                    <a:pt x="550417" y="769449"/>
                  </a:lnTo>
                  <a:lnTo>
                    <a:pt x="547495" y="769370"/>
                  </a:lnTo>
                  <a:lnTo>
                    <a:pt x="544073" y="769567"/>
                  </a:lnTo>
                  <a:lnTo>
                    <a:pt x="539748" y="770626"/>
                  </a:lnTo>
                  <a:lnTo>
                    <a:pt x="535785" y="772479"/>
                  </a:lnTo>
                  <a:lnTo>
                    <a:pt x="533971" y="773753"/>
                  </a:lnTo>
                  <a:lnTo>
                    <a:pt x="532432" y="774543"/>
                  </a:lnTo>
                  <a:lnTo>
                    <a:pt x="531185" y="774800"/>
                  </a:lnTo>
                  <a:lnTo>
                    <a:pt x="529745" y="774241"/>
                  </a:lnTo>
                  <a:lnTo>
                    <a:pt x="529827" y="772428"/>
                  </a:lnTo>
                  <a:lnTo>
                    <a:pt x="532533" y="769094"/>
                  </a:lnTo>
                  <a:lnTo>
                    <a:pt x="532922" y="766799"/>
                  </a:lnTo>
                  <a:lnTo>
                    <a:pt x="532092" y="764830"/>
                  </a:lnTo>
                  <a:lnTo>
                    <a:pt x="532001" y="763253"/>
                  </a:lnTo>
                  <a:lnTo>
                    <a:pt x="531052" y="762245"/>
                  </a:lnTo>
                  <a:lnTo>
                    <a:pt x="529717" y="761754"/>
                  </a:lnTo>
                  <a:lnTo>
                    <a:pt x="529013" y="760632"/>
                  </a:lnTo>
                  <a:lnTo>
                    <a:pt x="528968" y="757356"/>
                  </a:lnTo>
                  <a:lnTo>
                    <a:pt x="530160" y="753982"/>
                  </a:lnTo>
                  <a:lnTo>
                    <a:pt x="532092" y="752916"/>
                  </a:lnTo>
                  <a:lnTo>
                    <a:pt x="533267" y="752402"/>
                  </a:lnTo>
                  <a:lnTo>
                    <a:pt x="533578" y="751747"/>
                  </a:lnTo>
                  <a:lnTo>
                    <a:pt x="532977" y="749383"/>
                  </a:lnTo>
                  <a:lnTo>
                    <a:pt x="533070" y="747878"/>
                  </a:lnTo>
                  <a:lnTo>
                    <a:pt x="534230" y="744965"/>
                  </a:lnTo>
                  <a:lnTo>
                    <a:pt x="535383" y="742755"/>
                  </a:lnTo>
                  <a:lnTo>
                    <a:pt x="537560" y="743126"/>
                  </a:lnTo>
                  <a:lnTo>
                    <a:pt x="538534" y="742580"/>
                  </a:lnTo>
                  <a:lnTo>
                    <a:pt x="539611" y="741797"/>
                  </a:lnTo>
                  <a:lnTo>
                    <a:pt x="540790" y="740466"/>
                  </a:lnTo>
                  <a:lnTo>
                    <a:pt x="541576" y="738893"/>
                  </a:lnTo>
                  <a:lnTo>
                    <a:pt x="542533" y="735228"/>
                  </a:lnTo>
                  <a:lnTo>
                    <a:pt x="543190" y="734674"/>
                  </a:lnTo>
                  <a:lnTo>
                    <a:pt x="545932" y="735280"/>
                  </a:lnTo>
                  <a:lnTo>
                    <a:pt x="546755" y="734858"/>
                  </a:lnTo>
                  <a:lnTo>
                    <a:pt x="548256" y="732704"/>
                  </a:lnTo>
                  <a:lnTo>
                    <a:pt x="549668" y="730085"/>
                  </a:lnTo>
                  <a:lnTo>
                    <a:pt x="551721" y="729273"/>
                  </a:lnTo>
                  <a:lnTo>
                    <a:pt x="553203" y="729191"/>
                  </a:lnTo>
                  <a:lnTo>
                    <a:pt x="553885" y="728320"/>
                  </a:lnTo>
                  <a:lnTo>
                    <a:pt x="553851" y="727038"/>
                  </a:lnTo>
                  <a:lnTo>
                    <a:pt x="552443" y="725006"/>
                  </a:lnTo>
                  <a:lnTo>
                    <a:pt x="551847" y="723381"/>
                  </a:lnTo>
                  <a:lnTo>
                    <a:pt x="552021" y="722395"/>
                  </a:lnTo>
                  <a:lnTo>
                    <a:pt x="554038" y="721794"/>
                  </a:lnTo>
                  <a:lnTo>
                    <a:pt x="554533" y="720613"/>
                  </a:lnTo>
                  <a:lnTo>
                    <a:pt x="554230" y="718027"/>
                  </a:lnTo>
                  <a:lnTo>
                    <a:pt x="555062" y="714918"/>
                  </a:lnTo>
                  <a:lnTo>
                    <a:pt x="555556" y="711273"/>
                  </a:lnTo>
                  <a:lnTo>
                    <a:pt x="555723" y="708549"/>
                  </a:lnTo>
                  <a:lnTo>
                    <a:pt x="555703" y="706469"/>
                  </a:lnTo>
                  <a:lnTo>
                    <a:pt x="555505" y="704291"/>
                  </a:lnTo>
                  <a:lnTo>
                    <a:pt x="555217" y="700308"/>
                  </a:lnTo>
                  <a:lnTo>
                    <a:pt x="554295" y="696840"/>
                  </a:lnTo>
                  <a:lnTo>
                    <a:pt x="554464" y="695538"/>
                  </a:lnTo>
                  <a:lnTo>
                    <a:pt x="554338" y="691330"/>
                  </a:lnTo>
                  <a:lnTo>
                    <a:pt x="553772" y="687740"/>
                  </a:lnTo>
                  <a:lnTo>
                    <a:pt x="552637" y="687111"/>
                  </a:lnTo>
                  <a:lnTo>
                    <a:pt x="550529" y="685946"/>
                  </a:lnTo>
                  <a:lnTo>
                    <a:pt x="549380" y="685717"/>
                  </a:lnTo>
                  <a:lnTo>
                    <a:pt x="548415" y="686141"/>
                  </a:lnTo>
                  <a:lnTo>
                    <a:pt x="548050" y="687392"/>
                  </a:lnTo>
                  <a:lnTo>
                    <a:pt x="547124" y="688560"/>
                  </a:lnTo>
                  <a:lnTo>
                    <a:pt x="545981" y="688274"/>
                  </a:lnTo>
                  <a:lnTo>
                    <a:pt x="545437" y="687105"/>
                  </a:lnTo>
                  <a:lnTo>
                    <a:pt x="544703" y="685575"/>
                  </a:lnTo>
                  <a:lnTo>
                    <a:pt x="542259" y="678303"/>
                  </a:lnTo>
                  <a:lnTo>
                    <a:pt x="541991" y="676206"/>
                  </a:lnTo>
                  <a:lnTo>
                    <a:pt x="541561" y="674123"/>
                  </a:lnTo>
                  <a:lnTo>
                    <a:pt x="540737" y="673079"/>
                  </a:lnTo>
                  <a:lnTo>
                    <a:pt x="539866" y="672465"/>
                  </a:lnTo>
                  <a:lnTo>
                    <a:pt x="537916" y="670015"/>
                  </a:lnTo>
                  <a:lnTo>
                    <a:pt x="536888" y="668993"/>
                  </a:lnTo>
                  <a:lnTo>
                    <a:pt x="536387" y="668823"/>
                  </a:lnTo>
                  <a:lnTo>
                    <a:pt x="535316" y="668996"/>
                  </a:lnTo>
                  <a:lnTo>
                    <a:pt x="534267" y="669001"/>
                  </a:lnTo>
                  <a:lnTo>
                    <a:pt x="533405" y="667779"/>
                  </a:lnTo>
                  <a:lnTo>
                    <a:pt x="532622" y="666287"/>
                  </a:lnTo>
                  <a:lnTo>
                    <a:pt x="531831" y="665552"/>
                  </a:lnTo>
                  <a:lnTo>
                    <a:pt x="530512" y="665143"/>
                  </a:lnTo>
                  <a:lnTo>
                    <a:pt x="529156" y="665307"/>
                  </a:lnTo>
                  <a:lnTo>
                    <a:pt x="528365" y="666598"/>
                  </a:lnTo>
                  <a:lnTo>
                    <a:pt x="527826" y="667335"/>
                  </a:lnTo>
                  <a:lnTo>
                    <a:pt x="526802" y="669055"/>
                  </a:lnTo>
                  <a:lnTo>
                    <a:pt x="525144" y="671436"/>
                  </a:lnTo>
                  <a:lnTo>
                    <a:pt x="524392" y="672311"/>
                  </a:lnTo>
                  <a:lnTo>
                    <a:pt x="523662" y="671859"/>
                  </a:lnTo>
                  <a:lnTo>
                    <a:pt x="520470" y="669380"/>
                  </a:lnTo>
                  <a:lnTo>
                    <a:pt x="518929" y="668694"/>
                  </a:lnTo>
                  <a:lnTo>
                    <a:pt x="516839" y="669443"/>
                  </a:lnTo>
                  <a:lnTo>
                    <a:pt x="513569" y="668851"/>
                  </a:lnTo>
                  <a:lnTo>
                    <a:pt x="512303" y="668739"/>
                  </a:lnTo>
                  <a:lnTo>
                    <a:pt x="509585" y="666757"/>
                  </a:lnTo>
                  <a:lnTo>
                    <a:pt x="508475" y="666513"/>
                  </a:lnTo>
                  <a:lnTo>
                    <a:pt x="504608" y="667805"/>
                  </a:lnTo>
                  <a:lnTo>
                    <a:pt x="503753" y="668719"/>
                  </a:lnTo>
                  <a:lnTo>
                    <a:pt x="503251" y="668734"/>
                  </a:lnTo>
                  <a:lnTo>
                    <a:pt x="502222" y="668273"/>
                  </a:lnTo>
                  <a:lnTo>
                    <a:pt x="501373" y="667660"/>
                  </a:lnTo>
                  <a:lnTo>
                    <a:pt x="501317" y="667274"/>
                  </a:lnTo>
                  <a:lnTo>
                    <a:pt x="502362" y="666306"/>
                  </a:lnTo>
                  <a:lnTo>
                    <a:pt x="502444" y="665628"/>
                  </a:lnTo>
                  <a:lnTo>
                    <a:pt x="502388" y="664942"/>
                  </a:lnTo>
                  <a:lnTo>
                    <a:pt x="503897" y="662995"/>
                  </a:lnTo>
                  <a:lnTo>
                    <a:pt x="507994" y="659222"/>
                  </a:lnTo>
                  <a:lnTo>
                    <a:pt x="507312" y="657638"/>
                  </a:lnTo>
                  <a:lnTo>
                    <a:pt x="505701" y="654519"/>
                  </a:lnTo>
                  <a:lnTo>
                    <a:pt x="505478" y="653005"/>
                  </a:lnTo>
                  <a:lnTo>
                    <a:pt x="504785" y="652321"/>
                  </a:lnTo>
                  <a:lnTo>
                    <a:pt x="502820" y="652881"/>
                  </a:lnTo>
                  <a:lnTo>
                    <a:pt x="498736" y="655712"/>
                  </a:lnTo>
                  <a:lnTo>
                    <a:pt x="498181" y="655402"/>
                  </a:lnTo>
                  <a:lnTo>
                    <a:pt x="498276" y="654419"/>
                  </a:lnTo>
                  <a:lnTo>
                    <a:pt x="497856" y="651566"/>
                  </a:lnTo>
                  <a:lnTo>
                    <a:pt x="499148" y="650709"/>
                  </a:lnTo>
                  <a:lnTo>
                    <a:pt x="501131" y="649660"/>
                  </a:lnTo>
                  <a:lnTo>
                    <a:pt x="502662" y="648490"/>
                  </a:lnTo>
                  <a:lnTo>
                    <a:pt x="503018" y="647544"/>
                  </a:lnTo>
                  <a:lnTo>
                    <a:pt x="502606" y="647257"/>
                  </a:lnTo>
                  <a:lnTo>
                    <a:pt x="500345" y="647623"/>
                  </a:lnTo>
                  <a:lnTo>
                    <a:pt x="499455" y="646981"/>
                  </a:lnTo>
                  <a:lnTo>
                    <a:pt x="497991" y="644355"/>
                  </a:lnTo>
                  <a:lnTo>
                    <a:pt x="496910" y="643324"/>
                  </a:lnTo>
                  <a:lnTo>
                    <a:pt x="495932" y="642769"/>
                  </a:lnTo>
                  <a:lnTo>
                    <a:pt x="492608" y="644125"/>
                  </a:lnTo>
                  <a:lnTo>
                    <a:pt x="488744" y="645984"/>
                  </a:lnTo>
                  <a:lnTo>
                    <a:pt x="484443" y="648573"/>
                  </a:lnTo>
                  <a:lnTo>
                    <a:pt x="484470" y="649902"/>
                  </a:lnTo>
                  <a:lnTo>
                    <a:pt x="483956" y="650243"/>
                  </a:lnTo>
                  <a:lnTo>
                    <a:pt x="483132" y="651079"/>
                  </a:lnTo>
                  <a:lnTo>
                    <a:pt x="482329" y="652234"/>
                  </a:lnTo>
                  <a:lnTo>
                    <a:pt x="481645" y="652641"/>
                  </a:lnTo>
                  <a:lnTo>
                    <a:pt x="480846" y="652677"/>
                  </a:lnTo>
                  <a:lnTo>
                    <a:pt x="479209" y="652348"/>
                  </a:lnTo>
                  <a:lnTo>
                    <a:pt x="476237" y="651037"/>
                  </a:lnTo>
                  <a:lnTo>
                    <a:pt x="473011" y="649951"/>
                  </a:lnTo>
                  <a:lnTo>
                    <a:pt x="472318" y="650074"/>
                  </a:lnTo>
                  <a:lnTo>
                    <a:pt x="467940" y="649307"/>
                  </a:lnTo>
                  <a:lnTo>
                    <a:pt x="467798" y="648696"/>
                  </a:lnTo>
                  <a:lnTo>
                    <a:pt x="467143" y="647483"/>
                  </a:lnTo>
                  <a:lnTo>
                    <a:pt x="465896" y="646389"/>
                  </a:lnTo>
                  <a:lnTo>
                    <a:pt x="464702" y="646018"/>
                  </a:lnTo>
                  <a:lnTo>
                    <a:pt x="461276" y="648336"/>
                  </a:lnTo>
                  <a:lnTo>
                    <a:pt x="457410" y="650060"/>
                  </a:lnTo>
                  <a:lnTo>
                    <a:pt x="455203" y="652099"/>
                  </a:lnTo>
                  <a:lnTo>
                    <a:pt x="453392" y="654121"/>
                  </a:lnTo>
                  <a:lnTo>
                    <a:pt x="451316" y="654514"/>
                  </a:lnTo>
                  <a:lnTo>
                    <a:pt x="451219" y="655765"/>
                  </a:lnTo>
                  <a:lnTo>
                    <a:pt x="450342" y="656888"/>
                  </a:lnTo>
                  <a:lnTo>
                    <a:pt x="448764" y="658272"/>
                  </a:lnTo>
                  <a:lnTo>
                    <a:pt x="445635" y="660036"/>
                  </a:lnTo>
                  <a:lnTo>
                    <a:pt x="443516" y="660986"/>
                  </a:lnTo>
                  <a:lnTo>
                    <a:pt x="436786" y="661855"/>
                  </a:lnTo>
                  <a:lnTo>
                    <a:pt x="434384" y="662444"/>
                  </a:lnTo>
                  <a:lnTo>
                    <a:pt x="433380" y="663373"/>
                  </a:lnTo>
                  <a:lnTo>
                    <a:pt x="432303" y="665726"/>
                  </a:lnTo>
                  <a:lnTo>
                    <a:pt x="431450" y="667895"/>
                  </a:lnTo>
                  <a:lnTo>
                    <a:pt x="429586" y="669684"/>
                  </a:lnTo>
                  <a:lnTo>
                    <a:pt x="426200" y="672068"/>
                  </a:lnTo>
                  <a:lnTo>
                    <a:pt x="422221" y="674007"/>
                  </a:lnTo>
                  <a:lnTo>
                    <a:pt x="421130" y="675294"/>
                  </a:lnTo>
                  <a:lnTo>
                    <a:pt x="420929" y="676056"/>
                  </a:lnTo>
                  <a:lnTo>
                    <a:pt x="421420" y="676335"/>
                  </a:lnTo>
                  <a:lnTo>
                    <a:pt x="421904" y="676912"/>
                  </a:lnTo>
                  <a:lnTo>
                    <a:pt x="421910" y="677791"/>
                  </a:lnTo>
                  <a:lnTo>
                    <a:pt x="421391" y="678749"/>
                  </a:lnTo>
                  <a:lnTo>
                    <a:pt x="418790" y="680415"/>
                  </a:lnTo>
                  <a:lnTo>
                    <a:pt x="417329" y="681210"/>
                  </a:lnTo>
                  <a:lnTo>
                    <a:pt x="415874" y="681720"/>
                  </a:lnTo>
                  <a:lnTo>
                    <a:pt x="414242" y="681812"/>
                  </a:lnTo>
                  <a:lnTo>
                    <a:pt x="412674" y="681586"/>
                  </a:lnTo>
                  <a:lnTo>
                    <a:pt x="412240" y="681316"/>
                  </a:lnTo>
                  <a:lnTo>
                    <a:pt x="411616" y="681664"/>
                  </a:lnTo>
                  <a:lnTo>
                    <a:pt x="410186" y="682015"/>
                  </a:lnTo>
                  <a:lnTo>
                    <a:pt x="408941" y="682126"/>
                  </a:lnTo>
                  <a:lnTo>
                    <a:pt x="406207" y="683971"/>
                  </a:lnTo>
                  <a:lnTo>
                    <a:pt x="404698" y="683987"/>
                  </a:lnTo>
                  <a:lnTo>
                    <a:pt x="402825" y="683587"/>
                  </a:lnTo>
                  <a:lnTo>
                    <a:pt x="400346" y="683268"/>
                  </a:lnTo>
                  <a:lnTo>
                    <a:pt x="398562" y="683265"/>
                  </a:lnTo>
                  <a:lnTo>
                    <a:pt x="398507" y="682287"/>
                  </a:lnTo>
                  <a:lnTo>
                    <a:pt x="398782" y="679363"/>
                  </a:lnTo>
                  <a:lnTo>
                    <a:pt x="397979" y="678682"/>
                  </a:lnTo>
                  <a:lnTo>
                    <a:pt x="395498" y="677963"/>
                  </a:lnTo>
                  <a:lnTo>
                    <a:pt x="392717" y="677010"/>
                  </a:lnTo>
                  <a:lnTo>
                    <a:pt x="391374" y="675996"/>
                  </a:lnTo>
                  <a:lnTo>
                    <a:pt x="390626" y="675653"/>
                  </a:lnTo>
                  <a:lnTo>
                    <a:pt x="389584" y="675823"/>
                  </a:lnTo>
                  <a:lnTo>
                    <a:pt x="387903" y="676887"/>
                  </a:lnTo>
                  <a:lnTo>
                    <a:pt x="386308" y="678138"/>
                  </a:lnTo>
                  <a:lnTo>
                    <a:pt x="385049" y="678243"/>
                  </a:lnTo>
                  <a:lnTo>
                    <a:pt x="383760" y="677657"/>
                  </a:lnTo>
                  <a:lnTo>
                    <a:pt x="382525" y="676893"/>
                  </a:lnTo>
                  <a:lnTo>
                    <a:pt x="378303" y="675811"/>
                  </a:lnTo>
                  <a:lnTo>
                    <a:pt x="376409" y="675648"/>
                  </a:lnTo>
                  <a:lnTo>
                    <a:pt x="373032" y="675832"/>
                  </a:lnTo>
                  <a:lnTo>
                    <a:pt x="370276" y="675608"/>
                  </a:lnTo>
                  <a:lnTo>
                    <a:pt x="369842" y="675279"/>
                  </a:lnTo>
                  <a:lnTo>
                    <a:pt x="369858" y="674677"/>
                  </a:lnTo>
                  <a:lnTo>
                    <a:pt x="370263" y="673503"/>
                  </a:lnTo>
                  <a:lnTo>
                    <a:pt x="370504" y="672346"/>
                  </a:lnTo>
                  <a:lnTo>
                    <a:pt x="370177" y="671689"/>
                  </a:lnTo>
                  <a:lnTo>
                    <a:pt x="367360" y="670880"/>
                  </a:lnTo>
                  <a:lnTo>
                    <a:pt x="364788" y="670297"/>
                  </a:lnTo>
                  <a:lnTo>
                    <a:pt x="362058" y="670078"/>
                  </a:lnTo>
                  <a:lnTo>
                    <a:pt x="360218" y="670487"/>
                  </a:lnTo>
                  <a:lnTo>
                    <a:pt x="358428" y="671393"/>
                  </a:lnTo>
                  <a:lnTo>
                    <a:pt x="356945" y="673024"/>
                  </a:lnTo>
                  <a:lnTo>
                    <a:pt x="354798" y="673740"/>
                  </a:lnTo>
                  <a:lnTo>
                    <a:pt x="352237" y="674957"/>
                  </a:lnTo>
                  <a:lnTo>
                    <a:pt x="350993" y="676093"/>
                  </a:lnTo>
                  <a:lnTo>
                    <a:pt x="349119" y="678528"/>
                  </a:lnTo>
                  <a:lnTo>
                    <a:pt x="346394" y="681516"/>
                  </a:lnTo>
                  <a:lnTo>
                    <a:pt x="343913" y="684427"/>
                  </a:lnTo>
                  <a:lnTo>
                    <a:pt x="342628" y="687260"/>
                  </a:lnTo>
                  <a:lnTo>
                    <a:pt x="340929" y="689042"/>
                  </a:lnTo>
                  <a:lnTo>
                    <a:pt x="339205" y="690327"/>
                  </a:lnTo>
                  <a:lnTo>
                    <a:pt x="337964" y="693853"/>
                  </a:lnTo>
                  <a:lnTo>
                    <a:pt x="336661" y="692738"/>
                  </a:lnTo>
                  <a:lnTo>
                    <a:pt x="335165" y="691140"/>
                  </a:lnTo>
                  <a:lnTo>
                    <a:pt x="334815" y="688947"/>
                  </a:lnTo>
                  <a:lnTo>
                    <a:pt x="336603" y="683087"/>
                  </a:lnTo>
                  <a:lnTo>
                    <a:pt x="337022" y="680667"/>
                  </a:lnTo>
                  <a:lnTo>
                    <a:pt x="336575" y="679745"/>
                  </a:lnTo>
                  <a:lnTo>
                    <a:pt x="336024" y="677361"/>
                  </a:lnTo>
                  <a:lnTo>
                    <a:pt x="334975" y="676578"/>
                  </a:lnTo>
                  <a:lnTo>
                    <a:pt x="331987" y="675330"/>
                  </a:lnTo>
                  <a:lnTo>
                    <a:pt x="331032" y="675294"/>
                  </a:lnTo>
                  <a:lnTo>
                    <a:pt x="330008" y="676155"/>
                  </a:lnTo>
                  <a:lnTo>
                    <a:pt x="329002" y="676703"/>
                  </a:lnTo>
                  <a:lnTo>
                    <a:pt x="327672" y="677248"/>
                  </a:lnTo>
                  <a:lnTo>
                    <a:pt x="324338" y="678272"/>
                  </a:lnTo>
                  <a:lnTo>
                    <a:pt x="321373" y="678749"/>
                  </a:lnTo>
                  <a:lnTo>
                    <a:pt x="320662" y="679129"/>
                  </a:lnTo>
                  <a:lnTo>
                    <a:pt x="320440" y="679810"/>
                  </a:lnTo>
                  <a:lnTo>
                    <a:pt x="320680" y="680621"/>
                  </a:lnTo>
                  <a:lnTo>
                    <a:pt x="318769" y="680315"/>
                  </a:lnTo>
                  <a:lnTo>
                    <a:pt x="316780" y="680138"/>
                  </a:lnTo>
                  <a:lnTo>
                    <a:pt x="315173" y="680251"/>
                  </a:lnTo>
                  <a:lnTo>
                    <a:pt x="311237" y="681797"/>
                  </a:lnTo>
                  <a:lnTo>
                    <a:pt x="309907" y="681945"/>
                  </a:lnTo>
                  <a:lnTo>
                    <a:pt x="308419" y="681786"/>
                  </a:lnTo>
                  <a:lnTo>
                    <a:pt x="306404" y="681739"/>
                  </a:lnTo>
                  <a:lnTo>
                    <a:pt x="302569" y="681784"/>
                  </a:lnTo>
                  <a:lnTo>
                    <a:pt x="299267" y="681392"/>
                  </a:lnTo>
                  <a:lnTo>
                    <a:pt x="296586" y="679233"/>
                  </a:lnTo>
                  <a:lnTo>
                    <a:pt x="294677" y="678282"/>
                  </a:lnTo>
                  <a:lnTo>
                    <a:pt x="292655" y="677547"/>
                  </a:lnTo>
                  <a:lnTo>
                    <a:pt x="290621" y="676999"/>
                  </a:lnTo>
                  <a:lnTo>
                    <a:pt x="289941" y="675837"/>
                  </a:lnTo>
                  <a:lnTo>
                    <a:pt x="289298" y="675256"/>
                  </a:lnTo>
                  <a:lnTo>
                    <a:pt x="287615" y="675063"/>
                  </a:lnTo>
                  <a:lnTo>
                    <a:pt x="286289" y="675489"/>
                  </a:lnTo>
                  <a:lnTo>
                    <a:pt x="285458" y="678400"/>
                  </a:lnTo>
                  <a:lnTo>
                    <a:pt x="284752" y="678973"/>
                  </a:lnTo>
                  <a:lnTo>
                    <a:pt x="283066" y="679233"/>
                  </a:lnTo>
                  <a:lnTo>
                    <a:pt x="281295" y="678495"/>
                  </a:lnTo>
                  <a:lnTo>
                    <a:pt x="278848" y="676999"/>
                  </a:lnTo>
                  <a:lnTo>
                    <a:pt x="277881" y="675334"/>
                  </a:lnTo>
                  <a:lnTo>
                    <a:pt x="277058" y="674791"/>
                  </a:lnTo>
                  <a:lnTo>
                    <a:pt x="275769" y="675527"/>
                  </a:lnTo>
                  <a:lnTo>
                    <a:pt x="275698" y="677657"/>
                  </a:lnTo>
                  <a:lnTo>
                    <a:pt x="275447" y="679088"/>
                  </a:lnTo>
                  <a:lnTo>
                    <a:pt x="273908" y="679670"/>
                  </a:lnTo>
                  <a:lnTo>
                    <a:pt x="273013" y="679244"/>
                  </a:lnTo>
                  <a:lnTo>
                    <a:pt x="272296" y="677774"/>
                  </a:lnTo>
                  <a:lnTo>
                    <a:pt x="270496" y="674289"/>
                  </a:lnTo>
                  <a:lnTo>
                    <a:pt x="268710" y="672247"/>
                  </a:lnTo>
                  <a:lnTo>
                    <a:pt x="266916" y="670887"/>
                  </a:lnTo>
                  <a:lnTo>
                    <a:pt x="260997" y="670920"/>
                  </a:lnTo>
                  <a:lnTo>
                    <a:pt x="256607" y="670523"/>
                  </a:lnTo>
                  <a:lnTo>
                    <a:pt x="254624" y="669963"/>
                  </a:lnTo>
                  <a:lnTo>
                    <a:pt x="253875" y="668614"/>
                  </a:lnTo>
                  <a:lnTo>
                    <a:pt x="254603" y="665929"/>
                  </a:lnTo>
                  <a:lnTo>
                    <a:pt x="255458" y="663827"/>
                  </a:lnTo>
                  <a:lnTo>
                    <a:pt x="255434" y="663339"/>
                  </a:lnTo>
                  <a:lnTo>
                    <a:pt x="254711" y="663089"/>
                  </a:lnTo>
                  <a:lnTo>
                    <a:pt x="253445" y="662920"/>
                  </a:lnTo>
                  <a:lnTo>
                    <a:pt x="248712" y="664265"/>
                  </a:lnTo>
                  <a:lnTo>
                    <a:pt x="247425" y="664107"/>
                  </a:lnTo>
                  <a:lnTo>
                    <a:pt x="246596" y="663650"/>
                  </a:lnTo>
                  <a:lnTo>
                    <a:pt x="245598" y="663259"/>
                  </a:lnTo>
                  <a:lnTo>
                    <a:pt x="244769" y="662636"/>
                  </a:lnTo>
                  <a:lnTo>
                    <a:pt x="244190" y="661722"/>
                  </a:lnTo>
                  <a:lnTo>
                    <a:pt x="240096" y="659480"/>
                  </a:lnTo>
                  <a:lnTo>
                    <a:pt x="238887" y="658256"/>
                  </a:lnTo>
                  <a:lnTo>
                    <a:pt x="236706" y="656712"/>
                  </a:lnTo>
                  <a:lnTo>
                    <a:pt x="234861" y="655663"/>
                  </a:lnTo>
                  <a:lnTo>
                    <a:pt x="233687" y="652666"/>
                  </a:lnTo>
                  <a:lnTo>
                    <a:pt x="232631" y="649779"/>
                  </a:lnTo>
                  <a:lnTo>
                    <a:pt x="232046" y="648245"/>
                  </a:lnTo>
                  <a:lnTo>
                    <a:pt x="230290" y="647429"/>
                  </a:lnTo>
                  <a:lnTo>
                    <a:pt x="228388" y="646811"/>
                  </a:lnTo>
                  <a:lnTo>
                    <a:pt x="225170" y="648066"/>
                  </a:lnTo>
                  <a:lnTo>
                    <a:pt x="222532" y="649025"/>
                  </a:lnTo>
                  <a:lnTo>
                    <a:pt x="220595" y="649122"/>
                  </a:lnTo>
                  <a:lnTo>
                    <a:pt x="217789" y="646164"/>
                  </a:lnTo>
                  <a:lnTo>
                    <a:pt x="215546" y="642962"/>
                  </a:lnTo>
                  <a:lnTo>
                    <a:pt x="212892" y="640176"/>
                  </a:lnTo>
                  <a:lnTo>
                    <a:pt x="211130" y="638775"/>
                  </a:lnTo>
                  <a:lnTo>
                    <a:pt x="208001" y="638644"/>
                  </a:lnTo>
                  <a:lnTo>
                    <a:pt x="204470" y="637066"/>
                  </a:lnTo>
                  <a:lnTo>
                    <a:pt x="199750" y="633494"/>
                  </a:lnTo>
                  <a:lnTo>
                    <a:pt x="196338" y="630826"/>
                  </a:lnTo>
                  <a:lnTo>
                    <a:pt x="190460" y="627864"/>
                  </a:lnTo>
                  <a:lnTo>
                    <a:pt x="189095" y="626621"/>
                  </a:lnTo>
                  <a:lnTo>
                    <a:pt x="188573" y="625560"/>
                  </a:lnTo>
                  <a:lnTo>
                    <a:pt x="187767" y="623474"/>
                  </a:lnTo>
                  <a:lnTo>
                    <a:pt x="186539" y="621493"/>
                  </a:lnTo>
                  <a:lnTo>
                    <a:pt x="182371" y="620628"/>
                  </a:lnTo>
                  <a:lnTo>
                    <a:pt x="177661" y="620020"/>
                  </a:lnTo>
                  <a:lnTo>
                    <a:pt x="172693" y="621230"/>
                  </a:lnTo>
                  <a:lnTo>
                    <a:pt x="169108" y="627151"/>
                  </a:lnTo>
                  <a:lnTo>
                    <a:pt x="167385" y="628445"/>
                  </a:lnTo>
                  <a:lnTo>
                    <a:pt x="165908" y="628519"/>
                  </a:lnTo>
                  <a:lnTo>
                    <a:pt x="164696" y="627014"/>
                  </a:lnTo>
                  <a:lnTo>
                    <a:pt x="163695" y="625427"/>
                  </a:lnTo>
                  <a:lnTo>
                    <a:pt x="163146" y="623667"/>
                  </a:lnTo>
                  <a:lnTo>
                    <a:pt x="160671" y="622371"/>
                  </a:lnTo>
                  <a:lnTo>
                    <a:pt x="157869" y="620677"/>
                  </a:lnTo>
                  <a:lnTo>
                    <a:pt x="156439" y="619356"/>
                  </a:lnTo>
                  <a:lnTo>
                    <a:pt x="154819" y="618530"/>
                  </a:lnTo>
                  <a:lnTo>
                    <a:pt x="153319" y="618174"/>
                  </a:lnTo>
                  <a:lnTo>
                    <a:pt x="150412" y="617059"/>
                  </a:lnTo>
                  <a:lnTo>
                    <a:pt x="147126" y="615800"/>
                  </a:lnTo>
                  <a:lnTo>
                    <a:pt x="145584" y="615628"/>
                  </a:lnTo>
                  <a:lnTo>
                    <a:pt x="145474" y="614731"/>
                  </a:lnTo>
                  <a:lnTo>
                    <a:pt x="145936" y="612825"/>
                  </a:lnTo>
                  <a:lnTo>
                    <a:pt x="145653" y="610989"/>
                  </a:lnTo>
                  <a:lnTo>
                    <a:pt x="144660" y="610245"/>
                  </a:lnTo>
                  <a:lnTo>
                    <a:pt x="143157" y="610437"/>
                  </a:lnTo>
                  <a:lnTo>
                    <a:pt x="139687" y="607838"/>
                  </a:lnTo>
                  <a:lnTo>
                    <a:pt x="139512" y="607706"/>
                  </a:lnTo>
                  <a:lnTo>
                    <a:pt x="138523" y="606965"/>
                  </a:lnTo>
                  <a:lnTo>
                    <a:pt x="136815" y="605902"/>
                  </a:lnTo>
                  <a:lnTo>
                    <a:pt x="133932" y="605976"/>
                  </a:lnTo>
                  <a:lnTo>
                    <a:pt x="131746" y="606370"/>
                  </a:lnTo>
                  <a:lnTo>
                    <a:pt x="130148" y="605282"/>
                  </a:lnTo>
                  <a:lnTo>
                    <a:pt x="127834" y="603565"/>
                  </a:lnTo>
                  <a:lnTo>
                    <a:pt x="127417" y="603181"/>
                  </a:lnTo>
                  <a:lnTo>
                    <a:pt x="126735" y="602553"/>
                  </a:lnTo>
                  <a:lnTo>
                    <a:pt x="124388" y="599236"/>
                  </a:lnTo>
                  <a:lnTo>
                    <a:pt x="121613" y="595309"/>
                  </a:lnTo>
                  <a:lnTo>
                    <a:pt x="120211" y="594733"/>
                  </a:lnTo>
                  <a:lnTo>
                    <a:pt x="119490" y="595028"/>
                  </a:lnTo>
                  <a:lnTo>
                    <a:pt x="118667" y="597116"/>
                  </a:lnTo>
                  <a:lnTo>
                    <a:pt x="118050" y="596906"/>
                  </a:lnTo>
                  <a:lnTo>
                    <a:pt x="117022" y="597049"/>
                  </a:lnTo>
                  <a:lnTo>
                    <a:pt x="115806" y="597778"/>
                  </a:lnTo>
                  <a:lnTo>
                    <a:pt x="114635" y="597969"/>
                  </a:lnTo>
                  <a:lnTo>
                    <a:pt x="113888" y="597754"/>
                  </a:lnTo>
                  <a:lnTo>
                    <a:pt x="113573" y="597234"/>
                  </a:lnTo>
                  <a:lnTo>
                    <a:pt x="113906" y="594480"/>
                  </a:lnTo>
                  <a:lnTo>
                    <a:pt x="113202" y="593618"/>
                  </a:lnTo>
                  <a:lnTo>
                    <a:pt x="113828" y="591701"/>
                  </a:lnTo>
                  <a:lnTo>
                    <a:pt x="114886" y="590044"/>
                  </a:lnTo>
                  <a:lnTo>
                    <a:pt x="113802" y="588813"/>
                  </a:lnTo>
                  <a:lnTo>
                    <a:pt x="112465" y="587051"/>
                  </a:lnTo>
                  <a:lnTo>
                    <a:pt x="112323" y="585457"/>
                  </a:lnTo>
                  <a:lnTo>
                    <a:pt x="113046" y="583445"/>
                  </a:lnTo>
                  <a:lnTo>
                    <a:pt x="113394" y="581722"/>
                  </a:lnTo>
                  <a:lnTo>
                    <a:pt x="113176" y="581088"/>
                  </a:lnTo>
                  <a:lnTo>
                    <a:pt x="112118" y="580126"/>
                  </a:lnTo>
                  <a:lnTo>
                    <a:pt x="108097" y="575397"/>
                  </a:lnTo>
                  <a:lnTo>
                    <a:pt x="107881" y="574894"/>
                  </a:lnTo>
                  <a:lnTo>
                    <a:pt x="107199" y="573319"/>
                  </a:lnTo>
                  <a:lnTo>
                    <a:pt x="106890" y="570935"/>
                  </a:lnTo>
                  <a:lnTo>
                    <a:pt x="106363" y="569230"/>
                  </a:lnTo>
                  <a:lnTo>
                    <a:pt x="105748" y="567922"/>
                  </a:lnTo>
                  <a:lnTo>
                    <a:pt x="105793" y="567310"/>
                  </a:lnTo>
                  <a:lnTo>
                    <a:pt x="106253" y="566991"/>
                  </a:lnTo>
                  <a:lnTo>
                    <a:pt x="108771" y="566669"/>
                  </a:lnTo>
                  <a:lnTo>
                    <a:pt x="111097" y="566468"/>
                  </a:lnTo>
                  <a:lnTo>
                    <a:pt x="112629" y="566023"/>
                  </a:lnTo>
                  <a:lnTo>
                    <a:pt x="113422" y="566974"/>
                  </a:lnTo>
                  <a:lnTo>
                    <a:pt x="113793" y="568429"/>
                  </a:lnTo>
                  <a:lnTo>
                    <a:pt x="114186" y="569196"/>
                  </a:lnTo>
                  <a:lnTo>
                    <a:pt x="115659" y="570576"/>
                  </a:lnTo>
                  <a:lnTo>
                    <a:pt x="117451" y="571898"/>
                  </a:lnTo>
                  <a:lnTo>
                    <a:pt x="119192" y="571727"/>
                  </a:lnTo>
                  <a:lnTo>
                    <a:pt x="120725" y="571161"/>
                  </a:lnTo>
                  <a:lnTo>
                    <a:pt x="122059" y="569006"/>
                  </a:lnTo>
                  <a:lnTo>
                    <a:pt x="123001" y="568479"/>
                  </a:lnTo>
                  <a:lnTo>
                    <a:pt x="124094" y="568384"/>
                  </a:lnTo>
                  <a:lnTo>
                    <a:pt x="124087" y="568224"/>
                  </a:lnTo>
                  <a:lnTo>
                    <a:pt x="124031" y="566836"/>
                  </a:lnTo>
                  <a:lnTo>
                    <a:pt x="124416" y="563411"/>
                  </a:lnTo>
                  <a:lnTo>
                    <a:pt x="124284" y="562038"/>
                  </a:lnTo>
                  <a:lnTo>
                    <a:pt x="123789" y="560800"/>
                  </a:lnTo>
                  <a:lnTo>
                    <a:pt x="123878" y="559424"/>
                  </a:lnTo>
                  <a:lnTo>
                    <a:pt x="123716" y="557420"/>
                  </a:lnTo>
                  <a:lnTo>
                    <a:pt x="122461" y="556053"/>
                  </a:lnTo>
                  <a:lnTo>
                    <a:pt x="121645" y="555529"/>
                  </a:lnTo>
                  <a:lnTo>
                    <a:pt x="121518" y="554791"/>
                  </a:lnTo>
                  <a:lnTo>
                    <a:pt x="121934" y="553419"/>
                  </a:lnTo>
                  <a:lnTo>
                    <a:pt x="122232" y="551842"/>
                  </a:lnTo>
                  <a:lnTo>
                    <a:pt x="121801" y="550680"/>
                  </a:lnTo>
                  <a:lnTo>
                    <a:pt x="121732" y="550498"/>
                  </a:lnTo>
                  <a:lnTo>
                    <a:pt x="120714" y="549902"/>
                  </a:lnTo>
                  <a:lnTo>
                    <a:pt x="119522" y="548886"/>
                  </a:lnTo>
                  <a:lnTo>
                    <a:pt x="118103" y="547524"/>
                  </a:lnTo>
                  <a:lnTo>
                    <a:pt x="117402" y="546528"/>
                  </a:lnTo>
                  <a:lnTo>
                    <a:pt x="116259" y="545430"/>
                  </a:lnTo>
                  <a:lnTo>
                    <a:pt x="114863" y="543731"/>
                  </a:lnTo>
                  <a:lnTo>
                    <a:pt x="114599" y="539997"/>
                  </a:lnTo>
                  <a:lnTo>
                    <a:pt x="114463" y="536066"/>
                  </a:lnTo>
                  <a:lnTo>
                    <a:pt x="113975" y="534109"/>
                  </a:lnTo>
                  <a:lnTo>
                    <a:pt x="113200" y="530983"/>
                  </a:lnTo>
                  <a:lnTo>
                    <a:pt x="113312" y="529934"/>
                  </a:lnTo>
                  <a:lnTo>
                    <a:pt x="113783" y="529134"/>
                  </a:lnTo>
                  <a:lnTo>
                    <a:pt x="117735" y="526614"/>
                  </a:lnTo>
                  <a:lnTo>
                    <a:pt x="118594" y="525637"/>
                  </a:lnTo>
                  <a:lnTo>
                    <a:pt x="118734" y="524892"/>
                  </a:lnTo>
                  <a:lnTo>
                    <a:pt x="118583" y="523783"/>
                  </a:lnTo>
                  <a:lnTo>
                    <a:pt x="117838" y="522554"/>
                  </a:lnTo>
                  <a:lnTo>
                    <a:pt x="116255" y="521597"/>
                  </a:lnTo>
                  <a:lnTo>
                    <a:pt x="114005" y="520037"/>
                  </a:lnTo>
                  <a:lnTo>
                    <a:pt x="111964" y="518409"/>
                  </a:lnTo>
                  <a:lnTo>
                    <a:pt x="108535" y="517416"/>
                  </a:lnTo>
                  <a:lnTo>
                    <a:pt x="104361" y="516206"/>
                  </a:lnTo>
                  <a:lnTo>
                    <a:pt x="103368" y="515020"/>
                  </a:lnTo>
                  <a:lnTo>
                    <a:pt x="102353" y="512123"/>
                  </a:lnTo>
                  <a:lnTo>
                    <a:pt x="100636" y="507704"/>
                  </a:lnTo>
                  <a:lnTo>
                    <a:pt x="98807" y="502983"/>
                  </a:lnTo>
                  <a:lnTo>
                    <a:pt x="97402" y="500071"/>
                  </a:lnTo>
                  <a:lnTo>
                    <a:pt x="97335" y="498668"/>
                  </a:lnTo>
                  <a:lnTo>
                    <a:pt x="98181" y="495090"/>
                  </a:lnTo>
                  <a:lnTo>
                    <a:pt x="98075" y="494326"/>
                  </a:lnTo>
                  <a:lnTo>
                    <a:pt x="97341" y="494064"/>
                  </a:lnTo>
                  <a:lnTo>
                    <a:pt x="95935" y="494531"/>
                  </a:lnTo>
                  <a:lnTo>
                    <a:pt x="94808" y="495099"/>
                  </a:lnTo>
                  <a:lnTo>
                    <a:pt x="93849" y="494804"/>
                  </a:lnTo>
                  <a:lnTo>
                    <a:pt x="92951" y="494207"/>
                  </a:lnTo>
                  <a:lnTo>
                    <a:pt x="92765" y="494000"/>
                  </a:lnTo>
                  <a:lnTo>
                    <a:pt x="92696" y="493921"/>
                  </a:lnTo>
                  <a:lnTo>
                    <a:pt x="91029" y="494307"/>
                  </a:lnTo>
                  <a:lnTo>
                    <a:pt x="87680" y="494526"/>
                  </a:lnTo>
                  <a:lnTo>
                    <a:pt x="86518" y="494486"/>
                  </a:lnTo>
                  <a:lnTo>
                    <a:pt x="84892" y="494432"/>
                  </a:lnTo>
                  <a:lnTo>
                    <a:pt x="81539" y="493613"/>
                  </a:lnTo>
                  <a:lnTo>
                    <a:pt x="77011" y="492510"/>
                  </a:lnTo>
                  <a:lnTo>
                    <a:pt x="72342" y="490969"/>
                  </a:lnTo>
                  <a:lnTo>
                    <a:pt x="69865" y="489750"/>
                  </a:lnTo>
                  <a:lnTo>
                    <a:pt x="68995" y="489324"/>
                  </a:lnTo>
                  <a:lnTo>
                    <a:pt x="66879" y="488047"/>
                  </a:lnTo>
                  <a:lnTo>
                    <a:pt x="65367" y="486949"/>
                  </a:lnTo>
                  <a:lnTo>
                    <a:pt x="65097" y="484074"/>
                  </a:lnTo>
                  <a:lnTo>
                    <a:pt x="64009" y="484297"/>
                  </a:lnTo>
                  <a:lnTo>
                    <a:pt x="61437" y="485332"/>
                  </a:lnTo>
                  <a:lnTo>
                    <a:pt x="58472" y="485993"/>
                  </a:lnTo>
                  <a:lnTo>
                    <a:pt x="56840" y="486003"/>
                  </a:lnTo>
                  <a:lnTo>
                    <a:pt x="56177" y="485537"/>
                  </a:lnTo>
                  <a:lnTo>
                    <a:pt x="55192" y="482507"/>
                  </a:lnTo>
                  <a:lnTo>
                    <a:pt x="54475" y="481654"/>
                  </a:lnTo>
                  <a:lnTo>
                    <a:pt x="53138" y="481318"/>
                  </a:lnTo>
                  <a:lnTo>
                    <a:pt x="51694" y="480782"/>
                  </a:lnTo>
                  <a:lnTo>
                    <a:pt x="50968" y="479990"/>
                  </a:lnTo>
                  <a:lnTo>
                    <a:pt x="50804" y="478992"/>
                  </a:lnTo>
                  <a:lnTo>
                    <a:pt x="51450" y="477844"/>
                  </a:lnTo>
                  <a:lnTo>
                    <a:pt x="52214" y="476962"/>
                  </a:lnTo>
                  <a:lnTo>
                    <a:pt x="52342" y="471562"/>
                  </a:lnTo>
                  <a:lnTo>
                    <a:pt x="51843" y="469646"/>
                  </a:lnTo>
                  <a:lnTo>
                    <a:pt x="51426" y="468038"/>
                  </a:lnTo>
                  <a:lnTo>
                    <a:pt x="50364" y="466032"/>
                  </a:lnTo>
                  <a:lnTo>
                    <a:pt x="49375" y="464790"/>
                  </a:lnTo>
                  <a:lnTo>
                    <a:pt x="47870" y="463643"/>
                  </a:lnTo>
                  <a:lnTo>
                    <a:pt x="45548" y="462449"/>
                  </a:lnTo>
                  <a:lnTo>
                    <a:pt x="43482" y="462009"/>
                  </a:lnTo>
                  <a:lnTo>
                    <a:pt x="40973" y="462879"/>
                  </a:lnTo>
                  <a:lnTo>
                    <a:pt x="40176" y="462544"/>
                  </a:lnTo>
                  <a:lnTo>
                    <a:pt x="39128" y="458851"/>
                  </a:lnTo>
                  <a:lnTo>
                    <a:pt x="38461" y="458094"/>
                  </a:lnTo>
                  <a:lnTo>
                    <a:pt x="34006" y="456574"/>
                  </a:lnTo>
                  <a:lnTo>
                    <a:pt x="31987" y="456221"/>
                  </a:lnTo>
                  <a:lnTo>
                    <a:pt x="29670" y="456699"/>
                  </a:lnTo>
                  <a:lnTo>
                    <a:pt x="28347" y="457104"/>
                  </a:lnTo>
                  <a:lnTo>
                    <a:pt x="27284" y="456426"/>
                  </a:lnTo>
                  <a:lnTo>
                    <a:pt x="25622" y="455570"/>
                  </a:lnTo>
                  <a:lnTo>
                    <a:pt x="23989" y="454985"/>
                  </a:lnTo>
                  <a:lnTo>
                    <a:pt x="21963" y="454961"/>
                  </a:lnTo>
                  <a:lnTo>
                    <a:pt x="20655" y="455330"/>
                  </a:lnTo>
                  <a:lnTo>
                    <a:pt x="20325" y="455115"/>
                  </a:lnTo>
                  <a:lnTo>
                    <a:pt x="19694" y="454439"/>
                  </a:lnTo>
                  <a:lnTo>
                    <a:pt x="17001" y="452399"/>
                  </a:lnTo>
                  <a:lnTo>
                    <a:pt x="16913" y="451881"/>
                  </a:lnTo>
                  <a:lnTo>
                    <a:pt x="21044" y="449871"/>
                  </a:lnTo>
                  <a:lnTo>
                    <a:pt x="23475" y="449104"/>
                  </a:lnTo>
                  <a:lnTo>
                    <a:pt x="24751" y="448492"/>
                  </a:lnTo>
                  <a:lnTo>
                    <a:pt x="25024" y="448622"/>
                  </a:lnTo>
                  <a:lnTo>
                    <a:pt x="25652" y="449551"/>
                  </a:lnTo>
                  <a:lnTo>
                    <a:pt x="27263" y="450166"/>
                  </a:lnTo>
                  <a:lnTo>
                    <a:pt x="28392" y="449998"/>
                  </a:lnTo>
                  <a:lnTo>
                    <a:pt x="28986" y="449530"/>
                  </a:lnTo>
                  <a:lnTo>
                    <a:pt x="30981" y="448420"/>
                  </a:lnTo>
                  <a:lnTo>
                    <a:pt x="32542" y="447133"/>
                  </a:lnTo>
                  <a:lnTo>
                    <a:pt x="33421" y="446070"/>
                  </a:lnTo>
                  <a:lnTo>
                    <a:pt x="32950" y="444397"/>
                  </a:lnTo>
                  <a:lnTo>
                    <a:pt x="30495" y="442378"/>
                  </a:lnTo>
                  <a:lnTo>
                    <a:pt x="28934" y="441294"/>
                  </a:lnTo>
                  <a:lnTo>
                    <a:pt x="28457" y="440563"/>
                  </a:lnTo>
                  <a:lnTo>
                    <a:pt x="28856" y="438367"/>
                  </a:lnTo>
                  <a:lnTo>
                    <a:pt x="29431" y="436188"/>
                  </a:lnTo>
                  <a:lnTo>
                    <a:pt x="29055" y="435357"/>
                  </a:lnTo>
                  <a:lnTo>
                    <a:pt x="28590" y="434647"/>
                  </a:lnTo>
                  <a:lnTo>
                    <a:pt x="28381" y="432263"/>
                  </a:lnTo>
                  <a:lnTo>
                    <a:pt x="27312" y="429384"/>
                  </a:lnTo>
                  <a:lnTo>
                    <a:pt x="26144" y="427703"/>
                  </a:lnTo>
                  <a:lnTo>
                    <a:pt x="25822" y="425438"/>
                  </a:lnTo>
                  <a:lnTo>
                    <a:pt x="25755" y="423309"/>
                  </a:lnTo>
                  <a:lnTo>
                    <a:pt x="27168" y="419979"/>
                  </a:lnTo>
                  <a:lnTo>
                    <a:pt x="26645" y="418538"/>
                  </a:lnTo>
                  <a:lnTo>
                    <a:pt x="25157" y="417258"/>
                  </a:lnTo>
                  <a:lnTo>
                    <a:pt x="20050" y="414941"/>
                  </a:lnTo>
                  <a:lnTo>
                    <a:pt x="14818" y="413400"/>
                  </a:lnTo>
                  <a:lnTo>
                    <a:pt x="12825" y="413459"/>
                  </a:lnTo>
                  <a:lnTo>
                    <a:pt x="11588" y="413364"/>
                  </a:lnTo>
                  <a:lnTo>
                    <a:pt x="10128" y="414722"/>
                  </a:lnTo>
                  <a:lnTo>
                    <a:pt x="9249" y="416490"/>
                  </a:lnTo>
                  <a:lnTo>
                    <a:pt x="8020" y="416649"/>
                  </a:lnTo>
                  <a:lnTo>
                    <a:pt x="5789" y="415897"/>
                  </a:lnTo>
                  <a:lnTo>
                    <a:pt x="4297" y="414763"/>
                  </a:lnTo>
                  <a:lnTo>
                    <a:pt x="3246" y="412391"/>
                  </a:lnTo>
                  <a:lnTo>
                    <a:pt x="2421" y="409339"/>
                  </a:lnTo>
                  <a:lnTo>
                    <a:pt x="1963" y="408382"/>
                  </a:lnTo>
                  <a:lnTo>
                    <a:pt x="2200" y="407557"/>
                  </a:lnTo>
                  <a:lnTo>
                    <a:pt x="2712" y="406822"/>
                  </a:lnTo>
                  <a:lnTo>
                    <a:pt x="4140" y="406135"/>
                  </a:lnTo>
                  <a:lnTo>
                    <a:pt x="4377" y="405428"/>
                  </a:lnTo>
                  <a:lnTo>
                    <a:pt x="4164" y="404562"/>
                  </a:lnTo>
                  <a:lnTo>
                    <a:pt x="3017" y="403466"/>
                  </a:lnTo>
                  <a:lnTo>
                    <a:pt x="1838" y="401914"/>
                  </a:lnTo>
                  <a:lnTo>
                    <a:pt x="0" y="398687"/>
                  </a:lnTo>
                  <a:lnTo>
                    <a:pt x="350" y="396908"/>
                  </a:lnTo>
                  <a:lnTo>
                    <a:pt x="642" y="394346"/>
                  </a:lnTo>
                  <a:lnTo>
                    <a:pt x="538" y="392992"/>
                  </a:lnTo>
                  <a:lnTo>
                    <a:pt x="2397" y="392644"/>
                  </a:lnTo>
                  <a:lnTo>
                    <a:pt x="4768" y="391951"/>
                  </a:lnTo>
                  <a:lnTo>
                    <a:pt x="5870" y="390800"/>
                  </a:lnTo>
                  <a:lnTo>
                    <a:pt x="6630" y="389625"/>
                  </a:lnTo>
                  <a:lnTo>
                    <a:pt x="6796" y="388898"/>
                  </a:lnTo>
                  <a:lnTo>
                    <a:pt x="6086" y="386089"/>
                  </a:lnTo>
                  <a:lnTo>
                    <a:pt x="5140" y="384833"/>
                  </a:lnTo>
                  <a:lnTo>
                    <a:pt x="5043" y="383862"/>
                  </a:lnTo>
                  <a:lnTo>
                    <a:pt x="5505" y="383120"/>
                  </a:lnTo>
                  <a:lnTo>
                    <a:pt x="6131" y="381837"/>
                  </a:lnTo>
                  <a:lnTo>
                    <a:pt x="7329" y="379208"/>
                  </a:lnTo>
                  <a:lnTo>
                    <a:pt x="8497" y="377532"/>
                  </a:lnTo>
                  <a:lnTo>
                    <a:pt x="9137" y="377107"/>
                  </a:lnTo>
                  <a:lnTo>
                    <a:pt x="10566" y="376717"/>
                  </a:lnTo>
                  <a:lnTo>
                    <a:pt x="14049" y="376255"/>
                  </a:lnTo>
                  <a:lnTo>
                    <a:pt x="17791" y="375076"/>
                  </a:lnTo>
                  <a:lnTo>
                    <a:pt x="22240" y="371551"/>
                  </a:lnTo>
                  <a:lnTo>
                    <a:pt x="23717" y="370546"/>
                  </a:lnTo>
                  <a:lnTo>
                    <a:pt x="25660" y="370042"/>
                  </a:lnTo>
                  <a:lnTo>
                    <a:pt x="27047" y="370078"/>
                  </a:lnTo>
                  <a:lnTo>
                    <a:pt x="27297" y="369647"/>
                  </a:lnTo>
                  <a:lnTo>
                    <a:pt x="26401" y="367462"/>
                  </a:lnTo>
                  <a:lnTo>
                    <a:pt x="26619" y="366669"/>
                  </a:lnTo>
                  <a:lnTo>
                    <a:pt x="27150" y="366046"/>
                  </a:lnTo>
                  <a:lnTo>
                    <a:pt x="27824" y="365760"/>
                  </a:lnTo>
                  <a:lnTo>
                    <a:pt x="30894" y="366912"/>
                  </a:lnTo>
                  <a:lnTo>
                    <a:pt x="33257" y="366792"/>
                  </a:lnTo>
                  <a:lnTo>
                    <a:pt x="36125" y="366107"/>
                  </a:lnTo>
                  <a:lnTo>
                    <a:pt x="42311" y="362248"/>
                  </a:lnTo>
                  <a:lnTo>
                    <a:pt x="43080" y="362310"/>
                  </a:lnTo>
                  <a:lnTo>
                    <a:pt x="43698" y="362831"/>
                  </a:lnTo>
                  <a:lnTo>
                    <a:pt x="44447" y="365155"/>
                  </a:lnTo>
                  <a:lnTo>
                    <a:pt x="45300" y="370059"/>
                  </a:lnTo>
                  <a:lnTo>
                    <a:pt x="45768" y="370672"/>
                  </a:lnTo>
                  <a:lnTo>
                    <a:pt x="50076" y="370739"/>
                  </a:lnTo>
                  <a:lnTo>
                    <a:pt x="53002" y="368955"/>
                  </a:lnTo>
                  <a:lnTo>
                    <a:pt x="54285" y="368534"/>
                  </a:lnTo>
                  <a:lnTo>
                    <a:pt x="56371" y="368824"/>
                  </a:lnTo>
                  <a:lnTo>
                    <a:pt x="57464" y="367988"/>
                  </a:lnTo>
                  <a:lnTo>
                    <a:pt x="58619" y="367403"/>
                  </a:lnTo>
                  <a:lnTo>
                    <a:pt x="59952" y="369457"/>
                  </a:lnTo>
                  <a:lnTo>
                    <a:pt x="61672" y="368475"/>
                  </a:lnTo>
                  <a:lnTo>
                    <a:pt x="63525" y="366912"/>
                  </a:lnTo>
                  <a:lnTo>
                    <a:pt x="64425" y="365296"/>
                  </a:lnTo>
                  <a:lnTo>
                    <a:pt x="65687" y="363550"/>
                  </a:lnTo>
                  <a:lnTo>
                    <a:pt x="66665" y="361335"/>
                  </a:lnTo>
                  <a:lnTo>
                    <a:pt x="67056" y="359239"/>
                  </a:lnTo>
                  <a:lnTo>
                    <a:pt x="67526" y="358258"/>
                  </a:lnTo>
                  <a:lnTo>
                    <a:pt x="68572" y="357247"/>
                  </a:lnTo>
                  <a:lnTo>
                    <a:pt x="71128" y="352932"/>
                  </a:lnTo>
                  <a:lnTo>
                    <a:pt x="72979" y="351830"/>
                  </a:lnTo>
                  <a:lnTo>
                    <a:pt x="74724" y="351436"/>
                  </a:lnTo>
                  <a:lnTo>
                    <a:pt x="79045" y="352184"/>
                  </a:lnTo>
                  <a:lnTo>
                    <a:pt x="81299" y="352089"/>
                  </a:lnTo>
                  <a:lnTo>
                    <a:pt x="87883" y="352656"/>
                  </a:lnTo>
                  <a:lnTo>
                    <a:pt x="90926" y="351827"/>
                  </a:lnTo>
                  <a:lnTo>
                    <a:pt x="93046" y="351003"/>
                  </a:lnTo>
                  <a:lnTo>
                    <a:pt x="96168" y="351133"/>
                  </a:lnTo>
                  <a:lnTo>
                    <a:pt x="99861" y="350476"/>
                  </a:lnTo>
                  <a:lnTo>
                    <a:pt x="104789" y="345053"/>
                  </a:lnTo>
                  <a:lnTo>
                    <a:pt x="104845" y="343899"/>
                  </a:lnTo>
                  <a:lnTo>
                    <a:pt x="105145" y="342674"/>
                  </a:lnTo>
                  <a:lnTo>
                    <a:pt x="106924" y="341462"/>
                  </a:lnTo>
                  <a:lnTo>
                    <a:pt x="109142" y="340352"/>
                  </a:lnTo>
                  <a:lnTo>
                    <a:pt x="113551" y="337696"/>
                  </a:lnTo>
                  <a:lnTo>
                    <a:pt x="122526" y="333487"/>
                  </a:lnTo>
                  <a:lnTo>
                    <a:pt x="125735" y="331800"/>
                  </a:lnTo>
                  <a:lnTo>
                    <a:pt x="127080" y="331847"/>
                  </a:lnTo>
                  <a:lnTo>
                    <a:pt x="130386" y="330788"/>
                  </a:lnTo>
                  <a:lnTo>
                    <a:pt x="136184" y="328724"/>
                  </a:lnTo>
                  <a:lnTo>
                    <a:pt x="137827" y="326153"/>
                  </a:lnTo>
                  <a:lnTo>
                    <a:pt x="139358" y="325642"/>
                  </a:lnTo>
                  <a:lnTo>
                    <a:pt x="146137" y="325179"/>
                  </a:lnTo>
                  <a:lnTo>
                    <a:pt x="146556" y="324886"/>
                  </a:lnTo>
                  <a:lnTo>
                    <a:pt x="146800" y="324452"/>
                  </a:lnTo>
                  <a:lnTo>
                    <a:pt x="146424" y="322592"/>
                  </a:lnTo>
                  <a:lnTo>
                    <a:pt x="145986" y="320991"/>
                  </a:lnTo>
                  <a:lnTo>
                    <a:pt x="146508" y="320518"/>
                  </a:lnTo>
                  <a:lnTo>
                    <a:pt x="147085" y="319784"/>
                  </a:lnTo>
                  <a:lnTo>
                    <a:pt x="146996" y="318752"/>
                  </a:lnTo>
                  <a:lnTo>
                    <a:pt x="145906" y="315417"/>
                  </a:lnTo>
                  <a:lnTo>
                    <a:pt x="145320" y="312246"/>
                  </a:lnTo>
                  <a:lnTo>
                    <a:pt x="144936" y="309385"/>
                  </a:lnTo>
                  <a:lnTo>
                    <a:pt x="145005" y="308317"/>
                  </a:lnTo>
                  <a:lnTo>
                    <a:pt x="145828" y="306475"/>
                  </a:lnTo>
                  <a:lnTo>
                    <a:pt x="146890" y="304796"/>
                  </a:lnTo>
                  <a:lnTo>
                    <a:pt x="150732" y="303231"/>
                  </a:lnTo>
                  <a:lnTo>
                    <a:pt x="153273" y="302756"/>
                  </a:lnTo>
                  <a:lnTo>
                    <a:pt x="153379" y="301733"/>
                  </a:lnTo>
                  <a:lnTo>
                    <a:pt x="151321" y="301094"/>
                  </a:lnTo>
                  <a:lnTo>
                    <a:pt x="149834" y="300070"/>
                  </a:lnTo>
                  <a:lnTo>
                    <a:pt x="149566" y="299486"/>
                  </a:lnTo>
                  <a:lnTo>
                    <a:pt x="149637" y="298821"/>
                  </a:lnTo>
                  <a:lnTo>
                    <a:pt x="149985" y="298212"/>
                  </a:lnTo>
                  <a:lnTo>
                    <a:pt x="152568" y="297068"/>
                  </a:lnTo>
                  <a:lnTo>
                    <a:pt x="154999" y="295928"/>
                  </a:lnTo>
                  <a:lnTo>
                    <a:pt x="157966" y="296620"/>
                  </a:lnTo>
                  <a:lnTo>
                    <a:pt x="158553" y="296178"/>
                  </a:lnTo>
                  <a:lnTo>
                    <a:pt x="158730" y="295035"/>
                  </a:lnTo>
                  <a:lnTo>
                    <a:pt x="158096" y="293886"/>
                  </a:lnTo>
                  <a:lnTo>
                    <a:pt x="157493" y="292008"/>
                  </a:lnTo>
                  <a:lnTo>
                    <a:pt x="156122" y="291046"/>
                  </a:lnTo>
                  <a:lnTo>
                    <a:pt x="156070" y="289892"/>
                  </a:lnTo>
                  <a:lnTo>
                    <a:pt x="156919" y="287900"/>
                  </a:lnTo>
                  <a:lnTo>
                    <a:pt x="155746" y="284208"/>
                  </a:lnTo>
                  <a:lnTo>
                    <a:pt x="154478" y="280947"/>
                  </a:lnTo>
                  <a:lnTo>
                    <a:pt x="152323" y="275358"/>
                  </a:lnTo>
                  <a:lnTo>
                    <a:pt x="150898" y="273744"/>
                  </a:lnTo>
                  <a:lnTo>
                    <a:pt x="150108" y="271163"/>
                  </a:lnTo>
                  <a:lnTo>
                    <a:pt x="149212" y="269806"/>
                  </a:lnTo>
                  <a:lnTo>
                    <a:pt x="149294" y="267800"/>
                  </a:lnTo>
                  <a:lnTo>
                    <a:pt x="149434" y="266390"/>
                  </a:lnTo>
                  <a:lnTo>
                    <a:pt x="149203" y="263589"/>
                  </a:lnTo>
                  <a:lnTo>
                    <a:pt x="148793" y="260551"/>
                  </a:lnTo>
                  <a:lnTo>
                    <a:pt x="149207" y="257461"/>
                  </a:lnTo>
                  <a:lnTo>
                    <a:pt x="150002" y="255425"/>
                  </a:lnTo>
                  <a:lnTo>
                    <a:pt x="149790" y="254646"/>
                  </a:lnTo>
                  <a:lnTo>
                    <a:pt x="150214" y="254060"/>
                  </a:lnTo>
                  <a:lnTo>
                    <a:pt x="151427" y="253865"/>
                  </a:lnTo>
                  <a:lnTo>
                    <a:pt x="152004" y="253032"/>
                  </a:lnTo>
                  <a:lnTo>
                    <a:pt x="151427" y="252175"/>
                  </a:lnTo>
                  <a:lnTo>
                    <a:pt x="149335" y="251515"/>
                  </a:lnTo>
                  <a:lnTo>
                    <a:pt x="146996" y="250484"/>
                  </a:lnTo>
                  <a:lnTo>
                    <a:pt x="144183" y="250602"/>
                  </a:lnTo>
                  <a:lnTo>
                    <a:pt x="141293" y="250781"/>
                  </a:lnTo>
                  <a:lnTo>
                    <a:pt x="139855" y="250018"/>
                  </a:lnTo>
                  <a:lnTo>
                    <a:pt x="138598" y="249045"/>
                  </a:lnTo>
                  <a:lnTo>
                    <a:pt x="138523" y="248418"/>
                  </a:lnTo>
                  <a:lnTo>
                    <a:pt x="140254" y="246771"/>
                  </a:lnTo>
                  <a:lnTo>
                    <a:pt x="142664" y="245068"/>
                  </a:lnTo>
                  <a:lnTo>
                    <a:pt x="146403" y="244315"/>
                  </a:lnTo>
                  <a:lnTo>
                    <a:pt x="150531" y="243191"/>
                  </a:lnTo>
                  <a:lnTo>
                    <a:pt x="152615" y="242373"/>
                  </a:lnTo>
                  <a:lnTo>
                    <a:pt x="155392" y="241784"/>
                  </a:lnTo>
                  <a:lnTo>
                    <a:pt x="158605" y="241536"/>
                  </a:lnTo>
                  <a:lnTo>
                    <a:pt x="160225" y="241708"/>
                  </a:lnTo>
                  <a:lnTo>
                    <a:pt x="164360" y="240617"/>
                  </a:lnTo>
                  <a:lnTo>
                    <a:pt x="170870" y="238506"/>
                  </a:lnTo>
                  <a:lnTo>
                    <a:pt x="176781" y="236734"/>
                  </a:lnTo>
                  <a:lnTo>
                    <a:pt x="178770" y="235678"/>
                  </a:lnTo>
                  <a:lnTo>
                    <a:pt x="180249" y="236734"/>
                  </a:lnTo>
                  <a:lnTo>
                    <a:pt x="180929" y="239059"/>
                  </a:lnTo>
                  <a:lnTo>
                    <a:pt x="182650" y="240263"/>
                  </a:lnTo>
                  <a:lnTo>
                    <a:pt x="184362" y="240844"/>
                  </a:lnTo>
                  <a:lnTo>
                    <a:pt x="185342" y="240816"/>
                  </a:lnTo>
                  <a:lnTo>
                    <a:pt x="188295" y="239913"/>
                  </a:lnTo>
                  <a:lnTo>
                    <a:pt x="191475" y="239249"/>
                  </a:lnTo>
                  <a:lnTo>
                    <a:pt x="192732" y="239611"/>
                  </a:lnTo>
                  <a:lnTo>
                    <a:pt x="194352" y="240800"/>
                  </a:lnTo>
                  <a:lnTo>
                    <a:pt x="196165" y="241864"/>
                  </a:lnTo>
                  <a:lnTo>
                    <a:pt x="197111" y="241812"/>
                  </a:lnTo>
                  <a:lnTo>
                    <a:pt x="197940" y="240993"/>
                  </a:lnTo>
                  <a:lnTo>
                    <a:pt x="198780" y="239335"/>
                  </a:lnTo>
                  <a:lnTo>
                    <a:pt x="199314" y="237220"/>
                  </a:lnTo>
                  <a:lnTo>
                    <a:pt x="199417" y="234991"/>
                  </a:lnTo>
                  <a:lnTo>
                    <a:pt x="199104" y="233623"/>
                  </a:lnTo>
                  <a:lnTo>
                    <a:pt x="198461" y="233120"/>
                  </a:lnTo>
                  <a:lnTo>
                    <a:pt x="195567" y="232313"/>
                  </a:lnTo>
                  <a:lnTo>
                    <a:pt x="192803" y="230996"/>
                  </a:lnTo>
                  <a:lnTo>
                    <a:pt x="192483" y="229792"/>
                  </a:lnTo>
                  <a:lnTo>
                    <a:pt x="192551" y="228934"/>
                  </a:lnTo>
                  <a:lnTo>
                    <a:pt x="193278" y="226827"/>
                  </a:lnTo>
                  <a:lnTo>
                    <a:pt x="195081" y="222960"/>
                  </a:lnTo>
                  <a:lnTo>
                    <a:pt x="196895" y="217611"/>
                  </a:lnTo>
                  <a:lnTo>
                    <a:pt x="197854" y="213385"/>
                  </a:lnTo>
                  <a:lnTo>
                    <a:pt x="200886" y="207072"/>
                  </a:lnTo>
                  <a:lnTo>
                    <a:pt x="203270" y="200470"/>
                  </a:lnTo>
                  <a:lnTo>
                    <a:pt x="207137" y="190959"/>
                  </a:lnTo>
                  <a:lnTo>
                    <a:pt x="207783" y="189075"/>
                  </a:lnTo>
                  <a:lnTo>
                    <a:pt x="208137" y="186060"/>
                  </a:lnTo>
                  <a:lnTo>
                    <a:pt x="208344" y="184816"/>
                  </a:lnTo>
                  <a:lnTo>
                    <a:pt x="209689" y="184161"/>
                  </a:lnTo>
                  <a:lnTo>
                    <a:pt x="211961" y="184798"/>
                  </a:lnTo>
                  <a:lnTo>
                    <a:pt x="217500" y="186977"/>
                  </a:lnTo>
                  <a:lnTo>
                    <a:pt x="221713" y="188804"/>
                  </a:lnTo>
                  <a:lnTo>
                    <a:pt x="223480" y="189423"/>
                  </a:lnTo>
                  <a:lnTo>
                    <a:pt x="226103" y="190070"/>
                  </a:lnTo>
                  <a:lnTo>
                    <a:pt x="230158" y="190833"/>
                  </a:lnTo>
                  <a:lnTo>
                    <a:pt x="232503" y="190607"/>
                  </a:lnTo>
                  <a:lnTo>
                    <a:pt x="234562" y="190157"/>
                  </a:lnTo>
                  <a:lnTo>
                    <a:pt x="237297" y="190118"/>
                  </a:lnTo>
                  <a:lnTo>
                    <a:pt x="241577" y="190686"/>
                  </a:lnTo>
                  <a:lnTo>
                    <a:pt x="242901" y="190709"/>
                  </a:lnTo>
                  <a:lnTo>
                    <a:pt x="244544" y="190781"/>
                  </a:lnTo>
                  <a:lnTo>
                    <a:pt x="245715" y="191702"/>
                  </a:lnTo>
                  <a:lnTo>
                    <a:pt x="246300" y="193793"/>
                  </a:lnTo>
                  <a:lnTo>
                    <a:pt x="247187" y="194731"/>
                  </a:lnTo>
                  <a:lnTo>
                    <a:pt x="248781" y="194384"/>
                  </a:lnTo>
                  <a:lnTo>
                    <a:pt x="252186" y="192543"/>
                  </a:lnTo>
                  <a:lnTo>
                    <a:pt x="254361" y="191092"/>
                  </a:lnTo>
                  <a:lnTo>
                    <a:pt x="257080" y="188995"/>
                  </a:lnTo>
                  <a:lnTo>
                    <a:pt x="259774" y="188706"/>
                  </a:lnTo>
                  <a:lnTo>
                    <a:pt x="262635" y="188237"/>
                  </a:lnTo>
                  <a:lnTo>
                    <a:pt x="263629" y="187196"/>
                  </a:lnTo>
                  <a:lnTo>
                    <a:pt x="264681" y="184745"/>
                  </a:lnTo>
                  <a:lnTo>
                    <a:pt x="266436" y="182894"/>
                  </a:lnTo>
                  <a:lnTo>
                    <a:pt x="266727" y="180549"/>
                  </a:lnTo>
                  <a:lnTo>
                    <a:pt x="266108" y="178895"/>
                  </a:lnTo>
                  <a:lnTo>
                    <a:pt x="264888" y="176196"/>
                  </a:lnTo>
                  <a:lnTo>
                    <a:pt x="264924" y="174376"/>
                  </a:lnTo>
                  <a:lnTo>
                    <a:pt x="264335" y="169092"/>
                  </a:lnTo>
                  <a:lnTo>
                    <a:pt x="263547" y="164329"/>
                  </a:lnTo>
                  <a:lnTo>
                    <a:pt x="264350" y="160486"/>
                  </a:lnTo>
                  <a:lnTo>
                    <a:pt x="265767" y="156187"/>
                  </a:lnTo>
                  <a:lnTo>
                    <a:pt x="266324" y="154870"/>
                  </a:lnTo>
                  <a:lnTo>
                    <a:pt x="267222" y="153136"/>
                  </a:lnTo>
                  <a:lnTo>
                    <a:pt x="268487" y="151061"/>
                  </a:lnTo>
                  <a:lnTo>
                    <a:pt x="270267" y="150409"/>
                  </a:lnTo>
                  <a:lnTo>
                    <a:pt x="275270" y="149965"/>
                  </a:lnTo>
                  <a:lnTo>
                    <a:pt x="279902" y="149092"/>
                  </a:lnTo>
                  <a:lnTo>
                    <a:pt x="282266" y="148193"/>
                  </a:lnTo>
                  <a:lnTo>
                    <a:pt x="284715" y="147650"/>
                  </a:lnTo>
                  <a:lnTo>
                    <a:pt x="286177" y="146990"/>
                  </a:lnTo>
                  <a:lnTo>
                    <a:pt x="288706" y="143954"/>
                  </a:lnTo>
                  <a:lnTo>
                    <a:pt x="289904" y="142202"/>
                  </a:lnTo>
                  <a:lnTo>
                    <a:pt x="290785" y="137546"/>
                  </a:lnTo>
                  <a:lnTo>
                    <a:pt x="290140" y="135306"/>
                  </a:lnTo>
                  <a:lnTo>
                    <a:pt x="290682" y="133324"/>
                  </a:lnTo>
                  <a:lnTo>
                    <a:pt x="291902" y="132157"/>
                  </a:lnTo>
                  <a:lnTo>
                    <a:pt x="293618" y="130990"/>
                  </a:lnTo>
                  <a:lnTo>
                    <a:pt x="294769" y="130791"/>
                  </a:lnTo>
                  <a:lnTo>
                    <a:pt x="297214" y="130437"/>
                  </a:lnTo>
                  <a:lnTo>
                    <a:pt x="301226" y="130553"/>
                  </a:lnTo>
                  <a:lnTo>
                    <a:pt x="303280" y="131127"/>
                  </a:lnTo>
                  <a:lnTo>
                    <a:pt x="305355" y="131389"/>
                  </a:lnTo>
                  <a:lnTo>
                    <a:pt x="306670" y="130965"/>
                  </a:lnTo>
                  <a:lnTo>
                    <a:pt x="307547" y="130080"/>
                  </a:lnTo>
                  <a:lnTo>
                    <a:pt x="308890" y="129796"/>
                  </a:lnTo>
                  <a:lnTo>
                    <a:pt x="310920" y="129372"/>
                  </a:lnTo>
                  <a:lnTo>
                    <a:pt x="313001" y="128840"/>
                  </a:lnTo>
                  <a:lnTo>
                    <a:pt x="314145" y="128940"/>
                  </a:lnTo>
                  <a:lnTo>
                    <a:pt x="314387" y="130255"/>
                  </a:lnTo>
                  <a:lnTo>
                    <a:pt x="314191" y="131284"/>
                  </a:lnTo>
                  <a:lnTo>
                    <a:pt x="314597" y="132664"/>
                  </a:lnTo>
                  <a:lnTo>
                    <a:pt x="315426" y="133572"/>
                  </a:lnTo>
                  <a:lnTo>
                    <a:pt x="315154" y="134559"/>
                  </a:lnTo>
                  <a:lnTo>
                    <a:pt x="313981" y="135130"/>
                  </a:lnTo>
                  <a:lnTo>
                    <a:pt x="312828" y="135898"/>
                  </a:lnTo>
                  <a:lnTo>
                    <a:pt x="312573" y="136951"/>
                  </a:lnTo>
                  <a:lnTo>
                    <a:pt x="314033" y="138258"/>
                  </a:lnTo>
                  <a:lnTo>
                    <a:pt x="314534" y="139514"/>
                  </a:lnTo>
                  <a:lnTo>
                    <a:pt x="316974" y="140264"/>
                  </a:lnTo>
                  <a:lnTo>
                    <a:pt x="318870" y="141109"/>
                  </a:lnTo>
                  <a:lnTo>
                    <a:pt x="319581" y="141917"/>
                  </a:lnTo>
                  <a:lnTo>
                    <a:pt x="319363" y="142831"/>
                  </a:lnTo>
                  <a:lnTo>
                    <a:pt x="318488" y="143815"/>
                  </a:lnTo>
                  <a:lnTo>
                    <a:pt x="317639" y="144869"/>
                  </a:lnTo>
                  <a:lnTo>
                    <a:pt x="317532" y="145502"/>
                  </a:lnTo>
                  <a:lnTo>
                    <a:pt x="317804" y="146238"/>
                  </a:lnTo>
                  <a:lnTo>
                    <a:pt x="319637" y="146728"/>
                  </a:lnTo>
                  <a:lnTo>
                    <a:pt x="321751" y="147545"/>
                  </a:lnTo>
                  <a:lnTo>
                    <a:pt x="325107" y="148594"/>
                  </a:lnTo>
                  <a:lnTo>
                    <a:pt x="327406" y="150541"/>
                  </a:lnTo>
                  <a:lnTo>
                    <a:pt x="329687" y="151078"/>
                  </a:lnTo>
                  <a:lnTo>
                    <a:pt x="330786" y="152977"/>
                  </a:lnTo>
                  <a:lnTo>
                    <a:pt x="330989" y="155730"/>
                  </a:lnTo>
                  <a:lnTo>
                    <a:pt x="333330" y="157132"/>
                  </a:lnTo>
                  <a:lnTo>
                    <a:pt x="336789" y="159078"/>
                  </a:lnTo>
                  <a:lnTo>
                    <a:pt x="338547" y="159436"/>
                  </a:lnTo>
                  <a:lnTo>
                    <a:pt x="339726" y="160539"/>
                  </a:lnTo>
                  <a:lnTo>
                    <a:pt x="341419" y="161877"/>
                  </a:lnTo>
                  <a:lnTo>
                    <a:pt x="342922" y="162296"/>
                  </a:lnTo>
                  <a:lnTo>
                    <a:pt x="344705" y="162488"/>
                  </a:lnTo>
                  <a:lnTo>
                    <a:pt x="347659" y="161248"/>
                  </a:lnTo>
                  <a:lnTo>
                    <a:pt x="350961" y="161129"/>
                  </a:lnTo>
                  <a:lnTo>
                    <a:pt x="352768" y="161837"/>
                  </a:lnTo>
                  <a:lnTo>
                    <a:pt x="354483" y="164513"/>
                  </a:lnTo>
                  <a:lnTo>
                    <a:pt x="355692" y="165357"/>
                  </a:lnTo>
                  <a:lnTo>
                    <a:pt x="356409" y="166108"/>
                  </a:lnTo>
                  <a:lnTo>
                    <a:pt x="357571" y="166826"/>
                  </a:lnTo>
                  <a:lnTo>
                    <a:pt x="358748" y="166930"/>
                  </a:lnTo>
                  <a:lnTo>
                    <a:pt x="360496" y="166338"/>
                  </a:lnTo>
                  <a:lnTo>
                    <a:pt x="361564" y="165154"/>
                  </a:lnTo>
                  <a:lnTo>
                    <a:pt x="363095" y="165398"/>
                  </a:lnTo>
                  <a:lnTo>
                    <a:pt x="363669" y="166164"/>
                  </a:lnTo>
                  <a:lnTo>
                    <a:pt x="363950" y="167486"/>
                  </a:lnTo>
                  <a:lnTo>
                    <a:pt x="364760" y="169122"/>
                  </a:lnTo>
                  <a:lnTo>
                    <a:pt x="366701" y="170341"/>
                  </a:lnTo>
                  <a:lnTo>
                    <a:pt x="369404" y="171070"/>
                  </a:lnTo>
                  <a:lnTo>
                    <a:pt x="369789" y="171660"/>
                  </a:lnTo>
                  <a:lnTo>
                    <a:pt x="370160" y="173296"/>
                  </a:lnTo>
                  <a:lnTo>
                    <a:pt x="370894" y="174428"/>
                  </a:lnTo>
                  <a:lnTo>
                    <a:pt x="371879" y="175903"/>
                  </a:lnTo>
                  <a:lnTo>
                    <a:pt x="372814" y="178594"/>
                  </a:lnTo>
                  <a:lnTo>
                    <a:pt x="373013" y="180817"/>
                  </a:lnTo>
                  <a:lnTo>
                    <a:pt x="373449" y="182040"/>
                  </a:lnTo>
                  <a:lnTo>
                    <a:pt x="374703" y="184031"/>
                  </a:lnTo>
                  <a:lnTo>
                    <a:pt x="376703" y="187210"/>
                  </a:lnTo>
                  <a:lnTo>
                    <a:pt x="378299" y="189903"/>
                  </a:lnTo>
                  <a:lnTo>
                    <a:pt x="380145" y="190424"/>
                  </a:lnTo>
                  <a:lnTo>
                    <a:pt x="381713" y="191280"/>
                  </a:lnTo>
                  <a:lnTo>
                    <a:pt x="382611" y="193267"/>
                  </a:lnTo>
                  <a:lnTo>
                    <a:pt x="384274" y="197005"/>
                  </a:lnTo>
                  <a:lnTo>
                    <a:pt x="384541" y="199452"/>
                  </a:lnTo>
                  <a:lnTo>
                    <a:pt x="384684" y="201268"/>
                  </a:lnTo>
                  <a:lnTo>
                    <a:pt x="385228" y="202093"/>
                  </a:lnTo>
                  <a:lnTo>
                    <a:pt x="385338" y="203123"/>
                  </a:lnTo>
                  <a:lnTo>
                    <a:pt x="383959" y="207035"/>
                  </a:lnTo>
                  <a:lnTo>
                    <a:pt x="382782" y="208802"/>
                  </a:lnTo>
                  <a:lnTo>
                    <a:pt x="382632" y="210287"/>
                  </a:lnTo>
                  <a:lnTo>
                    <a:pt x="383429" y="212871"/>
                  </a:lnTo>
                  <a:lnTo>
                    <a:pt x="384518" y="214871"/>
                  </a:lnTo>
                  <a:lnTo>
                    <a:pt x="384628" y="216783"/>
                  </a:lnTo>
                  <a:lnTo>
                    <a:pt x="383699" y="218184"/>
                  </a:lnTo>
                  <a:lnTo>
                    <a:pt x="382093" y="219935"/>
                  </a:lnTo>
                  <a:lnTo>
                    <a:pt x="381326" y="220934"/>
                  </a:lnTo>
                  <a:lnTo>
                    <a:pt x="380076" y="221814"/>
                  </a:lnTo>
                  <a:lnTo>
                    <a:pt x="378169" y="225194"/>
                  </a:lnTo>
                  <a:lnTo>
                    <a:pt x="377308" y="228927"/>
                  </a:lnTo>
                  <a:lnTo>
                    <a:pt x="377111" y="230850"/>
                  </a:lnTo>
                  <a:lnTo>
                    <a:pt x="377833" y="232239"/>
                  </a:lnTo>
                  <a:lnTo>
                    <a:pt x="379053" y="233769"/>
                  </a:lnTo>
                  <a:lnTo>
                    <a:pt x="379353" y="235094"/>
                  </a:lnTo>
                  <a:lnTo>
                    <a:pt x="381343" y="238049"/>
                  </a:lnTo>
                  <a:lnTo>
                    <a:pt x="381875" y="239879"/>
                  </a:lnTo>
                  <a:lnTo>
                    <a:pt x="382687" y="239938"/>
                  </a:lnTo>
                  <a:lnTo>
                    <a:pt x="383563" y="239336"/>
                  </a:lnTo>
                  <a:lnTo>
                    <a:pt x="385695" y="239295"/>
                  </a:lnTo>
                  <a:lnTo>
                    <a:pt x="387634" y="239938"/>
                  </a:lnTo>
                  <a:lnTo>
                    <a:pt x="389493" y="241291"/>
                  </a:lnTo>
                  <a:lnTo>
                    <a:pt x="391491" y="242014"/>
                  </a:lnTo>
                  <a:lnTo>
                    <a:pt x="394341" y="241832"/>
                  </a:lnTo>
                  <a:lnTo>
                    <a:pt x="395867" y="242557"/>
                  </a:lnTo>
                  <a:lnTo>
                    <a:pt x="397510" y="243152"/>
                  </a:lnTo>
                  <a:lnTo>
                    <a:pt x="400903" y="243359"/>
                  </a:lnTo>
                  <a:lnTo>
                    <a:pt x="403447" y="243348"/>
                  </a:lnTo>
                  <a:lnTo>
                    <a:pt x="407359" y="243371"/>
                  </a:lnTo>
                  <a:lnTo>
                    <a:pt x="410519" y="244280"/>
                  </a:lnTo>
                  <a:lnTo>
                    <a:pt x="416073" y="245000"/>
                  </a:lnTo>
                  <a:lnTo>
                    <a:pt x="419502" y="244944"/>
                  </a:lnTo>
                  <a:lnTo>
                    <a:pt x="424123" y="244267"/>
                  </a:lnTo>
                  <a:lnTo>
                    <a:pt x="426956" y="244693"/>
                  </a:lnTo>
                  <a:lnTo>
                    <a:pt x="435321" y="245704"/>
                  </a:lnTo>
                  <a:lnTo>
                    <a:pt x="440228" y="246761"/>
                  </a:lnTo>
                  <a:lnTo>
                    <a:pt x="443329" y="247949"/>
                  </a:lnTo>
                  <a:lnTo>
                    <a:pt x="445514" y="249834"/>
                  </a:lnTo>
                  <a:lnTo>
                    <a:pt x="448010" y="252771"/>
                  </a:lnTo>
                  <a:lnTo>
                    <a:pt x="449995" y="254114"/>
                  </a:lnTo>
                  <a:lnTo>
                    <a:pt x="455333" y="254925"/>
                  </a:lnTo>
                  <a:lnTo>
                    <a:pt x="458990" y="258346"/>
                  </a:lnTo>
                  <a:lnTo>
                    <a:pt x="461856" y="259623"/>
                  </a:lnTo>
                  <a:lnTo>
                    <a:pt x="466670" y="262929"/>
                  </a:lnTo>
                  <a:lnTo>
                    <a:pt x="470075" y="264219"/>
                  </a:lnTo>
                  <a:lnTo>
                    <a:pt x="474139" y="265410"/>
                  </a:lnTo>
                  <a:lnTo>
                    <a:pt x="480783" y="264904"/>
                  </a:lnTo>
                  <a:lnTo>
                    <a:pt x="481148" y="265353"/>
                  </a:lnTo>
                  <a:lnTo>
                    <a:pt x="480636" y="267146"/>
                  </a:lnTo>
                  <a:lnTo>
                    <a:pt x="480237" y="269599"/>
                  </a:lnTo>
                  <a:lnTo>
                    <a:pt x="480237" y="271374"/>
                  </a:lnTo>
                  <a:lnTo>
                    <a:pt x="480919" y="272278"/>
                  </a:lnTo>
                  <a:lnTo>
                    <a:pt x="483459" y="272813"/>
                  </a:lnTo>
                  <a:lnTo>
                    <a:pt x="484659" y="273685"/>
                  </a:lnTo>
                  <a:lnTo>
                    <a:pt x="485580" y="275354"/>
                  </a:lnTo>
                  <a:lnTo>
                    <a:pt x="486110" y="276398"/>
                  </a:lnTo>
                  <a:lnTo>
                    <a:pt x="488235" y="281515"/>
                  </a:lnTo>
                  <a:lnTo>
                    <a:pt x="491656" y="289067"/>
                  </a:lnTo>
                  <a:lnTo>
                    <a:pt x="492044" y="291962"/>
                  </a:lnTo>
                  <a:lnTo>
                    <a:pt x="493215" y="293829"/>
                  </a:lnTo>
                  <a:lnTo>
                    <a:pt x="496925" y="296790"/>
                  </a:lnTo>
                  <a:lnTo>
                    <a:pt x="498875" y="298979"/>
                  </a:lnTo>
                  <a:lnTo>
                    <a:pt x="501772" y="301278"/>
                  </a:lnTo>
                  <a:lnTo>
                    <a:pt x="502723" y="303403"/>
                  </a:lnTo>
                  <a:lnTo>
                    <a:pt x="502940" y="306146"/>
                  </a:lnTo>
                  <a:lnTo>
                    <a:pt x="503673" y="306852"/>
                  </a:lnTo>
                  <a:lnTo>
                    <a:pt x="508977" y="306224"/>
                  </a:lnTo>
                  <a:lnTo>
                    <a:pt x="513569" y="305786"/>
                  </a:lnTo>
                  <a:lnTo>
                    <a:pt x="521809" y="304995"/>
                  </a:lnTo>
                  <a:lnTo>
                    <a:pt x="533160" y="306426"/>
                  </a:lnTo>
                  <a:lnTo>
                    <a:pt x="544863" y="307810"/>
                  </a:lnTo>
                  <a:lnTo>
                    <a:pt x="555213" y="309033"/>
                  </a:lnTo>
                  <a:lnTo>
                    <a:pt x="560311" y="309634"/>
                  </a:lnTo>
                  <a:lnTo>
                    <a:pt x="571832" y="310916"/>
                  </a:lnTo>
                  <a:lnTo>
                    <a:pt x="578234" y="309281"/>
                  </a:lnTo>
                  <a:lnTo>
                    <a:pt x="583239" y="308001"/>
                  </a:lnTo>
                  <a:lnTo>
                    <a:pt x="585507" y="308177"/>
                  </a:lnTo>
                  <a:lnTo>
                    <a:pt x="595075" y="309618"/>
                  </a:lnTo>
                  <a:lnTo>
                    <a:pt x="600681" y="310393"/>
                  </a:lnTo>
                  <a:lnTo>
                    <a:pt x="607744" y="311366"/>
                  </a:lnTo>
                  <a:lnTo>
                    <a:pt x="612649" y="311725"/>
                  </a:lnTo>
                  <a:lnTo>
                    <a:pt x="616662" y="311701"/>
                  </a:lnTo>
                  <a:lnTo>
                    <a:pt x="618516" y="312108"/>
                  </a:lnTo>
                  <a:lnTo>
                    <a:pt x="620303" y="312734"/>
                  </a:lnTo>
                  <a:lnTo>
                    <a:pt x="621495" y="313647"/>
                  </a:lnTo>
                  <a:lnTo>
                    <a:pt x="625166" y="318269"/>
                  </a:lnTo>
                  <a:lnTo>
                    <a:pt x="627224" y="320304"/>
                  </a:lnTo>
                  <a:lnTo>
                    <a:pt x="631286" y="321840"/>
                  </a:lnTo>
                  <a:lnTo>
                    <a:pt x="640541" y="323595"/>
                  </a:lnTo>
                  <a:lnTo>
                    <a:pt x="645664" y="324659"/>
                  </a:lnTo>
                  <a:lnTo>
                    <a:pt x="651545" y="325882"/>
                  </a:lnTo>
                  <a:lnTo>
                    <a:pt x="655415" y="327724"/>
                  </a:lnTo>
                  <a:lnTo>
                    <a:pt x="659878" y="329864"/>
                  </a:lnTo>
                  <a:lnTo>
                    <a:pt x="665659" y="332635"/>
                  </a:lnTo>
                  <a:lnTo>
                    <a:pt x="671986" y="331425"/>
                  </a:lnTo>
                  <a:lnTo>
                    <a:pt x="678795" y="330122"/>
                  </a:lnTo>
                  <a:lnTo>
                    <a:pt x="683064" y="329304"/>
                  </a:lnTo>
                  <a:lnTo>
                    <a:pt x="683064" y="335087"/>
                  </a:lnTo>
                  <a:lnTo>
                    <a:pt x="689153" y="335551"/>
                  </a:lnTo>
                  <a:lnTo>
                    <a:pt x="691071" y="335482"/>
                  </a:lnTo>
                  <a:lnTo>
                    <a:pt x="693761" y="336759"/>
                  </a:lnTo>
                  <a:lnTo>
                    <a:pt x="695277" y="336219"/>
                  </a:lnTo>
                  <a:lnTo>
                    <a:pt x="696711" y="334966"/>
                  </a:lnTo>
                  <a:lnTo>
                    <a:pt x="698516" y="332986"/>
                  </a:lnTo>
                  <a:lnTo>
                    <a:pt x="701110" y="332116"/>
                  </a:lnTo>
                  <a:lnTo>
                    <a:pt x="705592" y="329894"/>
                  </a:lnTo>
                  <a:lnTo>
                    <a:pt x="706683" y="329354"/>
                  </a:lnTo>
                  <a:lnTo>
                    <a:pt x="713342" y="326200"/>
                  </a:lnTo>
                  <a:lnTo>
                    <a:pt x="723284" y="322306"/>
                  </a:lnTo>
                  <a:lnTo>
                    <a:pt x="727741" y="320418"/>
                  </a:lnTo>
                  <a:lnTo>
                    <a:pt x="729076" y="319998"/>
                  </a:lnTo>
                  <a:lnTo>
                    <a:pt x="731598" y="319034"/>
                  </a:lnTo>
                  <a:lnTo>
                    <a:pt x="733298" y="318365"/>
                  </a:lnTo>
                  <a:lnTo>
                    <a:pt x="736305" y="317828"/>
                  </a:lnTo>
                  <a:lnTo>
                    <a:pt x="740389" y="317492"/>
                  </a:lnTo>
                  <a:lnTo>
                    <a:pt x="744848" y="316753"/>
                  </a:lnTo>
                  <a:lnTo>
                    <a:pt x="754939" y="315375"/>
                  </a:lnTo>
                  <a:lnTo>
                    <a:pt x="756204" y="315245"/>
                  </a:lnTo>
                  <a:lnTo>
                    <a:pt x="761873" y="314677"/>
                  </a:lnTo>
                  <a:lnTo>
                    <a:pt x="764280" y="314141"/>
                  </a:lnTo>
                  <a:lnTo>
                    <a:pt x="767880" y="314422"/>
                  </a:lnTo>
                  <a:lnTo>
                    <a:pt x="772579" y="314621"/>
                  </a:lnTo>
                  <a:lnTo>
                    <a:pt x="775693" y="314972"/>
                  </a:lnTo>
                  <a:lnTo>
                    <a:pt x="779832" y="314696"/>
                  </a:lnTo>
                  <a:lnTo>
                    <a:pt x="785518" y="314320"/>
                  </a:lnTo>
                  <a:lnTo>
                    <a:pt x="790122" y="314379"/>
                  </a:lnTo>
                  <a:lnTo>
                    <a:pt x="792407" y="313910"/>
                  </a:lnTo>
                  <a:lnTo>
                    <a:pt x="795775" y="312454"/>
                  </a:lnTo>
                  <a:lnTo>
                    <a:pt x="798043" y="311300"/>
                  </a:lnTo>
                  <a:lnTo>
                    <a:pt x="801597" y="309900"/>
                  </a:lnTo>
                  <a:lnTo>
                    <a:pt x="806002" y="308449"/>
                  </a:lnTo>
                  <a:lnTo>
                    <a:pt x="809073" y="307129"/>
                  </a:lnTo>
                  <a:lnTo>
                    <a:pt x="811106" y="306254"/>
                  </a:lnTo>
                  <a:lnTo>
                    <a:pt x="813573" y="305426"/>
                  </a:lnTo>
                  <a:lnTo>
                    <a:pt x="814218" y="304359"/>
                  </a:lnTo>
                  <a:lnTo>
                    <a:pt x="814928" y="303542"/>
                  </a:lnTo>
                  <a:lnTo>
                    <a:pt x="816238" y="302173"/>
                  </a:lnTo>
                  <a:lnTo>
                    <a:pt x="818596" y="299622"/>
                  </a:lnTo>
                  <a:lnTo>
                    <a:pt x="820388" y="297387"/>
                  </a:lnTo>
                  <a:lnTo>
                    <a:pt x="821271" y="296397"/>
                  </a:lnTo>
                  <a:lnTo>
                    <a:pt x="823284" y="294162"/>
                  </a:lnTo>
                  <a:lnTo>
                    <a:pt x="824914" y="292475"/>
                  </a:lnTo>
                  <a:lnTo>
                    <a:pt x="826991" y="290204"/>
                  </a:lnTo>
                  <a:lnTo>
                    <a:pt x="828745" y="289468"/>
                  </a:lnTo>
                  <a:lnTo>
                    <a:pt x="830962" y="288843"/>
                  </a:lnTo>
                  <a:lnTo>
                    <a:pt x="836805" y="286612"/>
                  </a:lnTo>
                  <a:lnTo>
                    <a:pt x="837965" y="286131"/>
                  </a:lnTo>
                  <a:lnTo>
                    <a:pt x="838935" y="286036"/>
                  </a:lnTo>
                  <a:lnTo>
                    <a:pt x="841001" y="284234"/>
                  </a:lnTo>
                  <a:lnTo>
                    <a:pt x="842746" y="282672"/>
                  </a:lnTo>
                  <a:lnTo>
                    <a:pt x="843882" y="281500"/>
                  </a:lnTo>
                  <a:lnTo>
                    <a:pt x="846248" y="281080"/>
                  </a:lnTo>
                  <a:lnTo>
                    <a:pt x="847466" y="280237"/>
                  </a:lnTo>
                  <a:lnTo>
                    <a:pt x="847680" y="279130"/>
                  </a:lnTo>
                  <a:lnTo>
                    <a:pt x="847434" y="277442"/>
                  </a:lnTo>
                  <a:lnTo>
                    <a:pt x="846296" y="275714"/>
                  </a:lnTo>
                  <a:lnTo>
                    <a:pt x="845337" y="274207"/>
                  </a:lnTo>
                  <a:lnTo>
                    <a:pt x="841952" y="271326"/>
                  </a:lnTo>
                  <a:lnTo>
                    <a:pt x="840157" y="269539"/>
                  </a:lnTo>
                  <a:lnTo>
                    <a:pt x="838324" y="267241"/>
                  </a:lnTo>
                  <a:lnTo>
                    <a:pt x="837583" y="265079"/>
                  </a:lnTo>
                  <a:lnTo>
                    <a:pt x="836330" y="263702"/>
                  </a:lnTo>
                  <a:lnTo>
                    <a:pt x="835726" y="262482"/>
                  </a:lnTo>
                  <a:lnTo>
                    <a:pt x="835918" y="261072"/>
                  </a:lnTo>
                  <a:lnTo>
                    <a:pt x="837654" y="258561"/>
                  </a:lnTo>
                  <a:lnTo>
                    <a:pt x="838214" y="256976"/>
                  </a:lnTo>
                  <a:lnTo>
                    <a:pt x="838937" y="254169"/>
                  </a:lnTo>
                  <a:lnTo>
                    <a:pt x="840569" y="249964"/>
                  </a:lnTo>
                  <a:lnTo>
                    <a:pt x="841900" y="247998"/>
                  </a:lnTo>
                  <a:lnTo>
                    <a:pt x="843439" y="246076"/>
                  </a:lnTo>
                  <a:lnTo>
                    <a:pt x="846689" y="243493"/>
                  </a:lnTo>
                  <a:lnTo>
                    <a:pt x="849664" y="243012"/>
                  </a:lnTo>
                  <a:lnTo>
                    <a:pt x="851439" y="243523"/>
                  </a:lnTo>
                  <a:lnTo>
                    <a:pt x="855402" y="243520"/>
                  </a:lnTo>
                  <a:lnTo>
                    <a:pt x="858039" y="243653"/>
                  </a:lnTo>
                  <a:lnTo>
                    <a:pt x="859985" y="244945"/>
                  </a:lnTo>
                  <a:lnTo>
                    <a:pt x="862139" y="247493"/>
                  </a:lnTo>
                  <a:lnTo>
                    <a:pt x="864571" y="248428"/>
                  </a:lnTo>
                  <a:lnTo>
                    <a:pt x="872148" y="250422"/>
                  </a:lnTo>
                  <a:lnTo>
                    <a:pt x="875391" y="250846"/>
                  </a:lnTo>
                  <a:lnTo>
                    <a:pt x="877711" y="250933"/>
                  </a:lnTo>
                  <a:lnTo>
                    <a:pt x="881131" y="251593"/>
                  </a:lnTo>
                  <a:lnTo>
                    <a:pt x="882286" y="251732"/>
                  </a:lnTo>
                  <a:lnTo>
                    <a:pt x="884036" y="252185"/>
                  </a:lnTo>
                  <a:lnTo>
                    <a:pt x="885487" y="251701"/>
                  </a:lnTo>
                  <a:lnTo>
                    <a:pt x="887687" y="249998"/>
                  </a:lnTo>
                  <a:lnTo>
                    <a:pt x="890449" y="248080"/>
                  </a:lnTo>
                  <a:lnTo>
                    <a:pt x="891638" y="247640"/>
                  </a:lnTo>
                  <a:lnTo>
                    <a:pt x="893837" y="246813"/>
                  </a:lnTo>
                  <a:lnTo>
                    <a:pt x="894943" y="246033"/>
                  </a:lnTo>
                  <a:lnTo>
                    <a:pt x="896869" y="243881"/>
                  </a:lnTo>
                  <a:lnTo>
                    <a:pt x="899382" y="242211"/>
                  </a:lnTo>
                  <a:lnTo>
                    <a:pt x="902435" y="239701"/>
                  </a:lnTo>
                  <a:lnTo>
                    <a:pt x="903943" y="237807"/>
                  </a:lnTo>
                  <a:lnTo>
                    <a:pt x="904273" y="236585"/>
                  </a:lnTo>
                  <a:lnTo>
                    <a:pt x="904604" y="235260"/>
                  </a:lnTo>
                  <a:lnTo>
                    <a:pt x="905554" y="234564"/>
                  </a:lnTo>
                  <a:lnTo>
                    <a:pt x="907415" y="233924"/>
                  </a:lnTo>
                  <a:lnTo>
                    <a:pt x="909503" y="233750"/>
                  </a:lnTo>
                  <a:lnTo>
                    <a:pt x="913494" y="234885"/>
                  </a:lnTo>
                  <a:lnTo>
                    <a:pt x="918876" y="234557"/>
                  </a:lnTo>
                  <a:lnTo>
                    <a:pt x="920089" y="234393"/>
                  </a:lnTo>
                  <a:lnTo>
                    <a:pt x="924997" y="233741"/>
                  </a:lnTo>
                  <a:lnTo>
                    <a:pt x="927208" y="233204"/>
                  </a:lnTo>
                  <a:lnTo>
                    <a:pt x="930339" y="232690"/>
                  </a:lnTo>
                  <a:lnTo>
                    <a:pt x="932730" y="230586"/>
                  </a:lnTo>
                  <a:lnTo>
                    <a:pt x="935937" y="228074"/>
                  </a:lnTo>
                  <a:lnTo>
                    <a:pt x="938267" y="226677"/>
                  </a:lnTo>
                  <a:lnTo>
                    <a:pt x="939822" y="226409"/>
                  </a:lnTo>
                  <a:lnTo>
                    <a:pt x="941763" y="224959"/>
                  </a:lnTo>
                  <a:lnTo>
                    <a:pt x="942713" y="223399"/>
                  </a:lnTo>
                  <a:lnTo>
                    <a:pt x="942458" y="222028"/>
                  </a:lnTo>
                  <a:lnTo>
                    <a:pt x="942101" y="220892"/>
                  </a:lnTo>
                  <a:lnTo>
                    <a:pt x="943242" y="218792"/>
                  </a:lnTo>
                  <a:lnTo>
                    <a:pt x="945300" y="215103"/>
                  </a:lnTo>
                  <a:lnTo>
                    <a:pt x="947228" y="213383"/>
                  </a:lnTo>
                  <a:lnTo>
                    <a:pt x="948817" y="211991"/>
                  </a:lnTo>
                  <a:lnTo>
                    <a:pt x="949832" y="209757"/>
                  </a:lnTo>
                  <a:lnTo>
                    <a:pt x="951087" y="209111"/>
                  </a:lnTo>
                  <a:lnTo>
                    <a:pt x="952624" y="208865"/>
                  </a:lnTo>
                  <a:lnTo>
                    <a:pt x="954794" y="207349"/>
                  </a:lnTo>
                  <a:lnTo>
                    <a:pt x="956388" y="207037"/>
                  </a:lnTo>
                  <a:lnTo>
                    <a:pt x="959035" y="207762"/>
                  </a:lnTo>
                  <a:lnTo>
                    <a:pt x="962953" y="207948"/>
                  </a:lnTo>
                  <a:lnTo>
                    <a:pt x="965453" y="208026"/>
                  </a:lnTo>
                  <a:lnTo>
                    <a:pt x="966876" y="207756"/>
                  </a:lnTo>
                  <a:lnTo>
                    <a:pt x="967397" y="206943"/>
                  </a:lnTo>
                  <a:lnTo>
                    <a:pt x="967383" y="205685"/>
                  </a:lnTo>
                  <a:lnTo>
                    <a:pt x="968176" y="202884"/>
                  </a:lnTo>
                  <a:lnTo>
                    <a:pt x="968472" y="201959"/>
                  </a:lnTo>
                  <a:lnTo>
                    <a:pt x="969191" y="201533"/>
                  </a:lnTo>
                  <a:lnTo>
                    <a:pt x="971596" y="201476"/>
                  </a:lnTo>
                  <a:lnTo>
                    <a:pt x="973224" y="202484"/>
                  </a:lnTo>
                  <a:lnTo>
                    <a:pt x="974343" y="203315"/>
                  </a:lnTo>
                  <a:lnTo>
                    <a:pt x="975894" y="203423"/>
                  </a:lnTo>
                  <a:lnTo>
                    <a:pt x="977492" y="202881"/>
                  </a:lnTo>
                  <a:lnTo>
                    <a:pt x="979635" y="200613"/>
                  </a:lnTo>
                  <a:lnTo>
                    <a:pt x="983193" y="199299"/>
                  </a:lnTo>
                  <a:lnTo>
                    <a:pt x="985084" y="198966"/>
                  </a:lnTo>
                  <a:lnTo>
                    <a:pt x="988442" y="197896"/>
                  </a:lnTo>
                  <a:lnTo>
                    <a:pt x="990558" y="198281"/>
                  </a:lnTo>
                  <a:lnTo>
                    <a:pt x="994452" y="198595"/>
                  </a:lnTo>
                  <a:lnTo>
                    <a:pt x="995961" y="198324"/>
                  </a:lnTo>
                  <a:lnTo>
                    <a:pt x="997602" y="198595"/>
                  </a:lnTo>
                  <a:lnTo>
                    <a:pt x="999092" y="197060"/>
                  </a:lnTo>
                  <a:lnTo>
                    <a:pt x="1000278" y="196694"/>
                  </a:lnTo>
                  <a:lnTo>
                    <a:pt x="1002781" y="197400"/>
                  </a:lnTo>
                  <a:lnTo>
                    <a:pt x="1004359" y="198587"/>
                  </a:lnTo>
                  <a:lnTo>
                    <a:pt x="1007313" y="200075"/>
                  </a:lnTo>
                  <a:lnTo>
                    <a:pt x="1011066" y="200766"/>
                  </a:lnTo>
                  <a:lnTo>
                    <a:pt x="1014210" y="200409"/>
                  </a:lnTo>
                  <a:lnTo>
                    <a:pt x="1017442" y="201040"/>
                  </a:lnTo>
                  <a:lnTo>
                    <a:pt x="1019354" y="200983"/>
                  </a:lnTo>
                  <a:lnTo>
                    <a:pt x="1020256" y="200394"/>
                  </a:lnTo>
                  <a:lnTo>
                    <a:pt x="1022903" y="199144"/>
                  </a:lnTo>
                  <a:lnTo>
                    <a:pt x="1023538" y="197455"/>
                  </a:lnTo>
                  <a:lnTo>
                    <a:pt x="1023279" y="195824"/>
                  </a:lnTo>
                  <a:lnTo>
                    <a:pt x="1023582" y="193976"/>
                  </a:lnTo>
                  <a:lnTo>
                    <a:pt x="1022804" y="192616"/>
                  </a:lnTo>
                  <a:lnTo>
                    <a:pt x="1021163" y="190602"/>
                  </a:lnTo>
                  <a:lnTo>
                    <a:pt x="1020531" y="189257"/>
                  </a:lnTo>
                  <a:lnTo>
                    <a:pt x="1020472" y="187496"/>
                  </a:lnTo>
                  <a:lnTo>
                    <a:pt x="1019453" y="185820"/>
                  </a:lnTo>
                  <a:lnTo>
                    <a:pt x="1017000" y="183794"/>
                  </a:lnTo>
                  <a:lnTo>
                    <a:pt x="1015381" y="182858"/>
                  </a:lnTo>
                  <a:lnTo>
                    <a:pt x="1012057" y="179359"/>
                  </a:lnTo>
                  <a:lnTo>
                    <a:pt x="1010936" y="178538"/>
                  </a:lnTo>
                  <a:lnTo>
                    <a:pt x="1010552" y="177962"/>
                  </a:lnTo>
                  <a:lnTo>
                    <a:pt x="1010158" y="176785"/>
                  </a:lnTo>
                  <a:lnTo>
                    <a:pt x="1008930" y="176226"/>
                  </a:lnTo>
                  <a:lnTo>
                    <a:pt x="1007319" y="175311"/>
                  </a:lnTo>
                  <a:lnTo>
                    <a:pt x="1006447" y="174376"/>
                  </a:lnTo>
                  <a:lnTo>
                    <a:pt x="1005879" y="172754"/>
                  </a:lnTo>
                  <a:lnTo>
                    <a:pt x="1005540" y="171689"/>
                  </a:lnTo>
                  <a:lnTo>
                    <a:pt x="1004117" y="170812"/>
                  </a:lnTo>
                  <a:lnTo>
                    <a:pt x="1002691" y="170318"/>
                  </a:lnTo>
                  <a:lnTo>
                    <a:pt x="1001081" y="169694"/>
                  </a:lnTo>
                  <a:lnTo>
                    <a:pt x="998420" y="168779"/>
                  </a:lnTo>
                  <a:lnTo>
                    <a:pt x="996886" y="166959"/>
                  </a:lnTo>
                  <a:lnTo>
                    <a:pt x="994171" y="163550"/>
                  </a:lnTo>
                  <a:lnTo>
                    <a:pt x="992638" y="162401"/>
                  </a:lnTo>
                  <a:lnTo>
                    <a:pt x="986915" y="161963"/>
                  </a:lnTo>
                  <a:lnTo>
                    <a:pt x="984868" y="161133"/>
                  </a:lnTo>
                  <a:lnTo>
                    <a:pt x="982542" y="161415"/>
                  </a:lnTo>
                  <a:lnTo>
                    <a:pt x="981156" y="161960"/>
                  </a:lnTo>
                  <a:lnTo>
                    <a:pt x="978087" y="161953"/>
                  </a:lnTo>
                  <a:lnTo>
                    <a:pt x="976494" y="162291"/>
                  </a:lnTo>
                  <a:lnTo>
                    <a:pt x="974466" y="164535"/>
                  </a:lnTo>
                  <a:lnTo>
                    <a:pt x="971784" y="167454"/>
                  </a:lnTo>
                  <a:lnTo>
                    <a:pt x="969566" y="169237"/>
                  </a:lnTo>
                  <a:lnTo>
                    <a:pt x="967995" y="171082"/>
                  </a:lnTo>
                  <a:lnTo>
                    <a:pt x="967260" y="171744"/>
                  </a:lnTo>
                  <a:lnTo>
                    <a:pt x="965826" y="171346"/>
                  </a:lnTo>
                  <a:lnTo>
                    <a:pt x="963862" y="169267"/>
                  </a:lnTo>
                  <a:lnTo>
                    <a:pt x="961046" y="167406"/>
                  </a:lnTo>
                  <a:lnTo>
                    <a:pt x="958435" y="166556"/>
                  </a:lnTo>
                  <a:lnTo>
                    <a:pt x="957319" y="166091"/>
                  </a:lnTo>
                  <a:lnTo>
                    <a:pt x="954209" y="165621"/>
                  </a:lnTo>
                  <a:lnTo>
                    <a:pt x="951808" y="165769"/>
                  </a:lnTo>
                  <a:lnTo>
                    <a:pt x="948746" y="166472"/>
                  </a:lnTo>
                  <a:lnTo>
                    <a:pt x="945755" y="166346"/>
                  </a:lnTo>
                  <a:lnTo>
                    <a:pt x="944405" y="165900"/>
                  </a:lnTo>
                  <a:lnTo>
                    <a:pt x="942504" y="165947"/>
                  </a:lnTo>
                  <a:lnTo>
                    <a:pt x="939046" y="167880"/>
                  </a:lnTo>
                  <a:lnTo>
                    <a:pt x="937256" y="170081"/>
                  </a:lnTo>
                  <a:lnTo>
                    <a:pt x="935142" y="170768"/>
                  </a:lnTo>
                  <a:lnTo>
                    <a:pt x="933228" y="169324"/>
                  </a:lnTo>
                  <a:lnTo>
                    <a:pt x="931017" y="167616"/>
                  </a:lnTo>
                  <a:lnTo>
                    <a:pt x="928910" y="165479"/>
                  </a:lnTo>
                  <a:lnTo>
                    <a:pt x="927610" y="163500"/>
                  </a:lnTo>
                  <a:lnTo>
                    <a:pt x="926891" y="158254"/>
                  </a:lnTo>
                  <a:lnTo>
                    <a:pt x="929419" y="156689"/>
                  </a:lnTo>
                  <a:lnTo>
                    <a:pt x="932650" y="154936"/>
                  </a:lnTo>
                  <a:lnTo>
                    <a:pt x="932894" y="152159"/>
                  </a:lnTo>
                  <a:lnTo>
                    <a:pt x="932786" y="149058"/>
                  </a:lnTo>
                  <a:lnTo>
                    <a:pt x="933423" y="145610"/>
                  </a:lnTo>
                  <a:lnTo>
                    <a:pt x="936371" y="142424"/>
                  </a:lnTo>
                  <a:lnTo>
                    <a:pt x="937956" y="139781"/>
                  </a:lnTo>
                  <a:lnTo>
                    <a:pt x="938152" y="138136"/>
                  </a:lnTo>
                  <a:lnTo>
                    <a:pt x="939564" y="135397"/>
                  </a:lnTo>
                  <a:lnTo>
                    <a:pt x="940922" y="132507"/>
                  </a:lnTo>
                  <a:lnTo>
                    <a:pt x="942773" y="128710"/>
                  </a:lnTo>
                  <a:lnTo>
                    <a:pt x="946284" y="121958"/>
                  </a:lnTo>
                  <a:lnTo>
                    <a:pt x="950433" y="113959"/>
                  </a:lnTo>
                  <a:lnTo>
                    <a:pt x="952501" y="109959"/>
                  </a:lnTo>
                  <a:lnTo>
                    <a:pt x="957048" y="112434"/>
                  </a:lnTo>
                  <a:lnTo>
                    <a:pt x="959983" y="113724"/>
                  </a:lnTo>
                  <a:lnTo>
                    <a:pt x="964935" y="115682"/>
                  </a:lnTo>
                  <a:lnTo>
                    <a:pt x="970055" y="116126"/>
                  </a:lnTo>
                  <a:lnTo>
                    <a:pt x="974948" y="118239"/>
                  </a:lnTo>
                  <a:lnTo>
                    <a:pt x="977472" y="118880"/>
                  </a:lnTo>
                  <a:lnTo>
                    <a:pt x="978818" y="118881"/>
                  </a:lnTo>
                  <a:lnTo>
                    <a:pt x="985743" y="113730"/>
                  </a:lnTo>
                  <a:lnTo>
                    <a:pt x="991601" y="109362"/>
                  </a:lnTo>
                  <a:lnTo>
                    <a:pt x="998332" y="105950"/>
                  </a:lnTo>
                  <a:lnTo>
                    <a:pt x="1003275" y="105487"/>
                  </a:lnTo>
                  <a:lnTo>
                    <a:pt x="1006989" y="104491"/>
                  </a:lnTo>
                  <a:lnTo>
                    <a:pt x="1009475" y="102960"/>
                  </a:lnTo>
                  <a:lnTo>
                    <a:pt x="1010938" y="100401"/>
                  </a:lnTo>
                  <a:lnTo>
                    <a:pt x="1011385" y="96812"/>
                  </a:lnTo>
                  <a:lnTo>
                    <a:pt x="1010396" y="94640"/>
                  </a:lnTo>
                  <a:lnTo>
                    <a:pt x="1007972" y="93889"/>
                  </a:lnTo>
                  <a:lnTo>
                    <a:pt x="1007348" y="93130"/>
                  </a:lnTo>
                  <a:lnTo>
                    <a:pt x="1008520" y="92361"/>
                  </a:lnTo>
                  <a:lnTo>
                    <a:pt x="1009386" y="90861"/>
                  </a:lnTo>
                  <a:lnTo>
                    <a:pt x="1009934" y="88631"/>
                  </a:lnTo>
                  <a:lnTo>
                    <a:pt x="1011336" y="86511"/>
                  </a:lnTo>
                  <a:lnTo>
                    <a:pt x="1013584" y="84506"/>
                  </a:lnTo>
                  <a:lnTo>
                    <a:pt x="1014823" y="82280"/>
                  </a:lnTo>
                  <a:lnTo>
                    <a:pt x="1015056" y="79835"/>
                  </a:lnTo>
                  <a:lnTo>
                    <a:pt x="1016408" y="77395"/>
                  </a:lnTo>
                  <a:lnTo>
                    <a:pt x="1018874" y="74960"/>
                  </a:lnTo>
                  <a:lnTo>
                    <a:pt x="1020224" y="72692"/>
                  </a:lnTo>
                  <a:lnTo>
                    <a:pt x="1020459" y="70592"/>
                  </a:lnTo>
                  <a:lnTo>
                    <a:pt x="1021710" y="68028"/>
                  </a:lnTo>
                  <a:lnTo>
                    <a:pt x="1025111" y="63479"/>
                  </a:lnTo>
                  <a:lnTo>
                    <a:pt x="1027319" y="58230"/>
                  </a:lnTo>
                  <a:lnTo>
                    <a:pt x="1031081" y="54628"/>
                  </a:lnTo>
                  <a:lnTo>
                    <a:pt x="1037130" y="50926"/>
                  </a:lnTo>
                  <a:lnTo>
                    <a:pt x="1040908" y="47249"/>
                  </a:lnTo>
                  <a:lnTo>
                    <a:pt x="1042420" y="43596"/>
                  </a:lnTo>
                  <a:lnTo>
                    <a:pt x="1042304" y="40368"/>
                  </a:lnTo>
                  <a:lnTo>
                    <a:pt x="1040554" y="37567"/>
                  </a:lnTo>
                  <a:lnTo>
                    <a:pt x="1040222" y="34716"/>
                  </a:lnTo>
                  <a:lnTo>
                    <a:pt x="1041301" y="31811"/>
                  </a:lnTo>
                  <a:lnTo>
                    <a:pt x="1040350" y="29637"/>
                  </a:lnTo>
                  <a:lnTo>
                    <a:pt x="1037363" y="28195"/>
                  </a:lnTo>
                  <a:lnTo>
                    <a:pt x="1033802" y="27839"/>
                  </a:lnTo>
                  <a:lnTo>
                    <a:pt x="1029660" y="28569"/>
                  </a:lnTo>
                  <a:lnTo>
                    <a:pt x="1027335" y="27663"/>
                  </a:lnTo>
                  <a:lnTo>
                    <a:pt x="1026821" y="25119"/>
                  </a:lnTo>
                  <a:lnTo>
                    <a:pt x="1027931" y="23059"/>
                  </a:lnTo>
                  <a:lnTo>
                    <a:pt x="1030664" y="21486"/>
                  </a:lnTo>
                  <a:lnTo>
                    <a:pt x="1035156" y="17652"/>
                  </a:lnTo>
                  <a:lnTo>
                    <a:pt x="1041409" y="11546"/>
                  </a:lnTo>
                  <a:lnTo>
                    <a:pt x="1047630" y="8160"/>
                  </a:lnTo>
                  <a:lnTo>
                    <a:pt x="1056918" y="7184"/>
                  </a:lnTo>
                  <a:lnTo>
                    <a:pt x="1064402" y="5182"/>
                  </a:lnTo>
                  <a:lnTo>
                    <a:pt x="1072030" y="3139"/>
                  </a:lnTo>
                  <a:lnTo>
                    <a:pt x="1077533" y="2128"/>
                  </a:lnTo>
                  <a:lnTo>
                    <a:pt x="1078471" y="2806"/>
                  </a:lnTo>
                  <a:lnTo>
                    <a:pt x="1081470" y="2973"/>
                  </a:lnTo>
                  <a:lnTo>
                    <a:pt x="1086532" y="2625"/>
                  </a:lnTo>
                  <a:lnTo>
                    <a:pt x="1091239" y="1746"/>
                  </a:lnTo>
                  <a:lnTo>
                    <a:pt x="1095584" y="333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71" name="ee4p_CY_1_37365">
              <a:extLst>
                <a:ext uri="{FF2B5EF4-FFF2-40B4-BE49-F238E27FC236}">
                  <a16:creationId xmlns:a16="http://schemas.microsoft.com/office/drawing/2014/main" id="{8670487F-53F1-0F1D-CAFD-01B45B36B07C}"/>
                </a:ext>
              </a:extLst>
            </p:cNvPr>
            <p:cNvSpPr>
              <a:spLocks noChangeAspect="1"/>
            </p:cNvSpPr>
            <p:nvPr>
              <p:custDataLst>
                <p:tags r:id="rId225"/>
              </p:custDataLst>
            </p:nvPr>
          </p:nvSpPr>
          <p:spPr>
            <a:xfrm>
              <a:off x="7411678" y="3613659"/>
              <a:ext cx="62621" cy="35325"/>
            </a:xfrm>
            <a:custGeom>
              <a:avLst/>
              <a:gdLst>
                <a:gd name="connsiteX0" fmla="*/ 49864 w 49864"/>
                <a:gd name="connsiteY0" fmla="*/ 0 h 27383"/>
                <a:gd name="connsiteX1" fmla="*/ 47811 w 49864"/>
                <a:gd name="connsiteY1" fmla="*/ 1725 h 27383"/>
                <a:gd name="connsiteX2" fmla="*/ 36286 w 49864"/>
                <a:gd name="connsiteY2" fmla="*/ 9300 h 27383"/>
                <a:gd name="connsiteX3" fmla="*/ 35532 w 49864"/>
                <a:gd name="connsiteY3" fmla="*/ 11549 h 27383"/>
                <a:gd name="connsiteX4" fmla="*/ 36049 w 49864"/>
                <a:gd name="connsiteY4" fmla="*/ 13104 h 27383"/>
                <a:gd name="connsiteX5" fmla="*/ 37668 w 49864"/>
                <a:gd name="connsiteY5" fmla="*/ 14987 h 27383"/>
                <a:gd name="connsiteX6" fmla="*/ 38091 w 49864"/>
                <a:gd name="connsiteY6" fmla="*/ 15480 h 27383"/>
                <a:gd name="connsiteX7" fmla="*/ 38679 w 49864"/>
                <a:gd name="connsiteY7" fmla="*/ 16912 h 27383"/>
                <a:gd name="connsiteX8" fmla="*/ 36165 w 49864"/>
                <a:gd name="connsiteY8" fmla="*/ 17336 h 27383"/>
                <a:gd name="connsiteX9" fmla="*/ 33643 w 49864"/>
                <a:gd name="connsiteY9" fmla="*/ 17475 h 27383"/>
                <a:gd name="connsiteX10" fmla="*/ 32240 w 49864"/>
                <a:gd name="connsiteY10" fmla="*/ 17291 h 27383"/>
                <a:gd name="connsiteX11" fmla="*/ 30922 w 49864"/>
                <a:gd name="connsiteY11" fmla="*/ 17376 h 27383"/>
                <a:gd name="connsiteX12" fmla="*/ 26832 w 49864"/>
                <a:gd name="connsiteY12" fmla="*/ 21465 h 27383"/>
                <a:gd name="connsiteX13" fmla="*/ 24632 w 49864"/>
                <a:gd name="connsiteY13" fmla="*/ 22855 h 27383"/>
                <a:gd name="connsiteX14" fmla="*/ 22015 w 49864"/>
                <a:gd name="connsiteY14" fmla="*/ 23683 h 27383"/>
                <a:gd name="connsiteX15" fmla="*/ 19350 w 49864"/>
                <a:gd name="connsiteY15" fmla="*/ 24175 h 27383"/>
                <a:gd name="connsiteX16" fmla="*/ 18011 w 49864"/>
                <a:gd name="connsiteY16" fmla="*/ 24237 h 27383"/>
                <a:gd name="connsiteX17" fmla="*/ 16834 w 49864"/>
                <a:gd name="connsiteY17" fmla="*/ 24756 h 27383"/>
                <a:gd name="connsiteX18" fmla="*/ 16007 w 49864"/>
                <a:gd name="connsiteY18" fmla="*/ 25702 h 27383"/>
                <a:gd name="connsiteX19" fmla="*/ 15986 w 49864"/>
                <a:gd name="connsiteY19" fmla="*/ 26624 h 27383"/>
                <a:gd name="connsiteX20" fmla="*/ 15632 w 49864"/>
                <a:gd name="connsiteY20" fmla="*/ 27383 h 27383"/>
                <a:gd name="connsiteX21" fmla="*/ 14170 w 49864"/>
                <a:gd name="connsiteY21" fmla="*/ 27226 h 27383"/>
                <a:gd name="connsiteX22" fmla="*/ 13561 w 49864"/>
                <a:gd name="connsiteY22" fmla="*/ 25737 h 27383"/>
                <a:gd name="connsiteX23" fmla="*/ 12520 w 49864"/>
                <a:gd name="connsiteY23" fmla="*/ 25097 h 27383"/>
                <a:gd name="connsiteX24" fmla="*/ 9931 w 49864"/>
                <a:gd name="connsiteY24" fmla="*/ 25430 h 27383"/>
                <a:gd name="connsiteX25" fmla="*/ 8668 w 49864"/>
                <a:gd name="connsiteY25" fmla="*/ 25391 h 27383"/>
                <a:gd name="connsiteX26" fmla="*/ 4524 w 49864"/>
                <a:gd name="connsiteY26" fmla="*/ 23970 h 27383"/>
                <a:gd name="connsiteX27" fmla="*/ 3273 w 49864"/>
                <a:gd name="connsiteY27" fmla="*/ 23390 h 27383"/>
                <a:gd name="connsiteX28" fmla="*/ 2494 w 49864"/>
                <a:gd name="connsiteY28" fmla="*/ 22176 h 27383"/>
                <a:gd name="connsiteX29" fmla="*/ 358 w 49864"/>
                <a:gd name="connsiteY29" fmla="*/ 17790 h 27383"/>
                <a:gd name="connsiteX30" fmla="*/ 0 w 49864"/>
                <a:gd name="connsiteY30" fmla="*/ 14543 h 27383"/>
                <a:gd name="connsiteX31" fmla="*/ 1989 w 49864"/>
                <a:gd name="connsiteY31" fmla="*/ 15374 h 27383"/>
                <a:gd name="connsiteX32" fmla="*/ 3848 w 49864"/>
                <a:gd name="connsiteY32" fmla="*/ 14367 h 27383"/>
                <a:gd name="connsiteX33" fmla="*/ 5638 w 49864"/>
                <a:gd name="connsiteY33" fmla="*/ 12718 h 27383"/>
                <a:gd name="connsiteX34" fmla="*/ 7769 w 49864"/>
                <a:gd name="connsiteY34" fmla="*/ 12044 h 27383"/>
                <a:gd name="connsiteX35" fmla="*/ 9104 w 49864"/>
                <a:gd name="connsiteY35" fmla="*/ 12335 h 27383"/>
                <a:gd name="connsiteX36" fmla="*/ 10423 w 49864"/>
                <a:gd name="connsiteY36" fmla="*/ 12623 h 27383"/>
                <a:gd name="connsiteX37" fmla="*/ 12800 w 49864"/>
                <a:gd name="connsiteY37" fmla="*/ 12096 h 27383"/>
                <a:gd name="connsiteX38" fmla="*/ 13829 w 49864"/>
                <a:gd name="connsiteY38" fmla="*/ 9650 h 27383"/>
                <a:gd name="connsiteX39" fmla="*/ 14165 w 49864"/>
                <a:gd name="connsiteY39" fmla="*/ 6829 h 27383"/>
                <a:gd name="connsiteX40" fmla="*/ 18186 w 49864"/>
                <a:gd name="connsiteY40" fmla="*/ 7639 h 27383"/>
                <a:gd name="connsiteX41" fmla="*/ 22263 w 49864"/>
                <a:gd name="connsiteY41" fmla="*/ 8058 h 27383"/>
                <a:gd name="connsiteX42" fmla="*/ 25602 w 49864"/>
                <a:gd name="connsiteY42" fmla="*/ 8199 h 27383"/>
                <a:gd name="connsiteX43" fmla="*/ 28892 w 49864"/>
                <a:gd name="connsiteY43" fmla="*/ 7740 h 27383"/>
                <a:gd name="connsiteX44" fmla="*/ 38972 w 49864"/>
                <a:gd name="connsiteY44" fmla="*/ 4730 h 27383"/>
                <a:gd name="connsiteX45" fmla="*/ 41825 w 49864"/>
                <a:gd name="connsiteY45" fmla="*/ 2927 h 27383"/>
                <a:gd name="connsiteX46" fmla="*/ 43591 w 49864"/>
                <a:gd name="connsiteY46" fmla="*/ 2317 h 27383"/>
                <a:gd name="connsiteX47" fmla="*/ 46660 w 49864"/>
                <a:gd name="connsiteY47" fmla="*/ 825 h 273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49864" h="27383">
                  <a:moveTo>
                    <a:pt x="49864" y="0"/>
                  </a:moveTo>
                  <a:lnTo>
                    <a:pt x="47811" y="1725"/>
                  </a:lnTo>
                  <a:lnTo>
                    <a:pt x="36286" y="9300"/>
                  </a:lnTo>
                  <a:lnTo>
                    <a:pt x="35532" y="11549"/>
                  </a:lnTo>
                  <a:lnTo>
                    <a:pt x="36049" y="13104"/>
                  </a:lnTo>
                  <a:lnTo>
                    <a:pt x="37668" y="14987"/>
                  </a:lnTo>
                  <a:lnTo>
                    <a:pt x="38091" y="15480"/>
                  </a:lnTo>
                  <a:lnTo>
                    <a:pt x="38679" y="16912"/>
                  </a:lnTo>
                  <a:lnTo>
                    <a:pt x="36165" y="17336"/>
                  </a:lnTo>
                  <a:lnTo>
                    <a:pt x="33643" y="17475"/>
                  </a:lnTo>
                  <a:lnTo>
                    <a:pt x="32240" y="17291"/>
                  </a:lnTo>
                  <a:lnTo>
                    <a:pt x="30922" y="17376"/>
                  </a:lnTo>
                  <a:lnTo>
                    <a:pt x="26832" y="21465"/>
                  </a:lnTo>
                  <a:lnTo>
                    <a:pt x="24632" y="22855"/>
                  </a:lnTo>
                  <a:lnTo>
                    <a:pt x="22015" y="23683"/>
                  </a:lnTo>
                  <a:lnTo>
                    <a:pt x="19350" y="24175"/>
                  </a:lnTo>
                  <a:lnTo>
                    <a:pt x="18011" y="24237"/>
                  </a:lnTo>
                  <a:lnTo>
                    <a:pt x="16834" y="24756"/>
                  </a:lnTo>
                  <a:lnTo>
                    <a:pt x="16007" y="25702"/>
                  </a:lnTo>
                  <a:lnTo>
                    <a:pt x="15986" y="26624"/>
                  </a:lnTo>
                  <a:lnTo>
                    <a:pt x="15632" y="27383"/>
                  </a:lnTo>
                  <a:lnTo>
                    <a:pt x="14170" y="27226"/>
                  </a:lnTo>
                  <a:lnTo>
                    <a:pt x="13561" y="25737"/>
                  </a:lnTo>
                  <a:lnTo>
                    <a:pt x="12520" y="25097"/>
                  </a:lnTo>
                  <a:lnTo>
                    <a:pt x="9931" y="25430"/>
                  </a:lnTo>
                  <a:lnTo>
                    <a:pt x="8668" y="25391"/>
                  </a:lnTo>
                  <a:lnTo>
                    <a:pt x="4524" y="23970"/>
                  </a:lnTo>
                  <a:lnTo>
                    <a:pt x="3273" y="23390"/>
                  </a:lnTo>
                  <a:lnTo>
                    <a:pt x="2494" y="22176"/>
                  </a:lnTo>
                  <a:lnTo>
                    <a:pt x="358" y="17790"/>
                  </a:lnTo>
                  <a:lnTo>
                    <a:pt x="0" y="14543"/>
                  </a:lnTo>
                  <a:lnTo>
                    <a:pt x="1989" y="15374"/>
                  </a:lnTo>
                  <a:lnTo>
                    <a:pt x="3848" y="14367"/>
                  </a:lnTo>
                  <a:lnTo>
                    <a:pt x="5638" y="12718"/>
                  </a:lnTo>
                  <a:lnTo>
                    <a:pt x="7769" y="12044"/>
                  </a:lnTo>
                  <a:lnTo>
                    <a:pt x="9104" y="12335"/>
                  </a:lnTo>
                  <a:lnTo>
                    <a:pt x="10423" y="12623"/>
                  </a:lnTo>
                  <a:lnTo>
                    <a:pt x="12800" y="12096"/>
                  </a:lnTo>
                  <a:lnTo>
                    <a:pt x="13829" y="9650"/>
                  </a:lnTo>
                  <a:lnTo>
                    <a:pt x="14165" y="6829"/>
                  </a:lnTo>
                  <a:lnTo>
                    <a:pt x="18186" y="7639"/>
                  </a:lnTo>
                  <a:lnTo>
                    <a:pt x="22263" y="8058"/>
                  </a:lnTo>
                  <a:lnTo>
                    <a:pt x="25602" y="8199"/>
                  </a:lnTo>
                  <a:lnTo>
                    <a:pt x="28892" y="7740"/>
                  </a:lnTo>
                  <a:lnTo>
                    <a:pt x="38972" y="4730"/>
                  </a:lnTo>
                  <a:lnTo>
                    <a:pt x="41825" y="2927"/>
                  </a:lnTo>
                  <a:lnTo>
                    <a:pt x="43591" y="2317"/>
                  </a:lnTo>
                  <a:lnTo>
                    <a:pt x="46660" y="825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72" name="ee4p_GE_1_37365">
              <a:extLst>
                <a:ext uri="{FF2B5EF4-FFF2-40B4-BE49-F238E27FC236}">
                  <a16:creationId xmlns:a16="http://schemas.microsoft.com/office/drawing/2014/main" id="{15AED24F-18F5-DF99-8339-B4E1569E4906}"/>
                </a:ext>
              </a:extLst>
            </p:cNvPr>
            <p:cNvSpPr>
              <a:spLocks noChangeAspect="1"/>
            </p:cNvSpPr>
            <p:nvPr>
              <p:custDataLst>
                <p:tags r:id="rId226"/>
              </p:custDataLst>
            </p:nvPr>
          </p:nvSpPr>
          <p:spPr>
            <a:xfrm>
              <a:off x="7624872" y="3348317"/>
              <a:ext cx="185896" cy="85869"/>
            </a:xfrm>
            <a:custGeom>
              <a:avLst/>
              <a:gdLst/>
              <a:ahLst/>
              <a:cxnLst/>
              <a:rect l="0" t="0" r="0" b="0"/>
              <a:pathLst>
                <a:path w="148025" h="66563">
                  <a:moveTo>
                    <a:pt x="142658" y="44876"/>
                  </a:moveTo>
                  <a:lnTo>
                    <a:pt x="142118" y="45828"/>
                  </a:lnTo>
                  <a:lnTo>
                    <a:pt x="140852" y="47548"/>
                  </a:lnTo>
                  <a:lnTo>
                    <a:pt x="139842" y="48425"/>
                  </a:lnTo>
                  <a:lnTo>
                    <a:pt x="138721" y="48566"/>
                  </a:lnTo>
                  <a:lnTo>
                    <a:pt x="137615" y="48960"/>
                  </a:lnTo>
                  <a:lnTo>
                    <a:pt x="137227" y="49880"/>
                  </a:lnTo>
                  <a:lnTo>
                    <a:pt x="137179" y="51073"/>
                  </a:lnTo>
                  <a:lnTo>
                    <a:pt x="137365" y="51925"/>
                  </a:lnTo>
                  <a:lnTo>
                    <a:pt x="137652" y="52250"/>
                  </a:lnTo>
                  <a:lnTo>
                    <a:pt x="138784" y="52526"/>
                  </a:lnTo>
                  <a:lnTo>
                    <a:pt x="139907" y="55023"/>
                  </a:lnTo>
                  <a:lnTo>
                    <a:pt x="141664" y="56287"/>
                  </a:lnTo>
                  <a:lnTo>
                    <a:pt x="144403" y="57721"/>
                  </a:lnTo>
                  <a:lnTo>
                    <a:pt x="146838" y="59353"/>
                  </a:lnTo>
                  <a:lnTo>
                    <a:pt x="148024" y="60855"/>
                  </a:lnTo>
                  <a:lnTo>
                    <a:pt x="147799" y="61944"/>
                  </a:lnTo>
                  <a:lnTo>
                    <a:pt x="147002" y="64206"/>
                  </a:lnTo>
                  <a:lnTo>
                    <a:pt x="144968" y="66079"/>
                  </a:lnTo>
                  <a:lnTo>
                    <a:pt x="143277" y="66562"/>
                  </a:lnTo>
                  <a:lnTo>
                    <a:pt x="142681" y="66382"/>
                  </a:lnTo>
                  <a:lnTo>
                    <a:pt x="141571" y="65796"/>
                  </a:lnTo>
                  <a:lnTo>
                    <a:pt x="139343" y="64344"/>
                  </a:lnTo>
                  <a:lnTo>
                    <a:pt x="136927" y="63200"/>
                  </a:lnTo>
                  <a:lnTo>
                    <a:pt x="135065" y="63569"/>
                  </a:lnTo>
                  <a:lnTo>
                    <a:pt x="133843" y="64006"/>
                  </a:lnTo>
                  <a:lnTo>
                    <a:pt x="131427" y="63494"/>
                  </a:lnTo>
                  <a:lnTo>
                    <a:pt x="128570" y="62500"/>
                  </a:lnTo>
                  <a:lnTo>
                    <a:pt x="127082" y="61519"/>
                  </a:lnTo>
                  <a:lnTo>
                    <a:pt x="126423" y="60797"/>
                  </a:lnTo>
                  <a:lnTo>
                    <a:pt x="126864" y="59514"/>
                  </a:lnTo>
                  <a:lnTo>
                    <a:pt x="120377" y="57200"/>
                  </a:lnTo>
                  <a:lnTo>
                    <a:pt x="117253" y="56559"/>
                  </a:lnTo>
                  <a:lnTo>
                    <a:pt x="115842" y="57256"/>
                  </a:lnTo>
                  <a:lnTo>
                    <a:pt x="111070" y="60745"/>
                  </a:lnTo>
                  <a:lnTo>
                    <a:pt x="110507" y="61101"/>
                  </a:lnTo>
                  <a:lnTo>
                    <a:pt x="106868" y="61578"/>
                  </a:lnTo>
                  <a:lnTo>
                    <a:pt x="106860" y="61863"/>
                  </a:lnTo>
                  <a:lnTo>
                    <a:pt x="107691" y="62612"/>
                  </a:lnTo>
                  <a:lnTo>
                    <a:pt x="107533" y="62844"/>
                  </a:lnTo>
                  <a:lnTo>
                    <a:pt x="101418" y="62927"/>
                  </a:lnTo>
                  <a:lnTo>
                    <a:pt x="99388" y="63380"/>
                  </a:lnTo>
                  <a:lnTo>
                    <a:pt x="93955" y="62792"/>
                  </a:lnTo>
                  <a:lnTo>
                    <a:pt x="92167" y="63055"/>
                  </a:lnTo>
                  <a:lnTo>
                    <a:pt x="90636" y="63604"/>
                  </a:lnTo>
                  <a:lnTo>
                    <a:pt x="86920" y="64224"/>
                  </a:lnTo>
                  <a:lnTo>
                    <a:pt x="84354" y="64959"/>
                  </a:lnTo>
                  <a:lnTo>
                    <a:pt x="81079" y="65339"/>
                  </a:lnTo>
                  <a:lnTo>
                    <a:pt x="77695" y="65369"/>
                  </a:lnTo>
                  <a:lnTo>
                    <a:pt x="76533" y="65590"/>
                  </a:lnTo>
                  <a:lnTo>
                    <a:pt x="76580" y="65093"/>
                  </a:lnTo>
                  <a:lnTo>
                    <a:pt x="76399" y="64316"/>
                  </a:lnTo>
                  <a:lnTo>
                    <a:pt x="75713" y="63761"/>
                  </a:lnTo>
                  <a:lnTo>
                    <a:pt x="74754" y="63404"/>
                  </a:lnTo>
                  <a:lnTo>
                    <a:pt x="72991" y="63533"/>
                  </a:lnTo>
                  <a:lnTo>
                    <a:pt x="71359" y="63165"/>
                  </a:lnTo>
                  <a:lnTo>
                    <a:pt x="70195" y="62184"/>
                  </a:lnTo>
                  <a:lnTo>
                    <a:pt x="69934" y="61434"/>
                  </a:lnTo>
                  <a:lnTo>
                    <a:pt x="70603" y="60825"/>
                  </a:lnTo>
                  <a:lnTo>
                    <a:pt x="70111" y="60319"/>
                  </a:lnTo>
                  <a:lnTo>
                    <a:pt x="68079" y="59113"/>
                  </a:lnTo>
                  <a:lnTo>
                    <a:pt x="64754" y="56103"/>
                  </a:lnTo>
                  <a:lnTo>
                    <a:pt x="62873" y="55428"/>
                  </a:lnTo>
                  <a:lnTo>
                    <a:pt x="62125" y="53542"/>
                  </a:lnTo>
                  <a:lnTo>
                    <a:pt x="61379" y="53141"/>
                  </a:lnTo>
                  <a:lnTo>
                    <a:pt x="59793" y="52960"/>
                  </a:lnTo>
                  <a:lnTo>
                    <a:pt x="58122" y="53143"/>
                  </a:lnTo>
                  <a:lnTo>
                    <a:pt x="57759" y="53358"/>
                  </a:lnTo>
                  <a:lnTo>
                    <a:pt x="57250" y="53660"/>
                  </a:lnTo>
                  <a:lnTo>
                    <a:pt x="55935" y="56017"/>
                  </a:lnTo>
                  <a:lnTo>
                    <a:pt x="55017" y="56816"/>
                  </a:lnTo>
                  <a:lnTo>
                    <a:pt x="52760" y="56442"/>
                  </a:lnTo>
                  <a:lnTo>
                    <a:pt x="50895" y="55887"/>
                  </a:lnTo>
                  <a:lnTo>
                    <a:pt x="49372" y="55577"/>
                  </a:lnTo>
                  <a:lnTo>
                    <a:pt x="46423" y="55383"/>
                  </a:lnTo>
                  <a:lnTo>
                    <a:pt x="43063" y="55341"/>
                  </a:lnTo>
                  <a:lnTo>
                    <a:pt x="40802" y="57013"/>
                  </a:lnTo>
                  <a:lnTo>
                    <a:pt x="39826" y="56798"/>
                  </a:lnTo>
                  <a:lnTo>
                    <a:pt x="38109" y="55977"/>
                  </a:lnTo>
                  <a:lnTo>
                    <a:pt x="35341" y="55298"/>
                  </a:lnTo>
                  <a:lnTo>
                    <a:pt x="33870" y="54765"/>
                  </a:lnTo>
                  <a:lnTo>
                    <a:pt x="38109" y="49793"/>
                  </a:lnTo>
                  <a:lnTo>
                    <a:pt x="39370" y="46834"/>
                  </a:lnTo>
                  <a:lnTo>
                    <a:pt x="39413" y="45038"/>
                  </a:lnTo>
                  <a:lnTo>
                    <a:pt x="39463" y="42779"/>
                  </a:lnTo>
                  <a:lnTo>
                    <a:pt x="37258" y="38082"/>
                  </a:lnTo>
                  <a:lnTo>
                    <a:pt x="35367" y="31402"/>
                  </a:lnTo>
                  <a:lnTo>
                    <a:pt x="33399" y="24426"/>
                  </a:lnTo>
                  <a:lnTo>
                    <a:pt x="31866" y="22333"/>
                  </a:lnTo>
                  <a:lnTo>
                    <a:pt x="25438" y="19913"/>
                  </a:lnTo>
                  <a:lnTo>
                    <a:pt x="23954" y="17163"/>
                  </a:lnTo>
                  <a:lnTo>
                    <a:pt x="18979" y="13609"/>
                  </a:lnTo>
                  <a:lnTo>
                    <a:pt x="12067" y="12065"/>
                  </a:lnTo>
                  <a:lnTo>
                    <a:pt x="10698" y="11403"/>
                  </a:lnTo>
                  <a:lnTo>
                    <a:pt x="4694" y="6926"/>
                  </a:lnTo>
                  <a:lnTo>
                    <a:pt x="0" y="4037"/>
                  </a:lnTo>
                  <a:lnTo>
                    <a:pt x="1004" y="2287"/>
                  </a:lnTo>
                  <a:lnTo>
                    <a:pt x="2350" y="448"/>
                  </a:lnTo>
                  <a:lnTo>
                    <a:pt x="3801" y="0"/>
                  </a:lnTo>
                  <a:lnTo>
                    <a:pt x="8048" y="728"/>
                  </a:lnTo>
                  <a:lnTo>
                    <a:pt x="11954" y="1556"/>
                  </a:lnTo>
                  <a:lnTo>
                    <a:pt x="14809" y="967"/>
                  </a:lnTo>
                  <a:lnTo>
                    <a:pt x="18206" y="2420"/>
                  </a:lnTo>
                  <a:lnTo>
                    <a:pt x="21309" y="4085"/>
                  </a:lnTo>
                  <a:lnTo>
                    <a:pt x="24429" y="5258"/>
                  </a:lnTo>
                  <a:lnTo>
                    <a:pt x="30512" y="6362"/>
                  </a:lnTo>
                  <a:lnTo>
                    <a:pt x="32780" y="7896"/>
                  </a:lnTo>
                  <a:lnTo>
                    <a:pt x="35429" y="9429"/>
                  </a:lnTo>
                  <a:lnTo>
                    <a:pt x="45809" y="10211"/>
                  </a:lnTo>
                  <a:lnTo>
                    <a:pt x="46645" y="9970"/>
                  </a:lnTo>
                  <a:lnTo>
                    <a:pt x="47407" y="9749"/>
                  </a:lnTo>
                  <a:lnTo>
                    <a:pt x="50888" y="9192"/>
                  </a:lnTo>
                  <a:lnTo>
                    <a:pt x="53970" y="9296"/>
                  </a:lnTo>
                  <a:lnTo>
                    <a:pt x="57220" y="11151"/>
                  </a:lnTo>
                  <a:lnTo>
                    <a:pt x="59303" y="11044"/>
                  </a:lnTo>
                  <a:lnTo>
                    <a:pt x="61523" y="10763"/>
                  </a:lnTo>
                  <a:lnTo>
                    <a:pt x="64384" y="11754"/>
                  </a:lnTo>
                  <a:lnTo>
                    <a:pt x="66630" y="12857"/>
                  </a:lnTo>
                  <a:lnTo>
                    <a:pt x="66820" y="13980"/>
                  </a:lnTo>
                  <a:lnTo>
                    <a:pt x="68787" y="15604"/>
                  </a:lnTo>
                  <a:lnTo>
                    <a:pt x="74510" y="18078"/>
                  </a:lnTo>
                  <a:lnTo>
                    <a:pt x="79150" y="19476"/>
                  </a:lnTo>
                  <a:lnTo>
                    <a:pt x="80593" y="20459"/>
                  </a:lnTo>
                  <a:lnTo>
                    <a:pt x="84121" y="22082"/>
                  </a:lnTo>
                  <a:lnTo>
                    <a:pt x="84477" y="22596"/>
                  </a:lnTo>
                  <a:lnTo>
                    <a:pt x="84404" y="23260"/>
                  </a:lnTo>
                  <a:lnTo>
                    <a:pt x="83398" y="24474"/>
                  </a:lnTo>
                  <a:lnTo>
                    <a:pt x="83143" y="25556"/>
                  </a:lnTo>
                  <a:lnTo>
                    <a:pt x="83618" y="26174"/>
                  </a:lnTo>
                  <a:lnTo>
                    <a:pt x="85080" y="26770"/>
                  </a:lnTo>
                  <a:lnTo>
                    <a:pt x="87986" y="26903"/>
                  </a:lnTo>
                  <a:lnTo>
                    <a:pt x="89032" y="26127"/>
                  </a:lnTo>
                  <a:lnTo>
                    <a:pt x="91200" y="25573"/>
                  </a:lnTo>
                  <a:lnTo>
                    <a:pt x="93344" y="24578"/>
                  </a:lnTo>
                  <a:lnTo>
                    <a:pt x="96214" y="23245"/>
                  </a:lnTo>
                  <a:lnTo>
                    <a:pt x="100113" y="22039"/>
                  </a:lnTo>
                  <a:lnTo>
                    <a:pt x="101675" y="22043"/>
                  </a:lnTo>
                  <a:lnTo>
                    <a:pt x="103176" y="22411"/>
                  </a:lnTo>
                  <a:lnTo>
                    <a:pt x="104225" y="23082"/>
                  </a:lnTo>
                  <a:lnTo>
                    <a:pt x="105979" y="25561"/>
                  </a:lnTo>
                  <a:lnTo>
                    <a:pt x="107734" y="22088"/>
                  </a:lnTo>
                  <a:lnTo>
                    <a:pt x="108187" y="21832"/>
                  </a:lnTo>
                  <a:lnTo>
                    <a:pt x="109788" y="22530"/>
                  </a:lnTo>
                  <a:lnTo>
                    <a:pt x="112623" y="23496"/>
                  </a:lnTo>
                  <a:lnTo>
                    <a:pt x="114583" y="24007"/>
                  </a:lnTo>
                  <a:lnTo>
                    <a:pt x="115644" y="24722"/>
                  </a:lnTo>
                  <a:lnTo>
                    <a:pt x="118641" y="27884"/>
                  </a:lnTo>
                  <a:lnTo>
                    <a:pt x="123487" y="27725"/>
                  </a:lnTo>
                  <a:lnTo>
                    <a:pt x="125536" y="28207"/>
                  </a:lnTo>
                  <a:lnTo>
                    <a:pt x="126635" y="28729"/>
                  </a:lnTo>
                  <a:lnTo>
                    <a:pt x="127127" y="29344"/>
                  </a:lnTo>
                  <a:lnTo>
                    <a:pt x="126261" y="32480"/>
                  </a:lnTo>
                  <a:lnTo>
                    <a:pt x="125065" y="35745"/>
                  </a:lnTo>
                  <a:lnTo>
                    <a:pt x="125160" y="36534"/>
                  </a:lnTo>
                  <a:lnTo>
                    <a:pt x="127106" y="37762"/>
                  </a:lnTo>
                  <a:lnTo>
                    <a:pt x="129747" y="39062"/>
                  </a:lnTo>
                  <a:lnTo>
                    <a:pt x="131170" y="40106"/>
                  </a:lnTo>
                  <a:lnTo>
                    <a:pt x="132135" y="41043"/>
                  </a:lnTo>
                  <a:lnTo>
                    <a:pt x="134223" y="41751"/>
                  </a:lnTo>
                  <a:lnTo>
                    <a:pt x="136685" y="42194"/>
                  </a:lnTo>
                  <a:lnTo>
                    <a:pt x="137855" y="42252"/>
                  </a:lnTo>
                  <a:lnTo>
                    <a:pt x="139073" y="43036"/>
                  </a:lnTo>
                  <a:lnTo>
                    <a:pt x="142252" y="44514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73" name="ee4p_ID_1_37365">
              <a:extLst>
                <a:ext uri="{FF2B5EF4-FFF2-40B4-BE49-F238E27FC236}">
                  <a16:creationId xmlns:a16="http://schemas.microsoft.com/office/drawing/2014/main" id="{9ABC9604-405B-D91E-1D96-250259606810}"/>
                </a:ext>
              </a:extLst>
            </p:cNvPr>
            <p:cNvSpPr>
              <a:spLocks noChangeAspect="1"/>
            </p:cNvSpPr>
            <p:nvPr>
              <p:custDataLst>
                <p:tags r:id="rId227"/>
              </p:custDataLst>
            </p:nvPr>
          </p:nvSpPr>
          <p:spPr>
            <a:xfrm>
              <a:off x="9158527" y="4507090"/>
              <a:ext cx="1270990" cy="481106"/>
            </a:xfrm>
            <a:custGeom>
              <a:avLst/>
              <a:gdLst>
                <a:gd name="connsiteX0" fmla="*/ 622497 w 1012061"/>
                <a:gd name="connsiteY0" fmla="*/ 363163 h 372939"/>
                <a:gd name="connsiteX1" fmla="*/ 622775 w 1012061"/>
                <a:gd name="connsiteY1" fmla="*/ 363218 h 372939"/>
                <a:gd name="connsiteX2" fmla="*/ 623041 w 1012061"/>
                <a:gd name="connsiteY2" fmla="*/ 365289 h 372939"/>
                <a:gd name="connsiteX3" fmla="*/ 623699 w 1012061"/>
                <a:gd name="connsiteY3" fmla="*/ 366520 h 372939"/>
                <a:gd name="connsiteX4" fmla="*/ 623816 w 1012061"/>
                <a:gd name="connsiteY4" fmla="*/ 367160 h 372939"/>
                <a:gd name="connsiteX5" fmla="*/ 621440 w 1012061"/>
                <a:gd name="connsiteY5" fmla="*/ 368215 h 372939"/>
                <a:gd name="connsiteX6" fmla="*/ 619320 w 1012061"/>
                <a:gd name="connsiteY6" fmla="*/ 370624 h 372939"/>
                <a:gd name="connsiteX7" fmla="*/ 614686 w 1012061"/>
                <a:gd name="connsiteY7" fmla="*/ 372195 h 372939"/>
                <a:gd name="connsiteX8" fmla="*/ 613440 w 1012061"/>
                <a:gd name="connsiteY8" fmla="*/ 372931 h 372939"/>
                <a:gd name="connsiteX9" fmla="*/ 611382 w 1012061"/>
                <a:gd name="connsiteY9" fmla="*/ 372939 h 372939"/>
                <a:gd name="connsiteX10" fmla="*/ 610726 w 1012061"/>
                <a:gd name="connsiteY10" fmla="*/ 372703 h 372939"/>
                <a:gd name="connsiteX11" fmla="*/ 610555 w 1012061"/>
                <a:gd name="connsiteY11" fmla="*/ 370733 h 372939"/>
                <a:gd name="connsiteX12" fmla="*/ 611158 w 1012061"/>
                <a:gd name="connsiteY12" fmla="*/ 369632 h 372939"/>
                <a:gd name="connsiteX13" fmla="*/ 615928 w 1012061"/>
                <a:gd name="connsiteY13" fmla="*/ 368215 h 372939"/>
                <a:gd name="connsiteX14" fmla="*/ 617793 w 1012061"/>
                <a:gd name="connsiteY14" fmla="*/ 366907 h 372939"/>
                <a:gd name="connsiteX15" fmla="*/ 620439 w 1012061"/>
                <a:gd name="connsiteY15" fmla="*/ 364185 h 372939"/>
                <a:gd name="connsiteX16" fmla="*/ 622080 w 1012061"/>
                <a:gd name="connsiteY16" fmla="*/ 363471 h 372939"/>
                <a:gd name="connsiteX17" fmla="*/ 591341 w 1012061"/>
                <a:gd name="connsiteY17" fmla="*/ 362281 h 372939"/>
                <a:gd name="connsiteX18" fmla="*/ 592421 w 1012061"/>
                <a:gd name="connsiteY18" fmla="*/ 362594 h 372939"/>
                <a:gd name="connsiteX19" fmla="*/ 592045 w 1012061"/>
                <a:gd name="connsiteY19" fmla="*/ 364414 h 372939"/>
                <a:gd name="connsiteX20" fmla="*/ 589870 w 1012061"/>
                <a:gd name="connsiteY20" fmla="*/ 365798 h 372939"/>
                <a:gd name="connsiteX21" fmla="*/ 588767 w 1012061"/>
                <a:gd name="connsiteY21" fmla="*/ 366062 h 372939"/>
                <a:gd name="connsiteX22" fmla="*/ 586402 w 1012061"/>
                <a:gd name="connsiteY22" fmla="*/ 365414 h 372939"/>
                <a:gd name="connsiteX23" fmla="*/ 585928 w 1012061"/>
                <a:gd name="connsiteY23" fmla="*/ 365023 h 372939"/>
                <a:gd name="connsiteX24" fmla="*/ 587953 w 1012061"/>
                <a:gd name="connsiteY24" fmla="*/ 363945 h 372939"/>
                <a:gd name="connsiteX25" fmla="*/ 589516 w 1012061"/>
                <a:gd name="connsiteY25" fmla="*/ 362412 h 372939"/>
                <a:gd name="connsiteX26" fmla="*/ 624714 w 1012061"/>
                <a:gd name="connsiteY26" fmla="*/ 355734 h 372939"/>
                <a:gd name="connsiteX27" fmla="*/ 625491 w 1012061"/>
                <a:gd name="connsiteY27" fmla="*/ 356560 h 372939"/>
                <a:gd name="connsiteX28" fmla="*/ 625555 w 1012061"/>
                <a:gd name="connsiteY28" fmla="*/ 356940 h 372939"/>
                <a:gd name="connsiteX29" fmla="*/ 623526 w 1012061"/>
                <a:gd name="connsiteY29" fmla="*/ 357681 h 372939"/>
                <a:gd name="connsiteX30" fmla="*/ 623773 w 1012061"/>
                <a:gd name="connsiteY30" fmla="*/ 359368 h 372939"/>
                <a:gd name="connsiteX31" fmla="*/ 621778 w 1012061"/>
                <a:gd name="connsiteY31" fmla="*/ 360147 h 372939"/>
                <a:gd name="connsiteX32" fmla="*/ 621769 w 1012061"/>
                <a:gd name="connsiteY32" fmla="*/ 358509 h 372939"/>
                <a:gd name="connsiteX33" fmla="*/ 623311 w 1012061"/>
                <a:gd name="connsiteY33" fmla="*/ 356436 h 372939"/>
                <a:gd name="connsiteX34" fmla="*/ 546953 w 1012061"/>
                <a:gd name="connsiteY34" fmla="*/ 337021 h 372939"/>
                <a:gd name="connsiteX35" fmla="*/ 547654 w 1012061"/>
                <a:gd name="connsiteY35" fmla="*/ 337470 h 372939"/>
                <a:gd name="connsiteX36" fmla="*/ 548510 w 1012061"/>
                <a:gd name="connsiteY36" fmla="*/ 338654 h 372939"/>
                <a:gd name="connsiteX37" fmla="*/ 549508 w 1012061"/>
                <a:gd name="connsiteY37" fmla="*/ 339659 h 372939"/>
                <a:gd name="connsiteX38" fmla="*/ 553122 w 1012061"/>
                <a:gd name="connsiteY38" fmla="*/ 341591 h 372939"/>
                <a:gd name="connsiteX39" fmla="*/ 553718 w 1012061"/>
                <a:gd name="connsiteY39" fmla="*/ 342405 h 372939"/>
                <a:gd name="connsiteX40" fmla="*/ 553945 w 1012061"/>
                <a:gd name="connsiteY40" fmla="*/ 343750 h 372939"/>
                <a:gd name="connsiteX41" fmla="*/ 554670 w 1012061"/>
                <a:gd name="connsiteY41" fmla="*/ 344748 h 372939"/>
                <a:gd name="connsiteX42" fmla="*/ 556299 w 1012061"/>
                <a:gd name="connsiteY42" fmla="*/ 344900 h 372939"/>
                <a:gd name="connsiteX43" fmla="*/ 558044 w 1012061"/>
                <a:gd name="connsiteY43" fmla="*/ 344698 h 372939"/>
                <a:gd name="connsiteX44" fmla="*/ 559371 w 1012061"/>
                <a:gd name="connsiteY44" fmla="*/ 345332 h 372939"/>
                <a:gd name="connsiteX45" fmla="*/ 560518 w 1012061"/>
                <a:gd name="connsiteY45" fmla="*/ 346336 h 372939"/>
                <a:gd name="connsiteX46" fmla="*/ 562222 w 1012061"/>
                <a:gd name="connsiteY46" fmla="*/ 348287 h 372939"/>
                <a:gd name="connsiteX47" fmla="*/ 563721 w 1012061"/>
                <a:gd name="connsiteY47" fmla="*/ 350446 h 372939"/>
                <a:gd name="connsiteX48" fmla="*/ 565580 w 1012061"/>
                <a:gd name="connsiteY48" fmla="*/ 351649 h 372939"/>
                <a:gd name="connsiteX49" fmla="*/ 566644 w 1012061"/>
                <a:gd name="connsiteY49" fmla="*/ 353446 h 372939"/>
                <a:gd name="connsiteX50" fmla="*/ 566016 w 1012061"/>
                <a:gd name="connsiteY50" fmla="*/ 355031 h 372939"/>
                <a:gd name="connsiteX51" fmla="*/ 563669 w 1012061"/>
                <a:gd name="connsiteY51" fmla="*/ 357223 h 372939"/>
                <a:gd name="connsiteX52" fmla="*/ 562394 w 1012061"/>
                <a:gd name="connsiteY52" fmla="*/ 357699 h 372939"/>
                <a:gd name="connsiteX53" fmla="*/ 560654 w 1012061"/>
                <a:gd name="connsiteY53" fmla="*/ 357871 h 372939"/>
                <a:gd name="connsiteX54" fmla="*/ 557944 w 1012061"/>
                <a:gd name="connsiteY54" fmla="*/ 359176 h 372939"/>
                <a:gd name="connsiteX55" fmla="*/ 556957 w 1012061"/>
                <a:gd name="connsiteY55" fmla="*/ 358493 h 372939"/>
                <a:gd name="connsiteX56" fmla="*/ 553882 w 1012061"/>
                <a:gd name="connsiteY56" fmla="*/ 358020 h 372939"/>
                <a:gd name="connsiteX57" fmla="*/ 551435 w 1012061"/>
                <a:gd name="connsiteY57" fmla="*/ 357077 h 372939"/>
                <a:gd name="connsiteX58" fmla="*/ 549382 w 1012061"/>
                <a:gd name="connsiteY58" fmla="*/ 355352 h 372939"/>
                <a:gd name="connsiteX59" fmla="*/ 548198 w 1012061"/>
                <a:gd name="connsiteY59" fmla="*/ 353496 h 372939"/>
                <a:gd name="connsiteX60" fmla="*/ 546700 w 1012061"/>
                <a:gd name="connsiteY60" fmla="*/ 351861 h 372939"/>
                <a:gd name="connsiteX61" fmla="*/ 544093 w 1012061"/>
                <a:gd name="connsiteY61" fmla="*/ 350766 h 372939"/>
                <a:gd name="connsiteX62" fmla="*/ 539412 w 1012061"/>
                <a:gd name="connsiteY62" fmla="*/ 347553 h 372939"/>
                <a:gd name="connsiteX63" fmla="*/ 536521 w 1012061"/>
                <a:gd name="connsiteY63" fmla="*/ 347263 h 372939"/>
                <a:gd name="connsiteX64" fmla="*/ 535331 w 1012061"/>
                <a:gd name="connsiteY64" fmla="*/ 347498 h 372939"/>
                <a:gd name="connsiteX65" fmla="*/ 534139 w 1012061"/>
                <a:gd name="connsiteY65" fmla="*/ 347514 h 372939"/>
                <a:gd name="connsiteX66" fmla="*/ 528011 w 1012061"/>
                <a:gd name="connsiteY66" fmla="*/ 346066 h 372939"/>
                <a:gd name="connsiteX67" fmla="*/ 527059 w 1012061"/>
                <a:gd name="connsiteY67" fmla="*/ 345221 h 372939"/>
                <a:gd name="connsiteX68" fmla="*/ 526307 w 1012061"/>
                <a:gd name="connsiteY68" fmla="*/ 344138 h 372939"/>
                <a:gd name="connsiteX69" fmla="*/ 525620 w 1012061"/>
                <a:gd name="connsiteY69" fmla="*/ 343074 h 372939"/>
                <a:gd name="connsiteX70" fmla="*/ 525210 w 1012061"/>
                <a:gd name="connsiteY70" fmla="*/ 341881 h 372939"/>
                <a:gd name="connsiteX71" fmla="*/ 525991 w 1012061"/>
                <a:gd name="connsiteY71" fmla="*/ 340826 h 372939"/>
                <a:gd name="connsiteX72" fmla="*/ 526817 w 1012061"/>
                <a:gd name="connsiteY72" fmla="*/ 340116 h 372939"/>
                <a:gd name="connsiteX73" fmla="*/ 530226 w 1012061"/>
                <a:gd name="connsiteY73" fmla="*/ 338872 h 372939"/>
                <a:gd name="connsiteX74" fmla="*/ 532664 w 1012061"/>
                <a:gd name="connsiteY74" fmla="*/ 338487 h 372939"/>
                <a:gd name="connsiteX75" fmla="*/ 535495 w 1012061"/>
                <a:gd name="connsiteY75" fmla="*/ 338545 h 372939"/>
                <a:gd name="connsiteX76" fmla="*/ 539714 w 1012061"/>
                <a:gd name="connsiteY76" fmla="*/ 338158 h 372939"/>
                <a:gd name="connsiteX77" fmla="*/ 543703 w 1012061"/>
                <a:gd name="connsiteY77" fmla="*/ 338783 h 372939"/>
                <a:gd name="connsiteX78" fmla="*/ 544934 w 1012061"/>
                <a:gd name="connsiteY78" fmla="*/ 338317 h 372939"/>
                <a:gd name="connsiteX79" fmla="*/ 657075 w 1012061"/>
                <a:gd name="connsiteY79" fmla="*/ 329018 h 372939"/>
                <a:gd name="connsiteX80" fmla="*/ 656915 w 1012061"/>
                <a:gd name="connsiteY80" fmla="*/ 331003 h 372939"/>
                <a:gd name="connsiteX81" fmla="*/ 657396 w 1012061"/>
                <a:gd name="connsiteY81" fmla="*/ 331491 h 372939"/>
                <a:gd name="connsiteX82" fmla="*/ 658202 w 1012061"/>
                <a:gd name="connsiteY82" fmla="*/ 331732 h 372939"/>
                <a:gd name="connsiteX83" fmla="*/ 661014 w 1012061"/>
                <a:gd name="connsiteY83" fmla="*/ 330389 h 372939"/>
                <a:gd name="connsiteX84" fmla="*/ 661545 w 1012061"/>
                <a:gd name="connsiteY84" fmla="*/ 330644 h 372939"/>
                <a:gd name="connsiteX85" fmla="*/ 662089 w 1012061"/>
                <a:gd name="connsiteY85" fmla="*/ 331249 h 372939"/>
                <a:gd name="connsiteX86" fmla="*/ 662098 w 1012061"/>
                <a:gd name="connsiteY86" fmla="*/ 333041 h 372939"/>
                <a:gd name="connsiteX87" fmla="*/ 661016 w 1012061"/>
                <a:gd name="connsiteY87" fmla="*/ 334532 h 372939"/>
                <a:gd name="connsiteX88" fmla="*/ 658297 w 1012061"/>
                <a:gd name="connsiteY88" fmla="*/ 334645 h 372939"/>
                <a:gd name="connsiteX89" fmla="*/ 657913 w 1012061"/>
                <a:gd name="connsiteY89" fmla="*/ 335065 h 372939"/>
                <a:gd name="connsiteX90" fmla="*/ 657879 w 1012061"/>
                <a:gd name="connsiteY90" fmla="*/ 335978 h 372939"/>
                <a:gd name="connsiteX91" fmla="*/ 658092 w 1012061"/>
                <a:gd name="connsiteY91" fmla="*/ 336860 h 372939"/>
                <a:gd name="connsiteX92" fmla="*/ 658727 w 1012061"/>
                <a:gd name="connsiteY92" fmla="*/ 337568 h 372939"/>
                <a:gd name="connsiteX93" fmla="*/ 659537 w 1012061"/>
                <a:gd name="connsiteY93" fmla="*/ 338813 h 372939"/>
                <a:gd name="connsiteX94" fmla="*/ 660301 w 1012061"/>
                <a:gd name="connsiteY94" fmla="*/ 341715 h 372939"/>
                <a:gd name="connsiteX95" fmla="*/ 658748 w 1012061"/>
                <a:gd name="connsiteY95" fmla="*/ 342906 h 372939"/>
                <a:gd name="connsiteX96" fmla="*/ 657978 w 1012061"/>
                <a:gd name="connsiteY96" fmla="*/ 345144 h 372939"/>
                <a:gd name="connsiteX97" fmla="*/ 655296 w 1012061"/>
                <a:gd name="connsiteY97" fmla="*/ 347245 h 372939"/>
                <a:gd name="connsiteX98" fmla="*/ 652346 w 1012061"/>
                <a:gd name="connsiteY98" fmla="*/ 350692 h 372939"/>
                <a:gd name="connsiteX99" fmla="*/ 649990 w 1012061"/>
                <a:gd name="connsiteY99" fmla="*/ 352451 h 372939"/>
                <a:gd name="connsiteX100" fmla="*/ 647920 w 1012061"/>
                <a:gd name="connsiteY100" fmla="*/ 354532 h 372939"/>
                <a:gd name="connsiteX101" fmla="*/ 646135 w 1012061"/>
                <a:gd name="connsiteY101" fmla="*/ 355928 h 372939"/>
                <a:gd name="connsiteX102" fmla="*/ 643907 w 1012061"/>
                <a:gd name="connsiteY102" fmla="*/ 356401 h 372939"/>
                <a:gd name="connsiteX103" fmla="*/ 640573 w 1012061"/>
                <a:gd name="connsiteY103" fmla="*/ 356702 h 372939"/>
                <a:gd name="connsiteX104" fmla="*/ 636043 w 1012061"/>
                <a:gd name="connsiteY104" fmla="*/ 359193 h 372939"/>
                <a:gd name="connsiteX105" fmla="*/ 633534 w 1012061"/>
                <a:gd name="connsiteY105" fmla="*/ 360282 h 372939"/>
                <a:gd name="connsiteX106" fmla="*/ 631093 w 1012061"/>
                <a:gd name="connsiteY106" fmla="*/ 360363 h 372939"/>
                <a:gd name="connsiteX107" fmla="*/ 628813 w 1012061"/>
                <a:gd name="connsiteY107" fmla="*/ 359553 h 372939"/>
                <a:gd name="connsiteX108" fmla="*/ 627942 w 1012061"/>
                <a:gd name="connsiteY108" fmla="*/ 358642 h 372939"/>
                <a:gd name="connsiteX109" fmla="*/ 628148 w 1012061"/>
                <a:gd name="connsiteY109" fmla="*/ 357411 h 372939"/>
                <a:gd name="connsiteX110" fmla="*/ 628904 w 1012061"/>
                <a:gd name="connsiteY110" fmla="*/ 356355 h 372939"/>
                <a:gd name="connsiteX111" fmla="*/ 629830 w 1012061"/>
                <a:gd name="connsiteY111" fmla="*/ 355485 h 372939"/>
                <a:gd name="connsiteX112" fmla="*/ 630410 w 1012061"/>
                <a:gd name="connsiteY112" fmla="*/ 354364 h 372939"/>
                <a:gd name="connsiteX113" fmla="*/ 627824 w 1012061"/>
                <a:gd name="connsiteY113" fmla="*/ 352947 h 372939"/>
                <a:gd name="connsiteX114" fmla="*/ 627599 w 1012061"/>
                <a:gd name="connsiteY114" fmla="*/ 351867 h 372939"/>
                <a:gd name="connsiteX115" fmla="*/ 628627 w 1012061"/>
                <a:gd name="connsiteY115" fmla="*/ 348994 h 372939"/>
                <a:gd name="connsiteX116" fmla="*/ 629292 w 1012061"/>
                <a:gd name="connsiteY116" fmla="*/ 346029 h 372939"/>
                <a:gd name="connsiteX117" fmla="*/ 630255 w 1012061"/>
                <a:gd name="connsiteY117" fmla="*/ 344011 h 372939"/>
                <a:gd name="connsiteX118" fmla="*/ 633957 w 1012061"/>
                <a:gd name="connsiteY118" fmla="*/ 340403 h 372939"/>
                <a:gd name="connsiteX119" fmla="*/ 636177 w 1012061"/>
                <a:gd name="connsiteY119" fmla="*/ 338615 h 372939"/>
                <a:gd name="connsiteX120" fmla="*/ 637485 w 1012061"/>
                <a:gd name="connsiteY120" fmla="*/ 337916 h 372939"/>
                <a:gd name="connsiteX121" fmla="*/ 637842 w 1012061"/>
                <a:gd name="connsiteY121" fmla="*/ 338669 h 372939"/>
                <a:gd name="connsiteX122" fmla="*/ 638675 w 1012061"/>
                <a:gd name="connsiteY122" fmla="*/ 339585 h 372939"/>
                <a:gd name="connsiteX123" fmla="*/ 639236 w 1012061"/>
                <a:gd name="connsiteY123" fmla="*/ 339735 h 372939"/>
                <a:gd name="connsiteX124" fmla="*/ 639657 w 1012061"/>
                <a:gd name="connsiteY124" fmla="*/ 339528 h 372939"/>
                <a:gd name="connsiteX125" fmla="*/ 642924 w 1012061"/>
                <a:gd name="connsiteY125" fmla="*/ 339841 h 372939"/>
                <a:gd name="connsiteX126" fmla="*/ 643743 w 1012061"/>
                <a:gd name="connsiteY126" fmla="*/ 339526 h 372939"/>
                <a:gd name="connsiteX127" fmla="*/ 644989 w 1012061"/>
                <a:gd name="connsiteY127" fmla="*/ 338101 h 372939"/>
                <a:gd name="connsiteX128" fmla="*/ 645813 w 1012061"/>
                <a:gd name="connsiteY128" fmla="*/ 337308 h 372939"/>
                <a:gd name="connsiteX129" fmla="*/ 646373 w 1012061"/>
                <a:gd name="connsiteY129" fmla="*/ 335618 h 372939"/>
                <a:gd name="connsiteX130" fmla="*/ 646509 w 1012061"/>
                <a:gd name="connsiteY130" fmla="*/ 334543 h 372939"/>
                <a:gd name="connsiteX131" fmla="*/ 649407 w 1012061"/>
                <a:gd name="connsiteY131" fmla="*/ 333764 h 372939"/>
                <a:gd name="connsiteX132" fmla="*/ 650964 w 1012061"/>
                <a:gd name="connsiteY132" fmla="*/ 332901 h 372939"/>
                <a:gd name="connsiteX133" fmla="*/ 652342 w 1012061"/>
                <a:gd name="connsiteY133" fmla="*/ 331678 h 372939"/>
                <a:gd name="connsiteX134" fmla="*/ 656356 w 1012061"/>
                <a:gd name="connsiteY134" fmla="*/ 329597 h 372939"/>
                <a:gd name="connsiteX135" fmla="*/ 450087 w 1012061"/>
                <a:gd name="connsiteY135" fmla="*/ 322946 h 372939"/>
                <a:gd name="connsiteX136" fmla="*/ 451234 w 1012061"/>
                <a:gd name="connsiteY136" fmla="*/ 323909 h 372939"/>
                <a:gd name="connsiteX137" fmla="*/ 451160 w 1012061"/>
                <a:gd name="connsiteY137" fmla="*/ 325171 h 372939"/>
                <a:gd name="connsiteX138" fmla="*/ 450541 w 1012061"/>
                <a:gd name="connsiteY138" fmla="*/ 325937 h 372939"/>
                <a:gd name="connsiteX139" fmla="*/ 448748 w 1012061"/>
                <a:gd name="connsiteY139" fmla="*/ 324571 h 372939"/>
                <a:gd name="connsiteX140" fmla="*/ 448297 w 1012061"/>
                <a:gd name="connsiteY140" fmla="*/ 323959 h 372939"/>
                <a:gd name="connsiteX141" fmla="*/ 449627 w 1012061"/>
                <a:gd name="connsiteY141" fmla="*/ 323067 h 372939"/>
                <a:gd name="connsiteX142" fmla="*/ 616548 w 1012061"/>
                <a:gd name="connsiteY142" fmla="*/ 317822 h 372939"/>
                <a:gd name="connsiteX143" fmla="*/ 617618 w 1012061"/>
                <a:gd name="connsiteY143" fmla="*/ 318202 h 372939"/>
                <a:gd name="connsiteX144" fmla="*/ 617955 w 1012061"/>
                <a:gd name="connsiteY144" fmla="*/ 318622 h 372939"/>
                <a:gd name="connsiteX145" fmla="*/ 615235 w 1012061"/>
                <a:gd name="connsiteY145" fmla="*/ 319046 h 372939"/>
                <a:gd name="connsiteX146" fmla="*/ 614069 w 1012061"/>
                <a:gd name="connsiteY146" fmla="*/ 320168 h 372939"/>
                <a:gd name="connsiteX147" fmla="*/ 613365 w 1012061"/>
                <a:gd name="connsiteY147" fmla="*/ 321477 h 372939"/>
                <a:gd name="connsiteX148" fmla="*/ 612088 w 1012061"/>
                <a:gd name="connsiteY148" fmla="*/ 321105 h 372939"/>
                <a:gd name="connsiteX149" fmla="*/ 612436 w 1012061"/>
                <a:gd name="connsiteY149" fmla="*/ 319844 h 372939"/>
                <a:gd name="connsiteX150" fmla="*/ 613084 w 1012061"/>
                <a:gd name="connsiteY150" fmla="*/ 319096 h 372939"/>
                <a:gd name="connsiteX151" fmla="*/ 614803 w 1012061"/>
                <a:gd name="connsiteY151" fmla="*/ 318011 h 372939"/>
                <a:gd name="connsiteX152" fmla="*/ 535994 w 1012061"/>
                <a:gd name="connsiteY152" fmla="*/ 317584 h 372939"/>
                <a:gd name="connsiteX153" fmla="*/ 536525 w 1012061"/>
                <a:gd name="connsiteY153" fmla="*/ 318174 h 372939"/>
                <a:gd name="connsiteX154" fmla="*/ 536774 w 1012061"/>
                <a:gd name="connsiteY154" fmla="*/ 318559 h 372939"/>
                <a:gd name="connsiteX155" fmla="*/ 537225 w 1012061"/>
                <a:gd name="connsiteY155" fmla="*/ 318739 h 372939"/>
                <a:gd name="connsiteX156" fmla="*/ 538216 w 1012061"/>
                <a:gd name="connsiteY156" fmla="*/ 318774 h 372939"/>
                <a:gd name="connsiteX157" fmla="*/ 538442 w 1012061"/>
                <a:gd name="connsiteY157" fmla="*/ 319581 h 372939"/>
                <a:gd name="connsiteX158" fmla="*/ 538404 w 1012061"/>
                <a:gd name="connsiteY158" fmla="*/ 320350 h 372939"/>
                <a:gd name="connsiteX159" fmla="*/ 537980 w 1012061"/>
                <a:gd name="connsiteY159" fmla="*/ 321151 h 372939"/>
                <a:gd name="connsiteX160" fmla="*/ 536797 w 1012061"/>
                <a:gd name="connsiteY160" fmla="*/ 322017 h 372939"/>
                <a:gd name="connsiteX161" fmla="*/ 535940 w 1012061"/>
                <a:gd name="connsiteY161" fmla="*/ 322987 h 372939"/>
                <a:gd name="connsiteX162" fmla="*/ 536383 w 1012061"/>
                <a:gd name="connsiteY162" fmla="*/ 324529 h 372939"/>
                <a:gd name="connsiteX163" fmla="*/ 535516 w 1012061"/>
                <a:gd name="connsiteY163" fmla="*/ 324740 h 372939"/>
                <a:gd name="connsiteX164" fmla="*/ 534647 w 1012061"/>
                <a:gd name="connsiteY164" fmla="*/ 324418 h 372939"/>
                <a:gd name="connsiteX165" fmla="*/ 535002 w 1012061"/>
                <a:gd name="connsiteY165" fmla="*/ 322436 h 372939"/>
                <a:gd name="connsiteX166" fmla="*/ 534499 w 1012061"/>
                <a:gd name="connsiteY166" fmla="*/ 321088 h 372939"/>
                <a:gd name="connsiteX167" fmla="*/ 535406 w 1012061"/>
                <a:gd name="connsiteY167" fmla="*/ 320031 h 372939"/>
                <a:gd name="connsiteX168" fmla="*/ 535633 w 1012061"/>
                <a:gd name="connsiteY168" fmla="*/ 318158 h 372939"/>
                <a:gd name="connsiteX169" fmla="*/ 619370 w 1012061"/>
                <a:gd name="connsiteY169" fmla="*/ 313271 h 372939"/>
                <a:gd name="connsiteX170" fmla="*/ 622000 w 1012061"/>
                <a:gd name="connsiteY170" fmla="*/ 314019 h 372939"/>
                <a:gd name="connsiteX171" fmla="*/ 621590 w 1012061"/>
                <a:gd name="connsiteY171" fmla="*/ 315927 h 372939"/>
                <a:gd name="connsiteX172" fmla="*/ 621143 w 1012061"/>
                <a:gd name="connsiteY172" fmla="*/ 316904 h 372939"/>
                <a:gd name="connsiteX173" fmla="*/ 615122 w 1012061"/>
                <a:gd name="connsiteY173" fmla="*/ 316834 h 372939"/>
                <a:gd name="connsiteX174" fmla="*/ 615291 w 1012061"/>
                <a:gd name="connsiteY174" fmla="*/ 315549 h 372939"/>
                <a:gd name="connsiteX175" fmla="*/ 616964 w 1012061"/>
                <a:gd name="connsiteY175" fmla="*/ 314147 h 372939"/>
                <a:gd name="connsiteX176" fmla="*/ 617521 w 1012061"/>
                <a:gd name="connsiteY176" fmla="*/ 313680 h 372939"/>
                <a:gd name="connsiteX177" fmla="*/ 468664 w 1012061"/>
                <a:gd name="connsiteY177" fmla="*/ 312575 h 372939"/>
                <a:gd name="connsiteX178" fmla="*/ 474091 w 1012061"/>
                <a:gd name="connsiteY178" fmla="*/ 314323 h 372939"/>
                <a:gd name="connsiteX179" fmla="*/ 474987 w 1012061"/>
                <a:gd name="connsiteY179" fmla="*/ 314799 h 372939"/>
                <a:gd name="connsiteX180" fmla="*/ 475682 w 1012061"/>
                <a:gd name="connsiteY180" fmla="*/ 315510 h 372939"/>
                <a:gd name="connsiteX181" fmla="*/ 476017 w 1012061"/>
                <a:gd name="connsiteY181" fmla="*/ 316643 h 372939"/>
                <a:gd name="connsiteX182" fmla="*/ 473955 w 1012061"/>
                <a:gd name="connsiteY182" fmla="*/ 321697 h 372939"/>
                <a:gd name="connsiteX183" fmla="*/ 471156 w 1012061"/>
                <a:gd name="connsiteY183" fmla="*/ 326311 h 372939"/>
                <a:gd name="connsiteX184" fmla="*/ 472153 w 1012061"/>
                <a:gd name="connsiteY184" fmla="*/ 327055 h 372939"/>
                <a:gd name="connsiteX185" fmla="*/ 472754 w 1012061"/>
                <a:gd name="connsiteY185" fmla="*/ 327762 h 372939"/>
                <a:gd name="connsiteX186" fmla="*/ 468127 w 1012061"/>
                <a:gd name="connsiteY186" fmla="*/ 328718 h 372939"/>
                <a:gd name="connsiteX187" fmla="*/ 466194 w 1012061"/>
                <a:gd name="connsiteY187" fmla="*/ 328208 h 372939"/>
                <a:gd name="connsiteX188" fmla="*/ 465077 w 1012061"/>
                <a:gd name="connsiteY188" fmla="*/ 328341 h 372939"/>
                <a:gd name="connsiteX189" fmla="*/ 460377 w 1012061"/>
                <a:gd name="connsiteY189" fmla="*/ 327473 h 372939"/>
                <a:gd name="connsiteX190" fmla="*/ 457013 w 1012061"/>
                <a:gd name="connsiteY190" fmla="*/ 326413 h 372939"/>
                <a:gd name="connsiteX191" fmla="*/ 456630 w 1012061"/>
                <a:gd name="connsiteY191" fmla="*/ 325573 h 372939"/>
                <a:gd name="connsiteX192" fmla="*/ 456896 w 1012061"/>
                <a:gd name="connsiteY192" fmla="*/ 324568 h 372939"/>
                <a:gd name="connsiteX193" fmla="*/ 457893 w 1012061"/>
                <a:gd name="connsiteY193" fmla="*/ 324908 h 372939"/>
                <a:gd name="connsiteX194" fmla="*/ 460484 w 1012061"/>
                <a:gd name="connsiteY194" fmla="*/ 325069 h 372939"/>
                <a:gd name="connsiteX195" fmla="*/ 461475 w 1012061"/>
                <a:gd name="connsiteY195" fmla="*/ 324616 h 372939"/>
                <a:gd name="connsiteX196" fmla="*/ 461504 w 1012061"/>
                <a:gd name="connsiteY196" fmla="*/ 321640 h 372939"/>
                <a:gd name="connsiteX197" fmla="*/ 461136 w 1012061"/>
                <a:gd name="connsiteY197" fmla="*/ 317767 h 372939"/>
                <a:gd name="connsiteX198" fmla="*/ 464645 w 1012061"/>
                <a:gd name="connsiteY198" fmla="*/ 314602 h 372939"/>
                <a:gd name="connsiteX199" fmla="*/ 466514 w 1012061"/>
                <a:gd name="connsiteY199" fmla="*/ 313328 h 372939"/>
                <a:gd name="connsiteX200" fmla="*/ 642555 w 1012061"/>
                <a:gd name="connsiteY200" fmla="*/ 312521 h 372939"/>
                <a:gd name="connsiteX201" fmla="*/ 643031 w 1012061"/>
                <a:gd name="connsiteY201" fmla="*/ 312675 h 372939"/>
                <a:gd name="connsiteX202" fmla="*/ 643414 w 1012061"/>
                <a:gd name="connsiteY202" fmla="*/ 313123 h 372939"/>
                <a:gd name="connsiteX203" fmla="*/ 643019 w 1012061"/>
                <a:gd name="connsiteY203" fmla="*/ 315365 h 372939"/>
                <a:gd name="connsiteX204" fmla="*/ 641674 w 1012061"/>
                <a:gd name="connsiteY204" fmla="*/ 316741 h 372939"/>
                <a:gd name="connsiteX205" fmla="*/ 640759 w 1012061"/>
                <a:gd name="connsiteY205" fmla="*/ 319133 h 372939"/>
                <a:gd name="connsiteX206" fmla="*/ 639925 w 1012061"/>
                <a:gd name="connsiteY206" fmla="*/ 319861 h 372939"/>
                <a:gd name="connsiteX207" fmla="*/ 638135 w 1012061"/>
                <a:gd name="connsiteY207" fmla="*/ 320311 h 372939"/>
                <a:gd name="connsiteX208" fmla="*/ 637064 w 1012061"/>
                <a:gd name="connsiteY208" fmla="*/ 317911 h 372939"/>
                <a:gd name="connsiteX209" fmla="*/ 635084 w 1012061"/>
                <a:gd name="connsiteY209" fmla="*/ 318024 h 372939"/>
                <a:gd name="connsiteX210" fmla="*/ 636051 w 1012061"/>
                <a:gd name="connsiteY210" fmla="*/ 315912 h 372939"/>
                <a:gd name="connsiteX211" fmla="*/ 636986 w 1012061"/>
                <a:gd name="connsiteY211" fmla="*/ 315123 h 372939"/>
                <a:gd name="connsiteX212" fmla="*/ 638201 w 1012061"/>
                <a:gd name="connsiteY212" fmla="*/ 315103 h 372939"/>
                <a:gd name="connsiteX213" fmla="*/ 638800 w 1012061"/>
                <a:gd name="connsiteY213" fmla="*/ 315958 h 372939"/>
                <a:gd name="connsiteX214" fmla="*/ 639126 w 1012061"/>
                <a:gd name="connsiteY214" fmla="*/ 316139 h 372939"/>
                <a:gd name="connsiteX215" fmla="*/ 641979 w 1012061"/>
                <a:gd name="connsiteY215" fmla="*/ 312558 h 372939"/>
                <a:gd name="connsiteX216" fmla="*/ 631728 w 1012061"/>
                <a:gd name="connsiteY216" fmla="*/ 312269 h 372939"/>
                <a:gd name="connsiteX217" fmla="*/ 633265 w 1012061"/>
                <a:gd name="connsiteY217" fmla="*/ 312780 h 372939"/>
                <a:gd name="connsiteX218" fmla="*/ 634384 w 1012061"/>
                <a:gd name="connsiteY218" fmla="*/ 313356 h 372939"/>
                <a:gd name="connsiteX219" fmla="*/ 635019 w 1012061"/>
                <a:gd name="connsiteY219" fmla="*/ 314095 h 372939"/>
                <a:gd name="connsiteX220" fmla="*/ 631903 w 1012061"/>
                <a:gd name="connsiteY220" fmla="*/ 314699 h 372939"/>
                <a:gd name="connsiteX221" fmla="*/ 630000 w 1012061"/>
                <a:gd name="connsiteY221" fmla="*/ 317478 h 372939"/>
                <a:gd name="connsiteX222" fmla="*/ 628483 w 1012061"/>
                <a:gd name="connsiteY222" fmla="*/ 317434 h 372939"/>
                <a:gd name="connsiteX223" fmla="*/ 627651 w 1012061"/>
                <a:gd name="connsiteY223" fmla="*/ 318670 h 372939"/>
                <a:gd name="connsiteX224" fmla="*/ 627453 w 1012061"/>
                <a:gd name="connsiteY224" fmla="*/ 319198 h 372939"/>
                <a:gd name="connsiteX225" fmla="*/ 627569 w 1012061"/>
                <a:gd name="connsiteY225" fmla="*/ 319692 h 372939"/>
                <a:gd name="connsiteX226" fmla="*/ 627399 w 1012061"/>
                <a:gd name="connsiteY226" fmla="*/ 320161 h 372939"/>
                <a:gd name="connsiteX227" fmla="*/ 626798 w 1012061"/>
                <a:gd name="connsiteY227" fmla="*/ 320648 h 372939"/>
                <a:gd name="connsiteX228" fmla="*/ 625375 w 1012061"/>
                <a:gd name="connsiteY228" fmla="*/ 319881 h 372939"/>
                <a:gd name="connsiteX229" fmla="*/ 624161 w 1012061"/>
                <a:gd name="connsiteY229" fmla="*/ 320855 h 372939"/>
                <a:gd name="connsiteX230" fmla="*/ 623652 w 1012061"/>
                <a:gd name="connsiteY230" fmla="*/ 321090 h 372939"/>
                <a:gd name="connsiteX231" fmla="*/ 621866 w 1012061"/>
                <a:gd name="connsiteY231" fmla="*/ 319955 h 372939"/>
                <a:gd name="connsiteX232" fmla="*/ 620171 w 1012061"/>
                <a:gd name="connsiteY232" fmla="*/ 320020 h 372939"/>
                <a:gd name="connsiteX233" fmla="*/ 619657 w 1012061"/>
                <a:gd name="connsiteY233" fmla="*/ 319844 h 372939"/>
                <a:gd name="connsiteX234" fmla="*/ 621756 w 1012061"/>
                <a:gd name="connsiteY234" fmla="*/ 317804 h 372939"/>
                <a:gd name="connsiteX235" fmla="*/ 624622 w 1012061"/>
                <a:gd name="connsiteY235" fmla="*/ 315904 h 372939"/>
                <a:gd name="connsiteX236" fmla="*/ 625092 w 1012061"/>
                <a:gd name="connsiteY236" fmla="*/ 315203 h 372939"/>
                <a:gd name="connsiteX237" fmla="*/ 623971 w 1012061"/>
                <a:gd name="connsiteY237" fmla="*/ 315006 h 372939"/>
                <a:gd name="connsiteX238" fmla="*/ 623302 w 1012061"/>
                <a:gd name="connsiteY238" fmla="*/ 314721 h 372939"/>
                <a:gd name="connsiteX239" fmla="*/ 623220 w 1012061"/>
                <a:gd name="connsiteY239" fmla="*/ 314273 h 372939"/>
                <a:gd name="connsiteX240" fmla="*/ 625034 w 1012061"/>
                <a:gd name="connsiteY240" fmla="*/ 313975 h 372939"/>
                <a:gd name="connsiteX241" fmla="*/ 626288 w 1012061"/>
                <a:gd name="connsiteY241" fmla="*/ 313934 h 372939"/>
                <a:gd name="connsiteX242" fmla="*/ 627243 w 1012061"/>
                <a:gd name="connsiteY242" fmla="*/ 314519 h 372939"/>
                <a:gd name="connsiteX243" fmla="*/ 627850 w 1012061"/>
                <a:gd name="connsiteY243" fmla="*/ 314514 h 372939"/>
                <a:gd name="connsiteX244" fmla="*/ 963116 w 1012061"/>
                <a:gd name="connsiteY244" fmla="*/ 311891 h 372939"/>
                <a:gd name="connsiteX245" fmla="*/ 963857 w 1012061"/>
                <a:gd name="connsiteY245" fmla="*/ 311895 h 372939"/>
                <a:gd name="connsiteX246" fmla="*/ 966100 w 1012061"/>
                <a:gd name="connsiteY246" fmla="*/ 315543 h 372939"/>
                <a:gd name="connsiteX247" fmla="*/ 966044 w 1012061"/>
                <a:gd name="connsiteY247" fmla="*/ 316682 h 372939"/>
                <a:gd name="connsiteX248" fmla="*/ 964947 w 1012061"/>
                <a:gd name="connsiteY248" fmla="*/ 316974 h 372939"/>
                <a:gd name="connsiteX249" fmla="*/ 959391 w 1012061"/>
                <a:gd name="connsiteY249" fmla="*/ 316300 h 372939"/>
                <a:gd name="connsiteX250" fmla="*/ 958793 w 1012061"/>
                <a:gd name="connsiteY250" fmla="*/ 315382 h 372939"/>
                <a:gd name="connsiteX251" fmla="*/ 958709 w 1012061"/>
                <a:gd name="connsiteY251" fmla="*/ 314910 h 372939"/>
                <a:gd name="connsiteX252" fmla="*/ 959983 w 1012061"/>
                <a:gd name="connsiteY252" fmla="*/ 314006 h 372939"/>
                <a:gd name="connsiteX253" fmla="*/ 961214 w 1012061"/>
                <a:gd name="connsiteY253" fmla="*/ 312464 h 372939"/>
                <a:gd name="connsiteX254" fmla="*/ 496602 w 1012061"/>
                <a:gd name="connsiteY254" fmla="*/ 311330 h 372939"/>
                <a:gd name="connsiteX255" fmla="*/ 496695 w 1012061"/>
                <a:gd name="connsiteY255" fmla="*/ 312243 h 372939"/>
                <a:gd name="connsiteX256" fmla="*/ 494199 w 1012061"/>
                <a:gd name="connsiteY256" fmla="*/ 316206 h 372939"/>
                <a:gd name="connsiteX257" fmla="*/ 493696 w 1012061"/>
                <a:gd name="connsiteY257" fmla="*/ 316221 h 372939"/>
                <a:gd name="connsiteX258" fmla="*/ 492741 w 1012061"/>
                <a:gd name="connsiteY258" fmla="*/ 315793 h 372939"/>
                <a:gd name="connsiteX259" fmla="*/ 493085 w 1012061"/>
                <a:gd name="connsiteY259" fmla="*/ 314864 h 372939"/>
                <a:gd name="connsiteX260" fmla="*/ 492558 w 1012061"/>
                <a:gd name="connsiteY260" fmla="*/ 313356 h 372939"/>
                <a:gd name="connsiteX261" fmla="*/ 492744 w 1012061"/>
                <a:gd name="connsiteY261" fmla="*/ 312113 h 372939"/>
                <a:gd name="connsiteX262" fmla="*/ 493972 w 1012061"/>
                <a:gd name="connsiteY262" fmla="*/ 311413 h 372939"/>
                <a:gd name="connsiteX263" fmla="*/ 528283 w 1012061"/>
                <a:gd name="connsiteY263" fmla="*/ 311128 h 372939"/>
                <a:gd name="connsiteX264" fmla="*/ 528959 w 1012061"/>
                <a:gd name="connsiteY264" fmla="*/ 311973 h 372939"/>
                <a:gd name="connsiteX265" fmla="*/ 529103 w 1012061"/>
                <a:gd name="connsiteY265" fmla="*/ 312417 h 372939"/>
                <a:gd name="connsiteX266" fmla="*/ 528481 w 1012061"/>
                <a:gd name="connsiteY266" fmla="*/ 313004 h 372939"/>
                <a:gd name="connsiteX267" fmla="*/ 527754 w 1012061"/>
                <a:gd name="connsiteY267" fmla="*/ 313347 h 372939"/>
                <a:gd name="connsiteX268" fmla="*/ 526784 w 1012061"/>
                <a:gd name="connsiteY268" fmla="*/ 313373 h 372939"/>
                <a:gd name="connsiteX269" fmla="*/ 526583 w 1012061"/>
                <a:gd name="connsiteY269" fmla="*/ 312480 h 372939"/>
                <a:gd name="connsiteX270" fmla="*/ 526931 w 1012061"/>
                <a:gd name="connsiteY270" fmla="*/ 311543 h 372939"/>
                <a:gd name="connsiteX271" fmla="*/ 527862 w 1012061"/>
                <a:gd name="connsiteY271" fmla="*/ 311152 h 372939"/>
                <a:gd name="connsiteX272" fmla="*/ 647927 w 1012061"/>
                <a:gd name="connsiteY272" fmla="*/ 311045 h 372939"/>
                <a:gd name="connsiteX273" fmla="*/ 649409 w 1012061"/>
                <a:gd name="connsiteY273" fmla="*/ 311165 h 372939"/>
                <a:gd name="connsiteX274" fmla="*/ 649940 w 1012061"/>
                <a:gd name="connsiteY274" fmla="*/ 312521 h 372939"/>
                <a:gd name="connsiteX275" fmla="*/ 651649 w 1012061"/>
                <a:gd name="connsiteY275" fmla="*/ 311771 h 372939"/>
                <a:gd name="connsiteX276" fmla="*/ 653315 w 1012061"/>
                <a:gd name="connsiteY276" fmla="*/ 311582 h 372939"/>
                <a:gd name="connsiteX277" fmla="*/ 657116 w 1012061"/>
                <a:gd name="connsiteY277" fmla="*/ 311726 h 372939"/>
                <a:gd name="connsiteX278" fmla="*/ 659906 w 1012061"/>
                <a:gd name="connsiteY278" fmla="*/ 312028 h 372939"/>
                <a:gd name="connsiteX279" fmla="*/ 661549 w 1012061"/>
                <a:gd name="connsiteY279" fmla="*/ 312589 h 372939"/>
                <a:gd name="connsiteX280" fmla="*/ 661707 w 1012061"/>
                <a:gd name="connsiteY280" fmla="*/ 315297 h 372939"/>
                <a:gd name="connsiteX281" fmla="*/ 660933 w 1012061"/>
                <a:gd name="connsiteY281" fmla="*/ 315884 h 372939"/>
                <a:gd name="connsiteX282" fmla="*/ 646505 w 1012061"/>
                <a:gd name="connsiteY282" fmla="*/ 317928 h 372939"/>
                <a:gd name="connsiteX283" fmla="*/ 645099 w 1012061"/>
                <a:gd name="connsiteY283" fmla="*/ 317271 h 372939"/>
                <a:gd name="connsiteX284" fmla="*/ 644545 w 1012061"/>
                <a:gd name="connsiteY284" fmla="*/ 316621 h 372939"/>
                <a:gd name="connsiteX285" fmla="*/ 646101 w 1012061"/>
                <a:gd name="connsiteY285" fmla="*/ 314614 h 372939"/>
                <a:gd name="connsiteX286" fmla="*/ 645384 w 1012061"/>
                <a:gd name="connsiteY286" fmla="*/ 313662 h 372939"/>
                <a:gd name="connsiteX287" fmla="*/ 646205 w 1012061"/>
                <a:gd name="connsiteY287" fmla="*/ 312108 h 372939"/>
                <a:gd name="connsiteX288" fmla="*/ 721226 w 1012061"/>
                <a:gd name="connsiteY288" fmla="*/ 310231 h 372939"/>
                <a:gd name="connsiteX289" fmla="*/ 725095 w 1012061"/>
                <a:gd name="connsiteY289" fmla="*/ 311126 h 372939"/>
                <a:gd name="connsiteX290" fmla="*/ 727315 w 1012061"/>
                <a:gd name="connsiteY290" fmla="*/ 311032 h 372939"/>
                <a:gd name="connsiteX291" fmla="*/ 727767 w 1012061"/>
                <a:gd name="connsiteY291" fmla="*/ 311830 h 372939"/>
                <a:gd name="connsiteX292" fmla="*/ 725650 w 1012061"/>
                <a:gd name="connsiteY292" fmla="*/ 313714 h 372939"/>
                <a:gd name="connsiteX293" fmla="*/ 721170 w 1012061"/>
                <a:gd name="connsiteY293" fmla="*/ 312264 h 372939"/>
                <a:gd name="connsiteX294" fmla="*/ 720403 w 1012061"/>
                <a:gd name="connsiteY294" fmla="*/ 310708 h 372939"/>
                <a:gd name="connsiteX295" fmla="*/ 611158 w 1012061"/>
                <a:gd name="connsiteY295" fmla="*/ 310106 h 372939"/>
                <a:gd name="connsiteX296" fmla="*/ 612734 w 1012061"/>
                <a:gd name="connsiteY296" fmla="*/ 310380 h 372939"/>
                <a:gd name="connsiteX297" fmla="*/ 614091 w 1012061"/>
                <a:gd name="connsiteY297" fmla="*/ 311413 h 372939"/>
                <a:gd name="connsiteX298" fmla="*/ 614701 w 1012061"/>
                <a:gd name="connsiteY298" fmla="*/ 315356 h 372939"/>
                <a:gd name="connsiteX299" fmla="*/ 613585 w 1012061"/>
                <a:gd name="connsiteY299" fmla="*/ 315912 h 372939"/>
                <a:gd name="connsiteX300" fmla="*/ 612881 w 1012061"/>
                <a:gd name="connsiteY300" fmla="*/ 316510 h 372939"/>
                <a:gd name="connsiteX301" fmla="*/ 612406 w 1012061"/>
                <a:gd name="connsiteY301" fmla="*/ 317298 h 372939"/>
                <a:gd name="connsiteX302" fmla="*/ 610393 w 1012061"/>
                <a:gd name="connsiteY302" fmla="*/ 318741 h 372939"/>
                <a:gd name="connsiteX303" fmla="*/ 611181 w 1012061"/>
                <a:gd name="connsiteY303" fmla="*/ 320546 h 372939"/>
                <a:gd name="connsiteX304" fmla="*/ 610590 w 1012061"/>
                <a:gd name="connsiteY304" fmla="*/ 321292 h 372939"/>
                <a:gd name="connsiteX305" fmla="*/ 609769 w 1012061"/>
                <a:gd name="connsiteY305" fmla="*/ 321649 h 372939"/>
                <a:gd name="connsiteX306" fmla="*/ 606642 w 1012061"/>
                <a:gd name="connsiteY306" fmla="*/ 322441 h 372939"/>
                <a:gd name="connsiteX307" fmla="*/ 604704 w 1012061"/>
                <a:gd name="connsiteY307" fmla="*/ 323191 h 372939"/>
                <a:gd name="connsiteX308" fmla="*/ 602855 w 1012061"/>
                <a:gd name="connsiteY308" fmla="*/ 324183 h 372939"/>
                <a:gd name="connsiteX309" fmla="*/ 601684 w 1012061"/>
                <a:gd name="connsiteY309" fmla="*/ 324388 h 372939"/>
                <a:gd name="connsiteX310" fmla="*/ 599567 w 1012061"/>
                <a:gd name="connsiteY310" fmla="*/ 324468 h 372939"/>
                <a:gd name="connsiteX311" fmla="*/ 596564 w 1012061"/>
                <a:gd name="connsiteY311" fmla="*/ 324290 h 372939"/>
                <a:gd name="connsiteX312" fmla="*/ 594539 w 1012061"/>
                <a:gd name="connsiteY312" fmla="*/ 324612 h 372939"/>
                <a:gd name="connsiteX313" fmla="*/ 588890 w 1012061"/>
                <a:gd name="connsiteY313" fmla="*/ 327188 h 372939"/>
                <a:gd name="connsiteX314" fmla="*/ 586671 w 1012061"/>
                <a:gd name="connsiteY314" fmla="*/ 327412 h 372939"/>
                <a:gd name="connsiteX315" fmla="*/ 584748 w 1012061"/>
                <a:gd name="connsiteY315" fmla="*/ 328043 h 372939"/>
                <a:gd name="connsiteX316" fmla="*/ 584083 w 1012061"/>
                <a:gd name="connsiteY316" fmla="*/ 327042 h 372939"/>
                <a:gd name="connsiteX317" fmla="*/ 583272 w 1012061"/>
                <a:gd name="connsiteY317" fmla="*/ 326302 h 372939"/>
                <a:gd name="connsiteX318" fmla="*/ 581393 w 1012061"/>
                <a:gd name="connsiteY318" fmla="*/ 326115 h 372939"/>
                <a:gd name="connsiteX319" fmla="*/ 579514 w 1012061"/>
                <a:gd name="connsiteY319" fmla="*/ 326174 h 372939"/>
                <a:gd name="connsiteX320" fmla="*/ 577605 w 1012061"/>
                <a:gd name="connsiteY320" fmla="*/ 328448 h 372939"/>
                <a:gd name="connsiteX321" fmla="*/ 574565 w 1012061"/>
                <a:gd name="connsiteY321" fmla="*/ 327971 h 372939"/>
                <a:gd name="connsiteX322" fmla="*/ 573386 w 1012061"/>
                <a:gd name="connsiteY322" fmla="*/ 328172 h 372939"/>
                <a:gd name="connsiteX323" fmla="*/ 572250 w 1012061"/>
                <a:gd name="connsiteY323" fmla="*/ 328650 h 372939"/>
                <a:gd name="connsiteX324" fmla="*/ 571125 w 1012061"/>
                <a:gd name="connsiteY324" fmla="*/ 328862 h 372939"/>
                <a:gd name="connsiteX325" fmla="*/ 569944 w 1012061"/>
                <a:gd name="connsiteY325" fmla="*/ 328703 h 372939"/>
                <a:gd name="connsiteX326" fmla="*/ 565502 w 1012061"/>
                <a:gd name="connsiteY326" fmla="*/ 326931 h 372939"/>
                <a:gd name="connsiteX327" fmla="*/ 560405 w 1012061"/>
                <a:gd name="connsiteY327" fmla="*/ 325885 h 372939"/>
                <a:gd name="connsiteX328" fmla="*/ 555299 w 1012061"/>
                <a:gd name="connsiteY328" fmla="*/ 326296 h 372939"/>
                <a:gd name="connsiteX329" fmla="*/ 550907 w 1012061"/>
                <a:gd name="connsiteY329" fmla="*/ 325330 h 372939"/>
                <a:gd name="connsiteX330" fmla="*/ 548501 w 1012061"/>
                <a:gd name="connsiteY330" fmla="*/ 326069 h 372939"/>
                <a:gd name="connsiteX331" fmla="*/ 546230 w 1012061"/>
                <a:gd name="connsiteY331" fmla="*/ 327127 h 372939"/>
                <a:gd name="connsiteX332" fmla="*/ 545560 w 1012061"/>
                <a:gd name="connsiteY332" fmla="*/ 326013 h 372939"/>
                <a:gd name="connsiteX333" fmla="*/ 544727 w 1012061"/>
                <a:gd name="connsiteY333" fmla="*/ 325032 h 372939"/>
                <a:gd name="connsiteX334" fmla="*/ 543986 w 1012061"/>
                <a:gd name="connsiteY334" fmla="*/ 323563 h 372939"/>
                <a:gd name="connsiteX335" fmla="*/ 543966 w 1012061"/>
                <a:gd name="connsiteY335" fmla="*/ 321899 h 372939"/>
                <a:gd name="connsiteX336" fmla="*/ 544213 w 1012061"/>
                <a:gd name="connsiteY336" fmla="*/ 320731 h 372939"/>
                <a:gd name="connsiteX337" fmla="*/ 544865 w 1012061"/>
                <a:gd name="connsiteY337" fmla="*/ 319670 h 372939"/>
                <a:gd name="connsiteX338" fmla="*/ 545273 w 1012061"/>
                <a:gd name="connsiteY338" fmla="*/ 318563 h 372939"/>
                <a:gd name="connsiteX339" fmla="*/ 545465 w 1012061"/>
                <a:gd name="connsiteY339" fmla="*/ 317376 h 372939"/>
                <a:gd name="connsiteX340" fmla="*/ 546426 w 1012061"/>
                <a:gd name="connsiteY340" fmla="*/ 317939 h 372939"/>
                <a:gd name="connsiteX341" fmla="*/ 547432 w 1012061"/>
                <a:gd name="connsiteY341" fmla="*/ 317726 h 372939"/>
                <a:gd name="connsiteX342" fmla="*/ 550427 w 1012061"/>
                <a:gd name="connsiteY342" fmla="*/ 316434 h 372939"/>
                <a:gd name="connsiteX343" fmla="*/ 553345 w 1012061"/>
                <a:gd name="connsiteY343" fmla="*/ 314482 h 372939"/>
                <a:gd name="connsiteX344" fmla="*/ 556063 w 1012061"/>
                <a:gd name="connsiteY344" fmla="*/ 313769 h 372939"/>
                <a:gd name="connsiteX345" fmla="*/ 557629 w 1012061"/>
                <a:gd name="connsiteY345" fmla="*/ 313571 h 372939"/>
                <a:gd name="connsiteX346" fmla="*/ 558970 w 1012061"/>
                <a:gd name="connsiteY346" fmla="*/ 313954 h 372939"/>
                <a:gd name="connsiteX347" fmla="*/ 560333 w 1012061"/>
                <a:gd name="connsiteY347" fmla="*/ 313814 h 372939"/>
                <a:gd name="connsiteX348" fmla="*/ 561727 w 1012061"/>
                <a:gd name="connsiteY348" fmla="*/ 313382 h 372939"/>
                <a:gd name="connsiteX349" fmla="*/ 563924 w 1012061"/>
                <a:gd name="connsiteY349" fmla="*/ 314882 h 372939"/>
                <a:gd name="connsiteX350" fmla="*/ 564848 w 1012061"/>
                <a:gd name="connsiteY350" fmla="*/ 315186 h 372939"/>
                <a:gd name="connsiteX351" fmla="*/ 567827 w 1012061"/>
                <a:gd name="connsiteY351" fmla="*/ 315302 h 372939"/>
                <a:gd name="connsiteX352" fmla="*/ 570537 w 1012061"/>
                <a:gd name="connsiteY352" fmla="*/ 316167 h 372939"/>
                <a:gd name="connsiteX353" fmla="*/ 572958 w 1012061"/>
                <a:gd name="connsiteY353" fmla="*/ 317458 h 372939"/>
                <a:gd name="connsiteX354" fmla="*/ 576463 w 1012061"/>
                <a:gd name="connsiteY354" fmla="*/ 318670 h 372939"/>
                <a:gd name="connsiteX355" fmla="*/ 578570 w 1012061"/>
                <a:gd name="connsiteY355" fmla="*/ 320294 h 372939"/>
                <a:gd name="connsiteX356" fmla="*/ 580175 w 1012061"/>
                <a:gd name="connsiteY356" fmla="*/ 320894 h 372939"/>
                <a:gd name="connsiteX357" fmla="*/ 581367 w 1012061"/>
                <a:gd name="connsiteY357" fmla="*/ 321057 h 372939"/>
                <a:gd name="connsiteX358" fmla="*/ 582461 w 1012061"/>
                <a:gd name="connsiteY358" fmla="*/ 320838 h 372939"/>
                <a:gd name="connsiteX359" fmla="*/ 583842 w 1012061"/>
                <a:gd name="connsiteY359" fmla="*/ 319744 h 372939"/>
                <a:gd name="connsiteX360" fmla="*/ 585457 w 1012061"/>
                <a:gd name="connsiteY360" fmla="*/ 319292 h 372939"/>
                <a:gd name="connsiteX361" fmla="*/ 586864 w 1012061"/>
                <a:gd name="connsiteY361" fmla="*/ 319309 h 372939"/>
                <a:gd name="connsiteX362" fmla="*/ 589426 w 1012061"/>
                <a:gd name="connsiteY362" fmla="*/ 319026 h 372939"/>
                <a:gd name="connsiteX363" fmla="*/ 590505 w 1012061"/>
                <a:gd name="connsiteY363" fmla="*/ 318763 h 372939"/>
                <a:gd name="connsiteX364" fmla="*/ 591717 w 1012061"/>
                <a:gd name="connsiteY364" fmla="*/ 318163 h 372939"/>
                <a:gd name="connsiteX365" fmla="*/ 592902 w 1012061"/>
                <a:gd name="connsiteY365" fmla="*/ 318535 h 372939"/>
                <a:gd name="connsiteX366" fmla="*/ 593941 w 1012061"/>
                <a:gd name="connsiteY366" fmla="*/ 319087 h 372939"/>
                <a:gd name="connsiteX367" fmla="*/ 598275 w 1012061"/>
                <a:gd name="connsiteY367" fmla="*/ 321943 h 372939"/>
                <a:gd name="connsiteX368" fmla="*/ 599605 w 1012061"/>
                <a:gd name="connsiteY368" fmla="*/ 322019 h 372939"/>
                <a:gd name="connsiteX369" fmla="*/ 602043 w 1012061"/>
                <a:gd name="connsiteY369" fmla="*/ 321405 h 372939"/>
                <a:gd name="connsiteX370" fmla="*/ 602775 w 1012061"/>
                <a:gd name="connsiteY370" fmla="*/ 320640 h 372939"/>
                <a:gd name="connsiteX371" fmla="*/ 603151 w 1012061"/>
                <a:gd name="connsiteY371" fmla="*/ 319463 h 372939"/>
                <a:gd name="connsiteX372" fmla="*/ 603818 w 1012061"/>
                <a:gd name="connsiteY372" fmla="*/ 318485 h 372939"/>
                <a:gd name="connsiteX373" fmla="*/ 604748 w 1012061"/>
                <a:gd name="connsiteY373" fmla="*/ 317637 h 372939"/>
                <a:gd name="connsiteX374" fmla="*/ 605803 w 1012061"/>
                <a:gd name="connsiteY374" fmla="*/ 316989 h 372939"/>
                <a:gd name="connsiteX375" fmla="*/ 609041 w 1012061"/>
                <a:gd name="connsiteY375" fmla="*/ 315891 h 372939"/>
                <a:gd name="connsiteX376" fmla="*/ 611264 w 1012061"/>
                <a:gd name="connsiteY376" fmla="*/ 314806 h 372939"/>
                <a:gd name="connsiteX377" fmla="*/ 612781 w 1012061"/>
                <a:gd name="connsiteY377" fmla="*/ 312969 h 372939"/>
                <a:gd name="connsiteX378" fmla="*/ 609232 w 1012061"/>
                <a:gd name="connsiteY378" fmla="*/ 312169 h 372939"/>
                <a:gd name="connsiteX379" fmla="*/ 609978 w 1012061"/>
                <a:gd name="connsiteY379" fmla="*/ 310848 h 372939"/>
                <a:gd name="connsiteX380" fmla="*/ 791911 w 1012061"/>
                <a:gd name="connsiteY380" fmla="*/ 310063 h 372939"/>
                <a:gd name="connsiteX381" fmla="*/ 793399 w 1012061"/>
                <a:gd name="connsiteY381" fmla="*/ 310802 h 372939"/>
                <a:gd name="connsiteX382" fmla="*/ 795366 w 1012061"/>
                <a:gd name="connsiteY382" fmla="*/ 310941 h 372939"/>
                <a:gd name="connsiteX383" fmla="*/ 792434 w 1012061"/>
                <a:gd name="connsiteY383" fmla="*/ 312749 h 372939"/>
                <a:gd name="connsiteX384" fmla="*/ 789435 w 1012061"/>
                <a:gd name="connsiteY384" fmla="*/ 313499 h 372939"/>
                <a:gd name="connsiteX385" fmla="*/ 788419 w 1012061"/>
                <a:gd name="connsiteY385" fmla="*/ 315126 h 372939"/>
                <a:gd name="connsiteX386" fmla="*/ 786496 w 1012061"/>
                <a:gd name="connsiteY386" fmla="*/ 315819 h 372939"/>
                <a:gd name="connsiteX387" fmla="*/ 787783 w 1012061"/>
                <a:gd name="connsiteY387" fmla="*/ 314058 h 372939"/>
                <a:gd name="connsiteX388" fmla="*/ 502262 w 1012061"/>
                <a:gd name="connsiteY388" fmla="*/ 310013 h 372939"/>
                <a:gd name="connsiteX389" fmla="*/ 506606 w 1012061"/>
                <a:gd name="connsiteY389" fmla="*/ 310752 h 372939"/>
                <a:gd name="connsiteX390" fmla="*/ 507340 w 1012061"/>
                <a:gd name="connsiteY390" fmla="*/ 311369 h 372939"/>
                <a:gd name="connsiteX391" fmla="*/ 508494 w 1012061"/>
                <a:gd name="connsiteY391" fmla="*/ 313980 h 372939"/>
                <a:gd name="connsiteX392" fmla="*/ 509369 w 1012061"/>
                <a:gd name="connsiteY392" fmla="*/ 315103 h 372939"/>
                <a:gd name="connsiteX393" fmla="*/ 510474 w 1012061"/>
                <a:gd name="connsiteY393" fmla="*/ 315982 h 372939"/>
                <a:gd name="connsiteX394" fmla="*/ 511481 w 1012061"/>
                <a:gd name="connsiteY394" fmla="*/ 315900 h 372939"/>
                <a:gd name="connsiteX395" fmla="*/ 513588 w 1012061"/>
                <a:gd name="connsiteY395" fmla="*/ 314558 h 372939"/>
                <a:gd name="connsiteX396" fmla="*/ 514858 w 1012061"/>
                <a:gd name="connsiteY396" fmla="*/ 314073 h 372939"/>
                <a:gd name="connsiteX397" fmla="*/ 516218 w 1012061"/>
                <a:gd name="connsiteY397" fmla="*/ 314049 h 372939"/>
                <a:gd name="connsiteX398" fmla="*/ 517540 w 1012061"/>
                <a:gd name="connsiteY398" fmla="*/ 314278 h 372939"/>
                <a:gd name="connsiteX399" fmla="*/ 518837 w 1012061"/>
                <a:gd name="connsiteY399" fmla="*/ 315230 h 372939"/>
                <a:gd name="connsiteX400" fmla="*/ 519306 w 1012061"/>
                <a:gd name="connsiteY400" fmla="*/ 316789 h 372939"/>
                <a:gd name="connsiteX401" fmla="*/ 519794 w 1012061"/>
                <a:gd name="connsiteY401" fmla="*/ 317267 h 372939"/>
                <a:gd name="connsiteX402" fmla="*/ 520556 w 1012061"/>
                <a:gd name="connsiteY402" fmla="*/ 315402 h 372939"/>
                <a:gd name="connsiteX403" fmla="*/ 521571 w 1012061"/>
                <a:gd name="connsiteY403" fmla="*/ 314838 h 372939"/>
                <a:gd name="connsiteX404" fmla="*/ 522709 w 1012061"/>
                <a:gd name="connsiteY404" fmla="*/ 314554 h 372939"/>
                <a:gd name="connsiteX405" fmla="*/ 524489 w 1012061"/>
                <a:gd name="connsiteY405" fmla="*/ 314656 h 372939"/>
                <a:gd name="connsiteX406" fmla="*/ 525851 w 1012061"/>
                <a:gd name="connsiteY406" fmla="*/ 315547 h 372939"/>
                <a:gd name="connsiteX407" fmla="*/ 527090 w 1012061"/>
                <a:gd name="connsiteY407" fmla="*/ 318197 h 372939"/>
                <a:gd name="connsiteX408" fmla="*/ 527052 w 1012061"/>
                <a:gd name="connsiteY408" fmla="*/ 320518 h 372939"/>
                <a:gd name="connsiteX409" fmla="*/ 527504 w 1012061"/>
                <a:gd name="connsiteY409" fmla="*/ 321384 h 372939"/>
                <a:gd name="connsiteX410" fmla="*/ 528356 w 1012061"/>
                <a:gd name="connsiteY410" fmla="*/ 322017 h 372939"/>
                <a:gd name="connsiteX411" fmla="*/ 528989 w 1012061"/>
                <a:gd name="connsiteY411" fmla="*/ 322906 h 372939"/>
                <a:gd name="connsiteX412" fmla="*/ 528425 w 1012061"/>
                <a:gd name="connsiteY412" fmla="*/ 323837 h 372939"/>
                <a:gd name="connsiteX413" fmla="*/ 527866 w 1012061"/>
                <a:gd name="connsiteY413" fmla="*/ 324294 h 372939"/>
                <a:gd name="connsiteX414" fmla="*/ 526259 w 1012061"/>
                <a:gd name="connsiteY414" fmla="*/ 324721 h 372939"/>
                <a:gd name="connsiteX415" fmla="*/ 525491 w 1012061"/>
                <a:gd name="connsiteY415" fmla="*/ 324534 h 372939"/>
                <a:gd name="connsiteX416" fmla="*/ 524781 w 1012061"/>
                <a:gd name="connsiteY416" fmla="*/ 323907 h 372939"/>
                <a:gd name="connsiteX417" fmla="*/ 523984 w 1012061"/>
                <a:gd name="connsiteY417" fmla="*/ 323676 h 372939"/>
                <a:gd name="connsiteX418" fmla="*/ 522167 w 1012061"/>
                <a:gd name="connsiteY418" fmla="*/ 323885 h 372939"/>
                <a:gd name="connsiteX419" fmla="*/ 520502 w 1012061"/>
                <a:gd name="connsiteY419" fmla="*/ 324405 h 372939"/>
                <a:gd name="connsiteX420" fmla="*/ 520731 w 1012061"/>
                <a:gd name="connsiteY420" fmla="*/ 325256 h 372939"/>
                <a:gd name="connsiteX421" fmla="*/ 522098 w 1012061"/>
                <a:gd name="connsiteY421" fmla="*/ 325639 h 372939"/>
                <a:gd name="connsiteX422" fmla="*/ 522511 w 1012061"/>
                <a:gd name="connsiteY422" fmla="*/ 326041 h 372939"/>
                <a:gd name="connsiteX423" fmla="*/ 522420 w 1012061"/>
                <a:gd name="connsiteY423" fmla="*/ 326587 h 372939"/>
                <a:gd name="connsiteX424" fmla="*/ 521882 w 1012061"/>
                <a:gd name="connsiteY424" fmla="*/ 326696 h 372939"/>
                <a:gd name="connsiteX425" fmla="*/ 520105 w 1012061"/>
                <a:gd name="connsiteY425" fmla="*/ 325961 h 372939"/>
                <a:gd name="connsiteX426" fmla="*/ 518905 w 1012061"/>
                <a:gd name="connsiteY426" fmla="*/ 326109 h 372939"/>
                <a:gd name="connsiteX427" fmla="*/ 514592 w 1012061"/>
                <a:gd name="connsiteY427" fmla="*/ 327101 h 372939"/>
                <a:gd name="connsiteX428" fmla="*/ 513450 w 1012061"/>
                <a:gd name="connsiteY428" fmla="*/ 327079 h 372939"/>
                <a:gd name="connsiteX429" fmla="*/ 512806 w 1012061"/>
                <a:gd name="connsiteY429" fmla="*/ 326142 h 372939"/>
                <a:gd name="connsiteX430" fmla="*/ 512852 w 1012061"/>
                <a:gd name="connsiteY430" fmla="*/ 323698 h 372939"/>
                <a:gd name="connsiteX431" fmla="*/ 512387 w 1012061"/>
                <a:gd name="connsiteY431" fmla="*/ 323050 h 372939"/>
                <a:gd name="connsiteX432" fmla="*/ 509183 w 1012061"/>
                <a:gd name="connsiteY432" fmla="*/ 326018 h 372939"/>
                <a:gd name="connsiteX433" fmla="*/ 508209 w 1012061"/>
                <a:gd name="connsiteY433" fmla="*/ 326746 h 372939"/>
                <a:gd name="connsiteX434" fmla="*/ 506918 w 1012061"/>
                <a:gd name="connsiteY434" fmla="*/ 327090 h 372939"/>
                <a:gd name="connsiteX435" fmla="*/ 505572 w 1012061"/>
                <a:gd name="connsiteY435" fmla="*/ 326971 h 372939"/>
                <a:gd name="connsiteX436" fmla="*/ 500940 w 1012061"/>
                <a:gd name="connsiteY436" fmla="*/ 328772 h 372939"/>
                <a:gd name="connsiteX437" fmla="*/ 499485 w 1012061"/>
                <a:gd name="connsiteY437" fmla="*/ 328520 h 372939"/>
                <a:gd name="connsiteX438" fmla="*/ 498075 w 1012061"/>
                <a:gd name="connsiteY438" fmla="*/ 328515 h 372939"/>
                <a:gd name="connsiteX439" fmla="*/ 493128 w 1012061"/>
                <a:gd name="connsiteY439" fmla="*/ 330468 h 372939"/>
                <a:gd name="connsiteX440" fmla="*/ 490474 w 1012061"/>
                <a:gd name="connsiteY440" fmla="*/ 331012 h 372939"/>
                <a:gd name="connsiteX441" fmla="*/ 489114 w 1012061"/>
                <a:gd name="connsiteY441" fmla="*/ 331051 h 372939"/>
                <a:gd name="connsiteX442" fmla="*/ 487757 w 1012061"/>
                <a:gd name="connsiteY442" fmla="*/ 330884 h 372939"/>
                <a:gd name="connsiteX443" fmla="*/ 486546 w 1012061"/>
                <a:gd name="connsiteY443" fmla="*/ 331060 h 372939"/>
                <a:gd name="connsiteX444" fmla="*/ 485462 w 1012061"/>
                <a:gd name="connsiteY444" fmla="*/ 331844 h 372939"/>
                <a:gd name="connsiteX445" fmla="*/ 483253 w 1012061"/>
                <a:gd name="connsiteY445" fmla="*/ 332507 h 372939"/>
                <a:gd name="connsiteX446" fmla="*/ 480973 w 1012061"/>
                <a:gd name="connsiteY446" fmla="*/ 332002 h 372939"/>
                <a:gd name="connsiteX447" fmla="*/ 479047 w 1012061"/>
                <a:gd name="connsiteY447" fmla="*/ 331330 h 372939"/>
                <a:gd name="connsiteX448" fmla="*/ 477220 w 1012061"/>
                <a:gd name="connsiteY448" fmla="*/ 330442 h 372939"/>
                <a:gd name="connsiteX449" fmla="*/ 476766 w 1012061"/>
                <a:gd name="connsiteY449" fmla="*/ 329308 h 372939"/>
                <a:gd name="connsiteX450" fmla="*/ 476857 w 1012061"/>
                <a:gd name="connsiteY450" fmla="*/ 327945 h 372939"/>
                <a:gd name="connsiteX451" fmla="*/ 477628 w 1012061"/>
                <a:gd name="connsiteY451" fmla="*/ 326087 h 372939"/>
                <a:gd name="connsiteX452" fmla="*/ 477101 w 1012061"/>
                <a:gd name="connsiteY452" fmla="*/ 322828 h 372939"/>
                <a:gd name="connsiteX453" fmla="*/ 477503 w 1012061"/>
                <a:gd name="connsiteY453" fmla="*/ 321342 h 372939"/>
                <a:gd name="connsiteX454" fmla="*/ 478250 w 1012061"/>
                <a:gd name="connsiteY454" fmla="*/ 319883 h 372939"/>
                <a:gd name="connsiteX455" fmla="*/ 479381 w 1012061"/>
                <a:gd name="connsiteY455" fmla="*/ 319346 h 372939"/>
                <a:gd name="connsiteX456" fmla="*/ 480861 w 1012061"/>
                <a:gd name="connsiteY456" fmla="*/ 319237 h 372939"/>
                <a:gd name="connsiteX457" fmla="*/ 483305 w 1012061"/>
                <a:gd name="connsiteY457" fmla="*/ 317923 h 372939"/>
                <a:gd name="connsiteX458" fmla="*/ 485542 w 1012061"/>
                <a:gd name="connsiteY458" fmla="*/ 316204 h 372939"/>
                <a:gd name="connsiteX459" fmla="*/ 486842 w 1012061"/>
                <a:gd name="connsiteY459" fmla="*/ 316367 h 372939"/>
                <a:gd name="connsiteX460" fmla="*/ 489783 w 1012061"/>
                <a:gd name="connsiteY460" fmla="*/ 317569 h 372939"/>
                <a:gd name="connsiteX461" fmla="*/ 491507 w 1012061"/>
                <a:gd name="connsiteY461" fmla="*/ 317713 h 372939"/>
                <a:gd name="connsiteX462" fmla="*/ 494437 w 1012061"/>
                <a:gd name="connsiteY462" fmla="*/ 317522 h 372939"/>
                <a:gd name="connsiteX463" fmla="*/ 495646 w 1012061"/>
                <a:gd name="connsiteY463" fmla="*/ 318261 h 372939"/>
                <a:gd name="connsiteX464" fmla="*/ 496123 w 1012061"/>
                <a:gd name="connsiteY464" fmla="*/ 319953 h 372939"/>
                <a:gd name="connsiteX465" fmla="*/ 496775 w 1012061"/>
                <a:gd name="connsiteY465" fmla="*/ 320570 h 372939"/>
                <a:gd name="connsiteX466" fmla="*/ 497643 w 1012061"/>
                <a:gd name="connsiteY466" fmla="*/ 321001 h 372939"/>
                <a:gd name="connsiteX467" fmla="*/ 499721 w 1012061"/>
                <a:gd name="connsiteY467" fmla="*/ 323863 h 372939"/>
                <a:gd name="connsiteX468" fmla="*/ 501647 w 1012061"/>
                <a:gd name="connsiteY468" fmla="*/ 323713 h 372939"/>
                <a:gd name="connsiteX469" fmla="*/ 503335 w 1012061"/>
                <a:gd name="connsiteY469" fmla="*/ 324240 h 372939"/>
                <a:gd name="connsiteX470" fmla="*/ 506311 w 1012061"/>
                <a:gd name="connsiteY470" fmla="*/ 322508 h 372939"/>
                <a:gd name="connsiteX471" fmla="*/ 508563 w 1012061"/>
                <a:gd name="connsiteY471" fmla="*/ 322550 h 372939"/>
                <a:gd name="connsiteX472" fmla="*/ 509202 w 1012061"/>
                <a:gd name="connsiteY472" fmla="*/ 321207 h 372939"/>
                <a:gd name="connsiteX473" fmla="*/ 507857 w 1012061"/>
                <a:gd name="connsiteY473" fmla="*/ 319774 h 372939"/>
                <a:gd name="connsiteX474" fmla="*/ 506231 w 1012061"/>
                <a:gd name="connsiteY474" fmla="*/ 318609 h 372939"/>
                <a:gd name="connsiteX475" fmla="*/ 505358 w 1012061"/>
                <a:gd name="connsiteY475" fmla="*/ 318365 h 372939"/>
                <a:gd name="connsiteX476" fmla="*/ 504404 w 1012061"/>
                <a:gd name="connsiteY476" fmla="*/ 318435 h 372939"/>
                <a:gd name="connsiteX477" fmla="*/ 503547 w 1012061"/>
                <a:gd name="connsiteY477" fmla="*/ 318246 h 372939"/>
                <a:gd name="connsiteX478" fmla="*/ 499915 w 1012061"/>
                <a:gd name="connsiteY478" fmla="*/ 315645 h 372939"/>
                <a:gd name="connsiteX479" fmla="*/ 498844 w 1012061"/>
                <a:gd name="connsiteY479" fmla="*/ 314241 h 372939"/>
                <a:gd name="connsiteX480" fmla="*/ 498224 w 1012061"/>
                <a:gd name="connsiteY480" fmla="*/ 312584 h 372939"/>
                <a:gd name="connsiteX481" fmla="*/ 498598 w 1012061"/>
                <a:gd name="connsiteY481" fmla="*/ 311358 h 372939"/>
                <a:gd name="connsiteX482" fmla="*/ 501096 w 1012061"/>
                <a:gd name="connsiteY482" fmla="*/ 310276 h 372939"/>
                <a:gd name="connsiteX483" fmla="*/ 441078 w 1012061"/>
                <a:gd name="connsiteY483" fmla="*/ 309494 h 372939"/>
                <a:gd name="connsiteX484" fmla="*/ 441896 w 1012061"/>
                <a:gd name="connsiteY484" fmla="*/ 309533 h 372939"/>
                <a:gd name="connsiteX485" fmla="*/ 445196 w 1012061"/>
                <a:gd name="connsiteY485" fmla="*/ 310600 h 372939"/>
                <a:gd name="connsiteX486" fmla="*/ 447576 w 1012061"/>
                <a:gd name="connsiteY486" fmla="*/ 311484 h 372939"/>
                <a:gd name="connsiteX487" fmla="*/ 449822 w 1012061"/>
                <a:gd name="connsiteY487" fmla="*/ 312667 h 372939"/>
                <a:gd name="connsiteX488" fmla="*/ 452950 w 1012061"/>
                <a:gd name="connsiteY488" fmla="*/ 316123 h 372939"/>
                <a:gd name="connsiteX489" fmla="*/ 453246 w 1012061"/>
                <a:gd name="connsiteY489" fmla="*/ 317093 h 372939"/>
                <a:gd name="connsiteX490" fmla="*/ 452298 w 1012061"/>
                <a:gd name="connsiteY490" fmla="*/ 318008 h 372939"/>
                <a:gd name="connsiteX491" fmla="*/ 450055 w 1012061"/>
                <a:gd name="connsiteY491" fmla="*/ 319476 h 372939"/>
                <a:gd name="connsiteX492" fmla="*/ 445054 w 1012061"/>
                <a:gd name="connsiteY492" fmla="*/ 321738 h 372939"/>
                <a:gd name="connsiteX493" fmla="*/ 444196 w 1012061"/>
                <a:gd name="connsiteY493" fmla="*/ 322806 h 372939"/>
                <a:gd name="connsiteX494" fmla="*/ 443138 w 1012061"/>
                <a:gd name="connsiteY494" fmla="*/ 324897 h 372939"/>
                <a:gd name="connsiteX495" fmla="*/ 442894 w 1012061"/>
                <a:gd name="connsiteY495" fmla="*/ 325789 h 372939"/>
                <a:gd name="connsiteX496" fmla="*/ 442542 w 1012061"/>
                <a:gd name="connsiteY496" fmla="*/ 326278 h 372939"/>
                <a:gd name="connsiteX497" fmla="*/ 441968 w 1012061"/>
                <a:gd name="connsiteY497" fmla="*/ 326633 h 372939"/>
                <a:gd name="connsiteX498" fmla="*/ 440877 w 1012061"/>
                <a:gd name="connsiteY498" fmla="*/ 326936 h 372939"/>
                <a:gd name="connsiteX499" fmla="*/ 439696 w 1012061"/>
                <a:gd name="connsiteY499" fmla="*/ 326498 h 372939"/>
                <a:gd name="connsiteX500" fmla="*/ 440763 w 1012061"/>
                <a:gd name="connsiteY500" fmla="*/ 325151 h 372939"/>
                <a:gd name="connsiteX501" fmla="*/ 440804 w 1012061"/>
                <a:gd name="connsiteY501" fmla="*/ 323546 h 372939"/>
                <a:gd name="connsiteX502" fmla="*/ 440009 w 1012061"/>
                <a:gd name="connsiteY502" fmla="*/ 322045 h 372939"/>
                <a:gd name="connsiteX503" fmla="*/ 438890 w 1012061"/>
                <a:gd name="connsiteY503" fmla="*/ 320788 h 372939"/>
                <a:gd name="connsiteX504" fmla="*/ 436612 w 1012061"/>
                <a:gd name="connsiteY504" fmla="*/ 319080 h 372939"/>
                <a:gd name="connsiteX505" fmla="*/ 434181 w 1012061"/>
                <a:gd name="connsiteY505" fmla="*/ 317569 h 372939"/>
                <a:gd name="connsiteX506" fmla="*/ 431732 w 1012061"/>
                <a:gd name="connsiteY506" fmla="*/ 316799 h 372939"/>
                <a:gd name="connsiteX507" fmla="*/ 429120 w 1012061"/>
                <a:gd name="connsiteY507" fmla="*/ 316451 h 372939"/>
                <a:gd name="connsiteX508" fmla="*/ 428184 w 1012061"/>
                <a:gd name="connsiteY508" fmla="*/ 315719 h 372939"/>
                <a:gd name="connsiteX509" fmla="*/ 426655 w 1012061"/>
                <a:gd name="connsiteY509" fmla="*/ 313836 h 372939"/>
                <a:gd name="connsiteX510" fmla="*/ 426150 w 1012061"/>
                <a:gd name="connsiteY510" fmla="*/ 312810 h 372939"/>
                <a:gd name="connsiteX511" fmla="*/ 425900 w 1012061"/>
                <a:gd name="connsiteY511" fmla="*/ 311732 h 372939"/>
                <a:gd name="connsiteX512" fmla="*/ 426070 w 1012061"/>
                <a:gd name="connsiteY512" fmla="*/ 310689 h 372939"/>
                <a:gd name="connsiteX513" fmla="*/ 426711 w 1012061"/>
                <a:gd name="connsiteY513" fmla="*/ 310626 h 372939"/>
                <a:gd name="connsiteX514" fmla="*/ 429270 w 1012061"/>
                <a:gd name="connsiteY514" fmla="*/ 310873 h 372939"/>
                <a:gd name="connsiteX515" fmla="*/ 433980 w 1012061"/>
                <a:gd name="connsiteY515" fmla="*/ 312095 h 372939"/>
                <a:gd name="connsiteX516" fmla="*/ 436312 w 1012061"/>
                <a:gd name="connsiteY516" fmla="*/ 312195 h 372939"/>
                <a:gd name="connsiteX517" fmla="*/ 437632 w 1012061"/>
                <a:gd name="connsiteY517" fmla="*/ 311913 h 372939"/>
                <a:gd name="connsiteX518" fmla="*/ 761736 w 1012061"/>
                <a:gd name="connsiteY518" fmla="*/ 303467 h 372939"/>
                <a:gd name="connsiteX519" fmla="*/ 765219 w 1012061"/>
                <a:gd name="connsiteY519" fmla="*/ 304020 h 372939"/>
                <a:gd name="connsiteX520" fmla="*/ 765895 w 1012061"/>
                <a:gd name="connsiteY520" fmla="*/ 305570 h 372939"/>
                <a:gd name="connsiteX521" fmla="*/ 765791 w 1012061"/>
                <a:gd name="connsiteY521" fmla="*/ 307021 h 372939"/>
                <a:gd name="connsiteX522" fmla="*/ 764485 w 1012061"/>
                <a:gd name="connsiteY522" fmla="*/ 309065 h 372939"/>
                <a:gd name="connsiteX523" fmla="*/ 763019 w 1012061"/>
                <a:gd name="connsiteY523" fmla="*/ 308937 h 372939"/>
                <a:gd name="connsiteX524" fmla="*/ 760330 w 1012061"/>
                <a:gd name="connsiteY524" fmla="*/ 306193 h 372939"/>
                <a:gd name="connsiteX525" fmla="*/ 760482 w 1012061"/>
                <a:gd name="connsiteY525" fmla="*/ 304279 h 372939"/>
                <a:gd name="connsiteX526" fmla="*/ 760708 w 1012061"/>
                <a:gd name="connsiteY526" fmla="*/ 303658 h 372939"/>
                <a:gd name="connsiteX527" fmla="*/ 694385 w 1012061"/>
                <a:gd name="connsiteY527" fmla="*/ 298506 h 372939"/>
                <a:gd name="connsiteX528" fmla="*/ 696968 w 1012061"/>
                <a:gd name="connsiteY528" fmla="*/ 300517 h 372939"/>
                <a:gd name="connsiteX529" fmla="*/ 698617 w 1012061"/>
                <a:gd name="connsiteY529" fmla="*/ 300643 h 372939"/>
                <a:gd name="connsiteX530" fmla="*/ 698916 w 1012061"/>
                <a:gd name="connsiteY530" fmla="*/ 301724 h 372939"/>
                <a:gd name="connsiteX531" fmla="*/ 698876 w 1012061"/>
                <a:gd name="connsiteY531" fmla="*/ 302200 h 372939"/>
                <a:gd name="connsiteX532" fmla="*/ 696227 w 1012061"/>
                <a:gd name="connsiteY532" fmla="*/ 302548 h 372939"/>
                <a:gd name="connsiteX533" fmla="*/ 693673 w 1012061"/>
                <a:gd name="connsiteY533" fmla="*/ 303751 h 372939"/>
                <a:gd name="connsiteX534" fmla="*/ 692363 w 1012061"/>
                <a:gd name="connsiteY534" fmla="*/ 305137 h 372939"/>
                <a:gd name="connsiteX535" fmla="*/ 691345 w 1012061"/>
                <a:gd name="connsiteY535" fmla="*/ 306927 h 372939"/>
                <a:gd name="connsiteX536" fmla="*/ 687825 w 1012061"/>
                <a:gd name="connsiteY536" fmla="*/ 306199 h 372939"/>
                <a:gd name="connsiteX537" fmla="*/ 684689 w 1012061"/>
                <a:gd name="connsiteY537" fmla="*/ 306080 h 372939"/>
                <a:gd name="connsiteX538" fmla="*/ 683303 w 1012061"/>
                <a:gd name="connsiteY538" fmla="*/ 305450 h 372939"/>
                <a:gd name="connsiteX539" fmla="*/ 681791 w 1012061"/>
                <a:gd name="connsiteY539" fmla="*/ 305491 h 372939"/>
                <a:gd name="connsiteX540" fmla="*/ 679835 w 1012061"/>
                <a:gd name="connsiteY540" fmla="*/ 306050 h 372939"/>
                <a:gd name="connsiteX541" fmla="*/ 677062 w 1012061"/>
                <a:gd name="connsiteY541" fmla="*/ 307571 h 372939"/>
                <a:gd name="connsiteX542" fmla="*/ 676445 w 1012061"/>
                <a:gd name="connsiteY542" fmla="*/ 307688 h 372939"/>
                <a:gd name="connsiteX543" fmla="*/ 676669 w 1012061"/>
                <a:gd name="connsiteY543" fmla="*/ 305376 h 372939"/>
                <a:gd name="connsiteX544" fmla="*/ 677438 w 1012061"/>
                <a:gd name="connsiteY544" fmla="*/ 303953 h 372939"/>
                <a:gd name="connsiteX545" fmla="*/ 680359 w 1012061"/>
                <a:gd name="connsiteY545" fmla="*/ 300543 h 372939"/>
                <a:gd name="connsiteX546" fmla="*/ 682793 w 1012061"/>
                <a:gd name="connsiteY546" fmla="*/ 301299 h 372939"/>
                <a:gd name="connsiteX547" fmla="*/ 685630 w 1012061"/>
                <a:gd name="connsiteY547" fmla="*/ 301507 h 372939"/>
                <a:gd name="connsiteX548" fmla="*/ 688853 w 1012061"/>
                <a:gd name="connsiteY548" fmla="*/ 300840 h 372939"/>
                <a:gd name="connsiteX549" fmla="*/ 691142 w 1012061"/>
                <a:gd name="connsiteY549" fmla="*/ 299307 h 372939"/>
                <a:gd name="connsiteX550" fmla="*/ 711215 w 1012061"/>
                <a:gd name="connsiteY550" fmla="*/ 297194 h 372939"/>
                <a:gd name="connsiteX551" fmla="*/ 713526 w 1012061"/>
                <a:gd name="connsiteY551" fmla="*/ 297601 h 372939"/>
                <a:gd name="connsiteX552" fmla="*/ 713500 w 1012061"/>
                <a:gd name="connsiteY552" fmla="*/ 298656 h 372939"/>
                <a:gd name="connsiteX553" fmla="*/ 713278 w 1012061"/>
                <a:gd name="connsiteY553" fmla="*/ 299064 h 372939"/>
                <a:gd name="connsiteX554" fmla="*/ 712292 w 1012061"/>
                <a:gd name="connsiteY554" fmla="*/ 299646 h 372939"/>
                <a:gd name="connsiteX555" fmla="*/ 710874 w 1012061"/>
                <a:gd name="connsiteY555" fmla="*/ 300167 h 372939"/>
                <a:gd name="connsiteX556" fmla="*/ 711310 w 1012061"/>
                <a:gd name="connsiteY556" fmla="*/ 298521 h 372939"/>
                <a:gd name="connsiteX557" fmla="*/ 958277 w 1012061"/>
                <a:gd name="connsiteY557" fmla="*/ 294233 h 372939"/>
                <a:gd name="connsiteX558" fmla="*/ 963274 w 1012061"/>
                <a:gd name="connsiteY558" fmla="*/ 294474 h 372939"/>
                <a:gd name="connsiteX559" fmla="*/ 963984 w 1012061"/>
                <a:gd name="connsiteY559" fmla="*/ 295012 h 372939"/>
                <a:gd name="connsiteX560" fmla="*/ 966139 w 1012061"/>
                <a:gd name="connsiteY560" fmla="*/ 297169 h 372939"/>
                <a:gd name="connsiteX561" fmla="*/ 967536 w 1012061"/>
                <a:gd name="connsiteY561" fmla="*/ 298866 h 372939"/>
                <a:gd name="connsiteX562" fmla="*/ 968122 w 1012061"/>
                <a:gd name="connsiteY562" fmla="*/ 301271 h 372939"/>
                <a:gd name="connsiteX563" fmla="*/ 965997 w 1012061"/>
                <a:gd name="connsiteY563" fmla="*/ 305409 h 372939"/>
                <a:gd name="connsiteX564" fmla="*/ 963630 w 1012061"/>
                <a:gd name="connsiteY564" fmla="*/ 309346 h 372939"/>
                <a:gd name="connsiteX565" fmla="*/ 959778 w 1012061"/>
                <a:gd name="connsiteY565" fmla="*/ 312445 h 372939"/>
                <a:gd name="connsiteX566" fmla="*/ 958089 w 1012061"/>
                <a:gd name="connsiteY566" fmla="*/ 314121 h 372939"/>
                <a:gd name="connsiteX567" fmla="*/ 952803 w 1012061"/>
                <a:gd name="connsiteY567" fmla="*/ 317049 h 372939"/>
                <a:gd name="connsiteX568" fmla="*/ 945871 w 1012061"/>
                <a:gd name="connsiteY568" fmla="*/ 316532 h 372939"/>
                <a:gd name="connsiteX569" fmla="*/ 943419 w 1012061"/>
                <a:gd name="connsiteY569" fmla="*/ 316482 h 372939"/>
                <a:gd name="connsiteX570" fmla="*/ 939345 w 1012061"/>
                <a:gd name="connsiteY570" fmla="*/ 317195 h 372939"/>
                <a:gd name="connsiteX571" fmla="*/ 938520 w 1012061"/>
                <a:gd name="connsiteY571" fmla="*/ 316625 h 372939"/>
                <a:gd name="connsiteX572" fmla="*/ 939289 w 1012061"/>
                <a:gd name="connsiteY572" fmla="*/ 313867 h 372939"/>
                <a:gd name="connsiteX573" fmla="*/ 942548 w 1012061"/>
                <a:gd name="connsiteY573" fmla="*/ 306523 h 372939"/>
                <a:gd name="connsiteX574" fmla="*/ 946418 w 1012061"/>
                <a:gd name="connsiteY574" fmla="*/ 300059 h 372939"/>
                <a:gd name="connsiteX575" fmla="*/ 948061 w 1012061"/>
                <a:gd name="connsiteY575" fmla="*/ 298382 h 372939"/>
                <a:gd name="connsiteX576" fmla="*/ 950350 w 1012061"/>
                <a:gd name="connsiteY576" fmla="*/ 296806 h 372939"/>
                <a:gd name="connsiteX577" fmla="*/ 952785 w 1012061"/>
                <a:gd name="connsiteY577" fmla="*/ 295542 h 372939"/>
                <a:gd name="connsiteX578" fmla="*/ 805695 w 1012061"/>
                <a:gd name="connsiteY578" fmla="*/ 288303 h 372939"/>
                <a:gd name="connsiteX579" fmla="*/ 806962 w 1012061"/>
                <a:gd name="connsiteY579" fmla="*/ 288913 h 372939"/>
                <a:gd name="connsiteX580" fmla="*/ 807744 w 1012061"/>
                <a:gd name="connsiteY580" fmla="*/ 290176 h 372939"/>
                <a:gd name="connsiteX581" fmla="*/ 805704 w 1012061"/>
                <a:gd name="connsiteY581" fmla="*/ 291728 h 372939"/>
                <a:gd name="connsiteX582" fmla="*/ 806749 w 1012061"/>
                <a:gd name="connsiteY582" fmla="*/ 295551 h 372939"/>
                <a:gd name="connsiteX583" fmla="*/ 805273 w 1012061"/>
                <a:gd name="connsiteY583" fmla="*/ 299716 h 372939"/>
                <a:gd name="connsiteX584" fmla="*/ 804298 w 1012061"/>
                <a:gd name="connsiteY584" fmla="*/ 300962 h 372939"/>
                <a:gd name="connsiteX585" fmla="*/ 802488 w 1012061"/>
                <a:gd name="connsiteY585" fmla="*/ 302040 h 372939"/>
                <a:gd name="connsiteX586" fmla="*/ 801937 w 1012061"/>
                <a:gd name="connsiteY586" fmla="*/ 303062 h 372939"/>
                <a:gd name="connsiteX587" fmla="*/ 799804 w 1012061"/>
                <a:gd name="connsiteY587" fmla="*/ 305120 h 372939"/>
                <a:gd name="connsiteX588" fmla="*/ 799156 w 1012061"/>
                <a:gd name="connsiteY588" fmla="*/ 306875 h 372939"/>
                <a:gd name="connsiteX589" fmla="*/ 799061 w 1012061"/>
                <a:gd name="connsiteY589" fmla="*/ 307618 h 372939"/>
                <a:gd name="connsiteX590" fmla="*/ 798666 w 1012061"/>
                <a:gd name="connsiteY590" fmla="*/ 308020 h 372939"/>
                <a:gd name="connsiteX591" fmla="*/ 798303 w 1012061"/>
                <a:gd name="connsiteY591" fmla="*/ 308272 h 372939"/>
                <a:gd name="connsiteX592" fmla="*/ 795556 w 1012061"/>
                <a:gd name="connsiteY592" fmla="*/ 307983 h 372939"/>
                <a:gd name="connsiteX593" fmla="*/ 793982 w 1012061"/>
                <a:gd name="connsiteY593" fmla="*/ 307973 h 372939"/>
                <a:gd name="connsiteX594" fmla="*/ 794196 w 1012061"/>
                <a:gd name="connsiteY594" fmla="*/ 306293 h 372939"/>
                <a:gd name="connsiteX595" fmla="*/ 793387 w 1012061"/>
                <a:gd name="connsiteY595" fmla="*/ 305029 h 372939"/>
                <a:gd name="connsiteX596" fmla="*/ 794491 w 1012061"/>
                <a:gd name="connsiteY596" fmla="*/ 303176 h 372939"/>
                <a:gd name="connsiteX597" fmla="*/ 794514 w 1012061"/>
                <a:gd name="connsiteY597" fmla="*/ 301021 h 372939"/>
                <a:gd name="connsiteX598" fmla="*/ 795669 w 1012061"/>
                <a:gd name="connsiteY598" fmla="*/ 300732 h 372939"/>
                <a:gd name="connsiteX599" fmla="*/ 795831 w 1012061"/>
                <a:gd name="connsiteY599" fmla="*/ 299505 h 372939"/>
                <a:gd name="connsiteX600" fmla="*/ 797217 w 1012061"/>
                <a:gd name="connsiteY600" fmla="*/ 296254 h 372939"/>
                <a:gd name="connsiteX601" fmla="*/ 798031 w 1012061"/>
                <a:gd name="connsiteY601" fmla="*/ 295533 h 372939"/>
                <a:gd name="connsiteX602" fmla="*/ 799189 w 1012061"/>
                <a:gd name="connsiteY602" fmla="*/ 295251 h 372939"/>
                <a:gd name="connsiteX603" fmla="*/ 800555 w 1012061"/>
                <a:gd name="connsiteY603" fmla="*/ 293356 h 372939"/>
                <a:gd name="connsiteX604" fmla="*/ 801333 w 1012061"/>
                <a:gd name="connsiteY604" fmla="*/ 292805 h 372939"/>
                <a:gd name="connsiteX605" fmla="*/ 802138 w 1012061"/>
                <a:gd name="connsiteY605" fmla="*/ 291368 h 372939"/>
                <a:gd name="connsiteX606" fmla="*/ 803302 w 1012061"/>
                <a:gd name="connsiteY606" fmla="*/ 290699 h 372939"/>
                <a:gd name="connsiteX607" fmla="*/ 803205 w 1012061"/>
                <a:gd name="connsiteY607" fmla="*/ 289467 h 372939"/>
                <a:gd name="connsiteX608" fmla="*/ 803866 w 1012061"/>
                <a:gd name="connsiteY608" fmla="*/ 288813 h 372939"/>
                <a:gd name="connsiteX609" fmla="*/ 811860 w 1012061"/>
                <a:gd name="connsiteY609" fmla="*/ 288119 h 372939"/>
                <a:gd name="connsiteX610" fmla="*/ 813182 w 1012061"/>
                <a:gd name="connsiteY610" fmla="*/ 290287 h 372939"/>
                <a:gd name="connsiteX611" fmla="*/ 812905 w 1012061"/>
                <a:gd name="connsiteY611" fmla="*/ 291383 h 372939"/>
                <a:gd name="connsiteX612" fmla="*/ 811961 w 1012061"/>
                <a:gd name="connsiteY612" fmla="*/ 290797 h 372939"/>
                <a:gd name="connsiteX613" fmla="*/ 811024 w 1012061"/>
                <a:gd name="connsiteY613" fmla="*/ 289519 h 372939"/>
                <a:gd name="connsiteX614" fmla="*/ 809662 w 1012061"/>
                <a:gd name="connsiteY614" fmla="*/ 289334 h 372939"/>
                <a:gd name="connsiteX615" fmla="*/ 808659 w 1012061"/>
                <a:gd name="connsiteY615" fmla="*/ 288996 h 372939"/>
                <a:gd name="connsiteX616" fmla="*/ 808068 w 1012061"/>
                <a:gd name="connsiteY616" fmla="*/ 288392 h 372939"/>
                <a:gd name="connsiteX617" fmla="*/ 423276 w 1012061"/>
                <a:gd name="connsiteY617" fmla="*/ 287429 h 372939"/>
                <a:gd name="connsiteX618" fmla="*/ 424042 w 1012061"/>
                <a:gd name="connsiteY618" fmla="*/ 287589 h 372939"/>
                <a:gd name="connsiteX619" fmla="*/ 424684 w 1012061"/>
                <a:gd name="connsiteY619" fmla="*/ 288763 h 372939"/>
                <a:gd name="connsiteX620" fmla="*/ 424353 w 1012061"/>
                <a:gd name="connsiteY620" fmla="*/ 289645 h 372939"/>
                <a:gd name="connsiteX621" fmla="*/ 423231 w 1012061"/>
                <a:gd name="connsiteY621" fmla="*/ 289425 h 372939"/>
                <a:gd name="connsiteX622" fmla="*/ 422168 w 1012061"/>
                <a:gd name="connsiteY622" fmla="*/ 287965 h 372939"/>
                <a:gd name="connsiteX623" fmla="*/ 422684 w 1012061"/>
                <a:gd name="connsiteY623" fmla="*/ 287583 h 372939"/>
                <a:gd name="connsiteX624" fmla="*/ 739011 w 1012061"/>
                <a:gd name="connsiteY624" fmla="*/ 287325 h 372939"/>
                <a:gd name="connsiteX625" fmla="*/ 739687 w 1012061"/>
                <a:gd name="connsiteY625" fmla="*/ 287821 h 372939"/>
                <a:gd name="connsiteX626" fmla="*/ 740017 w 1012061"/>
                <a:gd name="connsiteY626" fmla="*/ 288316 h 372939"/>
                <a:gd name="connsiteX627" fmla="*/ 739877 w 1012061"/>
                <a:gd name="connsiteY627" fmla="*/ 288863 h 372939"/>
                <a:gd name="connsiteX628" fmla="*/ 739948 w 1012061"/>
                <a:gd name="connsiteY628" fmla="*/ 289870 h 372939"/>
                <a:gd name="connsiteX629" fmla="*/ 738950 w 1012061"/>
                <a:gd name="connsiteY629" fmla="*/ 290432 h 372939"/>
                <a:gd name="connsiteX630" fmla="*/ 737296 w 1012061"/>
                <a:gd name="connsiteY630" fmla="*/ 289271 h 372939"/>
                <a:gd name="connsiteX631" fmla="*/ 736845 w 1012061"/>
                <a:gd name="connsiteY631" fmla="*/ 288787 h 372939"/>
                <a:gd name="connsiteX632" fmla="*/ 737896 w 1012061"/>
                <a:gd name="connsiteY632" fmla="*/ 287646 h 372939"/>
                <a:gd name="connsiteX633" fmla="*/ 562239 w 1012061"/>
                <a:gd name="connsiteY633" fmla="*/ 286203 h 372939"/>
                <a:gd name="connsiteX634" fmla="*/ 564718 w 1012061"/>
                <a:gd name="connsiteY634" fmla="*/ 287134 h 372939"/>
                <a:gd name="connsiteX635" fmla="*/ 565519 w 1012061"/>
                <a:gd name="connsiteY635" fmla="*/ 287199 h 372939"/>
                <a:gd name="connsiteX636" fmla="*/ 565357 w 1012061"/>
                <a:gd name="connsiteY636" fmla="*/ 288440 h 372939"/>
                <a:gd name="connsiteX637" fmla="*/ 563101 w 1012061"/>
                <a:gd name="connsiteY637" fmla="*/ 288568 h 372939"/>
                <a:gd name="connsiteX638" fmla="*/ 562403 w 1012061"/>
                <a:gd name="connsiteY638" fmla="*/ 288371 h 372939"/>
                <a:gd name="connsiteX639" fmla="*/ 415001 w 1012061"/>
                <a:gd name="connsiteY639" fmla="*/ 282977 h 372939"/>
                <a:gd name="connsiteX640" fmla="*/ 417189 w 1012061"/>
                <a:gd name="connsiteY640" fmla="*/ 284912 h 372939"/>
                <a:gd name="connsiteX641" fmla="*/ 417396 w 1012061"/>
                <a:gd name="connsiteY641" fmla="*/ 285561 h 372939"/>
                <a:gd name="connsiteX642" fmla="*/ 413025 w 1012061"/>
                <a:gd name="connsiteY642" fmla="*/ 286886 h 372939"/>
                <a:gd name="connsiteX643" fmla="*/ 412123 w 1012061"/>
                <a:gd name="connsiteY643" fmla="*/ 288138 h 372939"/>
                <a:gd name="connsiteX644" fmla="*/ 411704 w 1012061"/>
                <a:gd name="connsiteY644" fmla="*/ 288462 h 372939"/>
                <a:gd name="connsiteX645" fmla="*/ 407951 w 1012061"/>
                <a:gd name="connsiteY645" fmla="*/ 288280 h 372939"/>
                <a:gd name="connsiteX646" fmla="*/ 405530 w 1012061"/>
                <a:gd name="connsiteY646" fmla="*/ 290094 h 372939"/>
                <a:gd name="connsiteX647" fmla="*/ 403857 w 1012061"/>
                <a:gd name="connsiteY647" fmla="*/ 290651 h 372939"/>
                <a:gd name="connsiteX648" fmla="*/ 397836 w 1012061"/>
                <a:gd name="connsiteY648" fmla="*/ 290649 h 372939"/>
                <a:gd name="connsiteX649" fmla="*/ 397119 w 1012061"/>
                <a:gd name="connsiteY649" fmla="*/ 290404 h 372939"/>
                <a:gd name="connsiteX650" fmla="*/ 396586 w 1012061"/>
                <a:gd name="connsiteY650" fmla="*/ 290410 h 372939"/>
                <a:gd name="connsiteX651" fmla="*/ 396256 w 1012061"/>
                <a:gd name="connsiteY651" fmla="*/ 290777 h 372939"/>
                <a:gd name="connsiteX652" fmla="*/ 394343 w 1012061"/>
                <a:gd name="connsiteY652" fmla="*/ 290504 h 372939"/>
                <a:gd name="connsiteX653" fmla="*/ 388225 w 1012061"/>
                <a:gd name="connsiteY653" fmla="*/ 288900 h 372939"/>
                <a:gd name="connsiteX654" fmla="*/ 387387 w 1012061"/>
                <a:gd name="connsiteY654" fmla="*/ 287414 h 372939"/>
                <a:gd name="connsiteX655" fmla="*/ 388335 w 1012061"/>
                <a:gd name="connsiteY655" fmla="*/ 285825 h 372939"/>
                <a:gd name="connsiteX656" fmla="*/ 390531 w 1012061"/>
                <a:gd name="connsiteY656" fmla="*/ 283573 h 372939"/>
                <a:gd name="connsiteX657" fmla="*/ 394939 w 1012061"/>
                <a:gd name="connsiteY657" fmla="*/ 283131 h 372939"/>
                <a:gd name="connsiteX658" fmla="*/ 445494 w 1012061"/>
                <a:gd name="connsiteY658" fmla="*/ 282209 h 372939"/>
                <a:gd name="connsiteX659" fmla="*/ 446837 w 1012061"/>
                <a:gd name="connsiteY659" fmla="*/ 282237 h 372939"/>
                <a:gd name="connsiteX660" fmla="*/ 448269 w 1012061"/>
                <a:gd name="connsiteY660" fmla="*/ 282914 h 372939"/>
                <a:gd name="connsiteX661" fmla="*/ 449264 w 1012061"/>
                <a:gd name="connsiteY661" fmla="*/ 283617 h 372939"/>
                <a:gd name="connsiteX662" fmla="*/ 449748 w 1012061"/>
                <a:gd name="connsiteY662" fmla="*/ 284434 h 372939"/>
                <a:gd name="connsiteX663" fmla="*/ 447051 w 1012061"/>
                <a:gd name="connsiteY663" fmla="*/ 284478 h 372939"/>
                <a:gd name="connsiteX664" fmla="*/ 446010 w 1012061"/>
                <a:gd name="connsiteY664" fmla="*/ 285148 h 372939"/>
                <a:gd name="connsiteX665" fmla="*/ 444213 w 1012061"/>
                <a:gd name="connsiteY665" fmla="*/ 285526 h 372939"/>
                <a:gd name="connsiteX666" fmla="*/ 442544 w 1012061"/>
                <a:gd name="connsiteY666" fmla="*/ 284743 h 372939"/>
                <a:gd name="connsiteX667" fmla="*/ 442586 w 1012061"/>
                <a:gd name="connsiteY667" fmla="*/ 283690 h 372939"/>
                <a:gd name="connsiteX668" fmla="*/ 442991 w 1012061"/>
                <a:gd name="connsiteY668" fmla="*/ 282714 h 372939"/>
                <a:gd name="connsiteX669" fmla="*/ 874072 w 1012061"/>
                <a:gd name="connsiteY669" fmla="*/ 277431 h 372939"/>
                <a:gd name="connsiteX670" fmla="*/ 873858 w 1012061"/>
                <a:gd name="connsiteY670" fmla="*/ 278437 h 372939"/>
                <a:gd name="connsiteX671" fmla="*/ 872715 w 1012061"/>
                <a:gd name="connsiteY671" fmla="*/ 280239 h 372939"/>
                <a:gd name="connsiteX672" fmla="*/ 872340 w 1012061"/>
                <a:gd name="connsiteY672" fmla="*/ 280584 h 372939"/>
                <a:gd name="connsiteX673" fmla="*/ 871766 w 1012061"/>
                <a:gd name="connsiteY673" fmla="*/ 279864 h 372939"/>
                <a:gd name="connsiteX674" fmla="*/ 871714 w 1012061"/>
                <a:gd name="connsiteY674" fmla="*/ 279417 h 372939"/>
                <a:gd name="connsiteX675" fmla="*/ 872474 w 1012061"/>
                <a:gd name="connsiteY675" fmla="*/ 278194 h 372939"/>
                <a:gd name="connsiteX676" fmla="*/ 873230 w 1012061"/>
                <a:gd name="connsiteY676" fmla="*/ 277483 h 372939"/>
                <a:gd name="connsiteX677" fmla="*/ 222313 w 1012061"/>
                <a:gd name="connsiteY677" fmla="*/ 275223 h 372939"/>
                <a:gd name="connsiteX678" fmla="*/ 222687 w 1012061"/>
                <a:gd name="connsiteY678" fmla="*/ 276055 h 372939"/>
                <a:gd name="connsiteX679" fmla="*/ 222142 w 1012061"/>
                <a:gd name="connsiteY679" fmla="*/ 277810 h 372939"/>
                <a:gd name="connsiteX680" fmla="*/ 220763 w 1012061"/>
                <a:gd name="connsiteY680" fmla="*/ 278300 h 372939"/>
                <a:gd name="connsiteX681" fmla="*/ 219708 w 1012061"/>
                <a:gd name="connsiteY681" fmla="*/ 277869 h 372939"/>
                <a:gd name="connsiteX682" fmla="*/ 219236 w 1012061"/>
                <a:gd name="connsiteY682" fmla="*/ 277244 h 372939"/>
                <a:gd name="connsiteX683" fmla="*/ 220804 w 1012061"/>
                <a:gd name="connsiteY683" fmla="*/ 275704 h 372939"/>
                <a:gd name="connsiteX684" fmla="*/ 221542 w 1012061"/>
                <a:gd name="connsiteY684" fmla="*/ 275338 h 372939"/>
                <a:gd name="connsiteX685" fmla="*/ 872819 w 1012061"/>
                <a:gd name="connsiteY685" fmla="*/ 273716 h 372939"/>
                <a:gd name="connsiteX686" fmla="*/ 873912 w 1012061"/>
                <a:gd name="connsiteY686" fmla="*/ 274822 h 372939"/>
                <a:gd name="connsiteX687" fmla="*/ 873638 w 1012061"/>
                <a:gd name="connsiteY687" fmla="*/ 275789 h 372939"/>
                <a:gd name="connsiteX688" fmla="*/ 872415 w 1012061"/>
                <a:gd name="connsiteY688" fmla="*/ 275999 h 372939"/>
                <a:gd name="connsiteX689" fmla="*/ 871815 w 1012061"/>
                <a:gd name="connsiteY689" fmla="*/ 274187 h 372939"/>
                <a:gd name="connsiteX690" fmla="*/ 877391 w 1012061"/>
                <a:gd name="connsiteY690" fmla="*/ 270774 h 372939"/>
                <a:gd name="connsiteX691" fmla="*/ 875924 w 1012061"/>
                <a:gd name="connsiteY691" fmla="*/ 273230 h 372939"/>
                <a:gd name="connsiteX692" fmla="*/ 875385 w 1012061"/>
                <a:gd name="connsiteY692" fmla="*/ 273413 h 372939"/>
                <a:gd name="connsiteX693" fmla="*/ 875389 w 1012061"/>
                <a:gd name="connsiteY693" fmla="*/ 272318 h 372939"/>
                <a:gd name="connsiteX694" fmla="*/ 876000 w 1012061"/>
                <a:gd name="connsiteY694" fmla="*/ 271353 h 372939"/>
                <a:gd name="connsiteX695" fmla="*/ 876639 w 1012061"/>
                <a:gd name="connsiteY695" fmla="*/ 270798 h 372939"/>
                <a:gd name="connsiteX696" fmla="*/ 861519 w 1012061"/>
                <a:gd name="connsiteY696" fmla="*/ 267505 h 372939"/>
                <a:gd name="connsiteX697" fmla="*/ 862981 w 1012061"/>
                <a:gd name="connsiteY697" fmla="*/ 268617 h 372939"/>
                <a:gd name="connsiteX698" fmla="*/ 864830 w 1012061"/>
                <a:gd name="connsiteY698" fmla="*/ 270609 h 372939"/>
                <a:gd name="connsiteX699" fmla="*/ 866980 w 1012061"/>
                <a:gd name="connsiteY699" fmla="*/ 272177 h 372939"/>
                <a:gd name="connsiteX700" fmla="*/ 869673 w 1012061"/>
                <a:gd name="connsiteY700" fmla="*/ 273410 h 372939"/>
                <a:gd name="connsiteX701" fmla="*/ 869310 w 1012061"/>
                <a:gd name="connsiteY701" fmla="*/ 274974 h 372939"/>
                <a:gd name="connsiteX702" fmla="*/ 868954 w 1012061"/>
                <a:gd name="connsiteY702" fmla="*/ 276721 h 372939"/>
                <a:gd name="connsiteX703" fmla="*/ 866924 w 1012061"/>
                <a:gd name="connsiteY703" fmla="*/ 278682 h 372939"/>
                <a:gd name="connsiteX704" fmla="*/ 865674 w 1012061"/>
                <a:gd name="connsiteY704" fmla="*/ 281684 h 372939"/>
                <a:gd name="connsiteX705" fmla="*/ 864940 w 1012061"/>
                <a:gd name="connsiteY705" fmla="*/ 282436 h 372939"/>
                <a:gd name="connsiteX706" fmla="*/ 862225 w 1012061"/>
                <a:gd name="connsiteY706" fmla="*/ 283771 h 372939"/>
                <a:gd name="connsiteX707" fmla="*/ 859811 w 1012061"/>
                <a:gd name="connsiteY707" fmla="*/ 282105 h 372939"/>
                <a:gd name="connsiteX708" fmla="*/ 859111 w 1012061"/>
                <a:gd name="connsiteY708" fmla="*/ 280673 h 372939"/>
                <a:gd name="connsiteX709" fmla="*/ 860169 w 1012061"/>
                <a:gd name="connsiteY709" fmla="*/ 274061 h 372939"/>
                <a:gd name="connsiteX710" fmla="*/ 861213 w 1012061"/>
                <a:gd name="connsiteY710" fmla="*/ 274280 h 372939"/>
                <a:gd name="connsiteX711" fmla="*/ 861889 w 1012061"/>
                <a:gd name="connsiteY711" fmla="*/ 274232 h 372939"/>
                <a:gd name="connsiteX712" fmla="*/ 862106 w 1012061"/>
                <a:gd name="connsiteY712" fmla="*/ 273798 h 372939"/>
                <a:gd name="connsiteX713" fmla="*/ 860558 w 1012061"/>
                <a:gd name="connsiteY713" fmla="*/ 273059 h 372939"/>
                <a:gd name="connsiteX714" fmla="*/ 860262 w 1012061"/>
                <a:gd name="connsiteY714" fmla="*/ 269261 h 372939"/>
                <a:gd name="connsiteX715" fmla="*/ 860338 w 1012061"/>
                <a:gd name="connsiteY715" fmla="*/ 267828 h 372939"/>
                <a:gd name="connsiteX716" fmla="*/ 261800 w 1012061"/>
                <a:gd name="connsiteY716" fmla="*/ 261468 h 372939"/>
                <a:gd name="connsiteX717" fmla="*/ 264361 w 1012061"/>
                <a:gd name="connsiteY717" fmla="*/ 262642 h 372939"/>
                <a:gd name="connsiteX718" fmla="*/ 268113 w 1012061"/>
                <a:gd name="connsiteY718" fmla="*/ 263108 h 372939"/>
                <a:gd name="connsiteX719" fmla="*/ 269044 w 1012061"/>
                <a:gd name="connsiteY719" fmla="*/ 263762 h 372939"/>
                <a:gd name="connsiteX720" fmla="*/ 271273 w 1012061"/>
                <a:gd name="connsiteY720" fmla="*/ 266296 h 372939"/>
                <a:gd name="connsiteX721" fmla="*/ 273225 w 1012061"/>
                <a:gd name="connsiteY721" fmla="*/ 267648 h 372939"/>
                <a:gd name="connsiteX722" fmla="*/ 275520 w 1012061"/>
                <a:gd name="connsiteY722" fmla="*/ 268383 h 372939"/>
                <a:gd name="connsiteX723" fmla="*/ 277937 w 1012061"/>
                <a:gd name="connsiteY723" fmla="*/ 268452 h 372939"/>
                <a:gd name="connsiteX724" fmla="*/ 280318 w 1012061"/>
                <a:gd name="connsiteY724" fmla="*/ 268771 h 372939"/>
                <a:gd name="connsiteX725" fmla="*/ 283082 w 1012061"/>
                <a:gd name="connsiteY725" fmla="*/ 269740 h 372939"/>
                <a:gd name="connsiteX726" fmla="*/ 285931 w 1012061"/>
                <a:gd name="connsiteY726" fmla="*/ 270178 h 372939"/>
                <a:gd name="connsiteX727" fmla="*/ 287254 w 1012061"/>
                <a:gd name="connsiteY727" fmla="*/ 270009 h 372939"/>
                <a:gd name="connsiteX728" fmla="*/ 288515 w 1012061"/>
                <a:gd name="connsiteY728" fmla="*/ 269510 h 372939"/>
                <a:gd name="connsiteX729" fmla="*/ 289411 w 1012061"/>
                <a:gd name="connsiteY729" fmla="*/ 269476 h 372939"/>
                <a:gd name="connsiteX730" fmla="*/ 290189 w 1012061"/>
                <a:gd name="connsiteY730" fmla="*/ 269942 h 372939"/>
                <a:gd name="connsiteX731" fmla="*/ 292156 w 1012061"/>
                <a:gd name="connsiteY731" fmla="*/ 272090 h 372939"/>
                <a:gd name="connsiteX732" fmla="*/ 294296 w 1012061"/>
                <a:gd name="connsiteY732" fmla="*/ 274052 h 372939"/>
                <a:gd name="connsiteX733" fmla="*/ 294784 w 1012061"/>
                <a:gd name="connsiteY733" fmla="*/ 275052 h 372939"/>
                <a:gd name="connsiteX734" fmla="*/ 296235 w 1012061"/>
                <a:gd name="connsiteY734" fmla="*/ 279782 h 372939"/>
                <a:gd name="connsiteX735" fmla="*/ 297877 w 1012061"/>
                <a:gd name="connsiteY735" fmla="*/ 281144 h 372939"/>
                <a:gd name="connsiteX736" fmla="*/ 300128 w 1012061"/>
                <a:gd name="connsiteY736" fmla="*/ 281538 h 372939"/>
                <a:gd name="connsiteX737" fmla="*/ 302776 w 1012061"/>
                <a:gd name="connsiteY737" fmla="*/ 281540 h 372939"/>
                <a:gd name="connsiteX738" fmla="*/ 305406 w 1012061"/>
                <a:gd name="connsiteY738" fmla="*/ 281738 h 372939"/>
                <a:gd name="connsiteX739" fmla="*/ 311506 w 1012061"/>
                <a:gd name="connsiteY739" fmla="*/ 282842 h 372939"/>
                <a:gd name="connsiteX740" fmla="*/ 313927 w 1012061"/>
                <a:gd name="connsiteY740" fmla="*/ 282690 h 372939"/>
                <a:gd name="connsiteX741" fmla="*/ 316069 w 1012061"/>
                <a:gd name="connsiteY741" fmla="*/ 281580 h 372939"/>
                <a:gd name="connsiteX742" fmla="*/ 317978 w 1012061"/>
                <a:gd name="connsiteY742" fmla="*/ 282300 h 372939"/>
                <a:gd name="connsiteX743" fmla="*/ 323154 w 1012061"/>
                <a:gd name="connsiteY743" fmla="*/ 283630 h 372939"/>
                <a:gd name="connsiteX744" fmla="*/ 325702 w 1012061"/>
                <a:gd name="connsiteY744" fmla="*/ 283927 h 372939"/>
                <a:gd name="connsiteX745" fmla="*/ 328596 w 1012061"/>
                <a:gd name="connsiteY745" fmla="*/ 283547 h 372939"/>
                <a:gd name="connsiteX746" fmla="*/ 331500 w 1012061"/>
                <a:gd name="connsiteY746" fmla="*/ 283467 h 372939"/>
                <a:gd name="connsiteX747" fmla="*/ 332882 w 1012061"/>
                <a:gd name="connsiteY747" fmla="*/ 283851 h 372939"/>
                <a:gd name="connsiteX748" fmla="*/ 334212 w 1012061"/>
                <a:gd name="connsiteY748" fmla="*/ 284428 h 372939"/>
                <a:gd name="connsiteX749" fmla="*/ 335355 w 1012061"/>
                <a:gd name="connsiteY749" fmla="*/ 284636 h 372939"/>
                <a:gd name="connsiteX750" fmla="*/ 336538 w 1012061"/>
                <a:gd name="connsiteY750" fmla="*/ 284625 h 372939"/>
                <a:gd name="connsiteX751" fmla="*/ 338631 w 1012061"/>
                <a:gd name="connsiteY751" fmla="*/ 283515 h 372939"/>
                <a:gd name="connsiteX752" fmla="*/ 340017 w 1012061"/>
                <a:gd name="connsiteY752" fmla="*/ 281480 h 372939"/>
                <a:gd name="connsiteX753" fmla="*/ 341137 w 1012061"/>
                <a:gd name="connsiteY753" fmla="*/ 278914 h 372939"/>
                <a:gd name="connsiteX754" fmla="*/ 342016 w 1012061"/>
                <a:gd name="connsiteY754" fmla="*/ 276242 h 372939"/>
                <a:gd name="connsiteX755" fmla="*/ 342608 w 1012061"/>
                <a:gd name="connsiteY755" fmla="*/ 275093 h 372939"/>
                <a:gd name="connsiteX756" fmla="*/ 343407 w 1012061"/>
                <a:gd name="connsiteY756" fmla="*/ 274078 h 372939"/>
                <a:gd name="connsiteX757" fmla="*/ 344452 w 1012061"/>
                <a:gd name="connsiteY757" fmla="*/ 273419 h 372939"/>
                <a:gd name="connsiteX758" fmla="*/ 345571 w 1012061"/>
                <a:gd name="connsiteY758" fmla="*/ 273009 h 372939"/>
                <a:gd name="connsiteX759" fmla="*/ 348611 w 1012061"/>
                <a:gd name="connsiteY759" fmla="*/ 273263 h 372939"/>
                <a:gd name="connsiteX760" fmla="*/ 349239 w 1012061"/>
                <a:gd name="connsiteY760" fmla="*/ 273909 h 372939"/>
                <a:gd name="connsiteX761" fmla="*/ 352638 w 1012061"/>
                <a:gd name="connsiteY761" fmla="*/ 278446 h 372939"/>
                <a:gd name="connsiteX762" fmla="*/ 353238 w 1012061"/>
                <a:gd name="connsiteY762" fmla="*/ 278838 h 372939"/>
                <a:gd name="connsiteX763" fmla="*/ 356788 w 1012061"/>
                <a:gd name="connsiteY763" fmla="*/ 279122 h 372939"/>
                <a:gd name="connsiteX764" fmla="*/ 357771 w 1012061"/>
                <a:gd name="connsiteY764" fmla="*/ 278975 h 372939"/>
                <a:gd name="connsiteX765" fmla="*/ 359937 w 1012061"/>
                <a:gd name="connsiteY765" fmla="*/ 278064 h 372939"/>
                <a:gd name="connsiteX766" fmla="*/ 361172 w 1012061"/>
                <a:gd name="connsiteY766" fmla="*/ 277984 h 372939"/>
                <a:gd name="connsiteX767" fmla="*/ 363455 w 1012061"/>
                <a:gd name="connsiteY767" fmla="*/ 279105 h 372939"/>
                <a:gd name="connsiteX768" fmla="*/ 364439 w 1012061"/>
                <a:gd name="connsiteY768" fmla="*/ 280059 h 372939"/>
                <a:gd name="connsiteX769" fmla="*/ 365534 w 1012061"/>
                <a:gd name="connsiteY769" fmla="*/ 280764 h 372939"/>
                <a:gd name="connsiteX770" fmla="*/ 371112 w 1012061"/>
                <a:gd name="connsiteY770" fmla="*/ 281487 h 372939"/>
                <a:gd name="connsiteX771" fmla="*/ 373266 w 1012061"/>
                <a:gd name="connsiteY771" fmla="*/ 283428 h 372939"/>
                <a:gd name="connsiteX772" fmla="*/ 374359 w 1012061"/>
                <a:gd name="connsiteY772" fmla="*/ 283688 h 372939"/>
                <a:gd name="connsiteX773" fmla="*/ 378242 w 1012061"/>
                <a:gd name="connsiteY773" fmla="*/ 283452 h 372939"/>
                <a:gd name="connsiteX774" fmla="*/ 380924 w 1012061"/>
                <a:gd name="connsiteY774" fmla="*/ 283643 h 372939"/>
                <a:gd name="connsiteX775" fmla="*/ 383260 w 1012061"/>
                <a:gd name="connsiteY775" fmla="*/ 284164 h 372939"/>
                <a:gd name="connsiteX776" fmla="*/ 384314 w 1012061"/>
                <a:gd name="connsiteY776" fmla="*/ 286921 h 372939"/>
                <a:gd name="connsiteX777" fmla="*/ 385178 w 1012061"/>
                <a:gd name="connsiteY777" fmla="*/ 289753 h 372939"/>
                <a:gd name="connsiteX778" fmla="*/ 385681 w 1012061"/>
                <a:gd name="connsiteY778" fmla="*/ 290714 h 372939"/>
                <a:gd name="connsiteX779" fmla="*/ 387963 w 1012061"/>
                <a:gd name="connsiteY779" fmla="*/ 291687 h 372939"/>
                <a:gd name="connsiteX780" fmla="*/ 388900 w 1012061"/>
                <a:gd name="connsiteY780" fmla="*/ 292564 h 372939"/>
                <a:gd name="connsiteX781" fmla="*/ 388649 w 1012061"/>
                <a:gd name="connsiteY781" fmla="*/ 295390 h 372939"/>
                <a:gd name="connsiteX782" fmla="*/ 388905 w 1012061"/>
                <a:gd name="connsiteY782" fmla="*/ 298076 h 372939"/>
                <a:gd name="connsiteX783" fmla="*/ 393749 w 1012061"/>
                <a:gd name="connsiteY783" fmla="*/ 300417 h 372939"/>
                <a:gd name="connsiteX784" fmla="*/ 398942 w 1012061"/>
                <a:gd name="connsiteY784" fmla="*/ 301762 h 372939"/>
                <a:gd name="connsiteX785" fmla="*/ 404453 w 1012061"/>
                <a:gd name="connsiteY785" fmla="*/ 301888 h 372939"/>
                <a:gd name="connsiteX786" fmla="*/ 409977 w 1012061"/>
                <a:gd name="connsiteY786" fmla="*/ 301425 h 372939"/>
                <a:gd name="connsiteX787" fmla="*/ 412825 w 1012061"/>
                <a:gd name="connsiteY787" fmla="*/ 300851 h 372939"/>
                <a:gd name="connsiteX788" fmla="*/ 416386 w 1012061"/>
                <a:gd name="connsiteY788" fmla="*/ 299848 h 372939"/>
                <a:gd name="connsiteX789" fmla="*/ 417124 w 1012061"/>
                <a:gd name="connsiteY789" fmla="*/ 299868 h 372939"/>
                <a:gd name="connsiteX790" fmla="*/ 424023 w 1012061"/>
                <a:gd name="connsiteY790" fmla="*/ 302939 h 372939"/>
                <a:gd name="connsiteX791" fmla="*/ 424611 w 1012061"/>
                <a:gd name="connsiteY791" fmla="*/ 303414 h 372939"/>
                <a:gd name="connsiteX792" fmla="*/ 425383 w 1012061"/>
                <a:gd name="connsiteY792" fmla="*/ 305708 h 372939"/>
                <a:gd name="connsiteX793" fmla="*/ 425362 w 1012061"/>
                <a:gd name="connsiteY793" fmla="*/ 308133 h 372939"/>
                <a:gd name="connsiteX794" fmla="*/ 424073 w 1012061"/>
                <a:gd name="connsiteY794" fmla="*/ 313891 h 372939"/>
                <a:gd name="connsiteX795" fmla="*/ 423993 w 1012061"/>
                <a:gd name="connsiteY795" fmla="*/ 315471 h 372939"/>
                <a:gd name="connsiteX796" fmla="*/ 424116 w 1012061"/>
                <a:gd name="connsiteY796" fmla="*/ 317049 h 372939"/>
                <a:gd name="connsiteX797" fmla="*/ 425485 w 1012061"/>
                <a:gd name="connsiteY797" fmla="*/ 320481 h 372939"/>
                <a:gd name="connsiteX798" fmla="*/ 426213 w 1012061"/>
                <a:gd name="connsiteY798" fmla="*/ 321473 h 372939"/>
                <a:gd name="connsiteX799" fmla="*/ 428717 w 1012061"/>
                <a:gd name="connsiteY799" fmla="*/ 323276 h 372939"/>
                <a:gd name="connsiteX800" fmla="*/ 428810 w 1012061"/>
                <a:gd name="connsiteY800" fmla="*/ 324222 h 372939"/>
                <a:gd name="connsiteX801" fmla="*/ 428469 w 1012061"/>
                <a:gd name="connsiteY801" fmla="*/ 325167 h 372939"/>
                <a:gd name="connsiteX802" fmla="*/ 425714 w 1012061"/>
                <a:gd name="connsiteY802" fmla="*/ 324518 h 372939"/>
                <a:gd name="connsiteX803" fmla="*/ 424034 w 1012061"/>
                <a:gd name="connsiteY803" fmla="*/ 323735 h 372939"/>
                <a:gd name="connsiteX804" fmla="*/ 423063 w 1012061"/>
                <a:gd name="connsiteY804" fmla="*/ 322443 h 372939"/>
                <a:gd name="connsiteX805" fmla="*/ 421684 w 1012061"/>
                <a:gd name="connsiteY805" fmla="*/ 321714 h 372939"/>
                <a:gd name="connsiteX806" fmla="*/ 419091 w 1012061"/>
                <a:gd name="connsiteY806" fmla="*/ 321977 h 372939"/>
                <a:gd name="connsiteX807" fmla="*/ 414241 w 1012061"/>
                <a:gd name="connsiteY807" fmla="*/ 320683 h 372939"/>
                <a:gd name="connsiteX808" fmla="*/ 408763 w 1012061"/>
                <a:gd name="connsiteY808" fmla="*/ 318672 h 372939"/>
                <a:gd name="connsiteX809" fmla="*/ 399050 w 1012061"/>
                <a:gd name="connsiteY809" fmla="*/ 314412 h 372939"/>
                <a:gd name="connsiteX810" fmla="*/ 396405 w 1012061"/>
                <a:gd name="connsiteY810" fmla="*/ 314447 h 372939"/>
                <a:gd name="connsiteX811" fmla="*/ 393868 w 1012061"/>
                <a:gd name="connsiteY811" fmla="*/ 314991 h 372939"/>
                <a:gd name="connsiteX812" fmla="*/ 391188 w 1012061"/>
                <a:gd name="connsiteY812" fmla="*/ 316076 h 372939"/>
                <a:gd name="connsiteX813" fmla="*/ 388400 w 1012061"/>
                <a:gd name="connsiteY813" fmla="*/ 316847 h 372939"/>
                <a:gd name="connsiteX814" fmla="*/ 386346 w 1012061"/>
                <a:gd name="connsiteY814" fmla="*/ 317139 h 372939"/>
                <a:gd name="connsiteX815" fmla="*/ 384295 w 1012061"/>
                <a:gd name="connsiteY815" fmla="*/ 316925 h 372939"/>
                <a:gd name="connsiteX816" fmla="*/ 379110 w 1012061"/>
                <a:gd name="connsiteY816" fmla="*/ 315901 h 372939"/>
                <a:gd name="connsiteX817" fmla="*/ 373882 w 1012061"/>
                <a:gd name="connsiteY817" fmla="*/ 315241 h 372939"/>
                <a:gd name="connsiteX818" fmla="*/ 360501 w 1012061"/>
                <a:gd name="connsiteY818" fmla="*/ 314821 h 372939"/>
                <a:gd name="connsiteX819" fmla="*/ 356711 w 1012061"/>
                <a:gd name="connsiteY819" fmla="*/ 313856 h 372939"/>
                <a:gd name="connsiteX820" fmla="*/ 350449 w 1012061"/>
                <a:gd name="connsiteY820" fmla="*/ 313362 h 372939"/>
                <a:gd name="connsiteX821" fmla="*/ 345469 w 1012061"/>
                <a:gd name="connsiteY821" fmla="*/ 312525 h 372939"/>
                <a:gd name="connsiteX822" fmla="*/ 340539 w 1012061"/>
                <a:gd name="connsiteY822" fmla="*/ 311356 h 372939"/>
                <a:gd name="connsiteX823" fmla="*/ 327967 w 1012061"/>
                <a:gd name="connsiteY823" fmla="*/ 305596 h 372939"/>
                <a:gd name="connsiteX824" fmla="*/ 323854 w 1012061"/>
                <a:gd name="connsiteY824" fmla="*/ 304214 h 372939"/>
                <a:gd name="connsiteX825" fmla="*/ 311228 w 1012061"/>
                <a:gd name="connsiteY825" fmla="*/ 301466 h 372939"/>
                <a:gd name="connsiteX826" fmla="*/ 309280 w 1012061"/>
                <a:gd name="connsiteY826" fmla="*/ 301245 h 372939"/>
                <a:gd name="connsiteX827" fmla="*/ 304706 w 1012061"/>
                <a:gd name="connsiteY827" fmla="*/ 301449 h 372939"/>
                <a:gd name="connsiteX828" fmla="*/ 301821 w 1012061"/>
                <a:gd name="connsiteY828" fmla="*/ 300643 h 372939"/>
                <a:gd name="connsiteX829" fmla="*/ 299278 w 1012061"/>
                <a:gd name="connsiteY829" fmla="*/ 300626 h 372939"/>
                <a:gd name="connsiteX830" fmla="*/ 295503 w 1012061"/>
                <a:gd name="connsiteY830" fmla="*/ 301518 h 372939"/>
                <a:gd name="connsiteX831" fmla="*/ 294341 w 1012061"/>
                <a:gd name="connsiteY831" fmla="*/ 302159 h 372939"/>
                <a:gd name="connsiteX832" fmla="*/ 292878 w 1012061"/>
                <a:gd name="connsiteY832" fmla="*/ 303514 h 372939"/>
                <a:gd name="connsiteX833" fmla="*/ 290308 w 1012061"/>
                <a:gd name="connsiteY833" fmla="*/ 303449 h 372939"/>
                <a:gd name="connsiteX834" fmla="*/ 287764 w 1012061"/>
                <a:gd name="connsiteY834" fmla="*/ 303189 h 372939"/>
                <a:gd name="connsiteX835" fmla="*/ 281064 w 1012061"/>
                <a:gd name="connsiteY835" fmla="*/ 301894 h 372939"/>
                <a:gd name="connsiteX836" fmla="*/ 278563 w 1012061"/>
                <a:gd name="connsiteY836" fmla="*/ 301099 h 372939"/>
                <a:gd name="connsiteX837" fmla="*/ 276162 w 1012061"/>
                <a:gd name="connsiteY837" fmla="*/ 299924 h 372939"/>
                <a:gd name="connsiteX838" fmla="*/ 273996 w 1012061"/>
                <a:gd name="connsiteY838" fmla="*/ 298393 h 372939"/>
                <a:gd name="connsiteX839" fmla="*/ 272869 w 1012061"/>
                <a:gd name="connsiteY839" fmla="*/ 297841 h 372939"/>
                <a:gd name="connsiteX840" fmla="*/ 267077 w 1012061"/>
                <a:gd name="connsiteY840" fmla="*/ 296280 h 372939"/>
                <a:gd name="connsiteX841" fmla="*/ 262350 w 1012061"/>
                <a:gd name="connsiteY841" fmla="*/ 295742 h 372939"/>
                <a:gd name="connsiteX842" fmla="*/ 252627 w 1012061"/>
                <a:gd name="connsiteY842" fmla="*/ 295032 h 372939"/>
                <a:gd name="connsiteX843" fmla="*/ 250502 w 1012061"/>
                <a:gd name="connsiteY843" fmla="*/ 294559 h 372939"/>
                <a:gd name="connsiteX844" fmla="*/ 248731 w 1012061"/>
                <a:gd name="connsiteY844" fmla="*/ 293990 h 372939"/>
                <a:gd name="connsiteX845" fmla="*/ 247759 w 1012061"/>
                <a:gd name="connsiteY845" fmla="*/ 292724 h 372939"/>
                <a:gd name="connsiteX846" fmla="*/ 247882 w 1012061"/>
                <a:gd name="connsiteY846" fmla="*/ 291116 h 372939"/>
                <a:gd name="connsiteX847" fmla="*/ 248580 w 1012061"/>
                <a:gd name="connsiteY847" fmla="*/ 289725 h 372939"/>
                <a:gd name="connsiteX848" fmla="*/ 249532 w 1012061"/>
                <a:gd name="connsiteY848" fmla="*/ 288327 h 372939"/>
                <a:gd name="connsiteX849" fmla="*/ 250156 w 1012061"/>
                <a:gd name="connsiteY849" fmla="*/ 286990 h 372939"/>
                <a:gd name="connsiteX850" fmla="*/ 243047 w 1012061"/>
                <a:gd name="connsiteY850" fmla="*/ 284194 h 372939"/>
                <a:gd name="connsiteX851" fmla="*/ 237433 w 1012061"/>
                <a:gd name="connsiteY851" fmla="*/ 282664 h 372939"/>
                <a:gd name="connsiteX852" fmla="*/ 235010 w 1012061"/>
                <a:gd name="connsiteY852" fmla="*/ 282371 h 372939"/>
                <a:gd name="connsiteX853" fmla="*/ 232579 w 1012061"/>
                <a:gd name="connsiteY853" fmla="*/ 282378 h 372939"/>
                <a:gd name="connsiteX854" fmla="*/ 229840 w 1012061"/>
                <a:gd name="connsiteY854" fmla="*/ 282695 h 372939"/>
                <a:gd name="connsiteX855" fmla="*/ 227130 w 1012061"/>
                <a:gd name="connsiteY855" fmla="*/ 282547 h 372939"/>
                <a:gd name="connsiteX856" fmla="*/ 225856 w 1012061"/>
                <a:gd name="connsiteY856" fmla="*/ 282092 h 372939"/>
                <a:gd name="connsiteX857" fmla="*/ 224555 w 1012061"/>
                <a:gd name="connsiteY857" fmla="*/ 281935 h 372939"/>
                <a:gd name="connsiteX858" fmla="*/ 223250 w 1012061"/>
                <a:gd name="connsiteY858" fmla="*/ 282265 h 372939"/>
                <a:gd name="connsiteX859" fmla="*/ 222201 w 1012061"/>
                <a:gd name="connsiteY859" fmla="*/ 282137 h 372939"/>
                <a:gd name="connsiteX860" fmla="*/ 221928 w 1012061"/>
                <a:gd name="connsiteY860" fmla="*/ 280866 h 372939"/>
                <a:gd name="connsiteX861" fmla="*/ 222598 w 1012061"/>
                <a:gd name="connsiteY861" fmla="*/ 279786 h 372939"/>
                <a:gd name="connsiteX862" fmla="*/ 223973 w 1012061"/>
                <a:gd name="connsiteY862" fmla="*/ 278558 h 372939"/>
                <a:gd name="connsiteX863" fmla="*/ 224753 w 1012061"/>
                <a:gd name="connsiteY863" fmla="*/ 278341 h 372939"/>
                <a:gd name="connsiteX864" fmla="*/ 225109 w 1012061"/>
                <a:gd name="connsiteY864" fmla="*/ 280261 h 372939"/>
                <a:gd name="connsiteX865" fmla="*/ 225500 w 1012061"/>
                <a:gd name="connsiteY865" fmla="*/ 280642 h 372939"/>
                <a:gd name="connsiteX866" fmla="*/ 226718 w 1012061"/>
                <a:gd name="connsiteY866" fmla="*/ 281063 h 372939"/>
                <a:gd name="connsiteX867" fmla="*/ 227247 w 1012061"/>
                <a:gd name="connsiteY867" fmla="*/ 280944 h 372939"/>
                <a:gd name="connsiteX868" fmla="*/ 229395 w 1012061"/>
                <a:gd name="connsiteY868" fmla="*/ 278489 h 372939"/>
                <a:gd name="connsiteX869" fmla="*/ 229996 w 1012061"/>
                <a:gd name="connsiteY869" fmla="*/ 277283 h 372939"/>
                <a:gd name="connsiteX870" fmla="*/ 231036 w 1012061"/>
                <a:gd name="connsiteY870" fmla="*/ 274015 h 372939"/>
                <a:gd name="connsiteX871" fmla="*/ 232164 w 1012061"/>
                <a:gd name="connsiteY871" fmla="*/ 274646 h 372939"/>
                <a:gd name="connsiteX872" fmla="*/ 233300 w 1012061"/>
                <a:gd name="connsiteY872" fmla="*/ 274256 h 372939"/>
                <a:gd name="connsiteX873" fmla="*/ 233952 w 1012061"/>
                <a:gd name="connsiteY873" fmla="*/ 273735 h 372939"/>
                <a:gd name="connsiteX874" fmla="*/ 235751 w 1012061"/>
                <a:gd name="connsiteY874" fmla="*/ 266177 h 372939"/>
                <a:gd name="connsiteX875" fmla="*/ 237252 w 1012061"/>
                <a:gd name="connsiteY875" fmla="*/ 263971 h 372939"/>
                <a:gd name="connsiteX876" fmla="*/ 239301 w 1012061"/>
                <a:gd name="connsiteY876" fmla="*/ 262135 h 372939"/>
                <a:gd name="connsiteX877" fmla="*/ 240322 w 1012061"/>
                <a:gd name="connsiteY877" fmla="*/ 261689 h 372939"/>
                <a:gd name="connsiteX878" fmla="*/ 242330 w 1012061"/>
                <a:gd name="connsiteY878" fmla="*/ 262811 h 372939"/>
                <a:gd name="connsiteX879" fmla="*/ 246397 w 1012061"/>
                <a:gd name="connsiteY879" fmla="*/ 263240 h 372939"/>
                <a:gd name="connsiteX880" fmla="*/ 248815 w 1012061"/>
                <a:gd name="connsiteY880" fmla="*/ 263983 h 372939"/>
                <a:gd name="connsiteX881" fmla="*/ 251240 w 1012061"/>
                <a:gd name="connsiteY881" fmla="*/ 264079 h 372939"/>
                <a:gd name="connsiteX882" fmla="*/ 253609 w 1012061"/>
                <a:gd name="connsiteY882" fmla="*/ 264445 h 372939"/>
                <a:gd name="connsiteX883" fmla="*/ 256911 w 1012061"/>
                <a:gd name="connsiteY883" fmla="*/ 265774 h 372939"/>
                <a:gd name="connsiteX884" fmla="*/ 258077 w 1012061"/>
                <a:gd name="connsiteY884" fmla="*/ 265635 h 372939"/>
                <a:gd name="connsiteX885" fmla="*/ 259264 w 1012061"/>
                <a:gd name="connsiteY885" fmla="*/ 265223 h 372939"/>
                <a:gd name="connsiteX886" fmla="*/ 261033 w 1012061"/>
                <a:gd name="connsiteY886" fmla="*/ 263782 h 372939"/>
                <a:gd name="connsiteX887" fmla="*/ 636147 w 1012061"/>
                <a:gd name="connsiteY887" fmla="*/ 260935 h 372939"/>
                <a:gd name="connsiteX888" fmla="*/ 637189 w 1012061"/>
                <a:gd name="connsiteY888" fmla="*/ 261422 h 372939"/>
                <a:gd name="connsiteX889" fmla="*/ 637815 w 1012061"/>
                <a:gd name="connsiteY889" fmla="*/ 263011 h 372939"/>
                <a:gd name="connsiteX890" fmla="*/ 637612 w 1012061"/>
                <a:gd name="connsiteY890" fmla="*/ 264072 h 372939"/>
                <a:gd name="connsiteX891" fmla="*/ 636807 w 1012061"/>
                <a:gd name="connsiteY891" fmla="*/ 262854 h 372939"/>
                <a:gd name="connsiteX892" fmla="*/ 636068 w 1012061"/>
                <a:gd name="connsiteY892" fmla="*/ 262248 h 372939"/>
                <a:gd name="connsiteX893" fmla="*/ 558789 w 1012061"/>
                <a:gd name="connsiteY893" fmla="*/ 258608 h 372939"/>
                <a:gd name="connsiteX894" fmla="*/ 560045 w 1012061"/>
                <a:gd name="connsiteY894" fmla="*/ 261459 h 372939"/>
                <a:gd name="connsiteX895" fmla="*/ 560378 w 1012061"/>
                <a:gd name="connsiteY895" fmla="*/ 262911 h 372939"/>
                <a:gd name="connsiteX896" fmla="*/ 559916 w 1012061"/>
                <a:gd name="connsiteY896" fmla="*/ 270217 h 372939"/>
                <a:gd name="connsiteX897" fmla="*/ 559009 w 1012061"/>
                <a:gd name="connsiteY897" fmla="*/ 273911 h 372939"/>
                <a:gd name="connsiteX898" fmla="*/ 558581 w 1012061"/>
                <a:gd name="connsiteY898" fmla="*/ 272608 h 372939"/>
                <a:gd name="connsiteX899" fmla="*/ 558421 w 1012061"/>
                <a:gd name="connsiteY899" fmla="*/ 269231 h 372939"/>
                <a:gd name="connsiteX900" fmla="*/ 557865 w 1012061"/>
                <a:gd name="connsiteY900" fmla="*/ 267592 h 372939"/>
                <a:gd name="connsiteX901" fmla="*/ 558218 w 1012061"/>
                <a:gd name="connsiteY901" fmla="*/ 265700 h 372939"/>
                <a:gd name="connsiteX902" fmla="*/ 558106 w 1012061"/>
                <a:gd name="connsiteY902" fmla="*/ 260848 h 372939"/>
                <a:gd name="connsiteX903" fmla="*/ 386594 w 1012061"/>
                <a:gd name="connsiteY903" fmla="*/ 257518 h 372939"/>
                <a:gd name="connsiteX904" fmla="*/ 387419 w 1012061"/>
                <a:gd name="connsiteY904" fmla="*/ 258107 h 372939"/>
                <a:gd name="connsiteX905" fmla="*/ 387245 w 1012061"/>
                <a:gd name="connsiteY905" fmla="*/ 259401 h 372939"/>
                <a:gd name="connsiteX906" fmla="*/ 386770 w 1012061"/>
                <a:gd name="connsiteY906" fmla="*/ 260187 h 372939"/>
                <a:gd name="connsiteX907" fmla="*/ 384651 w 1012061"/>
                <a:gd name="connsiteY907" fmla="*/ 260124 h 372939"/>
                <a:gd name="connsiteX908" fmla="*/ 384295 w 1012061"/>
                <a:gd name="connsiteY908" fmla="*/ 259236 h 372939"/>
                <a:gd name="connsiteX909" fmla="*/ 385677 w 1012061"/>
                <a:gd name="connsiteY909" fmla="*/ 257622 h 372939"/>
                <a:gd name="connsiteX910" fmla="*/ 827513 w 1012061"/>
                <a:gd name="connsiteY910" fmla="*/ 254875 h 372939"/>
                <a:gd name="connsiteX911" fmla="*/ 829009 w 1012061"/>
                <a:gd name="connsiteY911" fmla="*/ 254919 h 372939"/>
                <a:gd name="connsiteX912" fmla="*/ 829422 w 1012061"/>
                <a:gd name="connsiteY912" fmla="*/ 255792 h 372939"/>
                <a:gd name="connsiteX913" fmla="*/ 829893 w 1012061"/>
                <a:gd name="connsiteY913" fmla="*/ 256088 h 372939"/>
                <a:gd name="connsiteX914" fmla="*/ 831363 w 1012061"/>
                <a:gd name="connsiteY914" fmla="*/ 258909 h 372939"/>
                <a:gd name="connsiteX915" fmla="*/ 831426 w 1012061"/>
                <a:gd name="connsiteY915" fmla="*/ 260282 h 372939"/>
                <a:gd name="connsiteX916" fmla="*/ 830080 w 1012061"/>
                <a:gd name="connsiteY916" fmla="*/ 262419 h 372939"/>
                <a:gd name="connsiteX917" fmla="*/ 829165 w 1012061"/>
                <a:gd name="connsiteY917" fmla="*/ 261665 h 372939"/>
                <a:gd name="connsiteX918" fmla="*/ 828646 w 1012061"/>
                <a:gd name="connsiteY918" fmla="*/ 261654 h 372939"/>
                <a:gd name="connsiteX919" fmla="*/ 828334 w 1012061"/>
                <a:gd name="connsiteY919" fmla="*/ 260399 h 372939"/>
                <a:gd name="connsiteX920" fmla="*/ 828645 w 1012061"/>
                <a:gd name="connsiteY920" fmla="*/ 257800 h 372939"/>
                <a:gd name="connsiteX921" fmla="*/ 870425 w 1012061"/>
                <a:gd name="connsiteY921" fmla="*/ 250890 h 372939"/>
                <a:gd name="connsiteX922" fmla="*/ 871435 w 1012061"/>
                <a:gd name="connsiteY922" fmla="*/ 251140 h 372939"/>
                <a:gd name="connsiteX923" fmla="*/ 872090 w 1012061"/>
                <a:gd name="connsiteY923" fmla="*/ 252332 h 372939"/>
                <a:gd name="connsiteX924" fmla="*/ 872348 w 1012061"/>
                <a:gd name="connsiteY924" fmla="*/ 253372 h 372939"/>
                <a:gd name="connsiteX925" fmla="*/ 872076 w 1012061"/>
                <a:gd name="connsiteY925" fmla="*/ 254306 h 372939"/>
                <a:gd name="connsiteX926" fmla="*/ 873298 w 1012061"/>
                <a:gd name="connsiteY926" fmla="*/ 254787 h 372939"/>
                <a:gd name="connsiteX927" fmla="*/ 874320 w 1012061"/>
                <a:gd name="connsiteY927" fmla="*/ 257093 h 372939"/>
                <a:gd name="connsiteX928" fmla="*/ 874145 w 1012061"/>
                <a:gd name="connsiteY928" fmla="*/ 257949 h 372939"/>
                <a:gd name="connsiteX929" fmla="*/ 874130 w 1012061"/>
                <a:gd name="connsiteY929" fmla="*/ 259529 h 372939"/>
                <a:gd name="connsiteX930" fmla="*/ 874497 w 1012061"/>
                <a:gd name="connsiteY930" fmla="*/ 260991 h 372939"/>
                <a:gd name="connsiteX931" fmla="*/ 873551 w 1012061"/>
                <a:gd name="connsiteY931" fmla="*/ 262478 h 372939"/>
                <a:gd name="connsiteX932" fmla="*/ 874434 w 1012061"/>
                <a:gd name="connsiteY932" fmla="*/ 264705 h 372939"/>
                <a:gd name="connsiteX933" fmla="*/ 874566 w 1012061"/>
                <a:gd name="connsiteY933" fmla="*/ 265813 h 372939"/>
                <a:gd name="connsiteX934" fmla="*/ 874517 w 1012061"/>
                <a:gd name="connsiteY934" fmla="*/ 267380 h 372939"/>
                <a:gd name="connsiteX935" fmla="*/ 874264 w 1012061"/>
                <a:gd name="connsiteY935" fmla="*/ 268084 h 372939"/>
                <a:gd name="connsiteX936" fmla="*/ 873594 w 1012061"/>
                <a:gd name="connsiteY936" fmla="*/ 270143 h 372939"/>
                <a:gd name="connsiteX937" fmla="*/ 872925 w 1012061"/>
                <a:gd name="connsiteY937" fmla="*/ 270876 h 372939"/>
                <a:gd name="connsiteX938" fmla="*/ 872422 w 1012061"/>
                <a:gd name="connsiteY938" fmla="*/ 271080 h 372939"/>
                <a:gd name="connsiteX939" fmla="*/ 871902 w 1012061"/>
                <a:gd name="connsiteY939" fmla="*/ 271702 h 372939"/>
                <a:gd name="connsiteX940" fmla="*/ 867556 w 1012061"/>
                <a:gd name="connsiteY940" fmla="*/ 271026 h 372939"/>
                <a:gd name="connsiteX941" fmla="*/ 865678 w 1012061"/>
                <a:gd name="connsiteY941" fmla="*/ 269597 h 372939"/>
                <a:gd name="connsiteX942" fmla="*/ 864005 w 1012061"/>
                <a:gd name="connsiteY942" fmla="*/ 268049 h 372939"/>
                <a:gd name="connsiteX943" fmla="*/ 863651 w 1012061"/>
                <a:gd name="connsiteY943" fmla="*/ 267403 h 372939"/>
                <a:gd name="connsiteX944" fmla="*/ 861681 w 1012061"/>
                <a:gd name="connsiteY944" fmla="*/ 265598 h 372939"/>
                <a:gd name="connsiteX945" fmla="*/ 861227 w 1012061"/>
                <a:gd name="connsiteY945" fmla="*/ 264989 h 372939"/>
                <a:gd name="connsiteX946" fmla="*/ 861189 w 1012061"/>
                <a:gd name="connsiteY946" fmla="*/ 264027 h 372939"/>
                <a:gd name="connsiteX947" fmla="*/ 862780 w 1012061"/>
                <a:gd name="connsiteY947" fmla="*/ 263782 h 372939"/>
                <a:gd name="connsiteX948" fmla="*/ 864480 w 1012061"/>
                <a:gd name="connsiteY948" fmla="*/ 263810 h 372939"/>
                <a:gd name="connsiteX949" fmla="*/ 864406 w 1012061"/>
                <a:gd name="connsiteY949" fmla="*/ 262943 h 372939"/>
                <a:gd name="connsiteX950" fmla="*/ 865388 w 1012061"/>
                <a:gd name="connsiteY950" fmla="*/ 259888 h 372939"/>
                <a:gd name="connsiteX951" fmla="*/ 862804 w 1012061"/>
                <a:gd name="connsiteY951" fmla="*/ 257923 h 372939"/>
                <a:gd name="connsiteX952" fmla="*/ 862344 w 1012061"/>
                <a:gd name="connsiteY952" fmla="*/ 257098 h 372939"/>
                <a:gd name="connsiteX953" fmla="*/ 863271 w 1012061"/>
                <a:gd name="connsiteY953" fmla="*/ 256537 h 372939"/>
                <a:gd name="connsiteX954" fmla="*/ 865350 w 1012061"/>
                <a:gd name="connsiteY954" fmla="*/ 257224 h 372939"/>
                <a:gd name="connsiteX955" fmla="*/ 867894 w 1012061"/>
                <a:gd name="connsiteY955" fmla="*/ 253777 h 372939"/>
                <a:gd name="connsiteX956" fmla="*/ 868645 w 1012061"/>
                <a:gd name="connsiteY956" fmla="*/ 253058 h 372939"/>
                <a:gd name="connsiteX957" fmla="*/ 869001 w 1012061"/>
                <a:gd name="connsiteY957" fmla="*/ 251137 h 372939"/>
                <a:gd name="connsiteX958" fmla="*/ 838226 w 1012061"/>
                <a:gd name="connsiteY958" fmla="*/ 248303 h 372939"/>
                <a:gd name="connsiteX959" fmla="*/ 838753 w 1012061"/>
                <a:gd name="connsiteY959" fmla="*/ 248463 h 372939"/>
                <a:gd name="connsiteX960" fmla="*/ 839513 w 1012061"/>
                <a:gd name="connsiteY960" fmla="*/ 249134 h 372939"/>
                <a:gd name="connsiteX961" fmla="*/ 838336 w 1012061"/>
                <a:gd name="connsiteY961" fmla="*/ 254187 h 372939"/>
                <a:gd name="connsiteX962" fmla="*/ 835051 w 1012061"/>
                <a:gd name="connsiteY962" fmla="*/ 257733 h 372939"/>
                <a:gd name="connsiteX963" fmla="*/ 834060 w 1012061"/>
                <a:gd name="connsiteY963" fmla="*/ 261420 h 372939"/>
                <a:gd name="connsiteX964" fmla="*/ 832264 w 1012061"/>
                <a:gd name="connsiteY964" fmla="*/ 263327 h 372939"/>
                <a:gd name="connsiteX965" fmla="*/ 833959 w 1012061"/>
                <a:gd name="connsiteY965" fmla="*/ 258829 h 372939"/>
                <a:gd name="connsiteX966" fmla="*/ 834313 w 1012061"/>
                <a:gd name="connsiteY966" fmla="*/ 256552 h 372939"/>
                <a:gd name="connsiteX967" fmla="*/ 835886 w 1012061"/>
                <a:gd name="connsiteY967" fmla="*/ 255194 h 372939"/>
                <a:gd name="connsiteX968" fmla="*/ 153610 w 1012061"/>
                <a:gd name="connsiteY968" fmla="*/ 247761 h 372939"/>
                <a:gd name="connsiteX969" fmla="*/ 154603 w 1012061"/>
                <a:gd name="connsiteY969" fmla="*/ 247820 h 372939"/>
                <a:gd name="connsiteX970" fmla="*/ 158436 w 1012061"/>
                <a:gd name="connsiteY970" fmla="*/ 249539 h 372939"/>
                <a:gd name="connsiteX971" fmla="*/ 159181 w 1012061"/>
                <a:gd name="connsiteY971" fmla="*/ 250390 h 372939"/>
                <a:gd name="connsiteX972" fmla="*/ 158335 w 1012061"/>
                <a:gd name="connsiteY972" fmla="*/ 252029 h 372939"/>
                <a:gd name="connsiteX973" fmla="*/ 156538 w 1012061"/>
                <a:gd name="connsiteY973" fmla="*/ 252136 h 372939"/>
                <a:gd name="connsiteX974" fmla="*/ 153212 w 1012061"/>
                <a:gd name="connsiteY974" fmla="*/ 249409 h 372939"/>
                <a:gd name="connsiteX975" fmla="*/ 152664 w 1012061"/>
                <a:gd name="connsiteY975" fmla="*/ 248567 h 372939"/>
                <a:gd name="connsiteX976" fmla="*/ 626967 w 1012061"/>
                <a:gd name="connsiteY976" fmla="*/ 246954 h 372939"/>
                <a:gd name="connsiteX977" fmla="*/ 628428 w 1012061"/>
                <a:gd name="connsiteY977" fmla="*/ 247436 h 372939"/>
                <a:gd name="connsiteX978" fmla="*/ 628340 w 1012061"/>
                <a:gd name="connsiteY978" fmla="*/ 249686 h 372939"/>
                <a:gd name="connsiteX979" fmla="*/ 627453 w 1012061"/>
                <a:gd name="connsiteY979" fmla="*/ 249561 h 372939"/>
                <a:gd name="connsiteX980" fmla="*/ 626733 w 1012061"/>
                <a:gd name="connsiteY980" fmla="*/ 248773 h 372939"/>
                <a:gd name="connsiteX981" fmla="*/ 626530 w 1012061"/>
                <a:gd name="connsiteY981" fmla="*/ 248030 h 372939"/>
                <a:gd name="connsiteX982" fmla="*/ 626571 w 1012061"/>
                <a:gd name="connsiteY982" fmla="*/ 247426 h 372939"/>
                <a:gd name="connsiteX983" fmla="*/ 590549 w 1012061"/>
                <a:gd name="connsiteY983" fmla="*/ 243018 h 372939"/>
                <a:gd name="connsiteX984" fmla="*/ 591700 w 1012061"/>
                <a:gd name="connsiteY984" fmla="*/ 243091 h 372939"/>
                <a:gd name="connsiteX985" fmla="*/ 592455 w 1012061"/>
                <a:gd name="connsiteY985" fmla="*/ 244537 h 372939"/>
                <a:gd name="connsiteX986" fmla="*/ 593365 w 1012061"/>
                <a:gd name="connsiteY986" fmla="*/ 244936 h 372939"/>
                <a:gd name="connsiteX987" fmla="*/ 593824 w 1012061"/>
                <a:gd name="connsiteY987" fmla="*/ 246321 h 372939"/>
                <a:gd name="connsiteX988" fmla="*/ 593407 w 1012061"/>
                <a:gd name="connsiteY988" fmla="*/ 251126 h 372939"/>
                <a:gd name="connsiteX989" fmla="*/ 592007 w 1012061"/>
                <a:gd name="connsiteY989" fmla="*/ 251720 h 372939"/>
                <a:gd name="connsiteX990" fmla="*/ 589348 w 1012061"/>
                <a:gd name="connsiteY990" fmla="*/ 249182 h 372939"/>
                <a:gd name="connsiteX991" fmla="*/ 588223 w 1012061"/>
                <a:gd name="connsiteY991" fmla="*/ 247094 h 372939"/>
                <a:gd name="connsiteX992" fmla="*/ 588493 w 1012061"/>
                <a:gd name="connsiteY992" fmla="*/ 245914 h 372939"/>
                <a:gd name="connsiteX993" fmla="*/ 589287 w 1012061"/>
                <a:gd name="connsiteY993" fmla="*/ 244879 h 372939"/>
                <a:gd name="connsiteX994" fmla="*/ 589666 w 1012061"/>
                <a:gd name="connsiteY994" fmla="*/ 244622 h 372939"/>
                <a:gd name="connsiteX995" fmla="*/ 589501 w 1012061"/>
                <a:gd name="connsiteY995" fmla="*/ 243543 h 372939"/>
                <a:gd name="connsiteX996" fmla="*/ 607979 w 1012061"/>
                <a:gd name="connsiteY996" fmla="*/ 232964 h 372939"/>
                <a:gd name="connsiteX997" fmla="*/ 608815 w 1012061"/>
                <a:gd name="connsiteY997" fmla="*/ 234213 h 372939"/>
                <a:gd name="connsiteX998" fmla="*/ 609260 w 1012061"/>
                <a:gd name="connsiteY998" fmla="*/ 239950 h 372939"/>
                <a:gd name="connsiteX999" fmla="*/ 606035 w 1012061"/>
                <a:gd name="connsiteY999" fmla="*/ 244490 h 372939"/>
                <a:gd name="connsiteX1000" fmla="*/ 606722 w 1012061"/>
                <a:gd name="connsiteY1000" fmla="*/ 247389 h 372939"/>
                <a:gd name="connsiteX1001" fmla="*/ 606152 w 1012061"/>
                <a:gd name="connsiteY1001" fmla="*/ 248861 h 372939"/>
                <a:gd name="connsiteX1002" fmla="*/ 604926 w 1012061"/>
                <a:gd name="connsiteY1002" fmla="*/ 250007 h 372939"/>
                <a:gd name="connsiteX1003" fmla="*/ 603950 w 1012061"/>
                <a:gd name="connsiteY1003" fmla="*/ 250089 h 372939"/>
                <a:gd name="connsiteX1004" fmla="*/ 602931 w 1012061"/>
                <a:gd name="connsiteY1004" fmla="*/ 249855 h 372939"/>
                <a:gd name="connsiteX1005" fmla="*/ 601125 w 1012061"/>
                <a:gd name="connsiteY1005" fmla="*/ 248852 h 372939"/>
                <a:gd name="connsiteX1006" fmla="*/ 600667 w 1012061"/>
                <a:gd name="connsiteY1006" fmla="*/ 249909 h 372939"/>
                <a:gd name="connsiteX1007" fmla="*/ 599247 w 1012061"/>
                <a:gd name="connsiteY1007" fmla="*/ 249862 h 372939"/>
                <a:gd name="connsiteX1008" fmla="*/ 598718 w 1012061"/>
                <a:gd name="connsiteY1008" fmla="*/ 248500 h 372939"/>
                <a:gd name="connsiteX1009" fmla="*/ 599733 w 1012061"/>
                <a:gd name="connsiteY1009" fmla="*/ 244468 h 372939"/>
                <a:gd name="connsiteX1010" fmla="*/ 601220 w 1012061"/>
                <a:gd name="connsiteY1010" fmla="*/ 242964 h 372939"/>
                <a:gd name="connsiteX1011" fmla="*/ 601082 w 1012061"/>
                <a:gd name="connsiteY1011" fmla="*/ 241383 h 372939"/>
                <a:gd name="connsiteX1012" fmla="*/ 599853 w 1012061"/>
                <a:gd name="connsiteY1012" fmla="*/ 238015 h 372939"/>
                <a:gd name="connsiteX1013" fmla="*/ 600615 w 1012061"/>
                <a:gd name="connsiteY1013" fmla="*/ 236256 h 372939"/>
                <a:gd name="connsiteX1014" fmla="*/ 604053 w 1012061"/>
                <a:gd name="connsiteY1014" fmla="*/ 234925 h 372939"/>
                <a:gd name="connsiteX1015" fmla="*/ 607051 w 1012061"/>
                <a:gd name="connsiteY1015" fmla="*/ 233302 h 372939"/>
                <a:gd name="connsiteX1016" fmla="*/ 616219 w 1012061"/>
                <a:gd name="connsiteY1016" fmla="*/ 227830 h 372939"/>
                <a:gd name="connsiteX1017" fmla="*/ 616094 w 1012061"/>
                <a:gd name="connsiteY1017" fmla="*/ 228864 h 372939"/>
                <a:gd name="connsiteX1018" fmla="*/ 618545 w 1012061"/>
                <a:gd name="connsiteY1018" fmla="*/ 231469 h 372939"/>
                <a:gd name="connsiteX1019" fmla="*/ 619058 w 1012061"/>
                <a:gd name="connsiteY1019" fmla="*/ 236234 h 372939"/>
                <a:gd name="connsiteX1020" fmla="*/ 618897 w 1012061"/>
                <a:gd name="connsiteY1020" fmla="*/ 237485 h 372939"/>
                <a:gd name="connsiteX1021" fmla="*/ 617653 w 1012061"/>
                <a:gd name="connsiteY1021" fmla="*/ 235652 h 372939"/>
                <a:gd name="connsiteX1022" fmla="*/ 617207 w 1012061"/>
                <a:gd name="connsiteY1022" fmla="*/ 235286 h 372939"/>
                <a:gd name="connsiteX1023" fmla="*/ 616865 w 1012061"/>
                <a:gd name="connsiteY1023" fmla="*/ 235652 h 372939"/>
                <a:gd name="connsiteX1024" fmla="*/ 616425 w 1012061"/>
                <a:gd name="connsiteY1024" fmla="*/ 235853 h 372939"/>
                <a:gd name="connsiteX1025" fmla="*/ 615790 w 1012061"/>
                <a:gd name="connsiteY1025" fmla="*/ 235836 h 372939"/>
                <a:gd name="connsiteX1026" fmla="*/ 614966 w 1012061"/>
                <a:gd name="connsiteY1026" fmla="*/ 237686 h 372939"/>
                <a:gd name="connsiteX1027" fmla="*/ 614894 w 1012061"/>
                <a:gd name="connsiteY1027" fmla="*/ 239426 h 372939"/>
                <a:gd name="connsiteX1028" fmla="*/ 614272 w 1012061"/>
                <a:gd name="connsiteY1028" fmla="*/ 240598 h 372939"/>
                <a:gd name="connsiteX1029" fmla="*/ 613943 w 1012061"/>
                <a:gd name="connsiteY1029" fmla="*/ 244485 h 372939"/>
                <a:gd name="connsiteX1030" fmla="*/ 614151 w 1012061"/>
                <a:gd name="connsiteY1030" fmla="*/ 245533 h 372939"/>
                <a:gd name="connsiteX1031" fmla="*/ 615114 w 1012061"/>
                <a:gd name="connsiteY1031" fmla="*/ 245016 h 372939"/>
                <a:gd name="connsiteX1032" fmla="*/ 615708 w 1012061"/>
                <a:gd name="connsiteY1032" fmla="*/ 244884 h 372939"/>
                <a:gd name="connsiteX1033" fmla="*/ 617884 w 1012061"/>
                <a:gd name="connsiteY1033" fmla="*/ 246382 h 372939"/>
                <a:gd name="connsiteX1034" fmla="*/ 619035 w 1012061"/>
                <a:gd name="connsiteY1034" fmla="*/ 247475 h 372939"/>
                <a:gd name="connsiteX1035" fmla="*/ 618711 w 1012061"/>
                <a:gd name="connsiteY1035" fmla="*/ 248799 h 372939"/>
                <a:gd name="connsiteX1036" fmla="*/ 617238 w 1012061"/>
                <a:gd name="connsiteY1036" fmla="*/ 250132 h 372939"/>
                <a:gd name="connsiteX1037" fmla="*/ 615528 w 1012061"/>
                <a:gd name="connsiteY1037" fmla="*/ 250713 h 372939"/>
                <a:gd name="connsiteX1038" fmla="*/ 614254 w 1012061"/>
                <a:gd name="connsiteY1038" fmla="*/ 250141 h 372939"/>
                <a:gd name="connsiteX1039" fmla="*/ 613878 w 1012061"/>
                <a:gd name="connsiteY1039" fmla="*/ 250412 h 372939"/>
                <a:gd name="connsiteX1040" fmla="*/ 613125 w 1012061"/>
                <a:gd name="connsiteY1040" fmla="*/ 251098 h 372939"/>
                <a:gd name="connsiteX1041" fmla="*/ 612553 w 1012061"/>
                <a:gd name="connsiteY1041" fmla="*/ 252001 h 372939"/>
                <a:gd name="connsiteX1042" fmla="*/ 612717 w 1012061"/>
                <a:gd name="connsiteY1042" fmla="*/ 252931 h 372939"/>
                <a:gd name="connsiteX1043" fmla="*/ 611257 w 1012061"/>
                <a:gd name="connsiteY1043" fmla="*/ 255562 h 372939"/>
                <a:gd name="connsiteX1044" fmla="*/ 610415 w 1012061"/>
                <a:gd name="connsiteY1044" fmla="*/ 256301 h 372939"/>
                <a:gd name="connsiteX1045" fmla="*/ 608668 w 1012061"/>
                <a:gd name="connsiteY1045" fmla="*/ 255495 h 372939"/>
                <a:gd name="connsiteX1046" fmla="*/ 607590 w 1012061"/>
                <a:gd name="connsiteY1046" fmla="*/ 256188 h 372939"/>
                <a:gd name="connsiteX1047" fmla="*/ 606720 w 1012061"/>
                <a:gd name="connsiteY1047" fmla="*/ 256125 h 372939"/>
                <a:gd name="connsiteX1048" fmla="*/ 605392 w 1012061"/>
                <a:gd name="connsiteY1048" fmla="*/ 253491 h 372939"/>
                <a:gd name="connsiteX1049" fmla="*/ 605424 w 1012061"/>
                <a:gd name="connsiteY1049" fmla="*/ 252255 h 372939"/>
                <a:gd name="connsiteX1050" fmla="*/ 606658 w 1012061"/>
                <a:gd name="connsiteY1050" fmla="*/ 250866 h 372939"/>
                <a:gd name="connsiteX1051" fmla="*/ 606666 w 1012061"/>
                <a:gd name="connsiteY1051" fmla="*/ 249866 h 372939"/>
                <a:gd name="connsiteX1052" fmla="*/ 607275 w 1012061"/>
                <a:gd name="connsiteY1052" fmla="*/ 248751 h 372939"/>
                <a:gd name="connsiteX1053" fmla="*/ 608631 w 1012061"/>
                <a:gd name="connsiteY1053" fmla="*/ 247222 h 372939"/>
                <a:gd name="connsiteX1054" fmla="*/ 609406 w 1012061"/>
                <a:gd name="connsiteY1054" fmla="*/ 246075 h 372939"/>
                <a:gd name="connsiteX1055" fmla="*/ 609430 w 1012061"/>
                <a:gd name="connsiteY1055" fmla="*/ 245345 h 372939"/>
                <a:gd name="connsiteX1056" fmla="*/ 610007 w 1012061"/>
                <a:gd name="connsiteY1056" fmla="*/ 242578 h 372939"/>
                <a:gd name="connsiteX1057" fmla="*/ 610231 w 1012061"/>
                <a:gd name="connsiteY1057" fmla="*/ 241418 h 372939"/>
                <a:gd name="connsiteX1058" fmla="*/ 610623 w 1012061"/>
                <a:gd name="connsiteY1058" fmla="*/ 240184 h 372939"/>
                <a:gd name="connsiteX1059" fmla="*/ 611240 w 1012061"/>
                <a:gd name="connsiteY1059" fmla="*/ 237676 h 372939"/>
                <a:gd name="connsiteX1060" fmla="*/ 611326 w 1012061"/>
                <a:gd name="connsiteY1060" fmla="*/ 232958 h 372939"/>
                <a:gd name="connsiteX1061" fmla="*/ 613395 w 1012061"/>
                <a:gd name="connsiteY1061" fmla="*/ 229065 h 372939"/>
                <a:gd name="connsiteX1062" fmla="*/ 615416 w 1012061"/>
                <a:gd name="connsiteY1062" fmla="*/ 228003 h 372939"/>
                <a:gd name="connsiteX1063" fmla="*/ 842787 w 1012061"/>
                <a:gd name="connsiteY1063" fmla="*/ 221719 h 372939"/>
                <a:gd name="connsiteX1064" fmla="*/ 845959 w 1012061"/>
                <a:gd name="connsiteY1064" fmla="*/ 223685 h 372939"/>
                <a:gd name="connsiteX1065" fmla="*/ 848312 w 1012061"/>
                <a:gd name="connsiteY1065" fmla="*/ 224706 h 372939"/>
                <a:gd name="connsiteX1066" fmla="*/ 849441 w 1012061"/>
                <a:gd name="connsiteY1066" fmla="*/ 225890 h 372939"/>
                <a:gd name="connsiteX1067" fmla="*/ 846811 w 1012061"/>
                <a:gd name="connsiteY1067" fmla="*/ 224961 h 372939"/>
                <a:gd name="connsiteX1068" fmla="*/ 843054 w 1012061"/>
                <a:gd name="connsiteY1068" fmla="*/ 223017 h 372939"/>
                <a:gd name="connsiteX1069" fmla="*/ 615120 w 1012061"/>
                <a:gd name="connsiteY1069" fmla="*/ 218838 h 372939"/>
                <a:gd name="connsiteX1070" fmla="*/ 619255 w 1012061"/>
                <a:gd name="connsiteY1070" fmla="*/ 219206 h 372939"/>
                <a:gd name="connsiteX1071" fmla="*/ 620031 w 1012061"/>
                <a:gd name="connsiteY1071" fmla="*/ 220166 h 372939"/>
                <a:gd name="connsiteX1072" fmla="*/ 619930 w 1012061"/>
                <a:gd name="connsiteY1072" fmla="*/ 221762 h 372939"/>
                <a:gd name="connsiteX1073" fmla="*/ 617766 w 1012061"/>
                <a:gd name="connsiteY1073" fmla="*/ 224427 h 372939"/>
                <a:gd name="connsiteX1074" fmla="*/ 616254 w 1012061"/>
                <a:gd name="connsiteY1074" fmla="*/ 224291 h 372939"/>
                <a:gd name="connsiteX1075" fmla="*/ 614453 w 1012061"/>
                <a:gd name="connsiteY1075" fmla="*/ 222539 h 372939"/>
                <a:gd name="connsiteX1076" fmla="*/ 613926 w 1012061"/>
                <a:gd name="connsiteY1076" fmla="*/ 220618 h 372939"/>
                <a:gd name="connsiteX1077" fmla="*/ 613885 w 1012061"/>
                <a:gd name="connsiteY1077" fmla="*/ 219924 h 372939"/>
                <a:gd name="connsiteX1078" fmla="*/ 735115 w 1012061"/>
                <a:gd name="connsiteY1078" fmla="*/ 208515 h 372939"/>
                <a:gd name="connsiteX1079" fmla="*/ 736989 w 1012061"/>
                <a:gd name="connsiteY1079" fmla="*/ 209103 h 372939"/>
                <a:gd name="connsiteX1080" fmla="*/ 737570 w 1012061"/>
                <a:gd name="connsiteY1080" fmla="*/ 210080 h 372939"/>
                <a:gd name="connsiteX1081" fmla="*/ 733789 w 1012061"/>
                <a:gd name="connsiteY1081" fmla="*/ 211241 h 372939"/>
                <a:gd name="connsiteX1082" fmla="*/ 734601 w 1012061"/>
                <a:gd name="connsiteY1082" fmla="*/ 209084 h 372939"/>
                <a:gd name="connsiteX1083" fmla="*/ 730976 w 1012061"/>
                <a:gd name="connsiteY1083" fmla="*/ 208461 h 372939"/>
                <a:gd name="connsiteX1084" fmla="*/ 732407 w 1012061"/>
                <a:gd name="connsiteY1084" fmla="*/ 208541 h 372939"/>
                <a:gd name="connsiteX1085" fmla="*/ 732066 w 1012061"/>
                <a:gd name="connsiteY1085" fmla="*/ 209598 h 372939"/>
                <a:gd name="connsiteX1086" fmla="*/ 731566 w 1012061"/>
                <a:gd name="connsiteY1086" fmla="*/ 210351 h 372939"/>
                <a:gd name="connsiteX1087" fmla="*/ 731265 w 1012061"/>
                <a:gd name="connsiteY1087" fmla="*/ 211137 h 372939"/>
                <a:gd name="connsiteX1088" fmla="*/ 731224 w 1012061"/>
                <a:gd name="connsiteY1088" fmla="*/ 212054 h 372939"/>
                <a:gd name="connsiteX1089" fmla="*/ 730656 w 1012061"/>
                <a:gd name="connsiteY1089" fmla="*/ 212863 h 372939"/>
                <a:gd name="connsiteX1090" fmla="*/ 729371 w 1012061"/>
                <a:gd name="connsiteY1090" fmla="*/ 213397 h 372939"/>
                <a:gd name="connsiteX1091" fmla="*/ 728296 w 1012061"/>
                <a:gd name="connsiteY1091" fmla="*/ 213341 h 372939"/>
                <a:gd name="connsiteX1092" fmla="*/ 728646 w 1012061"/>
                <a:gd name="connsiteY1092" fmla="*/ 212565 h 372939"/>
                <a:gd name="connsiteX1093" fmla="*/ 728378 w 1012061"/>
                <a:gd name="connsiteY1093" fmla="*/ 212111 h 372939"/>
                <a:gd name="connsiteX1094" fmla="*/ 727581 w 1012061"/>
                <a:gd name="connsiteY1094" fmla="*/ 212316 h 372939"/>
                <a:gd name="connsiteX1095" fmla="*/ 726285 w 1012061"/>
                <a:gd name="connsiteY1095" fmla="*/ 212939 h 372939"/>
                <a:gd name="connsiteX1096" fmla="*/ 724644 w 1012061"/>
                <a:gd name="connsiteY1096" fmla="*/ 214188 h 372939"/>
                <a:gd name="connsiteX1097" fmla="*/ 723679 w 1012061"/>
                <a:gd name="connsiteY1097" fmla="*/ 213570 h 372939"/>
                <a:gd name="connsiteX1098" fmla="*/ 723471 w 1012061"/>
                <a:gd name="connsiteY1098" fmla="*/ 212601 h 372939"/>
                <a:gd name="connsiteX1099" fmla="*/ 723528 w 1012061"/>
                <a:gd name="connsiteY1099" fmla="*/ 212160 h 372939"/>
                <a:gd name="connsiteX1100" fmla="*/ 725488 w 1012061"/>
                <a:gd name="connsiteY1100" fmla="*/ 210422 h 372939"/>
                <a:gd name="connsiteX1101" fmla="*/ 727765 w 1012061"/>
                <a:gd name="connsiteY1101" fmla="*/ 210126 h 372939"/>
                <a:gd name="connsiteX1102" fmla="*/ 738285 w 1012061"/>
                <a:gd name="connsiteY1102" fmla="*/ 208074 h 372939"/>
                <a:gd name="connsiteX1103" fmla="*/ 739868 w 1012061"/>
                <a:gd name="connsiteY1103" fmla="*/ 208558 h 372939"/>
                <a:gd name="connsiteX1104" fmla="*/ 740467 w 1012061"/>
                <a:gd name="connsiteY1104" fmla="*/ 208731 h 372939"/>
                <a:gd name="connsiteX1105" fmla="*/ 741105 w 1012061"/>
                <a:gd name="connsiteY1105" fmla="*/ 209226 h 372939"/>
                <a:gd name="connsiteX1106" fmla="*/ 741053 w 1012061"/>
                <a:gd name="connsiteY1106" fmla="*/ 210163 h 372939"/>
                <a:gd name="connsiteX1107" fmla="*/ 740902 w 1012061"/>
                <a:gd name="connsiteY1107" fmla="*/ 210459 h 372939"/>
                <a:gd name="connsiteX1108" fmla="*/ 739698 w 1012061"/>
                <a:gd name="connsiteY1108" fmla="*/ 210132 h 372939"/>
                <a:gd name="connsiteX1109" fmla="*/ 738829 w 1012061"/>
                <a:gd name="connsiteY1109" fmla="*/ 210149 h 372939"/>
                <a:gd name="connsiteX1110" fmla="*/ 738069 w 1012061"/>
                <a:gd name="connsiteY1110" fmla="*/ 208459 h 372939"/>
                <a:gd name="connsiteX1111" fmla="*/ 469226 w 1012061"/>
                <a:gd name="connsiteY1111" fmla="*/ 205973 h 372939"/>
                <a:gd name="connsiteX1112" fmla="*/ 469163 w 1012061"/>
                <a:gd name="connsiteY1112" fmla="*/ 207402 h 372939"/>
                <a:gd name="connsiteX1113" fmla="*/ 468360 w 1012061"/>
                <a:gd name="connsiteY1113" fmla="*/ 211215 h 372939"/>
                <a:gd name="connsiteX1114" fmla="*/ 467006 w 1012061"/>
                <a:gd name="connsiteY1114" fmla="*/ 209053 h 372939"/>
                <a:gd name="connsiteX1115" fmla="*/ 468526 w 1012061"/>
                <a:gd name="connsiteY1115" fmla="*/ 206491 h 372939"/>
                <a:gd name="connsiteX1116" fmla="*/ 715279 w 1012061"/>
                <a:gd name="connsiteY1116" fmla="*/ 202749 h 372939"/>
                <a:gd name="connsiteX1117" fmla="*/ 716424 w 1012061"/>
                <a:gd name="connsiteY1117" fmla="*/ 204096 h 372939"/>
                <a:gd name="connsiteX1118" fmla="*/ 716933 w 1012061"/>
                <a:gd name="connsiteY1118" fmla="*/ 205071 h 372939"/>
                <a:gd name="connsiteX1119" fmla="*/ 714760 w 1012061"/>
                <a:gd name="connsiteY1119" fmla="*/ 204455 h 372939"/>
                <a:gd name="connsiteX1120" fmla="*/ 713802 w 1012061"/>
                <a:gd name="connsiteY1120" fmla="*/ 203499 h 372939"/>
                <a:gd name="connsiteX1121" fmla="*/ 714748 w 1012061"/>
                <a:gd name="connsiteY1121" fmla="*/ 202910 h 372939"/>
                <a:gd name="connsiteX1122" fmla="*/ 465749 w 1012061"/>
                <a:gd name="connsiteY1122" fmla="*/ 202678 h 372939"/>
                <a:gd name="connsiteX1123" fmla="*/ 465581 w 1012061"/>
                <a:gd name="connsiteY1123" fmla="*/ 205860 h 372939"/>
                <a:gd name="connsiteX1124" fmla="*/ 466121 w 1012061"/>
                <a:gd name="connsiteY1124" fmla="*/ 207056 h 372939"/>
                <a:gd name="connsiteX1125" fmla="*/ 466310 w 1012061"/>
                <a:gd name="connsiteY1125" fmla="*/ 208078 h 372939"/>
                <a:gd name="connsiteX1126" fmla="*/ 466021 w 1012061"/>
                <a:gd name="connsiteY1126" fmla="*/ 208958 h 372939"/>
                <a:gd name="connsiteX1127" fmla="*/ 466533 w 1012061"/>
                <a:gd name="connsiteY1127" fmla="*/ 213027 h 372939"/>
                <a:gd name="connsiteX1128" fmla="*/ 466831 w 1012061"/>
                <a:gd name="connsiteY1128" fmla="*/ 214011 h 372939"/>
                <a:gd name="connsiteX1129" fmla="*/ 466181 w 1012061"/>
                <a:gd name="connsiteY1129" fmla="*/ 215294 h 372939"/>
                <a:gd name="connsiteX1130" fmla="*/ 466492 w 1012061"/>
                <a:gd name="connsiteY1130" fmla="*/ 216340 h 372939"/>
                <a:gd name="connsiteX1131" fmla="*/ 461849 w 1012061"/>
                <a:gd name="connsiteY1131" fmla="*/ 220458 h 372939"/>
                <a:gd name="connsiteX1132" fmla="*/ 461085 w 1012061"/>
                <a:gd name="connsiteY1132" fmla="*/ 219413 h 372939"/>
                <a:gd name="connsiteX1133" fmla="*/ 461486 w 1012061"/>
                <a:gd name="connsiteY1133" fmla="*/ 215218 h 372939"/>
                <a:gd name="connsiteX1134" fmla="*/ 460191 w 1012061"/>
                <a:gd name="connsiteY1134" fmla="*/ 212614 h 372939"/>
                <a:gd name="connsiteX1135" fmla="*/ 460281 w 1012061"/>
                <a:gd name="connsiteY1135" fmla="*/ 210677 h 372939"/>
                <a:gd name="connsiteX1136" fmla="*/ 461191 w 1012061"/>
                <a:gd name="connsiteY1136" fmla="*/ 207257 h 372939"/>
                <a:gd name="connsiteX1137" fmla="*/ 462380 w 1012061"/>
                <a:gd name="connsiteY1137" fmla="*/ 204637 h 372939"/>
                <a:gd name="connsiteX1138" fmla="*/ 465077 w 1012061"/>
                <a:gd name="connsiteY1138" fmla="*/ 202884 h 372939"/>
                <a:gd name="connsiteX1139" fmla="*/ 693180 w 1012061"/>
                <a:gd name="connsiteY1139" fmla="*/ 198565 h 372939"/>
                <a:gd name="connsiteX1140" fmla="*/ 698779 w 1012061"/>
                <a:gd name="connsiteY1140" fmla="*/ 198651 h 372939"/>
                <a:gd name="connsiteX1141" fmla="*/ 699947 w 1012061"/>
                <a:gd name="connsiteY1141" fmla="*/ 199066 h 372939"/>
                <a:gd name="connsiteX1142" fmla="*/ 703582 w 1012061"/>
                <a:gd name="connsiteY1142" fmla="*/ 200795 h 372939"/>
                <a:gd name="connsiteX1143" fmla="*/ 704408 w 1012061"/>
                <a:gd name="connsiteY1143" fmla="*/ 201924 h 372939"/>
                <a:gd name="connsiteX1144" fmla="*/ 705061 w 1012061"/>
                <a:gd name="connsiteY1144" fmla="*/ 203264 h 372939"/>
                <a:gd name="connsiteX1145" fmla="*/ 705776 w 1012061"/>
                <a:gd name="connsiteY1145" fmla="*/ 204001 h 372939"/>
                <a:gd name="connsiteX1146" fmla="*/ 706633 w 1012061"/>
                <a:gd name="connsiteY1146" fmla="*/ 204604 h 372939"/>
                <a:gd name="connsiteX1147" fmla="*/ 708045 w 1012061"/>
                <a:gd name="connsiteY1147" fmla="*/ 205776 h 372939"/>
                <a:gd name="connsiteX1148" fmla="*/ 708419 w 1012061"/>
                <a:gd name="connsiteY1148" fmla="*/ 207548 h 372939"/>
                <a:gd name="connsiteX1149" fmla="*/ 708095 w 1012061"/>
                <a:gd name="connsiteY1149" fmla="*/ 211133 h 372939"/>
                <a:gd name="connsiteX1150" fmla="*/ 706449 w 1012061"/>
                <a:gd name="connsiteY1150" fmla="*/ 211449 h 372939"/>
                <a:gd name="connsiteX1151" fmla="*/ 704899 w 1012061"/>
                <a:gd name="connsiteY1151" fmla="*/ 211972 h 372939"/>
                <a:gd name="connsiteX1152" fmla="*/ 701712 w 1012061"/>
                <a:gd name="connsiteY1152" fmla="*/ 214046 h 372939"/>
                <a:gd name="connsiteX1153" fmla="*/ 700142 w 1012061"/>
                <a:gd name="connsiteY1153" fmla="*/ 214452 h 372939"/>
                <a:gd name="connsiteX1154" fmla="*/ 698466 w 1012061"/>
                <a:gd name="connsiteY1154" fmla="*/ 214591 h 372939"/>
                <a:gd name="connsiteX1155" fmla="*/ 697276 w 1012061"/>
                <a:gd name="connsiteY1155" fmla="*/ 215134 h 372939"/>
                <a:gd name="connsiteX1156" fmla="*/ 696082 w 1012061"/>
                <a:gd name="connsiteY1156" fmla="*/ 215354 h 372939"/>
                <a:gd name="connsiteX1157" fmla="*/ 692994 w 1012061"/>
                <a:gd name="connsiteY1157" fmla="*/ 214204 h 372939"/>
                <a:gd name="connsiteX1158" fmla="*/ 689997 w 1012061"/>
                <a:gd name="connsiteY1158" fmla="*/ 212852 h 372939"/>
                <a:gd name="connsiteX1159" fmla="*/ 685651 w 1012061"/>
                <a:gd name="connsiteY1159" fmla="*/ 210517 h 372939"/>
                <a:gd name="connsiteX1160" fmla="*/ 684849 w 1012061"/>
                <a:gd name="connsiteY1160" fmla="*/ 209946 h 372939"/>
                <a:gd name="connsiteX1161" fmla="*/ 684149 w 1012061"/>
                <a:gd name="connsiteY1161" fmla="*/ 208692 h 372939"/>
                <a:gd name="connsiteX1162" fmla="*/ 682156 w 1012061"/>
                <a:gd name="connsiteY1162" fmla="*/ 206440 h 372939"/>
                <a:gd name="connsiteX1163" fmla="*/ 681658 w 1012061"/>
                <a:gd name="connsiteY1163" fmla="*/ 204997 h 372939"/>
                <a:gd name="connsiteX1164" fmla="*/ 681491 w 1012061"/>
                <a:gd name="connsiteY1164" fmla="*/ 200895 h 372939"/>
                <a:gd name="connsiteX1165" fmla="*/ 682014 w 1012061"/>
                <a:gd name="connsiteY1165" fmla="*/ 199957 h 372939"/>
                <a:gd name="connsiteX1166" fmla="*/ 682858 w 1012061"/>
                <a:gd name="connsiteY1166" fmla="*/ 199455 h 372939"/>
                <a:gd name="connsiteX1167" fmla="*/ 685762 w 1012061"/>
                <a:gd name="connsiteY1167" fmla="*/ 200400 h 372939"/>
                <a:gd name="connsiteX1168" fmla="*/ 687678 w 1012061"/>
                <a:gd name="connsiteY1168" fmla="*/ 199405 h 372939"/>
                <a:gd name="connsiteX1169" fmla="*/ 724863 w 1012061"/>
                <a:gd name="connsiteY1169" fmla="*/ 195716 h 372939"/>
                <a:gd name="connsiteX1170" fmla="*/ 723752 w 1012061"/>
                <a:gd name="connsiteY1170" fmla="*/ 197564 h 372939"/>
                <a:gd name="connsiteX1171" fmla="*/ 721805 w 1012061"/>
                <a:gd name="connsiteY1171" fmla="*/ 197482 h 372939"/>
                <a:gd name="connsiteX1172" fmla="*/ 721465 w 1012061"/>
                <a:gd name="connsiteY1172" fmla="*/ 197218 h 372939"/>
                <a:gd name="connsiteX1173" fmla="*/ 723768 w 1012061"/>
                <a:gd name="connsiteY1173" fmla="*/ 196066 h 372939"/>
                <a:gd name="connsiteX1174" fmla="*/ 256284 w 1012061"/>
                <a:gd name="connsiteY1174" fmla="*/ 194884 h 372939"/>
                <a:gd name="connsiteX1175" fmla="*/ 258800 w 1012061"/>
                <a:gd name="connsiteY1175" fmla="*/ 195660 h 372939"/>
                <a:gd name="connsiteX1176" fmla="*/ 258264 w 1012061"/>
                <a:gd name="connsiteY1176" fmla="*/ 197238 h 372939"/>
                <a:gd name="connsiteX1177" fmla="*/ 257895 w 1012061"/>
                <a:gd name="connsiteY1177" fmla="*/ 197681 h 372939"/>
                <a:gd name="connsiteX1178" fmla="*/ 256669 w 1012061"/>
                <a:gd name="connsiteY1178" fmla="*/ 197441 h 372939"/>
                <a:gd name="connsiteX1179" fmla="*/ 255785 w 1012061"/>
                <a:gd name="connsiteY1179" fmla="*/ 196829 h 372939"/>
                <a:gd name="connsiteX1180" fmla="*/ 255230 w 1012061"/>
                <a:gd name="connsiteY1180" fmla="*/ 196246 h 372939"/>
                <a:gd name="connsiteX1181" fmla="*/ 255090 w 1012061"/>
                <a:gd name="connsiteY1181" fmla="*/ 195634 h 372939"/>
                <a:gd name="connsiteX1182" fmla="*/ 271266 w 1012061"/>
                <a:gd name="connsiteY1182" fmla="*/ 193462 h 372939"/>
                <a:gd name="connsiteX1183" fmla="*/ 271825 w 1012061"/>
                <a:gd name="connsiteY1183" fmla="*/ 193691 h 372939"/>
                <a:gd name="connsiteX1184" fmla="*/ 271242 w 1012061"/>
                <a:gd name="connsiteY1184" fmla="*/ 194897 h 372939"/>
                <a:gd name="connsiteX1185" fmla="*/ 270346 w 1012061"/>
                <a:gd name="connsiteY1185" fmla="*/ 195468 h 372939"/>
                <a:gd name="connsiteX1186" fmla="*/ 269826 w 1012061"/>
                <a:gd name="connsiteY1186" fmla="*/ 194921 h 372939"/>
                <a:gd name="connsiteX1187" fmla="*/ 269674 w 1012061"/>
                <a:gd name="connsiteY1187" fmla="*/ 194309 h 372939"/>
                <a:gd name="connsiteX1188" fmla="*/ 270048 w 1012061"/>
                <a:gd name="connsiteY1188" fmla="*/ 193538 h 372939"/>
                <a:gd name="connsiteX1189" fmla="*/ 757948 w 1012061"/>
                <a:gd name="connsiteY1189" fmla="*/ 192380 h 372939"/>
                <a:gd name="connsiteX1190" fmla="*/ 759248 w 1012061"/>
                <a:gd name="connsiteY1190" fmla="*/ 192481 h 372939"/>
                <a:gd name="connsiteX1191" fmla="*/ 760520 w 1012061"/>
                <a:gd name="connsiteY1191" fmla="*/ 192831 h 372939"/>
                <a:gd name="connsiteX1192" fmla="*/ 763930 w 1012061"/>
                <a:gd name="connsiteY1192" fmla="*/ 194152 h 372939"/>
                <a:gd name="connsiteX1193" fmla="*/ 769009 w 1012061"/>
                <a:gd name="connsiteY1193" fmla="*/ 196605 h 372939"/>
                <a:gd name="connsiteX1194" fmla="*/ 771641 w 1012061"/>
                <a:gd name="connsiteY1194" fmla="*/ 196965 h 372939"/>
                <a:gd name="connsiteX1195" fmla="*/ 776068 w 1012061"/>
                <a:gd name="connsiteY1195" fmla="*/ 196646 h 372939"/>
                <a:gd name="connsiteX1196" fmla="*/ 777737 w 1012061"/>
                <a:gd name="connsiteY1196" fmla="*/ 196885 h 372939"/>
                <a:gd name="connsiteX1197" fmla="*/ 781956 w 1012061"/>
                <a:gd name="connsiteY1197" fmla="*/ 200017 h 372939"/>
                <a:gd name="connsiteX1198" fmla="*/ 783187 w 1012061"/>
                <a:gd name="connsiteY1198" fmla="*/ 202168 h 372939"/>
                <a:gd name="connsiteX1199" fmla="*/ 783544 w 1012061"/>
                <a:gd name="connsiteY1199" fmla="*/ 204025 h 372939"/>
                <a:gd name="connsiteX1200" fmla="*/ 784193 w 1012061"/>
                <a:gd name="connsiteY1200" fmla="*/ 205787 h 372939"/>
                <a:gd name="connsiteX1201" fmla="*/ 785232 w 1012061"/>
                <a:gd name="connsiteY1201" fmla="*/ 206226 h 372939"/>
                <a:gd name="connsiteX1202" fmla="*/ 786457 w 1012061"/>
                <a:gd name="connsiteY1202" fmla="*/ 206390 h 372939"/>
                <a:gd name="connsiteX1203" fmla="*/ 788053 w 1012061"/>
                <a:gd name="connsiteY1203" fmla="*/ 208926 h 372939"/>
                <a:gd name="connsiteX1204" fmla="*/ 788370 w 1012061"/>
                <a:gd name="connsiteY1204" fmla="*/ 209745 h 372939"/>
                <a:gd name="connsiteX1205" fmla="*/ 787157 w 1012061"/>
                <a:gd name="connsiteY1205" fmla="*/ 216109 h 372939"/>
                <a:gd name="connsiteX1206" fmla="*/ 782187 w 1012061"/>
                <a:gd name="connsiteY1206" fmla="*/ 213698 h 372939"/>
                <a:gd name="connsiteX1207" fmla="*/ 777383 w 1012061"/>
                <a:gd name="connsiteY1207" fmla="*/ 210960 h 372939"/>
                <a:gd name="connsiteX1208" fmla="*/ 775319 w 1012061"/>
                <a:gd name="connsiteY1208" fmla="*/ 209944 h 372939"/>
                <a:gd name="connsiteX1209" fmla="*/ 769786 w 1012061"/>
                <a:gd name="connsiteY1209" fmla="*/ 207629 h 372939"/>
                <a:gd name="connsiteX1210" fmla="*/ 768938 w 1012061"/>
                <a:gd name="connsiteY1210" fmla="*/ 206835 h 372939"/>
                <a:gd name="connsiteX1211" fmla="*/ 768318 w 1012061"/>
                <a:gd name="connsiteY1211" fmla="*/ 205789 h 372939"/>
                <a:gd name="connsiteX1212" fmla="*/ 765908 w 1012061"/>
                <a:gd name="connsiteY1212" fmla="*/ 204362 h 372939"/>
                <a:gd name="connsiteX1213" fmla="*/ 761099 w 1012061"/>
                <a:gd name="connsiteY1213" fmla="*/ 204142 h 372939"/>
                <a:gd name="connsiteX1214" fmla="*/ 759293 w 1012061"/>
                <a:gd name="connsiteY1214" fmla="*/ 204178 h 372939"/>
                <a:gd name="connsiteX1215" fmla="*/ 758558 w 1012061"/>
                <a:gd name="connsiteY1215" fmla="*/ 204392 h 372939"/>
                <a:gd name="connsiteX1216" fmla="*/ 758750 w 1012061"/>
                <a:gd name="connsiteY1216" fmla="*/ 205160 h 372939"/>
                <a:gd name="connsiteX1217" fmla="*/ 758778 w 1012061"/>
                <a:gd name="connsiteY1217" fmla="*/ 206721 h 372939"/>
                <a:gd name="connsiteX1218" fmla="*/ 757584 w 1012061"/>
                <a:gd name="connsiteY1218" fmla="*/ 207153 h 372939"/>
                <a:gd name="connsiteX1219" fmla="*/ 754601 w 1012061"/>
                <a:gd name="connsiteY1219" fmla="*/ 206167 h 372939"/>
                <a:gd name="connsiteX1220" fmla="*/ 751933 w 1012061"/>
                <a:gd name="connsiteY1220" fmla="*/ 205812 h 372939"/>
                <a:gd name="connsiteX1221" fmla="*/ 749622 w 1012061"/>
                <a:gd name="connsiteY1221" fmla="*/ 204851 h 372939"/>
                <a:gd name="connsiteX1222" fmla="*/ 746524 w 1012061"/>
                <a:gd name="connsiteY1222" fmla="*/ 204338 h 372939"/>
                <a:gd name="connsiteX1223" fmla="*/ 746182 w 1012061"/>
                <a:gd name="connsiteY1223" fmla="*/ 203854 h 372939"/>
                <a:gd name="connsiteX1224" fmla="*/ 746448 w 1012061"/>
                <a:gd name="connsiteY1224" fmla="*/ 203134 h 372939"/>
                <a:gd name="connsiteX1225" fmla="*/ 746310 w 1012061"/>
                <a:gd name="connsiteY1225" fmla="*/ 202458 h 372939"/>
                <a:gd name="connsiteX1226" fmla="*/ 745593 w 1012061"/>
                <a:gd name="connsiteY1226" fmla="*/ 202196 h 372939"/>
                <a:gd name="connsiteX1227" fmla="*/ 744202 w 1012061"/>
                <a:gd name="connsiteY1227" fmla="*/ 202322 h 372939"/>
                <a:gd name="connsiteX1228" fmla="*/ 742859 w 1012061"/>
                <a:gd name="connsiteY1228" fmla="*/ 203000 h 372939"/>
                <a:gd name="connsiteX1229" fmla="*/ 741742 w 1012061"/>
                <a:gd name="connsiteY1229" fmla="*/ 203772 h 372939"/>
                <a:gd name="connsiteX1230" fmla="*/ 740099 w 1012061"/>
                <a:gd name="connsiteY1230" fmla="*/ 205899 h 372939"/>
                <a:gd name="connsiteX1231" fmla="*/ 739259 w 1012061"/>
                <a:gd name="connsiteY1231" fmla="*/ 206714 h 372939"/>
                <a:gd name="connsiteX1232" fmla="*/ 736554 w 1012061"/>
                <a:gd name="connsiteY1232" fmla="*/ 207062 h 372939"/>
                <a:gd name="connsiteX1233" fmla="*/ 735433 w 1012061"/>
                <a:gd name="connsiteY1233" fmla="*/ 206857 h 372939"/>
                <a:gd name="connsiteX1234" fmla="*/ 734400 w 1012061"/>
                <a:gd name="connsiteY1234" fmla="*/ 206329 h 372939"/>
                <a:gd name="connsiteX1235" fmla="*/ 731321 w 1012061"/>
                <a:gd name="connsiteY1235" fmla="*/ 202444 h 372939"/>
                <a:gd name="connsiteX1236" fmla="*/ 730283 w 1012061"/>
                <a:gd name="connsiteY1236" fmla="*/ 201606 h 372939"/>
                <a:gd name="connsiteX1237" fmla="*/ 729125 w 1012061"/>
                <a:gd name="connsiteY1237" fmla="*/ 200921 h 372939"/>
                <a:gd name="connsiteX1238" fmla="*/ 728049 w 1012061"/>
                <a:gd name="connsiteY1238" fmla="*/ 200605 h 372939"/>
                <a:gd name="connsiteX1239" fmla="*/ 726946 w 1012061"/>
                <a:gd name="connsiteY1239" fmla="*/ 201195 h 372939"/>
                <a:gd name="connsiteX1240" fmla="*/ 726363 w 1012061"/>
                <a:gd name="connsiteY1240" fmla="*/ 202401 h 372939"/>
                <a:gd name="connsiteX1241" fmla="*/ 726102 w 1012061"/>
                <a:gd name="connsiteY1241" fmla="*/ 203835 h 372939"/>
                <a:gd name="connsiteX1242" fmla="*/ 725795 w 1012061"/>
                <a:gd name="connsiteY1242" fmla="*/ 204658 h 372939"/>
                <a:gd name="connsiteX1243" fmla="*/ 724467 w 1012061"/>
                <a:gd name="connsiteY1243" fmla="*/ 206956 h 372939"/>
                <a:gd name="connsiteX1244" fmla="*/ 723371 w 1012061"/>
                <a:gd name="connsiteY1244" fmla="*/ 208322 h 372939"/>
                <a:gd name="connsiteX1245" fmla="*/ 722971 w 1012061"/>
                <a:gd name="connsiteY1245" fmla="*/ 208106 h 372939"/>
                <a:gd name="connsiteX1246" fmla="*/ 723534 w 1012061"/>
                <a:gd name="connsiteY1246" fmla="*/ 205914 h 372939"/>
                <a:gd name="connsiteX1247" fmla="*/ 723537 w 1012061"/>
                <a:gd name="connsiteY1247" fmla="*/ 204678 h 372939"/>
                <a:gd name="connsiteX1248" fmla="*/ 722857 w 1012061"/>
                <a:gd name="connsiteY1248" fmla="*/ 203370 h 372939"/>
                <a:gd name="connsiteX1249" fmla="*/ 722431 w 1012061"/>
                <a:gd name="connsiteY1249" fmla="*/ 202036 h 372939"/>
                <a:gd name="connsiteX1250" fmla="*/ 727637 w 1012061"/>
                <a:gd name="connsiteY1250" fmla="*/ 195673 h 372939"/>
                <a:gd name="connsiteX1251" fmla="*/ 729520 w 1012061"/>
                <a:gd name="connsiteY1251" fmla="*/ 194153 h 372939"/>
                <a:gd name="connsiteX1252" fmla="*/ 737730 w 1012061"/>
                <a:gd name="connsiteY1252" fmla="*/ 193628 h 372939"/>
                <a:gd name="connsiteX1253" fmla="*/ 742611 w 1012061"/>
                <a:gd name="connsiteY1253" fmla="*/ 193948 h 372939"/>
                <a:gd name="connsiteX1254" fmla="*/ 745269 w 1012061"/>
                <a:gd name="connsiteY1254" fmla="*/ 193793 h 372939"/>
                <a:gd name="connsiteX1255" fmla="*/ 747046 w 1012061"/>
                <a:gd name="connsiteY1255" fmla="*/ 193326 h 372939"/>
                <a:gd name="connsiteX1256" fmla="*/ 748518 w 1012061"/>
                <a:gd name="connsiteY1256" fmla="*/ 193547 h 372939"/>
                <a:gd name="connsiteX1257" fmla="*/ 748885 w 1012061"/>
                <a:gd name="connsiteY1257" fmla="*/ 194800 h 372939"/>
                <a:gd name="connsiteX1258" fmla="*/ 749814 w 1012061"/>
                <a:gd name="connsiteY1258" fmla="*/ 195727 h 372939"/>
                <a:gd name="connsiteX1259" fmla="*/ 751098 w 1012061"/>
                <a:gd name="connsiteY1259" fmla="*/ 195649 h 372939"/>
                <a:gd name="connsiteX1260" fmla="*/ 753425 w 1012061"/>
                <a:gd name="connsiteY1260" fmla="*/ 194666 h 372939"/>
                <a:gd name="connsiteX1261" fmla="*/ 755448 w 1012061"/>
                <a:gd name="connsiteY1261" fmla="*/ 193149 h 372939"/>
                <a:gd name="connsiteX1262" fmla="*/ 756691 w 1012061"/>
                <a:gd name="connsiteY1262" fmla="*/ 192490 h 372939"/>
                <a:gd name="connsiteX1263" fmla="*/ 111422 w 1012061"/>
                <a:gd name="connsiteY1263" fmla="*/ 192323 h 372939"/>
                <a:gd name="connsiteX1264" fmla="*/ 116043 w 1012061"/>
                <a:gd name="connsiteY1264" fmla="*/ 197164 h 372939"/>
                <a:gd name="connsiteX1265" fmla="*/ 116358 w 1012061"/>
                <a:gd name="connsiteY1265" fmla="*/ 197983 h 372939"/>
                <a:gd name="connsiteX1266" fmla="*/ 116257 w 1012061"/>
                <a:gd name="connsiteY1266" fmla="*/ 199708 h 372939"/>
                <a:gd name="connsiteX1267" fmla="*/ 115585 w 1012061"/>
                <a:gd name="connsiteY1267" fmla="*/ 200248 h 372939"/>
                <a:gd name="connsiteX1268" fmla="*/ 115391 w 1012061"/>
                <a:gd name="connsiteY1268" fmla="*/ 201169 h 372939"/>
                <a:gd name="connsiteX1269" fmla="*/ 116276 w 1012061"/>
                <a:gd name="connsiteY1269" fmla="*/ 204392 h 372939"/>
                <a:gd name="connsiteX1270" fmla="*/ 113644 w 1012061"/>
                <a:gd name="connsiteY1270" fmla="*/ 202194 h 372939"/>
                <a:gd name="connsiteX1271" fmla="*/ 113696 w 1012061"/>
                <a:gd name="connsiteY1271" fmla="*/ 200635 h 372939"/>
                <a:gd name="connsiteX1272" fmla="*/ 113333 w 1012061"/>
                <a:gd name="connsiteY1272" fmla="*/ 199624 h 372939"/>
                <a:gd name="connsiteX1273" fmla="*/ 111739 w 1012061"/>
                <a:gd name="connsiteY1273" fmla="*/ 198381 h 372939"/>
                <a:gd name="connsiteX1274" fmla="*/ 110509 w 1012061"/>
                <a:gd name="connsiteY1274" fmla="*/ 196829 h 372939"/>
                <a:gd name="connsiteX1275" fmla="*/ 109955 w 1012061"/>
                <a:gd name="connsiteY1275" fmla="*/ 193142 h 372939"/>
                <a:gd name="connsiteX1276" fmla="*/ 110381 w 1012061"/>
                <a:gd name="connsiteY1276" fmla="*/ 192375 h 372939"/>
                <a:gd name="connsiteX1277" fmla="*/ 279301 w 1012061"/>
                <a:gd name="connsiteY1277" fmla="*/ 186726 h 372939"/>
                <a:gd name="connsiteX1278" fmla="*/ 280117 w 1012061"/>
                <a:gd name="connsiteY1278" fmla="*/ 187377 h 372939"/>
                <a:gd name="connsiteX1279" fmla="*/ 284533 w 1012061"/>
                <a:gd name="connsiteY1279" fmla="*/ 188202 h 372939"/>
                <a:gd name="connsiteX1280" fmla="*/ 287645 w 1012061"/>
                <a:gd name="connsiteY1280" fmla="*/ 190415 h 372939"/>
                <a:gd name="connsiteX1281" fmla="*/ 289314 w 1012061"/>
                <a:gd name="connsiteY1281" fmla="*/ 193359 h 372939"/>
                <a:gd name="connsiteX1282" fmla="*/ 287470 w 1012061"/>
                <a:gd name="connsiteY1282" fmla="*/ 197069 h 372939"/>
                <a:gd name="connsiteX1283" fmla="*/ 287129 w 1012061"/>
                <a:gd name="connsiteY1283" fmla="*/ 199401 h 372939"/>
                <a:gd name="connsiteX1284" fmla="*/ 286587 w 1012061"/>
                <a:gd name="connsiteY1284" fmla="*/ 200281 h 372939"/>
                <a:gd name="connsiteX1285" fmla="*/ 284736 w 1012061"/>
                <a:gd name="connsiteY1285" fmla="*/ 201435 h 372939"/>
                <a:gd name="connsiteX1286" fmla="*/ 284110 w 1012061"/>
                <a:gd name="connsiteY1286" fmla="*/ 202142 h 372939"/>
                <a:gd name="connsiteX1287" fmla="*/ 282383 w 1012061"/>
                <a:gd name="connsiteY1287" fmla="*/ 202030 h 372939"/>
                <a:gd name="connsiteX1288" fmla="*/ 282164 w 1012061"/>
                <a:gd name="connsiteY1288" fmla="*/ 200809 h 372939"/>
                <a:gd name="connsiteX1289" fmla="*/ 281586 w 1012061"/>
                <a:gd name="connsiteY1289" fmla="*/ 199983 h 372939"/>
                <a:gd name="connsiteX1290" fmla="*/ 279753 w 1012061"/>
                <a:gd name="connsiteY1290" fmla="*/ 199031 h 372939"/>
                <a:gd name="connsiteX1291" fmla="*/ 279275 w 1012061"/>
                <a:gd name="connsiteY1291" fmla="*/ 199261 h 372939"/>
                <a:gd name="connsiteX1292" fmla="*/ 278947 w 1012061"/>
                <a:gd name="connsiteY1292" fmla="*/ 200679 h 372939"/>
                <a:gd name="connsiteX1293" fmla="*/ 275360 w 1012061"/>
                <a:gd name="connsiteY1293" fmla="*/ 201671 h 372939"/>
                <a:gd name="connsiteX1294" fmla="*/ 274362 w 1012061"/>
                <a:gd name="connsiteY1294" fmla="*/ 201755 h 372939"/>
                <a:gd name="connsiteX1295" fmla="*/ 274855 w 1012061"/>
                <a:gd name="connsiteY1295" fmla="*/ 199883 h 372939"/>
                <a:gd name="connsiteX1296" fmla="*/ 273931 w 1012061"/>
                <a:gd name="connsiteY1296" fmla="*/ 198413 h 372939"/>
                <a:gd name="connsiteX1297" fmla="*/ 273857 w 1012061"/>
                <a:gd name="connsiteY1297" fmla="*/ 196602 h 372939"/>
                <a:gd name="connsiteX1298" fmla="*/ 273687 w 1012061"/>
                <a:gd name="connsiteY1298" fmla="*/ 195809 h 372939"/>
                <a:gd name="connsiteX1299" fmla="*/ 273235 w 1012061"/>
                <a:gd name="connsiteY1299" fmla="*/ 195353 h 372939"/>
                <a:gd name="connsiteX1300" fmla="*/ 274151 w 1012061"/>
                <a:gd name="connsiteY1300" fmla="*/ 194091 h 372939"/>
                <a:gd name="connsiteX1301" fmla="*/ 274002 w 1012061"/>
                <a:gd name="connsiteY1301" fmla="*/ 192688 h 372939"/>
                <a:gd name="connsiteX1302" fmla="*/ 274963 w 1012061"/>
                <a:gd name="connsiteY1302" fmla="*/ 191180 h 372939"/>
                <a:gd name="connsiteX1303" fmla="*/ 275510 w 1012061"/>
                <a:gd name="connsiteY1303" fmla="*/ 187524 h 372939"/>
                <a:gd name="connsiteX1304" fmla="*/ 106255 w 1012061"/>
                <a:gd name="connsiteY1304" fmla="*/ 186284 h 372939"/>
                <a:gd name="connsiteX1305" fmla="*/ 110456 w 1012061"/>
                <a:gd name="connsiteY1305" fmla="*/ 190033 h 372939"/>
                <a:gd name="connsiteX1306" fmla="*/ 110504 w 1012061"/>
                <a:gd name="connsiteY1306" fmla="*/ 191390 h 372939"/>
                <a:gd name="connsiteX1307" fmla="*/ 108925 w 1012061"/>
                <a:gd name="connsiteY1307" fmla="*/ 193168 h 372939"/>
                <a:gd name="connsiteX1308" fmla="*/ 106322 w 1012061"/>
                <a:gd name="connsiteY1308" fmla="*/ 193131 h 372939"/>
                <a:gd name="connsiteX1309" fmla="*/ 105812 w 1012061"/>
                <a:gd name="connsiteY1309" fmla="*/ 192027 h 372939"/>
                <a:gd name="connsiteX1310" fmla="*/ 105922 w 1012061"/>
                <a:gd name="connsiteY1310" fmla="*/ 189361 h 372939"/>
                <a:gd name="connsiteX1311" fmla="*/ 105287 w 1012061"/>
                <a:gd name="connsiteY1311" fmla="*/ 188486 h 372939"/>
                <a:gd name="connsiteX1312" fmla="*/ 105313 w 1012061"/>
                <a:gd name="connsiteY1312" fmla="*/ 188140 h 372939"/>
                <a:gd name="connsiteX1313" fmla="*/ 105723 w 1012061"/>
                <a:gd name="connsiteY1313" fmla="*/ 186619 h 372939"/>
                <a:gd name="connsiteX1314" fmla="*/ 865974 w 1012061"/>
                <a:gd name="connsiteY1314" fmla="*/ 175607 h 372939"/>
                <a:gd name="connsiteX1315" fmla="*/ 866449 w 1012061"/>
                <a:gd name="connsiteY1315" fmla="*/ 175676 h 372939"/>
                <a:gd name="connsiteX1316" fmla="*/ 867069 w 1012061"/>
                <a:gd name="connsiteY1316" fmla="*/ 176140 h 372939"/>
                <a:gd name="connsiteX1317" fmla="*/ 866078 w 1012061"/>
                <a:gd name="connsiteY1317" fmla="*/ 177728 h 372939"/>
                <a:gd name="connsiteX1318" fmla="*/ 865436 w 1012061"/>
                <a:gd name="connsiteY1318" fmla="*/ 178065 h 372939"/>
                <a:gd name="connsiteX1319" fmla="*/ 865212 w 1012061"/>
                <a:gd name="connsiteY1319" fmla="*/ 177101 h 372939"/>
                <a:gd name="connsiteX1320" fmla="*/ 865560 w 1012061"/>
                <a:gd name="connsiteY1320" fmla="*/ 175812 h 372939"/>
                <a:gd name="connsiteX1321" fmla="*/ 97634 w 1012061"/>
                <a:gd name="connsiteY1321" fmla="*/ 175362 h 372939"/>
                <a:gd name="connsiteX1322" fmla="*/ 99058 w 1012061"/>
                <a:gd name="connsiteY1322" fmla="*/ 176397 h 372939"/>
                <a:gd name="connsiteX1323" fmla="*/ 100126 w 1012061"/>
                <a:gd name="connsiteY1323" fmla="*/ 178927 h 372939"/>
                <a:gd name="connsiteX1324" fmla="*/ 101916 w 1012061"/>
                <a:gd name="connsiteY1324" fmla="*/ 181286 h 372939"/>
                <a:gd name="connsiteX1325" fmla="*/ 102521 w 1012061"/>
                <a:gd name="connsiteY1325" fmla="*/ 182585 h 372939"/>
                <a:gd name="connsiteX1326" fmla="*/ 102626 w 1012061"/>
                <a:gd name="connsiteY1326" fmla="*/ 183174 h 372939"/>
                <a:gd name="connsiteX1327" fmla="*/ 99029 w 1012061"/>
                <a:gd name="connsiteY1327" fmla="*/ 181228 h 372939"/>
                <a:gd name="connsiteX1328" fmla="*/ 97302 w 1012061"/>
                <a:gd name="connsiteY1328" fmla="*/ 180692 h 372939"/>
                <a:gd name="connsiteX1329" fmla="*/ 95762 w 1012061"/>
                <a:gd name="connsiteY1329" fmla="*/ 178568 h 372939"/>
                <a:gd name="connsiteX1330" fmla="*/ 96237 w 1012061"/>
                <a:gd name="connsiteY1330" fmla="*/ 177549 h 372939"/>
                <a:gd name="connsiteX1331" fmla="*/ 96302 w 1012061"/>
                <a:gd name="connsiteY1331" fmla="*/ 176127 h 372939"/>
                <a:gd name="connsiteX1332" fmla="*/ 96531 w 1012061"/>
                <a:gd name="connsiteY1332" fmla="*/ 175565 h 372939"/>
                <a:gd name="connsiteX1333" fmla="*/ 679197 w 1012061"/>
                <a:gd name="connsiteY1333" fmla="*/ 174438 h 372939"/>
                <a:gd name="connsiteX1334" fmla="*/ 680083 w 1012061"/>
                <a:gd name="connsiteY1334" fmla="*/ 174459 h 372939"/>
                <a:gd name="connsiteX1335" fmla="*/ 680744 w 1012061"/>
                <a:gd name="connsiteY1335" fmla="*/ 175257 h 372939"/>
                <a:gd name="connsiteX1336" fmla="*/ 680375 w 1012061"/>
                <a:gd name="connsiteY1336" fmla="*/ 178713 h 372939"/>
                <a:gd name="connsiteX1337" fmla="*/ 682359 w 1012061"/>
                <a:gd name="connsiteY1337" fmla="*/ 183088 h 372939"/>
                <a:gd name="connsiteX1338" fmla="*/ 682124 w 1012061"/>
                <a:gd name="connsiteY1338" fmla="*/ 184978 h 372939"/>
                <a:gd name="connsiteX1339" fmla="*/ 681744 w 1012061"/>
                <a:gd name="connsiteY1339" fmla="*/ 185380 h 372939"/>
                <a:gd name="connsiteX1340" fmla="*/ 680418 w 1012061"/>
                <a:gd name="connsiteY1340" fmla="*/ 184185 h 372939"/>
                <a:gd name="connsiteX1341" fmla="*/ 679526 w 1012061"/>
                <a:gd name="connsiteY1341" fmla="*/ 180809 h 372939"/>
                <a:gd name="connsiteX1342" fmla="*/ 678766 w 1012061"/>
                <a:gd name="connsiteY1342" fmla="*/ 179910 h 372939"/>
                <a:gd name="connsiteX1343" fmla="*/ 677874 w 1012061"/>
                <a:gd name="connsiteY1343" fmla="*/ 176702 h 372939"/>
                <a:gd name="connsiteX1344" fmla="*/ 678103 w 1012061"/>
                <a:gd name="connsiteY1344" fmla="*/ 175790 h 372939"/>
                <a:gd name="connsiteX1345" fmla="*/ 631894 w 1012061"/>
                <a:gd name="connsiteY1345" fmla="*/ 172304 h 372939"/>
                <a:gd name="connsiteX1346" fmla="*/ 633326 w 1012061"/>
                <a:gd name="connsiteY1346" fmla="*/ 174010 h 372939"/>
                <a:gd name="connsiteX1347" fmla="*/ 633719 w 1012061"/>
                <a:gd name="connsiteY1347" fmla="*/ 174900 h 372939"/>
                <a:gd name="connsiteX1348" fmla="*/ 632337 w 1012061"/>
                <a:gd name="connsiteY1348" fmla="*/ 174870 h 372939"/>
                <a:gd name="connsiteX1349" fmla="*/ 631756 w 1012061"/>
                <a:gd name="connsiteY1349" fmla="*/ 173196 h 372939"/>
                <a:gd name="connsiteX1350" fmla="*/ 681441 w 1012061"/>
                <a:gd name="connsiteY1350" fmla="*/ 170344 h 372939"/>
                <a:gd name="connsiteX1351" fmla="*/ 688241 w 1012061"/>
                <a:gd name="connsiteY1351" fmla="*/ 171077 h 372939"/>
                <a:gd name="connsiteX1352" fmla="*/ 687276 w 1012061"/>
                <a:gd name="connsiteY1352" fmla="*/ 171874 h 372939"/>
                <a:gd name="connsiteX1353" fmla="*/ 679943 w 1012061"/>
                <a:gd name="connsiteY1353" fmla="*/ 173151 h 372939"/>
                <a:gd name="connsiteX1354" fmla="*/ 677343 w 1012061"/>
                <a:gd name="connsiteY1354" fmla="*/ 172919 h 372939"/>
                <a:gd name="connsiteX1355" fmla="*/ 669390 w 1012061"/>
                <a:gd name="connsiteY1355" fmla="*/ 173669 h 372939"/>
                <a:gd name="connsiteX1356" fmla="*/ 668360 w 1012061"/>
                <a:gd name="connsiteY1356" fmla="*/ 173626 h 372939"/>
                <a:gd name="connsiteX1357" fmla="*/ 668213 w 1012061"/>
                <a:gd name="connsiteY1357" fmla="*/ 172390 h 372939"/>
                <a:gd name="connsiteX1358" fmla="*/ 667356 w 1012061"/>
                <a:gd name="connsiteY1358" fmla="*/ 171524 h 372939"/>
                <a:gd name="connsiteX1359" fmla="*/ 668628 w 1012061"/>
                <a:gd name="connsiteY1359" fmla="*/ 170770 h 372939"/>
                <a:gd name="connsiteX1360" fmla="*/ 670312 w 1012061"/>
                <a:gd name="connsiteY1360" fmla="*/ 170591 h 372939"/>
                <a:gd name="connsiteX1361" fmla="*/ 674722 w 1012061"/>
                <a:gd name="connsiteY1361" fmla="*/ 170876 h 372939"/>
                <a:gd name="connsiteX1362" fmla="*/ 617610 w 1012061"/>
                <a:gd name="connsiteY1362" fmla="*/ 169967 h 372939"/>
                <a:gd name="connsiteX1363" fmla="*/ 617943 w 1012061"/>
                <a:gd name="connsiteY1363" fmla="*/ 170936 h 372939"/>
                <a:gd name="connsiteX1364" fmla="*/ 616312 w 1012061"/>
                <a:gd name="connsiteY1364" fmla="*/ 172759 h 372939"/>
                <a:gd name="connsiteX1365" fmla="*/ 616137 w 1012061"/>
                <a:gd name="connsiteY1365" fmla="*/ 171785 h 372939"/>
                <a:gd name="connsiteX1366" fmla="*/ 616468 w 1012061"/>
                <a:gd name="connsiteY1366" fmla="*/ 170899 h 372939"/>
                <a:gd name="connsiteX1367" fmla="*/ 616923 w 1012061"/>
                <a:gd name="connsiteY1367" fmla="*/ 170277 h 372939"/>
                <a:gd name="connsiteX1368" fmla="*/ 777167 w 1012061"/>
                <a:gd name="connsiteY1368" fmla="*/ 168150 h 372939"/>
                <a:gd name="connsiteX1369" fmla="*/ 777435 w 1012061"/>
                <a:gd name="connsiteY1369" fmla="*/ 169461 h 372939"/>
                <a:gd name="connsiteX1370" fmla="*/ 778752 w 1012061"/>
                <a:gd name="connsiteY1370" fmla="*/ 170673 h 372939"/>
                <a:gd name="connsiteX1371" fmla="*/ 778294 w 1012061"/>
                <a:gd name="connsiteY1371" fmla="*/ 172559 h 372939"/>
                <a:gd name="connsiteX1372" fmla="*/ 777770 w 1012061"/>
                <a:gd name="connsiteY1372" fmla="*/ 172842 h 372939"/>
                <a:gd name="connsiteX1373" fmla="*/ 778052 w 1012061"/>
                <a:gd name="connsiteY1373" fmla="*/ 173704 h 372939"/>
                <a:gd name="connsiteX1374" fmla="*/ 778616 w 1012061"/>
                <a:gd name="connsiteY1374" fmla="*/ 174360 h 372939"/>
                <a:gd name="connsiteX1375" fmla="*/ 777595 w 1012061"/>
                <a:gd name="connsiteY1375" fmla="*/ 174816 h 372939"/>
                <a:gd name="connsiteX1376" fmla="*/ 776850 w 1012061"/>
                <a:gd name="connsiteY1376" fmla="*/ 174593 h 372939"/>
                <a:gd name="connsiteX1377" fmla="*/ 775638 w 1012061"/>
                <a:gd name="connsiteY1377" fmla="*/ 175203 h 372939"/>
                <a:gd name="connsiteX1378" fmla="*/ 774839 w 1012061"/>
                <a:gd name="connsiteY1378" fmla="*/ 176051 h 372939"/>
                <a:gd name="connsiteX1379" fmla="*/ 772306 w 1012061"/>
                <a:gd name="connsiteY1379" fmla="*/ 176408 h 372939"/>
                <a:gd name="connsiteX1380" fmla="*/ 771419 w 1012061"/>
                <a:gd name="connsiteY1380" fmla="*/ 175622 h 372939"/>
                <a:gd name="connsiteX1381" fmla="*/ 766846 w 1012061"/>
                <a:gd name="connsiteY1381" fmla="*/ 174695 h 372939"/>
                <a:gd name="connsiteX1382" fmla="*/ 763923 w 1012061"/>
                <a:gd name="connsiteY1382" fmla="*/ 172660 h 372939"/>
                <a:gd name="connsiteX1383" fmla="*/ 763554 w 1012061"/>
                <a:gd name="connsiteY1383" fmla="*/ 172051 h 372939"/>
                <a:gd name="connsiteX1384" fmla="*/ 769214 w 1012061"/>
                <a:gd name="connsiteY1384" fmla="*/ 169662 h 372939"/>
                <a:gd name="connsiteX1385" fmla="*/ 771693 w 1012061"/>
                <a:gd name="connsiteY1385" fmla="*/ 169033 h 372939"/>
                <a:gd name="connsiteX1386" fmla="*/ 773768 w 1012061"/>
                <a:gd name="connsiteY1386" fmla="*/ 169072 h 372939"/>
                <a:gd name="connsiteX1387" fmla="*/ 776385 w 1012061"/>
                <a:gd name="connsiteY1387" fmla="*/ 168182 h 372939"/>
                <a:gd name="connsiteX1388" fmla="*/ 651363 w 1012061"/>
                <a:gd name="connsiteY1388" fmla="*/ 166942 h 372939"/>
                <a:gd name="connsiteX1389" fmla="*/ 658120 w 1012061"/>
                <a:gd name="connsiteY1389" fmla="*/ 168480 h 372939"/>
                <a:gd name="connsiteX1390" fmla="*/ 660187 w 1012061"/>
                <a:gd name="connsiteY1390" fmla="*/ 169267 h 372939"/>
                <a:gd name="connsiteX1391" fmla="*/ 660914 w 1012061"/>
                <a:gd name="connsiteY1391" fmla="*/ 169262 h 372939"/>
                <a:gd name="connsiteX1392" fmla="*/ 661597 w 1012061"/>
                <a:gd name="connsiteY1392" fmla="*/ 168344 h 372939"/>
                <a:gd name="connsiteX1393" fmla="*/ 662018 w 1012061"/>
                <a:gd name="connsiteY1393" fmla="*/ 168195 h 372939"/>
                <a:gd name="connsiteX1394" fmla="*/ 662948 w 1012061"/>
                <a:gd name="connsiteY1394" fmla="*/ 168645 h 372939"/>
                <a:gd name="connsiteX1395" fmla="*/ 663164 w 1012061"/>
                <a:gd name="connsiteY1395" fmla="*/ 170135 h 372939"/>
                <a:gd name="connsiteX1396" fmla="*/ 664503 w 1012061"/>
                <a:gd name="connsiteY1396" fmla="*/ 169927 h 372939"/>
                <a:gd name="connsiteX1397" fmla="*/ 665546 w 1012061"/>
                <a:gd name="connsiteY1397" fmla="*/ 170437 h 372939"/>
                <a:gd name="connsiteX1398" fmla="*/ 665874 w 1012061"/>
                <a:gd name="connsiteY1398" fmla="*/ 170794 h 372939"/>
                <a:gd name="connsiteX1399" fmla="*/ 665739 w 1012061"/>
                <a:gd name="connsiteY1399" fmla="*/ 172278 h 372939"/>
                <a:gd name="connsiteX1400" fmla="*/ 661774 w 1012061"/>
                <a:gd name="connsiteY1400" fmla="*/ 172539 h 372939"/>
                <a:gd name="connsiteX1401" fmla="*/ 658943 w 1012061"/>
                <a:gd name="connsiteY1401" fmla="*/ 173736 h 372939"/>
                <a:gd name="connsiteX1402" fmla="*/ 655134 w 1012061"/>
                <a:gd name="connsiteY1402" fmla="*/ 172660 h 372939"/>
                <a:gd name="connsiteX1403" fmla="*/ 650815 w 1012061"/>
                <a:gd name="connsiteY1403" fmla="*/ 174514 h 372939"/>
                <a:gd name="connsiteX1404" fmla="*/ 648193 w 1012061"/>
                <a:gd name="connsiteY1404" fmla="*/ 175148 h 372939"/>
                <a:gd name="connsiteX1405" fmla="*/ 645920 w 1012061"/>
                <a:gd name="connsiteY1405" fmla="*/ 175110 h 372939"/>
                <a:gd name="connsiteX1406" fmla="*/ 643972 w 1012061"/>
                <a:gd name="connsiteY1406" fmla="*/ 171874 h 372939"/>
                <a:gd name="connsiteX1407" fmla="*/ 645103 w 1012061"/>
                <a:gd name="connsiteY1407" fmla="*/ 168083 h 372939"/>
                <a:gd name="connsiteX1408" fmla="*/ 645915 w 1012061"/>
                <a:gd name="connsiteY1408" fmla="*/ 167459 h 372939"/>
                <a:gd name="connsiteX1409" fmla="*/ 647362 w 1012061"/>
                <a:gd name="connsiteY1409" fmla="*/ 167128 h 372939"/>
                <a:gd name="connsiteX1410" fmla="*/ 890401 w 1012061"/>
                <a:gd name="connsiteY1410" fmla="*/ 165966 h 372939"/>
                <a:gd name="connsiteX1411" fmla="*/ 899134 w 1012061"/>
                <a:gd name="connsiteY1411" fmla="*/ 167076 h 372939"/>
                <a:gd name="connsiteX1412" fmla="*/ 901500 w 1012061"/>
                <a:gd name="connsiteY1412" fmla="*/ 166934 h 372939"/>
                <a:gd name="connsiteX1413" fmla="*/ 906484 w 1012061"/>
                <a:gd name="connsiteY1413" fmla="*/ 167364 h 372939"/>
                <a:gd name="connsiteX1414" fmla="*/ 910643 w 1012061"/>
                <a:gd name="connsiteY1414" fmla="*/ 168837 h 372939"/>
                <a:gd name="connsiteX1415" fmla="*/ 917916 w 1012061"/>
                <a:gd name="connsiteY1415" fmla="*/ 169111 h 372939"/>
                <a:gd name="connsiteX1416" fmla="*/ 920086 w 1012061"/>
                <a:gd name="connsiteY1416" fmla="*/ 169550 h 372939"/>
                <a:gd name="connsiteX1417" fmla="*/ 921764 w 1012061"/>
                <a:gd name="connsiteY1417" fmla="*/ 170565 h 372939"/>
                <a:gd name="connsiteX1418" fmla="*/ 917695 w 1012061"/>
                <a:gd name="connsiteY1418" fmla="*/ 171405 h 372939"/>
                <a:gd name="connsiteX1419" fmla="*/ 915778 w 1012061"/>
                <a:gd name="connsiteY1419" fmla="*/ 172187 h 372939"/>
                <a:gd name="connsiteX1420" fmla="*/ 912217 w 1012061"/>
                <a:gd name="connsiteY1420" fmla="*/ 172571 h 372939"/>
                <a:gd name="connsiteX1421" fmla="*/ 909238 w 1012061"/>
                <a:gd name="connsiteY1421" fmla="*/ 172174 h 372939"/>
                <a:gd name="connsiteX1422" fmla="*/ 907071 w 1012061"/>
                <a:gd name="connsiteY1422" fmla="*/ 172643 h 372939"/>
                <a:gd name="connsiteX1423" fmla="*/ 906285 w 1012061"/>
                <a:gd name="connsiteY1423" fmla="*/ 171880 h 372939"/>
                <a:gd name="connsiteX1424" fmla="*/ 903116 w 1012061"/>
                <a:gd name="connsiteY1424" fmla="*/ 171105 h 372939"/>
                <a:gd name="connsiteX1425" fmla="*/ 899058 w 1012061"/>
                <a:gd name="connsiteY1425" fmla="*/ 169513 h 372939"/>
                <a:gd name="connsiteX1426" fmla="*/ 890697 w 1012061"/>
                <a:gd name="connsiteY1426" fmla="*/ 167659 h 372939"/>
                <a:gd name="connsiteX1427" fmla="*/ 890302 w 1012061"/>
                <a:gd name="connsiteY1427" fmla="*/ 166506 h 372939"/>
                <a:gd name="connsiteX1428" fmla="*/ 302286 w 1012061"/>
                <a:gd name="connsiteY1428" fmla="*/ 164817 h 372939"/>
                <a:gd name="connsiteX1429" fmla="*/ 304045 w 1012061"/>
                <a:gd name="connsiteY1429" fmla="*/ 165353 h 372939"/>
                <a:gd name="connsiteX1430" fmla="*/ 303964 w 1012061"/>
                <a:gd name="connsiteY1430" fmla="*/ 166582 h 372939"/>
                <a:gd name="connsiteX1431" fmla="*/ 301415 w 1012061"/>
                <a:gd name="connsiteY1431" fmla="*/ 167511 h 372939"/>
                <a:gd name="connsiteX1432" fmla="*/ 300660 w 1012061"/>
                <a:gd name="connsiteY1432" fmla="*/ 165435 h 372939"/>
                <a:gd name="connsiteX1433" fmla="*/ 236675 w 1012061"/>
                <a:gd name="connsiteY1433" fmla="*/ 164046 h 372939"/>
                <a:gd name="connsiteX1434" fmla="*/ 238243 w 1012061"/>
                <a:gd name="connsiteY1434" fmla="*/ 164802 h 372939"/>
                <a:gd name="connsiteX1435" fmla="*/ 239268 w 1012061"/>
                <a:gd name="connsiteY1435" fmla="*/ 165996 h 372939"/>
                <a:gd name="connsiteX1436" fmla="*/ 239675 w 1012061"/>
                <a:gd name="connsiteY1436" fmla="*/ 167683 h 372939"/>
                <a:gd name="connsiteX1437" fmla="*/ 240434 w 1012061"/>
                <a:gd name="connsiteY1437" fmla="*/ 169206 h 372939"/>
                <a:gd name="connsiteX1438" fmla="*/ 241475 w 1012061"/>
                <a:gd name="connsiteY1438" fmla="*/ 170575 h 372939"/>
                <a:gd name="connsiteX1439" fmla="*/ 242240 w 1012061"/>
                <a:gd name="connsiteY1439" fmla="*/ 172053 h 372939"/>
                <a:gd name="connsiteX1440" fmla="*/ 243281 w 1012061"/>
                <a:gd name="connsiteY1440" fmla="*/ 179169 h 372939"/>
                <a:gd name="connsiteX1441" fmla="*/ 246755 w 1012061"/>
                <a:gd name="connsiteY1441" fmla="*/ 185279 h 372939"/>
                <a:gd name="connsiteX1442" fmla="*/ 256761 w 1012061"/>
                <a:gd name="connsiteY1442" fmla="*/ 187679 h 372939"/>
                <a:gd name="connsiteX1443" fmla="*/ 255123 w 1012061"/>
                <a:gd name="connsiteY1443" fmla="*/ 188667 h 372939"/>
                <a:gd name="connsiteX1444" fmla="*/ 254289 w 1012061"/>
                <a:gd name="connsiteY1444" fmla="*/ 189553 h 372939"/>
                <a:gd name="connsiteX1445" fmla="*/ 253674 w 1012061"/>
                <a:gd name="connsiteY1445" fmla="*/ 190571 h 372939"/>
                <a:gd name="connsiteX1446" fmla="*/ 252196 w 1012061"/>
                <a:gd name="connsiteY1446" fmla="*/ 194808 h 372939"/>
                <a:gd name="connsiteX1447" fmla="*/ 252341 w 1012061"/>
                <a:gd name="connsiteY1447" fmla="*/ 195708 h 372939"/>
                <a:gd name="connsiteX1448" fmla="*/ 253205 w 1012061"/>
                <a:gd name="connsiteY1448" fmla="*/ 197147 h 372939"/>
                <a:gd name="connsiteX1449" fmla="*/ 253416 w 1012061"/>
                <a:gd name="connsiteY1449" fmla="*/ 198709 h 372939"/>
                <a:gd name="connsiteX1450" fmla="*/ 252165 w 1012061"/>
                <a:gd name="connsiteY1450" fmla="*/ 198701 h 372939"/>
                <a:gd name="connsiteX1451" fmla="*/ 250754 w 1012061"/>
                <a:gd name="connsiteY1451" fmla="*/ 198351 h 372939"/>
                <a:gd name="connsiteX1452" fmla="*/ 249633 w 1012061"/>
                <a:gd name="connsiteY1452" fmla="*/ 197763 h 372939"/>
                <a:gd name="connsiteX1453" fmla="*/ 248586 w 1012061"/>
                <a:gd name="connsiteY1453" fmla="*/ 196994 h 372939"/>
                <a:gd name="connsiteX1454" fmla="*/ 247450 w 1012061"/>
                <a:gd name="connsiteY1454" fmla="*/ 196382 h 372939"/>
                <a:gd name="connsiteX1455" fmla="*/ 246217 w 1012061"/>
                <a:gd name="connsiteY1455" fmla="*/ 195986 h 372939"/>
                <a:gd name="connsiteX1456" fmla="*/ 244194 w 1012061"/>
                <a:gd name="connsiteY1456" fmla="*/ 194776 h 372939"/>
                <a:gd name="connsiteX1457" fmla="*/ 241447 w 1012061"/>
                <a:gd name="connsiteY1457" fmla="*/ 193920 h 372939"/>
                <a:gd name="connsiteX1458" fmla="*/ 238636 w 1012061"/>
                <a:gd name="connsiteY1458" fmla="*/ 193246 h 372939"/>
                <a:gd name="connsiteX1459" fmla="*/ 237276 w 1012061"/>
                <a:gd name="connsiteY1459" fmla="*/ 191446 h 372939"/>
                <a:gd name="connsiteX1460" fmla="*/ 236630 w 1012061"/>
                <a:gd name="connsiteY1460" fmla="*/ 189227 h 372939"/>
                <a:gd name="connsiteX1461" fmla="*/ 237316 w 1012061"/>
                <a:gd name="connsiteY1461" fmla="*/ 185912 h 372939"/>
                <a:gd name="connsiteX1462" fmla="*/ 236621 w 1012061"/>
                <a:gd name="connsiteY1462" fmla="*/ 184994 h 372939"/>
                <a:gd name="connsiteX1463" fmla="*/ 235621 w 1012061"/>
                <a:gd name="connsiteY1463" fmla="*/ 184185 h 372939"/>
                <a:gd name="connsiteX1464" fmla="*/ 234393 w 1012061"/>
                <a:gd name="connsiteY1464" fmla="*/ 181796 h 372939"/>
                <a:gd name="connsiteX1465" fmla="*/ 233928 w 1012061"/>
                <a:gd name="connsiteY1465" fmla="*/ 179007 h 372939"/>
                <a:gd name="connsiteX1466" fmla="*/ 232146 w 1012061"/>
                <a:gd name="connsiteY1466" fmla="*/ 177929 h 372939"/>
                <a:gd name="connsiteX1467" fmla="*/ 229797 w 1012061"/>
                <a:gd name="connsiteY1467" fmla="*/ 177277 h 372939"/>
                <a:gd name="connsiteX1468" fmla="*/ 228774 w 1012061"/>
                <a:gd name="connsiteY1468" fmla="*/ 176743 h 372939"/>
                <a:gd name="connsiteX1469" fmla="*/ 224133 w 1012061"/>
                <a:gd name="connsiteY1469" fmla="*/ 177763 h 372939"/>
                <a:gd name="connsiteX1470" fmla="*/ 223021 w 1012061"/>
                <a:gd name="connsiteY1470" fmla="*/ 177523 h 372939"/>
                <a:gd name="connsiteX1471" fmla="*/ 222028 w 1012061"/>
                <a:gd name="connsiteY1471" fmla="*/ 176751 h 372939"/>
                <a:gd name="connsiteX1472" fmla="*/ 219501 w 1012061"/>
                <a:gd name="connsiteY1472" fmla="*/ 175937 h 372939"/>
                <a:gd name="connsiteX1473" fmla="*/ 219596 w 1012061"/>
                <a:gd name="connsiteY1473" fmla="*/ 174390 h 372939"/>
                <a:gd name="connsiteX1474" fmla="*/ 220776 w 1012061"/>
                <a:gd name="connsiteY1474" fmla="*/ 173157 h 372939"/>
                <a:gd name="connsiteX1475" fmla="*/ 223544 w 1012061"/>
                <a:gd name="connsiteY1475" fmla="*/ 171911 h 372939"/>
                <a:gd name="connsiteX1476" fmla="*/ 224839 w 1012061"/>
                <a:gd name="connsiteY1476" fmla="*/ 170863 h 372939"/>
                <a:gd name="connsiteX1477" fmla="*/ 225098 w 1012061"/>
                <a:gd name="connsiteY1477" fmla="*/ 169483 h 372939"/>
                <a:gd name="connsiteX1478" fmla="*/ 224606 w 1012061"/>
                <a:gd name="connsiteY1478" fmla="*/ 168472 h 372939"/>
                <a:gd name="connsiteX1479" fmla="*/ 224803 w 1012061"/>
                <a:gd name="connsiteY1479" fmla="*/ 167416 h 372939"/>
                <a:gd name="connsiteX1480" fmla="*/ 225677 w 1012061"/>
                <a:gd name="connsiteY1480" fmla="*/ 166392 h 372939"/>
                <a:gd name="connsiteX1481" fmla="*/ 226713 w 1012061"/>
                <a:gd name="connsiteY1481" fmla="*/ 165588 h 372939"/>
                <a:gd name="connsiteX1482" fmla="*/ 229497 w 1012061"/>
                <a:gd name="connsiteY1482" fmla="*/ 164528 h 372939"/>
                <a:gd name="connsiteX1483" fmla="*/ 230712 w 1012061"/>
                <a:gd name="connsiteY1483" fmla="*/ 166379 h 372939"/>
                <a:gd name="connsiteX1484" fmla="*/ 231313 w 1012061"/>
                <a:gd name="connsiteY1484" fmla="*/ 167925 h 372939"/>
                <a:gd name="connsiteX1485" fmla="*/ 232050 w 1012061"/>
                <a:gd name="connsiteY1485" fmla="*/ 169046 h 372939"/>
                <a:gd name="connsiteX1486" fmla="*/ 233235 w 1012061"/>
                <a:gd name="connsiteY1486" fmla="*/ 167446 h 372939"/>
                <a:gd name="connsiteX1487" fmla="*/ 232481 w 1012061"/>
                <a:gd name="connsiteY1487" fmla="*/ 164685 h 372939"/>
                <a:gd name="connsiteX1488" fmla="*/ 234597 w 1012061"/>
                <a:gd name="connsiteY1488" fmla="*/ 164070 h 372939"/>
                <a:gd name="connsiteX1489" fmla="*/ 626256 w 1012061"/>
                <a:gd name="connsiteY1489" fmla="*/ 163998 h 372939"/>
                <a:gd name="connsiteX1490" fmla="*/ 626699 w 1012061"/>
                <a:gd name="connsiteY1490" fmla="*/ 164117 h 372939"/>
                <a:gd name="connsiteX1491" fmla="*/ 626981 w 1012061"/>
                <a:gd name="connsiteY1491" fmla="*/ 165083 h 372939"/>
                <a:gd name="connsiteX1492" fmla="*/ 627439 w 1012061"/>
                <a:gd name="connsiteY1492" fmla="*/ 165947 h 372939"/>
                <a:gd name="connsiteX1493" fmla="*/ 628200 w 1012061"/>
                <a:gd name="connsiteY1493" fmla="*/ 166754 h 372939"/>
                <a:gd name="connsiteX1494" fmla="*/ 627783 w 1012061"/>
                <a:gd name="connsiteY1494" fmla="*/ 168454 h 372939"/>
                <a:gd name="connsiteX1495" fmla="*/ 626258 w 1012061"/>
                <a:gd name="connsiteY1495" fmla="*/ 168599 h 372939"/>
                <a:gd name="connsiteX1496" fmla="*/ 625239 w 1012061"/>
                <a:gd name="connsiteY1496" fmla="*/ 167949 h 372939"/>
                <a:gd name="connsiteX1497" fmla="*/ 625330 w 1012061"/>
                <a:gd name="connsiteY1497" fmla="*/ 164707 h 372939"/>
                <a:gd name="connsiteX1498" fmla="*/ 717318 w 1012061"/>
                <a:gd name="connsiteY1498" fmla="*/ 160230 h 372939"/>
                <a:gd name="connsiteX1499" fmla="*/ 719447 w 1012061"/>
                <a:gd name="connsiteY1499" fmla="*/ 160845 h 372939"/>
                <a:gd name="connsiteX1500" fmla="*/ 723031 w 1012061"/>
                <a:gd name="connsiteY1500" fmla="*/ 162588 h 372939"/>
                <a:gd name="connsiteX1501" fmla="*/ 725856 w 1012061"/>
                <a:gd name="connsiteY1501" fmla="*/ 164636 h 372939"/>
                <a:gd name="connsiteX1502" fmla="*/ 728419 w 1012061"/>
                <a:gd name="connsiteY1502" fmla="*/ 166230 h 372939"/>
                <a:gd name="connsiteX1503" fmla="*/ 728514 w 1012061"/>
                <a:gd name="connsiteY1503" fmla="*/ 167487 h 372939"/>
                <a:gd name="connsiteX1504" fmla="*/ 727160 w 1012061"/>
                <a:gd name="connsiteY1504" fmla="*/ 168385 h 372939"/>
                <a:gd name="connsiteX1505" fmla="*/ 726484 w 1012061"/>
                <a:gd name="connsiteY1505" fmla="*/ 168634 h 372939"/>
                <a:gd name="connsiteX1506" fmla="*/ 723223 w 1012061"/>
                <a:gd name="connsiteY1506" fmla="*/ 168031 h 372939"/>
                <a:gd name="connsiteX1507" fmla="*/ 719404 w 1012061"/>
                <a:gd name="connsiteY1507" fmla="*/ 168156 h 372939"/>
                <a:gd name="connsiteX1508" fmla="*/ 715437 w 1012061"/>
                <a:gd name="connsiteY1508" fmla="*/ 168990 h 372939"/>
                <a:gd name="connsiteX1509" fmla="*/ 713137 w 1012061"/>
                <a:gd name="connsiteY1509" fmla="*/ 168286 h 372939"/>
                <a:gd name="connsiteX1510" fmla="*/ 711690 w 1012061"/>
                <a:gd name="connsiteY1510" fmla="*/ 167139 h 372939"/>
                <a:gd name="connsiteX1511" fmla="*/ 711753 w 1012061"/>
                <a:gd name="connsiteY1511" fmla="*/ 165923 h 372939"/>
                <a:gd name="connsiteX1512" fmla="*/ 713118 w 1012061"/>
                <a:gd name="connsiteY1512" fmla="*/ 162912 h 372939"/>
                <a:gd name="connsiteX1513" fmla="*/ 716104 w 1012061"/>
                <a:gd name="connsiteY1513" fmla="*/ 160636 h 372939"/>
                <a:gd name="connsiteX1514" fmla="*/ 618070 w 1012061"/>
                <a:gd name="connsiteY1514" fmla="*/ 156362 h 372939"/>
                <a:gd name="connsiteX1515" fmla="*/ 619264 w 1012061"/>
                <a:gd name="connsiteY1515" fmla="*/ 156666 h 372939"/>
                <a:gd name="connsiteX1516" fmla="*/ 619750 w 1012061"/>
                <a:gd name="connsiteY1516" fmla="*/ 158046 h 372939"/>
                <a:gd name="connsiteX1517" fmla="*/ 618949 w 1012061"/>
                <a:gd name="connsiteY1517" fmla="*/ 159241 h 372939"/>
                <a:gd name="connsiteX1518" fmla="*/ 619827 w 1012061"/>
                <a:gd name="connsiteY1518" fmla="*/ 161489 h 372939"/>
                <a:gd name="connsiteX1519" fmla="*/ 622056 w 1012061"/>
                <a:gd name="connsiteY1519" fmla="*/ 158495 h 372939"/>
                <a:gd name="connsiteX1520" fmla="*/ 624183 w 1012061"/>
                <a:gd name="connsiteY1520" fmla="*/ 158115 h 372939"/>
                <a:gd name="connsiteX1521" fmla="*/ 625391 w 1012061"/>
                <a:gd name="connsiteY1521" fmla="*/ 158612 h 372939"/>
                <a:gd name="connsiteX1522" fmla="*/ 626219 w 1012061"/>
                <a:gd name="connsiteY1522" fmla="*/ 159204 h 372939"/>
                <a:gd name="connsiteX1523" fmla="*/ 626670 w 1012061"/>
                <a:gd name="connsiteY1523" fmla="*/ 160340 h 372939"/>
                <a:gd name="connsiteX1524" fmla="*/ 625889 w 1012061"/>
                <a:gd name="connsiteY1524" fmla="*/ 162772 h 372939"/>
                <a:gd name="connsiteX1525" fmla="*/ 624492 w 1012061"/>
                <a:gd name="connsiteY1525" fmla="*/ 163910 h 372939"/>
                <a:gd name="connsiteX1526" fmla="*/ 622685 w 1012061"/>
                <a:gd name="connsiteY1526" fmla="*/ 164094 h 372939"/>
                <a:gd name="connsiteX1527" fmla="*/ 621836 w 1012061"/>
                <a:gd name="connsiteY1527" fmla="*/ 162677 h 372939"/>
                <a:gd name="connsiteX1528" fmla="*/ 620648 w 1012061"/>
                <a:gd name="connsiteY1528" fmla="*/ 162547 h 372939"/>
                <a:gd name="connsiteX1529" fmla="*/ 619819 w 1012061"/>
                <a:gd name="connsiteY1529" fmla="*/ 165638 h 372939"/>
                <a:gd name="connsiteX1530" fmla="*/ 619445 w 1012061"/>
                <a:gd name="connsiteY1530" fmla="*/ 166111 h 372939"/>
                <a:gd name="connsiteX1531" fmla="*/ 618394 w 1012061"/>
                <a:gd name="connsiteY1531" fmla="*/ 166502 h 372939"/>
                <a:gd name="connsiteX1532" fmla="*/ 617452 w 1012061"/>
                <a:gd name="connsiteY1532" fmla="*/ 165649 h 372939"/>
                <a:gd name="connsiteX1533" fmla="*/ 617288 w 1012061"/>
                <a:gd name="connsiteY1533" fmla="*/ 165176 h 372939"/>
                <a:gd name="connsiteX1534" fmla="*/ 618614 w 1012061"/>
                <a:gd name="connsiteY1534" fmla="*/ 163776 h 372939"/>
                <a:gd name="connsiteX1535" fmla="*/ 617895 w 1012061"/>
                <a:gd name="connsiteY1535" fmla="*/ 159612 h 372939"/>
                <a:gd name="connsiteX1536" fmla="*/ 616896 w 1012061"/>
                <a:gd name="connsiteY1536" fmla="*/ 160394 h 372939"/>
                <a:gd name="connsiteX1537" fmla="*/ 614224 w 1012061"/>
                <a:gd name="connsiteY1537" fmla="*/ 164171 h 372939"/>
                <a:gd name="connsiteX1538" fmla="*/ 612146 w 1012061"/>
                <a:gd name="connsiteY1538" fmla="*/ 165865 h 372939"/>
                <a:gd name="connsiteX1539" fmla="*/ 611440 w 1012061"/>
                <a:gd name="connsiteY1539" fmla="*/ 165003 h 372939"/>
                <a:gd name="connsiteX1540" fmla="*/ 610387 w 1012061"/>
                <a:gd name="connsiteY1540" fmla="*/ 162435 h 372939"/>
                <a:gd name="connsiteX1541" fmla="*/ 610860 w 1012061"/>
                <a:gd name="connsiteY1541" fmla="*/ 159137 h 372939"/>
                <a:gd name="connsiteX1542" fmla="*/ 612536 w 1012061"/>
                <a:gd name="connsiteY1542" fmla="*/ 156908 h 372939"/>
                <a:gd name="connsiteX1543" fmla="*/ 613960 w 1012061"/>
                <a:gd name="connsiteY1543" fmla="*/ 157061 h 372939"/>
                <a:gd name="connsiteX1544" fmla="*/ 318592 w 1012061"/>
                <a:gd name="connsiteY1544" fmla="*/ 152416 h 372939"/>
                <a:gd name="connsiteX1545" fmla="*/ 320467 w 1012061"/>
                <a:gd name="connsiteY1545" fmla="*/ 153040 h 372939"/>
                <a:gd name="connsiteX1546" fmla="*/ 321437 w 1012061"/>
                <a:gd name="connsiteY1546" fmla="*/ 153749 h 372939"/>
                <a:gd name="connsiteX1547" fmla="*/ 321818 w 1012061"/>
                <a:gd name="connsiteY1547" fmla="*/ 155204 h 372939"/>
                <a:gd name="connsiteX1548" fmla="*/ 321601 w 1012061"/>
                <a:gd name="connsiteY1548" fmla="*/ 156085 h 372939"/>
                <a:gd name="connsiteX1549" fmla="*/ 320705 w 1012061"/>
                <a:gd name="connsiteY1549" fmla="*/ 156874 h 372939"/>
                <a:gd name="connsiteX1550" fmla="*/ 316296 w 1012061"/>
                <a:gd name="connsiteY1550" fmla="*/ 159132 h 372939"/>
                <a:gd name="connsiteX1551" fmla="*/ 315253 w 1012061"/>
                <a:gd name="connsiteY1551" fmla="*/ 159016 h 372939"/>
                <a:gd name="connsiteX1552" fmla="*/ 314467 w 1012061"/>
                <a:gd name="connsiteY1552" fmla="*/ 158212 h 372939"/>
                <a:gd name="connsiteX1553" fmla="*/ 314957 w 1012061"/>
                <a:gd name="connsiteY1553" fmla="*/ 153854 h 372939"/>
                <a:gd name="connsiteX1554" fmla="*/ 315525 w 1012061"/>
                <a:gd name="connsiteY1554" fmla="*/ 152554 h 372939"/>
                <a:gd name="connsiteX1555" fmla="*/ 877466 w 1012061"/>
                <a:gd name="connsiteY1555" fmla="*/ 151518 h 372939"/>
                <a:gd name="connsiteX1556" fmla="*/ 878606 w 1012061"/>
                <a:gd name="connsiteY1556" fmla="*/ 152411 h 372939"/>
                <a:gd name="connsiteX1557" fmla="*/ 878958 w 1012061"/>
                <a:gd name="connsiteY1557" fmla="*/ 153554 h 372939"/>
                <a:gd name="connsiteX1558" fmla="*/ 879833 w 1012061"/>
                <a:gd name="connsiteY1558" fmla="*/ 153632 h 372939"/>
                <a:gd name="connsiteX1559" fmla="*/ 879148 w 1012061"/>
                <a:gd name="connsiteY1559" fmla="*/ 155444 h 372939"/>
                <a:gd name="connsiteX1560" fmla="*/ 878088 w 1012061"/>
                <a:gd name="connsiteY1560" fmla="*/ 155848 h 372939"/>
                <a:gd name="connsiteX1561" fmla="*/ 876857 w 1012061"/>
                <a:gd name="connsiteY1561" fmla="*/ 155403 h 372939"/>
                <a:gd name="connsiteX1562" fmla="*/ 875689 w 1012061"/>
                <a:gd name="connsiteY1562" fmla="*/ 153709 h 372939"/>
                <a:gd name="connsiteX1563" fmla="*/ 876110 w 1012061"/>
                <a:gd name="connsiteY1563" fmla="*/ 152410 h 372939"/>
                <a:gd name="connsiteX1564" fmla="*/ 80984 w 1012061"/>
                <a:gd name="connsiteY1564" fmla="*/ 151012 h 372939"/>
                <a:gd name="connsiteX1565" fmla="*/ 82389 w 1012061"/>
                <a:gd name="connsiteY1565" fmla="*/ 151861 h 372939"/>
                <a:gd name="connsiteX1566" fmla="*/ 82880 w 1012061"/>
                <a:gd name="connsiteY1566" fmla="*/ 154122 h 372939"/>
                <a:gd name="connsiteX1567" fmla="*/ 85317 w 1012061"/>
                <a:gd name="connsiteY1567" fmla="*/ 158202 h 372939"/>
                <a:gd name="connsiteX1568" fmla="*/ 86123 w 1012061"/>
                <a:gd name="connsiteY1568" fmla="*/ 160400 h 372939"/>
                <a:gd name="connsiteX1569" fmla="*/ 86729 w 1012061"/>
                <a:gd name="connsiteY1569" fmla="*/ 161374 h 372939"/>
                <a:gd name="connsiteX1570" fmla="*/ 86984 w 1012061"/>
                <a:gd name="connsiteY1570" fmla="*/ 162133 h 372939"/>
                <a:gd name="connsiteX1571" fmla="*/ 86768 w 1012061"/>
                <a:gd name="connsiteY1571" fmla="*/ 162662 h 372939"/>
                <a:gd name="connsiteX1572" fmla="*/ 88530 w 1012061"/>
                <a:gd name="connsiteY1572" fmla="*/ 165247 h 372939"/>
                <a:gd name="connsiteX1573" fmla="*/ 89789 w 1012061"/>
                <a:gd name="connsiteY1573" fmla="*/ 166761 h 372939"/>
                <a:gd name="connsiteX1574" fmla="*/ 89882 w 1012061"/>
                <a:gd name="connsiteY1574" fmla="*/ 169210 h 372939"/>
                <a:gd name="connsiteX1575" fmla="*/ 87503 w 1012061"/>
                <a:gd name="connsiteY1575" fmla="*/ 170083 h 372939"/>
                <a:gd name="connsiteX1576" fmla="*/ 85466 w 1012061"/>
                <a:gd name="connsiteY1576" fmla="*/ 170206 h 372939"/>
                <a:gd name="connsiteX1577" fmla="*/ 81100 w 1012061"/>
                <a:gd name="connsiteY1577" fmla="*/ 167556 h 372939"/>
                <a:gd name="connsiteX1578" fmla="*/ 80070 w 1012061"/>
                <a:gd name="connsiteY1578" fmla="*/ 166368 h 372939"/>
                <a:gd name="connsiteX1579" fmla="*/ 79817 w 1012061"/>
                <a:gd name="connsiteY1579" fmla="*/ 164782 h 372939"/>
                <a:gd name="connsiteX1580" fmla="*/ 75630 w 1012061"/>
                <a:gd name="connsiteY1580" fmla="*/ 158657 h 372939"/>
                <a:gd name="connsiteX1581" fmla="*/ 75073 w 1012061"/>
                <a:gd name="connsiteY1581" fmla="*/ 157253 h 372939"/>
                <a:gd name="connsiteX1582" fmla="*/ 76716 w 1012061"/>
                <a:gd name="connsiteY1582" fmla="*/ 152226 h 372939"/>
                <a:gd name="connsiteX1583" fmla="*/ 789193 w 1012061"/>
                <a:gd name="connsiteY1583" fmla="*/ 150446 h 372939"/>
                <a:gd name="connsiteX1584" fmla="*/ 790128 w 1012061"/>
                <a:gd name="connsiteY1584" fmla="*/ 151006 h 372939"/>
                <a:gd name="connsiteX1585" fmla="*/ 792196 w 1012061"/>
                <a:gd name="connsiteY1585" fmla="*/ 151055 h 372939"/>
                <a:gd name="connsiteX1586" fmla="*/ 793101 w 1012061"/>
                <a:gd name="connsiteY1586" fmla="*/ 152176 h 372939"/>
                <a:gd name="connsiteX1587" fmla="*/ 792488 w 1012061"/>
                <a:gd name="connsiteY1587" fmla="*/ 157040 h 372939"/>
                <a:gd name="connsiteX1588" fmla="*/ 791508 w 1012061"/>
                <a:gd name="connsiteY1588" fmla="*/ 159856 h 372939"/>
                <a:gd name="connsiteX1589" fmla="*/ 790728 w 1012061"/>
                <a:gd name="connsiteY1589" fmla="*/ 160474 h 372939"/>
                <a:gd name="connsiteX1590" fmla="*/ 788042 w 1012061"/>
                <a:gd name="connsiteY1590" fmla="*/ 159895 h 372939"/>
                <a:gd name="connsiteX1591" fmla="*/ 786653 w 1012061"/>
                <a:gd name="connsiteY1591" fmla="*/ 158528 h 372939"/>
                <a:gd name="connsiteX1592" fmla="*/ 785703 w 1012061"/>
                <a:gd name="connsiteY1592" fmla="*/ 156694 h 372939"/>
                <a:gd name="connsiteX1593" fmla="*/ 785101 w 1012061"/>
                <a:gd name="connsiteY1593" fmla="*/ 155187 h 372939"/>
                <a:gd name="connsiteX1594" fmla="*/ 784930 w 1012061"/>
                <a:gd name="connsiteY1594" fmla="*/ 153988 h 372939"/>
                <a:gd name="connsiteX1595" fmla="*/ 784124 w 1012061"/>
                <a:gd name="connsiteY1595" fmla="*/ 152524 h 372939"/>
                <a:gd name="connsiteX1596" fmla="*/ 784234 w 1012061"/>
                <a:gd name="connsiteY1596" fmla="*/ 151988 h 372939"/>
                <a:gd name="connsiteX1597" fmla="*/ 787200 w 1012061"/>
                <a:gd name="connsiteY1597" fmla="*/ 147682 h 372939"/>
                <a:gd name="connsiteX1598" fmla="*/ 789372 w 1012061"/>
                <a:gd name="connsiteY1598" fmla="*/ 147956 h 372939"/>
                <a:gd name="connsiteX1599" fmla="*/ 788809 w 1012061"/>
                <a:gd name="connsiteY1599" fmla="*/ 149084 h 372939"/>
                <a:gd name="connsiteX1600" fmla="*/ 787761 w 1012061"/>
                <a:gd name="connsiteY1600" fmla="*/ 149846 h 372939"/>
                <a:gd name="connsiteX1601" fmla="*/ 778253 w 1012061"/>
                <a:gd name="connsiteY1601" fmla="*/ 151196 h 372939"/>
                <a:gd name="connsiteX1602" fmla="*/ 779063 w 1012061"/>
                <a:gd name="connsiteY1602" fmla="*/ 150388 h 372939"/>
                <a:gd name="connsiteX1603" fmla="*/ 779467 w 1012061"/>
                <a:gd name="connsiteY1603" fmla="*/ 149587 h 372939"/>
                <a:gd name="connsiteX1604" fmla="*/ 780063 w 1012061"/>
                <a:gd name="connsiteY1604" fmla="*/ 149174 h 372939"/>
                <a:gd name="connsiteX1605" fmla="*/ 781007 w 1012061"/>
                <a:gd name="connsiteY1605" fmla="*/ 149280 h 372939"/>
                <a:gd name="connsiteX1606" fmla="*/ 781475 w 1012061"/>
                <a:gd name="connsiteY1606" fmla="*/ 149036 h 372939"/>
                <a:gd name="connsiteX1607" fmla="*/ 781948 w 1012061"/>
                <a:gd name="connsiteY1607" fmla="*/ 148939 h 372939"/>
                <a:gd name="connsiteX1608" fmla="*/ 782483 w 1012061"/>
                <a:gd name="connsiteY1608" fmla="*/ 149045 h 372939"/>
                <a:gd name="connsiteX1609" fmla="*/ 783406 w 1012061"/>
                <a:gd name="connsiteY1609" fmla="*/ 148712 h 372939"/>
                <a:gd name="connsiteX1610" fmla="*/ 785347 w 1012061"/>
                <a:gd name="connsiteY1610" fmla="*/ 148952 h 372939"/>
                <a:gd name="connsiteX1611" fmla="*/ 787342 w 1012061"/>
                <a:gd name="connsiteY1611" fmla="*/ 148762 h 372939"/>
                <a:gd name="connsiteX1612" fmla="*/ 888384 w 1012061"/>
                <a:gd name="connsiteY1612" fmla="*/ 145168 h 372939"/>
                <a:gd name="connsiteX1613" fmla="*/ 893087 w 1012061"/>
                <a:gd name="connsiteY1613" fmla="*/ 146032 h 372939"/>
                <a:gd name="connsiteX1614" fmla="*/ 894802 w 1012061"/>
                <a:gd name="connsiteY1614" fmla="*/ 145985 h 372939"/>
                <a:gd name="connsiteX1615" fmla="*/ 896477 w 1012061"/>
                <a:gd name="connsiteY1615" fmla="*/ 146963 h 372939"/>
                <a:gd name="connsiteX1616" fmla="*/ 898516 w 1012061"/>
                <a:gd name="connsiteY1616" fmla="*/ 146501 h 372939"/>
                <a:gd name="connsiteX1617" fmla="*/ 899673 w 1012061"/>
                <a:gd name="connsiteY1617" fmla="*/ 146814 h 372939"/>
                <a:gd name="connsiteX1618" fmla="*/ 903547 w 1012061"/>
                <a:gd name="connsiteY1618" fmla="*/ 150174 h 372939"/>
                <a:gd name="connsiteX1619" fmla="*/ 905448 w 1012061"/>
                <a:gd name="connsiteY1619" fmla="*/ 152399 h 372939"/>
                <a:gd name="connsiteX1620" fmla="*/ 908276 w 1012061"/>
                <a:gd name="connsiteY1620" fmla="*/ 154308 h 372939"/>
                <a:gd name="connsiteX1621" fmla="*/ 910325 w 1012061"/>
                <a:gd name="connsiteY1621" fmla="*/ 154958 h 372939"/>
                <a:gd name="connsiteX1622" fmla="*/ 908780 w 1012061"/>
                <a:gd name="connsiteY1622" fmla="*/ 156707 h 372939"/>
                <a:gd name="connsiteX1623" fmla="*/ 905670 w 1012061"/>
                <a:gd name="connsiteY1623" fmla="*/ 157627 h 372939"/>
                <a:gd name="connsiteX1624" fmla="*/ 904467 w 1012061"/>
                <a:gd name="connsiteY1624" fmla="*/ 157672 h 372939"/>
                <a:gd name="connsiteX1625" fmla="*/ 902083 w 1012061"/>
                <a:gd name="connsiteY1625" fmla="*/ 156631 h 372939"/>
                <a:gd name="connsiteX1626" fmla="*/ 900148 w 1012061"/>
                <a:gd name="connsiteY1626" fmla="*/ 156824 h 372939"/>
                <a:gd name="connsiteX1627" fmla="*/ 898462 w 1012061"/>
                <a:gd name="connsiteY1627" fmla="*/ 155519 h 372939"/>
                <a:gd name="connsiteX1628" fmla="*/ 898171 w 1012061"/>
                <a:gd name="connsiteY1628" fmla="*/ 153504 h 372939"/>
                <a:gd name="connsiteX1629" fmla="*/ 896435 w 1012061"/>
                <a:gd name="connsiteY1629" fmla="*/ 148965 h 372939"/>
                <a:gd name="connsiteX1630" fmla="*/ 894193 w 1012061"/>
                <a:gd name="connsiteY1630" fmla="*/ 150267 h 372939"/>
                <a:gd name="connsiteX1631" fmla="*/ 891498 w 1012061"/>
                <a:gd name="connsiteY1631" fmla="*/ 148175 h 372939"/>
                <a:gd name="connsiteX1632" fmla="*/ 890774 w 1012061"/>
                <a:gd name="connsiteY1632" fmla="*/ 148125 h 372939"/>
                <a:gd name="connsiteX1633" fmla="*/ 890604 w 1012061"/>
                <a:gd name="connsiteY1633" fmla="*/ 148479 h 372939"/>
                <a:gd name="connsiteX1634" fmla="*/ 889460 w 1012061"/>
                <a:gd name="connsiteY1634" fmla="*/ 147766 h 372939"/>
                <a:gd name="connsiteX1635" fmla="*/ 888488 w 1012061"/>
                <a:gd name="connsiteY1635" fmla="*/ 146352 h 372939"/>
                <a:gd name="connsiteX1636" fmla="*/ 707641 w 1012061"/>
                <a:gd name="connsiteY1636" fmla="*/ 144460 h 372939"/>
                <a:gd name="connsiteX1637" fmla="*/ 708727 w 1012061"/>
                <a:gd name="connsiteY1637" fmla="*/ 144551 h 372939"/>
                <a:gd name="connsiteX1638" fmla="*/ 709680 w 1012061"/>
                <a:gd name="connsiteY1638" fmla="*/ 147535 h 372939"/>
                <a:gd name="connsiteX1639" fmla="*/ 709661 w 1012061"/>
                <a:gd name="connsiteY1639" fmla="*/ 148034 h 372939"/>
                <a:gd name="connsiteX1640" fmla="*/ 709410 w 1012061"/>
                <a:gd name="connsiteY1640" fmla="*/ 148490 h 372939"/>
                <a:gd name="connsiteX1641" fmla="*/ 707100 w 1012061"/>
                <a:gd name="connsiteY1641" fmla="*/ 147909 h 372939"/>
                <a:gd name="connsiteX1642" fmla="*/ 706477 w 1012061"/>
                <a:gd name="connsiteY1642" fmla="*/ 147592 h 372939"/>
                <a:gd name="connsiteX1643" fmla="*/ 782974 w 1012061"/>
                <a:gd name="connsiteY1643" fmla="*/ 139992 h 372939"/>
                <a:gd name="connsiteX1644" fmla="*/ 783881 w 1012061"/>
                <a:gd name="connsiteY1644" fmla="*/ 140418 h 372939"/>
                <a:gd name="connsiteX1645" fmla="*/ 784485 w 1012061"/>
                <a:gd name="connsiteY1645" fmla="*/ 141139 h 372939"/>
                <a:gd name="connsiteX1646" fmla="*/ 783211 w 1012061"/>
                <a:gd name="connsiteY1646" fmla="*/ 142456 h 372939"/>
                <a:gd name="connsiteX1647" fmla="*/ 781939 w 1012061"/>
                <a:gd name="connsiteY1647" fmla="*/ 142484 h 372939"/>
                <a:gd name="connsiteX1648" fmla="*/ 779646 w 1012061"/>
                <a:gd name="connsiteY1648" fmla="*/ 141523 h 372939"/>
                <a:gd name="connsiteX1649" fmla="*/ 780983 w 1012061"/>
                <a:gd name="connsiteY1649" fmla="*/ 140688 h 372939"/>
                <a:gd name="connsiteX1650" fmla="*/ 781829 w 1012061"/>
                <a:gd name="connsiteY1650" fmla="*/ 140515 h 372939"/>
                <a:gd name="connsiteX1651" fmla="*/ 782566 w 1012061"/>
                <a:gd name="connsiteY1651" fmla="*/ 140014 h 372939"/>
                <a:gd name="connsiteX1652" fmla="*/ 589458 w 1012061"/>
                <a:gd name="connsiteY1652" fmla="*/ 139761 h 372939"/>
                <a:gd name="connsiteX1653" fmla="*/ 590397 w 1012061"/>
                <a:gd name="connsiteY1653" fmla="*/ 140744 h 372939"/>
                <a:gd name="connsiteX1654" fmla="*/ 589832 w 1012061"/>
                <a:gd name="connsiteY1654" fmla="*/ 141880 h 372939"/>
                <a:gd name="connsiteX1655" fmla="*/ 589071 w 1012061"/>
                <a:gd name="connsiteY1655" fmla="*/ 141597 h 372939"/>
                <a:gd name="connsiteX1656" fmla="*/ 587064 w 1012061"/>
                <a:gd name="connsiteY1656" fmla="*/ 141618 h 372939"/>
                <a:gd name="connsiteX1657" fmla="*/ 586305 w 1012061"/>
                <a:gd name="connsiteY1657" fmla="*/ 141705 h 372939"/>
                <a:gd name="connsiteX1658" fmla="*/ 585402 w 1012061"/>
                <a:gd name="connsiteY1658" fmla="*/ 142374 h 372939"/>
                <a:gd name="connsiteX1659" fmla="*/ 584835 w 1012061"/>
                <a:gd name="connsiteY1659" fmla="*/ 142400 h 372939"/>
                <a:gd name="connsiteX1660" fmla="*/ 585212 w 1012061"/>
                <a:gd name="connsiteY1660" fmla="*/ 141353 h 372939"/>
                <a:gd name="connsiteX1661" fmla="*/ 586914 w 1012061"/>
                <a:gd name="connsiteY1661" fmla="*/ 139766 h 372939"/>
                <a:gd name="connsiteX1662" fmla="*/ 587977 w 1012061"/>
                <a:gd name="connsiteY1662" fmla="*/ 140001 h 372939"/>
                <a:gd name="connsiteX1663" fmla="*/ 824812 w 1012061"/>
                <a:gd name="connsiteY1663" fmla="*/ 138448 h 372939"/>
                <a:gd name="connsiteX1664" fmla="*/ 827401 w 1012061"/>
                <a:gd name="connsiteY1664" fmla="*/ 138701 h 372939"/>
                <a:gd name="connsiteX1665" fmla="*/ 832516 w 1012061"/>
                <a:gd name="connsiteY1665" fmla="*/ 139994 h 372939"/>
                <a:gd name="connsiteX1666" fmla="*/ 837397 w 1012061"/>
                <a:gd name="connsiteY1666" fmla="*/ 142083 h 372939"/>
                <a:gd name="connsiteX1667" fmla="*/ 841627 w 1012061"/>
                <a:gd name="connsiteY1667" fmla="*/ 144823 h 372939"/>
                <a:gd name="connsiteX1668" fmla="*/ 846142 w 1012061"/>
                <a:gd name="connsiteY1668" fmla="*/ 146823 h 372939"/>
                <a:gd name="connsiteX1669" fmla="*/ 851692 w 1012061"/>
                <a:gd name="connsiteY1669" fmla="*/ 147159 h 372939"/>
                <a:gd name="connsiteX1670" fmla="*/ 854493 w 1012061"/>
                <a:gd name="connsiteY1670" fmla="*/ 146939 h 372939"/>
                <a:gd name="connsiteX1671" fmla="*/ 857239 w 1012061"/>
                <a:gd name="connsiteY1671" fmla="*/ 147225 h 372939"/>
                <a:gd name="connsiteX1672" fmla="*/ 858354 w 1012061"/>
                <a:gd name="connsiteY1672" fmla="*/ 147786 h 372939"/>
                <a:gd name="connsiteX1673" fmla="*/ 860269 w 1012061"/>
                <a:gd name="connsiteY1673" fmla="*/ 149490 h 372939"/>
                <a:gd name="connsiteX1674" fmla="*/ 859721 w 1012061"/>
                <a:gd name="connsiteY1674" fmla="*/ 150608 h 372939"/>
                <a:gd name="connsiteX1675" fmla="*/ 859394 w 1012061"/>
                <a:gd name="connsiteY1675" fmla="*/ 152919 h 372939"/>
                <a:gd name="connsiteX1676" fmla="*/ 860372 w 1012061"/>
                <a:gd name="connsiteY1676" fmla="*/ 155143 h 372939"/>
                <a:gd name="connsiteX1677" fmla="*/ 861966 w 1012061"/>
                <a:gd name="connsiteY1677" fmla="*/ 157370 h 372939"/>
                <a:gd name="connsiteX1678" fmla="*/ 863268 w 1012061"/>
                <a:gd name="connsiteY1678" fmla="*/ 159746 h 372939"/>
                <a:gd name="connsiteX1679" fmla="*/ 863543 w 1012061"/>
                <a:gd name="connsiteY1679" fmla="*/ 160906 h 372939"/>
                <a:gd name="connsiteX1680" fmla="*/ 863048 w 1012061"/>
                <a:gd name="connsiteY1680" fmla="*/ 163364 h 372939"/>
                <a:gd name="connsiteX1681" fmla="*/ 862601 w 1012061"/>
                <a:gd name="connsiteY1681" fmla="*/ 164579 h 372939"/>
                <a:gd name="connsiteX1682" fmla="*/ 861018 w 1012061"/>
                <a:gd name="connsiteY1682" fmla="*/ 166607 h 372939"/>
                <a:gd name="connsiteX1683" fmla="*/ 860144 w 1012061"/>
                <a:gd name="connsiteY1683" fmla="*/ 168824 h 372939"/>
                <a:gd name="connsiteX1684" fmla="*/ 860705 w 1012061"/>
                <a:gd name="connsiteY1684" fmla="*/ 171556 h 372939"/>
                <a:gd name="connsiteX1685" fmla="*/ 861018 w 1012061"/>
                <a:gd name="connsiteY1685" fmla="*/ 174304 h 372939"/>
                <a:gd name="connsiteX1686" fmla="*/ 860960 w 1012061"/>
                <a:gd name="connsiteY1686" fmla="*/ 176829 h 372939"/>
                <a:gd name="connsiteX1687" fmla="*/ 861245 w 1012061"/>
                <a:gd name="connsiteY1687" fmla="*/ 179314 h 372939"/>
                <a:gd name="connsiteX1688" fmla="*/ 862111 w 1012061"/>
                <a:gd name="connsiteY1688" fmla="*/ 181833 h 372939"/>
                <a:gd name="connsiteX1689" fmla="*/ 865809 w 1012061"/>
                <a:gd name="connsiteY1689" fmla="*/ 188734 h 372939"/>
                <a:gd name="connsiteX1690" fmla="*/ 867974 w 1012061"/>
                <a:gd name="connsiteY1690" fmla="*/ 193410 h 372939"/>
                <a:gd name="connsiteX1691" fmla="*/ 868664 w 1012061"/>
                <a:gd name="connsiteY1691" fmla="*/ 190797 h 372939"/>
                <a:gd name="connsiteX1692" fmla="*/ 868490 w 1012061"/>
                <a:gd name="connsiteY1692" fmla="*/ 187893 h 372939"/>
                <a:gd name="connsiteX1693" fmla="*/ 869256 w 1012061"/>
                <a:gd name="connsiteY1693" fmla="*/ 186845 h 372939"/>
                <a:gd name="connsiteX1694" fmla="*/ 870338 w 1012061"/>
                <a:gd name="connsiteY1694" fmla="*/ 186288 h 372939"/>
                <a:gd name="connsiteX1695" fmla="*/ 871677 w 1012061"/>
                <a:gd name="connsiteY1695" fmla="*/ 186869 h 372939"/>
                <a:gd name="connsiteX1696" fmla="*/ 872059 w 1012061"/>
                <a:gd name="connsiteY1696" fmla="*/ 188045 h 372939"/>
                <a:gd name="connsiteX1697" fmla="*/ 872154 w 1012061"/>
                <a:gd name="connsiteY1697" fmla="*/ 190612 h 372939"/>
                <a:gd name="connsiteX1698" fmla="*/ 873329 w 1012061"/>
                <a:gd name="connsiteY1698" fmla="*/ 195651 h 372939"/>
                <a:gd name="connsiteX1699" fmla="*/ 874825 w 1012061"/>
                <a:gd name="connsiteY1699" fmla="*/ 195882 h 372939"/>
                <a:gd name="connsiteX1700" fmla="*/ 876451 w 1012061"/>
                <a:gd name="connsiteY1700" fmla="*/ 195111 h 372939"/>
                <a:gd name="connsiteX1701" fmla="*/ 876717 w 1012061"/>
                <a:gd name="connsiteY1701" fmla="*/ 196652 h 372939"/>
                <a:gd name="connsiteX1702" fmla="*/ 876659 w 1012061"/>
                <a:gd name="connsiteY1702" fmla="*/ 199503 h 372939"/>
                <a:gd name="connsiteX1703" fmla="*/ 877412 w 1012061"/>
                <a:gd name="connsiteY1703" fmla="*/ 201766 h 372939"/>
                <a:gd name="connsiteX1704" fmla="*/ 878084 w 1012061"/>
                <a:gd name="connsiteY1704" fmla="*/ 202652 h 372939"/>
                <a:gd name="connsiteX1705" fmla="*/ 880742 w 1012061"/>
                <a:gd name="connsiteY1705" fmla="*/ 204494 h 372939"/>
                <a:gd name="connsiteX1706" fmla="*/ 881953 w 1012061"/>
                <a:gd name="connsiteY1706" fmla="*/ 204835 h 372939"/>
                <a:gd name="connsiteX1707" fmla="*/ 885477 w 1012061"/>
                <a:gd name="connsiteY1707" fmla="*/ 205278 h 372939"/>
                <a:gd name="connsiteX1708" fmla="*/ 888131 w 1012061"/>
                <a:gd name="connsiteY1708" fmla="*/ 205419 h 372939"/>
                <a:gd name="connsiteX1709" fmla="*/ 890675 w 1012061"/>
                <a:gd name="connsiteY1709" fmla="*/ 204760 h 372939"/>
                <a:gd name="connsiteX1710" fmla="*/ 892314 w 1012061"/>
                <a:gd name="connsiteY1710" fmla="*/ 203069 h 372939"/>
                <a:gd name="connsiteX1711" fmla="*/ 893795 w 1012061"/>
                <a:gd name="connsiteY1711" fmla="*/ 201238 h 372939"/>
                <a:gd name="connsiteX1712" fmla="*/ 898913 w 1012061"/>
                <a:gd name="connsiteY1712" fmla="*/ 197017 h 372939"/>
                <a:gd name="connsiteX1713" fmla="*/ 900395 w 1012061"/>
                <a:gd name="connsiteY1713" fmla="*/ 194999 h 372939"/>
                <a:gd name="connsiteX1714" fmla="*/ 901822 w 1012061"/>
                <a:gd name="connsiteY1714" fmla="*/ 191904 h 372939"/>
                <a:gd name="connsiteX1715" fmla="*/ 902314 w 1012061"/>
                <a:gd name="connsiteY1715" fmla="*/ 191240 h 372939"/>
                <a:gd name="connsiteX1716" fmla="*/ 907406 w 1012061"/>
                <a:gd name="connsiteY1716" fmla="*/ 187896 h 372939"/>
                <a:gd name="connsiteX1717" fmla="*/ 907987 w 1012061"/>
                <a:gd name="connsiteY1717" fmla="*/ 186709 h 372939"/>
                <a:gd name="connsiteX1718" fmla="*/ 908717 w 1012061"/>
                <a:gd name="connsiteY1718" fmla="*/ 184413 h 372939"/>
                <a:gd name="connsiteX1719" fmla="*/ 909821 w 1012061"/>
                <a:gd name="connsiteY1719" fmla="*/ 182189 h 372939"/>
                <a:gd name="connsiteX1720" fmla="*/ 910649 w 1012061"/>
                <a:gd name="connsiteY1720" fmla="*/ 181042 h 372939"/>
                <a:gd name="connsiteX1721" fmla="*/ 915567 w 1012061"/>
                <a:gd name="connsiteY1721" fmla="*/ 179957 h 372939"/>
                <a:gd name="connsiteX1722" fmla="*/ 920673 w 1012061"/>
                <a:gd name="connsiteY1722" fmla="*/ 179368 h 372939"/>
                <a:gd name="connsiteX1723" fmla="*/ 925733 w 1012061"/>
                <a:gd name="connsiteY1723" fmla="*/ 177320 h 372939"/>
                <a:gd name="connsiteX1724" fmla="*/ 927923 w 1012061"/>
                <a:gd name="connsiteY1724" fmla="*/ 175559 h 372939"/>
                <a:gd name="connsiteX1725" fmla="*/ 928026 w 1012061"/>
                <a:gd name="connsiteY1725" fmla="*/ 174401 h 372939"/>
                <a:gd name="connsiteX1726" fmla="*/ 926914 w 1012061"/>
                <a:gd name="connsiteY1726" fmla="*/ 172368 h 372939"/>
                <a:gd name="connsiteX1727" fmla="*/ 926868 w 1012061"/>
                <a:gd name="connsiteY1727" fmla="*/ 171476 h 372939"/>
                <a:gd name="connsiteX1728" fmla="*/ 928041 w 1012061"/>
                <a:gd name="connsiteY1728" fmla="*/ 170619 h 372939"/>
                <a:gd name="connsiteX1729" fmla="*/ 932554 w 1012061"/>
                <a:gd name="connsiteY1729" fmla="*/ 168042 h 372939"/>
                <a:gd name="connsiteX1730" fmla="*/ 937774 w 1012061"/>
                <a:gd name="connsiteY1730" fmla="*/ 165392 h 372939"/>
                <a:gd name="connsiteX1731" fmla="*/ 941967 w 1012061"/>
                <a:gd name="connsiteY1731" fmla="*/ 163564 h 372939"/>
                <a:gd name="connsiteX1732" fmla="*/ 944286 w 1012061"/>
                <a:gd name="connsiteY1732" fmla="*/ 163577 h 372939"/>
                <a:gd name="connsiteX1733" fmla="*/ 946424 w 1012061"/>
                <a:gd name="connsiteY1733" fmla="*/ 165186 h 372939"/>
                <a:gd name="connsiteX1734" fmla="*/ 948704 w 1012061"/>
                <a:gd name="connsiteY1734" fmla="*/ 166500 h 372939"/>
                <a:gd name="connsiteX1735" fmla="*/ 960620 w 1012061"/>
                <a:gd name="connsiteY1735" fmla="*/ 170375 h 372939"/>
                <a:gd name="connsiteX1736" fmla="*/ 962528 w 1012061"/>
                <a:gd name="connsiteY1736" fmla="*/ 171578 h 372939"/>
                <a:gd name="connsiteX1737" fmla="*/ 964194 w 1012061"/>
                <a:gd name="connsiteY1737" fmla="*/ 173176 h 372939"/>
                <a:gd name="connsiteX1738" fmla="*/ 966575 w 1012061"/>
                <a:gd name="connsiteY1738" fmla="*/ 174285 h 372939"/>
                <a:gd name="connsiteX1739" fmla="*/ 969236 w 1012061"/>
                <a:gd name="connsiteY1739" fmla="*/ 174820 h 372939"/>
                <a:gd name="connsiteX1740" fmla="*/ 971655 w 1012061"/>
                <a:gd name="connsiteY1740" fmla="*/ 175855 h 372939"/>
                <a:gd name="connsiteX1741" fmla="*/ 973950 w 1012061"/>
                <a:gd name="connsiteY1741" fmla="*/ 177190 h 372939"/>
                <a:gd name="connsiteX1742" fmla="*/ 979018 w 1012061"/>
                <a:gd name="connsiteY1742" fmla="*/ 179681 h 372939"/>
                <a:gd name="connsiteX1743" fmla="*/ 985822 w 1012061"/>
                <a:gd name="connsiteY1743" fmla="*/ 182699 h 372939"/>
                <a:gd name="connsiteX1744" fmla="*/ 987565 w 1012061"/>
                <a:gd name="connsiteY1744" fmla="*/ 182881 h 372939"/>
                <a:gd name="connsiteX1745" fmla="*/ 993894 w 1012061"/>
                <a:gd name="connsiteY1745" fmla="*/ 182738 h 372939"/>
                <a:gd name="connsiteX1746" fmla="*/ 994987 w 1012061"/>
                <a:gd name="connsiteY1746" fmla="*/ 183306 h 372939"/>
                <a:gd name="connsiteX1747" fmla="*/ 996025 w 1012061"/>
                <a:gd name="connsiteY1747" fmla="*/ 184110 h 372939"/>
                <a:gd name="connsiteX1748" fmla="*/ 996990 w 1012061"/>
                <a:gd name="connsiteY1748" fmla="*/ 184296 h 372939"/>
                <a:gd name="connsiteX1749" fmla="*/ 1004241 w 1012061"/>
                <a:gd name="connsiteY1749" fmla="*/ 184858 h 372939"/>
                <a:gd name="connsiteX1750" fmla="*/ 1005358 w 1012061"/>
                <a:gd name="connsiteY1750" fmla="*/ 185439 h 372939"/>
                <a:gd name="connsiteX1751" fmla="*/ 1006407 w 1012061"/>
                <a:gd name="connsiteY1751" fmla="*/ 186236 h 372939"/>
                <a:gd name="connsiteX1752" fmla="*/ 1007004 w 1012061"/>
                <a:gd name="connsiteY1752" fmla="*/ 188427 h 372939"/>
                <a:gd name="connsiteX1753" fmla="*/ 1012000 w 1012061"/>
                <a:gd name="connsiteY1753" fmla="*/ 188486 h 372939"/>
                <a:gd name="connsiteX1754" fmla="*/ 1012003 w 1012061"/>
                <a:gd name="connsiteY1754" fmla="*/ 192771 h 372939"/>
                <a:gd name="connsiteX1755" fmla="*/ 1012004 w 1012061"/>
                <a:gd name="connsiteY1755" fmla="*/ 197268 h 372939"/>
                <a:gd name="connsiteX1756" fmla="*/ 1012007 w 1012061"/>
                <a:gd name="connsiteY1756" fmla="*/ 201768 h 372939"/>
                <a:gd name="connsiteX1757" fmla="*/ 1012009 w 1012061"/>
                <a:gd name="connsiteY1757" fmla="*/ 206269 h 372939"/>
                <a:gd name="connsiteX1758" fmla="*/ 1012010 w 1012061"/>
                <a:gd name="connsiteY1758" fmla="*/ 210770 h 372939"/>
                <a:gd name="connsiteX1759" fmla="*/ 1012014 w 1012061"/>
                <a:gd name="connsiteY1759" fmla="*/ 215270 h 372939"/>
                <a:gd name="connsiteX1760" fmla="*/ 1012014 w 1012061"/>
                <a:gd name="connsiteY1760" fmla="*/ 219772 h 372939"/>
                <a:gd name="connsiteX1761" fmla="*/ 1012017 w 1012061"/>
                <a:gd name="connsiteY1761" fmla="*/ 224276 h 372939"/>
                <a:gd name="connsiteX1762" fmla="*/ 1012017 w 1012061"/>
                <a:gd name="connsiteY1762" fmla="*/ 228780 h 372939"/>
                <a:gd name="connsiteX1763" fmla="*/ 1012020 w 1012061"/>
                <a:gd name="connsiteY1763" fmla="*/ 233282 h 372939"/>
                <a:gd name="connsiteX1764" fmla="*/ 1012021 w 1012061"/>
                <a:gd name="connsiteY1764" fmla="*/ 237788 h 372939"/>
                <a:gd name="connsiteX1765" fmla="*/ 1012024 w 1012061"/>
                <a:gd name="connsiteY1765" fmla="*/ 242295 h 372939"/>
                <a:gd name="connsiteX1766" fmla="*/ 1012026 w 1012061"/>
                <a:gd name="connsiteY1766" fmla="*/ 246802 h 372939"/>
                <a:gd name="connsiteX1767" fmla="*/ 1012026 w 1012061"/>
                <a:gd name="connsiteY1767" fmla="*/ 251308 h 372939"/>
                <a:gd name="connsiteX1768" fmla="*/ 1012028 w 1012061"/>
                <a:gd name="connsiteY1768" fmla="*/ 255818 h 372939"/>
                <a:gd name="connsiteX1769" fmla="*/ 1012031 w 1012061"/>
                <a:gd name="connsiteY1769" fmla="*/ 260328 h 372939"/>
                <a:gd name="connsiteX1770" fmla="*/ 1012033 w 1012061"/>
                <a:gd name="connsiteY1770" fmla="*/ 264839 h 372939"/>
                <a:gd name="connsiteX1771" fmla="*/ 1012035 w 1012061"/>
                <a:gd name="connsiteY1771" fmla="*/ 269350 h 372939"/>
                <a:gd name="connsiteX1772" fmla="*/ 1012035 w 1012061"/>
                <a:gd name="connsiteY1772" fmla="*/ 271275 h 372939"/>
                <a:gd name="connsiteX1773" fmla="*/ 1011350 w 1012061"/>
                <a:gd name="connsiteY1773" fmla="*/ 273632 h 372939"/>
                <a:gd name="connsiteX1774" fmla="*/ 1009814 w 1012061"/>
                <a:gd name="connsiteY1774" fmla="*/ 277168 h 372939"/>
                <a:gd name="connsiteX1775" fmla="*/ 1009543 w 1012061"/>
                <a:gd name="connsiteY1775" fmla="*/ 280022 h 372939"/>
                <a:gd name="connsiteX1776" fmla="*/ 1010808 w 1012061"/>
                <a:gd name="connsiteY1776" fmla="*/ 282243 h 372939"/>
                <a:gd name="connsiteX1777" fmla="*/ 1012039 w 1012061"/>
                <a:gd name="connsiteY1777" fmla="*/ 283695 h 372939"/>
                <a:gd name="connsiteX1778" fmla="*/ 1012039 w 1012061"/>
                <a:gd name="connsiteY1778" fmla="*/ 287409 h 372939"/>
                <a:gd name="connsiteX1779" fmla="*/ 1012041 w 1012061"/>
                <a:gd name="connsiteY1779" fmla="*/ 291928 h 372939"/>
                <a:gd name="connsiteX1780" fmla="*/ 1012044 w 1012061"/>
                <a:gd name="connsiteY1780" fmla="*/ 296448 h 372939"/>
                <a:gd name="connsiteX1781" fmla="*/ 1012046 w 1012061"/>
                <a:gd name="connsiteY1781" fmla="*/ 300969 h 372939"/>
                <a:gd name="connsiteX1782" fmla="*/ 1012048 w 1012061"/>
                <a:gd name="connsiteY1782" fmla="*/ 305489 h 372939"/>
                <a:gd name="connsiteX1783" fmla="*/ 1012048 w 1012061"/>
                <a:gd name="connsiteY1783" fmla="*/ 310013 h 372939"/>
                <a:gd name="connsiteX1784" fmla="*/ 1012050 w 1012061"/>
                <a:gd name="connsiteY1784" fmla="*/ 314538 h 372939"/>
                <a:gd name="connsiteX1785" fmla="*/ 1012052 w 1012061"/>
                <a:gd name="connsiteY1785" fmla="*/ 319065 h 372939"/>
                <a:gd name="connsiteX1786" fmla="*/ 1012054 w 1012061"/>
                <a:gd name="connsiteY1786" fmla="*/ 323592 h 372939"/>
                <a:gd name="connsiteX1787" fmla="*/ 1012056 w 1012061"/>
                <a:gd name="connsiteY1787" fmla="*/ 328122 h 372939"/>
                <a:gd name="connsiteX1788" fmla="*/ 1012056 w 1012061"/>
                <a:gd name="connsiteY1788" fmla="*/ 332653 h 372939"/>
                <a:gd name="connsiteX1789" fmla="*/ 1012061 w 1012061"/>
                <a:gd name="connsiteY1789" fmla="*/ 332947 h 372939"/>
                <a:gd name="connsiteX1790" fmla="*/ 1010921 w 1012061"/>
                <a:gd name="connsiteY1790" fmla="*/ 332196 h 372939"/>
                <a:gd name="connsiteX1791" fmla="*/ 1007867 w 1012061"/>
                <a:gd name="connsiteY1791" fmla="*/ 329715 h 372939"/>
                <a:gd name="connsiteX1792" fmla="*/ 1005103 w 1012061"/>
                <a:gd name="connsiteY1792" fmla="*/ 326886 h 372939"/>
                <a:gd name="connsiteX1793" fmla="*/ 1003324 w 1012061"/>
                <a:gd name="connsiteY1793" fmla="*/ 324246 h 372939"/>
                <a:gd name="connsiteX1794" fmla="*/ 1001305 w 1012061"/>
                <a:gd name="connsiteY1794" fmla="*/ 321843 h 372939"/>
                <a:gd name="connsiteX1795" fmla="*/ 992723 w 1012061"/>
                <a:gd name="connsiteY1795" fmla="*/ 314721 h 372939"/>
                <a:gd name="connsiteX1796" fmla="*/ 990540 w 1012061"/>
                <a:gd name="connsiteY1796" fmla="*/ 312382 h 372939"/>
                <a:gd name="connsiteX1797" fmla="*/ 990106 w 1012061"/>
                <a:gd name="connsiteY1797" fmla="*/ 311737 h 372939"/>
                <a:gd name="connsiteX1798" fmla="*/ 990312 w 1012061"/>
                <a:gd name="connsiteY1798" fmla="*/ 311132 h 372939"/>
                <a:gd name="connsiteX1799" fmla="*/ 991302 w 1012061"/>
                <a:gd name="connsiteY1799" fmla="*/ 309900 h 372939"/>
                <a:gd name="connsiteX1800" fmla="*/ 993062 w 1012061"/>
                <a:gd name="connsiteY1800" fmla="*/ 306334 h 372939"/>
                <a:gd name="connsiteX1801" fmla="*/ 991223 w 1012061"/>
                <a:gd name="connsiteY1801" fmla="*/ 308538 h 372939"/>
                <a:gd name="connsiteX1802" fmla="*/ 989033 w 1012061"/>
                <a:gd name="connsiteY1802" fmla="*/ 310282 h 372939"/>
                <a:gd name="connsiteX1803" fmla="*/ 985850 w 1012061"/>
                <a:gd name="connsiteY1803" fmla="*/ 310398 h 372939"/>
                <a:gd name="connsiteX1804" fmla="*/ 982723 w 1012061"/>
                <a:gd name="connsiteY1804" fmla="*/ 310822 h 372939"/>
                <a:gd name="connsiteX1805" fmla="*/ 979829 w 1012061"/>
                <a:gd name="connsiteY1805" fmla="*/ 311876 h 372939"/>
                <a:gd name="connsiteX1806" fmla="*/ 976891 w 1012061"/>
                <a:gd name="connsiteY1806" fmla="*/ 312239 h 372939"/>
                <a:gd name="connsiteX1807" fmla="*/ 975420 w 1012061"/>
                <a:gd name="connsiteY1807" fmla="*/ 311721 h 372939"/>
                <a:gd name="connsiteX1808" fmla="*/ 974535 w 1012061"/>
                <a:gd name="connsiteY1808" fmla="*/ 310411 h 372939"/>
                <a:gd name="connsiteX1809" fmla="*/ 974075 w 1012061"/>
                <a:gd name="connsiteY1809" fmla="*/ 309068 h 372939"/>
                <a:gd name="connsiteX1810" fmla="*/ 973865 w 1012061"/>
                <a:gd name="connsiteY1810" fmla="*/ 307640 h 372939"/>
                <a:gd name="connsiteX1811" fmla="*/ 972630 w 1012061"/>
                <a:gd name="connsiteY1811" fmla="*/ 309948 h 372939"/>
                <a:gd name="connsiteX1812" fmla="*/ 970204 w 1012061"/>
                <a:gd name="connsiteY1812" fmla="*/ 311211 h 372939"/>
                <a:gd name="connsiteX1813" fmla="*/ 966893 w 1012061"/>
                <a:gd name="connsiteY1813" fmla="*/ 313871 h 372939"/>
                <a:gd name="connsiteX1814" fmla="*/ 965945 w 1012061"/>
                <a:gd name="connsiteY1814" fmla="*/ 313323 h 372939"/>
                <a:gd name="connsiteX1815" fmla="*/ 965372 w 1012061"/>
                <a:gd name="connsiteY1815" fmla="*/ 312310 h 372939"/>
                <a:gd name="connsiteX1816" fmla="*/ 965183 w 1012061"/>
                <a:gd name="connsiteY1816" fmla="*/ 311260 h 372939"/>
                <a:gd name="connsiteX1817" fmla="*/ 965822 w 1012061"/>
                <a:gd name="connsiteY1817" fmla="*/ 310139 h 372939"/>
                <a:gd name="connsiteX1818" fmla="*/ 966273 w 1012061"/>
                <a:gd name="connsiteY1818" fmla="*/ 308948 h 372939"/>
                <a:gd name="connsiteX1819" fmla="*/ 966947 w 1012061"/>
                <a:gd name="connsiteY1819" fmla="*/ 306097 h 372939"/>
                <a:gd name="connsiteX1820" fmla="*/ 968430 w 1012061"/>
                <a:gd name="connsiteY1820" fmla="*/ 304418 h 372939"/>
                <a:gd name="connsiteX1821" fmla="*/ 969374 w 1012061"/>
                <a:gd name="connsiteY1821" fmla="*/ 301166 h 372939"/>
                <a:gd name="connsiteX1822" fmla="*/ 969991 w 1012061"/>
                <a:gd name="connsiteY1822" fmla="*/ 300007 h 372939"/>
                <a:gd name="connsiteX1823" fmla="*/ 970309 w 1012061"/>
                <a:gd name="connsiteY1823" fmla="*/ 298849 h 372939"/>
                <a:gd name="connsiteX1824" fmla="*/ 969445 w 1012061"/>
                <a:gd name="connsiteY1824" fmla="*/ 297540 h 372939"/>
                <a:gd name="connsiteX1825" fmla="*/ 967988 w 1012061"/>
                <a:gd name="connsiteY1825" fmla="*/ 297093 h 372939"/>
                <a:gd name="connsiteX1826" fmla="*/ 966990 w 1012061"/>
                <a:gd name="connsiteY1826" fmla="*/ 296298 h 372939"/>
                <a:gd name="connsiteX1827" fmla="*/ 965833 w 1012061"/>
                <a:gd name="connsiteY1827" fmla="*/ 294092 h 372939"/>
                <a:gd name="connsiteX1828" fmla="*/ 965116 w 1012061"/>
                <a:gd name="connsiteY1828" fmla="*/ 293345 h 372939"/>
                <a:gd name="connsiteX1829" fmla="*/ 963800 w 1012061"/>
                <a:gd name="connsiteY1829" fmla="*/ 292440 h 372939"/>
                <a:gd name="connsiteX1830" fmla="*/ 962790 w 1012061"/>
                <a:gd name="connsiteY1830" fmla="*/ 291385 h 372939"/>
                <a:gd name="connsiteX1831" fmla="*/ 963906 w 1012061"/>
                <a:gd name="connsiteY1831" fmla="*/ 290591 h 372939"/>
                <a:gd name="connsiteX1832" fmla="*/ 965375 w 1012061"/>
                <a:gd name="connsiteY1832" fmla="*/ 290272 h 372939"/>
                <a:gd name="connsiteX1833" fmla="*/ 966580 w 1012061"/>
                <a:gd name="connsiteY1833" fmla="*/ 290322 h 372939"/>
                <a:gd name="connsiteX1834" fmla="*/ 968760 w 1012061"/>
                <a:gd name="connsiteY1834" fmla="*/ 290817 h 372939"/>
                <a:gd name="connsiteX1835" fmla="*/ 969746 w 1012061"/>
                <a:gd name="connsiteY1835" fmla="*/ 290844 h 372939"/>
                <a:gd name="connsiteX1836" fmla="*/ 972274 w 1012061"/>
                <a:gd name="connsiteY1836" fmla="*/ 290029 h 372939"/>
                <a:gd name="connsiteX1837" fmla="*/ 970853 w 1012061"/>
                <a:gd name="connsiteY1837" fmla="*/ 290280 h 372939"/>
                <a:gd name="connsiteX1838" fmla="*/ 969448 w 1012061"/>
                <a:gd name="connsiteY1838" fmla="*/ 290254 h 372939"/>
                <a:gd name="connsiteX1839" fmla="*/ 964951 w 1012061"/>
                <a:gd name="connsiteY1839" fmla="*/ 288826 h 372939"/>
                <a:gd name="connsiteX1840" fmla="*/ 962172 w 1012061"/>
                <a:gd name="connsiteY1840" fmla="*/ 287349 h 372939"/>
                <a:gd name="connsiteX1841" fmla="*/ 959549 w 1012061"/>
                <a:gd name="connsiteY1841" fmla="*/ 284387 h 372939"/>
                <a:gd name="connsiteX1842" fmla="*/ 959523 w 1012061"/>
                <a:gd name="connsiteY1842" fmla="*/ 283814 h 372939"/>
                <a:gd name="connsiteX1843" fmla="*/ 961372 w 1012061"/>
                <a:gd name="connsiteY1843" fmla="*/ 283276 h 372939"/>
                <a:gd name="connsiteX1844" fmla="*/ 965368 w 1012061"/>
                <a:gd name="connsiteY1844" fmla="*/ 282651 h 372939"/>
                <a:gd name="connsiteX1845" fmla="*/ 964129 w 1012061"/>
                <a:gd name="connsiteY1845" fmla="*/ 281142 h 372939"/>
                <a:gd name="connsiteX1846" fmla="*/ 962319 w 1012061"/>
                <a:gd name="connsiteY1846" fmla="*/ 279825 h 372939"/>
                <a:gd name="connsiteX1847" fmla="*/ 961689 w 1012061"/>
                <a:gd name="connsiteY1847" fmla="*/ 277483 h 372939"/>
                <a:gd name="connsiteX1848" fmla="*/ 960452 w 1012061"/>
                <a:gd name="connsiteY1848" fmla="*/ 276034 h 372939"/>
                <a:gd name="connsiteX1849" fmla="*/ 957784 w 1012061"/>
                <a:gd name="connsiteY1849" fmla="*/ 273666 h 372939"/>
                <a:gd name="connsiteX1850" fmla="*/ 955951 w 1012061"/>
                <a:gd name="connsiteY1850" fmla="*/ 271214 h 372939"/>
                <a:gd name="connsiteX1851" fmla="*/ 954397 w 1012061"/>
                <a:gd name="connsiteY1851" fmla="*/ 266224 h 372939"/>
                <a:gd name="connsiteX1852" fmla="*/ 952803 w 1012061"/>
                <a:gd name="connsiteY1852" fmla="*/ 262462 h 372939"/>
                <a:gd name="connsiteX1853" fmla="*/ 953192 w 1012061"/>
                <a:gd name="connsiteY1853" fmla="*/ 261097 h 372939"/>
                <a:gd name="connsiteX1854" fmla="*/ 954535 w 1012061"/>
                <a:gd name="connsiteY1854" fmla="*/ 260124 h 372939"/>
                <a:gd name="connsiteX1855" fmla="*/ 952505 w 1012061"/>
                <a:gd name="connsiteY1855" fmla="*/ 260012 h 372939"/>
                <a:gd name="connsiteX1856" fmla="*/ 950665 w 1012061"/>
                <a:gd name="connsiteY1856" fmla="*/ 259312 h 372939"/>
                <a:gd name="connsiteX1857" fmla="*/ 951637 w 1012061"/>
                <a:gd name="connsiteY1857" fmla="*/ 257479 h 372939"/>
                <a:gd name="connsiteX1858" fmla="*/ 953761 w 1012061"/>
                <a:gd name="connsiteY1858" fmla="*/ 256398 h 372939"/>
                <a:gd name="connsiteX1859" fmla="*/ 951827 w 1012061"/>
                <a:gd name="connsiteY1859" fmla="*/ 256675 h 372939"/>
                <a:gd name="connsiteX1860" fmla="*/ 949933 w 1012061"/>
                <a:gd name="connsiteY1860" fmla="*/ 257204 h 372939"/>
                <a:gd name="connsiteX1861" fmla="*/ 949069 w 1012061"/>
                <a:gd name="connsiteY1861" fmla="*/ 257304 h 372939"/>
                <a:gd name="connsiteX1862" fmla="*/ 948177 w 1012061"/>
                <a:gd name="connsiteY1862" fmla="*/ 257141 h 372939"/>
                <a:gd name="connsiteX1863" fmla="*/ 947709 w 1012061"/>
                <a:gd name="connsiteY1863" fmla="*/ 256405 h 372939"/>
                <a:gd name="connsiteX1864" fmla="*/ 947646 w 1012061"/>
                <a:gd name="connsiteY1864" fmla="*/ 255361 h 372939"/>
                <a:gd name="connsiteX1865" fmla="*/ 947923 w 1012061"/>
                <a:gd name="connsiteY1865" fmla="*/ 253517 h 372939"/>
                <a:gd name="connsiteX1866" fmla="*/ 947597 w 1012061"/>
                <a:gd name="connsiteY1866" fmla="*/ 251731 h 372939"/>
                <a:gd name="connsiteX1867" fmla="*/ 945918 w 1012061"/>
                <a:gd name="connsiteY1867" fmla="*/ 250897 h 372939"/>
                <a:gd name="connsiteX1868" fmla="*/ 944532 w 1012061"/>
                <a:gd name="connsiteY1868" fmla="*/ 249621 h 372939"/>
                <a:gd name="connsiteX1869" fmla="*/ 943748 w 1012061"/>
                <a:gd name="connsiteY1869" fmla="*/ 249149 h 372939"/>
                <a:gd name="connsiteX1870" fmla="*/ 942721 w 1012061"/>
                <a:gd name="connsiteY1870" fmla="*/ 249186 h 372939"/>
                <a:gd name="connsiteX1871" fmla="*/ 941723 w 1012061"/>
                <a:gd name="connsiteY1871" fmla="*/ 248333 h 372939"/>
                <a:gd name="connsiteX1872" fmla="*/ 940924 w 1012061"/>
                <a:gd name="connsiteY1872" fmla="*/ 247094 h 372939"/>
                <a:gd name="connsiteX1873" fmla="*/ 930919 w 1012061"/>
                <a:gd name="connsiteY1873" fmla="*/ 241734 h 372939"/>
                <a:gd name="connsiteX1874" fmla="*/ 930326 w 1012061"/>
                <a:gd name="connsiteY1874" fmla="*/ 240206 h 372939"/>
                <a:gd name="connsiteX1875" fmla="*/ 929399 w 1012061"/>
                <a:gd name="connsiteY1875" fmla="*/ 240877 h 372939"/>
                <a:gd name="connsiteX1876" fmla="*/ 928471 w 1012061"/>
                <a:gd name="connsiteY1876" fmla="*/ 241204 h 372939"/>
                <a:gd name="connsiteX1877" fmla="*/ 927318 w 1012061"/>
                <a:gd name="connsiteY1877" fmla="*/ 240325 h 372939"/>
                <a:gd name="connsiteX1878" fmla="*/ 926113 w 1012061"/>
                <a:gd name="connsiteY1878" fmla="*/ 239740 h 372939"/>
                <a:gd name="connsiteX1879" fmla="*/ 924796 w 1012061"/>
                <a:gd name="connsiteY1879" fmla="*/ 239836 h 372939"/>
                <a:gd name="connsiteX1880" fmla="*/ 923578 w 1012061"/>
                <a:gd name="connsiteY1880" fmla="*/ 239362 h 372939"/>
                <a:gd name="connsiteX1881" fmla="*/ 922304 w 1012061"/>
                <a:gd name="connsiteY1881" fmla="*/ 239091 h 372939"/>
                <a:gd name="connsiteX1882" fmla="*/ 920973 w 1012061"/>
                <a:gd name="connsiteY1882" fmla="*/ 239048 h 372939"/>
                <a:gd name="connsiteX1883" fmla="*/ 915711 w 1012061"/>
                <a:gd name="connsiteY1883" fmla="*/ 237399 h 372939"/>
                <a:gd name="connsiteX1884" fmla="*/ 910734 w 1012061"/>
                <a:gd name="connsiteY1884" fmla="*/ 234795 h 372939"/>
                <a:gd name="connsiteX1885" fmla="*/ 906685 w 1012061"/>
                <a:gd name="connsiteY1885" fmla="*/ 233674 h 372939"/>
                <a:gd name="connsiteX1886" fmla="*/ 904182 w 1012061"/>
                <a:gd name="connsiteY1886" fmla="*/ 232214 h 372939"/>
                <a:gd name="connsiteX1887" fmla="*/ 901578 w 1012061"/>
                <a:gd name="connsiteY1887" fmla="*/ 231019 h 372939"/>
                <a:gd name="connsiteX1888" fmla="*/ 895760 w 1012061"/>
                <a:gd name="connsiteY1888" fmla="*/ 229857 h 372939"/>
                <a:gd name="connsiteX1889" fmla="*/ 889870 w 1012061"/>
                <a:gd name="connsiteY1889" fmla="*/ 229074 h 372939"/>
                <a:gd name="connsiteX1890" fmla="*/ 887741 w 1012061"/>
                <a:gd name="connsiteY1890" fmla="*/ 229046 h 372939"/>
                <a:gd name="connsiteX1891" fmla="*/ 885955 w 1012061"/>
                <a:gd name="connsiteY1891" fmla="*/ 229297 h 372939"/>
                <a:gd name="connsiteX1892" fmla="*/ 884240 w 1012061"/>
                <a:gd name="connsiteY1892" fmla="*/ 229243 h 372939"/>
                <a:gd name="connsiteX1893" fmla="*/ 874479 w 1012061"/>
                <a:gd name="connsiteY1893" fmla="*/ 223588 h 372939"/>
                <a:gd name="connsiteX1894" fmla="*/ 872832 w 1012061"/>
                <a:gd name="connsiteY1894" fmla="*/ 221012 h 372939"/>
                <a:gd name="connsiteX1895" fmla="*/ 872992 w 1012061"/>
                <a:gd name="connsiteY1895" fmla="*/ 219506 h 372939"/>
                <a:gd name="connsiteX1896" fmla="*/ 873426 w 1012061"/>
                <a:gd name="connsiteY1896" fmla="*/ 218258 h 372939"/>
                <a:gd name="connsiteX1897" fmla="*/ 877405 w 1012061"/>
                <a:gd name="connsiteY1897" fmla="*/ 217897 h 372939"/>
                <a:gd name="connsiteX1898" fmla="*/ 874603 w 1012061"/>
                <a:gd name="connsiteY1898" fmla="*/ 217536 h 372939"/>
                <a:gd name="connsiteX1899" fmla="*/ 873450 w 1012061"/>
                <a:gd name="connsiteY1899" fmla="*/ 217707 h 372939"/>
                <a:gd name="connsiteX1900" fmla="*/ 871146 w 1012061"/>
                <a:gd name="connsiteY1900" fmla="*/ 218730 h 372939"/>
                <a:gd name="connsiteX1901" fmla="*/ 869895 w 1012061"/>
                <a:gd name="connsiteY1901" fmla="*/ 218801 h 372939"/>
                <a:gd name="connsiteX1902" fmla="*/ 868133 w 1012061"/>
                <a:gd name="connsiteY1902" fmla="*/ 218122 h 372939"/>
                <a:gd name="connsiteX1903" fmla="*/ 866449 w 1012061"/>
                <a:gd name="connsiteY1903" fmla="*/ 217266 h 372939"/>
                <a:gd name="connsiteX1904" fmla="*/ 863689 w 1012061"/>
                <a:gd name="connsiteY1904" fmla="*/ 218059 h 372939"/>
                <a:gd name="connsiteX1905" fmla="*/ 862277 w 1012061"/>
                <a:gd name="connsiteY1905" fmla="*/ 216758 h 372939"/>
                <a:gd name="connsiteX1906" fmla="*/ 861793 w 1012061"/>
                <a:gd name="connsiteY1906" fmla="*/ 215386 h 372939"/>
                <a:gd name="connsiteX1907" fmla="*/ 861055 w 1012061"/>
                <a:gd name="connsiteY1907" fmla="*/ 214759 h 372939"/>
                <a:gd name="connsiteX1908" fmla="*/ 860014 w 1012061"/>
                <a:gd name="connsiteY1908" fmla="*/ 214824 h 372939"/>
                <a:gd name="connsiteX1909" fmla="*/ 858619 w 1012061"/>
                <a:gd name="connsiteY1909" fmla="*/ 215317 h 372939"/>
                <a:gd name="connsiteX1910" fmla="*/ 857225 w 1012061"/>
                <a:gd name="connsiteY1910" fmla="*/ 215229 h 372939"/>
                <a:gd name="connsiteX1911" fmla="*/ 856325 w 1012061"/>
                <a:gd name="connsiteY1911" fmla="*/ 214290 h 372939"/>
                <a:gd name="connsiteX1912" fmla="*/ 855680 w 1012061"/>
                <a:gd name="connsiteY1912" fmla="*/ 213062 h 372939"/>
                <a:gd name="connsiteX1913" fmla="*/ 854724 w 1012061"/>
                <a:gd name="connsiteY1913" fmla="*/ 212182 h 372939"/>
                <a:gd name="connsiteX1914" fmla="*/ 853568 w 1012061"/>
                <a:gd name="connsiteY1914" fmla="*/ 211509 h 372939"/>
                <a:gd name="connsiteX1915" fmla="*/ 851679 w 1012061"/>
                <a:gd name="connsiteY1915" fmla="*/ 209914 h 372939"/>
                <a:gd name="connsiteX1916" fmla="*/ 850690 w 1012061"/>
                <a:gd name="connsiteY1916" fmla="*/ 207734 h 372939"/>
                <a:gd name="connsiteX1917" fmla="*/ 850802 w 1012061"/>
                <a:gd name="connsiteY1917" fmla="*/ 203964 h 372939"/>
                <a:gd name="connsiteX1918" fmla="*/ 851106 w 1012061"/>
                <a:gd name="connsiteY1918" fmla="*/ 202613 h 372939"/>
                <a:gd name="connsiteX1919" fmla="*/ 852974 w 1012061"/>
                <a:gd name="connsiteY1919" fmla="*/ 200417 h 372939"/>
                <a:gd name="connsiteX1920" fmla="*/ 854298 w 1012061"/>
                <a:gd name="connsiteY1920" fmla="*/ 198333 h 372939"/>
                <a:gd name="connsiteX1921" fmla="*/ 852659 w 1012061"/>
                <a:gd name="connsiteY1921" fmla="*/ 198102 h 372939"/>
                <a:gd name="connsiteX1922" fmla="*/ 851178 w 1012061"/>
                <a:gd name="connsiteY1922" fmla="*/ 199057 h 372939"/>
                <a:gd name="connsiteX1923" fmla="*/ 850549 w 1012061"/>
                <a:gd name="connsiteY1923" fmla="*/ 200039 h 372939"/>
                <a:gd name="connsiteX1924" fmla="*/ 850301 w 1012061"/>
                <a:gd name="connsiteY1924" fmla="*/ 201227 h 372939"/>
                <a:gd name="connsiteX1925" fmla="*/ 850133 w 1012061"/>
                <a:gd name="connsiteY1925" fmla="*/ 205186 h 372939"/>
                <a:gd name="connsiteX1926" fmla="*/ 848945 w 1012061"/>
                <a:gd name="connsiteY1926" fmla="*/ 206331 h 372939"/>
                <a:gd name="connsiteX1927" fmla="*/ 847148 w 1012061"/>
                <a:gd name="connsiteY1927" fmla="*/ 206238 h 372939"/>
                <a:gd name="connsiteX1928" fmla="*/ 847682 w 1012061"/>
                <a:gd name="connsiteY1928" fmla="*/ 208552 h 372939"/>
                <a:gd name="connsiteX1929" fmla="*/ 846950 w 1012061"/>
                <a:gd name="connsiteY1929" fmla="*/ 210746 h 372939"/>
                <a:gd name="connsiteX1930" fmla="*/ 844870 w 1012061"/>
                <a:gd name="connsiteY1930" fmla="*/ 213328 h 372939"/>
                <a:gd name="connsiteX1931" fmla="*/ 844695 w 1012061"/>
                <a:gd name="connsiteY1931" fmla="*/ 214502 h 372939"/>
                <a:gd name="connsiteX1932" fmla="*/ 845028 w 1012061"/>
                <a:gd name="connsiteY1932" fmla="*/ 215773 h 372939"/>
                <a:gd name="connsiteX1933" fmla="*/ 844555 w 1012061"/>
                <a:gd name="connsiteY1933" fmla="*/ 217023 h 372939"/>
                <a:gd name="connsiteX1934" fmla="*/ 841191 w 1012061"/>
                <a:gd name="connsiteY1934" fmla="*/ 220639 h 372939"/>
                <a:gd name="connsiteX1935" fmla="*/ 840070 w 1012061"/>
                <a:gd name="connsiteY1935" fmla="*/ 220813 h 372939"/>
                <a:gd name="connsiteX1936" fmla="*/ 837574 w 1012061"/>
                <a:gd name="connsiteY1936" fmla="*/ 220789 h 372939"/>
                <a:gd name="connsiteX1937" fmla="*/ 834996 w 1012061"/>
                <a:gd name="connsiteY1937" fmla="*/ 221362 h 372939"/>
                <a:gd name="connsiteX1938" fmla="*/ 833799 w 1012061"/>
                <a:gd name="connsiteY1938" fmla="*/ 220520 h 372939"/>
                <a:gd name="connsiteX1939" fmla="*/ 832818 w 1012061"/>
                <a:gd name="connsiteY1939" fmla="*/ 219424 h 372939"/>
                <a:gd name="connsiteX1940" fmla="*/ 832089 w 1012061"/>
                <a:gd name="connsiteY1940" fmla="*/ 218129 h 372939"/>
                <a:gd name="connsiteX1941" fmla="*/ 831068 w 1012061"/>
                <a:gd name="connsiteY1941" fmla="*/ 215453 h 372939"/>
                <a:gd name="connsiteX1942" fmla="*/ 830249 w 1012061"/>
                <a:gd name="connsiteY1942" fmla="*/ 212697 h 372939"/>
                <a:gd name="connsiteX1943" fmla="*/ 832810 w 1012061"/>
                <a:gd name="connsiteY1943" fmla="*/ 209317 h 372939"/>
                <a:gd name="connsiteX1944" fmla="*/ 831927 w 1012061"/>
                <a:gd name="connsiteY1944" fmla="*/ 206262 h 372939"/>
                <a:gd name="connsiteX1945" fmla="*/ 830193 w 1012061"/>
                <a:gd name="connsiteY1945" fmla="*/ 203642 h 372939"/>
                <a:gd name="connsiteX1946" fmla="*/ 825818 w 1012061"/>
                <a:gd name="connsiteY1946" fmla="*/ 200013 h 372939"/>
                <a:gd name="connsiteX1947" fmla="*/ 821279 w 1012061"/>
                <a:gd name="connsiteY1947" fmla="*/ 196570 h 372939"/>
                <a:gd name="connsiteX1948" fmla="*/ 819217 w 1012061"/>
                <a:gd name="connsiteY1948" fmla="*/ 195870 h 372939"/>
                <a:gd name="connsiteX1949" fmla="*/ 815835 w 1012061"/>
                <a:gd name="connsiteY1949" fmla="*/ 195563 h 372939"/>
                <a:gd name="connsiteX1950" fmla="*/ 814771 w 1012061"/>
                <a:gd name="connsiteY1950" fmla="*/ 195230 h 372939"/>
                <a:gd name="connsiteX1951" fmla="*/ 813719 w 1012061"/>
                <a:gd name="connsiteY1951" fmla="*/ 193935 h 372939"/>
                <a:gd name="connsiteX1952" fmla="*/ 812942 w 1012061"/>
                <a:gd name="connsiteY1952" fmla="*/ 192442 h 372939"/>
                <a:gd name="connsiteX1953" fmla="*/ 815058 w 1012061"/>
                <a:gd name="connsiteY1953" fmla="*/ 191800 h 372939"/>
                <a:gd name="connsiteX1954" fmla="*/ 818680 w 1012061"/>
                <a:gd name="connsiteY1954" fmla="*/ 190048 h 372939"/>
                <a:gd name="connsiteX1955" fmla="*/ 820728 w 1012061"/>
                <a:gd name="connsiteY1955" fmla="*/ 190132 h 372939"/>
                <a:gd name="connsiteX1956" fmla="*/ 826304 w 1012061"/>
                <a:gd name="connsiteY1956" fmla="*/ 191083 h 372939"/>
                <a:gd name="connsiteX1957" fmla="*/ 828016 w 1012061"/>
                <a:gd name="connsiteY1957" fmla="*/ 191947 h 372939"/>
                <a:gd name="connsiteX1958" fmla="*/ 829610 w 1012061"/>
                <a:gd name="connsiteY1958" fmla="*/ 192453 h 372939"/>
                <a:gd name="connsiteX1959" fmla="*/ 833419 w 1012061"/>
                <a:gd name="connsiteY1959" fmla="*/ 189557 h 372939"/>
                <a:gd name="connsiteX1960" fmla="*/ 836437 w 1012061"/>
                <a:gd name="connsiteY1960" fmla="*/ 185778 h 372939"/>
                <a:gd name="connsiteX1961" fmla="*/ 838319 w 1012061"/>
                <a:gd name="connsiteY1961" fmla="*/ 184957 h 372939"/>
                <a:gd name="connsiteX1962" fmla="*/ 839914 w 1012061"/>
                <a:gd name="connsiteY1962" fmla="*/ 184680 h 372939"/>
                <a:gd name="connsiteX1963" fmla="*/ 841549 w 1012061"/>
                <a:gd name="connsiteY1963" fmla="*/ 185046 h 372939"/>
                <a:gd name="connsiteX1964" fmla="*/ 844788 w 1012061"/>
                <a:gd name="connsiteY1964" fmla="*/ 186366 h 372939"/>
                <a:gd name="connsiteX1965" fmla="*/ 847334 w 1012061"/>
                <a:gd name="connsiteY1965" fmla="*/ 186980 h 372939"/>
                <a:gd name="connsiteX1966" fmla="*/ 849150 w 1012061"/>
                <a:gd name="connsiteY1966" fmla="*/ 187100 h 372939"/>
                <a:gd name="connsiteX1967" fmla="*/ 850099 w 1012061"/>
                <a:gd name="connsiteY1967" fmla="*/ 188283 h 372939"/>
                <a:gd name="connsiteX1968" fmla="*/ 851171 w 1012061"/>
                <a:gd name="connsiteY1968" fmla="*/ 188814 h 372939"/>
                <a:gd name="connsiteX1969" fmla="*/ 851411 w 1012061"/>
                <a:gd name="connsiteY1969" fmla="*/ 187031 h 372939"/>
                <a:gd name="connsiteX1970" fmla="*/ 852348 w 1012061"/>
                <a:gd name="connsiteY1970" fmla="*/ 184966 h 372939"/>
                <a:gd name="connsiteX1971" fmla="*/ 854147 w 1012061"/>
                <a:gd name="connsiteY1971" fmla="*/ 184324 h 372939"/>
                <a:gd name="connsiteX1972" fmla="*/ 855097 w 1012061"/>
                <a:gd name="connsiteY1972" fmla="*/ 184177 h 372939"/>
                <a:gd name="connsiteX1973" fmla="*/ 855699 w 1012061"/>
                <a:gd name="connsiteY1973" fmla="*/ 183643 h 372939"/>
                <a:gd name="connsiteX1974" fmla="*/ 855568 w 1012061"/>
                <a:gd name="connsiteY1974" fmla="*/ 181731 h 372939"/>
                <a:gd name="connsiteX1975" fmla="*/ 853181 w 1012061"/>
                <a:gd name="connsiteY1975" fmla="*/ 181491 h 372939"/>
                <a:gd name="connsiteX1976" fmla="*/ 854480 w 1012061"/>
                <a:gd name="connsiteY1976" fmla="*/ 179854 h 372939"/>
                <a:gd name="connsiteX1977" fmla="*/ 855646 w 1012061"/>
                <a:gd name="connsiteY1977" fmla="*/ 179057 h 372939"/>
                <a:gd name="connsiteX1978" fmla="*/ 856045 w 1012061"/>
                <a:gd name="connsiteY1978" fmla="*/ 178257 h 372939"/>
                <a:gd name="connsiteX1979" fmla="*/ 856069 w 1012061"/>
                <a:gd name="connsiteY1979" fmla="*/ 177253 h 372939"/>
                <a:gd name="connsiteX1980" fmla="*/ 851398 w 1012061"/>
                <a:gd name="connsiteY1980" fmla="*/ 179180 h 372939"/>
                <a:gd name="connsiteX1981" fmla="*/ 846477 w 1012061"/>
                <a:gd name="connsiteY1981" fmla="*/ 179986 h 372939"/>
                <a:gd name="connsiteX1982" fmla="*/ 843568 w 1012061"/>
                <a:gd name="connsiteY1982" fmla="*/ 179768 h 372939"/>
                <a:gd name="connsiteX1983" fmla="*/ 840664 w 1012061"/>
                <a:gd name="connsiteY1983" fmla="*/ 179739 h 372939"/>
                <a:gd name="connsiteX1984" fmla="*/ 834868 w 1012061"/>
                <a:gd name="connsiteY1984" fmla="*/ 181025 h 372939"/>
                <a:gd name="connsiteX1985" fmla="*/ 832668 w 1012061"/>
                <a:gd name="connsiteY1985" fmla="*/ 180973 h 372939"/>
                <a:gd name="connsiteX1986" fmla="*/ 827533 w 1012061"/>
                <a:gd name="connsiteY1986" fmla="*/ 180452 h 372939"/>
                <a:gd name="connsiteX1987" fmla="*/ 824693 w 1012061"/>
                <a:gd name="connsiteY1987" fmla="*/ 179828 h 372939"/>
                <a:gd name="connsiteX1988" fmla="*/ 822497 w 1012061"/>
                <a:gd name="connsiteY1988" fmla="*/ 180314 h 372939"/>
                <a:gd name="connsiteX1989" fmla="*/ 820381 w 1012061"/>
                <a:gd name="connsiteY1989" fmla="*/ 180355 h 372939"/>
                <a:gd name="connsiteX1990" fmla="*/ 818165 w 1012061"/>
                <a:gd name="connsiteY1990" fmla="*/ 178884 h 372939"/>
                <a:gd name="connsiteX1991" fmla="*/ 816280 w 1012061"/>
                <a:gd name="connsiteY1991" fmla="*/ 177039 h 372939"/>
                <a:gd name="connsiteX1992" fmla="*/ 815345 w 1012061"/>
                <a:gd name="connsiteY1992" fmla="*/ 175730 h 372939"/>
                <a:gd name="connsiteX1993" fmla="*/ 814097 w 1012061"/>
                <a:gd name="connsiteY1993" fmla="*/ 174781 h 372939"/>
                <a:gd name="connsiteX1994" fmla="*/ 813544 w 1012061"/>
                <a:gd name="connsiteY1994" fmla="*/ 173502 h 372939"/>
                <a:gd name="connsiteX1995" fmla="*/ 812166 w 1012061"/>
                <a:gd name="connsiteY1995" fmla="*/ 168690 h 372939"/>
                <a:gd name="connsiteX1996" fmla="*/ 812039 w 1012061"/>
                <a:gd name="connsiteY1996" fmla="*/ 165256 h 372939"/>
                <a:gd name="connsiteX1997" fmla="*/ 809815 w 1012061"/>
                <a:gd name="connsiteY1997" fmla="*/ 165186 h 372939"/>
                <a:gd name="connsiteX1998" fmla="*/ 807640 w 1012061"/>
                <a:gd name="connsiteY1998" fmla="*/ 164847 h 372939"/>
                <a:gd name="connsiteX1999" fmla="*/ 797962 w 1012061"/>
                <a:gd name="connsiteY1999" fmla="*/ 161580 h 372939"/>
                <a:gd name="connsiteX2000" fmla="*/ 796791 w 1012061"/>
                <a:gd name="connsiteY2000" fmla="*/ 162381 h 372939"/>
                <a:gd name="connsiteX2001" fmla="*/ 795429 w 1012061"/>
                <a:gd name="connsiteY2001" fmla="*/ 162793 h 372939"/>
                <a:gd name="connsiteX2002" fmla="*/ 794070 w 1012061"/>
                <a:gd name="connsiteY2002" fmla="*/ 162946 h 372939"/>
                <a:gd name="connsiteX2003" fmla="*/ 792721 w 1012061"/>
                <a:gd name="connsiteY2003" fmla="*/ 162778 h 372939"/>
                <a:gd name="connsiteX2004" fmla="*/ 791376 w 1012061"/>
                <a:gd name="connsiteY2004" fmla="*/ 162271 h 372939"/>
                <a:gd name="connsiteX2005" fmla="*/ 791488 w 1012061"/>
                <a:gd name="connsiteY2005" fmla="*/ 161370 h 372939"/>
                <a:gd name="connsiteX2006" fmla="*/ 792488 w 1012061"/>
                <a:gd name="connsiteY2006" fmla="*/ 159161 h 372939"/>
                <a:gd name="connsiteX2007" fmla="*/ 793469 w 1012061"/>
                <a:gd name="connsiteY2007" fmla="*/ 158346 h 372939"/>
                <a:gd name="connsiteX2008" fmla="*/ 794824 w 1012061"/>
                <a:gd name="connsiteY2008" fmla="*/ 157718 h 372939"/>
                <a:gd name="connsiteX2009" fmla="*/ 795686 w 1012061"/>
                <a:gd name="connsiteY2009" fmla="*/ 156545 h 372939"/>
                <a:gd name="connsiteX2010" fmla="*/ 797086 w 1012061"/>
                <a:gd name="connsiteY2010" fmla="*/ 153032 h 372939"/>
                <a:gd name="connsiteX2011" fmla="*/ 797193 w 1012061"/>
                <a:gd name="connsiteY2011" fmla="*/ 151831 h 372939"/>
                <a:gd name="connsiteX2012" fmla="*/ 797040 w 1012061"/>
                <a:gd name="connsiteY2012" fmla="*/ 150604 h 372939"/>
                <a:gd name="connsiteX2013" fmla="*/ 797155 w 1012061"/>
                <a:gd name="connsiteY2013" fmla="*/ 149682 h 372939"/>
                <a:gd name="connsiteX2014" fmla="*/ 798020 w 1012061"/>
                <a:gd name="connsiteY2014" fmla="*/ 149198 h 372939"/>
                <a:gd name="connsiteX2015" fmla="*/ 801671 w 1012061"/>
                <a:gd name="connsiteY2015" fmla="*/ 148054 h 372939"/>
                <a:gd name="connsiteX2016" fmla="*/ 809251 w 1012061"/>
                <a:gd name="connsiteY2016" fmla="*/ 146328 h 372939"/>
                <a:gd name="connsiteX2017" fmla="*/ 811166 w 1012061"/>
                <a:gd name="connsiteY2017" fmla="*/ 145296 h 372939"/>
                <a:gd name="connsiteX2018" fmla="*/ 812747 w 1012061"/>
                <a:gd name="connsiteY2018" fmla="*/ 143644 h 372939"/>
                <a:gd name="connsiteX2019" fmla="*/ 814595 w 1012061"/>
                <a:gd name="connsiteY2019" fmla="*/ 142640 h 372939"/>
                <a:gd name="connsiteX2020" fmla="*/ 815446 w 1012061"/>
                <a:gd name="connsiteY2020" fmla="*/ 141625 h 372939"/>
                <a:gd name="connsiteX2021" fmla="*/ 816418 w 1012061"/>
                <a:gd name="connsiteY2021" fmla="*/ 140806 h 372939"/>
                <a:gd name="connsiteX2022" fmla="*/ 822286 w 1012061"/>
                <a:gd name="connsiteY2022" fmla="*/ 138625 h 372939"/>
                <a:gd name="connsiteX2023" fmla="*/ 204926 w 1012061"/>
                <a:gd name="connsiteY2023" fmla="*/ 138165 h 372939"/>
                <a:gd name="connsiteX2024" fmla="*/ 206994 w 1012061"/>
                <a:gd name="connsiteY2024" fmla="*/ 140314 h 372939"/>
                <a:gd name="connsiteX2025" fmla="*/ 207488 w 1012061"/>
                <a:gd name="connsiteY2025" fmla="*/ 141083 h 372939"/>
                <a:gd name="connsiteX2026" fmla="*/ 206467 w 1012061"/>
                <a:gd name="connsiteY2026" fmla="*/ 142275 h 372939"/>
                <a:gd name="connsiteX2027" fmla="*/ 205640 w 1012061"/>
                <a:gd name="connsiteY2027" fmla="*/ 143959 h 372939"/>
                <a:gd name="connsiteX2028" fmla="*/ 205171 w 1012061"/>
                <a:gd name="connsiteY2028" fmla="*/ 144318 h 372939"/>
                <a:gd name="connsiteX2029" fmla="*/ 203591 w 1012061"/>
                <a:gd name="connsiteY2029" fmla="*/ 143672 h 372939"/>
                <a:gd name="connsiteX2030" fmla="*/ 202470 w 1012061"/>
                <a:gd name="connsiteY2030" fmla="*/ 145328 h 372939"/>
                <a:gd name="connsiteX2031" fmla="*/ 201732 w 1012061"/>
                <a:gd name="connsiteY2031" fmla="*/ 142685 h 372939"/>
                <a:gd name="connsiteX2032" fmla="*/ 200125 w 1012061"/>
                <a:gd name="connsiteY2032" fmla="*/ 141009 h 372939"/>
                <a:gd name="connsiteX2033" fmla="*/ 201125 w 1012061"/>
                <a:gd name="connsiteY2033" fmla="*/ 139295 h 372939"/>
                <a:gd name="connsiteX2034" fmla="*/ 201488 w 1012061"/>
                <a:gd name="connsiteY2034" fmla="*/ 139172 h 372939"/>
                <a:gd name="connsiteX2035" fmla="*/ 201974 w 1012061"/>
                <a:gd name="connsiteY2035" fmla="*/ 139226 h 372939"/>
                <a:gd name="connsiteX2036" fmla="*/ 202478 w 1012061"/>
                <a:gd name="connsiteY2036" fmla="*/ 139673 h 372939"/>
                <a:gd name="connsiteX2037" fmla="*/ 714679 w 1012061"/>
                <a:gd name="connsiteY2037" fmla="*/ 137546 h 372939"/>
                <a:gd name="connsiteX2038" fmla="*/ 715556 w 1012061"/>
                <a:gd name="connsiteY2038" fmla="*/ 137818 h 372939"/>
                <a:gd name="connsiteX2039" fmla="*/ 718107 w 1012061"/>
                <a:gd name="connsiteY2039" fmla="*/ 141122 h 372939"/>
                <a:gd name="connsiteX2040" fmla="*/ 716395 w 1012061"/>
                <a:gd name="connsiteY2040" fmla="*/ 144257 h 372939"/>
                <a:gd name="connsiteX2041" fmla="*/ 717581 w 1012061"/>
                <a:gd name="connsiteY2041" fmla="*/ 146011 h 372939"/>
                <a:gd name="connsiteX2042" fmla="*/ 720803 w 1012061"/>
                <a:gd name="connsiteY2042" fmla="*/ 146121 h 372939"/>
                <a:gd name="connsiteX2043" fmla="*/ 721545 w 1012061"/>
                <a:gd name="connsiteY2043" fmla="*/ 146777 h 372939"/>
                <a:gd name="connsiteX2044" fmla="*/ 722107 w 1012061"/>
                <a:gd name="connsiteY2044" fmla="*/ 147568 h 372939"/>
                <a:gd name="connsiteX2045" fmla="*/ 722481 w 1012061"/>
                <a:gd name="connsiteY2045" fmla="*/ 148647 h 372939"/>
                <a:gd name="connsiteX2046" fmla="*/ 721643 w 1012061"/>
                <a:gd name="connsiteY2046" fmla="*/ 149511 h 372939"/>
                <a:gd name="connsiteX2047" fmla="*/ 719848 w 1012061"/>
                <a:gd name="connsiteY2047" fmla="*/ 150306 h 372939"/>
                <a:gd name="connsiteX2048" fmla="*/ 717780 w 1012061"/>
                <a:gd name="connsiteY2048" fmla="*/ 149164 h 372939"/>
                <a:gd name="connsiteX2049" fmla="*/ 717233 w 1012061"/>
                <a:gd name="connsiteY2049" fmla="*/ 148101 h 372939"/>
                <a:gd name="connsiteX2050" fmla="*/ 716812 w 1012061"/>
                <a:gd name="connsiteY2050" fmla="*/ 147704 h 372939"/>
                <a:gd name="connsiteX2051" fmla="*/ 714026 w 1012061"/>
                <a:gd name="connsiteY2051" fmla="*/ 148509 h 372939"/>
                <a:gd name="connsiteX2052" fmla="*/ 713249 w 1012061"/>
                <a:gd name="connsiteY2052" fmla="*/ 148587 h 372939"/>
                <a:gd name="connsiteX2053" fmla="*/ 712709 w 1012061"/>
                <a:gd name="connsiteY2053" fmla="*/ 147108 h 372939"/>
                <a:gd name="connsiteX2054" fmla="*/ 713381 w 1012061"/>
                <a:gd name="connsiteY2054" fmla="*/ 144983 h 372939"/>
                <a:gd name="connsiteX2055" fmla="*/ 711433 w 1012061"/>
                <a:gd name="connsiteY2055" fmla="*/ 144024 h 372939"/>
                <a:gd name="connsiteX2056" fmla="*/ 709651 w 1012061"/>
                <a:gd name="connsiteY2056" fmla="*/ 141828 h 372939"/>
                <a:gd name="connsiteX2057" fmla="*/ 709587 w 1012061"/>
                <a:gd name="connsiteY2057" fmla="*/ 140942 h 372939"/>
                <a:gd name="connsiteX2058" fmla="*/ 710304 w 1012061"/>
                <a:gd name="connsiteY2058" fmla="*/ 139409 h 372939"/>
                <a:gd name="connsiteX2059" fmla="*/ 710206 w 1012061"/>
                <a:gd name="connsiteY2059" fmla="*/ 138191 h 372939"/>
                <a:gd name="connsiteX2060" fmla="*/ 711226 w 1012061"/>
                <a:gd name="connsiteY2060" fmla="*/ 138098 h 372939"/>
                <a:gd name="connsiteX2061" fmla="*/ 713083 w 1012061"/>
                <a:gd name="connsiteY2061" fmla="*/ 139751 h 372939"/>
                <a:gd name="connsiteX2062" fmla="*/ 713891 w 1012061"/>
                <a:gd name="connsiteY2062" fmla="*/ 138194 h 372939"/>
                <a:gd name="connsiteX2063" fmla="*/ 707212 w 1012061"/>
                <a:gd name="connsiteY2063" fmla="*/ 136421 h 372939"/>
                <a:gd name="connsiteX2064" fmla="*/ 709431 w 1012061"/>
                <a:gd name="connsiteY2064" fmla="*/ 137053 h 372939"/>
                <a:gd name="connsiteX2065" fmla="*/ 708613 w 1012061"/>
                <a:gd name="connsiteY2065" fmla="*/ 137811 h 372939"/>
                <a:gd name="connsiteX2066" fmla="*/ 709222 w 1012061"/>
                <a:gd name="connsiteY2066" fmla="*/ 139411 h 372939"/>
                <a:gd name="connsiteX2067" fmla="*/ 708544 w 1012061"/>
                <a:gd name="connsiteY2067" fmla="*/ 141718 h 372939"/>
                <a:gd name="connsiteX2068" fmla="*/ 707160 w 1012061"/>
                <a:gd name="connsiteY2068" fmla="*/ 142290 h 372939"/>
                <a:gd name="connsiteX2069" fmla="*/ 705652 w 1012061"/>
                <a:gd name="connsiteY2069" fmla="*/ 142275 h 372939"/>
                <a:gd name="connsiteX2070" fmla="*/ 705327 w 1012061"/>
                <a:gd name="connsiteY2070" fmla="*/ 139917 h 372939"/>
                <a:gd name="connsiteX2071" fmla="*/ 705814 w 1012061"/>
                <a:gd name="connsiteY2071" fmla="*/ 136926 h 372939"/>
                <a:gd name="connsiteX2072" fmla="*/ 184466 w 1012061"/>
                <a:gd name="connsiteY2072" fmla="*/ 135797 h 372939"/>
                <a:gd name="connsiteX2073" fmla="*/ 185837 w 1012061"/>
                <a:gd name="connsiteY2073" fmla="*/ 135864 h 372939"/>
                <a:gd name="connsiteX2074" fmla="*/ 188335 w 1012061"/>
                <a:gd name="connsiteY2074" fmla="*/ 136883 h 372939"/>
                <a:gd name="connsiteX2075" fmla="*/ 189227 w 1012061"/>
                <a:gd name="connsiteY2075" fmla="*/ 137792 h 372939"/>
                <a:gd name="connsiteX2076" fmla="*/ 188613 w 1012061"/>
                <a:gd name="connsiteY2076" fmla="*/ 138459 h 372939"/>
                <a:gd name="connsiteX2077" fmla="*/ 185735 w 1012061"/>
                <a:gd name="connsiteY2077" fmla="*/ 139232 h 372939"/>
                <a:gd name="connsiteX2078" fmla="*/ 182529 w 1012061"/>
                <a:gd name="connsiteY2078" fmla="*/ 138673 h 372939"/>
                <a:gd name="connsiteX2079" fmla="*/ 182919 w 1012061"/>
                <a:gd name="connsiteY2079" fmla="*/ 137343 h 372939"/>
                <a:gd name="connsiteX2080" fmla="*/ 787337 w 1012061"/>
                <a:gd name="connsiteY2080" fmla="*/ 130856 h 372939"/>
                <a:gd name="connsiteX2081" fmla="*/ 791169 w 1012061"/>
                <a:gd name="connsiteY2081" fmla="*/ 131795 h 372939"/>
                <a:gd name="connsiteX2082" fmla="*/ 792037 w 1012061"/>
                <a:gd name="connsiteY2082" fmla="*/ 131648 h 372939"/>
                <a:gd name="connsiteX2083" fmla="*/ 797588 w 1012061"/>
                <a:gd name="connsiteY2083" fmla="*/ 134078 h 372939"/>
                <a:gd name="connsiteX2084" fmla="*/ 798474 w 1012061"/>
                <a:gd name="connsiteY2084" fmla="*/ 135283 h 372939"/>
                <a:gd name="connsiteX2085" fmla="*/ 798161 w 1012061"/>
                <a:gd name="connsiteY2085" fmla="*/ 136097 h 372939"/>
                <a:gd name="connsiteX2086" fmla="*/ 798979 w 1012061"/>
                <a:gd name="connsiteY2086" fmla="*/ 137185 h 372939"/>
                <a:gd name="connsiteX2087" fmla="*/ 797161 w 1012061"/>
                <a:gd name="connsiteY2087" fmla="*/ 138852 h 372939"/>
                <a:gd name="connsiteX2088" fmla="*/ 796284 w 1012061"/>
                <a:gd name="connsiteY2088" fmla="*/ 139038 h 372939"/>
                <a:gd name="connsiteX2089" fmla="*/ 795397 w 1012061"/>
                <a:gd name="connsiteY2089" fmla="*/ 138416 h 372939"/>
                <a:gd name="connsiteX2090" fmla="*/ 793628 w 1012061"/>
                <a:gd name="connsiteY2090" fmla="*/ 138064 h 372939"/>
                <a:gd name="connsiteX2091" fmla="*/ 791585 w 1012061"/>
                <a:gd name="connsiteY2091" fmla="*/ 138742 h 372939"/>
                <a:gd name="connsiteX2092" fmla="*/ 790283 w 1012061"/>
                <a:gd name="connsiteY2092" fmla="*/ 138230 h 372939"/>
                <a:gd name="connsiteX2093" fmla="*/ 789182 w 1012061"/>
                <a:gd name="connsiteY2093" fmla="*/ 136702 h 372939"/>
                <a:gd name="connsiteX2094" fmla="*/ 787230 w 1012061"/>
                <a:gd name="connsiteY2094" fmla="*/ 135773 h 372939"/>
                <a:gd name="connsiteX2095" fmla="*/ 784468 w 1012061"/>
                <a:gd name="connsiteY2095" fmla="*/ 132549 h 372939"/>
                <a:gd name="connsiteX2096" fmla="*/ 783112 w 1012061"/>
                <a:gd name="connsiteY2096" fmla="*/ 132665 h 372939"/>
                <a:gd name="connsiteX2097" fmla="*/ 783468 w 1012061"/>
                <a:gd name="connsiteY2097" fmla="*/ 133927 h 372939"/>
                <a:gd name="connsiteX2098" fmla="*/ 784641 w 1012061"/>
                <a:gd name="connsiteY2098" fmla="*/ 134758 h 372939"/>
                <a:gd name="connsiteX2099" fmla="*/ 786189 w 1012061"/>
                <a:gd name="connsiteY2099" fmla="*/ 137209 h 372939"/>
                <a:gd name="connsiteX2100" fmla="*/ 787078 w 1012061"/>
                <a:gd name="connsiteY2100" fmla="*/ 137446 h 372939"/>
                <a:gd name="connsiteX2101" fmla="*/ 787999 w 1012061"/>
                <a:gd name="connsiteY2101" fmla="*/ 137362 h 372939"/>
                <a:gd name="connsiteX2102" fmla="*/ 789238 w 1012061"/>
                <a:gd name="connsiteY2102" fmla="*/ 138381 h 372939"/>
                <a:gd name="connsiteX2103" fmla="*/ 789173 w 1012061"/>
                <a:gd name="connsiteY2103" fmla="*/ 139964 h 372939"/>
                <a:gd name="connsiteX2104" fmla="*/ 785943 w 1012061"/>
                <a:gd name="connsiteY2104" fmla="*/ 140580 h 372939"/>
                <a:gd name="connsiteX2105" fmla="*/ 784828 w 1012061"/>
                <a:gd name="connsiteY2105" fmla="*/ 139424 h 372939"/>
                <a:gd name="connsiteX2106" fmla="*/ 784582 w 1012061"/>
                <a:gd name="connsiteY2106" fmla="*/ 137323 h 372939"/>
                <a:gd name="connsiteX2107" fmla="*/ 782766 w 1012061"/>
                <a:gd name="connsiteY2107" fmla="*/ 138032 h 372939"/>
                <a:gd name="connsiteX2108" fmla="*/ 782067 w 1012061"/>
                <a:gd name="connsiteY2108" fmla="*/ 138766 h 372939"/>
                <a:gd name="connsiteX2109" fmla="*/ 781534 w 1012061"/>
                <a:gd name="connsiteY2109" fmla="*/ 138867 h 372939"/>
                <a:gd name="connsiteX2110" fmla="*/ 780328 w 1012061"/>
                <a:gd name="connsiteY2110" fmla="*/ 136678 h 372939"/>
                <a:gd name="connsiteX2111" fmla="*/ 776884 w 1012061"/>
                <a:gd name="connsiteY2111" fmla="*/ 136566 h 372939"/>
                <a:gd name="connsiteX2112" fmla="*/ 774586 w 1012061"/>
                <a:gd name="connsiteY2112" fmla="*/ 135402 h 372939"/>
                <a:gd name="connsiteX2113" fmla="*/ 775716 w 1012061"/>
                <a:gd name="connsiteY2113" fmla="*/ 134186 h 372939"/>
                <a:gd name="connsiteX2114" fmla="*/ 775875 w 1012061"/>
                <a:gd name="connsiteY2114" fmla="*/ 133009 h 372939"/>
                <a:gd name="connsiteX2115" fmla="*/ 777371 w 1012061"/>
                <a:gd name="connsiteY2115" fmla="*/ 132376 h 372939"/>
                <a:gd name="connsiteX2116" fmla="*/ 778884 w 1012061"/>
                <a:gd name="connsiteY2116" fmla="*/ 132943 h 372939"/>
                <a:gd name="connsiteX2117" fmla="*/ 780401 w 1012061"/>
                <a:gd name="connsiteY2117" fmla="*/ 132094 h 372939"/>
                <a:gd name="connsiteX2118" fmla="*/ 781480 w 1012061"/>
                <a:gd name="connsiteY2118" fmla="*/ 132312 h 372939"/>
                <a:gd name="connsiteX2119" fmla="*/ 782274 w 1012061"/>
                <a:gd name="connsiteY2119" fmla="*/ 131769 h 372939"/>
                <a:gd name="connsiteX2120" fmla="*/ 785327 w 1012061"/>
                <a:gd name="connsiteY2120" fmla="*/ 131425 h 372939"/>
                <a:gd name="connsiteX2121" fmla="*/ 70048 w 1012061"/>
                <a:gd name="connsiteY2121" fmla="*/ 130609 h 372939"/>
                <a:gd name="connsiteX2122" fmla="*/ 70953 w 1012061"/>
                <a:gd name="connsiteY2122" fmla="*/ 131153 h 372939"/>
                <a:gd name="connsiteX2123" fmla="*/ 72477 w 1012061"/>
                <a:gd name="connsiteY2123" fmla="*/ 134473 h 372939"/>
                <a:gd name="connsiteX2124" fmla="*/ 73799 w 1012061"/>
                <a:gd name="connsiteY2124" fmla="*/ 136462 h 372939"/>
                <a:gd name="connsiteX2125" fmla="*/ 73268 w 1012061"/>
                <a:gd name="connsiteY2125" fmla="*/ 139161 h 372939"/>
                <a:gd name="connsiteX2126" fmla="*/ 71922 w 1012061"/>
                <a:gd name="connsiteY2126" fmla="*/ 142495 h 372939"/>
                <a:gd name="connsiteX2127" fmla="*/ 70605 w 1012061"/>
                <a:gd name="connsiteY2127" fmla="*/ 143521 h 372939"/>
                <a:gd name="connsiteX2128" fmla="*/ 68615 w 1012061"/>
                <a:gd name="connsiteY2128" fmla="*/ 142525 h 372939"/>
                <a:gd name="connsiteX2129" fmla="*/ 69284 w 1012061"/>
                <a:gd name="connsiteY2129" fmla="*/ 141111 h 372939"/>
                <a:gd name="connsiteX2130" fmla="*/ 69611 w 1012061"/>
                <a:gd name="connsiteY2130" fmla="*/ 139152 h 372939"/>
                <a:gd name="connsiteX2131" fmla="*/ 70806 w 1012061"/>
                <a:gd name="connsiteY2131" fmla="*/ 137598 h 372939"/>
                <a:gd name="connsiteX2132" fmla="*/ 71212 w 1012061"/>
                <a:gd name="connsiteY2132" fmla="*/ 135773 h 372939"/>
                <a:gd name="connsiteX2133" fmla="*/ 68908 w 1012061"/>
                <a:gd name="connsiteY2133" fmla="*/ 130783 h 372939"/>
                <a:gd name="connsiteX2134" fmla="*/ 206439 w 1012061"/>
                <a:gd name="connsiteY2134" fmla="*/ 130373 h 372939"/>
                <a:gd name="connsiteX2135" fmla="*/ 208495 w 1012061"/>
                <a:gd name="connsiteY2135" fmla="*/ 131173 h 372939"/>
                <a:gd name="connsiteX2136" fmla="*/ 208998 w 1012061"/>
                <a:gd name="connsiteY2136" fmla="*/ 132155 h 372939"/>
                <a:gd name="connsiteX2137" fmla="*/ 208873 w 1012061"/>
                <a:gd name="connsiteY2137" fmla="*/ 132446 h 372939"/>
                <a:gd name="connsiteX2138" fmla="*/ 210216 w 1012061"/>
                <a:gd name="connsiteY2138" fmla="*/ 133043 h 372939"/>
                <a:gd name="connsiteX2139" fmla="*/ 211656 w 1012061"/>
                <a:gd name="connsiteY2139" fmla="*/ 134656 h 372939"/>
                <a:gd name="connsiteX2140" fmla="*/ 212296 w 1012061"/>
                <a:gd name="connsiteY2140" fmla="*/ 135021 h 372939"/>
                <a:gd name="connsiteX2141" fmla="*/ 213084 w 1012061"/>
                <a:gd name="connsiteY2141" fmla="*/ 133875 h 372939"/>
                <a:gd name="connsiteX2142" fmla="*/ 214539 w 1012061"/>
                <a:gd name="connsiteY2142" fmla="*/ 135447 h 372939"/>
                <a:gd name="connsiteX2143" fmla="*/ 215440 w 1012061"/>
                <a:gd name="connsiteY2143" fmla="*/ 136233 h 372939"/>
                <a:gd name="connsiteX2144" fmla="*/ 216671 w 1012061"/>
                <a:gd name="connsiteY2144" fmla="*/ 137019 h 372939"/>
                <a:gd name="connsiteX2145" fmla="*/ 215459 w 1012061"/>
                <a:gd name="connsiteY2145" fmla="*/ 137055 h 372939"/>
                <a:gd name="connsiteX2146" fmla="*/ 214971 w 1012061"/>
                <a:gd name="connsiteY2146" fmla="*/ 137775 h 372939"/>
                <a:gd name="connsiteX2147" fmla="*/ 214656 w 1012061"/>
                <a:gd name="connsiteY2147" fmla="*/ 137915 h 372939"/>
                <a:gd name="connsiteX2148" fmla="*/ 209968 w 1012061"/>
                <a:gd name="connsiteY2148" fmla="*/ 135380 h 372939"/>
                <a:gd name="connsiteX2149" fmla="*/ 206968 w 1012061"/>
                <a:gd name="connsiteY2149" fmla="*/ 136196 h 372939"/>
                <a:gd name="connsiteX2150" fmla="*/ 204910 w 1012061"/>
                <a:gd name="connsiteY2150" fmla="*/ 135456 h 372939"/>
                <a:gd name="connsiteX2151" fmla="*/ 204325 w 1012061"/>
                <a:gd name="connsiteY2151" fmla="*/ 134948 h 372939"/>
                <a:gd name="connsiteX2152" fmla="*/ 205431 w 1012061"/>
                <a:gd name="connsiteY2152" fmla="*/ 133560 h 372939"/>
                <a:gd name="connsiteX2153" fmla="*/ 754070 w 1012061"/>
                <a:gd name="connsiteY2153" fmla="*/ 129761 h 372939"/>
                <a:gd name="connsiteX2154" fmla="*/ 759227 w 1012061"/>
                <a:gd name="connsiteY2154" fmla="*/ 133844 h 372939"/>
                <a:gd name="connsiteX2155" fmla="*/ 759380 w 1012061"/>
                <a:gd name="connsiteY2155" fmla="*/ 134901 h 372939"/>
                <a:gd name="connsiteX2156" fmla="*/ 758424 w 1012061"/>
                <a:gd name="connsiteY2156" fmla="*/ 134963 h 372939"/>
                <a:gd name="connsiteX2157" fmla="*/ 757618 w 1012061"/>
                <a:gd name="connsiteY2157" fmla="*/ 133672 h 372939"/>
                <a:gd name="connsiteX2158" fmla="*/ 755426 w 1012061"/>
                <a:gd name="connsiteY2158" fmla="*/ 132234 h 372939"/>
                <a:gd name="connsiteX2159" fmla="*/ 712556 w 1012061"/>
                <a:gd name="connsiteY2159" fmla="*/ 127613 h 372939"/>
                <a:gd name="connsiteX2160" fmla="*/ 712956 w 1012061"/>
                <a:gd name="connsiteY2160" fmla="*/ 129240 h 372939"/>
                <a:gd name="connsiteX2161" fmla="*/ 713044 w 1012061"/>
                <a:gd name="connsiteY2161" fmla="*/ 130895 h 372939"/>
                <a:gd name="connsiteX2162" fmla="*/ 712938 w 1012061"/>
                <a:gd name="connsiteY2162" fmla="*/ 131575 h 372939"/>
                <a:gd name="connsiteX2163" fmla="*/ 712258 w 1012061"/>
                <a:gd name="connsiteY2163" fmla="*/ 130625 h 372939"/>
                <a:gd name="connsiteX2164" fmla="*/ 711792 w 1012061"/>
                <a:gd name="connsiteY2164" fmla="*/ 130398 h 372939"/>
                <a:gd name="connsiteX2165" fmla="*/ 712295 w 1012061"/>
                <a:gd name="connsiteY2165" fmla="*/ 128014 h 372939"/>
                <a:gd name="connsiteX2166" fmla="*/ 205478 w 1012061"/>
                <a:gd name="connsiteY2166" fmla="*/ 125634 h 372939"/>
                <a:gd name="connsiteX2167" fmla="*/ 206465 w 1012061"/>
                <a:gd name="connsiteY2167" fmla="*/ 125828 h 372939"/>
                <a:gd name="connsiteX2168" fmla="*/ 209031 w 1012061"/>
                <a:gd name="connsiteY2168" fmla="*/ 128486 h 372939"/>
                <a:gd name="connsiteX2169" fmla="*/ 209680 w 1012061"/>
                <a:gd name="connsiteY2169" fmla="*/ 129449 h 372939"/>
                <a:gd name="connsiteX2170" fmla="*/ 209877 w 1012061"/>
                <a:gd name="connsiteY2170" fmla="*/ 129998 h 372939"/>
                <a:gd name="connsiteX2171" fmla="*/ 208832 w 1012061"/>
                <a:gd name="connsiteY2171" fmla="*/ 129379 h 372939"/>
                <a:gd name="connsiteX2172" fmla="*/ 208201 w 1012061"/>
                <a:gd name="connsiteY2172" fmla="*/ 129004 h 372939"/>
                <a:gd name="connsiteX2173" fmla="*/ 207784 w 1012061"/>
                <a:gd name="connsiteY2173" fmla="*/ 128660 h 372939"/>
                <a:gd name="connsiteX2174" fmla="*/ 176472 w 1012061"/>
                <a:gd name="connsiteY2174" fmla="*/ 115292 h 372939"/>
                <a:gd name="connsiteX2175" fmla="*/ 177594 w 1012061"/>
                <a:gd name="connsiteY2175" fmla="*/ 115317 h 372939"/>
                <a:gd name="connsiteX2176" fmla="*/ 178854 w 1012061"/>
                <a:gd name="connsiteY2176" fmla="*/ 117189 h 372939"/>
                <a:gd name="connsiteX2177" fmla="*/ 178618 w 1012061"/>
                <a:gd name="connsiteY2177" fmla="*/ 118782 h 372939"/>
                <a:gd name="connsiteX2178" fmla="*/ 176134 w 1012061"/>
                <a:gd name="connsiteY2178" fmla="*/ 118909 h 372939"/>
                <a:gd name="connsiteX2179" fmla="*/ 175413 w 1012061"/>
                <a:gd name="connsiteY2179" fmla="*/ 118624 h 372939"/>
                <a:gd name="connsiteX2180" fmla="*/ 175717 w 1012061"/>
                <a:gd name="connsiteY2180" fmla="*/ 116544 h 372939"/>
                <a:gd name="connsiteX2181" fmla="*/ 712411 w 1012061"/>
                <a:gd name="connsiteY2181" fmla="*/ 114305 h 372939"/>
                <a:gd name="connsiteX2182" fmla="*/ 712805 w 1012061"/>
                <a:gd name="connsiteY2182" fmla="*/ 114547 h 372939"/>
                <a:gd name="connsiteX2183" fmla="*/ 712878 w 1012061"/>
                <a:gd name="connsiteY2183" fmla="*/ 115656 h 372939"/>
                <a:gd name="connsiteX2184" fmla="*/ 712299 w 1012061"/>
                <a:gd name="connsiteY2184" fmla="*/ 116567 h 372939"/>
                <a:gd name="connsiteX2185" fmla="*/ 711509 w 1012061"/>
                <a:gd name="connsiteY2185" fmla="*/ 116812 h 372939"/>
                <a:gd name="connsiteX2186" fmla="*/ 711280 w 1012061"/>
                <a:gd name="connsiteY2186" fmla="*/ 116727 h 372939"/>
                <a:gd name="connsiteX2187" fmla="*/ 711042 w 1012061"/>
                <a:gd name="connsiteY2187" fmla="*/ 115836 h 372939"/>
                <a:gd name="connsiteX2188" fmla="*/ 711478 w 1012061"/>
                <a:gd name="connsiteY2188" fmla="*/ 114323 h 372939"/>
                <a:gd name="connsiteX2189" fmla="*/ 710090 w 1012061"/>
                <a:gd name="connsiteY2189" fmla="*/ 111704 h 372939"/>
                <a:gd name="connsiteX2190" fmla="*/ 710841 w 1012061"/>
                <a:gd name="connsiteY2190" fmla="*/ 112026 h 372939"/>
                <a:gd name="connsiteX2191" fmla="*/ 711258 w 1012061"/>
                <a:gd name="connsiteY2191" fmla="*/ 113267 h 372939"/>
                <a:gd name="connsiteX2192" fmla="*/ 710500 w 1012061"/>
                <a:gd name="connsiteY2192" fmla="*/ 113994 h 372939"/>
                <a:gd name="connsiteX2193" fmla="*/ 709785 w 1012061"/>
                <a:gd name="connsiteY2193" fmla="*/ 113751 h 372939"/>
                <a:gd name="connsiteX2194" fmla="*/ 709351 w 1012061"/>
                <a:gd name="connsiteY2194" fmla="*/ 112812 h 372939"/>
                <a:gd name="connsiteX2195" fmla="*/ 709492 w 1012061"/>
                <a:gd name="connsiteY2195" fmla="*/ 112136 h 372939"/>
                <a:gd name="connsiteX2196" fmla="*/ 180866 w 1012061"/>
                <a:gd name="connsiteY2196" fmla="*/ 111536 h 372939"/>
                <a:gd name="connsiteX2197" fmla="*/ 181905 w 1012061"/>
                <a:gd name="connsiteY2197" fmla="*/ 112522 h 372939"/>
                <a:gd name="connsiteX2198" fmla="*/ 182727 w 1012061"/>
                <a:gd name="connsiteY2198" fmla="*/ 113559 h 372939"/>
                <a:gd name="connsiteX2199" fmla="*/ 183327 w 1012061"/>
                <a:gd name="connsiteY2199" fmla="*/ 114784 h 372939"/>
                <a:gd name="connsiteX2200" fmla="*/ 182282 w 1012061"/>
                <a:gd name="connsiteY2200" fmla="*/ 116073 h 372939"/>
                <a:gd name="connsiteX2201" fmla="*/ 181829 w 1012061"/>
                <a:gd name="connsiteY2201" fmla="*/ 116373 h 372939"/>
                <a:gd name="connsiteX2202" fmla="*/ 179943 w 1012061"/>
                <a:gd name="connsiteY2202" fmla="*/ 113564 h 372939"/>
                <a:gd name="connsiteX2203" fmla="*/ 180414 w 1012061"/>
                <a:gd name="connsiteY2203" fmla="*/ 111945 h 372939"/>
                <a:gd name="connsiteX2204" fmla="*/ 188954 w 1012061"/>
                <a:gd name="connsiteY2204" fmla="*/ 111055 h 372939"/>
                <a:gd name="connsiteX2205" fmla="*/ 190164 w 1012061"/>
                <a:gd name="connsiteY2205" fmla="*/ 112050 h 372939"/>
                <a:gd name="connsiteX2206" fmla="*/ 190650 w 1012061"/>
                <a:gd name="connsiteY2206" fmla="*/ 113053 h 372939"/>
                <a:gd name="connsiteX2207" fmla="*/ 190768 w 1012061"/>
                <a:gd name="connsiteY2207" fmla="*/ 113689 h 372939"/>
                <a:gd name="connsiteX2208" fmla="*/ 188743 w 1012061"/>
                <a:gd name="connsiteY2208" fmla="*/ 112412 h 372939"/>
                <a:gd name="connsiteX2209" fmla="*/ 188691 w 1012061"/>
                <a:gd name="connsiteY2209" fmla="*/ 111487 h 372939"/>
                <a:gd name="connsiteX2210" fmla="*/ 197154 w 1012061"/>
                <a:gd name="connsiteY2210" fmla="*/ 109891 h 372939"/>
                <a:gd name="connsiteX2211" fmla="*/ 198210 w 1012061"/>
                <a:gd name="connsiteY2211" fmla="*/ 110936 h 372939"/>
                <a:gd name="connsiteX2212" fmla="*/ 199460 w 1012061"/>
                <a:gd name="connsiteY2212" fmla="*/ 111309 h 372939"/>
                <a:gd name="connsiteX2213" fmla="*/ 199732 w 1012061"/>
                <a:gd name="connsiteY2213" fmla="*/ 112324 h 372939"/>
                <a:gd name="connsiteX2214" fmla="*/ 198348 w 1012061"/>
                <a:gd name="connsiteY2214" fmla="*/ 112967 h 372939"/>
                <a:gd name="connsiteX2215" fmla="*/ 196610 w 1012061"/>
                <a:gd name="connsiteY2215" fmla="*/ 110947 h 372939"/>
                <a:gd name="connsiteX2216" fmla="*/ 196674 w 1012061"/>
                <a:gd name="connsiteY2216" fmla="*/ 110477 h 372939"/>
                <a:gd name="connsiteX2217" fmla="*/ 196834 w 1012061"/>
                <a:gd name="connsiteY2217" fmla="*/ 110122 h 372939"/>
                <a:gd name="connsiteX2218" fmla="*/ 162360 w 1012061"/>
                <a:gd name="connsiteY2218" fmla="*/ 105772 h 372939"/>
                <a:gd name="connsiteX2219" fmla="*/ 164216 w 1012061"/>
                <a:gd name="connsiteY2219" fmla="*/ 107449 h 372939"/>
                <a:gd name="connsiteX2220" fmla="*/ 166272 w 1012061"/>
                <a:gd name="connsiteY2220" fmla="*/ 108891 h 372939"/>
                <a:gd name="connsiteX2221" fmla="*/ 167464 w 1012061"/>
                <a:gd name="connsiteY2221" fmla="*/ 109551 h 372939"/>
                <a:gd name="connsiteX2222" fmla="*/ 171092 w 1012061"/>
                <a:gd name="connsiteY2222" fmla="*/ 111025 h 372939"/>
                <a:gd name="connsiteX2223" fmla="*/ 172381 w 1012061"/>
                <a:gd name="connsiteY2223" fmla="*/ 111764 h 372939"/>
                <a:gd name="connsiteX2224" fmla="*/ 172936 w 1012061"/>
                <a:gd name="connsiteY2224" fmla="*/ 114255 h 372939"/>
                <a:gd name="connsiteX2225" fmla="*/ 172521 w 1012061"/>
                <a:gd name="connsiteY2225" fmla="*/ 115107 h 372939"/>
                <a:gd name="connsiteX2226" fmla="*/ 171697 w 1012061"/>
                <a:gd name="connsiteY2226" fmla="*/ 114479 h 372939"/>
                <a:gd name="connsiteX2227" fmla="*/ 167380 w 1012061"/>
                <a:gd name="connsiteY2227" fmla="*/ 113527 h 372939"/>
                <a:gd name="connsiteX2228" fmla="*/ 165927 w 1012061"/>
                <a:gd name="connsiteY2228" fmla="*/ 113421 h 372939"/>
                <a:gd name="connsiteX2229" fmla="*/ 162191 w 1012061"/>
                <a:gd name="connsiteY2229" fmla="*/ 112377 h 372939"/>
                <a:gd name="connsiteX2230" fmla="*/ 161060 w 1012061"/>
                <a:gd name="connsiteY2230" fmla="*/ 111823 h 372939"/>
                <a:gd name="connsiteX2231" fmla="*/ 160252 w 1012061"/>
                <a:gd name="connsiteY2231" fmla="*/ 111096 h 372939"/>
                <a:gd name="connsiteX2232" fmla="*/ 160528 w 1012061"/>
                <a:gd name="connsiteY2232" fmla="*/ 109751 h 372939"/>
                <a:gd name="connsiteX2233" fmla="*/ 161081 w 1012061"/>
                <a:gd name="connsiteY2233" fmla="*/ 108943 h 372939"/>
                <a:gd name="connsiteX2234" fmla="*/ 161418 w 1012061"/>
                <a:gd name="connsiteY2234" fmla="*/ 106689 h 372939"/>
                <a:gd name="connsiteX2235" fmla="*/ 180729 w 1012061"/>
                <a:gd name="connsiteY2235" fmla="*/ 105697 h 372939"/>
                <a:gd name="connsiteX2236" fmla="*/ 181281 w 1012061"/>
                <a:gd name="connsiteY2236" fmla="*/ 107048 h 372939"/>
                <a:gd name="connsiteX2237" fmla="*/ 181701 w 1012061"/>
                <a:gd name="connsiteY2237" fmla="*/ 107584 h 372939"/>
                <a:gd name="connsiteX2238" fmla="*/ 181829 w 1012061"/>
                <a:gd name="connsiteY2238" fmla="*/ 108799 h 372939"/>
                <a:gd name="connsiteX2239" fmla="*/ 180360 w 1012061"/>
                <a:gd name="connsiteY2239" fmla="*/ 108501 h 372939"/>
                <a:gd name="connsiteX2240" fmla="*/ 179302 w 1012061"/>
                <a:gd name="connsiteY2240" fmla="*/ 107076 h 372939"/>
                <a:gd name="connsiteX2241" fmla="*/ 180177 w 1012061"/>
                <a:gd name="connsiteY2241" fmla="*/ 106060 h 372939"/>
                <a:gd name="connsiteX2242" fmla="*/ 167687 w 1012061"/>
                <a:gd name="connsiteY2242" fmla="*/ 104993 h 372939"/>
                <a:gd name="connsiteX2243" fmla="*/ 172314 w 1012061"/>
                <a:gd name="connsiteY2243" fmla="*/ 107154 h 372939"/>
                <a:gd name="connsiteX2244" fmla="*/ 173822 w 1012061"/>
                <a:gd name="connsiteY2244" fmla="*/ 108326 h 372939"/>
                <a:gd name="connsiteX2245" fmla="*/ 176007 w 1012061"/>
                <a:gd name="connsiteY2245" fmla="*/ 111524 h 372939"/>
                <a:gd name="connsiteX2246" fmla="*/ 175362 w 1012061"/>
                <a:gd name="connsiteY2246" fmla="*/ 112154 h 372939"/>
                <a:gd name="connsiteX2247" fmla="*/ 174245 w 1012061"/>
                <a:gd name="connsiteY2247" fmla="*/ 112010 h 372939"/>
                <a:gd name="connsiteX2248" fmla="*/ 173066 w 1012061"/>
                <a:gd name="connsiteY2248" fmla="*/ 111261 h 372939"/>
                <a:gd name="connsiteX2249" fmla="*/ 171531 w 1012061"/>
                <a:gd name="connsiteY2249" fmla="*/ 109920 h 372939"/>
                <a:gd name="connsiteX2250" fmla="*/ 169814 w 1012061"/>
                <a:gd name="connsiteY2250" fmla="*/ 108724 h 372939"/>
                <a:gd name="connsiteX2251" fmla="*/ 167640 w 1012061"/>
                <a:gd name="connsiteY2251" fmla="*/ 107968 h 372939"/>
                <a:gd name="connsiteX2252" fmla="*/ 166279 w 1012061"/>
                <a:gd name="connsiteY2252" fmla="*/ 107740 h 372939"/>
                <a:gd name="connsiteX2253" fmla="*/ 165735 w 1012061"/>
                <a:gd name="connsiteY2253" fmla="*/ 107465 h 372939"/>
                <a:gd name="connsiteX2254" fmla="*/ 166260 w 1012061"/>
                <a:gd name="connsiteY2254" fmla="*/ 105140 h 372939"/>
                <a:gd name="connsiteX2255" fmla="*/ 194988 w 1012061"/>
                <a:gd name="connsiteY2255" fmla="*/ 104659 h 372939"/>
                <a:gd name="connsiteX2256" fmla="*/ 196387 w 1012061"/>
                <a:gd name="connsiteY2256" fmla="*/ 105622 h 372939"/>
                <a:gd name="connsiteX2257" fmla="*/ 197531 w 1012061"/>
                <a:gd name="connsiteY2257" fmla="*/ 104991 h 372939"/>
                <a:gd name="connsiteX2258" fmla="*/ 197487 w 1012061"/>
                <a:gd name="connsiteY2258" fmla="*/ 105817 h 372939"/>
                <a:gd name="connsiteX2259" fmla="*/ 197256 w 1012061"/>
                <a:gd name="connsiteY2259" fmla="*/ 106610 h 372939"/>
                <a:gd name="connsiteX2260" fmla="*/ 195901 w 1012061"/>
                <a:gd name="connsiteY2260" fmla="*/ 108884 h 372939"/>
                <a:gd name="connsiteX2261" fmla="*/ 193634 w 1012061"/>
                <a:gd name="connsiteY2261" fmla="*/ 108360 h 372939"/>
                <a:gd name="connsiteX2262" fmla="*/ 193109 w 1012061"/>
                <a:gd name="connsiteY2262" fmla="*/ 107624 h 372939"/>
                <a:gd name="connsiteX2263" fmla="*/ 192941 w 1012061"/>
                <a:gd name="connsiteY2263" fmla="*/ 107074 h 372939"/>
                <a:gd name="connsiteX2264" fmla="*/ 193267 w 1012061"/>
                <a:gd name="connsiteY2264" fmla="*/ 106728 h 372939"/>
                <a:gd name="connsiteX2265" fmla="*/ 193453 w 1012061"/>
                <a:gd name="connsiteY2265" fmla="*/ 105613 h 372939"/>
                <a:gd name="connsiteX2266" fmla="*/ 194435 w 1012061"/>
                <a:gd name="connsiteY2266" fmla="*/ 105617 h 372939"/>
                <a:gd name="connsiteX2267" fmla="*/ 207383 w 1012061"/>
                <a:gd name="connsiteY2267" fmla="*/ 103873 h 372939"/>
                <a:gd name="connsiteX2268" fmla="*/ 207508 w 1012061"/>
                <a:gd name="connsiteY2268" fmla="*/ 105533 h 372939"/>
                <a:gd name="connsiteX2269" fmla="*/ 208771 w 1012061"/>
                <a:gd name="connsiteY2269" fmla="*/ 106339 h 372939"/>
                <a:gd name="connsiteX2270" fmla="*/ 209097 w 1012061"/>
                <a:gd name="connsiteY2270" fmla="*/ 107558 h 372939"/>
                <a:gd name="connsiteX2271" fmla="*/ 208875 w 1012061"/>
                <a:gd name="connsiteY2271" fmla="*/ 109514 h 372939"/>
                <a:gd name="connsiteX2272" fmla="*/ 207687 w 1012061"/>
                <a:gd name="connsiteY2272" fmla="*/ 111771 h 372939"/>
                <a:gd name="connsiteX2273" fmla="*/ 207158 w 1012061"/>
                <a:gd name="connsiteY2273" fmla="*/ 112369 h 372939"/>
                <a:gd name="connsiteX2274" fmla="*/ 205591 w 1012061"/>
                <a:gd name="connsiteY2274" fmla="*/ 111911 h 372939"/>
                <a:gd name="connsiteX2275" fmla="*/ 205068 w 1012061"/>
                <a:gd name="connsiteY2275" fmla="*/ 111157 h 372939"/>
                <a:gd name="connsiteX2276" fmla="*/ 204859 w 1012061"/>
                <a:gd name="connsiteY2276" fmla="*/ 110566 h 372939"/>
                <a:gd name="connsiteX2277" fmla="*/ 205077 w 1012061"/>
                <a:gd name="connsiteY2277" fmla="*/ 110145 h 372939"/>
                <a:gd name="connsiteX2278" fmla="*/ 203917 w 1012061"/>
                <a:gd name="connsiteY2278" fmla="*/ 109614 h 372939"/>
                <a:gd name="connsiteX2279" fmla="*/ 204664 w 1012061"/>
                <a:gd name="connsiteY2279" fmla="*/ 108751 h 372939"/>
                <a:gd name="connsiteX2280" fmla="*/ 204152 w 1012061"/>
                <a:gd name="connsiteY2280" fmla="*/ 107537 h 372939"/>
                <a:gd name="connsiteX2281" fmla="*/ 200939 w 1012061"/>
                <a:gd name="connsiteY2281" fmla="*/ 108296 h 372939"/>
                <a:gd name="connsiteX2282" fmla="*/ 200010 w 1012061"/>
                <a:gd name="connsiteY2282" fmla="*/ 108323 h 372939"/>
                <a:gd name="connsiteX2283" fmla="*/ 199840 w 1012061"/>
                <a:gd name="connsiteY2283" fmla="*/ 106941 h 372939"/>
                <a:gd name="connsiteX2284" fmla="*/ 199972 w 1012061"/>
                <a:gd name="connsiteY2284" fmla="*/ 106382 h 372939"/>
                <a:gd name="connsiteX2285" fmla="*/ 202440 w 1012061"/>
                <a:gd name="connsiteY2285" fmla="*/ 104639 h 372939"/>
                <a:gd name="connsiteX2286" fmla="*/ 203912 w 1012061"/>
                <a:gd name="connsiteY2286" fmla="*/ 104317 h 372939"/>
                <a:gd name="connsiteX2287" fmla="*/ 205498 w 1012061"/>
                <a:gd name="connsiteY2287" fmla="*/ 104667 h 372939"/>
                <a:gd name="connsiteX2288" fmla="*/ 155884 w 1012061"/>
                <a:gd name="connsiteY2288" fmla="*/ 99871 h 372939"/>
                <a:gd name="connsiteX2289" fmla="*/ 156329 w 1012061"/>
                <a:gd name="connsiteY2289" fmla="*/ 99911 h 372939"/>
                <a:gd name="connsiteX2290" fmla="*/ 158145 w 1012061"/>
                <a:gd name="connsiteY2290" fmla="*/ 101008 h 372939"/>
                <a:gd name="connsiteX2291" fmla="*/ 159345 w 1012061"/>
                <a:gd name="connsiteY2291" fmla="*/ 102885 h 372939"/>
                <a:gd name="connsiteX2292" fmla="*/ 160008 w 1012061"/>
                <a:gd name="connsiteY2292" fmla="*/ 103473 h 372939"/>
                <a:gd name="connsiteX2293" fmla="*/ 160140 w 1012061"/>
                <a:gd name="connsiteY2293" fmla="*/ 105197 h 372939"/>
                <a:gd name="connsiteX2294" fmla="*/ 159700 w 1012061"/>
                <a:gd name="connsiteY2294" fmla="*/ 107165 h 372939"/>
                <a:gd name="connsiteX2295" fmla="*/ 159660 w 1012061"/>
                <a:gd name="connsiteY2295" fmla="*/ 108871 h 372939"/>
                <a:gd name="connsiteX2296" fmla="*/ 158637 w 1012061"/>
                <a:gd name="connsiteY2296" fmla="*/ 109542 h 372939"/>
                <a:gd name="connsiteX2297" fmla="*/ 157408 w 1012061"/>
                <a:gd name="connsiteY2297" fmla="*/ 108497 h 372939"/>
                <a:gd name="connsiteX2298" fmla="*/ 156398 w 1012061"/>
                <a:gd name="connsiteY2298" fmla="*/ 106979 h 372939"/>
                <a:gd name="connsiteX2299" fmla="*/ 155864 w 1012061"/>
                <a:gd name="connsiteY2299" fmla="*/ 105398 h 372939"/>
                <a:gd name="connsiteX2300" fmla="*/ 155394 w 1012061"/>
                <a:gd name="connsiteY2300" fmla="*/ 102815 h 372939"/>
                <a:gd name="connsiteX2301" fmla="*/ 155271 w 1012061"/>
                <a:gd name="connsiteY2301" fmla="*/ 100960 h 372939"/>
                <a:gd name="connsiteX2302" fmla="*/ 47526 w 1012061"/>
                <a:gd name="connsiteY2302" fmla="*/ 96716 h 372939"/>
                <a:gd name="connsiteX2303" fmla="*/ 50302 w 1012061"/>
                <a:gd name="connsiteY2303" fmla="*/ 98367 h 372939"/>
                <a:gd name="connsiteX2304" fmla="*/ 55097 w 1012061"/>
                <a:gd name="connsiteY2304" fmla="*/ 104589 h 372939"/>
                <a:gd name="connsiteX2305" fmla="*/ 57044 w 1012061"/>
                <a:gd name="connsiteY2305" fmla="*/ 105426 h 372939"/>
                <a:gd name="connsiteX2306" fmla="*/ 59627 w 1012061"/>
                <a:gd name="connsiteY2306" fmla="*/ 108249 h 372939"/>
                <a:gd name="connsiteX2307" fmla="*/ 60262 w 1012061"/>
                <a:gd name="connsiteY2307" fmla="*/ 109229 h 372939"/>
                <a:gd name="connsiteX2308" fmla="*/ 59601 w 1012061"/>
                <a:gd name="connsiteY2308" fmla="*/ 111212 h 372939"/>
                <a:gd name="connsiteX2309" fmla="*/ 59035 w 1012061"/>
                <a:gd name="connsiteY2309" fmla="*/ 116872 h 372939"/>
                <a:gd name="connsiteX2310" fmla="*/ 57796 w 1012061"/>
                <a:gd name="connsiteY2310" fmla="*/ 118284 h 372939"/>
                <a:gd name="connsiteX2311" fmla="*/ 54779 w 1012061"/>
                <a:gd name="connsiteY2311" fmla="*/ 117584 h 372939"/>
                <a:gd name="connsiteX2312" fmla="*/ 54746 w 1012061"/>
                <a:gd name="connsiteY2312" fmla="*/ 116590 h 372939"/>
                <a:gd name="connsiteX2313" fmla="*/ 53009 w 1012061"/>
                <a:gd name="connsiteY2313" fmla="*/ 112326 h 372939"/>
                <a:gd name="connsiteX2314" fmla="*/ 49854 w 1012061"/>
                <a:gd name="connsiteY2314" fmla="*/ 109948 h 372939"/>
                <a:gd name="connsiteX2315" fmla="*/ 48618 w 1012061"/>
                <a:gd name="connsiteY2315" fmla="*/ 109825 h 372939"/>
                <a:gd name="connsiteX2316" fmla="*/ 47810 w 1012061"/>
                <a:gd name="connsiteY2316" fmla="*/ 107393 h 372939"/>
                <a:gd name="connsiteX2317" fmla="*/ 46219 w 1012061"/>
                <a:gd name="connsiteY2317" fmla="*/ 104509 h 372939"/>
                <a:gd name="connsiteX2318" fmla="*/ 41406 w 1012061"/>
                <a:gd name="connsiteY2318" fmla="*/ 99243 h 372939"/>
                <a:gd name="connsiteX2319" fmla="*/ 45056 w 1012061"/>
                <a:gd name="connsiteY2319" fmla="*/ 99284 h 372939"/>
                <a:gd name="connsiteX2320" fmla="*/ 46828 w 1012061"/>
                <a:gd name="connsiteY2320" fmla="*/ 98001 h 372939"/>
                <a:gd name="connsiteX2321" fmla="*/ 47234 w 1012061"/>
                <a:gd name="connsiteY2321" fmla="*/ 96977 h 372939"/>
                <a:gd name="connsiteX2322" fmla="*/ 151148 w 1012061"/>
                <a:gd name="connsiteY2322" fmla="*/ 94821 h 372939"/>
                <a:gd name="connsiteX2323" fmla="*/ 160597 w 1012061"/>
                <a:gd name="connsiteY2323" fmla="*/ 97372 h 372939"/>
                <a:gd name="connsiteX2324" fmla="*/ 161092 w 1012061"/>
                <a:gd name="connsiteY2324" fmla="*/ 98497 h 372939"/>
                <a:gd name="connsiteX2325" fmla="*/ 161259 w 1012061"/>
                <a:gd name="connsiteY2325" fmla="*/ 101334 h 372939"/>
                <a:gd name="connsiteX2326" fmla="*/ 159618 w 1012061"/>
                <a:gd name="connsiteY2326" fmla="*/ 100593 h 372939"/>
                <a:gd name="connsiteX2327" fmla="*/ 158328 w 1012061"/>
                <a:gd name="connsiteY2327" fmla="*/ 99464 h 372939"/>
                <a:gd name="connsiteX2328" fmla="*/ 156279 w 1012061"/>
                <a:gd name="connsiteY2328" fmla="*/ 98631 h 372939"/>
                <a:gd name="connsiteX2329" fmla="*/ 153783 w 1012061"/>
                <a:gd name="connsiteY2329" fmla="*/ 98359 h 372939"/>
                <a:gd name="connsiteX2330" fmla="*/ 151956 w 1012061"/>
                <a:gd name="connsiteY2330" fmla="*/ 97626 h 372939"/>
                <a:gd name="connsiteX2331" fmla="*/ 150677 w 1012061"/>
                <a:gd name="connsiteY2331" fmla="*/ 96308 h 372939"/>
                <a:gd name="connsiteX2332" fmla="*/ 150621 w 1012061"/>
                <a:gd name="connsiteY2332" fmla="*/ 95701 h 372939"/>
                <a:gd name="connsiteX2333" fmla="*/ 150747 w 1012061"/>
                <a:gd name="connsiteY2333" fmla="*/ 95207 h 372939"/>
                <a:gd name="connsiteX2334" fmla="*/ 658556 w 1012061"/>
                <a:gd name="connsiteY2334" fmla="*/ 93148 h 372939"/>
                <a:gd name="connsiteX2335" fmla="*/ 661247 w 1012061"/>
                <a:gd name="connsiteY2335" fmla="*/ 93488 h 372939"/>
                <a:gd name="connsiteX2336" fmla="*/ 662439 w 1012061"/>
                <a:gd name="connsiteY2336" fmla="*/ 94417 h 372939"/>
                <a:gd name="connsiteX2337" fmla="*/ 663963 w 1012061"/>
                <a:gd name="connsiteY2337" fmla="*/ 97544 h 372939"/>
                <a:gd name="connsiteX2338" fmla="*/ 663696 w 1012061"/>
                <a:gd name="connsiteY2338" fmla="*/ 98066 h 372939"/>
                <a:gd name="connsiteX2339" fmla="*/ 661909 w 1012061"/>
                <a:gd name="connsiteY2339" fmla="*/ 99621 h 372939"/>
                <a:gd name="connsiteX2340" fmla="*/ 661392 w 1012061"/>
                <a:gd name="connsiteY2340" fmla="*/ 100273 h 372939"/>
                <a:gd name="connsiteX2341" fmla="*/ 659413 w 1012061"/>
                <a:gd name="connsiteY2341" fmla="*/ 104667 h 372939"/>
                <a:gd name="connsiteX2342" fmla="*/ 658059 w 1012061"/>
                <a:gd name="connsiteY2342" fmla="*/ 106825 h 372939"/>
                <a:gd name="connsiteX2343" fmla="*/ 656337 w 1012061"/>
                <a:gd name="connsiteY2343" fmla="*/ 108756 h 372939"/>
                <a:gd name="connsiteX2344" fmla="*/ 652119 w 1012061"/>
                <a:gd name="connsiteY2344" fmla="*/ 112509 h 372939"/>
                <a:gd name="connsiteX2345" fmla="*/ 650830 w 1012061"/>
                <a:gd name="connsiteY2345" fmla="*/ 114323 h 372939"/>
                <a:gd name="connsiteX2346" fmla="*/ 649707 w 1012061"/>
                <a:gd name="connsiteY2346" fmla="*/ 116276 h 372939"/>
                <a:gd name="connsiteX2347" fmla="*/ 648049 w 1012061"/>
                <a:gd name="connsiteY2347" fmla="*/ 118446 h 372939"/>
                <a:gd name="connsiteX2348" fmla="*/ 646135 w 1012061"/>
                <a:gd name="connsiteY2348" fmla="*/ 120359 h 372939"/>
                <a:gd name="connsiteX2349" fmla="*/ 645181 w 1012061"/>
                <a:gd name="connsiteY2349" fmla="*/ 120926 h 372939"/>
                <a:gd name="connsiteX2350" fmla="*/ 642829 w 1012061"/>
                <a:gd name="connsiteY2350" fmla="*/ 121955 h 372939"/>
                <a:gd name="connsiteX2351" fmla="*/ 641476 w 1012061"/>
                <a:gd name="connsiteY2351" fmla="*/ 122354 h 372939"/>
                <a:gd name="connsiteX2352" fmla="*/ 638923 w 1012061"/>
                <a:gd name="connsiteY2352" fmla="*/ 122483 h 372939"/>
                <a:gd name="connsiteX2353" fmla="*/ 631238 w 1012061"/>
                <a:gd name="connsiteY2353" fmla="*/ 124010 h 372939"/>
                <a:gd name="connsiteX2354" fmla="*/ 628714 w 1012061"/>
                <a:gd name="connsiteY2354" fmla="*/ 124188 h 372939"/>
                <a:gd name="connsiteX2355" fmla="*/ 626200 w 1012061"/>
                <a:gd name="connsiteY2355" fmla="*/ 124124 h 372939"/>
                <a:gd name="connsiteX2356" fmla="*/ 621434 w 1012061"/>
                <a:gd name="connsiteY2356" fmla="*/ 123743 h 372939"/>
                <a:gd name="connsiteX2357" fmla="*/ 620439 w 1012061"/>
                <a:gd name="connsiteY2357" fmla="*/ 123543 h 372939"/>
                <a:gd name="connsiteX2358" fmla="*/ 618538 w 1012061"/>
                <a:gd name="connsiteY2358" fmla="*/ 121577 h 372939"/>
                <a:gd name="connsiteX2359" fmla="*/ 616394 w 1012061"/>
                <a:gd name="connsiteY2359" fmla="*/ 120022 h 372939"/>
                <a:gd name="connsiteX2360" fmla="*/ 614501 w 1012061"/>
                <a:gd name="connsiteY2360" fmla="*/ 119853 h 372939"/>
                <a:gd name="connsiteX2361" fmla="*/ 612570 w 1012061"/>
                <a:gd name="connsiteY2361" fmla="*/ 120019 h 372939"/>
                <a:gd name="connsiteX2362" fmla="*/ 598666 w 1012061"/>
                <a:gd name="connsiteY2362" fmla="*/ 120128 h 372939"/>
                <a:gd name="connsiteX2363" fmla="*/ 593805 w 1012061"/>
                <a:gd name="connsiteY2363" fmla="*/ 120417 h 372939"/>
                <a:gd name="connsiteX2364" fmla="*/ 588963 w 1012061"/>
                <a:gd name="connsiteY2364" fmla="*/ 121112 h 372939"/>
                <a:gd name="connsiteX2365" fmla="*/ 586327 w 1012061"/>
                <a:gd name="connsiteY2365" fmla="*/ 120795 h 372939"/>
                <a:gd name="connsiteX2366" fmla="*/ 583714 w 1012061"/>
                <a:gd name="connsiteY2366" fmla="*/ 120016 h 372939"/>
                <a:gd name="connsiteX2367" fmla="*/ 581749 w 1012061"/>
                <a:gd name="connsiteY2367" fmla="*/ 119744 h 372939"/>
                <a:gd name="connsiteX2368" fmla="*/ 579760 w 1012061"/>
                <a:gd name="connsiteY2368" fmla="*/ 119824 h 372939"/>
                <a:gd name="connsiteX2369" fmla="*/ 570633 w 1012061"/>
                <a:gd name="connsiteY2369" fmla="*/ 120998 h 372939"/>
                <a:gd name="connsiteX2370" fmla="*/ 568338 w 1012061"/>
                <a:gd name="connsiteY2370" fmla="*/ 120886 h 372939"/>
                <a:gd name="connsiteX2371" fmla="*/ 563721 w 1012061"/>
                <a:gd name="connsiteY2371" fmla="*/ 119384 h 372939"/>
                <a:gd name="connsiteX2372" fmla="*/ 561036 w 1012061"/>
                <a:gd name="connsiteY2372" fmla="*/ 119083 h 372939"/>
                <a:gd name="connsiteX2373" fmla="*/ 558404 w 1012061"/>
                <a:gd name="connsiteY2373" fmla="*/ 119481 h 372939"/>
                <a:gd name="connsiteX2374" fmla="*/ 555951 w 1012061"/>
                <a:gd name="connsiteY2374" fmla="*/ 120832 h 372939"/>
                <a:gd name="connsiteX2375" fmla="*/ 555022 w 1012061"/>
                <a:gd name="connsiteY2375" fmla="*/ 121738 h 372939"/>
                <a:gd name="connsiteX2376" fmla="*/ 552485 w 1012061"/>
                <a:gd name="connsiteY2376" fmla="*/ 124828 h 372939"/>
                <a:gd name="connsiteX2377" fmla="*/ 551049 w 1012061"/>
                <a:gd name="connsiteY2377" fmla="*/ 127082 h 372939"/>
                <a:gd name="connsiteX2378" fmla="*/ 549965 w 1012061"/>
                <a:gd name="connsiteY2378" fmla="*/ 129886 h 372939"/>
                <a:gd name="connsiteX2379" fmla="*/ 549030 w 1012061"/>
                <a:gd name="connsiteY2379" fmla="*/ 132754 h 372939"/>
                <a:gd name="connsiteX2380" fmla="*/ 548527 w 1012061"/>
                <a:gd name="connsiteY2380" fmla="*/ 135104 h 372939"/>
                <a:gd name="connsiteX2381" fmla="*/ 548501 w 1012061"/>
                <a:gd name="connsiteY2381" fmla="*/ 137557 h 372939"/>
                <a:gd name="connsiteX2382" fmla="*/ 548935 w 1012061"/>
                <a:gd name="connsiteY2382" fmla="*/ 140318 h 372939"/>
                <a:gd name="connsiteX2383" fmla="*/ 549624 w 1012061"/>
                <a:gd name="connsiteY2383" fmla="*/ 143050 h 372939"/>
                <a:gd name="connsiteX2384" fmla="*/ 550388 w 1012061"/>
                <a:gd name="connsiteY2384" fmla="*/ 145136 h 372939"/>
                <a:gd name="connsiteX2385" fmla="*/ 553554 w 1012061"/>
                <a:gd name="connsiteY2385" fmla="*/ 149965 h 372939"/>
                <a:gd name="connsiteX2386" fmla="*/ 554200 w 1012061"/>
                <a:gd name="connsiteY2386" fmla="*/ 150650 h 372939"/>
                <a:gd name="connsiteX2387" fmla="*/ 557640 w 1012061"/>
                <a:gd name="connsiteY2387" fmla="*/ 152008 h 372939"/>
                <a:gd name="connsiteX2388" fmla="*/ 559678 w 1012061"/>
                <a:gd name="connsiteY2388" fmla="*/ 153751 h 372939"/>
                <a:gd name="connsiteX2389" fmla="*/ 561613 w 1012061"/>
                <a:gd name="connsiteY2389" fmla="*/ 158595 h 372939"/>
                <a:gd name="connsiteX2390" fmla="*/ 562991 w 1012061"/>
                <a:gd name="connsiteY2390" fmla="*/ 161063 h 372939"/>
                <a:gd name="connsiteX2391" fmla="*/ 564345 w 1012061"/>
                <a:gd name="connsiteY2391" fmla="*/ 161093 h 372939"/>
                <a:gd name="connsiteX2392" fmla="*/ 565856 w 1012061"/>
                <a:gd name="connsiteY2392" fmla="*/ 160921 h 372939"/>
                <a:gd name="connsiteX2393" fmla="*/ 568484 w 1012061"/>
                <a:gd name="connsiteY2393" fmla="*/ 161234 h 372939"/>
                <a:gd name="connsiteX2394" fmla="*/ 571091 w 1012061"/>
                <a:gd name="connsiteY2394" fmla="*/ 161869 h 372939"/>
                <a:gd name="connsiteX2395" fmla="*/ 573630 w 1012061"/>
                <a:gd name="connsiteY2395" fmla="*/ 160385 h 372939"/>
                <a:gd name="connsiteX2396" fmla="*/ 575046 w 1012061"/>
                <a:gd name="connsiteY2396" fmla="*/ 157577 h 372939"/>
                <a:gd name="connsiteX2397" fmla="*/ 576467 w 1012061"/>
                <a:gd name="connsiteY2397" fmla="*/ 155491 h 372939"/>
                <a:gd name="connsiteX2398" fmla="*/ 579883 w 1012061"/>
                <a:gd name="connsiteY2398" fmla="*/ 151520 h 372939"/>
                <a:gd name="connsiteX2399" fmla="*/ 581829 w 1012061"/>
                <a:gd name="connsiteY2399" fmla="*/ 149684 h 372939"/>
                <a:gd name="connsiteX2400" fmla="*/ 583072 w 1012061"/>
                <a:gd name="connsiteY2400" fmla="*/ 149086 h 372939"/>
                <a:gd name="connsiteX2401" fmla="*/ 584336 w 1012061"/>
                <a:gd name="connsiteY2401" fmla="*/ 149347 h 372939"/>
                <a:gd name="connsiteX2402" fmla="*/ 585407 w 1012061"/>
                <a:gd name="connsiteY2402" fmla="*/ 150399 h 372939"/>
                <a:gd name="connsiteX2403" fmla="*/ 586657 w 1012061"/>
                <a:gd name="connsiteY2403" fmla="*/ 151235 h 372939"/>
                <a:gd name="connsiteX2404" fmla="*/ 589210 w 1012061"/>
                <a:gd name="connsiteY2404" fmla="*/ 151684 h 372939"/>
                <a:gd name="connsiteX2405" fmla="*/ 591786 w 1012061"/>
                <a:gd name="connsiteY2405" fmla="*/ 151403 h 372939"/>
                <a:gd name="connsiteX2406" fmla="*/ 594528 w 1012061"/>
                <a:gd name="connsiteY2406" fmla="*/ 150114 h 372939"/>
                <a:gd name="connsiteX2407" fmla="*/ 595511 w 1012061"/>
                <a:gd name="connsiteY2407" fmla="*/ 149323 h 372939"/>
                <a:gd name="connsiteX2408" fmla="*/ 596325 w 1012061"/>
                <a:gd name="connsiteY2408" fmla="*/ 148317 h 372939"/>
                <a:gd name="connsiteX2409" fmla="*/ 598649 w 1012061"/>
                <a:gd name="connsiteY2409" fmla="*/ 147505 h 372939"/>
                <a:gd name="connsiteX2410" fmla="*/ 604170 w 1012061"/>
                <a:gd name="connsiteY2410" fmla="*/ 147497 h 372939"/>
                <a:gd name="connsiteX2411" fmla="*/ 607025 w 1012061"/>
                <a:gd name="connsiteY2411" fmla="*/ 147788 h 372939"/>
                <a:gd name="connsiteX2412" fmla="*/ 612110 w 1012061"/>
                <a:gd name="connsiteY2412" fmla="*/ 147464 h 372939"/>
                <a:gd name="connsiteX2413" fmla="*/ 612039 w 1012061"/>
                <a:gd name="connsiteY2413" fmla="*/ 146732 h 372939"/>
                <a:gd name="connsiteX2414" fmla="*/ 611057 w 1012061"/>
                <a:gd name="connsiteY2414" fmla="*/ 145957 h 372939"/>
                <a:gd name="connsiteX2415" fmla="*/ 610799 w 1012061"/>
                <a:gd name="connsiteY2415" fmla="*/ 145335 h 372939"/>
                <a:gd name="connsiteX2416" fmla="*/ 611745 w 1012061"/>
                <a:gd name="connsiteY2416" fmla="*/ 144933 h 372939"/>
                <a:gd name="connsiteX2417" fmla="*/ 615021 w 1012061"/>
                <a:gd name="connsiteY2417" fmla="*/ 144028 h 372939"/>
                <a:gd name="connsiteX2418" fmla="*/ 618362 w 1012061"/>
                <a:gd name="connsiteY2418" fmla="*/ 143385 h 372939"/>
                <a:gd name="connsiteX2419" fmla="*/ 620793 w 1012061"/>
                <a:gd name="connsiteY2419" fmla="*/ 143845 h 372939"/>
                <a:gd name="connsiteX2420" fmla="*/ 622965 w 1012061"/>
                <a:gd name="connsiteY2420" fmla="*/ 145106 h 372939"/>
                <a:gd name="connsiteX2421" fmla="*/ 623798 w 1012061"/>
                <a:gd name="connsiteY2421" fmla="*/ 146408 h 372939"/>
                <a:gd name="connsiteX2422" fmla="*/ 624171 w 1012061"/>
                <a:gd name="connsiteY2422" fmla="*/ 147974 h 372939"/>
                <a:gd name="connsiteX2423" fmla="*/ 623333 w 1012061"/>
                <a:gd name="connsiteY2423" fmla="*/ 152029 h 372939"/>
                <a:gd name="connsiteX2424" fmla="*/ 622926 w 1012061"/>
                <a:gd name="connsiteY2424" fmla="*/ 152969 h 372939"/>
                <a:gd name="connsiteX2425" fmla="*/ 621195 w 1012061"/>
                <a:gd name="connsiteY2425" fmla="*/ 153455 h 372939"/>
                <a:gd name="connsiteX2426" fmla="*/ 619562 w 1012061"/>
                <a:gd name="connsiteY2426" fmla="*/ 152917 h 372939"/>
                <a:gd name="connsiteX2427" fmla="*/ 617947 w 1012061"/>
                <a:gd name="connsiteY2427" fmla="*/ 150822 h 372939"/>
                <a:gd name="connsiteX2428" fmla="*/ 615662 w 1012061"/>
                <a:gd name="connsiteY2428" fmla="*/ 150055 h 372939"/>
                <a:gd name="connsiteX2429" fmla="*/ 612421 w 1012061"/>
                <a:gd name="connsiteY2429" fmla="*/ 150688 h 372939"/>
                <a:gd name="connsiteX2430" fmla="*/ 611309 w 1012061"/>
                <a:gd name="connsiteY2430" fmla="*/ 151289 h 372939"/>
                <a:gd name="connsiteX2431" fmla="*/ 610311 w 1012061"/>
                <a:gd name="connsiteY2431" fmla="*/ 152127 h 372939"/>
                <a:gd name="connsiteX2432" fmla="*/ 608480 w 1012061"/>
                <a:gd name="connsiteY2432" fmla="*/ 154299 h 372939"/>
                <a:gd name="connsiteX2433" fmla="*/ 606955 w 1012061"/>
                <a:gd name="connsiteY2433" fmla="*/ 156752 h 372939"/>
                <a:gd name="connsiteX2434" fmla="*/ 603660 w 1012061"/>
                <a:gd name="connsiteY2434" fmla="*/ 160571 h 372939"/>
                <a:gd name="connsiteX2435" fmla="*/ 599847 w 1012061"/>
                <a:gd name="connsiteY2435" fmla="*/ 163888 h 372939"/>
                <a:gd name="connsiteX2436" fmla="*/ 598001 w 1012061"/>
                <a:gd name="connsiteY2436" fmla="*/ 165158 h 372939"/>
                <a:gd name="connsiteX2437" fmla="*/ 595943 w 1012061"/>
                <a:gd name="connsiteY2437" fmla="*/ 166014 h 372939"/>
                <a:gd name="connsiteX2438" fmla="*/ 589331 w 1012061"/>
                <a:gd name="connsiteY2438" fmla="*/ 168211 h 372939"/>
                <a:gd name="connsiteX2439" fmla="*/ 587590 w 1012061"/>
                <a:gd name="connsiteY2439" fmla="*/ 169841 h 372939"/>
                <a:gd name="connsiteX2440" fmla="*/ 586239 w 1012061"/>
                <a:gd name="connsiteY2440" fmla="*/ 171960 h 372939"/>
                <a:gd name="connsiteX2441" fmla="*/ 584740 w 1012061"/>
                <a:gd name="connsiteY2441" fmla="*/ 172682 h 372939"/>
                <a:gd name="connsiteX2442" fmla="*/ 583008 w 1012061"/>
                <a:gd name="connsiteY2442" fmla="*/ 172911 h 372939"/>
                <a:gd name="connsiteX2443" fmla="*/ 581708 w 1012061"/>
                <a:gd name="connsiteY2443" fmla="*/ 172513 h 372939"/>
                <a:gd name="connsiteX2444" fmla="*/ 579073 w 1012061"/>
                <a:gd name="connsiteY2444" fmla="*/ 171318 h 372939"/>
                <a:gd name="connsiteX2445" fmla="*/ 578205 w 1012061"/>
                <a:gd name="connsiteY2445" fmla="*/ 172301 h 372939"/>
                <a:gd name="connsiteX2446" fmla="*/ 578059 w 1012061"/>
                <a:gd name="connsiteY2446" fmla="*/ 173800 h 372939"/>
                <a:gd name="connsiteX2447" fmla="*/ 579356 w 1012061"/>
                <a:gd name="connsiteY2447" fmla="*/ 174334 h 372939"/>
                <a:gd name="connsiteX2448" fmla="*/ 581444 w 1012061"/>
                <a:gd name="connsiteY2448" fmla="*/ 175991 h 372939"/>
                <a:gd name="connsiteX2449" fmla="*/ 583060 w 1012061"/>
                <a:gd name="connsiteY2449" fmla="*/ 178333 h 372939"/>
                <a:gd name="connsiteX2450" fmla="*/ 584096 w 1012061"/>
                <a:gd name="connsiteY2450" fmla="*/ 178836 h 372939"/>
                <a:gd name="connsiteX2451" fmla="*/ 586398 w 1012061"/>
                <a:gd name="connsiteY2451" fmla="*/ 179597 h 372939"/>
                <a:gd name="connsiteX2452" fmla="*/ 587366 w 1012061"/>
                <a:gd name="connsiteY2452" fmla="*/ 180325 h 372939"/>
                <a:gd name="connsiteX2453" fmla="*/ 589101 w 1012061"/>
                <a:gd name="connsiteY2453" fmla="*/ 182330 h 372939"/>
                <a:gd name="connsiteX2454" fmla="*/ 591835 w 1012061"/>
                <a:gd name="connsiteY2454" fmla="*/ 186995 h 372939"/>
                <a:gd name="connsiteX2455" fmla="*/ 592766 w 1012061"/>
                <a:gd name="connsiteY2455" fmla="*/ 189519 h 372939"/>
                <a:gd name="connsiteX2456" fmla="*/ 594285 w 1012061"/>
                <a:gd name="connsiteY2456" fmla="*/ 191578 h 372939"/>
                <a:gd name="connsiteX2457" fmla="*/ 598908 w 1012061"/>
                <a:gd name="connsiteY2457" fmla="*/ 195076 h 372939"/>
                <a:gd name="connsiteX2458" fmla="*/ 599164 w 1012061"/>
                <a:gd name="connsiteY2458" fmla="*/ 196064 h 372939"/>
                <a:gd name="connsiteX2459" fmla="*/ 598879 w 1012061"/>
                <a:gd name="connsiteY2459" fmla="*/ 197214 h 372939"/>
                <a:gd name="connsiteX2460" fmla="*/ 599236 w 1012061"/>
                <a:gd name="connsiteY2460" fmla="*/ 198262 h 372939"/>
                <a:gd name="connsiteX2461" fmla="*/ 600887 w 1012061"/>
                <a:gd name="connsiteY2461" fmla="*/ 200272 h 372939"/>
                <a:gd name="connsiteX2462" fmla="*/ 601280 w 1012061"/>
                <a:gd name="connsiteY2462" fmla="*/ 201567 h 372939"/>
                <a:gd name="connsiteX2463" fmla="*/ 599474 w 1012061"/>
                <a:gd name="connsiteY2463" fmla="*/ 203210 h 372939"/>
                <a:gd name="connsiteX2464" fmla="*/ 599374 w 1012061"/>
                <a:gd name="connsiteY2464" fmla="*/ 205592 h 372939"/>
                <a:gd name="connsiteX2465" fmla="*/ 598266 w 1012061"/>
                <a:gd name="connsiteY2465" fmla="*/ 208796 h 372939"/>
                <a:gd name="connsiteX2466" fmla="*/ 598016 w 1012061"/>
                <a:gd name="connsiteY2466" fmla="*/ 209877 h 372939"/>
                <a:gd name="connsiteX2467" fmla="*/ 598050 w 1012061"/>
                <a:gd name="connsiteY2467" fmla="*/ 210854 h 372939"/>
                <a:gd name="connsiteX2468" fmla="*/ 598828 w 1012061"/>
                <a:gd name="connsiteY2468" fmla="*/ 211767 h 372939"/>
                <a:gd name="connsiteX2469" fmla="*/ 599735 w 1012061"/>
                <a:gd name="connsiteY2469" fmla="*/ 212489 h 372939"/>
                <a:gd name="connsiteX2470" fmla="*/ 600978 w 1012061"/>
                <a:gd name="connsiteY2470" fmla="*/ 212869 h 372939"/>
                <a:gd name="connsiteX2471" fmla="*/ 602066 w 1012061"/>
                <a:gd name="connsiteY2471" fmla="*/ 213499 h 372939"/>
                <a:gd name="connsiteX2472" fmla="*/ 604159 w 1012061"/>
                <a:gd name="connsiteY2472" fmla="*/ 215996 h 372939"/>
                <a:gd name="connsiteX2473" fmla="*/ 605252 w 1012061"/>
                <a:gd name="connsiteY2473" fmla="*/ 216654 h 372939"/>
                <a:gd name="connsiteX2474" fmla="*/ 605945 w 1012061"/>
                <a:gd name="connsiteY2474" fmla="*/ 217564 h 372939"/>
                <a:gd name="connsiteX2475" fmla="*/ 605873 w 1012061"/>
                <a:gd name="connsiteY2475" fmla="*/ 218920 h 372939"/>
                <a:gd name="connsiteX2476" fmla="*/ 606828 w 1012061"/>
                <a:gd name="connsiteY2476" fmla="*/ 219714 h 372939"/>
                <a:gd name="connsiteX2477" fmla="*/ 607707 w 1012061"/>
                <a:gd name="connsiteY2477" fmla="*/ 221131 h 372939"/>
                <a:gd name="connsiteX2478" fmla="*/ 609050 w 1012061"/>
                <a:gd name="connsiteY2478" fmla="*/ 221474 h 372939"/>
                <a:gd name="connsiteX2479" fmla="*/ 609678 w 1012061"/>
                <a:gd name="connsiteY2479" fmla="*/ 221068 h 372939"/>
                <a:gd name="connsiteX2480" fmla="*/ 610108 w 1012061"/>
                <a:gd name="connsiteY2480" fmla="*/ 220460 h 372939"/>
                <a:gd name="connsiteX2481" fmla="*/ 611207 w 1012061"/>
                <a:gd name="connsiteY2481" fmla="*/ 220689 h 372939"/>
                <a:gd name="connsiteX2482" fmla="*/ 611857 w 1012061"/>
                <a:gd name="connsiteY2482" fmla="*/ 221675 h 372939"/>
                <a:gd name="connsiteX2483" fmla="*/ 612233 w 1012061"/>
                <a:gd name="connsiteY2483" fmla="*/ 222943 h 372939"/>
                <a:gd name="connsiteX2484" fmla="*/ 612354 w 1012061"/>
                <a:gd name="connsiteY2484" fmla="*/ 224340 h 372939"/>
                <a:gd name="connsiteX2485" fmla="*/ 612300 w 1012061"/>
                <a:gd name="connsiteY2485" fmla="*/ 226993 h 372939"/>
                <a:gd name="connsiteX2486" fmla="*/ 611745 w 1012061"/>
                <a:gd name="connsiteY2486" fmla="*/ 227943 h 372939"/>
                <a:gd name="connsiteX2487" fmla="*/ 610536 w 1012061"/>
                <a:gd name="connsiteY2487" fmla="*/ 227897 h 372939"/>
                <a:gd name="connsiteX2488" fmla="*/ 608372 w 1012061"/>
                <a:gd name="connsiteY2488" fmla="*/ 226807 h 372939"/>
                <a:gd name="connsiteX2489" fmla="*/ 608268 w 1012061"/>
                <a:gd name="connsiteY2489" fmla="*/ 227594 h 372939"/>
                <a:gd name="connsiteX2490" fmla="*/ 608416 w 1012061"/>
                <a:gd name="connsiteY2490" fmla="*/ 228358 h 372939"/>
                <a:gd name="connsiteX2491" fmla="*/ 607314 w 1012061"/>
                <a:gd name="connsiteY2491" fmla="*/ 228611 h 372939"/>
                <a:gd name="connsiteX2492" fmla="*/ 606051 w 1012061"/>
                <a:gd name="connsiteY2492" fmla="*/ 228505 h 372939"/>
                <a:gd name="connsiteX2493" fmla="*/ 602881 w 1012061"/>
                <a:gd name="connsiteY2493" fmla="*/ 228609 h 372939"/>
                <a:gd name="connsiteX2494" fmla="*/ 597037 w 1012061"/>
                <a:gd name="connsiteY2494" fmla="*/ 230255 h 372939"/>
                <a:gd name="connsiteX2495" fmla="*/ 594984 w 1012061"/>
                <a:gd name="connsiteY2495" fmla="*/ 231227 h 372939"/>
                <a:gd name="connsiteX2496" fmla="*/ 593656 w 1012061"/>
                <a:gd name="connsiteY2496" fmla="*/ 232997 h 372939"/>
                <a:gd name="connsiteX2497" fmla="*/ 593563 w 1012061"/>
                <a:gd name="connsiteY2497" fmla="*/ 234219 h 372939"/>
                <a:gd name="connsiteX2498" fmla="*/ 594077 w 1012061"/>
                <a:gd name="connsiteY2498" fmla="*/ 236799 h 372939"/>
                <a:gd name="connsiteX2499" fmla="*/ 593300 w 1012061"/>
                <a:gd name="connsiteY2499" fmla="*/ 237702 h 372939"/>
                <a:gd name="connsiteX2500" fmla="*/ 590622 w 1012061"/>
                <a:gd name="connsiteY2500" fmla="*/ 238046 h 372939"/>
                <a:gd name="connsiteX2501" fmla="*/ 586887 w 1012061"/>
                <a:gd name="connsiteY2501" fmla="*/ 237353 h 372939"/>
                <a:gd name="connsiteX2502" fmla="*/ 584623 w 1012061"/>
                <a:gd name="connsiteY2502" fmla="*/ 236665 h 372939"/>
                <a:gd name="connsiteX2503" fmla="*/ 583362 w 1012061"/>
                <a:gd name="connsiteY2503" fmla="*/ 236087 h 372939"/>
                <a:gd name="connsiteX2504" fmla="*/ 581719 w 1012061"/>
                <a:gd name="connsiteY2504" fmla="*/ 234351 h 372939"/>
                <a:gd name="connsiteX2505" fmla="*/ 581103 w 1012061"/>
                <a:gd name="connsiteY2505" fmla="*/ 232131 h 372939"/>
                <a:gd name="connsiteX2506" fmla="*/ 582313 w 1012061"/>
                <a:gd name="connsiteY2506" fmla="*/ 225526 h 372939"/>
                <a:gd name="connsiteX2507" fmla="*/ 582656 w 1012061"/>
                <a:gd name="connsiteY2507" fmla="*/ 224678 h 372939"/>
                <a:gd name="connsiteX2508" fmla="*/ 583245 w 1012061"/>
                <a:gd name="connsiteY2508" fmla="*/ 223923 h 372939"/>
                <a:gd name="connsiteX2509" fmla="*/ 583868 w 1012061"/>
                <a:gd name="connsiteY2509" fmla="*/ 222723 h 372939"/>
                <a:gd name="connsiteX2510" fmla="*/ 584012 w 1012061"/>
                <a:gd name="connsiteY2510" fmla="*/ 221312 h 372939"/>
                <a:gd name="connsiteX2511" fmla="*/ 582228 w 1012061"/>
                <a:gd name="connsiteY2511" fmla="*/ 219588 h 372939"/>
                <a:gd name="connsiteX2512" fmla="*/ 579540 w 1012061"/>
                <a:gd name="connsiteY2512" fmla="*/ 218912 h 372939"/>
                <a:gd name="connsiteX2513" fmla="*/ 577259 w 1012061"/>
                <a:gd name="connsiteY2513" fmla="*/ 217475 h 372939"/>
                <a:gd name="connsiteX2514" fmla="*/ 568450 w 1012061"/>
                <a:gd name="connsiteY2514" fmla="*/ 209423 h 372939"/>
                <a:gd name="connsiteX2515" fmla="*/ 567953 w 1012061"/>
                <a:gd name="connsiteY2515" fmla="*/ 208644 h 372939"/>
                <a:gd name="connsiteX2516" fmla="*/ 567934 w 1012061"/>
                <a:gd name="connsiteY2516" fmla="*/ 207311 h 372939"/>
                <a:gd name="connsiteX2517" fmla="*/ 568288 w 1012061"/>
                <a:gd name="connsiteY2517" fmla="*/ 206063 h 372939"/>
                <a:gd name="connsiteX2518" fmla="*/ 571183 w 1012061"/>
                <a:gd name="connsiteY2518" fmla="*/ 201662 h 372939"/>
                <a:gd name="connsiteX2519" fmla="*/ 571546 w 1012061"/>
                <a:gd name="connsiteY2519" fmla="*/ 200819 h 372939"/>
                <a:gd name="connsiteX2520" fmla="*/ 571900 w 1012061"/>
                <a:gd name="connsiteY2520" fmla="*/ 197346 h 372939"/>
                <a:gd name="connsiteX2521" fmla="*/ 571823 w 1012061"/>
                <a:gd name="connsiteY2521" fmla="*/ 194486 h 372939"/>
                <a:gd name="connsiteX2522" fmla="*/ 571499 w 1012061"/>
                <a:gd name="connsiteY2522" fmla="*/ 191625 h 372939"/>
                <a:gd name="connsiteX2523" fmla="*/ 570127 w 1012061"/>
                <a:gd name="connsiteY2523" fmla="*/ 189825 h 372939"/>
                <a:gd name="connsiteX2524" fmla="*/ 567679 w 1012061"/>
                <a:gd name="connsiteY2524" fmla="*/ 189279 h 372939"/>
                <a:gd name="connsiteX2525" fmla="*/ 565150 w 1012061"/>
                <a:gd name="connsiteY2525" fmla="*/ 189190 h 372939"/>
                <a:gd name="connsiteX2526" fmla="*/ 562686 w 1012061"/>
                <a:gd name="connsiteY2526" fmla="*/ 189765 h 372939"/>
                <a:gd name="connsiteX2527" fmla="*/ 560261 w 1012061"/>
                <a:gd name="connsiteY2527" fmla="*/ 191204 h 372939"/>
                <a:gd name="connsiteX2528" fmla="*/ 555782 w 1012061"/>
                <a:gd name="connsiteY2528" fmla="*/ 194236 h 372939"/>
                <a:gd name="connsiteX2529" fmla="*/ 554005 w 1012061"/>
                <a:gd name="connsiteY2529" fmla="*/ 196000 h 372939"/>
                <a:gd name="connsiteX2530" fmla="*/ 553852 w 1012061"/>
                <a:gd name="connsiteY2530" fmla="*/ 198290 h 372939"/>
                <a:gd name="connsiteX2531" fmla="*/ 554878 w 1012061"/>
                <a:gd name="connsiteY2531" fmla="*/ 200536 h 372939"/>
                <a:gd name="connsiteX2532" fmla="*/ 556203 w 1012061"/>
                <a:gd name="connsiteY2532" fmla="*/ 202585 h 372939"/>
                <a:gd name="connsiteX2533" fmla="*/ 556910 w 1012061"/>
                <a:gd name="connsiteY2533" fmla="*/ 204827 h 372939"/>
                <a:gd name="connsiteX2534" fmla="*/ 557888 w 1012061"/>
                <a:gd name="connsiteY2534" fmla="*/ 212779 h 372939"/>
                <a:gd name="connsiteX2535" fmla="*/ 557855 w 1012061"/>
                <a:gd name="connsiteY2535" fmla="*/ 213676 h 372939"/>
                <a:gd name="connsiteX2536" fmla="*/ 556703 w 1012061"/>
                <a:gd name="connsiteY2536" fmla="*/ 215990 h 372939"/>
                <a:gd name="connsiteX2537" fmla="*/ 556249 w 1012061"/>
                <a:gd name="connsiteY2537" fmla="*/ 221159 h 372939"/>
                <a:gd name="connsiteX2538" fmla="*/ 556737 w 1012061"/>
                <a:gd name="connsiteY2538" fmla="*/ 228455 h 372939"/>
                <a:gd name="connsiteX2539" fmla="*/ 557523 w 1012061"/>
                <a:gd name="connsiteY2539" fmla="*/ 232936 h 372939"/>
                <a:gd name="connsiteX2540" fmla="*/ 557188 w 1012061"/>
                <a:gd name="connsiteY2540" fmla="*/ 235371 h 372939"/>
                <a:gd name="connsiteX2541" fmla="*/ 555092 w 1012061"/>
                <a:gd name="connsiteY2541" fmla="*/ 240599 h 372939"/>
                <a:gd name="connsiteX2542" fmla="*/ 554457 w 1012061"/>
                <a:gd name="connsiteY2542" fmla="*/ 243470 h 372939"/>
                <a:gd name="connsiteX2543" fmla="*/ 554409 w 1012061"/>
                <a:gd name="connsiteY2543" fmla="*/ 244654 h 372939"/>
                <a:gd name="connsiteX2544" fmla="*/ 556877 w 1012061"/>
                <a:gd name="connsiteY2544" fmla="*/ 250119 h 372939"/>
                <a:gd name="connsiteX2545" fmla="*/ 557445 w 1012061"/>
                <a:gd name="connsiteY2545" fmla="*/ 252281 h 372939"/>
                <a:gd name="connsiteX2546" fmla="*/ 557750 w 1012061"/>
                <a:gd name="connsiteY2546" fmla="*/ 254520 h 372939"/>
                <a:gd name="connsiteX2547" fmla="*/ 555124 w 1012061"/>
                <a:gd name="connsiteY2547" fmla="*/ 253424 h 372939"/>
                <a:gd name="connsiteX2548" fmla="*/ 553904 w 1012061"/>
                <a:gd name="connsiteY2548" fmla="*/ 253480 h 372939"/>
                <a:gd name="connsiteX2549" fmla="*/ 552673 w 1012061"/>
                <a:gd name="connsiteY2549" fmla="*/ 253818 h 372939"/>
                <a:gd name="connsiteX2550" fmla="*/ 549937 w 1012061"/>
                <a:gd name="connsiteY2550" fmla="*/ 254176 h 372939"/>
                <a:gd name="connsiteX2551" fmla="*/ 547162 w 1012061"/>
                <a:gd name="connsiteY2551" fmla="*/ 254223 h 372939"/>
                <a:gd name="connsiteX2552" fmla="*/ 546191 w 1012061"/>
                <a:gd name="connsiteY2552" fmla="*/ 254637 h 372939"/>
                <a:gd name="connsiteX2553" fmla="*/ 544219 w 1012061"/>
                <a:gd name="connsiteY2553" fmla="*/ 256090 h 372939"/>
                <a:gd name="connsiteX2554" fmla="*/ 543024 w 1012061"/>
                <a:gd name="connsiteY2554" fmla="*/ 256678 h 372939"/>
                <a:gd name="connsiteX2555" fmla="*/ 541982 w 1012061"/>
                <a:gd name="connsiteY2555" fmla="*/ 256790 h 372939"/>
                <a:gd name="connsiteX2556" fmla="*/ 538447 w 1012061"/>
                <a:gd name="connsiteY2556" fmla="*/ 254964 h 372939"/>
                <a:gd name="connsiteX2557" fmla="*/ 536361 w 1012061"/>
                <a:gd name="connsiteY2557" fmla="*/ 252982 h 372939"/>
                <a:gd name="connsiteX2558" fmla="*/ 534439 w 1012061"/>
                <a:gd name="connsiteY2558" fmla="*/ 250834 h 372939"/>
                <a:gd name="connsiteX2559" fmla="*/ 534089 w 1012061"/>
                <a:gd name="connsiteY2559" fmla="*/ 248380 h 372939"/>
                <a:gd name="connsiteX2560" fmla="*/ 534759 w 1012061"/>
                <a:gd name="connsiteY2560" fmla="*/ 245862 h 372939"/>
                <a:gd name="connsiteX2561" fmla="*/ 535709 w 1012061"/>
                <a:gd name="connsiteY2561" fmla="*/ 243171 h 372939"/>
                <a:gd name="connsiteX2562" fmla="*/ 537609 w 1012061"/>
                <a:gd name="connsiteY2562" fmla="*/ 238697 h 372939"/>
                <a:gd name="connsiteX2563" fmla="*/ 537521 w 1012061"/>
                <a:gd name="connsiteY2563" fmla="*/ 235695 h 372939"/>
                <a:gd name="connsiteX2564" fmla="*/ 538170 w 1012061"/>
                <a:gd name="connsiteY2564" fmla="*/ 233235 h 372939"/>
                <a:gd name="connsiteX2565" fmla="*/ 539256 w 1012061"/>
                <a:gd name="connsiteY2565" fmla="*/ 230848 h 372939"/>
                <a:gd name="connsiteX2566" fmla="*/ 539648 w 1012061"/>
                <a:gd name="connsiteY2566" fmla="*/ 228641 h 372939"/>
                <a:gd name="connsiteX2567" fmla="*/ 539911 w 1012061"/>
                <a:gd name="connsiteY2567" fmla="*/ 220021 h 372939"/>
                <a:gd name="connsiteX2568" fmla="*/ 539642 w 1012061"/>
                <a:gd name="connsiteY2568" fmla="*/ 219255 h 372939"/>
                <a:gd name="connsiteX2569" fmla="*/ 537037 w 1012061"/>
                <a:gd name="connsiteY2569" fmla="*/ 214134 h 372939"/>
                <a:gd name="connsiteX2570" fmla="*/ 536736 w 1012061"/>
                <a:gd name="connsiteY2570" fmla="*/ 213276 h 372939"/>
                <a:gd name="connsiteX2571" fmla="*/ 536719 w 1012061"/>
                <a:gd name="connsiteY2571" fmla="*/ 211894 h 372939"/>
                <a:gd name="connsiteX2572" fmla="*/ 537000 w 1012061"/>
                <a:gd name="connsiteY2572" fmla="*/ 210575 h 372939"/>
                <a:gd name="connsiteX2573" fmla="*/ 537056 w 1012061"/>
                <a:gd name="connsiteY2573" fmla="*/ 209386 h 372939"/>
                <a:gd name="connsiteX2574" fmla="*/ 536458 w 1012061"/>
                <a:gd name="connsiteY2574" fmla="*/ 208476 h 372939"/>
                <a:gd name="connsiteX2575" fmla="*/ 535404 w 1012061"/>
                <a:gd name="connsiteY2575" fmla="*/ 207644 h 372939"/>
                <a:gd name="connsiteX2576" fmla="*/ 534128 w 1012061"/>
                <a:gd name="connsiteY2576" fmla="*/ 207281 h 372939"/>
                <a:gd name="connsiteX2577" fmla="*/ 531429 w 1012061"/>
                <a:gd name="connsiteY2577" fmla="*/ 207641 h 372939"/>
                <a:gd name="connsiteX2578" fmla="*/ 526002 w 1012061"/>
                <a:gd name="connsiteY2578" fmla="*/ 209021 h 372939"/>
                <a:gd name="connsiteX2579" fmla="*/ 524400 w 1012061"/>
                <a:gd name="connsiteY2579" fmla="*/ 207806 h 372939"/>
                <a:gd name="connsiteX2580" fmla="*/ 523195 w 1012061"/>
                <a:gd name="connsiteY2580" fmla="*/ 205931 h 372939"/>
                <a:gd name="connsiteX2581" fmla="*/ 522424 w 1012061"/>
                <a:gd name="connsiteY2581" fmla="*/ 203322 h 372939"/>
                <a:gd name="connsiteX2582" fmla="*/ 521975 w 1012061"/>
                <a:gd name="connsiteY2582" fmla="*/ 200588 h 372939"/>
                <a:gd name="connsiteX2583" fmla="*/ 522182 w 1012061"/>
                <a:gd name="connsiteY2583" fmla="*/ 198020 h 372939"/>
                <a:gd name="connsiteX2584" fmla="*/ 522984 w 1012061"/>
                <a:gd name="connsiteY2584" fmla="*/ 195539 h 372939"/>
                <a:gd name="connsiteX2585" fmla="*/ 522338 w 1012061"/>
                <a:gd name="connsiteY2585" fmla="*/ 193804 h 372939"/>
                <a:gd name="connsiteX2586" fmla="*/ 521338 w 1012061"/>
                <a:gd name="connsiteY2586" fmla="*/ 191915 h 372939"/>
                <a:gd name="connsiteX2587" fmla="*/ 521330 w 1012061"/>
                <a:gd name="connsiteY2587" fmla="*/ 190942 h 372939"/>
                <a:gd name="connsiteX2588" fmla="*/ 521898 w 1012061"/>
                <a:gd name="connsiteY2588" fmla="*/ 190091 h 372939"/>
                <a:gd name="connsiteX2589" fmla="*/ 522878 w 1012061"/>
                <a:gd name="connsiteY2589" fmla="*/ 189380 h 372939"/>
                <a:gd name="connsiteX2590" fmla="*/ 524076 w 1012061"/>
                <a:gd name="connsiteY2590" fmla="*/ 188965 h 372939"/>
                <a:gd name="connsiteX2591" fmla="*/ 525197 w 1012061"/>
                <a:gd name="connsiteY2591" fmla="*/ 188213 h 372939"/>
                <a:gd name="connsiteX2592" fmla="*/ 528159 w 1012061"/>
                <a:gd name="connsiteY2592" fmla="*/ 185679 h 372939"/>
                <a:gd name="connsiteX2593" fmla="*/ 529114 w 1012061"/>
                <a:gd name="connsiteY2593" fmla="*/ 183453 h 372939"/>
                <a:gd name="connsiteX2594" fmla="*/ 529176 w 1012061"/>
                <a:gd name="connsiteY2594" fmla="*/ 180714 h 372939"/>
                <a:gd name="connsiteX2595" fmla="*/ 529931 w 1012061"/>
                <a:gd name="connsiteY2595" fmla="*/ 178093 h 372939"/>
                <a:gd name="connsiteX2596" fmla="*/ 531446 w 1012061"/>
                <a:gd name="connsiteY2596" fmla="*/ 175680 h 372939"/>
                <a:gd name="connsiteX2597" fmla="*/ 533238 w 1012061"/>
                <a:gd name="connsiteY2597" fmla="*/ 173440 h 372939"/>
                <a:gd name="connsiteX2598" fmla="*/ 533822 w 1012061"/>
                <a:gd name="connsiteY2598" fmla="*/ 171131 h 372939"/>
                <a:gd name="connsiteX2599" fmla="*/ 532939 w 1012061"/>
                <a:gd name="connsiteY2599" fmla="*/ 167467 h 372939"/>
                <a:gd name="connsiteX2600" fmla="*/ 533288 w 1012061"/>
                <a:gd name="connsiteY2600" fmla="*/ 165800 h 372939"/>
                <a:gd name="connsiteX2601" fmla="*/ 532984 w 1012061"/>
                <a:gd name="connsiteY2601" fmla="*/ 163841 h 372939"/>
                <a:gd name="connsiteX2602" fmla="*/ 532954 w 1012061"/>
                <a:gd name="connsiteY2602" fmla="*/ 161905 h 372939"/>
                <a:gd name="connsiteX2603" fmla="*/ 534064 w 1012061"/>
                <a:gd name="connsiteY2603" fmla="*/ 158262 h 372939"/>
                <a:gd name="connsiteX2604" fmla="*/ 537359 w 1012061"/>
                <a:gd name="connsiteY2604" fmla="*/ 150816 h 372939"/>
                <a:gd name="connsiteX2605" fmla="*/ 540572 w 1012061"/>
                <a:gd name="connsiteY2605" fmla="*/ 146861 h 372939"/>
                <a:gd name="connsiteX2606" fmla="*/ 541850 w 1012061"/>
                <a:gd name="connsiteY2606" fmla="*/ 145818 h 372939"/>
                <a:gd name="connsiteX2607" fmla="*/ 543517 w 1012061"/>
                <a:gd name="connsiteY2607" fmla="*/ 147658 h 372939"/>
                <a:gd name="connsiteX2608" fmla="*/ 544792 w 1012061"/>
                <a:gd name="connsiteY2608" fmla="*/ 149824 h 372939"/>
                <a:gd name="connsiteX2609" fmla="*/ 544811 w 1012061"/>
                <a:gd name="connsiteY2609" fmla="*/ 147864 h 372939"/>
                <a:gd name="connsiteX2610" fmla="*/ 544472 w 1012061"/>
                <a:gd name="connsiteY2610" fmla="*/ 145942 h 372939"/>
                <a:gd name="connsiteX2611" fmla="*/ 543185 w 1012061"/>
                <a:gd name="connsiteY2611" fmla="*/ 141459 h 372939"/>
                <a:gd name="connsiteX2612" fmla="*/ 542083 w 1012061"/>
                <a:gd name="connsiteY2612" fmla="*/ 132722 h 372939"/>
                <a:gd name="connsiteX2613" fmla="*/ 542392 w 1012061"/>
                <a:gd name="connsiteY2613" fmla="*/ 131894 h 372939"/>
                <a:gd name="connsiteX2614" fmla="*/ 543513 w 1012061"/>
                <a:gd name="connsiteY2614" fmla="*/ 132025 h 372939"/>
                <a:gd name="connsiteX2615" fmla="*/ 544658 w 1012061"/>
                <a:gd name="connsiteY2615" fmla="*/ 131254 h 372939"/>
                <a:gd name="connsiteX2616" fmla="*/ 545262 w 1012061"/>
                <a:gd name="connsiteY2616" fmla="*/ 129879 h 372939"/>
                <a:gd name="connsiteX2617" fmla="*/ 544070 w 1012061"/>
                <a:gd name="connsiteY2617" fmla="*/ 126632 h 372939"/>
                <a:gd name="connsiteX2618" fmla="*/ 544016 w 1012061"/>
                <a:gd name="connsiteY2618" fmla="*/ 125488 h 372939"/>
                <a:gd name="connsiteX2619" fmla="*/ 546316 w 1012061"/>
                <a:gd name="connsiteY2619" fmla="*/ 120924 h 372939"/>
                <a:gd name="connsiteX2620" fmla="*/ 548190 w 1012061"/>
                <a:gd name="connsiteY2620" fmla="*/ 119262 h 372939"/>
                <a:gd name="connsiteX2621" fmla="*/ 549011 w 1012061"/>
                <a:gd name="connsiteY2621" fmla="*/ 118236 h 372939"/>
                <a:gd name="connsiteX2622" fmla="*/ 549481 w 1012061"/>
                <a:gd name="connsiteY2622" fmla="*/ 115452 h 372939"/>
                <a:gd name="connsiteX2623" fmla="*/ 550457 w 1012061"/>
                <a:gd name="connsiteY2623" fmla="*/ 114399 h 372939"/>
                <a:gd name="connsiteX2624" fmla="*/ 551694 w 1012061"/>
                <a:gd name="connsiteY2624" fmla="*/ 113646 h 372939"/>
                <a:gd name="connsiteX2625" fmla="*/ 553314 w 1012061"/>
                <a:gd name="connsiteY2625" fmla="*/ 111721 h 372939"/>
                <a:gd name="connsiteX2626" fmla="*/ 554193 w 1012061"/>
                <a:gd name="connsiteY2626" fmla="*/ 109298 h 372939"/>
                <a:gd name="connsiteX2627" fmla="*/ 554731 w 1012061"/>
                <a:gd name="connsiteY2627" fmla="*/ 109113 h 372939"/>
                <a:gd name="connsiteX2628" fmla="*/ 555364 w 1012061"/>
                <a:gd name="connsiteY2628" fmla="*/ 109025 h 372939"/>
                <a:gd name="connsiteX2629" fmla="*/ 556337 w 1012061"/>
                <a:gd name="connsiteY2629" fmla="*/ 111139 h 372939"/>
                <a:gd name="connsiteX2630" fmla="*/ 557432 w 1012061"/>
                <a:gd name="connsiteY2630" fmla="*/ 111999 h 372939"/>
                <a:gd name="connsiteX2631" fmla="*/ 559657 w 1012061"/>
                <a:gd name="connsiteY2631" fmla="*/ 112688 h 372939"/>
                <a:gd name="connsiteX2632" fmla="*/ 561557 w 1012061"/>
                <a:gd name="connsiteY2632" fmla="*/ 111872 h 372939"/>
                <a:gd name="connsiteX2633" fmla="*/ 562086 w 1012061"/>
                <a:gd name="connsiteY2633" fmla="*/ 110811 h 372939"/>
                <a:gd name="connsiteX2634" fmla="*/ 562802 w 1012061"/>
                <a:gd name="connsiteY2634" fmla="*/ 109899 h 372939"/>
                <a:gd name="connsiteX2635" fmla="*/ 563956 w 1012061"/>
                <a:gd name="connsiteY2635" fmla="*/ 108947 h 372939"/>
                <a:gd name="connsiteX2636" fmla="*/ 564925 w 1012061"/>
                <a:gd name="connsiteY2636" fmla="*/ 107864 h 372939"/>
                <a:gd name="connsiteX2637" fmla="*/ 566003 w 1012061"/>
                <a:gd name="connsiteY2637" fmla="*/ 105352 h 372939"/>
                <a:gd name="connsiteX2638" fmla="*/ 567426 w 1012061"/>
                <a:gd name="connsiteY2638" fmla="*/ 103061 h 372939"/>
                <a:gd name="connsiteX2639" fmla="*/ 568402 w 1012061"/>
                <a:gd name="connsiteY2639" fmla="*/ 102262 h 372939"/>
                <a:gd name="connsiteX2640" fmla="*/ 569581 w 1012061"/>
                <a:gd name="connsiteY2640" fmla="*/ 101756 h 372939"/>
                <a:gd name="connsiteX2641" fmla="*/ 570889 w 1012061"/>
                <a:gd name="connsiteY2641" fmla="*/ 101448 h 372939"/>
                <a:gd name="connsiteX2642" fmla="*/ 572153 w 1012061"/>
                <a:gd name="connsiteY2642" fmla="*/ 101407 h 372939"/>
                <a:gd name="connsiteX2643" fmla="*/ 574953 w 1012061"/>
                <a:gd name="connsiteY2643" fmla="*/ 102847 h 372939"/>
                <a:gd name="connsiteX2644" fmla="*/ 576575 w 1012061"/>
                <a:gd name="connsiteY2644" fmla="*/ 103128 h 372939"/>
                <a:gd name="connsiteX2645" fmla="*/ 578234 w 1012061"/>
                <a:gd name="connsiteY2645" fmla="*/ 103023 h 372939"/>
                <a:gd name="connsiteX2646" fmla="*/ 579281 w 1012061"/>
                <a:gd name="connsiteY2646" fmla="*/ 103265 h 372939"/>
                <a:gd name="connsiteX2647" fmla="*/ 580076 w 1012061"/>
                <a:gd name="connsiteY2647" fmla="*/ 103911 h 372939"/>
                <a:gd name="connsiteX2648" fmla="*/ 580799 w 1012061"/>
                <a:gd name="connsiteY2648" fmla="*/ 105213 h 372939"/>
                <a:gd name="connsiteX2649" fmla="*/ 581695 w 1012061"/>
                <a:gd name="connsiteY2649" fmla="*/ 106336 h 372939"/>
                <a:gd name="connsiteX2650" fmla="*/ 582522 w 1012061"/>
                <a:gd name="connsiteY2650" fmla="*/ 106890 h 372939"/>
                <a:gd name="connsiteX2651" fmla="*/ 583431 w 1012061"/>
                <a:gd name="connsiteY2651" fmla="*/ 107149 h 372939"/>
                <a:gd name="connsiteX2652" fmla="*/ 589525 w 1012061"/>
                <a:gd name="connsiteY2652" fmla="*/ 106695 h 372939"/>
                <a:gd name="connsiteX2653" fmla="*/ 594850 w 1012061"/>
                <a:gd name="connsiteY2653" fmla="*/ 107963 h 372939"/>
                <a:gd name="connsiteX2654" fmla="*/ 602112 w 1012061"/>
                <a:gd name="connsiteY2654" fmla="*/ 108253 h 372939"/>
                <a:gd name="connsiteX2655" fmla="*/ 604604 w 1012061"/>
                <a:gd name="connsiteY2655" fmla="*/ 108996 h 372939"/>
                <a:gd name="connsiteX2656" fmla="*/ 606995 w 1012061"/>
                <a:gd name="connsiteY2656" fmla="*/ 109966 h 372939"/>
                <a:gd name="connsiteX2657" fmla="*/ 609923 w 1012061"/>
                <a:gd name="connsiteY2657" fmla="*/ 111684 h 372939"/>
                <a:gd name="connsiteX2658" fmla="*/ 610994 w 1012061"/>
                <a:gd name="connsiteY2658" fmla="*/ 112065 h 372939"/>
                <a:gd name="connsiteX2659" fmla="*/ 612192 w 1012061"/>
                <a:gd name="connsiteY2659" fmla="*/ 111969 h 372939"/>
                <a:gd name="connsiteX2660" fmla="*/ 613687 w 1012061"/>
                <a:gd name="connsiteY2660" fmla="*/ 110355 h 372939"/>
                <a:gd name="connsiteX2661" fmla="*/ 614853 w 1012061"/>
                <a:gd name="connsiteY2661" fmla="*/ 110002 h 372939"/>
                <a:gd name="connsiteX2662" fmla="*/ 616040 w 1012061"/>
                <a:gd name="connsiteY2662" fmla="*/ 109940 h 372939"/>
                <a:gd name="connsiteX2663" fmla="*/ 620720 w 1012061"/>
                <a:gd name="connsiteY2663" fmla="*/ 110243 h 372939"/>
                <a:gd name="connsiteX2664" fmla="*/ 633292 w 1012061"/>
                <a:gd name="connsiteY2664" fmla="*/ 112231 h 372939"/>
                <a:gd name="connsiteX2665" fmla="*/ 635151 w 1012061"/>
                <a:gd name="connsiteY2665" fmla="*/ 111960 h 372939"/>
                <a:gd name="connsiteX2666" fmla="*/ 642732 w 1012061"/>
                <a:gd name="connsiteY2666" fmla="*/ 108160 h 372939"/>
                <a:gd name="connsiteX2667" fmla="*/ 645766 w 1012061"/>
                <a:gd name="connsiteY2667" fmla="*/ 104559 h 372939"/>
                <a:gd name="connsiteX2668" fmla="*/ 648483 w 1012061"/>
                <a:gd name="connsiteY2668" fmla="*/ 103556 h 372939"/>
                <a:gd name="connsiteX2669" fmla="*/ 649405 w 1012061"/>
                <a:gd name="connsiteY2669" fmla="*/ 101929 h 372939"/>
                <a:gd name="connsiteX2670" fmla="*/ 649953 w 1012061"/>
                <a:gd name="connsiteY2670" fmla="*/ 99974 h 372939"/>
                <a:gd name="connsiteX2671" fmla="*/ 650916 w 1012061"/>
                <a:gd name="connsiteY2671" fmla="*/ 99449 h 372939"/>
                <a:gd name="connsiteX2672" fmla="*/ 653193 w 1012061"/>
                <a:gd name="connsiteY2672" fmla="*/ 98891 h 372939"/>
                <a:gd name="connsiteX2673" fmla="*/ 654099 w 1012061"/>
                <a:gd name="connsiteY2673" fmla="*/ 98312 h 372939"/>
                <a:gd name="connsiteX2674" fmla="*/ 655712 w 1012061"/>
                <a:gd name="connsiteY2674" fmla="*/ 95913 h 372939"/>
                <a:gd name="connsiteX2675" fmla="*/ 657624 w 1012061"/>
                <a:gd name="connsiteY2675" fmla="*/ 93787 h 372939"/>
                <a:gd name="connsiteX2676" fmla="*/ 142271 w 1012061"/>
                <a:gd name="connsiteY2676" fmla="*/ 83732 h 372939"/>
                <a:gd name="connsiteX2677" fmla="*/ 143761 w 1012061"/>
                <a:gd name="connsiteY2677" fmla="*/ 84800 h 372939"/>
                <a:gd name="connsiteX2678" fmla="*/ 144960 w 1012061"/>
                <a:gd name="connsiteY2678" fmla="*/ 86612 h 372939"/>
                <a:gd name="connsiteX2679" fmla="*/ 145208 w 1012061"/>
                <a:gd name="connsiteY2679" fmla="*/ 87786 h 372939"/>
                <a:gd name="connsiteX2680" fmla="*/ 144336 w 1012061"/>
                <a:gd name="connsiteY2680" fmla="*/ 89133 h 372939"/>
                <a:gd name="connsiteX2681" fmla="*/ 144011 w 1012061"/>
                <a:gd name="connsiteY2681" fmla="*/ 91199 h 372939"/>
                <a:gd name="connsiteX2682" fmla="*/ 141431 w 1012061"/>
                <a:gd name="connsiteY2682" fmla="*/ 92823 h 372939"/>
                <a:gd name="connsiteX2683" fmla="*/ 139176 w 1012061"/>
                <a:gd name="connsiteY2683" fmla="*/ 92437 h 372939"/>
                <a:gd name="connsiteX2684" fmla="*/ 138447 w 1012061"/>
                <a:gd name="connsiteY2684" fmla="*/ 91858 h 372939"/>
                <a:gd name="connsiteX2685" fmla="*/ 137024 w 1012061"/>
                <a:gd name="connsiteY2685" fmla="*/ 88718 h 372939"/>
                <a:gd name="connsiteX2686" fmla="*/ 137162 w 1012061"/>
                <a:gd name="connsiteY2686" fmla="*/ 86056 h 372939"/>
                <a:gd name="connsiteX2687" fmla="*/ 138060 w 1012061"/>
                <a:gd name="connsiteY2687" fmla="*/ 85035 h 372939"/>
                <a:gd name="connsiteX2688" fmla="*/ 140148 w 1012061"/>
                <a:gd name="connsiteY2688" fmla="*/ 85192 h 372939"/>
                <a:gd name="connsiteX2689" fmla="*/ 725936 w 1012061"/>
                <a:gd name="connsiteY2689" fmla="*/ 82132 h 372939"/>
                <a:gd name="connsiteX2690" fmla="*/ 726076 w 1012061"/>
                <a:gd name="connsiteY2690" fmla="*/ 83060 h 372939"/>
                <a:gd name="connsiteX2691" fmla="*/ 725821 w 1012061"/>
                <a:gd name="connsiteY2691" fmla="*/ 83883 h 372939"/>
                <a:gd name="connsiteX2692" fmla="*/ 723068 w 1012061"/>
                <a:gd name="connsiteY2692" fmla="*/ 87738 h 372939"/>
                <a:gd name="connsiteX2693" fmla="*/ 722701 w 1012061"/>
                <a:gd name="connsiteY2693" fmla="*/ 88608 h 372939"/>
                <a:gd name="connsiteX2694" fmla="*/ 722627 w 1012061"/>
                <a:gd name="connsiteY2694" fmla="*/ 90230 h 372939"/>
                <a:gd name="connsiteX2695" fmla="*/ 723947 w 1012061"/>
                <a:gd name="connsiteY2695" fmla="*/ 91188 h 372939"/>
                <a:gd name="connsiteX2696" fmla="*/ 725372 w 1012061"/>
                <a:gd name="connsiteY2696" fmla="*/ 93144 h 372939"/>
                <a:gd name="connsiteX2697" fmla="*/ 725655 w 1012061"/>
                <a:gd name="connsiteY2697" fmla="*/ 95748 h 372939"/>
                <a:gd name="connsiteX2698" fmla="*/ 725702 w 1012061"/>
                <a:gd name="connsiteY2698" fmla="*/ 98521 h 372939"/>
                <a:gd name="connsiteX2699" fmla="*/ 725389 w 1012061"/>
                <a:gd name="connsiteY2699" fmla="*/ 101316 h 372939"/>
                <a:gd name="connsiteX2700" fmla="*/ 724858 w 1012061"/>
                <a:gd name="connsiteY2700" fmla="*/ 102248 h 372939"/>
                <a:gd name="connsiteX2701" fmla="*/ 722595 w 1012061"/>
                <a:gd name="connsiteY2701" fmla="*/ 105052 h 372939"/>
                <a:gd name="connsiteX2702" fmla="*/ 717453 w 1012061"/>
                <a:gd name="connsiteY2702" fmla="*/ 108346 h 372939"/>
                <a:gd name="connsiteX2703" fmla="*/ 717015 w 1012061"/>
                <a:gd name="connsiteY2703" fmla="*/ 109157 h 372939"/>
                <a:gd name="connsiteX2704" fmla="*/ 717046 w 1012061"/>
                <a:gd name="connsiteY2704" fmla="*/ 110065 h 372939"/>
                <a:gd name="connsiteX2705" fmla="*/ 717998 w 1012061"/>
                <a:gd name="connsiteY2705" fmla="*/ 111161 h 372939"/>
                <a:gd name="connsiteX2706" fmla="*/ 719220 w 1012061"/>
                <a:gd name="connsiteY2706" fmla="*/ 112010 h 372939"/>
                <a:gd name="connsiteX2707" fmla="*/ 720827 w 1012061"/>
                <a:gd name="connsiteY2707" fmla="*/ 112502 h 372939"/>
                <a:gd name="connsiteX2708" fmla="*/ 722500 w 1012061"/>
                <a:gd name="connsiteY2708" fmla="*/ 112365 h 372939"/>
                <a:gd name="connsiteX2709" fmla="*/ 723331 w 1012061"/>
                <a:gd name="connsiteY2709" fmla="*/ 111377 h 372939"/>
                <a:gd name="connsiteX2710" fmla="*/ 723562 w 1012061"/>
                <a:gd name="connsiteY2710" fmla="*/ 110096 h 372939"/>
                <a:gd name="connsiteX2711" fmla="*/ 724407 w 1012061"/>
                <a:gd name="connsiteY2711" fmla="*/ 107711 h 372939"/>
                <a:gd name="connsiteX2712" fmla="*/ 726352 w 1012061"/>
                <a:gd name="connsiteY2712" fmla="*/ 106095 h 372939"/>
                <a:gd name="connsiteX2713" fmla="*/ 727717 w 1012061"/>
                <a:gd name="connsiteY2713" fmla="*/ 105843 h 372939"/>
                <a:gd name="connsiteX2714" fmla="*/ 728684 w 1012061"/>
                <a:gd name="connsiteY2714" fmla="*/ 105162 h 372939"/>
                <a:gd name="connsiteX2715" fmla="*/ 728516 w 1012061"/>
                <a:gd name="connsiteY2715" fmla="*/ 103392 h 372939"/>
                <a:gd name="connsiteX2716" fmla="*/ 728611 w 1012061"/>
                <a:gd name="connsiteY2716" fmla="*/ 101651 h 372939"/>
                <a:gd name="connsiteX2717" fmla="*/ 730049 w 1012061"/>
                <a:gd name="connsiteY2717" fmla="*/ 99792 h 372939"/>
                <a:gd name="connsiteX2718" fmla="*/ 734508 w 1012061"/>
                <a:gd name="connsiteY2718" fmla="*/ 97207 h 372939"/>
                <a:gd name="connsiteX2719" fmla="*/ 737054 w 1012061"/>
                <a:gd name="connsiteY2719" fmla="*/ 96285 h 372939"/>
                <a:gd name="connsiteX2720" fmla="*/ 740352 w 1012061"/>
                <a:gd name="connsiteY2720" fmla="*/ 95990 h 372939"/>
                <a:gd name="connsiteX2721" fmla="*/ 740723 w 1012061"/>
                <a:gd name="connsiteY2721" fmla="*/ 96981 h 372939"/>
                <a:gd name="connsiteX2722" fmla="*/ 740345 w 1012061"/>
                <a:gd name="connsiteY2722" fmla="*/ 98397 h 372939"/>
                <a:gd name="connsiteX2723" fmla="*/ 740982 w 1012061"/>
                <a:gd name="connsiteY2723" fmla="*/ 100530 h 372939"/>
                <a:gd name="connsiteX2724" fmla="*/ 740667 w 1012061"/>
                <a:gd name="connsiteY2724" fmla="*/ 106300 h 372939"/>
                <a:gd name="connsiteX2725" fmla="*/ 739918 w 1012061"/>
                <a:gd name="connsiteY2725" fmla="*/ 107117 h 372939"/>
                <a:gd name="connsiteX2726" fmla="*/ 736508 w 1012061"/>
                <a:gd name="connsiteY2726" fmla="*/ 109111 h 372939"/>
                <a:gd name="connsiteX2727" fmla="*/ 732781 w 1012061"/>
                <a:gd name="connsiteY2727" fmla="*/ 110706 h 372939"/>
                <a:gd name="connsiteX2728" fmla="*/ 731738 w 1012061"/>
                <a:gd name="connsiteY2728" fmla="*/ 111377 h 372939"/>
                <a:gd name="connsiteX2729" fmla="*/ 730818 w 1012061"/>
                <a:gd name="connsiteY2729" fmla="*/ 112965 h 372939"/>
                <a:gd name="connsiteX2730" fmla="*/ 730894 w 1012061"/>
                <a:gd name="connsiteY2730" fmla="*/ 114539 h 372939"/>
                <a:gd name="connsiteX2731" fmla="*/ 733930 w 1012061"/>
                <a:gd name="connsiteY2731" fmla="*/ 116640 h 372939"/>
                <a:gd name="connsiteX2732" fmla="*/ 738646 w 1012061"/>
                <a:gd name="connsiteY2732" fmla="*/ 118605 h 372939"/>
                <a:gd name="connsiteX2733" fmla="*/ 739619 w 1012061"/>
                <a:gd name="connsiteY2733" fmla="*/ 119527 h 372939"/>
                <a:gd name="connsiteX2734" fmla="*/ 740250 w 1012061"/>
                <a:gd name="connsiteY2734" fmla="*/ 121070 h 372939"/>
                <a:gd name="connsiteX2735" fmla="*/ 740423 w 1012061"/>
                <a:gd name="connsiteY2735" fmla="*/ 122797 h 372939"/>
                <a:gd name="connsiteX2736" fmla="*/ 741565 w 1012061"/>
                <a:gd name="connsiteY2736" fmla="*/ 123617 h 372939"/>
                <a:gd name="connsiteX2737" fmla="*/ 743161 w 1012061"/>
                <a:gd name="connsiteY2737" fmla="*/ 124013 h 372939"/>
                <a:gd name="connsiteX2738" fmla="*/ 744219 w 1012061"/>
                <a:gd name="connsiteY2738" fmla="*/ 124831 h 372939"/>
                <a:gd name="connsiteX2739" fmla="*/ 745023 w 1012061"/>
                <a:gd name="connsiteY2739" fmla="*/ 125983 h 372939"/>
                <a:gd name="connsiteX2740" fmla="*/ 737080 w 1012061"/>
                <a:gd name="connsiteY2740" fmla="*/ 123294 h 372939"/>
                <a:gd name="connsiteX2741" fmla="*/ 735003 w 1012061"/>
                <a:gd name="connsiteY2741" fmla="*/ 122107 h 372939"/>
                <a:gd name="connsiteX2742" fmla="*/ 732490 w 1012061"/>
                <a:gd name="connsiteY2742" fmla="*/ 121966 h 372939"/>
                <a:gd name="connsiteX2743" fmla="*/ 730008 w 1012061"/>
                <a:gd name="connsiteY2743" fmla="*/ 121605 h 372939"/>
                <a:gd name="connsiteX2744" fmla="*/ 727475 w 1012061"/>
                <a:gd name="connsiteY2744" fmla="*/ 120574 h 372939"/>
                <a:gd name="connsiteX2745" fmla="*/ 724757 w 1012061"/>
                <a:gd name="connsiteY2745" fmla="*/ 120331 h 372939"/>
                <a:gd name="connsiteX2746" fmla="*/ 723459 w 1012061"/>
                <a:gd name="connsiteY2746" fmla="*/ 121078 h 372939"/>
                <a:gd name="connsiteX2747" fmla="*/ 722949 w 1012061"/>
                <a:gd name="connsiteY2747" fmla="*/ 122534 h 372939"/>
                <a:gd name="connsiteX2748" fmla="*/ 722641 w 1012061"/>
                <a:gd name="connsiteY2748" fmla="*/ 124168 h 372939"/>
                <a:gd name="connsiteX2749" fmla="*/ 723243 w 1012061"/>
                <a:gd name="connsiteY2749" fmla="*/ 126203 h 372939"/>
                <a:gd name="connsiteX2750" fmla="*/ 723189 w 1012061"/>
                <a:gd name="connsiteY2750" fmla="*/ 127437 h 372939"/>
                <a:gd name="connsiteX2751" fmla="*/ 722675 w 1012061"/>
                <a:gd name="connsiteY2751" fmla="*/ 129671 h 372939"/>
                <a:gd name="connsiteX2752" fmla="*/ 724640 w 1012061"/>
                <a:gd name="connsiteY2752" fmla="*/ 136257 h 372939"/>
                <a:gd name="connsiteX2753" fmla="*/ 727108 w 1012061"/>
                <a:gd name="connsiteY2753" fmla="*/ 141495 h 372939"/>
                <a:gd name="connsiteX2754" fmla="*/ 730735 w 1012061"/>
                <a:gd name="connsiteY2754" fmla="*/ 146944 h 372939"/>
                <a:gd name="connsiteX2755" fmla="*/ 732528 w 1012061"/>
                <a:gd name="connsiteY2755" fmla="*/ 148816 h 372939"/>
                <a:gd name="connsiteX2756" fmla="*/ 734539 w 1012061"/>
                <a:gd name="connsiteY2756" fmla="*/ 150505 h 372939"/>
                <a:gd name="connsiteX2757" fmla="*/ 731280 w 1012061"/>
                <a:gd name="connsiteY2757" fmla="*/ 150004 h 372939"/>
                <a:gd name="connsiteX2758" fmla="*/ 730291 w 1012061"/>
                <a:gd name="connsiteY2758" fmla="*/ 148183 h 372939"/>
                <a:gd name="connsiteX2759" fmla="*/ 726156 w 1012061"/>
                <a:gd name="connsiteY2759" fmla="*/ 146378 h 372939"/>
                <a:gd name="connsiteX2760" fmla="*/ 725370 w 1012061"/>
                <a:gd name="connsiteY2760" fmla="*/ 145300 h 372939"/>
                <a:gd name="connsiteX2761" fmla="*/ 722675 w 1012061"/>
                <a:gd name="connsiteY2761" fmla="*/ 140130 h 372939"/>
                <a:gd name="connsiteX2762" fmla="*/ 721886 w 1012061"/>
                <a:gd name="connsiteY2762" fmla="*/ 139165 h 372939"/>
                <a:gd name="connsiteX2763" fmla="*/ 719399 w 1012061"/>
                <a:gd name="connsiteY2763" fmla="*/ 137408 h 372939"/>
                <a:gd name="connsiteX2764" fmla="*/ 718311 w 1012061"/>
                <a:gd name="connsiteY2764" fmla="*/ 136114 h 372939"/>
                <a:gd name="connsiteX2765" fmla="*/ 717939 w 1012061"/>
                <a:gd name="connsiteY2765" fmla="*/ 134367 h 372939"/>
                <a:gd name="connsiteX2766" fmla="*/ 718218 w 1012061"/>
                <a:gd name="connsiteY2766" fmla="*/ 132533 h 372939"/>
                <a:gd name="connsiteX2767" fmla="*/ 718084 w 1012061"/>
                <a:gd name="connsiteY2767" fmla="*/ 129994 h 372939"/>
                <a:gd name="connsiteX2768" fmla="*/ 718175 w 1012061"/>
                <a:gd name="connsiteY2768" fmla="*/ 127470 h 372939"/>
                <a:gd name="connsiteX2769" fmla="*/ 718689 w 1012061"/>
                <a:gd name="connsiteY2769" fmla="*/ 124395 h 372939"/>
                <a:gd name="connsiteX2770" fmla="*/ 717804 w 1012061"/>
                <a:gd name="connsiteY2770" fmla="*/ 123319 h 372939"/>
                <a:gd name="connsiteX2771" fmla="*/ 716644 w 1012061"/>
                <a:gd name="connsiteY2771" fmla="*/ 122298 h 372939"/>
                <a:gd name="connsiteX2772" fmla="*/ 715298 w 1012061"/>
                <a:gd name="connsiteY2772" fmla="*/ 119938 h 372939"/>
                <a:gd name="connsiteX2773" fmla="*/ 714894 w 1012061"/>
                <a:gd name="connsiteY2773" fmla="*/ 117257 h 372939"/>
                <a:gd name="connsiteX2774" fmla="*/ 714998 w 1012061"/>
                <a:gd name="connsiteY2774" fmla="*/ 115714 h 372939"/>
                <a:gd name="connsiteX2775" fmla="*/ 715556 w 1012061"/>
                <a:gd name="connsiteY2775" fmla="*/ 114346 h 372939"/>
                <a:gd name="connsiteX2776" fmla="*/ 716301 w 1012061"/>
                <a:gd name="connsiteY2776" fmla="*/ 113163 h 372939"/>
                <a:gd name="connsiteX2777" fmla="*/ 716463 w 1012061"/>
                <a:gd name="connsiteY2777" fmla="*/ 112009 h 372939"/>
                <a:gd name="connsiteX2778" fmla="*/ 714526 w 1012061"/>
                <a:gd name="connsiteY2778" fmla="*/ 110333 h 372939"/>
                <a:gd name="connsiteX2779" fmla="*/ 712493 w 1012061"/>
                <a:gd name="connsiteY2779" fmla="*/ 105557 h 372939"/>
                <a:gd name="connsiteX2780" fmla="*/ 712312 w 1012061"/>
                <a:gd name="connsiteY2780" fmla="*/ 103080 h 372939"/>
                <a:gd name="connsiteX2781" fmla="*/ 714894 w 1012061"/>
                <a:gd name="connsiteY2781" fmla="*/ 98314 h 372939"/>
                <a:gd name="connsiteX2782" fmla="*/ 714841 w 1012061"/>
                <a:gd name="connsiteY2782" fmla="*/ 96001 h 372939"/>
                <a:gd name="connsiteX2783" fmla="*/ 715355 w 1012061"/>
                <a:gd name="connsiteY2783" fmla="*/ 94626 h 372939"/>
                <a:gd name="connsiteX2784" fmla="*/ 715638 w 1012061"/>
                <a:gd name="connsiteY2784" fmla="*/ 93168 h 372939"/>
                <a:gd name="connsiteX2785" fmla="*/ 716987 w 1012061"/>
                <a:gd name="connsiteY2785" fmla="*/ 89993 h 372939"/>
                <a:gd name="connsiteX2786" fmla="*/ 719192 w 1012061"/>
                <a:gd name="connsiteY2786" fmla="*/ 87285 h 372939"/>
                <a:gd name="connsiteX2787" fmla="*/ 722916 w 1012061"/>
                <a:gd name="connsiteY2787" fmla="*/ 83497 h 372939"/>
                <a:gd name="connsiteX2788" fmla="*/ 724340 w 1012061"/>
                <a:gd name="connsiteY2788" fmla="*/ 82670 h 372939"/>
                <a:gd name="connsiteX2789" fmla="*/ 43118 w 1012061"/>
                <a:gd name="connsiteY2789" fmla="*/ 81398 h 372939"/>
                <a:gd name="connsiteX2790" fmla="*/ 45245 w 1012061"/>
                <a:gd name="connsiteY2790" fmla="*/ 81756 h 372939"/>
                <a:gd name="connsiteX2791" fmla="*/ 46098 w 1012061"/>
                <a:gd name="connsiteY2791" fmla="*/ 82093 h 372939"/>
                <a:gd name="connsiteX2792" fmla="*/ 46924 w 1012061"/>
                <a:gd name="connsiteY2792" fmla="*/ 83249 h 372939"/>
                <a:gd name="connsiteX2793" fmla="*/ 47045 w 1012061"/>
                <a:gd name="connsiteY2793" fmla="*/ 84862 h 372939"/>
                <a:gd name="connsiteX2794" fmla="*/ 46914 w 1012061"/>
                <a:gd name="connsiteY2794" fmla="*/ 85357 h 372939"/>
                <a:gd name="connsiteX2795" fmla="*/ 44632 w 1012061"/>
                <a:gd name="connsiteY2795" fmla="*/ 83029 h 372939"/>
                <a:gd name="connsiteX2796" fmla="*/ 42050 w 1012061"/>
                <a:gd name="connsiteY2796" fmla="*/ 81737 h 372939"/>
                <a:gd name="connsiteX2797" fmla="*/ 738445 w 1012061"/>
                <a:gd name="connsiteY2797" fmla="*/ 73314 h 372939"/>
                <a:gd name="connsiteX2798" fmla="*/ 740354 w 1012061"/>
                <a:gd name="connsiteY2798" fmla="*/ 76056 h 372939"/>
                <a:gd name="connsiteX2799" fmla="*/ 738912 w 1012061"/>
                <a:gd name="connsiteY2799" fmla="*/ 81571 h 372939"/>
                <a:gd name="connsiteX2800" fmla="*/ 737238 w 1012061"/>
                <a:gd name="connsiteY2800" fmla="*/ 84388 h 372939"/>
                <a:gd name="connsiteX2801" fmla="*/ 735167 w 1012061"/>
                <a:gd name="connsiteY2801" fmla="*/ 85390 h 372939"/>
                <a:gd name="connsiteX2802" fmla="*/ 731673 w 1012061"/>
                <a:gd name="connsiteY2802" fmla="*/ 85767 h 372939"/>
                <a:gd name="connsiteX2803" fmla="*/ 730879 w 1012061"/>
                <a:gd name="connsiteY2803" fmla="*/ 84710 h 372939"/>
                <a:gd name="connsiteX2804" fmla="*/ 729950 w 1012061"/>
                <a:gd name="connsiteY2804" fmla="*/ 79955 h 372939"/>
                <a:gd name="connsiteX2805" fmla="*/ 732435 w 1012061"/>
                <a:gd name="connsiteY2805" fmla="*/ 76152 h 372939"/>
                <a:gd name="connsiteX2806" fmla="*/ 735568 w 1012061"/>
                <a:gd name="connsiteY2806" fmla="*/ 73914 h 372939"/>
                <a:gd name="connsiteX2807" fmla="*/ 737704 w 1012061"/>
                <a:gd name="connsiteY2807" fmla="*/ 73348 h 372939"/>
                <a:gd name="connsiteX2808" fmla="*/ 667436 w 1012061"/>
                <a:gd name="connsiteY2808" fmla="*/ 68717 h 372939"/>
                <a:gd name="connsiteX2809" fmla="*/ 668418 w 1012061"/>
                <a:gd name="connsiteY2809" fmla="*/ 69192 h 372939"/>
                <a:gd name="connsiteX2810" fmla="*/ 668667 w 1012061"/>
                <a:gd name="connsiteY2810" fmla="*/ 69655 h 372939"/>
                <a:gd name="connsiteX2811" fmla="*/ 667725 w 1012061"/>
                <a:gd name="connsiteY2811" fmla="*/ 70893 h 372939"/>
                <a:gd name="connsiteX2812" fmla="*/ 667803 w 1012061"/>
                <a:gd name="connsiteY2812" fmla="*/ 72119 h 372939"/>
                <a:gd name="connsiteX2813" fmla="*/ 667578 w 1012061"/>
                <a:gd name="connsiteY2813" fmla="*/ 72607 h 372939"/>
                <a:gd name="connsiteX2814" fmla="*/ 666756 w 1012061"/>
                <a:gd name="connsiteY2814" fmla="*/ 70012 h 372939"/>
                <a:gd name="connsiteX2815" fmla="*/ 13258 w 1012061"/>
                <a:gd name="connsiteY2815" fmla="*/ 66268 h 372939"/>
                <a:gd name="connsiteX2816" fmla="*/ 15239 w 1012061"/>
                <a:gd name="connsiteY2816" fmla="*/ 66865 h 372939"/>
                <a:gd name="connsiteX2817" fmla="*/ 17495 w 1012061"/>
                <a:gd name="connsiteY2817" fmla="*/ 69247 h 372939"/>
                <a:gd name="connsiteX2818" fmla="*/ 19788 w 1012061"/>
                <a:gd name="connsiteY2818" fmla="*/ 70137 h 372939"/>
                <a:gd name="connsiteX2819" fmla="*/ 20412 w 1012061"/>
                <a:gd name="connsiteY2819" fmla="*/ 70586 h 372939"/>
                <a:gd name="connsiteX2820" fmla="*/ 21522 w 1012061"/>
                <a:gd name="connsiteY2820" fmla="*/ 71904 h 372939"/>
                <a:gd name="connsiteX2821" fmla="*/ 26770 w 1012061"/>
                <a:gd name="connsiteY2821" fmla="*/ 75138 h 372939"/>
                <a:gd name="connsiteX2822" fmla="*/ 27340 w 1012061"/>
                <a:gd name="connsiteY2822" fmla="*/ 76234 h 372939"/>
                <a:gd name="connsiteX2823" fmla="*/ 27700 w 1012061"/>
                <a:gd name="connsiteY2823" fmla="*/ 77336 h 372939"/>
                <a:gd name="connsiteX2824" fmla="*/ 27795 w 1012061"/>
                <a:gd name="connsiteY2824" fmla="*/ 78571 h 372939"/>
                <a:gd name="connsiteX2825" fmla="*/ 26409 w 1012061"/>
                <a:gd name="connsiteY2825" fmla="*/ 78777 h 372939"/>
                <a:gd name="connsiteX2826" fmla="*/ 25075 w 1012061"/>
                <a:gd name="connsiteY2826" fmla="*/ 78304 h 372939"/>
                <a:gd name="connsiteX2827" fmla="*/ 23965 w 1012061"/>
                <a:gd name="connsiteY2827" fmla="*/ 77032 h 372939"/>
                <a:gd name="connsiteX2828" fmla="*/ 18028 w 1012061"/>
                <a:gd name="connsiteY2828" fmla="*/ 73355 h 372939"/>
                <a:gd name="connsiteX2829" fmla="*/ 16182 w 1012061"/>
                <a:gd name="connsiteY2829" fmla="*/ 73296 h 372939"/>
                <a:gd name="connsiteX2830" fmla="*/ 14884 w 1012061"/>
                <a:gd name="connsiteY2830" fmla="*/ 72356 h 372939"/>
                <a:gd name="connsiteX2831" fmla="*/ 13310 w 1012061"/>
                <a:gd name="connsiteY2831" fmla="*/ 72031 h 372939"/>
                <a:gd name="connsiteX2832" fmla="*/ 11639 w 1012061"/>
                <a:gd name="connsiteY2832" fmla="*/ 69577 h 372939"/>
                <a:gd name="connsiteX2833" fmla="*/ 11289 w 1012061"/>
                <a:gd name="connsiteY2833" fmla="*/ 68261 h 372939"/>
                <a:gd name="connsiteX2834" fmla="*/ 12505 w 1012061"/>
                <a:gd name="connsiteY2834" fmla="*/ 67619 h 372939"/>
                <a:gd name="connsiteX2835" fmla="*/ 302474 w 1012061"/>
                <a:gd name="connsiteY2835" fmla="*/ 64432 h 372939"/>
                <a:gd name="connsiteX2836" fmla="*/ 302513 w 1012061"/>
                <a:gd name="connsiteY2836" fmla="*/ 66503 h 372939"/>
                <a:gd name="connsiteX2837" fmla="*/ 301437 w 1012061"/>
                <a:gd name="connsiteY2837" fmla="*/ 67662 h 372939"/>
                <a:gd name="connsiteX2838" fmla="*/ 300279 w 1012061"/>
                <a:gd name="connsiteY2838" fmla="*/ 66940 h 372939"/>
                <a:gd name="connsiteX2839" fmla="*/ 302061 w 1012061"/>
                <a:gd name="connsiteY2839" fmla="*/ 64589 h 372939"/>
                <a:gd name="connsiteX2840" fmla="*/ 231857 w 1012061"/>
                <a:gd name="connsiteY2840" fmla="*/ 63026 h 372939"/>
                <a:gd name="connsiteX2841" fmla="*/ 232708 w 1012061"/>
                <a:gd name="connsiteY2841" fmla="*/ 63591 h 372939"/>
                <a:gd name="connsiteX2842" fmla="*/ 233364 w 1012061"/>
                <a:gd name="connsiteY2842" fmla="*/ 64121 h 372939"/>
                <a:gd name="connsiteX2843" fmla="*/ 234121 w 1012061"/>
                <a:gd name="connsiteY2843" fmla="*/ 64499 h 372939"/>
                <a:gd name="connsiteX2844" fmla="*/ 234732 w 1012061"/>
                <a:gd name="connsiteY2844" fmla="*/ 64755 h 372939"/>
                <a:gd name="connsiteX2845" fmla="*/ 235053 w 1012061"/>
                <a:gd name="connsiteY2845" fmla="*/ 64929 h 372939"/>
                <a:gd name="connsiteX2846" fmla="*/ 234449 w 1012061"/>
                <a:gd name="connsiteY2846" fmla="*/ 66535 h 372939"/>
                <a:gd name="connsiteX2847" fmla="*/ 233364 w 1012061"/>
                <a:gd name="connsiteY2847" fmla="*/ 67441 h 372939"/>
                <a:gd name="connsiteX2848" fmla="*/ 232440 w 1012061"/>
                <a:gd name="connsiteY2848" fmla="*/ 67526 h 372939"/>
                <a:gd name="connsiteX2849" fmla="*/ 232166 w 1012061"/>
                <a:gd name="connsiteY2849" fmla="*/ 66869 h 372939"/>
                <a:gd name="connsiteX2850" fmla="*/ 232205 w 1012061"/>
                <a:gd name="connsiteY2850" fmla="*/ 65735 h 372939"/>
                <a:gd name="connsiteX2851" fmla="*/ 232123 w 1012061"/>
                <a:gd name="connsiteY2851" fmla="*/ 64832 h 372939"/>
                <a:gd name="connsiteX2852" fmla="*/ 231857 w 1012061"/>
                <a:gd name="connsiteY2852" fmla="*/ 64159 h 372939"/>
                <a:gd name="connsiteX2853" fmla="*/ 243611 w 1012061"/>
                <a:gd name="connsiteY2853" fmla="*/ 59328 h 372939"/>
                <a:gd name="connsiteX2854" fmla="*/ 244660 w 1012061"/>
                <a:gd name="connsiteY2854" fmla="*/ 59622 h 372939"/>
                <a:gd name="connsiteX2855" fmla="*/ 244971 w 1012061"/>
                <a:gd name="connsiteY2855" fmla="*/ 60932 h 372939"/>
                <a:gd name="connsiteX2856" fmla="*/ 244937 w 1012061"/>
                <a:gd name="connsiteY2856" fmla="*/ 62457 h 372939"/>
                <a:gd name="connsiteX2857" fmla="*/ 243408 w 1012061"/>
                <a:gd name="connsiteY2857" fmla="*/ 61564 h 372939"/>
                <a:gd name="connsiteX2858" fmla="*/ 243108 w 1012061"/>
                <a:gd name="connsiteY2858" fmla="*/ 59875 h 372939"/>
                <a:gd name="connsiteX2859" fmla="*/ 495976 w 1012061"/>
                <a:gd name="connsiteY2859" fmla="*/ 54757 h 372939"/>
                <a:gd name="connsiteX2860" fmla="*/ 496952 w 1012061"/>
                <a:gd name="connsiteY2860" fmla="*/ 55389 h 372939"/>
                <a:gd name="connsiteX2861" fmla="*/ 496455 w 1012061"/>
                <a:gd name="connsiteY2861" fmla="*/ 58201 h 372939"/>
                <a:gd name="connsiteX2862" fmla="*/ 496177 w 1012061"/>
                <a:gd name="connsiteY2862" fmla="*/ 58926 h 372939"/>
                <a:gd name="connsiteX2863" fmla="*/ 494287 w 1012061"/>
                <a:gd name="connsiteY2863" fmla="*/ 57145 h 372939"/>
                <a:gd name="connsiteX2864" fmla="*/ 493782 w 1012061"/>
                <a:gd name="connsiteY2864" fmla="*/ 55857 h 372939"/>
                <a:gd name="connsiteX2865" fmla="*/ 494011 w 1012061"/>
                <a:gd name="connsiteY2865" fmla="*/ 54848 h 372939"/>
                <a:gd name="connsiteX2866" fmla="*/ 669161 w 1012061"/>
                <a:gd name="connsiteY2866" fmla="*/ 48178 h 372939"/>
                <a:gd name="connsiteX2867" fmla="*/ 670810 w 1012061"/>
                <a:gd name="connsiteY2867" fmla="*/ 49569 h 372939"/>
                <a:gd name="connsiteX2868" fmla="*/ 671744 w 1012061"/>
                <a:gd name="connsiteY2868" fmla="*/ 51768 h 372939"/>
                <a:gd name="connsiteX2869" fmla="*/ 673024 w 1012061"/>
                <a:gd name="connsiteY2869" fmla="*/ 53862 h 372939"/>
                <a:gd name="connsiteX2870" fmla="*/ 673346 w 1012061"/>
                <a:gd name="connsiteY2870" fmla="*/ 54758 h 372939"/>
                <a:gd name="connsiteX2871" fmla="*/ 672796 w 1012061"/>
                <a:gd name="connsiteY2871" fmla="*/ 55436 h 372939"/>
                <a:gd name="connsiteX2872" fmla="*/ 670104 w 1012061"/>
                <a:gd name="connsiteY2872" fmla="*/ 54202 h 372939"/>
                <a:gd name="connsiteX2873" fmla="*/ 670238 w 1012061"/>
                <a:gd name="connsiteY2873" fmla="*/ 52244 h 372939"/>
                <a:gd name="connsiteX2874" fmla="*/ 669876 w 1012061"/>
                <a:gd name="connsiteY2874" fmla="*/ 51278 h 372939"/>
                <a:gd name="connsiteX2875" fmla="*/ 669155 w 1012061"/>
                <a:gd name="connsiteY2875" fmla="*/ 50262 h 372939"/>
                <a:gd name="connsiteX2876" fmla="*/ 668861 w 1012061"/>
                <a:gd name="connsiteY2876" fmla="*/ 49264 h 372939"/>
                <a:gd name="connsiteX2877" fmla="*/ 698695 w 1012061"/>
                <a:gd name="connsiteY2877" fmla="*/ 45418 h 372939"/>
                <a:gd name="connsiteX2878" fmla="*/ 699857 w 1012061"/>
                <a:gd name="connsiteY2878" fmla="*/ 46425 h 372939"/>
                <a:gd name="connsiteX2879" fmla="*/ 699874 w 1012061"/>
                <a:gd name="connsiteY2879" fmla="*/ 46983 h 372939"/>
                <a:gd name="connsiteX2880" fmla="*/ 699743 w 1012061"/>
                <a:gd name="connsiteY2880" fmla="*/ 47398 h 372939"/>
                <a:gd name="connsiteX2881" fmla="*/ 699381 w 1012061"/>
                <a:gd name="connsiteY2881" fmla="*/ 47654 h 372939"/>
                <a:gd name="connsiteX2882" fmla="*/ 698587 w 1012061"/>
                <a:gd name="connsiteY2882" fmla="*/ 47057 h 372939"/>
                <a:gd name="connsiteX2883" fmla="*/ 698099 w 1012061"/>
                <a:gd name="connsiteY2883" fmla="*/ 46402 h 372939"/>
                <a:gd name="connsiteX2884" fmla="*/ 698130 w 1012061"/>
                <a:gd name="connsiteY2884" fmla="*/ 45744 h 372939"/>
                <a:gd name="connsiteX2885" fmla="*/ 695003 w 1012061"/>
                <a:gd name="connsiteY2885" fmla="*/ 41342 h 372939"/>
                <a:gd name="connsiteX2886" fmla="*/ 696065 w 1012061"/>
                <a:gd name="connsiteY2886" fmla="*/ 42240 h 372939"/>
                <a:gd name="connsiteX2887" fmla="*/ 697261 w 1012061"/>
                <a:gd name="connsiteY2887" fmla="*/ 44093 h 372939"/>
                <a:gd name="connsiteX2888" fmla="*/ 696812 w 1012061"/>
                <a:gd name="connsiteY2888" fmla="*/ 45047 h 372939"/>
                <a:gd name="connsiteX2889" fmla="*/ 696866 w 1012061"/>
                <a:gd name="connsiteY2889" fmla="*/ 45980 h 372939"/>
                <a:gd name="connsiteX2890" fmla="*/ 695527 w 1012061"/>
                <a:gd name="connsiteY2890" fmla="*/ 43856 h 372939"/>
                <a:gd name="connsiteX2891" fmla="*/ 501461 w 1012061"/>
                <a:gd name="connsiteY2891" fmla="*/ 38148 h 372939"/>
                <a:gd name="connsiteX2892" fmla="*/ 502193 w 1012061"/>
                <a:gd name="connsiteY2892" fmla="*/ 40266 h 372939"/>
                <a:gd name="connsiteX2893" fmla="*/ 502303 w 1012061"/>
                <a:gd name="connsiteY2893" fmla="*/ 41068 h 372939"/>
                <a:gd name="connsiteX2894" fmla="*/ 498190 w 1012061"/>
                <a:gd name="connsiteY2894" fmla="*/ 42182 h 372939"/>
                <a:gd name="connsiteX2895" fmla="*/ 495719 w 1012061"/>
                <a:gd name="connsiteY2895" fmla="*/ 39580 h 372939"/>
                <a:gd name="connsiteX2896" fmla="*/ 496248 w 1012061"/>
                <a:gd name="connsiteY2896" fmla="*/ 38528 h 372939"/>
                <a:gd name="connsiteX2897" fmla="*/ 498380 w 1012061"/>
                <a:gd name="connsiteY2897" fmla="*/ 38573 h 372939"/>
                <a:gd name="connsiteX2898" fmla="*/ 288379 w 1012061"/>
                <a:gd name="connsiteY2898" fmla="*/ 37462 h 372939"/>
                <a:gd name="connsiteX2899" fmla="*/ 288539 w 1012061"/>
                <a:gd name="connsiteY2899" fmla="*/ 38910 h 372939"/>
                <a:gd name="connsiteX2900" fmla="*/ 291575 w 1012061"/>
                <a:gd name="connsiteY2900" fmla="*/ 42577 h 372939"/>
                <a:gd name="connsiteX2901" fmla="*/ 291707 w 1012061"/>
                <a:gd name="connsiteY2901" fmla="*/ 45017 h 372939"/>
                <a:gd name="connsiteX2902" fmla="*/ 291590 w 1012061"/>
                <a:gd name="connsiteY2902" fmla="*/ 45899 h 372939"/>
                <a:gd name="connsiteX2903" fmla="*/ 289875 w 1012061"/>
                <a:gd name="connsiteY2903" fmla="*/ 49143 h 372939"/>
                <a:gd name="connsiteX2904" fmla="*/ 286859 w 1012061"/>
                <a:gd name="connsiteY2904" fmla="*/ 49953 h 372939"/>
                <a:gd name="connsiteX2905" fmla="*/ 285108 w 1012061"/>
                <a:gd name="connsiteY2905" fmla="*/ 48814 h 372939"/>
                <a:gd name="connsiteX2906" fmla="*/ 287004 w 1012061"/>
                <a:gd name="connsiteY2906" fmla="*/ 47409 h 372939"/>
                <a:gd name="connsiteX2907" fmla="*/ 287673 w 1012061"/>
                <a:gd name="connsiteY2907" fmla="*/ 47316 h 372939"/>
                <a:gd name="connsiteX2908" fmla="*/ 288109 w 1012061"/>
                <a:gd name="connsiteY2908" fmla="*/ 47042 h 372939"/>
                <a:gd name="connsiteX2909" fmla="*/ 288267 w 1012061"/>
                <a:gd name="connsiteY2909" fmla="*/ 46471 h 372939"/>
                <a:gd name="connsiteX2910" fmla="*/ 284845 w 1012061"/>
                <a:gd name="connsiteY2910" fmla="*/ 45546 h 372939"/>
                <a:gd name="connsiteX2911" fmla="*/ 283873 w 1012061"/>
                <a:gd name="connsiteY2911" fmla="*/ 44730 h 372939"/>
                <a:gd name="connsiteX2912" fmla="*/ 282939 w 1012061"/>
                <a:gd name="connsiteY2912" fmla="*/ 42650 h 372939"/>
                <a:gd name="connsiteX2913" fmla="*/ 282966 w 1012061"/>
                <a:gd name="connsiteY2913" fmla="*/ 41328 h 372939"/>
                <a:gd name="connsiteX2914" fmla="*/ 287353 w 1012061"/>
                <a:gd name="connsiteY2914" fmla="*/ 37830 h 372939"/>
                <a:gd name="connsiteX2915" fmla="*/ 471167 w 1012061"/>
                <a:gd name="connsiteY2915" fmla="*/ 34057 h 372939"/>
                <a:gd name="connsiteX2916" fmla="*/ 472016 w 1012061"/>
                <a:gd name="connsiteY2916" fmla="*/ 34300 h 372939"/>
                <a:gd name="connsiteX2917" fmla="*/ 472810 w 1012061"/>
                <a:gd name="connsiteY2917" fmla="*/ 34775 h 372939"/>
                <a:gd name="connsiteX2918" fmla="*/ 473908 w 1012061"/>
                <a:gd name="connsiteY2918" fmla="*/ 34760 h 372939"/>
                <a:gd name="connsiteX2919" fmla="*/ 475216 w 1012061"/>
                <a:gd name="connsiteY2919" fmla="*/ 34408 h 372939"/>
                <a:gd name="connsiteX2920" fmla="*/ 478438 w 1012061"/>
                <a:gd name="connsiteY2920" fmla="*/ 34737 h 372939"/>
                <a:gd name="connsiteX2921" fmla="*/ 484121 w 1012061"/>
                <a:gd name="connsiteY2921" fmla="*/ 34805 h 372939"/>
                <a:gd name="connsiteX2922" fmla="*/ 488034 w 1012061"/>
                <a:gd name="connsiteY2922" fmla="*/ 35641 h 372939"/>
                <a:gd name="connsiteX2923" fmla="*/ 491867 w 1012061"/>
                <a:gd name="connsiteY2923" fmla="*/ 37999 h 372939"/>
                <a:gd name="connsiteX2924" fmla="*/ 493778 w 1012061"/>
                <a:gd name="connsiteY2924" fmla="*/ 38475 h 372939"/>
                <a:gd name="connsiteX2925" fmla="*/ 494599 w 1012061"/>
                <a:gd name="connsiteY2925" fmla="*/ 38492 h 372939"/>
                <a:gd name="connsiteX2926" fmla="*/ 494417 w 1012061"/>
                <a:gd name="connsiteY2926" fmla="*/ 38676 h 372939"/>
                <a:gd name="connsiteX2927" fmla="*/ 492897 w 1012061"/>
                <a:gd name="connsiteY2927" fmla="*/ 39316 h 372939"/>
                <a:gd name="connsiteX2928" fmla="*/ 492186 w 1012061"/>
                <a:gd name="connsiteY2928" fmla="*/ 40586 h 372939"/>
                <a:gd name="connsiteX2929" fmla="*/ 494266 w 1012061"/>
                <a:gd name="connsiteY2929" fmla="*/ 42529 h 372939"/>
                <a:gd name="connsiteX2930" fmla="*/ 494413 w 1012061"/>
                <a:gd name="connsiteY2930" fmla="*/ 43822 h 372939"/>
                <a:gd name="connsiteX2931" fmla="*/ 496028 w 1012061"/>
                <a:gd name="connsiteY2931" fmla="*/ 44973 h 372939"/>
                <a:gd name="connsiteX2932" fmla="*/ 498000 w 1012061"/>
                <a:gd name="connsiteY2932" fmla="*/ 46772 h 372939"/>
                <a:gd name="connsiteX2933" fmla="*/ 498077 w 1012061"/>
                <a:gd name="connsiteY2933" fmla="*/ 47358 h 372939"/>
                <a:gd name="connsiteX2934" fmla="*/ 498746 w 1012061"/>
                <a:gd name="connsiteY2934" fmla="*/ 48164 h 372939"/>
                <a:gd name="connsiteX2935" fmla="*/ 499084 w 1012061"/>
                <a:gd name="connsiteY2935" fmla="*/ 49152 h 372939"/>
                <a:gd name="connsiteX2936" fmla="*/ 497695 w 1012061"/>
                <a:gd name="connsiteY2936" fmla="*/ 50136 h 372939"/>
                <a:gd name="connsiteX2937" fmla="*/ 495825 w 1012061"/>
                <a:gd name="connsiteY2937" fmla="*/ 50324 h 372939"/>
                <a:gd name="connsiteX2938" fmla="*/ 494443 w 1012061"/>
                <a:gd name="connsiteY2938" fmla="*/ 49395 h 372939"/>
                <a:gd name="connsiteX2939" fmla="*/ 493167 w 1012061"/>
                <a:gd name="connsiteY2939" fmla="*/ 48241 h 372939"/>
                <a:gd name="connsiteX2940" fmla="*/ 492841 w 1012061"/>
                <a:gd name="connsiteY2940" fmla="*/ 49676 h 372939"/>
                <a:gd name="connsiteX2941" fmla="*/ 491856 w 1012061"/>
                <a:gd name="connsiteY2941" fmla="*/ 50497 h 372939"/>
                <a:gd name="connsiteX2942" fmla="*/ 488263 w 1012061"/>
                <a:gd name="connsiteY2942" fmla="*/ 50258 h 372939"/>
                <a:gd name="connsiteX2943" fmla="*/ 485691 w 1012061"/>
                <a:gd name="connsiteY2943" fmla="*/ 50265 h 372939"/>
                <a:gd name="connsiteX2944" fmla="*/ 483134 w 1012061"/>
                <a:gd name="connsiteY2944" fmla="*/ 50627 h 372939"/>
                <a:gd name="connsiteX2945" fmla="*/ 484415 w 1012061"/>
                <a:gd name="connsiteY2945" fmla="*/ 50848 h 372939"/>
                <a:gd name="connsiteX2946" fmla="*/ 485577 w 1012061"/>
                <a:gd name="connsiteY2946" fmla="*/ 51305 h 372939"/>
                <a:gd name="connsiteX2947" fmla="*/ 489554 w 1012061"/>
                <a:gd name="connsiteY2947" fmla="*/ 54967 h 372939"/>
                <a:gd name="connsiteX2948" fmla="*/ 490403 w 1012061"/>
                <a:gd name="connsiteY2948" fmla="*/ 56322 h 372939"/>
                <a:gd name="connsiteX2949" fmla="*/ 489014 w 1012061"/>
                <a:gd name="connsiteY2949" fmla="*/ 59019 h 372939"/>
                <a:gd name="connsiteX2950" fmla="*/ 489690 w 1012061"/>
                <a:gd name="connsiteY2950" fmla="*/ 60121 h 372939"/>
                <a:gd name="connsiteX2951" fmla="*/ 491230 w 1012061"/>
                <a:gd name="connsiteY2951" fmla="*/ 60753 h 372939"/>
                <a:gd name="connsiteX2952" fmla="*/ 493104 w 1012061"/>
                <a:gd name="connsiteY2952" fmla="*/ 62095 h 372939"/>
                <a:gd name="connsiteX2953" fmla="*/ 494439 w 1012061"/>
                <a:gd name="connsiteY2953" fmla="*/ 62230 h 372939"/>
                <a:gd name="connsiteX2954" fmla="*/ 495399 w 1012061"/>
                <a:gd name="connsiteY2954" fmla="*/ 62985 h 372939"/>
                <a:gd name="connsiteX2955" fmla="*/ 495438 w 1012061"/>
                <a:gd name="connsiteY2955" fmla="*/ 64301 h 372939"/>
                <a:gd name="connsiteX2956" fmla="*/ 496002 w 1012061"/>
                <a:gd name="connsiteY2956" fmla="*/ 65498 h 372939"/>
                <a:gd name="connsiteX2957" fmla="*/ 494482 w 1012061"/>
                <a:gd name="connsiteY2957" fmla="*/ 65974 h 372939"/>
                <a:gd name="connsiteX2958" fmla="*/ 495987 w 1012061"/>
                <a:gd name="connsiteY2958" fmla="*/ 66292 h 372939"/>
                <a:gd name="connsiteX2959" fmla="*/ 497323 w 1012061"/>
                <a:gd name="connsiteY2959" fmla="*/ 66904 h 372939"/>
                <a:gd name="connsiteX2960" fmla="*/ 496592 w 1012061"/>
                <a:gd name="connsiteY2960" fmla="*/ 67524 h 372939"/>
                <a:gd name="connsiteX2961" fmla="*/ 496024 w 1012061"/>
                <a:gd name="connsiteY2961" fmla="*/ 68276 h 372939"/>
                <a:gd name="connsiteX2962" fmla="*/ 496641 w 1012061"/>
                <a:gd name="connsiteY2962" fmla="*/ 68682 h 372939"/>
                <a:gd name="connsiteX2963" fmla="*/ 498474 w 1012061"/>
                <a:gd name="connsiteY2963" fmla="*/ 69376 h 372939"/>
                <a:gd name="connsiteX2964" fmla="*/ 499276 w 1012061"/>
                <a:gd name="connsiteY2964" fmla="*/ 70013 h 372939"/>
                <a:gd name="connsiteX2965" fmla="*/ 499694 w 1012061"/>
                <a:gd name="connsiteY2965" fmla="*/ 71736 h 372939"/>
                <a:gd name="connsiteX2966" fmla="*/ 501483 w 1012061"/>
                <a:gd name="connsiteY2966" fmla="*/ 74550 h 372939"/>
                <a:gd name="connsiteX2967" fmla="*/ 504765 w 1012061"/>
                <a:gd name="connsiteY2967" fmla="*/ 78181 h 372939"/>
                <a:gd name="connsiteX2968" fmla="*/ 505482 w 1012061"/>
                <a:gd name="connsiteY2968" fmla="*/ 79504 h 372939"/>
                <a:gd name="connsiteX2969" fmla="*/ 505475 w 1012061"/>
                <a:gd name="connsiteY2969" fmla="*/ 80723 h 372939"/>
                <a:gd name="connsiteX2970" fmla="*/ 504929 w 1012061"/>
                <a:gd name="connsiteY2970" fmla="*/ 81770 h 372939"/>
                <a:gd name="connsiteX2971" fmla="*/ 503059 w 1012061"/>
                <a:gd name="connsiteY2971" fmla="*/ 82997 h 372939"/>
                <a:gd name="connsiteX2972" fmla="*/ 501560 w 1012061"/>
                <a:gd name="connsiteY2972" fmla="*/ 84611 h 372939"/>
                <a:gd name="connsiteX2973" fmla="*/ 501379 w 1012061"/>
                <a:gd name="connsiteY2973" fmla="*/ 85194 h 372939"/>
                <a:gd name="connsiteX2974" fmla="*/ 499349 w 1012061"/>
                <a:gd name="connsiteY2974" fmla="*/ 85941 h 372939"/>
                <a:gd name="connsiteX2975" fmla="*/ 500277 w 1012061"/>
                <a:gd name="connsiteY2975" fmla="*/ 86491 h 372939"/>
                <a:gd name="connsiteX2976" fmla="*/ 501016 w 1012061"/>
                <a:gd name="connsiteY2976" fmla="*/ 87234 h 372939"/>
                <a:gd name="connsiteX2977" fmla="*/ 502426 w 1012061"/>
                <a:gd name="connsiteY2977" fmla="*/ 89482 h 372939"/>
                <a:gd name="connsiteX2978" fmla="*/ 505786 w 1012061"/>
                <a:gd name="connsiteY2978" fmla="*/ 93130 h 372939"/>
                <a:gd name="connsiteX2979" fmla="*/ 507477 w 1012061"/>
                <a:gd name="connsiteY2979" fmla="*/ 94491 h 372939"/>
                <a:gd name="connsiteX2980" fmla="*/ 514439 w 1012061"/>
                <a:gd name="connsiteY2980" fmla="*/ 99442 h 372939"/>
                <a:gd name="connsiteX2981" fmla="*/ 518138 w 1012061"/>
                <a:gd name="connsiteY2981" fmla="*/ 101598 h 372939"/>
                <a:gd name="connsiteX2982" fmla="*/ 522860 w 1012061"/>
                <a:gd name="connsiteY2982" fmla="*/ 106533 h 372939"/>
                <a:gd name="connsiteX2983" fmla="*/ 525314 w 1012061"/>
                <a:gd name="connsiteY2983" fmla="*/ 107673 h 372939"/>
                <a:gd name="connsiteX2984" fmla="*/ 525789 w 1012061"/>
                <a:gd name="connsiteY2984" fmla="*/ 109047 h 372939"/>
                <a:gd name="connsiteX2985" fmla="*/ 523742 w 1012061"/>
                <a:gd name="connsiteY2985" fmla="*/ 111154 h 372939"/>
                <a:gd name="connsiteX2986" fmla="*/ 520757 w 1012061"/>
                <a:gd name="connsiteY2986" fmla="*/ 112208 h 372939"/>
                <a:gd name="connsiteX2987" fmla="*/ 515834 w 1012061"/>
                <a:gd name="connsiteY2987" fmla="*/ 112776 h 372939"/>
                <a:gd name="connsiteX2988" fmla="*/ 510898 w 1012061"/>
                <a:gd name="connsiteY2988" fmla="*/ 112034 h 372939"/>
                <a:gd name="connsiteX2989" fmla="*/ 508345 w 1012061"/>
                <a:gd name="connsiteY2989" fmla="*/ 111431 h 372939"/>
                <a:gd name="connsiteX2990" fmla="*/ 506120 w 1012061"/>
                <a:gd name="connsiteY2990" fmla="*/ 110219 h 372939"/>
                <a:gd name="connsiteX2991" fmla="*/ 504369 w 1012061"/>
                <a:gd name="connsiteY2991" fmla="*/ 107786 h 372939"/>
                <a:gd name="connsiteX2992" fmla="*/ 502055 w 1012061"/>
                <a:gd name="connsiteY2992" fmla="*/ 106470 h 372939"/>
                <a:gd name="connsiteX2993" fmla="*/ 502946 w 1012061"/>
                <a:gd name="connsiteY2993" fmla="*/ 107945 h 372939"/>
                <a:gd name="connsiteX2994" fmla="*/ 503508 w 1012061"/>
                <a:gd name="connsiteY2994" fmla="*/ 109452 h 372939"/>
                <a:gd name="connsiteX2995" fmla="*/ 503218 w 1012061"/>
                <a:gd name="connsiteY2995" fmla="*/ 111095 h 372939"/>
                <a:gd name="connsiteX2996" fmla="*/ 502307 w 1012061"/>
                <a:gd name="connsiteY2996" fmla="*/ 112382 h 372939"/>
                <a:gd name="connsiteX2997" fmla="*/ 500749 w 1012061"/>
                <a:gd name="connsiteY2997" fmla="*/ 113326 h 372939"/>
                <a:gd name="connsiteX2998" fmla="*/ 499077 w 1012061"/>
                <a:gd name="connsiteY2998" fmla="*/ 114092 h 372939"/>
                <a:gd name="connsiteX2999" fmla="*/ 498373 w 1012061"/>
                <a:gd name="connsiteY2999" fmla="*/ 114631 h 372939"/>
                <a:gd name="connsiteX3000" fmla="*/ 494132 w 1012061"/>
                <a:gd name="connsiteY3000" fmla="*/ 123224 h 372939"/>
                <a:gd name="connsiteX3001" fmla="*/ 493444 w 1012061"/>
                <a:gd name="connsiteY3001" fmla="*/ 125549 h 372939"/>
                <a:gd name="connsiteX3002" fmla="*/ 492151 w 1012061"/>
                <a:gd name="connsiteY3002" fmla="*/ 135199 h 372939"/>
                <a:gd name="connsiteX3003" fmla="*/ 492132 w 1012061"/>
                <a:gd name="connsiteY3003" fmla="*/ 137924 h 372939"/>
                <a:gd name="connsiteX3004" fmla="*/ 494035 w 1012061"/>
                <a:gd name="connsiteY3004" fmla="*/ 143024 h 372939"/>
                <a:gd name="connsiteX3005" fmla="*/ 494210 w 1012061"/>
                <a:gd name="connsiteY3005" fmla="*/ 145698 h 372939"/>
                <a:gd name="connsiteX3006" fmla="*/ 494585 w 1012061"/>
                <a:gd name="connsiteY3006" fmla="*/ 146853 h 372939"/>
                <a:gd name="connsiteX3007" fmla="*/ 494335 w 1012061"/>
                <a:gd name="connsiteY3007" fmla="*/ 147812 h 372939"/>
                <a:gd name="connsiteX3008" fmla="*/ 493434 w 1012061"/>
                <a:gd name="connsiteY3008" fmla="*/ 148382 h 372939"/>
                <a:gd name="connsiteX3009" fmla="*/ 489793 w 1012061"/>
                <a:gd name="connsiteY3009" fmla="*/ 149941 h 372939"/>
                <a:gd name="connsiteX3010" fmla="*/ 487220 w 1012061"/>
                <a:gd name="connsiteY3010" fmla="*/ 151235 h 372939"/>
                <a:gd name="connsiteX3011" fmla="*/ 485136 w 1012061"/>
                <a:gd name="connsiteY3011" fmla="*/ 153077 h 372939"/>
                <a:gd name="connsiteX3012" fmla="*/ 483450 w 1012061"/>
                <a:gd name="connsiteY3012" fmla="*/ 155370 h 372939"/>
                <a:gd name="connsiteX3013" fmla="*/ 481968 w 1012061"/>
                <a:gd name="connsiteY3013" fmla="*/ 157029 h 372939"/>
                <a:gd name="connsiteX3014" fmla="*/ 479994 w 1012061"/>
                <a:gd name="connsiteY3014" fmla="*/ 157824 h 372939"/>
                <a:gd name="connsiteX3015" fmla="*/ 478567 w 1012061"/>
                <a:gd name="connsiteY3015" fmla="*/ 157705 h 372939"/>
                <a:gd name="connsiteX3016" fmla="*/ 477410 w 1012061"/>
                <a:gd name="connsiteY3016" fmla="*/ 156943 h 372939"/>
                <a:gd name="connsiteX3017" fmla="*/ 476602 w 1012061"/>
                <a:gd name="connsiteY3017" fmla="*/ 155470 h 372939"/>
                <a:gd name="connsiteX3018" fmla="*/ 476145 w 1012061"/>
                <a:gd name="connsiteY3018" fmla="*/ 153856 h 372939"/>
                <a:gd name="connsiteX3019" fmla="*/ 475842 w 1012061"/>
                <a:gd name="connsiteY3019" fmla="*/ 155049 h 372939"/>
                <a:gd name="connsiteX3020" fmla="*/ 475898 w 1012061"/>
                <a:gd name="connsiteY3020" fmla="*/ 156212 h 372939"/>
                <a:gd name="connsiteX3021" fmla="*/ 476574 w 1012061"/>
                <a:gd name="connsiteY3021" fmla="*/ 157459 h 372939"/>
                <a:gd name="connsiteX3022" fmla="*/ 476833 w 1012061"/>
                <a:gd name="connsiteY3022" fmla="*/ 158774 h 372939"/>
                <a:gd name="connsiteX3023" fmla="*/ 476445 w 1012061"/>
                <a:gd name="connsiteY3023" fmla="*/ 160117 h 372939"/>
                <a:gd name="connsiteX3024" fmla="*/ 475600 w 1012061"/>
                <a:gd name="connsiteY3024" fmla="*/ 161188 h 372939"/>
                <a:gd name="connsiteX3025" fmla="*/ 473309 w 1012061"/>
                <a:gd name="connsiteY3025" fmla="*/ 162357 h 372939"/>
                <a:gd name="connsiteX3026" fmla="*/ 472046 w 1012061"/>
                <a:gd name="connsiteY3026" fmla="*/ 163359 h 372939"/>
                <a:gd name="connsiteX3027" fmla="*/ 471839 w 1012061"/>
                <a:gd name="connsiteY3027" fmla="*/ 165111 h 372939"/>
                <a:gd name="connsiteX3028" fmla="*/ 471230 w 1012061"/>
                <a:gd name="connsiteY3028" fmla="*/ 166104 h 372939"/>
                <a:gd name="connsiteX3029" fmla="*/ 470353 w 1012061"/>
                <a:gd name="connsiteY3029" fmla="*/ 166873 h 372939"/>
                <a:gd name="connsiteX3030" fmla="*/ 467129 w 1012061"/>
                <a:gd name="connsiteY3030" fmla="*/ 168636 h 372939"/>
                <a:gd name="connsiteX3031" fmla="*/ 466410 w 1012061"/>
                <a:gd name="connsiteY3031" fmla="*/ 169340 h 372939"/>
                <a:gd name="connsiteX3032" fmla="*/ 465876 w 1012061"/>
                <a:gd name="connsiteY3032" fmla="*/ 170236 h 372939"/>
                <a:gd name="connsiteX3033" fmla="*/ 467596 w 1012061"/>
                <a:gd name="connsiteY3033" fmla="*/ 170098 h 372939"/>
                <a:gd name="connsiteX3034" fmla="*/ 469168 w 1012061"/>
                <a:gd name="connsiteY3034" fmla="*/ 170236 h 372939"/>
                <a:gd name="connsiteX3035" fmla="*/ 469284 w 1012061"/>
                <a:gd name="connsiteY3035" fmla="*/ 171991 h 372939"/>
                <a:gd name="connsiteX3036" fmla="*/ 469778 w 1012061"/>
                <a:gd name="connsiteY3036" fmla="*/ 173295 h 372939"/>
                <a:gd name="connsiteX3037" fmla="*/ 469150 w 1012061"/>
                <a:gd name="connsiteY3037" fmla="*/ 176157 h 372939"/>
                <a:gd name="connsiteX3038" fmla="*/ 466727 w 1012061"/>
                <a:gd name="connsiteY3038" fmla="*/ 178089 h 372939"/>
                <a:gd name="connsiteX3039" fmla="*/ 467937 w 1012061"/>
                <a:gd name="connsiteY3039" fmla="*/ 178495 h 372939"/>
                <a:gd name="connsiteX3040" fmla="*/ 469031 w 1012061"/>
                <a:gd name="connsiteY3040" fmla="*/ 179126 h 372939"/>
                <a:gd name="connsiteX3041" fmla="*/ 471463 w 1012061"/>
                <a:gd name="connsiteY3041" fmla="*/ 179595 h 372939"/>
                <a:gd name="connsiteX3042" fmla="*/ 472288 w 1012061"/>
                <a:gd name="connsiteY3042" fmla="*/ 181625 h 372939"/>
                <a:gd name="connsiteX3043" fmla="*/ 471929 w 1012061"/>
                <a:gd name="connsiteY3043" fmla="*/ 184084 h 372939"/>
                <a:gd name="connsiteX3044" fmla="*/ 471488 w 1012061"/>
                <a:gd name="connsiteY3044" fmla="*/ 186290 h 372939"/>
                <a:gd name="connsiteX3045" fmla="*/ 469744 w 1012061"/>
                <a:gd name="connsiteY3045" fmla="*/ 186904 h 372939"/>
                <a:gd name="connsiteX3046" fmla="*/ 468658 w 1012061"/>
                <a:gd name="connsiteY3046" fmla="*/ 186495 h 372939"/>
                <a:gd name="connsiteX3047" fmla="*/ 467580 w 1012061"/>
                <a:gd name="connsiteY3047" fmla="*/ 186534 h 372939"/>
                <a:gd name="connsiteX3048" fmla="*/ 466790 w 1012061"/>
                <a:gd name="connsiteY3048" fmla="*/ 187204 h 372939"/>
                <a:gd name="connsiteX3049" fmla="*/ 466579 w 1012061"/>
                <a:gd name="connsiteY3049" fmla="*/ 188343 h 372939"/>
                <a:gd name="connsiteX3050" fmla="*/ 468088 w 1012061"/>
                <a:gd name="connsiteY3050" fmla="*/ 187783 h 372939"/>
                <a:gd name="connsiteX3051" fmla="*/ 468003 w 1012061"/>
                <a:gd name="connsiteY3051" fmla="*/ 190634 h 372939"/>
                <a:gd name="connsiteX3052" fmla="*/ 467596 w 1012061"/>
                <a:gd name="connsiteY3052" fmla="*/ 193419 h 372939"/>
                <a:gd name="connsiteX3053" fmla="*/ 467096 w 1012061"/>
                <a:gd name="connsiteY3053" fmla="*/ 194955 h 372939"/>
                <a:gd name="connsiteX3054" fmla="*/ 466172 w 1012061"/>
                <a:gd name="connsiteY3054" fmla="*/ 196209 h 372939"/>
                <a:gd name="connsiteX3055" fmla="*/ 464777 w 1012061"/>
                <a:gd name="connsiteY3055" fmla="*/ 196611 h 372939"/>
                <a:gd name="connsiteX3056" fmla="*/ 463462 w 1012061"/>
                <a:gd name="connsiteY3056" fmla="*/ 195673 h 372939"/>
                <a:gd name="connsiteX3057" fmla="*/ 463192 w 1012061"/>
                <a:gd name="connsiteY3057" fmla="*/ 196762 h 372939"/>
                <a:gd name="connsiteX3058" fmla="*/ 463594 w 1012061"/>
                <a:gd name="connsiteY3058" fmla="*/ 197681 h 372939"/>
                <a:gd name="connsiteX3059" fmla="*/ 465472 w 1012061"/>
                <a:gd name="connsiteY3059" fmla="*/ 199918 h 372939"/>
                <a:gd name="connsiteX3060" fmla="*/ 464320 w 1012061"/>
                <a:gd name="connsiteY3060" fmla="*/ 200409 h 372939"/>
                <a:gd name="connsiteX3061" fmla="*/ 463480 w 1012061"/>
                <a:gd name="connsiteY3061" fmla="*/ 201171 h 372939"/>
                <a:gd name="connsiteX3062" fmla="*/ 463102 w 1012061"/>
                <a:gd name="connsiteY3062" fmla="*/ 202282 h 372939"/>
                <a:gd name="connsiteX3063" fmla="*/ 461056 w 1012061"/>
                <a:gd name="connsiteY3063" fmla="*/ 204829 h 372939"/>
                <a:gd name="connsiteX3064" fmla="*/ 460154 w 1012061"/>
                <a:gd name="connsiteY3064" fmla="*/ 206701 h 372939"/>
                <a:gd name="connsiteX3065" fmla="*/ 459772 w 1012061"/>
                <a:gd name="connsiteY3065" fmla="*/ 208705 h 372939"/>
                <a:gd name="connsiteX3066" fmla="*/ 458816 w 1012061"/>
                <a:gd name="connsiteY3066" fmla="*/ 210292 h 372939"/>
                <a:gd name="connsiteX3067" fmla="*/ 443382 w 1012061"/>
                <a:gd name="connsiteY3067" fmla="*/ 217197 h 372939"/>
                <a:gd name="connsiteX3068" fmla="*/ 430897 w 1012061"/>
                <a:gd name="connsiteY3068" fmla="*/ 223019 h 372939"/>
                <a:gd name="connsiteX3069" fmla="*/ 429989 w 1012061"/>
                <a:gd name="connsiteY3069" fmla="*/ 222623 h 372939"/>
                <a:gd name="connsiteX3070" fmla="*/ 429387 w 1012061"/>
                <a:gd name="connsiteY3070" fmla="*/ 221734 h 372939"/>
                <a:gd name="connsiteX3071" fmla="*/ 428959 w 1012061"/>
                <a:gd name="connsiteY3071" fmla="*/ 212690 h 372939"/>
                <a:gd name="connsiteX3072" fmla="*/ 427416 w 1012061"/>
                <a:gd name="connsiteY3072" fmla="*/ 208065 h 372939"/>
                <a:gd name="connsiteX3073" fmla="*/ 427183 w 1012061"/>
                <a:gd name="connsiteY3073" fmla="*/ 205458 h 372939"/>
                <a:gd name="connsiteX3074" fmla="*/ 425423 w 1012061"/>
                <a:gd name="connsiteY3074" fmla="*/ 207786 h 372939"/>
                <a:gd name="connsiteX3075" fmla="*/ 424343 w 1012061"/>
                <a:gd name="connsiteY3075" fmla="*/ 207551 h 372939"/>
                <a:gd name="connsiteX3076" fmla="*/ 423175 w 1012061"/>
                <a:gd name="connsiteY3076" fmla="*/ 206959 h 372939"/>
                <a:gd name="connsiteX3077" fmla="*/ 422296 w 1012061"/>
                <a:gd name="connsiteY3077" fmla="*/ 206197 h 372939"/>
                <a:gd name="connsiteX3078" fmla="*/ 422231 w 1012061"/>
                <a:gd name="connsiteY3078" fmla="*/ 205194 h 372939"/>
                <a:gd name="connsiteX3079" fmla="*/ 423175 w 1012061"/>
                <a:gd name="connsiteY3079" fmla="*/ 202326 h 372939"/>
                <a:gd name="connsiteX3080" fmla="*/ 422033 w 1012061"/>
                <a:gd name="connsiteY3080" fmla="*/ 203899 h 372939"/>
                <a:gd name="connsiteX3081" fmla="*/ 420786 w 1012061"/>
                <a:gd name="connsiteY3081" fmla="*/ 205114 h 372939"/>
                <a:gd name="connsiteX3082" fmla="*/ 419495 w 1012061"/>
                <a:gd name="connsiteY3082" fmla="*/ 204965 h 372939"/>
                <a:gd name="connsiteX3083" fmla="*/ 418383 w 1012061"/>
                <a:gd name="connsiteY3083" fmla="*/ 204364 h 372939"/>
                <a:gd name="connsiteX3084" fmla="*/ 417971 w 1012061"/>
                <a:gd name="connsiteY3084" fmla="*/ 203432 h 372939"/>
                <a:gd name="connsiteX3085" fmla="*/ 417379 w 1012061"/>
                <a:gd name="connsiteY3085" fmla="*/ 203294 h 372939"/>
                <a:gd name="connsiteX3086" fmla="*/ 414649 w 1012061"/>
                <a:gd name="connsiteY3086" fmla="*/ 205849 h 372939"/>
                <a:gd name="connsiteX3087" fmla="*/ 411046 w 1012061"/>
                <a:gd name="connsiteY3087" fmla="*/ 207220 h 372939"/>
                <a:gd name="connsiteX3088" fmla="*/ 409040 w 1012061"/>
                <a:gd name="connsiteY3088" fmla="*/ 207198 h 372939"/>
                <a:gd name="connsiteX3089" fmla="*/ 407458 w 1012061"/>
                <a:gd name="connsiteY3089" fmla="*/ 206416 h 372939"/>
                <a:gd name="connsiteX3090" fmla="*/ 407540 w 1012061"/>
                <a:gd name="connsiteY3090" fmla="*/ 204470 h 372939"/>
                <a:gd name="connsiteX3091" fmla="*/ 407381 w 1012061"/>
                <a:gd name="connsiteY3091" fmla="*/ 202568 h 372939"/>
                <a:gd name="connsiteX3092" fmla="*/ 406938 w 1012061"/>
                <a:gd name="connsiteY3092" fmla="*/ 201452 h 372939"/>
                <a:gd name="connsiteX3093" fmla="*/ 405971 w 1012061"/>
                <a:gd name="connsiteY3093" fmla="*/ 201055 h 372939"/>
                <a:gd name="connsiteX3094" fmla="*/ 405079 w 1012061"/>
                <a:gd name="connsiteY3094" fmla="*/ 201195 h 372939"/>
                <a:gd name="connsiteX3095" fmla="*/ 402492 w 1012061"/>
                <a:gd name="connsiteY3095" fmla="*/ 202187 h 372939"/>
                <a:gd name="connsiteX3096" fmla="*/ 401568 w 1012061"/>
                <a:gd name="connsiteY3096" fmla="*/ 202071 h 372939"/>
                <a:gd name="connsiteX3097" fmla="*/ 401037 w 1012061"/>
                <a:gd name="connsiteY3097" fmla="*/ 202577 h 372939"/>
                <a:gd name="connsiteX3098" fmla="*/ 394200 w 1012061"/>
                <a:gd name="connsiteY3098" fmla="*/ 195649 h 372939"/>
                <a:gd name="connsiteX3099" fmla="*/ 392818 w 1012061"/>
                <a:gd name="connsiteY3099" fmla="*/ 201262 h 372939"/>
                <a:gd name="connsiteX3100" fmla="*/ 388097 w 1012061"/>
                <a:gd name="connsiteY3100" fmla="*/ 204252 h 372939"/>
                <a:gd name="connsiteX3101" fmla="*/ 384610 w 1012061"/>
                <a:gd name="connsiteY3101" fmla="*/ 205985 h 372939"/>
                <a:gd name="connsiteX3102" fmla="*/ 381153 w 1012061"/>
                <a:gd name="connsiteY3102" fmla="*/ 205335 h 372939"/>
                <a:gd name="connsiteX3103" fmla="*/ 377638 w 1012061"/>
                <a:gd name="connsiteY3103" fmla="*/ 204226 h 372939"/>
                <a:gd name="connsiteX3104" fmla="*/ 374137 w 1012061"/>
                <a:gd name="connsiteY3104" fmla="*/ 205564 h 372939"/>
                <a:gd name="connsiteX3105" fmla="*/ 370339 w 1012061"/>
                <a:gd name="connsiteY3105" fmla="*/ 208846 h 372939"/>
                <a:gd name="connsiteX3106" fmla="*/ 369289 w 1012061"/>
                <a:gd name="connsiteY3106" fmla="*/ 209352 h 372939"/>
                <a:gd name="connsiteX3107" fmla="*/ 368199 w 1012061"/>
                <a:gd name="connsiteY3107" fmla="*/ 209337 h 372939"/>
                <a:gd name="connsiteX3108" fmla="*/ 367402 w 1012061"/>
                <a:gd name="connsiteY3108" fmla="*/ 208908 h 372939"/>
                <a:gd name="connsiteX3109" fmla="*/ 367674 w 1012061"/>
                <a:gd name="connsiteY3109" fmla="*/ 206420 h 372939"/>
                <a:gd name="connsiteX3110" fmla="*/ 367709 w 1012061"/>
                <a:gd name="connsiteY3110" fmla="*/ 203932 h 372939"/>
                <a:gd name="connsiteX3111" fmla="*/ 367423 w 1012061"/>
                <a:gd name="connsiteY3111" fmla="*/ 198387 h 372939"/>
                <a:gd name="connsiteX3112" fmla="*/ 367121 w 1012061"/>
                <a:gd name="connsiteY3112" fmla="*/ 197298 h 372939"/>
                <a:gd name="connsiteX3113" fmla="*/ 366033 w 1012061"/>
                <a:gd name="connsiteY3113" fmla="*/ 195775 h 372939"/>
                <a:gd name="connsiteX3114" fmla="*/ 364586 w 1012061"/>
                <a:gd name="connsiteY3114" fmla="*/ 194674 h 372939"/>
                <a:gd name="connsiteX3115" fmla="*/ 363781 w 1012061"/>
                <a:gd name="connsiteY3115" fmla="*/ 195479 h 372939"/>
                <a:gd name="connsiteX3116" fmla="*/ 363055 w 1012061"/>
                <a:gd name="connsiteY3116" fmla="*/ 196579 h 372939"/>
                <a:gd name="connsiteX3117" fmla="*/ 360168 w 1012061"/>
                <a:gd name="connsiteY3117" fmla="*/ 196531 h 372939"/>
                <a:gd name="connsiteX3118" fmla="*/ 357352 w 1012061"/>
                <a:gd name="connsiteY3118" fmla="*/ 195653 h 372939"/>
                <a:gd name="connsiteX3119" fmla="*/ 354955 w 1012061"/>
                <a:gd name="connsiteY3119" fmla="*/ 196157 h 372939"/>
                <a:gd name="connsiteX3120" fmla="*/ 350204 w 1012061"/>
                <a:gd name="connsiteY3120" fmla="*/ 198355 h 372939"/>
                <a:gd name="connsiteX3121" fmla="*/ 347678 w 1012061"/>
                <a:gd name="connsiteY3121" fmla="*/ 198694 h 372939"/>
                <a:gd name="connsiteX3122" fmla="*/ 346322 w 1012061"/>
                <a:gd name="connsiteY3122" fmla="*/ 198199 h 372939"/>
                <a:gd name="connsiteX3123" fmla="*/ 345458 w 1012061"/>
                <a:gd name="connsiteY3123" fmla="*/ 197013 h 372939"/>
                <a:gd name="connsiteX3124" fmla="*/ 345953 w 1012061"/>
                <a:gd name="connsiteY3124" fmla="*/ 195930 h 372939"/>
                <a:gd name="connsiteX3125" fmla="*/ 346998 w 1012061"/>
                <a:gd name="connsiteY3125" fmla="*/ 195098 h 372939"/>
                <a:gd name="connsiteX3126" fmla="*/ 345048 w 1012061"/>
                <a:gd name="connsiteY3126" fmla="*/ 195760 h 372939"/>
                <a:gd name="connsiteX3127" fmla="*/ 343383 w 1012061"/>
                <a:gd name="connsiteY3127" fmla="*/ 196870 h 372939"/>
                <a:gd name="connsiteX3128" fmla="*/ 342660 w 1012061"/>
                <a:gd name="connsiteY3128" fmla="*/ 197584 h 372939"/>
                <a:gd name="connsiteX3129" fmla="*/ 341887 w 1012061"/>
                <a:gd name="connsiteY3129" fmla="*/ 197227 h 372939"/>
                <a:gd name="connsiteX3130" fmla="*/ 339805 w 1012061"/>
                <a:gd name="connsiteY3130" fmla="*/ 194718 h 372939"/>
                <a:gd name="connsiteX3131" fmla="*/ 335460 w 1012061"/>
                <a:gd name="connsiteY3131" fmla="*/ 195656 h 372939"/>
                <a:gd name="connsiteX3132" fmla="*/ 334873 w 1012061"/>
                <a:gd name="connsiteY3132" fmla="*/ 195943 h 372939"/>
                <a:gd name="connsiteX3133" fmla="*/ 333801 w 1012061"/>
                <a:gd name="connsiteY3133" fmla="*/ 196797 h 372939"/>
                <a:gd name="connsiteX3134" fmla="*/ 332774 w 1012061"/>
                <a:gd name="connsiteY3134" fmla="*/ 196371 h 372939"/>
                <a:gd name="connsiteX3135" fmla="*/ 332256 w 1012061"/>
                <a:gd name="connsiteY3135" fmla="*/ 195463 h 372939"/>
                <a:gd name="connsiteX3136" fmla="*/ 332072 w 1012061"/>
                <a:gd name="connsiteY3136" fmla="*/ 190231 h 372939"/>
                <a:gd name="connsiteX3137" fmla="*/ 329863 w 1012061"/>
                <a:gd name="connsiteY3137" fmla="*/ 180169 h 372939"/>
                <a:gd name="connsiteX3138" fmla="*/ 329247 w 1012061"/>
                <a:gd name="connsiteY3138" fmla="*/ 175026 h 372939"/>
                <a:gd name="connsiteX3139" fmla="*/ 328771 w 1012061"/>
                <a:gd name="connsiteY3139" fmla="*/ 173809 h 372939"/>
                <a:gd name="connsiteX3140" fmla="*/ 326224 w 1012061"/>
                <a:gd name="connsiteY3140" fmla="*/ 171960 h 372939"/>
                <a:gd name="connsiteX3141" fmla="*/ 326311 w 1012061"/>
                <a:gd name="connsiteY3141" fmla="*/ 169308 h 372939"/>
                <a:gd name="connsiteX3142" fmla="*/ 327631 w 1012061"/>
                <a:gd name="connsiteY3142" fmla="*/ 167089 h 372939"/>
                <a:gd name="connsiteX3143" fmla="*/ 327911 w 1012061"/>
                <a:gd name="connsiteY3143" fmla="*/ 164504 h 372939"/>
                <a:gd name="connsiteX3144" fmla="*/ 327538 w 1012061"/>
                <a:gd name="connsiteY3144" fmla="*/ 161698 h 372939"/>
                <a:gd name="connsiteX3145" fmla="*/ 326743 w 1012061"/>
                <a:gd name="connsiteY3145" fmla="*/ 158955 h 372939"/>
                <a:gd name="connsiteX3146" fmla="*/ 325743 w 1012061"/>
                <a:gd name="connsiteY3146" fmla="*/ 156884 h 372939"/>
                <a:gd name="connsiteX3147" fmla="*/ 324314 w 1012061"/>
                <a:gd name="connsiteY3147" fmla="*/ 155113 h 372939"/>
                <a:gd name="connsiteX3148" fmla="*/ 322411 w 1012061"/>
                <a:gd name="connsiteY3148" fmla="*/ 153128 h 372939"/>
                <a:gd name="connsiteX3149" fmla="*/ 320074 w 1012061"/>
                <a:gd name="connsiteY3149" fmla="*/ 151645 h 372939"/>
                <a:gd name="connsiteX3150" fmla="*/ 315034 w 1012061"/>
                <a:gd name="connsiteY3150" fmla="*/ 149976 h 372939"/>
                <a:gd name="connsiteX3151" fmla="*/ 312374 w 1012061"/>
                <a:gd name="connsiteY3151" fmla="*/ 150122 h 372939"/>
                <a:gd name="connsiteX3152" fmla="*/ 311387 w 1012061"/>
                <a:gd name="connsiteY3152" fmla="*/ 149468 h 372939"/>
                <a:gd name="connsiteX3153" fmla="*/ 310722 w 1012061"/>
                <a:gd name="connsiteY3153" fmla="*/ 148619 h 372939"/>
                <a:gd name="connsiteX3154" fmla="*/ 310993 w 1012061"/>
                <a:gd name="connsiteY3154" fmla="*/ 146952 h 372939"/>
                <a:gd name="connsiteX3155" fmla="*/ 311893 w 1012061"/>
                <a:gd name="connsiteY3155" fmla="*/ 145806 h 372939"/>
                <a:gd name="connsiteX3156" fmla="*/ 313100 w 1012061"/>
                <a:gd name="connsiteY3156" fmla="*/ 145523 h 372939"/>
                <a:gd name="connsiteX3157" fmla="*/ 313242 w 1012061"/>
                <a:gd name="connsiteY3157" fmla="*/ 144877 h 372939"/>
                <a:gd name="connsiteX3158" fmla="*/ 310683 w 1012061"/>
                <a:gd name="connsiteY3158" fmla="*/ 143534 h 372939"/>
                <a:gd name="connsiteX3159" fmla="*/ 308550 w 1012061"/>
                <a:gd name="connsiteY3159" fmla="*/ 141709 h 372939"/>
                <a:gd name="connsiteX3160" fmla="*/ 307881 w 1012061"/>
                <a:gd name="connsiteY3160" fmla="*/ 140614 h 372939"/>
                <a:gd name="connsiteX3161" fmla="*/ 307677 w 1012061"/>
                <a:gd name="connsiteY3161" fmla="*/ 139409 h 372939"/>
                <a:gd name="connsiteX3162" fmla="*/ 307693 w 1012061"/>
                <a:gd name="connsiteY3162" fmla="*/ 136626 h 372939"/>
                <a:gd name="connsiteX3163" fmla="*/ 308308 w 1012061"/>
                <a:gd name="connsiteY3163" fmla="*/ 134868 h 372939"/>
                <a:gd name="connsiteX3164" fmla="*/ 308643 w 1012061"/>
                <a:gd name="connsiteY3164" fmla="*/ 133916 h 372939"/>
                <a:gd name="connsiteX3165" fmla="*/ 309304 w 1012061"/>
                <a:gd name="connsiteY3165" fmla="*/ 130974 h 372939"/>
                <a:gd name="connsiteX3166" fmla="*/ 310694 w 1012061"/>
                <a:gd name="connsiteY3166" fmla="*/ 130076 h 372939"/>
                <a:gd name="connsiteX3167" fmla="*/ 310468 w 1012061"/>
                <a:gd name="connsiteY3167" fmla="*/ 129532 h 372939"/>
                <a:gd name="connsiteX3168" fmla="*/ 309870 w 1012061"/>
                <a:gd name="connsiteY3168" fmla="*/ 129133 h 372939"/>
                <a:gd name="connsiteX3169" fmla="*/ 308997 w 1012061"/>
                <a:gd name="connsiteY3169" fmla="*/ 128168 h 372939"/>
                <a:gd name="connsiteX3170" fmla="*/ 308284 w 1012061"/>
                <a:gd name="connsiteY3170" fmla="*/ 127058 h 372939"/>
                <a:gd name="connsiteX3171" fmla="*/ 306654 w 1012061"/>
                <a:gd name="connsiteY3171" fmla="*/ 125175 h 372939"/>
                <a:gd name="connsiteX3172" fmla="*/ 303774 w 1012061"/>
                <a:gd name="connsiteY3172" fmla="*/ 122901 h 372939"/>
                <a:gd name="connsiteX3173" fmla="*/ 303292 w 1012061"/>
                <a:gd name="connsiteY3173" fmla="*/ 118984 h 372939"/>
                <a:gd name="connsiteX3174" fmla="*/ 302919 w 1012061"/>
                <a:gd name="connsiteY3174" fmla="*/ 113209 h 372939"/>
                <a:gd name="connsiteX3175" fmla="*/ 303160 w 1012061"/>
                <a:gd name="connsiteY3175" fmla="*/ 110584 h 372939"/>
                <a:gd name="connsiteX3176" fmla="*/ 304085 w 1012061"/>
                <a:gd name="connsiteY3176" fmla="*/ 105676 h 372939"/>
                <a:gd name="connsiteX3177" fmla="*/ 305682 w 1012061"/>
                <a:gd name="connsiteY3177" fmla="*/ 104130 h 372939"/>
                <a:gd name="connsiteX3178" fmla="*/ 306957 w 1012061"/>
                <a:gd name="connsiteY3178" fmla="*/ 103700 h 372939"/>
                <a:gd name="connsiteX3179" fmla="*/ 307908 w 1012061"/>
                <a:gd name="connsiteY3179" fmla="*/ 103039 h 372939"/>
                <a:gd name="connsiteX3180" fmla="*/ 307125 w 1012061"/>
                <a:gd name="connsiteY3180" fmla="*/ 102944 h 372939"/>
                <a:gd name="connsiteX3181" fmla="*/ 306447 w 1012061"/>
                <a:gd name="connsiteY3181" fmla="*/ 103186 h 372939"/>
                <a:gd name="connsiteX3182" fmla="*/ 305226 w 1012061"/>
                <a:gd name="connsiteY3182" fmla="*/ 103353 h 372939"/>
                <a:gd name="connsiteX3183" fmla="*/ 306226 w 1012061"/>
                <a:gd name="connsiteY3183" fmla="*/ 98955 h 372939"/>
                <a:gd name="connsiteX3184" fmla="*/ 306678 w 1012061"/>
                <a:gd name="connsiteY3184" fmla="*/ 97685 h 372939"/>
                <a:gd name="connsiteX3185" fmla="*/ 308686 w 1012061"/>
                <a:gd name="connsiteY3185" fmla="*/ 95226 h 372939"/>
                <a:gd name="connsiteX3186" fmla="*/ 311040 w 1012061"/>
                <a:gd name="connsiteY3186" fmla="*/ 93050 h 372939"/>
                <a:gd name="connsiteX3187" fmla="*/ 312035 w 1012061"/>
                <a:gd name="connsiteY3187" fmla="*/ 90493 h 372939"/>
                <a:gd name="connsiteX3188" fmla="*/ 313370 w 1012061"/>
                <a:gd name="connsiteY3188" fmla="*/ 88245 h 372939"/>
                <a:gd name="connsiteX3189" fmla="*/ 318906 w 1012061"/>
                <a:gd name="connsiteY3189" fmla="*/ 85926 h 372939"/>
                <a:gd name="connsiteX3190" fmla="*/ 316917 w 1012061"/>
                <a:gd name="connsiteY3190" fmla="*/ 88832 h 372939"/>
                <a:gd name="connsiteX3191" fmla="*/ 317138 w 1012061"/>
                <a:gd name="connsiteY3191" fmla="*/ 89890 h 372939"/>
                <a:gd name="connsiteX3192" fmla="*/ 317622 w 1012061"/>
                <a:gd name="connsiteY3192" fmla="*/ 90820 h 372939"/>
                <a:gd name="connsiteX3193" fmla="*/ 319060 w 1012061"/>
                <a:gd name="connsiteY3193" fmla="*/ 91476 h 372939"/>
                <a:gd name="connsiteX3194" fmla="*/ 319461 w 1012061"/>
                <a:gd name="connsiteY3194" fmla="*/ 95054 h 372939"/>
                <a:gd name="connsiteX3195" fmla="*/ 321269 w 1012061"/>
                <a:gd name="connsiteY3195" fmla="*/ 97087 h 372939"/>
                <a:gd name="connsiteX3196" fmla="*/ 323089 w 1012061"/>
                <a:gd name="connsiteY3196" fmla="*/ 98945 h 372939"/>
                <a:gd name="connsiteX3197" fmla="*/ 324426 w 1012061"/>
                <a:gd name="connsiteY3197" fmla="*/ 99854 h 372939"/>
                <a:gd name="connsiteX3198" fmla="*/ 325894 w 1012061"/>
                <a:gd name="connsiteY3198" fmla="*/ 101177 h 372939"/>
                <a:gd name="connsiteX3199" fmla="*/ 326928 w 1012061"/>
                <a:gd name="connsiteY3199" fmla="*/ 102403 h 372939"/>
                <a:gd name="connsiteX3200" fmla="*/ 328015 w 1012061"/>
                <a:gd name="connsiteY3200" fmla="*/ 103439 h 372939"/>
                <a:gd name="connsiteX3201" fmla="*/ 329650 w 1012061"/>
                <a:gd name="connsiteY3201" fmla="*/ 104448 h 372939"/>
                <a:gd name="connsiteX3202" fmla="*/ 334083 w 1012061"/>
                <a:gd name="connsiteY3202" fmla="*/ 108741 h 372939"/>
                <a:gd name="connsiteX3203" fmla="*/ 335935 w 1012061"/>
                <a:gd name="connsiteY3203" fmla="*/ 110000 h 372939"/>
                <a:gd name="connsiteX3204" fmla="*/ 337315 w 1012061"/>
                <a:gd name="connsiteY3204" fmla="*/ 111260 h 372939"/>
                <a:gd name="connsiteX3205" fmla="*/ 338296 w 1012061"/>
                <a:gd name="connsiteY3205" fmla="*/ 111705 h 372939"/>
                <a:gd name="connsiteX3206" fmla="*/ 340706 w 1012061"/>
                <a:gd name="connsiteY3206" fmla="*/ 111348 h 372939"/>
                <a:gd name="connsiteX3207" fmla="*/ 347856 w 1012061"/>
                <a:gd name="connsiteY3207" fmla="*/ 108269 h 372939"/>
                <a:gd name="connsiteX3208" fmla="*/ 349138 w 1012061"/>
                <a:gd name="connsiteY3208" fmla="*/ 108069 h 372939"/>
                <a:gd name="connsiteX3209" fmla="*/ 351466 w 1012061"/>
                <a:gd name="connsiteY3209" fmla="*/ 107535 h 372939"/>
                <a:gd name="connsiteX3210" fmla="*/ 355564 w 1012061"/>
                <a:gd name="connsiteY3210" fmla="*/ 107697 h 372939"/>
                <a:gd name="connsiteX3211" fmla="*/ 359909 w 1012061"/>
                <a:gd name="connsiteY3211" fmla="*/ 108746 h 372939"/>
                <a:gd name="connsiteX3212" fmla="*/ 361312 w 1012061"/>
                <a:gd name="connsiteY3212" fmla="*/ 108778 h 372939"/>
                <a:gd name="connsiteX3213" fmla="*/ 362656 w 1012061"/>
                <a:gd name="connsiteY3213" fmla="*/ 108153 h 372939"/>
                <a:gd name="connsiteX3214" fmla="*/ 364510 w 1012061"/>
                <a:gd name="connsiteY3214" fmla="*/ 108338 h 372939"/>
                <a:gd name="connsiteX3215" fmla="*/ 366244 w 1012061"/>
                <a:gd name="connsiteY3215" fmla="*/ 108664 h 372939"/>
                <a:gd name="connsiteX3216" fmla="*/ 367113 w 1012061"/>
                <a:gd name="connsiteY3216" fmla="*/ 108394 h 372939"/>
                <a:gd name="connsiteX3217" fmla="*/ 369636 w 1012061"/>
                <a:gd name="connsiteY3217" fmla="*/ 106147 h 372939"/>
                <a:gd name="connsiteX3218" fmla="*/ 373073 w 1012061"/>
                <a:gd name="connsiteY3218" fmla="*/ 105482 h 372939"/>
                <a:gd name="connsiteX3219" fmla="*/ 374180 w 1012061"/>
                <a:gd name="connsiteY3219" fmla="*/ 103265 h 372939"/>
                <a:gd name="connsiteX3220" fmla="*/ 375038 w 1012061"/>
                <a:gd name="connsiteY3220" fmla="*/ 101174 h 372939"/>
                <a:gd name="connsiteX3221" fmla="*/ 375444 w 1012061"/>
                <a:gd name="connsiteY3221" fmla="*/ 98942 h 372939"/>
                <a:gd name="connsiteX3222" fmla="*/ 376879 w 1012061"/>
                <a:gd name="connsiteY3222" fmla="*/ 98045 h 372939"/>
                <a:gd name="connsiteX3223" fmla="*/ 378890 w 1012061"/>
                <a:gd name="connsiteY3223" fmla="*/ 97269 h 372939"/>
                <a:gd name="connsiteX3224" fmla="*/ 381866 w 1012061"/>
                <a:gd name="connsiteY3224" fmla="*/ 96288 h 372939"/>
                <a:gd name="connsiteX3225" fmla="*/ 392188 w 1012061"/>
                <a:gd name="connsiteY3225" fmla="*/ 96113 h 372939"/>
                <a:gd name="connsiteX3226" fmla="*/ 393189 w 1012061"/>
                <a:gd name="connsiteY3226" fmla="*/ 96543 h 372939"/>
                <a:gd name="connsiteX3227" fmla="*/ 393406 w 1012061"/>
                <a:gd name="connsiteY3227" fmla="*/ 97678 h 372939"/>
                <a:gd name="connsiteX3228" fmla="*/ 393189 w 1012061"/>
                <a:gd name="connsiteY3228" fmla="*/ 98543 h 372939"/>
                <a:gd name="connsiteX3229" fmla="*/ 393593 w 1012061"/>
                <a:gd name="connsiteY3229" fmla="*/ 99057 h 372939"/>
                <a:gd name="connsiteX3230" fmla="*/ 394967 w 1012061"/>
                <a:gd name="connsiteY3230" fmla="*/ 99103 h 372939"/>
                <a:gd name="connsiteX3231" fmla="*/ 396240 w 1012061"/>
                <a:gd name="connsiteY3231" fmla="*/ 99627 h 372939"/>
                <a:gd name="connsiteX3232" fmla="*/ 401386 w 1012061"/>
                <a:gd name="connsiteY3232" fmla="*/ 101418 h 372939"/>
                <a:gd name="connsiteX3233" fmla="*/ 403580 w 1012061"/>
                <a:gd name="connsiteY3233" fmla="*/ 101970 h 372939"/>
                <a:gd name="connsiteX3234" fmla="*/ 404796 w 1012061"/>
                <a:gd name="connsiteY3234" fmla="*/ 101832 h 372939"/>
                <a:gd name="connsiteX3235" fmla="*/ 407208 w 1012061"/>
                <a:gd name="connsiteY3235" fmla="*/ 103435 h 372939"/>
                <a:gd name="connsiteX3236" fmla="*/ 408521 w 1012061"/>
                <a:gd name="connsiteY3236" fmla="*/ 102889 h 372939"/>
                <a:gd name="connsiteX3237" fmla="*/ 410261 w 1012061"/>
                <a:gd name="connsiteY3237" fmla="*/ 101766 h 372939"/>
                <a:gd name="connsiteX3238" fmla="*/ 411918 w 1012061"/>
                <a:gd name="connsiteY3238" fmla="*/ 100251 h 372939"/>
                <a:gd name="connsiteX3239" fmla="*/ 413401 w 1012061"/>
                <a:gd name="connsiteY3239" fmla="*/ 99048 h 372939"/>
                <a:gd name="connsiteX3240" fmla="*/ 415561 w 1012061"/>
                <a:gd name="connsiteY3240" fmla="*/ 98584 h 372939"/>
                <a:gd name="connsiteX3241" fmla="*/ 418346 w 1012061"/>
                <a:gd name="connsiteY3241" fmla="*/ 98649 h 372939"/>
                <a:gd name="connsiteX3242" fmla="*/ 421635 w 1012061"/>
                <a:gd name="connsiteY3242" fmla="*/ 98238 h 372939"/>
                <a:gd name="connsiteX3243" fmla="*/ 424121 w 1012061"/>
                <a:gd name="connsiteY3243" fmla="*/ 97593 h 372939"/>
                <a:gd name="connsiteX3244" fmla="*/ 426893 w 1012061"/>
                <a:gd name="connsiteY3244" fmla="*/ 98656 h 372939"/>
                <a:gd name="connsiteX3245" fmla="*/ 427631 w 1012061"/>
                <a:gd name="connsiteY3245" fmla="*/ 98321 h 372939"/>
                <a:gd name="connsiteX3246" fmla="*/ 428109 w 1012061"/>
                <a:gd name="connsiteY3246" fmla="*/ 97281 h 372939"/>
                <a:gd name="connsiteX3247" fmla="*/ 429541 w 1012061"/>
                <a:gd name="connsiteY3247" fmla="*/ 95006 h 372939"/>
                <a:gd name="connsiteX3248" fmla="*/ 430175 w 1012061"/>
                <a:gd name="connsiteY3248" fmla="*/ 93475 h 372939"/>
                <a:gd name="connsiteX3249" fmla="*/ 430733 w 1012061"/>
                <a:gd name="connsiteY3249" fmla="*/ 90538 h 372939"/>
                <a:gd name="connsiteX3250" fmla="*/ 431117 w 1012061"/>
                <a:gd name="connsiteY3250" fmla="*/ 89836 h 372939"/>
                <a:gd name="connsiteX3251" fmla="*/ 432168 w 1012061"/>
                <a:gd name="connsiteY3251" fmla="*/ 89433 h 372939"/>
                <a:gd name="connsiteX3252" fmla="*/ 433250 w 1012061"/>
                <a:gd name="connsiteY3252" fmla="*/ 88881 h 372939"/>
                <a:gd name="connsiteX3253" fmla="*/ 433531 w 1012061"/>
                <a:gd name="connsiteY3253" fmla="*/ 88000 h 372939"/>
                <a:gd name="connsiteX3254" fmla="*/ 433926 w 1012061"/>
                <a:gd name="connsiteY3254" fmla="*/ 86977 h 372939"/>
                <a:gd name="connsiteX3255" fmla="*/ 433600 w 1012061"/>
                <a:gd name="connsiteY3255" fmla="*/ 86116 h 372939"/>
                <a:gd name="connsiteX3256" fmla="*/ 432985 w 1012061"/>
                <a:gd name="connsiteY3256" fmla="*/ 85393 h 372939"/>
                <a:gd name="connsiteX3257" fmla="*/ 432337 w 1012061"/>
                <a:gd name="connsiteY3257" fmla="*/ 82943 h 372939"/>
                <a:gd name="connsiteX3258" fmla="*/ 432550 w 1012061"/>
                <a:gd name="connsiteY3258" fmla="*/ 81825 h 372939"/>
                <a:gd name="connsiteX3259" fmla="*/ 432950 w 1012061"/>
                <a:gd name="connsiteY3259" fmla="*/ 80994 h 372939"/>
                <a:gd name="connsiteX3260" fmla="*/ 434053 w 1012061"/>
                <a:gd name="connsiteY3260" fmla="*/ 80576 h 372939"/>
                <a:gd name="connsiteX3261" fmla="*/ 436991 w 1012061"/>
                <a:gd name="connsiteY3261" fmla="*/ 78774 h 372939"/>
                <a:gd name="connsiteX3262" fmla="*/ 439586 w 1012061"/>
                <a:gd name="connsiteY3262" fmla="*/ 76665 h 372939"/>
                <a:gd name="connsiteX3263" fmla="*/ 441007 w 1012061"/>
                <a:gd name="connsiteY3263" fmla="*/ 75630 h 372939"/>
                <a:gd name="connsiteX3264" fmla="*/ 441633 w 1012061"/>
                <a:gd name="connsiteY3264" fmla="*/ 74961 h 372939"/>
                <a:gd name="connsiteX3265" fmla="*/ 441672 w 1012061"/>
                <a:gd name="connsiteY3265" fmla="*/ 73994 h 372939"/>
                <a:gd name="connsiteX3266" fmla="*/ 440545 w 1012061"/>
                <a:gd name="connsiteY3266" fmla="*/ 72987 h 372939"/>
                <a:gd name="connsiteX3267" fmla="*/ 439459 w 1012061"/>
                <a:gd name="connsiteY3267" fmla="*/ 72504 h 372939"/>
                <a:gd name="connsiteX3268" fmla="*/ 439376 w 1012061"/>
                <a:gd name="connsiteY3268" fmla="*/ 71336 h 372939"/>
                <a:gd name="connsiteX3269" fmla="*/ 439417 w 1012061"/>
                <a:gd name="connsiteY3269" fmla="*/ 70530 h 372939"/>
                <a:gd name="connsiteX3270" fmla="*/ 439743 w 1012061"/>
                <a:gd name="connsiteY3270" fmla="*/ 69769 h 372939"/>
                <a:gd name="connsiteX3271" fmla="*/ 439586 w 1012061"/>
                <a:gd name="connsiteY3271" fmla="*/ 69030 h 372939"/>
                <a:gd name="connsiteX3272" fmla="*/ 439582 w 1012061"/>
                <a:gd name="connsiteY3272" fmla="*/ 67926 h 372939"/>
                <a:gd name="connsiteX3273" fmla="*/ 440272 w 1012061"/>
                <a:gd name="connsiteY3273" fmla="*/ 66736 h 372939"/>
                <a:gd name="connsiteX3274" fmla="*/ 441872 w 1012061"/>
                <a:gd name="connsiteY3274" fmla="*/ 64975 h 372939"/>
                <a:gd name="connsiteX3275" fmla="*/ 443134 w 1012061"/>
                <a:gd name="connsiteY3275" fmla="*/ 63836 h 372939"/>
                <a:gd name="connsiteX3276" fmla="*/ 444531 w 1012061"/>
                <a:gd name="connsiteY3276" fmla="*/ 64544 h 372939"/>
                <a:gd name="connsiteX3277" fmla="*/ 446167 w 1012061"/>
                <a:gd name="connsiteY3277" fmla="*/ 64216 h 372939"/>
                <a:gd name="connsiteX3278" fmla="*/ 447720 w 1012061"/>
                <a:gd name="connsiteY3278" fmla="*/ 63650 h 372939"/>
                <a:gd name="connsiteX3279" fmla="*/ 448577 w 1012061"/>
                <a:gd name="connsiteY3279" fmla="*/ 61574 h 372939"/>
                <a:gd name="connsiteX3280" fmla="*/ 448709 w 1012061"/>
                <a:gd name="connsiteY3280" fmla="*/ 60578 h 372939"/>
                <a:gd name="connsiteX3281" fmla="*/ 448502 w 1012061"/>
                <a:gd name="connsiteY3281" fmla="*/ 59792 h 372939"/>
                <a:gd name="connsiteX3282" fmla="*/ 449044 w 1012061"/>
                <a:gd name="connsiteY3282" fmla="*/ 56831 h 372939"/>
                <a:gd name="connsiteX3283" fmla="*/ 449169 w 1012061"/>
                <a:gd name="connsiteY3283" fmla="*/ 56404 h 372939"/>
                <a:gd name="connsiteX3284" fmla="*/ 450190 w 1012061"/>
                <a:gd name="connsiteY3284" fmla="*/ 54543 h 372939"/>
                <a:gd name="connsiteX3285" fmla="*/ 450292 w 1012061"/>
                <a:gd name="connsiteY3285" fmla="*/ 53291 h 372939"/>
                <a:gd name="connsiteX3286" fmla="*/ 449714 w 1012061"/>
                <a:gd name="connsiteY3286" fmla="*/ 50382 h 372939"/>
                <a:gd name="connsiteX3287" fmla="*/ 450077 w 1012061"/>
                <a:gd name="connsiteY3287" fmla="*/ 48182 h 372939"/>
                <a:gd name="connsiteX3288" fmla="*/ 450242 w 1012061"/>
                <a:gd name="connsiteY3288" fmla="*/ 43627 h 372939"/>
                <a:gd name="connsiteX3289" fmla="*/ 450853 w 1012061"/>
                <a:gd name="connsiteY3289" fmla="*/ 42813 h 372939"/>
                <a:gd name="connsiteX3290" fmla="*/ 451549 w 1012061"/>
                <a:gd name="connsiteY3290" fmla="*/ 40455 h 372939"/>
                <a:gd name="connsiteX3291" fmla="*/ 452683 w 1012061"/>
                <a:gd name="connsiteY3291" fmla="*/ 37996 h 372939"/>
                <a:gd name="connsiteX3292" fmla="*/ 454974 w 1012061"/>
                <a:gd name="connsiteY3292" fmla="*/ 36650 h 372939"/>
                <a:gd name="connsiteX3293" fmla="*/ 456176 w 1012061"/>
                <a:gd name="connsiteY3293" fmla="*/ 34888 h 372939"/>
                <a:gd name="connsiteX3294" fmla="*/ 456706 w 1012061"/>
                <a:gd name="connsiteY3294" fmla="*/ 34562 h 372939"/>
                <a:gd name="connsiteX3295" fmla="*/ 457489 w 1012061"/>
                <a:gd name="connsiteY3295" fmla="*/ 34548 h 372939"/>
                <a:gd name="connsiteX3296" fmla="*/ 460262 w 1012061"/>
                <a:gd name="connsiteY3296" fmla="*/ 35833 h 372939"/>
                <a:gd name="connsiteX3297" fmla="*/ 462758 w 1012061"/>
                <a:gd name="connsiteY3297" fmla="*/ 34404 h 372939"/>
                <a:gd name="connsiteX3298" fmla="*/ 465008 w 1012061"/>
                <a:gd name="connsiteY3298" fmla="*/ 34240 h 372939"/>
                <a:gd name="connsiteX3299" fmla="*/ 466868 w 1012061"/>
                <a:gd name="connsiteY3299" fmla="*/ 34436 h 372939"/>
                <a:gd name="connsiteX3300" fmla="*/ 467915 w 1012061"/>
                <a:gd name="connsiteY3300" fmla="*/ 35020 h 372939"/>
                <a:gd name="connsiteX3301" fmla="*/ 468951 w 1012061"/>
                <a:gd name="connsiteY3301" fmla="*/ 35444 h 372939"/>
                <a:gd name="connsiteX3302" fmla="*/ 697652 w 1012061"/>
                <a:gd name="connsiteY3302" fmla="*/ 30134 h 372939"/>
                <a:gd name="connsiteX3303" fmla="*/ 698872 w 1012061"/>
                <a:gd name="connsiteY3303" fmla="*/ 30371 h 372939"/>
                <a:gd name="connsiteX3304" fmla="*/ 700036 w 1012061"/>
                <a:gd name="connsiteY3304" fmla="*/ 31642 h 372939"/>
                <a:gd name="connsiteX3305" fmla="*/ 700513 w 1012061"/>
                <a:gd name="connsiteY3305" fmla="*/ 34020 h 372939"/>
                <a:gd name="connsiteX3306" fmla="*/ 701274 w 1012061"/>
                <a:gd name="connsiteY3306" fmla="*/ 35825 h 372939"/>
                <a:gd name="connsiteX3307" fmla="*/ 699649 w 1012061"/>
                <a:gd name="connsiteY3307" fmla="*/ 38285 h 372939"/>
                <a:gd name="connsiteX3308" fmla="*/ 698963 w 1012061"/>
                <a:gd name="connsiteY3308" fmla="*/ 41529 h 372939"/>
                <a:gd name="connsiteX3309" fmla="*/ 698071 w 1012061"/>
                <a:gd name="connsiteY3309" fmla="*/ 41992 h 372939"/>
                <a:gd name="connsiteX3310" fmla="*/ 696633 w 1012061"/>
                <a:gd name="connsiteY3310" fmla="*/ 41822 h 372939"/>
                <a:gd name="connsiteX3311" fmla="*/ 696484 w 1012061"/>
                <a:gd name="connsiteY3311" fmla="*/ 40699 h 372939"/>
                <a:gd name="connsiteX3312" fmla="*/ 697935 w 1012061"/>
                <a:gd name="connsiteY3312" fmla="*/ 38678 h 372939"/>
                <a:gd name="connsiteX3313" fmla="*/ 698896 w 1012061"/>
                <a:gd name="connsiteY3313" fmla="*/ 36545 h 372939"/>
                <a:gd name="connsiteX3314" fmla="*/ 697872 w 1012061"/>
                <a:gd name="connsiteY3314" fmla="*/ 36012 h 372939"/>
                <a:gd name="connsiteX3315" fmla="*/ 696872 w 1012061"/>
                <a:gd name="connsiteY3315" fmla="*/ 34647 h 372939"/>
                <a:gd name="connsiteX3316" fmla="*/ 696837 w 1012061"/>
                <a:gd name="connsiteY3316" fmla="*/ 33060 h 372939"/>
                <a:gd name="connsiteX3317" fmla="*/ 4189 w 1012061"/>
                <a:gd name="connsiteY3317" fmla="*/ 6172 h 372939"/>
                <a:gd name="connsiteX3318" fmla="*/ 6863 w 1012061"/>
                <a:gd name="connsiteY3318" fmla="*/ 6265 h 372939"/>
                <a:gd name="connsiteX3319" fmla="*/ 9337 w 1012061"/>
                <a:gd name="connsiteY3319" fmla="*/ 6610 h 372939"/>
                <a:gd name="connsiteX3320" fmla="*/ 11734 w 1012061"/>
                <a:gd name="connsiteY3320" fmla="*/ 7270 h 372939"/>
                <a:gd name="connsiteX3321" fmla="*/ 14033 w 1012061"/>
                <a:gd name="connsiteY3321" fmla="*/ 8707 h 372939"/>
                <a:gd name="connsiteX3322" fmla="*/ 18147 w 1012061"/>
                <a:gd name="connsiteY3322" fmla="*/ 12329 h 372939"/>
                <a:gd name="connsiteX3323" fmla="*/ 20490 w 1012061"/>
                <a:gd name="connsiteY3323" fmla="*/ 13590 h 372939"/>
                <a:gd name="connsiteX3324" fmla="*/ 23090 w 1012061"/>
                <a:gd name="connsiteY3324" fmla="*/ 14196 h 372939"/>
                <a:gd name="connsiteX3325" fmla="*/ 28435 w 1012061"/>
                <a:gd name="connsiteY3325" fmla="*/ 15030 h 372939"/>
                <a:gd name="connsiteX3326" fmla="*/ 31147 w 1012061"/>
                <a:gd name="connsiteY3326" fmla="*/ 15233 h 372939"/>
                <a:gd name="connsiteX3327" fmla="*/ 36176 w 1012061"/>
                <a:gd name="connsiteY3327" fmla="*/ 14030 h 372939"/>
                <a:gd name="connsiteX3328" fmla="*/ 38942 w 1012061"/>
                <a:gd name="connsiteY3328" fmla="*/ 14148 h 372939"/>
                <a:gd name="connsiteX3329" fmla="*/ 41550 w 1012061"/>
                <a:gd name="connsiteY3329" fmla="*/ 15018 h 372939"/>
                <a:gd name="connsiteX3330" fmla="*/ 43866 w 1012061"/>
                <a:gd name="connsiteY3330" fmla="*/ 15519 h 372939"/>
                <a:gd name="connsiteX3331" fmla="*/ 49631 w 1012061"/>
                <a:gd name="connsiteY3331" fmla="*/ 14882 h 372939"/>
                <a:gd name="connsiteX3332" fmla="*/ 50715 w 1012061"/>
                <a:gd name="connsiteY3332" fmla="*/ 15053 h 372939"/>
                <a:gd name="connsiteX3333" fmla="*/ 51754 w 1012061"/>
                <a:gd name="connsiteY3333" fmla="*/ 15551 h 372939"/>
                <a:gd name="connsiteX3334" fmla="*/ 52646 w 1012061"/>
                <a:gd name="connsiteY3334" fmla="*/ 16338 h 372939"/>
                <a:gd name="connsiteX3335" fmla="*/ 55282 w 1012061"/>
                <a:gd name="connsiteY3335" fmla="*/ 19225 h 372939"/>
                <a:gd name="connsiteX3336" fmla="*/ 59741 w 1012061"/>
                <a:gd name="connsiteY3336" fmla="*/ 22775 h 372939"/>
                <a:gd name="connsiteX3337" fmla="*/ 61028 w 1012061"/>
                <a:gd name="connsiteY3337" fmla="*/ 25046 h 372939"/>
                <a:gd name="connsiteX3338" fmla="*/ 61762 w 1012061"/>
                <a:gd name="connsiteY3338" fmla="*/ 27600 h 372939"/>
                <a:gd name="connsiteX3339" fmla="*/ 62225 w 1012061"/>
                <a:gd name="connsiteY3339" fmla="*/ 28199 h 372939"/>
                <a:gd name="connsiteX3340" fmla="*/ 67260 w 1012061"/>
                <a:gd name="connsiteY3340" fmla="*/ 33089 h 372939"/>
                <a:gd name="connsiteX3341" fmla="*/ 67811 w 1012061"/>
                <a:gd name="connsiteY3341" fmla="*/ 35132 h 372939"/>
                <a:gd name="connsiteX3342" fmla="*/ 67101 w 1012061"/>
                <a:gd name="connsiteY3342" fmla="*/ 37962 h 372939"/>
                <a:gd name="connsiteX3343" fmla="*/ 68563 w 1012061"/>
                <a:gd name="connsiteY3343" fmla="*/ 40214 h 372939"/>
                <a:gd name="connsiteX3344" fmla="*/ 73449 w 1012061"/>
                <a:gd name="connsiteY3344" fmla="*/ 42325 h 372939"/>
                <a:gd name="connsiteX3345" fmla="*/ 76332 w 1012061"/>
                <a:gd name="connsiteY3345" fmla="*/ 43863 h 372939"/>
                <a:gd name="connsiteX3346" fmla="*/ 76947 w 1012061"/>
                <a:gd name="connsiteY3346" fmla="*/ 44806 h 372939"/>
                <a:gd name="connsiteX3347" fmla="*/ 77373 w 1012061"/>
                <a:gd name="connsiteY3347" fmla="*/ 45930 h 372939"/>
                <a:gd name="connsiteX3348" fmla="*/ 78968 w 1012061"/>
                <a:gd name="connsiteY3348" fmla="*/ 47598 h 372939"/>
                <a:gd name="connsiteX3349" fmla="*/ 80974 w 1012061"/>
                <a:gd name="connsiteY3349" fmla="*/ 48685 h 372939"/>
                <a:gd name="connsiteX3350" fmla="*/ 87222 w 1012061"/>
                <a:gd name="connsiteY3350" fmla="*/ 51543 h 372939"/>
                <a:gd name="connsiteX3351" fmla="*/ 95410 w 1012061"/>
                <a:gd name="connsiteY3351" fmla="*/ 57522 h 372939"/>
                <a:gd name="connsiteX3352" fmla="*/ 100072 w 1012061"/>
                <a:gd name="connsiteY3352" fmla="*/ 60358 h 372939"/>
                <a:gd name="connsiteX3353" fmla="*/ 103926 w 1012061"/>
                <a:gd name="connsiteY3353" fmla="*/ 64671 h 372939"/>
                <a:gd name="connsiteX3354" fmla="*/ 105315 w 1012061"/>
                <a:gd name="connsiteY3354" fmla="*/ 66735 h 372939"/>
                <a:gd name="connsiteX3355" fmla="*/ 106462 w 1012061"/>
                <a:gd name="connsiteY3355" fmla="*/ 68963 h 372939"/>
                <a:gd name="connsiteX3356" fmla="*/ 108804 w 1012061"/>
                <a:gd name="connsiteY3356" fmla="*/ 72208 h 372939"/>
                <a:gd name="connsiteX3357" fmla="*/ 112785 w 1012061"/>
                <a:gd name="connsiteY3357" fmla="*/ 76213 h 372939"/>
                <a:gd name="connsiteX3358" fmla="*/ 113791 w 1012061"/>
                <a:gd name="connsiteY3358" fmla="*/ 77432 h 372939"/>
                <a:gd name="connsiteX3359" fmla="*/ 114862 w 1012061"/>
                <a:gd name="connsiteY3359" fmla="*/ 79198 h 372939"/>
                <a:gd name="connsiteX3360" fmla="*/ 116097 w 1012061"/>
                <a:gd name="connsiteY3360" fmla="*/ 80841 h 372939"/>
                <a:gd name="connsiteX3361" fmla="*/ 117574 w 1012061"/>
                <a:gd name="connsiteY3361" fmla="*/ 82351 h 372939"/>
                <a:gd name="connsiteX3362" fmla="*/ 119338 w 1012061"/>
                <a:gd name="connsiteY3362" fmla="*/ 83506 h 372939"/>
                <a:gd name="connsiteX3363" fmla="*/ 121144 w 1012061"/>
                <a:gd name="connsiteY3363" fmla="*/ 83879 h 372939"/>
                <a:gd name="connsiteX3364" fmla="*/ 124052 w 1012061"/>
                <a:gd name="connsiteY3364" fmla="*/ 86773 h 372939"/>
                <a:gd name="connsiteX3365" fmla="*/ 125624 w 1012061"/>
                <a:gd name="connsiteY3365" fmla="*/ 87680 h 372939"/>
                <a:gd name="connsiteX3366" fmla="*/ 125376 w 1012061"/>
                <a:gd name="connsiteY3366" fmla="*/ 85416 h 372939"/>
                <a:gd name="connsiteX3367" fmla="*/ 124055 w 1012061"/>
                <a:gd name="connsiteY3367" fmla="*/ 83434 h 372939"/>
                <a:gd name="connsiteX3368" fmla="*/ 124074 w 1012061"/>
                <a:gd name="connsiteY3368" fmla="*/ 82239 h 372939"/>
                <a:gd name="connsiteX3369" fmla="*/ 124305 w 1012061"/>
                <a:gd name="connsiteY3369" fmla="*/ 81169 h 372939"/>
                <a:gd name="connsiteX3370" fmla="*/ 125385 w 1012061"/>
                <a:gd name="connsiteY3370" fmla="*/ 80268 h 372939"/>
                <a:gd name="connsiteX3371" fmla="*/ 126686 w 1012061"/>
                <a:gd name="connsiteY3371" fmla="*/ 80015 h 372939"/>
                <a:gd name="connsiteX3372" fmla="*/ 129125 w 1012061"/>
                <a:gd name="connsiteY3372" fmla="*/ 80839 h 372939"/>
                <a:gd name="connsiteX3373" fmla="*/ 133083 w 1012061"/>
                <a:gd name="connsiteY3373" fmla="*/ 84273 h 372939"/>
                <a:gd name="connsiteX3374" fmla="*/ 134754 w 1012061"/>
                <a:gd name="connsiteY3374" fmla="*/ 86274 h 372939"/>
                <a:gd name="connsiteX3375" fmla="*/ 136011 w 1012061"/>
                <a:gd name="connsiteY3375" fmla="*/ 89035 h 372939"/>
                <a:gd name="connsiteX3376" fmla="*/ 137060 w 1012061"/>
                <a:gd name="connsiteY3376" fmla="*/ 91901 h 372939"/>
                <a:gd name="connsiteX3377" fmla="*/ 138643 w 1012061"/>
                <a:gd name="connsiteY3377" fmla="*/ 93324 h 372939"/>
                <a:gd name="connsiteX3378" fmla="*/ 140817 w 1012061"/>
                <a:gd name="connsiteY3378" fmla="*/ 93822 h 372939"/>
                <a:gd name="connsiteX3379" fmla="*/ 143234 w 1012061"/>
                <a:gd name="connsiteY3379" fmla="*/ 94029 h 372939"/>
                <a:gd name="connsiteX3380" fmla="*/ 145456 w 1012061"/>
                <a:gd name="connsiteY3380" fmla="*/ 94910 h 372939"/>
                <a:gd name="connsiteX3381" fmla="*/ 150656 w 1012061"/>
                <a:gd name="connsiteY3381" fmla="*/ 98874 h 372939"/>
                <a:gd name="connsiteX3382" fmla="*/ 152383 w 1012061"/>
                <a:gd name="connsiteY3382" fmla="*/ 100737 h 372939"/>
                <a:gd name="connsiteX3383" fmla="*/ 153692 w 1012061"/>
                <a:gd name="connsiteY3383" fmla="*/ 102927 h 372939"/>
                <a:gd name="connsiteX3384" fmla="*/ 154592 w 1012061"/>
                <a:gd name="connsiteY3384" fmla="*/ 105519 h 372939"/>
                <a:gd name="connsiteX3385" fmla="*/ 155154 w 1012061"/>
                <a:gd name="connsiteY3385" fmla="*/ 108239 h 372939"/>
                <a:gd name="connsiteX3386" fmla="*/ 155501 w 1012061"/>
                <a:gd name="connsiteY3386" fmla="*/ 108866 h 372939"/>
                <a:gd name="connsiteX3387" fmla="*/ 158838 w 1012061"/>
                <a:gd name="connsiteY3387" fmla="*/ 112146 h 372939"/>
                <a:gd name="connsiteX3388" fmla="*/ 160591 w 1012061"/>
                <a:gd name="connsiteY3388" fmla="*/ 113533 h 372939"/>
                <a:gd name="connsiteX3389" fmla="*/ 162740 w 1012061"/>
                <a:gd name="connsiteY3389" fmla="*/ 114207 h 372939"/>
                <a:gd name="connsiteX3390" fmla="*/ 168998 w 1012061"/>
                <a:gd name="connsiteY3390" fmla="*/ 114944 h 372939"/>
                <a:gd name="connsiteX3391" fmla="*/ 171207 w 1012061"/>
                <a:gd name="connsiteY3391" fmla="*/ 116078 h 372939"/>
                <a:gd name="connsiteX3392" fmla="*/ 173031 w 1012061"/>
                <a:gd name="connsiteY3392" fmla="*/ 117964 h 372939"/>
                <a:gd name="connsiteX3393" fmla="*/ 173798 w 1012061"/>
                <a:gd name="connsiteY3393" fmla="*/ 119886 h 372939"/>
                <a:gd name="connsiteX3394" fmla="*/ 172493 w 1012061"/>
                <a:gd name="connsiteY3394" fmla="*/ 121581 h 372939"/>
                <a:gd name="connsiteX3395" fmla="*/ 167602 w 1012061"/>
                <a:gd name="connsiteY3395" fmla="*/ 124181 h 372939"/>
                <a:gd name="connsiteX3396" fmla="*/ 162377 w 1012061"/>
                <a:gd name="connsiteY3396" fmla="*/ 125979 h 372939"/>
                <a:gd name="connsiteX3397" fmla="*/ 167453 w 1012061"/>
                <a:gd name="connsiteY3397" fmla="*/ 125359 h 372939"/>
                <a:gd name="connsiteX3398" fmla="*/ 170025 w 1012061"/>
                <a:gd name="connsiteY3398" fmla="*/ 124605 h 372939"/>
                <a:gd name="connsiteX3399" fmla="*/ 172390 w 1012061"/>
                <a:gd name="connsiteY3399" fmla="*/ 123424 h 372939"/>
                <a:gd name="connsiteX3400" fmla="*/ 174731 w 1012061"/>
                <a:gd name="connsiteY3400" fmla="*/ 121925 h 372939"/>
                <a:gd name="connsiteX3401" fmla="*/ 178443 w 1012061"/>
                <a:gd name="connsiteY3401" fmla="*/ 119830 h 372939"/>
                <a:gd name="connsiteX3402" fmla="*/ 179822 w 1012061"/>
                <a:gd name="connsiteY3402" fmla="*/ 119406 h 372939"/>
                <a:gd name="connsiteX3403" fmla="*/ 181444 w 1012061"/>
                <a:gd name="connsiteY3403" fmla="*/ 119556 h 372939"/>
                <a:gd name="connsiteX3404" fmla="*/ 182917 w 1012061"/>
                <a:gd name="connsiteY3404" fmla="*/ 120148 h 372939"/>
                <a:gd name="connsiteX3405" fmla="*/ 185124 w 1012061"/>
                <a:gd name="connsiteY3405" fmla="*/ 122206 h 372939"/>
                <a:gd name="connsiteX3406" fmla="*/ 187201 w 1012061"/>
                <a:gd name="connsiteY3406" fmla="*/ 124377 h 372939"/>
                <a:gd name="connsiteX3407" fmla="*/ 188751 w 1012061"/>
                <a:gd name="connsiteY3407" fmla="*/ 126909 h 372939"/>
                <a:gd name="connsiteX3408" fmla="*/ 189723 w 1012061"/>
                <a:gd name="connsiteY3408" fmla="*/ 129726 h 372939"/>
                <a:gd name="connsiteX3409" fmla="*/ 187948 w 1012061"/>
                <a:gd name="connsiteY3409" fmla="*/ 131198 h 372939"/>
                <a:gd name="connsiteX3410" fmla="*/ 185362 w 1012061"/>
                <a:gd name="connsiteY3410" fmla="*/ 132286 h 372939"/>
                <a:gd name="connsiteX3411" fmla="*/ 181803 w 1012061"/>
                <a:gd name="connsiteY3411" fmla="*/ 135006 h 372939"/>
                <a:gd name="connsiteX3412" fmla="*/ 181429 w 1012061"/>
                <a:gd name="connsiteY3412" fmla="*/ 136082 h 372939"/>
                <a:gd name="connsiteX3413" fmla="*/ 182155 w 1012061"/>
                <a:gd name="connsiteY3413" fmla="*/ 136772 h 372939"/>
                <a:gd name="connsiteX3414" fmla="*/ 181287 w 1012061"/>
                <a:gd name="connsiteY3414" fmla="*/ 138774 h 372939"/>
                <a:gd name="connsiteX3415" fmla="*/ 183282 w 1012061"/>
                <a:gd name="connsiteY3415" fmla="*/ 140010 h 372939"/>
                <a:gd name="connsiteX3416" fmla="*/ 183587 w 1012061"/>
                <a:gd name="connsiteY3416" fmla="*/ 141059 h 372939"/>
                <a:gd name="connsiteX3417" fmla="*/ 181861 w 1012061"/>
                <a:gd name="connsiteY3417" fmla="*/ 142564 h 372939"/>
                <a:gd name="connsiteX3418" fmla="*/ 182025 w 1012061"/>
                <a:gd name="connsiteY3418" fmla="*/ 143493 h 372939"/>
                <a:gd name="connsiteX3419" fmla="*/ 184107 w 1012061"/>
                <a:gd name="connsiteY3419" fmla="*/ 147453 h 372939"/>
                <a:gd name="connsiteX3420" fmla="*/ 185098 w 1012061"/>
                <a:gd name="connsiteY3420" fmla="*/ 148360 h 372939"/>
                <a:gd name="connsiteX3421" fmla="*/ 188272 w 1012061"/>
                <a:gd name="connsiteY3421" fmla="*/ 150373 h 372939"/>
                <a:gd name="connsiteX3422" fmla="*/ 193114 w 1012061"/>
                <a:gd name="connsiteY3422" fmla="*/ 152416 h 372939"/>
                <a:gd name="connsiteX3423" fmla="*/ 195791 w 1012061"/>
                <a:gd name="connsiteY3423" fmla="*/ 153351 h 372939"/>
                <a:gd name="connsiteX3424" fmla="*/ 198829 w 1012061"/>
                <a:gd name="connsiteY3424" fmla="*/ 154079 h 372939"/>
                <a:gd name="connsiteX3425" fmla="*/ 200134 w 1012061"/>
                <a:gd name="connsiteY3425" fmla="*/ 154059 h 372939"/>
                <a:gd name="connsiteX3426" fmla="*/ 202412 w 1012061"/>
                <a:gd name="connsiteY3426" fmla="*/ 153727 h 372939"/>
                <a:gd name="connsiteX3427" fmla="*/ 202870 w 1012061"/>
                <a:gd name="connsiteY3427" fmla="*/ 154519 h 372939"/>
                <a:gd name="connsiteX3428" fmla="*/ 203852 w 1012061"/>
                <a:gd name="connsiteY3428" fmla="*/ 158422 h 372939"/>
                <a:gd name="connsiteX3429" fmla="*/ 204321 w 1012061"/>
                <a:gd name="connsiteY3429" fmla="*/ 160893 h 372939"/>
                <a:gd name="connsiteX3430" fmla="*/ 205016 w 1012061"/>
                <a:gd name="connsiteY3430" fmla="*/ 166150 h 372939"/>
                <a:gd name="connsiteX3431" fmla="*/ 205906 w 1012061"/>
                <a:gd name="connsiteY3431" fmla="*/ 168331 h 372939"/>
                <a:gd name="connsiteX3432" fmla="*/ 205847 w 1012061"/>
                <a:gd name="connsiteY3432" fmla="*/ 171001 h 372939"/>
                <a:gd name="connsiteX3433" fmla="*/ 207015 w 1012061"/>
                <a:gd name="connsiteY3433" fmla="*/ 173265 h 372939"/>
                <a:gd name="connsiteX3434" fmla="*/ 209396 w 1012061"/>
                <a:gd name="connsiteY3434" fmla="*/ 174712 h 372939"/>
                <a:gd name="connsiteX3435" fmla="*/ 211931 w 1012061"/>
                <a:gd name="connsiteY3435" fmla="*/ 175898 h 372939"/>
                <a:gd name="connsiteX3436" fmla="*/ 213129 w 1012061"/>
                <a:gd name="connsiteY3436" fmla="*/ 177052 h 372939"/>
                <a:gd name="connsiteX3437" fmla="*/ 213113 w 1012061"/>
                <a:gd name="connsiteY3437" fmla="*/ 178795 h 372939"/>
                <a:gd name="connsiteX3438" fmla="*/ 212706 w 1012061"/>
                <a:gd name="connsiteY3438" fmla="*/ 180176 h 372939"/>
                <a:gd name="connsiteX3439" fmla="*/ 211848 w 1012061"/>
                <a:gd name="connsiteY3439" fmla="*/ 181250 h 372939"/>
                <a:gd name="connsiteX3440" fmla="*/ 209221 w 1012061"/>
                <a:gd name="connsiteY3440" fmla="*/ 183525 h 372939"/>
                <a:gd name="connsiteX3441" fmla="*/ 208752 w 1012061"/>
                <a:gd name="connsiteY3441" fmla="*/ 184505 h 372939"/>
                <a:gd name="connsiteX3442" fmla="*/ 208383 w 1012061"/>
                <a:gd name="connsiteY3442" fmla="*/ 187016 h 372939"/>
                <a:gd name="connsiteX3443" fmla="*/ 208829 w 1012061"/>
                <a:gd name="connsiteY3443" fmla="*/ 188164 h 372939"/>
                <a:gd name="connsiteX3444" fmla="*/ 209881 w 1012061"/>
                <a:gd name="connsiteY3444" fmla="*/ 188228 h 372939"/>
                <a:gd name="connsiteX3445" fmla="*/ 210708 w 1012061"/>
                <a:gd name="connsiteY3445" fmla="*/ 187626 h 372939"/>
                <a:gd name="connsiteX3446" fmla="*/ 213863 w 1012061"/>
                <a:gd name="connsiteY3446" fmla="*/ 184261 h 372939"/>
                <a:gd name="connsiteX3447" fmla="*/ 214716 w 1012061"/>
                <a:gd name="connsiteY3447" fmla="*/ 183672 h 372939"/>
                <a:gd name="connsiteX3448" fmla="*/ 215906 w 1012061"/>
                <a:gd name="connsiteY3448" fmla="*/ 183200 h 372939"/>
                <a:gd name="connsiteX3449" fmla="*/ 217124 w 1012061"/>
                <a:gd name="connsiteY3449" fmla="*/ 182905 h 372939"/>
                <a:gd name="connsiteX3450" fmla="*/ 222887 w 1012061"/>
                <a:gd name="connsiteY3450" fmla="*/ 182876 h 372939"/>
                <a:gd name="connsiteX3451" fmla="*/ 225330 w 1012061"/>
                <a:gd name="connsiteY3451" fmla="*/ 183406 h 372939"/>
                <a:gd name="connsiteX3452" fmla="*/ 227504 w 1012061"/>
                <a:gd name="connsiteY3452" fmla="*/ 184501 h 372939"/>
                <a:gd name="connsiteX3453" fmla="*/ 229422 w 1012061"/>
                <a:gd name="connsiteY3453" fmla="*/ 185880 h 372939"/>
                <a:gd name="connsiteX3454" fmla="*/ 236433 w 1012061"/>
                <a:gd name="connsiteY3454" fmla="*/ 194638 h 372939"/>
                <a:gd name="connsiteX3455" fmla="*/ 239644 w 1012061"/>
                <a:gd name="connsiteY3455" fmla="*/ 199473 h 372939"/>
                <a:gd name="connsiteX3456" fmla="*/ 239897 w 1012061"/>
                <a:gd name="connsiteY3456" fmla="*/ 200676 h 372939"/>
                <a:gd name="connsiteX3457" fmla="*/ 239955 w 1012061"/>
                <a:gd name="connsiteY3457" fmla="*/ 201928 h 372939"/>
                <a:gd name="connsiteX3458" fmla="*/ 239409 w 1012061"/>
                <a:gd name="connsiteY3458" fmla="*/ 202896 h 372939"/>
                <a:gd name="connsiteX3459" fmla="*/ 236485 w 1012061"/>
                <a:gd name="connsiteY3459" fmla="*/ 206197 h 372939"/>
                <a:gd name="connsiteX3460" fmla="*/ 236122 w 1012061"/>
                <a:gd name="connsiteY3460" fmla="*/ 207110 h 372939"/>
                <a:gd name="connsiteX3461" fmla="*/ 235209 w 1012061"/>
                <a:gd name="connsiteY3461" fmla="*/ 210705 h 372939"/>
                <a:gd name="connsiteX3462" fmla="*/ 235381 w 1012061"/>
                <a:gd name="connsiteY3462" fmla="*/ 213293 h 372939"/>
                <a:gd name="connsiteX3463" fmla="*/ 236353 w 1012061"/>
                <a:gd name="connsiteY3463" fmla="*/ 214381 h 372939"/>
                <a:gd name="connsiteX3464" fmla="*/ 237126 w 1012061"/>
                <a:gd name="connsiteY3464" fmla="*/ 215561 h 372939"/>
                <a:gd name="connsiteX3465" fmla="*/ 237066 w 1012061"/>
                <a:gd name="connsiteY3465" fmla="*/ 216632 h 372939"/>
                <a:gd name="connsiteX3466" fmla="*/ 235139 w 1012061"/>
                <a:gd name="connsiteY3466" fmla="*/ 221957 h 372939"/>
                <a:gd name="connsiteX3467" fmla="*/ 234937 w 1012061"/>
                <a:gd name="connsiteY3467" fmla="*/ 222867 h 372939"/>
                <a:gd name="connsiteX3468" fmla="*/ 236155 w 1012061"/>
                <a:gd name="connsiteY3468" fmla="*/ 231530 h 372939"/>
                <a:gd name="connsiteX3469" fmla="*/ 236243 w 1012061"/>
                <a:gd name="connsiteY3469" fmla="*/ 233875 h 372939"/>
                <a:gd name="connsiteX3470" fmla="*/ 235995 w 1012061"/>
                <a:gd name="connsiteY3470" fmla="*/ 236842 h 372939"/>
                <a:gd name="connsiteX3471" fmla="*/ 236169 w 1012061"/>
                <a:gd name="connsiteY3471" fmla="*/ 241628 h 372939"/>
                <a:gd name="connsiteX3472" fmla="*/ 234597 w 1012061"/>
                <a:gd name="connsiteY3472" fmla="*/ 256418 h 372939"/>
                <a:gd name="connsiteX3473" fmla="*/ 234301 w 1012061"/>
                <a:gd name="connsiteY3473" fmla="*/ 257302 h 372939"/>
                <a:gd name="connsiteX3474" fmla="*/ 233099 w 1012061"/>
                <a:gd name="connsiteY3474" fmla="*/ 259561 h 372939"/>
                <a:gd name="connsiteX3475" fmla="*/ 231512 w 1012061"/>
                <a:gd name="connsiteY3475" fmla="*/ 259546 h 372939"/>
                <a:gd name="connsiteX3476" fmla="*/ 230229 w 1012061"/>
                <a:gd name="connsiteY3476" fmla="*/ 259147 h 372939"/>
                <a:gd name="connsiteX3477" fmla="*/ 229331 w 1012061"/>
                <a:gd name="connsiteY3477" fmla="*/ 258283 h 372939"/>
                <a:gd name="connsiteX3478" fmla="*/ 228837 w 1012061"/>
                <a:gd name="connsiteY3478" fmla="*/ 257210 h 372939"/>
                <a:gd name="connsiteX3479" fmla="*/ 228109 w 1012061"/>
                <a:gd name="connsiteY3479" fmla="*/ 256333 h 372939"/>
                <a:gd name="connsiteX3480" fmla="*/ 224278 w 1012061"/>
                <a:gd name="connsiteY3480" fmla="*/ 253599 h 372939"/>
                <a:gd name="connsiteX3481" fmla="*/ 223273 w 1012061"/>
                <a:gd name="connsiteY3481" fmla="*/ 254054 h 372939"/>
                <a:gd name="connsiteX3482" fmla="*/ 219384 w 1012061"/>
                <a:gd name="connsiteY3482" fmla="*/ 257445 h 372939"/>
                <a:gd name="connsiteX3483" fmla="*/ 218350 w 1012061"/>
                <a:gd name="connsiteY3483" fmla="*/ 257947 h 372939"/>
                <a:gd name="connsiteX3484" fmla="*/ 217053 w 1012061"/>
                <a:gd name="connsiteY3484" fmla="*/ 257533 h 372939"/>
                <a:gd name="connsiteX3485" fmla="*/ 215010 w 1012061"/>
                <a:gd name="connsiteY3485" fmla="*/ 256519 h 372939"/>
                <a:gd name="connsiteX3486" fmla="*/ 208581 w 1012061"/>
                <a:gd name="connsiteY3486" fmla="*/ 252954 h 372939"/>
                <a:gd name="connsiteX3487" fmla="*/ 208186 w 1012061"/>
                <a:gd name="connsiteY3487" fmla="*/ 254094 h 372939"/>
                <a:gd name="connsiteX3488" fmla="*/ 208108 w 1012061"/>
                <a:gd name="connsiteY3488" fmla="*/ 255640 h 372939"/>
                <a:gd name="connsiteX3489" fmla="*/ 209387 w 1012061"/>
                <a:gd name="connsiteY3489" fmla="*/ 259515 h 372939"/>
                <a:gd name="connsiteX3490" fmla="*/ 209564 w 1012061"/>
                <a:gd name="connsiteY3490" fmla="*/ 261212 h 372939"/>
                <a:gd name="connsiteX3491" fmla="*/ 208394 w 1012061"/>
                <a:gd name="connsiteY3491" fmla="*/ 261550 h 372939"/>
                <a:gd name="connsiteX3492" fmla="*/ 207741 w 1012061"/>
                <a:gd name="connsiteY3492" fmla="*/ 261477 h 372939"/>
                <a:gd name="connsiteX3493" fmla="*/ 205072 w 1012061"/>
                <a:gd name="connsiteY3493" fmla="*/ 259225 h 372939"/>
                <a:gd name="connsiteX3494" fmla="*/ 202610 w 1012061"/>
                <a:gd name="connsiteY3494" fmla="*/ 256732 h 372939"/>
                <a:gd name="connsiteX3495" fmla="*/ 199812 w 1012061"/>
                <a:gd name="connsiteY3495" fmla="*/ 253363 h 372939"/>
                <a:gd name="connsiteX3496" fmla="*/ 197767 w 1012061"/>
                <a:gd name="connsiteY3496" fmla="*/ 251761 h 372939"/>
                <a:gd name="connsiteX3497" fmla="*/ 195917 w 1012061"/>
                <a:gd name="connsiteY3497" fmla="*/ 249972 h 372939"/>
                <a:gd name="connsiteX3498" fmla="*/ 190713 w 1012061"/>
                <a:gd name="connsiteY3498" fmla="*/ 243180 h 372939"/>
                <a:gd name="connsiteX3499" fmla="*/ 189361 w 1012061"/>
                <a:gd name="connsiteY3499" fmla="*/ 242143 h 372939"/>
                <a:gd name="connsiteX3500" fmla="*/ 181298 w 1012061"/>
                <a:gd name="connsiteY3500" fmla="*/ 237347 h 372939"/>
                <a:gd name="connsiteX3501" fmla="*/ 179671 w 1012061"/>
                <a:gd name="connsiteY3501" fmla="*/ 236213 h 372939"/>
                <a:gd name="connsiteX3502" fmla="*/ 177609 w 1012061"/>
                <a:gd name="connsiteY3502" fmla="*/ 234228 h 372939"/>
                <a:gd name="connsiteX3503" fmla="*/ 175393 w 1012061"/>
                <a:gd name="connsiteY3503" fmla="*/ 232467 h 372939"/>
                <a:gd name="connsiteX3504" fmla="*/ 170535 w 1012061"/>
                <a:gd name="connsiteY3504" fmla="*/ 229686 h 372939"/>
                <a:gd name="connsiteX3505" fmla="*/ 162105 w 1012061"/>
                <a:gd name="connsiteY3505" fmla="*/ 222630 h 372939"/>
                <a:gd name="connsiteX3506" fmla="*/ 158440 w 1012061"/>
                <a:gd name="connsiteY3506" fmla="*/ 218578 h 372939"/>
                <a:gd name="connsiteX3507" fmla="*/ 154366 w 1012061"/>
                <a:gd name="connsiteY3507" fmla="*/ 212052 h 372939"/>
                <a:gd name="connsiteX3508" fmla="*/ 153036 w 1012061"/>
                <a:gd name="connsiteY3508" fmla="*/ 210385 h 372939"/>
                <a:gd name="connsiteX3509" fmla="*/ 146188 w 1012061"/>
                <a:gd name="connsiteY3509" fmla="*/ 205488 h 372939"/>
                <a:gd name="connsiteX3510" fmla="*/ 142454 w 1012061"/>
                <a:gd name="connsiteY3510" fmla="*/ 202522 h 372939"/>
                <a:gd name="connsiteX3511" fmla="*/ 140898 w 1012061"/>
                <a:gd name="connsiteY3511" fmla="*/ 200817 h 372939"/>
                <a:gd name="connsiteX3512" fmla="*/ 137263 w 1012061"/>
                <a:gd name="connsiteY3512" fmla="*/ 194882 h 372939"/>
                <a:gd name="connsiteX3513" fmla="*/ 136201 w 1012061"/>
                <a:gd name="connsiteY3513" fmla="*/ 192883 h 372939"/>
                <a:gd name="connsiteX3514" fmla="*/ 134862 w 1012061"/>
                <a:gd name="connsiteY3514" fmla="*/ 191117 h 372939"/>
                <a:gd name="connsiteX3515" fmla="*/ 132664 w 1012061"/>
                <a:gd name="connsiteY3515" fmla="*/ 189685 h 372939"/>
                <a:gd name="connsiteX3516" fmla="*/ 130725 w 1012061"/>
                <a:gd name="connsiteY3516" fmla="*/ 187999 h 372939"/>
                <a:gd name="connsiteX3517" fmla="*/ 126875 w 1012061"/>
                <a:gd name="connsiteY3517" fmla="*/ 182632 h 372939"/>
                <a:gd name="connsiteX3518" fmla="*/ 125661 w 1012061"/>
                <a:gd name="connsiteY3518" fmla="*/ 180493 h 372939"/>
                <a:gd name="connsiteX3519" fmla="*/ 124743 w 1012061"/>
                <a:gd name="connsiteY3519" fmla="*/ 178180 h 372939"/>
                <a:gd name="connsiteX3520" fmla="*/ 124903 w 1012061"/>
                <a:gd name="connsiteY3520" fmla="*/ 173539 h 372939"/>
                <a:gd name="connsiteX3521" fmla="*/ 116750 w 1012061"/>
                <a:gd name="connsiteY3521" fmla="*/ 159493 h 372939"/>
                <a:gd name="connsiteX3522" fmla="*/ 114702 w 1012061"/>
                <a:gd name="connsiteY3522" fmla="*/ 155118 h 372939"/>
                <a:gd name="connsiteX3523" fmla="*/ 112806 w 1012061"/>
                <a:gd name="connsiteY3523" fmla="*/ 149045 h 372939"/>
                <a:gd name="connsiteX3524" fmla="*/ 112382 w 1012061"/>
                <a:gd name="connsiteY3524" fmla="*/ 148430 h 372939"/>
                <a:gd name="connsiteX3525" fmla="*/ 107935 w 1012061"/>
                <a:gd name="connsiteY3525" fmla="*/ 142992 h 372939"/>
                <a:gd name="connsiteX3526" fmla="*/ 106360 w 1012061"/>
                <a:gd name="connsiteY3526" fmla="*/ 141251 h 372939"/>
                <a:gd name="connsiteX3527" fmla="*/ 104458 w 1012061"/>
                <a:gd name="connsiteY3527" fmla="*/ 139615 h 372939"/>
                <a:gd name="connsiteX3528" fmla="*/ 102897 w 1012061"/>
                <a:gd name="connsiteY3528" fmla="*/ 137703 h 372939"/>
                <a:gd name="connsiteX3529" fmla="*/ 99828 w 1012061"/>
                <a:gd name="connsiteY3529" fmla="*/ 131494 h 372939"/>
                <a:gd name="connsiteX3530" fmla="*/ 98690 w 1012061"/>
                <a:gd name="connsiteY3530" fmla="*/ 129769 h 372939"/>
                <a:gd name="connsiteX3531" fmla="*/ 97094 w 1012061"/>
                <a:gd name="connsiteY3531" fmla="*/ 128500 h 372939"/>
                <a:gd name="connsiteX3532" fmla="*/ 91277 w 1012061"/>
                <a:gd name="connsiteY3532" fmla="*/ 126153 h 372939"/>
                <a:gd name="connsiteX3533" fmla="*/ 89107 w 1012061"/>
                <a:gd name="connsiteY3533" fmla="*/ 124844 h 372939"/>
                <a:gd name="connsiteX3534" fmla="*/ 87399 w 1012061"/>
                <a:gd name="connsiteY3534" fmla="*/ 122987 h 372939"/>
                <a:gd name="connsiteX3535" fmla="*/ 86349 w 1012061"/>
                <a:gd name="connsiteY3535" fmla="*/ 120617 h 372939"/>
                <a:gd name="connsiteX3536" fmla="*/ 85196 w 1012061"/>
                <a:gd name="connsiteY3536" fmla="*/ 115588 h 372939"/>
                <a:gd name="connsiteX3537" fmla="*/ 82454 w 1012061"/>
                <a:gd name="connsiteY3537" fmla="*/ 107946 h 372939"/>
                <a:gd name="connsiteX3538" fmla="*/ 79377 w 1012061"/>
                <a:gd name="connsiteY3538" fmla="*/ 97714 h 372939"/>
                <a:gd name="connsiteX3539" fmla="*/ 77302 w 1012061"/>
                <a:gd name="connsiteY3539" fmla="*/ 93128 h 372939"/>
                <a:gd name="connsiteX3540" fmla="*/ 74930 w 1012061"/>
                <a:gd name="connsiteY3540" fmla="*/ 89530 h 372939"/>
                <a:gd name="connsiteX3541" fmla="*/ 74244 w 1012061"/>
                <a:gd name="connsiteY3541" fmla="*/ 88700 h 372939"/>
                <a:gd name="connsiteX3542" fmla="*/ 63680 w 1012061"/>
                <a:gd name="connsiteY3542" fmla="*/ 82220 h 372939"/>
                <a:gd name="connsiteX3543" fmla="*/ 61879 w 1012061"/>
                <a:gd name="connsiteY3543" fmla="*/ 81266 h 372939"/>
                <a:gd name="connsiteX3544" fmla="*/ 59966 w 1012061"/>
                <a:gd name="connsiteY3544" fmla="*/ 80691 h 372939"/>
                <a:gd name="connsiteX3545" fmla="*/ 57235 w 1012061"/>
                <a:gd name="connsiteY3545" fmla="*/ 80278 h 372939"/>
                <a:gd name="connsiteX3546" fmla="*/ 55150 w 1012061"/>
                <a:gd name="connsiteY3546" fmla="*/ 78604 h 372939"/>
                <a:gd name="connsiteX3547" fmla="*/ 54293 w 1012061"/>
                <a:gd name="connsiteY3547" fmla="*/ 75600 h 372939"/>
                <a:gd name="connsiteX3548" fmla="*/ 53820 w 1012061"/>
                <a:gd name="connsiteY3548" fmla="*/ 71570 h 372939"/>
                <a:gd name="connsiteX3549" fmla="*/ 53294 w 1012061"/>
                <a:gd name="connsiteY3549" fmla="*/ 69165 h 372939"/>
                <a:gd name="connsiteX3550" fmla="*/ 52719 w 1012061"/>
                <a:gd name="connsiteY3550" fmla="*/ 67805 h 372939"/>
                <a:gd name="connsiteX3551" fmla="*/ 48307 w 1012061"/>
                <a:gd name="connsiteY3551" fmla="*/ 64956 h 372939"/>
                <a:gd name="connsiteX3552" fmla="*/ 46580 w 1012061"/>
                <a:gd name="connsiteY3552" fmla="*/ 62704 h 372939"/>
                <a:gd name="connsiteX3553" fmla="*/ 45138 w 1012061"/>
                <a:gd name="connsiteY3553" fmla="*/ 60226 h 372939"/>
                <a:gd name="connsiteX3554" fmla="*/ 43820 w 1012061"/>
                <a:gd name="connsiteY3554" fmla="*/ 58307 h 372939"/>
                <a:gd name="connsiteX3555" fmla="*/ 38968 w 1012061"/>
                <a:gd name="connsiteY3555" fmla="*/ 51678 h 372939"/>
                <a:gd name="connsiteX3556" fmla="*/ 37309 w 1012061"/>
                <a:gd name="connsiteY3556" fmla="*/ 49939 h 372939"/>
                <a:gd name="connsiteX3557" fmla="*/ 35254 w 1012061"/>
                <a:gd name="connsiteY3557" fmla="*/ 48725 h 372939"/>
                <a:gd name="connsiteX3558" fmla="*/ 29160 w 1012061"/>
                <a:gd name="connsiteY3558" fmla="*/ 47439 h 372939"/>
                <a:gd name="connsiteX3559" fmla="*/ 27377 w 1012061"/>
                <a:gd name="connsiteY3559" fmla="*/ 46338 h 372939"/>
                <a:gd name="connsiteX3560" fmla="*/ 24416 w 1012061"/>
                <a:gd name="connsiteY3560" fmla="*/ 42574 h 372939"/>
                <a:gd name="connsiteX3561" fmla="*/ 22630 w 1012061"/>
                <a:gd name="connsiteY3561" fmla="*/ 40659 h 372939"/>
                <a:gd name="connsiteX3562" fmla="*/ 17277 w 1012061"/>
                <a:gd name="connsiteY3562" fmla="*/ 36439 h 372939"/>
                <a:gd name="connsiteX3563" fmla="*/ 8225 w 1012061"/>
                <a:gd name="connsiteY3563" fmla="*/ 27607 h 372939"/>
                <a:gd name="connsiteX3564" fmla="*/ 6370 w 1012061"/>
                <a:gd name="connsiteY3564" fmla="*/ 25404 h 372939"/>
                <a:gd name="connsiteX3565" fmla="*/ 4981 w 1012061"/>
                <a:gd name="connsiteY3565" fmla="*/ 23106 h 372939"/>
                <a:gd name="connsiteX3566" fmla="*/ 3860 w 1012061"/>
                <a:gd name="connsiteY3566" fmla="*/ 20643 h 372939"/>
                <a:gd name="connsiteX3567" fmla="*/ 0 w 1012061"/>
                <a:gd name="connsiteY3567" fmla="*/ 13818 h 372939"/>
                <a:gd name="connsiteX3568" fmla="*/ 311 w 1012061"/>
                <a:gd name="connsiteY3568" fmla="*/ 12439 h 372939"/>
                <a:gd name="connsiteX3569" fmla="*/ 894 w 1012061"/>
                <a:gd name="connsiteY3569" fmla="*/ 11007 h 372939"/>
                <a:gd name="connsiteX3570" fmla="*/ 803 w 1012061"/>
                <a:gd name="connsiteY3570" fmla="*/ 9821 h 372939"/>
                <a:gd name="connsiteX3571" fmla="*/ 380 w 1012061"/>
                <a:gd name="connsiteY3571" fmla="*/ 8650 h 372939"/>
                <a:gd name="connsiteX3572" fmla="*/ 468 w 1012061"/>
                <a:gd name="connsiteY3572" fmla="*/ 7592 h 372939"/>
                <a:gd name="connsiteX3573" fmla="*/ 1612 w 1012061"/>
                <a:gd name="connsiteY3573" fmla="*/ 6969 h 372939"/>
                <a:gd name="connsiteX3574" fmla="*/ 781 w 1012061"/>
                <a:gd name="connsiteY3574" fmla="*/ 0 h 372939"/>
                <a:gd name="connsiteX3575" fmla="*/ 1678 w 1012061"/>
                <a:gd name="connsiteY3575" fmla="*/ 206 h 372939"/>
                <a:gd name="connsiteX3576" fmla="*/ 3373 w 1012061"/>
                <a:gd name="connsiteY3576" fmla="*/ 672 h 372939"/>
                <a:gd name="connsiteX3577" fmla="*/ 3524 w 1012061"/>
                <a:gd name="connsiteY3577" fmla="*/ 1428 h 372939"/>
                <a:gd name="connsiteX3578" fmla="*/ 3437 w 1012061"/>
                <a:gd name="connsiteY3578" fmla="*/ 2099 h 372939"/>
                <a:gd name="connsiteX3579" fmla="*/ 3005 w 1012061"/>
                <a:gd name="connsiteY3579" fmla="*/ 2727 h 372939"/>
                <a:gd name="connsiteX3580" fmla="*/ 1693 w 1012061"/>
                <a:gd name="connsiteY3580" fmla="*/ 2407 h 372939"/>
                <a:gd name="connsiteX3581" fmla="*/ 244 w 1012061"/>
                <a:gd name="connsiteY3581" fmla="*/ 389 h 372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  <a:cxn ang="0">
                  <a:pos x="connsiteX2223" y="connsiteY2223"/>
                </a:cxn>
                <a:cxn ang="0">
                  <a:pos x="connsiteX2224" y="connsiteY2224"/>
                </a:cxn>
                <a:cxn ang="0">
                  <a:pos x="connsiteX2225" y="connsiteY2225"/>
                </a:cxn>
                <a:cxn ang="0">
                  <a:pos x="connsiteX2226" y="connsiteY2226"/>
                </a:cxn>
                <a:cxn ang="0">
                  <a:pos x="connsiteX2227" y="connsiteY2227"/>
                </a:cxn>
                <a:cxn ang="0">
                  <a:pos x="connsiteX2228" y="connsiteY2228"/>
                </a:cxn>
                <a:cxn ang="0">
                  <a:pos x="connsiteX2229" y="connsiteY2229"/>
                </a:cxn>
                <a:cxn ang="0">
                  <a:pos x="connsiteX2230" y="connsiteY2230"/>
                </a:cxn>
                <a:cxn ang="0">
                  <a:pos x="connsiteX2231" y="connsiteY2231"/>
                </a:cxn>
                <a:cxn ang="0">
                  <a:pos x="connsiteX2232" y="connsiteY2232"/>
                </a:cxn>
                <a:cxn ang="0">
                  <a:pos x="connsiteX2233" y="connsiteY2233"/>
                </a:cxn>
                <a:cxn ang="0">
                  <a:pos x="connsiteX2234" y="connsiteY2234"/>
                </a:cxn>
                <a:cxn ang="0">
                  <a:pos x="connsiteX2235" y="connsiteY2235"/>
                </a:cxn>
                <a:cxn ang="0">
                  <a:pos x="connsiteX2236" y="connsiteY2236"/>
                </a:cxn>
                <a:cxn ang="0">
                  <a:pos x="connsiteX2237" y="connsiteY2237"/>
                </a:cxn>
                <a:cxn ang="0">
                  <a:pos x="connsiteX2238" y="connsiteY2238"/>
                </a:cxn>
                <a:cxn ang="0">
                  <a:pos x="connsiteX2239" y="connsiteY2239"/>
                </a:cxn>
                <a:cxn ang="0">
                  <a:pos x="connsiteX2240" y="connsiteY2240"/>
                </a:cxn>
                <a:cxn ang="0">
                  <a:pos x="connsiteX2241" y="connsiteY2241"/>
                </a:cxn>
                <a:cxn ang="0">
                  <a:pos x="connsiteX2242" y="connsiteY2242"/>
                </a:cxn>
                <a:cxn ang="0">
                  <a:pos x="connsiteX2243" y="connsiteY2243"/>
                </a:cxn>
                <a:cxn ang="0">
                  <a:pos x="connsiteX2244" y="connsiteY2244"/>
                </a:cxn>
                <a:cxn ang="0">
                  <a:pos x="connsiteX2245" y="connsiteY2245"/>
                </a:cxn>
                <a:cxn ang="0">
                  <a:pos x="connsiteX2246" y="connsiteY2246"/>
                </a:cxn>
                <a:cxn ang="0">
                  <a:pos x="connsiteX2247" y="connsiteY2247"/>
                </a:cxn>
                <a:cxn ang="0">
                  <a:pos x="connsiteX2248" y="connsiteY2248"/>
                </a:cxn>
                <a:cxn ang="0">
                  <a:pos x="connsiteX2249" y="connsiteY2249"/>
                </a:cxn>
                <a:cxn ang="0">
                  <a:pos x="connsiteX2250" y="connsiteY2250"/>
                </a:cxn>
                <a:cxn ang="0">
                  <a:pos x="connsiteX2251" y="connsiteY2251"/>
                </a:cxn>
                <a:cxn ang="0">
                  <a:pos x="connsiteX2252" y="connsiteY2252"/>
                </a:cxn>
                <a:cxn ang="0">
                  <a:pos x="connsiteX2253" y="connsiteY2253"/>
                </a:cxn>
                <a:cxn ang="0">
                  <a:pos x="connsiteX2254" y="connsiteY2254"/>
                </a:cxn>
                <a:cxn ang="0">
                  <a:pos x="connsiteX2255" y="connsiteY2255"/>
                </a:cxn>
                <a:cxn ang="0">
                  <a:pos x="connsiteX2256" y="connsiteY2256"/>
                </a:cxn>
                <a:cxn ang="0">
                  <a:pos x="connsiteX2257" y="connsiteY2257"/>
                </a:cxn>
                <a:cxn ang="0">
                  <a:pos x="connsiteX2258" y="connsiteY2258"/>
                </a:cxn>
                <a:cxn ang="0">
                  <a:pos x="connsiteX2259" y="connsiteY2259"/>
                </a:cxn>
                <a:cxn ang="0">
                  <a:pos x="connsiteX2260" y="connsiteY2260"/>
                </a:cxn>
                <a:cxn ang="0">
                  <a:pos x="connsiteX2261" y="connsiteY2261"/>
                </a:cxn>
                <a:cxn ang="0">
                  <a:pos x="connsiteX2262" y="connsiteY2262"/>
                </a:cxn>
                <a:cxn ang="0">
                  <a:pos x="connsiteX2263" y="connsiteY2263"/>
                </a:cxn>
                <a:cxn ang="0">
                  <a:pos x="connsiteX2264" y="connsiteY2264"/>
                </a:cxn>
                <a:cxn ang="0">
                  <a:pos x="connsiteX2265" y="connsiteY2265"/>
                </a:cxn>
                <a:cxn ang="0">
                  <a:pos x="connsiteX2266" y="connsiteY2266"/>
                </a:cxn>
                <a:cxn ang="0">
                  <a:pos x="connsiteX2267" y="connsiteY2267"/>
                </a:cxn>
                <a:cxn ang="0">
                  <a:pos x="connsiteX2268" y="connsiteY2268"/>
                </a:cxn>
                <a:cxn ang="0">
                  <a:pos x="connsiteX2269" y="connsiteY2269"/>
                </a:cxn>
                <a:cxn ang="0">
                  <a:pos x="connsiteX2270" y="connsiteY2270"/>
                </a:cxn>
                <a:cxn ang="0">
                  <a:pos x="connsiteX2271" y="connsiteY2271"/>
                </a:cxn>
                <a:cxn ang="0">
                  <a:pos x="connsiteX2272" y="connsiteY2272"/>
                </a:cxn>
                <a:cxn ang="0">
                  <a:pos x="connsiteX2273" y="connsiteY2273"/>
                </a:cxn>
                <a:cxn ang="0">
                  <a:pos x="connsiteX2274" y="connsiteY2274"/>
                </a:cxn>
                <a:cxn ang="0">
                  <a:pos x="connsiteX2275" y="connsiteY2275"/>
                </a:cxn>
                <a:cxn ang="0">
                  <a:pos x="connsiteX2276" y="connsiteY2276"/>
                </a:cxn>
                <a:cxn ang="0">
                  <a:pos x="connsiteX2277" y="connsiteY2277"/>
                </a:cxn>
                <a:cxn ang="0">
                  <a:pos x="connsiteX2278" y="connsiteY2278"/>
                </a:cxn>
                <a:cxn ang="0">
                  <a:pos x="connsiteX2279" y="connsiteY2279"/>
                </a:cxn>
                <a:cxn ang="0">
                  <a:pos x="connsiteX2280" y="connsiteY2280"/>
                </a:cxn>
                <a:cxn ang="0">
                  <a:pos x="connsiteX2281" y="connsiteY2281"/>
                </a:cxn>
                <a:cxn ang="0">
                  <a:pos x="connsiteX2282" y="connsiteY2282"/>
                </a:cxn>
                <a:cxn ang="0">
                  <a:pos x="connsiteX2283" y="connsiteY2283"/>
                </a:cxn>
                <a:cxn ang="0">
                  <a:pos x="connsiteX2284" y="connsiteY2284"/>
                </a:cxn>
                <a:cxn ang="0">
                  <a:pos x="connsiteX2285" y="connsiteY2285"/>
                </a:cxn>
                <a:cxn ang="0">
                  <a:pos x="connsiteX2286" y="connsiteY2286"/>
                </a:cxn>
                <a:cxn ang="0">
                  <a:pos x="connsiteX2287" y="connsiteY2287"/>
                </a:cxn>
                <a:cxn ang="0">
                  <a:pos x="connsiteX2288" y="connsiteY2288"/>
                </a:cxn>
                <a:cxn ang="0">
                  <a:pos x="connsiteX2289" y="connsiteY2289"/>
                </a:cxn>
                <a:cxn ang="0">
                  <a:pos x="connsiteX2290" y="connsiteY2290"/>
                </a:cxn>
                <a:cxn ang="0">
                  <a:pos x="connsiteX2291" y="connsiteY2291"/>
                </a:cxn>
                <a:cxn ang="0">
                  <a:pos x="connsiteX2292" y="connsiteY2292"/>
                </a:cxn>
                <a:cxn ang="0">
                  <a:pos x="connsiteX2293" y="connsiteY2293"/>
                </a:cxn>
                <a:cxn ang="0">
                  <a:pos x="connsiteX2294" y="connsiteY2294"/>
                </a:cxn>
                <a:cxn ang="0">
                  <a:pos x="connsiteX2295" y="connsiteY2295"/>
                </a:cxn>
                <a:cxn ang="0">
                  <a:pos x="connsiteX2296" y="connsiteY2296"/>
                </a:cxn>
                <a:cxn ang="0">
                  <a:pos x="connsiteX2297" y="connsiteY2297"/>
                </a:cxn>
                <a:cxn ang="0">
                  <a:pos x="connsiteX2298" y="connsiteY2298"/>
                </a:cxn>
                <a:cxn ang="0">
                  <a:pos x="connsiteX2299" y="connsiteY2299"/>
                </a:cxn>
                <a:cxn ang="0">
                  <a:pos x="connsiteX2300" y="connsiteY2300"/>
                </a:cxn>
                <a:cxn ang="0">
                  <a:pos x="connsiteX2301" y="connsiteY2301"/>
                </a:cxn>
                <a:cxn ang="0">
                  <a:pos x="connsiteX2302" y="connsiteY2302"/>
                </a:cxn>
                <a:cxn ang="0">
                  <a:pos x="connsiteX2303" y="connsiteY2303"/>
                </a:cxn>
                <a:cxn ang="0">
                  <a:pos x="connsiteX2304" y="connsiteY2304"/>
                </a:cxn>
                <a:cxn ang="0">
                  <a:pos x="connsiteX2305" y="connsiteY2305"/>
                </a:cxn>
                <a:cxn ang="0">
                  <a:pos x="connsiteX2306" y="connsiteY2306"/>
                </a:cxn>
                <a:cxn ang="0">
                  <a:pos x="connsiteX2307" y="connsiteY2307"/>
                </a:cxn>
                <a:cxn ang="0">
                  <a:pos x="connsiteX2308" y="connsiteY2308"/>
                </a:cxn>
                <a:cxn ang="0">
                  <a:pos x="connsiteX2309" y="connsiteY2309"/>
                </a:cxn>
                <a:cxn ang="0">
                  <a:pos x="connsiteX2310" y="connsiteY2310"/>
                </a:cxn>
                <a:cxn ang="0">
                  <a:pos x="connsiteX2311" y="connsiteY2311"/>
                </a:cxn>
                <a:cxn ang="0">
                  <a:pos x="connsiteX2312" y="connsiteY2312"/>
                </a:cxn>
                <a:cxn ang="0">
                  <a:pos x="connsiteX2313" y="connsiteY2313"/>
                </a:cxn>
                <a:cxn ang="0">
                  <a:pos x="connsiteX2314" y="connsiteY2314"/>
                </a:cxn>
                <a:cxn ang="0">
                  <a:pos x="connsiteX2315" y="connsiteY2315"/>
                </a:cxn>
                <a:cxn ang="0">
                  <a:pos x="connsiteX2316" y="connsiteY2316"/>
                </a:cxn>
                <a:cxn ang="0">
                  <a:pos x="connsiteX2317" y="connsiteY2317"/>
                </a:cxn>
                <a:cxn ang="0">
                  <a:pos x="connsiteX2318" y="connsiteY2318"/>
                </a:cxn>
                <a:cxn ang="0">
                  <a:pos x="connsiteX2319" y="connsiteY2319"/>
                </a:cxn>
                <a:cxn ang="0">
                  <a:pos x="connsiteX2320" y="connsiteY2320"/>
                </a:cxn>
                <a:cxn ang="0">
                  <a:pos x="connsiteX2321" y="connsiteY2321"/>
                </a:cxn>
                <a:cxn ang="0">
                  <a:pos x="connsiteX2322" y="connsiteY2322"/>
                </a:cxn>
                <a:cxn ang="0">
                  <a:pos x="connsiteX2323" y="connsiteY2323"/>
                </a:cxn>
                <a:cxn ang="0">
                  <a:pos x="connsiteX2324" y="connsiteY2324"/>
                </a:cxn>
                <a:cxn ang="0">
                  <a:pos x="connsiteX2325" y="connsiteY2325"/>
                </a:cxn>
                <a:cxn ang="0">
                  <a:pos x="connsiteX2326" y="connsiteY2326"/>
                </a:cxn>
                <a:cxn ang="0">
                  <a:pos x="connsiteX2327" y="connsiteY2327"/>
                </a:cxn>
                <a:cxn ang="0">
                  <a:pos x="connsiteX2328" y="connsiteY2328"/>
                </a:cxn>
                <a:cxn ang="0">
                  <a:pos x="connsiteX2329" y="connsiteY2329"/>
                </a:cxn>
                <a:cxn ang="0">
                  <a:pos x="connsiteX2330" y="connsiteY2330"/>
                </a:cxn>
                <a:cxn ang="0">
                  <a:pos x="connsiteX2331" y="connsiteY2331"/>
                </a:cxn>
                <a:cxn ang="0">
                  <a:pos x="connsiteX2332" y="connsiteY2332"/>
                </a:cxn>
                <a:cxn ang="0">
                  <a:pos x="connsiteX2333" y="connsiteY2333"/>
                </a:cxn>
                <a:cxn ang="0">
                  <a:pos x="connsiteX2334" y="connsiteY2334"/>
                </a:cxn>
                <a:cxn ang="0">
                  <a:pos x="connsiteX2335" y="connsiteY2335"/>
                </a:cxn>
                <a:cxn ang="0">
                  <a:pos x="connsiteX2336" y="connsiteY2336"/>
                </a:cxn>
                <a:cxn ang="0">
                  <a:pos x="connsiteX2337" y="connsiteY2337"/>
                </a:cxn>
                <a:cxn ang="0">
                  <a:pos x="connsiteX2338" y="connsiteY2338"/>
                </a:cxn>
                <a:cxn ang="0">
                  <a:pos x="connsiteX2339" y="connsiteY2339"/>
                </a:cxn>
                <a:cxn ang="0">
                  <a:pos x="connsiteX2340" y="connsiteY2340"/>
                </a:cxn>
                <a:cxn ang="0">
                  <a:pos x="connsiteX2341" y="connsiteY2341"/>
                </a:cxn>
                <a:cxn ang="0">
                  <a:pos x="connsiteX2342" y="connsiteY2342"/>
                </a:cxn>
                <a:cxn ang="0">
                  <a:pos x="connsiteX2343" y="connsiteY2343"/>
                </a:cxn>
                <a:cxn ang="0">
                  <a:pos x="connsiteX2344" y="connsiteY2344"/>
                </a:cxn>
                <a:cxn ang="0">
                  <a:pos x="connsiteX2345" y="connsiteY2345"/>
                </a:cxn>
                <a:cxn ang="0">
                  <a:pos x="connsiteX2346" y="connsiteY2346"/>
                </a:cxn>
                <a:cxn ang="0">
                  <a:pos x="connsiteX2347" y="connsiteY2347"/>
                </a:cxn>
                <a:cxn ang="0">
                  <a:pos x="connsiteX2348" y="connsiteY2348"/>
                </a:cxn>
                <a:cxn ang="0">
                  <a:pos x="connsiteX2349" y="connsiteY2349"/>
                </a:cxn>
                <a:cxn ang="0">
                  <a:pos x="connsiteX2350" y="connsiteY2350"/>
                </a:cxn>
                <a:cxn ang="0">
                  <a:pos x="connsiteX2351" y="connsiteY2351"/>
                </a:cxn>
                <a:cxn ang="0">
                  <a:pos x="connsiteX2352" y="connsiteY2352"/>
                </a:cxn>
                <a:cxn ang="0">
                  <a:pos x="connsiteX2353" y="connsiteY2353"/>
                </a:cxn>
                <a:cxn ang="0">
                  <a:pos x="connsiteX2354" y="connsiteY2354"/>
                </a:cxn>
                <a:cxn ang="0">
                  <a:pos x="connsiteX2355" y="connsiteY2355"/>
                </a:cxn>
                <a:cxn ang="0">
                  <a:pos x="connsiteX2356" y="connsiteY2356"/>
                </a:cxn>
                <a:cxn ang="0">
                  <a:pos x="connsiteX2357" y="connsiteY2357"/>
                </a:cxn>
                <a:cxn ang="0">
                  <a:pos x="connsiteX2358" y="connsiteY2358"/>
                </a:cxn>
                <a:cxn ang="0">
                  <a:pos x="connsiteX2359" y="connsiteY2359"/>
                </a:cxn>
                <a:cxn ang="0">
                  <a:pos x="connsiteX2360" y="connsiteY2360"/>
                </a:cxn>
                <a:cxn ang="0">
                  <a:pos x="connsiteX2361" y="connsiteY2361"/>
                </a:cxn>
                <a:cxn ang="0">
                  <a:pos x="connsiteX2362" y="connsiteY2362"/>
                </a:cxn>
                <a:cxn ang="0">
                  <a:pos x="connsiteX2363" y="connsiteY2363"/>
                </a:cxn>
                <a:cxn ang="0">
                  <a:pos x="connsiteX2364" y="connsiteY2364"/>
                </a:cxn>
                <a:cxn ang="0">
                  <a:pos x="connsiteX2365" y="connsiteY2365"/>
                </a:cxn>
                <a:cxn ang="0">
                  <a:pos x="connsiteX2366" y="connsiteY2366"/>
                </a:cxn>
                <a:cxn ang="0">
                  <a:pos x="connsiteX2367" y="connsiteY2367"/>
                </a:cxn>
                <a:cxn ang="0">
                  <a:pos x="connsiteX2368" y="connsiteY2368"/>
                </a:cxn>
                <a:cxn ang="0">
                  <a:pos x="connsiteX2369" y="connsiteY2369"/>
                </a:cxn>
                <a:cxn ang="0">
                  <a:pos x="connsiteX2370" y="connsiteY2370"/>
                </a:cxn>
                <a:cxn ang="0">
                  <a:pos x="connsiteX2371" y="connsiteY2371"/>
                </a:cxn>
                <a:cxn ang="0">
                  <a:pos x="connsiteX2372" y="connsiteY2372"/>
                </a:cxn>
                <a:cxn ang="0">
                  <a:pos x="connsiteX2373" y="connsiteY2373"/>
                </a:cxn>
                <a:cxn ang="0">
                  <a:pos x="connsiteX2374" y="connsiteY2374"/>
                </a:cxn>
                <a:cxn ang="0">
                  <a:pos x="connsiteX2375" y="connsiteY2375"/>
                </a:cxn>
                <a:cxn ang="0">
                  <a:pos x="connsiteX2376" y="connsiteY2376"/>
                </a:cxn>
                <a:cxn ang="0">
                  <a:pos x="connsiteX2377" y="connsiteY2377"/>
                </a:cxn>
                <a:cxn ang="0">
                  <a:pos x="connsiteX2378" y="connsiteY2378"/>
                </a:cxn>
                <a:cxn ang="0">
                  <a:pos x="connsiteX2379" y="connsiteY2379"/>
                </a:cxn>
                <a:cxn ang="0">
                  <a:pos x="connsiteX2380" y="connsiteY2380"/>
                </a:cxn>
                <a:cxn ang="0">
                  <a:pos x="connsiteX2381" y="connsiteY2381"/>
                </a:cxn>
                <a:cxn ang="0">
                  <a:pos x="connsiteX2382" y="connsiteY2382"/>
                </a:cxn>
                <a:cxn ang="0">
                  <a:pos x="connsiteX2383" y="connsiteY2383"/>
                </a:cxn>
                <a:cxn ang="0">
                  <a:pos x="connsiteX2384" y="connsiteY2384"/>
                </a:cxn>
                <a:cxn ang="0">
                  <a:pos x="connsiteX2385" y="connsiteY2385"/>
                </a:cxn>
                <a:cxn ang="0">
                  <a:pos x="connsiteX2386" y="connsiteY2386"/>
                </a:cxn>
                <a:cxn ang="0">
                  <a:pos x="connsiteX2387" y="connsiteY2387"/>
                </a:cxn>
                <a:cxn ang="0">
                  <a:pos x="connsiteX2388" y="connsiteY2388"/>
                </a:cxn>
                <a:cxn ang="0">
                  <a:pos x="connsiteX2389" y="connsiteY2389"/>
                </a:cxn>
                <a:cxn ang="0">
                  <a:pos x="connsiteX2390" y="connsiteY2390"/>
                </a:cxn>
                <a:cxn ang="0">
                  <a:pos x="connsiteX2391" y="connsiteY2391"/>
                </a:cxn>
                <a:cxn ang="0">
                  <a:pos x="connsiteX2392" y="connsiteY2392"/>
                </a:cxn>
                <a:cxn ang="0">
                  <a:pos x="connsiteX2393" y="connsiteY2393"/>
                </a:cxn>
                <a:cxn ang="0">
                  <a:pos x="connsiteX2394" y="connsiteY2394"/>
                </a:cxn>
                <a:cxn ang="0">
                  <a:pos x="connsiteX2395" y="connsiteY2395"/>
                </a:cxn>
                <a:cxn ang="0">
                  <a:pos x="connsiteX2396" y="connsiteY2396"/>
                </a:cxn>
                <a:cxn ang="0">
                  <a:pos x="connsiteX2397" y="connsiteY2397"/>
                </a:cxn>
                <a:cxn ang="0">
                  <a:pos x="connsiteX2398" y="connsiteY2398"/>
                </a:cxn>
                <a:cxn ang="0">
                  <a:pos x="connsiteX2399" y="connsiteY2399"/>
                </a:cxn>
                <a:cxn ang="0">
                  <a:pos x="connsiteX2400" y="connsiteY2400"/>
                </a:cxn>
                <a:cxn ang="0">
                  <a:pos x="connsiteX2401" y="connsiteY2401"/>
                </a:cxn>
                <a:cxn ang="0">
                  <a:pos x="connsiteX2402" y="connsiteY2402"/>
                </a:cxn>
                <a:cxn ang="0">
                  <a:pos x="connsiteX2403" y="connsiteY2403"/>
                </a:cxn>
                <a:cxn ang="0">
                  <a:pos x="connsiteX2404" y="connsiteY2404"/>
                </a:cxn>
                <a:cxn ang="0">
                  <a:pos x="connsiteX2405" y="connsiteY2405"/>
                </a:cxn>
                <a:cxn ang="0">
                  <a:pos x="connsiteX2406" y="connsiteY2406"/>
                </a:cxn>
                <a:cxn ang="0">
                  <a:pos x="connsiteX2407" y="connsiteY2407"/>
                </a:cxn>
                <a:cxn ang="0">
                  <a:pos x="connsiteX2408" y="connsiteY2408"/>
                </a:cxn>
                <a:cxn ang="0">
                  <a:pos x="connsiteX2409" y="connsiteY2409"/>
                </a:cxn>
                <a:cxn ang="0">
                  <a:pos x="connsiteX2410" y="connsiteY2410"/>
                </a:cxn>
                <a:cxn ang="0">
                  <a:pos x="connsiteX2411" y="connsiteY2411"/>
                </a:cxn>
                <a:cxn ang="0">
                  <a:pos x="connsiteX2412" y="connsiteY2412"/>
                </a:cxn>
                <a:cxn ang="0">
                  <a:pos x="connsiteX2413" y="connsiteY2413"/>
                </a:cxn>
                <a:cxn ang="0">
                  <a:pos x="connsiteX2414" y="connsiteY2414"/>
                </a:cxn>
                <a:cxn ang="0">
                  <a:pos x="connsiteX2415" y="connsiteY2415"/>
                </a:cxn>
                <a:cxn ang="0">
                  <a:pos x="connsiteX2416" y="connsiteY2416"/>
                </a:cxn>
                <a:cxn ang="0">
                  <a:pos x="connsiteX2417" y="connsiteY2417"/>
                </a:cxn>
                <a:cxn ang="0">
                  <a:pos x="connsiteX2418" y="connsiteY2418"/>
                </a:cxn>
                <a:cxn ang="0">
                  <a:pos x="connsiteX2419" y="connsiteY2419"/>
                </a:cxn>
                <a:cxn ang="0">
                  <a:pos x="connsiteX2420" y="connsiteY2420"/>
                </a:cxn>
                <a:cxn ang="0">
                  <a:pos x="connsiteX2421" y="connsiteY2421"/>
                </a:cxn>
                <a:cxn ang="0">
                  <a:pos x="connsiteX2422" y="connsiteY2422"/>
                </a:cxn>
                <a:cxn ang="0">
                  <a:pos x="connsiteX2423" y="connsiteY2423"/>
                </a:cxn>
                <a:cxn ang="0">
                  <a:pos x="connsiteX2424" y="connsiteY2424"/>
                </a:cxn>
                <a:cxn ang="0">
                  <a:pos x="connsiteX2425" y="connsiteY2425"/>
                </a:cxn>
                <a:cxn ang="0">
                  <a:pos x="connsiteX2426" y="connsiteY2426"/>
                </a:cxn>
                <a:cxn ang="0">
                  <a:pos x="connsiteX2427" y="connsiteY2427"/>
                </a:cxn>
                <a:cxn ang="0">
                  <a:pos x="connsiteX2428" y="connsiteY2428"/>
                </a:cxn>
                <a:cxn ang="0">
                  <a:pos x="connsiteX2429" y="connsiteY2429"/>
                </a:cxn>
                <a:cxn ang="0">
                  <a:pos x="connsiteX2430" y="connsiteY2430"/>
                </a:cxn>
                <a:cxn ang="0">
                  <a:pos x="connsiteX2431" y="connsiteY2431"/>
                </a:cxn>
                <a:cxn ang="0">
                  <a:pos x="connsiteX2432" y="connsiteY2432"/>
                </a:cxn>
                <a:cxn ang="0">
                  <a:pos x="connsiteX2433" y="connsiteY2433"/>
                </a:cxn>
                <a:cxn ang="0">
                  <a:pos x="connsiteX2434" y="connsiteY2434"/>
                </a:cxn>
                <a:cxn ang="0">
                  <a:pos x="connsiteX2435" y="connsiteY2435"/>
                </a:cxn>
                <a:cxn ang="0">
                  <a:pos x="connsiteX2436" y="connsiteY2436"/>
                </a:cxn>
                <a:cxn ang="0">
                  <a:pos x="connsiteX2437" y="connsiteY2437"/>
                </a:cxn>
                <a:cxn ang="0">
                  <a:pos x="connsiteX2438" y="connsiteY2438"/>
                </a:cxn>
                <a:cxn ang="0">
                  <a:pos x="connsiteX2439" y="connsiteY2439"/>
                </a:cxn>
                <a:cxn ang="0">
                  <a:pos x="connsiteX2440" y="connsiteY2440"/>
                </a:cxn>
                <a:cxn ang="0">
                  <a:pos x="connsiteX2441" y="connsiteY2441"/>
                </a:cxn>
                <a:cxn ang="0">
                  <a:pos x="connsiteX2442" y="connsiteY2442"/>
                </a:cxn>
                <a:cxn ang="0">
                  <a:pos x="connsiteX2443" y="connsiteY2443"/>
                </a:cxn>
                <a:cxn ang="0">
                  <a:pos x="connsiteX2444" y="connsiteY2444"/>
                </a:cxn>
                <a:cxn ang="0">
                  <a:pos x="connsiteX2445" y="connsiteY2445"/>
                </a:cxn>
                <a:cxn ang="0">
                  <a:pos x="connsiteX2446" y="connsiteY2446"/>
                </a:cxn>
                <a:cxn ang="0">
                  <a:pos x="connsiteX2447" y="connsiteY2447"/>
                </a:cxn>
                <a:cxn ang="0">
                  <a:pos x="connsiteX2448" y="connsiteY2448"/>
                </a:cxn>
                <a:cxn ang="0">
                  <a:pos x="connsiteX2449" y="connsiteY2449"/>
                </a:cxn>
                <a:cxn ang="0">
                  <a:pos x="connsiteX2450" y="connsiteY2450"/>
                </a:cxn>
                <a:cxn ang="0">
                  <a:pos x="connsiteX2451" y="connsiteY2451"/>
                </a:cxn>
                <a:cxn ang="0">
                  <a:pos x="connsiteX2452" y="connsiteY2452"/>
                </a:cxn>
                <a:cxn ang="0">
                  <a:pos x="connsiteX2453" y="connsiteY2453"/>
                </a:cxn>
                <a:cxn ang="0">
                  <a:pos x="connsiteX2454" y="connsiteY2454"/>
                </a:cxn>
                <a:cxn ang="0">
                  <a:pos x="connsiteX2455" y="connsiteY2455"/>
                </a:cxn>
                <a:cxn ang="0">
                  <a:pos x="connsiteX2456" y="connsiteY2456"/>
                </a:cxn>
                <a:cxn ang="0">
                  <a:pos x="connsiteX2457" y="connsiteY2457"/>
                </a:cxn>
                <a:cxn ang="0">
                  <a:pos x="connsiteX2458" y="connsiteY2458"/>
                </a:cxn>
                <a:cxn ang="0">
                  <a:pos x="connsiteX2459" y="connsiteY2459"/>
                </a:cxn>
                <a:cxn ang="0">
                  <a:pos x="connsiteX2460" y="connsiteY2460"/>
                </a:cxn>
                <a:cxn ang="0">
                  <a:pos x="connsiteX2461" y="connsiteY2461"/>
                </a:cxn>
                <a:cxn ang="0">
                  <a:pos x="connsiteX2462" y="connsiteY2462"/>
                </a:cxn>
                <a:cxn ang="0">
                  <a:pos x="connsiteX2463" y="connsiteY2463"/>
                </a:cxn>
                <a:cxn ang="0">
                  <a:pos x="connsiteX2464" y="connsiteY2464"/>
                </a:cxn>
                <a:cxn ang="0">
                  <a:pos x="connsiteX2465" y="connsiteY2465"/>
                </a:cxn>
                <a:cxn ang="0">
                  <a:pos x="connsiteX2466" y="connsiteY2466"/>
                </a:cxn>
                <a:cxn ang="0">
                  <a:pos x="connsiteX2467" y="connsiteY2467"/>
                </a:cxn>
                <a:cxn ang="0">
                  <a:pos x="connsiteX2468" y="connsiteY2468"/>
                </a:cxn>
                <a:cxn ang="0">
                  <a:pos x="connsiteX2469" y="connsiteY2469"/>
                </a:cxn>
                <a:cxn ang="0">
                  <a:pos x="connsiteX2470" y="connsiteY2470"/>
                </a:cxn>
                <a:cxn ang="0">
                  <a:pos x="connsiteX2471" y="connsiteY2471"/>
                </a:cxn>
                <a:cxn ang="0">
                  <a:pos x="connsiteX2472" y="connsiteY2472"/>
                </a:cxn>
                <a:cxn ang="0">
                  <a:pos x="connsiteX2473" y="connsiteY2473"/>
                </a:cxn>
                <a:cxn ang="0">
                  <a:pos x="connsiteX2474" y="connsiteY2474"/>
                </a:cxn>
                <a:cxn ang="0">
                  <a:pos x="connsiteX2475" y="connsiteY2475"/>
                </a:cxn>
                <a:cxn ang="0">
                  <a:pos x="connsiteX2476" y="connsiteY2476"/>
                </a:cxn>
                <a:cxn ang="0">
                  <a:pos x="connsiteX2477" y="connsiteY2477"/>
                </a:cxn>
                <a:cxn ang="0">
                  <a:pos x="connsiteX2478" y="connsiteY2478"/>
                </a:cxn>
                <a:cxn ang="0">
                  <a:pos x="connsiteX2479" y="connsiteY2479"/>
                </a:cxn>
                <a:cxn ang="0">
                  <a:pos x="connsiteX2480" y="connsiteY2480"/>
                </a:cxn>
                <a:cxn ang="0">
                  <a:pos x="connsiteX2481" y="connsiteY2481"/>
                </a:cxn>
                <a:cxn ang="0">
                  <a:pos x="connsiteX2482" y="connsiteY2482"/>
                </a:cxn>
                <a:cxn ang="0">
                  <a:pos x="connsiteX2483" y="connsiteY2483"/>
                </a:cxn>
                <a:cxn ang="0">
                  <a:pos x="connsiteX2484" y="connsiteY2484"/>
                </a:cxn>
                <a:cxn ang="0">
                  <a:pos x="connsiteX2485" y="connsiteY2485"/>
                </a:cxn>
                <a:cxn ang="0">
                  <a:pos x="connsiteX2486" y="connsiteY2486"/>
                </a:cxn>
                <a:cxn ang="0">
                  <a:pos x="connsiteX2487" y="connsiteY2487"/>
                </a:cxn>
                <a:cxn ang="0">
                  <a:pos x="connsiteX2488" y="connsiteY2488"/>
                </a:cxn>
                <a:cxn ang="0">
                  <a:pos x="connsiteX2489" y="connsiteY2489"/>
                </a:cxn>
                <a:cxn ang="0">
                  <a:pos x="connsiteX2490" y="connsiteY2490"/>
                </a:cxn>
                <a:cxn ang="0">
                  <a:pos x="connsiteX2491" y="connsiteY2491"/>
                </a:cxn>
                <a:cxn ang="0">
                  <a:pos x="connsiteX2492" y="connsiteY2492"/>
                </a:cxn>
                <a:cxn ang="0">
                  <a:pos x="connsiteX2493" y="connsiteY2493"/>
                </a:cxn>
                <a:cxn ang="0">
                  <a:pos x="connsiteX2494" y="connsiteY2494"/>
                </a:cxn>
                <a:cxn ang="0">
                  <a:pos x="connsiteX2495" y="connsiteY2495"/>
                </a:cxn>
                <a:cxn ang="0">
                  <a:pos x="connsiteX2496" y="connsiteY2496"/>
                </a:cxn>
                <a:cxn ang="0">
                  <a:pos x="connsiteX2497" y="connsiteY2497"/>
                </a:cxn>
                <a:cxn ang="0">
                  <a:pos x="connsiteX2498" y="connsiteY2498"/>
                </a:cxn>
                <a:cxn ang="0">
                  <a:pos x="connsiteX2499" y="connsiteY2499"/>
                </a:cxn>
                <a:cxn ang="0">
                  <a:pos x="connsiteX2500" y="connsiteY2500"/>
                </a:cxn>
                <a:cxn ang="0">
                  <a:pos x="connsiteX2501" y="connsiteY2501"/>
                </a:cxn>
                <a:cxn ang="0">
                  <a:pos x="connsiteX2502" y="connsiteY2502"/>
                </a:cxn>
                <a:cxn ang="0">
                  <a:pos x="connsiteX2503" y="connsiteY2503"/>
                </a:cxn>
                <a:cxn ang="0">
                  <a:pos x="connsiteX2504" y="connsiteY2504"/>
                </a:cxn>
                <a:cxn ang="0">
                  <a:pos x="connsiteX2505" y="connsiteY2505"/>
                </a:cxn>
                <a:cxn ang="0">
                  <a:pos x="connsiteX2506" y="connsiteY2506"/>
                </a:cxn>
                <a:cxn ang="0">
                  <a:pos x="connsiteX2507" y="connsiteY2507"/>
                </a:cxn>
                <a:cxn ang="0">
                  <a:pos x="connsiteX2508" y="connsiteY2508"/>
                </a:cxn>
                <a:cxn ang="0">
                  <a:pos x="connsiteX2509" y="connsiteY2509"/>
                </a:cxn>
                <a:cxn ang="0">
                  <a:pos x="connsiteX2510" y="connsiteY2510"/>
                </a:cxn>
                <a:cxn ang="0">
                  <a:pos x="connsiteX2511" y="connsiteY2511"/>
                </a:cxn>
                <a:cxn ang="0">
                  <a:pos x="connsiteX2512" y="connsiteY2512"/>
                </a:cxn>
                <a:cxn ang="0">
                  <a:pos x="connsiteX2513" y="connsiteY2513"/>
                </a:cxn>
                <a:cxn ang="0">
                  <a:pos x="connsiteX2514" y="connsiteY2514"/>
                </a:cxn>
                <a:cxn ang="0">
                  <a:pos x="connsiteX2515" y="connsiteY2515"/>
                </a:cxn>
                <a:cxn ang="0">
                  <a:pos x="connsiteX2516" y="connsiteY2516"/>
                </a:cxn>
                <a:cxn ang="0">
                  <a:pos x="connsiteX2517" y="connsiteY2517"/>
                </a:cxn>
                <a:cxn ang="0">
                  <a:pos x="connsiteX2518" y="connsiteY2518"/>
                </a:cxn>
                <a:cxn ang="0">
                  <a:pos x="connsiteX2519" y="connsiteY2519"/>
                </a:cxn>
                <a:cxn ang="0">
                  <a:pos x="connsiteX2520" y="connsiteY2520"/>
                </a:cxn>
                <a:cxn ang="0">
                  <a:pos x="connsiteX2521" y="connsiteY2521"/>
                </a:cxn>
                <a:cxn ang="0">
                  <a:pos x="connsiteX2522" y="connsiteY2522"/>
                </a:cxn>
                <a:cxn ang="0">
                  <a:pos x="connsiteX2523" y="connsiteY2523"/>
                </a:cxn>
                <a:cxn ang="0">
                  <a:pos x="connsiteX2524" y="connsiteY2524"/>
                </a:cxn>
                <a:cxn ang="0">
                  <a:pos x="connsiteX2525" y="connsiteY2525"/>
                </a:cxn>
                <a:cxn ang="0">
                  <a:pos x="connsiteX2526" y="connsiteY2526"/>
                </a:cxn>
                <a:cxn ang="0">
                  <a:pos x="connsiteX2527" y="connsiteY2527"/>
                </a:cxn>
                <a:cxn ang="0">
                  <a:pos x="connsiteX2528" y="connsiteY2528"/>
                </a:cxn>
                <a:cxn ang="0">
                  <a:pos x="connsiteX2529" y="connsiteY2529"/>
                </a:cxn>
                <a:cxn ang="0">
                  <a:pos x="connsiteX2530" y="connsiteY2530"/>
                </a:cxn>
                <a:cxn ang="0">
                  <a:pos x="connsiteX2531" y="connsiteY2531"/>
                </a:cxn>
                <a:cxn ang="0">
                  <a:pos x="connsiteX2532" y="connsiteY2532"/>
                </a:cxn>
                <a:cxn ang="0">
                  <a:pos x="connsiteX2533" y="connsiteY2533"/>
                </a:cxn>
                <a:cxn ang="0">
                  <a:pos x="connsiteX2534" y="connsiteY2534"/>
                </a:cxn>
                <a:cxn ang="0">
                  <a:pos x="connsiteX2535" y="connsiteY2535"/>
                </a:cxn>
                <a:cxn ang="0">
                  <a:pos x="connsiteX2536" y="connsiteY2536"/>
                </a:cxn>
                <a:cxn ang="0">
                  <a:pos x="connsiteX2537" y="connsiteY2537"/>
                </a:cxn>
                <a:cxn ang="0">
                  <a:pos x="connsiteX2538" y="connsiteY2538"/>
                </a:cxn>
                <a:cxn ang="0">
                  <a:pos x="connsiteX2539" y="connsiteY2539"/>
                </a:cxn>
                <a:cxn ang="0">
                  <a:pos x="connsiteX2540" y="connsiteY2540"/>
                </a:cxn>
                <a:cxn ang="0">
                  <a:pos x="connsiteX2541" y="connsiteY2541"/>
                </a:cxn>
                <a:cxn ang="0">
                  <a:pos x="connsiteX2542" y="connsiteY2542"/>
                </a:cxn>
                <a:cxn ang="0">
                  <a:pos x="connsiteX2543" y="connsiteY2543"/>
                </a:cxn>
                <a:cxn ang="0">
                  <a:pos x="connsiteX2544" y="connsiteY2544"/>
                </a:cxn>
                <a:cxn ang="0">
                  <a:pos x="connsiteX2545" y="connsiteY2545"/>
                </a:cxn>
                <a:cxn ang="0">
                  <a:pos x="connsiteX2546" y="connsiteY2546"/>
                </a:cxn>
                <a:cxn ang="0">
                  <a:pos x="connsiteX2547" y="connsiteY2547"/>
                </a:cxn>
                <a:cxn ang="0">
                  <a:pos x="connsiteX2548" y="connsiteY2548"/>
                </a:cxn>
                <a:cxn ang="0">
                  <a:pos x="connsiteX2549" y="connsiteY2549"/>
                </a:cxn>
                <a:cxn ang="0">
                  <a:pos x="connsiteX2550" y="connsiteY2550"/>
                </a:cxn>
                <a:cxn ang="0">
                  <a:pos x="connsiteX2551" y="connsiteY2551"/>
                </a:cxn>
                <a:cxn ang="0">
                  <a:pos x="connsiteX2552" y="connsiteY2552"/>
                </a:cxn>
                <a:cxn ang="0">
                  <a:pos x="connsiteX2553" y="connsiteY2553"/>
                </a:cxn>
                <a:cxn ang="0">
                  <a:pos x="connsiteX2554" y="connsiteY2554"/>
                </a:cxn>
                <a:cxn ang="0">
                  <a:pos x="connsiteX2555" y="connsiteY2555"/>
                </a:cxn>
                <a:cxn ang="0">
                  <a:pos x="connsiteX2556" y="connsiteY2556"/>
                </a:cxn>
                <a:cxn ang="0">
                  <a:pos x="connsiteX2557" y="connsiteY2557"/>
                </a:cxn>
                <a:cxn ang="0">
                  <a:pos x="connsiteX2558" y="connsiteY2558"/>
                </a:cxn>
                <a:cxn ang="0">
                  <a:pos x="connsiteX2559" y="connsiteY2559"/>
                </a:cxn>
                <a:cxn ang="0">
                  <a:pos x="connsiteX2560" y="connsiteY2560"/>
                </a:cxn>
                <a:cxn ang="0">
                  <a:pos x="connsiteX2561" y="connsiteY2561"/>
                </a:cxn>
                <a:cxn ang="0">
                  <a:pos x="connsiteX2562" y="connsiteY2562"/>
                </a:cxn>
                <a:cxn ang="0">
                  <a:pos x="connsiteX2563" y="connsiteY2563"/>
                </a:cxn>
                <a:cxn ang="0">
                  <a:pos x="connsiteX2564" y="connsiteY2564"/>
                </a:cxn>
                <a:cxn ang="0">
                  <a:pos x="connsiteX2565" y="connsiteY2565"/>
                </a:cxn>
                <a:cxn ang="0">
                  <a:pos x="connsiteX2566" y="connsiteY2566"/>
                </a:cxn>
                <a:cxn ang="0">
                  <a:pos x="connsiteX2567" y="connsiteY2567"/>
                </a:cxn>
                <a:cxn ang="0">
                  <a:pos x="connsiteX2568" y="connsiteY2568"/>
                </a:cxn>
                <a:cxn ang="0">
                  <a:pos x="connsiteX2569" y="connsiteY2569"/>
                </a:cxn>
                <a:cxn ang="0">
                  <a:pos x="connsiteX2570" y="connsiteY2570"/>
                </a:cxn>
                <a:cxn ang="0">
                  <a:pos x="connsiteX2571" y="connsiteY2571"/>
                </a:cxn>
                <a:cxn ang="0">
                  <a:pos x="connsiteX2572" y="connsiteY2572"/>
                </a:cxn>
                <a:cxn ang="0">
                  <a:pos x="connsiteX2573" y="connsiteY2573"/>
                </a:cxn>
                <a:cxn ang="0">
                  <a:pos x="connsiteX2574" y="connsiteY2574"/>
                </a:cxn>
                <a:cxn ang="0">
                  <a:pos x="connsiteX2575" y="connsiteY2575"/>
                </a:cxn>
                <a:cxn ang="0">
                  <a:pos x="connsiteX2576" y="connsiteY2576"/>
                </a:cxn>
                <a:cxn ang="0">
                  <a:pos x="connsiteX2577" y="connsiteY2577"/>
                </a:cxn>
                <a:cxn ang="0">
                  <a:pos x="connsiteX2578" y="connsiteY2578"/>
                </a:cxn>
                <a:cxn ang="0">
                  <a:pos x="connsiteX2579" y="connsiteY2579"/>
                </a:cxn>
                <a:cxn ang="0">
                  <a:pos x="connsiteX2580" y="connsiteY2580"/>
                </a:cxn>
                <a:cxn ang="0">
                  <a:pos x="connsiteX2581" y="connsiteY2581"/>
                </a:cxn>
                <a:cxn ang="0">
                  <a:pos x="connsiteX2582" y="connsiteY2582"/>
                </a:cxn>
                <a:cxn ang="0">
                  <a:pos x="connsiteX2583" y="connsiteY2583"/>
                </a:cxn>
                <a:cxn ang="0">
                  <a:pos x="connsiteX2584" y="connsiteY2584"/>
                </a:cxn>
                <a:cxn ang="0">
                  <a:pos x="connsiteX2585" y="connsiteY2585"/>
                </a:cxn>
                <a:cxn ang="0">
                  <a:pos x="connsiteX2586" y="connsiteY2586"/>
                </a:cxn>
                <a:cxn ang="0">
                  <a:pos x="connsiteX2587" y="connsiteY2587"/>
                </a:cxn>
                <a:cxn ang="0">
                  <a:pos x="connsiteX2588" y="connsiteY2588"/>
                </a:cxn>
                <a:cxn ang="0">
                  <a:pos x="connsiteX2589" y="connsiteY2589"/>
                </a:cxn>
                <a:cxn ang="0">
                  <a:pos x="connsiteX2590" y="connsiteY2590"/>
                </a:cxn>
                <a:cxn ang="0">
                  <a:pos x="connsiteX2591" y="connsiteY2591"/>
                </a:cxn>
                <a:cxn ang="0">
                  <a:pos x="connsiteX2592" y="connsiteY2592"/>
                </a:cxn>
                <a:cxn ang="0">
                  <a:pos x="connsiteX2593" y="connsiteY2593"/>
                </a:cxn>
                <a:cxn ang="0">
                  <a:pos x="connsiteX2594" y="connsiteY2594"/>
                </a:cxn>
                <a:cxn ang="0">
                  <a:pos x="connsiteX2595" y="connsiteY2595"/>
                </a:cxn>
                <a:cxn ang="0">
                  <a:pos x="connsiteX2596" y="connsiteY2596"/>
                </a:cxn>
                <a:cxn ang="0">
                  <a:pos x="connsiteX2597" y="connsiteY2597"/>
                </a:cxn>
                <a:cxn ang="0">
                  <a:pos x="connsiteX2598" y="connsiteY2598"/>
                </a:cxn>
                <a:cxn ang="0">
                  <a:pos x="connsiteX2599" y="connsiteY2599"/>
                </a:cxn>
                <a:cxn ang="0">
                  <a:pos x="connsiteX2600" y="connsiteY2600"/>
                </a:cxn>
                <a:cxn ang="0">
                  <a:pos x="connsiteX2601" y="connsiteY2601"/>
                </a:cxn>
                <a:cxn ang="0">
                  <a:pos x="connsiteX2602" y="connsiteY2602"/>
                </a:cxn>
                <a:cxn ang="0">
                  <a:pos x="connsiteX2603" y="connsiteY2603"/>
                </a:cxn>
                <a:cxn ang="0">
                  <a:pos x="connsiteX2604" y="connsiteY2604"/>
                </a:cxn>
                <a:cxn ang="0">
                  <a:pos x="connsiteX2605" y="connsiteY2605"/>
                </a:cxn>
                <a:cxn ang="0">
                  <a:pos x="connsiteX2606" y="connsiteY2606"/>
                </a:cxn>
                <a:cxn ang="0">
                  <a:pos x="connsiteX2607" y="connsiteY2607"/>
                </a:cxn>
                <a:cxn ang="0">
                  <a:pos x="connsiteX2608" y="connsiteY2608"/>
                </a:cxn>
                <a:cxn ang="0">
                  <a:pos x="connsiteX2609" y="connsiteY2609"/>
                </a:cxn>
                <a:cxn ang="0">
                  <a:pos x="connsiteX2610" y="connsiteY2610"/>
                </a:cxn>
                <a:cxn ang="0">
                  <a:pos x="connsiteX2611" y="connsiteY2611"/>
                </a:cxn>
                <a:cxn ang="0">
                  <a:pos x="connsiteX2612" y="connsiteY2612"/>
                </a:cxn>
                <a:cxn ang="0">
                  <a:pos x="connsiteX2613" y="connsiteY2613"/>
                </a:cxn>
                <a:cxn ang="0">
                  <a:pos x="connsiteX2614" y="connsiteY2614"/>
                </a:cxn>
                <a:cxn ang="0">
                  <a:pos x="connsiteX2615" y="connsiteY2615"/>
                </a:cxn>
                <a:cxn ang="0">
                  <a:pos x="connsiteX2616" y="connsiteY2616"/>
                </a:cxn>
                <a:cxn ang="0">
                  <a:pos x="connsiteX2617" y="connsiteY2617"/>
                </a:cxn>
                <a:cxn ang="0">
                  <a:pos x="connsiteX2618" y="connsiteY2618"/>
                </a:cxn>
                <a:cxn ang="0">
                  <a:pos x="connsiteX2619" y="connsiteY2619"/>
                </a:cxn>
                <a:cxn ang="0">
                  <a:pos x="connsiteX2620" y="connsiteY2620"/>
                </a:cxn>
                <a:cxn ang="0">
                  <a:pos x="connsiteX2621" y="connsiteY2621"/>
                </a:cxn>
                <a:cxn ang="0">
                  <a:pos x="connsiteX2622" y="connsiteY2622"/>
                </a:cxn>
                <a:cxn ang="0">
                  <a:pos x="connsiteX2623" y="connsiteY2623"/>
                </a:cxn>
                <a:cxn ang="0">
                  <a:pos x="connsiteX2624" y="connsiteY2624"/>
                </a:cxn>
                <a:cxn ang="0">
                  <a:pos x="connsiteX2625" y="connsiteY2625"/>
                </a:cxn>
                <a:cxn ang="0">
                  <a:pos x="connsiteX2626" y="connsiteY2626"/>
                </a:cxn>
                <a:cxn ang="0">
                  <a:pos x="connsiteX2627" y="connsiteY2627"/>
                </a:cxn>
                <a:cxn ang="0">
                  <a:pos x="connsiteX2628" y="connsiteY2628"/>
                </a:cxn>
                <a:cxn ang="0">
                  <a:pos x="connsiteX2629" y="connsiteY2629"/>
                </a:cxn>
                <a:cxn ang="0">
                  <a:pos x="connsiteX2630" y="connsiteY2630"/>
                </a:cxn>
                <a:cxn ang="0">
                  <a:pos x="connsiteX2631" y="connsiteY2631"/>
                </a:cxn>
                <a:cxn ang="0">
                  <a:pos x="connsiteX2632" y="connsiteY2632"/>
                </a:cxn>
                <a:cxn ang="0">
                  <a:pos x="connsiteX2633" y="connsiteY2633"/>
                </a:cxn>
                <a:cxn ang="0">
                  <a:pos x="connsiteX2634" y="connsiteY2634"/>
                </a:cxn>
                <a:cxn ang="0">
                  <a:pos x="connsiteX2635" y="connsiteY2635"/>
                </a:cxn>
                <a:cxn ang="0">
                  <a:pos x="connsiteX2636" y="connsiteY2636"/>
                </a:cxn>
                <a:cxn ang="0">
                  <a:pos x="connsiteX2637" y="connsiteY2637"/>
                </a:cxn>
                <a:cxn ang="0">
                  <a:pos x="connsiteX2638" y="connsiteY2638"/>
                </a:cxn>
                <a:cxn ang="0">
                  <a:pos x="connsiteX2639" y="connsiteY2639"/>
                </a:cxn>
                <a:cxn ang="0">
                  <a:pos x="connsiteX2640" y="connsiteY2640"/>
                </a:cxn>
                <a:cxn ang="0">
                  <a:pos x="connsiteX2641" y="connsiteY2641"/>
                </a:cxn>
                <a:cxn ang="0">
                  <a:pos x="connsiteX2642" y="connsiteY2642"/>
                </a:cxn>
                <a:cxn ang="0">
                  <a:pos x="connsiteX2643" y="connsiteY2643"/>
                </a:cxn>
                <a:cxn ang="0">
                  <a:pos x="connsiteX2644" y="connsiteY2644"/>
                </a:cxn>
                <a:cxn ang="0">
                  <a:pos x="connsiteX2645" y="connsiteY2645"/>
                </a:cxn>
                <a:cxn ang="0">
                  <a:pos x="connsiteX2646" y="connsiteY2646"/>
                </a:cxn>
                <a:cxn ang="0">
                  <a:pos x="connsiteX2647" y="connsiteY2647"/>
                </a:cxn>
                <a:cxn ang="0">
                  <a:pos x="connsiteX2648" y="connsiteY2648"/>
                </a:cxn>
                <a:cxn ang="0">
                  <a:pos x="connsiteX2649" y="connsiteY2649"/>
                </a:cxn>
                <a:cxn ang="0">
                  <a:pos x="connsiteX2650" y="connsiteY2650"/>
                </a:cxn>
                <a:cxn ang="0">
                  <a:pos x="connsiteX2651" y="connsiteY2651"/>
                </a:cxn>
                <a:cxn ang="0">
                  <a:pos x="connsiteX2652" y="connsiteY2652"/>
                </a:cxn>
                <a:cxn ang="0">
                  <a:pos x="connsiteX2653" y="connsiteY2653"/>
                </a:cxn>
                <a:cxn ang="0">
                  <a:pos x="connsiteX2654" y="connsiteY2654"/>
                </a:cxn>
                <a:cxn ang="0">
                  <a:pos x="connsiteX2655" y="connsiteY2655"/>
                </a:cxn>
                <a:cxn ang="0">
                  <a:pos x="connsiteX2656" y="connsiteY2656"/>
                </a:cxn>
                <a:cxn ang="0">
                  <a:pos x="connsiteX2657" y="connsiteY2657"/>
                </a:cxn>
                <a:cxn ang="0">
                  <a:pos x="connsiteX2658" y="connsiteY2658"/>
                </a:cxn>
                <a:cxn ang="0">
                  <a:pos x="connsiteX2659" y="connsiteY2659"/>
                </a:cxn>
                <a:cxn ang="0">
                  <a:pos x="connsiteX2660" y="connsiteY2660"/>
                </a:cxn>
                <a:cxn ang="0">
                  <a:pos x="connsiteX2661" y="connsiteY2661"/>
                </a:cxn>
                <a:cxn ang="0">
                  <a:pos x="connsiteX2662" y="connsiteY2662"/>
                </a:cxn>
                <a:cxn ang="0">
                  <a:pos x="connsiteX2663" y="connsiteY2663"/>
                </a:cxn>
                <a:cxn ang="0">
                  <a:pos x="connsiteX2664" y="connsiteY2664"/>
                </a:cxn>
                <a:cxn ang="0">
                  <a:pos x="connsiteX2665" y="connsiteY2665"/>
                </a:cxn>
                <a:cxn ang="0">
                  <a:pos x="connsiteX2666" y="connsiteY2666"/>
                </a:cxn>
                <a:cxn ang="0">
                  <a:pos x="connsiteX2667" y="connsiteY2667"/>
                </a:cxn>
                <a:cxn ang="0">
                  <a:pos x="connsiteX2668" y="connsiteY2668"/>
                </a:cxn>
                <a:cxn ang="0">
                  <a:pos x="connsiteX2669" y="connsiteY2669"/>
                </a:cxn>
                <a:cxn ang="0">
                  <a:pos x="connsiteX2670" y="connsiteY2670"/>
                </a:cxn>
                <a:cxn ang="0">
                  <a:pos x="connsiteX2671" y="connsiteY2671"/>
                </a:cxn>
                <a:cxn ang="0">
                  <a:pos x="connsiteX2672" y="connsiteY2672"/>
                </a:cxn>
                <a:cxn ang="0">
                  <a:pos x="connsiteX2673" y="connsiteY2673"/>
                </a:cxn>
                <a:cxn ang="0">
                  <a:pos x="connsiteX2674" y="connsiteY2674"/>
                </a:cxn>
                <a:cxn ang="0">
                  <a:pos x="connsiteX2675" y="connsiteY2675"/>
                </a:cxn>
                <a:cxn ang="0">
                  <a:pos x="connsiteX2676" y="connsiteY2676"/>
                </a:cxn>
                <a:cxn ang="0">
                  <a:pos x="connsiteX2677" y="connsiteY2677"/>
                </a:cxn>
                <a:cxn ang="0">
                  <a:pos x="connsiteX2678" y="connsiteY2678"/>
                </a:cxn>
                <a:cxn ang="0">
                  <a:pos x="connsiteX2679" y="connsiteY2679"/>
                </a:cxn>
                <a:cxn ang="0">
                  <a:pos x="connsiteX2680" y="connsiteY2680"/>
                </a:cxn>
                <a:cxn ang="0">
                  <a:pos x="connsiteX2681" y="connsiteY2681"/>
                </a:cxn>
                <a:cxn ang="0">
                  <a:pos x="connsiteX2682" y="connsiteY2682"/>
                </a:cxn>
                <a:cxn ang="0">
                  <a:pos x="connsiteX2683" y="connsiteY2683"/>
                </a:cxn>
                <a:cxn ang="0">
                  <a:pos x="connsiteX2684" y="connsiteY2684"/>
                </a:cxn>
                <a:cxn ang="0">
                  <a:pos x="connsiteX2685" y="connsiteY2685"/>
                </a:cxn>
                <a:cxn ang="0">
                  <a:pos x="connsiteX2686" y="connsiteY2686"/>
                </a:cxn>
                <a:cxn ang="0">
                  <a:pos x="connsiteX2687" y="connsiteY2687"/>
                </a:cxn>
                <a:cxn ang="0">
                  <a:pos x="connsiteX2688" y="connsiteY2688"/>
                </a:cxn>
                <a:cxn ang="0">
                  <a:pos x="connsiteX2689" y="connsiteY2689"/>
                </a:cxn>
                <a:cxn ang="0">
                  <a:pos x="connsiteX2690" y="connsiteY2690"/>
                </a:cxn>
                <a:cxn ang="0">
                  <a:pos x="connsiteX2691" y="connsiteY2691"/>
                </a:cxn>
                <a:cxn ang="0">
                  <a:pos x="connsiteX2692" y="connsiteY2692"/>
                </a:cxn>
                <a:cxn ang="0">
                  <a:pos x="connsiteX2693" y="connsiteY2693"/>
                </a:cxn>
                <a:cxn ang="0">
                  <a:pos x="connsiteX2694" y="connsiteY2694"/>
                </a:cxn>
                <a:cxn ang="0">
                  <a:pos x="connsiteX2695" y="connsiteY2695"/>
                </a:cxn>
                <a:cxn ang="0">
                  <a:pos x="connsiteX2696" y="connsiteY2696"/>
                </a:cxn>
                <a:cxn ang="0">
                  <a:pos x="connsiteX2697" y="connsiteY2697"/>
                </a:cxn>
                <a:cxn ang="0">
                  <a:pos x="connsiteX2698" y="connsiteY2698"/>
                </a:cxn>
                <a:cxn ang="0">
                  <a:pos x="connsiteX2699" y="connsiteY2699"/>
                </a:cxn>
                <a:cxn ang="0">
                  <a:pos x="connsiteX2700" y="connsiteY2700"/>
                </a:cxn>
                <a:cxn ang="0">
                  <a:pos x="connsiteX2701" y="connsiteY2701"/>
                </a:cxn>
                <a:cxn ang="0">
                  <a:pos x="connsiteX2702" y="connsiteY2702"/>
                </a:cxn>
                <a:cxn ang="0">
                  <a:pos x="connsiteX2703" y="connsiteY2703"/>
                </a:cxn>
                <a:cxn ang="0">
                  <a:pos x="connsiteX2704" y="connsiteY2704"/>
                </a:cxn>
                <a:cxn ang="0">
                  <a:pos x="connsiteX2705" y="connsiteY2705"/>
                </a:cxn>
                <a:cxn ang="0">
                  <a:pos x="connsiteX2706" y="connsiteY2706"/>
                </a:cxn>
                <a:cxn ang="0">
                  <a:pos x="connsiteX2707" y="connsiteY2707"/>
                </a:cxn>
                <a:cxn ang="0">
                  <a:pos x="connsiteX2708" y="connsiteY2708"/>
                </a:cxn>
                <a:cxn ang="0">
                  <a:pos x="connsiteX2709" y="connsiteY2709"/>
                </a:cxn>
                <a:cxn ang="0">
                  <a:pos x="connsiteX2710" y="connsiteY2710"/>
                </a:cxn>
                <a:cxn ang="0">
                  <a:pos x="connsiteX2711" y="connsiteY2711"/>
                </a:cxn>
                <a:cxn ang="0">
                  <a:pos x="connsiteX2712" y="connsiteY2712"/>
                </a:cxn>
                <a:cxn ang="0">
                  <a:pos x="connsiteX2713" y="connsiteY2713"/>
                </a:cxn>
                <a:cxn ang="0">
                  <a:pos x="connsiteX2714" y="connsiteY2714"/>
                </a:cxn>
                <a:cxn ang="0">
                  <a:pos x="connsiteX2715" y="connsiteY2715"/>
                </a:cxn>
                <a:cxn ang="0">
                  <a:pos x="connsiteX2716" y="connsiteY2716"/>
                </a:cxn>
                <a:cxn ang="0">
                  <a:pos x="connsiteX2717" y="connsiteY2717"/>
                </a:cxn>
                <a:cxn ang="0">
                  <a:pos x="connsiteX2718" y="connsiteY2718"/>
                </a:cxn>
                <a:cxn ang="0">
                  <a:pos x="connsiteX2719" y="connsiteY2719"/>
                </a:cxn>
                <a:cxn ang="0">
                  <a:pos x="connsiteX2720" y="connsiteY2720"/>
                </a:cxn>
                <a:cxn ang="0">
                  <a:pos x="connsiteX2721" y="connsiteY2721"/>
                </a:cxn>
                <a:cxn ang="0">
                  <a:pos x="connsiteX2722" y="connsiteY2722"/>
                </a:cxn>
                <a:cxn ang="0">
                  <a:pos x="connsiteX2723" y="connsiteY2723"/>
                </a:cxn>
                <a:cxn ang="0">
                  <a:pos x="connsiteX2724" y="connsiteY2724"/>
                </a:cxn>
                <a:cxn ang="0">
                  <a:pos x="connsiteX2725" y="connsiteY2725"/>
                </a:cxn>
                <a:cxn ang="0">
                  <a:pos x="connsiteX2726" y="connsiteY2726"/>
                </a:cxn>
                <a:cxn ang="0">
                  <a:pos x="connsiteX2727" y="connsiteY2727"/>
                </a:cxn>
                <a:cxn ang="0">
                  <a:pos x="connsiteX2728" y="connsiteY2728"/>
                </a:cxn>
                <a:cxn ang="0">
                  <a:pos x="connsiteX2729" y="connsiteY2729"/>
                </a:cxn>
                <a:cxn ang="0">
                  <a:pos x="connsiteX2730" y="connsiteY2730"/>
                </a:cxn>
                <a:cxn ang="0">
                  <a:pos x="connsiteX2731" y="connsiteY2731"/>
                </a:cxn>
                <a:cxn ang="0">
                  <a:pos x="connsiteX2732" y="connsiteY2732"/>
                </a:cxn>
                <a:cxn ang="0">
                  <a:pos x="connsiteX2733" y="connsiteY2733"/>
                </a:cxn>
                <a:cxn ang="0">
                  <a:pos x="connsiteX2734" y="connsiteY2734"/>
                </a:cxn>
                <a:cxn ang="0">
                  <a:pos x="connsiteX2735" y="connsiteY2735"/>
                </a:cxn>
                <a:cxn ang="0">
                  <a:pos x="connsiteX2736" y="connsiteY2736"/>
                </a:cxn>
                <a:cxn ang="0">
                  <a:pos x="connsiteX2737" y="connsiteY2737"/>
                </a:cxn>
                <a:cxn ang="0">
                  <a:pos x="connsiteX2738" y="connsiteY2738"/>
                </a:cxn>
                <a:cxn ang="0">
                  <a:pos x="connsiteX2739" y="connsiteY2739"/>
                </a:cxn>
                <a:cxn ang="0">
                  <a:pos x="connsiteX2740" y="connsiteY2740"/>
                </a:cxn>
                <a:cxn ang="0">
                  <a:pos x="connsiteX2741" y="connsiteY2741"/>
                </a:cxn>
                <a:cxn ang="0">
                  <a:pos x="connsiteX2742" y="connsiteY2742"/>
                </a:cxn>
                <a:cxn ang="0">
                  <a:pos x="connsiteX2743" y="connsiteY2743"/>
                </a:cxn>
                <a:cxn ang="0">
                  <a:pos x="connsiteX2744" y="connsiteY2744"/>
                </a:cxn>
                <a:cxn ang="0">
                  <a:pos x="connsiteX2745" y="connsiteY2745"/>
                </a:cxn>
                <a:cxn ang="0">
                  <a:pos x="connsiteX2746" y="connsiteY2746"/>
                </a:cxn>
                <a:cxn ang="0">
                  <a:pos x="connsiteX2747" y="connsiteY2747"/>
                </a:cxn>
                <a:cxn ang="0">
                  <a:pos x="connsiteX2748" y="connsiteY2748"/>
                </a:cxn>
                <a:cxn ang="0">
                  <a:pos x="connsiteX2749" y="connsiteY2749"/>
                </a:cxn>
                <a:cxn ang="0">
                  <a:pos x="connsiteX2750" y="connsiteY2750"/>
                </a:cxn>
                <a:cxn ang="0">
                  <a:pos x="connsiteX2751" y="connsiteY2751"/>
                </a:cxn>
                <a:cxn ang="0">
                  <a:pos x="connsiteX2752" y="connsiteY2752"/>
                </a:cxn>
                <a:cxn ang="0">
                  <a:pos x="connsiteX2753" y="connsiteY2753"/>
                </a:cxn>
                <a:cxn ang="0">
                  <a:pos x="connsiteX2754" y="connsiteY2754"/>
                </a:cxn>
                <a:cxn ang="0">
                  <a:pos x="connsiteX2755" y="connsiteY2755"/>
                </a:cxn>
                <a:cxn ang="0">
                  <a:pos x="connsiteX2756" y="connsiteY2756"/>
                </a:cxn>
                <a:cxn ang="0">
                  <a:pos x="connsiteX2757" y="connsiteY2757"/>
                </a:cxn>
                <a:cxn ang="0">
                  <a:pos x="connsiteX2758" y="connsiteY2758"/>
                </a:cxn>
                <a:cxn ang="0">
                  <a:pos x="connsiteX2759" y="connsiteY2759"/>
                </a:cxn>
                <a:cxn ang="0">
                  <a:pos x="connsiteX2760" y="connsiteY2760"/>
                </a:cxn>
                <a:cxn ang="0">
                  <a:pos x="connsiteX2761" y="connsiteY2761"/>
                </a:cxn>
                <a:cxn ang="0">
                  <a:pos x="connsiteX2762" y="connsiteY2762"/>
                </a:cxn>
                <a:cxn ang="0">
                  <a:pos x="connsiteX2763" y="connsiteY2763"/>
                </a:cxn>
                <a:cxn ang="0">
                  <a:pos x="connsiteX2764" y="connsiteY2764"/>
                </a:cxn>
                <a:cxn ang="0">
                  <a:pos x="connsiteX2765" y="connsiteY2765"/>
                </a:cxn>
                <a:cxn ang="0">
                  <a:pos x="connsiteX2766" y="connsiteY2766"/>
                </a:cxn>
                <a:cxn ang="0">
                  <a:pos x="connsiteX2767" y="connsiteY2767"/>
                </a:cxn>
                <a:cxn ang="0">
                  <a:pos x="connsiteX2768" y="connsiteY2768"/>
                </a:cxn>
                <a:cxn ang="0">
                  <a:pos x="connsiteX2769" y="connsiteY2769"/>
                </a:cxn>
                <a:cxn ang="0">
                  <a:pos x="connsiteX2770" y="connsiteY2770"/>
                </a:cxn>
                <a:cxn ang="0">
                  <a:pos x="connsiteX2771" y="connsiteY2771"/>
                </a:cxn>
                <a:cxn ang="0">
                  <a:pos x="connsiteX2772" y="connsiteY2772"/>
                </a:cxn>
                <a:cxn ang="0">
                  <a:pos x="connsiteX2773" y="connsiteY2773"/>
                </a:cxn>
                <a:cxn ang="0">
                  <a:pos x="connsiteX2774" y="connsiteY2774"/>
                </a:cxn>
                <a:cxn ang="0">
                  <a:pos x="connsiteX2775" y="connsiteY2775"/>
                </a:cxn>
                <a:cxn ang="0">
                  <a:pos x="connsiteX2776" y="connsiteY2776"/>
                </a:cxn>
                <a:cxn ang="0">
                  <a:pos x="connsiteX2777" y="connsiteY2777"/>
                </a:cxn>
                <a:cxn ang="0">
                  <a:pos x="connsiteX2778" y="connsiteY2778"/>
                </a:cxn>
                <a:cxn ang="0">
                  <a:pos x="connsiteX2779" y="connsiteY2779"/>
                </a:cxn>
                <a:cxn ang="0">
                  <a:pos x="connsiteX2780" y="connsiteY2780"/>
                </a:cxn>
                <a:cxn ang="0">
                  <a:pos x="connsiteX2781" y="connsiteY2781"/>
                </a:cxn>
                <a:cxn ang="0">
                  <a:pos x="connsiteX2782" y="connsiteY2782"/>
                </a:cxn>
                <a:cxn ang="0">
                  <a:pos x="connsiteX2783" y="connsiteY2783"/>
                </a:cxn>
                <a:cxn ang="0">
                  <a:pos x="connsiteX2784" y="connsiteY2784"/>
                </a:cxn>
                <a:cxn ang="0">
                  <a:pos x="connsiteX2785" y="connsiteY2785"/>
                </a:cxn>
                <a:cxn ang="0">
                  <a:pos x="connsiteX2786" y="connsiteY2786"/>
                </a:cxn>
                <a:cxn ang="0">
                  <a:pos x="connsiteX2787" y="connsiteY2787"/>
                </a:cxn>
                <a:cxn ang="0">
                  <a:pos x="connsiteX2788" y="connsiteY2788"/>
                </a:cxn>
                <a:cxn ang="0">
                  <a:pos x="connsiteX2789" y="connsiteY2789"/>
                </a:cxn>
                <a:cxn ang="0">
                  <a:pos x="connsiteX2790" y="connsiteY2790"/>
                </a:cxn>
                <a:cxn ang="0">
                  <a:pos x="connsiteX2791" y="connsiteY2791"/>
                </a:cxn>
                <a:cxn ang="0">
                  <a:pos x="connsiteX2792" y="connsiteY2792"/>
                </a:cxn>
                <a:cxn ang="0">
                  <a:pos x="connsiteX2793" y="connsiteY2793"/>
                </a:cxn>
                <a:cxn ang="0">
                  <a:pos x="connsiteX2794" y="connsiteY2794"/>
                </a:cxn>
                <a:cxn ang="0">
                  <a:pos x="connsiteX2795" y="connsiteY2795"/>
                </a:cxn>
                <a:cxn ang="0">
                  <a:pos x="connsiteX2796" y="connsiteY2796"/>
                </a:cxn>
                <a:cxn ang="0">
                  <a:pos x="connsiteX2797" y="connsiteY2797"/>
                </a:cxn>
                <a:cxn ang="0">
                  <a:pos x="connsiteX2798" y="connsiteY2798"/>
                </a:cxn>
                <a:cxn ang="0">
                  <a:pos x="connsiteX2799" y="connsiteY2799"/>
                </a:cxn>
                <a:cxn ang="0">
                  <a:pos x="connsiteX2800" y="connsiteY2800"/>
                </a:cxn>
                <a:cxn ang="0">
                  <a:pos x="connsiteX2801" y="connsiteY2801"/>
                </a:cxn>
                <a:cxn ang="0">
                  <a:pos x="connsiteX2802" y="connsiteY2802"/>
                </a:cxn>
                <a:cxn ang="0">
                  <a:pos x="connsiteX2803" y="connsiteY2803"/>
                </a:cxn>
                <a:cxn ang="0">
                  <a:pos x="connsiteX2804" y="connsiteY2804"/>
                </a:cxn>
                <a:cxn ang="0">
                  <a:pos x="connsiteX2805" y="connsiteY2805"/>
                </a:cxn>
                <a:cxn ang="0">
                  <a:pos x="connsiteX2806" y="connsiteY2806"/>
                </a:cxn>
                <a:cxn ang="0">
                  <a:pos x="connsiteX2807" y="connsiteY2807"/>
                </a:cxn>
                <a:cxn ang="0">
                  <a:pos x="connsiteX2808" y="connsiteY2808"/>
                </a:cxn>
                <a:cxn ang="0">
                  <a:pos x="connsiteX2809" y="connsiteY2809"/>
                </a:cxn>
                <a:cxn ang="0">
                  <a:pos x="connsiteX2810" y="connsiteY2810"/>
                </a:cxn>
                <a:cxn ang="0">
                  <a:pos x="connsiteX2811" y="connsiteY2811"/>
                </a:cxn>
                <a:cxn ang="0">
                  <a:pos x="connsiteX2812" y="connsiteY2812"/>
                </a:cxn>
                <a:cxn ang="0">
                  <a:pos x="connsiteX2813" y="connsiteY2813"/>
                </a:cxn>
                <a:cxn ang="0">
                  <a:pos x="connsiteX2814" y="connsiteY2814"/>
                </a:cxn>
                <a:cxn ang="0">
                  <a:pos x="connsiteX2815" y="connsiteY2815"/>
                </a:cxn>
                <a:cxn ang="0">
                  <a:pos x="connsiteX2816" y="connsiteY2816"/>
                </a:cxn>
                <a:cxn ang="0">
                  <a:pos x="connsiteX2817" y="connsiteY2817"/>
                </a:cxn>
                <a:cxn ang="0">
                  <a:pos x="connsiteX2818" y="connsiteY2818"/>
                </a:cxn>
                <a:cxn ang="0">
                  <a:pos x="connsiteX2819" y="connsiteY2819"/>
                </a:cxn>
                <a:cxn ang="0">
                  <a:pos x="connsiteX2820" y="connsiteY2820"/>
                </a:cxn>
                <a:cxn ang="0">
                  <a:pos x="connsiteX2821" y="connsiteY2821"/>
                </a:cxn>
                <a:cxn ang="0">
                  <a:pos x="connsiteX2822" y="connsiteY2822"/>
                </a:cxn>
                <a:cxn ang="0">
                  <a:pos x="connsiteX2823" y="connsiteY2823"/>
                </a:cxn>
                <a:cxn ang="0">
                  <a:pos x="connsiteX2824" y="connsiteY2824"/>
                </a:cxn>
                <a:cxn ang="0">
                  <a:pos x="connsiteX2825" y="connsiteY2825"/>
                </a:cxn>
                <a:cxn ang="0">
                  <a:pos x="connsiteX2826" y="connsiteY2826"/>
                </a:cxn>
                <a:cxn ang="0">
                  <a:pos x="connsiteX2827" y="connsiteY2827"/>
                </a:cxn>
                <a:cxn ang="0">
                  <a:pos x="connsiteX2828" y="connsiteY2828"/>
                </a:cxn>
                <a:cxn ang="0">
                  <a:pos x="connsiteX2829" y="connsiteY2829"/>
                </a:cxn>
                <a:cxn ang="0">
                  <a:pos x="connsiteX2830" y="connsiteY2830"/>
                </a:cxn>
                <a:cxn ang="0">
                  <a:pos x="connsiteX2831" y="connsiteY2831"/>
                </a:cxn>
                <a:cxn ang="0">
                  <a:pos x="connsiteX2832" y="connsiteY2832"/>
                </a:cxn>
                <a:cxn ang="0">
                  <a:pos x="connsiteX2833" y="connsiteY2833"/>
                </a:cxn>
                <a:cxn ang="0">
                  <a:pos x="connsiteX2834" y="connsiteY2834"/>
                </a:cxn>
                <a:cxn ang="0">
                  <a:pos x="connsiteX2835" y="connsiteY2835"/>
                </a:cxn>
                <a:cxn ang="0">
                  <a:pos x="connsiteX2836" y="connsiteY2836"/>
                </a:cxn>
                <a:cxn ang="0">
                  <a:pos x="connsiteX2837" y="connsiteY2837"/>
                </a:cxn>
                <a:cxn ang="0">
                  <a:pos x="connsiteX2838" y="connsiteY2838"/>
                </a:cxn>
                <a:cxn ang="0">
                  <a:pos x="connsiteX2839" y="connsiteY2839"/>
                </a:cxn>
                <a:cxn ang="0">
                  <a:pos x="connsiteX2840" y="connsiteY2840"/>
                </a:cxn>
                <a:cxn ang="0">
                  <a:pos x="connsiteX2841" y="connsiteY2841"/>
                </a:cxn>
                <a:cxn ang="0">
                  <a:pos x="connsiteX2842" y="connsiteY2842"/>
                </a:cxn>
                <a:cxn ang="0">
                  <a:pos x="connsiteX2843" y="connsiteY2843"/>
                </a:cxn>
                <a:cxn ang="0">
                  <a:pos x="connsiteX2844" y="connsiteY2844"/>
                </a:cxn>
                <a:cxn ang="0">
                  <a:pos x="connsiteX2845" y="connsiteY2845"/>
                </a:cxn>
                <a:cxn ang="0">
                  <a:pos x="connsiteX2846" y="connsiteY2846"/>
                </a:cxn>
                <a:cxn ang="0">
                  <a:pos x="connsiteX2847" y="connsiteY2847"/>
                </a:cxn>
                <a:cxn ang="0">
                  <a:pos x="connsiteX2848" y="connsiteY2848"/>
                </a:cxn>
                <a:cxn ang="0">
                  <a:pos x="connsiteX2849" y="connsiteY2849"/>
                </a:cxn>
                <a:cxn ang="0">
                  <a:pos x="connsiteX2850" y="connsiteY2850"/>
                </a:cxn>
                <a:cxn ang="0">
                  <a:pos x="connsiteX2851" y="connsiteY2851"/>
                </a:cxn>
                <a:cxn ang="0">
                  <a:pos x="connsiteX2852" y="connsiteY2852"/>
                </a:cxn>
                <a:cxn ang="0">
                  <a:pos x="connsiteX2853" y="connsiteY2853"/>
                </a:cxn>
                <a:cxn ang="0">
                  <a:pos x="connsiteX2854" y="connsiteY2854"/>
                </a:cxn>
                <a:cxn ang="0">
                  <a:pos x="connsiteX2855" y="connsiteY2855"/>
                </a:cxn>
                <a:cxn ang="0">
                  <a:pos x="connsiteX2856" y="connsiteY2856"/>
                </a:cxn>
                <a:cxn ang="0">
                  <a:pos x="connsiteX2857" y="connsiteY2857"/>
                </a:cxn>
                <a:cxn ang="0">
                  <a:pos x="connsiteX2858" y="connsiteY2858"/>
                </a:cxn>
                <a:cxn ang="0">
                  <a:pos x="connsiteX2859" y="connsiteY2859"/>
                </a:cxn>
                <a:cxn ang="0">
                  <a:pos x="connsiteX2860" y="connsiteY2860"/>
                </a:cxn>
                <a:cxn ang="0">
                  <a:pos x="connsiteX2861" y="connsiteY2861"/>
                </a:cxn>
                <a:cxn ang="0">
                  <a:pos x="connsiteX2862" y="connsiteY2862"/>
                </a:cxn>
                <a:cxn ang="0">
                  <a:pos x="connsiteX2863" y="connsiteY2863"/>
                </a:cxn>
                <a:cxn ang="0">
                  <a:pos x="connsiteX2864" y="connsiteY2864"/>
                </a:cxn>
                <a:cxn ang="0">
                  <a:pos x="connsiteX2865" y="connsiteY2865"/>
                </a:cxn>
                <a:cxn ang="0">
                  <a:pos x="connsiteX2866" y="connsiteY2866"/>
                </a:cxn>
                <a:cxn ang="0">
                  <a:pos x="connsiteX2867" y="connsiteY2867"/>
                </a:cxn>
                <a:cxn ang="0">
                  <a:pos x="connsiteX2868" y="connsiteY2868"/>
                </a:cxn>
                <a:cxn ang="0">
                  <a:pos x="connsiteX2869" y="connsiteY2869"/>
                </a:cxn>
                <a:cxn ang="0">
                  <a:pos x="connsiteX2870" y="connsiteY2870"/>
                </a:cxn>
                <a:cxn ang="0">
                  <a:pos x="connsiteX2871" y="connsiteY2871"/>
                </a:cxn>
                <a:cxn ang="0">
                  <a:pos x="connsiteX2872" y="connsiteY2872"/>
                </a:cxn>
                <a:cxn ang="0">
                  <a:pos x="connsiteX2873" y="connsiteY2873"/>
                </a:cxn>
                <a:cxn ang="0">
                  <a:pos x="connsiteX2874" y="connsiteY2874"/>
                </a:cxn>
                <a:cxn ang="0">
                  <a:pos x="connsiteX2875" y="connsiteY2875"/>
                </a:cxn>
                <a:cxn ang="0">
                  <a:pos x="connsiteX2876" y="connsiteY2876"/>
                </a:cxn>
                <a:cxn ang="0">
                  <a:pos x="connsiteX2877" y="connsiteY2877"/>
                </a:cxn>
                <a:cxn ang="0">
                  <a:pos x="connsiteX2878" y="connsiteY2878"/>
                </a:cxn>
                <a:cxn ang="0">
                  <a:pos x="connsiteX2879" y="connsiteY2879"/>
                </a:cxn>
                <a:cxn ang="0">
                  <a:pos x="connsiteX2880" y="connsiteY2880"/>
                </a:cxn>
                <a:cxn ang="0">
                  <a:pos x="connsiteX2881" y="connsiteY2881"/>
                </a:cxn>
                <a:cxn ang="0">
                  <a:pos x="connsiteX2882" y="connsiteY2882"/>
                </a:cxn>
                <a:cxn ang="0">
                  <a:pos x="connsiteX2883" y="connsiteY2883"/>
                </a:cxn>
                <a:cxn ang="0">
                  <a:pos x="connsiteX2884" y="connsiteY2884"/>
                </a:cxn>
                <a:cxn ang="0">
                  <a:pos x="connsiteX2885" y="connsiteY2885"/>
                </a:cxn>
                <a:cxn ang="0">
                  <a:pos x="connsiteX2886" y="connsiteY2886"/>
                </a:cxn>
                <a:cxn ang="0">
                  <a:pos x="connsiteX2887" y="connsiteY2887"/>
                </a:cxn>
                <a:cxn ang="0">
                  <a:pos x="connsiteX2888" y="connsiteY2888"/>
                </a:cxn>
                <a:cxn ang="0">
                  <a:pos x="connsiteX2889" y="connsiteY2889"/>
                </a:cxn>
                <a:cxn ang="0">
                  <a:pos x="connsiteX2890" y="connsiteY2890"/>
                </a:cxn>
                <a:cxn ang="0">
                  <a:pos x="connsiteX2891" y="connsiteY2891"/>
                </a:cxn>
                <a:cxn ang="0">
                  <a:pos x="connsiteX2892" y="connsiteY2892"/>
                </a:cxn>
                <a:cxn ang="0">
                  <a:pos x="connsiteX2893" y="connsiteY2893"/>
                </a:cxn>
                <a:cxn ang="0">
                  <a:pos x="connsiteX2894" y="connsiteY2894"/>
                </a:cxn>
                <a:cxn ang="0">
                  <a:pos x="connsiteX2895" y="connsiteY2895"/>
                </a:cxn>
                <a:cxn ang="0">
                  <a:pos x="connsiteX2896" y="connsiteY2896"/>
                </a:cxn>
                <a:cxn ang="0">
                  <a:pos x="connsiteX2897" y="connsiteY2897"/>
                </a:cxn>
                <a:cxn ang="0">
                  <a:pos x="connsiteX2898" y="connsiteY2898"/>
                </a:cxn>
                <a:cxn ang="0">
                  <a:pos x="connsiteX2899" y="connsiteY2899"/>
                </a:cxn>
                <a:cxn ang="0">
                  <a:pos x="connsiteX2900" y="connsiteY2900"/>
                </a:cxn>
                <a:cxn ang="0">
                  <a:pos x="connsiteX2901" y="connsiteY2901"/>
                </a:cxn>
                <a:cxn ang="0">
                  <a:pos x="connsiteX2902" y="connsiteY2902"/>
                </a:cxn>
                <a:cxn ang="0">
                  <a:pos x="connsiteX2903" y="connsiteY2903"/>
                </a:cxn>
                <a:cxn ang="0">
                  <a:pos x="connsiteX2904" y="connsiteY2904"/>
                </a:cxn>
                <a:cxn ang="0">
                  <a:pos x="connsiteX2905" y="connsiteY2905"/>
                </a:cxn>
                <a:cxn ang="0">
                  <a:pos x="connsiteX2906" y="connsiteY2906"/>
                </a:cxn>
                <a:cxn ang="0">
                  <a:pos x="connsiteX2907" y="connsiteY2907"/>
                </a:cxn>
                <a:cxn ang="0">
                  <a:pos x="connsiteX2908" y="connsiteY2908"/>
                </a:cxn>
                <a:cxn ang="0">
                  <a:pos x="connsiteX2909" y="connsiteY2909"/>
                </a:cxn>
                <a:cxn ang="0">
                  <a:pos x="connsiteX2910" y="connsiteY2910"/>
                </a:cxn>
                <a:cxn ang="0">
                  <a:pos x="connsiteX2911" y="connsiteY2911"/>
                </a:cxn>
                <a:cxn ang="0">
                  <a:pos x="connsiteX2912" y="connsiteY2912"/>
                </a:cxn>
                <a:cxn ang="0">
                  <a:pos x="connsiteX2913" y="connsiteY2913"/>
                </a:cxn>
                <a:cxn ang="0">
                  <a:pos x="connsiteX2914" y="connsiteY2914"/>
                </a:cxn>
                <a:cxn ang="0">
                  <a:pos x="connsiteX2915" y="connsiteY2915"/>
                </a:cxn>
                <a:cxn ang="0">
                  <a:pos x="connsiteX2916" y="connsiteY2916"/>
                </a:cxn>
                <a:cxn ang="0">
                  <a:pos x="connsiteX2917" y="connsiteY2917"/>
                </a:cxn>
                <a:cxn ang="0">
                  <a:pos x="connsiteX2918" y="connsiteY2918"/>
                </a:cxn>
                <a:cxn ang="0">
                  <a:pos x="connsiteX2919" y="connsiteY2919"/>
                </a:cxn>
                <a:cxn ang="0">
                  <a:pos x="connsiteX2920" y="connsiteY2920"/>
                </a:cxn>
                <a:cxn ang="0">
                  <a:pos x="connsiteX2921" y="connsiteY2921"/>
                </a:cxn>
                <a:cxn ang="0">
                  <a:pos x="connsiteX2922" y="connsiteY2922"/>
                </a:cxn>
                <a:cxn ang="0">
                  <a:pos x="connsiteX2923" y="connsiteY2923"/>
                </a:cxn>
                <a:cxn ang="0">
                  <a:pos x="connsiteX2924" y="connsiteY2924"/>
                </a:cxn>
                <a:cxn ang="0">
                  <a:pos x="connsiteX2925" y="connsiteY2925"/>
                </a:cxn>
                <a:cxn ang="0">
                  <a:pos x="connsiteX2926" y="connsiteY2926"/>
                </a:cxn>
                <a:cxn ang="0">
                  <a:pos x="connsiteX2927" y="connsiteY2927"/>
                </a:cxn>
                <a:cxn ang="0">
                  <a:pos x="connsiteX2928" y="connsiteY2928"/>
                </a:cxn>
                <a:cxn ang="0">
                  <a:pos x="connsiteX2929" y="connsiteY2929"/>
                </a:cxn>
                <a:cxn ang="0">
                  <a:pos x="connsiteX2930" y="connsiteY2930"/>
                </a:cxn>
                <a:cxn ang="0">
                  <a:pos x="connsiteX2931" y="connsiteY2931"/>
                </a:cxn>
                <a:cxn ang="0">
                  <a:pos x="connsiteX2932" y="connsiteY2932"/>
                </a:cxn>
                <a:cxn ang="0">
                  <a:pos x="connsiteX2933" y="connsiteY2933"/>
                </a:cxn>
                <a:cxn ang="0">
                  <a:pos x="connsiteX2934" y="connsiteY2934"/>
                </a:cxn>
                <a:cxn ang="0">
                  <a:pos x="connsiteX2935" y="connsiteY2935"/>
                </a:cxn>
                <a:cxn ang="0">
                  <a:pos x="connsiteX2936" y="connsiteY2936"/>
                </a:cxn>
                <a:cxn ang="0">
                  <a:pos x="connsiteX2937" y="connsiteY2937"/>
                </a:cxn>
                <a:cxn ang="0">
                  <a:pos x="connsiteX2938" y="connsiteY2938"/>
                </a:cxn>
                <a:cxn ang="0">
                  <a:pos x="connsiteX2939" y="connsiteY2939"/>
                </a:cxn>
                <a:cxn ang="0">
                  <a:pos x="connsiteX2940" y="connsiteY2940"/>
                </a:cxn>
                <a:cxn ang="0">
                  <a:pos x="connsiteX2941" y="connsiteY2941"/>
                </a:cxn>
                <a:cxn ang="0">
                  <a:pos x="connsiteX2942" y="connsiteY2942"/>
                </a:cxn>
                <a:cxn ang="0">
                  <a:pos x="connsiteX2943" y="connsiteY2943"/>
                </a:cxn>
                <a:cxn ang="0">
                  <a:pos x="connsiteX2944" y="connsiteY2944"/>
                </a:cxn>
                <a:cxn ang="0">
                  <a:pos x="connsiteX2945" y="connsiteY2945"/>
                </a:cxn>
                <a:cxn ang="0">
                  <a:pos x="connsiteX2946" y="connsiteY2946"/>
                </a:cxn>
                <a:cxn ang="0">
                  <a:pos x="connsiteX2947" y="connsiteY2947"/>
                </a:cxn>
                <a:cxn ang="0">
                  <a:pos x="connsiteX2948" y="connsiteY2948"/>
                </a:cxn>
                <a:cxn ang="0">
                  <a:pos x="connsiteX2949" y="connsiteY2949"/>
                </a:cxn>
                <a:cxn ang="0">
                  <a:pos x="connsiteX2950" y="connsiteY2950"/>
                </a:cxn>
                <a:cxn ang="0">
                  <a:pos x="connsiteX2951" y="connsiteY2951"/>
                </a:cxn>
                <a:cxn ang="0">
                  <a:pos x="connsiteX2952" y="connsiteY2952"/>
                </a:cxn>
                <a:cxn ang="0">
                  <a:pos x="connsiteX2953" y="connsiteY2953"/>
                </a:cxn>
                <a:cxn ang="0">
                  <a:pos x="connsiteX2954" y="connsiteY2954"/>
                </a:cxn>
                <a:cxn ang="0">
                  <a:pos x="connsiteX2955" y="connsiteY2955"/>
                </a:cxn>
                <a:cxn ang="0">
                  <a:pos x="connsiteX2956" y="connsiteY2956"/>
                </a:cxn>
                <a:cxn ang="0">
                  <a:pos x="connsiteX2957" y="connsiteY2957"/>
                </a:cxn>
                <a:cxn ang="0">
                  <a:pos x="connsiteX2958" y="connsiteY2958"/>
                </a:cxn>
                <a:cxn ang="0">
                  <a:pos x="connsiteX2959" y="connsiteY2959"/>
                </a:cxn>
                <a:cxn ang="0">
                  <a:pos x="connsiteX2960" y="connsiteY2960"/>
                </a:cxn>
                <a:cxn ang="0">
                  <a:pos x="connsiteX2961" y="connsiteY2961"/>
                </a:cxn>
                <a:cxn ang="0">
                  <a:pos x="connsiteX2962" y="connsiteY2962"/>
                </a:cxn>
                <a:cxn ang="0">
                  <a:pos x="connsiteX2963" y="connsiteY2963"/>
                </a:cxn>
                <a:cxn ang="0">
                  <a:pos x="connsiteX2964" y="connsiteY2964"/>
                </a:cxn>
                <a:cxn ang="0">
                  <a:pos x="connsiteX2965" y="connsiteY2965"/>
                </a:cxn>
                <a:cxn ang="0">
                  <a:pos x="connsiteX2966" y="connsiteY2966"/>
                </a:cxn>
                <a:cxn ang="0">
                  <a:pos x="connsiteX2967" y="connsiteY2967"/>
                </a:cxn>
                <a:cxn ang="0">
                  <a:pos x="connsiteX2968" y="connsiteY2968"/>
                </a:cxn>
                <a:cxn ang="0">
                  <a:pos x="connsiteX2969" y="connsiteY2969"/>
                </a:cxn>
                <a:cxn ang="0">
                  <a:pos x="connsiteX2970" y="connsiteY2970"/>
                </a:cxn>
                <a:cxn ang="0">
                  <a:pos x="connsiteX2971" y="connsiteY2971"/>
                </a:cxn>
                <a:cxn ang="0">
                  <a:pos x="connsiteX2972" y="connsiteY2972"/>
                </a:cxn>
                <a:cxn ang="0">
                  <a:pos x="connsiteX2973" y="connsiteY2973"/>
                </a:cxn>
                <a:cxn ang="0">
                  <a:pos x="connsiteX2974" y="connsiteY2974"/>
                </a:cxn>
                <a:cxn ang="0">
                  <a:pos x="connsiteX2975" y="connsiteY2975"/>
                </a:cxn>
                <a:cxn ang="0">
                  <a:pos x="connsiteX2976" y="connsiteY2976"/>
                </a:cxn>
                <a:cxn ang="0">
                  <a:pos x="connsiteX2977" y="connsiteY2977"/>
                </a:cxn>
                <a:cxn ang="0">
                  <a:pos x="connsiteX2978" y="connsiteY2978"/>
                </a:cxn>
                <a:cxn ang="0">
                  <a:pos x="connsiteX2979" y="connsiteY2979"/>
                </a:cxn>
                <a:cxn ang="0">
                  <a:pos x="connsiteX2980" y="connsiteY2980"/>
                </a:cxn>
                <a:cxn ang="0">
                  <a:pos x="connsiteX2981" y="connsiteY2981"/>
                </a:cxn>
                <a:cxn ang="0">
                  <a:pos x="connsiteX2982" y="connsiteY2982"/>
                </a:cxn>
                <a:cxn ang="0">
                  <a:pos x="connsiteX2983" y="connsiteY2983"/>
                </a:cxn>
                <a:cxn ang="0">
                  <a:pos x="connsiteX2984" y="connsiteY2984"/>
                </a:cxn>
                <a:cxn ang="0">
                  <a:pos x="connsiteX2985" y="connsiteY2985"/>
                </a:cxn>
                <a:cxn ang="0">
                  <a:pos x="connsiteX2986" y="connsiteY2986"/>
                </a:cxn>
                <a:cxn ang="0">
                  <a:pos x="connsiteX2987" y="connsiteY2987"/>
                </a:cxn>
                <a:cxn ang="0">
                  <a:pos x="connsiteX2988" y="connsiteY2988"/>
                </a:cxn>
                <a:cxn ang="0">
                  <a:pos x="connsiteX2989" y="connsiteY2989"/>
                </a:cxn>
                <a:cxn ang="0">
                  <a:pos x="connsiteX2990" y="connsiteY2990"/>
                </a:cxn>
                <a:cxn ang="0">
                  <a:pos x="connsiteX2991" y="connsiteY2991"/>
                </a:cxn>
                <a:cxn ang="0">
                  <a:pos x="connsiteX2992" y="connsiteY2992"/>
                </a:cxn>
                <a:cxn ang="0">
                  <a:pos x="connsiteX2993" y="connsiteY2993"/>
                </a:cxn>
                <a:cxn ang="0">
                  <a:pos x="connsiteX2994" y="connsiteY2994"/>
                </a:cxn>
                <a:cxn ang="0">
                  <a:pos x="connsiteX2995" y="connsiteY2995"/>
                </a:cxn>
                <a:cxn ang="0">
                  <a:pos x="connsiteX2996" y="connsiteY2996"/>
                </a:cxn>
                <a:cxn ang="0">
                  <a:pos x="connsiteX2997" y="connsiteY2997"/>
                </a:cxn>
                <a:cxn ang="0">
                  <a:pos x="connsiteX2998" y="connsiteY2998"/>
                </a:cxn>
                <a:cxn ang="0">
                  <a:pos x="connsiteX2999" y="connsiteY2999"/>
                </a:cxn>
                <a:cxn ang="0">
                  <a:pos x="connsiteX3000" y="connsiteY3000"/>
                </a:cxn>
                <a:cxn ang="0">
                  <a:pos x="connsiteX3001" y="connsiteY3001"/>
                </a:cxn>
                <a:cxn ang="0">
                  <a:pos x="connsiteX3002" y="connsiteY3002"/>
                </a:cxn>
                <a:cxn ang="0">
                  <a:pos x="connsiteX3003" y="connsiteY3003"/>
                </a:cxn>
                <a:cxn ang="0">
                  <a:pos x="connsiteX3004" y="connsiteY3004"/>
                </a:cxn>
                <a:cxn ang="0">
                  <a:pos x="connsiteX3005" y="connsiteY3005"/>
                </a:cxn>
                <a:cxn ang="0">
                  <a:pos x="connsiteX3006" y="connsiteY3006"/>
                </a:cxn>
                <a:cxn ang="0">
                  <a:pos x="connsiteX3007" y="connsiteY3007"/>
                </a:cxn>
                <a:cxn ang="0">
                  <a:pos x="connsiteX3008" y="connsiteY3008"/>
                </a:cxn>
                <a:cxn ang="0">
                  <a:pos x="connsiteX3009" y="connsiteY3009"/>
                </a:cxn>
                <a:cxn ang="0">
                  <a:pos x="connsiteX3010" y="connsiteY3010"/>
                </a:cxn>
                <a:cxn ang="0">
                  <a:pos x="connsiteX3011" y="connsiteY3011"/>
                </a:cxn>
                <a:cxn ang="0">
                  <a:pos x="connsiteX3012" y="connsiteY3012"/>
                </a:cxn>
                <a:cxn ang="0">
                  <a:pos x="connsiteX3013" y="connsiteY3013"/>
                </a:cxn>
                <a:cxn ang="0">
                  <a:pos x="connsiteX3014" y="connsiteY3014"/>
                </a:cxn>
                <a:cxn ang="0">
                  <a:pos x="connsiteX3015" y="connsiteY3015"/>
                </a:cxn>
                <a:cxn ang="0">
                  <a:pos x="connsiteX3016" y="connsiteY3016"/>
                </a:cxn>
                <a:cxn ang="0">
                  <a:pos x="connsiteX3017" y="connsiteY3017"/>
                </a:cxn>
                <a:cxn ang="0">
                  <a:pos x="connsiteX3018" y="connsiteY3018"/>
                </a:cxn>
                <a:cxn ang="0">
                  <a:pos x="connsiteX3019" y="connsiteY3019"/>
                </a:cxn>
                <a:cxn ang="0">
                  <a:pos x="connsiteX3020" y="connsiteY3020"/>
                </a:cxn>
                <a:cxn ang="0">
                  <a:pos x="connsiteX3021" y="connsiteY3021"/>
                </a:cxn>
                <a:cxn ang="0">
                  <a:pos x="connsiteX3022" y="connsiteY3022"/>
                </a:cxn>
                <a:cxn ang="0">
                  <a:pos x="connsiteX3023" y="connsiteY3023"/>
                </a:cxn>
                <a:cxn ang="0">
                  <a:pos x="connsiteX3024" y="connsiteY3024"/>
                </a:cxn>
                <a:cxn ang="0">
                  <a:pos x="connsiteX3025" y="connsiteY3025"/>
                </a:cxn>
                <a:cxn ang="0">
                  <a:pos x="connsiteX3026" y="connsiteY3026"/>
                </a:cxn>
                <a:cxn ang="0">
                  <a:pos x="connsiteX3027" y="connsiteY3027"/>
                </a:cxn>
                <a:cxn ang="0">
                  <a:pos x="connsiteX3028" y="connsiteY3028"/>
                </a:cxn>
                <a:cxn ang="0">
                  <a:pos x="connsiteX3029" y="connsiteY3029"/>
                </a:cxn>
                <a:cxn ang="0">
                  <a:pos x="connsiteX3030" y="connsiteY3030"/>
                </a:cxn>
                <a:cxn ang="0">
                  <a:pos x="connsiteX3031" y="connsiteY3031"/>
                </a:cxn>
                <a:cxn ang="0">
                  <a:pos x="connsiteX3032" y="connsiteY3032"/>
                </a:cxn>
                <a:cxn ang="0">
                  <a:pos x="connsiteX3033" y="connsiteY3033"/>
                </a:cxn>
                <a:cxn ang="0">
                  <a:pos x="connsiteX3034" y="connsiteY3034"/>
                </a:cxn>
                <a:cxn ang="0">
                  <a:pos x="connsiteX3035" y="connsiteY3035"/>
                </a:cxn>
                <a:cxn ang="0">
                  <a:pos x="connsiteX3036" y="connsiteY3036"/>
                </a:cxn>
                <a:cxn ang="0">
                  <a:pos x="connsiteX3037" y="connsiteY3037"/>
                </a:cxn>
                <a:cxn ang="0">
                  <a:pos x="connsiteX3038" y="connsiteY3038"/>
                </a:cxn>
                <a:cxn ang="0">
                  <a:pos x="connsiteX3039" y="connsiteY3039"/>
                </a:cxn>
                <a:cxn ang="0">
                  <a:pos x="connsiteX3040" y="connsiteY3040"/>
                </a:cxn>
                <a:cxn ang="0">
                  <a:pos x="connsiteX3041" y="connsiteY3041"/>
                </a:cxn>
                <a:cxn ang="0">
                  <a:pos x="connsiteX3042" y="connsiteY3042"/>
                </a:cxn>
                <a:cxn ang="0">
                  <a:pos x="connsiteX3043" y="connsiteY3043"/>
                </a:cxn>
                <a:cxn ang="0">
                  <a:pos x="connsiteX3044" y="connsiteY3044"/>
                </a:cxn>
                <a:cxn ang="0">
                  <a:pos x="connsiteX3045" y="connsiteY3045"/>
                </a:cxn>
                <a:cxn ang="0">
                  <a:pos x="connsiteX3046" y="connsiteY3046"/>
                </a:cxn>
                <a:cxn ang="0">
                  <a:pos x="connsiteX3047" y="connsiteY3047"/>
                </a:cxn>
                <a:cxn ang="0">
                  <a:pos x="connsiteX3048" y="connsiteY3048"/>
                </a:cxn>
                <a:cxn ang="0">
                  <a:pos x="connsiteX3049" y="connsiteY3049"/>
                </a:cxn>
                <a:cxn ang="0">
                  <a:pos x="connsiteX3050" y="connsiteY3050"/>
                </a:cxn>
                <a:cxn ang="0">
                  <a:pos x="connsiteX3051" y="connsiteY3051"/>
                </a:cxn>
                <a:cxn ang="0">
                  <a:pos x="connsiteX3052" y="connsiteY3052"/>
                </a:cxn>
                <a:cxn ang="0">
                  <a:pos x="connsiteX3053" y="connsiteY3053"/>
                </a:cxn>
                <a:cxn ang="0">
                  <a:pos x="connsiteX3054" y="connsiteY3054"/>
                </a:cxn>
                <a:cxn ang="0">
                  <a:pos x="connsiteX3055" y="connsiteY3055"/>
                </a:cxn>
                <a:cxn ang="0">
                  <a:pos x="connsiteX3056" y="connsiteY3056"/>
                </a:cxn>
                <a:cxn ang="0">
                  <a:pos x="connsiteX3057" y="connsiteY3057"/>
                </a:cxn>
                <a:cxn ang="0">
                  <a:pos x="connsiteX3058" y="connsiteY3058"/>
                </a:cxn>
                <a:cxn ang="0">
                  <a:pos x="connsiteX3059" y="connsiteY3059"/>
                </a:cxn>
                <a:cxn ang="0">
                  <a:pos x="connsiteX3060" y="connsiteY3060"/>
                </a:cxn>
                <a:cxn ang="0">
                  <a:pos x="connsiteX3061" y="connsiteY3061"/>
                </a:cxn>
                <a:cxn ang="0">
                  <a:pos x="connsiteX3062" y="connsiteY3062"/>
                </a:cxn>
                <a:cxn ang="0">
                  <a:pos x="connsiteX3063" y="connsiteY3063"/>
                </a:cxn>
                <a:cxn ang="0">
                  <a:pos x="connsiteX3064" y="connsiteY3064"/>
                </a:cxn>
                <a:cxn ang="0">
                  <a:pos x="connsiteX3065" y="connsiteY3065"/>
                </a:cxn>
                <a:cxn ang="0">
                  <a:pos x="connsiteX3066" y="connsiteY3066"/>
                </a:cxn>
                <a:cxn ang="0">
                  <a:pos x="connsiteX3067" y="connsiteY3067"/>
                </a:cxn>
                <a:cxn ang="0">
                  <a:pos x="connsiteX3068" y="connsiteY3068"/>
                </a:cxn>
                <a:cxn ang="0">
                  <a:pos x="connsiteX3069" y="connsiteY3069"/>
                </a:cxn>
                <a:cxn ang="0">
                  <a:pos x="connsiteX3070" y="connsiteY3070"/>
                </a:cxn>
                <a:cxn ang="0">
                  <a:pos x="connsiteX3071" y="connsiteY3071"/>
                </a:cxn>
                <a:cxn ang="0">
                  <a:pos x="connsiteX3072" y="connsiteY3072"/>
                </a:cxn>
                <a:cxn ang="0">
                  <a:pos x="connsiteX3073" y="connsiteY3073"/>
                </a:cxn>
                <a:cxn ang="0">
                  <a:pos x="connsiteX3074" y="connsiteY3074"/>
                </a:cxn>
                <a:cxn ang="0">
                  <a:pos x="connsiteX3075" y="connsiteY3075"/>
                </a:cxn>
                <a:cxn ang="0">
                  <a:pos x="connsiteX3076" y="connsiteY3076"/>
                </a:cxn>
                <a:cxn ang="0">
                  <a:pos x="connsiteX3077" y="connsiteY3077"/>
                </a:cxn>
                <a:cxn ang="0">
                  <a:pos x="connsiteX3078" y="connsiteY3078"/>
                </a:cxn>
                <a:cxn ang="0">
                  <a:pos x="connsiteX3079" y="connsiteY3079"/>
                </a:cxn>
                <a:cxn ang="0">
                  <a:pos x="connsiteX3080" y="connsiteY3080"/>
                </a:cxn>
                <a:cxn ang="0">
                  <a:pos x="connsiteX3081" y="connsiteY3081"/>
                </a:cxn>
                <a:cxn ang="0">
                  <a:pos x="connsiteX3082" y="connsiteY3082"/>
                </a:cxn>
                <a:cxn ang="0">
                  <a:pos x="connsiteX3083" y="connsiteY3083"/>
                </a:cxn>
                <a:cxn ang="0">
                  <a:pos x="connsiteX3084" y="connsiteY3084"/>
                </a:cxn>
                <a:cxn ang="0">
                  <a:pos x="connsiteX3085" y="connsiteY3085"/>
                </a:cxn>
                <a:cxn ang="0">
                  <a:pos x="connsiteX3086" y="connsiteY3086"/>
                </a:cxn>
                <a:cxn ang="0">
                  <a:pos x="connsiteX3087" y="connsiteY3087"/>
                </a:cxn>
                <a:cxn ang="0">
                  <a:pos x="connsiteX3088" y="connsiteY3088"/>
                </a:cxn>
                <a:cxn ang="0">
                  <a:pos x="connsiteX3089" y="connsiteY3089"/>
                </a:cxn>
                <a:cxn ang="0">
                  <a:pos x="connsiteX3090" y="connsiteY3090"/>
                </a:cxn>
                <a:cxn ang="0">
                  <a:pos x="connsiteX3091" y="connsiteY3091"/>
                </a:cxn>
                <a:cxn ang="0">
                  <a:pos x="connsiteX3092" y="connsiteY3092"/>
                </a:cxn>
                <a:cxn ang="0">
                  <a:pos x="connsiteX3093" y="connsiteY3093"/>
                </a:cxn>
                <a:cxn ang="0">
                  <a:pos x="connsiteX3094" y="connsiteY3094"/>
                </a:cxn>
                <a:cxn ang="0">
                  <a:pos x="connsiteX3095" y="connsiteY3095"/>
                </a:cxn>
                <a:cxn ang="0">
                  <a:pos x="connsiteX3096" y="connsiteY3096"/>
                </a:cxn>
                <a:cxn ang="0">
                  <a:pos x="connsiteX3097" y="connsiteY3097"/>
                </a:cxn>
                <a:cxn ang="0">
                  <a:pos x="connsiteX3098" y="connsiteY3098"/>
                </a:cxn>
                <a:cxn ang="0">
                  <a:pos x="connsiteX3099" y="connsiteY3099"/>
                </a:cxn>
                <a:cxn ang="0">
                  <a:pos x="connsiteX3100" y="connsiteY3100"/>
                </a:cxn>
                <a:cxn ang="0">
                  <a:pos x="connsiteX3101" y="connsiteY3101"/>
                </a:cxn>
                <a:cxn ang="0">
                  <a:pos x="connsiteX3102" y="connsiteY3102"/>
                </a:cxn>
                <a:cxn ang="0">
                  <a:pos x="connsiteX3103" y="connsiteY3103"/>
                </a:cxn>
                <a:cxn ang="0">
                  <a:pos x="connsiteX3104" y="connsiteY3104"/>
                </a:cxn>
                <a:cxn ang="0">
                  <a:pos x="connsiteX3105" y="connsiteY3105"/>
                </a:cxn>
                <a:cxn ang="0">
                  <a:pos x="connsiteX3106" y="connsiteY3106"/>
                </a:cxn>
                <a:cxn ang="0">
                  <a:pos x="connsiteX3107" y="connsiteY3107"/>
                </a:cxn>
                <a:cxn ang="0">
                  <a:pos x="connsiteX3108" y="connsiteY3108"/>
                </a:cxn>
                <a:cxn ang="0">
                  <a:pos x="connsiteX3109" y="connsiteY3109"/>
                </a:cxn>
                <a:cxn ang="0">
                  <a:pos x="connsiteX3110" y="connsiteY3110"/>
                </a:cxn>
                <a:cxn ang="0">
                  <a:pos x="connsiteX3111" y="connsiteY3111"/>
                </a:cxn>
                <a:cxn ang="0">
                  <a:pos x="connsiteX3112" y="connsiteY3112"/>
                </a:cxn>
                <a:cxn ang="0">
                  <a:pos x="connsiteX3113" y="connsiteY3113"/>
                </a:cxn>
                <a:cxn ang="0">
                  <a:pos x="connsiteX3114" y="connsiteY3114"/>
                </a:cxn>
                <a:cxn ang="0">
                  <a:pos x="connsiteX3115" y="connsiteY3115"/>
                </a:cxn>
                <a:cxn ang="0">
                  <a:pos x="connsiteX3116" y="connsiteY3116"/>
                </a:cxn>
                <a:cxn ang="0">
                  <a:pos x="connsiteX3117" y="connsiteY3117"/>
                </a:cxn>
                <a:cxn ang="0">
                  <a:pos x="connsiteX3118" y="connsiteY3118"/>
                </a:cxn>
                <a:cxn ang="0">
                  <a:pos x="connsiteX3119" y="connsiteY3119"/>
                </a:cxn>
                <a:cxn ang="0">
                  <a:pos x="connsiteX3120" y="connsiteY3120"/>
                </a:cxn>
                <a:cxn ang="0">
                  <a:pos x="connsiteX3121" y="connsiteY3121"/>
                </a:cxn>
                <a:cxn ang="0">
                  <a:pos x="connsiteX3122" y="connsiteY3122"/>
                </a:cxn>
                <a:cxn ang="0">
                  <a:pos x="connsiteX3123" y="connsiteY3123"/>
                </a:cxn>
                <a:cxn ang="0">
                  <a:pos x="connsiteX3124" y="connsiteY3124"/>
                </a:cxn>
                <a:cxn ang="0">
                  <a:pos x="connsiteX3125" y="connsiteY3125"/>
                </a:cxn>
                <a:cxn ang="0">
                  <a:pos x="connsiteX3126" y="connsiteY3126"/>
                </a:cxn>
                <a:cxn ang="0">
                  <a:pos x="connsiteX3127" y="connsiteY3127"/>
                </a:cxn>
                <a:cxn ang="0">
                  <a:pos x="connsiteX3128" y="connsiteY3128"/>
                </a:cxn>
                <a:cxn ang="0">
                  <a:pos x="connsiteX3129" y="connsiteY3129"/>
                </a:cxn>
                <a:cxn ang="0">
                  <a:pos x="connsiteX3130" y="connsiteY3130"/>
                </a:cxn>
                <a:cxn ang="0">
                  <a:pos x="connsiteX3131" y="connsiteY3131"/>
                </a:cxn>
                <a:cxn ang="0">
                  <a:pos x="connsiteX3132" y="connsiteY3132"/>
                </a:cxn>
                <a:cxn ang="0">
                  <a:pos x="connsiteX3133" y="connsiteY3133"/>
                </a:cxn>
                <a:cxn ang="0">
                  <a:pos x="connsiteX3134" y="connsiteY3134"/>
                </a:cxn>
                <a:cxn ang="0">
                  <a:pos x="connsiteX3135" y="connsiteY3135"/>
                </a:cxn>
                <a:cxn ang="0">
                  <a:pos x="connsiteX3136" y="connsiteY3136"/>
                </a:cxn>
                <a:cxn ang="0">
                  <a:pos x="connsiteX3137" y="connsiteY3137"/>
                </a:cxn>
                <a:cxn ang="0">
                  <a:pos x="connsiteX3138" y="connsiteY3138"/>
                </a:cxn>
                <a:cxn ang="0">
                  <a:pos x="connsiteX3139" y="connsiteY3139"/>
                </a:cxn>
                <a:cxn ang="0">
                  <a:pos x="connsiteX3140" y="connsiteY3140"/>
                </a:cxn>
                <a:cxn ang="0">
                  <a:pos x="connsiteX3141" y="connsiteY3141"/>
                </a:cxn>
                <a:cxn ang="0">
                  <a:pos x="connsiteX3142" y="connsiteY3142"/>
                </a:cxn>
                <a:cxn ang="0">
                  <a:pos x="connsiteX3143" y="connsiteY3143"/>
                </a:cxn>
                <a:cxn ang="0">
                  <a:pos x="connsiteX3144" y="connsiteY3144"/>
                </a:cxn>
                <a:cxn ang="0">
                  <a:pos x="connsiteX3145" y="connsiteY3145"/>
                </a:cxn>
                <a:cxn ang="0">
                  <a:pos x="connsiteX3146" y="connsiteY3146"/>
                </a:cxn>
                <a:cxn ang="0">
                  <a:pos x="connsiteX3147" y="connsiteY3147"/>
                </a:cxn>
                <a:cxn ang="0">
                  <a:pos x="connsiteX3148" y="connsiteY3148"/>
                </a:cxn>
                <a:cxn ang="0">
                  <a:pos x="connsiteX3149" y="connsiteY3149"/>
                </a:cxn>
                <a:cxn ang="0">
                  <a:pos x="connsiteX3150" y="connsiteY3150"/>
                </a:cxn>
                <a:cxn ang="0">
                  <a:pos x="connsiteX3151" y="connsiteY3151"/>
                </a:cxn>
                <a:cxn ang="0">
                  <a:pos x="connsiteX3152" y="connsiteY3152"/>
                </a:cxn>
                <a:cxn ang="0">
                  <a:pos x="connsiteX3153" y="connsiteY3153"/>
                </a:cxn>
                <a:cxn ang="0">
                  <a:pos x="connsiteX3154" y="connsiteY3154"/>
                </a:cxn>
                <a:cxn ang="0">
                  <a:pos x="connsiteX3155" y="connsiteY3155"/>
                </a:cxn>
                <a:cxn ang="0">
                  <a:pos x="connsiteX3156" y="connsiteY3156"/>
                </a:cxn>
                <a:cxn ang="0">
                  <a:pos x="connsiteX3157" y="connsiteY3157"/>
                </a:cxn>
                <a:cxn ang="0">
                  <a:pos x="connsiteX3158" y="connsiteY3158"/>
                </a:cxn>
                <a:cxn ang="0">
                  <a:pos x="connsiteX3159" y="connsiteY3159"/>
                </a:cxn>
                <a:cxn ang="0">
                  <a:pos x="connsiteX3160" y="connsiteY3160"/>
                </a:cxn>
                <a:cxn ang="0">
                  <a:pos x="connsiteX3161" y="connsiteY3161"/>
                </a:cxn>
                <a:cxn ang="0">
                  <a:pos x="connsiteX3162" y="connsiteY3162"/>
                </a:cxn>
                <a:cxn ang="0">
                  <a:pos x="connsiteX3163" y="connsiteY3163"/>
                </a:cxn>
                <a:cxn ang="0">
                  <a:pos x="connsiteX3164" y="connsiteY3164"/>
                </a:cxn>
                <a:cxn ang="0">
                  <a:pos x="connsiteX3165" y="connsiteY3165"/>
                </a:cxn>
                <a:cxn ang="0">
                  <a:pos x="connsiteX3166" y="connsiteY3166"/>
                </a:cxn>
                <a:cxn ang="0">
                  <a:pos x="connsiteX3167" y="connsiteY3167"/>
                </a:cxn>
                <a:cxn ang="0">
                  <a:pos x="connsiteX3168" y="connsiteY3168"/>
                </a:cxn>
                <a:cxn ang="0">
                  <a:pos x="connsiteX3169" y="connsiteY3169"/>
                </a:cxn>
                <a:cxn ang="0">
                  <a:pos x="connsiteX3170" y="connsiteY3170"/>
                </a:cxn>
                <a:cxn ang="0">
                  <a:pos x="connsiteX3171" y="connsiteY3171"/>
                </a:cxn>
                <a:cxn ang="0">
                  <a:pos x="connsiteX3172" y="connsiteY3172"/>
                </a:cxn>
                <a:cxn ang="0">
                  <a:pos x="connsiteX3173" y="connsiteY3173"/>
                </a:cxn>
                <a:cxn ang="0">
                  <a:pos x="connsiteX3174" y="connsiteY3174"/>
                </a:cxn>
                <a:cxn ang="0">
                  <a:pos x="connsiteX3175" y="connsiteY3175"/>
                </a:cxn>
                <a:cxn ang="0">
                  <a:pos x="connsiteX3176" y="connsiteY3176"/>
                </a:cxn>
                <a:cxn ang="0">
                  <a:pos x="connsiteX3177" y="connsiteY3177"/>
                </a:cxn>
                <a:cxn ang="0">
                  <a:pos x="connsiteX3178" y="connsiteY3178"/>
                </a:cxn>
                <a:cxn ang="0">
                  <a:pos x="connsiteX3179" y="connsiteY3179"/>
                </a:cxn>
                <a:cxn ang="0">
                  <a:pos x="connsiteX3180" y="connsiteY3180"/>
                </a:cxn>
                <a:cxn ang="0">
                  <a:pos x="connsiteX3181" y="connsiteY3181"/>
                </a:cxn>
                <a:cxn ang="0">
                  <a:pos x="connsiteX3182" y="connsiteY3182"/>
                </a:cxn>
                <a:cxn ang="0">
                  <a:pos x="connsiteX3183" y="connsiteY3183"/>
                </a:cxn>
                <a:cxn ang="0">
                  <a:pos x="connsiteX3184" y="connsiteY3184"/>
                </a:cxn>
                <a:cxn ang="0">
                  <a:pos x="connsiteX3185" y="connsiteY3185"/>
                </a:cxn>
                <a:cxn ang="0">
                  <a:pos x="connsiteX3186" y="connsiteY3186"/>
                </a:cxn>
                <a:cxn ang="0">
                  <a:pos x="connsiteX3187" y="connsiteY3187"/>
                </a:cxn>
                <a:cxn ang="0">
                  <a:pos x="connsiteX3188" y="connsiteY3188"/>
                </a:cxn>
                <a:cxn ang="0">
                  <a:pos x="connsiteX3189" y="connsiteY3189"/>
                </a:cxn>
                <a:cxn ang="0">
                  <a:pos x="connsiteX3190" y="connsiteY3190"/>
                </a:cxn>
                <a:cxn ang="0">
                  <a:pos x="connsiteX3191" y="connsiteY3191"/>
                </a:cxn>
                <a:cxn ang="0">
                  <a:pos x="connsiteX3192" y="connsiteY3192"/>
                </a:cxn>
                <a:cxn ang="0">
                  <a:pos x="connsiteX3193" y="connsiteY3193"/>
                </a:cxn>
                <a:cxn ang="0">
                  <a:pos x="connsiteX3194" y="connsiteY3194"/>
                </a:cxn>
                <a:cxn ang="0">
                  <a:pos x="connsiteX3195" y="connsiteY3195"/>
                </a:cxn>
                <a:cxn ang="0">
                  <a:pos x="connsiteX3196" y="connsiteY3196"/>
                </a:cxn>
                <a:cxn ang="0">
                  <a:pos x="connsiteX3197" y="connsiteY3197"/>
                </a:cxn>
                <a:cxn ang="0">
                  <a:pos x="connsiteX3198" y="connsiteY3198"/>
                </a:cxn>
                <a:cxn ang="0">
                  <a:pos x="connsiteX3199" y="connsiteY3199"/>
                </a:cxn>
                <a:cxn ang="0">
                  <a:pos x="connsiteX3200" y="connsiteY3200"/>
                </a:cxn>
                <a:cxn ang="0">
                  <a:pos x="connsiteX3201" y="connsiteY3201"/>
                </a:cxn>
                <a:cxn ang="0">
                  <a:pos x="connsiteX3202" y="connsiteY3202"/>
                </a:cxn>
                <a:cxn ang="0">
                  <a:pos x="connsiteX3203" y="connsiteY3203"/>
                </a:cxn>
                <a:cxn ang="0">
                  <a:pos x="connsiteX3204" y="connsiteY3204"/>
                </a:cxn>
                <a:cxn ang="0">
                  <a:pos x="connsiteX3205" y="connsiteY3205"/>
                </a:cxn>
                <a:cxn ang="0">
                  <a:pos x="connsiteX3206" y="connsiteY3206"/>
                </a:cxn>
                <a:cxn ang="0">
                  <a:pos x="connsiteX3207" y="connsiteY3207"/>
                </a:cxn>
                <a:cxn ang="0">
                  <a:pos x="connsiteX3208" y="connsiteY3208"/>
                </a:cxn>
                <a:cxn ang="0">
                  <a:pos x="connsiteX3209" y="connsiteY3209"/>
                </a:cxn>
                <a:cxn ang="0">
                  <a:pos x="connsiteX3210" y="connsiteY3210"/>
                </a:cxn>
                <a:cxn ang="0">
                  <a:pos x="connsiteX3211" y="connsiteY3211"/>
                </a:cxn>
                <a:cxn ang="0">
                  <a:pos x="connsiteX3212" y="connsiteY3212"/>
                </a:cxn>
                <a:cxn ang="0">
                  <a:pos x="connsiteX3213" y="connsiteY3213"/>
                </a:cxn>
                <a:cxn ang="0">
                  <a:pos x="connsiteX3214" y="connsiteY3214"/>
                </a:cxn>
                <a:cxn ang="0">
                  <a:pos x="connsiteX3215" y="connsiteY3215"/>
                </a:cxn>
                <a:cxn ang="0">
                  <a:pos x="connsiteX3216" y="connsiteY3216"/>
                </a:cxn>
                <a:cxn ang="0">
                  <a:pos x="connsiteX3217" y="connsiteY3217"/>
                </a:cxn>
                <a:cxn ang="0">
                  <a:pos x="connsiteX3218" y="connsiteY3218"/>
                </a:cxn>
                <a:cxn ang="0">
                  <a:pos x="connsiteX3219" y="connsiteY3219"/>
                </a:cxn>
                <a:cxn ang="0">
                  <a:pos x="connsiteX3220" y="connsiteY3220"/>
                </a:cxn>
                <a:cxn ang="0">
                  <a:pos x="connsiteX3221" y="connsiteY3221"/>
                </a:cxn>
                <a:cxn ang="0">
                  <a:pos x="connsiteX3222" y="connsiteY3222"/>
                </a:cxn>
                <a:cxn ang="0">
                  <a:pos x="connsiteX3223" y="connsiteY3223"/>
                </a:cxn>
                <a:cxn ang="0">
                  <a:pos x="connsiteX3224" y="connsiteY3224"/>
                </a:cxn>
                <a:cxn ang="0">
                  <a:pos x="connsiteX3225" y="connsiteY3225"/>
                </a:cxn>
                <a:cxn ang="0">
                  <a:pos x="connsiteX3226" y="connsiteY3226"/>
                </a:cxn>
                <a:cxn ang="0">
                  <a:pos x="connsiteX3227" y="connsiteY3227"/>
                </a:cxn>
                <a:cxn ang="0">
                  <a:pos x="connsiteX3228" y="connsiteY3228"/>
                </a:cxn>
                <a:cxn ang="0">
                  <a:pos x="connsiteX3229" y="connsiteY3229"/>
                </a:cxn>
                <a:cxn ang="0">
                  <a:pos x="connsiteX3230" y="connsiteY3230"/>
                </a:cxn>
                <a:cxn ang="0">
                  <a:pos x="connsiteX3231" y="connsiteY3231"/>
                </a:cxn>
                <a:cxn ang="0">
                  <a:pos x="connsiteX3232" y="connsiteY3232"/>
                </a:cxn>
                <a:cxn ang="0">
                  <a:pos x="connsiteX3233" y="connsiteY3233"/>
                </a:cxn>
                <a:cxn ang="0">
                  <a:pos x="connsiteX3234" y="connsiteY3234"/>
                </a:cxn>
                <a:cxn ang="0">
                  <a:pos x="connsiteX3235" y="connsiteY3235"/>
                </a:cxn>
                <a:cxn ang="0">
                  <a:pos x="connsiteX3236" y="connsiteY3236"/>
                </a:cxn>
                <a:cxn ang="0">
                  <a:pos x="connsiteX3237" y="connsiteY3237"/>
                </a:cxn>
                <a:cxn ang="0">
                  <a:pos x="connsiteX3238" y="connsiteY3238"/>
                </a:cxn>
                <a:cxn ang="0">
                  <a:pos x="connsiteX3239" y="connsiteY3239"/>
                </a:cxn>
                <a:cxn ang="0">
                  <a:pos x="connsiteX3240" y="connsiteY3240"/>
                </a:cxn>
                <a:cxn ang="0">
                  <a:pos x="connsiteX3241" y="connsiteY3241"/>
                </a:cxn>
                <a:cxn ang="0">
                  <a:pos x="connsiteX3242" y="connsiteY3242"/>
                </a:cxn>
                <a:cxn ang="0">
                  <a:pos x="connsiteX3243" y="connsiteY3243"/>
                </a:cxn>
                <a:cxn ang="0">
                  <a:pos x="connsiteX3244" y="connsiteY3244"/>
                </a:cxn>
                <a:cxn ang="0">
                  <a:pos x="connsiteX3245" y="connsiteY3245"/>
                </a:cxn>
                <a:cxn ang="0">
                  <a:pos x="connsiteX3246" y="connsiteY3246"/>
                </a:cxn>
                <a:cxn ang="0">
                  <a:pos x="connsiteX3247" y="connsiteY3247"/>
                </a:cxn>
                <a:cxn ang="0">
                  <a:pos x="connsiteX3248" y="connsiteY3248"/>
                </a:cxn>
                <a:cxn ang="0">
                  <a:pos x="connsiteX3249" y="connsiteY3249"/>
                </a:cxn>
                <a:cxn ang="0">
                  <a:pos x="connsiteX3250" y="connsiteY3250"/>
                </a:cxn>
                <a:cxn ang="0">
                  <a:pos x="connsiteX3251" y="connsiteY3251"/>
                </a:cxn>
                <a:cxn ang="0">
                  <a:pos x="connsiteX3252" y="connsiteY3252"/>
                </a:cxn>
                <a:cxn ang="0">
                  <a:pos x="connsiteX3253" y="connsiteY3253"/>
                </a:cxn>
                <a:cxn ang="0">
                  <a:pos x="connsiteX3254" y="connsiteY3254"/>
                </a:cxn>
                <a:cxn ang="0">
                  <a:pos x="connsiteX3255" y="connsiteY3255"/>
                </a:cxn>
                <a:cxn ang="0">
                  <a:pos x="connsiteX3256" y="connsiteY3256"/>
                </a:cxn>
                <a:cxn ang="0">
                  <a:pos x="connsiteX3257" y="connsiteY3257"/>
                </a:cxn>
                <a:cxn ang="0">
                  <a:pos x="connsiteX3258" y="connsiteY3258"/>
                </a:cxn>
                <a:cxn ang="0">
                  <a:pos x="connsiteX3259" y="connsiteY3259"/>
                </a:cxn>
                <a:cxn ang="0">
                  <a:pos x="connsiteX3260" y="connsiteY3260"/>
                </a:cxn>
                <a:cxn ang="0">
                  <a:pos x="connsiteX3261" y="connsiteY3261"/>
                </a:cxn>
                <a:cxn ang="0">
                  <a:pos x="connsiteX3262" y="connsiteY3262"/>
                </a:cxn>
                <a:cxn ang="0">
                  <a:pos x="connsiteX3263" y="connsiteY3263"/>
                </a:cxn>
                <a:cxn ang="0">
                  <a:pos x="connsiteX3264" y="connsiteY3264"/>
                </a:cxn>
                <a:cxn ang="0">
                  <a:pos x="connsiteX3265" y="connsiteY3265"/>
                </a:cxn>
                <a:cxn ang="0">
                  <a:pos x="connsiteX3266" y="connsiteY3266"/>
                </a:cxn>
                <a:cxn ang="0">
                  <a:pos x="connsiteX3267" y="connsiteY3267"/>
                </a:cxn>
                <a:cxn ang="0">
                  <a:pos x="connsiteX3268" y="connsiteY3268"/>
                </a:cxn>
                <a:cxn ang="0">
                  <a:pos x="connsiteX3269" y="connsiteY3269"/>
                </a:cxn>
                <a:cxn ang="0">
                  <a:pos x="connsiteX3270" y="connsiteY3270"/>
                </a:cxn>
                <a:cxn ang="0">
                  <a:pos x="connsiteX3271" y="connsiteY3271"/>
                </a:cxn>
                <a:cxn ang="0">
                  <a:pos x="connsiteX3272" y="connsiteY3272"/>
                </a:cxn>
                <a:cxn ang="0">
                  <a:pos x="connsiteX3273" y="connsiteY3273"/>
                </a:cxn>
                <a:cxn ang="0">
                  <a:pos x="connsiteX3274" y="connsiteY3274"/>
                </a:cxn>
                <a:cxn ang="0">
                  <a:pos x="connsiteX3275" y="connsiteY3275"/>
                </a:cxn>
                <a:cxn ang="0">
                  <a:pos x="connsiteX3276" y="connsiteY3276"/>
                </a:cxn>
                <a:cxn ang="0">
                  <a:pos x="connsiteX3277" y="connsiteY3277"/>
                </a:cxn>
                <a:cxn ang="0">
                  <a:pos x="connsiteX3278" y="connsiteY3278"/>
                </a:cxn>
                <a:cxn ang="0">
                  <a:pos x="connsiteX3279" y="connsiteY3279"/>
                </a:cxn>
                <a:cxn ang="0">
                  <a:pos x="connsiteX3280" y="connsiteY3280"/>
                </a:cxn>
                <a:cxn ang="0">
                  <a:pos x="connsiteX3281" y="connsiteY3281"/>
                </a:cxn>
                <a:cxn ang="0">
                  <a:pos x="connsiteX3282" y="connsiteY3282"/>
                </a:cxn>
                <a:cxn ang="0">
                  <a:pos x="connsiteX3283" y="connsiteY3283"/>
                </a:cxn>
                <a:cxn ang="0">
                  <a:pos x="connsiteX3284" y="connsiteY3284"/>
                </a:cxn>
                <a:cxn ang="0">
                  <a:pos x="connsiteX3285" y="connsiteY3285"/>
                </a:cxn>
                <a:cxn ang="0">
                  <a:pos x="connsiteX3286" y="connsiteY3286"/>
                </a:cxn>
                <a:cxn ang="0">
                  <a:pos x="connsiteX3287" y="connsiteY3287"/>
                </a:cxn>
                <a:cxn ang="0">
                  <a:pos x="connsiteX3288" y="connsiteY3288"/>
                </a:cxn>
                <a:cxn ang="0">
                  <a:pos x="connsiteX3289" y="connsiteY3289"/>
                </a:cxn>
                <a:cxn ang="0">
                  <a:pos x="connsiteX3290" y="connsiteY3290"/>
                </a:cxn>
                <a:cxn ang="0">
                  <a:pos x="connsiteX3291" y="connsiteY3291"/>
                </a:cxn>
                <a:cxn ang="0">
                  <a:pos x="connsiteX3292" y="connsiteY3292"/>
                </a:cxn>
                <a:cxn ang="0">
                  <a:pos x="connsiteX3293" y="connsiteY3293"/>
                </a:cxn>
                <a:cxn ang="0">
                  <a:pos x="connsiteX3294" y="connsiteY3294"/>
                </a:cxn>
                <a:cxn ang="0">
                  <a:pos x="connsiteX3295" y="connsiteY3295"/>
                </a:cxn>
                <a:cxn ang="0">
                  <a:pos x="connsiteX3296" y="connsiteY3296"/>
                </a:cxn>
                <a:cxn ang="0">
                  <a:pos x="connsiteX3297" y="connsiteY3297"/>
                </a:cxn>
                <a:cxn ang="0">
                  <a:pos x="connsiteX3298" y="connsiteY3298"/>
                </a:cxn>
                <a:cxn ang="0">
                  <a:pos x="connsiteX3299" y="connsiteY3299"/>
                </a:cxn>
                <a:cxn ang="0">
                  <a:pos x="connsiteX3300" y="connsiteY3300"/>
                </a:cxn>
                <a:cxn ang="0">
                  <a:pos x="connsiteX3301" y="connsiteY3301"/>
                </a:cxn>
                <a:cxn ang="0">
                  <a:pos x="connsiteX3302" y="connsiteY3302"/>
                </a:cxn>
                <a:cxn ang="0">
                  <a:pos x="connsiteX3303" y="connsiteY3303"/>
                </a:cxn>
                <a:cxn ang="0">
                  <a:pos x="connsiteX3304" y="connsiteY3304"/>
                </a:cxn>
                <a:cxn ang="0">
                  <a:pos x="connsiteX3305" y="connsiteY3305"/>
                </a:cxn>
                <a:cxn ang="0">
                  <a:pos x="connsiteX3306" y="connsiteY3306"/>
                </a:cxn>
                <a:cxn ang="0">
                  <a:pos x="connsiteX3307" y="connsiteY3307"/>
                </a:cxn>
                <a:cxn ang="0">
                  <a:pos x="connsiteX3308" y="connsiteY3308"/>
                </a:cxn>
                <a:cxn ang="0">
                  <a:pos x="connsiteX3309" y="connsiteY3309"/>
                </a:cxn>
                <a:cxn ang="0">
                  <a:pos x="connsiteX3310" y="connsiteY3310"/>
                </a:cxn>
                <a:cxn ang="0">
                  <a:pos x="connsiteX3311" y="connsiteY3311"/>
                </a:cxn>
                <a:cxn ang="0">
                  <a:pos x="connsiteX3312" y="connsiteY3312"/>
                </a:cxn>
                <a:cxn ang="0">
                  <a:pos x="connsiteX3313" y="connsiteY3313"/>
                </a:cxn>
                <a:cxn ang="0">
                  <a:pos x="connsiteX3314" y="connsiteY3314"/>
                </a:cxn>
                <a:cxn ang="0">
                  <a:pos x="connsiteX3315" y="connsiteY3315"/>
                </a:cxn>
                <a:cxn ang="0">
                  <a:pos x="connsiteX3316" y="connsiteY3316"/>
                </a:cxn>
                <a:cxn ang="0">
                  <a:pos x="connsiteX3317" y="connsiteY3317"/>
                </a:cxn>
                <a:cxn ang="0">
                  <a:pos x="connsiteX3318" y="connsiteY3318"/>
                </a:cxn>
                <a:cxn ang="0">
                  <a:pos x="connsiteX3319" y="connsiteY3319"/>
                </a:cxn>
                <a:cxn ang="0">
                  <a:pos x="connsiteX3320" y="connsiteY3320"/>
                </a:cxn>
                <a:cxn ang="0">
                  <a:pos x="connsiteX3321" y="connsiteY3321"/>
                </a:cxn>
                <a:cxn ang="0">
                  <a:pos x="connsiteX3322" y="connsiteY3322"/>
                </a:cxn>
                <a:cxn ang="0">
                  <a:pos x="connsiteX3323" y="connsiteY3323"/>
                </a:cxn>
                <a:cxn ang="0">
                  <a:pos x="connsiteX3324" y="connsiteY3324"/>
                </a:cxn>
                <a:cxn ang="0">
                  <a:pos x="connsiteX3325" y="connsiteY3325"/>
                </a:cxn>
                <a:cxn ang="0">
                  <a:pos x="connsiteX3326" y="connsiteY3326"/>
                </a:cxn>
                <a:cxn ang="0">
                  <a:pos x="connsiteX3327" y="connsiteY3327"/>
                </a:cxn>
                <a:cxn ang="0">
                  <a:pos x="connsiteX3328" y="connsiteY3328"/>
                </a:cxn>
                <a:cxn ang="0">
                  <a:pos x="connsiteX3329" y="connsiteY3329"/>
                </a:cxn>
                <a:cxn ang="0">
                  <a:pos x="connsiteX3330" y="connsiteY3330"/>
                </a:cxn>
                <a:cxn ang="0">
                  <a:pos x="connsiteX3331" y="connsiteY3331"/>
                </a:cxn>
                <a:cxn ang="0">
                  <a:pos x="connsiteX3332" y="connsiteY3332"/>
                </a:cxn>
                <a:cxn ang="0">
                  <a:pos x="connsiteX3333" y="connsiteY3333"/>
                </a:cxn>
                <a:cxn ang="0">
                  <a:pos x="connsiteX3334" y="connsiteY3334"/>
                </a:cxn>
                <a:cxn ang="0">
                  <a:pos x="connsiteX3335" y="connsiteY3335"/>
                </a:cxn>
                <a:cxn ang="0">
                  <a:pos x="connsiteX3336" y="connsiteY3336"/>
                </a:cxn>
                <a:cxn ang="0">
                  <a:pos x="connsiteX3337" y="connsiteY3337"/>
                </a:cxn>
                <a:cxn ang="0">
                  <a:pos x="connsiteX3338" y="connsiteY3338"/>
                </a:cxn>
                <a:cxn ang="0">
                  <a:pos x="connsiteX3339" y="connsiteY3339"/>
                </a:cxn>
                <a:cxn ang="0">
                  <a:pos x="connsiteX3340" y="connsiteY3340"/>
                </a:cxn>
                <a:cxn ang="0">
                  <a:pos x="connsiteX3341" y="connsiteY3341"/>
                </a:cxn>
                <a:cxn ang="0">
                  <a:pos x="connsiteX3342" y="connsiteY3342"/>
                </a:cxn>
                <a:cxn ang="0">
                  <a:pos x="connsiteX3343" y="connsiteY3343"/>
                </a:cxn>
                <a:cxn ang="0">
                  <a:pos x="connsiteX3344" y="connsiteY3344"/>
                </a:cxn>
                <a:cxn ang="0">
                  <a:pos x="connsiteX3345" y="connsiteY3345"/>
                </a:cxn>
                <a:cxn ang="0">
                  <a:pos x="connsiteX3346" y="connsiteY3346"/>
                </a:cxn>
                <a:cxn ang="0">
                  <a:pos x="connsiteX3347" y="connsiteY3347"/>
                </a:cxn>
                <a:cxn ang="0">
                  <a:pos x="connsiteX3348" y="connsiteY3348"/>
                </a:cxn>
                <a:cxn ang="0">
                  <a:pos x="connsiteX3349" y="connsiteY3349"/>
                </a:cxn>
                <a:cxn ang="0">
                  <a:pos x="connsiteX3350" y="connsiteY3350"/>
                </a:cxn>
                <a:cxn ang="0">
                  <a:pos x="connsiteX3351" y="connsiteY3351"/>
                </a:cxn>
                <a:cxn ang="0">
                  <a:pos x="connsiteX3352" y="connsiteY3352"/>
                </a:cxn>
                <a:cxn ang="0">
                  <a:pos x="connsiteX3353" y="connsiteY3353"/>
                </a:cxn>
                <a:cxn ang="0">
                  <a:pos x="connsiteX3354" y="connsiteY3354"/>
                </a:cxn>
                <a:cxn ang="0">
                  <a:pos x="connsiteX3355" y="connsiteY3355"/>
                </a:cxn>
                <a:cxn ang="0">
                  <a:pos x="connsiteX3356" y="connsiteY3356"/>
                </a:cxn>
                <a:cxn ang="0">
                  <a:pos x="connsiteX3357" y="connsiteY3357"/>
                </a:cxn>
                <a:cxn ang="0">
                  <a:pos x="connsiteX3358" y="connsiteY3358"/>
                </a:cxn>
                <a:cxn ang="0">
                  <a:pos x="connsiteX3359" y="connsiteY3359"/>
                </a:cxn>
                <a:cxn ang="0">
                  <a:pos x="connsiteX3360" y="connsiteY3360"/>
                </a:cxn>
                <a:cxn ang="0">
                  <a:pos x="connsiteX3361" y="connsiteY3361"/>
                </a:cxn>
                <a:cxn ang="0">
                  <a:pos x="connsiteX3362" y="connsiteY3362"/>
                </a:cxn>
                <a:cxn ang="0">
                  <a:pos x="connsiteX3363" y="connsiteY3363"/>
                </a:cxn>
                <a:cxn ang="0">
                  <a:pos x="connsiteX3364" y="connsiteY3364"/>
                </a:cxn>
                <a:cxn ang="0">
                  <a:pos x="connsiteX3365" y="connsiteY3365"/>
                </a:cxn>
                <a:cxn ang="0">
                  <a:pos x="connsiteX3366" y="connsiteY3366"/>
                </a:cxn>
                <a:cxn ang="0">
                  <a:pos x="connsiteX3367" y="connsiteY3367"/>
                </a:cxn>
                <a:cxn ang="0">
                  <a:pos x="connsiteX3368" y="connsiteY3368"/>
                </a:cxn>
                <a:cxn ang="0">
                  <a:pos x="connsiteX3369" y="connsiteY3369"/>
                </a:cxn>
                <a:cxn ang="0">
                  <a:pos x="connsiteX3370" y="connsiteY3370"/>
                </a:cxn>
                <a:cxn ang="0">
                  <a:pos x="connsiteX3371" y="connsiteY3371"/>
                </a:cxn>
                <a:cxn ang="0">
                  <a:pos x="connsiteX3372" y="connsiteY3372"/>
                </a:cxn>
                <a:cxn ang="0">
                  <a:pos x="connsiteX3373" y="connsiteY3373"/>
                </a:cxn>
                <a:cxn ang="0">
                  <a:pos x="connsiteX3374" y="connsiteY3374"/>
                </a:cxn>
                <a:cxn ang="0">
                  <a:pos x="connsiteX3375" y="connsiteY3375"/>
                </a:cxn>
                <a:cxn ang="0">
                  <a:pos x="connsiteX3376" y="connsiteY3376"/>
                </a:cxn>
                <a:cxn ang="0">
                  <a:pos x="connsiteX3377" y="connsiteY3377"/>
                </a:cxn>
                <a:cxn ang="0">
                  <a:pos x="connsiteX3378" y="connsiteY3378"/>
                </a:cxn>
                <a:cxn ang="0">
                  <a:pos x="connsiteX3379" y="connsiteY3379"/>
                </a:cxn>
                <a:cxn ang="0">
                  <a:pos x="connsiteX3380" y="connsiteY3380"/>
                </a:cxn>
                <a:cxn ang="0">
                  <a:pos x="connsiteX3381" y="connsiteY3381"/>
                </a:cxn>
                <a:cxn ang="0">
                  <a:pos x="connsiteX3382" y="connsiteY3382"/>
                </a:cxn>
                <a:cxn ang="0">
                  <a:pos x="connsiteX3383" y="connsiteY3383"/>
                </a:cxn>
                <a:cxn ang="0">
                  <a:pos x="connsiteX3384" y="connsiteY3384"/>
                </a:cxn>
                <a:cxn ang="0">
                  <a:pos x="connsiteX3385" y="connsiteY3385"/>
                </a:cxn>
                <a:cxn ang="0">
                  <a:pos x="connsiteX3386" y="connsiteY3386"/>
                </a:cxn>
                <a:cxn ang="0">
                  <a:pos x="connsiteX3387" y="connsiteY3387"/>
                </a:cxn>
                <a:cxn ang="0">
                  <a:pos x="connsiteX3388" y="connsiteY3388"/>
                </a:cxn>
                <a:cxn ang="0">
                  <a:pos x="connsiteX3389" y="connsiteY3389"/>
                </a:cxn>
                <a:cxn ang="0">
                  <a:pos x="connsiteX3390" y="connsiteY3390"/>
                </a:cxn>
                <a:cxn ang="0">
                  <a:pos x="connsiteX3391" y="connsiteY3391"/>
                </a:cxn>
                <a:cxn ang="0">
                  <a:pos x="connsiteX3392" y="connsiteY3392"/>
                </a:cxn>
                <a:cxn ang="0">
                  <a:pos x="connsiteX3393" y="connsiteY3393"/>
                </a:cxn>
                <a:cxn ang="0">
                  <a:pos x="connsiteX3394" y="connsiteY3394"/>
                </a:cxn>
                <a:cxn ang="0">
                  <a:pos x="connsiteX3395" y="connsiteY3395"/>
                </a:cxn>
                <a:cxn ang="0">
                  <a:pos x="connsiteX3396" y="connsiteY3396"/>
                </a:cxn>
                <a:cxn ang="0">
                  <a:pos x="connsiteX3397" y="connsiteY3397"/>
                </a:cxn>
                <a:cxn ang="0">
                  <a:pos x="connsiteX3398" y="connsiteY3398"/>
                </a:cxn>
                <a:cxn ang="0">
                  <a:pos x="connsiteX3399" y="connsiteY3399"/>
                </a:cxn>
                <a:cxn ang="0">
                  <a:pos x="connsiteX3400" y="connsiteY3400"/>
                </a:cxn>
                <a:cxn ang="0">
                  <a:pos x="connsiteX3401" y="connsiteY3401"/>
                </a:cxn>
                <a:cxn ang="0">
                  <a:pos x="connsiteX3402" y="connsiteY3402"/>
                </a:cxn>
                <a:cxn ang="0">
                  <a:pos x="connsiteX3403" y="connsiteY3403"/>
                </a:cxn>
                <a:cxn ang="0">
                  <a:pos x="connsiteX3404" y="connsiteY3404"/>
                </a:cxn>
                <a:cxn ang="0">
                  <a:pos x="connsiteX3405" y="connsiteY3405"/>
                </a:cxn>
                <a:cxn ang="0">
                  <a:pos x="connsiteX3406" y="connsiteY3406"/>
                </a:cxn>
                <a:cxn ang="0">
                  <a:pos x="connsiteX3407" y="connsiteY3407"/>
                </a:cxn>
                <a:cxn ang="0">
                  <a:pos x="connsiteX3408" y="connsiteY3408"/>
                </a:cxn>
                <a:cxn ang="0">
                  <a:pos x="connsiteX3409" y="connsiteY3409"/>
                </a:cxn>
                <a:cxn ang="0">
                  <a:pos x="connsiteX3410" y="connsiteY3410"/>
                </a:cxn>
                <a:cxn ang="0">
                  <a:pos x="connsiteX3411" y="connsiteY3411"/>
                </a:cxn>
                <a:cxn ang="0">
                  <a:pos x="connsiteX3412" y="connsiteY3412"/>
                </a:cxn>
                <a:cxn ang="0">
                  <a:pos x="connsiteX3413" y="connsiteY3413"/>
                </a:cxn>
                <a:cxn ang="0">
                  <a:pos x="connsiteX3414" y="connsiteY3414"/>
                </a:cxn>
                <a:cxn ang="0">
                  <a:pos x="connsiteX3415" y="connsiteY3415"/>
                </a:cxn>
                <a:cxn ang="0">
                  <a:pos x="connsiteX3416" y="connsiteY3416"/>
                </a:cxn>
                <a:cxn ang="0">
                  <a:pos x="connsiteX3417" y="connsiteY3417"/>
                </a:cxn>
                <a:cxn ang="0">
                  <a:pos x="connsiteX3418" y="connsiteY3418"/>
                </a:cxn>
                <a:cxn ang="0">
                  <a:pos x="connsiteX3419" y="connsiteY3419"/>
                </a:cxn>
                <a:cxn ang="0">
                  <a:pos x="connsiteX3420" y="connsiteY3420"/>
                </a:cxn>
                <a:cxn ang="0">
                  <a:pos x="connsiteX3421" y="connsiteY3421"/>
                </a:cxn>
                <a:cxn ang="0">
                  <a:pos x="connsiteX3422" y="connsiteY3422"/>
                </a:cxn>
                <a:cxn ang="0">
                  <a:pos x="connsiteX3423" y="connsiteY3423"/>
                </a:cxn>
                <a:cxn ang="0">
                  <a:pos x="connsiteX3424" y="connsiteY3424"/>
                </a:cxn>
                <a:cxn ang="0">
                  <a:pos x="connsiteX3425" y="connsiteY3425"/>
                </a:cxn>
                <a:cxn ang="0">
                  <a:pos x="connsiteX3426" y="connsiteY3426"/>
                </a:cxn>
                <a:cxn ang="0">
                  <a:pos x="connsiteX3427" y="connsiteY3427"/>
                </a:cxn>
                <a:cxn ang="0">
                  <a:pos x="connsiteX3428" y="connsiteY3428"/>
                </a:cxn>
                <a:cxn ang="0">
                  <a:pos x="connsiteX3429" y="connsiteY3429"/>
                </a:cxn>
                <a:cxn ang="0">
                  <a:pos x="connsiteX3430" y="connsiteY3430"/>
                </a:cxn>
                <a:cxn ang="0">
                  <a:pos x="connsiteX3431" y="connsiteY3431"/>
                </a:cxn>
                <a:cxn ang="0">
                  <a:pos x="connsiteX3432" y="connsiteY3432"/>
                </a:cxn>
                <a:cxn ang="0">
                  <a:pos x="connsiteX3433" y="connsiteY3433"/>
                </a:cxn>
                <a:cxn ang="0">
                  <a:pos x="connsiteX3434" y="connsiteY3434"/>
                </a:cxn>
                <a:cxn ang="0">
                  <a:pos x="connsiteX3435" y="connsiteY3435"/>
                </a:cxn>
                <a:cxn ang="0">
                  <a:pos x="connsiteX3436" y="connsiteY3436"/>
                </a:cxn>
                <a:cxn ang="0">
                  <a:pos x="connsiteX3437" y="connsiteY3437"/>
                </a:cxn>
                <a:cxn ang="0">
                  <a:pos x="connsiteX3438" y="connsiteY3438"/>
                </a:cxn>
                <a:cxn ang="0">
                  <a:pos x="connsiteX3439" y="connsiteY3439"/>
                </a:cxn>
                <a:cxn ang="0">
                  <a:pos x="connsiteX3440" y="connsiteY3440"/>
                </a:cxn>
                <a:cxn ang="0">
                  <a:pos x="connsiteX3441" y="connsiteY3441"/>
                </a:cxn>
                <a:cxn ang="0">
                  <a:pos x="connsiteX3442" y="connsiteY3442"/>
                </a:cxn>
                <a:cxn ang="0">
                  <a:pos x="connsiteX3443" y="connsiteY3443"/>
                </a:cxn>
                <a:cxn ang="0">
                  <a:pos x="connsiteX3444" y="connsiteY3444"/>
                </a:cxn>
                <a:cxn ang="0">
                  <a:pos x="connsiteX3445" y="connsiteY3445"/>
                </a:cxn>
                <a:cxn ang="0">
                  <a:pos x="connsiteX3446" y="connsiteY3446"/>
                </a:cxn>
                <a:cxn ang="0">
                  <a:pos x="connsiteX3447" y="connsiteY3447"/>
                </a:cxn>
                <a:cxn ang="0">
                  <a:pos x="connsiteX3448" y="connsiteY3448"/>
                </a:cxn>
                <a:cxn ang="0">
                  <a:pos x="connsiteX3449" y="connsiteY3449"/>
                </a:cxn>
                <a:cxn ang="0">
                  <a:pos x="connsiteX3450" y="connsiteY3450"/>
                </a:cxn>
                <a:cxn ang="0">
                  <a:pos x="connsiteX3451" y="connsiteY3451"/>
                </a:cxn>
                <a:cxn ang="0">
                  <a:pos x="connsiteX3452" y="connsiteY3452"/>
                </a:cxn>
                <a:cxn ang="0">
                  <a:pos x="connsiteX3453" y="connsiteY3453"/>
                </a:cxn>
                <a:cxn ang="0">
                  <a:pos x="connsiteX3454" y="connsiteY3454"/>
                </a:cxn>
                <a:cxn ang="0">
                  <a:pos x="connsiteX3455" y="connsiteY3455"/>
                </a:cxn>
                <a:cxn ang="0">
                  <a:pos x="connsiteX3456" y="connsiteY3456"/>
                </a:cxn>
                <a:cxn ang="0">
                  <a:pos x="connsiteX3457" y="connsiteY3457"/>
                </a:cxn>
                <a:cxn ang="0">
                  <a:pos x="connsiteX3458" y="connsiteY3458"/>
                </a:cxn>
                <a:cxn ang="0">
                  <a:pos x="connsiteX3459" y="connsiteY3459"/>
                </a:cxn>
                <a:cxn ang="0">
                  <a:pos x="connsiteX3460" y="connsiteY3460"/>
                </a:cxn>
                <a:cxn ang="0">
                  <a:pos x="connsiteX3461" y="connsiteY3461"/>
                </a:cxn>
                <a:cxn ang="0">
                  <a:pos x="connsiteX3462" y="connsiteY3462"/>
                </a:cxn>
                <a:cxn ang="0">
                  <a:pos x="connsiteX3463" y="connsiteY3463"/>
                </a:cxn>
                <a:cxn ang="0">
                  <a:pos x="connsiteX3464" y="connsiteY3464"/>
                </a:cxn>
                <a:cxn ang="0">
                  <a:pos x="connsiteX3465" y="connsiteY3465"/>
                </a:cxn>
                <a:cxn ang="0">
                  <a:pos x="connsiteX3466" y="connsiteY3466"/>
                </a:cxn>
                <a:cxn ang="0">
                  <a:pos x="connsiteX3467" y="connsiteY3467"/>
                </a:cxn>
                <a:cxn ang="0">
                  <a:pos x="connsiteX3468" y="connsiteY3468"/>
                </a:cxn>
                <a:cxn ang="0">
                  <a:pos x="connsiteX3469" y="connsiteY3469"/>
                </a:cxn>
                <a:cxn ang="0">
                  <a:pos x="connsiteX3470" y="connsiteY3470"/>
                </a:cxn>
                <a:cxn ang="0">
                  <a:pos x="connsiteX3471" y="connsiteY3471"/>
                </a:cxn>
                <a:cxn ang="0">
                  <a:pos x="connsiteX3472" y="connsiteY3472"/>
                </a:cxn>
                <a:cxn ang="0">
                  <a:pos x="connsiteX3473" y="connsiteY3473"/>
                </a:cxn>
                <a:cxn ang="0">
                  <a:pos x="connsiteX3474" y="connsiteY3474"/>
                </a:cxn>
                <a:cxn ang="0">
                  <a:pos x="connsiteX3475" y="connsiteY3475"/>
                </a:cxn>
                <a:cxn ang="0">
                  <a:pos x="connsiteX3476" y="connsiteY3476"/>
                </a:cxn>
                <a:cxn ang="0">
                  <a:pos x="connsiteX3477" y="connsiteY3477"/>
                </a:cxn>
                <a:cxn ang="0">
                  <a:pos x="connsiteX3478" y="connsiteY3478"/>
                </a:cxn>
                <a:cxn ang="0">
                  <a:pos x="connsiteX3479" y="connsiteY3479"/>
                </a:cxn>
                <a:cxn ang="0">
                  <a:pos x="connsiteX3480" y="connsiteY3480"/>
                </a:cxn>
                <a:cxn ang="0">
                  <a:pos x="connsiteX3481" y="connsiteY3481"/>
                </a:cxn>
                <a:cxn ang="0">
                  <a:pos x="connsiteX3482" y="connsiteY3482"/>
                </a:cxn>
                <a:cxn ang="0">
                  <a:pos x="connsiteX3483" y="connsiteY3483"/>
                </a:cxn>
                <a:cxn ang="0">
                  <a:pos x="connsiteX3484" y="connsiteY3484"/>
                </a:cxn>
                <a:cxn ang="0">
                  <a:pos x="connsiteX3485" y="connsiteY3485"/>
                </a:cxn>
                <a:cxn ang="0">
                  <a:pos x="connsiteX3486" y="connsiteY3486"/>
                </a:cxn>
                <a:cxn ang="0">
                  <a:pos x="connsiteX3487" y="connsiteY3487"/>
                </a:cxn>
                <a:cxn ang="0">
                  <a:pos x="connsiteX3488" y="connsiteY3488"/>
                </a:cxn>
                <a:cxn ang="0">
                  <a:pos x="connsiteX3489" y="connsiteY3489"/>
                </a:cxn>
                <a:cxn ang="0">
                  <a:pos x="connsiteX3490" y="connsiteY3490"/>
                </a:cxn>
                <a:cxn ang="0">
                  <a:pos x="connsiteX3491" y="connsiteY3491"/>
                </a:cxn>
                <a:cxn ang="0">
                  <a:pos x="connsiteX3492" y="connsiteY3492"/>
                </a:cxn>
                <a:cxn ang="0">
                  <a:pos x="connsiteX3493" y="connsiteY3493"/>
                </a:cxn>
                <a:cxn ang="0">
                  <a:pos x="connsiteX3494" y="connsiteY3494"/>
                </a:cxn>
                <a:cxn ang="0">
                  <a:pos x="connsiteX3495" y="connsiteY3495"/>
                </a:cxn>
                <a:cxn ang="0">
                  <a:pos x="connsiteX3496" y="connsiteY3496"/>
                </a:cxn>
                <a:cxn ang="0">
                  <a:pos x="connsiteX3497" y="connsiteY3497"/>
                </a:cxn>
                <a:cxn ang="0">
                  <a:pos x="connsiteX3498" y="connsiteY3498"/>
                </a:cxn>
                <a:cxn ang="0">
                  <a:pos x="connsiteX3499" y="connsiteY3499"/>
                </a:cxn>
                <a:cxn ang="0">
                  <a:pos x="connsiteX3500" y="connsiteY3500"/>
                </a:cxn>
                <a:cxn ang="0">
                  <a:pos x="connsiteX3501" y="connsiteY3501"/>
                </a:cxn>
                <a:cxn ang="0">
                  <a:pos x="connsiteX3502" y="connsiteY3502"/>
                </a:cxn>
                <a:cxn ang="0">
                  <a:pos x="connsiteX3503" y="connsiteY3503"/>
                </a:cxn>
                <a:cxn ang="0">
                  <a:pos x="connsiteX3504" y="connsiteY3504"/>
                </a:cxn>
                <a:cxn ang="0">
                  <a:pos x="connsiteX3505" y="connsiteY3505"/>
                </a:cxn>
                <a:cxn ang="0">
                  <a:pos x="connsiteX3506" y="connsiteY3506"/>
                </a:cxn>
                <a:cxn ang="0">
                  <a:pos x="connsiteX3507" y="connsiteY3507"/>
                </a:cxn>
                <a:cxn ang="0">
                  <a:pos x="connsiteX3508" y="connsiteY3508"/>
                </a:cxn>
                <a:cxn ang="0">
                  <a:pos x="connsiteX3509" y="connsiteY3509"/>
                </a:cxn>
                <a:cxn ang="0">
                  <a:pos x="connsiteX3510" y="connsiteY3510"/>
                </a:cxn>
                <a:cxn ang="0">
                  <a:pos x="connsiteX3511" y="connsiteY3511"/>
                </a:cxn>
                <a:cxn ang="0">
                  <a:pos x="connsiteX3512" y="connsiteY3512"/>
                </a:cxn>
                <a:cxn ang="0">
                  <a:pos x="connsiteX3513" y="connsiteY3513"/>
                </a:cxn>
                <a:cxn ang="0">
                  <a:pos x="connsiteX3514" y="connsiteY3514"/>
                </a:cxn>
                <a:cxn ang="0">
                  <a:pos x="connsiteX3515" y="connsiteY3515"/>
                </a:cxn>
                <a:cxn ang="0">
                  <a:pos x="connsiteX3516" y="connsiteY3516"/>
                </a:cxn>
                <a:cxn ang="0">
                  <a:pos x="connsiteX3517" y="connsiteY3517"/>
                </a:cxn>
                <a:cxn ang="0">
                  <a:pos x="connsiteX3518" y="connsiteY3518"/>
                </a:cxn>
                <a:cxn ang="0">
                  <a:pos x="connsiteX3519" y="connsiteY3519"/>
                </a:cxn>
                <a:cxn ang="0">
                  <a:pos x="connsiteX3520" y="connsiteY3520"/>
                </a:cxn>
                <a:cxn ang="0">
                  <a:pos x="connsiteX3521" y="connsiteY3521"/>
                </a:cxn>
                <a:cxn ang="0">
                  <a:pos x="connsiteX3522" y="connsiteY3522"/>
                </a:cxn>
                <a:cxn ang="0">
                  <a:pos x="connsiteX3523" y="connsiteY3523"/>
                </a:cxn>
                <a:cxn ang="0">
                  <a:pos x="connsiteX3524" y="connsiteY3524"/>
                </a:cxn>
                <a:cxn ang="0">
                  <a:pos x="connsiteX3525" y="connsiteY3525"/>
                </a:cxn>
                <a:cxn ang="0">
                  <a:pos x="connsiteX3526" y="connsiteY3526"/>
                </a:cxn>
                <a:cxn ang="0">
                  <a:pos x="connsiteX3527" y="connsiteY3527"/>
                </a:cxn>
                <a:cxn ang="0">
                  <a:pos x="connsiteX3528" y="connsiteY3528"/>
                </a:cxn>
                <a:cxn ang="0">
                  <a:pos x="connsiteX3529" y="connsiteY3529"/>
                </a:cxn>
                <a:cxn ang="0">
                  <a:pos x="connsiteX3530" y="connsiteY3530"/>
                </a:cxn>
                <a:cxn ang="0">
                  <a:pos x="connsiteX3531" y="connsiteY3531"/>
                </a:cxn>
                <a:cxn ang="0">
                  <a:pos x="connsiteX3532" y="connsiteY3532"/>
                </a:cxn>
                <a:cxn ang="0">
                  <a:pos x="connsiteX3533" y="connsiteY3533"/>
                </a:cxn>
                <a:cxn ang="0">
                  <a:pos x="connsiteX3534" y="connsiteY3534"/>
                </a:cxn>
                <a:cxn ang="0">
                  <a:pos x="connsiteX3535" y="connsiteY3535"/>
                </a:cxn>
                <a:cxn ang="0">
                  <a:pos x="connsiteX3536" y="connsiteY3536"/>
                </a:cxn>
                <a:cxn ang="0">
                  <a:pos x="connsiteX3537" y="connsiteY3537"/>
                </a:cxn>
                <a:cxn ang="0">
                  <a:pos x="connsiteX3538" y="connsiteY3538"/>
                </a:cxn>
                <a:cxn ang="0">
                  <a:pos x="connsiteX3539" y="connsiteY3539"/>
                </a:cxn>
                <a:cxn ang="0">
                  <a:pos x="connsiteX3540" y="connsiteY3540"/>
                </a:cxn>
                <a:cxn ang="0">
                  <a:pos x="connsiteX3541" y="connsiteY3541"/>
                </a:cxn>
                <a:cxn ang="0">
                  <a:pos x="connsiteX3542" y="connsiteY3542"/>
                </a:cxn>
                <a:cxn ang="0">
                  <a:pos x="connsiteX3543" y="connsiteY3543"/>
                </a:cxn>
                <a:cxn ang="0">
                  <a:pos x="connsiteX3544" y="connsiteY3544"/>
                </a:cxn>
                <a:cxn ang="0">
                  <a:pos x="connsiteX3545" y="connsiteY3545"/>
                </a:cxn>
                <a:cxn ang="0">
                  <a:pos x="connsiteX3546" y="connsiteY3546"/>
                </a:cxn>
                <a:cxn ang="0">
                  <a:pos x="connsiteX3547" y="connsiteY3547"/>
                </a:cxn>
                <a:cxn ang="0">
                  <a:pos x="connsiteX3548" y="connsiteY3548"/>
                </a:cxn>
                <a:cxn ang="0">
                  <a:pos x="connsiteX3549" y="connsiteY3549"/>
                </a:cxn>
                <a:cxn ang="0">
                  <a:pos x="connsiteX3550" y="connsiteY3550"/>
                </a:cxn>
                <a:cxn ang="0">
                  <a:pos x="connsiteX3551" y="connsiteY3551"/>
                </a:cxn>
                <a:cxn ang="0">
                  <a:pos x="connsiteX3552" y="connsiteY3552"/>
                </a:cxn>
                <a:cxn ang="0">
                  <a:pos x="connsiteX3553" y="connsiteY3553"/>
                </a:cxn>
                <a:cxn ang="0">
                  <a:pos x="connsiteX3554" y="connsiteY3554"/>
                </a:cxn>
                <a:cxn ang="0">
                  <a:pos x="connsiteX3555" y="connsiteY3555"/>
                </a:cxn>
                <a:cxn ang="0">
                  <a:pos x="connsiteX3556" y="connsiteY3556"/>
                </a:cxn>
                <a:cxn ang="0">
                  <a:pos x="connsiteX3557" y="connsiteY3557"/>
                </a:cxn>
                <a:cxn ang="0">
                  <a:pos x="connsiteX3558" y="connsiteY3558"/>
                </a:cxn>
                <a:cxn ang="0">
                  <a:pos x="connsiteX3559" y="connsiteY3559"/>
                </a:cxn>
                <a:cxn ang="0">
                  <a:pos x="connsiteX3560" y="connsiteY3560"/>
                </a:cxn>
                <a:cxn ang="0">
                  <a:pos x="connsiteX3561" y="connsiteY3561"/>
                </a:cxn>
                <a:cxn ang="0">
                  <a:pos x="connsiteX3562" y="connsiteY3562"/>
                </a:cxn>
                <a:cxn ang="0">
                  <a:pos x="connsiteX3563" y="connsiteY3563"/>
                </a:cxn>
                <a:cxn ang="0">
                  <a:pos x="connsiteX3564" y="connsiteY3564"/>
                </a:cxn>
                <a:cxn ang="0">
                  <a:pos x="connsiteX3565" y="connsiteY3565"/>
                </a:cxn>
                <a:cxn ang="0">
                  <a:pos x="connsiteX3566" y="connsiteY3566"/>
                </a:cxn>
                <a:cxn ang="0">
                  <a:pos x="connsiteX3567" y="connsiteY3567"/>
                </a:cxn>
                <a:cxn ang="0">
                  <a:pos x="connsiteX3568" y="connsiteY3568"/>
                </a:cxn>
                <a:cxn ang="0">
                  <a:pos x="connsiteX3569" y="connsiteY3569"/>
                </a:cxn>
                <a:cxn ang="0">
                  <a:pos x="connsiteX3570" y="connsiteY3570"/>
                </a:cxn>
                <a:cxn ang="0">
                  <a:pos x="connsiteX3571" y="connsiteY3571"/>
                </a:cxn>
                <a:cxn ang="0">
                  <a:pos x="connsiteX3572" y="connsiteY3572"/>
                </a:cxn>
                <a:cxn ang="0">
                  <a:pos x="connsiteX3573" y="connsiteY3573"/>
                </a:cxn>
                <a:cxn ang="0">
                  <a:pos x="connsiteX3574" y="connsiteY3574"/>
                </a:cxn>
                <a:cxn ang="0">
                  <a:pos x="connsiteX3575" y="connsiteY3575"/>
                </a:cxn>
                <a:cxn ang="0">
                  <a:pos x="connsiteX3576" y="connsiteY3576"/>
                </a:cxn>
                <a:cxn ang="0">
                  <a:pos x="connsiteX3577" y="connsiteY3577"/>
                </a:cxn>
                <a:cxn ang="0">
                  <a:pos x="connsiteX3578" y="connsiteY3578"/>
                </a:cxn>
                <a:cxn ang="0">
                  <a:pos x="connsiteX3579" y="connsiteY3579"/>
                </a:cxn>
                <a:cxn ang="0">
                  <a:pos x="connsiteX3580" y="connsiteY3580"/>
                </a:cxn>
                <a:cxn ang="0">
                  <a:pos x="connsiteX3581" y="connsiteY3581"/>
                </a:cxn>
              </a:cxnLst>
              <a:rect l="l" t="t" r="r" b="b"/>
              <a:pathLst>
                <a:path w="1012061" h="372939">
                  <a:moveTo>
                    <a:pt x="622497" y="363163"/>
                  </a:moveTo>
                  <a:lnTo>
                    <a:pt x="622775" y="363218"/>
                  </a:lnTo>
                  <a:lnTo>
                    <a:pt x="623041" y="365289"/>
                  </a:lnTo>
                  <a:lnTo>
                    <a:pt x="623699" y="366520"/>
                  </a:lnTo>
                  <a:lnTo>
                    <a:pt x="623816" y="367160"/>
                  </a:lnTo>
                  <a:lnTo>
                    <a:pt x="621440" y="368215"/>
                  </a:lnTo>
                  <a:lnTo>
                    <a:pt x="619320" y="370624"/>
                  </a:lnTo>
                  <a:lnTo>
                    <a:pt x="614686" y="372195"/>
                  </a:lnTo>
                  <a:lnTo>
                    <a:pt x="613440" y="372931"/>
                  </a:lnTo>
                  <a:lnTo>
                    <a:pt x="611382" y="372939"/>
                  </a:lnTo>
                  <a:lnTo>
                    <a:pt x="610726" y="372703"/>
                  </a:lnTo>
                  <a:lnTo>
                    <a:pt x="610555" y="370733"/>
                  </a:lnTo>
                  <a:lnTo>
                    <a:pt x="611158" y="369632"/>
                  </a:lnTo>
                  <a:lnTo>
                    <a:pt x="615928" y="368215"/>
                  </a:lnTo>
                  <a:lnTo>
                    <a:pt x="617793" y="366907"/>
                  </a:lnTo>
                  <a:lnTo>
                    <a:pt x="620439" y="364185"/>
                  </a:lnTo>
                  <a:lnTo>
                    <a:pt x="622080" y="363471"/>
                  </a:lnTo>
                  <a:close/>
                  <a:moveTo>
                    <a:pt x="591341" y="362281"/>
                  </a:moveTo>
                  <a:lnTo>
                    <a:pt x="592421" y="362594"/>
                  </a:lnTo>
                  <a:lnTo>
                    <a:pt x="592045" y="364414"/>
                  </a:lnTo>
                  <a:lnTo>
                    <a:pt x="589870" y="365798"/>
                  </a:lnTo>
                  <a:lnTo>
                    <a:pt x="588767" y="366062"/>
                  </a:lnTo>
                  <a:lnTo>
                    <a:pt x="586402" y="365414"/>
                  </a:lnTo>
                  <a:lnTo>
                    <a:pt x="585928" y="365023"/>
                  </a:lnTo>
                  <a:lnTo>
                    <a:pt x="587953" y="363945"/>
                  </a:lnTo>
                  <a:lnTo>
                    <a:pt x="589516" y="362412"/>
                  </a:lnTo>
                  <a:close/>
                  <a:moveTo>
                    <a:pt x="624714" y="355734"/>
                  </a:moveTo>
                  <a:lnTo>
                    <a:pt x="625491" y="356560"/>
                  </a:lnTo>
                  <a:lnTo>
                    <a:pt x="625555" y="356940"/>
                  </a:lnTo>
                  <a:lnTo>
                    <a:pt x="623526" y="357681"/>
                  </a:lnTo>
                  <a:lnTo>
                    <a:pt x="623773" y="359368"/>
                  </a:lnTo>
                  <a:lnTo>
                    <a:pt x="621778" y="360147"/>
                  </a:lnTo>
                  <a:lnTo>
                    <a:pt x="621769" y="358509"/>
                  </a:lnTo>
                  <a:lnTo>
                    <a:pt x="623311" y="356436"/>
                  </a:lnTo>
                  <a:close/>
                  <a:moveTo>
                    <a:pt x="546953" y="337021"/>
                  </a:moveTo>
                  <a:lnTo>
                    <a:pt x="547654" y="337470"/>
                  </a:lnTo>
                  <a:lnTo>
                    <a:pt x="548510" y="338654"/>
                  </a:lnTo>
                  <a:lnTo>
                    <a:pt x="549508" y="339659"/>
                  </a:lnTo>
                  <a:lnTo>
                    <a:pt x="553122" y="341591"/>
                  </a:lnTo>
                  <a:lnTo>
                    <a:pt x="553718" y="342405"/>
                  </a:lnTo>
                  <a:lnTo>
                    <a:pt x="553945" y="343750"/>
                  </a:lnTo>
                  <a:lnTo>
                    <a:pt x="554670" y="344748"/>
                  </a:lnTo>
                  <a:lnTo>
                    <a:pt x="556299" y="344900"/>
                  </a:lnTo>
                  <a:lnTo>
                    <a:pt x="558044" y="344698"/>
                  </a:lnTo>
                  <a:lnTo>
                    <a:pt x="559371" y="345332"/>
                  </a:lnTo>
                  <a:lnTo>
                    <a:pt x="560518" y="346336"/>
                  </a:lnTo>
                  <a:lnTo>
                    <a:pt x="562222" y="348287"/>
                  </a:lnTo>
                  <a:lnTo>
                    <a:pt x="563721" y="350446"/>
                  </a:lnTo>
                  <a:lnTo>
                    <a:pt x="565580" y="351649"/>
                  </a:lnTo>
                  <a:lnTo>
                    <a:pt x="566644" y="353446"/>
                  </a:lnTo>
                  <a:lnTo>
                    <a:pt x="566016" y="355031"/>
                  </a:lnTo>
                  <a:lnTo>
                    <a:pt x="563669" y="357223"/>
                  </a:lnTo>
                  <a:lnTo>
                    <a:pt x="562394" y="357699"/>
                  </a:lnTo>
                  <a:lnTo>
                    <a:pt x="560654" y="357871"/>
                  </a:lnTo>
                  <a:lnTo>
                    <a:pt x="557944" y="359176"/>
                  </a:lnTo>
                  <a:lnTo>
                    <a:pt x="556957" y="358493"/>
                  </a:lnTo>
                  <a:lnTo>
                    <a:pt x="553882" y="358020"/>
                  </a:lnTo>
                  <a:lnTo>
                    <a:pt x="551435" y="357077"/>
                  </a:lnTo>
                  <a:lnTo>
                    <a:pt x="549382" y="355352"/>
                  </a:lnTo>
                  <a:lnTo>
                    <a:pt x="548198" y="353496"/>
                  </a:lnTo>
                  <a:lnTo>
                    <a:pt x="546700" y="351861"/>
                  </a:lnTo>
                  <a:lnTo>
                    <a:pt x="544093" y="350766"/>
                  </a:lnTo>
                  <a:lnTo>
                    <a:pt x="539412" y="347553"/>
                  </a:lnTo>
                  <a:lnTo>
                    <a:pt x="536521" y="347263"/>
                  </a:lnTo>
                  <a:lnTo>
                    <a:pt x="535331" y="347498"/>
                  </a:lnTo>
                  <a:lnTo>
                    <a:pt x="534139" y="347514"/>
                  </a:lnTo>
                  <a:lnTo>
                    <a:pt x="528011" y="346066"/>
                  </a:lnTo>
                  <a:lnTo>
                    <a:pt x="527059" y="345221"/>
                  </a:lnTo>
                  <a:lnTo>
                    <a:pt x="526307" y="344138"/>
                  </a:lnTo>
                  <a:lnTo>
                    <a:pt x="525620" y="343074"/>
                  </a:lnTo>
                  <a:lnTo>
                    <a:pt x="525210" y="341881"/>
                  </a:lnTo>
                  <a:lnTo>
                    <a:pt x="525991" y="340826"/>
                  </a:lnTo>
                  <a:lnTo>
                    <a:pt x="526817" y="340116"/>
                  </a:lnTo>
                  <a:lnTo>
                    <a:pt x="530226" y="338872"/>
                  </a:lnTo>
                  <a:lnTo>
                    <a:pt x="532664" y="338487"/>
                  </a:lnTo>
                  <a:lnTo>
                    <a:pt x="535495" y="338545"/>
                  </a:lnTo>
                  <a:lnTo>
                    <a:pt x="539714" y="338158"/>
                  </a:lnTo>
                  <a:lnTo>
                    <a:pt x="543703" y="338783"/>
                  </a:lnTo>
                  <a:lnTo>
                    <a:pt x="544934" y="338317"/>
                  </a:lnTo>
                  <a:close/>
                  <a:moveTo>
                    <a:pt x="657075" y="329018"/>
                  </a:moveTo>
                  <a:lnTo>
                    <a:pt x="656915" y="331003"/>
                  </a:lnTo>
                  <a:lnTo>
                    <a:pt x="657396" y="331491"/>
                  </a:lnTo>
                  <a:lnTo>
                    <a:pt x="658202" y="331732"/>
                  </a:lnTo>
                  <a:lnTo>
                    <a:pt x="661014" y="330389"/>
                  </a:lnTo>
                  <a:lnTo>
                    <a:pt x="661545" y="330644"/>
                  </a:lnTo>
                  <a:lnTo>
                    <a:pt x="662089" y="331249"/>
                  </a:lnTo>
                  <a:lnTo>
                    <a:pt x="662098" y="333041"/>
                  </a:lnTo>
                  <a:lnTo>
                    <a:pt x="661016" y="334532"/>
                  </a:lnTo>
                  <a:lnTo>
                    <a:pt x="658297" y="334645"/>
                  </a:lnTo>
                  <a:lnTo>
                    <a:pt x="657913" y="335065"/>
                  </a:lnTo>
                  <a:lnTo>
                    <a:pt x="657879" y="335978"/>
                  </a:lnTo>
                  <a:lnTo>
                    <a:pt x="658092" y="336860"/>
                  </a:lnTo>
                  <a:lnTo>
                    <a:pt x="658727" y="337568"/>
                  </a:lnTo>
                  <a:lnTo>
                    <a:pt x="659537" y="338813"/>
                  </a:lnTo>
                  <a:lnTo>
                    <a:pt x="660301" y="341715"/>
                  </a:lnTo>
                  <a:lnTo>
                    <a:pt x="658748" y="342906"/>
                  </a:lnTo>
                  <a:lnTo>
                    <a:pt x="657978" y="345144"/>
                  </a:lnTo>
                  <a:lnTo>
                    <a:pt x="655296" y="347245"/>
                  </a:lnTo>
                  <a:lnTo>
                    <a:pt x="652346" y="350692"/>
                  </a:lnTo>
                  <a:lnTo>
                    <a:pt x="649990" y="352451"/>
                  </a:lnTo>
                  <a:lnTo>
                    <a:pt x="647920" y="354532"/>
                  </a:lnTo>
                  <a:lnTo>
                    <a:pt x="646135" y="355928"/>
                  </a:lnTo>
                  <a:lnTo>
                    <a:pt x="643907" y="356401"/>
                  </a:lnTo>
                  <a:lnTo>
                    <a:pt x="640573" y="356702"/>
                  </a:lnTo>
                  <a:lnTo>
                    <a:pt x="636043" y="359193"/>
                  </a:lnTo>
                  <a:lnTo>
                    <a:pt x="633534" y="360282"/>
                  </a:lnTo>
                  <a:lnTo>
                    <a:pt x="631093" y="360363"/>
                  </a:lnTo>
                  <a:lnTo>
                    <a:pt x="628813" y="359553"/>
                  </a:lnTo>
                  <a:lnTo>
                    <a:pt x="627942" y="358642"/>
                  </a:lnTo>
                  <a:lnTo>
                    <a:pt x="628148" y="357411"/>
                  </a:lnTo>
                  <a:lnTo>
                    <a:pt x="628904" y="356355"/>
                  </a:lnTo>
                  <a:lnTo>
                    <a:pt x="629830" y="355485"/>
                  </a:lnTo>
                  <a:lnTo>
                    <a:pt x="630410" y="354364"/>
                  </a:lnTo>
                  <a:lnTo>
                    <a:pt x="627824" y="352947"/>
                  </a:lnTo>
                  <a:lnTo>
                    <a:pt x="627599" y="351867"/>
                  </a:lnTo>
                  <a:lnTo>
                    <a:pt x="628627" y="348994"/>
                  </a:lnTo>
                  <a:lnTo>
                    <a:pt x="629292" y="346029"/>
                  </a:lnTo>
                  <a:lnTo>
                    <a:pt x="630255" y="344011"/>
                  </a:lnTo>
                  <a:lnTo>
                    <a:pt x="633957" y="340403"/>
                  </a:lnTo>
                  <a:lnTo>
                    <a:pt x="636177" y="338615"/>
                  </a:lnTo>
                  <a:lnTo>
                    <a:pt x="637485" y="337916"/>
                  </a:lnTo>
                  <a:lnTo>
                    <a:pt x="637842" y="338669"/>
                  </a:lnTo>
                  <a:lnTo>
                    <a:pt x="638675" y="339585"/>
                  </a:lnTo>
                  <a:lnTo>
                    <a:pt x="639236" y="339735"/>
                  </a:lnTo>
                  <a:lnTo>
                    <a:pt x="639657" y="339528"/>
                  </a:lnTo>
                  <a:lnTo>
                    <a:pt x="642924" y="339841"/>
                  </a:lnTo>
                  <a:lnTo>
                    <a:pt x="643743" y="339526"/>
                  </a:lnTo>
                  <a:lnTo>
                    <a:pt x="644989" y="338101"/>
                  </a:lnTo>
                  <a:lnTo>
                    <a:pt x="645813" y="337308"/>
                  </a:lnTo>
                  <a:lnTo>
                    <a:pt x="646373" y="335618"/>
                  </a:lnTo>
                  <a:lnTo>
                    <a:pt x="646509" y="334543"/>
                  </a:lnTo>
                  <a:lnTo>
                    <a:pt x="649407" y="333764"/>
                  </a:lnTo>
                  <a:lnTo>
                    <a:pt x="650964" y="332901"/>
                  </a:lnTo>
                  <a:lnTo>
                    <a:pt x="652342" y="331678"/>
                  </a:lnTo>
                  <a:lnTo>
                    <a:pt x="656356" y="329597"/>
                  </a:lnTo>
                  <a:close/>
                  <a:moveTo>
                    <a:pt x="450087" y="322946"/>
                  </a:moveTo>
                  <a:lnTo>
                    <a:pt x="451234" y="323909"/>
                  </a:lnTo>
                  <a:lnTo>
                    <a:pt x="451160" y="325171"/>
                  </a:lnTo>
                  <a:lnTo>
                    <a:pt x="450541" y="325937"/>
                  </a:lnTo>
                  <a:lnTo>
                    <a:pt x="448748" y="324571"/>
                  </a:lnTo>
                  <a:lnTo>
                    <a:pt x="448297" y="323959"/>
                  </a:lnTo>
                  <a:lnTo>
                    <a:pt x="449627" y="323067"/>
                  </a:lnTo>
                  <a:close/>
                  <a:moveTo>
                    <a:pt x="616548" y="317822"/>
                  </a:moveTo>
                  <a:lnTo>
                    <a:pt x="617618" y="318202"/>
                  </a:lnTo>
                  <a:lnTo>
                    <a:pt x="617955" y="318622"/>
                  </a:lnTo>
                  <a:lnTo>
                    <a:pt x="615235" y="319046"/>
                  </a:lnTo>
                  <a:lnTo>
                    <a:pt x="614069" y="320168"/>
                  </a:lnTo>
                  <a:lnTo>
                    <a:pt x="613365" y="321477"/>
                  </a:lnTo>
                  <a:lnTo>
                    <a:pt x="612088" y="321105"/>
                  </a:lnTo>
                  <a:lnTo>
                    <a:pt x="612436" y="319844"/>
                  </a:lnTo>
                  <a:lnTo>
                    <a:pt x="613084" y="319096"/>
                  </a:lnTo>
                  <a:lnTo>
                    <a:pt x="614803" y="318011"/>
                  </a:lnTo>
                  <a:close/>
                  <a:moveTo>
                    <a:pt x="535994" y="317584"/>
                  </a:moveTo>
                  <a:lnTo>
                    <a:pt x="536525" y="318174"/>
                  </a:lnTo>
                  <a:lnTo>
                    <a:pt x="536774" y="318559"/>
                  </a:lnTo>
                  <a:lnTo>
                    <a:pt x="537225" y="318739"/>
                  </a:lnTo>
                  <a:lnTo>
                    <a:pt x="538216" y="318774"/>
                  </a:lnTo>
                  <a:lnTo>
                    <a:pt x="538442" y="319581"/>
                  </a:lnTo>
                  <a:lnTo>
                    <a:pt x="538404" y="320350"/>
                  </a:lnTo>
                  <a:lnTo>
                    <a:pt x="537980" y="321151"/>
                  </a:lnTo>
                  <a:lnTo>
                    <a:pt x="536797" y="322017"/>
                  </a:lnTo>
                  <a:lnTo>
                    <a:pt x="535940" y="322987"/>
                  </a:lnTo>
                  <a:lnTo>
                    <a:pt x="536383" y="324529"/>
                  </a:lnTo>
                  <a:lnTo>
                    <a:pt x="535516" y="324740"/>
                  </a:lnTo>
                  <a:lnTo>
                    <a:pt x="534647" y="324418"/>
                  </a:lnTo>
                  <a:lnTo>
                    <a:pt x="535002" y="322436"/>
                  </a:lnTo>
                  <a:lnTo>
                    <a:pt x="534499" y="321088"/>
                  </a:lnTo>
                  <a:lnTo>
                    <a:pt x="535406" y="320031"/>
                  </a:lnTo>
                  <a:lnTo>
                    <a:pt x="535633" y="318158"/>
                  </a:lnTo>
                  <a:close/>
                  <a:moveTo>
                    <a:pt x="619370" y="313271"/>
                  </a:moveTo>
                  <a:lnTo>
                    <a:pt x="622000" y="314019"/>
                  </a:lnTo>
                  <a:lnTo>
                    <a:pt x="621590" y="315927"/>
                  </a:lnTo>
                  <a:lnTo>
                    <a:pt x="621143" y="316904"/>
                  </a:lnTo>
                  <a:lnTo>
                    <a:pt x="615122" y="316834"/>
                  </a:lnTo>
                  <a:lnTo>
                    <a:pt x="615291" y="315549"/>
                  </a:lnTo>
                  <a:lnTo>
                    <a:pt x="616964" y="314147"/>
                  </a:lnTo>
                  <a:lnTo>
                    <a:pt x="617521" y="313680"/>
                  </a:lnTo>
                  <a:close/>
                  <a:moveTo>
                    <a:pt x="468664" y="312575"/>
                  </a:moveTo>
                  <a:lnTo>
                    <a:pt x="474091" y="314323"/>
                  </a:lnTo>
                  <a:lnTo>
                    <a:pt x="474987" y="314799"/>
                  </a:lnTo>
                  <a:lnTo>
                    <a:pt x="475682" y="315510"/>
                  </a:lnTo>
                  <a:lnTo>
                    <a:pt x="476017" y="316643"/>
                  </a:lnTo>
                  <a:lnTo>
                    <a:pt x="473955" y="321697"/>
                  </a:lnTo>
                  <a:lnTo>
                    <a:pt x="471156" y="326311"/>
                  </a:lnTo>
                  <a:lnTo>
                    <a:pt x="472153" y="327055"/>
                  </a:lnTo>
                  <a:lnTo>
                    <a:pt x="472754" y="327762"/>
                  </a:lnTo>
                  <a:lnTo>
                    <a:pt x="468127" y="328718"/>
                  </a:lnTo>
                  <a:lnTo>
                    <a:pt x="466194" y="328208"/>
                  </a:lnTo>
                  <a:lnTo>
                    <a:pt x="465077" y="328341"/>
                  </a:lnTo>
                  <a:lnTo>
                    <a:pt x="460377" y="327473"/>
                  </a:lnTo>
                  <a:lnTo>
                    <a:pt x="457013" y="326413"/>
                  </a:lnTo>
                  <a:lnTo>
                    <a:pt x="456630" y="325573"/>
                  </a:lnTo>
                  <a:lnTo>
                    <a:pt x="456896" y="324568"/>
                  </a:lnTo>
                  <a:lnTo>
                    <a:pt x="457893" y="324908"/>
                  </a:lnTo>
                  <a:lnTo>
                    <a:pt x="460484" y="325069"/>
                  </a:lnTo>
                  <a:lnTo>
                    <a:pt x="461475" y="324616"/>
                  </a:lnTo>
                  <a:lnTo>
                    <a:pt x="461504" y="321640"/>
                  </a:lnTo>
                  <a:lnTo>
                    <a:pt x="461136" y="317767"/>
                  </a:lnTo>
                  <a:lnTo>
                    <a:pt x="464645" y="314602"/>
                  </a:lnTo>
                  <a:lnTo>
                    <a:pt x="466514" y="313328"/>
                  </a:lnTo>
                  <a:close/>
                  <a:moveTo>
                    <a:pt x="642555" y="312521"/>
                  </a:moveTo>
                  <a:lnTo>
                    <a:pt x="643031" y="312675"/>
                  </a:lnTo>
                  <a:lnTo>
                    <a:pt x="643414" y="313123"/>
                  </a:lnTo>
                  <a:lnTo>
                    <a:pt x="643019" y="315365"/>
                  </a:lnTo>
                  <a:lnTo>
                    <a:pt x="641674" y="316741"/>
                  </a:lnTo>
                  <a:lnTo>
                    <a:pt x="640759" y="319133"/>
                  </a:lnTo>
                  <a:lnTo>
                    <a:pt x="639925" y="319861"/>
                  </a:lnTo>
                  <a:lnTo>
                    <a:pt x="638135" y="320311"/>
                  </a:lnTo>
                  <a:lnTo>
                    <a:pt x="637064" y="317911"/>
                  </a:lnTo>
                  <a:lnTo>
                    <a:pt x="635084" y="318024"/>
                  </a:lnTo>
                  <a:lnTo>
                    <a:pt x="636051" y="315912"/>
                  </a:lnTo>
                  <a:lnTo>
                    <a:pt x="636986" y="315123"/>
                  </a:lnTo>
                  <a:lnTo>
                    <a:pt x="638201" y="315103"/>
                  </a:lnTo>
                  <a:lnTo>
                    <a:pt x="638800" y="315958"/>
                  </a:lnTo>
                  <a:lnTo>
                    <a:pt x="639126" y="316139"/>
                  </a:lnTo>
                  <a:lnTo>
                    <a:pt x="641979" y="312558"/>
                  </a:lnTo>
                  <a:close/>
                  <a:moveTo>
                    <a:pt x="631728" y="312269"/>
                  </a:moveTo>
                  <a:lnTo>
                    <a:pt x="633265" y="312780"/>
                  </a:lnTo>
                  <a:lnTo>
                    <a:pt x="634384" y="313356"/>
                  </a:lnTo>
                  <a:lnTo>
                    <a:pt x="635019" y="314095"/>
                  </a:lnTo>
                  <a:lnTo>
                    <a:pt x="631903" y="314699"/>
                  </a:lnTo>
                  <a:lnTo>
                    <a:pt x="630000" y="317478"/>
                  </a:lnTo>
                  <a:lnTo>
                    <a:pt x="628483" y="317434"/>
                  </a:lnTo>
                  <a:lnTo>
                    <a:pt x="627651" y="318670"/>
                  </a:lnTo>
                  <a:lnTo>
                    <a:pt x="627453" y="319198"/>
                  </a:lnTo>
                  <a:lnTo>
                    <a:pt x="627569" y="319692"/>
                  </a:lnTo>
                  <a:lnTo>
                    <a:pt x="627399" y="320161"/>
                  </a:lnTo>
                  <a:lnTo>
                    <a:pt x="626798" y="320648"/>
                  </a:lnTo>
                  <a:lnTo>
                    <a:pt x="625375" y="319881"/>
                  </a:lnTo>
                  <a:lnTo>
                    <a:pt x="624161" y="320855"/>
                  </a:lnTo>
                  <a:lnTo>
                    <a:pt x="623652" y="321090"/>
                  </a:lnTo>
                  <a:lnTo>
                    <a:pt x="621866" y="319955"/>
                  </a:lnTo>
                  <a:lnTo>
                    <a:pt x="620171" y="320020"/>
                  </a:lnTo>
                  <a:lnTo>
                    <a:pt x="619657" y="319844"/>
                  </a:lnTo>
                  <a:lnTo>
                    <a:pt x="621756" y="317804"/>
                  </a:lnTo>
                  <a:lnTo>
                    <a:pt x="624622" y="315904"/>
                  </a:lnTo>
                  <a:lnTo>
                    <a:pt x="625092" y="315203"/>
                  </a:lnTo>
                  <a:lnTo>
                    <a:pt x="623971" y="315006"/>
                  </a:lnTo>
                  <a:lnTo>
                    <a:pt x="623302" y="314721"/>
                  </a:lnTo>
                  <a:lnTo>
                    <a:pt x="623220" y="314273"/>
                  </a:lnTo>
                  <a:lnTo>
                    <a:pt x="625034" y="313975"/>
                  </a:lnTo>
                  <a:lnTo>
                    <a:pt x="626288" y="313934"/>
                  </a:lnTo>
                  <a:lnTo>
                    <a:pt x="627243" y="314519"/>
                  </a:lnTo>
                  <a:lnTo>
                    <a:pt x="627850" y="314514"/>
                  </a:lnTo>
                  <a:close/>
                  <a:moveTo>
                    <a:pt x="963116" y="311891"/>
                  </a:moveTo>
                  <a:lnTo>
                    <a:pt x="963857" y="311895"/>
                  </a:lnTo>
                  <a:lnTo>
                    <a:pt x="966100" y="315543"/>
                  </a:lnTo>
                  <a:lnTo>
                    <a:pt x="966044" y="316682"/>
                  </a:lnTo>
                  <a:lnTo>
                    <a:pt x="964947" y="316974"/>
                  </a:lnTo>
                  <a:lnTo>
                    <a:pt x="959391" y="316300"/>
                  </a:lnTo>
                  <a:lnTo>
                    <a:pt x="958793" y="315382"/>
                  </a:lnTo>
                  <a:lnTo>
                    <a:pt x="958709" y="314910"/>
                  </a:lnTo>
                  <a:lnTo>
                    <a:pt x="959983" y="314006"/>
                  </a:lnTo>
                  <a:lnTo>
                    <a:pt x="961214" y="312464"/>
                  </a:lnTo>
                  <a:close/>
                  <a:moveTo>
                    <a:pt x="496602" y="311330"/>
                  </a:moveTo>
                  <a:lnTo>
                    <a:pt x="496695" y="312243"/>
                  </a:lnTo>
                  <a:lnTo>
                    <a:pt x="494199" y="316206"/>
                  </a:lnTo>
                  <a:lnTo>
                    <a:pt x="493696" y="316221"/>
                  </a:lnTo>
                  <a:lnTo>
                    <a:pt x="492741" y="315793"/>
                  </a:lnTo>
                  <a:lnTo>
                    <a:pt x="493085" y="314864"/>
                  </a:lnTo>
                  <a:lnTo>
                    <a:pt x="492558" y="313356"/>
                  </a:lnTo>
                  <a:lnTo>
                    <a:pt x="492744" y="312113"/>
                  </a:lnTo>
                  <a:lnTo>
                    <a:pt x="493972" y="311413"/>
                  </a:lnTo>
                  <a:close/>
                  <a:moveTo>
                    <a:pt x="528283" y="311128"/>
                  </a:moveTo>
                  <a:lnTo>
                    <a:pt x="528959" y="311973"/>
                  </a:lnTo>
                  <a:lnTo>
                    <a:pt x="529103" y="312417"/>
                  </a:lnTo>
                  <a:lnTo>
                    <a:pt x="528481" y="313004"/>
                  </a:lnTo>
                  <a:lnTo>
                    <a:pt x="527754" y="313347"/>
                  </a:lnTo>
                  <a:lnTo>
                    <a:pt x="526784" y="313373"/>
                  </a:lnTo>
                  <a:lnTo>
                    <a:pt x="526583" y="312480"/>
                  </a:lnTo>
                  <a:lnTo>
                    <a:pt x="526931" y="311543"/>
                  </a:lnTo>
                  <a:lnTo>
                    <a:pt x="527862" y="311152"/>
                  </a:lnTo>
                  <a:close/>
                  <a:moveTo>
                    <a:pt x="647927" y="311045"/>
                  </a:moveTo>
                  <a:lnTo>
                    <a:pt x="649409" y="311165"/>
                  </a:lnTo>
                  <a:lnTo>
                    <a:pt x="649940" y="312521"/>
                  </a:lnTo>
                  <a:lnTo>
                    <a:pt x="651649" y="311771"/>
                  </a:lnTo>
                  <a:lnTo>
                    <a:pt x="653315" y="311582"/>
                  </a:lnTo>
                  <a:lnTo>
                    <a:pt x="657116" y="311726"/>
                  </a:lnTo>
                  <a:lnTo>
                    <a:pt x="659906" y="312028"/>
                  </a:lnTo>
                  <a:lnTo>
                    <a:pt x="661549" y="312589"/>
                  </a:lnTo>
                  <a:lnTo>
                    <a:pt x="661707" y="315297"/>
                  </a:lnTo>
                  <a:lnTo>
                    <a:pt x="660933" y="315884"/>
                  </a:lnTo>
                  <a:lnTo>
                    <a:pt x="646505" y="317928"/>
                  </a:lnTo>
                  <a:lnTo>
                    <a:pt x="645099" y="317271"/>
                  </a:lnTo>
                  <a:lnTo>
                    <a:pt x="644545" y="316621"/>
                  </a:lnTo>
                  <a:lnTo>
                    <a:pt x="646101" y="314614"/>
                  </a:lnTo>
                  <a:lnTo>
                    <a:pt x="645384" y="313662"/>
                  </a:lnTo>
                  <a:lnTo>
                    <a:pt x="646205" y="312108"/>
                  </a:lnTo>
                  <a:close/>
                  <a:moveTo>
                    <a:pt x="721226" y="310231"/>
                  </a:moveTo>
                  <a:lnTo>
                    <a:pt x="725095" y="311126"/>
                  </a:lnTo>
                  <a:lnTo>
                    <a:pt x="727315" y="311032"/>
                  </a:lnTo>
                  <a:lnTo>
                    <a:pt x="727767" y="311830"/>
                  </a:lnTo>
                  <a:lnTo>
                    <a:pt x="725650" y="313714"/>
                  </a:lnTo>
                  <a:lnTo>
                    <a:pt x="721170" y="312264"/>
                  </a:lnTo>
                  <a:lnTo>
                    <a:pt x="720403" y="310708"/>
                  </a:lnTo>
                  <a:close/>
                  <a:moveTo>
                    <a:pt x="611158" y="310106"/>
                  </a:moveTo>
                  <a:lnTo>
                    <a:pt x="612734" y="310380"/>
                  </a:lnTo>
                  <a:lnTo>
                    <a:pt x="614091" y="311413"/>
                  </a:lnTo>
                  <a:lnTo>
                    <a:pt x="614701" y="315356"/>
                  </a:lnTo>
                  <a:lnTo>
                    <a:pt x="613585" y="315912"/>
                  </a:lnTo>
                  <a:lnTo>
                    <a:pt x="612881" y="316510"/>
                  </a:lnTo>
                  <a:lnTo>
                    <a:pt x="612406" y="317298"/>
                  </a:lnTo>
                  <a:lnTo>
                    <a:pt x="610393" y="318741"/>
                  </a:lnTo>
                  <a:lnTo>
                    <a:pt x="611181" y="320546"/>
                  </a:lnTo>
                  <a:lnTo>
                    <a:pt x="610590" y="321292"/>
                  </a:lnTo>
                  <a:lnTo>
                    <a:pt x="609769" y="321649"/>
                  </a:lnTo>
                  <a:lnTo>
                    <a:pt x="606642" y="322441"/>
                  </a:lnTo>
                  <a:lnTo>
                    <a:pt x="604704" y="323191"/>
                  </a:lnTo>
                  <a:lnTo>
                    <a:pt x="602855" y="324183"/>
                  </a:lnTo>
                  <a:lnTo>
                    <a:pt x="601684" y="324388"/>
                  </a:lnTo>
                  <a:lnTo>
                    <a:pt x="599567" y="324468"/>
                  </a:lnTo>
                  <a:lnTo>
                    <a:pt x="596564" y="324290"/>
                  </a:lnTo>
                  <a:lnTo>
                    <a:pt x="594539" y="324612"/>
                  </a:lnTo>
                  <a:lnTo>
                    <a:pt x="588890" y="327188"/>
                  </a:lnTo>
                  <a:lnTo>
                    <a:pt x="586671" y="327412"/>
                  </a:lnTo>
                  <a:lnTo>
                    <a:pt x="584748" y="328043"/>
                  </a:lnTo>
                  <a:lnTo>
                    <a:pt x="584083" y="327042"/>
                  </a:lnTo>
                  <a:lnTo>
                    <a:pt x="583272" y="326302"/>
                  </a:lnTo>
                  <a:lnTo>
                    <a:pt x="581393" y="326115"/>
                  </a:lnTo>
                  <a:lnTo>
                    <a:pt x="579514" y="326174"/>
                  </a:lnTo>
                  <a:lnTo>
                    <a:pt x="577605" y="328448"/>
                  </a:lnTo>
                  <a:lnTo>
                    <a:pt x="574565" y="327971"/>
                  </a:lnTo>
                  <a:lnTo>
                    <a:pt x="573386" y="328172"/>
                  </a:lnTo>
                  <a:lnTo>
                    <a:pt x="572250" y="328650"/>
                  </a:lnTo>
                  <a:lnTo>
                    <a:pt x="571125" y="328862"/>
                  </a:lnTo>
                  <a:lnTo>
                    <a:pt x="569944" y="328703"/>
                  </a:lnTo>
                  <a:lnTo>
                    <a:pt x="565502" y="326931"/>
                  </a:lnTo>
                  <a:lnTo>
                    <a:pt x="560405" y="325885"/>
                  </a:lnTo>
                  <a:lnTo>
                    <a:pt x="555299" y="326296"/>
                  </a:lnTo>
                  <a:lnTo>
                    <a:pt x="550907" y="325330"/>
                  </a:lnTo>
                  <a:lnTo>
                    <a:pt x="548501" y="326069"/>
                  </a:lnTo>
                  <a:lnTo>
                    <a:pt x="546230" y="327127"/>
                  </a:lnTo>
                  <a:lnTo>
                    <a:pt x="545560" y="326013"/>
                  </a:lnTo>
                  <a:lnTo>
                    <a:pt x="544727" y="325032"/>
                  </a:lnTo>
                  <a:lnTo>
                    <a:pt x="543986" y="323563"/>
                  </a:lnTo>
                  <a:lnTo>
                    <a:pt x="543966" y="321899"/>
                  </a:lnTo>
                  <a:lnTo>
                    <a:pt x="544213" y="320731"/>
                  </a:lnTo>
                  <a:lnTo>
                    <a:pt x="544865" y="319670"/>
                  </a:lnTo>
                  <a:lnTo>
                    <a:pt x="545273" y="318563"/>
                  </a:lnTo>
                  <a:lnTo>
                    <a:pt x="545465" y="317376"/>
                  </a:lnTo>
                  <a:lnTo>
                    <a:pt x="546426" y="317939"/>
                  </a:lnTo>
                  <a:lnTo>
                    <a:pt x="547432" y="317726"/>
                  </a:lnTo>
                  <a:lnTo>
                    <a:pt x="550427" y="316434"/>
                  </a:lnTo>
                  <a:lnTo>
                    <a:pt x="553345" y="314482"/>
                  </a:lnTo>
                  <a:lnTo>
                    <a:pt x="556063" y="313769"/>
                  </a:lnTo>
                  <a:lnTo>
                    <a:pt x="557629" y="313571"/>
                  </a:lnTo>
                  <a:lnTo>
                    <a:pt x="558970" y="313954"/>
                  </a:lnTo>
                  <a:lnTo>
                    <a:pt x="560333" y="313814"/>
                  </a:lnTo>
                  <a:lnTo>
                    <a:pt x="561727" y="313382"/>
                  </a:lnTo>
                  <a:lnTo>
                    <a:pt x="563924" y="314882"/>
                  </a:lnTo>
                  <a:lnTo>
                    <a:pt x="564848" y="315186"/>
                  </a:lnTo>
                  <a:lnTo>
                    <a:pt x="567827" y="315302"/>
                  </a:lnTo>
                  <a:lnTo>
                    <a:pt x="570537" y="316167"/>
                  </a:lnTo>
                  <a:lnTo>
                    <a:pt x="572958" y="317458"/>
                  </a:lnTo>
                  <a:lnTo>
                    <a:pt x="576463" y="318670"/>
                  </a:lnTo>
                  <a:lnTo>
                    <a:pt x="578570" y="320294"/>
                  </a:lnTo>
                  <a:lnTo>
                    <a:pt x="580175" y="320894"/>
                  </a:lnTo>
                  <a:lnTo>
                    <a:pt x="581367" y="321057"/>
                  </a:lnTo>
                  <a:lnTo>
                    <a:pt x="582461" y="320838"/>
                  </a:lnTo>
                  <a:lnTo>
                    <a:pt x="583842" y="319744"/>
                  </a:lnTo>
                  <a:lnTo>
                    <a:pt x="585457" y="319292"/>
                  </a:lnTo>
                  <a:lnTo>
                    <a:pt x="586864" y="319309"/>
                  </a:lnTo>
                  <a:lnTo>
                    <a:pt x="589426" y="319026"/>
                  </a:lnTo>
                  <a:lnTo>
                    <a:pt x="590505" y="318763"/>
                  </a:lnTo>
                  <a:lnTo>
                    <a:pt x="591717" y="318163"/>
                  </a:lnTo>
                  <a:lnTo>
                    <a:pt x="592902" y="318535"/>
                  </a:lnTo>
                  <a:lnTo>
                    <a:pt x="593941" y="319087"/>
                  </a:lnTo>
                  <a:lnTo>
                    <a:pt x="598275" y="321943"/>
                  </a:lnTo>
                  <a:lnTo>
                    <a:pt x="599605" y="322019"/>
                  </a:lnTo>
                  <a:lnTo>
                    <a:pt x="602043" y="321405"/>
                  </a:lnTo>
                  <a:lnTo>
                    <a:pt x="602775" y="320640"/>
                  </a:lnTo>
                  <a:lnTo>
                    <a:pt x="603151" y="319463"/>
                  </a:lnTo>
                  <a:lnTo>
                    <a:pt x="603818" y="318485"/>
                  </a:lnTo>
                  <a:lnTo>
                    <a:pt x="604748" y="317637"/>
                  </a:lnTo>
                  <a:lnTo>
                    <a:pt x="605803" y="316989"/>
                  </a:lnTo>
                  <a:lnTo>
                    <a:pt x="609041" y="315891"/>
                  </a:lnTo>
                  <a:lnTo>
                    <a:pt x="611264" y="314806"/>
                  </a:lnTo>
                  <a:lnTo>
                    <a:pt x="612781" y="312969"/>
                  </a:lnTo>
                  <a:lnTo>
                    <a:pt x="609232" y="312169"/>
                  </a:lnTo>
                  <a:lnTo>
                    <a:pt x="609978" y="310848"/>
                  </a:lnTo>
                  <a:close/>
                  <a:moveTo>
                    <a:pt x="791911" y="310063"/>
                  </a:moveTo>
                  <a:lnTo>
                    <a:pt x="793399" y="310802"/>
                  </a:lnTo>
                  <a:lnTo>
                    <a:pt x="795366" y="310941"/>
                  </a:lnTo>
                  <a:lnTo>
                    <a:pt x="792434" y="312749"/>
                  </a:lnTo>
                  <a:lnTo>
                    <a:pt x="789435" y="313499"/>
                  </a:lnTo>
                  <a:lnTo>
                    <a:pt x="788419" y="315126"/>
                  </a:lnTo>
                  <a:lnTo>
                    <a:pt x="786496" y="315819"/>
                  </a:lnTo>
                  <a:lnTo>
                    <a:pt x="787783" y="314058"/>
                  </a:lnTo>
                  <a:close/>
                  <a:moveTo>
                    <a:pt x="502262" y="310013"/>
                  </a:moveTo>
                  <a:lnTo>
                    <a:pt x="506606" y="310752"/>
                  </a:lnTo>
                  <a:lnTo>
                    <a:pt x="507340" y="311369"/>
                  </a:lnTo>
                  <a:lnTo>
                    <a:pt x="508494" y="313980"/>
                  </a:lnTo>
                  <a:lnTo>
                    <a:pt x="509369" y="315103"/>
                  </a:lnTo>
                  <a:lnTo>
                    <a:pt x="510474" y="315982"/>
                  </a:lnTo>
                  <a:lnTo>
                    <a:pt x="511481" y="315900"/>
                  </a:lnTo>
                  <a:lnTo>
                    <a:pt x="513588" y="314558"/>
                  </a:lnTo>
                  <a:lnTo>
                    <a:pt x="514858" y="314073"/>
                  </a:lnTo>
                  <a:lnTo>
                    <a:pt x="516218" y="314049"/>
                  </a:lnTo>
                  <a:lnTo>
                    <a:pt x="517540" y="314278"/>
                  </a:lnTo>
                  <a:lnTo>
                    <a:pt x="518837" y="315230"/>
                  </a:lnTo>
                  <a:lnTo>
                    <a:pt x="519306" y="316789"/>
                  </a:lnTo>
                  <a:lnTo>
                    <a:pt x="519794" y="317267"/>
                  </a:lnTo>
                  <a:lnTo>
                    <a:pt x="520556" y="315402"/>
                  </a:lnTo>
                  <a:lnTo>
                    <a:pt x="521571" y="314838"/>
                  </a:lnTo>
                  <a:lnTo>
                    <a:pt x="522709" y="314554"/>
                  </a:lnTo>
                  <a:lnTo>
                    <a:pt x="524489" y="314656"/>
                  </a:lnTo>
                  <a:lnTo>
                    <a:pt x="525851" y="315547"/>
                  </a:lnTo>
                  <a:lnTo>
                    <a:pt x="527090" y="318197"/>
                  </a:lnTo>
                  <a:lnTo>
                    <a:pt x="527052" y="320518"/>
                  </a:lnTo>
                  <a:lnTo>
                    <a:pt x="527504" y="321384"/>
                  </a:lnTo>
                  <a:lnTo>
                    <a:pt x="528356" y="322017"/>
                  </a:lnTo>
                  <a:lnTo>
                    <a:pt x="528989" y="322906"/>
                  </a:lnTo>
                  <a:lnTo>
                    <a:pt x="528425" y="323837"/>
                  </a:lnTo>
                  <a:lnTo>
                    <a:pt x="527866" y="324294"/>
                  </a:lnTo>
                  <a:lnTo>
                    <a:pt x="526259" y="324721"/>
                  </a:lnTo>
                  <a:lnTo>
                    <a:pt x="525491" y="324534"/>
                  </a:lnTo>
                  <a:lnTo>
                    <a:pt x="524781" y="323907"/>
                  </a:lnTo>
                  <a:lnTo>
                    <a:pt x="523984" y="323676"/>
                  </a:lnTo>
                  <a:lnTo>
                    <a:pt x="522167" y="323885"/>
                  </a:lnTo>
                  <a:lnTo>
                    <a:pt x="520502" y="324405"/>
                  </a:lnTo>
                  <a:lnTo>
                    <a:pt x="520731" y="325256"/>
                  </a:lnTo>
                  <a:lnTo>
                    <a:pt x="522098" y="325639"/>
                  </a:lnTo>
                  <a:lnTo>
                    <a:pt x="522511" y="326041"/>
                  </a:lnTo>
                  <a:lnTo>
                    <a:pt x="522420" y="326587"/>
                  </a:lnTo>
                  <a:lnTo>
                    <a:pt x="521882" y="326696"/>
                  </a:lnTo>
                  <a:lnTo>
                    <a:pt x="520105" y="325961"/>
                  </a:lnTo>
                  <a:lnTo>
                    <a:pt x="518905" y="326109"/>
                  </a:lnTo>
                  <a:lnTo>
                    <a:pt x="514592" y="327101"/>
                  </a:lnTo>
                  <a:lnTo>
                    <a:pt x="513450" y="327079"/>
                  </a:lnTo>
                  <a:lnTo>
                    <a:pt x="512806" y="326142"/>
                  </a:lnTo>
                  <a:lnTo>
                    <a:pt x="512852" y="323698"/>
                  </a:lnTo>
                  <a:lnTo>
                    <a:pt x="512387" y="323050"/>
                  </a:lnTo>
                  <a:lnTo>
                    <a:pt x="509183" y="326018"/>
                  </a:lnTo>
                  <a:lnTo>
                    <a:pt x="508209" y="326746"/>
                  </a:lnTo>
                  <a:lnTo>
                    <a:pt x="506918" y="327090"/>
                  </a:lnTo>
                  <a:lnTo>
                    <a:pt x="505572" y="326971"/>
                  </a:lnTo>
                  <a:lnTo>
                    <a:pt x="500940" y="328772"/>
                  </a:lnTo>
                  <a:lnTo>
                    <a:pt x="499485" y="328520"/>
                  </a:lnTo>
                  <a:lnTo>
                    <a:pt x="498075" y="328515"/>
                  </a:lnTo>
                  <a:lnTo>
                    <a:pt x="493128" y="330468"/>
                  </a:lnTo>
                  <a:lnTo>
                    <a:pt x="490474" y="331012"/>
                  </a:lnTo>
                  <a:lnTo>
                    <a:pt x="489114" y="331051"/>
                  </a:lnTo>
                  <a:lnTo>
                    <a:pt x="487757" y="330884"/>
                  </a:lnTo>
                  <a:lnTo>
                    <a:pt x="486546" y="331060"/>
                  </a:lnTo>
                  <a:lnTo>
                    <a:pt x="485462" y="331844"/>
                  </a:lnTo>
                  <a:lnTo>
                    <a:pt x="483253" y="332507"/>
                  </a:lnTo>
                  <a:lnTo>
                    <a:pt x="480973" y="332002"/>
                  </a:lnTo>
                  <a:lnTo>
                    <a:pt x="479047" y="331330"/>
                  </a:lnTo>
                  <a:lnTo>
                    <a:pt x="477220" y="330442"/>
                  </a:lnTo>
                  <a:lnTo>
                    <a:pt x="476766" y="329308"/>
                  </a:lnTo>
                  <a:lnTo>
                    <a:pt x="476857" y="327945"/>
                  </a:lnTo>
                  <a:lnTo>
                    <a:pt x="477628" y="326087"/>
                  </a:lnTo>
                  <a:lnTo>
                    <a:pt x="477101" y="322828"/>
                  </a:lnTo>
                  <a:lnTo>
                    <a:pt x="477503" y="321342"/>
                  </a:lnTo>
                  <a:lnTo>
                    <a:pt x="478250" y="319883"/>
                  </a:lnTo>
                  <a:lnTo>
                    <a:pt x="479381" y="319346"/>
                  </a:lnTo>
                  <a:lnTo>
                    <a:pt x="480861" y="319237"/>
                  </a:lnTo>
                  <a:lnTo>
                    <a:pt x="483305" y="317923"/>
                  </a:lnTo>
                  <a:lnTo>
                    <a:pt x="485542" y="316204"/>
                  </a:lnTo>
                  <a:lnTo>
                    <a:pt x="486842" y="316367"/>
                  </a:lnTo>
                  <a:lnTo>
                    <a:pt x="489783" y="317569"/>
                  </a:lnTo>
                  <a:lnTo>
                    <a:pt x="491507" y="317713"/>
                  </a:lnTo>
                  <a:lnTo>
                    <a:pt x="494437" y="317522"/>
                  </a:lnTo>
                  <a:lnTo>
                    <a:pt x="495646" y="318261"/>
                  </a:lnTo>
                  <a:lnTo>
                    <a:pt x="496123" y="319953"/>
                  </a:lnTo>
                  <a:lnTo>
                    <a:pt x="496775" y="320570"/>
                  </a:lnTo>
                  <a:lnTo>
                    <a:pt x="497643" y="321001"/>
                  </a:lnTo>
                  <a:lnTo>
                    <a:pt x="499721" y="323863"/>
                  </a:lnTo>
                  <a:lnTo>
                    <a:pt x="501647" y="323713"/>
                  </a:lnTo>
                  <a:lnTo>
                    <a:pt x="503335" y="324240"/>
                  </a:lnTo>
                  <a:lnTo>
                    <a:pt x="506311" y="322508"/>
                  </a:lnTo>
                  <a:lnTo>
                    <a:pt x="508563" y="322550"/>
                  </a:lnTo>
                  <a:lnTo>
                    <a:pt x="509202" y="321207"/>
                  </a:lnTo>
                  <a:lnTo>
                    <a:pt x="507857" y="319774"/>
                  </a:lnTo>
                  <a:lnTo>
                    <a:pt x="506231" y="318609"/>
                  </a:lnTo>
                  <a:lnTo>
                    <a:pt x="505358" y="318365"/>
                  </a:lnTo>
                  <a:lnTo>
                    <a:pt x="504404" y="318435"/>
                  </a:lnTo>
                  <a:lnTo>
                    <a:pt x="503547" y="318246"/>
                  </a:lnTo>
                  <a:lnTo>
                    <a:pt x="499915" y="315645"/>
                  </a:lnTo>
                  <a:lnTo>
                    <a:pt x="498844" y="314241"/>
                  </a:lnTo>
                  <a:lnTo>
                    <a:pt x="498224" y="312584"/>
                  </a:lnTo>
                  <a:lnTo>
                    <a:pt x="498598" y="311358"/>
                  </a:lnTo>
                  <a:lnTo>
                    <a:pt x="501096" y="310276"/>
                  </a:lnTo>
                  <a:close/>
                  <a:moveTo>
                    <a:pt x="441078" y="309494"/>
                  </a:moveTo>
                  <a:lnTo>
                    <a:pt x="441896" y="309533"/>
                  </a:lnTo>
                  <a:lnTo>
                    <a:pt x="445196" y="310600"/>
                  </a:lnTo>
                  <a:lnTo>
                    <a:pt x="447576" y="311484"/>
                  </a:lnTo>
                  <a:lnTo>
                    <a:pt x="449822" y="312667"/>
                  </a:lnTo>
                  <a:lnTo>
                    <a:pt x="452950" y="316123"/>
                  </a:lnTo>
                  <a:lnTo>
                    <a:pt x="453246" y="317093"/>
                  </a:lnTo>
                  <a:lnTo>
                    <a:pt x="452298" y="318008"/>
                  </a:lnTo>
                  <a:lnTo>
                    <a:pt x="450055" y="319476"/>
                  </a:lnTo>
                  <a:lnTo>
                    <a:pt x="445054" y="321738"/>
                  </a:lnTo>
                  <a:lnTo>
                    <a:pt x="444196" y="322806"/>
                  </a:lnTo>
                  <a:lnTo>
                    <a:pt x="443138" y="324897"/>
                  </a:lnTo>
                  <a:lnTo>
                    <a:pt x="442894" y="325789"/>
                  </a:lnTo>
                  <a:lnTo>
                    <a:pt x="442542" y="326278"/>
                  </a:lnTo>
                  <a:lnTo>
                    <a:pt x="441968" y="326633"/>
                  </a:lnTo>
                  <a:lnTo>
                    <a:pt x="440877" y="326936"/>
                  </a:lnTo>
                  <a:lnTo>
                    <a:pt x="439696" y="326498"/>
                  </a:lnTo>
                  <a:lnTo>
                    <a:pt x="440763" y="325151"/>
                  </a:lnTo>
                  <a:lnTo>
                    <a:pt x="440804" y="323546"/>
                  </a:lnTo>
                  <a:lnTo>
                    <a:pt x="440009" y="322045"/>
                  </a:lnTo>
                  <a:lnTo>
                    <a:pt x="438890" y="320788"/>
                  </a:lnTo>
                  <a:lnTo>
                    <a:pt x="436612" y="319080"/>
                  </a:lnTo>
                  <a:lnTo>
                    <a:pt x="434181" y="317569"/>
                  </a:lnTo>
                  <a:lnTo>
                    <a:pt x="431732" y="316799"/>
                  </a:lnTo>
                  <a:lnTo>
                    <a:pt x="429120" y="316451"/>
                  </a:lnTo>
                  <a:lnTo>
                    <a:pt x="428184" y="315719"/>
                  </a:lnTo>
                  <a:lnTo>
                    <a:pt x="426655" y="313836"/>
                  </a:lnTo>
                  <a:lnTo>
                    <a:pt x="426150" y="312810"/>
                  </a:lnTo>
                  <a:lnTo>
                    <a:pt x="425900" y="311732"/>
                  </a:lnTo>
                  <a:lnTo>
                    <a:pt x="426070" y="310689"/>
                  </a:lnTo>
                  <a:lnTo>
                    <a:pt x="426711" y="310626"/>
                  </a:lnTo>
                  <a:lnTo>
                    <a:pt x="429270" y="310873"/>
                  </a:lnTo>
                  <a:lnTo>
                    <a:pt x="433980" y="312095"/>
                  </a:lnTo>
                  <a:lnTo>
                    <a:pt x="436312" y="312195"/>
                  </a:lnTo>
                  <a:lnTo>
                    <a:pt x="437632" y="311913"/>
                  </a:lnTo>
                  <a:close/>
                  <a:moveTo>
                    <a:pt x="761736" y="303467"/>
                  </a:moveTo>
                  <a:lnTo>
                    <a:pt x="765219" y="304020"/>
                  </a:lnTo>
                  <a:lnTo>
                    <a:pt x="765895" y="305570"/>
                  </a:lnTo>
                  <a:lnTo>
                    <a:pt x="765791" y="307021"/>
                  </a:lnTo>
                  <a:lnTo>
                    <a:pt x="764485" y="309065"/>
                  </a:lnTo>
                  <a:lnTo>
                    <a:pt x="763019" y="308937"/>
                  </a:lnTo>
                  <a:lnTo>
                    <a:pt x="760330" y="306193"/>
                  </a:lnTo>
                  <a:lnTo>
                    <a:pt x="760482" y="304279"/>
                  </a:lnTo>
                  <a:lnTo>
                    <a:pt x="760708" y="303658"/>
                  </a:lnTo>
                  <a:close/>
                  <a:moveTo>
                    <a:pt x="694385" y="298506"/>
                  </a:moveTo>
                  <a:lnTo>
                    <a:pt x="696968" y="300517"/>
                  </a:lnTo>
                  <a:lnTo>
                    <a:pt x="698617" y="300643"/>
                  </a:lnTo>
                  <a:lnTo>
                    <a:pt x="698916" y="301724"/>
                  </a:lnTo>
                  <a:lnTo>
                    <a:pt x="698876" y="302200"/>
                  </a:lnTo>
                  <a:lnTo>
                    <a:pt x="696227" y="302548"/>
                  </a:lnTo>
                  <a:lnTo>
                    <a:pt x="693673" y="303751"/>
                  </a:lnTo>
                  <a:lnTo>
                    <a:pt x="692363" y="305137"/>
                  </a:lnTo>
                  <a:lnTo>
                    <a:pt x="691345" y="306927"/>
                  </a:lnTo>
                  <a:lnTo>
                    <a:pt x="687825" y="306199"/>
                  </a:lnTo>
                  <a:lnTo>
                    <a:pt x="684689" y="306080"/>
                  </a:lnTo>
                  <a:lnTo>
                    <a:pt x="683303" y="305450"/>
                  </a:lnTo>
                  <a:lnTo>
                    <a:pt x="681791" y="305491"/>
                  </a:lnTo>
                  <a:lnTo>
                    <a:pt x="679835" y="306050"/>
                  </a:lnTo>
                  <a:lnTo>
                    <a:pt x="677062" y="307571"/>
                  </a:lnTo>
                  <a:lnTo>
                    <a:pt x="676445" y="307688"/>
                  </a:lnTo>
                  <a:lnTo>
                    <a:pt x="676669" y="305376"/>
                  </a:lnTo>
                  <a:lnTo>
                    <a:pt x="677438" y="303953"/>
                  </a:lnTo>
                  <a:lnTo>
                    <a:pt x="680359" y="300543"/>
                  </a:lnTo>
                  <a:lnTo>
                    <a:pt x="682793" y="301299"/>
                  </a:lnTo>
                  <a:lnTo>
                    <a:pt x="685630" y="301507"/>
                  </a:lnTo>
                  <a:lnTo>
                    <a:pt x="688853" y="300840"/>
                  </a:lnTo>
                  <a:lnTo>
                    <a:pt x="691142" y="299307"/>
                  </a:lnTo>
                  <a:close/>
                  <a:moveTo>
                    <a:pt x="711215" y="297194"/>
                  </a:moveTo>
                  <a:lnTo>
                    <a:pt x="713526" y="297601"/>
                  </a:lnTo>
                  <a:lnTo>
                    <a:pt x="713500" y="298656"/>
                  </a:lnTo>
                  <a:lnTo>
                    <a:pt x="713278" y="299064"/>
                  </a:lnTo>
                  <a:lnTo>
                    <a:pt x="712292" y="299646"/>
                  </a:lnTo>
                  <a:lnTo>
                    <a:pt x="710874" y="300167"/>
                  </a:lnTo>
                  <a:lnTo>
                    <a:pt x="711310" y="298521"/>
                  </a:lnTo>
                  <a:close/>
                  <a:moveTo>
                    <a:pt x="958277" y="294233"/>
                  </a:moveTo>
                  <a:lnTo>
                    <a:pt x="963274" y="294474"/>
                  </a:lnTo>
                  <a:lnTo>
                    <a:pt x="963984" y="295012"/>
                  </a:lnTo>
                  <a:lnTo>
                    <a:pt x="966139" y="297169"/>
                  </a:lnTo>
                  <a:lnTo>
                    <a:pt x="967536" y="298866"/>
                  </a:lnTo>
                  <a:lnTo>
                    <a:pt x="968122" y="301271"/>
                  </a:lnTo>
                  <a:lnTo>
                    <a:pt x="965997" y="305409"/>
                  </a:lnTo>
                  <a:lnTo>
                    <a:pt x="963630" y="309346"/>
                  </a:lnTo>
                  <a:lnTo>
                    <a:pt x="959778" y="312445"/>
                  </a:lnTo>
                  <a:lnTo>
                    <a:pt x="958089" y="314121"/>
                  </a:lnTo>
                  <a:lnTo>
                    <a:pt x="952803" y="317049"/>
                  </a:lnTo>
                  <a:lnTo>
                    <a:pt x="945871" y="316532"/>
                  </a:lnTo>
                  <a:lnTo>
                    <a:pt x="943419" y="316482"/>
                  </a:lnTo>
                  <a:lnTo>
                    <a:pt x="939345" y="317195"/>
                  </a:lnTo>
                  <a:lnTo>
                    <a:pt x="938520" y="316625"/>
                  </a:lnTo>
                  <a:lnTo>
                    <a:pt x="939289" y="313867"/>
                  </a:lnTo>
                  <a:lnTo>
                    <a:pt x="942548" y="306523"/>
                  </a:lnTo>
                  <a:lnTo>
                    <a:pt x="946418" y="300059"/>
                  </a:lnTo>
                  <a:lnTo>
                    <a:pt x="948061" y="298382"/>
                  </a:lnTo>
                  <a:lnTo>
                    <a:pt x="950350" y="296806"/>
                  </a:lnTo>
                  <a:lnTo>
                    <a:pt x="952785" y="295542"/>
                  </a:lnTo>
                  <a:close/>
                  <a:moveTo>
                    <a:pt x="805695" y="288303"/>
                  </a:moveTo>
                  <a:lnTo>
                    <a:pt x="806962" y="288913"/>
                  </a:lnTo>
                  <a:lnTo>
                    <a:pt x="807744" y="290176"/>
                  </a:lnTo>
                  <a:lnTo>
                    <a:pt x="805704" y="291728"/>
                  </a:lnTo>
                  <a:lnTo>
                    <a:pt x="806749" y="295551"/>
                  </a:lnTo>
                  <a:lnTo>
                    <a:pt x="805273" y="299716"/>
                  </a:lnTo>
                  <a:lnTo>
                    <a:pt x="804298" y="300962"/>
                  </a:lnTo>
                  <a:lnTo>
                    <a:pt x="802488" y="302040"/>
                  </a:lnTo>
                  <a:lnTo>
                    <a:pt x="801937" y="303062"/>
                  </a:lnTo>
                  <a:lnTo>
                    <a:pt x="799804" y="305120"/>
                  </a:lnTo>
                  <a:lnTo>
                    <a:pt x="799156" y="306875"/>
                  </a:lnTo>
                  <a:lnTo>
                    <a:pt x="799061" y="307618"/>
                  </a:lnTo>
                  <a:lnTo>
                    <a:pt x="798666" y="308020"/>
                  </a:lnTo>
                  <a:lnTo>
                    <a:pt x="798303" y="308272"/>
                  </a:lnTo>
                  <a:lnTo>
                    <a:pt x="795556" y="307983"/>
                  </a:lnTo>
                  <a:lnTo>
                    <a:pt x="793982" y="307973"/>
                  </a:lnTo>
                  <a:lnTo>
                    <a:pt x="794196" y="306293"/>
                  </a:lnTo>
                  <a:lnTo>
                    <a:pt x="793387" y="305029"/>
                  </a:lnTo>
                  <a:lnTo>
                    <a:pt x="794491" y="303176"/>
                  </a:lnTo>
                  <a:lnTo>
                    <a:pt x="794514" y="301021"/>
                  </a:lnTo>
                  <a:lnTo>
                    <a:pt x="795669" y="300732"/>
                  </a:lnTo>
                  <a:lnTo>
                    <a:pt x="795831" y="299505"/>
                  </a:lnTo>
                  <a:lnTo>
                    <a:pt x="797217" y="296254"/>
                  </a:lnTo>
                  <a:lnTo>
                    <a:pt x="798031" y="295533"/>
                  </a:lnTo>
                  <a:lnTo>
                    <a:pt x="799189" y="295251"/>
                  </a:lnTo>
                  <a:lnTo>
                    <a:pt x="800555" y="293356"/>
                  </a:lnTo>
                  <a:lnTo>
                    <a:pt x="801333" y="292805"/>
                  </a:lnTo>
                  <a:lnTo>
                    <a:pt x="802138" y="291368"/>
                  </a:lnTo>
                  <a:lnTo>
                    <a:pt x="803302" y="290699"/>
                  </a:lnTo>
                  <a:lnTo>
                    <a:pt x="803205" y="289467"/>
                  </a:lnTo>
                  <a:lnTo>
                    <a:pt x="803866" y="288813"/>
                  </a:lnTo>
                  <a:close/>
                  <a:moveTo>
                    <a:pt x="811860" y="288119"/>
                  </a:moveTo>
                  <a:lnTo>
                    <a:pt x="813182" y="290287"/>
                  </a:lnTo>
                  <a:lnTo>
                    <a:pt x="812905" y="291383"/>
                  </a:lnTo>
                  <a:lnTo>
                    <a:pt x="811961" y="290797"/>
                  </a:lnTo>
                  <a:lnTo>
                    <a:pt x="811024" y="289519"/>
                  </a:lnTo>
                  <a:lnTo>
                    <a:pt x="809662" y="289334"/>
                  </a:lnTo>
                  <a:lnTo>
                    <a:pt x="808659" y="288996"/>
                  </a:lnTo>
                  <a:lnTo>
                    <a:pt x="808068" y="288392"/>
                  </a:lnTo>
                  <a:close/>
                  <a:moveTo>
                    <a:pt x="423276" y="287429"/>
                  </a:moveTo>
                  <a:lnTo>
                    <a:pt x="424042" y="287589"/>
                  </a:lnTo>
                  <a:lnTo>
                    <a:pt x="424684" y="288763"/>
                  </a:lnTo>
                  <a:lnTo>
                    <a:pt x="424353" y="289645"/>
                  </a:lnTo>
                  <a:lnTo>
                    <a:pt x="423231" y="289425"/>
                  </a:lnTo>
                  <a:lnTo>
                    <a:pt x="422168" y="287965"/>
                  </a:lnTo>
                  <a:lnTo>
                    <a:pt x="422684" y="287583"/>
                  </a:lnTo>
                  <a:close/>
                  <a:moveTo>
                    <a:pt x="739011" y="287325"/>
                  </a:moveTo>
                  <a:lnTo>
                    <a:pt x="739687" y="287821"/>
                  </a:lnTo>
                  <a:lnTo>
                    <a:pt x="740017" y="288316"/>
                  </a:lnTo>
                  <a:lnTo>
                    <a:pt x="739877" y="288863"/>
                  </a:lnTo>
                  <a:lnTo>
                    <a:pt x="739948" y="289870"/>
                  </a:lnTo>
                  <a:lnTo>
                    <a:pt x="738950" y="290432"/>
                  </a:lnTo>
                  <a:lnTo>
                    <a:pt x="737296" y="289271"/>
                  </a:lnTo>
                  <a:lnTo>
                    <a:pt x="736845" y="288787"/>
                  </a:lnTo>
                  <a:lnTo>
                    <a:pt x="737896" y="287646"/>
                  </a:lnTo>
                  <a:close/>
                  <a:moveTo>
                    <a:pt x="562239" y="286203"/>
                  </a:moveTo>
                  <a:lnTo>
                    <a:pt x="564718" y="287134"/>
                  </a:lnTo>
                  <a:lnTo>
                    <a:pt x="565519" y="287199"/>
                  </a:lnTo>
                  <a:lnTo>
                    <a:pt x="565357" y="288440"/>
                  </a:lnTo>
                  <a:lnTo>
                    <a:pt x="563101" y="288568"/>
                  </a:lnTo>
                  <a:lnTo>
                    <a:pt x="562403" y="288371"/>
                  </a:lnTo>
                  <a:close/>
                  <a:moveTo>
                    <a:pt x="415001" y="282977"/>
                  </a:moveTo>
                  <a:lnTo>
                    <a:pt x="417189" y="284912"/>
                  </a:lnTo>
                  <a:lnTo>
                    <a:pt x="417396" y="285561"/>
                  </a:lnTo>
                  <a:lnTo>
                    <a:pt x="413025" y="286886"/>
                  </a:lnTo>
                  <a:lnTo>
                    <a:pt x="412123" y="288138"/>
                  </a:lnTo>
                  <a:lnTo>
                    <a:pt x="411704" y="288462"/>
                  </a:lnTo>
                  <a:lnTo>
                    <a:pt x="407951" y="288280"/>
                  </a:lnTo>
                  <a:lnTo>
                    <a:pt x="405530" y="290094"/>
                  </a:lnTo>
                  <a:lnTo>
                    <a:pt x="403857" y="290651"/>
                  </a:lnTo>
                  <a:lnTo>
                    <a:pt x="397836" y="290649"/>
                  </a:lnTo>
                  <a:lnTo>
                    <a:pt x="397119" y="290404"/>
                  </a:lnTo>
                  <a:lnTo>
                    <a:pt x="396586" y="290410"/>
                  </a:lnTo>
                  <a:lnTo>
                    <a:pt x="396256" y="290777"/>
                  </a:lnTo>
                  <a:lnTo>
                    <a:pt x="394343" y="290504"/>
                  </a:lnTo>
                  <a:lnTo>
                    <a:pt x="388225" y="288900"/>
                  </a:lnTo>
                  <a:lnTo>
                    <a:pt x="387387" y="287414"/>
                  </a:lnTo>
                  <a:lnTo>
                    <a:pt x="388335" y="285825"/>
                  </a:lnTo>
                  <a:lnTo>
                    <a:pt x="390531" y="283573"/>
                  </a:lnTo>
                  <a:lnTo>
                    <a:pt x="394939" y="283131"/>
                  </a:lnTo>
                  <a:close/>
                  <a:moveTo>
                    <a:pt x="445494" y="282209"/>
                  </a:moveTo>
                  <a:lnTo>
                    <a:pt x="446837" y="282237"/>
                  </a:lnTo>
                  <a:lnTo>
                    <a:pt x="448269" y="282914"/>
                  </a:lnTo>
                  <a:lnTo>
                    <a:pt x="449264" y="283617"/>
                  </a:lnTo>
                  <a:lnTo>
                    <a:pt x="449748" y="284434"/>
                  </a:lnTo>
                  <a:lnTo>
                    <a:pt x="447051" y="284478"/>
                  </a:lnTo>
                  <a:lnTo>
                    <a:pt x="446010" y="285148"/>
                  </a:lnTo>
                  <a:lnTo>
                    <a:pt x="444213" y="285526"/>
                  </a:lnTo>
                  <a:lnTo>
                    <a:pt x="442544" y="284743"/>
                  </a:lnTo>
                  <a:lnTo>
                    <a:pt x="442586" y="283690"/>
                  </a:lnTo>
                  <a:lnTo>
                    <a:pt x="442991" y="282714"/>
                  </a:lnTo>
                  <a:close/>
                  <a:moveTo>
                    <a:pt x="874072" y="277431"/>
                  </a:moveTo>
                  <a:lnTo>
                    <a:pt x="873858" y="278437"/>
                  </a:lnTo>
                  <a:lnTo>
                    <a:pt x="872715" y="280239"/>
                  </a:lnTo>
                  <a:lnTo>
                    <a:pt x="872340" y="280584"/>
                  </a:lnTo>
                  <a:lnTo>
                    <a:pt x="871766" y="279864"/>
                  </a:lnTo>
                  <a:lnTo>
                    <a:pt x="871714" y="279417"/>
                  </a:lnTo>
                  <a:lnTo>
                    <a:pt x="872474" y="278194"/>
                  </a:lnTo>
                  <a:lnTo>
                    <a:pt x="873230" y="277483"/>
                  </a:lnTo>
                  <a:close/>
                  <a:moveTo>
                    <a:pt x="222313" y="275223"/>
                  </a:moveTo>
                  <a:lnTo>
                    <a:pt x="222687" y="276055"/>
                  </a:lnTo>
                  <a:lnTo>
                    <a:pt x="222142" y="277810"/>
                  </a:lnTo>
                  <a:lnTo>
                    <a:pt x="220763" y="278300"/>
                  </a:lnTo>
                  <a:lnTo>
                    <a:pt x="219708" y="277869"/>
                  </a:lnTo>
                  <a:lnTo>
                    <a:pt x="219236" y="277244"/>
                  </a:lnTo>
                  <a:lnTo>
                    <a:pt x="220804" y="275704"/>
                  </a:lnTo>
                  <a:lnTo>
                    <a:pt x="221542" y="275338"/>
                  </a:lnTo>
                  <a:close/>
                  <a:moveTo>
                    <a:pt x="872819" y="273716"/>
                  </a:moveTo>
                  <a:lnTo>
                    <a:pt x="873912" y="274822"/>
                  </a:lnTo>
                  <a:lnTo>
                    <a:pt x="873638" y="275789"/>
                  </a:lnTo>
                  <a:lnTo>
                    <a:pt x="872415" y="275999"/>
                  </a:lnTo>
                  <a:lnTo>
                    <a:pt x="871815" y="274187"/>
                  </a:lnTo>
                  <a:close/>
                  <a:moveTo>
                    <a:pt x="877391" y="270774"/>
                  </a:moveTo>
                  <a:lnTo>
                    <a:pt x="875924" y="273230"/>
                  </a:lnTo>
                  <a:lnTo>
                    <a:pt x="875385" y="273413"/>
                  </a:lnTo>
                  <a:lnTo>
                    <a:pt x="875389" y="272318"/>
                  </a:lnTo>
                  <a:lnTo>
                    <a:pt x="876000" y="271353"/>
                  </a:lnTo>
                  <a:lnTo>
                    <a:pt x="876639" y="270798"/>
                  </a:lnTo>
                  <a:close/>
                  <a:moveTo>
                    <a:pt x="861519" y="267505"/>
                  </a:moveTo>
                  <a:lnTo>
                    <a:pt x="862981" y="268617"/>
                  </a:lnTo>
                  <a:lnTo>
                    <a:pt x="864830" y="270609"/>
                  </a:lnTo>
                  <a:lnTo>
                    <a:pt x="866980" y="272177"/>
                  </a:lnTo>
                  <a:lnTo>
                    <a:pt x="869673" y="273410"/>
                  </a:lnTo>
                  <a:lnTo>
                    <a:pt x="869310" y="274974"/>
                  </a:lnTo>
                  <a:lnTo>
                    <a:pt x="868954" y="276721"/>
                  </a:lnTo>
                  <a:lnTo>
                    <a:pt x="866924" y="278682"/>
                  </a:lnTo>
                  <a:lnTo>
                    <a:pt x="865674" y="281684"/>
                  </a:lnTo>
                  <a:lnTo>
                    <a:pt x="864940" y="282436"/>
                  </a:lnTo>
                  <a:lnTo>
                    <a:pt x="862225" y="283771"/>
                  </a:lnTo>
                  <a:lnTo>
                    <a:pt x="859811" y="282105"/>
                  </a:lnTo>
                  <a:lnTo>
                    <a:pt x="859111" y="280673"/>
                  </a:lnTo>
                  <a:lnTo>
                    <a:pt x="860169" y="274061"/>
                  </a:lnTo>
                  <a:lnTo>
                    <a:pt x="861213" y="274280"/>
                  </a:lnTo>
                  <a:lnTo>
                    <a:pt x="861889" y="274232"/>
                  </a:lnTo>
                  <a:lnTo>
                    <a:pt x="862106" y="273798"/>
                  </a:lnTo>
                  <a:lnTo>
                    <a:pt x="860558" y="273059"/>
                  </a:lnTo>
                  <a:lnTo>
                    <a:pt x="860262" y="269261"/>
                  </a:lnTo>
                  <a:lnTo>
                    <a:pt x="860338" y="267828"/>
                  </a:lnTo>
                  <a:close/>
                  <a:moveTo>
                    <a:pt x="261800" y="261468"/>
                  </a:moveTo>
                  <a:lnTo>
                    <a:pt x="264361" y="262642"/>
                  </a:lnTo>
                  <a:lnTo>
                    <a:pt x="268113" y="263108"/>
                  </a:lnTo>
                  <a:lnTo>
                    <a:pt x="269044" y="263762"/>
                  </a:lnTo>
                  <a:lnTo>
                    <a:pt x="271273" y="266296"/>
                  </a:lnTo>
                  <a:lnTo>
                    <a:pt x="273225" y="267648"/>
                  </a:lnTo>
                  <a:lnTo>
                    <a:pt x="275520" y="268383"/>
                  </a:lnTo>
                  <a:lnTo>
                    <a:pt x="277937" y="268452"/>
                  </a:lnTo>
                  <a:lnTo>
                    <a:pt x="280318" y="268771"/>
                  </a:lnTo>
                  <a:lnTo>
                    <a:pt x="283082" y="269740"/>
                  </a:lnTo>
                  <a:lnTo>
                    <a:pt x="285931" y="270178"/>
                  </a:lnTo>
                  <a:lnTo>
                    <a:pt x="287254" y="270009"/>
                  </a:lnTo>
                  <a:lnTo>
                    <a:pt x="288515" y="269510"/>
                  </a:lnTo>
                  <a:lnTo>
                    <a:pt x="289411" y="269476"/>
                  </a:lnTo>
                  <a:lnTo>
                    <a:pt x="290189" y="269942"/>
                  </a:lnTo>
                  <a:lnTo>
                    <a:pt x="292156" y="272090"/>
                  </a:lnTo>
                  <a:lnTo>
                    <a:pt x="294296" y="274052"/>
                  </a:lnTo>
                  <a:lnTo>
                    <a:pt x="294784" y="275052"/>
                  </a:lnTo>
                  <a:lnTo>
                    <a:pt x="296235" y="279782"/>
                  </a:lnTo>
                  <a:lnTo>
                    <a:pt x="297877" y="281144"/>
                  </a:lnTo>
                  <a:lnTo>
                    <a:pt x="300128" y="281538"/>
                  </a:lnTo>
                  <a:lnTo>
                    <a:pt x="302776" y="281540"/>
                  </a:lnTo>
                  <a:lnTo>
                    <a:pt x="305406" y="281738"/>
                  </a:lnTo>
                  <a:lnTo>
                    <a:pt x="311506" y="282842"/>
                  </a:lnTo>
                  <a:lnTo>
                    <a:pt x="313927" y="282690"/>
                  </a:lnTo>
                  <a:lnTo>
                    <a:pt x="316069" y="281580"/>
                  </a:lnTo>
                  <a:lnTo>
                    <a:pt x="317978" y="282300"/>
                  </a:lnTo>
                  <a:lnTo>
                    <a:pt x="323154" y="283630"/>
                  </a:lnTo>
                  <a:lnTo>
                    <a:pt x="325702" y="283927"/>
                  </a:lnTo>
                  <a:lnTo>
                    <a:pt x="328596" y="283547"/>
                  </a:lnTo>
                  <a:lnTo>
                    <a:pt x="331500" y="283467"/>
                  </a:lnTo>
                  <a:lnTo>
                    <a:pt x="332882" y="283851"/>
                  </a:lnTo>
                  <a:lnTo>
                    <a:pt x="334212" y="284428"/>
                  </a:lnTo>
                  <a:lnTo>
                    <a:pt x="335355" y="284636"/>
                  </a:lnTo>
                  <a:lnTo>
                    <a:pt x="336538" y="284625"/>
                  </a:lnTo>
                  <a:lnTo>
                    <a:pt x="338631" y="283515"/>
                  </a:lnTo>
                  <a:lnTo>
                    <a:pt x="340017" y="281480"/>
                  </a:lnTo>
                  <a:lnTo>
                    <a:pt x="341137" y="278914"/>
                  </a:lnTo>
                  <a:lnTo>
                    <a:pt x="342016" y="276242"/>
                  </a:lnTo>
                  <a:lnTo>
                    <a:pt x="342608" y="275093"/>
                  </a:lnTo>
                  <a:lnTo>
                    <a:pt x="343407" y="274078"/>
                  </a:lnTo>
                  <a:lnTo>
                    <a:pt x="344452" y="273419"/>
                  </a:lnTo>
                  <a:lnTo>
                    <a:pt x="345571" y="273009"/>
                  </a:lnTo>
                  <a:lnTo>
                    <a:pt x="348611" y="273263"/>
                  </a:lnTo>
                  <a:lnTo>
                    <a:pt x="349239" y="273909"/>
                  </a:lnTo>
                  <a:lnTo>
                    <a:pt x="352638" y="278446"/>
                  </a:lnTo>
                  <a:lnTo>
                    <a:pt x="353238" y="278838"/>
                  </a:lnTo>
                  <a:lnTo>
                    <a:pt x="356788" y="279122"/>
                  </a:lnTo>
                  <a:lnTo>
                    <a:pt x="357771" y="278975"/>
                  </a:lnTo>
                  <a:lnTo>
                    <a:pt x="359937" y="278064"/>
                  </a:lnTo>
                  <a:lnTo>
                    <a:pt x="361172" y="277984"/>
                  </a:lnTo>
                  <a:lnTo>
                    <a:pt x="363455" y="279105"/>
                  </a:lnTo>
                  <a:lnTo>
                    <a:pt x="364439" y="280059"/>
                  </a:lnTo>
                  <a:lnTo>
                    <a:pt x="365534" y="280764"/>
                  </a:lnTo>
                  <a:lnTo>
                    <a:pt x="371112" y="281487"/>
                  </a:lnTo>
                  <a:lnTo>
                    <a:pt x="373266" y="283428"/>
                  </a:lnTo>
                  <a:lnTo>
                    <a:pt x="374359" y="283688"/>
                  </a:lnTo>
                  <a:lnTo>
                    <a:pt x="378242" y="283452"/>
                  </a:lnTo>
                  <a:lnTo>
                    <a:pt x="380924" y="283643"/>
                  </a:lnTo>
                  <a:lnTo>
                    <a:pt x="383260" y="284164"/>
                  </a:lnTo>
                  <a:lnTo>
                    <a:pt x="384314" y="286921"/>
                  </a:lnTo>
                  <a:lnTo>
                    <a:pt x="385178" y="289753"/>
                  </a:lnTo>
                  <a:lnTo>
                    <a:pt x="385681" y="290714"/>
                  </a:lnTo>
                  <a:lnTo>
                    <a:pt x="387963" y="291687"/>
                  </a:lnTo>
                  <a:lnTo>
                    <a:pt x="388900" y="292564"/>
                  </a:lnTo>
                  <a:lnTo>
                    <a:pt x="388649" y="295390"/>
                  </a:lnTo>
                  <a:lnTo>
                    <a:pt x="388905" y="298076"/>
                  </a:lnTo>
                  <a:lnTo>
                    <a:pt x="393749" y="300417"/>
                  </a:lnTo>
                  <a:lnTo>
                    <a:pt x="398942" y="301762"/>
                  </a:lnTo>
                  <a:lnTo>
                    <a:pt x="404453" y="301888"/>
                  </a:lnTo>
                  <a:lnTo>
                    <a:pt x="409977" y="301425"/>
                  </a:lnTo>
                  <a:lnTo>
                    <a:pt x="412825" y="300851"/>
                  </a:lnTo>
                  <a:lnTo>
                    <a:pt x="416386" y="299848"/>
                  </a:lnTo>
                  <a:lnTo>
                    <a:pt x="417124" y="299868"/>
                  </a:lnTo>
                  <a:lnTo>
                    <a:pt x="424023" y="302939"/>
                  </a:lnTo>
                  <a:lnTo>
                    <a:pt x="424611" y="303414"/>
                  </a:lnTo>
                  <a:lnTo>
                    <a:pt x="425383" y="305708"/>
                  </a:lnTo>
                  <a:lnTo>
                    <a:pt x="425362" y="308133"/>
                  </a:lnTo>
                  <a:lnTo>
                    <a:pt x="424073" y="313891"/>
                  </a:lnTo>
                  <a:lnTo>
                    <a:pt x="423993" y="315471"/>
                  </a:lnTo>
                  <a:lnTo>
                    <a:pt x="424116" y="317049"/>
                  </a:lnTo>
                  <a:lnTo>
                    <a:pt x="425485" y="320481"/>
                  </a:lnTo>
                  <a:lnTo>
                    <a:pt x="426213" y="321473"/>
                  </a:lnTo>
                  <a:lnTo>
                    <a:pt x="428717" y="323276"/>
                  </a:lnTo>
                  <a:lnTo>
                    <a:pt x="428810" y="324222"/>
                  </a:lnTo>
                  <a:lnTo>
                    <a:pt x="428469" y="325167"/>
                  </a:lnTo>
                  <a:lnTo>
                    <a:pt x="425714" y="324518"/>
                  </a:lnTo>
                  <a:lnTo>
                    <a:pt x="424034" y="323735"/>
                  </a:lnTo>
                  <a:lnTo>
                    <a:pt x="423063" y="322443"/>
                  </a:lnTo>
                  <a:lnTo>
                    <a:pt x="421684" y="321714"/>
                  </a:lnTo>
                  <a:lnTo>
                    <a:pt x="419091" y="321977"/>
                  </a:lnTo>
                  <a:lnTo>
                    <a:pt x="414241" y="320683"/>
                  </a:lnTo>
                  <a:lnTo>
                    <a:pt x="408763" y="318672"/>
                  </a:lnTo>
                  <a:lnTo>
                    <a:pt x="399050" y="314412"/>
                  </a:lnTo>
                  <a:lnTo>
                    <a:pt x="396405" y="314447"/>
                  </a:lnTo>
                  <a:lnTo>
                    <a:pt x="393868" y="314991"/>
                  </a:lnTo>
                  <a:lnTo>
                    <a:pt x="391188" y="316076"/>
                  </a:lnTo>
                  <a:lnTo>
                    <a:pt x="388400" y="316847"/>
                  </a:lnTo>
                  <a:lnTo>
                    <a:pt x="386346" y="317139"/>
                  </a:lnTo>
                  <a:lnTo>
                    <a:pt x="384295" y="316925"/>
                  </a:lnTo>
                  <a:lnTo>
                    <a:pt x="379110" y="315901"/>
                  </a:lnTo>
                  <a:lnTo>
                    <a:pt x="373882" y="315241"/>
                  </a:lnTo>
                  <a:lnTo>
                    <a:pt x="360501" y="314821"/>
                  </a:lnTo>
                  <a:lnTo>
                    <a:pt x="356711" y="313856"/>
                  </a:lnTo>
                  <a:lnTo>
                    <a:pt x="350449" y="313362"/>
                  </a:lnTo>
                  <a:lnTo>
                    <a:pt x="345469" y="312525"/>
                  </a:lnTo>
                  <a:lnTo>
                    <a:pt x="340539" y="311356"/>
                  </a:lnTo>
                  <a:lnTo>
                    <a:pt x="327967" y="305596"/>
                  </a:lnTo>
                  <a:lnTo>
                    <a:pt x="323854" y="304214"/>
                  </a:lnTo>
                  <a:lnTo>
                    <a:pt x="311228" y="301466"/>
                  </a:lnTo>
                  <a:lnTo>
                    <a:pt x="309280" y="301245"/>
                  </a:lnTo>
                  <a:lnTo>
                    <a:pt x="304706" y="301449"/>
                  </a:lnTo>
                  <a:lnTo>
                    <a:pt x="301821" y="300643"/>
                  </a:lnTo>
                  <a:lnTo>
                    <a:pt x="299278" y="300626"/>
                  </a:lnTo>
                  <a:lnTo>
                    <a:pt x="295503" y="301518"/>
                  </a:lnTo>
                  <a:lnTo>
                    <a:pt x="294341" y="302159"/>
                  </a:lnTo>
                  <a:lnTo>
                    <a:pt x="292878" y="303514"/>
                  </a:lnTo>
                  <a:lnTo>
                    <a:pt x="290308" y="303449"/>
                  </a:lnTo>
                  <a:lnTo>
                    <a:pt x="287764" y="303189"/>
                  </a:lnTo>
                  <a:lnTo>
                    <a:pt x="281064" y="301894"/>
                  </a:lnTo>
                  <a:lnTo>
                    <a:pt x="278563" y="301099"/>
                  </a:lnTo>
                  <a:lnTo>
                    <a:pt x="276162" y="299924"/>
                  </a:lnTo>
                  <a:lnTo>
                    <a:pt x="273996" y="298393"/>
                  </a:lnTo>
                  <a:lnTo>
                    <a:pt x="272869" y="297841"/>
                  </a:lnTo>
                  <a:lnTo>
                    <a:pt x="267077" y="296280"/>
                  </a:lnTo>
                  <a:lnTo>
                    <a:pt x="262350" y="295742"/>
                  </a:lnTo>
                  <a:lnTo>
                    <a:pt x="252627" y="295032"/>
                  </a:lnTo>
                  <a:lnTo>
                    <a:pt x="250502" y="294559"/>
                  </a:lnTo>
                  <a:lnTo>
                    <a:pt x="248731" y="293990"/>
                  </a:lnTo>
                  <a:lnTo>
                    <a:pt x="247759" y="292724"/>
                  </a:lnTo>
                  <a:lnTo>
                    <a:pt x="247882" y="291116"/>
                  </a:lnTo>
                  <a:lnTo>
                    <a:pt x="248580" y="289725"/>
                  </a:lnTo>
                  <a:lnTo>
                    <a:pt x="249532" y="288327"/>
                  </a:lnTo>
                  <a:lnTo>
                    <a:pt x="250156" y="286990"/>
                  </a:lnTo>
                  <a:lnTo>
                    <a:pt x="243047" y="284194"/>
                  </a:lnTo>
                  <a:lnTo>
                    <a:pt x="237433" y="282664"/>
                  </a:lnTo>
                  <a:lnTo>
                    <a:pt x="235010" y="282371"/>
                  </a:lnTo>
                  <a:lnTo>
                    <a:pt x="232579" y="282378"/>
                  </a:lnTo>
                  <a:lnTo>
                    <a:pt x="229840" y="282695"/>
                  </a:lnTo>
                  <a:lnTo>
                    <a:pt x="227130" y="282547"/>
                  </a:lnTo>
                  <a:lnTo>
                    <a:pt x="225856" y="282092"/>
                  </a:lnTo>
                  <a:lnTo>
                    <a:pt x="224555" y="281935"/>
                  </a:lnTo>
                  <a:lnTo>
                    <a:pt x="223250" y="282265"/>
                  </a:lnTo>
                  <a:lnTo>
                    <a:pt x="222201" y="282137"/>
                  </a:lnTo>
                  <a:lnTo>
                    <a:pt x="221928" y="280866"/>
                  </a:lnTo>
                  <a:lnTo>
                    <a:pt x="222598" y="279786"/>
                  </a:lnTo>
                  <a:lnTo>
                    <a:pt x="223973" y="278558"/>
                  </a:lnTo>
                  <a:lnTo>
                    <a:pt x="224753" y="278341"/>
                  </a:lnTo>
                  <a:lnTo>
                    <a:pt x="225109" y="280261"/>
                  </a:lnTo>
                  <a:lnTo>
                    <a:pt x="225500" y="280642"/>
                  </a:lnTo>
                  <a:lnTo>
                    <a:pt x="226718" y="281063"/>
                  </a:lnTo>
                  <a:lnTo>
                    <a:pt x="227247" y="280944"/>
                  </a:lnTo>
                  <a:lnTo>
                    <a:pt x="229395" y="278489"/>
                  </a:lnTo>
                  <a:lnTo>
                    <a:pt x="229996" y="277283"/>
                  </a:lnTo>
                  <a:lnTo>
                    <a:pt x="231036" y="274015"/>
                  </a:lnTo>
                  <a:lnTo>
                    <a:pt x="232164" y="274646"/>
                  </a:lnTo>
                  <a:lnTo>
                    <a:pt x="233300" y="274256"/>
                  </a:lnTo>
                  <a:lnTo>
                    <a:pt x="233952" y="273735"/>
                  </a:lnTo>
                  <a:lnTo>
                    <a:pt x="235751" y="266177"/>
                  </a:lnTo>
                  <a:lnTo>
                    <a:pt x="237252" y="263971"/>
                  </a:lnTo>
                  <a:lnTo>
                    <a:pt x="239301" y="262135"/>
                  </a:lnTo>
                  <a:lnTo>
                    <a:pt x="240322" y="261689"/>
                  </a:lnTo>
                  <a:lnTo>
                    <a:pt x="242330" y="262811"/>
                  </a:lnTo>
                  <a:lnTo>
                    <a:pt x="246397" y="263240"/>
                  </a:lnTo>
                  <a:lnTo>
                    <a:pt x="248815" y="263983"/>
                  </a:lnTo>
                  <a:lnTo>
                    <a:pt x="251240" y="264079"/>
                  </a:lnTo>
                  <a:lnTo>
                    <a:pt x="253609" y="264445"/>
                  </a:lnTo>
                  <a:lnTo>
                    <a:pt x="256911" y="265774"/>
                  </a:lnTo>
                  <a:lnTo>
                    <a:pt x="258077" y="265635"/>
                  </a:lnTo>
                  <a:lnTo>
                    <a:pt x="259264" y="265223"/>
                  </a:lnTo>
                  <a:lnTo>
                    <a:pt x="261033" y="263782"/>
                  </a:lnTo>
                  <a:close/>
                  <a:moveTo>
                    <a:pt x="636147" y="260935"/>
                  </a:moveTo>
                  <a:lnTo>
                    <a:pt x="637189" y="261422"/>
                  </a:lnTo>
                  <a:lnTo>
                    <a:pt x="637815" y="263011"/>
                  </a:lnTo>
                  <a:lnTo>
                    <a:pt x="637612" y="264072"/>
                  </a:lnTo>
                  <a:lnTo>
                    <a:pt x="636807" y="262854"/>
                  </a:lnTo>
                  <a:lnTo>
                    <a:pt x="636068" y="262248"/>
                  </a:lnTo>
                  <a:close/>
                  <a:moveTo>
                    <a:pt x="558789" y="258608"/>
                  </a:moveTo>
                  <a:lnTo>
                    <a:pt x="560045" y="261459"/>
                  </a:lnTo>
                  <a:lnTo>
                    <a:pt x="560378" y="262911"/>
                  </a:lnTo>
                  <a:lnTo>
                    <a:pt x="559916" y="270217"/>
                  </a:lnTo>
                  <a:lnTo>
                    <a:pt x="559009" y="273911"/>
                  </a:lnTo>
                  <a:lnTo>
                    <a:pt x="558581" y="272608"/>
                  </a:lnTo>
                  <a:lnTo>
                    <a:pt x="558421" y="269231"/>
                  </a:lnTo>
                  <a:lnTo>
                    <a:pt x="557865" y="267592"/>
                  </a:lnTo>
                  <a:lnTo>
                    <a:pt x="558218" y="265700"/>
                  </a:lnTo>
                  <a:lnTo>
                    <a:pt x="558106" y="260848"/>
                  </a:lnTo>
                  <a:close/>
                  <a:moveTo>
                    <a:pt x="386594" y="257518"/>
                  </a:moveTo>
                  <a:lnTo>
                    <a:pt x="387419" y="258107"/>
                  </a:lnTo>
                  <a:lnTo>
                    <a:pt x="387245" y="259401"/>
                  </a:lnTo>
                  <a:lnTo>
                    <a:pt x="386770" y="260187"/>
                  </a:lnTo>
                  <a:lnTo>
                    <a:pt x="384651" y="260124"/>
                  </a:lnTo>
                  <a:lnTo>
                    <a:pt x="384295" y="259236"/>
                  </a:lnTo>
                  <a:lnTo>
                    <a:pt x="385677" y="257622"/>
                  </a:lnTo>
                  <a:close/>
                  <a:moveTo>
                    <a:pt x="827513" y="254875"/>
                  </a:moveTo>
                  <a:lnTo>
                    <a:pt x="829009" y="254919"/>
                  </a:lnTo>
                  <a:lnTo>
                    <a:pt x="829422" y="255792"/>
                  </a:lnTo>
                  <a:lnTo>
                    <a:pt x="829893" y="256088"/>
                  </a:lnTo>
                  <a:lnTo>
                    <a:pt x="831363" y="258909"/>
                  </a:lnTo>
                  <a:lnTo>
                    <a:pt x="831426" y="260282"/>
                  </a:lnTo>
                  <a:lnTo>
                    <a:pt x="830080" y="262419"/>
                  </a:lnTo>
                  <a:lnTo>
                    <a:pt x="829165" y="261665"/>
                  </a:lnTo>
                  <a:lnTo>
                    <a:pt x="828646" y="261654"/>
                  </a:lnTo>
                  <a:lnTo>
                    <a:pt x="828334" y="260399"/>
                  </a:lnTo>
                  <a:lnTo>
                    <a:pt x="828645" y="257800"/>
                  </a:lnTo>
                  <a:close/>
                  <a:moveTo>
                    <a:pt x="870425" y="250890"/>
                  </a:moveTo>
                  <a:lnTo>
                    <a:pt x="871435" y="251140"/>
                  </a:lnTo>
                  <a:lnTo>
                    <a:pt x="872090" y="252332"/>
                  </a:lnTo>
                  <a:lnTo>
                    <a:pt x="872348" y="253372"/>
                  </a:lnTo>
                  <a:lnTo>
                    <a:pt x="872076" y="254306"/>
                  </a:lnTo>
                  <a:lnTo>
                    <a:pt x="873298" y="254787"/>
                  </a:lnTo>
                  <a:lnTo>
                    <a:pt x="874320" y="257093"/>
                  </a:lnTo>
                  <a:lnTo>
                    <a:pt x="874145" y="257949"/>
                  </a:lnTo>
                  <a:lnTo>
                    <a:pt x="874130" y="259529"/>
                  </a:lnTo>
                  <a:lnTo>
                    <a:pt x="874497" y="260991"/>
                  </a:lnTo>
                  <a:lnTo>
                    <a:pt x="873551" y="262478"/>
                  </a:lnTo>
                  <a:lnTo>
                    <a:pt x="874434" y="264705"/>
                  </a:lnTo>
                  <a:lnTo>
                    <a:pt x="874566" y="265813"/>
                  </a:lnTo>
                  <a:lnTo>
                    <a:pt x="874517" y="267380"/>
                  </a:lnTo>
                  <a:lnTo>
                    <a:pt x="874264" y="268084"/>
                  </a:lnTo>
                  <a:lnTo>
                    <a:pt x="873594" y="270143"/>
                  </a:lnTo>
                  <a:lnTo>
                    <a:pt x="872925" y="270876"/>
                  </a:lnTo>
                  <a:lnTo>
                    <a:pt x="872422" y="271080"/>
                  </a:lnTo>
                  <a:lnTo>
                    <a:pt x="871902" y="271702"/>
                  </a:lnTo>
                  <a:lnTo>
                    <a:pt x="867556" y="271026"/>
                  </a:lnTo>
                  <a:lnTo>
                    <a:pt x="865678" y="269597"/>
                  </a:lnTo>
                  <a:lnTo>
                    <a:pt x="864005" y="268049"/>
                  </a:lnTo>
                  <a:lnTo>
                    <a:pt x="863651" y="267403"/>
                  </a:lnTo>
                  <a:lnTo>
                    <a:pt x="861681" y="265598"/>
                  </a:lnTo>
                  <a:lnTo>
                    <a:pt x="861227" y="264989"/>
                  </a:lnTo>
                  <a:lnTo>
                    <a:pt x="861189" y="264027"/>
                  </a:lnTo>
                  <a:lnTo>
                    <a:pt x="862780" y="263782"/>
                  </a:lnTo>
                  <a:lnTo>
                    <a:pt x="864480" y="263810"/>
                  </a:lnTo>
                  <a:lnTo>
                    <a:pt x="864406" y="262943"/>
                  </a:lnTo>
                  <a:lnTo>
                    <a:pt x="865388" y="259888"/>
                  </a:lnTo>
                  <a:lnTo>
                    <a:pt x="862804" y="257923"/>
                  </a:lnTo>
                  <a:lnTo>
                    <a:pt x="862344" y="257098"/>
                  </a:lnTo>
                  <a:lnTo>
                    <a:pt x="863271" y="256537"/>
                  </a:lnTo>
                  <a:lnTo>
                    <a:pt x="865350" y="257224"/>
                  </a:lnTo>
                  <a:lnTo>
                    <a:pt x="867894" y="253777"/>
                  </a:lnTo>
                  <a:lnTo>
                    <a:pt x="868645" y="253058"/>
                  </a:lnTo>
                  <a:lnTo>
                    <a:pt x="869001" y="251137"/>
                  </a:lnTo>
                  <a:close/>
                  <a:moveTo>
                    <a:pt x="838226" y="248303"/>
                  </a:moveTo>
                  <a:lnTo>
                    <a:pt x="838753" y="248463"/>
                  </a:lnTo>
                  <a:lnTo>
                    <a:pt x="839513" y="249134"/>
                  </a:lnTo>
                  <a:lnTo>
                    <a:pt x="838336" y="254187"/>
                  </a:lnTo>
                  <a:lnTo>
                    <a:pt x="835051" y="257733"/>
                  </a:lnTo>
                  <a:lnTo>
                    <a:pt x="834060" y="261420"/>
                  </a:lnTo>
                  <a:lnTo>
                    <a:pt x="832264" y="263327"/>
                  </a:lnTo>
                  <a:lnTo>
                    <a:pt x="833959" y="258829"/>
                  </a:lnTo>
                  <a:lnTo>
                    <a:pt x="834313" y="256552"/>
                  </a:lnTo>
                  <a:lnTo>
                    <a:pt x="835886" y="255194"/>
                  </a:lnTo>
                  <a:close/>
                  <a:moveTo>
                    <a:pt x="153610" y="247761"/>
                  </a:moveTo>
                  <a:lnTo>
                    <a:pt x="154603" y="247820"/>
                  </a:lnTo>
                  <a:lnTo>
                    <a:pt x="158436" y="249539"/>
                  </a:lnTo>
                  <a:lnTo>
                    <a:pt x="159181" y="250390"/>
                  </a:lnTo>
                  <a:lnTo>
                    <a:pt x="158335" y="252029"/>
                  </a:lnTo>
                  <a:lnTo>
                    <a:pt x="156538" y="252136"/>
                  </a:lnTo>
                  <a:lnTo>
                    <a:pt x="153212" y="249409"/>
                  </a:lnTo>
                  <a:lnTo>
                    <a:pt x="152664" y="248567"/>
                  </a:lnTo>
                  <a:close/>
                  <a:moveTo>
                    <a:pt x="626967" y="246954"/>
                  </a:moveTo>
                  <a:lnTo>
                    <a:pt x="628428" y="247436"/>
                  </a:lnTo>
                  <a:lnTo>
                    <a:pt x="628340" y="249686"/>
                  </a:lnTo>
                  <a:lnTo>
                    <a:pt x="627453" y="249561"/>
                  </a:lnTo>
                  <a:lnTo>
                    <a:pt x="626733" y="248773"/>
                  </a:lnTo>
                  <a:lnTo>
                    <a:pt x="626530" y="248030"/>
                  </a:lnTo>
                  <a:lnTo>
                    <a:pt x="626571" y="247426"/>
                  </a:lnTo>
                  <a:close/>
                  <a:moveTo>
                    <a:pt x="590549" y="243018"/>
                  </a:moveTo>
                  <a:lnTo>
                    <a:pt x="591700" y="243091"/>
                  </a:lnTo>
                  <a:lnTo>
                    <a:pt x="592455" y="244537"/>
                  </a:lnTo>
                  <a:lnTo>
                    <a:pt x="593365" y="244936"/>
                  </a:lnTo>
                  <a:lnTo>
                    <a:pt x="593824" y="246321"/>
                  </a:lnTo>
                  <a:lnTo>
                    <a:pt x="593407" y="251126"/>
                  </a:lnTo>
                  <a:lnTo>
                    <a:pt x="592007" y="251720"/>
                  </a:lnTo>
                  <a:lnTo>
                    <a:pt x="589348" y="249182"/>
                  </a:lnTo>
                  <a:lnTo>
                    <a:pt x="588223" y="247094"/>
                  </a:lnTo>
                  <a:lnTo>
                    <a:pt x="588493" y="245914"/>
                  </a:lnTo>
                  <a:lnTo>
                    <a:pt x="589287" y="244879"/>
                  </a:lnTo>
                  <a:lnTo>
                    <a:pt x="589666" y="244622"/>
                  </a:lnTo>
                  <a:lnTo>
                    <a:pt x="589501" y="243543"/>
                  </a:lnTo>
                  <a:close/>
                  <a:moveTo>
                    <a:pt x="607979" y="232964"/>
                  </a:moveTo>
                  <a:lnTo>
                    <a:pt x="608815" y="234213"/>
                  </a:lnTo>
                  <a:lnTo>
                    <a:pt x="609260" y="239950"/>
                  </a:lnTo>
                  <a:lnTo>
                    <a:pt x="606035" y="244490"/>
                  </a:lnTo>
                  <a:lnTo>
                    <a:pt x="606722" y="247389"/>
                  </a:lnTo>
                  <a:lnTo>
                    <a:pt x="606152" y="248861"/>
                  </a:lnTo>
                  <a:lnTo>
                    <a:pt x="604926" y="250007"/>
                  </a:lnTo>
                  <a:lnTo>
                    <a:pt x="603950" y="250089"/>
                  </a:lnTo>
                  <a:lnTo>
                    <a:pt x="602931" y="249855"/>
                  </a:lnTo>
                  <a:lnTo>
                    <a:pt x="601125" y="248852"/>
                  </a:lnTo>
                  <a:lnTo>
                    <a:pt x="600667" y="249909"/>
                  </a:lnTo>
                  <a:lnTo>
                    <a:pt x="599247" y="249862"/>
                  </a:lnTo>
                  <a:lnTo>
                    <a:pt x="598718" y="248500"/>
                  </a:lnTo>
                  <a:lnTo>
                    <a:pt x="599733" y="244468"/>
                  </a:lnTo>
                  <a:lnTo>
                    <a:pt x="601220" y="242964"/>
                  </a:lnTo>
                  <a:lnTo>
                    <a:pt x="601082" y="241383"/>
                  </a:lnTo>
                  <a:lnTo>
                    <a:pt x="599853" y="238015"/>
                  </a:lnTo>
                  <a:lnTo>
                    <a:pt x="600615" y="236256"/>
                  </a:lnTo>
                  <a:lnTo>
                    <a:pt x="604053" y="234925"/>
                  </a:lnTo>
                  <a:lnTo>
                    <a:pt x="607051" y="233302"/>
                  </a:lnTo>
                  <a:close/>
                  <a:moveTo>
                    <a:pt x="616219" y="227830"/>
                  </a:moveTo>
                  <a:lnTo>
                    <a:pt x="616094" y="228864"/>
                  </a:lnTo>
                  <a:lnTo>
                    <a:pt x="618545" y="231469"/>
                  </a:lnTo>
                  <a:lnTo>
                    <a:pt x="619058" y="236234"/>
                  </a:lnTo>
                  <a:lnTo>
                    <a:pt x="618897" y="237485"/>
                  </a:lnTo>
                  <a:lnTo>
                    <a:pt x="617653" y="235652"/>
                  </a:lnTo>
                  <a:lnTo>
                    <a:pt x="617207" y="235286"/>
                  </a:lnTo>
                  <a:lnTo>
                    <a:pt x="616865" y="235652"/>
                  </a:lnTo>
                  <a:lnTo>
                    <a:pt x="616425" y="235853"/>
                  </a:lnTo>
                  <a:lnTo>
                    <a:pt x="615790" y="235836"/>
                  </a:lnTo>
                  <a:lnTo>
                    <a:pt x="614966" y="237686"/>
                  </a:lnTo>
                  <a:lnTo>
                    <a:pt x="614894" y="239426"/>
                  </a:lnTo>
                  <a:lnTo>
                    <a:pt x="614272" y="240598"/>
                  </a:lnTo>
                  <a:lnTo>
                    <a:pt x="613943" y="244485"/>
                  </a:lnTo>
                  <a:lnTo>
                    <a:pt x="614151" y="245533"/>
                  </a:lnTo>
                  <a:lnTo>
                    <a:pt x="615114" y="245016"/>
                  </a:lnTo>
                  <a:lnTo>
                    <a:pt x="615708" y="244884"/>
                  </a:lnTo>
                  <a:lnTo>
                    <a:pt x="617884" y="246382"/>
                  </a:lnTo>
                  <a:lnTo>
                    <a:pt x="619035" y="247475"/>
                  </a:lnTo>
                  <a:lnTo>
                    <a:pt x="618711" y="248799"/>
                  </a:lnTo>
                  <a:lnTo>
                    <a:pt x="617238" y="250132"/>
                  </a:lnTo>
                  <a:lnTo>
                    <a:pt x="615528" y="250713"/>
                  </a:lnTo>
                  <a:lnTo>
                    <a:pt x="614254" y="250141"/>
                  </a:lnTo>
                  <a:lnTo>
                    <a:pt x="613878" y="250412"/>
                  </a:lnTo>
                  <a:lnTo>
                    <a:pt x="613125" y="251098"/>
                  </a:lnTo>
                  <a:lnTo>
                    <a:pt x="612553" y="252001"/>
                  </a:lnTo>
                  <a:lnTo>
                    <a:pt x="612717" y="252931"/>
                  </a:lnTo>
                  <a:lnTo>
                    <a:pt x="611257" y="255562"/>
                  </a:lnTo>
                  <a:lnTo>
                    <a:pt x="610415" y="256301"/>
                  </a:lnTo>
                  <a:lnTo>
                    <a:pt x="608668" y="255495"/>
                  </a:lnTo>
                  <a:lnTo>
                    <a:pt x="607590" y="256188"/>
                  </a:lnTo>
                  <a:lnTo>
                    <a:pt x="606720" y="256125"/>
                  </a:lnTo>
                  <a:lnTo>
                    <a:pt x="605392" y="253491"/>
                  </a:lnTo>
                  <a:lnTo>
                    <a:pt x="605424" y="252255"/>
                  </a:lnTo>
                  <a:lnTo>
                    <a:pt x="606658" y="250866"/>
                  </a:lnTo>
                  <a:lnTo>
                    <a:pt x="606666" y="249866"/>
                  </a:lnTo>
                  <a:lnTo>
                    <a:pt x="607275" y="248751"/>
                  </a:lnTo>
                  <a:lnTo>
                    <a:pt x="608631" y="247222"/>
                  </a:lnTo>
                  <a:lnTo>
                    <a:pt x="609406" y="246075"/>
                  </a:lnTo>
                  <a:lnTo>
                    <a:pt x="609430" y="245345"/>
                  </a:lnTo>
                  <a:lnTo>
                    <a:pt x="610007" y="242578"/>
                  </a:lnTo>
                  <a:lnTo>
                    <a:pt x="610231" y="241418"/>
                  </a:lnTo>
                  <a:lnTo>
                    <a:pt x="610623" y="240184"/>
                  </a:lnTo>
                  <a:lnTo>
                    <a:pt x="611240" y="237676"/>
                  </a:lnTo>
                  <a:lnTo>
                    <a:pt x="611326" y="232958"/>
                  </a:lnTo>
                  <a:lnTo>
                    <a:pt x="613395" y="229065"/>
                  </a:lnTo>
                  <a:lnTo>
                    <a:pt x="615416" y="228003"/>
                  </a:lnTo>
                  <a:close/>
                  <a:moveTo>
                    <a:pt x="842787" y="221719"/>
                  </a:moveTo>
                  <a:lnTo>
                    <a:pt x="845959" y="223685"/>
                  </a:lnTo>
                  <a:lnTo>
                    <a:pt x="848312" y="224706"/>
                  </a:lnTo>
                  <a:lnTo>
                    <a:pt x="849441" y="225890"/>
                  </a:lnTo>
                  <a:lnTo>
                    <a:pt x="846811" y="224961"/>
                  </a:lnTo>
                  <a:lnTo>
                    <a:pt x="843054" y="223017"/>
                  </a:lnTo>
                  <a:close/>
                  <a:moveTo>
                    <a:pt x="615120" y="218838"/>
                  </a:moveTo>
                  <a:lnTo>
                    <a:pt x="619255" y="219206"/>
                  </a:lnTo>
                  <a:lnTo>
                    <a:pt x="620031" y="220166"/>
                  </a:lnTo>
                  <a:lnTo>
                    <a:pt x="619930" y="221762"/>
                  </a:lnTo>
                  <a:lnTo>
                    <a:pt x="617766" y="224427"/>
                  </a:lnTo>
                  <a:lnTo>
                    <a:pt x="616254" y="224291"/>
                  </a:lnTo>
                  <a:lnTo>
                    <a:pt x="614453" y="222539"/>
                  </a:lnTo>
                  <a:lnTo>
                    <a:pt x="613926" y="220618"/>
                  </a:lnTo>
                  <a:lnTo>
                    <a:pt x="613885" y="219924"/>
                  </a:lnTo>
                  <a:close/>
                  <a:moveTo>
                    <a:pt x="735115" y="208515"/>
                  </a:moveTo>
                  <a:lnTo>
                    <a:pt x="736989" y="209103"/>
                  </a:lnTo>
                  <a:lnTo>
                    <a:pt x="737570" y="210080"/>
                  </a:lnTo>
                  <a:lnTo>
                    <a:pt x="733789" y="211241"/>
                  </a:lnTo>
                  <a:lnTo>
                    <a:pt x="734601" y="209084"/>
                  </a:lnTo>
                  <a:close/>
                  <a:moveTo>
                    <a:pt x="730976" y="208461"/>
                  </a:moveTo>
                  <a:lnTo>
                    <a:pt x="732407" y="208541"/>
                  </a:lnTo>
                  <a:lnTo>
                    <a:pt x="732066" y="209598"/>
                  </a:lnTo>
                  <a:lnTo>
                    <a:pt x="731566" y="210351"/>
                  </a:lnTo>
                  <a:lnTo>
                    <a:pt x="731265" y="211137"/>
                  </a:lnTo>
                  <a:lnTo>
                    <a:pt x="731224" y="212054"/>
                  </a:lnTo>
                  <a:lnTo>
                    <a:pt x="730656" y="212863"/>
                  </a:lnTo>
                  <a:lnTo>
                    <a:pt x="729371" y="213397"/>
                  </a:lnTo>
                  <a:lnTo>
                    <a:pt x="728296" y="213341"/>
                  </a:lnTo>
                  <a:lnTo>
                    <a:pt x="728646" y="212565"/>
                  </a:lnTo>
                  <a:lnTo>
                    <a:pt x="728378" y="212111"/>
                  </a:lnTo>
                  <a:lnTo>
                    <a:pt x="727581" y="212316"/>
                  </a:lnTo>
                  <a:lnTo>
                    <a:pt x="726285" y="212939"/>
                  </a:lnTo>
                  <a:lnTo>
                    <a:pt x="724644" y="214188"/>
                  </a:lnTo>
                  <a:lnTo>
                    <a:pt x="723679" y="213570"/>
                  </a:lnTo>
                  <a:lnTo>
                    <a:pt x="723471" y="212601"/>
                  </a:lnTo>
                  <a:lnTo>
                    <a:pt x="723528" y="212160"/>
                  </a:lnTo>
                  <a:lnTo>
                    <a:pt x="725488" y="210422"/>
                  </a:lnTo>
                  <a:lnTo>
                    <a:pt x="727765" y="210126"/>
                  </a:lnTo>
                  <a:close/>
                  <a:moveTo>
                    <a:pt x="738285" y="208074"/>
                  </a:moveTo>
                  <a:lnTo>
                    <a:pt x="739868" y="208558"/>
                  </a:lnTo>
                  <a:lnTo>
                    <a:pt x="740467" y="208731"/>
                  </a:lnTo>
                  <a:lnTo>
                    <a:pt x="741105" y="209226"/>
                  </a:lnTo>
                  <a:lnTo>
                    <a:pt x="741053" y="210163"/>
                  </a:lnTo>
                  <a:lnTo>
                    <a:pt x="740902" y="210459"/>
                  </a:lnTo>
                  <a:lnTo>
                    <a:pt x="739698" y="210132"/>
                  </a:lnTo>
                  <a:lnTo>
                    <a:pt x="738829" y="210149"/>
                  </a:lnTo>
                  <a:lnTo>
                    <a:pt x="738069" y="208459"/>
                  </a:lnTo>
                  <a:close/>
                  <a:moveTo>
                    <a:pt x="469226" y="205973"/>
                  </a:moveTo>
                  <a:lnTo>
                    <a:pt x="469163" y="207402"/>
                  </a:lnTo>
                  <a:lnTo>
                    <a:pt x="468360" y="211215"/>
                  </a:lnTo>
                  <a:lnTo>
                    <a:pt x="467006" y="209053"/>
                  </a:lnTo>
                  <a:lnTo>
                    <a:pt x="468526" y="206491"/>
                  </a:lnTo>
                  <a:close/>
                  <a:moveTo>
                    <a:pt x="715279" y="202749"/>
                  </a:moveTo>
                  <a:lnTo>
                    <a:pt x="716424" y="204096"/>
                  </a:lnTo>
                  <a:lnTo>
                    <a:pt x="716933" y="205071"/>
                  </a:lnTo>
                  <a:lnTo>
                    <a:pt x="714760" y="204455"/>
                  </a:lnTo>
                  <a:lnTo>
                    <a:pt x="713802" y="203499"/>
                  </a:lnTo>
                  <a:lnTo>
                    <a:pt x="714748" y="202910"/>
                  </a:lnTo>
                  <a:close/>
                  <a:moveTo>
                    <a:pt x="465749" y="202678"/>
                  </a:moveTo>
                  <a:lnTo>
                    <a:pt x="465581" y="205860"/>
                  </a:lnTo>
                  <a:lnTo>
                    <a:pt x="466121" y="207056"/>
                  </a:lnTo>
                  <a:lnTo>
                    <a:pt x="466310" y="208078"/>
                  </a:lnTo>
                  <a:lnTo>
                    <a:pt x="466021" y="208958"/>
                  </a:lnTo>
                  <a:lnTo>
                    <a:pt x="466533" y="213027"/>
                  </a:lnTo>
                  <a:lnTo>
                    <a:pt x="466831" y="214011"/>
                  </a:lnTo>
                  <a:lnTo>
                    <a:pt x="466181" y="215294"/>
                  </a:lnTo>
                  <a:lnTo>
                    <a:pt x="466492" y="216340"/>
                  </a:lnTo>
                  <a:lnTo>
                    <a:pt x="461849" y="220458"/>
                  </a:lnTo>
                  <a:lnTo>
                    <a:pt x="461085" y="219413"/>
                  </a:lnTo>
                  <a:lnTo>
                    <a:pt x="461486" y="215218"/>
                  </a:lnTo>
                  <a:lnTo>
                    <a:pt x="460191" y="212614"/>
                  </a:lnTo>
                  <a:lnTo>
                    <a:pt x="460281" y="210677"/>
                  </a:lnTo>
                  <a:lnTo>
                    <a:pt x="461191" y="207257"/>
                  </a:lnTo>
                  <a:lnTo>
                    <a:pt x="462380" y="204637"/>
                  </a:lnTo>
                  <a:lnTo>
                    <a:pt x="465077" y="202884"/>
                  </a:lnTo>
                  <a:close/>
                  <a:moveTo>
                    <a:pt x="693180" y="198565"/>
                  </a:moveTo>
                  <a:lnTo>
                    <a:pt x="698779" y="198651"/>
                  </a:lnTo>
                  <a:lnTo>
                    <a:pt x="699947" y="199066"/>
                  </a:lnTo>
                  <a:lnTo>
                    <a:pt x="703582" y="200795"/>
                  </a:lnTo>
                  <a:lnTo>
                    <a:pt x="704408" y="201924"/>
                  </a:lnTo>
                  <a:lnTo>
                    <a:pt x="705061" y="203264"/>
                  </a:lnTo>
                  <a:lnTo>
                    <a:pt x="705776" y="204001"/>
                  </a:lnTo>
                  <a:lnTo>
                    <a:pt x="706633" y="204604"/>
                  </a:lnTo>
                  <a:lnTo>
                    <a:pt x="708045" y="205776"/>
                  </a:lnTo>
                  <a:lnTo>
                    <a:pt x="708419" y="207548"/>
                  </a:lnTo>
                  <a:lnTo>
                    <a:pt x="708095" y="211133"/>
                  </a:lnTo>
                  <a:lnTo>
                    <a:pt x="706449" y="211449"/>
                  </a:lnTo>
                  <a:lnTo>
                    <a:pt x="704899" y="211972"/>
                  </a:lnTo>
                  <a:lnTo>
                    <a:pt x="701712" y="214046"/>
                  </a:lnTo>
                  <a:lnTo>
                    <a:pt x="700142" y="214452"/>
                  </a:lnTo>
                  <a:lnTo>
                    <a:pt x="698466" y="214591"/>
                  </a:lnTo>
                  <a:lnTo>
                    <a:pt x="697276" y="215134"/>
                  </a:lnTo>
                  <a:lnTo>
                    <a:pt x="696082" y="215354"/>
                  </a:lnTo>
                  <a:lnTo>
                    <a:pt x="692994" y="214204"/>
                  </a:lnTo>
                  <a:lnTo>
                    <a:pt x="689997" y="212852"/>
                  </a:lnTo>
                  <a:lnTo>
                    <a:pt x="685651" y="210517"/>
                  </a:lnTo>
                  <a:lnTo>
                    <a:pt x="684849" y="209946"/>
                  </a:lnTo>
                  <a:lnTo>
                    <a:pt x="684149" y="208692"/>
                  </a:lnTo>
                  <a:lnTo>
                    <a:pt x="682156" y="206440"/>
                  </a:lnTo>
                  <a:lnTo>
                    <a:pt x="681658" y="204997"/>
                  </a:lnTo>
                  <a:lnTo>
                    <a:pt x="681491" y="200895"/>
                  </a:lnTo>
                  <a:lnTo>
                    <a:pt x="682014" y="199957"/>
                  </a:lnTo>
                  <a:lnTo>
                    <a:pt x="682858" y="199455"/>
                  </a:lnTo>
                  <a:lnTo>
                    <a:pt x="685762" y="200400"/>
                  </a:lnTo>
                  <a:lnTo>
                    <a:pt x="687678" y="199405"/>
                  </a:lnTo>
                  <a:close/>
                  <a:moveTo>
                    <a:pt x="724863" y="195716"/>
                  </a:moveTo>
                  <a:lnTo>
                    <a:pt x="723752" y="197564"/>
                  </a:lnTo>
                  <a:lnTo>
                    <a:pt x="721805" y="197482"/>
                  </a:lnTo>
                  <a:lnTo>
                    <a:pt x="721465" y="197218"/>
                  </a:lnTo>
                  <a:lnTo>
                    <a:pt x="723768" y="196066"/>
                  </a:lnTo>
                  <a:close/>
                  <a:moveTo>
                    <a:pt x="256284" y="194884"/>
                  </a:moveTo>
                  <a:lnTo>
                    <a:pt x="258800" y="195660"/>
                  </a:lnTo>
                  <a:lnTo>
                    <a:pt x="258264" y="197238"/>
                  </a:lnTo>
                  <a:lnTo>
                    <a:pt x="257895" y="197681"/>
                  </a:lnTo>
                  <a:lnTo>
                    <a:pt x="256669" y="197441"/>
                  </a:lnTo>
                  <a:lnTo>
                    <a:pt x="255785" y="196829"/>
                  </a:lnTo>
                  <a:lnTo>
                    <a:pt x="255230" y="196246"/>
                  </a:lnTo>
                  <a:lnTo>
                    <a:pt x="255090" y="195634"/>
                  </a:lnTo>
                  <a:close/>
                  <a:moveTo>
                    <a:pt x="271266" y="193462"/>
                  </a:moveTo>
                  <a:lnTo>
                    <a:pt x="271825" y="193691"/>
                  </a:lnTo>
                  <a:lnTo>
                    <a:pt x="271242" y="194897"/>
                  </a:lnTo>
                  <a:lnTo>
                    <a:pt x="270346" y="195468"/>
                  </a:lnTo>
                  <a:lnTo>
                    <a:pt x="269826" y="194921"/>
                  </a:lnTo>
                  <a:lnTo>
                    <a:pt x="269674" y="194309"/>
                  </a:lnTo>
                  <a:lnTo>
                    <a:pt x="270048" y="193538"/>
                  </a:lnTo>
                  <a:close/>
                  <a:moveTo>
                    <a:pt x="757948" y="192380"/>
                  </a:moveTo>
                  <a:lnTo>
                    <a:pt x="759248" y="192481"/>
                  </a:lnTo>
                  <a:lnTo>
                    <a:pt x="760520" y="192831"/>
                  </a:lnTo>
                  <a:lnTo>
                    <a:pt x="763930" y="194152"/>
                  </a:lnTo>
                  <a:lnTo>
                    <a:pt x="769009" y="196605"/>
                  </a:lnTo>
                  <a:lnTo>
                    <a:pt x="771641" y="196965"/>
                  </a:lnTo>
                  <a:lnTo>
                    <a:pt x="776068" y="196646"/>
                  </a:lnTo>
                  <a:lnTo>
                    <a:pt x="777737" y="196885"/>
                  </a:lnTo>
                  <a:lnTo>
                    <a:pt x="781956" y="200017"/>
                  </a:lnTo>
                  <a:lnTo>
                    <a:pt x="783187" y="202168"/>
                  </a:lnTo>
                  <a:lnTo>
                    <a:pt x="783544" y="204025"/>
                  </a:lnTo>
                  <a:lnTo>
                    <a:pt x="784193" y="205787"/>
                  </a:lnTo>
                  <a:lnTo>
                    <a:pt x="785232" y="206226"/>
                  </a:lnTo>
                  <a:lnTo>
                    <a:pt x="786457" y="206390"/>
                  </a:lnTo>
                  <a:lnTo>
                    <a:pt x="788053" y="208926"/>
                  </a:lnTo>
                  <a:lnTo>
                    <a:pt x="788370" y="209745"/>
                  </a:lnTo>
                  <a:lnTo>
                    <a:pt x="787157" y="216109"/>
                  </a:lnTo>
                  <a:lnTo>
                    <a:pt x="782187" y="213698"/>
                  </a:lnTo>
                  <a:lnTo>
                    <a:pt x="777383" y="210960"/>
                  </a:lnTo>
                  <a:lnTo>
                    <a:pt x="775319" y="209944"/>
                  </a:lnTo>
                  <a:lnTo>
                    <a:pt x="769786" y="207629"/>
                  </a:lnTo>
                  <a:lnTo>
                    <a:pt x="768938" y="206835"/>
                  </a:lnTo>
                  <a:lnTo>
                    <a:pt x="768318" y="205789"/>
                  </a:lnTo>
                  <a:lnTo>
                    <a:pt x="765908" y="204362"/>
                  </a:lnTo>
                  <a:lnTo>
                    <a:pt x="761099" y="204142"/>
                  </a:lnTo>
                  <a:lnTo>
                    <a:pt x="759293" y="204178"/>
                  </a:lnTo>
                  <a:lnTo>
                    <a:pt x="758558" y="204392"/>
                  </a:lnTo>
                  <a:lnTo>
                    <a:pt x="758750" y="205160"/>
                  </a:lnTo>
                  <a:lnTo>
                    <a:pt x="758778" y="206721"/>
                  </a:lnTo>
                  <a:lnTo>
                    <a:pt x="757584" y="207153"/>
                  </a:lnTo>
                  <a:lnTo>
                    <a:pt x="754601" y="206167"/>
                  </a:lnTo>
                  <a:lnTo>
                    <a:pt x="751933" y="205812"/>
                  </a:lnTo>
                  <a:lnTo>
                    <a:pt x="749622" y="204851"/>
                  </a:lnTo>
                  <a:lnTo>
                    <a:pt x="746524" y="204338"/>
                  </a:lnTo>
                  <a:lnTo>
                    <a:pt x="746182" y="203854"/>
                  </a:lnTo>
                  <a:lnTo>
                    <a:pt x="746448" y="203134"/>
                  </a:lnTo>
                  <a:lnTo>
                    <a:pt x="746310" y="202458"/>
                  </a:lnTo>
                  <a:lnTo>
                    <a:pt x="745593" y="202196"/>
                  </a:lnTo>
                  <a:lnTo>
                    <a:pt x="744202" y="202322"/>
                  </a:lnTo>
                  <a:lnTo>
                    <a:pt x="742859" y="203000"/>
                  </a:lnTo>
                  <a:lnTo>
                    <a:pt x="741742" y="203772"/>
                  </a:lnTo>
                  <a:lnTo>
                    <a:pt x="740099" y="205899"/>
                  </a:lnTo>
                  <a:lnTo>
                    <a:pt x="739259" y="206714"/>
                  </a:lnTo>
                  <a:lnTo>
                    <a:pt x="736554" y="207062"/>
                  </a:lnTo>
                  <a:lnTo>
                    <a:pt x="735433" y="206857"/>
                  </a:lnTo>
                  <a:lnTo>
                    <a:pt x="734400" y="206329"/>
                  </a:lnTo>
                  <a:lnTo>
                    <a:pt x="731321" y="202444"/>
                  </a:lnTo>
                  <a:lnTo>
                    <a:pt x="730283" y="201606"/>
                  </a:lnTo>
                  <a:lnTo>
                    <a:pt x="729125" y="200921"/>
                  </a:lnTo>
                  <a:lnTo>
                    <a:pt x="728049" y="200605"/>
                  </a:lnTo>
                  <a:lnTo>
                    <a:pt x="726946" y="201195"/>
                  </a:lnTo>
                  <a:lnTo>
                    <a:pt x="726363" y="202401"/>
                  </a:lnTo>
                  <a:lnTo>
                    <a:pt x="726102" y="203835"/>
                  </a:lnTo>
                  <a:lnTo>
                    <a:pt x="725795" y="204658"/>
                  </a:lnTo>
                  <a:lnTo>
                    <a:pt x="724467" y="206956"/>
                  </a:lnTo>
                  <a:lnTo>
                    <a:pt x="723371" y="208322"/>
                  </a:lnTo>
                  <a:lnTo>
                    <a:pt x="722971" y="208106"/>
                  </a:lnTo>
                  <a:lnTo>
                    <a:pt x="723534" y="205914"/>
                  </a:lnTo>
                  <a:lnTo>
                    <a:pt x="723537" y="204678"/>
                  </a:lnTo>
                  <a:lnTo>
                    <a:pt x="722857" y="203370"/>
                  </a:lnTo>
                  <a:lnTo>
                    <a:pt x="722431" y="202036"/>
                  </a:lnTo>
                  <a:lnTo>
                    <a:pt x="727637" y="195673"/>
                  </a:lnTo>
                  <a:lnTo>
                    <a:pt x="729520" y="194153"/>
                  </a:lnTo>
                  <a:lnTo>
                    <a:pt x="737730" y="193628"/>
                  </a:lnTo>
                  <a:lnTo>
                    <a:pt x="742611" y="193948"/>
                  </a:lnTo>
                  <a:lnTo>
                    <a:pt x="745269" y="193793"/>
                  </a:lnTo>
                  <a:lnTo>
                    <a:pt x="747046" y="193326"/>
                  </a:lnTo>
                  <a:lnTo>
                    <a:pt x="748518" y="193547"/>
                  </a:lnTo>
                  <a:lnTo>
                    <a:pt x="748885" y="194800"/>
                  </a:lnTo>
                  <a:lnTo>
                    <a:pt x="749814" y="195727"/>
                  </a:lnTo>
                  <a:lnTo>
                    <a:pt x="751098" y="195649"/>
                  </a:lnTo>
                  <a:lnTo>
                    <a:pt x="753425" y="194666"/>
                  </a:lnTo>
                  <a:lnTo>
                    <a:pt x="755448" y="193149"/>
                  </a:lnTo>
                  <a:lnTo>
                    <a:pt x="756691" y="192490"/>
                  </a:lnTo>
                  <a:close/>
                  <a:moveTo>
                    <a:pt x="111422" y="192323"/>
                  </a:moveTo>
                  <a:lnTo>
                    <a:pt x="116043" y="197164"/>
                  </a:lnTo>
                  <a:lnTo>
                    <a:pt x="116358" y="197983"/>
                  </a:lnTo>
                  <a:lnTo>
                    <a:pt x="116257" y="199708"/>
                  </a:lnTo>
                  <a:lnTo>
                    <a:pt x="115585" y="200248"/>
                  </a:lnTo>
                  <a:lnTo>
                    <a:pt x="115391" y="201169"/>
                  </a:lnTo>
                  <a:lnTo>
                    <a:pt x="116276" y="204392"/>
                  </a:lnTo>
                  <a:lnTo>
                    <a:pt x="113644" y="202194"/>
                  </a:lnTo>
                  <a:lnTo>
                    <a:pt x="113696" y="200635"/>
                  </a:lnTo>
                  <a:lnTo>
                    <a:pt x="113333" y="199624"/>
                  </a:lnTo>
                  <a:lnTo>
                    <a:pt x="111739" y="198381"/>
                  </a:lnTo>
                  <a:lnTo>
                    <a:pt x="110509" y="196829"/>
                  </a:lnTo>
                  <a:lnTo>
                    <a:pt x="109955" y="193142"/>
                  </a:lnTo>
                  <a:lnTo>
                    <a:pt x="110381" y="192375"/>
                  </a:lnTo>
                  <a:close/>
                  <a:moveTo>
                    <a:pt x="279301" y="186726"/>
                  </a:moveTo>
                  <a:lnTo>
                    <a:pt x="280117" y="187377"/>
                  </a:lnTo>
                  <a:lnTo>
                    <a:pt x="284533" y="188202"/>
                  </a:lnTo>
                  <a:lnTo>
                    <a:pt x="287645" y="190415"/>
                  </a:lnTo>
                  <a:lnTo>
                    <a:pt x="289314" y="193359"/>
                  </a:lnTo>
                  <a:lnTo>
                    <a:pt x="287470" y="197069"/>
                  </a:lnTo>
                  <a:lnTo>
                    <a:pt x="287129" y="199401"/>
                  </a:lnTo>
                  <a:lnTo>
                    <a:pt x="286587" y="200281"/>
                  </a:lnTo>
                  <a:lnTo>
                    <a:pt x="284736" y="201435"/>
                  </a:lnTo>
                  <a:lnTo>
                    <a:pt x="284110" y="202142"/>
                  </a:lnTo>
                  <a:lnTo>
                    <a:pt x="282383" y="202030"/>
                  </a:lnTo>
                  <a:lnTo>
                    <a:pt x="282164" y="200809"/>
                  </a:lnTo>
                  <a:lnTo>
                    <a:pt x="281586" y="199983"/>
                  </a:lnTo>
                  <a:lnTo>
                    <a:pt x="279753" y="199031"/>
                  </a:lnTo>
                  <a:lnTo>
                    <a:pt x="279275" y="199261"/>
                  </a:lnTo>
                  <a:lnTo>
                    <a:pt x="278947" y="200679"/>
                  </a:lnTo>
                  <a:lnTo>
                    <a:pt x="275360" y="201671"/>
                  </a:lnTo>
                  <a:lnTo>
                    <a:pt x="274362" y="201755"/>
                  </a:lnTo>
                  <a:lnTo>
                    <a:pt x="274855" y="199883"/>
                  </a:lnTo>
                  <a:lnTo>
                    <a:pt x="273931" y="198413"/>
                  </a:lnTo>
                  <a:lnTo>
                    <a:pt x="273857" y="196602"/>
                  </a:lnTo>
                  <a:lnTo>
                    <a:pt x="273687" y="195809"/>
                  </a:lnTo>
                  <a:lnTo>
                    <a:pt x="273235" y="195353"/>
                  </a:lnTo>
                  <a:lnTo>
                    <a:pt x="274151" y="194091"/>
                  </a:lnTo>
                  <a:lnTo>
                    <a:pt x="274002" y="192688"/>
                  </a:lnTo>
                  <a:lnTo>
                    <a:pt x="274963" y="191180"/>
                  </a:lnTo>
                  <a:lnTo>
                    <a:pt x="275510" y="187524"/>
                  </a:lnTo>
                  <a:close/>
                  <a:moveTo>
                    <a:pt x="106255" y="186284"/>
                  </a:moveTo>
                  <a:lnTo>
                    <a:pt x="110456" y="190033"/>
                  </a:lnTo>
                  <a:lnTo>
                    <a:pt x="110504" y="191390"/>
                  </a:lnTo>
                  <a:lnTo>
                    <a:pt x="108925" y="193168"/>
                  </a:lnTo>
                  <a:lnTo>
                    <a:pt x="106322" y="193131"/>
                  </a:lnTo>
                  <a:lnTo>
                    <a:pt x="105812" y="192027"/>
                  </a:lnTo>
                  <a:lnTo>
                    <a:pt x="105922" y="189361"/>
                  </a:lnTo>
                  <a:lnTo>
                    <a:pt x="105287" y="188486"/>
                  </a:lnTo>
                  <a:lnTo>
                    <a:pt x="105313" y="188140"/>
                  </a:lnTo>
                  <a:lnTo>
                    <a:pt x="105723" y="186619"/>
                  </a:lnTo>
                  <a:close/>
                  <a:moveTo>
                    <a:pt x="865974" y="175607"/>
                  </a:moveTo>
                  <a:lnTo>
                    <a:pt x="866449" y="175676"/>
                  </a:lnTo>
                  <a:lnTo>
                    <a:pt x="867069" y="176140"/>
                  </a:lnTo>
                  <a:lnTo>
                    <a:pt x="866078" y="177728"/>
                  </a:lnTo>
                  <a:lnTo>
                    <a:pt x="865436" y="178065"/>
                  </a:lnTo>
                  <a:lnTo>
                    <a:pt x="865212" y="177101"/>
                  </a:lnTo>
                  <a:lnTo>
                    <a:pt x="865560" y="175812"/>
                  </a:lnTo>
                  <a:close/>
                  <a:moveTo>
                    <a:pt x="97634" y="175362"/>
                  </a:moveTo>
                  <a:lnTo>
                    <a:pt x="99058" y="176397"/>
                  </a:lnTo>
                  <a:lnTo>
                    <a:pt x="100126" y="178927"/>
                  </a:lnTo>
                  <a:lnTo>
                    <a:pt x="101916" y="181286"/>
                  </a:lnTo>
                  <a:lnTo>
                    <a:pt x="102521" y="182585"/>
                  </a:lnTo>
                  <a:lnTo>
                    <a:pt x="102626" y="183174"/>
                  </a:lnTo>
                  <a:lnTo>
                    <a:pt x="99029" y="181228"/>
                  </a:lnTo>
                  <a:lnTo>
                    <a:pt x="97302" y="180692"/>
                  </a:lnTo>
                  <a:lnTo>
                    <a:pt x="95762" y="178568"/>
                  </a:lnTo>
                  <a:lnTo>
                    <a:pt x="96237" y="177549"/>
                  </a:lnTo>
                  <a:lnTo>
                    <a:pt x="96302" y="176127"/>
                  </a:lnTo>
                  <a:lnTo>
                    <a:pt x="96531" y="175565"/>
                  </a:lnTo>
                  <a:close/>
                  <a:moveTo>
                    <a:pt x="679197" y="174438"/>
                  </a:moveTo>
                  <a:lnTo>
                    <a:pt x="680083" y="174459"/>
                  </a:lnTo>
                  <a:lnTo>
                    <a:pt x="680744" y="175257"/>
                  </a:lnTo>
                  <a:lnTo>
                    <a:pt x="680375" y="178713"/>
                  </a:lnTo>
                  <a:lnTo>
                    <a:pt x="682359" y="183088"/>
                  </a:lnTo>
                  <a:lnTo>
                    <a:pt x="682124" y="184978"/>
                  </a:lnTo>
                  <a:lnTo>
                    <a:pt x="681744" y="185380"/>
                  </a:lnTo>
                  <a:lnTo>
                    <a:pt x="680418" y="184185"/>
                  </a:lnTo>
                  <a:lnTo>
                    <a:pt x="679526" y="180809"/>
                  </a:lnTo>
                  <a:lnTo>
                    <a:pt x="678766" y="179910"/>
                  </a:lnTo>
                  <a:lnTo>
                    <a:pt x="677874" y="176702"/>
                  </a:lnTo>
                  <a:lnTo>
                    <a:pt x="678103" y="175790"/>
                  </a:lnTo>
                  <a:close/>
                  <a:moveTo>
                    <a:pt x="631894" y="172304"/>
                  </a:moveTo>
                  <a:lnTo>
                    <a:pt x="633326" y="174010"/>
                  </a:lnTo>
                  <a:lnTo>
                    <a:pt x="633719" y="174900"/>
                  </a:lnTo>
                  <a:lnTo>
                    <a:pt x="632337" y="174870"/>
                  </a:lnTo>
                  <a:lnTo>
                    <a:pt x="631756" y="173196"/>
                  </a:lnTo>
                  <a:close/>
                  <a:moveTo>
                    <a:pt x="681441" y="170344"/>
                  </a:moveTo>
                  <a:lnTo>
                    <a:pt x="688241" y="171077"/>
                  </a:lnTo>
                  <a:lnTo>
                    <a:pt x="687276" y="171874"/>
                  </a:lnTo>
                  <a:lnTo>
                    <a:pt x="679943" y="173151"/>
                  </a:lnTo>
                  <a:lnTo>
                    <a:pt x="677343" y="172919"/>
                  </a:lnTo>
                  <a:lnTo>
                    <a:pt x="669390" y="173669"/>
                  </a:lnTo>
                  <a:lnTo>
                    <a:pt x="668360" y="173626"/>
                  </a:lnTo>
                  <a:lnTo>
                    <a:pt x="668213" y="172390"/>
                  </a:lnTo>
                  <a:lnTo>
                    <a:pt x="667356" y="171524"/>
                  </a:lnTo>
                  <a:lnTo>
                    <a:pt x="668628" y="170770"/>
                  </a:lnTo>
                  <a:lnTo>
                    <a:pt x="670312" y="170591"/>
                  </a:lnTo>
                  <a:lnTo>
                    <a:pt x="674722" y="170876"/>
                  </a:lnTo>
                  <a:close/>
                  <a:moveTo>
                    <a:pt x="617610" y="169967"/>
                  </a:moveTo>
                  <a:lnTo>
                    <a:pt x="617943" y="170936"/>
                  </a:lnTo>
                  <a:lnTo>
                    <a:pt x="616312" y="172759"/>
                  </a:lnTo>
                  <a:lnTo>
                    <a:pt x="616137" y="171785"/>
                  </a:lnTo>
                  <a:lnTo>
                    <a:pt x="616468" y="170899"/>
                  </a:lnTo>
                  <a:lnTo>
                    <a:pt x="616923" y="170277"/>
                  </a:lnTo>
                  <a:close/>
                  <a:moveTo>
                    <a:pt x="777167" y="168150"/>
                  </a:moveTo>
                  <a:lnTo>
                    <a:pt x="777435" y="169461"/>
                  </a:lnTo>
                  <a:lnTo>
                    <a:pt x="778752" y="170673"/>
                  </a:lnTo>
                  <a:lnTo>
                    <a:pt x="778294" y="172559"/>
                  </a:lnTo>
                  <a:lnTo>
                    <a:pt x="777770" y="172842"/>
                  </a:lnTo>
                  <a:lnTo>
                    <a:pt x="778052" y="173704"/>
                  </a:lnTo>
                  <a:lnTo>
                    <a:pt x="778616" y="174360"/>
                  </a:lnTo>
                  <a:lnTo>
                    <a:pt x="777595" y="174816"/>
                  </a:lnTo>
                  <a:lnTo>
                    <a:pt x="776850" y="174593"/>
                  </a:lnTo>
                  <a:lnTo>
                    <a:pt x="775638" y="175203"/>
                  </a:lnTo>
                  <a:lnTo>
                    <a:pt x="774839" y="176051"/>
                  </a:lnTo>
                  <a:lnTo>
                    <a:pt x="772306" y="176408"/>
                  </a:lnTo>
                  <a:lnTo>
                    <a:pt x="771419" y="175622"/>
                  </a:lnTo>
                  <a:lnTo>
                    <a:pt x="766846" y="174695"/>
                  </a:lnTo>
                  <a:lnTo>
                    <a:pt x="763923" y="172660"/>
                  </a:lnTo>
                  <a:lnTo>
                    <a:pt x="763554" y="172051"/>
                  </a:lnTo>
                  <a:lnTo>
                    <a:pt x="769214" y="169662"/>
                  </a:lnTo>
                  <a:lnTo>
                    <a:pt x="771693" y="169033"/>
                  </a:lnTo>
                  <a:lnTo>
                    <a:pt x="773768" y="169072"/>
                  </a:lnTo>
                  <a:lnTo>
                    <a:pt x="776385" y="168182"/>
                  </a:lnTo>
                  <a:close/>
                  <a:moveTo>
                    <a:pt x="651363" y="166942"/>
                  </a:moveTo>
                  <a:lnTo>
                    <a:pt x="658120" y="168480"/>
                  </a:lnTo>
                  <a:lnTo>
                    <a:pt x="660187" y="169267"/>
                  </a:lnTo>
                  <a:lnTo>
                    <a:pt x="660914" y="169262"/>
                  </a:lnTo>
                  <a:lnTo>
                    <a:pt x="661597" y="168344"/>
                  </a:lnTo>
                  <a:lnTo>
                    <a:pt x="662018" y="168195"/>
                  </a:lnTo>
                  <a:lnTo>
                    <a:pt x="662948" y="168645"/>
                  </a:lnTo>
                  <a:lnTo>
                    <a:pt x="663164" y="170135"/>
                  </a:lnTo>
                  <a:lnTo>
                    <a:pt x="664503" y="169927"/>
                  </a:lnTo>
                  <a:lnTo>
                    <a:pt x="665546" y="170437"/>
                  </a:lnTo>
                  <a:lnTo>
                    <a:pt x="665874" y="170794"/>
                  </a:lnTo>
                  <a:lnTo>
                    <a:pt x="665739" y="172278"/>
                  </a:lnTo>
                  <a:lnTo>
                    <a:pt x="661774" y="172539"/>
                  </a:lnTo>
                  <a:lnTo>
                    <a:pt x="658943" y="173736"/>
                  </a:lnTo>
                  <a:lnTo>
                    <a:pt x="655134" y="172660"/>
                  </a:lnTo>
                  <a:lnTo>
                    <a:pt x="650815" y="174514"/>
                  </a:lnTo>
                  <a:lnTo>
                    <a:pt x="648193" y="175148"/>
                  </a:lnTo>
                  <a:lnTo>
                    <a:pt x="645920" y="175110"/>
                  </a:lnTo>
                  <a:lnTo>
                    <a:pt x="643972" y="171874"/>
                  </a:lnTo>
                  <a:lnTo>
                    <a:pt x="645103" y="168083"/>
                  </a:lnTo>
                  <a:lnTo>
                    <a:pt x="645915" y="167459"/>
                  </a:lnTo>
                  <a:lnTo>
                    <a:pt x="647362" y="167128"/>
                  </a:lnTo>
                  <a:close/>
                  <a:moveTo>
                    <a:pt x="890401" y="165966"/>
                  </a:moveTo>
                  <a:lnTo>
                    <a:pt x="899134" y="167076"/>
                  </a:lnTo>
                  <a:lnTo>
                    <a:pt x="901500" y="166934"/>
                  </a:lnTo>
                  <a:lnTo>
                    <a:pt x="906484" y="167364"/>
                  </a:lnTo>
                  <a:lnTo>
                    <a:pt x="910643" y="168837"/>
                  </a:lnTo>
                  <a:lnTo>
                    <a:pt x="917916" y="169111"/>
                  </a:lnTo>
                  <a:lnTo>
                    <a:pt x="920086" y="169550"/>
                  </a:lnTo>
                  <a:lnTo>
                    <a:pt x="921764" y="170565"/>
                  </a:lnTo>
                  <a:lnTo>
                    <a:pt x="917695" y="171405"/>
                  </a:lnTo>
                  <a:lnTo>
                    <a:pt x="915778" y="172187"/>
                  </a:lnTo>
                  <a:lnTo>
                    <a:pt x="912217" y="172571"/>
                  </a:lnTo>
                  <a:lnTo>
                    <a:pt x="909238" y="172174"/>
                  </a:lnTo>
                  <a:lnTo>
                    <a:pt x="907071" y="172643"/>
                  </a:lnTo>
                  <a:lnTo>
                    <a:pt x="906285" y="171880"/>
                  </a:lnTo>
                  <a:lnTo>
                    <a:pt x="903116" y="171105"/>
                  </a:lnTo>
                  <a:lnTo>
                    <a:pt x="899058" y="169513"/>
                  </a:lnTo>
                  <a:lnTo>
                    <a:pt x="890697" y="167659"/>
                  </a:lnTo>
                  <a:lnTo>
                    <a:pt x="890302" y="166506"/>
                  </a:lnTo>
                  <a:close/>
                  <a:moveTo>
                    <a:pt x="302286" y="164817"/>
                  </a:moveTo>
                  <a:lnTo>
                    <a:pt x="304045" y="165353"/>
                  </a:lnTo>
                  <a:lnTo>
                    <a:pt x="303964" y="166582"/>
                  </a:lnTo>
                  <a:lnTo>
                    <a:pt x="301415" y="167511"/>
                  </a:lnTo>
                  <a:lnTo>
                    <a:pt x="300660" y="165435"/>
                  </a:lnTo>
                  <a:close/>
                  <a:moveTo>
                    <a:pt x="236675" y="164046"/>
                  </a:moveTo>
                  <a:lnTo>
                    <a:pt x="238243" y="164802"/>
                  </a:lnTo>
                  <a:lnTo>
                    <a:pt x="239268" y="165996"/>
                  </a:lnTo>
                  <a:lnTo>
                    <a:pt x="239675" y="167683"/>
                  </a:lnTo>
                  <a:lnTo>
                    <a:pt x="240434" y="169206"/>
                  </a:lnTo>
                  <a:lnTo>
                    <a:pt x="241475" y="170575"/>
                  </a:lnTo>
                  <a:lnTo>
                    <a:pt x="242240" y="172053"/>
                  </a:lnTo>
                  <a:lnTo>
                    <a:pt x="243281" y="179169"/>
                  </a:lnTo>
                  <a:lnTo>
                    <a:pt x="246755" y="185279"/>
                  </a:lnTo>
                  <a:lnTo>
                    <a:pt x="256761" y="187679"/>
                  </a:lnTo>
                  <a:lnTo>
                    <a:pt x="255123" y="188667"/>
                  </a:lnTo>
                  <a:lnTo>
                    <a:pt x="254289" y="189553"/>
                  </a:lnTo>
                  <a:lnTo>
                    <a:pt x="253674" y="190571"/>
                  </a:lnTo>
                  <a:lnTo>
                    <a:pt x="252196" y="194808"/>
                  </a:lnTo>
                  <a:lnTo>
                    <a:pt x="252341" y="195708"/>
                  </a:lnTo>
                  <a:lnTo>
                    <a:pt x="253205" y="197147"/>
                  </a:lnTo>
                  <a:lnTo>
                    <a:pt x="253416" y="198709"/>
                  </a:lnTo>
                  <a:lnTo>
                    <a:pt x="252165" y="198701"/>
                  </a:lnTo>
                  <a:lnTo>
                    <a:pt x="250754" y="198351"/>
                  </a:lnTo>
                  <a:lnTo>
                    <a:pt x="249633" y="197763"/>
                  </a:lnTo>
                  <a:lnTo>
                    <a:pt x="248586" y="196994"/>
                  </a:lnTo>
                  <a:lnTo>
                    <a:pt x="247450" y="196382"/>
                  </a:lnTo>
                  <a:lnTo>
                    <a:pt x="246217" y="195986"/>
                  </a:lnTo>
                  <a:lnTo>
                    <a:pt x="244194" y="194776"/>
                  </a:lnTo>
                  <a:lnTo>
                    <a:pt x="241447" y="193920"/>
                  </a:lnTo>
                  <a:lnTo>
                    <a:pt x="238636" y="193246"/>
                  </a:lnTo>
                  <a:lnTo>
                    <a:pt x="237276" y="191446"/>
                  </a:lnTo>
                  <a:lnTo>
                    <a:pt x="236630" y="189227"/>
                  </a:lnTo>
                  <a:lnTo>
                    <a:pt x="237316" y="185912"/>
                  </a:lnTo>
                  <a:lnTo>
                    <a:pt x="236621" y="184994"/>
                  </a:lnTo>
                  <a:lnTo>
                    <a:pt x="235621" y="184185"/>
                  </a:lnTo>
                  <a:lnTo>
                    <a:pt x="234393" y="181796"/>
                  </a:lnTo>
                  <a:lnTo>
                    <a:pt x="233928" y="179007"/>
                  </a:lnTo>
                  <a:lnTo>
                    <a:pt x="232146" y="177929"/>
                  </a:lnTo>
                  <a:lnTo>
                    <a:pt x="229797" y="177277"/>
                  </a:lnTo>
                  <a:lnTo>
                    <a:pt x="228774" y="176743"/>
                  </a:lnTo>
                  <a:lnTo>
                    <a:pt x="224133" y="177763"/>
                  </a:lnTo>
                  <a:lnTo>
                    <a:pt x="223021" y="177523"/>
                  </a:lnTo>
                  <a:lnTo>
                    <a:pt x="222028" y="176751"/>
                  </a:lnTo>
                  <a:lnTo>
                    <a:pt x="219501" y="175937"/>
                  </a:lnTo>
                  <a:lnTo>
                    <a:pt x="219596" y="174390"/>
                  </a:lnTo>
                  <a:lnTo>
                    <a:pt x="220776" y="173157"/>
                  </a:lnTo>
                  <a:lnTo>
                    <a:pt x="223544" y="171911"/>
                  </a:lnTo>
                  <a:lnTo>
                    <a:pt x="224839" y="170863"/>
                  </a:lnTo>
                  <a:lnTo>
                    <a:pt x="225098" y="169483"/>
                  </a:lnTo>
                  <a:lnTo>
                    <a:pt x="224606" y="168472"/>
                  </a:lnTo>
                  <a:lnTo>
                    <a:pt x="224803" y="167416"/>
                  </a:lnTo>
                  <a:lnTo>
                    <a:pt x="225677" y="166392"/>
                  </a:lnTo>
                  <a:lnTo>
                    <a:pt x="226713" y="165588"/>
                  </a:lnTo>
                  <a:lnTo>
                    <a:pt x="229497" y="164528"/>
                  </a:lnTo>
                  <a:lnTo>
                    <a:pt x="230712" y="166379"/>
                  </a:lnTo>
                  <a:lnTo>
                    <a:pt x="231313" y="167925"/>
                  </a:lnTo>
                  <a:lnTo>
                    <a:pt x="232050" y="169046"/>
                  </a:lnTo>
                  <a:lnTo>
                    <a:pt x="233235" y="167446"/>
                  </a:lnTo>
                  <a:lnTo>
                    <a:pt x="232481" y="164685"/>
                  </a:lnTo>
                  <a:lnTo>
                    <a:pt x="234597" y="164070"/>
                  </a:lnTo>
                  <a:close/>
                  <a:moveTo>
                    <a:pt x="626256" y="163998"/>
                  </a:moveTo>
                  <a:lnTo>
                    <a:pt x="626699" y="164117"/>
                  </a:lnTo>
                  <a:lnTo>
                    <a:pt x="626981" y="165083"/>
                  </a:lnTo>
                  <a:lnTo>
                    <a:pt x="627439" y="165947"/>
                  </a:lnTo>
                  <a:lnTo>
                    <a:pt x="628200" y="166754"/>
                  </a:lnTo>
                  <a:lnTo>
                    <a:pt x="627783" y="168454"/>
                  </a:lnTo>
                  <a:lnTo>
                    <a:pt x="626258" y="168599"/>
                  </a:lnTo>
                  <a:lnTo>
                    <a:pt x="625239" y="167949"/>
                  </a:lnTo>
                  <a:lnTo>
                    <a:pt x="625330" y="164707"/>
                  </a:lnTo>
                  <a:close/>
                  <a:moveTo>
                    <a:pt x="717318" y="160230"/>
                  </a:moveTo>
                  <a:lnTo>
                    <a:pt x="719447" y="160845"/>
                  </a:lnTo>
                  <a:lnTo>
                    <a:pt x="723031" y="162588"/>
                  </a:lnTo>
                  <a:lnTo>
                    <a:pt x="725856" y="164636"/>
                  </a:lnTo>
                  <a:lnTo>
                    <a:pt x="728419" y="166230"/>
                  </a:lnTo>
                  <a:lnTo>
                    <a:pt x="728514" y="167487"/>
                  </a:lnTo>
                  <a:lnTo>
                    <a:pt x="727160" y="168385"/>
                  </a:lnTo>
                  <a:lnTo>
                    <a:pt x="726484" y="168634"/>
                  </a:lnTo>
                  <a:lnTo>
                    <a:pt x="723223" y="168031"/>
                  </a:lnTo>
                  <a:lnTo>
                    <a:pt x="719404" y="168156"/>
                  </a:lnTo>
                  <a:lnTo>
                    <a:pt x="715437" y="168990"/>
                  </a:lnTo>
                  <a:lnTo>
                    <a:pt x="713137" y="168286"/>
                  </a:lnTo>
                  <a:lnTo>
                    <a:pt x="711690" y="167139"/>
                  </a:lnTo>
                  <a:lnTo>
                    <a:pt x="711753" y="165923"/>
                  </a:lnTo>
                  <a:lnTo>
                    <a:pt x="713118" y="162912"/>
                  </a:lnTo>
                  <a:lnTo>
                    <a:pt x="716104" y="160636"/>
                  </a:lnTo>
                  <a:close/>
                  <a:moveTo>
                    <a:pt x="618070" y="156362"/>
                  </a:moveTo>
                  <a:lnTo>
                    <a:pt x="619264" y="156666"/>
                  </a:lnTo>
                  <a:lnTo>
                    <a:pt x="619750" y="158046"/>
                  </a:lnTo>
                  <a:lnTo>
                    <a:pt x="618949" y="159241"/>
                  </a:lnTo>
                  <a:lnTo>
                    <a:pt x="619827" y="161489"/>
                  </a:lnTo>
                  <a:lnTo>
                    <a:pt x="622056" y="158495"/>
                  </a:lnTo>
                  <a:lnTo>
                    <a:pt x="624183" y="158115"/>
                  </a:lnTo>
                  <a:lnTo>
                    <a:pt x="625391" y="158612"/>
                  </a:lnTo>
                  <a:lnTo>
                    <a:pt x="626219" y="159204"/>
                  </a:lnTo>
                  <a:lnTo>
                    <a:pt x="626670" y="160340"/>
                  </a:lnTo>
                  <a:lnTo>
                    <a:pt x="625889" y="162772"/>
                  </a:lnTo>
                  <a:lnTo>
                    <a:pt x="624492" y="163910"/>
                  </a:lnTo>
                  <a:lnTo>
                    <a:pt x="622685" y="164094"/>
                  </a:lnTo>
                  <a:lnTo>
                    <a:pt x="621836" y="162677"/>
                  </a:lnTo>
                  <a:lnTo>
                    <a:pt x="620648" y="162547"/>
                  </a:lnTo>
                  <a:lnTo>
                    <a:pt x="619819" y="165638"/>
                  </a:lnTo>
                  <a:lnTo>
                    <a:pt x="619445" y="166111"/>
                  </a:lnTo>
                  <a:lnTo>
                    <a:pt x="618394" y="166502"/>
                  </a:lnTo>
                  <a:lnTo>
                    <a:pt x="617452" y="165649"/>
                  </a:lnTo>
                  <a:lnTo>
                    <a:pt x="617288" y="165176"/>
                  </a:lnTo>
                  <a:lnTo>
                    <a:pt x="618614" y="163776"/>
                  </a:lnTo>
                  <a:lnTo>
                    <a:pt x="617895" y="159612"/>
                  </a:lnTo>
                  <a:lnTo>
                    <a:pt x="616896" y="160394"/>
                  </a:lnTo>
                  <a:lnTo>
                    <a:pt x="614224" y="164171"/>
                  </a:lnTo>
                  <a:lnTo>
                    <a:pt x="612146" y="165865"/>
                  </a:lnTo>
                  <a:lnTo>
                    <a:pt x="611440" y="165003"/>
                  </a:lnTo>
                  <a:lnTo>
                    <a:pt x="610387" y="162435"/>
                  </a:lnTo>
                  <a:lnTo>
                    <a:pt x="610860" y="159137"/>
                  </a:lnTo>
                  <a:lnTo>
                    <a:pt x="612536" y="156908"/>
                  </a:lnTo>
                  <a:lnTo>
                    <a:pt x="613960" y="157061"/>
                  </a:lnTo>
                  <a:close/>
                  <a:moveTo>
                    <a:pt x="318592" y="152416"/>
                  </a:moveTo>
                  <a:lnTo>
                    <a:pt x="320467" y="153040"/>
                  </a:lnTo>
                  <a:lnTo>
                    <a:pt x="321437" y="153749"/>
                  </a:lnTo>
                  <a:lnTo>
                    <a:pt x="321818" y="155204"/>
                  </a:lnTo>
                  <a:lnTo>
                    <a:pt x="321601" y="156085"/>
                  </a:lnTo>
                  <a:lnTo>
                    <a:pt x="320705" y="156874"/>
                  </a:lnTo>
                  <a:lnTo>
                    <a:pt x="316296" y="159132"/>
                  </a:lnTo>
                  <a:lnTo>
                    <a:pt x="315253" y="159016"/>
                  </a:lnTo>
                  <a:lnTo>
                    <a:pt x="314467" y="158212"/>
                  </a:lnTo>
                  <a:lnTo>
                    <a:pt x="314957" y="153854"/>
                  </a:lnTo>
                  <a:lnTo>
                    <a:pt x="315525" y="152554"/>
                  </a:lnTo>
                  <a:close/>
                  <a:moveTo>
                    <a:pt x="877466" y="151518"/>
                  </a:moveTo>
                  <a:lnTo>
                    <a:pt x="878606" y="152411"/>
                  </a:lnTo>
                  <a:lnTo>
                    <a:pt x="878958" y="153554"/>
                  </a:lnTo>
                  <a:lnTo>
                    <a:pt x="879833" y="153632"/>
                  </a:lnTo>
                  <a:lnTo>
                    <a:pt x="879148" y="155444"/>
                  </a:lnTo>
                  <a:lnTo>
                    <a:pt x="878088" y="155848"/>
                  </a:lnTo>
                  <a:lnTo>
                    <a:pt x="876857" y="155403"/>
                  </a:lnTo>
                  <a:lnTo>
                    <a:pt x="875689" y="153709"/>
                  </a:lnTo>
                  <a:lnTo>
                    <a:pt x="876110" y="152410"/>
                  </a:lnTo>
                  <a:close/>
                  <a:moveTo>
                    <a:pt x="80984" y="151012"/>
                  </a:moveTo>
                  <a:lnTo>
                    <a:pt x="82389" y="151861"/>
                  </a:lnTo>
                  <a:lnTo>
                    <a:pt x="82880" y="154122"/>
                  </a:lnTo>
                  <a:lnTo>
                    <a:pt x="85317" y="158202"/>
                  </a:lnTo>
                  <a:lnTo>
                    <a:pt x="86123" y="160400"/>
                  </a:lnTo>
                  <a:lnTo>
                    <a:pt x="86729" y="161374"/>
                  </a:lnTo>
                  <a:lnTo>
                    <a:pt x="86984" y="162133"/>
                  </a:lnTo>
                  <a:lnTo>
                    <a:pt x="86768" y="162662"/>
                  </a:lnTo>
                  <a:lnTo>
                    <a:pt x="88530" y="165247"/>
                  </a:lnTo>
                  <a:lnTo>
                    <a:pt x="89789" y="166761"/>
                  </a:lnTo>
                  <a:lnTo>
                    <a:pt x="89882" y="169210"/>
                  </a:lnTo>
                  <a:lnTo>
                    <a:pt x="87503" y="170083"/>
                  </a:lnTo>
                  <a:lnTo>
                    <a:pt x="85466" y="170206"/>
                  </a:lnTo>
                  <a:lnTo>
                    <a:pt x="81100" y="167556"/>
                  </a:lnTo>
                  <a:lnTo>
                    <a:pt x="80070" y="166368"/>
                  </a:lnTo>
                  <a:lnTo>
                    <a:pt x="79817" y="164782"/>
                  </a:lnTo>
                  <a:lnTo>
                    <a:pt x="75630" y="158657"/>
                  </a:lnTo>
                  <a:lnTo>
                    <a:pt x="75073" y="157253"/>
                  </a:lnTo>
                  <a:lnTo>
                    <a:pt x="76716" y="152226"/>
                  </a:lnTo>
                  <a:close/>
                  <a:moveTo>
                    <a:pt x="789193" y="150446"/>
                  </a:moveTo>
                  <a:lnTo>
                    <a:pt x="790128" y="151006"/>
                  </a:lnTo>
                  <a:lnTo>
                    <a:pt x="792196" y="151055"/>
                  </a:lnTo>
                  <a:lnTo>
                    <a:pt x="793101" y="152176"/>
                  </a:lnTo>
                  <a:lnTo>
                    <a:pt x="792488" y="157040"/>
                  </a:lnTo>
                  <a:lnTo>
                    <a:pt x="791508" y="159856"/>
                  </a:lnTo>
                  <a:lnTo>
                    <a:pt x="790728" y="160474"/>
                  </a:lnTo>
                  <a:lnTo>
                    <a:pt x="788042" y="159895"/>
                  </a:lnTo>
                  <a:lnTo>
                    <a:pt x="786653" y="158528"/>
                  </a:lnTo>
                  <a:lnTo>
                    <a:pt x="785703" y="156694"/>
                  </a:lnTo>
                  <a:lnTo>
                    <a:pt x="785101" y="155187"/>
                  </a:lnTo>
                  <a:lnTo>
                    <a:pt x="784930" y="153988"/>
                  </a:lnTo>
                  <a:lnTo>
                    <a:pt x="784124" y="152524"/>
                  </a:lnTo>
                  <a:lnTo>
                    <a:pt x="784234" y="151988"/>
                  </a:lnTo>
                  <a:close/>
                  <a:moveTo>
                    <a:pt x="787200" y="147682"/>
                  </a:moveTo>
                  <a:lnTo>
                    <a:pt x="789372" y="147956"/>
                  </a:lnTo>
                  <a:lnTo>
                    <a:pt x="788809" y="149084"/>
                  </a:lnTo>
                  <a:lnTo>
                    <a:pt x="787761" y="149846"/>
                  </a:lnTo>
                  <a:lnTo>
                    <a:pt x="778253" y="151196"/>
                  </a:lnTo>
                  <a:lnTo>
                    <a:pt x="779063" y="150388"/>
                  </a:lnTo>
                  <a:lnTo>
                    <a:pt x="779467" y="149587"/>
                  </a:lnTo>
                  <a:lnTo>
                    <a:pt x="780063" y="149174"/>
                  </a:lnTo>
                  <a:lnTo>
                    <a:pt x="781007" y="149280"/>
                  </a:lnTo>
                  <a:lnTo>
                    <a:pt x="781475" y="149036"/>
                  </a:lnTo>
                  <a:lnTo>
                    <a:pt x="781948" y="148939"/>
                  </a:lnTo>
                  <a:lnTo>
                    <a:pt x="782483" y="149045"/>
                  </a:lnTo>
                  <a:lnTo>
                    <a:pt x="783406" y="148712"/>
                  </a:lnTo>
                  <a:lnTo>
                    <a:pt x="785347" y="148952"/>
                  </a:lnTo>
                  <a:lnTo>
                    <a:pt x="787342" y="148762"/>
                  </a:lnTo>
                  <a:close/>
                  <a:moveTo>
                    <a:pt x="888384" y="145168"/>
                  </a:moveTo>
                  <a:lnTo>
                    <a:pt x="893087" y="146032"/>
                  </a:lnTo>
                  <a:lnTo>
                    <a:pt x="894802" y="145985"/>
                  </a:lnTo>
                  <a:lnTo>
                    <a:pt x="896477" y="146963"/>
                  </a:lnTo>
                  <a:lnTo>
                    <a:pt x="898516" y="146501"/>
                  </a:lnTo>
                  <a:lnTo>
                    <a:pt x="899673" y="146814"/>
                  </a:lnTo>
                  <a:lnTo>
                    <a:pt x="903547" y="150174"/>
                  </a:lnTo>
                  <a:lnTo>
                    <a:pt x="905448" y="152399"/>
                  </a:lnTo>
                  <a:lnTo>
                    <a:pt x="908276" y="154308"/>
                  </a:lnTo>
                  <a:lnTo>
                    <a:pt x="910325" y="154958"/>
                  </a:lnTo>
                  <a:lnTo>
                    <a:pt x="908780" y="156707"/>
                  </a:lnTo>
                  <a:lnTo>
                    <a:pt x="905670" y="157627"/>
                  </a:lnTo>
                  <a:lnTo>
                    <a:pt x="904467" y="157672"/>
                  </a:lnTo>
                  <a:lnTo>
                    <a:pt x="902083" y="156631"/>
                  </a:lnTo>
                  <a:lnTo>
                    <a:pt x="900148" y="156824"/>
                  </a:lnTo>
                  <a:lnTo>
                    <a:pt x="898462" y="155519"/>
                  </a:lnTo>
                  <a:lnTo>
                    <a:pt x="898171" y="153504"/>
                  </a:lnTo>
                  <a:lnTo>
                    <a:pt x="896435" y="148965"/>
                  </a:lnTo>
                  <a:lnTo>
                    <a:pt x="894193" y="150267"/>
                  </a:lnTo>
                  <a:lnTo>
                    <a:pt x="891498" y="148175"/>
                  </a:lnTo>
                  <a:lnTo>
                    <a:pt x="890774" y="148125"/>
                  </a:lnTo>
                  <a:lnTo>
                    <a:pt x="890604" y="148479"/>
                  </a:lnTo>
                  <a:lnTo>
                    <a:pt x="889460" y="147766"/>
                  </a:lnTo>
                  <a:lnTo>
                    <a:pt x="888488" y="146352"/>
                  </a:lnTo>
                  <a:close/>
                  <a:moveTo>
                    <a:pt x="707641" y="144460"/>
                  </a:moveTo>
                  <a:lnTo>
                    <a:pt x="708727" y="144551"/>
                  </a:lnTo>
                  <a:lnTo>
                    <a:pt x="709680" y="147535"/>
                  </a:lnTo>
                  <a:lnTo>
                    <a:pt x="709661" y="148034"/>
                  </a:lnTo>
                  <a:lnTo>
                    <a:pt x="709410" y="148490"/>
                  </a:lnTo>
                  <a:lnTo>
                    <a:pt x="707100" y="147909"/>
                  </a:lnTo>
                  <a:lnTo>
                    <a:pt x="706477" y="147592"/>
                  </a:lnTo>
                  <a:close/>
                  <a:moveTo>
                    <a:pt x="782974" y="139992"/>
                  </a:moveTo>
                  <a:lnTo>
                    <a:pt x="783881" y="140418"/>
                  </a:lnTo>
                  <a:lnTo>
                    <a:pt x="784485" y="141139"/>
                  </a:lnTo>
                  <a:lnTo>
                    <a:pt x="783211" y="142456"/>
                  </a:lnTo>
                  <a:lnTo>
                    <a:pt x="781939" y="142484"/>
                  </a:lnTo>
                  <a:lnTo>
                    <a:pt x="779646" y="141523"/>
                  </a:lnTo>
                  <a:lnTo>
                    <a:pt x="780983" y="140688"/>
                  </a:lnTo>
                  <a:lnTo>
                    <a:pt x="781829" y="140515"/>
                  </a:lnTo>
                  <a:lnTo>
                    <a:pt x="782566" y="140014"/>
                  </a:lnTo>
                  <a:close/>
                  <a:moveTo>
                    <a:pt x="589458" y="139761"/>
                  </a:moveTo>
                  <a:lnTo>
                    <a:pt x="590397" y="140744"/>
                  </a:lnTo>
                  <a:lnTo>
                    <a:pt x="589832" y="141880"/>
                  </a:lnTo>
                  <a:lnTo>
                    <a:pt x="589071" y="141597"/>
                  </a:lnTo>
                  <a:lnTo>
                    <a:pt x="587064" y="141618"/>
                  </a:lnTo>
                  <a:lnTo>
                    <a:pt x="586305" y="141705"/>
                  </a:lnTo>
                  <a:lnTo>
                    <a:pt x="585402" y="142374"/>
                  </a:lnTo>
                  <a:lnTo>
                    <a:pt x="584835" y="142400"/>
                  </a:lnTo>
                  <a:lnTo>
                    <a:pt x="585212" y="141353"/>
                  </a:lnTo>
                  <a:lnTo>
                    <a:pt x="586914" y="139766"/>
                  </a:lnTo>
                  <a:lnTo>
                    <a:pt x="587977" y="140001"/>
                  </a:lnTo>
                  <a:close/>
                  <a:moveTo>
                    <a:pt x="824812" y="138448"/>
                  </a:moveTo>
                  <a:lnTo>
                    <a:pt x="827401" y="138701"/>
                  </a:lnTo>
                  <a:lnTo>
                    <a:pt x="832516" y="139994"/>
                  </a:lnTo>
                  <a:lnTo>
                    <a:pt x="837397" y="142083"/>
                  </a:lnTo>
                  <a:lnTo>
                    <a:pt x="841627" y="144823"/>
                  </a:lnTo>
                  <a:lnTo>
                    <a:pt x="846142" y="146823"/>
                  </a:lnTo>
                  <a:lnTo>
                    <a:pt x="851692" y="147159"/>
                  </a:lnTo>
                  <a:lnTo>
                    <a:pt x="854493" y="146939"/>
                  </a:lnTo>
                  <a:lnTo>
                    <a:pt x="857239" y="147225"/>
                  </a:lnTo>
                  <a:lnTo>
                    <a:pt x="858354" y="147786"/>
                  </a:lnTo>
                  <a:lnTo>
                    <a:pt x="860269" y="149490"/>
                  </a:lnTo>
                  <a:lnTo>
                    <a:pt x="859721" y="150608"/>
                  </a:lnTo>
                  <a:lnTo>
                    <a:pt x="859394" y="152919"/>
                  </a:lnTo>
                  <a:lnTo>
                    <a:pt x="860372" y="155143"/>
                  </a:lnTo>
                  <a:lnTo>
                    <a:pt x="861966" y="157370"/>
                  </a:lnTo>
                  <a:lnTo>
                    <a:pt x="863268" y="159746"/>
                  </a:lnTo>
                  <a:lnTo>
                    <a:pt x="863543" y="160906"/>
                  </a:lnTo>
                  <a:lnTo>
                    <a:pt x="863048" y="163364"/>
                  </a:lnTo>
                  <a:lnTo>
                    <a:pt x="862601" y="164579"/>
                  </a:lnTo>
                  <a:lnTo>
                    <a:pt x="861018" y="166607"/>
                  </a:lnTo>
                  <a:lnTo>
                    <a:pt x="860144" y="168824"/>
                  </a:lnTo>
                  <a:lnTo>
                    <a:pt x="860705" y="171556"/>
                  </a:lnTo>
                  <a:lnTo>
                    <a:pt x="861018" y="174304"/>
                  </a:lnTo>
                  <a:lnTo>
                    <a:pt x="860960" y="176829"/>
                  </a:lnTo>
                  <a:lnTo>
                    <a:pt x="861245" y="179314"/>
                  </a:lnTo>
                  <a:lnTo>
                    <a:pt x="862111" y="181833"/>
                  </a:lnTo>
                  <a:lnTo>
                    <a:pt x="865809" y="188734"/>
                  </a:lnTo>
                  <a:lnTo>
                    <a:pt x="867974" y="193410"/>
                  </a:lnTo>
                  <a:lnTo>
                    <a:pt x="868664" y="190797"/>
                  </a:lnTo>
                  <a:lnTo>
                    <a:pt x="868490" y="187893"/>
                  </a:lnTo>
                  <a:lnTo>
                    <a:pt x="869256" y="186845"/>
                  </a:lnTo>
                  <a:lnTo>
                    <a:pt x="870338" y="186288"/>
                  </a:lnTo>
                  <a:lnTo>
                    <a:pt x="871677" y="186869"/>
                  </a:lnTo>
                  <a:lnTo>
                    <a:pt x="872059" y="188045"/>
                  </a:lnTo>
                  <a:lnTo>
                    <a:pt x="872154" y="190612"/>
                  </a:lnTo>
                  <a:lnTo>
                    <a:pt x="873329" y="195651"/>
                  </a:lnTo>
                  <a:lnTo>
                    <a:pt x="874825" y="195882"/>
                  </a:lnTo>
                  <a:lnTo>
                    <a:pt x="876451" y="195111"/>
                  </a:lnTo>
                  <a:lnTo>
                    <a:pt x="876717" y="196652"/>
                  </a:lnTo>
                  <a:lnTo>
                    <a:pt x="876659" y="199503"/>
                  </a:lnTo>
                  <a:lnTo>
                    <a:pt x="877412" y="201766"/>
                  </a:lnTo>
                  <a:lnTo>
                    <a:pt x="878084" y="202652"/>
                  </a:lnTo>
                  <a:lnTo>
                    <a:pt x="880742" y="204494"/>
                  </a:lnTo>
                  <a:lnTo>
                    <a:pt x="881953" y="204835"/>
                  </a:lnTo>
                  <a:lnTo>
                    <a:pt x="885477" y="205278"/>
                  </a:lnTo>
                  <a:lnTo>
                    <a:pt x="888131" y="205419"/>
                  </a:lnTo>
                  <a:lnTo>
                    <a:pt x="890675" y="204760"/>
                  </a:lnTo>
                  <a:lnTo>
                    <a:pt x="892314" y="203069"/>
                  </a:lnTo>
                  <a:lnTo>
                    <a:pt x="893795" y="201238"/>
                  </a:lnTo>
                  <a:lnTo>
                    <a:pt x="898913" y="197017"/>
                  </a:lnTo>
                  <a:lnTo>
                    <a:pt x="900395" y="194999"/>
                  </a:lnTo>
                  <a:lnTo>
                    <a:pt x="901822" y="191904"/>
                  </a:lnTo>
                  <a:lnTo>
                    <a:pt x="902314" y="191240"/>
                  </a:lnTo>
                  <a:lnTo>
                    <a:pt x="907406" y="187896"/>
                  </a:lnTo>
                  <a:lnTo>
                    <a:pt x="907987" y="186709"/>
                  </a:lnTo>
                  <a:lnTo>
                    <a:pt x="908717" y="184413"/>
                  </a:lnTo>
                  <a:lnTo>
                    <a:pt x="909821" y="182189"/>
                  </a:lnTo>
                  <a:lnTo>
                    <a:pt x="910649" y="181042"/>
                  </a:lnTo>
                  <a:lnTo>
                    <a:pt x="915567" y="179957"/>
                  </a:lnTo>
                  <a:lnTo>
                    <a:pt x="920673" y="179368"/>
                  </a:lnTo>
                  <a:lnTo>
                    <a:pt x="925733" y="177320"/>
                  </a:lnTo>
                  <a:lnTo>
                    <a:pt x="927923" y="175559"/>
                  </a:lnTo>
                  <a:lnTo>
                    <a:pt x="928026" y="174401"/>
                  </a:lnTo>
                  <a:lnTo>
                    <a:pt x="926914" y="172368"/>
                  </a:lnTo>
                  <a:lnTo>
                    <a:pt x="926868" y="171476"/>
                  </a:lnTo>
                  <a:lnTo>
                    <a:pt x="928041" y="170619"/>
                  </a:lnTo>
                  <a:lnTo>
                    <a:pt x="932554" y="168042"/>
                  </a:lnTo>
                  <a:lnTo>
                    <a:pt x="937774" y="165392"/>
                  </a:lnTo>
                  <a:lnTo>
                    <a:pt x="941967" y="163564"/>
                  </a:lnTo>
                  <a:lnTo>
                    <a:pt x="944286" y="163577"/>
                  </a:lnTo>
                  <a:lnTo>
                    <a:pt x="946424" y="165186"/>
                  </a:lnTo>
                  <a:lnTo>
                    <a:pt x="948704" y="166500"/>
                  </a:lnTo>
                  <a:lnTo>
                    <a:pt x="960620" y="170375"/>
                  </a:lnTo>
                  <a:lnTo>
                    <a:pt x="962528" y="171578"/>
                  </a:lnTo>
                  <a:lnTo>
                    <a:pt x="964194" y="173176"/>
                  </a:lnTo>
                  <a:lnTo>
                    <a:pt x="966575" y="174285"/>
                  </a:lnTo>
                  <a:lnTo>
                    <a:pt x="969236" y="174820"/>
                  </a:lnTo>
                  <a:lnTo>
                    <a:pt x="971655" y="175855"/>
                  </a:lnTo>
                  <a:lnTo>
                    <a:pt x="973950" y="177190"/>
                  </a:lnTo>
                  <a:lnTo>
                    <a:pt x="979018" y="179681"/>
                  </a:lnTo>
                  <a:lnTo>
                    <a:pt x="985822" y="182699"/>
                  </a:lnTo>
                  <a:lnTo>
                    <a:pt x="987565" y="182881"/>
                  </a:lnTo>
                  <a:lnTo>
                    <a:pt x="993894" y="182738"/>
                  </a:lnTo>
                  <a:lnTo>
                    <a:pt x="994987" y="183306"/>
                  </a:lnTo>
                  <a:lnTo>
                    <a:pt x="996025" y="184110"/>
                  </a:lnTo>
                  <a:lnTo>
                    <a:pt x="996990" y="184296"/>
                  </a:lnTo>
                  <a:lnTo>
                    <a:pt x="1004241" y="184858"/>
                  </a:lnTo>
                  <a:lnTo>
                    <a:pt x="1005358" y="185439"/>
                  </a:lnTo>
                  <a:lnTo>
                    <a:pt x="1006407" y="186236"/>
                  </a:lnTo>
                  <a:lnTo>
                    <a:pt x="1007004" y="188427"/>
                  </a:lnTo>
                  <a:lnTo>
                    <a:pt x="1012000" y="188486"/>
                  </a:lnTo>
                  <a:lnTo>
                    <a:pt x="1012003" y="192771"/>
                  </a:lnTo>
                  <a:lnTo>
                    <a:pt x="1012004" y="197268"/>
                  </a:lnTo>
                  <a:lnTo>
                    <a:pt x="1012007" y="201768"/>
                  </a:lnTo>
                  <a:lnTo>
                    <a:pt x="1012009" y="206269"/>
                  </a:lnTo>
                  <a:lnTo>
                    <a:pt x="1012010" y="210770"/>
                  </a:lnTo>
                  <a:lnTo>
                    <a:pt x="1012014" y="215270"/>
                  </a:lnTo>
                  <a:lnTo>
                    <a:pt x="1012014" y="219772"/>
                  </a:lnTo>
                  <a:lnTo>
                    <a:pt x="1012017" y="224276"/>
                  </a:lnTo>
                  <a:lnTo>
                    <a:pt x="1012017" y="228780"/>
                  </a:lnTo>
                  <a:lnTo>
                    <a:pt x="1012020" y="233282"/>
                  </a:lnTo>
                  <a:lnTo>
                    <a:pt x="1012021" y="237788"/>
                  </a:lnTo>
                  <a:lnTo>
                    <a:pt x="1012024" y="242295"/>
                  </a:lnTo>
                  <a:lnTo>
                    <a:pt x="1012026" y="246802"/>
                  </a:lnTo>
                  <a:lnTo>
                    <a:pt x="1012026" y="251308"/>
                  </a:lnTo>
                  <a:lnTo>
                    <a:pt x="1012028" y="255818"/>
                  </a:lnTo>
                  <a:lnTo>
                    <a:pt x="1012031" y="260328"/>
                  </a:lnTo>
                  <a:lnTo>
                    <a:pt x="1012033" y="264839"/>
                  </a:lnTo>
                  <a:lnTo>
                    <a:pt x="1012035" y="269350"/>
                  </a:lnTo>
                  <a:lnTo>
                    <a:pt x="1012035" y="271275"/>
                  </a:lnTo>
                  <a:lnTo>
                    <a:pt x="1011350" y="273632"/>
                  </a:lnTo>
                  <a:lnTo>
                    <a:pt x="1009814" y="277168"/>
                  </a:lnTo>
                  <a:lnTo>
                    <a:pt x="1009543" y="280022"/>
                  </a:lnTo>
                  <a:lnTo>
                    <a:pt x="1010808" y="282243"/>
                  </a:lnTo>
                  <a:lnTo>
                    <a:pt x="1012039" y="283695"/>
                  </a:lnTo>
                  <a:lnTo>
                    <a:pt x="1012039" y="287409"/>
                  </a:lnTo>
                  <a:lnTo>
                    <a:pt x="1012041" y="291928"/>
                  </a:lnTo>
                  <a:lnTo>
                    <a:pt x="1012044" y="296448"/>
                  </a:lnTo>
                  <a:lnTo>
                    <a:pt x="1012046" y="300969"/>
                  </a:lnTo>
                  <a:lnTo>
                    <a:pt x="1012048" y="305489"/>
                  </a:lnTo>
                  <a:lnTo>
                    <a:pt x="1012048" y="310013"/>
                  </a:lnTo>
                  <a:lnTo>
                    <a:pt x="1012050" y="314538"/>
                  </a:lnTo>
                  <a:lnTo>
                    <a:pt x="1012052" y="319065"/>
                  </a:lnTo>
                  <a:lnTo>
                    <a:pt x="1012054" y="323592"/>
                  </a:lnTo>
                  <a:lnTo>
                    <a:pt x="1012056" y="328122"/>
                  </a:lnTo>
                  <a:lnTo>
                    <a:pt x="1012056" y="332653"/>
                  </a:lnTo>
                  <a:lnTo>
                    <a:pt x="1012061" y="332947"/>
                  </a:lnTo>
                  <a:lnTo>
                    <a:pt x="1010921" y="332196"/>
                  </a:lnTo>
                  <a:lnTo>
                    <a:pt x="1007867" y="329715"/>
                  </a:lnTo>
                  <a:lnTo>
                    <a:pt x="1005103" y="326886"/>
                  </a:lnTo>
                  <a:lnTo>
                    <a:pt x="1003324" y="324246"/>
                  </a:lnTo>
                  <a:lnTo>
                    <a:pt x="1001305" y="321843"/>
                  </a:lnTo>
                  <a:lnTo>
                    <a:pt x="992723" y="314721"/>
                  </a:lnTo>
                  <a:lnTo>
                    <a:pt x="990540" y="312382"/>
                  </a:lnTo>
                  <a:lnTo>
                    <a:pt x="990106" y="311737"/>
                  </a:lnTo>
                  <a:lnTo>
                    <a:pt x="990312" y="311132"/>
                  </a:lnTo>
                  <a:lnTo>
                    <a:pt x="991302" y="309900"/>
                  </a:lnTo>
                  <a:lnTo>
                    <a:pt x="993062" y="306334"/>
                  </a:lnTo>
                  <a:lnTo>
                    <a:pt x="991223" y="308538"/>
                  </a:lnTo>
                  <a:lnTo>
                    <a:pt x="989033" y="310282"/>
                  </a:lnTo>
                  <a:lnTo>
                    <a:pt x="985850" y="310398"/>
                  </a:lnTo>
                  <a:lnTo>
                    <a:pt x="982723" y="310822"/>
                  </a:lnTo>
                  <a:lnTo>
                    <a:pt x="979829" y="311876"/>
                  </a:lnTo>
                  <a:lnTo>
                    <a:pt x="976891" y="312239"/>
                  </a:lnTo>
                  <a:lnTo>
                    <a:pt x="975420" y="311721"/>
                  </a:lnTo>
                  <a:lnTo>
                    <a:pt x="974535" y="310411"/>
                  </a:lnTo>
                  <a:lnTo>
                    <a:pt x="974075" y="309068"/>
                  </a:lnTo>
                  <a:lnTo>
                    <a:pt x="973865" y="307640"/>
                  </a:lnTo>
                  <a:lnTo>
                    <a:pt x="972630" y="309948"/>
                  </a:lnTo>
                  <a:lnTo>
                    <a:pt x="970204" y="311211"/>
                  </a:lnTo>
                  <a:lnTo>
                    <a:pt x="966893" y="313871"/>
                  </a:lnTo>
                  <a:lnTo>
                    <a:pt x="965945" y="313323"/>
                  </a:lnTo>
                  <a:lnTo>
                    <a:pt x="965372" y="312310"/>
                  </a:lnTo>
                  <a:lnTo>
                    <a:pt x="965183" y="311260"/>
                  </a:lnTo>
                  <a:lnTo>
                    <a:pt x="965822" y="310139"/>
                  </a:lnTo>
                  <a:lnTo>
                    <a:pt x="966273" y="308948"/>
                  </a:lnTo>
                  <a:lnTo>
                    <a:pt x="966947" y="306097"/>
                  </a:lnTo>
                  <a:lnTo>
                    <a:pt x="968430" y="304418"/>
                  </a:lnTo>
                  <a:lnTo>
                    <a:pt x="969374" y="301166"/>
                  </a:lnTo>
                  <a:lnTo>
                    <a:pt x="969991" y="300007"/>
                  </a:lnTo>
                  <a:lnTo>
                    <a:pt x="970309" y="298849"/>
                  </a:lnTo>
                  <a:lnTo>
                    <a:pt x="969445" y="297540"/>
                  </a:lnTo>
                  <a:lnTo>
                    <a:pt x="967988" y="297093"/>
                  </a:lnTo>
                  <a:lnTo>
                    <a:pt x="966990" y="296298"/>
                  </a:lnTo>
                  <a:lnTo>
                    <a:pt x="965833" y="294092"/>
                  </a:lnTo>
                  <a:lnTo>
                    <a:pt x="965116" y="293345"/>
                  </a:lnTo>
                  <a:lnTo>
                    <a:pt x="963800" y="292440"/>
                  </a:lnTo>
                  <a:lnTo>
                    <a:pt x="962790" y="291385"/>
                  </a:lnTo>
                  <a:lnTo>
                    <a:pt x="963906" y="290591"/>
                  </a:lnTo>
                  <a:lnTo>
                    <a:pt x="965375" y="290272"/>
                  </a:lnTo>
                  <a:lnTo>
                    <a:pt x="966580" y="290322"/>
                  </a:lnTo>
                  <a:lnTo>
                    <a:pt x="968760" y="290817"/>
                  </a:lnTo>
                  <a:lnTo>
                    <a:pt x="969746" y="290844"/>
                  </a:lnTo>
                  <a:lnTo>
                    <a:pt x="972274" y="290029"/>
                  </a:lnTo>
                  <a:lnTo>
                    <a:pt x="970853" y="290280"/>
                  </a:lnTo>
                  <a:lnTo>
                    <a:pt x="969448" y="290254"/>
                  </a:lnTo>
                  <a:lnTo>
                    <a:pt x="964951" y="288826"/>
                  </a:lnTo>
                  <a:lnTo>
                    <a:pt x="962172" y="287349"/>
                  </a:lnTo>
                  <a:lnTo>
                    <a:pt x="959549" y="284387"/>
                  </a:lnTo>
                  <a:lnTo>
                    <a:pt x="959523" y="283814"/>
                  </a:lnTo>
                  <a:lnTo>
                    <a:pt x="961372" y="283276"/>
                  </a:lnTo>
                  <a:lnTo>
                    <a:pt x="965368" y="282651"/>
                  </a:lnTo>
                  <a:lnTo>
                    <a:pt x="964129" y="281142"/>
                  </a:lnTo>
                  <a:lnTo>
                    <a:pt x="962319" y="279825"/>
                  </a:lnTo>
                  <a:lnTo>
                    <a:pt x="961689" y="277483"/>
                  </a:lnTo>
                  <a:lnTo>
                    <a:pt x="960452" y="276034"/>
                  </a:lnTo>
                  <a:lnTo>
                    <a:pt x="957784" y="273666"/>
                  </a:lnTo>
                  <a:lnTo>
                    <a:pt x="955951" y="271214"/>
                  </a:lnTo>
                  <a:lnTo>
                    <a:pt x="954397" y="266224"/>
                  </a:lnTo>
                  <a:lnTo>
                    <a:pt x="952803" y="262462"/>
                  </a:lnTo>
                  <a:lnTo>
                    <a:pt x="953192" y="261097"/>
                  </a:lnTo>
                  <a:lnTo>
                    <a:pt x="954535" y="260124"/>
                  </a:lnTo>
                  <a:lnTo>
                    <a:pt x="952505" y="260012"/>
                  </a:lnTo>
                  <a:lnTo>
                    <a:pt x="950665" y="259312"/>
                  </a:lnTo>
                  <a:lnTo>
                    <a:pt x="951637" y="257479"/>
                  </a:lnTo>
                  <a:lnTo>
                    <a:pt x="953761" y="256398"/>
                  </a:lnTo>
                  <a:lnTo>
                    <a:pt x="951827" y="256675"/>
                  </a:lnTo>
                  <a:lnTo>
                    <a:pt x="949933" y="257204"/>
                  </a:lnTo>
                  <a:lnTo>
                    <a:pt x="949069" y="257304"/>
                  </a:lnTo>
                  <a:lnTo>
                    <a:pt x="948177" y="257141"/>
                  </a:lnTo>
                  <a:lnTo>
                    <a:pt x="947709" y="256405"/>
                  </a:lnTo>
                  <a:lnTo>
                    <a:pt x="947646" y="255361"/>
                  </a:lnTo>
                  <a:lnTo>
                    <a:pt x="947923" y="253517"/>
                  </a:lnTo>
                  <a:lnTo>
                    <a:pt x="947597" y="251731"/>
                  </a:lnTo>
                  <a:lnTo>
                    <a:pt x="945918" y="250897"/>
                  </a:lnTo>
                  <a:lnTo>
                    <a:pt x="944532" y="249621"/>
                  </a:lnTo>
                  <a:lnTo>
                    <a:pt x="943748" y="249149"/>
                  </a:lnTo>
                  <a:lnTo>
                    <a:pt x="942721" y="249186"/>
                  </a:lnTo>
                  <a:lnTo>
                    <a:pt x="941723" y="248333"/>
                  </a:lnTo>
                  <a:lnTo>
                    <a:pt x="940924" y="247094"/>
                  </a:lnTo>
                  <a:lnTo>
                    <a:pt x="930919" y="241734"/>
                  </a:lnTo>
                  <a:lnTo>
                    <a:pt x="930326" y="240206"/>
                  </a:lnTo>
                  <a:lnTo>
                    <a:pt x="929399" y="240877"/>
                  </a:lnTo>
                  <a:lnTo>
                    <a:pt x="928471" y="241204"/>
                  </a:lnTo>
                  <a:lnTo>
                    <a:pt x="927318" y="240325"/>
                  </a:lnTo>
                  <a:lnTo>
                    <a:pt x="926113" y="239740"/>
                  </a:lnTo>
                  <a:lnTo>
                    <a:pt x="924796" y="239836"/>
                  </a:lnTo>
                  <a:lnTo>
                    <a:pt x="923578" y="239362"/>
                  </a:lnTo>
                  <a:lnTo>
                    <a:pt x="922304" y="239091"/>
                  </a:lnTo>
                  <a:lnTo>
                    <a:pt x="920973" y="239048"/>
                  </a:lnTo>
                  <a:lnTo>
                    <a:pt x="915711" y="237399"/>
                  </a:lnTo>
                  <a:lnTo>
                    <a:pt x="910734" y="234795"/>
                  </a:lnTo>
                  <a:lnTo>
                    <a:pt x="906685" y="233674"/>
                  </a:lnTo>
                  <a:lnTo>
                    <a:pt x="904182" y="232214"/>
                  </a:lnTo>
                  <a:lnTo>
                    <a:pt x="901578" y="231019"/>
                  </a:lnTo>
                  <a:lnTo>
                    <a:pt x="895760" y="229857"/>
                  </a:lnTo>
                  <a:lnTo>
                    <a:pt x="889870" y="229074"/>
                  </a:lnTo>
                  <a:lnTo>
                    <a:pt x="887741" y="229046"/>
                  </a:lnTo>
                  <a:lnTo>
                    <a:pt x="885955" y="229297"/>
                  </a:lnTo>
                  <a:lnTo>
                    <a:pt x="884240" y="229243"/>
                  </a:lnTo>
                  <a:lnTo>
                    <a:pt x="874479" y="223588"/>
                  </a:lnTo>
                  <a:lnTo>
                    <a:pt x="872832" y="221012"/>
                  </a:lnTo>
                  <a:lnTo>
                    <a:pt x="872992" y="219506"/>
                  </a:lnTo>
                  <a:lnTo>
                    <a:pt x="873426" y="218258"/>
                  </a:lnTo>
                  <a:lnTo>
                    <a:pt x="877405" y="217897"/>
                  </a:lnTo>
                  <a:lnTo>
                    <a:pt x="874603" y="217536"/>
                  </a:lnTo>
                  <a:lnTo>
                    <a:pt x="873450" y="217707"/>
                  </a:lnTo>
                  <a:lnTo>
                    <a:pt x="871146" y="218730"/>
                  </a:lnTo>
                  <a:lnTo>
                    <a:pt x="869895" y="218801"/>
                  </a:lnTo>
                  <a:lnTo>
                    <a:pt x="868133" y="218122"/>
                  </a:lnTo>
                  <a:lnTo>
                    <a:pt x="866449" y="217266"/>
                  </a:lnTo>
                  <a:lnTo>
                    <a:pt x="863689" y="218059"/>
                  </a:lnTo>
                  <a:lnTo>
                    <a:pt x="862277" y="216758"/>
                  </a:lnTo>
                  <a:lnTo>
                    <a:pt x="861793" y="215386"/>
                  </a:lnTo>
                  <a:lnTo>
                    <a:pt x="861055" y="214759"/>
                  </a:lnTo>
                  <a:lnTo>
                    <a:pt x="860014" y="214824"/>
                  </a:lnTo>
                  <a:lnTo>
                    <a:pt x="858619" y="215317"/>
                  </a:lnTo>
                  <a:lnTo>
                    <a:pt x="857225" y="215229"/>
                  </a:lnTo>
                  <a:lnTo>
                    <a:pt x="856325" y="214290"/>
                  </a:lnTo>
                  <a:lnTo>
                    <a:pt x="855680" y="213062"/>
                  </a:lnTo>
                  <a:lnTo>
                    <a:pt x="854724" y="212182"/>
                  </a:lnTo>
                  <a:lnTo>
                    <a:pt x="853568" y="211509"/>
                  </a:lnTo>
                  <a:lnTo>
                    <a:pt x="851679" y="209914"/>
                  </a:lnTo>
                  <a:lnTo>
                    <a:pt x="850690" y="207734"/>
                  </a:lnTo>
                  <a:lnTo>
                    <a:pt x="850802" y="203964"/>
                  </a:lnTo>
                  <a:lnTo>
                    <a:pt x="851106" y="202613"/>
                  </a:lnTo>
                  <a:lnTo>
                    <a:pt x="852974" y="200417"/>
                  </a:lnTo>
                  <a:lnTo>
                    <a:pt x="854298" y="198333"/>
                  </a:lnTo>
                  <a:lnTo>
                    <a:pt x="852659" y="198102"/>
                  </a:lnTo>
                  <a:lnTo>
                    <a:pt x="851178" y="199057"/>
                  </a:lnTo>
                  <a:lnTo>
                    <a:pt x="850549" y="200039"/>
                  </a:lnTo>
                  <a:lnTo>
                    <a:pt x="850301" y="201227"/>
                  </a:lnTo>
                  <a:lnTo>
                    <a:pt x="850133" y="205186"/>
                  </a:lnTo>
                  <a:lnTo>
                    <a:pt x="848945" y="206331"/>
                  </a:lnTo>
                  <a:lnTo>
                    <a:pt x="847148" y="206238"/>
                  </a:lnTo>
                  <a:lnTo>
                    <a:pt x="847682" y="208552"/>
                  </a:lnTo>
                  <a:lnTo>
                    <a:pt x="846950" y="210746"/>
                  </a:lnTo>
                  <a:lnTo>
                    <a:pt x="844870" y="213328"/>
                  </a:lnTo>
                  <a:lnTo>
                    <a:pt x="844695" y="214502"/>
                  </a:lnTo>
                  <a:lnTo>
                    <a:pt x="845028" y="215773"/>
                  </a:lnTo>
                  <a:lnTo>
                    <a:pt x="844555" y="217023"/>
                  </a:lnTo>
                  <a:lnTo>
                    <a:pt x="841191" y="220639"/>
                  </a:lnTo>
                  <a:lnTo>
                    <a:pt x="840070" y="220813"/>
                  </a:lnTo>
                  <a:lnTo>
                    <a:pt x="837574" y="220789"/>
                  </a:lnTo>
                  <a:lnTo>
                    <a:pt x="834996" y="221362"/>
                  </a:lnTo>
                  <a:lnTo>
                    <a:pt x="833799" y="220520"/>
                  </a:lnTo>
                  <a:lnTo>
                    <a:pt x="832818" y="219424"/>
                  </a:lnTo>
                  <a:lnTo>
                    <a:pt x="832089" y="218129"/>
                  </a:lnTo>
                  <a:lnTo>
                    <a:pt x="831068" y="215453"/>
                  </a:lnTo>
                  <a:lnTo>
                    <a:pt x="830249" y="212697"/>
                  </a:lnTo>
                  <a:lnTo>
                    <a:pt x="832810" y="209317"/>
                  </a:lnTo>
                  <a:lnTo>
                    <a:pt x="831927" y="206262"/>
                  </a:lnTo>
                  <a:lnTo>
                    <a:pt x="830193" y="203642"/>
                  </a:lnTo>
                  <a:lnTo>
                    <a:pt x="825818" y="200013"/>
                  </a:lnTo>
                  <a:lnTo>
                    <a:pt x="821279" y="196570"/>
                  </a:lnTo>
                  <a:lnTo>
                    <a:pt x="819217" y="195870"/>
                  </a:lnTo>
                  <a:lnTo>
                    <a:pt x="815835" y="195563"/>
                  </a:lnTo>
                  <a:lnTo>
                    <a:pt x="814771" y="195230"/>
                  </a:lnTo>
                  <a:lnTo>
                    <a:pt x="813719" y="193935"/>
                  </a:lnTo>
                  <a:lnTo>
                    <a:pt x="812942" y="192442"/>
                  </a:lnTo>
                  <a:lnTo>
                    <a:pt x="815058" y="191800"/>
                  </a:lnTo>
                  <a:lnTo>
                    <a:pt x="818680" y="190048"/>
                  </a:lnTo>
                  <a:lnTo>
                    <a:pt x="820728" y="190132"/>
                  </a:lnTo>
                  <a:lnTo>
                    <a:pt x="826304" y="191083"/>
                  </a:lnTo>
                  <a:lnTo>
                    <a:pt x="828016" y="191947"/>
                  </a:lnTo>
                  <a:lnTo>
                    <a:pt x="829610" y="192453"/>
                  </a:lnTo>
                  <a:lnTo>
                    <a:pt x="833419" y="189557"/>
                  </a:lnTo>
                  <a:lnTo>
                    <a:pt x="836437" y="185778"/>
                  </a:lnTo>
                  <a:lnTo>
                    <a:pt x="838319" y="184957"/>
                  </a:lnTo>
                  <a:lnTo>
                    <a:pt x="839914" y="184680"/>
                  </a:lnTo>
                  <a:lnTo>
                    <a:pt x="841549" y="185046"/>
                  </a:lnTo>
                  <a:lnTo>
                    <a:pt x="844788" y="186366"/>
                  </a:lnTo>
                  <a:lnTo>
                    <a:pt x="847334" y="186980"/>
                  </a:lnTo>
                  <a:lnTo>
                    <a:pt x="849150" y="187100"/>
                  </a:lnTo>
                  <a:lnTo>
                    <a:pt x="850099" y="188283"/>
                  </a:lnTo>
                  <a:lnTo>
                    <a:pt x="851171" y="188814"/>
                  </a:lnTo>
                  <a:lnTo>
                    <a:pt x="851411" y="187031"/>
                  </a:lnTo>
                  <a:lnTo>
                    <a:pt x="852348" y="184966"/>
                  </a:lnTo>
                  <a:lnTo>
                    <a:pt x="854147" y="184324"/>
                  </a:lnTo>
                  <a:lnTo>
                    <a:pt x="855097" y="184177"/>
                  </a:lnTo>
                  <a:lnTo>
                    <a:pt x="855699" y="183643"/>
                  </a:lnTo>
                  <a:lnTo>
                    <a:pt x="855568" y="181731"/>
                  </a:lnTo>
                  <a:lnTo>
                    <a:pt x="853181" y="181491"/>
                  </a:lnTo>
                  <a:lnTo>
                    <a:pt x="854480" y="179854"/>
                  </a:lnTo>
                  <a:lnTo>
                    <a:pt x="855646" y="179057"/>
                  </a:lnTo>
                  <a:lnTo>
                    <a:pt x="856045" y="178257"/>
                  </a:lnTo>
                  <a:lnTo>
                    <a:pt x="856069" y="177253"/>
                  </a:lnTo>
                  <a:lnTo>
                    <a:pt x="851398" y="179180"/>
                  </a:lnTo>
                  <a:lnTo>
                    <a:pt x="846477" y="179986"/>
                  </a:lnTo>
                  <a:lnTo>
                    <a:pt x="843568" y="179768"/>
                  </a:lnTo>
                  <a:lnTo>
                    <a:pt x="840664" y="179739"/>
                  </a:lnTo>
                  <a:lnTo>
                    <a:pt x="834868" y="181025"/>
                  </a:lnTo>
                  <a:lnTo>
                    <a:pt x="832668" y="180973"/>
                  </a:lnTo>
                  <a:lnTo>
                    <a:pt x="827533" y="180452"/>
                  </a:lnTo>
                  <a:lnTo>
                    <a:pt x="824693" y="179828"/>
                  </a:lnTo>
                  <a:lnTo>
                    <a:pt x="822497" y="180314"/>
                  </a:lnTo>
                  <a:lnTo>
                    <a:pt x="820381" y="180355"/>
                  </a:lnTo>
                  <a:lnTo>
                    <a:pt x="818165" y="178884"/>
                  </a:lnTo>
                  <a:lnTo>
                    <a:pt x="816280" y="177039"/>
                  </a:lnTo>
                  <a:lnTo>
                    <a:pt x="815345" y="175730"/>
                  </a:lnTo>
                  <a:lnTo>
                    <a:pt x="814097" y="174781"/>
                  </a:lnTo>
                  <a:lnTo>
                    <a:pt x="813544" y="173502"/>
                  </a:lnTo>
                  <a:lnTo>
                    <a:pt x="812166" y="168690"/>
                  </a:lnTo>
                  <a:lnTo>
                    <a:pt x="812039" y="165256"/>
                  </a:lnTo>
                  <a:lnTo>
                    <a:pt x="809815" y="165186"/>
                  </a:lnTo>
                  <a:lnTo>
                    <a:pt x="807640" y="164847"/>
                  </a:lnTo>
                  <a:lnTo>
                    <a:pt x="797962" y="161580"/>
                  </a:lnTo>
                  <a:lnTo>
                    <a:pt x="796791" y="162381"/>
                  </a:lnTo>
                  <a:lnTo>
                    <a:pt x="795429" y="162793"/>
                  </a:lnTo>
                  <a:lnTo>
                    <a:pt x="794070" y="162946"/>
                  </a:lnTo>
                  <a:lnTo>
                    <a:pt x="792721" y="162778"/>
                  </a:lnTo>
                  <a:lnTo>
                    <a:pt x="791376" y="162271"/>
                  </a:lnTo>
                  <a:lnTo>
                    <a:pt x="791488" y="161370"/>
                  </a:lnTo>
                  <a:lnTo>
                    <a:pt x="792488" y="159161"/>
                  </a:lnTo>
                  <a:lnTo>
                    <a:pt x="793469" y="158346"/>
                  </a:lnTo>
                  <a:lnTo>
                    <a:pt x="794824" y="157718"/>
                  </a:lnTo>
                  <a:lnTo>
                    <a:pt x="795686" y="156545"/>
                  </a:lnTo>
                  <a:lnTo>
                    <a:pt x="797086" y="153032"/>
                  </a:lnTo>
                  <a:lnTo>
                    <a:pt x="797193" y="151831"/>
                  </a:lnTo>
                  <a:lnTo>
                    <a:pt x="797040" y="150604"/>
                  </a:lnTo>
                  <a:lnTo>
                    <a:pt x="797155" y="149682"/>
                  </a:lnTo>
                  <a:lnTo>
                    <a:pt x="798020" y="149198"/>
                  </a:lnTo>
                  <a:lnTo>
                    <a:pt x="801671" y="148054"/>
                  </a:lnTo>
                  <a:lnTo>
                    <a:pt x="809251" y="146328"/>
                  </a:lnTo>
                  <a:lnTo>
                    <a:pt x="811166" y="145296"/>
                  </a:lnTo>
                  <a:lnTo>
                    <a:pt x="812747" y="143644"/>
                  </a:lnTo>
                  <a:lnTo>
                    <a:pt x="814595" y="142640"/>
                  </a:lnTo>
                  <a:lnTo>
                    <a:pt x="815446" y="141625"/>
                  </a:lnTo>
                  <a:lnTo>
                    <a:pt x="816418" y="140806"/>
                  </a:lnTo>
                  <a:lnTo>
                    <a:pt x="822286" y="138625"/>
                  </a:lnTo>
                  <a:close/>
                  <a:moveTo>
                    <a:pt x="204926" y="138165"/>
                  </a:moveTo>
                  <a:lnTo>
                    <a:pt x="206994" y="140314"/>
                  </a:lnTo>
                  <a:lnTo>
                    <a:pt x="207488" y="141083"/>
                  </a:lnTo>
                  <a:lnTo>
                    <a:pt x="206467" y="142275"/>
                  </a:lnTo>
                  <a:lnTo>
                    <a:pt x="205640" y="143959"/>
                  </a:lnTo>
                  <a:lnTo>
                    <a:pt x="205171" y="144318"/>
                  </a:lnTo>
                  <a:lnTo>
                    <a:pt x="203591" y="143672"/>
                  </a:lnTo>
                  <a:lnTo>
                    <a:pt x="202470" y="145328"/>
                  </a:lnTo>
                  <a:lnTo>
                    <a:pt x="201732" y="142685"/>
                  </a:lnTo>
                  <a:lnTo>
                    <a:pt x="200125" y="141009"/>
                  </a:lnTo>
                  <a:lnTo>
                    <a:pt x="201125" y="139295"/>
                  </a:lnTo>
                  <a:lnTo>
                    <a:pt x="201488" y="139172"/>
                  </a:lnTo>
                  <a:lnTo>
                    <a:pt x="201974" y="139226"/>
                  </a:lnTo>
                  <a:lnTo>
                    <a:pt x="202478" y="139673"/>
                  </a:lnTo>
                  <a:close/>
                  <a:moveTo>
                    <a:pt x="714679" y="137546"/>
                  </a:moveTo>
                  <a:lnTo>
                    <a:pt x="715556" y="137818"/>
                  </a:lnTo>
                  <a:lnTo>
                    <a:pt x="718107" y="141122"/>
                  </a:lnTo>
                  <a:lnTo>
                    <a:pt x="716395" y="144257"/>
                  </a:lnTo>
                  <a:lnTo>
                    <a:pt x="717581" y="146011"/>
                  </a:lnTo>
                  <a:lnTo>
                    <a:pt x="720803" y="146121"/>
                  </a:lnTo>
                  <a:lnTo>
                    <a:pt x="721545" y="146777"/>
                  </a:lnTo>
                  <a:lnTo>
                    <a:pt x="722107" y="147568"/>
                  </a:lnTo>
                  <a:lnTo>
                    <a:pt x="722481" y="148647"/>
                  </a:lnTo>
                  <a:lnTo>
                    <a:pt x="721643" y="149511"/>
                  </a:lnTo>
                  <a:lnTo>
                    <a:pt x="719848" y="150306"/>
                  </a:lnTo>
                  <a:lnTo>
                    <a:pt x="717780" y="149164"/>
                  </a:lnTo>
                  <a:lnTo>
                    <a:pt x="717233" y="148101"/>
                  </a:lnTo>
                  <a:lnTo>
                    <a:pt x="716812" y="147704"/>
                  </a:lnTo>
                  <a:lnTo>
                    <a:pt x="714026" y="148509"/>
                  </a:lnTo>
                  <a:lnTo>
                    <a:pt x="713249" y="148587"/>
                  </a:lnTo>
                  <a:lnTo>
                    <a:pt x="712709" y="147108"/>
                  </a:lnTo>
                  <a:lnTo>
                    <a:pt x="713381" y="144983"/>
                  </a:lnTo>
                  <a:lnTo>
                    <a:pt x="711433" y="144024"/>
                  </a:lnTo>
                  <a:lnTo>
                    <a:pt x="709651" y="141828"/>
                  </a:lnTo>
                  <a:lnTo>
                    <a:pt x="709587" y="140942"/>
                  </a:lnTo>
                  <a:lnTo>
                    <a:pt x="710304" y="139409"/>
                  </a:lnTo>
                  <a:lnTo>
                    <a:pt x="710206" y="138191"/>
                  </a:lnTo>
                  <a:lnTo>
                    <a:pt x="711226" y="138098"/>
                  </a:lnTo>
                  <a:lnTo>
                    <a:pt x="713083" y="139751"/>
                  </a:lnTo>
                  <a:lnTo>
                    <a:pt x="713891" y="138194"/>
                  </a:lnTo>
                  <a:close/>
                  <a:moveTo>
                    <a:pt x="707212" y="136421"/>
                  </a:moveTo>
                  <a:lnTo>
                    <a:pt x="709431" y="137053"/>
                  </a:lnTo>
                  <a:lnTo>
                    <a:pt x="708613" y="137811"/>
                  </a:lnTo>
                  <a:lnTo>
                    <a:pt x="709222" y="139411"/>
                  </a:lnTo>
                  <a:lnTo>
                    <a:pt x="708544" y="141718"/>
                  </a:lnTo>
                  <a:lnTo>
                    <a:pt x="707160" y="142290"/>
                  </a:lnTo>
                  <a:lnTo>
                    <a:pt x="705652" y="142275"/>
                  </a:lnTo>
                  <a:lnTo>
                    <a:pt x="705327" y="139917"/>
                  </a:lnTo>
                  <a:lnTo>
                    <a:pt x="705814" y="136926"/>
                  </a:lnTo>
                  <a:close/>
                  <a:moveTo>
                    <a:pt x="184466" y="135797"/>
                  </a:moveTo>
                  <a:lnTo>
                    <a:pt x="185837" y="135864"/>
                  </a:lnTo>
                  <a:lnTo>
                    <a:pt x="188335" y="136883"/>
                  </a:lnTo>
                  <a:lnTo>
                    <a:pt x="189227" y="137792"/>
                  </a:lnTo>
                  <a:lnTo>
                    <a:pt x="188613" y="138459"/>
                  </a:lnTo>
                  <a:lnTo>
                    <a:pt x="185735" y="139232"/>
                  </a:lnTo>
                  <a:lnTo>
                    <a:pt x="182529" y="138673"/>
                  </a:lnTo>
                  <a:lnTo>
                    <a:pt x="182919" y="137343"/>
                  </a:lnTo>
                  <a:close/>
                  <a:moveTo>
                    <a:pt x="787337" y="130856"/>
                  </a:moveTo>
                  <a:lnTo>
                    <a:pt x="791169" y="131795"/>
                  </a:lnTo>
                  <a:lnTo>
                    <a:pt x="792037" y="131648"/>
                  </a:lnTo>
                  <a:lnTo>
                    <a:pt x="797588" y="134078"/>
                  </a:lnTo>
                  <a:lnTo>
                    <a:pt x="798474" y="135283"/>
                  </a:lnTo>
                  <a:lnTo>
                    <a:pt x="798161" y="136097"/>
                  </a:lnTo>
                  <a:lnTo>
                    <a:pt x="798979" y="137185"/>
                  </a:lnTo>
                  <a:lnTo>
                    <a:pt x="797161" y="138852"/>
                  </a:lnTo>
                  <a:lnTo>
                    <a:pt x="796284" y="139038"/>
                  </a:lnTo>
                  <a:lnTo>
                    <a:pt x="795397" y="138416"/>
                  </a:lnTo>
                  <a:lnTo>
                    <a:pt x="793628" y="138064"/>
                  </a:lnTo>
                  <a:lnTo>
                    <a:pt x="791585" y="138742"/>
                  </a:lnTo>
                  <a:lnTo>
                    <a:pt x="790283" y="138230"/>
                  </a:lnTo>
                  <a:lnTo>
                    <a:pt x="789182" y="136702"/>
                  </a:lnTo>
                  <a:lnTo>
                    <a:pt x="787230" y="135773"/>
                  </a:lnTo>
                  <a:lnTo>
                    <a:pt x="784468" y="132549"/>
                  </a:lnTo>
                  <a:lnTo>
                    <a:pt x="783112" y="132665"/>
                  </a:lnTo>
                  <a:lnTo>
                    <a:pt x="783468" y="133927"/>
                  </a:lnTo>
                  <a:lnTo>
                    <a:pt x="784641" y="134758"/>
                  </a:lnTo>
                  <a:lnTo>
                    <a:pt x="786189" y="137209"/>
                  </a:lnTo>
                  <a:lnTo>
                    <a:pt x="787078" y="137446"/>
                  </a:lnTo>
                  <a:lnTo>
                    <a:pt x="787999" y="137362"/>
                  </a:lnTo>
                  <a:lnTo>
                    <a:pt x="789238" y="138381"/>
                  </a:lnTo>
                  <a:lnTo>
                    <a:pt x="789173" y="139964"/>
                  </a:lnTo>
                  <a:lnTo>
                    <a:pt x="785943" y="140580"/>
                  </a:lnTo>
                  <a:lnTo>
                    <a:pt x="784828" y="139424"/>
                  </a:lnTo>
                  <a:lnTo>
                    <a:pt x="784582" y="137323"/>
                  </a:lnTo>
                  <a:lnTo>
                    <a:pt x="782766" y="138032"/>
                  </a:lnTo>
                  <a:lnTo>
                    <a:pt x="782067" y="138766"/>
                  </a:lnTo>
                  <a:lnTo>
                    <a:pt x="781534" y="138867"/>
                  </a:lnTo>
                  <a:lnTo>
                    <a:pt x="780328" y="136678"/>
                  </a:lnTo>
                  <a:lnTo>
                    <a:pt x="776884" y="136566"/>
                  </a:lnTo>
                  <a:lnTo>
                    <a:pt x="774586" y="135402"/>
                  </a:lnTo>
                  <a:lnTo>
                    <a:pt x="775716" y="134186"/>
                  </a:lnTo>
                  <a:lnTo>
                    <a:pt x="775875" y="133009"/>
                  </a:lnTo>
                  <a:lnTo>
                    <a:pt x="777371" y="132376"/>
                  </a:lnTo>
                  <a:lnTo>
                    <a:pt x="778884" y="132943"/>
                  </a:lnTo>
                  <a:lnTo>
                    <a:pt x="780401" y="132094"/>
                  </a:lnTo>
                  <a:lnTo>
                    <a:pt x="781480" y="132312"/>
                  </a:lnTo>
                  <a:lnTo>
                    <a:pt x="782274" y="131769"/>
                  </a:lnTo>
                  <a:lnTo>
                    <a:pt x="785327" y="131425"/>
                  </a:lnTo>
                  <a:close/>
                  <a:moveTo>
                    <a:pt x="70048" y="130609"/>
                  </a:moveTo>
                  <a:lnTo>
                    <a:pt x="70953" y="131153"/>
                  </a:lnTo>
                  <a:lnTo>
                    <a:pt x="72477" y="134473"/>
                  </a:lnTo>
                  <a:lnTo>
                    <a:pt x="73799" y="136462"/>
                  </a:lnTo>
                  <a:lnTo>
                    <a:pt x="73268" y="139161"/>
                  </a:lnTo>
                  <a:lnTo>
                    <a:pt x="71922" y="142495"/>
                  </a:lnTo>
                  <a:lnTo>
                    <a:pt x="70605" y="143521"/>
                  </a:lnTo>
                  <a:lnTo>
                    <a:pt x="68615" y="142525"/>
                  </a:lnTo>
                  <a:lnTo>
                    <a:pt x="69284" y="141111"/>
                  </a:lnTo>
                  <a:lnTo>
                    <a:pt x="69611" y="139152"/>
                  </a:lnTo>
                  <a:lnTo>
                    <a:pt x="70806" y="137598"/>
                  </a:lnTo>
                  <a:lnTo>
                    <a:pt x="71212" y="135773"/>
                  </a:lnTo>
                  <a:lnTo>
                    <a:pt x="68908" y="130783"/>
                  </a:lnTo>
                  <a:close/>
                  <a:moveTo>
                    <a:pt x="206439" y="130373"/>
                  </a:moveTo>
                  <a:lnTo>
                    <a:pt x="208495" y="131173"/>
                  </a:lnTo>
                  <a:lnTo>
                    <a:pt x="208998" y="132155"/>
                  </a:lnTo>
                  <a:lnTo>
                    <a:pt x="208873" y="132446"/>
                  </a:lnTo>
                  <a:lnTo>
                    <a:pt x="210216" y="133043"/>
                  </a:lnTo>
                  <a:lnTo>
                    <a:pt x="211656" y="134656"/>
                  </a:lnTo>
                  <a:lnTo>
                    <a:pt x="212296" y="135021"/>
                  </a:lnTo>
                  <a:lnTo>
                    <a:pt x="213084" y="133875"/>
                  </a:lnTo>
                  <a:lnTo>
                    <a:pt x="214539" y="135447"/>
                  </a:lnTo>
                  <a:lnTo>
                    <a:pt x="215440" y="136233"/>
                  </a:lnTo>
                  <a:lnTo>
                    <a:pt x="216671" y="137019"/>
                  </a:lnTo>
                  <a:lnTo>
                    <a:pt x="215459" y="137055"/>
                  </a:lnTo>
                  <a:lnTo>
                    <a:pt x="214971" y="137775"/>
                  </a:lnTo>
                  <a:lnTo>
                    <a:pt x="214656" y="137915"/>
                  </a:lnTo>
                  <a:lnTo>
                    <a:pt x="209968" y="135380"/>
                  </a:lnTo>
                  <a:lnTo>
                    <a:pt x="206968" y="136196"/>
                  </a:lnTo>
                  <a:lnTo>
                    <a:pt x="204910" y="135456"/>
                  </a:lnTo>
                  <a:lnTo>
                    <a:pt x="204325" y="134948"/>
                  </a:lnTo>
                  <a:lnTo>
                    <a:pt x="205431" y="133560"/>
                  </a:lnTo>
                  <a:close/>
                  <a:moveTo>
                    <a:pt x="754070" y="129761"/>
                  </a:moveTo>
                  <a:lnTo>
                    <a:pt x="759227" y="133844"/>
                  </a:lnTo>
                  <a:lnTo>
                    <a:pt x="759380" y="134901"/>
                  </a:lnTo>
                  <a:lnTo>
                    <a:pt x="758424" y="134963"/>
                  </a:lnTo>
                  <a:lnTo>
                    <a:pt x="757618" y="133672"/>
                  </a:lnTo>
                  <a:lnTo>
                    <a:pt x="755426" y="132234"/>
                  </a:lnTo>
                  <a:close/>
                  <a:moveTo>
                    <a:pt x="712556" y="127613"/>
                  </a:moveTo>
                  <a:lnTo>
                    <a:pt x="712956" y="129240"/>
                  </a:lnTo>
                  <a:lnTo>
                    <a:pt x="713044" y="130895"/>
                  </a:lnTo>
                  <a:lnTo>
                    <a:pt x="712938" y="131575"/>
                  </a:lnTo>
                  <a:lnTo>
                    <a:pt x="712258" y="130625"/>
                  </a:lnTo>
                  <a:lnTo>
                    <a:pt x="711792" y="130398"/>
                  </a:lnTo>
                  <a:lnTo>
                    <a:pt x="712295" y="128014"/>
                  </a:lnTo>
                  <a:close/>
                  <a:moveTo>
                    <a:pt x="205478" y="125634"/>
                  </a:moveTo>
                  <a:lnTo>
                    <a:pt x="206465" y="125828"/>
                  </a:lnTo>
                  <a:lnTo>
                    <a:pt x="209031" y="128486"/>
                  </a:lnTo>
                  <a:lnTo>
                    <a:pt x="209680" y="129449"/>
                  </a:lnTo>
                  <a:lnTo>
                    <a:pt x="209877" y="129998"/>
                  </a:lnTo>
                  <a:lnTo>
                    <a:pt x="208832" y="129379"/>
                  </a:lnTo>
                  <a:lnTo>
                    <a:pt x="208201" y="129004"/>
                  </a:lnTo>
                  <a:lnTo>
                    <a:pt x="207784" y="128660"/>
                  </a:lnTo>
                  <a:close/>
                  <a:moveTo>
                    <a:pt x="176472" y="115292"/>
                  </a:moveTo>
                  <a:lnTo>
                    <a:pt x="177594" y="115317"/>
                  </a:lnTo>
                  <a:lnTo>
                    <a:pt x="178854" y="117189"/>
                  </a:lnTo>
                  <a:lnTo>
                    <a:pt x="178618" y="118782"/>
                  </a:lnTo>
                  <a:lnTo>
                    <a:pt x="176134" y="118909"/>
                  </a:lnTo>
                  <a:lnTo>
                    <a:pt x="175413" y="118624"/>
                  </a:lnTo>
                  <a:lnTo>
                    <a:pt x="175717" y="116544"/>
                  </a:lnTo>
                  <a:close/>
                  <a:moveTo>
                    <a:pt x="712411" y="114305"/>
                  </a:moveTo>
                  <a:lnTo>
                    <a:pt x="712805" y="114547"/>
                  </a:lnTo>
                  <a:lnTo>
                    <a:pt x="712878" y="115656"/>
                  </a:lnTo>
                  <a:lnTo>
                    <a:pt x="712299" y="116567"/>
                  </a:lnTo>
                  <a:lnTo>
                    <a:pt x="711509" y="116812"/>
                  </a:lnTo>
                  <a:lnTo>
                    <a:pt x="711280" y="116727"/>
                  </a:lnTo>
                  <a:lnTo>
                    <a:pt x="711042" y="115836"/>
                  </a:lnTo>
                  <a:lnTo>
                    <a:pt x="711478" y="114323"/>
                  </a:lnTo>
                  <a:close/>
                  <a:moveTo>
                    <a:pt x="710090" y="111704"/>
                  </a:moveTo>
                  <a:lnTo>
                    <a:pt x="710841" y="112026"/>
                  </a:lnTo>
                  <a:lnTo>
                    <a:pt x="711258" y="113267"/>
                  </a:lnTo>
                  <a:lnTo>
                    <a:pt x="710500" y="113994"/>
                  </a:lnTo>
                  <a:lnTo>
                    <a:pt x="709785" y="113751"/>
                  </a:lnTo>
                  <a:lnTo>
                    <a:pt x="709351" y="112812"/>
                  </a:lnTo>
                  <a:lnTo>
                    <a:pt x="709492" y="112136"/>
                  </a:lnTo>
                  <a:close/>
                  <a:moveTo>
                    <a:pt x="180866" y="111536"/>
                  </a:moveTo>
                  <a:lnTo>
                    <a:pt x="181905" y="112522"/>
                  </a:lnTo>
                  <a:lnTo>
                    <a:pt x="182727" y="113559"/>
                  </a:lnTo>
                  <a:lnTo>
                    <a:pt x="183327" y="114784"/>
                  </a:lnTo>
                  <a:lnTo>
                    <a:pt x="182282" y="116073"/>
                  </a:lnTo>
                  <a:lnTo>
                    <a:pt x="181829" y="116373"/>
                  </a:lnTo>
                  <a:lnTo>
                    <a:pt x="179943" y="113564"/>
                  </a:lnTo>
                  <a:lnTo>
                    <a:pt x="180414" y="111945"/>
                  </a:lnTo>
                  <a:close/>
                  <a:moveTo>
                    <a:pt x="188954" y="111055"/>
                  </a:moveTo>
                  <a:lnTo>
                    <a:pt x="190164" y="112050"/>
                  </a:lnTo>
                  <a:lnTo>
                    <a:pt x="190650" y="113053"/>
                  </a:lnTo>
                  <a:lnTo>
                    <a:pt x="190768" y="113689"/>
                  </a:lnTo>
                  <a:lnTo>
                    <a:pt x="188743" y="112412"/>
                  </a:lnTo>
                  <a:lnTo>
                    <a:pt x="188691" y="111487"/>
                  </a:lnTo>
                  <a:close/>
                  <a:moveTo>
                    <a:pt x="197154" y="109891"/>
                  </a:moveTo>
                  <a:lnTo>
                    <a:pt x="198210" y="110936"/>
                  </a:lnTo>
                  <a:lnTo>
                    <a:pt x="199460" y="111309"/>
                  </a:lnTo>
                  <a:lnTo>
                    <a:pt x="199732" y="112324"/>
                  </a:lnTo>
                  <a:lnTo>
                    <a:pt x="198348" y="112967"/>
                  </a:lnTo>
                  <a:lnTo>
                    <a:pt x="196610" y="110947"/>
                  </a:lnTo>
                  <a:lnTo>
                    <a:pt x="196674" y="110477"/>
                  </a:lnTo>
                  <a:lnTo>
                    <a:pt x="196834" y="110122"/>
                  </a:lnTo>
                  <a:close/>
                  <a:moveTo>
                    <a:pt x="162360" y="105772"/>
                  </a:moveTo>
                  <a:lnTo>
                    <a:pt x="164216" y="107449"/>
                  </a:lnTo>
                  <a:lnTo>
                    <a:pt x="166272" y="108891"/>
                  </a:lnTo>
                  <a:lnTo>
                    <a:pt x="167464" y="109551"/>
                  </a:lnTo>
                  <a:lnTo>
                    <a:pt x="171092" y="111025"/>
                  </a:lnTo>
                  <a:lnTo>
                    <a:pt x="172381" y="111764"/>
                  </a:lnTo>
                  <a:lnTo>
                    <a:pt x="172936" y="114255"/>
                  </a:lnTo>
                  <a:lnTo>
                    <a:pt x="172521" y="115107"/>
                  </a:lnTo>
                  <a:lnTo>
                    <a:pt x="171697" y="114479"/>
                  </a:lnTo>
                  <a:lnTo>
                    <a:pt x="167380" y="113527"/>
                  </a:lnTo>
                  <a:lnTo>
                    <a:pt x="165927" y="113421"/>
                  </a:lnTo>
                  <a:lnTo>
                    <a:pt x="162191" y="112377"/>
                  </a:lnTo>
                  <a:lnTo>
                    <a:pt x="161060" y="111823"/>
                  </a:lnTo>
                  <a:lnTo>
                    <a:pt x="160252" y="111096"/>
                  </a:lnTo>
                  <a:lnTo>
                    <a:pt x="160528" y="109751"/>
                  </a:lnTo>
                  <a:lnTo>
                    <a:pt x="161081" y="108943"/>
                  </a:lnTo>
                  <a:lnTo>
                    <a:pt x="161418" y="106689"/>
                  </a:lnTo>
                  <a:close/>
                  <a:moveTo>
                    <a:pt x="180729" y="105697"/>
                  </a:moveTo>
                  <a:lnTo>
                    <a:pt x="181281" y="107048"/>
                  </a:lnTo>
                  <a:lnTo>
                    <a:pt x="181701" y="107584"/>
                  </a:lnTo>
                  <a:lnTo>
                    <a:pt x="181829" y="108799"/>
                  </a:lnTo>
                  <a:lnTo>
                    <a:pt x="180360" y="108501"/>
                  </a:lnTo>
                  <a:lnTo>
                    <a:pt x="179302" y="107076"/>
                  </a:lnTo>
                  <a:lnTo>
                    <a:pt x="180177" y="106060"/>
                  </a:lnTo>
                  <a:close/>
                  <a:moveTo>
                    <a:pt x="167687" y="104993"/>
                  </a:moveTo>
                  <a:lnTo>
                    <a:pt x="172314" y="107154"/>
                  </a:lnTo>
                  <a:lnTo>
                    <a:pt x="173822" y="108326"/>
                  </a:lnTo>
                  <a:lnTo>
                    <a:pt x="176007" y="111524"/>
                  </a:lnTo>
                  <a:lnTo>
                    <a:pt x="175362" y="112154"/>
                  </a:lnTo>
                  <a:lnTo>
                    <a:pt x="174245" y="112010"/>
                  </a:lnTo>
                  <a:lnTo>
                    <a:pt x="173066" y="111261"/>
                  </a:lnTo>
                  <a:lnTo>
                    <a:pt x="171531" y="109920"/>
                  </a:lnTo>
                  <a:lnTo>
                    <a:pt x="169814" y="108724"/>
                  </a:lnTo>
                  <a:lnTo>
                    <a:pt x="167640" y="107968"/>
                  </a:lnTo>
                  <a:lnTo>
                    <a:pt x="166279" y="107740"/>
                  </a:lnTo>
                  <a:lnTo>
                    <a:pt x="165735" y="107465"/>
                  </a:lnTo>
                  <a:lnTo>
                    <a:pt x="166260" y="105140"/>
                  </a:lnTo>
                  <a:close/>
                  <a:moveTo>
                    <a:pt x="194988" y="104659"/>
                  </a:moveTo>
                  <a:lnTo>
                    <a:pt x="196387" y="105622"/>
                  </a:lnTo>
                  <a:lnTo>
                    <a:pt x="197531" y="104991"/>
                  </a:lnTo>
                  <a:lnTo>
                    <a:pt x="197487" y="105817"/>
                  </a:lnTo>
                  <a:lnTo>
                    <a:pt x="197256" y="106610"/>
                  </a:lnTo>
                  <a:lnTo>
                    <a:pt x="195901" y="108884"/>
                  </a:lnTo>
                  <a:lnTo>
                    <a:pt x="193634" y="108360"/>
                  </a:lnTo>
                  <a:lnTo>
                    <a:pt x="193109" y="107624"/>
                  </a:lnTo>
                  <a:lnTo>
                    <a:pt x="192941" y="107074"/>
                  </a:lnTo>
                  <a:lnTo>
                    <a:pt x="193267" y="106728"/>
                  </a:lnTo>
                  <a:lnTo>
                    <a:pt x="193453" y="105613"/>
                  </a:lnTo>
                  <a:lnTo>
                    <a:pt x="194435" y="105617"/>
                  </a:lnTo>
                  <a:close/>
                  <a:moveTo>
                    <a:pt x="207383" y="103873"/>
                  </a:moveTo>
                  <a:lnTo>
                    <a:pt x="207508" y="105533"/>
                  </a:lnTo>
                  <a:lnTo>
                    <a:pt x="208771" y="106339"/>
                  </a:lnTo>
                  <a:lnTo>
                    <a:pt x="209097" y="107558"/>
                  </a:lnTo>
                  <a:lnTo>
                    <a:pt x="208875" y="109514"/>
                  </a:lnTo>
                  <a:lnTo>
                    <a:pt x="207687" y="111771"/>
                  </a:lnTo>
                  <a:lnTo>
                    <a:pt x="207158" y="112369"/>
                  </a:lnTo>
                  <a:lnTo>
                    <a:pt x="205591" y="111911"/>
                  </a:lnTo>
                  <a:lnTo>
                    <a:pt x="205068" y="111157"/>
                  </a:lnTo>
                  <a:lnTo>
                    <a:pt x="204859" y="110566"/>
                  </a:lnTo>
                  <a:lnTo>
                    <a:pt x="205077" y="110145"/>
                  </a:lnTo>
                  <a:lnTo>
                    <a:pt x="203917" y="109614"/>
                  </a:lnTo>
                  <a:lnTo>
                    <a:pt x="204664" y="108751"/>
                  </a:lnTo>
                  <a:lnTo>
                    <a:pt x="204152" y="107537"/>
                  </a:lnTo>
                  <a:lnTo>
                    <a:pt x="200939" y="108296"/>
                  </a:lnTo>
                  <a:lnTo>
                    <a:pt x="200010" y="108323"/>
                  </a:lnTo>
                  <a:lnTo>
                    <a:pt x="199840" y="106941"/>
                  </a:lnTo>
                  <a:lnTo>
                    <a:pt x="199972" y="106382"/>
                  </a:lnTo>
                  <a:lnTo>
                    <a:pt x="202440" y="104639"/>
                  </a:lnTo>
                  <a:lnTo>
                    <a:pt x="203912" y="104317"/>
                  </a:lnTo>
                  <a:lnTo>
                    <a:pt x="205498" y="104667"/>
                  </a:lnTo>
                  <a:close/>
                  <a:moveTo>
                    <a:pt x="155884" y="99871"/>
                  </a:moveTo>
                  <a:lnTo>
                    <a:pt x="156329" y="99911"/>
                  </a:lnTo>
                  <a:lnTo>
                    <a:pt x="158145" y="101008"/>
                  </a:lnTo>
                  <a:lnTo>
                    <a:pt x="159345" y="102885"/>
                  </a:lnTo>
                  <a:lnTo>
                    <a:pt x="160008" y="103473"/>
                  </a:lnTo>
                  <a:lnTo>
                    <a:pt x="160140" y="105197"/>
                  </a:lnTo>
                  <a:lnTo>
                    <a:pt x="159700" y="107165"/>
                  </a:lnTo>
                  <a:lnTo>
                    <a:pt x="159660" y="108871"/>
                  </a:lnTo>
                  <a:lnTo>
                    <a:pt x="158637" y="109542"/>
                  </a:lnTo>
                  <a:lnTo>
                    <a:pt x="157408" y="108497"/>
                  </a:lnTo>
                  <a:lnTo>
                    <a:pt x="156398" y="106979"/>
                  </a:lnTo>
                  <a:lnTo>
                    <a:pt x="155864" y="105398"/>
                  </a:lnTo>
                  <a:lnTo>
                    <a:pt x="155394" y="102815"/>
                  </a:lnTo>
                  <a:lnTo>
                    <a:pt x="155271" y="100960"/>
                  </a:lnTo>
                  <a:close/>
                  <a:moveTo>
                    <a:pt x="47526" y="96716"/>
                  </a:moveTo>
                  <a:lnTo>
                    <a:pt x="50302" y="98367"/>
                  </a:lnTo>
                  <a:lnTo>
                    <a:pt x="55097" y="104589"/>
                  </a:lnTo>
                  <a:lnTo>
                    <a:pt x="57044" y="105426"/>
                  </a:lnTo>
                  <a:lnTo>
                    <a:pt x="59627" y="108249"/>
                  </a:lnTo>
                  <a:lnTo>
                    <a:pt x="60262" y="109229"/>
                  </a:lnTo>
                  <a:lnTo>
                    <a:pt x="59601" y="111212"/>
                  </a:lnTo>
                  <a:lnTo>
                    <a:pt x="59035" y="116872"/>
                  </a:lnTo>
                  <a:lnTo>
                    <a:pt x="57796" y="118284"/>
                  </a:lnTo>
                  <a:lnTo>
                    <a:pt x="54779" y="117584"/>
                  </a:lnTo>
                  <a:lnTo>
                    <a:pt x="54746" y="116590"/>
                  </a:lnTo>
                  <a:lnTo>
                    <a:pt x="53009" y="112326"/>
                  </a:lnTo>
                  <a:lnTo>
                    <a:pt x="49854" y="109948"/>
                  </a:lnTo>
                  <a:lnTo>
                    <a:pt x="48618" y="109825"/>
                  </a:lnTo>
                  <a:lnTo>
                    <a:pt x="47810" y="107393"/>
                  </a:lnTo>
                  <a:lnTo>
                    <a:pt x="46219" y="104509"/>
                  </a:lnTo>
                  <a:lnTo>
                    <a:pt x="41406" y="99243"/>
                  </a:lnTo>
                  <a:lnTo>
                    <a:pt x="45056" y="99284"/>
                  </a:lnTo>
                  <a:lnTo>
                    <a:pt x="46828" y="98001"/>
                  </a:lnTo>
                  <a:lnTo>
                    <a:pt x="47234" y="96977"/>
                  </a:lnTo>
                  <a:close/>
                  <a:moveTo>
                    <a:pt x="151148" y="94821"/>
                  </a:moveTo>
                  <a:lnTo>
                    <a:pt x="160597" y="97372"/>
                  </a:lnTo>
                  <a:lnTo>
                    <a:pt x="161092" y="98497"/>
                  </a:lnTo>
                  <a:lnTo>
                    <a:pt x="161259" y="101334"/>
                  </a:lnTo>
                  <a:lnTo>
                    <a:pt x="159618" y="100593"/>
                  </a:lnTo>
                  <a:lnTo>
                    <a:pt x="158328" y="99464"/>
                  </a:lnTo>
                  <a:lnTo>
                    <a:pt x="156279" y="98631"/>
                  </a:lnTo>
                  <a:lnTo>
                    <a:pt x="153783" y="98359"/>
                  </a:lnTo>
                  <a:lnTo>
                    <a:pt x="151956" y="97626"/>
                  </a:lnTo>
                  <a:lnTo>
                    <a:pt x="150677" y="96308"/>
                  </a:lnTo>
                  <a:lnTo>
                    <a:pt x="150621" y="95701"/>
                  </a:lnTo>
                  <a:lnTo>
                    <a:pt x="150747" y="95207"/>
                  </a:lnTo>
                  <a:close/>
                  <a:moveTo>
                    <a:pt x="658556" y="93148"/>
                  </a:moveTo>
                  <a:lnTo>
                    <a:pt x="661247" y="93488"/>
                  </a:lnTo>
                  <a:lnTo>
                    <a:pt x="662439" y="94417"/>
                  </a:lnTo>
                  <a:lnTo>
                    <a:pt x="663963" y="97544"/>
                  </a:lnTo>
                  <a:lnTo>
                    <a:pt x="663696" y="98066"/>
                  </a:lnTo>
                  <a:lnTo>
                    <a:pt x="661909" y="99621"/>
                  </a:lnTo>
                  <a:lnTo>
                    <a:pt x="661392" y="100273"/>
                  </a:lnTo>
                  <a:lnTo>
                    <a:pt x="659413" y="104667"/>
                  </a:lnTo>
                  <a:lnTo>
                    <a:pt x="658059" y="106825"/>
                  </a:lnTo>
                  <a:lnTo>
                    <a:pt x="656337" y="108756"/>
                  </a:lnTo>
                  <a:lnTo>
                    <a:pt x="652119" y="112509"/>
                  </a:lnTo>
                  <a:lnTo>
                    <a:pt x="650830" y="114323"/>
                  </a:lnTo>
                  <a:lnTo>
                    <a:pt x="649707" y="116276"/>
                  </a:lnTo>
                  <a:lnTo>
                    <a:pt x="648049" y="118446"/>
                  </a:lnTo>
                  <a:lnTo>
                    <a:pt x="646135" y="120359"/>
                  </a:lnTo>
                  <a:lnTo>
                    <a:pt x="645181" y="120926"/>
                  </a:lnTo>
                  <a:lnTo>
                    <a:pt x="642829" y="121955"/>
                  </a:lnTo>
                  <a:lnTo>
                    <a:pt x="641476" y="122354"/>
                  </a:lnTo>
                  <a:lnTo>
                    <a:pt x="638923" y="122483"/>
                  </a:lnTo>
                  <a:lnTo>
                    <a:pt x="631238" y="124010"/>
                  </a:lnTo>
                  <a:lnTo>
                    <a:pt x="628714" y="124188"/>
                  </a:lnTo>
                  <a:lnTo>
                    <a:pt x="626200" y="124124"/>
                  </a:lnTo>
                  <a:lnTo>
                    <a:pt x="621434" y="123743"/>
                  </a:lnTo>
                  <a:lnTo>
                    <a:pt x="620439" y="123543"/>
                  </a:lnTo>
                  <a:lnTo>
                    <a:pt x="618538" y="121577"/>
                  </a:lnTo>
                  <a:lnTo>
                    <a:pt x="616394" y="120022"/>
                  </a:lnTo>
                  <a:lnTo>
                    <a:pt x="614501" y="119853"/>
                  </a:lnTo>
                  <a:lnTo>
                    <a:pt x="612570" y="120019"/>
                  </a:lnTo>
                  <a:lnTo>
                    <a:pt x="598666" y="120128"/>
                  </a:lnTo>
                  <a:lnTo>
                    <a:pt x="593805" y="120417"/>
                  </a:lnTo>
                  <a:lnTo>
                    <a:pt x="588963" y="121112"/>
                  </a:lnTo>
                  <a:lnTo>
                    <a:pt x="586327" y="120795"/>
                  </a:lnTo>
                  <a:lnTo>
                    <a:pt x="583714" y="120016"/>
                  </a:lnTo>
                  <a:lnTo>
                    <a:pt x="581749" y="119744"/>
                  </a:lnTo>
                  <a:lnTo>
                    <a:pt x="579760" y="119824"/>
                  </a:lnTo>
                  <a:lnTo>
                    <a:pt x="570633" y="120998"/>
                  </a:lnTo>
                  <a:lnTo>
                    <a:pt x="568338" y="120886"/>
                  </a:lnTo>
                  <a:lnTo>
                    <a:pt x="563721" y="119384"/>
                  </a:lnTo>
                  <a:lnTo>
                    <a:pt x="561036" y="119083"/>
                  </a:lnTo>
                  <a:lnTo>
                    <a:pt x="558404" y="119481"/>
                  </a:lnTo>
                  <a:lnTo>
                    <a:pt x="555951" y="120832"/>
                  </a:lnTo>
                  <a:lnTo>
                    <a:pt x="555022" y="121738"/>
                  </a:lnTo>
                  <a:lnTo>
                    <a:pt x="552485" y="124828"/>
                  </a:lnTo>
                  <a:lnTo>
                    <a:pt x="551049" y="127082"/>
                  </a:lnTo>
                  <a:lnTo>
                    <a:pt x="549965" y="129886"/>
                  </a:lnTo>
                  <a:lnTo>
                    <a:pt x="549030" y="132754"/>
                  </a:lnTo>
                  <a:lnTo>
                    <a:pt x="548527" y="135104"/>
                  </a:lnTo>
                  <a:lnTo>
                    <a:pt x="548501" y="137557"/>
                  </a:lnTo>
                  <a:lnTo>
                    <a:pt x="548935" y="140318"/>
                  </a:lnTo>
                  <a:lnTo>
                    <a:pt x="549624" y="143050"/>
                  </a:lnTo>
                  <a:lnTo>
                    <a:pt x="550388" y="145136"/>
                  </a:lnTo>
                  <a:lnTo>
                    <a:pt x="553554" y="149965"/>
                  </a:lnTo>
                  <a:lnTo>
                    <a:pt x="554200" y="150650"/>
                  </a:lnTo>
                  <a:lnTo>
                    <a:pt x="557640" y="152008"/>
                  </a:lnTo>
                  <a:lnTo>
                    <a:pt x="559678" y="153751"/>
                  </a:lnTo>
                  <a:lnTo>
                    <a:pt x="561613" y="158595"/>
                  </a:lnTo>
                  <a:lnTo>
                    <a:pt x="562991" y="161063"/>
                  </a:lnTo>
                  <a:lnTo>
                    <a:pt x="564345" y="161093"/>
                  </a:lnTo>
                  <a:lnTo>
                    <a:pt x="565856" y="160921"/>
                  </a:lnTo>
                  <a:lnTo>
                    <a:pt x="568484" y="161234"/>
                  </a:lnTo>
                  <a:lnTo>
                    <a:pt x="571091" y="161869"/>
                  </a:lnTo>
                  <a:lnTo>
                    <a:pt x="573630" y="160385"/>
                  </a:lnTo>
                  <a:lnTo>
                    <a:pt x="575046" y="157577"/>
                  </a:lnTo>
                  <a:lnTo>
                    <a:pt x="576467" y="155491"/>
                  </a:lnTo>
                  <a:lnTo>
                    <a:pt x="579883" y="151520"/>
                  </a:lnTo>
                  <a:lnTo>
                    <a:pt x="581829" y="149684"/>
                  </a:lnTo>
                  <a:lnTo>
                    <a:pt x="583072" y="149086"/>
                  </a:lnTo>
                  <a:lnTo>
                    <a:pt x="584336" y="149347"/>
                  </a:lnTo>
                  <a:lnTo>
                    <a:pt x="585407" y="150399"/>
                  </a:lnTo>
                  <a:lnTo>
                    <a:pt x="586657" y="151235"/>
                  </a:lnTo>
                  <a:lnTo>
                    <a:pt x="589210" y="151684"/>
                  </a:lnTo>
                  <a:lnTo>
                    <a:pt x="591786" y="151403"/>
                  </a:lnTo>
                  <a:lnTo>
                    <a:pt x="594528" y="150114"/>
                  </a:lnTo>
                  <a:lnTo>
                    <a:pt x="595511" y="149323"/>
                  </a:lnTo>
                  <a:lnTo>
                    <a:pt x="596325" y="148317"/>
                  </a:lnTo>
                  <a:lnTo>
                    <a:pt x="598649" y="147505"/>
                  </a:lnTo>
                  <a:lnTo>
                    <a:pt x="604170" y="147497"/>
                  </a:lnTo>
                  <a:lnTo>
                    <a:pt x="607025" y="147788"/>
                  </a:lnTo>
                  <a:lnTo>
                    <a:pt x="612110" y="147464"/>
                  </a:lnTo>
                  <a:lnTo>
                    <a:pt x="612039" y="146732"/>
                  </a:lnTo>
                  <a:lnTo>
                    <a:pt x="611057" y="145957"/>
                  </a:lnTo>
                  <a:lnTo>
                    <a:pt x="610799" y="145335"/>
                  </a:lnTo>
                  <a:lnTo>
                    <a:pt x="611745" y="144933"/>
                  </a:lnTo>
                  <a:lnTo>
                    <a:pt x="615021" y="144028"/>
                  </a:lnTo>
                  <a:lnTo>
                    <a:pt x="618362" y="143385"/>
                  </a:lnTo>
                  <a:lnTo>
                    <a:pt x="620793" y="143845"/>
                  </a:lnTo>
                  <a:lnTo>
                    <a:pt x="622965" y="145106"/>
                  </a:lnTo>
                  <a:lnTo>
                    <a:pt x="623798" y="146408"/>
                  </a:lnTo>
                  <a:lnTo>
                    <a:pt x="624171" y="147974"/>
                  </a:lnTo>
                  <a:lnTo>
                    <a:pt x="623333" y="152029"/>
                  </a:lnTo>
                  <a:lnTo>
                    <a:pt x="622926" y="152969"/>
                  </a:lnTo>
                  <a:lnTo>
                    <a:pt x="621195" y="153455"/>
                  </a:lnTo>
                  <a:lnTo>
                    <a:pt x="619562" y="152917"/>
                  </a:lnTo>
                  <a:lnTo>
                    <a:pt x="617947" y="150822"/>
                  </a:lnTo>
                  <a:lnTo>
                    <a:pt x="615662" y="150055"/>
                  </a:lnTo>
                  <a:lnTo>
                    <a:pt x="612421" y="150688"/>
                  </a:lnTo>
                  <a:lnTo>
                    <a:pt x="611309" y="151289"/>
                  </a:lnTo>
                  <a:lnTo>
                    <a:pt x="610311" y="152127"/>
                  </a:lnTo>
                  <a:lnTo>
                    <a:pt x="608480" y="154299"/>
                  </a:lnTo>
                  <a:lnTo>
                    <a:pt x="606955" y="156752"/>
                  </a:lnTo>
                  <a:lnTo>
                    <a:pt x="603660" y="160571"/>
                  </a:lnTo>
                  <a:lnTo>
                    <a:pt x="599847" y="163888"/>
                  </a:lnTo>
                  <a:lnTo>
                    <a:pt x="598001" y="165158"/>
                  </a:lnTo>
                  <a:lnTo>
                    <a:pt x="595943" y="166014"/>
                  </a:lnTo>
                  <a:lnTo>
                    <a:pt x="589331" y="168211"/>
                  </a:lnTo>
                  <a:lnTo>
                    <a:pt x="587590" y="169841"/>
                  </a:lnTo>
                  <a:lnTo>
                    <a:pt x="586239" y="171960"/>
                  </a:lnTo>
                  <a:lnTo>
                    <a:pt x="584740" y="172682"/>
                  </a:lnTo>
                  <a:lnTo>
                    <a:pt x="583008" y="172911"/>
                  </a:lnTo>
                  <a:lnTo>
                    <a:pt x="581708" y="172513"/>
                  </a:lnTo>
                  <a:lnTo>
                    <a:pt x="579073" y="171318"/>
                  </a:lnTo>
                  <a:lnTo>
                    <a:pt x="578205" y="172301"/>
                  </a:lnTo>
                  <a:lnTo>
                    <a:pt x="578059" y="173800"/>
                  </a:lnTo>
                  <a:lnTo>
                    <a:pt x="579356" y="174334"/>
                  </a:lnTo>
                  <a:lnTo>
                    <a:pt x="581444" y="175991"/>
                  </a:lnTo>
                  <a:lnTo>
                    <a:pt x="583060" y="178333"/>
                  </a:lnTo>
                  <a:lnTo>
                    <a:pt x="584096" y="178836"/>
                  </a:lnTo>
                  <a:lnTo>
                    <a:pt x="586398" y="179597"/>
                  </a:lnTo>
                  <a:lnTo>
                    <a:pt x="587366" y="180325"/>
                  </a:lnTo>
                  <a:lnTo>
                    <a:pt x="589101" y="182330"/>
                  </a:lnTo>
                  <a:lnTo>
                    <a:pt x="591835" y="186995"/>
                  </a:lnTo>
                  <a:lnTo>
                    <a:pt x="592766" y="189519"/>
                  </a:lnTo>
                  <a:lnTo>
                    <a:pt x="594285" y="191578"/>
                  </a:lnTo>
                  <a:lnTo>
                    <a:pt x="598908" y="195076"/>
                  </a:lnTo>
                  <a:lnTo>
                    <a:pt x="599164" y="196064"/>
                  </a:lnTo>
                  <a:lnTo>
                    <a:pt x="598879" y="197214"/>
                  </a:lnTo>
                  <a:lnTo>
                    <a:pt x="599236" y="198262"/>
                  </a:lnTo>
                  <a:lnTo>
                    <a:pt x="600887" y="200272"/>
                  </a:lnTo>
                  <a:lnTo>
                    <a:pt x="601280" y="201567"/>
                  </a:lnTo>
                  <a:lnTo>
                    <a:pt x="599474" y="203210"/>
                  </a:lnTo>
                  <a:lnTo>
                    <a:pt x="599374" y="205592"/>
                  </a:lnTo>
                  <a:lnTo>
                    <a:pt x="598266" y="208796"/>
                  </a:lnTo>
                  <a:lnTo>
                    <a:pt x="598016" y="209877"/>
                  </a:lnTo>
                  <a:lnTo>
                    <a:pt x="598050" y="210854"/>
                  </a:lnTo>
                  <a:lnTo>
                    <a:pt x="598828" y="211767"/>
                  </a:lnTo>
                  <a:lnTo>
                    <a:pt x="599735" y="212489"/>
                  </a:lnTo>
                  <a:lnTo>
                    <a:pt x="600978" y="212869"/>
                  </a:lnTo>
                  <a:lnTo>
                    <a:pt x="602066" y="213499"/>
                  </a:lnTo>
                  <a:lnTo>
                    <a:pt x="604159" y="215996"/>
                  </a:lnTo>
                  <a:lnTo>
                    <a:pt x="605252" y="216654"/>
                  </a:lnTo>
                  <a:lnTo>
                    <a:pt x="605945" y="217564"/>
                  </a:lnTo>
                  <a:lnTo>
                    <a:pt x="605873" y="218920"/>
                  </a:lnTo>
                  <a:lnTo>
                    <a:pt x="606828" y="219714"/>
                  </a:lnTo>
                  <a:lnTo>
                    <a:pt x="607707" y="221131"/>
                  </a:lnTo>
                  <a:lnTo>
                    <a:pt x="609050" y="221474"/>
                  </a:lnTo>
                  <a:lnTo>
                    <a:pt x="609678" y="221068"/>
                  </a:lnTo>
                  <a:lnTo>
                    <a:pt x="610108" y="220460"/>
                  </a:lnTo>
                  <a:lnTo>
                    <a:pt x="611207" y="220689"/>
                  </a:lnTo>
                  <a:lnTo>
                    <a:pt x="611857" y="221675"/>
                  </a:lnTo>
                  <a:lnTo>
                    <a:pt x="612233" y="222943"/>
                  </a:lnTo>
                  <a:lnTo>
                    <a:pt x="612354" y="224340"/>
                  </a:lnTo>
                  <a:lnTo>
                    <a:pt x="612300" y="226993"/>
                  </a:lnTo>
                  <a:lnTo>
                    <a:pt x="611745" y="227943"/>
                  </a:lnTo>
                  <a:lnTo>
                    <a:pt x="610536" y="227897"/>
                  </a:lnTo>
                  <a:lnTo>
                    <a:pt x="608372" y="226807"/>
                  </a:lnTo>
                  <a:lnTo>
                    <a:pt x="608268" y="227594"/>
                  </a:lnTo>
                  <a:lnTo>
                    <a:pt x="608416" y="228358"/>
                  </a:lnTo>
                  <a:lnTo>
                    <a:pt x="607314" y="228611"/>
                  </a:lnTo>
                  <a:lnTo>
                    <a:pt x="606051" y="228505"/>
                  </a:lnTo>
                  <a:lnTo>
                    <a:pt x="602881" y="228609"/>
                  </a:lnTo>
                  <a:lnTo>
                    <a:pt x="597037" y="230255"/>
                  </a:lnTo>
                  <a:lnTo>
                    <a:pt x="594984" y="231227"/>
                  </a:lnTo>
                  <a:lnTo>
                    <a:pt x="593656" y="232997"/>
                  </a:lnTo>
                  <a:lnTo>
                    <a:pt x="593563" y="234219"/>
                  </a:lnTo>
                  <a:lnTo>
                    <a:pt x="594077" y="236799"/>
                  </a:lnTo>
                  <a:lnTo>
                    <a:pt x="593300" y="237702"/>
                  </a:lnTo>
                  <a:lnTo>
                    <a:pt x="590622" y="238046"/>
                  </a:lnTo>
                  <a:lnTo>
                    <a:pt x="586887" y="237353"/>
                  </a:lnTo>
                  <a:lnTo>
                    <a:pt x="584623" y="236665"/>
                  </a:lnTo>
                  <a:lnTo>
                    <a:pt x="583362" y="236087"/>
                  </a:lnTo>
                  <a:lnTo>
                    <a:pt x="581719" y="234351"/>
                  </a:lnTo>
                  <a:lnTo>
                    <a:pt x="581103" y="232131"/>
                  </a:lnTo>
                  <a:lnTo>
                    <a:pt x="582313" y="225526"/>
                  </a:lnTo>
                  <a:lnTo>
                    <a:pt x="582656" y="224678"/>
                  </a:lnTo>
                  <a:lnTo>
                    <a:pt x="583245" y="223923"/>
                  </a:lnTo>
                  <a:lnTo>
                    <a:pt x="583868" y="222723"/>
                  </a:lnTo>
                  <a:lnTo>
                    <a:pt x="584012" y="221312"/>
                  </a:lnTo>
                  <a:lnTo>
                    <a:pt x="582228" y="219588"/>
                  </a:lnTo>
                  <a:lnTo>
                    <a:pt x="579540" y="218912"/>
                  </a:lnTo>
                  <a:lnTo>
                    <a:pt x="577259" y="217475"/>
                  </a:lnTo>
                  <a:lnTo>
                    <a:pt x="568450" y="209423"/>
                  </a:lnTo>
                  <a:lnTo>
                    <a:pt x="567953" y="208644"/>
                  </a:lnTo>
                  <a:lnTo>
                    <a:pt x="567934" y="207311"/>
                  </a:lnTo>
                  <a:lnTo>
                    <a:pt x="568288" y="206063"/>
                  </a:lnTo>
                  <a:lnTo>
                    <a:pt x="571183" y="201662"/>
                  </a:lnTo>
                  <a:lnTo>
                    <a:pt x="571546" y="200819"/>
                  </a:lnTo>
                  <a:lnTo>
                    <a:pt x="571900" y="197346"/>
                  </a:lnTo>
                  <a:lnTo>
                    <a:pt x="571823" y="194486"/>
                  </a:lnTo>
                  <a:lnTo>
                    <a:pt x="571499" y="191625"/>
                  </a:lnTo>
                  <a:lnTo>
                    <a:pt x="570127" y="189825"/>
                  </a:lnTo>
                  <a:lnTo>
                    <a:pt x="567679" y="189279"/>
                  </a:lnTo>
                  <a:lnTo>
                    <a:pt x="565150" y="189190"/>
                  </a:lnTo>
                  <a:lnTo>
                    <a:pt x="562686" y="189765"/>
                  </a:lnTo>
                  <a:lnTo>
                    <a:pt x="560261" y="191204"/>
                  </a:lnTo>
                  <a:lnTo>
                    <a:pt x="555782" y="194236"/>
                  </a:lnTo>
                  <a:lnTo>
                    <a:pt x="554005" y="196000"/>
                  </a:lnTo>
                  <a:lnTo>
                    <a:pt x="553852" y="198290"/>
                  </a:lnTo>
                  <a:lnTo>
                    <a:pt x="554878" y="200536"/>
                  </a:lnTo>
                  <a:lnTo>
                    <a:pt x="556203" y="202585"/>
                  </a:lnTo>
                  <a:lnTo>
                    <a:pt x="556910" y="204827"/>
                  </a:lnTo>
                  <a:lnTo>
                    <a:pt x="557888" y="212779"/>
                  </a:lnTo>
                  <a:lnTo>
                    <a:pt x="557855" y="213676"/>
                  </a:lnTo>
                  <a:lnTo>
                    <a:pt x="556703" y="215990"/>
                  </a:lnTo>
                  <a:lnTo>
                    <a:pt x="556249" y="221159"/>
                  </a:lnTo>
                  <a:lnTo>
                    <a:pt x="556737" y="228455"/>
                  </a:lnTo>
                  <a:lnTo>
                    <a:pt x="557523" y="232936"/>
                  </a:lnTo>
                  <a:lnTo>
                    <a:pt x="557188" y="235371"/>
                  </a:lnTo>
                  <a:lnTo>
                    <a:pt x="555092" y="240599"/>
                  </a:lnTo>
                  <a:lnTo>
                    <a:pt x="554457" y="243470"/>
                  </a:lnTo>
                  <a:lnTo>
                    <a:pt x="554409" y="244654"/>
                  </a:lnTo>
                  <a:lnTo>
                    <a:pt x="556877" y="250119"/>
                  </a:lnTo>
                  <a:lnTo>
                    <a:pt x="557445" y="252281"/>
                  </a:lnTo>
                  <a:lnTo>
                    <a:pt x="557750" y="254520"/>
                  </a:lnTo>
                  <a:lnTo>
                    <a:pt x="555124" y="253424"/>
                  </a:lnTo>
                  <a:lnTo>
                    <a:pt x="553904" y="253480"/>
                  </a:lnTo>
                  <a:lnTo>
                    <a:pt x="552673" y="253818"/>
                  </a:lnTo>
                  <a:lnTo>
                    <a:pt x="549937" y="254176"/>
                  </a:lnTo>
                  <a:lnTo>
                    <a:pt x="547162" y="254223"/>
                  </a:lnTo>
                  <a:lnTo>
                    <a:pt x="546191" y="254637"/>
                  </a:lnTo>
                  <a:lnTo>
                    <a:pt x="544219" y="256090"/>
                  </a:lnTo>
                  <a:lnTo>
                    <a:pt x="543024" y="256678"/>
                  </a:lnTo>
                  <a:lnTo>
                    <a:pt x="541982" y="256790"/>
                  </a:lnTo>
                  <a:lnTo>
                    <a:pt x="538447" y="254964"/>
                  </a:lnTo>
                  <a:lnTo>
                    <a:pt x="536361" y="252982"/>
                  </a:lnTo>
                  <a:lnTo>
                    <a:pt x="534439" y="250834"/>
                  </a:lnTo>
                  <a:lnTo>
                    <a:pt x="534089" y="248380"/>
                  </a:lnTo>
                  <a:lnTo>
                    <a:pt x="534759" y="245862"/>
                  </a:lnTo>
                  <a:lnTo>
                    <a:pt x="535709" y="243171"/>
                  </a:lnTo>
                  <a:lnTo>
                    <a:pt x="537609" y="238697"/>
                  </a:lnTo>
                  <a:lnTo>
                    <a:pt x="537521" y="235695"/>
                  </a:lnTo>
                  <a:lnTo>
                    <a:pt x="538170" y="233235"/>
                  </a:lnTo>
                  <a:lnTo>
                    <a:pt x="539256" y="230848"/>
                  </a:lnTo>
                  <a:lnTo>
                    <a:pt x="539648" y="228641"/>
                  </a:lnTo>
                  <a:lnTo>
                    <a:pt x="539911" y="220021"/>
                  </a:lnTo>
                  <a:lnTo>
                    <a:pt x="539642" y="219255"/>
                  </a:lnTo>
                  <a:lnTo>
                    <a:pt x="537037" y="214134"/>
                  </a:lnTo>
                  <a:lnTo>
                    <a:pt x="536736" y="213276"/>
                  </a:lnTo>
                  <a:lnTo>
                    <a:pt x="536719" y="211894"/>
                  </a:lnTo>
                  <a:lnTo>
                    <a:pt x="537000" y="210575"/>
                  </a:lnTo>
                  <a:lnTo>
                    <a:pt x="537056" y="209386"/>
                  </a:lnTo>
                  <a:lnTo>
                    <a:pt x="536458" y="208476"/>
                  </a:lnTo>
                  <a:lnTo>
                    <a:pt x="535404" y="207644"/>
                  </a:lnTo>
                  <a:lnTo>
                    <a:pt x="534128" y="207281"/>
                  </a:lnTo>
                  <a:lnTo>
                    <a:pt x="531429" y="207641"/>
                  </a:lnTo>
                  <a:lnTo>
                    <a:pt x="526002" y="209021"/>
                  </a:lnTo>
                  <a:lnTo>
                    <a:pt x="524400" y="207806"/>
                  </a:lnTo>
                  <a:lnTo>
                    <a:pt x="523195" y="205931"/>
                  </a:lnTo>
                  <a:lnTo>
                    <a:pt x="522424" y="203322"/>
                  </a:lnTo>
                  <a:lnTo>
                    <a:pt x="521975" y="200588"/>
                  </a:lnTo>
                  <a:lnTo>
                    <a:pt x="522182" y="198020"/>
                  </a:lnTo>
                  <a:lnTo>
                    <a:pt x="522984" y="195539"/>
                  </a:lnTo>
                  <a:lnTo>
                    <a:pt x="522338" y="193804"/>
                  </a:lnTo>
                  <a:lnTo>
                    <a:pt x="521338" y="191915"/>
                  </a:lnTo>
                  <a:lnTo>
                    <a:pt x="521330" y="190942"/>
                  </a:lnTo>
                  <a:lnTo>
                    <a:pt x="521898" y="190091"/>
                  </a:lnTo>
                  <a:lnTo>
                    <a:pt x="522878" y="189380"/>
                  </a:lnTo>
                  <a:lnTo>
                    <a:pt x="524076" y="188965"/>
                  </a:lnTo>
                  <a:lnTo>
                    <a:pt x="525197" y="188213"/>
                  </a:lnTo>
                  <a:lnTo>
                    <a:pt x="528159" y="185679"/>
                  </a:lnTo>
                  <a:lnTo>
                    <a:pt x="529114" y="183453"/>
                  </a:lnTo>
                  <a:lnTo>
                    <a:pt x="529176" y="180714"/>
                  </a:lnTo>
                  <a:lnTo>
                    <a:pt x="529931" y="178093"/>
                  </a:lnTo>
                  <a:lnTo>
                    <a:pt x="531446" y="175680"/>
                  </a:lnTo>
                  <a:lnTo>
                    <a:pt x="533238" y="173440"/>
                  </a:lnTo>
                  <a:lnTo>
                    <a:pt x="533822" y="171131"/>
                  </a:lnTo>
                  <a:lnTo>
                    <a:pt x="532939" y="167467"/>
                  </a:lnTo>
                  <a:lnTo>
                    <a:pt x="533288" y="165800"/>
                  </a:lnTo>
                  <a:lnTo>
                    <a:pt x="532984" y="163841"/>
                  </a:lnTo>
                  <a:lnTo>
                    <a:pt x="532954" y="161905"/>
                  </a:lnTo>
                  <a:lnTo>
                    <a:pt x="534064" y="158262"/>
                  </a:lnTo>
                  <a:lnTo>
                    <a:pt x="537359" y="150816"/>
                  </a:lnTo>
                  <a:lnTo>
                    <a:pt x="540572" y="146861"/>
                  </a:lnTo>
                  <a:lnTo>
                    <a:pt x="541850" y="145818"/>
                  </a:lnTo>
                  <a:lnTo>
                    <a:pt x="543517" y="147658"/>
                  </a:lnTo>
                  <a:lnTo>
                    <a:pt x="544792" y="149824"/>
                  </a:lnTo>
                  <a:lnTo>
                    <a:pt x="544811" y="147864"/>
                  </a:lnTo>
                  <a:lnTo>
                    <a:pt x="544472" y="145942"/>
                  </a:lnTo>
                  <a:lnTo>
                    <a:pt x="543185" y="141459"/>
                  </a:lnTo>
                  <a:lnTo>
                    <a:pt x="542083" y="132722"/>
                  </a:lnTo>
                  <a:lnTo>
                    <a:pt x="542392" y="131894"/>
                  </a:lnTo>
                  <a:lnTo>
                    <a:pt x="543513" y="132025"/>
                  </a:lnTo>
                  <a:lnTo>
                    <a:pt x="544658" y="131254"/>
                  </a:lnTo>
                  <a:lnTo>
                    <a:pt x="545262" y="129879"/>
                  </a:lnTo>
                  <a:lnTo>
                    <a:pt x="544070" y="126632"/>
                  </a:lnTo>
                  <a:lnTo>
                    <a:pt x="544016" y="125488"/>
                  </a:lnTo>
                  <a:lnTo>
                    <a:pt x="546316" y="120924"/>
                  </a:lnTo>
                  <a:lnTo>
                    <a:pt x="548190" y="119262"/>
                  </a:lnTo>
                  <a:lnTo>
                    <a:pt x="549011" y="118236"/>
                  </a:lnTo>
                  <a:lnTo>
                    <a:pt x="549481" y="115452"/>
                  </a:lnTo>
                  <a:lnTo>
                    <a:pt x="550457" y="114399"/>
                  </a:lnTo>
                  <a:lnTo>
                    <a:pt x="551694" y="113646"/>
                  </a:lnTo>
                  <a:lnTo>
                    <a:pt x="553314" y="111721"/>
                  </a:lnTo>
                  <a:lnTo>
                    <a:pt x="554193" y="109298"/>
                  </a:lnTo>
                  <a:lnTo>
                    <a:pt x="554731" y="109113"/>
                  </a:lnTo>
                  <a:lnTo>
                    <a:pt x="555364" y="109025"/>
                  </a:lnTo>
                  <a:lnTo>
                    <a:pt x="556337" y="111139"/>
                  </a:lnTo>
                  <a:lnTo>
                    <a:pt x="557432" y="111999"/>
                  </a:lnTo>
                  <a:lnTo>
                    <a:pt x="559657" y="112688"/>
                  </a:lnTo>
                  <a:lnTo>
                    <a:pt x="561557" y="111872"/>
                  </a:lnTo>
                  <a:lnTo>
                    <a:pt x="562086" y="110811"/>
                  </a:lnTo>
                  <a:lnTo>
                    <a:pt x="562802" y="109899"/>
                  </a:lnTo>
                  <a:lnTo>
                    <a:pt x="563956" y="108947"/>
                  </a:lnTo>
                  <a:lnTo>
                    <a:pt x="564925" y="107864"/>
                  </a:lnTo>
                  <a:lnTo>
                    <a:pt x="566003" y="105352"/>
                  </a:lnTo>
                  <a:lnTo>
                    <a:pt x="567426" y="103061"/>
                  </a:lnTo>
                  <a:lnTo>
                    <a:pt x="568402" y="102262"/>
                  </a:lnTo>
                  <a:lnTo>
                    <a:pt x="569581" y="101756"/>
                  </a:lnTo>
                  <a:lnTo>
                    <a:pt x="570889" y="101448"/>
                  </a:lnTo>
                  <a:lnTo>
                    <a:pt x="572153" y="101407"/>
                  </a:lnTo>
                  <a:lnTo>
                    <a:pt x="574953" y="102847"/>
                  </a:lnTo>
                  <a:lnTo>
                    <a:pt x="576575" y="103128"/>
                  </a:lnTo>
                  <a:lnTo>
                    <a:pt x="578234" y="103023"/>
                  </a:lnTo>
                  <a:lnTo>
                    <a:pt x="579281" y="103265"/>
                  </a:lnTo>
                  <a:lnTo>
                    <a:pt x="580076" y="103911"/>
                  </a:lnTo>
                  <a:lnTo>
                    <a:pt x="580799" y="105213"/>
                  </a:lnTo>
                  <a:lnTo>
                    <a:pt x="581695" y="106336"/>
                  </a:lnTo>
                  <a:lnTo>
                    <a:pt x="582522" y="106890"/>
                  </a:lnTo>
                  <a:lnTo>
                    <a:pt x="583431" y="107149"/>
                  </a:lnTo>
                  <a:lnTo>
                    <a:pt x="589525" y="106695"/>
                  </a:lnTo>
                  <a:lnTo>
                    <a:pt x="594850" y="107963"/>
                  </a:lnTo>
                  <a:lnTo>
                    <a:pt x="602112" y="108253"/>
                  </a:lnTo>
                  <a:lnTo>
                    <a:pt x="604604" y="108996"/>
                  </a:lnTo>
                  <a:lnTo>
                    <a:pt x="606995" y="109966"/>
                  </a:lnTo>
                  <a:lnTo>
                    <a:pt x="609923" y="111684"/>
                  </a:lnTo>
                  <a:lnTo>
                    <a:pt x="610994" y="112065"/>
                  </a:lnTo>
                  <a:lnTo>
                    <a:pt x="612192" y="111969"/>
                  </a:lnTo>
                  <a:lnTo>
                    <a:pt x="613687" y="110355"/>
                  </a:lnTo>
                  <a:lnTo>
                    <a:pt x="614853" y="110002"/>
                  </a:lnTo>
                  <a:lnTo>
                    <a:pt x="616040" y="109940"/>
                  </a:lnTo>
                  <a:lnTo>
                    <a:pt x="620720" y="110243"/>
                  </a:lnTo>
                  <a:lnTo>
                    <a:pt x="633292" y="112231"/>
                  </a:lnTo>
                  <a:lnTo>
                    <a:pt x="635151" y="111960"/>
                  </a:lnTo>
                  <a:lnTo>
                    <a:pt x="642732" y="108160"/>
                  </a:lnTo>
                  <a:lnTo>
                    <a:pt x="645766" y="104559"/>
                  </a:lnTo>
                  <a:lnTo>
                    <a:pt x="648483" y="103556"/>
                  </a:lnTo>
                  <a:lnTo>
                    <a:pt x="649405" y="101929"/>
                  </a:lnTo>
                  <a:lnTo>
                    <a:pt x="649953" y="99974"/>
                  </a:lnTo>
                  <a:lnTo>
                    <a:pt x="650916" y="99449"/>
                  </a:lnTo>
                  <a:lnTo>
                    <a:pt x="653193" y="98891"/>
                  </a:lnTo>
                  <a:lnTo>
                    <a:pt x="654099" y="98312"/>
                  </a:lnTo>
                  <a:lnTo>
                    <a:pt x="655712" y="95913"/>
                  </a:lnTo>
                  <a:lnTo>
                    <a:pt x="657624" y="93787"/>
                  </a:lnTo>
                  <a:close/>
                  <a:moveTo>
                    <a:pt x="142271" y="83732"/>
                  </a:moveTo>
                  <a:lnTo>
                    <a:pt x="143761" y="84800"/>
                  </a:lnTo>
                  <a:lnTo>
                    <a:pt x="144960" y="86612"/>
                  </a:lnTo>
                  <a:lnTo>
                    <a:pt x="145208" y="87786"/>
                  </a:lnTo>
                  <a:lnTo>
                    <a:pt x="144336" y="89133"/>
                  </a:lnTo>
                  <a:lnTo>
                    <a:pt x="144011" y="91199"/>
                  </a:lnTo>
                  <a:lnTo>
                    <a:pt x="141431" y="92823"/>
                  </a:lnTo>
                  <a:lnTo>
                    <a:pt x="139176" y="92437"/>
                  </a:lnTo>
                  <a:lnTo>
                    <a:pt x="138447" y="91858"/>
                  </a:lnTo>
                  <a:lnTo>
                    <a:pt x="137024" y="88718"/>
                  </a:lnTo>
                  <a:lnTo>
                    <a:pt x="137162" y="86056"/>
                  </a:lnTo>
                  <a:lnTo>
                    <a:pt x="138060" y="85035"/>
                  </a:lnTo>
                  <a:lnTo>
                    <a:pt x="140148" y="85192"/>
                  </a:lnTo>
                  <a:close/>
                  <a:moveTo>
                    <a:pt x="725936" y="82132"/>
                  </a:moveTo>
                  <a:lnTo>
                    <a:pt x="726076" y="83060"/>
                  </a:lnTo>
                  <a:lnTo>
                    <a:pt x="725821" y="83883"/>
                  </a:lnTo>
                  <a:lnTo>
                    <a:pt x="723068" y="87738"/>
                  </a:lnTo>
                  <a:lnTo>
                    <a:pt x="722701" y="88608"/>
                  </a:lnTo>
                  <a:lnTo>
                    <a:pt x="722627" y="90230"/>
                  </a:lnTo>
                  <a:lnTo>
                    <a:pt x="723947" y="91188"/>
                  </a:lnTo>
                  <a:lnTo>
                    <a:pt x="725372" y="93144"/>
                  </a:lnTo>
                  <a:lnTo>
                    <a:pt x="725655" y="95748"/>
                  </a:lnTo>
                  <a:lnTo>
                    <a:pt x="725702" y="98521"/>
                  </a:lnTo>
                  <a:lnTo>
                    <a:pt x="725389" y="101316"/>
                  </a:lnTo>
                  <a:lnTo>
                    <a:pt x="724858" y="102248"/>
                  </a:lnTo>
                  <a:lnTo>
                    <a:pt x="722595" y="105052"/>
                  </a:lnTo>
                  <a:lnTo>
                    <a:pt x="717453" y="108346"/>
                  </a:lnTo>
                  <a:lnTo>
                    <a:pt x="717015" y="109157"/>
                  </a:lnTo>
                  <a:lnTo>
                    <a:pt x="717046" y="110065"/>
                  </a:lnTo>
                  <a:lnTo>
                    <a:pt x="717998" y="111161"/>
                  </a:lnTo>
                  <a:lnTo>
                    <a:pt x="719220" y="112010"/>
                  </a:lnTo>
                  <a:lnTo>
                    <a:pt x="720827" y="112502"/>
                  </a:lnTo>
                  <a:lnTo>
                    <a:pt x="722500" y="112365"/>
                  </a:lnTo>
                  <a:lnTo>
                    <a:pt x="723331" y="111377"/>
                  </a:lnTo>
                  <a:lnTo>
                    <a:pt x="723562" y="110096"/>
                  </a:lnTo>
                  <a:lnTo>
                    <a:pt x="724407" y="107711"/>
                  </a:lnTo>
                  <a:lnTo>
                    <a:pt x="726352" y="106095"/>
                  </a:lnTo>
                  <a:lnTo>
                    <a:pt x="727717" y="105843"/>
                  </a:lnTo>
                  <a:lnTo>
                    <a:pt x="728684" y="105162"/>
                  </a:lnTo>
                  <a:lnTo>
                    <a:pt x="728516" y="103392"/>
                  </a:lnTo>
                  <a:lnTo>
                    <a:pt x="728611" y="101651"/>
                  </a:lnTo>
                  <a:lnTo>
                    <a:pt x="730049" y="99792"/>
                  </a:lnTo>
                  <a:lnTo>
                    <a:pt x="734508" y="97207"/>
                  </a:lnTo>
                  <a:lnTo>
                    <a:pt x="737054" y="96285"/>
                  </a:lnTo>
                  <a:lnTo>
                    <a:pt x="740352" y="95990"/>
                  </a:lnTo>
                  <a:lnTo>
                    <a:pt x="740723" y="96981"/>
                  </a:lnTo>
                  <a:lnTo>
                    <a:pt x="740345" y="98397"/>
                  </a:lnTo>
                  <a:lnTo>
                    <a:pt x="740982" y="100530"/>
                  </a:lnTo>
                  <a:lnTo>
                    <a:pt x="740667" y="106300"/>
                  </a:lnTo>
                  <a:lnTo>
                    <a:pt x="739918" y="107117"/>
                  </a:lnTo>
                  <a:lnTo>
                    <a:pt x="736508" y="109111"/>
                  </a:lnTo>
                  <a:lnTo>
                    <a:pt x="732781" y="110706"/>
                  </a:lnTo>
                  <a:lnTo>
                    <a:pt x="731738" y="111377"/>
                  </a:lnTo>
                  <a:lnTo>
                    <a:pt x="730818" y="112965"/>
                  </a:lnTo>
                  <a:lnTo>
                    <a:pt x="730894" y="114539"/>
                  </a:lnTo>
                  <a:lnTo>
                    <a:pt x="733930" y="116640"/>
                  </a:lnTo>
                  <a:lnTo>
                    <a:pt x="738646" y="118605"/>
                  </a:lnTo>
                  <a:lnTo>
                    <a:pt x="739619" y="119527"/>
                  </a:lnTo>
                  <a:lnTo>
                    <a:pt x="740250" y="121070"/>
                  </a:lnTo>
                  <a:lnTo>
                    <a:pt x="740423" y="122797"/>
                  </a:lnTo>
                  <a:lnTo>
                    <a:pt x="741565" y="123617"/>
                  </a:lnTo>
                  <a:lnTo>
                    <a:pt x="743161" y="124013"/>
                  </a:lnTo>
                  <a:lnTo>
                    <a:pt x="744219" y="124831"/>
                  </a:lnTo>
                  <a:lnTo>
                    <a:pt x="745023" y="125983"/>
                  </a:lnTo>
                  <a:lnTo>
                    <a:pt x="737080" y="123294"/>
                  </a:lnTo>
                  <a:lnTo>
                    <a:pt x="735003" y="122107"/>
                  </a:lnTo>
                  <a:lnTo>
                    <a:pt x="732490" y="121966"/>
                  </a:lnTo>
                  <a:lnTo>
                    <a:pt x="730008" y="121605"/>
                  </a:lnTo>
                  <a:lnTo>
                    <a:pt x="727475" y="120574"/>
                  </a:lnTo>
                  <a:lnTo>
                    <a:pt x="724757" y="120331"/>
                  </a:lnTo>
                  <a:lnTo>
                    <a:pt x="723459" y="121078"/>
                  </a:lnTo>
                  <a:lnTo>
                    <a:pt x="722949" y="122534"/>
                  </a:lnTo>
                  <a:lnTo>
                    <a:pt x="722641" y="124168"/>
                  </a:lnTo>
                  <a:lnTo>
                    <a:pt x="723243" y="126203"/>
                  </a:lnTo>
                  <a:lnTo>
                    <a:pt x="723189" y="127437"/>
                  </a:lnTo>
                  <a:lnTo>
                    <a:pt x="722675" y="129671"/>
                  </a:lnTo>
                  <a:lnTo>
                    <a:pt x="724640" y="136257"/>
                  </a:lnTo>
                  <a:lnTo>
                    <a:pt x="727108" y="141495"/>
                  </a:lnTo>
                  <a:lnTo>
                    <a:pt x="730735" y="146944"/>
                  </a:lnTo>
                  <a:lnTo>
                    <a:pt x="732528" y="148816"/>
                  </a:lnTo>
                  <a:lnTo>
                    <a:pt x="734539" y="150505"/>
                  </a:lnTo>
                  <a:lnTo>
                    <a:pt x="731280" y="150004"/>
                  </a:lnTo>
                  <a:lnTo>
                    <a:pt x="730291" y="148183"/>
                  </a:lnTo>
                  <a:lnTo>
                    <a:pt x="726156" y="146378"/>
                  </a:lnTo>
                  <a:lnTo>
                    <a:pt x="725370" y="145300"/>
                  </a:lnTo>
                  <a:lnTo>
                    <a:pt x="722675" y="140130"/>
                  </a:lnTo>
                  <a:lnTo>
                    <a:pt x="721886" y="139165"/>
                  </a:lnTo>
                  <a:lnTo>
                    <a:pt x="719399" y="137408"/>
                  </a:lnTo>
                  <a:lnTo>
                    <a:pt x="718311" y="136114"/>
                  </a:lnTo>
                  <a:lnTo>
                    <a:pt x="717939" y="134367"/>
                  </a:lnTo>
                  <a:lnTo>
                    <a:pt x="718218" y="132533"/>
                  </a:lnTo>
                  <a:lnTo>
                    <a:pt x="718084" y="129994"/>
                  </a:lnTo>
                  <a:lnTo>
                    <a:pt x="718175" y="127470"/>
                  </a:lnTo>
                  <a:lnTo>
                    <a:pt x="718689" y="124395"/>
                  </a:lnTo>
                  <a:lnTo>
                    <a:pt x="717804" y="123319"/>
                  </a:lnTo>
                  <a:lnTo>
                    <a:pt x="716644" y="122298"/>
                  </a:lnTo>
                  <a:lnTo>
                    <a:pt x="715298" y="119938"/>
                  </a:lnTo>
                  <a:lnTo>
                    <a:pt x="714894" y="117257"/>
                  </a:lnTo>
                  <a:lnTo>
                    <a:pt x="714998" y="115714"/>
                  </a:lnTo>
                  <a:lnTo>
                    <a:pt x="715556" y="114346"/>
                  </a:lnTo>
                  <a:lnTo>
                    <a:pt x="716301" y="113163"/>
                  </a:lnTo>
                  <a:lnTo>
                    <a:pt x="716463" y="112009"/>
                  </a:lnTo>
                  <a:lnTo>
                    <a:pt x="714526" y="110333"/>
                  </a:lnTo>
                  <a:lnTo>
                    <a:pt x="712493" y="105557"/>
                  </a:lnTo>
                  <a:lnTo>
                    <a:pt x="712312" y="103080"/>
                  </a:lnTo>
                  <a:lnTo>
                    <a:pt x="714894" y="98314"/>
                  </a:lnTo>
                  <a:lnTo>
                    <a:pt x="714841" y="96001"/>
                  </a:lnTo>
                  <a:lnTo>
                    <a:pt x="715355" y="94626"/>
                  </a:lnTo>
                  <a:lnTo>
                    <a:pt x="715638" y="93168"/>
                  </a:lnTo>
                  <a:lnTo>
                    <a:pt x="716987" y="89993"/>
                  </a:lnTo>
                  <a:lnTo>
                    <a:pt x="719192" y="87285"/>
                  </a:lnTo>
                  <a:lnTo>
                    <a:pt x="722916" y="83497"/>
                  </a:lnTo>
                  <a:lnTo>
                    <a:pt x="724340" y="82670"/>
                  </a:lnTo>
                  <a:close/>
                  <a:moveTo>
                    <a:pt x="43118" y="81398"/>
                  </a:moveTo>
                  <a:lnTo>
                    <a:pt x="45245" y="81756"/>
                  </a:lnTo>
                  <a:lnTo>
                    <a:pt x="46098" y="82093"/>
                  </a:lnTo>
                  <a:lnTo>
                    <a:pt x="46924" y="83249"/>
                  </a:lnTo>
                  <a:lnTo>
                    <a:pt x="47045" y="84862"/>
                  </a:lnTo>
                  <a:lnTo>
                    <a:pt x="46914" y="85357"/>
                  </a:lnTo>
                  <a:lnTo>
                    <a:pt x="44632" y="83029"/>
                  </a:lnTo>
                  <a:lnTo>
                    <a:pt x="42050" y="81737"/>
                  </a:lnTo>
                  <a:close/>
                  <a:moveTo>
                    <a:pt x="738445" y="73314"/>
                  </a:moveTo>
                  <a:lnTo>
                    <a:pt x="740354" y="76056"/>
                  </a:lnTo>
                  <a:lnTo>
                    <a:pt x="738912" y="81571"/>
                  </a:lnTo>
                  <a:lnTo>
                    <a:pt x="737238" y="84388"/>
                  </a:lnTo>
                  <a:lnTo>
                    <a:pt x="735167" y="85390"/>
                  </a:lnTo>
                  <a:lnTo>
                    <a:pt x="731673" y="85767"/>
                  </a:lnTo>
                  <a:lnTo>
                    <a:pt x="730879" y="84710"/>
                  </a:lnTo>
                  <a:lnTo>
                    <a:pt x="729950" y="79955"/>
                  </a:lnTo>
                  <a:lnTo>
                    <a:pt x="732435" y="76152"/>
                  </a:lnTo>
                  <a:lnTo>
                    <a:pt x="735568" y="73914"/>
                  </a:lnTo>
                  <a:lnTo>
                    <a:pt x="737704" y="73348"/>
                  </a:lnTo>
                  <a:close/>
                  <a:moveTo>
                    <a:pt x="667436" y="68717"/>
                  </a:moveTo>
                  <a:lnTo>
                    <a:pt x="668418" y="69192"/>
                  </a:lnTo>
                  <a:lnTo>
                    <a:pt x="668667" y="69655"/>
                  </a:lnTo>
                  <a:lnTo>
                    <a:pt x="667725" y="70893"/>
                  </a:lnTo>
                  <a:lnTo>
                    <a:pt x="667803" y="72119"/>
                  </a:lnTo>
                  <a:lnTo>
                    <a:pt x="667578" y="72607"/>
                  </a:lnTo>
                  <a:lnTo>
                    <a:pt x="666756" y="70012"/>
                  </a:lnTo>
                  <a:close/>
                  <a:moveTo>
                    <a:pt x="13258" y="66268"/>
                  </a:moveTo>
                  <a:lnTo>
                    <a:pt x="15239" y="66865"/>
                  </a:lnTo>
                  <a:lnTo>
                    <a:pt x="17495" y="69247"/>
                  </a:lnTo>
                  <a:lnTo>
                    <a:pt x="19788" y="70137"/>
                  </a:lnTo>
                  <a:lnTo>
                    <a:pt x="20412" y="70586"/>
                  </a:lnTo>
                  <a:lnTo>
                    <a:pt x="21522" y="71904"/>
                  </a:lnTo>
                  <a:lnTo>
                    <a:pt x="26770" y="75138"/>
                  </a:lnTo>
                  <a:lnTo>
                    <a:pt x="27340" y="76234"/>
                  </a:lnTo>
                  <a:lnTo>
                    <a:pt x="27700" y="77336"/>
                  </a:lnTo>
                  <a:lnTo>
                    <a:pt x="27795" y="78571"/>
                  </a:lnTo>
                  <a:lnTo>
                    <a:pt x="26409" y="78777"/>
                  </a:lnTo>
                  <a:lnTo>
                    <a:pt x="25075" y="78304"/>
                  </a:lnTo>
                  <a:lnTo>
                    <a:pt x="23965" y="77032"/>
                  </a:lnTo>
                  <a:lnTo>
                    <a:pt x="18028" y="73355"/>
                  </a:lnTo>
                  <a:lnTo>
                    <a:pt x="16182" y="73296"/>
                  </a:lnTo>
                  <a:lnTo>
                    <a:pt x="14884" y="72356"/>
                  </a:lnTo>
                  <a:lnTo>
                    <a:pt x="13310" y="72031"/>
                  </a:lnTo>
                  <a:lnTo>
                    <a:pt x="11639" y="69577"/>
                  </a:lnTo>
                  <a:lnTo>
                    <a:pt x="11289" y="68261"/>
                  </a:lnTo>
                  <a:lnTo>
                    <a:pt x="12505" y="67619"/>
                  </a:lnTo>
                  <a:close/>
                  <a:moveTo>
                    <a:pt x="302474" y="64432"/>
                  </a:moveTo>
                  <a:lnTo>
                    <a:pt x="302513" y="66503"/>
                  </a:lnTo>
                  <a:lnTo>
                    <a:pt x="301437" y="67662"/>
                  </a:lnTo>
                  <a:lnTo>
                    <a:pt x="300279" y="66940"/>
                  </a:lnTo>
                  <a:lnTo>
                    <a:pt x="302061" y="64589"/>
                  </a:lnTo>
                  <a:close/>
                  <a:moveTo>
                    <a:pt x="231857" y="63026"/>
                  </a:moveTo>
                  <a:lnTo>
                    <a:pt x="232708" y="63591"/>
                  </a:lnTo>
                  <a:lnTo>
                    <a:pt x="233364" y="64121"/>
                  </a:lnTo>
                  <a:lnTo>
                    <a:pt x="234121" y="64499"/>
                  </a:lnTo>
                  <a:lnTo>
                    <a:pt x="234732" y="64755"/>
                  </a:lnTo>
                  <a:lnTo>
                    <a:pt x="235053" y="64929"/>
                  </a:lnTo>
                  <a:lnTo>
                    <a:pt x="234449" y="66535"/>
                  </a:lnTo>
                  <a:lnTo>
                    <a:pt x="233364" y="67441"/>
                  </a:lnTo>
                  <a:lnTo>
                    <a:pt x="232440" y="67526"/>
                  </a:lnTo>
                  <a:lnTo>
                    <a:pt x="232166" y="66869"/>
                  </a:lnTo>
                  <a:lnTo>
                    <a:pt x="232205" y="65735"/>
                  </a:lnTo>
                  <a:lnTo>
                    <a:pt x="232123" y="64832"/>
                  </a:lnTo>
                  <a:lnTo>
                    <a:pt x="231857" y="64159"/>
                  </a:lnTo>
                  <a:close/>
                  <a:moveTo>
                    <a:pt x="243611" y="59328"/>
                  </a:moveTo>
                  <a:lnTo>
                    <a:pt x="244660" y="59622"/>
                  </a:lnTo>
                  <a:lnTo>
                    <a:pt x="244971" y="60932"/>
                  </a:lnTo>
                  <a:lnTo>
                    <a:pt x="244937" y="62457"/>
                  </a:lnTo>
                  <a:lnTo>
                    <a:pt x="243408" y="61564"/>
                  </a:lnTo>
                  <a:lnTo>
                    <a:pt x="243108" y="59875"/>
                  </a:lnTo>
                  <a:close/>
                  <a:moveTo>
                    <a:pt x="495976" y="54757"/>
                  </a:moveTo>
                  <a:lnTo>
                    <a:pt x="496952" y="55389"/>
                  </a:lnTo>
                  <a:lnTo>
                    <a:pt x="496455" y="58201"/>
                  </a:lnTo>
                  <a:lnTo>
                    <a:pt x="496177" y="58926"/>
                  </a:lnTo>
                  <a:lnTo>
                    <a:pt x="494287" y="57145"/>
                  </a:lnTo>
                  <a:lnTo>
                    <a:pt x="493782" y="55857"/>
                  </a:lnTo>
                  <a:lnTo>
                    <a:pt x="494011" y="54848"/>
                  </a:lnTo>
                  <a:close/>
                  <a:moveTo>
                    <a:pt x="669161" y="48178"/>
                  </a:moveTo>
                  <a:lnTo>
                    <a:pt x="670810" y="49569"/>
                  </a:lnTo>
                  <a:lnTo>
                    <a:pt x="671744" y="51768"/>
                  </a:lnTo>
                  <a:lnTo>
                    <a:pt x="673024" y="53862"/>
                  </a:lnTo>
                  <a:lnTo>
                    <a:pt x="673346" y="54758"/>
                  </a:lnTo>
                  <a:lnTo>
                    <a:pt x="672796" y="55436"/>
                  </a:lnTo>
                  <a:lnTo>
                    <a:pt x="670104" y="54202"/>
                  </a:lnTo>
                  <a:lnTo>
                    <a:pt x="670238" y="52244"/>
                  </a:lnTo>
                  <a:lnTo>
                    <a:pt x="669876" y="51278"/>
                  </a:lnTo>
                  <a:lnTo>
                    <a:pt x="669155" y="50262"/>
                  </a:lnTo>
                  <a:lnTo>
                    <a:pt x="668861" y="49264"/>
                  </a:lnTo>
                  <a:close/>
                  <a:moveTo>
                    <a:pt x="698695" y="45418"/>
                  </a:moveTo>
                  <a:lnTo>
                    <a:pt x="699857" y="46425"/>
                  </a:lnTo>
                  <a:lnTo>
                    <a:pt x="699874" y="46983"/>
                  </a:lnTo>
                  <a:lnTo>
                    <a:pt x="699743" y="47398"/>
                  </a:lnTo>
                  <a:lnTo>
                    <a:pt x="699381" y="47654"/>
                  </a:lnTo>
                  <a:lnTo>
                    <a:pt x="698587" y="47057"/>
                  </a:lnTo>
                  <a:lnTo>
                    <a:pt x="698099" y="46402"/>
                  </a:lnTo>
                  <a:lnTo>
                    <a:pt x="698130" y="45744"/>
                  </a:lnTo>
                  <a:close/>
                  <a:moveTo>
                    <a:pt x="695003" y="41342"/>
                  </a:moveTo>
                  <a:lnTo>
                    <a:pt x="696065" y="42240"/>
                  </a:lnTo>
                  <a:lnTo>
                    <a:pt x="697261" y="44093"/>
                  </a:lnTo>
                  <a:lnTo>
                    <a:pt x="696812" y="45047"/>
                  </a:lnTo>
                  <a:lnTo>
                    <a:pt x="696866" y="45980"/>
                  </a:lnTo>
                  <a:lnTo>
                    <a:pt x="695527" y="43856"/>
                  </a:lnTo>
                  <a:close/>
                  <a:moveTo>
                    <a:pt x="501461" y="38148"/>
                  </a:moveTo>
                  <a:lnTo>
                    <a:pt x="502193" y="40266"/>
                  </a:lnTo>
                  <a:lnTo>
                    <a:pt x="502303" y="41068"/>
                  </a:lnTo>
                  <a:lnTo>
                    <a:pt x="498190" y="42182"/>
                  </a:lnTo>
                  <a:lnTo>
                    <a:pt x="495719" y="39580"/>
                  </a:lnTo>
                  <a:lnTo>
                    <a:pt x="496248" y="38528"/>
                  </a:lnTo>
                  <a:lnTo>
                    <a:pt x="498380" y="38573"/>
                  </a:lnTo>
                  <a:close/>
                  <a:moveTo>
                    <a:pt x="288379" y="37462"/>
                  </a:moveTo>
                  <a:lnTo>
                    <a:pt x="288539" y="38910"/>
                  </a:lnTo>
                  <a:lnTo>
                    <a:pt x="291575" y="42577"/>
                  </a:lnTo>
                  <a:lnTo>
                    <a:pt x="291707" y="45017"/>
                  </a:lnTo>
                  <a:lnTo>
                    <a:pt x="291590" y="45899"/>
                  </a:lnTo>
                  <a:lnTo>
                    <a:pt x="289875" y="49143"/>
                  </a:lnTo>
                  <a:lnTo>
                    <a:pt x="286859" y="49953"/>
                  </a:lnTo>
                  <a:lnTo>
                    <a:pt x="285108" y="48814"/>
                  </a:lnTo>
                  <a:lnTo>
                    <a:pt x="287004" y="47409"/>
                  </a:lnTo>
                  <a:lnTo>
                    <a:pt x="287673" y="47316"/>
                  </a:lnTo>
                  <a:lnTo>
                    <a:pt x="288109" y="47042"/>
                  </a:lnTo>
                  <a:lnTo>
                    <a:pt x="288267" y="46471"/>
                  </a:lnTo>
                  <a:lnTo>
                    <a:pt x="284845" y="45546"/>
                  </a:lnTo>
                  <a:lnTo>
                    <a:pt x="283873" y="44730"/>
                  </a:lnTo>
                  <a:lnTo>
                    <a:pt x="282939" y="42650"/>
                  </a:lnTo>
                  <a:lnTo>
                    <a:pt x="282966" y="41328"/>
                  </a:lnTo>
                  <a:lnTo>
                    <a:pt x="287353" y="37830"/>
                  </a:lnTo>
                  <a:close/>
                  <a:moveTo>
                    <a:pt x="471167" y="34057"/>
                  </a:moveTo>
                  <a:lnTo>
                    <a:pt x="472016" y="34300"/>
                  </a:lnTo>
                  <a:lnTo>
                    <a:pt x="472810" y="34775"/>
                  </a:lnTo>
                  <a:lnTo>
                    <a:pt x="473908" y="34760"/>
                  </a:lnTo>
                  <a:lnTo>
                    <a:pt x="475216" y="34408"/>
                  </a:lnTo>
                  <a:lnTo>
                    <a:pt x="478438" y="34737"/>
                  </a:lnTo>
                  <a:lnTo>
                    <a:pt x="484121" y="34805"/>
                  </a:lnTo>
                  <a:lnTo>
                    <a:pt x="488034" y="35641"/>
                  </a:lnTo>
                  <a:lnTo>
                    <a:pt x="491867" y="37999"/>
                  </a:lnTo>
                  <a:lnTo>
                    <a:pt x="493778" y="38475"/>
                  </a:lnTo>
                  <a:lnTo>
                    <a:pt x="494599" y="38492"/>
                  </a:lnTo>
                  <a:lnTo>
                    <a:pt x="494417" y="38676"/>
                  </a:lnTo>
                  <a:lnTo>
                    <a:pt x="492897" y="39316"/>
                  </a:lnTo>
                  <a:lnTo>
                    <a:pt x="492186" y="40586"/>
                  </a:lnTo>
                  <a:lnTo>
                    <a:pt x="494266" y="42529"/>
                  </a:lnTo>
                  <a:lnTo>
                    <a:pt x="494413" y="43822"/>
                  </a:lnTo>
                  <a:lnTo>
                    <a:pt x="496028" y="44973"/>
                  </a:lnTo>
                  <a:lnTo>
                    <a:pt x="498000" y="46772"/>
                  </a:lnTo>
                  <a:lnTo>
                    <a:pt x="498077" y="47358"/>
                  </a:lnTo>
                  <a:lnTo>
                    <a:pt x="498746" y="48164"/>
                  </a:lnTo>
                  <a:lnTo>
                    <a:pt x="499084" y="49152"/>
                  </a:lnTo>
                  <a:lnTo>
                    <a:pt x="497695" y="50136"/>
                  </a:lnTo>
                  <a:lnTo>
                    <a:pt x="495825" y="50324"/>
                  </a:lnTo>
                  <a:lnTo>
                    <a:pt x="494443" y="49395"/>
                  </a:lnTo>
                  <a:lnTo>
                    <a:pt x="493167" y="48241"/>
                  </a:lnTo>
                  <a:lnTo>
                    <a:pt x="492841" y="49676"/>
                  </a:lnTo>
                  <a:lnTo>
                    <a:pt x="491856" y="50497"/>
                  </a:lnTo>
                  <a:lnTo>
                    <a:pt x="488263" y="50258"/>
                  </a:lnTo>
                  <a:lnTo>
                    <a:pt x="485691" y="50265"/>
                  </a:lnTo>
                  <a:lnTo>
                    <a:pt x="483134" y="50627"/>
                  </a:lnTo>
                  <a:lnTo>
                    <a:pt x="484415" y="50848"/>
                  </a:lnTo>
                  <a:lnTo>
                    <a:pt x="485577" y="51305"/>
                  </a:lnTo>
                  <a:lnTo>
                    <a:pt x="489554" y="54967"/>
                  </a:lnTo>
                  <a:lnTo>
                    <a:pt x="490403" y="56322"/>
                  </a:lnTo>
                  <a:lnTo>
                    <a:pt x="489014" y="59019"/>
                  </a:lnTo>
                  <a:lnTo>
                    <a:pt x="489690" y="60121"/>
                  </a:lnTo>
                  <a:lnTo>
                    <a:pt x="491230" y="60753"/>
                  </a:lnTo>
                  <a:lnTo>
                    <a:pt x="493104" y="62095"/>
                  </a:lnTo>
                  <a:lnTo>
                    <a:pt x="494439" y="62230"/>
                  </a:lnTo>
                  <a:lnTo>
                    <a:pt x="495399" y="62985"/>
                  </a:lnTo>
                  <a:lnTo>
                    <a:pt x="495438" y="64301"/>
                  </a:lnTo>
                  <a:lnTo>
                    <a:pt x="496002" y="65498"/>
                  </a:lnTo>
                  <a:lnTo>
                    <a:pt x="494482" y="65974"/>
                  </a:lnTo>
                  <a:lnTo>
                    <a:pt x="495987" y="66292"/>
                  </a:lnTo>
                  <a:lnTo>
                    <a:pt x="497323" y="66904"/>
                  </a:lnTo>
                  <a:lnTo>
                    <a:pt x="496592" y="67524"/>
                  </a:lnTo>
                  <a:lnTo>
                    <a:pt x="496024" y="68276"/>
                  </a:lnTo>
                  <a:lnTo>
                    <a:pt x="496641" y="68682"/>
                  </a:lnTo>
                  <a:lnTo>
                    <a:pt x="498474" y="69376"/>
                  </a:lnTo>
                  <a:lnTo>
                    <a:pt x="499276" y="70013"/>
                  </a:lnTo>
                  <a:lnTo>
                    <a:pt x="499694" y="71736"/>
                  </a:lnTo>
                  <a:lnTo>
                    <a:pt x="501483" y="74550"/>
                  </a:lnTo>
                  <a:lnTo>
                    <a:pt x="504765" y="78181"/>
                  </a:lnTo>
                  <a:lnTo>
                    <a:pt x="505482" y="79504"/>
                  </a:lnTo>
                  <a:lnTo>
                    <a:pt x="505475" y="80723"/>
                  </a:lnTo>
                  <a:lnTo>
                    <a:pt x="504929" y="81770"/>
                  </a:lnTo>
                  <a:lnTo>
                    <a:pt x="503059" y="82997"/>
                  </a:lnTo>
                  <a:lnTo>
                    <a:pt x="501560" y="84611"/>
                  </a:lnTo>
                  <a:lnTo>
                    <a:pt x="501379" y="85194"/>
                  </a:lnTo>
                  <a:lnTo>
                    <a:pt x="499349" y="85941"/>
                  </a:lnTo>
                  <a:lnTo>
                    <a:pt x="500277" y="86491"/>
                  </a:lnTo>
                  <a:lnTo>
                    <a:pt x="501016" y="87234"/>
                  </a:lnTo>
                  <a:lnTo>
                    <a:pt x="502426" y="89482"/>
                  </a:lnTo>
                  <a:lnTo>
                    <a:pt x="505786" y="93130"/>
                  </a:lnTo>
                  <a:lnTo>
                    <a:pt x="507477" y="94491"/>
                  </a:lnTo>
                  <a:lnTo>
                    <a:pt x="514439" y="99442"/>
                  </a:lnTo>
                  <a:lnTo>
                    <a:pt x="518138" y="101598"/>
                  </a:lnTo>
                  <a:lnTo>
                    <a:pt x="522860" y="106533"/>
                  </a:lnTo>
                  <a:lnTo>
                    <a:pt x="525314" y="107673"/>
                  </a:lnTo>
                  <a:lnTo>
                    <a:pt x="525789" y="109047"/>
                  </a:lnTo>
                  <a:lnTo>
                    <a:pt x="523742" y="111154"/>
                  </a:lnTo>
                  <a:lnTo>
                    <a:pt x="520757" y="112208"/>
                  </a:lnTo>
                  <a:lnTo>
                    <a:pt x="515834" y="112776"/>
                  </a:lnTo>
                  <a:lnTo>
                    <a:pt x="510898" y="112034"/>
                  </a:lnTo>
                  <a:lnTo>
                    <a:pt x="508345" y="111431"/>
                  </a:lnTo>
                  <a:lnTo>
                    <a:pt x="506120" y="110219"/>
                  </a:lnTo>
                  <a:lnTo>
                    <a:pt x="504369" y="107786"/>
                  </a:lnTo>
                  <a:lnTo>
                    <a:pt x="502055" y="106470"/>
                  </a:lnTo>
                  <a:lnTo>
                    <a:pt x="502946" y="107945"/>
                  </a:lnTo>
                  <a:lnTo>
                    <a:pt x="503508" y="109452"/>
                  </a:lnTo>
                  <a:lnTo>
                    <a:pt x="503218" y="111095"/>
                  </a:lnTo>
                  <a:lnTo>
                    <a:pt x="502307" y="112382"/>
                  </a:lnTo>
                  <a:lnTo>
                    <a:pt x="500749" y="113326"/>
                  </a:lnTo>
                  <a:lnTo>
                    <a:pt x="499077" y="114092"/>
                  </a:lnTo>
                  <a:lnTo>
                    <a:pt x="498373" y="114631"/>
                  </a:lnTo>
                  <a:lnTo>
                    <a:pt x="494132" y="123224"/>
                  </a:lnTo>
                  <a:lnTo>
                    <a:pt x="493444" y="125549"/>
                  </a:lnTo>
                  <a:lnTo>
                    <a:pt x="492151" y="135199"/>
                  </a:lnTo>
                  <a:lnTo>
                    <a:pt x="492132" y="137924"/>
                  </a:lnTo>
                  <a:lnTo>
                    <a:pt x="494035" y="143024"/>
                  </a:lnTo>
                  <a:lnTo>
                    <a:pt x="494210" y="145698"/>
                  </a:lnTo>
                  <a:lnTo>
                    <a:pt x="494585" y="146853"/>
                  </a:lnTo>
                  <a:lnTo>
                    <a:pt x="494335" y="147812"/>
                  </a:lnTo>
                  <a:lnTo>
                    <a:pt x="493434" y="148382"/>
                  </a:lnTo>
                  <a:lnTo>
                    <a:pt x="489793" y="149941"/>
                  </a:lnTo>
                  <a:lnTo>
                    <a:pt x="487220" y="151235"/>
                  </a:lnTo>
                  <a:lnTo>
                    <a:pt x="485136" y="153077"/>
                  </a:lnTo>
                  <a:lnTo>
                    <a:pt x="483450" y="155370"/>
                  </a:lnTo>
                  <a:lnTo>
                    <a:pt x="481968" y="157029"/>
                  </a:lnTo>
                  <a:lnTo>
                    <a:pt x="479994" y="157824"/>
                  </a:lnTo>
                  <a:lnTo>
                    <a:pt x="478567" y="157705"/>
                  </a:lnTo>
                  <a:lnTo>
                    <a:pt x="477410" y="156943"/>
                  </a:lnTo>
                  <a:lnTo>
                    <a:pt x="476602" y="155470"/>
                  </a:lnTo>
                  <a:lnTo>
                    <a:pt x="476145" y="153856"/>
                  </a:lnTo>
                  <a:lnTo>
                    <a:pt x="475842" y="155049"/>
                  </a:lnTo>
                  <a:lnTo>
                    <a:pt x="475898" y="156212"/>
                  </a:lnTo>
                  <a:lnTo>
                    <a:pt x="476574" y="157459"/>
                  </a:lnTo>
                  <a:lnTo>
                    <a:pt x="476833" y="158774"/>
                  </a:lnTo>
                  <a:lnTo>
                    <a:pt x="476445" y="160117"/>
                  </a:lnTo>
                  <a:lnTo>
                    <a:pt x="475600" y="161188"/>
                  </a:lnTo>
                  <a:lnTo>
                    <a:pt x="473309" y="162357"/>
                  </a:lnTo>
                  <a:lnTo>
                    <a:pt x="472046" y="163359"/>
                  </a:lnTo>
                  <a:lnTo>
                    <a:pt x="471839" y="165111"/>
                  </a:lnTo>
                  <a:lnTo>
                    <a:pt x="471230" y="166104"/>
                  </a:lnTo>
                  <a:lnTo>
                    <a:pt x="470353" y="166873"/>
                  </a:lnTo>
                  <a:lnTo>
                    <a:pt x="467129" y="168636"/>
                  </a:lnTo>
                  <a:lnTo>
                    <a:pt x="466410" y="169340"/>
                  </a:lnTo>
                  <a:lnTo>
                    <a:pt x="465876" y="170236"/>
                  </a:lnTo>
                  <a:lnTo>
                    <a:pt x="467596" y="170098"/>
                  </a:lnTo>
                  <a:lnTo>
                    <a:pt x="469168" y="170236"/>
                  </a:lnTo>
                  <a:lnTo>
                    <a:pt x="469284" y="171991"/>
                  </a:lnTo>
                  <a:lnTo>
                    <a:pt x="469778" y="173295"/>
                  </a:lnTo>
                  <a:lnTo>
                    <a:pt x="469150" y="176157"/>
                  </a:lnTo>
                  <a:lnTo>
                    <a:pt x="466727" y="178089"/>
                  </a:lnTo>
                  <a:lnTo>
                    <a:pt x="467937" y="178495"/>
                  </a:lnTo>
                  <a:lnTo>
                    <a:pt x="469031" y="179126"/>
                  </a:lnTo>
                  <a:lnTo>
                    <a:pt x="471463" y="179595"/>
                  </a:lnTo>
                  <a:lnTo>
                    <a:pt x="472288" y="181625"/>
                  </a:lnTo>
                  <a:lnTo>
                    <a:pt x="471929" y="184084"/>
                  </a:lnTo>
                  <a:lnTo>
                    <a:pt x="471488" y="186290"/>
                  </a:lnTo>
                  <a:lnTo>
                    <a:pt x="469744" y="186904"/>
                  </a:lnTo>
                  <a:lnTo>
                    <a:pt x="468658" y="186495"/>
                  </a:lnTo>
                  <a:lnTo>
                    <a:pt x="467580" y="186534"/>
                  </a:lnTo>
                  <a:lnTo>
                    <a:pt x="466790" y="187204"/>
                  </a:lnTo>
                  <a:lnTo>
                    <a:pt x="466579" y="188343"/>
                  </a:lnTo>
                  <a:lnTo>
                    <a:pt x="468088" y="187783"/>
                  </a:lnTo>
                  <a:lnTo>
                    <a:pt x="468003" y="190634"/>
                  </a:lnTo>
                  <a:lnTo>
                    <a:pt x="467596" y="193419"/>
                  </a:lnTo>
                  <a:lnTo>
                    <a:pt x="467096" y="194955"/>
                  </a:lnTo>
                  <a:lnTo>
                    <a:pt x="466172" y="196209"/>
                  </a:lnTo>
                  <a:lnTo>
                    <a:pt x="464777" y="196611"/>
                  </a:lnTo>
                  <a:lnTo>
                    <a:pt x="463462" y="195673"/>
                  </a:lnTo>
                  <a:lnTo>
                    <a:pt x="463192" y="196762"/>
                  </a:lnTo>
                  <a:lnTo>
                    <a:pt x="463594" y="197681"/>
                  </a:lnTo>
                  <a:lnTo>
                    <a:pt x="465472" y="199918"/>
                  </a:lnTo>
                  <a:lnTo>
                    <a:pt x="464320" y="200409"/>
                  </a:lnTo>
                  <a:lnTo>
                    <a:pt x="463480" y="201171"/>
                  </a:lnTo>
                  <a:lnTo>
                    <a:pt x="463102" y="202282"/>
                  </a:lnTo>
                  <a:lnTo>
                    <a:pt x="461056" y="204829"/>
                  </a:lnTo>
                  <a:lnTo>
                    <a:pt x="460154" y="206701"/>
                  </a:lnTo>
                  <a:lnTo>
                    <a:pt x="459772" y="208705"/>
                  </a:lnTo>
                  <a:lnTo>
                    <a:pt x="458816" y="210292"/>
                  </a:lnTo>
                  <a:lnTo>
                    <a:pt x="443382" y="217197"/>
                  </a:lnTo>
                  <a:lnTo>
                    <a:pt x="430897" y="223019"/>
                  </a:lnTo>
                  <a:lnTo>
                    <a:pt x="429989" y="222623"/>
                  </a:lnTo>
                  <a:lnTo>
                    <a:pt x="429387" y="221734"/>
                  </a:lnTo>
                  <a:lnTo>
                    <a:pt x="428959" y="212690"/>
                  </a:lnTo>
                  <a:lnTo>
                    <a:pt x="427416" y="208065"/>
                  </a:lnTo>
                  <a:lnTo>
                    <a:pt x="427183" y="205458"/>
                  </a:lnTo>
                  <a:lnTo>
                    <a:pt x="425423" y="207786"/>
                  </a:lnTo>
                  <a:lnTo>
                    <a:pt x="424343" y="207551"/>
                  </a:lnTo>
                  <a:lnTo>
                    <a:pt x="423175" y="206959"/>
                  </a:lnTo>
                  <a:lnTo>
                    <a:pt x="422296" y="206197"/>
                  </a:lnTo>
                  <a:lnTo>
                    <a:pt x="422231" y="205194"/>
                  </a:lnTo>
                  <a:lnTo>
                    <a:pt x="423175" y="202326"/>
                  </a:lnTo>
                  <a:lnTo>
                    <a:pt x="422033" y="203899"/>
                  </a:lnTo>
                  <a:lnTo>
                    <a:pt x="420786" y="205114"/>
                  </a:lnTo>
                  <a:lnTo>
                    <a:pt x="419495" y="204965"/>
                  </a:lnTo>
                  <a:lnTo>
                    <a:pt x="418383" y="204364"/>
                  </a:lnTo>
                  <a:lnTo>
                    <a:pt x="417971" y="203432"/>
                  </a:lnTo>
                  <a:lnTo>
                    <a:pt x="417379" y="203294"/>
                  </a:lnTo>
                  <a:lnTo>
                    <a:pt x="414649" y="205849"/>
                  </a:lnTo>
                  <a:lnTo>
                    <a:pt x="411046" y="207220"/>
                  </a:lnTo>
                  <a:lnTo>
                    <a:pt x="409040" y="207198"/>
                  </a:lnTo>
                  <a:lnTo>
                    <a:pt x="407458" y="206416"/>
                  </a:lnTo>
                  <a:lnTo>
                    <a:pt x="407540" y="204470"/>
                  </a:lnTo>
                  <a:lnTo>
                    <a:pt x="407381" y="202568"/>
                  </a:lnTo>
                  <a:lnTo>
                    <a:pt x="406938" y="201452"/>
                  </a:lnTo>
                  <a:lnTo>
                    <a:pt x="405971" y="201055"/>
                  </a:lnTo>
                  <a:lnTo>
                    <a:pt x="405079" y="201195"/>
                  </a:lnTo>
                  <a:lnTo>
                    <a:pt x="402492" y="202187"/>
                  </a:lnTo>
                  <a:lnTo>
                    <a:pt x="401568" y="202071"/>
                  </a:lnTo>
                  <a:lnTo>
                    <a:pt x="401037" y="202577"/>
                  </a:lnTo>
                  <a:lnTo>
                    <a:pt x="394200" y="195649"/>
                  </a:lnTo>
                  <a:lnTo>
                    <a:pt x="392818" y="201262"/>
                  </a:lnTo>
                  <a:lnTo>
                    <a:pt x="388097" y="204252"/>
                  </a:lnTo>
                  <a:lnTo>
                    <a:pt x="384610" y="205985"/>
                  </a:lnTo>
                  <a:lnTo>
                    <a:pt x="381153" y="205335"/>
                  </a:lnTo>
                  <a:lnTo>
                    <a:pt x="377638" y="204226"/>
                  </a:lnTo>
                  <a:lnTo>
                    <a:pt x="374137" y="205564"/>
                  </a:lnTo>
                  <a:lnTo>
                    <a:pt x="370339" y="208846"/>
                  </a:lnTo>
                  <a:lnTo>
                    <a:pt x="369289" y="209352"/>
                  </a:lnTo>
                  <a:lnTo>
                    <a:pt x="368199" y="209337"/>
                  </a:lnTo>
                  <a:lnTo>
                    <a:pt x="367402" y="208908"/>
                  </a:lnTo>
                  <a:lnTo>
                    <a:pt x="367674" y="206420"/>
                  </a:lnTo>
                  <a:lnTo>
                    <a:pt x="367709" y="203932"/>
                  </a:lnTo>
                  <a:lnTo>
                    <a:pt x="367423" y="198387"/>
                  </a:lnTo>
                  <a:lnTo>
                    <a:pt x="367121" y="197298"/>
                  </a:lnTo>
                  <a:lnTo>
                    <a:pt x="366033" y="195775"/>
                  </a:lnTo>
                  <a:lnTo>
                    <a:pt x="364586" y="194674"/>
                  </a:lnTo>
                  <a:lnTo>
                    <a:pt x="363781" y="195479"/>
                  </a:lnTo>
                  <a:lnTo>
                    <a:pt x="363055" y="196579"/>
                  </a:lnTo>
                  <a:lnTo>
                    <a:pt x="360168" y="196531"/>
                  </a:lnTo>
                  <a:lnTo>
                    <a:pt x="357352" y="195653"/>
                  </a:lnTo>
                  <a:lnTo>
                    <a:pt x="354955" y="196157"/>
                  </a:lnTo>
                  <a:lnTo>
                    <a:pt x="350204" y="198355"/>
                  </a:lnTo>
                  <a:lnTo>
                    <a:pt x="347678" y="198694"/>
                  </a:lnTo>
                  <a:lnTo>
                    <a:pt x="346322" y="198199"/>
                  </a:lnTo>
                  <a:lnTo>
                    <a:pt x="345458" y="197013"/>
                  </a:lnTo>
                  <a:lnTo>
                    <a:pt x="345953" y="195930"/>
                  </a:lnTo>
                  <a:lnTo>
                    <a:pt x="346998" y="195098"/>
                  </a:lnTo>
                  <a:lnTo>
                    <a:pt x="345048" y="195760"/>
                  </a:lnTo>
                  <a:lnTo>
                    <a:pt x="343383" y="196870"/>
                  </a:lnTo>
                  <a:lnTo>
                    <a:pt x="342660" y="197584"/>
                  </a:lnTo>
                  <a:lnTo>
                    <a:pt x="341887" y="197227"/>
                  </a:lnTo>
                  <a:lnTo>
                    <a:pt x="339805" y="194718"/>
                  </a:lnTo>
                  <a:lnTo>
                    <a:pt x="335460" y="195656"/>
                  </a:lnTo>
                  <a:lnTo>
                    <a:pt x="334873" y="195943"/>
                  </a:lnTo>
                  <a:lnTo>
                    <a:pt x="333801" y="196797"/>
                  </a:lnTo>
                  <a:lnTo>
                    <a:pt x="332774" y="196371"/>
                  </a:lnTo>
                  <a:lnTo>
                    <a:pt x="332256" y="195463"/>
                  </a:lnTo>
                  <a:lnTo>
                    <a:pt x="332072" y="190231"/>
                  </a:lnTo>
                  <a:lnTo>
                    <a:pt x="329863" y="180169"/>
                  </a:lnTo>
                  <a:lnTo>
                    <a:pt x="329247" y="175026"/>
                  </a:lnTo>
                  <a:lnTo>
                    <a:pt x="328771" y="173809"/>
                  </a:lnTo>
                  <a:lnTo>
                    <a:pt x="326224" y="171960"/>
                  </a:lnTo>
                  <a:lnTo>
                    <a:pt x="326311" y="169308"/>
                  </a:lnTo>
                  <a:lnTo>
                    <a:pt x="327631" y="167089"/>
                  </a:lnTo>
                  <a:lnTo>
                    <a:pt x="327911" y="164504"/>
                  </a:lnTo>
                  <a:lnTo>
                    <a:pt x="327538" y="161698"/>
                  </a:lnTo>
                  <a:lnTo>
                    <a:pt x="326743" y="158955"/>
                  </a:lnTo>
                  <a:lnTo>
                    <a:pt x="325743" y="156884"/>
                  </a:lnTo>
                  <a:lnTo>
                    <a:pt x="324314" y="155113"/>
                  </a:lnTo>
                  <a:lnTo>
                    <a:pt x="322411" y="153128"/>
                  </a:lnTo>
                  <a:lnTo>
                    <a:pt x="320074" y="151645"/>
                  </a:lnTo>
                  <a:lnTo>
                    <a:pt x="315034" y="149976"/>
                  </a:lnTo>
                  <a:lnTo>
                    <a:pt x="312374" y="150122"/>
                  </a:lnTo>
                  <a:lnTo>
                    <a:pt x="311387" y="149468"/>
                  </a:lnTo>
                  <a:lnTo>
                    <a:pt x="310722" y="148619"/>
                  </a:lnTo>
                  <a:lnTo>
                    <a:pt x="310993" y="146952"/>
                  </a:lnTo>
                  <a:lnTo>
                    <a:pt x="311893" y="145806"/>
                  </a:lnTo>
                  <a:lnTo>
                    <a:pt x="313100" y="145523"/>
                  </a:lnTo>
                  <a:lnTo>
                    <a:pt x="313242" y="144877"/>
                  </a:lnTo>
                  <a:lnTo>
                    <a:pt x="310683" y="143534"/>
                  </a:lnTo>
                  <a:lnTo>
                    <a:pt x="308550" y="141709"/>
                  </a:lnTo>
                  <a:lnTo>
                    <a:pt x="307881" y="140614"/>
                  </a:lnTo>
                  <a:lnTo>
                    <a:pt x="307677" y="139409"/>
                  </a:lnTo>
                  <a:lnTo>
                    <a:pt x="307693" y="136626"/>
                  </a:lnTo>
                  <a:lnTo>
                    <a:pt x="308308" y="134868"/>
                  </a:lnTo>
                  <a:lnTo>
                    <a:pt x="308643" y="133916"/>
                  </a:lnTo>
                  <a:lnTo>
                    <a:pt x="309304" y="130974"/>
                  </a:lnTo>
                  <a:lnTo>
                    <a:pt x="310694" y="130076"/>
                  </a:lnTo>
                  <a:lnTo>
                    <a:pt x="310468" y="129532"/>
                  </a:lnTo>
                  <a:lnTo>
                    <a:pt x="309870" y="129133"/>
                  </a:lnTo>
                  <a:lnTo>
                    <a:pt x="308997" y="128168"/>
                  </a:lnTo>
                  <a:lnTo>
                    <a:pt x="308284" y="127058"/>
                  </a:lnTo>
                  <a:lnTo>
                    <a:pt x="306654" y="125175"/>
                  </a:lnTo>
                  <a:lnTo>
                    <a:pt x="303774" y="122901"/>
                  </a:lnTo>
                  <a:lnTo>
                    <a:pt x="303292" y="118984"/>
                  </a:lnTo>
                  <a:lnTo>
                    <a:pt x="302919" y="113209"/>
                  </a:lnTo>
                  <a:lnTo>
                    <a:pt x="303160" y="110584"/>
                  </a:lnTo>
                  <a:lnTo>
                    <a:pt x="304085" y="105676"/>
                  </a:lnTo>
                  <a:lnTo>
                    <a:pt x="305682" y="104130"/>
                  </a:lnTo>
                  <a:lnTo>
                    <a:pt x="306957" y="103700"/>
                  </a:lnTo>
                  <a:lnTo>
                    <a:pt x="307908" y="103039"/>
                  </a:lnTo>
                  <a:lnTo>
                    <a:pt x="307125" y="102944"/>
                  </a:lnTo>
                  <a:lnTo>
                    <a:pt x="306447" y="103186"/>
                  </a:lnTo>
                  <a:lnTo>
                    <a:pt x="305226" y="103353"/>
                  </a:lnTo>
                  <a:lnTo>
                    <a:pt x="306226" y="98955"/>
                  </a:lnTo>
                  <a:lnTo>
                    <a:pt x="306678" y="97685"/>
                  </a:lnTo>
                  <a:lnTo>
                    <a:pt x="308686" y="95226"/>
                  </a:lnTo>
                  <a:lnTo>
                    <a:pt x="311040" y="93050"/>
                  </a:lnTo>
                  <a:lnTo>
                    <a:pt x="312035" y="90493"/>
                  </a:lnTo>
                  <a:lnTo>
                    <a:pt x="313370" y="88245"/>
                  </a:lnTo>
                  <a:lnTo>
                    <a:pt x="318906" y="85926"/>
                  </a:lnTo>
                  <a:lnTo>
                    <a:pt x="316917" y="88832"/>
                  </a:lnTo>
                  <a:lnTo>
                    <a:pt x="317138" y="89890"/>
                  </a:lnTo>
                  <a:lnTo>
                    <a:pt x="317622" y="90820"/>
                  </a:lnTo>
                  <a:lnTo>
                    <a:pt x="319060" y="91476"/>
                  </a:lnTo>
                  <a:lnTo>
                    <a:pt x="319461" y="95054"/>
                  </a:lnTo>
                  <a:lnTo>
                    <a:pt x="321269" y="97087"/>
                  </a:lnTo>
                  <a:lnTo>
                    <a:pt x="323089" y="98945"/>
                  </a:lnTo>
                  <a:lnTo>
                    <a:pt x="324426" y="99854"/>
                  </a:lnTo>
                  <a:lnTo>
                    <a:pt x="325894" y="101177"/>
                  </a:lnTo>
                  <a:lnTo>
                    <a:pt x="326928" y="102403"/>
                  </a:lnTo>
                  <a:lnTo>
                    <a:pt x="328015" y="103439"/>
                  </a:lnTo>
                  <a:lnTo>
                    <a:pt x="329650" y="104448"/>
                  </a:lnTo>
                  <a:lnTo>
                    <a:pt x="334083" y="108741"/>
                  </a:lnTo>
                  <a:lnTo>
                    <a:pt x="335935" y="110000"/>
                  </a:lnTo>
                  <a:lnTo>
                    <a:pt x="337315" y="111260"/>
                  </a:lnTo>
                  <a:lnTo>
                    <a:pt x="338296" y="111705"/>
                  </a:lnTo>
                  <a:lnTo>
                    <a:pt x="340706" y="111348"/>
                  </a:lnTo>
                  <a:lnTo>
                    <a:pt x="347856" y="108269"/>
                  </a:lnTo>
                  <a:lnTo>
                    <a:pt x="349138" y="108069"/>
                  </a:lnTo>
                  <a:lnTo>
                    <a:pt x="351466" y="107535"/>
                  </a:lnTo>
                  <a:lnTo>
                    <a:pt x="355564" y="107697"/>
                  </a:lnTo>
                  <a:lnTo>
                    <a:pt x="359909" y="108746"/>
                  </a:lnTo>
                  <a:lnTo>
                    <a:pt x="361312" y="108778"/>
                  </a:lnTo>
                  <a:lnTo>
                    <a:pt x="362656" y="108153"/>
                  </a:lnTo>
                  <a:lnTo>
                    <a:pt x="364510" y="108338"/>
                  </a:lnTo>
                  <a:lnTo>
                    <a:pt x="366244" y="108664"/>
                  </a:lnTo>
                  <a:lnTo>
                    <a:pt x="367113" y="108394"/>
                  </a:lnTo>
                  <a:lnTo>
                    <a:pt x="369636" y="106147"/>
                  </a:lnTo>
                  <a:lnTo>
                    <a:pt x="373073" y="105482"/>
                  </a:lnTo>
                  <a:lnTo>
                    <a:pt x="374180" y="103265"/>
                  </a:lnTo>
                  <a:lnTo>
                    <a:pt x="375038" y="101174"/>
                  </a:lnTo>
                  <a:lnTo>
                    <a:pt x="375444" y="98942"/>
                  </a:lnTo>
                  <a:lnTo>
                    <a:pt x="376879" y="98045"/>
                  </a:lnTo>
                  <a:lnTo>
                    <a:pt x="378890" y="97269"/>
                  </a:lnTo>
                  <a:lnTo>
                    <a:pt x="381866" y="96288"/>
                  </a:lnTo>
                  <a:lnTo>
                    <a:pt x="392188" y="96113"/>
                  </a:lnTo>
                  <a:lnTo>
                    <a:pt x="393189" y="96543"/>
                  </a:lnTo>
                  <a:lnTo>
                    <a:pt x="393406" y="97678"/>
                  </a:lnTo>
                  <a:lnTo>
                    <a:pt x="393189" y="98543"/>
                  </a:lnTo>
                  <a:lnTo>
                    <a:pt x="393593" y="99057"/>
                  </a:lnTo>
                  <a:lnTo>
                    <a:pt x="394967" y="99103"/>
                  </a:lnTo>
                  <a:lnTo>
                    <a:pt x="396240" y="99627"/>
                  </a:lnTo>
                  <a:lnTo>
                    <a:pt x="401386" y="101418"/>
                  </a:lnTo>
                  <a:lnTo>
                    <a:pt x="403580" y="101970"/>
                  </a:lnTo>
                  <a:lnTo>
                    <a:pt x="404796" y="101832"/>
                  </a:lnTo>
                  <a:lnTo>
                    <a:pt x="407208" y="103435"/>
                  </a:lnTo>
                  <a:lnTo>
                    <a:pt x="408521" y="102889"/>
                  </a:lnTo>
                  <a:lnTo>
                    <a:pt x="410261" y="101766"/>
                  </a:lnTo>
                  <a:lnTo>
                    <a:pt x="411918" y="100251"/>
                  </a:lnTo>
                  <a:lnTo>
                    <a:pt x="413401" y="99048"/>
                  </a:lnTo>
                  <a:lnTo>
                    <a:pt x="415561" y="98584"/>
                  </a:lnTo>
                  <a:lnTo>
                    <a:pt x="418346" y="98649"/>
                  </a:lnTo>
                  <a:lnTo>
                    <a:pt x="421635" y="98238"/>
                  </a:lnTo>
                  <a:lnTo>
                    <a:pt x="424121" y="97593"/>
                  </a:lnTo>
                  <a:lnTo>
                    <a:pt x="426893" y="98656"/>
                  </a:lnTo>
                  <a:lnTo>
                    <a:pt x="427631" y="98321"/>
                  </a:lnTo>
                  <a:lnTo>
                    <a:pt x="428109" y="97281"/>
                  </a:lnTo>
                  <a:lnTo>
                    <a:pt x="429541" y="95006"/>
                  </a:lnTo>
                  <a:lnTo>
                    <a:pt x="430175" y="93475"/>
                  </a:lnTo>
                  <a:lnTo>
                    <a:pt x="430733" y="90538"/>
                  </a:lnTo>
                  <a:lnTo>
                    <a:pt x="431117" y="89836"/>
                  </a:lnTo>
                  <a:lnTo>
                    <a:pt x="432168" y="89433"/>
                  </a:lnTo>
                  <a:lnTo>
                    <a:pt x="433250" y="88881"/>
                  </a:lnTo>
                  <a:lnTo>
                    <a:pt x="433531" y="88000"/>
                  </a:lnTo>
                  <a:lnTo>
                    <a:pt x="433926" y="86977"/>
                  </a:lnTo>
                  <a:lnTo>
                    <a:pt x="433600" y="86116"/>
                  </a:lnTo>
                  <a:lnTo>
                    <a:pt x="432985" y="85393"/>
                  </a:lnTo>
                  <a:lnTo>
                    <a:pt x="432337" y="82943"/>
                  </a:lnTo>
                  <a:lnTo>
                    <a:pt x="432550" y="81825"/>
                  </a:lnTo>
                  <a:lnTo>
                    <a:pt x="432950" y="80994"/>
                  </a:lnTo>
                  <a:lnTo>
                    <a:pt x="434053" y="80576"/>
                  </a:lnTo>
                  <a:lnTo>
                    <a:pt x="436991" y="78774"/>
                  </a:lnTo>
                  <a:lnTo>
                    <a:pt x="439586" y="76665"/>
                  </a:lnTo>
                  <a:lnTo>
                    <a:pt x="441007" y="75630"/>
                  </a:lnTo>
                  <a:lnTo>
                    <a:pt x="441633" y="74961"/>
                  </a:lnTo>
                  <a:lnTo>
                    <a:pt x="441672" y="73994"/>
                  </a:lnTo>
                  <a:lnTo>
                    <a:pt x="440545" y="72987"/>
                  </a:lnTo>
                  <a:lnTo>
                    <a:pt x="439459" y="72504"/>
                  </a:lnTo>
                  <a:lnTo>
                    <a:pt x="439376" y="71336"/>
                  </a:lnTo>
                  <a:lnTo>
                    <a:pt x="439417" y="70530"/>
                  </a:lnTo>
                  <a:lnTo>
                    <a:pt x="439743" y="69769"/>
                  </a:lnTo>
                  <a:lnTo>
                    <a:pt x="439586" y="69030"/>
                  </a:lnTo>
                  <a:lnTo>
                    <a:pt x="439582" y="67926"/>
                  </a:lnTo>
                  <a:lnTo>
                    <a:pt x="440272" y="66736"/>
                  </a:lnTo>
                  <a:lnTo>
                    <a:pt x="441872" y="64975"/>
                  </a:lnTo>
                  <a:lnTo>
                    <a:pt x="443134" y="63836"/>
                  </a:lnTo>
                  <a:lnTo>
                    <a:pt x="444531" y="64544"/>
                  </a:lnTo>
                  <a:lnTo>
                    <a:pt x="446167" y="64216"/>
                  </a:lnTo>
                  <a:lnTo>
                    <a:pt x="447720" y="63650"/>
                  </a:lnTo>
                  <a:lnTo>
                    <a:pt x="448577" y="61574"/>
                  </a:lnTo>
                  <a:lnTo>
                    <a:pt x="448709" y="60578"/>
                  </a:lnTo>
                  <a:lnTo>
                    <a:pt x="448502" y="59792"/>
                  </a:lnTo>
                  <a:lnTo>
                    <a:pt x="449044" y="56831"/>
                  </a:lnTo>
                  <a:lnTo>
                    <a:pt x="449169" y="56404"/>
                  </a:lnTo>
                  <a:lnTo>
                    <a:pt x="450190" y="54543"/>
                  </a:lnTo>
                  <a:lnTo>
                    <a:pt x="450292" y="53291"/>
                  </a:lnTo>
                  <a:lnTo>
                    <a:pt x="449714" y="50382"/>
                  </a:lnTo>
                  <a:lnTo>
                    <a:pt x="450077" y="48182"/>
                  </a:lnTo>
                  <a:lnTo>
                    <a:pt x="450242" y="43627"/>
                  </a:lnTo>
                  <a:lnTo>
                    <a:pt x="450853" y="42813"/>
                  </a:lnTo>
                  <a:lnTo>
                    <a:pt x="451549" y="40455"/>
                  </a:lnTo>
                  <a:lnTo>
                    <a:pt x="452683" y="37996"/>
                  </a:lnTo>
                  <a:lnTo>
                    <a:pt x="454974" y="36650"/>
                  </a:lnTo>
                  <a:lnTo>
                    <a:pt x="456176" y="34888"/>
                  </a:lnTo>
                  <a:lnTo>
                    <a:pt x="456706" y="34562"/>
                  </a:lnTo>
                  <a:lnTo>
                    <a:pt x="457489" y="34548"/>
                  </a:lnTo>
                  <a:lnTo>
                    <a:pt x="460262" y="35833"/>
                  </a:lnTo>
                  <a:lnTo>
                    <a:pt x="462758" y="34404"/>
                  </a:lnTo>
                  <a:lnTo>
                    <a:pt x="465008" y="34240"/>
                  </a:lnTo>
                  <a:lnTo>
                    <a:pt x="466868" y="34436"/>
                  </a:lnTo>
                  <a:lnTo>
                    <a:pt x="467915" y="35020"/>
                  </a:lnTo>
                  <a:lnTo>
                    <a:pt x="468951" y="35444"/>
                  </a:lnTo>
                  <a:close/>
                  <a:moveTo>
                    <a:pt x="697652" y="30134"/>
                  </a:moveTo>
                  <a:lnTo>
                    <a:pt x="698872" y="30371"/>
                  </a:lnTo>
                  <a:lnTo>
                    <a:pt x="700036" y="31642"/>
                  </a:lnTo>
                  <a:lnTo>
                    <a:pt x="700513" y="34020"/>
                  </a:lnTo>
                  <a:lnTo>
                    <a:pt x="701274" y="35825"/>
                  </a:lnTo>
                  <a:lnTo>
                    <a:pt x="699649" y="38285"/>
                  </a:lnTo>
                  <a:lnTo>
                    <a:pt x="698963" y="41529"/>
                  </a:lnTo>
                  <a:lnTo>
                    <a:pt x="698071" y="41992"/>
                  </a:lnTo>
                  <a:lnTo>
                    <a:pt x="696633" y="41822"/>
                  </a:lnTo>
                  <a:lnTo>
                    <a:pt x="696484" y="40699"/>
                  </a:lnTo>
                  <a:lnTo>
                    <a:pt x="697935" y="38678"/>
                  </a:lnTo>
                  <a:lnTo>
                    <a:pt x="698896" y="36545"/>
                  </a:lnTo>
                  <a:lnTo>
                    <a:pt x="697872" y="36012"/>
                  </a:lnTo>
                  <a:lnTo>
                    <a:pt x="696872" y="34647"/>
                  </a:lnTo>
                  <a:lnTo>
                    <a:pt x="696837" y="33060"/>
                  </a:lnTo>
                  <a:close/>
                  <a:moveTo>
                    <a:pt x="4189" y="6172"/>
                  </a:moveTo>
                  <a:lnTo>
                    <a:pt x="6863" y="6265"/>
                  </a:lnTo>
                  <a:lnTo>
                    <a:pt x="9337" y="6610"/>
                  </a:lnTo>
                  <a:lnTo>
                    <a:pt x="11734" y="7270"/>
                  </a:lnTo>
                  <a:lnTo>
                    <a:pt x="14033" y="8707"/>
                  </a:lnTo>
                  <a:lnTo>
                    <a:pt x="18147" y="12329"/>
                  </a:lnTo>
                  <a:lnTo>
                    <a:pt x="20490" y="13590"/>
                  </a:lnTo>
                  <a:lnTo>
                    <a:pt x="23090" y="14196"/>
                  </a:lnTo>
                  <a:lnTo>
                    <a:pt x="28435" y="15030"/>
                  </a:lnTo>
                  <a:lnTo>
                    <a:pt x="31147" y="15233"/>
                  </a:lnTo>
                  <a:lnTo>
                    <a:pt x="36176" y="14030"/>
                  </a:lnTo>
                  <a:lnTo>
                    <a:pt x="38942" y="14148"/>
                  </a:lnTo>
                  <a:lnTo>
                    <a:pt x="41550" y="15018"/>
                  </a:lnTo>
                  <a:lnTo>
                    <a:pt x="43866" y="15519"/>
                  </a:lnTo>
                  <a:lnTo>
                    <a:pt x="49631" y="14882"/>
                  </a:lnTo>
                  <a:lnTo>
                    <a:pt x="50715" y="15053"/>
                  </a:lnTo>
                  <a:lnTo>
                    <a:pt x="51754" y="15551"/>
                  </a:lnTo>
                  <a:lnTo>
                    <a:pt x="52646" y="16338"/>
                  </a:lnTo>
                  <a:lnTo>
                    <a:pt x="55282" y="19225"/>
                  </a:lnTo>
                  <a:lnTo>
                    <a:pt x="59741" y="22775"/>
                  </a:lnTo>
                  <a:lnTo>
                    <a:pt x="61028" y="25046"/>
                  </a:lnTo>
                  <a:lnTo>
                    <a:pt x="61762" y="27600"/>
                  </a:lnTo>
                  <a:lnTo>
                    <a:pt x="62225" y="28199"/>
                  </a:lnTo>
                  <a:lnTo>
                    <a:pt x="67260" y="33089"/>
                  </a:lnTo>
                  <a:lnTo>
                    <a:pt x="67811" y="35132"/>
                  </a:lnTo>
                  <a:lnTo>
                    <a:pt x="67101" y="37962"/>
                  </a:lnTo>
                  <a:lnTo>
                    <a:pt x="68563" y="40214"/>
                  </a:lnTo>
                  <a:lnTo>
                    <a:pt x="73449" y="42325"/>
                  </a:lnTo>
                  <a:lnTo>
                    <a:pt x="76332" y="43863"/>
                  </a:lnTo>
                  <a:lnTo>
                    <a:pt x="76947" y="44806"/>
                  </a:lnTo>
                  <a:lnTo>
                    <a:pt x="77373" y="45930"/>
                  </a:lnTo>
                  <a:lnTo>
                    <a:pt x="78968" y="47598"/>
                  </a:lnTo>
                  <a:lnTo>
                    <a:pt x="80974" y="48685"/>
                  </a:lnTo>
                  <a:lnTo>
                    <a:pt x="87222" y="51543"/>
                  </a:lnTo>
                  <a:lnTo>
                    <a:pt x="95410" y="57522"/>
                  </a:lnTo>
                  <a:lnTo>
                    <a:pt x="100072" y="60358"/>
                  </a:lnTo>
                  <a:lnTo>
                    <a:pt x="103926" y="64671"/>
                  </a:lnTo>
                  <a:lnTo>
                    <a:pt x="105315" y="66735"/>
                  </a:lnTo>
                  <a:lnTo>
                    <a:pt x="106462" y="68963"/>
                  </a:lnTo>
                  <a:lnTo>
                    <a:pt x="108804" y="72208"/>
                  </a:lnTo>
                  <a:lnTo>
                    <a:pt x="112785" y="76213"/>
                  </a:lnTo>
                  <a:lnTo>
                    <a:pt x="113791" y="77432"/>
                  </a:lnTo>
                  <a:lnTo>
                    <a:pt x="114862" y="79198"/>
                  </a:lnTo>
                  <a:lnTo>
                    <a:pt x="116097" y="80841"/>
                  </a:lnTo>
                  <a:lnTo>
                    <a:pt x="117574" y="82351"/>
                  </a:lnTo>
                  <a:lnTo>
                    <a:pt x="119338" y="83506"/>
                  </a:lnTo>
                  <a:lnTo>
                    <a:pt x="121144" y="83879"/>
                  </a:lnTo>
                  <a:lnTo>
                    <a:pt x="124052" y="86773"/>
                  </a:lnTo>
                  <a:lnTo>
                    <a:pt x="125624" y="87680"/>
                  </a:lnTo>
                  <a:lnTo>
                    <a:pt x="125376" y="85416"/>
                  </a:lnTo>
                  <a:lnTo>
                    <a:pt x="124055" y="83434"/>
                  </a:lnTo>
                  <a:lnTo>
                    <a:pt x="124074" y="82239"/>
                  </a:lnTo>
                  <a:lnTo>
                    <a:pt x="124305" y="81169"/>
                  </a:lnTo>
                  <a:lnTo>
                    <a:pt x="125385" y="80268"/>
                  </a:lnTo>
                  <a:lnTo>
                    <a:pt x="126686" y="80015"/>
                  </a:lnTo>
                  <a:lnTo>
                    <a:pt x="129125" y="80839"/>
                  </a:lnTo>
                  <a:lnTo>
                    <a:pt x="133083" y="84273"/>
                  </a:lnTo>
                  <a:lnTo>
                    <a:pt x="134754" y="86274"/>
                  </a:lnTo>
                  <a:lnTo>
                    <a:pt x="136011" y="89035"/>
                  </a:lnTo>
                  <a:lnTo>
                    <a:pt x="137060" y="91901"/>
                  </a:lnTo>
                  <a:lnTo>
                    <a:pt x="138643" y="93324"/>
                  </a:lnTo>
                  <a:lnTo>
                    <a:pt x="140817" y="93822"/>
                  </a:lnTo>
                  <a:lnTo>
                    <a:pt x="143234" y="94029"/>
                  </a:lnTo>
                  <a:lnTo>
                    <a:pt x="145456" y="94910"/>
                  </a:lnTo>
                  <a:lnTo>
                    <a:pt x="150656" y="98874"/>
                  </a:lnTo>
                  <a:lnTo>
                    <a:pt x="152383" y="100737"/>
                  </a:lnTo>
                  <a:lnTo>
                    <a:pt x="153692" y="102927"/>
                  </a:lnTo>
                  <a:lnTo>
                    <a:pt x="154592" y="105519"/>
                  </a:lnTo>
                  <a:lnTo>
                    <a:pt x="155154" y="108239"/>
                  </a:lnTo>
                  <a:lnTo>
                    <a:pt x="155501" y="108866"/>
                  </a:lnTo>
                  <a:lnTo>
                    <a:pt x="158838" y="112146"/>
                  </a:lnTo>
                  <a:lnTo>
                    <a:pt x="160591" y="113533"/>
                  </a:lnTo>
                  <a:lnTo>
                    <a:pt x="162740" y="114207"/>
                  </a:lnTo>
                  <a:lnTo>
                    <a:pt x="168998" y="114944"/>
                  </a:lnTo>
                  <a:lnTo>
                    <a:pt x="171207" y="116078"/>
                  </a:lnTo>
                  <a:lnTo>
                    <a:pt x="173031" y="117964"/>
                  </a:lnTo>
                  <a:lnTo>
                    <a:pt x="173798" y="119886"/>
                  </a:lnTo>
                  <a:lnTo>
                    <a:pt x="172493" y="121581"/>
                  </a:lnTo>
                  <a:lnTo>
                    <a:pt x="167602" y="124181"/>
                  </a:lnTo>
                  <a:lnTo>
                    <a:pt x="162377" y="125979"/>
                  </a:lnTo>
                  <a:lnTo>
                    <a:pt x="167453" y="125359"/>
                  </a:lnTo>
                  <a:lnTo>
                    <a:pt x="170025" y="124605"/>
                  </a:lnTo>
                  <a:lnTo>
                    <a:pt x="172390" y="123424"/>
                  </a:lnTo>
                  <a:lnTo>
                    <a:pt x="174731" y="121925"/>
                  </a:lnTo>
                  <a:lnTo>
                    <a:pt x="178443" y="119830"/>
                  </a:lnTo>
                  <a:lnTo>
                    <a:pt x="179822" y="119406"/>
                  </a:lnTo>
                  <a:lnTo>
                    <a:pt x="181444" y="119556"/>
                  </a:lnTo>
                  <a:lnTo>
                    <a:pt x="182917" y="120148"/>
                  </a:lnTo>
                  <a:lnTo>
                    <a:pt x="185124" y="122206"/>
                  </a:lnTo>
                  <a:lnTo>
                    <a:pt x="187201" y="124377"/>
                  </a:lnTo>
                  <a:lnTo>
                    <a:pt x="188751" y="126909"/>
                  </a:lnTo>
                  <a:lnTo>
                    <a:pt x="189723" y="129726"/>
                  </a:lnTo>
                  <a:lnTo>
                    <a:pt x="187948" y="131198"/>
                  </a:lnTo>
                  <a:lnTo>
                    <a:pt x="185362" y="132286"/>
                  </a:lnTo>
                  <a:lnTo>
                    <a:pt x="181803" y="135006"/>
                  </a:lnTo>
                  <a:lnTo>
                    <a:pt x="181429" y="136082"/>
                  </a:lnTo>
                  <a:lnTo>
                    <a:pt x="182155" y="136772"/>
                  </a:lnTo>
                  <a:lnTo>
                    <a:pt x="181287" y="138774"/>
                  </a:lnTo>
                  <a:lnTo>
                    <a:pt x="183282" y="140010"/>
                  </a:lnTo>
                  <a:lnTo>
                    <a:pt x="183587" y="141059"/>
                  </a:lnTo>
                  <a:lnTo>
                    <a:pt x="181861" y="142564"/>
                  </a:lnTo>
                  <a:lnTo>
                    <a:pt x="182025" y="143493"/>
                  </a:lnTo>
                  <a:lnTo>
                    <a:pt x="184107" y="147453"/>
                  </a:lnTo>
                  <a:lnTo>
                    <a:pt x="185098" y="148360"/>
                  </a:lnTo>
                  <a:lnTo>
                    <a:pt x="188272" y="150373"/>
                  </a:lnTo>
                  <a:lnTo>
                    <a:pt x="193114" y="152416"/>
                  </a:lnTo>
                  <a:lnTo>
                    <a:pt x="195791" y="153351"/>
                  </a:lnTo>
                  <a:lnTo>
                    <a:pt x="198829" y="154079"/>
                  </a:lnTo>
                  <a:lnTo>
                    <a:pt x="200134" y="154059"/>
                  </a:lnTo>
                  <a:lnTo>
                    <a:pt x="202412" y="153727"/>
                  </a:lnTo>
                  <a:lnTo>
                    <a:pt x="202870" y="154519"/>
                  </a:lnTo>
                  <a:lnTo>
                    <a:pt x="203852" y="158422"/>
                  </a:lnTo>
                  <a:lnTo>
                    <a:pt x="204321" y="160893"/>
                  </a:lnTo>
                  <a:lnTo>
                    <a:pt x="205016" y="166150"/>
                  </a:lnTo>
                  <a:lnTo>
                    <a:pt x="205906" y="168331"/>
                  </a:lnTo>
                  <a:lnTo>
                    <a:pt x="205847" y="171001"/>
                  </a:lnTo>
                  <a:lnTo>
                    <a:pt x="207015" y="173265"/>
                  </a:lnTo>
                  <a:lnTo>
                    <a:pt x="209396" y="174712"/>
                  </a:lnTo>
                  <a:lnTo>
                    <a:pt x="211931" y="175898"/>
                  </a:lnTo>
                  <a:lnTo>
                    <a:pt x="213129" y="177052"/>
                  </a:lnTo>
                  <a:lnTo>
                    <a:pt x="213113" y="178795"/>
                  </a:lnTo>
                  <a:lnTo>
                    <a:pt x="212706" y="180176"/>
                  </a:lnTo>
                  <a:lnTo>
                    <a:pt x="211848" y="181250"/>
                  </a:lnTo>
                  <a:lnTo>
                    <a:pt x="209221" y="183525"/>
                  </a:lnTo>
                  <a:lnTo>
                    <a:pt x="208752" y="184505"/>
                  </a:lnTo>
                  <a:lnTo>
                    <a:pt x="208383" y="187016"/>
                  </a:lnTo>
                  <a:lnTo>
                    <a:pt x="208829" y="188164"/>
                  </a:lnTo>
                  <a:lnTo>
                    <a:pt x="209881" y="188228"/>
                  </a:lnTo>
                  <a:lnTo>
                    <a:pt x="210708" y="187626"/>
                  </a:lnTo>
                  <a:lnTo>
                    <a:pt x="213863" y="184261"/>
                  </a:lnTo>
                  <a:lnTo>
                    <a:pt x="214716" y="183672"/>
                  </a:lnTo>
                  <a:lnTo>
                    <a:pt x="215906" y="183200"/>
                  </a:lnTo>
                  <a:lnTo>
                    <a:pt x="217124" y="182905"/>
                  </a:lnTo>
                  <a:lnTo>
                    <a:pt x="222887" y="182876"/>
                  </a:lnTo>
                  <a:lnTo>
                    <a:pt x="225330" y="183406"/>
                  </a:lnTo>
                  <a:lnTo>
                    <a:pt x="227504" y="184501"/>
                  </a:lnTo>
                  <a:lnTo>
                    <a:pt x="229422" y="185880"/>
                  </a:lnTo>
                  <a:lnTo>
                    <a:pt x="236433" y="194638"/>
                  </a:lnTo>
                  <a:lnTo>
                    <a:pt x="239644" y="199473"/>
                  </a:lnTo>
                  <a:lnTo>
                    <a:pt x="239897" y="200676"/>
                  </a:lnTo>
                  <a:lnTo>
                    <a:pt x="239955" y="201928"/>
                  </a:lnTo>
                  <a:lnTo>
                    <a:pt x="239409" y="202896"/>
                  </a:lnTo>
                  <a:lnTo>
                    <a:pt x="236485" y="206197"/>
                  </a:lnTo>
                  <a:lnTo>
                    <a:pt x="236122" y="207110"/>
                  </a:lnTo>
                  <a:lnTo>
                    <a:pt x="235209" y="210705"/>
                  </a:lnTo>
                  <a:lnTo>
                    <a:pt x="235381" y="213293"/>
                  </a:lnTo>
                  <a:lnTo>
                    <a:pt x="236353" y="214381"/>
                  </a:lnTo>
                  <a:lnTo>
                    <a:pt x="237126" y="215561"/>
                  </a:lnTo>
                  <a:lnTo>
                    <a:pt x="237066" y="216632"/>
                  </a:lnTo>
                  <a:lnTo>
                    <a:pt x="235139" y="221957"/>
                  </a:lnTo>
                  <a:lnTo>
                    <a:pt x="234937" y="222867"/>
                  </a:lnTo>
                  <a:lnTo>
                    <a:pt x="236155" y="231530"/>
                  </a:lnTo>
                  <a:lnTo>
                    <a:pt x="236243" y="233875"/>
                  </a:lnTo>
                  <a:lnTo>
                    <a:pt x="235995" y="236842"/>
                  </a:lnTo>
                  <a:lnTo>
                    <a:pt x="236169" y="241628"/>
                  </a:lnTo>
                  <a:lnTo>
                    <a:pt x="234597" y="256418"/>
                  </a:lnTo>
                  <a:lnTo>
                    <a:pt x="234301" y="257302"/>
                  </a:lnTo>
                  <a:lnTo>
                    <a:pt x="233099" y="259561"/>
                  </a:lnTo>
                  <a:lnTo>
                    <a:pt x="231512" y="259546"/>
                  </a:lnTo>
                  <a:lnTo>
                    <a:pt x="230229" y="259147"/>
                  </a:lnTo>
                  <a:lnTo>
                    <a:pt x="229331" y="258283"/>
                  </a:lnTo>
                  <a:lnTo>
                    <a:pt x="228837" y="257210"/>
                  </a:lnTo>
                  <a:lnTo>
                    <a:pt x="228109" y="256333"/>
                  </a:lnTo>
                  <a:lnTo>
                    <a:pt x="224278" y="253599"/>
                  </a:lnTo>
                  <a:lnTo>
                    <a:pt x="223273" y="254054"/>
                  </a:lnTo>
                  <a:lnTo>
                    <a:pt x="219384" y="257445"/>
                  </a:lnTo>
                  <a:lnTo>
                    <a:pt x="218350" y="257947"/>
                  </a:lnTo>
                  <a:lnTo>
                    <a:pt x="217053" y="257533"/>
                  </a:lnTo>
                  <a:lnTo>
                    <a:pt x="215010" y="256519"/>
                  </a:lnTo>
                  <a:lnTo>
                    <a:pt x="208581" y="252954"/>
                  </a:lnTo>
                  <a:lnTo>
                    <a:pt x="208186" y="254094"/>
                  </a:lnTo>
                  <a:lnTo>
                    <a:pt x="208108" y="255640"/>
                  </a:lnTo>
                  <a:lnTo>
                    <a:pt x="209387" y="259515"/>
                  </a:lnTo>
                  <a:lnTo>
                    <a:pt x="209564" y="261212"/>
                  </a:lnTo>
                  <a:lnTo>
                    <a:pt x="208394" y="261550"/>
                  </a:lnTo>
                  <a:lnTo>
                    <a:pt x="207741" y="261477"/>
                  </a:lnTo>
                  <a:lnTo>
                    <a:pt x="205072" y="259225"/>
                  </a:lnTo>
                  <a:lnTo>
                    <a:pt x="202610" y="256732"/>
                  </a:lnTo>
                  <a:lnTo>
                    <a:pt x="199812" y="253363"/>
                  </a:lnTo>
                  <a:lnTo>
                    <a:pt x="197767" y="251761"/>
                  </a:lnTo>
                  <a:lnTo>
                    <a:pt x="195917" y="249972"/>
                  </a:lnTo>
                  <a:lnTo>
                    <a:pt x="190713" y="243180"/>
                  </a:lnTo>
                  <a:lnTo>
                    <a:pt x="189361" y="242143"/>
                  </a:lnTo>
                  <a:lnTo>
                    <a:pt x="181298" y="237347"/>
                  </a:lnTo>
                  <a:lnTo>
                    <a:pt x="179671" y="236213"/>
                  </a:lnTo>
                  <a:lnTo>
                    <a:pt x="177609" y="234228"/>
                  </a:lnTo>
                  <a:lnTo>
                    <a:pt x="175393" y="232467"/>
                  </a:lnTo>
                  <a:lnTo>
                    <a:pt x="170535" y="229686"/>
                  </a:lnTo>
                  <a:lnTo>
                    <a:pt x="162105" y="222630"/>
                  </a:lnTo>
                  <a:lnTo>
                    <a:pt x="158440" y="218578"/>
                  </a:lnTo>
                  <a:lnTo>
                    <a:pt x="154366" y="212052"/>
                  </a:lnTo>
                  <a:lnTo>
                    <a:pt x="153036" y="210385"/>
                  </a:lnTo>
                  <a:lnTo>
                    <a:pt x="146188" y="205488"/>
                  </a:lnTo>
                  <a:lnTo>
                    <a:pt x="142454" y="202522"/>
                  </a:lnTo>
                  <a:lnTo>
                    <a:pt x="140898" y="200817"/>
                  </a:lnTo>
                  <a:lnTo>
                    <a:pt x="137263" y="194882"/>
                  </a:lnTo>
                  <a:lnTo>
                    <a:pt x="136201" y="192883"/>
                  </a:lnTo>
                  <a:lnTo>
                    <a:pt x="134862" y="191117"/>
                  </a:lnTo>
                  <a:lnTo>
                    <a:pt x="132664" y="189685"/>
                  </a:lnTo>
                  <a:lnTo>
                    <a:pt x="130725" y="187999"/>
                  </a:lnTo>
                  <a:lnTo>
                    <a:pt x="126875" y="182632"/>
                  </a:lnTo>
                  <a:lnTo>
                    <a:pt x="125661" y="180493"/>
                  </a:lnTo>
                  <a:lnTo>
                    <a:pt x="124743" y="178180"/>
                  </a:lnTo>
                  <a:lnTo>
                    <a:pt x="124903" y="173539"/>
                  </a:lnTo>
                  <a:lnTo>
                    <a:pt x="116750" y="159493"/>
                  </a:lnTo>
                  <a:lnTo>
                    <a:pt x="114702" y="155118"/>
                  </a:lnTo>
                  <a:lnTo>
                    <a:pt x="112806" y="149045"/>
                  </a:lnTo>
                  <a:lnTo>
                    <a:pt x="112382" y="148430"/>
                  </a:lnTo>
                  <a:lnTo>
                    <a:pt x="107935" y="142992"/>
                  </a:lnTo>
                  <a:lnTo>
                    <a:pt x="106360" y="141251"/>
                  </a:lnTo>
                  <a:lnTo>
                    <a:pt x="104458" y="139615"/>
                  </a:lnTo>
                  <a:lnTo>
                    <a:pt x="102897" y="137703"/>
                  </a:lnTo>
                  <a:lnTo>
                    <a:pt x="99828" y="131494"/>
                  </a:lnTo>
                  <a:lnTo>
                    <a:pt x="98690" y="129769"/>
                  </a:lnTo>
                  <a:lnTo>
                    <a:pt x="97094" y="128500"/>
                  </a:lnTo>
                  <a:lnTo>
                    <a:pt x="91277" y="126153"/>
                  </a:lnTo>
                  <a:lnTo>
                    <a:pt x="89107" y="124844"/>
                  </a:lnTo>
                  <a:lnTo>
                    <a:pt x="87399" y="122987"/>
                  </a:lnTo>
                  <a:lnTo>
                    <a:pt x="86349" y="120617"/>
                  </a:lnTo>
                  <a:lnTo>
                    <a:pt x="85196" y="115588"/>
                  </a:lnTo>
                  <a:lnTo>
                    <a:pt x="82454" y="107946"/>
                  </a:lnTo>
                  <a:lnTo>
                    <a:pt x="79377" y="97714"/>
                  </a:lnTo>
                  <a:lnTo>
                    <a:pt x="77302" y="93128"/>
                  </a:lnTo>
                  <a:lnTo>
                    <a:pt x="74930" y="89530"/>
                  </a:lnTo>
                  <a:lnTo>
                    <a:pt x="74244" y="88700"/>
                  </a:lnTo>
                  <a:lnTo>
                    <a:pt x="63680" y="82220"/>
                  </a:lnTo>
                  <a:lnTo>
                    <a:pt x="61879" y="81266"/>
                  </a:lnTo>
                  <a:lnTo>
                    <a:pt x="59966" y="80691"/>
                  </a:lnTo>
                  <a:lnTo>
                    <a:pt x="57235" y="80278"/>
                  </a:lnTo>
                  <a:lnTo>
                    <a:pt x="55150" y="78604"/>
                  </a:lnTo>
                  <a:lnTo>
                    <a:pt x="54293" y="75600"/>
                  </a:lnTo>
                  <a:lnTo>
                    <a:pt x="53820" y="71570"/>
                  </a:lnTo>
                  <a:lnTo>
                    <a:pt x="53294" y="69165"/>
                  </a:lnTo>
                  <a:lnTo>
                    <a:pt x="52719" y="67805"/>
                  </a:lnTo>
                  <a:lnTo>
                    <a:pt x="48307" y="64956"/>
                  </a:lnTo>
                  <a:lnTo>
                    <a:pt x="46580" y="62704"/>
                  </a:lnTo>
                  <a:lnTo>
                    <a:pt x="45138" y="60226"/>
                  </a:lnTo>
                  <a:lnTo>
                    <a:pt x="43820" y="58307"/>
                  </a:lnTo>
                  <a:lnTo>
                    <a:pt x="38968" y="51678"/>
                  </a:lnTo>
                  <a:lnTo>
                    <a:pt x="37309" y="49939"/>
                  </a:lnTo>
                  <a:lnTo>
                    <a:pt x="35254" y="48725"/>
                  </a:lnTo>
                  <a:lnTo>
                    <a:pt x="29160" y="47439"/>
                  </a:lnTo>
                  <a:lnTo>
                    <a:pt x="27377" y="46338"/>
                  </a:lnTo>
                  <a:lnTo>
                    <a:pt x="24416" y="42574"/>
                  </a:lnTo>
                  <a:lnTo>
                    <a:pt x="22630" y="40659"/>
                  </a:lnTo>
                  <a:lnTo>
                    <a:pt x="17277" y="36439"/>
                  </a:lnTo>
                  <a:lnTo>
                    <a:pt x="8225" y="27607"/>
                  </a:lnTo>
                  <a:lnTo>
                    <a:pt x="6370" y="25404"/>
                  </a:lnTo>
                  <a:lnTo>
                    <a:pt x="4981" y="23106"/>
                  </a:lnTo>
                  <a:lnTo>
                    <a:pt x="3860" y="20643"/>
                  </a:lnTo>
                  <a:lnTo>
                    <a:pt x="0" y="13818"/>
                  </a:lnTo>
                  <a:lnTo>
                    <a:pt x="311" y="12439"/>
                  </a:lnTo>
                  <a:lnTo>
                    <a:pt x="894" y="11007"/>
                  </a:lnTo>
                  <a:lnTo>
                    <a:pt x="803" y="9821"/>
                  </a:lnTo>
                  <a:lnTo>
                    <a:pt x="380" y="8650"/>
                  </a:lnTo>
                  <a:lnTo>
                    <a:pt x="468" y="7592"/>
                  </a:lnTo>
                  <a:lnTo>
                    <a:pt x="1612" y="6969"/>
                  </a:lnTo>
                  <a:close/>
                  <a:moveTo>
                    <a:pt x="781" y="0"/>
                  </a:moveTo>
                  <a:lnTo>
                    <a:pt x="1678" y="206"/>
                  </a:lnTo>
                  <a:lnTo>
                    <a:pt x="3373" y="672"/>
                  </a:lnTo>
                  <a:lnTo>
                    <a:pt x="3524" y="1428"/>
                  </a:lnTo>
                  <a:lnTo>
                    <a:pt x="3437" y="2099"/>
                  </a:lnTo>
                  <a:lnTo>
                    <a:pt x="3005" y="2727"/>
                  </a:lnTo>
                  <a:lnTo>
                    <a:pt x="1693" y="2407"/>
                  </a:lnTo>
                  <a:lnTo>
                    <a:pt x="244" y="389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74" name="ee4p_IN_1_37365">
              <a:extLst>
                <a:ext uri="{FF2B5EF4-FFF2-40B4-BE49-F238E27FC236}">
                  <a16:creationId xmlns:a16="http://schemas.microsoft.com/office/drawing/2014/main" id="{CB3DBD4F-552D-9A3F-F143-6344CE96A809}"/>
                </a:ext>
              </a:extLst>
            </p:cNvPr>
            <p:cNvSpPr>
              <a:spLocks noChangeAspect="1"/>
            </p:cNvSpPr>
            <p:nvPr>
              <p:custDataLst>
                <p:tags r:id="rId228"/>
              </p:custDataLst>
            </p:nvPr>
          </p:nvSpPr>
          <p:spPr>
            <a:xfrm>
              <a:off x="8407600" y="3619050"/>
              <a:ext cx="810269" cy="863937"/>
            </a:xfrm>
            <a:custGeom>
              <a:avLst/>
              <a:gdLst>
                <a:gd name="connsiteX0" fmla="*/ 567340 w 645199"/>
                <a:gd name="connsiteY0" fmla="*/ 658858 h 669699"/>
                <a:gd name="connsiteX1" fmla="*/ 568147 w 645199"/>
                <a:gd name="connsiteY1" fmla="*/ 659520 h 669699"/>
                <a:gd name="connsiteX2" fmla="*/ 569709 w 645199"/>
                <a:gd name="connsiteY2" fmla="*/ 664706 h 669699"/>
                <a:gd name="connsiteX3" fmla="*/ 568834 w 645199"/>
                <a:gd name="connsiteY3" fmla="*/ 667870 h 669699"/>
                <a:gd name="connsiteX4" fmla="*/ 567480 w 645199"/>
                <a:gd name="connsiteY4" fmla="*/ 669699 h 669699"/>
                <a:gd name="connsiteX5" fmla="*/ 564837 w 645199"/>
                <a:gd name="connsiteY5" fmla="*/ 664101 h 669699"/>
                <a:gd name="connsiteX6" fmla="*/ 563703 w 645199"/>
                <a:gd name="connsiteY6" fmla="*/ 663760 h 669699"/>
                <a:gd name="connsiteX7" fmla="*/ 563666 w 645199"/>
                <a:gd name="connsiteY7" fmla="*/ 661090 h 669699"/>
                <a:gd name="connsiteX8" fmla="*/ 564282 w 645199"/>
                <a:gd name="connsiteY8" fmla="*/ 660037 h 669699"/>
                <a:gd name="connsiteX9" fmla="*/ 564465 w 645199"/>
                <a:gd name="connsiteY9" fmla="*/ 654991 h 669699"/>
                <a:gd name="connsiteX10" fmla="*/ 565375 w 645199"/>
                <a:gd name="connsiteY10" fmla="*/ 656194 h 669699"/>
                <a:gd name="connsiteX11" fmla="*/ 563271 w 645199"/>
                <a:gd name="connsiteY11" fmla="*/ 658297 h 669699"/>
                <a:gd name="connsiteX12" fmla="*/ 562360 w 645199"/>
                <a:gd name="connsiteY12" fmla="*/ 657033 h 669699"/>
                <a:gd name="connsiteX13" fmla="*/ 562736 w 645199"/>
                <a:gd name="connsiteY13" fmla="*/ 656158 h 669699"/>
                <a:gd name="connsiteX14" fmla="*/ 563630 w 645199"/>
                <a:gd name="connsiteY14" fmla="*/ 655673 h 669699"/>
                <a:gd name="connsiteX15" fmla="*/ 557456 w 645199"/>
                <a:gd name="connsiteY15" fmla="*/ 641484 h 669699"/>
                <a:gd name="connsiteX16" fmla="*/ 558743 w 645199"/>
                <a:gd name="connsiteY16" fmla="*/ 643031 h 669699"/>
                <a:gd name="connsiteX17" fmla="*/ 559046 w 645199"/>
                <a:gd name="connsiteY17" fmla="*/ 644127 h 669699"/>
                <a:gd name="connsiteX18" fmla="*/ 558939 w 645199"/>
                <a:gd name="connsiteY18" fmla="*/ 644601 h 669699"/>
                <a:gd name="connsiteX19" fmla="*/ 557225 w 645199"/>
                <a:gd name="connsiteY19" fmla="*/ 644629 h 669699"/>
                <a:gd name="connsiteX20" fmla="*/ 556716 w 645199"/>
                <a:gd name="connsiteY20" fmla="*/ 643677 h 669699"/>
                <a:gd name="connsiteX21" fmla="*/ 555994 w 645199"/>
                <a:gd name="connsiteY21" fmla="*/ 642683 h 669699"/>
                <a:gd name="connsiteX22" fmla="*/ 556549 w 645199"/>
                <a:gd name="connsiteY22" fmla="*/ 641728 h 669699"/>
                <a:gd name="connsiteX23" fmla="*/ 560077 w 645199"/>
                <a:gd name="connsiteY23" fmla="*/ 636882 h 669699"/>
                <a:gd name="connsiteX24" fmla="*/ 560909 w 645199"/>
                <a:gd name="connsiteY24" fmla="*/ 637125 h 669699"/>
                <a:gd name="connsiteX25" fmla="*/ 560466 w 645199"/>
                <a:gd name="connsiteY25" fmla="*/ 638327 h 669699"/>
                <a:gd name="connsiteX26" fmla="*/ 561025 w 645199"/>
                <a:gd name="connsiteY26" fmla="*/ 640622 h 669699"/>
                <a:gd name="connsiteX27" fmla="*/ 559989 w 645199"/>
                <a:gd name="connsiteY27" fmla="*/ 641450 h 669699"/>
                <a:gd name="connsiteX28" fmla="*/ 559728 w 645199"/>
                <a:gd name="connsiteY28" fmla="*/ 641338 h 669699"/>
                <a:gd name="connsiteX29" fmla="*/ 559585 w 645199"/>
                <a:gd name="connsiteY29" fmla="*/ 640710 h 669699"/>
                <a:gd name="connsiteX30" fmla="*/ 559540 w 645199"/>
                <a:gd name="connsiteY30" fmla="*/ 640266 h 669699"/>
                <a:gd name="connsiteX31" fmla="*/ 559352 w 645199"/>
                <a:gd name="connsiteY31" fmla="*/ 639466 h 669699"/>
                <a:gd name="connsiteX32" fmla="*/ 559246 w 645199"/>
                <a:gd name="connsiteY32" fmla="*/ 638058 h 669699"/>
                <a:gd name="connsiteX33" fmla="*/ 108669 w 645199"/>
                <a:gd name="connsiteY33" fmla="*/ 634838 h 669699"/>
                <a:gd name="connsiteX34" fmla="*/ 108760 w 645199"/>
                <a:gd name="connsiteY34" fmla="*/ 634960 h 669699"/>
                <a:gd name="connsiteX35" fmla="*/ 108675 w 645199"/>
                <a:gd name="connsiteY35" fmla="*/ 635360 h 669699"/>
                <a:gd name="connsiteX36" fmla="*/ 108401 w 645199"/>
                <a:gd name="connsiteY36" fmla="*/ 635893 h 669699"/>
                <a:gd name="connsiteX37" fmla="*/ 108090 w 645199"/>
                <a:gd name="connsiteY37" fmla="*/ 636170 h 669699"/>
                <a:gd name="connsiteX38" fmla="*/ 107770 w 645199"/>
                <a:gd name="connsiteY38" fmla="*/ 636275 h 669699"/>
                <a:gd name="connsiteX39" fmla="*/ 107542 w 645199"/>
                <a:gd name="connsiteY39" fmla="*/ 636240 h 669699"/>
                <a:gd name="connsiteX40" fmla="*/ 107429 w 645199"/>
                <a:gd name="connsiteY40" fmla="*/ 635964 h 669699"/>
                <a:gd name="connsiteX41" fmla="*/ 107488 w 645199"/>
                <a:gd name="connsiteY41" fmla="*/ 635755 h 669699"/>
                <a:gd name="connsiteX42" fmla="*/ 107773 w 645199"/>
                <a:gd name="connsiteY42" fmla="*/ 635988 h 669699"/>
                <a:gd name="connsiteX43" fmla="*/ 108146 w 645199"/>
                <a:gd name="connsiteY43" fmla="*/ 635772 h 669699"/>
                <a:gd name="connsiteX44" fmla="*/ 108574 w 645199"/>
                <a:gd name="connsiteY44" fmla="*/ 635064 h 669699"/>
                <a:gd name="connsiteX45" fmla="*/ 551297 w 645199"/>
                <a:gd name="connsiteY45" fmla="*/ 634107 h 669699"/>
                <a:gd name="connsiteX46" fmla="*/ 552265 w 645199"/>
                <a:gd name="connsiteY46" fmla="*/ 636329 h 669699"/>
                <a:gd name="connsiteX47" fmla="*/ 552926 w 645199"/>
                <a:gd name="connsiteY47" fmla="*/ 637163 h 669699"/>
                <a:gd name="connsiteX48" fmla="*/ 551701 w 645199"/>
                <a:gd name="connsiteY48" fmla="*/ 637020 h 669699"/>
                <a:gd name="connsiteX49" fmla="*/ 550574 w 645199"/>
                <a:gd name="connsiteY49" fmla="*/ 635763 h 669699"/>
                <a:gd name="connsiteX50" fmla="*/ 550868 w 645199"/>
                <a:gd name="connsiteY50" fmla="*/ 634585 h 669699"/>
                <a:gd name="connsiteX51" fmla="*/ 543893 w 645199"/>
                <a:gd name="connsiteY51" fmla="*/ 614176 h 669699"/>
                <a:gd name="connsiteX52" fmla="*/ 544416 w 645199"/>
                <a:gd name="connsiteY52" fmla="*/ 614251 h 669699"/>
                <a:gd name="connsiteX53" fmla="*/ 544936 w 645199"/>
                <a:gd name="connsiteY53" fmla="*/ 615749 h 669699"/>
                <a:gd name="connsiteX54" fmla="*/ 544454 w 645199"/>
                <a:gd name="connsiteY54" fmla="*/ 616567 h 669699"/>
                <a:gd name="connsiteX55" fmla="*/ 543483 w 645199"/>
                <a:gd name="connsiteY55" fmla="*/ 616694 h 669699"/>
                <a:gd name="connsiteX56" fmla="*/ 542887 w 645199"/>
                <a:gd name="connsiteY56" fmla="*/ 615933 h 669699"/>
                <a:gd name="connsiteX57" fmla="*/ 542813 w 645199"/>
                <a:gd name="connsiteY57" fmla="*/ 615046 h 669699"/>
                <a:gd name="connsiteX58" fmla="*/ 543373 w 645199"/>
                <a:gd name="connsiteY58" fmla="*/ 614471 h 669699"/>
                <a:gd name="connsiteX59" fmla="*/ 538326 w 645199"/>
                <a:gd name="connsiteY59" fmla="*/ 577247 h 669699"/>
                <a:gd name="connsiteX60" fmla="*/ 539291 w 645199"/>
                <a:gd name="connsiteY60" fmla="*/ 579432 h 669699"/>
                <a:gd name="connsiteX61" fmla="*/ 539741 w 645199"/>
                <a:gd name="connsiteY61" fmla="*/ 581568 h 669699"/>
                <a:gd name="connsiteX62" fmla="*/ 538160 w 645199"/>
                <a:gd name="connsiteY62" fmla="*/ 584908 h 669699"/>
                <a:gd name="connsiteX63" fmla="*/ 537493 w 645199"/>
                <a:gd name="connsiteY63" fmla="*/ 585671 h 669699"/>
                <a:gd name="connsiteX64" fmla="*/ 535212 w 645199"/>
                <a:gd name="connsiteY64" fmla="*/ 585075 h 669699"/>
                <a:gd name="connsiteX65" fmla="*/ 535381 w 645199"/>
                <a:gd name="connsiteY65" fmla="*/ 582768 h 669699"/>
                <a:gd name="connsiteX66" fmla="*/ 534843 w 645199"/>
                <a:gd name="connsiteY66" fmla="*/ 580520 h 669699"/>
                <a:gd name="connsiteX67" fmla="*/ 535239 w 645199"/>
                <a:gd name="connsiteY67" fmla="*/ 579572 h 669699"/>
                <a:gd name="connsiteX68" fmla="*/ 536944 w 645199"/>
                <a:gd name="connsiteY68" fmla="*/ 577962 h 669699"/>
                <a:gd name="connsiteX69" fmla="*/ 102327 w 645199"/>
                <a:gd name="connsiteY69" fmla="*/ 569072 h 669699"/>
                <a:gd name="connsiteX70" fmla="*/ 102398 w 645199"/>
                <a:gd name="connsiteY70" fmla="*/ 569124 h 669699"/>
                <a:gd name="connsiteX71" fmla="*/ 102331 w 645199"/>
                <a:gd name="connsiteY71" fmla="*/ 569547 h 669699"/>
                <a:gd name="connsiteX72" fmla="*/ 102221 w 645199"/>
                <a:gd name="connsiteY72" fmla="*/ 570121 h 669699"/>
                <a:gd name="connsiteX73" fmla="*/ 102055 w 645199"/>
                <a:gd name="connsiteY73" fmla="*/ 570421 h 669699"/>
                <a:gd name="connsiteX74" fmla="*/ 101893 w 645199"/>
                <a:gd name="connsiteY74" fmla="*/ 570564 h 669699"/>
                <a:gd name="connsiteX75" fmla="*/ 101880 w 645199"/>
                <a:gd name="connsiteY75" fmla="*/ 570158 h 669699"/>
                <a:gd name="connsiteX76" fmla="*/ 102087 w 645199"/>
                <a:gd name="connsiteY76" fmla="*/ 569508 h 669699"/>
                <a:gd name="connsiteX77" fmla="*/ 541198 w 645199"/>
                <a:gd name="connsiteY77" fmla="*/ 563555 h 669699"/>
                <a:gd name="connsiteX78" fmla="*/ 542299 w 645199"/>
                <a:gd name="connsiteY78" fmla="*/ 564578 h 669699"/>
                <a:gd name="connsiteX79" fmla="*/ 542237 w 645199"/>
                <a:gd name="connsiteY79" fmla="*/ 565747 h 669699"/>
                <a:gd name="connsiteX80" fmla="*/ 542368 w 645199"/>
                <a:gd name="connsiteY80" fmla="*/ 566421 h 669699"/>
                <a:gd name="connsiteX81" fmla="*/ 541293 w 645199"/>
                <a:gd name="connsiteY81" fmla="*/ 566865 h 669699"/>
                <a:gd name="connsiteX82" fmla="*/ 540213 w 645199"/>
                <a:gd name="connsiteY82" fmla="*/ 566303 h 669699"/>
                <a:gd name="connsiteX83" fmla="*/ 541058 w 645199"/>
                <a:gd name="connsiteY83" fmla="*/ 565400 h 669699"/>
                <a:gd name="connsiteX84" fmla="*/ 549538 w 645199"/>
                <a:gd name="connsiteY84" fmla="*/ 551727 h 669699"/>
                <a:gd name="connsiteX85" fmla="*/ 550527 w 645199"/>
                <a:gd name="connsiteY85" fmla="*/ 554808 h 669699"/>
                <a:gd name="connsiteX86" fmla="*/ 548749 w 645199"/>
                <a:gd name="connsiteY86" fmla="*/ 553462 h 669699"/>
                <a:gd name="connsiteX87" fmla="*/ 548166 w 645199"/>
                <a:gd name="connsiteY87" fmla="*/ 552498 h 669699"/>
                <a:gd name="connsiteX88" fmla="*/ 549060 w 645199"/>
                <a:gd name="connsiteY88" fmla="*/ 551840 h 669699"/>
                <a:gd name="connsiteX89" fmla="*/ 542755 w 645199"/>
                <a:gd name="connsiteY89" fmla="*/ 530963 h 669699"/>
                <a:gd name="connsiteX90" fmla="*/ 543202 w 645199"/>
                <a:gd name="connsiteY90" fmla="*/ 531256 h 669699"/>
                <a:gd name="connsiteX91" fmla="*/ 542909 w 645199"/>
                <a:gd name="connsiteY91" fmla="*/ 533136 h 669699"/>
                <a:gd name="connsiteX92" fmla="*/ 542204 w 645199"/>
                <a:gd name="connsiteY92" fmla="*/ 534595 h 669699"/>
                <a:gd name="connsiteX93" fmla="*/ 542071 w 645199"/>
                <a:gd name="connsiteY93" fmla="*/ 531465 h 669699"/>
                <a:gd name="connsiteX94" fmla="*/ 542396 w 645199"/>
                <a:gd name="connsiteY94" fmla="*/ 531071 h 669699"/>
                <a:gd name="connsiteX95" fmla="*/ 550531 w 645199"/>
                <a:gd name="connsiteY95" fmla="*/ 517828 h 669699"/>
                <a:gd name="connsiteX96" fmla="*/ 550628 w 645199"/>
                <a:gd name="connsiteY96" fmla="*/ 520281 h 669699"/>
                <a:gd name="connsiteX97" fmla="*/ 550848 w 645199"/>
                <a:gd name="connsiteY97" fmla="*/ 521086 h 669699"/>
                <a:gd name="connsiteX98" fmla="*/ 549507 w 645199"/>
                <a:gd name="connsiteY98" fmla="*/ 522538 h 669699"/>
                <a:gd name="connsiteX99" fmla="*/ 550786 w 645199"/>
                <a:gd name="connsiteY99" fmla="*/ 524430 h 669699"/>
                <a:gd name="connsiteX100" fmla="*/ 550615 w 645199"/>
                <a:gd name="connsiteY100" fmla="*/ 525116 h 669699"/>
                <a:gd name="connsiteX101" fmla="*/ 550104 w 645199"/>
                <a:gd name="connsiteY101" fmla="*/ 526616 h 669699"/>
                <a:gd name="connsiteX102" fmla="*/ 549257 w 645199"/>
                <a:gd name="connsiteY102" fmla="*/ 528090 h 669699"/>
                <a:gd name="connsiteX103" fmla="*/ 548078 w 645199"/>
                <a:gd name="connsiteY103" fmla="*/ 528694 h 669699"/>
                <a:gd name="connsiteX104" fmla="*/ 547162 w 645199"/>
                <a:gd name="connsiteY104" fmla="*/ 530657 h 669699"/>
                <a:gd name="connsiteX105" fmla="*/ 546638 w 645199"/>
                <a:gd name="connsiteY105" fmla="*/ 531397 h 669699"/>
                <a:gd name="connsiteX106" fmla="*/ 548380 w 645199"/>
                <a:gd name="connsiteY106" fmla="*/ 533460 h 669699"/>
                <a:gd name="connsiteX107" fmla="*/ 548937 w 645199"/>
                <a:gd name="connsiteY107" fmla="*/ 540468 h 669699"/>
                <a:gd name="connsiteX108" fmla="*/ 547663 w 645199"/>
                <a:gd name="connsiteY108" fmla="*/ 542386 h 669699"/>
                <a:gd name="connsiteX109" fmla="*/ 546139 w 645199"/>
                <a:gd name="connsiteY109" fmla="*/ 542769 h 669699"/>
                <a:gd name="connsiteX110" fmla="*/ 546488 w 645199"/>
                <a:gd name="connsiteY110" fmla="*/ 547440 h 669699"/>
                <a:gd name="connsiteX111" fmla="*/ 546216 w 645199"/>
                <a:gd name="connsiteY111" fmla="*/ 548482 h 669699"/>
                <a:gd name="connsiteX112" fmla="*/ 544705 w 645199"/>
                <a:gd name="connsiteY112" fmla="*/ 550775 h 669699"/>
                <a:gd name="connsiteX113" fmla="*/ 544426 w 645199"/>
                <a:gd name="connsiteY113" fmla="*/ 551775 h 669699"/>
                <a:gd name="connsiteX114" fmla="*/ 543574 w 645199"/>
                <a:gd name="connsiteY114" fmla="*/ 552715 h 669699"/>
                <a:gd name="connsiteX115" fmla="*/ 543934 w 645199"/>
                <a:gd name="connsiteY115" fmla="*/ 553888 h 669699"/>
                <a:gd name="connsiteX116" fmla="*/ 544660 w 645199"/>
                <a:gd name="connsiteY116" fmla="*/ 554402 h 669699"/>
                <a:gd name="connsiteX117" fmla="*/ 544677 w 645199"/>
                <a:gd name="connsiteY117" fmla="*/ 555363 h 669699"/>
                <a:gd name="connsiteX118" fmla="*/ 544001 w 645199"/>
                <a:gd name="connsiteY118" fmla="*/ 557829 h 669699"/>
                <a:gd name="connsiteX119" fmla="*/ 543949 w 645199"/>
                <a:gd name="connsiteY119" fmla="*/ 560641 h 669699"/>
                <a:gd name="connsiteX120" fmla="*/ 543023 w 645199"/>
                <a:gd name="connsiteY120" fmla="*/ 562951 h 669699"/>
                <a:gd name="connsiteX121" fmla="*/ 542537 w 645199"/>
                <a:gd name="connsiteY121" fmla="*/ 563478 h 669699"/>
                <a:gd name="connsiteX122" fmla="*/ 541820 w 645199"/>
                <a:gd name="connsiteY122" fmla="*/ 562892 h 669699"/>
                <a:gd name="connsiteX123" fmla="*/ 539769 w 645199"/>
                <a:gd name="connsiteY123" fmla="*/ 558870 h 669699"/>
                <a:gd name="connsiteX124" fmla="*/ 539417 w 645199"/>
                <a:gd name="connsiteY124" fmla="*/ 556287 h 669699"/>
                <a:gd name="connsiteX125" fmla="*/ 538847 w 645199"/>
                <a:gd name="connsiteY125" fmla="*/ 555392 h 669699"/>
                <a:gd name="connsiteX126" fmla="*/ 539568 w 645199"/>
                <a:gd name="connsiteY126" fmla="*/ 554111 h 669699"/>
                <a:gd name="connsiteX127" fmla="*/ 540475 w 645199"/>
                <a:gd name="connsiteY127" fmla="*/ 553685 h 669699"/>
                <a:gd name="connsiteX128" fmla="*/ 541013 w 645199"/>
                <a:gd name="connsiteY128" fmla="*/ 552242 h 669699"/>
                <a:gd name="connsiteX129" fmla="*/ 541206 w 645199"/>
                <a:gd name="connsiteY129" fmla="*/ 550036 h 669699"/>
                <a:gd name="connsiteX130" fmla="*/ 541999 w 645199"/>
                <a:gd name="connsiteY130" fmla="*/ 548237 h 669699"/>
                <a:gd name="connsiteX131" fmla="*/ 542403 w 645199"/>
                <a:gd name="connsiteY131" fmla="*/ 547736 h 669699"/>
                <a:gd name="connsiteX132" fmla="*/ 544050 w 645199"/>
                <a:gd name="connsiteY132" fmla="*/ 547717 h 669699"/>
                <a:gd name="connsiteX133" fmla="*/ 544472 w 645199"/>
                <a:gd name="connsiteY133" fmla="*/ 547488 h 669699"/>
                <a:gd name="connsiteX134" fmla="*/ 544236 w 645199"/>
                <a:gd name="connsiteY134" fmla="*/ 545765 h 669699"/>
                <a:gd name="connsiteX135" fmla="*/ 543274 w 645199"/>
                <a:gd name="connsiteY135" fmla="*/ 545016 h 669699"/>
                <a:gd name="connsiteX136" fmla="*/ 542939 w 645199"/>
                <a:gd name="connsiteY136" fmla="*/ 544536 h 669699"/>
                <a:gd name="connsiteX137" fmla="*/ 542978 w 645199"/>
                <a:gd name="connsiteY137" fmla="*/ 540406 h 669699"/>
                <a:gd name="connsiteX138" fmla="*/ 543228 w 645199"/>
                <a:gd name="connsiteY138" fmla="*/ 538736 h 669699"/>
                <a:gd name="connsiteX139" fmla="*/ 543828 w 645199"/>
                <a:gd name="connsiteY139" fmla="*/ 537535 h 669699"/>
                <a:gd name="connsiteX140" fmla="*/ 543405 w 645199"/>
                <a:gd name="connsiteY140" fmla="*/ 535052 h 669699"/>
                <a:gd name="connsiteX141" fmla="*/ 543695 w 645199"/>
                <a:gd name="connsiteY141" fmla="*/ 534125 h 669699"/>
                <a:gd name="connsiteX142" fmla="*/ 544886 w 645199"/>
                <a:gd name="connsiteY142" fmla="*/ 532821 h 669699"/>
                <a:gd name="connsiteX143" fmla="*/ 545413 w 645199"/>
                <a:gd name="connsiteY143" fmla="*/ 530040 h 669699"/>
                <a:gd name="connsiteX144" fmla="*/ 544929 w 645199"/>
                <a:gd name="connsiteY144" fmla="*/ 529209 h 669699"/>
                <a:gd name="connsiteX145" fmla="*/ 546061 w 645199"/>
                <a:gd name="connsiteY145" fmla="*/ 524914 h 669699"/>
                <a:gd name="connsiteX146" fmla="*/ 545998 w 645199"/>
                <a:gd name="connsiteY146" fmla="*/ 522045 h 669699"/>
                <a:gd name="connsiteX147" fmla="*/ 547486 w 645199"/>
                <a:gd name="connsiteY147" fmla="*/ 519170 h 669699"/>
                <a:gd name="connsiteX148" fmla="*/ 549804 w 645199"/>
                <a:gd name="connsiteY148" fmla="*/ 517864 h 669699"/>
                <a:gd name="connsiteX149" fmla="*/ 213036 w 645199"/>
                <a:gd name="connsiteY149" fmla="*/ 0 h 669699"/>
                <a:gd name="connsiteX150" fmla="*/ 213291 w 645199"/>
                <a:gd name="connsiteY150" fmla="*/ 286 h 669699"/>
                <a:gd name="connsiteX151" fmla="*/ 214189 w 645199"/>
                <a:gd name="connsiteY151" fmla="*/ 883 h 669699"/>
                <a:gd name="connsiteX152" fmla="*/ 215148 w 645199"/>
                <a:gd name="connsiteY152" fmla="*/ 1178 h 669699"/>
                <a:gd name="connsiteX153" fmla="*/ 216275 w 645199"/>
                <a:gd name="connsiteY153" fmla="*/ 610 h 669699"/>
                <a:gd name="connsiteX154" fmla="*/ 217681 w 645199"/>
                <a:gd name="connsiteY154" fmla="*/ 143 h 669699"/>
                <a:gd name="connsiteX155" fmla="*/ 218415 w 645199"/>
                <a:gd name="connsiteY155" fmla="*/ 405 h 669699"/>
                <a:gd name="connsiteX156" fmla="*/ 218521 w 645199"/>
                <a:gd name="connsiteY156" fmla="*/ 1169 h 669699"/>
                <a:gd name="connsiteX157" fmla="*/ 217675 w 645199"/>
                <a:gd name="connsiteY157" fmla="*/ 4747 h 669699"/>
                <a:gd name="connsiteX158" fmla="*/ 217742 w 645199"/>
                <a:gd name="connsiteY158" fmla="*/ 6150 h 669699"/>
                <a:gd name="connsiteX159" fmla="*/ 219147 w 645199"/>
                <a:gd name="connsiteY159" fmla="*/ 9062 h 669699"/>
                <a:gd name="connsiteX160" fmla="*/ 220976 w 645199"/>
                <a:gd name="connsiteY160" fmla="*/ 13783 h 669699"/>
                <a:gd name="connsiteX161" fmla="*/ 222693 w 645199"/>
                <a:gd name="connsiteY161" fmla="*/ 18202 h 669699"/>
                <a:gd name="connsiteX162" fmla="*/ 223708 w 645199"/>
                <a:gd name="connsiteY162" fmla="*/ 21099 h 669699"/>
                <a:gd name="connsiteX163" fmla="*/ 224701 w 645199"/>
                <a:gd name="connsiteY163" fmla="*/ 22285 h 669699"/>
                <a:gd name="connsiteX164" fmla="*/ 228875 w 645199"/>
                <a:gd name="connsiteY164" fmla="*/ 23495 h 669699"/>
                <a:gd name="connsiteX165" fmla="*/ 232304 w 645199"/>
                <a:gd name="connsiteY165" fmla="*/ 24488 h 669699"/>
                <a:gd name="connsiteX166" fmla="*/ 234345 w 645199"/>
                <a:gd name="connsiteY166" fmla="*/ 26116 h 669699"/>
                <a:gd name="connsiteX167" fmla="*/ 236595 w 645199"/>
                <a:gd name="connsiteY167" fmla="*/ 27676 h 669699"/>
                <a:gd name="connsiteX168" fmla="*/ 238178 w 645199"/>
                <a:gd name="connsiteY168" fmla="*/ 28633 h 669699"/>
                <a:gd name="connsiteX169" fmla="*/ 238923 w 645199"/>
                <a:gd name="connsiteY169" fmla="*/ 29862 h 669699"/>
                <a:gd name="connsiteX170" fmla="*/ 239074 w 645199"/>
                <a:gd name="connsiteY170" fmla="*/ 30971 h 669699"/>
                <a:gd name="connsiteX171" fmla="*/ 238934 w 645199"/>
                <a:gd name="connsiteY171" fmla="*/ 31716 h 669699"/>
                <a:gd name="connsiteX172" fmla="*/ 238075 w 645199"/>
                <a:gd name="connsiteY172" fmla="*/ 32693 h 669699"/>
                <a:gd name="connsiteX173" fmla="*/ 234123 w 645199"/>
                <a:gd name="connsiteY173" fmla="*/ 35213 h 669699"/>
                <a:gd name="connsiteX174" fmla="*/ 233652 w 645199"/>
                <a:gd name="connsiteY174" fmla="*/ 36013 h 669699"/>
                <a:gd name="connsiteX175" fmla="*/ 233540 w 645199"/>
                <a:gd name="connsiteY175" fmla="*/ 37062 h 669699"/>
                <a:gd name="connsiteX176" fmla="*/ 234315 w 645199"/>
                <a:gd name="connsiteY176" fmla="*/ 40188 h 669699"/>
                <a:gd name="connsiteX177" fmla="*/ 234803 w 645199"/>
                <a:gd name="connsiteY177" fmla="*/ 42145 h 669699"/>
                <a:gd name="connsiteX178" fmla="*/ 234939 w 645199"/>
                <a:gd name="connsiteY178" fmla="*/ 46076 h 669699"/>
                <a:gd name="connsiteX179" fmla="*/ 235203 w 645199"/>
                <a:gd name="connsiteY179" fmla="*/ 49810 h 669699"/>
                <a:gd name="connsiteX180" fmla="*/ 236599 w 645199"/>
                <a:gd name="connsiteY180" fmla="*/ 51509 h 669699"/>
                <a:gd name="connsiteX181" fmla="*/ 237742 w 645199"/>
                <a:gd name="connsiteY181" fmla="*/ 52607 h 669699"/>
                <a:gd name="connsiteX182" fmla="*/ 238443 w 645199"/>
                <a:gd name="connsiteY182" fmla="*/ 53603 h 669699"/>
                <a:gd name="connsiteX183" fmla="*/ 239862 w 645199"/>
                <a:gd name="connsiteY183" fmla="*/ 54965 h 669699"/>
                <a:gd name="connsiteX184" fmla="*/ 241054 w 645199"/>
                <a:gd name="connsiteY184" fmla="*/ 55981 h 669699"/>
                <a:gd name="connsiteX185" fmla="*/ 242072 w 645199"/>
                <a:gd name="connsiteY185" fmla="*/ 56577 h 669699"/>
                <a:gd name="connsiteX186" fmla="*/ 242572 w 645199"/>
                <a:gd name="connsiteY186" fmla="*/ 57921 h 669699"/>
                <a:gd name="connsiteX187" fmla="*/ 242274 w 645199"/>
                <a:gd name="connsiteY187" fmla="*/ 59498 h 669699"/>
                <a:gd name="connsiteX188" fmla="*/ 241858 w 645199"/>
                <a:gd name="connsiteY188" fmla="*/ 60870 h 669699"/>
                <a:gd name="connsiteX189" fmla="*/ 241985 w 645199"/>
                <a:gd name="connsiteY189" fmla="*/ 61608 h 669699"/>
                <a:gd name="connsiteX190" fmla="*/ 242801 w 645199"/>
                <a:gd name="connsiteY190" fmla="*/ 62132 h 669699"/>
                <a:gd name="connsiteX191" fmla="*/ 244056 w 645199"/>
                <a:gd name="connsiteY191" fmla="*/ 63499 h 669699"/>
                <a:gd name="connsiteX192" fmla="*/ 244218 w 645199"/>
                <a:gd name="connsiteY192" fmla="*/ 65503 h 669699"/>
                <a:gd name="connsiteX193" fmla="*/ 244129 w 645199"/>
                <a:gd name="connsiteY193" fmla="*/ 66879 h 669699"/>
                <a:gd name="connsiteX194" fmla="*/ 244624 w 645199"/>
                <a:gd name="connsiteY194" fmla="*/ 68117 h 669699"/>
                <a:gd name="connsiteX195" fmla="*/ 244756 w 645199"/>
                <a:gd name="connsiteY195" fmla="*/ 69490 h 669699"/>
                <a:gd name="connsiteX196" fmla="*/ 244371 w 645199"/>
                <a:gd name="connsiteY196" fmla="*/ 72915 h 669699"/>
                <a:gd name="connsiteX197" fmla="*/ 244434 w 645199"/>
                <a:gd name="connsiteY197" fmla="*/ 74463 h 669699"/>
                <a:gd name="connsiteX198" fmla="*/ 243341 w 645199"/>
                <a:gd name="connsiteY198" fmla="*/ 74558 h 669699"/>
                <a:gd name="connsiteX199" fmla="*/ 242399 w 645199"/>
                <a:gd name="connsiteY199" fmla="*/ 75085 h 669699"/>
                <a:gd name="connsiteX200" fmla="*/ 241065 w 645199"/>
                <a:gd name="connsiteY200" fmla="*/ 77240 h 669699"/>
                <a:gd name="connsiteX201" fmla="*/ 239532 w 645199"/>
                <a:gd name="connsiteY201" fmla="*/ 77806 h 669699"/>
                <a:gd name="connsiteX202" fmla="*/ 237791 w 645199"/>
                <a:gd name="connsiteY202" fmla="*/ 77977 h 669699"/>
                <a:gd name="connsiteX203" fmla="*/ 235999 w 645199"/>
                <a:gd name="connsiteY203" fmla="*/ 76655 h 669699"/>
                <a:gd name="connsiteX204" fmla="*/ 234526 w 645199"/>
                <a:gd name="connsiteY204" fmla="*/ 75275 h 669699"/>
                <a:gd name="connsiteX205" fmla="*/ 234133 w 645199"/>
                <a:gd name="connsiteY205" fmla="*/ 74508 h 669699"/>
                <a:gd name="connsiteX206" fmla="*/ 233762 w 645199"/>
                <a:gd name="connsiteY206" fmla="*/ 73053 h 669699"/>
                <a:gd name="connsiteX207" fmla="*/ 232969 w 645199"/>
                <a:gd name="connsiteY207" fmla="*/ 72102 h 669699"/>
                <a:gd name="connsiteX208" fmla="*/ 231437 w 645199"/>
                <a:gd name="connsiteY208" fmla="*/ 72547 h 669699"/>
                <a:gd name="connsiteX209" fmla="*/ 229111 w 645199"/>
                <a:gd name="connsiteY209" fmla="*/ 72748 h 669699"/>
                <a:gd name="connsiteX210" fmla="*/ 226593 w 645199"/>
                <a:gd name="connsiteY210" fmla="*/ 73070 h 669699"/>
                <a:gd name="connsiteX211" fmla="*/ 226133 w 645199"/>
                <a:gd name="connsiteY211" fmla="*/ 73389 h 669699"/>
                <a:gd name="connsiteX212" fmla="*/ 226088 w 645199"/>
                <a:gd name="connsiteY212" fmla="*/ 74001 h 669699"/>
                <a:gd name="connsiteX213" fmla="*/ 226703 w 645199"/>
                <a:gd name="connsiteY213" fmla="*/ 75309 h 669699"/>
                <a:gd name="connsiteX214" fmla="*/ 227230 w 645199"/>
                <a:gd name="connsiteY214" fmla="*/ 77014 h 669699"/>
                <a:gd name="connsiteX215" fmla="*/ 227539 w 645199"/>
                <a:gd name="connsiteY215" fmla="*/ 79398 h 669699"/>
                <a:gd name="connsiteX216" fmla="*/ 228221 w 645199"/>
                <a:gd name="connsiteY216" fmla="*/ 80973 h 669699"/>
                <a:gd name="connsiteX217" fmla="*/ 228437 w 645199"/>
                <a:gd name="connsiteY217" fmla="*/ 81476 h 669699"/>
                <a:gd name="connsiteX218" fmla="*/ 232458 w 645199"/>
                <a:gd name="connsiteY218" fmla="*/ 86205 h 669699"/>
                <a:gd name="connsiteX219" fmla="*/ 233516 w 645199"/>
                <a:gd name="connsiteY219" fmla="*/ 87167 h 669699"/>
                <a:gd name="connsiteX220" fmla="*/ 233734 w 645199"/>
                <a:gd name="connsiteY220" fmla="*/ 87801 h 669699"/>
                <a:gd name="connsiteX221" fmla="*/ 233386 w 645199"/>
                <a:gd name="connsiteY221" fmla="*/ 89524 h 669699"/>
                <a:gd name="connsiteX222" fmla="*/ 233328 w 645199"/>
                <a:gd name="connsiteY222" fmla="*/ 89441 h 669699"/>
                <a:gd name="connsiteX223" fmla="*/ 232030 w 645199"/>
                <a:gd name="connsiteY223" fmla="*/ 87620 h 669699"/>
                <a:gd name="connsiteX224" fmla="*/ 233386 w 645199"/>
                <a:gd name="connsiteY224" fmla="*/ 89524 h 669699"/>
                <a:gd name="connsiteX225" fmla="*/ 232663 w 645199"/>
                <a:gd name="connsiteY225" fmla="*/ 91536 h 669699"/>
                <a:gd name="connsiteX226" fmla="*/ 232805 w 645199"/>
                <a:gd name="connsiteY226" fmla="*/ 93130 h 669699"/>
                <a:gd name="connsiteX227" fmla="*/ 234142 w 645199"/>
                <a:gd name="connsiteY227" fmla="*/ 94892 h 669699"/>
                <a:gd name="connsiteX228" fmla="*/ 235226 w 645199"/>
                <a:gd name="connsiteY228" fmla="*/ 96123 h 669699"/>
                <a:gd name="connsiteX229" fmla="*/ 234168 w 645199"/>
                <a:gd name="connsiteY229" fmla="*/ 97780 h 669699"/>
                <a:gd name="connsiteX230" fmla="*/ 233542 w 645199"/>
                <a:gd name="connsiteY230" fmla="*/ 99697 h 669699"/>
                <a:gd name="connsiteX231" fmla="*/ 234246 w 645199"/>
                <a:gd name="connsiteY231" fmla="*/ 100559 h 669699"/>
                <a:gd name="connsiteX232" fmla="*/ 233913 w 645199"/>
                <a:gd name="connsiteY232" fmla="*/ 103313 h 669699"/>
                <a:gd name="connsiteX233" fmla="*/ 234228 w 645199"/>
                <a:gd name="connsiteY233" fmla="*/ 103833 h 669699"/>
                <a:gd name="connsiteX234" fmla="*/ 234975 w 645199"/>
                <a:gd name="connsiteY234" fmla="*/ 104048 h 669699"/>
                <a:gd name="connsiteX235" fmla="*/ 236146 w 645199"/>
                <a:gd name="connsiteY235" fmla="*/ 103857 h 669699"/>
                <a:gd name="connsiteX236" fmla="*/ 237362 w 645199"/>
                <a:gd name="connsiteY236" fmla="*/ 103128 h 669699"/>
                <a:gd name="connsiteX237" fmla="*/ 238390 w 645199"/>
                <a:gd name="connsiteY237" fmla="*/ 102985 h 669699"/>
                <a:gd name="connsiteX238" fmla="*/ 239007 w 645199"/>
                <a:gd name="connsiteY238" fmla="*/ 103195 h 669699"/>
                <a:gd name="connsiteX239" fmla="*/ 239830 w 645199"/>
                <a:gd name="connsiteY239" fmla="*/ 101107 h 669699"/>
                <a:gd name="connsiteX240" fmla="*/ 240551 w 645199"/>
                <a:gd name="connsiteY240" fmla="*/ 100812 h 669699"/>
                <a:gd name="connsiteX241" fmla="*/ 241953 w 645199"/>
                <a:gd name="connsiteY241" fmla="*/ 101388 h 669699"/>
                <a:gd name="connsiteX242" fmla="*/ 244728 w 645199"/>
                <a:gd name="connsiteY242" fmla="*/ 105315 h 669699"/>
                <a:gd name="connsiteX243" fmla="*/ 247075 w 645199"/>
                <a:gd name="connsiteY243" fmla="*/ 108632 h 669699"/>
                <a:gd name="connsiteX244" fmla="*/ 247571 w 645199"/>
                <a:gd name="connsiteY244" fmla="*/ 109089 h 669699"/>
                <a:gd name="connsiteX245" fmla="*/ 247757 w 645199"/>
                <a:gd name="connsiteY245" fmla="*/ 109260 h 669699"/>
                <a:gd name="connsiteX246" fmla="*/ 248174 w 645199"/>
                <a:gd name="connsiteY246" fmla="*/ 109644 h 669699"/>
                <a:gd name="connsiteX247" fmla="*/ 250488 w 645199"/>
                <a:gd name="connsiteY247" fmla="*/ 111361 h 669699"/>
                <a:gd name="connsiteX248" fmla="*/ 252086 w 645199"/>
                <a:gd name="connsiteY248" fmla="*/ 112449 h 669699"/>
                <a:gd name="connsiteX249" fmla="*/ 254272 w 645199"/>
                <a:gd name="connsiteY249" fmla="*/ 112055 h 669699"/>
                <a:gd name="connsiteX250" fmla="*/ 257155 w 645199"/>
                <a:gd name="connsiteY250" fmla="*/ 111981 h 669699"/>
                <a:gd name="connsiteX251" fmla="*/ 258863 w 645199"/>
                <a:gd name="connsiteY251" fmla="*/ 113044 h 669699"/>
                <a:gd name="connsiteX252" fmla="*/ 259852 w 645199"/>
                <a:gd name="connsiteY252" fmla="*/ 113785 h 669699"/>
                <a:gd name="connsiteX253" fmla="*/ 259895 w 645199"/>
                <a:gd name="connsiteY253" fmla="*/ 113889 h 669699"/>
                <a:gd name="connsiteX254" fmla="*/ 260027 w 645199"/>
                <a:gd name="connsiteY254" fmla="*/ 113917 h 669699"/>
                <a:gd name="connsiteX255" fmla="*/ 260029 w 645199"/>
                <a:gd name="connsiteY255" fmla="*/ 113917 h 669699"/>
                <a:gd name="connsiteX256" fmla="*/ 263497 w 645199"/>
                <a:gd name="connsiteY256" fmla="*/ 116516 h 669699"/>
                <a:gd name="connsiteX257" fmla="*/ 265000 w 645199"/>
                <a:gd name="connsiteY257" fmla="*/ 116324 h 669699"/>
                <a:gd name="connsiteX258" fmla="*/ 265993 w 645199"/>
                <a:gd name="connsiteY258" fmla="*/ 117068 h 669699"/>
                <a:gd name="connsiteX259" fmla="*/ 266276 w 645199"/>
                <a:gd name="connsiteY259" fmla="*/ 118904 h 669699"/>
                <a:gd name="connsiteX260" fmla="*/ 265814 w 645199"/>
                <a:gd name="connsiteY260" fmla="*/ 120810 h 669699"/>
                <a:gd name="connsiteX261" fmla="*/ 265924 w 645199"/>
                <a:gd name="connsiteY261" fmla="*/ 121707 h 669699"/>
                <a:gd name="connsiteX262" fmla="*/ 267466 w 645199"/>
                <a:gd name="connsiteY262" fmla="*/ 121879 h 669699"/>
                <a:gd name="connsiteX263" fmla="*/ 270752 w 645199"/>
                <a:gd name="connsiteY263" fmla="*/ 123138 h 669699"/>
                <a:gd name="connsiteX264" fmla="*/ 273659 w 645199"/>
                <a:gd name="connsiteY264" fmla="*/ 124253 h 669699"/>
                <a:gd name="connsiteX265" fmla="*/ 275159 w 645199"/>
                <a:gd name="connsiteY265" fmla="*/ 124609 h 669699"/>
                <a:gd name="connsiteX266" fmla="*/ 276779 w 645199"/>
                <a:gd name="connsiteY266" fmla="*/ 125435 h 669699"/>
                <a:gd name="connsiteX267" fmla="*/ 278209 w 645199"/>
                <a:gd name="connsiteY267" fmla="*/ 126756 h 669699"/>
                <a:gd name="connsiteX268" fmla="*/ 281011 w 645199"/>
                <a:gd name="connsiteY268" fmla="*/ 128450 h 669699"/>
                <a:gd name="connsiteX269" fmla="*/ 283486 w 645199"/>
                <a:gd name="connsiteY269" fmla="*/ 129746 h 669699"/>
                <a:gd name="connsiteX270" fmla="*/ 284035 w 645199"/>
                <a:gd name="connsiteY270" fmla="*/ 131506 h 669699"/>
                <a:gd name="connsiteX271" fmla="*/ 283059 w 645199"/>
                <a:gd name="connsiteY271" fmla="*/ 131129 h 669699"/>
                <a:gd name="connsiteX272" fmla="*/ 281765 w 645199"/>
                <a:gd name="connsiteY272" fmla="*/ 131325 h 669699"/>
                <a:gd name="connsiteX273" fmla="*/ 280450 w 645199"/>
                <a:gd name="connsiteY273" fmla="*/ 132105 h 669699"/>
                <a:gd name="connsiteX274" fmla="*/ 279826 w 645199"/>
                <a:gd name="connsiteY274" fmla="*/ 132600 h 669699"/>
                <a:gd name="connsiteX275" fmla="*/ 276822 w 645199"/>
                <a:gd name="connsiteY275" fmla="*/ 135626 h 669699"/>
                <a:gd name="connsiteX276" fmla="*/ 275248 w 645199"/>
                <a:gd name="connsiteY276" fmla="*/ 136558 h 669699"/>
                <a:gd name="connsiteX277" fmla="*/ 273836 w 645199"/>
                <a:gd name="connsiteY277" fmla="*/ 137914 h 669699"/>
                <a:gd name="connsiteX278" fmla="*/ 270582 w 645199"/>
                <a:gd name="connsiteY278" fmla="*/ 142012 h 669699"/>
                <a:gd name="connsiteX279" fmla="*/ 268703 w 645199"/>
                <a:gd name="connsiteY279" fmla="*/ 145833 h 669699"/>
                <a:gd name="connsiteX280" fmla="*/ 267332 w 645199"/>
                <a:gd name="connsiteY280" fmla="*/ 149422 h 669699"/>
                <a:gd name="connsiteX281" fmla="*/ 267356 w 645199"/>
                <a:gd name="connsiteY281" fmla="*/ 151962 h 669699"/>
                <a:gd name="connsiteX282" fmla="*/ 266848 w 645199"/>
                <a:gd name="connsiteY282" fmla="*/ 154935 h 669699"/>
                <a:gd name="connsiteX283" fmla="*/ 265445 w 645199"/>
                <a:gd name="connsiteY283" fmla="*/ 156628 h 669699"/>
                <a:gd name="connsiteX284" fmla="*/ 264581 w 645199"/>
                <a:gd name="connsiteY284" fmla="*/ 157204 h 669699"/>
                <a:gd name="connsiteX285" fmla="*/ 263566 w 645199"/>
                <a:gd name="connsiteY285" fmla="*/ 159760 h 669699"/>
                <a:gd name="connsiteX286" fmla="*/ 262838 w 645199"/>
                <a:gd name="connsiteY286" fmla="*/ 162739 h 669699"/>
                <a:gd name="connsiteX287" fmla="*/ 263259 w 645199"/>
                <a:gd name="connsiteY287" fmla="*/ 163703 h 669699"/>
                <a:gd name="connsiteX288" fmla="*/ 265004 w 645199"/>
                <a:gd name="connsiteY288" fmla="*/ 165003 h 669699"/>
                <a:gd name="connsiteX289" fmla="*/ 266706 w 645199"/>
                <a:gd name="connsiteY289" fmla="*/ 166270 h 669699"/>
                <a:gd name="connsiteX290" fmla="*/ 268878 w 645199"/>
                <a:gd name="connsiteY290" fmla="*/ 167637 h 669699"/>
                <a:gd name="connsiteX291" fmla="*/ 270951 w 645199"/>
                <a:gd name="connsiteY291" fmla="*/ 168943 h 669699"/>
                <a:gd name="connsiteX292" fmla="*/ 272290 w 645199"/>
                <a:gd name="connsiteY292" fmla="*/ 169114 h 669699"/>
                <a:gd name="connsiteX293" fmla="*/ 272659 w 645199"/>
                <a:gd name="connsiteY293" fmla="*/ 168372 h 669699"/>
                <a:gd name="connsiteX294" fmla="*/ 273147 w 645199"/>
                <a:gd name="connsiteY294" fmla="*/ 167667 h 669699"/>
                <a:gd name="connsiteX295" fmla="*/ 274676 w 645199"/>
                <a:gd name="connsiteY295" fmla="*/ 168041 h 669699"/>
                <a:gd name="connsiteX296" fmla="*/ 276540 w 645199"/>
                <a:gd name="connsiteY296" fmla="*/ 169321 h 669699"/>
                <a:gd name="connsiteX297" fmla="*/ 277753 w 645199"/>
                <a:gd name="connsiteY297" fmla="*/ 170337 h 669699"/>
                <a:gd name="connsiteX298" fmla="*/ 278297 w 645199"/>
                <a:gd name="connsiteY298" fmla="*/ 170678 h 669699"/>
                <a:gd name="connsiteX299" fmla="*/ 281511 w 645199"/>
                <a:gd name="connsiteY299" fmla="*/ 172385 h 669699"/>
                <a:gd name="connsiteX300" fmla="*/ 284175 w 645199"/>
                <a:gd name="connsiteY300" fmla="*/ 173799 h 669699"/>
                <a:gd name="connsiteX301" fmla="*/ 287544 w 645199"/>
                <a:gd name="connsiteY301" fmla="*/ 175586 h 669699"/>
                <a:gd name="connsiteX302" fmla="*/ 288369 w 645199"/>
                <a:gd name="connsiteY302" fmla="*/ 176679 h 669699"/>
                <a:gd name="connsiteX303" fmla="*/ 289092 w 645199"/>
                <a:gd name="connsiteY303" fmla="*/ 177842 h 669699"/>
                <a:gd name="connsiteX304" fmla="*/ 290681 w 645199"/>
                <a:gd name="connsiteY304" fmla="*/ 179386 h 669699"/>
                <a:gd name="connsiteX305" fmla="*/ 294555 w 645199"/>
                <a:gd name="connsiteY305" fmla="*/ 182118 h 669699"/>
                <a:gd name="connsiteX306" fmla="*/ 297861 w 645199"/>
                <a:gd name="connsiteY306" fmla="*/ 184073 h 669699"/>
                <a:gd name="connsiteX307" fmla="*/ 300552 w 645199"/>
                <a:gd name="connsiteY307" fmla="*/ 185667 h 669699"/>
                <a:gd name="connsiteX308" fmla="*/ 302662 w 645199"/>
                <a:gd name="connsiteY308" fmla="*/ 186784 h 669699"/>
                <a:gd name="connsiteX309" fmla="*/ 303640 w 645199"/>
                <a:gd name="connsiteY309" fmla="*/ 186608 h 669699"/>
                <a:gd name="connsiteX310" fmla="*/ 304709 w 645199"/>
                <a:gd name="connsiteY310" fmla="*/ 186015 h 669699"/>
                <a:gd name="connsiteX311" fmla="*/ 305648 w 645199"/>
                <a:gd name="connsiteY311" fmla="*/ 185668 h 669699"/>
                <a:gd name="connsiteX312" fmla="*/ 306739 w 645199"/>
                <a:gd name="connsiteY312" fmla="*/ 185983 h 669699"/>
                <a:gd name="connsiteX313" fmla="*/ 308395 w 645199"/>
                <a:gd name="connsiteY313" fmla="*/ 186835 h 669699"/>
                <a:gd name="connsiteX314" fmla="*/ 312282 w 645199"/>
                <a:gd name="connsiteY314" fmla="*/ 189425 h 669699"/>
                <a:gd name="connsiteX315" fmla="*/ 315901 w 645199"/>
                <a:gd name="connsiteY315" fmla="*/ 191448 h 669699"/>
                <a:gd name="connsiteX316" fmla="*/ 319848 w 645199"/>
                <a:gd name="connsiteY316" fmla="*/ 191084 h 669699"/>
                <a:gd name="connsiteX317" fmla="*/ 320897 w 645199"/>
                <a:gd name="connsiteY317" fmla="*/ 191409 h 669699"/>
                <a:gd name="connsiteX318" fmla="*/ 321638 w 645199"/>
                <a:gd name="connsiteY318" fmla="*/ 193241 h 669699"/>
                <a:gd name="connsiteX319" fmla="*/ 322137 w 645199"/>
                <a:gd name="connsiteY319" fmla="*/ 195095 h 669699"/>
                <a:gd name="connsiteX320" fmla="*/ 326547 w 645199"/>
                <a:gd name="connsiteY320" fmla="*/ 196318 h 669699"/>
                <a:gd name="connsiteX321" fmla="*/ 329449 w 645199"/>
                <a:gd name="connsiteY321" fmla="*/ 196870 h 669699"/>
                <a:gd name="connsiteX322" fmla="*/ 332761 w 645199"/>
                <a:gd name="connsiteY322" fmla="*/ 197877 h 669699"/>
                <a:gd name="connsiteX323" fmla="*/ 334439 w 645199"/>
                <a:gd name="connsiteY323" fmla="*/ 198623 h 669699"/>
                <a:gd name="connsiteX324" fmla="*/ 336201 w 645199"/>
                <a:gd name="connsiteY324" fmla="*/ 197688 h 669699"/>
                <a:gd name="connsiteX325" fmla="*/ 336523 w 645199"/>
                <a:gd name="connsiteY325" fmla="*/ 196863 h 669699"/>
                <a:gd name="connsiteX326" fmla="*/ 337920 w 645199"/>
                <a:gd name="connsiteY326" fmla="*/ 196374 h 669699"/>
                <a:gd name="connsiteX327" fmla="*/ 340231 w 645199"/>
                <a:gd name="connsiteY327" fmla="*/ 196588 h 669699"/>
                <a:gd name="connsiteX328" fmla="*/ 344549 w 645199"/>
                <a:gd name="connsiteY328" fmla="*/ 198028 h 669699"/>
                <a:gd name="connsiteX329" fmla="*/ 346359 w 645199"/>
                <a:gd name="connsiteY329" fmla="*/ 198460 h 669699"/>
                <a:gd name="connsiteX330" fmla="*/ 347871 w 645199"/>
                <a:gd name="connsiteY330" fmla="*/ 197095 h 669699"/>
                <a:gd name="connsiteX331" fmla="*/ 350693 w 645199"/>
                <a:gd name="connsiteY331" fmla="*/ 196462 h 669699"/>
                <a:gd name="connsiteX332" fmla="*/ 352157 w 645199"/>
                <a:gd name="connsiteY332" fmla="*/ 195754 h 669699"/>
                <a:gd name="connsiteX333" fmla="*/ 355225 w 645199"/>
                <a:gd name="connsiteY333" fmla="*/ 197268 h 669699"/>
                <a:gd name="connsiteX334" fmla="*/ 360777 w 645199"/>
                <a:gd name="connsiteY334" fmla="*/ 199167 h 669699"/>
                <a:gd name="connsiteX335" fmla="*/ 363636 w 645199"/>
                <a:gd name="connsiteY335" fmla="*/ 200346 h 669699"/>
                <a:gd name="connsiteX336" fmla="*/ 364312 w 645199"/>
                <a:gd name="connsiteY336" fmla="*/ 201509 h 669699"/>
                <a:gd name="connsiteX337" fmla="*/ 364623 w 645199"/>
                <a:gd name="connsiteY337" fmla="*/ 202609 h 669699"/>
                <a:gd name="connsiteX338" fmla="*/ 364601 w 645199"/>
                <a:gd name="connsiteY338" fmla="*/ 205274 h 669699"/>
                <a:gd name="connsiteX339" fmla="*/ 365299 w 645199"/>
                <a:gd name="connsiteY339" fmla="*/ 206480 h 669699"/>
                <a:gd name="connsiteX340" fmla="*/ 370868 w 645199"/>
                <a:gd name="connsiteY340" fmla="*/ 209193 h 669699"/>
                <a:gd name="connsiteX341" fmla="*/ 372701 w 645199"/>
                <a:gd name="connsiteY341" fmla="*/ 210343 h 669699"/>
                <a:gd name="connsiteX342" fmla="*/ 374187 w 645199"/>
                <a:gd name="connsiteY342" fmla="*/ 210714 h 669699"/>
                <a:gd name="connsiteX343" fmla="*/ 375029 w 645199"/>
                <a:gd name="connsiteY343" fmla="*/ 210760 h 669699"/>
                <a:gd name="connsiteX344" fmla="*/ 375608 w 645199"/>
                <a:gd name="connsiteY344" fmla="*/ 211101 h 669699"/>
                <a:gd name="connsiteX345" fmla="*/ 376106 w 645199"/>
                <a:gd name="connsiteY345" fmla="*/ 212648 h 669699"/>
                <a:gd name="connsiteX346" fmla="*/ 376497 w 645199"/>
                <a:gd name="connsiteY346" fmla="*/ 213004 h 669699"/>
                <a:gd name="connsiteX347" fmla="*/ 377568 w 645199"/>
                <a:gd name="connsiteY347" fmla="*/ 213389 h 669699"/>
                <a:gd name="connsiteX348" fmla="*/ 378735 w 645199"/>
                <a:gd name="connsiteY348" fmla="*/ 213610 h 669699"/>
                <a:gd name="connsiteX349" fmla="*/ 382349 w 645199"/>
                <a:gd name="connsiteY349" fmla="*/ 212275 h 669699"/>
                <a:gd name="connsiteX350" fmla="*/ 384826 w 645199"/>
                <a:gd name="connsiteY350" fmla="*/ 211262 h 669699"/>
                <a:gd name="connsiteX351" fmla="*/ 386595 w 645199"/>
                <a:gd name="connsiteY351" fmla="*/ 211520 h 669699"/>
                <a:gd name="connsiteX352" fmla="*/ 387733 w 645199"/>
                <a:gd name="connsiteY352" fmla="*/ 212645 h 669699"/>
                <a:gd name="connsiteX353" fmla="*/ 387899 w 645199"/>
                <a:gd name="connsiteY353" fmla="*/ 214284 h 669699"/>
                <a:gd name="connsiteX354" fmla="*/ 388560 w 645199"/>
                <a:gd name="connsiteY354" fmla="*/ 216014 h 669699"/>
                <a:gd name="connsiteX355" fmla="*/ 389825 w 645199"/>
                <a:gd name="connsiteY355" fmla="*/ 216859 h 669699"/>
                <a:gd name="connsiteX356" fmla="*/ 391177 w 645199"/>
                <a:gd name="connsiteY356" fmla="*/ 216953 h 669699"/>
                <a:gd name="connsiteX357" fmla="*/ 394530 w 645199"/>
                <a:gd name="connsiteY357" fmla="*/ 215786 h 669699"/>
                <a:gd name="connsiteX358" fmla="*/ 397230 w 645199"/>
                <a:gd name="connsiteY358" fmla="*/ 216679 h 669699"/>
                <a:gd name="connsiteX359" fmla="*/ 399711 w 645199"/>
                <a:gd name="connsiteY359" fmla="*/ 217005 h 669699"/>
                <a:gd name="connsiteX360" fmla="*/ 402464 w 645199"/>
                <a:gd name="connsiteY360" fmla="*/ 217565 h 669699"/>
                <a:gd name="connsiteX361" fmla="*/ 403533 w 645199"/>
                <a:gd name="connsiteY361" fmla="*/ 217994 h 669699"/>
                <a:gd name="connsiteX362" fmla="*/ 406390 w 645199"/>
                <a:gd name="connsiteY362" fmla="*/ 219425 h 669699"/>
                <a:gd name="connsiteX363" fmla="*/ 409877 w 645199"/>
                <a:gd name="connsiteY363" fmla="*/ 220870 h 669699"/>
                <a:gd name="connsiteX364" fmla="*/ 411229 w 645199"/>
                <a:gd name="connsiteY364" fmla="*/ 220707 h 669699"/>
                <a:gd name="connsiteX365" fmla="*/ 416843 w 645199"/>
                <a:gd name="connsiteY365" fmla="*/ 218015 h 669699"/>
                <a:gd name="connsiteX366" fmla="*/ 417318 w 645199"/>
                <a:gd name="connsiteY366" fmla="*/ 218343 h 669699"/>
                <a:gd name="connsiteX367" fmla="*/ 418461 w 645199"/>
                <a:gd name="connsiteY367" fmla="*/ 220914 h 669699"/>
                <a:gd name="connsiteX368" fmla="*/ 420169 w 645199"/>
                <a:gd name="connsiteY368" fmla="*/ 221838 h 669699"/>
                <a:gd name="connsiteX369" fmla="*/ 422836 w 645199"/>
                <a:gd name="connsiteY369" fmla="*/ 222642 h 669699"/>
                <a:gd name="connsiteX370" fmla="*/ 425625 w 645199"/>
                <a:gd name="connsiteY370" fmla="*/ 221157 h 669699"/>
                <a:gd name="connsiteX371" fmla="*/ 427826 w 645199"/>
                <a:gd name="connsiteY371" fmla="*/ 221583 h 669699"/>
                <a:gd name="connsiteX372" fmla="*/ 430486 w 645199"/>
                <a:gd name="connsiteY372" fmla="*/ 221722 h 669699"/>
                <a:gd name="connsiteX373" fmla="*/ 433039 w 645199"/>
                <a:gd name="connsiteY373" fmla="*/ 221007 h 669699"/>
                <a:gd name="connsiteX374" fmla="*/ 435259 w 645199"/>
                <a:gd name="connsiteY374" fmla="*/ 220826 h 669699"/>
                <a:gd name="connsiteX375" fmla="*/ 438485 w 645199"/>
                <a:gd name="connsiteY375" fmla="*/ 222119 h 669699"/>
                <a:gd name="connsiteX376" fmla="*/ 439189 w 645199"/>
                <a:gd name="connsiteY376" fmla="*/ 221819 h 669699"/>
                <a:gd name="connsiteX377" fmla="*/ 439806 w 645199"/>
                <a:gd name="connsiteY377" fmla="*/ 220989 h 669699"/>
                <a:gd name="connsiteX378" fmla="*/ 441059 w 645199"/>
                <a:gd name="connsiteY378" fmla="*/ 217280 h 669699"/>
                <a:gd name="connsiteX379" fmla="*/ 442164 w 645199"/>
                <a:gd name="connsiteY379" fmla="*/ 213995 h 669699"/>
                <a:gd name="connsiteX380" fmla="*/ 442069 w 645199"/>
                <a:gd name="connsiteY380" fmla="*/ 212035 h 669699"/>
                <a:gd name="connsiteX381" fmla="*/ 441048 w 645199"/>
                <a:gd name="connsiteY381" fmla="*/ 209156 h 669699"/>
                <a:gd name="connsiteX382" fmla="*/ 438441 w 645199"/>
                <a:gd name="connsiteY382" fmla="*/ 205408 h 669699"/>
                <a:gd name="connsiteX383" fmla="*/ 438247 w 645199"/>
                <a:gd name="connsiteY383" fmla="*/ 204269 h 669699"/>
                <a:gd name="connsiteX384" fmla="*/ 439126 w 645199"/>
                <a:gd name="connsiteY384" fmla="*/ 197720 h 669699"/>
                <a:gd name="connsiteX385" fmla="*/ 440094 w 645199"/>
                <a:gd name="connsiteY385" fmla="*/ 193940 h 669699"/>
                <a:gd name="connsiteX386" fmla="*/ 440927 w 645199"/>
                <a:gd name="connsiteY386" fmla="*/ 192150 h 669699"/>
                <a:gd name="connsiteX387" fmla="*/ 441843 w 645199"/>
                <a:gd name="connsiteY387" fmla="*/ 189600 h 669699"/>
                <a:gd name="connsiteX388" fmla="*/ 442004 w 645199"/>
                <a:gd name="connsiteY388" fmla="*/ 188418 h 669699"/>
                <a:gd name="connsiteX389" fmla="*/ 441916 w 645199"/>
                <a:gd name="connsiteY389" fmla="*/ 187352 h 669699"/>
                <a:gd name="connsiteX390" fmla="*/ 441020 w 645199"/>
                <a:gd name="connsiteY390" fmla="*/ 186700 h 669699"/>
                <a:gd name="connsiteX391" fmla="*/ 440780 w 645199"/>
                <a:gd name="connsiteY391" fmla="*/ 185889 h 669699"/>
                <a:gd name="connsiteX392" fmla="*/ 441002 w 645199"/>
                <a:gd name="connsiteY392" fmla="*/ 185208 h 669699"/>
                <a:gd name="connsiteX393" fmla="*/ 441713 w 645199"/>
                <a:gd name="connsiteY393" fmla="*/ 184828 h 669699"/>
                <a:gd name="connsiteX394" fmla="*/ 444678 w 645199"/>
                <a:gd name="connsiteY394" fmla="*/ 184351 h 669699"/>
                <a:gd name="connsiteX395" fmla="*/ 448012 w 645199"/>
                <a:gd name="connsiteY395" fmla="*/ 183327 h 669699"/>
                <a:gd name="connsiteX396" fmla="*/ 449342 w 645199"/>
                <a:gd name="connsiteY396" fmla="*/ 182782 h 669699"/>
                <a:gd name="connsiteX397" fmla="*/ 450348 w 645199"/>
                <a:gd name="connsiteY397" fmla="*/ 182234 h 669699"/>
                <a:gd name="connsiteX398" fmla="*/ 451372 w 645199"/>
                <a:gd name="connsiteY398" fmla="*/ 181373 h 669699"/>
                <a:gd name="connsiteX399" fmla="*/ 452327 w 645199"/>
                <a:gd name="connsiteY399" fmla="*/ 181409 h 669699"/>
                <a:gd name="connsiteX400" fmla="*/ 455315 w 645199"/>
                <a:gd name="connsiteY400" fmla="*/ 182657 h 669699"/>
                <a:gd name="connsiteX401" fmla="*/ 456364 w 645199"/>
                <a:gd name="connsiteY401" fmla="*/ 183440 h 669699"/>
                <a:gd name="connsiteX402" fmla="*/ 456915 w 645199"/>
                <a:gd name="connsiteY402" fmla="*/ 185824 h 669699"/>
                <a:gd name="connsiteX403" fmla="*/ 457362 w 645199"/>
                <a:gd name="connsiteY403" fmla="*/ 186746 h 669699"/>
                <a:gd name="connsiteX404" fmla="*/ 456943 w 645199"/>
                <a:gd name="connsiteY404" fmla="*/ 189166 h 669699"/>
                <a:gd name="connsiteX405" fmla="*/ 455155 w 645199"/>
                <a:gd name="connsiteY405" fmla="*/ 195026 h 669699"/>
                <a:gd name="connsiteX406" fmla="*/ 455505 w 645199"/>
                <a:gd name="connsiteY406" fmla="*/ 197219 h 669699"/>
                <a:gd name="connsiteX407" fmla="*/ 457001 w 645199"/>
                <a:gd name="connsiteY407" fmla="*/ 198817 h 669699"/>
                <a:gd name="connsiteX408" fmla="*/ 458304 w 645199"/>
                <a:gd name="connsiteY408" fmla="*/ 199932 h 669699"/>
                <a:gd name="connsiteX409" fmla="*/ 458087 w 645199"/>
                <a:gd name="connsiteY409" fmla="*/ 200375 h 669699"/>
                <a:gd name="connsiteX410" fmla="*/ 455405 w 645199"/>
                <a:gd name="connsiteY410" fmla="*/ 202265 h 669699"/>
                <a:gd name="connsiteX411" fmla="*/ 454929 w 645199"/>
                <a:gd name="connsiteY411" fmla="*/ 203278 h 669699"/>
                <a:gd name="connsiteX412" fmla="*/ 455522 w 645199"/>
                <a:gd name="connsiteY412" fmla="*/ 204262 h 669699"/>
                <a:gd name="connsiteX413" fmla="*/ 456583 w 645199"/>
                <a:gd name="connsiteY413" fmla="*/ 205100 h 669699"/>
                <a:gd name="connsiteX414" fmla="*/ 457060 w 645199"/>
                <a:gd name="connsiteY414" fmla="*/ 205896 h 669699"/>
                <a:gd name="connsiteX415" fmla="*/ 457556 w 645199"/>
                <a:gd name="connsiteY415" fmla="*/ 208371 h 669699"/>
                <a:gd name="connsiteX416" fmla="*/ 458917 w 645199"/>
                <a:gd name="connsiteY416" fmla="*/ 209067 h 669699"/>
                <a:gd name="connsiteX417" fmla="*/ 461610 w 645199"/>
                <a:gd name="connsiteY417" fmla="*/ 210664 h 669699"/>
                <a:gd name="connsiteX418" fmla="*/ 463982 w 645199"/>
                <a:gd name="connsiteY418" fmla="*/ 211825 h 669699"/>
                <a:gd name="connsiteX419" fmla="*/ 468049 w 645199"/>
                <a:gd name="connsiteY419" fmla="*/ 211053 h 669699"/>
                <a:gd name="connsiteX420" fmla="*/ 469200 w 645199"/>
                <a:gd name="connsiteY420" fmla="*/ 211578 h 669699"/>
                <a:gd name="connsiteX421" fmla="*/ 471200 w 645199"/>
                <a:gd name="connsiteY421" fmla="*/ 212128 h 669699"/>
                <a:gd name="connsiteX422" fmla="*/ 472759 w 645199"/>
                <a:gd name="connsiteY422" fmla="*/ 212298 h 669699"/>
                <a:gd name="connsiteX423" fmla="*/ 473666 w 645199"/>
                <a:gd name="connsiteY423" fmla="*/ 212709 h 669699"/>
                <a:gd name="connsiteX424" fmla="*/ 474175 w 645199"/>
                <a:gd name="connsiteY424" fmla="*/ 213107 h 669699"/>
                <a:gd name="connsiteX425" fmla="*/ 474108 w 645199"/>
                <a:gd name="connsiteY425" fmla="*/ 213608 h 669699"/>
                <a:gd name="connsiteX426" fmla="*/ 474193 w 645199"/>
                <a:gd name="connsiteY426" fmla="*/ 214123 h 669699"/>
                <a:gd name="connsiteX427" fmla="*/ 476425 w 645199"/>
                <a:gd name="connsiteY427" fmla="*/ 214254 h 669699"/>
                <a:gd name="connsiteX428" fmla="*/ 477596 w 645199"/>
                <a:gd name="connsiteY428" fmla="*/ 214547 h 669699"/>
                <a:gd name="connsiteX429" fmla="*/ 481560 w 645199"/>
                <a:gd name="connsiteY429" fmla="*/ 214016 h 669699"/>
                <a:gd name="connsiteX430" fmla="*/ 485535 w 645199"/>
                <a:gd name="connsiteY430" fmla="*/ 213288 h 669699"/>
                <a:gd name="connsiteX431" fmla="*/ 487373 w 645199"/>
                <a:gd name="connsiteY431" fmla="*/ 211080 h 669699"/>
                <a:gd name="connsiteX432" fmla="*/ 488176 w 645199"/>
                <a:gd name="connsiteY432" fmla="*/ 210922 h 669699"/>
                <a:gd name="connsiteX433" fmla="*/ 490465 w 645199"/>
                <a:gd name="connsiteY433" fmla="*/ 210063 h 669699"/>
                <a:gd name="connsiteX434" fmla="*/ 492716 w 645199"/>
                <a:gd name="connsiteY434" fmla="*/ 211003 h 669699"/>
                <a:gd name="connsiteX435" fmla="*/ 495197 w 645199"/>
                <a:gd name="connsiteY435" fmla="*/ 212290 h 669699"/>
                <a:gd name="connsiteX436" fmla="*/ 496533 w 645199"/>
                <a:gd name="connsiteY436" fmla="*/ 212679 h 669699"/>
                <a:gd name="connsiteX437" fmla="*/ 499172 w 645199"/>
                <a:gd name="connsiteY437" fmla="*/ 212882 h 669699"/>
                <a:gd name="connsiteX438" fmla="*/ 501740 w 645199"/>
                <a:gd name="connsiteY438" fmla="*/ 212738 h 669699"/>
                <a:gd name="connsiteX439" fmla="*/ 507890 w 645199"/>
                <a:gd name="connsiteY439" fmla="*/ 212128 h 669699"/>
                <a:gd name="connsiteX440" fmla="*/ 511265 w 645199"/>
                <a:gd name="connsiteY440" fmla="*/ 212448 h 669699"/>
                <a:gd name="connsiteX441" fmla="*/ 514365 w 645199"/>
                <a:gd name="connsiteY441" fmla="*/ 210615 h 669699"/>
                <a:gd name="connsiteX442" fmla="*/ 515009 w 645199"/>
                <a:gd name="connsiteY442" fmla="*/ 210620 h 669699"/>
                <a:gd name="connsiteX443" fmla="*/ 516374 w 645199"/>
                <a:gd name="connsiteY443" fmla="*/ 212035 h 669699"/>
                <a:gd name="connsiteX444" fmla="*/ 519779 w 645199"/>
                <a:gd name="connsiteY444" fmla="*/ 212162 h 669699"/>
                <a:gd name="connsiteX445" fmla="*/ 521595 w 645199"/>
                <a:gd name="connsiteY445" fmla="*/ 211478 h 669699"/>
                <a:gd name="connsiteX446" fmla="*/ 523549 w 645199"/>
                <a:gd name="connsiteY446" fmla="*/ 210950 h 669699"/>
                <a:gd name="connsiteX447" fmla="*/ 524800 w 645199"/>
                <a:gd name="connsiteY447" fmla="*/ 210782 h 669699"/>
                <a:gd name="connsiteX448" fmla="*/ 525797 w 645199"/>
                <a:gd name="connsiteY448" fmla="*/ 210764 h 669699"/>
                <a:gd name="connsiteX449" fmla="*/ 527004 w 645199"/>
                <a:gd name="connsiteY449" fmla="*/ 210903 h 669699"/>
                <a:gd name="connsiteX450" fmla="*/ 528141 w 645199"/>
                <a:gd name="connsiteY450" fmla="*/ 210431 h 669699"/>
                <a:gd name="connsiteX451" fmla="*/ 528665 w 645199"/>
                <a:gd name="connsiteY451" fmla="*/ 209480 h 669699"/>
                <a:gd name="connsiteX452" fmla="*/ 528548 w 645199"/>
                <a:gd name="connsiteY452" fmla="*/ 208045 h 669699"/>
                <a:gd name="connsiteX453" fmla="*/ 527724 w 645199"/>
                <a:gd name="connsiteY453" fmla="*/ 206484 h 669699"/>
                <a:gd name="connsiteX454" fmla="*/ 527011 w 645199"/>
                <a:gd name="connsiteY454" fmla="*/ 205569 h 669699"/>
                <a:gd name="connsiteX455" fmla="*/ 526871 w 645199"/>
                <a:gd name="connsiteY455" fmla="*/ 205079 h 669699"/>
                <a:gd name="connsiteX456" fmla="*/ 527097 w 645199"/>
                <a:gd name="connsiteY456" fmla="*/ 203949 h 669699"/>
                <a:gd name="connsiteX457" fmla="*/ 527730 w 645199"/>
                <a:gd name="connsiteY457" fmla="*/ 202356 h 669699"/>
                <a:gd name="connsiteX458" fmla="*/ 528885 w 645199"/>
                <a:gd name="connsiteY458" fmla="*/ 200538 h 669699"/>
                <a:gd name="connsiteX459" fmla="*/ 528034 w 645199"/>
                <a:gd name="connsiteY459" fmla="*/ 198773 h 669699"/>
                <a:gd name="connsiteX460" fmla="*/ 526838 w 645199"/>
                <a:gd name="connsiteY460" fmla="*/ 196735 h 669699"/>
                <a:gd name="connsiteX461" fmla="*/ 525957 w 645199"/>
                <a:gd name="connsiteY461" fmla="*/ 196542 h 669699"/>
                <a:gd name="connsiteX462" fmla="*/ 523752 w 645199"/>
                <a:gd name="connsiteY462" fmla="*/ 197011 h 669699"/>
                <a:gd name="connsiteX463" fmla="*/ 521360 w 645199"/>
                <a:gd name="connsiteY463" fmla="*/ 196918 h 669699"/>
                <a:gd name="connsiteX464" fmla="*/ 519481 w 645199"/>
                <a:gd name="connsiteY464" fmla="*/ 195700 h 669699"/>
                <a:gd name="connsiteX465" fmla="*/ 518080 w 645199"/>
                <a:gd name="connsiteY465" fmla="*/ 194172 h 669699"/>
                <a:gd name="connsiteX466" fmla="*/ 517739 w 645199"/>
                <a:gd name="connsiteY466" fmla="*/ 192889 h 669699"/>
                <a:gd name="connsiteX467" fmla="*/ 518144 w 645199"/>
                <a:gd name="connsiteY467" fmla="*/ 191324 h 669699"/>
                <a:gd name="connsiteX468" fmla="*/ 518768 w 645199"/>
                <a:gd name="connsiteY468" fmla="*/ 189885 h 669699"/>
                <a:gd name="connsiteX469" fmla="*/ 518902 w 645199"/>
                <a:gd name="connsiteY469" fmla="*/ 189344 h 669699"/>
                <a:gd name="connsiteX470" fmla="*/ 520686 w 645199"/>
                <a:gd name="connsiteY470" fmla="*/ 189347 h 669699"/>
                <a:gd name="connsiteX471" fmla="*/ 523165 w 645199"/>
                <a:gd name="connsiteY471" fmla="*/ 189666 h 669699"/>
                <a:gd name="connsiteX472" fmla="*/ 525038 w 645199"/>
                <a:gd name="connsiteY472" fmla="*/ 190066 h 669699"/>
                <a:gd name="connsiteX473" fmla="*/ 526547 w 645199"/>
                <a:gd name="connsiteY473" fmla="*/ 190050 h 669699"/>
                <a:gd name="connsiteX474" fmla="*/ 529281 w 645199"/>
                <a:gd name="connsiteY474" fmla="*/ 188205 h 669699"/>
                <a:gd name="connsiteX475" fmla="*/ 530526 w 645199"/>
                <a:gd name="connsiteY475" fmla="*/ 188094 h 669699"/>
                <a:gd name="connsiteX476" fmla="*/ 531956 w 645199"/>
                <a:gd name="connsiteY476" fmla="*/ 187743 h 669699"/>
                <a:gd name="connsiteX477" fmla="*/ 532580 w 645199"/>
                <a:gd name="connsiteY477" fmla="*/ 187395 h 669699"/>
                <a:gd name="connsiteX478" fmla="*/ 533014 w 645199"/>
                <a:gd name="connsiteY478" fmla="*/ 187665 h 669699"/>
                <a:gd name="connsiteX479" fmla="*/ 534582 w 645199"/>
                <a:gd name="connsiteY479" fmla="*/ 187891 h 669699"/>
                <a:gd name="connsiteX480" fmla="*/ 536214 w 645199"/>
                <a:gd name="connsiteY480" fmla="*/ 187799 h 669699"/>
                <a:gd name="connsiteX481" fmla="*/ 537669 w 645199"/>
                <a:gd name="connsiteY481" fmla="*/ 187289 h 669699"/>
                <a:gd name="connsiteX482" fmla="*/ 539130 w 645199"/>
                <a:gd name="connsiteY482" fmla="*/ 186494 h 669699"/>
                <a:gd name="connsiteX483" fmla="*/ 541731 w 645199"/>
                <a:gd name="connsiteY483" fmla="*/ 184828 h 669699"/>
                <a:gd name="connsiteX484" fmla="*/ 542250 w 645199"/>
                <a:gd name="connsiteY484" fmla="*/ 183870 h 669699"/>
                <a:gd name="connsiteX485" fmla="*/ 542244 w 645199"/>
                <a:gd name="connsiteY485" fmla="*/ 182991 h 669699"/>
                <a:gd name="connsiteX486" fmla="*/ 541760 w 645199"/>
                <a:gd name="connsiteY486" fmla="*/ 182414 h 669699"/>
                <a:gd name="connsiteX487" fmla="*/ 541269 w 645199"/>
                <a:gd name="connsiteY487" fmla="*/ 182135 h 669699"/>
                <a:gd name="connsiteX488" fmla="*/ 541470 w 645199"/>
                <a:gd name="connsiteY488" fmla="*/ 181373 h 669699"/>
                <a:gd name="connsiteX489" fmla="*/ 542561 w 645199"/>
                <a:gd name="connsiteY489" fmla="*/ 180086 h 669699"/>
                <a:gd name="connsiteX490" fmla="*/ 546540 w 645199"/>
                <a:gd name="connsiteY490" fmla="*/ 178147 h 669699"/>
                <a:gd name="connsiteX491" fmla="*/ 549926 w 645199"/>
                <a:gd name="connsiteY491" fmla="*/ 175763 h 669699"/>
                <a:gd name="connsiteX492" fmla="*/ 551790 w 645199"/>
                <a:gd name="connsiteY492" fmla="*/ 173974 h 669699"/>
                <a:gd name="connsiteX493" fmla="*/ 552643 w 645199"/>
                <a:gd name="connsiteY493" fmla="*/ 171805 h 669699"/>
                <a:gd name="connsiteX494" fmla="*/ 553720 w 645199"/>
                <a:gd name="connsiteY494" fmla="*/ 169452 h 669699"/>
                <a:gd name="connsiteX495" fmla="*/ 554724 w 645199"/>
                <a:gd name="connsiteY495" fmla="*/ 168523 h 669699"/>
                <a:gd name="connsiteX496" fmla="*/ 557126 w 645199"/>
                <a:gd name="connsiteY496" fmla="*/ 167934 h 669699"/>
                <a:gd name="connsiteX497" fmla="*/ 563856 w 645199"/>
                <a:gd name="connsiteY497" fmla="*/ 167065 h 669699"/>
                <a:gd name="connsiteX498" fmla="*/ 565975 w 645199"/>
                <a:gd name="connsiteY498" fmla="*/ 166115 h 669699"/>
                <a:gd name="connsiteX499" fmla="*/ 569104 w 645199"/>
                <a:gd name="connsiteY499" fmla="*/ 164351 h 669699"/>
                <a:gd name="connsiteX500" fmla="*/ 570682 w 645199"/>
                <a:gd name="connsiteY500" fmla="*/ 162967 h 669699"/>
                <a:gd name="connsiteX501" fmla="*/ 571559 w 645199"/>
                <a:gd name="connsiteY501" fmla="*/ 161844 h 669699"/>
                <a:gd name="connsiteX502" fmla="*/ 571656 w 645199"/>
                <a:gd name="connsiteY502" fmla="*/ 160593 h 669699"/>
                <a:gd name="connsiteX503" fmla="*/ 573732 w 645199"/>
                <a:gd name="connsiteY503" fmla="*/ 160200 h 669699"/>
                <a:gd name="connsiteX504" fmla="*/ 575543 w 645199"/>
                <a:gd name="connsiteY504" fmla="*/ 158178 h 669699"/>
                <a:gd name="connsiteX505" fmla="*/ 577750 w 645199"/>
                <a:gd name="connsiteY505" fmla="*/ 156139 h 669699"/>
                <a:gd name="connsiteX506" fmla="*/ 581616 w 645199"/>
                <a:gd name="connsiteY506" fmla="*/ 154415 h 669699"/>
                <a:gd name="connsiteX507" fmla="*/ 585042 w 645199"/>
                <a:gd name="connsiteY507" fmla="*/ 152097 h 669699"/>
                <a:gd name="connsiteX508" fmla="*/ 586236 w 645199"/>
                <a:gd name="connsiteY508" fmla="*/ 152468 h 669699"/>
                <a:gd name="connsiteX509" fmla="*/ 587483 w 645199"/>
                <a:gd name="connsiteY509" fmla="*/ 153562 h 669699"/>
                <a:gd name="connsiteX510" fmla="*/ 588138 w 645199"/>
                <a:gd name="connsiteY510" fmla="*/ 154775 h 669699"/>
                <a:gd name="connsiteX511" fmla="*/ 588280 w 645199"/>
                <a:gd name="connsiteY511" fmla="*/ 155386 h 669699"/>
                <a:gd name="connsiteX512" fmla="*/ 592658 w 645199"/>
                <a:gd name="connsiteY512" fmla="*/ 156153 h 669699"/>
                <a:gd name="connsiteX513" fmla="*/ 593351 w 645199"/>
                <a:gd name="connsiteY513" fmla="*/ 156030 h 669699"/>
                <a:gd name="connsiteX514" fmla="*/ 596577 w 645199"/>
                <a:gd name="connsiteY514" fmla="*/ 157116 h 669699"/>
                <a:gd name="connsiteX515" fmla="*/ 599549 w 645199"/>
                <a:gd name="connsiteY515" fmla="*/ 158427 h 669699"/>
                <a:gd name="connsiteX516" fmla="*/ 601186 w 645199"/>
                <a:gd name="connsiteY516" fmla="*/ 158756 h 669699"/>
                <a:gd name="connsiteX517" fmla="*/ 601985 w 645199"/>
                <a:gd name="connsiteY517" fmla="*/ 158720 h 669699"/>
                <a:gd name="connsiteX518" fmla="*/ 602669 w 645199"/>
                <a:gd name="connsiteY518" fmla="*/ 158313 h 669699"/>
                <a:gd name="connsiteX519" fmla="*/ 603472 w 645199"/>
                <a:gd name="connsiteY519" fmla="*/ 157158 h 669699"/>
                <a:gd name="connsiteX520" fmla="*/ 604296 w 645199"/>
                <a:gd name="connsiteY520" fmla="*/ 156322 h 669699"/>
                <a:gd name="connsiteX521" fmla="*/ 604810 w 645199"/>
                <a:gd name="connsiteY521" fmla="*/ 155981 h 669699"/>
                <a:gd name="connsiteX522" fmla="*/ 604783 w 645199"/>
                <a:gd name="connsiteY522" fmla="*/ 154652 h 669699"/>
                <a:gd name="connsiteX523" fmla="*/ 609084 w 645199"/>
                <a:gd name="connsiteY523" fmla="*/ 152063 h 669699"/>
                <a:gd name="connsiteX524" fmla="*/ 612948 w 645199"/>
                <a:gd name="connsiteY524" fmla="*/ 150204 h 669699"/>
                <a:gd name="connsiteX525" fmla="*/ 616272 w 645199"/>
                <a:gd name="connsiteY525" fmla="*/ 148848 h 669699"/>
                <a:gd name="connsiteX526" fmla="*/ 617250 w 645199"/>
                <a:gd name="connsiteY526" fmla="*/ 149403 h 669699"/>
                <a:gd name="connsiteX527" fmla="*/ 618331 w 645199"/>
                <a:gd name="connsiteY527" fmla="*/ 150434 h 669699"/>
                <a:gd name="connsiteX528" fmla="*/ 619795 w 645199"/>
                <a:gd name="connsiteY528" fmla="*/ 153060 h 669699"/>
                <a:gd name="connsiteX529" fmla="*/ 620685 w 645199"/>
                <a:gd name="connsiteY529" fmla="*/ 153702 h 669699"/>
                <a:gd name="connsiteX530" fmla="*/ 622946 w 645199"/>
                <a:gd name="connsiteY530" fmla="*/ 153336 h 669699"/>
                <a:gd name="connsiteX531" fmla="*/ 623358 w 645199"/>
                <a:gd name="connsiteY531" fmla="*/ 153623 h 669699"/>
                <a:gd name="connsiteX532" fmla="*/ 623002 w 645199"/>
                <a:gd name="connsiteY532" fmla="*/ 154569 h 669699"/>
                <a:gd name="connsiteX533" fmla="*/ 621471 w 645199"/>
                <a:gd name="connsiteY533" fmla="*/ 155739 h 669699"/>
                <a:gd name="connsiteX534" fmla="*/ 619488 w 645199"/>
                <a:gd name="connsiteY534" fmla="*/ 156788 h 669699"/>
                <a:gd name="connsiteX535" fmla="*/ 618196 w 645199"/>
                <a:gd name="connsiteY535" fmla="*/ 157645 h 669699"/>
                <a:gd name="connsiteX536" fmla="*/ 618616 w 645199"/>
                <a:gd name="connsiteY536" fmla="*/ 160498 h 669699"/>
                <a:gd name="connsiteX537" fmla="*/ 618521 w 645199"/>
                <a:gd name="connsiteY537" fmla="*/ 161481 h 669699"/>
                <a:gd name="connsiteX538" fmla="*/ 619076 w 645199"/>
                <a:gd name="connsiteY538" fmla="*/ 161791 h 669699"/>
                <a:gd name="connsiteX539" fmla="*/ 623160 w 645199"/>
                <a:gd name="connsiteY539" fmla="*/ 158960 h 669699"/>
                <a:gd name="connsiteX540" fmla="*/ 625125 w 645199"/>
                <a:gd name="connsiteY540" fmla="*/ 158400 h 669699"/>
                <a:gd name="connsiteX541" fmla="*/ 625818 w 645199"/>
                <a:gd name="connsiteY541" fmla="*/ 159084 h 669699"/>
                <a:gd name="connsiteX542" fmla="*/ 626041 w 645199"/>
                <a:gd name="connsiteY542" fmla="*/ 160598 h 669699"/>
                <a:gd name="connsiteX543" fmla="*/ 627652 w 645199"/>
                <a:gd name="connsiteY543" fmla="*/ 163717 h 669699"/>
                <a:gd name="connsiteX544" fmla="*/ 628334 w 645199"/>
                <a:gd name="connsiteY544" fmla="*/ 165301 h 669699"/>
                <a:gd name="connsiteX545" fmla="*/ 624237 w 645199"/>
                <a:gd name="connsiteY545" fmla="*/ 169074 h 669699"/>
                <a:gd name="connsiteX546" fmla="*/ 622728 w 645199"/>
                <a:gd name="connsiteY546" fmla="*/ 171021 h 669699"/>
                <a:gd name="connsiteX547" fmla="*/ 622784 w 645199"/>
                <a:gd name="connsiteY547" fmla="*/ 171707 h 669699"/>
                <a:gd name="connsiteX548" fmla="*/ 622702 w 645199"/>
                <a:gd name="connsiteY548" fmla="*/ 172385 h 669699"/>
                <a:gd name="connsiteX549" fmla="*/ 621657 w 645199"/>
                <a:gd name="connsiteY549" fmla="*/ 173353 h 669699"/>
                <a:gd name="connsiteX550" fmla="*/ 621713 w 645199"/>
                <a:gd name="connsiteY550" fmla="*/ 173739 h 669699"/>
                <a:gd name="connsiteX551" fmla="*/ 622562 w 645199"/>
                <a:gd name="connsiteY551" fmla="*/ 174352 h 669699"/>
                <a:gd name="connsiteX552" fmla="*/ 623591 w 645199"/>
                <a:gd name="connsiteY552" fmla="*/ 174813 h 669699"/>
                <a:gd name="connsiteX553" fmla="*/ 624093 w 645199"/>
                <a:gd name="connsiteY553" fmla="*/ 174798 h 669699"/>
                <a:gd name="connsiteX554" fmla="*/ 624948 w 645199"/>
                <a:gd name="connsiteY554" fmla="*/ 173884 h 669699"/>
                <a:gd name="connsiteX555" fmla="*/ 628815 w 645199"/>
                <a:gd name="connsiteY555" fmla="*/ 172592 h 669699"/>
                <a:gd name="connsiteX556" fmla="*/ 629925 w 645199"/>
                <a:gd name="connsiteY556" fmla="*/ 172836 h 669699"/>
                <a:gd name="connsiteX557" fmla="*/ 632643 w 645199"/>
                <a:gd name="connsiteY557" fmla="*/ 174818 h 669699"/>
                <a:gd name="connsiteX558" fmla="*/ 633909 w 645199"/>
                <a:gd name="connsiteY558" fmla="*/ 174930 h 669699"/>
                <a:gd name="connsiteX559" fmla="*/ 637179 w 645199"/>
                <a:gd name="connsiteY559" fmla="*/ 175522 h 669699"/>
                <a:gd name="connsiteX560" fmla="*/ 639269 w 645199"/>
                <a:gd name="connsiteY560" fmla="*/ 174773 h 669699"/>
                <a:gd name="connsiteX561" fmla="*/ 640810 w 645199"/>
                <a:gd name="connsiteY561" fmla="*/ 175459 h 669699"/>
                <a:gd name="connsiteX562" fmla="*/ 644002 w 645199"/>
                <a:gd name="connsiteY562" fmla="*/ 177938 h 669699"/>
                <a:gd name="connsiteX563" fmla="*/ 644732 w 645199"/>
                <a:gd name="connsiteY563" fmla="*/ 178390 h 669699"/>
                <a:gd name="connsiteX564" fmla="*/ 644462 w 645199"/>
                <a:gd name="connsiteY564" fmla="*/ 179892 h 669699"/>
                <a:gd name="connsiteX565" fmla="*/ 644295 w 645199"/>
                <a:gd name="connsiteY565" fmla="*/ 181549 h 669699"/>
                <a:gd name="connsiteX566" fmla="*/ 645101 w 645199"/>
                <a:gd name="connsiteY566" fmla="*/ 182868 h 669699"/>
                <a:gd name="connsiteX567" fmla="*/ 645199 w 645199"/>
                <a:gd name="connsiteY567" fmla="*/ 184029 h 669699"/>
                <a:gd name="connsiteX568" fmla="*/ 645012 w 645199"/>
                <a:gd name="connsiteY568" fmla="*/ 185095 h 669699"/>
                <a:gd name="connsiteX569" fmla="*/ 644371 w 645199"/>
                <a:gd name="connsiteY569" fmla="*/ 185828 h 669699"/>
                <a:gd name="connsiteX570" fmla="*/ 642601 w 645199"/>
                <a:gd name="connsiteY570" fmla="*/ 186236 h 669699"/>
                <a:gd name="connsiteX571" fmla="*/ 641091 w 645199"/>
                <a:gd name="connsiteY571" fmla="*/ 187506 h 669699"/>
                <a:gd name="connsiteX572" fmla="*/ 638701 w 645199"/>
                <a:gd name="connsiteY572" fmla="*/ 189342 h 669699"/>
                <a:gd name="connsiteX573" fmla="*/ 636779 w 645199"/>
                <a:gd name="connsiteY573" fmla="*/ 190816 h 669699"/>
                <a:gd name="connsiteX574" fmla="*/ 635384 w 645199"/>
                <a:gd name="connsiteY574" fmla="*/ 192116 h 669699"/>
                <a:gd name="connsiteX575" fmla="*/ 634879 w 645199"/>
                <a:gd name="connsiteY575" fmla="*/ 193479 h 669699"/>
                <a:gd name="connsiteX576" fmla="*/ 635028 w 645199"/>
                <a:gd name="connsiteY576" fmla="*/ 195194 h 669699"/>
                <a:gd name="connsiteX577" fmla="*/ 635434 w 645199"/>
                <a:gd name="connsiteY577" fmla="*/ 196988 h 669699"/>
                <a:gd name="connsiteX578" fmla="*/ 639895 w 645199"/>
                <a:gd name="connsiteY578" fmla="*/ 203569 h 669699"/>
                <a:gd name="connsiteX579" fmla="*/ 639859 w 645199"/>
                <a:gd name="connsiteY579" fmla="*/ 204709 h 669699"/>
                <a:gd name="connsiteX580" fmla="*/ 638444 w 645199"/>
                <a:gd name="connsiteY580" fmla="*/ 205027 h 669699"/>
                <a:gd name="connsiteX581" fmla="*/ 636572 w 645199"/>
                <a:gd name="connsiteY581" fmla="*/ 204284 h 669699"/>
                <a:gd name="connsiteX582" fmla="*/ 634954 w 645199"/>
                <a:gd name="connsiteY582" fmla="*/ 203224 h 669699"/>
                <a:gd name="connsiteX583" fmla="*/ 633132 w 645199"/>
                <a:gd name="connsiteY583" fmla="*/ 200405 h 669699"/>
                <a:gd name="connsiteX584" fmla="*/ 631668 w 645199"/>
                <a:gd name="connsiteY584" fmla="*/ 199564 h 669699"/>
                <a:gd name="connsiteX585" fmla="*/ 630210 w 645199"/>
                <a:gd name="connsiteY585" fmla="*/ 199379 h 669699"/>
                <a:gd name="connsiteX586" fmla="*/ 621553 w 645199"/>
                <a:gd name="connsiteY586" fmla="*/ 200830 h 669699"/>
                <a:gd name="connsiteX587" fmla="*/ 619709 w 645199"/>
                <a:gd name="connsiteY587" fmla="*/ 201237 h 669699"/>
                <a:gd name="connsiteX588" fmla="*/ 616848 w 645199"/>
                <a:gd name="connsiteY588" fmla="*/ 202289 h 669699"/>
                <a:gd name="connsiteX589" fmla="*/ 614846 w 645199"/>
                <a:gd name="connsiteY589" fmla="*/ 204408 h 669699"/>
                <a:gd name="connsiteX590" fmla="*/ 613395 w 645199"/>
                <a:gd name="connsiteY590" fmla="*/ 206346 h 669699"/>
                <a:gd name="connsiteX591" fmla="*/ 611892 w 645199"/>
                <a:gd name="connsiteY591" fmla="*/ 207127 h 669699"/>
                <a:gd name="connsiteX592" fmla="*/ 609705 w 645199"/>
                <a:gd name="connsiteY592" fmla="*/ 208634 h 669699"/>
                <a:gd name="connsiteX593" fmla="*/ 603634 w 645199"/>
                <a:gd name="connsiteY593" fmla="*/ 213253 h 669699"/>
                <a:gd name="connsiteX594" fmla="*/ 600124 w 645199"/>
                <a:gd name="connsiteY594" fmla="*/ 215242 h 669699"/>
                <a:gd name="connsiteX595" fmla="*/ 597832 w 645199"/>
                <a:gd name="connsiteY595" fmla="*/ 215975 h 669699"/>
                <a:gd name="connsiteX596" fmla="*/ 596223 w 645199"/>
                <a:gd name="connsiteY596" fmla="*/ 217022 h 669699"/>
                <a:gd name="connsiteX597" fmla="*/ 595356 w 645199"/>
                <a:gd name="connsiteY597" fmla="*/ 218725 h 669699"/>
                <a:gd name="connsiteX598" fmla="*/ 594699 w 645199"/>
                <a:gd name="connsiteY598" fmla="*/ 219947 h 669699"/>
                <a:gd name="connsiteX599" fmla="*/ 594502 w 645199"/>
                <a:gd name="connsiteY599" fmla="*/ 222951 h 669699"/>
                <a:gd name="connsiteX600" fmla="*/ 594902 w 645199"/>
                <a:gd name="connsiteY600" fmla="*/ 226650 h 669699"/>
                <a:gd name="connsiteX601" fmla="*/ 595774 w 645199"/>
                <a:gd name="connsiteY601" fmla="*/ 229010 h 669699"/>
                <a:gd name="connsiteX602" fmla="*/ 596236 w 645199"/>
                <a:gd name="connsiteY602" fmla="*/ 229507 h 669699"/>
                <a:gd name="connsiteX603" fmla="*/ 596305 w 645199"/>
                <a:gd name="connsiteY603" fmla="*/ 230197 h 669699"/>
                <a:gd name="connsiteX604" fmla="*/ 595433 w 645199"/>
                <a:gd name="connsiteY604" fmla="*/ 231473 h 669699"/>
                <a:gd name="connsiteX605" fmla="*/ 594278 w 645199"/>
                <a:gd name="connsiteY605" fmla="*/ 232561 h 669699"/>
                <a:gd name="connsiteX606" fmla="*/ 593714 w 645199"/>
                <a:gd name="connsiteY606" fmla="*/ 233232 h 669699"/>
                <a:gd name="connsiteX607" fmla="*/ 593200 w 645199"/>
                <a:gd name="connsiteY607" fmla="*/ 236599 h 669699"/>
                <a:gd name="connsiteX608" fmla="*/ 592177 w 645199"/>
                <a:gd name="connsiteY608" fmla="*/ 238258 h 669699"/>
                <a:gd name="connsiteX609" fmla="*/ 590307 w 645199"/>
                <a:gd name="connsiteY609" fmla="*/ 240690 h 669699"/>
                <a:gd name="connsiteX610" fmla="*/ 588642 w 645199"/>
                <a:gd name="connsiteY610" fmla="*/ 242528 h 669699"/>
                <a:gd name="connsiteX611" fmla="*/ 586031 w 645199"/>
                <a:gd name="connsiteY611" fmla="*/ 243954 h 669699"/>
                <a:gd name="connsiteX612" fmla="*/ 585038 w 645199"/>
                <a:gd name="connsiteY612" fmla="*/ 245106 h 669699"/>
                <a:gd name="connsiteX613" fmla="*/ 584088 w 645199"/>
                <a:gd name="connsiteY613" fmla="*/ 247233 h 669699"/>
                <a:gd name="connsiteX614" fmla="*/ 583524 w 645199"/>
                <a:gd name="connsiteY614" fmla="*/ 249032 h 669699"/>
                <a:gd name="connsiteX615" fmla="*/ 583494 w 645199"/>
                <a:gd name="connsiteY615" fmla="*/ 249686 h 669699"/>
                <a:gd name="connsiteX616" fmla="*/ 583792 w 645199"/>
                <a:gd name="connsiteY616" fmla="*/ 250256 h 669699"/>
                <a:gd name="connsiteX617" fmla="*/ 584878 w 645199"/>
                <a:gd name="connsiteY617" fmla="*/ 250890 h 669699"/>
                <a:gd name="connsiteX618" fmla="*/ 586197 w 645199"/>
                <a:gd name="connsiteY618" fmla="*/ 251503 h 669699"/>
                <a:gd name="connsiteX619" fmla="*/ 586826 w 645199"/>
                <a:gd name="connsiteY619" fmla="*/ 252461 h 669699"/>
                <a:gd name="connsiteX620" fmla="*/ 586912 w 645199"/>
                <a:gd name="connsiteY620" fmla="*/ 253618 h 669699"/>
                <a:gd name="connsiteX621" fmla="*/ 585932 w 645199"/>
                <a:gd name="connsiteY621" fmla="*/ 256388 h 669699"/>
                <a:gd name="connsiteX622" fmla="*/ 584181 w 645199"/>
                <a:gd name="connsiteY622" fmla="*/ 260239 h 669699"/>
                <a:gd name="connsiteX623" fmla="*/ 582171 w 645199"/>
                <a:gd name="connsiteY623" fmla="*/ 263284 h 669699"/>
                <a:gd name="connsiteX624" fmla="*/ 580097 w 645199"/>
                <a:gd name="connsiteY624" fmla="*/ 266185 h 669699"/>
                <a:gd name="connsiteX625" fmla="*/ 579607 w 645199"/>
                <a:gd name="connsiteY625" fmla="*/ 267132 h 669699"/>
                <a:gd name="connsiteX626" fmla="*/ 577746 w 645199"/>
                <a:gd name="connsiteY626" fmla="*/ 270695 h 669699"/>
                <a:gd name="connsiteX627" fmla="*/ 576124 w 645199"/>
                <a:gd name="connsiteY627" fmla="*/ 275586 h 669699"/>
                <a:gd name="connsiteX628" fmla="*/ 575031 w 645199"/>
                <a:gd name="connsiteY628" fmla="*/ 278877 h 669699"/>
                <a:gd name="connsiteX629" fmla="*/ 574088 w 645199"/>
                <a:gd name="connsiteY629" fmla="*/ 281129 h 669699"/>
                <a:gd name="connsiteX630" fmla="*/ 572919 w 645199"/>
                <a:gd name="connsiteY630" fmla="*/ 281232 h 669699"/>
                <a:gd name="connsiteX631" fmla="*/ 571505 w 645199"/>
                <a:gd name="connsiteY631" fmla="*/ 280509 h 669699"/>
                <a:gd name="connsiteX632" fmla="*/ 568069 w 645199"/>
                <a:gd name="connsiteY632" fmla="*/ 279550 h 669699"/>
                <a:gd name="connsiteX633" fmla="*/ 565867 w 645199"/>
                <a:gd name="connsiteY633" fmla="*/ 278778 h 669699"/>
                <a:gd name="connsiteX634" fmla="*/ 564265 w 645199"/>
                <a:gd name="connsiteY634" fmla="*/ 278084 h 669699"/>
                <a:gd name="connsiteX635" fmla="*/ 563157 w 645199"/>
                <a:gd name="connsiteY635" fmla="*/ 278111 h 669699"/>
                <a:gd name="connsiteX636" fmla="*/ 561626 w 645199"/>
                <a:gd name="connsiteY636" fmla="*/ 278563 h 669699"/>
                <a:gd name="connsiteX637" fmla="*/ 560071 w 645199"/>
                <a:gd name="connsiteY637" fmla="*/ 278873 h 669699"/>
                <a:gd name="connsiteX638" fmla="*/ 559151 w 645199"/>
                <a:gd name="connsiteY638" fmla="*/ 278532 h 669699"/>
                <a:gd name="connsiteX639" fmla="*/ 557016 w 645199"/>
                <a:gd name="connsiteY639" fmla="*/ 276501 h 669699"/>
                <a:gd name="connsiteX640" fmla="*/ 556368 w 645199"/>
                <a:gd name="connsiteY640" fmla="*/ 276734 h 669699"/>
                <a:gd name="connsiteX641" fmla="*/ 555949 w 645199"/>
                <a:gd name="connsiteY641" fmla="*/ 277725 h 669699"/>
                <a:gd name="connsiteX642" fmla="*/ 557391 w 645199"/>
                <a:gd name="connsiteY642" fmla="*/ 283522 h 669699"/>
                <a:gd name="connsiteX643" fmla="*/ 558329 w 645199"/>
                <a:gd name="connsiteY643" fmla="*/ 285675 h 669699"/>
                <a:gd name="connsiteX644" fmla="*/ 558177 w 645199"/>
                <a:gd name="connsiteY644" fmla="*/ 289275 h 669699"/>
                <a:gd name="connsiteX645" fmla="*/ 557806 w 645199"/>
                <a:gd name="connsiteY645" fmla="*/ 293686 h 669699"/>
                <a:gd name="connsiteX646" fmla="*/ 557247 w 645199"/>
                <a:gd name="connsiteY646" fmla="*/ 298507 h 669699"/>
                <a:gd name="connsiteX647" fmla="*/ 556880 w 645199"/>
                <a:gd name="connsiteY647" fmla="*/ 299615 h 669699"/>
                <a:gd name="connsiteX648" fmla="*/ 555964 w 645199"/>
                <a:gd name="connsiteY648" fmla="*/ 300888 h 669699"/>
                <a:gd name="connsiteX649" fmla="*/ 554759 w 645199"/>
                <a:gd name="connsiteY649" fmla="*/ 301235 h 669699"/>
                <a:gd name="connsiteX650" fmla="*/ 553662 w 645199"/>
                <a:gd name="connsiteY650" fmla="*/ 300733 h 669699"/>
                <a:gd name="connsiteX651" fmla="*/ 552783 w 645199"/>
                <a:gd name="connsiteY651" fmla="*/ 300849 h 669699"/>
                <a:gd name="connsiteX652" fmla="*/ 552492 w 645199"/>
                <a:gd name="connsiteY652" fmla="*/ 301658 h 669699"/>
                <a:gd name="connsiteX653" fmla="*/ 552747 w 645199"/>
                <a:gd name="connsiteY653" fmla="*/ 303740 h 669699"/>
                <a:gd name="connsiteX654" fmla="*/ 551679 w 645199"/>
                <a:gd name="connsiteY654" fmla="*/ 306121 h 669699"/>
                <a:gd name="connsiteX655" fmla="*/ 550893 w 645199"/>
                <a:gd name="connsiteY655" fmla="*/ 308158 h 669699"/>
                <a:gd name="connsiteX656" fmla="*/ 551103 w 645199"/>
                <a:gd name="connsiteY656" fmla="*/ 310135 h 669699"/>
                <a:gd name="connsiteX657" fmla="*/ 551477 w 645199"/>
                <a:gd name="connsiteY657" fmla="*/ 312138 h 669699"/>
                <a:gd name="connsiteX658" fmla="*/ 552736 w 645199"/>
                <a:gd name="connsiteY658" fmla="*/ 316483 h 669699"/>
                <a:gd name="connsiteX659" fmla="*/ 552744 w 645199"/>
                <a:gd name="connsiteY659" fmla="*/ 318070 h 669699"/>
                <a:gd name="connsiteX660" fmla="*/ 552496 w 645199"/>
                <a:gd name="connsiteY660" fmla="*/ 319493 h 669699"/>
                <a:gd name="connsiteX661" fmla="*/ 551839 w 645199"/>
                <a:gd name="connsiteY661" fmla="*/ 320084 h 669699"/>
                <a:gd name="connsiteX662" fmla="*/ 550714 w 645199"/>
                <a:gd name="connsiteY662" fmla="*/ 319986 h 669699"/>
                <a:gd name="connsiteX663" fmla="*/ 550104 w 645199"/>
                <a:gd name="connsiteY663" fmla="*/ 320576 h 669699"/>
                <a:gd name="connsiteX664" fmla="*/ 549639 w 645199"/>
                <a:gd name="connsiteY664" fmla="*/ 321465 h 669699"/>
                <a:gd name="connsiteX665" fmla="*/ 548370 w 645199"/>
                <a:gd name="connsiteY665" fmla="*/ 324759 h 669699"/>
                <a:gd name="connsiteX666" fmla="*/ 547152 w 645199"/>
                <a:gd name="connsiteY666" fmla="*/ 325103 h 669699"/>
                <a:gd name="connsiteX667" fmla="*/ 545932 w 645199"/>
                <a:gd name="connsiteY667" fmla="*/ 324610 h 669699"/>
                <a:gd name="connsiteX668" fmla="*/ 544098 w 645199"/>
                <a:gd name="connsiteY668" fmla="*/ 322414 h 669699"/>
                <a:gd name="connsiteX669" fmla="*/ 542984 w 645199"/>
                <a:gd name="connsiteY669" fmla="*/ 321773 h 669699"/>
                <a:gd name="connsiteX670" fmla="*/ 542275 w 645199"/>
                <a:gd name="connsiteY670" fmla="*/ 321807 h 669699"/>
                <a:gd name="connsiteX671" fmla="*/ 541961 w 645199"/>
                <a:gd name="connsiteY671" fmla="*/ 322386 h 669699"/>
                <a:gd name="connsiteX672" fmla="*/ 541472 w 645199"/>
                <a:gd name="connsiteY672" fmla="*/ 323702 h 669699"/>
                <a:gd name="connsiteX673" fmla="*/ 540980 w 645199"/>
                <a:gd name="connsiteY673" fmla="*/ 324583 h 669699"/>
                <a:gd name="connsiteX674" fmla="*/ 539754 w 645199"/>
                <a:gd name="connsiteY674" fmla="*/ 325355 h 669699"/>
                <a:gd name="connsiteX675" fmla="*/ 539451 w 645199"/>
                <a:gd name="connsiteY675" fmla="*/ 323731 h 669699"/>
                <a:gd name="connsiteX676" fmla="*/ 538801 w 645199"/>
                <a:gd name="connsiteY676" fmla="*/ 315319 h 669699"/>
                <a:gd name="connsiteX677" fmla="*/ 538309 w 645199"/>
                <a:gd name="connsiteY677" fmla="*/ 312637 h 669699"/>
                <a:gd name="connsiteX678" fmla="*/ 537907 w 645199"/>
                <a:gd name="connsiteY678" fmla="*/ 308922 h 669699"/>
                <a:gd name="connsiteX679" fmla="*/ 537311 w 645199"/>
                <a:gd name="connsiteY679" fmla="*/ 307780 h 669699"/>
                <a:gd name="connsiteX680" fmla="*/ 536559 w 645199"/>
                <a:gd name="connsiteY680" fmla="*/ 305746 h 669699"/>
                <a:gd name="connsiteX681" fmla="*/ 535735 w 645199"/>
                <a:gd name="connsiteY681" fmla="*/ 303995 h 669699"/>
                <a:gd name="connsiteX682" fmla="*/ 535037 w 645199"/>
                <a:gd name="connsiteY682" fmla="*/ 303250 h 669699"/>
                <a:gd name="connsiteX683" fmla="*/ 534586 w 645199"/>
                <a:gd name="connsiteY683" fmla="*/ 299968 h 669699"/>
                <a:gd name="connsiteX684" fmla="*/ 534422 w 645199"/>
                <a:gd name="connsiteY684" fmla="*/ 295944 h 669699"/>
                <a:gd name="connsiteX685" fmla="*/ 534431 w 645199"/>
                <a:gd name="connsiteY685" fmla="*/ 294044 h 669699"/>
                <a:gd name="connsiteX686" fmla="*/ 533439 w 645199"/>
                <a:gd name="connsiteY686" fmla="*/ 290106 h 669699"/>
                <a:gd name="connsiteX687" fmla="*/ 532483 w 645199"/>
                <a:gd name="connsiteY687" fmla="*/ 285640 h 669699"/>
                <a:gd name="connsiteX688" fmla="*/ 531178 w 645199"/>
                <a:gd name="connsiteY688" fmla="*/ 285828 h 669699"/>
                <a:gd name="connsiteX689" fmla="*/ 530410 w 645199"/>
                <a:gd name="connsiteY689" fmla="*/ 284745 h 669699"/>
                <a:gd name="connsiteX690" fmla="*/ 529851 w 645199"/>
                <a:gd name="connsiteY690" fmla="*/ 284765 h 669699"/>
                <a:gd name="connsiteX691" fmla="*/ 528015 w 645199"/>
                <a:gd name="connsiteY691" fmla="*/ 285776 h 669699"/>
                <a:gd name="connsiteX692" fmla="*/ 526566 w 645199"/>
                <a:gd name="connsiteY692" fmla="*/ 285443 h 669699"/>
                <a:gd name="connsiteX693" fmla="*/ 525484 w 645199"/>
                <a:gd name="connsiteY693" fmla="*/ 285584 h 669699"/>
                <a:gd name="connsiteX694" fmla="*/ 525482 w 645199"/>
                <a:gd name="connsiteY694" fmla="*/ 287635 h 669699"/>
                <a:gd name="connsiteX695" fmla="*/ 525668 w 645199"/>
                <a:gd name="connsiteY695" fmla="*/ 289821 h 669699"/>
                <a:gd name="connsiteX696" fmla="*/ 525253 w 645199"/>
                <a:gd name="connsiteY696" fmla="*/ 290607 h 669699"/>
                <a:gd name="connsiteX697" fmla="*/ 522398 w 645199"/>
                <a:gd name="connsiteY697" fmla="*/ 293175 h 669699"/>
                <a:gd name="connsiteX698" fmla="*/ 521606 w 645199"/>
                <a:gd name="connsiteY698" fmla="*/ 294896 h 669699"/>
                <a:gd name="connsiteX699" fmla="*/ 521688 w 645199"/>
                <a:gd name="connsiteY699" fmla="*/ 296704 h 669699"/>
                <a:gd name="connsiteX700" fmla="*/ 522040 w 645199"/>
                <a:gd name="connsiteY700" fmla="*/ 299122 h 669699"/>
                <a:gd name="connsiteX701" fmla="*/ 521535 w 645199"/>
                <a:gd name="connsiteY701" fmla="*/ 300348 h 669699"/>
                <a:gd name="connsiteX702" fmla="*/ 520295 w 645199"/>
                <a:gd name="connsiteY702" fmla="*/ 301483 h 669699"/>
                <a:gd name="connsiteX703" fmla="*/ 518628 w 645199"/>
                <a:gd name="connsiteY703" fmla="*/ 302069 h 669699"/>
                <a:gd name="connsiteX704" fmla="*/ 517168 w 645199"/>
                <a:gd name="connsiteY704" fmla="*/ 301792 h 669699"/>
                <a:gd name="connsiteX705" fmla="*/ 516234 w 645199"/>
                <a:gd name="connsiteY705" fmla="*/ 300810 h 669699"/>
                <a:gd name="connsiteX706" fmla="*/ 515352 w 645199"/>
                <a:gd name="connsiteY706" fmla="*/ 298303 h 669699"/>
                <a:gd name="connsiteX707" fmla="*/ 514575 w 645199"/>
                <a:gd name="connsiteY707" fmla="*/ 296935 h 669699"/>
                <a:gd name="connsiteX708" fmla="*/ 513761 w 645199"/>
                <a:gd name="connsiteY708" fmla="*/ 296609 h 669699"/>
                <a:gd name="connsiteX709" fmla="*/ 513124 w 645199"/>
                <a:gd name="connsiteY709" fmla="*/ 296980 h 669699"/>
                <a:gd name="connsiteX710" fmla="*/ 513040 w 645199"/>
                <a:gd name="connsiteY710" fmla="*/ 298554 h 669699"/>
                <a:gd name="connsiteX711" fmla="*/ 513081 w 645199"/>
                <a:gd name="connsiteY711" fmla="*/ 299858 h 669699"/>
                <a:gd name="connsiteX712" fmla="*/ 512876 w 645199"/>
                <a:gd name="connsiteY712" fmla="*/ 300002 h 669699"/>
                <a:gd name="connsiteX713" fmla="*/ 512422 w 645199"/>
                <a:gd name="connsiteY713" fmla="*/ 299801 h 669699"/>
                <a:gd name="connsiteX714" fmla="*/ 511900 w 645199"/>
                <a:gd name="connsiteY714" fmla="*/ 299162 h 669699"/>
                <a:gd name="connsiteX715" fmla="*/ 510542 w 645199"/>
                <a:gd name="connsiteY715" fmla="*/ 292881 h 669699"/>
                <a:gd name="connsiteX716" fmla="*/ 508589 w 645199"/>
                <a:gd name="connsiteY716" fmla="*/ 288037 h 669699"/>
                <a:gd name="connsiteX717" fmla="*/ 508477 w 645199"/>
                <a:gd name="connsiteY717" fmla="*/ 286176 h 669699"/>
                <a:gd name="connsiteX718" fmla="*/ 509185 w 645199"/>
                <a:gd name="connsiteY718" fmla="*/ 283786 h 669699"/>
                <a:gd name="connsiteX719" fmla="*/ 510059 w 645199"/>
                <a:gd name="connsiteY719" fmla="*/ 280099 h 669699"/>
                <a:gd name="connsiteX720" fmla="*/ 512368 w 645199"/>
                <a:gd name="connsiteY720" fmla="*/ 277797 h 669699"/>
                <a:gd name="connsiteX721" fmla="*/ 512672 w 645199"/>
                <a:gd name="connsiteY721" fmla="*/ 276820 h 669699"/>
                <a:gd name="connsiteX722" fmla="*/ 513046 w 645199"/>
                <a:gd name="connsiteY722" fmla="*/ 276047 h 669699"/>
                <a:gd name="connsiteX723" fmla="*/ 513612 w 645199"/>
                <a:gd name="connsiteY723" fmla="*/ 275893 h 669699"/>
                <a:gd name="connsiteX724" fmla="*/ 516568 w 645199"/>
                <a:gd name="connsiteY724" fmla="*/ 276111 h 669699"/>
                <a:gd name="connsiteX725" fmla="*/ 517564 w 645199"/>
                <a:gd name="connsiteY725" fmla="*/ 275741 h 669699"/>
                <a:gd name="connsiteX726" fmla="*/ 518443 w 645199"/>
                <a:gd name="connsiteY726" fmla="*/ 274657 h 669699"/>
                <a:gd name="connsiteX727" fmla="*/ 519716 w 645199"/>
                <a:gd name="connsiteY727" fmla="*/ 273784 h 669699"/>
                <a:gd name="connsiteX728" fmla="*/ 520995 w 645199"/>
                <a:gd name="connsiteY728" fmla="*/ 273433 h 669699"/>
                <a:gd name="connsiteX729" fmla="*/ 522010 w 645199"/>
                <a:gd name="connsiteY729" fmla="*/ 273302 h 669699"/>
                <a:gd name="connsiteX730" fmla="*/ 523640 w 645199"/>
                <a:gd name="connsiteY730" fmla="*/ 274131 h 669699"/>
                <a:gd name="connsiteX731" fmla="*/ 524321 w 645199"/>
                <a:gd name="connsiteY731" fmla="*/ 273662 h 669699"/>
                <a:gd name="connsiteX732" fmla="*/ 524808 w 645199"/>
                <a:gd name="connsiteY732" fmla="*/ 272129 h 669699"/>
                <a:gd name="connsiteX733" fmla="*/ 525517 w 645199"/>
                <a:gd name="connsiteY733" fmla="*/ 270609 h 669699"/>
                <a:gd name="connsiteX734" fmla="*/ 525972 w 645199"/>
                <a:gd name="connsiteY734" fmla="*/ 269877 h 669699"/>
                <a:gd name="connsiteX735" fmla="*/ 527065 w 645199"/>
                <a:gd name="connsiteY735" fmla="*/ 269545 h 669699"/>
                <a:gd name="connsiteX736" fmla="*/ 528460 w 645199"/>
                <a:gd name="connsiteY736" fmla="*/ 269463 h 669699"/>
                <a:gd name="connsiteX737" fmla="*/ 528922 w 645199"/>
                <a:gd name="connsiteY737" fmla="*/ 269186 h 669699"/>
                <a:gd name="connsiteX738" fmla="*/ 529296 w 645199"/>
                <a:gd name="connsiteY738" fmla="*/ 268673 h 669699"/>
                <a:gd name="connsiteX739" fmla="*/ 529639 w 645199"/>
                <a:gd name="connsiteY739" fmla="*/ 266657 h 669699"/>
                <a:gd name="connsiteX740" fmla="*/ 531420 w 645199"/>
                <a:gd name="connsiteY740" fmla="*/ 262154 h 669699"/>
                <a:gd name="connsiteX741" fmla="*/ 532053 w 645199"/>
                <a:gd name="connsiteY741" fmla="*/ 260150 h 669699"/>
                <a:gd name="connsiteX742" fmla="*/ 532140 w 645199"/>
                <a:gd name="connsiteY742" fmla="*/ 259792 h 669699"/>
                <a:gd name="connsiteX743" fmla="*/ 532090 w 645199"/>
                <a:gd name="connsiteY743" fmla="*/ 257556 h 669699"/>
                <a:gd name="connsiteX744" fmla="*/ 532597 w 645199"/>
                <a:gd name="connsiteY744" fmla="*/ 257233 h 669699"/>
                <a:gd name="connsiteX745" fmla="*/ 535553 w 645199"/>
                <a:gd name="connsiteY745" fmla="*/ 258322 h 669699"/>
                <a:gd name="connsiteX746" fmla="*/ 536841 w 645199"/>
                <a:gd name="connsiteY746" fmla="*/ 258307 h 669699"/>
                <a:gd name="connsiteX747" fmla="*/ 537545 w 645199"/>
                <a:gd name="connsiteY747" fmla="*/ 257858 h 669699"/>
                <a:gd name="connsiteX748" fmla="*/ 537776 w 645199"/>
                <a:gd name="connsiteY748" fmla="*/ 257039 h 669699"/>
                <a:gd name="connsiteX749" fmla="*/ 537397 w 645199"/>
                <a:gd name="connsiteY749" fmla="*/ 256079 h 669699"/>
                <a:gd name="connsiteX750" fmla="*/ 535299 w 645199"/>
                <a:gd name="connsiteY750" fmla="*/ 254409 h 669699"/>
                <a:gd name="connsiteX751" fmla="*/ 531567 w 645199"/>
                <a:gd name="connsiteY751" fmla="*/ 252154 h 669699"/>
                <a:gd name="connsiteX752" fmla="*/ 528141 w 645199"/>
                <a:gd name="connsiteY752" fmla="*/ 250775 h 669699"/>
                <a:gd name="connsiteX753" fmla="*/ 521811 w 645199"/>
                <a:gd name="connsiteY753" fmla="*/ 250983 h 669699"/>
                <a:gd name="connsiteX754" fmla="*/ 515536 w 645199"/>
                <a:gd name="connsiteY754" fmla="*/ 251419 h 669699"/>
                <a:gd name="connsiteX755" fmla="*/ 513700 w 645199"/>
                <a:gd name="connsiteY755" fmla="*/ 251196 h 669699"/>
                <a:gd name="connsiteX756" fmla="*/ 511411 w 645199"/>
                <a:gd name="connsiteY756" fmla="*/ 250575 h 669699"/>
                <a:gd name="connsiteX757" fmla="*/ 505776 w 645199"/>
                <a:gd name="connsiteY757" fmla="*/ 250667 h 669699"/>
                <a:gd name="connsiteX758" fmla="*/ 498962 w 645199"/>
                <a:gd name="connsiteY758" fmla="*/ 251011 h 669699"/>
                <a:gd name="connsiteX759" fmla="*/ 496373 w 645199"/>
                <a:gd name="connsiteY759" fmla="*/ 250816 h 669699"/>
                <a:gd name="connsiteX760" fmla="*/ 495095 w 645199"/>
                <a:gd name="connsiteY760" fmla="*/ 250843 h 669699"/>
                <a:gd name="connsiteX761" fmla="*/ 492532 w 645199"/>
                <a:gd name="connsiteY761" fmla="*/ 251052 h 669699"/>
                <a:gd name="connsiteX762" fmla="*/ 488354 w 645199"/>
                <a:gd name="connsiteY762" fmla="*/ 250410 h 669699"/>
                <a:gd name="connsiteX763" fmla="*/ 485463 w 645199"/>
                <a:gd name="connsiteY763" fmla="*/ 249586 h 669699"/>
                <a:gd name="connsiteX764" fmla="*/ 482901 w 645199"/>
                <a:gd name="connsiteY764" fmla="*/ 248681 h 669699"/>
                <a:gd name="connsiteX765" fmla="*/ 479861 w 645199"/>
                <a:gd name="connsiteY765" fmla="*/ 247861 h 669699"/>
                <a:gd name="connsiteX766" fmla="*/ 479131 w 645199"/>
                <a:gd name="connsiteY766" fmla="*/ 247870 h 669699"/>
                <a:gd name="connsiteX767" fmla="*/ 478706 w 645199"/>
                <a:gd name="connsiteY767" fmla="*/ 247573 h 669699"/>
                <a:gd name="connsiteX768" fmla="*/ 478414 w 645199"/>
                <a:gd name="connsiteY768" fmla="*/ 246848 h 669699"/>
                <a:gd name="connsiteX769" fmla="*/ 478313 w 645199"/>
                <a:gd name="connsiteY769" fmla="*/ 245913 h 669699"/>
                <a:gd name="connsiteX770" fmla="*/ 478945 w 645199"/>
                <a:gd name="connsiteY770" fmla="*/ 241565 h 669699"/>
                <a:gd name="connsiteX771" fmla="*/ 478385 w 645199"/>
                <a:gd name="connsiteY771" fmla="*/ 234965 h 669699"/>
                <a:gd name="connsiteX772" fmla="*/ 478902 w 645199"/>
                <a:gd name="connsiteY772" fmla="*/ 232558 h 669699"/>
                <a:gd name="connsiteX773" fmla="*/ 476401 w 645199"/>
                <a:gd name="connsiteY773" fmla="*/ 227120 h 669699"/>
                <a:gd name="connsiteX774" fmla="*/ 475540 w 645199"/>
                <a:gd name="connsiteY774" fmla="*/ 226112 h 669699"/>
                <a:gd name="connsiteX775" fmla="*/ 474393 w 645199"/>
                <a:gd name="connsiteY775" fmla="*/ 226068 h 669699"/>
                <a:gd name="connsiteX776" fmla="*/ 473657 w 645199"/>
                <a:gd name="connsiteY776" fmla="*/ 226770 h 669699"/>
                <a:gd name="connsiteX777" fmla="*/ 473369 w 645199"/>
                <a:gd name="connsiteY777" fmla="*/ 228042 h 669699"/>
                <a:gd name="connsiteX778" fmla="*/ 473782 w 645199"/>
                <a:gd name="connsiteY778" fmla="*/ 229460 h 669699"/>
                <a:gd name="connsiteX779" fmla="*/ 472864 w 645199"/>
                <a:gd name="connsiteY779" fmla="*/ 231048 h 669699"/>
                <a:gd name="connsiteX780" fmla="*/ 471029 w 645199"/>
                <a:gd name="connsiteY780" fmla="*/ 231562 h 669699"/>
                <a:gd name="connsiteX781" fmla="*/ 468881 w 645199"/>
                <a:gd name="connsiteY781" fmla="*/ 231028 h 669699"/>
                <a:gd name="connsiteX782" fmla="*/ 467101 w 645199"/>
                <a:gd name="connsiteY782" fmla="*/ 230283 h 669699"/>
                <a:gd name="connsiteX783" fmla="*/ 464827 w 645199"/>
                <a:gd name="connsiteY783" fmla="*/ 228666 h 669699"/>
                <a:gd name="connsiteX784" fmla="*/ 463100 w 645199"/>
                <a:gd name="connsiteY784" fmla="*/ 226386 h 669699"/>
                <a:gd name="connsiteX785" fmla="*/ 462959 w 645199"/>
                <a:gd name="connsiteY785" fmla="*/ 223873 h 669699"/>
                <a:gd name="connsiteX786" fmla="*/ 462182 w 645199"/>
                <a:gd name="connsiteY786" fmla="*/ 222249 h 669699"/>
                <a:gd name="connsiteX787" fmla="*/ 461118 w 645199"/>
                <a:gd name="connsiteY787" fmla="*/ 221458 h 669699"/>
                <a:gd name="connsiteX788" fmla="*/ 460338 w 645199"/>
                <a:gd name="connsiteY788" fmla="*/ 221238 h 669699"/>
                <a:gd name="connsiteX789" fmla="*/ 459642 w 645199"/>
                <a:gd name="connsiteY789" fmla="*/ 221414 h 669699"/>
                <a:gd name="connsiteX790" fmla="*/ 459027 w 645199"/>
                <a:gd name="connsiteY790" fmla="*/ 222292 h 669699"/>
                <a:gd name="connsiteX791" fmla="*/ 459560 w 645199"/>
                <a:gd name="connsiteY791" fmla="*/ 223171 h 669699"/>
                <a:gd name="connsiteX792" fmla="*/ 460297 w 645199"/>
                <a:gd name="connsiteY792" fmla="*/ 224400 h 669699"/>
                <a:gd name="connsiteX793" fmla="*/ 460051 w 645199"/>
                <a:gd name="connsiteY793" fmla="*/ 225234 h 669699"/>
                <a:gd name="connsiteX794" fmla="*/ 459394 w 645199"/>
                <a:gd name="connsiteY794" fmla="*/ 225365 h 669699"/>
                <a:gd name="connsiteX795" fmla="*/ 458416 w 645199"/>
                <a:gd name="connsiteY795" fmla="*/ 225007 h 669699"/>
                <a:gd name="connsiteX796" fmla="*/ 456902 w 645199"/>
                <a:gd name="connsiteY796" fmla="*/ 225203 h 669699"/>
                <a:gd name="connsiteX797" fmla="*/ 455440 w 645199"/>
                <a:gd name="connsiteY797" fmla="*/ 224559 h 669699"/>
                <a:gd name="connsiteX798" fmla="*/ 454561 w 645199"/>
                <a:gd name="connsiteY798" fmla="*/ 224501 h 669699"/>
                <a:gd name="connsiteX799" fmla="*/ 453691 w 645199"/>
                <a:gd name="connsiteY799" fmla="*/ 224268 h 669699"/>
                <a:gd name="connsiteX800" fmla="*/ 453644 w 645199"/>
                <a:gd name="connsiteY800" fmla="*/ 222816 h 669699"/>
                <a:gd name="connsiteX801" fmla="*/ 452305 w 645199"/>
                <a:gd name="connsiteY801" fmla="*/ 220974 h 669699"/>
                <a:gd name="connsiteX802" fmla="*/ 450053 w 645199"/>
                <a:gd name="connsiteY802" fmla="*/ 218908 h 669699"/>
                <a:gd name="connsiteX803" fmla="*/ 447839 w 645199"/>
                <a:gd name="connsiteY803" fmla="*/ 217633 h 669699"/>
                <a:gd name="connsiteX804" fmla="*/ 446772 w 645199"/>
                <a:gd name="connsiteY804" fmla="*/ 217809 h 669699"/>
                <a:gd name="connsiteX805" fmla="*/ 446241 w 645199"/>
                <a:gd name="connsiteY805" fmla="*/ 219217 h 669699"/>
                <a:gd name="connsiteX806" fmla="*/ 446364 w 645199"/>
                <a:gd name="connsiteY806" fmla="*/ 219744 h 669699"/>
                <a:gd name="connsiteX807" fmla="*/ 447133 w 645199"/>
                <a:gd name="connsiteY807" fmla="*/ 220005 h 669699"/>
                <a:gd name="connsiteX808" fmla="*/ 448250 w 645199"/>
                <a:gd name="connsiteY808" fmla="*/ 220821 h 669699"/>
                <a:gd name="connsiteX809" fmla="*/ 448496 w 645199"/>
                <a:gd name="connsiteY809" fmla="*/ 221677 h 669699"/>
                <a:gd name="connsiteX810" fmla="*/ 448331 w 645199"/>
                <a:gd name="connsiteY810" fmla="*/ 222424 h 669699"/>
                <a:gd name="connsiteX811" fmla="*/ 446952 w 645199"/>
                <a:gd name="connsiteY811" fmla="*/ 223786 h 669699"/>
                <a:gd name="connsiteX812" fmla="*/ 445978 w 645199"/>
                <a:gd name="connsiteY812" fmla="*/ 225077 h 669699"/>
                <a:gd name="connsiteX813" fmla="*/ 443792 w 645199"/>
                <a:gd name="connsiteY813" fmla="*/ 226959 h 669699"/>
                <a:gd name="connsiteX814" fmla="*/ 441927 w 645199"/>
                <a:gd name="connsiteY814" fmla="*/ 229110 h 669699"/>
                <a:gd name="connsiteX815" fmla="*/ 441445 w 645199"/>
                <a:gd name="connsiteY815" fmla="*/ 230742 h 669699"/>
                <a:gd name="connsiteX816" fmla="*/ 440745 w 645199"/>
                <a:gd name="connsiteY816" fmla="*/ 232205 h 669699"/>
                <a:gd name="connsiteX817" fmla="*/ 440463 w 645199"/>
                <a:gd name="connsiteY817" fmla="*/ 233816 h 669699"/>
                <a:gd name="connsiteX818" fmla="*/ 440951 w 645199"/>
                <a:gd name="connsiteY818" fmla="*/ 234930 h 669699"/>
                <a:gd name="connsiteX819" fmla="*/ 441854 w 645199"/>
                <a:gd name="connsiteY819" fmla="*/ 235631 h 669699"/>
                <a:gd name="connsiteX820" fmla="*/ 444186 w 645199"/>
                <a:gd name="connsiteY820" fmla="*/ 236142 h 669699"/>
                <a:gd name="connsiteX821" fmla="*/ 446621 w 645199"/>
                <a:gd name="connsiteY821" fmla="*/ 238306 h 669699"/>
                <a:gd name="connsiteX822" fmla="*/ 448595 w 645199"/>
                <a:gd name="connsiteY822" fmla="*/ 241228 h 669699"/>
                <a:gd name="connsiteX823" fmla="*/ 449703 w 645199"/>
                <a:gd name="connsiteY823" fmla="*/ 242111 h 669699"/>
                <a:gd name="connsiteX824" fmla="*/ 451715 w 645199"/>
                <a:gd name="connsiteY824" fmla="*/ 243095 h 669699"/>
                <a:gd name="connsiteX825" fmla="*/ 455600 w 645199"/>
                <a:gd name="connsiteY825" fmla="*/ 243208 h 669699"/>
                <a:gd name="connsiteX826" fmla="*/ 456181 w 645199"/>
                <a:gd name="connsiteY826" fmla="*/ 244016 h 669699"/>
                <a:gd name="connsiteX827" fmla="*/ 456732 w 645199"/>
                <a:gd name="connsiteY827" fmla="*/ 246155 h 669699"/>
                <a:gd name="connsiteX828" fmla="*/ 457494 w 645199"/>
                <a:gd name="connsiteY828" fmla="*/ 246909 h 669699"/>
                <a:gd name="connsiteX829" fmla="*/ 459470 w 645199"/>
                <a:gd name="connsiteY829" fmla="*/ 247917 h 669699"/>
                <a:gd name="connsiteX830" fmla="*/ 459636 w 645199"/>
                <a:gd name="connsiteY830" fmla="*/ 248660 h 669699"/>
                <a:gd name="connsiteX831" fmla="*/ 459153 w 645199"/>
                <a:gd name="connsiteY831" fmla="*/ 249514 h 669699"/>
                <a:gd name="connsiteX832" fmla="*/ 458276 w 645199"/>
                <a:gd name="connsiteY832" fmla="*/ 250188 h 669699"/>
                <a:gd name="connsiteX833" fmla="*/ 456664 w 645199"/>
                <a:gd name="connsiteY833" fmla="*/ 250616 h 669699"/>
                <a:gd name="connsiteX834" fmla="*/ 455123 w 645199"/>
                <a:gd name="connsiteY834" fmla="*/ 250787 h 669699"/>
                <a:gd name="connsiteX835" fmla="*/ 453575 w 645199"/>
                <a:gd name="connsiteY835" fmla="*/ 250516 h 669699"/>
                <a:gd name="connsiteX836" fmla="*/ 451281 w 645199"/>
                <a:gd name="connsiteY836" fmla="*/ 250341 h 669699"/>
                <a:gd name="connsiteX837" fmla="*/ 448681 w 645199"/>
                <a:gd name="connsiteY837" fmla="*/ 250329 h 669699"/>
                <a:gd name="connsiteX838" fmla="*/ 446839 w 645199"/>
                <a:gd name="connsiteY838" fmla="*/ 255670 h 669699"/>
                <a:gd name="connsiteX839" fmla="*/ 445522 w 645199"/>
                <a:gd name="connsiteY839" fmla="*/ 257544 h 669699"/>
                <a:gd name="connsiteX840" fmla="*/ 444773 w 645199"/>
                <a:gd name="connsiteY840" fmla="*/ 257542 h 669699"/>
                <a:gd name="connsiteX841" fmla="*/ 442769 w 645199"/>
                <a:gd name="connsiteY841" fmla="*/ 256632 h 669699"/>
                <a:gd name="connsiteX842" fmla="*/ 441905 w 645199"/>
                <a:gd name="connsiteY842" fmla="*/ 256773 h 669699"/>
                <a:gd name="connsiteX843" fmla="*/ 439591 w 645199"/>
                <a:gd name="connsiteY843" fmla="*/ 261512 h 669699"/>
                <a:gd name="connsiteX844" fmla="*/ 439262 w 645199"/>
                <a:gd name="connsiteY844" fmla="*/ 262654 h 669699"/>
                <a:gd name="connsiteX845" fmla="*/ 439111 w 645199"/>
                <a:gd name="connsiteY845" fmla="*/ 263514 h 669699"/>
                <a:gd name="connsiteX846" fmla="*/ 440342 w 645199"/>
                <a:gd name="connsiteY846" fmla="*/ 265344 h 669699"/>
                <a:gd name="connsiteX847" fmla="*/ 441810 w 645199"/>
                <a:gd name="connsiteY847" fmla="*/ 266849 h 669699"/>
                <a:gd name="connsiteX848" fmla="*/ 443568 w 645199"/>
                <a:gd name="connsiteY848" fmla="*/ 267439 h 669699"/>
                <a:gd name="connsiteX849" fmla="*/ 444941 w 645199"/>
                <a:gd name="connsiteY849" fmla="*/ 266991 h 669699"/>
                <a:gd name="connsiteX850" fmla="*/ 446056 w 645199"/>
                <a:gd name="connsiteY850" fmla="*/ 267598 h 669699"/>
                <a:gd name="connsiteX851" fmla="*/ 447371 w 645199"/>
                <a:gd name="connsiteY851" fmla="*/ 269114 h 669699"/>
                <a:gd name="connsiteX852" fmla="*/ 449616 w 645199"/>
                <a:gd name="connsiteY852" fmla="*/ 270114 h 669699"/>
                <a:gd name="connsiteX853" fmla="*/ 452795 w 645199"/>
                <a:gd name="connsiteY853" fmla="*/ 270598 h 669699"/>
                <a:gd name="connsiteX854" fmla="*/ 454592 w 645199"/>
                <a:gd name="connsiteY854" fmla="*/ 271796 h 669699"/>
                <a:gd name="connsiteX855" fmla="*/ 454814 w 645199"/>
                <a:gd name="connsiteY855" fmla="*/ 272828 h 669699"/>
                <a:gd name="connsiteX856" fmla="*/ 454658 w 645199"/>
                <a:gd name="connsiteY856" fmla="*/ 273875 h 669699"/>
                <a:gd name="connsiteX857" fmla="*/ 454375 w 645199"/>
                <a:gd name="connsiteY857" fmla="*/ 276606 h 669699"/>
                <a:gd name="connsiteX858" fmla="*/ 454067 w 645199"/>
                <a:gd name="connsiteY858" fmla="*/ 278178 h 669699"/>
                <a:gd name="connsiteX859" fmla="*/ 452359 w 645199"/>
                <a:gd name="connsiteY859" fmla="*/ 282301 h 669699"/>
                <a:gd name="connsiteX860" fmla="*/ 451139 w 645199"/>
                <a:gd name="connsiteY860" fmla="*/ 285855 h 669699"/>
                <a:gd name="connsiteX861" fmla="*/ 451772 w 645199"/>
                <a:gd name="connsiteY861" fmla="*/ 287543 h 669699"/>
                <a:gd name="connsiteX862" fmla="*/ 452223 w 645199"/>
                <a:gd name="connsiteY862" fmla="*/ 288231 h 669699"/>
                <a:gd name="connsiteX863" fmla="*/ 452650 w 645199"/>
                <a:gd name="connsiteY863" fmla="*/ 288762 h 669699"/>
                <a:gd name="connsiteX864" fmla="*/ 454019 w 645199"/>
                <a:gd name="connsiteY864" fmla="*/ 290093 h 669699"/>
                <a:gd name="connsiteX865" fmla="*/ 454974 w 645199"/>
                <a:gd name="connsiteY865" fmla="*/ 291411 h 669699"/>
                <a:gd name="connsiteX866" fmla="*/ 454160 w 645199"/>
                <a:gd name="connsiteY866" fmla="*/ 294767 h 669699"/>
                <a:gd name="connsiteX867" fmla="*/ 454611 w 645199"/>
                <a:gd name="connsiteY867" fmla="*/ 295650 h 669699"/>
                <a:gd name="connsiteX868" fmla="*/ 456451 w 645199"/>
                <a:gd name="connsiteY868" fmla="*/ 296240 h 669699"/>
                <a:gd name="connsiteX869" fmla="*/ 458429 w 645199"/>
                <a:gd name="connsiteY869" fmla="*/ 296690 h 669699"/>
                <a:gd name="connsiteX870" fmla="*/ 459115 w 645199"/>
                <a:gd name="connsiteY870" fmla="*/ 297245 h 669699"/>
                <a:gd name="connsiteX871" fmla="*/ 457401 w 645199"/>
                <a:gd name="connsiteY871" fmla="*/ 300651 h 669699"/>
                <a:gd name="connsiteX872" fmla="*/ 457763 w 645199"/>
                <a:gd name="connsiteY872" fmla="*/ 303020 h 669699"/>
                <a:gd name="connsiteX873" fmla="*/ 458487 w 645199"/>
                <a:gd name="connsiteY873" fmla="*/ 305241 h 669699"/>
                <a:gd name="connsiteX874" fmla="*/ 459012 w 645199"/>
                <a:gd name="connsiteY874" fmla="*/ 308872 h 669699"/>
                <a:gd name="connsiteX875" fmla="*/ 459090 w 645199"/>
                <a:gd name="connsiteY875" fmla="*/ 309253 h 669699"/>
                <a:gd name="connsiteX876" fmla="*/ 458952 w 645199"/>
                <a:gd name="connsiteY876" fmla="*/ 310163 h 669699"/>
                <a:gd name="connsiteX877" fmla="*/ 460074 w 645199"/>
                <a:gd name="connsiteY877" fmla="*/ 312980 h 669699"/>
                <a:gd name="connsiteX878" fmla="*/ 461810 w 645199"/>
                <a:gd name="connsiteY878" fmla="*/ 318472 h 669699"/>
                <a:gd name="connsiteX879" fmla="*/ 461940 w 645199"/>
                <a:gd name="connsiteY879" fmla="*/ 320524 h 669699"/>
                <a:gd name="connsiteX880" fmla="*/ 461843 w 645199"/>
                <a:gd name="connsiteY880" fmla="*/ 322684 h 669699"/>
                <a:gd name="connsiteX881" fmla="*/ 461322 w 645199"/>
                <a:gd name="connsiteY881" fmla="*/ 326302 h 669699"/>
                <a:gd name="connsiteX882" fmla="*/ 459584 w 645199"/>
                <a:gd name="connsiteY882" fmla="*/ 326286 h 669699"/>
                <a:gd name="connsiteX883" fmla="*/ 461139 w 645199"/>
                <a:gd name="connsiteY883" fmla="*/ 328704 h 669699"/>
                <a:gd name="connsiteX884" fmla="*/ 461634 w 645199"/>
                <a:gd name="connsiteY884" fmla="*/ 330441 h 669699"/>
                <a:gd name="connsiteX885" fmla="*/ 461847 w 645199"/>
                <a:gd name="connsiteY885" fmla="*/ 332864 h 669699"/>
                <a:gd name="connsiteX886" fmla="*/ 459977 w 645199"/>
                <a:gd name="connsiteY886" fmla="*/ 333159 h 669699"/>
                <a:gd name="connsiteX887" fmla="*/ 458658 w 645199"/>
                <a:gd name="connsiteY887" fmla="*/ 332888 h 669699"/>
                <a:gd name="connsiteX888" fmla="*/ 457554 w 645199"/>
                <a:gd name="connsiteY888" fmla="*/ 330766 h 669699"/>
                <a:gd name="connsiteX889" fmla="*/ 457043 w 645199"/>
                <a:gd name="connsiteY889" fmla="*/ 332695 h 669699"/>
                <a:gd name="connsiteX890" fmla="*/ 455067 w 645199"/>
                <a:gd name="connsiteY890" fmla="*/ 334479 h 669699"/>
                <a:gd name="connsiteX891" fmla="*/ 454358 w 645199"/>
                <a:gd name="connsiteY891" fmla="*/ 333608 h 669699"/>
                <a:gd name="connsiteX892" fmla="*/ 453954 w 645199"/>
                <a:gd name="connsiteY892" fmla="*/ 332672 h 669699"/>
                <a:gd name="connsiteX893" fmla="*/ 453877 w 645199"/>
                <a:gd name="connsiteY893" fmla="*/ 331025 h 669699"/>
                <a:gd name="connsiteX894" fmla="*/ 454961 w 645199"/>
                <a:gd name="connsiteY894" fmla="*/ 324720 h 669699"/>
                <a:gd name="connsiteX895" fmla="*/ 454740 w 645199"/>
                <a:gd name="connsiteY895" fmla="*/ 324009 h 669699"/>
                <a:gd name="connsiteX896" fmla="*/ 454254 w 645199"/>
                <a:gd name="connsiteY896" fmla="*/ 323543 h 669699"/>
                <a:gd name="connsiteX897" fmla="*/ 453177 w 645199"/>
                <a:gd name="connsiteY897" fmla="*/ 323293 h 669699"/>
                <a:gd name="connsiteX898" fmla="*/ 452780 w 645199"/>
                <a:gd name="connsiteY898" fmla="*/ 322016 h 669699"/>
                <a:gd name="connsiteX899" fmla="*/ 451126 w 645199"/>
                <a:gd name="connsiteY899" fmla="*/ 328739 h 669699"/>
                <a:gd name="connsiteX900" fmla="*/ 451856 w 645199"/>
                <a:gd name="connsiteY900" fmla="*/ 331482 h 669699"/>
                <a:gd name="connsiteX901" fmla="*/ 451521 w 645199"/>
                <a:gd name="connsiteY901" fmla="*/ 332734 h 669699"/>
                <a:gd name="connsiteX902" fmla="*/ 448455 w 645199"/>
                <a:gd name="connsiteY902" fmla="*/ 333787 h 669699"/>
                <a:gd name="connsiteX903" fmla="*/ 445347 w 645199"/>
                <a:gd name="connsiteY903" fmla="*/ 331260 h 669699"/>
                <a:gd name="connsiteX904" fmla="*/ 444950 w 645199"/>
                <a:gd name="connsiteY904" fmla="*/ 330452 h 669699"/>
                <a:gd name="connsiteX905" fmla="*/ 444767 w 645199"/>
                <a:gd name="connsiteY905" fmla="*/ 331873 h 669699"/>
                <a:gd name="connsiteX906" fmla="*/ 444203 w 645199"/>
                <a:gd name="connsiteY906" fmla="*/ 333600 h 669699"/>
                <a:gd name="connsiteX907" fmla="*/ 441292 w 645199"/>
                <a:gd name="connsiteY907" fmla="*/ 333288 h 669699"/>
                <a:gd name="connsiteX908" fmla="*/ 439849 w 645199"/>
                <a:gd name="connsiteY908" fmla="*/ 331936 h 669699"/>
                <a:gd name="connsiteX909" fmla="*/ 440791 w 645199"/>
                <a:gd name="connsiteY909" fmla="*/ 329633 h 669699"/>
                <a:gd name="connsiteX910" fmla="*/ 442596 w 645199"/>
                <a:gd name="connsiteY910" fmla="*/ 324083 h 669699"/>
                <a:gd name="connsiteX911" fmla="*/ 442933 w 645199"/>
                <a:gd name="connsiteY911" fmla="*/ 321608 h 669699"/>
                <a:gd name="connsiteX912" fmla="*/ 440519 w 645199"/>
                <a:gd name="connsiteY912" fmla="*/ 319793 h 669699"/>
                <a:gd name="connsiteX913" fmla="*/ 438470 w 645199"/>
                <a:gd name="connsiteY913" fmla="*/ 318679 h 669699"/>
                <a:gd name="connsiteX914" fmla="*/ 437297 w 645199"/>
                <a:gd name="connsiteY914" fmla="*/ 316155 h 669699"/>
                <a:gd name="connsiteX915" fmla="*/ 437744 w 645199"/>
                <a:gd name="connsiteY915" fmla="*/ 318926 h 669699"/>
                <a:gd name="connsiteX916" fmla="*/ 438830 w 645199"/>
                <a:gd name="connsiteY916" fmla="*/ 319911 h 669699"/>
                <a:gd name="connsiteX917" fmla="*/ 440428 w 645199"/>
                <a:gd name="connsiteY917" fmla="*/ 320606 h 669699"/>
                <a:gd name="connsiteX918" fmla="*/ 442115 w 645199"/>
                <a:gd name="connsiteY918" fmla="*/ 322021 h 669699"/>
                <a:gd name="connsiteX919" fmla="*/ 440895 w 645199"/>
                <a:gd name="connsiteY919" fmla="*/ 323747 h 669699"/>
                <a:gd name="connsiteX920" fmla="*/ 439716 w 645199"/>
                <a:gd name="connsiteY920" fmla="*/ 324821 h 669699"/>
                <a:gd name="connsiteX921" fmla="*/ 437453 w 645199"/>
                <a:gd name="connsiteY921" fmla="*/ 328894 h 669699"/>
                <a:gd name="connsiteX922" fmla="*/ 434695 w 645199"/>
                <a:gd name="connsiteY922" fmla="*/ 331167 h 669699"/>
                <a:gd name="connsiteX923" fmla="*/ 431477 w 645199"/>
                <a:gd name="connsiteY923" fmla="*/ 332877 h 669699"/>
                <a:gd name="connsiteX924" fmla="*/ 420918 w 645199"/>
                <a:gd name="connsiteY924" fmla="*/ 335394 h 669699"/>
                <a:gd name="connsiteX925" fmla="*/ 418707 w 645199"/>
                <a:gd name="connsiteY925" fmla="*/ 336414 h 669699"/>
                <a:gd name="connsiteX926" fmla="*/ 415466 w 645199"/>
                <a:gd name="connsiteY926" fmla="*/ 339548 h 669699"/>
                <a:gd name="connsiteX927" fmla="*/ 413375 w 645199"/>
                <a:gd name="connsiteY927" fmla="*/ 342523 h 669699"/>
                <a:gd name="connsiteX928" fmla="*/ 412993 w 645199"/>
                <a:gd name="connsiteY928" fmla="*/ 345536 h 669699"/>
                <a:gd name="connsiteX929" fmla="*/ 414177 w 645199"/>
                <a:gd name="connsiteY929" fmla="*/ 348788 h 669699"/>
                <a:gd name="connsiteX930" fmla="*/ 415140 w 645199"/>
                <a:gd name="connsiteY930" fmla="*/ 353879 h 669699"/>
                <a:gd name="connsiteX931" fmla="*/ 415938 w 645199"/>
                <a:gd name="connsiteY931" fmla="*/ 354915 h 669699"/>
                <a:gd name="connsiteX932" fmla="*/ 414811 w 645199"/>
                <a:gd name="connsiteY932" fmla="*/ 356769 h 669699"/>
                <a:gd name="connsiteX933" fmla="*/ 412853 w 645199"/>
                <a:gd name="connsiteY933" fmla="*/ 358739 h 669699"/>
                <a:gd name="connsiteX934" fmla="*/ 411229 w 645199"/>
                <a:gd name="connsiteY934" fmla="*/ 361394 h 669699"/>
                <a:gd name="connsiteX935" fmla="*/ 411378 w 645199"/>
                <a:gd name="connsiteY935" fmla="*/ 362851 h 669699"/>
                <a:gd name="connsiteX936" fmla="*/ 410961 w 645199"/>
                <a:gd name="connsiteY936" fmla="*/ 363834 h 669699"/>
                <a:gd name="connsiteX937" fmla="*/ 405396 w 645199"/>
                <a:gd name="connsiteY937" fmla="*/ 367094 h 669699"/>
                <a:gd name="connsiteX938" fmla="*/ 404226 w 645199"/>
                <a:gd name="connsiteY938" fmla="*/ 368998 h 669699"/>
                <a:gd name="connsiteX939" fmla="*/ 402695 w 645199"/>
                <a:gd name="connsiteY939" fmla="*/ 370889 h 669699"/>
                <a:gd name="connsiteX940" fmla="*/ 400862 w 645199"/>
                <a:gd name="connsiteY940" fmla="*/ 369807 h 669699"/>
                <a:gd name="connsiteX941" fmla="*/ 399791 w 645199"/>
                <a:gd name="connsiteY941" fmla="*/ 369824 h 669699"/>
                <a:gd name="connsiteX942" fmla="*/ 401266 w 645199"/>
                <a:gd name="connsiteY942" fmla="*/ 371324 h 669699"/>
                <a:gd name="connsiteX943" fmla="*/ 401067 w 645199"/>
                <a:gd name="connsiteY943" fmla="*/ 372316 h 669699"/>
                <a:gd name="connsiteX944" fmla="*/ 400549 w 645199"/>
                <a:gd name="connsiteY944" fmla="*/ 372897 h 669699"/>
                <a:gd name="connsiteX945" fmla="*/ 399149 w 645199"/>
                <a:gd name="connsiteY945" fmla="*/ 373440 h 669699"/>
                <a:gd name="connsiteX946" fmla="*/ 391116 w 645199"/>
                <a:gd name="connsiteY946" fmla="*/ 375832 h 669699"/>
                <a:gd name="connsiteX947" fmla="*/ 384971 w 645199"/>
                <a:gd name="connsiteY947" fmla="*/ 378103 h 669699"/>
                <a:gd name="connsiteX948" fmla="*/ 383243 w 645199"/>
                <a:gd name="connsiteY948" fmla="*/ 378011 h 669699"/>
                <a:gd name="connsiteX949" fmla="*/ 383559 w 645199"/>
                <a:gd name="connsiteY949" fmla="*/ 377322 h 669699"/>
                <a:gd name="connsiteX950" fmla="*/ 384634 w 645199"/>
                <a:gd name="connsiteY950" fmla="*/ 376712 h 669699"/>
                <a:gd name="connsiteX951" fmla="*/ 384530 w 645199"/>
                <a:gd name="connsiteY951" fmla="*/ 374105 h 669699"/>
                <a:gd name="connsiteX952" fmla="*/ 383403 w 645199"/>
                <a:gd name="connsiteY952" fmla="*/ 373626 h 669699"/>
                <a:gd name="connsiteX953" fmla="*/ 382427 w 645199"/>
                <a:gd name="connsiteY953" fmla="*/ 373438 h 669699"/>
                <a:gd name="connsiteX954" fmla="*/ 377754 w 645199"/>
                <a:gd name="connsiteY954" fmla="*/ 376615 h 669699"/>
                <a:gd name="connsiteX955" fmla="*/ 375856 w 645199"/>
                <a:gd name="connsiteY955" fmla="*/ 379757 h 669699"/>
                <a:gd name="connsiteX956" fmla="*/ 376253 w 645199"/>
                <a:gd name="connsiteY956" fmla="*/ 380355 h 669699"/>
                <a:gd name="connsiteX957" fmla="*/ 377309 w 645199"/>
                <a:gd name="connsiteY957" fmla="*/ 380207 h 669699"/>
                <a:gd name="connsiteX958" fmla="*/ 380458 w 645199"/>
                <a:gd name="connsiteY958" fmla="*/ 378425 h 669699"/>
                <a:gd name="connsiteX959" fmla="*/ 381917 w 645199"/>
                <a:gd name="connsiteY959" fmla="*/ 378931 h 669699"/>
                <a:gd name="connsiteX960" fmla="*/ 382021 w 645199"/>
                <a:gd name="connsiteY960" fmla="*/ 379628 h 669699"/>
                <a:gd name="connsiteX961" fmla="*/ 377245 w 645199"/>
                <a:gd name="connsiteY961" fmla="*/ 382342 h 669699"/>
                <a:gd name="connsiteX962" fmla="*/ 367193 w 645199"/>
                <a:gd name="connsiteY962" fmla="*/ 391128 h 669699"/>
                <a:gd name="connsiteX963" fmla="*/ 366724 w 645199"/>
                <a:gd name="connsiteY963" fmla="*/ 392854 h 669699"/>
                <a:gd name="connsiteX964" fmla="*/ 365420 w 645199"/>
                <a:gd name="connsiteY964" fmla="*/ 394810 h 669699"/>
                <a:gd name="connsiteX965" fmla="*/ 363619 w 645199"/>
                <a:gd name="connsiteY965" fmla="*/ 396651 h 669699"/>
                <a:gd name="connsiteX966" fmla="*/ 360378 w 645199"/>
                <a:gd name="connsiteY966" fmla="*/ 401107 h 669699"/>
                <a:gd name="connsiteX967" fmla="*/ 354163 w 645199"/>
                <a:gd name="connsiteY967" fmla="*/ 407721 h 669699"/>
                <a:gd name="connsiteX968" fmla="*/ 352446 w 645199"/>
                <a:gd name="connsiteY968" fmla="*/ 410187 h 669699"/>
                <a:gd name="connsiteX969" fmla="*/ 342500 w 645199"/>
                <a:gd name="connsiteY969" fmla="*/ 415277 h 669699"/>
                <a:gd name="connsiteX970" fmla="*/ 340686 w 645199"/>
                <a:gd name="connsiteY970" fmla="*/ 416790 h 669699"/>
                <a:gd name="connsiteX971" fmla="*/ 336611 w 645199"/>
                <a:gd name="connsiteY971" fmla="*/ 421741 h 669699"/>
                <a:gd name="connsiteX972" fmla="*/ 332418 w 645199"/>
                <a:gd name="connsiteY972" fmla="*/ 425793 h 669699"/>
                <a:gd name="connsiteX973" fmla="*/ 327520 w 645199"/>
                <a:gd name="connsiteY973" fmla="*/ 429147 h 669699"/>
                <a:gd name="connsiteX974" fmla="*/ 319036 w 645199"/>
                <a:gd name="connsiteY974" fmla="*/ 433427 h 669699"/>
                <a:gd name="connsiteX975" fmla="*/ 313871 w 645199"/>
                <a:gd name="connsiteY975" fmla="*/ 437473 h 669699"/>
                <a:gd name="connsiteX976" fmla="*/ 312256 w 645199"/>
                <a:gd name="connsiteY976" fmla="*/ 440161 h 669699"/>
                <a:gd name="connsiteX977" fmla="*/ 312154 w 645199"/>
                <a:gd name="connsiteY977" fmla="*/ 441116 h 669699"/>
                <a:gd name="connsiteX978" fmla="*/ 312713 w 645199"/>
                <a:gd name="connsiteY978" fmla="*/ 442424 h 669699"/>
                <a:gd name="connsiteX979" fmla="*/ 313659 w 645199"/>
                <a:gd name="connsiteY979" fmla="*/ 443638 h 669699"/>
                <a:gd name="connsiteX980" fmla="*/ 313875 w 645199"/>
                <a:gd name="connsiteY980" fmla="*/ 444601 h 669699"/>
                <a:gd name="connsiteX981" fmla="*/ 313409 w 645199"/>
                <a:gd name="connsiteY981" fmla="*/ 446335 h 669699"/>
                <a:gd name="connsiteX982" fmla="*/ 313154 w 645199"/>
                <a:gd name="connsiteY982" fmla="*/ 447294 h 669699"/>
                <a:gd name="connsiteX983" fmla="*/ 311643 w 645199"/>
                <a:gd name="connsiteY983" fmla="*/ 449668 h 669699"/>
                <a:gd name="connsiteX984" fmla="*/ 309049 w 645199"/>
                <a:gd name="connsiteY984" fmla="*/ 451360 h 669699"/>
                <a:gd name="connsiteX985" fmla="*/ 300656 w 645199"/>
                <a:gd name="connsiteY985" fmla="*/ 454899 h 669699"/>
                <a:gd name="connsiteX986" fmla="*/ 299546 w 645199"/>
                <a:gd name="connsiteY986" fmla="*/ 454786 h 669699"/>
                <a:gd name="connsiteX987" fmla="*/ 292694 w 645199"/>
                <a:gd name="connsiteY987" fmla="*/ 454087 h 669699"/>
                <a:gd name="connsiteX988" fmla="*/ 290135 w 645199"/>
                <a:gd name="connsiteY988" fmla="*/ 454727 h 669699"/>
                <a:gd name="connsiteX989" fmla="*/ 289083 w 645199"/>
                <a:gd name="connsiteY989" fmla="*/ 456386 h 669699"/>
                <a:gd name="connsiteX990" fmla="*/ 286730 w 645199"/>
                <a:gd name="connsiteY990" fmla="*/ 463241 h 669699"/>
                <a:gd name="connsiteX991" fmla="*/ 284473 w 645199"/>
                <a:gd name="connsiteY991" fmla="*/ 465062 h 669699"/>
                <a:gd name="connsiteX992" fmla="*/ 283663 w 645199"/>
                <a:gd name="connsiteY992" fmla="*/ 466710 h 669699"/>
                <a:gd name="connsiteX993" fmla="*/ 283337 w 645199"/>
                <a:gd name="connsiteY993" fmla="*/ 467852 h 669699"/>
                <a:gd name="connsiteX994" fmla="*/ 281990 w 645199"/>
                <a:gd name="connsiteY994" fmla="*/ 467822 h 669699"/>
                <a:gd name="connsiteX995" fmla="*/ 280817 w 645199"/>
                <a:gd name="connsiteY995" fmla="*/ 467311 h 669699"/>
                <a:gd name="connsiteX996" fmla="*/ 279960 w 645199"/>
                <a:gd name="connsiteY996" fmla="*/ 467680 h 669699"/>
                <a:gd name="connsiteX997" fmla="*/ 278984 w 645199"/>
                <a:gd name="connsiteY997" fmla="*/ 465382 h 669699"/>
                <a:gd name="connsiteX998" fmla="*/ 277347 w 645199"/>
                <a:gd name="connsiteY998" fmla="*/ 464912 h 669699"/>
                <a:gd name="connsiteX999" fmla="*/ 275993 w 645199"/>
                <a:gd name="connsiteY999" fmla="*/ 464755 h 669699"/>
                <a:gd name="connsiteX1000" fmla="*/ 270206 w 645199"/>
                <a:gd name="connsiteY1000" fmla="*/ 467072 h 669699"/>
                <a:gd name="connsiteX1001" fmla="*/ 268185 w 645199"/>
                <a:gd name="connsiteY1001" fmla="*/ 468930 h 669699"/>
                <a:gd name="connsiteX1002" fmla="*/ 263931 w 645199"/>
                <a:gd name="connsiteY1002" fmla="*/ 477695 h 669699"/>
                <a:gd name="connsiteX1003" fmla="*/ 262877 w 645199"/>
                <a:gd name="connsiteY1003" fmla="*/ 483341 h 669699"/>
                <a:gd name="connsiteX1004" fmla="*/ 263877 w 645199"/>
                <a:gd name="connsiteY1004" fmla="*/ 489574 h 669699"/>
                <a:gd name="connsiteX1005" fmla="*/ 265354 w 645199"/>
                <a:gd name="connsiteY1005" fmla="*/ 494552 h 669699"/>
                <a:gd name="connsiteX1006" fmla="*/ 265648 w 645199"/>
                <a:gd name="connsiteY1006" fmla="*/ 496799 h 669699"/>
                <a:gd name="connsiteX1007" fmla="*/ 265457 w 645199"/>
                <a:gd name="connsiteY1007" fmla="*/ 499708 h 669699"/>
                <a:gd name="connsiteX1008" fmla="*/ 264708 w 645199"/>
                <a:gd name="connsiteY1008" fmla="*/ 501126 h 669699"/>
                <a:gd name="connsiteX1009" fmla="*/ 264166 w 645199"/>
                <a:gd name="connsiteY1009" fmla="*/ 502803 h 669699"/>
                <a:gd name="connsiteX1010" fmla="*/ 264873 w 645199"/>
                <a:gd name="connsiteY1010" fmla="*/ 506259 h 669699"/>
                <a:gd name="connsiteX1011" fmla="*/ 266658 w 645199"/>
                <a:gd name="connsiteY1011" fmla="*/ 510784 h 669699"/>
                <a:gd name="connsiteX1012" fmla="*/ 267094 w 645199"/>
                <a:gd name="connsiteY1012" fmla="*/ 512692 h 669699"/>
                <a:gd name="connsiteX1013" fmla="*/ 267131 w 645199"/>
                <a:gd name="connsiteY1013" fmla="*/ 514667 h 669699"/>
                <a:gd name="connsiteX1014" fmla="*/ 268474 w 645199"/>
                <a:gd name="connsiteY1014" fmla="*/ 519187 h 669699"/>
                <a:gd name="connsiteX1015" fmla="*/ 267569 w 645199"/>
                <a:gd name="connsiteY1015" fmla="*/ 518372 h 669699"/>
                <a:gd name="connsiteX1016" fmla="*/ 266857 w 645199"/>
                <a:gd name="connsiteY1016" fmla="*/ 516470 h 669699"/>
                <a:gd name="connsiteX1017" fmla="*/ 265151 w 645199"/>
                <a:gd name="connsiteY1017" fmla="*/ 514038 h 669699"/>
                <a:gd name="connsiteX1018" fmla="*/ 263069 w 645199"/>
                <a:gd name="connsiteY1018" fmla="*/ 516459 h 669699"/>
                <a:gd name="connsiteX1019" fmla="*/ 264223 w 645199"/>
                <a:gd name="connsiteY1019" fmla="*/ 518205 h 669699"/>
                <a:gd name="connsiteX1020" fmla="*/ 268116 w 645199"/>
                <a:gd name="connsiteY1020" fmla="*/ 520276 h 669699"/>
                <a:gd name="connsiteX1021" fmla="*/ 269267 w 645199"/>
                <a:gd name="connsiteY1021" fmla="*/ 521972 h 669699"/>
                <a:gd name="connsiteX1022" fmla="*/ 266762 w 645199"/>
                <a:gd name="connsiteY1022" fmla="*/ 537058 h 669699"/>
                <a:gd name="connsiteX1023" fmla="*/ 264859 w 645199"/>
                <a:gd name="connsiteY1023" fmla="*/ 542410 h 669699"/>
                <a:gd name="connsiteX1024" fmla="*/ 262525 w 645199"/>
                <a:gd name="connsiteY1024" fmla="*/ 545917 h 669699"/>
                <a:gd name="connsiteX1025" fmla="*/ 261292 w 645199"/>
                <a:gd name="connsiteY1025" fmla="*/ 547271 h 669699"/>
                <a:gd name="connsiteX1026" fmla="*/ 258567 w 645199"/>
                <a:gd name="connsiteY1026" fmla="*/ 552804 h 669699"/>
                <a:gd name="connsiteX1027" fmla="*/ 256641 w 645199"/>
                <a:gd name="connsiteY1027" fmla="*/ 559497 h 669699"/>
                <a:gd name="connsiteX1028" fmla="*/ 256259 w 645199"/>
                <a:gd name="connsiteY1028" fmla="*/ 562072 h 669699"/>
                <a:gd name="connsiteX1029" fmla="*/ 257126 w 645199"/>
                <a:gd name="connsiteY1029" fmla="*/ 564954 h 669699"/>
                <a:gd name="connsiteX1030" fmla="*/ 256144 w 645199"/>
                <a:gd name="connsiteY1030" fmla="*/ 566657 h 669699"/>
                <a:gd name="connsiteX1031" fmla="*/ 254911 w 645199"/>
                <a:gd name="connsiteY1031" fmla="*/ 567957 h 669699"/>
                <a:gd name="connsiteX1032" fmla="*/ 257252 w 645199"/>
                <a:gd name="connsiteY1032" fmla="*/ 567372 h 669699"/>
                <a:gd name="connsiteX1033" fmla="*/ 258053 w 645199"/>
                <a:gd name="connsiteY1033" fmla="*/ 568936 h 669699"/>
                <a:gd name="connsiteX1034" fmla="*/ 258349 w 645199"/>
                <a:gd name="connsiteY1034" fmla="*/ 570547 h 669699"/>
                <a:gd name="connsiteX1035" fmla="*/ 258383 w 645199"/>
                <a:gd name="connsiteY1035" fmla="*/ 580124 h 669699"/>
                <a:gd name="connsiteX1036" fmla="*/ 258118 w 645199"/>
                <a:gd name="connsiteY1036" fmla="*/ 590100 h 669699"/>
                <a:gd name="connsiteX1037" fmla="*/ 256321 w 645199"/>
                <a:gd name="connsiteY1037" fmla="*/ 590507 h 669699"/>
                <a:gd name="connsiteX1038" fmla="*/ 254341 w 645199"/>
                <a:gd name="connsiteY1038" fmla="*/ 590611 h 669699"/>
                <a:gd name="connsiteX1039" fmla="*/ 252598 w 645199"/>
                <a:gd name="connsiteY1039" fmla="*/ 590328 h 669699"/>
                <a:gd name="connsiteX1040" fmla="*/ 251339 w 645199"/>
                <a:gd name="connsiteY1040" fmla="*/ 589942 h 669699"/>
                <a:gd name="connsiteX1041" fmla="*/ 248219 w 645199"/>
                <a:gd name="connsiteY1041" fmla="*/ 590471 h 669699"/>
                <a:gd name="connsiteX1042" fmla="*/ 246539 w 645199"/>
                <a:gd name="connsiteY1042" fmla="*/ 591572 h 669699"/>
                <a:gd name="connsiteX1043" fmla="*/ 245192 w 645199"/>
                <a:gd name="connsiteY1043" fmla="*/ 593401 h 669699"/>
                <a:gd name="connsiteX1044" fmla="*/ 245285 w 645199"/>
                <a:gd name="connsiteY1044" fmla="*/ 596519 h 669699"/>
                <a:gd name="connsiteX1045" fmla="*/ 239502 w 645199"/>
                <a:gd name="connsiteY1045" fmla="*/ 604379 h 669699"/>
                <a:gd name="connsiteX1046" fmla="*/ 238256 w 645199"/>
                <a:gd name="connsiteY1046" fmla="*/ 606997 h 669699"/>
                <a:gd name="connsiteX1047" fmla="*/ 237796 w 645199"/>
                <a:gd name="connsiteY1047" fmla="*/ 609516 h 669699"/>
                <a:gd name="connsiteX1048" fmla="*/ 238547 w 645199"/>
                <a:gd name="connsiteY1048" fmla="*/ 610833 h 669699"/>
                <a:gd name="connsiteX1049" fmla="*/ 240024 w 645199"/>
                <a:gd name="connsiteY1049" fmla="*/ 612182 h 669699"/>
                <a:gd name="connsiteX1050" fmla="*/ 241950 w 645199"/>
                <a:gd name="connsiteY1050" fmla="*/ 612726 h 669699"/>
                <a:gd name="connsiteX1051" fmla="*/ 245676 w 645199"/>
                <a:gd name="connsiteY1051" fmla="*/ 613268 h 669699"/>
                <a:gd name="connsiteX1052" fmla="*/ 247463 w 645199"/>
                <a:gd name="connsiteY1052" fmla="*/ 613992 h 669699"/>
                <a:gd name="connsiteX1053" fmla="*/ 248681 w 645199"/>
                <a:gd name="connsiteY1053" fmla="*/ 615325 h 669699"/>
                <a:gd name="connsiteX1054" fmla="*/ 244291 w 645199"/>
                <a:gd name="connsiteY1054" fmla="*/ 613906 h 669699"/>
                <a:gd name="connsiteX1055" fmla="*/ 239133 w 645199"/>
                <a:gd name="connsiteY1055" fmla="*/ 613627 h 669699"/>
                <a:gd name="connsiteX1056" fmla="*/ 226791 w 645199"/>
                <a:gd name="connsiteY1056" fmla="*/ 617272 h 669699"/>
                <a:gd name="connsiteX1057" fmla="*/ 223542 w 645199"/>
                <a:gd name="connsiteY1057" fmla="*/ 619832 h 669699"/>
                <a:gd name="connsiteX1058" fmla="*/ 221728 w 645199"/>
                <a:gd name="connsiteY1058" fmla="*/ 622045 h 669699"/>
                <a:gd name="connsiteX1059" fmla="*/ 220479 w 645199"/>
                <a:gd name="connsiteY1059" fmla="*/ 627114 h 669699"/>
                <a:gd name="connsiteX1060" fmla="*/ 220266 w 645199"/>
                <a:gd name="connsiteY1060" fmla="*/ 630500 h 669699"/>
                <a:gd name="connsiteX1061" fmla="*/ 218802 w 645199"/>
                <a:gd name="connsiteY1061" fmla="*/ 633323 h 669699"/>
                <a:gd name="connsiteX1062" fmla="*/ 212393 w 645199"/>
                <a:gd name="connsiteY1062" fmla="*/ 637658 h 669699"/>
                <a:gd name="connsiteX1063" fmla="*/ 208344 w 645199"/>
                <a:gd name="connsiteY1063" fmla="*/ 638992 h 669699"/>
                <a:gd name="connsiteX1064" fmla="*/ 206804 w 645199"/>
                <a:gd name="connsiteY1064" fmla="*/ 640140 h 669699"/>
                <a:gd name="connsiteX1065" fmla="*/ 202026 w 645199"/>
                <a:gd name="connsiteY1065" fmla="*/ 638649 h 669699"/>
                <a:gd name="connsiteX1066" fmla="*/ 196817 w 645199"/>
                <a:gd name="connsiteY1066" fmla="*/ 634851 h 669699"/>
                <a:gd name="connsiteX1067" fmla="*/ 194628 w 645199"/>
                <a:gd name="connsiteY1067" fmla="*/ 632817 h 669699"/>
                <a:gd name="connsiteX1068" fmla="*/ 186897 w 645199"/>
                <a:gd name="connsiteY1068" fmla="*/ 623021 h 669699"/>
                <a:gd name="connsiteX1069" fmla="*/ 185485 w 645199"/>
                <a:gd name="connsiteY1069" fmla="*/ 621780 h 669699"/>
                <a:gd name="connsiteX1070" fmla="*/ 183926 w 645199"/>
                <a:gd name="connsiteY1070" fmla="*/ 617590 h 669699"/>
                <a:gd name="connsiteX1071" fmla="*/ 183679 w 645199"/>
                <a:gd name="connsiteY1071" fmla="*/ 616028 h 669699"/>
                <a:gd name="connsiteX1072" fmla="*/ 183250 w 645199"/>
                <a:gd name="connsiteY1072" fmla="*/ 615406 h 669699"/>
                <a:gd name="connsiteX1073" fmla="*/ 182514 w 645199"/>
                <a:gd name="connsiteY1073" fmla="*/ 614981 h 669699"/>
                <a:gd name="connsiteX1074" fmla="*/ 182161 w 645199"/>
                <a:gd name="connsiteY1074" fmla="*/ 614334 h 669699"/>
                <a:gd name="connsiteX1075" fmla="*/ 180425 w 645199"/>
                <a:gd name="connsiteY1075" fmla="*/ 609533 h 669699"/>
                <a:gd name="connsiteX1076" fmla="*/ 179713 w 645199"/>
                <a:gd name="connsiteY1076" fmla="*/ 604527 h 669699"/>
                <a:gd name="connsiteX1077" fmla="*/ 178607 w 645199"/>
                <a:gd name="connsiteY1077" fmla="*/ 598933 h 669699"/>
                <a:gd name="connsiteX1078" fmla="*/ 179542 w 645199"/>
                <a:gd name="connsiteY1078" fmla="*/ 599318 h 669699"/>
                <a:gd name="connsiteX1079" fmla="*/ 180833 w 645199"/>
                <a:gd name="connsiteY1079" fmla="*/ 601160 h 669699"/>
                <a:gd name="connsiteX1080" fmla="*/ 181479 w 645199"/>
                <a:gd name="connsiteY1080" fmla="*/ 603838 h 669699"/>
                <a:gd name="connsiteX1081" fmla="*/ 181552 w 645199"/>
                <a:gd name="connsiteY1081" fmla="*/ 607575 h 669699"/>
                <a:gd name="connsiteX1082" fmla="*/ 182524 w 645199"/>
                <a:gd name="connsiteY1082" fmla="*/ 608008 h 669699"/>
                <a:gd name="connsiteX1083" fmla="*/ 183392 w 645199"/>
                <a:gd name="connsiteY1083" fmla="*/ 607656 h 669699"/>
                <a:gd name="connsiteX1084" fmla="*/ 180909 w 645199"/>
                <a:gd name="connsiteY1084" fmla="*/ 599044 h 669699"/>
                <a:gd name="connsiteX1085" fmla="*/ 178748 w 645199"/>
                <a:gd name="connsiteY1085" fmla="*/ 596904 h 669699"/>
                <a:gd name="connsiteX1086" fmla="*/ 178173 w 645199"/>
                <a:gd name="connsiteY1086" fmla="*/ 596763 h 669699"/>
                <a:gd name="connsiteX1087" fmla="*/ 177572 w 645199"/>
                <a:gd name="connsiteY1087" fmla="*/ 595382 h 669699"/>
                <a:gd name="connsiteX1088" fmla="*/ 177508 w 645199"/>
                <a:gd name="connsiteY1088" fmla="*/ 593648 h 669699"/>
                <a:gd name="connsiteX1089" fmla="*/ 177702 w 645199"/>
                <a:gd name="connsiteY1089" fmla="*/ 592824 h 669699"/>
                <a:gd name="connsiteX1090" fmla="*/ 175975 w 645199"/>
                <a:gd name="connsiteY1090" fmla="*/ 590001 h 669699"/>
                <a:gd name="connsiteX1091" fmla="*/ 175372 w 645199"/>
                <a:gd name="connsiteY1091" fmla="*/ 588320 h 669699"/>
                <a:gd name="connsiteX1092" fmla="*/ 171535 w 645199"/>
                <a:gd name="connsiteY1092" fmla="*/ 579783 h 669699"/>
                <a:gd name="connsiteX1093" fmla="*/ 169812 w 645199"/>
                <a:gd name="connsiteY1093" fmla="*/ 573665 h 669699"/>
                <a:gd name="connsiteX1094" fmla="*/ 167140 w 645199"/>
                <a:gd name="connsiteY1094" fmla="*/ 566855 h 669699"/>
                <a:gd name="connsiteX1095" fmla="*/ 165422 w 645199"/>
                <a:gd name="connsiteY1095" fmla="*/ 564467 h 669699"/>
                <a:gd name="connsiteX1096" fmla="*/ 162733 w 645199"/>
                <a:gd name="connsiteY1096" fmla="*/ 559208 h 669699"/>
                <a:gd name="connsiteX1097" fmla="*/ 160481 w 645199"/>
                <a:gd name="connsiteY1097" fmla="*/ 556763 h 669699"/>
                <a:gd name="connsiteX1098" fmla="*/ 158093 w 645199"/>
                <a:gd name="connsiteY1098" fmla="*/ 553484 h 669699"/>
                <a:gd name="connsiteX1099" fmla="*/ 156216 w 645199"/>
                <a:gd name="connsiteY1099" fmla="*/ 552029 h 669699"/>
                <a:gd name="connsiteX1100" fmla="*/ 155484 w 645199"/>
                <a:gd name="connsiteY1100" fmla="*/ 551263 h 669699"/>
                <a:gd name="connsiteX1101" fmla="*/ 149931 w 645199"/>
                <a:gd name="connsiteY1101" fmla="*/ 539883 h 669699"/>
                <a:gd name="connsiteX1102" fmla="*/ 148222 w 645199"/>
                <a:gd name="connsiteY1102" fmla="*/ 533593 h 669699"/>
                <a:gd name="connsiteX1103" fmla="*/ 146778 w 645199"/>
                <a:gd name="connsiteY1103" fmla="*/ 530620 h 669699"/>
                <a:gd name="connsiteX1104" fmla="*/ 146061 w 645199"/>
                <a:gd name="connsiteY1104" fmla="*/ 528360 h 669699"/>
                <a:gd name="connsiteX1105" fmla="*/ 144111 w 645199"/>
                <a:gd name="connsiteY1105" fmla="*/ 518695 h 669699"/>
                <a:gd name="connsiteX1106" fmla="*/ 144096 w 645199"/>
                <a:gd name="connsiteY1106" fmla="*/ 516966 h 669699"/>
                <a:gd name="connsiteX1107" fmla="*/ 143858 w 645199"/>
                <a:gd name="connsiteY1107" fmla="*/ 515077 h 669699"/>
                <a:gd name="connsiteX1108" fmla="*/ 142478 w 645199"/>
                <a:gd name="connsiteY1108" fmla="*/ 510976 h 669699"/>
                <a:gd name="connsiteX1109" fmla="*/ 140047 w 645199"/>
                <a:gd name="connsiteY1109" fmla="*/ 506544 h 669699"/>
                <a:gd name="connsiteX1110" fmla="*/ 139343 w 645199"/>
                <a:gd name="connsiteY1110" fmla="*/ 503781 h 669699"/>
                <a:gd name="connsiteX1111" fmla="*/ 139350 w 645199"/>
                <a:gd name="connsiteY1111" fmla="*/ 502706 h 669699"/>
                <a:gd name="connsiteX1112" fmla="*/ 137805 w 645199"/>
                <a:gd name="connsiteY1112" fmla="*/ 498399 h 669699"/>
                <a:gd name="connsiteX1113" fmla="*/ 137475 w 645199"/>
                <a:gd name="connsiteY1113" fmla="*/ 496429 h 669699"/>
                <a:gd name="connsiteX1114" fmla="*/ 136432 w 645199"/>
                <a:gd name="connsiteY1114" fmla="*/ 494607 h 669699"/>
                <a:gd name="connsiteX1115" fmla="*/ 135223 w 645199"/>
                <a:gd name="connsiteY1115" fmla="*/ 492934 h 669699"/>
                <a:gd name="connsiteX1116" fmla="*/ 133955 w 645199"/>
                <a:gd name="connsiteY1116" fmla="*/ 491593 h 669699"/>
                <a:gd name="connsiteX1117" fmla="*/ 130986 w 645199"/>
                <a:gd name="connsiteY1117" fmla="*/ 487225 h 669699"/>
                <a:gd name="connsiteX1118" fmla="*/ 129921 w 645199"/>
                <a:gd name="connsiteY1118" fmla="*/ 486160 h 669699"/>
                <a:gd name="connsiteX1119" fmla="*/ 127900 w 645199"/>
                <a:gd name="connsiteY1119" fmla="*/ 483325 h 669699"/>
                <a:gd name="connsiteX1120" fmla="*/ 126464 w 645199"/>
                <a:gd name="connsiteY1120" fmla="*/ 478084 h 669699"/>
                <a:gd name="connsiteX1121" fmla="*/ 124618 w 645199"/>
                <a:gd name="connsiteY1121" fmla="*/ 476035 h 669699"/>
                <a:gd name="connsiteX1122" fmla="*/ 127518 w 645199"/>
                <a:gd name="connsiteY1122" fmla="*/ 476035 h 669699"/>
                <a:gd name="connsiteX1123" fmla="*/ 125750 w 645199"/>
                <a:gd name="connsiteY1123" fmla="*/ 474100 h 669699"/>
                <a:gd name="connsiteX1124" fmla="*/ 124907 w 645199"/>
                <a:gd name="connsiteY1124" fmla="*/ 472830 h 669699"/>
                <a:gd name="connsiteX1125" fmla="*/ 123976 w 645199"/>
                <a:gd name="connsiteY1125" fmla="*/ 472049 h 669699"/>
                <a:gd name="connsiteX1126" fmla="*/ 125326 w 645199"/>
                <a:gd name="connsiteY1126" fmla="*/ 470094 h 669699"/>
                <a:gd name="connsiteX1127" fmla="*/ 123115 w 645199"/>
                <a:gd name="connsiteY1127" fmla="*/ 470149 h 669699"/>
                <a:gd name="connsiteX1128" fmla="*/ 121945 w 645199"/>
                <a:gd name="connsiteY1128" fmla="*/ 468973 h 669699"/>
                <a:gd name="connsiteX1129" fmla="*/ 120349 w 645199"/>
                <a:gd name="connsiteY1129" fmla="*/ 465297 h 669699"/>
                <a:gd name="connsiteX1130" fmla="*/ 117438 w 645199"/>
                <a:gd name="connsiteY1130" fmla="*/ 461144 h 669699"/>
                <a:gd name="connsiteX1131" fmla="*/ 116944 w 645199"/>
                <a:gd name="connsiteY1131" fmla="*/ 458924 h 669699"/>
                <a:gd name="connsiteX1132" fmla="*/ 114376 w 645199"/>
                <a:gd name="connsiteY1132" fmla="*/ 451939 h 669699"/>
                <a:gd name="connsiteX1133" fmla="*/ 112199 w 645199"/>
                <a:gd name="connsiteY1133" fmla="*/ 435144 h 669699"/>
                <a:gd name="connsiteX1134" fmla="*/ 110206 w 645199"/>
                <a:gd name="connsiteY1134" fmla="*/ 427652 h 669699"/>
                <a:gd name="connsiteX1135" fmla="*/ 110362 w 645199"/>
                <a:gd name="connsiteY1135" fmla="*/ 425498 h 669699"/>
                <a:gd name="connsiteX1136" fmla="*/ 107954 w 645199"/>
                <a:gd name="connsiteY1136" fmla="*/ 419002 h 669699"/>
                <a:gd name="connsiteX1137" fmla="*/ 106777 w 645199"/>
                <a:gd name="connsiteY1137" fmla="*/ 414642 h 669699"/>
                <a:gd name="connsiteX1138" fmla="*/ 106293 w 645199"/>
                <a:gd name="connsiteY1138" fmla="*/ 410951 h 669699"/>
                <a:gd name="connsiteX1139" fmla="*/ 105654 w 645199"/>
                <a:gd name="connsiteY1139" fmla="*/ 408520 h 669699"/>
                <a:gd name="connsiteX1140" fmla="*/ 105080 w 645199"/>
                <a:gd name="connsiteY1140" fmla="*/ 403706 h 669699"/>
                <a:gd name="connsiteX1141" fmla="*/ 104158 w 645199"/>
                <a:gd name="connsiteY1141" fmla="*/ 402180 h 669699"/>
                <a:gd name="connsiteX1142" fmla="*/ 104056 w 645199"/>
                <a:gd name="connsiteY1142" fmla="*/ 401260 h 669699"/>
                <a:gd name="connsiteX1143" fmla="*/ 104672 w 645199"/>
                <a:gd name="connsiteY1143" fmla="*/ 399064 h 669699"/>
                <a:gd name="connsiteX1144" fmla="*/ 106399 w 645199"/>
                <a:gd name="connsiteY1144" fmla="*/ 395670 h 669699"/>
                <a:gd name="connsiteX1145" fmla="*/ 107034 w 645199"/>
                <a:gd name="connsiteY1145" fmla="*/ 393518 h 669699"/>
                <a:gd name="connsiteX1146" fmla="*/ 106293 w 645199"/>
                <a:gd name="connsiteY1146" fmla="*/ 390487 h 669699"/>
                <a:gd name="connsiteX1147" fmla="*/ 104715 w 645199"/>
                <a:gd name="connsiteY1147" fmla="*/ 393669 h 669699"/>
                <a:gd name="connsiteX1148" fmla="*/ 103255 w 645199"/>
                <a:gd name="connsiteY1148" fmla="*/ 394561 h 669699"/>
                <a:gd name="connsiteX1149" fmla="*/ 102556 w 645199"/>
                <a:gd name="connsiteY1149" fmla="*/ 392184 h 669699"/>
                <a:gd name="connsiteX1150" fmla="*/ 102549 w 645199"/>
                <a:gd name="connsiteY1150" fmla="*/ 388987 h 669699"/>
                <a:gd name="connsiteX1151" fmla="*/ 102368 w 645199"/>
                <a:gd name="connsiteY1151" fmla="*/ 388222 h 669699"/>
                <a:gd name="connsiteX1152" fmla="*/ 102746 w 645199"/>
                <a:gd name="connsiteY1152" fmla="*/ 387148 h 669699"/>
                <a:gd name="connsiteX1153" fmla="*/ 106628 w 645199"/>
                <a:gd name="connsiteY1153" fmla="*/ 387641 h 669699"/>
                <a:gd name="connsiteX1154" fmla="*/ 102221 w 645199"/>
                <a:gd name="connsiteY1154" fmla="*/ 385678 h 669699"/>
                <a:gd name="connsiteX1155" fmla="*/ 101692 w 645199"/>
                <a:gd name="connsiteY1155" fmla="*/ 384527 h 669699"/>
                <a:gd name="connsiteX1156" fmla="*/ 101525 w 645199"/>
                <a:gd name="connsiteY1156" fmla="*/ 383669 h 669699"/>
                <a:gd name="connsiteX1157" fmla="*/ 102476 w 645199"/>
                <a:gd name="connsiteY1157" fmla="*/ 382079 h 669699"/>
                <a:gd name="connsiteX1158" fmla="*/ 100865 w 645199"/>
                <a:gd name="connsiteY1158" fmla="*/ 380737 h 669699"/>
                <a:gd name="connsiteX1159" fmla="*/ 100221 w 645199"/>
                <a:gd name="connsiteY1159" fmla="*/ 376628 h 669699"/>
                <a:gd name="connsiteX1160" fmla="*/ 99746 w 645199"/>
                <a:gd name="connsiteY1160" fmla="*/ 375690 h 669699"/>
                <a:gd name="connsiteX1161" fmla="*/ 99565 w 645199"/>
                <a:gd name="connsiteY1161" fmla="*/ 374931 h 669699"/>
                <a:gd name="connsiteX1162" fmla="*/ 100476 w 645199"/>
                <a:gd name="connsiteY1162" fmla="*/ 369248 h 669699"/>
                <a:gd name="connsiteX1163" fmla="*/ 104283 w 645199"/>
                <a:gd name="connsiteY1163" fmla="*/ 358074 h 669699"/>
                <a:gd name="connsiteX1164" fmla="*/ 104562 w 645199"/>
                <a:gd name="connsiteY1164" fmla="*/ 355547 h 669699"/>
                <a:gd name="connsiteX1165" fmla="*/ 104233 w 645199"/>
                <a:gd name="connsiteY1165" fmla="*/ 351953 h 669699"/>
                <a:gd name="connsiteX1166" fmla="*/ 103385 w 645199"/>
                <a:gd name="connsiteY1166" fmla="*/ 349091 h 669699"/>
                <a:gd name="connsiteX1167" fmla="*/ 103026 w 645199"/>
                <a:gd name="connsiteY1167" fmla="*/ 346062 h 669699"/>
                <a:gd name="connsiteX1168" fmla="*/ 102795 w 645199"/>
                <a:gd name="connsiteY1168" fmla="*/ 345286 h 669699"/>
                <a:gd name="connsiteX1169" fmla="*/ 101418 w 645199"/>
                <a:gd name="connsiteY1169" fmla="*/ 345010 h 669699"/>
                <a:gd name="connsiteX1170" fmla="*/ 100109 w 645199"/>
                <a:gd name="connsiteY1170" fmla="*/ 343889 h 669699"/>
                <a:gd name="connsiteX1171" fmla="*/ 98593 w 645199"/>
                <a:gd name="connsiteY1171" fmla="*/ 339395 h 669699"/>
                <a:gd name="connsiteX1172" fmla="*/ 99979 w 645199"/>
                <a:gd name="connsiteY1172" fmla="*/ 337919 h 669699"/>
                <a:gd name="connsiteX1173" fmla="*/ 101046 w 645199"/>
                <a:gd name="connsiteY1173" fmla="*/ 337108 h 669699"/>
                <a:gd name="connsiteX1174" fmla="*/ 99578 w 645199"/>
                <a:gd name="connsiteY1174" fmla="*/ 337453 h 669699"/>
                <a:gd name="connsiteX1175" fmla="*/ 98360 w 645199"/>
                <a:gd name="connsiteY1175" fmla="*/ 337316 h 669699"/>
                <a:gd name="connsiteX1176" fmla="*/ 100666 w 645199"/>
                <a:gd name="connsiteY1176" fmla="*/ 335245 h 669699"/>
                <a:gd name="connsiteX1177" fmla="*/ 102722 w 645199"/>
                <a:gd name="connsiteY1177" fmla="*/ 333656 h 669699"/>
                <a:gd name="connsiteX1178" fmla="*/ 107408 w 645199"/>
                <a:gd name="connsiteY1178" fmla="*/ 331810 h 669699"/>
                <a:gd name="connsiteX1179" fmla="*/ 109399 w 645199"/>
                <a:gd name="connsiteY1179" fmla="*/ 330632 h 669699"/>
                <a:gd name="connsiteX1180" fmla="*/ 106449 w 645199"/>
                <a:gd name="connsiteY1180" fmla="*/ 331692 h 669699"/>
                <a:gd name="connsiteX1181" fmla="*/ 103368 w 645199"/>
                <a:gd name="connsiteY1181" fmla="*/ 332096 h 669699"/>
                <a:gd name="connsiteX1182" fmla="*/ 96808 w 645199"/>
                <a:gd name="connsiteY1182" fmla="*/ 331880 h 669699"/>
                <a:gd name="connsiteX1183" fmla="*/ 97900 w 645199"/>
                <a:gd name="connsiteY1183" fmla="*/ 327685 h 669699"/>
                <a:gd name="connsiteX1184" fmla="*/ 99040 w 645199"/>
                <a:gd name="connsiteY1184" fmla="*/ 326284 h 669699"/>
                <a:gd name="connsiteX1185" fmla="*/ 100282 w 645199"/>
                <a:gd name="connsiteY1185" fmla="*/ 325497 h 669699"/>
                <a:gd name="connsiteX1186" fmla="*/ 98453 w 645199"/>
                <a:gd name="connsiteY1186" fmla="*/ 325734 h 669699"/>
                <a:gd name="connsiteX1187" fmla="*/ 96348 w 645199"/>
                <a:gd name="connsiteY1187" fmla="*/ 325398 h 669699"/>
                <a:gd name="connsiteX1188" fmla="*/ 97027 w 645199"/>
                <a:gd name="connsiteY1188" fmla="*/ 321134 h 669699"/>
                <a:gd name="connsiteX1189" fmla="*/ 98684 w 645199"/>
                <a:gd name="connsiteY1189" fmla="*/ 320213 h 669699"/>
                <a:gd name="connsiteX1190" fmla="*/ 100472 w 645199"/>
                <a:gd name="connsiteY1190" fmla="*/ 320037 h 669699"/>
                <a:gd name="connsiteX1191" fmla="*/ 102692 w 645199"/>
                <a:gd name="connsiteY1191" fmla="*/ 319431 h 669699"/>
                <a:gd name="connsiteX1192" fmla="*/ 100321 w 645199"/>
                <a:gd name="connsiteY1192" fmla="*/ 318727 h 669699"/>
                <a:gd name="connsiteX1193" fmla="*/ 97848 w 645199"/>
                <a:gd name="connsiteY1193" fmla="*/ 318390 h 669699"/>
                <a:gd name="connsiteX1194" fmla="*/ 94881 w 645199"/>
                <a:gd name="connsiteY1194" fmla="*/ 319088 h 669699"/>
                <a:gd name="connsiteX1195" fmla="*/ 92154 w 645199"/>
                <a:gd name="connsiteY1195" fmla="*/ 318574 h 669699"/>
                <a:gd name="connsiteX1196" fmla="*/ 88841 w 645199"/>
                <a:gd name="connsiteY1196" fmla="*/ 318585 h 669699"/>
                <a:gd name="connsiteX1197" fmla="*/ 90163 w 645199"/>
                <a:gd name="connsiteY1197" fmla="*/ 319155 h 669699"/>
                <a:gd name="connsiteX1198" fmla="*/ 91575 w 645199"/>
                <a:gd name="connsiteY1198" fmla="*/ 320455 h 669699"/>
                <a:gd name="connsiteX1199" fmla="*/ 90867 w 645199"/>
                <a:gd name="connsiteY1199" fmla="*/ 322764 h 669699"/>
                <a:gd name="connsiteX1200" fmla="*/ 90202 w 645199"/>
                <a:gd name="connsiteY1200" fmla="*/ 324205 h 669699"/>
                <a:gd name="connsiteX1201" fmla="*/ 88375 w 645199"/>
                <a:gd name="connsiteY1201" fmla="*/ 325198 h 669699"/>
                <a:gd name="connsiteX1202" fmla="*/ 86887 w 645199"/>
                <a:gd name="connsiteY1202" fmla="*/ 326702 h 669699"/>
                <a:gd name="connsiteX1203" fmla="*/ 86470 w 645199"/>
                <a:gd name="connsiteY1203" fmla="*/ 328023 h 669699"/>
                <a:gd name="connsiteX1204" fmla="*/ 85622 w 645199"/>
                <a:gd name="connsiteY1204" fmla="*/ 328949 h 669699"/>
                <a:gd name="connsiteX1205" fmla="*/ 87075 w 645199"/>
                <a:gd name="connsiteY1205" fmla="*/ 329609 h 669699"/>
                <a:gd name="connsiteX1206" fmla="*/ 88578 w 645199"/>
                <a:gd name="connsiteY1206" fmla="*/ 330079 h 669699"/>
                <a:gd name="connsiteX1207" fmla="*/ 89450 w 645199"/>
                <a:gd name="connsiteY1207" fmla="*/ 331147 h 669699"/>
                <a:gd name="connsiteX1208" fmla="*/ 90474 w 645199"/>
                <a:gd name="connsiteY1208" fmla="*/ 332699 h 669699"/>
                <a:gd name="connsiteX1209" fmla="*/ 90415 w 645199"/>
                <a:gd name="connsiteY1209" fmla="*/ 335714 h 669699"/>
                <a:gd name="connsiteX1210" fmla="*/ 86492 w 645199"/>
                <a:gd name="connsiteY1210" fmla="*/ 342815 h 669699"/>
                <a:gd name="connsiteX1211" fmla="*/ 85136 w 645199"/>
                <a:gd name="connsiteY1211" fmla="*/ 344396 h 669699"/>
                <a:gd name="connsiteX1212" fmla="*/ 75315 w 645199"/>
                <a:gd name="connsiteY1212" fmla="*/ 348673 h 669699"/>
                <a:gd name="connsiteX1213" fmla="*/ 71454 w 645199"/>
                <a:gd name="connsiteY1213" fmla="*/ 351000 h 669699"/>
                <a:gd name="connsiteX1214" fmla="*/ 63231 w 645199"/>
                <a:gd name="connsiteY1214" fmla="*/ 354022 h 669699"/>
                <a:gd name="connsiteX1215" fmla="*/ 60026 w 645199"/>
                <a:gd name="connsiteY1215" fmla="*/ 354584 h 669699"/>
                <a:gd name="connsiteX1216" fmla="*/ 56481 w 645199"/>
                <a:gd name="connsiteY1216" fmla="*/ 353986 h 669699"/>
                <a:gd name="connsiteX1217" fmla="*/ 51300 w 645199"/>
                <a:gd name="connsiteY1217" fmla="*/ 351684 h 669699"/>
                <a:gd name="connsiteX1218" fmla="*/ 43391 w 645199"/>
                <a:gd name="connsiteY1218" fmla="*/ 345806 h 669699"/>
                <a:gd name="connsiteX1219" fmla="*/ 41335 w 645199"/>
                <a:gd name="connsiteY1219" fmla="*/ 343862 h 669699"/>
                <a:gd name="connsiteX1220" fmla="*/ 35012 w 645199"/>
                <a:gd name="connsiteY1220" fmla="*/ 336300 h 669699"/>
                <a:gd name="connsiteX1221" fmla="*/ 30447 w 645199"/>
                <a:gd name="connsiteY1221" fmla="*/ 332297 h 669699"/>
                <a:gd name="connsiteX1222" fmla="*/ 26986 w 645199"/>
                <a:gd name="connsiteY1222" fmla="*/ 328567 h 669699"/>
                <a:gd name="connsiteX1223" fmla="*/ 22701 w 645199"/>
                <a:gd name="connsiteY1223" fmla="*/ 325043 h 669699"/>
                <a:gd name="connsiteX1224" fmla="*/ 18657 w 645199"/>
                <a:gd name="connsiteY1224" fmla="*/ 320279 h 669699"/>
                <a:gd name="connsiteX1225" fmla="*/ 17798 w 645199"/>
                <a:gd name="connsiteY1225" fmla="*/ 318107 h 669699"/>
                <a:gd name="connsiteX1226" fmla="*/ 18098 w 645199"/>
                <a:gd name="connsiteY1226" fmla="*/ 315898 h 669699"/>
                <a:gd name="connsiteX1227" fmla="*/ 19605 w 645199"/>
                <a:gd name="connsiteY1227" fmla="*/ 314691 h 669699"/>
                <a:gd name="connsiteX1228" fmla="*/ 21367 w 645199"/>
                <a:gd name="connsiteY1228" fmla="*/ 315180 h 669699"/>
                <a:gd name="connsiteX1229" fmla="*/ 22757 w 645199"/>
                <a:gd name="connsiteY1229" fmla="*/ 317043 h 669699"/>
                <a:gd name="connsiteX1230" fmla="*/ 23745 w 645199"/>
                <a:gd name="connsiteY1230" fmla="*/ 317877 h 669699"/>
                <a:gd name="connsiteX1231" fmla="*/ 24578 w 645199"/>
                <a:gd name="connsiteY1231" fmla="*/ 318219 h 669699"/>
                <a:gd name="connsiteX1232" fmla="*/ 30607 w 645199"/>
                <a:gd name="connsiteY1232" fmla="*/ 315363 h 669699"/>
                <a:gd name="connsiteX1233" fmla="*/ 32950 w 645199"/>
                <a:gd name="connsiteY1233" fmla="*/ 315477 h 669699"/>
                <a:gd name="connsiteX1234" fmla="*/ 34550 w 645199"/>
                <a:gd name="connsiteY1234" fmla="*/ 314043 h 669699"/>
                <a:gd name="connsiteX1235" fmla="*/ 36574 w 645199"/>
                <a:gd name="connsiteY1235" fmla="*/ 314356 h 669699"/>
                <a:gd name="connsiteX1236" fmla="*/ 40704 w 645199"/>
                <a:gd name="connsiteY1236" fmla="*/ 312125 h 669699"/>
                <a:gd name="connsiteX1237" fmla="*/ 42436 w 645199"/>
                <a:gd name="connsiteY1237" fmla="*/ 311990 h 669699"/>
                <a:gd name="connsiteX1238" fmla="*/ 44494 w 645199"/>
                <a:gd name="connsiteY1238" fmla="*/ 311542 h 669699"/>
                <a:gd name="connsiteX1239" fmla="*/ 47821 w 645199"/>
                <a:gd name="connsiteY1239" fmla="*/ 305887 h 669699"/>
                <a:gd name="connsiteX1240" fmla="*/ 50314 w 645199"/>
                <a:gd name="connsiteY1240" fmla="*/ 302287 h 669699"/>
                <a:gd name="connsiteX1241" fmla="*/ 51929 w 645199"/>
                <a:gd name="connsiteY1241" fmla="*/ 301537 h 669699"/>
                <a:gd name="connsiteX1242" fmla="*/ 51838 w 645199"/>
                <a:gd name="connsiteY1242" fmla="*/ 300660 h 669699"/>
                <a:gd name="connsiteX1243" fmla="*/ 51393 w 645199"/>
                <a:gd name="connsiteY1243" fmla="*/ 299509 h 669699"/>
                <a:gd name="connsiteX1244" fmla="*/ 50184 w 645199"/>
                <a:gd name="connsiteY1244" fmla="*/ 299799 h 669699"/>
                <a:gd name="connsiteX1245" fmla="*/ 49338 w 645199"/>
                <a:gd name="connsiteY1245" fmla="*/ 300893 h 669699"/>
                <a:gd name="connsiteX1246" fmla="*/ 48711 w 645199"/>
                <a:gd name="connsiteY1246" fmla="*/ 302213 h 669699"/>
                <a:gd name="connsiteX1247" fmla="*/ 48081 w 645199"/>
                <a:gd name="connsiteY1247" fmla="*/ 302999 h 669699"/>
                <a:gd name="connsiteX1248" fmla="*/ 46129 w 645199"/>
                <a:gd name="connsiteY1248" fmla="*/ 302274 h 669699"/>
                <a:gd name="connsiteX1249" fmla="*/ 44813 w 645199"/>
                <a:gd name="connsiteY1249" fmla="*/ 302396 h 669699"/>
                <a:gd name="connsiteX1250" fmla="*/ 43190 w 645199"/>
                <a:gd name="connsiteY1250" fmla="*/ 302830 h 669699"/>
                <a:gd name="connsiteX1251" fmla="*/ 37254 w 645199"/>
                <a:gd name="connsiteY1251" fmla="*/ 304940 h 669699"/>
                <a:gd name="connsiteX1252" fmla="*/ 34818 w 645199"/>
                <a:gd name="connsiteY1252" fmla="*/ 306832 h 669699"/>
                <a:gd name="connsiteX1253" fmla="*/ 33160 w 645199"/>
                <a:gd name="connsiteY1253" fmla="*/ 307207 h 669699"/>
                <a:gd name="connsiteX1254" fmla="*/ 23680 w 645199"/>
                <a:gd name="connsiteY1254" fmla="*/ 305124 h 669699"/>
                <a:gd name="connsiteX1255" fmla="*/ 14418 w 645199"/>
                <a:gd name="connsiteY1255" fmla="*/ 300344 h 669699"/>
                <a:gd name="connsiteX1256" fmla="*/ 10518 w 645199"/>
                <a:gd name="connsiteY1256" fmla="*/ 297167 h 669699"/>
                <a:gd name="connsiteX1257" fmla="*/ 8052 w 645199"/>
                <a:gd name="connsiteY1257" fmla="*/ 293105 h 669699"/>
                <a:gd name="connsiteX1258" fmla="*/ 5582 w 645199"/>
                <a:gd name="connsiteY1258" fmla="*/ 288260 h 669699"/>
                <a:gd name="connsiteX1259" fmla="*/ 6385 w 645199"/>
                <a:gd name="connsiteY1259" fmla="*/ 286905 h 669699"/>
                <a:gd name="connsiteX1260" fmla="*/ 10218 w 645199"/>
                <a:gd name="connsiteY1260" fmla="*/ 283990 h 669699"/>
                <a:gd name="connsiteX1261" fmla="*/ 13526 w 645199"/>
                <a:gd name="connsiteY1261" fmla="*/ 281699 h 669699"/>
                <a:gd name="connsiteX1262" fmla="*/ 10555 w 645199"/>
                <a:gd name="connsiteY1262" fmla="*/ 282719 h 669699"/>
                <a:gd name="connsiteX1263" fmla="*/ 7337 w 645199"/>
                <a:gd name="connsiteY1263" fmla="*/ 284134 h 669699"/>
                <a:gd name="connsiteX1264" fmla="*/ 5746 w 645199"/>
                <a:gd name="connsiteY1264" fmla="*/ 285126 h 669699"/>
                <a:gd name="connsiteX1265" fmla="*/ 3943 w 645199"/>
                <a:gd name="connsiteY1265" fmla="*/ 287200 h 669699"/>
                <a:gd name="connsiteX1266" fmla="*/ 1546 w 645199"/>
                <a:gd name="connsiteY1266" fmla="*/ 287665 h 669699"/>
                <a:gd name="connsiteX1267" fmla="*/ 596 w 645199"/>
                <a:gd name="connsiteY1267" fmla="*/ 284580 h 669699"/>
                <a:gd name="connsiteX1268" fmla="*/ 0 w 645199"/>
                <a:gd name="connsiteY1268" fmla="*/ 281577 h 669699"/>
                <a:gd name="connsiteX1269" fmla="*/ 1528 w 645199"/>
                <a:gd name="connsiteY1269" fmla="*/ 280565 h 669699"/>
                <a:gd name="connsiteX1270" fmla="*/ 2597 w 645199"/>
                <a:gd name="connsiteY1270" fmla="*/ 279923 h 669699"/>
                <a:gd name="connsiteX1271" fmla="*/ 4781 w 645199"/>
                <a:gd name="connsiteY1271" fmla="*/ 279387 h 669699"/>
                <a:gd name="connsiteX1272" fmla="*/ 7156 w 645199"/>
                <a:gd name="connsiteY1272" fmla="*/ 279004 h 669699"/>
                <a:gd name="connsiteX1273" fmla="*/ 9322 w 645199"/>
                <a:gd name="connsiteY1273" fmla="*/ 279019 h 669699"/>
                <a:gd name="connsiteX1274" fmla="*/ 12362 w 645199"/>
                <a:gd name="connsiteY1274" fmla="*/ 279064 h 669699"/>
                <a:gd name="connsiteX1275" fmla="*/ 12451 w 645199"/>
                <a:gd name="connsiteY1275" fmla="*/ 272014 h 669699"/>
                <a:gd name="connsiteX1276" fmla="*/ 12706 w 645199"/>
                <a:gd name="connsiteY1276" fmla="*/ 271396 h 669699"/>
                <a:gd name="connsiteX1277" fmla="*/ 13133 w 645199"/>
                <a:gd name="connsiteY1277" fmla="*/ 271038 h 669699"/>
                <a:gd name="connsiteX1278" fmla="*/ 13623 w 645199"/>
                <a:gd name="connsiteY1278" fmla="*/ 270886 h 669699"/>
                <a:gd name="connsiteX1279" fmla="*/ 14040 w 645199"/>
                <a:gd name="connsiteY1279" fmla="*/ 270995 h 669699"/>
                <a:gd name="connsiteX1280" fmla="*/ 14666 w 645199"/>
                <a:gd name="connsiteY1280" fmla="*/ 272051 h 669699"/>
                <a:gd name="connsiteX1281" fmla="*/ 15444 w 645199"/>
                <a:gd name="connsiteY1281" fmla="*/ 271993 h 669699"/>
                <a:gd name="connsiteX1282" fmla="*/ 16269 w 645199"/>
                <a:gd name="connsiteY1282" fmla="*/ 271385 h 669699"/>
                <a:gd name="connsiteX1283" fmla="*/ 18122 w 645199"/>
                <a:gd name="connsiteY1283" fmla="*/ 271838 h 669699"/>
                <a:gd name="connsiteX1284" fmla="*/ 19603 w 645199"/>
                <a:gd name="connsiteY1284" fmla="*/ 271528 h 669699"/>
                <a:gd name="connsiteX1285" fmla="*/ 21106 w 645199"/>
                <a:gd name="connsiteY1285" fmla="*/ 271943 h 669699"/>
                <a:gd name="connsiteX1286" fmla="*/ 23660 w 645199"/>
                <a:gd name="connsiteY1286" fmla="*/ 271952 h 669699"/>
                <a:gd name="connsiteX1287" fmla="*/ 28268 w 645199"/>
                <a:gd name="connsiteY1287" fmla="*/ 271785 h 669699"/>
                <a:gd name="connsiteX1288" fmla="*/ 30827 w 645199"/>
                <a:gd name="connsiteY1288" fmla="*/ 271838 h 669699"/>
                <a:gd name="connsiteX1289" fmla="*/ 32486 w 645199"/>
                <a:gd name="connsiteY1289" fmla="*/ 272961 h 669699"/>
                <a:gd name="connsiteX1290" fmla="*/ 34300 w 645199"/>
                <a:gd name="connsiteY1290" fmla="*/ 274194 h 669699"/>
                <a:gd name="connsiteX1291" fmla="*/ 36267 w 645199"/>
                <a:gd name="connsiteY1291" fmla="*/ 274367 h 669699"/>
                <a:gd name="connsiteX1292" fmla="*/ 39111 w 645199"/>
                <a:gd name="connsiteY1292" fmla="*/ 274222 h 669699"/>
                <a:gd name="connsiteX1293" fmla="*/ 41041 w 645199"/>
                <a:gd name="connsiteY1293" fmla="*/ 273750 h 669699"/>
                <a:gd name="connsiteX1294" fmla="*/ 42015 w 645199"/>
                <a:gd name="connsiteY1294" fmla="*/ 272601 h 669699"/>
                <a:gd name="connsiteX1295" fmla="*/ 42747 w 645199"/>
                <a:gd name="connsiteY1295" fmla="*/ 271501 h 669699"/>
                <a:gd name="connsiteX1296" fmla="*/ 46966 w 645199"/>
                <a:gd name="connsiteY1296" fmla="*/ 269887 h 669699"/>
                <a:gd name="connsiteX1297" fmla="*/ 51393 w 645199"/>
                <a:gd name="connsiteY1297" fmla="*/ 268577 h 669699"/>
                <a:gd name="connsiteX1298" fmla="*/ 52665 w 645199"/>
                <a:gd name="connsiteY1298" fmla="*/ 268433 h 669699"/>
                <a:gd name="connsiteX1299" fmla="*/ 53069 w 645199"/>
                <a:gd name="connsiteY1299" fmla="*/ 269196 h 669699"/>
                <a:gd name="connsiteX1300" fmla="*/ 52866 w 645199"/>
                <a:gd name="connsiteY1300" fmla="*/ 270478 h 669699"/>
                <a:gd name="connsiteX1301" fmla="*/ 53384 w 645199"/>
                <a:gd name="connsiteY1301" fmla="*/ 271699 h 669699"/>
                <a:gd name="connsiteX1302" fmla="*/ 55157 w 645199"/>
                <a:gd name="connsiteY1302" fmla="*/ 272471 h 669699"/>
                <a:gd name="connsiteX1303" fmla="*/ 56414 w 645199"/>
                <a:gd name="connsiteY1303" fmla="*/ 272661 h 669699"/>
                <a:gd name="connsiteX1304" fmla="*/ 57541 w 645199"/>
                <a:gd name="connsiteY1304" fmla="*/ 272487 h 669699"/>
                <a:gd name="connsiteX1305" fmla="*/ 58377 w 645199"/>
                <a:gd name="connsiteY1305" fmla="*/ 272099 h 669699"/>
                <a:gd name="connsiteX1306" fmla="*/ 60171 w 645199"/>
                <a:gd name="connsiteY1306" fmla="*/ 270182 h 669699"/>
                <a:gd name="connsiteX1307" fmla="*/ 61098 w 645199"/>
                <a:gd name="connsiteY1307" fmla="*/ 269745 h 669699"/>
                <a:gd name="connsiteX1308" fmla="*/ 62307 w 645199"/>
                <a:gd name="connsiteY1308" fmla="*/ 269776 h 669699"/>
                <a:gd name="connsiteX1309" fmla="*/ 63661 w 645199"/>
                <a:gd name="connsiteY1309" fmla="*/ 268860 h 669699"/>
                <a:gd name="connsiteX1310" fmla="*/ 63689 w 645199"/>
                <a:gd name="connsiteY1310" fmla="*/ 268158 h 669699"/>
                <a:gd name="connsiteX1311" fmla="*/ 62825 w 645199"/>
                <a:gd name="connsiteY1311" fmla="*/ 267822 h 669699"/>
                <a:gd name="connsiteX1312" fmla="*/ 62095 w 645199"/>
                <a:gd name="connsiteY1312" fmla="*/ 266811 h 669699"/>
                <a:gd name="connsiteX1313" fmla="*/ 62229 w 645199"/>
                <a:gd name="connsiteY1313" fmla="*/ 265988 h 669699"/>
                <a:gd name="connsiteX1314" fmla="*/ 62020 w 645199"/>
                <a:gd name="connsiteY1314" fmla="*/ 264828 h 669699"/>
                <a:gd name="connsiteX1315" fmla="*/ 62164 w 645199"/>
                <a:gd name="connsiteY1315" fmla="*/ 263727 h 669699"/>
                <a:gd name="connsiteX1316" fmla="*/ 62739 w 645199"/>
                <a:gd name="connsiteY1316" fmla="*/ 262901 h 669699"/>
                <a:gd name="connsiteX1317" fmla="*/ 63745 w 645199"/>
                <a:gd name="connsiteY1317" fmla="*/ 262107 h 669699"/>
                <a:gd name="connsiteX1318" fmla="*/ 63145 w 645199"/>
                <a:gd name="connsiteY1318" fmla="*/ 260464 h 669699"/>
                <a:gd name="connsiteX1319" fmla="*/ 61601 w 645199"/>
                <a:gd name="connsiteY1319" fmla="*/ 257315 h 669699"/>
                <a:gd name="connsiteX1320" fmla="*/ 59983 w 645199"/>
                <a:gd name="connsiteY1320" fmla="*/ 253282 h 669699"/>
                <a:gd name="connsiteX1321" fmla="*/ 58275 w 645199"/>
                <a:gd name="connsiteY1321" fmla="*/ 249918 h 669699"/>
                <a:gd name="connsiteX1322" fmla="*/ 56109 w 645199"/>
                <a:gd name="connsiteY1322" fmla="*/ 246968 h 669699"/>
                <a:gd name="connsiteX1323" fmla="*/ 54993 w 645199"/>
                <a:gd name="connsiteY1323" fmla="*/ 244803 h 669699"/>
                <a:gd name="connsiteX1324" fmla="*/ 55107 w 645199"/>
                <a:gd name="connsiteY1324" fmla="*/ 240016 h 669699"/>
                <a:gd name="connsiteX1325" fmla="*/ 54913 w 645199"/>
                <a:gd name="connsiteY1325" fmla="*/ 239044 h 669699"/>
                <a:gd name="connsiteX1326" fmla="*/ 54170 w 645199"/>
                <a:gd name="connsiteY1326" fmla="*/ 238454 h 669699"/>
                <a:gd name="connsiteX1327" fmla="*/ 53168 w 645199"/>
                <a:gd name="connsiteY1327" fmla="*/ 238123 h 669699"/>
                <a:gd name="connsiteX1328" fmla="*/ 51760 w 645199"/>
                <a:gd name="connsiteY1328" fmla="*/ 238610 h 669699"/>
                <a:gd name="connsiteX1329" fmla="*/ 50493 w 645199"/>
                <a:gd name="connsiteY1329" fmla="*/ 238704 h 669699"/>
                <a:gd name="connsiteX1330" fmla="*/ 47766 w 645199"/>
                <a:gd name="connsiteY1330" fmla="*/ 238600 h 669699"/>
                <a:gd name="connsiteX1331" fmla="*/ 46427 w 645199"/>
                <a:gd name="connsiteY1331" fmla="*/ 238109 h 669699"/>
                <a:gd name="connsiteX1332" fmla="*/ 42790 w 645199"/>
                <a:gd name="connsiteY1332" fmla="*/ 233300 h 669699"/>
                <a:gd name="connsiteX1333" fmla="*/ 42313 w 645199"/>
                <a:gd name="connsiteY1333" fmla="*/ 231408 h 669699"/>
                <a:gd name="connsiteX1334" fmla="*/ 42293 w 645199"/>
                <a:gd name="connsiteY1334" fmla="*/ 229470 h 669699"/>
                <a:gd name="connsiteX1335" fmla="*/ 43507 w 645199"/>
                <a:gd name="connsiteY1335" fmla="*/ 226089 h 669699"/>
                <a:gd name="connsiteX1336" fmla="*/ 43874 w 645199"/>
                <a:gd name="connsiteY1336" fmla="*/ 222944 h 669699"/>
                <a:gd name="connsiteX1337" fmla="*/ 44043 w 645199"/>
                <a:gd name="connsiteY1337" fmla="*/ 220008 h 669699"/>
                <a:gd name="connsiteX1338" fmla="*/ 43840 w 645199"/>
                <a:gd name="connsiteY1338" fmla="*/ 219177 h 669699"/>
                <a:gd name="connsiteX1339" fmla="*/ 43110 w 645199"/>
                <a:gd name="connsiteY1339" fmla="*/ 218190 h 669699"/>
                <a:gd name="connsiteX1340" fmla="*/ 41888 w 645199"/>
                <a:gd name="connsiteY1340" fmla="*/ 217462 h 669699"/>
                <a:gd name="connsiteX1341" fmla="*/ 38616 w 645199"/>
                <a:gd name="connsiteY1341" fmla="*/ 217287 h 669699"/>
                <a:gd name="connsiteX1342" fmla="*/ 34736 w 645199"/>
                <a:gd name="connsiteY1342" fmla="*/ 216316 h 669699"/>
                <a:gd name="connsiteX1343" fmla="*/ 31743 w 645199"/>
                <a:gd name="connsiteY1343" fmla="*/ 214605 h 669699"/>
                <a:gd name="connsiteX1344" fmla="*/ 29672 w 645199"/>
                <a:gd name="connsiteY1344" fmla="*/ 213571 h 669699"/>
                <a:gd name="connsiteX1345" fmla="*/ 29104 w 645199"/>
                <a:gd name="connsiteY1345" fmla="*/ 212898 h 669699"/>
                <a:gd name="connsiteX1346" fmla="*/ 28856 w 645199"/>
                <a:gd name="connsiteY1346" fmla="*/ 212103 h 669699"/>
                <a:gd name="connsiteX1347" fmla="*/ 29398 w 645199"/>
                <a:gd name="connsiteY1347" fmla="*/ 208545 h 669699"/>
                <a:gd name="connsiteX1348" fmla="*/ 30337 w 645199"/>
                <a:gd name="connsiteY1348" fmla="*/ 204530 h 669699"/>
                <a:gd name="connsiteX1349" fmla="*/ 31022 w 645199"/>
                <a:gd name="connsiteY1349" fmla="*/ 203301 h 669699"/>
                <a:gd name="connsiteX1350" fmla="*/ 32207 w 645199"/>
                <a:gd name="connsiteY1350" fmla="*/ 202028 h 669699"/>
                <a:gd name="connsiteX1351" fmla="*/ 33086 w 645199"/>
                <a:gd name="connsiteY1351" fmla="*/ 201160 h 669699"/>
                <a:gd name="connsiteX1352" fmla="*/ 34490 w 645199"/>
                <a:gd name="connsiteY1352" fmla="*/ 200012 h 669699"/>
                <a:gd name="connsiteX1353" fmla="*/ 38281 w 645199"/>
                <a:gd name="connsiteY1353" fmla="*/ 196176 h 669699"/>
                <a:gd name="connsiteX1354" fmla="*/ 41676 w 645199"/>
                <a:gd name="connsiteY1354" fmla="*/ 190901 h 669699"/>
                <a:gd name="connsiteX1355" fmla="*/ 43770 w 645199"/>
                <a:gd name="connsiteY1355" fmla="*/ 187216 h 669699"/>
                <a:gd name="connsiteX1356" fmla="*/ 44863 w 645199"/>
                <a:gd name="connsiteY1356" fmla="*/ 186120 h 669699"/>
                <a:gd name="connsiteX1357" fmla="*/ 45977 w 645199"/>
                <a:gd name="connsiteY1357" fmla="*/ 185181 h 669699"/>
                <a:gd name="connsiteX1358" fmla="*/ 47616 w 645199"/>
                <a:gd name="connsiteY1358" fmla="*/ 184045 h 669699"/>
                <a:gd name="connsiteX1359" fmla="*/ 49502 w 645199"/>
                <a:gd name="connsiteY1359" fmla="*/ 183007 h 669699"/>
                <a:gd name="connsiteX1360" fmla="*/ 51378 w 645199"/>
                <a:gd name="connsiteY1360" fmla="*/ 183053 h 669699"/>
                <a:gd name="connsiteX1361" fmla="*/ 53162 w 645199"/>
                <a:gd name="connsiteY1361" fmla="*/ 183994 h 669699"/>
                <a:gd name="connsiteX1362" fmla="*/ 54486 w 645199"/>
                <a:gd name="connsiteY1362" fmla="*/ 185102 h 669699"/>
                <a:gd name="connsiteX1363" fmla="*/ 54928 w 645199"/>
                <a:gd name="connsiteY1363" fmla="*/ 187542 h 669699"/>
                <a:gd name="connsiteX1364" fmla="*/ 55867 w 645199"/>
                <a:gd name="connsiteY1364" fmla="*/ 189128 h 669699"/>
                <a:gd name="connsiteX1365" fmla="*/ 56880 w 645199"/>
                <a:gd name="connsiteY1365" fmla="*/ 190083 h 669699"/>
                <a:gd name="connsiteX1366" fmla="*/ 58219 w 645199"/>
                <a:gd name="connsiteY1366" fmla="*/ 190545 h 669699"/>
                <a:gd name="connsiteX1367" fmla="*/ 59921 w 645199"/>
                <a:gd name="connsiteY1367" fmla="*/ 190430 h 669699"/>
                <a:gd name="connsiteX1368" fmla="*/ 66773 w 645199"/>
                <a:gd name="connsiteY1368" fmla="*/ 187631 h 669699"/>
                <a:gd name="connsiteX1369" fmla="*/ 69102 w 645199"/>
                <a:gd name="connsiteY1369" fmla="*/ 187066 h 669699"/>
                <a:gd name="connsiteX1370" fmla="*/ 74693 w 645199"/>
                <a:gd name="connsiteY1370" fmla="*/ 186717 h 669699"/>
                <a:gd name="connsiteX1371" fmla="*/ 78535 w 645199"/>
                <a:gd name="connsiteY1371" fmla="*/ 185637 h 669699"/>
                <a:gd name="connsiteX1372" fmla="*/ 81931 w 645199"/>
                <a:gd name="connsiteY1372" fmla="*/ 184503 h 669699"/>
                <a:gd name="connsiteX1373" fmla="*/ 82342 w 645199"/>
                <a:gd name="connsiteY1373" fmla="*/ 182471 h 669699"/>
                <a:gd name="connsiteX1374" fmla="*/ 83650 w 645199"/>
                <a:gd name="connsiteY1374" fmla="*/ 179364 h 669699"/>
                <a:gd name="connsiteX1375" fmla="*/ 87641 w 645199"/>
                <a:gd name="connsiteY1375" fmla="*/ 175315 h 669699"/>
                <a:gd name="connsiteX1376" fmla="*/ 88762 w 645199"/>
                <a:gd name="connsiteY1376" fmla="*/ 173507 h 669699"/>
                <a:gd name="connsiteX1377" fmla="*/ 89971 w 645199"/>
                <a:gd name="connsiteY1377" fmla="*/ 170052 h 669699"/>
                <a:gd name="connsiteX1378" fmla="*/ 91256 w 645199"/>
                <a:gd name="connsiteY1378" fmla="*/ 166896 h 669699"/>
                <a:gd name="connsiteX1379" fmla="*/ 92359 w 645199"/>
                <a:gd name="connsiteY1379" fmla="*/ 165584 h 669699"/>
                <a:gd name="connsiteX1380" fmla="*/ 98632 w 645199"/>
                <a:gd name="connsiteY1380" fmla="*/ 162118 h 669699"/>
                <a:gd name="connsiteX1381" fmla="*/ 104773 w 645199"/>
                <a:gd name="connsiteY1381" fmla="*/ 158928 h 669699"/>
                <a:gd name="connsiteX1382" fmla="*/ 105777 w 645199"/>
                <a:gd name="connsiteY1382" fmla="*/ 157482 h 669699"/>
                <a:gd name="connsiteX1383" fmla="*/ 109749 w 645199"/>
                <a:gd name="connsiteY1383" fmla="*/ 150855 h 669699"/>
                <a:gd name="connsiteX1384" fmla="*/ 112023 w 645199"/>
                <a:gd name="connsiteY1384" fmla="*/ 146351 h 669699"/>
                <a:gd name="connsiteX1385" fmla="*/ 112612 w 645199"/>
                <a:gd name="connsiteY1385" fmla="*/ 144901 h 669699"/>
                <a:gd name="connsiteX1386" fmla="*/ 113927 w 645199"/>
                <a:gd name="connsiteY1386" fmla="*/ 140980 h 669699"/>
                <a:gd name="connsiteX1387" fmla="*/ 115350 w 645199"/>
                <a:gd name="connsiteY1387" fmla="*/ 137077 h 669699"/>
                <a:gd name="connsiteX1388" fmla="*/ 117248 w 645199"/>
                <a:gd name="connsiteY1388" fmla="*/ 136175 h 669699"/>
                <a:gd name="connsiteX1389" fmla="*/ 121461 w 645199"/>
                <a:gd name="connsiteY1389" fmla="*/ 134686 h 669699"/>
                <a:gd name="connsiteX1390" fmla="*/ 124804 w 645199"/>
                <a:gd name="connsiteY1390" fmla="*/ 133229 h 669699"/>
                <a:gd name="connsiteX1391" fmla="*/ 126514 w 645199"/>
                <a:gd name="connsiteY1391" fmla="*/ 131566 h 669699"/>
                <a:gd name="connsiteX1392" fmla="*/ 127550 w 645199"/>
                <a:gd name="connsiteY1392" fmla="*/ 130110 h 669699"/>
                <a:gd name="connsiteX1393" fmla="*/ 127356 w 645199"/>
                <a:gd name="connsiteY1393" fmla="*/ 128666 h 669699"/>
                <a:gd name="connsiteX1394" fmla="*/ 126430 w 645199"/>
                <a:gd name="connsiteY1394" fmla="*/ 126956 h 669699"/>
                <a:gd name="connsiteX1395" fmla="*/ 126626 w 645199"/>
                <a:gd name="connsiteY1395" fmla="*/ 125940 h 669699"/>
                <a:gd name="connsiteX1396" fmla="*/ 126797 w 645199"/>
                <a:gd name="connsiteY1396" fmla="*/ 124937 h 669699"/>
                <a:gd name="connsiteX1397" fmla="*/ 129222 w 645199"/>
                <a:gd name="connsiteY1397" fmla="*/ 122890 h 669699"/>
                <a:gd name="connsiteX1398" fmla="*/ 133791 w 645199"/>
                <a:gd name="connsiteY1398" fmla="*/ 116831 h 669699"/>
                <a:gd name="connsiteX1399" fmla="*/ 136527 w 645199"/>
                <a:gd name="connsiteY1399" fmla="*/ 113800 h 669699"/>
                <a:gd name="connsiteX1400" fmla="*/ 137434 w 645199"/>
                <a:gd name="connsiteY1400" fmla="*/ 113804 h 669699"/>
                <a:gd name="connsiteX1401" fmla="*/ 140295 w 645199"/>
                <a:gd name="connsiteY1401" fmla="*/ 112190 h 669699"/>
                <a:gd name="connsiteX1402" fmla="*/ 143016 w 645199"/>
                <a:gd name="connsiteY1402" fmla="*/ 110363 h 669699"/>
                <a:gd name="connsiteX1403" fmla="*/ 142861 w 645199"/>
                <a:gd name="connsiteY1403" fmla="*/ 109533 h 669699"/>
                <a:gd name="connsiteX1404" fmla="*/ 142519 w 645199"/>
                <a:gd name="connsiteY1404" fmla="*/ 108459 h 669699"/>
                <a:gd name="connsiteX1405" fmla="*/ 140958 w 645199"/>
                <a:gd name="connsiteY1405" fmla="*/ 107975 h 669699"/>
                <a:gd name="connsiteX1406" fmla="*/ 140470 w 645199"/>
                <a:gd name="connsiteY1406" fmla="*/ 106685 h 669699"/>
                <a:gd name="connsiteX1407" fmla="*/ 140852 w 645199"/>
                <a:gd name="connsiteY1407" fmla="*/ 104836 h 669699"/>
                <a:gd name="connsiteX1408" fmla="*/ 142157 w 645199"/>
                <a:gd name="connsiteY1408" fmla="*/ 99855 h 669699"/>
                <a:gd name="connsiteX1409" fmla="*/ 141889 w 645199"/>
                <a:gd name="connsiteY1409" fmla="*/ 98424 h 669699"/>
                <a:gd name="connsiteX1410" fmla="*/ 140299 w 645199"/>
                <a:gd name="connsiteY1410" fmla="*/ 93802 h 669699"/>
                <a:gd name="connsiteX1411" fmla="*/ 140654 w 645199"/>
                <a:gd name="connsiteY1411" fmla="*/ 92524 h 669699"/>
                <a:gd name="connsiteX1412" fmla="*/ 141308 w 645199"/>
                <a:gd name="connsiteY1412" fmla="*/ 91216 h 669699"/>
                <a:gd name="connsiteX1413" fmla="*/ 143081 w 645199"/>
                <a:gd name="connsiteY1413" fmla="*/ 89472 h 669699"/>
                <a:gd name="connsiteX1414" fmla="*/ 145374 w 645199"/>
                <a:gd name="connsiteY1414" fmla="*/ 88025 h 669699"/>
                <a:gd name="connsiteX1415" fmla="*/ 152716 w 645199"/>
                <a:gd name="connsiteY1415" fmla="*/ 84578 h 669699"/>
                <a:gd name="connsiteX1416" fmla="*/ 154204 w 645199"/>
                <a:gd name="connsiteY1416" fmla="*/ 84200 h 669699"/>
                <a:gd name="connsiteX1417" fmla="*/ 156754 w 645199"/>
                <a:gd name="connsiteY1417" fmla="*/ 83328 h 669699"/>
                <a:gd name="connsiteX1418" fmla="*/ 158315 w 645199"/>
                <a:gd name="connsiteY1418" fmla="*/ 81488 h 669699"/>
                <a:gd name="connsiteX1419" fmla="*/ 158510 w 645199"/>
                <a:gd name="connsiteY1419" fmla="*/ 79918 h 669699"/>
                <a:gd name="connsiteX1420" fmla="*/ 157827 w 645199"/>
                <a:gd name="connsiteY1420" fmla="*/ 78943 h 669699"/>
                <a:gd name="connsiteX1421" fmla="*/ 156303 w 645199"/>
                <a:gd name="connsiteY1421" fmla="*/ 77634 h 669699"/>
                <a:gd name="connsiteX1422" fmla="*/ 153437 w 645199"/>
                <a:gd name="connsiteY1422" fmla="*/ 76448 h 669699"/>
                <a:gd name="connsiteX1423" fmla="*/ 150855 w 645199"/>
                <a:gd name="connsiteY1423" fmla="*/ 75419 h 669699"/>
                <a:gd name="connsiteX1424" fmla="*/ 146467 w 645199"/>
                <a:gd name="connsiteY1424" fmla="*/ 75527 h 669699"/>
                <a:gd name="connsiteX1425" fmla="*/ 144186 w 645199"/>
                <a:gd name="connsiteY1425" fmla="*/ 74642 h 669699"/>
                <a:gd name="connsiteX1426" fmla="*/ 143569 w 645199"/>
                <a:gd name="connsiteY1426" fmla="*/ 74023 h 669699"/>
                <a:gd name="connsiteX1427" fmla="*/ 143249 w 645199"/>
                <a:gd name="connsiteY1427" fmla="*/ 71839 h 669699"/>
                <a:gd name="connsiteX1428" fmla="*/ 143690 w 645199"/>
                <a:gd name="connsiteY1428" fmla="*/ 68145 h 669699"/>
                <a:gd name="connsiteX1429" fmla="*/ 143007 w 645199"/>
                <a:gd name="connsiteY1429" fmla="*/ 67819 h 669699"/>
                <a:gd name="connsiteX1430" fmla="*/ 142031 w 645199"/>
                <a:gd name="connsiteY1430" fmla="*/ 68254 h 669699"/>
                <a:gd name="connsiteX1431" fmla="*/ 139712 w 645199"/>
                <a:gd name="connsiteY1431" fmla="*/ 67816 h 669699"/>
                <a:gd name="connsiteX1432" fmla="*/ 136864 w 645199"/>
                <a:gd name="connsiteY1432" fmla="*/ 67873 h 669699"/>
                <a:gd name="connsiteX1433" fmla="*/ 135778 w 645199"/>
                <a:gd name="connsiteY1433" fmla="*/ 66844 h 669699"/>
                <a:gd name="connsiteX1434" fmla="*/ 136319 w 645199"/>
                <a:gd name="connsiteY1434" fmla="*/ 65601 h 669699"/>
                <a:gd name="connsiteX1435" fmla="*/ 136160 w 645199"/>
                <a:gd name="connsiteY1435" fmla="*/ 63945 h 669699"/>
                <a:gd name="connsiteX1436" fmla="*/ 135737 w 645199"/>
                <a:gd name="connsiteY1436" fmla="*/ 62370 h 669699"/>
                <a:gd name="connsiteX1437" fmla="*/ 135294 w 645199"/>
                <a:gd name="connsiteY1437" fmla="*/ 62041 h 669699"/>
                <a:gd name="connsiteX1438" fmla="*/ 133934 w 645199"/>
                <a:gd name="connsiteY1438" fmla="*/ 61666 h 669699"/>
                <a:gd name="connsiteX1439" fmla="*/ 131815 w 645199"/>
                <a:gd name="connsiteY1439" fmla="*/ 60305 h 669699"/>
                <a:gd name="connsiteX1440" fmla="*/ 130109 w 645199"/>
                <a:gd name="connsiteY1440" fmla="*/ 58626 h 669699"/>
                <a:gd name="connsiteX1441" fmla="*/ 129108 w 645199"/>
                <a:gd name="connsiteY1441" fmla="*/ 57488 h 669699"/>
                <a:gd name="connsiteX1442" fmla="*/ 128799 w 645199"/>
                <a:gd name="connsiteY1442" fmla="*/ 56703 h 669699"/>
                <a:gd name="connsiteX1443" fmla="*/ 128896 w 645199"/>
                <a:gd name="connsiteY1443" fmla="*/ 56184 h 669699"/>
                <a:gd name="connsiteX1444" fmla="*/ 130137 w 645199"/>
                <a:gd name="connsiteY1444" fmla="*/ 54723 h 669699"/>
                <a:gd name="connsiteX1445" fmla="*/ 131628 w 645199"/>
                <a:gd name="connsiteY1445" fmla="*/ 52672 h 669699"/>
                <a:gd name="connsiteX1446" fmla="*/ 132176 w 645199"/>
                <a:gd name="connsiteY1446" fmla="*/ 50908 h 669699"/>
                <a:gd name="connsiteX1447" fmla="*/ 132340 w 645199"/>
                <a:gd name="connsiteY1447" fmla="*/ 49630 h 669699"/>
                <a:gd name="connsiteX1448" fmla="*/ 131925 w 645199"/>
                <a:gd name="connsiteY1448" fmla="*/ 48686 h 669699"/>
                <a:gd name="connsiteX1449" fmla="*/ 130565 w 645199"/>
                <a:gd name="connsiteY1449" fmla="*/ 47530 h 669699"/>
                <a:gd name="connsiteX1450" fmla="*/ 129112 w 645199"/>
                <a:gd name="connsiteY1450" fmla="*/ 46521 h 669699"/>
                <a:gd name="connsiteX1451" fmla="*/ 128527 w 645199"/>
                <a:gd name="connsiteY1451" fmla="*/ 45643 h 669699"/>
                <a:gd name="connsiteX1452" fmla="*/ 128503 w 645199"/>
                <a:gd name="connsiteY1452" fmla="*/ 44316 h 669699"/>
                <a:gd name="connsiteX1453" fmla="*/ 129045 w 645199"/>
                <a:gd name="connsiteY1453" fmla="*/ 42656 h 669699"/>
                <a:gd name="connsiteX1454" fmla="*/ 130757 w 645199"/>
                <a:gd name="connsiteY1454" fmla="*/ 41403 h 669699"/>
                <a:gd name="connsiteX1455" fmla="*/ 133791 w 645199"/>
                <a:gd name="connsiteY1455" fmla="*/ 40213 h 669699"/>
                <a:gd name="connsiteX1456" fmla="*/ 134571 w 645199"/>
                <a:gd name="connsiteY1456" fmla="*/ 38734 h 669699"/>
                <a:gd name="connsiteX1457" fmla="*/ 134473 w 645199"/>
                <a:gd name="connsiteY1457" fmla="*/ 37638 h 669699"/>
                <a:gd name="connsiteX1458" fmla="*/ 133644 w 645199"/>
                <a:gd name="connsiteY1458" fmla="*/ 37309 h 669699"/>
                <a:gd name="connsiteX1459" fmla="*/ 131513 w 645199"/>
                <a:gd name="connsiteY1459" fmla="*/ 37302 h 669699"/>
                <a:gd name="connsiteX1460" fmla="*/ 127915 w 645199"/>
                <a:gd name="connsiteY1460" fmla="*/ 36927 h 669699"/>
                <a:gd name="connsiteX1461" fmla="*/ 127306 w 645199"/>
                <a:gd name="connsiteY1461" fmla="*/ 36323 h 669699"/>
                <a:gd name="connsiteX1462" fmla="*/ 126903 w 645199"/>
                <a:gd name="connsiteY1462" fmla="*/ 35512 h 669699"/>
                <a:gd name="connsiteX1463" fmla="*/ 126898 w 645199"/>
                <a:gd name="connsiteY1463" fmla="*/ 34708 h 669699"/>
                <a:gd name="connsiteX1464" fmla="*/ 127658 w 645199"/>
                <a:gd name="connsiteY1464" fmla="*/ 33793 h 669699"/>
                <a:gd name="connsiteX1465" fmla="*/ 128570 w 645199"/>
                <a:gd name="connsiteY1465" fmla="*/ 32635 h 669699"/>
                <a:gd name="connsiteX1466" fmla="*/ 128412 w 645199"/>
                <a:gd name="connsiteY1466" fmla="*/ 31507 h 669699"/>
                <a:gd name="connsiteX1467" fmla="*/ 127356 w 645199"/>
                <a:gd name="connsiteY1467" fmla="*/ 30231 h 669699"/>
                <a:gd name="connsiteX1468" fmla="*/ 124821 w 645199"/>
                <a:gd name="connsiteY1468" fmla="*/ 29296 h 669699"/>
                <a:gd name="connsiteX1469" fmla="*/ 124480 w 645199"/>
                <a:gd name="connsiteY1469" fmla="*/ 27978 h 669699"/>
                <a:gd name="connsiteX1470" fmla="*/ 124869 w 645199"/>
                <a:gd name="connsiteY1470" fmla="*/ 26877 h 669699"/>
                <a:gd name="connsiteX1471" fmla="*/ 125709 w 645199"/>
                <a:gd name="connsiteY1471" fmla="*/ 25308 h 669699"/>
                <a:gd name="connsiteX1472" fmla="*/ 126438 w 645199"/>
                <a:gd name="connsiteY1472" fmla="*/ 24216 h 669699"/>
                <a:gd name="connsiteX1473" fmla="*/ 128166 w 645199"/>
                <a:gd name="connsiteY1473" fmla="*/ 21110 h 669699"/>
                <a:gd name="connsiteX1474" fmla="*/ 130258 w 645199"/>
                <a:gd name="connsiteY1474" fmla="*/ 20430 h 669699"/>
                <a:gd name="connsiteX1475" fmla="*/ 132826 w 645199"/>
                <a:gd name="connsiteY1475" fmla="*/ 19425 h 669699"/>
                <a:gd name="connsiteX1476" fmla="*/ 135665 w 645199"/>
                <a:gd name="connsiteY1476" fmla="*/ 18313 h 669699"/>
                <a:gd name="connsiteX1477" fmla="*/ 140034 w 645199"/>
                <a:gd name="connsiteY1477" fmla="*/ 19147 h 669699"/>
                <a:gd name="connsiteX1478" fmla="*/ 142161 w 645199"/>
                <a:gd name="connsiteY1478" fmla="*/ 19553 h 669699"/>
                <a:gd name="connsiteX1479" fmla="*/ 146465 w 645199"/>
                <a:gd name="connsiteY1479" fmla="*/ 20503 h 669699"/>
                <a:gd name="connsiteX1480" fmla="*/ 150071 w 645199"/>
                <a:gd name="connsiteY1480" fmla="*/ 21300 h 669699"/>
                <a:gd name="connsiteX1481" fmla="*/ 153754 w 645199"/>
                <a:gd name="connsiteY1481" fmla="*/ 21525 h 669699"/>
                <a:gd name="connsiteX1482" fmla="*/ 155282 w 645199"/>
                <a:gd name="connsiteY1482" fmla="*/ 21471 h 669699"/>
                <a:gd name="connsiteX1483" fmla="*/ 156974 w 645199"/>
                <a:gd name="connsiteY1483" fmla="*/ 22411 h 669699"/>
                <a:gd name="connsiteX1484" fmla="*/ 161142 w 645199"/>
                <a:gd name="connsiteY1484" fmla="*/ 24025 h 669699"/>
                <a:gd name="connsiteX1485" fmla="*/ 164526 w 645199"/>
                <a:gd name="connsiteY1485" fmla="*/ 24873 h 669699"/>
                <a:gd name="connsiteX1486" fmla="*/ 166817 w 645199"/>
                <a:gd name="connsiteY1486" fmla="*/ 24864 h 669699"/>
                <a:gd name="connsiteX1487" fmla="*/ 170198 w 645199"/>
                <a:gd name="connsiteY1487" fmla="*/ 23437 h 669699"/>
                <a:gd name="connsiteX1488" fmla="*/ 171882 w 645199"/>
                <a:gd name="connsiteY1488" fmla="*/ 22132 h 669699"/>
                <a:gd name="connsiteX1489" fmla="*/ 174154 w 645199"/>
                <a:gd name="connsiteY1489" fmla="*/ 20699 h 669699"/>
                <a:gd name="connsiteX1490" fmla="*/ 177061 w 645199"/>
                <a:gd name="connsiteY1490" fmla="*/ 20753 h 669699"/>
                <a:gd name="connsiteX1491" fmla="*/ 183347 w 645199"/>
                <a:gd name="connsiteY1491" fmla="*/ 18545 h 669699"/>
                <a:gd name="connsiteX1492" fmla="*/ 184524 w 645199"/>
                <a:gd name="connsiteY1492" fmla="*/ 18926 h 669699"/>
                <a:gd name="connsiteX1493" fmla="*/ 186392 w 645199"/>
                <a:gd name="connsiteY1493" fmla="*/ 19052 h 669699"/>
                <a:gd name="connsiteX1494" fmla="*/ 188644 w 645199"/>
                <a:gd name="connsiteY1494" fmla="*/ 17775 h 669699"/>
                <a:gd name="connsiteX1495" fmla="*/ 189810 w 645199"/>
                <a:gd name="connsiteY1495" fmla="*/ 16258 h 669699"/>
                <a:gd name="connsiteX1496" fmla="*/ 189998 w 645199"/>
                <a:gd name="connsiteY1496" fmla="*/ 15501 h 669699"/>
                <a:gd name="connsiteX1497" fmla="*/ 190559 w 645199"/>
                <a:gd name="connsiteY1497" fmla="*/ 14941 h 669699"/>
                <a:gd name="connsiteX1498" fmla="*/ 192965 w 645199"/>
                <a:gd name="connsiteY1498" fmla="*/ 13977 h 669699"/>
                <a:gd name="connsiteX1499" fmla="*/ 195379 w 645199"/>
                <a:gd name="connsiteY1499" fmla="*/ 12643 h 669699"/>
                <a:gd name="connsiteX1500" fmla="*/ 196038 w 645199"/>
                <a:gd name="connsiteY1500" fmla="*/ 10880 h 669699"/>
                <a:gd name="connsiteX1501" fmla="*/ 196435 w 645199"/>
                <a:gd name="connsiteY1501" fmla="*/ 9689 h 669699"/>
                <a:gd name="connsiteX1502" fmla="*/ 199087 w 645199"/>
                <a:gd name="connsiteY1502" fmla="*/ 8144 h 669699"/>
                <a:gd name="connsiteX1503" fmla="*/ 201838 w 645199"/>
                <a:gd name="connsiteY1503" fmla="*/ 6538 h 669699"/>
                <a:gd name="connsiteX1504" fmla="*/ 204723 w 645199"/>
                <a:gd name="connsiteY1504" fmla="*/ 4856 h 669699"/>
                <a:gd name="connsiteX1505" fmla="*/ 207998 w 645199"/>
                <a:gd name="connsiteY1505" fmla="*/ 2944 h 669699"/>
                <a:gd name="connsiteX1506" fmla="*/ 210771 w 645199"/>
                <a:gd name="connsiteY1506" fmla="*/ 1323 h 669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</a:cxnLst>
              <a:rect l="l" t="t" r="r" b="b"/>
              <a:pathLst>
                <a:path w="645199" h="669699">
                  <a:moveTo>
                    <a:pt x="567340" y="658858"/>
                  </a:moveTo>
                  <a:lnTo>
                    <a:pt x="568147" y="659520"/>
                  </a:lnTo>
                  <a:lnTo>
                    <a:pt x="569709" y="664706"/>
                  </a:lnTo>
                  <a:lnTo>
                    <a:pt x="568834" y="667870"/>
                  </a:lnTo>
                  <a:lnTo>
                    <a:pt x="567480" y="669699"/>
                  </a:lnTo>
                  <a:lnTo>
                    <a:pt x="564837" y="664101"/>
                  </a:lnTo>
                  <a:lnTo>
                    <a:pt x="563703" y="663760"/>
                  </a:lnTo>
                  <a:lnTo>
                    <a:pt x="563666" y="661090"/>
                  </a:lnTo>
                  <a:lnTo>
                    <a:pt x="564282" y="660037"/>
                  </a:lnTo>
                  <a:close/>
                  <a:moveTo>
                    <a:pt x="564465" y="654991"/>
                  </a:moveTo>
                  <a:lnTo>
                    <a:pt x="565375" y="656194"/>
                  </a:lnTo>
                  <a:lnTo>
                    <a:pt x="563271" y="658297"/>
                  </a:lnTo>
                  <a:lnTo>
                    <a:pt x="562360" y="657033"/>
                  </a:lnTo>
                  <a:lnTo>
                    <a:pt x="562736" y="656158"/>
                  </a:lnTo>
                  <a:lnTo>
                    <a:pt x="563630" y="655673"/>
                  </a:lnTo>
                  <a:close/>
                  <a:moveTo>
                    <a:pt x="557456" y="641484"/>
                  </a:moveTo>
                  <a:lnTo>
                    <a:pt x="558743" y="643031"/>
                  </a:lnTo>
                  <a:lnTo>
                    <a:pt x="559046" y="644127"/>
                  </a:lnTo>
                  <a:lnTo>
                    <a:pt x="558939" y="644601"/>
                  </a:lnTo>
                  <a:lnTo>
                    <a:pt x="557225" y="644629"/>
                  </a:lnTo>
                  <a:lnTo>
                    <a:pt x="556716" y="643677"/>
                  </a:lnTo>
                  <a:lnTo>
                    <a:pt x="555994" y="642683"/>
                  </a:lnTo>
                  <a:lnTo>
                    <a:pt x="556549" y="641728"/>
                  </a:lnTo>
                  <a:close/>
                  <a:moveTo>
                    <a:pt x="560077" y="636882"/>
                  </a:moveTo>
                  <a:lnTo>
                    <a:pt x="560909" y="637125"/>
                  </a:lnTo>
                  <a:lnTo>
                    <a:pt x="560466" y="638327"/>
                  </a:lnTo>
                  <a:lnTo>
                    <a:pt x="561025" y="640622"/>
                  </a:lnTo>
                  <a:lnTo>
                    <a:pt x="559989" y="641450"/>
                  </a:lnTo>
                  <a:lnTo>
                    <a:pt x="559728" y="641338"/>
                  </a:lnTo>
                  <a:lnTo>
                    <a:pt x="559585" y="640710"/>
                  </a:lnTo>
                  <a:lnTo>
                    <a:pt x="559540" y="640266"/>
                  </a:lnTo>
                  <a:lnTo>
                    <a:pt x="559352" y="639466"/>
                  </a:lnTo>
                  <a:lnTo>
                    <a:pt x="559246" y="638058"/>
                  </a:lnTo>
                  <a:close/>
                  <a:moveTo>
                    <a:pt x="108669" y="634838"/>
                  </a:moveTo>
                  <a:lnTo>
                    <a:pt x="108760" y="634960"/>
                  </a:lnTo>
                  <a:lnTo>
                    <a:pt x="108675" y="635360"/>
                  </a:lnTo>
                  <a:lnTo>
                    <a:pt x="108401" y="635893"/>
                  </a:lnTo>
                  <a:lnTo>
                    <a:pt x="108090" y="636170"/>
                  </a:lnTo>
                  <a:lnTo>
                    <a:pt x="107770" y="636275"/>
                  </a:lnTo>
                  <a:lnTo>
                    <a:pt x="107542" y="636240"/>
                  </a:lnTo>
                  <a:lnTo>
                    <a:pt x="107429" y="635964"/>
                  </a:lnTo>
                  <a:lnTo>
                    <a:pt x="107488" y="635755"/>
                  </a:lnTo>
                  <a:lnTo>
                    <a:pt x="107773" y="635988"/>
                  </a:lnTo>
                  <a:lnTo>
                    <a:pt x="108146" y="635772"/>
                  </a:lnTo>
                  <a:lnTo>
                    <a:pt x="108574" y="635064"/>
                  </a:lnTo>
                  <a:close/>
                  <a:moveTo>
                    <a:pt x="551297" y="634107"/>
                  </a:moveTo>
                  <a:lnTo>
                    <a:pt x="552265" y="636329"/>
                  </a:lnTo>
                  <a:lnTo>
                    <a:pt x="552926" y="637163"/>
                  </a:lnTo>
                  <a:lnTo>
                    <a:pt x="551701" y="637020"/>
                  </a:lnTo>
                  <a:lnTo>
                    <a:pt x="550574" y="635763"/>
                  </a:lnTo>
                  <a:lnTo>
                    <a:pt x="550868" y="634585"/>
                  </a:lnTo>
                  <a:close/>
                  <a:moveTo>
                    <a:pt x="543893" y="614176"/>
                  </a:moveTo>
                  <a:lnTo>
                    <a:pt x="544416" y="614251"/>
                  </a:lnTo>
                  <a:lnTo>
                    <a:pt x="544936" y="615749"/>
                  </a:lnTo>
                  <a:lnTo>
                    <a:pt x="544454" y="616567"/>
                  </a:lnTo>
                  <a:lnTo>
                    <a:pt x="543483" y="616694"/>
                  </a:lnTo>
                  <a:lnTo>
                    <a:pt x="542887" y="615933"/>
                  </a:lnTo>
                  <a:lnTo>
                    <a:pt x="542813" y="615046"/>
                  </a:lnTo>
                  <a:lnTo>
                    <a:pt x="543373" y="614471"/>
                  </a:lnTo>
                  <a:close/>
                  <a:moveTo>
                    <a:pt x="538326" y="577247"/>
                  </a:moveTo>
                  <a:lnTo>
                    <a:pt x="539291" y="579432"/>
                  </a:lnTo>
                  <a:lnTo>
                    <a:pt x="539741" y="581568"/>
                  </a:lnTo>
                  <a:lnTo>
                    <a:pt x="538160" y="584908"/>
                  </a:lnTo>
                  <a:lnTo>
                    <a:pt x="537493" y="585671"/>
                  </a:lnTo>
                  <a:lnTo>
                    <a:pt x="535212" y="585075"/>
                  </a:lnTo>
                  <a:lnTo>
                    <a:pt x="535381" y="582768"/>
                  </a:lnTo>
                  <a:lnTo>
                    <a:pt x="534843" y="580520"/>
                  </a:lnTo>
                  <a:lnTo>
                    <a:pt x="535239" y="579572"/>
                  </a:lnTo>
                  <a:lnTo>
                    <a:pt x="536944" y="577962"/>
                  </a:lnTo>
                  <a:close/>
                  <a:moveTo>
                    <a:pt x="102327" y="569072"/>
                  </a:moveTo>
                  <a:lnTo>
                    <a:pt x="102398" y="569124"/>
                  </a:lnTo>
                  <a:lnTo>
                    <a:pt x="102331" y="569547"/>
                  </a:lnTo>
                  <a:lnTo>
                    <a:pt x="102221" y="570121"/>
                  </a:lnTo>
                  <a:lnTo>
                    <a:pt x="102055" y="570421"/>
                  </a:lnTo>
                  <a:lnTo>
                    <a:pt x="101893" y="570564"/>
                  </a:lnTo>
                  <a:lnTo>
                    <a:pt x="101880" y="570158"/>
                  </a:lnTo>
                  <a:lnTo>
                    <a:pt x="102087" y="569508"/>
                  </a:lnTo>
                  <a:close/>
                  <a:moveTo>
                    <a:pt x="541198" y="563555"/>
                  </a:moveTo>
                  <a:lnTo>
                    <a:pt x="542299" y="564578"/>
                  </a:lnTo>
                  <a:lnTo>
                    <a:pt x="542237" y="565747"/>
                  </a:lnTo>
                  <a:lnTo>
                    <a:pt x="542368" y="566421"/>
                  </a:lnTo>
                  <a:lnTo>
                    <a:pt x="541293" y="566865"/>
                  </a:lnTo>
                  <a:lnTo>
                    <a:pt x="540213" y="566303"/>
                  </a:lnTo>
                  <a:lnTo>
                    <a:pt x="541058" y="565400"/>
                  </a:lnTo>
                  <a:close/>
                  <a:moveTo>
                    <a:pt x="549538" y="551727"/>
                  </a:moveTo>
                  <a:lnTo>
                    <a:pt x="550527" y="554808"/>
                  </a:lnTo>
                  <a:lnTo>
                    <a:pt x="548749" y="553462"/>
                  </a:lnTo>
                  <a:lnTo>
                    <a:pt x="548166" y="552498"/>
                  </a:lnTo>
                  <a:lnTo>
                    <a:pt x="549060" y="551840"/>
                  </a:lnTo>
                  <a:close/>
                  <a:moveTo>
                    <a:pt x="542755" y="530963"/>
                  </a:moveTo>
                  <a:lnTo>
                    <a:pt x="543202" y="531256"/>
                  </a:lnTo>
                  <a:lnTo>
                    <a:pt x="542909" y="533136"/>
                  </a:lnTo>
                  <a:lnTo>
                    <a:pt x="542204" y="534595"/>
                  </a:lnTo>
                  <a:lnTo>
                    <a:pt x="542071" y="531465"/>
                  </a:lnTo>
                  <a:lnTo>
                    <a:pt x="542396" y="531071"/>
                  </a:lnTo>
                  <a:close/>
                  <a:moveTo>
                    <a:pt x="550531" y="517828"/>
                  </a:moveTo>
                  <a:lnTo>
                    <a:pt x="550628" y="520281"/>
                  </a:lnTo>
                  <a:lnTo>
                    <a:pt x="550848" y="521086"/>
                  </a:lnTo>
                  <a:lnTo>
                    <a:pt x="549507" y="522538"/>
                  </a:lnTo>
                  <a:lnTo>
                    <a:pt x="550786" y="524430"/>
                  </a:lnTo>
                  <a:lnTo>
                    <a:pt x="550615" y="525116"/>
                  </a:lnTo>
                  <a:lnTo>
                    <a:pt x="550104" y="526616"/>
                  </a:lnTo>
                  <a:lnTo>
                    <a:pt x="549257" y="528090"/>
                  </a:lnTo>
                  <a:lnTo>
                    <a:pt x="548078" y="528694"/>
                  </a:lnTo>
                  <a:lnTo>
                    <a:pt x="547162" y="530657"/>
                  </a:lnTo>
                  <a:lnTo>
                    <a:pt x="546638" y="531397"/>
                  </a:lnTo>
                  <a:lnTo>
                    <a:pt x="548380" y="533460"/>
                  </a:lnTo>
                  <a:lnTo>
                    <a:pt x="548937" y="540468"/>
                  </a:lnTo>
                  <a:lnTo>
                    <a:pt x="547663" y="542386"/>
                  </a:lnTo>
                  <a:lnTo>
                    <a:pt x="546139" y="542769"/>
                  </a:lnTo>
                  <a:lnTo>
                    <a:pt x="546488" y="547440"/>
                  </a:lnTo>
                  <a:lnTo>
                    <a:pt x="546216" y="548482"/>
                  </a:lnTo>
                  <a:lnTo>
                    <a:pt x="544705" y="550775"/>
                  </a:lnTo>
                  <a:lnTo>
                    <a:pt x="544426" y="551775"/>
                  </a:lnTo>
                  <a:lnTo>
                    <a:pt x="543574" y="552715"/>
                  </a:lnTo>
                  <a:lnTo>
                    <a:pt x="543934" y="553888"/>
                  </a:lnTo>
                  <a:lnTo>
                    <a:pt x="544660" y="554402"/>
                  </a:lnTo>
                  <a:lnTo>
                    <a:pt x="544677" y="555363"/>
                  </a:lnTo>
                  <a:lnTo>
                    <a:pt x="544001" y="557829"/>
                  </a:lnTo>
                  <a:lnTo>
                    <a:pt x="543949" y="560641"/>
                  </a:lnTo>
                  <a:lnTo>
                    <a:pt x="543023" y="562951"/>
                  </a:lnTo>
                  <a:lnTo>
                    <a:pt x="542537" y="563478"/>
                  </a:lnTo>
                  <a:lnTo>
                    <a:pt x="541820" y="562892"/>
                  </a:lnTo>
                  <a:lnTo>
                    <a:pt x="539769" y="558870"/>
                  </a:lnTo>
                  <a:lnTo>
                    <a:pt x="539417" y="556287"/>
                  </a:lnTo>
                  <a:lnTo>
                    <a:pt x="538847" y="555392"/>
                  </a:lnTo>
                  <a:lnTo>
                    <a:pt x="539568" y="554111"/>
                  </a:lnTo>
                  <a:lnTo>
                    <a:pt x="540475" y="553685"/>
                  </a:lnTo>
                  <a:lnTo>
                    <a:pt x="541013" y="552242"/>
                  </a:lnTo>
                  <a:lnTo>
                    <a:pt x="541206" y="550036"/>
                  </a:lnTo>
                  <a:lnTo>
                    <a:pt x="541999" y="548237"/>
                  </a:lnTo>
                  <a:lnTo>
                    <a:pt x="542403" y="547736"/>
                  </a:lnTo>
                  <a:lnTo>
                    <a:pt x="544050" y="547717"/>
                  </a:lnTo>
                  <a:lnTo>
                    <a:pt x="544472" y="547488"/>
                  </a:lnTo>
                  <a:lnTo>
                    <a:pt x="544236" y="545765"/>
                  </a:lnTo>
                  <a:lnTo>
                    <a:pt x="543274" y="545016"/>
                  </a:lnTo>
                  <a:lnTo>
                    <a:pt x="542939" y="544536"/>
                  </a:lnTo>
                  <a:lnTo>
                    <a:pt x="542978" y="540406"/>
                  </a:lnTo>
                  <a:lnTo>
                    <a:pt x="543228" y="538736"/>
                  </a:lnTo>
                  <a:lnTo>
                    <a:pt x="543828" y="537535"/>
                  </a:lnTo>
                  <a:lnTo>
                    <a:pt x="543405" y="535052"/>
                  </a:lnTo>
                  <a:lnTo>
                    <a:pt x="543695" y="534125"/>
                  </a:lnTo>
                  <a:lnTo>
                    <a:pt x="544886" y="532821"/>
                  </a:lnTo>
                  <a:lnTo>
                    <a:pt x="545413" y="530040"/>
                  </a:lnTo>
                  <a:lnTo>
                    <a:pt x="544929" y="529209"/>
                  </a:lnTo>
                  <a:lnTo>
                    <a:pt x="546061" y="524914"/>
                  </a:lnTo>
                  <a:lnTo>
                    <a:pt x="545998" y="522045"/>
                  </a:lnTo>
                  <a:lnTo>
                    <a:pt x="547486" y="519170"/>
                  </a:lnTo>
                  <a:lnTo>
                    <a:pt x="549804" y="517864"/>
                  </a:lnTo>
                  <a:close/>
                  <a:moveTo>
                    <a:pt x="213036" y="0"/>
                  </a:moveTo>
                  <a:lnTo>
                    <a:pt x="213291" y="286"/>
                  </a:lnTo>
                  <a:lnTo>
                    <a:pt x="214189" y="883"/>
                  </a:lnTo>
                  <a:lnTo>
                    <a:pt x="215148" y="1178"/>
                  </a:lnTo>
                  <a:lnTo>
                    <a:pt x="216275" y="610"/>
                  </a:lnTo>
                  <a:lnTo>
                    <a:pt x="217681" y="143"/>
                  </a:lnTo>
                  <a:lnTo>
                    <a:pt x="218415" y="405"/>
                  </a:lnTo>
                  <a:lnTo>
                    <a:pt x="218521" y="1169"/>
                  </a:lnTo>
                  <a:lnTo>
                    <a:pt x="217675" y="4747"/>
                  </a:lnTo>
                  <a:lnTo>
                    <a:pt x="217742" y="6150"/>
                  </a:lnTo>
                  <a:lnTo>
                    <a:pt x="219147" y="9062"/>
                  </a:lnTo>
                  <a:lnTo>
                    <a:pt x="220976" y="13783"/>
                  </a:lnTo>
                  <a:lnTo>
                    <a:pt x="222693" y="18202"/>
                  </a:lnTo>
                  <a:lnTo>
                    <a:pt x="223708" y="21099"/>
                  </a:lnTo>
                  <a:lnTo>
                    <a:pt x="224701" y="22285"/>
                  </a:lnTo>
                  <a:lnTo>
                    <a:pt x="228875" y="23495"/>
                  </a:lnTo>
                  <a:lnTo>
                    <a:pt x="232304" y="24488"/>
                  </a:lnTo>
                  <a:lnTo>
                    <a:pt x="234345" y="26116"/>
                  </a:lnTo>
                  <a:lnTo>
                    <a:pt x="236595" y="27676"/>
                  </a:lnTo>
                  <a:lnTo>
                    <a:pt x="238178" y="28633"/>
                  </a:lnTo>
                  <a:lnTo>
                    <a:pt x="238923" y="29862"/>
                  </a:lnTo>
                  <a:lnTo>
                    <a:pt x="239074" y="30971"/>
                  </a:lnTo>
                  <a:lnTo>
                    <a:pt x="238934" y="31716"/>
                  </a:lnTo>
                  <a:lnTo>
                    <a:pt x="238075" y="32693"/>
                  </a:lnTo>
                  <a:lnTo>
                    <a:pt x="234123" y="35213"/>
                  </a:lnTo>
                  <a:lnTo>
                    <a:pt x="233652" y="36013"/>
                  </a:lnTo>
                  <a:lnTo>
                    <a:pt x="233540" y="37062"/>
                  </a:lnTo>
                  <a:lnTo>
                    <a:pt x="234315" y="40188"/>
                  </a:lnTo>
                  <a:lnTo>
                    <a:pt x="234803" y="42145"/>
                  </a:lnTo>
                  <a:lnTo>
                    <a:pt x="234939" y="46076"/>
                  </a:lnTo>
                  <a:lnTo>
                    <a:pt x="235203" y="49810"/>
                  </a:lnTo>
                  <a:lnTo>
                    <a:pt x="236599" y="51509"/>
                  </a:lnTo>
                  <a:lnTo>
                    <a:pt x="237742" y="52607"/>
                  </a:lnTo>
                  <a:lnTo>
                    <a:pt x="238443" y="53603"/>
                  </a:lnTo>
                  <a:lnTo>
                    <a:pt x="239862" y="54965"/>
                  </a:lnTo>
                  <a:lnTo>
                    <a:pt x="241054" y="55981"/>
                  </a:lnTo>
                  <a:lnTo>
                    <a:pt x="242072" y="56577"/>
                  </a:lnTo>
                  <a:lnTo>
                    <a:pt x="242572" y="57921"/>
                  </a:lnTo>
                  <a:lnTo>
                    <a:pt x="242274" y="59498"/>
                  </a:lnTo>
                  <a:lnTo>
                    <a:pt x="241858" y="60870"/>
                  </a:lnTo>
                  <a:lnTo>
                    <a:pt x="241985" y="61608"/>
                  </a:lnTo>
                  <a:lnTo>
                    <a:pt x="242801" y="62132"/>
                  </a:lnTo>
                  <a:lnTo>
                    <a:pt x="244056" y="63499"/>
                  </a:lnTo>
                  <a:lnTo>
                    <a:pt x="244218" y="65503"/>
                  </a:lnTo>
                  <a:lnTo>
                    <a:pt x="244129" y="66879"/>
                  </a:lnTo>
                  <a:lnTo>
                    <a:pt x="244624" y="68117"/>
                  </a:lnTo>
                  <a:lnTo>
                    <a:pt x="244756" y="69490"/>
                  </a:lnTo>
                  <a:lnTo>
                    <a:pt x="244371" y="72915"/>
                  </a:lnTo>
                  <a:lnTo>
                    <a:pt x="244434" y="74463"/>
                  </a:lnTo>
                  <a:lnTo>
                    <a:pt x="243341" y="74558"/>
                  </a:lnTo>
                  <a:lnTo>
                    <a:pt x="242399" y="75085"/>
                  </a:lnTo>
                  <a:lnTo>
                    <a:pt x="241065" y="77240"/>
                  </a:lnTo>
                  <a:lnTo>
                    <a:pt x="239532" y="77806"/>
                  </a:lnTo>
                  <a:lnTo>
                    <a:pt x="237791" y="77977"/>
                  </a:lnTo>
                  <a:lnTo>
                    <a:pt x="235999" y="76655"/>
                  </a:lnTo>
                  <a:lnTo>
                    <a:pt x="234526" y="75275"/>
                  </a:lnTo>
                  <a:lnTo>
                    <a:pt x="234133" y="74508"/>
                  </a:lnTo>
                  <a:lnTo>
                    <a:pt x="233762" y="73053"/>
                  </a:lnTo>
                  <a:lnTo>
                    <a:pt x="232969" y="72102"/>
                  </a:lnTo>
                  <a:lnTo>
                    <a:pt x="231437" y="72547"/>
                  </a:lnTo>
                  <a:lnTo>
                    <a:pt x="229111" y="72748"/>
                  </a:lnTo>
                  <a:lnTo>
                    <a:pt x="226593" y="73070"/>
                  </a:lnTo>
                  <a:lnTo>
                    <a:pt x="226133" y="73389"/>
                  </a:lnTo>
                  <a:lnTo>
                    <a:pt x="226088" y="74001"/>
                  </a:lnTo>
                  <a:lnTo>
                    <a:pt x="226703" y="75309"/>
                  </a:lnTo>
                  <a:lnTo>
                    <a:pt x="227230" y="77014"/>
                  </a:lnTo>
                  <a:lnTo>
                    <a:pt x="227539" y="79398"/>
                  </a:lnTo>
                  <a:lnTo>
                    <a:pt x="228221" y="80973"/>
                  </a:lnTo>
                  <a:lnTo>
                    <a:pt x="228437" y="81476"/>
                  </a:lnTo>
                  <a:lnTo>
                    <a:pt x="232458" y="86205"/>
                  </a:lnTo>
                  <a:lnTo>
                    <a:pt x="233516" y="87167"/>
                  </a:lnTo>
                  <a:lnTo>
                    <a:pt x="233734" y="87801"/>
                  </a:lnTo>
                  <a:lnTo>
                    <a:pt x="233386" y="89524"/>
                  </a:lnTo>
                  <a:lnTo>
                    <a:pt x="233328" y="89441"/>
                  </a:lnTo>
                  <a:lnTo>
                    <a:pt x="232030" y="87620"/>
                  </a:lnTo>
                  <a:lnTo>
                    <a:pt x="233386" y="89524"/>
                  </a:lnTo>
                  <a:lnTo>
                    <a:pt x="232663" y="91536"/>
                  </a:lnTo>
                  <a:lnTo>
                    <a:pt x="232805" y="93130"/>
                  </a:lnTo>
                  <a:lnTo>
                    <a:pt x="234142" y="94892"/>
                  </a:lnTo>
                  <a:lnTo>
                    <a:pt x="235226" y="96123"/>
                  </a:lnTo>
                  <a:lnTo>
                    <a:pt x="234168" y="97780"/>
                  </a:lnTo>
                  <a:lnTo>
                    <a:pt x="233542" y="99697"/>
                  </a:lnTo>
                  <a:lnTo>
                    <a:pt x="234246" y="100559"/>
                  </a:lnTo>
                  <a:lnTo>
                    <a:pt x="233913" y="103313"/>
                  </a:lnTo>
                  <a:lnTo>
                    <a:pt x="234228" y="103833"/>
                  </a:lnTo>
                  <a:lnTo>
                    <a:pt x="234975" y="104048"/>
                  </a:lnTo>
                  <a:lnTo>
                    <a:pt x="236146" y="103857"/>
                  </a:lnTo>
                  <a:lnTo>
                    <a:pt x="237362" y="103128"/>
                  </a:lnTo>
                  <a:lnTo>
                    <a:pt x="238390" y="102985"/>
                  </a:lnTo>
                  <a:lnTo>
                    <a:pt x="239007" y="103195"/>
                  </a:lnTo>
                  <a:lnTo>
                    <a:pt x="239830" y="101107"/>
                  </a:lnTo>
                  <a:lnTo>
                    <a:pt x="240551" y="100812"/>
                  </a:lnTo>
                  <a:lnTo>
                    <a:pt x="241953" y="101388"/>
                  </a:lnTo>
                  <a:lnTo>
                    <a:pt x="244728" y="105315"/>
                  </a:lnTo>
                  <a:lnTo>
                    <a:pt x="247075" y="108632"/>
                  </a:lnTo>
                  <a:lnTo>
                    <a:pt x="247571" y="109089"/>
                  </a:lnTo>
                  <a:lnTo>
                    <a:pt x="247757" y="109260"/>
                  </a:lnTo>
                  <a:lnTo>
                    <a:pt x="248174" y="109644"/>
                  </a:lnTo>
                  <a:lnTo>
                    <a:pt x="250488" y="111361"/>
                  </a:lnTo>
                  <a:lnTo>
                    <a:pt x="252086" y="112449"/>
                  </a:lnTo>
                  <a:lnTo>
                    <a:pt x="254272" y="112055"/>
                  </a:lnTo>
                  <a:lnTo>
                    <a:pt x="257155" y="111981"/>
                  </a:lnTo>
                  <a:lnTo>
                    <a:pt x="258863" y="113044"/>
                  </a:lnTo>
                  <a:lnTo>
                    <a:pt x="259852" y="113785"/>
                  </a:lnTo>
                  <a:lnTo>
                    <a:pt x="259895" y="113889"/>
                  </a:lnTo>
                  <a:lnTo>
                    <a:pt x="260027" y="113917"/>
                  </a:lnTo>
                  <a:lnTo>
                    <a:pt x="260029" y="113917"/>
                  </a:lnTo>
                  <a:lnTo>
                    <a:pt x="263497" y="116516"/>
                  </a:lnTo>
                  <a:lnTo>
                    <a:pt x="265000" y="116324"/>
                  </a:lnTo>
                  <a:lnTo>
                    <a:pt x="265993" y="117068"/>
                  </a:lnTo>
                  <a:lnTo>
                    <a:pt x="266276" y="118904"/>
                  </a:lnTo>
                  <a:lnTo>
                    <a:pt x="265814" y="120810"/>
                  </a:lnTo>
                  <a:lnTo>
                    <a:pt x="265924" y="121707"/>
                  </a:lnTo>
                  <a:lnTo>
                    <a:pt x="267466" y="121879"/>
                  </a:lnTo>
                  <a:lnTo>
                    <a:pt x="270752" y="123138"/>
                  </a:lnTo>
                  <a:lnTo>
                    <a:pt x="273659" y="124253"/>
                  </a:lnTo>
                  <a:lnTo>
                    <a:pt x="275159" y="124609"/>
                  </a:lnTo>
                  <a:lnTo>
                    <a:pt x="276779" y="125435"/>
                  </a:lnTo>
                  <a:lnTo>
                    <a:pt x="278209" y="126756"/>
                  </a:lnTo>
                  <a:lnTo>
                    <a:pt x="281011" y="128450"/>
                  </a:lnTo>
                  <a:lnTo>
                    <a:pt x="283486" y="129746"/>
                  </a:lnTo>
                  <a:lnTo>
                    <a:pt x="284035" y="131506"/>
                  </a:lnTo>
                  <a:lnTo>
                    <a:pt x="283059" y="131129"/>
                  </a:lnTo>
                  <a:lnTo>
                    <a:pt x="281765" y="131325"/>
                  </a:lnTo>
                  <a:lnTo>
                    <a:pt x="280450" y="132105"/>
                  </a:lnTo>
                  <a:lnTo>
                    <a:pt x="279826" y="132600"/>
                  </a:lnTo>
                  <a:lnTo>
                    <a:pt x="276822" y="135626"/>
                  </a:lnTo>
                  <a:lnTo>
                    <a:pt x="275248" y="136558"/>
                  </a:lnTo>
                  <a:lnTo>
                    <a:pt x="273836" y="137914"/>
                  </a:lnTo>
                  <a:lnTo>
                    <a:pt x="270582" y="142012"/>
                  </a:lnTo>
                  <a:lnTo>
                    <a:pt x="268703" y="145833"/>
                  </a:lnTo>
                  <a:lnTo>
                    <a:pt x="267332" y="149422"/>
                  </a:lnTo>
                  <a:lnTo>
                    <a:pt x="267356" y="151962"/>
                  </a:lnTo>
                  <a:lnTo>
                    <a:pt x="266848" y="154935"/>
                  </a:lnTo>
                  <a:lnTo>
                    <a:pt x="265445" y="156628"/>
                  </a:lnTo>
                  <a:lnTo>
                    <a:pt x="264581" y="157204"/>
                  </a:lnTo>
                  <a:lnTo>
                    <a:pt x="263566" y="159760"/>
                  </a:lnTo>
                  <a:lnTo>
                    <a:pt x="262838" y="162739"/>
                  </a:lnTo>
                  <a:lnTo>
                    <a:pt x="263259" y="163703"/>
                  </a:lnTo>
                  <a:lnTo>
                    <a:pt x="265004" y="165003"/>
                  </a:lnTo>
                  <a:lnTo>
                    <a:pt x="266706" y="166270"/>
                  </a:lnTo>
                  <a:lnTo>
                    <a:pt x="268878" y="167637"/>
                  </a:lnTo>
                  <a:lnTo>
                    <a:pt x="270951" y="168943"/>
                  </a:lnTo>
                  <a:lnTo>
                    <a:pt x="272290" y="169114"/>
                  </a:lnTo>
                  <a:lnTo>
                    <a:pt x="272659" y="168372"/>
                  </a:lnTo>
                  <a:lnTo>
                    <a:pt x="273147" y="167667"/>
                  </a:lnTo>
                  <a:lnTo>
                    <a:pt x="274676" y="168041"/>
                  </a:lnTo>
                  <a:lnTo>
                    <a:pt x="276540" y="169321"/>
                  </a:lnTo>
                  <a:lnTo>
                    <a:pt x="277753" y="170337"/>
                  </a:lnTo>
                  <a:lnTo>
                    <a:pt x="278297" y="170678"/>
                  </a:lnTo>
                  <a:lnTo>
                    <a:pt x="281511" y="172385"/>
                  </a:lnTo>
                  <a:lnTo>
                    <a:pt x="284175" y="173799"/>
                  </a:lnTo>
                  <a:lnTo>
                    <a:pt x="287544" y="175586"/>
                  </a:lnTo>
                  <a:lnTo>
                    <a:pt x="288369" y="176679"/>
                  </a:lnTo>
                  <a:lnTo>
                    <a:pt x="289092" y="177842"/>
                  </a:lnTo>
                  <a:lnTo>
                    <a:pt x="290681" y="179386"/>
                  </a:lnTo>
                  <a:lnTo>
                    <a:pt x="294555" y="182118"/>
                  </a:lnTo>
                  <a:lnTo>
                    <a:pt x="297861" y="184073"/>
                  </a:lnTo>
                  <a:lnTo>
                    <a:pt x="300552" y="185667"/>
                  </a:lnTo>
                  <a:lnTo>
                    <a:pt x="302662" y="186784"/>
                  </a:lnTo>
                  <a:lnTo>
                    <a:pt x="303640" y="186608"/>
                  </a:lnTo>
                  <a:lnTo>
                    <a:pt x="304709" y="186015"/>
                  </a:lnTo>
                  <a:lnTo>
                    <a:pt x="305648" y="185668"/>
                  </a:lnTo>
                  <a:lnTo>
                    <a:pt x="306739" y="185983"/>
                  </a:lnTo>
                  <a:lnTo>
                    <a:pt x="308395" y="186835"/>
                  </a:lnTo>
                  <a:lnTo>
                    <a:pt x="312282" y="189425"/>
                  </a:lnTo>
                  <a:lnTo>
                    <a:pt x="315901" y="191448"/>
                  </a:lnTo>
                  <a:lnTo>
                    <a:pt x="319848" y="191084"/>
                  </a:lnTo>
                  <a:lnTo>
                    <a:pt x="320897" y="191409"/>
                  </a:lnTo>
                  <a:lnTo>
                    <a:pt x="321638" y="193241"/>
                  </a:lnTo>
                  <a:lnTo>
                    <a:pt x="322137" y="195095"/>
                  </a:lnTo>
                  <a:lnTo>
                    <a:pt x="326547" y="196318"/>
                  </a:lnTo>
                  <a:lnTo>
                    <a:pt x="329449" y="196870"/>
                  </a:lnTo>
                  <a:lnTo>
                    <a:pt x="332761" y="197877"/>
                  </a:lnTo>
                  <a:lnTo>
                    <a:pt x="334439" y="198623"/>
                  </a:lnTo>
                  <a:lnTo>
                    <a:pt x="336201" y="197688"/>
                  </a:lnTo>
                  <a:lnTo>
                    <a:pt x="336523" y="196863"/>
                  </a:lnTo>
                  <a:lnTo>
                    <a:pt x="337920" y="196374"/>
                  </a:lnTo>
                  <a:lnTo>
                    <a:pt x="340231" y="196588"/>
                  </a:lnTo>
                  <a:lnTo>
                    <a:pt x="344549" y="198028"/>
                  </a:lnTo>
                  <a:lnTo>
                    <a:pt x="346359" y="198460"/>
                  </a:lnTo>
                  <a:lnTo>
                    <a:pt x="347871" y="197095"/>
                  </a:lnTo>
                  <a:lnTo>
                    <a:pt x="350693" y="196462"/>
                  </a:lnTo>
                  <a:lnTo>
                    <a:pt x="352157" y="195754"/>
                  </a:lnTo>
                  <a:lnTo>
                    <a:pt x="355225" y="197268"/>
                  </a:lnTo>
                  <a:lnTo>
                    <a:pt x="360777" y="199167"/>
                  </a:lnTo>
                  <a:lnTo>
                    <a:pt x="363636" y="200346"/>
                  </a:lnTo>
                  <a:lnTo>
                    <a:pt x="364312" y="201509"/>
                  </a:lnTo>
                  <a:lnTo>
                    <a:pt x="364623" y="202609"/>
                  </a:lnTo>
                  <a:lnTo>
                    <a:pt x="364601" y="205274"/>
                  </a:lnTo>
                  <a:lnTo>
                    <a:pt x="365299" y="206480"/>
                  </a:lnTo>
                  <a:lnTo>
                    <a:pt x="370868" y="209193"/>
                  </a:lnTo>
                  <a:lnTo>
                    <a:pt x="372701" y="210343"/>
                  </a:lnTo>
                  <a:lnTo>
                    <a:pt x="374187" y="210714"/>
                  </a:lnTo>
                  <a:lnTo>
                    <a:pt x="375029" y="210760"/>
                  </a:lnTo>
                  <a:lnTo>
                    <a:pt x="375608" y="211101"/>
                  </a:lnTo>
                  <a:lnTo>
                    <a:pt x="376106" y="212648"/>
                  </a:lnTo>
                  <a:lnTo>
                    <a:pt x="376497" y="213004"/>
                  </a:lnTo>
                  <a:lnTo>
                    <a:pt x="377568" y="213389"/>
                  </a:lnTo>
                  <a:lnTo>
                    <a:pt x="378735" y="213610"/>
                  </a:lnTo>
                  <a:lnTo>
                    <a:pt x="382349" y="212275"/>
                  </a:lnTo>
                  <a:lnTo>
                    <a:pt x="384826" y="211262"/>
                  </a:lnTo>
                  <a:lnTo>
                    <a:pt x="386595" y="211520"/>
                  </a:lnTo>
                  <a:lnTo>
                    <a:pt x="387733" y="212645"/>
                  </a:lnTo>
                  <a:lnTo>
                    <a:pt x="387899" y="214284"/>
                  </a:lnTo>
                  <a:lnTo>
                    <a:pt x="388560" y="216014"/>
                  </a:lnTo>
                  <a:lnTo>
                    <a:pt x="389825" y="216859"/>
                  </a:lnTo>
                  <a:lnTo>
                    <a:pt x="391177" y="216953"/>
                  </a:lnTo>
                  <a:lnTo>
                    <a:pt x="394530" y="215786"/>
                  </a:lnTo>
                  <a:lnTo>
                    <a:pt x="397230" y="216679"/>
                  </a:lnTo>
                  <a:lnTo>
                    <a:pt x="399711" y="217005"/>
                  </a:lnTo>
                  <a:lnTo>
                    <a:pt x="402464" y="217565"/>
                  </a:lnTo>
                  <a:lnTo>
                    <a:pt x="403533" y="217994"/>
                  </a:lnTo>
                  <a:lnTo>
                    <a:pt x="406390" y="219425"/>
                  </a:lnTo>
                  <a:lnTo>
                    <a:pt x="409877" y="220870"/>
                  </a:lnTo>
                  <a:lnTo>
                    <a:pt x="411229" y="220707"/>
                  </a:lnTo>
                  <a:lnTo>
                    <a:pt x="416843" y="218015"/>
                  </a:lnTo>
                  <a:lnTo>
                    <a:pt x="417318" y="218343"/>
                  </a:lnTo>
                  <a:lnTo>
                    <a:pt x="418461" y="220914"/>
                  </a:lnTo>
                  <a:lnTo>
                    <a:pt x="420169" y="221838"/>
                  </a:lnTo>
                  <a:lnTo>
                    <a:pt x="422836" y="222642"/>
                  </a:lnTo>
                  <a:lnTo>
                    <a:pt x="425625" y="221157"/>
                  </a:lnTo>
                  <a:lnTo>
                    <a:pt x="427826" y="221583"/>
                  </a:lnTo>
                  <a:lnTo>
                    <a:pt x="430486" y="221722"/>
                  </a:lnTo>
                  <a:lnTo>
                    <a:pt x="433039" y="221007"/>
                  </a:lnTo>
                  <a:lnTo>
                    <a:pt x="435259" y="220826"/>
                  </a:lnTo>
                  <a:lnTo>
                    <a:pt x="438485" y="222119"/>
                  </a:lnTo>
                  <a:lnTo>
                    <a:pt x="439189" y="221819"/>
                  </a:lnTo>
                  <a:lnTo>
                    <a:pt x="439806" y="220989"/>
                  </a:lnTo>
                  <a:lnTo>
                    <a:pt x="441059" y="217280"/>
                  </a:lnTo>
                  <a:lnTo>
                    <a:pt x="442164" y="213995"/>
                  </a:lnTo>
                  <a:lnTo>
                    <a:pt x="442069" y="212035"/>
                  </a:lnTo>
                  <a:lnTo>
                    <a:pt x="441048" y="209156"/>
                  </a:lnTo>
                  <a:lnTo>
                    <a:pt x="438441" y="205408"/>
                  </a:lnTo>
                  <a:lnTo>
                    <a:pt x="438247" y="204269"/>
                  </a:lnTo>
                  <a:lnTo>
                    <a:pt x="439126" y="197720"/>
                  </a:lnTo>
                  <a:lnTo>
                    <a:pt x="440094" y="193940"/>
                  </a:lnTo>
                  <a:lnTo>
                    <a:pt x="440927" y="192150"/>
                  </a:lnTo>
                  <a:lnTo>
                    <a:pt x="441843" y="189600"/>
                  </a:lnTo>
                  <a:lnTo>
                    <a:pt x="442004" y="188418"/>
                  </a:lnTo>
                  <a:lnTo>
                    <a:pt x="441916" y="187352"/>
                  </a:lnTo>
                  <a:lnTo>
                    <a:pt x="441020" y="186700"/>
                  </a:lnTo>
                  <a:lnTo>
                    <a:pt x="440780" y="185889"/>
                  </a:lnTo>
                  <a:lnTo>
                    <a:pt x="441002" y="185208"/>
                  </a:lnTo>
                  <a:lnTo>
                    <a:pt x="441713" y="184828"/>
                  </a:lnTo>
                  <a:lnTo>
                    <a:pt x="444678" y="184351"/>
                  </a:lnTo>
                  <a:lnTo>
                    <a:pt x="448012" y="183327"/>
                  </a:lnTo>
                  <a:lnTo>
                    <a:pt x="449342" y="182782"/>
                  </a:lnTo>
                  <a:lnTo>
                    <a:pt x="450348" y="182234"/>
                  </a:lnTo>
                  <a:lnTo>
                    <a:pt x="451372" y="181373"/>
                  </a:lnTo>
                  <a:lnTo>
                    <a:pt x="452327" y="181409"/>
                  </a:lnTo>
                  <a:lnTo>
                    <a:pt x="455315" y="182657"/>
                  </a:lnTo>
                  <a:lnTo>
                    <a:pt x="456364" y="183440"/>
                  </a:lnTo>
                  <a:lnTo>
                    <a:pt x="456915" y="185824"/>
                  </a:lnTo>
                  <a:lnTo>
                    <a:pt x="457362" y="186746"/>
                  </a:lnTo>
                  <a:lnTo>
                    <a:pt x="456943" y="189166"/>
                  </a:lnTo>
                  <a:lnTo>
                    <a:pt x="455155" y="195026"/>
                  </a:lnTo>
                  <a:lnTo>
                    <a:pt x="455505" y="197219"/>
                  </a:lnTo>
                  <a:lnTo>
                    <a:pt x="457001" y="198817"/>
                  </a:lnTo>
                  <a:lnTo>
                    <a:pt x="458304" y="199932"/>
                  </a:lnTo>
                  <a:lnTo>
                    <a:pt x="458087" y="200375"/>
                  </a:lnTo>
                  <a:lnTo>
                    <a:pt x="455405" y="202265"/>
                  </a:lnTo>
                  <a:lnTo>
                    <a:pt x="454929" y="203278"/>
                  </a:lnTo>
                  <a:lnTo>
                    <a:pt x="455522" y="204262"/>
                  </a:lnTo>
                  <a:lnTo>
                    <a:pt x="456583" y="205100"/>
                  </a:lnTo>
                  <a:lnTo>
                    <a:pt x="457060" y="205896"/>
                  </a:lnTo>
                  <a:lnTo>
                    <a:pt x="457556" y="208371"/>
                  </a:lnTo>
                  <a:lnTo>
                    <a:pt x="458917" y="209067"/>
                  </a:lnTo>
                  <a:lnTo>
                    <a:pt x="461610" y="210664"/>
                  </a:lnTo>
                  <a:lnTo>
                    <a:pt x="463982" y="211825"/>
                  </a:lnTo>
                  <a:lnTo>
                    <a:pt x="468049" y="211053"/>
                  </a:lnTo>
                  <a:lnTo>
                    <a:pt x="469200" y="211578"/>
                  </a:lnTo>
                  <a:lnTo>
                    <a:pt x="471200" y="212128"/>
                  </a:lnTo>
                  <a:lnTo>
                    <a:pt x="472759" y="212298"/>
                  </a:lnTo>
                  <a:lnTo>
                    <a:pt x="473666" y="212709"/>
                  </a:lnTo>
                  <a:lnTo>
                    <a:pt x="474175" y="213107"/>
                  </a:lnTo>
                  <a:lnTo>
                    <a:pt x="474108" y="213608"/>
                  </a:lnTo>
                  <a:lnTo>
                    <a:pt x="474193" y="214123"/>
                  </a:lnTo>
                  <a:lnTo>
                    <a:pt x="476425" y="214254"/>
                  </a:lnTo>
                  <a:lnTo>
                    <a:pt x="477596" y="214547"/>
                  </a:lnTo>
                  <a:lnTo>
                    <a:pt x="481560" y="214016"/>
                  </a:lnTo>
                  <a:lnTo>
                    <a:pt x="485535" y="213288"/>
                  </a:lnTo>
                  <a:lnTo>
                    <a:pt x="487373" y="211080"/>
                  </a:lnTo>
                  <a:lnTo>
                    <a:pt x="488176" y="210922"/>
                  </a:lnTo>
                  <a:lnTo>
                    <a:pt x="490465" y="210063"/>
                  </a:lnTo>
                  <a:lnTo>
                    <a:pt x="492716" y="211003"/>
                  </a:lnTo>
                  <a:lnTo>
                    <a:pt x="495197" y="212290"/>
                  </a:lnTo>
                  <a:lnTo>
                    <a:pt x="496533" y="212679"/>
                  </a:lnTo>
                  <a:lnTo>
                    <a:pt x="499172" y="212882"/>
                  </a:lnTo>
                  <a:lnTo>
                    <a:pt x="501740" y="212738"/>
                  </a:lnTo>
                  <a:lnTo>
                    <a:pt x="507890" y="212128"/>
                  </a:lnTo>
                  <a:lnTo>
                    <a:pt x="511265" y="212448"/>
                  </a:lnTo>
                  <a:lnTo>
                    <a:pt x="514365" y="210615"/>
                  </a:lnTo>
                  <a:lnTo>
                    <a:pt x="515009" y="210620"/>
                  </a:lnTo>
                  <a:lnTo>
                    <a:pt x="516374" y="212035"/>
                  </a:lnTo>
                  <a:lnTo>
                    <a:pt x="519779" y="212162"/>
                  </a:lnTo>
                  <a:lnTo>
                    <a:pt x="521595" y="211478"/>
                  </a:lnTo>
                  <a:lnTo>
                    <a:pt x="523549" y="210950"/>
                  </a:lnTo>
                  <a:lnTo>
                    <a:pt x="524800" y="210782"/>
                  </a:lnTo>
                  <a:lnTo>
                    <a:pt x="525797" y="210764"/>
                  </a:lnTo>
                  <a:lnTo>
                    <a:pt x="527004" y="210903"/>
                  </a:lnTo>
                  <a:lnTo>
                    <a:pt x="528141" y="210431"/>
                  </a:lnTo>
                  <a:lnTo>
                    <a:pt x="528665" y="209480"/>
                  </a:lnTo>
                  <a:lnTo>
                    <a:pt x="528548" y="208045"/>
                  </a:lnTo>
                  <a:lnTo>
                    <a:pt x="527724" y="206484"/>
                  </a:lnTo>
                  <a:lnTo>
                    <a:pt x="527011" y="205569"/>
                  </a:lnTo>
                  <a:lnTo>
                    <a:pt x="526871" y="205079"/>
                  </a:lnTo>
                  <a:lnTo>
                    <a:pt x="527097" y="203949"/>
                  </a:lnTo>
                  <a:lnTo>
                    <a:pt x="527730" y="202356"/>
                  </a:lnTo>
                  <a:lnTo>
                    <a:pt x="528885" y="200538"/>
                  </a:lnTo>
                  <a:lnTo>
                    <a:pt x="528034" y="198773"/>
                  </a:lnTo>
                  <a:lnTo>
                    <a:pt x="526838" y="196735"/>
                  </a:lnTo>
                  <a:lnTo>
                    <a:pt x="525957" y="196542"/>
                  </a:lnTo>
                  <a:lnTo>
                    <a:pt x="523752" y="197011"/>
                  </a:lnTo>
                  <a:lnTo>
                    <a:pt x="521360" y="196918"/>
                  </a:lnTo>
                  <a:lnTo>
                    <a:pt x="519481" y="195700"/>
                  </a:lnTo>
                  <a:lnTo>
                    <a:pt x="518080" y="194172"/>
                  </a:lnTo>
                  <a:lnTo>
                    <a:pt x="517739" y="192889"/>
                  </a:lnTo>
                  <a:lnTo>
                    <a:pt x="518144" y="191324"/>
                  </a:lnTo>
                  <a:lnTo>
                    <a:pt x="518768" y="189885"/>
                  </a:lnTo>
                  <a:lnTo>
                    <a:pt x="518902" y="189344"/>
                  </a:lnTo>
                  <a:lnTo>
                    <a:pt x="520686" y="189347"/>
                  </a:lnTo>
                  <a:lnTo>
                    <a:pt x="523165" y="189666"/>
                  </a:lnTo>
                  <a:lnTo>
                    <a:pt x="525038" y="190066"/>
                  </a:lnTo>
                  <a:lnTo>
                    <a:pt x="526547" y="190050"/>
                  </a:lnTo>
                  <a:lnTo>
                    <a:pt x="529281" y="188205"/>
                  </a:lnTo>
                  <a:lnTo>
                    <a:pt x="530526" y="188094"/>
                  </a:lnTo>
                  <a:lnTo>
                    <a:pt x="531956" y="187743"/>
                  </a:lnTo>
                  <a:lnTo>
                    <a:pt x="532580" y="187395"/>
                  </a:lnTo>
                  <a:lnTo>
                    <a:pt x="533014" y="187665"/>
                  </a:lnTo>
                  <a:lnTo>
                    <a:pt x="534582" y="187891"/>
                  </a:lnTo>
                  <a:lnTo>
                    <a:pt x="536214" y="187799"/>
                  </a:lnTo>
                  <a:lnTo>
                    <a:pt x="537669" y="187289"/>
                  </a:lnTo>
                  <a:lnTo>
                    <a:pt x="539130" y="186494"/>
                  </a:lnTo>
                  <a:lnTo>
                    <a:pt x="541731" y="184828"/>
                  </a:lnTo>
                  <a:lnTo>
                    <a:pt x="542250" y="183870"/>
                  </a:lnTo>
                  <a:lnTo>
                    <a:pt x="542244" y="182991"/>
                  </a:lnTo>
                  <a:lnTo>
                    <a:pt x="541760" y="182414"/>
                  </a:lnTo>
                  <a:lnTo>
                    <a:pt x="541269" y="182135"/>
                  </a:lnTo>
                  <a:lnTo>
                    <a:pt x="541470" y="181373"/>
                  </a:lnTo>
                  <a:lnTo>
                    <a:pt x="542561" y="180086"/>
                  </a:lnTo>
                  <a:lnTo>
                    <a:pt x="546540" y="178147"/>
                  </a:lnTo>
                  <a:lnTo>
                    <a:pt x="549926" y="175763"/>
                  </a:lnTo>
                  <a:lnTo>
                    <a:pt x="551790" y="173974"/>
                  </a:lnTo>
                  <a:lnTo>
                    <a:pt x="552643" y="171805"/>
                  </a:lnTo>
                  <a:lnTo>
                    <a:pt x="553720" y="169452"/>
                  </a:lnTo>
                  <a:lnTo>
                    <a:pt x="554724" y="168523"/>
                  </a:lnTo>
                  <a:lnTo>
                    <a:pt x="557126" y="167934"/>
                  </a:lnTo>
                  <a:lnTo>
                    <a:pt x="563856" y="167065"/>
                  </a:lnTo>
                  <a:lnTo>
                    <a:pt x="565975" y="166115"/>
                  </a:lnTo>
                  <a:lnTo>
                    <a:pt x="569104" y="164351"/>
                  </a:lnTo>
                  <a:lnTo>
                    <a:pt x="570682" y="162967"/>
                  </a:lnTo>
                  <a:lnTo>
                    <a:pt x="571559" y="161844"/>
                  </a:lnTo>
                  <a:lnTo>
                    <a:pt x="571656" y="160593"/>
                  </a:lnTo>
                  <a:lnTo>
                    <a:pt x="573732" y="160200"/>
                  </a:lnTo>
                  <a:lnTo>
                    <a:pt x="575543" y="158178"/>
                  </a:lnTo>
                  <a:lnTo>
                    <a:pt x="577750" y="156139"/>
                  </a:lnTo>
                  <a:lnTo>
                    <a:pt x="581616" y="154415"/>
                  </a:lnTo>
                  <a:lnTo>
                    <a:pt x="585042" y="152097"/>
                  </a:lnTo>
                  <a:lnTo>
                    <a:pt x="586236" y="152468"/>
                  </a:lnTo>
                  <a:lnTo>
                    <a:pt x="587483" y="153562"/>
                  </a:lnTo>
                  <a:lnTo>
                    <a:pt x="588138" y="154775"/>
                  </a:lnTo>
                  <a:lnTo>
                    <a:pt x="588280" y="155386"/>
                  </a:lnTo>
                  <a:lnTo>
                    <a:pt x="592658" y="156153"/>
                  </a:lnTo>
                  <a:lnTo>
                    <a:pt x="593351" y="156030"/>
                  </a:lnTo>
                  <a:lnTo>
                    <a:pt x="596577" y="157116"/>
                  </a:lnTo>
                  <a:lnTo>
                    <a:pt x="599549" y="158427"/>
                  </a:lnTo>
                  <a:lnTo>
                    <a:pt x="601186" y="158756"/>
                  </a:lnTo>
                  <a:lnTo>
                    <a:pt x="601985" y="158720"/>
                  </a:lnTo>
                  <a:lnTo>
                    <a:pt x="602669" y="158313"/>
                  </a:lnTo>
                  <a:lnTo>
                    <a:pt x="603472" y="157158"/>
                  </a:lnTo>
                  <a:lnTo>
                    <a:pt x="604296" y="156322"/>
                  </a:lnTo>
                  <a:lnTo>
                    <a:pt x="604810" y="155981"/>
                  </a:lnTo>
                  <a:lnTo>
                    <a:pt x="604783" y="154652"/>
                  </a:lnTo>
                  <a:lnTo>
                    <a:pt x="609084" y="152063"/>
                  </a:lnTo>
                  <a:lnTo>
                    <a:pt x="612948" y="150204"/>
                  </a:lnTo>
                  <a:lnTo>
                    <a:pt x="616272" y="148848"/>
                  </a:lnTo>
                  <a:lnTo>
                    <a:pt x="617250" y="149403"/>
                  </a:lnTo>
                  <a:lnTo>
                    <a:pt x="618331" y="150434"/>
                  </a:lnTo>
                  <a:lnTo>
                    <a:pt x="619795" y="153060"/>
                  </a:lnTo>
                  <a:lnTo>
                    <a:pt x="620685" y="153702"/>
                  </a:lnTo>
                  <a:lnTo>
                    <a:pt x="622946" y="153336"/>
                  </a:lnTo>
                  <a:lnTo>
                    <a:pt x="623358" y="153623"/>
                  </a:lnTo>
                  <a:lnTo>
                    <a:pt x="623002" y="154569"/>
                  </a:lnTo>
                  <a:lnTo>
                    <a:pt x="621471" y="155739"/>
                  </a:lnTo>
                  <a:lnTo>
                    <a:pt x="619488" y="156788"/>
                  </a:lnTo>
                  <a:lnTo>
                    <a:pt x="618196" y="157645"/>
                  </a:lnTo>
                  <a:lnTo>
                    <a:pt x="618616" y="160498"/>
                  </a:lnTo>
                  <a:lnTo>
                    <a:pt x="618521" y="161481"/>
                  </a:lnTo>
                  <a:lnTo>
                    <a:pt x="619076" y="161791"/>
                  </a:lnTo>
                  <a:lnTo>
                    <a:pt x="623160" y="158960"/>
                  </a:lnTo>
                  <a:lnTo>
                    <a:pt x="625125" y="158400"/>
                  </a:lnTo>
                  <a:lnTo>
                    <a:pt x="625818" y="159084"/>
                  </a:lnTo>
                  <a:lnTo>
                    <a:pt x="626041" y="160598"/>
                  </a:lnTo>
                  <a:lnTo>
                    <a:pt x="627652" y="163717"/>
                  </a:lnTo>
                  <a:lnTo>
                    <a:pt x="628334" y="165301"/>
                  </a:lnTo>
                  <a:lnTo>
                    <a:pt x="624237" y="169074"/>
                  </a:lnTo>
                  <a:lnTo>
                    <a:pt x="622728" y="171021"/>
                  </a:lnTo>
                  <a:lnTo>
                    <a:pt x="622784" y="171707"/>
                  </a:lnTo>
                  <a:lnTo>
                    <a:pt x="622702" y="172385"/>
                  </a:lnTo>
                  <a:lnTo>
                    <a:pt x="621657" y="173353"/>
                  </a:lnTo>
                  <a:lnTo>
                    <a:pt x="621713" y="173739"/>
                  </a:lnTo>
                  <a:lnTo>
                    <a:pt x="622562" y="174352"/>
                  </a:lnTo>
                  <a:lnTo>
                    <a:pt x="623591" y="174813"/>
                  </a:lnTo>
                  <a:lnTo>
                    <a:pt x="624093" y="174798"/>
                  </a:lnTo>
                  <a:lnTo>
                    <a:pt x="624948" y="173884"/>
                  </a:lnTo>
                  <a:lnTo>
                    <a:pt x="628815" y="172592"/>
                  </a:lnTo>
                  <a:lnTo>
                    <a:pt x="629925" y="172836"/>
                  </a:lnTo>
                  <a:lnTo>
                    <a:pt x="632643" y="174818"/>
                  </a:lnTo>
                  <a:lnTo>
                    <a:pt x="633909" y="174930"/>
                  </a:lnTo>
                  <a:lnTo>
                    <a:pt x="637179" y="175522"/>
                  </a:lnTo>
                  <a:lnTo>
                    <a:pt x="639269" y="174773"/>
                  </a:lnTo>
                  <a:lnTo>
                    <a:pt x="640810" y="175459"/>
                  </a:lnTo>
                  <a:lnTo>
                    <a:pt x="644002" y="177938"/>
                  </a:lnTo>
                  <a:lnTo>
                    <a:pt x="644732" y="178390"/>
                  </a:lnTo>
                  <a:lnTo>
                    <a:pt x="644462" y="179892"/>
                  </a:lnTo>
                  <a:lnTo>
                    <a:pt x="644295" y="181549"/>
                  </a:lnTo>
                  <a:lnTo>
                    <a:pt x="645101" y="182868"/>
                  </a:lnTo>
                  <a:lnTo>
                    <a:pt x="645199" y="184029"/>
                  </a:lnTo>
                  <a:lnTo>
                    <a:pt x="645012" y="185095"/>
                  </a:lnTo>
                  <a:lnTo>
                    <a:pt x="644371" y="185828"/>
                  </a:lnTo>
                  <a:lnTo>
                    <a:pt x="642601" y="186236"/>
                  </a:lnTo>
                  <a:lnTo>
                    <a:pt x="641091" y="187506"/>
                  </a:lnTo>
                  <a:lnTo>
                    <a:pt x="638701" y="189342"/>
                  </a:lnTo>
                  <a:lnTo>
                    <a:pt x="636779" y="190816"/>
                  </a:lnTo>
                  <a:lnTo>
                    <a:pt x="635384" y="192116"/>
                  </a:lnTo>
                  <a:lnTo>
                    <a:pt x="634879" y="193479"/>
                  </a:lnTo>
                  <a:lnTo>
                    <a:pt x="635028" y="195194"/>
                  </a:lnTo>
                  <a:lnTo>
                    <a:pt x="635434" y="196988"/>
                  </a:lnTo>
                  <a:lnTo>
                    <a:pt x="639895" y="203569"/>
                  </a:lnTo>
                  <a:lnTo>
                    <a:pt x="639859" y="204709"/>
                  </a:lnTo>
                  <a:lnTo>
                    <a:pt x="638444" y="205027"/>
                  </a:lnTo>
                  <a:lnTo>
                    <a:pt x="636572" y="204284"/>
                  </a:lnTo>
                  <a:lnTo>
                    <a:pt x="634954" y="203224"/>
                  </a:lnTo>
                  <a:lnTo>
                    <a:pt x="633132" y="200405"/>
                  </a:lnTo>
                  <a:lnTo>
                    <a:pt x="631668" y="199564"/>
                  </a:lnTo>
                  <a:lnTo>
                    <a:pt x="630210" y="199379"/>
                  </a:lnTo>
                  <a:lnTo>
                    <a:pt x="621553" y="200830"/>
                  </a:lnTo>
                  <a:lnTo>
                    <a:pt x="619709" y="201237"/>
                  </a:lnTo>
                  <a:lnTo>
                    <a:pt x="616848" y="202289"/>
                  </a:lnTo>
                  <a:lnTo>
                    <a:pt x="614846" y="204408"/>
                  </a:lnTo>
                  <a:lnTo>
                    <a:pt x="613395" y="206346"/>
                  </a:lnTo>
                  <a:lnTo>
                    <a:pt x="611892" y="207127"/>
                  </a:lnTo>
                  <a:lnTo>
                    <a:pt x="609705" y="208634"/>
                  </a:lnTo>
                  <a:lnTo>
                    <a:pt x="603634" y="213253"/>
                  </a:lnTo>
                  <a:lnTo>
                    <a:pt x="600124" y="215242"/>
                  </a:lnTo>
                  <a:lnTo>
                    <a:pt x="597832" y="215975"/>
                  </a:lnTo>
                  <a:lnTo>
                    <a:pt x="596223" y="217022"/>
                  </a:lnTo>
                  <a:lnTo>
                    <a:pt x="595356" y="218725"/>
                  </a:lnTo>
                  <a:lnTo>
                    <a:pt x="594699" y="219947"/>
                  </a:lnTo>
                  <a:lnTo>
                    <a:pt x="594502" y="222951"/>
                  </a:lnTo>
                  <a:lnTo>
                    <a:pt x="594902" y="226650"/>
                  </a:lnTo>
                  <a:lnTo>
                    <a:pt x="595774" y="229010"/>
                  </a:lnTo>
                  <a:lnTo>
                    <a:pt x="596236" y="229507"/>
                  </a:lnTo>
                  <a:lnTo>
                    <a:pt x="596305" y="230197"/>
                  </a:lnTo>
                  <a:lnTo>
                    <a:pt x="595433" y="231473"/>
                  </a:lnTo>
                  <a:lnTo>
                    <a:pt x="594278" y="232561"/>
                  </a:lnTo>
                  <a:lnTo>
                    <a:pt x="593714" y="233232"/>
                  </a:lnTo>
                  <a:lnTo>
                    <a:pt x="593200" y="236599"/>
                  </a:lnTo>
                  <a:lnTo>
                    <a:pt x="592177" y="238258"/>
                  </a:lnTo>
                  <a:lnTo>
                    <a:pt x="590307" y="240690"/>
                  </a:lnTo>
                  <a:lnTo>
                    <a:pt x="588642" y="242528"/>
                  </a:lnTo>
                  <a:lnTo>
                    <a:pt x="586031" y="243954"/>
                  </a:lnTo>
                  <a:lnTo>
                    <a:pt x="585038" y="245106"/>
                  </a:lnTo>
                  <a:lnTo>
                    <a:pt x="584088" y="247233"/>
                  </a:lnTo>
                  <a:lnTo>
                    <a:pt x="583524" y="249032"/>
                  </a:lnTo>
                  <a:lnTo>
                    <a:pt x="583494" y="249686"/>
                  </a:lnTo>
                  <a:lnTo>
                    <a:pt x="583792" y="250256"/>
                  </a:lnTo>
                  <a:lnTo>
                    <a:pt x="584878" y="250890"/>
                  </a:lnTo>
                  <a:lnTo>
                    <a:pt x="586197" y="251503"/>
                  </a:lnTo>
                  <a:lnTo>
                    <a:pt x="586826" y="252461"/>
                  </a:lnTo>
                  <a:lnTo>
                    <a:pt x="586912" y="253618"/>
                  </a:lnTo>
                  <a:lnTo>
                    <a:pt x="585932" y="256388"/>
                  </a:lnTo>
                  <a:lnTo>
                    <a:pt x="584181" y="260239"/>
                  </a:lnTo>
                  <a:lnTo>
                    <a:pt x="582171" y="263284"/>
                  </a:lnTo>
                  <a:lnTo>
                    <a:pt x="580097" y="266185"/>
                  </a:lnTo>
                  <a:lnTo>
                    <a:pt x="579607" y="267132"/>
                  </a:lnTo>
                  <a:lnTo>
                    <a:pt x="577746" y="270695"/>
                  </a:lnTo>
                  <a:lnTo>
                    <a:pt x="576124" y="275586"/>
                  </a:lnTo>
                  <a:lnTo>
                    <a:pt x="575031" y="278877"/>
                  </a:lnTo>
                  <a:lnTo>
                    <a:pt x="574088" y="281129"/>
                  </a:lnTo>
                  <a:lnTo>
                    <a:pt x="572919" y="281232"/>
                  </a:lnTo>
                  <a:lnTo>
                    <a:pt x="571505" y="280509"/>
                  </a:lnTo>
                  <a:lnTo>
                    <a:pt x="568069" y="279550"/>
                  </a:lnTo>
                  <a:lnTo>
                    <a:pt x="565867" y="278778"/>
                  </a:lnTo>
                  <a:lnTo>
                    <a:pt x="564265" y="278084"/>
                  </a:lnTo>
                  <a:lnTo>
                    <a:pt x="563157" y="278111"/>
                  </a:lnTo>
                  <a:lnTo>
                    <a:pt x="561626" y="278563"/>
                  </a:lnTo>
                  <a:lnTo>
                    <a:pt x="560071" y="278873"/>
                  </a:lnTo>
                  <a:lnTo>
                    <a:pt x="559151" y="278532"/>
                  </a:lnTo>
                  <a:lnTo>
                    <a:pt x="557016" y="276501"/>
                  </a:lnTo>
                  <a:lnTo>
                    <a:pt x="556368" y="276734"/>
                  </a:lnTo>
                  <a:lnTo>
                    <a:pt x="555949" y="277725"/>
                  </a:lnTo>
                  <a:lnTo>
                    <a:pt x="557391" y="283522"/>
                  </a:lnTo>
                  <a:lnTo>
                    <a:pt x="558329" y="285675"/>
                  </a:lnTo>
                  <a:lnTo>
                    <a:pt x="558177" y="289275"/>
                  </a:lnTo>
                  <a:lnTo>
                    <a:pt x="557806" y="293686"/>
                  </a:lnTo>
                  <a:lnTo>
                    <a:pt x="557247" y="298507"/>
                  </a:lnTo>
                  <a:lnTo>
                    <a:pt x="556880" y="299615"/>
                  </a:lnTo>
                  <a:lnTo>
                    <a:pt x="555964" y="300888"/>
                  </a:lnTo>
                  <a:lnTo>
                    <a:pt x="554759" y="301235"/>
                  </a:lnTo>
                  <a:lnTo>
                    <a:pt x="553662" y="300733"/>
                  </a:lnTo>
                  <a:lnTo>
                    <a:pt x="552783" y="300849"/>
                  </a:lnTo>
                  <a:lnTo>
                    <a:pt x="552492" y="301658"/>
                  </a:lnTo>
                  <a:lnTo>
                    <a:pt x="552747" y="303740"/>
                  </a:lnTo>
                  <a:lnTo>
                    <a:pt x="551679" y="306121"/>
                  </a:lnTo>
                  <a:lnTo>
                    <a:pt x="550893" y="308158"/>
                  </a:lnTo>
                  <a:lnTo>
                    <a:pt x="551103" y="310135"/>
                  </a:lnTo>
                  <a:lnTo>
                    <a:pt x="551477" y="312138"/>
                  </a:lnTo>
                  <a:lnTo>
                    <a:pt x="552736" y="316483"/>
                  </a:lnTo>
                  <a:lnTo>
                    <a:pt x="552744" y="318070"/>
                  </a:lnTo>
                  <a:lnTo>
                    <a:pt x="552496" y="319493"/>
                  </a:lnTo>
                  <a:lnTo>
                    <a:pt x="551839" y="320084"/>
                  </a:lnTo>
                  <a:lnTo>
                    <a:pt x="550714" y="319986"/>
                  </a:lnTo>
                  <a:lnTo>
                    <a:pt x="550104" y="320576"/>
                  </a:lnTo>
                  <a:lnTo>
                    <a:pt x="549639" y="321465"/>
                  </a:lnTo>
                  <a:lnTo>
                    <a:pt x="548370" y="324759"/>
                  </a:lnTo>
                  <a:lnTo>
                    <a:pt x="547152" y="325103"/>
                  </a:lnTo>
                  <a:lnTo>
                    <a:pt x="545932" y="324610"/>
                  </a:lnTo>
                  <a:lnTo>
                    <a:pt x="544098" y="322414"/>
                  </a:lnTo>
                  <a:lnTo>
                    <a:pt x="542984" y="321773"/>
                  </a:lnTo>
                  <a:lnTo>
                    <a:pt x="542275" y="321807"/>
                  </a:lnTo>
                  <a:lnTo>
                    <a:pt x="541961" y="322386"/>
                  </a:lnTo>
                  <a:lnTo>
                    <a:pt x="541472" y="323702"/>
                  </a:lnTo>
                  <a:lnTo>
                    <a:pt x="540980" y="324583"/>
                  </a:lnTo>
                  <a:lnTo>
                    <a:pt x="539754" y="325355"/>
                  </a:lnTo>
                  <a:lnTo>
                    <a:pt x="539451" y="323731"/>
                  </a:lnTo>
                  <a:lnTo>
                    <a:pt x="538801" y="315319"/>
                  </a:lnTo>
                  <a:lnTo>
                    <a:pt x="538309" y="312637"/>
                  </a:lnTo>
                  <a:lnTo>
                    <a:pt x="537907" y="308922"/>
                  </a:lnTo>
                  <a:lnTo>
                    <a:pt x="537311" y="307780"/>
                  </a:lnTo>
                  <a:lnTo>
                    <a:pt x="536559" y="305746"/>
                  </a:lnTo>
                  <a:lnTo>
                    <a:pt x="535735" y="303995"/>
                  </a:lnTo>
                  <a:lnTo>
                    <a:pt x="535037" y="303250"/>
                  </a:lnTo>
                  <a:lnTo>
                    <a:pt x="534586" y="299968"/>
                  </a:lnTo>
                  <a:lnTo>
                    <a:pt x="534422" y="295944"/>
                  </a:lnTo>
                  <a:lnTo>
                    <a:pt x="534431" y="294044"/>
                  </a:lnTo>
                  <a:lnTo>
                    <a:pt x="533439" y="290106"/>
                  </a:lnTo>
                  <a:lnTo>
                    <a:pt x="532483" y="285640"/>
                  </a:lnTo>
                  <a:lnTo>
                    <a:pt x="531178" y="285828"/>
                  </a:lnTo>
                  <a:lnTo>
                    <a:pt x="530410" y="284745"/>
                  </a:lnTo>
                  <a:lnTo>
                    <a:pt x="529851" y="284765"/>
                  </a:lnTo>
                  <a:lnTo>
                    <a:pt x="528015" y="285776"/>
                  </a:lnTo>
                  <a:lnTo>
                    <a:pt x="526566" y="285443"/>
                  </a:lnTo>
                  <a:lnTo>
                    <a:pt x="525484" y="285584"/>
                  </a:lnTo>
                  <a:lnTo>
                    <a:pt x="525482" y="287635"/>
                  </a:lnTo>
                  <a:lnTo>
                    <a:pt x="525668" y="289821"/>
                  </a:lnTo>
                  <a:lnTo>
                    <a:pt x="525253" y="290607"/>
                  </a:lnTo>
                  <a:lnTo>
                    <a:pt x="522398" y="293175"/>
                  </a:lnTo>
                  <a:lnTo>
                    <a:pt x="521606" y="294896"/>
                  </a:lnTo>
                  <a:lnTo>
                    <a:pt x="521688" y="296704"/>
                  </a:lnTo>
                  <a:lnTo>
                    <a:pt x="522040" y="299122"/>
                  </a:lnTo>
                  <a:lnTo>
                    <a:pt x="521535" y="300348"/>
                  </a:lnTo>
                  <a:lnTo>
                    <a:pt x="520295" y="301483"/>
                  </a:lnTo>
                  <a:lnTo>
                    <a:pt x="518628" y="302069"/>
                  </a:lnTo>
                  <a:lnTo>
                    <a:pt x="517168" y="301792"/>
                  </a:lnTo>
                  <a:lnTo>
                    <a:pt x="516234" y="300810"/>
                  </a:lnTo>
                  <a:lnTo>
                    <a:pt x="515352" y="298303"/>
                  </a:lnTo>
                  <a:lnTo>
                    <a:pt x="514575" y="296935"/>
                  </a:lnTo>
                  <a:lnTo>
                    <a:pt x="513761" y="296609"/>
                  </a:lnTo>
                  <a:lnTo>
                    <a:pt x="513124" y="296980"/>
                  </a:lnTo>
                  <a:lnTo>
                    <a:pt x="513040" y="298554"/>
                  </a:lnTo>
                  <a:lnTo>
                    <a:pt x="513081" y="299858"/>
                  </a:lnTo>
                  <a:lnTo>
                    <a:pt x="512876" y="300002"/>
                  </a:lnTo>
                  <a:lnTo>
                    <a:pt x="512422" y="299801"/>
                  </a:lnTo>
                  <a:lnTo>
                    <a:pt x="511900" y="299162"/>
                  </a:lnTo>
                  <a:lnTo>
                    <a:pt x="510542" y="292881"/>
                  </a:lnTo>
                  <a:lnTo>
                    <a:pt x="508589" y="288037"/>
                  </a:lnTo>
                  <a:lnTo>
                    <a:pt x="508477" y="286176"/>
                  </a:lnTo>
                  <a:lnTo>
                    <a:pt x="509185" y="283786"/>
                  </a:lnTo>
                  <a:lnTo>
                    <a:pt x="510059" y="280099"/>
                  </a:lnTo>
                  <a:lnTo>
                    <a:pt x="512368" y="277797"/>
                  </a:lnTo>
                  <a:lnTo>
                    <a:pt x="512672" y="276820"/>
                  </a:lnTo>
                  <a:lnTo>
                    <a:pt x="513046" y="276047"/>
                  </a:lnTo>
                  <a:lnTo>
                    <a:pt x="513612" y="275893"/>
                  </a:lnTo>
                  <a:lnTo>
                    <a:pt x="516568" y="276111"/>
                  </a:lnTo>
                  <a:lnTo>
                    <a:pt x="517564" y="275741"/>
                  </a:lnTo>
                  <a:lnTo>
                    <a:pt x="518443" y="274657"/>
                  </a:lnTo>
                  <a:lnTo>
                    <a:pt x="519716" y="273784"/>
                  </a:lnTo>
                  <a:lnTo>
                    <a:pt x="520995" y="273433"/>
                  </a:lnTo>
                  <a:lnTo>
                    <a:pt x="522010" y="273302"/>
                  </a:lnTo>
                  <a:lnTo>
                    <a:pt x="523640" y="274131"/>
                  </a:lnTo>
                  <a:lnTo>
                    <a:pt x="524321" y="273662"/>
                  </a:lnTo>
                  <a:lnTo>
                    <a:pt x="524808" y="272129"/>
                  </a:lnTo>
                  <a:lnTo>
                    <a:pt x="525517" y="270609"/>
                  </a:lnTo>
                  <a:lnTo>
                    <a:pt x="525972" y="269877"/>
                  </a:lnTo>
                  <a:lnTo>
                    <a:pt x="527065" y="269545"/>
                  </a:lnTo>
                  <a:lnTo>
                    <a:pt x="528460" y="269463"/>
                  </a:lnTo>
                  <a:lnTo>
                    <a:pt x="528922" y="269186"/>
                  </a:lnTo>
                  <a:lnTo>
                    <a:pt x="529296" y="268673"/>
                  </a:lnTo>
                  <a:lnTo>
                    <a:pt x="529639" y="266657"/>
                  </a:lnTo>
                  <a:lnTo>
                    <a:pt x="531420" y="262154"/>
                  </a:lnTo>
                  <a:lnTo>
                    <a:pt x="532053" y="260150"/>
                  </a:lnTo>
                  <a:lnTo>
                    <a:pt x="532140" y="259792"/>
                  </a:lnTo>
                  <a:lnTo>
                    <a:pt x="532090" y="257556"/>
                  </a:lnTo>
                  <a:lnTo>
                    <a:pt x="532597" y="257233"/>
                  </a:lnTo>
                  <a:lnTo>
                    <a:pt x="535553" y="258322"/>
                  </a:lnTo>
                  <a:lnTo>
                    <a:pt x="536841" y="258307"/>
                  </a:lnTo>
                  <a:lnTo>
                    <a:pt x="537545" y="257858"/>
                  </a:lnTo>
                  <a:lnTo>
                    <a:pt x="537776" y="257039"/>
                  </a:lnTo>
                  <a:lnTo>
                    <a:pt x="537397" y="256079"/>
                  </a:lnTo>
                  <a:lnTo>
                    <a:pt x="535299" y="254409"/>
                  </a:lnTo>
                  <a:lnTo>
                    <a:pt x="531567" y="252154"/>
                  </a:lnTo>
                  <a:lnTo>
                    <a:pt x="528141" y="250775"/>
                  </a:lnTo>
                  <a:lnTo>
                    <a:pt x="521811" y="250983"/>
                  </a:lnTo>
                  <a:lnTo>
                    <a:pt x="515536" y="251419"/>
                  </a:lnTo>
                  <a:lnTo>
                    <a:pt x="513700" y="251196"/>
                  </a:lnTo>
                  <a:lnTo>
                    <a:pt x="511411" y="250575"/>
                  </a:lnTo>
                  <a:lnTo>
                    <a:pt x="505776" y="250667"/>
                  </a:lnTo>
                  <a:lnTo>
                    <a:pt x="498962" y="251011"/>
                  </a:lnTo>
                  <a:lnTo>
                    <a:pt x="496373" y="250816"/>
                  </a:lnTo>
                  <a:lnTo>
                    <a:pt x="495095" y="250843"/>
                  </a:lnTo>
                  <a:lnTo>
                    <a:pt x="492532" y="251052"/>
                  </a:lnTo>
                  <a:lnTo>
                    <a:pt x="488354" y="250410"/>
                  </a:lnTo>
                  <a:lnTo>
                    <a:pt x="485463" y="249586"/>
                  </a:lnTo>
                  <a:lnTo>
                    <a:pt x="482901" y="248681"/>
                  </a:lnTo>
                  <a:lnTo>
                    <a:pt x="479861" y="247861"/>
                  </a:lnTo>
                  <a:lnTo>
                    <a:pt x="479131" y="247870"/>
                  </a:lnTo>
                  <a:lnTo>
                    <a:pt x="478706" y="247573"/>
                  </a:lnTo>
                  <a:lnTo>
                    <a:pt x="478414" y="246848"/>
                  </a:lnTo>
                  <a:lnTo>
                    <a:pt x="478313" y="245913"/>
                  </a:lnTo>
                  <a:lnTo>
                    <a:pt x="478945" y="241565"/>
                  </a:lnTo>
                  <a:lnTo>
                    <a:pt x="478385" y="234965"/>
                  </a:lnTo>
                  <a:lnTo>
                    <a:pt x="478902" y="232558"/>
                  </a:lnTo>
                  <a:lnTo>
                    <a:pt x="476401" y="227120"/>
                  </a:lnTo>
                  <a:lnTo>
                    <a:pt x="475540" y="226112"/>
                  </a:lnTo>
                  <a:lnTo>
                    <a:pt x="474393" y="226068"/>
                  </a:lnTo>
                  <a:lnTo>
                    <a:pt x="473657" y="226770"/>
                  </a:lnTo>
                  <a:lnTo>
                    <a:pt x="473369" y="228042"/>
                  </a:lnTo>
                  <a:lnTo>
                    <a:pt x="473782" y="229460"/>
                  </a:lnTo>
                  <a:lnTo>
                    <a:pt x="472864" y="231048"/>
                  </a:lnTo>
                  <a:lnTo>
                    <a:pt x="471029" y="231562"/>
                  </a:lnTo>
                  <a:lnTo>
                    <a:pt x="468881" y="231028"/>
                  </a:lnTo>
                  <a:lnTo>
                    <a:pt x="467101" y="230283"/>
                  </a:lnTo>
                  <a:lnTo>
                    <a:pt x="464827" y="228666"/>
                  </a:lnTo>
                  <a:lnTo>
                    <a:pt x="463100" y="226386"/>
                  </a:lnTo>
                  <a:lnTo>
                    <a:pt x="462959" y="223873"/>
                  </a:lnTo>
                  <a:lnTo>
                    <a:pt x="462182" y="222249"/>
                  </a:lnTo>
                  <a:lnTo>
                    <a:pt x="461118" y="221458"/>
                  </a:lnTo>
                  <a:lnTo>
                    <a:pt x="460338" y="221238"/>
                  </a:lnTo>
                  <a:lnTo>
                    <a:pt x="459642" y="221414"/>
                  </a:lnTo>
                  <a:lnTo>
                    <a:pt x="459027" y="222292"/>
                  </a:lnTo>
                  <a:lnTo>
                    <a:pt x="459560" y="223171"/>
                  </a:lnTo>
                  <a:lnTo>
                    <a:pt x="460297" y="224400"/>
                  </a:lnTo>
                  <a:lnTo>
                    <a:pt x="460051" y="225234"/>
                  </a:lnTo>
                  <a:lnTo>
                    <a:pt x="459394" y="225365"/>
                  </a:lnTo>
                  <a:lnTo>
                    <a:pt x="458416" y="225007"/>
                  </a:lnTo>
                  <a:lnTo>
                    <a:pt x="456902" y="225203"/>
                  </a:lnTo>
                  <a:lnTo>
                    <a:pt x="455440" y="224559"/>
                  </a:lnTo>
                  <a:lnTo>
                    <a:pt x="454561" y="224501"/>
                  </a:lnTo>
                  <a:lnTo>
                    <a:pt x="453691" y="224268"/>
                  </a:lnTo>
                  <a:lnTo>
                    <a:pt x="453644" y="222816"/>
                  </a:lnTo>
                  <a:lnTo>
                    <a:pt x="452305" y="220974"/>
                  </a:lnTo>
                  <a:lnTo>
                    <a:pt x="450053" y="218908"/>
                  </a:lnTo>
                  <a:lnTo>
                    <a:pt x="447839" y="217633"/>
                  </a:lnTo>
                  <a:lnTo>
                    <a:pt x="446772" y="217809"/>
                  </a:lnTo>
                  <a:lnTo>
                    <a:pt x="446241" y="219217"/>
                  </a:lnTo>
                  <a:lnTo>
                    <a:pt x="446364" y="219744"/>
                  </a:lnTo>
                  <a:lnTo>
                    <a:pt x="447133" y="220005"/>
                  </a:lnTo>
                  <a:lnTo>
                    <a:pt x="448250" y="220821"/>
                  </a:lnTo>
                  <a:lnTo>
                    <a:pt x="448496" y="221677"/>
                  </a:lnTo>
                  <a:lnTo>
                    <a:pt x="448331" y="222424"/>
                  </a:lnTo>
                  <a:lnTo>
                    <a:pt x="446952" y="223786"/>
                  </a:lnTo>
                  <a:lnTo>
                    <a:pt x="445978" y="225077"/>
                  </a:lnTo>
                  <a:lnTo>
                    <a:pt x="443792" y="226959"/>
                  </a:lnTo>
                  <a:lnTo>
                    <a:pt x="441927" y="229110"/>
                  </a:lnTo>
                  <a:lnTo>
                    <a:pt x="441445" y="230742"/>
                  </a:lnTo>
                  <a:lnTo>
                    <a:pt x="440745" y="232205"/>
                  </a:lnTo>
                  <a:lnTo>
                    <a:pt x="440463" y="233816"/>
                  </a:lnTo>
                  <a:lnTo>
                    <a:pt x="440951" y="234930"/>
                  </a:lnTo>
                  <a:lnTo>
                    <a:pt x="441854" y="235631"/>
                  </a:lnTo>
                  <a:lnTo>
                    <a:pt x="444186" y="236142"/>
                  </a:lnTo>
                  <a:lnTo>
                    <a:pt x="446621" y="238306"/>
                  </a:lnTo>
                  <a:lnTo>
                    <a:pt x="448595" y="241228"/>
                  </a:lnTo>
                  <a:lnTo>
                    <a:pt x="449703" y="242111"/>
                  </a:lnTo>
                  <a:lnTo>
                    <a:pt x="451715" y="243095"/>
                  </a:lnTo>
                  <a:lnTo>
                    <a:pt x="455600" y="243208"/>
                  </a:lnTo>
                  <a:lnTo>
                    <a:pt x="456181" y="244016"/>
                  </a:lnTo>
                  <a:lnTo>
                    <a:pt x="456732" y="246155"/>
                  </a:lnTo>
                  <a:lnTo>
                    <a:pt x="457494" y="246909"/>
                  </a:lnTo>
                  <a:lnTo>
                    <a:pt x="459470" y="247917"/>
                  </a:lnTo>
                  <a:lnTo>
                    <a:pt x="459636" y="248660"/>
                  </a:lnTo>
                  <a:lnTo>
                    <a:pt x="459153" y="249514"/>
                  </a:lnTo>
                  <a:lnTo>
                    <a:pt x="458276" y="250188"/>
                  </a:lnTo>
                  <a:lnTo>
                    <a:pt x="456664" y="250616"/>
                  </a:lnTo>
                  <a:lnTo>
                    <a:pt x="455123" y="250787"/>
                  </a:lnTo>
                  <a:lnTo>
                    <a:pt x="453575" y="250516"/>
                  </a:lnTo>
                  <a:lnTo>
                    <a:pt x="451281" y="250341"/>
                  </a:lnTo>
                  <a:lnTo>
                    <a:pt x="448681" y="250329"/>
                  </a:lnTo>
                  <a:lnTo>
                    <a:pt x="446839" y="255670"/>
                  </a:lnTo>
                  <a:lnTo>
                    <a:pt x="445522" y="257544"/>
                  </a:lnTo>
                  <a:lnTo>
                    <a:pt x="444773" y="257542"/>
                  </a:lnTo>
                  <a:lnTo>
                    <a:pt x="442769" y="256632"/>
                  </a:lnTo>
                  <a:lnTo>
                    <a:pt x="441905" y="256773"/>
                  </a:lnTo>
                  <a:lnTo>
                    <a:pt x="439591" y="261512"/>
                  </a:lnTo>
                  <a:lnTo>
                    <a:pt x="439262" y="262654"/>
                  </a:lnTo>
                  <a:lnTo>
                    <a:pt x="439111" y="263514"/>
                  </a:lnTo>
                  <a:lnTo>
                    <a:pt x="440342" y="265344"/>
                  </a:lnTo>
                  <a:lnTo>
                    <a:pt x="441810" y="266849"/>
                  </a:lnTo>
                  <a:lnTo>
                    <a:pt x="443568" y="267439"/>
                  </a:lnTo>
                  <a:lnTo>
                    <a:pt x="444941" y="266991"/>
                  </a:lnTo>
                  <a:lnTo>
                    <a:pt x="446056" y="267598"/>
                  </a:lnTo>
                  <a:lnTo>
                    <a:pt x="447371" y="269114"/>
                  </a:lnTo>
                  <a:lnTo>
                    <a:pt x="449616" y="270114"/>
                  </a:lnTo>
                  <a:lnTo>
                    <a:pt x="452795" y="270598"/>
                  </a:lnTo>
                  <a:lnTo>
                    <a:pt x="454592" y="271796"/>
                  </a:lnTo>
                  <a:lnTo>
                    <a:pt x="454814" y="272828"/>
                  </a:lnTo>
                  <a:lnTo>
                    <a:pt x="454658" y="273875"/>
                  </a:lnTo>
                  <a:lnTo>
                    <a:pt x="454375" y="276606"/>
                  </a:lnTo>
                  <a:lnTo>
                    <a:pt x="454067" y="278178"/>
                  </a:lnTo>
                  <a:lnTo>
                    <a:pt x="452359" y="282301"/>
                  </a:lnTo>
                  <a:lnTo>
                    <a:pt x="451139" y="285855"/>
                  </a:lnTo>
                  <a:lnTo>
                    <a:pt x="451772" y="287543"/>
                  </a:lnTo>
                  <a:lnTo>
                    <a:pt x="452223" y="288231"/>
                  </a:lnTo>
                  <a:lnTo>
                    <a:pt x="452650" y="288762"/>
                  </a:lnTo>
                  <a:lnTo>
                    <a:pt x="454019" y="290093"/>
                  </a:lnTo>
                  <a:lnTo>
                    <a:pt x="454974" y="291411"/>
                  </a:lnTo>
                  <a:lnTo>
                    <a:pt x="454160" y="294767"/>
                  </a:lnTo>
                  <a:lnTo>
                    <a:pt x="454611" y="295650"/>
                  </a:lnTo>
                  <a:lnTo>
                    <a:pt x="456451" y="296240"/>
                  </a:lnTo>
                  <a:lnTo>
                    <a:pt x="458429" y="296690"/>
                  </a:lnTo>
                  <a:lnTo>
                    <a:pt x="459115" y="297245"/>
                  </a:lnTo>
                  <a:lnTo>
                    <a:pt x="457401" y="300651"/>
                  </a:lnTo>
                  <a:lnTo>
                    <a:pt x="457763" y="303020"/>
                  </a:lnTo>
                  <a:lnTo>
                    <a:pt x="458487" y="305241"/>
                  </a:lnTo>
                  <a:lnTo>
                    <a:pt x="459012" y="308872"/>
                  </a:lnTo>
                  <a:lnTo>
                    <a:pt x="459090" y="309253"/>
                  </a:lnTo>
                  <a:lnTo>
                    <a:pt x="458952" y="310163"/>
                  </a:lnTo>
                  <a:lnTo>
                    <a:pt x="460074" y="312980"/>
                  </a:lnTo>
                  <a:lnTo>
                    <a:pt x="461810" y="318472"/>
                  </a:lnTo>
                  <a:lnTo>
                    <a:pt x="461940" y="320524"/>
                  </a:lnTo>
                  <a:lnTo>
                    <a:pt x="461843" y="322684"/>
                  </a:lnTo>
                  <a:lnTo>
                    <a:pt x="461322" y="326302"/>
                  </a:lnTo>
                  <a:lnTo>
                    <a:pt x="459584" y="326286"/>
                  </a:lnTo>
                  <a:lnTo>
                    <a:pt x="461139" y="328704"/>
                  </a:lnTo>
                  <a:lnTo>
                    <a:pt x="461634" y="330441"/>
                  </a:lnTo>
                  <a:lnTo>
                    <a:pt x="461847" y="332864"/>
                  </a:lnTo>
                  <a:lnTo>
                    <a:pt x="459977" y="333159"/>
                  </a:lnTo>
                  <a:lnTo>
                    <a:pt x="458658" y="332888"/>
                  </a:lnTo>
                  <a:lnTo>
                    <a:pt x="457554" y="330766"/>
                  </a:lnTo>
                  <a:lnTo>
                    <a:pt x="457043" y="332695"/>
                  </a:lnTo>
                  <a:lnTo>
                    <a:pt x="455067" y="334479"/>
                  </a:lnTo>
                  <a:lnTo>
                    <a:pt x="454358" y="333608"/>
                  </a:lnTo>
                  <a:lnTo>
                    <a:pt x="453954" y="332672"/>
                  </a:lnTo>
                  <a:lnTo>
                    <a:pt x="453877" y="331025"/>
                  </a:lnTo>
                  <a:lnTo>
                    <a:pt x="454961" y="324720"/>
                  </a:lnTo>
                  <a:lnTo>
                    <a:pt x="454740" y="324009"/>
                  </a:lnTo>
                  <a:lnTo>
                    <a:pt x="454254" y="323543"/>
                  </a:lnTo>
                  <a:lnTo>
                    <a:pt x="453177" y="323293"/>
                  </a:lnTo>
                  <a:lnTo>
                    <a:pt x="452780" y="322016"/>
                  </a:lnTo>
                  <a:lnTo>
                    <a:pt x="451126" y="328739"/>
                  </a:lnTo>
                  <a:lnTo>
                    <a:pt x="451856" y="331482"/>
                  </a:lnTo>
                  <a:lnTo>
                    <a:pt x="451521" y="332734"/>
                  </a:lnTo>
                  <a:lnTo>
                    <a:pt x="448455" y="333787"/>
                  </a:lnTo>
                  <a:lnTo>
                    <a:pt x="445347" y="331260"/>
                  </a:lnTo>
                  <a:lnTo>
                    <a:pt x="444950" y="330452"/>
                  </a:lnTo>
                  <a:lnTo>
                    <a:pt x="444767" y="331873"/>
                  </a:lnTo>
                  <a:lnTo>
                    <a:pt x="444203" y="333600"/>
                  </a:lnTo>
                  <a:lnTo>
                    <a:pt x="441292" y="333288"/>
                  </a:lnTo>
                  <a:lnTo>
                    <a:pt x="439849" y="331936"/>
                  </a:lnTo>
                  <a:lnTo>
                    <a:pt x="440791" y="329633"/>
                  </a:lnTo>
                  <a:lnTo>
                    <a:pt x="442596" y="324083"/>
                  </a:lnTo>
                  <a:lnTo>
                    <a:pt x="442933" y="321608"/>
                  </a:lnTo>
                  <a:lnTo>
                    <a:pt x="440519" y="319793"/>
                  </a:lnTo>
                  <a:lnTo>
                    <a:pt x="438470" y="318679"/>
                  </a:lnTo>
                  <a:lnTo>
                    <a:pt x="437297" y="316155"/>
                  </a:lnTo>
                  <a:lnTo>
                    <a:pt x="437744" y="318926"/>
                  </a:lnTo>
                  <a:lnTo>
                    <a:pt x="438830" y="319911"/>
                  </a:lnTo>
                  <a:lnTo>
                    <a:pt x="440428" y="320606"/>
                  </a:lnTo>
                  <a:lnTo>
                    <a:pt x="442115" y="322021"/>
                  </a:lnTo>
                  <a:lnTo>
                    <a:pt x="440895" y="323747"/>
                  </a:lnTo>
                  <a:lnTo>
                    <a:pt x="439716" y="324821"/>
                  </a:lnTo>
                  <a:lnTo>
                    <a:pt x="437453" y="328894"/>
                  </a:lnTo>
                  <a:lnTo>
                    <a:pt x="434695" y="331167"/>
                  </a:lnTo>
                  <a:lnTo>
                    <a:pt x="431477" y="332877"/>
                  </a:lnTo>
                  <a:lnTo>
                    <a:pt x="420918" y="335394"/>
                  </a:lnTo>
                  <a:lnTo>
                    <a:pt x="418707" y="336414"/>
                  </a:lnTo>
                  <a:lnTo>
                    <a:pt x="415466" y="339548"/>
                  </a:lnTo>
                  <a:lnTo>
                    <a:pt x="413375" y="342523"/>
                  </a:lnTo>
                  <a:lnTo>
                    <a:pt x="412993" y="345536"/>
                  </a:lnTo>
                  <a:lnTo>
                    <a:pt x="414177" y="348788"/>
                  </a:lnTo>
                  <a:lnTo>
                    <a:pt x="415140" y="353879"/>
                  </a:lnTo>
                  <a:lnTo>
                    <a:pt x="415938" y="354915"/>
                  </a:lnTo>
                  <a:lnTo>
                    <a:pt x="414811" y="356769"/>
                  </a:lnTo>
                  <a:lnTo>
                    <a:pt x="412853" y="358739"/>
                  </a:lnTo>
                  <a:lnTo>
                    <a:pt x="411229" y="361394"/>
                  </a:lnTo>
                  <a:lnTo>
                    <a:pt x="411378" y="362851"/>
                  </a:lnTo>
                  <a:lnTo>
                    <a:pt x="410961" y="363834"/>
                  </a:lnTo>
                  <a:lnTo>
                    <a:pt x="405396" y="367094"/>
                  </a:lnTo>
                  <a:lnTo>
                    <a:pt x="404226" y="368998"/>
                  </a:lnTo>
                  <a:lnTo>
                    <a:pt x="402695" y="370889"/>
                  </a:lnTo>
                  <a:lnTo>
                    <a:pt x="400862" y="369807"/>
                  </a:lnTo>
                  <a:lnTo>
                    <a:pt x="399791" y="369824"/>
                  </a:lnTo>
                  <a:lnTo>
                    <a:pt x="401266" y="371324"/>
                  </a:lnTo>
                  <a:lnTo>
                    <a:pt x="401067" y="372316"/>
                  </a:lnTo>
                  <a:lnTo>
                    <a:pt x="400549" y="372897"/>
                  </a:lnTo>
                  <a:lnTo>
                    <a:pt x="399149" y="373440"/>
                  </a:lnTo>
                  <a:lnTo>
                    <a:pt x="391116" y="375832"/>
                  </a:lnTo>
                  <a:lnTo>
                    <a:pt x="384971" y="378103"/>
                  </a:lnTo>
                  <a:lnTo>
                    <a:pt x="383243" y="378011"/>
                  </a:lnTo>
                  <a:lnTo>
                    <a:pt x="383559" y="377322"/>
                  </a:lnTo>
                  <a:lnTo>
                    <a:pt x="384634" y="376712"/>
                  </a:lnTo>
                  <a:lnTo>
                    <a:pt x="384530" y="374105"/>
                  </a:lnTo>
                  <a:lnTo>
                    <a:pt x="383403" y="373626"/>
                  </a:lnTo>
                  <a:lnTo>
                    <a:pt x="382427" y="373438"/>
                  </a:lnTo>
                  <a:lnTo>
                    <a:pt x="377754" y="376615"/>
                  </a:lnTo>
                  <a:lnTo>
                    <a:pt x="375856" y="379757"/>
                  </a:lnTo>
                  <a:lnTo>
                    <a:pt x="376253" y="380355"/>
                  </a:lnTo>
                  <a:lnTo>
                    <a:pt x="377309" y="380207"/>
                  </a:lnTo>
                  <a:lnTo>
                    <a:pt x="380458" y="378425"/>
                  </a:lnTo>
                  <a:lnTo>
                    <a:pt x="381917" y="378931"/>
                  </a:lnTo>
                  <a:lnTo>
                    <a:pt x="382021" y="379628"/>
                  </a:lnTo>
                  <a:lnTo>
                    <a:pt x="377245" y="382342"/>
                  </a:lnTo>
                  <a:lnTo>
                    <a:pt x="367193" y="391128"/>
                  </a:lnTo>
                  <a:lnTo>
                    <a:pt x="366724" y="392854"/>
                  </a:lnTo>
                  <a:lnTo>
                    <a:pt x="365420" y="394810"/>
                  </a:lnTo>
                  <a:lnTo>
                    <a:pt x="363619" y="396651"/>
                  </a:lnTo>
                  <a:lnTo>
                    <a:pt x="360378" y="401107"/>
                  </a:lnTo>
                  <a:lnTo>
                    <a:pt x="354163" y="407721"/>
                  </a:lnTo>
                  <a:lnTo>
                    <a:pt x="352446" y="410187"/>
                  </a:lnTo>
                  <a:lnTo>
                    <a:pt x="342500" y="415277"/>
                  </a:lnTo>
                  <a:lnTo>
                    <a:pt x="340686" y="416790"/>
                  </a:lnTo>
                  <a:lnTo>
                    <a:pt x="336611" y="421741"/>
                  </a:lnTo>
                  <a:lnTo>
                    <a:pt x="332418" y="425793"/>
                  </a:lnTo>
                  <a:lnTo>
                    <a:pt x="327520" y="429147"/>
                  </a:lnTo>
                  <a:lnTo>
                    <a:pt x="319036" y="433427"/>
                  </a:lnTo>
                  <a:lnTo>
                    <a:pt x="313871" y="437473"/>
                  </a:lnTo>
                  <a:lnTo>
                    <a:pt x="312256" y="440161"/>
                  </a:lnTo>
                  <a:lnTo>
                    <a:pt x="312154" y="441116"/>
                  </a:lnTo>
                  <a:lnTo>
                    <a:pt x="312713" y="442424"/>
                  </a:lnTo>
                  <a:lnTo>
                    <a:pt x="313659" y="443638"/>
                  </a:lnTo>
                  <a:lnTo>
                    <a:pt x="313875" y="444601"/>
                  </a:lnTo>
                  <a:lnTo>
                    <a:pt x="313409" y="446335"/>
                  </a:lnTo>
                  <a:lnTo>
                    <a:pt x="313154" y="447294"/>
                  </a:lnTo>
                  <a:lnTo>
                    <a:pt x="311643" y="449668"/>
                  </a:lnTo>
                  <a:lnTo>
                    <a:pt x="309049" y="451360"/>
                  </a:lnTo>
                  <a:lnTo>
                    <a:pt x="300656" y="454899"/>
                  </a:lnTo>
                  <a:lnTo>
                    <a:pt x="299546" y="454786"/>
                  </a:lnTo>
                  <a:lnTo>
                    <a:pt x="292694" y="454087"/>
                  </a:lnTo>
                  <a:lnTo>
                    <a:pt x="290135" y="454727"/>
                  </a:lnTo>
                  <a:lnTo>
                    <a:pt x="289083" y="456386"/>
                  </a:lnTo>
                  <a:lnTo>
                    <a:pt x="286730" y="463241"/>
                  </a:lnTo>
                  <a:lnTo>
                    <a:pt x="284473" y="465062"/>
                  </a:lnTo>
                  <a:lnTo>
                    <a:pt x="283663" y="466710"/>
                  </a:lnTo>
                  <a:lnTo>
                    <a:pt x="283337" y="467852"/>
                  </a:lnTo>
                  <a:lnTo>
                    <a:pt x="281990" y="467822"/>
                  </a:lnTo>
                  <a:lnTo>
                    <a:pt x="280817" y="467311"/>
                  </a:lnTo>
                  <a:lnTo>
                    <a:pt x="279960" y="467680"/>
                  </a:lnTo>
                  <a:lnTo>
                    <a:pt x="278984" y="465382"/>
                  </a:lnTo>
                  <a:lnTo>
                    <a:pt x="277347" y="464912"/>
                  </a:lnTo>
                  <a:lnTo>
                    <a:pt x="275993" y="464755"/>
                  </a:lnTo>
                  <a:lnTo>
                    <a:pt x="270206" y="467072"/>
                  </a:lnTo>
                  <a:lnTo>
                    <a:pt x="268185" y="468930"/>
                  </a:lnTo>
                  <a:lnTo>
                    <a:pt x="263931" y="477695"/>
                  </a:lnTo>
                  <a:lnTo>
                    <a:pt x="262877" y="483341"/>
                  </a:lnTo>
                  <a:lnTo>
                    <a:pt x="263877" y="489574"/>
                  </a:lnTo>
                  <a:lnTo>
                    <a:pt x="265354" y="494552"/>
                  </a:lnTo>
                  <a:lnTo>
                    <a:pt x="265648" y="496799"/>
                  </a:lnTo>
                  <a:lnTo>
                    <a:pt x="265457" y="499708"/>
                  </a:lnTo>
                  <a:lnTo>
                    <a:pt x="264708" y="501126"/>
                  </a:lnTo>
                  <a:lnTo>
                    <a:pt x="264166" y="502803"/>
                  </a:lnTo>
                  <a:lnTo>
                    <a:pt x="264873" y="506259"/>
                  </a:lnTo>
                  <a:lnTo>
                    <a:pt x="266658" y="510784"/>
                  </a:lnTo>
                  <a:lnTo>
                    <a:pt x="267094" y="512692"/>
                  </a:lnTo>
                  <a:lnTo>
                    <a:pt x="267131" y="514667"/>
                  </a:lnTo>
                  <a:lnTo>
                    <a:pt x="268474" y="519187"/>
                  </a:lnTo>
                  <a:lnTo>
                    <a:pt x="267569" y="518372"/>
                  </a:lnTo>
                  <a:lnTo>
                    <a:pt x="266857" y="516470"/>
                  </a:lnTo>
                  <a:lnTo>
                    <a:pt x="265151" y="514038"/>
                  </a:lnTo>
                  <a:lnTo>
                    <a:pt x="263069" y="516459"/>
                  </a:lnTo>
                  <a:lnTo>
                    <a:pt x="264223" y="518205"/>
                  </a:lnTo>
                  <a:lnTo>
                    <a:pt x="268116" y="520276"/>
                  </a:lnTo>
                  <a:lnTo>
                    <a:pt x="269267" y="521972"/>
                  </a:lnTo>
                  <a:lnTo>
                    <a:pt x="266762" y="537058"/>
                  </a:lnTo>
                  <a:lnTo>
                    <a:pt x="264859" y="542410"/>
                  </a:lnTo>
                  <a:lnTo>
                    <a:pt x="262525" y="545917"/>
                  </a:lnTo>
                  <a:lnTo>
                    <a:pt x="261292" y="547271"/>
                  </a:lnTo>
                  <a:lnTo>
                    <a:pt x="258567" y="552804"/>
                  </a:lnTo>
                  <a:lnTo>
                    <a:pt x="256641" y="559497"/>
                  </a:lnTo>
                  <a:lnTo>
                    <a:pt x="256259" y="562072"/>
                  </a:lnTo>
                  <a:lnTo>
                    <a:pt x="257126" y="564954"/>
                  </a:lnTo>
                  <a:lnTo>
                    <a:pt x="256144" y="566657"/>
                  </a:lnTo>
                  <a:lnTo>
                    <a:pt x="254911" y="567957"/>
                  </a:lnTo>
                  <a:lnTo>
                    <a:pt x="257252" y="567372"/>
                  </a:lnTo>
                  <a:lnTo>
                    <a:pt x="258053" y="568936"/>
                  </a:lnTo>
                  <a:lnTo>
                    <a:pt x="258349" y="570547"/>
                  </a:lnTo>
                  <a:lnTo>
                    <a:pt x="258383" y="580124"/>
                  </a:lnTo>
                  <a:lnTo>
                    <a:pt x="258118" y="590100"/>
                  </a:lnTo>
                  <a:lnTo>
                    <a:pt x="256321" y="590507"/>
                  </a:lnTo>
                  <a:lnTo>
                    <a:pt x="254341" y="590611"/>
                  </a:lnTo>
                  <a:lnTo>
                    <a:pt x="252598" y="590328"/>
                  </a:lnTo>
                  <a:lnTo>
                    <a:pt x="251339" y="589942"/>
                  </a:lnTo>
                  <a:lnTo>
                    <a:pt x="248219" y="590471"/>
                  </a:lnTo>
                  <a:lnTo>
                    <a:pt x="246539" y="591572"/>
                  </a:lnTo>
                  <a:lnTo>
                    <a:pt x="245192" y="593401"/>
                  </a:lnTo>
                  <a:lnTo>
                    <a:pt x="245285" y="596519"/>
                  </a:lnTo>
                  <a:lnTo>
                    <a:pt x="239502" y="604379"/>
                  </a:lnTo>
                  <a:lnTo>
                    <a:pt x="238256" y="606997"/>
                  </a:lnTo>
                  <a:lnTo>
                    <a:pt x="237796" y="609516"/>
                  </a:lnTo>
                  <a:lnTo>
                    <a:pt x="238547" y="610833"/>
                  </a:lnTo>
                  <a:lnTo>
                    <a:pt x="240024" y="612182"/>
                  </a:lnTo>
                  <a:lnTo>
                    <a:pt x="241950" y="612726"/>
                  </a:lnTo>
                  <a:lnTo>
                    <a:pt x="245676" y="613268"/>
                  </a:lnTo>
                  <a:lnTo>
                    <a:pt x="247463" y="613992"/>
                  </a:lnTo>
                  <a:lnTo>
                    <a:pt x="248681" y="615325"/>
                  </a:lnTo>
                  <a:lnTo>
                    <a:pt x="244291" y="613906"/>
                  </a:lnTo>
                  <a:lnTo>
                    <a:pt x="239133" y="613627"/>
                  </a:lnTo>
                  <a:lnTo>
                    <a:pt x="226791" y="617272"/>
                  </a:lnTo>
                  <a:lnTo>
                    <a:pt x="223542" y="619832"/>
                  </a:lnTo>
                  <a:lnTo>
                    <a:pt x="221728" y="622045"/>
                  </a:lnTo>
                  <a:lnTo>
                    <a:pt x="220479" y="627114"/>
                  </a:lnTo>
                  <a:lnTo>
                    <a:pt x="220266" y="630500"/>
                  </a:lnTo>
                  <a:lnTo>
                    <a:pt x="218802" y="633323"/>
                  </a:lnTo>
                  <a:lnTo>
                    <a:pt x="212393" y="637658"/>
                  </a:lnTo>
                  <a:lnTo>
                    <a:pt x="208344" y="638992"/>
                  </a:lnTo>
                  <a:lnTo>
                    <a:pt x="206804" y="640140"/>
                  </a:lnTo>
                  <a:lnTo>
                    <a:pt x="202026" y="638649"/>
                  </a:lnTo>
                  <a:lnTo>
                    <a:pt x="196817" y="634851"/>
                  </a:lnTo>
                  <a:lnTo>
                    <a:pt x="194628" y="632817"/>
                  </a:lnTo>
                  <a:lnTo>
                    <a:pt x="186897" y="623021"/>
                  </a:lnTo>
                  <a:lnTo>
                    <a:pt x="185485" y="621780"/>
                  </a:lnTo>
                  <a:lnTo>
                    <a:pt x="183926" y="617590"/>
                  </a:lnTo>
                  <a:lnTo>
                    <a:pt x="183679" y="616028"/>
                  </a:lnTo>
                  <a:lnTo>
                    <a:pt x="183250" y="615406"/>
                  </a:lnTo>
                  <a:lnTo>
                    <a:pt x="182514" y="614981"/>
                  </a:lnTo>
                  <a:lnTo>
                    <a:pt x="182161" y="614334"/>
                  </a:lnTo>
                  <a:lnTo>
                    <a:pt x="180425" y="609533"/>
                  </a:lnTo>
                  <a:lnTo>
                    <a:pt x="179713" y="604527"/>
                  </a:lnTo>
                  <a:lnTo>
                    <a:pt x="178607" y="598933"/>
                  </a:lnTo>
                  <a:lnTo>
                    <a:pt x="179542" y="599318"/>
                  </a:lnTo>
                  <a:lnTo>
                    <a:pt x="180833" y="601160"/>
                  </a:lnTo>
                  <a:lnTo>
                    <a:pt x="181479" y="603838"/>
                  </a:lnTo>
                  <a:lnTo>
                    <a:pt x="181552" y="607575"/>
                  </a:lnTo>
                  <a:lnTo>
                    <a:pt x="182524" y="608008"/>
                  </a:lnTo>
                  <a:lnTo>
                    <a:pt x="183392" y="607656"/>
                  </a:lnTo>
                  <a:lnTo>
                    <a:pt x="180909" y="599044"/>
                  </a:lnTo>
                  <a:lnTo>
                    <a:pt x="178748" y="596904"/>
                  </a:lnTo>
                  <a:lnTo>
                    <a:pt x="178173" y="596763"/>
                  </a:lnTo>
                  <a:lnTo>
                    <a:pt x="177572" y="595382"/>
                  </a:lnTo>
                  <a:lnTo>
                    <a:pt x="177508" y="593648"/>
                  </a:lnTo>
                  <a:lnTo>
                    <a:pt x="177702" y="592824"/>
                  </a:lnTo>
                  <a:lnTo>
                    <a:pt x="175975" y="590001"/>
                  </a:lnTo>
                  <a:lnTo>
                    <a:pt x="175372" y="588320"/>
                  </a:lnTo>
                  <a:lnTo>
                    <a:pt x="171535" y="579783"/>
                  </a:lnTo>
                  <a:lnTo>
                    <a:pt x="169812" y="573665"/>
                  </a:lnTo>
                  <a:lnTo>
                    <a:pt x="167140" y="566855"/>
                  </a:lnTo>
                  <a:lnTo>
                    <a:pt x="165422" y="564467"/>
                  </a:lnTo>
                  <a:lnTo>
                    <a:pt x="162733" y="559208"/>
                  </a:lnTo>
                  <a:lnTo>
                    <a:pt x="160481" y="556763"/>
                  </a:lnTo>
                  <a:lnTo>
                    <a:pt x="158093" y="553484"/>
                  </a:lnTo>
                  <a:lnTo>
                    <a:pt x="156216" y="552029"/>
                  </a:lnTo>
                  <a:lnTo>
                    <a:pt x="155484" y="551263"/>
                  </a:lnTo>
                  <a:lnTo>
                    <a:pt x="149931" y="539883"/>
                  </a:lnTo>
                  <a:lnTo>
                    <a:pt x="148222" y="533593"/>
                  </a:lnTo>
                  <a:lnTo>
                    <a:pt x="146778" y="530620"/>
                  </a:lnTo>
                  <a:lnTo>
                    <a:pt x="146061" y="528360"/>
                  </a:lnTo>
                  <a:lnTo>
                    <a:pt x="144111" y="518695"/>
                  </a:lnTo>
                  <a:lnTo>
                    <a:pt x="144096" y="516966"/>
                  </a:lnTo>
                  <a:lnTo>
                    <a:pt x="143858" y="515077"/>
                  </a:lnTo>
                  <a:lnTo>
                    <a:pt x="142478" y="510976"/>
                  </a:lnTo>
                  <a:lnTo>
                    <a:pt x="140047" y="506544"/>
                  </a:lnTo>
                  <a:lnTo>
                    <a:pt x="139343" y="503781"/>
                  </a:lnTo>
                  <a:lnTo>
                    <a:pt x="139350" y="502706"/>
                  </a:lnTo>
                  <a:lnTo>
                    <a:pt x="137805" y="498399"/>
                  </a:lnTo>
                  <a:lnTo>
                    <a:pt x="137475" y="496429"/>
                  </a:lnTo>
                  <a:lnTo>
                    <a:pt x="136432" y="494607"/>
                  </a:lnTo>
                  <a:lnTo>
                    <a:pt x="135223" y="492934"/>
                  </a:lnTo>
                  <a:lnTo>
                    <a:pt x="133955" y="491593"/>
                  </a:lnTo>
                  <a:lnTo>
                    <a:pt x="130986" y="487225"/>
                  </a:lnTo>
                  <a:lnTo>
                    <a:pt x="129921" y="486160"/>
                  </a:lnTo>
                  <a:lnTo>
                    <a:pt x="127900" y="483325"/>
                  </a:lnTo>
                  <a:lnTo>
                    <a:pt x="126464" y="478084"/>
                  </a:lnTo>
                  <a:lnTo>
                    <a:pt x="124618" y="476035"/>
                  </a:lnTo>
                  <a:lnTo>
                    <a:pt x="127518" y="476035"/>
                  </a:lnTo>
                  <a:lnTo>
                    <a:pt x="125750" y="474100"/>
                  </a:lnTo>
                  <a:lnTo>
                    <a:pt x="124907" y="472830"/>
                  </a:lnTo>
                  <a:lnTo>
                    <a:pt x="123976" y="472049"/>
                  </a:lnTo>
                  <a:lnTo>
                    <a:pt x="125326" y="470094"/>
                  </a:lnTo>
                  <a:lnTo>
                    <a:pt x="123115" y="470149"/>
                  </a:lnTo>
                  <a:lnTo>
                    <a:pt x="121945" y="468973"/>
                  </a:lnTo>
                  <a:lnTo>
                    <a:pt x="120349" y="465297"/>
                  </a:lnTo>
                  <a:lnTo>
                    <a:pt x="117438" y="461144"/>
                  </a:lnTo>
                  <a:lnTo>
                    <a:pt x="116944" y="458924"/>
                  </a:lnTo>
                  <a:lnTo>
                    <a:pt x="114376" y="451939"/>
                  </a:lnTo>
                  <a:lnTo>
                    <a:pt x="112199" y="435144"/>
                  </a:lnTo>
                  <a:lnTo>
                    <a:pt x="110206" y="427652"/>
                  </a:lnTo>
                  <a:lnTo>
                    <a:pt x="110362" y="425498"/>
                  </a:lnTo>
                  <a:lnTo>
                    <a:pt x="107954" y="419002"/>
                  </a:lnTo>
                  <a:lnTo>
                    <a:pt x="106777" y="414642"/>
                  </a:lnTo>
                  <a:lnTo>
                    <a:pt x="106293" y="410951"/>
                  </a:lnTo>
                  <a:lnTo>
                    <a:pt x="105654" y="408520"/>
                  </a:lnTo>
                  <a:lnTo>
                    <a:pt x="105080" y="403706"/>
                  </a:lnTo>
                  <a:lnTo>
                    <a:pt x="104158" y="402180"/>
                  </a:lnTo>
                  <a:lnTo>
                    <a:pt x="104056" y="401260"/>
                  </a:lnTo>
                  <a:lnTo>
                    <a:pt x="104672" y="399064"/>
                  </a:lnTo>
                  <a:lnTo>
                    <a:pt x="106399" y="395670"/>
                  </a:lnTo>
                  <a:lnTo>
                    <a:pt x="107034" y="393518"/>
                  </a:lnTo>
                  <a:lnTo>
                    <a:pt x="106293" y="390487"/>
                  </a:lnTo>
                  <a:lnTo>
                    <a:pt x="104715" y="393669"/>
                  </a:lnTo>
                  <a:lnTo>
                    <a:pt x="103255" y="394561"/>
                  </a:lnTo>
                  <a:lnTo>
                    <a:pt x="102556" y="392184"/>
                  </a:lnTo>
                  <a:lnTo>
                    <a:pt x="102549" y="388987"/>
                  </a:lnTo>
                  <a:lnTo>
                    <a:pt x="102368" y="388222"/>
                  </a:lnTo>
                  <a:lnTo>
                    <a:pt x="102746" y="387148"/>
                  </a:lnTo>
                  <a:lnTo>
                    <a:pt x="106628" y="387641"/>
                  </a:lnTo>
                  <a:lnTo>
                    <a:pt x="102221" y="385678"/>
                  </a:lnTo>
                  <a:lnTo>
                    <a:pt x="101692" y="384527"/>
                  </a:lnTo>
                  <a:lnTo>
                    <a:pt x="101525" y="383669"/>
                  </a:lnTo>
                  <a:lnTo>
                    <a:pt x="102476" y="382079"/>
                  </a:lnTo>
                  <a:lnTo>
                    <a:pt x="100865" y="380737"/>
                  </a:lnTo>
                  <a:lnTo>
                    <a:pt x="100221" y="376628"/>
                  </a:lnTo>
                  <a:lnTo>
                    <a:pt x="99746" y="375690"/>
                  </a:lnTo>
                  <a:lnTo>
                    <a:pt x="99565" y="374931"/>
                  </a:lnTo>
                  <a:lnTo>
                    <a:pt x="100476" y="369248"/>
                  </a:lnTo>
                  <a:lnTo>
                    <a:pt x="104283" y="358074"/>
                  </a:lnTo>
                  <a:lnTo>
                    <a:pt x="104562" y="355547"/>
                  </a:lnTo>
                  <a:lnTo>
                    <a:pt x="104233" y="351953"/>
                  </a:lnTo>
                  <a:lnTo>
                    <a:pt x="103385" y="349091"/>
                  </a:lnTo>
                  <a:lnTo>
                    <a:pt x="103026" y="346062"/>
                  </a:lnTo>
                  <a:lnTo>
                    <a:pt x="102795" y="345286"/>
                  </a:lnTo>
                  <a:lnTo>
                    <a:pt x="101418" y="345010"/>
                  </a:lnTo>
                  <a:lnTo>
                    <a:pt x="100109" y="343889"/>
                  </a:lnTo>
                  <a:lnTo>
                    <a:pt x="98593" y="339395"/>
                  </a:lnTo>
                  <a:lnTo>
                    <a:pt x="99979" y="337919"/>
                  </a:lnTo>
                  <a:lnTo>
                    <a:pt x="101046" y="337108"/>
                  </a:lnTo>
                  <a:lnTo>
                    <a:pt x="99578" y="337453"/>
                  </a:lnTo>
                  <a:lnTo>
                    <a:pt x="98360" y="337316"/>
                  </a:lnTo>
                  <a:lnTo>
                    <a:pt x="100666" y="335245"/>
                  </a:lnTo>
                  <a:lnTo>
                    <a:pt x="102722" y="333656"/>
                  </a:lnTo>
                  <a:lnTo>
                    <a:pt x="107408" y="331810"/>
                  </a:lnTo>
                  <a:lnTo>
                    <a:pt x="109399" y="330632"/>
                  </a:lnTo>
                  <a:lnTo>
                    <a:pt x="106449" y="331692"/>
                  </a:lnTo>
                  <a:lnTo>
                    <a:pt x="103368" y="332096"/>
                  </a:lnTo>
                  <a:lnTo>
                    <a:pt x="96808" y="331880"/>
                  </a:lnTo>
                  <a:lnTo>
                    <a:pt x="97900" y="327685"/>
                  </a:lnTo>
                  <a:lnTo>
                    <a:pt x="99040" y="326284"/>
                  </a:lnTo>
                  <a:lnTo>
                    <a:pt x="100282" y="325497"/>
                  </a:lnTo>
                  <a:lnTo>
                    <a:pt x="98453" y="325734"/>
                  </a:lnTo>
                  <a:lnTo>
                    <a:pt x="96348" y="325398"/>
                  </a:lnTo>
                  <a:lnTo>
                    <a:pt x="97027" y="321134"/>
                  </a:lnTo>
                  <a:lnTo>
                    <a:pt x="98684" y="320213"/>
                  </a:lnTo>
                  <a:lnTo>
                    <a:pt x="100472" y="320037"/>
                  </a:lnTo>
                  <a:lnTo>
                    <a:pt x="102692" y="319431"/>
                  </a:lnTo>
                  <a:lnTo>
                    <a:pt x="100321" y="318727"/>
                  </a:lnTo>
                  <a:lnTo>
                    <a:pt x="97848" y="318390"/>
                  </a:lnTo>
                  <a:lnTo>
                    <a:pt x="94881" y="319088"/>
                  </a:lnTo>
                  <a:lnTo>
                    <a:pt x="92154" y="318574"/>
                  </a:lnTo>
                  <a:lnTo>
                    <a:pt x="88841" y="318585"/>
                  </a:lnTo>
                  <a:lnTo>
                    <a:pt x="90163" y="319155"/>
                  </a:lnTo>
                  <a:lnTo>
                    <a:pt x="91575" y="320455"/>
                  </a:lnTo>
                  <a:lnTo>
                    <a:pt x="90867" y="322764"/>
                  </a:lnTo>
                  <a:lnTo>
                    <a:pt x="90202" y="324205"/>
                  </a:lnTo>
                  <a:lnTo>
                    <a:pt x="88375" y="325198"/>
                  </a:lnTo>
                  <a:lnTo>
                    <a:pt x="86887" y="326702"/>
                  </a:lnTo>
                  <a:lnTo>
                    <a:pt x="86470" y="328023"/>
                  </a:lnTo>
                  <a:lnTo>
                    <a:pt x="85622" y="328949"/>
                  </a:lnTo>
                  <a:lnTo>
                    <a:pt x="87075" y="329609"/>
                  </a:lnTo>
                  <a:lnTo>
                    <a:pt x="88578" y="330079"/>
                  </a:lnTo>
                  <a:lnTo>
                    <a:pt x="89450" y="331147"/>
                  </a:lnTo>
                  <a:lnTo>
                    <a:pt x="90474" y="332699"/>
                  </a:lnTo>
                  <a:lnTo>
                    <a:pt x="90415" y="335714"/>
                  </a:lnTo>
                  <a:lnTo>
                    <a:pt x="86492" y="342815"/>
                  </a:lnTo>
                  <a:lnTo>
                    <a:pt x="85136" y="344396"/>
                  </a:lnTo>
                  <a:lnTo>
                    <a:pt x="75315" y="348673"/>
                  </a:lnTo>
                  <a:lnTo>
                    <a:pt x="71454" y="351000"/>
                  </a:lnTo>
                  <a:lnTo>
                    <a:pt x="63231" y="354022"/>
                  </a:lnTo>
                  <a:lnTo>
                    <a:pt x="60026" y="354584"/>
                  </a:lnTo>
                  <a:lnTo>
                    <a:pt x="56481" y="353986"/>
                  </a:lnTo>
                  <a:lnTo>
                    <a:pt x="51300" y="351684"/>
                  </a:lnTo>
                  <a:lnTo>
                    <a:pt x="43391" y="345806"/>
                  </a:lnTo>
                  <a:lnTo>
                    <a:pt x="41335" y="343862"/>
                  </a:lnTo>
                  <a:lnTo>
                    <a:pt x="35012" y="336300"/>
                  </a:lnTo>
                  <a:lnTo>
                    <a:pt x="30447" y="332297"/>
                  </a:lnTo>
                  <a:lnTo>
                    <a:pt x="26986" y="328567"/>
                  </a:lnTo>
                  <a:lnTo>
                    <a:pt x="22701" y="325043"/>
                  </a:lnTo>
                  <a:lnTo>
                    <a:pt x="18657" y="320279"/>
                  </a:lnTo>
                  <a:lnTo>
                    <a:pt x="17798" y="318107"/>
                  </a:lnTo>
                  <a:lnTo>
                    <a:pt x="18098" y="315898"/>
                  </a:lnTo>
                  <a:lnTo>
                    <a:pt x="19605" y="314691"/>
                  </a:lnTo>
                  <a:lnTo>
                    <a:pt x="21367" y="315180"/>
                  </a:lnTo>
                  <a:lnTo>
                    <a:pt x="22757" y="317043"/>
                  </a:lnTo>
                  <a:lnTo>
                    <a:pt x="23745" y="317877"/>
                  </a:lnTo>
                  <a:lnTo>
                    <a:pt x="24578" y="318219"/>
                  </a:lnTo>
                  <a:lnTo>
                    <a:pt x="30607" y="315363"/>
                  </a:lnTo>
                  <a:lnTo>
                    <a:pt x="32950" y="315477"/>
                  </a:lnTo>
                  <a:lnTo>
                    <a:pt x="34550" y="314043"/>
                  </a:lnTo>
                  <a:lnTo>
                    <a:pt x="36574" y="314356"/>
                  </a:lnTo>
                  <a:lnTo>
                    <a:pt x="40704" y="312125"/>
                  </a:lnTo>
                  <a:lnTo>
                    <a:pt x="42436" y="311990"/>
                  </a:lnTo>
                  <a:lnTo>
                    <a:pt x="44494" y="311542"/>
                  </a:lnTo>
                  <a:lnTo>
                    <a:pt x="47821" y="305887"/>
                  </a:lnTo>
                  <a:lnTo>
                    <a:pt x="50314" y="302287"/>
                  </a:lnTo>
                  <a:lnTo>
                    <a:pt x="51929" y="301537"/>
                  </a:lnTo>
                  <a:lnTo>
                    <a:pt x="51838" y="300660"/>
                  </a:lnTo>
                  <a:lnTo>
                    <a:pt x="51393" y="299509"/>
                  </a:lnTo>
                  <a:lnTo>
                    <a:pt x="50184" y="299799"/>
                  </a:lnTo>
                  <a:lnTo>
                    <a:pt x="49338" y="300893"/>
                  </a:lnTo>
                  <a:lnTo>
                    <a:pt x="48711" y="302213"/>
                  </a:lnTo>
                  <a:lnTo>
                    <a:pt x="48081" y="302999"/>
                  </a:lnTo>
                  <a:lnTo>
                    <a:pt x="46129" y="302274"/>
                  </a:lnTo>
                  <a:lnTo>
                    <a:pt x="44813" y="302396"/>
                  </a:lnTo>
                  <a:lnTo>
                    <a:pt x="43190" y="302830"/>
                  </a:lnTo>
                  <a:lnTo>
                    <a:pt x="37254" y="304940"/>
                  </a:lnTo>
                  <a:lnTo>
                    <a:pt x="34818" y="306832"/>
                  </a:lnTo>
                  <a:lnTo>
                    <a:pt x="33160" y="307207"/>
                  </a:lnTo>
                  <a:lnTo>
                    <a:pt x="23680" y="305124"/>
                  </a:lnTo>
                  <a:lnTo>
                    <a:pt x="14418" y="300344"/>
                  </a:lnTo>
                  <a:lnTo>
                    <a:pt x="10518" y="297167"/>
                  </a:lnTo>
                  <a:lnTo>
                    <a:pt x="8052" y="293105"/>
                  </a:lnTo>
                  <a:lnTo>
                    <a:pt x="5582" y="288260"/>
                  </a:lnTo>
                  <a:lnTo>
                    <a:pt x="6385" y="286905"/>
                  </a:lnTo>
                  <a:lnTo>
                    <a:pt x="10218" y="283990"/>
                  </a:lnTo>
                  <a:lnTo>
                    <a:pt x="13526" y="281699"/>
                  </a:lnTo>
                  <a:lnTo>
                    <a:pt x="10555" y="282719"/>
                  </a:lnTo>
                  <a:lnTo>
                    <a:pt x="7337" y="284134"/>
                  </a:lnTo>
                  <a:lnTo>
                    <a:pt x="5746" y="285126"/>
                  </a:lnTo>
                  <a:lnTo>
                    <a:pt x="3943" y="287200"/>
                  </a:lnTo>
                  <a:lnTo>
                    <a:pt x="1546" y="287665"/>
                  </a:lnTo>
                  <a:lnTo>
                    <a:pt x="596" y="284580"/>
                  </a:lnTo>
                  <a:lnTo>
                    <a:pt x="0" y="281577"/>
                  </a:lnTo>
                  <a:lnTo>
                    <a:pt x="1528" y="280565"/>
                  </a:lnTo>
                  <a:lnTo>
                    <a:pt x="2597" y="279923"/>
                  </a:lnTo>
                  <a:lnTo>
                    <a:pt x="4781" y="279387"/>
                  </a:lnTo>
                  <a:lnTo>
                    <a:pt x="7156" y="279004"/>
                  </a:lnTo>
                  <a:lnTo>
                    <a:pt x="9322" y="279019"/>
                  </a:lnTo>
                  <a:lnTo>
                    <a:pt x="12362" y="279064"/>
                  </a:lnTo>
                  <a:lnTo>
                    <a:pt x="12451" y="272014"/>
                  </a:lnTo>
                  <a:lnTo>
                    <a:pt x="12706" y="271396"/>
                  </a:lnTo>
                  <a:lnTo>
                    <a:pt x="13133" y="271038"/>
                  </a:lnTo>
                  <a:lnTo>
                    <a:pt x="13623" y="270886"/>
                  </a:lnTo>
                  <a:lnTo>
                    <a:pt x="14040" y="270995"/>
                  </a:lnTo>
                  <a:lnTo>
                    <a:pt x="14666" y="272051"/>
                  </a:lnTo>
                  <a:lnTo>
                    <a:pt x="15444" y="271993"/>
                  </a:lnTo>
                  <a:lnTo>
                    <a:pt x="16269" y="271385"/>
                  </a:lnTo>
                  <a:lnTo>
                    <a:pt x="18122" y="271838"/>
                  </a:lnTo>
                  <a:lnTo>
                    <a:pt x="19603" y="271528"/>
                  </a:lnTo>
                  <a:lnTo>
                    <a:pt x="21106" y="271943"/>
                  </a:lnTo>
                  <a:lnTo>
                    <a:pt x="23660" y="271952"/>
                  </a:lnTo>
                  <a:lnTo>
                    <a:pt x="28268" y="271785"/>
                  </a:lnTo>
                  <a:lnTo>
                    <a:pt x="30827" y="271838"/>
                  </a:lnTo>
                  <a:lnTo>
                    <a:pt x="32486" y="272961"/>
                  </a:lnTo>
                  <a:lnTo>
                    <a:pt x="34300" y="274194"/>
                  </a:lnTo>
                  <a:lnTo>
                    <a:pt x="36267" y="274367"/>
                  </a:lnTo>
                  <a:lnTo>
                    <a:pt x="39111" y="274222"/>
                  </a:lnTo>
                  <a:lnTo>
                    <a:pt x="41041" y="273750"/>
                  </a:lnTo>
                  <a:lnTo>
                    <a:pt x="42015" y="272601"/>
                  </a:lnTo>
                  <a:lnTo>
                    <a:pt x="42747" y="271501"/>
                  </a:lnTo>
                  <a:lnTo>
                    <a:pt x="46966" y="269887"/>
                  </a:lnTo>
                  <a:lnTo>
                    <a:pt x="51393" y="268577"/>
                  </a:lnTo>
                  <a:lnTo>
                    <a:pt x="52665" y="268433"/>
                  </a:lnTo>
                  <a:lnTo>
                    <a:pt x="53069" y="269196"/>
                  </a:lnTo>
                  <a:lnTo>
                    <a:pt x="52866" y="270478"/>
                  </a:lnTo>
                  <a:lnTo>
                    <a:pt x="53384" y="271699"/>
                  </a:lnTo>
                  <a:lnTo>
                    <a:pt x="55157" y="272471"/>
                  </a:lnTo>
                  <a:lnTo>
                    <a:pt x="56414" y="272661"/>
                  </a:lnTo>
                  <a:lnTo>
                    <a:pt x="57541" y="272487"/>
                  </a:lnTo>
                  <a:lnTo>
                    <a:pt x="58377" y="272099"/>
                  </a:lnTo>
                  <a:lnTo>
                    <a:pt x="60171" y="270182"/>
                  </a:lnTo>
                  <a:lnTo>
                    <a:pt x="61098" y="269745"/>
                  </a:lnTo>
                  <a:lnTo>
                    <a:pt x="62307" y="269776"/>
                  </a:lnTo>
                  <a:lnTo>
                    <a:pt x="63661" y="268860"/>
                  </a:lnTo>
                  <a:lnTo>
                    <a:pt x="63689" y="268158"/>
                  </a:lnTo>
                  <a:lnTo>
                    <a:pt x="62825" y="267822"/>
                  </a:lnTo>
                  <a:lnTo>
                    <a:pt x="62095" y="266811"/>
                  </a:lnTo>
                  <a:lnTo>
                    <a:pt x="62229" y="265988"/>
                  </a:lnTo>
                  <a:lnTo>
                    <a:pt x="62020" y="264828"/>
                  </a:lnTo>
                  <a:lnTo>
                    <a:pt x="62164" y="263727"/>
                  </a:lnTo>
                  <a:lnTo>
                    <a:pt x="62739" y="262901"/>
                  </a:lnTo>
                  <a:lnTo>
                    <a:pt x="63745" y="262107"/>
                  </a:lnTo>
                  <a:lnTo>
                    <a:pt x="63145" y="260464"/>
                  </a:lnTo>
                  <a:lnTo>
                    <a:pt x="61601" y="257315"/>
                  </a:lnTo>
                  <a:lnTo>
                    <a:pt x="59983" y="253282"/>
                  </a:lnTo>
                  <a:lnTo>
                    <a:pt x="58275" y="249918"/>
                  </a:lnTo>
                  <a:lnTo>
                    <a:pt x="56109" y="246968"/>
                  </a:lnTo>
                  <a:lnTo>
                    <a:pt x="54993" y="244803"/>
                  </a:lnTo>
                  <a:lnTo>
                    <a:pt x="55107" y="240016"/>
                  </a:lnTo>
                  <a:lnTo>
                    <a:pt x="54913" y="239044"/>
                  </a:lnTo>
                  <a:lnTo>
                    <a:pt x="54170" y="238454"/>
                  </a:lnTo>
                  <a:lnTo>
                    <a:pt x="53168" y="238123"/>
                  </a:lnTo>
                  <a:lnTo>
                    <a:pt x="51760" y="238610"/>
                  </a:lnTo>
                  <a:lnTo>
                    <a:pt x="50493" y="238704"/>
                  </a:lnTo>
                  <a:lnTo>
                    <a:pt x="47766" y="238600"/>
                  </a:lnTo>
                  <a:lnTo>
                    <a:pt x="46427" y="238109"/>
                  </a:lnTo>
                  <a:lnTo>
                    <a:pt x="42790" y="233300"/>
                  </a:lnTo>
                  <a:lnTo>
                    <a:pt x="42313" y="231408"/>
                  </a:lnTo>
                  <a:lnTo>
                    <a:pt x="42293" y="229470"/>
                  </a:lnTo>
                  <a:lnTo>
                    <a:pt x="43507" y="226089"/>
                  </a:lnTo>
                  <a:lnTo>
                    <a:pt x="43874" y="222944"/>
                  </a:lnTo>
                  <a:lnTo>
                    <a:pt x="44043" y="220008"/>
                  </a:lnTo>
                  <a:lnTo>
                    <a:pt x="43840" y="219177"/>
                  </a:lnTo>
                  <a:lnTo>
                    <a:pt x="43110" y="218190"/>
                  </a:lnTo>
                  <a:lnTo>
                    <a:pt x="41888" y="217462"/>
                  </a:lnTo>
                  <a:lnTo>
                    <a:pt x="38616" y="217287"/>
                  </a:lnTo>
                  <a:lnTo>
                    <a:pt x="34736" y="216316"/>
                  </a:lnTo>
                  <a:lnTo>
                    <a:pt x="31743" y="214605"/>
                  </a:lnTo>
                  <a:lnTo>
                    <a:pt x="29672" y="213571"/>
                  </a:lnTo>
                  <a:lnTo>
                    <a:pt x="29104" y="212898"/>
                  </a:lnTo>
                  <a:lnTo>
                    <a:pt x="28856" y="212103"/>
                  </a:lnTo>
                  <a:lnTo>
                    <a:pt x="29398" y="208545"/>
                  </a:lnTo>
                  <a:lnTo>
                    <a:pt x="30337" y="204530"/>
                  </a:lnTo>
                  <a:lnTo>
                    <a:pt x="31022" y="203301"/>
                  </a:lnTo>
                  <a:lnTo>
                    <a:pt x="32207" y="202028"/>
                  </a:lnTo>
                  <a:lnTo>
                    <a:pt x="33086" y="201160"/>
                  </a:lnTo>
                  <a:lnTo>
                    <a:pt x="34490" y="200012"/>
                  </a:lnTo>
                  <a:lnTo>
                    <a:pt x="38281" y="196176"/>
                  </a:lnTo>
                  <a:lnTo>
                    <a:pt x="41676" y="190901"/>
                  </a:lnTo>
                  <a:lnTo>
                    <a:pt x="43770" y="187216"/>
                  </a:lnTo>
                  <a:lnTo>
                    <a:pt x="44863" y="186120"/>
                  </a:lnTo>
                  <a:lnTo>
                    <a:pt x="45977" y="185181"/>
                  </a:lnTo>
                  <a:lnTo>
                    <a:pt x="47616" y="184045"/>
                  </a:lnTo>
                  <a:lnTo>
                    <a:pt x="49502" y="183007"/>
                  </a:lnTo>
                  <a:lnTo>
                    <a:pt x="51378" y="183053"/>
                  </a:lnTo>
                  <a:lnTo>
                    <a:pt x="53162" y="183994"/>
                  </a:lnTo>
                  <a:lnTo>
                    <a:pt x="54486" y="185102"/>
                  </a:lnTo>
                  <a:lnTo>
                    <a:pt x="54928" y="187542"/>
                  </a:lnTo>
                  <a:lnTo>
                    <a:pt x="55867" y="189128"/>
                  </a:lnTo>
                  <a:lnTo>
                    <a:pt x="56880" y="190083"/>
                  </a:lnTo>
                  <a:lnTo>
                    <a:pt x="58219" y="190545"/>
                  </a:lnTo>
                  <a:lnTo>
                    <a:pt x="59921" y="190430"/>
                  </a:lnTo>
                  <a:lnTo>
                    <a:pt x="66773" y="187631"/>
                  </a:lnTo>
                  <a:lnTo>
                    <a:pt x="69102" y="187066"/>
                  </a:lnTo>
                  <a:lnTo>
                    <a:pt x="74693" y="186717"/>
                  </a:lnTo>
                  <a:lnTo>
                    <a:pt x="78535" y="185637"/>
                  </a:lnTo>
                  <a:lnTo>
                    <a:pt x="81931" y="184503"/>
                  </a:lnTo>
                  <a:lnTo>
                    <a:pt x="82342" y="182471"/>
                  </a:lnTo>
                  <a:lnTo>
                    <a:pt x="83650" y="179364"/>
                  </a:lnTo>
                  <a:lnTo>
                    <a:pt x="87641" y="175315"/>
                  </a:lnTo>
                  <a:lnTo>
                    <a:pt x="88762" y="173507"/>
                  </a:lnTo>
                  <a:lnTo>
                    <a:pt x="89971" y="170052"/>
                  </a:lnTo>
                  <a:lnTo>
                    <a:pt x="91256" y="166896"/>
                  </a:lnTo>
                  <a:lnTo>
                    <a:pt x="92359" y="165584"/>
                  </a:lnTo>
                  <a:lnTo>
                    <a:pt x="98632" y="162118"/>
                  </a:lnTo>
                  <a:lnTo>
                    <a:pt x="104773" y="158928"/>
                  </a:lnTo>
                  <a:lnTo>
                    <a:pt x="105777" y="157482"/>
                  </a:lnTo>
                  <a:lnTo>
                    <a:pt x="109749" y="150855"/>
                  </a:lnTo>
                  <a:lnTo>
                    <a:pt x="112023" y="146351"/>
                  </a:lnTo>
                  <a:lnTo>
                    <a:pt x="112612" y="144901"/>
                  </a:lnTo>
                  <a:lnTo>
                    <a:pt x="113927" y="140980"/>
                  </a:lnTo>
                  <a:lnTo>
                    <a:pt x="115350" y="137077"/>
                  </a:lnTo>
                  <a:lnTo>
                    <a:pt x="117248" y="136175"/>
                  </a:lnTo>
                  <a:lnTo>
                    <a:pt x="121461" y="134686"/>
                  </a:lnTo>
                  <a:lnTo>
                    <a:pt x="124804" y="133229"/>
                  </a:lnTo>
                  <a:lnTo>
                    <a:pt x="126514" y="131566"/>
                  </a:lnTo>
                  <a:lnTo>
                    <a:pt x="127550" y="130110"/>
                  </a:lnTo>
                  <a:lnTo>
                    <a:pt x="127356" y="128666"/>
                  </a:lnTo>
                  <a:lnTo>
                    <a:pt x="126430" y="126956"/>
                  </a:lnTo>
                  <a:lnTo>
                    <a:pt x="126626" y="125940"/>
                  </a:lnTo>
                  <a:lnTo>
                    <a:pt x="126797" y="124937"/>
                  </a:lnTo>
                  <a:lnTo>
                    <a:pt x="129222" y="122890"/>
                  </a:lnTo>
                  <a:lnTo>
                    <a:pt x="133791" y="116831"/>
                  </a:lnTo>
                  <a:lnTo>
                    <a:pt x="136527" y="113800"/>
                  </a:lnTo>
                  <a:lnTo>
                    <a:pt x="137434" y="113804"/>
                  </a:lnTo>
                  <a:lnTo>
                    <a:pt x="140295" y="112190"/>
                  </a:lnTo>
                  <a:lnTo>
                    <a:pt x="143016" y="110363"/>
                  </a:lnTo>
                  <a:lnTo>
                    <a:pt x="142861" y="109533"/>
                  </a:lnTo>
                  <a:lnTo>
                    <a:pt x="142519" y="108459"/>
                  </a:lnTo>
                  <a:lnTo>
                    <a:pt x="140958" y="107975"/>
                  </a:lnTo>
                  <a:lnTo>
                    <a:pt x="140470" y="106685"/>
                  </a:lnTo>
                  <a:lnTo>
                    <a:pt x="140852" y="104836"/>
                  </a:lnTo>
                  <a:lnTo>
                    <a:pt x="142157" y="99855"/>
                  </a:lnTo>
                  <a:lnTo>
                    <a:pt x="141889" y="98424"/>
                  </a:lnTo>
                  <a:lnTo>
                    <a:pt x="140299" y="93802"/>
                  </a:lnTo>
                  <a:lnTo>
                    <a:pt x="140654" y="92524"/>
                  </a:lnTo>
                  <a:lnTo>
                    <a:pt x="141308" y="91216"/>
                  </a:lnTo>
                  <a:lnTo>
                    <a:pt x="143081" y="89472"/>
                  </a:lnTo>
                  <a:lnTo>
                    <a:pt x="145374" y="88025"/>
                  </a:lnTo>
                  <a:lnTo>
                    <a:pt x="152716" y="84578"/>
                  </a:lnTo>
                  <a:lnTo>
                    <a:pt x="154204" y="84200"/>
                  </a:lnTo>
                  <a:lnTo>
                    <a:pt x="156754" y="83328"/>
                  </a:lnTo>
                  <a:lnTo>
                    <a:pt x="158315" y="81488"/>
                  </a:lnTo>
                  <a:lnTo>
                    <a:pt x="158510" y="79918"/>
                  </a:lnTo>
                  <a:lnTo>
                    <a:pt x="157827" y="78943"/>
                  </a:lnTo>
                  <a:lnTo>
                    <a:pt x="156303" y="77634"/>
                  </a:lnTo>
                  <a:lnTo>
                    <a:pt x="153437" y="76448"/>
                  </a:lnTo>
                  <a:lnTo>
                    <a:pt x="150855" y="75419"/>
                  </a:lnTo>
                  <a:lnTo>
                    <a:pt x="146467" y="75527"/>
                  </a:lnTo>
                  <a:lnTo>
                    <a:pt x="144186" y="74642"/>
                  </a:lnTo>
                  <a:lnTo>
                    <a:pt x="143569" y="74023"/>
                  </a:lnTo>
                  <a:lnTo>
                    <a:pt x="143249" y="71839"/>
                  </a:lnTo>
                  <a:lnTo>
                    <a:pt x="143690" y="68145"/>
                  </a:lnTo>
                  <a:lnTo>
                    <a:pt x="143007" y="67819"/>
                  </a:lnTo>
                  <a:lnTo>
                    <a:pt x="142031" y="68254"/>
                  </a:lnTo>
                  <a:lnTo>
                    <a:pt x="139712" y="67816"/>
                  </a:lnTo>
                  <a:lnTo>
                    <a:pt x="136864" y="67873"/>
                  </a:lnTo>
                  <a:lnTo>
                    <a:pt x="135778" y="66844"/>
                  </a:lnTo>
                  <a:lnTo>
                    <a:pt x="136319" y="65601"/>
                  </a:lnTo>
                  <a:lnTo>
                    <a:pt x="136160" y="63945"/>
                  </a:lnTo>
                  <a:lnTo>
                    <a:pt x="135737" y="62370"/>
                  </a:lnTo>
                  <a:lnTo>
                    <a:pt x="135294" y="62041"/>
                  </a:lnTo>
                  <a:lnTo>
                    <a:pt x="133934" y="61666"/>
                  </a:lnTo>
                  <a:lnTo>
                    <a:pt x="131815" y="60305"/>
                  </a:lnTo>
                  <a:lnTo>
                    <a:pt x="130109" y="58626"/>
                  </a:lnTo>
                  <a:lnTo>
                    <a:pt x="129108" y="57488"/>
                  </a:lnTo>
                  <a:lnTo>
                    <a:pt x="128799" y="56703"/>
                  </a:lnTo>
                  <a:lnTo>
                    <a:pt x="128896" y="56184"/>
                  </a:lnTo>
                  <a:lnTo>
                    <a:pt x="130137" y="54723"/>
                  </a:lnTo>
                  <a:lnTo>
                    <a:pt x="131628" y="52672"/>
                  </a:lnTo>
                  <a:lnTo>
                    <a:pt x="132176" y="50908"/>
                  </a:lnTo>
                  <a:lnTo>
                    <a:pt x="132340" y="49630"/>
                  </a:lnTo>
                  <a:lnTo>
                    <a:pt x="131925" y="48686"/>
                  </a:lnTo>
                  <a:lnTo>
                    <a:pt x="130565" y="47530"/>
                  </a:lnTo>
                  <a:lnTo>
                    <a:pt x="129112" y="46521"/>
                  </a:lnTo>
                  <a:lnTo>
                    <a:pt x="128527" y="45643"/>
                  </a:lnTo>
                  <a:lnTo>
                    <a:pt x="128503" y="44316"/>
                  </a:lnTo>
                  <a:lnTo>
                    <a:pt x="129045" y="42656"/>
                  </a:lnTo>
                  <a:lnTo>
                    <a:pt x="130757" y="41403"/>
                  </a:lnTo>
                  <a:lnTo>
                    <a:pt x="133791" y="40213"/>
                  </a:lnTo>
                  <a:lnTo>
                    <a:pt x="134571" y="38734"/>
                  </a:lnTo>
                  <a:lnTo>
                    <a:pt x="134473" y="37638"/>
                  </a:lnTo>
                  <a:lnTo>
                    <a:pt x="133644" y="37309"/>
                  </a:lnTo>
                  <a:lnTo>
                    <a:pt x="131513" y="37302"/>
                  </a:lnTo>
                  <a:lnTo>
                    <a:pt x="127915" y="36927"/>
                  </a:lnTo>
                  <a:lnTo>
                    <a:pt x="127306" y="36323"/>
                  </a:lnTo>
                  <a:lnTo>
                    <a:pt x="126903" y="35512"/>
                  </a:lnTo>
                  <a:lnTo>
                    <a:pt x="126898" y="34708"/>
                  </a:lnTo>
                  <a:lnTo>
                    <a:pt x="127658" y="33793"/>
                  </a:lnTo>
                  <a:lnTo>
                    <a:pt x="128570" y="32635"/>
                  </a:lnTo>
                  <a:lnTo>
                    <a:pt x="128412" y="31507"/>
                  </a:lnTo>
                  <a:lnTo>
                    <a:pt x="127356" y="30231"/>
                  </a:lnTo>
                  <a:lnTo>
                    <a:pt x="124821" y="29296"/>
                  </a:lnTo>
                  <a:lnTo>
                    <a:pt x="124480" y="27978"/>
                  </a:lnTo>
                  <a:lnTo>
                    <a:pt x="124869" y="26877"/>
                  </a:lnTo>
                  <a:lnTo>
                    <a:pt x="125709" y="25308"/>
                  </a:lnTo>
                  <a:lnTo>
                    <a:pt x="126438" y="24216"/>
                  </a:lnTo>
                  <a:lnTo>
                    <a:pt x="128166" y="21110"/>
                  </a:lnTo>
                  <a:lnTo>
                    <a:pt x="130258" y="20430"/>
                  </a:lnTo>
                  <a:lnTo>
                    <a:pt x="132826" y="19425"/>
                  </a:lnTo>
                  <a:lnTo>
                    <a:pt x="135665" y="18313"/>
                  </a:lnTo>
                  <a:lnTo>
                    <a:pt x="140034" y="19147"/>
                  </a:lnTo>
                  <a:lnTo>
                    <a:pt x="142161" y="19553"/>
                  </a:lnTo>
                  <a:lnTo>
                    <a:pt x="146465" y="20503"/>
                  </a:lnTo>
                  <a:lnTo>
                    <a:pt x="150071" y="21300"/>
                  </a:lnTo>
                  <a:lnTo>
                    <a:pt x="153754" y="21525"/>
                  </a:lnTo>
                  <a:lnTo>
                    <a:pt x="155282" y="21471"/>
                  </a:lnTo>
                  <a:lnTo>
                    <a:pt x="156974" y="22411"/>
                  </a:lnTo>
                  <a:lnTo>
                    <a:pt x="161142" y="24025"/>
                  </a:lnTo>
                  <a:lnTo>
                    <a:pt x="164526" y="24873"/>
                  </a:lnTo>
                  <a:lnTo>
                    <a:pt x="166817" y="24864"/>
                  </a:lnTo>
                  <a:lnTo>
                    <a:pt x="170198" y="23437"/>
                  </a:lnTo>
                  <a:lnTo>
                    <a:pt x="171882" y="22132"/>
                  </a:lnTo>
                  <a:lnTo>
                    <a:pt x="174154" y="20699"/>
                  </a:lnTo>
                  <a:lnTo>
                    <a:pt x="177061" y="20753"/>
                  </a:lnTo>
                  <a:lnTo>
                    <a:pt x="183347" y="18545"/>
                  </a:lnTo>
                  <a:lnTo>
                    <a:pt x="184524" y="18926"/>
                  </a:lnTo>
                  <a:lnTo>
                    <a:pt x="186392" y="19052"/>
                  </a:lnTo>
                  <a:lnTo>
                    <a:pt x="188644" y="17775"/>
                  </a:lnTo>
                  <a:lnTo>
                    <a:pt x="189810" y="16258"/>
                  </a:lnTo>
                  <a:lnTo>
                    <a:pt x="189998" y="15501"/>
                  </a:lnTo>
                  <a:lnTo>
                    <a:pt x="190559" y="14941"/>
                  </a:lnTo>
                  <a:lnTo>
                    <a:pt x="192965" y="13977"/>
                  </a:lnTo>
                  <a:lnTo>
                    <a:pt x="195379" y="12643"/>
                  </a:lnTo>
                  <a:lnTo>
                    <a:pt x="196038" y="10880"/>
                  </a:lnTo>
                  <a:lnTo>
                    <a:pt x="196435" y="9689"/>
                  </a:lnTo>
                  <a:lnTo>
                    <a:pt x="199087" y="8144"/>
                  </a:lnTo>
                  <a:lnTo>
                    <a:pt x="201838" y="6538"/>
                  </a:lnTo>
                  <a:lnTo>
                    <a:pt x="204723" y="4856"/>
                  </a:lnTo>
                  <a:lnTo>
                    <a:pt x="207998" y="2944"/>
                  </a:lnTo>
                  <a:lnTo>
                    <a:pt x="210771" y="1323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75" name="ee4p_IR_1_37365">
              <a:extLst>
                <a:ext uri="{FF2B5EF4-FFF2-40B4-BE49-F238E27FC236}">
                  <a16:creationId xmlns:a16="http://schemas.microsoft.com/office/drawing/2014/main" id="{E752620D-6EB2-0065-1AED-294EC34B5D21}"/>
                </a:ext>
              </a:extLst>
            </p:cNvPr>
            <p:cNvSpPr>
              <a:spLocks noChangeAspect="1"/>
            </p:cNvSpPr>
            <p:nvPr>
              <p:custDataLst>
                <p:tags r:id="rId229"/>
              </p:custDataLst>
            </p:nvPr>
          </p:nvSpPr>
          <p:spPr>
            <a:xfrm>
              <a:off x="7737197" y="3478130"/>
              <a:ext cx="535446" cy="466475"/>
            </a:xfrm>
            <a:custGeom>
              <a:avLst/>
              <a:gdLst>
                <a:gd name="connsiteX0" fmla="*/ 269563 w 426364"/>
                <a:gd name="connsiteY0" fmla="*/ 316614 h 361598"/>
                <a:gd name="connsiteX1" fmla="*/ 271009 w 426364"/>
                <a:gd name="connsiteY1" fmla="*/ 317831 h 361598"/>
                <a:gd name="connsiteX2" fmla="*/ 268988 w 426364"/>
                <a:gd name="connsiteY2" fmla="*/ 318567 h 361598"/>
                <a:gd name="connsiteX3" fmla="*/ 266930 w 426364"/>
                <a:gd name="connsiteY3" fmla="*/ 321418 h 361598"/>
                <a:gd name="connsiteX4" fmla="*/ 263821 w 426364"/>
                <a:gd name="connsiteY4" fmla="*/ 323794 h 361598"/>
                <a:gd name="connsiteX5" fmla="*/ 262491 w 426364"/>
                <a:gd name="connsiteY5" fmla="*/ 323055 h 361598"/>
                <a:gd name="connsiteX6" fmla="*/ 261463 w 426364"/>
                <a:gd name="connsiteY6" fmla="*/ 323090 h 361598"/>
                <a:gd name="connsiteX7" fmla="*/ 259243 w 426364"/>
                <a:gd name="connsiteY7" fmla="*/ 324000 h 361598"/>
                <a:gd name="connsiteX8" fmla="*/ 257636 w 426364"/>
                <a:gd name="connsiteY8" fmla="*/ 324157 h 361598"/>
                <a:gd name="connsiteX9" fmla="*/ 254729 w 426364"/>
                <a:gd name="connsiteY9" fmla="*/ 325779 h 361598"/>
                <a:gd name="connsiteX10" fmla="*/ 252089 w 426364"/>
                <a:gd name="connsiteY10" fmla="*/ 326595 h 361598"/>
                <a:gd name="connsiteX11" fmla="*/ 250247 w 426364"/>
                <a:gd name="connsiteY11" fmla="*/ 326533 h 361598"/>
                <a:gd name="connsiteX12" fmla="*/ 249608 w 426364"/>
                <a:gd name="connsiteY12" fmla="*/ 326370 h 361598"/>
                <a:gd name="connsiteX13" fmla="*/ 249243 w 426364"/>
                <a:gd name="connsiteY13" fmla="*/ 325264 h 361598"/>
                <a:gd name="connsiteX14" fmla="*/ 249275 w 426364"/>
                <a:gd name="connsiteY14" fmla="*/ 324829 h 361598"/>
                <a:gd name="connsiteX15" fmla="*/ 250391 w 426364"/>
                <a:gd name="connsiteY15" fmla="*/ 325057 h 361598"/>
                <a:gd name="connsiteX16" fmla="*/ 254477 w 426364"/>
                <a:gd name="connsiteY16" fmla="*/ 323583 h 361598"/>
                <a:gd name="connsiteX17" fmla="*/ 259582 w 426364"/>
                <a:gd name="connsiteY17" fmla="*/ 321162 h 361598"/>
                <a:gd name="connsiteX18" fmla="*/ 260067 w 426364"/>
                <a:gd name="connsiteY18" fmla="*/ 320088 h 361598"/>
                <a:gd name="connsiteX19" fmla="*/ 259247 w 426364"/>
                <a:gd name="connsiteY19" fmla="*/ 318334 h 361598"/>
                <a:gd name="connsiteX20" fmla="*/ 259472 w 426364"/>
                <a:gd name="connsiteY20" fmla="*/ 317937 h 361598"/>
                <a:gd name="connsiteX21" fmla="*/ 262778 w 426364"/>
                <a:gd name="connsiteY21" fmla="*/ 318837 h 361598"/>
                <a:gd name="connsiteX22" fmla="*/ 266470 w 426364"/>
                <a:gd name="connsiteY22" fmla="*/ 317088 h 361598"/>
                <a:gd name="connsiteX23" fmla="*/ 12468 w 426364"/>
                <a:gd name="connsiteY23" fmla="*/ 0 h 361598"/>
                <a:gd name="connsiteX24" fmla="*/ 15517 w 426364"/>
                <a:gd name="connsiteY24" fmla="*/ 2259 h 361598"/>
                <a:gd name="connsiteX25" fmla="*/ 16780 w 426364"/>
                <a:gd name="connsiteY25" fmla="*/ 3056 h 361598"/>
                <a:gd name="connsiteX26" fmla="*/ 17555 w 426364"/>
                <a:gd name="connsiteY26" fmla="*/ 3073 h 361598"/>
                <a:gd name="connsiteX27" fmla="*/ 18020 w 426364"/>
                <a:gd name="connsiteY27" fmla="*/ 3627 h 361598"/>
                <a:gd name="connsiteX28" fmla="*/ 21602 w 426364"/>
                <a:gd name="connsiteY28" fmla="*/ 8965 h 361598"/>
                <a:gd name="connsiteX29" fmla="*/ 23183 w 426364"/>
                <a:gd name="connsiteY29" fmla="*/ 10538 h 361598"/>
                <a:gd name="connsiteX30" fmla="*/ 24098 w 426364"/>
                <a:gd name="connsiteY30" fmla="*/ 11869 h 361598"/>
                <a:gd name="connsiteX31" fmla="*/ 24721 w 426364"/>
                <a:gd name="connsiteY31" fmla="*/ 13353 h 361598"/>
                <a:gd name="connsiteX32" fmla="*/ 25813 w 426364"/>
                <a:gd name="connsiteY32" fmla="*/ 14354 h 361598"/>
                <a:gd name="connsiteX33" fmla="*/ 27258 w 426364"/>
                <a:gd name="connsiteY33" fmla="*/ 14897 h 361598"/>
                <a:gd name="connsiteX34" fmla="*/ 29018 w 426364"/>
                <a:gd name="connsiteY34" fmla="*/ 16334 h 361598"/>
                <a:gd name="connsiteX35" fmla="*/ 30205 w 426364"/>
                <a:gd name="connsiteY35" fmla="*/ 17454 h 361598"/>
                <a:gd name="connsiteX36" fmla="*/ 32205 w 426364"/>
                <a:gd name="connsiteY36" fmla="*/ 19772 h 361598"/>
                <a:gd name="connsiteX37" fmla="*/ 34313 w 426364"/>
                <a:gd name="connsiteY37" fmla="*/ 20637 h 361598"/>
                <a:gd name="connsiteX38" fmla="*/ 41983 w 426364"/>
                <a:gd name="connsiteY38" fmla="*/ 22313 h 361598"/>
                <a:gd name="connsiteX39" fmla="*/ 46241 w 426364"/>
                <a:gd name="connsiteY39" fmla="*/ 23092 h 361598"/>
                <a:gd name="connsiteX40" fmla="*/ 47472 w 426364"/>
                <a:gd name="connsiteY40" fmla="*/ 23317 h 361598"/>
                <a:gd name="connsiteX41" fmla="*/ 50737 w 426364"/>
                <a:gd name="connsiteY41" fmla="*/ 22191 h 361598"/>
                <a:gd name="connsiteX42" fmla="*/ 54559 w 426364"/>
                <a:gd name="connsiteY42" fmla="*/ 22345 h 361598"/>
                <a:gd name="connsiteX43" fmla="*/ 55978 w 426364"/>
                <a:gd name="connsiteY43" fmla="*/ 22404 h 361598"/>
                <a:gd name="connsiteX44" fmla="*/ 61028 w 426364"/>
                <a:gd name="connsiteY44" fmla="*/ 17674 h 361598"/>
                <a:gd name="connsiteX45" fmla="*/ 62562 w 426364"/>
                <a:gd name="connsiteY45" fmla="*/ 16094 h 361598"/>
                <a:gd name="connsiteX46" fmla="*/ 65576 w 426364"/>
                <a:gd name="connsiteY46" fmla="*/ 15272 h 361598"/>
                <a:gd name="connsiteX47" fmla="*/ 67269 w 426364"/>
                <a:gd name="connsiteY47" fmla="*/ 13389 h 361598"/>
                <a:gd name="connsiteX48" fmla="*/ 69988 w 426364"/>
                <a:gd name="connsiteY48" fmla="*/ 11107 h 361598"/>
                <a:gd name="connsiteX49" fmla="*/ 73307 w 426364"/>
                <a:gd name="connsiteY49" fmla="*/ 8956 h 361598"/>
                <a:gd name="connsiteX50" fmla="*/ 76352 w 426364"/>
                <a:gd name="connsiteY50" fmla="*/ 7024 h 361598"/>
                <a:gd name="connsiteX51" fmla="*/ 78688 w 426364"/>
                <a:gd name="connsiteY51" fmla="*/ 5855 h 361598"/>
                <a:gd name="connsiteX52" fmla="*/ 82912 w 426364"/>
                <a:gd name="connsiteY52" fmla="*/ 3121 h 361598"/>
                <a:gd name="connsiteX53" fmla="*/ 85552 w 426364"/>
                <a:gd name="connsiteY53" fmla="*/ 2172 h 361598"/>
                <a:gd name="connsiteX54" fmla="*/ 87844 w 426364"/>
                <a:gd name="connsiteY54" fmla="*/ 2202 h 361598"/>
                <a:gd name="connsiteX55" fmla="*/ 91275 w 426364"/>
                <a:gd name="connsiteY55" fmla="*/ 5409 h 361598"/>
                <a:gd name="connsiteX56" fmla="*/ 94164 w 426364"/>
                <a:gd name="connsiteY56" fmla="*/ 8322 h 361598"/>
                <a:gd name="connsiteX57" fmla="*/ 95058 w 426364"/>
                <a:gd name="connsiteY57" fmla="*/ 9600 h 361598"/>
                <a:gd name="connsiteX58" fmla="*/ 93622 w 426364"/>
                <a:gd name="connsiteY58" fmla="*/ 10743 h 361598"/>
                <a:gd name="connsiteX59" fmla="*/ 90942 w 426364"/>
                <a:gd name="connsiteY59" fmla="*/ 11848 h 361598"/>
                <a:gd name="connsiteX60" fmla="*/ 90430 w 426364"/>
                <a:gd name="connsiteY60" fmla="*/ 12658 h 361598"/>
                <a:gd name="connsiteX61" fmla="*/ 90243 w 426364"/>
                <a:gd name="connsiteY61" fmla="*/ 13694 h 361598"/>
                <a:gd name="connsiteX62" fmla="*/ 90349 w 426364"/>
                <a:gd name="connsiteY62" fmla="*/ 14686 h 361598"/>
                <a:gd name="connsiteX63" fmla="*/ 90709 w 426364"/>
                <a:gd name="connsiteY63" fmla="*/ 15494 h 361598"/>
                <a:gd name="connsiteX64" fmla="*/ 93996 w 426364"/>
                <a:gd name="connsiteY64" fmla="*/ 17370 h 361598"/>
                <a:gd name="connsiteX65" fmla="*/ 94369 w 426364"/>
                <a:gd name="connsiteY65" fmla="*/ 18401 h 361598"/>
                <a:gd name="connsiteX66" fmla="*/ 94393 w 426364"/>
                <a:gd name="connsiteY66" fmla="*/ 19446 h 361598"/>
                <a:gd name="connsiteX67" fmla="*/ 94017 w 426364"/>
                <a:gd name="connsiteY67" fmla="*/ 20099 h 361598"/>
                <a:gd name="connsiteX68" fmla="*/ 93285 w 426364"/>
                <a:gd name="connsiteY68" fmla="*/ 20478 h 361598"/>
                <a:gd name="connsiteX69" fmla="*/ 90998 w 426364"/>
                <a:gd name="connsiteY69" fmla="*/ 21003 h 361598"/>
                <a:gd name="connsiteX70" fmla="*/ 89042 w 426364"/>
                <a:gd name="connsiteY70" fmla="*/ 21613 h 361598"/>
                <a:gd name="connsiteX71" fmla="*/ 88362 w 426364"/>
                <a:gd name="connsiteY71" fmla="*/ 22213 h 361598"/>
                <a:gd name="connsiteX72" fmla="*/ 87773 w 426364"/>
                <a:gd name="connsiteY72" fmla="*/ 22924 h 361598"/>
                <a:gd name="connsiteX73" fmla="*/ 87857 w 426364"/>
                <a:gd name="connsiteY73" fmla="*/ 23712 h 361598"/>
                <a:gd name="connsiteX74" fmla="*/ 88448 w 426364"/>
                <a:gd name="connsiteY74" fmla="*/ 24608 h 361598"/>
                <a:gd name="connsiteX75" fmla="*/ 92460 w 426364"/>
                <a:gd name="connsiteY75" fmla="*/ 27057 h 361598"/>
                <a:gd name="connsiteX76" fmla="*/ 92914 w 426364"/>
                <a:gd name="connsiteY76" fmla="*/ 27958 h 361598"/>
                <a:gd name="connsiteX77" fmla="*/ 93713 w 426364"/>
                <a:gd name="connsiteY77" fmla="*/ 29167 h 361598"/>
                <a:gd name="connsiteX78" fmla="*/ 94691 w 426364"/>
                <a:gd name="connsiteY78" fmla="*/ 29909 h 361598"/>
                <a:gd name="connsiteX79" fmla="*/ 96365 w 426364"/>
                <a:gd name="connsiteY79" fmla="*/ 30112 h 361598"/>
                <a:gd name="connsiteX80" fmla="*/ 97163 w 426364"/>
                <a:gd name="connsiteY80" fmla="*/ 30612 h 361598"/>
                <a:gd name="connsiteX81" fmla="*/ 101040 w 426364"/>
                <a:gd name="connsiteY81" fmla="*/ 35120 h 361598"/>
                <a:gd name="connsiteX82" fmla="*/ 101988 w 426364"/>
                <a:gd name="connsiteY82" fmla="*/ 35438 h 361598"/>
                <a:gd name="connsiteX83" fmla="*/ 106516 w 426364"/>
                <a:gd name="connsiteY83" fmla="*/ 34447 h 361598"/>
                <a:gd name="connsiteX84" fmla="*/ 107144 w 426364"/>
                <a:gd name="connsiteY84" fmla="*/ 34492 h 361598"/>
                <a:gd name="connsiteX85" fmla="*/ 107187 w 426364"/>
                <a:gd name="connsiteY85" fmla="*/ 35597 h 361598"/>
                <a:gd name="connsiteX86" fmla="*/ 107865 w 426364"/>
                <a:gd name="connsiteY86" fmla="*/ 41992 h 361598"/>
                <a:gd name="connsiteX87" fmla="*/ 108390 w 426364"/>
                <a:gd name="connsiteY87" fmla="*/ 45289 h 361598"/>
                <a:gd name="connsiteX88" fmla="*/ 109161 w 426364"/>
                <a:gd name="connsiteY88" fmla="*/ 48492 h 361598"/>
                <a:gd name="connsiteX89" fmla="*/ 110385 w 426364"/>
                <a:gd name="connsiteY89" fmla="*/ 51413 h 361598"/>
                <a:gd name="connsiteX90" fmla="*/ 111837 w 426364"/>
                <a:gd name="connsiteY90" fmla="*/ 54188 h 361598"/>
                <a:gd name="connsiteX91" fmla="*/ 113832 w 426364"/>
                <a:gd name="connsiteY91" fmla="*/ 55900 h 361598"/>
                <a:gd name="connsiteX92" fmla="*/ 118282 w 426364"/>
                <a:gd name="connsiteY92" fmla="*/ 57959 h 361598"/>
                <a:gd name="connsiteX93" fmla="*/ 120441 w 426364"/>
                <a:gd name="connsiteY93" fmla="*/ 58554 h 361598"/>
                <a:gd name="connsiteX94" fmla="*/ 126121 w 426364"/>
                <a:gd name="connsiteY94" fmla="*/ 58967 h 361598"/>
                <a:gd name="connsiteX95" fmla="*/ 131731 w 426364"/>
                <a:gd name="connsiteY95" fmla="*/ 59876 h 361598"/>
                <a:gd name="connsiteX96" fmla="*/ 135044 w 426364"/>
                <a:gd name="connsiteY96" fmla="*/ 60840 h 361598"/>
                <a:gd name="connsiteX97" fmla="*/ 136056 w 426364"/>
                <a:gd name="connsiteY97" fmla="*/ 61519 h 361598"/>
                <a:gd name="connsiteX98" fmla="*/ 136892 w 426364"/>
                <a:gd name="connsiteY98" fmla="*/ 62562 h 361598"/>
                <a:gd name="connsiteX99" fmla="*/ 139630 w 426364"/>
                <a:gd name="connsiteY99" fmla="*/ 67414 h 361598"/>
                <a:gd name="connsiteX100" fmla="*/ 143949 w 426364"/>
                <a:gd name="connsiteY100" fmla="*/ 70863 h 361598"/>
                <a:gd name="connsiteX101" fmla="*/ 152666 w 426364"/>
                <a:gd name="connsiteY101" fmla="*/ 76033 h 361598"/>
                <a:gd name="connsiteX102" fmla="*/ 156892 w 426364"/>
                <a:gd name="connsiteY102" fmla="*/ 77750 h 361598"/>
                <a:gd name="connsiteX103" fmla="*/ 171120 w 426364"/>
                <a:gd name="connsiteY103" fmla="*/ 80999 h 361598"/>
                <a:gd name="connsiteX104" fmla="*/ 180587 w 426364"/>
                <a:gd name="connsiteY104" fmla="*/ 80816 h 361598"/>
                <a:gd name="connsiteX105" fmla="*/ 206768 w 426364"/>
                <a:gd name="connsiteY105" fmla="*/ 74546 h 361598"/>
                <a:gd name="connsiteX106" fmla="*/ 215470 w 426364"/>
                <a:gd name="connsiteY106" fmla="*/ 72982 h 361598"/>
                <a:gd name="connsiteX107" fmla="*/ 218737 w 426364"/>
                <a:gd name="connsiteY107" fmla="*/ 72982 h 361598"/>
                <a:gd name="connsiteX108" fmla="*/ 216791 w 426364"/>
                <a:gd name="connsiteY108" fmla="*/ 74230 h 361598"/>
                <a:gd name="connsiteX109" fmla="*/ 213520 w 426364"/>
                <a:gd name="connsiteY109" fmla="*/ 74943 h 361598"/>
                <a:gd name="connsiteX110" fmla="*/ 215493 w 426364"/>
                <a:gd name="connsiteY110" fmla="*/ 75824 h 361598"/>
                <a:gd name="connsiteX111" fmla="*/ 218534 w 426364"/>
                <a:gd name="connsiteY111" fmla="*/ 75970 h 361598"/>
                <a:gd name="connsiteX112" fmla="*/ 219946 w 426364"/>
                <a:gd name="connsiteY112" fmla="*/ 75827 h 361598"/>
                <a:gd name="connsiteX113" fmla="*/ 220966 w 426364"/>
                <a:gd name="connsiteY113" fmla="*/ 75031 h 361598"/>
                <a:gd name="connsiteX114" fmla="*/ 221134 w 426364"/>
                <a:gd name="connsiteY114" fmla="*/ 73719 h 361598"/>
                <a:gd name="connsiteX115" fmla="*/ 220987 w 426364"/>
                <a:gd name="connsiteY115" fmla="*/ 72418 h 361598"/>
                <a:gd name="connsiteX116" fmla="*/ 219545 w 426364"/>
                <a:gd name="connsiteY116" fmla="*/ 66585 h 361598"/>
                <a:gd name="connsiteX117" fmla="*/ 218709 w 426364"/>
                <a:gd name="connsiteY117" fmla="*/ 62461 h 361598"/>
                <a:gd name="connsiteX118" fmla="*/ 224844 w 426364"/>
                <a:gd name="connsiteY118" fmla="*/ 62744 h 361598"/>
                <a:gd name="connsiteX119" fmla="*/ 227236 w 426364"/>
                <a:gd name="connsiteY119" fmla="*/ 62205 h 361598"/>
                <a:gd name="connsiteX120" fmla="*/ 230749 w 426364"/>
                <a:gd name="connsiteY120" fmla="*/ 60828 h 361598"/>
                <a:gd name="connsiteX121" fmla="*/ 233408 w 426364"/>
                <a:gd name="connsiteY121" fmla="*/ 59995 h 361598"/>
                <a:gd name="connsiteX122" fmla="*/ 234751 w 426364"/>
                <a:gd name="connsiteY122" fmla="*/ 59880 h 361598"/>
                <a:gd name="connsiteX123" fmla="*/ 236072 w 426364"/>
                <a:gd name="connsiteY123" fmla="*/ 59231 h 361598"/>
                <a:gd name="connsiteX124" fmla="*/ 237085 w 426364"/>
                <a:gd name="connsiteY124" fmla="*/ 58421 h 361598"/>
                <a:gd name="connsiteX125" fmla="*/ 239372 w 426364"/>
                <a:gd name="connsiteY125" fmla="*/ 52779 h 361598"/>
                <a:gd name="connsiteX126" fmla="*/ 240510 w 426364"/>
                <a:gd name="connsiteY126" fmla="*/ 51365 h 361598"/>
                <a:gd name="connsiteX127" fmla="*/ 244390 w 426364"/>
                <a:gd name="connsiteY127" fmla="*/ 48176 h 361598"/>
                <a:gd name="connsiteX128" fmla="*/ 247688 w 426364"/>
                <a:gd name="connsiteY128" fmla="*/ 46155 h 361598"/>
                <a:gd name="connsiteX129" fmla="*/ 251141 w 426364"/>
                <a:gd name="connsiteY129" fmla="*/ 44366 h 361598"/>
                <a:gd name="connsiteX130" fmla="*/ 255509 w 426364"/>
                <a:gd name="connsiteY130" fmla="*/ 43119 h 361598"/>
                <a:gd name="connsiteX131" fmla="*/ 261322 w 426364"/>
                <a:gd name="connsiteY131" fmla="*/ 43250 h 361598"/>
                <a:gd name="connsiteX132" fmla="*/ 265943 w 426364"/>
                <a:gd name="connsiteY132" fmla="*/ 43688 h 361598"/>
                <a:gd name="connsiteX133" fmla="*/ 268617 w 426364"/>
                <a:gd name="connsiteY133" fmla="*/ 43667 h 361598"/>
                <a:gd name="connsiteX134" fmla="*/ 269890 w 426364"/>
                <a:gd name="connsiteY134" fmla="*/ 43795 h 361598"/>
                <a:gd name="connsiteX135" fmla="*/ 270847 w 426364"/>
                <a:gd name="connsiteY135" fmla="*/ 43615 h 361598"/>
                <a:gd name="connsiteX136" fmla="*/ 271398 w 426364"/>
                <a:gd name="connsiteY136" fmla="*/ 43245 h 361598"/>
                <a:gd name="connsiteX137" fmla="*/ 271998 w 426364"/>
                <a:gd name="connsiteY137" fmla="*/ 40773 h 361598"/>
                <a:gd name="connsiteX138" fmla="*/ 272944 w 426364"/>
                <a:gd name="connsiteY138" fmla="*/ 39967 h 361598"/>
                <a:gd name="connsiteX139" fmla="*/ 274574 w 426364"/>
                <a:gd name="connsiteY139" fmla="*/ 39276 h 361598"/>
                <a:gd name="connsiteX140" fmla="*/ 276861 w 426364"/>
                <a:gd name="connsiteY140" fmla="*/ 39271 h 361598"/>
                <a:gd name="connsiteX141" fmla="*/ 279645 w 426364"/>
                <a:gd name="connsiteY141" fmla="*/ 39091 h 361598"/>
                <a:gd name="connsiteX142" fmla="*/ 281960 w 426364"/>
                <a:gd name="connsiteY142" fmla="*/ 39260 h 361598"/>
                <a:gd name="connsiteX143" fmla="*/ 284879 w 426364"/>
                <a:gd name="connsiteY143" fmla="*/ 40211 h 361598"/>
                <a:gd name="connsiteX144" fmla="*/ 288690 w 426364"/>
                <a:gd name="connsiteY144" fmla="*/ 40290 h 361598"/>
                <a:gd name="connsiteX145" fmla="*/ 291223 w 426364"/>
                <a:gd name="connsiteY145" fmla="*/ 40124 h 361598"/>
                <a:gd name="connsiteX146" fmla="*/ 292696 w 426364"/>
                <a:gd name="connsiteY146" fmla="*/ 41070 h 361598"/>
                <a:gd name="connsiteX147" fmla="*/ 293756 w 426364"/>
                <a:gd name="connsiteY147" fmla="*/ 42333 h 361598"/>
                <a:gd name="connsiteX148" fmla="*/ 294272 w 426364"/>
                <a:gd name="connsiteY148" fmla="*/ 43386 h 361598"/>
                <a:gd name="connsiteX149" fmla="*/ 294389 w 426364"/>
                <a:gd name="connsiteY149" fmla="*/ 44833 h 361598"/>
                <a:gd name="connsiteX150" fmla="*/ 294367 w 426364"/>
                <a:gd name="connsiteY150" fmla="*/ 45935 h 361598"/>
                <a:gd name="connsiteX151" fmla="*/ 294765 w 426364"/>
                <a:gd name="connsiteY151" fmla="*/ 46360 h 361598"/>
                <a:gd name="connsiteX152" fmla="*/ 296315 w 426364"/>
                <a:gd name="connsiteY152" fmla="*/ 47017 h 361598"/>
                <a:gd name="connsiteX153" fmla="*/ 298464 w 426364"/>
                <a:gd name="connsiteY153" fmla="*/ 47510 h 361598"/>
                <a:gd name="connsiteX154" fmla="*/ 302655 w 426364"/>
                <a:gd name="connsiteY154" fmla="*/ 48104 h 361598"/>
                <a:gd name="connsiteX155" fmla="*/ 306583 w 426364"/>
                <a:gd name="connsiteY155" fmla="*/ 49243 h 361598"/>
                <a:gd name="connsiteX156" fmla="*/ 308626 w 426364"/>
                <a:gd name="connsiteY156" fmla="*/ 50020 h 361598"/>
                <a:gd name="connsiteX157" fmla="*/ 311461 w 426364"/>
                <a:gd name="connsiteY157" fmla="*/ 51234 h 361598"/>
                <a:gd name="connsiteX158" fmla="*/ 314840 w 426364"/>
                <a:gd name="connsiteY158" fmla="*/ 54233 h 361598"/>
                <a:gd name="connsiteX159" fmla="*/ 316091 w 426364"/>
                <a:gd name="connsiteY159" fmla="*/ 54708 h 361598"/>
                <a:gd name="connsiteX160" fmla="*/ 317607 w 426364"/>
                <a:gd name="connsiteY160" fmla="*/ 55011 h 361598"/>
                <a:gd name="connsiteX161" fmla="*/ 318691 w 426364"/>
                <a:gd name="connsiteY161" fmla="*/ 54930 h 361598"/>
                <a:gd name="connsiteX162" fmla="*/ 321228 w 426364"/>
                <a:gd name="connsiteY162" fmla="*/ 53661 h 361598"/>
                <a:gd name="connsiteX163" fmla="*/ 323433 w 426364"/>
                <a:gd name="connsiteY163" fmla="*/ 54597 h 361598"/>
                <a:gd name="connsiteX164" fmla="*/ 324551 w 426364"/>
                <a:gd name="connsiteY164" fmla="*/ 54477 h 361598"/>
                <a:gd name="connsiteX165" fmla="*/ 327086 w 426364"/>
                <a:gd name="connsiteY165" fmla="*/ 53781 h 361598"/>
                <a:gd name="connsiteX166" fmla="*/ 329779 w 426364"/>
                <a:gd name="connsiteY166" fmla="*/ 54646 h 361598"/>
                <a:gd name="connsiteX167" fmla="*/ 336493 w 426364"/>
                <a:gd name="connsiteY167" fmla="*/ 57939 h 361598"/>
                <a:gd name="connsiteX168" fmla="*/ 337229 w 426364"/>
                <a:gd name="connsiteY168" fmla="*/ 57863 h 361598"/>
                <a:gd name="connsiteX169" fmla="*/ 337840 w 426364"/>
                <a:gd name="connsiteY169" fmla="*/ 58198 h 361598"/>
                <a:gd name="connsiteX170" fmla="*/ 338397 w 426364"/>
                <a:gd name="connsiteY170" fmla="*/ 58951 h 361598"/>
                <a:gd name="connsiteX171" fmla="*/ 338790 w 426364"/>
                <a:gd name="connsiteY171" fmla="*/ 59880 h 361598"/>
                <a:gd name="connsiteX172" fmla="*/ 339291 w 426364"/>
                <a:gd name="connsiteY172" fmla="*/ 62712 h 361598"/>
                <a:gd name="connsiteX173" fmla="*/ 341228 w 426364"/>
                <a:gd name="connsiteY173" fmla="*/ 64774 h 361598"/>
                <a:gd name="connsiteX174" fmla="*/ 343599 w 426364"/>
                <a:gd name="connsiteY174" fmla="*/ 66657 h 361598"/>
                <a:gd name="connsiteX175" fmla="*/ 346363 w 426364"/>
                <a:gd name="connsiteY175" fmla="*/ 67686 h 361598"/>
                <a:gd name="connsiteX176" fmla="*/ 352144 w 426364"/>
                <a:gd name="connsiteY176" fmla="*/ 70152 h 361598"/>
                <a:gd name="connsiteX177" fmla="*/ 354668 w 426364"/>
                <a:gd name="connsiteY177" fmla="*/ 72154 h 361598"/>
                <a:gd name="connsiteX178" fmla="*/ 357223 w 426364"/>
                <a:gd name="connsiteY178" fmla="*/ 75545 h 361598"/>
                <a:gd name="connsiteX179" fmla="*/ 360371 w 426364"/>
                <a:gd name="connsiteY179" fmla="*/ 80008 h 361598"/>
                <a:gd name="connsiteX180" fmla="*/ 360827 w 426364"/>
                <a:gd name="connsiteY180" fmla="*/ 80412 h 361598"/>
                <a:gd name="connsiteX181" fmla="*/ 368933 w 426364"/>
                <a:gd name="connsiteY181" fmla="*/ 80277 h 361598"/>
                <a:gd name="connsiteX182" fmla="*/ 378037 w 426364"/>
                <a:gd name="connsiteY182" fmla="*/ 80287 h 361598"/>
                <a:gd name="connsiteX183" fmla="*/ 379149 w 426364"/>
                <a:gd name="connsiteY183" fmla="*/ 82069 h 361598"/>
                <a:gd name="connsiteX184" fmla="*/ 378937 w 426364"/>
                <a:gd name="connsiteY184" fmla="*/ 85604 h 361598"/>
                <a:gd name="connsiteX185" fmla="*/ 379264 w 426364"/>
                <a:gd name="connsiteY185" fmla="*/ 89224 h 361598"/>
                <a:gd name="connsiteX186" fmla="*/ 380080 w 426364"/>
                <a:gd name="connsiteY186" fmla="*/ 91730 h 361598"/>
                <a:gd name="connsiteX187" fmla="*/ 380088 w 426364"/>
                <a:gd name="connsiteY187" fmla="*/ 94040 h 361598"/>
                <a:gd name="connsiteX188" fmla="*/ 379430 w 426364"/>
                <a:gd name="connsiteY188" fmla="*/ 95208 h 361598"/>
                <a:gd name="connsiteX189" fmla="*/ 378918 w 426364"/>
                <a:gd name="connsiteY189" fmla="*/ 96544 h 361598"/>
                <a:gd name="connsiteX190" fmla="*/ 378773 w 426364"/>
                <a:gd name="connsiteY190" fmla="*/ 97128 h 361598"/>
                <a:gd name="connsiteX191" fmla="*/ 379944 w 426364"/>
                <a:gd name="connsiteY191" fmla="*/ 97962 h 361598"/>
                <a:gd name="connsiteX192" fmla="*/ 380967 w 426364"/>
                <a:gd name="connsiteY192" fmla="*/ 99880 h 361598"/>
                <a:gd name="connsiteX193" fmla="*/ 381112 w 426364"/>
                <a:gd name="connsiteY193" fmla="*/ 102546 h 361598"/>
                <a:gd name="connsiteX194" fmla="*/ 380600 w 426364"/>
                <a:gd name="connsiteY194" fmla="*/ 103963 h 361598"/>
                <a:gd name="connsiteX195" fmla="*/ 380674 w 426364"/>
                <a:gd name="connsiteY195" fmla="*/ 105128 h 361598"/>
                <a:gd name="connsiteX196" fmla="*/ 381186 w 426364"/>
                <a:gd name="connsiteY196" fmla="*/ 106127 h 361598"/>
                <a:gd name="connsiteX197" fmla="*/ 381624 w 426364"/>
                <a:gd name="connsiteY197" fmla="*/ 107791 h 361598"/>
                <a:gd name="connsiteX198" fmla="*/ 381550 w 426364"/>
                <a:gd name="connsiteY198" fmla="*/ 108788 h 361598"/>
                <a:gd name="connsiteX199" fmla="*/ 380821 w 426364"/>
                <a:gd name="connsiteY199" fmla="*/ 109786 h 361598"/>
                <a:gd name="connsiteX200" fmla="*/ 380382 w 426364"/>
                <a:gd name="connsiteY200" fmla="*/ 111033 h 361598"/>
                <a:gd name="connsiteX201" fmla="*/ 379797 w 426364"/>
                <a:gd name="connsiteY201" fmla="*/ 112611 h 361598"/>
                <a:gd name="connsiteX202" fmla="*/ 379577 w 426364"/>
                <a:gd name="connsiteY202" fmla="*/ 113857 h 361598"/>
                <a:gd name="connsiteX203" fmla="*/ 378480 w 426364"/>
                <a:gd name="connsiteY203" fmla="*/ 114438 h 361598"/>
                <a:gd name="connsiteX204" fmla="*/ 377603 w 426364"/>
                <a:gd name="connsiteY204" fmla="*/ 114853 h 361598"/>
                <a:gd name="connsiteX205" fmla="*/ 377750 w 426364"/>
                <a:gd name="connsiteY205" fmla="*/ 116429 h 361598"/>
                <a:gd name="connsiteX206" fmla="*/ 378188 w 426364"/>
                <a:gd name="connsiteY206" fmla="*/ 117757 h 361598"/>
                <a:gd name="connsiteX207" fmla="*/ 378700 w 426364"/>
                <a:gd name="connsiteY207" fmla="*/ 119331 h 361598"/>
                <a:gd name="connsiteX208" fmla="*/ 378115 w 426364"/>
                <a:gd name="connsiteY208" fmla="*/ 120409 h 361598"/>
                <a:gd name="connsiteX209" fmla="*/ 377750 w 426364"/>
                <a:gd name="connsiteY209" fmla="*/ 121651 h 361598"/>
                <a:gd name="connsiteX210" fmla="*/ 376944 w 426364"/>
                <a:gd name="connsiteY210" fmla="*/ 123639 h 361598"/>
                <a:gd name="connsiteX211" fmla="*/ 377163 w 426364"/>
                <a:gd name="connsiteY211" fmla="*/ 125293 h 361598"/>
                <a:gd name="connsiteX212" fmla="*/ 376286 w 426364"/>
                <a:gd name="connsiteY212" fmla="*/ 126700 h 361598"/>
                <a:gd name="connsiteX213" fmla="*/ 375189 w 426364"/>
                <a:gd name="connsiteY213" fmla="*/ 127941 h 361598"/>
                <a:gd name="connsiteX214" fmla="*/ 374459 w 426364"/>
                <a:gd name="connsiteY214" fmla="*/ 128933 h 361598"/>
                <a:gd name="connsiteX215" fmla="*/ 374312 w 426364"/>
                <a:gd name="connsiteY215" fmla="*/ 130337 h 361598"/>
                <a:gd name="connsiteX216" fmla="*/ 373507 w 426364"/>
                <a:gd name="connsiteY216" fmla="*/ 130833 h 361598"/>
                <a:gd name="connsiteX217" fmla="*/ 371971 w 426364"/>
                <a:gd name="connsiteY217" fmla="*/ 131989 h 361598"/>
                <a:gd name="connsiteX218" fmla="*/ 371021 w 426364"/>
                <a:gd name="connsiteY218" fmla="*/ 132815 h 361598"/>
                <a:gd name="connsiteX219" fmla="*/ 369631 w 426364"/>
                <a:gd name="connsiteY219" fmla="*/ 133062 h 361598"/>
                <a:gd name="connsiteX220" fmla="*/ 369339 w 426364"/>
                <a:gd name="connsiteY220" fmla="*/ 133722 h 361598"/>
                <a:gd name="connsiteX221" fmla="*/ 369557 w 426364"/>
                <a:gd name="connsiteY221" fmla="*/ 134383 h 361598"/>
                <a:gd name="connsiteX222" fmla="*/ 370142 w 426364"/>
                <a:gd name="connsiteY222" fmla="*/ 134796 h 361598"/>
                <a:gd name="connsiteX223" fmla="*/ 371056 w 426364"/>
                <a:gd name="connsiteY223" fmla="*/ 136223 h 361598"/>
                <a:gd name="connsiteX224" fmla="*/ 372947 w 426364"/>
                <a:gd name="connsiteY224" fmla="*/ 138681 h 361598"/>
                <a:gd name="connsiteX225" fmla="*/ 367491 w 426364"/>
                <a:gd name="connsiteY225" fmla="*/ 138986 h 361598"/>
                <a:gd name="connsiteX226" fmla="*/ 365888 w 426364"/>
                <a:gd name="connsiteY226" fmla="*/ 141166 h 361598"/>
                <a:gd name="connsiteX227" fmla="*/ 364020 w 426364"/>
                <a:gd name="connsiteY227" fmla="*/ 144274 h 361598"/>
                <a:gd name="connsiteX228" fmla="*/ 364934 w 426364"/>
                <a:gd name="connsiteY228" fmla="*/ 150557 h 361598"/>
                <a:gd name="connsiteX229" fmla="*/ 364025 w 426364"/>
                <a:gd name="connsiteY229" fmla="*/ 153786 h 361598"/>
                <a:gd name="connsiteX230" fmla="*/ 364575 w 426364"/>
                <a:gd name="connsiteY230" fmla="*/ 155597 h 361598"/>
                <a:gd name="connsiteX231" fmla="*/ 365968 w 426364"/>
                <a:gd name="connsiteY231" fmla="*/ 156851 h 361598"/>
                <a:gd name="connsiteX232" fmla="*/ 367754 w 426364"/>
                <a:gd name="connsiteY232" fmla="*/ 157543 h 361598"/>
                <a:gd name="connsiteX233" fmla="*/ 371112 w 426364"/>
                <a:gd name="connsiteY233" fmla="*/ 157585 h 361598"/>
                <a:gd name="connsiteX234" fmla="*/ 373334 w 426364"/>
                <a:gd name="connsiteY234" fmla="*/ 158074 h 361598"/>
                <a:gd name="connsiteX235" fmla="*/ 373556 w 426364"/>
                <a:gd name="connsiteY235" fmla="*/ 158910 h 361598"/>
                <a:gd name="connsiteX236" fmla="*/ 372280 w 426364"/>
                <a:gd name="connsiteY236" fmla="*/ 160123 h 361598"/>
                <a:gd name="connsiteX237" fmla="*/ 370237 w 426364"/>
                <a:gd name="connsiteY237" fmla="*/ 162412 h 361598"/>
                <a:gd name="connsiteX238" fmla="*/ 369158 w 426364"/>
                <a:gd name="connsiteY238" fmla="*/ 163409 h 361598"/>
                <a:gd name="connsiteX239" fmla="*/ 365675 w 426364"/>
                <a:gd name="connsiteY239" fmla="*/ 168000 h 361598"/>
                <a:gd name="connsiteX240" fmla="*/ 365705 w 426364"/>
                <a:gd name="connsiteY240" fmla="*/ 169953 h 361598"/>
                <a:gd name="connsiteX241" fmla="*/ 366028 w 426364"/>
                <a:gd name="connsiteY241" fmla="*/ 171531 h 361598"/>
                <a:gd name="connsiteX242" fmla="*/ 367532 w 426364"/>
                <a:gd name="connsiteY242" fmla="*/ 176477 h 361598"/>
                <a:gd name="connsiteX243" fmla="*/ 368989 w 426364"/>
                <a:gd name="connsiteY243" fmla="*/ 181266 h 361598"/>
                <a:gd name="connsiteX244" fmla="*/ 371617 w 426364"/>
                <a:gd name="connsiteY244" fmla="*/ 189886 h 361598"/>
                <a:gd name="connsiteX245" fmla="*/ 371572 w 426364"/>
                <a:gd name="connsiteY245" fmla="*/ 191886 h 361598"/>
                <a:gd name="connsiteX246" fmla="*/ 370747 w 426364"/>
                <a:gd name="connsiteY246" fmla="*/ 196323 h 361598"/>
                <a:gd name="connsiteX247" fmla="*/ 370693 w 426364"/>
                <a:gd name="connsiteY247" fmla="*/ 199016 h 361598"/>
                <a:gd name="connsiteX248" fmla="*/ 371065 w 426364"/>
                <a:gd name="connsiteY248" fmla="*/ 202512 h 361598"/>
                <a:gd name="connsiteX249" fmla="*/ 370784 w 426364"/>
                <a:gd name="connsiteY249" fmla="*/ 204319 h 361598"/>
                <a:gd name="connsiteX250" fmla="*/ 371427 w 426364"/>
                <a:gd name="connsiteY250" fmla="*/ 208364 h 361598"/>
                <a:gd name="connsiteX251" fmla="*/ 372166 w 426364"/>
                <a:gd name="connsiteY251" fmla="*/ 208655 h 361598"/>
                <a:gd name="connsiteX252" fmla="*/ 377840 w 426364"/>
                <a:gd name="connsiteY252" fmla="*/ 209440 h 361598"/>
                <a:gd name="connsiteX253" fmla="*/ 383053 w 426364"/>
                <a:gd name="connsiteY253" fmla="*/ 210161 h 361598"/>
                <a:gd name="connsiteX254" fmla="*/ 389989 w 426364"/>
                <a:gd name="connsiteY254" fmla="*/ 211118 h 361598"/>
                <a:gd name="connsiteX255" fmla="*/ 392088 w 426364"/>
                <a:gd name="connsiteY255" fmla="*/ 213489 h 361598"/>
                <a:gd name="connsiteX256" fmla="*/ 393396 w 426364"/>
                <a:gd name="connsiteY256" fmla="*/ 218677 h 361598"/>
                <a:gd name="connsiteX257" fmla="*/ 393321 w 426364"/>
                <a:gd name="connsiteY257" fmla="*/ 222557 h 361598"/>
                <a:gd name="connsiteX258" fmla="*/ 392731 w 426364"/>
                <a:gd name="connsiteY258" fmla="*/ 224537 h 361598"/>
                <a:gd name="connsiteX259" fmla="*/ 387763 w 426364"/>
                <a:gd name="connsiteY259" fmla="*/ 230191 h 361598"/>
                <a:gd name="connsiteX260" fmla="*/ 382725 w 426364"/>
                <a:gd name="connsiteY260" fmla="*/ 235912 h 361598"/>
                <a:gd name="connsiteX261" fmla="*/ 377694 w 426364"/>
                <a:gd name="connsiteY261" fmla="*/ 241617 h 361598"/>
                <a:gd name="connsiteX262" fmla="*/ 372476 w 426364"/>
                <a:gd name="connsiteY262" fmla="*/ 247524 h 361598"/>
                <a:gd name="connsiteX263" fmla="*/ 371928 w 426364"/>
                <a:gd name="connsiteY263" fmla="*/ 248145 h 361598"/>
                <a:gd name="connsiteX264" fmla="*/ 376148 w 426364"/>
                <a:gd name="connsiteY264" fmla="*/ 252864 h 361598"/>
                <a:gd name="connsiteX265" fmla="*/ 378756 w 426364"/>
                <a:gd name="connsiteY265" fmla="*/ 255779 h 361598"/>
                <a:gd name="connsiteX266" fmla="*/ 382431 w 426364"/>
                <a:gd name="connsiteY266" fmla="*/ 259883 h 361598"/>
                <a:gd name="connsiteX267" fmla="*/ 382898 w 426364"/>
                <a:gd name="connsiteY267" fmla="*/ 260867 h 361598"/>
                <a:gd name="connsiteX268" fmla="*/ 382863 w 426364"/>
                <a:gd name="connsiteY268" fmla="*/ 262477 h 361598"/>
                <a:gd name="connsiteX269" fmla="*/ 386638 w 426364"/>
                <a:gd name="connsiteY269" fmla="*/ 268711 h 361598"/>
                <a:gd name="connsiteX270" fmla="*/ 387968 w 426364"/>
                <a:gd name="connsiteY270" fmla="*/ 271961 h 361598"/>
                <a:gd name="connsiteX271" fmla="*/ 389168 w 426364"/>
                <a:gd name="connsiteY271" fmla="*/ 273867 h 361598"/>
                <a:gd name="connsiteX272" fmla="*/ 392153 w 426364"/>
                <a:gd name="connsiteY272" fmla="*/ 276844 h 361598"/>
                <a:gd name="connsiteX273" fmla="*/ 395068 w 426364"/>
                <a:gd name="connsiteY273" fmla="*/ 279751 h 361598"/>
                <a:gd name="connsiteX274" fmla="*/ 398234 w 426364"/>
                <a:gd name="connsiteY274" fmla="*/ 281083 h 361598"/>
                <a:gd name="connsiteX275" fmla="*/ 400391 w 426364"/>
                <a:gd name="connsiteY275" fmla="*/ 281376 h 361598"/>
                <a:gd name="connsiteX276" fmla="*/ 405310 w 426364"/>
                <a:gd name="connsiteY276" fmla="*/ 282912 h 361598"/>
                <a:gd name="connsiteX277" fmla="*/ 407098 w 426364"/>
                <a:gd name="connsiteY277" fmla="*/ 284132 h 361598"/>
                <a:gd name="connsiteX278" fmla="*/ 409987 w 426364"/>
                <a:gd name="connsiteY278" fmla="*/ 287215 h 361598"/>
                <a:gd name="connsiteX279" fmla="*/ 413371 w 426364"/>
                <a:gd name="connsiteY279" fmla="*/ 286793 h 361598"/>
                <a:gd name="connsiteX280" fmla="*/ 414075 w 426364"/>
                <a:gd name="connsiteY280" fmla="*/ 286791 h 361598"/>
                <a:gd name="connsiteX281" fmla="*/ 414265 w 426364"/>
                <a:gd name="connsiteY281" fmla="*/ 287014 h 361598"/>
                <a:gd name="connsiteX282" fmla="*/ 414364 w 426364"/>
                <a:gd name="connsiteY282" fmla="*/ 288008 h 361598"/>
                <a:gd name="connsiteX283" fmla="*/ 413861 w 426364"/>
                <a:gd name="connsiteY283" fmla="*/ 292794 h 361598"/>
                <a:gd name="connsiteX284" fmla="*/ 414803 w 426364"/>
                <a:gd name="connsiteY284" fmla="*/ 297611 h 361598"/>
                <a:gd name="connsiteX285" fmla="*/ 415459 w 426364"/>
                <a:gd name="connsiteY285" fmla="*/ 304856 h 361598"/>
                <a:gd name="connsiteX286" fmla="*/ 415213 w 426364"/>
                <a:gd name="connsiteY286" fmla="*/ 306107 h 361598"/>
                <a:gd name="connsiteX287" fmla="*/ 414403 w 426364"/>
                <a:gd name="connsiteY287" fmla="*/ 308200 h 361598"/>
                <a:gd name="connsiteX288" fmla="*/ 414364 w 426364"/>
                <a:gd name="connsiteY288" fmla="*/ 309547 h 361598"/>
                <a:gd name="connsiteX289" fmla="*/ 414148 w 426364"/>
                <a:gd name="connsiteY289" fmla="*/ 310371 h 361598"/>
                <a:gd name="connsiteX290" fmla="*/ 414375 w 426364"/>
                <a:gd name="connsiteY290" fmla="*/ 310738 h 361598"/>
                <a:gd name="connsiteX291" fmla="*/ 415451 w 426364"/>
                <a:gd name="connsiteY291" fmla="*/ 311232 h 361598"/>
                <a:gd name="connsiteX292" fmla="*/ 417746 w 426364"/>
                <a:gd name="connsiteY292" fmla="*/ 311495 h 361598"/>
                <a:gd name="connsiteX293" fmla="*/ 423304 w 426364"/>
                <a:gd name="connsiteY293" fmla="*/ 310683 h 361598"/>
                <a:gd name="connsiteX294" fmla="*/ 423952 w 426364"/>
                <a:gd name="connsiteY294" fmla="*/ 310887 h 361598"/>
                <a:gd name="connsiteX295" fmla="*/ 425282 w 426364"/>
                <a:gd name="connsiteY295" fmla="*/ 311745 h 361598"/>
                <a:gd name="connsiteX296" fmla="*/ 426284 w 426364"/>
                <a:gd name="connsiteY296" fmla="*/ 313089 h 361598"/>
                <a:gd name="connsiteX297" fmla="*/ 426364 w 426364"/>
                <a:gd name="connsiteY297" fmla="*/ 313729 h 361598"/>
                <a:gd name="connsiteX298" fmla="*/ 424969 w 426364"/>
                <a:gd name="connsiteY298" fmla="*/ 314844 h 361598"/>
                <a:gd name="connsiteX299" fmla="*/ 424734 w 426364"/>
                <a:gd name="connsiteY299" fmla="*/ 316736 h 361598"/>
                <a:gd name="connsiteX300" fmla="*/ 425153 w 426364"/>
                <a:gd name="connsiteY300" fmla="*/ 319563 h 361598"/>
                <a:gd name="connsiteX301" fmla="*/ 424958 w 426364"/>
                <a:gd name="connsiteY301" fmla="*/ 319908 h 361598"/>
                <a:gd name="connsiteX302" fmla="*/ 423732 w 426364"/>
                <a:gd name="connsiteY302" fmla="*/ 320553 h 361598"/>
                <a:gd name="connsiteX303" fmla="*/ 423332 w 426364"/>
                <a:gd name="connsiteY303" fmla="*/ 324638 h 361598"/>
                <a:gd name="connsiteX304" fmla="*/ 423106 w 426364"/>
                <a:gd name="connsiteY304" fmla="*/ 325014 h 361598"/>
                <a:gd name="connsiteX305" fmla="*/ 421672 w 426364"/>
                <a:gd name="connsiteY305" fmla="*/ 325428 h 361598"/>
                <a:gd name="connsiteX306" fmla="*/ 414898 w 426364"/>
                <a:gd name="connsiteY306" fmla="*/ 325153 h 361598"/>
                <a:gd name="connsiteX307" fmla="*/ 414122 w 426364"/>
                <a:gd name="connsiteY307" fmla="*/ 325265 h 361598"/>
                <a:gd name="connsiteX308" fmla="*/ 411577 w 426364"/>
                <a:gd name="connsiteY308" fmla="*/ 326345 h 361598"/>
                <a:gd name="connsiteX309" fmla="*/ 407217 w 426364"/>
                <a:gd name="connsiteY309" fmla="*/ 327119 h 361598"/>
                <a:gd name="connsiteX310" fmla="*/ 406019 w 426364"/>
                <a:gd name="connsiteY310" fmla="*/ 327556 h 361598"/>
                <a:gd name="connsiteX311" fmla="*/ 404410 w 426364"/>
                <a:gd name="connsiteY311" fmla="*/ 328784 h 361598"/>
                <a:gd name="connsiteX312" fmla="*/ 403246 w 426364"/>
                <a:gd name="connsiteY312" fmla="*/ 330286 h 361598"/>
                <a:gd name="connsiteX313" fmla="*/ 403023 w 426364"/>
                <a:gd name="connsiteY313" fmla="*/ 331667 h 361598"/>
                <a:gd name="connsiteX314" fmla="*/ 402796 w 426364"/>
                <a:gd name="connsiteY314" fmla="*/ 331956 h 361598"/>
                <a:gd name="connsiteX315" fmla="*/ 400289 w 426364"/>
                <a:gd name="connsiteY315" fmla="*/ 331673 h 361598"/>
                <a:gd name="connsiteX316" fmla="*/ 399473 w 426364"/>
                <a:gd name="connsiteY316" fmla="*/ 332875 h 361598"/>
                <a:gd name="connsiteX317" fmla="*/ 394625 w 426364"/>
                <a:gd name="connsiteY317" fmla="*/ 334672 h 361598"/>
                <a:gd name="connsiteX318" fmla="*/ 394019 w 426364"/>
                <a:gd name="connsiteY318" fmla="*/ 335062 h 361598"/>
                <a:gd name="connsiteX319" fmla="*/ 393302 w 426364"/>
                <a:gd name="connsiteY319" fmla="*/ 336498 h 361598"/>
                <a:gd name="connsiteX320" fmla="*/ 392656 w 426364"/>
                <a:gd name="connsiteY320" fmla="*/ 340508 h 361598"/>
                <a:gd name="connsiteX321" fmla="*/ 392073 w 426364"/>
                <a:gd name="connsiteY321" fmla="*/ 344113 h 361598"/>
                <a:gd name="connsiteX322" fmla="*/ 391704 w 426364"/>
                <a:gd name="connsiteY322" fmla="*/ 344639 h 361598"/>
                <a:gd name="connsiteX323" fmla="*/ 390177 w 426364"/>
                <a:gd name="connsiteY323" fmla="*/ 345871 h 361598"/>
                <a:gd name="connsiteX324" fmla="*/ 390026 w 426364"/>
                <a:gd name="connsiteY324" fmla="*/ 346289 h 361598"/>
                <a:gd name="connsiteX325" fmla="*/ 390238 w 426364"/>
                <a:gd name="connsiteY325" fmla="*/ 347680 h 361598"/>
                <a:gd name="connsiteX326" fmla="*/ 389546 w 426364"/>
                <a:gd name="connsiteY326" fmla="*/ 350224 h 361598"/>
                <a:gd name="connsiteX327" fmla="*/ 389000 w 426364"/>
                <a:gd name="connsiteY327" fmla="*/ 357264 h 361598"/>
                <a:gd name="connsiteX328" fmla="*/ 388391 w 426364"/>
                <a:gd name="connsiteY328" fmla="*/ 359238 h 361598"/>
                <a:gd name="connsiteX329" fmla="*/ 387180 w 426364"/>
                <a:gd name="connsiteY329" fmla="*/ 359399 h 361598"/>
                <a:gd name="connsiteX330" fmla="*/ 386234 w 426364"/>
                <a:gd name="connsiteY330" fmla="*/ 360385 h 361598"/>
                <a:gd name="connsiteX331" fmla="*/ 384507 w 426364"/>
                <a:gd name="connsiteY331" fmla="*/ 361598 h 361598"/>
                <a:gd name="connsiteX332" fmla="*/ 380764 w 426364"/>
                <a:gd name="connsiteY332" fmla="*/ 360659 h 361598"/>
                <a:gd name="connsiteX333" fmla="*/ 377793 w 426364"/>
                <a:gd name="connsiteY333" fmla="*/ 359673 h 361598"/>
                <a:gd name="connsiteX334" fmla="*/ 367959 w 426364"/>
                <a:gd name="connsiteY334" fmla="*/ 357356 h 361598"/>
                <a:gd name="connsiteX335" fmla="*/ 366881 w 426364"/>
                <a:gd name="connsiteY335" fmla="*/ 356234 h 361598"/>
                <a:gd name="connsiteX336" fmla="*/ 366271 w 426364"/>
                <a:gd name="connsiteY336" fmla="*/ 354261 h 361598"/>
                <a:gd name="connsiteX337" fmla="*/ 364569 w 426364"/>
                <a:gd name="connsiteY337" fmla="*/ 353705 h 361598"/>
                <a:gd name="connsiteX338" fmla="*/ 362129 w 426364"/>
                <a:gd name="connsiteY338" fmla="*/ 356664 h 361598"/>
                <a:gd name="connsiteX339" fmla="*/ 353826 w 426364"/>
                <a:gd name="connsiteY339" fmla="*/ 354954 h 361598"/>
                <a:gd name="connsiteX340" fmla="*/ 351004 w 426364"/>
                <a:gd name="connsiteY340" fmla="*/ 355480 h 361598"/>
                <a:gd name="connsiteX341" fmla="*/ 349263 w 426364"/>
                <a:gd name="connsiteY341" fmla="*/ 354559 h 361598"/>
                <a:gd name="connsiteX342" fmla="*/ 344789 w 426364"/>
                <a:gd name="connsiteY342" fmla="*/ 354502 h 361598"/>
                <a:gd name="connsiteX343" fmla="*/ 341252 w 426364"/>
                <a:gd name="connsiteY343" fmla="*/ 352657 h 361598"/>
                <a:gd name="connsiteX344" fmla="*/ 336193 w 426364"/>
                <a:gd name="connsiteY344" fmla="*/ 353926 h 361598"/>
                <a:gd name="connsiteX345" fmla="*/ 332187 w 426364"/>
                <a:gd name="connsiteY345" fmla="*/ 354172 h 361598"/>
                <a:gd name="connsiteX346" fmla="*/ 326697 w 426364"/>
                <a:gd name="connsiteY346" fmla="*/ 350933 h 361598"/>
                <a:gd name="connsiteX347" fmla="*/ 320794 w 426364"/>
                <a:gd name="connsiteY347" fmla="*/ 350040 h 361598"/>
                <a:gd name="connsiteX348" fmla="*/ 316004 w 426364"/>
                <a:gd name="connsiteY348" fmla="*/ 350313 h 361598"/>
                <a:gd name="connsiteX349" fmla="*/ 313542 w 426364"/>
                <a:gd name="connsiteY349" fmla="*/ 350060 h 361598"/>
                <a:gd name="connsiteX350" fmla="*/ 309550 w 426364"/>
                <a:gd name="connsiteY350" fmla="*/ 348898 h 361598"/>
                <a:gd name="connsiteX351" fmla="*/ 307654 w 426364"/>
                <a:gd name="connsiteY351" fmla="*/ 347697 h 361598"/>
                <a:gd name="connsiteX352" fmla="*/ 304546 w 426364"/>
                <a:gd name="connsiteY352" fmla="*/ 348609 h 361598"/>
                <a:gd name="connsiteX353" fmla="*/ 303141 w 426364"/>
                <a:gd name="connsiteY353" fmla="*/ 346912 h 361598"/>
                <a:gd name="connsiteX354" fmla="*/ 294341 w 426364"/>
                <a:gd name="connsiteY354" fmla="*/ 345337 h 361598"/>
                <a:gd name="connsiteX355" fmla="*/ 292713 w 426364"/>
                <a:gd name="connsiteY355" fmla="*/ 342329 h 361598"/>
                <a:gd name="connsiteX356" fmla="*/ 291489 w 426364"/>
                <a:gd name="connsiteY356" fmla="*/ 339530 h 361598"/>
                <a:gd name="connsiteX357" fmla="*/ 291396 w 426364"/>
                <a:gd name="connsiteY357" fmla="*/ 336651 h 361598"/>
                <a:gd name="connsiteX358" fmla="*/ 289250 w 426364"/>
                <a:gd name="connsiteY358" fmla="*/ 331615 h 361598"/>
                <a:gd name="connsiteX359" fmla="*/ 288535 w 426364"/>
                <a:gd name="connsiteY359" fmla="*/ 324294 h 361598"/>
                <a:gd name="connsiteX360" fmla="*/ 287740 w 426364"/>
                <a:gd name="connsiteY360" fmla="*/ 321430 h 361598"/>
                <a:gd name="connsiteX361" fmla="*/ 286550 w 426364"/>
                <a:gd name="connsiteY361" fmla="*/ 318940 h 361598"/>
                <a:gd name="connsiteX362" fmla="*/ 284963 w 426364"/>
                <a:gd name="connsiteY362" fmla="*/ 316821 h 361598"/>
                <a:gd name="connsiteX363" fmla="*/ 282806 w 426364"/>
                <a:gd name="connsiteY363" fmla="*/ 314552 h 361598"/>
                <a:gd name="connsiteX364" fmla="*/ 280932 w 426364"/>
                <a:gd name="connsiteY364" fmla="*/ 313654 h 361598"/>
                <a:gd name="connsiteX365" fmla="*/ 272707 w 426364"/>
                <a:gd name="connsiteY365" fmla="*/ 311927 h 361598"/>
                <a:gd name="connsiteX366" fmla="*/ 271119 w 426364"/>
                <a:gd name="connsiteY366" fmla="*/ 312156 h 361598"/>
                <a:gd name="connsiteX367" fmla="*/ 267442 w 426364"/>
                <a:gd name="connsiteY367" fmla="*/ 313287 h 361598"/>
                <a:gd name="connsiteX368" fmla="*/ 263529 w 426364"/>
                <a:gd name="connsiteY368" fmla="*/ 315798 h 361598"/>
                <a:gd name="connsiteX369" fmla="*/ 257098 w 426364"/>
                <a:gd name="connsiteY369" fmla="*/ 317226 h 361598"/>
                <a:gd name="connsiteX370" fmla="*/ 255801 w 426364"/>
                <a:gd name="connsiteY370" fmla="*/ 318306 h 361598"/>
                <a:gd name="connsiteX371" fmla="*/ 254185 w 426364"/>
                <a:gd name="connsiteY371" fmla="*/ 320735 h 361598"/>
                <a:gd name="connsiteX372" fmla="*/ 252095 w 426364"/>
                <a:gd name="connsiteY372" fmla="*/ 322145 h 361598"/>
                <a:gd name="connsiteX373" fmla="*/ 249223 w 426364"/>
                <a:gd name="connsiteY373" fmla="*/ 321780 h 361598"/>
                <a:gd name="connsiteX374" fmla="*/ 246137 w 426364"/>
                <a:gd name="connsiteY374" fmla="*/ 323218 h 361598"/>
                <a:gd name="connsiteX375" fmla="*/ 240415 w 426364"/>
                <a:gd name="connsiteY375" fmla="*/ 327222 h 361598"/>
                <a:gd name="connsiteX376" fmla="*/ 237396 w 426364"/>
                <a:gd name="connsiteY376" fmla="*/ 328447 h 361598"/>
                <a:gd name="connsiteX377" fmla="*/ 234867 w 426364"/>
                <a:gd name="connsiteY377" fmla="*/ 328355 h 361598"/>
                <a:gd name="connsiteX378" fmla="*/ 232151 w 426364"/>
                <a:gd name="connsiteY378" fmla="*/ 326452 h 361598"/>
                <a:gd name="connsiteX379" fmla="*/ 226070 w 426364"/>
                <a:gd name="connsiteY379" fmla="*/ 323901 h 361598"/>
                <a:gd name="connsiteX380" fmla="*/ 222140 w 426364"/>
                <a:gd name="connsiteY380" fmla="*/ 323052 h 361598"/>
                <a:gd name="connsiteX381" fmla="*/ 216683 w 426364"/>
                <a:gd name="connsiteY381" fmla="*/ 323638 h 361598"/>
                <a:gd name="connsiteX382" fmla="*/ 214101 w 426364"/>
                <a:gd name="connsiteY382" fmla="*/ 323214 h 361598"/>
                <a:gd name="connsiteX383" fmla="*/ 209708 w 426364"/>
                <a:gd name="connsiteY383" fmla="*/ 320216 h 361598"/>
                <a:gd name="connsiteX384" fmla="*/ 208555 w 426364"/>
                <a:gd name="connsiteY384" fmla="*/ 318041 h 361598"/>
                <a:gd name="connsiteX385" fmla="*/ 206051 w 426364"/>
                <a:gd name="connsiteY385" fmla="*/ 316586 h 361598"/>
                <a:gd name="connsiteX386" fmla="*/ 198108 w 426364"/>
                <a:gd name="connsiteY386" fmla="*/ 313315 h 361598"/>
                <a:gd name="connsiteX387" fmla="*/ 191675 w 426364"/>
                <a:gd name="connsiteY387" fmla="*/ 308995 h 361598"/>
                <a:gd name="connsiteX388" fmla="*/ 190495 w 426364"/>
                <a:gd name="connsiteY388" fmla="*/ 307360 h 361598"/>
                <a:gd name="connsiteX389" fmla="*/ 189708 w 426364"/>
                <a:gd name="connsiteY389" fmla="*/ 304943 h 361598"/>
                <a:gd name="connsiteX390" fmla="*/ 186906 w 426364"/>
                <a:gd name="connsiteY390" fmla="*/ 302005 h 361598"/>
                <a:gd name="connsiteX391" fmla="*/ 180626 w 426364"/>
                <a:gd name="connsiteY391" fmla="*/ 299599 h 361598"/>
                <a:gd name="connsiteX392" fmla="*/ 177063 w 426364"/>
                <a:gd name="connsiteY392" fmla="*/ 297041 h 361598"/>
                <a:gd name="connsiteX393" fmla="*/ 172889 w 426364"/>
                <a:gd name="connsiteY393" fmla="*/ 296471 h 361598"/>
                <a:gd name="connsiteX394" fmla="*/ 169004 w 426364"/>
                <a:gd name="connsiteY394" fmla="*/ 296550 h 361598"/>
                <a:gd name="connsiteX395" fmla="*/ 167296 w 426364"/>
                <a:gd name="connsiteY395" fmla="*/ 296090 h 361598"/>
                <a:gd name="connsiteX396" fmla="*/ 165737 w 426364"/>
                <a:gd name="connsiteY396" fmla="*/ 294995 h 361598"/>
                <a:gd name="connsiteX397" fmla="*/ 160438 w 426364"/>
                <a:gd name="connsiteY397" fmla="*/ 289701 h 361598"/>
                <a:gd name="connsiteX398" fmla="*/ 160375 w 426364"/>
                <a:gd name="connsiteY398" fmla="*/ 287606 h 361598"/>
                <a:gd name="connsiteX399" fmla="*/ 157110 w 426364"/>
                <a:gd name="connsiteY399" fmla="*/ 282423 h 361598"/>
                <a:gd name="connsiteX400" fmla="*/ 156346 w 426364"/>
                <a:gd name="connsiteY400" fmla="*/ 280577 h 361598"/>
                <a:gd name="connsiteX401" fmla="*/ 155642 w 426364"/>
                <a:gd name="connsiteY401" fmla="*/ 275440 h 361598"/>
                <a:gd name="connsiteX402" fmla="*/ 154739 w 426364"/>
                <a:gd name="connsiteY402" fmla="*/ 274096 h 361598"/>
                <a:gd name="connsiteX403" fmla="*/ 151329 w 426364"/>
                <a:gd name="connsiteY403" fmla="*/ 271979 h 361598"/>
                <a:gd name="connsiteX404" fmla="*/ 150799 w 426364"/>
                <a:gd name="connsiteY404" fmla="*/ 270593 h 361598"/>
                <a:gd name="connsiteX405" fmla="*/ 151524 w 426364"/>
                <a:gd name="connsiteY405" fmla="*/ 268751 h 361598"/>
                <a:gd name="connsiteX406" fmla="*/ 151524 w 426364"/>
                <a:gd name="connsiteY406" fmla="*/ 267348 h 361598"/>
                <a:gd name="connsiteX407" fmla="*/ 149749 w 426364"/>
                <a:gd name="connsiteY407" fmla="*/ 266031 h 361598"/>
                <a:gd name="connsiteX408" fmla="*/ 147089 w 426364"/>
                <a:gd name="connsiteY408" fmla="*/ 265329 h 361598"/>
                <a:gd name="connsiteX409" fmla="*/ 146445 w 426364"/>
                <a:gd name="connsiteY409" fmla="*/ 263748 h 361598"/>
                <a:gd name="connsiteX410" fmla="*/ 146929 w 426364"/>
                <a:gd name="connsiteY410" fmla="*/ 260672 h 361598"/>
                <a:gd name="connsiteX411" fmla="*/ 146523 w 426364"/>
                <a:gd name="connsiteY411" fmla="*/ 258738 h 361598"/>
                <a:gd name="connsiteX412" fmla="*/ 144178 w 426364"/>
                <a:gd name="connsiteY412" fmla="*/ 255651 h 361598"/>
                <a:gd name="connsiteX413" fmla="*/ 140714 w 426364"/>
                <a:gd name="connsiteY413" fmla="*/ 252487 h 361598"/>
                <a:gd name="connsiteX414" fmla="*/ 137248 w 426364"/>
                <a:gd name="connsiteY414" fmla="*/ 247801 h 361598"/>
                <a:gd name="connsiteX415" fmla="*/ 135894 w 426364"/>
                <a:gd name="connsiteY415" fmla="*/ 246632 h 361598"/>
                <a:gd name="connsiteX416" fmla="*/ 135009 w 426364"/>
                <a:gd name="connsiteY416" fmla="*/ 243562 h 361598"/>
                <a:gd name="connsiteX417" fmla="*/ 133741 w 426364"/>
                <a:gd name="connsiteY417" fmla="*/ 239918 h 361598"/>
                <a:gd name="connsiteX418" fmla="*/ 131785 w 426364"/>
                <a:gd name="connsiteY418" fmla="*/ 239655 h 361598"/>
                <a:gd name="connsiteX419" fmla="*/ 122316 w 426364"/>
                <a:gd name="connsiteY419" fmla="*/ 244025 h 361598"/>
                <a:gd name="connsiteX420" fmla="*/ 119554 w 426364"/>
                <a:gd name="connsiteY420" fmla="*/ 241567 h 361598"/>
                <a:gd name="connsiteX421" fmla="*/ 111247 w 426364"/>
                <a:gd name="connsiteY421" fmla="*/ 237290 h 361598"/>
                <a:gd name="connsiteX422" fmla="*/ 110668 w 426364"/>
                <a:gd name="connsiteY422" fmla="*/ 236647 h 361598"/>
                <a:gd name="connsiteX423" fmla="*/ 110090 w 426364"/>
                <a:gd name="connsiteY423" fmla="*/ 235665 h 361598"/>
                <a:gd name="connsiteX424" fmla="*/ 111130 w 426364"/>
                <a:gd name="connsiteY424" fmla="*/ 235098 h 361598"/>
                <a:gd name="connsiteX425" fmla="*/ 112173 w 426364"/>
                <a:gd name="connsiteY425" fmla="*/ 234867 h 361598"/>
                <a:gd name="connsiteX426" fmla="*/ 114255 w 426364"/>
                <a:gd name="connsiteY426" fmla="*/ 235629 h 361598"/>
                <a:gd name="connsiteX427" fmla="*/ 115514 w 426364"/>
                <a:gd name="connsiteY427" fmla="*/ 234729 h 361598"/>
                <a:gd name="connsiteX428" fmla="*/ 115011 w 426364"/>
                <a:gd name="connsiteY428" fmla="*/ 233277 h 361598"/>
                <a:gd name="connsiteX429" fmla="*/ 112929 w 426364"/>
                <a:gd name="connsiteY429" fmla="*/ 232376 h 361598"/>
                <a:gd name="connsiteX430" fmla="*/ 110090 w 426364"/>
                <a:gd name="connsiteY430" fmla="*/ 232446 h 361598"/>
                <a:gd name="connsiteX431" fmla="*/ 110867 w 426364"/>
                <a:gd name="connsiteY431" fmla="*/ 233807 h 361598"/>
                <a:gd name="connsiteX432" fmla="*/ 108207 w 426364"/>
                <a:gd name="connsiteY432" fmla="*/ 235098 h 361598"/>
                <a:gd name="connsiteX433" fmla="*/ 107641 w 426364"/>
                <a:gd name="connsiteY433" fmla="*/ 236788 h 361598"/>
                <a:gd name="connsiteX434" fmla="*/ 108027 w 426364"/>
                <a:gd name="connsiteY434" fmla="*/ 238878 h 361598"/>
                <a:gd name="connsiteX435" fmla="*/ 108258 w 426364"/>
                <a:gd name="connsiteY435" fmla="*/ 241799 h 361598"/>
                <a:gd name="connsiteX436" fmla="*/ 107174 w 426364"/>
                <a:gd name="connsiteY436" fmla="*/ 243215 h 361598"/>
                <a:gd name="connsiteX437" fmla="*/ 106341 w 426364"/>
                <a:gd name="connsiteY437" fmla="*/ 243867 h 361598"/>
                <a:gd name="connsiteX438" fmla="*/ 102769 w 426364"/>
                <a:gd name="connsiteY438" fmla="*/ 244040 h 361598"/>
                <a:gd name="connsiteX439" fmla="*/ 101102 w 426364"/>
                <a:gd name="connsiteY439" fmla="*/ 245330 h 361598"/>
                <a:gd name="connsiteX440" fmla="*/ 100018 w 426364"/>
                <a:gd name="connsiteY440" fmla="*/ 245637 h 361598"/>
                <a:gd name="connsiteX441" fmla="*/ 98515 w 426364"/>
                <a:gd name="connsiteY441" fmla="*/ 244634 h 361598"/>
                <a:gd name="connsiteX442" fmla="*/ 97544 w 426364"/>
                <a:gd name="connsiteY442" fmla="*/ 243816 h 361598"/>
                <a:gd name="connsiteX443" fmla="*/ 96749 w 426364"/>
                <a:gd name="connsiteY443" fmla="*/ 242072 h 361598"/>
                <a:gd name="connsiteX444" fmla="*/ 96505 w 426364"/>
                <a:gd name="connsiteY444" fmla="*/ 240855 h 361598"/>
                <a:gd name="connsiteX445" fmla="*/ 96810 w 426364"/>
                <a:gd name="connsiteY445" fmla="*/ 240165 h 361598"/>
                <a:gd name="connsiteX446" fmla="*/ 96395 w 426364"/>
                <a:gd name="connsiteY446" fmla="*/ 239151 h 361598"/>
                <a:gd name="connsiteX447" fmla="*/ 95255 w 426364"/>
                <a:gd name="connsiteY447" fmla="*/ 237811 h 361598"/>
                <a:gd name="connsiteX448" fmla="*/ 94102 w 426364"/>
                <a:gd name="connsiteY448" fmla="*/ 237074 h 361598"/>
                <a:gd name="connsiteX449" fmla="*/ 92935 w 426364"/>
                <a:gd name="connsiteY449" fmla="*/ 236940 h 361598"/>
                <a:gd name="connsiteX450" fmla="*/ 91968 w 426364"/>
                <a:gd name="connsiteY450" fmla="*/ 236123 h 361598"/>
                <a:gd name="connsiteX451" fmla="*/ 91197 w 426364"/>
                <a:gd name="connsiteY451" fmla="*/ 234623 h 361598"/>
                <a:gd name="connsiteX452" fmla="*/ 89396 w 426364"/>
                <a:gd name="connsiteY452" fmla="*/ 233633 h 361598"/>
                <a:gd name="connsiteX453" fmla="*/ 88265 w 426364"/>
                <a:gd name="connsiteY453" fmla="*/ 233440 h 361598"/>
                <a:gd name="connsiteX454" fmla="*/ 88232 w 426364"/>
                <a:gd name="connsiteY454" fmla="*/ 228805 h 361598"/>
                <a:gd name="connsiteX455" fmla="*/ 88200 w 426364"/>
                <a:gd name="connsiteY455" fmla="*/ 224739 h 361598"/>
                <a:gd name="connsiteX456" fmla="*/ 88170 w 426364"/>
                <a:gd name="connsiteY456" fmla="*/ 220694 h 361598"/>
                <a:gd name="connsiteX457" fmla="*/ 84315 w 426364"/>
                <a:gd name="connsiteY457" fmla="*/ 220532 h 361598"/>
                <a:gd name="connsiteX458" fmla="*/ 80847 w 426364"/>
                <a:gd name="connsiteY458" fmla="*/ 220387 h 361598"/>
                <a:gd name="connsiteX459" fmla="*/ 80847 w 426364"/>
                <a:gd name="connsiteY459" fmla="*/ 216997 h 361598"/>
                <a:gd name="connsiteX460" fmla="*/ 80847 w 426364"/>
                <a:gd name="connsiteY460" fmla="*/ 210675 h 361598"/>
                <a:gd name="connsiteX461" fmla="*/ 82493 w 426364"/>
                <a:gd name="connsiteY461" fmla="*/ 205768 h 361598"/>
                <a:gd name="connsiteX462" fmla="*/ 84175 w 426364"/>
                <a:gd name="connsiteY462" fmla="*/ 201044 h 361598"/>
                <a:gd name="connsiteX463" fmla="*/ 81623 w 426364"/>
                <a:gd name="connsiteY463" fmla="*/ 197565 h 361598"/>
                <a:gd name="connsiteX464" fmla="*/ 78902 w 426364"/>
                <a:gd name="connsiteY464" fmla="*/ 193849 h 361598"/>
                <a:gd name="connsiteX465" fmla="*/ 77142 w 426364"/>
                <a:gd name="connsiteY465" fmla="*/ 192307 h 361598"/>
                <a:gd name="connsiteX466" fmla="*/ 75069 w 426364"/>
                <a:gd name="connsiteY466" fmla="*/ 187659 h 361598"/>
                <a:gd name="connsiteX467" fmla="*/ 74032 w 426364"/>
                <a:gd name="connsiteY467" fmla="*/ 185603 h 361598"/>
                <a:gd name="connsiteX468" fmla="*/ 73114 w 426364"/>
                <a:gd name="connsiteY468" fmla="*/ 184821 h 361598"/>
                <a:gd name="connsiteX469" fmla="*/ 72128 w 426364"/>
                <a:gd name="connsiteY469" fmla="*/ 184366 h 361598"/>
                <a:gd name="connsiteX470" fmla="*/ 68506 w 426364"/>
                <a:gd name="connsiteY470" fmla="*/ 184548 h 361598"/>
                <a:gd name="connsiteX471" fmla="*/ 65127 w 426364"/>
                <a:gd name="connsiteY471" fmla="*/ 182043 h 361598"/>
                <a:gd name="connsiteX472" fmla="*/ 61158 w 426364"/>
                <a:gd name="connsiteY472" fmla="*/ 179099 h 361598"/>
                <a:gd name="connsiteX473" fmla="*/ 56312 w 426364"/>
                <a:gd name="connsiteY473" fmla="*/ 175502 h 361598"/>
                <a:gd name="connsiteX474" fmla="*/ 52048 w 426364"/>
                <a:gd name="connsiteY474" fmla="*/ 173151 h 361598"/>
                <a:gd name="connsiteX475" fmla="*/ 50305 w 426364"/>
                <a:gd name="connsiteY475" fmla="*/ 172633 h 361598"/>
                <a:gd name="connsiteX476" fmla="*/ 46204 w 426364"/>
                <a:gd name="connsiteY476" fmla="*/ 172449 h 361598"/>
                <a:gd name="connsiteX477" fmla="*/ 45768 w 426364"/>
                <a:gd name="connsiteY477" fmla="*/ 172000 h 361598"/>
                <a:gd name="connsiteX478" fmla="*/ 45489 w 426364"/>
                <a:gd name="connsiteY478" fmla="*/ 170708 h 361598"/>
                <a:gd name="connsiteX479" fmla="*/ 45496 w 426364"/>
                <a:gd name="connsiteY479" fmla="*/ 169268 h 361598"/>
                <a:gd name="connsiteX480" fmla="*/ 46830 w 426364"/>
                <a:gd name="connsiteY480" fmla="*/ 167096 h 361598"/>
                <a:gd name="connsiteX481" fmla="*/ 46936 w 426364"/>
                <a:gd name="connsiteY481" fmla="*/ 165731 h 361598"/>
                <a:gd name="connsiteX482" fmla="*/ 44150 w 426364"/>
                <a:gd name="connsiteY482" fmla="*/ 161127 h 361598"/>
                <a:gd name="connsiteX483" fmla="*/ 43291 w 426364"/>
                <a:gd name="connsiteY483" fmla="*/ 159780 h 361598"/>
                <a:gd name="connsiteX484" fmla="*/ 40907 w 426364"/>
                <a:gd name="connsiteY484" fmla="*/ 159238 h 361598"/>
                <a:gd name="connsiteX485" fmla="*/ 41382 w 426364"/>
                <a:gd name="connsiteY485" fmla="*/ 157908 h 361598"/>
                <a:gd name="connsiteX486" fmla="*/ 41382 w 426364"/>
                <a:gd name="connsiteY486" fmla="*/ 157019 h 361598"/>
                <a:gd name="connsiteX487" fmla="*/ 41043 w 426364"/>
                <a:gd name="connsiteY487" fmla="*/ 156319 h 361598"/>
                <a:gd name="connsiteX488" fmla="*/ 40492 w 426364"/>
                <a:gd name="connsiteY488" fmla="*/ 155983 h 361598"/>
                <a:gd name="connsiteX489" fmla="*/ 39793 w 426364"/>
                <a:gd name="connsiteY489" fmla="*/ 155947 h 361598"/>
                <a:gd name="connsiteX490" fmla="*/ 37923 w 426364"/>
                <a:gd name="connsiteY490" fmla="*/ 156492 h 361598"/>
                <a:gd name="connsiteX491" fmla="*/ 36495 w 426364"/>
                <a:gd name="connsiteY491" fmla="*/ 154412 h 361598"/>
                <a:gd name="connsiteX492" fmla="*/ 32062 w 426364"/>
                <a:gd name="connsiteY492" fmla="*/ 148483 h 361598"/>
                <a:gd name="connsiteX493" fmla="*/ 30642 w 426364"/>
                <a:gd name="connsiteY493" fmla="*/ 147763 h 361598"/>
                <a:gd name="connsiteX494" fmla="*/ 30378 w 426364"/>
                <a:gd name="connsiteY494" fmla="*/ 147356 h 361598"/>
                <a:gd name="connsiteX495" fmla="*/ 31462 w 426364"/>
                <a:gd name="connsiteY495" fmla="*/ 145536 h 361598"/>
                <a:gd name="connsiteX496" fmla="*/ 33287 w 426364"/>
                <a:gd name="connsiteY496" fmla="*/ 142837 h 361598"/>
                <a:gd name="connsiteX497" fmla="*/ 33600 w 426364"/>
                <a:gd name="connsiteY497" fmla="*/ 141269 h 361598"/>
                <a:gd name="connsiteX498" fmla="*/ 33248 w 426364"/>
                <a:gd name="connsiteY498" fmla="*/ 139547 h 361598"/>
                <a:gd name="connsiteX499" fmla="*/ 31274 w 426364"/>
                <a:gd name="connsiteY499" fmla="*/ 136295 h 361598"/>
                <a:gd name="connsiteX500" fmla="*/ 31756 w 426364"/>
                <a:gd name="connsiteY500" fmla="*/ 134918 h 361598"/>
                <a:gd name="connsiteX501" fmla="*/ 32605 w 426364"/>
                <a:gd name="connsiteY501" fmla="*/ 133332 h 361598"/>
                <a:gd name="connsiteX502" fmla="*/ 32671 w 426364"/>
                <a:gd name="connsiteY502" fmla="*/ 132141 h 361598"/>
                <a:gd name="connsiteX503" fmla="*/ 33999 w 426364"/>
                <a:gd name="connsiteY503" fmla="*/ 132318 h 361598"/>
                <a:gd name="connsiteX504" fmla="*/ 35694 w 426364"/>
                <a:gd name="connsiteY504" fmla="*/ 132335 h 361598"/>
                <a:gd name="connsiteX505" fmla="*/ 36226 w 426364"/>
                <a:gd name="connsiteY505" fmla="*/ 131365 h 361598"/>
                <a:gd name="connsiteX506" fmla="*/ 36193 w 426364"/>
                <a:gd name="connsiteY506" fmla="*/ 127965 h 361598"/>
                <a:gd name="connsiteX507" fmla="*/ 36593 w 426364"/>
                <a:gd name="connsiteY507" fmla="*/ 126724 h 361598"/>
                <a:gd name="connsiteX508" fmla="*/ 41961 w 426364"/>
                <a:gd name="connsiteY508" fmla="*/ 120965 h 361598"/>
                <a:gd name="connsiteX509" fmla="*/ 44634 w 426364"/>
                <a:gd name="connsiteY509" fmla="*/ 119671 h 361598"/>
                <a:gd name="connsiteX510" fmla="*/ 46668 w 426364"/>
                <a:gd name="connsiteY510" fmla="*/ 118481 h 361598"/>
                <a:gd name="connsiteX511" fmla="*/ 47130 w 426364"/>
                <a:gd name="connsiteY511" fmla="*/ 116749 h 361598"/>
                <a:gd name="connsiteX512" fmla="*/ 46711 w 426364"/>
                <a:gd name="connsiteY512" fmla="*/ 115857 h 361598"/>
                <a:gd name="connsiteX513" fmla="*/ 46314 w 426364"/>
                <a:gd name="connsiteY513" fmla="*/ 114553 h 361598"/>
                <a:gd name="connsiteX514" fmla="*/ 46189 w 426364"/>
                <a:gd name="connsiteY514" fmla="*/ 113614 h 361598"/>
                <a:gd name="connsiteX515" fmla="*/ 43945 w 426364"/>
                <a:gd name="connsiteY515" fmla="*/ 111024 h 361598"/>
                <a:gd name="connsiteX516" fmla="*/ 43166 w 426364"/>
                <a:gd name="connsiteY516" fmla="*/ 109717 h 361598"/>
                <a:gd name="connsiteX517" fmla="*/ 43071 w 426364"/>
                <a:gd name="connsiteY517" fmla="*/ 108527 h 361598"/>
                <a:gd name="connsiteX518" fmla="*/ 43600 w 426364"/>
                <a:gd name="connsiteY518" fmla="*/ 106416 h 361598"/>
                <a:gd name="connsiteX519" fmla="*/ 44537 w 426364"/>
                <a:gd name="connsiteY519" fmla="*/ 104779 h 361598"/>
                <a:gd name="connsiteX520" fmla="*/ 47711 w 426364"/>
                <a:gd name="connsiteY520" fmla="*/ 103816 h 361598"/>
                <a:gd name="connsiteX521" fmla="*/ 49514 w 426364"/>
                <a:gd name="connsiteY521" fmla="*/ 102992 h 361598"/>
                <a:gd name="connsiteX522" fmla="*/ 49756 w 426364"/>
                <a:gd name="connsiteY522" fmla="*/ 102258 h 361598"/>
                <a:gd name="connsiteX523" fmla="*/ 47413 w 426364"/>
                <a:gd name="connsiteY523" fmla="*/ 101067 h 361598"/>
                <a:gd name="connsiteX524" fmla="*/ 42414 w 426364"/>
                <a:gd name="connsiteY524" fmla="*/ 100692 h 361598"/>
                <a:gd name="connsiteX525" fmla="*/ 38765 w 426364"/>
                <a:gd name="connsiteY525" fmla="*/ 101034 h 361598"/>
                <a:gd name="connsiteX526" fmla="*/ 37595 w 426364"/>
                <a:gd name="connsiteY526" fmla="*/ 100660 h 361598"/>
                <a:gd name="connsiteX527" fmla="*/ 35861 w 426364"/>
                <a:gd name="connsiteY527" fmla="*/ 98349 h 361598"/>
                <a:gd name="connsiteX528" fmla="*/ 34016 w 426364"/>
                <a:gd name="connsiteY528" fmla="*/ 97117 h 361598"/>
                <a:gd name="connsiteX529" fmla="*/ 32296 w 426364"/>
                <a:gd name="connsiteY529" fmla="*/ 96326 h 361598"/>
                <a:gd name="connsiteX530" fmla="*/ 30614 w 426364"/>
                <a:gd name="connsiteY530" fmla="*/ 96471 h 361598"/>
                <a:gd name="connsiteX531" fmla="*/ 29594 w 426364"/>
                <a:gd name="connsiteY531" fmla="*/ 96155 h 361598"/>
                <a:gd name="connsiteX532" fmla="*/ 29357 w 426364"/>
                <a:gd name="connsiteY532" fmla="*/ 95163 h 361598"/>
                <a:gd name="connsiteX533" fmla="*/ 26929 w 426364"/>
                <a:gd name="connsiteY533" fmla="*/ 87547 h 361598"/>
                <a:gd name="connsiteX534" fmla="*/ 26165 w 426364"/>
                <a:gd name="connsiteY534" fmla="*/ 86504 h 361598"/>
                <a:gd name="connsiteX535" fmla="*/ 25031 w 426364"/>
                <a:gd name="connsiteY535" fmla="*/ 86246 h 361598"/>
                <a:gd name="connsiteX536" fmla="*/ 24083 w 426364"/>
                <a:gd name="connsiteY536" fmla="*/ 86198 h 361598"/>
                <a:gd name="connsiteX537" fmla="*/ 23451 w 426364"/>
                <a:gd name="connsiteY537" fmla="*/ 85673 h 361598"/>
                <a:gd name="connsiteX538" fmla="*/ 22773 w 426364"/>
                <a:gd name="connsiteY538" fmla="*/ 84619 h 361598"/>
                <a:gd name="connsiteX539" fmla="*/ 22285 w 426364"/>
                <a:gd name="connsiteY539" fmla="*/ 83240 h 361598"/>
                <a:gd name="connsiteX540" fmla="*/ 22248 w 426364"/>
                <a:gd name="connsiteY540" fmla="*/ 81428 h 361598"/>
                <a:gd name="connsiteX541" fmla="*/ 22349 w 426364"/>
                <a:gd name="connsiteY541" fmla="*/ 79873 h 361598"/>
                <a:gd name="connsiteX542" fmla="*/ 22023 w 426364"/>
                <a:gd name="connsiteY542" fmla="*/ 78871 h 361598"/>
                <a:gd name="connsiteX543" fmla="*/ 21188 w 426364"/>
                <a:gd name="connsiteY543" fmla="*/ 77874 h 361598"/>
                <a:gd name="connsiteX544" fmla="*/ 20002 w 426364"/>
                <a:gd name="connsiteY544" fmla="*/ 77158 h 361598"/>
                <a:gd name="connsiteX545" fmla="*/ 18964 w 426364"/>
                <a:gd name="connsiteY545" fmla="*/ 76310 h 361598"/>
                <a:gd name="connsiteX546" fmla="*/ 17141 w 426364"/>
                <a:gd name="connsiteY546" fmla="*/ 69586 h 361598"/>
                <a:gd name="connsiteX547" fmla="*/ 16411 w 426364"/>
                <a:gd name="connsiteY547" fmla="*/ 67775 h 361598"/>
                <a:gd name="connsiteX548" fmla="*/ 16405 w 426364"/>
                <a:gd name="connsiteY548" fmla="*/ 67586 h 361598"/>
                <a:gd name="connsiteX549" fmla="*/ 16439 w 426364"/>
                <a:gd name="connsiteY549" fmla="*/ 67231 h 361598"/>
                <a:gd name="connsiteX550" fmla="*/ 16254 w 426364"/>
                <a:gd name="connsiteY550" fmla="*/ 65685 h 361598"/>
                <a:gd name="connsiteX551" fmla="*/ 17104 w 426364"/>
                <a:gd name="connsiteY551" fmla="*/ 64342 h 361598"/>
                <a:gd name="connsiteX552" fmla="*/ 17046 w 426364"/>
                <a:gd name="connsiteY552" fmla="*/ 63817 h 361598"/>
                <a:gd name="connsiteX553" fmla="*/ 15299 w 426364"/>
                <a:gd name="connsiteY553" fmla="*/ 62115 h 361598"/>
                <a:gd name="connsiteX554" fmla="*/ 12844 w 426364"/>
                <a:gd name="connsiteY554" fmla="*/ 60416 h 361598"/>
                <a:gd name="connsiteX555" fmla="*/ 12179 w 426364"/>
                <a:gd name="connsiteY555" fmla="*/ 60118 h 361598"/>
                <a:gd name="connsiteX556" fmla="*/ 12159 w 426364"/>
                <a:gd name="connsiteY556" fmla="*/ 58306 h 361598"/>
                <a:gd name="connsiteX557" fmla="*/ 12248 w 426364"/>
                <a:gd name="connsiteY557" fmla="*/ 56932 h 361598"/>
                <a:gd name="connsiteX558" fmla="*/ 12028 w 426364"/>
                <a:gd name="connsiteY558" fmla="*/ 55694 h 361598"/>
                <a:gd name="connsiteX559" fmla="*/ 11561 w 426364"/>
                <a:gd name="connsiteY559" fmla="*/ 54986 h 361598"/>
                <a:gd name="connsiteX560" fmla="*/ 11544 w 426364"/>
                <a:gd name="connsiteY560" fmla="*/ 54429 h 361598"/>
                <a:gd name="connsiteX561" fmla="*/ 12531 w 426364"/>
                <a:gd name="connsiteY561" fmla="*/ 53094 h 361598"/>
                <a:gd name="connsiteX562" fmla="*/ 11896 w 426364"/>
                <a:gd name="connsiteY562" fmla="*/ 52217 h 361598"/>
                <a:gd name="connsiteX563" fmla="*/ 8281 w 426364"/>
                <a:gd name="connsiteY563" fmla="*/ 50052 h 361598"/>
                <a:gd name="connsiteX564" fmla="*/ 6920 w 426364"/>
                <a:gd name="connsiteY564" fmla="*/ 48962 h 361598"/>
                <a:gd name="connsiteX565" fmla="*/ 4416 w 426364"/>
                <a:gd name="connsiteY565" fmla="*/ 48747 h 361598"/>
                <a:gd name="connsiteX566" fmla="*/ 4159 w 426364"/>
                <a:gd name="connsiteY566" fmla="*/ 48033 h 361598"/>
                <a:gd name="connsiteX567" fmla="*/ 4547 w 426364"/>
                <a:gd name="connsiteY567" fmla="*/ 46518 h 361598"/>
                <a:gd name="connsiteX568" fmla="*/ 5411 w 426364"/>
                <a:gd name="connsiteY568" fmla="*/ 44682 h 361598"/>
                <a:gd name="connsiteX569" fmla="*/ 6769 w 426364"/>
                <a:gd name="connsiteY569" fmla="*/ 42874 h 361598"/>
                <a:gd name="connsiteX570" fmla="*/ 7201 w 426364"/>
                <a:gd name="connsiteY570" fmla="*/ 41919 h 361598"/>
                <a:gd name="connsiteX571" fmla="*/ 7728 w 426364"/>
                <a:gd name="connsiteY571" fmla="*/ 40296 h 361598"/>
                <a:gd name="connsiteX572" fmla="*/ 7908 w 426364"/>
                <a:gd name="connsiteY572" fmla="*/ 39143 h 361598"/>
                <a:gd name="connsiteX573" fmla="*/ 9428 w 426364"/>
                <a:gd name="connsiteY573" fmla="*/ 37520 h 361598"/>
                <a:gd name="connsiteX574" fmla="*/ 9434 w 426364"/>
                <a:gd name="connsiteY574" fmla="*/ 37096 h 361598"/>
                <a:gd name="connsiteX575" fmla="*/ 9013 w 426364"/>
                <a:gd name="connsiteY575" fmla="*/ 36517 h 361598"/>
                <a:gd name="connsiteX576" fmla="*/ 7795 w 426364"/>
                <a:gd name="connsiteY576" fmla="*/ 36188 h 361598"/>
                <a:gd name="connsiteX577" fmla="*/ 6553 w 426364"/>
                <a:gd name="connsiteY577" fmla="*/ 36056 h 361598"/>
                <a:gd name="connsiteX578" fmla="*/ 6087 w 426364"/>
                <a:gd name="connsiteY578" fmla="*/ 35758 h 361598"/>
                <a:gd name="connsiteX579" fmla="*/ 5917 w 426364"/>
                <a:gd name="connsiteY579" fmla="*/ 34888 h 361598"/>
                <a:gd name="connsiteX580" fmla="*/ 6072 w 426364"/>
                <a:gd name="connsiteY580" fmla="*/ 31344 h 361598"/>
                <a:gd name="connsiteX581" fmla="*/ 5681 w 426364"/>
                <a:gd name="connsiteY581" fmla="*/ 29209 h 361598"/>
                <a:gd name="connsiteX582" fmla="*/ 5169 w 426364"/>
                <a:gd name="connsiteY582" fmla="*/ 27663 h 361598"/>
                <a:gd name="connsiteX583" fmla="*/ 5493 w 426364"/>
                <a:gd name="connsiteY583" fmla="*/ 24169 h 361598"/>
                <a:gd name="connsiteX584" fmla="*/ 4625 w 426364"/>
                <a:gd name="connsiteY584" fmla="*/ 23467 h 361598"/>
                <a:gd name="connsiteX585" fmla="*/ 3263 w 426364"/>
                <a:gd name="connsiteY585" fmla="*/ 21630 h 361598"/>
                <a:gd name="connsiteX586" fmla="*/ 2682 w 426364"/>
                <a:gd name="connsiteY586" fmla="*/ 20079 h 361598"/>
                <a:gd name="connsiteX587" fmla="*/ 2997 w 426364"/>
                <a:gd name="connsiteY587" fmla="*/ 19501 h 361598"/>
                <a:gd name="connsiteX588" fmla="*/ 3286 w 426364"/>
                <a:gd name="connsiteY588" fmla="*/ 18479 h 361598"/>
                <a:gd name="connsiteX589" fmla="*/ 3478 w 426364"/>
                <a:gd name="connsiteY589" fmla="*/ 17139 h 361598"/>
                <a:gd name="connsiteX590" fmla="*/ 3423 w 426364"/>
                <a:gd name="connsiteY590" fmla="*/ 16188 h 361598"/>
                <a:gd name="connsiteX591" fmla="*/ 2168 w 426364"/>
                <a:gd name="connsiteY591" fmla="*/ 15261 h 361598"/>
                <a:gd name="connsiteX592" fmla="*/ 1235 w 426364"/>
                <a:gd name="connsiteY592" fmla="*/ 14285 h 361598"/>
                <a:gd name="connsiteX593" fmla="*/ 1129 w 426364"/>
                <a:gd name="connsiteY593" fmla="*/ 13206 h 361598"/>
                <a:gd name="connsiteX594" fmla="*/ 758 w 426364"/>
                <a:gd name="connsiteY594" fmla="*/ 11888 h 361598"/>
                <a:gd name="connsiteX595" fmla="*/ 233 w 426364"/>
                <a:gd name="connsiteY595" fmla="*/ 10846 h 361598"/>
                <a:gd name="connsiteX596" fmla="*/ 0 w 426364"/>
                <a:gd name="connsiteY596" fmla="*/ 10161 h 361598"/>
                <a:gd name="connsiteX597" fmla="*/ 458 w 426364"/>
                <a:gd name="connsiteY597" fmla="*/ 9758 h 361598"/>
                <a:gd name="connsiteX598" fmla="*/ 2228 w 426364"/>
                <a:gd name="connsiteY598" fmla="*/ 9440 h 361598"/>
                <a:gd name="connsiteX599" fmla="*/ 4802 w 426364"/>
                <a:gd name="connsiteY599" fmla="*/ 9659 h 361598"/>
                <a:gd name="connsiteX600" fmla="*/ 6903 w 426364"/>
                <a:gd name="connsiteY600" fmla="*/ 9678 h 361598"/>
                <a:gd name="connsiteX601" fmla="*/ 8095 w 426364"/>
                <a:gd name="connsiteY601" fmla="*/ 9002 h 361598"/>
                <a:gd name="connsiteX602" fmla="*/ 9568 w 426364"/>
                <a:gd name="connsiteY602" fmla="*/ 2649 h 361598"/>
                <a:gd name="connsiteX603" fmla="*/ 10911 w 426364"/>
                <a:gd name="connsiteY603" fmla="*/ 971 h 361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</a:cxnLst>
              <a:rect l="l" t="t" r="r" b="b"/>
              <a:pathLst>
                <a:path w="426364" h="361598">
                  <a:moveTo>
                    <a:pt x="269563" y="316614"/>
                  </a:moveTo>
                  <a:lnTo>
                    <a:pt x="271009" y="317831"/>
                  </a:lnTo>
                  <a:lnTo>
                    <a:pt x="268988" y="318567"/>
                  </a:lnTo>
                  <a:lnTo>
                    <a:pt x="266930" y="321418"/>
                  </a:lnTo>
                  <a:lnTo>
                    <a:pt x="263821" y="323794"/>
                  </a:lnTo>
                  <a:lnTo>
                    <a:pt x="262491" y="323055"/>
                  </a:lnTo>
                  <a:lnTo>
                    <a:pt x="261463" y="323090"/>
                  </a:lnTo>
                  <a:lnTo>
                    <a:pt x="259243" y="324000"/>
                  </a:lnTo>
                  <a:lnTo>
                    <a:pt x="257636" y="324157"/>
                  </a:lnTo>
                  <a:lnTo>
                    <a:pt x="254729" y="325779"/>
                  </a:lnTo>
                  <a:lnTo>
                    <a:pt x="252089" y="326595"/>
                  </a:lnTo>
                  <a:lnTo>
                    <a:pt x="250247" y="326533"/>
                  </a:lnTo>
                  <a:lnTo>
                    <a:pt x="249608" y="326370"/>
                  </a:lnTo>
                  <a:lnTo>
                    <a:pt x="249243" y="325264"/>
                  </a:lnTo>
                  <a:lnTo>
                    <a:pt x="249275" y="324829"/>
                  </a:lnTo>
                  <a:lnTo>
                    <a:pt x="250391" y="325057"/>
                  </a:lnTo>
                  <a:lnTo>
                    <a:pt x="254477" y="323583"/>
                  </a:lnTo>
                  <a:lnTo>
                    <a:pt x="259582" y="321162"/>
                  </a:lnTo>
                  <a:lnTo>
                    <a:pt x="260067" y="320088"/>
                  </a:lnTo>
                  <a:lnTo>
                    <a:pt x="259247" y="318334"/>
                  </a:lnTo>
                  <a:lnTo>
                    <a:pt x="259472" y="317937"/>
                  </a:lnTo>
                  <a:lnTo>
                    <a:pt x="262778" y="318837"/>
                  </a:lnTo>
                  <a:lnTo>
                    <a:pt x="266470" y="317088"/>
                  </a:lnTo>
                  <a:close/>
                  <a:moveTo>
                    <a:pt x="12468" y="0"/>
                  </a:moveTo>
                  <a:lnTo>
                    <a:pt x="15517" y="2259"/>
                  </a:lnTo>
                  <a:lnTo>
                    <a:pt x="16780" y="3056"/>
                  </a:lnTo>
                  <a:lnTo>
                    <a:pt x="17555" y="3073"/>
                  </a:lnTo>
                  <a:lnTo>
                    <a:pt x="18020" y="3627"/>
                  </a:lnTo>
                  <a:lnTo>
                    <a:pt x="21602" y="8965"/>
                  </a:lnTo>
                  <a:lnTo>
                    <a:pt x="23183" y="10538"/>
                  </a:lnTo>
                  <a:lnTo>
                    <a:pt x="24098" y="11869"/>
                  </a:lnTo>
                  <a:lnTo>
                    <a:pt x="24721" y="13353"/>
                  </a:lnTo>
                  <a:lnTo>
                    <a:pt x="25813" y="14354"/>
                  </a:lnTo>
                  <a:lnTo>
                    <a:pt x="27258" y="14897"/>
                  </a:lnTo>
                  <a:lnTo>
                    <a:pt x="29018" y="16334"/>
                  </a:lnTo>
                  <a:lnTo>
                    <a:pt x="30205" y="17454"/>
                  </a:lnTo>
                  <a:lnTo>
                    <a:pt x="32205" y="19772"/>
                  </a:lnTo>
                  <a:lnTo>
                    <a:pt x="34313" y="20637"/>
                  </a:lnTo>
                  <a:lnTo>
                    <a:pt x="41983" y="22313"/>
                  </a:lnTo>
                  <a:lnTo>
                    <a:pt x="46241" y="23092"/>
                  </a:lnTo>
                  <a:lnTo>
                    <a:pt x="47472" y="23317"/>
                  </a:lnTo>
                  <a:lnTo>
                    <a:pt x="50737" y="22191"/>
                  </a:lnTo>
                  <a:lnTo>
                    <a:pt x="54559" y="22345"/>
                  </a:lnTo>
                  <a:lnTo>
                    <a:pt x="55978" y="22404"/>
                  </a:lnTo>
                  <a:lnTo>
                    <a:pt x="61028" y="17674"/>
                  </a:lnTo>
                  <a:lnTo>
                    <a:pt x="62562" y="16094"/>
                  </a:lnTo>
                  <a:lnTo>
                    <a:pt x="65576" y="15272"/>
                  </a:lnTo>
                  <a:lnTo>
                    <a:pt x="67269" y="13389"/>
                  </a:lnTo>
                  <a:lnTo>
                    <a:pt x="69988" y="11107"/>
                  </a:lnTo>
                  <a:lnTo>
                    <a:pt x="73307" y="8956"/>
                  </a:lnTo>
                  <a:lnTo>
                    <a:pt x="76352" y="7024"/>
                  </a:lnTo>
                  <a:lnTo>
                    <a:pt x="78688" y="5855"/>
                  </a:lnTo>
                  <a:lnTo>
                    <a:pt x="82912" y="3121"/>
                  </a:lnTo>
                  <a:lnTo>
                    <a:pt x="85552" y="2172"/>
                  </a:lnTo>
                  <a:lnTo>
                    <a:pt x="87844" y="2202"/>
                  </a:lnTo>
                  <a:lnTo>
                    <a:pt x="91275" y="5409"/>
                  </a:lnTo>
                  <a:lnTo>
                    <a:pt x="94164" y="8322"/>
                  </a:lnTo>
                  <a:lnTo>
                    <a:pt x="95058" y="9600"/>
                  </a:lnTo>
                  <a:lnTo>
                    <a:pt x="93622" y="10743"/>
                  </a:lnTo>
                  <a:lnTo>
                    <a:pt x="90942" y="11848"/>
                  </a:lnTo>
                  <a:lnTo>
                    <a:pt x="90430" y="12658"/>
                  </a:lnTo>
                  <a:lnTo>
                    <a:pt x="90243" y="13694"/>
                  </a:lnTo>
                  <a:lnTo>
                    <a:pt x="90349" y="14686"/>
                  </a:lnTo>
                  <a:lnTo>
                    <a:pt x="90709" y="15494"/>
                  </a:lnTo>
                  <a:lnTo>
                    <a:pt x="93996" y="17370"/>
                  </a:lnTo>
                  <a:lnTo>
                    <a:pt x="94369" y="18401"/>
                  </a:lnTo>
                  <a:lnTo>
                    <a:pt x="94393" y="19446"/>
                  </a:lnTo>
                  <a:lnTo>
                    <a:pt x="94017" y="20099"/>
                  </a:lnTo>
                  <a:lnTo>
                    <a:pt x="93285" y="20478"/>
                  </a:lnTo>
                  <a:lnTo>
                    <a:pt x="90998" y="21003"/>
                  </a:lnTo>
                  <a:lnTo>
                    <a:pt x="89042" y="21613"/>
                  </a:lnTo>
                  <a:lnTo>
                    <a:pt x="88362" y="22213"/>
                  </a:lnTo>
                  <a:lnTo>
                    <a:pt x="87773" y="22924"/>
                  </a:lnTo>
                  <a:lnTo>
                    <a:pt x="87857" y="23712"/>
                  </a:lnTo>
                  <a:lnTo>
                    <a:pt x="88448" y="24608"/>
                  </a:lnTo>
                  <a:lnTo>
                    <a:pt x="92460" y="27057"/>
                  </a:lnTo>
                  <a:lnTo>
                    <a:pt x="92914" y="27958"/>
                  </a:lnTo>
                  <a:lnTo>
                    <a:pt x="93713" y="29167"/>
                  </a:lnTo>
                  <a:lnTo>
                    <a:pt x="94691" y="29909"/>
                  </a:lnTo>
                  <a:lnTo>
                    <a:pt x="96365" y="30112"/>
                  </a:lnTo>
                  <a:lnTo>
                    <a:pt x="97163" y="30612"/>
                  </a:lnTo>
                  <a:lnTo>
                    <a:pt x="101040" y="35120"/>
                  </a:lnTo>
                  <a:lnTo>
                    <a:pt x="101988" y="35438"/>
                  </a:lnTo>
                  <a:lnTo>
                    <a:pt x="106516" y="34447"/>
                  </a:lnTo>
                  <a:lnTo>
                    <a:pt x="107144" y="34492"/>
                  </a:lnTo>
                  <a:lnTo>
                    <a:pt x="107187" y="35597"/>
                  </a:lnTo>
                  <a:lnTo>
                    <a:pt x="107865" y="41992"/>
                  </a:lnTo>
                  <a:lnTo>
                    <a:pt x="108390" y="45289"/>
                  </a:lnTo>
                  <a:lnTo>
                    <a:pt x="109161" y="48492"/>
                  </a:lnTo>
                  <a:lnTo>
                    <a:pt x="110385" y="51413"/>
                  </a:lnTo>
                  <a:lnTo>
                    <a:pt x="111837" y="54188"/>
                  </a:lnTo>
                  <a:lnTo>
                    <a:pt x="113832" y="55900"/>
                  </a:lnTo>
                  <a:lnTo>
                    <a:pt x="118282" y="57959"/>
                  </a:lnTo>
                  <a:lnTo>
                    <a:pt x="120441" y="58554"/>
                  </a:lnTo>
                  <a:lnTo>
                    <a:pt x="126121" y="58967"/>
                  </a:lnTo>
                  <a:lnTo>
                    <a:pt x="131731" y="59876"/>
                  </a:lnTo>
                  <a:lnTo>
                    <a:pt x="135044" y="60840"/>
                  </a:lnTo>
                  <a:lnTo>
                    <a:pt x="136056" y="61519"/>
                  </a:lnTo>
                  <a:lnTo>
                    <a:pt x="136892" y="62562"/>
                  </a:lnTo>
                  <a:lnTo>
                    <a:pt x="139630" y="67414"/>
                  </a:lnTo>
                  <a:lnTo>
                    <a:pt x="143949" y="70863"/>
                  </a:lnTo>
                  <a:lnTo>
                    <a:pt x="152666" y="76033"/>
                  </a:lnTo>
                  <a:lnTo>
                    <a:pt x="156892" y="77750"/>
                  </a:lnTo>
                  <a:lnTo>
                    <a:pt x="171120" y="80999"/>
                  </a:lnTo>
                  <a:lnTo>
                    <a:pt x="180587" y="80816"/>
                  </a:lnTo>
                  <a:lnTo>
                    <a:pt x="206768" y="74546"/>
                  </a:lnTo>
                  <a:lnTo>
                    <a:pt x="215470" y="72982"/>
                  </a:lnTo>
                  <a:lnTo>
                    <a:pt x="218737" y="72982"/>
                  </a:lnTo>
                  <a:lnTo>
                    <a:pt x="216791" y="74230"/>
                  </a:lnTo>
                  <a:lnTo>
                    <a:pt x="213520" y="74943"/>
                  </a:lnTo>
                  <a:lnTo>
                    <a:pt x="215493" y="75824"/>
                  </a:lnTo>
                  <a:lnTo>
                    <a:pt x="218534" y="75970"/>
                  </a:lnTo>
                  <a:lnTo>
                    <a:pt x="219946" y="75827"/>
                  </a:lnTo>
                  <a:lnTo>
                    <a:pt x="220966" y="75031"/>
                  </a:lnTo>
                  <a:lnTo>
                    <a:pt x="221134" y="73719"/>
                  </a:lnTo>
                  <a:lnTo>
                    <a:pt x="220987" y="72418"/>
                  </a:lnTo>
                  <a:lnTo>
                    <a:pt x="219545" y="66585"/>
                  </a:lnTo>
                  <a:lnTo>
                    <a:pt x="218709" y="62461"/>
                  </a:lnTo>
                  <a:lnTo>
                    <a:pt x="224844" y="62744"/>
                  </a:lnTo>
                  <a:lnTo>
                    <a:pt x="227236" y="62205"/>
                  </a:lnTo>
                  <a:lnTo>
                    <a:pt x="230749" y="60828"/>
                  </a:lnTo>
                  <a:lnTo>
                    <a:pt x="233408" y="59995"/>
                  </a:lnTo>
                  <a:lnTo>
                    <a:pt x="234751" y="59880"/>
                  </a:lnTo>
                  <a:lnTo>
                    <a:pt x="236072" y="59231"/>
                  </a:lnTo>
                  <a:lnTo>
                    <a:pt x="237085" y="58421"/>
                  </a:lnTo>
                  <a:lnTo>
                    <a:pt x="239372" y="52779"/>
                  </a:lnTo>
                  <a:lnTo>
                    <a:pt x="240510" y="51365"/>
                  </a:lnTo>
                  <a:lnTo>
                    <a:pt x="244390" y="48176"/>
                  </a:lnTo>
                  <a:lnTo>
                    <a:pt x="247688" y="46155"/>
                  </a:lnTo>
                  <a:lnTo>
                    <a:pt x="251141" y="44366"/>
                  </a:lnTo>
                  <a:lnTo>
                    <a:pt x="255509" y="43119"/>
                  </a:lnTo>
                  <a:lnTo>
                    <a:pt x="261322" y="43250"/>
                  </a:lnTo>
                  <a:lnTo>
                    <a:pt x="265943" y="43688"/>
                  </a:lnTo>
                  <a:lnTo>
                    <a:pt x="268617" y="43667"/>
                  </a:lnTo>
                  <a:lnTo>
                    <a:pt x="269890" y="43795"/>
                  </a:lnTo>
                  <a:lnTo>
                    <a:pt x="270847" y="43615"/>
                  </a:lnTo>
                  <a:lnTo>
                    <a:pt x="271398" y="43245"/>
                  </a:lnTo>
                  <a:lnTo>
                    <a:pt x="271998" y="40773"/>
                  </a:lnTo>
                  <a:lnTo>
                    <a:pt x="272944" y="39967"/>
                  </a:lnTo>
                  <a:lnTo>
                    <a:pt x="274574" y="39276"/>
                  </a:lnTo>
                  <a:lnTo>
                    <a:pt x="276861" y="39271"/>
                  </a:lnTo>
                  <a:lnTo>
                    <a:pt x="279645" y="39091"/>
                  </a:lnTo>
                  <a:lnTo>
                    <a:pt x="281960" y="39260"/>
                  </a:lnTo>
                  <a:lnTo>
                    <a:pt x="284879" y="40211"/>
                  </a:lnTo>
                  <a:lnTo>
                    <a:pt x="288690" y="40290"/>
                  </a:lnTo>
                  <a:lnTo>
                    <a:pt x="291223" y="40124"/>
                  </a:lnTo>
                  <a:lnTo>
                    <a:pt x="292696" y="41070"/>
                  </a:lnTo>
                  <a:lnTo>
                    <a:pt x="293756" y="42333"/>
                  </a:lnTo>
                  <a:lnTo>
                    <a:pt x="294272" y="43386"/>
                  </a:lnTo>
                  <a:lnTo>
                    <a:pt x="294389" y="44833"/>
                  </a:lnTo>
                  <a:lnTo>
                    <a:pt x="294367" y="45935"/>
                  </a:lnTo>
                  <a:lnTo>
                    <a:pt x="294765" y="46360"/>
                  </a:lnTo>
                  <a:lnTo>
                    <a:pt x="296315" y="47017"/>
                  </a:lnTo>
                  <a:lnTo>
                    <a:pt x="298464" y="47510"/>
                  </a:lnTo>
                  <a:lnTo>
                    <a:pt x="302655" y="48104"/>
                  </a:lnTo>
                  <a:lnTo>
                    <a:pt x="306583" y="49243"/>
                  </a:lnTo>
                  <a:lnTo>
                    <a:pt x="308626" y="50020"/>
                  </a:lnTo>
                  <a:lnTo>
                    <a:pt x="311461" y="51234"/>
                  </a:lnTo>
                  <a:lnTo>
                    <a:pt x="314840" y="54233"/>
                  </a:lnTo>
                  <a:lnTo>
                    <a:pt x="316091" y="54708"/>
                  </a:lnTo>
                  <a:lnTo>
                    <a:pt x="317607" y="55011"/>
                  </a:lnTo>
                  <a:lnTo>
                    <a:pt x="318691" y="54930"/>
                  </a:lnTo>
                  <a:lnTo>
                    <a:pt x="321228" y="53661"/>
                  </a:lnTo>
                  <a:lnTo>
                    <a:pt x="323433" y="54597"/>
                  </a:lnTo>
                  <a:lnTo>
                    <a:pt x="324551" y="54477"/>
                  </a:lnTo>
                  <a:lnTo>
                    <a:pt x="327086" y="53781"/>
                  </a:lnTo>
                  <a:lnTo>
                    <a:pt x="329779" y="54646"/>
                  </a:lnTo>
                  <a:lnTo>
                    <a:pt x="336493" y="57939"/>
                  </a:lnTo>
                  <a:lnTo>
                    <a:pt x="337229" y="57863"/>
                  </a:lnTo>
                  <a:lnTo>
                    <a:pt x="337840" y="58198"/>
                  </a:lnTo>
                  <a:lnTo>
                    <a:pt x="338397" y="58951"/>
                  </a:lnTo>
                  <a:lnTo>
                    <a:pt x="338790" y="59880"/>
                  </a:lnTo>
                  <a:lnTo>
                    <a:pt x="339291" y="62712"/>
                  </a:lnTo>
                  <a:lnTo>
                    <a:pt x="341228" y="64774"/>
                  </a:lnTo>
                  <a:lnTo>
                    <a:pt x="343599" y="66657"/>
                  </a:lnTo>
                  <a:lnTo>
                    <a:pt x="346363" y="67686"/>
                  </a:lnTo>
                  <a:lnTo>
                    <a:pt x="352144" y="70152"/>
                  </a:lnTo>
                  <a:lnTo>
                    <a:pt x="354668" y="72154"/>
                  </a:lnTo>
                  <a:lnTo>
                    <a:pt x="357223" y="75545"/>
                  </a:lnTo>
                  <a:lnTo>
                    <a:pt x="360371" y="80008"/>
                  </a:lnTo>
                  <a:lnTo>
                    <a:pt x="360827" y="80412"/>
                  </a:lnTo>
                  <a:lnTo>
                    <a:pt x="368933" y="80277"/>
                  </a:lnTo>
                  <a:lnTo>
                    <a:pt x="378037" y="80287"/>
                  </a:lnTo>
                  <a:lnTo>
                    <a:pt x="379149" y="82069"/>
                  </a:lnTo>
                  <a:lnTo>
                    <a:pt x="378937" y="85604"/>
                  </a:lnTo>
                  <a:lnTo>
                    <a:pt x="379264" y="89224"/>
                  </a:lnTo>
                  <a:lnTo>
                    <a:pt x="380080" y="91730"/>
                  </a:lnTo>
                  <a:lnTo>
                    <a:pt x="380088" y="94040"/>
                  </a:lnTo>
                  <a:lnTo>
                    <a:pt x="379430" y="95208"/>
                  </a:lnTo>
                  <a:lnTo>
                    <a:pt x="378918" y="96544"/>
                  </a:lnTo>
                  <a:lnTo>
                    <a:pt x="378773" y="97128"/>
                  </a:lnTo>
                  <a:lnTo>
                    <a:pt x="379944" y="97962"/>
                  </a:lnTo>
                  <a:lnTo>
                    <a:pt x="380967" y="99880"/>
                  </a:lnTo>
                  <a:lnTo>
                    <a:pt x="381112" y="102546"/>
                  </a:lnTo>
                  <a:lnTo>
                    <a:pt x="380600" y="103963"/>
                  </a:lnTo>
                  <a:lnTo>
                    <a:pt x="380674" y="105128"/>
                  </a:lnTo>
                  <a:lnTo>
                    <a:pt x="381186" y="106127"/>
                  </a:lnTo>
                  <a:lnTo>
                    <a:pt x="381624" y="107791"/>
                  </a:lnTo>
                  <a:lnTo>
                    <a:pt x="381550" y="108788"/>
                  </a:lnTo>
                  <a:lnTo>
                    <a:pt x="380821" y="109786"/>
                  </a:lnTo>
                  <a:lnTo>
                    <a:pt x="380382" y="111033"/>
                  </a:lnTo>
                  <a:lnTo>
                    <a:pt x="379797" y="112611"/>
                  </a:lnTo>
                  <a:lnTo>
                    <a:pt x="379577" y="113857"/>
                  </a:lnTo>
                  <a:lnTo>
                    <a:pt x="378480" y="114438"/>
                  </a:lnTo>
                  <a:lnTo>
                    <a:pt x="377603" y="114853"/>
                  </a:lnTo>
                  <a:lnTo>
                    <a:pt x="377750" y="116429"/>
                  </a:lnTo>
                  <a:lnTo>
                    <a:pt x="378188" y="117757"/>
                  </a:lnTo>
                  <a:lnTo>
                    <a:pt x="378700" y="119331"/>
                  </a:lnTo>
                  <a:lnTo>
                    <a:pt x="378115" y="120409"/>
                  </a:lnTo>
                  <a:lnTo>
                    <a:pt x="377750" y="121651"/>
                  </a:lnTo>
                  <a:lnTo>
                    <a:pt x="376944" y="123639"/>
                  </a:lnTo>
                  <a:lnTo>
                    <a:pt x="377163" y="125293"/>
                  </a:lnTo>
                  <a:lnTo>
                    <a:pt x="376286" y="126700"/>
                  </a:lnTo>
                  <a:lnTo>
                    <a:pt x="375189" y="127941"/>
                  </a:lnTo>
                  <a:lnTo>
                    <a:pt x="374459" y="128933"/>
                  </a:lnTo>
                  <a:lnTo>
                    <a:pt x="374312" y="130337"/>
                  </a:lnTo>
                  <a:lnTo>
                    <a:pt x="373507" y="130833"/>
                  </a:lnTo>
                  <a:lnTo>
                    <a:pt x="371971" y="131989"/>
                  </a:lnTo>
                  <a:lnTo>
                    <a:pt x="371021" y="132815"/>
                  </a:lnTo>
                  <a:lnTo>
                    <a:pt x="369631" y="133062"/>
                  </a:lnTo>
                  <a:lnTo>
                    <a:pt x="369339" y="133722"/>
                  </a:lnTo>
                  <a:lnTo>
                    <a:pt x="369557" y="134383"/>
                  </a:lnTo>
                  <a:lnTo>
                    <a:pt x="370142" y="134796"/>
                  </a:lnTo>
                  <a:lnTo>
                    <a:pt x="371056" y="136223"/>
                  </a:lnTo>
                  <a:lnTo>
                    <a:pt x="372947" y="138681"/>
                  </a:lnTo>
                  <a:lnTo>
                    <a:pt x="367491" y="138986"/>
                  </a:lnTo>
                  <a:lnTo>
                    <a:pt x="365888" y="141166"/>
                  </a:lnTo>
                  <a:lnTo>
                    <a:pt x="364020" y="144274"/>
                  </a:lnTo>
                  <a:lnTo>
                    <a:pt x="364934" y="150557"/>
                  </a:lnTo>
                  <a:lnTo>
                    <a:pt x="364025" y="153786"/>
                  </a:lnTo>
                  <a:lnTo>
                    <a:pt x="364575" y="155597"/>
                  </a:lnTo>
                  <a:lnTo>
                    <a:pt x="365968" y="156851"/>
                  </a:lnTo>
                  <a:lnTo>
                    <a:pt x="367754" y="157543"/>
                  </a:lnTo>
                  <a:lnTo>
                    <a:pt x="371112" y="157585"/>
                  </a:lnTo>
                  <a:lnTo>
                    <a:pt x="373334" y="158074"/>
                  </a:lnTo>
                  <a:lnTo>
                    <a:pt x="373556" y="158910"/>
                  </a:lnTo>
                  <a:lnTo>
                    <a:pt x="372280" y="160123"/>
                  </a:lnTo>
                  <a:lnTo>
                    <a:pt x="370237" y="162412"/>
                  </a:lnTo>
                  <a:lnTo>
                    <a:pt x="369158" y="163409"/>
                  </a:lnTo>
                  <a:lnTo>
                    <a:pt x="365675" y="168000"/>
                  </a:lnTo>
                  <a:lnTo>
                    <a:pt x="365705" y="169953"/>
                  </a:lnTo>
                  <a:lnTo>
                    <a:pt x="366028" y="171531"/>
                  </a:lnTo>
                  <a:lnTo>
                    <a:pt x="367532" y="176477"/>
                  </a:lnTo>
                  <a:lnTo>
                    <a:pt x="368989" y="181266"/>
                  </a:lnTo>
                  <a:lnTo>
                    <a:pt x="371617" y="189886"/>
                  </a:lnTo>
                  <a:lnTo>
                    <a:pt x="371572" y="191886"/>
                  </a:lnTo>
                  <a:lnTo>
                    <a:pt x="370747" y="196323"/>
                  </a:lnTo>
                  <a:lnTo>
                    <a:pt x="370693" y="199016"/>
                  </a:lnTo>
                  <a:lnTo>
                    <a:pt x="371065" y="202512"/>
                  </a:lnTo>
                  <a:lnTo>
                    <a:pt x="370784" y="204319"/>
                  </a:lnTo>
                  <a:lnTo>
                    <a:pt x="371427" y="208364"/>
                  </a:lnTo>
                  <a:lnTo>
                    <a:pt x="372166" y="208655"/>
                  </a:lnTo>
                  <a:lnTo>
                    <a:pt x="377840" y="209440"/>
                  </a:lnTo>
                  <a:lnTo>
                    <a:pt x="383053" y="210161"/>
                  </a:lnTo>
                  <a:lnTo>
                    <a:pt x="389989" y="211118"/>
                  </a:lnTo>
                  <a:lnTo>
                    <a:pt x="392088" y="213489"/>
                  </a:lnTo>
                  <a:lnTo>
                    <a:pt x="393396" y="218677"/>
                  </a:lnTo>
                  <a:lnTo>
                    <a:pt x="393321" y="222557"/>
                  </a:lnTo>
                  <a:lnTo>
                    <a:pt x="392731" y="224537"/>
                  </a:lnTo>
                  <a:lnTo>
                    <a:pt x="387763" y="230191"/>
                  </a:lnTo>
                  <a:lnTo>
                    <a:pt x="382725" y="235912"/>
                  </a:lnTo>
                  <a:lnTo>
                    <a:pt x="377694" y="241617"/>
                  </a:lnTo>
                  <a:lnTo>
                    <a:pt x="372476" y="247524"/>
                  </a:lnTo>
                  <a:lnTo>
                    <a:pt x="371928" y="248145"/>
                  </a:lnTo>
                  <a:lnTo>
                    <a:pt x="376148" y="252864"/>
                  </a:lnTo>
                  <a:lnTo>
                    <a:pt x="378756" y="255779"/>
                  </a:lnTo>
                  <a:lnTo>
                    <a:pt x="382431" y="259883"/>
                  </a:lnTo>
                  <a:lnTo>
                    <a:pt x="382898" y="260867"/>
                  </a:lnTo>
                  <a:lnTo>
                    <a:pt x="382863" y="262477"/>
                  </a:lnTo>
                  <a:lnTo>
                    <a:pt x="386638" y="268711"/>
                  </a:lnTo>
                  <a:lnTo>
                    <a:pt x="387968" y="271961"/>
                  </a:lnTo>
                  <a:lnTo>
                    <a:pt x="389168" y="273867"/>
                  </a:lnTo>
                  <a:lnTo>
                    <a:pt x="392153" y="276844"/>
                  </a:lnTo>
                  <a:lnTo>
                    <a:pt x="395068" y="279751"/>
                  </a:lnTo>
                  <a:lnTo>
                    <a:pt x="398234" y="281083"/>
                  </a:lnTo>
                  <a:lnTo>
                    <a:pt x="400391" y="281376"/>
                  </a:lnTo>
                  <a:lnTo>
                    <a:pt x="405310" y="282912"/>
                  </a:lnTo>
                  <a:lnTo>
                    <a:pt x="407098" y="284132"/>
                  </a:lnTo>
                  <a:lnTo>
                    <a:pt x="409987" y="287215"/>
                  </a:lnTo>
                  <a:lnTo>
                    <a:pt x="413371" y="286793"/>
                  </a:lnTo>
                  <a:lnTo>
                    <a:pt x="414075" y="286791"/>
                  </a:lnTo>
                  <a:lnTo>
                    <a:pt x="414265" y="287014"/>
                  </a:lnTo>
                  <a:lnTo>
                    <a:pt x="414364" y="288008"/>
                  </a:lnTo>
                  <a:lnTo>
                    <a:pt x="413861" y="292794"/>
                  </a:lnTo>
                  <a:lnTo>
                    <a:pt x="414803" y="297611"/>
                  </a:lnTo>
                  <a:lnTo>
                    <a:pt x="415459" y="304856"/>
                  </a:lnTo>
                  <a:lnTo>
                    <a:pt x="415213" y="306107"/>
                  </a:lnTo>
                  <a:lnTo>
                    <a:pt x="414403" y="308200"/>
                  </a:lnTo>
                  <a:lnTo>
                    <a:pt x="414364" y="309547"/>
                  </a:lnTo>
                  <a:lnTo>
                    <a:pt x="414148" y="310371"/>
                  </a:lnTo>
                  <a:lnTo>
                    <a:pt x="414375" y="310738"/>
                  </a:lnTo>
                  <a:lnTo>
                    <a:pt x="415451" y="311232"/>
                  </a:lnTo>
                  <a:lnTo>
                    <a:pt x="417746" y="311495"/>
                  </a:lnTo>
                  <a:lnTo>
                    <a:pt x="423304" y="310683"/>
                  </a:lnTo>
                  <a:lnTo>
                    <a:pt x="423952" y="310887"/>
                  </a:lnTo>
                  <a:lnTo>
                    <a:pt x="425282" y="311745"/>
                  </a:lnTo>
                  <a:lnTo>
                    <a:pt x="426284" y="313089"/>
                  </a:lnTo>
                  <a:lnTo>
                    <a:pt x="426364" y="313729"/>
                  </a:lnTo>
                  <a:lnTo>
                    <a:pt x="424969" y="314844"/>
                  </a:lnTo>
                  <a:lnTo>
                    <a:pt x="424734" y="316736"/>
                  </a:lnTo>
                  <a:lnTo>
                    <a:pt x="425153" y="319563"/>
                  </a:lnTo>
                  <a:lnTo>
                    <a:pt x="424958" y="319908"/>
                  </a:lnTo>
                  <a:lnTo>
                    <a:pt x="423732" y="320553"/>
                  </a:lnTo>
                  <a:lnTo>
                    <a:pt x="423332" y="324638"/>
                  </a:lnTo>
                  <a:lnTo>
                    <a:pt x="423106" y="325014"/>
                  </a:lnTo>
                  <a:lnTo>
                    <a:pt x="421672" y="325428"/>
                  </a:lnTo>
                  <a:lnTo>
                    <a:pt x="414898" y="325153"/>
                  </a:lnTo>
                  <a:lnTo>
                    <a:pt x="414122" y="325265"/>
                  </a:lnTo>
                  <a:lnTo>
                    <a:pt x="411577" y="326345"/>
                  </a:lnTo>
                  <a:lnTo>
                    <a:pt x="407217" y="327119"/>
                  </a:lnTo>
                  <a:lnTo>
                    <a:pt x="406019" y="327556"/>
                  </a:lnTo>
                  <a:lnTo>
                    <a:pt x="404410" y="328784"/>
                  </a:lnTo>
                  <a:lnTo>
                    <a:pt x="403246" y="330286"/>
                  </a:lnTo>
                  <a:lnTo>
                    <a:pt x="403023" y="331667"/>
                  </a:lnTo>
                  <a:lnTo>
                    <a:pt x="402796" y="331956"/>
                  </a:lnTo>
                  <a:lnTo>
                    <a:pt x="400289" y="331673"/>
                  </a:lnTo>
                  <a:lnTo>
                    <a:pt x="399473" y="332875"/>
                  </a:lnTo>
                  <a:lnTo>
                    <a:pt x="394625" y="334672"/>
                  </a:lnTo>
                  <a:lnTo>
                    <a:pt x="394019" y="335062"/>
                  </a:lnTo>
                  <a:lnTo>
                    <a:pt x="393302" y="336498"/>
                  </a:lnTo>
                  <a:lnTo>
                    <a:pt x="392656" y="340508"/>
                  </a:lnTo>
                  <a:lnTo>
                    <a:pt x="392073" y="344113"/>
                  </a:lnTo>
                  <a:lnTo>
                    <a:pt x="391704" y="344639"/>
                  </a:lnTo>
                  <a:lnTo>
                    <a:pt x="390177" y="345871"/>
                  </a:lnTo>
                  <a:lnTo>
                    <a:pt x="390026" y="346289"/>
                  </a:lnTo>
                  <a:lnTo>
                    <a:pt x="390238" y="347680"/>
                  </a:lnTo>
                  <a:lnTo>
                    <a:pt x="389546" y="350224"/>
                  </a:lnTo>
                  <a:lnTo>
                    <a:pt x="389000" y="357264"/>
                  </a:lnTo>
                  <a:lnTo>
                    <a:pt x="388391" y="359238"/>
                  </a:lnTo>
                  <a:lnTo>
                    <a:pt x="387180" y="359399"/>
                  </a:lnTo>
                  <a:lnTo>
                    <a:pt x="386234" y="360385"/>
                  </a:lnTo>
                  <a:lnTo>
                    <a:pt x="384507" y="361598"/>
                  </a:lnTo>
                  <a:lnTo>
                    <a:pt x="380764" y="360659"/>
                  </a:lnTo>
                  <a:lnTo>
                    <a:pt x="377793" y="359673"/>
                  </a:lnTo>
                  <a:lnTo>
                    <a:pt x="367959" y="357356"/>
                  </a:lnTo>
                  <a:lnTo>
                    <a:pt x="366881" y="356234"/>
                  </a:lnTo>
                  <a:lnTo>
                    <a:pt x="366271" y="354261"/>
                  </a:lnTo>
                  <a:lnTo>
                    <a:pt x="364569" y="353705"/>
                  </a:lnTo>
                  <a:lnTo>
                    <a:pt x="362129" y="356664"/>
                  </a:lnTo>
                  <a:lnTo>
                    <a:pt x="353826" y="354954"/>
                  </a:lnTo>
                  <a:lnTo>
                    <a:pt x="351004" y="355480"/>
                  </a:lnTo>
                  <a:lnTo>
                    <a:pt x="349263" y="354559"/>
                  </a:lnTo>
                  <a:lnTo>
                    <a:pt x="344789" y="354502"/>
                  </a:lnTo>
                  <a:lnTo>
                    <a:pt x="341252" y="352657"/>
                  </a:lnTo>
                  <a:lnTo>
                    <a:pt x="336193" y="353926"/>
                  </a:lnTo>
                  <a:lnTo>
                    <a:pt x="332187" y="354172"/>
                  </a:lnTo>
                  <a:lnTo>
                    <a:pt x="326697" y="350933"/>
                  </a:lnTo>
                  <a:lnTo>
                    <a:pt x="320794" y="350040"/>
                  </a:lnTo>
                  <a:lnTo>
                    <a:pt x="316004" y="350313"/>
                  </a:lnTo>
                  <a:lnTo>
                    <a:pt x="313542" y="350060"/>
                  </a:lnTo>
                  <a:lnTo>
                    <a:pt x="309550" y="348898"/>
                  </a:lnTo>
                  <a:lnTo>
                    <a:pt x="307654" y="347697"/>
                  </a:lnTo>
                  <a:lnTo>
                    <a:pt x="304546" y="348609"/>
                  </a:lnTo>
                  <a:lnTo>
                    <a:pt x="303141" y="346912"/>
                  </a:lnTo>
                  <a:lnTo>
                    <a:pt x="294341" y="345337"/>
                  </a:lnTo>
                  <a:lnTo>
                    <a:pt x="292713" y="342329"/>
                  </a:lnTo>
                  <a:lnTo>
                    <a:pt x="291489" y="339530"/>
                  </a:lnTo>
                  <a:lnTo>
                    <a:pt x="291396" y="336651"/>
                  </a:lnTo>
                  <a:lnTo>
                    <a:pt x="289250" y="331615"/>
                  </a:lnTo>
                  <a:lnTo>
                    <a:pt x="288535" y="324294"/>
                  </a:lnTo>
                  <a:lnTo>
                    <a:pt x="287740" y="321430"/>
                  </a:lnTo>
                  <a:lnTo>
                    <a:pt x="286550" y="318940"/>
                  </a:lnTo>
                  <a:lnTo>
                    <a:pt x="284963" y="316821"/>
                  </a:lnTo>
                  <a:lnTo>
                    <a:pt x="282806" y="314552"/>
                  </a:lnTo>
                  <a:lnTo>
                    <a:pt x="280932" y="313654"/>
                  </a:lnTo>
                  <a:lnTo>
                    <a:pt x="272707" y="311927"/>
                  </a:lnTo>
                  <a:lnTo>
                    <a:pt x="271119" y="312156"/>
                  </a:lnTo>
                  <a:lnTo>
                    <a:pt x="267442" y="313287"/>
                  </a:lnTo>
                  <a:lnTo>
                    <a:pt x="263529" y="315798"/>
                  </a:lnTo>
                  <a:lnTo>
                    <a:pt x="257098" y="317226"/>
                  </a:lnTo>
                  <a:lnTo>
                    <a:pt x="255801" y="318306"/>
                  </a:lnTo>
                  <a:lnTo>
                    <a:pt x="254185" y="320735"/>
                  </a:lnTo>
                  <a:lnTo>
                    <a:pt x="252095" y="322145"/>
                  </a:lnTo>
                  <a:lnTo>
                    <a:pt x="249223" y="321780"/>
                  </a:lnTo>
                  <a:lnTo>
                    <a:pt x="246137" y="323218"/>
                  </a:lnTo>
                  <a:lnTo>
                    <a:pt x="240415" y="327222"/>
                  </a:lnTo>
                  <a:lnTo>
                    <a:pt x="237396" y="328447"/>
                  </a:lnTo>
                  <a:lnTo>
                    <a:pt x="234867" y="328355"/>
                  </a:lnTo>
                  <a:lnTo>
                    <a:pt x="232151" y="326452"/>
                  </a:lnTo>
                  <a:lnTo>
                    <a:pt x="226070" y="323901"/>
                  </a:lnTo>
                  <a:lnTo>
                    <a:pt x="222140" y="323052"/>
                  </a:lnTo>
                  <a:lnTo>
                    <a:pt x="216683" y="323638"/>
                  </a:lnTo>
                  <a:lnTo>
                    <a:pt x="214101" y="323214"/>
                  </a:lnTo>
                  <a:lnTo>
                    <a:pt x="209708" y="320216"/>
                  </a:lnTo>
                  <a:lnTo>
                    <a:pt x="208555" y="318041"/>
                  </a:lnTo>
                  <a:lnTo>
                    <a:pt x="206051" y="316586"/>
                  </a:lnTo>
                  <a:lnTo>
                    <a:pt x="198108" y="313315"/>
                  </a:lnTo>
                  <a:lnTo>
                    <a:pt x="191675" y="308995"/>
                  </a:lnTo>
                  <a:lnTo>
                    <a:pt x="190495" y="307360"/>
                  </a:lnTo>
                  <a:lnTo>
                    <a:pt x="189708" y="304943"/>
                  </a:lnTo>
                  <a:lnTo>
                    <a:pt x="186906" y="302005"/>
                  </a:lnTo>
                  <a:lnTo>
                    <a:pt x="180626" y="299599"/>
                  </a:lnTo>
                  <a:lnTo>
                    <a:pt x="177063" y="297041"/>
                  </a:lnTo>
                  <a:lnTo>
                    <a:pt x="172889" y="296471"/>
                  </a:lnTo>
                  <a:lnTo>
                    <a:pt x="169004" y="296550"/>
                  </a:lnTo>
                  <a:lnTo>
                    <a:pt x="167296" y="296090"/>
                  </a:lnTo>
                  <a:lnTo>
                    <a:pt x="165737" y="294995"/>
                  </a:lnTo>
                  <a:lnTo>
                    <a:pt x="160438" y="289701"/>
                  </a:lnTo>
                  <a:lnTo>
                    <a:pt x="160375" y="287606"/>
                  </a:lnTo>
                  <a:lnTo>
                    <a:pt x="157110" y="282423"/>
                  </a:lnTo>
                  <a:lnTo>
                    <a:pt x="156346" y="280577"/>
                  </a:lnTo>
                  <a:lnTo>
                    <a:pt x="155642" y="275440"/>
                  </a:lnTo>
                  <a:lnTo>
                    <a:pt x="154739" y="274096"/>
                  </a:lnTo>
                  <a:lnTo>
                    <a:pt x="151329" y="271979"/>
                  </a:lnTo>
                  <a:lnTo>
                    <a:pt x="150799" y="270593"/>
                  </a:lnTo>
                  <a:lnTo>
                    <a:pt x="151524" y="268751"/>
                  </a:lnTo>
                  <a:lnTo>
                    <a:pt x="151524" y="267348"/>
                  </a:lnTo>
                  <a:lnTo>
                    <a:pt x="149749" y="266031"/>
                  </a:lnTo>
                  <a:lnTo>
                    <a:pt x="147089" y="265329"/>
                  </a:lnTo>
                  <a:lnTo>
                    <a:pt x="146445" y="263748"/>
                  </a:lnTo>
                  <a:lnTo>
                    <a:pt x="146929" y="260672"/>
                  </a:lnTo>
                  <a:lnTo>
                    <a:pt x="146523" y="258738"/>
                  </a:lnTo>
                  <a:lnTo>
                    <a:pt x="144178" y="255651"/>
                  </a:lnTo>
                  <a:lnTo>
                    <a:pt x="140714" y="252487"/>
                  </a:lnTo>
                  <a:lnTo>
                    <a:pt x="137248" y="247801"/>
                  </a:lnTo>
                  <a:lnTo>
                    <a:pt x="135894" y="246632"/>
                  </a:lnTo>
                  <a:lnTo>
                    <a:pt x="135009" y="243562"/>
                  </a:lnTo>
                  <a:lnTo>
                    <a:pt x="133741" y="239918"/>
                  </a:lnTo>
                  <a:lnTo>
                    <a:pt x="131785" y="239655"/>
                  </a:lnTo>
                  <a:lnTo>
                    <a:pt x="122316" y="244025"/>
                  </a:lnTo>
                  <a:lnTo>
                    <a:pt x="119554" y="241567"/>
                  </a:lnTo>
                  <a:lnTo>
                    <a:pt x="111247" y="237290"/>
                  </a:lnTo>
                  <a:lnTo>
                    <a:pt x="110668" y="236647"/>
                  </a:lnTo>
                  <a:lnTo>
                    <a:pt x="110090" y="235665"/>
                  </a:lnTo>
                  <a:lnTo>
                    <a:pt x="111130" y="235098"/>
                  </a:lnTo>
                  <a:lnTo>
                    <a:pt x="112173" y="234867"/>
                  </a:lnTo>
                  <a:lnTo>
                    <a:pt x="114255" y="235629"/>
                  </a:lnTo>
                  <a:lnTo>
                    <a:pt x="115514" y="234729"/>
                  </a:lnTo>
                  <a:lnTo>
                    <a:pt x="115011" y="233277"/>
                  </a:lnTo>
                  <a:lnTo>
                    <a:pt x="112929" y="232376"/>
                  </a:lnTo>
                  <a:lnTo>
                    <a:pt x="110090" y="232446"/>
                  </a:lnTo>
                  <a:lnTo>
                    <a:pt x="110867" y="233807"/>
                  </a:lnTo>
                  <a:lnTo>
                    <a:pt x="108207" y="235098"/>
                  </a:lnTo>
                  <a:lnTo>
                    <a:pt x="107641" y="236788"/>
                  </a:lnTo>
                  <a:lnTo>
                    <a:pt x="108027" y="238878"/>
                  </a:lnTo>
                  <a:lnTo>
                    <a:pt x="108258" y="241799"/>
                  </a:lnTo>
                  <a:lnTo>
                    <a:pt x="107174" y="243215"/>
                  </a:lnTo>
                  <a:lnTo>
                    <a:pt x="106341" y="243867"/>
                  </a:lnTo>
                  <a:lnTo>
                    <a:pt x="102769" y="244040"/>
                  </a:lnTo>
                  <a:lnTo>
                    <a:pt x="101102" y="245330"/>
                  </a:lnTo>
                  <a:lnTo>
                    <a:pt x="100018" y="245637"/>
                  </a:lnTo>
                  <a:lnTo>
                    <a:pt x="98515" y="244634"/>
                  </a:lnTo>
                  <a:lnTo>
                    <a:pt x="97544" y="243816"/>
                  </a:lnTo>
                  <a:lnTo>
                    <a:pt x="96749" y="242072"/>
                  </a:lnTo>
                  <a:lnTo>
                    <a:pt x="96505" y="240855"/>
                  </a:lnTo>
                  <a:lnTo>
                    <a:pt x="96810" y="240165"/>
                  </a:lnTo>
                  <a:lnTo>
                    <a:pt x="96395" y="239151"/>
                  </a:lnTo>
                  <a:lnTo>
                    <a:pt x="95255" y="237811"/>
                  </a:lnTo>
                  <a:lnTo>
                    <a:pt x="94102" y="237074"/>
                  </a:lnTo>
                  <a:lnTo>
                    <a:pt x="92935" y="236940"/>
                  </a:lnTo>
                  <a:lnTo>
                    <a:pt x="91968" y="236123"/>
                  </a:lnTo>
                  <a:lnTo>
                    <a:pt x="91197" y="234623"/>
                  </a:lnTo>
                  <a:lnTo>
                    <a:pt x="89396" y="233633"/>
                  </a:lnTo>
                  <a:lnTo>
                    <a:pt x="88265" y="233440"/>
                  </a:lnTo>
                  <a:lnTo>
                    <a:pt x="88232" y="228805"/>
                  </a:lnTo>
                  <a:lnTo>
                    <a:pt x="88200" y="224739"/>
                  </a:lnTo>
                  <a:lnTo>
                    <a:pt x="88170" y="220694"/>
                  </a:lnTo>
                  <a:lnTo>
                    <a:pt x="84315" y="220532"/>
                  </a:lnTo>
                  <a:lnTo>
                    <a:pt x="80847" y="220387"/>
                  </a:lnTo>
                  <a:lnTo>
                    <a:pt x="80847" y="216997"/>
                  </a:lnTo>
                  <a:lnTo>
                    <a:pt x="80847" y="210675"/>
                  </a:lnTo>
                  <a:lnTo>
                    <a:pt x="82493" y="205768"/>
                  </a:lnTo>
                  <a:lnTo>
                    <a:pt x="84175" y="201044"/>
                  </a:lnTo>
                  <a:lnTo>
                    <a:pt x="81623" y="197565"/>
                  </a:lnTo>
                  <a:lnTo>
                    <a:pt x="78902" y="193849"/>
                  </a:lnTo>
                  <a:lnTo>
                    <a:pt x="77142" y="192307"/>
                  </a:lnTo>
                  <a:lnTo>
                    <a:pt x="75069" y="187659"/>
                  </a:lnTo>
                  <a:lnTo>
                    <a:pt x="74032" y="185603"/>
                  </a:lnTo>
                  <a:lnTo>
                    <a:pt x="73114" y="184821"/>
                  </a:lnTo>
                  <a:lnTo>
                    <a:pt x="72128" y="184366"/>
                  </a:lnTo>
                  <a:lnTo>
                    <a:pt x="68506" y="184548"/>
                  </a:lnTo>
                  <a:lnTo>
                    <a:pt x="65127" y="182043"/>
                  </a:lnTo>
                  <a:lnTo>
                    <a:pt x="61158" y="179099"/>
                  </a:lnTo>
                  <a:lnTo>
                    <a:pt x="56312" y="175502"/>
                  </a:lnTo>
                  <a:lnTo>
                    <a:pt x="52048" y="173151"/>
                  </a:lnTo>
                  <a:lnTo>
                    <a:pt x="50305" y="172633"/>
                  </a:lnTo>
                  <a:lnTo>
                    <a:pt x="46204" y="172449"/>
                  </a:lnTo>
                  <a:lnTo>
                    <a:pt x="45768" y="172000"/>
                  </a:lnTo>
                  <a:lnTo>
                    <a:pt x="45489" y="170708"/>
                  </a:lnTo>
                  <a:lnTo>
                    <a:pt x="45496" y="169268"/>
                  </a:lnTo>
                  <a:lnTo>
                    <a:pt x="46830" y="167096"/>
                  </a:lnTo>
                  <a:lnTo>
                    <a:pt x="46936" y="165731"/>
                  </a:lnTo>
                  <a:lnTo>
                    <a:pt x="44150" y="161127"/>
                  </a:lnTo>
                  <a:lnTo>
                    <a:pt x="43291" y="159780"/>
                  </a:lnTo>
                  <a:lnTo>
                    <a:pt x="40907" y="159238"/>
                  </a:lnTo>
                  <a:lnTo>
                    <a:pt x="41382" y="157908"/>
                  </a:lnTo>
                  <a:lnTo>
                    <a:pt x="41382" y="157019"/>
                  </a:lnTo>
                  <a:lnTo>
                    <a:pt x="41043" y="156319"/>
                  </a:lnTo>
                  <a:lnTo>
                    <a:pt x="40492" y="155983"/>
                  </a:lnTo>
                  <a:lnTo>
                    <a:pt x="39793" y="155947"/>
                  </a:lnTo>
                  <a:lnTo>
                    <a:pt x="37923" y="156492"/>
                  </a:lnTo>
                  <a:lnTo>
                    <a:pt x="36495" y="154412"/>
                  </a:lnTo>
                  <a:lnTo>
                    <a:pt x="32062" y="148483"/>
                  </a:lnTo>
                  <a:lnTo>
                    <a:pt x="30642" y="147763"/>
                  </a:lnTo>
                  <a:lnTo>
                    <a:pt x="30378" y="147356"/>
                  </a:lnTo>
                  <a:lnTo>
                    <a:pt x="31462" y="145536"/>
                  </a:lnTo>
                  <a:lnTo>
                    <a:pt x="33287" y="142837"/>
                  </a:lnTo>
                  <a:lnTo>
                    <a:pt x="33600" y="141269"/>
                  </a:lnTo>
                  <a:lnTo>
                    <a:pt x="33248" y="139547"/>
                  </a:lnTo>
                  <a:lnTo>
                    <a:pt x="31274" y="136295"/>
                  </a:lnTo>
                  <a:lnTo>
                    <a:pt x="31756" y="134918"/>
                  </a:lnTo>
                  <a:lnTo>
                    <a:pt x="32605" y="133332"/>
                  </a:lnTo>
                  <a:lnTo>
                    <a:pt x="32671" y="132141"/>
                  </a:lnTo>
                  <a:lnTo>
                    <a:pt x="33999" y="132318"/>
                  </a:lnTo>
                  <a:lnTo>
                    <a:pt x="35694" y="132335"/>
                  </a:lnTo>
                  <a:lnTo>
                    <a:pt x="36226" y="131365"/>
                  </a:lnTo>
                  <a:lnTo>
                    <a:pt x="36193" y="127965"/>
                  </a:lnTo>
                  <a:lnTo>
                    <a:pt x="36593" y="126724"/>
                  </a:lnTo>
                  <a:lnTo>
                    <a:pt x="41961" y="120965"/>
                  </a:lnTo>
                  <a:lnTo>
                    <a:pt x="44634" y="119671"/>
                  </a:lnTo>
                  <a:lnTo>
                    <a:pt x="46668" y="118481"/>
                  </a:lnTo>
                  <a:lnTo>
                    <a:pt x="47130" y="116749"/>
                  </a:lnTo>
                  <a:lnTo>
                    <a:pt x="46711" y="115857"/>
                  </a:lnTo>
                  <a:lnTo>
                    <a:pt x="46314" y="114553"/>
                  </a:lnTo>
                  <a:lnTo>
                    <a:pt x="46189" y="113614"/>
                  </a:lnTo>
                  <a:lnTo>
                    <a:pt x="43945" y="111024"/>
                  </a:lnTo>
                  <a:lnTo>
                    <a:pt x="43166" y="109717"/>
                  </a:lnTo>
                  <a:lnTo>
                    <a:pt x="43071" y="108527"/>
                  </a:lnTo>
                  <a:lnTo>
                    <a:pt x="43600" y="106416"/>
                  </a:lnTo>
                  <a:lnTo>
                    <a:pt x="44537" y="104779"/>
                  </a:lnTo>
                  <a:lnTo>
                    <a:pt x="47711" y="103816"/>
                  </a:lnTo>
                  <a:lnTo>
                    <a:pt x="49514" y="102992"/>
                  </a:lnTo>
                  <a:lnTo>
                    <a:pt x="49756" y="102258"/>
                  </a:lnTo>
                  <a:lnTo>
                    <a:pt x="47413" y="101067"/>
                  </a:lnTo>
                  <a:lnTo>
                    <a:pt x="42414" y="100692"/>
                  </a:lnTo>
                  <a:lnTo>
                    <a:pt x="38765" y="101034"/>
                  </a:lnTo>
                  <a:lnTo>
                    <a:pt x="37595" y="100660"/>
                  </a:lnTo>
                  <a:lnTo>
                    <a:pt x="35861" y="98349"/>
                  </a:lnTo>
                  <a:lnTo>
                    <a:pt x="34016" y="97117"/>
                  </a:lnTo>
                  <a:lnTo>
                    <a:pt x="32296" y="96326"/>
                  </a:lnTo>
                  <a:lnTo>
                    <a:pt x="30614" y="96471"/>
                  </a:lnTo>
                  <a:lnTo>
                    <a:pt x="29594" y="96155"/>
                  </a:lnTo>
                  <a:lnTo>
                    <a:pt x="29357" y="95163"/>
                  </a:lnTo>
                  <a:lnTo>
                    <a:pt x="26929" y="87547"/>
                  </a:lnTo>
                  <a:lnTo>
                    <a:pt x="26165" y="86504"/>
                  </a:lnTo>
                  <a:lnTo>
                    <a:pt x="25031" y="86246"/>
                  </a:lnTo>
                  <a:lnTo>
                    <a:pt x="24083" y="86198"/>
                  </a:lnTo>
                  <a:lnTo>
                    <a:pt x="23451" y="85673"/>
                  </a:lnTo>
                  <a:lnTo>
                    <a:pt x="22773" y="84619"/>
                  </a:lnTo>
                  <a:lnTo>
                    <a:pt x="22285" y="83240"/>
                  </a:lnTo>
                  <a:lnTo>
                    <a:pt x="22248" y="81428"/>
                  </a:lnTo>
                  <a:lnTo>
                    <a:pt x="22349" y="79873"/>
                  </a:lnTo>
                  <a:lnTo>
                    <a:pt x="22023" y="78871"/>
                  </a:lnTo>
                  <a:lnTo>
                    <a:pt x="21188" y="77874"/>
                  </a:lnTo>
                  <a:lnTo>
                    <a:pt x="20002" y="77158"/>
                  </a:lnTo>
                  <a:lnTo>
                    <a:pt x="18964" y="76310"/>
                  </a:lnTo>
                  <a:lnTo>
                    <a:pt x="17141" y="69586"/>
                  </a:lnTo>
                  <a:lnTo>
                    <a:pt x="16411" y="67775"/>
                  </a:lnTo>
                  <a:lnTo>
                    <a:pt x="16405" y="67586"/>
                  </a:lnTo>
                  <a:lnTo>
                    <a:pt x="16439" y="67231"/>
                  </a:lnTo>
                  <a:lnTo>
                    <a:pt x="16254" y="65685"/>
                  </a:lnTo>
                  <a:lnTo>
                    <a:pt x="17104" y="64342"/>
                  </a:lnTo>
                  <a:lnTo>
                    <a:pt x="17046" y="63817"/>
                  </a:lnTo>
                  <a:lnTo>
                    <a:pt x="15299" y="62115"/>
                  </a:lnTo>
                  <a:lnTo>
                    <a:pt x="12844" y="60416"/>
                  </a:lnTo>
                  <a:lnTo>
                    <a:pt x="12179" y="60118"/>
                  </a:lnTo>
                  <a:lnTo>
                    <a:pt x="12159" y="58306"/>
                  </a:lnTo>
                  <a:lnTo>
                    <a:pt x="12248" y="56932"/>
                  </a:lnTo>
                  <a:lnTo>
                    <a:pt x="12028" y="55694"/>
                  </a:lnTo>
                  <a:lnTo>
                    <a:pt x="11561" y="54986"/>
                  </a:lnTo>
                  <a:lnTo>
                    <a:pt x="11544" y="54429"/>
                  </a:lnTo>
                  <a:lnTo>
                    <a:pt x="12531" y="53094"/>
                  </a:lnTo>
                  <a:lnTo>
                    <a:pt x="11896" y="52217"/>
                  </a:lnTo>
                  <a:lnTo>
                    <a:pt x="8281" y="50052"/>
                  </a:lnTo>
                  <a:lnTo>
                    <a:pt x="6920" y="48962"/>
                  </a:lnTo>
                  <a:lnTo>
                    <a:pt x="4416" y="48747"/>
                  </a:lnTo>
                  <a:lnTo>
                    <a:pt x="4159" y="48033"/>
                  </a:lnTo>
                  <a:lnTo>
                    <a:pt x="4547" y="46518"/>
                  </a:lnTo>
                  <a:lnTo>
                    <a:pt x="5411" y="44682"/>
                  </a:lnTo>
                  <a:lnTo>
                    <a:pt x="6769" y="42874"/>
                  </a:lnTo>
                  <a:lnTo>
                    <a:pt x="7201" y="41919"/>
                  </a:lnTo>
                  <a:lnTo>
                    <a:pt x="7728" y="40296"/>
                  </a:lnTo>
                  <a:lnTo>
                    <a:pt x="7908" y="39143"/>
                  </a:lnTo>
                  <a:lnTo>
                    <a:pt x="9428" y="37520"/>
                  </a:lnTo>
                  <a:lnTo>
                    <a:pt x="9434" y="37096"/>
                  </a:lnTo>
                  <a:lnTo>
                    <a:pt x="9013" y="36517"/>
                  </a:lnTo>
                  <a:lnTo>
                    <a:pt x="7795" y="36188"/>
                  </a:lnTo>
                  <a:lnTo>
                    <a:pt x="6553" y="36056"/>
                  </a:lnTo>
                  <a:lnTo>
                    <a:pt x="6087" y="35758"/>
                  </a:lnTo>
                  <a:lnTo>
                    <a:pt x="5917" y="34888"/>
                  </a:lnTo>
                  <a:lnTo>
                    <a:pt x="6072" y="31344"/>
                  </a:lnTo>
                  <a:lnTo>
                    <a:pt x="5681" y="29209"/>
                  </a:lnTo>
                  <a:lnTo>
                    <a:pt x="5169" y="27663"/>
                  </a:lnTo>
                  <a:lnTo>
                    <a:pt x="5493" y="24169"/>
                  </a:lnTo>
                  <a:lnTo>
                    <a:pt x="4625" y="23467"/>
                  </a:lnTo>
                  <a:lnTo>
                    <a:pt x="3263" y="21630"/>
                  </a:lnTo>
                  <a:lnTo>
                    <a:pt x="2682" y="20079"/>
                  </a:lnTo>
                  <a:lnTo>
                    <a:pt x="2997" y="19501"/>
                  </a:lnTo>
                  <a:lnTo>
                    <a:pt x="3286" y="18479"/>
                  </a:lnTo>
                  <a:lnTo>
                    <a:pt x="3478" y="17139"/>
                  </a:lnTo>
                  <a:lnTo>
                    <a:pt x="3423" y="16188"/>
                  </a:lnTo>
                  <a:lnTo>
                    <a:pt x="2168" y="15261"/>
                  </a:lnTo>
                  <a:lnTo>
                    <a:pt x="1235" y="14285"/>
                  </a:lnTo>
                  <a:lnTo>
                    <a:pt x="1129" y="13206"/>
                  </a:lnTo>
                  <a:lnTo>
                    <a:pt x="758" y="11888"/>
                  </a:lnTo>
                  <a:lnTo>
                    <a:pt x="233" y="10846"/>
                  </a:lnTo>
                  <a:lnTo>
                    <a:pt x="0" y="10161"/>
                  </a:lnTo>
                  <a:lnTo>
                    <a:pt x="458" y="9758"/>
                  </a:lnTo>
                  <a:lnTo>
                    <a:pt x="2228" y="9440"/>
                  </a:lnTo>
                  <a:lnTo>
                    <a:pt x="4802" y="9659"/>
                  </a:lnTo>
                  <a:lnTo>
                    <a:pt x="6903" y="9678"/>
                  </a:lnTo>
                  <a:lnTo>
                    <a:pt x="8095" y="9002"/>
                  </a:lnTo>
                  <a:lnTo>
                    <a:pt x="9568" y="2649"/>
                  </a:lnTo>
                  <a:lnTo>
                    <a:pt x="10911" y="971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76" name="ee4p_IQ_1_37365">
              <a:extLst>
                <a:ext uri="{FF2B5EF4-FFF2-40B4-BE49-F238E27FC236}">
                  <a16:creationId xmlns:a16="http://schemas.microsoft.com/office/drawing/2014/main" id="{AFBF7A09-58D4-C2EC-CDD4-20577352F85C}"/>
                </a:ext>
              </a:extLst>
            </p:cNvPr>
            <p:cNvSpPr>
              <a:spLocks noChangeAspect="1"/>
            </p:cNvSpPr>
            <p:nvPr>
              <p:custDataLst>
                <p:tags r:id="rId230"/>
              </p:custDataLst>
            </p:nvPr>
          </p:nvSpPr>
          <p:spPr>
            <a:xfrm>
              <a:off x="7591416" y="3557776"/>
              <a:ext cx="271389" cy="265215"/>
            </a:xfrm>
            <a:custGeom>
              <a:avLst/>
              <a:gdLst/>
              <a:ahLst/>
              <a:cxnLst/>
              <a:rect l="0" t="0" r="0" b="0"/>
              <a:pathLst>
                <a:path w="216101" h="205587">
                  <a:moveTo>
                    <a:pt x="132487" y="5847"/>
                  </a:moveTo>
                  <a:lnTo>
                    <a:pt x="132493" y="6036"/>
                  </a:lnTo>
                  <a:lnTo>
                    <a:pt x="133223" y="7847"/>
                  </a:lnTo>
                  <a:lnTo>
                    <a:pt x="135046" y="14571"/>
                  </a:lnTo>
                  <a:lnTo>
                    <a:pt x="136084" y="15419"/>
                  </a:lnTo>
                  <a:lnTo>
                    <a:pt x="137270" y="16135"/>
                  </a:lnTo>
                  <a:lnTo>
                    <a:pt x="138105" y="17132"/>
                  </a:lnTo>
                  <a:lnTo>
                    <a:pt x="138431" y="18134"/>
                  </a:lnTo>
                  <a:lnTo>
                    <a:pt x="138330" y="19689"/>
                  </a:lnTo>
                  <a:lnTo>
                    <a:pt x="138367" y="21501"/>
                  </a:lnTo>
                  <a:lnTo>
                    <a:pt x="138855" y="22880"/>
                  </a:lnTo>
                  <a:lnTo>
                    <a:pt x="139533" y="23934"/>
                  </a:lnTo>
                  <a:lnTo>
                    <a:pt x="140165" y="24459"/>
                  </a:lnTo>
                  <a:lnTo>
                    <a:pt x="141113" y="24507"/>
                  </a:lnTo>
                  <a:lnTo>
                    <a:pt x="142247" y="24765"/>
                  </a:lnTo>
                  <a:lnTo>
                    <a:pt x="143011" y="25808"/>
                  </a:lnTo>
                  <a:lnTo>
                    <a:pt x="145439" y="33424"/>
                  </a:lnTo>
                  <a:lnTo>
                    <a:pt x="145676" y="34416"/>
                  </a:lnTo>
                  <a:lnTo>
                    <a:pt x="146696" y="34732"/>
                  </a:lnTo>
                  <a:lnTo>
                    <a:pt x="148378" y="34587"/>
                  </a:lnTo>
                  <a:lnTo>
                    <a:pt x="150098" y="35378"/>
                  </a:lnTo>
                  <a:lnTo>
                    <a:pt x="151943" y="36610"/>
                  </a:lnTo>
                  <a:lnTo>
                    <a:pt x="153677" y="38921"/>
                  </a:lnTo>
                  <a:lnTo>
                    <a:pt x="154847" y="39295"/>
                  </a:lnTo>
                  <a:lnTo>
                    <a:pt x="158496" y="38953"/>
                  </a:lnTo>
                  <a:lnTo>
                    <a:pt x="163495" y="39328"/>
                  </a:lnTo>
                  <a:lnTo>
                    <a:pt x="165838" y="40519"/>
                  </a:lnTo>
                  <a:lnTo>
                    <a:pt x="165596" y="41253"/>
                  </a:lnTo>
                  <a:lnTo>
                    <a:pt x="163793" y="42077"/>
                  </a:lnTo>
                  <a:lnTo>
                    <a:pt x="160619" y="43040"/>
                  </a:lnTo>
                  <a:lnTo>
                    <a:pt x="159682" y="44677"/>
                  </a:lnTo>
                  <a:lnTo>
                    <a:pt x="159153" y="46788"/>
                  </a:lnTo>
                  <a:lnTo>
                    <a:pt x="159248" y="47978"/>
                  </a:lnTo>
                  <a:lnTo>
                    <a:pt x="160027" y="49285"/>
                  </a:lnTo>
                  <a:lnTo>
                    <a:pt x="162271" y="51875"/>
                  </a:lnTo>
                  <a:lnTo>
                    <a:pt x="162396" y="52814"/>
                  </a:lnTo>
                  <a:lnTo>
                    <a:pt x="162793" y="54118"/>
                  </a:lnTo>
                  <a:lnTo>
                    <a:pt x="163212" y="55010"/>
                  </a:lnTo>
                  <a:lnTo>
                    <a:pt x="162750" y="56742"/>
                  </a:lnTo>
                  <a:lnTo>
                    <a:pt x="160716" y="57932"/>
                  </a:lnTo>
                  <a:lnTo>
                    <a:pt x="158043" y="59226"/>
                  </a:lnTo>
                  <a:lnTo>
                    <a:pt x="152675" y="64985"/>
                  </a:lnTo>
                  <a:lnTo>
                    <a:pt x="152275" y="66226"/>
                  </a:lnTo>
                  <a:lnTo>
                    <a:pt x="152308" y="69626"/>
                  </a:lnTo>
                  <a:lnTo>
                    <a:pt x="151776" y="70596"/>
                  </a:lnTo>
                  <a:lnTo>
                    <a:pt x="150081" y="70579"/>
                  </a:lnTo>
                  <a:lnTo>
                    <a:pt x="148753" y="70402"/>
                  </a:lnTo>
                  <a:lnTo>
                    <a:pt x="148687" y="71593"/>
                  </a:lnTo>
                  <a:lnTo>
                    <a:pt x="147838" y="73179"/>
                  </a:lnTo>
                  <a:lnTo>
                    <a:pt x="147356" y="74556"/>
                  </a:lnTo>
                  <a:lnTo>
                    <a:pt x="149330" y="77808"/>
                  </a:lnTo>
                  <a:lnTo>
                    <a:pt x="149682" y="79530"/>
                  </a:lnTo>
                  <a:lnTo>
                    <a:pt x="149369" y="81098"/>
                  </a:lnTo>
                  <a:lnTo>
                    <a:pt x="147544" y="83797"/>
                  </a:lnTo>
                  <a:lnTo>
                    <a:pt x="146460" y="85617"/>
                  </a:lnTo>
                  <a:lnTo>
                    <a:pt x="146724" y="86024"/>
                  </a:lnTo>
                  <a:lnTo>
                    <a:pt x="148144" y="86744"/>
                  </a:lnTo>
                  <a:lnTo>
                    <a:pt x="152577" y="92673"/>
                  </a:lnTo>
                  <a:lnTo>
                    <a:pt x="154005" y="94753"/>
                  </a:lnTo>
                  <a:lnTo>
                    <a:pt x="155875" y="94208"/>
                  </a:lnTo>
                  <a:lnTo>
                    <a:pt x="156574" y="94244"/>
                  </a:lnTo>
                  <a:lnTo>
                    <a:pt x="157125" y="94580"/>
                  </a:lnTo>
                  <a:lnTo>
                    <a:pt x="157464" y="95280"/>
                  </a:lnTo>
                  <a:lnTo>
                    <a:pt x="157464" y="96169"/>
                  </a:lnTo>
                  <a:lnTo>
                    <a:pt x="156989" y="97499"/>
                  </a:lnTo>
                  <a:lnTo>
                    <a:pt x="159373" y="98041"/>
                  </a:lnTo>
                  <a:lnTo>
                    <a:pt x="160232" y="99388"/>
                  </a:lnTo>
                  <a:lnTo>
                    <a:pt x="163018" y="103992"/>
                  </a:lnTo>
                  <a:lnTo>
                    <a:pt x="162912" y="105357"/>
                  </a:lnTo>
                  <a:lnTo>
                    <a:pt x="161578" y="107529"/>
                  </a:lnTo>
                  <a:lnTo>
                    <a:pt x="161571" y="108969"/>
                  </a:lnTo>
                  <a:lnTo>
                    <a:pt x="161850" y="110261"/>
                  </a:lnTo>
                  <a:lnTo>
                    <a:pt x="162286" y="110710"/>
                  </a:lnTo>
                  <a:lnTo>
                    <a:pt x="166387" y="110894"/>
                  </a:lnTo>
                  <a:lnTo>
                    <a:pt x="168130" y="111412"/>
                  </a:lnTo>
                  <a:lnTo>
                    <a:pt x="172394" y="113763"/>
                  </a:lnTo>
                  <a:lnTo>
                    <a:pt x="177240" y="117360"/>
                  </a:lnTo>
                  <a:lnTo>
                    <a:pt x="181209" y="120304"/>
                  </a:lnTo>
                  <a:lnTo>
                    <a:pt x="184588" y="122809"/>
                  </a:lnTo>
                  <a:lnTo>
                    <a:pt x="188210" y="122627"/>
                  </a:lnTo>
                  <a:lnTo>
                    <a:pt x="189196" y="123082"/>
                  </a:lnTo>
                  <a:lnTo>
                    <a:pt x="190114" y="123864"/>
                  </a:lnTo>
                  <a:lnTo>
                    <a:pt x="191151" y="125920"/>
                  </a:lnTo>
                  <a:lnTo>
                    <a:pt x="193224" y="130568"/>
                  </a:lnTo>
                  <a:lnTo>
                    <a:pt x="194984" y="132110"/>
                  </a:lnTo>
                  <a:lnTo>
                    <a:pt x="197705" y="135826"/>
                  </a:lnTo>
                  <a:lnTo>
                    <a:pt x="200257" y="139305"/>
                  </a:lnTo>
                  <a:lnTo>
                    <a:pt x="198575" y="144029"/>
                  </a:lnTo>
                  <a:lnTo>
                    <a:pt x="196929" y="148936"/>
                  </a:lnTo>
                  <a:lnTo>
                    <a:pt x="196929" y="155258"/>
                  </a:lnTo>
                  <a:lnTo>
                    <a:pt x="196929" y="158648"/>
                  </a:lnTo>
                  <a:lnTo>
                    <a:pt x="200397" y="158793"/>
                  </a:lnTo>
                  <a:lnTo>
                    <a:pt x="204252" y="158955"/>
                  </a:lnTo>
                  <a:lnTo>
                    <a:pt x="204282" y="163000"/>
                  </a:lnTo>
                  <a:lnTo>
                    <a:pt x="204314" y="167066"/>
                  </a:lnTo>
                  <a:lnTo>
                    <a:pt x="204347" y="171701"/>
                  </a:lnTo>
                  <a:lnTo>
                    <a:pt x="205478" y="171894"/>
                  </a:lnTo>
                  <a:lnTo>
                    <a:pt x="207279" y="172884"/>
                  </a:lnTo>
                  <a:lnTo>
                    <a:pt x="208050" y="174384"/>
                  </a:lnTo>
                  <a:lnTo>
                    <a:pt x="209017" y="175201"/>
                  </a:lnTo>
                  <a:lnTo>
                    <a:pt x="210184" y="175335"/>
                  </a:lnTo>
                  <a:lnTo>
                    <a:pt x="211337" y="176072"/>
                  </a:lnTo>
                  <a:lnTo>
                    <a:pt x="212477" y="177412"/>
                  </a:lnTo>
                  <a:lnTo>
                    <a:pt x="212892" y="178426"/>
                  </a:lnTo>
                  <a:lnTo>
                    <a:pt x="212587" y="179116"/>
                  </a:lnTo>
                  <a:lnTo>
                    <a:pt x="212831" y="180333"/>
                  </a:lnTo>
                  <a:lnTo>
                    <a:pt x="213626" y="182077"/>
                  </a:lnTo>
                  <a:lnTo>
                    <a:pt x="214597" y="182895"/>
                  </a:lnTo>
                  <a:lnTo>
                    <a:pt x="216100" y="183898"/>
                  </a:lnTo>
                  <a:lnTo>
                    <a:pt x="214060" y="184476"/>
                  </a:lnTo>
                  <a:lnTo>
                    <a:pt x="211857" y="184034"/>
                  </a:lnTo>
                  <a:lnTo>
                    <a:pt x="207150" y="181996"/>
                  </a:lnTo>
                  <a:lnTo>
                    <a:pt x="205625" y="181941"/>
                  </a:lnTo>
                  <a:lnTo>
                    <a:pt x="203630" y="182713"/>
                  </a:lnTo>
                  <a:lnTo>
                    <a:pt x="203546" y="183403"/>
                  </a:lnTo>
                  <a:lnTo>
                    <a:pt x="198575" y="181133"/>
                  </a:lnTo>
                  <a:lnTo>
                    <a:pt x="196780" y="180672"/>
                  </a:lnTo>
                  <a:lnTo>
                    <a:pt x="196139" y="180631"/>
                  </a:lnTo>
                  <a:lnTo>
                    <a:pt x="193288" y="180651"/>
                  </a:lnTo>
                  <a:lnTo>
                    <a:pt x="189231" y="181058"/>
                  </a:lnTo>
                  <a:lnTo>
                    <a:pt x="186840" y="181982"/>
                  </a:lnTo>
                  <a:lnTo>
                    <a:pt x="185182" y="182963"/>
                  </a:lnTo>
                  <a:lnTo>
                    <a:pt x="184433" y="183923"/>
                  </a:lnTo>
                  <a:lnTo>
                    <a:pt x="184161" y="184439"/>
                  </a:lnTo>
                  <a:lnTo>
                    <a:pt x="182869" y="187269"/>
                  </a:lnTo>
                  <a:lnTo>
                    <a:pt x="181373" y="190898"/>
                  </a:lnTo>
                  <a:lnTo>
                    <a:pt x="179823" y="194166"/>
                  </a:lnTo>
                  <a:lnTo>
                    <a:pt x="176804" y="198750"/>
                  </a:lnTo>
                  <a:lnTo>
                    <a:pt x="175132" y="200866"/>
                  </a:lnTo>
                  <a:lnTo>
                    <a:pt x="171543" y="204802"/>
                  </a:lnTo>
                  <a:lnTo>
                    <a:pt x="167674" y="205586"/>
                  </a:lnTo>
                  <a:lnTo>
                    <a:pt x="158680" y="204811"/>
                  </a:lnTo>
                  <a:lnTo>
                    <a:pt x="148712" y="203952"/>
                  </a:lnTo>
                  <a:lnTo>
                    <a:pt x="138792" y="203096"/>
                  </a:lnTo>
                  <a:lnTo>
                    <a:pt x="131411" y="202458"/>
                  </a:lnTo>
                  <a:lnTo>
                    <a:pt x="130843" y="202247"/>
                  </a:lnTo>
                  <a:lnTo>
                    <a:pt x="123545" y="196633"/>
                  </a:lnTo>
                  <a:lnTo>
                    <a:pt x="117770" y="192190"/>
                  </a:lnTo>
                  <a:lnTo>
                    <a:pt x="110564" y="186635"/>
                  </a:lnTo>
                  <a:lnTo>
                    <a:pt x="103203" y="180954"/>
                  </a:lnTo>
                  <a:lnTo>
                    <a:pt x="95736" y="175180"/>
                  </a:lnTo>
                  <a:lnTo>
                    <a:pt x="90310" y="170982"/>
                  </a:lnTo>
                  <a:lnTo>
                    <a:pt x="83721" y="165575"/>
                  </a:lnTo>
                  <a:lnTo>
                    <a:pt x="77725" y="160644"/>
                  </a:lnTo>
                  <a:lnTo>
                    <a:pt x="72989" y="156748"/>
                  </a:lnTo>
                  <a:lnTo>
                    <a:pt x="66915" y="153335"/>
                  </a:lnTo>
                  <a:lnTo>
                    <a:pt x="62169" y="150666"/>
                  </a:lnTo>
                  <a:lnTo>
                    <a:pt x="55256" y="146776"/>
                  </a:lnTo>
                  <a:lnTo>
                    <a:pt x="49728" y="143662"/>
                  </a:lnTo>
                  <a:lnTo>
                    <a:pt x="44995" y="140994"/>
                  </a:lnTo>
                  <a:lnTo>
                    <a:pt x="37709" y="136882"/>
                  </a:lnTo>
                  <a:lnTo>
                    <a:pt x="35286" y="135764"/>
                  </a:lnTo>
                  <a:lnTo>
                    <a:pt x="27735" y="134390"/>
                  </a:lnTo>
                  <a:lnTo>
                    <a:pt x="20577" y="133225"/>
                  </a:lnTo>
                  <a:lnTo>
                    <a:pt x="13159" y="132018"/>
                  </a:lnTo>
                  <a:lnTo>
                    <a:pt x="8223" y="131214"/>
                  </a:lnTo>
                  <a:lnTo>
                    <a:pt x="11481" y="128284"/>
                  </a:lnTo>
                  <a:lnTo>
                    <a:pt x="10479" y="125652"/>
                  </a:lnTo>
                  <a:lnTo>
                    <a:pt x="8104" y="126138"/>
                  </a:lnTo>
                  <a:lnTo>
                    <a:pt x="5923" y="126766"/>
                  </a:lnTo>
                  <a:lnTo>
                    <a:pt x="4601" y="122663"/>
                  </a:lnTo>
                  <a:lnTo>
                    <a:pt x="6286" y="122156"/>
                  </a:lnTo>
                  <a:lnTo>
                    <a:pt x="4729" y="116800"/>
                  </a:lnTo>
                  <a:lnTo>
                    <a:pt x="3125" y="111278"/>
                  </a:lnTo>
                  <a:lnTo>
                    <a:pt x="1580" y="105939"/>
                  </a:lnTo>
                  <a:lnTo>
                    <a:pt x="0" y="100465"/>
                  </a:lnTo>
                  <a:lnTo>
                    <a:pt x="6262" y="96954"/>
                  </a:lnTo>
                  <a:lnTo>
                    <a:pt x="10941" y="94326"/>
                  </a:lnTo>
                  <a:lnTo>
                    <a:pt x="17489" y="90646"/>
                  </a:lnTo>
                  <a:lnTo>
                    <a:pt x="23803" y="87095"/>
                  </a:lnTo>
                  <a:lnTo>
                    <a:pt x="29816" y="83707"/>
                  </a:lnTo>
                  <a:lnTo>
                    <a:pt x="36440" y="79972"/>
                  </a:lnTo>
                  <a:lnTo>
                    <a:pt x="42365" y="76628"/>
                  </a:lnTo>
                  <a:lnTo>
                    <a:pt x="47795" y="75268"/>
                  </a:lnTo>
                  <a:lnTo>
                    <a:pt x="48944" y="74209"/>
                  </a:lnTo>
                  <a:lnTo>
                    <a:pt x="51421" y="69636"/>
                  </a:lnTo>
                  <a:lnTo>
                    <a:pt x="53537" y="65721"/>
                  </a:lnTo>
                  <a:lnTo>
                    <a:pt x="53637" y="64812"/>
                  </a:lnTo>
                  <a:lnTo>
                    <a:pt x="53645" y="59254"/>
                  </a:lnTo>
                  <a:lnTo>
                    <a:pt x="54017" y="52716"/>
                  </a:lnTo>
                  <a:lnTo>
                    <a:pt x="54723" y="49217"/>
                  </a:lnTo>
                  <a:lnTo>
                    <a:pt x="55939" y="46122"/>
                  </a:lnTo>
                  <a:lnTo>
                    <a:pt x="57062" y="43863"/>
                  </a:lnTo>
                  <a:lnTo>
                    <a:pt x="57178" y="41745"/>
                  </a:lnTo>
                  <a:lnTo>
                    <a:pt x="57029" y="39595"/>
                  </a:lnTo>
                  <a:lnTo>
                    <a:pt x="55869" y="36343"/>
                  </a:lnTo>
                  <a:lnTo>
                    <a:pt x="54662" y="32950"/>
                  </a:lnTo>
                  <a:lnTo>
                    <a:pt x="54798" y="29675"/>
                  </a:lnTo>
                  <a:lnTo>
                    <a:pt x="55021" y="27921"/>
                  </a:lnTo>
                  <a:lnTo>
                    <a:pt x="55777" y="25115"/>
                  </a:lnTo>
                  <a:lnTo>
                    <a:pt x="57063" y="23063"/>
                  </a:lnTo>
                  <a:lnTo>
                    <a:pt x="58448" y="21791"/>
                  </a:lnTo>
                  <a:lnTo>
                    <a:pt x="63609" y="20479"/>
                  </a:lnTo>
                  <a:lnTo>
                    <a:pt x="66669" y="19699"/>
                  </a:lnTo>
                  <a:lnTo>
                    <a:pt x="70769" y="16056"/>
                  </a:lnTo>
                  <a:lnTo>
                    <a:pt x="73201" y="13892"/>
                  </a:lnTo>
                  <a:lnTo>
                    <a:pt x="76591" y="10460"/>
                  </a:lnTo>
                  <a:lnTo>
                    <a:pt x="79085" y="7930"/>
                  </a:lnTo>
                  <a:lnTo>
                    <a:pt x="79284" y="7054"/>
                  </a:lnTo>
                  <a:lnTo>
                    <a:pt x="79282" y="6708"/>
                  </a:lnTo>
                  <a:lnTo>
                    <a:pt x="81424" y="6196"/>
                  </a:lnTo>
                  <a:lnTo>
                    <a:pt x="85395" y="3126"/>
                  </a:lnTo>
                  <a:lnTo>
                    <a:pt x="87731" y="254"/>
                  </a:lnTo>
                  <a:lnTo>
                    <a:pt x="88472" y="0"/>
                  </a:lnTo>
                  <a:lnTo>
                    <a:pt x="90562" y="943"/>
                  </a:lnTo>
                  <a:lnTo>
                    <a:pt x="92054" y="1202"/>
                  </a:lnTo>
                  <a:lnTo>
                    <a:pt x="95501" y="115"/>
                  </a:lnTo>
                  <a:lnTo>
                    <a:pt x="97550" y="689"/>
                  </a:lnTo>
                  <a:lnTo>
                    <a:pt x="99273" y="1412"/>
                  </a:lnTo>
                  <a:lnTo>
                    <a:pt x="100238" y="1459"/>
                  </a:lnTo>
                  <a:lnTo>
                    <a:pt x="104862" y="3246"/>
                  </a:lnTo>
                  <a:lnTo>
                    <a:pt x="106015" y="3468"/>
                  </a:lnTo>
                  <a:lnTo>
                    <a:pt x="108399" y="3687"/>
                  </a:lnTo>
                  <a:lnTo>
                    <a:pt x="111951" y="3781"/>
                  </a:lnTo>
                  <a:lnTo>
                    <a:pt x="114242" y="2616"/>
                  </a:lnTo>
                  <a:lnTo>
                    <a:pt x="115860" y="1488"/>
                  </a:lnTo>
                  <a:lnTo>
                    <a:pt x="116997" y="1515"/>
                  </a:lnTo>
                  <a:lnTo>
                    <a:pt x="118099" y="1785"/>
                  </a:lnTo>
                  <a:lnTo>
                    <a:pt x="119023" y="2267"/>
                  </a:lnTo>
                  <a:lnTo>
                    <a:pt x="119809" y="3111"/>
                  </a:lnTo>
                  <a:lnTo>
                    <a:pt x="120176" y="4314"/>
                  </a:lnTo>
                  <a:lnTo>
                    <a:pt x="120027" y="8153"/>
                  </a:lnTo>
                  <a:lnTo>
                    <a:pt x="120377" y="9169"/>
                  </a:lnTo>
                  <a:lnTo>
                    <a:pt x="121001" y="9896"/>
                  </a:lnTo>
                  <a:lnTo>
                    <a:pt x="121800" y="10030"/>
                  </a:lnTo>
                  <a:lnTo>
                    <a:pt x="122767" y="9198"/>
                  </a:lnTo>
                  <a:lnTo>
                    <a:pt x="124456" y="7983"/>
                  </a:lnTo>
                  <a:lnTo>
                    <a:pt x="126535" y="6659"/>
                  </a:lnTo>
                  <a:lnTo>
                    <a:pt x="128084" y="5444"/>
                  </a:lnTo>
                  <a:lnTo>
                    <a:pt x="128967" y="4992"/>
                  </a:lnTo>
                  <a:lnTo>
                    <a:pt x="130368" y="5054"/>
                  </a:lnTo>
                  <a:lnTo>
                    <a:pt x="131731" y="5265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77" name="ee4p_IL_1_37365">
              <a:extLst>
                <a:ext uri="{FF2B5EF4-FFF2-40B4-BE49-F238E27FC236}">
                  <a16:creationId xmlns:a16="http://schemas.microsoft.com/office/drawing/2014/main" id="{18C36FE0-7670-59EB-AE96-942EFD671724}"/>
                </a:ext>
              </a:extLst>
            </p:cNvPr>
            <p:cNvSpPr>
              <a:spLocks noChangeAspect="1"/>
            </p:cNvSpPr>
            <p:nvPr>
              <p:custDataLst>
                <p:tags r:id="rId231"/>
              </p:custDataLst>
            </p:nvPr>
          </p:nvSpPr>
          <p:spPr>
            <a:xfrm>
              <a:off x="7464360" y="3685478"/>
              <a:ext cx="47635" cy="124653"/>
            </a:xfrm>
            <a:custGeom>
              <a:avLst/>
              <a:gdLst/>
              <a:ahLst/>
              <a:cxnLst/>
              <a:rect l="0" t="0" r="0" b="0"/>
              <a:pathLst>
                <a:path w="37931" h="96627">
                  <a:moveTo>
                    <a:pt x="36720" y="4508"/>
                  </a:moveTo>
                  <a:lnTo>
                    <a:pt x="37377" y="5920"/>
                  </a:lnTo>
                  <a:lnTo>
                    <a:pt x="37778" y="7323"/>
                  </a:lnTo>
                  <a:lnTo>
                    <a:pt x="36925" y="8487"/>
                  </a:lnTo>
                  <a:lnTo>
                    <a:pt x="37008" y="9703"/>
                  </a:lnTo>
                  <a:lnTo>
                    <a:pt x="37234" y="10721"/>
                  </a:lnTo>
                  <a:lnTo>
                    <a:pt x="37930" y="11918"/>
                  </a:lnTo>
                  <a:lnTo>
                    <a:pt x="36677" y="14071"/>
                  </a:lnTo>
                  <a:lnTo>
                    <a:pt x="35453" y="16044"/>
                  </a:lnTo>
                  <a:lnTo>
                    <a:pt x="35140" y="17213"/>
                  </a:lnTo>
                  <a:lnTo>
                    <a:pt x="33972" y="17361"/>
                  </a:lnTo>
                  <a:lnTo>
                    <a:pt x="31246" y="18514"/>
                  </a:lnTo>
                  <a:lnTo>
                    <a:pt x="30877" y="18861"/>
                  </a:lnTo>
                  <a:lnTo>
                    <a:pt x="30398" y="19529"/>
                  </a:lnTo>
                  <a:lnTo>
                    <a:pt x="30313" y="20046"/>
                  </a:lnTo>
                  <a:lnTo>
                    <a:pt x="29925" y="25567"/>
                  </a:lnTo>
                  <a:lnTo>
                    <a:pt x="30380" y="29439"/>
                  </a:lnTo>
                  <a:lnTo>
                    <a:pt x="29556" y="32750"/>
                  </a:lnTo>
                  <a:lnTo>
                    <a:pt x="29482" y="35647"/>
                  </a:lnTo>
                  <a:lnTo>
                    <a:pt x="30091" y="41022"/>
                  </a:lnTo>
                  <a:lnTo>
                    <a:pt x="28774" y="43301"/>
                  </a:lnTo>
                  <a:lnTo>
                    <a:pt x="28022" y="45992"/>
                  </a:lnTo>
                  <a:lnTo>
                    <a:pt x="27694" y="48022"/>
                  </a:lnTo>
                  <a:lnTo>
                    <a:pt x="27081" y="51781"/>
                  </a:lnTo>
                  <a:lnTo>
                    <a:pt x="27096" y="51794"/>
                  </a:lnTo>
                  <a:lnTo>
                    <a:pt x="26591" y="54096"/>
                  </a:lnTo>
                  <a:lnTo>
                    <a:pt x="26790" y="54488"/>
                  </a:lnTo>
                  <a:lnTo>
                    <a:pt x="27444" y="56488"/>
                  </a:lnTo>
                  <a:lnTo>
                    <a:pt x="26200" y="60147"/>
                  </a:lnTo>
                  <a:lnTo>
                    <a:pt x="24810" y="63119"/>
                  </a:lnTo>
                  <a:lnTo>
                    <a:pt x="24317" y="64529"/>
                  </a:lnTo>
                  <a:lnTo>
                    <a:pt x="22963" y="67660"/>
                  </a:lnTo>
                  <a:lnTo>
                    <a:pt x="21579" y="71294"/>
                  </a:lnTo>
                  <a:lnTo>
                    <a:pt x="20840" y="73795"/>
                  </a:lnTo>
                  <a:lnTo>
                    <a:pt x="21007" y="74683"/>
                  </a:lnTo>
                  <a:lnTo>
                    <a:pt x="20663" y="79266"/>
                  </a:lnTo>
                  <a:lnTo>
                    <a:pt x="20862" y="80565"/>
                  </a:lnTo>
                  <a:lnTo>
                    <a:pt x="19238" y="84532"/>
                  </a:lnTo>
                  <a:lnTo>
                    <a:pt x="18912" y="86490"/>
                  </a:lnTo>
                  <a:lnTo>
                    <a:pt x="18260" y="89147"/>
                  </a:lnTo>
                  <a:lnTo>
                    <a:pt x="17143" y="94752"/>
                  </a:lnTo>
                  <a:lnTo>
                    <a:pt x="15615" y="96626"/>
                  </a:lnTo>
                  <a:lnTo>
                    <a:pt x="14852" y="94537"/>
                  </a:lnTo>
                  <a:lnTo>
                    <a:pt x="13112" y="88542"/>
                  </a:lnTo>
                  <a:lnTo>
                    <a:pt x="11872" y="84431"/>
                  </a:lnTo>
                  <a:lnTo>
                    <a:pt x="10182" y="79359"/>
                  </a:lnTo>
                  <a:lnTo>
                    <a:pt x="7331" y="73185"/>
                  </a:lnTo>
                  <a:lnTo>
                    <a:pt x="7068" y="71696"/>
                  </a:lnTo>
                  <a:lnTo>
                    <a:pt x="6452" y="69536"/>
                  </a:lnTo>
                  <a:lnTo>
                    <a:pt x="4485" y="63907"/>
                  </a:lnTo>
                  <a:lnTo>
                    <a:pt x="2883" y="59836"/>
                  </a:lnTo>
                  <a:lnTo>
                    <a:pt x="1043" y="54638"/>
                  </a:lnTo>
                  <a:lnTo>
                    <a:pt x="318" y="52589"/>
                  </a:lnTo>
                  <a:lnTo>
                    <a:pt x="0" y="51849"/>
                  </a:lnTo>
                  <a:lnTo>
                    <a:pt x="4183" y="47912"/>
                  </a:lnTo>
                  <a:lnTo>
                    <a:pt x="6174" y="45441"/>
                  </a:lnTo>
                  <a:lnTo>
                    <a:pt x="6321" y="45260"/>
                  </a:lnTo>
                  <a:lnTo>
                    <a:pt x="10620" y="37833"/>
                  </a:lnTo>
                  <a:lnTo>
                    <a:pt x="13393" y="30460"/>
                  </a:lnTo>
                  <a:lnTo>
                    <a:pt x="16003" y="20189"/>
                  </a:lnTo>
                  <a:lnTo>
                    <a:pt x="17860" y="14953"/>
                  </a:lnTo>
                  <a:lnTo>
                    <a:pt x="19435" y="11485"/>
                  </a:lnTo>
                  <a:lnTo>
                    <a:pt x="20132" y="8608"/>
                  </a:lnTo>
                  <a:lnTo>
                    <a:pt x="22669" y="8403"/>
                  </a:lnTo>
                  <a:lnTo>
                    <a:pt x="24561" y="8710"/>
                  </a:lnTo>
                  <a:lnTo>
                    <a:pt x="26824" y="8806"/>
                  </a:lnTo>
                  <a:lnTo>
                    <a:pt x="28636" y="7724"/>
                  </a:lnTo>
                  <a:lnTo>
                    <a:pt x="29506" y="4485"/>
                  </a:lnTo>
                  <a:lnTo>
                    <a:pt x="30540" y="3966"/>
                  </a:lnTo>
                  <a:lnTo>
                    <a:pt x="31063" y="4730"/>
                  </a:lnTo>
                  <a:lnTo>
                    <a:pt x="31601" y="3878"/>
                  </a:lnTo>
                  <a:lnTo>
                    <a:pt x="33972" y="2454"/>
                  </a:lnTo>
                  <a:lnTo>
                    <a:pt x="35144" y="1534"/>
                  </a:lnTo>
                  <a:lnTo>
                    <a:pt x="36321" y="398"/>
                  </a:lnTo>
                  <a:lnTo>
                    <a:pt x="36949" y="0"/>
                  </a:lnTo>
                  <a:lnTo>
                    <a:pt x="36561" y="1517"/>
                  </a:lnTo>
                  <a:lnTo>
                    <a:pt x="36241" y="2506"/>
                  </a:lnTo>
                  <a:lnTo>
                    <a:pt x="36239" y="3800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78" name="ee4p_JO_1_37365">
              <a:extLst>
                <a:ext uri="{FF2B5EF4-FFF2-40B4-BE49-F238E27FC236}">
                  <a16:creationId xmlns:a16="http://schemas.microsoft.com/office/drawing/2014/main" id="{5A1D8676-C190-1C1F-F800-021A60F36CC4}"/>
                </a:ext>
              </a:extLst>
            </p:cNvPr>
            <p:cNvSpPr>
              <a:spLocks noChangeAspect="1"/>
            </p:cNvSpPr>
            <p:nvPr>
              <p:custDataLst>
                <p:tags r:id="rId232"/>
              </p:custDataLst>
            </p:nvPr>
          </p:nvSpPr>
          <p:spPr>
            <a:xfrm>
              <a:off x="7485261" y="3687380"/>
              <a:ext cx="120575" cy="131673"/>
            </a:xfrm>
            <a:custGeom>
              <a:avLst/>
              <a:gdLst/>
              <a:ahLst/>
              <a:cxnLst/>
              <a:rect l="0" t="0" r="0" b="0"/>
              <a:pathLst>
                <a:path w="96011" h="102069">
                  <a:moveTo>
                    <a:pt x="92752" y="30749"/>
                  </a:moveTo>
                  <a:lnTo>
                    <a:pt x="89472" y="33620"/>
                  </a:lnTo>
                  <a:lnTo>
                    <a:pt x="88703" y="33927"/>
                  </a:lnTo>
                  <a:lnTo>
                    <a:pt x="84442" y="35115"/>
                  </a:lnTo>
                  <a:lnTo>
                    <a:pt x="75727" y="37541"/>
                  </a:lnTo>
                  <a:lnTo>
                    <a:pt x="69888" y="39165"/>
                  </a:lnTo>
                  <a:lnTo>
                    <a:pt x="62423" y="41241"/>
                  </a:lnTo>
                  <a:lnTo>
                    <a:pt x="56221" y="42964"/>
                  </a:lnTo>
                  <a:lnTo>
                    <a:pt x="50080" y="44671"/>
                  </a:lnTo>
                  <a:lnTo>
                    <a:pt x="44396" y="46250"/>
                  </a:lnTo>
                  <a:lnTo>
                    <a:pt x="47640" y="49580"/>
                  </a:lnTo>
                  <a:lnTo>
                    <a:pt x="52598" y="54663"/>
                  </a:lnTo>
                  <a:lnTo>
                    <a:pt x="55904" y="58052"/>
                  </a:lnTo>
                  <a:lnTo>
                    <a:pt x="59806" y="62405"/>
                  </a:lnTo>
                  <a:lnTo>
                    <a:pt x="63289" y="66288"/>
                  </a:lnTo>
                  <a:lnTo>
                    <a:pt x="66984" y="70401"/>
                  </a:lnTo>
                  <a:lnTo>
                    <a:pt x="64393" y="71794"/>
                  </a:lnTo>
                  <a:lnTo>
                    <a:pt x="60121" y="74086"/>
                  </a:lnTo>
                  <a:lnTo>
                    <a:pt x="59683" y="74503"/>
                  </a:lnTo>
                  <a:lnTo>
                    <a:pt x="59322" y="74932"/>
                  </a:lnTo>
                  <a:lnTo>
                    <a:pt x="57554" y="79021"/>
                  </a:lnTo>
                  <a:lnTo>
                    <a:pt x="56163" y="82238"/>
                  </a:lnTo>
                  <a:lnTo>
                    <a:pt x="55688" y="82641"/>
                  </a:lnTo>
                  <a:lnTo>
                    <a:pt x="49721" y="83822"/>
                  </a:lnTo>
                  <a:lnTo>
                    <a:pt x="43699" y="85013"/>
                  </a:lnTo>
                  <a:lnTo>
                    <a:pt x="39901" y="85764"/>
                  </a:lnTo>
                  <a:lnTo>
                    <a:pt x="38765" y="86595"/>
                  </a:lnTo>
                  <a:lnTo>
                    <a:pt x="36286" y="90596"/>
                  </a:lnTo>
                  <a:lnTo>
                    <a:pt x="33727" y="94724"/>
                  </a:lnTo>
                  <a:lnTo>
                    <a:pt x="29454" y="98094"/>
                  </a:lnTo>
                  <a:lnTo>
                    <a:pt x="24714" y="101826"/>
                  </a:lnTo>
                  <a:lnTo>
                    <a:pt x="23541" y="102068"/>
                  </a:lnTo>
                  <a:lnTo>
                    <a:pt x="20112" y="101495"/>
                  </a:lnTo>
                  <a:lnTo>
                    <a:pt x="14251" y="100516"/>
                  </a:lnTo>
                  <a:lnTo>
                    <a:pt x="8587" y="99571"/>
                  </a:lnTo>
                  <a:lnTo>
                    <a:pt x="4709" y="98924"/>
                  </a:lnTo>
                  <a:lnTo>
                    <a:pt x="0" y="98139"/>
                  </a:lnTo>
                  <a:lnTo>
                    <a:pt x="695" y="94981"/>
                  </a:lnTo>
                  <a:lnTo>
                    <a:pt x="500" y="93278"/>
                  </a:lnTo>
                  <a:lnTo>
                    <a:pt x="1617" y="87673"/>
                  </a:lnTo>
                  <a:lnTo>
                    <a:pt x="2269" y="85016"/>
                  </a:lnTo>
                  <a:lnTo>
                    <a:pt x="2595" y="83058"/>
                  </a:lnTo>
                  <a:lnTo>
                    <a:pt x="4219" y="79091"/>
                  </a:lnTo>
                  <a:lnTo>
                    <a:pt x="4020" y="77792"/>
                  </a:lnTo>
                  <a:lnTo>
                    <a:pt x="4364" y="73209"/>
                  </a:lnTo>
                  <a:lnTo>
                    <a:pt x="4197" y="72321"/>
                  </a:lnTo>
                  <a:lnTo>
                    <a:pt x="4936" y="69820"/>
                  </a:lnTo>
                  <a:lnTo>
                    <a:pt x="6320" y="66186"/>
                  </a:lnTo>
                  <a:lnTo>
                    <a:pt x="7674" y="63055"/>
                  </a:lnTo>
                  <a:lnTo>
                    <a:pt x="8167" y="61645"/>
                  </a:lnTo>
                  <a:lnTo>
                    <a:pt x="9557" y="58673"/>
                  </a:lnTo>
                  <a:lnTo>
                    <a:pt x="10801" y="55014"/>
                  </a:lnTo>
                  <a:lnTo>
                    <a:pt x="10147" y="53014"/>
                  </a:lnTo>
                  <a:lnTo>
                    <a:pt x="9948" y="52622"/>
                  </a:lnTo>
                  <a:lnTo>
                    <a:pt x="10453" y="50320"/>
                  </a:lnTo>
                  <a:lnTo>
                    <a:pt x="10438" y="50307"/>
                  </a:lnTo>
                  <a:lnTo>
                    <a:pt x="11051" y="46548"/>
                  </a:lnTo>
                  <a:lnTo>
                    <a:pt x="11379" y="44518"/>
                  </a:lnTo>
                  <a:lnTo>
                    <a:pt x="12131" y="41827"/>
                  </a:lnTo>
                  <a:lnTo>
                    <a:pt x="13448" y="39548"/>
                  </a:lnTo>
                  <a:lnTo>
                    <a:pt x="12839" y="34173"/>
                  </a:lnTo>
                  <a:lnTo>
                    <a:pt x="12913" y="31276"/>
                  </a:lnTo>
                  <a:lnTo>
                    <a:pt x="13737" y="27965"/>
                  </a:lnTo>
                  <a:lnTo>
                    <a:pt x="13282" y="24093"/>
                  </a:lnTo>
                  <a:lnTo>
                    <a:pt x="13670" y="18572"/>
                  </a:lnTo>
                  <a:lnTo>
                    <a:pt x="13755" y="18055"/>
                  </a:lnTo>
                  <a:lnTo>
                    <a:pt x="14234" y="17387"/>
                  </a:lnTo>
                  <a:lnTo>
                    <a:pt x="14603" y="17040"/>
                  </a:lnTo>
                  <a:lnTo>
                    <a:pt x="17329" y="15887"/>
                  </a:lnTo>
                  <a:lnTo>
                    <a:pt x="18497" y="15739"/>
                  </a:lnTo>
                  <a:lnTo>
                    <a:pt x="20872" y="16260"/>
                  </a:lnTo>
                  <a:lnTo>
                    <a:pt x="22237" y="17419"/>
                  </a:lnTo>
                  <a:lnTo>
                    <a:pt x="24515" y="20691"/>
                  </a:lnTo>
                  <a:lnTo>
                    <a:pt x="28059" y="21643"/>
                  </a:lnTo>
                  <a:lnTo>
                    <a:pt x="29486" y="22569"/>
                  </a:lnTo>
                  <a:lnTo>
                    <a:pt x="31427" y="24304"/>
                  </a:lnTo>
                  <a:lnTo>
                    <a:pt x="33796" y="24933"/>
                  </a:lnTo>
                  <a:lnTo>
                    <a:pt x="41295" y="26015"/>
                  </a:lnTo>
                  <a:lnTo>
                    <a:pt x="47279" y="22371"/>
                  </a:lnTo>
                  <a:lnTo>
                    <a:pt x="52334" y="19289"/>
                  </a:lnTo>
                  <a:lnTo>
                    <a:pt x="58081" y="15785"/>
                  </a:lnTo>
                  <a:lnTo>
                    <a:pt x="61987" y="13399"/>
                  </a:lnTo>
                  <a:lnTo>
                    <a:pt x="68657" y="9327"/>
                  </a:lnTo>
                  <a:lnTo>
                    <a:pt x="73047" y="6750"/>
                  </a:lnTo>
                  <a:lnTo>
                    <a:pt x="78826" y="3354"/>
                  </a:lnTo>
                  <a:lnTo>
                    <a:pt x="84529" y="0"/>
                  </a:lnTo>
                  <a:lnTo>
                    <a:pt x="86109" y="5474"/>
                  </a:lnTo>
                  <a:lnTo>
                    <a:pt x="87654" y="10813"/>
                  </a:lnTo>
                  <a:lnTo>
                    <a:pt x="89258" y="16335"/>
                  </a:lnTo>
                  <a:lnTo>
                    <a:pt x="90815" y="21691"/>
                  </a:lnTo>
                  <a:lnTo>
                    <a:pt x="89130" y="22198"/>
                  </a:lnTo>
                  <a:lnTo>
                    <a:pt x="90452" y="26301"/>
                  </a:lnTo>
                  <a:lnTo>
                    <a:pt x="92633" y="25673"/>
                  </a:lnTo>
                  <a:lnTo>
                    <a:pt x="95008" y="25187"/>
                  </a:lnTo>
                  <a:lnTo>
                    <a:pt x="96010" y="27819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79" name="ee4p_JP_1_37365">
              <a:extLst>
                <a:ext uri="{FF2B5EF4-FFF2-40B4-BE49-F238E27FC236}">
                  <a16:creationId xmlns:a16="http://schemas.microsoft.com/office/drawing/2014/main" id="{23EE43ED-DCC5-E9F8-C714-22BBC0F9080C}"/>
                </a:ext>
              </a:extLst>
            </p:cNvPr>
            <p:cNvSpPr>
              <a:spLocks noChangeAspect="1"/>
            </p:cNvSpPr>
            <p:nvPr>
              <p:custDataLst>
                <p:tags r:id="rId233"/>
              </p:custDataLst>
            </p:nvPr>
          </p:nvSpPr>
          <p:spPr>
            <a:xfrm>
              <a:off x="9949207" y="3280234"/>
              <a:ext cx="615181" cy="689710"/>
            </a:xfrm>
            <a:custGeom>
              <a:avLst/>
              <a:gdLst>
                <a:gd name="connsiteX0" fmla="*/ 2028 w 489855"/>
                <a:gd name="connsiteY0" fmla="*/ 531163 h 534643"/>
                <a:gd name="connsiteX1" fmla="*/ 5640 w 489855"/>
                <a:gd name="connsiteY1" fmla="*/ 532393 h 534643"/>
                <a:gd name="connsiteX2" fmla="*/ 5491 w 489855"/>
                <a:gd name="connsiteY2" fmla="*/ 533293 h 534643"/>
                <a:gd name="connsiteX3" fmla="*/ 4619 w 489855"/>
                <a:gd name="connsiteY3" fmla="*/ 534314 h 534643"/>
                <a:gd name="connsiteX4" fmla="*/ 3224 w 489855"/>
                <a:gd name="connsiteY4" fmla="*/ 534643 h 534643"/>
                <a:gd name="connsiteX5" fmla="*/ 1548 w 489855"/>
                <a:gd name="connsiteY5" fmla="*/ 534239 h 534643"/>
                <a:gd name="connsiteX6" fmla="*/ 20 w 489855"/>
                <a:gd name="connsiteY6" fmla="*/ 534128 h 534643"/>
                <a:gd name="connsiteX7" fmla="*/ 0 w 489855"/>
                <a:gd name="connsiteY7" fmla="*/ 533431 h 534643"/>
                <a:gd name="connsiteX8" fmla="*/ 1605 w 489855"/>
                <a:gd name="connsiteY8" fmla="*/ 532710 h 534643"/>
                <a:gd name="connsiteX9" fmla="*/ 1635 w 489855"/>
                <a:gd name="connsiteY9" fmla="*/ 531706 h 534643"/>
                <a:gd name="connsiteX10" fmla="*/ 13758 w 489855"/>
                <a:gd name="connsiteY10" fmla="*/ 527110 h 534643"/>
                <a:gd name="connsiteX11" fmla="*/ 14245 w 489855"/>
                <a:gd name="connsiteY11" fmla="*/ 527598 h 534643"/>
                <a:gd name="connsiteX12" fmla="*/ 13564 w 489855"/>
                <a:gd name="connsiteY12" fmla="*/ 528782 h 534643"/>
                <a:gd name="connsiteX13" fmla="*/ 12261 w 489855"/>
                <a:gd name="connsiteY13" fmla="*/ 532486 h 534643"/>
                <a:gd name="connsiteX14" fmla="*/ 11186 w 489855"/>
                <a:gd name="connsiteY14" fmla="*/ 533025 h 534643"/>
                <a:gd name="connsiteX15" fmla="*/ 10082 w 489855"/>
                <a:gd name="connsiteY15" fmla="*/ 532731 h 534643"/>
                <a:gd name="connsiteX16" fmla="*/ 8955 w 489855"/>
                <a:gd name="connsiteY16" fmla="*/ 530661 h 534643"/>
                <a:gd name="connsiteX17" fmla="*/ 9743 w 489855"/>
                <a:gd name="connsiteY17" fmla="*/ 529868 h 534643"/>
                <a:gd name="connsiteX18" fmla="*/ 10845 w 489855"/>
                <a:gd name="connsiteY18" fmla="*/ 530285 h 534643"/>
                <a:gd name="connsiteX19" fmla="*/ 11736 w 489855"/>
                <a:gd name="connsiteY19" fmla="*/ 530126 h 534643"/>
                <a:gd name="connsiteX20" fmla="*/ 35464 w 489855"/>
                <a:gd name="connsiteY20" fmla="*/ 520417 h 534643"/>
                <a:gd name="connsiteX21" fmla="*/ 36157 w 489855"/>
                <a:gd name="connsiteY21" fmla="*/ 520877 h 534643"/>
                <a:gd name="connsiteX22" fmla="*/ 36591 w 489855"/>
                <a:gd name="connsiteY22" fmla="*/ 521998 h 534643"/>
                <a:gd name="connsiteX23" fmla="*/ 38079 w 489855"/>
                <a:gd name="connsiteY23" fmla="*/ 522652 h 534643"/>
                <a:gd name="connsiteX24" fmla="*/ 39013 w 489855"/>
                <a:gd name="connsiteY24" fmla="*/ 523444 h 534643"/>
                <a:gd name="connsiteX25" fmla="*/ 37140 w 489855"/>
                <a:gd name="connsiteY25" fmla="*/ 524057 h 534643"/>
                <a:gd name="connsiteX26" fmla="*/ 35140 w 489855"/>
                <a:gd name="connsiteY26" fmla="*/ 523695 h 534643"/>
                <a:gd name="connsiteX27" fmla="*/ 101165 w 489855"/>
                <a:gd name="connsiteY27" fmla="*/ 472903 h 534643"/>
                <a:gd name="connsiteX28" fmla="*/ 102862 w 489855"/>
                <a:gd name="connsiteY28" fmla="*/ 474561 h 534643"/>
                <a:gd name="connsiteX29" fmla="*/ 102405 w 489855"/>
                <a:gd name="connsiteY29" fmla="*/ 476732 h 534643"/>
                <a:gd name="connsiteX30" fmla="*/ 101251 w 489855"/>
                <a:gd name="connsiteY30" fmla="*/ 478345 h 534643"/>
                <a:gd name="connsiteX31" fmla="*/ 99122 w 489855"/>
                <a:gd name="connsiteY31" fmla="*/ 479433 h 534643"/>
                <a:gd name="connsiteX32" fmla="*/ 98336 w 489855"/>
                <a:gd name="connsiteY32" fmla="*/ 480731 h 534643"/>
                <a:gd name="connsiteX33" fmla="*/ 96367 w 489855"/>
                <a:gd name="connsiteY33" fmla="*/ 481173 h 534643"/>
                <a:gd name="connsiteX34" fmla="*/ 94452 w 489855"/>
                <a:gd name="connsiteY34" fmla="*/ 483002 h 534643"/>
                <a:gd name="connsiteX35" fmla="*/ 92590 w 489855"/>
                <a:gd name="connsiteY35" fmla="*/ 483334 h 534643"/>
                <a:gd name="connsiteX36" fmla="*/ 92638 w 489855"/>
                <a:gd name="connsiteY36" fmla="*/ 484802 h 534643"/>
                <a:gd name="connsiteX37" fmla="*/ 93424 w 489855"/>
                <a:gd name="connsiteY37" fmla="*/ 486045 h 534643"/>
                <a:gd name="connsiteX38" fmla="*/ 92185 w 489855"/>
                <a:gd name="connsiteY38" fmla="*/ 486262 h 534643"/>
                <a:gd name="connsiteX39" fmla="*/ 90888 w 489855"/>
                <a:gd name="connsiteY39" fmla="*/ 487775 h 534643"/>
                <a:gd name="connsiteX40" fmla="*/ 90787 w 489855"/>
                <a:gd name="connsiteY40" fmla="*/ 488874 h 534643"/>
                <a:gd name="connsiteX41" fmla="*/ 91249 w 489855"/>
                <a:gd name="connsiteY41" fmla="*/ 489760 h 534643"/>
                <a:gd name="connsiteX42" fmla="*/ 91187 w 489855"/>
                <a:gd name="connsiteY42" fmla="*/ 490203 h 534643"/>
                <a:gd name="connsiteX43" fmla="*/ 89545 w 489855"/>
                <a:gd name="connsiteY43" fmla="*/ 491514 h 534643"/>
                <a:gd name="connsiteX44" fmla="*/ 87859 w 489855"/>
                <a:gd name="connsiteY44" fmla="*/ 491571 h 534643"/>
                <a:gd name="connsiteX45" fmla="*/ 87783 w 489855"/>
                <a:gd name="connsiteY45" fmla="*/ 490157 h 534643"/>
                <a:gd name="connsiteX46" fmla="*/ 87898 w 489855"/>
                <a:gd name="connsiteY46" fmla="*/ 489099 h 534643"/>
                <a:gd name="connsiteX47" fmla="*/ 89494 w 489855"/>
                <a:gd name="connsiteY47" fmla="*/ 486524 h 534643"/>
                <a:gd name="connsiteX48" fmla="*/ 89535 w 489855"/>
                <a:gd name="connsiteY48" fmla="*/ 483537 h 534643"/>
                <a:gd name="connsiteX49" fmla="*/ 91016 w 489855"/>
                <a:gd name="connsiteY49" fmla="*/ 483191 h 534643"/>
                <a:gd name="connsiteX50" fmla="*/ 91558 w 489855"/>
                <a:gd name="connsiteY50" fmla="*/ 482775 h 534643"/>
                <a:gd name="connsiteX51" fmla="*/ 93892 w 489855"/>
                <a:gd name="connsiteY51" fmla="*/ 480648 h 534643"/>
                <a:gd name="connsiteX52" fmla="*/ 94324 w 489855"/>
                <a:gd name="connsiteY52" fmla="*/ 479742 h 534643"/>
                <a:gd name="connsiteX53" fmla="*/ 93115 w 489855"/>
                <a:gd name="connsiteY53" fmla="*/ 478861 h 534643"/>
                <a:gd name="connsiteX54" fmla="*/ 93204 w 489855"/>
                <a:gd name="connsiteY54" fmla="*/ 477819 h 534643"/>
                <a:gd name="connsiteX55" fmla="*/ 93477 w 489855"/>
                <a:gd name="connsiteY55" fmla="*/ 477376 h 534643"/>
                <a:gd name="connsiteX56" fmla="*/ 95404 w 489855"/>
                <a:gd name="connsiteY56" fmla="*/ 477712 h 534643"/>
                <a:gd name="connsiteX57" fmla="*/ 96186 w 489855"/>
                <a:gd name="connsiteY57" fmla="*/ 478485 h 534643"/>
                <a:gd name="connsiteX58" fmla="*/ 96563 w 489855"/>
                <a:gd name="connsiteY58" fmla="*/ 478570 h 534643"/>
                <a:gd name="connsiteX59" fmla="*/ 97689 w 489855"/>
                <a:gd name="connsiteY59" fmla="*/ 477989 h 534643"/>
                <a:gd name="connsiteX60" fmla="*/ 98217 w 489855"/>
                <a:gd name="connsiteY60" fmla="*/ 476953 h 534643"/>
                <a:gd name="connsiteX61" fmla="*/ 100317 w 489855"/>
                <a:gd name="connsiteY61" fmla="*/ 474923 h 534643"/>
                <a:gd name="connsiteX62" fmla="*/ 116572 w 489855"/>
                <a:gd name="connsiteY62" fmla="*/ 448392 h 534643"/>
                <a:gd name="connsiteX63" fmla="*/ 117415 w 489855"/>
                <a:gd name="connsiteY63" fmla="*/ 450761 h 534643"/>
                <a:gd name="connsiteX64" fmla="*/ 118004 w 489855"/>
                <a:gd name="connsiteY64" fmla="*/ 451739 h 534643"/>
                <a:gd name="connsiteX65" fmla="*/ 117600 w 489855"/>
                <a:gd name="connsiteY65" fmla="*/ 452918 h 534643"/>
                <a:gd name="connsiteX66" fmla="*/ 116674 w 489855"/>
                <a:gd name="connsiteY66" fmla="*/ 453356 h 534643"/>
                <a:gd name="connsiteX67" fmla="*/ 115430 w 489855"/>
                <a:gd name="connsiteY67" fmla="*/ 452752 h 534643"/>
                <a:gd name="connsiteX68" fmla="*/ 115050 w 489855"/>
                <a:gd name="connsiteY68" fmla="*/ 450013 h 534643"/>
                <a:gd name="connsiteX69" fmla="*/ 115599 w 489855"/>
                <a:gd name="connsiteY69" fmla="*/ 448685 h 534643"/>
                <a:gd name="connsiteX70" fmla="*/ 121897 w 489855"/>
                <a:gd name="connsiteY70" fmla="*/ 441640 h 534643"/>
                <a:gd name="connsiteX71" fmla="*/ 123333 w 489855"/>
                <a:gd name="connsiteY71" fmla="*/ 442031 h 534643"/>
                <a:gd name="connsiteX72" fmla="*/ 123774 w 489855"/>
                <a:gd name="connsiteY72" fmla="*/ 442784 h 534643"/>
                <a:gd name="connsiteX73" fmla="*/ 124806 w 489855"/>
                <a:gd name="connsiteY73" fmla="*/ 443736 h 534643"/>
                <a:gd name="connsiteX74" fmla="*/ 124951 w 489855"/>
                <a:gd name="connsiteY74" fmla="*/ 444294 h 534643"/>
                <a:gd name="connsiteX75" fmla="*/ 122780 w 489855"/>
                <a:gd name="connsiteY75" fmla="*/ 443827 h 534643"/>
                <a:gd name="connsiteX76" fmla="*/ 132888 w 489855"/>
                <a:gd name="connsiteY76" fmla="*/ 433851 h 534643"/>
                <a:gd name="connsiteX77" fmla="*/ 133444 w 489855"/>
                <a:gd name="connsiteY77" fmla="*/ 434999 h 534643"/>
                <a:gd name="connsiteX78" fmla="*/ 133351 w 489855"/>
                <a:gd name="connsiteY78" fmla="*/ 435898 h 534643"/>
                <a:gd name="connsiteX79" fmla="*/ 131830 w 489855"/>
                <a:gd name="connsiteY79" fmla="*/ 436398 h 534643"/>
                <a:gd name="connsiteX80" fmla="*/ 130347 w 489855"/>
                <a:gd name="connsiteY80" fmla="*/ 437599 h 534643"/>
                <a:gd name="connsiteX81" fmla="*/ 128978 w 489855"/>
                <a:gd name="connsiteY81" fmla="*/ 439096 h 534643"/>
                <a:gd name="connsiteX82" fmla="*/ 127741 w 489855"/>
                <a:gd name="connsiteY82" fmla="*/ 439728 h 534643"/>
                <a:gd name="connsiteX83" fmla="*/ 127350 w 489855"/>
                <a:gd name="connsiteY83" fmla="*/ 440148 h 534643"/>
                <a:gd name="connsiteX84" fmla="*/ 127648 w 489855"/>
                <a:gd name="connsiteY84" fmla="*/ 441245 h 534643"/>
                <a:gd name="connsiteX85" fmla="*/ 125743 w 489855"/>
                <a:gd name="connsiteY85" fmla="*/ 443190 h 534643"/>
                <a:gd name="connsiteX86" fmla="*/ 123720 w 489855"/>
                <a:gd name="connsiteY86" fmla="*/ 441439 h 534643"/>
                <a:gd name="connsiteX87" fmla="*/ 121282 w 489855"/>
                <a:gd name="connsiteY87" fmla="*/ 440269 h 534643"/>
                <a:gd name="connsiteX88" fmla="*/ 122442 w 489855"/>
                <a:gd name="connsiteY88" fmla="*/ 439953 h 534643"/>
                <a:gd name="connsiteX89" fmla="*/ 123121 w 489855"/>
                <a:gd name="connsiteY89" fmla="*/ 439484 h 534643"/>
                <a:gd name="connsiteX90" fmla="*/ 123189 w 489855"/>
                <a:gd name="connsiteY90" fmla="*/ 438740 h 534643"/>
                <a:gd name="connsiteX91" fmla="*/ 124772 w 489855"/>
                <a:gd name="connsiteY91" fmla="*/ 437636 h 534643"/>
                <a:gd name="connsiteX92" fmla="*/ 127913 w 489855"/>
                <a:gd name="connsiteY92" fmla="*/ 436782 h 534643"/>
                <a:gd name="connsiteX93" fmla="*/ 128911 w 489855"/>
                <a:gd name="connsiteY93" fmla="*/ 436728 h 534643"/>
                <a:gd name="connsiteX94" fmla="*/ 130036 w 489855"/>
                <a:gd name="connsiteY94" fmla="*/ 435924 h 534643"/>
                <a:gd name="connsiteX95" fmla="*/ 130403 w 489855"/>
                <a:gd name="connsiteY95" fmla="*/ 435199 h 534643"/>
                <a:gd name="connsiteX96" fmla="*/ 130866 w 489855"/>
                <a:gd name="connsiteY96" fmla="*/ 434849 h 534643"/>
                <a:gd name="connsiteX97" fmla="*/ 150747 w 489855"/>
                <a:gd name="connsiteY97" fmla="*/ 386845 h 534643"/>
                <a:gd name="connsiteX98" fmla="*/ 153984 w 489855"/>
                <a:gd name="connsiteY98" fmla="*/ 388703 h 534643"/>
                <a:gd name="connsiteX99" fmla="*/ 154640 w 489855"/>
                <a:gd name="connsiteY99" fmla="*/ 389239 h 534643"/>
                <a:gd name="connsiteX100" fmla="*/ 153523 w 489855"/>
                <a:gd name="connsiteY100" fmla="*/ 391759 h 534643"/>
                <a:gd name="connsiteX101" fmla="*/ 150991 w 489855"/>
                <a:gd name="connsiteY101" fmla="*/ 392282 h 534643"/>
                <a:gd name="connsiteX102" fmla="*/ 149607 w 489855"/>
                <a:gd name="connsiteY102" fmla="*/ 391717 h 534643"/>
                <a:gd name="connsiteX103" fmla="*/ 148335 w 489855"/>
                <a:gd name="connsiteY103" fmla="*/ 388722 h 534643"/>
                <a:gd name="connsiteX104" fmla="*/ 163200 w 489855"/>
                <a:gd name="connsiteY104" fmla="*/ 378024 h 534643"/>
                <a:gd name="connsiteX105" fmla="*/ 163693 w 489855"/>
                <a:gd name="connsiteY105" fmla="*/ 378939 h 534643"/>
                <a:gd name="connsiteX106" fmla="*/ 163135 w 489855"/>
                <a:gd name="connsiteY106" fmla="*/ 382547 h 534643"/>
                <a:gd name="connsiteX107" fmla="*/ 161701 w 489855"/>
                <a:gd name="connsiteY107" fmla="*/ 385280 h 534643"/>
                <a:gd name="connsiteX108" fmla="*/ 160976 w 489855"/>
                <a:gd name="connsiteY108" fmla="*/ 388510 h 534643"/>
                <a:gd name="connsiteX109" fmla="*/ 159039 w 489855"/>
                <a:gd name="connsiteY109" fmla="*/ 388767 h 534643"/>
                <a:gd name="connsiteX110" fmla="*/ 158998 w 489855"/>
                <a:gd name="connsiteY110" fmla="*/ 387362 h 534643"/>
                <a:gd name="connsiteX111" fmla="*/ 160538 w 489855"/>
                <a:gd name="connsiteY111" fmla="*/ 384184 h 534643"/>
                <a:gd name="connsiteX112" fmla="*/ 160701 w 489855"/>
                <a:gd name="connsiteY112" fmla="*/ 381849 h 534643"/>
                <a:gd name="connsiteX113" fmla="*/ 162135 w 489855"/>
                <a:gd name="connsiteY113" fmla="*/ 378904 h 534643"/>
                <a:gd name="connsiteX114" fmla="*/ 162746 w 489855"/>
                <a:gd name="connsiteY114" fmla="*/ 378257 h 534643"/>
                <a:gd name="connsiteX115" fmla="*/ 135050 w 489855"/>
                <a:gd name="connsiteY115" fmla="*/ 354626 h 534643"/>
                <a:gd name="connsiteX116" fmla="*/ 135190 w 489855"/>
                <a:gd name="connsiteY116" fmla="*/ 355718 h 534643"/>
                <a:gd name="connsiteX117" fmla="*/ 133517 w 489855"/>
                <a:gd name="connsiteY117" fmla="*/ 357807 h 534643"/>
                <a:gd name="connsiteX118" fmla="*/ 132828 w 489855"/>
                <a:gd name="connsiteY118" fmla="*/ 358235 h 534643"/>
                <a:gd name="connsiteX119" fmla="*/ 133271 w 489855"/>
                <a:gd name="connsiteY119" fmla="*/ 356311 h 534643"/>
                <a:gd name="connsiteX120" fmla="*/ 147834 w 489855"/>
                <a:gd name="connsiteY120" fmla="*/ 336460 h 534643"/>
                <a:gd name="connsiteX121" fmla="*/ 149956 w 489855"/>
                <a:gd name="connsiteY121" fmla="*/ 336743 h 534643"/>
                <a:gd name="connsiteX122" fmla="*/ 149008 w 489855"/>
                <a:gd name="connsiteY122" fmla="*/ 338170 h 534643"/>
                <a:gd name="connsiteX123" fmla="*/ 148180 w 489855"/>
                <a:gd name="connsiteY123" fmla="*/ 339006 h 534643"/>
                <a:gd name="connsiteX124" fmla="*/ 146222 w 489855"/>
                <a:gd name="connsiteY124" fmla="*/ 339114 h 534643"/>
                <a:gd name="connsiteX125" fmla="*/ 145415 w 489855"/>
                <a:gd name="connsiteY125" fmla="*/ 338826 h 534643"/>
                <a:gd name="connsiteX126" fmla="*/ 145098 w 489855"/>
                <a:gd name="connsiteY126" fmla="*/ 338045 h 534643"/>
                <a:gd name="connsiteX127" fmla="*/ 143463 w 489855"/>
                <a:gd name="connsiteY127" fmla="*/ 336116 h 534643"/>
                <a:gd name="connsiteX128" fmla="*/ 144102 w 489855"/>
                <a:gd name="connsiteY128" fmla="*/ 337336 h 534643"/>
                <a:gd name="connsiteX129" fmla="*/ 144165 w 489855"/>
                <a:gd name="connsiteY129" fmla="*/ 341050 h 534643"/>
                <a:gd name="connsiteX130" fmla="*/ 141578 w 489855"/>
                <a:gd name="connsiteY130" fmla="*/ 343774 h 534643"/>
                <a:gd name="connsiteX131" fmla="*/ 139831 w 489855"/>
                <a:gd name="connsiteY131" fmla="*/ 344650 h 534643"/>
                <a:gd name="connsiteX132" fmla="*/ 139606 w 489855"/>
                <a:gd name="connsiteY132" fmla="*/ 343811 h 534643"/>
                <a:gd name="connsiteX133" fmla="*/ 138872 w 489855"/>
                <a:gd name="connsiteY133" fmla="*/ 343429 h 534643"/>
                <a:gd name="connsiteX134" fmla="*/ 140136 w 489855"/>
                <a:gd name="connsiteY134" fmla="*/ 342247 h 534643"/>
                <a:gd name="connsiteX135" fmla="*/ 140092 w 489855"/>
                <a:gd name="connsiteY135" fmla="*/ 341711 h 534643"/>
                <a:gd name="connsiteX136" fmla="*/ 139296 w 489855"/>
                <a:gd name="connsiteY136" fmla="*/ 340912 h 534643"/>
                <a:gd name="connsiteX137" fmla="*/ 140224 w 489855"/>
                <a:gd name="connsiteY137" fmla="*/ 337896 h 534643"/>
                <a:gd name="connsiteX138" fmla="*/ 139969 w 489855"/>
                <a:gd name="connsiteY138" fmla="*/ 336598 h 534643"/>
                <a:gd name="connsiteX139" fmla="*/ 110241 w 489855"/>
                <a:gd name="connsiteY139" fmla="*/ 330139 h 534643"/>
                <a:gd name="connsiteX140" fmla="*/ 111098 w 489855"/>
                <a:gd name="connsiteY140" fmla="*/ 330804 h 534643"/>
                <a:gd name="connsiteX141" fmla="*/ 112357 w 489855"/>
                <a:gd name="connsiteY141" fmla="*/ 330423 h 534643"/>
                <a:gd name="connsiteX142" fmla="*/ 113353 w 489855"/>
                <a:gd name="connsiteY142" fmla="*/ 330334 h 534643"/>
                <a:gd name="connsiteX143" fmla="*/ 114072 w 489855"/>
                <a:gd name="connsiteY143" fmla="*/ 330656 h 534643"/>
                <a:gd name="connsiteX144" fmla="*/ 114975 w 489855"/>
                <a:gd name="connsiteY144" fmla="*/ 332371 h 534643"/>
                <a:gd name="connsiteX145" fmla="*/ 115309 w 489855"/>
                <a:gd name="connsiteY145" fmla="*/ 333385 h 534643"/>
                <a:gd name="connsiteX146" fmla="*/ 113689 w 489855"/>
                <a:gd name="connsiteY146" fmla="*/ 333528 h 534643"/>
                <a:gd name="connsiteX147" fmla="*/ 113007 w 489855"/>
                <a:gd name="connsiteY147" fmla="*/ 333764 h 534643"/>
                <a:gd name="connsiteX148" fmla="*/ 112124 w 489855"/>
                <a:gd name="connsiteY148" fmla="*/ 335010 h 534643"/>
                <a:gd name="connsiteX149" fmla="*/ 110852 w 489855"/>
                <a:gd name="connsiteY149" fmla="*/ 334552 h 534643"/>
                <a:gd name="connsiteX150" fmla="*/ 110064 w 489855"/>
                <a:gd name="connsiteY150" fmla="*/ 333969 h 534643"/>
                <a:gd name="connsiteX151" fmla="*/ 109883 w 489855"/>
                <a:gd name="connsiteY151" fmla="*/ 333142 h 534643"/>
                <a:gd name="connsiteX152" fmla="*/ 120068 w 489855"/>
                <a:gd name="connsiteY152" fmla="*/ 321533 h 534643"/>
                <a:gd name="connsiteX153" fmla="*/ 120375 w 489855"/>
                <a:gd name="connsiteY153" fmla="*/ 323136 h 534643"/>
                <a:gd name="connsiteX154" fmla="*/ 121018 w 489855"/>
                <a:gd name="connsiteY154" fmla="*/ 324726 h 534643"/>
                <a:gd name="connsiteX155" fmla="*/ 121664 w 489855"/>
                <a:gd name="connsiteY155" fmla="*/ 324978 h 534643"/>
                <a:gd name="connsiteX156" fmla="*/ 121036 w 489855"/>
                <a:gd name="connsiteY156" fmla="*/ 326136 h 534643"/>
                <a:gd name="connsiteX157" fmla="*/ 120109 w 489855"/>
                <a:gd name="connsiteY157" fmla="*/ 326564 h 534643"/>
                <a:gd name="connsiteX158" fmla="*/ 119343 w 489855"/>
                <a:gd name="connsiteY158" fmla="*/ 328748 h 534643"/>
                <a:gd name="connsiteX159" fmla="*/ 118790 w 489855"/>
                <a:gd name="connsiteY159" fmla="*/ 329014 h 534643"/>
                <a:gd name="connsiteX160" fmla="*/ 118075 w 489855"/>
                <a:gd name="connsiteY160" fmla="*/ 326791 h 534643"/>
                <a:gd name="connsiteX161" fmla="*/ 117581 w 489855"/>
                <a:gd name="connsiteY161" fmla="*/ 325996 h 534643"/>
                <a:gd name="connsiteX162" fmla="*/ 118415 w 489855"/>
                <a:gd name="connsiteY162" fmla="*/ 325571 h 534643"/>
                <a:gd name="connsiteX163" fmla="*/ 130243 w 489855"/>
                <a:gd name="connsiteY163" fmla="*/ 315884 h 534643"/>
                <a:gd name="connsiteX164" fmla="*/ 128877 w 489855"/>
                <a:gd name="connsiteY164" fmla="*/ 317782 h 534643"/>
                <a:gd name="connsiteX165" fmla="*/ 128516 w 489855"/>
                <a:gd name="connsiteY165" fmla="*/ 319297 h 534643"/>
                <a:gd name="connsiteX166" fmla="*/ 126959 w 489855"/>
                <a:gd name="connsiteY166" fmla="*/ 320464 h 534643"/>
                <a:gd name="connsiteX167" fmla="*/ 125832 w 489855"/>
                <a:gd name="connsiteY167" fmla="*/ 320459 h 534643"/>
                <a:gd name="connsiteX168" fmla="*/ 126861 w 489855"/>
                <a:gd name="connsiteY168" fmla="*/ 319098 h 534643"/>
                <a:gd name="connsiteX169" fmla="*/ 126998 w 489855"/>
                <a:gd name="connsiteY169" fmla="*/ 318448 h 534643"/>
                <a:gd name="connsiteX170" fmla="*/ 127855 w 489855"/>
                <a:gd name="connsiteY170" fmla="*/ 316621 h 534643"/>
                <a:gd name="connsiteX171" fmla="*/ 129537 w 489855"/>
                <a:gd name="connsiteY171" fmla="*/ 315965 h 534643"/>
                <a:gd name="connsiteX172" fmla="*/ 133502 w 489855"/>
                <a:gd name="connsiteY172" fmla="*/ 303553 h 534643"/>
                <a:gd name="connsiteX173" fmla="*/ 134808 w 489855"/>
                <a:gd name="connsiteY173" fmla="*/ 304278 h 534643"/>
                <a:gd name="connsiteX174" fmla="*/ 135236 w 489855"/>
                <a:gd name="connsiteY174" fmla="*/ 306273 h 534643"/>
                <a:gd name="connsiteX175" fmla="*/ 133707 w 489855"/>
                <a:gd name="connsiteY175" fmla="*/ 307303 h 534643"/>
                <a:gd name="connsiteX176" fmla="*/ 132563 w 489855"/>
                <a:gd name="connsiteY176" fmla="*/ 306500 h 534643"/>
                <a:gd name="connsiteX177" fmla="*/ 133119 w 489855"/>
                <a:gd name="connsiteY177" fmla="*/ 304285 h 534643"/>
                <a:gd name="connsiteX178" fmla="*/ 155578 w 489855"/>
                <a:gd name="connsiteY178" fmla="*/ 301829 h 534643"/>
                <a:gd name="connsiteX179" fmla="*/ 158320 w 489855"/>
                <a:gd name="connsiteY179" fmla="*/ 302078 h 534643"/>
                <a:gd name="connsiteX180" fmla="*/ 160829 w 489855"/>
                <a:gd name="connsiteY180" fmla="*/ 303214 h 534643"/>
                <a:gd name="connsiteX181" fmla="*/ 162066 w 489855"/>
                <a:gd name="connsiteY181" fmla="*/ 305603 h 534643"/>
                <a:gd name="connsiteX182" fmla="*/ 163150 w 489855"/>
                <a:gd name="connsiteY182" fmla="*/ 308158 h 534643"/>
                <a:gd name="connsiteX183" fmla="*/ 165727 w 489855"/>
                <a:gd name="connsiteY183" fmla="*/ 309900 h 534643"/>
                <a:gd name="connsiteX184" fmla="*/ 168702 w 489855"/>
                <a:gd name="connsiteY184" fmla="*/ 310640 h 534643"/>
                <a:gd name="connsiteX185" fmla="*/ 169959 w 489855"/>
                <a:gd name="connsiteY185" fmla="*/ 310686 h 534643"/>
                <a:gd name="connsiteX186" fmla="*/ 171125 w 489855"/>
                <a:gd name="connsiteY186" fmla="*/ 310351 h 534643"/>
                <a:gd name="connsiteX187" fmla="*/ 172896 w 489855"/>
                <a:gd name="connsiteY187" fmla="*/ 309380 h 534643"/>
                <a:gd name="connsiteX188" fmla="*/ 174757 w 489855"/>
                <a:gd name="connsiteY188" fmla="*/ 308666 h 534643"/>
                <a:gd name="connsiteX189" fmla="*/ 176085 w 489855"/>
                <a:gd name="connsiteY189" fmla="*/ 309028 h 534643"/>
                <a:gd name="connsiteX190" fmla="*/ 177262 w 489855"/>
                <a:gd name="connsiteY190" fmla="*/ 309895 h 534643"/>
                <a:gd name="connsiteX191" fmla="*/ 177879 w 489855"/>
                <a:gd name="connsiteY191" fmla="*/ 311110 h 534643"/>
                <a:gd name="connsiteX192" fmla="*/ 177579 w 489855"/>
                <a:gd name="connsiteY192" fmla="*/ 312385 h 534643"/>
                <a:gd name="connsiteX193" fmla="*/ 175476 w 489855"/>
                <a:gd name="connsiteY193" fmla="*/ 315121 h 534643"/>
                <a:gd name="connsiteX194" fmla="*/ 173749 w 489855"/>
                <a:gd name="connsiteY194" fmla="*/ 318035 h 534643"/>
                <a:gd name="connsiteX195" fmla="*/ 177722 w 489855"/>
                <a:gd name="connsiteY195" fmla="*/ 318578 h 534643"/>
                <a:gd name="connsiteX196" fmla="*/ 181691 w 489855"/>
                <a:gd name="connsiteY196" fmla="*/ 318517 h 534643"/>
                <a:gd name="connsiteX197" fmla="*/ 180764 w 489855"/>
                <a:gd name="connsiteY197" fmla="*/ 320321 h 534643"/>
                <a:gd name="connsiteX198" fmla="*/ 180613 w 489855"/>
                <a:gd name="connsiteY198" fmla="*/ 321892 h 534643"/>
                <a:gd name="connsiteX199" fmla="*/ 181827 w 489855"/>
                <a:gd name="connsiteY199" fmla="*/ 322639 h 534643"/>
                <a:gd name="connsiteX200" fmla="*/ 182857 w 489855"/>
                <a:gd name="connsiteY200" fmla="*/ 323645 h 534643"/>
                <a:gd name="connsiteX201" fmla="*/ 182589 w 489855"/>
                <a:gd name="connsiteY201" fmla="*/ 324557 h 534643"/>
                <a:gd name="connsiteX202" fmla="*/ 181998 w 489855"/>
                <a:gd name="connsiteY202" fmla="*/ 325457 h 534643"/>
                <a:gd name="connsiteX203" fmla="*/ 184167 w 489855"/>
                <a:gd name="connsiteY203" fmla="*/ 326806 h 534643"/>
                <a:gd name="connsiteX204" fmla="*/ 184025 w 489855"/>
                <a:gd name="connsiteY204" fmla="*/ 327710 h 534643"/>
                <a:gd name="connsiteX205" fmla="*/ 183461 w 489855"/>
                <a:gd name="connsiteY205" fmla="*/ 328658 h 534643"/>
                <a:gd name="connsiteX206" fmla="*/ 178054 w 489855"/>
                <a:gd name="connsiteY206" fmla="*/ 334845 h 534643"/>
                <a:gd name="connsiteX207" fmla="*/ 176467 w 489855"/>
                <a:gd name="connsiteY207" fmla="*/ 337975 h 534643"/>
                <a:gd name="connsiteX208" fmla="*/ 175362 w 489855"/>
                <a:gd name="connsiteY208" fmla="*/ 341421 h 534643"/>
                <a:gd name="connsiteX209" fmla="*/ 174351 w 489855"/>
                <a:gd name="connsiteY209" fmla="*/ 343937 h 534643"/>
                <a:gd name="connsiteX210" fmla="*/ 173611 w 489855"/>
                <a:gd name="connsiteY210" fmla="*/ 346546 h 534643"/>
                <a:gd name="connsiteX211" fmla="*/ 173047 w 489855"/>
                <a:gd name="connsiteY211" fmla="*/ 349362 h 534643"/>
                <a:gd name="connsiteX212" fmla="*/ 172042 w 489855"/>
                <a:gd name="connsiteY212" fmla="*/ 352265 h 534643"/>
                <a:gd name="connsiteX213" fmla="*/ 172375 w 489855"/>
                <a:gd name="connsiteY213" fmla="*/ 354839 h 534643"/>
                <a:gd name="connsiteX214" fmla="*/ 172036 w 489855"/>
                <a:gd name="connsiteY214" fmla="*/ 357473 h 534643"/>
                <a:gd name="connsiteX215" fmla="*/ 169322 w 489855"/>
                <a:gd name="connsiteY215" fmla="*/ 363978 h 534643"/>
                <a:gd name="connsiteX216" fmla="*/ 167387 w 489855"/>
                <a:gd name="connsiteY216" fmla="*/ 363857 h 534643"/>
                <a:gd name="connsiteX217" fmla="*/ 164955 w 489855"/>
                <a:gd name="connsiteY217" fmla="*/ 363070 h 534643"/>
                <a:gd name="connsiteX218" fmla="*/ 163431 w 489855"/>
                <a:gd name="connsiteY218" fmla="*/ 363192 h 534643"/>
                <a:gd name="connsiteX219" fmla="*/ 162643 w 489855"/>
                <a:gd name="connsiteY219" fmla="*/ 364637 h 534643"/>
                <a:gd name="connsiteX220" fmla="*/ 164042 w 489855"/>
                <a:gd name="connsiteY220" fmla="*/ 367603 h 534643"/>
                <a:gd name="connsiteX221" fmla="*/ 159704 w 489855"/>
                <a:gd name="connsiteY221" fmla="*/ 371118 h 534643"/>
                <a:gd name="connsiteX222" fmla="*/ 154916 w 489855"/>
                <a:gd name="connsiteY222" fmla="*/ 373479 h 534643"/>
                <a:gd name="connsiteX223" fmla="*/ 154881 w 489855"/>
                <a:gd name="connsiteY223" fmla="*/ 372404 h 534643"/>
                <a:gd name="connsiteX224" fmla="*/ 155331 w 489855"/>
                <a:gd name="connsiteY224" fmla="*/ 371555 h 534643"/>
                <a:gd name="connsiteX225" fmla="*/ 156022 w 489855"/>
                <a:gd name="connsiteY225" fmla="*/ 370873 h 534643"/>
                <a:gd name="connsiteX226" fmla="*/ 156523 w 489855"/>
                <a:gd name="connsiteY226" fmla="*/ 370051 h 534643"/>
                <a:gd name="connsiteX227" fmla="*/ 157216 w 489855"/>
                <a:gd name="connsiteY227" fmla="*/ 367288 h 534643"/>
                <a:gd name="connsiteX228" fmla="*/ 156873 w 489855"/>
                <a:gd name="connsiteY228" fmla="*/ 364502 h 534643"/>
                <a:gd name="connsiteX229" fmla="*/ 155430 w 489855"/>
                <a:gd name="connsiteY229" fmla="*/ 361012 h 534643"/>
                <a:gd name="connsiteX230" fmla="*/ 155325 w 489855"/>
                <a:gd name="connsiteY230" fmla="*/ 359756 h 534643"/>
                <a:gd name="connsiteX231" fmla="*/ 156325 w 489855"/>
                <a:gd name="connsiteY231" fmla="*/ 359248 h 534643"/>
                <a:gd name="connsiteX232" fmla="*/ 156996 w 489855"/>
                <a:gd name="connsiteY232" fmla="*/ 359104 h 534643"/>
                <a:gd name="connsiteX233" fmla="*/ 157361 w 489855"/>
                <a:gd name="connsiteY233" fmla="*/ 358616 h 534643"/>
                <a:gd name="connsiteX234" fmla="*/ 157374 w 489855"/>
                <a:gd name="connsiteY234" fmla="*/ 357461 h 534643"/>
                <a:gd name="connsiteX235" fmla="*/ 156919 w 489855"/>
                <a:gd name="connsiteY235" fmla="*/ 356604 h 534643"/>
                <a:gd name="connsiteX236" fmla="*/ 155554 w 489855"/>
                <a:gd name="connsiteY236" fmla="*/ 356326 h 534643"/>
                <a:gd name="connsiteX237" fmla="*/ 154238 w 489855"/>
                <a:gd name="connsiteY237" fmla="*/ 356308 h 534643"/>
                <a:gd name="connsiteX238" fmla="*/ 153319 w 489855"/>
                <a:gd name="connsiteY238" fmla="*/ 357604 h 534643"/>
                <a:gd name="connsiteX239" fmla="*/ 152049 w 489855"/>
                <a:gd name="connsiteY239" fmla="*/ 360107 h 534643"/>
                <a:gd name="connsiteX240" fmla="*/ 151431 w 489855"/>
                <a:gd name="connsiteY240" fmla="*/ 362635 h 534643"/>
                <a:gd name="connsiteX241" fmla="*/ 151703 w 489855"/>
                <a:gd name="connsiteY241" fmla="*/ 364017 h 534643"/>
                <a:gd name="connsiteX242" fmla="*/ 152267 w 489855"/>
                <a:gd name="connsiteY242" fmla="*/ 365255 h 534643"/>
                <a:gd name="connsiteX243" fmla="*/ 154006 w 489855"/>
                <a:gd name="connsiteY243" fmla="*/ 367327 h 534643"/>
                <a:gd name="connsiteX244" fmla="*/ 153496 w 489855"/>
                <a:gd name="connsiteY244" fmla="*/ 368546 h 534643"/>
                <a:gd name="connsiteX245" fmla="*/ 152772 w 489855"/>
                <a:gd name="connsiteY245" fmla="*/ 369497 h 534643"/>
                <a:gd name="connsiteX246" fmla="*/ 146622 w 489855"/>
                <a:gd name="connsiteY246" fmla="*/ 367341 h 534643"/>
                <a:gd name="connsiteX247" fmla="*/ 145294 w 489855"/>
                <a:gd name="connsiteY247" fmla="*/ 367188 h 534643"/>
                <a:gd name="connsiteX248" fmla="*/ 144191 w 489855"/>
                <a:gd name="connsiteY248" fmla="*/ 366731 h 534643"/>
                <a:gd name="connsiteX249" fmla="*/ 143009 w 489855"/>
                <a:gd name="connsiteY249" fmla="*/ 363885 h 534643"/>
                <a:gd name="connsiteX250" fmla="*/ 145515 w 489855"/>
                <a:gd name="connsiteY250" fmla="*/ 363199 h 534643"/>
                <a:gd name="connsiteX251" fmla="*/ 146258 w 489855"/>
                <a:gd name="connsiteY251" fmla="*/ 362854 h 534643"/>
                <a:gd name="connsiteX252" fmla="*/ 146534 w 489855"/>
                <a:gd name="connsiteY252" fmla="*/ 361948 h 534643"/>
                <a:gd name="connsiteX253" fmla="*/ 146873 w 489855"/>
                <a:gd name="connsiteY253" fmla="*/ 359169 h 534643"/>
                <a:gd name="connsiteX254" fmla="*/ 145701 w 489855"/>
                <a:gd name="connsiteY254" fmla="*/ 356848 h 534643"/>
                <a:gd name="connsiteX255" fmla="*/ 144711 w 489855"/>
                <a:gd name="connsiteY255" fmla="*/ 356022 h 534643"/>
                <a:gd name="connsiteX256" fmla="*/ 143909 w 489855"/>
                <a:gd name="connsiteY256" fmla="*/ 355073 h 534643"/>
                <a:gd name="connsiteX257" fmla="*/ 144418 w 489855"/>
                <a:gd name="connsiteY257" fmla="*/ 353111 h 534643"/>
                <a:gd name="connsiteX258" fmla="*/ 144083 w 489855"/>
                <a:gd name="connsiteY258" fmla="*/ 350639 h 534643"/>
                <a:gd name="connsiteX259" fmla="*/ 144053 w 489855"/>
                <a:gd name="connsiteY259" fmla="*/ 347184 h 534643"/>
                <a:gd name="connsiteX260" fmla="*/ 144487 w 489855"/>
                <a:gd name="connsiteY260" fmla="*/ 346588 h 534643"/>
                <a:gd name="connsiteX261" fmla="*/ 146810 w 489855"/>
                <a:gd name="connsiteY261" fmla="*/ 345890 h 534643"/>
                <a:gd name="connsiteX262" fmla="*/ 148486 w 489855"/>
                <a:gd name="connsiteY262" fmla="*/ 344036 h 534643"/>
                <a:gd name="connsiteX263" fmla="*/ 149969 w 489855"/>
                <a:gd name="connsiteY263" fmla="*/ 341926 h 534643"/>
                <a:gd name="connsiteX264" fmla="*/ 152144 w 489855"/>
                <a:gd name="connsiteY264" fmla="*/ 338211 h 534643"/>
                <a:gd name="connsiteX265" fmla="*/ 153917 w 489855"/>
                <a:gd name="connsiteY265" fmla="*/ 334195 h 534643"/>
                <a:gd name="connsiteX266" fmla="*/ 152209 w 489855"/>
                <a:gd name="connsiteY266" fmla="*/ 334019 h 534643"/>
                <a:gd name="connsiteX267" fmla="*/ 150762 w 489855"/>
                <a:gd name="connsiteY267" fmla="*/ 333267 h 534643"/>
                <a:gd name="connsiteX268" fmla="*/ 152344 w 489855"/>
                <a:gd name="connsiteY268" fmla="*/ 331365 h 534643"/>
                <a:gd name="connsiteX269" fmla="*/ 151855 w 489855"/>
                <a:gd name="connsiteY269" fmla="*/ 328963 h 534643"/>
                <a:gd name="connsiteX270" fmla="*/ 149492 w 489855"/>
                <a:gd name="connsiteY270" fmla="*/ 326008 h 534643"/>
                <a:gd name="connsiteX271" fmla="*/ 148194 w 489855"/>
                <a:gd name="connsiteY271" fmla="*/ 322521 h 534643"/>
                <a:gd name="connsiteX272" fmla="*/ 146106 w 489855"/>
                <a:gd name="connsiteY272" fmla="*/ 320985 h 534643"/>
                <a:gd name="connsiteX273" fmla="*/ 145005 w 489855"/>
                <a:gd name="connsiteY273" fmla="*/ 320420 h 534643"/>
                <a:gd name="connsiteX274" fmla="*/ 143664 w 489855"/>
                <a:gd name="connsiteY274" fmla="*/ 321238 h 534643"/>
                <a:gd name="connsiteX275" fmla="*/ 142559 w 489855"/>
                <a:gd name="connsiteY275" fmla="*/ 322219 h 534643"/>
                <a:gd name="connsiteX276" fmla="*/ 143582 w 489855"/>
                <a:gd name="connsiteY276" fmla="*/ 324487 h 534643"/>
                <a:gd name="connsiteX277" fmla="*/ 143463 w 489855"/>
                <a:gd name="connsiteY277" fmla="*/ 326491 h 534643"/>
                <a:gd name="connsiteX278" fmla="*/ 143623 w 489855"/>
                <a:gd name="connsiteY278" fmla="*/ 328476 h 534643"/>
                <a:gd name="connsiteX279" fmla="*/ 144666 w 489855"/>
                <a:gd name="connsiteY279" fmla="*/ 328587 h 534643"/>
                <a:gd name="connsiteX280" fmla="*/ 145946 w 489855"/>
                <a:gd name="connsiteY280" fmla="*/ 328093 h 534643"/>
                <a:gd name="connsiteX281" fmla="*/ 146972 w 489855"/>
                <a:gd name="connsiteY281" fmla="*/ 328444 h 534643"/>
                <a:gd name="connsiteX282" fmla="*/ 147570 w 489855"/>
                <a:gd name="connsiteY282" fmla="*/ 329486 h 534643"/>
                <a:gd name="connsiteX283" fmla="*/ 147732 w 489855"/>
                <a:gd name="connsiteY283" fmla="*/ 330830 h 534643"/>
                <a:gd name="connsiteX284" fmla="*/ 147280 w 489855"/>
                <a:gd name="connsiteY284" fmla="*/ 332160 h 534643"/>
                <a:gd name="connsiteX285" fmla="*/ 146335 w 489855"/>
                <a:gd name="connsiteY285" fmla="*/ 332822 h 534643"/>
                <a:gd name="connsiteX286" fmla="*/ 145182 w 489855"/>
                <a:gd name="connsiteY286" fmla="*/ 332769 h 534643"/>
                <a:gd name="connsiteX287" fmla="*/ 144020 w 489855"/>
                <a:gd name="connsiteY287" fmla="*/ 332051 h 534643"/>
                <a:gd name="connsiteX288" fmla="*/ 143116 w 489855"/>
                <a:gd name="connsiteY288" fmla="*/ 331027 h 534643"/>
                <a:gd name="connsiteX289" fmla="*/ 140950 w 489855"/>
                <a:gd name="connsiteY289" fmla="*/ 330461 h 534643"/>
                <a:gd name="connsiteX290" fmla="*/ 138665 w 489855"/>
                <a:gd name="connsiteY290" fmla="*/ 331671 h 534643"/>
                <a:gd name="connsiteX291" fmla="*/ 136493 w 489855"/>
                <a:gd name="connsiteY291" fmla="*/ 334134 h 534643"/>
                <a:gd name="connsiteX292" fmla="*/ 134635 w 489855"/>
                <a:gd name="connsiteY292" fmla="*/ 335383 h 534643"/>
                <a:gd name="connsiteX293" fmla="*/ 135510 w 489855"/>
                <a:gd name="connsiteY293" fmla="*/ 333554 h 534643"/>
                <a:gd name="connsiteX294" fmla="*/ 135922 w 489855"/>
                <a:gd name="connsiteY294" fmla="*/ 331582 h 534643"/>
                <a:gd name="connsiteX295" fmla="*/ 135020 w 489855"/>
                <a:gd name="connsiteY295" fmla="*/ 330194 h 534643"/>
                <a:gd name="connsiteX296" fmla="*/ 132899 w 489855"/>
                <a:gd name="connsiteY296" fmla="*/ 327886 h 534643"/>
                <a:gd name="connsiteX297" fmla="*/ 132407 w 489855"/>
                <a:gd name="connsiteY297" fmla="*/ 326550 h 534643"/>
                <a:gd name="connsiteX298" fmla="*/ 132286 w 489855"/>
                <a:gd name="connsiteY298" fmla="*/ 324933 h 534643"/>
                <a:gd name="connsiteX299" fmla="*/ 132658 w 489855"/>
                <a:gd name="connsiteY299" fmla="*/ 323327 h 534643"/>
                <a:gd name="connsiteX300" fmla="*/ 134839 w 489855"/>
                <a:gd name="connsiteY300" fmla="*/ 325165 h 534643"/>
                <a:gd name="connsiteX301" fmla="*/ 135957 w 489855"/>
                <a:gd name="connsiteY301" fmla="*/ 327456 h 534643"/>
                <a:gd name="connsiteX302" fmla="*/ 137559 w 489855"/>
                <a:gd name="connsiteY302" fmla="*/ 328462 h 534643"/>
                <a:gd name="connsiteX303" fmla="*/ 139570 w 489855"/>
                <a:gd name="connsiteY303" fmla="*/ 328470 h 534643"/>
                <a:gd name="connsiteX304" fmla="*/ 138026 w 489855"/>
                <a:gd name="connsiteY304" fmla="*/ 325104 h 534643"/>
                <a:gd name="connsiteX305" fmla="*/ 137471 w 489855"/>
                <a:gd name="connsiteY305" fmla="*/ 324256 h 534643"/>
                <a:gd name="connsiteX306" fmla="*/ 135303 w 489855"/>
                <a:gd name="connsiteY306" fmla="*/ 322743 h 534643"/>
                <a:gd name="connsiteX307" fmla="*/ 132346 w 489855"/>
                <a:gd name="connsiteY307" fmla="*/ 320197 h 534643"/>
                <a:gd name="connsiteX308" fmla="*/ 130468 w 489855"/>
                <a:gd name="connsiteY308" fmla="*/ 318970 h 534643"/>
                <a:gd name="connsiteX309" fmla="*/ 131133 w 489855"/>
                <a:gd name="connsiteY309" fmla="*/ 316314 h 534643"/>
                <a:gd name="connsiteX310" fmla="*/ 132234 w 489855"/>
                <a:gd name="connsiteY310" fmla="*/ 315786 h 534643"/>
                <a:gd name="connsiteX311" fmla="*/ 133167 w 489855"/>
                <a:gd name="connsiteY311" fmla="*/ 315914 h 534643"/>
                <a:gd name="connsiteX312" fmla="*/ 136307 w 489855"/>
                <a:gd name="connsiteY312" fmla="*/ 316855 h 534643"/>
                <a:gd name="connsiteX313" fmla="*/ 136603 w 489855"/>
                <a:gd name="connsiteY313" fmla="*/ 315532 h 534643"/>
                <a:gd name="connsiteX314" fmla="*/ 136141 w 489855"/>
                <a:gd name="connsiteY314" fmla="*/ 314825 h 534643"/>
                <a:gd name="connsiteX315" fmla="*/ 135899 w 489855"/>
                <a:gd name="connsiteY315" fmla="*/ 314003 h 534643"/>
                <a:gd name="connsiteX316" fmla="*/ 137965 w 489855"/>
                <a:gd name="connsiteY316" fmla="*/ 312852 h 534643"/>
                <a:gd name="connsiteX317" fmla="*/ 141347 w 489855"/>
                <a:gd name="connsiteY317" fmla="*/ 311903 h 534643"/>
                <a:gd name="connsiteX318" fmla="*/ 142040 w 489855"/>
                <a:gd name="connsiteY318" fmla="*/ 311459 h 534643"/>
                <a:gd name="connsiteX319" fmla="*/ 142640 w 489855"/>
                <a:gd name="connsiteY319" fmla="*/ 310506 h 534643"/>
                <a:gd name="connsiteX320" fmla="*/ 143467 w 489855"/>
                <a:gd name="connsiteY320" fmla="*/ 310007 h 534643"/>
                <a:gd name="connsiteX321" fmla="*/ 145836 w 489855"/>
                <a:gd name="connsiteY321" fmla="*/ 310022 h 534643"/>
                <a:gd name="connsiteX322" fmla="*/ 147825 w 489855"/>
                <a:gd name="connsiteY322" fmla="*/ 309110 h 534643"/>
                <a:gd name="connsiteX323" fmla="*/ 149471 w 489855"/>
                <a:gd name="connsiteY323" fmla="*/ 306635 h 534643"/>
                <a:gd name="connsiteX324" fmla="*/ 149864 w 489855"/>
                <a:gd name="connsiteY324" fmla="*/ 305277 h 534643"/>
                <a:gd name="connsiteX325" fmla="*/ 150452 w 489855"/>
                <a:gd name="connsiteY325" fmla="*/ 304143 h 534643"/>
                <a:gd name="connsiteX326" fmla="*/ 154558 w 489855"/>
                <a:gd name="connsiteY326" fmla="*/ 302135 h 534643"/>
                <a:gd name="connsiteX327" fmla="*/ 188577 w 489855"/>
                <a:gd name="connsiteY327" fmla="*/ 301331 h 534643"/>
                <a:gd name="connsiteX328" fmla="*/ 189860 w 489855"/>
                <a:gd name="connsiteY328" fmla="*/ 301397 h 534643"/>
                <a:gd name="connsiteX329" fmla="*/ 190933 w 489855"/>
                <a:gd name="connsiteY329" fmla="*/ 302306 h 534643"/>
                <a:gd name="connsiteX330" fmla="*/ 193496 w 489855"/>
                <a:gd name="connsiteY330" fmla="*/ 301935 h 534643"/>
                <a:gd name="connsiteX331" fmla="*/ 193816 w 489855"/>
                <a:gd name="connsiteY331" fmla="*/ 302192 h 534643"/>
                <a:gd name="connsiteX332" fmla="*/ 193067 w 489855"/>
                <a:gd name="connsiteY332" fmla="*/ 303018 h 534643"/>
                <a:gd name="connsiteX333" fmla="*/ 191937 w 489855"/>
                <a:gd name="connsiteY333" fmla="*/ 303835 h 534643"/>
                <a:gd name="connsiteX334" fmla="*/ 189888 w 489855"/>
                <a:gd name="connsiteY334" fmla="*/ 303228 h 534643"/>
                <a:gd name="connsiteX335" fmla="*/ 188594 w 489855"/>
                <a:gd name="connsiteY335" fmla="*/ 303194 h 534643"/>
                <a:gd name="connsiteX336" fmla="*/ 188413 w 489855"/>
                <a:gd name="connsiteY336" fmla="*/ 301829 h 534643"/>
                <a:gd name="connsiteX337" fmla="*/ 195994 w 489855"/>
                <a:gd name="connsiteY337" fmla="*/ 295739 h 534643"/>
                <a:gd name="connsiteX338" fmla="*/ 196363 w 489855"/>
                <a:gd name="connsiteY338" fmla="*/ 296878 h 534643"/>
                <a:gd name="connsiteX339" fmla="*/ 196767 w 489855"/>
                <a:gd name="connsiteY339" fmla="*/ 297169 h 534643"/>
                <a:gd name="connsiteX340" fmla="*/ 196126 w 489855"/>
                <a:gd name="connsiteY340" fmla="*/ 298167 h 534643"/>
                <a:gd name="connsiteX341" fmla="*/ 194170 w 489855"/>
                <a:gd name="connsiteY341" fmla="*/ 297864 h 534643"/>
                <a:gd name="connsiteX342" fmla="*/ 194952 w 489855"/>
                <a:gd name="connsiteY342" fmla="*/ 297000 h 534643"/>
                <a:gd name="connsiteX343" fmla="*/ 195554 w 489855"/>
                <a:gd name="connsiteY343" fmla="*/ 295953 h 534643"/>
                <a:gd name="connsiteX344" fmla="*/ 122392 w 489855"/>
                <a:gd name="connsiteY344" fmla="*/ 292053 h 534643"/>
                <a:gd name="connsiteX345" fmla="*/ 125096 w 489855"/>
                <a:gd name="connsiteY345" fmla="*/ 292947 h 534643"/>
                <a:gd name="connsiteX346" fmla="*/ 125050 w 489855"/>
                <a:gd name="connsiteY346" fmla="*/ 294291 h 534643"/>
                <a:gd name="connsiteX347" fmla="*/ 123821 w 489855"/>
                <a:gd name="connsiteY347" fmla="*/ 296965 h 534643"/>
                <a:gd name="connsiteX348" fmla="*/ 122383 w 489855"/>
                <a:gd name="connsiteY348" fmla="*/ 297975 h 534643"/>
                <a:gd name="connsiteX349" fmla="*/ 121763 w 489855"/>
                <a:gd name="connsiteY349" fmla="*/ 296427 h 534643"/>
                <a:gd name="connsiteX350" fmla="*/ 229879 w 489855"/>
                <a:gd name="connsiteY350" fmla="*/ 291112 h 534643"/>
                <a:gd name="connsiteX351" fmla="*/ 233050 w 489855"/>
                <a:gd name="connsiteY351" fmla="*/ 292093 h 534643"/>
                <a:gd name="connsiteX352" fmla="*/ 236105 w 489855"/>
                <a:gd name="connsiteY352" fmla="*/ 293655 h 534643"/>
                <a:gd name="connsiteX353" fmla="*/ 239163 w 489855"/>
                <a:gd name="connsiteY353" fmla="*/ 294691 h 534643"/>
                <a:gd name="connsiteX354" fmla="*/ 242298 w 489855"/>
                <a:gd name="connsiteY354" fmla="*/ 294396 h 534643"/>
                <a:gd name="connsiteX355" fmla="*/ 242249 w 489855"/>
                <a:gd name="connsiteY355" fmla="*/ 298942 h 534643"/>
                <a:gd name="connsiteX356" fmla="*/ 242693 w 489855"/>
                <a:gd name="connsiteY356" fmla="*/ 300466 h 534643"/>
                <a:gd name="connsiteX357" fmla="*/ 243577 w 489855"/>
                <a:gd name="connsiteY357" fmla="*/ 301830 h 534643"/>
                <a:gd name="connsiteX358" fmla="*/ 243123 w 489855"/>
                <a:gd name="connsiteY358" fmla="*/ 303816 h 534643"/>
                <a:gd name="connsiteX359" fmla="*/ 244540 w 489855"/>
                <a:gd name="connsiteY359" fmla="*/ 304494 h 534643"/>
                <a:gd name="connsiteX360" fmla="*/ 240335 w 489855"/>
                <a:gd name="connsiteY360" fmla="*/ 306758 h 534643"/>
                <a:gd name="connsiteX361" fmla="*/ 236539 w 489855"/>
                <a:gd name="connsiteY361" fmla="*/ 309756 h 534643"/>
                <a:gd name="connsiteX362" fmla="*/ 234980 w 489855"/>
                <a:gd name="connsiteY362" fmla="*/ 311779 h 534643"/>
                <a:gd name="connsiteX363" fmla="*/ 233567 w 489855"/>
                <a:gd name="connsiteY363" fmla="*/ 313942 h 534643"/>
                <a:gd name="connsiteX364" fmla="*/ 232750 w 489855"/>
                <a:gd name="connsiteY364" fmla="*/ 316232 h 534643"/>
                <a:gd name="connsiteX365" fmla="*/ 232218 w 489855"/>
                <a:gd name="connsiteY365" fmla="*/ 318699 h 534643"/>
                <a:gd name="connsiteX366" fmla="*/ 230946 w 489855"/>
                <a:gd name="connsiteY366" fmla="*/ 317721 h 534643"/>
                <a:gd name="connsiteX367" fmla="*/ 227289 w 489855"/>
                <a:gd name="connsiteY367" fmla="*/ 313722 h 534643"/>
                <a:gd name="connsiteX368" fmla="*/ 224973 w 489855"/>
                <a:gd name="connsiteY368" fmla="*/ 312624 h 534643"/>
                <a:gd name="connsiteX369" fmla="*/ 221250 w 489855"/>
                <a:gd name="connsiteY369" fmla="*/ 312039 h 534643"/>
                <a:gd name="connsiteX370" fmla="*/ 220065 w 489855"/>
                <a:gd name="connsiteY370" fmla="*/ 312171 h 534643"/>
                <a:gd name="connsiteX371" fmla="*/ 212412 w 489855"/>
                <a:gd name="connsiteY371" fmla="*/ 315910 h 534643"/>
                <a:gd name="connsiteX372" fmla="*/ 211395 w 489855"/>
                <a:gd name="connsiteY372" fmla="*/ 318640 h 534643"/>
                <a:gd name="connsiteX373" fmla="*/ 209309 w 489855"/>
                <a:gd name="connsiteY373" fmla="*/ 322754 h 534643"/>
                <a:gd name="connsiteX374" fmla="*/ 208320 w 489855"/>
                <a:gd name="connsiteY374" fmla="*/ 324111 h 534643"/>
                <a:gd name="connsiteX375" fmla="*/ 207222 w 489855"/>
                <a:gd name="connsiteY375" fmla="*/ 324500 h 534643"/>
                <a:gd name="connsiteX376" fmla="*/ 206444 w 489855"/>
                <a:gd name="connsiteY376" fmla="*/ 325205 h 534643"/>
                <a:gd name="connsiteX377" fmla="*/ 205587 w 489855"/>
                <a:gd name="connsiteY377" fmla="*/ 328706 h 534643"/>
                <a:gd name="connsiteX378" fmla="*/ 203213 w 489855"/>
                <a:gd name="connsiteY378" fmla="*/ 330861 h 534643"/>
                <a:gd name="connsiteX379" fmla="*/ 201762 w 489855"/>
                <a:gd name="connsiteY379" fmla="*/ 330925 h 534643"/>
                <a:gd name="connsiteX380" fmla="*/ 199283 w 489855"/>
                <a:gd name="connsiteY380" fmla="*/ 330335 h 534643"/>
                <a:gd name="connsiteX381" fmla="*/ 198169 w 489855"/>
                <a:gd name="connsiteY381" fmla="*/ 330667 h 534643"/>
                <a:gd name="connsiteX382" fmla="*/ 199655 w 489855"/>
                <a:gd name="connsiteY382" fmla="*/ 327214 h 534643"/>
                <a:gd name="connsiteX383" fmla="*/ 197288 w 489855"/>
                <a:gd name="connsiteY383" fmla="*/ 326793 h 534643"/>
                <a:gd name="connsiteX384" fmla="*/ 194926 w 489855"/>
                <a:gd name="connsiteY384" fmla="*/ 326866 h 534643"/>
                <a:gd name="connsiteX385" fmla="*/ 194870 w 489855"/>
                <a:gd name="connsiteY385" fmla="*/ 324618 h 534643"/>
                <a:gd name="connsiteX386" fmla="*/ 193437 w 489855"/>
                <a:gd name="connsiteY386" fmla="*/ 323341 h 534643"/>
                <a:gd name="connsiteX387" fmla="*/ 194498 w 489855"/>
                <a:gd name="connsiteY387" fmla="*/ 321684 h 534643"/>
                <a:gd name="connsiteX388" fmla="*/ 194529 w 489855"/>
                <a:gd name="connsiteY388" fmla="*/ 320333 h 534643"/>
                <a:gd name="connsiteX389" fmla="*/ 195150 w 489855"/>
                <a:gd name="connsiteY389" fmla="*/ 319588 h 534643"/>
                <a:gd name="connsiteX390" fmla="*/ 195367 w 489855"/>
                <a:gd name="connsiteY390" fmla="*/ 318498 h 534643"/>
                <a:gd name="connsiteX391" fmla="*/ 195287 w 489855"/>
                <a:gd name="connsiteY391" fmla="*/ 317565 h 534643"/>
                <a:gd name="connsiteX392" fmla="*/ 193826 w 489855"/>
                <a:gd name="connsiteY392" fmla="*/ 317281 h 534643"/>
                <a:gd name="connsiteX393" fmla="*/ 192937 w 489855"/>
                <a:gd name="connsiteY393" fmla="*/ 316621 h 534643"/>
                <a:gd name="connsiteX394" fmla="*/ 193106 w 489855"/>
                <a:gd name="connsiteY394" fmla="*/ 314165 h 534643"/>
                <a:gd name="connsiteX395" fmla="*/ 192268 w 489855"/>
                <a:gd name="connsiteY395" fmla="*/ 314075 h 534643"/>
                <a:gd name="connsiteX396" fmla="*/ 190193 w 489855"/>
                <a:gd name="connsiteY396" fmla="*/ 314504 h 534643"/>
                <a:gd name="connsiteX397" fmla="*/ 185876 w 489855"/>
                <a:gd name="connsiteY397" fmla="*/ 316401 h 534643"/>
                <a:gd name="connsiteX398" fmla="*/ 184699 w 489855"/>
                <a:gd name="connsiteY398" fmla="*/ 316405 h 534643"/>
                <a:gd name="connsiteX399" fmla="*/ 186508 w 489855"/>
                <a:gd name="connsiteY399" fmla="*/ 315054 h 534643"/>
                <a:gd name="connsiteX400" fmla="*/ 190344 w 489855"/>
                <a:gd name="connsiteY400" fmla="*/ 313197 h 534643"/>
                <a:gd name="connsiteX401" fmla="*/ 192069 w 489855"/>
                <a:gd name="connsiteY401" fmla="*/ 312134 h 534643"/>
                <a:gd name="connsiteX402" fmla="*/ 195830 w 489855"/>
                <a:gd name="connsiteY402" fmla="*/ 309148 h 534643"/>
                <a:gd name="connsiteX403" fmla="*/ 198197 w 489855"/>
                <a:gd name="connsiteY403" fmla="*/ 307734 h 534643"/>
                <a:gd name="connsiteX404" fmla="*/ 199432 w 489855"/>
                <a:gd name="connsiteY404" fmla="*/ 305229 h 534643"/>
                <a:gd name="connsiteX405" fmla="*/ 199814 w 489855"/>
                <a:gd name="connsiteY405" fmla="*/ 303706 h 534643"/>
                <a:gd name="connsiteX406" fmla="*/ 200614 w 489855"/>
                <a:gd name="connsiteY406" fmla="*/ 302367 h 534643"/>
                <a:gd name="connsiteX407" fmla="*/ 201320 w 489855"/>
                <a:gd name="connsiteY407" fmla="*/ 300222 h 534643"/>
                <a:gd name="connsiteX408" fmla="*/ 202540 w 489855"/>
                <a:gd name="connsiteY408" fmla="*/ 299506 h 534643"/>
                <a:gd name="connsiteX409" fmla="*/ 204656 w 489855"/>
                <a:gd name="connsiteY409" fmla="*/ 297664 h 534643"/>
                <a:gd name="connsiteX410" fmla="*/ 205872 w 489855"/>
                <a:gd name="connsiteY410" fmla="*/ 297842 h 534643"/>
                <a:gd name="connsiteX411" fmla="*/ 207223 w 489855"/>
                <a:gd name="connsiteY411" fmla="*/ 300106 h 534643"/>
                <a:gd name="connsiteX412" fmla="*/ 209046 w 489855"/>
                <a:gd name="connsiteY412" fmla="*/ 301841 h 534643"/>
                <a:gd name="connsiteX413" fmla="*/ 210359 w 489855"/>
                <a:gd name="connsiteY413" fmla="*/ 301694 h 534643"/>
                <a:gd name="connsiteX414" fmla="*/ 212697 w 489855"/>
                <a:gd name="connsiteY414" fmla="*/ 300805 h 534643"/>
                <a:gd name="connsiteX415" fmla="*/ 213825 w 489855"/>
                <a:gd name="connsiteY415" fmla="*/ 300605 h 534643"/>
                <a:gd name="connsiteX416" fmla="*/ 216528 w 489855"/>
                <a:gd name="connsiteY416" fmla="*/ 300710 h 534643"/>
                <a:gd name="connsiteX417" fmla="*/ 218960 w 489855"/>
                <a:gd name="connsiteY417" fmla="*/ 299608 h 534643"/>
                <a:gd name="connsiteX418" fmla="*/ 219949 w 489855"/>
                <a:gd name="connsiteY418" fmla="*/ 298309 h 534643"/>
                <a:gd name="connsiteX419" fmla="*/ 220318 w 489855"/>
                <a:gd name="connsiteY419" fmla="*/ 296684 h 534643"/>
                <a:gd name="connsiteX420" fmla="*/ 219415 w 489855"/>
                <a:gd name="connsiteY420" fmla="*/ 293966 h 534643"/>
                <a:gd name="connsiteX421" fmla="*/ 220585 w 489855"/>
                <a:gd name="connsiteY421" fmla="*/ 294240 h 534643"/>
                <a:gd name="connsiteX422" fmla="*/ 221706 w 489855"/>
                <a:gd name="connsiteY422" fmla="*/ 294128 h 534643"/>
                <a:gd name="connsiteX423" fmla="*/ 224345 w 489855"/>
                <a:gd name="connsiteY423" fmla="*/ 292398 h 534643"/>
                <a:gd name="connsiteX424" fmla="*/ 227059 w 489855"/>
                <a:gd name="connsiteY424" fmla="*/ 291370 h 534643"/>
                <a:gd name="connsiteX425" fmla="*/ 235410 w 489855"/>
                <a:gd name="connsiteY425" fmla="*/ 286723 h 534643"/>
                <a:gd name="connsiteX426" fmla="*/ 236433 w 489855"/>
                <a:gd name="connsiteY426" fmla="*/ 287023 h 534643"/>
                <a:gd name="connsiteX427" fmla="*/ 235982 w 489855"/>
                <a:gd name="connsiteY427" fmla="*/ 287989 h 534643"/>
                <a:gd name="connsiteX428" fmla="*/ 235570 w 489855"/>
                <a:gd name="connsiteY428" fmla="*/ 288485 h 534643"/>
                <a:gd name="connsiteX429" fmla="*/ 235175 w 489855"/>
                <a:gd name="connsiteY429" fmla="*/ 288356 h 534643"/>
                <a:gd name="connsiteX430" fmla="*/ 233771 w 489855"/>
                <a:gd name="connsiteY430" fmla="*/ 289501 h 534643"/>
                <a:gd name="connsiteX431" fmla="*/ 233467 w 489855"/>
                <a:gd name="connsiteY431" fmla="*/ 288403 h 534643"/>
                <a:gd name="connsiteX432" fmla="*/ 232365 w 489855"/>
                <a:gd name="connsiteY432" fmla="*/ 287673 h 534643"/>
                <a:gd name="connsiteX433" fmla="*/ 232229 w 489855"/>
                <a:gd name="connsiteY433" fmla="*/ 287101 h 534643"/>
                <a:gd name="connsiteX434" fmla="*/ 249445 w 489855"/>
                <a:gd name="connsiteY434" fmla="*/ 286460 h 534643"/>
                <a:gd name="connsiteX435" fmla="*/ 250418 w 489855"/>
                <a:gd name="connsiteY435" fmla="*/ 286482 h 534643"/>
                <a:gd name="connsiteX436" fmla="*/ 248224 w 489855"/>
                <a:gd name="connsiteY436" fmla="*/ 290118 h 534643"/>
                <a:gd name="connsiteX437" fmla="*/ 248828 w 489855"/>
                <a:gd name="connsiteY437" fmla="*/ 292863 h 534643"/>
                <a:gd name="connsiteX438" fmla="*/ 246432 w 489855"/>
                <a:gd name="connsiteY438" fmla="*/ 294985 h 534643"/>
                <a:gd name="connsiteX439" fmla="*/ 244358 w 489855"/>
                <a:gd name="connsiteY439" fmla="*/ 294837 h 534643"/>
                <a:gd name="connsiteX440" fmla="*/ 243316 w 489855"/>
                <a:gd name="connsiteY440" fmla="*/ 293889 h 534643"/>
                <a:gd name="connsiteX441" fmla="*/ 242970 w 489855"/>
                <a:gd name="connsiteY441" fmla="*/ 292714 h 534643"/>
                <a:gd name="connsiteX442" fmla="*/ 244946 w 489855"/>
                <a:gd name="connsiteY442" fmla="*/ 290869 h 534643"/>
                <a:gd name="connsiteX443" fmla="*/ 246650 w 489855"/>
                <a:gd name="connsiteY443" fmla="*/ 288263 h 534643"/>
                <a:gd name="connsiteX444" fmla="*/ 248194 w 489855"/>
                <a:gd name="connsiteY444" fmla="*/ 287105 h 534643"/>
                <a:gd name="connsiteX445" fmla="*/ 127616 w 489855"/>
                <a:gd name="connsiteY445" fmla="*/ 282923 h 534643"/>
                <a:gd name="connsiteX446" fmla="*/ 128088 w 489855"/>
                <a:gd name="connsiteY446" fmla="*/ 283303 h 534643"/>
                <a:gd name="connsiteX447" fmla="*/ 128259 w 489855"/>
                <a:gd name="connsiteY447" fmla="*/ 283850 h 534643"/>
                <a:gd name="connsiteX448" fmla="*/ 128015 w 489855"/>
                <a:gd name="connsiteY448" fmla="*/ 284697 h 534643"/>
                <a:gd name="connsiteX449" fmla="*/ 128153 w 489855"/>
                <a:gd name="connsiteY449" fmla="*/ 286572 h 534643"/>
                <a:gd name="connsiteX450" fmla="*/ 126075 w 489855"/>
                <a:gd name="connsiteY450" fmla="*/ 289665 h 534643"/>
                <a:gd name="connsiteX451" fmla="*/ 126169 w 489855"/>
                <a:gd name="connsiteY451" fmla="*/ 291231 h 534643"/>
                <a:gd name="connsiteX452" fmla="*/ 125720 w 489855"/>
                <a:gd name="connsiteY452" fmla="*/ 292430 h 534643"/>
                <a:gd name="connsiteX453" fmla="*/ 124218 w 489855"/>
                <a:gd name="connsiteY453" fmla="*/ 291581 h 534643"/>
                <a:gd name="connsiteX454" fmla="*/ 123538 w 489855"/>
                <a:gd name="connsiteY454" fmla="*/ 290812 h 534643"/>
                <a:gd name="connsiteX455" fmla="*/ 124924 w 489855"/>
                <a:gd name="connsiteY455" fmla="*/ 287035 h 534643"/>
                <a:gd name="connsiteX456" fmla="*/ 124763 w 489855"/>
                <a:gd name="connsiteY456" fmla="*/ 285602 h 534643"/>
                <a:gd name="connsiteX457" fmla="*/ 124847 w 489855"/>
                <a:gd name="connsiteY457" fmla="*/ 284903 h 534643"/>
                <a:gd name="connsiteX458" fmla="*/ 348186 w 489855"/>
                <a:gd name="connsiteY458" fmla="*/ 280690 h 534643"/>
                <a:gd name="connsiteX459" fmla="*/ 348856 w 489855"/>
                <a:gd name="connsiteY459" fmla="*/ 281925 h 534643"/>
                <a:gd name="connsiteX460" fmla="*/ 348618 w 489855"/>
                <a:gd name="connsiteY460" fmla="*/ 283098 h 534643"/>
                <a:gd name="connsiteX461" fmla="*/ 347439 w 489855"/>
                <a:gd name="connsiteY461" fmla="*/ 282840 h 534643"/>
                <a:gd name="connsiteX462" fmla="*/ 346875 w 489855"/>
                <a:gd name="connsiteY462" fmla="*/ 282075 h 534643"/>
                <a:gd name="connsiteX463" fmla="*/ 346944 w 489855"/>
                <a:gd name="connsiteY463" fmla="*/ 280701 h 534643"/>
                <a:gd name="connsiteX464" fmla="*/ 212628 w 489855"/>
                <a:gd name="connsiteY464" fmla="*/ 241351 h 534643"/>
                <a:gd name="connsiteX465" fmla="*/ 214520 w 489855"/>
                <a:gd name="connsiteY465" fmla="*/ 243721 h 534643"/>
                <a:gd name="connsiteX466" fmla="*/ 214283 w 489855"/>
                <a:gd name="connsiteY466" fmla="*/ 244797 h 534643"/>
                <a:gd name="connsiteX467" fmla="*/ 213269 w 489855"/>
                <a:gd name="connsiteY467" fmla="*/ 245741 h 534643"/>
                <a:gd name="connsiteX468" fmla="*/ 211380 w 489855"/>
                <a:gd name="connsiteY468" fmla="*/ 245431 h 534643"/>
                <a:gd name="connsiteX469" fmla="*/ 210290 w 489855"/>
                <a:gd name="connsiteY469" fmla="*/ 244070 h 534643"/>
                <a:gd name="connsiteX470" fmla="*/ 210648 w 489855"/>
                <a:gd name="connsiteY470" fmla="*/ 242533 h 534643"/>
                <a:gd name="connsiteX471" fmla="*/ 327786 w 489855"/>
                <a:gd name="connsiteY471" fmla="*/ 190970 h 534643"/>
                <a:gd name="connsiteX472" fmla="*/ 327929 w 489855"/>
                <a:gd name="connsiteY472" fmla="*/ 192433 h 534643"/>
                <a:gd name="connsiteX473" fmla="*/ 326883 w 489855"/>
                <a:gd name="connsiteY473" fmla="*/ 195891 h 534643"/>
                <a:gd name="connsiteX474" fmla="*/ 326681 w 489855"/>
                <a:gd name="connsiteY474" fmla="*/ 197139 h 534643"/>
                <a:gd name="connsiteX475" fmla="*/ 329369 w 489855"/>
                <a:gd name="connsiteY475" fmla="*/ 197399 h 534643"/>
                <a:gd name="connsiteX476" fmla="*/ 327639 w 489855"/>
                <a:gd name="connsiteY476" fmla="*/ 201543 h 534643"/>
                <a:gd name="connsiteX477" fmla="*/ 324257 w 489855"/>
                <a:gd name="connsiteY477" fmla="*/ 203637 h 534643"/>
                <a:gd name="connsiteX478" fmla="*/ 322157 w 489855"/>
                <a:gd name="connsiteY478" fmla="*/ 203702 h 534643"/>
                <a:gd name="connsiteX479" fmla="*/ 321629 w 489855"/>
                <a:gd name="connsiteY479" fmla="*/ 203451 h 534643"/>
                <a:gd name="connsiteX480" fmla="*/ 322904 w 489855"/>
                <a:gd name="connsiteY480" fmla="*/ 202816 h 534643"/>
                <a:gd name="connsiteX481" fmla="*/ 323016 w 489855"/>
                <a:gd name="connsiteY481" fmla="*/ 201750 h 534643"/>
                <a:gd name="connsiteX482" fmla="*/ 323776 w 489855"/>
                <a:gd name="connsiteY482" fmla="*/ 199861 h 534643"/>
                <a:gd name="connsiteX483" fmla="*/ 323763 w 489855"/>
                <a:gd name="connsiteY483" fmla="*/ 199315 h 534643"/>
                <a:gd name="connsiteX484" fmla="*/ 322094 w 489855"/>
                <a:gd name="connsiteY484" fmla="*/ 199219 h 534643"/>
                <a:gd name="connsiteX485" fmla="*/ 322178 w 489855"/>
                <a:gd name="connsiteY485" fmla="*/ 197068 h 534643"/>
                <a:gd name="connsiteX486" fmla="*/ 323424 w 489855"/>
                <a:gd name="connsiteY486" fmla="*/ 194946 h 534643"/>
                <a:gd name="connsiteX487" fmla="*/ 326852 w 489855"/>
                <a:gd name="connsiteY487" fmla="*/ 191599 h 534643"/>
                <a:gd name="connsiteX488" fmla="*/ 381592 w 489855"/>
                <a:gd name="connsiteY488" fmla="*/ 107855 h 534643"/>
                <a:gd name="connsiteX489" fmla="*/ 384096 w 489855"/>
                <a:gd name="connsiteY489" fmla="*/ 108644 h 534643"/>
                <a:gd name="connsiteX490" fmla="*/ 385327 w 489855"/>
                <a:gd name="connsiteY490" fmla="*/ 109169 h 534643"/>
                <a:gd name="connsiteX491" fmla="*/ 388057 w 489855"/>
                <a:gd name="connsiteY491" fmla="*/ 111366 h 534643"/>
                <a:gd name="connsiteX492" fmla="*/ 388929 w 489855"/>
                <a:gd name="connsiteY492" fmla="*/ 111863 h 534643"/>
                <a:gd name="connsiteX493" fmla="*/ 393058 w 489855"/>
                <a:gd name="connsiteY493" fmla="*/ 110519 h 534643"/>
                <a:gd name="connsiteX494" fmla="*/ 392272 w 489855"/>
                <a:gd name="connsiteY494" fmla="*/ 114570 h 534643"/>
                <a:gd name="connsiteX495" fmla="*/ 391831 w 489855"/>
                <a:gd name="connsiteY495" fmla="*/ 118650 h 534643"/>
                <a:gd name="connsiteX496" fmla="*/ 392134 w 489855"/>
                <a:gd name="connsiteY496" fmla="*/ 125409 h 534643"/>
                <a:gd name="connsiteX497" fmla="*/ 392505 w 489855"/>
                <a:gd name="connsiteY497" fmla="*/ 128454 h 534643"/>
                <a:gd name="connsiteX498" fmla="*/ 393220 w 489855"/>
                <a:gd name="connsiteY498" fmla="*/ 131397 h 534643"/>
                <a:gd name="connsiteX499" fmla="*/ 394978 w 489855"/>
                <a:gd name="connsiteY499" fmla="*/ 133505 h 534643"/>
                <a:gd name="connsiteX500" fmla="*/ 397278 w 489855"/>
                <a:gd name="connsiteY500" fmla="*/ 134999 h 534643"/>
                <a:gd name="connsiteX501" fmla="*/ 400611 w 489855"/>
                <a:gd name="connsiteY501" fmla="*/ 139774 h 534643"/>
                <a:gd name="connsiteX502" fmla="*/ 402400 w 489855"/>
                <a:gd name="connsiteY502" fmla="*/ 145621 h 534643"/>
                <a:gd name="connsiteX503" fmla="*/ 403662 w 489855"/>
                <a:gd name="connsiteY503" fmla="*/ 148457 h 534643"/>
                <a:gd name="connsiteX504" fmla="*/ 404609 w 489855"/>
                <a:gd name="connsiteY504" fmla="*/ 151428 h 534643"/>
                <a:gd name="connsiteX505" fmla="*/ 404896 w 489855"/>
                <a:gd name="connsiteY505" fmla="*/ 152787 h 534643"/>
                <a:gd name="connsiteX506" fmla="*/ 404920 w 489855"/>
                <a:gd name="connsiteY506" fmla="*/ 154149 h 534643"/>
                <a:gd name="connsiteX507" fmla="*/ 404637 w 489855"/>
                <a:gd name="connsiteY507" fmla="*/ 156010 h 534643"/>
                <a:gd name="connsiteX508" fmla="*/ 404948 w 489855"/>
                <a:gd name="connsiteY508" fmla="*/ 157512 h 534643"/>
                <a:gd name="connsiteX509" fmla="*/ 404589 w 489855"/>
                <a:gd name="connsiteY509" fmla="*/ 162231 h 534643"/>
                <a:gd name="connsiteX510" fmla="*/ 403097 w 489855"/>
                <a:gd name="connsiteY510" fmla="*/ 167678 h 534643"/>
                <a:gd name="connsiteX511" fmla="*/ 402905 w 489855"/>
                <a:gd name="connsiteY511" fmla="*/ 170457 h 534643"/>
                <a:gd name="connsiteX512" fmla="*/ 401607 w 489855"/>
                <a:gd name="connsiteY512" fmla="*/ 171008 h 534643"/>
                <a:gd name="connsiteX513" fmla="*/ 400821 w 489855"/>
                <a:gd name="connsiteY513" fmla="*/ 172291 h 534643"/>
                <a:gd name="connsiteX514" fmla="*/ 400149 w 489855"/>
                <a:gd name="connsiteY514" fmla="*/ 172886 h 534643"/>
                <a:gd name="connsiteX515" fmla="*/ 399405 w 489855"/>
                <a:gd name="connsiteY515" fmla="*/ 173347 h 534643"/>
                <a:gd name="connsiteX516" fmla="*/ 398322 w 489855"/>
                <a:gd name="connsiteY516" fmla="*/ 173462 h 534643"/>
                <a:gd name="connsiteX517" fmla="*/ 397550 w 489855"/>
                <a:gd name="connsiteY517" fmla="*/ 173987 h 534643"/>
                <a:gd name="connsiteX518" fmla="*/ 397243 w 489855"/>
                <a:gd name="connsiteY518" fmla="*/ 175458 h 534643"/>
                <a:gd name="connsiteX519" fmla="*/ 396747 w 489855"/>
                <a:gd name="connsiteY519" fmla="*/ 176821 h 534643"/>
                <a:gd name="connsiteX520" fmla="*/ 395805 w 489855"/>
                <a:gd name="connsiteY520" fmla="*/ 178077 h 534643"/>
                <a:gd name="connsiteX521" fmla="*/ 395066 w 489855"/>
                <a:gd name="connsiteY521" fmla="*/ 179461 h 534643"/>
                <a:gd name="connsiteX522" fmla="*/ 394458 w 489855"/>
                <a:gd name="connsiteY522" fmla="*/ 182834 h 534643"/>
                <a:gd name="connsiteX523" fmla="*/ 394237 w 489855"/>
                <a:gd name="connsiteY523" fmla="*/ 186290 h 534643"/>
                <a:gd name="connsiteX524" fmla="*/ 393324 w 489855"/>
                <a:gd name="connsiteY524" fmla="*/ 188702 h 534643"/>
                <a:gd name="connsiteX525" fmla="*/ 391128 w 489855"/>
                <a:gd name="connsiteY525" fmla="*/ 189329 h 534643"/>
                <a:gd name="connsiteX526" fmla="*/ 388610 w 489855"/>
                <a:gd name="connsiteY526" fmla="*/ 189287 h 534643"/>
                <a:gd name="connsiteX527" fmla="*/ 385384 w 489855"/>
                <a:gd name="connsiteY527" fmla="*/ 190404 h 534643"/>
                <a:gd name="connsiteX528" fmla="*/ 384697 w 489855"/>
                <a:gd name="connsiteY528" fmla="*/ 191057 h 534643"/>
                <a:gd name="connsiteX529" fmla="*/ 382149 w 489855"/>
                <a:gd name="connsiteY529" fmla="*/ 195261 h 534643"/>
                <a:gd name="connsiteX530" fmla="*/ 381416 w 489855"/>
                <a:gd name="connsiteY530" fmla="*/ 197724 h 534643"/>
                <a:gd name="connsiteX531" fmla="*/ 381393 w 489855"/>
                <a:gd name="connsiteY531" fmla="*/ 200372 h 534643"/>
                <a:gd name="connsiteX532" fmla="*/ 382101 w 489855"/>
                <a:gd name="connsiteY532" fmla="*/ 203624 h 534643"/>
                <a:gd name="connsiteX533" fmla="*/ 383062 w 489855"/>
                <a:gd name="connsiteY533" fmla="*/ 206802 h 534643"/>
                <a:gd name="connsiteX534" fmla="*/ 383790 w 489855"/>
                <a:gd name="connsiteY534" fmla="*/ 212709 h 534643"/>
                <a:gd name="connsiteX535" fmla="*/ 383023 w 489855"/>
                <a:gd name="connsiteY535" fmla="*/ 221696 h 534643"/>
                <a:gd name="connsiteX536" fmla="*/ 382287 w 489855"/>
                <a:gd name="connsiteY536" fmla="*/ 224561 h 534643"/>
                <a:gd name="connsiteX537" fmla="*/ 380667 w 489855"/>
                <a:gd name="connsiteY537" fmla="*/ 226501 h 534643"/>
                <a:gd name="connsiteX538" fmla="*/ 379441 w 489855"/>
                <a:gd name="connsiteY538" fmla="*/ 227401 h 534643"/>
                <a:gd name="connsiteX539" fmla="*/ 378383 w 489855"/>
                <a:gd name="connsiteY539" fmla="*/ 228505 h 534643"/>
                <a:gd name="connsiteX540" fmla="*/ 377014 w 489855"/>
                <a:gd name="connsiteY540" fmla="*/ 231425 h 534643"/>
                <a:gd name="connsiteX541" fmla="*/ 374746 w 489855"/>
                <a:gd name="connsiteY541" fmla="*/ 237233 h 534643"/>
                <a:gd name="connsiteX542" fmla="*/ 374559 w 489855"/>
                <a:gd name="connsiteY542" fmla="*/ 238689 h 534643"/>
                <a:gd name="connsiteX543" fmla="*/ 374567 w 489855"/>
                <a:gd name="connsiteY543" fmla="*/ 240200 h 534643"/>
                <a:gd name="connsiteX544" fmla="*/ 373956 w 489855"/>
                <a:gd name="connsiteY544" fmla="*/ 242168 h 534643"/>
                <a:gd name="connsiteX545" fmla="*/ 373557 w 489855"/>
                <a:gd name="connsiteY545" fmla="*/ 244102 h 534643"/>
                <a:gd name="connsiteX546" fmla="*/ 373930 w 489855"/>
                <a:gd name="connsiteY546" fmla="*/ 246349 h 534643"/>
                <a:gd name="connsiteX547" fmla="*/ 374628 w 489855"/>
                <a:gd name="connsiteY547" fmla="*/ 248450 h 534643"/>
                <a:gd name="connsiteX548" fmla="*/ 377670 w 489855"/>
                <a:gd name="connsiteY548" fmla="*/ 253836 h 534643"/>
                <a:gd name="connsiteX549" fmla="*/ 378862 w 489855"/>
                <a:gd name="connsiteY549" fmla="*/ 255428 h 534643"/>
                <a:gd name="connsiteX550" fmla="*/ 380201 w 489855"/>
                <a:gd name="connsiteY550" fmla="*/ 256878 h 534643"/>
                <a:gd name="connsiteX551" fmla="*/ 375010 w 489855"/>
                <a:gd name="connsiteY551" fmla="*/ 258481 h 534643"/>
                <a:gd name="connsiteX552" fmla="*/ 374073 w 489855"/>
                <a:gd name="connsiteY552" fmla="*/ 259217 h 534643"/>
                <a:gd name="connsiteX553" fmla="*/ 370989 w 489855"/>
                <a:gd name="connsiteY553" fmla="*/ 262280 h 534643"/>
                <a:gd name="connsiteX554" fmla="*/ 370004 w 489855"/>
                <a:gd name="connsiteY554" fmla="*/ 265181 h 534643"/>
                <a:gd name="connsiteX555" fmla="*/ 370085 w 489855"/>
                <a:gd name="connsiteY555" fmla="*/ 268389 h 534643"/>
                <a:gd name="connsiteX556" fmla="*/ 369565 w 489855"/>
                <a:gd name="connsiteY556" fmla="*/ 269540 h 534643"/>
                <a:gd name="connsiteX557" fmla="*/ 368717 w 489855"/>
                <a:gd name="connsiteY557" fmla="*/ 270535 h 534643"/>
                <a:gd name="connsiteX558" fmla="*/ 367834 w 489855"/>
                <a:gd name="connsiteY558" fmla="*/ 271198 h 534643"/>
                <a:gd name="connsiteX559" fmla="*/ 364388 w 489855"/>
                <a:gd name="connsiteY559" fmla="*/ 272665 h 534643"/>
                <a:gd name="connsiteX560" fmla="*/ 362183 w 489855"/>
                <a:gd name="connsiteY560" fmla="*/ 274123 h 534643"/>
                <a:gd name="connsiteX561" fmla="*/ 359984 w 489855"/>
                <a:gd name="connsiteY561" fmla="*/ 276402 h 534643"/>
                <a:gd name="connsiteX562" fmla="*/ 359115 w 489855"/>
                <a:gd name="connsiteY562" fmla="*/ 277596 h 534643"/>
                <a:gd name="connsiteX563" fmla="*/ 357423 w 489855"/>
                <a:gd name="connsiteY563" fmla="*/ 277213 h 534643"/>
                <a:gd name="connsiteX564" fmla="*/ 356435 w 489855"/>
                <a:gd name="connsiteY564" fmla="*/ 276161 h 534643"/>
                <a:gd name="connsiteX565" fmla="*/ 357409 w 489855"/>
                <a:gd name="connsiteY565" fmla="*/ 274835 h 534643"/>
                <a:gd name="connsiteX566" fmla="*/ 357109 w 489855"/>
                <a:gd name="connsiteY566" fmla="*/ 273275 h 534643"/>
                <a:gd name="connsiteX567" fmla="*/ 357590 w 489855"/>
                <a:gd name="connsiteY567" fmla="*/ 269259 h 534643"/>
                <a:gd name="connsiteX568" fmla="*/ 357037 w 489855"/>
                <a:gd name="connsiteY568" fmla="*/ 267644 h 534643"/>
                <a:gd name="connsiteX569" fmla="*/ 358799 w 489855"/>
                <a:gd name="connsiteY569" fmla="*/ 266425 h 534643"/>
                <a:gd name="connsiteX570" fmla="*/ 359640 w 489855"/>
                <a:gd name="connsiteY570" fmla="*/ 264472 h 534643"/>
                <a:gd name="connsiteX571" fmla="*/ 361474 w 489855"/>
                <a:gd name="connsiteY571" fmla="*/ 262909 h 534643"/>
                <a:gd name="connsiteX572" fmla="*/ 362784 w 489855"/>
                <a:gd name="connsiteY572" fmla="*/ 261521 h 534643"/>
                <a:gd name="connsiteX573" fmla="*/ 363017 w 489855"/>
                <a:gd name="connsiteY573" fmla="*/ 260396 h 534643"/>
                <a:gd name="connsiteX574" fmla="*/ 361840 w 489855"/>
                <a:gd name="connsiteY574" fmla="*/ 259183 h 534643"/>
                <a:gd name="connsiteX575" fmla="*/ 360598 w 489855"/>
                <a:gd name="connsiteY575" fmla="*/ 258306 h 534643"/>
                <a:gd name="connsiteX576" fmla="*/ 358879 w 489855"/>
                <a:gd name="connsiteY576" fmla="*/ 258302 h 534643"/>
                <a:gd name="connsiteX577" fmla="*/ 357221 w 489855"/>
                <a:gd name="connsiteY577" fmla="*/ 258562 h 534643"/>
                <a:gd name="connsiteX578" fmla="*/ 356150 w 489855"/>
                <a:gd name="connsiteY578" fmla="*/ 259718 h 534643"/>
                <a:gd name="connsiteX579" fmla="*/ 355791 w 489855"/>
                <a:gd name="connsiteY579" fmla="*/ 261291 h 534643"/>
                <a:gd name="connsiteX580" fmla="*/ 355875 w 489855"/>
                <a:gd name="connsiteY580" fmla="*/ 262025 h 534643"/>
                <a:gd name="connsiteX581" fmla="*/ 355740 w 489855"/>
                <a:gd name="connsiteY581" fmla="*/ 262667 h 534643"/>
                <a:gd name="connsiteX582" fmla="*/ 353135 w 489855"/>
                <a:gd name="connsiteY582" fmla="*/ 264821 h 534643"/>
                <a:gd name="connsiteX583" fmla="*/ 353479 w 489855"/>
                <a:gd name="connsiteY583" fmla="*/ 267072 h 534643"/>
                <a:gd name="connsiteX584" fmla="*/ 354241 w 489855"/>
                <a:gd name="connsiteY584" fmla="*/ 268214 h 534643"/>
                <a:gd name="connsiteX585" fmla="*/ 355215 w 489855"/>
                <a:gd name="connsiteY585" fmla="*/ 268756 h 534643"/>
                <a:gd name="connsiteX586" fmla="*/ 354924 w 489855"/>
                <a:gd name="connsiteY586" fmla="*/ 269530 h 534643"/>
                <a:gd name="connsiteX587" fmla="*/ 353688 w 489855"/>
                <a:gd name="connsiteY587" fmla="*/ 271342 h 534643"/>
                <a:gd name="connsiteX588" fmla="*/ 352824 w 489855"/>
                <a:gd name="connsiteY588" fmla="*/ 271521 h 534643"/>
                <a:gd name="connsiteX589" fmla="*/ 351235 w 489855"/>
                <a:gd name="connsiteY589" fmla="*/ 268985 h 534643"/>
                <a:gd name="connsiteX590" fmla="*/ 349253 w 489855"/>
                <a:gd name="connsiteY590" fmla="*/ 267598 h 534643"/>
                <a:gd name="connsiteX591" fmla="*/ 346800 w 489855"/>
                <a:gd name="connsiteY591" fmla="*/ 267609 h 534643"/>
                <a:gd name="connsiteX592" fmla="*/ 344278 w 489855"/>
                <a:gd name="connsiteY592" fmla="*/ 268113 h 534643"/>
                <a:gd name="connsiteX593" fmla="*/ 342360 w 489855"/>
                <a:gd name="connsiteY593" fmla="*/ 269800 h 534643"/>
                <a:gd name="connsiteX594" fmla="*/ 341727 w 489855"/>
                <a:gd name="connsiteY594" fmla="*/ 271202 h 534643"/>
                <a:gd name="connsiteX595" fmla="*/ 341324 w 489855"/>
                <a:gd name="connsiteY595" fmla="*/ 272650 h 534643"/>
                <a:gd name="connsiteX596" fmla="*/ 341459 w 489855"/>
                <a:gd name="connsiteY596" fmla="*/ 276172 h 534643"/>
                <a:gd name="connsiteX597" fmla="*/ 340665 w 489855"/>
                <a:gd name="connsiteY597" fmla="*/ 279108 h 534643"/>
                <a:gd name="connsiteX598" fmla="*/ 339107 w 489855"/>
                <a:gd name="connsiteY598" fmla="*/ 281687 h 534643"/>
                <a:gd name="connsiteX599" fmla="*/ 338378 w 489855"/>
                <a:gd name="connsiteY599" fmla="*/ 282628 h 534643"/>
                <a:gd name="connsiteX600" fmla="*/ 336477 w 489855"/>
                <a:gd name="connsiteY600" fmla="*/ 284376 h 534643"/>
                <a:gd name="connsiteX601" fmla="*/ 335169 w 489855"/>
                <a:gd name="connsiteY601" fmla="*/ 284605 h 534643"/>
                <a:gd name="connsiteX602" fmla="*/ 334233 w 489855"/>
                <a:gd name="connsiteY602" fmla="*/ 283811 h 534643"/>
                <a:gd name="connsiteX603" fmla="*/ 333478 w 489855"/>
                <a:gd name="connsiteY603" fmla="*/ 282607 h 534643"/>
                <a:gd name="connsiteX604" fmla="*/ 334439 w 489855"/>
                <a:gd name="connsiteY604" fmla="*/ 278193 h 534643"/>
                <a:gd name="connsiteX605" fmla="*/ 334401 w 489855"/>
                <a:gd name="connsiteY605" fmla="*/ 275713 h 534643"/>
                <a:gd name="connsiteX606" fmla="*/ 336631 w 489855"/>
                <a:gd name="connsiteY606" fmla="*/ 274450 h 534643"/>
                <a:gd name="connsiteX607" fmla="*/ 334802 w 489855"/>
                <a:gd name="connsiteY607" fmla="*/ 272685 h 534643"/>
                <a:gd name="connsiteX608" fmla="*/ 332563 w 489855"/>
                <a:gd name="connsiteY608" fmla="*/ 271974 h 534643"/>
                <a:gd name="connsiteX609" fmla="*/ 329412 w 489855"/>
                <a:gd name="connsiteY609" fmla="*/ 272916 h 534643"/>
                <a:gd name="connsiteX610" fmla="*/ 328525 w 489855"/>
                <a:gd name="connsiteY610" fmla="*/ 273977 h 534643"/>
                <a:gd name="connsiteX611" fmla="*/ 327918 w 489855"/>
                <a:gd name="connsiteY611" fmla="*/ 275404 h 534643"/>
                <a:gd name="connsiteX612" fmla="*/ 326227 w 489855"/>
                <a:gd name="connsiteY612" fmla="*/ 277206 h 534643"/>
                <a:gd name="connsiteX613" fmla="*/ 324360 w 489855"/>
                <a:gd name="connsiteY613" fmla="*/ 278894 h 534643"/>
                <a:gd name="connsiteX614" fmla="*/ 322250 w 489855"/>
                <a:gd name="connsiteY614" fmla="*/ 281771 h 534643"/>
                <a:gd name="connsiteX615" fmla="*/ 320831 w 489855"/>
                <a:gd name="connsiteY615" fmla="*/ 285177 h 534643"/>
                <a:gd name="connsiteX616" fmla="*/ 316186 w 489855"/>
                <a:gd name="connsiteY616" fmla="*/ 284063 h 534643"/>
                <a:gd name="connsiteX617" fmla="*/ 313649 w 489855"/>
                <a:gd name="connsiteY617" fmla="*/ 283814 h 534643"/>
                <a:gd name="connsiteX618" fmla="*/ 311090 w 489855"/>
                <a:gd name="connsiteY618" fmla="*/ 283901 h 534643"/>
                <a:gd name="connsiteX619" fmla="*/ 306554 w 489855"/>
                <a:gd name="connsiteY619" fmla="*/ 283481 h 534643"/>
                <a:gd name="connsiteX620" fmla="*/ 301572 w 489855"/>
                <a:gd name="connsiteY620" fmla="*/ 284177 h 534643"/>
                <a:gd name="connsiteX621" fmla="*/ 295903 w 489855"/>
                <a:gd name="connsiteY621" fmla="*/ 285514 h 534643"/>
                <a:gd name="connsiteX622" fmla="*/ 296242 w 489855"/>
                <a:gd name="connsiteY622" fmla="*/ 284550 h 534643"/>
                <a:gd name="connsiteX623" fmla="*/ 300902 w 489855"/>
                <a:gd name="connsiteY623" fmla="*/ 282499 h 534643"/>
                <a:gd name="connsiteX624" fmla="*/ 301070 w 489855"/>
                <a:gd name="connsiteY624" fmla="*/ 281898 h 534643"/>
                <a:gd name="connsiteX625" fmla="*/ 300623 w 489855"/>
                <a:gd name="connsiteY625" fmla="*/ 280775 h 534643"/>
                <a:gd name="connsiteX626" fmla="*/ 299462 w 489855"/>
                <a:gd name="connsiteY626" fmla="*/ 280720 h 534643"/>
                <a:gd name="connsiteX627" fmla="*/ 296674 w 489855"/>
                <a:gd name="connsiteY627" fmla="*/ 281112 h 534643"/>
                <a:gd name="connsiteX628" fmla="*/ 295250 w 489855"/>
                <a:gd name="connsiteY628" fmla="*/ 280940 h 534643"/>
                <a:gd name="connsiteX629" fmla="*/ 294670 w 489855"/>
                <a:gd name="connsiteY629" fmla="*/ 279734 h 534643"/>
                <a:gd name="connsiteX630" fmla="*/ 293726 w 489855"/>
                <a:gd name="connsiteY630" fmla="*/ 279214 h 534643"/>
                <a:gd name="connsiteX631" fmla="*/ 293096 w 489855"/>
                <a:gd name="connsiteY631" fmla="*/ 279708 h 534643"/>
                <a:gd name="connsiteX632" fmla="*/ 293302 w 489855"/>
                <a:gd name="connsiteY632" fmla="*/ 282049 h 534643"/>
                <a:gd name="connsiteX633" fmla="*/ 292612 w 489855"/>
                <a:gd name="connsiteY633" fmla="*/ 282361 h 534643"/>
                <a:gd name="connsiteX634" fmla="*/ 291693 w 489855"/>
                <a:gd name="connsiteY634" fmla="*/ 281760 h 534643"/>
                <a:gd name="connsiteX635" fmla="*/ 291986 w 489855"/>
                <a:gd name="connsiteY635" fmla="*/ 279941 h 534643"/>
                <a:gd name="connsiteX636" fmla="*/ 291358 w 489855"/>
                <a:gd name="connsiteY636" fmla="*/ 277273 h 534643"/>
                <a:gd name="connsiteX637" fmla="*/ 291286 w 489855"/>
                <a:gd name="connsiteY637" fmla="*/ 275616 h 534643"/>
                <a:gd name="connsiteX638" fmla="*/ 292262 w 489855"/>
                <a:gd name="connsiteY638" fmla="*/ 274192 h 534643"/>
                <a:gd name="connsiteX639" fmla="*/ 291262 w 489855"/>
                <a:gd name="connsiteY639" fmla="*/ 273591 h 534643"/>
                <a:gd name="connsiteX640" fmla="*/ 290208 w 489855"/>
                <a:gd name="connsiteY640" fmla="*/ 273823 h 534643"/>
                <a:gd name="connsiteX641" fmla="*/ 288868 w 489855"/>
                <a:gd name="connsiteY641" fmla="*/ 274506 h 534643"/>
                <a:gd name="connsiteX642" fmla="*/ 287684 w 489855"/>
                <a:gd name="connsiteY642" fmla="*/ 275480 h 534643"/>
                <a:gd name="connsiteX643" fmla="*/ 285184 w 489855"/>
                <a:gd name="connsiteY643" fmla="*/ 280349 h 534643"/>
                <a:gd name="connsiteX644" fmla="*/ 284212 w 489855"/>
                <a:gd name="connsiteY644" fmla="*/ 283128 h 534643"/>
                <a:gd name="connsiteX645" fmla="*/ 286043 w 489855"/>
                <a:gd name="connsiteY645" fmla="*/ 285358 h 534643"/>
                <a:gd name="connsiteX646" fmla="*/ 291035 w 489855"/>
                <a:gd name="connsiteY646" fmla="*/ 288474 h 534643"/>
                <a:gd name="connsiteX647" fmla="*/ 291891 w 489855"/>
                <a:gd name="connsiteY647" fmla="*/ 289238 h 534643"/>
                <a:gd name="connsiteX648" fmla="*/ 291910 w 489855"/>
                <a:gd name="connsiteY648" fmla="*/ 290562 h 534643"/>
                <a:gd name="connsiteX649" fmla="*/ 291303 w 489855"/>
                <a:gd name="connsiteY649" fmla="*/ 291968 h 534643"/>
                <a:gd name="connsiteX650" fmla="*/ 289943 w 489855"/>
                <a:gd name="connsiteY650" fmla="*/ 292586 h 534643"/>
                <a:gd name="connsiteX651" fmla="*/ 284464 w 489855"/>
                <a:gd name="connsiteY651" fmla="*/ 293621 h 534643"/>
                <a:gd name="connsiteX652" fmla="*/ 279720 w 489855"/>
                <a:gd name="connsiteY652" fmla="*/ 295635 h 534643"/>
                <a:gd name="connsiteX653" fmla="*/ 278349 w 489855"/>
                <a:gd name="connsiteY653" fmla="*/ 297675 h 534643"/>
                <a:gd name="connsiteX654" fmla="*/ 274031 w 489855"/>
                <a:gd name="connsiteY654" fmla="*/ 305544 h 534643"/>
                <a:gd name="connsiteX655" fmla="*/ 270574 w 489855"/>
                <a:gd name="connsiteY655" fmla="*/ 310913 h 534643"/>
                <a:gd name="connsiteX656" fmla="*/ 265689 w 489855"/>
                <a:gd name="connsiteY656" fmla="*/ 312766 h 534643"/>
                <a:gd name="connsiteX657" fmla="*/ 260327 w 489855"/>
                <a:gd name="connsiteY657" fmla="*/ 311120 h 534643"/>
                <a:gd name="connsiteX658" fmla="*/ 259032 w 489855"/>
                <a:gd name="connsiteY658" fmla="*/ 309252 h 534643"/>
                <a:gd name="connsiteX659" fmla="*/ 257981 w 489855"/>
                <a:gd name="connsiteY659" fmla="*/ 306940 h 534643"/>
                <a:gd name="connsiteX660" fmla="*/ 255988 w 489855"/>
                <a:gd name="connsiteY660" fmla="*/ 304848 h 534643"/>
                <a:gd name="connsiteX661" fmla="*/ 254192 w 489855"/>
                <a:gd name="connsiteY661" fmla="*/ 302568 h 534643"/>
                <a:gd name="connsiteX662" fmla="*/ 253143 w 489855"/>
                <a:gd name="connsiteY662" fmla="*/ 299861 h 534643"/>
                <a:gd name="connsiteX663" fmla="*/ 253306 w 489855"/>
                <a:gd name="connsiteY663" fmla="*/ 295491 h 534643"/>
                <a:gd name="connsiteX664" fmla="*/ 252527 w 489855"/>
                <a:gd name="connsiteY664" fmla="*/ 292857 h 534643"/>
                <a:gd name="connsiteX665" fmla="*/ 253231 w 489855"/>
                <a:gd name="connsiteY665" fmla="*/ 292155 h 534643"/>
                <a:gd name="connsiteX666" fmla="*/ 256188 w 489855"/>
                <a:gd name="connsiteY666" fmla="*/ 290554 h 534643"/>
                <a:gd name="connsiteX667" fmla="*/ 257153 w 489855"/>
                <a:gd name="connsiteY667" fmla="*/ 289657 h 534643"/>
                <a:gd name="connsiteX668" fmla="*/ 258822 w 489855"/>
                <a:gd name="connsiteY668" fmla="*/ 287570 h 534643"/>
                <a:gd name="connsiteX669" fmla="*/ 259420 w 489855"/>
                <a:gd name="connsiteY669" fmla="*/ 286409 h 534643"/>
                <a:gd name="connsiteX670" fmla="*/ 259511 w 489855"/>
                <a:gd name="connsiteY670" fmla="*/ 284648 h 534643"/>
                <a:gd name="connsiteX671" fmla="*/ 258167 w 489855"/>
                <a:gd name="connsiteY671" fmla="*/ 283729 h 534643"/>
                <a:gd name="connsiteX672" fmla="*/ 254697 w 489855"/>
                <a:gd name="connsiteY672" fmla="*/ 283763 h 534643"/>
                <a:gd name="connsiteX673" fmla="*/ 251236 w 489855"/>
                <a:gd name="connsiteY673" fmla="*/ 284311 h 534643"/>
                <a:gd name="connsiteX674" fmla="*/ 248763 w 489855"/>
                <a:gd name="connsiteY674" fmla="*/ 283541 h 534643"/>
                <a:gd name="connsiteX675" fmla="*/ 245559 w 489855"/>
                <a:gd name="connsiteY675" fmla="*/ 281411 h 534643"/>
                <a:gd name="connsiteX676" fmla="*/ 244565 w 489855"/>
                <a:gd name="connsiteY676" fmla="*/ 280957 h 534643"/>
                <a:gd name="connsiteX677" fmla="*/ 241110 w 489855"/>
                <a:gd name="connsiteY677" fmla="*/ 280822 h 534643"/>
                <a:gd name="connsiteX678" fmla="*/ 238645 w 489855"/>
                <a:gd name="connsiteY678" fmla="*/ 281218 h 534643"/>
                <a:gd name="connsiteX679" fmla="*/ 236222 w 489855"/>
                <a:gd name="connsiteY679" fmla="*/ 281995 h 534643"/>
                <a:gd name="connsiteX680" fmla="*/ 233660 w 489855"/>
                <a:gd name="connsiteY680" fmla="*/ 282240 h 534643"/>
                <a:gd name="connsiteX681" fmla="*/ 232808 w 489855"/>
                <a:gd name="connsiteY681" fmla="*/ 282646 h 534643"/>
                <a:gd name="connsiteX682" fmla="*/ 229849 w 489855"/>
                <a:gd name="connsiteY682" fmla="*/ 285257 h 534643"/>
                <a:gd name="connsiteX683" fmla="*/ 227500 w 489855"/>
                <a:gd name="connsiteY683" fmla="*/ 286900 h 534643"/>
                <a:gd name="connsiteX684" fmla="*/ 225469 w 489855"/>
                <a:gd name="connsiteY684" fmla="*/ 287715 h 534643"/>
                <a:gd name="connsiteX685" fmla="*/ 221081 w 489855"/>
                <a:gd name="connsiteY685" fmla="*/ 287933 h 534643"/>
                <a:gd name="connsiteX686" fmla="*/ 218884 w 489855"/>
                <a:gd name="connsiteY686" fmla="*/ 288462 h 534643"/>
                <a:gd name="connsiteX687" fmla="*/ 216580 w 489855"/>
                <a:gd name="connsiteY687" fmla="*/ 289324 h 534643"/>
                <a:gd name="connsiteX688" fmla="*/ 215937 w 489855"/>
                <a:gd name="connsiteY688" fmla="*/ 289249 h 534643"/>
                <a:gd name="connsiteX689" fmla="*/ 213511 w 489855"/>
                <a:gd name="connsiteY689" fmla="*/ 290441 h 534643"/>
                <a:gd name="connsiteX690" fmla="*/ 210728 w 489855"/>
                <a:gd name="connsiteY690" fmla="*/ 291472 h 534643"/>
                <a:gd name="connsiteX691" fmla="*/ 209238 w 489855"/>
                <a:gd name="connsiteY691" fmla="*/ 292507 h 534643"/>
                <a:gd name="connsiteX692" fmla="*/ 206509 w 489855"/>
                <a:gd name="connsiteY692" fmla="*/ 291831 h 534643"/>
                <a:gd name="connsiteX693" fmla="*/ 201106 w 489855"/>
                <a:gd name="connsiteY693" fmla="*/ 293683 h 534643"/>
                <a:gd name="connsiteX694" fmla="*/ 198495 w 489855"/>
                <a:gd name="connsiteY694" fmla="*/ 293911 h 534643"/>
                <a:gd name="connsiteX695" fmla="*/ 195796 w 489855"/>
                <a:gd name="connsiteY695" fmla="*/ 292890 h 534643"/>
                <a:gd name="connsiteX696" fmla="*/ 193293 w 489855"/>
                <a:gd name="connsiteY696" fmla="*/ 291238 h 534643"/>
                <a:gd name="connsiteX697" fmla="*/ 190889 w 489855"/>
                <a:gd name="connsiteY697" fmla="*/ 291946 h 534643"/>
                <a:gd name="connsiteX698" fmla="*/ 189242 w 489855"/>
                <a:gd name="connsiteY698" fmla="*/ 294386 h 534643"/>
                <a:gd name="connsiteX699" fmla="*/ 188443 w 489855"/>
                <a:gd name="connsiteY699" fmla="*/ 299238 h 534643"/>
                <a:gd name="connsiteX700" fmla="*/ 187502 w 489855"/>
                <a:gd name="connsiteY700" fmla="*/ 301420 h 534643"/>
                <a:gd name="connsiteX701" fmla="*/ 187217 w 489855"/>
                <a:gd name="connsiteY701" fmla="*/ 304040 h 534643"/>
                <a:gd name="connsiteX702" fmla="*/ 185973 w 489855"/>
                <a:gd name="connsiteY702" fmla="*/ 303626 h 534643"/>
                <a:gd name="connsiteX703" fmla="*/ 178741 w 489855"/>
                <a:gd name="connsiteY703" fmla="*/ 298909 h 534643"/>
                <a:gd name="connsiteX704" fmla="*/ 178240 w 489855"/>
                <a:gd name="connsiteY704" fmla="*/ 298740 h 534643"/>
                <a:gd name="connsiteX705" fmla="*/ 172394 w 489855"/>
                <a:gd name="connsiteY705" fmla="*/ 299552 h 534643"/>
                <a:gd name="connsiteX706" fmla="*/ 170885 w 489855"/>
                <a:gd name="connsiteY706" fmla="*/ 299944 h 534643"/>
                <a:gd name="connsiteX707" fmla="*/ 169002 w 489855"/>
                <a:gd name="connsiteY707" fmla="*/ 300900 h 534643"/>
                <a:gd name="connsiteX708" fmla="*/ 167009 w 489855"/>
                <a:gd name="connsiteY708" fmla="*/ 301327 h 534643"/>
                <a:gd name="connsiteX709" fmla="*/ 165191 w 489855"/>
                <a:gd name="connsiteY709" fmla="*/ 300640 h 534643"/>
                <a:gd name="connsiteX710" fmla="*/ 163455 w 489855"/>
                <a:gd name="connsiteY710" fmla="*/ 299521 h 534643"/>
                <a:gd name="connsiteX711" fmla="*/ 161786 w 489855"/>
                <a:gd name="connsiteY711" fmla="*/ 299853 h 534643"/>
                <a:gd name="connsiteX712" fmla="*/ 160071 w 489855"/>
                <a:gd name="connsiteY712" fmla="*/ 300637 h 534643"/>
                <a:gd name="connsiteX713" fmla="*/ 159417 w 489855"/>
                <a:gd name="connsiteY713" fmla="*/ 293519 h 534643"/>
                <a:gd name="connsiteX714" fmla="*/ 159749 w 489855"/>
                <a:gd name="connsiteY714" fmla="*/ 292579 h 534643"/>
                <a:gd name="connsiteX715" fmla="*/ 160801 w 489855"/>
                <a:gd name="connsiteY715" fmla="*/ 291329 h 534643"/>
                <a:gd name="connsiteX716" fmla="*/ 161958 w 489855"/>
                <a:gd name="connsiteY716" fmla="*/ 290260 h 534643"/>
                <a:gd name="connsiteX717" fmla="*/ 164789 w 489855"/>
                <a:gd name="connsiteY717" fmla="*/ 289891 h 534643"/>
                <a:gd name="connsiteX718" fmla="*/ 167654 w 489855"/>
                <a:gd name="connsiteY718" fmla="*/ 290238 h 534643"/>
                <a:gd name="connsiteX719" fmla="*/ 169702 w 489855"/>
                <a:gd name="connsiteY719" fmla="*/ 289747 h 534643"/>
                <a:gd name="connsiteX720" fmla="*/ 171429 w 489855"/>
                <a:gd name="connsiteY720" fmla="*/ 288334 h 534643"/>
                <a:gd name="connsiteX721" fmla="*/ 173254 w 489855"/>
                <a:gd name="connsiteY721" fmla="*/ 286330 h 534643"/>
                <a:gd name="connsiteX722" fmla="*/ 175310 w 489855"/>
                <a:gd name="connsiteY722" fmla="*/ 284698 h 534643"/>
                <a:gd name="connsiteX723" fmla="*/ 178098 w 489855"/>
                <a:gd name="connsiteY723" fmla="*/ 283409 h 534643"/>
                <a:gd name="connsiteX724" fmla="*/ 180795 w 489855"/>
                <a:gd name="connsiteY724" fmla="*/ 281930 h 534643"/>
                <a:gd name="connsiteX725" fmla="*/ 183161 w 489855"/>
                <a:gd name="connsiteY725" fmla="*/ 279853 h 534643"/>
                <a:gd name="connsiteX726" fmla="*/ 185409 w 489855"/>
                <a:gd name="connsiteY726" fmla="*/ 277586 h 534643"/>
                <a:gd name="connsiteX727" fmla="*/ 187476 w 489855"/>
                <a:gd name="connsiteY727" fmla="*/ 275921 h 534643"/>
                <a:gd name="connsiteX728" fmla="*/ 189717 w 489855"/>
                <a:gd name="connsiteY728" fmla="*/ 274523 h 534643"/>
                <a:gd name="connsiteX729" fmla="*/ 193133 w 489855"/>
                <a:gd name="connsiteY729" fmla="*/ 271166 h 534643"/>
                <a:gd name="connsiteX730" fmla="*/ 197666 w 489855"/>
                <a:gd name="connsiteY730" fmla="*/ 267389 h 534643"/>
                <a:gd name="connsiteX731" fmla="*/ 199404 w 489855"/>
                <a:gd name="connsiteY731" fmla="*/ 264590 h 534643"/>
                <a:gd name="connsiteX732" fmla="*/ 200486 w 489855"/>
                <a:gd name="connsiteY732" fmla="*/ 263818 h 534643"/>
                <a:gd name="connsiteX733" fmla="*/ 204385 w 489855"/>
                <a:gd name="connsiteY733" fmla="*/ 262254 h 534643"/>
                <a:gd name="connsiteX734" fmla="*/ 209560 w 489855"/>
                <a:gd name="connsiteY734" fmla="*/ 261058 h 534643"/>
                <a:gd name="connsiteX735" fmla="*/ 211997 w 489855"/>
                <a:gd name="connsiteY735" fmla="*/ 261116 h 534643"/>
                <a:gd name="connsiteX736" fmla="*/ 214414 w 489855"/>
                <a:gd name="connsiteY736" fmla="*/ 263572 h 534643"/>
                <a:gd name="connsiteX737" fmla="*/ 215717 w 489855"/>
                <a:gd name="connsiteY737" fmla="*/ 263236 h 534643"/>
                <a:gd name="connsiteX738" fmla="*/ 217034 w 489855"/>
                <a:gd name="connsiteY738" fmla="*/ 262601 h 534643"/>
                <a:gd name="connsiteX739" fmla="*/ 219698 w 489855"/>
                <a:gd name="connsiteY739" fmla="*/ 262250 h 534643"/>
                <a:gd name="connsiteX740" fmla="*/ 222439 w 489855"/>
                <a:gd name="connsiteY740" fmla="*/ 262656 h 534643"/>
                <a:gd name="connsiteX741" fmla="*/ 225112 w 489855"/>
                <a:gd name="connsiteY741" fmla="*/ 262666 h 534643"/>
                <a:gd name="connsiteX742" fmla="*/ 227787 w 489855"/>
                <a:gd name="connsiteY742" fmla="*/ 262356 h 534643"/>
                <a:gd name="connsiteX743" fmla="*/ 232935 w 489855"/>
                <a:gd name="connsiteY743" fmla="*/ 261550 h 534643"/>
                <a:gd name="connsiteX744" fmla="*/ 235643 w 489855"/>
                <a:gd name="connsiteY744" fmla="*/ 260578 h 534643"/>
                <a:gd name="connsiteX745" fmla="*/ 238286 w 489855"/>
                <a:gd name="connsiteY745" fmla="*/ 259320 h 534643"/>
                <a:gd name="connsiteX746" fmla="*/ 247710 w 489855"/>
                <a:gd name="connsiteY746" fmla="*/ 258431 h 534643"/>
                <a:gd name="connsiteX747" fmla="*/ 254168 w 489855"/>
                <a:gd name="connsiteY747" fmla="*/ 256321 h 534643"/>
                <a:gd name="connsiteX748" fmla="*/ 255190 w 489855"/>
                <a:gd name="connsiteY748" fmla="*/ 256471 h 534643"/>
                <a:gd name="connsiteX749" fmla="*/ 256183 w 489855"/>
                <a:gd name="connsiteY749" fmla="*/ 256958 h 534643"/>
                <a:gd name="connsiteX750" fmla="*/ 256257 w 489855"/>
                <a:gd name="connsiteY750" fmla="*/ 258521 h 534643"/>
                <a:gd name="connsiteX751" fmla="*/ 255444 w 489855"/>
                <a:gd name="connsiteY751" fmla="*/ 260226 h 534643"/>
                <a:gd name="connsiteX752" fmla="*/ 256235 w 489855"/>
                <a:gd name="connsiteY752" fmla="*/ 261258 h 534643"/>
                <a:gd name="connsiteX753" fmla="*/ 257543 w 489855"/>
                <a:gd name="connsiteY753" fmla="*/ 261895 h 534643"/>
                <a:gd name="connsiteX754" fmla="*/ 263622 w 489855"/>
                <a:gd name="connsiteY754" fmla="*/ 262092 h 534643"/>
                <a:gd name="connsiteX755" fmla="*/ 265356 w 489855"/>
                <a:gd name="connsiteY755" fmla="*/ 262459 h 534643"/>
                <a:gd name="connsiteX756" fmla="*/ 267893 w 489855"/>
                <a:gd name="connsiteY756" fmla="*/ 261292 h 534643"/>
                <a:gd name="connsiteX757" fmla="*/ 270284 w 489855"/>
                <a:gd name="connsiteY757" fmla="*/ 259850 h 534643"/>
                <a:gd name="connsiteX758" fmla="*/ 272784 w 489855"/>
                <a:gd name="connsiteY758" fmla="*/ 257946 h 534643"/>
                <a:gd name="connsiteX759" fmla="*/ 274533 w 489855"/>
                <a:gd name="connsiteY759" fmla="*/ 255803 h 534643"/>
                <a:gd name="connsiteX760" fmla="*/ 272918 w 489855"/>
                <a:gd name="connsiteY760" fmla="*/ 253119 h 534643"/>
                <a:gd name="connsiteX761" fmla="*/ 272564 w 489855"/>
                <a:gd name="connsiteY761" fmla="*/ 250182 h 534643"/>
                <a:gd name="connsiteX762" fmla="*/ 273918 w 489855"/>
                <a:gd name="connsiteY762" fmla="*/ 246995 h 534643"/>
                <a:gd name="connsiteX763" fmla="*/ 275881 w 489855"/>
                <a:gd name="connsiteY763" fmla="*/ 244304 h 534643"/>
                <a:gd name="connsiteX764" fmla="*/ 278215 w 489855"/>
                <a:gd name="connsiteY764" fmla="*/ 242677 h 534643"/>
                <a:gd name="connsiteX765" fmla="*/ 280364 w 489855"/>
                <a:gd name="connsiteY765" fmla="*/ 240803 h 534643"/>
                <a:gd name="connsiteX766" fmla="*/ 284717 w 489855"/>
                <a:gd name="connsiteY766" fmla="*/ 235480 h 534643"/>
                <a:gd name="connsiteX767" fmla="*/ 287863 w 489855"/>
                <a:gd name="connsiteY767" fmla="*/ 231166 h 534643"/>
                <a:gd name="connsiteX768" fmla="*/ 288995 w 489855"/>
                <a:gd name="connsiteY768" fmla="*/ 225858 h 534643"/>
                <a:gd name="connsiteX769" fmla="*/ 288330 w 489855"/>
                <a:gd name="connsiteY769" fmla="*/ 219564 h 534643"/>
                <a:gd name="connsiteX770" fmla="*/ 291076 w 489855"/>
                <a:gd name="connsiteY770" fmla="*/ 214881 h 534643"/>
                <a:gd name="connsiteX771" fmla="*/ 293705 w 489855"/>
                <a:gd name="connsiteY771" fmla="*/ 214076 h 534643"/>
                <a:gd name="connsiteX772" fmla="*/ 298931 w 489855"/>
                <a:gd name="connsiteY772" fmla="*/ 211937 h 534643"/>
                <a:gd name="connsiteX773" fmla="*/ 301673 w 489855"/>
                <a:gd name="connsiteY773" fmla="*/ 211309 h 534643"/>
                <a:gd name="connsiteX774" fmla="*/ 302083 w 489855"/>
                <a:gd name="connsiteY774" fmla="*/ 212244 h 534643"/>
                <a:gd name="connsiteX775" fmla="*/ 302001 w 489855"/>
                <a:gd name="connsiteY775" fmla="*/ 213469 h 534643"/>
                <a:gd name="connsiteX776" fmla="*/ 297901 w 489855"/>
                <a:gd name="connsiteY776" fmla="*/ 217404 h 534643"/>
                <a:gd name="connsiteX777" fmla="*/ 295551 w 489855"/>
                <a:gd name="connsiteY777" fmla="*/ 219021 h 534643"/>
                <a:gd name="connsiteX778" fmla="*/ 294145 w 489855"/>
                <a:gd name="connsiteY778" fmla="*/ 219522 h 534643"/>
                <a:gd name="connsiteX779" fmla="*/ 292858 w 489855"/>
                <a:gd name="connsiteY779" fmla="*/ 220237 h 534643"/>
                <a:gd name="connsiteX780" fmla="*/ 292325 w 489855"/>
                <a:gd name="connsiteY780" fmla="*/ 221619 h 534643"/>
                <a:gd name="connsiteX781" fmla="*/ 294415 w 489855"/>
                <a:gd name="connsiteY781" fmla="*/ 223933 h 534643"/>
                <a:gd name="connsiteX782" fmla="*/ 294948 w 489855"/>
                <a:gd name="connsiteY782" fmla="*/ 225640 h 534643"/>
                <a:gd name="connsiteX783" fmla="*/ 294819 w 489855"/>
                <a:gd name="connsiteY783" fmla="*/ 227279 h 534643"/>
                <a:gd name="connsiteX784" fmla="*/ 294907 w 489855"/>
                <a:gd name="connsiteY784" fmla="*/ 228751 h 534643"/>
                <a:gd name="connsiteX785" fmla="*/ 297274 w 489855"/>
                <a:gd name="connsiteY785" fmla="*/ 230354 h 534643"/>
                <a:gd name="connsiteX786" fmla="*/ 299984 w 489855"/>
                <a:gd name="connsiteY786" fmla="*/ 230884 h 534643"/>
                <a:gd name="connsiteX787" fmla="*/ 301120 w 489855"/>
                <a:gd name="connsiteY787" fmla="*/ 230869 h 534643"/>
                <a:gd name="connsiteX788" fmla="*/ 302114 w 489855"/>
                <a:gd name="connsiteY788" fmla="*/ 230448 h 534643"/>
                <a:gd name="connsiteX789" fmla="*/ 305210 w 489855"/>
                <a:gd name="connsiteY789" fmla="*/ 226526 h 534643"/>
                <a:gd name="connsiteX790" fmla="*/ 305906 w 489855"/>
                <a:gd name="connsiteY790" fmla="*/ 225845 h 534643"/>
                <a:gd name="connsiteX791" fmla="*/ 314731 w 489855"/>
                <a:gd name="connsiteY791" fmla="*/ 222970 h 534643"/>
                <a:gd name="connsiteX792" fmla="*/ 319073 w 489855"/>
                <a:gd name="connsiteY792" fmla="*/ 220769 h 534643"/>
                <a:gd name="connsiteX793" fmla="*/ 321472 w 489855"/>
                <a:gd name="connsiteY793" fmla="*/ 220201 h 534643"/>
                <a:gd name="connsiteX794" fmla="*/ 323724 w 489855"/>
                <a:gd name="connsiteY794" fmla="*/ 219054 h 534643"/>
                <a:gd name="connsiteX795" fmla="*/ 328776 w 489855"/>
                <a:gd name="connsiteY795" fmla="*/ 214625 h 534643"/>
                <a:gd name="connsiteX796" fmla="*/ 330643 w 489855"/>
                <a:gd name="connsiteY796" fmla="*/ 212583 h 534643"/>
                <a:gd name="connsiteX797" fmla="*/ 332337 w 489855"/>
                <a:gd name="connsiteY797" fmla="*/ 210323 h 534643"/>
                <a:gd name="connsiteX798" fmla="*/ 333690 w 489855"/>
                <a:gd name="connsiteY798" fmla="*/ 207697 h 534643"/>
                <a:gd name="connsiteX799" fmla="*/ 334757 w 489855"/>
                <a:gd name="connsiteY799" fmla="*/ 204851 h 534643"/>
                <a:gd name="connsiteX800" fmla="*/ 336221 w 489855"/>
                <a:gd name="connsiteY800" fmla="*/ 203078 h 534643"/>
                <a:gd name="connsiteX801" fmla="*/ 344227 w 489855"/>
                <a:gd name="connsiteY801" fmla="*/ 198847 h 534643"/>
                <a:gd name="connsiteX802" fmla="*/ 346809 w 489855"/>
                <a:gd name="connsiteY802" fmla="*/ 196540 h 534643"/>
                <a:gd name="connsiteX803" fmla="*/ 347629 w 489855"/>
                <a:gd name="connsiteY803" fmla="*/ 195422 h 534643"/>
                <a:gd name="connsiteX804" fmla="*/ 348620 w 489855"/>
                <a:gd name="connsiteY804" fmla="*/ 192182 h 534643"/>
                <a:gd name="connsiteX805" fmla="*/ 349304 w 489855"/>
                <a:gd name="connsiteY805" fmla="*/ 188814 h 534643"/>
                <a:gd name="connsiteX806" fmla="*/ 350278 w 489855"/>
                <a:gd name="connsiteY806" fmla="*/ 186170 h 534643"/>
                <a:gd name="connsiteX807" fmla="*/ 351591 w 489855"/>
                <a:gd name="connsiteY807" fmla="*/ 183689 h 534643"/>
                <a:gd name="connsiteX808" fmla="*/ 353351 w 489855"/>
                <a:gd name="connsiteY808" fmla="*/ 181159 h 534643"/>
                <a:gd name="connsiteX809" fmla="*/ 355327 w 489855"/>
                <a:gd name="connsiteY809" fmla="*/ 178809 h 534643"/>
                <a:gd name="connsiteX810" fmla="*/ 356496 w 489855"/>
                <a:gd name="connsiteY810" fmla="*/ 176396 h 534643"/>
                <a:gd name="connsiteX811" fmla="*/ 358190 w 489855"/>
                <a:gd name="connsiteY811" fmla="*/ 170623 h 534643"/>
                <a:gd name="connsiteX812" fmla="*/ 358936 w 489855"/>
                <a:gd name="connsiteY812" fmla="*/ 167422 h 534643"/>
                <a:gd name="connsiteX813" fmla="*/ 359516 w 489855"/>
                <a:gd name="connsiteY813" fmla="*/ 166267 h 534643"/>
                <a:gd name="connsiteX814" fmla="*/ 360369 w 489855"/>
                <a:gd name="connsiteY814" fmla="*/ 165296 h 534643"/>
                <a:gd name="connsiteX815" fmla="*/ 361114 w 489855"/>
                <a:gd name="connsiteY815" fmla="*/ 164067 h 534643"/>
                <a:gd name="connsiteX816" fmla="*/ 361682 w 489855"/>
                <a:gd name="connsiteY816" fmla="*/ 162690 h 534643"/>
                <a:gd name="connsiteX817" fmla="*/ 361939 w 489855"/>
                <a:gd name="connsiteY817" fmla="*/ 161325 h 534643"/>
                <a:gd name="connsiteX818" fmla="*/ 362306 w 489855"/>
                <a:gd name="connsiteY818" fmla="*/ 157152 h 534643"/>
                <a:gd name="connsiteX819" fmla="*/ 362084 w 489855"/>
                <a:gd name="connsiteY819" fmla="*/ 153905 h 534643"/>
                <a:gd name="connsiteX820" fmla="*/ 360758 w 489855"/>
                <a:gd name="connsiteY820" fmla="*/ 151151 h 534643"/>
                <a:gd name="connsiteX821" fmla="*/ 359664 w 489855"/>
                <a:gd name="connsiteY821" fmla="*/ 150369 h 534643"/>
                <a:gd name="connsiteX822" fmla="*/ 358469 w 489855"/>
                <a:gd name="connsiteY822" fmla="*/ 150323 h 534643"/>
                <a:gd name="connsiteX823" fmla="*/ 356681 w 489855"/>
                <a:gd name="connsiteY823" fmla="*/ 150561 h 534643"/>
                <a:gd name="connsiteX824" fmla="*/ 355158 w 489855"/>
                <a:gd name="connsiteY824" fmla="*/ 149438 h 534643"/>
                <a:gd name="connsiteX825" fmla="*/ 355467 w 489855"/>
                <a:gd name="connsiteY825" fmla="*/ 148445 h 534643"/>
                <a:gd name="connsiteX826" fmla="*/ 357020 w 489855"/>
                <a:gd name="connsiteY826" fmla="*/ 148261 h 534643"/>
                <a:gd name="connsiteX827" fmla="*/ 358080 w 489855"/>
                <a:gd name="connsiteY827" fmla="*/ 147748 h 534643"/>
                <a:gd name="connsiteX828" fmla="*/ 358840 w 489855"/>
                <a:gd name="connsiteY828" fmla="*/ 146808 h 534643"/>
                <a:gd name="connsiteX829" fmla="*/ 360266 w 489855"/>
                <a:gd name="connsiteY829" fmla="*/ 143802 h 534643"/>
                <a:gd name="connsiteX830" fmla="*/ 361121 w 489855"/>
                <a:gd name="connsiteY830" fmla="*/ 140579 h 534643"/>
                <a:gd name="connsiteX831" fmla="*/ 361194 w 489855"/>
                <a:gd name="connsiteY831" fmla="*/ 139153 h 534643"/>
                <a:gd name="connsiteX832" fmla="*/ 360080 w 489855"/>
                <a:gd name="connsiteY832" fmla="*/ 136552 h 534643"/>
                <a:gd name="connsiteX833" fmla="*/ 359192 w 489855"/>
                <a:gd name="connsiteY833" fmla="*/ 133422 h 534643"/>
                <a:gd name="connsiteX834" fmla="*/ 359168 w 489855"/>
                <a:gd name="connsiteY834" fmla="*/ 131730 h 534643"/>
                <a:gd name="connsiteX835" fmla="*/ 360139 w 489855"/>
                <a:gd name="connsiteY835" fmla="*/ 129781 h 534643"/>
                <a:gd name="connsiteX836" fmla="*/ 361522 w 489855"/>
                <a:gd name="connsiteY836" fmla="*/ 128197 h 534643"/>
                <a:gd name="connsiteX837" fmla="*/ 362762 w 489855"/>
                <a:gd name="connsiteY837" fmla="*/ 127824 h 534643"/>
                <a:gd name="connsiteX838" fmla="*/ 364104 w 489855"/>
                <a:gd name="connsiteY838" fmla="*/ 127713 h 534643"/>
                <a:gd name="connsiteX839" fmla="*/ 365324 w 489855"/>
                <a:gd name="connsiteY839" fmla="*/ 127101 h 534643"/>
                <a:gd name="connsiteX840" fmla="*/ 366455 w 489855"/>
                <a:gd name="connsiteY840" fmla="*/ 126211 h 534643"/>
                <a:gd name="connsiteX841" fmla="*/ 367093 w 489855"/>
                <a:gd name="connsiteY841" fmla="*/ 125231 h 534643"/>
                <a:gd name="connsiteX842" fmla="*/ 368089 w 489855"/>
                <a:gd name="connsiteY842" fmla="*/ 122562 h 534643"/>
                <a:gd name="connsiteX843" fmla="*/ 368472 w 489855"/>
                <a:gd name="connsiteY843" fmla="*/ 121036 h 534643"/>
                <a:gd name="connsiteX844" fmla="*/ 367844 w 489855"/>
                <a:gd name="connsiteY844" fmla="*/ 116950 h 534643"/>
                <a:gd name="connsiteX845" fmla="*/ 368491 w 489855"/>
                <a:gd name="connsiteY845" fmla="*/ 115832 h 534643"/>
                <a:gd name="connsiteX846" fmla="*/ 369409 w 489855"/>
                <a:gd name="connsiteY846" fmla="*/ 115134 h 534643"/>
                <a:gd name="connsiteX847" fmla="*/ 370633 w 489855"/>
                <a:gd name="connsiteY847" fmla="*/ 115665 h 534643"/>
                <a:gd name="connsiteX848" fmla="*/ 371888 w 489855"/>
                <a:gd name="connsiteY848" fmla="*/ 115770 h 534643"/>
                <a:gd name="connsiteX849" fmla="*/ 373350 w 489855"/>
                <a:gd name="connsiteY849" fmla="*/ 115608 h 534643"/>
                <a:gd name="connsiteX850" fmla="*/ 374753 w 489855"/>
                <a:gd name="connsiteY850" fmla="*/ 116040 h 534643"/>
                <a:gd name="connsiteX851" fmla="*/ 375018 w 489855"/>
                <a:gd name="connsiteY851" fmla="*/ 117089 h 534643"/>
                <a:gd name="connsiteX852" fmla="*/ 375897 w 489855"/>
                <a:gd name="connsiteY852" fmla="*/ 123992 h 534643"/>
                <a:gd name="connsiteX853" fmla="*/ 376407 w 489855"/>
                <a:gd name="connsiteY853" fmla="*/ 124924 h 534643"/>
                <a:gd name="connsiteX854" fmla="*/ 377428 w 489855"/>
                <a:gd name="connsiteY854" fmla="*/ 125646 h 534643"/>
                <a:gd name="connsiteX855" fmla="*/ 378582 w 489855"/>
                <a:gd name="connsiteY855" fmla="*/ 125540 h 534643"/>
                <a:gd name="connsiteX856" fmla="*/ 379577 w 489855"/>
                <a:gd name="connsiteY856" fmla="*/ 124468 h 534643"/>
                <a:gd name="connsiteX857" fmla="*/ 380248 w 489855"/>
                <a:gd name="connsiteY857" fmla="*/ 123038 h 534643"/>
                <a:gd name="connsiteX858" fmla="*/ 381572 w 489855"/>
                <a:gd name="connsiteY858" fmla="*/ 122743 h 534643"/>
                <a:gd name="connsiteX859" fmla="*/ 385608 w 489855"/>
                <a:gd name="connsiteY859" fmla="*/ 124281 h 534643"/>
                <a:gd name="connsiteX860" fmla="*/ 387037 w 489855"/>
                <a:gd name="connsiteY860" fmla="*/ 123183 h 534643"/>
                <a:gd name="connsiteX861" fmla="*/ 387970 w 489855"/>
                <a:gd name="connsiteY861" fmla="*/ 121489 h 534643"/>
                <a:gd name="connsiteX862" fmla="*/ 388783 w 489855"/>
                <a:gd name="connsiteY862" fmla="*/ 118483 h 534643"/>
                <a:gd name="connsiteX863" fmla="*/ 388387 w 489855"/>
                <a:gd name="connsiteY863" fmla="*/ 115771 h 534643"/>
                <a:gd name="connsiteX864" fmla="*/ 387418 w 489855"/>
                <a:gd name="connsiteY864" fmla="*/ 114770 h 534643"/>
                <a:gd name="connsiteX865" fmla="*/ 386415 w 489855"/>
                <a:gd name="connsiteY865" fmla="*/ 114952 h 534643"/>
                <a:gd name="connsiteX866" fmla="*/ 385530 w 489855"/>
                <a:gd name="connsiteY866" fmla="*/ 115696 h 534643"/>
                <a:gd name="connsiteX867" fmla="*/ 384543 w 489855"/>
                <a:gd name="connsiteY867" fmla="*/ 116102 h 534643"/>
                <a:gd name="connsiteX868" fmla="*/ 378577 w 489855"/>
                <a:gd name="connsiteY868" fmla="*/ 117531 h 534643"/>
                <a:gd name="connsiteX869" fmla="*/ 378605 w 489855"/>
                <a:gd name="connsiteY869" fmla="*/ 114505 h 534643"/>
                <a:gd name="connsiteX870" fmla="*/ 379882 w 489855"/>
                <a:gd name="connsiteY870" fmla="*/ 109972 h 534643"/>
                <a:gd name="connsiteX871" fmla="*/ 380588 w 489855"/>
                <a:gd name="connsiteY871" fmla="*/ 108537 h 534643"/>
                <a:gd name="connsiteX872" fmla="*/ 351110 w 489855"/>
                <a:gd name="connsiteY872" fmla="*/ 88508 h 534643"/>
                <a:gd name="connsiteX873" fmla="*/ 349931 w 489855"/>
                <a:gd name="connsiteY873" fmla="*/ 92199 h 534643"/>
                <a:gd name="connsiteX874" fmla="*/ 349404 w 489855"/>
                <a:gd name="connsiteY874" fmla="*/ 92608 h 534643"/>
                <a:gd name="connsiteX875" fmla="*/ 348898 w 489855"/>
                <a:gd name="connsiteY875" fmla="*/ 92751 h 534643"/>
                <a:gd name="connsiteX876" fmla="*/ 348371 w 489855"/>
                <a:gd name="connsiteY876" fmla="*/ 92526 h 534643"/>
                <a:gd name="connsiteX877" fmla="*/ 347862 w 489855"/>
                <a:gd name="connsiteY877" fmla="*/ 90517 h 534643"/>
                <a:gd name="connsiteX878" fmla="*/ 348301 w 489855"/>
                <a:gd name="connsiteY878" fmla="*/ 89456 h 534643"/>
                <a:gd name="connsiteX879" fmla="*/ 349725 w 489855"/>
                <a:gd name="connsiteY879" fmla="*/ 88715 h 534643"/>
                <a:gd name="connsiteX880" fmla="*/ 387271 w 489855"/>
                <a:gd name="connsiteY880" fmla="*/ 7180 h 534643"/>
                <a:gd name="connsiteX881" fmla="*/ 388556 w 489855"/>
                <a:gd name="connsiteY881" fmla="*/ 7601 h 534643"/>
                <a:gd name="connsiteX882" fmla="*/ 389842 w 489855"/>
                <a:gd name="connsiteY882" fmla="*/ 9078 h 534643"/>
                <a:gd name="connsiteX883" fmla="*/ 390266 w 489855"/>
                <a:gd name="connsiteY883" fmla="*/ 9847 h 534643"/>
                <a:gd name="connsiteX884" fmla="*/ 389519 w 489855"/>
                <a:gd name="connsiteY884" fmla="*/ 10699 h 534643"/>
                <a:gd name="connsiteX885" fmla="*/ 387984 w 489855"/>
                <a:gd name="connsiteY885" fmla="*/ 10895 h 534643"/>
                <a:gd name="connsiteX886" fmla="*/ 386200 w 489855"/>
                <a:gd name="connsiteY886" fmla="*/ 9753 h 534643"/>
                <a:gd name="connsiteX887" fmla="*/ 385979 w 489855"/>
                <a:gd name="connsiteY887" fmla="*/ 8321 h 534643"/>
                <a:gd name="connsiteX888" fmla="*/ 382361 w 489855"/>
                <a:gd name="connsiteY888" fmla="*/ 1210 h 534643"/>
                <a:gd name="connsiteX889" fmla="*/ 383023 w 489855"/>
                <a:gd name="connsiteY889" fmla="*/ 1228 h 534643"/>
                <a:gd name="connsiteX890" fmla="*/ 384241 w 489855"/>
                <a:gd name="connsiteY890" fmla="*/ 1647 h 534643"/>
                <a:gd name="connsiteX891" fmla="*/ 384533 w 489855"/>
                <a:gd name="connsiteY891" fmla="*/ 3008 h 534643"/>
                <a:gd name="connsiteX892" fmla="*/ 384595 w 489855"/>
                <a:gd name="connsiteY892" fmla="*/ 4850 h 534643"/>
                <a:gd name="connsiteX893" fmla="*/ 383738 w 489855"/>
                <a:gd name="connsiteY893" fmla="*/ 6591 h 534643"/>
                <a:gd name="connsiteX894" fmla="*/ 382592 w 489855"/>
                <a:gd name="connsiteY894" fmla="*/ 4002 h 534643"/>
                <a:gd name="connsiteX895" fmla="*/ 403721 w 489855"/>
                <a:gd name="connsiteY895" fmla="*/ 0 h 534643"/>
                <a:gd name="connsiteX896" fmla="*/ 404676 w 489855"/>
                <a:gd name="connsiteY896" fmla="*/ 715 h 534643"/>
                <a:gd name="connsiteX897" fmla="*/ 405462 w 489855"/>
                <a:gd name="connsiteY897" fmla="*/ 1966 h 534643"/>
                <a:gd name="connsiteX898" fmla="*/ 408893 w 489855"/>
                <a:gd name="connsiteY898" fmla="*/ 5048 h 534643"/>
                <a:gd name="connsiteX899" fmla="*/ 414297 w 489855"/>
                <a:gd name="connsiteY899" fmla="*/ 10544 h 534643"/>
                <a:gd name="connsiteX900" fmla="*/ 420668 w 489855"/>
                <a:gd name="connsiteY900" fmla="*/ 18900 h 534643"/>
                <a:gd name="connsiteX901" fmla="*/ 424663 w 489855"/>
                <a:gd name="connsiteY901" fmla="*/ 22964 h 534643"/>
                <a:gd name="connsiteX902" fmla="*/ 428872 w 489855"/>
                <a:gd name="connsiteY902" fmla="*/ 26645 h 534643"/>
                <a:gd name="connsiteX903" fmla="*/ 433592 w 489855"/>
                <a:gd name="connsiteY903" fmla="*/ 30404 h 534643"/>
                <a:gd name="connsiteX904" fmla="*/ 438530 w 489855"/>
                <a:gd name="connsiteY904" fmla="*/ 33638 h 534643"/>
                <a:gd name="connsiteX905" fmla="*/ 441685 w 489855"/>
                <a:gd name="connsiteY905" fmla="*/ 35162 h 534643"/>
                <a:gd name="connsiteX906" fmla="*/ 443996 w 489855"/>
                <a:gd name="connsiteY906" fmla="*/ 37594 h 534643"/>
                <a:gd name="connsiteX907" fmla="*/ 445438 w 489855"/>
                <a:gd name="connsiteY907" fmla="*/ 37991 h 534643"/>
                <a:gd name="connsiteX908" fmla="*/ 448206 w 489855"/>
                <a:gd name="connsiteY908" fmla="*/ 38128 h 534643"/>
                <a:gd name="connsiteX909" fmla="*/ 449444 w 489855"/>
                <a:gd name="connsiteY909" fmla="*/ 38000 h 534643"/>
                <a:gd name="connsiteX910" fmla="*/ 451564 w 489855"/>
                <a:gd name="connsiteY910" fmla="*/ 38408 h 534643"/>
                <a:gd name="connsiteX911" fmla="*/ 459978 w 489855"/>
                <a:gd name="connsiteY911" fmla="*/ 42523 h 534643"/>
                <a:gd name="connsiteX912" fmla="*/ 462517 w 489855"/>
                <a:gd name="connsiteY912" fmla="*/ 43046 h 534643"/>
                <a:gd name="connsiteX913" fmla="*/ 465139 w 489855"/>
                <a:gd name="connsiteY913" fmla="*/ 43107 h 534643"/>
                <a:gd name="connsiteX914" fmla="*/ 466980 w 489855"/>
                <a:gd name="connsiteY914" fmla="*/ 42775 h 534643"/>
                <a:gd name="connsiteX915" fmla="*/ 468602 w 489855"/>
                <a:gd name="connsiteY915" fmla="*/ 41647 h 534643"/>
                <a:gd name="connsiteX916" fmla="*/ 473681 w 489855"/>
                <a:gd name="connsiteY916" fmla="*/ 36658 h 534643"/>
                <a:gd name="connsiteX917" fmla="*/ 479014 w 489855"/>
                <a:gd name="connsiteY917" fmla="*/ 32108 h 534643"/>
                <a:gd name="connsiteX918" fmla="*/ 479607 w 489855"/>
                <a:gd name="connsiteY918" fmla="*/ 32284 h 534643"/>
                <a:gd name="connsiteX919" fmla="*/ 479608 w 489855"/>
                <a:gd name="connsiteY919" fmla="*/ 33535 h 534643"/>
                <a:gd name="connsiteX920" fmla="*/ 479217 w 489855"/>
                <a:gd name="connsiteY920" fmla="*/ 34933 h 534643"/>
                <a:gd name="connsiteX921" fmla="*/ 476857 w 489855"/>
                <a:gd name="connsiteY921" fmla="*/ 39096 h 534643"/>
                <a:gd name="connsiteX922" fmla="*/ 474229 w 489855"/>
                <a:gd name="connsiteY922" fmla="*/ 44691 h 534643"/>
                <a:gd name="connsiteX923" fmla="*/ 473670 w 489855"/>
                <a:gd name="connsiteY923" fmla="*/ 47522 h 534643"/>
                <a:gd name="connsiteX924" fmla="*/ 474523 w 489855"/>
                <a:gd name="connsiteY924" fmla="*/ 50276 h 534643"/>
                <a:gd name="connsiteX925" fmla="*/ 476169 w 489855"/>
                <a:gd name="connsiteY925" fmla="*/ 52548 h 534643"/>
                <a:gd name="connsiteX926" fmla="*/ 477470 w 489855"/>
                <a:gd name="connsiteY926" fmla="*/ 55654 h 534643"/>
                <a:gd name="connsiteX927" fmla="*/ 478971 w 489855"/>
                <a:gd name="connsiteY927" fmla="*/ 59968 h 534643"/>
                <a:gd name="connsiteX928" fmla="*/ 481079 w 489855"/>
                <a:gd name="connsiteY928" fmla="*/ 60513 h 534643"/>
                <a:gd name="connsiteX929" fmla="*/ 482223 w 489855"/>
                <a:gd name="connsiteY929" fmla="*/ 60580 h 534643"/>
                <a:gd name="connsiteX930" fmla="*/ 484333 w 489855"/>
                <a:gd name="connsiteY930" fmla="*/ 59289 h 534643"/>
                <a:gd name="connsiteX931" fmla="*/ 486330 w 489855"/>
                <a:gd name="connsiteY931" fmla="*/ 57646 h 534643"/>
                <a:gd name="connsiteX932" fmla="*/ 488047 w 489855"/>
                <a:gd name="connsiteY932" fmla="*/ 57446 h 534643"/>
                <a:gd name="connsiteX933" fmla="*/ 489855 w 489855"/>
                <a:gd name="connsiteY933" fmla="*/ 57725 h 534643"/>
                <a:gd name="connsiteX934" fmla="*/ 487479 w 489855"/>
                <a:gd name="connsiteY934" fmla="*/ 58868 h 534643"/>
                <a:gd name="connsiteX935" fmla="*/ 485238 w 489855"/>
                <a:gd name="connsiteY935" fmla="*/ 60269 h 534643"/>
                <a:gd name="connsiteX936" fmla="*/ 483318 w 489855"/>
                <a:gd name="connsiteY936" fmla="*/ 62919 h 534643"/>
                <a:gd name="connsiteX937" fmla="*/ 482603 w 489855"/>
                <a:gd name="connsiteY937" fmla="*/ 63414 h 534643"/>
                <a:gd name="connsiteX938" fmla="*/ 480386 w 489855"/>
                <a:gd name="connsiteY938" fmla="*/ 63251 h 534643"/>
                <a:gd name="connsiteX939" fmla="*/ 479118 w 489855"/>
                <a:gd name="connsiteY939" fmla="*/ 63347 h 534643"/>
                <a:gd name="connsiteX940" fmla="*/ 476522 w 489855"/>
                <a:gd name="connsiteY940" fmla="*/ 64453 h 534643"/>
                <a:gd name="connsiteX941" fmla="*/ 474246 w 489855"/>
                <a:gd name="connsiteY941" fmla="*/ 65704 h 534643"/>
                <a:gd name="connsiteX942" fmla="*/ 472072 w 489855"/>
                <a:gd name="connsiteY942" fmla="*/ 67239 h 534643"/>
                <a:gd name="connsiteX943" fmla="*/ 469696 w 489855"/>
                <a:gd name="connsiteY943" fmla="*/ 68062 h 534643"/>
                <a:gd name="connsiteX944" fmla="*/ 467170 w 489855"/>
                <a:gd name="connsiteY944" fmla="*/ 68256 h 534643"/>
                <a:gd name="connsiteX945" fmla="*/ 463270 w 489855"/>
                <a:gd name="connsiteY945" fmla="*/ 69509 h 534643"/>
                <a:gd name="connsiteX946" fmla="*/ 460737 w 489855"/>
                <a:gd name="connsiteY946" fmla="*/ 69598 h 534643"/>
                <a:gd name="connsiteX947" fmla="*/ 455991 w 489855"/>
                <a:gd name="connsiteY947" fmla="*/ 68504 h 534643"/>
                <a:gd name="connsiteX948" fmla="*/ 453685 w 489855"/>
                <a:gd name="connsiteY948" fmla="*/ 68793 h 534643"/>
                <a:gd name="connsiteX949" fmla="*/ 448645 w 489855"/>
                <a:gd name="connsiteY949" fmla="*/ 71263 h 534643"/>
                <a:gd name="connsiteX950" fmla="*/ 444063 w 489855"/>
                <a:gd name="connsiteY950" fmla="*/ 74828 h 534643"/>
                <a:gd name="connsiteX951" fmla="*/ 440057 w 489855"/>
                <a:gd name="connsiteY951" fmla="*/ 78820 h 534643"/>
                <a:gd name="connsiteX952" fmla="*/ 436708 w 489855"/>
                <a:gd name="connsiteY952" fmla="*/ 83617 h 534643"/>
                <a:gd name="connsiteX953" fmla="*/ 435362 w 489855"/>
                <a:gd name="connsiteY953" fmla="*/ 86114 h 534643"/>
                <a:gd name="connsiteX954" fmla="*/ 434554 w 489855"/>
                <a:gd name="connsiteY954" fmla="*/ 88903 h 534643"/>
                <a:gd name="connsiteX955" fmla="*/ 434445 w 489855"/>
                <a:gd name="connsiteY955" fmla="*/ 90747 h 534643"/>
                <a:gd name="connsiteX956" fmla="*/ 434147 w 489855"/>
                <a:gd name="connsiteY956" fmla="*/ 92520 h 534643"/>
                <a:gd name="connsiteX957" fmla="*/ 433374 w 489855"/>
                <a:gd name="connsiteY957" fmla="*/ 93755 h 534643"/>
                <a:gd name="connsiteX958" fmla="*/ 432441 w 489855"/>
                <a:gd name="connsiteY958" fmla="*/ 94754 h 534643"/>
                <a:gd name="connsiteX959" fmla="*/ 429681 w 489855"/>
                <a:gd name="connsiteY959" fmla="*/ 94169 h 534643"/>
                <a:gd name="connsiteX960" fmla="*/ 425140 w 489855"/>
                <a:gd name="connsiteY960" fmla="*/ 91616 h 534643"/>
                <a:gd name="connsiteX961" fmla="*/ 416336 w 489855"/>
                <a:gd name="connsiteY961" fmla="*/ 87903 h 534643"/>
                <a:gd name="connsiteX962" fmla="*/ 407042 w 489855"/>
                <a:gd name="connsiteY962" fmla="*/ 82208 h 534643"/>
                <a:gd name="connsiteX963" fmla="*/ 401812 w 489855"/>
                <a:gd name="connsiteY963" fmla="*/ 79345 h 534643"/>
                <a:gd name="connsiteX964" fmla="*/ 391979 w 489855"/>
                <a:gd name="connsiteY964" fmla="*/ 80203 h 534643"/>
                <a:gd name="connsiteX965" fmla="*/ 382680 w 489855"/>
                <a:gd name="connsiteY965" fmla="*/ 85662 h 534643"/>
                <a:gd name="connsiteX966" fmla="*/ 381847 w 489855"/>
                <a:gd name="connsiteY966" fmla="*/ 85198 h 534643"/>
                <a:gd name="connsiteX967" fmla="*/ 378290 w 489855"/>
                <a:gd name="connsiteY967" fmla="*/ 81455 h 534643"/>
                <a:gd name="connsiteX968" fmla="*/ 376569 w 489855"/>
                <a:gd name="connsiteY968" fmla="*/ 79971 h 534643"/>
                <a:gd name="connsiteX969" fmla="*/ 374513 w 489855"/>
                <a:gd name="connsiteY969" fmla="*/ 79551 h 534643"/>
                <a:gd name="connsiteX970" fmla="*/ 372984 w 489855"/>
                <a:gd name="connsiteY970" fmla="*/ 79599 h 534643"/>
                <a:gd name="connsiteX971" fmla="*/ 371498 w 489855"/>
                <a:gd name="connsiteY971" fmla="*/ 79871 h 534643"/>
                <a:gd name="connsiteX972" fmla="*/ 369398 w 489855"/>
                <a:gd name="connsiteY972" fmla="*/ 81797 h 534643"/>
                <a:gd name="connsiteX973" fmla="*/ 368627 w 489855"/>
                <a:gd name="connsiteY973" fmla="*/ 83185 h 534643"/>
                <a:gd name="connsiteX974" fmla="*/ 368028 w 489855"/>
                <a:gd name="connsiteY974" fmla="*/ 84758 h 534643"/>
                <a:gd name="connsiteX975" fmla="*/ 367844 w 489855"/>
                <a:gd name="connsiteY975" fmla="*/ 85871 h 534643"/>
                <a:gd name="connsiteX976" fmla="*/ 368098 w 489855"/>
                <a:gd name="connsiteY976" fmla="*/ 86961 h 534643"/>
                <a:gd name="connsiteX977" fmla="*/ 370086 w 489855"/>
                <a:gd name="connsiteY977" fmla="*/ 89425 h 534643"/>
                <a:gd name="connsiteX978" fmla="*/ 372540 w 489855"/>
                <a:gd name="connsiteY978" fmla="*/ 91259 h 534643"/>
                <a:gd name="connsiteX979" fmla="*/ 373650 w 489855"/>
                <a:gd name="connsiteY979" fmla="*/ 91607 h 534643"/>
                <a:gd name="connsiteX980" fmla="*/ 376005 w 489855"/>
                <a:gd name="connsiteY980" fmla="*/ 91479 h 534643"/>
                <a:gd name="connsiteX981" fmla="*/ 377100 w 489855"/>
                <a:gd name="connsiteY981" fmla="*/ 91669 h 534643"/>
                <a:gd name="connsiteX982" fmla="*/ 381048 w 489855"/>
                <a:gd name="connsiteY982" fmla="*/ 95349 h 534643"/>
                <a:gd name="connsiteX983" fmla="*/ 385368 w 489855"/>
                <a:gd name="connsiteY983" fmla="*/ 98790 h 534643"/>
                <a:gd name="connsiteX984" fmla="*/ 386325 w 489855"/>
                <a:gd name="connsiteY984" fmla="*/ 99929 h 534643"/>
                <a:gd name="connsiteX985" fmla="*/ 384727 w 489855"/>
                <a:gd name="connsiteY985" fmla="*/ 101129 h 534643"/>
                <a:gd name="connsiteX986" fmla="*/ 382976 w 489855"/>
                <a:gd name="connsiteY986" fmla="*/ 101722 h 534643"/>
                <a:gd name="connsiteX987" fmla="*/ 380941 w 489855"/>
                <a:gd name="connsiteY987" fmla="*/ 101567 h 534643"/>
                <a:gd name="connsiteX988" fmla="*/ 378927 w 489855"/>
                <a:gd name="connsiteY988" fmla="*/ 101113 h 534643"/>
                <a:gd name="connsiteX989" fmla="*/ 375466 w 489855"/>
                <a:gd name="connsiteY989" fmla="*/ 99651 h 534643"/>
                <a:gd name="connsiteX990" fmla="*/ 373986 w 489855"/>
                <a:gd name="connsiteY990" fmla="*/ 100897 h 534643"/>
                <a:gd name="connsiteX991" fmla="*/ 371691 w 489855"/>
                <a:gd name="connsiteY991" fmla="*/ 103449 h 534643"/>
                <a:gd name="connsiteX992" fmla="*/ 370419 w 489855"/>
                <a:gd name="connsiteY992" fmla="*/ 106221 h 534643"/>
                <a:gd name="connsiteX993" fmla="*/ 369387 w 489855"/>
                <a:gd name="connsiteY993" fmla="*/ 107493 h 534643"/>
                <a:gd name="connsiteX994" fmla="*/ 366847 w 489855"/>
                <a:gd name="connsiteY994" fmla="*/ 109165 h 534643"/>
                <a:gd name="connsiteX995" fmla="*/ 364161 w 489855"/>
                <a:gd name="connsiteY995" fmla="*/ 110030 h 534643"/>
                <a:gd name="connsiteX996" fmla="*/ 362757 w 489855"/>
                <a:gd name="connsiteY996" fmla="*/ 109744 h 534643"/>
                <a:gd name="connsiteX997" fmla="*/ 361684 w 489855"/>
                <a:gd name="connsiteY997" fmla="*/ 108696 h 534643"/>
                <a:gd name="connsiteX998" fmla="*/ 361077 w 489855"/>
                <a:gd name="connsiteY998" fmla="*/ 107439 h 534643"/>
                <a:gd name="connsiteX999" fmla="*/ 360771 w 489855"/>
                <a:gd name="connsiteY999" fmla="*/ 105983 h 534643"/>
                <a:gd name="connsiteX1000" fmla="*/ 361345 w 489855"/>
                <a:gd name="connsiteY1000" fmla="*/ 102825 h 534643"/>
                <a:gd name="connsiteX1001" fmla="*/ 362736 w 489855"/>
                <a:gd name="connsiteY1001" fmla="*/ 99979 h 534643"/>
                <a:gd name="connsiteX1002" fmla="*/ 363271 w 489855"/>
                <a:gd name="connsiteY1002" fmla="*/ 97070 h 534643"/>
                <a:gd name="connsiteX1003" fmla="*/ 362132 w 489855"/>
                <a:gd name="connsiteY1003" fmla="*/ 92971 h 534643"/>
                <a:gd name="connsiteX1004" fmla="*/ 361408 w 489855"/>
                <a:gd name="connsiteY1004" fmla="*/ 92115 h 534643"/>
                <a:gd name="connsiteX1005" fmla="*/ 358555 w 489855"/>
                <a:gd name="connsiteY1005" fmla="*/ 89710 h 534643"/>
                <a:gd name="connsiteX1006" fmla="*/ 357236 w 489855"/>
                <a:gd name="connsiteY1006" fmla="*/ 87367 h 534643"/>
                <a:gd name="connsiteX1007" fmla="*/ 356914 w 489855"/>
                <a:gd name="connsiteY1007" fmla="*/ 84451 h 534643"/>
                <a:gd name="connsiteX1008" fmla="*/ 357083 w 489855"/>
                <a:gd name="connsiteY1008" fmla="*/ 82837 h 534643"/>
                <a:gd name="connsiteX1009" fmla="*/ 357782 w 489855"/>
                <a:gd name="connsiteY1009" fmla="*/ 79274 h 534643"/>
                <a:gd name="connsiteX1010" fmla="*/ 358467 w 489855"/>
                <a:gd name="connsiteY1010" fmla="*/ 77472 h 534643"/>
                <a:gd name="connsiteX1011" fmla="*/ 359782 w 489855"/>
                <a:gd name="connsiteY1011" fmla="*/ 76878 h 534643"/>
                <a:gd name="connsiteX1012" fmla="*/ 361207 w 489855"/>
                <a:gd name="connsiteY1012" fmla="*/ 76522 h 534643"/>
                <a:gd name="connsiteX1013" fmla="*/ 363410 w 489855"/>
                <a:gd name="connsiteY1013" fmla="*/ 75234 h 534643"/>
                <a:gd name="connsiteX1014" fmla="*/ 365831 w 489855"/>
                <a:gd name="connsiteY1014" fmla="*/ 73562 h 534643"/>
                <a:gd name="connsiteX1015" fmla="*/ 368141 w 489855"/>
                <a:gd name="connsiteY1015" fmla="*/ 71653 h 534643"/>
                <a:gd name="connsiteX1016" fmla="*/ 370432 w 489855"/>
                <a:gd name="connsiteY1016" fmla="*/ 69317 h 534643"/>
                <a:gd name="connsiteX1017" fmla="*/ 371630 w 489855"/>
                <a:gd name="connsiteY1017" fmla="*/ 66749 h 534643"/>
                <a:gd name="connsiteX1018" fmla="*/ 369663 w 489855"/>
                <a:gd name="connsiteY1018" fmla="*/ 63599 h 534643"/>
                <a:gd name="connsiteX1019" fmla="*/ 369261 w 489855"/>
                <a:gd name="connsiteY1019" fmla="*/ 61726 h 534643"/>
                <a:gd name="connsiteX1020" fmla="*/ 369551 w 489855"/>
                <a:gd name="connsiteY1020" fmla="*/ 59952 h 534643"/>
                <a:gd name="connsiteX1021" fmla="*/ 371641 w 489855"/>
                <a:gd name="connsiteY1021" fmla="*/ 59009 h 534643"/>
                <a:gd name="connsiteX1022" fmla="*/ 373801 w 489855"/>
                <a:gd name="connsiteY1022" fmla="*/ 59721 h 534643"/>
                <a:gd name="connsiteX1023" fmla="*/ 378137 w 489855"/>
                <a:gd name="connsiteY1023" fmla="*/ 62319 h 534643"/>
                <a:gd name="connsiteX1024" fmla="*/ 378987 w 489855"/>
                <a:gd name="connsiteY1024" fmla="*/ 62575 h 534643"/>
                <a:gd name="connsiteX1025" fmla="*/ 381965 w 489855"/>
                <a:gd name="connsiteY1025" fmla="*/ 62696 h 534643"/>
                <a:gd name="connsiteX1026" fmla="*/ 386042 w 489855"/>
                <a:gd name="connsiteY1026" fmla="*/ 63261 h 534643"/>
                <a:gd name="connsiteX1027" fmla="*/ 388404 w 489855"/>
                <a:gd name="connsiteY1027" fmla="*/ 63123 h 534643"/>
                <a:gd name="connsiteX1028" fmla="*/ 389538 w 489855"/>
                <a:gd name="connsiteY1028" fmla="*/ 62731 h 534643"/>
                <a:gd name="connsiteX1029" fmla="*/ 391259 w 489855"/>
                <a:gd name="connsiteY1029" fmla="*/ 60583 h 534643"/>
                <a:gd name="connsiteX1030" fmla="*/ 392103 w 489855"/>
                <a:gd name="connsiteY1030" fmla="*/ 57844 h 534643"/>
                <a:gd name="connsiteX1031" fmla="*/ 391795 w 489855"/>
                <a:gd name="connsiteY1031" fmla="*/ 54319 h 534643"/>
                <a:gd name="connsiteX1032" fmla="*/ 391779 w 489855"/>
                <a:gd name="connsiteY1032" fmla="*/ 50812 h 534643"/>
                <a:gd name="connsiteX1033" fmla="*/ 392866 w 489855"/>
                <a:gd name="connsiteY1033" fmla="*/ 47952 h 534643"/>
                <a:gd name="connsiteX1034" fmla="*/ 396269 w 489855"/>
                <a:gd name="connsiteY1034" fmla="*/ 43349 h 534643"/>
                <a:gd name="connsiteX1035" fmla="*/ 397243 w 489855"/>
                <a:gd name="connsiteY1035" fmla="*/ 40632 h 534643"/>
                <a:gd name="connsiteX1036" fmla="*/ 397599 w 489855"/>
                <a:gd name="connsiteY1036" fmla="*/ 34015 h 534643"/>
                <a:gd name="connsiteX1037" fmla="*/ 398826 w 489855"/>
                <a:gd name="connsiteY1037" fmla="*/ 31095 h 534643"/>
                <a:gd name="connsiteX1038" fmla="*/ 399813 w 489855"/>
                <a:gd name="connsiteY1038" fmla="*/ 28070 h 534643"/>
                <a:gd name="connsiteX1039" fmla="*/ 400284 w 489855"/>
                <a:gd name="connsiteY1039" fmla="*/ 21704 h 534643"/>
                <a:gd name="connsiteX1040" fmla="*/ 398886 w 489855"/>
                <a:gd name="connsiteY1040" fmla="*/ 15573 h 534643"/>
                <a:gd name="connsiteX1041" fmla="*/ 397487 w 489855"/>
                <a:gd name="connsiteY1041" fmla="*/ 12563 h 534643"/>
                <a:gd name="connsiteX1042" fmla="*/ 395878 w 489855"/>
                <a:gd name="connsiteY1042" fmla="*/ 9697 h 534643"/>
                <a:gd name="connsiteX1043" fmla="*/ 396116 w 489855"/>
                <a:gd name="connsiteY1043" fmla="*/ 6958 h 534643"/>
                <a:gd name="connsiteX1044" fmla="*/ 397416 w 489855"/>
                <a:gd name="connsiteY1044" fmla="*/ 4417 h 534643"/>
                <a:gd name="connsiteX1045" fmla="*/ 397448 w 489855"/>
                <a:gd name="connsiteY1045" fmla="*/ 3651 h 534643"/>
                <a:gd name="connsiteX1046" fmla="*/ 397757 w 489855"/>
                <a:gd name="connsiteY1046" fmla="*/ 2973 h 534643"/>
                <a:gd name="connsiteX1047" fmla="*/ 400192 w 489855"/>
                <a:gd name="connsiteY1047" fmla="*/ 2489 h 534643"/>
                <a:gd name="connsiteX1048" fmla="*/ 401328 w 489855"/>
                <a:gd name="connsiteY1048" fmla="*/ 1944 h 534643"/>
                <a:gd name="connsiteX1049" fmla="*/ 402417 w 489855"/>
                <a:gd name="connsiteY1049" fmla="*/ 721 h 534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</a:cxnLst>
              <a:rect l="l" t="t" r="r" b="b"/>
              <a:pathLst>
                <a:path w="489855" h="534643">
                  <a:moveTo>
                    <a:pt x="2028" y="531163"/>
                  </a:moveTo>
                  <a:lnTo>
                    <a:pt x="5640" y="532393"/>
                  </a:lnTo>
                  <a:lnTo>
                    <a:pt x="5491" y="533293"/>
                  </a:lnTo>
                  <a:lnTo>
                    <a:pt x="4619" y="534314"/>
                  </a:lnTo>
                  <a:lnTo>
                    <a:pt x="3224" y="534643"/>
                  </a:lnTo>
                  <a:lnTo>
                    <a:pt x="1548" y="534239"/>
                  </a:lnTo>
                  <a:lnTo>
                    <a:pt x="20" y="534128"/>
                  </a:lnTo>
                  <a:lnTo>
                    <a:pt x="0" y="533431"/>
                  </a:lnTo>
                  <a:lnTo>
                    <a:pt x="1605" y="532710"/>
                  </a:lnTo>
                  <a:lnTo>
                    <a:pt x="1635" y="531706"/>
                  </a:lnTo>
                  <a:close/>
                  <a:moveTo>
                    <a:pt x="13758" y="527110"/>
                  </a:moveTo>
                  <a:lnTo>
                    <a:pt x="14245" y="527598"/>
                  </a:lnTo>
                  <a:lnTo>
                    <a:pt x="13564" y="528782"/>
                  </a:lnTo>
                  <a:lnTo>
                    <a:pt x="12261" y="532486"/>
                  </a:lnTo>
                  <a:lnTo>
                    <a:pt x="11186" y="533025"/>
                  </a:lnTo>
                  <a:lnTo>
                    <a:pt x="10082" y="532731"/>
                  </a:lnTo>
                  <a:lnTo>
                    <a:pt x="8955" y="530661"/>
                  </a:lnTo>
                  <a:lnTo>
                    <a:pt x="9743" y="529868"/>
                  </a:lnTo>
                  <a:lnTo>
                    <a:pt x="10845" y="530285"/>
                  </a:lnTo>
                  <a:lnTo>
                    <a:pt x="11736" y="530126"/>
                  </a:lnTo>
                  <a:close/>
                  <a:moveTo>
                    <a:pt x="35464" y="520417"/>
                  </a:moveTo>
                  <a:lnTo>
                    <a:pt x="36157" y="520877"/>
                  </a:lnTo>
                  <a:lnTo>
                    <a:pt x="36591" y="521998"/>
                  </a:lnTo>
                  <a:lnTo>
                    <a:pt x="38079" y="522652"/>
                  </a:lnTo>
                  <a:lnTo>
                    <a:pt x="39013" y="523444"/>
                  </a:lnTo>
                  <a:lnTo>
                    <a:pt x="37140" y="524057"/>
                  </a:lnTo>
                  <a:lnTo>
                    <a:pt x="35140" y="523695"/>
                  </a:lnTo>
                  <a:close/>
                  <a:moveTo>
                    <a:pt x="101165" y="472903"/>
                  </a:moveTo>
                  <a:lnTo>
                    <a:pt x="102862" y="474561"/>
                  </a:lnTo>
                  <a:lnTo>
                    <a:pt x="102405" y="476732"/>
                  </a:lnTo>
                  <a:lnTo>
                    <a:pt x="101251" y="478345"/>
                  </a:lnTo>
                  <a:lnTo>
                    <a:pt x="99122" y="479433"/>
                  </a:lnTo>
                  <a:lnTo>
                    <a:pt x="98336" y="480731"/>
                  </a:lnTo>
                  <a:lnTo>
                    <a:pt x="96367" y="481173"/>
                  </a:lnTo>
                  <a:lnTo>
                    <a:pt x="94452" y="483002"/>
                  </a:lnTo>
                  <a:lnTo>
                    <a:pt x="92590" y="483334"/>
                  </a:lnTo>
                  <a:lnTo>
                    <a:pt x="92638" y="484802"/>
                  </a:lnTo>
                  <a:lnTo>
                    <a:pt x="93424" y="486045"/>
                  </a:lnTo>
                  <a:lnTo>
                    <a:pt x="92185" y="486262"/>
                  </a:lnTo>
                  <a:lnTo>
                    <a:pt x="90888" y="487775"/>
                  </a:lnTo>
                  <a:lnTo>
                    <a:pt x="90787" y="488874"/>
                  </a:lnTo>
                  <a:lnTo>
                    <a:pt x="91249" y="489760"/>
                  </a:lnTo>
                  <a:lnTo>
                    <a:pt x="91187" y="490203"/>
                  </a:lnTo>
                  <a:lnTo>
                    <a:pt x="89545" y="491514"/>
                  </a:lnTo>
                  <a:lnTo>
                    <a:pt x="87859" y="491571"/>
                  </a:lnTo>
                  <a:lnTo>
                    <a:pt x="87783" y="490157"/>
                  </a:lnTo>
                  <a:lnTo>
                    <a:pt x="87898" y="489099"/>
                  </a:lnTo>
                  <a:lnTo>
                    <a:pt x="89494" y="486524"/>
                  </a:lnTo>
                  <a:lnTo>
                    <a:pt x="89535" y="483537"/>
                  </a:lnTo>
                  <a:lnTo>
                    <a:pt x="91016" y="483191"/>
                  </a:lnTo>
                  <a:lnTo>
                    <a:pt x="91558" y="482775"/>
                  </a:lnTo>
                  <a:lnTo>
                    <a:pt x="93892" y="480648"/>
                  </a:lnTo>
                  <a:lnTo>
                    <a:pt x="94324" y="479742"/>
                  </a:lnTo>
                  <a:lnTo>
                    <a:pt x="93115" y="478861"/>
                  </a:lnTo>
                  <a:lnTo>
                    <a:pt x="93204" y="477819"/>
                  </a:lnTo>
                  <a:lnTo>
                    <a:pt x="93477" y="477376"/>
                  </a:lnTo>
                  <a:lnTo>
                    <a:pt x="95404" y="477712"/>
                  </a:lnTo>
                  <a:lnTo>
                    <a:pt x="96186" y="478485"/>
                  </a:lnTo>
                  <a:lnTo>
                    <a:pt x="96563" y="478570"/>
                  </a:lnTo>
                  <a:lnTo>
                    <a:pt x="97689" y="477989"/>
                  </a:lnTo>
                  <a:lnTo>
                    <a:pt x="98217" y="476953"/>
                  </a:lnTo>
                  <a:lnTo>
                    <a:pt x="100317" y="474923"/>
                  </a:lnTo>
                  <a:close/>
                  <a:moveTo>
                    <a:pt x="116572" y="448392"/>
                  </a:moveTo>
                  <a:lnTo>
                    <a:pt x="117415" y="450761"/>
                  </a:lnTo>
                  <a:lnTo>
                    <a:pt x="118004" y="451739"/>
                  </a:lnTo>
                  <a:lnTo>
                    <a:pt x="117600" y="452918"/>
                  </a:lnTo>
                  <a:lnTo>
                    <a:pt x="116674" y="453356"/>
                  </a:lnTo>
                  <a:lnTo>
                    <a:pt x="115430" y="452752"/>
                  </a:lnTo>
                  <a:lnTo>
                    <a:pt x="115050" y="450013"/>
                  </a:lnTo>
                  <a:lnTo>
                    <a:pt x="115599" y="448685"/>
                  </a:lnTo>
                  <a:close/>
                  <a:moveTo>
                    <a:pt x="121897" y="441640"/>
                  </a:moveTo>
                  <a:lnTo>
                    <a:pt x="123333" y="442031"/>
                  </a:lnTo>
                  <a:lnTo>
                    <a:pt x="123774" y="442784"/>
                  </a:lnTo>
                  <a:lnTo>
                    <a:pt x="124806" y="443736"/>
                  </a:lnTo>
                  <a:lnTo>
                    <a:pt x="124951" y="444294"/>
                  </a:lnTo>
                  <a:lnTo>
                    <a:pt x="122780" y="443827"/>
                  </a:lnTo>
                  <a:close/>
                  <a:moveTo>
                    <a:pt x="132888" y="433851"/>
                  </a:moveTo>
                  <a:lnTo>
                    <a:pt x="133444" y="434999"/>
                  </a:lnTo>
                  <a:lnTo>
                    <a:pt x="133351" y="435898"/>
                  </a:lnTo>
                  <a:lnTo>
                    <a:pt x="131830" y="436398"/>
                  </a:lnTo>
                  <a:lnTo>
                    <a:pt x="130347" y="437599"/>
                  </a:lnTo>
                  <a:lnTo>
                    <a:pt x="128978" y="439096"/>
                  </a:lnTo>
                  <a:lnTo>
                    <a:pt x="127741" y="439728"/>
                  </a:lnTo>
                  <a:lnTo>
                    <a:pt x="127350" y="440148"/>
                  </a:lnTo>
                  <a:lnTo>
                    <a:pt x="127648" y="441245"/>
                  </a:lnTo>
                  <a:lnTo>
                    <a:pt x="125743" y="443190"/>
                  </a:lnTo>
                  <a:lnTo>
                    <a:pt x="123720" y="441439"/>
                  </a:lnTo>
                  <a:lnTo>
                    <a:pt x="121282" y="440269"/>
                  </a:lnTo>
                  <a:lnTo>
                    <a:pt x="122442" y="439953"/>
                  </a:lnTo>
                  <a:lnTo>
                    <a:pt x="123121" y="439484"/>
                  </a:lnTo>
                  <a:lnTo>
                    <a:pt x="123189" y="438740"/>
                  </a:lnTo>
                  <a:lnTo>
                    <a:pt x="124772" y="437636"/>
                  </a:lnTo>
                  <a:lnTo>
                    <a:pt x="127913" y="436782"/>
                  </a:lnTo>
                  <a:lnTo>
                    <a:pt x="128911" y="436728"/>
                  </a:lnTo>
                  <a:lnTo>
                    <a:pt x="130036" y="435924"/>
                  </a:lnTo>
                  <a:lnTo>
                    <a:pt x="130403" y="435199"/>
                  </a:lnTo>
                  <a:lnTo>
                    <a:pt x="130866" y="434849"/>
                  </a:lnTo>
                  <a:close/>
                  <a:moveTo>
                    <a:pt x="150747" y="386845"/>
                  </a:moveTo>
                  <a:lnTo>
                    <a:pt x="153984" y="388703"/>
                  </a:lnTo>
                  <a:lnTo>
                    <a:pt x="154640" y="389239"/>
                  </a:lnTo>
                  <a:lnTo>
                    <a:pt x="153523" y="391759"/>
                  </a:lnTo>
                  <a:lnTo>
                    <a:pt x="150991" y="392282"/>
                  </a:lnTo>
                  <a:lnTo>
                    <a:pt x="149607" y="391717"/>
                  </a:lnTo>
                  <a:lnTo>
                    <a:pt x="148335" y="388722"/>
                  </a:lnTo>
                  <a:close/>
                  <a:moveTo>
                    <a:pt x="163200" y="378024"/>
                  </a:moveTo>
                  <a:lnTo>
                    <a:pt x="163693" y="378939"/>
                  </a:lnTo>
                  <a:lnTo>
                    <a:pt x="163135" y="382547"/>
                  </a:lnTo>
                  <a:lnTo>
                    <a:pt x="161701" y="385280"/>
                  </a:lnTo>
                  <a:lnTo>
                    <a:pt x="160976" y="388510"/>
                  </a:lnTo>
                  <a:lnTo>
                    <a:pt x="159039" y="388767"/>
                  </a:lnTo>
                  <a:lnTo>
                    <a:pt x="158998" y="387362"/>
                  </a:lnTo>
                  <a:lnTo>
                    <a:pt x="160538" y="384184"/>
                  </a:lnTo>
                  <a:lnTo>
                    <a:pt x="160701" y="381849"/>
                  </a:lnTo>
                  <a:lnTo>
                    <a:pt x="162135" y="378904"/>
                  </a:lnTo>
                  <a:lnTo>
                    <a:pt x="162746" y="378257"/>
                  </a:lnTo>
                  <a:close/>
                  <a:moveTo>
                    <a:pt x="135050" y="354626"/>
                  </a:moveTo>
                  <a:lnTo>
                    <a:pt x="135190" y="355718"/>
                  </a:lnTo>
                  <a:lnTo>
                    <a:pt x="133517" y="357807"/>
                  </a:lnTo>
                  <a:lnTo>
                    <a:pt x="132828" y="358235"/>
                  </a:lnTo>
                  <a:lnTo>
                    <a:pt x="133271" y="356311"/>
                  </a:lnTo>
                  <a:close/>
                  <a:moveTo>
                    <a:pt x="147834" y="336460"/>
                  </a:moveTo>
                  <a:lnTo>
                    <a:pt x="149956" y="336743"/>
                  </a:lnTo>
                  <a:lnTo>
                    <a:pt x="149008" y="338170"/>
                  </a:lnTo>
                  <a:lnTo>
                    <a:pt x="148180" y="339006"/>
                  </a:lnTo>
                  <a:lnTo>
                    <a:pt x="146222" y="339114"/>
                  </a:lnTo>
                  <a:lnTo>
                    <a:pt x="145415" y="338826"/>
                  </a:lnTo>
                  <a:lnTo>
                    <a:pt x="145098" y="338045"/>
                  </a:lnTo>
                  <a:close/>
                  <a:moveTo>
                    <a:pt x="143463" y="336116"/>
                  </a:moveTo>
                  <a:lnTo>
                    <a:pt x="144102" y="337336"/>
                  </a:lnTo>
                  <a:lnTo>
                    <a:pt x="144165" y="341050"/>
                  </a:lnTo>
                  <a:lnTo>
                    <a:pt x="141578" y="343774"/>
                  </a:lnTo>
                  <a:lnTo>
                    <a:pt x="139831" y="344650"/>
                  </a:lnTo>
                  <a:lnTo>
                    <a:pt x="139606" y="343811"/>
                  </a:lnTo>
                  <a:lnTo>
                    <a:pt x="138872" y="343429"/>
                  </a:lnTo>
                  <a:lnTo>
                    <a:pt x="140136" y="342247"/>
                  </a:lnTo>
                  <a:lnTo>
                    <a:pt x="140092" y="341711"/>
                  </a:lnTo>
                  <a:lnTo>
                    <a:pt x="139296" y="340912"/>
                  </a:lnTo>
                  <a:lnTo>
                    <a:pt x="140224" y="337896"/>
                  </a:lnTo>
                  <a:lnTo>
                    <a:pt x="139969" y="336598"/>
                  </a:lnTo>
                  <a:close/>
                  <a:moveTo>
                    <a:pt x="110241" y="330139"/>
                  </a:moveTo>
                  <a:lnTo>
                    <a:pt x="111098" y="330804"/>
                  </a:lnTo>
                  <a:lnTo>
                    <a:pt x="112357" y="330423"/>
                  </a:lnTo>
                  <a:lnTo>
                    <a:pt x="113353" y="330334"/>
                  </a:lnTo>
                  <a:lnTo>
                    <a:pt x="114072" y="330656"/>
                  </a:lnTo>
                  <a:lnTo>
                    <a:pt x="114975" y="332371"/>
                  </a:lnTo>
                  <a:lnTo>
                    <a:pt x="115309" y="333385"/>
                  </a:lnTo>
                  <a:lnTo>
                    <a:pt x="113689" y="333528"/>
                  </a:lnTo>
                  <a:lnTo>
                    <a:pt x="113007" y="333764"/>
                  </a:lnTo>
                  <a:lnTo>
                    <a:pt x="112124" y="335010"/>
                  </a:lnTo>
                  <a:lnTo>
                    <a:pt x="110852" y="334552"/>
                  </a:lnTo>
                  <a:lnTo>
                    <a:pt x="110064" y="333969"/>
                  </a:lnTo>
                  <a:lnTo>
                    <a:pt x="109883" y="333142"/>
                  </a:lnTo>
                  <a:close/>
                  <a:moveTo>
                    <a:pt x="120068" y="321533"/>
                  </a:moveTo>
                  <a:lnTo>
                    <a:pt x="120375" y="323136"/>
                  </a:lnTo>
                  <a:lnTo>
                    <a:pt x="121018" y="324726"/>
                  </a:lnTo>
                  <a:lnTo>
                    <a:pt x="121664" y="324978"/>
                  </a:lnTo>
                  <a:lnTo>
                    <a:pt x="121036" y="326136"/>
                  </a:lnTo>
                  <a:lnTo>
                    <a:pt x="120109" y="326564"/>
                  </a:lnTo>
                  <a:lnTo>
                    <a:pt x="119343" y="328748"/>
                  </a:lnTo>
                  <a:lnTo>
                    <a:pt x="118790" y="329014"/>
                  </a:lnTo>
                  <a:lnTo>
                    <a:pt x="118075" y="326791"/>
                  </a:lnTo>
                  <a:lnTo>
                    <a:pt x="117581" y="325996"/>
                  </a:lnTo>
                  <a:lnTo>
                    <a:pt x="118415" y="325571"/>
                  </a:lnTo>
                  <a:close/>
                  <a:moveTo>
                    <a:pt x="130243" y="315884"/>
                  </a:moveTo>
                  <a:lnTo>
                    <a:pt x="128877" y="317782"/>
                  </a:lnTo>
                  <a:lnTo>
                    <a:pt x="128516" y="319297"/>
                  </a:lnTo>
                  <a:lnTo>
                    <a:pt x="126959" y="320464"/>
                  </a:lnTo>
                  <a:lnTo>
                    <a:pt x="125832" y="320459"/>
                  </a:lnTo>
                  <a:lnTo>
                    <a:pt x="126861" y="319098"/>
                  </a:lnTo>
                  <a:lnTo>
                    <a:pt x="126998" y="318448"/>
                  </a:lnTo>
                  <a:lnTo>
                    <a:pt x="127855" y="316621"/>
                  </a:lnTo>
                  <a:lnTo>
                    <a:pt x="129537" y="315965"/>
                  </a:lnTo>
                  <a:close/>
                  <a:moveTo>
                    <a:pt x="133502" y="303553"/>
                  </a:moveTo>
                  <a:lnTo>
                    <a:pt x="134808" y="304278"/>
                  </a:lnTo>
                  <a:lnTo>
                    <a:pt x="135236" y="306273"/>
                  </a:lnTo>
                  <a:lnTo>
                    <a:pt x="133707" y="307303"/>
                  </a:lnTo>
                  <a:lnTo>
                    <a:pt x="132563" y="306500"/>
                  </a:lnTo>
                  <a:lnTo>
                    <a:pt x="133119" y="304285"/>
                  </a:lnTo>
                  <a:close/>
                  <a:moveTo>
                    <a:pt x="155578" y="301829"/>
                  </a:moveTo>
                  <a:lnTo>
                    <a:pt x="158320" y="302078"/>
                  </a:lnTo>
                  <a:lnTo>
                    <a:pt x="160829" y="303214"/>
                  </a:lnTo>
                  <a:lnTo>
                    <a:pt x="162066" y="305603"/>
                  </a:lnTo>
                  <a:lnTo>
                    <a:pt x="163150" y="308158"/>
                  </a:lnTo>
                  <a:lnTo>
                    <a:pt x="165727" y="309900"/>
                  </a:lnTo>
                  <a:lnTo>
                    <a:pt x="168702" y="310640"/>
                  </a:lnTo>
                  <a:lnTo>
                    <a:pt x="169959" y="310686"/>
                  </a:lnTo>
                  <a:lnTo>
                    <a:pt x="171125" y="310351"/>
                  </a:lnTo>
                  <a:lnTo>
                    <a:pt x="172896" y="309380"/>
                  </a:lnTo>
                  <a:lnTo>
                    <a:pt x="174757" y="308666"/>
                  </a:lnTo>
                  <a:lnTo>
                    <a:pt x="176085" y="309028"/>
                  </a:lnTo>
                  <a:lnTo>
                    <a:pt x="177262" y="309895"/>
                  </a:lnTo>
                  <a:lnTo>
                    <a:pt x="177879" y="311110"/>
                  </a:lnTo>
                  <a:lnTo>
                    <a:pt x="177579" y="312385"/>
                  </a:lnTo>
                  <a:lnTo>
                    <a:pt x="175476" y="315121"/>
                  </a:lnTo>
                  <a:lnTo>
                    <a:pt x="173749" y="318035"/>
                  </a:lnTo>
                  <a:lnTo>
                    <a:pt x="177722" y="318578"/>
                  </a:lnTo>
                  <a:lnTo>
                    <a:pt x="181691" y="318517"/>
                  </a:lnTo>
                  <a:lnTo>
                    <a:pt x="180764" y="320321"/>
                  </a:lnTo>
                  <a:lnTo>
                    <a:pt x="180613" y="321892"/>
                  </a:lnTo>
                  <a:lnTo>
                    <a:pt x="181827" y="322639"/>
                  </a:lnTo>
                  <a:lnTo>
                    <a:pt x="182857" y="323645"/>
                  </a:lnTo>
                  <a:lnTo>
                    <a:pt x="182589" y="324557"/>
                  </a:lnTo>
                  <a:lnTo>
                    <a:pt x="181998" y="325457"/>
                  </a:lnTo>
                  <a:lnTo>
                    <a:pt x="184167" y="326806"/>
                  </a:lnTo>
                  <a:lnTo>
                    <a:pt x="184025" y="327710"/>
                  </a:lnTo>
                  <a:lnTo>
                    <a:pt x="183461" y="328658"/>
                  </a:lnTo>
                  <a:lnTo>
                    <a:pt x="178054" y="334845"/>
                  </a:lnTo>
                  <a:lnTo>
                    <a:pt x="176467" y="337975"/>
                  </a:lnTo>
                  <a:lnTo>
                    <a:pt x="175362" y="341421"/>
                  </a:lnTo>
                  <a:lnTo>
                    <a:pt x="174351" y="343937"/>
                  </a:lnTo>
                  <a:lnTo>
                    <a:pt x="173611" y="346546"/>
                  </a:lnTo>
                  <a:lnTo>
                    <a:pt x="173047" y="349362"/>
                  </a:lnTo>
                  <a:lnTo>
                    <a:pt x="172042" y="352265"/>
                  </a:lnTo>
                  <a:lnTo>
                    <a:pt x="172375" y="354839"/>
                  </a:lnTo>
                  <a:lnTo>
                    <a:pt x="172036" y="357473"/>
                  </a:lnTo>
                  <a:lnTo>
                    <a:pt x="169322" y="363978"/>
                  </a:lnTo>
                  <a:lnTo>
                    <a:pt x="167387" y="363857"/>
                  </a:lnTo>
                  <a:lnTo>
                    <a:pt x="164955" y="363070"/>
                  </a:lnTo>
                  <a:lnTo>
                    <a:pt x="163431" y="363192"/>
                  </a:lnTo>
                  <a:lnTo>
                    <a:pt x="162643" y="364637"/>
                  </a:lnTo>
                  <a:lnTo>
                    <a:pt x="164042" y="367603"/>
                  </a:lnTo>
                  <a:lnTo>
                    <a:pt x="159704" y="371118"/>
                  </a:lnTo>
                  <a:lnTo>
                    <a:pt x="154916" y="373479"/>
                  </a:lnTo>
                  <a:lnTo>
                    <a:pt x="154881" y="372404"/>
                  </a:lnTo>
                  <a:lnTo>
                    <a:pt x="155331" y="371555"/>
                  </a:lnTo>
                  <a:lnTo>
                    <a:pt x="156022" y="370873"/>
                  </a:lnTo>
                  <a:lnTo>
                    <a:pt x="156523" y="370051"/>
                  </a:lnTo>
                  <a:lnTo>
                    <a:pt x="157216" y="367288"/>
                  </a:lnTo>
                  <a:lnTo>
                    <a:pt x="156873" y="364502"/>
                  </a:lnTo>
                  <a:lnTo>
                    <a:pt x="155430" y="361012"/>
                  </a:lnTo>
                  <a:lnTo>
                    <a:pt x="155325" y="359756"/>
                  </a:lnTo>
                  <a:lnTo>
                    <a:pt x="156325" y="359248"/>
                  </a:lnTo>
                  <a:lnTo>
                    <a:pt x="156996" y="359104"/>
                  </a:lnTo>
                  <a:lnTo>
                    <a:pt x="157361" y="358616"/>
                  </a:lnTo>
                  <a:lnTo>
                    <a:pt x="157374" y="357461"/>
                  </a:lnTo>
                  <a:lnTo>
                    <a:pt x="156919" y="356604"/>
                  </a:lnTo>
                  <a:lnTo>
                    <a:pt x="155554" y="356326"/>
                  </a:lnTo>
                  <a:lnTo>
                    <a:pt x="154238" y="356308"/>
                  </a:lnTo>
                  <a:lnTo>
                    <a:pt x="153319" y="357604"/>
                  </a:lnTo>
                  <a:lnTo>
                    <a:pt x="152049" y="360107"/>
                  </a:lnTo>
                  <a:lnTo>
                    <a:pt x="151431" y="362635"/>
                  </a:lnTo>
                  <a:lnTo>
                    <a:pt x="151703" y="364017"/>
                  </a:lnTo>
                  <a:lnTo>
                    <a:pt x="152267" y="365255"/>
                  </a:lnTo>
                  <a:lnTo>
                    <a:pt x="154006" y="367327"/>
                  </a:lnTo>
                  <a:lnTo>
                    <a:pt x="153496" y="368546"/>
                  </a:lnTo>
                  <a:lnTo>
                    <a:pt x="152772" y="369497"/>
                  </a:lnTo>
                  <a:lnTo>
                    <a:pt x="146622" y="367341"/>
                  </a:lnTo>
                  <a:lnTo>
                    <a:pt x="145294" y="367188"/>
                  </a:lnTo>
                  <a:lnTo>
                    <a:pt x="144191" y="366731"/>
                  </a:lnTo>
                  <a:lnTo>
                    <a:pt x="143009" y="363885"/>
                  </a:lnTo>
                  <a:lnTo>
                    <a:pt x="145515" y="363199"/>
                  </a:lnTo>
                  <a:lnTo>
                    <a:pt x="146258" y="362854"/>
                  </a:lnTo>
                  <a:lnTo>
                    <a:pt x="146534" y="361948"/>
                  </a:lnTo>
                  <a:lnTo>
                    <a:pt x="146873" y="359169"/>
                  </a:lnTo>
                  <a:lnTo>
                    <a:pt x="145701" y="356848"/>
                  </a:lnTo>
                  <a:lnTo>
                    <a:pt x="144711" y="356022"/>
                  </a:lnTo>
                  <a:lnTo>
                    <a:pt x="143909" y="355073"/>
                  </a:lnTo>
                  <a:lnTo>
                    <a:pt x="144418" y="353111"/>
                  </a:lnTo>
                  <a:lnTo>
                    <a:pt x="144083" y="350639"/>
                  </a:lnTo>
                  <a:lnTo>
                    <a:pt x="144053" y="347184"/>
                  </a:lnTo>
                  <a:lnTo>
                    <a:pt x="144487" y="346588"/>
                  </a:lnTo>
                  <a:lnTo>
                    <a:pt x="146810" y="345890"/>
                  </a:lnTo>
                  <a:lnTo>
                    <a:pt x="148486" y="344036"/>
                  </a:lnTo>
                  <a:lnTo>
                    <a:pt x="149969" y="341926"/>
                  </a:lnTo>
                  <a:lnTo>
                    <a:pt x="152144" y="338211"/>
                  </a:lnTo>
                  <a:lnTo>
                    <a:pt x="153917" y="334195"/>
                  </a:lnTo>
                  <a:lnTo>
                    <a:pt x="152209" y="334019"/>
                  </a:lnTo>
                  <a:lnTo>
                    <a:pt x="150762" y="333267"/>
                  </a:lnTo>
                  <a:lnTo>
                    <a:pt x="152344" y="331365"/>
                  </a:lnTo>
                  <a:lnTo>
                    <a:pt x="151855" y="328963"/>
                  </a:lnTo>
                  <a:lnTo>
                    <a:pt x="149492" y="326008"/>
                  </a:lnTo>
                  <a:lnTo>
                    <a:pt x="148194" y="322521"/>
                  </a:lnTo>
                  <a:lnTo>
                    <a:pt x="146106" y="320985"/>
                  </a:lnTo>
                  <a:lnTo>
                    <a:pt x="145005" y="320420"/>
                  </a:lnTo>
                  <a:lnTo>
                    <a:pt x="143664" y="321238"/>
                  </a:lnTo>
                  <a:lnTo>
                    <a:pt x="142559" y="322219"/>
                  </a:lnTo>
                  <a:lnTo>
                    <a:pt x="143582" y="324487"/>
                  </a:lnTo>
                  <a:lnTo>
                    <a:pt x="143463" y="326491"/>
                  </a:lnTo>
                  <a:lnTo>
                    <a:pt x="143623" y="328476"/>
                  </a:lnTo>
                  <a:lnTo>
                    <a:pt x="144666" y="328587"/>
                  </a:lnTo>
                  <a:lnTo>
                    <a:pt x="145946" y="328093"/>
                  </a:lnTo>
                  <a:lnTo>
                    <a:pt x="146972" y="328444"/>
                  </a:lnTo>
                  <a:lnTo>
                    <a:pt x="147570" y="329486"/>
                  </a:lnTo>
                  <a:lnTo>
                    <a:pt x="147732" y="330830"/>
                  </a:lnTo>
                  <a:lnTo>
                    <a:pt x="147280" y="332160"/>
                  </a:lnTo>
                  <a:lnTo>
                    <a:pt x="146335" y="332822"/>
                  </a:lnTo>
                  <a:lnTo>
                    <a:pt x="145182" y="332769"/>
                  </a:lnTo>
                  <a:lnTo>
                    <a:pt x="144020" y="332051"/>
                  </a:lnTo>
                  <a:lnTo>
                    <a:pt x="143116" y="331027"/>
                  </a:lnTo>
                  <a:lnTo>
                    <a:pt x="140950" y="330461"/>
                  </a:lnTo>
                  <a:lnTo>
                    <a:pt x="138665" y="331671"/>
                  </a:lnTo>
                  <a:lnTo>
                    <a:pt x="136493" y="334134"/>
                  </a:lnTo>
                  <a:lnTo>
                    <a:pt x="134635" y="335383"/>
                  </a:lnTo>
                  <a:lnTo>
                    <a:pt x="135510" y="333554"/>
                  </a:lnTo>
                  <a:lnTo>
                    <a:pt x="135922" y="331582"/>
                  </a:lnTo>
                  <a:lnTo>
                    <a:pt x="135020" y="330194"/>
                  </a:lnTo>
                  <a:lnTo>
                    <a:pt x="132899" y="327886"/>
                  </a:lnTo>
                  <a:lnTo>
                    <a:pt x="132407" y="326550"/>
                  </a:lnTo>
                  <a:lnTo>
                    <a:pt x="132286" y="324933"/>
                  </a:lnTo>
                  <a:lnTo>
                    <a:pt x="132658" y="323327"/>
                  </a:lnTo>
                  <a:lnTo>
                    <a:pt x="134839" y="325165"/>
                  </a:lnTo>
                  <a:lnTo>
                    <a:pt x="135957" y="327456"/>
                  </a:lnTo>
                  <a:lnTo>
                    <a:pt x="137559" y="328462"/>
                  </a:lnTo>
                  <a:lnTo>
                    <a:pt x="139570" y="328470"/>
                  </a:lnTo>
                  <a:lnTo>
                    <a:pt x="138026" y="325104"/>
                  </a:lnTo>
                  <a:lnTo>
                    <a:pt x="137471" y="324256"/>
                  </a:lnTo>
                  <a:lnTo>
                    <a:pt x="135303" y="322743"/>
                  </a:lnTo>
                  <a:lnTo>
                    <a:pt x="132346" y="320197"/>
                  </a:lnTo>
                  <a:lnTo>
                    <a:pt x="130468" y="318970"/>
                  </a:lnTo>
                  <a:lnTo>
                    <a:pt x="131133" y="316314"/>
                  </a:lnTo>
                  <a:lnTo>
                    <a:pt x="132234" y="315786"/>
                  </a:lnTo>
                  <a:lnTo>
                    <a:pt x="133167" y="315914"/>
                  </a:lnTo>
                  <a:lnTo>
                    <a:pt x="136307" y="316855"/>
                  </a:lnTo>
                  <a:lnTo>
                    <a:pt x="136603" y="315532"/>
                  </a:lnTo>
                  <a:lnTo>
                    <a:pt x="136141" y="314825"/>
                  </a:lnTo>
                  <a:lnTo>
                    <a:pt x="135899" y="314003"/>
                  </a:lnTo>
                  <a:lnTo>
                    <a:pt x="137965" y="312852"/>
                  </a:lnTo>
                  <a:lnTo>
                    <a:pt x="141347" y="311903"/>
                  </a:lnTo>
                  <a:lnTo>
                    <a:pt x="142040" y="311459"/>
                  </a:lnTo>
                  <a:lnTo>
                    <a:pt x="142640" y="310506"/>
                  </a:lnTo>
                  <a:lnTo>
                    <a:pt x="143467" y="310007"/>
                  </a:lnTo>
                  <a:lnTo>
                    <a:pt x="145836" y="310022"/>
                  </a:lnTo>
                  <a:lnTo>
                    <a:pt x="147825" y="309110"/>
                  </a:lnTo>
                  <a:lnTo>
                    <a:pt x="149471" y="306635"/>
                  </a:lnTo>
                  <a:lnTo>
                    <a:pt x="149864" y="305277"/>
                  </a:lnTo>
                  <a:lnTo>
                    <a:pt x="150452" y="304143"/>
                  </a:lnTo>
                  <a:lnTo>
                    <a:pt x="154558" y="302135"/>
                  </a:lnTo>
                  <a:close/>
                  <a:moveTo>
                    <a:pt x="188577" y="301331"/>
                  </a:moveTo>
                  <a:lnTo>
                    <a:pt x="189860" y="301397"/>
                  </a:lnTo>
                  <a:lnTo>
                    <a:pt x="190933" y="302306"/>
                  </a:lnTo>
                  <a:lnTo>
                    <a:pt x="193496" y="301935"/>
                  </a:lnTo>
                  <a:lnTo>
                    <a:pt x="193816" y="302192"/>
                  </a:lnTo>
                  <a:lnTo>
                    <a:pt x="193067" y="303018"/>
                  </a:lnTo>
                  <a:lnTo>
                    <a:pt x="191937" y="303835"/>
                  </a:lnTo>
                  <a:lnTo>
                    <a:pt x="189888" y="303228"/>
                  </a:lnTo>
                  <a:lnTo>
                    <a:pt x="188594" y="303194"/>
                  </a:lnTo>
                  <a:lnTo>
                    <a:pt x="188413" y="301829"/>
                  </a:lnTo>
                  <a:close/>
                  <a:moveTo>
                    <a:pt x="195994" y="295739"/>
                  </a:moveTo>
                  <a:lnTo>
                    <a:pt x="196363" y="296878"/>
                  </a:lnTo>
                  <a:lnTo>
                    <a:pt x="196767" y="297169"/>
                  </a:lnTo>
                  <a:lnTo>
                    <a:pt x="196126" y="298167"/>
                  </a:lnTo>
                  <a:lnTo>
                    <a:pt x="194170" y="297864"/>
                  </a:lnTo>
                  <a:lnTo>
                    <a:pt x="194952" y="297000"/>
                  </a:lnTo>
                  <a:lnTo>
                    <a:pt x="195554" y="295953"/>
                  </a:lnTo>
                  <a:close/>
                  <a:moveTo>
                    <a:pt x="122392" y="292053"/>
                  </a:moveTo>
                  <a:lnTo>
                    <a:pt x="125096" y="292947"/>
                  </a:lnTo>
                  <a:lnTo>
                    <a:pt x="125050" y="294291"/>
                  </a:lnTo>
                  <a:lnTo>
                    <a:pt x="123821" y="296965"/>
                  </a:lnTo>
                  <a:lnTo>
                    <a:pt x="122383" y="297975"/>
                  </a:lnTo>
                  <a:lnTo>
                    <a:pt x="121763" y="296427"/>
                  </a:lnTo>
                  <a:close/>
                  <a:moveTo>
                    <a:pt x="229879" y="291112"/>
                  </a:moveTo>
                  <a:lnTo>
                    <a:pt x="233050" y="292093"/>
                  </a:lnTo>
                  <a:lnTo>
                    <a:pt x="236105" y="293655"/>
                  </a:lnTo>
                  <a:lnTo>
                    <a:pt x="239163" y="294691"/>
                  </a:lnTo>
                  <a:lnTo>
                    <a:pt x="242298" y="294396"/>
                  </a:lnTo>
                  <a:lnTo>
                    <a:pt x="242249" y="298942"/>
                  </a:lnTo>
                  <a:lnTo>
                    <a:pt x="242693" y="300466"/>
                  </a:lnTo>
                  <a:lnTo>
                    <a:pt x="243577" y="301830"/>
                  </a:lnTo>
                  <a:lnTo>
                    <a:pt x="243123" y="303816"/>
                  </a:lnTo>
                  <a:lnTo>
                    <a:pt x="244540" y="304494"/>
                  </a:lnTo>
                  <a:lnTo>
                    <a:pt x="240335" y="306758"/>
                  </a:lnTo>
                  <a:lnTo>
                    <a:pt x="236539" y="309756"/>
                  </a:lnTo>
                  <a:lnTo>
                    <a:pt x="234980" y="311779"/>
                  </a:lnTo>
                  <a:lnTo>
                    <a:pt x="233567" y="313942"/>
                  </a:lnTo>
                  <a:lnTo>
                    <a:pt x="232750" y="316232"/>
                  </a:lnTo>
                  <a:lnTo>
                    <a:pt x="232218" y="318699"/>
                  </a:lnTo>
                  <a:lnTo>
                    <a:pt x="230946" y="317721"/>
                  </a:lnTo>
                  <a:lnTo>
                    <a:pt x="227289" y="313722"/>
                  </a:lnTo>
                  <a:lnTo>
                    <a:pt x="224973" y="312624"/>
                  </a:lnTo>
                  <a:lnTo>
                    <a:pt x="221250" y="312039"/>
                  </a:lnTo>
                  <a:lnTo>
                    <a:pt x="220065" y="312171"/>
                  </a:lnTo>
                  <a:lnTo>
                    <a:pt x="212412" y="315910"/>
                  </a:lnTo>
                  <a:lnTo>
                    <a:pt x="211395" y="318640"/>
                  </a:lnTo>
                  <a:lnTo>
                    <a:pt x="209309" y="322754"/>
                  </a:lnTo>
                  <a:lnTo>
                    <a:pt x="208320" y="324111"/>
                  </a:lnTo>
                  <a:lnTo>
                    <a:pt x="207222" y="324500"/>
                  </a:lnTo>
                  <a:lnTo>
                    <a:pt x="206444" y="325205"/>
                  </a:lnTo>
                  <a:lnTo>
                    <a:pt x="205587" y="328706"/>
                  </a:lnTo>
                  <a:lnTo>
                    <a:pt x="203213" y="330861"/>
                  </a:lnTo>
                  <a:lnTo>
                    <a:pt x="201762" y="330925"/>
                  </a:lnTo>
                  <a:lnTo>
                    <a:pt x="199283" y="330335"/>
                  </a:lnTo>
                  <a:lnTo>
                    <a:pt x="198169" y="330667"/>
                  </a:lnTo>
                  <a:lnTo>
                    <a:pt x="199655" y="327214"/>
                  </a:lnTo>
                  <a:lnTo>
                    <a:pt x="197288" y="326793"/>
                  </a:lnTo>
                  <a:lnTo>
                    <a:pt x="194926" y="326866"/>
                  </a:lnTo>
                  <a:lnTo>
                    <a:pt x="194870" y="324618"/>
                  </a:lnTo>
                  <a:lnTo>
                    <a:pt x="193437" y="323341"/>
                  </a:lnTo>
                  <a:lnTo>
                    <a:pt x="194498" y="321684"/>
                  </a:lnTo>
                  <a:lnTo>
                    <a:pt x="194529" y="320333"/>
                  </a:lnTo>
                  <a:lnTo>
                    <a:pt x="195150" y="319588"/>
                  </a:lnTo>
                  <a:lnTo>
                    <a:pt x="195367" y="318498"/>
                  </a:lnTo>
                  <a:lnTo>
                    <a:pt x="195287" y="317565"/>
                  </a:lnTo>
                  <a:lnTo>
                    <a:pt x="193826" y="317281"/>
                  </a:lnTo>
                  <a:lnTo>
                    <a:pt x="192937" y="316621"/>
                  </a:lnTo>
                  <a:lnTo>
                    <a:pt x="193106" y="314165"/>
                  </a:lnTo>
                  <a:lnTo>
                    <a:pt x="192268" y="314075"/>
                  </a:lnTo>
                  <a:lnTo>
                    <a:pt x="190193" y="314504"/>
                  </a:lnTo>
                  <a:lnTo>
                    <a:pt x="185876" y="316401"/>
                  </a:lnTo>
                  <a:lnTo>
                    <a:pt x="184699" y="316405"/>
                  </a:lnTo>
                  <a:lnTo>
                    <a:pt x="186508" y="315054"/>
                  </a:lnTo>
                  <a:lnTo>
                    <a:pt x="190344" y="313197"/>
                  </a:lnTo>
                  <a:lnTo>
                    <a:pt x="192069" y="312134"/>
                  </a:lnTo>
                  <a:lnTo>
                    <a:pt x="195830" y="309148"/>
                  </a:lnTo>
                  <a:lnTo>
                    <a:pt x="198197" y="307734"/>
                  </a:lnTo>
                  <a:lnTo>
                    <a:pt x="199432" y="305229"/>
                  </a:lnTo>
                  <a:lnTo>
                    <a:pt x="199814" y="303706"/>
                  </a:lnTo>
                  <a:lnTo>
                    <a:pt x="200614" y="302367"/>
                  </a:lnTo>
                  <a:lnTo>
                    <a:pt x="201320" y="300222"/>
                  </a:lnTo>
                  <a:lnTo>
                    <a:pt x="202540" y="299506"/>
                  </a:lnTo>
                  <a:lnTo>
                    <a:pt x="204656" y="297664"/>
                  </a:lnTo>
                  <a:lnTo>
                    <a:pt x="205872" y="297842"/>
                  </a:lnTo>
                  <a:lnTo>
                    <a:pt x="207223" y="300106"/>
                  </a:lnTo>
                  <a:lnTo>
                    <a:pt x="209046" y="301841"/>
                  </a:lnTo>
                  <a:lnTo>
                    <a:pt x="210359" y="301694"/>
                  </a:lnTo>
                  <a:lnTo>
                    <a:pt x="212697" y="300805"/>
                  </a:lnTo>
                  <a:lnTo>
                    <a:pt x="213825" y="300605"/>
                  </a:lnTo>
                  <a:lnTo>
                    <a:pt x="216528" y="300710"/>
                  </a:lnTo>
                  <a:lnTo>
                    <a:pt x="218960" y="299608"/>
                  </a:lnTo>
                  <a:lnTo>
                    <a:pt x="219949" y="298309"/>
                  </a:lnTo>
                  <a:lnTo>
                    <a:pt x="220318" y="296684"/>
                  </a:lnTo>
                  <a:lnTo>
                    <a:pt x="219415" y="293966"/>
                  </a:lnTo>
                  <a:lnTo>
                    <a:pt x="220585" y="294240"/>
                  </a:lnTo>
                  <a:lnTo>
                    <a:pt x="221706" y="294128"/>
                  </a:lnTo>
                  <a:lnTo>
                    <a:pt x="224345" y="292398"/>
                  </a:lnTo>
                  <a:lnTo>
                    <a:pt x="227059" y="291370"/>
                  </a:lnTo>
                  <a:close/>
                  <a:moveTo>
                    <a:pt x="235410" y="286723"/>
                  </a:moveTo>
                  <a:lnTo>
                    <a:pt x="236433" y="287023"/>
                  </a:lnTo>
                  <a:lnTo>
                    <a:pt x="235982" y="287989"/>
                  </a:lnTo>
                  <a:lnTo>
                    <a:pt x="235570" y="288485"/>
                  </a:lnTo>
                  <a:lnTo>
                    <a:pt x="235175" y="288356"/>
                  </a:lnTo>
                  <a:lnTo>
                    <a:pt x="233771" y="289501"/>
                  </a:lnTo>
                  <a:lnTo>
                    <a:pt x="233467" y="288403"/>
                  </a:lnTo>
                  <a:lnTo>
                    <a:pt x="232365" y="287673"/>
                  </a:lnTo>
                  <a:lnTo>
                    <a:pt x="232229" y="287101"/>
                  </a:lnTo>
                  <a:close/>
                  <a:moveTo>
                    <a:pt x="249445" y="286460"/>
                  </a:moveTo>
                  <a:lnTo>
                    <a:pt x="250418" y="286482"/>
                  </a:lnTo>
                  <a:lnTo>
                    <a:pt x="248224" y="290118"/>
                  </a:lnTo>
                  <a:lnTo>
                    <a:pt x="248828" y="292863"/>
                  </a:lnTo>
                  <a:lnTo>
                    <a:pt x="246432" y="294985"/>
                  </a:lnTo>
                  <a:lnTo>
                    <a:pt x="244358" y="294837"/>
                  </a:lnTo>
                  <a:lnTo>
                    <a:pt x="243316" y="293889"/>
                  </a:lnTo>
                  <a:lnTo>
                    <a:pt x="242970" y="292714"/>
                  </a:lnTo>
                  <a:lnTo>
                    <a:pt x="244946" y="290869"/>
                  </a:lnTo>
                  <a:lnTo>
                    <a:pt x="246650" y="288263"/>
                  </a:lnTo>
                  <a:lnTo>
                    <a:pt x="248194" y="287105"/>
                  </a:lnTo>
                  <a:close/>
                  <a:moveTo>
                    <a:pt x="127616" y="282923"/>
                  </a:moveTo>
                  <a:lnTo>
                    <a:pt x="128088" y="283303"/>
                  </a:lnTo>
                  <a:lnTo>
                    <a:pt x="128259" y="283850"/>
                  </a:lnTo>
                  <a:lnTo>
                    <a:pt x="128015" y="284697"/>
                  </a:lnTo>
                  <a:lnTo>
                    <a:pt x="128153" y="286572"/>
                  </a:lnTo>
                  <a:lnTo>
                    <a:pt x="126075" y="289665"/>
                  </a:lnTo>
                  <a:lnTo>
                    <a:pt x="126169" y="291231"/>
                  </a:lnTo>
                  <a:lnTo>
                    <a:pt x="125720" y="292430"/>
                  </a:lnTo>
                  <a:lnTo>
                    <a:pt x="124218" y="291581"/>
                  </a:lnTo>
                  <a:lnTo>
                    <a:pt x="123538" y="290812"/>
                  </a:lnTo>
                  <a:lnTo>
                    <a:pt x="124924" y="287035"/>
                  </a:lnTo>
                  <a:lnTo>
                    <a:pt x="124763" y="285602"/>
                  </a:lnTo>
                  <a:lnTo>
                    <a:pt x="124847" y="284903"/>
                  </a:lnTo>
                  <a:close/>
                  <a:moveTo>
                    <a:pt x="348186" y="280690"/>
                  </a:moveTo>
                  <a:lnTo>
                    <a:pt x="348856" y="281925"/>
                  </a:lnTo>
                  <a:lnTo>
                    <a:pt x="348618" y="283098"/>
                  </a:lnTo>
                  <a:lnTo>
                    <a:pt x="347439" y="282840"/>
                  </a:lnTo>
                  <a:lnTo>
                    <a:pt x="346875" y="282075"/>
                  </a:lnTo>
                  <a:lnTo>
                    <a:pt x="346944" y="280701"/>
                  </a:lnTo>
                  <a:close/>
                  <a:moveTo>
                    <a:pt x="212628" y="241351"/>
                  </a:moveTo>
                  <a:lnTo>
                    <a:pt x="214520" y="243721"/>
                  </a:lnTo>
                  <a:lnTo>
                    <a:pt x="214283" y="244797"/>
                  </a:lnTo>
                  <a:lnTo>
                    <a:pt x="213269" y="245741"/>
                  </a:lnTo>
                  <a:lnTo>
                    <a:pt x="211380" y="245431"/>
                  </a:lnTo>
                  <a:lnTo>
                    <a:pt x="210290" y="244070"/>
                  </a:lnTo>
                  <a:lnTo>
                    <a:pt x="210648" y="242533"/>
                  </a:lnTo>
                  <a:close/>
                  <a:moveTo>
                    <a:pt x="327786" y="190970"/>
                  </a:moveTo>
                  <a:lnTo>
                    <a:pt x="327929" y="192433"/>
                  </a:lnTo>
                  <a:lnTo>
                    <a:pt x="326883" y="195891"/>
                  </a:lnTo>
                  <a:lnTo>
                    <a:pt x="326681" y="197139"/>
                  </a:lnTo>
                  <a:lnTo>
                    <a:pt x="329369" y="197399"/>
                  </a:lnTo>
                  <a:lnTo>
                    <a:pt x="327639" y="201543"/>
                  </a:lnTo>
                  <a:lnTo>
                    <a:pt x="324257" y="203637"/>
                  </a:lnTo>
                  <a:lnTo>
                    <a:pt x="322157" y="203702"/>
                  </a:lnTo>
                  <a:lnTo>
                    <a:pt x="321629" y="203451"/>
                  </a:lnTo>
                  <a:lnTo>
                    <a:pt x="322904" y="202816"/>
                  </a:lnTo>
                  <a:lnTo>
                    <a:pt x="323016" y="201750"/>
                  </a:lnTo>
                  <a:lnTo>
                    <a:pt x="323776" y="199861"/>
                  </a:lnTo>
                  <a:lnTo>
                    <a:pt x="323763" y="199315"/>
                  </a:lnTo>
                  <a:lnTo>
                    <a:pt x="322094" y="199219"/>
                  </a:lnTo>
                  <a:lnTo>
                    <a:pt x="322178" y="197068"/>
                  </a:lnTo>
                  <a:lnTo>
                    <a:pt x="323424" y="194946"/>
                  </a:lnTo>
                  <a:lnTo>
                    <a:pt x="326852" y="191599"/>
                  </a:lnTo>
                  <a:close/>
                  <a:moveTo>
                    <a:pt x="381592" y="107855"/>
                  </a:moveTo>
                  <a:lnTo>
                    <a:pt x="384096" y="108644"/>
                  </a:lnTo>
                  <a:lnTo>
                    <a:pt x="385327" y="109169"/>
                  </a:lnTo>
                  <a:lnTo>
                    <a:pt x="388057" y="111366"/>
                  </a:lnTo>
                  <a:lnTo>
                    <a:pt x="388929" y="111863"/>
                  </a:lnTo>
                  <a:lnTo>
                    <a:pt x="393058" y="110519"/>
                  </a:lnTo>
                  <a:lnTo>
                    <a:pt x="392272" y="114570"/>
                  </a:lnTo>
                  <a:lnTo>
                    <a:pt x="391831" y="118650"/>
                  </a:lnTo>
                  <a:lnTo>
                    <a:pt x="392134" y="125409"/>
                  </a:lnTo>
                  <a:lnTo>
                    <a:pt x="392505" y="128454"/>
                  </a:lnTo>
                  <a:lnTo>
                    <a:pt x="393220" y="131397"/>
                  </a:lnTo>
                  <a:lnTo>
                    <a:pt x="394978" y="133505"/>
                  </a:lnTo>
                  <a:lnTo>
                    <a:pt x="397278" y="134999"/>
                  </a:lnTo>
                  <a:lnTo>
                    <a:pt x="400611" y="139774"/>
                  </a:lnTo>
                  <a:lnTo>
                    <a:pt x="402400" y="145621"/>
                  </a:lnTo>
                  <a:lnTo>
                    <a:pt x="403662" y="148457"/>
                  </a:lnTo>
                  <a:lnTo>
                    <a:pt x="404609" y="151428"/>
                  </a:lnTo>
                  <a:lnTo>
                    <a:pt x="404896" y="152787"/>
                  </a:lnTo>
                  <a:lnTo>
                    <a:pt x="404920" y="154149"/>
                  </a:lnTo>
                  <a:lnTo>
                    <a:pt x="404637" y="156010"/>
                  </a:lnTo>
                  <a:lnTo>
                    <a:pt x="404948" y="157512"/>
                  </a:lnTo>
                  <a:lnTo>
                    <a:pt x="404589" y="162231"/>
                  </a:lnTo>
                  <a:lnTo>
                    <a:pt x="403097" y="167678"/>
                  </a:lnTo>
                  <a:lnTo>
                    <a:pt x="402905" y="170457"/>
                  </a:lnTo>
                  <a:lnTo>
                    <a:pt x="401607" y="171008"/>
                  </a:lnTo>
                  <a:lnTo>
                    <a:pt x="400821" y="172291"/>
                  </a:lnTo>
                  <a:lnTo>
                    <a:pt x="400149" y="172886"/>
                  </a:lnTo>
                  <a:lnTo>
                    <a:pt x="399405" y="173347"/>
                  </a:lnTo>
                  <a:lnTo>
                    <a:pt x="398322" y="173462"/>
                  </a:lnTo>
                  <a:lnTo>
                    <a:pt x="397550" y="173987"/>
                  </a:lnTo>
                  <a:lnTo>
                    <a:pt x="397243" y="175458"/>
                  </a:lnTo>
                  <a:lnTo>
                    <a:pt x="396747" y="176821"/>
                  </a:lnTo>
                  <a:lnTo>
                    <a:pt x="395805" y="178077"/>
                  </a:lnTo>
                  <a:lnTo>
                    <a:pt x="395066" y="179461"/>
                  </a:lnTo>
                  <a:lnTo>
                    <a:pt x="394458" y="182834"/>
                  </a:lnTo>
                  <a:lnTo>
                    <a:pt x="394237" y="186290"/>
                  </a:lnTo>
                  <a:lnTo>
                    <a:pt x="393324" y="188702"/>
                  </a:lnTo>
                  <a:lnTo>
                    <a:pt x="391128" y="189329"/>
                  </a:lnTo>
                  <a:lnTo>
                    <a:pt x="388610" y="189287"/>
                  </a:lnTo>
                  <a:lnTo>
                    <a:pt x="385384" y="190404"/>
                  </a:lnTo>
                  <a:lnTo>
                    <a:pt x="384697" y="191057"/>
                  </a:lnTo>
                  <a:lnTo>
                    <a:pt x="382149" y="195261"/>
                  </a:lnTo>
                  <a:lnTo>
                    <a:pt x="381416" y="197724"/>
                  </a:lnTo>
                  <a:lnTo>
                    <a:pt x="381393" y="200372"/>
                  </a:lnTo>
                  <a:lnTo>
                    <a:pt x="382101" y="203624"/>
                  </a:lnTo>
                  <a:lnTo>
                    <a:pt x="383062" y="206802"/>
                  </a:lnTo>
                  <a:lnTo>
                    <a:pt x="383790" y="212709"/>
                  </a:lnTo>
                  <a:lnTo>
                    <a:pt x="383023" y="221696"/>
                  </a:lnTo>
                  <a:lnTo>
                    <a:pt x="382287" y="224561"/>
                  </a:lnTo>
                  <a:lnTo>
                    <a:pt x="380667" y="226501"/>
                  </a:lnTo>
                  <a:lnTo>
                    <a:pt x="379441" y="227401"/>
                  </a:lnTo>
                  <a:lnTo>
                    <a:pt x="378383" y="228505"/>
                  </a:lnTo>
                  <a:lnTo>
                    <a:pt x="377014" y="231425"/>
                  </a:lnTo>
                  <a:lnTo>
                    <a:pt x="374746" y="237233"/>
                  </a:lnTo>
                  <a:lnTo>
                    <a:pt x="374559" y="238689"/>
                  </a:lnTo>
                  <a:lnTo>
                    <a:pt x="374567" y="240200"/>
                  </a:lnTo>
                  <a:lnTo>
                    <a:pt x="373956" y="242168"/>
                  </a:lnTo>
                  <a:lnTo>
                    <a:pt x="373557" y="244102"/>
                  </a:lnTo>
                  <a:lnTo>
                    <a:pt x="373930" y="246349"/>
                  </a:lnTo>
                  <a:lnTo>
                    <a:pt x="374628" y="248450"/>
                  </a:lnTo>
                  <a:lnTo>
                    <a:pt x="377670" y="253836"/>
                  </a:lnTo>
                  <a:lnTo>
                    <a:pt x="378862" y="255428"/>
                  </a:lnTo>
                  <a:lnTo>
                    <a:pt x="380201" y="256878"/>
                  </a:lnTo>
                  <a:lnTo>
                    <a:pt x="375010" y="258481"/>
                  </a:lnTo>
                  <a:lnTo>
                    <a:pt x="374073" y="259217"/>
                  </a:lnTo>
                  <a:lnTo>
                    <a:pt x="370989" y="262280"/>
                  </a:lnTo>
                  <a:lnTo>
                    <a:pt x="370004" y="265181"/>
                  </a:lnTo>
                  <a:lnTo>
                    <a:pt x="370085" y="268389"/>
                  </a:lnTo>
                  <a:lnTo>
                    <a:pt x="369565" y="269540"/>
                  </a:lnTo>
                  <a:lnTo>
                    <a:pt x="368717" y="270535"/>
                  </a:lnTo>
                  <a:lnTo>
                    <a:pt x="367834" y="271198"/>
                  </a:lnTo>
                  <a:lnTo>
                    <a:pt x="364388" y="272665"/>
                  </a:lnTo>
                  <a:lnTo>
                    <a:pt x="362183" y="274123"/>
                  </a:lnTo>
                  <a:lnTo>
                    <a:pt x="359984" y="276402"/>
                  </a:lnTo>
                  <a:lnTo>
                    <a:pt x="359115" y="277596"/>
                  </a:lnTo>
                  <a:lnTo>
                    <a:pt x="357423" y="277213"/>
                  </a:lnTo>
                  <a:lnTo>
                    <a:pt x="356435" y="276161"/>
                  </a:lnTo>
                  <a:lnTo>
                    <a:pt x="357409" y="274835"/>
                  </a:lnTo>
                  <a:lnTo>
                    <a:pt x="357109" y="273275"/>
                  </a:lnTo>
                  <a:lnTo>
                    <a:pt x="357590" y="269259"/>
                  </a:lnTo>
                  <a:lnTo>
                    <a:pt x="357037" y="267644"/>
                  </a:lnTo>
                  <a:lnTo>
                    <a:pt x="358799" y="266425"/>
                  </a:lnTo>
                  <a:lnTo>
                    <a:pt x="359640" y="264472"/>
                  </a:lnTo>
                  <a:lnTo>
                    <a:pt x="361474" y="262909"/>
                  </a:lnTo>
                  <a:lnTo>
                    <a:pt x="362784" y="261521"/>
                  </a:lnTo>
                  <a:lnTo>
                    <a:pt x="363017" y="260396"/>
                  </a:lnTo>
                  <a:lnTo>
                    <a:pt x="361840" y="259183"/>
                  </a:lnTo>
                  <a:lnTo>
                    <a:pt x="360598" y="258306"/>
                  </a:lnTo>
                  <a:lnTo>
                    <a:pt x="358879" y="258302"/>
                  </a:lnTo>
                  <a:lnTo>
                    <a:pt x="357221" y="258562"/>
                  </a:lnTo>
                  <a:lnTo>
                    <a:pt x="356150" y="259718"/>
                  </a:lnTo>
                  <a:lnTo>
                    <a:pt x="355791" y="261291"/>
                  </a:lnTo>
                  <a:lnTo>
                    <a:pt x="355875" y="262025"/>
                  </a:lnTo>
                  <a:lnTo>
                    <a:pt x="355740" y="262667"/>
                  </a:lnTo>
                  <a:lnTo>
                    <a:pt x="353135" y="264821"/>
                  </a:lnTo>
                  <a:lnTo>
                    <a:pt x="353479" y="267072"/>
                  </a:lnTo>
                  <a:lnTo>
                    <a:pt x="354241" y="268214"/>
                  </a:lnTo>
                  <a:lnTo>
                    <a:pt x="355215" y="268756"/>
                  </a:lnTo>
                  <a:lnTo>
                    <a:pt x="354924" y="269530"/>
                  </a:lnTo>
                  <a:lnTo>
                    <a:pt x="353688" y="271342"/>
                  </a:lnTo>
                  <a:lnTo>
                    <a:pt x="352824" y="271521"/>
                  </a:lnTo>
                  <a:lnTo>
                    <a:pt x="351235" y="268985"/>
                  </a:lnTo>
                  <a:lnTo>
                    <a:pt x="349253" y="267598"/>
                  </a:lnTo>
                  <a:lnTo>
                    <a:pt x="346800" y="267609"/>
                  </a:lnTo>
                  <a:lnTo>
                    <a:pt x="344278" y="268113"/>
                  </a:lnTo>
                  <a:lnTo>
                    <a:pt x="342360" y="269800"/>
                  </a:lnTo>
                  <a:lnTo>
                    <a:pt x="341727" y="271202"/>
                  </a:lnTo>
                  <a:lnTo>
                    <a:pt x="341324" y="272650"/>
                  </a:lnTo>
                  <a:lnTo>
                    <a:pt x="341459" y="276172"/>
                  </a:lnTo>
                  <a:lnTo>
                    <a:pt x="340665" y="279108"/>
                  </a:lnTo>
                  <a:lnTo>
                    <a:pt x="339107" y="281687"/>
                  </a:lnTo>
                  <a:lnTo>
                    <a:pt x="338378" y="282628"/>
                  </a:lnTo>
                  <a:lnTo>
                    <a:pt x="336477" y="284376"/>
                  </a:lnTo>
                  <a:lnTo>
                    <a:pt x="335169" y="284605"/>
                  </a:lnTo>
                  <a:lnTo>
                    <a:pt x="334233" y="283811"/>
                  </a:lnTo>
                  <a:lnTo>
                    <a:pt x="333478" y="282607"/>
                  </a:lnTo>
                  <a:lnTo>
                    <a:pt x="334439" y="278193"/>
                  </a:lnTo>
                  <a:lnTo>
                    <a:pt x="334401" y="275713"/>
                  </a:lnTo>
                  <a:lnTo>
                    <a:pt x="336631" y="274450"/>
                  </a:lnTo>
                  <a:lnTo>
                    <a:pt x="334802" y="272685"/>
                  </a:lnTo>
                  <a:lnTo>
                    <a:pt x="332563" y="271974"/>
                  </a:lnTo>
                  <a:lnTo>
                    <a:pt x="329412" y="272916"/>
                  </a:lnTo>
                  <a:lnTo>
                    <a:pt x="328525" y="273977"/>
                  </a:lnTo>
                  <a:lnTo>
                    <a:pt x="327918" y="275404"/>
                  </a:lnTo>
                  <a:lnTo>
                    <a:pt x="326227" y="277206"/>
                  </a:lnTo>
                  <a:lnTo>
                    <a:pt x="324360" y="278894"/>
                  </a:lnTo>
                  <a:lnTo>
                    <a:pt x="322250" y="281771"/>
                  </a:lnTo>
                  <a:lnTo>
                    <a:pt x="320831" y="285177"/>
                  </a:lnTo>
                  <a:lnTo>
                    <a:pt x="316186" y="284063"/>
                  </a:lnTo>
                  <a:lnTo>
                    <a:pt x="313649" y="283814"/>
                  </a:lnTo>
                  <a:lnTo>
                    <a:pt x="311090" y="283901"/>
                  </a:lnTo>
                  <a:lnTo>
                    <a:pt x="306554" y="283481"/>
                  </a:lnTo>
                  <a:lnTo>
                    <a:pt x="301572" y="284177"/>
                  </a:lnTo>
                  <a:lnTo>
                    <a:pt x="295903" y="285514"/>
                  </a:lnTo>
                  <a:lnTo>
                    <a:pt x="296242" y="284550"/>
                  </a:lnTo>
                  <a:lnTo>
                    <a:pt x="300902" y="282499"/>
                  </a:lnTo>
                  <a:lnTo>
                    <a:pt x="301070" y="281898"/>
                  </a:lnTo>
                  <a:lnTo>
                    <a:pt x="300623" y="280775"/>
                  </a:lnTo>
                  <a:lnTo>
                    <a:pt x="299462" y="280720"/>
                  </a:lnTo>
                  <a:lnTo>
                    <a:pt x="296674" y="281112"/>
                  </a:lnTo>
                  <a:lnTo>
                    <a:pt x="295250" y="280940"/>
                  </a:lnTo>
                  <a:lnTo>
                    <a:pt x="294670" y="279734"/>
                  </a:lnTo>
                  <a:lnTo>
                    <a:pt x="293726" y="279214"/>
                  </a:lnTo>
                  <a:lnTo>
                    <a:pt x="293096" y="279708"/>
                  </a:lnTo>
                  <a:lnTo>
                    <a:pt x="293302" y="282049"/>
                  </a:lnTo>
                  <a:lnTo>
                    <a:pt x="292612" y="282361"/>
                  </a:lnTo>
                  <a:lnTo>
                    <a:pt x="291693" y="281760"/>
                  </a:lnTo>
                  <a:lnTo>
                    <a:pt x="291986" y="279941"/>
                  </a:lnTo>
                  <a:lnTo>
                    <a:pt x="291358" y="277273"/>
                  </a:lnTo>
                  <a:lnTo>
                    <a:pt x="291286" y="275616"/>
                  </a:lnTo>
                  <a:lnTo>
                    <a:pt x="292262" y="274192"/>
                  </a:lnTo>
                  <a:lnTo>
                    <a:pt x="291262" y="273591"/>
                  </a:lnTo>
                  <a:lnTo>
                    <a:pt x="290208" y="273823"/>
                  </a:lnTo>
                  <a:lnTo>
                    <a:pt x="288868" y="274506"/>
                  </a:lnTo>
                  <a:lnTo>
                    <a:pt x="287684" y="275480"/>
                  </a:lnTo>
                  <a:lnTo>
                    <a:pt x="285184" y="280349"/>
                  </a:lnTo>
                  <a:lnTo>
                    <a:pt x="284212" y="283128"/>
                  </a:lnTo>
                  <a:lnTo>
                    <a:pt x="286043" y="285358"/>
                  </a:lnTo>
                  <a:lnTo>
                    <a:pt x="291035" y="288474"/>
                  </a:lnTo>
                  <a:lnTo>
                    <a:pt x="291891" y="289238"/>
                  </a:lnTo>
                  <a:lnTo>
                    <a:pt x="291910" y="290562"/>
                  </a:lnTo>
                  <a:lnTo>
                    <a:pt x="291303" y="291968"/>
                  </a:lnTo>
                  <a:lnTo>
                    <a:pt x="289943" y="292586"/>
                  </a:lnTo>
                  <a:lnTo>
                    <a:pt x="284464" y="293621"/>
                  </a:lnTo>
                  <a:lnTo>
                    <a:pt x="279720" y="295635"/>
                  </a:lnTo>
                  <a:lnTo>
                    <a:pt x="278349" y="297675"/>
                  </a:lnTo>
                  <a:lnTo>
                    <a:pt x="274031" y="305544"/>
                  </a:lnTo>
                  <a:lnTo>
                    <a:pt x="270574" y="310913"/>
                  </a:lnTo>
                  <a:lnTo>
                    <a:pt x="265689" y="312766"/>
                  </a:lnTo>
                  <a:lnTo>
                    <a:pt x="260327" y="311120"/>
                  </a:lnTo>
                  <a:lnTo>
                    <a:pt x="259032" y="309252"/>
                  </a:lnTo>
                  <a:lnTo>
                    <a:pt x="257981" y="306940"/>
                  </a:lnTo>
                  <a:lnTo>
                    <a:pt x="255988" y="304848"/>
                  </a:lnTo>
                  <a:lnTo>
                    <a:pt x="254192" y="302568"/>
                  </a:lnTo>
                  <a:lnTo>
                    <a:pt x="253143" y="299861"/>
                  </a:lnTo>
                  <a:lnTo>
                    <a:pt x="253306" y="295491"/>
                  </a:lnTo>
                  <a:lnTo>
                    <a:pt x="252527" y="292857"/>
                  </a:lnTo>
                  <a:lnTo>
                    <a:pt x="253231" y="292155"/>
                  </a:lnTo>
                  <a:lnTo>
                    <a:pt x="256188" y="290554"/>
                  </a:lnTo>
                  <a:lnTo>
                    <a:pt x="257153" y="289657"/>
                  </a:lnTo>
                  <a:lnTo>
                    <a:pt x="258822" y="287570"/>
                  </a:lnTo>
                  <a:lnTo>
                    <a:pt x="259420" y="286409"/>
                  </a:lnTo>
                  <a:lnTo>
                    <a:pt x="259511" y="284648"/>
                  </a:lnTo>
                  <a:lnTo>
                    <a:pt x="258167" y="283729"/>
                  </a:lnTo>
                  <a:lnTo>
                    <a:pt x="254697" y="283763"/>
                  </a:lnTo>
                  <a:lnTo>
                    <a:pt x="251236" y="284311"/>
                  </a:lnTo>
                  <a:lnTo>
                    <a:pt x="248763" y="283541"/>
                  </a:lnTo>
                  <a:lnTo>
                    <a:pt x="245559" y="281411"/>
                  </a:lnTo>
                  <a:lnTo>
                    <a:pt x="244565" y="280957"/>
                  </a:lnTo>
                  <a:lnTo>
                    <a:pt x="241110" y="280822"/>
                  </a:lnTo>
                  <a:lnTo>
                    <a:pt x="238645" y="281218"/>
                  </a:lnTo>
                  <a:lnTo>
                    <a:pt x="236222" y="281995"/>
                  </a:lnTo>
                  <a:lnTo>
                    <a:pt x="233660" y="282240"/>
                  </a:lnTo>
                  <a:lnTo>
                    <a:pt x="232808" y="282646"/>
                  </a:lnTo>
                  <a:lnTo>
                    <a:pt x="229849" y="285257"/>
                  </a:lnTo>
                  <a:lnTo>
                    <a:pt x="227500" y="286900"/>
                  </a:lnTo>
                  <a:lnTo>
                    <a:pt x="225469" y="287715"/>
                  </a:lnTo>
                  <a:lnTo>
                    <a:pt x="221081" y="287933"/>
                  </a:lnTo>
                  <a:lnTo>
                    <a:pt x="218884" y="288462"/>
                  </a:lnTo>
                  <a:lnTo>
                    <a:pt x="216580" y="289324"/>
                  </a:lnTo>
                  <a:lnTo>
                    <a:pt x="215937" y="289249"/>
                  </a:lnTo>
                  <a:lnTo>
                    <a:pt x="213511" y="290441"/>
                  </a:lnTo>
                  <a:lnTo>
                    <a:pt x="210728" y="291472"/>
                  </a:lnTo>
                  <a:lnTo>
                    <a:pt x="209238" y="292507"/>
                  </a:lnTo>
                  <a:lnTo>
                    <a:pt x="206509" y="291831"/>
                  </a:lnTo>
                  <a:lnTo>
                    <a:pt x="201106" y="293683"/>
                  </a:lnTo>
                  <a:lnTo>
                    <a:pt x="198495" y="293911"/>
                  </a:lnTo>
                  <a:lnTo>
                    <a:pt x="195796" y="292890"/>
                  </a:lnTo>
                  <a:lnTo>
                    <a:pt x="193293" y="291238"/>
                  </a:lnTo>
                  <a:lnTo>
                    <a:pt x="190889" y="291946"/>
                  </a:lnTo>
                  <a:lnTo>
                    <a:pt x="189242" y="294386"/>
                  </a:lnTo>
                  <a:lnTo>
                    <a:pt x="188443" y="299238"/>
                  </a:lnTo>
                  <a:lnTo>
                    <a:pt x="187502" y="301420"/>
                  </a:lnTo>
                  <a:lnTo>
                    <a:pt x="187217" y="304040"/>
                  </a:lnTo>
                  <a:lnTo>
                    <a:pt x="185973" y="303626"/>
                  </a:lnTo>
                  <a:lnTo>
                    <a:pt x="178741" y="298909"/>
                  </a:lnTo>
                  <a:lnTo>
                    <a:pt x="178240" y="298740"/>
                  </a:lnTo>
                  <a:lnTo>
                    <a:pt x="172394" y="299552"/>
                  </a:lnTo>
                  <a:lnTo>
                    <a:pt x="170885" y="299944"/>
                  </a:lnTo>
                  <a:lnTo>
                    <a:pt x="169002" y="300900"/>
                  </a:lnTo>
                  <a:lnTo>
                    <a:pt x="167009" y="301327"/>
                  </a:lnTo>
                  <a:lnTo>
                    <a:pt x="165191" y="300640"/>
                  </a:lnTo>
                  <a:lnTo>
                    <a:pt x="163455" y="299521"/>
                  </a:lnTo>
                  <a:lnTo>
                    <a:pt x="161786" y="299853"/>
                  </a:lnTo>
                  <a:lnTo>
                    <a:pt x="160071" y="300637"/>
                  </a:lnTo>
                  <a:lnTo>
                    <a:pt x="159417" y="293519"/>
                  </a:lnTo>
                  <a:lnTo>
                    <a:pt x="159749" y="292579"/>
                  </a:lnTo>
                  <a:lnTo>
                    <a:pt x="160801" y="291329"/>
                  </a:lnTo>
                  <a:lnTo>
                    <a:pt x="161958" y="290260"/>
                  </a:lnTo>
                  <a:lnTo>
                    <a:pt x="164789" y="289891"/>
                  </a:lnTo>
                  <a:lnTo>
                    <a:pt x="167654" y="290238"/>
                  </a:lnTo>
                  <a:lnTo>
                    <a:pt x="169702" y="289747"/>
                  </a:lnTo>
                  <a:lnTo>
                    <a:pt x="171429" y="288334"/>
                  </a:lnTo>
                  <a:lnTo>
                    <a:pt x="173254" y="286330"/>
                  </a:lnTo>
                  <a:lnTo>
                    <a:pt x="175310" y="284698"/>
                  </a:lnTo>
                  <a:lnTo>
                    <a:pt x="178098" y="283409"/>
                  </a:lnTo>
                  <a:lnTo>
                    <a:pt x="180795" y="281930"/>
                  </a:lnTo>
                  <a:lnTo>
                    <a:pt x="183161" y="279853"/>
                  </a:lnTo>
                  <a:lnTo>
                    <a:pt x="185409" y="277586"/>
                  </a:lnTo>
                  <a:lnTo>
                    <a:pt x="187476" y="275921"/>
                  </a:lnTo>
                  <a:lnTo>
                    <a:pt x="189717" y="274523"/>
                  </a:lnTo>
                  <a:lnTo>
                    <a:pt x="193133" y="271166"/>
                  </a:lnTo>
                  <a:lnTo>
                    <a:pt x="197666" y="267389"/>
                  </a:lnTo>
                  <a:lnTo>
                    <a:pt x="199404" y="264590"/>
                  </a:lnTo>
                  <a:lnTo>
                    <a:pt x="200486" y="263818"/>
                  </a:lnTo>
                  <a:lnTo>
                    <a:pt x="204385" y="262254"/>
                  </a:lnTo>
                  <a:lnTo>
                    <a:pt x="209560" y="261058"/>
                  </a:lnTo>
                  <a:lnTo>
                    <a:pt x="211997" y="261116"/>
                  </a:lnTo>
                  <a:lnTo>
                    <a:pt x="214414" y="263572"/>
                  </a:lnTo>
                  <a:lnTo>
                    <a:pt x="215717" y="263236"/>
                  </a:lnTo>
                  <a:lnTo>
                    <a:pt x="217034" y="262601"/>
                  </a:lnTo>
                  <a:lnTo>
                    <a:pt x="219698" y="262250"/>
                  </a:lnTo>
                  <a:lnTo>
                    <a:pt x="222439" y="262656"/>
                  </a:lnTo>
                  <a:lnTo>
                    <a:pt x="225112" y="262666"/>
                  </a:lnTo>
                  <a:lnTo>
                    <a:pt x="227787" y="262356"/>
                  </a:lnTo>
                  <a:lnTo>
                    <a:pt x="232935" y="261550"/>
                  </a:lnTo>
                  <a:lnTo>
                    <a:pt x="235643" y="260578"/>
                  </a:lnTo>
                  <a:lnTo>
                    <a:pt x="238286" y="259320"/>
                  </a:lnTo>
                  <a:lnTo>
                    <a:pt x="247710" y="258431"/>
                  </a:lnTo>
                  <a:lnTo>
                    <a:pt x="254168" y="256321"/>
                  </a:lnTo>
                  <a:lnTo>
                    <a:pt x="255190" y="256471"/>
                  </a:lnTo>
                  <a:lnTo>
                    <a:pt x="256183" y="256958"/>
                  </a:lnTo>
                  <a:lnTo>
                    <a:pt x="256257" y="258521"/>
                  </a:lnTo>
                  <a:lnTo>
                    <a:pt x="255444" y="260226"/>
                  </a:lnTo>
                  <a:lnTo>
                    <a:pt x="256235" y="261258"/>
                  </a:lnTo>
                  <a:lnTo>
                    <a:pt x="257543" y="261895"/>
                  </a:lnTo>
                  <a:lnTo>
                    <a:pt x="263622" y="262092"/>
                  </a:lnTo>
                  <a:lnTo>
                    <a:pt x="265356" y="262459"/>
                  </a:lnTo>
                  <a:lnTo>
                    <a:pt x="267893" y="261292"/>
                  </a:lnTo>
                  <a:lnTo>
                    <a:pt x="270284" y="259850"/>
                  </a:lnTo>
                  <a:lnTo>
                    <a:pt x="272784" y="257946"/>
                  </a:lnTo>
                  <a:lnTo>
                    <a:pt x="274533" y="255803"/>
                  </a:lnTo>
                  <a:lnTo>
                    <a:pt x="272918" y="253119"/>
                  </a:lnTo>
                  <a:lnTo>
                    <a:pt x="272564" y="250182"/>
                  </a:lnTo>
                  <a:lnTo>
                    <a:pt x="273918" y="246995"/>
                  </a:lnTo>
                  <a:lnTo>
                    <a:pt x="275881" y="244304"/>
                  </a:lnTo>
                  <a:lnTo>
                    <a:pt x="278215" y="242677"/>
                  </a:lnTo>
                  <a:lnTo>
                    <a:pt x="280364" y="240803"/>
                  </a:lnTo>
                  <a:lnTo>
                    <a:pt x="284717" y="235480"/>
                  </a:lnTo>
                  <a:lnTo>
                    <a:pt x="287863" y="231166"/>
                  </a:lnTo>
                  <a:lnTo>
                    <a:pt x="288995" y="225858"/>
                  </a:lnTo>
                  <a:lnTo>
                    <a:pt x="288330" y="219564"/>
                  </a:lnTo>
                  <a:lnTo>
                    <a:pt x="291076" y="214881"/>
                  </a:lnTo>
                  <a:lnTo>
                    <a:pt x="293705" y="214076"/>
                  </a:lnTo>
                  <a:lnTo>
                    <a:pt x="298931" y="211937"/>
                  </a:lnTo>
                  <a:lnTo>
                    <a:pt x="301673" y="211309"/>
                  </a:lnTo>
                  <a:lnTo>
                    <a:pt x="302083" y="212244"/>
                  </a:lnTo>
                  <a:lnTo>
                    <a:pt x="302001" y="213469"/>
                  </a:lnTo>
                  <a:lnTo>
                    <a:pt x="297901" y="217404"/>
                  </a:lnTo>
                  <a:lnTo>
                    <a:pt x="295551" y="219021"/>
                  </a:lnTo>
                  <a:lnTo>
                    <a:pt x="294145" y="219522"/>
                  </a:lnTo>
                  <a:lnTo>
                    <a:pt x="292858" y="220237"/>
                  </a:lnTo>
                  <a:lnTo>
                    <a:pt x="292325" y="221619"/>
                  </a:lnTo>
                  <a:lnTo>
                    <a:pt x="294415" y="223933"/>
                  </a:lnTo>
                  <a:lnTo>
                    <a:pt x="294948" y="225640"/>
                  </a:lnTo>
                  <a:lnTo>
                    <a:pt x="294819" y="227279"/>
                  </a:lnTo>
                  <a:lnTo>
                    <a:pt x="294907" y="228751"/>
                  </a:lnTo>
                  <a:lnTo>
                    <a:pt x="297274" y="230354"/>
                  </a:lnTo>
                  <a:lnTo>
                    <a:pt x="299984" y="230884"/>
                  </a:lnTo>
                  <a:lnTo>
                    <a:pt x="301120" y="230869"/>
                  </a:lnTo>
                  <a:lnTo>
                    <a:pt x="302114" y="230448"/>
                  </a:lnTo>
                  <a:lnTo>
                    <a:pt x="305210" y="226526"/>
                  </a:lnTo>
                  <a:lnTo>
                    <a:pt x="305906" y="225845"/>
                  </a:lnTo>
                  <a:lnTo>
                    <a:pt x="314731" y="222970"/>
                  </a:lnTo>
                  <a:lnTo>
                    <a:pt x="319073" y="220769"/>
                  </a:lnTo>
                  <a:lnTo>
                    <a:pt x="321472" y="220201"/>
                  </a:lnTo>
                  <a:lnTo>
                    <a:pt x="323724" y="219054"/>
                  </a:lnTo>
                  <a:lnTo>
                    <a:pt x="328776" y="214625"/>
                  </a:lnTo>
                  <a:lnTo>
                    <a:pt x="330643" y="212583"/>
                  </a:lnTo>
                  <a:lnTo>
                    <a:pt x="332337" y="210323"/>
                  </a:lnTo>
                  <a:lnTo>
                    <a:pt x="333690" y="207697"/>
                  </a:lnTo>
                  <a:lnTo>
                    <a:pt x="334757" y="204851"/>
                  </a:lnTo>
                  <a:lnTo>
                    <a:pt x="336221" y="203078"/>
                  </a:lnTo>
                  <a:lnTo>
                    <a:pt x="344227" y="198847"/>
                  </a:lnTo>
                  <a:lnTo>
                    <a:pt x="346809" y="196540"/>
                  </a:lnTo>
                  <a:lnTo>
                    <a:pt x="347629" y="195422"/>
                  </a:lnTo>
                  <a:lnTo>
                    <a:pt x="348620" y="192182"/>
                  </a:lnTo>
                  <a:lnTo>
                    <a:pt x="349304" y="188814"/>
                  </a:lnTo>
                  <a:lnTo>
                    <a:pt x="350278" y="186170"/>
                  </a:lnTo>
                  <a:lnTo>
                    <a:pt x="351591" y="183689"/>
                  </a:lnTo>
                  <a:lnTo>
                    <a:pt x="353351" y="181159"/>
                  </a:lnTo>
                  <a:lnTo>
                    <a:pt x="355327" y="178809"/>
                  </a:lnTo>
                  <a:lnTo>
                    <a:pt x="356496" y="176396"/>
                  </a:lnTo>
                  <a:lnTo>
                    <a:pt x="358190" y="170623"/>
                  </a:lnTo>
                  <a:lnTo>
                    <a:pt x="358936" y="167422"/>
                  </a:lnTo>
                  <a:lnTo>
                    <a:pt x="359516" y="166267"/>
                  </a:lnTo>
                  <a:lnTo>
                    <a:pt x="360369" y="165296"/>
                  </a:lnTo>
                  <a:lnTo>
                    <a:pt x="361114" y="164067"/>
                  </a:lnTo>
                  <a:lnTo>
                    <a:pt x="361682" y="162690"/>
                  </a:lnTo>
                  <a:lnTo>
                    <a:pt x="361939" y="161325"/>
                  </a:lnTo>
                  <a:lnTo>
                    <a:pt x="362306" y="157152"/>
                  </a:lnTo>
                  <a:lnTo>
                    <a:pt x="362084" y="153905"/>
                  </a:lnTo>
                  <a:lnTo>
                    <a:pt x="360758" y="151151"/>
                  </a:lnTo>
                  <a:lnTo>
                    <a:pt x="359664" y="150369"/>
                  </a:lnTo>
                  <a:lnTo>
                    <a:pt x="358469" y="150323"/>
                  </a:lnTo>
                  <a:lnTo>
                    <a:pt x="356681" y="150561"/>
                  </a:lnTo>
                  <a:lnTo>
                    <a:pt x="355158" y="149438"/>
                  </a:lnTo>
                  <a:lnTo>
                    <a:pt x="355467" y="148445"/>
                  </a:lnTo>
                  <a:lnTo>
                    <a:pt x="357020" y="148261"/>
                  </a:lnTo>
                  <a:lnTo>
                    <a:pt x="358080" y="147748"/>
                  </a:lnTo>
                  <a:lnTo>
                    <a:pt x="358840" y="146808"/>
                  </a:lnTo>
                  <a:lnTo>
                    <a:pt x="360266" y="143802"/>
                  </a:lnTo>
                  <a:lnTo>
                    <a:pt x="361121" y="140579"/>
                  </a:lnTo>
                  <a:lnTo>
                    <a:pt x="361194" y="139153"/>
                  </a:lnTo>
                  <a:lnTo>
                    <a:pt x="360080" y="136552"/>
                  </a:lnTo>
                  <a:lnTo>
                    <a:pt x="359192" y="133422"/>
                  </a:lnTo>
                  <a:lnTo>
                    <a:pt x="359168" y="131730"/>
                  </a:lnTo>
                  <a:lnTo>
                    <a:pt x="360139" y="129781"/>
                  </a:lnTo>
                  <a:lnTo>
                    <a:pt x="361522" y="128197"/>
                  </a:lnTo>
                  <a:lnTo>
                    <a:pt x="362762" y="127824"/>
                  </a:lnTo>
                  <a:lnTo>
                    <a:pt x="364104" y="127713"/>
                  </a:lnTo>
                  <a:lnTo>
                    <a:pt x="365324" y="127101"/>
                  </a:lnTo>
                  <a:lnTo>
                    <a:pt x="366455" y="126211"/>
                  </a:lnTo>
                  <a:lnTo>
                    <a:pt x="367093" y="125231"/>
                  </a:lnTo>
                  <a:lnTo>
                    <a:pt x="368089" y="122562"/>
                  </a:lnTo>
                  <a:lnTo>
                    <a:pt x="368472" y="121036"/>
                  </a:lnTo>
                  <a:lnTo>
                    <a:pt x="367844" y="116950"/>
                  </a:lnTo>
                  <a:lnTo>
                    <a:pt x="368491" y="115832"/>
                  </a:lnTo>
                  <a:lnTo>
                    <a:pt x="369409" y="115134"/>
                  </a:lnTo>
                  <a:lnTo>
                    <a:pt x="370633" y="115665"/>
                  </a:lnTo>
                  <a:lnTo>
                    <a:pt x="371888" y="115770"/>
                  </a:lnTo>
                  <a:lnTo>
                    <a:pt x="373350" y="115608"/>
                  </a:lnTo>
                  <a:lnTo>
                    <a:pt x="374753" y="116040"/>
                  </a:lnTo>
                  <a:lnTo>
                    <a:pt x="375018" y="117089"/>
                  </a:lnTo>
                  <a:lnTo>
                    <a:pt x="375897" y="123992"/>
                  </a:lnTo>
                  <a:lnTo>
                    <a:pt x="376407" y="124924"/>
                  </a:lnTo>
                  <a:lnTo>
                    <a:pt x="377428" y="125646"/>
                  </a:lnTo>
                  <a:lnTo>
                    <a:pt x="378582" y="125540"/>
                  </a:lnTo>
                  <a:lnTo>
                    <a:pt x="379577" y="124468"/>
                  </a:lnTo>
                  <a:lnTo>
                    <a:pt x="380248" y="123038"/>
                  </a:lnTo>
                  <a:lnTo>
                    <a:pt x="381572" y="122743"/>
                  </a:lnTo>
                  <a:lnTo>
                    <a:pt x="385608" y="124281"/>
                  </a:lnTo>
                  <a:lnTo>
                    <a:pt x="387037" y="123183"/>
                  </a:lnTo>
                  <a:lnTo>
                    <a:pt x="387970" y="121489"/>
                  </a:lnTo>
                  <a:lnTo>
                    <a:pt x="388783" y="118483"/>
                  </a:lnTo>
                  <a:lnTo>
                    <a:pt x="388387" y="115771"/>
                  </a:lnTo>
                  <a:lnTo>
                    <a:pt x="387418" y="114770"/>
                  </a:lnTo>
                  <a:lnTo>
                    <a:pt x="386415" y="114952"/>
                  </a:lnTo>
                  <a:lnTo>
                    <a:pt x="385530" y="115696"/>
                  </a:lnTo>
                  <a:lnTo>
                    <a:pt x="384543" y="116102"/>
                  </a:lnTo>
                  <a:lnTo>
                    <a:pt x="378577" y="117531"/>
                  </a:lnTo>
                  <a:lnTo>
                    <a:pt x="378605" y="114505"/>
                  </a:lnTo>
                  <a:lnTo>
                    <a:pt x="379882" y="109972"/>
                  </a:lnTo>
                  <a:lnTo>
                    <a:pt x="380588" y="108537"/>
                  </a:lnTo>
                  <a:close/>
                  <a:moveTo>
                    <a:pt x="351110" y="88508"/>
                  </a:moveTo>
                  <a:lnTo>
                    <a:pt x="349931" y="92199"/>
                  </a:lnTo>
                  <a:lnTo>
                    <a:pt x="349404" y="92608"/>
                  </a:lnTo>
                  <a:lnTo>
                    <a:pt x="348898" y="92751"/>
                  </a:lnTo>
                  <a:lnTo>
                    <a:pt x="348371" y="92526"/>
                  </a:lnTo>
                  <a:lnTo>
                    <a:pt x="347862" y="90517"/>
                  </a:lnTo>
                  <a:lnTo>
                    <a:pt x="348301" y="89456"/>
                  </a:lnTo>
                  <a:lnTo>
                    <a:pt x="349725" y="88715"/>
                  </a:lnTo>
                  <a:close/>
                  <a:moveTo>
                    <a:pt x="387271" y="7180"/>
                  </a:moveTo>
                  <a:lnTo>
                    <a:pt x="388556" y="7601"/>
                  </a:lnTo>
                  <a:lnTo>
                    <a:pt x="389842" y="9078"/>
                  </a:lnTo>
                  <a:lnTo>
                    <a:pt x="390266" y="9847"/>
                  </a:lnTo>
                  <a:lnTo>
                    <a:pt x="389519" y="10699"/>
                  </a:lnTo>
                  <a:lnTo>
                    <a:pt x="387984" y="10895"/>
                  </a:lnTo>
                  <a:lnTo>
                    <a:pt x="386200" y="9753"/>
                  </a:lnTo>
                  <a:lnTo>
                    <a:pt x="385979" y="8321"/>
                  </a:lnTo>
                  <a:close/>
                  <a:moveTo>
                    <a:pt x="382361" y="1210"/>
                  </a:moveTo>
                  <a:lnTo>
                    <a:pt x="383023" y="1228"/>
                  </a:lnTo>
                  <a:lnTo>
                    <a:pt x="384241" y="1647"/>
                  </a:lnTo>
                  <a:lnTo>
                    <a:pt x="384533" y="3008"/>
                  </a:lnTo>
                  <a:lnTo>
                    <a:pt x="384595" y="4850"/>
                  </a:lnTo>
                  <a:lnTo>
                    <a:pt x="383738" y="6591"/>
                  </a:lnTo>
                  <a:lnTo>
                    <a:pt x="382592" y="4002"/>
                  </a:lnTo>
                  <a:close/>
                  <a:moveTo>
                    <a:pt x="403721" y="0"/>
                  </a:moveTo>
                  <a:lnTo>
                    <a:pt x="404676" y="715"/>
                  </a:lnTo>
                  <a:lnTo>
                    <a:pt x="405462" y="1966"/>
                  </a:lnTo>
                  <a:lnTo>
                    <a:pt x="408893" y="5048"/>
                  </a:lnTo>
                  <a:lnTo>
                    <a:pt x="414297" y="10544"/>
                  </a:lnTo>
                  <a:lnTo>
                    <a:pt x="420668" y="18900"/>
                  </a:lnTo>
                  <a:lnTo>
                    <a:pt x="424663" y="22964"/>
                  </a:lnTo>
                  <a:lnTo>
                    <a:pt x="428872" y="26645"/>
                  </a:lnTo>
                  <a:lnTo>
                    <a:pt x="433592" y="30404"/>
                  </a:lnTo>
                  <a:lnTo>
                    <a:pt x="438530" y="33638"/>
                  </a:lnTo>
                  <a:lnTo>
                    <a:pt x="441685" y="35162"/>
                  </a:lnTo>
                  <a:lnTo>
                    <a:pt x="443996" y="37594"/>
                  </a:lnTo>
                  <a:lnTo>
                    <a:pt x="445438" y="37991"/>
                  </a:lnTo>
                  <a:lnTo>
                    <a:pt x="448206" y="38128"/>
                  </a:lnTo>
                  <a:lnTo>
                    <a:pt x="449444" y="38000"/>
                  </a:lnTo>
                  <a:lnTo>
                    <a:pt x="451564" y="38408"/>
                  </a:lnTo>
                  <a:lnTo>
                    <a:pt x="459978" y="42523"/>
                  </a:lnTo>
                  <a:lnTo>
                    <a:pt x="462517" y="43046"/>
                  </a:lnTo>
                  <a:lnTo>
                    <a:pt x="465139" y="43107"/>
                  </a:lnTo>
                  <a:lnTo>
                    <a:pt x="466980" y="42775"/>
                  </a:lnTo>
                  <a:lnTo>
                    <a:pt x="468602" y="41647"/>
                  </a:lnTo>
                  <a:lnTo>
                    <a:pt x="473681" y="36658"/>
                  </a:lnTo>
                  <a:lnTo>
                    <a:pt x="479014" y="32108"/>
                  </a:lnTo>
                  <a:lnTo>
                    <a:pt x="479607" y="32284"/>
                  </a:lnTo>
                  <a:lnTo>
                    <a:pt x="479608" y="33535"/>
                  </a:lnTo>
                  <a:lnTo>
                    <a:pt x="479217" y="34933"/>
                  </a:lnTo>
                  <a:lnTo>
                    <a:pt x="476857" y="39096"/>
                  </a:lnTo>
                  <a:lnTo>
                    <a:pt x="474229" y="44691"/>
                  </a:lnTo>
                  <a:lnTo>
                    <a:pt x="473670" y="47522"/>
                  </a:lnTo>
                  <a:lnTo>
                    <a:pt x="474523" y="50276"/>
                  </a:lnTo>
                  <a:lnTo>
                    <a:pt x="476169" y="52548"/>
                  </a:lnTo>
                  <a:lnTo>
                    <a:pt x="477470" y="55654"/>
                  </a:lnTo>
                  <a:lnTo>
                    <a:pt x="478971" y="59968"/>
                  </a:lnTo>
                  <a:lnTo>
                    <a:pt x="481079" y="60513"/>
                  </a:lnTo>
                  <a:lnTo>
                    <a:pt x="482223" y="60580"/>
                  </a:lnTo>
                  <a:lnTo>
                    <a:pt x="484333" y="59289"/>
                  </a:lnTo>
                  <a:lnTo>
                    <a:pt x="486330" y="57646"/>
                  </a:lnTo>
                  <a:lnTo>
                    <a:pt x="488047" y="57446"/>
                  </a:lnTo>
                  <a:lnTo>
                    <a:pt x="489855" y="57725"/>
                  </a:lnTo>
                  <a:lnTo>
                    <a:pt x="487479" y="58868"/>
                  </a:lnTo>
                  <a:lnTo>
                    <a:pt x="485238" y="60269"/>
                  </a:lnTo>
                  <a:lnTo>
                    <a:pt x="483318" y="62919"/>
                  </a:lnTo>
                  <a:lnTo>
                    <a:pt x="482603" y="63414"/>
                  </a:lnTo>
                  <a:lnTo>
                    <a:pt x="480386" y="63251"/>
                  </a:lnTo>
                  <a:lnTo>
                    <a:pt x="479118" y="63347"/>
                  </a:lnTo>
                  <a:lnTo>
                    <a:pt x="476522" y="64453"/>
                  </a:lnTo>
                  <a:lnTo>
                    <a:pt x="474246" y="65704"/>
                  </a:lnTo>
                  <a:lnTo>
                    <a:pt x="472072" y="67239"/>
                  </a:lnTo>
                  <a:lnTo>
                    <a:pt x="469696" y="68062"/>
                  </a:lnTo>
                  <a:lnTo>
                    <a:pt x="467170" y="68256"/>
                  </a:lnTo>
                  <a:lnTo>
                    <a:pt x="463270" y="69509"/>
                  </a:lnTo>
                  <a:lnTo>
                    <a:pt x="460737" y="69598"/>
                  </a:lnTo>
                  <a:lnTo>
                    <a:pt x="455991" y="68504"/>
                  </a:lnTo>
                  <a:lnTo>
                    <a:pt x="453685" y="68793"/>
                  </a:lnTo>
                  <a:lnTo>
                    <a:pt x="448645" y="71263"/>
                  </a:lnTo>
                  <a:lnTo>
                    <a:pt x="444063" y="74828"/>
                  </a:lnTo>
                  <a:lnTo>
                    <a:pt x="440057" y="78820"/>
                  </a:lnTo>
                  <a:lnTo>
                    <a:pt x="436708" y="83617"/>
                  </a:lnTo>
                  <a:lnTo>
                    <a:pt x="435362" y="86114"/>
                  </a:lnTo>
                  <a:lnTo>
                    <a:pt x="434554" y="88903"/>
                  </a:lnTo>
                  <a:lnTo>
                    <a:pt x="434445" y="90747"/>
                  </a:lnTo>
                  <a:lnTo>
                    <a:pt x="434147" y="92520"/>
                  </a:lnTo>
                  <a:lnTo>
                    <a:pt x="433374" y="93755"/>
                  </a:lnTo>
                  <a:lnTo>
                    <a:pt x="432441" y="94754"/>
                  </a:lnTo>
                  <a:lnTo>
                    <a:pt x="429681" y="94169"/>
                  </a:lnTo>
                  <a:lnTo>
                    <a:pt x="425140" y="91616"/>
                  </a:lnTo>
                  <a:lnTo>
                    <a:pt x="416336" y="87903"/>
                  </a:lnTo>
                  <a:lnTo>
                    <a:pt x="407042" y="82208"/>
                  </a:lnTo>
                  <a:lnTo>
                    <a:pt x="401812" y="79345"/>
                  </a:lnTo>
                  <a:lnTo>
                    <a:pt x="391979" y="80203"/>
                  </a:lnTo>
                  <a:lnTo>
                    <a:pt x="382680" y="85662"/>
                  </a:lnTo>
                  <a:lnTo>
                    <a:pt x="381847" y="85198"/>
                  </a:lnTo>
                  <a:lnTo>
                    <a:pt x="378290" y="81455"/>
                  </a:lnTo>
                  <a:lnTo>
                    <a:pt x="376569" y="79971"/>
                  </a:lnTo>
                  <a:lnTo>
                    <a:pt x="374513" y="79551"/>
                  </a:lnTo>
                  <a:lnTo>
                    <a:pt x="372984" y="79599"/>
                  </a:lnTo>
                  <a:lnTo>
                    <a:pt x="371498" y="79871"/>
                  </a:lnTo>
                  <a:lnTo>
                    <a:pt x="369398" y="81797"/>
                  </a:lnTo>
                  <a:lnTo>
                    <a:pt x="368627" y="83185"/>
                  </a:lnTo>
                  <a:lnTo>
                    <a:pt x="368028" y="84758"/>
                  </a:lnTo>
                  <a:lnTo>
                    <a:pt x="367844" y="85871"/>
                  </a:lnTo>
                  <a:lnTo>
                    <a:pt x="368098" y="86961"/>
                  </a:lnTo>
                  <a:lnTo>
                    <a:pt x="370086" y="89425"/>
                  </a:lnTo>
                  <a:lnTo>
                    <a:pt x="372540" y="91259"/>
                  </a:lnTo>
                  <a:lnTo>
                    <a:pt x="373650" y="91607"/>
                  </a:lnTo>
                  <a:lnTo>
                    <a:pt x="376005" y="91479"/>
                  </a:lnTo>
                  <a:lnTo>
                    <a:pt x="377100" y="91669"/>
                  </a:lnTo>
                  <a:lnTo>
                    <a:pt x="381048" y="95349"/>
                  </a:lnTo>
                  <a:lnTo>
                    <a:pt x="385368" y="98790"/>
                  </a:lnTo>
                  <a:lnTo>
                    <a:pt x="386325" y="99929"/>
                  </a:lnTo>
                  <a:lnTo>
                    <a:pt x="384727" y="101129"/>
                  </a:lnTo>
                  <a:lnTo>
                    <a:pt x="382976" y="101722"/>
                  </a:lnTo>
                  <a:lnTo>
                    <a:pt x="380941" y="101567"/>
                  </a:lnTo>
                  <a:lnTo>
                    <a:pt x="378927" y="101113"/>
                  </a:lnTo>
                  <a:lnTo>
                    <a:pt x="375466" y="99651"/>
                  </a:lnTo>
                  <a:lnTo>
                    <a:pt x="373986" y="100897"/>
                  </a:lnTo>
                  <a:lnTo>
                    <a:pt x="371691" y="103449"/>
                  </a:lnTo>
                  <a:lnTo>
                    <a:pt x="370419" y="106221"/>
                  </a:lnTo>
                  <a:lnTo>
                    <a:pt x="369387" y="107493"/>
                  </a:lnTo>
                  <a:lnTo>
                    <a:pt x="366847" y="109165"/>
                  </a:lnTo>
                  <a:lnTo>
                    <a:pt x="364161" y="110030"/>
                  </a:lnTo>
                  <a:lnTo>
                    <a:pt x="362757" y="109744"/>
                  </a:lnTo>
                  <a:lnTo>
                    <a:pt x="361684" y="108696"/>
                  </a:lnTo>
                  <a:lnTo>
                    <a:pt x="361077" y="107439"/>
                  </a:lnTo>
                  <a:lnTo>
                    <a:pt x="360771" y="105983"/>
                  </a:lnTo>
                  <a:lnTo>
                    <a:pt x="361345" y="102825"/>
                  </a:lnTo>
                  <a:lnTo>
                    <a:pt x="362736" y="99979"/>
                  </a:lnTo>
                  <a:lnTo>
                    <a:pt x="363271" y="97070"/>
                  </a:lnTo>
                  <a:lnTo>
                    <a:pt x="362132" y="92971"/>
                  </a:lnTo>
                  <a:lnTo>
                    <a:pt x="361408" y="92115"/>
                  </a:lnTo>
                  <a:lnTo>
                    <a:pt x="358555" y="89710"/>
                  </a:lnTo>
                  <a:lnTo>
                    <a:pt x="357236" y="87367"/>
                  </a:lnTo>
                  <a:lnTo>
                    <a:pt x="356914" y="84451"/>
                  </a:lnTo>
                  <a:lnTo>
                    <a:pt x="357083" y="82837"/>
                  </a:lnTo>
                  <a:lnTo>
                    <a:pt x="357782" y="79274"/>
                  </a:lnTo>
                  <a:lnTo>
                    <a:pt x="358467" y="77472"/>
                  </a:lnTo>
                  <a:lnTo>
                    <a:pt x="359782" y="76878"/>
                  </a:lnTo>
                  <a:lnTo>
                    <a:pt x="361207" y="76522"/>
                  </a:lnTo>
                  <a:lnTo>
                    <a:pt x="363410" y="75234"/>
                  </a:lnTo>
                  <a:lnTo>
                    <a:pt x="365831" y="73562"/>
                  </a:lnTo>
                  <a:lnTo>
                    <a:pt x="368141" y="71653"/>
                  </a:lnTo>
                  <a:lnTo>
                    <a:pt x="370432" y="69317"/>
                  </a:lnTo>
                  <a:lnTo>
                    <a:pt x="371630" y="66749"/>
                  </a:lnTo>
                  <a:lnTo>
                    <a:pt x="369663" y="63599"/>
                  </a:lnTo>
                  <a:lnTo>
                    <a:pt x="369261" y="61726"/>
                  </a:lnTo>
                  <a:lnTo>
                    <a:pt x="369551" y="59952"/>
                  </a:lnTo>
                  <a:lnTo>
                    <a:pt x="371641" y="59009"/>
                  </a:lnTo>
                  <a:lnTo>
                    <a:pt x="373801" y="59721"/>
                  </a:lnTo>
                  <a:lnTo>
                    <a:pt x="378137" y="62319"/>
                  </a:lnTo>
                  <a:lnTo>
                    <a:pt x="378987" y="62575"/>
                  </a:lnTo>
                  <a:lnTo>
                    <a:pt x="381965" y="62696"/>
                  </a:lnTo>
                  <a:lnTo>
                    <a:pt x="386042" y="63261"/>
                  </a:lnTo>
                  <a:lnTo>
                    <a:pt x="388404" y="63123"/>
                  </a:lnTo>
                  <a:lnTo>
                    <a:pt x="389538" y="62731"/>
                  </a:lnTo>
                  <a:lnTo>
                    <a:pt x="391259" y="60583"/>
                  </a:lnTo>
                  <a:lnTo>
                    <a:pt x="392103" y="57844"/>
                  </a:lnTo>
                  <a:lnTo>
                    <a:pt x="391795" y="54319"/>
                  </a:lnTo>
                  <a:lnTo>
                    <a:pt x="391779" y="50812"/>
                  </a:lnTo>
                  <a:lnTo>
                    <a:pt x="392866" y="47952"/>
                  </a:lnTo>
                  <a:lnTo>
                    <a:pt x="396269" y="43349"/>
                  </a:lnTo>
                  <a:lnTo>
                    <a:pt x="397243" y="40632"/>
                  </a:lnTo>
                  <a:lnTo>
                    <a:pt x="397599" y="34015"/>
                  </a:lnTo>
                  <a:lnTo>
                    <a:pt x="398826" y="31095"/>
                  </a:lnTo>
                  <a:lnTo>
                    <a:pt x="399813" y="28070"/>
                  </a:lnTo>
                  <a:lnTo>
                    <a:pt x="400284" y="21704"/>
                  </a:lnTo>
                  <a:lnTo>
                    <a:pt x="398886" y="15573"/>
                  </a:lnTo>
                  <a:lnTo>
                    <a:pt x="397487" y="12563"/>
                  </a:lnTo>
                  <a:lnTo>
                    <a:pt x="395878" y="9697"/>
                  </a:lnTo>
                  <a:lnTo>
                    <a:pt x="396116" y="6958"/>
                  </a:lnTo>
                  <a:lnTo>
                    <a:pt x="397416" y="4417"/>
                  </a:lnTo>
                  <a:lnTo>
                    <a:pt x="397448" y="3651"/>
                  </a:lnTo>
                  <a:lnTo>
                    <a:pt x="397757" y="2973"/>
                  </a:lnTo>
                  <a:lnTo>
                    <a:pt x="400192" y="2489"/>
                  </a:lnTo>
                  <a:lnTo>
                    <a:pt x="401328" y="1944"/>
                  </a:lnTo>
                  <a:lnTo>
                    <a:pt x="402417" y="721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80" name="ee4p_XS_1_37365">
              <a:extLst>
                <a:ext uri="{FF2B5EF4-FFF2-40B4-BE49-F238E27FC236}">
                  <a16:creationId xmlns:a16="http://schemas.microsoft.com/office/drawing/2014/main" id="{AA32554E-41F5-C442-5B4A-F52B58166B9F}"/>
                </a:ext>
              </a:extLst>
            </p:cNvPr>
            <p:cNvSpPr>
              <a:spLocks noChangeAspect="1"/>
            </p:cNvSpPr>
            <p:nvPr>
              <p:custDataLst>
                <p:tags r:id="rId234"/>
              </p:custDataLst>
            </p:nvPr>
          </p:nvSpPr>
          <p:spPr>
            <a:xfrm>
              <a:off x="8646467" y="3613669"/>
              <a:ext cx="28673" cy="17881"/>
            </a:xfrm>
            <a:custGeom>
              <a:avLst/>
              <a:gdLst/>
              <a:ahLst/>
              <a:cxnLst/>
              <a:rect l="0" t="0" r="0" b="0"/>
              <a:pathLst>
                <a:path w="22832" h="13861">
                  <a:moveTo>
                    <a:pt x="22831" y="4171"/>
                  </a:moveTo>
                  <a:lnTo>
                    <a:pt x="20566" y="5494"/>
                  </a:lnTo>
                  <a:lnTo>
                    <a:pt x="17793" y="7115"/>
                  </a:lnTo>
                  <a:lnTo>
                    <a:pt x="14518" y="9027"/>
                  </a:lnTo>
                  <a:lnTo>
                    <a:pt x="11633" y="10709"/>
                  </a:lnTo>
                  <a:lnTo>
                    <a:pt x="8882" y="12315"/>
                  </a:lnTo>
                  <a:lnTo>
                    <a:pt x="6230" y="13860"/>
                  </a:lnTo>
                  <a:lnTo>
                    <a:pt x="5254" y="11693"/>
                  </a:lnTo>
                  <a:lnTo>
                    <a:pt x="4688" y="10436"/>
                  </a:lnTo>
                  <a:lnTo>
                    <a:pt x="3557" y="7921"/>
                  </a:lnTo>
                  <a:lnTo>
                    <a:pt x="2550" y="5683"/>
                  </a:lnTo>
                  <a:lnTo>
                    <a:pt x="1015" y="2262"/>
                  </a:lnTo>
                  <a:lnTo>
                    <a:pt x="0" y="0"/>
                  </a:lnTo>
                  <a:lnTo>
                    <a:pt x="2477" y="1219"/>
                  </a:lnTo>
                  <a:lnTo>
                    <a:pt x="7146" y="2760"/>
                  </a:lnTo>
                  <a:lnTo>
                    <a:pt x="11674" y="3863"/>
                  </a:lnTo>
                  <a:lnTo>
                    <a:pt x="15027" y="4682"/>
                  </a:lnTo>
                  <a:lnTo>
                    <a:pt x="16653" y="4736"/>
                  </a:lnTo>
                  <a:lnTo>
                    <a:pt x="17815" y="4776"/>
                  </a:lnTo>
                  <a:lnTo>
                    <a:pt x="21164" y="4557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81" name="ee4p_KZ_1_37365">
              <a:extLst>
                <a:ext uri="{FF2B5EF4-FFF2-40B4-BE49-F238E27FC236}">
                  <a16:creationId xmlns:a16="http://schemas.microsoft.com/office/drawing/2014/main" id="{9961AF0C-C393-B5D5-C477-F1323846E953}"/>
                </a:ext>
              </a:extLst>
            </p:cNvPr>
            <p:cNvSpPr>
              <a:spLocks noChangeAspect="1"/>
            </p:cNvSpPr>
            <p:nvPr>
              <p:custDataLst>
                <p:tags r:id="rId235"/>
              </p:custDataLst>
            </p:nvPr>
          </p:nvSpPr>
          <p:spPr>
            <a:xfrm>
              <a:off x="7809006" y="2909653"/>
              <a:ext cx="1130593" cy="540174"/>
            </a:xfrm>
            <a:custGeom>
              <a:avLst/>
              <a:gdLst>
                <a:gd name="connsiteX0" fmla="*/ 77408 w 900266"/>
                <a:gd name="connsiteY0" fmla="*/ 298988 h 418727"/>
                <a:gd name="connsiteX1" fmla="*/ 77557 w 900266"/>
                <a:gd name="connsiteY1" fmla="*/ 299635 h 418727"/>
                <a:gd name="connsiteX2" fmla="*/ 75980 w 900266"/>
                <a:gd name="connsiteY2" fmla="*/ 300954 h 418727"/>
                <a:gd name="connsiteX3" fmla="*/ 75838 w 900266"/>
                <a:gd name="connsiteY3" fmla="*/ 302618 h 418727"/>
                <a:gd name="connsiteX4" fmla="*/ 77149 w 900266"/>
                <a:gd name="connsiteY4" fmla="*/ 304464 h 418727"/>
                <a:gd name="connsiteX5" fmla="*/ 79057 w 900266"/>
                <a:gd name="connsiteY5" fmla="*/ 305198 h 418727"/>
                <a:gd name="connsiteX6" fmla="*/ 78267 w 900266"/>
                <a:gd name="connsiteY6" fmla="*/ 305967 h 418727"/>
                <a:gd name="connsiteX7" fmla="*/ 77086 w 900266"/>
                <a:gd name="connsiteY7" fmla="*/ 305854 h 418727"/>
                <a:gd name="connsiteX8" fmla="*/ 74870 w 900266"/>
                <a:gd name="connsiteY8" fmla="*/ 302950 h 418727"/>
                <a:gd name="connsiteX9" fmla="*/ 75488 w 900266"/>
                <a:gd name="connsiteY9" fmla="*/ 300005 h 418727"/>
                <a:gd name="connsiteX10" fmla="*/ 76291 w 900266"/>
                <a:gd name="connsiteY10" fmla="*/ 299402 h 418727"/>
                <a:gd name="connsiteX11" fmla="*/ 82711 w 900266"/>
                <a:gd name="connsiteY11" fmla="*/ 298958 h 418727"/>
                <a:gd name="connsiteX12" fmla="*/ 82294 w 900266"/>
                <a:gd name="connsiteY12" fmla="*/ 301271 h 418727"/>
                <a:gd name="connsiteX13" fmla="*/ 81871 w 900266"/>
                <a:gd name="connsiteY13" fmla="*/ 301991 h 418727"/>
                <a:gd name="connsiteX14" fmla="*/ 81109 w 900266"/>
                <a:gd name="connsiteY14" fmla="*/ 302359 h 418727"/>
                <a:gd name="connsiteX15" fmla="*/ 80643 w 900266"/>
                <a:gd name="connsiteY15" fmla="*/ 300615 h 418727"/>
                <a:gd name="connsiteX16" fmla="*/ 81500 w 900266"/>
                <a:gd name="connsiteY16" fmla="*/ 299152 h 418727"/>
                <a:gd name="connsiteX17" fmla="*/ 132667 w 900266"/>
                <a:gd name="connsiteY17" fmla="*/ 286757 h 418727"/>
                <a:gd name="connsiteX18" fmla="*/ 133787 w 900266"/>
                <a:gd name="connsiteY18" fmla="*/ 287031 h 418727"/>
                <a:gd name="connsiteX19" fmla="*/ 134526 w 900266"/>
                <a:gd name="connsiteY19" fmla="*/ 288605 h 418727"/>
                <a:gd name="connsiteX20" fmla="*/ 134292 w 900266"/>
                <a:gd name="connsiteY20" fmla="*/ 289948 h 418727"/>
                <a:gd name="connsiteX21" fmla="*/ 133904 w 900266"/>
                <a:gd name="connsiteY21" fmla="*/ 290237 h 418727"/>
                <a:gd name="connsiteX22" fmla="*/ 132433 w 900266"/>
                <a:gd name="connsiteY22" fmla="*/ 289500 h 418727"/>
                <a:gd name="connsiteX23" fmla="*/ 131460 w 900266"/>
                <a:gd name="connsiteY23" fmla="*/ 288242 h 418727"/>
                <a:gd name="connsiteX24" fmla="*/ 494606 w 900266"/>
                <a:gd name="connsiteY24" fmla="*/ 0 h 418727"/>
                <a:gd name="connsiteX25" fmla="*/ 500570 w 900266"/>
                <a:gd name="connsiteY25" fmla="*/ 529 h 418727"/>
                <a:gd name="connsiteX26" fmla="*/ 506016 w 900266"/>
                <a:gd name="connsiteY26" fmla="*/ 1011 h 418727"/>
                <a:gd name="connsiteX27" fmla="*/ 511477 w 900266"/>
                <a:gd name="connsiteY27" fmla="*/ 2540 h 418727"/>
                <a:gd name="connsiteX28" fmla="*/ 514351 w 900266"/>
                <a:gd name="connsiteY28" fmla="*/ 4444 h 418727"/>
                <a:gd name="connsiteX29" fmla="*/ 516817 w 900266"/>
                <a:gd name="connsiteY29" fmla="*/ 5881 h 418727"/>
                <a:gd name="connsiteX30" fmla="*/ 519153 w 900266"/>
                <a:gd name="connsiteY30" fmla="*/ 6568 h 418727"/>
                <a:gd name="connsiteX31" fmla="*/ 521254 w 900266"/>
                <a:gd name="connsiteY31" fmla="*/ 7009 h 418727"/>
                <a:gd name="connsiteX32" fmla="*/ 523707 w 900266"/>
                <a:gd name="connsiteY32" fmla="*/ 6357 h 418727"/>
                <a:gd name="connsiteX33" fmla="*/ 525435 w 900266"/>
                <a:gd name="connsiteY33" fmla="*/ 5474 h 418727"/>
                <a:gd name="connsiteX34" fmla="*/ 526446 w 900266"/>
                <a:gd name="connsiteY34" fmla="*/ 4212 h 418727"/>
                <a:gd name="connsiteX35" fmla="*/ 527975 w 900266"/>
                <a:gd name="connsiteY35" fmla="*/ 3311 h 418727"/>
                <a:gd name="connsiteX36" fmla="*/ 533541 w 900266"/>
                <a:gd name="connsiteY36" fmla="*/ 2608 h 418727"/>
                <a:gd name="connsiteX37" fmla="*/ 534697 w 900266"/>
                <a:gd name="connsiteY37" fmla="*/ 3967 h 418727"/>
                <a:gd name="connsiteX38" fmla="*/ 537346 w 900266"/>
                <a:gd name="connsiteY38" fmla="*/ 8071 h 418727"/>
                <a:gd name="connsiteX39" fmla="*/ 539151 w 900266"/>
                <a:gd name="connsiteY39" fmla="*/ 13530 h 418727"/>
                <a:gd name="connsiteX40" fmla="*/ 542125 w 900266"/>
                <a:gd name="connsiteY40" fmla="*/ 20751 h 418727"/>
                <a:gd name="connsiteX41" fmla="*/ 543436 w 900266"/>
                <a:gd name="connsiteY41" fmla="*/ 24292 h 418727"/>
                <a:gd name="connsiteX42" fmla="*/ 542853 w 900266"/>
                <a:gd name="connsiteY42" fmla="*/ 26147 h 418727"/>
                <a:gd name="connsiteX43" fmla="*/ 542866 w 900266"/>
                <a:gd name="connsiteY43" fmla="*/ 28687 h 418727"/>
                <a:gd name="connsiteX44" fmla="*/ 542697 w 900266"/>
                <a:gd name="connsiteY44" fmla="*/ 31474 h 418727"/>
                <a:gd name="connsiteX45" fmla="*/ 540499 w 900266"/>
                <a:gd name="connsiteY45" fmla="*/ 34628 h 418727"/>
                <a:gd name="connsiteX46" fmla="*/ 541393 w 900266"/>
                <a:gd name="connsiteY46" fmla="*/ 36097 h 418727"/>
                <a:gd name="connsiteX47" fmla="*/ 546772 w 900266"/>
                <a:gd name="connsiteY47" fmla="*/ 37735 h 418727"/>
                <a:gd name="connsiteX48" fmla="*/ 554306 w 900266"/>
                <a:gd name="connsiteY48" fmla="*/ 37137 h 418727"/>
                <a:gd name="connsiteX49" fmla="*/ 558955 w 900266"/>
                <a:gd name="connsiteY49" fmla="*/ 35815 h 418727"/>
                <a:gd name="connsiteX50" fmla="*/ 561544 w 900266"/>
                <a:gd name="connsiteY50" fmla="*/ 36296 h 418727"/>
                <a:gd name="connsiteX51" fmla="*/ 562896 w 900266"/>
                <a:gd name="connsiteY51" fmla="*/ 35506 h 418727"/>
                <a:gd name="connsiteX52" fmla="*/ 563775 w 900266"/>
                <a:gd name="connsiteY52" fmla="*/ 33168 h 418727"/>
                <a:gd name="connsiteX53" fmla="*/ 565559 w 900266"/>
                <a:gd name="connsiteY53" fmla="*/ 32644 h 418727"/>
                <a:gd name="connsiteX54" fmla="*/ 567396 w 900266"/>
                <a:gd name="connsiteY54" fmla="*/ 34274 h 418727"/>
                <a:gd name="connsiteX55" fmla="*/ 568731 w 900266"/>
                <a:gd name="connsiteY55" fmla="*/ 37033 h 418727"/>
                <a:gd name="connsiteX56" fmla="*/ 570009 w 900266"/>
                <a:gd name="connsiteY56" fmla="*/ 38808 h 418727"/>
                <a:gd name="connsiteX57" fmla="*/ 569914 w 900266"/>
                <a:gd name="connsiteY57" fmla="*/ 40915 h 418727"/>
                <a:gd name="connsiteX58" fmla="*/ 570385 w 900266"/>
                <a:gd name="connsiteY58" fmla="*/ 43621 h 418727"/>
                <a:gd name="connsiteX59" fmla="*/ 571324 w 900266"/>
                <a:gd name="connsiteY59" fmla="*/ 44306 h 418727"/>
                <a:gd name="connsiteX60" fmla="*/ 573170 w 900266"/>
                <a:gd name="connsiteY60" fmla="*/ 43278 h 418727"/>
                <a:gd name="connsiteX61" fmla="*/ 574401 w 900266"/>
                <a:gd name="connsiteY61" fmla="*/ 42666 h 418727"/>
                <a:gd name="connsiteX62" fmla="*/ 574695 w 900266"/>
                <a:gd name="connsiteY62" fmla="*/ 41844 h 418727"/>
                <a:gd name="connsiteX63" fmla="*/ 574172 w 900266"/>
                <a:gd name="connsiteY63" fmla="*/ 40829 h 418727"/>
                <a:gd name="connsiteX64" fmla="*/ 573922 w 900266"/>
                <a:gd name="connsiteY64" fmla="*/ 39798 h 418727"/>
                <a:gd name="connsiteX65" fmla="*/ 574330 w 900266"/>
                <a:gd name="connsiteY65" fmla="*/ 38852 h 418727"/>
                <a:gd name="connsiteX66" fmla="*/ 575205 w 900266"/>
                <a:gd name="connsiteY66" fmla="*/ 38465 h 418727"/>
                <a:gd name="connsiteX67" fmla="*/ 577830 w 900266"/>
                <a:gd name="connsiteY67" fmla="*/ 38763 h 418727"/>
                <a:gd name="connsiteX68" fmla="*/ 581657 w 900266"/>
                <a:gd name="connsiteY68" fmla="*/ 39285 h 418727"/>
                <a:gd name="connsiteX69" fmla="*/ 586196 w 900266"/>
                <a:gd name="connsiteY69" fmla="*/ 43127 h 418727"/>
                <a:gd name="connsiteX70" fmla="*/ 588640 w 900266"/>
                <a:gd name="connsiteY70" fmla="*/ 43822 h 418727"/>
                <a:gd name="connsiteX71" fmla="*/ 589672 w 900266"/>
                <a:gd name="connsiteY71" fmla="*/ 43889 h 418727"/>
                <a:gd name="connsiteX72" fmla="*/ 591975 w 900266"/>
                <a:gd name="connsiteY72" fmla="*/ 43670 h 418727"/>
                <a:gd name="connsiteX73" fmla="*/ 594738 w 900266"/>
                <a:gd name="connsiteY73" fmla="*/ 42564 h 418727"/>
                <a:gd name="connsiteX74" fmla="*/ 596602 w 900266"/>
                <a:gd name="connsiteY74" fmla="*/ 41179 h 418727"/>
                <a:gd name="connsiteX75" fmla="*/ 597221 w 900266"/>
                <a:gd name="connsiteY75" fmla="*/ 40498 h 418727"/>
                <a:gd name="connsiteX76" fmla="*/ 598293 w 900266"/>
                <a:gd name="connsiteY76" fmla="*/ 40617 h 418727"/>
                <a:gd name="connsiteX77" fmla="*/ 599310 w 900266"/>
                <a:gd name="connsiteY77" fmla="*/ 41257 h 418727"/>
                <a:gd name="connsiteX78" fmla="*/ 599379 w 900266"/>
                <a:gd name="connsiteY78" fmla="*/ 42658 h 418727"/>
                <a:gd name="connsiteX79" fmla="*/ 598569 w 900266"/>
                <a:gd name="connsiteY79" fmla="*/ 44682 h 418727"/>
                <a:gd name="connsiteX80" fmla="*/ 595812 w 900266"/>
                <a:gd name="connsiteY80" fmla="*/ 46534 h 418727"/>
                <a:gd name="connsiteX81" fmla="*/ 592389 w 900266"/>
                <a:gd name="connsiteY81" fmla="*/ 48255 h 418727"/>
                <a:gd name="connsiteX82" fmla="*/ 590316 w 900266"/>
                <a:gd name="connsiteY82" fmla="*/ 51407 h 418727"/>
                <a:gd name="connsiteX83" fmla="*/ 589875 w 900266"/>
                <a:gd name="connsiteY83" fmla="*/ 54694 h 418727"/>
                <a:gd name="connsiteX84" fmla="*/ 590785 w 900266"/>
                <a:gd name="connsiteY84" fmla="*/ 56359 h 418727"/>
                <a:gd name="connsiteX85" fmla="*/ 591560 w 900266"/>
                <a:gd name="connsiteY85" fmla="*/ 57473 h 418727"/>
                <a:gd name="connsiteX86" fmla="*/ 591780 w 900266"/>
                <a:gd name="connsiteY86" fmla="*/ 59034 h 418727"/>
                <a:gd name="connsiteX87" fmla="*/ 592556 w 900266"/>
                <a:gd name="connsiteY87" fmla="*/ 59240 h 418727"/>
                <a:gd name="connsiteX88" fmla="*/ 593948 w 900266"/>
                <a:gd name="connsiteY88" fmla="*/ 58598 h 418727"/>
                <a:gd name="connsiteX89" fmla="*/ 597775 w 900266"/>
                <a:gd name="connsiteY89" fmla="*/ 55361 h 418727"/>
                <a:gd name="connsiteX90" fmla="*/ 599724 w 900266"/>
                <a:gd name="connsiteY90" fmla="*/ 54561 h 418727"/>
                <a:gd name="connsiteX91" fmla="*/ 602551 w 900266"/>
                <a:gd name="connsiteY91" fmla="*/ 54049 h 418727"/>
                <a:gd name="connsiteX92" fmla="*/ 607187 w 900266"/>
                <a:gd name="connsiteY92" fmla="*/ 54300 h 418727"/>
                <a:gd name="connsiteX93" fmla="*/ 610312 w 900266"/>
                <a:gd name="connsiteY93" fmla="*/ 55355 h 418727"/>
                <a:gd name="connsiteX94" fmla="*/ 611802 w 900266"/>
                <a:gd name="connsiteY94" fmla="*/ 56824 h 418727"/>
                <a:gd name="connsiteX95" fmla="*/ 613443 w 900266"/>
                <a:gd name="connsiteY95" fmla="*/ 58033 h 418727"/>
                <a:gd name="connsiteX96" fmla="*/ 614574 w 900266"/>
                <a:gd name="connsiteY96" fmla="*/ 57527 h 418727"/>
                <a:gd name="connsiteX97" fmla="*/ 615162 w 900266"/>
                <a:gd name="connsiteY97" fmla="*/ 56131 h 418727"/>
                <a:gd name="connsiteX98" fmla="*/ 615187 w 900266"/>
                <a:gd name="connsiteY98" fmla="*/ 54533 h 418727"/>
                <a:gd name="connsiteX99" fmla="*/ 615663 w 900266"/>
                <a:gd name="connsiteY99" fmla="*/ 53218 h 418727"/>
                <a:gd name="connsiteX100" fmla="*/ 620738 w 900266"/>
                <a:gd name="connsiteY100" fmla="*/ 49981 h 418727"/>
                <a:gd name="connsiteX101" fmla="*/ 624115 w 900266"/>
                <a:gd name="connsiteY101" fmla="*/ 47825 h 418727"/>
                <a:gd name="connsiteX102" fmla="*/ 625279 w 900266"/>
                <a:gd name="connsiteY102" fmla="*/ 47572 h 418727"/>
                <a:gd name="connsiteX103" fmla="*/ 627537 w 900266"/>
                <a:gd name="connsiteY103" fmla="*/ 48020 h 418727"/>
                <a:gd name="connsiteX104" fmla="*/ 628934 w 900266"/>
                <a:gd name="connsiteY104" fmla="*/ 47794 h 418727"/>
                <a:gd name="connsiteX105" fmla="*/ 632651 w 900266"/>
                <a:gd name="connsiteY105" fmla="*/ 45762 h 418727"/>
                <a:gd name="connsiteX106" fmla="*/ 636119 w 900266"/>
                <a:gd name="connsiteY106" fmla="*/ 43450 h 418727"/>
                <a:gd name="connsiteX107" fmla="*/ 636457 w 900266"/>
                <a:gd name="connsiteY107" fmla="*/ 41884 h 418727"/>
                <a:gd name="connsiteX108" fmla="*/ 636585 w 900266"/>
                <a:gd name="connsiteY108" fmla="*/ 40464 h 418727"/>
                <a:gd name="connsiteX109" fmla="*/ 637449 w 900266"/>
                <a:gd name="connsiteY109" fmla="*/ 39822 h 418727"/>
                <a:gd name="connsiteX110" fmla="*/ 642305 w 900266"/>
                <a:gd name="connsiteY110" fmla="*/ 39325 h 418727"/>
                <a:gd name="connsiteX111" fmla="*/ 643102 w 900266"/>
                <a:gd name="connsiteY111" fmla="*/ 39058 h 418727"/>
                <a:gd name="connsiteX112" fmla="*/ 647254 w 900266"/>
                <a:gd name="connsiteY112" fmla="*/ 37442 h 418727"/>
                <a:gd name="connsiteX113" fmla="*/ 653001 w 900266"/>
                <a:gd name="connsiteY113" fmla="*/ 34687 h 418727"/>
                <a:gd name="connsiteX114" fmla="*/ 655788 w 900266"/>
                <a:gd name="connsiteY114" fmla="*/ 33061 h 418727"/>
                <a:gd name="connsiteX115" fmla="*/ 660871 w 900266"/>
                <a:gd name="connsiteY115" fmla="*/ 32338 h 418727"/>
                <a:gd name="connsiteX116" fmla="*/ 661815 w 900266"/>
                <a:gd name="connsiteY116" fmla="*/ 31869 h 418727"/>
                <a:gd name="connsiteX117" fmla="*/ 663504 w 900266"/>
                <a:gd name="connsiteY117" fmla="*/ 30771 h 418727"/>
                <a:gd name="connsiteX118" fmla="*/ 666685 w 900266"/>
                <a:gd name="connsiteY118" fmla="*/ 29253 h 418727"/>
                <a:gd name="connsiteX119" fmla="*/ 668408 w 900266"/>
                <a:gd name="connsiteY119" fmla="*/ 29085 h 418727"/>
                <a:gd name="connsiteX120" fmla="*/ 667339 w 900266"/>
                <a:gd name="connsiteY120" fmla="*/ 32759 h 418727"/>
                <a:gd name="connsiteX121" fmla="*/ 665439 w 900266"/>
                <a:gd name="connsiteY121" fmla="*/ 37001 h 418727"/>
                <a:gd name="connsiteX122" fmla="*/ 664368 w 900266"/>
                <a:gd name="connsiteY122" fmla="*/ 38133 h 418727"/>
                <a:gd name="connsiteX123" fmla="*/ 659218 w 900266"/>
                <a:gd name="connsiteY123" fmla="*/ 37943 h 418727"/>
                <a:gd name="connsiteX124" fmla="*/ 659226 w 900266"/>
                <a:gd name="connsiteY124" fmla="*/ 39097 h 418727"/>
                <a:gd name="connsiteX125" fmla="*/ 660034 w 900266"/>
                <a:gd name="connsiteY125" fmla="*/ 40866 h 418727"/>
                <a:gd name="connsiteX126" fmla="*/ 660613 w 900266"/>
                <a:gd name="connsiteY126" fmla="*/ 41859 h 418727"/>
                <a:gd name="connsiteX127" fmla="*/ 661239 w 900266"/>
                <a:gd name="connsiteY127" fmla="*/ 42749 h 418727"/>
                <a:gd name="connsiteX128" fmla="*/ 662623 w 900266"/>
                <a:gd name="connsiteY128" fmla="*/ 44286 h 418727"/>
                <a:gd name="connsiteX129" fmla="*/ 668041 w 900266"/>
                <a:gd name="connsiteY129" fmla="*/ 47916 h 418727"/>
                <a:gd name="connsiteX130" fmla="*/ 674934 w 900266"/>
                <a:gd name="connsiteY130" fmla="*/ 52528 h 418727"/>
                <a:gd name="connsiteX131" fmla="*/ 682381 w 900266"/>
                <a:gd name="connsiteY131" fmla="*/ 57697 h 418727"/>
                <a:gd name="connsiteX132" fmla="*/ 687581 w 900266"/>
                <a:gd name="connsiteY132" fmla="*/ 61300 h 418727"/>
                <a:gd name="connsiteX133" fmla="*/ 689682 w 900266"/>
                <a:gd name="connsiteY133" fmla="*/ 63156 h 418727"/>
                <a:gd name="connsiteX134" fmla="*/ 691021 w 900266"/>
                <a:gd name="connsiteY134" fmla="*/ 64606 h 418727"/>
                <a:gd name="connsiteX135" fmla="*/ 694858 w 900266"/>
                <a:gd name="connsiteY135" fmla="*/ 69835 h 418727"/>
                <a:gd name="connsiteX136" fmla="*/ 698497 w 900266"/>
                <a:gd name="connsiteY136" fmla="*/ 74785 h 418727"/>
                <a:gd name="connsiteX137" fmla="*/ 704632 w 900266"/>
                <a:gd name="connsiteY137" fmla="*/ 83482 h 418727"/>
                <a:gd name="connsiteX138" fmla="*/ 710071 w 900266"/>
                <a:gd name="connsiteY138" fmla="*/ 91855 h 418727"/>
                <a:gd name="connsiteX139" fmla="*/ 716055 w 900266"/>
                <a:gd name="connsiteY139" fmla="*/ 101033 h 418727"/>
                <a:gd name="connsiteX140" fmla="*/ 719518 w 900266"/>
                <a:gd name="connsiteY140" fmla="*/ 106332 h 418727"/>
                <a:gd name="connsiteX141" fmla="*/ 726597 w 900266"/>
                <a:gd name="connsiteY141" fmla="*/ 117377 h 418727"/>
                <a:gd name="connsiteX142" fmla="*/ 728486 w 900266"/>
                <a:gd name="connsiteY142" fmla="*/ 120758 h 418727"/>
                <a:gd name="connsiteX143" fmla="*/ 732071 w 900266"/>
                <a:gd name="connsiteY143" fmla="*/ 127146 h 418727"/>
                <a:gd name="connsiteX144" fmla="*/ 735239 w 900266"/>
                <a:gd name="connsiteY144" fmla="*/ 133125 h 418727"/>
                <a:gd name="connsiteX145" fmla="*/ 738037 w 900266"/>
                <a:gd name="connsiteY145" fmla="*/ 138401 h 418727"/>
                <a:gd name="connsiteX146" fmla="*/ 739799 w 900266"/>
                <a:gd name="connsiteY146" fmla="*/ 138877 h 418727"/>
                <a:gd name="connsiteX147" fmla="*/ 739935 w 900266"/>
                <a:gd name="connsiteY147" fmla="*/ 137448 h 418727"/>
                <a:gd name="connsiteX148" fmla="*/ 740251 w 900266"/>
                <a:gd name="connsiteY148" fmla="*/ 136494 h 418727"/>
                <a:gd name="connsiteX149" fmla="*/ 741155 w 900266"/>
                <a:gd name="connsiteY149" fmla="*/ 135959 h 418727"/>
                <a:gd name="connsiteX150" fmla="*/ 743211 w 900266"/>
                <a:gd name="connsiteY150" fmla="*/ 134401 h 418727"/>
                <a:gd name="connsiteX151" fmla="*/ 744321 w 900266"/>
                <a:gd name="connsiteY151" fmla="*/ 134026 h 418727"/>
                <a:gd name="connsiteX152" fmla="*/ 745975 w 900266"/>
                <a:gd name="connsiteY152" fmla="*/ 134187 h 418727"/>
                <a:gd name="connsiteX153" fmla="*/ 747709 w 900266"/>
                <a:gd name="connsiteY153" fmla="*/ 133393 h 418727"/>
                <a:gd name="connsiteX154" fmla="*/ 748342 w 900266"/>
                <a:gd name="connsiteY154" fmla="*/ 131894 h 418727"/>
                <a:gd name="connsiteX155" fmla="*/ 747929 w 900266"/>
                <a:gd name="connsiteY155" fmla="*/ 129117 h 418727"/>
                <a:gd name="connsiteX156" fmla="*/ 747662 w 900266"/>
                <a:gd name="connsiteY156" fmla="*/ 127838 h 418727"/>
                <a:gd name="connsiteX157" fmla="*/ 748249 w 900266"/>
                <a:gd name="connsiteY157" fmla="*/ 126463 h 418727"/>
                <a:gd name="connsiteX158" fmla="*/ 749199 w 900266"/>
                <a:gd name="connsiteY158" fmla="*/ 125924 h 418727"/>
                <a:gd name="connsiteX159" fmla="*/ 750519 w 900266"/>
                <a:gd name="connsiteY159" fmla="*/ 125489 h 418727"/>
                <a:gd name="connsiteX160" fmla="*/ 751730 w 900266"/>
                <a:gd name="connsiteY160" fmla="*/ 125266 h 418727"/>
                <a:gd name="connsiteX161" fmla="*/ 752726 w 900266"/>
                <a:gd name="connsiteY161" fmla="*/ 123710 h 418727"/>
                <a:gd name="connsiteX162" fmla="*/ 754600 w 900266"/>
                <a:gd name="connsiteY162" fmla="*/ 123239 h 418727"/>
                <a:gd name="connsiteX163" fmla="*/ 756321 w 900266"/>
                <a:gd name="connsiteY163" fmla="*/ 123529 h 418727"/>
                <a:gd name="connsiteX164" fmla="*/ 757742 w 900266"/>
                <a:gd name="connsiteY164" fmla="*/ 123590 h 418727"/>
                <a:gd name="connsiteX165" fmla="*/ 758997 w 900266"/>
                <a:gd name="connsiteY165" fmla="*/ 124723 h 418727"/>
                <a:gd name="connsiteX166" fmla="*/ 759694 w 900266"/>
                <a:gd name="connsiteY166" fmla="*/ 126274 h 418727"/>
                <a:gd name="connsiteX167" fmla="*/ 761046 w 900266"/>
                <a:gd name="connsiteY167" fmla="*/ 126394 h 418727"/>
                <a:gd name="connsiteX168" fmla="*/ 763268 w 900266"/>
                <a:gd name="connsiteY168" fmla="*/ 126237 h 418727"/>
                <a:gd name="connsiteX169" fmla="*/ 763572 w 900266"/>
                <a:gd name="connsiteY169" fmla="*/ 127539 h 418727"/>
                <a:gd name="connsiteX170" fmla="*/ 762939 w 900266"/>
                <a:gd name="connsiteY170" fmla="*/ 129710 h 418727"/>
                <a:gd name="connsiteX171" fmla="*/ 762168 w 900266"/>
                <a:gd name="connsiteY171" fmla="*/ 131388 h 418727"/>
                <a:gd name="connsiteX172" fmla="*/ 762035 w 900266"/>
                <a:gd name="connsiteY172" fmla="*/ 132737 h 418727"/>
                <a:gd name="connsiteX173" fmla="*/ 763209 w 900266"/>
                <a:gd name="connsiteY173" fmla="*/ 133393 h 418727"/>
                <a:gd name="connsiteX174" fmla="*/ 767511 w 900266"/>
                <a:gd name="connsiteY174" fmla="*/ 132806 h 418727"/>
                <a:gd name="connsiteX175" fmla="*/ 769040 w 900266"/>
                <a:gd name="connsiteY175" fmla="*/ 133095 h 418727"/>
                <a:gd name="connsiteX176" fmla="*/ 769523 w 900266"/>
                <a:gd name="connsiteY176" fmla="*/ 134459 h 418727"/>
                <a:gd name="connsiteX177" fmla="*/ 770132 w 900266"/>
                <a:gd name="connsiteY177" fmla="*/ 135588 h 418727"/>
                <a:gd name="connsiteX178" fmla="*/ 770439 w 900266"/>
                <a:gd name="connsiteY178" fmla="*/ 136969 h 418727"/>
                <a:gd name="connsiteX179" fmla="*/ 769994 w 900266"/>
                <a:gd name="connsiteY179" fmla="*/ 138501 h 418727"/>
                <a:gd name="connsiteX180" fmla="*/ 770756 w 900266"/>
                <a:gd name="connsiteY180" fmla="*/ 139412 h 418727"/>
                <a:gd name="connsiteX181" fmla="*/ 774470 w 900266"/>
                <a:gd name="connsiteY181" fmla="*/ 139433 h 418727"/>
                <a:gd name="connsiteX182" fmla="*/ 777083 w 900266"/>
                <a:gd name="connsiteY182" fmla="*/ 138697 h 418727"/>
                <a:gd name="connsiteX183" fmla="*/ 781100 w 900266"/>
                <a:gd name="connsiteY183" fmla="*/ 138640 h 418727"/>
                <a:gd name="connsiteX184" fmla="*/ 784734 w 900266"/>
                <a:gd name="connsiteY184" fmla="*/ 140256 h 418727"/>
                <a:gd name="connsiteX185" fmla="*/ 787252 w 900266"/>
                <a:gd name="connsiteY185" fmla="*/ 140006 h 418727"/>
                <a:gd name="connsiteX186" fmla="*/ 789783 w 900266"/>
                <a:gd name="connsiteY186" fmla="*/ 139352 h 418727"/>
                <a:gd name="connsiteX187" fmla="*/ 793488 w 900266"/>
                <a:gd name="connsiteY187" fmla="*/ 139769 h 418727"/>
                <a:gd name="connsiteX188" fmla="*/ 796092 w 900266"/>
                <a:gd name="connsiteY188" fmla="*/ 138490 h 418727"/>
                <a:gd name="connsiteX189" fmla="*/ 797889 w 900266"/>
                <a:gd name="connsiteY189" fmla="*/ 136893 h 418727"/>
                <a:gd name="connsiteX190" fmla="*/ 798455 w 900266"/>
                <a:gd name="connsiteY190" fmla="*/ 135634 h 418727"/>
                <a:gd name="connsiteX191" fmla="*/ 799390 w 900266"/>
                <a:gd name="connsiteY191" fmla="*/ 134938 h 418727"/>
                <a:gd name="connsiteX192" fmla="*/ 802888 w 900266"/>
                <a:gd name="connsiteY192" fmla="*/ 134945 h 418727"/>
                <a:gd name="connsiteX193" fmla="*/ 805104 w 900266"/>
                <a:gd name="connsiteY193" fmla="*/ 134824 h 418727"/>
                <a:gd name="connsiteX194" fmla="*/ 806730 w 900266"/>
                <a:gd name="connsiteY194" fmla="*/ 132975 h 418727"/>
                <a:gd name="connsiteX195" fmla="*/ 808222 w 900266"/>
                <a:gd name="connsiteY195" fmla="*/ 132140 h 418727"/>
                <a:gd name="connsiteX196" fmla="*/ 810731 w 900266"/>
                <a:gd name="connsiteY196" fmla="*/ 131983 h 418727"/>
                <a:gd name="connsiteX197" fmla="*/ 812579 w 900266"/>
                <a:gd name="connsiteY197" fmla="*/ 131983 h 418727"/>
                <a:gd name="connsiteX198" fmla="*/ 817535 w 900266"/>
                <a:gd name="connsiteY198" fmla="*/ 133701 h 418727"/>
                <a:gd name="connsiteX199" fmla="*/ 820550 w 900266"/>
                <a:gd name="connsiteY199" fmla="*/ 135119 h 418727"/>
                <a:gd name="connsiteX200" fmla="*/ 823689 w 900266"/>
                <a:gd name="connsiteY200" fmla="*/ 137135 h 418727"/>
                <a:gd name="connsiteX201" fmla="*/ 825577 w 900266"/>
                <a:gd name="connsiteY201" fmla="*/ 138398 h 418727"/>
                <a:gd name="connsiteX202" fmla="*/ 826842 w 900266"/>
                <a:gd name="connsiteY202" fmla="*/ 141245 h 418727"/>
                <a:gd name="connsiteX203" fmla="*/ 828986 w 900266"/>
                <a:gd name="connsiteY203" fmla="*/ 143343 h 418727"/>
                <a:gd name="connsiteX204" fmla="*/ 830682 w 900266"/>
                <a:gd name="connsiteY204" fmla="*/ 145789 h 418727"/>
                <a:gd name="connsiteX205" fmla="*/ 831092 w 900266"/>
                <a:gd name="connsiteY205" fmla="*/ 148201 h 418727"/>
                <a:gd name="connsiteX206" fmla="*/ 832491 w 900266"/>
                <a:gd name="connsiteY206" fmla="*/ 152527 h 418727"/>
                <a:gd name="connsiteX207" fmla="*/ 833938 w 900266"/>
                <a:gd name="connsiteY207" fmla="*/ 153948 h 418727"/>
                <a:gd name="connsiteX208" fmla="*/ 835657 w 900266"/>
                <a:gd name="connsiteY208" fmla="*/ 153948 h 418727"/>
                <a:gd name="connsiteX209" fmla="*/ 837825 w 900266"/>
                <a:gd name="connsiteY209" fmla="*/ 154539 h 418727"/>
                <a:gd name="connsiteX210" fmla="*/ 840219 w 900266"/>
                <a:gd name="connsiteY210" fmla="*/ 155012 h 418727"/>
                <a:gd name="connsiteX211" fmla="*/ 845342 w 900266"/>
                <a:gd name="connsiteY211" fmla="*/ 158224 h 418727"/>
                <a:gd name="connsiteX212" fmla="*/ 847223 w 900266"/>
                <a:gd name="connsiteY212" fmla="*/ 158320 h 418727"/>
                <a:gd name="connsiteX213" fmla="*/ 848669 w 900266"/>
                <a:gd name="connsiteY213" fmla="*/ 159088 h 418727"/>
                <a:gd name="connsiteX214" fmla="*/ 848896 w 900266"/>
                <a:gd name="connsiteY214" fmla="*/ 160564 h 418727"/>
                <a:gd name="connsiteX215" fmla="*/ 848354 w 900266"/>
                <a:gd name="connsiteY215" fmla="*/ 162273 h 418727"/>
                <a:gd name="connsiteX216" fmla="*/ 848920 w 900266"/>
                <a:gd name="connsiteY216" fmla="*/ 163915 h 418727"/>
                <a:gd name="connsiteX217" fmla="*/ 850593 w 900266"/>
                <a:gd name="connsiteY217" fmla="*/ 166004 h 418727"/>
                <a:gd name="connsiteX218" fmla="*/ 851921 w 900266"/>
                <a:gd name="connsiteY218" fmla="*/ 168046 h 418727"/>
                <a:gd name="connsiteX219" fmla="*/ 853550 w 900266"/>
                <a:gd name="connsiteY219" fmla="*/ 170517 h 418727"/>
                <a:gd name="connsiteX220" fmla="*/ 854046 w 900266"/>
                <a:gd name="connsiteY220" fmla="*/ 171926 h 418727"/>
                <a:gd name="connsiteX221" fmla="*/ 855357 w 900266"/>
                <a:gd name="connsiteY221" fmla="*/ 172396 h 418727"/>
                <a:gd name="connsiteX222" fmla="*/ 857119 w 900266"/>
                <a:gd name="connsiteY222" fmla="*/ 171693 h 418727"/>
                <a:gd name="connsiteX223" fmla="*/ 859924 w 900266"/>
                <a:gd name="connsiteY223" fmla="*/ 172226 h 418727"/>
                <a:gd name="connsiteX224" fmla="*/ 868372 w 900266"/>
                <a:gd name="connsiteY224" fmla="*/ 173629 h 418727"/>
                <a:gd name="connsiteX225" fmla="*/ 869546 w 900266"/>
                <a:gd name="connsiteY225" fmla="*/ 173804 h 418727"/>
                <a:gd name="connsiteX226" fmla="*/ 870449 w 900266"/>
                <a:gd name="connsiteY226" fmla="*/ 175272 h 418727"/>
                <a:gd name="connsiteX227" fmla="*/ 871669 w 900266"/>
                <a:gd name="connsiteY227" fmla="*/ 175154 h 418727"/>
                <a:gd name="connsiteX228" fmla="*/ 873070 w 900266"/>
                <a:gd name="connsiteY228" fmla="*/ 175095 h 418727"/>
                <a:gd name="connsiteX229" fmla="*/ 875014 w 900266"/>
                <a:gd name="connsiteY229" fmla="*/ 175272 h 418727"/>
                <a:gd name="connsiteX230" fmla="*/ 876370 w 900266"/>
                <a:gd name="connsiteY230" fmla="*/ 173922 h 418727"/>
                <a:gd name="connsiteX231" fmla="*/ 877480 w 900266"/>
                <a:gd name="connsiteY231" fmla="*/ 172740 h 418727"/>
                <a:gd name="connsiteX232" fmla="*/ 880257 w 900266"/>
                <a:gd name="connsiteY232" fmla="*/ 171275 h 418727"/>
                <a:gd name="connsiteX233" fmla="*/ 882563 w 900266"/>
                <a:gd name="connsiteY233" fmla="*/ 169283 h 418727"/>
                <a:gd name="connsiteX234" fmla="*/ 884506 w 900266"/>
                <a:gd name="connsiteY234" fmla="*/ 167516 h 418727"/>
                <a:gd name="connsiteX235" fmla="*/ 885951 w 900266"/>
                <a:gd name="connsiteY235" fmla="*/ 167282 h 418727"/>
                <a:gd name="connsiteX236" fmla="*/ 887128 w 900266"/>
                <a:gd name="connsiteY236" fmla="*/ 168105 h 418727"/>
                <a:gd name="connsiteX237" fmla="*/ 887171 w 900266"/>
                <a:gd name="connsiteY237" fmla="*/ 169634 h 418727"/>
                <a:gd name="connsiteX238" fmla="*/ 885726 w 900266"/>
                <a:gd name="connsiteY238" fmla="*/ 170751 h 418727"/>
                <a:gd name="connsiteX239" fmla="*/ 884597 w 900266"/>
                <a:gd name="connsiteY239" fmla="*/ 172101 h 418727"/>
                <a:gd name="connsiteX240" fmla="*/ 884867 w 900266"/>
                <a:gd name="connsiteY240" fmla="*/ 173452 h 418727"/>
                <a:gd name="connsiteX241" fmla="*/ 886810 w 900266"/>
                <a:gd name="connsiteY241" fmla="*/ 173570 h 418727"/>
                <a:gd name="connsiteX242" fmla="*/ 888972 w 900266"/>
                <a:gd name="connsiteY242" fmla="*/ 175599 h 418727"/>
                <a:gd name="connsiteX243" fmla="*/ 892086 w 900266"/>
                <a:gd name="connsiteY243" fmla="*/ 180353 h 418727"/>
                <a:gd name="connsiteX244" fmla="*/ 893148 w 900266"/>
                <a:gd name="connsiteY244" fmla="*/ 181348 h 418727"/>
                <a:gd name="connsiteX245" fmla="*/ 894688 w 900266"/>
                <a:gd name="connsiteY245" fmla="*/ 182285 h 418727"/>
                <a:gd name="connsiteX246" fmla="*/ 896400 w 900266"/>
                <a:gd name="connsiteY246" fmla="*/ 182708 h 418727"/>
                <a:gd name="connsiteX247" fmla="*/ 898294 w 900266"/>
                <a:gd name="connsiteY247" fmla="*/ 183384 h 418727"/>
                <a:gd name="connsiteX248" fmla="*/ 899691 w 900266"/>
                <a:gd name="connsiteY248" fmla="*/ 185343 h 418727"/>
                <a:gd name="connsiteX249" fmla="*/ 900266 w 900266"/>
                <a:gd name="connsiteY249" fmla="*/ 187111 h 418727"/>
                <a:gd name="connsiteX250" fmla="*/ 898212 w 900266"/>
                <a:gd name="connsiteY250" fmla="*/ 186537 h 418727"/>
                <a:gd name="connsiteX251" fmla="*/ 894200 w 900266"/>
                <a:gd name="connsiteY251" fmla="*/ 186421 h 418727"/>
                <a:gd name="connsiteX252" fmla="*/ 891755 w 900266"/>
                <a:gd name="connsiteY252" fmla="*/ 186775 h 418727"/>
                <a:gd name="connsiteX253" fmla="*/ 890604 w 900266"/>
                <a:gd name="connsiteY253" fmla="*/ 186974 h 418727"/>
                <a:gd name="connsiteX254" fmla="*/ 888888 w 900266"/>
                <a:gd name="connsiteY254" fmla="*/ 188141 h 418727"/>
                <a:gd name="connsiteX255" fmla="*/ 887668 w 900266"/>
                <a:gd name="connsiteY255" fmla="*/ 189308 h 418727"/>
                <a:gd name="connsiteX256" fmla="*/ 887126 w 900266"/>
                <a:gd name="connsiteY256" fmla="*/ 191290 h 418727"/>
                <a:gd name="connsiteX257" fmla="*/ 887771 w 900266"/>
                <a:gd name="connsiteY257" fmla="*/ 193530 h 418727"/>
                <a:gd name="connsiteX258" fmla="*/ 886890 w 900266"/>
                <a:gd name="connsiteY258" fmla="*/ 198186 h 418727"/>
                <a:gd name="connsiteX259" fmla="*/ 885692 w 900266"/>
                <a:gd name="connsiteY259" fmla="*/ 199938 h 418727"/>
                <a:gd name="connsiteX260" fmla="*/ 883163 w 900266"/>
                <a:gd name="connsiteY260" fmla="*/ 202974 h 418727"/>
                <a:gd name="connsiteX261" fmla="*/ 881701 w 900266"/>
                <a:gd name="connsiteY261" fmla="*/ 203634 h 418727"/>
                <a:gd name="connsiteX262" fmla="*/ 879252 w 900266"/>
                <a:gd name="connsiteY262" fmla="*/ 204177 h 418727"/>
                <a:gd name="connsiteX263" fmla="*/ 876888 w 900266"/>
                <a:gd name="connsiteY263" fmla="*/ 205076 h 418727"/>
                <a:gd name="connsiteX264" fmla="*/ 872256 w 900266"/>
                <a:gd name="connsiteY264" fmla="*/ 205949 h 418727"/>
                <a:gd name="connsiteX265" fmla="*/ 867253 w 900266"/>
                <a:gd name="connsiteY265" fmla="*/ 206393 h 418727"/>
                <a:gd name="connsiteX266" fmla="*/ 865473 w 900266"/>
                <a:gd name="connsiteY266" fmla="*/ 207045 h 418727"/>
                <a:gd name="connsiteX267" fmla="*/ 864208 w 900266"/>
                <a:gd name="connsiteY267" fmla="*/ 209120 h 418727"/>
                <a:gd name="connsiteX268" fmla="*/ 863310 w 900266"/>
                <a:gd name="connsiteY268" fmla="*/ 210854 h 418727"/>
                <a:gd name="connsiteX269" fmla="*/ 862753 w 900266"/>
                <a:gd name="connsiteY269" fmla="*/ 212171 h 418727"/>
                <a:gd name="connsiteX270" fmla="*/ 861336 w 900266"/>
                <a:gd name="connsiteY270" fmla="*/ 216470 h 418727"/>
                <a:gd name="connsiteX271" fmla="*/ 860533 w 900266"/>
                <a:gd name="connsiteY271" fmla="*/ 220313 h 418727"/>
                <a:gd name="connsiteX272" fmla="*/ 861321 w 900266"/>
                <a:gd name="connsiteY272" fmla="*/ 225076 h 418727"/>
                <a:gd name="connsiteX273" fmla="*/ 861910 w 900266"/>
                <a:gd name="connsiteY273" fmla="*/ 230360 h 418727"/>
                <a:gd name="connsiteX274" fmla="*/ 861874 w 900266"/>
                <a:gd name="connsiteY274" fmla="*/ 232180 h 418727"/>
                <a:gd name="connsiteX275" fmla="*/ 863094 w 900266"/>
                <a:gd name="connsiteY275" fmla="*/ 234879 h 418727"/>
                <a:gd name="connsiteX276" fmla="*/ 863713 w 900266"/>
                <a:gd name="connsiteY276" fmla="*/ 236533 h 418727"/>
                <a:gd name="connsiteX277" fmla="*/ 863422 w 900266"/>
                <a:gd name="connsiteY277" fmla="*/ 238878 h 418727"/>
                <a:gd name="connsiteX278" fmla="*/ 861667 w 900266"/>
                <a:gd name="connsiteY278" fmla="*/ 240729 h 418727"/>
                <a:gd name="connsiteX279" fmla="*/ 860615 w 900266"/>
                <a:gd name="connsiteY279" fmla="*/ 243180 h 418727"/>
                <a:gd name="connsiteX280" fmla="*/ 859621 w 900266"/>
                <a:gd name="connsiteY280" fmla="*/ 244221 h 418727"/>
                <a:gd name="connsiteX281" fmla="*/ 856760 w 900266"/>
                <a:gd name="connsiteY281" fmla="*/ 244690 h 418727"/>
                <a:gd name="connsiteX282" fmla="*/ 854066 w 900266"/>
                <a:gd name="connsiteY282" fmla="*/ 244979 h 418727"/>
                <a:gd name="connsiteX283" fmla="*/ 851347 w 900266"/>
                <a:gd name="connsiteY283" fmla="*/ 247076 h 418727"/>
                <a:gd name="connsiteX284" fmla="*/ 849172 w 900266"/>
                <a:gd name="connsiteY284" fmla="*/ 248527 h 418727"/>
                <a:gd name="connsiteX285" fmla="*/ 845767 w 900266"/>
                <a:gd name="connsiteY285" fmla="*/ 250368 h 418727"/>
                <a:gd name="connsiteX286" fmla="*/ 844173 w 900266"/>
                <a:gd name="connsiteY286" fmla="*/ 250715 h 418727"/>
                <a:gd name="connsiteX287" fmla="*/ 843286 w 900266"/>
                <a:gd name="connsiteY287" fmla="*/ 249777 h 418727"/>
                <a:gd name="connsiteX288" fmla="*/ 842701 w 900266"/>
                <a:gd name="connsiteY288" fmla="*/ 247686 h 418727"/>
                <a:gd name="connsiteX289" fmla="*/ 841530 w 900266"/>
                <a:gd name="connsiteY289" fmla="*/ 246765 h 418727"/>
                <a:gd name="connsiteX290" fmla="*/ 839887 w 900266"/>
                <a:gd name="connsiteY290" fmla="*/ 246693 h 418727"/>
                <a:gd name="connsiteX291" fmla="*/ 838563 w 900266"/>
                <a:gd name="connsiteY291" fmla="*/ 246670 h 418727"/>
                <a:gd name="connsiteX292" fmla="*/ 834283 w 900266"/>
                <a:gd name="connsiteY292" fmla="*/ 246102 h 418727"/>
                <a:gd name="connsiteX293" fmla="*/ 831548 w 900266"/>
                <a:gd name="connsiteY293" fmla="*/ 246141 h 418727"/>
                <a:gd name="connsiteX294" fmla="*/ 829489 w 900266"/>
                <a:gd name="connsiteY294" fmla="*/ 246591 h 418727"/>
                <a:gd name="connsiteX295" fmla="*/ 827144 w 900266"/>
                <a:gd name="connsiteY295" fmla="*/ 246817 h 418727"/>
                <a:gd name="connsiteX296" fmla="*/ 823089 w 900266"/>
                <a:gd name="connsiteY296" fmla="*/ 246054 h 418727"/>
                <a:gd name="connsiteX297" fmla="*/ 820466 w 900266"/>
                <a:gd name="connsiteY297" fmla="*/ 245407 h 418727"/>
                <a:gd name="connsiteX298" fmla="*/ 818699 w 900266"/>
                <a:gd name="connsiteY298" fmla="*/ 244788 h 418727"/>
                <a:gd name="connsiteX299" fmla="*/ 814486 w 900266"/>
                <a:gd name="connsiteY299" fmla="*/ 242961 h 418727"/>
                <a:gd name="connsiteX300" fmla="*/ 808947 w 900266"/>
                <a:gd name="connsiteY300" fmla="*/ 240782 h 418727"/>
                <a:gd name="connsiteX301" fmla="*/ 806675 w 900266"/>
                <a:gd name="connsiteY301" fmla="*/ 240145 h 418727"/>
                <a:gd name="connsiteX302" fmla="*/ 805330 w 900266"/>
                <a:gd name="connsiteY302" fmla="*/ 240800 h 418727"/>
                <a:gd name="connsiteX303" fmla="*/ 805123 w 900266"/>
                <a:gd name="connsiteY303" fmla="*/ 242044 h 418727"/>
                <a:gd name="connsiteX304" fmla="*/ 804769 w 900266"/>
                <a:gd name="connsiteY304" fmla="*/ 245059 h 418727"/>
                <a:gd name="connsiteX305" fmla="*/ 804123 w 900266"/>
                <a:gd name="connsiteY305" fmla="*/ 246943 h 418727"/>
                <a:gd name="connsiteX306" fmla="*/ 800256 w 900266"/>
                <a:gd name="connsiteY306" fmla="*/ 256454 h 418727"/>
                <a:gd name="connsiteX307" fmla="*/ 797872 w 900266"/>
                <a:gd name="connsiteY307" fmla="*/ 263056 h 418727"/>
                <a:gd name="connsiteX308" fmla="*/ 794840 w 900266"/>
                <a:gd name="connsiteY308" fmla="*/ 269369 h 418727"/>
                <a:gd name="connsiteX309" fmla="*/ 793881 w 900266"/>
                <a:gd name="connsiteY309" fmla="*/ 273595 h 418727"/>
                <a:gd name="connsiteX310" fmla="*/ 792067 w 900266"/>
                <a:gd name="connsiteY310" fmla="*/ 278944 h 418727"/>
                <a:gd name="connsiteX311" fmla="*/ 790264 w 900266"/>
                <a:gd name="connsiteY311" fmla="*/ 282811 h 418727"/>
                <a:gd name="connsiteX312" fmla="*/ 789537 w 900266"/>
                <a:gd name="connsiteY312" fmla="*/ 284918 h 418727"/>
                <a:gd name="connsiteX313" fmla="*/ 789469 w 900266"/>
                <a:gd name="connsiteY313" fmla="*/ 285776 h 418727"/>
                <a:gd name="connsiteX314" fmla="*/ 789789 w 900266"/>
                <a:gd name="connsiteY314" fmla="*/ 286980 h 418727"/>
                <a:gd name="connsiteX315" fmla="*/ 792553 w 900266"/>
                <a:gd name="connsiteY315" fmla="*/ 288297 h 418727"/>
                <a:gd name="connsiteX316" fmla="*/ 795447 w 900266"/>
                <a:gd name="connsiteY316" fmla="*/ 289104 h 418727"/>
                <a:gd name="connsiteX317" fmla="*/ 796090 w 900266"/>
                <a:gd name="connsiteY317" fmla="*/ 289607 h 418727"/>
                <a:gd name="connsiteX318" fmla="*/ 796403 w 900266"/>
                <a:gd name="connsiteY318" fmla="*/ 290975 h 418727"/>
                <a:gd name="connsiteX319" fmla="*/ 796300 w 900266"/>
                <a:gd name="connsiteY319" fmla="*/ 293204 h 418727"/>
                <a:gd name="connsiteX320" fmla="*/ 795766 w 900266"/>
                <a:gd name="connsiteY320" fmla="*/ 295319 h 418727"/>
                <a:gd name="connsiteX321" fmla="*/ 794926 w 900266"/>
                <a:gd name="connsiteY321" fmla="*/ 296977 h 418727"/>
                <a:gd name="connsiteX322" fmla="*/ 794097 w 900266"/>
                <a:gd name="connsiteY322" fmla="*/ 297796 h 418727"/>
                <a:gd name="connsiteX323" fmla="*/ 793151 w 900266"/>
                <a:gd name="connsiteY323" fmla="*/ 297848 h 418727"/>
                <a:gd name="connsiteX324" fmla="*/ 791338 w 900266"/>
                <a:gd name="connsiteY324" fmla="*/ 296784 h 418727"/>
                <a:gd name="connsiteX325" fmla="*/ 789718 w 900266"/>
                <a:gd name="connsiteY325" fmla="*/ 295595 h 418727"/>
                <a:gd name="connsiteX326" fmla="*/ 788461 w 900266"/>
                <a:gd name="connsiteY326" fmla="*/ 295233 h 418727"/>
                <a:gd name="connsiteX327" fmla="*/ 785281 w 900266"/>
                <a:gd name="connsiteY327" fmla="*/ 295897 h 418727"/>
                <a:gd name="connsiteX328" fmla="*/ 782328 w 900266"/>
                <a:gd name="connsiteY328" fmla="*/ 296800 h 418727"/>
                <a:gd name="connsiteX329" fmla="*/ 781348 w 900266"/>
                <a:gd name="connsiteY329" fmla="*/ 296828 h 418727"/>
                <a:gd name="connsiteX330" fmla="*/ 779636 w 900266"/>
                <a:gd name="connsiteY330" fmla="*/ 296247 h 418727"/>
                <a:gd name="connsiteX331" fmla="*/ 777915 w 900266"/>
                <a:gd name="connsiteY331" fmla="*/ 295043 h 418727"/>
                <a:gd name="connsiteX332" fmla="*/ 777235 w 900266"/>
                <a:gd name="connsiteY332" fmla="*/ 292718 h 418727"/>
                <a:gd name="connsiteX333" fmla="*/ 775756 w 900266"/>
                <a:gd name="connsiteY333" fmla="*/ 291662 h 418727"/>
                <a:gd name="connsiteX334" fmla="*/ 773767 w 900266"/>
                <a:gd name="connsiteY334" fmla="*/ 292718 h 418727"/>
                <a:gd name="connsiteX335" fmla="*/ 767856 w 900266"/>
                <a:gd name="connsiteY335" fmla="*/ 294490 h 418727"/>
                <a:gd name="connsiteX336" fmla="*/ 761346 w 900266"/>
                <a:gd name="connsiteY336" fmla="*/ 296601 h 418727"/>
                <a:gd name="connsiteX337" fmla="*/ 757211 w 900266"/>
                <a:gd name="connsiteY337" fmla="*/ 297692 h 418727"/>
                <a:gd name="connsiteX338" fmla="*/ 755591 w 900266"/>
                <a:gd name="connsiteY338" fmla="*/ 297520 h 418727"/>
                <a:gd name="connsiteX339" fmla="*/ 752378 w 900266"/>
                <a:gd name="connsiteY339" fmla="*/ 297768 h 418727"/>
                <a:gd name="connsiteX340" fmla="*/ 749601 w 900266"/>
                <a:gd name="connsiteY340" fmla="*/ 298357 h 418727"/>
                <a:gd name="connsiteX341" fmla="*/ 747517 w 900266"/>
                <a:gd name="connsiteY341" fmla="*/ 299175 h 418727"/>
                <a:gd name="connsiteX342" fmla="*/ 743389 w 900266"/>
                <a:gd name="connsiteY342" fmla="*/ 300299 h 418727"/>
                <a:gd name="connsiteX343" fmla="*/ 739650 w 900266"/>
                <a:gd name="connsiteY343" fmla="*/ 301052 h 418727"/>
                <a:gd name="connsiteX344" fmla="*/ 737240 w 900266"/>
                <a:gd name="connsiteY344" fmla="*/ 302755 h 418727"/>
                <a:gd name="connsiteX345" fmla="*/ 735509 w 900266"/>
                <a:gd name="connsiteY345" fmla="*/ 304402 h 418727"/>
                <a:gd name="connsiteX346" fmla="*/ 735584 w 900266"/>
                <a:gd name="connsiteY346" fmla="*/ 305029 h 418727"/>
                <a:gd name="connsiteX347" fmla="*/ 736841 w 900266"/>
                <a:gd name="connsiteY347" fmla="*/ 306002 h 418727"/>
                <a:gd name="connsiteX348" fmla="*/ 738279 w 900266"/>
                <a:gd name="connsiteY348" fmla="*/ 306765 h 418727"/>
                <a:gd name="connsiteX349" fmla="*/ 741169 w 900266"/>
                <a:gd name="connsiteY349" fmla="*/ 306586 h 418727"/>
                <a:gd name="connsiteX350" fmla="*/ 743982 w 900266"/>
                <a:gd name="connsiteY350" fmla="*/ 306468 h 418727"/>
                <a:gd name="connsiteX351" fmla="*/ 746321 w 900266"/>
                <a:gd name="connsiteY351" fmla="*/ 307499 h 418727"/>
                <a:gd name="connsiteX352" fmla="*/ 748413 w 900266"/>
                <a:gd name="connsiteY352" fmla="*/ 308159 h 418727"/>
                <a:gd name="connsiteX353" fmla="*/ 748990 w 900266"/>
                <a:gd name="connsiteY353" fmla="*/ 309016 h 418727"/>
                <a:gd name="connsiteX354" fmla="*/ 748413 w 900266"/>
                <a:gd name="connsiteY354" fmla="*/ 309849 h 418727"/>
                <a:gd name="connsiteX355" fmla="*/ 747200 w 900266"/>
                <a:gd name="connsiteY355" fmla="*/ 310044 h 418727"/>
                <a:gd name="connsiteX356" fmla="*/ 746776 w 900266"/>
                <a:gd name="connsiteY356" fmla="*/ 310630 h 418727"/>
                <a:gd name="connsiteX357" fmla="*/ 746988 w 900266"/>
                <a:gd name="connsiteY357" fmla="*/ 311409 h 418727"/>
                <a:gd name="connsiteX358" fmla="*/ 746193 w 900266"/>
                <a:gd name="connsiteY358" fmla="*/ 313445 h 418727"/>
                <a:gd name="connsiteX359" fmla="*/ 745779 w 900266"/>
                <a:gd name="connsiteY359" fmla="*/ 316535 h 418727"/>
                <a:gd name="connsiteX360" fmla="*/ 746189 w 900266"/>
                <a:gd name="connsiteY360" fmla="*/ 319573 h 418727"/>
                <a:gd name="connsiteX361" fmla="*/ 746420 w 900266"/>
                <a:gd name="connsiteY361" fmla="*/ 322374 h 418727"/>
                <a:gd name="connsiteX362" fmla="*/ 746280 w 900266"/>
                <a:gd name="connsiteY362" fmla="*/ 323784 h 418727"/>
                <a:gd name="connsiteX363" fmla="*/ 746198 w 900266"/>
                <a:gd name="connsiteY363" fmla="*/ 325790 h 418727"/>
                <a:gd name="connsiteX364" fmla="*/ 747094 w 900266"/>
                <a:gd name="connsiteY364" fmla="*/ 327147 h 418727"/>
                <a:gd name="connsiteX365" fmla="*/ 747884 w 900266"/>
                <a:gd name="connsiteY365" fmla="*/ 329728 h 418727"/>
                <a:gd name="connsiteX366" fmla="*/ 749309 w 900266"/>
                <a:gd name="connsiteY366" fmla="*/ 331342 h 418727"/>
                <a:gd name="connsiteX367" fmla="*/ 751464 w 900266"/>
                <a:gd name="connsiteY367" fmla="*/ 336931 h 418727"/>
                <a:gd name="connsiteX368" fmla="*/ 752732 w 900266"/>
                <a:gd name="connsiteY368" fmla="*/ 340192 h 418727"/>
                <a:gd name="connsiteX369" fmla="*/ 753905 w 900266"/>
                <a:gd name="connsiteY369" fmla="*/ 343884 h 418727"/>
                <a:gd name="connsiteX370" fmla="*/ 753056 w 900266"/>
                <a:gd name="connsiteY370" fmla="*/ 345876 h 418727"/>
                <a:gd name="connsiteX371" fmla="*/ 753108 w 900266"/>
                <a:gd name="connsiteY371" fmla="*/ 347030 h 418727"/>
                <a:gd name="connsiteX372" fmla="*/ 754479 w 900266"/>
                <a:gd name="connsiteY372" fmla="*/ 347992 h 418727"/>
                <a:gd name="connsiteX373" fmla="*/ 755082 w 900266"/>
                <a:gd name="connsiteY373" fmla="*/ 349870 h 418727"/>
                <a:gd name="connsiteX374" fmla="*/ 755716 w 900266"/>
                <a:gd name="connsiteY374" fmla="*/ 351019 h 418727"/>
                <a:gd name="connsiteX375" fmla="*/ 755539 w 900266"/>
                <a:gd name="connsiteY375" fmla="*/ 352162 h 418727"/>
                <a:gd name="connsiteX376" fmla="*/ 754952 w 900266"/>
                <a:gd name="connsiteY376" fmla="*/ 352604 h 418727"/>
                <a:gd name="connsiteX377" fmla="*/ 751985 w 900266"/>
                <a:gd name="connsiteY377" fmla="*/ 351912 h 418727"/>
                <a:gd name="connsiteX378" fmla="*/ 749554 w 900266"/>
                <a:gd name="connsiteY378" fmla="*/ 353052 h 418727"/>
                <a:gd name="connsiteX379" fmla="*/ 746971 w 900266"/>
                <a:gd name="connsiteY379" fmla="*/ 354196 h 418727"/>
                <a:gd name="connsiteX380" fmla="*/ 746623 w 900266"/>
                <a:gd name="connsiteY380" fmla="*/ 354805 h 418727"/>
                <a:gd name="connsiteX381" fmla="*/ 746552 w 900266"/>
                <a:gd name="connsiteY381" fmla="*/ 355470 h 418727"/>
                <a:gd name="connsiteX382" fmla="*/ 746820 w 900266"/>
                <a:gd name="connsiteY382" fmla="*/ 356054 h 418727"/>
                <a:gd name="connsiteX383" fmla="*/ 748307 w 900266"/>
                <a:gd name="connsiteY383" fmla="*/ 357078 h 418727"/>
                <a:gd name="connsiteX384" fmla="*/ 750365 w 900266"/>
                <a:gd name="connsiteY384" fmla="*/ 357717 h 418727"/>
                <a:gd name="connsiteX385" fmla="*/ 750259 w 900266"/>
                <a:gd name="connsiteY385" fmla="*/ 358740 h 418727"/>
                <a:gd name="connsiteX386" fmla="*/ 747718 w 900266"/>
                <a:gd name="connsiteY386" fmla="*/ 359215 h 418727"/>
                <a:gd name="connsiteX387" fmla="*/ 743876 w 900266"/>
                <a:gd name="connsiteY387" fmla="*/ 360780 h 418727"/>
                <a:gd name="connsiteX388" fmla="*/ 742814 w 900266"/>
                <a:gd name="connsiteY388" fmla="*/ 362459 h 418727"/>
                <a:gd name="connsiteX389" fmla="*/ 741991 w 900266"/>
                <a:gd name="connsiteY389" fmla="*/ 364301 h 418727"/>
                <a:gd name="connsiteX390" fmla="*/ 741922 w 900266"/>
                <a:gd name="connsiteY390" fmla="*/ 365369 h 418727"/>
                <a:gd name="connsiteX391" fmla="*/ 742306 w 900266"/>
                <a:gd name="connsiteY391" fmla="*/ 368230 h 418727"/>
                <a:gd name="connsiteX392" fmla="*/ 742892 w 900266"/>
                <a:gd name="connsiteY392" fmla="*/ 371401 h 418727"/>
                <a:gd name="connsiteX393" fmla="*/ 743982 w 900266"/>
                <a:gd name="connsiteY393" fmla="*/ 374736 h 418727"/>
                <a:gd name="connsiteX394" fmla="*/ 744071 w 900266"/>
                <a:gd name="connsiteY394" fmla="*/ 375768 h 418727"/>
                <a:gd name="connsiteX395" fmla="*/ 743494 w 900266"/>
                <a:gd name="connsiteY395" fmla="*/ 376502 h 418727"/>
                <a:gd name="connsiteX396" fmla="*/ 742972 w 900266"/>
                <a:gd name="connsiteY396" fmla="*/ 376975 h 418727"/>
                <a:gd name="connsiteX397" fmla="*/ 739918 w 900266"/>
                <a:gd name="connsiteY397" fmla="*/ 373970 h 418727"/>
                <a:gd name="connsiteX398" fmla="*/ 736597 w 900266"/>
                <a:gd name="connsiteY398" fmla="*/ 371035 h 418727"/>
                <a:gd name="connsiteX399" fmla="*/ 733995 w 900266"/>
                <a:gd name="connsiteY399" fmla="*/ 370360 h 418727"/>
                <a:gd name="connsiteX400" fmla="*/ 729462 w 900266"/>
                <a:gd name="connsiteY400" fmla="*/ 369876 h 418727"/>
                <a:gd name="connsiteX401" fmla="*/ 727068 w 900266"/>
                <a:gd name="connsiteY401" fmla="*/ 369851 h 418727"/>
                <a:gd name="connsiteX402" fmla="*/ 725699 w 900266"/>
                <a:gd name="connsiteY402" fmla="*/ 369159 h 418727"/>
                <a:gd name="connsiteX403" fmla="*/ 724362 w 900266"/>
                <a:gd name="connsiteY403" fmla="*/ 367460 h 418727"/>
                <a:gd name="connsiteX404" fmla="*/ 722764 w 900266"/>
                <a:gd name="connsiteY404" fmla="*/ 365922 h 418727"/>
                <a:gd name="connsiteX405" fmla="*/ 720719 w 900266"/>
                <a:gd name="connsiteY405" fmla="*/ 364288 h 418727"/>
                <a:gd name="connsiteX406" fmla="*/ 719875 w 900266"/>
                <a:gd name="connsiteY406" fmla="*/ 361802 h 418727"/>
                <a:gd name="connsiteX407" fmla="*/ 719030 w 900266"/>
                <a:gd name="connsiteY407" fmla="*/ 361355 h 418727"/>
                <a:gd name="connsiteX408" fmla="*/ 717553 w 900266"/>
                <a:gd name="connsiteY408" fmla="*/ 361674 h 418727"/>
                <a:gd name="connsiteX409" fmla="*/ 715079 w 900266"/>
                <a:gd name="connsiteY409" fmla="*/ 361597 h 418727"/>
                <a:gd name="connsiteX410" fmla="*/ 713690 w 900266"/>
                <a:gd name="connsiteY410" fmla="*/ 361378 h 418727"/>
                <a:gd name="connsiteX411" fmla="*/ 711620 w 900266"/>
                <a:gd name="connsiteY411" fmla="*/ 360952 h 418727"/>
                <a:gd name="connsiteX412" fmla="*/ 708320 w 900266"/>
                <a:gd name="connsiteY412" fmla="*/ 359938 h 418727"/>
                <a:gd name="connsiteX413" fmla="*/ 705709 w 900266"/>
                <a:gd name="connsiteY413" fmla="*/ 358977 h 418727"/>
                <a:gd name="connsiteX414" fmla="*/ 702431 w 900266"/>
                <a:gd name="connsiteY414" fmla="*/ 358794 h 418727"/>
                <a:gd name="connsiteX415" fmla="*/ 700531 w 900266"/>
                <a:gd name="connsiteY415" fmla="*/ 358985 h 418727"/>
                <a:gd name="connsiteX416" fmla="*/ 694630 w 900266"/>
                <a:gd name="connsiteY416" fmla="*/ 359167 h 418727"/>
                <a:gd name="connsiteX417" fmla="*/ 689732 w 900266"/>
                <a:gd name="connsiteY417" fmla="*/ 358159 h 418727"/>
                <a:gd name="connsiteX418" fmla="*/ 685769 w 900266"/>
                <a:gd name="connsiteY418" fmla="*/ 357970 h 418727"/>
                <a:gd name="connsiteX419" fmla="*/ 683331 w 900266"/>
                <a:gd name="connsiteY419" fmla="*/ 358029 h 418727"/>
                <a:gd name="connsiteX420" fmla="*/ 682161 w 900266"/>
                <a:gd name="connsiteY420" fmla="*/ 357904 h 418727"/>
                <a:gd name="connsiteX421" fmla="*/ 680155 w 900266"/>
                <a:gd name="connsiteY421" fmla="*/ 357912 h 418727"/>
                <a:gd name="connsiteX422" fmla="*/ 677214 w 900266"/>
                <a:gd name="connsiteY422" fmla="*/ 357692 h 418727"/>
                <a:gd name="connsiteX423" fmla="*/ 673273 w 900266"/>
                <a:gd name="connsiteY423" fmla="*/ 356138 h 418727"/>
                <a:gd name="connsiteX424" fmla="*/ 671742 w 900266"/>
                <a:gd name="connsiteY424" fmla="*/ 356060 h 418727"/>
                <a:gd name="connsiteX425" fmla="*/ 670768 w 900266"/>
                <a:gd name="connsiteY425" fmla="*/ 356116 h 418727"/>
                <a:gd name="connsiteX426" fmla="*/ 664188 w 900266"/>
                <a:gd name="connsiteY426" fmla="*/ 357259 h 418727"/>
                <a:gd name="connsiteX427" fmla="*/ 661152 w 900266"/>
                <a:gd name="connsiteY427" fmla="*/ 357525 h 418727"/>
                <a:gd name="connsiteX428" fmla="*/ 654718 w 900266"/>
                <a:gd name="connsiteY428" fmla="*/ 357395 h 418727"/>
                <a:gd name="connsiteX429" fmla="*/ 648395 w 900266"/>
                <a:gd name="connsiteY429" fmla="*/ 357267 h 418727"/>
                <a:gd name="connsiteX430" fmla="*/ 646363 w 900266"/>
                <a:gd name="connsiteY430" fmla="*/ 357026 h 418727"/>
                <a:gd name="connsiteX431" fmla="*/ 645240 w 900266"/>
                <a:gd name="connsiteY431" fmla="*/ 357149 h 418727"/>
                <a:gd name="connsiteX432" fmla="*/ 642856 w 900266"/>
                <a:gd name="connsiteY432" fmla="*/ 359891 h 418727"/>
                <a:gd name="connsiteX433" fmla="*/ 641837 w 900266"/>
                <a:gd name="connsiteY433" fmla="*/ 360316 h 418727"/>
                <a:gd name="connsiteX434" fmla="*/ 635879 w 900266"/>
                <a:gd name="connsiteY434" fmla="*/ 359718 h 418727"/>
                <a:gd name="connsiteX435" fmla="*/ 628835 w 900266"/>
                <a:gd name="connsiteY435" fmla="*/ 357913 h 418727"/>
                <a:gd name="connsiteX436" fmla="*/ 623747 w 900266"/>
                <a:gd name="connsiteY436" fmla="*/ 355937 h 418727"/>
                <a:gd name="connsiteX437" fmla="*/ 619429 w 900266"/>
                <a:gd name="connsiteY437" fmla="*/ 353845 h 418727"/>
                <a:gd name="connsiteX438" fmla="*/ 613715 w 900266"/>
                <a:gd name="connsiteY438" fmla="*/ 350539 h 418727"/>
                <a:gd name="connsiteX439" fmla="*/ 610292 w 900266"/>
                <a:gd name="connsiteY439" fmla="*/ 348903 h 418727"/>
                <a:gd name="connsiteX440" fmla="*/ 609800 w 900266"/>
                <a:gd name="connsiteY440" fmla="*/ 349845 h 418727"/>
                <a:gd name="connsiteX441" fmla="*/ 608895 w 900266"/>
                <a:gd name="connsiteY441" fmla="*/ 350146 h 418727"/>
                <a:gd name="connsiteX442" fmla="*/ 607576 w 900266"/>
                <a:gd name="connsiteY442" fmla="*/ 350292 h 418727"/>
                <a:gd name="connsiteX443" fmla="*/ 604546 w 900266"/>
                <a:gd name="connsiteY443" fmla="*/ 350121 h 418727"/>
                <a:gd name="connsiteX444" fmla="*/ 603149 w 900266"/>
                <a:gd name="connsiteY444" fmla="*/ 351797 h 418727"/>
                <a:gd name="connsiteX445" fmla="*/ 599446 w 900266"/>
                <a:gd name="connsiteY445" fmla="*/ 352995 h 418727"/>
                <a:gd name="connsiteX446" fmla="*/ 597090 w 900266"/>
                <a:gd name="connsiteY446" fmla="*/ 354068 h 418727"/>
                <a:gd name="connsiteX447" fmla="*/ 595857 w 900266"/>
                <a:gd name="connsiteY447" fmla="*/ 355277 h 418727"/>
                <a:gd name="connsiteX448" fmla="*/ 593512 w 900266"/>
                <a:gd name="connsiteY448" fmla="*/ 363299 h 418727"/>
                <a:gd name="connsiteX449" fmla="*/ 592886 w 900266"/>
                <a:gd name="connsiteY449" fmla="*/ 366224 h 418727"/>
                <a:gd name="connsiteX450" fmla="*/ 594458 w 900266"/>
                <a:gd name="connsiteY450" fmla="*/ 371145 h 418727"/>
                <a:gd name="connsiteX451" fmla="*/ 592659 w 900266"/>
                <a:gd name="connsiteY451" fmla="*/ 370858 h 418727"/>
                <a:gd name="connsiteX452" fmla="*/ 590545 w 900266"/>
                <a:gd name="connsiteY452" fmla="*/ 369600 h 418727"/>
                <a:gd name="connsiteX453" fmla="*/ 589813 w 900266"/>
                <a:gd name="connsiteY453" fmla="*/ 368610 h 418727"/>
                <a:gd name="connsiteX454" fmla="*/ 587776 w 900266"/>
                <a:gd name="connsiteY454" fmla="*/ 368003 h 418727"/>
                <a:gd name="connsiteX455" fmla="*/ 580353 w 900266"/>
                <a:gd name="connsiteY455" fmla="*/ 367088 h 418727"/>
                <a:gd name="connsiteX456" fmla="*/ 578966 w 900266"/>
                <a:gd name="connsiteY456" fmla="*/ 365959 h 418727"/>
                <a:gd name="connsiteX457" fmla="*/ 578094 w 900266"/>
                <a:gd name="connsiteY457" fmla="*/ 365039 h 418727"/>
                <a:gd name="connsiteX458" fmla="*/ 576174 w 900266"/>
                <a:gd name="connsiteY458" fmla="*/ 364438 h 418727"/>
                <a:gd name="connsiteX459" fmla="*/ 573456 w 900266"/>
                <a:gd name="connsiteY459" fmla="*/ 363975 h 418727"/>
                <a:gd name="connsiteX460" fmla="*/ 567543 w 900266"/>
                <a:gd name="connsiteY460" fmla="*/ 361839 h 418727"/>
                <a:gd name="connsiteX461" fmla="*/ 565023 w 900266"/>
                <a:gd name="connsiteY461" fmla="*/ 361758 h 418727"/>
                <a:gd name="connsiteX462" fmla="*/ 557394 w 900266"/>
                <a:gd name="connsiteY462" fmla="*/ 360114 h 418727"/>
                <a:gd name="connsiteX463" fmla="*/ 556150 w 900266"/>
                <a:gd name="connsiteY463" fmla="*/ 360132 h 418727"/>
                <a:gd name="connsiteX464" fmla="*/ 555580 w 900266"/>
                <a:gd name="connsiteY464" fmla="*/ 360201 h 418727"/>
                <a:gd name="connsiteX465" fmla="*/ 552618 w 900266"/>
                <a:gd name="connsiteY465" fmla="*/ 361277 h 418727"/>
                <a:gd name="connsiteX466" fmla="*/ 550704 w 900266"/>
                <a:gd name="connsiteY466" fmla="*/ 361591 h 418727"/>
                <a:gd name="connsiteX467" fmla="*/ 548666 w 900266"/>
                <a:gd name="connsiteY467" fmla="*/ 361157 h 418727"/>
                <a:gd name="connsiteX468" fmla="*/ 545008 w 900266"/>
                <a:gd name="connsiteY468" fmla="*/ 362484 h 418727"/>
                <a:gd name="connsiteX469" fmla="*/ 543034 w 900266"/>
                <a:gd name="connsiteY469" fmla="*/ 364250 h 418727"/>
                <a:gd name="connsiteX470" fmla="*/ 541402 w 900266"/>
                <a:gd name="connsiteY470" fmla="*/ 366411 h 418727"/>
                <a:gd name="connsiteX471" fmla="*/ 539836 w 900266"/>
                <a:gd name="connsiteY471" fmla="*/ 367774 h 418727"/>
                <a:gd name="connsiteX472" fmla="*/ 539376 w 900266"/>
                <a:gd name="connsiteY472" fmla="*/ 369811 h 418727"/>
                <a:gd name="connsiteX473" fmla="*/ 538279 w 900266"/>
                <a:gd name="connsiteY473" fmla="*/ 370869 h 418727"/>
                <a:gd name="connsiteX474" fmla="*/ 536964 w 900266"/>
                <a:gd name="connsiteY474" fmla="*/ 372984 h 418727"/>
                <a:gd name="connsiteX475" fmla="*/ 536964 w 900266"/>
                <a:gd name="connsiteY475" fmla="*/ 374217 h 418727"/>
                <a:gd name="connsiteX476" fmla="*/ 538156 w 900266"/>
                <a:gd name="connsiteY476" fmla="*/ 375415 h 418727"/>
                <a:gd name="connsiteX477" fmla="*/ 536245 w 900266"/>
                <a:gd name="connsiteY477" fmla="*/ 376518 h 418727"/>
                <a:gd name="connsiteX478" fmla="*/ 534127 w 900266"/>
                <a:gd name="connsiteY478" fmla="*/ 376864 h 418727"/>
                <a:gd name="connsiteX479" fmla="*/ 533036 w 900266"/>
                <a:gd name="connsiteY479" fmla="*/ 377543 h 418727"/>
                <a:gd name="connsiteX480" fmla="*/ 531870 w 900266"/>
                <a:gd name="connsiteY480" fmla="*/ 379170 h 418727"/>
                <a:gd name="connsiteX481" fmla="*/ 530782 w 900266"/>
                <a:gd name="connsiteY481" fmla="*/ 380571 h 418727"/>
                <a:gd name="connsiteX482" fmla="*/ 530140 w 900266"/>
                <a:gd name="connsiteY482" fmla="*/ 381068 h 418727"/>
                <a:gd name="connsiteX483" fmla="*/ 529164 w 900266"/>
                <a:gd name="connsiteY483" fmla="*/ 380977 h 418727"/>
                <a:gd name="connsiteX484" fmla="*/ 528035 w 900266"/>
                <a:gd name="connsiteY484" fmla="*/ 379893 h 418727"/>
                <a:gd name="connsiteX485" fmla="*/ 526420 w 900266"/>
                <a:gd name="connsiteY485" fmla="*/ 379938 h 418727"/>
                <a:gd name="connsiteX486" fmla="*/ 524493 w 900266"/>
                <a:gd name="connsiteY486" fmla="*/ 381282 h 418727"/>
                <a:gd name="connsiteX487" fmla="*/ 522215 w 900266"/>
                <a:gd name="connsiteY487" fmla="*/ 383458 h 418727"/>
                <a:gd name="connsiteX488" fmla="*/ 519335 w 900266"/>
                <a:gd name="connsiteY488" fmla="*/ 386786 h 418727"/>
                <a:gd name="connsiteX489" fmla="*/ 516335 w 900266"/>
                <a:gd name="connsiteY489" fmla="*/ 388546 h 418727"/>
                <a:gd name="connsiteX490" fmla="*/ 512535 w 900266"/>
                <a:gd name="connsiteY490" fmla="*/ 390049 h 418727"/>
                <a:gd name="connsiteX491" fmla="*/ 509788 w 900266"/>
                <a:gd name="connsiteY491" fmla="*/ 390716 h 418727"/>
                <a:gd name="connsiteX492" fmla="*/ 507605 w 900266"/>
                <a:gd name="connsiteY492" fmla="*/ 391855 h 418727"/>
                <a:gd name="connsiteX493" fmla="*/ 503975 w 900266"/>
                <a:gd name="connsiteY493" fmla="*/ 394160 h 418727"/>
                <a:gd name="connsiteX494" fmla="*/ 503254 w 900266"/>
                <a:gd name="connsiteY494" fmla="*/ 395516 h 418727"/>
                <a:gd name="connsiteX495" fmla="*/ 500622 w 900266"/>
                <a:gd name="connsiteY495" fmla="*/ 396318 h 418727"/>
                <a:gd name="connsiteX496" fmla="*/ 498505 w 900266"/>
                <a:gd name="connsiteY496" fmla="*/ 397242 h 418727"/>
                <a:gd name="connsiteX497" fmla="*/ 496545 w 900266"/>
                <a:gd name="connsiteY497" fmla="*/ 398782 h 418727"/>
                <a:gd name="connsiteX498" fmla="*/ 496070 w 900266"/>
                <a:gd name="connsiteY498" fmla="*/ 401494 h 418727"/>
                <a:gd name="connsiteX499" fmla="*/ 494819 w 900266"/>
                <a:gd name="connsiteY499" fmla="*/ 403052 h 418727"/>
                <a:gd name="connsiteX500" fmla="*/ 491818 w 900266"/>
                <a:gd name="connsiteY500" fmla="*/ 405191 h 418727"/>
                <a:gd name="connsiteX501" fmla="*/ 489296 w 900266"/>
                <a:gd name="connsiteY501" fmla="*/ 407348 h 418727"/>
                <a:gd name="connsiteX502" fmla="*/ 487652 w 900266"/>
                <a:gd name="connsiteY502" fmla="*/ 409462 h 418727"/>
                <a:gd name="connsiteX503" fmla="*/ 485912 w 900266"/>
                <a:gd name="connsiteY503" fmla="*/ 411703 h 418727"/>
                <a:gd name="connsiteX504" fmla="*/ 485363 w 900266"/>
                <a:gd name="connsiteY504" fmla="*/ 412937 h 418727"/>
                <a:gd name="connsiteX505" fmla="*/ 485303 w 900266"/>
                <a:gd name="connsiteY505" fmla="*/ 414622 h 418727"/>
                <a:gd name="connsiteX506" fmla="*/ 486123 w 900266"/>
                <a:gd name="connsiteY506" fmla="*/ 416036 h 418727"/>
                <a:gd name="connsiteX507" fmla="*/ 486279 w 900266"/>
                <a:gd name="connsiteY507" fmla="*/ 417382 h 418727"/>
                <a:gd name="connsiteX508" fmla="*/ 485659 w 900266"/>
                <a:gd name="connsiteY508" fmla="*/ 418360 h 418727"/>
                <a:gd name="connsiteX509" fmla="*/ 483957 w 900266"/>
                <a:gd name="connsiteY509" fmla="*/ 418727 h 418727"/>
                <a:gd name="connsiteX510" fmla="*/ 482174 w 900266"/>
                <a:gd name="connsiteY510" fmla="*/ 418444 h 418727"/>
                <a:gd name="connsiteX511" fmla="*/ 479451 w 900266"/>
                <a:gd name="connsiteY511" fmla="*/ 417483 h 418727"/>
                <a:gd name="connsiteX512" fmla="*/ 476540 w 900266"/>
                <a:gd name="connsiteY512" fmla="*/ 415760 h 418727"/>
                <a:gd name="connsiteX513" fmla="*/ 475480 w 900266"/>
                <a:gd name="connsiteY513" fmla="*/ 414913 h 418727"/>
                <a:gd name="connsiteX514" fmla="*/ 474050 w 900266"/>
                <a:gd name="connsiteY514" fmla="*/ 413463 h 418727"/>
                <a:gd name="connsiteX515" fmla="*/ 474258 w 900266"/>
                <a:gd name="connsiteY515" fmla="*/ 412115 h 418727"/>
                <a:gd name="connsiteX516" fmla="*/ 474994 w 900266"/>
                <a:gd name="connsiteY516" fmla="*/ 409496 h 418727"/>
                <a:gd name="connsiteX517" fmla="*/ 475497 w 900266"/>
                <a:gd name="connsiteY517" fmla="*/ 407697 h 418727"/>
                <a:gd name="connsiteX518" fmla="*/ 474309 w 900266"/>
                <a:gd name="connsiteY518" fmla="*/ 406838 h 418727"/>
                <a:gd name="connsiteX519" fmla="*/ 473433 w 900266"/>
                <a:gd name="connsiteY519" fmla="*/ 405918 h 418727"/>
                <a:gd name="connsiteX520" fmla="*/ 472807 w 900266"/>
                <a:gd name="connsiteY520" fmla="*/ 405028 h 418727"/>
                <a:gd name="connsiteX521" fmla="*/ 471576 w 900266"/>
                <a:gd name="connsiteY521" fmla="*/ 403274 h 418727"/>
                <a:gd name="connsiteX522" fmla="*/ 470027 w 900266"/>
                <a:gd name="connsiteY522" fmla="*/ 403704 h 418727"/>
                <a:gd name="connsiteX523" fmla="*/ 468686 w 900266"/>
                <a:gd name="connsiteY523" fmla="*/ 404135 h 418727"/>
                <a:gd name="connsiteX524" fmla="*/ 467138 w 900266"/>
                <a:gd name="connsiteY524" fmla="*/ 403520 h 418727"/>
                <a:gd name="connsiteX525" fmla="*/ 462560 w 900266"/>
                <a:gd name="connsiteY525" fmla="*/ 403787 h 418727"/>
                <a:gd name="connsiteX526" fmla="*/ 459101 w 900266"/>
                <a:gd name="connsiteY526" fmla="*/ 403987 h 418727"/>
                <a:gd name="connsiteX527" fmla="*/ 455860 w 900266"/>
                <a:gd name="connsiteY527" fmla="*/ 404176 h 418727"/>
                <a:gd name="connsiteX528" fmla="*/ 451740 w 900266"/>
                <a:gd name="connsiteY528" fmla="*/ 404414 h 418727"/>
                <a:gd name="connsiteX529" fmla="*/ 446777 w 900266"/>
                <a:gd name="connsiteY529" fmla="*/ 404702 h 418727"/>
                <a:gd name="connsiteX530" fmla="*/ 445352 w 900266"/>
                <a:gd name="connsiteY530" fmla="*/ 404315 h 418727"/>
                <a:gd name="connsiteX531" fmla="*/ 444465 w 900266"/>
                <a:gd name="connsiteY531" fmla="*/ 403734 h 418727"/>
                <a:gd name="connsiteX532" fmla="*/ 443558 w 900266"/>
                <a:gd name="connsiteY532" fmla="*/ 401319 h 418727"/>
                <a:gd name="connsiteX533" fmla="*/ 443041 w 900266"/>
                <a:gd name="connsiteY533" fmla="*/ 399265 h 418727"/>
                <a:gd name="connsiteX534" fmla="*/ 442076 w 900266"/>
                <a:gd name="connsiteY534" fmla="*/ 395417 h 418727"/>
                <a:gd name="connsiteX535" fmla="*/ 441433 w 900266"/>
                <a:gd name="connsiteY535" fmla="*/ 392439 h 418727"/>
                <a:gd name="connsiteX536" fmla="*/ 440666 w 900266"/>
                <a:gd name="connsiteY536" fmla="*/ 388885 h 418727"/>
                <a:gd name="connsiteX537" fmla="*/ 440161 w 900266"/>
                <a:gd name="connsiteY537" fmla="*/ 384959 h 418727"/>
                <a:gd name="connsiteX538" fmla="*/ 439798 w 900266"/>
                <a:gd name="connsiteY538" fmla="*/ 382160 h 418727"/>
                <a:gd name="connsiteX539" fmla="*/ 436043 w 900266"/>
                <a:gd name="connsiteY539" fmla="*/ 382068 h 418727"/>
                <a:gd name="connsiteX540" fmla="*/ 433044 w 900266"/>
                <a:gd name="connsiteY540" fmla="*/ 381995 h 418727"/>
                <a:gd name="connsiteX541" fmla="*/ 428984 w 900266"/>
                <a:gd name="connsiteY541" fmla="*/ 381895 h 418727"/>
                <a:gd name="connsiteX542" fmla="*/ 429021 w 900266"/>
                <a:gd name="connsiteY542" fmla="*/ 379667 h 418727"/>
                <a:gd name="connsiteX543" fmla="*/ 429064 w 900266"/>
                <a:gd name="connsiteY543" fmla="*/ 376857 h 418727"/>
                <a:gd name="connsiteX544" fmla="*/ 429115 w 900266"/>
                <a:gd name="connsiteY544" fmla="*/ 373655 h 418727"/>
                <a:gd name="connsiteX545" fmla="*/ 429874 w 900266"/>
                <a:gd name="connsiteY545" fmla="*/ 369446 h 418727"/>
                <a:gd name="connsiteX546" fmla="*/ 430159 w 900266"/>
                <a:gd name="connsiteY546" fmla="*/ 365913 h 418727"/>
                <a:gd name="connsiteX547" fmla="*/ 430508 w 900266"/>
                <a:gd name="connsiteY547" fmla="*/ 361598 h 418727"/>
                <a:gd name="connsiteX548" fmla="*/ 430737 w 900266"/>
                <a:gd name="connsiteY548" fmla="*/ 358743 h 418727"/>
                <a:gd name="connsiteX549" fmla="*/ 430990 w 900266"/>
                <a:gd name="connsiteY549" fmla="*/ 355598 h 418727"/>
                <a:gd name="connsiteX550" fmla="*/ 428898 w 900266"/>
                <a:gd name="connsiteY550" fmla="*/ 356568 h 418727"/>
                <a:gd name="connsiteX551" fmla="*/ 426585 w 900266"/>
                <a:gd name="connsiteY551" fmla="*/ 357642 h 418727"/>
                <a:gd name="connsiteX552" fmla="*/ 424417 w 900266"/>
                <a:gd name="connsiteY552" fmla="*/ 358647 h 418727"/>
                <a:gd name="connsiteX553" fmla="*/ 422927 w 900266"/>
                <a:gd name="connsiteY553" fmla="*/ 356099 h 418727"/>
                <a:gd name="connsiteX554" fmla="*/ 421480 w 900266"/>
                <a:gd name="connsiteY554" fmla="*/ 353620 h 418727"/>
                <a:gd name="connsiteX555" fmla="*/ 419280 w 900266"/>
                <a:gd name="connsiteY555" fmla="*/ 349848 h 418727"/>
                <a:gd name="connsiteX556" fmla="*/ 417632 w 900266"/>
                <a:gd name="connsiteY556" fmla="*/ 347017 h 418727"/>
                <a:gd name="connsiteX557" fmla="*/ 414764 w 900266"/>
                <a:gd name="connsiteY557" fmla="*/ 345364 h 418727"/>
                <a:gd name="connsiteX558" fmla="*/ 412642 w 900266"/>
                <a:gd name="connsiteY558" fmla="*/ 344140 h 418727"/>
                <a:gd name="connsiteX559" fmla="*/ 410439 w 900266"/>
                <a:gd name="connsiteY559" fmla="*/ 342077 h 418727"/>
                <a:gd name="connsiteX560" fmla="*/ 408537 w 900266"/>
                <a:gd name="connsiteY560" fmla="*/ 339935 h 418727"/>
                <a:gd name="connsiteX561" fmla="*/ 406729 w 900266"/>
                <a:gd name="connsiteY561" fmla="*/ 337903 h 418727"/>
                <a:gd name="connsiteX562" fmla="*/ 404570 w 900266"/>
                <a:gd name="connsiteY562" fmla="*/ 336133 h 418727"/>
                <a:gd name="connsiteX563" fmla="*/ 402499 w 900266"/>
                <a:gd name="connsiteY563" fmla="*/ 336692 h 418727"/>
                <a:gd name="connsiteX564" fmla="*/ 400161 w 900266"/>
                <a:gd name="connsiteY564" fmla="*/ 337798 h 418727"/>
                <a:gd name="connsiteX565" fmla="*/ 397906 w 900266"/>
                <a:gd name="connsiteY565" fmla="*/ 338863 h 418727"/>
                <a:gd name="connsiteX566" fmla="*/ 395518 w 900266"/>
                <a:gd name="connsiteY566" fmla="*/ 339991 h 418727"/>
                <a:gd name="connsiteX567" fmla="*/ 394347 w 900266"/>
                <a:gd name="connsiteY567" fmla="*/ 340542 h 418727"/>
                <a:gd name="connsiteX568" fmla="*/ 391583 w 900266"/>
                <a:gd name="connsiteY568" fmla="*/ 340333 h 418727"/>
                <a:gd name="connsiteX569" fmla="*/ 389165 w 900266"/>
                <a:gd name="connsiteY569" fmla="*/ 340150 h 418727"/>
                <a:gd name="connsiteX570" fmla="*/ 384842 w 900266"/>
                <a:gd name="connsiteY570" fmla="*/ 339824 h 418727"/>
                <a:gd name="connsiteX571" fmla="*/ 381190 w 900266"/>
                <a:gd name="connsiteY571" fmla="*/ 339546 h 418727"/>
                <a:gd name="connsiteX572" fmla="*/ 377465 w 900266"/>
                <a:gd name="connsiteY572" fmla="*/ 339263 h 418727"/>
                <a:gd name="connsiteX573" fmla="*/ 372272 w 900266"/>
                <a:gd name="connsiteY573" fmla="*/ 338869 h 418727"/>
                <a:gd name="connsiteX574" fmla="*/ 367014 w 900266"/>
                <a:gd name="connsiteY574" fmla="*/ 338472 h 418727"/>
                <a:gd name="connsiteX575" fmla="*/ 363490 w 900266"/>
                <a:gd name="connsiteY575" fmla="*/ 338997 h 418727"/>
                <a:gd name="connsiteX576" fmla="*/ 359035 w 900266"/>
                <a:gd name="connsiteY576" fmla="*/ 339661 h 418727"/>
                <a:gd name="connsiteX577" fmla="*/ 354353 w 900266"/>
                <a:gd name="connsiteY577" fmla="*/ 340358 h 418727"/>
                <a:gd name="connsiteX578" fmla="*/ 350482 w 900266"/>
                <a:gd name="connsiteY578" fmla="*/ 340934 h 418727"/>
                <a:gd name="connsiteX579" fmla="*/ 345584 w 900266"/>
                <a:gd name="connsiteY579" fmla="*/ 341662 h 418727"/>
                <a:gd name="connsiteX580" fmla="*/ 341915 w 900266"/>
                <a:gd name="connsiteY580" fmla="*/ 342207 h 418727"/>
                <a:gd name="connsiteX581" fmla="*/ 340108 w 900266"/>
                <a:gd name="connsiteY581" fmla="*/ 342132 h 418727"/>
                <a:gd name="connsiteX582" fmla="*/ 337838 w 900266"/>
                <a:gd name="connsiteY582" fmla="*/ 339839 h 418727"/>
                <a:gd name="connsiteX583" fmla="*/ 334204 w 900266"/>
                <a:gd name="connsiteY583" fmla="*/ 336163 h 418727"/>
                <a:gd name="connsiteX584" fmla="*/ 332002 w 900266"/>
                <a:gd name="connsiteY584" fmla="*/ 333933 h 418727"/>
                <a:gd name="connsiteX585" fmla="*/ 329840 w 900266"/>
                <a:gd name="connsiteY585" fmla="*/ 331744 h 418727"/>
                <a:gd name="connsiteX586" fmla="*/ 326726 w 900266"/>
                <a:gd name="connsiteY586" fmla="*/ 328587 h 418727"/>
                <a:gd name="connsiteX587" fmla="*/ 324215 w 900266"/>
                <a:gd name="connsiteY587" fmla="*/ 326196 h 418727"/>
                <a:gd name="connsiteX588" fmla="*/ 321766 w 900266"/>
                <a:gd name="connsiteY588" fmla="*/ 323857 h 418727"/>
                <a:gd name="connsiteX589" fmla="*/ 320358 w 900266"/>
                <a:gd name="connsiteY589" fmla="*/ 321697 h 418727"/>
                <a:gd name="connsiteX590" fmla="*/ 319656 w 900266"/>
                <a:gd name="connsiteY590" fmla="*/ 318980 h 418727"/>
                <a:gd name="connsiteX591" fmla="*/ 318387 w 900266"/>
                <a:gd name="connsiteY591" fmla="*/ 317746 h 418727"/>
                <a:gd name="connsiteX592" fmla="*/ 315541 w 900266"/>
                <a:gd name="connsiteY592" fmla="*/ 316081 h 418727"/>
                <a:gd name="connsiteX593" fmla="*/ 312487 w 900266"/>
                <a:gd name="connsiteY593" fmla="*/ 314292 h 418727"/>
                <a:gd name="connsiteX594" fmla="*/ 309432 w 900266"/>
                <a:gd name="connsiteY594" fmla="*/ 312503 h 418727"/>
                <a:gd name="connsiteX595" fmla="*/ 306376 w 900266"/>
                <a:gd name="connsiteY595" fmla="*/ 310711 h 418727"/>
                <a:gd name="connsiteX596" fmla="*/ 303323 w 900266"/>
                <a:gd name="connsiteY596" fmla="*/ 308919 h 418727"/>
                <a:gd name="connsiteX597" fmla="*/ 300267 w 900266"/>
                <a:gd name="connsiteY597" fmla="*/ 307126 h 418727"/>
                <a:gd name="connsiteX598" fmla="*/ 297212 w 900266"/>
                <a:gd name="connsiteY598" fmla="*/ 305331 h 418727"/>
                <a:gd name="connsiteX599" fmla="*/ 294158 w 900266"/>
                <a:gd name="connsiteY599" fmla="*/ 303534 h 418727"/>
                <a:gd name="connsiteX600" fmla="*/ 291103 w 900266"/>
                <a:gd name="connsiteY600" fmla="*/ 301739 h 418727"/>
                <a:gd name="connsiteX601" fmla="*/ 288049 w 900266"/>
                <a:gd name="connsiteY601" fmla="*/ 299941 h 418727"/>
                <a:gd name="connsiteX602" fmla="*/ 284996 w 900266"/>
                <a:gd name="connsiteY602" fmla="*/ 298142 h 418727"/>
                <a:gd name="connsiteX603" fmla="*/ 281938 w 900266"/>
                <a:gd name="connsiteY603" fmla="*/ 296342 h 418727"/>
                <a:gd name="connsiteX604" fmla="*/ 278885 w 900266"/>
                <a:gd name="connsiteY604" fmla="*/ 294539 h 418727"/>
                <a:gd name="connsiteX605" fmla="*/ 275831 w 900266"/>
                <a:gd name="connsiteY605" fmla="*/ 292736 h 418727"/>
                <a:gd name="connsiteX606" fmla="*/ 272774 w 900266"/>
                <a:gd name="connsiteY606" fmla="*/ 290932 h 418727"/>
                <a:gd name="connsiteX607" fmla="*/ 269721 w 900266"/>
                <a:gd name="connsiteY607" fmla="*/ 289126 h 418727"/>
                <a:gd name="connsiteX608" fmla="*/ 266667 w 900266"/>
                <a:gd name="connsiteY608" fmla="*/ 287319 h 418727"/>
                <a:gd name="connsiteX609" fmla="*/ 264154 w 900266"/>
                <a:gd name="connsiteY609" fmla="*/ 286006 h 418727"/>
                <a:gd name="connsiteX610" fmla="*/ 261813 w 900266"/>
                <a:gd name="connsiteY610" fmla="*/ 286348 h 418727"/>
                <a:gd name="connsiteX611" fmla="*/ 258313 w 900266"/>
                <a:gd name="connsiteY611" fmla="*/ 287268 h 418727"/>
                <a:gd name="connsiteX612" fmla="*/ 254644 w 900266"/>
                <a:gd name="connsiteY612" fmla="*/ 288231 h 418727"/>
                <a:gd name="connsiteX613" fmla="*/ 251014 w 900266"/>
                <a:gd name="connsiteY613" fmla="*/ 289183 h 418727"/>
                <a:gd name="connsiteX614" fmla="*/ 244505 w 900266"/>
                <a:gd name="connsiteY614" fmla="*/ 290892 h 418727"/>
                <a:gd name="connsiteX615" fmla="*/ 240318 w 900266"/>
                <a:gd name="connsiteY615" fmla="*/ 291989 h 418727"/>
                <a:gd name="connsiteX616" fmla="*/ 237045 w 900266"/>
                <a:gd name="connsiteY616" fmla="*/ 292915 h 418727"/>
                <a:gd name="connsiteX617" fmla="*/ 233560 w 900266"/>
                <a:gd name="connsiteY617" fmla="*/ 293901 h 418727"/>
                <a:gd name="connsiteX618" fmla="*/ 228990 w 900266"/>
                <a:gd name="connsiteY618" fmla="*/ 295192 h 418727"/>
                <a:gd name="connsiteX619" fmla="*/ 225162 w 900266"/>
                <a:gd name="connsiteY619" fmla="*/ 296275 h 418727"/>
                <a:gd name="connsiteX620" fmla="*/ 220670 w 900266"/>
                <a:gd name="connsiteY620" fmla="*/ 297542 h 418727"/>
                <a:gd name="connsiteX621" fmla="*/ 216699 w 900266"/>
                <a:gd name="connsiteY621" fmla="*/ 298663 h 418727"/>
                <a:gd name="connsiteX622" fmla="*/ 213354 w 900266"/>
                <a:gd name="connsiteY622" fmla="*/ 299606 h 418727"/>
                <a:gd name="connsiteX623" fmla="*/ 209873 w 900266"/>
                <a:gd name="connsiteY623" fmla="*/ 300588 h 418727"/>
                <a:gd name="connsiteX624" fmla="*/ 207114 w 900266"/>
                <a:gd name="connsiteY624" fmla="*/ 301367 h 418727"/>
                <a:gd name="connsiteX625" fmla="*/ 207115 w 900266"/>
                <a:gd name="connsiteY625" fmla="*/ 307633 h 418727"/>
                <a:gd name="connsiteX626" fmla="*/ 207120 w 900266"/>
                <a:gd name="connsiteY626" fmla="*/ 313885 h 418727"/>
                <a:gd name="connsiteX627" fmla="*/ 207122 w 900266"/>
                <a:gd name="connsiteY627" fmla="*/ 320122 h 418727"/>
                <a:gd name="connsiteX628" fmla="*/ 207124 w 900266"/>
                <a:gd name="connsiteY628" fmla="*/ 326345 h 418727"/>
                <a:gd name="connsiteX629" fmla="*/ 207126 w 900266"/>
                <a:gd name="connsiteY629" fmla="*/ 332554 h 418727"/>
                <a:gd name="connsiteX630" fmla="*/ 207129 w 900266"/>
                <a:gd name="connsiteY630" fmla="*/ 338751 h 418727"/>
                <a:gd name="connsiteX631" fmla="*/ 207131 w 900266"/>
                <a:gd name="connsiteY631" fmla="*/ 344932 h 418727"/>
                <a:gd name="connsiteX632" fmla="*/ 207133 w 900266"/>
                <a:gd name="connsiteY632" fmla="*/ 351099 h 418727"/>
                <a:gd name="connsiteX633" fmla="*/ 207135 w 900266"/>
                <a:gd name="connsiteY633" fmla="*/ 357252 h 418727"/>
                <a:gd name="connsiteX634" fmla="*/ 207137 w 900266"/>
                <a:gd name="connsiteY634" fmla="*/ 363393 h 418727"/>
                <a:gd name="connsiteX635" fmla="*/ 207139 w 900266"/>
                <a:gd name="connsiteY635" fmla="*/ 369520 h 418727"/>
                <a:gd name="connsiteX636" fmla="*/ 207141 w 900266"/>
                <a:gd name="connsiteY636" fmla="*/ 375634 h 418727"/>
                <a:gd name="connsiteX637" fmla="*/ 207144 w 900266"/>
                <a:gd name="connsiteY637" fmla="*/ 381735 h 418727"/>
                <a:gd name="connsiteX638" fmla="*/ 207146 w 900266"/>
                <a:gd name="connsiteY638" fmla="*/ 387823 h 418727"/>
                <a:gd name="connsiteX639" fmla="*/ 207150 w 900266"/>
                <a:gd name="connsiteY639" fmla="*/ 393899 h 418727"/>
                <a:gd name="connsiteX640" fmla="*/ 207152 w 900266"/>
                <a:gd name="connsiteY640" fmla="*/ 399962 h 418727"/>
                <a:gd name="connsiteX641" fmla="*/ 206213 w 900266"/>
                <a:gd name="connsiteY641" fmla="*/ 399911 h 418727"/>
                <a:gd name="connsiteX642" fmla="*/ 204092 w 900266"/>
                <a:gd name="connsiteY642" fmla="*/ 400263 h 418727"/>
                <a:gd name="connsiteX643" fmla="*/ 200545 w 900266"/>
                <a:gd name="connsiteY643" fmla="*/ 401107 h 418727"/>
                <a:gd name="connsiteX644" fmla="*/ 197595 w 900266"/>
                <a:gd name="connsiteY644" fmla="*/ 401530 h 418727"/>
                <a:gd name="connsiteX645" fmla="*/ 196308 w 900266"/>
                <a:gd name="connsiteY645" fmla="*/ 401279 h 418727"/>
                <a:gd name="connsiteX646" fmla="*/ 195144 w 900266"/>
                <a:gd name="connsiteY646" fmla="*/ 400646 h 418727"/>
                <a:gd name="connsiteX647" fmla="*/ 194127 w 900266"/>
                <a:gd name="connsiteY647" fmla="*/ 399310 h 418727"/>
                <a:gd name="connsiteX648" fmla="*/ 192609 w 900266"/>
                <a:gd name="connsiteY648" fmla="*/ 397687 h 418727"/>
                <a:gd name="connsiteX649" fmla="*/ 191059 w 900266"/>
                <a:gd name="connsiteY649" fmla="*/ 396374 h 418727"/>
                <a:gd name="connsiteX650" fmla="*/ 189128 w 900266"/>
                <a:gd name="connsiteY650" fmla="*/ 393675 h 418727"/>
                <a:gd name="connsiteX651" fmla="*/ 187791 w 900266"/>
                <a:gd name="connsiteY651" fmla="*/ 391599 h 418727"/>
                <a:gd name="connsiteX652" fmla="*/ 184485 w 900266"/>
                <a:gd name="connsiteY652" fmla="*/ 387064 h 418727"/>
                <a:gd name="connsiteX653" fmla="*/ 184027 w 900266"/>
                <a:gd name="connsiteY653" fmla="*/ 385632 h 418727"/>
                <a:gd name="connsiteX654" fmla="*/ 183410 w 900266"/>
                <a:gd name="connsiteY654" fmla="*/ 384171 h 418727"/>
                <a:gd name="connsiteX655" fmla="*/ 182307 w 900266"/>
                <a:gd name="connsiteY655" fmla="*/ 382949 h 418727"/>
                <a:gd name="connsiteX656" fmla="*/ 178417 w 900266"/>
                <a:gd name="connsiteY656" fmla="*/ 379947 h 418727"/>
                <a:gd name="connsiteX657" fmla="*/ 173883 w 900266"/>
                <a:gd name="connsiteY657" fmla="*/ 377237 h 418727"/>
                <a:gd name="connsiteX658" fmla="*/ 169439 w 900266"/>
                <a:gd name="connsiteY658" fmla="*/ 374582 h 418727"/>
                <a:gd name="connsiteX659" fmla="*/ 168180 w 900266"/>
                <a:gd name="connsiteY659" fmla="*/ 373937 h 418727"/>
                <a:gd name="connsiteX660" fmla="*/ 166102 w 900266"/>
                <a:gd name="connsiteY660" fmla="*/ 373112 h 418727"/>
                <a:gd name="connsiteX661" fmla="*/ 163541 w 900266"/>
                <a:gd name="connsiteY661" fmla="*/ 373093 h 418727"/>
                <a:gd name="connsiteX662" fmla="*/ 161799 w 900266"/>
                <a:gd name="connsiteY662" fmla="*/ 373256 h 418727"/>
                <a:gd name="connsiteX663" fmla="*/ 156469 w 900266"/>
                <a:gd name="connsiteY663" fmla="*/ 374132 h 418727"/>
                <a:gd name="connsiteX664" fmla="*/ 152388 w 900266"/>
                <a:gd name="connsiteY664" fmla="*/ 375160 h 418727"/>
                <a:gd name="connsiteX665" fmla="*/ 146845 w 900266"/>
                <a:gd name="connsiteY665" fmla="*/ 376554 h 418727"/>
                <a:gd name="connsiteX666" fmla="*/ 142550 w 900266"/>
                <a:gd name="connsiteY666" fmla="*/ 378099 h 418727"/>
                <a:gd name="connsiteX667" fmla="*/ 141591 w 900266"/>
                <a:gd name="connsiteY667" fmla="*/ 378552 h 418727"/>
                <a:gd name="connsiteX668" fmla="*/ 138451 w 900266"/>
                <a:gd name="connsiteY668" fmla="*/ 380415 h 418727"/>
                <a:gd name="connsiteX669" fmla="*/ 134612 w 900266"/>
                <a:gd name="connsiteY669" fmla="*/ 383500 h 418727"/>
                <a:gd name="connsiteX670" fmla="*/ 130123 w 900266"/>
                <a:gd name="connsiteY670" fmla="*/ 387849 h 418727"/>
                <a:gd name="connsiteX671" fmla="*/ 129542 w 900266"/>
                <a:gd name="connsiteY671" fmla="*/ 385052 h 418727"/>
                <a:gd name="connsiteX672" fmla="*/ 129343 w 900266"/>
                <a:gd name="connsiteY672" fmla="*/ 380741 h 418727"/>
                <a:gd name="connsiteX673" fmla="*/ 129421 w 900266"/>
                <a:gd name="connsiteY673" fmla="*/ 379352 h 418727"/>
                <a:gd name="connsiteX674" fmla="*/ 130639 w 900266"/>
                <a:gd name="connsiteY674" fmla="*/ 375721 h 418727"/>
                <a:gd name="connsiteX675" fmla="*/ 131878 w 900266"/>
                <a:gd name="connsiteY675" fmla="*/ 373227 h 418727"/>
                <a:gd name="connsiteX676" fmla="*/ 132876 w 900266"/>
                <a:gd name="connsiteY676" fmla="*/ 370633 h 418727"/>
                <a:gd name="connsiteX677" fmla="*/ 133321 w 900266"/>
                <a:gd name="connsiteY677" fmla="*/ 367234 h 418727"/>
                <a:gd name="connsiteX678" fmla="*/ 132394 w 900266"/>
                <a:gd name="connsiteY678" fmla="*/ 361772 h 418727"/>
                <a:gd name="connsiteX679" fmla="*/ 131364 w 900266"/>
                <a:gd name="connsiteY679" fmla="*/ 360560 h 418727"/>
                <a:gd name="connsiteX680" fmla="*/ 130125 w 900266"/>
                <a:gd name="connsiteY680" fmla="*/ 360164 h 418727"/>
                <a:gd name="connsiteX681" fmla="*/ 128806 w 900266"/>
                <a:gd name="connsiteY681" fmla="*/ 360052 h 418727"/>
                <a:gd name="connsiteX682" fmla="*/ 126376 w 900266"/>
                <a:gd name="connsiteY682" fmla="*/ 360274 h 418727"/>
                <a:gd name="connsiteX683" fmla="*/ 125241 w 900266"/>
                <a:gd name="connsiteY683" fmla="*/ 360712 h 418727"/>
                <a:gd name="connsiteX684" fmla="*/ 123265 w 900266"/>
                <a:gd name="connsiteY684" fmla="*/ 358867 h 418727"/>
                <a:gd name="connsiteX685" fmla="*/ 120874 w 900266"/>
                <a:gd name="connsiteY685" fmla="*/ 358572 h 418727"/>
                <a:gd name="connsiteX686" fmla="*/ 119613 w 900266"/>
                <a:gd name="connsiteY686" fmla="*/ 359086 h 418727"/>
                <a:gd name="connsiteX687" fmla="*/ 118335 w 900266"/>
                <a:gd name="connsiteY687" fmla="*/ 359353 h 418727"/>
                <a:gd name="connsiteX688" fmla="*/ 116953 w 900266"/>
                <a:gd name="connsiteY688" fmla="*/ 358843 h 418727"/>
                <a:gd name="connsiteX689" fmla="*/ 115756 w 900266"/>
                <a:gd name="connsiteY689" fmla="*/ 357751 h 418727"/>
                <a:gd name="connsiteX690" fmla="*/ 115024 w 900266"/>
                <a:gd name="connsiteY690" fmla="*/ 356572 h 418727"/>
                <a:gd name="connsiteX691" fmla="*/ 114452 w 900266"/>
                <a:gd name="connsiteY691" fmla="*/ 355236 h 418727"/>
                <a:gd name="connsiteX692" fmla="*/ 112578 w 900266"/>
                <a:gd name="connsiteY692" fmla="*/ 352562 h 418727"/>
                <a:gd name="connsiteX693" fmla="*/ 110712 w 900266"/>
                <a:gd name="connsiteY693" fmla="*/ 351102 h 418727"/>
                <a:gd name="connsiteX694" fmla="*/ 108458 w 900266"/>
                <a:gd name="connsiteY694" fmla="*/ 350779 h 418727"/>
                <a:gd name="connsiteX695" fmla="*/ 104782 w 900266"/>
                <a:gd name="connsiteY695" fmla="*/ 350863 h 418727"/>
                <a:gd name="connsiteX696" fmla="*/ 103623 w 900266"/>
                <a:gd name="connsiteY696" fmla="*/ 350682 h 418727"/>
                <a:gd name="connsiteX697" fmla="*/ 103556 w 900266"/>
                <a:gd name="connsiteY697" fmla="*/ 349162 h 418727"/>
                <a:gd name="connsiteX698" fmla="*/ 104020 w 900266"/>
                <a:gd name="connsiteY698" fmla="*/ 345804 h 418727"/>
                <a:gd name="connsiteX699" fmla="*/ 104031 w 900266"/>
                <a:gd name="connsiteY699" fmla="*/ 344051 h 418727"/>
                <a:gd name="connsiteX700" fmla="*/ 103763 w 900266"/>
                <a:gd name="connsiteY700" fmla="*/ 342395 h 418727"/>
                <a:gd name="connsiteX701" fmla="*/ 103152 w 900266"/>
                <a:gd name="connsiteY701" fmla="*/ 341034 h 418727"/>
                <a:gd name="connsiteX702" fmla="*/ 102375 w 900266"/>
                <a:gd name="connsiteY702" fmla="*/ 339854 h 418727"/>
                <a:gd name="connsiteX703" fmla="*/ 100179 w 900266"/>
                <a:gd name="connsiteY703" fmla="*/ 337911 h 418727"/>
                <a:gd name="connsiteX704" fmla="*/ 98524 w 900266"/>
                <a:gd name="connsiteY704" fmla="*/ 335176 h 418727"/>
                <a:gd name="connsiteX705" fmla="*/ 95760 w 900266"/>
                <a:gd name="connsiteY705" fmla="*/ 329545 h 418727"/>
                <a:gd name="connsiteX706" fmla="*/ 93348 w 900266"/>
                <a:gd name="connsiteY706" fmla="*/ 323202 h 418727"/>
                <a:gd name="connsiteX707" fmla="*/ 92284 w 900266"/>
                <a:gd name="connsiteY707" fmla="*/ 322246 h 418727"/>
                <a:gd name="connsiteX708" fmla="*/ 90125 w 900266"/>
                <a:gd name="connsiteY708" fmla="*/ 321241 h 418727"/>
                <a:gd name="connsiteX709" fmla="*/ 85410 w 900266"/>
                <a:gd name="connsiteY709" fmla="*/ 320435 h 418727"/>
                <a:gd name="connsiteX710" fmla="*/ 82301 w 900266"/>
                <a:gd name="connsiteY710" fmla="*/ 319601 h 418727"/>
                <a:gd name="connsiteX711" fmla="*/ 81072 w 900266"/>
                <a:gd name="connsiteY711" fmla="*/ 318797 h 418727"/>
                <a:gd name="connsiteX712" fmla="*/ 80563 w 900266"/>
                <a:gd name="connsiteY712" fmla="*/ 317401 h 418727"/>
                <a:gd name="connsiteX713" fmla="*/ 80571 w 900266"/>
                <a:gd name="connsiteY713" fmla="*/ 315906 h 418727"/>
                <a:gd name="connsiteX714" fmla="*/ 80828 w 900266"/>
                <a:gd name="connsiteY714" fmla="*/ 314137 h 418727"/>
                <a:gd name="connsiteX715" fmla="*/ 81556 w 900266"/>
                <a:gd name="connsiteY715" fmla="*/ 312641 h 418727"/>
                <a:gd name="connsiteX716" fmla="*/ 84033 w 900266"/>
                <a:gd name="connsiteY716" fmla="*/ 311485 h 418727"/>
                <a:gd name="connsiteX717" fmla="*/ 89406 w 900266"/>
                <a:gd name="connsiteY717" fmla="*/ 311231 h 418727"/>
                <a:gd name="connsiteX718" fmla="*/ 94003 w 900266"/>
                <a:gd name="connsiteY718" fmla="*/ 311356 h 418727"/>
                <a:gd name="connsiteX719" fmla="*/ 98170 w 900266"/>
                <a:gd name="connsiteY719" fmla="*/ 314031 h 418727"/>
                <a:gd name="connsiteX720" fmla="*/ 99539 w 900266"/>
                <a:gd name="connsiteY720" fmla="*/ 314647 h 418727"/>
                <a:gd name="connsiteX721" fmla="*/ 101008 w 900266"/>
                <a:gd name="connsiteY721" fmla="*/ 314823 h 418727"/>
                <a:gd name="connsiteX722" fmla="*/ 103962 w 900266"/>
                <a:gd name="connsiteY722" fmla="*/ 313978 h 418727"/>
                <a:gd name="connsiteX723" fmla="*/ 105419 w 900266"/>
                <a:gd name="connsiteY723" fmla="*/ 313738 h 418727"/>
                <a:gd name="connsiteX724" fmla="*/ 109110 w 900266"/>
                <a:gd name="connsiteY724" fmla="*/ 314016 h 418727"/>
                <a:gd name="connsiteX725" fmla="*/ 108009 w 900266"/>
                <a:gd name="connsiteY725" fmla="*/ 312750 h 418727"/>
                <a:gd name="connsiteX726" fmla="*/ 106622 w 900266"/>
                <a:gd name="connsiteY726" fmla="*/ 312085 h 418727"/>
                <a:gd name="connsiteX727" fmla="*/ 105191 w 900266"/>
                <a:gd name="connsiteY727" fmla="*/ 312143 h 418727"/>
                <a:gd name="connsiteX728" fmla="*/ 103951 w 900266"/>
                <a:gd name="connsiteY728" fmla="*/ 311628 h 418727"/>
                <a:gd name="connsiteX729" fmla="*/ 101915 w 900266"/>
                <a:gd name="connsiteY729" fmla="*/ 309170 h 418727"/>
                <a:gd name="connsiteX730" fmla="*/ 98371 w 900266"/>
                <a:gd name="connsiteY730" fmla="*/ 306373 h 418727"/>
                <a:gd name="connsiteX731" fmla="*/ 97549 w 900266"/>
                <a:gd name="connsiteY731" fmla="*/ 305215 h 418727"/>
                <a:gd name="connsiteX732" fmla="*/ 97298 w 900266"/>
                <a:gd name="connsiteY732" fmla="*/ 303364 h 418727"/>
                <a:gd name="connsiteX733" fmla="*/ 97983 w 900266"/>
                <a:gd name="connsiteY733" fmla="*/ 301766 h 418727"/>
                <a:gd name="connsiteX734" fmla="*/ 100489 w 900266"/>
                <a:gd name="connsiteY734" fmla="*/ 300128 h 418727"/>
                <a:gd name="connsiteX735" fmla="*/ 102616 w 900266"/>
                <a:gd name="connsiteY735" fmla="*/ 297900 h 418727"/>
                <a:gd name="connsiteX736" fmla="*/ 103593 w 900266"/>
                <a:gd name="connsiteY736" fmla="*/ 294940 h 418727"/>
                <a:gd name="connsiteX737" fmla="*/ 104463 w 900266"/>
                <a:gd name="connsiteY737" fmla="*/ 293575 h 418727"/>
                <a:gd name="connsiteX738" fmla="*/ 106283 w 900266"/>
                <a:gd name="connsiteY738" fmla="*/ 291429 h 418727"/>
                <a:gd name="connsiteX739" fmla="*/ 109023 w 900266"/>
                <a:gd name="connsiteY739" fmla="*/ 291840 h 418727"/>
                <a:gd name="connsiteX740" fmla="*/ 113290 w 900266"/>
                <a:gd name="connsiteY740" fmla="*/ 290288 h 418727"/>
                <a:gd name="connsiteX741" fmla="*/ 120280 w 900266"/>
                <a:gd name="connsiteY741" fmla="*/ 290592 h 418727"/>
                <a:gd name="connsiteX742" fmla="*/ 128639 w 900266"/>
                <a:gd name="connsiteY742" fmla="*/ 290145 h 418727"/>
                <a:gd name="connsiteX743" fmla="*/ 130946 w 900266"/>
                <a:gd name="connsiteY743" fmla="*/ 290310 h 418727"/>
                <a:gd name="connsiteX744" fmla="*/ 136273 w 900266"/>
                <a:gd name="connsiteY744" fmla="*/ 291823 h 418727"/>
                <a:gd name="connsiteX745" fmla="*/ 139341 w 900266"/>
                <a:gd name="connsiteY745" fmla="*/ 292475 h 418727"/>
                <a:gd name="connsiteX746" fmla="*/ 143060 w 900266"/>
                <a:gd name="connsiteY746" fmla="*/ 292810 h 418727"/>
                <a:gd name="connsiteX747" fmla="*/ 145746 w 900266"/>
                <a:gd name="connsiteY747" fmla="*/ 292139 h 418727"/>
                <a:gd name="connsiteX748" fmla="*/ 143211 w 900266"/>
                <a:gd name="connsiteY748" fmla="*/ 290071 h 418727"/>
                <a:gd name="connsiteX749" fmla="*/ 137722 w 900266"/>
                <a:gd name="connsiteY749" fmla="*/ 287617 h 418727"/>
                <a:gd name="connsiteX750" fmla="*/ 136314 w 900266"/>
                <a:gd name="connsiteY750" fmla="*/ 285528 h 418727"/>
                <a:gd name="connsiteX751" fmla="*/ 138827 w 900266"/>
                <a:gd name="connsiteY751" fmla="*/ 279836 h 418727"/>
                <a:gd name="connsiteX752" fmla="*/ 142235 w 900266"/>
                <a:gd name="connsiteY752" fmla="*/ 274642 h 418727"/>
                <a:gd name="connsiteX753" fmla="*/ 144306 w 900266"/>
                <a:gd name="connsiteY753" fmla="*/ 268458 h 418727"/>
                <a:gd name="connsiteX754" fmla="*/ 143725 w 900266"/>
                <a:gd name="connsiteY754" fmla="*/ 262296 h 418727"/>
                <a:gd name="connsiteX755" fmla="*/ 142729 w 900266"/>
                <a:gd name="connsiteY755" fmla="*/ 260598 h 418727"/>
                <a:gd name="connsiteX756" fmla="*/ 143051 w 900266"/>
                <a:gd name="connsiteY756" fmla="*/ 258594 h 418727"/>
                <a:gd name="connsiteX757" fmla="*/ 144243 w 900266"/>
                <a:gd name="connsiteY757" fmla="*/ 256902 h 418727"/>
                <a:gd name="connsiteX758" fmla="*/ 145079 w 900266"/>
                <a:gd name="connsiteY758" fmla="*/ 255215 h 418727"/>
                <a:gd name="connsiteX759" fmla="*/ 144355 w 900266"/>
                <a:gd name="connsiteY759" fmla="*/ 253184 h 418727"/>
                <a:gd name="connsiteX760" fmla="*/ 142850 w 900266"/>
                <a:gd name="connsiteY760" fmla="*/ 250009 h 418727"/>
                <a:gd name="connsiteX761" fmla="*/ 142079 w 900266"/>
                <a:gd name="connsiteY761" fmla="*/ 248981 h 418727"/>
                <a:gd name="connsiteX762" fmla="*/ 139458 w 900266"/>
                <a:gd name="connsiteY762" fmla="*/ 247267 h 418727"/>
                <a:gd name="connsiteX763" fmla="*/ 134187 w 900266"/>
                <a:gd name="connsiteY763" fmla="*/ 247191 h 418727"/>
                <a:gd name="connsiteX764" fmla="*/ 129887 w 900266"/>
                <a:gd name="connsiteY764" fmla="*/ 246255 h 418727"/>
                <a:gd name="connsiteX765" fmla="*/ 128497 w 900266"/>
                <a:gd name="connsiteY765" fmla="*/ 247008 h 418727"/>
                <a:gd name="connsiteX766" fmla="*/ 127713 w 900266"/>
                <a:gd name="connsiteY766" fmla="*/ 248167 h 418727"/>
                <a:gd name="connsiteX767" fmla="*/ 126728 w 900266"/>
                <a:gd name="connsiteY767" fmla="*/ 248930 h 418727"/>
                <a:gd name="connsiteX768" fmla="*/ 123377 w 900266"/>
                <a:gd name="connsiteY768" fmla="*/ 250470 h 418727"/>
                <a:gd name="connsiteX769" fmla="*/ 122261 w 900266"/>
                <a:gd name="connsiteY769" fmla="*/ 250773 h 418727"/>
                <a:gd name="connsiteX770" fmla="*/ 121094 w 900266"/>
                <a:gd name="connsiteY770" fmla="*/ 250467 h 418727"/>
                <a:gd name="connsiteX771" fmla="*/ 119449 w 900266"/>
                <a:gd name="connsiteY771" fmla="*/ 248731 h 418727"/>
                <a:gd name="connsiteX772" fmla="*/ 117989 w 900266"/>
                <a:gd name="connsiteY772" fmla="*/ 248927 h 418727"/>
                <a:gd name="connsiteX773" fmla="*/ 113554 w 900266"/>
                <a:gd name="connsiteY773" fmla="*/ 247843 h 418727"/>
                <a:gd name="connsiteX774" fmla="*/ 111465 w 900266"/>
                <a:gd name="connsiteY774" fmla="*/ 245490 h 418727"/>
                <a:gd name="connsiteX775" fmla="*/ 110695 w 900266"/>
                <a:gd name="connsiteY775" fmla="*/ 245159 h 418727"/>
                <a:gd name="connsiteX776" fmla="*/ 103521 w 900266"/>
                <a:gd name="connsiteY776" fmla="*/ 243277 h 418727"/>
                <a:gd name="connsiteX777" fmla="*/ 101027 w 900266"/>
                <a:gd name="connsiteY777" fmla="*/ 242918 h 418727"/>
                <a:gd name="connsiteX778" fmla="*/ 95322 w 900266"/>
                <a:gd name="connsiteY778" fmla="*/ 244859 h 418727"/>
                <a:gd name="connsiteX779" fmla="*/ 91180 w 900266"/>
                <a:gd name="connsiteY779" fmla="*/ 247343 h 418727"/>
                <a:gd name="connsiteX780" fmla="*/ 90012 w 900266"/>
                <a:gd name="connsiteY780" fmla="*/ 247704 h 418727"/>
                <a:gd name="connsiteX781" fmla="*/ 87868 w 900266"/>
                <a:gd name="connsiteY781" fmla="*/ 249278 h 418727"/>
                <a:gd name="connsiteX782" fmla="*/ 86663 w 900266"/>
                <a:gd name="connsiteY782" fmla="*/ 249528 h 418727"/>
                <a:gd name="connsiteX783" fmla="*/ 85421 w 900266"/>
                <a:gd name="connsiteY783" fmla="*/ 249260 h 418727"/>
                <a:gd name="connsiteX784" fmla="*/ 84251 w 900266"/>
                <a:gd name="connsiteY784" fmla="*/ 249356 h 418727"/>
                <a:gd name="connsiteX785" fmla="*/ 81750 w 900266"/>
                <a:gd name="connsiteY785" fmla="*/ 251712 h 418727"/>
                <a:gd name="connsiteX786" fmla="*/ 77224 w 900266"/>
                <a:gd name="connsiteY786" fmla="*/ 254453 h 418727"/>
                <a:gd name="connsiteX787" fmla="*/ 74974 w 900266"/>
                <a:gd name="connsiteY787" fmla="*/ 256182 h 418727"/>
                <a:gd name="connsiteX788" fmla="*/ 72465 w 900266"/>
                <a:gd name="connsiteY788" fmla="*/ 257255 h 418727"/>
                <a:gd name="connsiteX789" fmla="*/ 69684 w 900266"/>
                <a:gd name="connsiteY789" fmla="*/ 257926 h 418727"/>
                <a:gd name="connsiteX790" fmla="*/ 66831 w 900266"/>
                <a:gd name="connsiteY790" fmla="*/ 258035 h 418727"/>
                <a:gd name="connsiteX791" fmla="*/ 65788 w 900266"/>
                <a:gd name="connsiteY791" fmla="*/ 258656 h 418727"/>
                <a:gd name="connsiteX792" fmla="*/ 62534 w 900266"/>
                <a:gd name="connsiteY792" fmla="*/ 258877 h 418727"/>
                <a:gd name="connsiteX793" fmla="*/ 60550 w 900266"/>
                <a:gd name="connsiteY793" fmla="*/ 259380 h 418727"/>
                <a:gd name="connsiteX794" fmla="*/ 60478 w 900266"/>
                <a:gd name="connsiteY794" fmla="*/ 260313 h 418727"/>
                <a:gd name="connsiteX795" fmla="*/ 60874 w 900266"/>
                <a:gd name="connsiteY795" fmla="*/ 262403 h 418727"/>
                <a:gd name="connsiteX796" fmla="*/ 59187 w 900266"/>
                <a:gd name="connsiteY796" fmla="*/ 261665 h 418727"/>
                <a:gd name="connsiteX797" fmla="*/ 57414 w 900266"/>
                <a:gd name="connsiteY797" fmla="*/ 263083 h 418727"/>
                <a:gd name="connsiteX798" fmla="*/ 58001 w 900266"/>
                <a:gd name="connsiteY798" fmla="*/ 264428 h 418727"/>
                <a:gd name="connsiteX799" fmla="*/ 56941 w 900266"/>
                <a:gd name="connsiteY799" fmla="*/ 264105 h 418727"/>
                <a:gd name="connsiteX800" fmla="*/ 51959 w 900266"/>
                <a:gd name="connsiteY800" fmla="*/ 261517 h 418727"/>
                <a:gd name="connsiteX801" fmla="*/ 47876 w 900266"/>
                <a:gd name="connsiteY801" fmla="*/ 259691 h 418727"/>
                <a:gd name="connsiteX802" fmla="*/ 44246 w 900266"/>
                <a:gd name="connsiteY802" fmla="*/ 258066 h 418727"/>
                <a:gd name="connsiteX803" fmla="*/ 43713 w 900266"/>
                <a:gd name="connsiteY803" fmla="*/ 257771 h 418727"/>
                <a:gd name="connsiteX804" fmla="*/ 42722 w 900266"/>
                <a:gd name="connsiteY804" fmla="*/ 256978 h 418727"/>
                <a:gd name="connsiteX805" fmla="*/ 42013 w 900266"/>
                <a:gd name="connsiteY805" fmla="*/ 255745 h 418727"/>
                <a:gd name="connsiteX806" fmla="*/ 41862 w 900266"/>
                <a:gd name="connsiteY806" fmla="*/ 254392 h 418727"/>
                <a:gd name="connsiteX807" fmla="*/ 42220 w 900266"/>
                <a:gd name="connsiteY807" fmla="*/ 253399 h 418727"/>
                <a:gd name="connsiteX808" fmla="*/ 43102 w 900266"/>
                <a:gd name="connsiteY808" fmla="*/ 252764 h 418727"/>
                <a:gd name="connsiteX809" fmla="*/ 44138 w 900266"/>
                <a:gd name="connsiteY809" fmla="*/ 252519 h 418727"/>
                <a:gd name="connsiteX810" fmla="*/ 45063 w 900266"/>
                <a:gd name="connsiteY810" fmla="*/ 252720 h 418727"/>
                <a:gd name="connsiteX811" fmla="*/ 46090 w 900266"/>
                <a:gd name="connsiteY811" fmla="*/ 253329 h 418727"/>
                <a:gd name="connsiteX812" fmla="*/ 47921 w 900266"/>
                <a:gd name="connsiteY812" fmla="*/ 254066 h 418727"/>
                <a:gd name="connsiteX813" fmla="*/ 50292 w 900266"/>
                <a:gd name="connsiteY813" fmla="*/ 254203 h 418727"/>
                <a:gd name="connsiteX814" fmla="*/ 51767 w 900266"/>
                <a:gd name="connsiteY814" fmla="*/ 253636 h 418727"/>
                <a:gd name="connsiteX815" fmla="*/ 51968 w 900266"/>
                <a:gd name="connsiteY815" fmla="*/ 252277 h 418727"/>
                <a:gd name="connsiteX816" fmla="*/ 49148 w 900266"/>
                <a:gd name="connsiteY816" fmla="*/ 247252 h 418727"/>
                <a:gd name="connsiteX817" fmla="*/ 46550 w 900266"/>
                <a:gd name="connsiteY817" fmla="*/ 243189 h 418727"/>
                <a:gd name="connsiteX818" fmla="*/ 44037 w 900266"/>
                <a:gd name="connsiteY818" fmla="*/ 238663 h 418727"/>
                <a:gd name="connsiteX819" fmla="*/ 42972 w 900266"/>
                <a:gd name="connsiteY819" fmla="*/ 237020 h 418727"/>
                <a:gd name="connsiteX820" fmla="*/ 39888 w 900266"/>
                <a:gd name="connsiteY820" fmla="*/ 233222 h 418727"/>
                <a:gd name="connsiteX821" fmla="*/ 36850 w 900266"/>
                <a:gd name="connsiteY821" fmla="*/ 229477 h 418727"/>
                <a:gd name="connsiteX822" fmla="*/ 34447 w 900266"/>
                <a:gd name="connsiteY822" fmla="*/ 226136 h 418727"/>
                <a:gd name="connsiteX823" fmla="*/ 33186 w 900266"/>
                <a:gd name="connsiteY823" fmla="*/ 225106 h 418727"/>
                <a:gd name="connsiteX824" fmla="*/ 29310 w 900266"/>
                <a:gd name="connsiteY824" fmla="*/ 224676 h 418727"/>
                <a:gd name="connsiteX825" fmla="*/ 21914 w 900266"/>
                <a:gd name="connsiteY825" fmla="*/ 223852 h 418727"/>
                <a:gd name="connsiteX826" fmla="*/ 19299 w 900266"/>
                <a:gd name="connsiteY826" fmla="*/ 223460 h 418727"/>
                <a:gd name="connsiteX827" fmla="*/ 17207 w 900266"/>
                <a:gd name="connsiteY827" fmla="*/ 224452 h 418727"/>
                <a:gd name="connsiteX828" fmla="*/ 15107 w 900266"/>
                <a:gd name="connsiteY828" fmla="*/ 225233 h 418727"/>
                <a:gd name="connsiteX829" fmla="*/ 13110 w 900266"/>
                <a:gd name="connsiteY829" fmla="*/ 223782 h 418727"/>
                <a:gd name="connsiteX830" fmla="*/ 11534 w 900266"/>
                <a:gd name="connsiteY830" fmla="*/ 221408 h 418727"/>
                <a:gd name="connsiteX831" fmla="*/ 10705 w 900266"/>
                <a:gd name="connsiteY831" fmla="*/ 219408 h 418727"/>
                <a:gd name="connsiteX832" fmla="*/ 11108 w 900266"/>
                <a:gd name="connsiteY832" fmla="*/ 217366 h 418727"/>
                <a:gd name="connsiteX833" fmla="*/ 11274 w 900266"/>
                <a:gd name="connsiteY833" fmla="*/ 214347 h 418727"/>
                <a:gd name="connsiteX834" fmla="*/ 10072 w 900266"/>
                <a:gd name="connsiteY834" fmla="*/ 211366 h 418727"/>
                <a:gd name="connsiteX835" fmla="*/ 8737 w 900266"/>
                <a:gd name="connsiteY835" fmla="*/ 209894 h 418727"/>
                <a:gd name="connsiteX836" fmla="*/ 5394 w 900266"/>
                <a:gd name="connsiteY836" fmla="*/ 208787 h 418727"/>
                <a:gd name="connsiteX837" fmla="*/ 1145 w 900266"/>
                <a:gd name="connsiteY837" fmla="*/ 206275 h 418727"/>
                <a:gd name="connsiteX838" fmla="*/ 0 w 900266"/>
                <a:gd name="connsiteY838" fmla="*/ 201689 h 418727"/>
                <a:gd name="connsiteX839" fmla="*/ 2067 w 900266"/>
                <a:gd name="connsiteY839" fmla="*/ 195102 h 418727"/>
                <a:gd name="connsiteX840" fmla="*/ 5390 w 900266"/>
                <a:gd name="connsiteY840" fmla="*/ 190426 h 418727"/>
                <a:gd name="connsiteX841" fmla="*/ 7807 w 900266"/>
                <a:gd name="connsiteY841" fmla="*/ 188466 h 418727"/>
                <a:gd name="connsiteX842" fmla="*/ 8957 w 900266"/>
                <a:gd name="connsiteY842" fmla="*/ 186752 h 418727"/>
                <a:gd name="connsiteX843" fmla="*/ 9335 w 900266"/>
                <a:gd name="connsiteY843" fmla="*/ 185268 h 418727"/>
                <a:gd name="connsiteX844" fmla="*/ 9044 w 900266"/>
                <a:gd name="connsiteY844" fmla="*/ 183849 h 418727"/>
                <a:gd name="connsiteX845" fmla="*/ 7612 w 900266"/>
                <a:gd name="connsiteY845" fmla="*/ 182342 h 418727"/>
                <a:gd name="connsiteX846" fmla="*/ 5390 w 900266"/>
                <a:gd name="connsiteY846" fmla="*/ 180874 h 418727"/>
                <a:gd name="connsiteX847" fmla="*/ 4265 w 900266"/>
                <a:gd name="connsiteY847" fmla="*/ 179063 h 418727"/>
                <a:gd name="connsiteX848" fmla="*/ 4732 w 900266"/>
                <a:gd name="connsiteY848" fmla="*/ 175188 h 418727"/>
                <a:gd name="connsiteX849" fmla="*/ 6200 w 900266"/>
                <a:gd name="connsiteY849" fmla="*/ 169593 h 418727"/>
                <a:gd name="connsiteX850" fmla="*/ 8465 w 900266"/>
                <a:gd name="connsiteY850" fmla="*/ 165108 h 418727"/>
                <a:gd name="connsiteX851" fmla="*/ 11508 w 900266"/>
                <a:gd name="connsiteY851" fmla="*/ 162620 h 418727"/>
                <a:gd name="connsiteX852" fmla="*/ 14133 w 900266"/>
                <a:gd name="connsiteY852" fmla="*/ 160836 h 418727"/>
                <a:gd name="connsiteX853" fmla="*/ 15170 w 900266"/>
                <a:gd name="connsiteY853" fmla="*/ 159172 h 418727"/>
                <a:gd name="connsiteX854" fmla="*/ 15224 w 900266"/>
                <a:gd name="connsiteY854" fmla="*/ 156810 h 418727"/>
                <a:gd name="connsiteX855" fmla="*/ 15159 w 900266"/>
                <a:gd name="connsiteY855" fmla="*/ 154576 h 418727"/>
                <a:gd name="connsiteX856" fmla="*/ 15861 w 900266"/>
                <a:gd name="connsiteY856" fmla="*/ 152953 h 418727"/>
                <a:gd name="connsiteX857" fmla="*/ 16964 w 900266"/>
                <a:gd name="connsiteY857" fmla="*/ 151662 h 418727"/>
                <a:gd name="connsiteX858" fmla="*/ 18133 w 900266"/>
                <a:gd name="connsiteY858" fmla="*/ 150507 h 418727"/>
                <a:gd name="connsiteX859" fmla="*/ 19778 w 900266"/>
                <a:gd name="connsiteY859" fmla="*/ 149209 h 418727"/>
                <a:gd name="connsiteX860" fmla="*/ 21901 w 900266"/>
                <a:gd name="connsiteY860" fmla="*/ 148894 h 418727"/>
                <a:gd name="connsiteX861" fmla="*/ 24248 w 900266"/>
                <a:gd name="connsiteY861" fmla="*/ 149927 h 418727"/>
                <a:gd name="connsiteX862" fmla="*/ 27429 w 900266"/>
                <a:gd name="connsiteY862" fmla="*/ 152698 h 418727"/>
                <a:gd name="connsiteX863" fmla="*/ 32097 w 900266"/>
                <a:gd name="connsiteY863" fmla="*/ 158158 h 418727"/>
                <a:gd name="connsiteX864" fmla="*/ 34764 w 900266"/>
                <a:gd name="connsiteY864" fmla="*/ 161727 h 418727"/>
                <a:gd name="connsiteX865" fmla="*/ 35725 w 900266"/>
                <a:gd name="connsiteY865" fmla="*/ 162825 h 418727"/>
                <a:gd name="connsiteX866" fmla="*/ 38161 w 900266"/>
                <a:gd name="connsiteY866" fmla="*/ 164949 h 418727"/>
                <a:gd name="connsiteX867" fmla="*/ 40357 w 900266"/>
                <a:gd name="connsiteY867" fmla="*/ 165806 h 418727"/>
                <a:gd name="connsiteX868" fmla="*/ 44022 w 900266"/>
                <a:gd name="connsiteY868" fmla="*/ 164475 h 418727"/>
                <a:gd name="connsiteX869" fmla="*/ 47537 w 900266"/>
                <a:gd name="connsiteY869" fmla="*/ 162929 h 418727"/>
                <a:gd name="connsiteX870" fmla="*/ 48671 w 900266"/>
                <a:gd name="connsiteY870" fmla="*/ 161946 h 418727"/>
                <a:gd name="connsiteX871" fmla="*/ 49401 w 900266"/>
                <a:gd name="connsiteY871" fmla="*/ 160482 h 418727"/>
                <a:gd name="connsiteX872" fmla="*/ 48841 w 900266"/>
                <a:gd name="connsiteY872" fmla="*/ 157977 h 418727"/>
                <a:gd name="connsiteX873" fmla="*/ 48107 w 900266"/>
                <a:gd name="connsiteY873" fmla="*/ 156341 h 418727"/>
                <a:gd name="connsiteX874" fmla="*/ 47325 w 900266"/>
                <a:gd name="connsiteY874" fmla="*/ 154258 h 418727"/>
                <a:gd name="connsiteX875" fmla="*/ 46243 w 900266"/>
                <a:gd name="connsiteY875" fmla="*/ 150629 h 418727"/>
                <a:gd name="connsiteX876" fmla="*/ 45481 w 900266"/>
                <a:gd name="connsiteY876" fmla="*/ 144924 h 418727"/>
                <a:gd name="connsiteX877" fmla="*/ 44577 w 900266"/>
                <a:gd name="connsiteY877" fmla="*/ 143112 h 418727"/>
                <a:gd name="connsiteX878" fmla="*/ 45242 w 900266"/>
                <a:gd name="connsiteY878" fmla="*/ 142903 h 418727"/>
                <a:gd name="connsiteX879" fmla="*/ 47002 w 900266"/>
                <a:gd name="connsiteY879" fmla="*/ 143281 h 418727"/>
                <a:gd name="connsiteX880" fmla="*/ 48630 w 900266"/>
                <a:gd name="connsiteY880" fmla="*/ 143442 h 418727"/>
                <a:gd name="connsiteX881" fmla="*/ 50959 w 900266"/>
                <a:gd name="connsiteY881" fmla="*/ 142184 h 418727"/>
                <a:gd name="connsiteX882" fmla="*/ 54164 w 900266"/>
                <a:gd name="connsiteY882" fmla="*/ 139813 h 418727"/>
                <a:gd name="connsiteX883" fmla="*/ 60018 w 900266"/>
                <a:gd name="connsiteY883" fmla="*/ 136152 h 418727"/>
                <a:gd name="connsiteX884" fmla="*/ 61258 w 900266"/>
                <a:gd name="connsiteY884" fmla="*/ 133732 h 418727"/>
                <a:gd name="connsiteX885" fmla="*/ 62255 w 900266"/>
                <a:gd name="connsiteY885" fmla="*/ 131036 h 418727"/>
                <a:gd name="connsiteX886" fmla="*/ 63879 w 900266"/>
                <a:gd name="connsiteY886" fmla="*/ 129381 h 418727"/>
                <a:gd name="connsiteX887" fmla="*/ 67600 w 900266"/>
                <a:gd name="connsiteY887" fmla="*/ 128835 h 418727"/>
                <a:gd name="connsiteX888" fmla="*/ 71049 w 900266"/>
                <a:gd name="connsiteY888" fmla="*/ 127969 h 418727"/>
                <a:gd name="connsiteX889" fmla="*/ 73482 w 900266"/>
                <a:gd name="connsiteY889" fmla="*/ 126058 h 418727"/>
                <a:gd name="connsiteX890" fmla="*/ 77298 w 900266"/>
                <a:gd name="connsiteY890" fmla="*/ 124377 h 418727"/>
                <a:gd name="connsiteX891" fmla="*/ 80438 w 900266"/>
                <a:gd name="connsiteY891" fmla="*/ 123353 h 418727"/>
                <a:gd name="connsiteX892" fmla="*/ 81817 w 900266"/>
                <a:gd name="connsiteY892" fmla="*/ 122413 h 418727"/>
                <a:gd name="connsiteX893" fmla="*/ 82800 w 900266"/>
                <a:gd name="connsiteY893" fmla="*/ 121000 h 418727"/>
                <a:gd name="connsiteX894" fmla="*/ 86395 w 900266"/>
                <a:gd name="connsiteY894" fmla="*/ 117010 h 418727"/>
                <a:gd name="connsiteX895" fmla="*/ 89218 w 900266"/>
                <a:gd name="connsiteY895" fmla="*/ 114553 h 418727"/>
                <a:gd name="connsiteX896" fmla="*/ 91699 w 900266"/>
                <a:gd name="connsiteY896" fmla="*/ 112022 h 418727"/>
                <a:gd name="connsiteX897" fmla="*/ 92534 w 900266"/>
                <a:gd name="connsiteY897" fmla="*/ 110430 h 418727"/>
                <a:gd name="connsiteX898" fmla="*/ 94491 w 900266"/>
                <a:gd name="connsiteY898" fmla="*/ 110725 h 418727"/>
                <a:gd name="connsiteX899" fmla="*/ 97486 w 900266"/>
                <a:gd name="connsiteY899" fmla="*/ 111831 h 418727"/>
                <a:gd name="connsiteX900" fmla="*/ 100705 w 900266"/>
                <a:gd name="connsiteY900" fmla="*/ 112838 h 418727"/>
                <a:gd name="connsiteX901" fmla="*/ 103059 w 900266"/>
                <a:gd name="connsiteY901" fmla="*/ 114397 h 418727"/>
                <a:gd name="connsiteX902" fmla="*/ 103519 w 900266"/>
                <a:gd name="connsiteY902" fmla="*/ 115994 h 418727"/>
                <a:gd name="connsiteX903" fmla="*/ 103748 w 900266"/>
                <a:gd name="connsiteY903" fmla="*/ 117251 h 418727"/>
                <a:gd name="connsiteX904" fmla="*/ 104709 w 900266"/>
                <a:gd name="connsiteY904" fmla="*/ 117900 h 418727"/>
                <a:gd name="connsiteX905" fmla="*/ 105847 w 900266"/>
                <a:gd name="connsiteY905" fmla="*/ 118019 h 418727"/>
                <a:gd name="connsiteX906" fmla="*/ 107560 w 900266"/>
                <a:gd name="connsiteY906" fmla="*/ 117703 h 418727"/>
                <a:gd name="connsiteX907" fmla="*/ 110559 w 900266"/>
                <a:gd name="connsiteY907" fmla="*/ 117646 h 418727"/>
                <a:gd name="connsiteX908" fmla="*/ 114236 w 900266"/>
                <a:gd name="connsiteY908" fmla="*/ 115580 h 418727"/>
                <a:gd name="connsiteX909" fmla="*/ 119360 w 900266"/>
                <a:gd name="connsiteY909" fmla="*/ 112094 h 418727"/>
                <a:gd name="connsiteX910" fmla="*/ 124048 w 900266"/>
                <a:gd name="connsiteY910" fmla="*/ 111014 h 418727"/>
                <a:gd name="connsiteX911" fmla="*/ 126523 w 900266"/>
                <a:gd name="connsiteY911" fmla="*/ 111841 h 418727"/>
                <a:gd name="connsiteX912" fmla="*/ 128557 w 900266"/>
                <a:gd name="connsiteY912" fmla="*/ 114404 h 418727"/>
                <a:gd name="connsiteX913" fmla="*/ 130174 w 900266"/>
                <a:gd name="connsiteY913" fmla="*/ 116818 h 418727"/>
                <a:gd name="connsiteX914" fmla="*/ 131833 w 900266"/>
                <a:gd name="connsiteY914" fmla="*/ 117715 h 418727"/>
                <a:gd name="connsiteX915" fmla="*/ 132863 w 900266"/>
                <a:gd name="connsiteY915" fmla="*/ 117740 h 418727"/>
                <a:gd name="connsiteX916" fmla="*/ 133247 w 900266"/>
                <a:gd name="connsiteY916" fmla="*/ 117776 h 418727"/>
                <a:gd name="connsiteX917" fmla="*/ 135303 w 900266"/>
                <a:gd name="connsiteY917" fmla="*/ 117230 h 418727"/>
                <a:gd name="connsiteX918" fmla="*/ 135456 w 900266"/>
                <a:gd name="connsiteY918" fmla="*/ 117237 h 418727"/>
                <a:gd name="connsiteX919" fmla="*/ 137346 w 900266"/>
                <a:gd name="connsiteY919" fmla="*/ 117334 h 418727"/>
                <a:gd name="connsiteX920" fmla="*/ 139162 w 900266"/>
                <a:gd name="connsiteY920" fmla="*/ 118146 h 418727"/>
                <a:gd name="connsiteX921" fmla="*/ 142164 w 900266"/>
                <a:gd name="connsiteY921" fmla="*/ 118241 h 418727"/>
                <a:gd name="connsiteX922" fmla="*/ 146342 w 900266"/>
                <a:gd name="connsiteY922" fmla="*/ 117617 h 418727"/>
                <a:gd name="connsiteX923" fmla="*/ 146782 w 900266"/>
                <a:gd name="connsiteY923" fmla="*/ 117363 h 418727"/>
                <a:gd name="connsiteX924" fmla="*/ 148791 w 900266"/>
                <a:gd name="connsiteY924" fmla="*/ 117693 h 418727"/>
                <a:gd name="connsiteX925" fmla="*/ 151235 w 900266"/>
                <a:gd name="connsiteY925" fmla="*/ 118805 h 418727"/>
                <a:gd name="connsiteX926" fmla="*/ 153137 w 900266"/>
                <a:gd name="connsiteY926" fmla="*/ 120125 h 418727"/>
                <a:gd name="connsiteX927" fmla="*/ 156530 w 900266"/>
                <a:gd name="connsiteY927" fmla="*/ 124458 h 418727"/>
                <a:gd name="connsiteX928" fmla="*/ 158484 w 900266"/>
                <a:gd name="connsiteY928" fmla="*/ 125574 h 418727"/>
                <a:gd name="connsiteX929" fmla="*/ 162472 w 900266"/>
                <a:gd name="connsiteY929" fmla="*/ 127112 h 418727"/>
                <a:gd name="connsiteX930" fmla="*/ 164345 w 900266"/>
                <a:gd name="connsiteY930" fmla="*/ 128458 h 418727"/>
                <a:gd name="connsiteX931" fmla="*/ 166517 w 900266"/>
                <a:gd name="connsiteY931" fmla="*/ 130633 h 418727"/>
                <a:gd name="connsiteX932" fmla="*/ 167653 w 900266"/>
                <a:gd name="connsiteY932" fmla="*/ 131950 h 418727"/>
                <a:gd name="connsiteX933" fmla="*/ 170013 w 900266"/>
                <a:gd name="connsiteY933" fmla="*/ 134334 h 418727"/>
                <a:gd name="connsiteX934" fmla="*/ 172747 w 900266"/>
                <a:gd name="connsiteY934" fmla="*/ 138233 h 418727"/>
                <a:gd name="connsiteX935" fmla="*/ 173231 w 900266"/>
                <a:gd name="connsiteY935" fmla="*/ 141331 h 418727"/>
                <a:gd name="connsiteX936" fmla="*/ 173852 w 900266"/>
                <a:gd name="connsiteY936" fmla="*/ 143952 h 418727"/>
                <a:gd name="connsiteX937" fmla="*/ 174867 w 900266"/>
                <a:gd name="connsiteY937" fmla="*/ 145191 h 418727"/>
                <a:gd name="connsiteX938" fmla="*/ 175705 w 900266"/>
                <a:gd name="connsiteY938" fmla="*/ 145347 h 418727"/>
                <a:gd name="connsiteX939" fmla="*/ 176610 w 900266"/>
                <a:gd name="connsiteY939" fmla="*/ 144914 h 418727"/>
                <a:gd name="connsiteX940" fmla="*/ 177493 w 900266"/>
                <a:gd name="connsiteY940" fmla="*/ 143725 h 418727"/>
                <a:gd name="connsiteX941" fmla="*/ 177800 w 900266"/>
                <a:gd name="connsiteY941" fmla="*/ 141731 h 418727"/>
                <a:gd name="connsiteX942" fmla="*/ 177532 w 900266"/>
                <a:gd name="connsiteY942" fmla="*/ 138212 h 418727"/>
                <a:gd name="connsiteX943" fmla="*/ 176832 w 900266"/>
                <a:gd name="connsiteY943" fmla="*/ 135331 h 418727"/>
                <a:gd name="connsiteX944" fmla="*/ 175934 w 900266"/>
                <a:gd name="connsiteY944" fmla="*/ 134415 h 418727"/>
                <a:gd name="connsiteX945" fmla="*/ 175502 w 900266"/>
                <a:gd name="connsiteY945" fmla="*/ 133400 h 418727"/>
                <a:gd name="connsiteX946" fmla="*/ 176096 w 900266"/>
                <a:gd name="connsiteY946" fmla="*/ 132110 h 418727"/>
                <a:gd name="connsiteX947" fmla="*/ 177614 w 900266"/>
                <a:gd name="connsiteY947" fmla="*/ 131486 h 418727"/>
                <a:gd name="connsiteX948" fmla="*/ 179506 w 900266"/>
                <a:gd name="connsiteY948" fmla="*/ 131880 h 418727"/>
                <a:gd name="connsiteX949" fmla="*/ 182620 w 900266"/>
                <a:gd name="connsiteY949" fmla="*/ 133537 h 418727"/>
                <a:gd name="connsiteX950" fmla="*/ 185867 w 900266"/>
                <a:gd name="connsiteY950" fmla="*/ 135625 h 418727"/>
                <a:gd name="connsiteX951" fmla="*/ 189856 w 900266"/>
                <a:gd name="connsiteY951" fmla="*/ 139270 h 418727"/>
                <a:gd name="connsiteX952" fmla="*/ 193524 w 900266"/>
                <a:gd name="connsiteY952" fmla="*/ 141582 h 418727"/>
                <a:gd name="connsiteX953" fmla="*/ 197530 w 900266"/>
                <a:gd name="connsiteY953" fmla="*/ 143428 h 418727"/>
                <a:gd name="connsiteX954" fmla="*/ 200713 w 900266"/>
                <a:gd name="connsiteY954" fmla="*/ 143979 h 418727"/>
                <a:gd name="connsiteX955" fmla="*/ 203177 w 900266"/>
                <a:gd name="connsiteY955" fmla="*/ 143421 h 418727"/>
                <a:gd name="connsiteX956" fmla="*/ 206086 w 900266"/>
                <a:gd name="connsiteY956" fmla="*/ 141917 h 418727"/>
                <a:gd name="connsiteX957" fmla="*/ 208750 w 900266"/>
                <a:gd name="connsiteY957" fmla="*/ 140178 h 418727"/>
                <a:gd name="connsiteX958" fmla="*/ 209962 w 900266"/>
                <a:gd name="connsiteY958" fmla="*/ 138351 h 418727"/>
                <a:gd name="connsiteX959" fmla="*/ 210834 w 900266"/>
                <a:gd name="connsiteY959" fmla="*/ 136359 h 418727"/>
                <a:gd name="connsiteX960" fmla="*/ 214851 w 900266"/>
                <a:gd name="connsiteY960" fmla="*/ 133691 h 418727"/>
                <a:gd name="connsiteX961" fmla="*/ 218517 w 900266"/>
                <a:gd name="connsiteY961" fmla="*/ 131254 h 418727"/>
                <a:gd name="connsiteX962" fmla="*/ 220186 w 900266"/>
                <a:gd name="connsiteY962" fmla="*/ 131693 h 418727"/>
                <a:gd name="connsiteX963" fmla="*/ 221365 w 900266"/>
                <a:gd name="connsiteY963" fmla="*/ 132384 h 418727"/>
                <a:gd name="connsiteX964" fmla="*/ 225127 w 900266"/>
                <a:gd name="connsiteY964" fmla="*/ 130902 h 418727"/>
                <a:gd name="connsiteX965" fmla="*/ 226438 w 900266"/>
                <a:gd name="connsiteY965" fmla="*/ 130493 h 418727"/>
                <a:gd name="connsiteX966" fmla="*/ 230023 w 900266"/>
                <a:gd name="connsiteY966" fmla="*/ 129920 h 418727"/>
                <a:gd name="connsiteX967" fmla="*/ 233722 w 900266"/>
                <a:gd name="connsiteY967" fmla="*/ 130772 h 418727"/>
                <a:gd name="connsiteX968" fmla="*/ 236673 w 900266"/>
                <a:gd name="connsiteY968" fmla="*/ 133386 h 418727"/>
                <a:gd name="connsiteX969" fmla="*/ 239541 w 900266"/>
                <a:gd name="connsiteY969" fmla="*/ 135069 h 418727"/>
                <a:gd name="connsiteX970" fmla="*/ 242098 w 900266"/>
                <a:gd name="connsiteY970" fmla="*/ 134873 h 418727"/>
                <a:gd name="connsiteX971" fmla="*/ 244221 w 900266"/>
                <a:gd name="connsiteY971" fmla="*/ 134010 h 418727"/>
                <a:gd name="connsiteX972" fmla="*/ 245617 w 900266"/>
                <a:gd name="connsiteY972" fmla="*/ 132381 h 418727"/>
                <a:gd name="connsiteX973" fmla="*/ 246675 w 900266"/>
                <a:gd name="connsiteY973" fmla="*/ 130455 h 418727"/>
                <a:gd name="connsiteX974" fmla="*/ 248092 w 900266"/>
                <a:gd name="connsiteY974" fmla="*/ 129223 h 418727"/>
                <a:gd name="connsiteX975" fmla="*/ 248313 w 900266"/>
                <a:gd name="connsiteY975" fmla="*/ 129146 h 418727"/>
                <a:gd name="connsiteX976" fmla="*/ 252873 w 900266"/>
                <a:gd name="connsiteY976" fmla="*/ 129813 h 418727"/>
                <a:gd name="connsiteX977" fmla="*/ 255738 w 900266"/>
                <a:gd name="connsiteY977" fmla="*/ 129713 h 418727"/>
                <a:gd name="connsiteX978" fmla="*/ 256043 w 900266"/>
                <a:gd name="connsiteY978" fmla="*/ 129436 h 418727"/>
                <a:gd name="connsiteX979" fmla="*/ 259818 w 900266"/>
                <a:gd name="connsiteY979" fmla="*/ 129960 h 418727"/>
                <a:gd name="connsiteX980" fmla="*/ 263981 w 900266"/>
                <a:gd name="connsiteY980" fmla="*/ 132670 h 418727"/>
                <a:gd name="connsiteX981" fmla="*/ 266570 w 900266"/>
                <a:gd name="connsiteY981" fmla="*/ 135668 h 418727"/>
                <a:gd name="connsiteX982" fmla="*/ 269876 w 900266"/>
                <a:gd name="connsiteY982" fmla="*/ 139489 h 418727"/>
                <a:gd name="connsiteX983" fmla="*/ 271416 w 900266"/>
                <a:gd name="connsiteY983" fmla="*/ 140734 h 418727"/>
                <a:gd name="connsiteX984" fmla="*/ 273653 w 900266"/>
                <a:gd name="connsiteY984" fmla="*/ 141267 h 418727"/>
                <a:gd name="connsiteX985" fmla="*/ 275411 w 900266"/>
                <a:gd name="connsiteY985" fmla="*/ 141497 h 418727"/>
                <a:gd name="connsiteX986" fmla="*/ 277767 w 900266"/>
                <a:gd name="connsiteY986" fmla="*/ 142088 h 418727"/>
                <a:gd name="connsiteX987" fmla="*/ 283990 w 900266"/>
                <a:gd name="connsiteY987" fmla="*/ 142887 h 418727"/>
                <a:gd name="connsiteX988" fmla="*/ 284936 w 900266"/>
                <a:gd name="connsiteY988" fmla="*/ 143356 h 418727"/>
                <a:gd name="connsiteX989" fmla="*/ 285573 w 900266"/>
                <a:gd name="connsiteY989" fmla="*/ 143980 h 418727"/>
                <a:gd name="connsiteX990" fmla="*/ 284996 w 900266"/>
                <a:gd name="connsiteY990" fmla="*/ 146064 h 418727"/>
                <a:gd name="connsiteX991" fmla="*/ 285553 w 900266"/>
                <a:gd name="connsiteY991" fmla="*/ 146593 h 418727"/>
                <a:gd name="connsiteX992" fmla="*/ 290598 w 900266"/>
                <a:gd name="connsiteY992" fmla="*/ 145110 h 418727"/>
                <a:gd name="connsiteX993" fmla="*/ 291951 w 900266"/>
                <a:gd name="connsiteY993" fmla="*/ 144003 h 418727"/>
                <a:gd name="connsiteX994" fmla="*/ 293619 w 900266"/>
                <a:gd name="connsiteY994" fmla="*/ 140858 h 418727"/>
                <a:gd name="connsiteX995" fmla="*/ 295109 w 900266"/>
                <a:gd name="connsiteY995" fmla="*/ 137681 h 418727"/>
                <a:gd name="connsiteX996" fmla="*/ 296216 w 900266"/>
                <a:gd name="connsiteY996" fmla="*/ 136503 h 418727"/>
                <a:gd name="connsiteX997" fmla="*/ 297395 w 900266"/>
                <a:gd name="connsiteY997" fmla="*/ 136194 h 418727"/>
                <a:gd name="connsiteX998" fmla="*/ 298578 w 900266"/>
                <a:gd name="connsiteY998" fmla="*/ 136663 h 418727"/>
                <a:gd name="connsiteX999" fmla="*/ 300228 w 900266"/>
                <a:gd name="connsiteY999" fmla="*/ 138540 h 418727"/>
                <a:gd name="connsiteX1000" fmla="*/ 302470 w 900266"/>
                <a:gd name="connsiteY1000" fmla="*/ 140451 h 418727"/>
                <a:gd name="connsiteX1001" fmla="*/ 305493 w 900266"/>
                <a:gd name="connsiteY1001" fmla="*/ 141179 h 418727"/>
                <a:gd name="connsiteX1002" fmla="*/ 307343 w 900266"/>
                <a:gd name="connsiteY1002" fmla="*/ 141469 h 418727"/>
                <a:gd name="connsiteX1003" fmla="*/ 310207 w 900266"/>
                <a:gd name="connsiteY1003" fmla="*/ 141628 h 418727"/>
                <a:gd name="connsiteX1004" fmla="*/ 316936 w 900266"/>
                <a:gd name="connsiteY1004" fmla="*/ 140703 h 418727"/>
                <a:gd name="connsiteX1005" fmla="*/ 323228 w 900266"/>
                <a:gd name="connsiteY1005" fmla="*/ 138394 h 418727"/>
                <a:gd name="connsiteX1006" fmla="*/ 326823 w 900266"/>
                <a:gd name="connsiteY1006" fmla="*/ 135880 h 418727"/>
                <a:gd name="connsiteX1007" fmla="*/ 328494 w 900266"/>
                <a:gd name="connsiteY1007" fmla="*/ 132110 h 418727"/>
                <a:gd name="connsiteX1008" fmla="*/ 329538 w 900266"/>
                <a:gd name="connsiteY1008" fmla="*/ 127819 h 418727"/>
                <a:gd name="connsiteX1009" fmla="*/ 331149 w 900266"/>
                <a:gd name="connsiteY1009" fmla="*/ 125106 h 418727"/>
                <a:gd name="connsiteX1010" fmla="*/ 330477 w 900266"/>
                <a:gd name="connsiteY1010" fmla="*/ 122324 h 418727"/>
                <a:gd name="connsiteX1011" fmla="*/ 327307 w 900266"/>
                <a:gd name="connsiteY1011" fmla="*/ 119679 h 418727"/>
                <a:gd name="connsiteX1012" fmla="*/ 326240 w 900266"/>
                <a:gd name="connsiteY1012" fmla="*/ 118882 h 418727"/>
                <a:gd name="connsiteX1013" fmla="*/ 318540 w 900266"/>
                <a:gd name="connsiteY1013" fmla="*/ 117399 h 418727"/>
                <a:gd name="connsiteX1014" fmla="*/ 318065 w 900266"/>
                <a:gd name="connsiteY1014" fmla="*/ 116331 h 418727"/>
                <a:gd name="connsiteX1015" fmla="*/ 317627 w 900266"/>
                <a:gd name="connsiteY1015" fmla="*/ 116086 h 418727"/>
                <a:gd name="connsiteX1016" fmla="*/ 310039 w 900266"/>
                <a:gd name="connsiteY1016" fmla="*/ 113736 h 418727"/>
                <a:gd name="connsiteX1017" fmla="*/ 306376 w 900266"/>
                <a:gd name="connsiteY1017" fmla="*/ 112728 h 418727"/>
                <a:gd name="connsiteX1018" fmla="*/ 305351 w 900266"/>
                <a:gd name="connsiteY1018" fmla="*/ 111175 h 418727"/>
                <a:gd name="connsiteX1019" fmla="*/ 304668 w 900266"/>
                <a:gd name="connsiteY1019" fmla="*/ 109139 h 418727"/>
                <a:gd name="connsiteX1020" fmla="*/ 302299 w 900266"/>
                <a:gd name="connsiteY1020" fmla="*/ 107321 h 418727"/>
                <a:gd name="connsiteX1021" fmla="*/ 297592 w 900266"/>
                <a:gd name="connsiteY1021" fmla="*/ 105668 h 418727"/>
                <a:gd name="connsiteX1022" fmla="*/ 296769 w 900266"/>
                <a:gd name="connsiteY1022" fmla="*/ 104409 h 418727"/>
                <a:gd name="connsiteX1023" fmla="*/ 297549 w 900266"/>
                <a:gd name="connsiteY1023" fmla="*/ 103132 h 418727"/>
                <a:gd name="connsiteX1024" fmla="*/ 301267 w 900266"/>
                <a:gd name="connsiteY1024" fmla="*/ 101711 h 418727"/>
                <a:gd name="connsiteX1025" fmla="*/ 305508 w 900266"/>
                <a:gd name="connsiteY1025" fmla="*/ 98719 h 418727"/>
                <a:gd name="connsiteX1026" fmla="*/ 307140 w 900266"/>
                <a:gd name="connsiteY1026" fmla="*/ 98105 h 418727"/>
                <a:gd name="connsiteX1027" fmla="*/ 310922 w 900266"/>
                <a:gd name="connsiteY1027" fmla="*/ 97972 h 418727"/>
                <a:gd name="connsiteX1028" fmla="*/ 314418 w 900266"/>
                <a:gd name="connsiteY1028" fmla="*/ 95524 h 418727"/>
                <a:gd name="connsiteX1029" fmla="*/ 316832 w 900266"/>
                <a:gd name="connsiteY1029" fmla="*/ 94125 h 418727"/>
                <a:gd name="connsiteX1030" fmla="*/ 318091 w 900266"/>
                <a:gd name="connsiteY1030" fmla="*/ 92454 h 418727"/>
                <a:gd name="connsiteX1031" fmla="*/ 317758 w 900266"/>
                <a:gd name="connsiteY1031" fmla="*/ 90734 h 418727"/>
                <a:gd name="connsiteX1032" fmla="*/ 314260 w 900266"/>
                <a:gd name="connsiteY1032" fmla="*/ 85526 h 418727"/>
                <a:gd name="connsiteX1033" fmla="*/ 313224 w 900266"/>
                <a:gd name="connsiteY1033" fmla="*/ 82369 h 418727"/>
                <a:gd name="connsiteX1034" fmla="*/ 313841 w 900266"/>
                <a:gd name="connsiteY1034" fmla="*/ 80312 h 418727"/>
                <a:gd name="connsiteX1035" fmla="*/ 315851 w 900266"/>
                <a:gd name="connsiteY1035" fmla="*/ 78081 h 418727"/>
                <a:gd name="connsiteX1036" fmla="*/ 316989 w 900266"/>
                <a:gd name="connsiteY1036" fmla="*/ 76864 h 418727"/>
                <a:gd name="connsiteX1037" fmla="*/ 318356 w 900266"/>
                <a:gd name="connsiteY1037" fmla="*/ 74675 h 418727"/>
                <a:gd name="connsiteX1038" fmla="*/ 319261 w 900266"/>
                <a:gd name="connsiteY1038" fmla="*/ 73505 h 418727"/>
                <a:gd name="connsiteX1039" fmla="*/ 322787 w 900266"/>
                <a:gd name="connsiteY1039" fmla="*/ 73008 h 418727"/>
                <a:gd name="connsiteX1040" fmla="*/ 327074 w 900266"/>
                <a:gd name="connsiteY1040" fmla="*/ 72800 h 418727"/>
                <a:gd name="connsiteX1041" fmla="*/ 330011 w 900266"/>
                <a:gd name="connsiteY1041" fmla="*/ 73324 h 418727"/>
                <a:gd name="connsiteX1042" fmla="*/ 334118 w 900266"/>
                <a:gd name="connsiteY1042" fmla="*/ 73597 h 418727"/>
                <a:gd name="connsiteX1043" fmla="*/ 337860 w 900266"/>
                <a:gd name="connsiteY1043" fmla="*/ 74000 h 418727"/>
                <a:gd name="connsiteX1044" fmla="*/ 339754 w 900266"/>
                <a:gd name="connsiteY1044" fmla="*/ 74364 h 418727"/>
                <a:gd name="connsiteX1045" fmla="*/ 341144 w 900266"/>
                <a:gd name="connsiteY1045" fmla="*/ 73695 h 418727"/>
                <a:gd name="connsiteX1046" fmla="*/ 342153 w 900266"/>
                <a:gd name="connsiteY1046" fmla="*/ 72518 h 418727"/>
                <a:gd name="connsiteX1047" fmla="*/ 342116 w 900266"/>
                <a:gd name="connsiteY1047" fmla="*/ 70960 h 418727"/>
                <a:gd name="connsiteX1048" fmla="*/ 340648 w 900266"/>
                <a:gd name="connsiteY1048" fmla="*/ 69448 h 418727"/>
                <a:gd name="connsiteX1049" fmla="*/ 335154 w 900266"/>
                <a:gd name="connsiteY1049" fmla="*/ 67466 h 418727"/>
                <a:gd name="connsiteX1050" fmla="*/ 332803 w 900266"/>
                <a:gd name="connsiteY1050" fmla="*/ 65829 h 418727"/>
                <a:gd name="connsiteX1051" fmla="*/ 330952 w 900266"/>
                <a:gd name="connsiteY1051" fmla="*/ 66010 h 418727"/>
                <a:gd name="connsiteX1052" fmla="*/ 327870 w 900266"/>
                <a:gd name="connsiteY1052" fmla="*/ 65501 h 418727"/>
                <a:gd name="connsiteX1053" fmla="*/ 325087 w 900266"/>
                <a:gd name="connsiteY1053" fmla="*/ 64425 h 418727"/>
                <a:gd name="connsiteX1054" fmla="*/ 322617 w 900266"/>
                <a:gd name="connsiteY1054" fmla="*/ 64066 h 418727"/>
                <a:gd name="connsiteX1055" fmla="*/ 321812 w 900266"/>
                <a:gd name="connsiteY1055" fmla="*/ 62575 h 418727"/>
                <a:gd name="connsiteX1056" fmla="*/ 322323 w 900266"/>
                <a:gd name="connsiteY1056" fmla="*/ 60486 h 418727"/>
                <a:gd name="connsiteX1057" fmla="*/ 323273 w 900266"/>
                <a:gd name="connsiteY1057" fmla="*/ 59290 h 418727"/>
                <a:gd name="connsiteX1058" fmla="*/ 325102 w 900266"/>
                <a:gd name="connsiteY1058" fmla="*/ 58693 h 418727"/>
                <a:gd name="connsiteX1059" fmla="*/ 327078 w 900266"/>
                <a:gd name="connsiteY1059" fmla="*/ 58992 h 418727"/>
                <a:gd name="connsiteX1060" fmla="*/ 329236 w 900266"/>
                <a:gd name="connsiteY1060" fmla="*/ 58122 h 418727"/>
                <a:gd name="connsiteX1061" fmla="*/ 329855 w 900266"/>
                <a:gd name="connsiteY1061" fmla="*/ 57613 h 418727"/>
                <a:gd name="connsiteX1062" fmla="*/ 330041 w 900266"/>
                <a:gd name="connsiteY1062" fmla="*/ 56958 h 418727"/>
                <a:gd name="connsiteX1063" fmla="*/ 329691 w 900266"/>
                <a:gd name="connsiteY1063" fmla="*/ 56018 h 418727"/>
                <a:gd name="connsiteX1064" fmla="*/ 328696 w 900266"/>
                <a:gd name="connsiteY1064" fmla="*/ 55240 h 418727"/>
                <a:gd name="connsiteX1065" fmla="*/ 327277 w 900266"/>
                <a:gd name="connsiteY1065" fmla="*/ 55035 h 418727"/>
                <a:gd name="connsiteX1066" fmla="*/ 325644 w 900266"/>
                <a:gd name="connsiteY1066" fmla="*/ 55695 h 418727"/>
                <a:gd name="connsiteX1067" fmla="*/ 323694 w 900266"/>
                <a:gd name="connsiteY1067" fmla="*/ 56124 h 418727"/>
                <a:gd name="connsiteX1068" fmla="*/ 320391 w 900266"/>
                <a:gd name="connsiteY1068" fmla="*/ 55155 h 418727"/>
                <a:gd name="connsiteX1069" fmla="*/ 317758 w 900266"/>
                <a:gd name="connsiteY1069" fmla="*/ 53989 h 418727"/>
                <a:gd name="connsiteX1070" fmla="*/ 317892 w 900266"/>
                <a:gd name="connsiteY1070" fmla="*/ 52912 h 418727"/>
                <a:gd name="connsiteX1071" fmla="*/ 319838 w 900266"/>
                <a:gd name="connsiteY1071" fmla="*/ 51310 h 418727"/>
                <a:gd name="connsiteX1072" fmla="*/ 320714 w 900266"/>
                <a:gd name="connsiteY1072" fmla="*/ 50009 h 418727"/>
                <a:gd name="connsiteX1073" fmla="*/ 320714 w 900266"/>
                <a:gd name="connsiteY1073" fmla="*/ 48209 h 418727"/>
                <a:gd name="connsiteX1074" fmla="*/ 320714 w 900266"/>
                <a:gd name="connsiteY1074" fmla="*/ 46106 h 418727"/>
                <a:gd name="connsiteX1075" fmla="*/ 321390 w 900266"/>
                <a:gd name="connsiteY1075" fmla="*/ 43640 h 418727"/>
                <a:gd name="connsiteX1076" fmla="*/ 323321 w 900266"/>
                <a:gd name="connsiteY1076" fmla="*/ 41952 h 418727"/>
                <a:gd name="connsiteX1077" fmla="*/ 325590 w 900266"/>
                <a:gd name="connsiteY1077" fmla="*/ 41048 h 418727"/>
                <a:gd name="connsiteX1078" fmla="*/ 331438 w 900266"/>
                <a:gd name="connsiteY1078" fmla="*/ 42697 h 418727"/>
                <a:gd name="connsiteX1079" fmla="*/ 338747 w 900266"/>
                <a:gd name="connsiteY1079" fmla="*/ 44166 h 418727"/>
                <a:gd name="connsiteX1080" fmla="*/ 340007 w 900266"/>
                <a:gd name="connsiteY1080" fmla="*/ 43926 h 418727"/>
                <a:gd name="connsiteX1081" fmla="*/ 340376 w 900266"/>
                <a:gd name="connsiteY1081" fmla="*/ 43152 h 418727"/>
                <a:gd name="connsiteX1082" fmla="*/ 341213 w 900266"/>
                <a:gd name="connsiteY1082" fmla="*/ 42463 h 418727"/>
                <a:gd name="connsiteX1083" fmla="*/ 351358 w 900266"/>
                <a:gd name="connsiteY1083" fmla="*/ 42143 h 418727"/>
                <a:gd name="connsiteX1084" fmla="*/ 353332 w 900266"/>
                <a:gd name="connsiteY1084" fmla="*/ 41195 h 418727"/>
                <a:gd name="connsiteX1085" fmla="*/ 354315 w 900266"/>
                <a:gd name="connsiteY1085" fmla="*/ 40441 h 418727"/>
                <a:gd name="connsiteX1086" fmla="*/ 364071 w 900266"/>
                <a:gd name="connsiteY1086" fmla="*/ 39349 h 418727"/>
                <a:gd name="connsiteX1087" fmla="*/ 365234 w 900266"/>
                <a:gd name="connsiteY1087" fmla="*/ 38315 h 418727"/>
                <a:gd name="connsiteX1088" fmla="*/ 366666 w 900266"/>
                <a:gd name="connsiteY1088" fmla="*/ 37349 h 418727"/>
                <a:gd name="connsiteX1089" fmla="*/ 368908 w 900266"/>
                <a:gd name="connsiteY1089" fmla="*/ 37367 h 418727"/>
                <a:gd name="connsiteX1090" fmla="*/ 371583 w 900266"/>
                <a:gd name="connsiteY1090" fmla="*/ 36979 h 418727"/>
                <a:gd name="connsiteX1091" fmla="*/ 375306 w 900266"/>
                <a:gd name="connsiteY1091" fmla="*/ 35802 h 418727"/>
                <a:gd name="connsiteX1092" fmla="*/ 377945 w 900266"/>
                <a:gd name="connsiteY1092" fmla="*/ 35154 h 418727"/>
                <a:gd name="connsiteX1093" fmla="*/ 378383 w 900266"/>
                <a:gd name="connsiteY1093" fmla="*/ 35099 h 418727"/>
                <a:gd name="connsiteX1094" fmla="*/ 381166 w 900266"/>
                <a:gd name="connsiteY1094" fmla="*/ 35359 h 418727"/>
                <a:gd name="connsiteX1095" fmla="*/ 384634 w 900266"/>
                <a:gd name="connsiteY1095" fmla="*/ 34427 h 418727"/>
                <a:gd name="connsiteX1096" fmla="*/ 385375 w 900266"/>
                <a:gd name="connsiteY1096" fmla="*/ 34042 h 418727"/>
                <a:gd name="connsiteX1097" fmla="*/ 385939 w 900266"/>
                <a:gd name="connsiteY1097" fmla="*/ 33336 h 418727"/>
                <a:gd name="connsiteX1098" fmla="*/ 388957 w 900266"/>
                <a:gd name="connsiteY1098" fmla="*/ 31981 h 418727"/>
                <a:gd name="connsiteX1099" fmla="*/ 394747 w 900266"/>
                <a:gd name="connsiteY1099" fmla="*/ 30860 h 418727"/>
                <a:gd name="connsiteX1100" fmla="*/ 396159 w 900266"/>
                <a:gd name="connsiteY1100" fmla="*/ 31531 h 418727"/>
                <a:gd name="connsiteX1101" fmla="*/ 398919 w 900266"/>
                <a:gd name="connsiteY1101" fmla="*/ 31834 h 418727"/>
                <a:gd name="connsiteX1102" fmla="*/ 402443 w 900266"/>
                <a:gd name="connsiteY1102" fmla="*/ 31337 h 418727"/>
                <a:gd name="connsiteX1103" fmla="*/ 405041 w 900266"/>
                <a:gd name="connsiteY1103" fmla="*/ 30481 h 418727"/>
                <a:gd name="connsiteX1104" fmla="*/ 406559 w 900266"/>
                <a:gd name="connsiteY1104" fmla="*/ 31330 h 418727"/>
                <a:gd name="connsiteX1105" fmla="*/ 408614 w 900266"/>
                <a:gd name="connsiteY1105" fmla="*/ 32201 h 418727"/>
                <a:gd name="connsiteX1106" fmla="*/ 410150 w 900266"/>
                <a:gd name="connsiteY1106" fmla="*/ 31463 h 418727"/>
                <a:gd name="connsiteX1107" fmla="*/ 410910 w 900266"/>
                <a:gd name="connsiteY1107" fmla="*/ 29124 h 418727"/>
                <a:gd name="connsiteX1108" fmla="*/ 411910 w 900266"/>
                <a:gd name="connsiteY1108" fmla="*/ 26836 h 418727"/>
                <a:gd name="connsiteX1109" fmla="*/ 413646 w 900266"/>
                <a:gd name="connsiteY1109" fmla="*/ 25751 h 418727"/>
                <a:gd name="connsiteX1110" fmla="*/ 415021 w 900266"/>
                <a:gd name="connsiteY1110" fmla="*/ 25357 h 418727"/>
                <a:gd name="connsiteX1111" fmla="*/ 416265 w 900266"/>
                <a:gd name="connsiteY1111" fmla="*/ 24475 h 418727"/>
                <a:gd name="connsiteX1112" fmla="*/ 417207 w 900266"/>
                <a:gd name="connsiteY1112" fmla="*/ 23559 h 418727"/>
                <a:gd name="connsiteX1113" fmla="*/ 422311 w 900266"/>
                <a:gd name="connsiteY1113" fmla="*/ 23699 h 418727"/>
                <a:gd name="connsiteX1114" fmla="*/ 426876 w 900266"/>
                <a:gd name="connsiteY1114" fmla="*/ 21416 h 418727"/>
                <a:gd name="connsiteX1115" fmla="*/ 427770 w 900266"/>
                <a:gd name="connsiteY1115" fmla="*/ 22450 h 418727"/>
                <a:gd name="connsiteX1116" fmla="*/ 433696 w 900266"/>
                <a:gd name="connsiteY1116" fmla="*/ 22210 h 418727"/>
                <a:gd name="connsiteX1117" fmla="*/ 441053 w 900266"/>
                <a:gd name="connsiteY1117" fmla="*/ 20739 h 418727"/>
                <a:gd name="connsiteX1118" fmla="*/ 445456 w 900266"/>
                <a:gd name="connsiteY1118" fmla="*/ 20051 h 418727"/>
                <a:gd name="connsiteX1119" fmla="*/ 453059 w 900266"/>
                <a:gd name="connsiteY1119" fmla="*/ 18510 h 418727"/>
                <a:gd name="connsiteX1120" fmla="*/ 456574 w 900266"/>
                <a:gd name="connsiteY1120" fmla="*/ 17264 h 418727"/>
                <a:gd name="connsiteX1121" fmla="*/ 461601 w 900266"/>
                <a:gd name="connsiteY1121" fmla="*/ 16477 h 418727"/>
                <a:gd name="connsiteX1122" fmla="*/ 466216 w 900266"/>
                <a:gd name="connsiteY1122" fmla="*/ 15927 h 418727"/>
                <a:gd name="connsiteX1123" fmla="*/ 469235 w 900266"/>
                <a:gd name="connsiteY1123" fmla="*/ 13742 h 418727"/>
                <a:gd name="connsiteX1124" fmla="*/ 471668 w 900266"/>
                <a:gd name="connsiteY1124" fmla="*/ 13430 h 418727"/>
                <a:gd name="connsiteX1125" fmla="*/ 474629 w 900266"/>
                <a:gd name="connsiteY1125" fmla="*/ 13250 h 418727"/>
                <a:gd name="connsiteX1126" fmla="*/ 476443 w 900266"/>
                <a:gd name="connsiteY1126" fmla="*/ 12724 h 418727"/>
                <a:gd name="connsiteX1127" fmla="*/ 477626 w 900266"/>
                <a:gd name="connsiteY1127" fmla="*/ 11915 h 418727"/>
                <a:gd name="connsiteX1128" fmla="*/ 478393 w 900266"/>
                <a:gd name="connsiteY1128" fmla="*/ 10396 h 418727"/>
                <a:gd name="connsiteX1129" fmla="*/ 477978 w 900266"/>
                <a:gd name="connsiteY1129" fmla="*/ 8463 h 418727"/>
                <a:gd name="connsiteX1130" fmla="*/ 477557 w 900266"/>
                <a:gd name="connsiteY1130" fmla="*/ 7055 h 418727"/>
                <a:gd name="connsiteX1131" fmla="*/ 479673 w 900266"/>
                <a:gd name="connsiteY1131" fmla="*/ 6267 h 418727"/>
                <a:gd name="connsiteX1132" fmla="*/ 482692 w 900266"/>
                <a:gd name="connsiteY1132" fmla="*/ 6023 h 418727"/>
                <a:gd name="connsiteX1133" fmla="*/ 484601 w 900266"/>
                <a:gd name="connsiteY1133" fmla="*/ 5703 h 418727"/>
                <a:gd name="connsiteX1134" fmla="*/ 488760 w 900266"/>
                <a:gd name="connsiteY1134" fmla="*/ 2505 h 418727"/>
                <a:gd name="connsiteX1135" fmla="*/ 491636 w 900266"/>
                <a:gd name="connsiteY1135" fmla="*/ 966 h 418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</a:cxnLst>
              <a:rect l="l" t="t" r="r" b="b"/>
              <a:pathLst>
                <a:path w="900266" h="418727">
                  <a:moveTo>
                    <a:pt x="77408" y="298988"/>
                  </a:moveTo>
                  <a:lnTo>
                    <a:pt x="77557" y="299635"/>
                  </a:lnTo>
                  <a:lnTo>
                    <a:pt x="75980" y="300954"/>
                  </a:lnTo>
                  <a:lnTo>
                    <a:pt x="75838" y="302618"/>
                  </a:lnTo>
                  <a:lnTo>
                    <a:pt x="77149" y="304464"/>
                  </a:lnTo>
                  <a:lnTo>
                    <a:pt x="79057" y="305198"/>
                  </a:lnTo>
                  <a:lnTo>
                    <a:pt x="78267" y="305967"/>
                  </a:lnTo>
                  <a:lnTo>
                    <a:pt x="77086" y="305854"/>
                  </a:lnTo>
                  <a:lnTo>
                    <a:pt x="74870" y="302950"/>
                  </a:lnTo>
                  <a:lnTo>
                    <a:pt x="75488" y="300005"/>
                  </a:lnTo>
                  <a:lnTo>
                    <a:pt x="76291" y="299402"/>
                  </a:lnTo>
                  <a:close/>
                  <a:moveTo>
                    <a:pt x="82711" y="298958"/>
                  </a:moveTo>
                  <a:lnTo>
                    <a:pt x="82294" y="301271"/>
                  </a:lnTo>
                  <a:lnTo>
                    <a:pt x="81871" y="301991"/>
                  </a:lnTo>
                  <a:lnTo>
                    <a:pt x="81109" y="302359"/>
                  </a:lnTo>
                  <a:lnTo>
                    <a:pt x="80643" y="300615"/>
                  </a:lnTo>
                  <a:lnTo>
                    <a:pt x="81500" y="299152"/>
                  </a:lnTo>
                  <a:close/>
                  <a:moveTo>
                    <a:pt x="132667" y="286757"/>
                  </a:moveTo>
                  <a:lnTo>
                    <a:pt x="133787" y="287031"/>
                  </a:lnTo>
                  <a:lnTo>
                    <a:pt x="134526" y="288605"/>
                  </a:lnTo>
                  <a:lnTo>
                    <a:pt x="134292" y="289948"/>
                  </a:lnTo>
                  <a:lnTo>
                    <a:pt x="133904" y="290237"/>
                  </a:lnTo>
                  <a:lnTo>
                    <a:pt x="132433" y="289500"/>
                  </a:lnTo>
                  <a:lnTo>
                    <a:pt x="131460" y="288242"/>
                  </a:lnTo>
                  <a:close/>
                  <a:moveTo>
                    <a:pt x="494606" y="0"/>
                  </a:moveTo>
                  <a:lnTo>
                    <a:pt x="500570" y="529"/>
                  </a:lnTo>
                  <a:lnTo>
                    <a:pt x="506016" y="1011"/>
                  </a:lnTo>
                  <a:lnTo>
                    <a:pt x="511477" y="2540"/>
                  </a:lnTo>
                  <a:lnTo>
                    <a:pt x="514351" y="4444"/>
                  </a:lnTo>
                  <a:lnTo>
                    <a:pt x="516817" y="5881"/>
                  </a:lnTo>
                  <a:lnTo>
                    <a:pt x="519153" y="6568"/>
                  </a:lnTo>
                  <a:lnTo>
                    <a:pt x="521254" y="7009"/>
                  </a:lnTo>
                  <a:lnTo>
                    <a:pt x="523707" y="6357"/>
                  </a:lnTo>
                  <a:lnTo>
                    <a:pt x="525435" y="5474"/>
                  </a:lnTo>
                  <a:lnTo>
                    <a:pt x="526446" y="4212"/>
                  </a:lnTo>
                  <a:lnTo>
                    <a:pt x="527975" y="3311"/>
                  </a:lnTo>
                  <a:lnTo>
                    <a:pt x="533541" y="2608"/>
                  </a:lnTo>
                  <a:lnTo>
                    <a:pt x="534697" y="3967"/>
                  </a:lnTo>
                  <a:lnTo>
                    <a:pt x="537346" y="8071"/>
                  </a:lnTo>
                  <a:lnTo>
                    <a:pt x="539151" y="13530"/>
                  </a:lnTo>
                  <a:lnTo>
                    <a:pt x="542125" y="20751"/>
                  </a:lnTo>
                  <a:lnTo>
                    <a:pt x="543436" y="24292"/>
                  </a:lnTo>
                  <a:lnTo>
                    <a:pt x="542853" y="26147"/>
                  </a:lnTo>
                  <a:lnTo>
                    <a:pt x="542866" y="28687"/>
                  </a:lnTo>
                  <a:lnTo>
                    <a:pt x="542697" y="31474"/>
                  </a:lnTo>
                  <a:lnTo>
                    <a:pt x="540499" y="34628"/>
                  </a:lnTo>
                  <a:lnTo>
                    <a:pt x="541393" y="36097"/>
                  </a:lnTo>
                  <a:lnTo>
                    <a:pt x="546772" y="37735"/>
                  </a:lnTo>
                  <a:lnTo>
                    <a:pt x="554306" y="37137"/>
                  </a:lnTo>
                  <a:lnTo>
                    <a:pt x="558955" y="35815"/>
                  </a:lnTo>
                  <a:lnTo>
                    <a:pt x="561544" y="36296"/>
                  </a:lnTo>
                  <a:lnTo>
                    <a:pt x="562896" y="35506"/>
                  </a:lnTo>
                  <a:lnTo>
                    <a:pt x="563775" y="33168"/>
                  </a:lnTo>
                  <a:lnTo>
                    <a:pt x="565559" y="32644"/>
                  </a:lnTo>
                  <a:lnTo>
                    <a:pt x="567396" y="34274"/>
                  </a:lnTo>
                  <a:lnTo>
                    <a:pt x="568731" y="37033"/>
                  </a:lnTo>
                  <a:lnTo>
                    <a:pt x="570009" y="38808"/>
                  </a:lnTo>
                  <a:lnTo>
                    <a:pt x="569914" y="40915"/>
                  </a:lnTo>
                  <a:lnTo>
                    <a:pt x="570385" y="43621"/>
                  </a:lnTo>
                  <a:lnTo>
                    <a:pt x="571324" y="44306"/>
                  </a:lnTo>
                  <a:lnTo>
                    <a:pt x="573170" y="43278"/>
                  </a:lnTo>
                  <a:lnTo>
                    <a:pt x="574401" y="42666"/>
                  </a:lnTo>
                  <a:lnTo>
                    <a:pt x="574695" y="41844"/>
                  </a:lnTo>
                  <a:lnTo>
                    <a:pt x="574172" y="40829"/>
                  </a:lnTo>
                  <a:lnTo>
                    <a:pt x="573922" y="39798"/>
                  </a:lnTo>
                  <a:lnTo>
                    <a:pt x="574330" y="38852"/>
                  </a:lnTo>
                  <a:lnTo>
                    <a:pt x="575205" y="38465"/>
                  </a:lnTo>
                  <a:lnTo>
                    <a:pt x="577830" y="38763"/>
                  </a:lnTo>
                  <a:lnTo>
                    <a:pt x="581657" y="39285"/>
                  </a:lnTo>
                  <a:lnTo>
                    <a:pt x="586196" y="43127"/>
                  </a:lnTo>
                  <a:lnTo>
                    <a:pt x="588640" y="43822"/>
                  </a:lnTo>
                  <a:lnTo>
                    <a:pt x="589672" y="43889"/>
                  </a:lnTo>
                  <a:lnTo>
                    <a:pt x="591975" y="43670"/>
                  </a:lnTo>
                  <a:lnTo>
                    <a:pt x="594738" y="42564"/>
                  </a:lnTo>
                  <a:lnTo>
                    <a:pt x="596602" y="41179"/>
                  </a:lnTo>
                  <a:lnTo>
                    <a:pt x="597221" y="40498"/>
                  </a:lnTo>
                  <a:lnTo>
                    <a:pt x="598293" y="40617"/>
                  </a:lnTo>
                  <a:lnTo>
                    <a:pt x="599310" y="41257"/>
                  </a:lnTo>
                  <a:lnTo>
                    <a:pt x="599379" y="42658"/>
                  </a:lnTo>
                  <a:lnTo>
                    <a:pt x="598569" y="44682"/>
                  </a:lnTo>
                  <a:lnTo>
                    <a:pt x="595812" y="46534"/>
                  </a:lnTo>
                  <a:lnTo>
                    <a:pt x="592389" y="48255"/>
                  </a:lnTo>
                  <a:lnTo>
                    <a:pt x="590316" y="51407"/>
                  </a:lnTo>
                  <a:lnTo>
                    <a:pt x="589875" y="54694"/>
                  </a:lnTo>
                  <a:lnTo>
                    <a:pt x="590785" y="56359"/>
                  </a:lnTo>
                  <a:lnTo>
                    <a:pt x="591560" y="57473"/>
                  </a:lnTo>
                  <a:lnTo>
                    <a:pt x="591780" y="59034"/>
                  </a:lnTo>
                  <a:lnTo>
                    <a:pt x="592556" y="59240"/>
                  </a:lnTo>
                  <a:lnTo>
                    <a:pt x="593948" y="58598"/>
                  </a:lnTo>
                  <a:lnTo>
                    <a:pt x="597775" y="55361"/>
                  </a:lnTo>
                  <a:lnTo>
                    <a:pt x="599724" y="54561"/>
                  </a:lnTo>
                  <a:lnTo>
                    <a:pt x="602551" y="54049"/>
                  </a:lnTo>
                  <a:lnTo>
                    <a:pt x="607187" y="54300"/>
                  </a:lnTo>
                  <a:lnTo>
                    <a:pt x="610312" y="55355"/>
                  </a:lnTo>
                  <a:lnTo>
                    <a:pt x="611802" y="56824"/>
                  </a:lnTo>
                  <a:lnTo>
                    <a:pt x="613443" y="58033"/>
                  </a:lnTo>
                  <a:lnTo>
                    <a:pt x="614574" y="57527"/>
                  </a:lnTo>
                  <a:lnTo>
                    <a:pt x="615162" y="56131"/>
                  </a:lnTo>
                  <a:lnTo>
                    <a:pt x="615187" y="54533"/>
                  </a:lnTo>
                  <a:lnTo>
                    <a:pt x="615663" y="53218"/>
                  </a:lnTo>
                  <a:lnTo>
                    <a:pt x="620738" y="49981"/>
                  </a:lnTo>
                  <a:lnTo>
                    <a:pt x="624115" y="47825"/>
                  </a:lnTo>
                  <a:lnTo>
                    <a:pt x="625279" y="47572"/>
                  </a:lnTo>
                  <a:lnTo>
                    <a:pt x="627537" y="48020"/>
                  </a:lnTo>
                  <a:lnTo>
                    <a:pt x="628934" y="47794"/>
                  </a:lnTo>
                  <a:lnTo>
                    <a:pt x="632651" y="45762"/>
                  </a:lnTo>
                  <a:lnTo>
                    <a:pt x="636119" y="43450"/>
                  </a:lnTo>
                  <a:lnTo>
                    <a:pt x="636457" y="41884"/>
                  </a:lnTo>
                  <a:lnTo>
                    <a:pt x="636585" y="40464"/>
                  </a:lnTo>
                  <a:lnTo>
                    <a:pt x="637449" y="39822"/>
                  </a:lnTo>
                  <a:lnTo>
                    <a:pt x="642305" y="39325"/>
                  </a:lnTo>
                  <a:lnTo>
                    <a:pt x="643102" y="39058"/>
                  </a:lnTo>
                  <a:lnTo>
                    <a:pt x="647254" y="37442"/>
                  </a:lnTo>
                  <a:lnTo>
                    <a:pt x="653001" y="34687"/>
                  </a:lnTo>
                  <a:lnTo>
                    <a:pt x="655788" y="33061"/>
                  </a:lnTo>
                  <a:lnTo>
                    <a:pt x="660871" y="32338"/>
                  </a:lnTo>
                  <a:lnTo>
                    <a:pt x="661815" y="31869"/>
                  </a:lnTo>
                  <a:lnTo>
                    <a:pt x="663504" y="30771"/>
                  </a:lnTo>
                  <a:lnTo>
                    <a:pt x="666685" y="29253"/>
                  </a:lnTo>
                  <a:lnTo>
                    <a:pt x="668408" y="29085"/>
                  </a:lnTo>
                  <a:lnTo>
                    <a:pt x="667339" y="32759"/>
                  </a:lnTo>
                  <a:lnTo>
                    <a:pt x="665439" y="37001"/>
                  </a:lnTo>
                  <a:lnTo>
                    <a:pt x="664368" y="38133"/>
                  </a:lnTo>
                  <a:lnTo>
                    <a:pt x="659218" y="37943"/>
                  </a:lnTo>
                  <a:lnTo>
                    <a:pt x="659226" y="39097"/>
                  </a:lnTo>
                  <a:lnTo>
                    <a:pt x="660034" y="40866"/>
                  </a:lnTo>
                  <a:lnTo>
                    <a:pt x="660613" y="41859"/>
                  </a:lnTo>
                  <a:lnTo>
                    <a:pt x="661239" y="42749"/>
                  </a:lnTo>
                  <a:lnTo>
                    <a:pt x="662623" y="44286"/>
                  </a:lnTo>
                  <a:lnTo>
                    <a:pt x="668041" y="47916"/>
                  </a:lnTo>
                  <a:lnTo>
                    <a:pt x="674934" y="52528"/>
                  </a:lnTo>
                  <a:lnTo>
                    <a:pt x="682381" y="57697"/>
                  </a:lnTo>
                  <a:lnTo>
                    <a:pt x="687581" y="61300"/>
                  </a:lnTo>
                  <a:lnTo>
                    <a:pt x="689682" y="63156"/>
                  </a:lnTo>
                  <a:lnTo>
                    <a:pt x="691021" y="64606"/>
                  </a:lnTo>
                  <a:lnTo>
                    <a:pt x="694858" y="69835"/>
                  </a:lnTo>
                  <a:lnTo>
                    <a:pt x="698497" y="74785"/>
                  </a:lnTo>
                  <a:lnTo>
                    <a:pt x="704632" y="83482"/>
                  </a:lnTo>
                  <a:lnTo>
                    <a:pt x="710071" y="91855"/>
                  </a:lnTo>
                  <a:lnTo>
                    <a:pt x="716055" y="101033"/>
                  </a:lnTo>
                  <a:lnTo>
                    <a:pt x="719518" y="106332"/>
                  </a:lnTo>
                  <a:lnTo>
                    <a:pt x="726597" y="117377"/>
                  </a:lnTo>
                  <a:lnTo>
                    <a:pt x="728486" y="120758"/>
                  </a:lnTo>
                  <a:lnTo>
                    <a:pt x="732071" y="127146"/>
                  </a:lnTo>
                  <a:lnTo>
                    <a:pt x="735239" y="133125"/>
                  </a:lnTo>
                  <a:lnTo>
                    <a:pt x="738037" y="138401"/>
                  </a:lnTo>
                  <a:lnTo>
                    <a:pt x="739799" y="138877"/>
                  </a:lnTo>
                  <a:lnTo>
                    <a:pt x="739935" y="137448"/>
                  </a:lnTo>
                  <a:lnTo>
                    <a:pt x="740251" y="136494"/>
                  </a:lnTo>
                  <a:lnTo>
                    <a:pt x="741155" y="135959"/>
                  </a:lnTo>
                  <a:lnTo>
                    <a:pt x="743211" y="134401"/>
                  </a:lnTo>
                  <a:lnTo>
                    <a:pt x="744321" y="134026"/>
                  </a:lnTo>
                  <a:lnTo>
                    <a:pt x="745975" y="134187"/>
                  </a:lnTo>
                  <a:lnTo>
                    <a:pt x="747709" y="133393"/>
                  </a:lnTo>
                  <a:lnTo>
                    <a:pt x="748342" y="131894"/>
                  </a:lnTo>
                  <a:lnTo>
                    <a:pt x="747929" y="129117"/>
                  </a:lnTo>
                  <a:lnTo>
                    <a:pt x="747662" y="127838"/>
                  </a:lnTo>
                  <a:lnTo>
                    <a:pt x="748249" y="126463"/>
                  </a:lnTo>
                  <a:lnTo>
                    <a:pt x="749199" y="125924"/>
                  </a:lnTo>
                  <a:lnTo>
                    <a:pt x="750519" y="125489"/>
                  </a:lnTo>
                  <a:lnTo>
                    <a:pt x="751730" y="125266"/>
                  </a:lnTo>
                  <a:lnTo>
                    <a:pt x="752726" y="123710"/>
                  </a:lnTo>
                  <a:lnTo>
                    <a:pt x="754600" y="123239"/>
                  </a:lnTo>
                  <a:lnTo>
                    <a:pt x="756321" y="123529"/>
                  </a:lnTo>
                  <a:lnTo>
                    <a:pt x="757742" y="123590"/>
                  </a:lnTo>
                  <a:lnTo>
                    <a:pt x="758997" y="124723"/>
                  </a:lnTo>
                  <a:lnTo>
                    <a:pt x="759694" y="126274"/>
                  </a:lnTo>
                  <a:lnTo>
                    <a:pt x="761046" y="126394"/>
                  </a:lnTo>
                  <a:lnTo>
                    <a:pt x="763268" y="126237"/>
                  </a:lnTo>
                  <a:lnTo>
                    <a:pt x="763572" y="127539"/>
                  </a:lnTo>
                  <a:lnTo>
                    <a:pt x="762939" y="129710"/>
                  </a:lnTo>
                  <a:lnTo>
                    <a:pt x="762168" y="131388"/>
                  </a:lnTo>
                  <a:lnTo>
                    <a:pt x="762035" y="132737"/>
                  </a:lnTo>
                  <a:lnTo>
                    <a:pt x="763209" y="133393"/>
                  </a:lnTo>
                  <a:lnTo>
                    <a:pt x="767511" y="132806"/>
                  </a:lnTo>
                  <a:lnTo>
                    <a:pt x="769040" y="133095"/>
                  </a:lnTo>
                  <a:lnTo>
                    <a:pt x="769523" y="134459"/>
                  </a:lnTo>
                  <a:lnTo>
                    <a:pt x="770132" y="135588"/>
                  </a:lnTo>
                  <a:lnTo>
                    <a:pt x="770439" y="136969"/>
                  </a:lnTo>
                  <a:lnTo>
                    <a:pt x="769994" y="138501"/>
                  </a:lnTo>
                  <a:lnTo>
                    <a:pt x="770756" y="139412"/>
                  </a:lnTo>
                  <a:lnTo>
                    <a:pt x="774470" y="139433"/>
                  </a:lnTo>
                  <a:lnTo>
                    <a:pt x="777083" y="138697"/>
                  </a:lnTo>
                  <a:lnTo>
                    <a:pt x="781100" y="138640"/>
                  </a:lnTo>
                  <a:lnTo>
                    <a:pt x="784734" y="140256"/>
                  </a:lnTo>
                  <a:lnTo>
                    <a:pt x="787252" y="140006"/>
                  </a:lnTo>
                  <a:lnTo>
                    <a:pt x="789783" y="139352"/>
                  </a:lnTo>
                  <a:lnTo>
                    <a:pt x="793488" y="139769"/>
                  </a:lnTo>
                  <a:lnTo>
                    <a:pt x="796092" y="138490"/>
                  </a:lnTo>
                  <a:lnTo>
                    <a:pt x="797889" y="136893"/>
                  </a:lnTo>
                  <a:lnTo>
                    <a:pt x="798455" y="135634"/>
                  </a:lnTo>
                  <a:lnTo>
                    <a:pt x="799390" y="134938"/>
                  </a:lnTo>
                  <a:lnTo>
                    <a:pt x="802888" y="134945"/>
                  </a:lnTo>
                  <a:lnTo>
                    <a:pt x="805104" y="134824"/>
                  </a:lnTo>
                  <a:lnTo>
                    <a:pt x="806730" y="132975"/>
                  </a:lnTo>
                  <a:lnTo>
                    <a:pt x="808222" y="132140"/>
                  </a:lnTo>
                  <a:lnTo>
                    <a:pt x="810731" y="131983"/>
                  </a:lnTo>
                  <a:lnTo>
                    <a:pt x="812579" y="131983"/>
                  </a:lnTo>
                  <a:lnTo>
                    <a:pt x="817535" y="133701"/>
                  </a:lnTo>
                  <a:lnTo>
                    <a:pt x="820550" y="135119"/>
                  </a:lnTo>
                  <a:lnTo>
                    <a:pt x="823689" y="137135"/>
                  </a:lnTo>
                  <a:lnTo>
                    <a:pt x="825577" y="138398"/>
                  </a:lnTo>
                  <a:lnTo>
                    <a:pt x="826842" y="141245"/>
                  </a:lnTo>
                  <a:lnTo>
                    <a:pt x="828986" y="143343"/>
                  </a:lnTo>
                  <a:lnTo>
                    <a:pt x="830682" y="145789"/>
                  </a:lnTo>
                  <a:lnTo>
                    <a:pt x="831092" y="148201"/>
                  </a:lnTo>
                  <a:lnTo>
                    <a:pt x="832491" y="152527"/>
                  </a:lnTo>
                  <a:lnTo>
                    <a:pt x="833938" y="153948"/>
                  </a:lnTo>
                  <a:lnTo>
                    <a:pt x="835657" y="153948"/>
                  </a:lnTo>
                  <a:lnTo>
                    <a:pt x="837825" y="154539"/>
                  </a:lnTo>
                  <a:lnTo>
                    <a:pt x="840219" y="155012"/>
                  </a:lnTo>
                  <a:lnTo>
                    <a:pt x="845342" y="158224"/>
                  </a:lnTo>
                  <a:lnTo>
                    <a:pt x="847223" y="158320"/>
                  </a:lnTo>
                  <a:lnTo>
                    <a:pt x="848669" y="159088"/>
                  </a:lnTo>
                  <a:lnTo>
                    <a:pt x="848896" y="160564"/>
                  </a:lnTo>
                  <a:lnTo>
                    <a:pt x="848354" y="162273"/>
                  </a:lnTo>
                  <a:lnTo>
                    <a:pt x="848920" y="163915"/>
                  </a:lnTo>
                  <a:lnTo>
                    <a:pt x="850593" y="166004"/>
                  </a:lnTo>
                  <a:lnTo>
                    <a:pt x="851921" y="168046"/>
                  </a:lnTo>
                  <a:lnTo>
                    <a:pt x="853550" y="170517"/>
                  </a:lnTo>
                  <a:lnTo>
                    <a:pt x="854046" y="171926"/>
                  </a:lnTo>
                  <a:lnTo>
                    <a:pt x="855357" y="172396"/>
                  </a:lnTo>
                  <a:lnTo>
                    <a:pt x="857119" y="171693"/>
                  </a:lnTo>
                  <a:lnTo>
                    <a:pt x="859924" y="172226"/>
                  </a:lnTo>
                  <a:lnTo>
                    <a:pt x="868372" y="173629"/>
                  </a:lnTo>
                  <a:lnTo>
                    <a:pt x="869546" y="173804"/>
                  </a:lnTo>
                  <a:lnTo>
                    <a:pt x="870449" y="175272"/>
                  </a:lnTo>
                  <a:lnTo>
                    <a:pt x="871669" y="175154"/>
                  </a:lnTo>
                  <a:lnTo>
                    <a:pt x="873070" y="175095"/>
                  </a:lnTo>
                  <a:lnTo>
                    <a:pt x="875014" y="175272"/>
                  </a:lnTo>
                  <a:lnTo>
                    <a:pt x="876370" y="173922"/>
                  </a:lnTo>
                  <a:lnTo>
                    <a:pt x="877480" y="172740"/>
                  </a:lnTo>
                  <a:lnTo>
                    <a:pt x="880257" y="171275"/>
                  </a:lnTo>
                  <a:lnTo>
                    <a:pt x="882563" y="169283"/>
                  </a:lnTo>
                  <a:lnTo>
                    <a:pt x="884506" y="167516"/>
                  </a:lnTo>
                  <a:lnTo>
                    <a:pt x="885951" y="167282"/>
                  </a:lnTo>
                  <a:lnTo>
                    <a:pt x="887128" y="168105"/>
                  </a:lnTo>
                  <a:lnTo>
                    <a:pt x="887171" y="169634"/>
                  </a:lnTo>
                  <a:lnTo>
                    <a:pt x="885726" y="170751"/>
                  </a:lnTo>
                  <a:lnTo>
                    <a:pt x="884597" y="172101"/>
                  </a:lnTo>
                  <a:lnTo>
                    <a:pt x="884867" y="173452"/>
                  </a:lnTo>
                  <a:lnTo>
                    <a:pt x="886810" y="173570"/>
                  </a:lnTo>
                  <a:lnTo>
                    <a:pt x="888972" y="175599"/>
                  </a:lnTo>
                  <a:lnTo>
                    <a:pt x="892086" y="180353"/>
                  </a:lnTo>
                  <a:lnTo>
                    <a:pt x="893148" y="181348"/>
                  </a:lnTo>
                  <a:lnTo>
                    <a:pt x="894688" y="182285"/>
                  </a:lnTo>
                  <a:lnTo>
                    <a:pt x="896400" y="182708"/>
                  </a:lnTo>
                  <a:lnTo>
                    <a:pt x="898294" y="183384"/>
                  </a:lnTo>
                  <a:lnTo>
                    <a:pt x="899691" y="185343"/>
                  </a:lnTo>
                  <a:lnTo>
                    <a:pt x="900266" y="187111"/>
                  </a:lnTo>
                  <a:lnTo>
                    <a:pt x="898212" y="186537"/>
                  </a:lnTo>
                  <a:lnTo>
                    <a:pt x="894200" y="186421"/>
                  </a:lnTo>
                  <a:lnTo>
                    <a:pt x="891755" y="186775"/>
                  </a:lnTo>
                  <a:lnTo>
                    <a:pt x="890604" y="186974"/>
                  </a:lnTo>
                  <a:lnTo>
                    <a:pt x="888888" y="188141"/>
                  </a:lnTo>
                  <a:lnTo>
                    <a:pt x="887668" y="189308"/>
                  </a:lnTo>
                  <a:lnTo>
                    <a:pt x="887126" y="191290"/>
                  </a:lnTo>
                  <a:lnTo>
                    <a:pt x="887771" y="193530"/>
                  </a:lnTo>
                  <a:lnTo>
                    <a:pt x="886890" y="198186"/>
                  </a:lnTo>
                  <a:lnTo>
                    <a:pt x="885692" y="199938"/>
                  </a:lnTo>
                  <a:lnTo>
                    <a:pt x="883163" y="202974"/>
                  </a:lnTo>
                  <a:lnTo>
                    <a:pt x="881701" y="203634"/>
                  </a:lnTo>
                  <a:lnTo>
                    <a:pt x="879252" y="204177"/>
                  </a:lnTo>
                  <a:lnTo>
                    <a:pt x="876888" y="205076"/>
                  </a:lnTo>
                  <a:lnTo>
                    <a:pt x="872256" y="205949"/>
                  </a:lnTo>
                  <a:lnTo>
                    <a:pt x="867253" y="206393"/>
                  </a:lnTo>
                  <a:lnTo>
                    <a:pt x="865473" y="207045"/>
                  </a:lnTo>
                  <a:lnTo>
                    <a:pt x="864208" y="209120"/>
                  </a:lnTo>
                  <a:lnTo>
                    <a:pt x="863310" y="210854"/>
                  </a:lnTo>
                  <a:lnTo>
                    <a:pt x="862753" y="212171"/>
                  </a:lnTo>
                  <a:lnTo>
                    <a:pt x="861336" y="216470"/>
                  </a:lnTo>
                  <a:lnTo>
                    <a:pt x="860533" y="220313"/>
                  </a:lnTo>
                  <a:lnTo>
                    <a:pt x="861321" y="225076"/>
                  </a:lnTo>
                  <a:lnTo>
                    <a:pt x="861910" y="230360"/>
                  </a:lnTo>
                  <a:lnTo>
                    <a:pt x="861874" y="232180"/>
                  </a:lnTo>
                  <a:lnTo>
                    <a:pt x="863094" y="234879"/>
                  </a:lnTo>
                  <a:lnTo>
                    <a:pt x="863713" y="236533"/>
                  </a:lnTo>
                  <a:lnTo>
                    <a:pt x="863422" y="238878"/>
                  </a:lnTo>
                  <a:lnTo>
                    <a:pt x="861667" y="240729"/>
                  </a:lnTo>
                  <a:lnTo>
                    <a:pt x="860615" y="243180"/>
                  </a:lnTo>
                  <a:lnTo>
                    <a:pt x="859621" y="244221"/>
                  </a:lnTo>
                  <a:lnTo>
                    <a:pt x="856760" y="244690"/>
                  </a:lnTo>
                  <a:lnTo>
                    <a:pt x="854066" y="244979"/>
                  </a:lnTo>
                  <a:lnTo>
                    <a:pt x="851347" y="247076"/>
                  </a:lnTo>
                  <a:lnTo>
                    <a:pt x="849172" y="248527"/>
                  </a:lnTo>
                  <a:lnTo>
                    <a:pt x="845767" y="250368"/>
                  </a:lnTo>
                  <a:lnTo>
                    <a:pt x="844173" y="250715"/>
                  </a:lnTo>
                  <a:lnTo>
                    <a:pt x="843286" y="249777"/>
                  </a:lnTo>
                  <a:lnTo>
                    <a:pt x="842701" y="247686"/>
                  </a:lnTo>
                  <a:lnTo>
                    <a:pt x="841530" y="246765"/>
                  </a:lnTo>
                  <a:lnTo>
                    <a:pt x="839887" y="246693"/>
                  </a:lnTo>
                  <a:lnTo>
                    <a:pt x="838563" y="246670"/>
                  </a:lnTo>
                  <a:lnTo>
                    <a:pt x="834283" y="246102"/>
                  </a:lnTo>
                  <a:lnTo>
                    <a:pt x="831548" y="246141"/>
                  </a:lnTo>
                  <a:lnTo>
                    <a:pt x="829489" y="246591"/>
                  </a:lnTo>
                  <a:lnTo>
                    <a:pt x="827144" y="246817"/>
                  </a:lnTo>
                  <a:lnTo>
                    <a:pt x="823089" y="246054"/>
                  </a:lnTo>
                  <a:lnTo>
                    <a:pt x="820466" y="245407"/>
                  </a:lnTo>
                  <a:lnTo>
                    <a:pt x="818699" y="244788"/>
                  </a:lnTo>
                  <a:lnTo>
                    <a:pt x="814486" y="242961"/>
                  </a:lnTo>
                  <a:lnTo>
                    <a:pt x="808947" y="240782"/>
                  </a:lnTo>
                  <a:lnTo>
                    <a:pt x="806675" y="240145"/>
                  </a:lnTo>
                  <a:lnTo>
                    <a:pt x="805330" y="240800"/>
                  </a:lnTo>
                  <a:lnTo>
                    <a:pt x="805123" y="242044"/>
                  </a:lnTo>
                  <a:lnTo>
                    <a:pt x="804769" y="245059"/>
                  </a:lnTo>
                  <a:lnTo>
                    <a:pt x="804123" y="246943"/>
                  </a:lnTo>
                  <a:lnTo>
                    <a:pt x="800256" y="256454"/>
                  </a:lnTo>
                  <a:lnTo>
                    <a:pt x="797872" y="263056"/>
                  </a:lnTo>
                  <a:lnTo>
                    <a:pt x="794840" y="269369"/>
                  </a:lnTo>
                  <a:lnTo>
                    <a:pt x="793881" y="273595"/>
                  </a:lnTo>
                  <a:lnTo>
                    <a:pt x="792067" y="278944"/>
                  </a:lnTo>
                  <a:lnTo>
                    <a:pt x="790264" y="282811"/>
                  </a:lnTo>
                  <a:lnTo>
                    <a:pt x="789537" y="284918"/>
                  </a:lnTo>
                  <a:lnTo>
                    <a:pt x="789469" y="285776"/>
                  </a:lnTo>
                  <a:lnTo>
                    <a:pt x="789789" y="286980"/>
                  </a:lnTo>
                  <a:lnTo>
                    <a:pt x="792553" y="288297"/>
                  </a:lnTo>
                  <a:lnTo>
                    <a:pt x="795447" y="289104"/>
                  </a:lnTo>
                  <a:lnTo>
                    <a:pt x="796090" y="289607"/>
                  </a:lnTo>
                  <a:lnTo>
                    <a:pt x="796403" y="290975"/>
                  </a:lnTo>
                  <a:lnTo>
                    <a:pt x="796300" y="293204"/>
                  </a:lnTo>
                  <a:lnTo>
                    <a:pt x="795766" y="295319"/>
                  </a:lnTo>
                  <a:lnTo>
                    <a:pt x="794926" y="296977"/>
                  </a:lnTo>
                  <a:lnTo>
                    <a:pt x="794097" y="297796"/>
                  </a:lnTo>
                  <a:lnTo>
                    <a:pt x="793151" y="297848"/>
                  </a:lnTo>
                  <a:lnTo>
                    <a:pt x="791338" y="296784"/>
                  </a:lnTo>
                  <a:lnTo>
                    <a:pt x="789718" y="295595"/>
                  </a:lnTo>
                  <a:lnTo>
                    <a:pt x="788461" y="295233"/>
                  </a:lnTo>
                  <a:lnTo>
                    <a:pt x="785281" y="295897"/>
                  </a:lnTo>
                  <a:lnTo>
                    <a:pt x="782328" y="296800"/>
                  </a:lnTo>
                  <a:lnTo>
                    <a:pt x="781348" y="296828"/>
                  </a:lnTo>
                  <a:lnTo>
                    <a:pt x="779636" y="296247"/>
                  </a:lnTo>
                  <a:lnTo>
                    <a:pt x="777915" y="295043"/>
                  </a:lnTo>
                  <a:lnTo>
                    <a:pt x="777235" y="292718"/>
                  </a:lnTo>
                  <a:lnTo>
                    <a:pt x="775756" y="291662"/>
                  </a:lnTo>
                  <a:lnTo>
                    <a:pt x="773767" y="292718"/>
                  </a:lnTo>
                  <a:lnTo>
                    <a:pt x="767856" y="294490"/>
                  </a:lnTo>
                  <a:lnTo>
                    <a:pt x="761346" y="296601"/>
                  </a:lnTo>
                  <a:lnTo>
                    <a:pt x="757211" y="297692"/>
                  </a:lnTo>
                  <a:lnTo>
                    <a:pt x="755591" y="297520"/>
                  </a:lnTo>
                  <a:lnTo>
                    <a:pt x="752378" y="297768"/>
                  </a:lnTo>
                  <a:lnTo>
                    <a:pt x="749601" y="298357"/>
                  </a:lnTo>
                  <a:lnTo>
                    <a:pt x="747517" y="299175"/>
                  </a:lnTo>
                  <a:lnTo>
                    <a:pt x="743389" y="300299"/>
                  </a:lnTo>
                  <a:lnTo>
                    <a:pt x="739650" y="301052"/>
                  </a:lnTo>
                  <a:lnTo>
                    <a:pt x="737240" y="302755"/>
                  </a:lnTo>
                  <a:lnTo>
                    <a:pt x="735509" y="304402"/>
                  </a:lnTo>
                  <a:lnTo>
                    <a:pt x="735584" y="305029"/>
                  </a:lnTo>
                  <a:lnTo>
                    <a:pt x="736841" y="306002"/>
                  </a:lnTo>
                  <a:lnTo>
                    <a:pt x="738279" y="306765"/>
                  </a:lnTo>
                  <a:lnTo>
                    <a:pt x="741169" y="306586"/>
                  </a:lnTo>
                  <a:lnTo>
                    <a:pt x="743982" y="306468"/>
                  </a:lnTo>
                  <a:lnTo>
                    <a:pt x="746321" y="307499"/>
                  </a:lnTo>
                  <a:lnTo>
                    <a:pt x="748413" y="308159"/>
                  </a:lnTo>
                  <a:lnTo>
                    <a:pt x="748990" y="309016"/>
                  </a:lnTo>
                  <a:lnTo>
                    <a:pt x="748413" y="309849"/>
                  </a:lnTo>
                  <a:lnTo>
                    <a:pt x="747200" y="310044"/>
                  </a:lnTo>
                  <a:lnTo>
                    <a:pt x="746776" y="310630"/>
                  </a:lnTo>
                  <a:lnTo>
                    <a:pt x="746988" y="311409"/>
                  </a:lnTo>
                  <a:lnTo>
                    <a:pt x="746193" y="313445"/>
                  </a:lnTo>
                  <a:lnTo>
                    <a:pt x="745779" y="316535"/>
                  </a:lnTo>
                  <a:lnTo>
                    <a:pt x="746189" y="319573"/>
                  </a:lnTo>
                  <a:lnTo>
                    <a:pt x="746420" y="322374"/>
                  </a:lnTo>
                  <a:lnTo>
                    <a:pt x="746280" y="323784"/>
                  </a:lnTo>
                  <a:lnTo>
                    <a:pt x="746198" y="325790"/>
                  </a:lnTo>
                  <a:lnTo>
                    <a:pt x="747094" y="327147"/>
                  </a:lnTo>
                  <a:lnTo>
                    <a:pt x="747884" y="329728"/>
                  </a:lnTo>
                  <a:lnTo>
                    <a:pt x="749309" y="331342"/>
                  </a:lnTo>
                  <a:lnTo>
                    <a:pt x="751464" y="336931"/>
                  </a:lnTo>
                  <a:lnTo>
                    <a:pt x="752732" y="340192"/>
                  </a:lnTo>
                  <a:lnTo>
                    <a:pt x="753905" y="343884"/>
                  </a:lnTo>
                  <a:lnTo>
                    <a:pt x="753056" y="345876"/>
                  </a:lnTo>
                  <a:lnTo>
                    <a:pt x="753108" y="347030"/>
                  </a:lnTo>
                  <a:lnTo>
                    <a:pt x="754479" y="347992"/>
                  </a:lnTo>
                  <a:lnTo>
                    <a:pt x="755082" y="349870"/>
                  </a:lnTo>
                  <a:lnTo>
                    <a:pt x="755716" y="351019"/>
                  </a:lnTo>
                  <a:lnTo>
                    <a:pt x="755539" y="352162"/>
                  </a:lnTo>
                  <a:lnTo>
                    <a:pt x="754952" y="352604"/>
                  </a:lnTo>
                  <a:lnTo>
                    <a:pt x="751985" y="351912"/>
                  </a:lnTo>
                  <a:lnTo>
                    <a:pt x="749554" y="353052"/>
                  </a:lnTo>
                  <a:lnTo>
                    <a:pt x="746971" y="354196"/>
                  </a:lnTo>
                  <a:lnTo>
                    <a:pt x="746623" y="354805"/>
                  </a:lnTo>
                  <a:lnTo>
                    <a:pt x="746552" y="355470"/>
                  </a:lnTo>
                  <a:lnTo>
                    <a:pt x="746820" y="356054"/>
                  </a:lnTo>
                  <a:lnTo>
                    <a:pt x="748307" y="357078"/>
                  </a:lnTo>
                  <a:lnTo>
                    <a:pt x="750365" y="357717"/>
                  </a:lnTo>
                  <a:lnTo>
                    <a:pt x="750259" y="358740"/>
                  </a:lnTo>
                  <a:lnTo>
                    <a:pt x="747718" y="359215"/>
                  </a:lnTo>
                  <a:lnTo>
                    <a:pt x="743876" y="360780"/>
                  </a:lnTo>
                  <a:lnTo>
                    <a:pt x="742814" y="362459"/>
                  </a:lnTo>
                  <a:lnTo>
                    <a:pt x="741991" y="364301"/>
                  </a:lnTo>
                  <a:lnTo>
                    <a:pt x="741922" y="365369"/>
                  </a:lnTo>
                  <a:lnTo>
                    <a:pt x="742306" y="368230"/>
                  </a:lnTo>
                  <a:lnTo>
                    <a:pt x="742892" y="371401"/>
                  </a:lnTo>
                  <a:lnTo>
                    <a:pt x="743982" y="374736"/>
                  </a:lnTo>
                  <a:lnTo>
                    <a:pt x="744071" y="375768"/>
                  </a:lnTo>
                  <a:lnTo>
                    <a:pt x="743494" y="376502"/>
                  </a:lnTo>
                  <a:lnTo>
                    <a:pt x="742972" y="376975"/>
                  </a:lnTo>
                  <a:lnTo>
                    <a:pt x="739918" y="373970"/>
                  </a:lnTo>
                  <a:lnTo>
                    <a:pt x="736597" y="371035"/>
                  </a:lnTo>
                  <a:lnTo>
                    <a:pt x="733995" y="370360"/>
                  </a:lnTo>
                  <a:lnTo>
                    <a:pt x="729462" y="369876"/>
                  </a:lnTo>
                  <a:lnTo>
                    <a:pt x="727068" y="369851"/>
                  </a:lnTo>
                  <a:lnTo>
                    <a:pt x="725699" y="369159"/>
                  </a:lnTo>
                  <a:lnTo>
                    <a:pt x="724362" y="367460"/>
                  </a:lnTo>
                  <a:lnTo>
                    <a:pt x="722764" y="365922"/>
                  </a:lnTo>
                  <a:lnTo>
                    <a:pt x="720719" y="364288"/>
                  </a:lnTo>
                  <a:lnTo>
                    <a:pt x="719875" y="361802"/>
                  </a:lnTo>
                  <a:lnTo>
                    <a:pt x="719030" y="361355"/>
                  </a:lnTo>
                  <a:lnTo>
                    <a:pt x="717553" y="361674"/>
                  </a:lnTo>
                  <a:lnTo>
                    <a:pt x="715079" y="361597"/>
                  </a:lnTo>
                  <a:lnTo>
                    <a:pt x="713690" y="361378"/>
                  </a:lnTo>
                  <a:lnTo>
                    <a:pt x="711620" y="360952"/>
                  </a:lnTo>
                  <a:lnTo>
                    <a:pt x="708320" y="359938"/>
                  </a:lnTo>
                  <a:lnTo>
                    <a:pt x="705709" y="358977"/>
                  </a:lnTo>
                  <a:lnTo>
                    <a:pt x="702431" y="358794"/>
                  </a:lnTo>
                  <a:lnTo>
                    <a:pt x="700531" y="358985"/>
                  </a:lnTo>
                  <a:lnTo>
                    <a:pt x="694630" y="359167"/>
                  </a:lnTo>
                  <a:lnTo>
                    <a:pt x="689732" y="358159"/>
                  </a:lnTo>
                  <a:lnTo>
                    <a:pt x="685769" y="357970"/>
                  </a:lnTo>
                  <a:lnTo>
                    <a:pt x="683331" y="358029"/>
                  </a:lnTo>
                  <a:lnTo>
                    <a:pt x="682161" y="357904"/>
                  </a:lnTo>
                  <a:lnTo>
                    <a:pt x="680155" y="357912"/>
                  </a:lnTo>
                  <a:lnTo>
                    <a:pt x="677214" y="357692"/>
                  </a:lnTo>
                  <a:lnTo>
                    <a:pt x="673273" y="356138"/>
                  </a:lnTo>
                  <a:lnTo>
                    <a:pt x="671742" y="356060"/>
                  </a:lnTo>
                  <a:lnTo>
                    <a:pt x="670768" y="356116"/>
                  </a:lnTo>
                  <a:lnTo>
                    <a:pt x="664188" y="357259"/>
                  </a:lnTo>
                  <a:lnTo>
                    <a:pt x="661152" y="357525"/>
                  </a:lnTo>
                  <a:lnTo>
                    <a:pt x="654718" y="357395"/>
                  </a:lnTo>
                  <a:lnTo>
                    <a:pt x="648395" y="357267"/>
                  </a:lnTo>
                  <a:lnTo>
                    <a:pt x="646363" y="357026"/>
                  </a:lnTo>
                  <a:lnTo>
                    <a:pt x="645240" y="357149"/>
                  </a:lnTo>
                  <a:lnTo>
                    <a:pt x="642856" y="359891"/>
                  </a:lnTo>
                  <a:lnTo>
                    <a:pt x="641837" y="360316"/>
                  </a:lnTo>
                  <a:lnTo>
                    <a:pt x="635879" y="359718"/>
                  </a:lnTo>
                  <a:lnTo>
                    <a:pt x="628835" y="357913"/>
                  </a:lnTo>
                  <a:lnTo>
                    <a:pt x="623747" y="355937"/>
                  </a:lnTo>
                  <a:lnTo>
                    <a:pt x="619429" y="353845"/>
                  </a:lnTo>
                  <a:lnTo>
                    <a:pt x="613715" y="350539"/>
                  </a:lnTo>
                  <a:lnTo>
                    <a:pt x="610292" y="348903"/>
                  </a:lnTo>
                  <a:lnTo>
                    <a:pt x="609800" y="349845"/>
                  </a:lnTo>
                  <a:lnTo>
                    <a:pt x="608895" y="350146"/>
                  </a:lnTo>
                  <a:lnTo>
                    <a:pt x="607576" y="350292"/>
                  </a:lnTo>
                  <a:lnTo>
                    <a:pt x="604546" y="350121"/>
                  </a:lnTo>
                  <a:lnTo>
                    <a:pt x="603149" y="351797"/>
                  </a:lnTo>
                  <a:lnTo>
                    <a:pt x="599446" y="352995"/>
                  </a:lnTo>
                  <a:lnTo>
                    <a:pt x="597090" y="354068"/>
                  </a:lnTo>
                  <a:lnTo>
                    <a:pt x="595857" y="355277"/>
                  </a:lnTo>
                  <a:lnTo>
                    <a:pt x="593512" y="363299"/>
                  </a:lnTo>
                  <a:lnTo>
                    <a:pt x="592886" y="366224"/>
                  </a:lnTo>
                  <a:lnTo>
                    <a:pt x="594458" y="371145"/>
                  </a:lnTo>
                  <a:lnTo>
                    <a:pt x="592659" y="370858"/>
                  </a:lnTo>
                  <a:lnTo>
                    <a:pt x="590545" y="369600"/>
                  </a:lnTo>
                  <a:lnTo>
                    <a:pt x="589813" y="368610"/>
                  </a:lnTo>
                  <a:lnTo>
                    <a:pt x="587776" y="368003"/>
                  </a:lnTo>
                  <a:lnTo>
                    <a:pt x="580353" y="367088"/>
                  </a:lnTo>
                  <a:lnTo>
                    <a:pt x="578966" y="365959"/>
                  </a:lnTo>
                  <a:lnTo>
                    <a:pt x="578094" y="365039"/>
                  </a:lnTo>
                  <a:lnTo>
                    <a:pt x="576174" y="364438"/>
                  </a:lnTo>
                  <a:lnTo>
                    <a:pt x="573456" y="363975"/>
                  </a:lnTo>
                  <a:lnTo>
                    <a:pt x="567543" y="361839"/>
                  </a:lnTo>
                  <a:lnTo>
                    <a:pt x="565023" y="361758"/>
                  </a:lnTo>
                  <a:lnTo>
                    <a:pt x="557394" y="360114"/>
                  </a:lnTo>
                  <a:lnTo>
                    <a:pt x="556150" y="360132"/>
                  </a:lnTo>
                  <a:lnTo>
                    <a:pt x="555580" y="360201"/>
                  </a:lnTo>
                  <a:lnTo>
                    <a:pt x="552618" y="361277"/>
                  </a:lnTo>
                  <a:lnTo>
                    <a:pt x="550704" y="361591"/>
                  </a:lnTo>
                  <a:lnTo>
                    <a:pt x="548666" y="361157"/>
                  </a:lnTo>
                  <a:lnTo>
                    <a:pt x="545008" y="362484"/>
                  </a:lnTo>
                  <a:lnTo>
                    <a:pt x="543034" y="364250"/>
                  </a:lnTo>
                  <a:lnTo>
                    <a:pt x="541402" y="366411"/>
                  </a:lnTo>
                  <a:lnTo>
                    <a:pt x="539836" y="367774"/>
                  </a:lnTo>
                  <a:lnTo>
                    <a:pt x="539376" y="369811"/>
                  </a:lnTo>
                  <a:lnTo>
                    <a:pt x="538279" y="370869"/>
                  </a:lnTo>
                  <a:lnTo>
                    <a:pt x="536964" y="372984"/>
                  </a:lnTo>
                  <a:lnTo>
                    <a:pt x="536964" y="374217"/>
                  </a:lnTo>
                  <a:lnTo>
                    <a:pt x="538156" y="375415"/>
                  </a:lnTo>
                  <a:lnTo>
                    <a:pt x="536245" y="376518"/>
                  </a:lnTo>
                  <a:lnTo>
                    <a:pt x="534127" y="376864"/>
                  </a:lnTo>
                  <a:lnTo>
                    <a:pt x="533036" y="377543"/>
                  </a:lnTo>
                  <a:lnTo>
                    <a:pt x="531870" y="379170"/>
                  </a:lnTo>
                  <a:lnTo>
                    <a:pt x="530782" y="380571"/>
                  </a:lnTo>
                  <a:lnTo>
                    <a:pt x="530140" y="381068"/>
                  </a:lnTo>
                  <a:lnTo>
                    <a:pt x="529164" y="380977"/>
                  </a:lnTo>
                  <a:lnTo>
                    <a:pt x="528035" y="379893"/>
                  </a:lnTo>
                  <a:lnTo>
                    <a:pt x="526420" y="379938"/>
                  </a:lnTo>
                  <a:lnTo>
                    <a:pt x="524493" y="381282"/>
                  </a:lnTo>
                  <a:lnTo>
                    <a:pt x="522215" y="383458"/>
                  </a:lnTo>
                  <a:lnTo>
                    <a:pt x="519335" y="386786"/>
                  </a:lnTo>
                  <a:lnTo>
                    <a:pt x="516335" y="388546"/>
                  </a:lnTo>
                  <a:lnTo>
                    <a:pt x="512535" y="390049"/>
                  </a:lnTo>
                  <a:lnTo>
                    <a:pt x="509788" y="390716"/>
                  </a:lnTo>
                  <a:lnTo>
                    <a:pt x="507605" y="391855"/>
                  </a:lnTo>
                  <a:lnTo>
                    <a:pt x="503975" y="394160"/>
                  </a:lnTo>
                  <a:lnTo>
                    <a:pt x="503254" y="395516"/>
                  </a:lnTo>
                  <a:lnTo>
                    <a:pt x="500622" y="396318"/>
                  </a:lnTo>
                  <a:lnTo>
                    <a:pt x="498505" y="397242"/>
                  </a:lnTo>
                  <a:lnTo>
                    <a:pt x="496545" y="398782"/>
                  </a:lnTo>
                  <a:lnTo>
                    <a:pt x="496070" y="401494"/>
                  </a:lnTo>
                  <a:lnTo>
                    <a:pt x="494819" y="403052"/>
                  </a:lnTo>
                  <a:lnTo>
                    <a:pt x="491818" y="405191"/>
                  </a:lnTo>
                  <a:lnTo>
                    <a:pt x="489296" y="407348"/>
                  </a:lnTo>
                  <a:lnTo>
                    <a:pt x="487652" y="409462"/>
                  </a:lnTo>
                  <a:lnTo>
                    <a:pt x="485912" y="411703"/>
                  </a:lnTo>
                  <a:lnTo>
                    <a:pt x="485363" y="412937"/>
                  </a:lnTo>
                  <a:lnTo>
                    <a:pt x="485303" y="414622"/>
                  </a:lnTo>
                  <a:lnTo>
                    <a:pt x="486123" y="416036"/>
                  </a:lnTo>
                  <a:lnTo>
                    <a:pt x="486279" y="417382"/>
                  </a:lnTo>
                  <a:lnTo>
                    <a:pt x="485659" y="418360"/>
                  </a:lnTo>
                  <a:lnTo>
                    <a:pt x="483957" y="418727"/>
                  </a:lnTo>
                  <a:lnTo>
                    <a:pt x="482174" y="418444"/>
                  </a:lnTo>
                  <a:lnTo>
                    <a:pt x="479451" y="417483"/>
                  </a:lnTo>
                  <a:lnTo>
                    <a:pt x="476540" y="415760"/>
                  </a:lnTo>
                  <a:lnTo>
                    <a:pt x="475480" y="414913"/>
                  </a:lnTo>
                  <a:lnTo>
                    <a:pt x="474050" y="413463"/>
                  </a:lnTo>
                  <a:lnTo>
                    <a:pt x="474258" y="412115"/>
                  </a:lnTo>
                  <a:lnTo>
                    <a:pt x="474994" y="409496"/>
                  </a:lnTo>
                  <a:lnTo>
                    <a:pt x="475497" y="407697"/>
                  </a:lnTo>
                  <a:lnTo>
                    <a:pt x="474309" y="406838"/>
                  </a:lnTo>
                  <a:lnTo>
                    <a:pt x="473433" y="405918"/>
                  </a:lnTo>
                  <a:lnTo>
                    <a:pt x="472807" y="405028"/>
                  </a:lnTo>
                  <a:lnTo>
                    <a:pt x="471576" y="403274"/>
                  </a:lnTo>
                  <a:lnTo>
                    <a:pt x="470027" y="403704"/>
                  </a:lnTo>
                  <a:lnTo>
                    <a:pt x="468686" y="404135"/>
                  </a:lnTo>
                  <a:lnTo>
                    <a:pt x="467138" y="403520"/>
                  </a:lnTo>
                  <a:lnTo>
                    <a:pt x="462560" y="403787"/>
                  </a:lnTo>
                  <a:lnTo>
                    <a:pt x="459101" y="403987"/>
                  </a:lnTo>
                  <a:lnTo>
                    <a:pt x="455860" y="404176"/>
                  </a:lnTo>
                  <a:lnTo>
                    <a:pt x="451740" y="404414"/>
                  </a:lnTo>
                  <a:lnTo>
                    <a:pt x="446777" y="404702"/>
                  </a:lnTo>
                  <a:lnTo>
                    <a:pt x="445352" y="404315"/>
                  </a:lnTo>
                  <a:lnTo>
                    <a:pt x="444465" y="403734"/>
                  </a:lnTo>
                  <a:lnTo>
                    <a:pt x="443558" y="401319"/>
                  </a:lnTo>
                  <a:lnTo>
                    <a:pt x="443041" y="399265"/>
                  </a:lnTo>
                  <a:lnTo>
                    <a:pt x="442076" y="395417"/>
                  </a:lnTo>
                  <a:lnTo>
                    <a:pt x="441433" y="392439"/>
                  </a:lnTo>
                  <a:lnTo>
                    <a:pt x="440666" y="388885"/>
                  </a:lnTo>
                  <a:lnTo>
                    <a:pt x="440161" y="384959"/>
                  </a:lnTo>
                  <a:lnTo>
                    <a:pt x="439798" y="382160"/>
                  </a:lnTo>
                  <a:lnTo>
                    <a:pt x="436043" y="382068"/>
                  </a:lnTo>
                  <a:lnTo>
                    <a:pt x="433044" y="381995"/>
                  </a:lnTo>
                  <a:lnTo>
                    <a:pt x="428984" y="381895"/>
                  </a:lnTo>
                  <a:lnTo>
                    <a:pt x="429021" y="379667"/>
                  </a:lnTo>
                  <a:lnTo>
                    <a:pt x="429064" y="376857"/>
                  </a:lnTo>
                  <a:lnTo>
                    <a:pt x="429115" y="373655"/>
                  </a:lnTo>
                  <a:lnTo>
                    <a:pt x="429874" y="369446"/>
                  </a:lnTo>
                  <a:lnTo>
                    <a:pt x="430159" y="365913"/>
                  </a:lnTo>
                  <a:lnTo>
                    <a:pt x="430508" y="361598"/>
                  </a:lnTo>
                  <a:lnTo>
                    <a:pt x="430737" y="358743"/>
                  </a:lnTo>
                  <a:lnTo>
                    <a:pt x="430990" y="355598"/>
                  </a:lnTo>
                  <a:lnTo>
                    <a:pt x="428898" y="356568"/>
                  </a:lnTo>
                  <a:lnTo>
                    <a:pt x="426585" y="357642"/>
                  </a:lnTo>
                  <a:lnTo>
                    <a:pt x="424417" y="358647"/>
                  </a:lnTo>
                  <a:lnTo>
                    <a:pt x="422927" y="356099"/>
                  </a:lnTo>
                  <a:lnTo>
                    <a:pt x="421480" y="353620"/>
                  </a:lnTo>
                  <a:lnTo>
                    <a:pt x="419280" y="349848"/>
                  </a:lnTo>
                  <a:lnTo>
                    <a:pt x="417632" y="347017"/>
                  </a:lnTo>
                  <a:lnTo>
                    <a:pt x="414764" y="345364"/>
                  </a:lnTo>
                  <a:lnTo>
                    <a:pt x="412642" y="344140"/>
                  </a:lnTo>
                  <a:lnTo>
                    <a:pt x="410439" y="342077"/>
                  </a:lnTo>
                  <a:lnTo>
                    <a:pt x="408537" y="339935"/>
                  </a:lnTo>
                  <a:lnTo>
                    <a:pt x="406729" y="337903"/>
                  </a:lnTo>
                  <a:lnTo>
                    <a:pt x="404570" y="336133"/>
                  </a:lnTo>
                  <a:lnTo>
                    <a:pt x="402499" y="336692"/>
                  </a:lnTo>
                  <a:lnTo>
                    <a:pt x="400161" y="337798"/>
                  </a:lnTo>
                  <a:lnTo>
                    <a:pt x="397906" y="338863"/>
                  </a:lnTo>
                  <a:lnTo>
                    <a:pt x="395518" y="339991"/>
                  </a:lnTo>
                  <a:lnTo>
                    <a:pt x="394347" y="340542"/>
                  </a:lnTo>
                  <a:lnTo>
                    <a:pt x="391583" y="340333"/>
                  </a:lnTo>
                  <a:lnTo>
                    <a:pt x="389165" y="340150"/>
                  </a:lnTo>
                  <a:lnTo>
                    <a:pt x="384842" y="339824"/>
                  </a:lnTo>
                  <a:lnTo>
                    <a:pt x="381190" y="339546"/>
                  </a:lnTo>
                  <a:lnTo>
                    <a:pt x="377465" y="339263"/>
                  </a:lnTo>
                  <a:lnTo>
                    <a:pt x="372272" y="338869"/>
                  </a:lnTo>
                  <a:lnTo>
                    <a:pt x="367014" y="338472"/>
                  </a:lnTo>
                  <a:lnTo>
                    <a:pt x="363490" y="338997"/>
                  </a:lnTo>
                  <a:lnTo>
                    <a:pt x="359035" y="339661"/>
                  </a:lnTo>
                  <a:lnTo>
                    <a:pt x="354353" y="340358"/>
                  </a:lnTo>
                  <a:lnTo>
                    <a:pt x="350482" y="340934"/>
                  </a:lnTo>
                  <a:lnTo>
                    <a:pt x="345584" y="341662"/>
                  </a:lnTo>
                  <a:lnTo>
                    <a:pt x="341915" y="342207"/>
                  </a:lnTo>
                  <a:lnTo>
                    <a:pt x="340108" y="342132"/>
                  </a:lnTo>
                  <a:lnTo>
                    <a:pt x="337838" y="339839"/>
                  </a:lnTo>
                  <a:lnTo>
                    <a:pt x="334204" y="336163"/>
                  </a:lnTo>
                  <a:lnTo>
                    <a:pt x="332002" y="333933"/>
                  </a:lnTo>
                  <a:lnTo>
                    <a:pt x="329840" y="331744"/>
                  </a:lnTo>
                  <a:lnTo>
                    <a:pt x="326726" y="328587"/>
                  </a:lnTo>
                  <a:lnTo>
                    <a:pt x="324215" y="326196"/>
                  </a:lnTo>
                  <a:lnTo>
                    <a:pt x="321766" y="323857"/>
                  </a:lnTo>
                  <a:lnTo>
                    <a:pt x="320358" y="321697"/>
                  </a:lnTo>
                  <a:lnTo>
                    <a:pt x="319656" y="318980"/>
                  </a:lnTo>
                  <a:lnTo>
                    <a:pt x="318387" y="317746"/>
                  </a:lnTo>
                  <a:lnTo>
                    <a:pt x="315541" y="316081"/>
                  </a:lnTo>
                  <a:lnTo>
                    <a:pt x="312487" y="314292"/>
                  </a:lnTo>
                  <a:lnTo>
                    <a:pt x="309432" y="312503"/>
                  </a:lnTo>
                  <a:lnTo>
                    <a:pt x="306376" y="310711"/>
                  </a:lnTo>
                  <a:lnTo>
                    <a:pt x="303323" y="308919"/>
                  </a:lnTo>
                  <a:lnTo>
                    <a:pt x="300267" y="307126"/>
                  </a:lnTo>
                  <a:lnTo>
                    <a:pt x="297212" y="305331"/>
                  </a:lnTo>
                  <a:lnTo>
                    <a:pt x="294158" y="303534"/>
                  </a:lnTo>
                  <a:lnTo>
                    <a:pt x="291103" y="301739"/>
                  </a:lnTo>
                  <a:lnTo>
                    <a:pt x="288049" y="299941"/>
                  </a:lnTo>
                  <a:lnTo>
                    <a:pt x="284996" y="298142"/>
                  </a:lnTo>
                  <a:lnTo>
                    <a:pt x="281938" y="296342"/>
                  </a:lnTo>
                  <a:lnTo>
                    <a:pt x="278885" y="294539"/>
                  </a:lnTo>
                  <a:lnTo>
                    <a:pt x="275831" y="292736"/>
                  </a:lnTo>
                  <a:lnTo>
                    <a:pt x="272774" y="290932"/>
                  </a:lnTo>
                  <a:lnTo>
                    <a:pt x="269721" y="289126"/>
                  </a:lnTo>
                  <a:lnTo>
                    <a:pt x="266667" y="287319"/>
                  </a:lnTo>
                  <a:lnTo>
                    <a:pt x="264154" y="286006"/>
                  </a:lnTo>
                  <a:lnTo>
                    <a:pt x="261813" y="286348"/>
                  </a:lnTo>
                  <a:lnTo>
                    <a:pt x="258313" y="287268"/>
                  </a:lnTo>
                  <a:lnTo>
                    <a:pt x="254644" y="288231"/>
                  </a:lnTo>
                  <a:lnTo>
                    <a:pt x="251014" y="289183"/>
                  </a:lnTo>
                  <a:lnTo>
                    <a:pt x="244505" y="290892"/>
                  </a:lnTo>
                  <a:lnTo>
                    <a:pt x="240318" y="291989"/>
                  </a:lnTo>
                  <a:lnTo>
                    <a:pt x="237045" y="292915"/>
                  </a:lnTo>
                  <a:lnTo>
                    <a:pt x="233560" y="293901"/>
                  </a:lnTo>
                  <a:lnTo>
                    <a:pt x="228990" y="295192"/>
                  </a:lnTo>
                  <a:lnTo>
                    <a:pt x="225162" y="296275"/>
                  </a:lnTo>
                  <a:lnTo>
                    <a:pt x="220670" y="297542"/>
                  </a:lnTo>
                  <a:lnTo>
                    <a:pt x="216699" y="298663"/>
                  </a:lnTo>
                  <a:lnTo>
                    <a:pt x="213354" y="299606"/>
                  </a:lnTo>
                  <a:lnTo>
                    <a:pt x="209873" y="300588"/>
                  </a:lnTo>
                  <a:lnTo>
                    <a:pt x="207114" y="301367"/>
                  </a:lnTo>
                  <a:lnTo>
                    <a:pt x="207115" y="307633"/>
                  </a:lnTo>
                  <a:lnTo>
                    <a:pt x="207120" y="313885"/>
                  </a:lnTo>
                  <a:lnTo>
                    <a:pt x="207122" y="320122"/>
                  </a:lnTo>
                  <a:lnTo>
                    <a:pt x="207124" y="326345"/>
                  </a:lnTo>
                  <a:lnTo>
                    <a:pt x="207126" y="332554"/>
                  </a:lnTo>
                  <a:lnTo>
                    <a:pt x="207129" y="338751"/>
                  </a:lnTo>
                  <a:lnTo>
                    <a:pt x="207131" y="344932"/>
                  </a:lnTo>
                  <a:lnTo>
                    <a:pt x="207133" y="351099"/>
                  </a:lnTo>
                  <a:lnTo>
                    <a:pt x="207135" y="357252"/>
                  </a:lnTo>
                  <a:lnTo>
                    <a:pt x="207137" y="363393"/>
                  </a:lnTo>
                  <a:lnTo>
                    <a:pt x="207139" y="369520"/>
                  </a:lnTo>
                  <a:lnTo>
                    <a:pt x="207141" y="375634"/>
                  </a:lnTo>
                  <a:lnTo>
                    <a:pt x="207144" y="381735"/>
                  </a:lnTo>
                  <a:lnTo>
                    <a:pt x="207146" y="387823"/>
                  </a:lnTo>
                  <a:lnTo>
                    <a:pt x="207150" y="393899"/>
                  </a:lnTo>
                  <a:lnTo>
                    <a:pt x="207152" y="399962"/>
                  </a:lnTo>
                  <a:lnTo>
                    <a:pt x="206213" y="399911"/>
                  </a:lnTo>
                  <a:lnTo>
                    <a:pt x="204092" y="400263"/>
                  </a:lnTo>
                  <a:lnTo>
                    <a:pt x="200545" y="401107"/>
                  </a:lnTo>
                  <a:lnTo>
                    <a:pt x="197595" y="401530"/>
                  </a:lnTo>
                  <a:lnTo>
                    <a:pt x="196308" y="401279"/>
                  </a:lnTo>
                  <a:lnTo>
                    <a:pt x="195144" y="400646"/>
                  </a:lnTo>
                  <a:lnTo>
                    <a:pt x="194127" y="399310"/>
                  </a:lnTo>
                  <a:lnTo>
                    <a:pt x="192609" y="397687"/>
                  </a:lnTo>
                  <a:lnTo>
                    <a:pt x="191059" y="396374"/>
                  </a:lnTo>
                  <a:lnTo>
                    <a:pt x="189128" y="393675"/>
                  </a:lnTo>
                  <a:lnTo>
                    <a:pt x="187791" y="391599"/>
                  </a:lnTo>
                  <a:lnTo>
                    <a:pt x="184485" y="387064"/>
                  </a:lnTo>
                  <a:lnTo>
                    <a:pt x="184027" y="385632"/>
                  </a:lnTo>
                  <a:lnTo>
                    <a:pt x="183410" y="384171"/>
                  </a:lnTo>
                  <a:lnTo>
                    <a:pt x="182307" y="382949"/>
                  </a:lnTo>
                  <a:lnTo>
                    <a:pt x="178417" y="379947"/>
                  </a:lnTo>
                  <a:lnTo>
                    <a:pt x="173883" y="377237"/>
                  </a:lnTo>
                  <a:lnTo>
                    <a:pt x="169439" y="374582"/>
                  </a:lnTo>
                  <a:lnTo>
                    <a:pt x="168180" y="373937"/>
                  </a:lnTo>
                  <a:lnTo>
                    <a:pt x="166102" y="373112"/>
                  </a:lnTo>
                  <a:lnTo>
                    <a:pt x="163541" y="373093"/>
                  </a:lnTo>
                  <a:lnTo>
                    <a:pt x="161799" y="373256"/>
                  </a:lnTo>
                  <a:lnTo>
                    <a:pt x="156469" y="374132"/>
                  </a:lnTo>
                  <a:lnTo>
                    <a:pt x="152388" y="375160"/>
                  </a:lnTo>
                  <a:lnTo>
                    <a:pt x="146845" y="376554"/>
                  </a:lnTo>
                  <a:lnTo>
                    <a:pt x="142550" y="378099"/>
                  </a:lnTo>
                  <a:lnTo>
                    <a:pt x="141591" y="378552"/>
                  </a:lnTo>
                  <a:lnTo>
                    <a:pt x="138451" y="380415"/>
                  </a:lnTo>
                  <a:lnTo>
                    <a:pt x="134612" y="383500"/>
                  </a:lnTo>
                  <a:lnTo>
                    <a:pt x="130123" y="387849"/>
                  </a:lnTo>
                  <a:lnTo>
                    <a:pt x="129542" y="385052"/>
                  </a:lnTo>
                  <a:lnTo>
                    <a:pt x="129343" y="380741"/>
                  </a:lnTo>
                  <a:lnTo>
                    <a:pt x="129421" y="379352"/>
                  </a:lnTo>
                  <a:lnTo>
                    <a:pt x="130639" y="375721"/>
                  </a:lnTo>
                  <a:lnTo>
                    <a:pt x="131878" y="373227"/>
                  </a:lnTo>
                  <a:lnTo>
                    <a:pt x="132876" y="370633"/>
                  </a:lnTo>
                  <a:lnTo>
                    <a:pt x="133321" y="367234"/>
                  </a:lnTo>
                  <a:lnTo>
                    <a:pt x="132394" y="361772"/>
                  </a:lnTo>
                  <a:lnTo>
                    <a:pt x="131364" y="360560"/>
                  </a:lnTo>
                  <a:lnTo>
                    <a:pt x="130125" y="360164"/>
                  </a:lnTo>
                  <a:lnTo>
                    <a:pt x="128806" y="360052"/>
                  </a:lnTo>
                  <a:lnTo>
                    <a:pt x="126376" y="360274"/>
                  </a:lnTo>
                  <a:lnTo>
                    <a:pt x="125241" y="360712"/>
                  </a:lnTo>
                  <a:lnTo>
                    <a:pt x="123265" y="358867"/>
                  </a:lnTo>
                  <a:lnTo>
                    <a:pt x="120874" y="358572"/>
                  </a:lnTo>
                  <a:lnTo>
                    <a:pt x="119613" y="359086"/>
                  </a:lnTo>
                  <a:lnTo>
                    <a:pt x="118335" y="359353"/>
                  </a:lnTo>
                  <a:lnTo>
                    <a:pt x="116953" y="358843"/>
                  </a:lnTo>
                  <a:lnTo>
                    <a:pt x="115756" y="357751"/>
                  </a:lnTo>
                  <a:lnTo>
                    <a:pt x="115024" y="356572"/>
                  </a:lnTo>
                  <a:lnTo>
                    <a:pt x="114452" y="355236"/>
                  </a:lnTo>
                  <a:lnTo>
                    <a:pt x="112578" y="352562"/>
                  </a:lnTo>
                  <a:lnTo>
                    <a:pt x="110712" y="351102"/>
                  </a:lnTo>
                  <a:lnTo>
                    <a:pt x="108458" y="350779"/>
                  </a:lnTo>
                  <a:lnTo>
                    <a:pt x="104782" y="350863"/>
                  </a:lnTo>
                  <a:lnTo>
                    <a:pt x="103623" y="350682"/>
                  </a:lnTo>
                  <a:lnTo>
                    <a:pt x="103556" y="349162"/>
                  </a:lnTo>
                  <a:lnTo>
                    <a:pt x="104020" y="345804"/>
                  </a:lnTo>
                  <a:lnTo>
                    <a:pt x="104031" y="344051"/>
                  </a:lnTo>
                  <a:lnTo>
                    <a:pt x="103763" y="342395"/>
                  </a:lnTo>
                  <a:lnTo>
                    <a:pt x="103152" y="341034"/>
                  </a:lnTo>
                  <a:lnTo>
                    <a:pt x="102375" y="339854"/>
                  </a:lnTo>
                  <a:lnTo>
                    <a:pt x="100179" y="337911"/>
                  </a:lnTo>
                  <a:lnTo>
                    <a:pt x="98524" y="335176"/>
                  </a:lnTo>
                  <a:lnTo>
                    <a:pt x="95760" y="329545"/>
                  </a:lnTo>
                  <a:lnTo>
                    <a:pt x="93348" y="323202"/>
                  </a:lnTo>
                  <a:lnTo>
                    <a:pt x="92284" y="322246"/>
                  </a:lnTo>
                  <a:lnTo>
                    <a:pt x="90125" y="321241"/>
                  </a:lnTo>
                  <a:lnTo>
                    <a:pt x="85410" y="320435"/>
                  </a:lnTo>
                  <a:lnTo>
                    <a:pt x="82301" y="319601"/>
                  </a:lnTo>
                  <a:lnTo>
                    <a:pt x="81072" y="318797"/>
                  </a:lnTo>
                  <a:lnTo>
                    <a:pt x="80563" y="317401"/>
                  </a:lnTo>
                  <a:lnTo>
                    <a:pt x="80571" y="315906"/>
                  </a:lnTo>
                  <a:lnTo>
                    <a:pt x="80828" y="314137"/>
                  </a:lnTo>
                  <a:lnTo>
                    <a:pt x="81556" y="312641"/>
                  </a:lnTo>
                  <a:lnTo>
                    <a:pt x="84033" y="311485"/>
                  </a:lnTo>
                  <a:lnTo>
                    <a:pt x="89406" y="311231"/>
                  </a:lnTo>
                  <a:lnTo>
                    <a:pt x="94003" y="311356"/>
                  </a:lnTo>
                  <a:lnTo>
                    <a:pt x="98170" y="314031"/>
                  </a:lnTo>
                  <a:lnTo>
                    <a:pt x="99539" y="314647"/>
                  </a:lnTo>
                  <a:lnTo>
                    <a:pt x="101008" y="314823"/>
                  </a:lnTo>
                  <a:lnTo>
                    <a:pt x="103962" y="313978"/>
                  </a:lnTo>
                  <a:lnTo>
                    <a:pt x="105419" y="313738"/>
                  </a:lnTo>
                  <a:lnTo>
                    <a:pt x="109110" y="314016"/>
                  </a:lnTo>
                  <a:lnTo>
                    <a:pt x="108009" y="312750"/>
                  </a:lnTo>
                  <a:lnTo>
                    <a:pt x="106622" y="312085"/>
                  </a:lnTo>
                  <a:lnTo>
                    <a:pt x="105191" y="312143"/>
                  </a:lnTo>
                  <a:lnTo>
                    <a:pt x="103951" y="311628"/>
                  </a:lnTo>
                  <a:lnTo>
                    <a:pt x="101915" y="309170"/>
                  </a:lnTo>
                  <a:lnTo>
                    <a:pt x="98371" y="306373"/>
                  </a:lnTo>
                  <a:lnTo>
                    <a:pt x="97549" y="305215"/>
                  </a:lnTo>
                  <a:lnTo>
                    <a:pt x="97298" y="303364"/>
                  </a:lnTo>
                  <a:lnTo>
                    <a:pt x="97983" y="301766"/>
                  </a:lnTo>
                  <a:lnTo>
                    <a:pt x="100489" y="300128"/>
                  </a:lnTo>
                  <a:lnTo>
                    <a:pt x="102616" y="297900"/>
                  </a:lnTo>
                  <a:lnTo>
                    <a:pt x="103593" y="294940"/>
                  </a:lnTo>
                  <a:lnTo>
                    <a:pt x="104463" y="293575"/>
                  </a:lnTo>
                  <a:lnTo>
                    <a:pt x="106283" y="291429"/>
                  </a:lnTo>
                  <a:lnTo>
                    <a:pt x="109023" y="291840"/>
                  </a:lnTo>
                  <a:lnTo>
                    <a:pt x="113290" y="290288"/>
                  </a:lnTo>
                  <a:lnTo>
                    <a:pt x="120280" y="290592"/>
                  </a:lnTo>
                  <a:lnTo>
                    <a:pt x="128639" y="290145"/>
                  </a:lnTo>
                  <a:lnTo>
                    <a:pt x="130946" y="290310"/>
                  </a:lnTo>
                  <a:lnTo>
                    <a:pt x="136273" y="291823"/>
                  </a:lnTo>
                  <a:lnTo>
                    <a:pt x="139341" y="292475"/>
                  </a:lnTo>
                  <a:lnTo>
                    <a:pt x="143060" y="292810"/>
                  </a:lnTo>
                  <a:lnTo>
                    <a:pt x="145746" y="292139"/>
                  </a:lnTo>
                  <a:lnTo>
                    <a:pt x="143211" y="290071"/>
                  </a:lnTo>
                  <a:lnTo>
                    <a:pt x="137722" y="287617"/>
                  </a:lnTo>
                  <a:lnTo>
                    <a:pt x="136314" y="285528"/>
                  </a:lnTo>
                  <a:lnTo>
                    <a:pt x="138827" y="279836"/>
                  </a:lnTo>
                  <a:lnTo>
                    <a:pt x="142235" y="274642"/>
                  </a:lnTo>
                  <a:lnTo>
                    <a:pt x="144306" y="268458"/>
                  </a:lnTo>
                  <a:lnTo>
                    <a:pt x="143725" y="262296"/>
                  </a:lnTo>
                  <a:lnTo>
                    <a:pt x="142729" y="260598"/>
                  </a:lnTo>
                  <a:lnTo>
                    <a:pt x="143051" y="258594"/>
                  </a:lnTo>
                  <a:lnTo>
                    <a:pt x="144243" y="256902"/>
                  </a:lnTo>
                  <a:lnTo>
                    <a:pt x="145079" y="255215"/>
                  </a:lnTo>
                  <a:lnTo>
                    <a:pt x="144355" y="253184"/>
                  </a:lnTo>
                  <a:lnTo>
                    <a:pt x="142850" y="250009"/>
                  </a:lnTo>
                  <a:lnTo>
                    <a:pt x="142079" y="248981"/>
                  </a:lnTo>
                  <a:lnTo>
                    <a:pt x="139458" y="247267"/>
                  </a:lnTo>
                  <a:lnTo>
                    <a:pt x="134187" y="247191"/>
                  </a:lnTo>
                  <a:lnTo>
                    <a:pt x="129887" y="246255"/>
                  </a:lnTo>
                  <a:lnTo>
                    <a:pt x="128497" y="247008"/>
                  </a:lnTo>
                  <a:lnTo>
                    <a:pt x="127713" y="248167"/>
                  </a:lnTo>
                  <a:lnTo>
                    <a:pt x="126728" y="248930"/>
                  </a:lnTo>
                  <a:lnTo>
                    <a:pt x="123377" y="250470"/>
                  </a:lnTo>
                  <a:lnTo>
                    <a:pt x="122261" y="250773"/>
                  </a:lnTo>
                  <a:lnTo>
                    <a:pt x="121094" y="250467"/>
                  </a:lnTo>
                  <a:lnTo>
                    <a:pt x="119449" y="248731"/>
                  </a:lnTo>
                  <a:lnTo>
                    <a:pt x="117989" y="248927"/>
                  </a:lnTo>
                  <a:lnTo>
                    <a:pt x="113554" y="247843"/>
                  </a:lnTo>
                  <a:lnTo>
                    <a:pt x="111465" y="245490"/>
                  </a:lnTo>
                  <a:lnTo>
                    <a:pt x="110695" y="245159"/>
                  </a:lnTo>
                  <a:lnTo>
                    <a:pt x="103521" y="243277"/>
                  </a:lnTo>
                  <a:lnTo>
                    <a:pt x="101027" y="242918"/>
                  </a:lnTo>
                  <a:lnTo>
                    <a:pt x="95322" y="244859"/>
                  </a:lnTo>
                  <a:lnTo>
                    <a:pt x="91180" y="247343"/>
                  </a:lnTo>
                  <a:lnTo>
                    <a:pt x="90012" y="247704"/>
                  </a:lnTo>
                  <a:lnTo>
                    <a:pt x="87868" y="249278"/>
                  </a:lnTo>
                  <a:lnTo>
                    <a:pt x="86663" y="249528"/>
                  </a:lnTo>
                  <a:lnTo>
                    <a:pt x="85421" y="249260"/>
                  </a:lnTo>
                  <a:lnTo>
                    <a:pt x="84251" y="249356"/>
                  </a:lnTo>
                  <a:lnTo>
                    <a:pt x="81750" y="251712"/>
                  </a:lnTo>
                  <a:lnTo>
                    <a:pt x="77224" y="254453"/>
                  </a:lnTo>
                  <a:lnTo>
                    <a:pt x="74974" y="256182"/>
                  </a:lnTo>
                  <a:lnTo>
                    <a:pt x="72465" y="257255"/>
                  </a:lnTo>
                  <a:lnTo>
                    <a:pt x="69684" y="257926"/>
                  </a:lnTo>
                  <a:lnTo>
                    <a:pt x="66831" y="258035"/>
                  </a:lnTo>
                  <a:lnTo>
                    <a:pt x="65788" y="258656"/>
                  </a:lnTo>
                  <a:lnTo>
                    <a:pt x="62534" y="258877"/>
                  </a:lnTo>
                  <a:lnTo>
                    <a:pt x="60550" y="259380"/>
                  </a:lnTo>
                  <a:lnTo>
                    <a:pt x="60478" y="260313"/>
                  </a:lnTo>
                  <a:lnTo>
                    <a:pt x="60874" y="262403"/>
                  </a:lnTo>
                  <a:lnTo>
                    <a:pt x="59187" y="261665"/>
                  </a:lnTo>
                  <a:lnTo>
                    <a:pt x="57414" y="263083"/>
                  </a:lnTo>
                  <a:lnTo>
                    <a:pt x="58001" y="264428"/>
                  </a:lnTo>
                  <a:lnTo>
                    <a:pt x="56941" y="264105"/>
                  </a:lnTo>
                  <a:lnTo>
                    <a:pt x="51959" y="261517"/>
                  </a:lnTo>
                  <a:lnTo>
                    <a:pt x="47876" y="259691"/>
                  </a:lnTo>
                  <a:lnTo>
                    <a:pt x="44246" y="258066"/>
                  </a:lnTo>
                  <a:lnTo>
                    <a:pt x="43713" y="257771"/>
                  </a:lnTo>
                  <a:lnTo>
                    <a:pt x="42722" y="256978"/>
                  </a:lnTo>
                  <a:lnTo>
                    <a:pt x="42013" y="255745"/>
                  </a:lnTo>
                  <a:lnTo>
                    <a:pt x="41862" y="254392"/>
                  </a:lnTo>
                  <a:lnTo>
                    <a:pt x="42220" y="253399"/>
                  </a:lnTo>
                  <a:lnTo>
                    <a:pt x="43102" y="252764"/>
                  </a:lnTo>
                  <a:lnTo>
                    <a:pt x="44138" y="252519"/>
                  </a:lnTo>
                  <a:lnTo>
                    <a:pt x="45063" y="252720"/>
                  </a:lnTo>
                  <a:lnTo>
                    <a:pt x="46090" y="253329"/>
                  </a:lnTo>
                  <a:lnTo>
                    <a:pt x="47921" y="254066"/>
                  </a:lnTo>
                  <a:lnTo>
                    <a:pt x="50292" y="254203"/>
                  </a:lnTo>
                  <a:lnTo>
                    <a:pt x="51767" y="253636"/>
                  </a:lnTo>
                  <a:lnTo>
                    <a:pt x="51968" y="252277"/>
                  </a:lnTo>
                  <a:lnTo>
                    <a:pt x="49148" y="247252"/>
                  </a:lnTo>
                  <a:lnTo>
                    <a:pt x="46550" y="243189"/>
                  </a:lnTo>
                  <a:lnTo>
                    <a:pt x="44037" y="238663"/>
                  </a:lnTo>
                  <a:lnTo>
                    <a:pt x="42972" y="237020"/>
                  </a:lnTo>
                  <a:lnTo>
                    <a:pt x="39888" y="233222"/>
                  </a:lnTo>
                  <a:lnTo>
                    <a:pt x="36850" y="229477"/>
                  </a:lnTo>
                  <a:lnTo>
                    <a:pt x="34447" y="226136"/>
                  </a:lnTo>
                  <a:lnTo>
                    <a:pt x="33186" y="225106"/>
                  </a:lnTo>
                  <a:lnTo>
                    <a:pt x="29310" y="224676"/>
                  </a:lnTo>
                  <a:lnTo>
                    <a:pt x="21914" y="223852"/>
                  </a:lnTo>
                  <a:lnTo>
                    <a:pt x="19299" y="223460"/>
                  </a:lnTo>
                  <a:lnTo>
                    <a:pt x="17207" y="224452"/>
                  </a:lnTo>
                  <a:lnTo>
                    <a:pt x="15107" y="225233"/>
                  </a:lnTo>
                  <a:lnTo>
                    <a:pt x="13110" y="223782"/>
                  </a:lnTo>
                  <a:lnTo>
                    <a:pt x="11534" y="221408"/>
                  </a:lnTo>
                  <a:lnTo>
                    <a:pt x="10705" y="219408"/>
                  </a:lnTo>
                  <a:lnTo>
                    <a:pt x="11108" y="217366"/>
                  </a:lnTo>
                  <a:lnTo>
                    <a:pt x="11274" y="214347"/>
                  </a:lnTo>
                  <a:lnTo>
                    <a:pt x="10072" y="211366"/>
                  </a:lnTo>
                  <a:lnTo>
                    <a:pt x="8737" y="209894"/>
                  </a:lnTo>
                  <a:lnTo>
                    <a:pt x="5394" y="208787"/>
                  </a:lnTo>
                  <a:lnTo>
                    <a:pt x="1145" y="206275"/>
                  </a:lnTo>
                  <a:lnTo>
                    <a:pt x="0" y="201689"/>
                  </a:lnTo>
                  <a:lnTo>
                    <a:pt x="2067" y="195102"/>
                  </a:lnTo>
                  <a:lnTo>
                    <a:pt x="5390" y="190426"/>
                  </a:lnTo>
                  <a:lnTo>
                    <a:pt x="7807" y="188466"/>
                  </a:lnTo>
                  <a:lnTo>
                    <a:pt x="8957" y="186752"/>
                  </a:lnTo>
                  <a:lnTo>
                    <a:pt x="9335" y="185268"/>
                  </a:lnTo>
                  <a:lnTo>
                    <a:pt x="9044" y="183849"/>
                  </a:lnTo>
                  <a:lnTo>
                    <a:pt x="7612" y="182342"/>
                  </a:lnTo>
                  <a:lnTo>
                    <a:pt x="5390" y="180874"/>
                  </a:lnTo>
                  <a:lnTo>
                    <a:pt x="4265" y="179063"/>
                  </a:lnTo>
                  <a:lnTo>
                    <a:pt x="4732" y="175188"/>
                  </a:lnTo>
                  <a:lnTo>
                    <a:pt x="6200" y="169593"/>
                  </a:lnTo>
                  <a:lnTo>
                    <a:pt x="8465" y="165108"/>
                  </a:lnTo>
                  <a:lnTo>
                    <a:pt x="11508" y="162620"/>
                  </a:lnTo>
                  <a:lnTo>
                    <a:pt x="14133" y="160836"/>
                  </a:lnTo>
                  <a:lnTo>
                    <a:pt x="15170" y="159172"/>
                  </a:lnTo>
                  <a:lnTo>
                    <a:pt x="15224" y="156810"/>
                  </a:lnTo>
                  <a:lnTo>
                    <a:pt x="15159" y="154576"/>
                  </a:lnTo>
                  <a:lnTo>
                    <a:pt x="15861" y="152953"/>
                  </a:lnTo>
                  <a:lnTo>
                    <a:pt x="16964" y="151662"/>
                  </a:lnTo>
                  <a:lnTo>
                    <a:pt x="18133" y="150507"/>
                  </a:lnTo>
                  <a:lnTo>
                    <a:pt x="19778" y="149209"/>
                  </a:lnTo>
                  <a:lnTo>
                    <a:pt x="21901" y="148894"/>
                  </a:lnTo>
                  <a:lnTo>
                    <a:pt x="24248" y="149927"/>
                  </a:lnTo>
                  <a:lnTo>
                    <a:pt x="27429" y="152698"/>
                  </a:lnTo>
                  <a:lnTo>
                    <a:pt x="32097" y="158158"/>
                  </a:lnTo>
                  <a:lnTo>
                    <a:pt x="34764" y="161727"/>
                  </a:lnTo>
                  <a:lnTo>
                    <a:pt x="35725" y="162825"/>
                  </a:lnTo>
                  <a:lnTo>
                    <a:pt x="38161" y="164949"/>
                  </a:lnTo>
                  <a:lnTo>
                    <a:pt x="40357" y="165806"/>
                  </a:lnTo>
                  <a:lnTo>
                    <a:pt x="44022" y="164475"/>
                  </a:lnTo>
                  <a:lnTo>
                    <a:pt x="47537" y="162929"/>
                  </a:lnTo>
                  <a:lnTo>
                    <a:pt x="48671" y="161946"/>
                  </a:lnTo>
                  <a:lnTo>
                    <a:pt x="49401" y="160482"/>
                  </a:lnTo>
                  <a:lnTo>
                    <a:pt x="48841" y="157977"/>
                  </a:lnTo>
                  <a:lnTo>
                    <a:pt x="48107" y="156341"/>
                  </a:lnTo>
                  <a:lnTo>
                    <a:pt x="47325" y="154258"/>
                  </a:lnTo>
                  <a:lnTo>
                    <a:pt x="46243" y="150629"/>
                  </a:lnTo>
                  <a:lnTo>
                    <a:pt x="45481" y="144924"/>
                  </a:lnTo>
                  <a:lnTo>
                    <a:pt x="44577" y="143112"/>
                  </a:lnTo>
                  <a:lnTo>
                    <a:pt x="45242" y="142903"/>
                  </a:lnTo>
                  <a:lnTo>
                    <a:pt x="47002" y="143281"/>
                  </a:lnTo>
                  <a:lnTo>
                    <a:pt x="48630" y="143442"/>
                  </a:lnTo>
                  <a:lnTo>
                    <a:pt x="50959" y="142184"/>
                  </a:lnTo>
                  <a:lnTo>
                    <a:pt x="54164" y="139813"/>
                  </a:lnTo>
                  <a:lnTo>
                    <a:pt x="60018" y="136152"/>
                  </a:lnTo>
                  <a:lnTo>
                    <a:pt x="61258" y="133732"/>
                  </a:lnTo>
                  <a:lnTo>
                    <a:pt x="62255" y="131036"/>
                  </a:lnTo>
                  <a:lnTo>
                    <a:pt x="63879" y="129381"/>
                  </a:lnTo>
                  <a:lnTo>
                    <a:pt x="67600" y="128835"/>
                  </a:lnTo>
                  <a:lnTo>
                    <a:pt x="71049" y="127969"/>
                  </a:lnTo>
                  <a:lnTo>
                    <a:pt x="73482" y="126058"/>
                  </a:lnTo>
                  <a:lnTo>
                    <a:pt x="77298" y="124377"/>
                  </a:lnTo>
                  <a:lnTo>
                    <a:pt x="80438" y="123353"/>
                  </a:lnTo>
                  <a:lnTo>
                    <a:pt x="81817" y="122413"/>
                  </a:lnTo>
                  <a:lnTo>
                    <a:pt x="82800" y="121000"/>
                  </a:lnTo>
                  <a:lnTo>
                    <a:pt x="86395" y="117010"/>
                  </a:lnTo>
                  <a:lnTo>
                    <a:pt x="89218" y="114553"/>
                  </a:lnTo>
                  <a:lnTo>
                    <a:pt x="91699" y="112022"/>
                  </a:lnTo>
                  <a:lnTo>
                    <a:pt x="92534" y="110430"/>
                  </a:lnTo>
                  <a:lnTo>
                    <a:pt x="94491" y="110725"/>
                  </a:lnTo>
                  <a:lnTo>
                    <a:pt x="97486" y="111831"/>
                  </a:lnTo>
                  <a:lnTo>
                    <a:pt x="100705" y="112838"/>
                  </a:lnTo>
                  <a:lnTo>
                    <a:pt x="103059" y="114397"/>
                  </a:lnTo>
                  <a:lnTo>
                    <a:pt x="103519" y="115994"/>
                  </a:lnTo>
                  <a:lnTo>
                    <a:pt x="103748" y="117251"/>
                  </a:lnTo>
                  <a:lnTo>
                    <a:pt x="104709" y="117900"/>
                  </a:lnTo>
                  <a:lnTo>
                    <a:pt x="105847" y="118019"/>
                  </a:lnTo>
                  <a:lnTo>
                    <a:pt x="107560" y="117703"/>
                  </a:lnTo>
                  <a:lnTo>
                    <a:pt x="110559" y="117646"/>
                  </a:lnTo>
                  <a:lnTo>
                    <a:pt x="114236" y="115580"/>
                  </a:lnTo>
                  <a:lnTo>
                    <a:pt x="119360" y="112094"/>
                  </a:lnTo>
                  <a:lnTo>
                    <a:pt x="124048" y="111014"/>
                  </a:lnTo>
                  <a:lnTo>
                    <a:pt x="126523" y="111841"/>
                  </a:lnTo>
                  <a:lnTo>
                    <a:pt x="128557" y="114404"/>
                  </a:lnTo>
                  <a:lnTo>
                    <a:pt x="130174" y="116818"/>
                  </a:lnTo>
                  <a:lnTo>
                    <a:pt x="131833" y="117715"/>
                  </a:lnTo>
                  <a:lnTo>
                    <a:pt x="132863" y="117740"/>
                  </a:lnTo>
                  <a:lnTo>
                    <a:pt x="133247" y="117776"/>
                  </a:lnTo>
                  <a:lnTo>
                    <a:pt x="135303" y="117230"/>
                  </a:lnTo>
                  <a:lnTo>
                    <a:pt x="135456" y="117237"/>
                  </a:lnTo>
                  <a:lnTo>
                    <a:pt x="137346" y="117334"/>
                  </a:lnTo>
                  <a:lnTo>
                    <a:pt x="139162" y="118146"/>
                  </a:lnTo>
                  <a:lnTo>
                    <a:pt x="142164" y="118241"/>
                  </a:lnTo>
                  <a:lnTo>
                    <a:pt x="146342" y="117617"/>
                  </a:lnTo>
                  <a:lnTo>
                    <a:pt x="146782" y="117363"/>
                  </a:lnTo>
                  <a:lnTo>
                    <a:pt x="148791" y="117693"/>
                  </a:lnTo>
                  <a:lnTo>
                    <a:pt x="151235" y="118805"/>
                  </a:lnTo>
                  <a:lnTo>
                    <a:pt x="153137" y="120125"/>
                  </a:lnTo>
                  <a:lnTo>
                    <a:pt x="156530" y="124458"/>
                  </a:lnTo>
                  <a:lnTo>
                    <a:pt x="158484" y="125574"/>
                  </a:lnTo>
                  <a:lnTo>
                    <a:pt x="162472" y="127112"/>
                  </a:lnTo>
                  <a:lnTo>
                    <a:pt x="164345" y="128458"/>
                  </a:lnTo>
                  <a:lnTo>
                    <a:pt x="166517" y="130633"/>
                  </a:lnTo>
                  <a:lnTo>
                    <a:pt x="167653" y="131950"/>
                  </a:lnTo>
                  <a:lnTo>
                    <a:pt x="170013" y="134334"/>
                  </a:lnTo>
                  <a:lnTo>
                    <a:pt x="172747" y="138233"/>
                  </a:lnTo>
                  <a:lnTo>
                    <a:pt x="173231" y="141331"/>
                  </a:lnTo>
                  <a:lnTo>
                    <a:pt x="173852" y="143952"/>
                  </a:lnTo>
                  <a:lnTo>
                    <a:pt x="174867" y="145191"/>
                  </a:lnTo>
                  <a:lnTo>
                    <a:pt x="175705" y="145347"/>
                  </a:lnTo>
                  <a:lnTo>
                    <a:pt x="176610" y="144914"/>
                  </a:lnTo>
                  <a:lnTo>
                    <a:pt x="177493" y="143725"/>
                  </a:lnTo>
                  <a:lnTo>
                    <a:pt x="177800" y="141731"/>
                  </a:lnTo>
                  <a:lnTo>
                    <a:pt x="177532" y="138212"/>
                  </a:lnTo>
                  <a:lnTo>
                    <a:pt x="176832" y="135331"/>
                  </a:lnTo>
                  <a:lnTo>
                    <a:pt x="175934" y="134415"/>
                  </a:lnTo>
                  <a:lnTo>
                    <a:pt x="175502" y="133400"/>
                  </a:lnTo>
                  <a:lnTo>
                    <a:pt x="176096" y="132110"/>
                  </a:lnTo>
                  <a:lnTo>
                    <a:pt x="177614" y="131486"/>
                  </a:lnTo>
                  <a:lnTo>
                    <a:pt x="179506" y="131880"/>
                  </a:lnTo>
                  <a:lnTo>
                    <a:pt x="182620" y="133537"/>
                  </a:lnTo>
                  <a:lnTo>
                    <a:pt x="185867" y="135625"/>
                  </a:lnTo>
                  <a:lnTo>
                    <a:pt x="189856" y="139270"/>
                  </a:lnTo>
                  <a:lnTo>
                    <a:pt x="193524" y="141582"/>
                  </a:lnTo>
                  <a:lnTo>
                    <a:pt x="197530" y="143428"/>
                  </a:lnTo>
                  <a:lnTo>
                    <a:pt x="200713" y="143979"/>
                  </a:lnTo>
                  <a:lnTo>
                    <a:pt x="203177" y="143421"/>
                  </a:lnTo>
                  <a:lnTo>
                    <a:pt x="206086" y="141917"/>
                  </a:lnTo>
                  <a:lnTo>
                    <a:pt x="208750" y="140178"/>
                  </a:lnTo>
                  <a:lnTo>
                    <a:pt x="209962" y="138351"/>
                  </a:lnTo>
                  <a:lnTo>
                    <a:pt x="210834" y="136359"/>
                  </a:lnTo>
                  <a:lnTo>
                    <a:pt x="214851" y="133691"/>
                  </a:lnTo>
                  <a:lnTo>
                    <a:pt x="218517" y="131254"/>
                  </a:lnTo>
                  <a:lnTo>
                    <a:pt x="220186" y="131693"/>
                  </a:lnTo>
                  <a:lnTo>
                    <a:pt x="221365" y="132384"/>
                  </a:lnTo>
                  <a:lnTo>
                    <a:pt x="225127" y="130902"/>
                  </a:lnTo>
                  <a:lnTo>
                    <a:pt x="226438" y="130493"/>
                  </a:lnTo>
                  <a:lnTo>
                    <a:pt x="230023" y="129920"/>
                  </a:lnTo>
                  <a:lnTo>
                    <a:pt x="233722" y="130772"/>
                  </a:lnTo>
                  <a:lnTo>
                    <a:pt x="236673" y="133386"/>
                  </a:lnTo>
                  <a:lnTo>
                    <a:pt x="239541" y="135069"/>
                  </a:lnTo>
                  <a:lnTo>
                    <a:pt x="242098" y="134873"/>
                  </a:lnTo>
                  <a:lnTo>
                    <a:pt x="244221" y="134010"/>
                  </a:lnTo>
                  <a:lnTo>
                    <a:pt x="245617" y="132381"/>
                  </a:lnTo>
                  <a:lnTo>
                    <a:pt x="246675" y="130455"/>
                  </a:lnTo>
                  <a:lnTo>
                    <a:pt x="248092" y="129223"/>
                  </a:lnTo>
                  <a:lnTo>
                    <a:pt x="248313" y="129146"/>
                  </a:lnTo>
                  <a:lnTo>
                    <a:pt x="252873" y="129813"/>
                  </a:lnTo>
                  <a:lnTo>
                    <a:pt x="255738" y="129713"/>
                  </a:lnTo>
                  <a:lnTo>
                    <a:pt x="256043" y="129436"/>
                  </a:lnTo>
                  <a:lnTo>
                    <a:pt x="259818" y="129960"/>
                  </a:lnTo>
                  <a:lnTo>
                    <a:pt x="263981" y="132670"/>
                  </a:lnTo>
                  <a:lnTo>
                    <a:pt x="266570" y="135668"/>
                  </a:lnTo>
                  <a:lnTo>
                    <a:pt x="269876" y="139489"/>
                  </a:lnTo>
                  <a:lnTo>
                    <a:pt x="271416" y="140734"/>
                  </a:lnTo>
                  <a:lnTo>
                    <a:pt x="273653" y="141267"/>
                  </a:lnTo>
                  <a:lnTo>
                    <a:pt x="275411" y="141497"/>
                  </a:lnTo>
                  <a:lnTo>
                    <a:pt x="277767" y="142088"/>
                  </a:lnTo>
                  <a:lnTo>
                    <a:pt x="283990" y="142887"/>
                  </a:lnTo>
                  <a:lnTo>
                    <a:pt x="284936" y="143356"/>
                  </a:lnTo>
                  <a:lnTo>
                    <a:pt x="285573" y="143980"/>
                  </a:lnTo>
                  <a:lnTo>
                    <a:pt x="284996" y="146064"/>
                  </a:lnTo>
                  <a:lnTo>
                    <a:pt x="285553" y="146593"/>
                  </a:lnTo>
                  <a:lnTo>
                    <a:pt x="290598" y="145110"/>
                  </a:lnTo>
                  <a:lnTo>
                    <a:pt x="291951" y="144003"/>
                  </a:lnTo>
                  <a:lnTo>
                    <a:pt x="293619" y="140858"/>
                  </a:lnTo>
                  <a:lnTo>
                    <a:pt x="295109" y="137681"/>
                  </a:lnTo>
                  <a:lnTo>
                    <a:pt x="296216" y="136503"/>
                  </a:lnTo>
                  <a:lnTo>
                    <a:pt x="297395" y="136194"/>
                  </a:lnTo>
                  <a:lnTo>
                    <a:pt x="298578" y="136663"/>
                  </a:lnTo>
                  <a:lnTo>
                    <a:pt x="300228" y="138540"/>
                  </a:lnTo>
                  <a:lnTo>
                    <a:pt x="302470" y="140451"/>
                  </a:lnTo>
                  <a:lnTo>
                    <a:pt x="305493" y="141179"/>
                  </a:lnTo>
                  <a:lnTo>
                    <a:pt x="307343" y="141469"/>
                  </a:lnTo>
                  <a:lnTo>
                    <a:pt x="310207" y="141628"/>
                  </a:lnTo>
                  <a:lnTo>
                    <a:pt x="316936" y="140703"/>
                  </a:lnTo>
                  <a:lnTo>
                    <a:pt x="323228" y="138394"/>
                  </a:lnTo>
                  <a:lnTo>
                    <a:pt x="326823" y="135880"/>
                  </a:lnTo>
                  <a:lnTo>
                    <a:pt x="328494" y="132110"/>
                  </a:lnTo>
                  <a:lnTo>
                    <a:pt x="329538" y="127819"/>
                  </a:lnTo>
                  <a:lnTo>
                    <a:pt x="331149" y="125106"/>
                  </a:lnTo>
                  <a:lnTo>
                    <a:pt x="330477" y="122324"/>
                  </a:lnTo>
                  <a:lnTo>
                    <a:pt x="327307" y="119679"/>
                  </a:lnTo>
                  <a:lnTo>
                    <a:pt x="326240" y="118882"/>
                  </a:lnTo>
                  <a:lnTo>
                    <a:pt x="318540" y="117399"/>
                  </a:lnTo>
                  <a:lnTo>
                    <a:pt x="318065" y="116331"/>
                  </a:lnTo>
                  <a:lnTo>
                    <a:pt x="317627" y="116086"/>
                  </a:lnTo>
                  <a:lnTo>
                    <a:pt x="310039" y="113736"/>
                  </a:lnTo>
                  <a:lnTo>
                    <a:pt x="306376" y="112728"/>
                  </a:lnTo>
                  <a:lnTo>
                    <a:pt x="305351" y="111175"/>
                  </a:lnTo>
                  <a:lnTo>
                    <a:pt x="304668" y="109139"/>
                  </a:lnTo>
                  <a:lnTo>
                    <a:pt x="302299" y="107321"/>
                  </a:lnTo>
                  <a:lnTo>
                    <a:pt x="297592" y="105668"/>
                  </a:lnTo>
                  <a:lnTo>
                    <a:pt x="296769" y="104409"/>
                  </a:lnTo>
                  <a:lnTo>
                    <a:pt x="297549" y="103132"/>
                  </a:lnTo>
                  <a:lnTo>
                    <a:pt x="301267" y="101711"/>
                  </a:lnTo>
                  <a:lnTo>
                    <a:pt x="305508" y="98719"/>
                  </a:lnTo>
                  <a:lnTo>
                    <a:pt x="307140" y="98105"/>
                  </a:lnTo>
                  <a:lnTo>
                    <a:pt x="310922" y="97972"/>
                  </a:lnTo>
                  <a:lnTo>
                    <a:pt x="314418" y="95524"/>
                  </a:lnTo>
                  <a:lnTo>
                    <a:pt x="316832" y="94125"/>
                  </a:lnTo>
                  <a:lnTo>
                    <a:pt x="318091" y="92454"/>
                  </a:lnTo>
                  <a:lnTo>
                    <a:pt x="317758" y="90734"/>
                  </a:lnTo>
                  <a:lnTo>
                    <a:pt x="314260" y="85526"/>
                  </a:lnTo>
                  <a:lnTo>
                    <a:pt x="313224" y="82369"/>
                  </a:lnTo>
                  <a:lnTo>
                    <a:pt x="313841" y="80312"/>
                  </a:lnTo>
                  <a:lnTo>
                    <a:pt x="315851" y="78081"/>
                  </a:lnTo>
                  <a:lnTo>
                    <a:pt x="316989" y="76864"/>
                  </a:lnTo>
                  <a:lnTo>
                    <a:pt x="318356" y="74675"/>
                  </a:lnTo>
                  <a:lnTo>
                    <a:pt x="319261" y="73505"/>
                  </a:lnTo>
                  <a:lnTo>
                    <a:pt x="322787" y="73008"/>
                  </a:lnTo>
                  <a:lnTo>
                    <a:pt x="327074" y="72800"/>
                  </a:lnTo>
                  <a:lnTo>
                    <a:pt x="330011" y="73324"/>
                  </a:lnTo>
                  <a:lnTo>
                    <a:pt x="334118" y="73597"/>
                  </a:lnTo>
                  <a:lnTo>
                    <a:pt x="337860" y="74000"/>
                  </a:lnTo>
                  <a:lnTo>
                    <a:pt x="339754" y="74364"/>
                  </a:lnTo>
                  <a:lnTo>
                    <a:pt x="341144" y="73695"/>
                  </a:lnTo>
                  <a:lnTo>
                    <a:pt x="342153" y="72518"/>
                  </a:lnTo>
                  <a:lnTo>
                    <a:pt x="342116" y="70960"/>
                  </a:lnTo>
                  <a:lnTo>
                    <a:pt x="340648" y="69448"/>
                  </a:lnTo>
                  <a:lnTo>
                    <a:pt x="335154" y="67466"/>
                  </a:lnTo>
                  <a:lnTo>
                    <a:pt x="332803" y="65829"/>
                  </a:lnTo>
                  <a:lnTo>
                    <a:pt x="330952" y="66010"/>
                  </a:lnTo>
                  <a:lnTo>
                    <a:pt x="327870" y="65501"/>
                  </a:lnTo>
                  <a:lnTo>
                    <a:pt x="325087" y="64425"/>
                  </a:lnTo>
                  <a:lnTo>
                    <a:pt x="322617" y="64066"/>
                  </a:lnTo>
                  <a:lnTo>
                    <a:pt x="321812" y="62575"/>
                  </a:lnTo>
                  <a:lnTo>
                    <a:pt x="322323" y="60486"/>
                  </a:lnTo>
                  <a:lnTo>
                    <a:pt x="323273" y="59290"/>
                  </a:lnTo>
                  <a:lnTo>
                    <a:pt x="325102" y="58693"/>
                  </a:lnTo>
                  <a:lnTo>
                    <a:pt x="327078" y="58992"/>
                  </a:lnTo>
                  <a:lnTo>
                    <a:pt x="329236" y="58122"/>
                  </a:lnTo>
                  <a:lnTo>
                    <a:pt x="329855" y="57613"/>
                  </a:lnTo>
                  <a:lnTo>
                    <a:pt x="330041" y="56958"/>
                  </a:lnTo>
                  <a:lnTo>
                    <a:pt x="329691" y="56018"/>
                  </a:lnTo>
                  <a:lnTo>
                    <a:pt x="328696" y="55240"/>
                  </a:lnTo>
                  <a:lnTo>
                    <a:pt x="327277" y="55035"/>
                  </a:lnTo>
                  <a:lnTo>
                    <a:pt x="325644" y="55695"/>
                  </a:lnTo>
                  <a:lnTo>
                    <a:pt x="323694" y="56124"/>
                  </a:lnTo>
                  <a:lnTo>
                    <a:pt x="320391" y="55155"/>
                  </a:lnTo>
                  <a:lnTo>
                    <a:pt x="317758" y="53989"/>
                  </a:lnTo>
                  <a:lnTo>
                    <a:pt x="317892" y="52912"/>
                  </a:lnTo>
                  <a:lnTo>
                    <a:pt x="319838" y="51310"/>
                  </a:lnTo>
                  <a:lnTo>
                    <a:pt x="320714" y="50009"/>
                  </a:lnTo>
                  <a:lnTo>
                    <a:pt x="320714" y="48209"/>
                  </a:lnTo>
                  <a:lnTo>
                    <a:pt x="320714" y="46106"/>
                  </a:lnTo>
                  <a:lnTo>
                    <a:pt x="321390" y="43640"/>
                  </a:lnTo>
                  <a:lnTo>
                    <a:pt x="323321" y="41952"/>
                  </a:lnTo>
                  <a:lnTo>
                    <a:pt x="325590" y="41048"/>
                  </a:lnTo>
                  <a:lnTo>
                    <a:pt x="331438" y="42697"/>
                  </a:lnTo>
                  <a:lnTo>
                    <a:pt x="338747" y="44166"/>
                  </a:lnTo>
                  <a:lnTo>
                    <a:pt x="340007" y="43926"/>
                  </a:lnTo>
                  <a:lnTo>
                    <a:pt x="340376" y="43152"/>
                  </a:lnTo>
                  <a:lnTo>
                    <a:pt x="341213" y="42463"/>
                  </a:lnTo>
                  <a:lnTo>
                    <a:pt x="351358" y="42143"/>
                  </a:lnTo>
                  <a:lnTo>
                    <a:pt x="353332" y="41195"/>
                  </a:lnTo>
                  <a:lnTo>
                    <a:pt x="354315" y="40441"/>
                  </a:lnTo>
                  <a:lnTo>
                    <a:pt x="364071" y="39349"/>
                  </a:lnTo>
                  <a:lnTo>
                    <a:pt x="365234" y="38315"/>
                  </a:lnTo>
                  <a:lnTo>
                    <a:pt x="366666" y="37349"/>
                  </a:lnTo>
                  <a:lnTo>
                    <a:pt x="368908" y="37367"/>
                  </a:lnTo>
                  <a:lnTo>
                    <a:pt x="371583" y="36979"/>
                  </a:lnTo>
                  <a:lnTo>
                    <a:pt x="375306" y="35802"/>
                  </a:lnTo>
                  <a:lnTo>
                    <a:pt x="377945" y="35154"/>
                  </a:lnTo>
                  <a:lnTo>
                    <a:pt x="378383" y="35099"/>
                  </a:lnTo>
                  <a:lnTo>
                    <a:pt x="381166" y="35359"/>
                  </a:lnTo>
                  <a:lnTo>
                    <a:pt x="384634" y="34427"/>
                  </a:lnTo>
                  <a:lnTo>
                    <a:pt x="385375" y="34042"/>
                  </a:lnTo>
                  <a:lnTo>
                    <a:pt x="385939" y="33336"/>
                  </a:lnTo>
                  <a:lnTo>
                    <a:pt x="388957" y="31981"/>
                  </a:lnTo>
                  <a:lnTo>
                    <a:pt x="394747" y="30860"/>
                  </a:lnTo>
                  <a:lnTo>
                    <a:pt x="396159" y="31531"/>
                  </a:lnTo>
                  <a:lnTo>
                    <a:pt x="398919" y="31834"/>
                  </a:lnTo>
                  <a:lnTo>
                    <a:pt x="402443" y="31337"/>
                  </a:lnTo>
                  <a:lnTo>
                    <a:pt x="405041" y="30481"/>
                  </a:lnTo>
                  <a:lnTo>
                    <a:pt x="406559" y="31330"/>
                  </a:lnTo>
                  <a:lnTo>
                    <a:pt x="408614" y="32201"/>
                  </a:lnTo>
                  <a:lnTo>
                    <a:pt x="410150" y="31463"/>
                  </a:lnTo>
                  <a:lnTo>
                    <a:pt x="410910" y="29124"/>
                  </a:lnTo>
                  <a:lnTo>
                    <a:pt x="411910" y="26836"/>
                  </a:lnTo>
                  <a:lnTo>
                    <a:pt x="413646" y="25751"/>
                  </a:lnTo>
                  <a:lnTo>
                    <a:pt x="415021" y="25357"/>
                  </a:lnTo>
                  <a:lnTo>
                    <a:pt x="416265" y="24475"/>
                  </a:lnTo>
                  <a:lnTo>
                    <a:pt x="417207" y="23559"/>
                  </a:lnTo>
                  <a:lnTo>
                    <a:pt x="422311" y="23699"/>
                  </a:lnTo>
                  <a:lnTo>
                    <a:pt x="426876" y="21416"/>
                  </a:lnTo>
                  <a:lnTo>
                    <a:pt x="427770" y="22450"/>
                  </a:lnTo>
                  <a:lnTo>
                    <a:pt x="433696" y="22210"/>
                  </a:lnTo>
                  <a:lnTo>
                    <a:pt x="441053" y="20739"/>
                  </a:lnTo>
                  <a:lnTo>
                    <a:pt x="445456" y="20051"/>
                  </a:lnTo>
                  <a:lnTo>
                    <a:pt x="453059" y="18510"/>
                  </a:lnTo>
                  <a:lnTo>
                    <a:pt x="456574" y="17264"/>
                  </a:lnTo>
                  <a:lnTo>
                    <a:pt x="461601" y="16477"/>
                  </a:lnTo>
                  <a:lnTo>
                    <a:pt x="466216" y="15927"/>
                  </a:lnTo>
                  <a:lnTo>
                    <a:pt x="469235" y="13742"/>
                  </a:lnTo>
                  <a:lnTo>
                    <a:pt x="471668" y="13430"/>
                  </a:lnTo>
                  <a:lnTo>
                    <a:pt x="474629" y="13250"/>
                  </a:lnTo>
                  <a:lnTo>
                    <a:pt x="476443" y="12724"/>
                  </a:lnTo>
                  <a:lnTo>
                    <a:pt x="477626" y="11915"/>
                  </a:lnTo>
                  <a:lnTo>
                    <a:pt x="478393" y="10396"/>
                  </a:lnTo>
                  <a:lnTo>
                    <a:pt x="477978" y="8463"/>
                  </a:lnTo>
                  <a:lnTo>
                    <a:pt x="477557" y="7055"/>
                  </a:lnTo>
                  <a:lnTo>
                    <a:pt x="479673" y="6267"/>
                  </a:lnTo>
                  <a:lnTo>
                    <a:pt x="482692" y="6023"/>
                  </a:lnTo>
                  <a:lnTo>
                    <a:pt x="484601" y="5703"/>
                  </a:lnTo>
                  <a:lnTo>
                    <a:pt x="488760" y="2505"/>
                  </a:lnTo>
                  <a:lnTo>
                    <a:pt x="491636" y="966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82" name="ee4p_KG_1_37365">
              <a:extLst>
                <a:ext uri="{FF2B5EF4-FFF2-40B4-BE49-F238E27FC236}">
                  <a16:creationId xmlns:a16="http://schemas.microsoft.com/office/drawing/2014/main" id="{07E79286-4170-23B7-FF75-C15E241C9297}"/>
                </a:ext>
              </a:extLst>
            </p:cNvPr>
            <p:cNvSpPr>
              <a:spLocks noChangeAspect="1"/>
            </p:cNvSpPr>
            <p:nvPr>
              <p:custDataLst>
                <p:tags r:id="rId236"/>
              </p:custDataLst>
            </p:nvPr>
          </p:nvSpPr>
          <p:spPr>
            <a:xfrm>
              <a:off x="8437149" y="3359750"/>
              <a:ext cx="305937" cy="137170"/>
            </a:xfrm>
            <a:custGeom>
              <a:avLst/>
              <a:gdLst>
                <a:gd name="connsiteX0" fmla="*/ 27722 w 243611"/>
                <a:gd name="connsiteY0" fmla="*/ 88793 h 106330"/>
                <a:gd name="connsiteX1" fmla="*/ 27864 w 243611"/>
                <a:gd name="connsiteY1" fmla="*/ 89306 h 106330"/>
                <a:gd name="connsiteX2" fmla="*/ 28514 w 243611"/>
                <a:gd name="connsiteY2" fmla="*/ 90214 h 106330"/>
                <a:gd name="connsiteX3" fmla="*/ 29419 w 243611"/>
                <a:gd name="connsiteY3" fmla="*/ 91184 h 106330"/>
                <a:gd name="connsiteX4" fmla="*/ 30581 w 243611"/>
                <a:gd name="connsiteY4" fmla="*/ 91292 h 106330"/>
                <a:gd name="connsiteX5" fmla="*/ 32561 w 243611"/>
                <a:gd name="connsiteY5" fmla="*/ 90289 h 106330"/>
                <a:gd name="connsiteX6" fmla="*/ 32485 w 243611"/>
                <a:gd name="connsiteY6" fmla="*/ 89753 h 106330"/>
                <a:gd name="connsiteX7" fmla="*/ 31732 w 243611"/>
                <a:gd name="connsiteY7" fmla="*/ 89503 h 106330"/>
                <a:gd name="connsiteX8" fmla="*/ 29585 w 243611"/>
                <a:gd name="connsiteY8" fmla="*/ 89213 h 106330"/>
                <a:gd name="connsiteX9" fmla="*/ 28052 w 243611"/>
                <a:gd name="connsiteY9" fmla="*/ 88801 h 106330"/>
                <a:gd name="connsiteX10" fmla="*/ 56625 w 243611"/>
                <a:gd name="connsiteY10" fmla="*/ 85859 h 106330"/>
                <a:gd name="connsiteX11" fmla="*/ 56081 w 243611"/>
                <a:gd name="connsiteY11" fmla="*/ 85913 h 106330"/>
                <a:gd name="connsiteX12" fmla="*/ 55444 w 243611"/>
                <a:gd name="connsiteY12" fmla="*/ 86233 h 106330"/>
                <a:gd name="connsiteX13" fmla="*/ 54222 w 243611"/>
                <a:gd name="connsiteY13" fmla="*/ 86554 h 106330"/>
                <a:gd name="connsiteX14" fmla="*/ 53950 w 243611"/>
                <a:gd name="connsiteY14" fmla="*/ 87142 h 106330"/>
                <a:gd name="connsiteX15" fmla="*/ 54766 w 243611"/>
                <a:gd name="connsiteY15" fmla="*/ 87889 h 106330"/>
                <a:gd name="connsiteX16" fmla="*/ 55807 w 243611"/>
                <a:gd name="connsiteY16" fmla="*/ 88157 h 106330"/>
                <a:gd name="connsiteX17" fmla="*/ 56398 w 243611"/>
                <a:gd name="connsiteY17" fmla="*/ 87034 h 106330"/>
                <a:gd name="connsiteX18" fmla="*/ 39279 w 243611"/>
                <a:gd name="connsiteY18" fmla="*/ 81763 h 106330"/>
                <a:gd name="connsiteX19" fmla="*/ 38633 w 243611"/>
                <a:gd name="connsiteY19" fmla="*/ 82260 h 106330"/>
                <a:gd name="connsiteX20" fmla="*/ 38288 w 243611"/>
                <a:gd name="connsiteY20" fmla="*/ 83442 h 106330"/>
                <a:gd name="connsiteX21" fmla="*/ 38592 w 243611"/>
                <a:gd name="connsiteY21" fmla="*/ 84723 h 106330"/>
                <a:gd name="connsiteX22" fmla="*/ 39477 w 243611"/>
                <a:gd name="connsiteY22" fmla="*/ 85587 h 106330"/>
                <a:gd name="connsiteX23" fmla="*/ 40065 w 243611"/>
                <a:gd name="connsiteY23" fmla="*/ 85869 h 106330"/>
                <a:gd name="connsiteX24" fmla="*/ 40149 w 243611"/>
                <a:gd name="connsiteY24" fmla="*/ 85932 h 106330"/>
                <a:gd name="connsiteX25" fmla="*/ 40123 w 243611"/>
                <a:gd name="connsiteY25" fmla="*/ 86354 h 106330"/>
                <a:gd name="connsiteX26" fmla="*/ 39417 w 243611"/>
                <a:gd name="connsiteY26" fmla="*/ 88470 h 106330"/>
                <a:gd name="connsiteX27" fmla="*/ 40579 w 243611"/>
                <a:gd name="connsiteY27" fmla="*/ 88736 h 106330"/>
                <a:gd name="connsiteX28" fmla="*/ 42613 w 243611"/>
                <a:gd name="connsiteY28" fmla="*/ 88774 h 106330"/>
                <a:gd name="connsiteX29" fmla="*/ 43716 w 243611"/>
                <a:gd name="connsiteY29" fmla="*/ 88536 h 106330"/>
                <a:gd name="connsiteX30" fmla="*/ 43926 w 243611"/>
                <a:gd name="connsiteY30" fmla="*/ 88166 h 106330"/>
                <a:gd name="connsiteX31" fmla="*/ 43123 w 243611"/>
                <a:gd name="connsiteY31" fmla="*/ 86263 h 106330"/>
                <a:gd name="connsiteX32" fmla="*/ 44215 w 243611"/>
                <a:gd name="connsiteY32" fmla="*/ 84481 h 106330"/>
                <a:gd name="connsiteX33" fmla="*/ 42039 w 243611"/>
                <a:gd name="connsiteY33" fmla="*/ 84180 h 106330"/>
                <a:gd name="connsiteX34" fmla="*/ 40935 w 243611"/>
                <a:gd name="connsiteY34" fmla="*/ 83653 h 106330"/>
                <a:gd name="connsiteX35" fmla="*/ 39691 w 243611"/>
                <a:gd name="connsiteY35" fmla="*/ 81845 h 106330"/>
                <a:gd name="connsiteX36" fmla="*/ 110117 w 243611"/>
                <a:gd name="connsiteY36" fmla="*/ 0 h 106330"/>
                <a:gd name="connsiteX37" fmla="*/ 113540 w 243611"/>
                <a:gd name="connsiteY37" fmla="*/ 1636 h 106330"/>
                <a:gd name="connsiteX38" fmla="*/ 119254 w 243611"/>
                <a:gd name="connsiteY38" fmla="*/ 4942 h 106330"/>
                <a:gd name="connsiteX39" fmla="*/ 123572 w 243611"/>
                <a:gd name="connsiteY39" fmla="*/ 7034 h 106330"/>
                <a:gd name="connsiteX40" fmla="*/ 128660 w 243611"/>
                <a:gd name="connsiteY40" fmla="*/ 9010 h 106330"/>
                <a:gd name="connsiteX41" fmla="*/ 135704 w 243611"/>
                <a:gd name="connsiteY41" fmla="*/ 10815 h 106330"/>
                <a:gd name="connsiteX42" fmla="*/ 141662 w 243611"/>
                <a:gd name="connsiteY42" fmla="*/ 11413 h 106330"/>
                <a:gd name="connsiteX43" fmla="*/ 142681 w 243611"/>
                <a:gd name="connsiteY43" fmla="*/ 10988 h 106330"/>
                <a:gd name="connsiteX44" fmla="*/ 145065 w 243611"/>
                <a:gd name="connsiteY44" fmla="*/ 8246 h 106330"/>
                <a:gd name="connsiteX45" fmla="*/ 146188 w 243611"/>
                <a:gd name="connsiteY45" fmla="*/ 8123 h 106330"/>
                <a:gd name="connsiteX46" fmla="*/ 148220 w 243611"/>
                <a:gd name="connsiteY46" fmla="*/ 8364 h 106330"/>
                <a:gd name="connsiteX47" fmla="*/ 154543 w 243611"/>
                <a:gd name="connsiteY47" fmla="*/ 8492 h 106330"/>
                <a:gd name="connsiteX48" fmla="*/ 160977 w 243611"/>
                <a:gd name="connsiteY48" fmla="*/ 8622 h 106330"/>
                <a:gd name="connsiteX49" fmla="*/ 164013 w 243611"/>
                <a:gd name="connsiteY49" fmla="*/ 8356 h 106330"/>
                <a:gd name="connsiteX50" fmla="*/ 170593 w 243611"/>
                <a:gd name="connsiteY50" fmla="*/ 7213 h 106330"/>
                <a:gd name="connsiteX51" fmla="*/ 171567 w 243611"/>
                <a:gd name="connsiteY51" fmla="*/ 7157 h 106330"/>
                <a:gd name="connsiteX52" fmla="*/ 173098 w 243611"/>
                <a:gd name="connsiteY52" fmla="*/ 7235 h 106330"/>
                <a:gd name="connsiteX53" fmla="*/ 177039 w 243611"/>
                <a:gd name="connsiteY53" fmla="*/ 8789 h 106330"/>
                <a:gd name="connsiteX54" fmla="*/ 179980 w 243611"/>
                <a:gd name="connsiteY54" fmla="*/ 9009 h 106330"/>
                <a:gd name="connsiteX55" fmla="*/ 181986 w 243611"/>
                <a:gd name="connsiteY55" fmla="*/ 9001 h 106330"/>
                <a:gd name="connsiteX56" fmla="*/ 183156 w 243611"/>
                <a:gd name="connsiteY56" fmla="*/ 9126 h 106330"/>
                <a:gd name="connsiteX57" fmla="*/ 185594 w 243611"/>
                <a:gd name="connsiteY57" fmla="*/ 9067 h 106330"/>
                <a:gd name="connsiteX58" fmla="*/ 189557 w 243611"/>
                <a:gd name="connsiteY58" fmla="*/ 9256 h 106330"/>
                <a:gd name="connsiteX59" fmla="*/ 194455 w 243611"/>
                <a:gd name="connsiteY59" fmla="*/ 10264 h 106330"/>
                <a:gd name="connsiteX60" fmla="*/ 200356 w 243611"/>
                <a:gd name="connsiteY60" fmla="*/ 10082 h 106330"/>
                <a:gd name="connsiteX61" fmla="*/ 202256 w 243611"/>
                <a:gd name="connsiteY61" fmla="*/ 9891 h 106330"/>
                <a:gd name="connsiteX62" fmla="*/ 205534 w 243611"/>
                <a:gd name="connsiteY62" fmla="*/ 10074 h 106330"/>
                <a:gd name="connsiteX63" fmla="*/ 208145 w 243611"/>
                <a:gd name="connsiteY63" fmla="*/ 11035 h 106330"/>
                <a:gd name="connsiteX64" fmla="*/ 211445 w 243611"/>
                <a:gd name="connsiteY64" fmla="*/ 12049 h 106330"/>
                <a:gd name="connsiteX65" fmla="*/ 213515 w 243611"/>
                <a:gd name="connsiteY65" fmla="*/ 12475 h 106330"/>
                <a:gd name="connsiteX66" fmla="*/ 214904 w 243611"/>
                <a:gd name="connsiteY66" fmla="*/ 12694 h 106330"/>
                <a:gd name="connsiteX67" fmla="*/ 217378 w 243611"/>
                <a:gd name="connsiteY67" fmla="*/ 12771 h 106330"/>
                <a:gd name="connsiteX68" fmla="*/ 218855 w 243611"/>
                <a:gd name="connsiteY68" fmla="*/ 12452 h 106330"/>
                <a:gd name="connsiteX69" fmla="*/ 219700 w 243611"/>
                <a:gd name="connsiteY69" fmla="*/ 12899 h 106330"/>
                <a:gd name="connsiteX70" fmla="*/ 220544 w 243611"/>
                <a:gd name="connsiteY70" fmla="*/ 15385 h 106330"/>
                <a:gd name="connsiteX71" fmla="*/ 222589 w 243611"/>
                <a:gd name="connsiteY71" fmla="*/ 17019 h 106330"/>
                <a:gd name="connsiteX72" fmla="*/ 224187 w 243611"/>
                <a:gd name="connsiteY72" fmla="*/ 18557 h 106330"/>
                <a:gd name="connsiteX73" fmla="*/ 225524 w 243611"/>
                <a:gd name="connsiteY73" fmla="*/ 20256 h 106330"/>
                <a:gd name="connsiteX74" fmla="*/ 226893 w 243611"/>
                <a:gd name="connsiteY74" fmla="*/ 20948 h 106330"/>
                <a:gd name="connsiteX75" fmla="*/ 229287 w 243611"/>
                <a:gd name="connsiteY75" fmla="*/ 20973 h 106330"/>
                <a:gd name="connsiteX76" fmla="*/ 233820 w 243611"/>
                <a:gd name="connsiteY76" fmla="*/ 21457 h 106330"/>
                <a:gd name="connsiteX77" fmla="*/ 236422 w 243611"/>
                <a:gd name="connsiteY77" fmla="*/ 22132 h 106330"/>
                <a:gd name="connsiteX78" fmla="*/ 239743 w 243611"/>
                <a:gd name="connsiteY78" fmla="*/ 25067 h 106330"/>
                <a:gd name="connsiteX79" fmla="*/ 242797 w 243611"/>
                <a:gd name="connsiteY79" fmla="*/ 28072 h 106330"/>
                <a:gd name="connsiteX80" fmla="*/ 243235 w 243611"/>
                <a:gd name="connsiteY80" fmla="*/ 29673 h 106330"/>
                <a:gd name="connsiteX81" fmla="*/ 243611 w 243611"/>
                <a:gd name="connsiteY81" fmla="*/ 31533 h 106330"/>
                <a:gd name="connsiteX82" fmla="*/ 243367 w 243611"/>
                <a:gd name="connsiteY82" fmla="*/ 31967 h 106330"/>
                <a:gd name="connsiteX83" fmla="*/ 242948 w 243611"/>
                <a:gd name="connsiteY83" fmla="*/ 32260 h 106330"/>
                <a:gd name="connsiteX84" fmla="*/ 236169 w 243611"/>
                <a:gd name="connsiteY84" fmla="*/ 32723 h 106330"/>
                <a:gd name="connsiteX85" fmla="*/ 234638 w 243611"/>
                <a:gd name="connsiteY85" fmla="*/ 33234 h 106330"/>
                <a:gd name="connsiteX86" fmla="*/ 232995 w 243611"/>
                <a:gd name="connsiteY86" fmla="*/ 35805 h 106330"/>
                <a:gd name="connsiteX87" fmla="*/ 227197 w 243611"/>
                <a:gd name="connsiteY87" fmla="*/ 37869 h 106330"/>
                <a:gd name="connsiteX88" fmla="*/ 223891 w 243611"/>
                <a:gd name="connsiteY88" fmla="*/ 38928 h 106330"/>
                <a:gd name="connsiteX89" fmla="*/ 222546 w 243611"/>
                <a:gd name="connsiteY89" fmla="*/ 38881 h 106330"/>
                <a:gd name="connsiteX90" fmla="*/ 219337 w 243611"/>
                <a:gd name="connsiteY90" fmla="*/ 40568 h 106330"/>
                <a:gd name="connsiteX91" fmla="*/ 210362 w 243611"/>
                <a:gd name="connsiteY91" fmla="*/ 44777 h 106330"/>
                <a:gd name="connsiteX92" fmla="*/ 205953 w 243611"/>
                <a:gd name="connsiteY92" fmla="*/ 47433 h 106330"/>
                <a:gd name="connsiteX93" fmla="*/ 203735 w 243611"/>
                <a:gd name="connsiteY93" fmla="*/ 48543 h 106330"/>
                <a:gd name="connsiteX94" fmla="*/ 201956 w 243611"/>
                <a:gd name="connsiteY94" fmla="*/ 49755 h 106330"/>
                <a:gd name="connsiteX95" fmla="*/ 201656 w 243611"/>
                <a:gd name="connsiteY95" fmla="*/ 50980 h 106330"/>
                <a:gd name="connsiteX96" fmla="*/ 201600 w 243611"/>
                <a:gd name="connsiteY96" fmla="*/ 52134 h 106330"/>
                <a:gd name="connsiteX97" fmla="*/ 196672 w 243611"/>
                <a:gd name="connsiteY97" fmla="*/ 57557 h 106330"/>
                <a:gd name="connsiteX98" fmla="*/ 192979 w 243611"/>
                <a:gd name="connsiteY98" fmla="*/ 58214 h 106330"/>
                <a:gd name="connsiteX99" fmla="*/ 189857 w 243611"/>
                <a:gd name="connsiteY99" fmla="*/ 58084 h 106330"/>
                <a:gd name="connsiteX100" fmla="*/ 187737 w 243611"/>
                <a:gd name="connsiteY100" fmla="*/ 58908 h 106330"/>
                <a:gd name="connsiteX101" fmla="*/ 184694 w 243611"/>
                <a:gd name="connsiteY101" fmla="*/ 59737 h 106330"/>
                <a:gd name="connsiteX102" fmla="*/ 178110 w 243611"/>
                <a:gd name="connsiteY102" fmla="*/ 59170 h 106330"/>
                <a:gd name="connsiteX103" fmla="*/ 175856 w 243611"/>
                <a:gd name="connsiteY103" fmla="*/ 59265 h 106330"/>
                <a:gd name="connsiteX104" fmla="*/ 171535 w 243611"/>
                <a:gd name="connsiteY104" fmla="*/ 58517 h 106330"/>
                <a:gd name="connsiteX105" fmla="*/ 169790 w 243611"/>
                <a:gd name="connsiteY105" fmla="*/ 58911 h 106330"/>
                <a:gd name="connsiteX106" fmla="*/ 167939 w 243611"/>
                <a:gd name="connsiteY106" fmla="*/ 60013 h 106330"/>
                <a:gd name="connsiteX107" fmla="*/ 165383 w 243611"/>
                <a:gd name="connsiteY107" fmla="*/ 64328 h 106330"/>
                <a:gd name="connsiteX108" fmla="*/ 164337 w 243611"/>
                <a:gd name="connsiteY108" fmla="*/ 65339 h 106330"/>
                <a:gd name="connsiteX109" fmla="*/ 163867 w 243611"/>
                <a:gd name="connsiteY109" fmla="*/ 66320 h 106330"/>
                <a:gd name="connsiteX110" fmla="*/ 163476 w 243611"/>
                <a:gd name="connsiteY110" fmla="*/ 68416 h 106330"/>
                <a:gd name="connsiteX111" fmla="*/ 162498 w 243611"/>
                <a:gd name="connsiteY111" fmla="*/ 70631 h 106330"/>
                <a:gd name="connsiteX112" fmla="*/ 161236 w 243611"/>
                <a:gd name="connsiteY112" fmla="*/ 72377 h 106330"/>
                <a:gd name="connsiteX113" fmla="*/ 160336 w 243611"/>
                <a:gd name="connsiteY113" fmla="*/ 73993 h 106330"/>
                <a:gd name="connsiteX114" fmla="*/ 158483 w 243611"/>
                <a:gd name="connsiteY114" fmla="*/ 75556 h 106330"/>
                <a:gd name="connsiteX115" fmla="*/ 156763 w 243611"/>
                <a:gd name="connsiteY115" fmla="*/ 76538 h 106330"/>
                <a:gd name="connsiteX116" fmla="*/ 155430 w 243611"/>
                <a:gd name="connsiteY116" fmla="*/ 74484 h 106330"/>
                <a:gd name="connsiteX117" fmla="*/ 154275 w 243611"/>
                <a:gd name="connsiteY117" fmla="*/ 75069 h 106330"/>
                <a:gd name="connsiteX118" fmla="*/ 153182 w 243611"/>
                <a:gd name="connsiteY118" fmla="*/ 75905 h 106330"/>
                <a:gd name="connsiteX119" fmla="*/ 151096 w 243611"/>
                <a:gd name="connsiteY119" fmla="*/ 75615 h 106330"/>
                <a:gd name="connsiteX120" fmla="*/ 149813 w 243611"/>
                <a:gd name="connsiteY120" fmla="*/ 76036 h 106330"/>
                <a:gd name="connsiteX121" fmla="*/ 146887 w 243611"/>
                <a:gd name="connsiteY121" fmla="*/ 77820 h 106330"/>
                <a:gd name="connsiteX122" fmla="*/ 142579 w 243611"/>
                <a:gd name="connsiteY122" fmla="*/ 77753 h 106330"/>
                <a:gd name="connsiteX123" fmla="*/ 142111 w 243611"/>
                <a:gd name="connsiteY123" fmla="*/ 77140 h 106330"/>
                <a:gd name="connsiteX124" fmla="*/ 141258 w 243611"/>
                <a:gd name="connsiteY124" fmla="*/ 72236 h 106330"/>
                <a:gd name="connsiteX125" fmla="*/ 140509 w 243611"/>
                <a:gd name="connsiteY125" fmla="*/ 69912 h 106330"/>
                <a:gd name="connsiteX126" fmla="*/ 139891 w 243611"/>
                <a:gd name="connsiteY126" fmla="*/ 69391 h 106330"/>
                <a:gd name="connsiteX127" fmla="*/ 139122 w 243611"/>
                <a:gd name="connsiteY127" fmla="*/ 69329 h 106330"/>
                <a:gd name="connsiteX128" fmla="*/ 132936 w 243611"/>
                <a:gd name="connsiteY128" fmla="*/ 73188 h 106330"/>
                <a:gd name="connsiteX129" fmla="*/ 130068 w 243611"/>
                <a:gd name="connsiteY129" fmla="*/ 73873 h 106330"/>
                <a:gd name="connsiteX130" fmla="*/ 127705 w 243611"/>
                <a:gd name="connsiteY130" fmla="*/ 73993 h 106330"/>
                <a:gd name="connsiteX131" fmla="*/ 124635 w 243611"/>
                <a:gd name="connsiteY131" fmla="*/ 72841 h 106330"/>
                <a:gd name="connsiteX132" fmla="*/ 123961 w 243611"/>
                <a:gd name="connsiteY132" fmla="*/ 73127 h 106330"/>
                <a:gd name="connsiteX133" fmla="*/ 123430 w 243611"/>
                <a:gd name="connsiteY133" fmla="*/ 73750 h 106330"/>
                <a:gd name="connsiteX134" fmla="*/ 123212 w 243611"/>
                <a:gd name="connsiteY134" fmla="*/ 74543 h 106330"/>
                <a:gd name="connsiteX135" fmla="*/ 124108 w 243611"/>
                <a:gd name="connsiteY135" fmla="*/ 76728 h 106330"/>
                <a:gd name="connsiteX136" fmla="*/ 123858 w 243611"/>
                <a:gd name="connsiteY136" fmla="*/ 77159 h 106330"/>
                <a:gd name="connsiteX137" fmla="*/ 122471 w 243611"/>
                <a:gd name="connsiteY137" fmla="*/ 77123 h 106330"/>
                <a:gd name="connsiteX138" fmla="*/ 120528 w 243611"/>
                <a:gd name="connsiteY138" fmla="*/ 77627 h 106330"/>
                <a:gd name="connsiteX139" fmla="*/ 119051 w 243611"/>
                <a:gd name="connsiteY139" fmla="*/ 78632 h 106330"/>
                <a:gd name="connsiteX140" fmla="*/ 114602 w 243611"/>
                <a:gd name="connsiteY140" fmla="*/ 82157 h 106330"/>
                <a:gd name="connsiteX141" fmla="*/ 110860 w 243611"/>
                <a:gd name="connsiteY141" fmla="*/ 83336 h 106330"/>
                <a:gd name="connsiteX142" fmla="*/ 107377 w 243611"/>
                <a:gd name="connsiteY142" fmla="*/ 83798 h 106330"/>
                <a:gd name="connsiteX143" fmla="*/ 105948 w 243611"/>
                <a:gd name="connsiteY143" fmla="*/ 84188 h 106330"/>
                <a:gd name="connsiteX144" fmla="*/ 105308 w 243611"/>
                <a:gd name="connsiteY144" fmla="*/ 84613 h 106330"/>
                <a:gd name="connsiteX145" fmla="*/ 104140 w 243611"/>
                <a:gd name="connsiteY145" fmla="*/ 86289 h 106330"/>
                <a:gd name="connsiteX146" fmla="*/ 102942 w 243611"/>
                <a:gd name="connsiteY146" fmla="*/ 88918 h 106330"/>
                <a:gd name="connsiteX147" fmla="*/ 102316 w 243611"/>
                <a:gd name="connsiteY147" fmla="*/ 90201 h 106330"/>
                <a:gd name="connsiteX148" fmla="*/ 101854 w 243611"/>
                <a:gd name="connsiteY148" fmla="*/ 90943 h 106330"/>
                <a:gd name="connsiteX149" fmla="*/ 101951 w 243611"/>
                <a:gd name="connsiteY149" fmla="*/ 91914 h 106330"/>
                <a:gd name="connsiteX150" fmla="*/ 102897 w 243611"/>
                <a:gd name="connsiteY150" fmla="*/ 93170 h 106330"/>
                <a:gd name="connsiteX151" fmla="*/ 103607 w 243611"/>
                <a:gd name="connsiteY151" fmla="*/ 95979 h 106330"/>
                <a:gd name="connsiteX152" fmla="*/ 103441 w 243611"/>
                <a:gd name="connsiteY152" fmla="*/ 96706 h 106330"/>
                <a:gd name="connsiteX153" fmla="*/ 102681 w 243611"/>
                <a:gd name="connsiteY153" fmla="*/ 97881 h 106330"/>
                <a:gd name="connsiteX154" fmla="*/ 101579 w 243611"/>
                <a:gd name="connsiteY154" fmla="*/ 99032 h 106330"/>
                <a:gd name="connsiteX155" fmla="*/ 99208 w 243611"/>
                <a:gd name="connsiteY155" fmla="*/ 99725 h 106330"/>
                <a:gd name="connsiteX156" fmla="*/ 97349 w 243611"/>
                <a:gd name="connsiteY156" fmla="*/ 100073 h 106330"/>
                <a:gd name="connsiteX157" fmla="*/ 96109 w 243611"/>
                <a:gd name="connsiteY157" fmla="*/ 99846 h 106330"/>
                <a:gd name="connsiteX158" fmla="*/ 93784 w 243611"/>
                <a:gd name="connsiteY158" fmla="*/ 99769 h 106330"/>
                <a:gd name="connsiteX159" fmla="*/ 91948 w 243611"/>
                <a:gd name="connsiteY159" fmla="*/ 100232 h 106330"/>
                <a:gd name="connsiteX160" fmla="*/ 90815 w 243611"/>
                <a:gd name="connsiteY160" fmla="*/ 101020 h 106330"/>
                <a:gd name="connsiteX161" fmla="*/ 88578 w 243611"/>
                <a:gd name="connsiteY161" fmla="*/ 102000 h 106330"/>
                <a:gd name="connsiteX162" fmla="*/ 85798 w 243611"/>
                <a:gd name="connsiteY162" fmla="*/ 102329 h 106330"/>
                <a:gd name="connsiteX163" fmla="*/ 82264 w 243611"/>
                <a:gd name="connsiteY163" fmla="*/ 102454 h 106330"/>
                <a:gd name="connsiteX164" fmla="*/ 80562 w 243611"/>
                <a:gd name="connsiteY164" fmla="*/ 102368 h 106330"/>
                <a:gd name="connsiteX165" fmla="*/ 75420 w 243611"/>
                <a:gd name="connsiteY165" fmla="*/ 101704 h 106330"/>
                <a:gd name="connsiteX166" fmla="*/ 73727 w 243611"/>
                <a:gd name="connsiteY166" fmla="*/ 101932 h 106330"/>
                <a:gd name="connsiteX167" fmla="*/ 72110 w 243611"/>
                <a:gd name="connsiteY167" fmla="*/ 102446 h 106330"/>
                <a:gd name="connsiteX168" fmla="*/ 69180 w 243611"/>
                <a:gd name="connsiteY168" fmla="*/ 102978 h 106330"/>
                <a:gd name="connsiteX169" fmla="*/ 67621 w 243611"/>
                <a:gd name="connsiteY169" fmla="*/ 104614 h 106330"/>
                <a:gd name="connsiteX170" fmla="*/ 66794 w 243611"/>
                <a:gd name="connsiteY170" fmla="*/ 106118 h 106330"/>
                <a:gd name="connsiteX171" fmla="*/ 66355 w 243611"/>
                <a:gd name="connsiteY171" fmla="*/ 106330 h 106330"/>
                <a:gd name="connsiteX172" fmla="*/ 64528 w 243611"/>
                <a:gd name="connsiteY172" fmla="*/ 104951 h 106330"/>
                <a:gd name="connsiteX173" fmla="*/ 63132 w 243611"/>
                <a:gd name="connsiteY173" fmla="*/ 103658 h 106330"/>
                <a:gd name="connsiteX174" fmla="*/ 62216 w 243611"/>
                <a:gd name="connsiteY174" fmla="*/ 102582 h 106330"/>
                <a:gd name="connsiteX175" fmla="*/ 61071 w 243611"/>
                <a:gd name="connsiteY175" fmla="*/ 102613 h 106330"/>
                <a:gd name="connsiteX176" fmla="*/ 56979 w 243611"/>
                <a:gd name="connsiteY176" fmla="*/ 104566 h 106330"/>
                <a:gd name="connsiteX177" fmla="*/ 56375 w 243611"/>
                <a:gd name="connsiteY177" fmla="*/ 104504 h 106330"/>
                <a:gd name="connsiteX178" fmla="*/ 55204 w 243611"/>
                <a:gd name="connsiteY178" fmla="*/ 103763 h 106330"/>
                <a:gd name="connsiteX179" fmla="*/ 55418 w 243611"/>
                <a:gd name="connsiteY179" fmla="*/ 101918 h 106330"/>
                <a:gd name="connsiteX180" fmla="*/ 55349 w 243611"/>
                <a:gd name="connsiteY180" fmla="*/ 100744 h 106330"/>
                <a:gd name="connsiteX181" fmla="*/ 54032 w 243611"/>
                <a:gd name="connsiteY181" fmla="*/ 100119 h 106330"/>
                <a:gd name="connsiteX182" fmla="*/ 51237 w 243611"/>
                <a:gd name="connsiteY182" fmla="*/ 99964 h 106330"/>
                <a:gd name="connsiteX183" fmla="*/ 50287 w 243611"/>
                <a:gd name="connsiteY183" fmla="*/ 99296 h 106330"/>
                <a:gd name="connsiteX184" fmla="*/ 50344 w 243611"/>
                <a:gd name="connsiteY184" fmla="*/ 98302 h 106330"/>
                <a:gd name="connsiteX185" fmla="*/ 50598 w 243611"/>
                <a:gd name="connsiteY185" fmla="*/ 97347 h 106330"/>
                <a:gd name="connsiteX186" fmla="*/ 50281 w 243611"/>
                <a:gd name="connsiteY186" fmla="*/ 96612 h 106330"/>
                <a:gd name="connsiteX187" fmla="*/ 49558 w 243611"/>
                <a:gd name="connsiteY187" fmla="*/ 96053 h 106330"/>
                <a:gd name="connsiteX188" fmla="*/ 48098 w 243611"/>
                <a:gd name="connsiteY188" fmla="*/ 96204 h 106330"/>
                <a:gd name="connsiteX189" fmla="*/ 46422 w 243611"/>
                <a:gd name="connsiteY189" fmla="*/ 96962 h 106330"/>
                <a:gd name="connsiteX190" fmla="*/ 45191 w 243611"/>
                <a:gd name="connsiteY190" fmla="*/ 97829 h 106330"/>
                <a:gd name="connsiteX191" fmla="*/ 43641 w 243611"/>
                <a:gd name="connsiteY191" fmla="*/ 98231 h 106330"/>
                <a:gd name="connsiteX192" fmla="*/ 41768 w 243611"/>
                <a:gd name="connsiteY192" fmla="*/ 98393 h 106330"/>
                <a:gd name="connsiteX193" fmla="*/ 40596 w 243611"/>
                <a:gd name="connsiteY193" fmla="*/ 98917 h 106330"/>
                <a:gd name="connsiteX194" fmla="*/ 39266 w 243611"/>
                <a:gd name="connsiteY194" fmla="*/ 101033 h 106330"/>
                <a:gd name="connsiteX195" fmla="*/ 34720 w 243611"/>
                <a:gd name="connsiteY195" fmla="*/ 101478 h 106330"/>
                <a:gd name="connsiteX196" fmla="*/ 33256 w 243611"/>
                <a:gd name="connsiteY196" fmla="*/ 100996 h 106330"/>
                <a:gd name="connsiteX197" fmla="*/ 32051 w 243611"/>
                <a:gd name="connsiteY197" fmla="*/ 99491 h 106330"/>
                <a:gd name="connsiteX198" fmla="*/ 30486 w 243611"/>
                <a:gd name="connsiteY198" fmla="*/ 97073 h 106330"/>
                <a:gd name="connsiteX199" fmla="*/ 29605 w 243611"/>
                <a:gd name="connsiteY199" fmla="*/ 96775 h 106330"/>
                <a:gd name="connsiteX200" fmla="*/ 28128 w 243611"/>
                <a:gd name="connsiteY200" fmla="*/ 96477 h 106330"/>
                <a:gd name="connsiteX201" fmla="*/ 25716 w 243611"/>
                <a:gd name="connsiteY201" fmla="*/ 96619 h 106330"/>
                <a:gd name="connsiteX202" fmla="*/ 22460 w 243611"/>
                <a:gd name="connsiteY202" fmla="*/ 97639 h 106330"/>
                <a:gd name="connsiteX203" fmla="*/ 21673 w 243611"/>
                <a:gd name="connsiteY203" fmla="*/ 96798 h 106330"/>
                <a:gd name="connsiteX204" fmla="*/ 20829 w 243611"/>
                <a:gd name="connsiteY204" fmla="*/ 96560 h 106330"/>
                <a:gd name="connsiteX205" fmla="*/ 20071 w 243611"/>
                <a:gd name="connsiteY205" fmla="*/ 97251 h 106330"/>
                <a:gd name="connsiteX206" fmla="*/ 19293 w 243611"/>
                <a:gd name="connsiteY206" fmla="*/ 97172 h 106330"/>
                <a:gd name="connsiteX207" fmla="*/ 16072 w 243611"/>
                <a:gd name="connsiteY207" fmla="*/ 97367 h 106330"/>
                <a:gd name="connsiteX208" fmla="*/ 12006 w 243611"/>
                <a:gd name="connsiteY208" fmla="*/ 97272 h 106330"/>
                <a:gd name="connsiteX209" fmla="*/ 9682 w 243611"/>
                <a:gd name="connsiteY209" fmla="*/ 96801 h 106330"/>
                <a:gd name="connsiteX210" fmla="*/ 8175 w 243611"/>
                <a:gd name="connsiteY210" fmla="*/ 96830 h 106330"/>
                <a:gd name="connsiteX211" fmla="*/ 5178 w 243611"/>
                <a:gd name="connsiteY211" fmla="*/ 97913 h 106330"/>
                <a:gd name="connsiteX212" fmla="*/ 3591 w 243611"/>
                <a:gd name="connsiteY212" fmla="*/ 97903 h 106330"/>
                <a:gd name="connsiteX213" fmla="*/ 1516 w 243611"/>
                <a:gd name="connsiteY213" fmla="*/ 98102 h 106330"/>
                <a:gd name="connsiteX214" fmla="*/ 1131 w 243611"/>
                <a:gd name="connsiteY214" fmla="*/ 94436 h 106330"/>
                <a:gd name="connsiteX215" fmla="*/ 0 w 243611"/>
                <a:gd name="connsiteY215" fmla="*/ 91960 h 106330"/>
                <a:gd name="connsiteX216" fmla="*/ 345 w 243611"/>
                <a:gd name="connsiteY216" fmla="*/ 90242 h 106330"/>
                <a:gd name="connsiteX217" fmla="*/ 1098 w 243611"/>
                <a:gd name="connsiteY217" fmla="*/ 87880 h 106330"/>
                <a:gd name="connsiteX218" fmla="*/ 1727 w 243611"/>
                <a:gd name="connsiteY218" fmla="*/ 86557 h 106330"/>
                <a:gd name="connsiteX219" fmla="*/ 3014 w 243611"/>
                <a:gd name="connsiteY219" fmla="*/ 87117 h 106330"/>
                <a:gd name="connsiteX220" fmla="*/ 4485 w 243611"/>
                <a:gd name="connsiteY220" fmla="*/ 88089 h 106330"/>
                <a:gd name="connsiteX221" fmla="*/ 5465 w 243611"/>
                <a:gd name="connsiteY221" fmla="*/ 87829 h 106330"/>
                <a:gd name="connsiteX222" fmla="*/ 5722 w 243611"/>
                <a:gd name="connsiteY222" fmla="*/ 87029 h 106330"/>
                <a:gd name="connsiteX223" fmla="*/ 5348 w 243611"/>
                <a:gd name="connsiteY223" fmla="*/ 85981 h 106330"/>
                <a:gd name="connsiteX224" fmla="*/ 5299 w 243611"/>
                <a:gd name="connsiteY224" fmla="*/ 85196 h 106330"/>
                <a:gd name="connsiteX225" fmla="*/ 5849 w 243611"/>
                <a:gd name="connsiteY225" fmla="*/ 84163 h 106330"/>
                <a:gd name="connsiteX226" fmla="*/ 6659 w 243611"/>
                <a:gd name="connsiteY226" fmla="*/ 83198 h 106330"/>
                <a:gd name="connsiteX227" fmla="*/ 11855 w 243611"/>
                <a:gd name="connsiteY227" fmla="*/ 81614 h 106330"/>
                <a:gd name="connsiteX228" fmla="*/ 16312 w 243611"/>
                <a:gd name="connsiteY228" fmla="*/ 80459 h 106330"/>
                <a:gd name="connsiteX229" fmla="*/ 18626 w 243611"/>
                <a:gd name="connsiteY229" fmla="*/ 81229 h 106330"/>
                <a:gd name="connsiteX230" fmla="*/ 23114 w 243611"/>
                <a:gd name="connsiteY230" fmla="*/ 83002 h 106330"/>
                <a:gd name="connsiteX231" fmla="*/ 25424 w 243611"/>
                <a:gd name="connsiteY231" fmla="*/ 83914 h 106330"/>
                <a:gd name="connsiteX232" fmla="*/ 27026 w 243611"/>
                <a:gd name="connsiteY232" fmla="*/ 84453 h 106330"/>
                <a:gd name="connsiteX233" fmla="*/ 28437 w 243611"/>
                <a:gd name="connsiteY233" fmla="*/ 87043 h 106330"/>
                <a:gd name="connsiteX234" fmla="*/ 29359 w 243611"/>
                <a:gd name="connsiteY234" fmla="*/ 86923 h 106330"/>
                <a:gd name="connsiteX235" fmla="*/ 30296 w 243611"/>
                <a:gd name="connsiteY235" fmla="*/ 86401 h 106330"/>
                <a:gd name="connsiteX236" fmla="*/ 30846 w 243611"/>
                <a:gd name="connsiteY236" fmla="*/ 85764 h 106330"/>
                <a:gd name="connsiteX237" fmla="*/ 31293 w 243611"/>
                <a:gd name="connsiteY237" fmla="*/ 83560 h 106330"/>
                <a:gd name="connsiteX238" fmla="*/ 33377 w 243611"/>
                <a:gd name="connsiteY238" fmla="*/ 82315 h 106330"/>
                <a:gd name="connsiteX239" fmla="*/ 37973 w 243611"/>
                <a:gd name="connsiteY239" fmla="*/ 80841 h 106330"/>
                <a:gd name="connsiteX240" fmla="*/ 38294 w 243611"/>
                <a:gd name="connsiteY240" fmla="*/ 79978 h 106330"/>
                <a:gd name="connsiteX241" fmla="*/ 38229 w 243611"/>
                <a:gd name="connsiteY241" fmla="*/ 79502 h 106330"/>
                <a:gd name="connsiteX242" fmla="*/ 38950 w 243611"/>
                <a:gd name="connsiteY242" fmla="*/ 79084 h 106330"/>
                <a:gd name="connsiteX243" fmla="*/ 41248 w 243611"/>
                <a:gd name="connsiteY243" fmla="*/ 78656 h 106330"/>
                <a:gd name="connsiteX244" fmla="*/ 45895 w 243611"/>
                <a:gd name="connsiteY244" fmla="*/ 78246 h 106330"/>
                <a:gd name="connsiteX245" fmla="*/ 47476 w 243611"/>
                <a:gd name="connsiteY245" fmla="*/ 78553 h 106330"/>
                <a:gd name="connsiteX246" fmla="*/ 49272 w 243611"/>
                <a:gd name="connsiteY246" fmla="*/ 79420 h 106330"/>
                <a:gd name="connsiteX247" fmla="*/ 50665 w 243611"/>
                <a:gd name="connsiteY247" fmla="*/ 80283 h 106330"/>
                <a:gd name="connsiteX248" fmla="*/ 51993 w 243611"/>
                <a:gd name="connsiteY248" fmla="*/ 80250 h 106330"/>
                <a:gd name="connsiteX249" fmla="*/ 53086 w 243611"/>
                <a:gd name="connsiteY249" fmla="*/ 80070 h 106330"/>
                <a:gd name="connsiteX250" fmla="*/ 53550 w 243611"/>
                <a:gd name="connsiteY250" fmla="*/ 80308 h 106330"/>
                <a:gd name="connsiteX251" fmla="*/ 53902 w 243611"/>
                <a:gd name="connsiteY251" fmla="*/ 81076 h 106330"/>
                <a:gd name="connsiteX252" fmla="*/ 54470 w 243611"/>
                <a:gd name="connsiteY252" fmla="*/ 81762 h 106330"/>
                <a:gd name="connsiteX253" fmla="*/ 56243 w 243611"/>
                <a:gd name="connsiteY253" fmla="*/ 80830 h 106330"/>
                <a:gd name="connsiteX254" fmla="*/ 57852 w 243611"/>
                <a:gd name="connsiteY254" fmla="*/ 79621 h 106330"/>
                <a:gd name="connsiteX255" fmla="*/ 59119 w 243611"/>
                <a:gd name="connsiteY255" fmla="*/ 79447 h 106330"/>
                <a:gd name="connsiteX256" fmla="*/ 60290 w 243611"/>
                <a:gd name="connsiteY256" fmla="*/ 78987 h 106330"/>
                <a:gd name="connsiteX257" fmla="*/ 60631 w 243611"/>
                <a:gd name="connsiteY257" fmla="*/ 78179 h 106330"/>
                <a:gd name="connsiteX258" fmla="*/ 61549 w 243611"/>
                <a:gd name="connsiteY258" fmla="*/ 76839 h 106330"/>
                <a:gd name="connsiteX259" fmla="*/ 64172 w 243611"/>
                <a:gd name="connsiteY259" fmla="*/ 74278 h 106330"/>
                <a:gd name="connsiteX260" fmla="*/ 65535 w 243611"/>
                <a:gd name="connsiteY260" fmla="*/ 73864 h 106330"/>
                <a:gd name="connsiteX261" fmla="*/ 66418 w 243611"/>
                <a:gd name="connsiteY261" fmla="*/ 73865 h 106330"/>
                <a:gd name="connsiteX262" fmla="*/ 66459 w 243611"/>
                <a:gd name="connsiteY262" fmla="*/ 74278 h 106330"/>
                <a:gd name="connsiteX263" fmla="*/ 66886 w 243611"/>
                <a:gd name="connsiteY263" fmla="*/ 74655 h 106330"/>
                <a:gd name="connsiteX264" fmla="*/ 69180 w 243611"/>
                <a:gd name="connsiteY264" fmla="*/ 75245 h 106330"/>
                <a:gd name="connsiteX265" fmla="*/ 69877 w 243611"/>
                <a:gd name="connsiteY265" fmla="*/ 74572 h 106330"/>
                <a:gd name="connsiteX266" fmla="*/ 70247 w 243611"/>
                <a:gd name="connsiteY266" fmla="*/ 73638 h 106330"/>
                <a:gd name="connsiteX267" fmla="*/ 69445 w 243611"/>
                <a:gd name="connsiteY267" fmla="*/ 72154 h 106330"/>
                <a:gd name="connsiteX268" fmla="*/ 69430 w 243611"/>
                <a:gd name="connsiteY268" fmla="*/ 71533 h 106330"/>
                <a:gd name="connsiteX269" fmla="*/ 69730 w 243611"/>
                <a:gd name="connsiteY269" fmla="*/ 70965 h 106330"/>
                <a:gd name="connsiteX270" fmla="*/ 70160 w 243611"/>
                <a:gd name="connsiteY270" fmla="*/ 70626 h 106330"/>
                <a:gd name="connsiteX271" fmla="*/ 73818 w 243611"/>
                <a:gd name="connsiteY271" fmla="*/ 72033 h 106330"/>
                <a:gd name="connsiteX272" fmla="*/ 74628 w 243611"/>
                <a:gd name="connsiteY272" fmla="*/ 72005 h 106330"/>
                <a:gd name="connsiteX273" fmla="*/ 76297 w 243611"/>
                <a:gd name="connsiteY273" fmla="*/ 71214 h 106330"/>
                <a:gd name="connsiteX274" fmla="*/ 77828 w 243611"/>
                <a:gd name="connsiteY274" fmla="*/ 69823 h 106330"/>
                <a:gd name="connsiteX275" fmla="*/ 78381 w 243611"/>
                <a:gd name="connsiteY275" fmla="*/ 68730 h 106330"/>
                <a:gd name="connsiteX276" fmla="*/ 85878 w 243611"/>
                <a:gd name="connsiteY276" fmla="*/ 65171 h 106330"/>
                <a:gd name="connsiteX277" fmla="*/ 86410 w 243611"/>
                <a:gd name="connsiteY277" fmla="*/ 64524 h 106330"/>
                <a:gd name="connsiteX278" fmla="*/ 86304 w 243611"/>
                <a:gd name="connsiteY278" fmla="*/ 64055 h 106330"/>
                <a:gd name="connsiteX279" fmla="*/ 83162 w 243611"/>
                <a:gd name="connsiteY279" fmla="*/ 63225 h 106330"/>
                <a:gd name="connsiteX280" fmla="*/ 81745 w 243611"/>
                <a:gd name="connsiteY280" fmla="*/ 63690 h 106330"/>
                <a:gd name="connsiteX281" fmla="*/ 80432 w 243611"/>
                <a:gd name="connsiteY281" fmla="*/ 63692 h 106330"/>
                <a:gd name="connsiteX282" fmla="*/ 79644 w 243611"/>
                <a:gd name="connsiteY282" fmla="*/ 63171 h 106330"/>
                <a:gd name="connsiteX283" fmla="*/ 75826 w 243611"/>
                <a:gd name="connsiteY283" fmla="*/ 62967 h 106330"/>
                <a:gd name="connsiteX284" fmla="*/ 74989 w 243611"/>
                <a:gd name="connsiteY284" fmla="*/ 62603 h 106330"/>
                <a:gd name="connsiteX285" fmla="*/ 72458 w 243611"/>
                <a:gd name="connsiteY285" fmla="*/ 60029 h 106330"/>
                <a:gd name="connsiteX286" fmla="*/ 70719 w 243611"/>
                <a:gd name="connsiteY286" fmla="*/ 59049 h 106330"/>
                <a:gd name="connsiteX287" fmla="*/ 69320 w 243611"/>
                <a:gd name="connsiteY287" fmla="*/ 58404 h 106330"/>
                <a:gd name="connsiteX288" fmla="*/ 67791 w 243611"/>
                <a:gd name="connsiteY288" fmla="*/ 58497 h 106330"/>
                <a:gd name="connsiteX289" fmla="*/ 65982 w 243611"/>
                <a:gd name="connsiteY289" fmla="*/ 59172 h 106330"/>
                <a:gd name="connsiteX290" fmla="*/ 65412 w 243611"/>
                <a:gd name="connsiteY290" fmla="*/ 58865 h 106330"/>
                <a:gd name="connsiteX291" fmla="*/ 65265 w 243611"/>
                <a:gd name="connsiteY291" fmla="*/ 57788 h 106330"/>
                <a:gd name="connsiteX292" fmla="*/ 65271 w 243611"/>
                <a:gd name="connsiteY292" fmla="*/ 56429 h 106330"/>
                <a:gd name="connsiteX293" fmla="*/ 64902 w 243611"/>
                <a:gd name="connsiteY293" fmla="*/ 54974 h 106330"/>
                <a:gd name="connsiteX294" fmla="*/ 63823 w 243611"/>
                <a:gd name="connsiteY294" fmla="*/ 54635 h 106330"/>
                <a:gd name="connsiteX295" fmla="*/ 62430 w 243611"/>
                <a:gd name="connsiteY295" fmla="*/ 55211 h 106330"/>
                <a:gd name="connsiteX296" fmla="*/ 60352 w 243611"/>
                <a:gd name="connsiteY296" fmla="*/ 54623 h 106330"/>
                <a:gd name="connsiteX297" fmla="*/ 58586 w 243611"/>
                <a:gd name="connsiteY297" fmla="*/ 54413 h 106330"/>
                <a:gd name="connsiteX298" fmla="*/ 58130 w 243611"/>
                <a:gd name="connsiteY298" fmla="*/ 51345 h 106330"/>
                <a:gd name="connsiteX299" fmla="*/ 57418 w 243611"/>
                <a:gd name="connsiteY299" fmla="*/ 50035 h 106330"/>
                <a:gd name="connsiteX300" fmla="*/ 56681 w 243611"/>
                <a:gd name="connsiteY300" fmla="*/ 48659 h 106330"/>
                <a:gd name="connsiteX301" fmla="*/ 55913 w 243611"/>
                <a:gd name="connsiteY301" fmla="*/ 48266 h 106330"/>
                <a:gd name="connsiteX302" fmla="*/ 54651 w 243611"/>
                <a:gd name="connsiteY302" fmla="*/ 47580 h 106330"/>
                <a:gd name="connsiteX303" fmla="*/ 54576 w 243611"/>
                <a:gd name="connsiteY303" fmla="*/ 45953 h 106330"/>
                <a:gd name="connsiteX304" fmla="*/ 54308 w 243611"/>
                <a:gd name="connsiteY304" fmla="*/ 45492 h 106330"/>
                <a:gd name="connsiteX305" fmla="*/ 53861 w 243611"/>
                <a:gd name="connsiteY305" fmla="*/ 45276 h 106330"/>
                <a:gd name="connsiteX306" fmla="*/ 53254 w 243611"/>
                <a:gd name="connsiteY306" fmla="*/ 45461 h 106330"/>
                <a:gd name="connsiteX307" fmla="*/ 52475 w 243611"/>
                <a:gd name="connsiteY307" fmla="*/ 46278 h 106330"/>
                <a:gd name="connsiteX308" fmla="*/ 52859 w 243611"/>
                <a:gd name="connsiteY308" fmla="*/ 48070 h 106330"/>
                <a:gd name="connsiteX309" fmla="*/ 52563 w 243611"/>
                <a:gd name="connsiteY309" fmla="*/ 49866 h 106330"/>
                <a:gd name="connsiteX310" fmla="*/ 52105 w 243611"/>
                <a:gd name="connsiteY310" fmla="*/ 50768 h 106330"/>
                <a:gd name="connsiteX311" fmla="*/ 51223 w 243611"/>
                <a:gd name="connsiteY311" fmla="*/ 51432 h 106330"/>
                <a:gd name="connsiteX312" fmla="*/ 50214 w 243611"/>
                <a:gd name="connsiteY312" fmla="*/ 51448 h 106330"/>
                <a:gd name="connsiteX313" fmla="*/ 48465 w 243611"/>
                <a:gd name="connsiteY313" fmla="*/ 50540 h 106330"/>
                <a:gd name="connsiteX314" fmla="*/ 48188 w 243611"/>
                <a:gd name="connsiteY314" fmla="*/ 55967 h 106330"/>
                <a:gd name="connsiteX315" fmla="*/ 47849 w 243611"/>
                <a:gd name="connsiteY315" fmla="*/ 56300 h 106330"/>
                <a:gd name="connsiteX316" fmla="*/ 45766 w 243611"/>
                <a:gd name="connsiteY316" fmla="*/ 55533 h 106330"/>
                <a:gd name="connsiteX317" fmla="*/ 44099 w 243611"/>
                <a:gd name="connsiteY317" fmla="*/ 55864 h 106330"/>
                <a:gd name="connsiteX318" fmla="*/ 41606 w 243611"/>
                <a:gd name="connsiteY318" fmla="*/ 55530 h 106330"/>
                <a:gd name="connsiteX319" fmla="*/ 39732 w 243611"/>
                <a:gd name="connsiteY319" fmla="*/ 54635 h 106330"/>
                <a:gd name="connsiteX320" fmla="*/ 38331 w 243611"/>
                <a:gd name="connsiteY320" fmla="*/ 54387 h 106330"/>
                <a:gd name="connsiteX321" fmla="*/ 36072 w 243611"/>
                <a:gd name="connsiteY321" fmla="*/ 53625 h 106330"/>
                <a:gd name="connsiteX322" fmla="*/ 34347 w 243611"/>
                <a:gd name="connsiteY322" fmla="*/ 52634 h 106330"/>
                <a:gd name="connsiteX323" fmla="*/ 33284 w 243611"/>
                <a:gd name="connsiteY323" fmla="*/ 48992 h 106330"/>
                <a:gd name="connsiteX324" fmla="*/ 32278 w 243611"/>
                <a:gd name="connsiteY324" fmla="*/ 47690 h 106330"/>
                <a:gd name="connsiteX325" fmla="*/ 31328 w 243611"/>
                <a:gd name="connsiteY325" fmla="*/ 47412 h 106330"/>
                <a:gd name="connsiteX326" fmla="*/ 27469 w 243611"/>
                <a:gd name="connsiteY326" fmla="*/ 48672 h 106330"/>
                <a:gd name="connsiteX327" fmla="*/ 26063 w 243611"/>
                <a:gd name="connsiteY327" fmla="*/ 47697 h 106330"/>
                <a:gd name="connsiteX328" fmla="*/ 23459 w 243611"/>
                <a:gd name="connsiteY328" fmla="*/ 46448 h 106330"/>
                <a:gd name="connsiteX329" fmla="*/ 21488 w 243611"/>
                <a:gd name="connsiteY329" fmla="*/ 45982 h 106330"/>
                <a:gd name="connsiteX330" fmla="*/ 20959 w 243611"/>
                <a:gd name="connsiteY330" fmla="*/ 45308 h 106330"/>
                <a:gd name="connsiteX331" fmla="*/ 21047 w 243611"/>
                <a:gd name="connsiteY331" fmla="*/ 44476 h 106330"/>
                <a:gd name="connsiteX332" fmla="*/ 27106 w 243611"/>
                <a:gd name="connsiteY332" fmla="*/ 40411 h 106330"/>
                <a:gd name="connsiteX333" fmla="*/ 29492 w 243611"/>
                <a:gd name="connsiteY333" fmla="*/ 37609 h 106330"/>
                <a:gd name="connsiteX334" fmla="*/ 30995 w 243611"/>
                <a:gd name="connsiteY334" fmla="*/ 36425 h 106330"/>
                <a:gd name="connsiteX335" fmla="*/ 33138 w 243611"/>
                <a:gd name="connsiteY335" fmla="*/ 35636 h 106330"/>
                <a:gd name="connsiteX336" fmla="*/ 34809 w 243611"/>
                <a:gd name="connsiteY336" fmla="*/ 35174 h 106330"/>
                <a:gd name="connsiteX337" fmla="*/ 35662 w 243611"/>
                <a:gd name="connsiteY337" fmla="*/ 32600 h 106330"/>
                <a:gd name="connsiteX338" fmla="*/ 35988 w 243611"/>
                <a:gd name="connsiteY338" fmla="*/ 32303 h 106330"/>
                <a:gd name="connsiteX339" fmla="*/ 37176 w 243611"/>
                <a:gd name="connsiteY339" fmla="*/ 32113 h 106330"/>
                <a:gd name="connsiteX340" fmla="*/ 39871 w 243611"/>
                <a:gd name="connsiteY340" fmla="*/ 31056 h 106330"/>
                <a:gd name="connsiteX341" fmla="*/ 44211 w 243611"/>
                <a:gd name="connsiteY341" fmla="*/ 28794 h 106330"/>
                <a:gd name="connsiteX342" fmla="*/ 44295 w 243611"/>
                <a:gd name="connsiteY342" fmla="*/ 28172 h 106330"/>
                <a:gd name="connsiteX343" fmla="*/ 43861 w 243611"/>
                <a:gd name="connsiteY343" fmla="*/ 27636 h 106330"/>
                <a:gd name="connsiteX344" fmla="*/ 42032 w 243611"/>
                <a:gd name="connsiteY344" fmla="*/ 26477 h 106330"/>
                <a:gd name="connsiteX345" fmla="*/ 39955 w 243611"/>
                <a:gd name="connsiteY345" fmla="*/ 25554 h 106330"/>
                <a:gd name="connsiteX346" fmla="*/ 38693 w 243611"/>
                <a:gd name="connsiteY346" fmla="*/ 26036 h 106330"/>
                <a:gd name="connsiteX347" fmla="*/ 37981 w 243611"/>
                <a:gd name="connsiteY347" fmla="*/ 26512 h 106330"/>
                <a:gd name="connsiteX348" fmla="*/ 36789 w 243611"/>
                <a:gd name="connsiteY348" fmla="*/ 25314 h 106330"/>
                <a:gd name="connsiteX349" fmla="*/ 36789 w 243611"/>
                <a:gd name="connsiteY349" fmla="*/ 24081 h 106330"/>
                <a:gd name="connsiteX350" fmla="*/ 38104 w 243611"/>
                <a:gd name="connsiteY350" fmla="*/ 21966 h 106330"/>
                <a:gd name="connsiteX351" fmla="*/ 39201 w 243611"/>
                <a:gd name="connsiteY351" fmla="*/ 20908 h 106330"/>
                <a:gd name="connsiteX352" fmla="*/ 39661 w 243611"/>
                <a:gd name="connsiteY352" fmla="*/ 18871 h 106330"/>
                <a:gd name="connsiteX353" fmla="*/ 41227 w 243611"/>
                <a:gd name="connsiteY353" fmla="*/ 17508 h 106330"/>
                <a:gd name="connsiteX354" fmla="*/ 42859 w 243611"/>
                <a:gd name="connsiteY354" fmla="*/ 15347 h 106330"/>
                <a:gd name="connsiteX355" fmla="*/ 44833 w 243611"/>
                <a:gd name="connsiteY355" fmla="*/ 13581 h 106330"/>
                <a:gd name="connsiteX356" fmla="*/ 48491 w 243611"/>
                <a:gd name="connsiteY356" fmla="*/ 12254 h 106330"/>
                <a:gd name="connsiteX357" fmla="*/ 50529 w 243611"/>
                <a:gd name="connsiteY357" fmla="*/ 12688 h 106330"/>
                <a:gd name="connsiteX358" fmla="*/ 52443 w 243611"/>
                <a:gd name="connsiteY358" fmla="*/ 12374 h 106330"/>
                <a:gd name="connsiteX359" fmla="*/ 55405 w 243611"/>
                <a:gd name="connsiteY359" fmla="*/ 11298 h 106330"/>
                <a:gd name="connsiteX360" fmla="*/ 55975 w 243611"/>
                <a:gd name="connsiteY360" fmla="*/ 11229 h 106330"/>
                <a:gd name="connsiteX361" fmla="*/ 57219 w 243611"/>
                <a:gd name="connsiteY361" fmla="*/ 11211 h 106330"/>
                <a:gd name="connsiteX362" fmla="*/ 64848 w 243611"/>
                <a:gd name="connsiteY362" fmla="*/ 12855 h 106330"/>
                <a:gd name="connsiteX363" fmla="*/ 67368 w 243611"/>
                <a:gd name="connsiteY363" fmla="*/ 12936 h 106330"/>
                <a:gd name="connsiteX364" fmla="*/ 73281 w 243611"/>
                <a:gd name="connsiteY364" fmla="*/ 15072 h 106330"/>
                <a:gd name="connsiteX365" fmla="*/ 75999 w 243611"/>
                <a:gd name="connsiteY365" fmla="*/ 15535 h 106330"/>
                <a:gd name="connsiteX366" fmla="*/ 77919 w 243611"/>
                <a:gd name="connsiteY366" fmla="*/ 16136 h 106330"/>
                <a:gd name="connsiteX367" fmla="*/ 78791 w 243611"/>
                <a:gd name="connsiteY367" fmla="*/ 17056 h 106330"/>
                <a:gd name="connsiteX368" fmla="*/ 80178 w 243611"/>
                <a:gd name="connsiteY368" fmla="*/ 18185 h 106330"/>
                <a:gd name="connsiteX369" fmla="*/ 87601 w 243611"/>
                <a:gd name="connsiteY369" fmla="*/ 19100 h 106330"/>
                <a:gd name="connsiteX370" fmla="*/ 89638 w 243611"/>
                <a:gd name="connsiteY370" fmla="*/ 19707 h 106330"/>
                <a:gd name="connsiteX371" fmla="*/ 90370 w 243611"/>
                <a:gd name="connsiteY371" fmla="*/ 20697 h 106330"/>
                <a:gd name="connsiteX372" fmla="*/ 92484 w 243611"/>
                <a:gd name="connsiteY372" fmla="*/ 21955 h 106330"/>
                <a:gd name="connsiteX373" fmla="*/ 94283 w 243611"/>
                <a:gd name="connsiteY373" fmla="*/ 22242 h 106330"/>
                <a:gd name="connsiteX374" fmla="*/ 92711 w 243611"/>
                <a:gd name="connsiteY374" fmla="*/ 17321 h 106330"/>
                <a:gd name="connsiteX375" fmla="*/ 93337 w 243611"/>
                <a:gd name="connsiteY375" fmla="*/ 14396 h 106330"/>
                <a:gd name="connsiteX376" fmla="*/ 95682 w 243611"/>
                <a:gd name="connsiteY376" fmla="*/ 6374 h 106330"/>
                <a:gd name="connsiteX377" fmla="*/ 96915 w 243611"/>
                <a:gd name="connsiteY377" fmla="*/ 5165 h 106330"/>
                <a:gd name="connsiteX378" fmla="*/ 99271 w 243611"/>
                <a:gd name="connsiteY378" fmla="*/ 4092 h 106330"/>
                <a:gd name="connsiteX379" fmla="*/ 102974 w 243611"/>
                <a:gd name="connsiteY379" fmla="*/ 2894 h 106330"/>
                <a:gd name="connsiteX380" fmla="*/ 104371 w 243611"/>
                <a:gd name="connsiteY380" fmla="*/ 1218 h 106330"/>
                <a:gd name="connsiteX381" fmla="*/ 107401 w 243611"/>
                <a:gd name="connsiteY381" fmla="*/ 1389 h 106330"/>
                <a:gd name="connsiteX382" fmla="*/ 108720 w 243611"/>
                <a:gd name="connsiteY382" fmla="*/ 1243 h 106330"/>
                <a:gd name="connsiteX383" fmla="*/ 109625 w 243611"/>
                <a:gd name="connsiteY383" fmla="*/ 942 h 1063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</a:cxnLst>
              <a:rect l="l" t="t" r="r" b="b"/>
              <a:pathLst>
                <a:path w="243611" h="106330">
                  <a:moveTo>
                    <a:pt x="27722" y="88793"/>
                  </a:moveTo>
                  <a:lnTo>
                    <a:pt x="27864" y="89306"/>
                  </a:lnTo>
                  <a:lnTo>
                    <a:pt x="28514" y="90214"/>
                  </a:lnTo>
                  <a:lnTo>
                    <a:pt x="29419" y="91184"/>
                  </a:lnTo>
                  <a:lnTo>
                    <a:pt x="30581" y="91292"/>
                  </a:lnTo>
                  <a:lnTo>
                    <a:pt x="32561" y="90289"/>
                  </a:lnTo>
                  <a:lnTo>
                    <a:pt x="32485" y="89753"/>
                  </a:lnTo>
                  <a:lnTo>
                    <a:pt x="31732" y="89503"/>
                  </a:lnTo>
                  <a:lnTo>
                    <a:pt x="29585" y="89213"/>
                  </a:lnTo>
                  <a:lnTo>
                    <a:pt x="28052" y="88801"/>
                  </a:lnTo>
                  <a:close/>
                  <a:moveTo>
                    <a:pt x="56625" y="85859"/>
                  </a:moveTo>
                  <a:lnTo>
                    <a:pt x="56081" y="85913"/>
                  </a:lnTo>
                  <a:lnTo>
                    <a:pt x="55444" y="86233"/>
                  </a:lnTo>
                  <a:lnTo>
                    <a:pt x="54222" y="86554"/>
                  </a:lnTo>
                  <a:lnTo>
                    <a:pt x="53950" y="87142"/>
                  </a:lnTo>
                  <a:lnTo>
                    <a:pt x="54766" y="87889"/>
                  </a:lnTo>
                  <a:lnTo>
                    <a:pt x="55807" y="88157"/>
                  </a:lnTo>
                  <a:lnTo>
                    <a:pt x="56398" y="87034"/>
                  </a:lnTo>
                  <a:close/>
                  <a:moveTo>
                    <a:pt x="39279" y="81763"/>
                  </a:moveTo>
                  <a:lnTo>
                    <a:pt x="38633" y="82260"/>
                  </a:lnTo>
                  <a:lnTo>
                    <a:pt x="38288" y="83442"/>
                  </a:lnTo>
                  <a:lnTo>
                    <a:pt x="38592" y="84723"/>
                  </a:lnTo>
                  <a:lnTo>
                    <a:pt x="39477" y="85587"/>
                  </a:lnTo>
                  <a:lnTo>
                    <a:pt x="40065" y="85869"/>
                  </a:lnTo>
                  <a:lnTo>
                    <a:pt x="40149" y="85932"/>
                  </a:lnTo>
                  <a:lnTo>
                    <a:pt x="40123" y="86354"/>
                  </a:lnTo>
                  <a:lnTo>
                    <a:pt x="39417" y="88470"/>
                  </a:lnTo>
                  <a:lnTo>
                    <a:pt x="40579" y="88736"/>
                  </a:lnTo>
                  <a:lnTo>
                    <a:pt x="42613" y="88774"/>
                  </a:lnTo>
                  <a:lnTo>
                    <a:pt x="43716" y="88536"/>
                  </a:lnTo>
                  <a:lnTo>
                    <a:pt x="43926" y="88166"/>
                  </a:lnTo>
                  <a:lnTo>
                    <a:pt x="43123" y="86263"/>
                  </a:lnTo>
                  <a:lnTo>
                    <a:pt x="44215" y="84481"/>
                  </a:lnTo>
                  <a:lnTo>
                    <a:pt x="42039" y="84180"/>
                  </a:lnTo>
                  <a:lnTo>
                    <a:pt x="40935" y="83653"/>
                  </a:lnTo>
                  <a:lnTo>
                    <a:pt x="39691" y="81845"/>
                  </a:lnTo>
                  <a:close/>
                  <a:moveTo>
                    <a:pt x="110117" y="0"/>
                  </a:moveTo>
                  <a:lnTo>
                    <a:pt x="113540" y="1636"/>
                  </a:lnTo>
                  <a:lnTo>
                    <a:pt x="119254" y="4942"/>
                  </a:lnTo>
                  <a:lnTo>
                    <a:pt x="123572" y="7034"/>
                  </a:lnTo>
                  <a:lnTo>
                    <a:pt x="128660" y="9010"/>
                  </a:lnTo>
                  <a:lnTo>
                    <a:pt x="135704" y="10815"/>
                  </a:lnTo>
                  <a:lnTo>
                    <a:pt x="141662" y="11413"/>
                  </a:lnTo>
                  <a:lnTo>
                    <a:pt x="142681" y="10988"/>
                  </a:lnTo>
                  <a:lnTo>
                    <a:pt x="145065" y="8246"/>
                  </a:lnTo>
                  <a:lnTo>
                    <a:pt x="146188" y="8123"/>
                  </a:lnTo>
                  <a:lnTo>
                    <a:pt x="148220" y="8364"/>
                  </a:lnTo>
                  <a:lnTo>
                    <a:pt x="154543" y="8492"/>
                  </a:lnTo>
                  <a:lnTo>
                    <a:pt x="160977" y="8622"/>
                  </a:lnTo>
                  <a:lnTo>
                    <a:pt x="164013" y="8356"/>
                  </a:lnTo>
                  <a:lnTo>
                    <a:pt x="170593" y="7213"/>
                  </a:lnTo>
                  <a:lnTo>
                    <a:pt x="171567" y="7157"/>
                  </a:lnTo>
                  <a:lnTo>
                    <a:pt x="173098" y="7235"/>
                  </a:lnTo>
                  <a:lnTo>
                    <a:pt x="177039" y="8789"/>
                  </a:lnTo>
                  <a:lnTo>
                    <a:pt x="179980" y="9009"/>
                  </a:lnTo>
                  <a:lnTo>
                    <a:pt x="181986" y="9001"/>
                  </a:lnTo>
                  <a:lnTo>
                    <a:pt x="183156" y="9126"/>
                  </a:lnTo>
                  <a:lnTo>
                    <a:pt x="185594" y="9067"/>
                  </a:lnTo>
                  <a:lnTo>
                    <a:pt x="189557" y="9256"/>
                  </a:lnTo>
                  <a:lnTo>
                    <a:pt x="194455" y="10264"/>
                  </a:lnTo>
                  <a:lnTo>
                    <a:pt x="200356" y="10082"/>
                  </a:lnTo>
                  <a:lnTo>
                    <a:pt x="202256" y="9891"/>
                  </a:lnTo>
                  <a:lnTo>
                    <a:pt x="205534" y="10074"/>
                  </a:lnTo>
                  <a:lnTo>
                    <a:pt x="208145" y="11035"/>
                  </a:lnTo>
                  <a:lnTo>
                    <a:pt x="211445" y="12049"/>
                  </a:lnTo>
                  <a:lnTo>
                    <a:pt x="213515" y="12475"/>
                  </a:lnTo>
                  <a:lnTo>
                    <a:pt x="214904" y="12694"/>
                  </a:lnTo>
                  <a:lnTo>
                    <a:pt x="217378" y="12771"/>
                  </a:lnTo>
                  <a:lnTo>
                    <a:pt x="218855" y="12452"/>
                  </a:lnTo>
                  <a:lnTo>
                    <a:pt x="219700" y="12899"/>
                  </a:lnTo>
                  <a:lnTo>
                    <a:pt x="220544" y="15385"/>
                  </a:lnTo>
                  <a:lnTo>
                    <a:pt x="222589" y="17019"/>
                  </a:lnTo>
                  <a:lnTo>
                    <a:pt x="224187" y="18557"/>
                  </a:lnTo>
                  <a:lnTo>
                    <a:pt x="225524" y="20256"/>
                  </a:lnTo>
                  <a:lnTo>
                    <a:pt x="226893" y="20948"/>
                  </a:lnTo>
                  <a:lnTo>
                    <a:pt x="229287" y="20973"/>
                  </a:lnTo>
                  <a:lnTo>
                    <a:pt x="233820" y="21457"/>
                  </a:lnTo>
                  <a:lnTo>
                    <a:pt x="236422" y="22132"/>
                  </a:lnTo>
                  <a:lnTo>
                    <a:pt x="239743" y="25067"/>
                  </a:lnTo>
                  <a:lnTo>
                    <a:pt x="242797" y="28072"/>
                  </a:lnTo>
                  <a:lnTo>
                    <a:pt x="243235" y="29673"/>
                  </a:lnTo>
                  <a:lnTo>
                    <a:pt x="243611" y="31533"/>
                  </a:lnTo>
                  <a:lnTo>
                    <a:pt x="243367" y="31967"/>
                  </a:lnTo>
                  <a:lnTo>
                    <a:pt x="242948" y="32260"/>
                  </a:lnTo>
                  <a:lnTo>
                    <a:pt x="236169" y="32723"/>
                  </a:lnTo>
                  <a:lnTo>
                    <a:pt x="234638" y="33234"/>
                  </a:lnTo>
                  <a:lnTo>
                    <a:pt x="232995" y="35805"/>
                  </a:lnTo>
                  <a:lnTo>
                    <a:pt x="227197" y="37869"/>
                  </a:lnTo>
                  <a:lnTo>
                    <a:pt x="223891" y="38928"/>
                  </a:lnTo>
                  <a:lnTo>
                    <a:pt x="222546" y="38881"/>
                  </a:lnTo>
                  <a:lnTo>
                    <a:pt x="219337" y="40568"/>
                  </a:lnTo>
                  <a:lnTo>
                    <a:pt x="210362" y="44777"/>
                  </a:lnTo>
                  <a:lnTo>
                    <a:pt x="205953" y="47433"/>
                  </a:lnTo>
                  <a:lnTo>
                    <a:pt x="203735" y="48543"/>
                  </a:lnTo>
                  <a:lnTo>
                    <a:pt x="201956" y="49755"/>
                  </a:lnTo>
                  <a:lnTo>
                    <a:pt x="201656" y="50980"/>
                  </a:lnTo>
                  <a:lnTo>
                    <a:pt x="201600" y="52134"/>
                  </a:lnTo>
                  <a:lnTo>
                    <a:pt x="196672" y="57557"/>
                  </a:lnTo>
                  <a:lnTo>
                    <a:pt x="192979" y="58214"/>
                  </a:lnTo>
                  <a:lnTo>
                    <a:pt x="189857" y="58084"/>
                  </a:lnTo>
                  <a:lnTo>
                    <a:pt x="187737" y="58908"/>
                  </a:lnTo>
                  <a:lnTo>
                    <a:pt x="184694" y="59737"/>
                  </a:lnTo>
                  <a:lnTo>
                    <a:pt x="178110" y="59170"/>
                  </a:lnTo>
                  <a:lnTo>
                    <a:pt x="175856" y="59265"/>
                  </a:lnTo>
                  <a:lnTo>
                    <a:pt x="171535" y="58517"/>
                  </a:lnTo>
                  <a:lnTo>
                    <a:pt x="169790" y="58911"/>
                  </a:lnTo>
                  <a:lnTo>
                    <a:pt x="167939" y="60013"/>
                  </a:lnTo>
                  <a:lnTo>
                    <a:pt x="165383" y="64328"/>
                  </a:lnTo>
                  <a:lnTo>
                    <a:pt x="164337" y="65339"/>
                  </a:lnTo>
                  <a:lnTo>
                    <a:pt x="163867" y="66320"/>
                  </a:lnTo>
                  <a:lnTo>
                    <a:pt x="163476" y="68416"/>
                  </a:lnTo>
                  <a:lnTo>
                    <a:pt x="162498" y="70631"/>
                  </a:lnTo>
                  <a:lnTo>
                    <a:pt x="161236" y="72377"/>
                  </a:lnTo>
                  <a:lnTo>
                    <a:pt x="160336" y="73993"/>
                  </a:lnTo>
                  <a:lnTo>
                    <a:pt x="158483" y="75556"/>
                  </a:lnTo>
                  <a:lnTo>
                    <a:pt x="156763" y="76538"/>
                  </a:lnTo>
                  <a:lnTo>
                    <a:pt x="155430" y="74484"/>
                  </a:lnTo>
                  <a:lnTo>
                    <a:pt x="154275" y="75069"/>
                  </a:lnTo>
                  <a:lnTo>
                    <a:pt x="153182" y="75905"/>
                  </a:lnTo>
                  <a:lnTo>
                    <a:pt x="151096" y="75615"/>
                  </a:lnTo>
                  <a:lnTo>
                    <a:pt x="149813" y="76036"/>
                  </a:lnTo>
                  <a:lnTo>
                    <a:pt x="146887" y="77820"/>
                  </a:lnTo>
                  <a:lnTo>
                    <a:pt x="142579" y="77753"/>
                  </a:lnTo>
                  <a:lnTo>
                    <a:pt x="142111" y="77140"/>
                  </a:lnTo>
                  <a:lnTo>
                    <a:pt x="141258" y="72236"/>
                  </a:lnTo>
                  <a:lnTo>
                    <a:pt x="140509" y="69912"/>
                  </a:lnTo>
                  <a:lnTo>
                    <a:pt x="139891" y="69391"/>
                  </a:lnTo>
                  <a:lnTo>
                    <a:pt x="139122" y="69329"/>
                  </a:lnTo>
                  <a:lnTo>
                    <a:pt x="132936" y="73188"/>
                  </a:lnTo>
                  <a:lnTo>
                    <a:pt x="130068" y="73873"/>
                  </a:lnTo>
                  <a:lnTo>
                    <a:pt x="127705" y="73993"/>
                  </a:lnTo>
                  <a:lnTo>
                    <a:pt x="124635" y="72841"/>
                  </a:lnTo>
                  <a:lnTo>
                    <a:pt x="123961" y="73127"/>
                  </a:lnTo>
                  <a:lnTo>
                    <a:pt x="123430" y="73750"/>
                  </a:lnTo>
                  <a:lnTo>
                    <a:pt x="123212" y="74543"/>
                  </a:lnTo>
                  <a:lnTo>
                    <a:pt x="124108" y="76728"/>
                  </a:lnTo>
                  <a:lnTo>
                    <a:pt x="123858" y="77159"/>
                  </a:lnTo>
                  <a:lnTo>
                    <a:pt x="122471" y="77123"/>
                  </a:lnTo>
                  <a:lnTo>
                    <a:pt x="120528" y="77627"/>
                  </a:lnTo>
                  <a:lnTo>
                    <a:pt x="119051" y="78632"/>
                  </a:lnTo>
                  <a:lnTo>
                    <a:pt x="114602" y="82157"/>
                  </a:lnTo>
                  <a:lnTo>
                    <a:pt x="110860" y="83336"/>
                  </a:lnTo>
                  <a:lnTo>
                    <a:pt x="107377" y="83798"/>
                  </a:lnTo>
                  <a:lnTo>
                    <a:pt x="105948" y="84188"/>
                  </a:lnTo>
                  <a:lnTo>
                    <a:pt x="105308" y="84613"/>
                  </a:lnTo>
                  <a:lnTo>
                    <a:pt x="104140" y="86289"/>
                  </a:lnTo>
                  <a:lnTo>
                    <a:pt x="102942" y="88918"/>
                  </a:lnTo>
                  <a:lnTo>
                    <a:pt x="102316" y="90201"/>
                  </a:lnTo>
                  <a:lnTo>
                    <a:pt x="101854" y="90943"/>
                  </a:lnTo>
                  <a:lnTo>
                    <a:pt x="101951" y="91914"/>
                  </a:lnTo>
                  <a:lnTo>
                    <a:pt x="102897" y="93170"/>
                  </a:lnTo>
                  <a:lnTo>
                    <a:pt x="103607" y="95979"/>
                  </a:lnTo>
                  <a:lnTo>
                    <a:pt x="103441" y="96706"/>
                  </a:lnTo>
                  <a:lnTo>
                    <a:pt x="102681" y="97881"/>
                  </a:lnTo>
                  <a:lnTo>
                    <a:pt x="101579" y="99032"/>
                  </a:lnTo>
                  <a:lnTo>
                    <a:pt x="99208" y="99725"/>
                  </a:lnTo>
                  <a:lnTo>
                    <a:pt x="97349" y="100073"/>
                  </a:lnTo>
                  <a:lnTo>
                    <a:pt x="96109" y="99846"/>
                  </a:lnTo>
                  <a:lnTo>
                    <a:pt x="93784" y="99769"/>
                  </a:lnTo>
                  <a:lnTo>
                    <a:pt x="91948" y="100232"/>
                  </a:lnTo>
                  <a:lnTo>
                    <a:pt x="90815" y="101020"/>
                  </a:lnTo>
                  <a:lnTo>
                    <a:pt x="88578" y="102000"/>
                  </a:lnTo>
                  <a:lnTo>
                    <a:pt x="85798" y="102329"/>
                  </a:lnTo>
                  <a:lnTo>
                    <a:pt x="82264" y="102454"/>
                  </a:lnTo>
                  <a:lnTo>
                    <a:pt x="80562" y="102368"/>
                  </a:lnTo>
                  <a:lnTo>
                    <a:pt x="75420" y="101704"/>
                  </a:lnTo>
                  <a:lnTo>
                    <a:pt x="73727" y="101932"/>
                  </a:lnTo>
                  <a:lnTo>
                    <a:pt x="72110" y="102446"/>
                  </a:lnTo>
                  <a:lnTo>
                    <a:pt x="69180" y="102978"/>
                  </a:lnTo>
                  <a:lnTo>
                    <a:pt x="67621" y="104614"/>
                  </a:lnTo>
                  <a:lnTo>
                    <a:pt x="66794" y="106118"/>
                  </a:lnTo>
                  <a:lnTo>
                    <a:pt x="66355" y="106330"/>
                  </a:lnTo>
                  <a:lnTo>
                    <a:pt x="64528" y="104951"/>
                  </a:lnTo>
                  <a:lnTo>
                    <a:pt x="63132" y="103658"/>
                  </a:lnTo>
                  <a:lnTo>
                    <a:pt x="62216" y="102582"/>
                  </a:lnTo>
                  <a:lnTo>
                    <a:pt x="61071" y="102613"/>
                  </a:lnTo>
                  <a:lnTo>
                    <a:pt x="56979" y="104566"/>
                  </a:lnTo>
                  <a:lnTo>
                    <a:pt x="56375" y="104504"/>
                  </a:lnTo>
                  <a:lnTo>
                    <a:pt x="55204" y="103763"/>
                  </a:lnTo>
                  <a:lnTo>
                    <a:pt x="55418" y="101918"/>
                  </a:lnTo>
                  <a:lnTo>
                    <a:pt x="55349" y="100744"/>
                  </a:lnTo>
                  <a:lnTo>
                    <a:pt x="54032" y="100119"/>
                  </a:lnTo>
                  <a:lnTo>
                    <a:pt x="51237" y="99964"/>
                  </a:lnTo>
                  <a:lnTo>
                    <a:pt x="50287" y="99296"/>
                  </a:lnTo>
                  <a:lnTo>
                    <a:pt x="50344" y="98302"/>
                  </a:lnTo>
                  <a:lnTo>
                    <a:pt x="50598" y="97347"/>
                  </a:lnTo>
                  <a:lnTo>
                    <a:pt x="50281" y="96612"/>
                  </a:lnTo>
                  <a:lnTo>
                    <a:pt x="49558" y="96053"/>
                  </a:lnTo>
                  <a:lnTo>
                    <a:pt x="48098" y="96204"/>
                  </a:lnTo>
                  <a:lnTo>
                    <a:pt x="46422" y="96962"/>
                  </a:lnTo>
                  <a:lnTo>
                    <a:pt x="45191" y="97829"/>
                  </a:lnTo>
                  <a:lnTo>
                    <a:pt x="43641" y="98231"/>
                  </a:lnTo>
                  <a:lnTo>
                    <a:pt x="41768" y="98393"/>
                  </a:lnTo>
                  <a:lnTo>
                    <a:pt x="40596" y="98917"/>
                  </a:lnTo>
                  <a:lnTo>
                    <a:pt x="39266" y="101033"/>
                  </a:lnTo>
                  <a:lnTo>
                    <a:pt x="34720" y="101478"/>
                  </a:lnTo>
                  <a:lnTo>
                    <a:pt x="33256" y="100996"/>
                  </a:lnTo>
                  <a:lnTo>
                    <a:pt x="32051" y="99491"/>
                  </a:lnTo>
                  <a:lnTo>
                    <a:pt x="30486" y="97073"/>
                  </a:lnTo>
                  <a:lnTo>
                    <a:pt x="29605" y="96775"/>
                  </a:lnTo>
                  <a:lnTo>
                    <a:pt x="28128" y="96477"/>
                  </a:lnTo>
                  <a:lnTo>
                    <a:pt x="25716" y="96619"/>
                  </a:lnTo>
                  <a:lnTo>
                    <a:pt x="22460" y="97639"/>
                  </a:lnTo>
                  <a:lnTo>
                    <a:pt x="21673" y="96798"/>
                  </a:lnTo>
                  <a:lnTo>
                    <a:pt x="20829" y="96560"/>
                  </a:lnTo>
                  <a:lnTo>
                    <a:pt x="20071" y="97251"/>
                  </a:lnTo>
                  <a:lnTo>
                    <a:pt x="19293" y="97172"/>
                  </a:lnTo>
                  <a:lnTo>
                    <a:pt x="16072" y="97367"/>
                  </a:lnTo>
                  <a:lnTo>
                    <a:pt x="12006" y="97272"/>
                  </a:lnTo>
                  <a:lnTo>
                    <a:pt x="9682" y="96801"/>
                  </a:lnTo>
                  <a:lnTo>
                    <a:pt x="8175" y="96830"/>
                  </a:lnTo>
                  <a:lnTo>
                    <a:pt x="5178" y="97913"/>
                  </a:lnTo>
                  <a:lnTo>
                    <a:pt x="3591" y="97903"/>
                  </a:lnTo>
                  <a:lnTo>
                    <a:pt x="1516" y="98102"/>
                  </a:lnTo>
                  <a:lnTo>
                    <a:pt x="1131" y="94436"/>
                  </a:lnTo>
                  <a:lnTo>
                    <a:pt x="0" y="91960"/>
                  </a:lnTo>
                  <a:lnTo>
                    <a:pt x="345" y="90242"/>
                  </a:lnTo>
                  <a:lnTo>
                    <a:pt x="1098" y="87880"/>
                  </a:lnTo>
                  <a:lnTo>
                    <a:pt x="1727" y="86557"/>
                  </a:lnTo>
                  <a:lnTo>
                    <a:pt x="3014" y="87117"/>
                  </a:lnTo>
                  <a:lnTo>
                    <a:pt x="4485" y="88089"/>
                  </a:lnTo>
                  <a:lnTo>
                    <a:pt x="5465" y="87829"/>
                  </a:lnTo>
                  <a:lnTo>
                    <a:pt x="5722" y="87029"/>
                  </a:lnTo>
                  <a:lnTo>
                    <a:pt x="5348" y="85981"/>
                  </a:lnTo>
                  <a:lnTo>
                    <a:pt x="5299" y="85196"/>
                  </a:lnTo>
                  <a:lnTo>
                    <a:pt x="5849" y="84163"/>
                  </a:lnTo>
                  <a:lnTo>
                    <a:pt x="6659" y="83198"/>
                  </a:lnTo>
                  <a:lnTo>
                    <a:pt x="11855" y="81614"/>
                  </a:lnTo>
                  <a:lnTo>
                    <a:pt x="16312" y="80459"/>
                  </a:lnTo>
                  <a:lnTo>
                    <a:pt x="18626" y="81229"/>
                  </a:lnTo>
                  <a:lnTo>
                    <a:pt x="23114" y="83002"/>
                  </a:lnTo>
                  <a:lnTo>
                    <a:pt x="25424" y="83914"/>
                  </a:lnTo>
                  <a:lnTo>
                    <a:pt x="27026" y="84453"/>
                  </a:lnTo>
                  <a:lnTo>
                    <a:pt x="28437" y="87043"/>
                  </a:lnTo>
                  <a:lnTo>
                    <a:pt x="29359" y="86923"/>
                  </a:lnTo>
                  <a:lnTo>
                    <a:pt x="30296" y="86401"/>
                  </a:lnTo>
                  <a:lnTo>
                    <a:pt x="30846" y="85764"/>
                  </a:lnTo>
                  <a:lnTo>
                    <a:pt x="31293" y="83560"/>
                  </a:lnTo>
                  <a:lnTo>
                    <a:pt x="33377" y="82315"/>
                  </a:lnTo>
                  <a:lnTo>
                    <a:pt x="37973" y="80841"/>
                  </a:lnTo>
                  <a:lnTo>
                    <a:pt x="38294" y="79978"/>
                  </a:lnTo>
                  <a:lnTo>
                    <a:pt x="38229" y="79502"/>
                  </a:lnTo>
                  <a:lnTo>
                    <a:pt x="38950" y="79084"/>
                  </a:lnTo>
                  <a:lnTo>
                    <a:pt x="41248" y="78656"/>
                  </a:lnTo>
                  <a:lnTo>
                    <a:pt x="45895" y="78246"/>
                  </a:lnTo>
                  <a:lnTo>
                    <a:pt x="47476" y="78553"/>
                  </a:lnTo>
                  <a:lnTo>
                    <a:pt x="49272" y="79420"/>
                  </a:lnTo>
                  <a:lnTo>
                    <a:pt x="50665" y="80283"/>
                  </a:lnTo>
                  <a:lnTo>
                    <a:pt x="51993" y="80250"/>
                  </a:lnTo>
                  <a:lnTo>
                    <a:pt x="53086" y="80070"/>
                  </a:lnTo>
                  <a:lnTo>
                    <a:pt x="53550" y="80308"/>
                  </a:lnTo>
                  <a:lnTo>
                    <a:pt x="53902" y="81076"/>
                  </a:lnTo>
                  <a:lnTo>
                    <a:pt x="54470" y="81762"/>
                  </a:lnTo>
                  <a:lnTo>
                    <a:pt x="56243" y="80830"/>
                  </a:lnTo>
                  <a:lnTo>
                    <a:pt x="57852" y="79621"/>
                  </a:lnTo>
                  <a:lnTo>
                    <a:pt x="59119" y="79447"/>
                  </a:lnTo>
                  <a:lnTo>
                    <a:pt x="60290" y="78987"/>
                  </a:lnTo>
                  <a:lnTo>
                    <a:pt x="60631" y="78179"/>
                  </a:lnTo>
                  <a:lnTo>
                    <a:pt x="61549" y="76839"/>
                  </a:lnTo>
                  <a:lnTo>
                    <a:pt x="64172" y="74278"/>
                  </a:lnTo>
                  <a:lnTo>
                    <a:pt x="65535" y="73864"/>
                  </a:lnTo>
                  <a:lnTo>
                    <a:pt x="66418" y="73865"/>
                  </a:lnTo>
                  <a:lnTo>
                    <a:pt x="66459" y="74278"/>
                  </a:lnTo>
                  <a:lnTo>
                    <a:pt x="66886" y="74655"/>
                  </a:lnTo>
                  <a:lnTo>
                    <a:pt x="69180" y="75245"/>
                  </a:lnTo>
                  <a:lnTo>
                    <a:pt x="69877" y="74572"/>
                  </a:lnTo>
                  <a:lnTo>
                    <a:pt x="70247" y="73638"/>
                  </a:lnTo>
                  <a:lnTo>
                    <a:pt x="69445" y="72154"/>
                  </a:lnTo>
                  <a:lnTo>
                    <a:pt x="69430" y="71533"/>
                  </a:lnTo>
                  <a:lnTo>
                    <a:pt x="69730" y="70965"/>
                  </a:lnTo>
                  <a:lnTo>
                    <a:pt x="70160" y="70626"/>
                  </a:lnTo>
                  <a:lnTo>
                    <a:pt x="73818" y="72033"/>
                  </a:lnTo>
                  <a:lnTo>
                    <a:pt x="74628" y="72005"/>
                  </a:lnTo>
                  <a:lnTo>
                    <a:pt x="76297" y="71214"/>
                  </a:lnTo>
                  <a:lnTo>
                    <a:pt x="77828" y="69823"/>
                  </a:lnTo>
                  <a:lnTo>
                    <a:pt x="78381" y="68730"/>
                  </a:lnTo>
                  <a:lnTo>
                    <a:pt x="85878" y="65171"/>
                  </a:lnTo>
                  <a:lnTo>
                    <a:pt x="86410" y="64524"/>
                  </a:lnTo>
                  <a:lnTo>
                    <a:pt x="86304" y="64055"/>
                  </a:lnTo>
                  <a:lnTo>
                    <a:pt x="83162" y="63225"/>
                  </a:lnTo>
                  <a:lnTo>
                    <a:pt x="81745" y="63690"/>
                  </a:lnTo>
                  <a:lnTo>
                    <a:pt x="80432" y="63692"/>
                  </a:lnTo>
                  <a:lnTo>
                    <a:pt x="79644" y="63171"/>
                  </a:lnTo>
                  <a:lnTo>
                    <a:pt x="75826" y="62967"/>
                  </a:lnTo>
                  <a:lnTo>
                    <a:pt x="74989" y="62603"/>
                  </a:lnTo>
                  <a:lnTo>
                    <a:pt x="72458" y="60029"/>
                  </a:lnTo>
                  <a:lnTo>
                    <a:pt x="70719" y="59049"/>
                  </a:lnTo>
                  <a:lnTo>
                    <a:pt x="69320" y="58404"/>
                  </a:lnTo>
                  <a:lnTo>
                    <a:pt x="67791" y="58497"/>
                  </a:lnTo>
                  <a:lnTo>
                    <a:pt x="65982" y="59172"/>
                  </a:lnTo>
                  <a:lnTo>
                    <a:pt x="65412" y="58865"/>
                  </a:lnTo>
                  <a:lnTo>
                    <a:pt x="65265" y="57788"/>
                  </a:lnTo>
                  <a:lnTo>
                    <a:pt x="65271" y="56429"/>
                  </a:lnTo>
                  <a:lnTo>
                    <a:pt x="64902" y="54974"/>
                  </a:lnTo>
                  <a:lnTo>
                    <a:pt x="63823" y="54635"/>
                  </a:lnTo>
                  <a:lnTo>
                    <a:pt x="62430" y="55211"/>
                  </a:lnTo>
                  <a:lnTo>
                    <a:pt x="60352" y="54623"/>
                  </a:lnTo>
                  <a:lnTo>
                    <a:pt x="58586" y="54413"/>
                  </a:lnTo>
                  <a:lnTo>
                    <a:pt x="58130" y="51345"/>
                  </a:lnTo>
                  <a:lnTo>
                    <a:pt x="57418" y="50035"/>
                  </a:lnTo>
                  <a:lnTo>
                    <a:pt x="56681" y="48659"/>
                  </a:lnTo>
                  <a:lnTo>
                    <a:pt x="55913" y="48266"/>
                  </a:lnTo>
                  <a:lnTo>
                    <a:pt x="54651" y="47580"/>
                  </a:lnTo>
                  <a:lnTo>
                    <a:pt x="54576" y="45953"/>
                  </a:lnTo>
                  <a:lnTo>
                    <a:pt x="54308" y="45492"/>
                  </a:lnTo>
                  <a:lnTo>
                    <a:pt x="53861" y="45276"/>
                  </a:lnTo>
                  <a:lnTo>
                    <a:pt x="53254" y="45461"/>
                  </a:lnTo>
                  <a:lnTo>
                    <a:pt x="52475" y="46278"/>
                  </a:lnTo>
                  <a:lnTo>
                    <a:pt x="52859" y="48070"/>
                  </a:lnTo>
                  <a:lnTo>
                    <a:pt x="52563" y="49866"/>
                  </a:lnTo>
                  <a:lnTo>
                    <a:pt x="52105" y="50768"/>
                  </a:lnTo>
                  <a:lnTo>
                    <a:pt x="51223" y="51432"/>
                  </a:lnTo>
                  <a:lnTo>
                    <a:pt x="50214" y="51448"/>
                  </a:lnTo>
                  <a:lnTo>
                    <a:pt x="48465" y="50540"/>
                  </a:lnTo>
                  <a:lnTo>
                    <a:pt x="48188" y="55967"/>
                  </a:lnTo>
                  <a:lnTo>
                    <a:pt x="47849" y="56300"/>
                  </a:lnTo>
                  <a:lnTo>
                    <a:pt x="45766" y="55533"/>
                  </a:lnTo>
                  <a:lnTo>
                    <a:pt x="44099" y="55864"/>
                  </a:lnTo>
                  <a:lnTo>
                    <a:pt x="41606" y="55530"/>
                  </a:lnTo>
                  <a:lnTo>
                    <a:pt x="39732" y="54635"/>
                  </a:lnTo>
                  <a:lnTo>
                    <a:pt x="38331" y="54387"/>
                  </a:lnTo>
                  <a:lnTo>
                    <a:pt x="36072" y="53625"/>
                  </a:lnTo>
                  <a:lnTo>
                    <a:pt x="34347" y="52634"/>
                  </a:lnTo>
                  <a:lnTo>
                    <a:pt x="33284" y="48992"/>
                  </a:lnTo>
                  <a:lnTo>
                    <a:pt x="32278" y="47690"/>
                  </a:lnTo>
                  <a:lnTo>
                    <a:pt x="31328" y="47412"/>
                  </a:lnTo>
                  <a:lnTo>
                    <a:pt x="27469" y="48672"/>
                  </a:lnTo>
                  <a:lnTo>
                    <a:pt x="26063" y="47697"/>
                  </a:lnTo>
                  <a:lnTo>
                    <a:pt x="23459" y="46448"/>
                  </a:lnTo>
                  <a:lnTo>
                    <a:pt x="21488" y="45982"/>
                  </a:lnTo>
                  <a:lnTo>
                    <a:pt x="20959" y="45308"/>
                  </a:lnTo>
                  <a:lnTo>
                    <a:pt x="21047" y="44476"/>
                  </a:lnTo>
                  <a:lnTo>
                    <a:pt x="27106" y="40411"/>
                  </a:lnTo>
                  <a:lnTo>
                    <a:pt x="29492" y="37609"/>
                  </a:lnTo>
                  <a:lnTo>
                    <a:pt x="30995" y="36425"/>
                  </a:lnTo>
                  <a:lnTo>
                    <a:pt x="33138" y="35636"/>
                  </a:lnTo>
                  <a:lnTo>
                    <a:pt x="34809" y="35174"/>
                  </a:lnTo>
                  <a:lnTo>
                    <a:pt x="35662" y="32600"/>
                  </a:lnTo>
                  <a:lnTo>
                    <a:pt x="35988" y="32303"/>
                  </a:lnTo>
                  <a:lnTo>
                    <a:pt x="37176" y="32113"/>
                  </a:lnTo>
                  <a:lnTo>
                    <a:pt x="39871" y="31056"/>
                  </a:lnTo>
                  <a:lnTo>
                    <a:pt x="44211" y="28794"/>
                  </a:lnTo>
                  <a:lnTo>
                    <a:pt x="44295" y="28172"/>
                  </a:lnTo>
                  <a:lnTo>
                    <a:pt x="43861" y="27636"/>
                  </a:lnTo>
                  <a:lnTo>
                    <a:pt x="42032" y="26477"/>
                  </a:lnTo>
                  <a:lnTo>
                    <a:pt x="39955" y="25554"/>
                  </a:lnTo>
                  <a:lnTo>
                    <a:pt x="38693" y="26036"/>
                  </a:lnTo>
                  <a:lnTo>
                    <a:pt x="37981" y="26512"/>
                  </a:lnTo>
                  <a:lnTo>
                    <a:pt x="36789" y="25314"/>
                  </a:lnTo>
                  <a:lnTo>
                    <a:pt x="36789" y="24081"/>
                  </a:lnTo>
                  <a:lnTo>
                    <a:pt x="38104" y="21966"/>
                  </a:lnTo>
                  <a:lnTo>
                    <a:pt x="39201" y="20908"/>
                  </a:lnTo>
                  <a:lnTo>
                    <a:pt x="39661" y="18871"/>
                  </a:lnTo>
                  <a:lnTo>
                    <a:pt x="41227" y="17508"/>
                  </a:lnTo>
                  <a:lnTo>
                    <a:pt x="42859" y="15347"/>
                  </a:lnTo>
                  <a:lnTo>
                    <a:pt x="44833" y="13581"/>
                  </a:lnTo>
                  <a:lnTo>
                    <a:pt x="48491" y="12254"/>
                  </a:lnTo>
                  <a:lnTo>
                    <a:pt x="50529" y="12688"/>
                  </a:lnTo>
                  <a:lnTo>
                    <a:pt x="52443" y="12374"/>
                  </a:lnTo>
                  <a:lnTo>
                    <a:pt x="55405" y="11298"/>
                  </a:lnTo>
                  <a:lnTo>
                    <a:pt x="55975" y="11229"/>
                  </a:lnTo>
                  <a:lnTo>
                    <a:pt x="57219" y="11211"/>
                  </a:lnTo>
                  <a:lnTo>
                    <a:pt x="64848" y="12855"/>
                  </a:lnTo>
                  <a:lnTo>
                    <a:pt x="67368" y="12936"/>
                  </a:lnTo>
                  <a:lnTo>
                    <a:pt x="73281" y="15072"/>
                  </a:lnTo>
                  <a:lnTo>
                    <a:pt x="75999" y="15535"/>
                  </a:lnTo>
                  <a:lnTo>
                    <a:pt x="77919" y="16136"/>
                  </a:lnTo>
                  <a:lnTo>
                    <a:pt x="78791" y="17056"/>
                  </a:lnTo>
                  <a:lnTo>
                    <a:pt x="80178" y="18185"/>
                  </a:lnTo>
                  <a:lnTo>
                    <a:pt x="87601" y="19100"/>
                  </a:lnTo>
                  <a:lnTo>
                    <a:pt x="89638" y="19707"/>
                  </a:lnTo>
                  <a:lnTo>
                    <a:pt x="90370" y="20697"/>
                  </a:lnTo>
                  <a:lnTo>
                    <a:pt x="92484" y="21955"/>
                  </a:lnTo>
                  <a:lnTo>
                    <a:pt x="94283" y="22242"/>
                  </a:lnTo>
                  <a:lnTo>
                    <a:pt x="92711" y="17321"/>
                  </a:lnTo>
                  <a:lnTo>
                    <a:pt x="93337" y="14396"/>
                  </a:lnTo>
                  <a:lnTo>
                    <a:pt x="95682" y="6374"/>
                  </a:lnTo>
                  <a:lnTo>
                    <a:pt x="96915" y="5165"/>
                  </a:lnTo>
                  <a:lnTo>
                    <a:pt x="99271" y="4092"/>
                  </a:lnTo>
                  <a:lnTo>
                    <a:pt x="102974" y="2894"/>
                  </a:lnTo>
                  <a:lnTo>
                    <a:pt x="104371" y="1218"/>
                  </a:lnTo>
                  <a:lnTo>
                    <a:pt x="107401" y="1389"/>
                  </a:lnTo>
                  <a:lnTo>
                    <a:pt x="108720" y="1243"/>
                  </a:lnTo>
                  <a:lnTo>
                    <a:pt x="109625" y="942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83" name="ee4p_KH_1_37365">
              <a:extLst>
                <a:ext uri="{FF2B5EF4-FFF2-40B4-BE49-F238E27FC236}">
                  <a16:creationId xmlns:a16="http://schemas.microsoft.com/office/drawing/2014/main" id="{5A57C380-994E-D174-35AA-7BFE35A11DD9}"/>
                </a:ext>
              </a:extLst>
            </p:cNvPr>
            <p:cNvSpPr>
              <a:spLocks noChangeAspect="1"/>
            </p:cNvSpPr>
            <p:nvPr>
              <p:custDataLst>
                <p:tags r:id="rId237"/>
              </p:custDataLst>
            </p:nvPr>
          </p:nvSpPr>
          <p:spPr>
            <a:xfrm>
              <a:off x="9356053" y="4253335"/>
              <a:ext cx="146782" cy="124411"/>
            </a:xfrm>
            <a:custGeom>
              <a:avLst/>
              <a:gdLst>
                <a:gd name="connsiteX0" fmla="*/ 19983 w 116879"/>
                <a:gd name="connsiteY0" fmla="*/ 88151 h 96440"/>
                <a:gd name="connsiteX1" fmla="*/ 22069 w 116879"/>
                <a:gd name="connsiteY1" fmla="*/ 89571 h 96440"/>
                <a:gd name="connsiteX2" fmla="*/ 21262 w 116879"/>
                <a:gd name="connsiteY2" fmla="*/ 90439 h 96440"/>
                <a:gd name="connsiteX3" fmla="*/ 19973 w 116879"/>
                <a:gd name="connsiteY3" fmla="*/ 88652 h 96440"/>
                <a:gd name="connsiteX4" fmla="*/ 15857 w 116879"/>
                <a:gd name="connsiteY4" fmla="*/ 74545 h 96440"/>
                <a:gd name="connsiteX5" fmla="*/ 16040 w 116879"/>
                <a:gd name="connsiteY5" fmla="*/ 76894 h 96440"/>
                <a:gd name="connsiteX6" fmla="*/ 15647 w 116879"/>
                <a:gd name="connsiteY6" fmla="*/ 77108 h 96440"/>
                <a:gd name="connsiteX7" fmla="*/ 15275 w 116879"/>
                <a:gd name="connsiteY7" fmla="*/ 77101 h 96440"/>
                <a:gd name="connsiteX8" fmla="*/ 14895 w 116879"/>
                <a:gd name="connsiteY8" fmla="*/ 76774 h 96440"/>
                <a:gd name="connsiteX9" fmla="*/ 14933 w 116879"/>
                <a:gd name="connsiteY9" fmla="*/ 75482 h 96440"/>
                <a:gd name="connsiteX10" fmla="*/ 15208 w 116879"/>
                <a:gd name="connsiteY10" fmla="*/ 74694 h 96440"/>
                <a:gd name="connsiteX11" fmla="*/ 114977 w 116879"/>
                <a:gd name="connsiteY11" fmla="*/ 0 h 96440"/>
                <a:gd name="connsiteX12" fmla="*/ 115326 w 116879"/>
                <a:gd name="connsiteY12" fmla="*/ 1245 h 96440"/>
                <a:gd name="connsiteX13" fmla="*/ 114395 w 116879"/>
                <a:gd name="connsiteY13" fmla="*/ 3598 h 96440"/>
                <a:gd name="connsiteX14" fmla="*/ 113406 w 116879"/>
                <a:gd name="connsiteY14" fmla="*/ 5732 h 96440"/>
                <a:gd name="connsiteX15" fmla="*/ 111550 w 116879"/>
                <a:gd name="connsiteY15" fmla="*/ 7594 h 96440"/>
                <a:gd name="connsiteX16" fmla="*/ 111459 w 116879"/>
                <a:gd name="connsiteY16" fmla="*/ 8966 h 96440"/>
                <a:gd name="connsiteX17" fmla="*/ 110820 w 116879"/>
                <a:gd name="connsiteY17" fmla="*/ 13055 h 96440"/>
                <a:gd name="connsiteX18" fmla="*/ 111066 w 116879"/>
                <a:gd name="connsiteY18" fmla="*/ 14356 h 96440"/>
                <a:gd name="connsiteX19" fmla="*/ 111498 w 116879"/>
                <a:gd name="connsiteY19" fmla="*/ 15470 h 96440"/>
                <a:gd name="connsiteX20" fmla="*/ 112103 w 116879"/>
                <a:gd name="connsiteY20" fmla="*/ 16066 h 96440"/>
                <a:gd name="connsiteX21" fmla="*/ 113713 w 116879"/>
                <a:gd name="connsiteY21" fmla="*/ 20064 h 96440"/>
                <a:gd name="connsiteX22" fmla="*/ 115180 w 116879"/>
                <a:gd name="connsiteY22" fmla="*/ 23700 h 96440"/>
                <a:gd name="connsiteX23" fmla="*/ 116624 w 116879"/>
                <a:gd name="connsiteY23" fmla="*/ 26684 h 96440"/>
                <a:gd name="connsiteX24" fmla="*/ 116879 w 116879"/>
                <a:gd name="connsiteY24" fmla="*/ 28572 h 96440"/>
                <a:gd name="connsiteX25" fmla="*/ 115554 w 116879"/>
                <a:gd name="connsiteY25" fmla="*/ 33351 h 96440"/>
                <a:gd name="connsiteX26" fmla="*/ 114002 w 116879"/>
                <a:gd name="connsiteY26" fmla="*/ 37738 h 96440"/>
                <a:gd name="connsiteX27" fmla="*/ 114139 w 116879"/>
                <a:gd name="connsiteY27" fmla="*/ 39924 h 96440"/>
                <a:gd name="connsiteX28" fmla="*/ 114802 w 116879"/>
                <a:gd name="connsiteY28" fmla="*/ 42112 h 96440"/>
                <a:gd name="connsiteX29" fmla="*/ 115510 w 116879"/>
                <a:gd name="connsiteY29" fmla="*/ 45029 h 96440"/>
                <a:gd name="connsiteX30" fmla="*/ 115774 w 116879"/>
                <a:gd name="connsiteY30" fmla="*/ 48756 h 96440"/>
                <a:gd name="connsiteX31" fmla="*/ 115389 w 116879"/>
                <a:gd name="connsiteY31" fmla="*/ 51185 h 96440"/>
                <a:gd name="connsiteX32" fmla="*/ 114689 w 116879"/>
                <a:gd name="connsiteY32" fmla="*/ 52694 h 96440"/>
                <a:gd name="connsiteX33" fmla="*/ 113353 w 116879"/>
                <a:gd name="connsiteY33" fmla="*/ 54240 h 96440"/>
                <a:gd name="connsiteX34" fmla="*/ 112189 w 116879"/>
                <a:gd name="connsiteY34" fmla="*/ 55030 h 96440"/>
                <a:gd name="connsiteX35" fmla="*/ 110789 w 116879"/>
                <a:gd name="connsiteY35" fmla="*/ 53716 h 96440"/>
                <a:gd name="connsiteX36" fmla="*/ 109676 w 116879"/>
                <a:gd name="connsiteY36" fmla="*/ 53659 h 96440"/>
                <a:gd name="connsiteX37" fmla="*/ 108181 w 116879"/>
                <a:gd name="connsiteY37" fmla="*/ 54054 h 96440"/>
                <a:gd name="connsiteX38" fmla="*/ 107006 w 116879"/>
                <a:gd name="connsiteY38" fmla="*/ 54658 h 96440"/>
                <a:gd name="connsiteX39" fmla="*/ 104612 w 116879"/>
                <a:gd name="connsiteY39" fmla="*/ 56929 h 96440"/>
                <a:gd name="connsiteX40" fmla="*/ 101957 w 116879"/>
                <a:gd name="connsiteY40" fmla="*/ 59135 h 96440"/>
                <a:gd name="connsiteX41" fmla="*/ 98286 w 116879"/>
                <a:gd name="connsiteY41" fmla="*/ 59700 h 96440"/>
                <a:gd name="connsiteX42" fmla="*/ 96859 w 116879"/>
                <a:gd name="connsiteY42" fmla="*/ 61338 h 96440"/>
                <a:gd name="connsiteX43" fmla="*/ 95331 w 116879"/>
                <a:gd name="connsiteY43" fmla="*/ 61564 h 96440"/>
                <a:gd name="connsiteX44" fmla="*/ 92426 w 116879"/>
                <a:gd name="connsiteY44" fmla="*/ 61647 h 96440"/>
                <a:gd name="connsiteX45" fmla="*/ 90530 w 116879"/>
                <a:gd name="connsiteY45" fmla="*/ 62030 h 96440"/>
                <a:gd name="connsiteX46" fmla="*/ 90616 w 116879"/>
                <a:gd name="connsiteY46" fmla="*/ 62853 h 96440"/>
                <a:gd name="connsiteX47" fmla="*/ 90461 w 116879"/>
                <a:gd name="connsiteY47" fmla="*/ 66739 h 96440"/>
                <a:gd name="connsiteX48" fmla="*/ 90500 w 116879"/>
                <a:gd name="connsiteY48" fmla="*/ 67649 h 96440"/>
                <a:gd name="connsiteX49" fmla="*/ 90206 w 116879"/>
                <a:gd name="connsiteY49" fmla="*/ 67890 h 96440"/>
                <a:gd name="connsiteX50" fmla="*/ 88893 w 116879"/>
                <a:gd name="connsiteY50" fmla="*/ 68006 h 96440"/>
                <a:gd name="connsiteX51" fmla="*/ 86667 w 116879"/>
                <a:gd name="connsiteY51" fmla="*/ 67412 h 96440"/>
                <a:gd name="connsiteX52" fmla="*/ 83655 w 116879"/>
                <a:gd name="connsiteY52" fmla="*/ 66450 h 96440"/>
                <a:gd name="connsiteX53" fmla="*/ 81513 w 116879"/>
                <a:gd name="connsiteY53" fmla="*/ 66299 h 96440"/>
                <a:gd name="connsiteX54" fmla="*/ 80411 w 116879"/>
                <a:gd name="connsiteY54" fmla="*/ 67992 h 96440"/>
                <a:gd name="connsiteX55" fmla="*/ 79755 w 116879"/>
                <a:gd name="connsiteY55" fmla="*/ 68654 h 96440"/>
                <a:gd name="connsiteX56" fmla="*/ 78943 w 116879"/>
                <a:gd name="connsiteY56" fmla="*/ 68756 h 96440"/>
                <a:gd name="connsiteX57" fmla="*/ 78095 w 116879"/>
                <a:gd name="connsiteY57" fmla="*/ 69055 h 96440"/>
                <a:gd name="connsiteX58" fmla="*/ 77807 w 116879"/>
                <a:gd name="connsiteY58" fmla="*/ 69810 h 96440"/>
                <a:gd name="connsiteX59" fmla="*/ 77738 w 116879"/>
                <a:gd name="connsiteY59" fmla="*/ 70756 h 96440"/>
                <a:gd name="connsiteX60" fmla="*/ 78150 w 116879"/>
                <a:gd name="connsiteY60" fmla="*/ 72370 h 96440"/>
                <a:gd name="connsiteX61" fmla="*/ 78304 w 116879"/>
                <a:gd name="connsiteY61" fmla="*/ 74938 h 96440"/>
                <a:gd name="connsiteX62" fmla="*/ 78196 w 116879"/>
                <a:gd name="connsiteY62" fmla="*/ 76687 h 96440"/>
                <a:gd name="connsiteX63" fmla="*/ 78982 w 116879"/>
                <a:gd name="connsiteY63" fmla="*/ 77794 h 96440"/>
                <a:gd name="connsiteX64" fmla="*/ 83579 w 116879"/>
                <a:gd name="connsiteY64" fmla="*/ 81514 h 96440"/>
                <a:gd name="connsiteX65" fmla="*/ 84938 w 116879"/>
                <a:gd name="connsiteY65" fmla="*/ 82444 h 96440"/>
                <a:gd name="connsiteX66" fmla="*/ 85093 w 116879"/>
                <a:gd name="connsiteY66" fmla="*/ 82999 h 96440"/>
                <a:gd name="connsiteX67" fmla="*/ 84287 w 116879"/>
                <a:gd name="connsiteY67" fmla="*/ 85020 h 96440"/>
                <a:gd name="connsiteX68" fmla="*/ 85004 w 116879"/>
                <a:gd name="connsiteY68" fmla="*/ 87862 h 96440"/>
                <a:gd name="connsiteX69" fmla="*/ 83564 w 116879"/>
                <a:gd name="connsiteY69" fmla="*/ 87809 h 96440"/>
                <a:gd name="connsiteX70" fmla="*/ 81160 w 116879"/>
                <a:gd name="connsiteY70" fmla="*/ 86590 h 96440"/>
                <a:gd name="connsiteX71" fmla="*/ 80012 w 116879"/>
                <a:gd name="connsiteY71" fmla="*/ 85844 h 96440"/>
                <a:gd name="connsiteX72" fmla="*/ 78619 w 116879"/>
                <a:gd name="connsiteY72" fmla="*/ 86440 h 96440"/>
                <a:gd name="connsiteX73" fmla="*/ 78135 w 116879"/>
                <a:gd name="connsiteY73" fmla="*/ 86326 h 96440"/>
                <a:gd name="connsiteX74" fmla="*/ 77194 w 116879"/>
                <a:gd name="connsiteY74" fmla="*/ 84928 h 96440"/>
                <a:gd name="connsiteX75" fmla="*/ 75963 w 116879"/>
                <a:gd name="connsiteY75" fmla="*/ 83498 h 96440"/>
                <a:gd name="connsiteX76" fmla="*/ 74696 w 116879"/>
                <a:gd name="connsiteY76" fmla="*/ 83407 h 96440"/>
                <a:gd name="connsiteX77" fmla="*/ 72016 w 116879"/>
                <a:gd name="connsiteY77" fmla="*/ 83970 h 96440"/>
                <a:gd name="connsiteX78" fmla="*/ 69277 w 116879"/>
                <a:gd name="connsiteY78" fmla="*/ 84361 h 96440"/>
                <a:gd name="connsiteX79" fmla="*/ 68239 w 116879"/>
                <a:gd name="connsiteY79" fmla="*/ 84357 h 96440"/>
                <a:gd name="connsiteX80" fmla="*/ 67813 w 116879"/>
                <a:gd name="connsiteY80" fmla="*/ 84615 h 96440"/>
                <a:gd name="connsiteX81" fmla="*/ 66224 w 116879"/>
                <a:gd name="connsiteY81" fmla="*/ 86738 h 96440"/>
                <a:gd name="connsiteX82" fmla="*/ 65553 w 116879"/>
                <a:gd name="connsiteY82" fmla="*/ 86373 h 96440"/>
                <a:gd name="connsiteX83" fmla="*/ 62793 w 116879"/>
                <a:gd name="connsiteY83" fmla="*/ 85566 h 96440"/>
                <a:gd name="connsiteX84" fmla="*/ 60277 w 116879"/>
                <a:gd name="connsiteY84" fmla="*/ 85257 h 96440"/>
                <a:gd name="connsiteX85" fmla="*/ 59759 w 116879"/>
                <a:gd name="connsiteY85" fmla="*/ 85805 h 96440"/>
                <a:gd name="connsiteX86" fmla="*/ 60065 w 116879"/>
                <a:gd name="connsiteY86" fmla="*/ 87538 h 96440"/>
                <a:gd name="connsiteX87" fmla="*/ 60618 w 116879"/>
                <a:gd name="connsiteY87" fmla="*/ 89229 h 96440"/>
                <a:gd name="connsiteX88" fmla="*/ 60293 w 116879"/>
                <a:gd name="connsiteY88" fmla="*/ 89948 h 96440"/>
                <a:gd name="connsiteX89" fmla="*/ 58910 w 116879"/>
                <a:gd name="connsiteY89" fmla="*/ 90836 h 96440"/>
                <a:gd name="connsiteX90" fmla="*/ 57083 w 116879"/>
                <a:gd name="connsiteY90" fmla="*/ 92439 h 96440"/>
                <a:gd name="connsiteX91" fmla="*/ 55963 w 116879"/>
                <a:gd name="connsiteY91" fmla="*/ 93685 h 96440"/>
                <a:gd name="connsiteX92" fmla="*/ 55185 w 116879"/>
                <a:gd name="connsiteY92" fmla="*/ 93991 h 96440"/>
                <a:gd name="connsiteX93" fmla="*/ 52404 w 116879"/>
                <a:gd name="connsiteY93" fmla="*/ 93936 h 96440"/>
                <a:gd name="connsiteX94" fmla="*/ 49631 w 116879"/>
                <a:gd name="connsiteY94" fmla="*/ 94099 h 96440"/>
                <a:gd name="connsiteX95" fmla="*/ 48521 w 116879"/>
                <a:gd name="connsiteY95" fmla="*/ 95276 h 96440"/>
                <a:gd name="connsiteX96" fmla="*/ 47481 w 116879"/>
                <a:gd name="connsiteY96" fmla="*/ 96191 h 96440"/>
                <a:gd name="connsiteX97" fmla="*/ 46583 w 116879"/>
                <a:gd name="connsiteY97" fmla="*/ 96440 h 96440"/>
                <a:gd name="connsiteX98" fmla="*/ 42957 w 116879"/>
                <a:gd name="connsiteY98" fmla="*/ 93534 h 96440"/>
                <a:gd name="connsiteX99" fmla="*/ 35764 w 116879"/>
                <a:gd name="connsiteY99" fmla="*/ 92520 h 96440"/>
                <a:gd name="connsiteX100" fmla="*/ 34982 w 116879"/>
                <a:gd name="connsiteY100" fmla="*/ 91238 h 96440"/>
                <a:gd name="connsiteX101" fmla="*/ 34291 w 116879"/>
                <a:gd name="connsiteY101" fmla="*/ 90988 h 96440"/>
                <a:gd name="connsiteX102" fmla="*/ 33628 w 116879"/>
                <a:gd name="connsiteY102" fmla="*/ 92655 h 96440"/>
                <a:gd name="connsiteX103" fmla="*/ 29679 w 116879"/>
                <a:gd name="connsiteY103" fmla="*/ 94256 h 96440"/>
                <a:gd name="connsiteX104" fmla="*/ 28025 w 116879"/>
                <a:gd name="connsiteY104" fmla="*/ 93289 h 96440"/>
                <a:gd name="connsiteX105" fmla="*/ 26811 w 116879"/>
                <a:gd name="connsiteY105" fmla="*/ 92117 h 96440"/>
                <a:gd name="connsiteX106" fmla="*/ 26992 w 116879"/>
                <a:gd name="connsiteY106" fmla="*/ 90684 h 96440"/>
                <a:gd name="connsiteX107" fmla="*/ 28135 w 116879"/>
                <a:gd name="connsiteY107" fmla="*/ 89514 h 96440"/>
                <a:gd name="connsiteX108" fmla="*/ 30097 w 116879"/>
                <a:gd name="connsiteY108" fmla="*/ 88674 h 96440"/>
                <a:gd name="connsiteX109" fmla="*/ 31004 w 116879"/>
                <a:gd name="connsiteY109" fmla="*/ 85732 h 96440"/>
                <a:gd name="connsiteX110" fmla="*/ 29510 w 116879"/>
                <a:gd name="connsiteY110" fmla="*/ 81961 h 96440"/>
                <a:gd name="connsiteX111" fmla="*/ 28199 w 116879"/>
                <a:gd name="connsiteY111" fmla="*/ 80862 h 96440"/>
                <a:gd name="connsiteX112" fmla="*/ 26816 w 116879"/>
                <a:gd name="connsiteY112" fmla="*/ 79992 h 96440"/>
                <a:gd name="connsiteX113" fmla="*/ 25362 w 116879"/>
                <a:gd name="connsiteY113" fmla="*/ 81395 h 96440"/>
                <a:gd name="connsiteX114" fmla="*/ 24138 w 116879"/>
                <a:gd name="connsiteY114" fmla="*/ 83794 h 96440"/>
                <a:gd name="connsiteX115" fmla="*/ 22862 w 116879"/>
                <a:gd name="connsiteY115" fmla="*/ 85028 h 96440"/>
                <a:gd name="connsiteX116" fmla="*/ 21061 w 116879"/>
                <a:gd name="connsiteY116" fmla="*/ 85304 h 96440"/>
                <a:gd name="connsiteX117" fmla="*/ 18421 w 116879"/>
                <a:gd name="connsiteY117" fmla="*/ 85204 h 96440"/>
                <a:gd name="connsiteX118" fmla="*/ 17396 w 116879"/>
                <a:gd name="connsiteY118" fmla="*/ 81623 h 96440"/>
                <a:gd name="connsiteX119" fmla="*/ 17057 w 116879"/>
                <a:gd name="connsiteY119" fmla="*/ 78550 h 96440"/>
                <a:gd name="connsiteX120" fmla="*/ 17418 w 116879"/>
                <a:gd name="connsiteY120" fmla="*/ 75041 h 96440"/>
                <a:gd name="connsiteX121" fmla="*/ 17817 w 116879"/>
                <a:gd name="connsiteY121" fmla="*/ 72962 h 96440"/>
                <a:gd name="connsiteX122" fmla="*/ 15275 w 116879"/>
                <a:gd name="connsiteY122" fmla="*/ 70094 h 96440"/>
                <a:gd name="connsiteX123" fmla="*/ 15135 w 116879"/>
                <a:gd name="connsiteY123" fmla="*/ 67362 h 96440"/>
                <a:gd name="connsiteX124" fmla="*/ 13906 w 116879"/>
                <a:gd name="connsiteY124" fmla="*/ 65952 h 96440"/>
                <a:gd name="connsiteX125" fmla="*/ 13546 w 116879"/>
                <a:gd name="connsiteY125" fmla="*/ 66664 h 96440"/>
                <a:gd name="connsiteX126" fmla="*/ 13581 w 116879"/>
                <a:gd name="connsiteY126" fmla="*/ 67449 h 96440"/>
                <a:gd name="connsiteX127" fmla="*/ 13231 w 116879"/>
                <a:gd name="connsiteY127" fmla="*/ 66880 h 96440"/>
                <a:gd name="connsiteX128" fmla="*/ 9218 w 116879"/>
                <a:gd name="connsiteY128" fmla="*/ 58860 h 96440"/>
                <a:gd name="connsiteX129" fmla="*/ 8547 w 116879"/>
                <a:gd name="connsiteY129" fmla="*/ 55138 h 96440"/>
                <a:gd name="connsiteX130" fmla="*/ 9236 w 116879"/>
                <a:gd name="connsiteY130" fmla="*/ 52272 h 96440"/>
                <a:gd name="connsiteX131" fmla="*/ 9640 w 116879"/>
                <a:gd name="connsiteY131" fmla="*/ 51309 h 96440"/>
                <a:gd name="connsiteX132" fmla="*/ 8483 w 116879"/>
                <a:gd name="connsiteY132" fmla="*/ 49800 h 96440"/>
                <a:gd name="connsiteX133" fmla="*/ 6854 w 116879"/>
                <a:gd name="connsiteY133" fmla="*/ 48084 h 96440"/>
                <a:gd name="connsiteX134" fmla="*/ 3977 w 116879"/>
                <a:gd name="connsiteY134" fmla="*/ 45837 h 96440"/>
                <a:gd name="connsiteX135" fmla="*/ 3781 w 116879"/>
                <a:gd name="connsiteY135" fmla="*/ 42279 h 96440"/>
                <a:gd name="connsiteX136" fmla="*/ 3139 w 116879"/>
                <a:gd name="connsiteY136" fmla="*/ 38082 h 96440"/>
                <a:gd name="connsiteX137" fmla="*/ 2276 w 116879"/>
                <a:gd name="connsiteY137" fmla="*/ 36667 h 96440"/>
                <a:gd name="connsiteX138" fmla="*/ 957 w 116879"/>
                <a:gd name="connsiteY138" fmla="*/ 34081 h 96440"/>
                <a:gd name="connsiteX139" fmla="*/ 244 w 116879"/>
                <a:gd name="connsiteY139" fmla="*/ 31938 h 96440"/>
                <a:gd name="connsiteX140" fmla="*/ 0 w 116879"/>
                <a:gd name="connsiteY140" fmla="*/ 26272 h 96440"/>
                <a:gd name="connsiteX141" fmla="*/ 368 w 116879"/>
                <a:gd name="connsiteY141" fmla="*/ 25815 h 96440"/>
                <a:gd name="connsiteX142" fmla="*/ 2405 w 116879"/>
                <a:gd name="connsiteY142" fmla="*/ 25651 h 96440"/>
                <a:gd name="connsiteX143" fmla="*/ 5023 w 116879"/>
                <a:gd name="connsiteY143" fmla="*/ 25243 h 96440"/>
                <a:gd name="connsiteX144" fmla="*/ 5435 w 116879"/>
                <a:gd name="connsiteY144" fmla="*/ 24327 h 96440"/>
                <a:gd name="connsiteX145" fmla="*/ 4975 w 116879"/>
                <a:gd name="connsiteY145" fmla="*/ 23571 h 96440"/>
                <a:gd name="connsiteX146" fmla="*/ 6649 w 116879"/>
                <a:gd name="connsiteY146" fmla="*/ 22287 h 96440"/>
                <a:gd name="connsiteX147" fmla="*/ 9048 w 116879"/>
                <a:gd name="connsiteY147" fmla="*/ 19472 h 96440"/>
                <a:gd name="connsiteX148" fmla="*/ 10903 w 116879"/>
                <a:gd name="connsiteY148" fmla="*/ 16530 h 96440"/>
                <a:gd name="connsiteX149" fmla="*/ 12240 w 116879"/>
                <a:gd name="connsiteY149" fmla="*/ 14672 h 96440"/>
                <a:gd name="connsiteX150" fmla="*/ 13037 w 116879"/>
                <a:gd name="connsiteY150" fmla="*/ 12827 h 96440"/>
                <a:gd name="connsiteX151" fmla="*/ 15729 w 116879"/>
                <a:gd name="connsiteY151" fmla="*/ 10214 h 96440"/>
                <a:gd name="connsiteX152" fmla="*/ 19452 w 116879"/>
                <a:gd name="connsiteY152" fmla="*/ 8408 h 96440"/>
                <a:gd name="connsiteX153" fmla="*/ 21974 w 116879"/>
                <a:gd name="connsiteY153" fmla="*/ 7986 h 96440"/>
                <a:gd name="connsiteX154" fmla="*/ 24604 w 116879"/>
                <a:gd name="connsiteY154" fmla="*/ 7370 h 96440"/>
                <a:gd name="connsiteX155" fmla="*/ 27124 w 116879"/>
                <a:gd name="connsiteY155" fmla="*/ 6494 h 96440"/>
                <a:gd name="connsiteX156" fmla="*/ 28319 w 116879"/>
                <a:gd name="connsiteY156" fmla="*/ 6412 h 96440"/>
                <a:gd name="connsiteX157" fmla="*/ 31447 w 116879"/>
                <a:gd name="connsiteY157" fmla="*/ 7470 h 96440"/>
                <a:gd name="connsiteX158" fmla="*/ 33138 w 116879"/>
                <a:gd name="connsiteY158" fmla="*/ 7741 h 96440"/>
                <a:gd name="connsiteX159" fmla="*/ 34913 w 116879"/>
                <a:gd name="connsiteY159" fmla="*/ 7727 h 96440"/>
                <a:gd name="connsiteX160" fmla="*/ 36753 w 116879"/>
                <a:gd name="connsiteY160" fmla="*/ 7837 h 96440"/>
                <a:gd name="connsiteX161" fmla="*/ 38355 w 116879"/>
                <a:gd name="connsiteY161" fmla="*/ 7728 h 96440"/>
                <a:gd name="connsiteX162" fmla="*/ 42191 w 116879"/>
                <a:gd name="connsiteY162" fmla="*/ 6989 h 96440"/>
                <a:gd name="connsiteX163" fmla="*/ 46256 w 116879"/>
                <a:gd name="connsiteY163" fmla="*/ 7574 h 96440"/>
                <a:gd name="connsiteX164" fmla="*/ 49886 w 116879"/>
                <a:gd name="connsiteY164" fmla="*/ 7112 h 96440"/>
                <a:gd name="connsiteX165" fmla="*/ 54380 w 116879"/>
                <a:gd name="connsiteY165" fmla="*/ 6260 h 96440"/>
                <a:gd name="connsiteX166" fmla="*/ 56587 w 116879"/>
                <a:gd name="connsiteY166" fmla="*/ 6797 h 96440"/>
                <a:gd name="connsiteX167" fmla="*/ 58597 w 116879"/>
                <a:gd name="connsiteY167" fmla="*/ 7652 h 96440"/>
                <a:gd name="connsiteX168" fmla="*/ 58878 w 116879"/>
                <a:gd name="connsiteY168" fmla="*/ 9382 h 96440"/>
                <a:gd name="connsiteX169" fmla="*/ 59342 w 116879"/>
                <a:gd name="connsiteY169" fmla="*/ 10172 h 96440"/>
                <a:gd name="connsiteX170" fmla="*/ 60012 w 116879"/>
                <a:gd name="connsiteY170" fmla="*/ 10782 h 96440"/>
                <a:gd name="connsiteX171" fmla="*/ 60906 w 116879"/>
                <a:gd name="connsiteY171" fmla="*/ 10781 h 96440"/>
                <a:gd name="connsiteX172" fmla="*/ 62052 w 116879"/>
                <a:gd name="connsiteY172" fmla="*/ 9573 h 96440"/>
                <a:gd name="connsiteX173" fmla="*/ 63006 w 116879"/>
                <a:gd name="connsiteY173" fmla="*/ 8330 h 96440"/>
                <a:gd name="connsiteX174" fmla="*/ 63319 w 116879"/>
                <a:gd name="connsiteY174" fmla="*/ 8101 h 96440"/>
                <a:gd name="connsiteX175" fmla="*/ 63369 w 116879"/>
                <a:gd name="connsiteY175" fmla="*/ 8713 h 96440"/>
                <a:gd name="connsiteX176" fmla="*/ 63844 w 116879"/>
                <a:gd name="connsiteY176" fmla="*/ 10060 h 96440"/>
                <a:gd name="connsiteX177" fmla="*/ 64699 w 116879"/>
                <a:gd name="connsiteY177" fmla="*/ 11388 h 96440"/>
                <a:gd name="connsiteX178" fmla="*/ 65566 w 116879"/>
                <a:gd name="connsiteY178" fmla="*/ 12269 h 96440"/>
                <a:gd name="connsiteX179" fmla="*/ 67010 w 116879"/>
                <a:gd name="connsiteY179" fmla="*/ 13439 h 96440"/>
                <a:gd name="connsiteX180" fmla="*/ 67949 w 116879"/>
                <a:gd name="connsiteY180" fmla="*/ 13495 h 96440"/>
                <a:gd name="connsiteX181" fmla="*/ 71020 w 116879"/>
                <a:gd name="connsiteY181" fmla="*/ 12388 h 96440"/>
                <a:gd name="connsiteX182" fmla="*/ 75624 w 116879"/>
                <a:gd name="connsiteY182" fmla="*/ 13994 h 96440"/>
                <a:gd name="connsiteX183" fmla="*/ 76161 w 116879"/>
                <a:gd name="connsiteY183" fmla="*/ 14803 h 96440"/>
                <a:gd name="connsiteX184" fmla="*/ 77652 w 116879"/>
                <a:gd name="connsiteY184" fmla="*/ 16437 h 96440"/>
                <a:gd name="connsiteX185" fmla="*/ 79267 w 116879"/>
                <a:gd name="connsiteY185" fmla="*/ 17611 h 96440"/>
                <a:gd name="connsiteX186" fmla="*/ 82856 w 116879"/>
                <a:gd name="connsiteY186" fmla="*/ 17685 h 96440"/>
                <a:gd name="connsiteX187" fmla="*/ 84136 w 116879"/>
                <a:gd name="connsiteY187" fmla="*/ 14802 h 96440"/>
                <a:gd name="connsiteX188" fmla="*/ 83517 w 116879"/>
                <a:gd name="connsiteY188" fmla="*/ 13044 h 96440"/>
                <a:gd name="connsiteX189" fmla="*/ 81470 w 116879"/>
                <a:gd name="connsiteY189" fmla="*/ 9981 h 96440"/>
                <a:gd name="connsiteX190" fmla="*/ 80912 w 116879"/>
                <a:gd name="connsiteY190" fmla="*/ 8173 h 96440"/>
                <a:gd name="connsiteX191" fmla="*/ 81564 w 116879"/>
                <a:gd name="connsiteY191" fmla="*/ 7854 h 96440"/>
                <a:gd name="connsiteX192" fmla="*/ 85032 w 116879"/>
                <a:gd name="connsiteY192" fmla="*/ 7511 h 96440"/>
                <a:gd name="connsiteX193" fmla="*/ 85596 w 116879"/>
                <a:gd name="connsiteY193" fmla="*/ 7155 h 96440"/>
                <a:gd name="connsiteX194" fmla="*/ 86362 w 116879"/>
                <a:gd name="connsiteY194" fmla="*/ 5167 h 96440"/>
                <a:gd name="connsiteX195" fmla="*/ 87304 w 116879"/>
                <a:gd name="connsiteY195" fmla="*/ 5393 h 96440"/>
                <a:gd name="connsiteX196" fmla="*/ 89228 w 116879"/>
                <a:gd name="connsiteY196" fmla="*/ 5651 h 96440"/>
                <a:gd name="connsiteX197" fmla="*/ 91262 w 116879"/>
                <a:gd name="connsiteY197" fmla="*/ 4291 h 96440"/>
                <a:gd name="connsiteX198" fmla="*/ 92467 w 116879"/>
                <a:gd name="connsiteY198" fmla="*/ 2865 h 96440"/>
                <a:gd name="connsiteX199" fmla="*/ 93124 w 116879"/>
                <a:gd name="connsiteY199" fmla="*/ 3515 h 96440"/>
                <a:gd name="connsiteX200" fmla="*/ 93842 w 116879"/>
                <a:gd name="connsiteY200" fmla="*/ 4516 h 96440"/>
                <a:gd name="connsiteX201" fmla="*/ 94628 w 116879"/>
                <a:gd name="connsiteY201" fmla="*/ 5096 h 96440"/>
                <a:gd name="connsiteX202" fmla="*/ 96093 w 116879"/>
                <a:gd name="connsiteY202" fmla="*/ 5955 h 96440"/>
                <a:gd name="connsiteX203" fmla="*/ 97701 w 116879"/>
                <a:gd name="connsiteY203" fmla="*/ 7164 h 96440"/>
                <a:gd name="connsiteX204" fmla="*/ 98703 w 116879"/>
                <a:gd name="connsiteY204" fmla="*/ 8352 h 96440"/>
                <a:gd name="connsiteX205" fmla="*/ 99509 w 116879"/>
                <a:gd name="connsiteY205" fmla="*/ 8812 h 96440"/>
                <a:gd name="connsiteX206" fmla="*/ 101571 w 116879"/>
                <a:gd name="connsiteY206" fmla="*/ 8481 h 96440"/>
                <a:gd name="connsiteX207" fmla="*/ 102122 w 116879"/>
                <a:gd name="connsiteY207" fmla="*/ 8527 h 96440"/>
                <a:gd name="connsiteX208" fmla="*/ 103318 w 116879"/>
                <a:gd name="connsiteY208" fmla="*/ 7090 h 96440"/>
                <a:gd name="connsiteX209" fmla="*/ 104158 w 116879"/>
                <a:gd name="connsiteY209" fmla="*/ 6308 h 96440"/>
                <a:gd name="connsiteX210" fmla="*/ 104870 w 116879"/>
                <a:gd name="connsiteY210" fmla="*/ 6532 h 96440"/>
                <a:gd name="connsiteX211" fmla="*/ 105909 w 116879"/>
                <a:gd name="connsiteY211" fmla="*/ 6511 h 96440"/>
                <a:gd name="connsiteX212" fmla="*/ 108060 w 116879"/>
                <a:gd name="connsiteY212" fmla="*/ 4678 h 96440"/>
                <a:gd name="connsiteX213" fmla="*/ 109291 w 116879"/>
                <a:gd name="connsiteY213" fmla="*/ 3002 h 96440"/>
                <a:gd name="connsiteX214" fmla="*/ 109962 w 116879"/>
                <a:gd name="connsiteY214" fmla="*/ 2545 h 96440"/>
                <a:gd name="connsiteX215" fmla="*/ 111891 w 116879"/>
                <a:gd name="connsiteY215" fmla="*/ 3382 h 96440"/>
                <a:gd name="connsiteX216" fmla="*/ 112662 w 116879"/>
                <a:gd name="connsiteY216" fmla="*/ 3211 h 96440"/>
                <a:gd name="connsiteX217" fmla="*/ 113776 w 116879"/>
                <a:gd name="connsiteY217" fmla="*/ 905 h 96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</a:cxnLst>
              <a:rect l="l" t="t" r="r" b="b"/>
              <a:pathLst>
                <a:path w="116879" h="96440">
                  <a:moveTo>
                    <a:pt x="19983" y="88151"/>
                  </a:moveTo>
                  <a:lnTo>
                    <a:pt x="22069" y="89571"/>
                  </a:lnTo>
                  <a:lnTo>
                    <a:pt x="21262" y="90439"/>
                  </a:lnTo>
                  <a:lnTo>
                    <a:pt x="19973" y="88652"/>
                  </a:lnTo>
                  <a:close/>
                  <a:moveTo>
                    <a:pt x="15857" y="74545"/>
                  </a:moveTo>
                  <a:lnTo>
                    <a:pt x="16040" y="76894"/>
                  </a:lnTo>
                  <a:lnTo>
                    <a:pt x="15647" y="77108"/>
                  </a:lnTo>
                  <a:lnTo>
                    <a:pt x="15275" y="77101"/>
                  </a:lnTo>
                  <a:lnTo>
                    <a:pt x="14895" y="76774"/>
                  </a:lnTo>
                  <a:lnTo>
                    <a:pt x="14933" y="75482"/>
                  </a:lnTo>
                  <a:lnTo>
                    <a:pt x="15208" y="74694"/>
                  </a:lnTo>
                  <a:close/>
                  <a:moveTo>
                    <a:pt x="114977" y="0"/>
                  </a:moveTo>
                  <a:lnTo>
                    <a:pt x="115326" y="1245"/>
                  </a:lnTo>
                  <a:lnTo>
                    <a:pt x="114395" y="3598"/>
                  </a:lnTo>
                  <a:lnTo>
                    <a:pt x="113406" y="5732"/>
                  </a:lnTo>
                  <a:lnTo>
                    <a:pt x="111550" y="7594"/>
                  </a:lnTo>
                  <a:lnTo>
                    <a:pt x="111459" y="8966"/>
                  </a:lnTo>
                  <a:lnTo>
                    <a:pt x="110820" y="13055"/>
                  </a:lnTo>
                  <a:lnTo>
                    <a:pt x="111066" y="14356"/>
                  </a:lnTo>
                  <a:lnTo>
                    <a:pt x="111498" y="15470"/>
                  </a:lnTo>
                  <a:lnTo>
                    <a:pt x="112103" y="16066"/>
                  </a:lnTo>
                  <a:lnTo>
                    <a:pt x="113713" y="20064"/>
                  </a:lnTo>
                  <a:lnTo>
                    <a:pt x="115180" y="23700"/>
                  </a:lnTo>
                  <a:lnTo>
                    <a:pt x="116624" y="26684"/>
                  </a:lnTo>
                  <a:lnTo>
                    <a:pt x="116879" y="28572"/>
                  </a:lnTo>
                  <a:lnTo>
                    <a:pt x="115554" y="33351"/>
                  </a:lnTo>
                  <a:lnTo>
                    <a:pt x="114002" y="37738"/>
                  </a:lnTo>
                  <a:lnTo>
                    <a:pt x="114139" y="39924"/>
                  </a:lnTo>
                  <a:lnTo>
                    <a:pt x="114802" y="42112"/>
                  </a:lnTo>
                  <a:lnTo>
                    <a:pt x="115510" y="45029"/>
                  </a:lnTo>
                  <a:lnTo>
                    <a:pt x="115774" y="48756"/>
                  </a:lnTo>
                  <a:lnTo>
                    <a:pt x="115389" y="51185"/>
                  </a:lnTo>
                  <a:lnTo>
                    <a:pt x="114689" y="52694"/>
                  </a:lnTo>
                  <a:lnTo>
                    <a:pt x="113353" y="54240"/>
                  </a:lnTo>
                  <a:lnTo>
                    <a:pt x="112189" y="55030"/>
                  </a:lnTo>
                  <a:lnTo>
                    <a:pt x="110789" y="53716"/>
                  </a:lnTo>
                  <a:lnTo>
                    <a:pt x="109676" y="53659"/>
                  </a:lnTo>
                  <a:lnTo>
                    <a:pt x="108181" y="54054"/>
                  </a:lnTo>
                  <a:lnTo>
                    <a:pt x="107006" y="54658"/>
                  </a:lnTo>
                  <a:lnTo>
                    <a:pt x="104612" y="56929"/>
                  </a:lnTo>
                  <a:lnTo>
                    <a:pt x="101957" y="59135"/>
                  </a:lnTo>
                  <a:lnTo>
                    <a:pt x="98286" y="59700"/>
                  </a:lnTo>
                  <a:lnTo>
                    <a:pt x="96859" y="61338"/>
                  </a:lnTo>
                  <a:lnTo>
                    <a:pt x="95331" y="61564"/>
                  </a:lnTo>
                  <a:lnTo>
                    <a:pt x="92426" y="61647"/>
                  </a:lnTo>
                  <a:lnTo>
                    <a:pt x="90530" y="62030"/>
                  </a:lnTo>
                  <a:lnTo>
                    <a:pt x="90616" y="62853"/>
                  </a:lnTo>
                  <a:lnTo>
                    <a:pt x="90461" y="66739"/>
                  </a:lnTo>
                  <a:lnTo>
                    <a:pt x="90500" y="67649"/>
                  </a:lnTo>
                  <a:lnTo>
                    <a:pt x="90206" y="67890"/>
                  </a:lnTo>
                  <a:lnTo>
                    <a:pt x="88893" y="68006"/>
                  </a:lnTo>
                  <a:lnTo>
                    <a:pt x="86667" y="67412"/>
                  </a:lnTo>
                  <a:lnTo>
                    <a:pt x="83655" y="66450"/>
                  </a:lnTo>
                  <a:lnTo>
                    <a:pt x="81513" y="66299"/>
                  </a:lnTo>
                  <a:lnTo>
                    <a:pt x="80411" y="67992"/>
                  </a:lnTo>
                  <a:lnTo>
                    <a:pt x="79755" y="68654"/>
                  </a:lnTo>
                  <a:lnTo>
                    <a:pt x="78943" y="68756"/>
                  </a:lnTo>
                  <a:lnTo>
                    <a:pt x="78095" y="69055"/>
                  </a:lnTo>
                  <a:lnTo>
                    <a:pt x="77807" y="69810"/>
                  </a:lnTo>
                  <a:lnTo>
                    <a:pt x="77738" y="70756"/>
                  </a:lnTo>
                  <a:lnTo>
                    <a:pt x="78150" y="72370"/>
                  </a:lnTo>
                  <a:lnTo>
                    <a:pt x="78304" y="74938"/>
                  </a:lnTo>
                  <a:lnTo>
                    <a:pt x="78196" y="76687"/>
                  </a:lnTo>
                  <a:lnTo>
                    <a:pt x="78982" y="77794"/>
                  </a:lnTo>
                  <a:lnTo>
                    <a:pt x="83579" y="81514"/>
                  </a:lnTo>
                  <a:lnTo>
                    <a:pt x="84938" y="82444"/>
                  </a:lnTo>
                  <a:lnTo>
                    <a:pt x="85093" y="82999"/>
                  </a:lnTo>
                  <a:lnTo>
                    <a:pt x="84287" y="85020"/>
                  </a:lnTo>
                  <a:lnTo>
                    <a:pt x="85004" y="87862"/>
                  </a:lnTo>
                  <a:lnTo>
                    <a:pt x="83564" y="87809"/>
                  </a:lnTo>
                  <a:lnTo>
                    <a:pt x="81160" y="86590"/>
                  </a:lnTo>
                  <a:lnTo>
                    <a:pt x="80012" y="85844"/>
                  </a:lnTo>
                  <a:lnTo>
                    <a:pt x="78619" y="86440"/>
                  </a:lnTo>
                  <a:lnTo>
                    <a:pt x="78135" y="86326"/>
                  </a:lnTo>
                  <a:lnTo>
                    <a:pt x="77194" y="84928"/>
                  </a:lnTo>
                  <a:lnTo>
                    <a:pt x="75963" y="83498"/>
                  </a:lnTo>
                  <a:lnTo>
                    <a:pt x="74696" y="83407"/>
                  </a:lnTo>
                  <a:lnTo>
                    <a:pt x="72016" y="83970"/>
                  </a:lnTo>
                  <a:lnTo>
                    <a:pt x="69277" y="84361"/>
                  </a:lnTo>
                  <a:lnTo>
                    <a:pt x="68239" y="84357"/>
                  </a:lnTo>
                  <a:lnTo>
                    <a:pt x="67813" y="84615"/>
                  </a:lnTo>
                  <a:lnTo>
                    <a:pt x="66224" y="86738"/>
                  </a:lnTo>
                  <a:lnTo>
                    <a:pt x="65553" y="86373"/>
                  </a:lnTo>
                  <a:lnTo>
                    <a:pt x="62793" y="85566"/>
                  </a:lnTo>
                  <a:lnTo>
                    <a:pt x="60277" y="85257"/>
                  </a:lnTo>
                  <a:lnTo>
                    <a:pt x="59759" y="85805"/>
                  </a:lnTo>
                  <a:lnTo>
                    <a:pt x="60065" y="87538"/>
                  </a:lnTo>
                  <a:lnTo>
                    <a:pt x="60618" y="89229"/>
                  </a:lnTo>
                  <a:lnTo>
                    <a:pt x="60293" y="89948"/>
                  </a:lnTo>
                  <a:lnTo>
                    <a:pt x="58910" y="90836"/>
                  </a:lnTo>
                  <a:lnTo>
                    <a:pt x="57083" y="92439"/>
                  </a:lnTo>
                  <a:lnTo>
                    <a:pt x="55963" y="93685"/>
                  </a:lnTo>
                  <a:lnTo>
                    <a:pt x="55185" y="93991"/>
                  </a:lnTo>
                  <a:lnTo>
                    <a:pt x="52404" y="93936"/>
                  </a:lnTo>
                  <a:lnTo>
                    <a:pt x="49631" y="94099"/>
                  </a:lnTo>
                  <a:lnTo>
                    <a:pt x="48521" y="95276"/>
                  </a:lnTo>
                  <a:lnTo>
                    <a:pt x="47481" y="96191"/>
                  </a:lnTo>
                  <a:lnTo>
                    <a:pt x="46583" y="96440"/>
                  </a:lnTo>
                  <a:lnTo>
                    <a:pt x="42957" y="93534"/>
                  </a:lnTo>
                  <a:lnTo>
                    <a:pt x="35764" y="92520"/>
                  </a:lnTo>
                  <a:lnTo>
                    <a:pt x="34982" y="91238"/>
                  </a:lnTo>
                  <a:lnTo>
                    <a:pt x="34291" y="90988"/>
                  </a:lnTo>
                  <a:lnTo>
                    <a:pt x="33628" y="92655"/>
                  </a:lnTo>
                  <a:lnTo>
                    <a:pt x="29679" y="94256"/>
                  </a:lnTo>
                  <a:lnTo>
                    <a:pt x="28025" y="93289"/>
                  </a:lnTo>
                  <a:lnTo>
                    <a:pt x="26811" y="92117"/>
                  </a:lnTo>
                  <a:lnTo>
                    <a:pt x="26992" y="90684"/>
                  </a:lnTo>
                  <a:lnTo>
                    <a:pt x="28135" y="89514"/>
                  </a:lnTo>
                  <a:lnTo>
                    <a:pt x="30097" y="88674"/>
                  </a:lnTo>
                  <a:lnTo>
                    <a:pt x="31004" y="85732"/>
                  </a:lnTo>
                  <a:lnTo>
                    <a:pt x="29510" y="81961"/>
                  </a:lnTo>
                  <a:lnTo>
                    <a:pt x="28199" y="80862"/>
                  </a:lnTo>
                  <a:lnTo>
                    <a:pt x="26816" y="79992"/>
                  </a:lnTo>
                  <a:lnTo>
                    <a:pt x="25362" y="81395"/>
                  </a:lnTo>
                  <a:lnTo>
                    <a:pt x="24138" y="83794"/>
                  </a:lnTo>
                  <a:lnTo>
                    <a:pt x="22862" y="85028"/>
                  </a:lnTo>
                  <a:lnTo>
                    <a:pt x="21061" y="85304"/>
                  </a:lnTo>
                  <a:lnTo>
                    <a:pt x="18421" y="85204"/>
                  </a:lnTo>
                  <a:lnTo>
                    <a:pt x="17396" y="81623"/>
                  </a:lnTo>
                  <a:lnTo>
                    <a:pt x="17057" y="78550"/>
                  </a:lnTo>
                  <a:lnTo>
                    <a:pt x="17418" y="75041"/>
                  </a:lnTo>
                  <a:lnTo>
                    <a:pt x="17817" y="72962"/>
                  </a:lnTo>
                  <a:lnTo>
                    <a:pt x="15275" y="70094"/>
                  </a:lnTo>
                  <a:lnTo>
                    <a:pt x="15135" y="67362"/>
                  </a:lnTo>
                  <a:lnTo>
                    <a:pt x="13906" y="65952"/>
                  </a:lnTo>
                  <a:lnTo>
                    <a:pt x="13546" y="66664"/>
                  </a:lnTo>
                  <a:lnTo>
                    <a:pt x="13581" y="67449"/>
                  </a:lnTo>
                  <a:lnTo>
                    <a:pt x="13231" y="66880"/>
                  </a:lnTo>
                  <a:lnTo>
                    <a:pt x="9218" y="58860"/>
                  </a:lnTo>
                  <a:lnTo>
                    <a:pt x="8547" y="55138"/>
                  </a:lnTo>
                  <a:lnTo>
                    <a:pt x="9236" y="52272"/>
                  </a:lnTo>
                  <a:lnTo>
                    <a:pt x="9640" y="51309"/>
                  </a:lnTo>
                  <a:lnTo>
                    <a:pt x="8483" y="49800"/>
                  </a:lnTo>
                  <a:lnTo>
                    <a:pt x="6854" y="48084"/>
                  </a:lnTo>
                  <a:lnTo>
                    <a:pt x="3977" y="45837"/>
                  </a:lnTo>
                  <a:lnTo>
                    <a:pt x="3781" y="42279"/>
                  </a:lnTo>
                  <a:lnTo>
                    <a:pt x="3139" y="38082"/>
                  </a:lnTo>
                  <a:lnTo>
                    <a:pt x="2276" y="36667"/>
                  </a:lnTo>
                  <a:lnTo>
                    <a:pt x="957" y="34081"/>
                  </a:lnTo>
                  <a:lnTo>
                    <a:pt x="244" y="31938"/>
                  </a:lnTo>
                  <a:lnTo>
                    <a:pt x="0" y="26272"/>
                  </a:lnTo>
                  <a:lnTo>
                    <a:pt x="368" y="25815"/>
                  </a:lnTo>
                  <a:lnTo>
                    <a:pt x="2405" y="25651"/>
                  </a:lnTo>
                  <a:lnTo>
                    <a:pt x="5023" y="25243"/>
                  </a:lnTo>
                  <a:lnTo>
                    <a:pt x="5435" y="24327"/>
                  </a:lnTo>
                  <a:lnTo>
                    <a:pt x="4975" y="23571"/>
                  </a:lnTo>
                  <a:lnTo>
                    <a:pt x="6649" y="22287"/>
                  </a:lnTo>
                  <a:lnTo>
                    <a:pt x="9048" y="19472"/>
                  </a:lnTo>
                  <a:lnTo>
                    <a:pt x="10903" y="16530"/>
                  </a:lnTo>
                  <a:lnTo>
                    <a:pt x="12240" y="14672"/>
                  </a:lnTo>
                  <a:lnTo>
                    <a:pt x="13037" y="12827"/>
                  </a:lnTo>
                  <a:lnTo>
                    <a:pt x="15729" y="10214"/>
                  </a:lnTo>
                  <a:lnTo>
                    <a:pt x="19452" y="8408"/>
                  </a:lnTo>
                  <a:lnTo>
                    <a:pt x="21974" y="7986"/>
                  </a:lnTo>
                  <a:lnTo>
                    <a:pt x="24604" y="7370"/>
                  </a:lnTo>
                  <a:lnTo>
                    <a:pt x="27124" y="6494"/>
                  </a:lnTo>
                  <a:lnTo>
                    <a:pt x="28319" y="6412"/>
                  </a:lnTo>
                  <a:lnTo>
                    <a:pt x="31447" y="7470"/>
                  </a:lnTo>
                  <a:lnTo>
                    <a:pt x="33138" y="7741"/>
                  </a:lnTo>
                  <a:lnTo>
                    <a:pt x="34913" y="7727"/>
                  </a:lnTo>
                  <a:lnTo>
                    <a:pt x="36753" y="7837"/>
                  </a:lnTo>
                  <a:lnTo>
                    <a:pt x="38355" y="7728"/>
                  </a:lnTo>
                  <a:lnTo>
                    <a:pt x="42191" y="6989"/>
                  </a:lnTo>
                  <a:lnTo>
                    <a:pt x="46256" y="7574"/>
                  </a:lnTo>
                  <a:lnTo>
                    <a:pt x="49886" y="7112"/>
                  </a:lnTo>
                  <a:lnTo>
                    <a:pt x="54380" y="6260"/>
                  </a:lnTo>
                  <a:lnTo>
                    <a:pt x="56587" y="6797"/>
                  </a:lnTo>
                  <a:lnTo>
                    <a:pt x="58597" y="7652"/>
                  </a:lnTo>
                  <a:lnTo>
                    <a:pt x="58878" y="9382"/>
                  </a:lnTo>
                  <a:lnTo>
                    <a:pt x="59342" y="10172"/>
                  </a:lnTo>
                  <a:lnTo>
                    <a:pt x="60012" y="10782"/>
                  </a:lnTo>
                  <a:lnTo>
                    <a:pt x="60906" y="10781"/>
                  </a:lnTo>
                  <a:lnTo>
                    <a:pt x="62052" y="9573"/>
                  </a:lnTo>
                  <a:lnTo>
                    <a:pt x="63006" y="8330"/>
                  </a:lnTo>
                  <a:lnTo>
                    <a:pt x="63319" y="8101"/>
                  </a:lnTo>
                  <a:lnTo>
                    <a:pt x="63369" y="8713"/>
                  </a:lnTo>
                  <a:lnTo>
                    <a:pt x="63844" y="10060"/>
                  </a:lnTo>
                  <a:lnTo>
                    <a:pt x="64699" y="11388"/>
                  </a:lnTo>
                  <a:lnTo>
                    <a:pt x="65566" y="12269"/>
                  </a:lnTo>
                  <a:lnTo>
                    <a:pt x="67010" y="13439"/>
                  </a:lnTo>
                  <a:lnTo>
                    <a:pt x="67949" y="13495"/>
                  </a:lnTo>
                  <a:lnTo>
                    <a:pt x="71020" y="12388"/>
                  </a:lnTo>
                  <a:lnTo>
                    <a:pt x="75624" y="13994"/>
                  </a:lnTo>
                  <a:lnTo>
                    <a:pt x="76161" y="14803"/>
                  </a:lnTo>
                  <a:lnTo>
                    <a:pt x="77652" y="16437"/>
                  </a:lnTo>
                  <a:lnTo>
                    <a:pt x="79267" y="17611"/>
                  </a:lnTo>
                  <a:lnTo>
                    <a:pt x="82856" y="17685"/>
                  </a:lnTo>
                  <a:lnTo>
                    <a:pt x="84136" y="14802"/>
                  </a:lnTo>
                  <a:lnTo>
                    <a:pt x="83517" y="13044"/>
                  </a:lnTo>
                  <a:lnTo>
                    <a:pt x="81470" y="9981"/>
                  </a:lnTo>
                  <a:lnTo>
                    <a:pt x="80912" y="8173"/>
                  </a:lnTo>
                  <a:lnTo>
                    <a:pt x="81564" y="7854"/>
                  </a:lnTo>
                  <a:lnTo>
                    <a:pt x="85032" y="7511"/>
                  </a:lnTo>
                  <a:lnTo>
                    <a:pt x="85596" y="7155"/>
                  </a:lnTo>
                  <a:lnTo>
                    <a:pt x="86362" y="5167"/>
                  </a:lnTo>
                  <a:lnTo>
                    <a:pt x="87304" y="5393"/>
                  </a:lnTo>
                  <a:lnTo>
                    <a:pt x="89228" y="5651"/>
                  </a:lnTo>
                  <a:lnTo>
                    <a:pt x="91262" y="4291"/>
                  </a:lnTo>
                  <a:lnTo>
                    <a:pt x="92467" y="2865"/>
                  </a:lnTo>
                  <a:lnTo>
                    <a:pt x="93124" y="3515"/>
                  </a:lnTo>
                  <a:lnTo>
                    <a:pt x="93842" y="4516"/>
                  </a:lnTo>
                  <a:lnTo>
                    <a:pt x="94628" y="5096"/>
                  </a:lnTo>
                  <a:lnTo>
                    <a:pt x="96093" y="5955"/>
                  </a:lnTo>
                  <a:lnTo>
                    <a:pt x="97701" y="7164"/>
                  </a:lnTo>
                  <a:lnTo>
                    <a:pt x="98703" y="8352"/>
                  </a:lnTo>
                  <a:lnTo>
                    <a:pt x="99509" y="8812"/>
                  </a:lnTo>
                  <a:lnTo>
                    <a:pt x="101571" y="8481"/>
                  </a:lnTo>
                  <a:lnTo>
                    <a:pt x="102122" y="8527"/>
                  </a:lnTo>
                  <a:lnTo>
                    <a:pt x="103318" y="7090"/>
                  </a:lnTo>
                  <a:lnTo>
                    <a:pt x="104158" y="6308"/>
                  </a:lnTo>
                  <a:lnTo>
                    <a:pt x="104870" y="6532"/>
                  </a:lnTo>
                  <a:lnTo>
                    <a:pt x="105909" y="6511"/>
                  </a:lnTo>
                  <a:lnTo>
                    <a:pt x="108060" y="4678"/>
                  </a:lnTo>
                  <a:lnTo>
                    <a:pt x="109291" y="3002"/>
                  </a:lnTo>
                  <a:lnTo>
                    <a:pt x="109962" y="2545"/>
                  </a:lnTo>
                  <a:lnTo>
                    <a:pt x="111891" y="3382"/>
                  </a:lnTo>
                  <a:lnTo>
                    <a:pt x="112662" y="3211"/>
                  </a:lnTo>
                  <a:lnTo>
                    <a:pt x="113776" y="905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84" name="ee4p_KR_1_37365">
              <a:extLst>
                <a:ext uri="{FF2B5EF4-FFF2-40B4-BE49-F238E27FC236}">
                  <a16:creationId xmlns:a16="http://schemas.microsoft.com/office/drawing/2014/main" id="{D3313A20-1DC2-2A31-E119-3BB30090C187}"/>
                </a:ext>
              </a:extLst>
            </p:cNvPr>
            <p:cNvSpPr>
              <a:spLocks noChangeAspect="1"/>
            </p:cNvSpPr>
            <p:nvPr>
              <p:custDataLst>
                <p:tags r:id="rId238"/>
              </p:custDataLst>
            </p:nvPr>
          </p:nvSpPr>
          <p:spPr>
            <a:xfrm>
              <a:off x="10013848" y="3516384"/>
              <a:ext cx="136812" cy="176444"/>
            </a:xfrm>
            <a:custGeom>
              <a:avLst/>
              <a:gdLst>
                <a:gd name="connsiteX0" fmla="*/ 16635 w 108940"/>
                <a:gd name="connsiteY0" fmla="*/ 128068 h 136774"/>
                <a:gd name="connsiteX1" fmla="*/ 19760 w 108940"/>
                <a:gd name="connsiteY1" fmla="*/ 129012 h 136774"/>
                <a:gd name="connsiteX2" fmla="*/ 20425 w 108940"/>
                <a:gd name="connsiteY2" fmla="*/ 130777 h 136774"/>
                <a:gd name="connsiteX3" fmla="*/ 19853 w 108940"/>
                <a:gd name="connsiteY3" fmla="*/ 132299 h 136774"/>
                <a:gd name="connsiteX4" fmla="*/ 19133 w 108940"/>
                <a:gd name="connsiteY4" fmla="*/ 133320 h 136774"/>
                <a:gd name="connsiteX5" fmla="*/ 15515 w 108940"/>
                <a:gd name="connsiteY5" fmla="*/ 135038 h 136774"/>
                <a:gd name="connsiteX6" fmla="*/ 12696 w 108940"/>
                <a:gd name="connsiteY6" fmla="*/ 135863 h 136774"/>
                <a:gd name="connsiteX7" fmla="*/ 7063 w 108940"/>
                <a:gd name="connsiteY7" fmla="*/ 136227 h 136774"/>
                <a:gd name="connsiteX8" fmla="*/ 6069 w 108940"/>
                <a:gd name="connsiteY8" fmla="*/ 136774 h 136774"/>
                <a:gd name="connsiteX9" fmla="*/ 5145 w 108940"/>
                <a:gd name="connsiteY9" fmla="*/ 136444 h 136774"/>
                <a:gd name="connsiteX10" fmla="*/ 4897 w 108940"/>
                <a:gd name="connsiteY10" fmla="*/ 136187 h 136774"/>
                <a:gd name="connsiteX11" fmla="*/ 3785 w 108940"/>
                <a:gd name="connsiteY11" fmla="*/ 134769 h 136774"/>
                <a:gd name="connsiteX12" fmla="*/ 3495 w 108940"/>
                <a:gd name="connsiteY12" fmla="*/ 134041 h 136774"/>
                <a:gd name="connsiteX13" fmla="*/ 4243 w 108940"/>
                <a:gd name="connsiteY13" fmla="*/ 132654 h 136774"/>
                <a:gd name="connsiteX14" fmla="*/ 7300 w 108940"/>
                <a:gd name="connsiteY14" fmla="*/ 130368 h 136774"/>
                <a:gd name="connsiteX15" fmla="*/ 15213 w 108940"/>
                <a:gd name="connsiteY15" fmla="*/ 128165 h 136774"/>
                <a:gd name="connsiteX16" fmla="*/ 15311 w 108940"/>
                <a:gd name="connsiteY16" fmla="*/ 107122 h 136774"/>
                <a:gd name="connsiteX17" fmla="*/ 16484 w 108940"/>
                <a:gd name="connsiteY17" fmla="*/ 108416 h 136774"/>
                <a:gd name="connsiteX18" fmla="*/ 16857 w 108940"/>
                <a:gd name="connsiteY18" fmla="*/ 109600 h 136774"/>
                <a:gd name="connsiteX19" fmla="*/ 15070 w 108940"/>
                <a:gd name="connsiteY19" fmla="*/ 109377 h 136774"/>
                <a:gd name="connsiteX20" fmla="*/ 14120 w 108940"/>
                <a:gd name="connsiteY20" fmla="*/ 108238 h 136774"/>
                <a:gd name="connsiteX21" fmla="*/ 14247 w 108940"/>
                <a:gd name="connsiteY21" fmla="*/ 107260 h 136774"/>
                <a:gd name="connsiteX22" fmla="*/ 5305 w 108940"/>
                <a:gd name="connsiteY22" fmla="*/ 102945 h 136774"/>
                <a:gd name="connsiteX23" fmla="*/ 7436 w 108940"/>
                <a:gd name="connsiteY23" fmla="*/ 103404 h 136774"/>
                <a:gd name="connsiteX24" fmla="*/ 8233 w 108940"/>
                <a:gd name="connsiteY24" fmla="*/ 104576 h 136774"/>
                <a:gd name="connsiteX25" fmla="*/ 7250 w 108940"/>
                <a:gd name="connsiteY25" fmla="*/ 106361 h 136774"/>
                <a:gd name="connsiteX26" fmla="*/ 5000 w 108940"/>
                <a:gd name="connsiteY26" fmla="*/ 107755 h 136774"/>
                <a:gd name="connsiteX27" fmla="*/ 3586 w 108940"/>
                <a:gd name="connsiteY27" fmla="*/ 108137 h 136774"/>
                <a:gd name="connsiteX28" fmla="*/ 2792 w 108940"/>
                <a:gd name="connsiteY28" fmla="*/ 107278 h 136774"/>
                <a:gd name="connsiteX29" fmla="*/ 2234 w 108940"/>
                <a:gd name="connsiteY29" fmla="*/ 107051 h 136774"/>
                <a:gd name="connsiteX30" fmla="*/ 2549 w 108940"/>
                <a:gd name="connsiteY30" fmla="*/ 105924 h 136774"/>
                <a:gd name="connsiteX31" fmla="*/ 4853 w 108940"/>
                <a:gd name="connsiteY31" fmla="*/ 103709 h 136774"/>
                <a:gd name="connsiteX32" fmla="*/ 39350 w 108940"/>
                <a:gd name="connsiteY32" fmla="*/ 99978 h 136774"/>
                <a:gd name="connsiteX33" fmla="*/ 39613 w 108940"/>
                <a:gd name="connsiteY33" fmla="*/ 101654 h 136774"/>
                <a:gd name="connsiteX34" fmla="*/ 39365 w 108940"/>
                <a:gd name="connsiteY34" fmla="*/ 102426 h 136774"/>
                <a:gd name="connsiteX35" fmla="*/ 38248 w 108940"/>
                <a:gd name="connsiteY35" fmla="*/ 101257 h 136774"/>
                <a:gd name="connsiteX36" fmla="*/ 1567 w 108940"/>
                <a:gd name="connsiteY36" fmla="*/ 94158 h 136774"/>
                <a:gd name="connsiteX37" fmla="*/ 3560 w 108940"/>
                <a:gd name="connsiteY37" fmla="*/ 96289 h 136774"/>
                <a:gd name="connsiteX38" fmla="*/ 3636 w 108940"/>
                <a:gd name="connsiteY38" fmla="*/ 98753 h 136774"/>
                <a:gd name="connsiteX39" fmla="*/ 3344 w 108940"/>
                <a:gd name="connsiteY39" fmla="*/ 99357 h 136774"/>
                <a:gd name="connsiteX40" fmla="*/ 2381 w 108940"/>
                <a:gd name="connsiteY40" fmla="*/ 99176 h 136774"/>
                <a:gd name="connsiteX41" fmla="*/ 1394 w 108940"/>
                <a:gd name="connsiteY41" fmla="*/ 97455 h 136774"/>
                <a:gd name="connsiteX42" fmla="*/ 984 w 108940"/>
                <a:gd name="connsiteY42" fmla="*/ 96092 h 136774"/>
                <a:gd name="connsiteX43" fmla="*/ 0 w 108940"/>
                <a:gd name="connsiteY43" fmla="*/ 95344 h 136774"/>
                <a:gd name="connsiteX44" fmla="*/ 42187 w 108940"/>
                <a:gd name="connsiteY44" fmla="*/ 94004 h 136774"/>
                <a:gd name="connsiteX45" fmla="*/ 43297 w 108940"/>
                <a:gd name="connsiteY45" fmla="*/ 94704 h 136774"/>
                <a:gd name="connsiteX46" fmla="*/ 44897 w 108940"/>
                <a:gd name="connsiteY46" fmla="*/ 95065 h 136774"/>
                <a:gd name="connsiteX47" fmla="*/ 45513 w 108940"/>
                <a:gd name="connsiteY47" fmla="*/ 96885 h 136774"/>
                <a:gd name="connsiteX48" fmla="*/ 45267 w 108940"/>
                <a:gd name="connsiteY48" fmla="*/ 99330 h 136774"/>
                <a:gd name="connsiteX49" fmla="*/ 43703 w 108940"/>
                <a:gd name="connsiteY49" fmla="*/ 99451 h 136774"/>
                <a:gd name="connsiteX50" fmla="*/ 42770 w 108940"/>
                <a:gd name="connsiteY50" fmla="*/ 97875 h 136774"/>
                <a:gd name="connsiteX51" fmla="*/ 41777 w 108940"/>
                <a:gd name="connsiteY51" fmla="*/ 98644 h 136774"/>
                <a:gd name="connsiteX52" fmla="*/ 41258 w 108940"/>
                <a:gd name="connsiteY52" fmla="*/ 98657 h 136774"/>
                <a:gd name="connsiteX53" fmla="*/ 40481 w 108940"/>
                <a:gd name="connsiteY53" fmla="*/ 96698 h 136774"/>
                <a:gd name="connsiteX54" fmla="*/ 40347 w 108940"/>
                <a:gd name="connsiteY54" fmla="*/ 95168 h 136774"/>
                <a:gd name="connsiteX55" fmla="*/ 60019 w 108940"/>
                <a:gd name="connsiteY55" fmla="*/ 91686 h 136774"/>
                <a:gd name="connsiteX56" fmla="*/ 60442 w 108940"/>
                <a:gd name="connsiteY56" fmla="*/ 97068 h 136774"/>
                <a:gd name="connsiteX57" fmla="*/ 58356 w 108940"/>
                <a:gd name="connsiteY57" fmla="*/ 98610 h 136774"/>
                <a:gd name="connsiteX58" fmla="*/ 55545 w 108940"/>
                <a:gd name="connsiteY58" fmla="*/ 96542 h 136774"/>
                <a:gd name="connsiteX59" fmla="*/ 54876 w 108940"/>
                <a:gd name="connsiteY59" fmla="*/ 95399 h 136774"/>
                <a:gd name="connsiteX60" fmla="*/ 57013 w 108940"/>
                <a:gd name="connsiteY60" fmla="*/ 93722 h 136774"/>
                <a:gd name="connsiteX61" fmla="*/ 58827 w 108940"/>
                <a:gd name="connsiteY61" fmla="*/ 91806 h 136774"/>
                <a:gd name="connsiteX62" fmla="*/ 6877 w 108940"/>
                <a:gd name="connsiteY62" fmla="*/ 51395 h 136774"/>
                <a:gd name="connsiteX63" fmla="*/ 8382 w 108940"/>
                <a:gd name="connsiteY63" fmla="*/ 52445 h 136774"/>
                <a:gd name="connsiteX64" fmla="*/ 9066 w 108940"/>
                <a:gd name="connsiteY64" fmla="*/ 54436 h 136774"/>
                <a:gd name="connsiteX65" fmla="*/ 8762 w 108940"/>
                <a:gd name="connsiteY65" fmla="*/ 56074 h 136774"/>
                <a:gd name="connsiteX66" fmla="*/ 7296 w 108940"/>
                <a:gd name="connsiteY66" fmla="*/ 54993 h 136774"/>
                <a:gd name="connsiteX67" fmla="*/ 108264 w 108940"/>
                <a:gd name="connsiteY67" fmla="*/ 27445 h 136774"/>
                <a:gd name="connsiteX68" fmla="*/ 108940 w 108940"/>
                <a:gd name="connsiteY68" fmla="*/ 28057 h 136774"/>
                <a:gd name="connsiteX69" fmla="*/ 108536 w 108940"/>
                <a:gd name="connsiteY69" fmla="*/ 29366 h 136774"/>
                <a:gd name="connsiteX70" fmla="*/ 107532 w 108940"/>
                <a:gd name="connsiteY70" fmla="*/ 30125 h 136774"/>
                <a:gd name="connsiteX71" fmla="*/ 106343 w 108940"/>
                <a:gd name="connsiteY71" fmla="*/ 29366 h 136774"/>
                <a:gd name="connsiteX72" fmla="*/ 106198 w 108940"/>
                <a:gd name="connsiteY72" fmla="*/ 28563 h 136774"/>
                <a:gd name="connsiteX73" fmla="*/ 106819 w 108940"/>
                <a:gd name="connsiteY73" fmla="*/ 27866 h 136774"/>
                <a:gd name="connsiteX74" fmla="*/ 8935 w 108940"/>
                <a:gd name="connsiteY74" fmla="*/ 20567 h 136774"/>
                <a:gd name="connsiteX75" fmla="*/ 10747 w 108940"/>
                <a:gd name="connsiteY75" fmla="*/ 21593 h 136774"/>
                <a:gd name="connsiteX76" fmla="*/ 11347 w 108940"/>
                <a:gd name="connsiteY76" fmla="*/ 22764 h 136774"/>
                <a:gd name="connsiteX77" fmla="*/ 11243 w 108940"/>
                <a:gd name="connsiteY77" fmla="*/ 26142 h 136774"/>
                <a:gd name="connsiteX78" fmla="*/ 10023 w 108940"/>
                <a:gd name="connsiteY78" fmla="*/ 25997 h 136774"/>
                <a:gd name="connsiteX79" fmla="*/ 9194 w 108940"/>
                <a:gd name="connsiteY79" fmla="*/ 25658 h 136774"/>
                <a:gd name="connsiteX80" fmla="*/ 8838 w 108940"/>
                <a:gd name="connsiteY80" fmla="*/ 24999 h 136774"/>
                <a:gd name="connsiteX81" fmla="*/ 8000 w 108940"/>
                <a:gd name="connsiteY81" fmla="*/ 21863 h 136774"/>
                <a:gd name="connsiteX82" fmla="*/ 52341 w 108940"/>
                <a:gd name="connsiteY82" fmla="*/ 0 h 136774"/>
                <a:gd name="connsiteX83" fmla="*/ 57742 w 108940"/>
                <a:gd name="connsiteY83" fmla="*/ 11507 h 136774"/>
                <a:gd name="connsiteX84" fmla="*/ 62907 w 108940"/>
                <a:gd name="connsiteY84" fmla="*/ 18918 h 136774"/>
                <a:gd name="connsiteX85" fmla="*/ 67309 w 108940"/>
                <a:gd name="connsiteY85" fmla="*/ 24277 h 136774"/>
                <a:gd name="connsiteX86" fmla="*/ 73580 w 108940"/>
                <a:gd name="connsiteY86" fmla="*/ 34567 h 136774"/>
                <a:gd name="connsiteX87" fmla="*/ 75418 w 108940"/>
                <a:gd name="connsiteY87" fmla="*/ 40055 h 136774"/>
                <a:gd name="connsiteX88" fmla="*/ 75593 w 108940"/>
                <a:gd name="connsiteY88" fmla="*/ 43450 h 136774"/>
                <a:gd name="connsiteX89" fmla="*/ 76638 w 108940"/>
                <a:gd name="connsiteY89" fmla="*/ 48114 h 136774"/>
                <a:gd name="connsiteX90" fmla="*/ 75744 w 108940"/>
                <a:gd name="connsiteY90" fmla="*/ 50785 h 136774"/>
                <a:gd name="connsiteX91" fmla="*/ 76010 w 108940"/>
                <a:gd name="connsiteY91" fmla="*/ 54990 h 136774"/>
                <a:gd name="connsiteX92" fmla="*/ 75614 w 108940"/>
                <a:gd name="connsiteY92" fmla="*/ 57147 h 136774"/>
                <a:gd name="connsiteX93" fmla="*/ 74850 w 108940"/>
                <a:gd name="connsiteY93" fmla="*/ 58736 h 136774"/>
                <a:gd name="connsiteX94" fmla="*/ 74822 w 108940"/>
                <a:gd name="connsiteY94" fmla="*/ 61784 h 136774"/>
                <a:gd name="connsiteX95" fmla="*/ 75068 w 108940"/>
                <a:gd name="connsiteY95" fmla="*/ 63414 h 136774"/>
                <a:gd name="connsiteX96" fmla="*/ 75092 w 108940"/>
                <a:gd name="connsiteY96" fmla="*/ 65573 h 136774"/>
                <a:gd name="connsiteX97" fmla="*/ 75584 w 108940"/>
                <a:gd name="connsiteY97" fmla="*/ 66414 h 136774"/>
                <a:gd name="connsiteX98" fmla="*/ 76303 w 108940"/>
                <a:gd name="connsiteY98" fmla="*/ 66726 h 136774"/>
                <a:gd name="connsiteX99" fmla="*/ 77441 w 108940"/>
                <a:gd name="connsiteY99" fmla="*/ 65940 h 136774"/>
                <a:gd name="connsiteX100" fmla="*/ 78836 w 108940"/>
                <a:gd name="connsiteY100" fmla="*/ 65613 h 136774"/>
                <a:gd name="connsiteX101" fmla="*/ 78590 w 108940"/>
                <a:gd name="connsiteY101" fmla="*/ 68209 h 136774"/>
                <a:gd name="connsiteX102" fmla="*/ 76903 w 108940"/>
                <a:gd name="connsiteY102" fmla="*/ 74767 h 136774"/>
                <a:gd name="connsiteX103" fmla="*/ 75438 w 108940"/>
                <a:gd name="connsiteY103" fmla="*/ 79535 h 136774"/>
                <a:gd name="connsiteX104" fmla="*/ 73444 w 108940"/>
                <a:gd name="connsiteY104" fmla="*/ 83683 h 136774"/>
                <a:gd name="connsiteX105" fmla="*/ 70904 w 108940"/>
                <a:gd name="connsiteY105" fmla="*/ 87470 h 136774"/>
                <a:gd name="connsiteX106" fmla="*/ 67867 w 108940"/>
                <a:gd name="connsiteY106" fmla="*/ 88952 h 136774"/>
                <a:gd name="connsiteX107" fmla="*/ 65729 w 108940"/>
                <a:gd name="connsiteY107" fmla="*/ 89483 h 136774"/>
                <a:gd name="connsiteX108" fmla="*/ 61652 w 108940"/>
                <a:gd name="connsiteY108" fmla="*/ 89674 h 136774"/>
                <a:gd name="connsiteX109" fmla="*/ 58266 w 108940"/>
                <a:gd name="connsiteY109" fmla="*/ 89030 h 136774"/>
                <a:gd name="connsiteX110" fmla="*/ 55355 w 108940"/>
                <a:gd name="connsiteY110" fmla="*/ 89497 h 136774"/>
                <a:gd name="connsiteX111" fmla="*/ 54187 w 108940"/>
                <a:gd name="connsiteY111" fmla="*/ 90287 h 136774"/>
                <a:gd name="connsiteX112" fmla="*/ 53319 w 108940"/>
                <a:gd name="connsiteY112" fmla="*/ 91634 h 136774"/>
                <a:gd name="connsiteX113" fmla="*/ 53956 w 108940"/>
                <a:gd name="connsiteY113" fmla="*/ 93727 h 136774"/>
                <a:gd name="connsiteX114" fmla="*/ 53874 w 108940"/>
                <a:gd name="connsiteY114" fmla="*/ 95271 h 136774"/>
                <a:gd name="connsiteX115" fmla="*/ 52630 w 108940"/>
                <a:gd name="connsiteY115" fmla="*/ 95153 h 136774"/>
                <a:gd name="connsiteX116" fmla="*/ 50159 w 108940"/>
                <a:gd name="connsiteY116" fmla="*/ 94255 h 136774"/>
                <a:gd name="connsiteX117" fmla="*/ 47426 w 108940"/>
                <a:gd name="connsiteY117" fmla="*/ 94133 h 136774"/>
                <a:gd name="connsiteX118" fmla="*/ 46147 w 108940"/>
                <a:gd name="connsiteY118" fmla="*/ 93689 h 136774"/>
                <a:gd name="connsiteX119" fmla="*/ 44858 w 108940"/>
                <a:gd name="connsiteY119" fmla="*/ 91476 h 136774"/>
                <a:gd name="connsiteX120" fmla="*/ 43543 w 108940"/>
                <a:gd name="connsiteY120" fmla="*/ 91558 h 136774"/>
                <a:gd name="connsiteX121" fmla="*/ 41254 w 108940"/>
                <a:gd name="connsiteY121" fmla="*/ 92870 h 136774"/>
                <a:gd name="connsiteX122" fmla="*/ 37751 w 108940"/>
                <a:gd name="connsiteY122" fmla="*/ 93161 h 136774"/>
                <a:gd name="connsiteX123" fmla="*/ 36519 w 108940"/>
                <a:gd name="connsiteY123" fmla="*/ 93870 h 136774"/>
                <a:gd name="connsiteX124" fmla="*/ 36083 w 108940"/>
                <a:gd name="connsiteY124" fmla="*/ 94788 h 136774"/>
                <a:gd name="connsiteX125" fmla="*/ 36594 w 108940"/>
                <a:gd name="connsiteY125" fmla="*/ 95946 h 136774"/>
                <a:gd name="connsiteX126" fmla="*/ 38356 w 108940"/>
                <a:gd name="connsiteY126" fmla="*/ 97467 h 136774"/>
                <a:gd name="connsiteX127" fmla="*/ 37765 w 108940"/>
                <a:gd name="connsiteY127" fmla="*/ 99005 h 136774"/>
                <a:gd name="connsiteX128" fmla="*/ 35929 w 108940"/>
                <a:gd name="connsiteY128" fmla="*/ 99775 h 136774"/>
                <a:gd name="connsiteX129" fmla="*/ 34448 w 108940"/>
                <a:gd name="connsiteY129" fmla="*/ 97884 h 136774"/>
                <a:gd name="connsiteX130" fmla="*/ 33524 w 108940"/>
                <a:gd name="connsiteY130" fmla="*/ 96029 h 136774"/>
                <a:gd name="connsiteX131" fmla="*/ 32491 w 108940"/>
                <a:gd name="connsiteY131" fmla="*/ 95924 h 136774"/>
                <a:gd name="connsiteX132" fmla="*/ 30885 w 108940"/>
                <a:gd name="connsiteY132" fmla="*/ 96454 h 136774"/>
                <a:gd name="connsiteX133" fmla="*/ 30561 w 108940"/>
                <a:gd name="connsiteY133" fmla="*/ 98456 h 136774"/>
                <a:gd name="connsiteX134" fmla="*/ 31308 w 108940"/>
                <a:gd name="connsiteY134" fmla="*/ 99819 h 136774"/>
                <a:gd name="connsiteX135" fmla="*/ 32539 w 108940"/>
                <a:gd name="connsiteY135" fmla="*/ 101399 h 136774"/>
                <a:gd name="connsiteX136" fmla="*/ 30815 w 108940"/>
                <a:gd name="connsiteY136" fmla="*/ 103214 h 136774"/>
                <a:gd name="connsiteX137" fmla="*/ 30360 w 108940"/>
                <a:gd name="connsiteY137" fmla="*/ 104509 h 136774"/>
                <a:gd name="connsiteX138" fmla="*/ 29123 w 108940"/>
                <a:gd name="connsiteY138" fmla="*/ 105441 h 136774"/>
                <a:gd name="connsiteX139" fmla="*/ 25780 w 108940"/>
                <a:gd name="connsiteY139" fmla="*/ 103374 h 136774"/>
                <a:gd name="connsiteX140" fmla="*/ 26255 w 108940"/>
                <a:gd name="connsiteY140" fmla="*/ 101903 h 136774"/>
                <a:gd name="connsiteX141" fmla="*/ 27706 w 108940"/>
                <a:gd name="connsiteY141" fmla="*/ 100489 h 136774"/>
                <a:gd name="connsiteX142" fmla="*/ 27885 w 108940"/>
                <a:gd name="connsiteY142" fmla="*/ 99022 h 136774"/>
                <a:gd name="connsiteX143" fmla="*/ 27408 w 108940"/>
                <a:gd name="connsiteY143" fmla="*/ 98153 h 136774"/>
                <a:gd name="connsiteX144" fmla="*/ 22625 w 108940"/>
                <a:gd name="connsiteY144" fmla="*/ 101857 h 136774"/>
                <a:gd name="connsiteX145" fmla="*/ 19677 w 108940"/>
                <a:gd name="connsiteY145" fmla="*/ 106050 h 136774"/>
                <a:gd name="connsiteX146" fmla="*/ 18104 w 108940"/>
                <a:gd name="connsiteY146" fmla="*/ 105746 h 136774"/>
                <a:gd name="connsiteX147" fmla="*/ 17445 w 108940"/>
                <a:gd name="connsiteY147" fmla="*/ 104668 h 136774"/>
                <a:gd name="connsiteX148" fmla="*/ 16523 w 108940"/>
                <a:gd name="connsiteY148" fmla="*/ 104229 h 136774"/>
                <a:gd name="connsiteX149" fmla="*/ 13340 w 108940"/>
                <a:gd name="connsiteY149" fmla="*/ 106932 h 136774"/>
                <a:gd name="connsiteX150" fmla="*/ 12755 w 108940"/>
                <a:gd name="connsiteY150" fmla="*/ 109075 h 136774"/>
                <a:gd name="connsiteX151" fmla="*/ 11585 w 108940"/>
                <a:gd name="connsiteY151" fmla="*/ 109157 h 136774"/>
                <a:gd name="connsiteX152" fmla="*/ 11072 w 108940"/>
                <a:gd name="connsiteY152" fmla="*/ 108250 h 136774"/>
                <a:gd name="connsiteX153" fmla="*/ 11031 w 108940"/>
                <a:gd name="connsiteY153" fmla="*/ 106312 h 136774"/>
                <a:gd name="connsiteX154" fmla="*/ 10485 w 108940"/>
                <a:gd name="connsiteY154" fmla="*/ 104676 h 136774"/>
                <a:gd name="connsiteX155" fmla="*/ 7187 w 108940"/>
                <a:gd name="connsiteY155" fmla="*/ 102287 h 136774"/>
                <a:gd name="connsiteX156" fmla="*/ 5681 w 108940"/>
                <a:gd name="connsiteY156" fmla="*/ 100200 h 136774"/>
                <a:gd name="connsiteX157" fmla="*/ 6491 w 108940"/>
                <a:gd name="connsiteY157" fmla="*/ 99032 h 136774"/>
                <a:gd name="connsiteX158" fmla="*/ 9244 w 108940"/>
                <a:gd name="connsiteY158" fmla="*/ 99667 h 136774"/>
                <a:gd name="connsiteX159" fmla="*/ 11431 w 108940"/>
                <a:gd name="connsiteY159" fmla="*/ 99584 h 136774"/>
                <a:gd name="connsiteX160" fmla="*/ 10999 w 108940"/>
                <a:gd name="connsiteY160" fmla="*/ 98593 h 136774"/>
                <a:gd name="connsiteX161" fmla="*/ 10289 w 108940"/>
                <a:gd name="connsiteY161" fmla="*/ 98123 h 136774"/>
                <a:gd name="connsiteX162" fmla="*/ 11742 w 108940"/>
                <a:gd name="connsiteY162" fmla="*/ 97565 h 136774"/>
                <a:gd name="connsiteX163" fmla="*/ 12954 w 108940"/>
                <a:gd name="connsiteY163" fmla="*/ 96422 h 136774"/>
                <a:gd name="connsiteX164" fmla="*/ 11949 w 108940"/>
                <a:gd name="connsiteY164" fmla="*/ 96112 h 136774"/>
                <a:gd name="connsiteX165" fmla="*/ 10414 w 108940"/>
                <a:gd name="connsiteY165" fmla="*/ 96773 h 136774"/>
                <a:gd name="connsiteX166" fmla="*/ 9135 w 108940"/>
                <a:gd name="connsiteY166" fmla="*/ 96447 h 136774"/>
                <a:gd name="connsiteX167" fmla="*/ 8630 w 108940"/>
                <a:gd name="connsiteY167" fmla="*/ 93709 h 136774"/>
                <a:gd name="connsiteX168" fmla="*/ 7074 w 108940"/>
                <a:gd name="connsiteY168" fmla="*/ 90897 h 136774"/>
                <a:gd name="connsiteX169" fmla="*/ 6270 w 108940"/>
                <a:gd name="connsiteY169" fmla="*/ 88164 h 136774"/>
                <a:gd name="connsiteX170" fmla="*/ 7805 w 108940"/>
                <a:gd name="connsiteY170" fmla="*/ 86590 h 136774"/>
                <a:gd name="connsiteX171" fmla="*/ 8587 w 108940"/>
                <a:gd name="connsiteY171" fmla="*/ 84143 h 136774"/>
                <a:gd name="connsiteX172" fmla="*/ 10014 w 108940"/>
                <a:gd name="connsiteY172" fmla="*/ 80597 h 136774"/>
                <a:gd name="connsiteX173" fmla="*/ 10729 w 108940"/>
                <a:gd name="connsiteY173" fmla="*/ 79449 h 136774"/>
                <a:gd name="connsiteX174" fmla="*/ 12707 w 108940"/>
                <a:gd name="connsiteY174" fmla="*/ 78615 h 136774"/>
                <a:gd name="connsiteX175" fmla="*/ 13411 w 108940"/>
                <a:gd name="connsiteY175" fmla="*/ 77696 h 136774"/>
                <a:gd name="connsiteX176" fmla="*/ 12325 w 108940"/>
                <a:gd name="connsiteY176" fmla="*/ 77225 h 136774"/>
                <a:gd name="connsiteX177" fmla="*/ 10591 w 108940"/>
                <a:gd name="connsiteY177" fmla="*/ 76807 h 136774"/>
                <a:gd name="connsiteX178" fmla="*/ 10635 w 108940"/>
                <a:gd name="connsiteY178" fmla="*/ 75782 h 136774"/>
                <a:gd name="connsiteX179" fmla="*/ 11815 w 108940"/>
                <a:gd name="connsiteY179" fmla="*/ 75222 h 136774"/>
                <a:gd name="connsiteX180" fmla="*/ 13134 w 108940"/>
                <a:gd name="connsiteY180" fmla="*/ 74092 h 136774"/>
                <a:gd name="connsiteX181" fmla="*/ 15695 w 108940"/>
                <a:gd name="connsiteY181" fmla="*/ 72716 h 136774"/>
                <a:gd name="connsiteX182" fmla="*/ 16484 w 108940"/>
                <a:gd name="connsiteY182" fmla="*/ 70118 h 136774"/>
                <a:gd name="connsiteX183" fmla="*/ 15745 w 108940"/>
                <a:gd name="connsiteY183" fmla="*/ 69464 h 136774"/>
                <a:gd name="connsiteX184" fmla="*/ 14150 w 108940"/>
                <a:gd name="connsiteY184" fmla="*/ 68846 h 136774"/>
                <a:gd name="connsiteX185" fmla="*/ 14508 w 108940"/>
                <a:gd name="connsiteY185" fmla="*/ 67532 h 136774"/>
                <a:gd name="connsiteX186" fmla="*/ 15167 w 108940"/>
                <a:gd name="connsiteY186" fmla="*/ 66531 h 136774"/>
                <a:gd name="connsiteX187" fmla="*/ 14921 w 108940"/>
                <a:gd name="connsiteY187" fmla="*/ 65931 h 136774"/>
                <a:gd name="connsiteX188" fmla="*/ 13035 w 108940"/>
                <a:gd name="connsiteY188" fmla="*/ 64237 h 136774"/>
                <a:gd name="connsiteX189" fmla="*/ 11783 w 108940"/>
                <a:gd name="connsiteY189" fmla="*/ 62693 h 136774"/>
                <a:gd name="connsiteX190" fmla="*/ 12155 w 108940"/>
                <a:gd name="connsiteY190" fmla="*/ 60932 h 136774"/>
                <a:gd name="connsiteX191" fmla="*/ 11867 w 108940"/>
                <a:gd name="connsiteY191" fmla="*/ 58268 h 136774"/>
                <a:gd name="connsiteX192" fmla="*/ 12038 w 108940"/>
                <a:gd name="connsiteY192" fmla="*/ 56028 h 136774"/>
                <a:gd name="connsiteX193" fmla="*/ 11955 w 108940"/>
                <a:gd name="connsiteY193" fmla="*/ 54814 h 136774"/>
                <a:gd name="connsiteX194" fmla="*/ 11035 w 108940"/>
                <a:gd name="connsiteY194" fmla="*/ 52078 h 136774"/>
                <a:gd name="connsiteX195" fmla="*/ 10617 w 108940"/>
                <a:gd name="connsiteY195" fmla="*/ 49335 h 136774"/>
                <a:gd name="connsiteX196" fmla="*/ 9407 w 108940"/>
                <a:gd name="connsiteY196" fmla="*/ 49735 h 136774"/>
                <a:gd name="connsiteX197" fmla="*/ 8429 w 108940"/>
                <a:gd name="connsiteY197" fmla="*/ 50416 h 136774"/>
                <a:gd name="connsiteX198" fmla="*/ 4933 w 108940"/>
                <a:gd name="connsiteY198" fmla="*/ 49450 h 136774"/>
                <a:gd name="connsiteX199" fmla="*/ 3832 w 108940"/>
                <a:gd name="connsiteY199" fmla="*/ 49391 h 136774"/>
                <a:gd name="connsiteX200" fmla="*/ 3383 w 108940"/>
                <a:gd name="connsiteY200" fmla="*/ 47352 h 136774"/>
                <a:gd name="connsiteX201" fmla="*/ 4636 w 108940"/>
                <a:gd name="connsiteY201" fmla="*/ 44837 h 136774"/>
                <a:gd name="connsiteX202" fmla="*/ 7607 w 108940"/>
                <a:gd name="connsiteY202" fmla="*/ 42620 h 136774"/>
                <a:gd name="connsiteX203" fmla="*/ 9313 w 108940"/>
                <a:gd name="connsiteY203" fmla="*/ 42344 h 136774"/>
                <a:gd name="connsiteX204" fmla="*/ 10602 w 108940"/>
                <a:gd name="connsiteY204" fmla="*/ 41367 h 136774"/>
                <a:gd name="connsiteX205" fmla="*/ 12608 w 108940"/>
                <a:gd name="connsiteY205" fmla="*/ 41059 h 136774"/>
                <a:gd name="connsiteX206" fmla="*/ 15018 w 108940"/>
                <a:gd name="connsiteY206" fmla="*/ 42565 h 136774"/>
                <a:gd name="connsiteX207" fmla="*/ 17179 w 108940"/>
                <a:gd name="connsiteY207" fmla="*/ 42868 h 136774"/>
                <a:gd name="connsiteX208" fmla="*/ 18380 w 108940"/>
                <a:gd name="connsiteY208" fmla="*/ 45469 h 136774"/>
                <a:gd name="connsiteX209" fmla="*/ 19116 w 108940"/>
                <a:gd name="connsiteY209" fmla="*/ 46018 h 136774"/>
                <a:gd name="connsiteX210" fmla="*/ 19272 w 108940"/>
                <a:gd name="connsiteY210" fmla="*/ 45063 h 136774"/>
                <a:gd name="connsiteX211" fmla="*/ 21017 w 108940"/>
                <a:gd name="connsiteY211" fmla="*/ 43943 h 136774"/>
                <a:gd name="connsiteX212" fmla="*/ 21433 w 108940"/>
                <a:gd name="connsiteY212" fmla="*/ 43098 h 136774"/>
                <a:gd name="connsiteX213" fmla="*/ 21056 w 108940"/>
                <a:gd name="connsiteY213" fmla="*/ 42635 h 136774"/>
                <a:gd name="connsiteX214" fmla="*/ 19047 w 108940"/>
                <a:gd name="connsiteY214" fmla="*/ 42174 h 136774"/>
                <a:gd name="connsiteX215" fmla="*/ 17244 w 108940"/>
                <a:gd name="connsiteY215" fmla="*/ 38944 h 136774"/>
                <a:gd name="connsiteX216" fmla="*/ 16994 w 108940"/>
                <a:gd name="connsiteY216" fmla="*/ 37531 h 136774"/>
                <a:gd name="connsiteX217" fmla="*/ 16337 w 108940"/>
                <a:gd name="connsiteY217" fmla="*/ 36631 h 136774"/>
                <a:gd name="connsiteX218" fmla="*/ 17313 w 108940"/>
                <a:gd name="connsiteY218" fmla="*/ 34048 h 136774"/>
                <a:gd name="connsiteX219" fmla="*/ 15227 w 108940"/>
                <a:gd name="connsiteY219" fmla="*/ 31096 h 136774"/>
                <a:gd name="connsiteX220" fmla="*/ 14212 w 108940"/>
                <a:gd name="connsiteY220" fmla="*/ 30166 h 136774"/>
                <a:gd name="connsiteX221" fmla="*/ 14357 w 108940"/>
                <a:gd name="connsiteY221" fmla="*/ 27509 h 136774"/>
                <a:gd name="connsiteX222" fmla="*/ 13268 w 108940"/>
                <a:gd name="connsiteY222" fmla="*/ 25816 h 136774"/>
                <a:gd name="connsiteX223" fmla="*/ 12662 w 108940"/>
                <a:gd name="connsiteY223" fmla="*/ 24888 h 136774"/>
                <a:gd name="connsiteX224" fmla="*/ 12290 w 108940"/>
                <a:gd name="connsiteY224" fmla="*/ 23284 h 136774"/>
                <a:gd name="connsiteX225" fmla="*/ 12608 w 108940"/>
                <a:gd name="connsiteY225" fmla="*/ 22562 h 136774"/>
                <a:gd name="connsiteX226" fmla="*/ 13558 w 108940"/>
                <a:gd name="connsiteY226" fmla="*/ 22287 h 136774"/>
                <a:gd name="connsiteX227" fmla="*/ 13850 w 108940"/>
                <a:gd name="connsiteY227" fmla="*/ 21612 h 136774"/>
                <a:gd name="connsiteX228" fmla="*/ 14527 w 108940"/>
                <a:gd name="connsiteY228" fmla="*/ 21128 h 136774"/>
                <a:gd name="connsiteX229" fmla="*/ 14571 w 108940"/>
                <a:gd name="connsiteY229" fmla="*/ 20432 h 136774"/>
                <a:gd name="connsiteX230" fmla="*/ 14577 w 108940"/>
                <a:gd name="connsiteY230" fmla="*/ 18146 h 136774"/>
                <a:gd name="connsiteX231" fmla="*/ 16512 w 108940"/>
                <a:gd name="connsiteY231" fmla="*/ 16563 h 136774"/>
                <a:gd name="connsiteX232" fmla="*/ 19267 w 108940"/>
                <a:gd name="connsiteY232" fmla="*/ 13304 h 136774"/>
                <a:gd name="connsiteX233" fmla="*/ 20619 w 108940"/>
                <a:gd name="connsiteY233" fmla="*/ 11519 h 136774"/>
                <a:gd name="connsiteX234" fmla="*/ 22159 w 108940"/>
                <a:gd name="connsiteY234" fmla="*/ 9851 h 136774"/>
                <a:gd name="connsiteX235" fmla="*/ 23942 w 108940"/>
                <a:gd name="connsiteY235" fmla="*/ 8738 h 136774"/>
                <a:gd name="connsiteX236" fmla="*/ 25694 w 108940"/>
                <a:gd name="connsiteY236" fmla="*/ 8207 h 136774"/>
                <a:gd name="connsiteX237" fmla="*/ 28447 w 108940"/>
                <a:gd name="connsiteY237" fmla="*/ 7982 h 136774"/>
                <a:gd name="connsiteX238" fmla="*/ 33725 w 108940"/>
                <a:gd name="connsiteY238" fmla="*/ 8195 h 136774"/>
                <a:gd name="connsiteX239" fmla="*/ 34759 w 108940"/>
                <a:gd name="connsiteY239" fmla="*/ 8002 h 136774"/>
                <a:gd name="connsiteX240" fmla="*/ 38430 w 108940"/>
                <a:gd name="connsiteY240" fmla="*/ 7829 h 136774"/>
                <a:gd name="connsiteX241" fmla="*/ 39296 w 108940"/>
                <a:gd name="connsiteY241" fmla="*/ 8125 h 136774"/>
                <a:gd name="connsiteX242" fmla="*/ 41963 w 108940"/>
                <a:gd name="connsiteY242" fmla="*/ 8312 h 136774"/>
                <a:gd name="connsiteX243" fmla="*/ 44919 w 108940"/>
                <a:gd name="connsiteY243" fmla="*/ 8104 h 136774"/>
                <a:gd name="connsiteX244" fmla="*/ 46407 w 108940"/>
                <a:gd name="connsiteY244" fmla="*/ 7621 h 136774"/>
                <a:gd name="connsiteX245" fmla="*/ 47787 w 108940"/>
                <a:gd name="connsiteY245" fmla="*/ 6799 h 136774"/>
                <a:gd name="connsiteX246" fmla="*/ 48991 w 108940"/>
                <a:gd name="connsiteY246" fmla="*/ 5315 h 136774"/>
                <a:gd name="connsiteX247" fmla="*/ 50233 w 108940"/>
                <a:gd name="connsiteY247" fmla="*/ 2567 h 136774"/>
                <a:gd name="connsiteX248" fmla="*/ 51563 w 108940"/>
                <a:gd name="connsiteY248" fmla="*/ 401 h 136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</a:cxnLst>
              <a:rect l="l" t="t" r="r" b="b"/>
              <a:pathLst>
                <a:path w="108940" h="136774">
                  <a:moveTo>
                    <a:pt x="16635" y="128068"/>
                  </a:moveTo>
                  <a:lnTo>
                    <a:pt x="19760" y="129012"/>
                  </a:lnTo>
                  <a:lnTo>
                    <a:pt x="20425" y="130777"/>
                  </a:lnTo>
                  <a:lnTo>
                    <a:pt x="19853" y="132299"/>
                  </a:lnTo>
                  <a:lnTo>
                    <a:pt x="19133" y="133320"/>
                  </a:lnTo>
                  <a:lnTo>
                    <a:pt x="15515" y="135038"/>
                  </a:lnTo>
                  <a:lnTo>
                    <a:pt x="12696" y="135863"/>
                  </a:lnTo>
                  <a:lnTo>
                    <a:pt x="7063" y="136227"/>
                  </a:lnTo>
                  <a:lnTo>
                    <a:pt x="6069" y="136774"/>
                  </a:lnTo>
                  <a:lnTo>
                    <a:pt x="5145" y="136444"/>
                  </a:lnTo>
                  <a:lnTo>
                    <a:pt x="4897" y="136187"/>
                  </a:lnTo>
                  <a:lnTo>
                    <a:pt x="3785" y="134769"/>
                  </a:lnTo>
                  <a:lnTo>
                    <a:pt x="3495" y="134041"/>
                  </a:lnTo>
                  <a:lnTo>
                    <a:pt x="4243" y="132654"/>
                  </a:lnTo>
                  <a:lnTo>
                    <a:pt x="7300" y="130368"/>
                  </a:lnTo>
                  <a:lnTo>
                    <a:pt x="15213" y="128165"/>
                  </a:lnTo>
                  <a:close/>
                  <a:moveTo>
                    <a:pt x="15311" y="107122"/>
                  </a:moveTo>
                  <a:lnTo>
                    <a:pt x="16484" y="108416"/>
                  </a:lnTo>
                  <a:lnTo>
                    <a:pt x="16857" y="109600"/>
                  </a:lnTo>
                  <a:lnTo>
                    <a:pt x="15070" y="109377"/>
                  </a:lnTo>
                  <a:lnTo>
                    <a:pt x="14120" y="108238"/>
                  </a:lnTo>
                  <a:lnTo>
                    <a:pt x="14247" y="107260"/>
                  </a:lnTo>
                  <a:close/>
                  <a:moveTo>
                    <a:pt x="5305" y="102945"/>
                  </a:moveTo>
                  <a:lnTo>
                    <a:pt x="7436" y="103404"/>
                  </a:lnTo>
                  <a:lnTo>
                    <a:pt x="8233" y="104576"/>
                  </a:lnTo>
                  <a:lnTo>
                    <a:pt x="7250" y="106361"/>
                  </a:lnTo>
                  <a:lnTo>
                    <a:pt x="5000" y="107755"/>
                  </a:lnTo>
                  <a:lnTo>
                    <a:pt x="3586" y="108137"/>
                  </a:lnTo>
                  <a:lnTo>
                    <a:pt x="2792" y="107278"/>
                  </a:lnTo>
                  <a:lnTo>
                    <a:pt x="2234" y="107051"/>
                  </a:lnTo>
                  <a:lnTo>
                    <a:pt x="2549" y="105924"/>
                  </a:lnTo>
                  <a:lnTo>
                    <a:pt x="4853" y="103709"/>
                  </a:lnTo>
                  <a:close/>
                  <a:moveTo>
                    <a:pt x="39350" y="99978"/>
                  </a:moveTo>
                  <a:lnTo>
                    <a:pt x="39613" y="101654"/>
                  </a:lnTo>
                  <a:lnTo>
                    <a:pt x="39365" y="102426"/>
                  </a:lnTo>
                  <a:lnTo>
                    <a:pt x="38248" y="101257"/>
                  </a:lnTo>
                  <a:close/>
                  <a:moveTo>
                    <a:pt x="1567" y="94158"/>
                  </a:moveTo>
                  <a:lnTo>
                    <a:pt x="3560" y="96289"/>
                  </a:lnTo>
                  <a:lnTo>
                    <a:pt x="3636" y="98753"/>
                  </a:lnTo>
                  <a:lnTo>
                    <a:pt x="3344" y="99357"/>
                  </a:lnTo>
                  <a:lnTo>
                    <a:pt x="2381" y="99176"/>
                  </a:lnTo>
                  <a:lnTo>
                    <a:pt x="1394" y="97455"/>
                  </a:lnTo>
                  <a:lnTo>
                    <a:pt x="984" y="96092"/>
                  </a:lnTo>
                  <a:lnTo>
                    <a:pt x="0" y="95344"/>
                  </a:lnTo>
                  <a:close/>
                  <a:moveTo>
                    <a:pt x="42187" y="94004"/>
                  </a:moveTo>
                  <a:lnTo>
                    <a:pt x="43297" y="94704"/>
                  </a:lnTo>
                  <a:lnTo>
                    <a:pt x="44897" y="95065"/>
                  </a:lnTo>
                  <a:lnTo>
                    <a:pt x="45513" y="96885"/>
                  </a:lnTo>
                  <a:lnTo>
                    <a:pt x="45267" y="99330"/>
                  </a:lnTo>
                  <a:lnTo>
                    <a:pt x="43703" y="99451"/>
                  </a:lnTo>
                  <a:lnTo>
                    <a:pt x="42770" y="97875"/>
                  </a:lnTo>
                  <a:lnTo>
                    <a:pt x="41777" y="98644"/>
                  </a:lnTo>
                  <a:lnTo>
                    <a:pt x="41258" y="98657"/>
                  </a:lnTo>
                  <a:lnTo>
                    <a:pt x="40481" y="96698"/>
                  </a:lnTo>
                  <a:lnTo>
                    <a:pt x="40347" y="95168"/>
                  </a:lnTo>
                  <a:close/>
                  <a:moveTo>
                    <a:pt x="60019" y="91686"/>
                  </a:moveTo>
                  <a:lnTo>
                    <a:pt x="60442" y="97068"/>
                  </a:lnTo>
                  <a:lnTo>
                    <a:pt x="58356" y="98610"/>
                  </a:lnTo>
                  <a:lnTo>
                    <a:pt x="55545" y="96542"/>
                  </a:lnTo>
                  <a:lnTo>
                    <a:pt x="54876" y="95399"/>
                  </a:lnTo>
                  <a:lnTo>
                    <a:pt x="57013" y="93722"/>
                  </a:lnTo>
                  <a:lnTo>
                    <a:pt x="58827" y="91806"/>
                  </a:lnTo>
                  <a:close/>
                  <a:moveTo>
                    <a:pt x="6877" y="51395"/>
                  </a:moveTo>
                  <a:lnTo>
                    <a:pt x="8382" y="52445"/>
                  </a:lnTo>
                  <a:lnTo>
                    <a:pt x="9066" y="54436"/>
                  </a:lnTo>
                  <a:lnTo>
                    <a:pt x="8762" y="56074"/>
                  </a:lnTo>
                  <a:lnTo>
                    <a:pt x="7296" y="54993"/>
                  </a:lnTo>
                  <a:close/>
                  <a:moveTo>
                    <a:pt x="108264" y="27445"/>
                  </a:moveTo>
                  <a:lnTo>
                    <a:pt x="108940" y="28057"/>
                  </a:lnTo>
                  <a:lnTo>
                    <a:pt x="108536" y="29366"/>
                  </a:lnTo>
                  <a:lnTo>
                    <a:pt x="107532" y="30125"/>
                  </a:lnTo>
                  <a:lnTo>
                    <a:pt x="106343" y="29366"/>
                  </a:lnTo>
                  <a:lnTo>
                    <a:pt x="106198" y="28563"/>
                  </a:lnTo>
                  <a:lnTo>
                    <a:pt x="106819" y="27866"/>
                  </a:lnTo>
                  <a:close/>
                  <a:moveTo>
                    <a:pt x="8935" y="20567"/>
                  </a:moveTo>
                  <a:lnTo>
                    <a:pt x="10747" y="21593"/>
                  </a:lnTo>
                  <a:lnTo>
                    <a:pt x="11347" y="22764"/>
                  </a:lnTo>
                  <a:lnTo>
                    <a:pt x="11243" y="26142"/>
                  </a:lnTo>
                  <a:lnTo>
                    <a:pt x="10023" y="25997"/>
                  </a:lnTo>
                  <a:lnTo>
                    <a:pt x="9194" y="25658"/>
                  </a:lnTo>
                  <a:lnTo>
                    <a:pt x="8838" y="24999"/>
                  </a:lnTo>
                  <a:lnTo>
                    <a:pt x="8000" y="21863"/>
                  </a:lnTo>
                  <a:close/>
                  <a:moveTo>
                    <a:pt x="52341" y="0"/>
                  </a:moveTo>
                  <a:lnTo>
                    <a:pt x="57742" y="11507"/>
                  </a:lnTo>
                  <a:lnTo>
                    <a:pt x="62907" y="18918"/>
                  </a:lnTo>
                  <a:lnTo>
                    <a:pt x="67309" y="24277"/>
                  </a:lnTo>
                  <a:lnTo>
                    <a:pt x="73580" y="34567"/>
                  </a:lnTo>
                  <a:lnTo>
                    <a:pt x="75418" y="40055"/>
                  </a:lnTo>
                  <a:lnTo>
                    <a:pt x="75593" y="43450"/>
                  </a:lnTo>
                  <a:lnTo>
                    <a:pt x="76638" y="48114"/>
                  </a:lnTo>
                  <a:lnTo>
                    <a:pt x="75744" y="50785"/>
                  </a:lnTo>
                  <a:lnTo>
                    <a:pt x="76010" y="54990"/>
                  </a:lnTo>
                  <a:lnTo>
                    <a:pt x="75614" y="57147"/>
                  </a:lnTo>
                  <a:lnTo>
                    <a:pt x="74850" y="58736"/>
                  </a:lnTo>
                  <a:lnTo>
                    <a:pt x="74822" y="61784"/>
                  </a:lnTo>
                  <a:lnTo>
                    <a:pt x="75068" y="63414"/>
                  </a:lnTo>
                  <a:lnTo>
                    <a:pt x="75092" y="65573"/>
                  </a:lnTo>
                  <a:lnTo>
                    <a:pt x="75584" y="66414"/>
                  </a:lnTo>
                  <a:lnTo>
                    <a:pt x="76303" y="66726"/>
                  </a:lnTo>
                  <a:lnTo>
                    <a:pt x="77441" y="65940"/>
                  </a:lnTo>
                  <a:lnTo>
                    <a:pt x="78836" y="65613"/>
                  </a:lnTo>
                  <a:lnTo>
                    <a:pt x="78590" y="68209"/>
                  </a:lnTo>
                  <a:lnTo>
                    <a:pt x="76903" y="74767"/>
                  </a:lnTo>
                  <a:lnTo>
                    <a:pt x="75438" y="79535"/>
                  </a:lnTo>
                  <a:lnTo>
                    <a:pt x="73444" y="83683"/>
                  </a:lnTo>
                  <a:lnTo>
                    <a:pt x="70904" y="87470"/>
                  </a:lnTo>
                  <a:lnTo>
                    <a:pt x="67867" y="88952"/>
                  </a:lnTo>
                  <a:lnTo>
                    <a:pt x="65729" y="89483"/>
                  </a:lnTo>
                  <a:lnTo>
                    <a:pt x="61652" y="89674"/>
                  </a:lnTo>
                  <a:lnTo>
                    <a:pt x="58266" y="89030"/>
                  </a:lnTo>
                  <a:lnTo>
                    <a:pt x="55355" y="89497"/>
                  </a:lnTo>
                  <a:lnTo>
                    <a:pt x="54187" y="90287"/>
                  </a:lnTo>
                  <a:lnTo>
                    <a:pt x="53319" y="91634"/>
                  </a:lnTo>
                  <a:lnTo>
                    <a:pt x="53956" y="93727"/>
                  </a:lnTo>
                  <a:lnTo>
                    <a:pt x="53874" y="95271"/>
                  </a:lnTo>
                  <a:lnTo>
                    <a:pt x="52630" y="95153"/>
                  </a:lnTo>
                  <a:lnTo>
                    <a:pt x="50159" y="94255"/>
                  </a:lnTo>
                  <a:lnTo>
                    <a:pt x="47426" y="94133"/>
                  </a:lnTo>
                  <a:lnTo>
                    <a:pt x="46147" y="93689"/>
                  </a:lnTo>
                  <a:lnTo>
                    <a:pt x="44858" y="91476"/>
                  </a:lnTo>
                  <a:lnTo>
                    <a:pt x="43543" y="91558"/>
                  </a:lnTo>
                  <a:lnTo>
                    <a:pt x="41254" y="92870"/>
                  </a:lnTo>
                  <a:lnTo>
                    <a:pt x="37751" y="93161"/>
                  </a:lnTo>
                  <a:lnTo>
                    <a:pt x="36519" y="93870"/>
                  </a:lnTo>
                  <a:lnTo>
                    <a:pt x="36083" y="94788"/>
                  </a:lnTo>
                  <a:lnTo>
                    <a:pt x="36594" y="95946"/>
                  </a:lnTo>
                  <a:lnTo>
                    <a:pt x="38356" y="97467"/>
                  </a:lnTo>
                  <a:lnTo>
                    <a:pt x="37765" y="99005"/>
                  </a:lnTo>
                  <a:lnTo>
                    <a:pt x="35929" y="99775"/>
                  </a:lnTo>
                  <a:lnTo>
                    <a:pt x="34448" y="97884"/>
                  </a:lnTo>
                  <a:lnTo>
                    <a:pt x="33524" y="96029"/>
                  </a:lnTo>
                  <a:lnTo>
                    <a:pt x="32491" y="95924"/>
                  </a:lnTo>
                  <a:lnTo>
                    <a:pt x="30885" y="96454"/>
                  </a:lnTo>
                  <a:lnTo>
                    <a:pt x="30561" y="98456"/>
                  </a:lnTo>
                  <a:lnTo>
                    <a:pt x="31308" y="99819"/>
                  </a:lnTo>
                  <a:lnTo>
                    <a:pt x="32539" y="101399"/>
                  </a:lnTo>
                  <a:lnTo>
                    <a:pt x="30815" y="103214"/>
                  </a:lnTo>
                  <a:lnTo>
                    <a:pt x="30360" y="104509"/>
                  </a:lnTo>
                  <a:lnTo>
                    <a:pt x="29123" y="105441"/>
                  </a:lnTo>
                  <a:lnTo>
                    <a:pt x="25780" y="103374"/>
                  </a:lnTo>
                  <a:lnTo>
                    <a:pt x="26255" y="101903"/>
                  </a:lnTo>
                  <a:lnTo>
                    <a:pt x="27706" y="100489"/>
                  </a:lnTo>
                  <a:lnTo>
                    <a:pt x="27885" y="99022"/>
                  </a:lnTo>
                  <a:lnTo>
                    <a:pt x="27408" y="98153"/>
                  </a:lnTo>
                  <a:lnTo>
                    <a:pt x="22625" y="101857"/>
                  </a:lnTo>
                  <a:lnTo>
                    <a:pt x="19677" y="106050"/>
                  </a:lnTo>
                  <a:lnTo>
                    <a:pt x="18104" y="105746"/>
                  </a:lnTo>
                  <a:lnTo>
                    <a:pt x="17445" y="104668"/>
                  </a:lnTo>
                  <a:lnTo>
                    <a:pt x="16523" y="104229"/>
                  </a:lnTo>
                  <a:lnTo>
                    <a:pt x="13340" y="106932"/>
                  </a:lnTo>
                  <a:lnTo>
                    <a:pt x="12755" y="109075"/>
                  </a:lnTo>
                  <a:lnTo>
                    <a:pt x="11585" y="109157"/>
                  </a:lnTo>
                  <a:lnTo>
                    <a:pt x="11072" y="108250"/>
                  </a:lnTo>
                  <a:lnTo>
                    <a:pt x="11031" y="106312"/>
                  </a:lnTo>
                  <a:lnTo>
                    <a:pt x="10485" y="104676"/>
                  </a:lnTo>
                  <a:lnTo>
                    <a:pt x="7187" y="102287"/>
                  </a:lnTo>
                  <a:lnTo>
                    <a:pt x="5681" y="100200"/>
                  </a:lnTo>
                  <a:lnTo>
                    <a:pt x="6491" y="99032"/>
                  </a:lnTo>
                  <a:lnTo>
                    <a:pt x="9244" y="99667"/>
                  </a:lnTo>
                  <a:lnTo>
                    <a:pt x="11431" y="99584"/>
                  </a:lnTo>
                  <a:lnTo>
                    <a:pt x="10999" y="98593"/>
                  </a:lnTo>
                  <a:lnTo>
                    <a:pt x="10289" y="98123"/>
                  </a:lnTo>
                  <a:lnTo>
                    <a:pt x="11742" y="97565"/>
                  </a:lnTo>
                  <a:lnTo>
                    <a:pt x="12954" y="96422"/>
                  </a:lnTo>
                  <a:lnTo>
                    <a:pt x="11949" y="96112"/>
                  </a:lnTo>
                  <a:lnTo>
                    <a:pt x="10414" y="96773"/>
                  </a:lnTo>
                  <a:lnTo>
                    <a:pt x="9135" y="96447"/>
                  </a:lnTo>
                  <a:lnTo>
                    <a:pt x="8630" y="93709"/>
                  </a:lnTo>
                  <a:lnTo>
                    <a:pt x="7074" y="90897"/>
                  </a:lnTo>
                  <a:lnTo>
                    <a:pt x="6270" y="88164"/>
                  </a:lnTo>
                  <a:lnTo>
                    <a:pt x="7805" y="86590"/>
                  </a:lnTo>
                  <a:lnTo>
                    <a:pt x="8587" y="84143"/>
                  </a:lnTo>
                  <a:lnTo>
                    <a:pt x="10014" y="80597"/>
                  </a:lnTo>
                  <a:lnTo>
                    <a:pt x="10729" y="79449"/>
                  </a:lnTo>
                  <a:lnTo>
                    <a:pt x="12707" y="78615"/>
                  </a:lnTo>
                  <a:lnTo>
                    <a:pt x="13411" y="77696"/>
                  </a:lnTo>
                  <a:lnTo>
                    <a:pt x="12325" y="77225"/>
                  </a:lnTo>
                  <a:lnTo>
                    <a:pt x="10591" y="76807"/>
                  </a:lnTo>
                  <a:lnTo>
                    <a:pt x="10635" y="75782"/>
                  </a:lnTo>
                  <a:lnTo>
                    <a:pt x="11815" y="75222"/>
                  </a:lnTo>
                  <a:lnTo>
                    <a:pt x="13134" y="74092"/>
                  </a:lnTo>
                  <a:lnTo>
                    <a:pt x="15695" y="72716"/>
                  </a:lnTo>
                  <a:lnTo>
                    <a:pt x="16484" y="70118"/>
                  </a:lnTo>
                  <a:lnTo>
                    <a:pt x="15745" y="69464"/>
                  </a:lnTo>
                  <a:lnTo>
                    <a:pt x="14150" y="68846"/>
                  </a:lnTo>
                  <a:lnTo>
                    <a:pt x="14508" y="67532"/>
                  </a:lnTo>
                  <a:lnTo>
                    <a:pt x="15167" y="66531"/>
                  </a:lnTo>
                  <a:lnTo>
                    <a:pt x="14921" y="65931"/>
                  </a:lnTo>
                  <a:lnTo>
                    <a:pt x="13035" y="64237"/>
                  </a:lnTo>
                  <a:lnTo>
                    <a:pt x="11783" y="62693"/>
                  </a:lnTo>
                  <a:lnTo>
                    <a:pt x="12155" y="60932"/>
                  </a:lnTo>
                  <a:lnTo>
                    <a:pt x="11867" y="58268"/>
                  </a:lnTo>
                  <a:lnTo>
                    <a:pt x="12038" y="56028"/>
                  </a:lnTo>
                  <a:lnTo>
                    <a:pt x="11955" y="54814"/>
                  </a:lnTo>
                  <a:lnTo>
                    <a:pt x="11035" y="52078"/>
                  </a:lnTo>
                  <a:lnTo>
                    <a:pt x="10617" y="49335"/>
                  </a:lnTo>
                  <a:lnTo>
                    <a:pt x="9407" y="49735"/>
                  </a:lnTo>
                  <a:lnTo>
                    <a:pt x="8429" y="50416"/>
                  </a:lnTo>
                  <a:lnTo>
                    <a:pt x="4933" y="49450"/>
                  </a:lnTo>
                  <a:lnTo>
                    <a:pt x="3832" y="49391"/>
                  </a:lnTo>
                  <a:lnTo>
                    <a:pt x="3383" y="47352"/>
                  </a:lnTo>
                  <a:lnTo>
                    <a:pt x="4636" y="44837"/>
                  </a:lnTo>
                  <a:lnTo>
                    <a:pt x="7607" y="42620"/>
                  </a:lnTo>
                  <a:lnTo>
                    <a:pt x="9313" y="42344"/>
                  </a:lnTo>
                  <a:lnTo>
                    <a:pt x="10602" y="41367"/>
                  </a:lnTo>
                  <a:lnTo>
                    <a:pt x="12608" y="41059"/>
                  </a:lnTo>
                  <a:lnTo>
                    <a:pt x="15018" y="42565"/>
                  </a:lnTo>
                  <a:lnTo>
                    <a:pt x="17179" y="42868"/>
                  </a:lnTo>
                  <a:lnTo>
                    <a:pt x="18380" y="45469"/>
                  </a:lnTo>
                  <a:lnTo>
                    <a:pt x="19116" y="46018"/>
                  </a:lnTo>
                  <a:lnTo>
                    <a:pt x="19272" y="45063"/>
                  </a:lnTo>
                  <a:lnTo>
                    <a:pt x="21017" y="43943"/>
                  </a:lnTo>
                  <a:lnTo>
                    <a:pt x="21433" y="43098"/>
                  </a:lnTo>
                  <a:lnTo>
                    <a:pt x="21056" y="42635"/>
                  </a:lnTo>
                  <a:lnTo>
                    <a:pt x="19047" y="42174"/>
                  </a:lnTo>
                  <a:lnTo>
                    <a:pt x="17244" y="38944"/>
                  </a:lnTo>
                  <a:lnTo>
                    <a:pt x="16994" y="37531"/>
                  </a:lnTo>
                  <a:lnTo>
                    <a:pt x="16337" y="36631"/>
                  </a:lnTo>
                  <a:lnTo>
                    <a:pt x="17313" y="34048"/>
                  </a:lnTo>
                  <a:lnTo>
                    <a:pt x="15227" y="31096"/>
                  </a:lnTo>
                  <a:lnTo>
                    <a:pt x="14212" y="30166"/>
                  </a:lnTo>
                  <a:lnTo>
                    <a:pt x="14357" y="27509"/>
                  </a:lnTo>
                  <a:lnTo>
                    <a:pt x="13268" y="25816"/>
                  </a:lnTo>
                  <a:lnTo>
                    <a:pt x="12662" y="24888"/>
                  </a:lnTo>
                  <a:lnTo>
                    <a:pt x="12290" y="23284"/>
                  </a:lnTo>
                  <a:lnTo>
                    <a:pt x="12608" y="22562"/>
                  </a:lnTo>
                  <a:lnTo>
                    <a:pt x="13558" y="22287"/>
                  </a:lnTo>
                  <a:lnTo>
                    <a:pt x="13850" y="21612"/>
                  </a:lnTo>
                  <a:lnTo>
                    <a:pt x="14527" y="21128"/>
                  </a:lnTo>
                  <a:lnTo>
                    <a:pt x="14571" y="20432"/>
                  </a:lnTo>
                  <a:lnTo>
                    <a:pt x="14577" y="18146"/>
                  </a:lnTo>
                  <a:lnTo>
                    <a:pt x="16512" y="16563"/>
                  </a:lnTo>
                  <a:lnTo>
                    <a:pt x="19267" y="13304"/>
                  </a:lnTo>
                  <a:lnTo>
                    <a:pt x="20619" y="11519"/>
                  </a:lnTo>
                  <a:lnTo>
                    <a:pt x="22159" y="9851"/>
                  </a:lnTo>
                  <a:lnTo>
                    <a:pt x="23942" y="8738"/>
                  </a:lnTo>
                  <a:lnTo>
                    <a:pt x="25694" y="8207"/>
                  </a:lnTo>
                  <a:lnTo>
                    <a:pt x="28447" y="7982"/>
                  </a:lnTo>
                  <a:lnTo>
                    <a:pt x="33725" y="8195"/>
                  </a:lnTo>
                  <a:lnTo>
                    <a:pt x="34759" y="8002"/>
                  </a:lnTo>
                  <a:lnTo>
                    <a:pt x="38430" y="7829"/>
                  </a:lnTo>
                  <a:lnTo>
                    <a:pt x="39296" y="8125"/>
                  </a:lnTo>
                  <a:lnTo>
                    <a:pt x="41963" y="8312"/>
                  </a:lnTo>
                  <a:lnTo>
                    <a:pt x="44919" y="8104"/>
                  </a:lnTo>
                  <a:lnTo>
                    <a:pt x="46407" y="7621"/>
                  </a:lnTo>
                  <a:lnTo>
                    <a:pt x="47787" y="6799"/>
                  </a:lnTo>
                  <a:lnTo>
                    <a:pt x="48991" y="5315"/>
                  </a:lnTo>
                  <a:lnTo>
                    <a:pt x="50233" y="2567"/>
                  </a:lnTo>
                  <a:lnTo>
                    <a:pt x="51563" y="401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85" name="ee4p_KW_1_37365">
              <a:extLst>
                <a:ext uri="{FF2B5EF4-FFF2-40B4-BE49-F238E27FC236}">
                  <a16:creationId xmlns:a16="http://schemas.microsoft.com/office/drawing/2014/main" id="{87C2A363-85FA-FF37-B526-E85972695557}"/>
                </a:ext>
              </a:extLst>
            </p:cNvPr>
            <p:cNvSpPr>
              <a:spLocks noChangeAspect="1"/>
            </p:cNvSpPr>
            <p:nvPr>
              <p:custDataLst>
                <p:tags r:id="rId239"/>
              </p:custDataLst>
            </p:nvPr>
          </p:nvSpPr>
          <p:spPr>
            <a:xfrm>
              <a:off x="7806849" y="3790797"/>
              <a:ext cx="53068" cy="48637"/>
            </a:xfrm>
            <a:custGeom>
              <a:avLst/>
              <a:gdLst>
                <a:gd name="connsiteX0" fmla="*/ 36559 w 42257"/>
                <a:gd name="connsiteY0" fmla="*/ 2868 h 37702"/>
                <a:gd name="connsiteX1" fmla="*/ 37509 w 42257"/>
                <a:gd name="connsiteY1" fmla="*/ 3897 h 37702"/>
                <a:gd name="connsiteX2" fmla="*/ 40174 w 42257"/>
                <a:gd name="connsiteY2" fmla="*/ 7613 h 37702"/>
                <a:gd name="connsiteX3" fmla="*/ 40154 w 42257"/>
                <a:gd name="connsiteY3" fmla="*/ 9128 h 37702"/>
                <a:gd name="connsiteX4" fmla="*/ 39997 w 42257"/>
                <a:gd name="connsiteY4" fmla="*/ 9738 h 37702"/>
                <a:gd name="connsiteX5" fmla="*/ 38563 w 42257"/>
                <a:gd name="connsiteY5" fmla="*/ 11439 h 37702"/>
                <a:gd name="connsiteX6" fmla="*/ 37300 w 42257"/>
                <a:gd name="connsiteY6" fmla="*/ 11979 h 37702"/>
                <a:gd name="connsiteX7" fmla="*/ 36447 w 42257"/>
                <a:gd name="connsiteY7" fmla="*/ 11750 h 37702"/>
                <a:gd name="connsiteX8" fmla="*/ 35626 w 42257"/>
                <a:gd name="connsiteY8" fmla="*/ 10449 h 37702"/>
                <a:gd name="connsiteX9" fmla="*/ 34274 w 42257"/>
                <a:gd name="connsiteY9" fmla="*/ 7220 h 37702"/>
                <a:gd name="connsiteX10" fmla="*/ 35011 w 42257"/>
                <a:gd name="connsiteY10" fmla="*/ 6015 h 37702"/>
                <a:gd name="connsiteX11" fmla="*/ 34982 w 42257"/>
                <a:gd name="connsiteY11" fmla="*/ 5496 h 37702"/>
                <a:gd name="connsiteX12" fmla="*/ 35129 w 42257"/>
                <a:gd name="connsiteY12" fmla="*/ 5107 h 37702"/>
                <a:gd name="connsiteX13" fmla="*/ 35544 w 42257"/>
                <a:gd name="connsiteY13" fmla="*/ 4859 h 37702"/>
                <a:gd name="connsiteX14" fmla="*/ 35980 w 42257"/>
                <a:gd name="connsiteY14" fmla="*/ 3335 h 37702"/>
                <a:gd name="connsiteX15" fmla="*/ 24596 w 42257"/>
                <a:gd name="connsiteY15" fmla="*/ 0 h 37702"/>
                <a:gd name="connsiteX16" fmla="*/ 25237 w 42257"/>
                <a:gd name="connsiteY16" fmla="*/ 41 h 37702"/>
                <a:gd name="connsiteX17" fmla="*/ 27032 w 42257"/>
                <a:gd name="connsiteY17" fmla="*/ 502 h 37702"/>
                <a:gd name="connsiteX18" fmla="*/ 32003 w 42257"/>
                <a:gd name="connsiteY18" fmla="*/ 2772 h 37702"/>
                <a:gd name="connsiteX19" fmla="*/ 31890 w 42257"/>
                <a:gd name="connsiteY19" fmla="*/ 3666 h 37702"/>
                <a:gd name="connsiteX20" fmla="*/ 32599 w 42257"/>
                <a:gd name="connsiteY20" fmla="*/ 6329 h 37702"/>
                <a:gd name="connsiteX21" fmla="*/ 34183 w 42257"/>
                <a:gd name="connsiteY21" fmla="*/ 9234 h 37702"/>
                <a:gd name="connsiteX22" fmla="*/ 35483 w 42257"/>
                <a:gd name="connsiteY22" fmla="*/ 11589 h 37702"/>
                <a:gd name="connsiteX23" fmla="*/ 35645 w 42257"/>
                <a:gd name="connsiteY23" fmla="*/ 12691 h 37702"/>
                <a:gd name="connsiteX24" fmla="*/ 34451 w 42257"/>
                <a:gd name="connsiteY24" fmla="*/ 12531 h 37702"/>
                <a:gd name="connsiteX25" fmla="*/ 33542 w 42257"/>
                <a:gd name="connsiteY25" fmla="*/ 12086 h 37702"/>
                <a:gd name="connsiteX26" fmla="*/ 31802 w 42257"/>
                <a:gd name="connsiteY26" fmla="*/ 11623 h 37702"/>
                <a:gd name="connsiteX27" fmla="*/ 28437 w 42257"/>
                <a:gd name="connsiteY27" fmla="*/ 14744 h 37702"/>
                <a:gd name="connsiteX28" fmla="*/ 26399 w 42257"/>
                <a:gd name="connsiteY28" fmla="*/ 16444 h 37702"/>
                <a:gd name="connsiteX29" fmla="*/ 26341 w 42257"/>
                <a:gd name="connsiteY29" fmla="*/ 17021 h 37702"/>
                <a:gd name="connsiteX30" fmla="*/ 29053 w 42257"/>
                <a:gd name="connsiteY30" fmla="*/ 17679 h 37702"/>
                <a:gd name="connsiteX31" fmla="*/ 31044 w 42257"/>
                <a:gd name="connsiteY31" fmla="*/ 17657 h 37702"/>
                <a:gd name="connsiteX32" fmla="*/ 32432 w 42257"/>
                <a:gd name="connsiteY32" fmla="*/ 17201 h 37702"/>
                <a:gd name="connsiteX33" fmla="*/ 33611 w 42257"/>
                <a:gd name="connsiteY33" fmla="*/ 17928 h 37702"/>
                <a:gd name="connsiteX34" fmla="*/ 34382 w 42257"/>
                <a:gd name="connsiteY34" fmla="*/ 19854 h 37702"/>
                <a:gd name="connsiteX35" fmla="*/ 34693 w 42257"/>
                <a:gd name="connsiteY35" fmla="*/ 21414 h 37702"/>
                <a:gd name="connsiteX36" fmla="*/ 36537 w 42257"/>
                <a:gd name="connsiteY36" fmla="*/ 26982 h 37702"/>
                <a:gd name="connsiteX37" fmla="*/ 38066 w 42257"/>
                <a:gd name="connsiteY37" fmla="*/ 28861 h 37702"/>
                <a:gd name="connsiteX38" fmla="*/ 39975 w 42257"/>
                <a:gd name="connsiteY38" fmla="*/ 32178 h 37702"/>
                <a:gd name="connsiteX39" fmla="*/ 40683 w 42257"/>
                <a:gd name="connsiteY39" fmla="*/ 33893 h 37702"/>
                <a:gd name="connsiteX40" fmla="*/ 41089 w 42257"/>
                <a:gd name="connsiteY40" fmla="*/ 35340 h 37702"/>
                <a:gd name="connsiteX41" fmla="*/ 42257 w 42257"/>
                <a:gd name="connsiteY41" fmla="*/ 37468 h 37702"/>
                <a:gd name="connsiteX42" fmla="*/ 38416 w 42257"/>
                <a:gd name="connsiteY42" fmla="*/ 37525 h 37702"/>
                <a:gd name="connsiteX43" fmla="*/ 33570 w 42257"/>
                <a:gd name="connsiteY43" fmla="*/ 37598 h 37702"/>
                <a:gd name="connsiteX44" fmla="*/ 29642 w 42257"/>
                <a:gd name="connsiteY44" fmla="*/ 37647 h 37702"/>
                <a:gd name="connsiteX45" fmla="*/ 25205 w 42257"/>
                <a:gd name="connsiteY45" fmla="*/ 37702 h 37702"/>
                <a:gd name="connsiteX46" fmla="*/ 23255 w 42257"/>
                <a:gd name="connsiteY46" fmla="*/ 35427 h 37702"/>
                <a:gd name="connsiteX47" fmla="*/ 22594 w 42257"/>
                <a:gd name="connsiteY47" fmla="*/ 32940 h 37702"/>
                <a:gd name="connsiteX48" fmla="*/ 21888 w 42257"/>
                <a:gd name="connsiteY48" fmla="*/ 30386 h 37702"/>
                <a:gd name="connsiteX49" fmla="*/ 19940 w 42257"/>
                <a:gd name="connsiteY49" fmla="*/ 26738 h 37702"/>
                <a:gd name="connsiteX50" fmla="*/ 13430 w 42257"/>
                <a:gd name="connsiteY50" fmla="*/ 25857 h 37702"/>
                <a:gd name="connsiteX51" fmla="*/ 9968 w 42257"/>
                <a:gd name="connsiteY51" fmla="*/ 25388 h 37702"/>
                <a:gd name="connsiteX52" fmla="*/ 4276 w 42257"/>
                <a:gd name="connsiteY52" fmla="*/ 24692 h 37702"/>
                <a:gd name="connsiteX53" fmla="*/ 0 w 42257"/>
                <a:gd name="connsiteY53" fmla="*/ 24171 h 37702"/>
                <a:gd name="connsiteX54" fmla="*/ 3589 w 42257"/>
                <a:gd name="connsiteY54" fmla="*/ 20235 h 37702"/>
                <a:gd name="connsiteX55" fmla="*/ 5261 w 42257"/>
                <a:gd name="connsiteY55" fmla="*/ 18119 h 37702"/>
                <a:gd name="connsiteX56" fmla="*/ 8280 w 42257"/>
                <a:gd name="connsiteY56" fmla="*/ 13535 h 37702"/>
                <a:gd name="connsiteX57" fmla="*/ 9830 w 42257"/>
                <a:gd name="connsiteY57" fmla="*/ 10267 h 37702"/>
                <a:gd name="connsiteX58" fmla="*/ 11326 w 42257"/>
                <a:gd name="connsiteY58" fmla="*/ 6638 h 37702"/>
                <a:gd name="connsiteX59" fmla="*/ 12618 w 42257"/>
                <a:gd name="connsiteY59" fmla="*/ 3808 h 37702"/>
                <a:gd name="connsiteX60" fmla="*/ 12890 w 42257"/>
                <a:gd name="connsiteY60" fmla="*/ 3292 h 37702"/>
                <a:gd name="connsiteX61" fmla="*/ 13639 w 42257"/>
                <a:gd name="connsiteY61" fmla="*/ 2332 h 37702"/>
                <a:gd name="connsiteX62" fmla="*/ 15297 w 42257"/>
                <a:gd name="connsiteY62" fmla="*/ 1351 h 37702"/>
                <a:gd name="connsiteX63" fmla="*/ 17688 w 42257"/>
                <a:gd name="connsiteY63" fmla="*/ 427 h 37702"/>
                <a:gd name="connsiteX64" fmla="*/ 21745 w 42257"/>
                <a:gd name="connsiteY64" fmla="*/ 20 h 37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42257" h="37702">
                  <a:moveTo>
                    <a:pt x="36559" y="2868"/>
                  </a:moveTo>
                  <a:lnTo>
                    <a:pt x="37509" y="3897"/>
                  </a:lnTo>
                  <a:lnTo>
                    <a:pt x="40174" y="7613"/>
                  </a:lnTo>
                  <a:lnTo>
                    <a:pt x="40154" y="9128"/>
                  </a:lnTo>
                  <a:lnTo>
                    <a:pt x="39997" y="9738"/>
                  </a:lnTo>
                  <a:lnTo>
                    <a:pt x="38563" y="11439"/>
                  </a:lnTo>
                  <a:lnTo>
                    <a:pt x="37300" y="11979"/>
                  </a:lnTo>
                  <a:lnTo>
                    <a:pt x="36447" y="11750"/>
                  </a:lnTo>
                  <a:lnTo>
                    <a:pt x="35626" y="10449"/>
                  </a:lnTo>
                  <a:lnTo>
                    <a:pt x="34274" y="7220"/>
                  </a:lnTo>
                  <a:lnTo>
                    <a:pt x="35011" y="6015"/>
                  </a:lnTo>
                  <a:lnTo>
                    <a:pt x="34982" y="5496"/>
                  </a:lnTo>
                  <a:lnTo>
                    <a:pt x="35129" y="5107"/>
                  </a:lnTo>
                  <a:lnTo>
                    <a:pt x="35544" y="4859"/>
                  </a:lnTo>
                  <a:lnTo>
                    <a:pt x="35980" y="3335"/>
                  </a:lnTo>
                  <a:close/>
                  <a:moveTo>
                    <a:pt x="24596" y="0"/>
                  </a:moveTo>
                  <a:lnTo>
                    <a:pt x="25237" y="41"/>
                  </a:lnTo>
                  <a:lnTo>
                    <a:pt x="27032" y="502"/>
                  </a:lnTo>
                  <a:lnTo>
                    <a:pt x="32003" y="2772"/>
                  </a:lnTo>
                  <a:lnTo>
                    <a:pt x="31890" y="3666"/>
                  </a:lnTo>
                  <a:lnTo>
                    <a:pt x="32599" y="6329"/>
                  </a:lnTo>
                  <a:lnTo>
                    <a:pt x="34183" y="9234"/>
                  </a:lnTo>
                  <a:lnTo>
                    <a:pt x="35483" y="11589"/>
                  </a:lnTo>
                  <a:lnTo>
                    <a:pt x="35645" y="12691"/>
                  </a:lnTo>
                  <a:lnTo>
                    <a:pt x="34451" y="12531"/>
                  </a:lnTo>
                  <a:lnTo>
                    <a:pt x="33542" y="12086"/>
                  </a:lnTo>
                  <a:lnTo>
                    <a:pt x="31802" y="11623"/>
                  </a:lnTo>
                  <a:lnTo>
                    <a:pt x="28437" y="14744"/>
                  </a:lnTo>
                  <a:lnTo>
                    <a:pt x="26399" y="16444"/>
                  </a:lnTo>
                  <a:lnTo>
                    <a:pt x="26341" y="17021"/>
                  </a:lnTo>
                  <a:lnTo>
                    <a:pt x="29053" y="17679"/>
                  </a:lnTo>
                  <a:lnTo>
                    <a:pt x="31044" y="17657"/>
                  </a:lnTo>
                  <a:lnTo>
                    <a:pt x="32432" y="17201"/>
                  </a:lnTo>
                  <a:lnTo>
                    <a:pt x="33611" y="17928"/>
                  </a:lnTo>
                  <a:lnTo>
                    <a:pt x="34382" y="19854"/>
                  </a:lnTo>
                  <a:lnTo>
                    <a:pt x="34693" y="21414"/>
                  </a:lnTo>
                  <a:lnTo>
                    <a:pt x="36537" y="26982"/>
                  </a:lnTo>
                  <a:lnTo>
                    <a:pt x="38066" y="28861"/>
                  </a:lnTo>
                  <a:lnTo>
                    <a:pt x="39975" y="32178"/>
                  </a:lnTo>
                  <a:lnTo>
                    <a:pt x="40683" y="33893"/>
                  </a:lnTo>
                  <a:lnTo>
                    <a:pt x="41089" y="35340"/>
                  </a:lnTo>
                  <a:lnTo>
                    <a:pt x="42257" y="37468"/>
                  </a:lnTo>
                  <a:lnTo>
                    <a:pt x="38416" y="37525"/>
                  </a:lnTo>
                  <a:lnTo>
                    <a:pt x="33570" y="37598"/>
                  </a:lnTo>
                  <a:lnTo>
                    <a:pt x="29642" y="37647"/>
                  </a:lnTo>
                  <a:lnTo>
                    <a:pt x="25205" y="37702"/>
                  </a:lnTo>
                  <a:lnTo>
                    <a:pt x="23255" y="35427"/>
                  </a:lnTo>
                  <a:lnTo>
                    <a:pt x="22594" y="32940"/>
                  </a:lnTo>
                  <a:lnTo>
                    <a:pt x="21888" y="30386"/>
                  </a:lnTo>
                  <a:lnTo>
                    <a:pt x="19940" y="26738"/>
                  </a:lnTo>
                  <a:lnTo>
                    <a:pt x="13430" y="25857"/>
                  </a:lnTo>
                  <a:lnTo>
                    <a:pt x="9968" y="25388"/>
                  </a:lnTo>
                  <a:lnTo>
                    <a:pt x="4276" y="24692"/>
                  </a:lnTo>
                  <a:lnTo>
                    <a:pt x="0" y="24171"/>
                  </a:lnTo>
                  <a:lnTo>
                    <a:pt x="3589" y="20235"/>
                  </a:lnTo>
                  <a:lnTo>
                    <a:pt x="5261" y="18119"/>
                  </a:lnTo>
                  <a:lnTo>
                    <a:pt x="8280" y="13535"/>
                  </a:lnTo>
                  <a:lnTo>
                    <a:pt x="9830" y="10267"/>
                  </a:lnTo>
                  <a:lnTo>
                    <a:pt x="11326" y="6638"/>
                  </a:lnTo>
                  <a:lnTo>
                    <a:pt x="12618" y="3808"/>
                  </a:lnTo>
                  <a:lnTo>
                    <a:pt x="12890" y="3292"/>
                  </a:lnTo>
                  <a:lnTo>
                    <a:pt x="13639" y="2332"/>
                  </a:lnTo>
                  <a:lnTo>
                    <a:pt x="15297" y="1351"/>
                  </a:lnTo>
                  <a:lnTo>
                    <a:pt x="17688" y="427"/>
                  </a:lnTo>
                  <a:lnTo>
                    <a:pt x="21745" y="20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86" name="ee4p_LA_1_37365">
              <a:extLst>
                <a:ext uri="{FF2B5EF4-FFF2-40B4-BE49-F238E27FC236}">
                  <a16:creationId xmlns:a16="http://schemas.microsoft.com/office/drawing/2014/main" id="{3F7934C1-60CC-65E7-E816-1C954A2482DC}"/>
                </a:ext>
              </a:extLst>
            </p:cNvPr>
            <p:cNvSpPr>
              <a:spLocks noChangeAspect="1"/>
            </p:cNvSpPr>
            <p:nvPr>
              <p:custDataLst>
                <p:tags r:id="rId240"/>
              </p:custDataLst>
            </p:nvPr>
          </p:nvSpPr>
          <p:spPr>
            <a:xfrm>
              <a:off x="9294827" y="4023276"/>
              <a:ext cx="209330" cy="252875"/>
            </a:xfrm>
            <a:custGeom>
              <a:avLst/>
              <a:gdLst/>
              <a:ahLst/>
              <a:cxnLst/>
              <a:rect l="0" t="0" r="0" b="0"/>
              <a:pathLst>
                <a:path w="166685" h="196021">
                  <a:moveTo>
                    <a:pt x="44500" y="2698"/>
                  </a:moveTo>
                  <a:lnTo>
                    <a:pt x="45729" y="4909"/>
                  </a:lnTo>
                  <a:lnTo>
                    <a:pt x="48346" y="7367"/>
                  </a:lnTo>
                  <a:lnTo>
                    <a:pt x="51471" y="10872"/>
                  </a:lnTo>
                  <a:lnTo>
                    <a:pt x="52462" y="12482"/>
                  </a:lnTo>
                  <a:lnTo>
                    <a:pt x="54563" y="13721"/>
                  </a:lnTo>
                  <a:lnTo>
                    <a:pt x="55163" y="14940"/>
                  </a:lnTo>
                  <a:lnTo>
                    <a:pt x="55641" y="16804"/>
                  </a:lnTo>
                  <a:lnTo>
                    <a:pt x="55852" y="18192"/>
                  </a:lnTo>
                  <a:lnTo>
                    <a:pt x="56321" y="19012"/>
                  </a:lnTo>
                  <a:lnTo>
                    <a:pt x="57057" y="19335"/>
                  </a:lnTo>
                  <a:lnTo>
                    <a:pt x="58014" y="18968"/>
                  </a:lnTo>
                  <a:lnTo>
                    <a:pt x="58733" y="18233"/>
                  </a:lnTo>
                  <a:lnTo>
                    <a:pt x="59333" y="16187"/>
                  </a:lnTo>
                  <a:lnTo>
                    <a:pt x="59724" y="15969"/>
                  </a:lnTo>
                  <a:lnTo>
                    <a:pt x="60372" y="17651"/>
                  </a:lnTo>
                  <a:lnTo>
                    <a:pt x="61056" y="17941"/>
                  </a:lnTo>
                  <a:lnTo>
                    <a:pt x="61974" y="18157"/>
                  </a:lnTo>
                  <a:lnTo>
                    <a:pt x="62680" y="18889"/>
                  </a:lnTo>
                  <a:lnTo>
                    <a:pt x="62892" y="20166"/>
                  </a:lnTo>
                  <a:lnTo>
                    <a:pt x="62658" y="21473"/>
                  </a:lnTo>
                  <a:lnTo>
                    <a:pt x="61795" y="22941"/>
                  </a:lnTo>
                  <a:lnTo>
                    <a:pt x="61306" y="24478"/>
                  </a:lnTo>
                  <a:lnTo>
                    <a:pt x="60970" y="26848"/>
                  </a:lnTo>
                  <a:lnTo>
                    <a:pt x="60503" y="28504"/>
                  </a:lnTo>
                  <a:lnTo>
                    <a:pt x="61225" y="29968"/>
                  </a:lnTo>
                  <a:lnTo>
                    <a:pt x="66105" y="37151"/>
                  </a:lnTo>
                  <a:lnTo>
                    <a:pt x="68454" y="38330"/>
                  </a:lnTo>
                  <a:lnTo>
                    <a:pt x="74045" y="39733"/>
                  </a:lnTo>
                  <a:lnTo>
                    <a:pt x="76060" y="40701"/>
                  </a:lnTo>
                  <a:lnTo>
                    <a:pt x="77837" y="41642"/>
                  </a:lnTo>
                  <a:lnTo>
                    <a:pt x="79593" y="41184"/>
                  </a:lnTo>
                  <a:lnTo>
                    <a:pt x="81275" y="39047"/>
                  </a:lnTo>
                  <a:lnTo>
                    <a:pt x="83298" y="37849"/>
                  </a:lnTo>
                  <a:lnTo>
                    <a:pt x="87058" y="36007"/>
                  </a:lnTo>
                  <a:lnTo>
                    <a:pt x="88148" y="35908"/>
                  </a:lnTo>
                  <a:lnTo>
                    <a:pt x="90226" y="36636"/>
                  </a:lnTo>
                  <a:lnTo>
                    <a:pt x="93637" y="38780"/>
                  </a:lnTo>
                  <a:lnTo>
                    <a:pt x="96110" y="40796"/>
                  </a:lnTo>
                  <a:lnTo>
                    <a:pt x="97634" y="41851"/>
                  </a:lnTo>
                  <a:lnTo>
                    <a:pt x="98803" y="42804"/>
                  </a:lnTo>
                  <a:lnTo>
                    <a:pt x="98625" y="43875"/>
                  </a:lnTo>
                  <a:lnTo>
                    <a:pt x="97686" y="44921"/>
                  </a:lnTo>
                  <a:lnTo>
                    <a:pt x="96490" y="45504"/>
                  </a:lnTo>
                  <a:lnTo>
                    <a:pt x="94924" y="46515"/>
                  </a:lnTo>
                  <a:lnTo>
                    <a:pt x="94038" y="47537"/>
                  </a:lnTo>
                  <a:lnTo>
                    <a:pt x="94579" y="47920"/>
                  </a:lnTo>
                  <a:lnTo>
                    <a:pt x="96879" y="48176"/>
                  </a:lnTo>
                  <a:lnTo>
                    <a:pt x="99591" y="49078"/>
                  </a:lnTo>
                  <a:lnTo>
                    <a:pt x="100422" y="50138"/>
                  </a:lnTo>
                  <a:lnTo>
                    <a:pt x="100543" y="51047"/>
                  </a:lnTo>
                  <a:lnTo>
                    <a:pt x="100875" y="52528"/>
                  </a:lnTo>
                  <a:lnTo>
                    <a:pt x="101357" y="52974"/>
                  </a:lnTo>
                  <a:lnTo>
                    <a:pt x="103877" y="52709"/>
                  </a:lnTo>
                  <a:lnTo>
                    <a:pt x="104654" y="53041"/>
                  </a:lnTo>
                  <a:lnTo>
                    <a:pt x="105557" y="53808"/>
                  </a:lnTo>
                  <a:lnTo>
                    <a:pt x="106453" y="55794"/>
                  </a:lnTo>
                  <a:lnTo>
                    <a:pt x="106425" y="57283"/>
                  </a:lnTo>
                  <a:lnTo>
                    <a:pt x="104609" y="58915"/>
                  </a:lnTo>
                  <a:lnTo>
                    <a:pt x="103931" y="59907"/>
                  </a:lnTo>
                  <a:lnTo>
                    <a:pt x="103635" y="61468"/>
                  </a:lnTo>
                  <a:lnTo>
                    <a:pt x="102340" y="63338"/>
                  </a:lnTo>
                  <a:lnTo>
                    <a:pt x="98906" y="66463"/>
                  </a:lnTo>
                  <a:lnTo>
                    <a:pt x="97986" y="66651"/>
                  </a:lnTo>
                  <a:lnTo>
                    <a:pt x="91653" y="64929"/>
                  </a:lnTo>
                  <a:lnTo>
                    <a:pt x="88718" y="65036"/>
                  </a:lnTo>
                  <a:lnTo>
                    <a:pt x="87295" y="65092"/>
                  </a:lnTo>
                  <a:lnTo>
                    <a:pt x="86615" y="65167"/>
                  </a:lnTo>
                  <a:lnTo>
                    <a:pt x="86204" y="65826"/>
                  </a:lnTo>
                  <a:lnTo>
                    <a:pt x="87047" y="67717"/>
                  </a:lnTo>
                  <a:lnTo>
                    <a:pt x="87297" y="69590"/>
                  </a:lnTo>
                  <a:lnTo>
                    <a:pt x="86516" y="71016"/>
                  </a:lnTo>
                  <a:lnTo>
                    <a:pt x="84403" y="72264"/>
                  </a:lnTo>
                  <a:lnTo>
                    <a:pt x="83615" y="72862"/>
                  </a:lnTo>
                  <a:lnTo>
                    <a:pt x="83510" y="73665"/>
                  </a:lnTo>
                  <a:lnTo>
                    <a:pt x="84101" y="74502"/>
                  </a:lnTo>
                  <a:lnTo>
                    <a:pt x="86047" y="75364"/>
                  </a:lnTo>
                  <a:lnTo>
                    <a:pt x="88308" y="76175"/>
                  </a:lnTo>
                  <a:lnTo>
                    <a:pt x="95764" y="81028"/>
                  </a:lnTo>
                  <a:lnTo>
                    <a:pt x="97360" y="82168"/>
                  </a:lnTo>
                  <a:lnTo>
                    <a:pt x="99468" y="83850"/>
                  </a:lnTo>
                  <a:lnTo>
                    <a:pt x="101750" y="85160"/>
                  </a:lnTo>
                  <a:lnTo>
                    <a:pt x="107867" y="86880"/>
                  </a:lnTo>
                  <a:lnTo>
                    <a:pt x="110565" y="88012"/>
                  </a:lnTo>
                  <a:lnTo>
                    <a:pt x="111258" y="88650"/>
                  </a:lnTo>
                  <a:lnTo>
                    <a:pt x="111234" y="89432"/>
                  </a:lnTo>
                  <a:lnTo>
                    <a:pt x="110528" y="90433"/>
                  </a:lnTo>
                  <a:lnTo>
                    <a:pt x="109943" y="92190"/>
                  </a:lnTo>
                  <a:lnTo>
                    <a:pt x="109917" y="93245"/>
                  </a:lnTo>
                  <a:lnTo>
                    <a:pt x="110551" y="94270"/>
                  </a:lnTo>
                  <a:lnTo>
                    <a:pt x="111629" y="95791"/>
                  </a:lnTo>
                  <a:lnTo>
                    <a:pt x="114061" y="98153"/>
                  </a:lnTo>
                  <a:lnTo>
                    <a:pt x="115393" y="99198"/>
                  </a:lnTo>
                  <a:lnTo>
                    <a:pt x="116863" y="99435"/>
                  </a:lnTo>
                  <a:lnTo>
                    <a:pt x="118151" y="100005"/>
                  </a:lnTo>
                  <a:lnTo>
                    <a:pt x="119485" y="101761"/>
                  </a:lnTo>
                  <a:lnTo>
                    <a:pt x="121031" y="103901"/>
                  </a:lnTo>
                  <a:lnTo>
                    <a:pt x="121234" y="105394"/>
                  </a:lnTo>
                  <a:lnTo>
                    <a:pt x="121888" y="107308"/>
                  </a:lnTo>
                  <a:lnTo>
                    <a:pt x="123307" y="109511"/>
                  </a:lnTo>
                  <a:lnTo>
                    <a:pt x="125255" y="111641"/>
                  </a:lnTo>
                  <a:lnTo>
                    <a:pt x="127980" y="114280"/>
                  </a:lnTo>
                  <a:lnTo>
                    <a:pt x="129546" y="116141"/>
                  </a:lnTo>
                  <a:lnTo>
                    <a:pt x="130269" y="116864"/>
                  </a:lnTo>
                  <a:lnTo>
                    <a:pt x="136091" y="121384"/>
                  </a:lnTo>
                  <a:lnTo>
                    <a:pt x="137503" y="123048"/>
                  </a:lnTo>
                  <a:lnTo>
                    <a:pt x="139550" y="126260"/>
                  </a:lnTo>
                  <a:lnTo>
                    <a:pt x="140420" y="126731"/>
                  </a:lnTo>
                  <a:lnTo>
                    <a:pt x="141236" y="127362"/>
                  </a:lnTo>
                  <a:lnTo>
                    <a:pt x="141761" y="129124"/>
                  </a:lnTo>
                  <a:lnTo>
                    <a:pt x="141932" y="130388"/>
                  </a:lnTo>
                  <a:lnTo>
                    <a:pt x="142208" y="134259"/>
                  </a:lnTo>
                  <a:lnTo>
                    <a:pt x="143258" y="135410"/>
                  </a:lnTo>
                  <a:lnTo>
                    <a:pt x="144227" y="136822"/>
                  </a:lnTo>
                  <a:lnTo>
                    <a:pt x="144646" y="137851"/>
                  </a:lnTo>
                  <a:lnTo>
                    <a:pt x="145523" y="138615"/>
                  </a:lnTo>
                  <a:lnTo>
                    <a:pt x="146483" y="138761"/>
                  </a:lnTo>
                  <a:lnTo>
                    <a:pt x="147634" y="137903"/>
                  </a:lnTo>
                  <a:lnTo>
                    <a:pt x="148537" y="137087"/>
                  </a:lnTo>
                  <a:lnTo>
                    <a:pt x="148950" y="137329"/>
                  </a:lnTo>
                  <a:lnTo>
                    <a:pt x="149872" y="140033"/>
                  </a:lnTo>
                  <a:lnTo>
                    <a:pt x="150709" y="141019"/>
                  </a:lnTo>
                  <a:lnTo>
                    <a:pt x="152286" y="141956"/>
                  </a:lnTo>
                  <a:lnTo>
                    <a:pt x="153784" y="142682"/>
                  </a:lnTo>
                  <a:lnTo>
                    <a:pt x="157049" y="145938"/>
                  </a:lnTo>
                  <a:lnTo>
                    <a:pt x="158799" y="147124"/>
                  </a:lnTo>
                  <a:lnTo>
                    <a:pt x="159984" y="147502"/>
                  </a:lnTo>
                  <a:lnTo>
                    <a:pt x="161008" y="148055"/>
                  </a:lnTo>
                  <a:lnTo>
                    <a:pt x="161312" y="149079"/>
                  </a:lnTo>
                  <a:lnTo>
                    <a:pt x="160910" y="150126"/>
                  </a:lnTo>
                  <a:lnTo>
                    <a:pt x="160217" y="150805"/>
                  </a:lnTo>
                  <a:lnTo>
                    <a:pt x="156419" y="152689"/>
                  </a:lnTo>
                  <a:lnTo>
                    <a:pt x="155911" y="153508"/>
                  </a:lnTo>
                  <a:lnTo>
                    <a:pt x="156434" y="154759"/>
                  </a:lnTo>
                  <a:lnTo>
                    <a:pt x="157387" y="156327"/>
                  </a:lnTo>
                  <a:lnTo>
                    <a:pt x="158421" y="157671"/>
                  </a:lnTo>
                  <a:lnTo>
                    <a:pt x="159734" y="158990"/>
                  </a:lnTo>
                  <a:lnTo>
                    <a:pt x="162405" y="161133"/>
                  </a:lnTo>
                  <a:lnTo>
                    <a:pt x="164719" y="162813"/>
                  </a:lnTo>
                  <a:lnTo>
                    <a:pt x="165989" y="164663"/>
                  </a:lnTo>
                  <a:lnTo>
                    <a:pt x="166684" y="165899"/>
                  </a:lnTo>
                  <a:lnTo>
                    <a:pt x="166255" y="167378"/>
                  </a:lnTo>
                  <a:lnTo>
                    <a:pt x="165281" y="168993"/>
                  </a:lnTo>
                  <a:lnTo>
                    <a:pt x="164521" y="170382"/>
                  </a:lnTo>
                  <a:lnTo>
                    <a:pt x="163217" y="171186"/>
                  </a:lnTo>
                  <a:lnTo>
                    <a:pt x="162865" y="172126"/>
                  </a:lnTo>
                  <a:lnTo>
                    <a:pt x="163402" y="173571"/>
                  </a:lnTo>
                  <a:lnTo>
                    <a:pt x="163841" y="174568"/>
                  </a:lnTo>
                  <a:lnTo>
                    <a:pt x="163603" y="175798"/>
                  </a:lnTo>
                  <a:lnTo>
                    <a:pt x="163729" y="178335"/>
                  </a:lnTo>
                  <a:lnTo>
                    <a:pt x="162528" y="179240"/>
                  </a:lnTo>
                  <a:lnTo>
                    <a:pt x="161414" y="181546"/>
                  </a:lnTo>
                  <a:lnTo>
                    <a:pt x="160643" y="181717"/>
                  </a:lnTo>
                  <a:lnTo>
                    <a:pt x="158714" y="180880"/>
                  </a:lnTo>
                  <a:lnTo>
                    <a:pt x="158043" y="181337"/>
                  </a:lnTo>
                  <a:lnTo>
                    <a:pt x="156812" y="183013"/>
                  </a:lnTo>
                  <a:lnTo>
                    <a:pt x="154661" y="184846"/>
                  </a:lnTo>
                  <a:lnTo>
                    <a:pt x="153622" y="184867"/>
                  </a:lnTo>
                  <a:lnTo>
                    <a:pt x="152910" y="184643"/>
                  </a:lnTo>
                  <a:lnTo>
                    <a:pt x="152070" y="185425"/>
                  </a:lnTo>
                  <a:lnTo>
                    <a:pt x="150874" y="186862"/>
                  </a:lnTo>
                  <a:lnTo>
                    <a:pt x="150323" y="186816"/>
                  </a:lnTo>
                  <a:lnTo>
                    <a:pt x="148261" y="187147"/>
                  </a:lnTo>
                  <a:lnTo>
                    <a:pt x="147455" y="186687"/>
                  </a:lnTo>
                  <a:lnTo>
                    <a:pt x="146453" y="185499"/>
                  </a:lnTo>
                  <a:lnTo>
                    <a:pt x="144845" y="184290"/>
                  </a:lnTo>
                  <a:lnTo>
                    <a:pt x="143380" y="183431"/>
                  </a:lnTo>
                  <a:lnTo>
                    <a:pt x="142594" y="182851"/>
                  </a:lnTo>
                  <a:lnTo>
                    <a:pt x="141876" y="181850"/>
                  </a:lnTo>
                  <a:lnTo>
                    <a:pt x="141219" y="181200"/>
                  </a:lnTo>
                  <a:lnTo>
                    <a:pt x="140014" y="182626"/>
                  </a:lnTo>
                  <a:lnTo>
                    <a:pt x="137980" y="183986"/>
                  </a:lnTo>
                  <a:lnTo>
                    <a:pt x="136056" y="183728"/>
                  </a:lnTo>
                  <a:lnTo>
                    <a:pt x="135114" y="183502"/>
                  </a:lnTo>
                  <a:lnTo>
                    <a:pt x="134348" y="185490"/>
                  </a:lnTo>
                  <a:lnTo>
                    <a:pt x="133784" y="185846"/>
                  </a:lnTo>
                  <a:lnTo>
                    <a:pt x="130316" y="186189"/>
                  </a:lnTo>
                  <a:lnTo>
                    <a:pt x="129664" y="186508"/>
                  </a:lnTo>
                  <a:lnTo>
                    <a:pt x="130222" y="188316"/>
                  </a:lnTo>
                  <a:lnTo>
                    <a:pt x="132269" y="191379"/>
                  </a:lnTo>
                  <a:lnTo>
                    <a:pt x="132888" y="193137"/>
                  </a:lnTo>
                  <a:lnTo>
                    <a:pt x="131608" y="196020"/>
                  </a:lnTo>
                  <a:lnTo>
                    <a:pt x="128019" y="195946"/>
                  </a:lnTo>
                  <a:lnTo>
                    <a:pt x="126404" y="194772"/>
                  </a:lnTo>
                  <a:lnTo>
                    <a:pt x="124913" y="193138"/>
                  </a:lnTo>
                  <a:lnTo>
                    <a:pt x="124376" y="192329"/>
                  </a:lnTo>
                  <a:lnTo>
                    <a:pt x="119772" y="190723"/>
                  </a:lnTo>
                  <a:lnTo>
                    <a:pt x="116701" y="191830"/>
                  </a:lnTo>
                  <a:lnTo>
                    <a:pt x="115762" y="191774"/>
                  </a:lnTo>
                  <a:lnTo>
                    <a:pt x="114318" y="190604"/>
                  </a:lnTo>
                  <a:lnTo>
                    <a:pt x="113451" y="189723"/>
                  </a:lnTo>
                  <a:lnTo>
                    <a:pt x="112596" y="188395"/>
                  </a:lnTo>
                  <a:lnTo>
                    <a:pt x="112121" y="187048"/>
                  </a:lnTo>
                  <a:lnTo>
                    <a:pt x="112071" y="186436"/>
                  </a:lnTo>
                  <a:lnTo>
                    <a:pt x="113406" y="185948"/>
                  </a:lnTo>
                  <a:lnTo>
                    <a:pt x="115585" y="184846"/>
                  </a:lnTo>
                  <a:lnTo>
                    <a:pt x="117364" y="183606"/>
                  </a:lnTo>
                  <a:lnTo>
                    <a:pt x="118535" y="182285"/>
                  </a:lnTo>
                  <a:lnTo>
                    <a:pt x="119016" y="180919"/>
                  </a:lnTo>
                  <a:lnTo>
                    <a:pt x="119079" y="179325"/>
                  </a:lnTo>
                  <a:lnTo>
                    <a:pt x="119584" y="175212"/>
                  </a:lnTo>
                  <a:lnTo>
                    <a:pt x="120107" y="173197"/>
                  </a:lnTo>
                  <a:lnTo>
                    <a:pt x="119814" y="170730"/>
                  </a:lnTo>
                  <a:lnTo>
                    <a:pt x="118863" y="168786"/>
                  </a:lnTo>
                  <a:lnTo>
                    <a:pt x="118863" y="165868"/>
                  </a:lnTo>
                  <a:lnTo>
                    <a:pt x="119204" y="164442"/>
                  </a:lnTo>
                  <a:lnTo>
                    <a:pt x="119366" y="163508"/>
                  </a:lnTo>
                  <a:lnTo>
                    <a:pt x="120705" y="162324"/>
                  </a:lnTo>
                  <a:lnTo>
                    <a:pt x="121631" y="160624"/>
                  </a:lnTo>
                  <a:lnTo>
                    <a:pt x="122145" y="158413"/>
                  </a:lnTo>
                  <a:lnTo>
                    <a:pt x="122193" y="156814"/>
                  </a:lnTo>
                  <a:lnTo>
                    <a:pt x="121774" y="155831"/>
                  </a:lnTo>
                  <a:lnTo>
                    <a:pt x="120455" y="154895"/>
                  </a:lnTo>
                  <a:lnTo>
                    <a:pt x="118235" y="154008"/>
                  </a:lnTo>
                  <a:lnTo>
                    <a:pt x="116839" y="152887"/>
                  </a:lnTo>
                  <a:lnTo>
                    <a:pt x="116272" y="151531"/>
                  </a:lnTo>
                  <a:lnTo>
                    <a:pt x="116324" y="150341"/>
                  </a:lnTo>
                  <a:lnTo>
                    <a:pt x="117001" y="149315"/>
                  </a:lnTo>
                  <a:lnTo>
                    <a:pt x="115330" y="148171"/>
                  </a:lnTo>
                  <a:lnTo>
                    <a:pt x="111307" y="146909"/>
                  </a:lnTo>
                  <a:lnTo>
                    <a:pt x="109062" y="145395"/>
                  </a:lnTo>
                  <a:lnTo>
                    <a:pt x="108589" y="143632"/>
                  </a:lnTo>
                  <a:lnTo>
                    <a:pt x="106911" y="141318"/>
                  </a:lnTo>
                  <a:lnTo>
                    <a:pt x="104024" y="138454"/>
                  </a:lnTo>
                  <a:lnTo>
                    <a:pt x="102504" y="134331"/>
                  </a:lnTo>
                  <a:lnTo>
                    <a:pt x="102348" y="128948"/>
                  </a:lnTo>
                  <a:lnTo>
                    <a:pt x="102689" y="124563"/>
                  </a:lnTo>
                  <a:lnTo>
                    <a:pt x="103950" y="119483"/>
                  </a:lnTo>
                  <a:lnTo>
                    <a:pt x="102262" y="115807"/>
                  </a:lnTo>
                  <a:lnTo>
                    <a:pt x="100409" y="113868"/>
                  </a:lnTo>
                  <a:lnTo>
                    <a:pt x="97831" y="112442"/>
                  </a:lnTo>
                  <a:lnTo>
                    <a:pt x="95373" y="110397"/>
                  </a:lnTo>
                  <a:lnTo>
                    <a:pt x="93041" y="107732"/>
                  </a:lnTo>
                  <a:lnTo>
                    <a:pt x="90245" y="103794"/>
                  </a:lnTo>
                  <a:lnTo>
                    <a:pt x="86984" y="98580"/>
                  </a:lnTo>
                  <a:lnTo>
                    <a:pt x="84793" y="96242"/>
                  </a:lnTo>
                  <a:lnTo>
                    <a:pt x="83669" y="96783"/>
                  </a:lnTo>
                  <a:lnTo>
                    <a:pt x="81314" y="96299"/>
                  </a:lnTo>
                  <a:lnTo>
                    <a:pt x="77718" y="94789"/>
                  </a:lnTo>
                  <a:lnTo>
                    <a:pt x="74585" y="93975"/>
                  </a:lnTo>
                  <a:lnTo>
                    <a:pt x="71910" y="93857"/>
                  </a:lnTo>
                  <a:lnTo>
                    <a:pt x="70169" y="94198"/>
                  </a:lnTo>
                  <a:lnTo>
                    <a:pt x="69361" y="94997"/>
                  </a:lnTo>
                  <a:lnTo>
                    <a:pt x="69299" y="95786"/>
                  </a:lnTo>
                  <a:lnTo>
                    <a:pt x="69976" y="96562"/>
                  </a:lnTo>
                  <a:lnTo>
                    <a:pt x="69614" y="97168"/>
                  </a:lnTo>
                  <a:lnTo>
                    <a:pt x="68211" y="97602"/>
                  </a:lnTo>
                  <a:lnTo>
                    <a:pt x="67079" y="98465"/>
                  </a:lnTo>
                  <a:lnTo>
                    <a:pt x="65812" y="100372"/>
                  </a:lnTo>
                  <a:lnTo>
                    <a:pt x="64930" y="102878"/>
                  </a:lnTo>
                  <a:lnTo>
                    <a:pt x="63605" y="103843"/>
                  </a:lnTo>
                  <a:lnTo>
                    <a:pt x="61553" y="104056"/>
                  </a:lnTo>
                  <a:lnTo>
                    <a:pt x="59536" y="104772"/>
                  </a:lnTo>
                  <a:lnTo>
                    <a:pt x="57549" y="105988"/>
                  </a:lnTo>
                  <a:lnTo>
                    <a:pt x="56612" y="106912"/>
                  </a:lnTo>
                  <a:lnTo>
                    <a:pt x="56721" y="107543"/>
                  </a:lnTo>
                  <a:lnTo>
                    <a:pt x="56290" y="107683"/>
                  </a:lnTo>
                  <a:lnTo>
                    <a:pt x="55321" y="107332"/>
                  </a:lnTo>
                  <a:lnTo>
                    <a:pt x="54863" y="106504"/>
                  </a:lnTo>
                  <a:lnTo>
                    <a:pt x="54911" y="105201"/>
                  </a:lnTo>
                  <a:lnTo>
                    <a:pt x="53900" y="104326"/>
                  </a:lnTo>
                  <a:lnTo>
                    <a:pt x="51827" y="103880"/>
                  </a:lnTo>
                  <a:lnTo>
                    <a:pt x="49462" y="102480"/>
                  </a:lnTo>
                  <a:lnTo>
                    <a:pt x="46804" y="100127"/>
                  </a:lnTo>
                  <a:lnTo>
                    <a:pt x="44960" y="98873"/>
                  </a:lnTo>
                  <a:lnTo>
                    <a:pt x="43926" y="98718"/>
                  </a:lnTo>
                  <a:lnTo>
                    <a:pt x="42447" y="99651"/>
                  </a:lnTo>
                  <a:lnTo>
                    <a:pt x="40521" y="101668"/>
                  </a:lnTo>
                  <a:lnTo>
                    <a:pt x="38929" y="102469"/>
                  </a:lnTo>
                  <a:lnTo>
                    <a:pt x="37672" y="102053"/>
                  </a:lnTo>
                  <a:lnTo>
                    <a:pt x="36702" y="102766"/>
                  </a:lnTo>
                  <a:lnTo>
                    <a:pt x="36025" y="104609"/>
                  </a:lnTo>
                  <a:lnTo>
                    <a:pt x="34772" y="106053"/>
                  </a:lnTo>
                  <a:lnTo>
                    <a:pt x="32035" y="107625"/>
                  </a:lnTo>
                  <a:lnTo>
                    <a:pt x="31844" y="107811"/>
                  </a:lnTo>
                  <a:lnTo>
                    <a:pt x="28718" y="109946"/>
                  </a:lnTo>
                  <a:lnTo>
                    <a:pt x="26197" y="112084"/>
                  </a:lnTo>
                  <a:lnTo>
                    <a:pt x="23274" y="114955"/>
                  </a:lnTo>
                  <a:lnTo>
                    <a:pt x="21896" y="115399"/>
                  </a:lnTo>
                  <a:lnTo>
                    <a:pt x="20581" y="114706"/>
                  </a:lnTo>
                  <a:lnTo>
                    <a:pt x="18594" y="113996"/>
                  </a:lnTo>
                  <a:lnTo>
                    <a:pt x="17547" y="113021"/>
                  </a:lnTo>
                  <a:lnTo>
                    <a:pt x="19548" y="108157"/>
                  </a:lnTo>
                  <a:lnTo>
                    <a:pt x="22075" y="102763"/>
                  </a:lnTo>
                  <a:lnTo>
                    <a:pt x="22753" y="100272"/>
                  </a:lnTo>
                  <a:lnTo>
                    <a:pt x="22859" y="98455"/>
                  </a:lnTo>
                  <a:lnTo>
                    <a:pt x="22610" y="96976"/>
                  </a:lnTo>
                  <a:lnTo>
                    <a:pt x="21622" y="95430"/>
                  </a:lnTo>
                  <a:lnTo>
                    <a:pt x="20689" y="94230"/>
                  </a:lnTo>
                  <a:lnTo>
                    <a:pt x="20609" y="93430"/>
                  </a:lnTo>
                  <a:lnTo>
                    <a:pt x="20907" y="92584"/>
                  </a:lnTo>
                  <a:lnTo>
                    <a:pt x="21922" y="91336"/>
                  </a:lnTo>
                  <a:lnTo>
                    <a:pt x="23230" y="89397"/>
                  </a:lnTo>
                  <a:lnTo>
                    <a:pt x="24446" y="85404"/>
                  </a:lnTo>
                  <a:lnTo>
                    <a:pt x="25902" y="81181"/>
                  </a:lnTo>
                  <a:lnTo>
                    <a:pt x="25759" y="78620"/>
                  </a:lnTo>
                  <a:lnTo>
                    <a:pt x="24580" y="75809"/>
                  </a:lnTo>
                  <a:lnTo>
                    <a:pt x="23939" y="73139"/>
                  </a:lnTo>
                  <a:lnTo>
                    <a:pt x="24453" y="69497"/>
                  </a:lnTo>
                  <a:lnTo>
                    <a:pt x="24256" y="68080"/>
                  </a:lnTo>
                  <a:lnTo>
                    <a:pt x="22991" y="67371"/>
                  </a:lnTo>
                  <a:lnTo>
                    <a:pt x="18830" y="66646"/>
                  </a:lnTo>
                  <a:lnTo>
                    <a:pt x="17493" y="66770"/>
                  </a:lnTo>
                  <a:lnTo>
                    <a:pt x="16435" y="67237"/>
                  </a:lnTo>
                  <a:lnTo>
                    <a:pt x="15299" y="68227"/>
                  </a:lnTo>
                  <a:lnTo>
                    <a:pt x="13908" y="68851"/>
                  </a:lnTo>
                  <a:lnTo>
                    <a:pt x="11289" y="69193"/>
                  </a:lnTo>
                  <a:lnTo>
                    <a:pt x="8814" y="67962"/>
                  </a:lnTo>
                  <a:lnTo>
                    <a:pt x="6748" y="65872"/>
                  </a:lnTo>
                  <a:lnTo>
                    <a:pt x="6251" y="63307"/>
                  </a:lnTo>
                  <a:lnTo>
                    <a:pt x="7767" y="60254"/>
                  </a:lnTo>
                  <a:lnTo>
                    <a:pt x="8836" y="57784"/>
                  </a:lnTo>
                  <a:lnTo>
                    <a:pt x="9466" y="55659"/>
                  </a:lnTo>
                  <a:lnTo>
                    <a:pt x="9397" y="54654"/>
                  </a:lnTo>
                  <a:lnTo>
                    <a:pt x="8946" y="53605"/>
                  </a:lnTo>
                  <a:lnTo>
                    <a:pt x="8328" y="53464"/>
                  </a:lnTo>
                  <a:lnTo>
                    <a:pt x="7000" y="52159"/>
                  </a:lnTo>
                  <a:lnTo>
                    <a:pt x="5709" y="49865"/>
                  </a:lnTo>
                  <a:lnTo>
                    <a:pt x="4489" y="48816"/>
                  </a:lnTo>
                  <a:lnTo>
                    <a:pt x="3340" y="49014"/>
                  </a:lnTo>
                  <a:lnTo>
                    <a:pt x="2280" y="49882"/>
                  </a:lnTo>
                  <a:lnTo>
                    <a:pt x="1308" y="51422"/>
                  </a:lnTo>
                  <a:lnTo>
                    <a:pt x="548" y="52052"/>
                  </a:lnTo>
                  <a:lnTo>
                    <a:pt x="0" y="51769"/>
                  </a:lnTo>
                  <a:lnTo>
                    <a:pt x="166" y="50411"/>
                  </a:lnTo>
                  <a:lnTo>
                    <a:pt x="326" y="49131"/>
                  </a:lnTo>
                  <a:lnTo>
                    <a:pt x="1524" y="44132"/>
                  </a:lnTo>
                  <a:lnTo>
                    <a:pt x="2971" y="40876"/>
                  </a:lnTo>
                  <a:lnTo>
                    <a:pt x="4668" y="39366"/>
                  </a:lnTo>
                  <a:lnTo>
                    <a:pt x="6467" y="38731"/>
                  </a:lnTo>
                  <a:lnTo>
                    <a:pt x="8368" y="38967"/>
                  </a:lnTo>
                  <a:lnTo>
                    <a:pt x="9954" y="38688"/>
                  </a:lnTo>
                  <a:lnTo>
                    <a:pt x="11233" y="37892"/>
                  </a:lnTo>
                  <a:lnTo>
                    <a:pt x="11116" y="37438"/>
                  </a:lnTo>
                  <a:lnTo>
                    <a:pt x="9605" y="37323"/>
                  </a:lnTo>
                  <a:lnTo>
                    <a:pt x="9006" y="36453"/>
                  </a:lnTo>
                  <a:lnTo>
                    <a:pt x="9313" y="34825"/>
                  </a:lnTo>
                  <a:lnTo>
                    <a:pt x="9987" y="33767"/>
                  </a:lnTo>
                  <a:lnTo>
                    <a:pt x="11027" y="33279"/>
                  </a:lnTo>
                  <a:lnTo>
                    <a:pt x="12034" y="31637"/>
                  </a:lnTo>
                  <a:lnTo>
                    <a:pt x="13005" y="28840"/>
                  </a:lnTo>
                  <a:lnTo>
                    <a:pt x="14189" y="27423"/>
                  </a:lnTo>
                  <a:lnTo>
                    <a:pt x="15580" y="27387"/>
                  </a:lnTo>
                  <a:lnTo>
                    <a:pt x="17968" y="26184"/>
                  </a:lnTo>
                  <a:lnTo>
                    <a:pt x="21348" y="23814"/>
                  </a:lnTo>
                  <a:lnTo>
                    <a:pt x="22641" y="21526"/>
                  </a:lnTo>
                  <a:lnTo>
                    <a:pt x="23919" y="22577"/>
                  </a:lnTo>
                  <a:lnTo>
                    <a:pt x="23448" y="25228"/>
                  </a:lnTo>
                  <a:lnTo>
                    <a:pt x="24116" y="25789"/>
                  </a:lnTo>
                  <a:lnTo>
                    <a:pt x="24433" y="26734"/>
                  </a:lnTo>
                  <a:lnTo>
                    <a:pt x="24254" y="28219"/>
                  </a:lnTo>
                  <a:lnTo>
                    <a:pt x="24533" y="29479"/>
                  </a:lnTo>
                  <a:lnTo>
                    <a:pt x="25050" y="30090"/>
                  </a:lnTo>
                  <a:lnTo>
                    <a:pt x="25794" y="30395"/>
                  </a:lnTo>
                  <a:lnTo>
                    <a:pt x="29378" y="29316"/>
                  </a:lnTo>
                  <a:lnTo>
                    <a:pt x="31563" y="29236"/>
                  </a:lnTo>
                  <a:lnTo>
                    <a:pt x="32481" y="29946"/>
                  </a:lnTo>
                  <a:lnTo>
                    <a:pt x="33317" y="30388"/>
                  </a:lnTo>
                  <a:lnTo>
                    <a:pt x="34353" y="30730"/>
                  </a:lnTo>
                  <a:lnTo>
                    <a:pt x="35154" y="31180"/>
                  </a:lnTo>
                  <a:lnTo>
                    <a:pt x="35671" y="31036"/>
                  </a:lnTo>
                  <a:lnTo>
                    <a:pt x="36895" y="29932"/>
                  </a:lnTo>
                  <a:lnTo>
                    <a:pt x="37273" y="29737"/>
                  </a:lnTo>
                  <a:lnTo>
                    <a:pt x="37306" y="29196"/>
                  </a:lnTo>
                  <a:lnTo>
                    <a:pt x="36444" y="28203"/>
                  </a:lnTo>
                  <a:lnTo>
                    <a:pt x="35556" y="27370"/>
                  </a:lnTo>
                  <a:lnTo>
                    <a:pt x="35584" y="25518"/>
                  </a:lnTo>
                  <a:lnTo>
                    <a:pt x="36009" y="22305"/>
                  </a:lnTo>
                  <a:lnTo>
                    <a:pt x="36094" y="20640"/>
                  </a:lnTo>
                  <a:lnTo>
                    <a:pt x="36020" y="16650"/>
                  </a:lnTo>
                  <a:lnTo>
                    <a:pt x="35856" y="15525"/>
                  </a:lnTo>
                  <a:lnTo>
                    <a:pt x="35040" y="14228"/>
                  </a:lnTo>
                  <a:lnTo>
                    <a:pt x="32902" y="11741"/>
                  </a:lnTo>
                  <a:lnTo>
                    <a:pt x="32302" y="10220"/>
                  </a:lnTo>
                  <a:lnTo>
                    <a:pt x="31959" y="8696"/>
                  </a:lnTo>
                  <a:lnTo>
                    <a:pt x="31993" y="7733"/>
                  </a:lnTo>
                  <a:lnTo>
                    <a:pt x="31451" y="6631"/>
                  </a:lnTo>
                  <a:lnTo>
                    <a:pt x="31168" y="5614"/>
                  </a:lnTo>
                  <a:lnTo>
                    <a:pt x="32127" y="5087"/>
                  </a:lnTo>
                  <a:lnTo>
                    <a:pt x="33278" y="3900"/>
                  </a:lnTo>
                  <a:lnTo>
                    <a:pt x="33859" y="2088"/>
                  </a:lnTo>
                  <a:lnTo>
                    <a:pt x="34418" y="766"/>
                  </a:lnTo>
                  <a:lnTo>
                    <a:pt x="35215" y="202"/>
                  </a:lnTo>
                  <a:lnTo>
                    <a:pt x="35906" y="0"/>
                  </a:lnTo>
                  <a:lnTo>
                    <a:pt x="36375" y="115"/>
                  </a:lnTo>
                  <a:lnTo>
                    <a:pt x="38184" y="2482"/>
                  </a:lnTo>
                  <a:lnTo>
                    <a:pt x="40475" y="1298"/>
                  </a:lnTo>
                  <a:lnTo>
                    <a:pt x="42222" y="1303"/>
                  </a:lnTo>
                  <a:lnTo>
                    <a:pt x="43706" y="1929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87" name="ee4p_LB_1_37365">
              <a:extLst>
                <a:ext uri="{FF2B5EF4-FFF2-40B4-BE49-F238E27FC236}">
                  <a16:creationId xmlns:a16="http://schemas.microsoft.com/office/drawing/2014/main" id="{0B8BA2C2-8D73-D2BF-5B02-22FEBB8C3C98}"/>
                </a:ext>
              </a:extLst>
            </p:cNvPr>
            <p:cNvSpPr>
              <a:spLocks noChangeAspect="1"/>
            </p:cNvSpPr>
            <p:nvPr>
              <p:custDataLst>
                <p:tags r:id="rId241"/>
              </p:custDataLst>
            </p:nvPr>
          </p:nvSpPr>
          <p:spPr>
            <a:xfrm>
              <a:off x="7489643" y="3645469"/>
              <a:ext cx="41000" cy="51371"/>
            </a:xfrm>
            <a:custGeom>
              <a:avLst/>
              <a:gdLst/>
              <a:ahLst/>
              <a:cxnLst/>
              <a:rect l="0" t="0" r="0" b="0"/>
              <a:pathLst>
                <a:path w="32647" h="39821">
                  <a:moveTo>
                    <a:pt x="16817" y="31014"/>
                  </a:moveTo>
                  <a:lnTo>
                    <a:pt x="16189" y="31412"/>
                  </a:lnTo>
                  <a:lnTo>
                    <a:pt x="15012" y="32548"/>
                  </a:lnTo>
                  <a:lnTo>
                    <a:pt x="13840" y="33468"/>
                  </a:lnTo>
                  <a:lnTo>
                    <a:pt x="11469" y="34892"/>
                  </a:lnTo>
                  <a:lnTo>
                    <a:pt x="10931" y="35744"/>
                  </a:lnTo>
                  <a:lnTo>
                    <a:pt x="10408" y="34980"/>
                  </a:lnTo>
                  <a:lnTo>
                    <a:pt x="9374" y="35499"/>
                  </a:lnTo>
                  <a:lnTo>
                    <a:pt x="8504" y="38738"/>
                  </a:lnTo>
                  <a:lnTo>
                    <a:pt x="6692" y="39820"/>
                  </a:lnTo>
                  <a:lnTo>
                    <a:pt x="4429" y="39724"/>
                  </a:lnTo>
                  <a:lnTo>
                    <a:pt x="2537" y="39417"/>
                  </a:lnTo>
                  <a:lnTo>
                    <a:pt x="0" y="39622"/>
                  </a:lnTo>
                  <a:lnTo>
                    <a:pt x="1028" y="37736"/>
                  </a:lnTo>
                  <a:lnTo>
                    <a:pt x="2099" y="35289"/>
                  </a:lnTo>
                  <a:lnTo>
                    <a:pt x="3157" y="31983"/>
                  </a:lnTo>
                  <a:lnTo>
                    <a:pt x="5023" y="29238"/>
                  </a:lnTo>
                  <a:lnTo>
                    <a:pt x="8895" y="19904"/>
                  </a:lnTo>
                  <a:lnTo>
                    <a:pt x="11128" y="16115"/>
                  </a:lnTo>
                  <a:lnTo>
                    <a:pt x="11924" y="10738"/>
                  </a:lnTo>
                  <a:lnTo>
                    <a:pt x="15383" y="6024"/>
                  </a:lnTo>
                  <a:lnTo>
                    <a:pt x="17973" y="4629"/>
                  </a:lnTo>
                  <a:lnTo>
                    <a:pt x="19223" y="3279"/>
                  </a:lnTo>
                  <a:lnTo>
                    <a:pt x="19186" y="1237"/>
                  </a:lnTo>
                  <a:lnTo>
                    <a:pt x="23052" y="1252"/>
                  </a:lnTo>
                  <a:lnTo>
                    <a:pt x="25539" y="1145"/>
                  </a:lnTo>
                  <a:lnTo>
                    <a:pt x="26263" y="0"/>
                  </a:lnTo>
                  <a:lnTo>
                    <a:pt x="28200" y="520"/>
                  </a:lnTo>
                  <a:lnTo>
                    <a:pt x="29286" y="1629"/>
                  </a:lnTo>
                  <a:lnTo>
                    <a:pt x="28306" y="2792"/>
                  </a:lnTo>
                  <a:lnTo>
                    <a:pt x="26925" y="4130"/>
                  </a:lnTo>
                  <a:lnTo>
                    <a:pt x="27005" y="4472"/>
                  </a:lnTo>
                  <a:lnTo>
                    <a:pt x="28035" y="4583"/>
                  </a:lnTo>
                  <a:lnTo>
                    <a:pt x="29785" y="5306"/>
                  </a:lnTo>
                  <a:lnTo>
                    <a:pt x="30864" y="6149"/>
                  </a:lnTo>
                  <a:lnTo>
                    <a:pt x="32646" y="11411"/>
                  </a:lnTo>
                  <a:lnTo>
                    <a:pt x="31544" y="13574"/>
                  </a:lnTo>
                  <a:lnTo>
                    <a:pt x="29828" y="15502"/>
                  </a:lnTo>
                  <a:lnTo>
                    <a:pt x="29061" y="15675"/>
                  </a:lnTo>
                  <a:lnTo>
                    <a:pt x="27558" y="16634"/>
                  </a:lnTo>
                  <a:lnTo>
                    <a:pt x="26297" y="17943"/>
                  </a:lnTo>
                  <a:lnTo>
                    <a:pt x="25855" y="18772"/>
                  </a:lnTo>
                  <a:lnTo>
                    <a:pt x="25952" y="19545"/>
                  </a:lnTo>
                  <a:lnTo>
                    <a:pt x="27733" y="20515"/>
                  </a:lnTo>
                  <a:lnTo>
                    <a:pt x="27783" y="20907"/>
                  </a:lnTo>
                  <a:lnTo>
                    <a:pt x="27418" y="21212"/>
                  </a:lnTo>
                  <a:lnTo>
                    <a:pt x="25977" y="21000"/>
                  </a:lnTo>
                  <a:lnTo>
                    <a:pt x="24121" y="20902"/>
                  </a:lnTo>
                  <a:lnTo>
                    <a:pt x="23023" y="20903"/>
                  </a:lnTo>
                  <a:lnTo>
                    <a:pt x="21749" y="21100"/>
                  </a:lnTo>
                  <a:lnTo>
                    <a:pt x="20128" y="22283"/>
                  </a:lnTo>
                  <a:lnTo>
                    <a:pt x="19405" y="23059"/>
                  </a:lnTo>
                  <a:lnTo>
                    <a:pt x="19013" y="23561"/>
                  </a:lnTo>
                  <a:lnTo>
                    <a:pt x="18437" y="25170"/>
                  </a:lnTo>
                  <a:lnTo>
                    <a:pt x="19085" y="26273"/>
                  </a:lnTo>
                  <a:lnTo>
                    <a:pt x="20301" y="26896"/>
                  </a:lnTo>
                  <a:lnTo>
                    <a:pt x="20473" y="27216"/>
                  </a:lnTo>
                  <a:lnTo>
                    <a:pt x="20203" y="27775"/>
                  </a:lnTo>
                  <a:lnTo>
                    <a:pt x="18994" y="28467"/>
                  </a:lnTo>
                  <a:lnTo>
                    <a:pt x="18087" y="29316"/>
                  </a:lnTo>
                  <a:lnTo>
                    <a:pt x="17826" y="30181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88" name="ee4p_LK_1_37365">
              <a:extLst>
                <a:ext uri="{FF2B5EF4-FFF2-40B4-BE49-F238E27FC236}">
                  <a16:creationId xmlns:a16="http://schemas.microsoft.com/office/drawing/2014/main" id="{CDDA67C1-6CF0-6781-B5D7-ED87D0E83575}"/>
                </a:ext>
              </a:extLst>
            </p:cNvPr>
            <p:cNvSpPr>
              <a:spLocks noChangeAspect="1"/>
            </p:cNvSpPr>
            <p:nvPr>
              <p:custDataLst>
                <p:tags r:id="rId242"/>
              </p:custDataLst>
            </p:nvPr>
          </p:nvSpPr>
          <p:spPr>
            <a:xfrm>
              <a:off x="8728134" y="4394993"/>
              <a:ext cx="60235" cy="110888"/>
            </a:xfrm>
            <a:custGeom>
              <a:avLst/>
              <a:gdLst>
                <a:gd name="connsiteX0" fmla="*/ 881 w 47964"/>
                <a:gd name="connsiteY0" fmla="*/ 15795 h 85957"/>
                <a:gd name="connsiteX1" fmla="*/ 3364 w 47964"/>
                <a:gd name="connsiteY1" fmla="*/ 16661 h 85957"/>
                <a:gd name="connsiteX2" fmla="*/ 3693 w 47964"/>
                <a:gd name="connsiteY2" fmla="*/ 16996 h 85957"/>
                <a:gd name="connsiteX3" fmla="*/ 4332 w 47964"/>
                <a:gd name="connsiteY3" fmla="*/ 18684 h 85957"/>
                <a:gd name="connsiteX4" fmla="*/ 2505 w 47964"/>
                <a:gd name="connsiteY4" fmla="*/ 17528 h 85957"/>
                <a:gd name="connsiteX5" fmla="*/ 1304 w 47964"/>
                <a:gd name="connsiteY5" fmla="*/ 16571 h 85957"/>
                <a:gd name="connsiteX6" fmla="*/ 3636 w 47964"/>
                <a:gd name="connsiteY6" fmla="*/ 1525 h 85957"/>
                <a:gd name="connsiteX7" fmla="*/ 3995 w 47964"/>
                <a:gd name="connsiteY7" fmla="*/ 1596 h 85957"/>
                <a:gd name="connsiteX8" fmla="*/ 4513 w 47964"/>
                <a:gd name="connsiteY8" fmla="*/ 2980 h 85957"/>
                <a:gd name="connsiteX9" fmla="*/ 5787 w 47964"/>
                <a:gd name="connsiteY9" fmla="*/ 4062 h 85957"/>
                <a:gd name="connsiteX10" fmla="*/ 4401 w 47964"/>
                <a:gd name="connsiteY10" fmla="*/ 4304 h 85957"/>
                <a:gd name="connsiteX11" fmla="*/ 3308 w 47964"/>
                <a:gd name="connsiteY11" fmla="*/ 2819 h 85957"/>
                <a:gd name="connsiteX12" fmla="*/ 3049 w 47964"/>
                <a:gd name="connsiteY12" fmla="*/ 2188 h 85957"/>
                <a:gd name="connsiteX13" fmla="*/ 3334 w 47964"/>
                <a:gd name="connsiteY13" fmla="*/ 1748 h 85957"/>
                <a:gd name="connsiteX14" fmla="*/ 6070 w 47964"/>
                <a:gd name="connsiteY14" fmla="*/ 0 h 85957"/>
                <a:gd name="connsiteX15" fmla="*/ 8195 w 47964"/>
                <a:gd name="connsiteY15" fmla="*/ 116 h 85957"/>
                <a:gd name="connsiteX16" fmla="*/ 10462 w 47964"/>
                <a:gd name="connsiteY16" fmla="*/ 60 h 85957"/>
                <a:gd name="connsiteX17" fmla="*/ 12051 w 47964"/>
                <a:gd name="connsiteY17" fmla="*/ 365 h 85957"/>
                <a:gd name="connsiteX18" fmla="*/ 14774 w 47964"/>
                <a:gd name="connsiteY18" fmla="*/ 3802 h 85957"/>
                <a:gd name="connsiteX19" fmla="*/ 22186 w 47964"/>
                <a:gd name="connsiteY19" fmla="*/ 9958 h 85957"/>
                <a:gd name="connsiteX20" fmla="*/ 26217 w 47964"/>
                <a:gd name="connsiteY20" fmla="*/ 16212 h 85957"/>
                <a:gd name="connsiteX21" fmla="*/ 26584 w 47964"/>
                <a:gd name="connsiteY21" fmla="*/ 17580 h 85957"/>
                <a:gd name="connsiteX22" fmla="*/ 27146 w 47964"/>
                <a:gd name="connsiteY22" fmla="*/ 18762 h 85957"/>
                <a:gd name="connsiteX23" fmla="*/ 28113 w 47964"/>
                <a:gd name="connsiteY23" fmla="*/ 19086 h 85957"/>
                <a:gd name="connsiteX24" fmla="*/ 28927 w 47964"/>
                <a:gd name="connsiteY24" fmla="*/ 19628 h 85957"/>
                <a:gd name="connsiteX25" fmla="*/ 32957 w 47964"/>
                <a:gd name="connsiteY25" fmla="*/ 25658 h 85957"/>
                <a:gd name="connsiteX26" fmla="*/ 33421 w 47964"/>
                <a:gd name="connsiteY26" fmla="*/ 26851 h 85957"/>
                <a:gd name="connsiteX27" fmla="*/ 33354 w 47964"/>
                <a:gd name="connsiteY27" fmla="*/ 28165 h 85957"/>
                <a:gd name="connsiteX28" fmla="*/ 33591 w 47964"/>
                <a:gd name="connsiteY28" fmla="*/ 29143 h 85957"/>
                <a:gd name="connsiteX29" fmla="*/ 34645 w 47964"/>
                <a:gd name="connsiteY29" fmla="*/ 29631 h 85957"/>
                <a:gd name="connsiteX30" fmla="*/ 35958 w 47964"/>
                <a:gd name="connsiteY30" fmla="*/ 29887 h 85957"/>
                <a:gd name="connsiteX31" fmla="*/ 36817 w 47964"/>
                <a:gd name="connsiteY31" fmla="*/ 30792 h 85957"/>
                <a:gd name="connsiteX32" fmla="*/ 37908 w 47964"/>
                <a:gd name="connsiteY32" fmla="*/ 35606 h 85957"/>
                <a:gd name="connsiteX33" fmla="*/ 37908 w 47964"/>
                <a:gd name="connsiteY33" fmla="*/ 37105 h 85957"/>
                <a:gd name="connsiteX34" fmla="*/ 38213 w 47964"/>
                <a:gd name="connsiteY34" fmla="*/ 37750 h 85957"/>
                <a:gd name="connsiteX35" fmla="*/ 43287 w 47964"/>
                <a:gd name="connsiteY35" fmla="*/ 45235 h 85957"/>
                <a:gd name="connsiteX36" fmla="*/ 43581 w 47964"/>
                <a:gd name="connsiteY36" fmla="*/ 46145 h 85957"/>
                <a:gd name="connsiteX37" fmla="*/ 43527 w 47964"/>
                <a:gd name="connsiteY37" fmla="*/ 46826 h 85957"/>
                <a:gd name="connsiteX38" fmla="*/ 43673 w 47964"/>
                <a:gd name="connsiteY38" fmla="*/ 47415 h 85957"/>
                <a:gd name="connsiteX39" fmla="*/ 44656 w 47964"/>
                <a:gd name="connsiteY39" fmla="*/ 48737 h 85957"/>
                <a:gd name="connsiteX40" fmla="*/ 46189 w 47964"/>
                <a:gd name="connsiteY40" fmla="*/ 52299 h 85957"/>
                <a:gd name="connsiteX41" fmla="*/ 46971 w 47964"/>
                <a:gd name="connsiteY41" fmla="*/ 53108 h 85957"/>
                <a:gd name="connsiteX42" fmla="*/ 47901 w 47964"/>
                <a:gd name="connsiteY42" fmla="*/ 56222 h 85957"/>
                <a:gd name="connsiteX43" fmla="*/ 47964 w 47964"/>
                <a:gd name="connsiteY43" fmla="*/ 62175 h 85957"/>
                <a:gd name="connsiteX44" fmla="*/ 47621 w 47964"/>
                <a:gd name="connsiteY44" fmla="*/ 64823 h 85957"/>
                <a:gd name="connsiteX45" fmla="*/ 46673 w 47964"/>
                <a:gd name="connsiteY45" fmla="*/ 68045 h 85957"/>
                <a:gd name="connsiteX46" fmla="*/ 45550 w 47964"/>
                <a:gd name="connsiteY46" fmla="*/ 71197 h 85957"/>
                <a:gd name="connsiteX47" fmla="*/ 44332 w 47964"/>
                <a:gd name="connsiteY47" fmla="*/ 73471 h 85957"/>
                <a:gd name="connsiteX48" fmla="*/ 42667 w 47964"/>
                <a:gd name="connsiteY48" fmla="*/ 75397 h 85957"/>
                <a:gd name="connsiteX49" fmla="*/ 36975 w 47964"/>
                <a:gd name="connsiteY49" fmla="*/ 79487 h 85957"/>
                <a:gd name="connsiteX50" fmla="*/ 35345 w 47964"/>
                <a:gd name="connsiteY50" fmla="*/ 80309 h 85957"/>
                <a:gd name="connsiteX51" fmla="*/ 27934 w 47964"/>
                <a:gd name="connsiteY51" fmla="*/ 82872 h 85957"/>
                <a:gd name="connsiteX52" fmla="*/ 22473 w 47964"/>
                <a:gd name="connsiteY52" fmla="*/ 85298 h 85957"/>
                <a:gd name="connsiteX53" fmla="*/ 17424 w 47964"/>
                <a:gd name="connsiteY53" fmla="*/ 85957 h 85957"/>
                <a:gd name="connsiteX54" fmla="*/ 12373 w 47964"/>
                <a:gd name="connsiteY54" fmla="*/ 84617 h 85957"/>
                <a:gd name="connsiteX55" fmla="*/ 8569 w 47964"/>
                <a:gd name="connsiteY55" fmla="*/ 81434 h 85957"/>
                <a:gd name="connsiteX56" fmla="*/ 6621 w 47964"/>
                <a:gd name="connsiteY56" fmla="*/ 76745 h 85957"/>
                <a:gd name="connsiteX57" fmla="*/ 5288 w 47964"/>
                <a:gd name="connsiteY57" fmla="*/ 71858 h 85957"/>
                <a:gd name="connsiteX58" fmla="*/ 3351 w 47964"/>
                <a:gd name="connsiteY58" fmla="*/ 66422 h 85957"/>
                <a:gd name="connsiteX59" fmla="*/ 1864 w 47964"/>
                <a:gd name="connsiteY59" fmla="*/ 49622 h 85957"/>
                <a:gd name="connsiteX60" fmla="*/ 1153 w 47964"/>
                <a:gd name="connsiteY60" fmla="*/ 44923 h 85957"/>
                <a:gd name="connsiteX61" fmla="*/ 0 w 47964"/>
                <a:gd name="connsiteY61" fmla="*/ 38934 h 85957"/>
                <a:gd name="connsiteX62" fmla="*/ 114 w 47964"/>
                <a:gd name="connsiteY62" fmla="*/ 36338 h 85957"/>
                <a:gd name="connsiteX63" fmla="*/ 928 w 47964"/>
                <a:gd name="connsiteY63" fmla="*/ 33847 h 85957"/>
                <a:gd name="connsiteX64" fmla="*/ 926 w 47964"/>
                <a:gd name="connsiteY64" fmla="*/ 39308 h 85957"/>
                <a:gd name="connsiteX65" fmla="*/ 1673 w 47964"/>
                <a:gd name="connsiteY65" fmla="*/ 39985 h 85957"/>
                <a:gd name="connsiteX66" fmla="*/ 2235 w 47964"/>
                <a:gd name="connsiteY66" fmla="*/ 39283 h 85957"/>
                <a:gd name="connsiteX67" fmla="*/ 2745 w 47964"/>
                <a:gd name="connsiteY67" fmla="*/ 33628 h 85957"/>
                <a:gd name="connsiteX68" fmla="*/ 3163 w 47964"/>
                <a:gd name="connsiteY68" fmla="*/ 31235 h 85957"/>
                <a:gd name="connsiteX69" fmla="*/ 5174 w 47964"/>
                <a:gd name="connsiteY69" fmla="*/ 25000 h 85957"/>
                <a:gd name="connsiteX70" fmla="*/ 5215 w 47964"/>
                <a:gd name="connsiteY70" fmla="*/ 23894 h 85957"/>
                <a:gd name="connsiteX71" fmla="*/ 4867 w 47964"/>
                <a:gd name="connsiteY71" fmla="*/ 21549 h 85957"/>
                <a:gd name="connsiteX72" fmla="*/ 4889 w 47964"/>
                <a:gd name="connsiteY72" fmla="*/ 20372 h 85957"/>
                <a:gd name="connsiteX73" fmla="*/ 7895 w 47964"/>
                <a:gd name="connsiteY73" fmla="*/ 15994 h 85957"/>
                <a:gd name="connsiteX74" fmla="*/ 8664 w 47964"/>
                <a:gd name="connsiteY74" fmla="*/ 13446 h 85957"/>
                <a:gd name="connsiteX75" fmla="*/ 9078 w 47964"/>
                <a:gd name="connsiteY75" fmla="*/ 10839 h 85957"/>
                <a:gd name="connsiteX76" fmla="*/ 8914 w 47964"/>
                <a:gd name="connsiteY76" fmla="*/ 8020 h 85957"/>
                <a:gd name="connsiteX77" fmla="*/ 8370 w 47964"/>
                <a:gd name="connsiteY77" fmla="*/ 5241 h 85957"/>
                <a:gd name="connsiteX78" fmla="*/ 10797 w 47964"/>
                <a:gd name="connsiteY78" fmla="*/ 6127 h 85957"/>
                <a:gd name="connsiteX79" fmla="*/ 12132 w 47964"/>
                <a:gd name="connsiteY79" fmla="*/ 7094 h 85957"/>
                <a:gd name="connsiteX80" fmla="*/ 13492 w 47964"/>
                <a:gd name="connsiteY80" fmla="*/ 7749 h 85957"/>
                <a:gd name="connsiteX81" fmla="*/ 14597 w 47964"/>
                <a:gd name="connsiteY81" fmla="*/ 7413 h 85957"/>
                <a:gd name="connsiteX82" fmla="*/ 15932 w 47964"/>
                <a:gd name="connsiteY82" fmla="*/ 7402 h 85957"/>
                <a:gd name="connsiteX83" fmla="*/ 14982 w 47964"/>
                <a:gd name="connsiteY83" fmla="*/ 5889 h 85957"/>
                <a:gd name="connsiteX84" fmla="*/ 12157 w 47964"/>
                <a:gd name="connsiteY84" fmla="*/ 4495 h 85957"/>
                <a:gd name="connsiteX85" fmla="*/ 7474 w 47964"/>
                <a:gd name="connsiteY85" fmla="*/ 3633 h 85957"/>
                <a:gd name="connsiteX86" fmla="*/ 6007 w 47964"/>
                <a:gd name="connsiteY86" fmla="*/ 2529 h 85957"/>
                <a:gd name="connsiteX87" fmla="*/ 5444 w 47964"/>
                <a:gd name="connsiteY87" fmla="*/ 1570 h 85957"/>
                <a:gd name="connsiteX88" fmla="*/ 5731 w 47964"/>
                <a:gd name="connsiteY88" fmla="*/ 448 h 859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</a:cxnLst>
              <a:rect l="l" t="t" r="r" b="b"/>
              <a:pathLst>
                <a:path w="47964" h="85957">
                  <a:moveTo>
                    <a:pt x="881" y="15795"/>
                  </a:moveTo>
                  <a:lnTo>
                    <a:pt x="3364" y="16661"/>
                  </a:lnTo>
                  <a:lnTo>
                    <a:pt x="3693" y="16996"/>
                  </a:lnTo>
                  <a:lnTo>
                    <a:pt x="4332" y="18684"/>
                  </a:lnTo>
                  <a:lnTo>
                    <a:pt x="2505" y="17528"/>
                  </a:lnTo>
                  <a:lnTo>
                    <a:pt x="1304" y="16571"/>
                  </a:lnTo>
                  <a:close/>
                  <a:moveTo>
                    <a:pt x="3636" y="1525"/>
                  </a:moveTo>
                  <a:lnTo>
                    <a:pt x="3995" y="1596"/>
                  </a:lnTo>
                  <a:lnTo>
                    <a:pt x="4513" y="2980"/>
                  </a:lnTo>
                  <a:lnTo>
                    <a:pt x="5787" y="4062"/>
                  </a:lnTo>
                  <a:lnTo>
                    <a:pt x="4401" y="4304"/>
                  </a:lnTo>
                  <a:lnTo>
                    <a:pt x="3308" y="2819"/>
                  </a:lnTo>
                  <a:lnTo>
                    <a:pt x="3049" y="2188"/>
                  </a:lnTo>
                  <a:lnTo>
                    <a:pt x="3334" y="1748"/>
                  </a:lnTo>
                  <a:close/>
                  <a:moveTo>
                    <a:pt x="6070" y="0"/>
                  </a:moveTo>
                  <a:lnTo>
                    <a:pt x="8195" y="116"/>
                  </a:lnTo>
                  <a:lnTo>
                    <a:pt x="10462" y="60"/>
                  </a:lnTo>
                  <a:lnTo>
                    <a:pt x="12051" y="365"/>
                  </a:lnTo>
                  <a:lnTo>
                    <a:pt x="14774" y="3802"/>
                  </a:lnTo>
                  <a:lnTo>
                    <a:pt x="22186" y="9958"/>
                  </a:lnTo>
                  <a:lnTo>
                    <a:pt x="26217" y="16212"/>
                  </a:lnTo>
                  <a:lnTo>
                    <a:pt x="26584" y="17580"/>
                  </a:lnTo>
                  <a:lnTo>
                    <a:pt x="27146" y="18762"/>
                  </a:lnTo>
                  <a:lnTo>
                    <a:pt x="28113" y="19086"/>
                  </a:lnTo>
                  <a:lnTo>
                    <a:pt x="28927" y="19628"/>
                  </a:lnTo>
                  <a:lnTo>
                    <a:pt x="32957" y="25658"/>
                  </a:lnTo>
                  <a:lnTo>
                    <a:pt x="33421" y="26851"/>
                  </a:lnTo>
                  <a:lnTo>
                    <a:pt x="33354" y="28165"/>
                  </a:lnTo>
                  <a:lnTo>
                    <a:pt x="33591" y="29143"/>
                  </a:lnTo>
                  <a:lnTo>
                    <a:pt x="34645" y="29631"/>
                  </a:lnTo>
                  <a:lnTo>
                    <a:pt x="35958" y="29887"/>
                  </a:lnTo>
                  <a:lnTo>
                    <a:pt x="36817" y="30792"/>
                  </a:lnTo>
                  <a:lnTo>
                    <a:pt x="37908" y="35606"/>
                  </a:lnTo>
                  <a:lnTo>
                    <a:pt x="37908" y="37105"/>
                  </a:lnTo>
                  <a:lnTo>
                    <a:pt x="38213" y="37750"/>
                  </a:lnTo>
                  <a:lnTo>
                    <a:pt x="43287" y="45235"/>
                  </a:lnTo>
                  <a:lnTo>
                    <a:pt x="43581" y="46145"/>
                  </a:lnTo>
                  <a:lnTo>
                    <a:pt x="43527" y="46826"/>
                  </a:lnTo>
                  <a:lnTo>
                    <a:pt x="43673" y="47415"/>
                  </a:lnTo>
                  <a:lnTo>
                    <a:pt x="44656" y="48737"/>
                  </a:lnTo>
                  <a:lnTo>
                    <a:pt x="46189" y="52299"/>
                  </a:lnTo>
                  <a:lnTo>
                    <a:pt x="46971" y="53108"/>
                  </a:lnTo>
                  <a:lnTo>
                    <a:pt x="47901" y="56222"/>
                  </a:lnTo>
                  <a:lnTo>
                    <a:pt x="47964" y="62175"/>
                  </a:lnTo>
                  <a:lnTo>
                    <a:pt x="47621" y="64823"/>
                  </a:lnTo>
                  <a:lnTo>
                    <a:pt x="46673" y="68045"/>
                  </a:lnTo>
                  <a:lnTo>
                    <a:pt x="45550" y="71197"/>
                  </a:lnTo>
                  <a:lnTo>
                    <a:pt x="44332" y="73471"/>
                  </a:lnTo>
                  <a:lnTo>
                    <a:pt x="42667" y="75397"/>
                  </a:lnTo>
                  <a:lnTo>
                    <a:pt x="36975" y="79487"/>
                  </a:lnTo>
                  <a:lnTo>
                    <a:pt x="35345" y="80309"/>
                  </a:lnTo>
                  <a:lnTo>
                    <a:pt x="27934" y="82872"/>
                  </a:lnTo>
                  <a:lnTo>
                    <a:pt x="22473" y="85298"/>
                  </a:lnTo>
                  <a:lnTo>
                    <a:pt x="17424" y="85957"/>
                  </a:lnTo>
                  <a:lnTo>
                    <a:pt x="12373" y="84617"/>
                  </a:lnTo>
                  <a:lnTo>
                    <a:pt x="8569" y="81434"/>
                  </a:lnTo>
                  <a:lnTo>
                    <a:pt x="6621" y="76745"/>
                  </a:lnTo>
                  <a:lnTo>
                    <a:pt x="5288" y="71858"/>
                  </a:lnTo>
                  <a:lnTo>
                    <a:pt x="3351" y="66422"/>
                  </a:lnTo>
                  <a:lnTo>
                    <a:pt x="1864" y="49622"/>
                  </a:lnTo>
                  <a:lnTo>
                    <a:pt x="1153" y="44923"/>
                  </a:lnTo>
                  <a:lnTo>
                    <a:pt x="0" y="38934"/>
                  </a:lnTo>
                  <a:lnTo>
                    <a:pt x="114" y="36338"/>
                  </a:lnTo>
                  <a:lnTo>
                    <a:pt x="928" y="33847"/>
                  </a:lnTo>
                  <a:lnTo>
                    <a:pt x="926" y="39308"/>
                  </a:lnTo>
                  <a:lnTo>
                    <a:pt x="1673" y="39985"/>
                  </a:lnTo>
                  <a:lnTo>
                    <a:pt x="2235" y="39283"/>
                  </a:lnTo>
                  <a:lnTo>
                    <a:pt x="2745" y="33628"/>
                  </a:lnTo>
                  <a:lnTo>
                    <a:pt x="3163" y="31235"/>
                  </a:lnTo>
                  <a:lnTo>
                    <a:pt x="5174" y="25000"/>
                  </a:lnTo>
                  <a:lnTo>
                    <a:pt x="5215" y="23894"/>
                  </a:lnTo>
                  <a:lnTo>
                    <a:pt x="4867" y="21549"/>
                  </a:lnTo>
                  <a:lnTo>
                    <a:pt x="4889" y="20372"/>
                  </a:lnTo>
                  <a:lnTo>
                    <a:pt x="7895" y="15994"/>
                  </a:lnTo>
                  <a:lnTo>
                    <a:pt x="8664" y="13446"/>
                  </a:lnTo>
                  <a:lnTo>
                    <a:pt x="9078" y="10839"/>
                  </a:lnTo>
                  <a:lnTo>
                    <a:pt x="8914" y="8020"/>
                  </a:lnTo>
                  <a:lnTo>
                    <a:pt x="8370" y="5241"/>
                  </a:lnTo>
                  <a:lnTo>
                    <a:pt x="10797" y="6127"/>
                  </a:lnTo>
                  <a:lnTo>
                    <a:pt x="12132" y="7094"/>
                  </a:lnTo>
                  <a:lnTo>
                    <a:pt x="13492" y="7749"/>
                  </a:lnTo>
                  <a:lnTo>
                    <a:pt x="14597" y="7413"/>
                  </a:lnTo>
                  <a:lnTo>
                    <a:pt x="15932" y="7402"/>
                  </a:lnTo>
                  <a:lnTo>
                    <a:pt x="14982" y="5889"/>
                  </a:lnTo>
                  <a:lnTo>
                    <a:pt x="12157" y="4495"/>
                  </a:lnTo>
                  <a:lnTo>
                    <a:pt x="7474" y="3633"/>
                  </a:lnTo>
                  <a:lnTo>
                    <a:pt x="6007" y="2529"/>
                  </a:lnTo>
                  <a:lnTo>
                    <a:pt x="5444" y="1570"/>
                  </a:lnTo>
                  <a:lnTo>
                    <a:pt x="5731" y="448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89" name="ee4p_MM_1_37365">
              <a:extLst>
                <a:ext uri="{FF2B5EF4-FFF2-40B4-BE49-F238E27FC236}">
                  <a16:creationId xmlns:a16="http://schemas.microsoft.com/office/drawing/2014/main" id="{326012F7-2DC1-D02E-AA57-ECBE8612E0D9}"/>
                </a:ext>
              </a:extLst>
            </p:cNvPr>
            <p:cNvSpPr>
              <a:spLocks noChangeAspect="1"/>
            </p:cNvSpPr>
            <p:nvPr>
              <p:custDataLst>
                <p:tags r:id="rId243"/>
              </p:custDataLst>
            </p:nvPr>
          </p:nvSpPr>
          <p:spPr>
            <a:xfrm>
              <a:off x="9074468" y="3839933"/>
              <a:ext cx="249027" cy="553252"/>
            </a:xfrm>
            <a:custGeom>
              <a:avLst/>
              <a:gdLst>
                <a:gd name="connsiteX0" fmla="*/ 135152 w 198295"/>
                <a:gd name="connsiteY0" fmla="*/ 424937 h 428865"/>
                <a:gd name="connsiteX1" fmla="*/ 134968 w 198295"/>
                <a:gd name="connsiteY1" fmla="*/ 425913 h 428865"/>
                <a:gd name="connsiteX2" fmla="*/ 133816 w 198295"/>
                <a:gd name="connsiteY2" fmla="*/ 427111 h 428865"/>
                <a:gd name="connsiteX3" fmla="*/ 132740 w 198295"/>
                <a:gd name="connsiteY3" fmla="*/ 427569 h 428865"/>
                <a:gd name="connsiteX4" fmla="*/ 131673 w 198295"/>
                <a:gd name="connsiteY4" fmla="*/ 428865 h 428865"/>
                <a:gd name="connsiteX5" fmla="*/ 131313 w 198295"/>
                <a:gd name="connsiteY5" fmla="*/ 428810 h 428865"/>
                <a:gd name="connsiteX6" fmla="*/ 131802 w 198295"/>
                <a:gd name="connsiteY6" fmla="*/ 426649 h 428865"/>
                <a:gd name="connsiteX7" fmla="*/ 133582 w 198295"/>
                <a:gd name="connsiteY7" fmla="*/ 425073 h 428865"/>
                <a:gd name="connsiteX8" fmla="*/ 132401 w 198295"/>
                <a:gd name="connsiteY8" fmla="*/ 404171 h 428865"/>
                <a:gd name="connsiteX9" fmla="*/ 133340 w 198295"/>
                <a:gd name="connsiteY9" fmla="*/ 404789 h 428865"/>
                <a:gd name="connsiteX10" fmla="*/ 135191 w 198295"/>
                <a:gd name="connsiteY10" fmla="*/ 408659 h 428865"/>
                <a:gd name="connsiteX11" fmla="*/ 134990 w 198295"/>
                <a:gd name="connsiteY11" fmla="*/ 409253 h 428865"/>
                <a:gd name="connsiteX12" fmla="*/ 134705 w 198295"/>
                <a:gd name="connsiteY12" fmla="*/ 409550 h 428865"/>
                <a:gd name="connsiteX13" fmla="*/ 134268 w 198295"/>
                <a:gd name="connsiteY13" fmla="*/ 409448 h 428865"/>
                <a:gd name="connsiteX14" fmla="*/ 133526 w 198295"/>
                <a:gd name="connsiteY14" fmla="*/ 407361 h 428865"/>
                <a:gd name="connsiteX15" fmla="*/ 132137 w 198295"/>
                <a:gd name="connsiteY15" fmla="*/ 406014 h 428865"/>
                <a:gd name="connsiteX16" fmla="*/ 130481 w 198295"/>
                <a:gd name="connsiteY16" fmla="*/ 406268 h 428865"/>
                <a:gd name="connsiteX17" fmla="*/ 131854 w 198295"/>
                <a:gd name="connsiteY17" fmla="*/ 404556 h 428865"/>
                <a:gd name="connsiteX18" fmla="*/ 140345 w 198295"/>
                <a:gd name="connsiteY18" fmla="*/ 401785 h 428865"/>
                <a:gd name="connsiteX19" fmla="*/ 140680 w 198295"/>
                <a:gd name="connsiteY19" fmla="*/ 404592 h 428865"/>
                <a:gd name="connsiteX20" fmla="*/ 140176 w 198295"/>
                <a:gd name="connsiteY20" fmla="*/ 404640 h 428865"/>
                <a:gd name="connsiteX21" fmla="*/ 139714 w 198295"/>
                <a:gd name="connsiteY21" fmla="*/ 404531 h 428865"/>
                <a:gd name="connsiteX22" fmla="*/ 139259 w 198295"/>
                <a:gd name="connsiteY22" fmla="*/ 404184 h 428865"/>
                <a:gd name="connsiteX23" fmla="*/ 135327 w 198295"/>
                <a:gd name="connsiteY23" fmla="*/ 386196 h 428865"/>
                <a:gd name="connsiteX24" fmla="*/ 135501 w 198295"/>
                <a:gd name="connsiteY24" fmla="*/ 387543 h 428865"/>
                <a:gd name="connsiteX25" fmla="*/ 134977 w 198295"/>
                <a:gd name="connsiteY25" fmla="*/ 390429 h 428865"/>
                <a:gd name="connsiteX26" fmla="*/ 134523 w 198295"/>
                <a:gd name="connsiteY26" fmla="*/ 392008 h 428865"/>
                <a:gd name="connsiteX27" fmla="*/ 133604 w 198295"/>
                <a:gd name="connsiteY27" fmla="*/ 393025 h 428865"/>
                <a:gd name="connsiteX28" fmla="*/ 133483 w 198295"/>
                <a:gd name="connsiteY28" fmla="*/ 393528 h 428865"/>
                <a:gd name="connsiteX29" fmla="*/ 133331 w 198295"/>
                <a:gd name="connsiteY29" fmla="*/ 393511 h 428865"/>
                <a:gd name="connsiteX30" fmla="*/ 132844 w 198295"/>
                <a:gd name="connsiteY30" fmla="*/ 393155 h 428865"/>
                <a:gd name="connsiteX31" fmla="*/ 133148 w 198295"/>
                <a:gd name="connsiteY31" fmla="*/ 391032 h 428865"/>
                <a:gd name="connsiteX32" fmla="*/ 133988 w 198295"/>
                <a:gd name="connsiteY32" fmla="*/ 389295 h 428865"/>
                <a:gd name="connsiteX33" fmla="*/ 134852 w 198295"/>
                <a:gd name="connsiteY33" fmla="*/ 386747 h 428865"/>
                <a:gd name="connsiteX34" fmla="*/ 140279 w 198295"/>
                <a:gd name="connsiteY34" fmla="*/ 385704 h 428865"/>
                <a:gd name="connsiteX35" fmla="*/ 140948 w 198295"/>
                <a:gd name="connsiteY35" fmla="*/ 387051 h 428865"/>
                <a:gd name="connsiteX36" fmla="*/ 140386 w 198295"/>
                <a:gd name="connsiteY36" fmla="*/ 391671 h 428865"/>
                <a:gd name="connsiteX37" fmla="*/ 138980 w 198295"/>
                <a:gd name="connsiteY37" fmla="*/ 391032 h 428865"/>
                <a:gd name="connsiteX38" fmla="*/ 138315 w 198295"/>
                <a:gd name="connsiteY38" fmla="*/ 391034 h 428865"/>
                <a:gd name="connsiteX39" fmla="*/ 137477 w 198295"/>
                <a:gd name="connsiteY39" fmla="*/ 388425 h 428865"/>
                <a:gd name="connsiteX40" fmla="*/ 137536 w 198295"/>
                <a:gd name="connsiteY40" fmla="*/ 387723 h 428865"/>
                <a:gd name="connsiteX41" fmla="*/ 137026 w 198295"/>
                <a:gd name="connsiteY41" fmla="*/ 386005 h 428865"/>
                <a:gd name="connsiteX42" fmla="*/ 128931 w 198295"/>
                <a:gd name="connsiteY42" fmla="*/ 384464 h 428865"/>
                <a:gd name="connsiteX43" fmla="*/ 130019 w 198295"/>
                <a:gd name="connsiteY43" fmla="*/ 386785 h 428865"/>
                <a:gd name="connsiteX44" fmla="*/ 130488 w 198295"/>
                <a:gd name="connsiteY44" fmla="*/ 387312 h 428865"/>
                <a:gd name="connsiteX45" fmla="*/ 130371 w 198295"/>
                <a:gd name="connsiteY45" fmla="*/ 388227 h 428865"/>
                <a:gd name="connsiteX46" fmla="*/ 130551 w 198295"/>
                <a:gd name="connsiteY46" fmla="*/ 389472 h 428865"/>
                <a:gd name="connsiteX47" fmla="*/ 129169 w 198295"/>
                <a:gd name="connsiteY47" fmla="*/ 388148 h 428865"/>
                <a:gd name="connsiteX48" fmla="*/ 139011 w 198295"/>
                <a:gd name="connsiteY48" fmla="*/ 379441 h 428865"/>
                <a:gd name="connsiteX49" fmla="*/ 140317 w 198295"/>
                <a:gd name="connsiteY49" fmla="*/ 381214 h 428865"/>
                <a:gd name="connsiteX50" fmla="*/ 142181 w 198295"/>
                <a:gd name="connsiteY50" fmla="*/ 382303 h 428865"/>
                <a:gd name="connsiteX51" fmla="*/ 141448 w 198295"/>
                <a:gd name="connsiteY51" fmla="*/ 383010 h 428865"/>
                <a:gd name="connsiteX52" fmla="*/ 140112 w 198295"/>
                <a:gd name="connsiteY52" fmla="*/ 383460 h 428865"/>
                <a:gd name="connsiteX53" fmla="*/ 139190 w 198295"/>
                <a:gd name="connsiteY53" fmla="*/ 383586 h 428865"/>
                <a:gd name="connsiteX54" fmla="*/ 138752 w 198295"/>
                <a:gd name="connsiteY54" fmla="*/ 379956 h 428865"/>
                <a:gd name="connsiteX55" fmla="*/ 130280 w 198295"/>
                <a:gd name="connsiteY55" fmla="*/ 374785 h 428865"/>
                <a:gd name="connsiteX56" fmla="*/ 131021 w 198295"/>
                <a:gd name="connsiteY56" fmla="*/ 374874 h 428865"/>
                <a:gd name="connsiteX57" fmla="*/ 131409 w 198295"/>
                <a:gd name="connsiteY57" fmla="*/ 375078 h 428865"/>
                <a:gd name="connsiteX58" fmla="*/ 131541 w 198295"/>
                <a:gd name="connsiteY58" fmla="*/ 375470 h 428865"/>
                <a:gd name="connsiteX59" fmla="*/ 131321 w 198295"/>
                <a:gd name="connsiteY59" fmla="*/ 376319 h 428865"/>
                <a:gd name="connsiteX60" fmla="*/ 131358 w 198295"/>
                <a:gd name="connsiteY60" fmla="*/ 377039 h 428865"/>
                <a:gd name="connsiteX61" fmla="*/ 131725 w 198295"/>
                <a:gd name="connsiteY61" fmla="*/ 377956 h 428865"/>
                <a:gd name="connsiteX62" fmla="*/ 131468 w 198295"/>
                <a:gd name="connsiteY62" fmla="*/ 378081 h 428865"/>
                <a:gd name="connsiteX63" fmla="*/ 131101 w 198295"/>
                <a:gd name="connsiteY63" fmla="*/ 378009 h 428865"/>
                <a:gd name="connsiteX64" fmla="*/ 130369 w 198295"/>
                <a:gd name="connsiteY64" fmla="*/ 377642 h 428865"/>
                <a:gd name="connsiteX65" fmla="*/ 129527 w 198295"/>
                <a:gd name="connsiteY65" fmla="*/ 376116 h 428865"/>
                <a:gd name="connsiteX66" fmla="*/ 129969 w 198295"/>
                <a:gd name="connsiteY66" fmla="*/ 375047 h 428865"/>
                <a:gd name="connsiteX67" fmla="*/ 130025 w 198295"/>
                <a:gd name="connsiteY67" fmla="*/ 372404 h 428865"/>
                <a:gd name="connsiteX68" fmla="*/ 130164 w 198295"/>
                <a:gd name="connsiteY68" fmla="*/ 372585 h 428865"/>
                <a:gd name="connsiteX69" fmla="*/ 130036 w 198295"/>
                <a:gd name="connsiteY69" fmla="*/ 373399 h 428865"/>
                <a:gd name="connsiteX70" fmla="*/ 128754 w 198295"/>
                <a:gd name="connsiteY70" fmla="*/ 375071 h 428865"/>
                <a:gd name="connsiteX71" fmla="*/ 127635 w 198295"/>
                <a:gd name="connsiteY71" fmla="*/ 374099 h 428865"/>
                <a:gd name="connsiteX72" fmla="*/ 127346 w 198295"/>
                <a:gd name="connsiteY72" fmla="*/ 373566 h 428865"/>
                <a:gd name="connsiteX73" fmla="*/ 128486 w 198295"/>
                <a:gd name="connsiteY73" fmla="*/ 372495 h 428865"/>
                <a:gd name="connsiteX74" fmla="*/ 129700 w 198295"/>
                <a:gd name="connsiteY74" fmla="*/ 372648 h 428865"/>
                <a:gd name="connsiteX75" fmla="*/ 135603 w 198295"/>
                <a:gd name="connsiteY75" fmla="*/ 366109 h 428865"/>
                <a:gd name="connsiteX76" fmla="*/ 137469 w 198295"/>
                <a:gd name="connsiteY76" fmla="*/ 366807 h 428865"/>
                <a:gd name="connsiteX77" fmla="*/ 137856 w 198295"/>
                <a:gd name="connsiteY77" fmla="*/ 367911 h 428865"/>
                <a:gd name="connsiteX78" fmla="*/ 138352 w 198295"/>
                <a:gd name="connsiteY78" fmla="*/ 368528 h 428865"/>
                <a:gd name="connsiteX79" fmla="*/ 139056 w 198295"/>
                <a:gd name="connsiteY79" fmla="*/ 368509 h 428865"/>
                <a:gd name="connsiteX80" fmla="*/ 138862 w 198295"/>
                <a:gd name="connsiteY80" fmla="*/ 370701 h 428865"/>
                <a:gd name="connsiteX81" fmla="*/ 137123 w 198295"/>
                <a:gd name="connsiteY81" fmla="*/ 373396 h 428865"/>
                <a:gd name="connsiteX82" fmla="*/ 136098 w 198295"/>
                <a:gd name="connsiteY82" fmla="*/ 373788 h 428865"/>
                <a:gd name="connsiteX83" fmla="*/ 135642 w 198295"/>
                <a:gd name="connsiteY83" fmla="*/ 373793 h 428865"/>
                <a:gd name="connsiteX84" fmla="*/ 136031 w 198295"/>
                <a:gd name="connsiteY84" fmla="*/ 369854 h 428865"/>
                <a:gd name="connsiteX85" fmla="*/ 135391 w 198295"/>
                <a:gd name="connsiteY85" fmla="*/ 367605 h 428865"/>
                <a:gd name="connsiteX86" fmla="*/ 134569 w 198295"/>
                <a:gd name="connsiteY86" fmla="*/ 354329 h 428865"/>
                <a:gd name="connsiteX87" fmla="*/ 134640 w 198295"/>
                <a:gd name="connsiteY87" fmla="*/ 354619 h 428865"/>
                <a:gd name="connsiteX88" fmla="*/ 135305 w 198295"/>
                <a:gd name="connsiteY88" fmla="*/ 355467 h 428865"/>
                <a:gd name="connsiteX89" fmla="*/ 135677 w 198295"/>
                <a:gd name="connsiteY89" fmla="*/ 356650 h 428865"/>
                <a:gd name="connsiteX90" fmla="*/ 135539 w 198295"/>
                <a:gd name="connsiteY90" fmla="*/ 360345 h 428865"/>
                <a:gd name="connsiteX91" fmla="*/ 134435 w 198295"/>
                <a:gd name="connsiteY91" fmla="*/ 358562 h 428865"/>
                <a:gd name="connsiteX92" fmla="*/ 134247 w 198295"/>
                <a:gd name="connsiteY92" fmla="*/ 356530 h 428865"/>
                <a:gd name="connsiteX93" fmla="*/ 134332 w 198295"/>
                <a:gd name="connsiteY93" fmla="*/ 354637 h 428865"/>
                <a:gd name="connsiteX94" fmla="*/ 58563 w 198295"/>
                <a:gd name="connsiteY94" fmla="*/ 292671 h 428865"/>
                <a:gd name="connsiteX95" fmla="*/ 58788 w 198295"/>
                <a:gd name="connsiteY95" fmla="*/ 293599 h 428865"/>
                <a:gd name="connsiteX96" fmla="*/ 58051 w 198295"/>
                <a:gd name="connsiteY96" fmla="*/ 295248 h 428865"/>
                <a:gd name="connsiteX97" fmla="*/ 57598 w 198295"/>
                <a:gd name="connsiteY97" fmla="*/ 295826 h 428865"/>
                <a:gd name="connsiteX98" fmla="*/ 56691 w 198295"/>
                <a:gd name="connsiteY98" fmla="*/ 295412 h 428865"/>
                <a:gd name="connsiteX99" fmla="*/ 56472 w 198295"/>
                <a:gd name="connsiteY99" fmla="*/ 295164 h 428865"/>
                <a:gd name="connsiteX100" fmla="*/ 53549 w 198295"/>
                <a:gd name="connsiteY100" fmla="*/ 286490 h 428865"/>
                <a:gd name="connsiteX101" fmla="*/ 53933 w 198295"/>
                <a:gd name="connsiteY101" fmla="*/ 287947 h 428865"/>
                <a:gd name="connsiteX102" fmla="*/ 52772 w 198295"/>
                <a:gd name="connsiteY102" fmla="*/ 290715 h 428865"/>
                <a:gd name="connsiteX103" fmla="*/ 50796 w 198295"/>
                <a:gd name="connsiteY103" fmla="*/ 292378 h 428865"/>
                <a:gd name="connsiteX104" fmla="*/ 49362 w 198295"/>
                <a:gd name="connsiteY104" fmla="*/ 294590 h 428865"/>
                <a:gd name="connsiteX105" fmla="*/ 48831 w 198295"/>
                <a:gd name="connsiteY105" fmla="*/ 291285 h 428865"/>
                <a:gd name="connsiteX106" fmla="*/ 51171 w 198295"/>
                <a:gd name="connsiteY106" fmla="*/ 289444 h 428865"/>
                <a:gd name="connsiteX107" fmla="*/ 52327 w 198295"/>
                <a:gd name="connsiteY107" fmla="*/ 287686 h 428865"/>
                <a:gd name="connsiteX108" fmla="*/ 118575 w 198295"/>
                <a:gd name="connsiteY108" fmla="*/ 279690 h 428865"/>
                <a:gd name="connsiteX109" fmla="*/ 119392 w 198295"/>
                <a:gd name="connsiteY109" fmla="*/ 280123 h 428865"/>
                <a:gd name="connsiteX110" fmla="*/ 119708 w 198295"/>
                <a:gd name="connsiteY110" fmla="*/ 280696 h 428865"/>
                <a:gd name="connsiteX111" fmla="*/ 119848 w 198295"/>
                <a:gd name="connsiteY111" fmla="*/ 281405 h 428865"/>
                <a:gd name="connsiteX112" fmla="*/ 119622 w 198295"/>
                <a:gd name="connsiteY112" fmla="*/ 282136 h 428865"/>
                <a:gd name="connsiteX113" fmla="*/ 119304 w 198295"/>
                <a:gd name="connsiteY113" fmla="*/ 285408 h 428865"/>
                <a:gd name="connsiteX114" fmla="*/ 118468 w 198295"/>
                <a:gd name="connsiteY114" fmla="*/ 285705 h 428865"/>
                <a:gd name="connsiteX115" fmla="*/ 117212 w 198295"/>
                <a:gd name="connsiteY115" fmla="*/ 284217 h 428865"/>
                <a:gd name="connsiteX116" fmla="*/ 116963 w 198295"/>
                <a:gd name="connsiteY116" fmla="*/ 280690 h 428865"/>
                <a:gd name="connsiteX117" fmla="*/ 118009 w 198295"/>
                <a:gd name="connsiteY117" fmla="*/ 279876 h 428865"/>
                <a:gd name="connsiteX118" fmla="*/ 31812 w 198295"/>
                <a:gd name="connsiteY118" fmla="*/ 225327 h 428865"/>
                <a:gd name="connsiteX119" fmla="*/ 34608 w 198295"/>
                <a:gd name="connsiteY119" fmla="*/ 225860 h 428865"/>
                <a:gd name="connsiteX120" fmla="*/ 34626 w 198295"/>
                <a:gd name="connsiteY120" fmla="*/ 227176 h 428865"/>
                <a:gd name="connsiteX121" fmla="*/ 34026 w 198295"/>
                <a:gd name="connsiteY121" fmla="*/ 229290 h 428865"/>
                <a:gd name="connsiteX122" fmla="*/ 33417 w 198295"/>
                <a:gd name="connsiteY122" fmla="*/ 230010 h 428865"/>
                <a:gd name="connsiteX123" fmla="*/ 33046 w 198295"/>
                <a:gd name="connsiteY123" fmla="*/ 230206 h 428865"/>
                <a:gd name="connsiteX124" fmla="*/ 30744 w 198295"/>
                <a:gd name="connsiteY124" fmla="*/ 228286 h 428865"/>
                <a:gd name="connsiteX125" fmla="*/ 28921 w 198295"/>
                <a:gd name="connsiteY125" fmla="*/ 225814 h 428865"/>
                <a:gd name="connsiteX126" fmla="*/ 33948 w 198295"/>
                <a:gd name="connsiteY126" fmla="*/ 209974 h 428865"/>
                <a:gd name="connsiteX127" fmla="*/ 36483 w 198295"/>
                <a:gd name="connsiteY127" fmla="*/ 211879 h 428865"/>
                <a:gd name="connsiteX128" fmla="*/ 37483 w 198295"/>
                <a:gd name="connsiteY128" fmla="*/ 211747 h 428865"/>
                <a:gd name="connsiteX129" fmla="*/ 39052 w 198295"/>
                <a:gd name="connsiteY129" fmla="*/ 212950 h 428865"/>
                <a:gd name="connsiteX130" fmla="*/ 39092 w 198295"/>
                <a:gd name="connsiteY130" fmla="*/ 213420 h 428865"/>
                <a:gd name="connsiteX131" fmla="*/ 38793 w 198295"/>
                <a:gd name="connsiteY131" fmla="*/ 214400 h 428865"/>
                <a:gd name="connsiteX132" fmla="*/ 38086 w 198295"/>
                <a:gd name="connsiteY132" fmla="*/ 215167 h 428865"/>
                <a:gd name="connsiteX133" fmla="*/ 36168 w 198295"/>
                <a:gd name="connsiteY133" fmla="*/ 215932 h 428865"/>
                <a:gd name="connsiteX134" fmla="*/ 34855 w 198295"/>
                <a:gd name="connsiteY134" fmla="*/ 215312 h 428865"/>
                <a:gd name="connsiteX135" fmla="*/ 34335 w 198295"/>
                <a:gd name="connsiteY135" fmla="*/ 213233 h 428865"/>
                <a:gd name="connsiteX136" fmla="*/ 32784 w 198295"/>
                <a:gd name="connsiteY136" fmla="*/ 212255 h 428865"/>
                <a:gd name="connsiteX137" fmla="*/ 32382 w 198295"/>
                <a:gd name="connsiteY137" fmla="*/ 211425 h 428865"/>
                <a:gd name="connsiteX138" fmla="*/ 33363 w 198295"/>
                <a:gd name="connsiteY138" fmla="*/ 210292 h 428865"/>
                <a:gd name="connsiteX139" fmla="*/ 27271 w 198295"/>
                <a:gd name="connsiteY139" fmla="*/ 200964 h 428865"/>
                <a:gd name="connsiteX140" fmla="*/ 29016 w 198295"/>
                <a:gd name="connsiteY140" fmla="*/ 202292 h 428865"/>
                <a:gd name="connsiteX141" fmla="*/ 29491 w 198295"/>
                <a:gd name="connsiteY141" fmla="*/ 205459 h 428865"/>
                <a:gd name="connsiteX142" fmla="*/ 27973 w 198295"/>
                <a:gd name="connsiteY142" fmla="*/ 204272 h 428865"/>
                <a:gd name="connsiteX143" fmla="*/ 27418 w 198295"/>
                <a:gd name="connsiteY143" fmla="*/ 202637 h 428865"/>
                <a:gd name="connsiteX144" fmla="*/ 16254 w 198295"/>
                <a:gd name="connsiteY144" fmla="*/ 197832 h 428865"/>
                <a:gd name="connsiteX145" fmla="*/ 17247 w 198295"/>
                <a:gd name="connsiteY145" fmla="*/ 198759 h 428865"/>
                <a:gd name="connsiteX146" fmla="*/ 18366 w 198295"/>
                <a:gd name="connsiteY146" fmla="*/ 201571 h 428865"/>
                <a:gd name="connsiteX147" fmla="*/ 18655 w 198295"/>
                <a:gd name="connsiteY147" fmla="*/ 203757 h 428865"/>
                <a:gd name="connsiteX148" fmla="*/ 17593 w 198295"/>
                <a:gd name="connsiteY148" fmla="*/ 202857 h 428865"/>
                <a:gd name="connsiteX149" fmla="*/ 16211 w 198295"/>
                <a:gd name="connsiteY149" fmla="*/ 199826 h 428865"/>
                <a:gd name="connsiteX150" fmla="*/ 119840 w 198295"/>
                <a:gd name="connsiteY150" fmla="*/ 0 h 428865"/>
                <a:gd name="connsiteX151" fmla="*/ 121159 w 198295"/>
                <a:gd name="connsiteY151" fmla="*/ 409 h 428865"/>
                <a:gd name="connsiteX152" fmla="*/ 121950 w 198295"/>
                <a:gd name="connsiteY152" fmla="*/ 1144 h 428865"/>
                <a:gd name="connsiteX153" fmla="*/ 122733 w 198295"/>
                <a:gd name="connsiteY153" fmla="*/ 2636 h 428865"/>
                <a:gd name="connsiteX154" fmla="*/ 123595 w 198295"/>
                <a:gd name="connsiteY154" fmla="*/ 3858 h 428865"/>
                <a:gd name="connsiteX155" fmla="*/ 124644 w 198295"/>
                <a:gd name="connsiteY155" fmla="*/ 3853 h 428865"/>
                <a:gd name="connsiteX156" fmla="*/ 125715 w 198295"/>
                <a:gd name="connsiteY156" fmla="*/ 3680 h 428865"/>
                <a:gd name="connsiteX157" fmla="*/ 126216 w 198295"/>
                <a:gd name="connsiteY157" fmla="*/ 3850 h 428865"/>
                <a:gd name="connsiteX158" fmla="*/ 127244 w 198295"/>
                <a:gd name="connsiteY158" fmla="*/ 4872 h 428865"/>
                <a:gd name="connsiteX159" fmla="*/ 129194 w 198295"/>
                <a:gd name="connsiteY159" fmla="*/ 7322 h 428865"/>
                <a:gd name="connsiteX160" fmla="*/ 130065 w 198295"/>
                <a:gd name="connsiteY160" fmla="*/ 7936 h 428865"/>
                <a:gd name="connsiteX161" fmla="*/ 130889 w 198295"/>
                <a:gd name="connsiteY161" fmla="*/ 8980 h 428865"/>
                <a:gd name="connsiteX162" fmla="*/ 131319 w 198295"/>
                <a:gd name="connsiteY162" fmla="*/ 11063 h 428865"/>
                <a:gd name="connsiteX163" fmla="*/ 131587 w 198295"/>
                <a:gd name="connsiteY163" fmla="*/ 13160 h 428865"/>
                <a:gd name="connsiteX164" fmla="*/ 134031 w 198295"/>
                <a:gd name="connsiteY164" fmla="*/ 20432 h 428865"/>
                <a:gd name="connsiteX165" fmla="*/ 134765 w 198295"/>
                <a:gd name="connsiteY165" fmla="*/ 21962 h 428865"/>
                <a:gd name="connsiteX166" fmla="*/ 135309 w 198295"/>
                <a:gd name="connsiteY166" fmla="*/ 23131 h 428865"/>
                <a:gd name="connsiteX167" fmla="*/ 136452 w 198295"/>
                <a:gd name="connsiteY167" fmla="*/ 23417 h 428865"/>
                <a:gd name="connsiteX168" fmla="*/ 137378 w 198295"/>
                <a:gd name="connsiteY168" fmla="*/ 22249 h 428865"/>
                <a:gd name="connsiteX169" fmla="*/ 137743 w 198295"/>
                <a:gd name="connsiteY169" fmla="*/ 20998 h 428865"/>
                <a:gd name="connsiteX170" fmla="*/ 138708 w 198295"/>
                <a:gd name="connsiteY170" fmla="*/ 20574 h 428865"/>
                <a:gd name="connsiteX171" fmla="*/ 139857 w 198295"/>
                <a:gd name="connsiteY171" fmla="*/ 20803 h 428865"/>
                <a:gd name="connsiteX172" fmla="*/ 141965 w 198295"/>
                <a:gd name="connsiteY172" fmla="*/ 21968 h 428865"/>
                <a:gd name="connsiteX173" fmla="*/ 143100 w 198295"/>
                <a:gd name="connsiteY173" fmla="*/ 22597 h 428865"/>
                <a:gd name="connsiteX174" fmla="*/ 143666 w 198295"/>
                <a:gd name="connsiteY174" fmla="*/ 26187 h 428865"/>
                <a:gd name="connsiteX175" fmla="*/ 143792 w 198295"/>
                <a:gd name="connsiteY175" fmla="*/ 30395 h 428865"/>
                <a:gd name="connsiteX176" fmla="*/ 143623 w 198295"/>
                <a:gd name="connsiteY176" fmla="*/ 31697 h 428865"/>
                <a:gd name="connsiteX177" fmla="*/ 144545 w 198295"/>
                <a:gd name="connsiteY177" fmla="*/ 35165 h 428865"/>
                <a:gd name="connsiteX178" fmla="*/ 144833 w 198295"/>
                <a:gd name="connsiteY178" fmla="*/ 39148 h 428865"/>
                <a:gd name="connsiteX179" fmla="*/ 145031 w 198295"/>
                <a:gd name="connsiteY179" fmla="*/ 41326 h 428865"/>
                <a:gd name="connsiteX180" fmla="*/ 145051 w 198295"/>
                <a:gd name="connsiteY180" fmla="*/ 43406 h 428865"/>
                <a:gd name="connsiteX181" fmla="*/ 144884 w 198295"/>
                <a:gd name="connsiteY181" fmla="*/ 46130 h 428865"/>
                <a:gd name="connsiteX182" fmla="*/ 144390 w 198295"/>
                <a:gd name="connsiteY182" fmla="*/ 49775 h 428865"/>
                <a:gd name="connsiteX183" fmla="*/ 143558 w 198295"/>
                <a:gd name="connsiteY183" fmla="*/ 52884 h 428865"/>
                <a:gd name="connsiteX184" fmla="*/ 143861 w 198295"/>
                <a:gd name="connsiteY184" fmla="*/ 55470 h 428865"/>
                <a:gd name="connsiteX185" fmla="*/ 143366 w 198295"/>
                <a:gd name="connsiteY185" fmla="*/ 56651 h 428865"/>
                <a:gd name="connsiteX186" fmla="*/ 141349 w 198295"/>
                <a:gd name="connsiteY186" fmla="*/ 57252 h 428865"/>
                <a:gd name="connsiteX187" fmla="*/ 141175 w 198295"/>
                <a:gd name="connsiteY187" fmla="*/ 58238 h 428865"/>
                <a:gd name="connsiteX188" fmla="*/ 141771 w 198295"/>
                <a:gd name="connsiteY188" fmla="*/ 59863 h 428865"/>
                <a:gd name="connsiteX189" fmla="*/ 143179 w 198295"/>
                <a:gd name="connsiteY189" fmla="*/ 61895 h 428865"/>
                <a:gd name="connsiteX190" fmla="*/ 143213 w 198295"/>
                <a:gd name="connsiteY190" fmla="*/ 63177 h 428865"/>
                <a:gd name="connsiteX191" fmla="*/ 142531 w 198295"/>
                <a:gd name="connsiteY191" fmla="*/ 64048 h 428865"/>
                <a:gd name="connsiteX192" fmla="*/ 141049 w 198295"/>
                <a:gd name="connsiteY192" fmla="*/ 64130 h 428865"/>
                <a:gd name="connsiteX193" fmla="*/ 138996 w 198295"/>
                <a:gd name="connsiteY193" fmla="*/ 64942 h 428865"/>
                <a:gd name="connsiteX194" fmla="*/ 137584 w 198295"/>
                <a:gd name="connsiteY194" fmla="*/ 67561 h 428865"/>
                <a:gd name="connsiteX195" fmla="*/ 136083 w 198295"/>
                <a:gd name="connsiteY195" fmla="*/ 69715 h 428865"/>
                <a:gd name="connsiteX196" fmla="*/ 135260 w 198295"/>
                <a:gd name="connsiteY196" fmla="*/ 70137 h 428865"/>
                <a:gd name="connsiteX197" fmla="*/ 132518 w 198295"/>
                <a:gd name="connsiteY197" fmla="*/ 69531 h 428865"/>
                <a:gd name="connsiteX198" fmla="*/ 131861 w 198295"/>
                <a:gd name="connsiteY198" fmla="*/ 70085 h 428865"/>
                <a:gd name="connsiteX199" fmla="*/ 130904 w 198295"/>
                <a:gd name="connsiteY199" fmla="*/ 73750 h 428865"/>
                <a:gd name="connsiteX200" fmla="*/ 130118 w 198295"/>
                <a:gd name="connsiteY200" fmla="*/ 75323 h 428865"/>
                <a:gd name="connsiteX201" fmla="*/ 128939 w 198295"/>
                <a:gd name="connsiteY201" fmla="*/ 76654 h 428865"/>
                <a:gd name="connsiteX202" fmla="*/ 127862 w 198295"/>
                <a:gd name="connsiteY202" fmla="*/ 77437 h 428865"/>
                <a:gd name="connsiteX203" fmla="*/ 126888 w 198295"/>
                <a:gd name="connsiteY203" fmla="*/ 77983 h 428865"/>
                <a:gd name="connsiteX204" fmla="*/ 124711 w 198295"/>
                <a:gd name="connsiteY204" fmla="*/ 77612 h 428865"/>
                <a:gd name="connsiteX205" fmla="*/ 123558 w 198295"/>
                <a:gd name="connsiteY205" fmla="*/ 79822 h 428865"/>
                <a:gd name="connsiteX206" fmla="*/ 122398 w 198295"/>
                <a:gd name="connsiteY206" fmla="*/ 82735 h 428865"/>
                <a:gd name="connsiteX207" fmla="*/ 122305 w 198295"/>
                <a:gd name="connsiteY207" fmla="*/ 84240 h 428865"/>
                <a:gd name="connsiteX208" fmla="*/ 122906 w 198295"/>
                <a:gd name="connsiteY208" fmla="*/ 86604 h 428865"/>
                <a:gd name="connsiteX209" fmla="*/ 122595 w 198295"/>
                <a:gd name="connsiteY209" fmla="*/ 87259 h 428865"/>
                <a:gd name="connsiteX210" fmla="*/ 121420 w 198295"/>
                <a:gd name="connsiteY210" fmla="*/ 87773 h 428865"/>
                <a:gd name="connsiteX211" fmla="*/ 119488 w 198295"/>
                <a:gd name="connsiteY211" fmla="*/ 88839 h 428865"/>
                <a:gd name="connsiteX212" fmla="*/ 118296 w 198295"/>
                <a:gd name="connsiteY212" fmla="*/ 92213 h 428865"/>
                <a:gd name="connsiteX213" fmla="*/ 118341 w 198295"/>
                <a:gd name="connsiteY213" fmla="*/ 95489 h 428865"/>
                <a:gd name="connsiteX214" fmla="*/ 119045 w 198295"/>
                <a:gd name="connsiteY214" fmla="*/ 96611 h 428865"/>
                <a:gd name="connsiteX215" fmla="*/ 120380 w 198295"/>
                <a:gd name="connsiteY215" fmla="*/ 97102 h 428865"/>
                <a:gd name="connsiteX216" fmla="*/ 121329 w 198295"/>
                <a:gd name="connsiteY216" fmla="*/ 98110 h 428865"/>
                <a:gd name="connsiteX217" fmla="*/ 121420 w 198295"/>
                <a:gd name="connsiteY217" fmla="*/ 99687 h 428865"/>
                <a:gd name="connsiteX218" fmla="*/ 122250 w 198295"/>
                <a:gd name="connsiteY218" fmla="*/ 101656 h 428865"/>
                <a:gd name="connsiteX219" fmla="*/ 121861 w 198295"/>
                <a:gd name="connsiteY219" fmla="*/ 103951 h 428865"/>
                <a:gd name="connsiteX220" fmla="*/ 119155 w 198295"/>
                <a:gd name="connsiteY220" fmla="*/ 107285 h 428865"/>
                <a:gd name="connsiteX221" fmla="*/ 119073 w 198295"/>
                <a:gd name="connsiteY221" fmla="*/ 109098 h 428865"/>
                <a:gd name="connsiteX222" fmla="*/ 120513 w 198295"/>
                <a:gd name="connsiteY222" fmla="*/ 109657 h 428865"/>
                <a:gd name="connsiteX223" fmla="*/ 121760 w 198295"/>
                <a:gd name="connsiteY223" fmla="*/ 109400 h 428865"/>
                <a:gd name="connsiteX224" fmla="*/ 123299 w 198295"/>
                <a:gd name="connsiteY224" fmla="*/ 108610 h 428865"/>
                <a:gd name="connsiteX225" fmla="*/ 125113 w 198295"/>
                <a:gd name="connsiteY225" fmla="*/ 107336 h 428865"/>
                <a:gd name="connsiteX226" fmla="*/ 129076 w 198295"/>
                <a:gd name="connsiteY226" fmla="*/ 105483 h 428865"/>
                <a:gd name="connsiteX227" fmla="*/ 133401 w 198295"/>
                <a:gd name="connsiteY227" fmla="*/ 104424 h 428865"/>
                <a:gd name="connsiteX228" fmla="*/ 136823 w 198295"/>
                <a:gd name="connsiteY228" fmla="*/ 104227 h 428865"/>
                <a:gd name="connsiteX229" fmla="*/ 139745 w 198295"/>
                <a:gd name="connsiteY229" fmla="*/ 104306 h 428865"/>
                <a:gd name="connsiteX230" fmla="*/ 141176 w 198295"/>
                <a:gd name="connsiteY230" fmla="*/ 104701 h 428865"/>
                <a:gd name="connsiteX231" fmla="*/ 141602 w 198295"/>
                <a:gd name="connsiteY231" fmla="*/ 105380 h 428865"/>
                <a:gd name="connsiteX232" fmla="*/ 145603 w 198295"/>
                <a:gd name="connsiteY232" fmla="*/ 104297 h 428865"/>
                <a:gd name="connsiteX233" fmla="*/ 146443 w 198295"/>
                <a:gd name="connsiteY233" fmla="*/ 104235 h 428865"/>
                <a:gd name="connsiteX234" fmla="*/ 147167 w 198295"/>
                <a:gd name="connsiteY234" fmla="*/ 104177 h 428865"/>
                <a:gd name="connsiteX235" fmla="*/ 147143 w 198295"/>
                <a:gd name="connsiteY235" fmla="*/ 104894 h 428865"/>
                <a:gd name="connsiteX236" fmla="*/ 144215 w 198295"/>
                <a:gd name="connsiteY236" fmla="*/ 107856 h 428865"/>
                <a:gd name="connsiteX237" fmla="*/ 143666 w 198295"/>
                <a:gd name="connsiteY237" fmla="*/ 109237 h 428865"/>
                <a:gd name="connsiteX238" fmla="*/ 143758 w 198295"/>
                <a:gd name="connsiteY238" fmla="*/ 110718 h 428865"/>
                <a:gd name="connsiteX239" fmla="*/ 144956 w 198295"/>
                <a:gd name="connsiteY239" fmla="*/ 112091 h 428865"/>
                <a:gd name="connsiteX240" fmla="*/ 146119 w 198295"/>
                <a:gd name="connsiteY240" fmla="*/ 113149 h 428865"/>
                <a:gd name="connsiteX241" fmla="*/ 147104 w 198295"/>
                <a:gd name="connsiteY241" fmla="*/ 115802 h 428865"/>
                <a:gd name="connsiteX242" fmla="*/ 146344 w 198295"/>
                <a:gd name="connsiteY242" fmla="*/ 118231 h 428865"/>
                <a:gd name="connsiteX243" fmla="*/ 146828 w 198295"/>
                <a:gd name="connsiteY243" fmla="*/ 119117 h 428865"/>
                <a:gd name="connsiteX244" fmla="*/ 147694 w 198295"/>
                <a:gd name="connsiteY244" fmla="*/ 120108 h 428865"/>
                <a:gd name="connsiteX245" fmla="*/ 148219 w 198295"/>
                <a:gd name="connsiteY245" fmla="*/ 121503 h 428865"/>
                <a:gd name="connsiteX246" fmla="*/ 148283 w 198295"/>
                <a:gd name="connsiteY246" fmla="*/ 123203 h 428865"/>
                <a:gd name="connsiteX247" fmla="*/ 147802 w 198295"/>
                <a:gd name="connsiteY247" fmla="*/ 125915 h 428865"/>
                <a:gd name="connsiteX248" fmla="*/ 152031 w 198295"/>
                <a:gd name="connsiteY248" fmla="*/ 127330 h 428865"/>
                <a:gd name="connsiteX249" fmla="*/ 155686 w 198295"/>
                <a:gd name="connsiteY249" fmla="*/ 127965 h 428865"/>
                <a:gd name="connsiteX250" fmla="*/ 158350 w 198295"/>
                <a:gd name="connsiteY250" fmla="*/ 128138 h 428865"/>
                <a:gd name="connsiteX251" fmla="*/ 160058 w 198295"/>
                <a:gd name="connsiteY251" fmla="*/ 128760 h 428865"/>
                <a:gd name="connsiteX252" fmla="*/ 161086 w 198295"/>
                <a:gd name="connsiteY252" fmla="*/ 129296 h 428865"/>
                <a:gd name="connsiteX253" fmla="*/ 161810 w 198295"/>
                <a:gd name="connsiteY253" fmla="*/ 130267 h 428865"/>
                <a:gd name="connsiteX254" fmla="*/ 162028 w 198295"/>
                <a:gd name="connsiteY254" fmla="*/ 131326 h 428865"/>
                <a:gd name="connsiteX255" fmla="*/ 161136 w 198295"/>
                <a:gd name="connsiteY255" fmla="*/ 132068 h 428865"/>
                <a:gd name="connsiteX256" fmla="*/ 159330 w 198295"/>
                <a:gd name="connsiteY256" fmla="*/ 134448 h 428865"/>
                <a:gd name="connsiteX257" fmla="*/ 158294 w 198295"/>
                <a:gd name="connsiteY257" fmla="*/ 137624 h 428865"/>
                <a:gd name="connsiteX258" fmla="*/ 158402 w 198295"/>
                <a:gd name="connsiteY258" fmla="*/ 140000 h 428865"/>
                <a:gd name="connsiteX259" fmla="*/ 158281 w 198295"/>
                <a:gd name="connsiteY259" fmla="*/ 142057 h 428865"/>
                <a:gd name="connsiteX260" fmla="*/ 156189 w 198295"/>
                <a:gd name="connsiteY260" fmla="*/ 145025 h 428865"/>
                <a:gd name="connsiteX261" fmla="*/ 155355 w 198295"/>
                <a:gd name="connsiteY261" fmla="*/ 147065 h 428865"/>
                <a:gd name="connsiteX262" fmla="*/ 154625 w 198295"/>
                <a:gd name="connsiteY262" fmla="*/ 149157 h 428865"/>
                <a:gd name="connsiteX263" fmla="*/ 154649 w 198295"/>
                <a:gd name="connsiteY263" fmla="*/ 150066 h 428865"/>
                <a:gd name="connsiteX264" fmla="*/ 155081 w 198295"/>
                <a:gd name="connsiteY264" fmla="*/ 150701 h 428865"/>
                <a:gd name="connsiteX265" fmla="*/ 155975 w 198295"/>
                <a:gd name="connsiteY265" fmla="*/ 151068 h 428865"/>
                <a:gd name="connsiteX266" fmla="*/ 157516 w 198295"/>
                <a:gd name="connsiteY266" fmla="*/ 151289 h 428865"/>
                <a:gd name="connsiteX267" fmla="*/ 159409 w 198295"/>
                <a:gd name="connsiteY267" fmla="*/ 151053 h 428865"/>
                <a:gd name="connsiteX268" fmla="*/ 163919 w 198295"/>
                <a:gd name="connsiteY268" fmla="*/ 151555 h 428865"/>
                <a:gd name="connsiteX269" fmla="*/ 169065 w 198295"/>
                <a:gd name="connsiteY269" fmla="*/ 152471 h 428865"/>
                <a:gd name="connsiteX270" fmla="*/ 171106 w 198295"/>
                <a:gd name="connsiteY270" fmla="*/ 152974 h 428865"/>
                <a:gd name="connsiteX271" fmla="*/ 171773 w 198295"/>
                <a:gd name="connsiteY271" fmla="*/ 153895 h 428865"/>
                <a:gd name="connsiteX272" fmla="*/ 171609 w 198295"/>
                <a:gd name="connsiteY272" fmla="*/ 155906 h 428865"/>
                <a:gd name="connsiteX273" fmla="*/ 171281 w 198295"/>
                <a:gd name="connsiteY273" fmla="*/ 157779 h 428865"/>
                <a:gd name="connsiteX274" fmla="*/ 171616 w 198295"/>
                <a:gd name="connsiteY274" fmla="*/ 159218 h 428865"/>
                <a:gd name="connsiteX275" fmla="*/ 172444 w 198295"/>
                <a:gd name="connsiteY275" fmla="*/ 160542 h 428865"/>
                <a:gd name="connsiteX276" fmla="*/ 173837 w 198295"/>
                <a:gd name="connsiteY276" fmla="*/ 160978 h 428865"/>
                <a:gd name="connsiteX277" fmla="*/ 175038 w 198295"/>
                <a:gd name="connsiteY277" fmla="*/ 161490 h 428865"/>
                <a:gd name="connsiteX278" fmla="*/ 175265 w 198295"/>
                <a:gd name="connsiteY278" fmla="*/ 162500 h 428865"/>
                <a:gd name="connsiteX279" fmla="*/ 174900 w 198295"/>
                <a:gd name="connsiteY279" fmla="*/ 163870 h 428865"/>
                <a:gd name="connsiteX280" fmla="*/ 175508 w 198295"/>
                <a:gd name="connsiteY280" fmla="*/ 164951 h 428865"/>
                <a:gd name="connsiteX281" fmla="*/ 176191 w 198295"/>
                <a:gd name="connsiteY281" fmla="*/ 165661 h 428865"/>
                <a:gd name="connsiteX282" fmla="*/ 177674 w 198295"/>
                <a:gd name="connsiteY282" fmla="*/ 166067 h 428865"/>
                <a:gd name="connsiteX283" fmla="*/ 180679 w 198295"/>
                <a:gd name="connsiteY283" fmla="*/ 165187 h 428865"/>
                <a:gd name="connsiteX284" fmla="*/ 182782 w 198295"/>
                <a:gd name="connsiteY284" fmla="*/ 165579 h 428865"/>
                <a:gd name="connsiteX285" fmla="*/ 184675 w 198295"/>
                <a:gd name="connsiteY285" fmla="*/ 166180 h 428865"/>
                <a:gd name="connsiteX286" fmla="*/ 186295 w 198295"/>
                <a:gd name="connsiteY286" fmla="*/ 165863 h 428865"/>
                <a:gd name="connsiteX287" fmla="*/ 187899 w 198295"/>
                <a:gd name="connsiteY287" fmla="*/ 165096 h 428865"/>
                <a:gd name="connsiteX288" fmla="*/ 191393 w 198295"/>
                <a:gd name="connsiteY288" fmla="*/ 161617 h 428865"/>
                <a:gd name="connsiteX289" fmla="*/ 195465 w 198295"/>
                <a:gd name="connsiteY289" fmla="*/ 159736 h 428865"/>
                <a:gd name="connsiteX290" fmla="*/ 196802 w 198295"/>
                <a:gd name="connsiteY290" fmla="*/ 159284 h 428865"/>
                <a:gd name="connsiteX291" fmla="*/ 197707 w 198295"/>
                <a:gd name="connsiteY291" fmla="*/ 159511 h 428865"/>
                <a:gd name="connsiteX292" fmla="*/ 197932 w 198295"/>
                <a:gd name="connsiteY292" fmla="*/ 159755 h 428865"/>
                <a:gd name="connsiteX293" fmla="*/ 197871 w 198295"/>
                <a:gd name="connsiteY293" fmla="*/ 160460 h 428865"/>
                <a:gd name="connsiteX294" fmla="*/ 198295 w 198295"/>
                <a:gd name="connsiteY294" fmla="*/ 163320 h 428865"/>
                <a:gd name="connsiteX295" fmla="*/ 198109 w 198295"/>
                <a:gd name="connsiteY295" fmla="*/ 163648 h 428865"/>
                <a:gd name="connsiteX296" fmla="*/ 196816 w 198295"/>
                <a:gd name="connsiteY296" fmla="*/ 165936 h 428865"/>
                <a:gd name="connsiteX297" fmla="*/ 193436 w 198295"/>
                <a:gd name="connsiteY297" fmla="*/ 168306 h 428865"/>
                <a:gd name="connsiteX298" fmla="*/ 191048 w 198295"/>
                <a:gd name="connsiteY298" fmla="*/ 169509 h 428865"/>
                <a:gd name="connsiteX299" fmla="*/ 189657 w 198295"/>
                <a:gd name="connsiteY299" fmla="*/ 169545 h 428865"/>
                <a:gd name="connsiteX300" fmla="*/ 188473 w 198295"/>
                <a:gd name="connsiteY300" fmla="*/ 170962 h 428865"/>
                <a:gd name="connsiteX301" fmla="*/ 187502 w 198295"/>
                <a:gd name="connsiteY301" fmla="*/ 173759 h 428865"/>
                <a:gd name="connsiteX302" fmla="*/ 186495 w 198295"/>
                <a:gd name="connsiteY302" fmla="*/ 175401 h 428865"/>
                <a:gd name="connsiteX303" fmla="*/ 185455 w 198295"/>
                <a:gd name="connsiteY303" fmla="*/ 175889 h 428865"/>
                <a:gd name="connsiteX304" fmla="*/ 184781 w 198295"/>
                <a:gd name="connsiteY304" fmla="*/ 176947 h 428865"/>
                <a:gd name="connsiteX305" fmla="*/ 184474 w 198295"/>
                <a:gd name="connsiteY305" fmla="*/ 178575 h 428865"/>
                <a:gd name="connsiteX306" fmla="*/ 185073 w 198295"/>
                <a:gd name="connsiteY306" fmla="*/ 179445 h 428865"/>
                <a:gd name="connsiteX307" fmla="*/ 186584 w 198295"/>
                <a:gd name="connsiteY307" fmla="*/ 179560 h 428865"/>
                <a:gd name="connsiteX308" fmla="*/ 186701 w 198295"/>
                <a:gd name="connsiteY308" fmla="*/ 180014 h 428865"/>
                <a:gd name="connsiteX309" fmla="*/ 185422 w 198295"/>
                <a:gd name="connsiteY309" fmla="*/ 180810 h 428865"/>
                <a:gd name="connsiteX310" fmla="*/ 183836 w 198295"/>
                <a:gd name="connsiteY310" fmla="*/ 181089 h 428865"/>
                <a:gd name="connsiteX311" fmla="*/ 181935 w 198295"/>
                <a:gd name="connsiteY311" fmla="*/ 180853 h 428865"/>
                <a:gd name="connsiteX312" fmla="*/ 180136 w 198295"/>
                <a:gd name="connsiteY312" fmla="*/ 181488 h 428865"/>
                <a:gd name="connsiteX313" fmla="*/ 178439 w 198295"/>
                <a:gd name="connsiteY313" fmla="*/ 182998 h 428865"/>
                <a:gd name="connsiteX314" fmla="*/ 176992 w 198295"/>
                <a:gd name="connsiteY314" fmla="*/ 186254 h 428865"/>
                <a:gd name="connsiteX315" fmla="*/ 175794 w 198295"/>
                <a:gd name="connsiteY315" fmla="*/ 191253 h 428865"/>
                <a:gd name="connsiteX316" fmla="*/ 175634 w 198295"/>
                <a:gd name="connsiteY316" fmla="*/ 192533 h 428865"/>
                <a:gd name="connsiteX317" fmla="*/ 173006 w 198295"/>
                <a:gd name="connsiteY317" fmla="*/ 191083 h 428865"/>
                <a:gd name="connsiteX318" fmla="*/ 171916 w 198295"/>
                <a:gd name="connsiteY318" fmla="*/ 190257 h 428865"/>
                <a:gd name="connsiteX319" fmla="*/ 170501 w 198295"/>
                <a:gd name="connsiteY319" fmla="*/ 190050 h 428865"/>
                <a:gd name="connsiteX320" fmla="*/ 169061 w 198295"/>
                <a:gd name="connsiteY320" fmla="*/ 190971 h 428865"/>
                <a:gd name="connsiteX321" fmla="*/ 167914 w 198295"/>
                <a:gd name="connsiteY321" fmla="*/ 191965 h 428865"/>
                <a:gd name="connsiteX322" fmla="*/ 166737 w 198295"/>
                <a:gd name="connsiteY322" fmla="*/ 192331 h 428865"/>
                <a:gd name="connsiteX323" fmla="*/ 164936 w 198295"/>
                <a:gd name="connsiteY323" fmla="*/ 192445 h 428865"/>
                <a:gd name="connsiteX324" fmla="*/ 162570 w 198295"/>
                <a:gd name="connsiteY324" fmla="*/ 191930 h 428865"/>
                <a:gd name="connsiteX325" fmla="*/ 160961 w 198295"/>
                <a:gd name="connsiteY325" fmla="*/ 191464 h 428865"/>
                <a:gd name="connsiteX326" fmla="*/ 160719 w 198295"/>
                <a:gd name="connsiteY326" fmla="*/ 191718 h 428865"/>
                <a:gd name="connsiteX327" fmla="*/ 161594 w 198295"/>
                <a:gd name="connsiteY327" fmla="*/ 193823 h 428865"/>
                <a:gd name="connsiteX328" fmla="*/ 161907 w 198295"/>
                <a:gd name="connsiteY328" fmla="*/ 195501 h 428865"/>
                <a:gd name="connsiteX329" fmla="*/ 161559 w 198295"/>
                <a:gd name="connsiteY329" fmla="*/ 196373 h 428865"/>
                <a:gd name="connsiteX330" fmla="*/ 160799 w 198295"/>
                <a:gd name="connsiteY330" fmla="*/ 197099 h 428865"/>
                <a:gd name="connsiteX331" fmla="*/ 159641 w 198295"/>
                <a:gd name="connsiteY331" fmla="*/ 197671 h 428865"/>
                <a:gd name="connsiteX332" fmla="*/ 158285 w 198295"/>
                <a:gd name="connsiteY332" fmla="*/ 198006 h 428865"/>
                <a:gd name="connsiteX333" fmla="*/ 157087 w 198295"/>
                <a:gd name="connsiteY333" fmla="*/ 197971 h 428865"/>
                <a:gd name="connsiteX334" fmla="*/ 155168 w 198295"/>
                <a:gd name="connsiteY334" fmla="*/ 197173 h 428865"/>
                <a:gd name="connsiteX335" fmla="*/ 153705 w 198295"/>
                <a:gd name="connsiteY335" fmla="*/ 197139 h 428865"/>
                <a:gd name="connsiteX336" fmla="*/ 152455 w 198295"/>
                <a:gd name="connsiteY336" fmla="*/ 197535 h 428865"/>
                <a:gd name="connsiteX337" fmla="*/ 151693 w 198295"/>
                <a:gd name="connsiteY337" fmla="*/ 198128 h 428865"/>
                <a:gd name="connsiteX338" fmla="*/ 151272 w 198295"/>
                <a:gd name="connsiteY338" fmla="*/ 198860 h 428865"/>
                <a:gd name="connsiteX339" fmla="*/ 150535 w 198295"/>
                <a:gd name="connsiteY339" fmla="*/ 203009 h 428865"/>
                <a:gd name="connsiteX340" fmla="*/ 149885 w 198295"/>
                <a:gd name="connsiteY340" fmla="*/ 204307 h 428865"/>
                <a:gd name="connsiteX341" fmla="*/ 148972 w 198295"/>
                <a:gd name="connsiteY341" fmla="*/ 205043 h 428865"/>
                <a:gd name="connsiteX342" fmla="*/ 148067 w 198295"/>
                <a:gd name="connsiteY342" fmla="*/ 205119 h 428865"/>
                <a:gd name="connsiteX343" fmla="*/ 146823 w 198295"/>
                <a:gd name="connsiteY343" fmla="*/ 204915 h 428865"/>
                <a:gd name="connsiteX344" fmla="*/ 145521 w 198295"/>
                <a:gd name="connsiteY344" fmla="*/ 205085 h 428865"/>
                <a:gd name="connsiteX345" fmla="*/ 139622 w 198295"/>
                <a:gd name="connsiteY345" fmla="*/ 206688 h 428865"/>
                <a:gd name="connsiteX346" fmla="*/ 138763 w 198295"/>
                <a:gd name="connsiteY346" fmla="*/ 206846 h 428865"/>
                <a:gd name="connsiteX347" fmla="*/ 136912 w 198295"/>
                <a:gd name="connsiteY347" fmla="*/ 206967 h 428865"/>
                <a:gd name="connsiteX348" fmla="*/ 135195 w 198295"/>
                <a:gd name="connsiteY348" fmla="*/ 207011 h 428865"/>
                <a:gd name="connsiteX349" fmla="*/ 133988 w 198295"/>
                <a:gd name="connsiteY349" fmla="*/ 206932 h 428865"/>
                <a:gd name="connsiteX350" fmla="*/ 131157 w 198295"/>
                <a:gd name="connsiteY350" fmla="*/ 205290 h 428865"/>
                <a:gd name="connsiteX351" fmla="*/ 129786 w 198295"/>
                <a:gd name="connsiteY351" fmla="*/ 205116 h 428865"/>
                <a:gd name="connsiteX352" fmla="*/ 129034 w 198295"/>
                <a:gd name="connsiteY352" fmla="*/ 205581 h 428865"/>
                <a:gd name="connsiteX353" fmla="*/ 128507 w 198295"/>
                <a:gd name="connsiteY353" fmla="*/ 207782 h 428865"/>
                <a:gd name="connsiteX354" fmla="*/ 126853 w 198295"/>
                <a:gd name="connsiteY354" fmla="*/ 209179 h 428865"/>
                <a:gd name="connsiteX355" fmla="*/ 124651 w 198295"/>
                <a:gd name="connsiteY355" fmla="*/ 212231 h 428865"/>
                <a:gd name="connsiteX356" fmla="*/ 124137 w 198295"/>
                <a:gd name="connsiteY356" fmla="*/ 216685 h 428865"/>
                <a:gd name="connsiteX357" fmla="*/ 124366 w 198295"/>
                <a:gd name="connsiteY357" fmla="*/ 219789 h 428865"/>
                <a:gd name="connsiteX358" fmla="*/ 122381 w 198295"/>
                <a:gd name="connsiteY358" fmla="*/ 222860 h 428865"/>
                <a:gd name="connsiteX359" fmla="*/ 122202 w 198295"/>
                <a:gd name="connsiteY359" fmla="*/ 224342 h 428865"/>
                <a:gd name="connsiteX360" fmla="*/ 123262 w 198295"/>
                <a:gd name="connsiteY360" fmla="*/ 231462 h 428865"/>
                <a:gd name="connsiteX361" fmla="*/ 123083 w 198295"/>
                <a:gd name="connsiteY361" fmla="*/ 232208 h 428865"/>
                <a:gd name="connsiteX362" fmla="*/ 122681 w 198295"/>
                <a:gd name="connsiteY362" fmla="*/ 232578 h 428865"/>
                <a:gd name="connsiteX363" fmla="*/ 121440 w 198295"/>
                <a:gd name="connsiteY363" fmla="*/ 232825 h 428865"/>
                <a:gd name="connsiteX364" fmla="*/ 119356 w 198295"/>
                <a:gd name="connsiteY364" fmla="*/ 233569 h 428865"/>
                <a:gd name="connsiteX365" fmla="*/ 117981 w 198295"/>
                <a:gd name="connsiteY365" fmla="*/ 234277 h 428865"/>
                <a:gd name="connsiteX366" fmla="*/ 117313 w 198295"/>
                <a:gd name="connsiteY366" fmla="*/ 234358 h 428865"/>
                <a:gd name="connsiteX367" fmla="*/ 115370 w 198295"/>
                <a:gd name="connsiteY367" fmla="*/ 233825 h 428865"/>
                <a:gd name="connsiteX368" fmla="*/ 114858 w 198295"/>
                <a:gd name="connsiteY368" fmla="*/ 233815 h 428865"/>
                <a:gd name="connsiteX369" fmla="*/ 115007 w 198295"/>
                <a:gd name="connsiteY369" fmla="*/ 234356 h 428865"/>
                <a:gd name="connsiteX370" fmla="*/ 116558 w 198295"/>
                <a:gd name="connsiteY370" fmla="*/ 237435 h 428865"/>
                <a:gd name="connsiteX371" fmla="*/ 118172 w 198295"/>
                <a:gd name="connsiteY371" fmla="*/ 238892 h 428865"/>
                <a:gd name="connsiteX372" fmla="*/ 119842 w 198295"/>
                <a:gd name="connsiteY372" fmla="*/ 238730 h 428865"/>
                <a:gd name="connsiteX373" fmla="*/ 120570 w 198295"/>
                <a:gd name="connsiteY373" fmla="*/ 239019 h 428865"/>
                <a:gd name="connsiteX374" fmla="*/ 120354 w 198295"/>
                <a:gd name="connsiteY374" fmla="*/ 239758 h 428865"/>
                <a:gd name="connsiteX375" fmla="*/ 120997 w 198295"/>
                <a:gd name="connsiteY375" fmla="*/ 241683 h 428865"/>
                <a:gd name="connsiteX376" fmla="*/ 122505 w 198295"/>
                <a:gd name="connsiteY376" fmla="*/ 244797 h 428865"/>
                <a:gd name="connsiteX377" fmla="*/ 122952 w 198295"/>
                <a:gd name="connsiteY377" fmla="*/ 247128 h 428865"/>
                <a:gd name="connsiteX378" fmla="*/ 122036 w 198295"/>
                <a:gd name="connsiteY378" fmla="*/ 249450 h 428865"/>
                <a:gd name="connsiteX379" fmla="*/ 122211 w 198295"/>
                <a:gd name="connsiteY379" fmla="*/ 250281 h 428865"/>
                <a:gd name="connsiteX380" fmla="*/ 122712 w 198295"/>
                <a:gd name="connsiteY380" fmla="*/ 250766 h 428865"/>
                <a:gd name="connsiteX381" fmla="*/ 124124 w 198295"/>
                <a:gd name="connsiteY381" fmla="*/ 252923 h 428865"/>
                <a:gd name="connsiteX382" fmla="*/ 127138 w 198295"/>
                <a:gd name="connsiteY382" fmla="*/ 256296 h 428865"/>
                <a:gd name="connsiteX383" fmla="*/ 130097 w 198295"/>
                <a:gd name="connsiteY383" fmla="*/ 259942 h 428865"/>
                <a:gd name="connsiteX384" fmla="*/ 132563 w 198295"/>
                <a:gd name="connsiteY384" fmla="*/ 262980 h 428865"/>
                <a:gd name="connsiteX385" fmla="*/ 134374 w 198295"/>
                <a:gd name="connsiteY385" fmla="*/ 265080 h 428865"/>
                <a:gd name="connsiteX386" fmla="*/ 138406 w 198295"/>
                <a:gd name="connsiteY386" fmla="*/ 268993 h 428865"/>
                <a:gd name="connsiteX387" fmla="*/ 139121 w 198295"/>
                <a:gd name="connsiteY387" fmla="*/ 270828 h 428865"/>
                <a:gd name="connsiteX388" fmla="*/ 139274 w 198295"/>
                <a:gd name="connsiteY388" fmla="*/ 274529 h 428865"/>
                <a:gd name="connsiteX389" fmla="*/ 140269 w 198295"/>
                <a:gd name="connsiteY389" fmla="*/ 276666 h 428865"/>
                <a:gd name="connsiteX390" fmla="*/ 141190 w 198295"/>
                <a:gd name="connsiteY390" fmla="*/ 278194 h 428865"/>
                <a:gd name="connsiteX391" fmla="*/ 141829 w 198295"/>
                <a:gd name="connsiteY391" fmla="*/ 279470 h 428865"/>
                <a:gd name="connsiteX392" fmla="*/ 143313 w 198295"/>
                <a:gd name="connsiteY392" fmla="*/ 283656 h 428865"/>
                <a:gd name="connsiteX393" fmla="*/ 143943 w 198295"/>
                <a:gd name="connsiteY393" fmla="*/ 284224 h 428865"/>
                <a:gd name="connsiteX394" fmla="*/ 147175 w 198295"/>
                <a:gd name="connsiteY394" fmla="*/ 281677 h 428865"/>
                <a:gd name="connsiteX395" fmla="*/ 147925 w 198295"/>
                <a:gd name="connsiteY395" fmla="*/ 282208 h 428865"/>
                <a:gd name="connsiteX396" fmla="*/ 148343 w 198295"/>
                <a:gd name="connsiteY396" fmla="*/ 283168 h 428865"/>
                <a:gd name="connsiteX397" fmla="*/ 148348 w 198295"/>
                <a:gd name="connsiteY397" fmla="*/ 284390 h 428865"/>
                <a:gd name="connsiteX398" fmla="*/ 147840 w 198295"/>
                <a:gd name="connsiteY398" fmla="*/ 285775 h 428865"/>
                <a:gd name="connsiteX399" fmla="*/ 146789 w 198295"/>
                <a:gd name="connsiteY399" fmla="*/ 287051 h 428865"/>
                <a:gd name="connsiteX400" fmla="*/ 141801 w 198295"/>
                <a:gd name="connsiteY400" fmla="*/ 290003 h 428865"/>
                <a:gd name="connsiteX401" fmla="*/ 141395 w 198295"/>
                <a:gd name="connsiteY401" fmla="*/ 292544 h 428865"/>
                <a:gd name="connsiteX402" fmla="*/ 141045 w 198295"/>
                <a:gd name="connsiteY402" fmla="*/ 296398 h 428865"/>
                <a:gd name="connsiteX403" fmla="*/ 140962 w 198295"/>
                <a:gd name="connsiteY403" fmla="*/ 301128 h 428865"/>
                <a:gd name="connsiteX404" fmla="*/ 141200 w 198295"/>
                <a:gd name="connsiteY404" fmla="*/ 304664 h 428865"/>
                <a:gd name="connsiteX405" fmla="*/ 141017 w 198295"/>
                <a:gd name="connsiteY405" fmla="*/ 305476 h 428865"/>
                <a:gd name="connsiteX406" fmla="*/ 140583 w 198295"/>
                <a:gd name="connsiteY406" fmla="*/ 305861 h 428865"/>
                <a:gd name="connsiteX407" fmla="*/ 138700 w 198295"/>
                <a:gd name="connsiteY407" fmla="*/ 305710 h 428865"/>
                <a:gd name="connsiteX408" fmla="*/ 135985 w 198295"/>
                <a:gd name="connsiteY408" fmla="*/ 307493 h 428865"/>
                <a:gd name="connsiteX409" fmla="*/ 135029 w 198295"/>
                <a:gd name="connsiteY409" fmla="*/ 307651 h 428865"/>
                <a:gd name="connsiteX410" fmla="*/ 133836 w 198295"/>
                <a:gd name="connsiteY410" fmla="*/ 308335 h 428865"/>
                <a:gd name="connsiteX411" fmla="*/ 132926 w 198295"/>
                <a:gd name="connsiteY411" fmla="*/ 309177 h 428865"/>
                <a:gd name="connsiteX412" fmla="*/ 132637 w 198295"/>
                <a:gd name="connsiteY412" fmla="*/ 310460 h 428865"/>
                <a:gd name="connsiteX413" fmla="*/ 133172 w 198295"/>
                <a:gd name="connsiteY413" fmla="*/ 314337 h 428865"/>
                <a:gd name="connsiteX414" fmla="*/ 134141 w 198295"/>
                <a:gd name="connsiteY414" fmla="*/ 317980 h 428865"/>
                <a:gd name="connsiteX415" fmla="*/ 136046 w 198295"/>
                <a:gd name="connsiteY415" fmla="*/ 320651 h 428865"/>
                <a:gd name="connsiteX416" fmla="*/ 137551 w 198295"/>
                <a:gd name="connsiteY416" fmla="*/ 322763 h 428865"/>
                <a:gd name="connsiteX417" fmla="*/ 139648 w 198295"/>
                <a:gd name="connsiteY417" fmla="*/ 325699 h 428865"/>
                <a:gd name="connsiteX418" fmla="*/ 141307 w 198295"/>
                <a:gd name="connsiteY418" fmla="*/ 328249 h 428865"/>
                <a:gd name="connsiteX419" fmla="*/ 144649 w 198295"/>
                <a:gd name="connsiteY419" fmla="*/ 331050 h 428865"/>
                <a:gd name="connsiteX420" fmla="*/ 149346 w 198295"/>
                <a:gd name="connsiteY420" fmla="*/ 335242 h 428865"/>
                <a:gd name="connsiteX421" fmla="*/ 151138 w 198295"/>
                <a:gd name="connsiteY421" fmla="*/ 337557 h 428865"/>
                <a:gd name="connsiteX422" fmla="*/ 152721 w 198295"/>
                <a:gd name="connsiteY422" fmla="*/ 340360 h 428865"/>
                <a:gd name="connsiteX423" fmla="*/ 153839 w 198295"/>
                <a:gd name="connsiteY423" fmla="*/ 342750 h 428865"/>
                <a:gd name="connsiteX424" fmla="*/ 154265 w 198295"/>
                <a:gd name="connsiteY424" fmla="*/ 345923 h 428865"/>
                <a:gd name="connsiteX425" fmla="*/ 154610 w 198295"/>
                <a:gd name="connsiteY425" fmla="*/ 347698 h 428865"/>
                <a:gd name="connsiteX426" fmla="*/ 154710 w 198295"/>
                <a:gd name="connsiteY426" fmla="*/ 353636 h 428865"/>
                <a:gd name="connsiteX427" fmla="*/ 153845 w 198295"/>
                <a:gd name="connsiteY427" fmla="*/ 354987 h 428865"/>
                <a:gd name="connsiteX428" fmla="*/ 153190 w 198295"/>
                <a:gd name="connsiteY428" fmla="*/ 356550 h 428865"/>
                <a:gd name="connsiteX429" fmla="*/ 153554 w 198295"/>
                <a:gd name="connsiteY429" fmla="*/ 358186 h 428865"/>
                <a:gd name="connsiteX430" fmla="*/ 154651 w 198295"/>
                <a:gd name="connsiteY430" fmla="*/ 359746 h 428865"/>
                <a:gd name="connsiteX431" fmla="*/ 154651 w 198295"/>
                <a:gd name="connsiteY431" fmla="*/ 361531 h 428865"/>
                <a:gd name="connsiteX432" fmla="*/ 155675 w 198295"/>
                <a:gd name="connsiteY432" fmla="*/ 364726 h 428865"/>
                <a:gd name="connsiteX433" fmla="*/ 157389 w 198295"/>
                <a:gd name="connsiteY433" fmla="*/ 366677 h 428865"/>
                <a:gd name="connsiteX434" fmla="*/ 159039 w 198295"/>
                <a:gd name="connsiteY434" fmla="*/ 367995 h 428865"/>
                <a:gd name="connsiteX435" fmla="*/ 159771 w 198295"/>
                <a:gd name="connsiteY435" fmla="*/ 369035 h 428865"/>
                <a:gd name="connsiteX436" fmla="*/ 159532 w 198295"/>
                <a:gd name="connsiteY436" fmla="*/ 370703 h 428865"/>
                <a:gd name="connsiteX437" fmla="*/ 160019 w 198295"/>
                <a:gd name="connsiteY437" fmla="*/ 372472 h 428865"/>
                <a:gd name="connsiteX438" fmla="*/ 160376 w 198295"/>
                <a:gd name="connsiteY438" fmla="*/ 374397 h 428865"/>
                <a:gd name="connsiteX439" fmla="*/ 161050 w 198295"/>
                <a:gd name="connsiteY439" fmla="*/ 377064 h 428865"/>
                <a:gd name="connsiteX440" fmla="*/ 162377 w 198295"/>
                <a:gd name="connsiteY440" fmla="*/ 379320 h 428865"/>
                <a:gd name="connsiteX441" fmla="*/ 164407 w 198295"/>
                <a:gd name="connsiteY441" fmla="*/ 386236 h 428865"/>
                <a:gd name="connsiteX442" fmla="*/ 164358 w 198295"/>
                <a:gd name="connsiteY442" fmla="*/ 386943 h 428865"/>
                <a:gd name="connsiteX443" fmla="*/ 163481 w 198295"/>
                <a:gd name="connsiteY443" fmla="*/ 388344 h 428865"/>
                <a:gd name="connsiteX444" fmla="*/ 162207 w 198295"/>
                <a:gd name="connsiteY444" fmla="*/ 389610 h 428865"/>
                <a:gd name="connsiteX445" fmla="*/ 161382 w 198295"/>
                <a:gd name="connsiteY445" fmla="*/ 390017 h 428865"/>
                <a:gd name="connsiteX446" fmla="*/ 160602 w 198295"/>
                <a:gd name="connsiteY446" fmla="*/ 391319 h 428865"/>
                <a:gd name="connsiteX447" fmla="*/ 158747 w 198295"/>
                <a:gd name="connsiteY447" fmla="*/ 395013 h 428865"/>
                <a:gd name="connsiteX448" fmla="*/ 155018 w 198295"/>
                <a:gd name="connsiteY448" fmla="*/ 401375 h 428865"/>
                <a:gd name="connsiteX449" fmla="*/ 151376 w 198295"/>
                <a:gd name="connsiteY449" fmla="*/ 405522 h 428865"/>
                <a:gd name="connsiteX450" fmla="*/ 148318 w 198295"/>
                <a:gd name="connsiteY450" fmla="*/ 408466 h 428865"/>
                <a:gd name="connsiteX451" fmla="*/ 146102 w 198295"/>
                <a:gd name="connsiteY451" fmla="*/ 410253 h 428865"/>
                <a:gd name="connsiteX452" fmla="*/ 145446 w 198295"/>
                <a:gd name="connsiteY452" fmla="*/ 411315 h 428865"/>
                <a:gd name="connsiteX453" fmla="*/ 145446 w 198295"/>
                <a:gd name="connsiteY453" fmla="*/ 412150 h 428865"/>
                <a:gd name="connsiteX454" fmla="*/ 145847 w 198295"/>
                <a:gd name="connsiteY454" fmla="*/ 413638 h 428865"/>
                <a:gd name="connsiteX455" fmla="*/ 145692 w 198295"/>
                <a:gd name="connsiteY455" fmla="*/ 416458 h 428865"/>
                <a:gd name="connsiteX456" fmla="*/ 145216 w 198295"/>
                <a:gd name="connsiteY456" fmla="*/ 418247 h 428865"/>
                <a:gd name="connsiteX457" fmla="*/ 144589 w 198295"/>
                <a:gd name="connsiteY457" fmla="*/ 420142 h 428865"/>
                <a:gd name="connsiteX458" fmla="*/ 144237 w 198295"/>
                <a:gd name="connsiteY458" fmla="*/ 421831 h 428865"/>
                <a:gd name="connsiteX459" fmla="*/ 143251 w 198295"/>
                <a:gd name="connsiteY459" fmla="*/ 422084 h 428865"/>
                <a:gd name="connsiteX460" fmla="*/ 141142 w 198295"/>
                <a:gd name="connsiteY460" fmla="*/ 425302 h 428865"/>
                <a:gd name="connsiteX461" fmla="*/ 140228 w 198295"/>
                <a:gd name="connsiteY461" fmla="*/ 423689 h 428865"/>
                <a:gd name="connsiteX462" fmla="*/ 139689 w 198295"/>
                <a:gd name="connsiteY462" fmla="*/ 422007 h 428865"/>
                <a:gd name="connsiteX463" fmla="*/ 140268 w 198295"/>
                <a:gd name="connsiteY463" fmla="*/ 418195 h 428865"/>
                <a:gd name="connsiteX464" fmla="*/ 138983 w 198295"/>
                <a:gd name="connsiteY464" fmla="*/ 410982 h 428865"/>
                <a:gd name="connsiteX465" fmla="*/ 139780 w 198295"/>
                <a:gd name="connsiteY465" fmla="*/ 410018 h 428865"/>
                <a:gd name="connsiteX466" fmla="*/ 140546 w 198295"/>
                <a:gd name="connsiteY466" fmla="*/ 409532 h 428865"/>
                <a:gd name="connsiteX467" fmla="*/ 141943 w 198295"/>
                <a:gd name="connsiteY467" fmla="*/ 406764 h 428865"/>
                <a:gd name="connsiteX468" fmla="*/ 143641 w 198295"/>
                <a:gd name="connsiteY468" fmla="*/ 404024 h 428865"/>
                <a:gd name="connsiteX469" fmla="*/ 143796 w 198295"/>
                <a:gd name="connsiteY469" fmla="*/ 400752 h 428865"/>
                <a:gd name="connsiteX470" fmla="*/ 145169 w 198295"/>
                <a:gd name="connsiteY470" fmla="*/ 398351 h 428865"/>
                <a:gd name="connsiteX471" fmla="*/ 144845 w 198295"/>
                <a:gd name="connsiteY471" fmla="*/ 396345 h 428865"/>
                <a:gd name="connsiteX472" fmla="*/ 144916 w 198295"/>
                <a:gd name="connsiteY472" fmla="*/ 393987 h 428865"/>
                <a:gd name="connsiteX473" fmla="*/ 145206 w 198295"/>
                <a:gd name="connsiteY473" fmla="*/ 392060 h 428865"/>
                <a:gd name="connsiteX474" fmla="*/ 145096 w 198295"/>
                <a:gd name="connsiteY474" fmla="*/ 390483 h 428865"/>
                <a:gd name="connsiteX475" fmla="*/ 146186 w 198295"/>
                <a:gd name="connsiteY475" fmla="*/ 388838 h 428865"/>
                <a:gd name="connsiteX476" fmla="*/ 148071 w 198295"/>
                <a:gd name="connsiteY476" fmla="*/ 387614 h 428865"/>
                <a:gd name="connsiteX477" fmla="*/ 147281 w 198295"/>
                <a:gd name="connsiteY477" fmla="*/ 387176 h 428865"/>
                <a:gd name="connsiteX478" fmla="*/ 146498 w 198295"/>
                <a:gd name="connsiteY478" fmla="*/ 386280 h 428865"/>
                <a:gd name="connsiteX479" fmla="*/ 144040 w 198295"/>
                <a:gd name="connsiteY479" fmla="*/ 387645 h 428865"/>
                <a:gd name="connsiteX480" fmla="*/ 142772 w 198295"/>
                <a:gd name="connsiteY480" fmla="*/ 387196 h 428865"/>
                <a:gd name="connsiteX481" fmla="*/ 142520 w 198295"/>
                <a:gd name="connsiteY481" fmla="*/ 385782 h 428865"/>
                <a:gd name="connsiteX482" fmla="*/ 142833 w 198295"/>
                <a:gd name="connsiteY482" fmla="*/ 384265 h 428865"/>
                <a:gd name="connsiteX483" fmla="*/ 142962 w 198295"/>
                <a:gd name="connsiteY483" fmla="*/ 383342 h 428865"/>
                <a:gd name="connsiteX484" fmla="*/ 143947 w 198295"/>
                <a:gd name="connsiteY484" fmla="*/ 382301 h 428865"/>
                <a:gd name="connsiteX485" fmla="*/ 143878 w 198295"/>
                <a:gd name="connsiteY485" fmla="*/ 380274 h 428865"/>
                <a:gd name="connsiteX486" fmla="*/ 143382 w 198295"/>
                <a:gd name="connsiteY486" fmla="*/ 378489 h 428865"/>
                <a:gd name="connsiteX487" fmla="*/ 144098 w 198295"/>
                <a:gd name="connsiteY487" fmla="*/ 376278 h 428865"/>
                <a:gd name="connsiteX488" fmla="*/ 142645 w 198295"/>
                <a:gd name="connsiteY488" fmla="*/ 376273 h 428865"/>
                <a:gd name="connsiteX489" fmla="*/ 141976 w 198295"/>
                <a:gd name="connsiteY489" fmla="*/ 375828 h 428865"/>
                <a:gd name="connsiteX490" fmla="*/ 142393 w 198295"/>
                <a:gd name="connsiteY490" fmla="*/ 374600 h 428865"/>
                <a:gd name="connsiteX491" fmla="*/ 143710 w 198295"/>
                <a:gd name="connsiteY491" fmla="*/ 373512 h 428865"/>
                <a:gd name="connsiteX492" fmla="*/ 142509 w 198295"/>
                <a:gd name="connsiteY492" fmla="*/ 371442 h 428865"/>
                <a:gd name="connsiteX493" fmla="*/ 143399 w 198295"/>
                <a:gd name="connsiteY493" fmla="*/ 369214 h 428865"/>
                <a:gd name="connsiteX494" fmla="*/ 143366 w 198295"/>
                <a:gd name="connsiteY494" fmla="*/ 366463 h 428865"/>
                <a:gd name="connsiteX495" fmla="*/ 142757 w 198295"/>
                <a:gd name="connsiteY495" fmla="*/ 364035 h 428865"/>
                <a:gd name="connsiteX496" fmla="*/ 142789 w 198295"/>
                <a:gd name="connsiteY496" fmla="*/ 362288 h 428865"/>
                <a:gd name="connsiteX497" fmla="*/ 141861 w 198295"/>
                <a:gd name="connsiteY497" fmla="*/ 359191 h 428865"/>
                <a:gd name="connsiteX498" fmla="*/ 141438 w 198295"/>
                <a:gd name="connsiteY498" fmla="*/ 355236 h 428865"/>
                <a:gd name="connsiteX499" fmla="*/ 139473 w 198295"/>
                <a:gd name="connsiteY499" fmla="*/ 352286 h 428865"/>
                <a:gd name="connsiteX500" fmla="*/ 138018 w 198295"/>
                <a:gd name="connsiteY500" fmla="*/ 347994 h 428865"/>
                <a:gd name="connsiteX501" fmla="*/ 134128 w 198295"/>
                <a:gd name="connsiteY501" fmla="*/ 342372 h 428865"/>
                <a:gd name="connsiteX502" fmla="*/ 134195 w 198295"/>
                <a:gd name="connsiteY502" fmla="*/ 339964 h 428865"/>
                <a:gd name="connsiteX503" fmla="*/ 133986 w 198295"/>
                <a:gd name="connsiteY503" fmla="*/ 337843 h 428865"/>
                <a:gd name="connsiteX504" fmla="*/ 133133 w 198295"/>
                <a:gd name="connsiteY504" fmla="*/ 336813 h 428865"/>
                <a:gd name="connsiteX505" fmla="*/ 132008 w 198295"/>
                <a:gd name="connsiteY505" fmla="*/ 344306 h 428865"/>
                <a:gd name="connsiteX506" fmla="*/ 131148 w 198295"/>
                <a:gd name="connsiteY506" fmla="*/ 342835 h 428865"/>
                <a:gd name="connsiteX507" fmla="*/ 130874 w 198295"/>
                <a:gd name="connsiteY507" fmla="*/ 338657 h 428865"/>
                <a:gd name="connsiteX508" fmla="*/ 130309 w 198295"/>
                <a:gd name="connsiteY508" fmla="*/ 336671 h 428865"/>
                <a:gd name="connsiteX509" fmla="*/ 130917 w 198295"/>
                <a:gd name="connsiteY509" fmla="*/ 332724 h 428865"/>
                <a:gd name="connsiteX510" fmla="*/ 128667 w 198295"/>
                <a:gd name="connsiteY510" fmla="*/ 328805 h 428865"/>
                <a:gd name="connsiteX511" fmla="*/ 128183 w 198295"/>
                <a:gd name="connsiteY511" fmla="*/ 325957 h 428865"/>
                <a:gd name="connsiteX512" fmla="*/ 126707 w 198295"/>
                <a:gd name="connsiteY512" fmla="*/ 321640 h 428865"/>
                <a:gd name="connsiteX513" fmla="*/ 127138 w 198295"/>
                <a:gd name="connsiteY513" fmla="*/ 320672 h 428865"/>
                <a:gd name="connsiteX514" fmla="*/ 129117 w 198295"/>
                <a:gd name="connsiteY514" fmla="*/ 321643 h 428865"/>
                <a:gd name="connsiteX515" fmla="*/ 127298 w 198295"/>
                <a:gd name="connsiteY515" fmla="*/ 319128 h 428865"/>
                <a:gd name="connsiteX516" fmla="*/ 125808 w 198295"/>
                <a:gd name="connsiteY516" fmla="*/ 319697 h 428865"/>
                <a:gd name="connsiteX517" fmla="*/ 124552 w 198295"/>
                <a:gd name="connsiteY517" fmla="*/ 316981 h 428865"/>
                <a:gd name="connsiteX518" fmla="*/ 124275 w 198295"/>
                <a:gd name="connsiteY518" fmla="*/ 309611 h 428865"/>
                <a:gd name="connsiteX519" fmla="*/ 123036 w 198295"/>
                <a:gd name="connsiteY519" fmla="*/ 306854 h 428865"/>
                <a:gd name="connsiteX520" fmla="*/ 123709 w 198295"/>
                <a:gd name="connsiteY520" fmla="*/ 304044 h 428865"/>
                <a:gd name="connsiteX521" fmla="*/ 122297 w 198295"/>
                <a:gd name="connsiteY521" fmla="*/ 293974 h 428865"/>
                <a:gd name="connsiteX522" fmla="*/ 119509 w 198295"/>
                <a:gd name="connsiteY522" fmla="*/ 290708 h 428865"/>
                <a:gd name="connsiteX523" fmla="*/ 120062 w 198295"/>
                <a:gd name="connsiteY523" fmla="*/ 287890 h 428865"/>
                <a:gd name="connsiteX524" fmla="*/ 120755 w 198295"/>
                <a:gd name="connsiteY524" fmla="*/ 285394 h 428865"/>
                <a:gd name="connsiteX525" fmla="*/ 120602 w 198295"/>
                <a:gd name="connsiteY525" fmla="*/ 280767 h 428865"/>
                <a:gd name="connsiteX526" fmla="*/ 121287 w 198295"/>
                <a:gd name="connsiteY526" fmla="*/ 279341 h 428865"/>
                <a:gd name="connsiteX527" fmla="*/ 122643 w 198295"/>
                <a:gd name="connsiteY527" fmla="*/ 278248 h 428865"/>
                <a:gd name="connsiteX528" fmla="*/ 121371 w 198295"/>
                <a:gd name="connsiteY528" fmla="*/ 278633 h 428865"/>
                <a:gd name="connsiteX529" fmla="*/ 120291 w 198295"/>
                <a:gd name="connsiteY529" fmla="*/ 278960 h 428865"/>
                <a:gd name="connsiteX530" fmla="*/ 117758 w 198295"/>
                <a:gd name="connsiteY530" fmla="*/ 279231 h 428865"/>
                <a:gd name="connsiteX531" fmla="*/ 114901 w 198295"/>
                <a:gd name="connsiteY531" fmla="*/ 279284 h 428865"/>
                <a:gd name="connsiteX532" fmla="*/ 113910 w 198295"/>
                <a:gd name="connsiteY532" fmla="*/ 275903 h 428865"/>
                <a:gd name="connsiteX533" fmla="*/ 112504 w 198295"/>
                <a:gd name="connsiteY533" fmla="*/ 274281 h 428865"/>
                <a:gd name="connsiteX534" fmla="*/ 111271 w 198295"/>
                <a:gd name="connsiteY534" fmla="*/ 270883 h 428865"/>
                <a:gd name="connsiteX535" fmla="*/ 110532 w 198295"/>
                <a:gd name="connsiteY535" fmla="*/ 267029 h 428865"/>
                <a:gd name="connsiteX536" fmla="*/ 111016 w 198295"/>
                <a:gd name="connsiteY536" fmla="*/ 266269 h 428865"/>
                <a:gd name="connsiteX537" fmla="*/ 108805 w 198295"/>
                <a:gd name="connsiteY537" fmla="*/ 264695 h 428865"/>
                <a:gd name="connsiteX538" fmla="*/ 108237 w 198295"/>
                <a:gd name="connsiteY538" fmla="*/ 263731 h 428865"/>
                <a:gd name="connsiteX539" fmla="*/ 105929 w 198295"/>
                <a:gd name="connsiteY539" fmla="*/ 261217 h 428865"/>
                <a:gd name="connsiteX540" fmla="*/ 103305 w 198295"/>
                <a:gd name="connsiteY540" fmla="*/ 259310 h 428865"/>
                <a:gd name="connsiteX541" fmla="*/ 103886 w 198295"/>
                <a:gd name="connsiteY541" fmla="*/ 260651 h 428865"/>
                <a:gd name="connsiteX542" fmla="*/ 104595 w 198295"/>
                <a:gd name="connsiteY542" fmla="*/ 261501 h 428865"/>
                <a:gd name="connsiteX543" fmla="*/ 103293 w 198295"/>
                <a:gd name="connsiteY543" fmla="*/ 263822 h 428865"/>
                <a:gd name="connsiteX544" fmla="*/ 104568 w 198295"/>
                <a:gd name="connsiteY544" fmla="*/ 267736 h 428865"/>
                <a:gd name="connsiteX545" fmla="*/ 103450 w 198295"/>
                <a:gd name="connsiteY545" fmla="*/ 270232 h 428865"/>
                <a:gd name="connsiteX546" fmla="*/ 102403 w 198295"/>
                <a:gd name="connsiteY546" fmla="*/ 273480 h 428865"/>
                <a:gd name="connsiteX547" fmla="*/ 101403 w 198295"/>
                <a:gd name="connsiteY547" fmla="*/ 275026 h 428865"/>
                <a:gd name="connsiteX548" fmla="*/ 98242 w 198295"/>
                <a:gd name="connsiteY548" fmla="*/ 278354 h 428865"/>
                <a:gd name="connsiteX549" fmla="*/ 95681 w 198295"/>
                <a:gd name="connsiteY549" fmla="*/ 279480 h 428865"/>
                <a:gd name="connsiteX550" fmla="*/ 94011 w 198295"/>
                <a:gd name="connsiteY550" fmla="*/ 279694 h 428865"/>
                <a:gd name="connsiteX551" fmla="*/ 92534 w 198295"/>
                <a:gd name="connsiteY551" fmla="*/ 279340 h 428865"/>
                <a:gd name="connsiteX552" fmla="*/ 90718 w 198295"/>
                <a:gd name="connsiteY552" fmla="*/ 277625 h 428865"/>
                <a:gd name="connsiteX553" fmla="*/ 90273 w 198295"/>
                <a:gd name="connsiteY553" fmla="*/ 276190 h 428865"/>
                <a:gd name="connsiteX554" fmla="*/ 89982 w 198295"/>
                <a:gd name="connsiteY554" fmla="*/ 273776 h 428865"/>
                <a:gd name="connsiteX555" fmla="*/ 89349 w 198295"/>
                <a:gd name="connsiteY555" fmla="*/ 273430 h 428865"/>
                <a:gd name="connsiteX556" fmla="*/ 88658 w 198295"/>
                <a:gd name="connsiteY556" fmla="*/ 273709 h 428865"/>
                <a:gd name="connsiteX557" fmla="*/ 89734 w 198295"/>
                <a:gd name="connsiteY557" fmla="*/ 276824 h 428865"/>
                <a:gd name="connsiteX558" fmla="*/ 89712 w 198295"/>
                <a:gd name="connsiteY558" fmla="*/ 278274 h 428865"/>
                <a:gd name="connsiteX559" fmla="*/ 91649 w 198295"/>
                <a:gd name="connsiteY559" fmla="*/ 281067 h 428865"/>
                <a:gd name="connsiteX560" fmla="*/ 90958 w 198295"/>
                <a:gd name="connsiteY560" fmla="*/ 281848 h 428865"/>
                <a:gd name="connsiteX561" fmla="*/ 87464 w 198295"/>
                <a:gd name="connsiteY561" fmla="*/ 283381 h 428865"/>
                <a:gd name="connsiteX562" fmla="*/ 86268 w 198295"/>
                <a:gd name="connsiteY562" fmla="*/ 283135 h 428865"/>
                <a:gd name="connsiteX563" fmla="*/ 85425 w 198295"/>
                <a:gd name="connsiteY563" fmla="*/ 283440 h 428865"/>
                <a:gd name="connsiteX564" fmla="*/ 85188 w 198295"/>
                <a:gd name="connsiteY564" fmla="*/ 284696 h 428865"/>
                <a:gd name="connsiteX565" fmla="*/ 84750 w 198295"/>
                <a:gd name="connsiteY565" fmla="*/ 285397 h 428865"/>
                <a:gd name="connsiteX566" fmla="*/ 79243 w 198295"/>
                <a:gd name="connsiteY566" fmla="*/ 287318 h 428865"/>
                <a:gd name="connsiteX567" fmla="*/ 78096 w 198295"/>
                <a:gd name="connsiteY567" fmla="*/ 289488 h 428865"/>
                <a:gd name="connsiteX568" fmla="*/ 77390 w 198295"/>
                <a:gd name="connsiteY568" fmla="*/ 291679 h 428865"/>
                <a:gd name="connsiteX569" fmla="*/ 74652 w 198295"/>
                <a:gd name="connsiteY569" fmla="*/ 294828 h 428865"/>
                <a:gd name="connsiteX570" fmla="*/ 70979 w 198295"/>
                <a:gd name="connsiteY570" fmla="*/ 297436 h 428865"/>
                <a:gd name="connsiteX571" fmla="*/ 70070 w 198295"/>
                <a:gd name="connsiteY571" fmla="*/ 297288 h 428865"/>
                <a:gd name="connsiteX572" fmla="*/ 69032 w 198295"/>
                <a:gd name="connsiteY572" fmla="*/ 296680 h 428865"/>
                <a:gd name="connsiteX573" fmla="*/ 69172 w 198295"/>
                <a:gd name="connsiteY573" fmla="*/ 293863 h 428865"/>
                <a:gd name="connsiteX574" fmla="*/ 70431 w 198295"/>
                <a:gd name="connsiteY574" fmla="*/ 291482 h 428865"/>
                <a:gd name="connsiteX575" fmla="*/ 70033 w 198295"/>
                <a:gd name="connsiteY575" fmla="*/ 288939 h 428865"/>
                <a:gd name="connsiteX576" fmla="*/ 69729 w 198295"/>
                <a:gd name="connsiteY576" fmla="*/ 290398 h 428865"/>
                <a:gd name="connsiteX577" fmla="*/ 67360 w 198295"/>
                <a:gd name="connsiteY577" fmla="*/ 293945 h 428865"/>
                <a:gd name="connsiteX578" fmla="*/ 66279 w 198295"/>
                <a:gd name="connsiteY578" fmla="*/ 295104 h 428865"/>
                <a:gd name="connsiteX579" fmla="*/ 64097 w 198295"/>
                <a:gd name="connsiteY579" fmla="*/ 294798 h 428865"/>
                <a:gd name="connsiteX580" fmla="*/ 61096 w 198295"/>
                <a:gd name="connsiteY580" fmla="*/ 295272 h 428865"/>
                <a:gd name="connsiteX581" fmla="*/ 59960 w 198295"/>
                <a:gd name="connsiteY581" fmla="*/ 291626 h 428865"/>
                <a:gd name="connsiteX582" fmla="*/ 59981 w 198295"/>
                <a:gd name="connsiteY582" fmla="*/ 290286 h 428865"/>
                <a:gd name="connsiteX583" fmla="*/ 59761 w 198295"/>
                <a:gd name="connsiteY583" fmla="*/ 289158 h 428865"/>
                <a:gd name="connsiteX584" fmla="*/ 60107 w 198295"/>
                <a:gd name="connsiteY584" fmla="*/ 287959 h 428865"/>
                <a:gd name="connsiteX585" fmla="*/ 60003 w 198295"/>
                <a:gd name="connsiteY585" fmla="*/ 287006 h 428865"/>
                <a:gd name="connsiteX586" fmla="*/ 59274 w 198295"/>
                <a:gd name="connsiteY586" fmla="*/ 288829 h 428865"/>
                <a:gd name="connsiteX587" fmla="*/ 58999 w 198295"/>
                <a:gd name="connsiteY587" fmla="*/ 290407 h 428865"/>
                <a:gd name="connsiteX588" fmla="*/ 57902 w 198295"/>
                <a:gd name="connsiteY588" fmla="*/ 291808 h 428865"/>
                <a:gd name="connsiteX589" fmla="*/ 54881 w 198295"/>
                <a:gd name="connsiteY589" fmla="*/ 293320 h 428865"/>
                <a:gd name="connsiteX590" fmla="*/ 54765 w 198295"/>
                <a:gd name="connsiteY590" fmla="*/ 291407 h 428865"/>
                <a:gd name="connsiteX591" fmla="*/ 54657 w 198295"/>
                <a:gd name="connsiteY591" fmla="*/ 289682 h 428865"/>
                <a:gd name="connsiteX592" fmla="*/ 55306 w 198295"/>
                <a:gd name="connsiteY592" fmla="*/ 288129 h 428865"/>
                <a:gd name="connsiteX593" fmla="*/ 55213 w 198295"/>
                <a:gd name="connsiteY593" fmla="*/ 285662 h 428865"/>
                <a:gd name="connsiteX594" fmla="*/ 56172 w 198295"/>
                <a:gd name="connsiteY594" fmla="*/ 282105 h 428865"/>
                <a:gd name="connsiteX595" fmla="*/ 56099 w 198295"/>
                <a:gd name="connsiteY595" fmla="*/ 280885 h 428865"/>
                <a:gd name="connsiteX596" fmla="*/ 55806 w 198295"/>
                <a:gd name="connsiteY596" fmla="*/ 279535 h 428865"/>
                <a:gd name="connsiteX597" fmla="*/ 55268 w 198295"/>
                <a:gd name="connsiteY597" fmla="*/ 281495 h 428865"/>
                <a:gd name="connsiteX598" fmla="*/ 54963 w 198295"/>
                <a:gd name="connsiteY598" fmla="*/ 283526 h 428865"/>
                <a:gd name="connsiteX599" fmla="*/ 54355 w 198295"/>
                <a:gd name="connsiteY599" fmla="*/ 284140 h 428865"/>
                <a:gd name="connsiteX600" fmla="*/ 53244 w 198295"/>
                <a:gd name="connsiteY600" fmla="*/ 284600 h 428865"/>
                <a:gd name="connsiteX601" fmla="*/ 51214 w 198295"/>
                <a:gd name="connsiteY601" fmla="*/ 286930 h 428865"/>
                <a:gd name="connsiteX602" fmla="*/ 50018 w 198295"/>
                <a:gd name="connsiteY602" fmla="*/ 289012 h 428865"/>
                <a:gd name="connsiteX603" fmla="*/ 46866 w 198295"/>
                <a:gd name="connsiteY603" fmla="*/ 290980 h 428865"/>
                <a:gd name="connsiteX604" fmla="*/ 45203 w 198295"/>
                <a:gd name="connsiteY604" fmla="*/ 290779 h 428865"/>
                <a:gd name="connsiteX605" fmla="*/ 44991 w 198295"/>
                <a:gd name="connsiteY605" fmla="*/ 288281 h 428865"/>
                <a:gd name="connsiteX606" fmla="*/ 46252 w 198295"/>
                <a:gd name="connsiteY606" fmla="*/ 279413 h 428865"/>
                <a:gd name="connsiteX607" fmla="*/ 47491 w 198295"/>
                <a:gd name="connsiteY607" fmla="*/ 278166 h 428865"/>
                <a:gd name="connsiteX608" fmla="*/ 48068 w 198295"/>
                <a:gd name="connsiteY608" fmla="*/ 276626 h 428865"/>
                <a:gd name="connsiteX609" fmla="*/ 49098 w 198295"/>
                <a:gd name="connsiteY609" fmla="*/ 271439 h 428865"/>
                <a:gd name="connsiteX610" fmla="*/ 50258 w 198295"/>
                <a:gd name="connsiteY610" fmla="*/ 269475 h 428865"/>
                <a:gd name="connsiteX611" fmla="*/ 50715 w 198295"/>
                <a:gd name="connsiteY611" fmla="*/ 265358 h 428865"/>
                <a:gd name="connsiteX612" fmla="*/ 51184 w 198295"/>
                <a:gd name="connsiteY612" fmla="*/ 264650 h 428865"/>
                <a:gd name="connsiteX613" fmla="*/ 52734 w 198295"/>
                <a:gd name="connsiteY613" fmla="*/ 261417 h 428865"/>
                <a:gd name="connsiteX614" fmla="*/ 53277 w 198295"/>
                <a:gd name="connsiteY614" fmla="*/ 255475 h 428865"/>
                <a:gd name="connsiteX615" fmla="*/ 52638 w 198295"/>
                <a:gd name="connsiteY615" fmla="*/ 252519 h 428865"/>
                <a:gd name="connsiteX616" fmla="*/ 51184 w 198295"/>
                <a:gd name="connsiteY616" fmla="*/ 249654 h 428865"/>
                <a:gd name="connsiteX617" fmla="*/ 49778 w 198295"/>
                <a:gd name="connsiteY617" fmla="*/ 241045 h 428865"/>
                <a:gd name="connsiteX618" fmla="*/ 46131 w 198295"/>
                <a:gd name="connsiteY618" fmla="*/ 234060 h 428865"/>
                <a:gd name="connsiteX619" fmla="*/ 45829 w 198295"/>
                <a:gd name="connsiteY619" fmla="*/ 231728 h 428865"/>
                <a:gd name="connsiteX620" fmla="*/ 44028 w 198295"/>
                <a:gd name="connsiteY620" fmla="*/ 228908 h 428865"/>
                <a:gd name="connsiteX621" fmla="*/ 45686 w 198295"/>
                <a:gd name="connsiteY621" fmla="*/ 228708 h 428865"/>
                <a:gd name="connsiteX622" fmla="*/ 42272 w 198295"/>
                <a:gd name="connsiteY622" fmla="*/ 226234 h 428865"/>
                <a:gd name="connsiteX623" fmla="*/ 41802 w 198295"/>
                <a:gd name="connsiteY623" fmla="*/ 225222 h 428865"/>
                <a:gd name="connsiteX624" fmla="*/ 41115 w 198295"/>
                <a:gd name="connsiteY624" fmla="*/ 219429 h 428865"/>
                <a:gd name="connsiteX625" fmla="*/ 41247 w 198295"/>
                <a:gd name="connsiteY625" fmla="*/ 216190 h 428865"/>
                <a:gd name="connsiteX626" fmla="*/ 40750 w 198295"/>
                <a:gd name="connsiteY626" fmla="*/ 216617 h 428865"/>
                <a:gd name="connsiteX627" fmla="*/ 40288 w 198295"/>
                <a:gd name="connsiteY627" fmla="*/ 218613 h 428865"/>
                <a:gd name="connsiteX628" fmla="*/ 38949 w 198295"/>
                <a:gd name="connsiteY628" fmla="*/ 219431 h 428865"/>
                <a:gd name="connsiteX629" fmla="*/ 39547 w 198295"/>
                <a:gd name="connsiteY629" fmla="*/ 222893 h 428865"/>
                <a:gd name="connsiteX630" fmla="*/ 39398 w 198295"/>
                <a:gd name="connsiteY630" fmla="*/ 223733 h 428865"/>
                <a:gd name="connsiteX631" fmla="*/ 38688 w 198295"/>
                <a:gd name="connsiteY631" fmla="*/ 225078 h 428865"/>
                <a:gd name="connsiteX632" fmla="*/ 35833 w 198295"/>
                <a:gd name="connsiteY632" fmla="*/ 223682 h 428865"/>
                <a:gd name="connsiteX633" fmla="*/ 33741 w 198295"/>
                <a:gd name="connsiteY633" fmla="*/ 222163 h 428865"/>
                <a:gd name="connsiteX634" fmla="*/ 31368 w 198295"/>
                <a:gd name="connsiteY634" fmla="*/ 218459 h 428865"/>
                <a:gd name="connsiteX635" fmla="*/ 29044 w 198295"/>
                <a:gd name="connsiteY635" fmla="*/ 214307 h 428865"/>
                <a:gd name="connsiteX636" fmla="*/ 29873 w 198295"/>
                <a:gd name="connsiteY636" fmla="*/ 213663 h 428865"/>
                <a:gd name="connsiteX637" fmla="*/ 30936 w 198295"/>
                <a:gd name="connsiteY637" fmla="*/ 213580 h 428865"/>
                <a:gd name="connsiteX638" fmla="*/ 34239 w 198295"/>
                <a:gd name="connsiteY638" fmla="*/ 216670 h 428865"/>
                <a:gd name="connsiteX639" fmla="*/ 36382 w 198295"/>
                <a:gd name="connsiteY639" fmla="*/ 217313 h 428865"/>
                <a:gd name="connsiteX640" fmla="*/ 37735 w 198295"/>
                <a:gd name="connsiteY640" fmla="*/ 216545 h 428865"/>
                <a:gd name="connsiteX641" fmla="*/ 39414 w 198295"/>
                <a:gd name="connsiteY641" fmla="*/ 215228 h 428865"/>
                <a:gd name="connsiteX642" fmla="*/ 40213 w 198295"/>
                <a:gd name="connsiteY642" fmla="*/ 212669 h 428865"/>
                <a:gd name="connsiteX643" fmla="*/ 39386 w 198295"/>
                <a:gd name="connsiteY643" fmla="*/ 211732 h 428865"/>
                <a:gd name="connsiteX644" fmla="*/ 37775 w 198295"/>
                <a:gd name="connsiteY644" fmla="*/ 211222 h 428865"/>
                <a:gd name="connsiteX645" fmla="*/ 36705 w 198295"/>
                <a:gd name="connsiteY645" fmla="*/ 210528 h 428865"/>
                <a:gd name="connsiteX646" fmla="*/ 35166 w 198295"/>
                <a:gd name="connsiteY646" fmla="*/ 208796 h 428865"/>
                <a:gd name="connsiteX647" fmla="*/ 34970 w 198295"/>
                <a:gd name="connsiteY647" fmla="*/ 207912 h 428865"/>
                <a:gd name="connsiteX648" fmla="*/ 34494 w 198295"/>
                <a:gd name="connsiteY648" fmla="*/ 206781 h 428865"/>
                <a:gd name="connsiteX649" fmla="*/ 32929 w 198295"/>
                <a:gd name="connsiteY649" fmla="*/ 205983 h 428865"/>
                <a:gd name="connsiteX650" fmla="*/ 31668 w 198295"/>
                <a:gd name="connsiteY650" fmla="*/ 204970 h 428865"/>
                <a:gd name="connsiteX651" fmla="*/ 32733 w 198295"/>
                <a:gd name="connsiteY651" fmla="*/ 203176 h 428865"/>
                <a:gd name="connsiteX652" fmla="*/ 33775 w 198295"/>
                <a:gd name="connsiteY652" fmla="*/ 201842 h 428865"/>
                <a:gd name="connsiteX653" fmla="*/ 31007 w 198295"/>
                <a:gd name="connsiteY653" fmla="*/ 201901 h 428865"/>
                <a:gd name="connsiteX654" fmla="*/ 27850 w 198295"/>
                <a:gd name="connsiteY654" fmla="*/ 199605 h 428865"/>
                <a:gd name="connsiteX655" fmla="*/ 27198 w 198295"/>
                <a:gd name="connsiteY655" fmla="*/ 198940 h 428865"/>
                <a:gd name="connsiteX656" fmla="*/ 26152 w 198295"/>
                <a:gd name="connsiteY656" fmla="*/ 198480 h 428865"/>
                <a:gd name="connsiteX657" fmla="*/ 23670 w 198295"/>
                <a:gd name="connsiteY657" fmla="*/ 198208 h 428865"/>
                <a:gd name="connsiteX658" fmla="*/ 21605 w 198295"/>
                <a:gd name="connsiteY658" fmla="*/ 198884 h 428865"/>
                <a:gd name="connsiteX659" fmla="*/ 22542 w 198295"/>
                <a:gd name="connsiteY659" fmla="*/ 202160 h 428865"/>
                <a:gd name="connsiteX660" fmla="*/ 22356 w 198295"/>
                <a:gd name="connsiteY660" fmla="*/ 203243 h 428865"/>
                <a:gd name="connsiteX661" fmla="*/ 21005 w 198295"/>
                <a:gd name="connsiteY661" fmla="*/ 203087 h 428865"/>
                <a:gd name="connsiteX662" fmla="*/ 18185 w 198295"/>
                <a:gd name="connsiteY662" fmla="*/ 198099 h 428865"/>
                <a:gd name="connsiteX663" fmla="*/ 19033 w 198295"/>
                <a:gd name="connsiteY663" fmla="*/ 196835 h 428865"/>
                <a:gd name="connsiteX664" fmla="*/ 20253 w 198295"/>
                <a:gd name="connsiteY664" fmla="*/ 195648 h 428865"/>
                <a:gd name="connsiteX665" fmla="*/ 19653 w 198295"/>
                <a:gd name="connsiteY665" fmla="*/ 195480 h 428865"/>
                <a:gd name="connsiteX666" fmla="*/ 18476 w 198295"/>
                <a:gd name="connsiteY666" fmla="*/ 195558 h 428865"/>
                <a:gd name="connsiteX667" fmla="*/ 19619 w 198295"/>
                <a:gd name="connsiteY667" fmla="*/ 191128 h 428865"/>
                <a:gd name="connsiteX668" fmla="*/ 18923 w 198295"/>
                <a:gd name="connsiteY668" fmla="*/ 190471 h 428865"/>
                <a:gd name="connsiteX669" fmla="*/ 18556 w 198295"/>
                <a:gd name="connsiteY669" fmla="*/ 191856 h 428865"/>
                <a:gd name="connsiteX670" fmla="*/ 17936 w 198295"/>
                <a:gd name="connsiteY670" fmla="*/ 193193 h 428865"/>
                <a:gd name="connsiteX671" fmla="*/ 15535 w 198295"/>
                <a:gd name="connsiteY671" fmla="*/ 196321 h 428865"/>
                <a:gd name="connsiteX672" fmla="*/ 14345 w 198295"/>
                <a:gd name="connsiteY672" fmla="*/ 195735 h 428865"/>
                <a:gd name="connsiteX673" fmla="*/ 13524 w 198295"/>
                <a:gd name="connsiteY673" fmla="*/ 194956 h 428865"/>
                <a:gd name="connsiteX674" fmla="*/ 14682 w 198295"/>
                <a:gd name="connsiteY674" fmla="*/ 193317 h 428865"/>
                <a:gd name="connsiteX675" fmla="*/ 15304 w 198295"/>
                <a:gd name="connsiteY675" fmla="*/ 192876 h 428865"/>
                <a:gd name="connsiteX676" fmla="*/ 15734 w 198295"/>
                <a:gd name="connsiteY676" fmla="*/ 191987 h 428865"/>
                <a:gd name="connsiteX677" fmla="*/ 14840 w 198295"/>
                <a:gd name="connsiteY677" fmla="*/ 190271 h 428865"/>
                <a:gd name="connsiteX678" fmla="*/ 13429 w 198295"/>
                <a:gd name="connsiteY678" fmla="*/ 189022 h 428865"/>
                <a:gd name="connsiteX679" fmla="*/ 12296 w 198295"/>
                <a:gd name="connsiteY679" fmla="*/ 186863 h 428865"/>
                <a:gd name="connsiteX680" fmla="*/ 11706 w 198295"/>
                <a:gd name="connsiteY680" fmla="*/ 186834 h 428865"/>
                <a:gd name="connsiteX681" fmla="*/ 12229 w 198295"/>
                <a:gd name="connsiteY681" fmla="*/ 189383 h 428865"/>
                <a:gd name="connsiteX682" fmla="*/ 12013 w 198295"/>
                <a:gd name="connsiteY682" fmla="*/ 193018 h 428865"/>
                <a:gd name="connsiteX683" fmla="*/ 9474 w 198295"/>
                <a:gd name="connsiteY683" fmla="*/ 189003 h 428865"/>
                <a:gd name="connsiteX684" fmla="*/ 4395 w 198295"/>
                <a:gd name="connsiteY684" fmla="*/ 183291 h 428865"/>
                <a:gd name="connsiteX685" fmla="*/ 3196 w 198295"/>
                <a:gd name="connsiteY685" fmla="*/ 181577 h 428865"/>
                <a:gd name="connsiteX686" fmla="*/ 2926 w 198295"/>
                <a:gd name="connsiteY686" fmla="*/ 179902 h 428865"/>
                <a:gd name="connsiteX687" fmla="*/ 2358 w 198295"/>
                <a:gd name="connsiteY687" fmla="*/ 178351 h 428865"/>
                <a:gd name="connsiteX688" fmla="*/ 1965 w 198295"/>
                <a:gd name="connsiteY688" fmla="*/ 176663 h 428865"/>
                <a:gd name="connsiteX689" fmla="*/ 1877 w 198295"/>
                <a:gd name="connsiteY689" fmla="*/ 175351 h 428865"/>
                <a:gd name="connsiteX690" fmla="*/ 778 w 198295"/>
                <a:gd name="connsiteY690" fmla="*/ 174168 h 428865"/>
                <a:gd name="connsiteX691" fmla="*/ 275 w 198295"/>
                <a:gd name="connsiteY691" fmla="*/ 172098 h 428865"/>
                <a:gd name="connsiteX692" fmla="*/ 0 w 198295"/>
                <a:gd name="connsiteY692" fmla="*/ 169997 h 428865"/>
                <a:gd name="connsiteX693" fmla="*/ 633 w 198295"/>
                <a:gd name="connsiteY693" fmla="*/ 168499 h 428865"/>
                <a:gd name="connsiteX694" fmla="*/ 2214 w 198295"/>
                <a:gd name="connsiteY694" fmla="*/ 166886 h 428865"/>
                <a:gd name="connsiteX695" fmla="*/ 3339 w 198295"/>
                <a:gd name="connsiteY695" fmla="*/ 166604 h 428865"/>
                <a:gd name="connsiteX696" fmla="*/ 4269 w 198295"/>
                <a:gd name="connsiteY696" fmla="*/ 167316 h 428865"/>
                <a:gd name="connsiteX697" fmla="*/ 6464 w 198295"/>
                <a:gd name="connsiteY697" fmla="*/ 168381 h 428865"/>
                <a:gd name="connsiteX698" fmla="*/ 7951 w 198295"/>
                <a:gd name="connsiteY698" fmla="*/ 169379 h 428865"/>
                <a:gd name="connsiteX699" fmla="*/ 8601 w 198295"/>
                <a:gd name="connsiteY699" fmla="*/ 170685 h 428865"/>
                <a:gd name="connsiteX700" fmla="*/ 9292 w 198295"/>
                <a:gd name="connsiteY700" fmla="*/ 170528 h 428865"/>
                <a:gd name="connsiteX701" fmla="*/ 9996 w 198295"/>
                <a:gd name="connsiteY701" fmla="*/ 169694 h 428865"/>
                <a:gd name="connsiteX702" fmla="*/ 9856 w 198295"/>
                <a:gd name="connsiteY702" fmla="*/ 168664 h 428865"/>
                <a:gd name="connsiteX703" fmla="*/ 9152 w 198295"/>
                <a:gd name="connsiteY703" fmla="*/ 165966 h 428865"/>
                <a:gd name="connsiteX704" fmla="*/ 8949 w 198295"/>
                <a:gd name="connsiteY704" fmla="*/ 162686 h 428865"/>
                <a:gd name="connsiteX705" fmla="*/ 8916 w 198295"/>
                <a:gd name="connsiteY705" fmla="*/ 155008 h 428865"/>
                <a:gd name="connsiteX706" fmla="*/ 8742 w 198295"/>
                <a:gd name="connsiteY706" fmla="*/ 154133 h 428865"/>
                <a:gd name="connsiteX707" fmla="*/ 9968 w 198295"/>
                <a:gd name="connsiteY707" fmla="*/ 153361 h 428865"/>
                <a:gd name="connsiteX708" fmla="*/ 10460 w 198295"/>
                <a:gd name="connsiteY708" fmla="*/ 152480 h 428865"/>
                <a:gd name="connsiteX709" fmla="*/ 10949 w 198295"/>
                <a:gd name="connsiteY709" fmla="*/ 151164 h 428865"/>
                <a:gd name="connsiteX710" fmla="*/ 11263 w 198295"/>
                <a:gd name="connsiteY710" fmla="*/ 150585 h 428865"/>
                <a:gd name="connsiteX711" fmla="*/ 11972 w 198295"/>
                <a:gd name="connsiteY711" fmla="*/ 150551 h 428865"/>
                <a:gd name="connsiteX712" fmla="*/ 13086 w 198295"/>
                <a:gd name="connsiteY712" fmla="*/ 151192 h 428865"/>
                <a:gd name="connsiteX713" fmla="*/ 14920 w 198295"/>
                <a:gd name="connsiteY713" fmla="*/ 153388 h 428865"/>
                <a:gd name="connsiteX714" fmla="*/ 16140 w 198295"/>
                <a:gd name="connsiteY714" fmla="*/ 153881 h 428865"/>
                <a:gd name="connsiteX715" fmla="*/ 17358 w 198295"/>
                <a:gd name="connsiteY715" fmla="*/ 153537 h 428865"/>
                <a:gd name="connsiteX716" fmla="*/ 18627 w 198295"/>
                <a:gd name="connsiteY716" fmla="*/ 150243 h 428865"/>
                <a:gd name="connsiteX717" fmla="*/ 19092 w 198295"/>
                <a:gd name="connsiteY717" fmla="*/ 149354 h 428865"/>
                <a:gd name="connsiteX718" fmla="*/ 19702 w 198295"/>
                <a:gd name="connsiteY718" fmla="*/ 148764 h 428865"/>
                <a:gd name="connsiteX719" fmla="*/ 20827 w 198295"/>
                <a:gd name="connsiteY719" fmla="*/ 148862 h 428865"/>
                <a:gd name="connsiteX720" fmla="*/ 21484 w 198295"/>
                <a:gd name="connsiteY720" fmla="*/ 148271 h 428865"/>
                <a:gd name="connsiteX721" fmla="*/ 21732 w 198295"/>
                <a:gd name="connsiteY721" fmla="*/ 146848 h 428865"/>
                <a:gd name="connsiteX722" fmla="*/ 21724 w 198295"/>
                <a:gd name="connsiteY722" fmla="*/ 145261 h 428865"/>
                <a:gd name="connsiteX723" fmla="*/ 20465 w 198295"/>
                <a:gd name="connsiteY723" fmla="*/ 140916 h 428865"/>
                <a:gd name="connsiteX724" fmla="*/ 20091 w 198295"/>
                <a:gd name="connsiteY724" fmla="*/ 138913 h 428865"/>
                <a:gd name="connsiteX725" fmla="*/ 19881 w 198295"/>
                <a:gd name="connsiteY725" fmla="*/ 136936 h 428865"/>
                <a:gd name="connsiteX726" fmla="*/ 20667 w 198295"/>
                <a:gd name="connsiteY726" fmla="*/ 134899 h 428865"/>
                <a:gd name="connsiteX727" fmla="*/ 21735 w 198295"/>
                <a:gd name="connsiteY727" fmla="*/ 132518 h 428865"/>
                <a:gd name="connsiteX728" fmla="*/ 21480 w 198295"/>
                <a:gd name="connsiteY728" fmla="*/ 130436 h 428865"/>
                <a:gd name="connsiteX729" fmla="*/ 21771 w 198295"/>
                <a:gd name="connsiteY729" fmla="*/ 129627 h 428865"/>
                <a:gd name="connsiteX730" fmla="*/ 22650 w 198295"/>
                <a:gd name="connsiteY730" fmla="*/ 129511 h 428865"/>
                <a:gd name="connsiteX731" fmla="*/ 23747 w 198295"/>
                <a:gd name="connsiteY731" fmla="*/ 130013 h 428865"/>
                <a:gd name="connsiteX732" fmla="*/ 24952 w 198295"/>
                <a:gd name="connsiteY732" fmla="*/ 129666 h 428865"/>
                <a:gd name="connsiteX733" fmla="*/ 25868 w 198295"/>
                <a:gd name="connsiteY733" fmla="*/ 128393 h 428865"/>
                <a:gd name="connsiteX734" fmla="*/ 26235 w 198295"/>
                <a:gd name="connsiteY734" fmla="*/ 127285 h 428865"/>
                <a:gd name="connsiteX735" fmla="*/ 26794 w 198295"/>
                <a:gd name="connsiteY735" fmla="*/ 122464 h 428865"/>
                <a:gd name="connsiteX736" fmla="*/ 27165 w 198295"/>
                <a:gd name="connsiteY736" fmla="*/ 118053 h 428865"/>
                <a:gd name="connsiteX737" fmla="*/ 27317 w 198295"/>
                <a:gd name="connsiteY737" fmla="*/ 114453 h 428865"/>
                <a:gd name="connsiteX738" fmla="*/ 26379 w 198295"/>
                <a:gd name="connsiteY738" fmla="*/ 112300 h 428865"/>
                <a:gd name="connsiteX739" fmla="*/ 24937 w 198295"/>
                <a:gd name="connsiteY739" fmla="*/ 106503 h 428865"/>
                <a:gd name="connsiteX740" fmla="*/ 25356 w 198295"/>
                <a:gd name="connsiteY740" fmla="*/ 105512 h 428865"/>
                <a:gd name="connsiteX741" fmla="*/ 26004 w 198295"/>
                <a:gd name="connsiteY741" fmla="*/ 105279 h 428865"/>
                <a:gd name="connsiteX742" fmla="*/ 28139 w 198295"/>
                <a:gd name="connsiteY742" fmla="*/ 107310 h 428865"/>
                <a:gd name="connsiteX743" fmla="*/ 29059 w 198295"/>
                <a:gd name="connsiteY743" fmla="*/ 107651 h 428865"/>
                <a:gd name="connsiteX744" fmla="*/ 30614 w 198295"/>
                <a:gd name="connsiteY744" fmla="*/ 107341 h 428865"/>
                <a:gd name="connsiteX745" fmla="*/ 32145 w 198295"/>
                <a:gd name="connsiteY745" fmla="*/ 106889 h 428865"/>
                <a:gd name="connsiteX746" fmla="*/ 33253 w 198295"/>
                <a:gd name="connsiteY746" fmla="*/ 106862 h 428865"/>
                <a:gd name="connsiteX747" fmla="*/ 34855 w 198295"/>
                <a:gd name="connsiteY747" fmla="*/ 107556 h 428865"/>
                <a:gd name="connsiteX748" fmla="*/ 37057 w 198295"/>
                <a:gd name="connsiteY748" fmla="*/ 108328 h 428865"/>
                <a:gd name="connsiteX749" fmla="*/ 40493 w 198295"/>
                <a:gd name="connsiteY749" fmla="*/ 109287 h 428865"/>
                <a:gd name="connsiteX750" fmla="*/ 41907 w 198295"/>
                <a:gd name="connsiteY750" fmla="*/ 110010 h 428865"/>
                <a:gd name="connsiteX751" fmla="*/ 43076 w 198295"/>
                <a:gd name="connsiteY751" fmla="*/ 109907 h 428865"/>
                <a:gd name="connsiteX752" fmla="*/ 44019 w 198295"/>
                <a:gd name="connsiteY752" fmla="*/ 107655 h 428865"/>
                <a:gd name="connsiteX753" fmla="*/ 45112 w 198295"/>
                <a:gd name="connsiteY753" fmla="*/ 104364 h 428865"/>
                <a:gd name="connsiteX754" fmla="*/ 46734 w 198295"/>
                <a:gd name="connsiteY754" fmla="*/ 99473 h 428865"/>
                <a:gd name="connsiteX755" fmla="*/ 48595 w 198295"/>
                <a:gd name="connsiteY755" fmla="*/ 95910 h 428865"/>
                <a:gd name="connsiteX756" fmla="*/ 49085 w 198295"/>
                <a:gd name="connsiteY756" fmla="*/ 94963 h 428865"/>
                <a:gd name="connsiteX757" fmla="*/ 51159 w 198295"/>
                <a:gd name="connsiteY757" fmla="*/ 92062 h 428865"/>
                <a:gd name="connsiteX758" fmla="*/ 53169 w 198295"/>
                <a:gd name="connsiteY758" fmla="*/ 89017 h 428865"/>
                <a:gd name="connsiteX759" fmla="*/ 54920 w 198295"/>
                <a:gd name="connsiteY759" fmla="*/ 85166 h 428865"/>
                <a:gd name="connsiteX760" fmla="*/ 55900 w 198295"/>
                <a:gd name="connsiteY760" fmla="*/ 82396 h 428865"/>
                <a:gd name="connsiteX761" fmla="*/ 55814 w 198295"/>
                <a:gd name="connsiteY761" fmla="*/ 81239 h 428865"/>
                <a:gd name="connsiteX762" fmla="*/ 55185 w 198295"/>
                <a:gd name="connsiteY762" fmla="*/ 80281 h 428865"/>
                <a:gd name="connsiteX763" fmla="*/ 53866 w 198295"/>
                <a:gd name="connsiteY763" fmla="*/ 79668 h 428865"/>
                <a:gd name="connsiteX764" fmla="*/ 52780 w 198295"/>
                <a:gd name="connsiteY764" fmla="*/ 79034 h 428865"/>
                <a:gd name="connsiteX765" fmla="*/ 52482 w 198295"/>
                <a:gd name="connsiteY765" fmla="*/ 78464 h 428865"/>
                <a:gd name="connsiteX766" fmla="*/ 52512 w 198295"/>
                <a:gd name="connsiteY766" fmla="*/ 77810 h 428865"/>
                <a:gd name="connsiteX767" fmla="*/ 53076 w 198295"/>
                <a:gd name="connsiteY767" fmla="*/ 76011 h 428865"/>
                <a:gd name="connsiteX768" fmla="*/ 54026 w 198295"/>
                <a:gd name="connsiteY768" fmla="*/ 73884 h 428865"/>
                <a:gd name="connsiteX769" fmla="*/ 55019 w 198295"/>
                <a:gd name="connsiteY769" fmla="*/ 72732 h 428865"/>
                <a:gd name="connsiteX770" fmla="*/ 57630 w 198295"/>
                <a:gd name="connsiteY770" fmla="*/ 71306 h 428865"/>
                <a:gd name="connsiteX771" fmla="*/ 59295 w 198295"/>
                <a:gd name="connsiteY771" fmla="*/ 69468 h 428865"/>
                <a:gd name="connsiteX772" fmla="*/ 61165 w 198295"/>
                <a:gd name="connsiteY772" fmla="*/ 67036 h 428865"/>
                <a:gd name="connsiteX773" fmla="*/ 62188 w 198295"/>
                <a:gd name="connsiteY773" fmla="*/ 65377 h 428865"/>
                <a:gd name="connsiteX774" fmla="*/ 62702 w 198295"/>
                <a:gd name="connsiteY774" fmla="*/ 62010 h 428865"/>
                <a:gd name="connsiteX775" fmla="*/ 63266 w 198295"/>
                <a:gd name="connsiteY775" fmla="*/ 61339 h 428865"/>
                <a:gd name="connsiteX776" fmla="*/ 64421 w 198295"/>
                <a:gd name="connsiteY776" fmla="*/ 60251 h 428865"/>
                <a:gd name="connsiteX777" fmla="*/ 65293 w 198295"/>
                <a:gd name="connsiteY777" fmla="*/ 58975 h 428865"/>
                <a:gd name="connsiteX778" fmla="*/ 65224 w 198295"/>
                <a:gd name="connsiteY778" fmla="*/ 58285 h 428865"/>
                <a:gd name="connsiteX779" fmla="*/ 64762 w 198295"/>
                <a:gd name="connsiteY779" fmla="*/ 57788 h 428865"/>
                <a:gd name="connsiteX780" fmla="*/ 63890 w 198295"/>
                <a:gd name="connsiteY780" fmla="*/ 55428 h 428865"/>
                <a:gd name="connsiteX781" fmla="*/ 63490 w 198295"/>
                <a:gd name="connsiteY781" fmla="*/ 51729 h 428865"/>
                <a:gd name="connsiteX782" fmla="*/ 63687 w 198295"/>
                <a:gd name="connsiteY782" fmla="*/ 48725 h 428865"/>
                <a:gd name="connsiteX783" fmla="*/ 64344 w 198295"/>
                <a:gd name="connsiteY783" fmla="*/ 47503 h 428865"/>
                <a:gd name="connsiteX784" fmla="*/ 65211 w 198295"/>
                <a:gd name="connsiteY784" fmla="*/ 45800 h 428865"/>
                <a:gd name="connsiteX785" fmla="*/ 66820 w 198295"/>
                <a:gd name="connsiteY785" fmla="*/ 44753 h 428865"/>
                <a:gd name="connsiteX786" fmla="*/ 69112 w 198295"/>
                <a:gd name="connsiteY786" fmla="*/ 44020 h 428865"/>
                <a:gd name="connsiteX787" fmla="*/ 72622 w 198295"/>
                <a:gd name="connsiteY787" fmla="*/ 42031 h 428865"/>
                <a:gd name="connsiteX788" fmla="*/ 78693 w 198295"/>
                <a:gd name="connsiteY788" fmla="*/ 37412 h 428865"/>
                <a:gd name="connsiteX789" fmla="*/ 80880 w 198295"/>
                <a:gd name="connsiteY789" fmla="*/ 35905 h 428865"/>
                <a:gd name="connsiteX790" fmla="*/ 82383 w 198295"/>
                <a:gd name="connsiteY790" fmla="*/ 35124 h 428865"/>
                <a:gd name="connsiteX791" fmla="*/ 83834 w 198295"/>
                <a:gd name="connsiteY791" fmla="*/ 33186 h 428865"/>
                <a:gd name="connsiteX792" fmla="*/ 85836 w 198295"/>
                <a:gd name="connsiteY792" fmla="*/ 31067 h 428865"/>
                <a:gd name="connsiteX793" fmla="*/ 88697 w 198295"/>
                <a:gd name="connsiteY793" fmla="*/ 30015 h 428865"/>
                <a:gd name="connsiteX794" fmla="*/ 90541 w 198295"/>
                <a:gd name="connsiteY794" fmla="*/ 29608 h 428865"/>
                <a:gd name="connsiteX795" fmla="*/ 99198 w 198295"/>
                <a:gd name="connsiteY795" fmla="*/ 28157 h 428865"/>
                <a:gd name="connsiteX796" fmla="*/ 100656 w 198295"/>
                <a:gd name="connsiteY796" fmla="*/ 28342 h 428865"/>
                <a:gd name="connsiteX797" fmla="*/ 102120 w 198295"/>
                <a:gd name="connsiteY797" fmla="*/ 29183 h 428865"/>
                <a:gd name="connsiteX798" fmla="*/ 103942 w 198295"/>
                <a:gd name="connsiteY798" fmla="*/ 32002 h 428865"/>
                <a:gd name="connsiteX799" fmla="*/ 105560 w 198295"/>
                <a:gd name="connsiteY799" fmla="*/ 33062 h 428865"/>
                <a:gd name="connsiteX800" fmla="*/ 107432 w 198295"/>
                <a:gd name="connsiteY800" fmla="*/ 33805 h 428865"/>
                <a:gd name="connsiteX801" fmla="*/ 108847 w 198295"/>
                <a:gd name="connsiteY801" fmla="*/ 33487 h 428865"/>
                <a:gd name="connsiteX802" fmla="*/ 108883 w 198295"/>
                <a:gd name="connsiteY802" fmla="*/ 32347 h 428865"/>
                <a:gd name="connsiteX803" fmla="*/ 104422 w 198295"/>
                <a:gd name="connsiteY803" fmla="*/ 25766 h 428865"/>
                <a:gd name="connsiteX804" fmla="*/ 104016 w 198295"/>
                <a:gd name="connsiteY804" fmla="*/ 23972 h 428865"/>
                <a:gd name="connsiteX805" fmla="*/ 103867 w 198295"/>
                <a:gd name="connsiteY805" fmla="*/ 22257 h 428865"/>
                <a:gd name="connsiteX806" fmla="*/ 104372 w 198295"/>
                <a:gd name="connsiteY806" fmla="*/ 20894 h 428865"/>
                <a:gd name="connsiteX807" fmla="*/ 105767 w 198295"/>
                <a:gd name="connsiteY807" fmla="*/ 19594 h 428865"/>
                <a:gd name="connsiteX808" fmla="*/ 107689 w 198295"/>
                <a:gd name="connsiteY808" fmla="*/ 18120 h 428865"/>
                <a:gd name="connsiteX809" fmla="*/ 110079 w 198295"/>
                <a:gd name="connsiteY809" fmla="*/ 16284 h 428865"/>
                <a:gd name="connsiteX810" fmla="*/ 111589 w 198295"/>
                <a:gd name="connsiteY810" fmla="*/ 15014 h 428865"/>
                <a:gd name="connsiteX811" fmla="*/ 113359 w 198295"/>
                <a:gd name="connsiteY811" fmla="*/ 14606 h 428865"/>
                <a:gd name="connsiteX812" fmla="*/ 114000 w 198295"/>
                <a:gd name="connsiteY812" fmla="*/ 13873 h 428865"/>
                <a:gd name="connsiteX813" fmla="*/ 114187 w 198295"/>
                <a:gd name="connsiteY813" fmla="*/ 12807 h 428865"/>
                <a:gd name="connsiteX814" fmla="*/ 114089 w 198295"/>
                <a:gd name="connsiteY814" fmla="*/ 11646 h 428865"/>
                <a:gd name="connsiteX815" fmla="*/ 113283 w 198295"/>
                <a:gd name="connsiteY815" fmla="*/ 10327 h 428865"/>
                <a:gd name="connsiteX816" fmla="*/ 113450 w 198295"/>
                <a:gd name="connsiteY816" fmla="*/ 8670 h 428865"/>
                <a:gd name="connsiteX817" fmla="*/ 113720 w 198295"/>
                <a:gd name="connsiteY817" fmla="*/ 7168 h 428865"/>
                <a:gd name="connsiteX818" fmla="*/ 114472 w 198295"/>
                <a:gd name="connsiteY818" fmla="*/ 6293 h 428865"/>
                <a:gd name="connsiteX819" fmla="*/ 116130 w 198295"/>
                <a:gd name="connsiteY819" fmla="*/ 3912 h 428865"/>
                <a:gd name="connsiteX820" fmla="*/ 117154 w 198295"/>
                <a:gd name="connsiteY820" fmla="*/ 2192 h 428865"/>
                <a:gd name="connsiteX821" fmla="*/ 117693 w 198295"/>
                <a:gd name="connsiteY821" fmla="*/ 1455 h 428865"/>
                <a:gd name="connsiteX822" fmla="*/ 118484 w 198295"/>
                <a:gd name="connsiteY822" fmla="*/ 164 h 428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</a:cxnLst>
              <a:rect l="l" t="t" r="r" b="b"/>
              <a:pathLst>
                <a:path w="198295" h="428865">
                  <a:moveTo>
                    <a:pt x="135152" y="424937"/>
                  </a:moveTo>
                  <a:lnTo>
                    <a:pt x="134968" y="425913"/>
                  </a:lnTo>
                  <a:lnTo>
                    <a:pt x="133816" y="427111"/>
                  </a:lnTo>
                  <a:lnTo>
                    <a:pt x="132740" y="427569"/>
                  </a:lnTo>
                  <a:lnTo>
                    <a:pt x="131673" y="428865"/>
                  </a:lnTo>
                  <a:lnTo>
                    <a:pt x="131313" y="428810"/>
                  </a:lnTo>
                  <a:lnTo>
                    <a:pt x="131802" y="426649"/>
                  </a:lnTo>
                  <a:lnTo>
                    <a:pt x="133582" y="425073"/>
                  </a:lnTo>
                  <a:close/>
                  <a:moveTo>
                    <a:pt x="132401" y="404171"/>
                  </a:moveTo>
                  <a:lnTo>
                    <a:pt x="133340" y="404789"/>
                  </a:lnTo>
                  <a:lnTo>
                    <a:pt x="135191" y="408659"/>
                  </a:lnTo>
                  <a:lnTo>
                    <a:pt x="134990" y="409253"/>
                  </a:lnTo>
                  <a:lnTo>
                    <a:pt x="134705" y="409550"/>
                  </a:lnTo>
                  <a:lnTo>
                    <a:pt x="134268" y="409448"/>
                  </a:lnTo>
                  <a:lnTo>
                    <a:pt x="133526" y="407361"/>
                  </a:lnTo>
                  <a:lnTo>
                    <a:pt x="132137" y="406014"/>
                  </a:lnTo>
                  <a:lnTo>
                    <a:pt x="130481" y="406268"/>
                  </a:lnTo>
                  <a:lnTo>
                    <a:pt x="131854" y="404556"/>
                  </a:lnTo>
                  <a:close/>
                  <a:moveTo>
                    <a:pt x="140345" y="401785"/>
                  </a:moveTo>
                  <a:lnTo>
                    <a:pt x="140680" y="404592"/>
                  </a:lnTo>
                  <a:lnTo>
                    <a:pt x="140176" y="404640"/>
                  </a:lnTo>
                  <a:lnTo>
                    <a:pt x="139714" y="404531"/>
                  </a:lnTo>
                  <a:lnTo>
                    <a:pt x="139259" y="404184"/>
                  </a:lnTo>
                  <a:close/>
                  <a:moveTo>
                    <a:pt x="135327" y="386196"/>
                  </a:moveTo>
                  <a:lnTo>
                    <a:pt x="135501" y="387543"/>
                  </a:lnTo>
                  <a:lnTo>
                    <a:pt x="134977" y="390429"/>
                  </a:lnTo>
                  <a:lnTo>
                    <a:pt x="134523" y="392008"/>
                  </a:lnTo>
                  <a:lnTo>
                    <a:pt x="133604" y="393025"/>
                  </a:lnTo>
                  <a:lnTo>
                    <a:pt x="133483" y="393528"/>
                  </a:lnTo>
                  <a:lnTo>
                    <a:pt x="133331" y="393511"/>
                  </a:lnTo>
                  <a:lnTo>
                    <a:pt x="132844" y="393155"/>
                  </a:lnTo>
                  <a:lnTo>
                    <a:pt x="133148" y="391032"/>
                  </a:lnTo>
                  <a:lnTo>
                    <a:pt x="133988" y="389295"/>
                  </a:lnTo>
                  <a:lnTo>
                    <a:pt x="134852" y="386747"/>
                  </a:lnTo>
                  <a:close/>
                  <a:moveTo>
                    <a:pt x="140279" y="385704"/>
                  </a:moveTo>
                  <a:lnTo>
                    <a:pt x="140948" y="387051"/>
                  </a:lnTo>
                  <a:lnTo>
                    <a:pt x="140386" y="391671"/>
                  </a:lnTo>
                  <a:lnTo>
                    <a:pt x="138980" y="391032"/>
                  </a:lnTo>
                  <a:lnTo>
                    <a:pt x="138315" y="391034"/>
                  </a:lnTo>
                  <a:lnTo>
                    <a:pt x="137477" y="388425"/>
                  </a:lnTo>
                  <a:lnTo>
                    <a:pt x="137536" y="387723"/>
                  </a:lnTo>
                  <a:lnTo>
                    <a:pt x="137026" y="386005"/>
                  </a:lnTo>
                  <a:close/>
                  <a:moveTo>
                    <a:pt x="128931" y="384464"/>
                  </a:moveTo>
                  <a:lnTo>
                    <a:pt x="130019" y="386785"/>
                  </a:lnTo>
                  <a:lnTo>
                    <a:pt x="130488" y="387312"/>
                  </a:lnTo>
                  <a:lnTo>
                    <a:pt x="130371" y="388227"/>
                  </a:lnTo>
                  <a:lnTo>
                    <a:pt x="130551" y="389472"/>
                  </a:lnTo>
                  <a:lnTo>
                    <a:pt x="129169" y="388148"/>
                  </a:lnTo>
                  <a:close/>
                  <a:moveTo>
                    <a:pt x="139011" y="379441"/>
                  </a:moveTo>
                  <a:lnTo>
                    <a:pt x="140317" y="381214"/>
                  </a:lnTo>
                  <a:lnTo>
                    <a:pt x="142181" y="382303"/>
                  </a:lnTo>
                  <a:lnTo>
                    <a:pt x="141448" y="383010"/>
                  </a:lnTo>
                  <a:lnTo>
                    <a:pt x="140112" y="383460"/>
                  </a:lnTo>
                  <a:lnTo>
                    <a:pt x="139190" y="383586"/>
                  </a:lnTo>
                  <a:lnTo>
                    <a:pt x="138752" y="379956"/>
                  </a:lnTo>
                  <a:close/>
                  <a:moveTo>
                    <a:pt x="130280" y="374785"/>
                  </a:moveTo>
                  <a:lnTo>
                    <a:pt x="131021" y="374874"/>
                  </a:lnTo>
                  <a:lnTo>
                    <a:pt x="131409" y="375078"/>
                  </a:lnTo>
                  <a:lnTo>
                    <a:pt x="131541" y="375470"/>
                  </a:lnTo>
                  <a:lnTo>
                    <a:pt x="131321" y="376319"/>
                  </a:lnTo>
                  <a:lnTo>
                    <a:pt x="131358" y="377039"/>
                  </a:lnTo>
                  <a:lnTo>
                    <a:pt x="131725" y="377956"/>
                  </a:lnTo>
                  <a:lnTo>
                    <a:pt x="131468" y="378081"/>
                  </a:lnTo>
                  <a:lnTo>
                    <a:pt x="131101" y="378009"/>
                  </a:lnTo>
                  <a:lnTo>
                    <a:pt x="130369" y="377642"/>
                  </a:lnTo>
                  <a:lnTo>
                    <a:pt x="129527" y="376116"/>
                  </a:lnTo>
                  <a:lnTo>
                    <a:pt x="129969" y="375047"/>
                  </a:lnTo>
                  <a:close/>
                  <a:moveTo>
                    <a:pt x="130025" y="372404"/>
                  </a:moveTo>
                  <a:lnTo>
                    <a:pt x="130164" y="372585"/>
                  </a:lnTo>
                  <a:lnTo>
                    <a:pt x="130036" y="373399"/>
                  </a:lnTo>
                  <a:lnTo>
                    <a:pt x="128754" y="375071"/>
                  </a:lnTo>
                  <a:lnTo>
                    <a:pt x="127635" y="374099"/>
                  </a:lnTo>
                  <a:lnTo>
                    <a:pt x="127346" y="373566"/>
                  </a:lnTo>
                  <a:lnTo>
                    <a:pt x="128486" y="372495"/>
                  </a:lnTo>
                  <a:lnTo>
                    <a:pt x="129700" y="372648"/>
                  </a:lnTo>
                  <a:close/>
                  <a:moveTo>
                    <a:pt x="135603" y="366109"/>
                  </a:moveTo>
                  <a:lnTo>
                    <a:pt x="137469" y="366807"/>
                  </a:lnTo>
                  <a:lnTo>
                    <a:pt x="137856" y="367911"/>
                  </a:lnTo>
                  <a:lnTo>
                    <a:pt x="138352" y="368528"/>
                  </a:lnTo>
                  <a:lnTo>
                    <a:pt x="139056" y="368509"/>
                  </a:lnTo>
                  <a:lnTo>
                    <a:pt x="138862" y="370701"/>
                  </a:lnTo>
                  <a:lnTo>
                    <a:pt x="137123" y="373396"/>
                  </a:lnTo>
                  <a:lnTo>
                    <a:pt x="136098" y="373788"/>
                  </a:lnTo>
                  <a:lnTo>
                    <a:pt x="135642" y="373793"/>
                  </a:lnTo>
                  <a:lnTo>
                    <a:pt x="136031" y="369854"/>
                  </a:lnTo>
                  <a:lnTo>
                    <a:pt x="135391" y="367605"/>
                  </a:lnTo>
                  <a:close/>
                  <a:moveTo>
                    <a:pt x="134569" y="354329"/>
                  </a:moveTo>
                  <a:lnTo>
                    <a:pt x="134640" y="354619"/>
                  </a:lnTo>
                  <a:lnTo>
                    <a:pt x="135305" y="355467"/>
                  </a:lnTo>
                  <a:lnTo>
                    <a:pt x="135677" y="356650"/>
                  </a:lnTo>
                  <a:lnTo>
                    <a:pt x="135539" y="360345"/>
                  </a:lnTo>
                  <a:lnTo>
                    <a:pt x="134435" y="358562"/>
                  </a:lnTo>
                  <a:lnTo>
                    <a:pt x="134247" y="356530"/>
                  </a:lnTo>
                  <a:lnTo>
                    <a:pt x="134332" y="354637"/>
                  </a:lnTo>
                  <a:close/>
                  <a:moveTo>
                    <a:pt x="58563" y="292671"/>
                  </a:moveTo>
                  <a:lnTo>
                    <a:pt x="58788" y="293599"/>
                  </a:lnTo>
                  <a:lnTo>
                    <a:pt x="58051" y="295248"/>
                  </a:lnTo>
                  <a:lnTo>
                    <a:pt x="57598" y="295826"/>
                  </a:lnTo>
                  <a:lnTo>
                    <a:pt x="56691" y="295412"/>
                  </a:lnTo>
                  <a:lnTo>
                    <a:pt x="56472" y="295164"/>
                  </a:lnTo>
                  <a:close/>
                  <a:moveTo>
                    <a:pt x="53549" y="286490"/>
                  </a:moveTo>
                  <a:lnTo>
                    <a:pt x="53933" y="287947"/>
                  </a:lnTo>
                  <a:lnTo>
                    <a:pt x="52772" y="290715"/>
                  </a:lnTo>
                  <a:lnTo>
                    <a:pt x="50796" y="292378"/>
                  </a:lnTo>
                  <a:lnTo>
                    <a:pt x="49362" y="294590"/>
                  </a:lnTo>
                  <a:lnTo>
                    <a:pt x="48831" y="291285"/>
                  </a:lnTo>
                  <a:lnTo>
                    <a:pt x="51171" y="289444"/>
                  </a:lnTo>
                  <a:lnTo>
                    <a:pt x="52327" y="287686"/>
                  </a:lnTo>
                  <a:close/>
                  <a:moveTo>
                    <a:pt x="118575" y="279690"/>
                  </a:moveTo>
                  <a:lnTo>
                    <a:pt x="119392" y="280123"/>
                  </a:lnTo>
                  <a:lnTo>
                    <a:pt x="119708" y="280696"/>
                  </a:lnTo>
                  <a:lnTo>
                    <a:pt x="119848" y="281405"/>
                  </a:lnTo>
                  <a:lnTo>
                    <a:pt x="119622" y="282136"/>
                  </a:lnTo>
                  <a:lnTo>
                    <a:pt x="119304" y="285408"/>
                  </a:lnTo>
                  <a:lnTo>
                    <a:pt x="118468" y="285705"/>
                  </a:lnTo>
                  <a:lnTo>
                    <a:pt x="117212" y="284217"/>
                  </a:lnTo>
                  <a:lnTo>
                    <a:pt x="116963" y="280690"/>
                  </a:lnTo>
                  <a:lnTo>
                    <a:pt x="118009" y="279876"/>
                  </a:lnTo>
                  <a:close/>
                  <a:moveTo>
                    <a:pt x="31812" y="225327"/>
                  </a:moveTo>
                  <a:lnTo>
                    <a:pt x="34608" y="225860"/>
                  </a:lnTo>
                  <a:lnTo>
                    <a:pt x="34626" y="227176"/>
                  </a:lnTo>
                  <a:lnTo>
                    <a:pt x="34026" y="229290"/>
                  </a:lnTo>
                  <a:lnTo>
                    <a:pt x="33417" y="230010"/>
                  </a:lnTo>
                  <a:lnTo>
                    <a:pt x="33046" y="230206"/>
                  </a:lnTo>
                  <a:lnTo>
                    <a:pt x="30744" y="228286"/>
                  </a:lnTo>
                  <a:lnTo>
                    <a:pt x="28921" y="225814"/>
                  </a:lnTo>
                  <a:close/>
                  <a:moveTo>
                    <a:pt x="33948" y="209974"/>
                  </a:moveTo>
                  <a:lnTo>
                    <a:pt x="36483" y="211879"/>
                  </a:lnTo>
                  <a:lnTo>
                    <a:pt x="37483" y="211747"/>
                  </a:lnTo>
                  <a:lnTo>
                    <a:pt x="39052" y="212950"/>
                  </a:lnTo>
                  <a:lnTo>
                    <a:pt x="39092" y="213420"/>
                  </a:lnTo>
                  <a:lnTo>
                    <a:pt x="38793" y="214400"/>
                  </a:lnTo>
                  <a:lnTo>
                    <a:pt x="38086" y="215167"/>
                  </a:lnTo>
                  <a:lnTo>
                    <a:pt x="36168" y="215932"/>
                  </a:lnTo>
                  <a:lnTo>
                    <a:pt x="34855" y="215312"/>
                  </a:lnTo>
                  <a:lnTo>
                    <a:pt x="34335" y="213233"/>
                  </a:lnTo>
                  <a:lnTo>
                    <a:pt x="32784" y="212255"/>
                  </a:lnTo>
                  <a:lnTo>
                    <a:pt x="32382" y="211425"/>
                  </a:lnTo>
                  <a:lnTo>
                    <a:pt x="33363" y="210292"/>
                  </a:lnTo>
                  <a:close/>
                  <a:moveTo>
                    <a:pt x="27271" y="200964"/>
                  </a:moveTo>
                  <a:lnTo>
                    <a:pt x="29016" y="202292"/>
                  </a:lnTo>
                  <a:lnTo>
                    <a:pt x="29491" y="205459"/>
                  </a:lnTo>
                  <a:lnTo>
                    <a:pt x="27973" y="204272"/>
                  </a:lnTo>
                  <a:lnTo>
                    <a:pt x="27418" y="202637"/>
                  </a:lnTo>
                  <a:close/>
                  <a:moveTo>
                    <a:pt x="16254" y="197832"/>
                  </a:moveTo>
                  <a:lnTo>
                    <a:pt x="17247" y="198759"/>
                  </a:lnTo>
                  <a:lnTo>
                    <a:pt x="18366" y="201571"/>
                  </a:lnTo>
                  <a:lnTo>
                    <a:pt x="18655" y="203757"/>
                  </a:lnTo>
                  <a:lnTo>
                    <a:pt x="17593" y="202857"/>
                  </a:lnTo>
                  <a:lnTo>
                    <a:pt x="16211" y="199826"/>
                  </a:lnTo>
                  <a:close/>
                  <a:moveTo>
                    <a:pt x="119840" y="0"/>
                  </a:moveTo>
                  <a:lnTo>
                    <a:pt x="121159" y="409"/>
                  </a:lnTo>
                  <a:lnTo>
                    <a:pt x="121950" y="1144"/>
                  </a:lnTo>
                  <a:lnTo>
                    <a:pt x="122733" y="2636"/>
                  </a:lnTo>
                  <a:lnTo>
                    <a:pt x="123595" y="3858"/>
                  </a:lnTo>
                  <a:lnTo>
                    <a:pt x="124644" y="3853"/>
                  </a:lnTo>
                  <a:lnTo>
                    <a:pt x="125715" y="3680"/>
                  </a:lnTo>
                  <a:lnTo>
                    <a:pt x="126216" y="3850"/>
                  </a:lnTo>
                  <a:lnTo>
                    <a:pt x="127244" y="4872"/>
                  </a:lnTo>
                  <a:lnTo>
                    <a:pt x="129194" y="7322"/>
                  </a:lnTo>
                  <a:lnTo>
                    <a:pt x="130065" y="7936"/>
                  </a:lnTo>
                  <a:lnTo>
                    <a:pt x="130889" y="8980"/>
                  </a:lnTo>
                  <a:lnTo>
                    <a:pt x="131319" y="11063"/>
                  </a:lnTo>
                  <a:lnTo>
                    <a:pt x="131587" y="13160"/>
                  </a:lnTo>
                  <a:lnTo>
                    <a:pt x="134031" y="20432"/>
                  </a:lnTo>
                  <a:lnTo>
                    <a:pt x="134765" y="21962"/>
                  </a:lnTo>
                  <a:lnTo>
                    <a:pt x="135309" y="23131"/>
                  </a:lnTo>
                  <a:lnTo>
                    <a:pt x="136452" y="23417"/>
                  </a:lnTo>
                  <a:lnTo>
                    <a:pt x="137378" y="22249"/>
                  </a:lnTo>
                  <a:lnTo>
                    <a:pt x="137743" y="20998"/>
                  </a:lnTo>
                  <a:lnTo>
                    <a:pt x="138708" y="20574"/>
                  </a:lnTo>
                  <a:lnTo>
                    <a:pt x="139857" y="20803"/>
                  </a:lnTo>
                  <a:lnTo>
                    <a:pt x="141965" y="21968"/>
                  </a:lnTo>
                  <a:lnTo>
                    <a:pt x="143100" y="22597"/>
                  </a:lnTo>
                  <a:lnTo>
                    <a:pt x="143666" y="26187"/>
                  </a:lnTo>
                  <a:lnTo>
                    <a:pt x="143792" y="30395"/>
                  </a:lnTo>
                  <a:lnTo>
                    <a:pt x="143623" y="31697"/>
                  </a:lnTo>
                  <a:lnTo>
                    <a:pt x="144545" y="35165"/>
                  </a:lnTo>
                  <a:lnTo>
                    <a:pt x="144833" y="39148"/>
                  </a:lnTo>
                  <a:lnTo>
                    <a:pt x="145031" y="41326"/>
                  </a:lnTo>
                  <a:lnTo>
                    <a:pt x="145051" y="43406"/>
                  </a:lnTo>
                  <a:lnTo>
                    <a:pt x="144884" y="46130"/>
                  </a:lnTo>
                  <a:lnTo>
                    <a:pt x="144390" y="49775"/>
                  </a:lnTo>
                  <a:lnTo>
                    <a:pt x="143558" y="52884"/>
                  </a:lnTo>
                  <a:lnTo>
                    <a:pt x="143861" y="55470"/>
                  </a:lnTo>
                  <a:lnTo>
                    <a:pt x="143366" y="56651"/>
                  </a:lnTo>
                  <a:lnTo>
                    <a:pt x="141349" y="57252"/>
                  </a:lnTo>
                  <a:lnTo>
                    <a:pt x="141175" y="58238"/>
                  </a:lnTo>
                  <a:lnTo>
                    <a:pt x="141771" y="59863"/>
                  </a:lnTo>
                  <a:lnTo>
                    <a:pt x="143179" y="61895"/>
                  </a:lnTo>
                  <a:lnTo>
                    <a:pt x="143213" y="63177"/>
                  </a:lnTo>
                  <a:lnTo>
                    <a:pt x="142531" y="64048"/>
                  </a:lnTo>
                  <a:lnTo>
                    <a:pt x="141049" y="64130"/>
                  </a:lnTo>
                  <a:lnTo>
                    <a:pt x="138996" y="64942"/>
                  </a:lnTo>
                  <a:lnTo>
                    <a:pt x="137584" y="67561"/>
                  </a:lnTo>
                  <a:lnTo>
                    <a:pt x="136083" y="69715"/>
                  </a:lnTo>
                  <a:lnTo>
                    <a:pt x="135260" y="70137"/>
                  </a:lnTo>
                  <a:lnTo>
                    <a:pt x="132518" y="69531"/>
                  </a:lnTo>
                  <a:lnTo>
                    <a:pt x="131861" y="70085"/>
                  </a:lnTo>
                  <a:lnTo>
                    <a:pt x="130904" y="73750"/>
                  </a:lnTo>
                  <a:lnTo>
                    <a:pt x="130118" y="75323"/>
                  </a:lnTo>
                  <a:lnTo>
                    <a:pt x="128939" y="76654"/>
                  </a:lnTo>
                  <a:lnTo>
                    <a:pt x="127862" y="77437"/>
                  </a:lnTo>
                  <a:lnTo>
                    <a:pt x="126888" y="77983"/>
                  </a:lnTo>
                  <a:lnTo>
                    <a:pt x="124711" y="77612"/>
                  </a:lnTo>
                  <a:lnTo>
                    <a:pt x="123558" y="79822"/>
                  </a:lnTo>
                  <a:lnTo>
                    <a:pt x="122398" y="82735"/>
                  </a:lnTo>
                  <a:lnTo>
                    <a:pt x="122305" y="84240"/>
                  </a:lnTo>
                  <a:lnTo>
                    <a:pt x="122906" y="86604"/>
                  </a:lnTo>
                  <a:lnTo>
                    <a:pt x="122595" y="87259"/>
                  </a:lnTo>
                  <a:lnTo>
                    <a:pt x="121420" y="87773"/>
                  </a:lnTo>
                  <a:lnTo>
                    <a:pt x="119488" y="88839"/>
                  </a:lnTo>
                  <a:lnTo>
                    <a:pt x="118296" y="92213"/>
                  </a:lnTo>
                  <a:lnTo>
                    <a:pt x="118341" y="95489"/>
                  </a:lnTo>
                  <a:lnTo>
                    <a:pt x="119045" y="96611"/>
                  </a:lnTo>
                  <a:lnTo>
                    <a:pt x="120380" y="97102"/>
                  </a:lnTo>
                  <a:lnTo>
                    <a:pt x="121329" y="98110"/>
                  </a:lnTo>
                  <a:lnTo>
                    <a:pt x="121420" y="99687"/>
                  </a:lnTo>
                  <a:lnTo>
                    <a:pt x="122250" y="101656"/>
                  </a:lnTo>
                  <a:lnTo>
                    <a:pt x="121861" y="103951"/>
                  </a:lnTo>
                  <a:lnTo>
                    <a:pt x="119155" y="107285"/>
                  </a:lnTo>
                  <a:lnTo>
                    <a:pt x="119073" y="109098"/>
                  </a:lnTo>
                  <a:lnTo>
                    <a:pt x="120513" y="109657"/>
                  </a:lnTo>
                  <a:lnTo>
                    <a:pt x="121760" y="109400"/>
                  </a:lnTo>
                  <a:lnTo>
                    <a:pt x="123299" y="108610"/>
                  </a:lnTo>
                  <a:lnTo>
                    <a:pt x="125113" y="107336"/>
                  </a:lnTo>
                  <a:lnTo>
                    <a:pt x="129076" y="105483"/>
                  </a:lnTo>
                  <a:lnTo>
                    <a:pt x="133401" y="104424"/>
                  </a:lnTo>
                  <a:lnTo>
                    <a:pt x="136823" y="104227"/>
                  </a:lnTo>
                  <a:lnTo>
                    <a:pt x="139745" y="104306"/>
                  </a:lnTo>
                  <a:lnTo>
                    <a:pt x="141176" y="104701"/>
                  </a:lnTo>
                  <a:lnTo>
                    <a:pt x="141602" y="105380"/>
                  </a:lnTo>
                  <a:lnTo>
                    <a:pt x="145603" y="104297"/>
                  </a:lnTo>
                  <a:lnTo>
                    <a:pt x="146443" y="104235"/>
                  </a:lnTo>
                  <a:lnTo>
                    <a:pt x="147167" y="104177"/>
                  </a:lnTo>
                  <a:lnTo>
                    <a:pt x="147143" y="104894"/>
                  </a:lnTo>
                  <a:lnTo>
                    <a:pt x="144215" y="107856"/>
                  </a:lnTo>
                  <a:lnTo>
                    <a:pt x="143666" y="109237"/>
                  </a:lnTo>
                  <a:lnTo>
                    <a:pt x="143758" y="110718"/>
                  </a:lnTo>
                  <a:lnTo>
                    <a:pt x="144956" y="112091"/>
                  </a:lnTo>
                  <a:lnTo>
                    <a:pt x="146119" y="113149"/>
                  </a:lnTo>
                  <a:lnTo>
                    <a:pt x="147104" y="115802"/>
                  </a:lnTo>
                  <a:lnTo>
                    <a:pt x="146344" y="118231"/>
                  </a:lnTo>
                  <a:lnTo>
                    <a:pt x="146828" y="119117"/>
                  </a:lnTo>
                  <a:lnTo>
                    <a:pt x="147694" y="120108"/>
                  </a:lnTo>
                  <a:lnTo>
                    <a:pt x="148219" y="121503"/>
                  </a:lnTo>
                  <a:lnTo>
                    <a:pt x="148283" y="123203"/>
                  </a:lnTo>
                  <a:lnTo>
                    <a:pt x="147802" y="125915"/>
                  </a:lnTo>
                  <a:lnTo>
                    <a:pt x="152031" y="127330"/>
                  </a:lnTo>
                  <a:lnTo>
                    <a:pt x="155686" y="127965"/>
                  </a:lnTo>
                  <a:lnTo>
                    <a:pt x="158350" y="128138"/>
                  </a:lnTo>
                  <a:lnTo>
                    <a:pt x="160058" y="128760"/>
                  </a:lnTo>
                  <a:lnTo>
                    <a:pt x="161086" y="129296"/>
                  </a:lnTo>
                  <a:lnTo>
                    <a:pt x="161810" y="130267"/>
                  </a:lnTo>
                  <a:lnTo>
                    <a:pt x="162028" y="131326"/>
                  </a:lnTo>
                  <a:lnTo>
                    <a:pt x="161136" y="132068"/>
                  </a:lnTo>
                  <a:lnTo>
                    <a:pt x="159330" y="134448"/>
                  </a:lnTo>
                  <a:lnTo>
                    <a:pt x="158294" y="137624"/>
                  </a:lnTo>
                  <a:lnTo>
                    <a:pt x="158402" y="140000"/>
                  </a:lnTo>
                  <a:lnTo>
                    <a:pt x="158281" y="142057"/>
                  </a:lnTo>
                  <a:lnTo>
                    <a:pt x="156189" y="145025"/>
                  </a:lnTo>
                  <a:lnTo>
                    <a:pt x="155355" y="147065"/>
                  </a:lnTo>
                  <a:lnTo>
                    <a:pt x="154625" y="149157"/>
                  </a:lnTo>
                  <a:lnTo>
                    <a:pt x="154649" y="150066"/>
                  </a:lnTo>
                  <a:lnTo>
                    <a:pt x="155081" y="150701"/>
                  </a:lnTo>
                  <a:lnTo>
                    <a:pt x="155975" y="151068"/>
                  </a:lnTo>
                  <a:lnTo>
                    <a:pt x="157516" y="151289"/>
                  </a:lnTo>
                  <a:lnTo>
                    <a:pt x="159409" y="151053"/>
                  </a:lnTo>
                  <a:lnTo>
                    <a:pt x="163919" y="151555"/>
                  </a:lnTo>
                  <a:lnTo>
                    <a:pt x="169065" y="152471"/>
                  </a:lnTo>
                  <a:lnTo>
                    <a:pt x="171106" y="152974"/>
                  </a:lnTo>
                  <a:lnTo>
                    <a:pt x="171773" y="153895"/>
                  </a:lnTo>
                  <a:lnTo>
                    <a:pt x="171609" y="155906"/>
                  </a:lnTo>
                  <a:lnTo>
                    <a:pt x="171281" y="157779"/>
                  </a:lnTo>
                  <a:lnTo>
                    <a:pt x="171616" y="159218"/>
                  </a:lnTo>
                  <a:lnTo>
                    <a:pt x="172444" y="160542"/>
                  </a:lnTo>
                  <a:lnTo>
                    <a:pt x="173837" y="160978"/>
                  </a:lnTo>
                  <a:lnTo>
                    <a:pt x="175038" y="161490"/>
                  </a:lnTo>
                  <a:lnTo>
                    <a:pt x="175265" y="162500"/>
                  </a:lnTo>
                  <a:lnTo>
                    <a:pt x="174900" y="163870"/>
                  </a:lnTo>
                  <a:lnTo>
                    <a:pt x="175508" y="164951"/>
                  </a:lnTo>
                  <a:lnTo>
                    <a:pt x="176191" y="165661"/>
                  </a:lnTo>
                  <a:lnTo>
                    <a:pt x="177674" y="166067"/>
                  </a:lnTo>
                  <a:lnTo>
                    <a:pt x="180679" y="165187"/>
                  </a:lnTo>
                  <a:lnTo>
                    <a:pt x="182782" y="165579"/>
                  </a:lnTo>
                  <a:lnTo>
                    <a:pt x="184675" y="166180"/>
                  </a:lnTo>
                  <a:lnTo>
                    <a:pt x="186295" y="165863"/>
                  </a:lnTo>
                  <a:lnTo>
                    <a:pt x="187899" y="165096"/>
                  </a:lnTo>
                  <a:lnTo>
                    <a:pt x="191393" y="161617"/>
                  </a:lnTo>
                  <a:lnTo>
                    <a:pt x="195465" y="159736"/>
                  </a:lnTo>
                  <a:lnTo>
                    <a:pt x="196802" y="159284"/>
                  </a:lnTo>
                  <a:lnTo>
                    <a:pt x="197707" y="159511"/>
                  </a:lnTo>
                  <a:lnTo>
                    <a:pt x="197932" y="159755"/>
                  </a:lnTo>
                  <a:lnTo>
                    <a:pt x="197871" y="160460"/>
                  </a:lnTo>
                  <a:lnTo>
                    <a:pt x="198295" y="163320"/>
                  </a:lnTo>
                  <a:lnTo>
                    <a:pt x="198109" y="163648"/>
                  </a:lnTo>
                  <a:lnTo>
                    <a:pt x="196816" y="165936"/>
                  </a:lnTo>
                  <a:lnTo>
                    <a:pt x="193436" y="168306"/>
                  </a:lnTo>
                  <a:lnTo>
                    <a:pt x="191048" y="169509"/>
                  </a:lnTo>
                  <a:lnTo>
                    <a:pt x="189657" y="169545"/>
                  </a:lnTo>
                  <a:lnTo>
                    <a:pt x="188473" y="170962"/>
                  </a:lnTo>
                  <a:lnTo>
                    <a:pt x="187502" y="173759"/>
                  </a:lnTo>
                  <a:lnTo>
                    <a:pt x="186495" y="175401"/>
                  </a:lnTo>
                  <a:lnTo>
                    <a:pt x="185455" y="175889"/>
                  </a:lnTo>
                  <a:lnTo>
                    <a:pt x="184781" y="176947"/>
                  </a:lnTo>
                  <a:lnTo>
                    <a:pt x="184474" y="178575"/>
                  </a:lnTo>
                  <a:lnTo>
                    <a:pt x="185073" y="179445"/>
                  </a:lnTo>
                  <a:lnTo>
                    <a:pt x="186584" y="179560"/>
                  </a:lnTo>
                  <a:lnTo>
                    <a:pt x="186701" y="180014"/>
                  </a:lnTo>
                  <a:lnTo>
                    <a:pt x="185422" y="180810"/>
                  </a:lnTo>
                  <a:lnTo>
                    <a:pt x="183836" y="181089"/>
                  </a:lnTo>
                  <a:lnTo>
                    <a:pt x="181935" y="180853"/>
                  </a:lnTo>
                  <a:lnTo>
                    <a:pt x="180136" y="181488"/>
                  </a:lnTo>
                  <a:lnTo>
                    <a:pt x="178439" y="182998"/>
                  </a:lnTo>
                  <a:lnTo>
                    <a:pt x="176992" y="186254"/>
                  </a:lnTo>
                  <a:lnTo>
                    <a:pt x="175794" y="191253"/>
                  </a:lnTo>
                  <a:lnTo>
                    <a:pt x="175634" y="192533"/>
                  </a:lnTo>
                  <a:lnTo>
                    <a:pt x="173006" y="191083"/>
                  </a:lnTo>
                  <a:lnTo>
                    <a:pt x="171916" y="190257"/>
                  </a:lnTo>
                  <a:lnTo>
                    <a:pt x="170501" y="190050"/>
                  </a:lnTo>
                  <a:lnTo>
                    <a:pt x="169061" y="190971"/>
                  </a:lnTo>
                  <a:lnTo>
                    <a:pt x="167914" y="191965"/>
                  </a:lnTo>
                  <a:lnTo>
                    <a:pt x="166737" y="192331"/>
                  </a:lnTo>
                  <a:lnTo>
                    <a:pt x="164936" y="192445"/>
                  </a:lnTo>
                  <a:lnTo>
                    <a:pt x="162570" y="191930"/>
                  </a:lnTo>
                  <a:lnTo>
                    <a:pt x="160961" y="191464"/>
                  </a:lnTo>
                  <a:lnTo>
                    <a:pt x="160719" y="191718"/>
                  </a:lnTo>
                  <a:lnTo>
                    <a:pt x="161594" y="193823"/>
                  </a:lnTo>
                  <a:lnTo>
                    <a:pt x="161907" y="195501"/>
                  </a:lnTo>
                  <a:lnTo>
                    <a:pt x="161559" y="196373"/>
                  </a:lnTo>
                  <a:lnTo>
                    <a:pt x="160799" y="197099"/>
                  </a:lnTo>
                  <a:lnTo>
                    <a:pt x="159641" y="197671"/>
                  </a:lnTo>
                  <a:lnTo>
                    <a:pt x="158285" y="198006"/>
                  </a:lnTo>
                  <a:lnTo>
                    <a:pt x="157087" y="197971"/>
                  </a:lnTo>
                  <a:lnTo>
                    <a:pt x="155168" y="197173"/>
                  </a:lnTo>
                  <a:lnTo>
                    <a:pt x="153705" y="197139"/>
                  </a:lnTo>
                  <a:lnTo>
                    <a:pt x="152455" y="197535"/>
                  </a:lnTo>
                  <a:lnTo>
                    <a:pt x="151693" y="198128"/>
                  </a:lnTo>
                  <a:lnTo>
                    <a:pt x="151272" y="198860"/>
                  </a:lnTo>
                  <a:lnTo>
                    <a:pt x="150535" y="203009"/>
                  </a:lnTo>
                  <a:lnTo>
                    <a:pt x="149885" y="204307"/>
                  </a:lnTo>
                  <a:lnTo>
                    <a:pt x="148972" y="205043"/>
                  </a:lnTo>
                  <a:lnTo>
                    <a:pt x="148067" y="205119"/>
                  </a:lnTo>
                  <a:lnTo>
                    <a:pt x="146823" y="204915"/>
                  </a:lnTo>
                  <a:lnTo>
                    <a:pt x="145521" y="205085"/>
                  </a:lnTo>
                  <a:lnTo>
                    <a:pt x="139622" y="206688"/>
                  </a:lnTo>
                  <a:lnTo>
                    <a:pt x="138763" y="206846"/>
                  </a:lnTo>
                  <a:lnTo>
                    <a:pt x="136912" y="206967"/>
                  </a:lnTo>
                  <a:lnTo>
                    <a:pt x="135195" y="207011"/>
                  </a:lnTo>
                  <a:lnTo>
                    <a:pt x="133988" y="206932"/>
                  </a:lnTo>
                  <a:lnTo>
                    <a:pt x="131157" y="205290"/>
                  </a:lnTo>
                  <a:lnTo>
                    <a:pt x="129786" y="205116"/>
                  </a:lnTo>
                  <a:lnTo>
                    <a:pt x="129034" y="205581"/>
                  </a:lnTo>
                  <a:lnTo>
                    <a:pt x="128507" y="207782"/>
                  </a:lnTo>
                  <a:lnTo>
                    <a:pt x="126853" y="209179"/>
                  </a:lnTo>
                  <a:lnTo>
                    <a:pt x="124651" y="212231"/>
                  </a:lnTo>
                  <a:lnTo>
                    <a:pt x="124137" y="216685"/>
                  </a:lnTo>
                  <a:lnTo>
                    <a:pt x="124366" y="219789"/>
                  </a:lnTo>
                  <a:lnTo>
                    <a:pt x="122381" y="222860"/>
                  </a:lnTo>
                  <a:lnTo>
                    <a:pt x="122202" y="224342"/>
                  </a:lnTo>
                  <a:lnTo>
                    <a:pt x="123262" y="231462"/>
                  </a:lnTo>
                  <a:lnTo>
                    <a:pt x="123083" y="232208"/>
                  </a:lnTo>
                  <a:lnTo>
                    <a:pt x="122681" y="232578"/>
                  </a:lnTo>
                  <a:lnTo>
                    <a:pt x="121440" y="232825"/>
                  </a:lnTo>
                  <a:lnTo>
                    <a:pt x="119356" y="233569"/>
                  </a:lnTo>
                  <a:lnTo>
                    <a:pt x="117981" y="234277"/>
                  </a:lnTo>
                  <a:lnTo>
                    <a:pt x="117313" y="234358"/>
                  </a:lnTo>
                  <a:lnTo>
                    <a:pt x="115370" y="233825"/>
                  </a:lnTo>
                  <a:lnTo>
                    <a:pt x="114858" y="233815"/>
                  </a:lnTo>
                  <a:lnTo>
                    <a:pt x="115007" y="234356"/>
                  </a:lnTo>
                  <a:lnTo>
                    <a:pt x="116558" y="237435"/>
                  </a:lnTo>
                  <a:lnTo>
                    <a:pt x="118172" y="238892"/>
                  </a:lnTo>
                  <a:lnTo>
                    <a:pt x="119842" y="238730"/>
                  </a:lnTo>
                  <a:lnTo>
                    <a:pt x="120570" y="239019"/>
                  </a:lnTo>
                  <a:lnTo>
                    <a:pt x="120354" y="239758"/>
                  </a:lnTo>
                  <a:lnTo>
                    <a:pt x="120997" y="241683"/>
                  </a:lnTo>
                  <a:lnTo>
                    <a:pt x="122505" y="244797"/>
                  </a:lnTo>
                  <a:lnTo>
                    <a:pt x="122952" y="247128"/>
                  </a:lnTo>
                  <a:lnTo>
                    <a:pt x="122036" y="249450"/>
                  </a:lnTo>
                  <a:lnTo>
                    <a:pt x="122211" y="250281"/>
                  </a:lnTo>
                  <a:lnTo>
                    <a:pt x="122712" y="250766"/>
                  </a:lnTo>
                  <a:lnTo>
                    <a:pt x="124124" y="252923"/>
                  </a:lnTo>
                  <a:lnTo>
                    <a:pt x="127138" y="256296"/>
                  </a:lnTo>
                  <a:lnTo>
                    <a:pt x="130097" y="259942"/>
                  </a:lnTo>
                  <a:lnTo>
                    <a:pt x="132563" y="262980"/>
                  </a:lnTo>
                  <a:lnTo>
                    <a:pt x="134374" y="265080"/>
                  </a:lnTo>
                  <a:lnTo>
                    <a:pt x="138406" y="268993"/>
                  </a:lnTo>
                  <a:lnTo>
                    <a:pt x="139121" y="270828"/>
                  </a:lnTo>
                  <a:lnTo>
                    <a:pt x="139274" y="274529"/>
                  </a:lnTo>
                  <a:lnTo>
                    <a:pt x="140269" y="276666"/>
                  </a:lnTo>
                  <a:lnTo>
                    <a:pt x="141190" y="278194"/>
                  </a:lnTo>
                  <a:lnTo>
                    <a:pt x="141829" y="279470"/>
                  </a:lnTo>
                  <a:lnTo>
                    <a:pt x="143313" y="283656"/>
                  </a:lnTo>
                  <a:lnTo>
                    <a:pt x="143943" y="284224"/>
                  </a:lnTo>
                  <a:lnTo>
                    <a:pt x="147175" y="281677"/>
                  </a:lnTo>
                  <a:lnTo>
                    <a:pt x="147925" y="282208"/>
                  </a:lnTo>
                  <a:lnTo>
                    <a:pt x="148343" y="283168"/>
                  </a:lnTo>
                  <a:lnTo>
                    <a:pt x="148348" y="284390"/>
                  </a:lnTo>
                  <a:lnTo>
                    <a:pt x="147840" y="285775"/>
                  </a:lnTo>
                  <a:lnTo>
                    <a:pt x="146789" y="287051"/>
                  </a:lnTo>
                  <a:lnTo>
                    <a:pt x="141801" y="290003"/>
                  </a:lnTo>
                  <a:lnTo>
                    <a:pt x="141395" y="292544"/>
                  </a:lnTo>
                  <a:lnTo>
                    <a:pt x="141045" y="296398"/>
                  </a:lnTo>
                  <a:lnTo>
                    <a:pt x="140962" y="301128"/>
                  </a:lnTo>
                  <a:lnTo>
                    <a:pt x="141200" y="304664"/>
                  </a:lnTo>
                  <a:lnTo>
                    <a:pt x="141017" y="305476"/>
                  </a:lnTo>
                  <a:lnTo>
                    <a:pt x="140583" y="305861"/>
                  </a:lnTo>
                  <a:lnTo>
                    <a:pt x="138700" y="305710"/>
                  </a:lnTo>
                  <a:lnTo>
                    <a:pt x="135985" y="307493"/>
                  </a:lnTo>
                  <a:lnTo>
                    <a:pt x="135029" y="307651"/>
                  </a:lnTo>
                  <a:lnTo>
                    <a:pt x="133836" y="308335"/>
                  </a:lnTo>
                  <a:lnTo>
                    <a:pt x="132926" y="309177"/>
                  </a:lnTo>
                  <a:lnTo>
                    <a:pt x="132637" y="310460"/>
                  </a:lnTo>
                  <a:lnTo>
                    <a:pt x="133172" y="314337"/>
                  </a:lnTo>
                  <a:lnTo>
                    <a:pt x="134141" y="317980"/>
                  </a:lnTo>
                  <a:lnTo>
                    <a:pt x="136046" y="320651"/>
                  </a:lnTo>
                  <a:lnTo>
                    <a:pt x="137551" y="322763"/>
                  </a:lnTo>
                  <a:lnTo>
                    <a:pt x="139648" y="325699"/>
                  </a:lnTo>
                  <a:lnTo>
                    <a:pt x="141307" y="328249"/>
                  </a:lnTo>
                  <a:lnTo>
                    <a:pt x="144649" y="331050"/>
                  </a:lnTo>
                  <a:lnTo>
                    <a:pt x="149346" y="335242"/>
                  </a:lnTo>
                  <a:lnTo>
                    <a:pt x="151138" y="337557"/>
                  </a:lnTo>
                  <a:lnTo>
                    <a:pt x="152721" y="340360"/>
                  </a:lnTo>
                  <a:lnTo>
                    <a:pt x="153839" y="342750"/>
                  </a:lnTo>
                  <a:lnTo>
                    <a:pt x="154265" y="345923"/>
                  </a:lnTo>
                  <a:lnTo>
                    <a:pt x="154610" y="347698"/>
                  </a:lnTo>
                  <a:lnTo>
                    <a:pt x="154710" y="353636"/>
                  </a:lnTo>
                  <a:lnTo>
                    <a:pt x="153845" y="354987"/>
                  </a:lnTo>
                  <a:lnTo>
                    <a:pt x="153190" y="356550"/>
                  </a:lnTo>
                  <a:lnTo>
                    <a:pt x="153554" y="358186"/>
                  </a:lnTo>
                  <a:lnTo>
                    <a:pt x="154651" y="359746"/>
                  </a:lnTo>
                  <a:lnTo>
                    <a:pt x="154651" y="361531"/>
                  </a:lnTo>
                  <a:lnTo>
                    <a:pt x="155675" y="364726"/>
                  </a:lnTo>
                  <a:lnTo>
                    <a:pt x="157389" y="366677"/>
                  </a:lnTo>
                  <a:lnTo>
                    <a:pt x="159039" y="367995"/>
                  </a:lnTo>
                  <a:lnTo>
                    <a:pt x="159771" y="369035"/>
                  </a:lnTo>
                  <a:lnTo>
                    <a:pt x="159532" y="370703"/>
                  </a:lnTo>
                  <a:lnTo>
                    <a:pt x="160019" y="372472"/>
                  </a:lnTo>
                  <a:lnTo>
                    <a:pt x="160376" y="374397"/>
                  </a:lnTo>
                  <a:lnTo>
                    <a:pt x="161050" y="377064"/>
                  </a:lnTo>
                  <a:lnTo>
                    <a:pt x="162377" y="379320"/>
                  </a:lnTo>
                  <a:lnTo>
                    <a:pt x="164407" y="386236"/>
                  </a:lnTo>
                  <a:lnTo>
                    <a:pt x="164358" y="386943"/>
                  </a:lnTo>
                  <a:lnTo>
                    <a:pt x="163481" y="388344"/>
                  </a:lnTo>
                  <a:lnTo>
                    <a:pt x="162207" y="389610"/>
                  </a:lnTo>
                  <a:lnTo>
                    <a:pt x="161382" y="390017"/>
                  </a:lnTo>
                  <a:lnTo>
                    <a:pt x="160602" y="391319"/>
                  </a:lnTo>
                  <a:lnTo>
                    <a:pt x="158747" y="395013"/>
                  </a:lnTo>
                  <a:lnTo>
                    <a:pt x="155018" y="401375"/>
                  </a:lnTo>
                  <a:lnTo>
                    <a:pt x="151376" y="405522"/>
                  </a:lnTo>
                  <a:lnTo>
                    <a:pt x="148318" y="408466"/>
                  </a:lnTo>
                  <a:lnTo>
                    <a:pt x="146102" y="410253"/>
                  </a:lnTo>
                  <a:lnTo>
                    <a:pt x="145446" y="411315"/>
                  </a:lnTo>
                  <a:lnTo>
                    <a:pt x="145446" y="412150"/>
                  </a:lnTo>
                  <a:lnTo>
                    <a:pt x="145847" y="413638"/>
                  </a:lnTo>
                  <a:lnTo>
                    <a:pt x="145692" y="416458"/>
                  </a:lnTo>
                  <a:lnTo>
                    <a:pt x="145216" y="418247"/>
                  </a:lnTo>
                  <a:lnTo>
                    <a:pt x="144589" y="420142"/>
                  </a:lnTo>
                  <a:lnTo>
                    <a:pt x="144237" y="421831"/>
                  </a:lnTo>
                  <a:lnTo>
                    <a:pt x="143251" y="422084"/>
                  </a:lnTo>
                  <a:lnTo>
                    <a:pt x="141142" y="425302"/>
                  </a:lnTo>
                  <a:lnTo>
                    <a:pt x="140228" y="423689"/>
                  </a:lnTo>
                  <a:lnTo>
                    <a:pt x="139689" y="422007"/>
                  </a:lnTo>
                  <a:lnTo>
                    <a:pt x="140268" y="418195"/>
                  </a:lnTo>
                  <a:lnTo>
                    <a:pt x="138983" y="410982"/>
                  </a:lnTo>
                  <a:lnTo>
                    <a:pt x="139780" y="410018"/>
                  </a:lnTo>
                  <a:lnTo>
                    <a:pt x="140546" y="409532"/>
                  </a:lnTo>
                  <a:lnTo>
                    <a:pt x="141943" y="406764"/>
                  </a:lnTo>
                  <a:lnTo>
                    <a:pt x="143641" y="404024"/>
                  </a:lnTo>
                  <a:lnTo>
                    <a:pt x="143796" y="400752"/>
                  </a:lnTo>
                  <a:lnTo>
                    <a:pt x="145169" y="398351"/>
                  </a:lnTo>
                  <a:lnTo>
                    <a:pt x="144845" y="396345"/>
                  </a:lnTo>
                  <a:lnTo>
                    <a:pt x="144916" y="393987"/>
                  </a:lnTo>
                  <a:lnTo>
                    <a:pt x="145206" y="392060"/>
                  </a:lnTo>
                  <a:lnTo>
                    <a:pt x="145096" y="390483"/>
                  </a:lnTo>
                  <a:lnTo>
                    <a:pt x="146186" y="388838"/>
                  </a:lnTo>
                  <a:lnTo>
                    <a:pt x="148071" y="387614"/>
                  </a:lnTo>
                  <a:lnTo>
                    <a:pt x="147281" y="387176"/>
                  </a:lnTo>
                  <a:lnTo>
                    <a:pt x="146498" y="386280"/>
                  </a:lnTo>
                  <a:lnTo>
                    <a:pt x="144040" y="387645"/>
                  </a:lnTo>
                  <a:lnTo>
                    <a:pt x="142772" y="387196"/>
                  </a:lnTo>
                  <a:lnTo>
                    <a:pt x="142520" y="385782"/>
                  </a:lnTo>
                  <a:lnTo>
                    <a:pt x="142833" y="384265"/>
                  </a:lnTo>
                  <a:lnTo>
                    <a:pt x="142962" y="383342"/>
                  </a:lnTo>
                  <a:lnTo>
                    <a:pt x="143947" y="382301"/>
                  </a:lnTo>
                  <a:lnTo>
                    <a:pt x="143878" y="380274"/>
                  </a:lnTo>
                  <a:lnTo>
                    <a:pt x="143382" y="378489"/>
                  </a:lnTo>
                  <a:lnTo>
                    <a:pt x="144098" y="376278"/>
                  </a:lnTo>
                  <a:lnTo>
                    <a:pt x="142645" y="376273"/>
                  </a:lnTo>
                  <a:lnTo>
                    <a:pt x="141976" y="375828"/>
                  </a:lnTo>
                  <a:lnTo>
                    <a:pt x="142393" y="374600"/>
                  </a:lnTo>
                  <a:lnTo>
                    <a:pt x="143710" y="373512"/>
                  </a:lnTo>
                  <a:lnTo>
                    <a:pt x="142509" y="371442"/>
                  </a:lnTo>
                  <a:lnTo>
                    <a:pt x="143399" y="369214"/>
                  </a:lnTo>
                  <a:lnTo>
                    <a:pt x="143366" y="366463"/>
                  </a:lnTo>
                  <a:lnTo>
                    <a:pt x="142757" y="364035"/>
                  </a:lnTo>
                  <a:lnTo>
                    <a:pt x="142789" y="362288"/>
                  </a:lnTo>
                  <a:lnTo>
                    <a:pt x="141861" y="359191"/>
                  </a:lnTo>
                  <a:lnTo>
                    <a:pt x="141438" y="355236"/>
                  </a:lnTo>
                  <a:lnTo>
                    <a:pt x="139473" y="352286"/>
                  </a:lnTo>
                  <a:lnTo>
                    <a:pt x="138018" y="347994"/>
                  </a:lnTo>
                  <a:lnTo>
                    <a:pt x="134128" y="342372"/>
                  </a:lnTo>
                  <a:lnTo>
                    <a:pt x="134195" y="339964"/>
                  </a:lnTo>
                  <a:lnTo>
                    <a:pt x="133986" y="337843"/>
                  </a:lnTo>
                  <a:lnTo>
                    <a:pt x="133133" y="336813"/>
                  </a:lnTo>
                  <a:lnTo>
                    <a:pt x="132008" y="344306"/>
                  </a:lnTo>
                  <a:lnTo>
                    <a:pt x="131148" y="342835"/>
                  </a:lnTo>
                  <a:lnTo>
                    <a:pt x="130874" y="338657"/>
                  </a:lnTo>
                  <a:lnTo>
                    <a:pt x="130309" y="336671"/>
                  </a:lnTo>
                  <a:lnTo>
                    <a:pt x="130917" y="332724"/>
                  </a:lnTo>
                  <a:lnTo>
                    <a:pt x="128667" y="328805"/>
                  </a:lnTo>
                  <a:lnTo>
                    <a:pt x="128183" y="325957"/>
                  </a:lnTo>
                  <a:lnTo>
                    <a:pt x="126707" y="321640"/>
                  </a:lnTo>
                  <a:lnTo>
                    <a:pt x="127138" y="320672"/>
                  </a:lnTo>
                  <a:lnTo>
                    <a:pt x="129117" y="321643"/>
                  </a:lnTo>
                  <a:lnTo>
                    <a:pt x="127298" y="319128"/>
                  </a:lnTo>
                  <a:lnTo>
                    <a:pt x="125808" y="319697"/>
                  </a:lnTo>
                  <a:lnTo>
                    <a:pt x="124552" y="316981"/>
                  </a:lnTo>
                  <a:lnTo>
                    <a:pt x="124275" y="309611"/>
                  </a:lnTo>
                  <a:lnTo>
                    <a:pt x="123036" y="306854"/>
                  </a:lnTo>
                  <a:lnTo>
                    <a:pt x="123709" y="304044"/>
                  </a:lnTo>
                  <a:lnTo>
                    <a:pt x="122297" y="293974"/>
                  </a:lnTo>
                  <a:lnTo>
                    <a:pt x="119509" y="290708"/>
                  </a:lnTo>
                  <a:lnTo>
                    <a:pt x="120062" y="287890"/>
                  </a:lnTo>
                  <a:lnTo>
                    <a:pt x="120755" y="285394"/>
                  </a:lnTo>
                  <a:lnTo>
                    <a:pt x="120602" y="280767"/>
                  </a:lnTo>
                  <a:lnTo>
                    <a:pt x="121287" y="279341"/>
                  </a:lnTo>
                  <a:lnTo>
                    <a:pt x="122643" y="278248"/>
                  </a:lnTo>
                  <a:lnTo>
                    <a:pt x="121371" y="278633"/>
                  </a:lnTo>
                  <a:lnTo>
                    <a:pt x="120291" y="278960"/>
                  </a:lnTo>
                  <a:lnTo>
                    <a:pt x="117758" y="279231"/>
                  </a:lnTo>
                  <a:lnTo>
                    <a:pt x="114901" y="279284"/>
                  </a:lnTo>
                  <a:lnTo>
                    <a:pt x="113910" y="275903"/>
                  </a:lnTo>
                  <a:lnTo>
                    <a:pt x="112504" y="274281"/>
                  </a:lnTo>
                  <a:lnTo>
                    <a:pt x="111271" y="270883"/>
                  </a:lnTo>
                  <a:lnTo>
                    <a:pt x="110532" y="267029"/>
                  </a:lnTo>
                  <a:lnTo>
                    <a:pt x="111016" y="266269"/>
                  </a:lnTo>
                  <a:lnTo>
                    <a:pt x="108805" y="264695"/>
                  </a:lnTo>
                  <a:lnTo>
                    <a:pt x="108237" y="263731"/>
                  </a:lnTo>
                  <a:lnTo>
                    <a:pt x="105929" y="261217"/>
                  </a:lnTo>
                  <a:lnTo>
                    <a:pt x="103305" y="259310"/>
                  </a:lnTo>
                  <a:lnTo>
                    <a:pt x="103886" y="260651"/>
                  </a:lnTo>
                  <a:lnTo>
                    <a:pt x="104595" y="261501"/>
                  </a:lnTo>
                  <a:lnTo>
                    <a:pt x="103293" y="263822"/>
                  </a:lnTo>
                  <a:lnTo>
                    <a:pt x="104568" y="267736"/>
                  </a:lnTo>
                  <a:lnTo>
                    <a:pt x="103450" y="270232"/>
                  </a:lnTo>
                  <a:lnTo>
                    <a:pt x="102403" y="273480"/>
                  </a:lnTo>
                  <a:lnTo>
                    <a:pt x="101403" y="275026"/>
                  </a:lnTo>
                  <a:lnTo>
                    <a:pt x="98242" y="278354"/>
                  </a:lnTo>
                  <a:lnTo>
                    <a:pt x="95681" y="279480"/>
                  </a:lnTo>
                  <a:lnTo>
                    <a:pt x="94011" y="279694"/>
                  </a:lnTo>
                  <a:lnTo>
                    <a:pt x="92534" y="279340"/>
                  </a:lnTo>
                  <a:lnTo>
                    <a:pt x="90718" y="277625"/>
                  </a:lnTo>
                  <a:lnTo>
                    <a:pt x="90273" y="276190"/>
                  </a:lnTo>
                  <a:lnTo>
                    <a:pt x="89982" y="273776"/>
                  </a:lnTo>
                  <a:lnTo>
                    <a:pt x="89349" y="273430"/>
                  </a:lnTo>
                  <a:lnTo>
                    <a:pt x="88658" y="273709"/>
                  </a:lnTo>
                  <a:lnTo>
                    <a:pt x="89734" y="276824"/>
                  </a:lnTo>
                  <a:lnTo>
                    <a:pt x="89712" y="278274"/>
                  </a:lnTo>
                  <a:lnTo>
                    <a:pt x="91649" y="281067"/>
                  </a:lnTo>
                  <a:lnTo>
                    <a:pt x="90958" y="281848"/>
                  </a:lnTo>
                  <a:lnTo>
                    <a:pt x="87464" y="283381"/>
                  </a:lnTo>
                  <a:lnTo>
                    <a:pt x="86268" y="283135"/>
                  </a:lnTo>
                  <a:lnTo>
                    <a:pt x="85425" y="283440"/>
                  </a:lnTo>
                  <a:lnTo>
                    <a:pt x="85188" y="284696"/>
                  </a:lnTo>
                  <a:lnTo>
                    <a:pt x="84750" y="285397"/>
                  </a:lnTo>
                  <a:lnTo>
                    <a:pt x="79243" y="287318"/>
                  </a:lnTo>
                  <a:lnTo>
                    <a:pt x="78096" y="289488"/>
                  </a:lnTo>
                  <a:lnTo>
                    <a:pt x="77390" y="291679"/>
                  </a:lnTo>
                  <a:lnTo>
                    <a:pt x="74652" y="294828"/>
                  </a:lnTo>
                  <a:lnTo>
                    <a:pt x="70979" y="297436"/>
                  </a:lnTo>
                  <a:lnTo>
                    <a:pt x="70070" y="297288"/>
                  </a:lnTo>
                  <a:lnTo>
                    <a:pt x="69032" y="296680"/>
                  </a:lnTo>
                  <a:lnTo>
                    <a:pt x="69172" y="293863"/>
                  </a:lnTo>
                  <a:lnTo>
                    <a:pt x="70431" y="291482"/>
                  </a:lnTo>
                  <a:lnTo>
                    <a:pt x="70033" y="288939"/>
                  </a:lnTo>
                  <a:lnTo>
                    <a:pt x="69729" y="290398"/>
                  </a:lnTo>
                  <a:lnTo>
                    <a:pt x="67360" y="293945"/>
                  </a:lnTo>
                  <a:lnTo>
                    <a:pt x="66279" y="295104"/>
                  </a:lnTo>
                  <a:lnTo>
                    <a:pt x="64097" y="294798"/>
                  </a:lnTo>
                  <a:lnTo>
                    <a:pt x="61096" y="295272"/>
                  </a:lnTo>
                  <a:lnTo>
                    <a:pt x="59960" y="291626"/>
                  </a:lnTo>
                  <a:lnTo>
                    <a:pt x="59981" y="290286"/>
                  </a:lnTo>
                  <a:lnTo>
                    <a:pt x="59761" y="289158"/>
                  </a:lnTo>
                  <a:lnTo>
                    <a:pt x="60107" y="287959"/>
                  </a:lnTo>
                  <a:lnTo>
                    <a:pt x="60003" y="287006"/>
                  </a:lnTo>
                  <a:lnTo>
                    <a:pt x="59274" y="288829"/>
                  </a:lnTo>
                  <a:lnTo>
                    <a:pt x="58999" y="290407"/>
                  </a:lnTo>
                  <a:lnTo>
                    <a:pt x="57902" y="291808"/>
                  </a:lnTo>
                  <a:lnTo>
                    <a:pt x="54881" y="293320"/>
                  </a:lnTo>
                  <a:lnTo>
                    <a:pt x="54765" y="291407"/>
                  </a:lnTo>
                  <a:lnTo>
                    <a:pt x="54657" y="289682"/>
                  </a:lnTo>
                  <a:lnTo>
                    <a:pt x="55306" y="288129"/>
                  </a:lnTo>
                  <a:lnTo>
                    <a:pt x="55213" y="285662"/>
                  </a:lnTo>
                  <a:lnTo>
                    <a:pt x="56172" y="282105"/>
                  </a:lnTo>
                  <a:lnTo>
                    <a:pt x="56099" y="280885"/>
                  </a:lnTo>
                  <a:lnTo>
                    <a:pt x="55806" y="279535"/>
                  </a:lnTo>
                  <a:lnTo>
                    <a:pt x="55268" y="281495"/>
                  </a:lnTo>
                  <a:lnTo>
                    <a:pt x="54963" y="283526"/>
                  </a:lnTo>
                  <a:lnTo>
                    <a:pt x="54355" y="284140"/>
                  </a:lnTo>
                  <a:lnTo>
                    <a:pt x="53244" y="284600"/>
                  </a:lnTo>
                  <a:lnTo>
                    <a:pt x="51214" y="286930"/>
                  </a:lnTo>
                  <a:lnTo>
                    <a:pt x="50018" y="289012"/>
                  </a:lnTo>
                  <a:lnTo>
                    <a:pt x="46866" y="290980"/>
                  </a:lnTo>
                  <a:lnTo>
                    <a:pt x="45203" y="290779"/>
                  </a:lnTo>
                  <a:lnTo>
                    <a:pt x="44991" y="288281"/>
                  </a:lnTo>
                  <a:lnTo>
                    <a:pt x="46252" y="279413"/>
                  </a:lnTo>
                  <a:lnTo>
                    <a:pt x="47491" y="278166"/>
                  </a:lnTo>
                  <a:lnTo>
                    <a:pt x="48068" y="276626"/>
                  </a:lnTo>
                  <a:lnTo>
                    <a:pt x="49098" y="271439"/>
                  </a:lnTo>
                  <a:lnTo>
                    <a:pt x="50258" y="269475"/>
                  </a:lnTo>
                  <a:lnTo>
                    <a:pt x="50715" y="265358"/>
                  </a:lnTo>
                  <a:lnTo>
                    <a:pt x="51184" y="264650"/>
                  </a:lnTo>
                  <a:lnTo>
                    <a:pt x="52734" y="261417"/>
                  </a:lnTo>
                  <a:lnTo>
                    <a:pt x="53277" y="255475"/>
                  </a:lnTo>
                  <a:lnTo>
                    <a:pt x="52638" y="252519"/>
                  </a:lnTo>
                  <a:lnTo>
                    <a:pt x="51184" y="249654"/>
                  </a:lnTo>
                  <a:lnTo>
                    <a:pt x="49778" y="241045"/>
                  </a:lnTo>
                  <a:lnTo>
                    <a:pt x="46131" y="234060"/>
                  </a:lnTo>
                  <a:lnTo>
                    <a:pt x="45829" y="231728"/>
                  </a:lnTo>
                  <a:lnTo>
                    <a:pt x="44028" y="228908"/>
                  </a:lnTo>
                  <a:lnTo>
                    <a:pt x="45686" y="228708"/>
                  </a:lnTo>
                  <a:lnTo>
                    <a:pt x="42272" y="226234"/>
                  </a:lnTo>
                  <a:lnTo>
                    <a:pt x="41802" y="225222"/>
                  </a:lnTo>
                  <a:lnTo>
                    <a:pt x="41115" y="219429"/>
                  </a:lnTo>
                  <a:lnTo>
                    <a:pt x="41247" y="216190"/>
                  </a:lnTo>
                  <a:lnTo>
                    <a:pt x="40750" y="216617"/>
                  </a:lnTo>
                  <a:lnTo>
                    <a:pt x="40288" y="218613"/>
                  </a:lnTo>
                  <a:lnTo>
                    <a:pt x="38949" y="219431"/>
                  </a:lnTo>
                  <a:lnTo>
                    <a:pt x="39547" y="222893"/>
                  </a:lnTo>
                  <a:lnTo>
                    <a:pt x="39398" y="223733"/>
                  </a:lnTo>
                  <a:lnTo>
                    <a:pt x="38688" y="225078"/>
                  </a:lnTo>
                  <a:lnTo>
                    <a:pt x="35833" y="223682"/>
                  </a:lnTo>
                  <a:lnTo>
                    <a:pt x="33741" y="222163"/>
                  </a:lnTo>
                  <a:lnTo>
                    <a:pt x="31368" y="218459"/>
                  </a:lnTo>
                  <a:lnTo>
                    <a:pt x="29044" y="214307"/>
                  </a:lnTo>
                  <a:lnTo>
                    <a:pt x="29873" y="213663"/>
                  </a:lnTo>
                  <a:lnTo>
                    <a:pt x="30936" y="213580"/>
                  </a:lnTo>
                  <a:lnTo>
                    <a:pt x="34239" y="216670"/>
                  </a:lnTo>
                  <a:lnTo>
                    <a:pt x="36382" y="217313"/>
                  </a:lnTo>
                  <a:lnTo>
                    <a:pt x="37735" y="216545"/>
                  </a:lnTo>
                  <a:lnTo>
                    <a:pt x="39414" y="215228"/>
                  </a:lnTo>
                  <a:lnTo>
                    <a:pt x="40213" y="212669"/>
                  </a:lnTo>
                  <a:lnTo>
                    <a:pt x="39386" y="211732"/>
                  </a:lnTo>
                  <a:lnTo>
                    <a:pt x="37775" y="211222"/>
                  </a:lnTo>
                  <a:lnTo>
                    <a:pt x="36705" y="210528"/>
                  </a:lnTo>
                  <a:lnTo>
                    <a:pt x="35166" y="208796"/>
                  </a:lnTo>
                  <a:lnTo>
                    <a:pt x="34970" y="207912"/>
                  </a:lnTo>
                  <a:lnTo>
                    <a:pt x="34494" y="206781"/>
                  </a:lnTo>
                  <a:lnTo>
                    <a:pt x="32929" y="205983"/>
                  </a:lnTo>
                  <a:lnTo>
                    <a:pt x="31668" y="204970"/>
                  </a:lnTo>
                  <a:lnTo>
                    <a:pt x="32733" y="203176"/>
                  </a:lnTo>
                  <a:lnTo>
                    <a:pt x="33775" y="201842"/>
                  </a:lnTo>
                  <a:lnTo>
                    <a:pt x="31007" y="201901"/>
                  </a:lnTo>
                  <a:lnTo>
                    <a:pt x="27850" y="199605"/>
                  </a:lnTo>
                  <a:lnTo>
                    <a:pt x="27198" y="198940"/>
                  </a:lnTo>
                  <a:lnTo>
                    <a:pt x="26152" y="198480"/>
                  </a:lnTo>
                  <a:lnTo>
                    <a:pt x="23670" y="198208"/>
                  </a:lnTo>
                  <a:lnTo>
                    <a:pt x="21605" y="198884"/>
                  </a:lnTo>
                  <a:lnTo>
                    <a:pt x="22542" y="202160"/>
                  </a:lnTo>
                  <a:lnTo>
                    <a:pt x="22356" y="203243"/>
                  </a:lnTo>
                  <a:lnTo>
                    <a:pt x="21005" y="203087"/>
                  </a:lnTo>
                  <a:lnTo>
                    <a:pt x="18185" y="198099"/>
                  </a:lnTo>
                  <a:lnTo>
                    <a:pt x="19033" y="196835"/>
                  </a:lnTo>
                  <a:lnTo>
                    <a:pt x="20253" y="195648"/>
                  </a:lnTo>
                  <a:lnTo>
                    <a:pt x="19653" y="195480"/>
                  </a:lnTo>
                  <a:lnTo>
                    <a:pt x="18476" y="195558"/>
                  </a:lnTo>
                  <a:lnTo>
                    <a:pt x="19619" y="191128"/>
                  </a:lnTo>
                  <a:lnTo>
                    <a:pt x="18923" y="190471"/>
                  </a:lnTo>
                  <a:lnTo>
                    <a:pt x="18556" y="191856"/>
                  </a:lnTo>
                  <a:lnTo>
                    <a:pt x="17936" y="193193"/>
                  </a:lnTo>
                  <a:lnTo>
                    <a:pt x="15535" y="196321"/>
                  </a:lnTo>
                  <a:lnTo>
                    <a:pt x="14345" y="195735"/>
                  </a:lnTo>
                  <a:lnTo>
                    <a:pt x="13524" y="194956"/>
                  </a:lnTo>
                  <a:lnTo>
                    <a:pt x="14682" y="193317"/>
                  </a:lnTo>
                  <a:lnTo>
                    <a:pt x="15304" y="192876"/>
                  </a:lnTo>
                  <a:lnTo>
                    <a:pt x="15734" y="191987"/>
                  </a:lnTo>
                  <a:lnTo>
                    <a:pt x="14840" y="190271"/>
                  </a:lnTo>
                  <a:lnTo>
                    <a:pt x="13429" y="189022"/>
                  </a:lnTo>
                  <a:lnTo>
                    <a:pt x="12296" y="186863"/>
                  </a:lnTo>
                  <a:lnTo>
                    <a:pt x="11706" y="186834"/>
                  </a:lnTo>
                  <a:lnTo>
                    <a:pt x="12229" y="189383"/>
                  </a:lnTo>
                  <a:lnTo>
                    <a:pt x="12013" y="193018"/>
                  </a:lnTo>
                  <a:lnTo>
                    <a:pt x="9474" y="189003"/>
                  </a:lnTo>
                  <a:lnTo>
                    <a:pt x="4395" y="183291"/>
                  </a:lnTo>
                  <a:lnTo>
                    <a:pt x="3196" y="181577"/>
                  </a:lnTo>
                  <a:lnTo>
                    <a:pt x="2926" y="179902"/>
                  </a:lnTo>
                  <a:lnTo>
                    <a:pt x="2358" y="178351"/>
                  </a:lnTo>
                  <a:lnTo>
                    <a:pt x="1965" y="176663"/>
                  </a:lnTo>
                  <a:lnTo>
                    <a:pt x="1877" y="175351"/>
                  </a:lnTo>
                  <a:lnTo>
                    <a:pt x="778" y="174168"/>
                  </a:lnTo>
                  <a:lnTo>
                    <a:pt x="275" y="172098"/>
                  </a:lnTo>
                  <a:lnTo>
                    <a:pt x="0" y="169997"/>
                  </a:lnTo>
                  <a:lnTo>
                    <a:pt x="633" y="168499"/>
                  </a:lnTo>
                  <a:lnTo>
                    <a:pt x="2214" y="166886"/>
                  </a:lnTo>
                  <a:lnTo>
                    <a:pt x="3339" y="166604"/>
                  </a:lnTo>
                  <a:lnTo>
                    <a:pt x="4269" y="167316"/>
                  </a:lnTo>
                  <a:lnTo>
                    <a:pt x="6464" y="168381"/>
                  </a:lnTo>
                  <a:lnTo>
                    <a:pt x="7951" y="169379"/>
                  </a:lnTo>
                  <a:lnTo>
                    <a:pt x="8601" y="170685"/>
                  </a:lnTo>
                  <a:lnTo>
                    <a:pt x="9292" y="170528"/>
                  </a:lnTo>
                  <a:lnTo>
                    <a:pt x="9996" y="169694"/>
                  </a:lnTo>
                  <a:lnTo>
                    <a:pt x="9856" y="168664"/>
                  </a:lnTo>
                  <a:lnTo>
                    <a:pt x="9152" y="165966"/>
                  </a:lnTo>
                  <a:lnTo>
                    <a:pt x="8949" y="162686"/>
                  </a:lnTo>
                  <a:lnTo>
                    <a:pt x="8916" y="155008"/>
                  </a:lnTo>
                  <a:lnTo>
                    <a:pt x="8742" y="154133"/>
                  </a:lnTo>
                  <a:lnTo>
                    <a:pt x="9968" y="153361"/>
                  </a:lnTo>
                  <a:lnTo>
                    <a:pt x="10460" y="152480"/>
                  </a:lnTo>
                  <a:lnTo>
                    <a:pt x="10949" y="151164"/>
                  </a:lnTo>
                  <a:lnTo>
                    <a:pt x="11263" y="150585"/>
                  </a:lnTo>
                  <a:lnTo>
                    <a:pt x="11972" y="150551"/>
                  </a:lnTo>
                  <a:lnTo>
                    <a:pt x="13086" y="151192"/>
                  </a:lnTo>
                  <a:lnTo>
                    <a:pt x="14920" y="153388"/>
                  </a:lnTo>
                  <a:lnTo>
                    <a:pt x="16140" y="153881"/>
                  </a:lnTo>
                  <a:lnTo>
                    <a:pt x="17358" y="153537"/>
                  </a:lnTo>
                  <a:lnTo>
                    <a:pt x="18627" y="150243"/>
                  </a:lnTo>
                  <a:lnTo>
                    <a:pt x="19092" y="149354"/>
                  </a:lnTo>
                  <a:lnTo>
                    <a:pt x="19702" y="148764"/>
                  </a:lnTo>
                  <a:lnTo>
                    <a:pt x="20827" y="148862"/>
                  </a:lnTo>
                  <a:lnTo>
                    <a:pt x="21484" y="148271"/>
                  </a:lnTo>
                  <a:lnTo>
                    <a:pt x="21732" y="146848"/>
                  </a:lnTo>
                  <a:lnTo>
                    <a:pt x="21724" y="145261"/>
                  </a:lnTo>
                  <a:lnTo>
                    <a:pt x="20465" y="140916"/>
                  </a:lnTo>
                  <a:lnTo>
                    <a:pt x="20091" y="138913"/>
                  </a:lnTo>
                  <a:lnTo>
                    <a:pt x="19881" y="136936"/>
                  </a:lnTo>
                  <a:lnTo>
                    <a:pt x="20667" y="134899"/>
                  </a:lnTo>
                  <a:lnTo>
                    <a:pt x="21735" y="132518"/>
                  </a:lnTo>
                  <a:lnTo>
                    <a:pt x="21480" y="130436"/>
                  </a:lnTo>
                  <a:lnTo>
                    <a:pt x="21771" y="129627"/>
                  </a:lnTo>
                  <a:lnTo>
                    <a:pt x="22650" y="129511"/>
                  </a:lnTo>
                  <a:lnTo>
                    <a:pt x="23747" y="130013"/>
                  </a:lnTo>
                  <a:lnTo>
                    <a:pt x="24952" y="129666"/>
                  </a:lnTo>
                  <a:lnTo>
                    <a:pt x="25868" y="128393"/>
                  </a:lnTo>
                  <a:lnTo>
                    <a:pt x="26235" y="127285"/>
                  </a:lnTo>
                  <a:lnTo>
                    <a:pt x="26794" y="122464"/>
                  </a:lnTo>
                  <a:lnTo>
                    <a:pt x="27165" y="118053"/>
                  </a:lnTo>
                  <a:lnTo>
                    <a:pt x="27317" y="114453"/>
                  </a:lnTo>
                  <a:lnTo>
                    <a:pt x="26379" y="112300"/>
                  </a:lnTo>
                  <a:lnTo>
                    <a:pt x="24937" y="106503"/>
                  </a:lnTo>
                  <a:lnTo>
                    <a:pt x="25356" y="105512"/>
                  </a:lnTo>
                  <a:lnTo>
                    <a:pt x="26004" y="105279"/>
                  </a:lnTo>
                  <a:lnTo>
                    <a:pt x="28139" y="107310"/>
                  </a:lnTo>
                  <a:lnTo>
                    <a:pt x="29059" y="107651"/>
                  </a:lnTo>
                  <a:lnTo>
                    <a:pt x="30614" y="107341"/>
                  </a:lnTo>
                  <a:lnTo>
                    <a:pt x="32145" y="106889"/>
                  </a:lnTo>
                  <a:lnTo>
                    <a:pt x="33253" y="106862"/>
                  </a:lnTo>
                  <a:lnTo>
                    <a:pt x="34855" y="107556"/>
                  </a:lnTo>
                  <a:lnTo>
                    <a:pt x="37057" y="108328"/>
                  </a:lnTo>
                  <a:lnTo>
                    <a:pt x="40493" y="109287"/>
                  </a:lnTo>
                  <a:lnTo>
                    <a:pt x="41907" y="110010"/>
                  </a:lnTo>
                  <a:lnTo>
                    <a:pt x="43076" y="109907"/>
                  </a:lnTo>
                  <a:lnTo>
                    <a:pt x="44019" y="107655"/>
                  </a:lnTo>
                  <a:lnTo>
                    <a:pt x="45112" y="104364"/>
                  </a:lnTo>
                  <a:lnTo>
                    <a:pt x="46734" y="99473"/>
                  </a:lnTo>
                  <a:lnTo>
                    <a:pt x="48595" y="95910"/>
                  </a:lnTo>
                  <a:lnTo>
                    <a:pt x="49085" y="94963"/>
                  </a:lnTo>
                  <a:lnTo>
                    <a:pt x="51159" y="92062"/>
                  </a:lnTo>
                  <a:lnTo>
                    <a:pt x="53169" y="89017"/>
                  </a:lnTo>
                  <a:lnTo>
                    <a:pt x="54920" y="85166"/>
                  </a:lnTo>
                  <a:lnTo>
                    <a:pt x="55900" y="82396"/>
                  </a:lnTo>
                  <a:lnTo>
                    <a:pt x="55814" y="81239"/>
                  </a:lnTo>
                  <a:lnTo>
                    <a:pt x="55185" y="80281"/>
                  </a:lnTo>
                  <a:lnTo>
                    <a:pt x="53866" y="79668"/>
                  </a:lnTo>
                  <a:lnTo>
                    <a:pt x="52780" y="79034"/>
                  </a:lnTo>
                  <a:lnTo>
                    <a:pt x="52482" y="78464"/>
                  </a:lnTo>
                  <a:lnTo>
                    <a:pt x="52512" y="77810"/>
                  </a:lnTo>
                  <a:lnTo>
                    <a:pt x="53076" y="76011"/>
                  </a:lnTo>
                  <a:lnTo>
                    <a:pt x="54026" y="73884"/>
                  </a:lnTo>
                  <a:lnTo>
                    <a:pt x="55019" y="72732"/>
                  </a:lnTo>
                  <a:lnTo>
                    <a:pt x="57630" y="71306"/>
                  </a:lnTo>
                  <a:lnTo>
                    <a:pt x="59295" y="69468"/>
                  </a:lnTo>
                  <a:lnTo>
                    <a:pt x="61165" y="67036"/>
                  </a:lnTo>
                  <a:lnTo>
                    <a:pt x="62188" y="65377"/>
                  </a:lnTo>
                  <a:lnTo>
                    <a:pt x="62702" y="62010"/>
                  </a:lnTo>
                  <a:lnTo>
                    <a:pt x="63266" y="61339"/>
                  </a:lnTo>
                  <a:lnTo>
                    <a:pt x="64421" y="60251"/>
                  </a:lnTo>
                  <a:lnTo>
                    <a:pt x="65293" y="58975"/>
                  </a:lnTo>
                  <a:lnTo>
                    <a:pt x="65224" y="58285"/>
                  </a:lnTo>
                  <a:lnTo>
                    <a:pt x="64762" y="57788"/>
                  </a:lnTo>
                  <a:lnTo>
                    <a:pt x="63890" y="55428"/>
                  </a:lnTo>
                  <a:lnTo>
                    <a:pt x="63490" y="51729"/>
                  </a:lnTo>
                  <a:lnTo>
                    <a:pt x="63687" y="48725"/>
                  </a:lnTo>
                  <a:lnTo>
                    <a:pt x="64344" y="47503"/>
                  </a:lnTo>
                  <a:lnTo>
                    <a:pt x="65211" y="45800"/>
                  </a:lnTo>
                  <a:lnTo>
                    <a:pt x="66820" y="44753"/>
                  </a:lnTo>
                  <a:lnTo>
                    <a:pt x="69112" y="44020"/>
                  </a:lnTo>
                  <a:lnTo>
                    <a:pt x="72622" y="42031"/>
                  </a:lnTo>
                  <a:lnTo>
                    <a:pt x="78693" y="37412"/>
                  </a:lnTo>
                  <a:lnTo>
                    <a:pt x="80880" y="35905"/>
                  </a:lnTo>
                  <a:lnTo>
                    <a:pt x="82383" y="35124"/>
                  </a:lnTo>
                  <a:lnTo>
                    <a:pt x="83834" y="33186"/>
                  </a:lnTo>
                  <a:lnTo>
                    <a:pt x="85836" y="31067"/>
                  </a:lnTo>
                  <a:lnTo>
                    <a:pt x="88697" y="30015"/>
                  </a:lnTo>
                  <a:lnTo>
                    <a:pt x="90541" y="29608"/>
                  </a:lnTo>
                  <a:lnTo>
                    <a:pt x="99198" y="28157"/>
                  </a:lnTo>
                  <a:lnTo>
                    <a:pt x="100656" y="28342"/>
                  </a:lnTo>
                  <a:lnTo>
                    <a:pt x="102120" y="29183"/>
                  </a:lnTo>
                  <a:lnTo>
                    <a:pt x="103942" y="32002"/>
                  </a:lnTo>
                  <a:lnTo>
                    <a:pt x="105560" y="33062"/>
                  </a:lnTo>
                  <a:lnTo>
                    <a:pt x="107432" y="33805"/>
                  </a:lnTo>
                  <a:lnTo>
                    <a:pt x="108847" y="33487"/>
                  </a:lnTo>
                  <a:lnTo>
                    <a:pt x="108883" y="32347"/>
                  </a:lnTo>
                  <a:lnTo>
                    <a:pt x="104422" y="25766"/>
                  </a:lnTo>
                  <a:lnTo>
                    <a:pt x="104016" y="23972"/>
                  </a:lnTo>
                  <a:lnTo>
                    <a:pt x="103867" y="22257"/>
                  </a:lnTo>
                  <a:lnTo>
                    <a:pt x="104372" y="20894"/>
                  </a:lnTo>
                  <a:lnTo>
                    <a:pt x="105767" y="19594"/>
                  </a:lnTo>
                  <a:lnTo>
                    <a:pt x="107689" y="18120"/>
                  </a:lnTo>
                  <a:lnTo>
                    <a:pt x="110079" y="16284"/>
                  </a:lnTo>
                  <a:lnTo>
                    <a:pt x="111589" y="15014"/>
                  </a:lnTo>
                  <a:lnTo>
                    <a:pt x="113359" y="14606"/>
                  </a:lnTo>
                  <a:lnTo>
                    <a:pt x="114000" y="13873"/>
                  </a:lnTo>
                  <a:lnTo>
                    <a:pt x="114187" y="12807"/>
                  </a:lnTo>
                  <a:lnTo>
                    <a:pt x="114089" y="11646"/>
                  </a:lnTo>
                  <a:lnTo>
                    <a:pt x="113283" y="10327"/>
                  </a:lnTo>
                  <a:lnTo>
                    <a:pt x="113450" y="8670"/>
                  </a:lnTo>
                  <a:lnTo>
                    <a:pt x="113720" y="7168"/>
                  </a:lnTo>
                  <a:lnTo>
                    <a:pt x="114472" y="6293"/>
                  </a:lnTo>
                  <a:lnTo>
                    <a:pt x="116130" y="3912"/>
                  </a:lnTo>
                  <a:lnTo>
                    <a:pt x="117154" y="2192"/>
                  </a:lnTo>
                  <a:lnTo>
                    <a:pt x="117693" y="1455"/>
                  </a:lnTo>
                  <a:lnTo>
                    <a:pt x="118484" y="164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90" name="ee4p_MN_1_37365">
              <a:extLst>
                <a:ext uri="{FF2B5EF4-FFF2-40B4-BE49-F238E27FC236}">
                  <a16:creationId xmlns:a16="http://schemas.microsoft.com/office/drawing/2014/main" id="{313F812B-0F08-1C99-E98A-353D602728B5}"/>
                </a:ext>
              </a:extLst>
            </p:cNvPr>
            <p:cNvSpPr>
              <a:spLocks noChangeAspect="1"/>
            </p:cNvSpPr>
            <p:nvPr>
              <p:custDataLst>
                <p:tags r:id="rId244"/>
              </p:custDataLst>
            </p:nvPr>
          </p:nvSpPr>
          <p:spPr>
            <a:xfrm>
              <a:off x="8951270" y="3037320"/>
              <a:ext cx="892917" cy="378986"/>
            </a:xfrm>
            <a:custGeom>
              <a:avLst/>
              <a:gdLst/>
              <a:ahLst/>
              <a:cxnLst/>
              <a:rect l="0" t="0" r="0" b="0"/>
              <a:pathLst>
                <a:path w="711010" h="293779">
                  <a:moveTo>
                    <a:pt x="639928" y="66978"/>
                  </a:moveTo>
                  <a:lnTo>
                    <a:pt x="637860" y="70978"/>
                  </a:lnTo>
                  <a:lnTo>
                    <a:pt x="633711" y="78977"/>
                  </a:lnTo>
                  <a:lnTo>
                    <a:pt x="630200" y="85729"/>
                  </a:lnTo>
                  <a:lnTo>
                    <a:pt x="628349" y="89526"/>
                  </a:lnTo>
                  <a:lnTo>
                    <a:pt x="626991" y="92416"/>
                  </a:lnTo>
                  <a:lnTo>
                    <a:pt x="625579" y="95155"/>
                  </a:lnTo>
                  <a:lnTo>
                    <a:pt x="625383" y="96800"/>
                  </a:lnTo>
                  <a:lnTo>
                    <a:pt x="623798" y="99443"/>
                  </a:lnTo>
                  <a:lnTo>
                    <a:pt x="620850" y="102629"/>
                  </a:lnTo>
                  <a:lnTo>
                    <a:pt x="620213" y="106077"/>
                  </a:lnTo>
                  <a:lnTo>
                    <a:pt x="620321" y="109178"/>
                  </a:lnTo>
                  <a:lnTo>
                    <a:pt x="620077" y="111955"/>
                  </a:lnTo>
                  <a:lnTo>
                    <a:pt x="616846" y="113708"/>
                  </a:lnTo>
                  <a:lnTo>
                    <a:pt x="614318" y="115273"/>
                  </a:lnTo>
                  <a:lnTo>
                    <a:pt x="615037" y="120519"/>
                  </a:lnTo>
                  <a:lnTo>
                    <a:pt x="616337" y="122498"/>
                  </a:lnTo>
                  <a:lnTo>
                    <a:pt x="618444" y="124635"/>
                  </a:lnTo>
                  <a:lnTo>
                    <a:pt x="620655" y="126343"/>
                  </a:lnTo>
                  <a:lnTo>
                    <a:pt x="622569" y="127787"/>
                  </a:lnTo>
                  <a:lnTo>
                    <a:pt x="624683" y="127100"/>
                  </a:lnTo>
                  <a:lnTo>
                    <a:pt x="626473" y="124899"/>
                  </a:lnTo>
                  <a:lnTo>
                    <a:pt x="629931" y="122966"/>
                  </a:lnTo>
                  <a:lnTo>
                    <a:pt x="631832" y="122919"/>
                  </a:lnTo>
                  <a:lnTo>
                    <a:pt x="633182" y="123365"/>
                  </a:lnTo>
                  <a:lnTo>
                    <a:pt x="636173" y="123491"/>
                  </a:lnTo>
                  <a:lnTo>
                    <a:pt x="639235" y="122788"/>
                  </a:lnTo>
                  <a:lnTo>
                    <a:pt x="641636" y="122640"/>
                  </a:lnTo>
                  <a:lnTo>
                    <a:pt x="644746" y="123110"/>
                  </a:lnTo>
                  <a:lnTo>
                    <a:pt x="645862" y="123575"/>
                  </a:lnTo>
                  <a:lnTo>
                    <a:pt x="648473" y="124425"/>
                  </a:lnTo>
                  <a:lnTo>
                    <a:pt x="651289" y="126286"/>
                  </a:lnTo>
                  <a:lnTo>
                    <a:pt x="653253" y="128365"/>
                  </a:lnTo>
                  <a:lnTo>
                    <a:pt x="654687" y="128763"/>
                  </a:lnTo>
                  <a:lnTo>
                    <a:pt x="655422" y="128101"/>
                  </a:lnTo>
                  <a:lnTo>
                    <a:pt x="656993" y="126256"/>
                  </a:lnTo>
                  <a:lnTo>
                    <a:pt x="659211" y="124473"/>
                  </a:lnTo>
                  <a:lnTo>
                    <a:pt x="661893" y="121554"/>
                  </a:lnTo>
                  <a:lnTo>
                    <a:pt x="663921" y="119310"/>
                  </a:lnTo>
                  <a:lnTo>
                    <a:pt x="665514" y="118972"/>
                  </a:lnTo>
                  <a:lnTo>
                    <a:pt x="668583" y="118979"/>
                  </a:lnTo>
                  <a:lnTo>
                    <a:pt x="669969" y="118434"/>
                  </a:lnTo>
                  <a:lnTo>
                    <a:pt x="672295" y="118152"/>
                  </a:lnTo>
                  <a:lnTo>
                    <a:pt x="674342" y="118982"/>
                  </a:lnTo>
                  <a:lnTo>
                    <a:pt x="680065" y="119420"/>
                  </a:lnTo>
                  <a:lnTo>
                    <a:pt x="681598" y="120569"/>
                  </a:lnTo>
                  <a:lnTo>
                    <a:pt x="684313" y="123978"/>
                  </a:lnTo>
                  <a:lnTo>
                    <a:pt x="685847" y="125798"/>
                  </a:lnTo>
                  <a:lnTo>
                    <a:pt x="688508" y="126713"/>
                  </a:lnTo>
                  <a:lnTo>
                    <a:pt x="690118" y="127337"/>
                  </a:lnTo>
                  <a:lnTo>
                    <a:pt x="691544" y="127831"/>
                  </a:lnTo>
                  <a:lnTo>
                    <a:pt x="692967" y="128708"/>
                  </a:lnTo>
                  <a:lnTo>
                    <a:pt x="693306" y="129773"/>
                  </a:lnTo>
                  <a:lnTo>
                    <a:pt x="693874" y="131395"/>
                  </a:lnTo>
                  <a:lnTo>
                    <a:pt x="694746" y="132330"/>
                  </a:lnTo>
                  <a:lnTo>
                    <a:pt x="696357" y="133245"/>
                  </a:lnTo>
                  <a:lnTo>
                    <a:pt x="697585" y="133804"/>
                  </a:lnTo>
                  <a:lnTo>
                    <a:pt x="697979" y="134981"/>
                  </a:lnTo>
                  <a:lnTo>
                    <a:pt x="698363" y="135557"/>
                  </a:lnTo>
                  <a:lnTo>
                    <a:pt x="699484" y="136378"/>
                  </a:lnTo>
                  <a:lnTo>
                    <a:pt x="702808" y="139877"/>
                  </a:lnTo>
                  <a:lnTo>
                    <a:pt x="704427" y="140813"/>
                  </a:lnTo>
                  <a:lnTo>
                    <a:pt x="706880" y="142839"/>
                  </a:lnTo>
                  <a:lnTo>
                    <a:pt x="707899" y="144515"/>
                  </a:lnTo>
                  <a:lnTo>
                    <a:pt x="707958" y="146276"/>
                  </a:lnTo>
                  <a:lnTo>
                    <a:pt x="708590" y="147621"/>
                  </a:lnTo>
                  <a:lnTo>
                    <a:pt x="710231" y="149635"/>
                  </a:lnTo>
                  <a:lnTo>
                    <a:pt x="711009" y="150995"/>
                  </a:lnTo>
                  <a:lnTo>
                    <a:pt x="710706" y="152843"/>
                  </a:lnTo>
                  <a:lnTo>
                    <a:pt x="710965" y="154474"/>
                  </a:lnTo>
                  <a:lnTo>
                    <a:pt x="710330" y="156163"/>
                  </a:lnTo>
                  <a:lnTo>
                    <a:pt x="707683" y="157413"/>
                  </a:lnTo>
                  <a:lnTo>
                    <a:pt x="706781" y="158002"/>
                  </a:lnTo>
                  <a:lnTo>
                    <a:pt x="704869" y="158059"/>
                  </a:lnTo>
                  <a:lnTo>
                    <a:pt x="701637" y="157428"/>
                  </a:lnTo>
                  <a:lnTo>
                    <a:pt x="698493" y="157785"/>
                  </a:lnTo>
                  <a:lnTo>
                    <a:pt x="694740" y="157094"/>
                  </a:lnTo>
                  <a:lnTo>
                    <a:pt x="691786" y="155606"/>
                  </a:lnTo>
                  <a:lnTo>
                    <a:pt x="690208" y="154419"/>
                  </a:lnTo>
                  <a:lnTo>
                    <a:pt x="687705" y="153713"/>
                  </a:lnTo>
                  <a:lnTo>
                    <a:pt x="686519" y="154079"/>
                  </a:lnTo>
                  <a:lnTo>
                    <a:pt x="685029" y="155614"/>
                  </a:lnTo>
                  <a:lnTo>
                    <a:pt x="683388" y="155343"/>
                  </a:lnTo>
                  <a:lnTo>
                    <a:pt x="681879" y="155614"/>
                  </a:lnTo>
                  <a:lnTo>
                    <a:pt x="677985" y="155300"/>
                  </a:lnTo>
                  <a:lnTo>
                    <a:pt x="675869" y="154915"/>
                  </a:lnTo>
                  <a:lnTo>
                    <a:pt x="672511" y="155985"/>
                  </a:lnTo>
                  <a:lnTo>
                    <a:pt x="670620" y="156318"/>
                  </a:lnTo>
                  <a:lnTo>
                    <a:pt x="667062" y="157632"/>
                  </a:lnTo>
                  <a:lnTo>
                    <a:pt x="664919" y="159900"/>
                  </a:lnTo>
                  <a:lnTo>
                    <a:pt x="663321" y="160442"/>
                  </a:lnTo>
                  <a:lnTo>
                    <a:pt x="661770" y="160334"/>
                  </a:lnTo>
                  <a:lnTo>
                    <a:pt x="660651" y="159503"/>
                  </a:lnTo>
                  <a:lnTo>
                    <a:pt x="659023" y="158495"/>
                  </a:lnTo>
                  <a:lnTo>
                    <a:pt x="656618" y="158552"/>
                  </a:lnTo>
                  <a:lnTo>
                    <a:pt x="655899" y="158978"/>
                  </a:lnTo>
                  <a:lnTo>
                    <a:pt x="655603" y="159903"/>
                  </a:lnTo>
                  <a:lnTo>
                    <a:pt x="654810" y="162704"/>
                  </a:lnTo>
                  <a:lnTo>
                    <a:pt x="654824" y="163962"/>
                  </a:lnTo>
                  <a:lnTo>
                    <a:pt x="654303" y="164775"/>
                  </a:lnTo>
                  <a:lnTo>
                    <a:pt x="652880" y="165045"/>
                  </a:lnTo>
                  <a:lnTo>
                    <a:pt x="650380" y="164967"/>
                  </a:lnTo>
                  <a:lnTo>
                    <a:pt x="646462" y="164781"/>
                  </a:lnTo>
                  <a:lnTo>
                    <a:pt x="643815" y="164056"/>
                  </a:lnTo>
                  <a:lnTo>
                    <a:pt x="642221" y="164368"/>
                  </a:lnTo>
                  <a:lnTo>
                    <a:pt x="640051" y="165884"/>
                  </a:lnTo>
                  <a:lnTo>
                    <a:pt x="638514" y="166130"/>
                  </a:lnTo>
                  <a:lnTo>
                    <a:pt x="637259" y="166776"/>
                  </a:lnTo>
                  <a:lnTo>
                    <a:pt x="636244" y="169010"/>
                  </a:lnTo>
                  <a:lnTo>
                    <a:pt x="634655" y="170402"/>
                  </a:lnTo>
                  <a:lnTo>
                    <a:pt x="632727" y="172122"/>
                  </a:lnTo>
                  <a:lnTo>
                    <a:pt x="630669" y="175811"/>
                  </a:lnTo>
                  <a:lnTo>
                    <a:pt x="629528" y="177911"/>
                  </a:lnTo>
                  <a:lnTo>
                    <a:pt x="629885" y="179047"/>
                  </a:lnTo>
                  <a:lnTo>
                    <a:pt x="630140" y="180418"/>
                  </a:lnTo>
                  <a:lnTo>
                    <a:pt x="629190" y="181978"/>
                  </a:lnTo>
                  <a:lnTo>
                    <a:pt x="627249" y="183428"/>
                  </a:lnTo>
                  <a:lnTo>
                    <a:pt x="625694" y="183696"/>
                  </a:lnTo>
                  <a:lnTo>
                    <a:pt x="623364" y="185093"/>
                  </a:lnTo>
                  <a:lnTo>
                    <a:pt x="620157" y="187605"/>
                  </a:lnTo>
                  <a:lnTo>
                    <a:pt x="617766" y="189709"/>
                  </a:lnTo>
                  <a:lnTo>
                    <a:pt x="614635" y="190223"/>
                  </a:lnTo>
                  <a:lnTo>
                    <a:pt x="612424" y="190760"/>
                  </a:lnTo>
                  <a:lnTo>
                    <a:pt x="607516" y="191412"/>
                  </a:lnTo>
                  <a:lnTo>
                    <a:pt x="606303" y="191576"/>
                  </a:lnTo>
                  <a:lnTo>
                    <a:pt x="600921" y="191904"/>
                  </a:lnTo>
                  <a:lnTo>
                    <a:pt x="596930" y="190769"/>
                  </a:lnTo>
                  <a:lnTo>
                    <a:pt x="594842" y="190943"/>
                  </a:lnTo>
                  <a:lnTo>
                    <a:pt x="592981" y="191583"/>
                  </a:lnTo>
                  <a:lnTo>
                    <a:pt x="592031" y="192279"/>
                  </a:lnTo>
                  <a:lnTo>
                    <a:pt x="591700" y="193604"/>
                  </a:lnTo>
                  <a:lnTo>
                    <a:pt x="591370" y="194826"/>
                  </a:lnTo>
                  <a:lnTo>
                    <a:pt x="589862" y="196720"/>
                  </a:lnTo>
                  <a:lnTo>
                    <a:pt x="586809" y="199230"/>
                  </a:lnTo>
                  <a:lnTo>
                    <a:pt x="584296" y="200900"/>
                  </a:lnTo>
                  <a:lnTo>
                    <a:pt x="582370" y="203052"/>
                  </a:lnTo>
                  <a:lnTo>
                    <a:pt x="581264" y="203832"/>
                  </a:lnTo>
                  <a:lnTo>
                    <a:pt x="579065" y="204659"/>
                  </a:lnTo>
                  <a:lnTo>
                    <a:pt x="577876" y="205099"/>
                  </a:lnTo>
                  <a:lnTo>
                    <a:pt x="575114" y="207017"/>
                  </a:lnTo>
                  <a:lnTo>
                    <a:pt x="572914" y="208720"/>
                  </a:lnTo>
                  <a:lnTo>
                    <a:pt x="571463" y="209204"/>
                  </a:lnTo>
                  <a:lnTo>
                    <a:pt x="569713" y="208751"/>
                  </a:lnTo>
                  <a:lnTo>
                    <a:pt x="568558" y="208612"/>
                  </a:lnTo>
                  <a:lnTo>
                    <a:pt x="565138" y="207952"/>
                  </a:lnTo>
                  <a:lnTo>
                    <a:pt x="562818" y="207865"/>
                  </a:lnTo>
                  <a:lnTo>
                    <a:pt x="559575" y="207441"/>
                  </a:lnTo>
                  <a:lnTo>
                    <a:pt x="551998" y="205447"/>
                  </a:lnTo>
                  <a:lnTo>
                    <a:pt x="549566" y="204512"/>
                  </a:lnTo>
                  <a:lnTo>
                    <a:pt x="547412" y="201964"/>
                  </a:lnTo>
                  <a:lnTo>
                    <a:pt x="545466" y="200672"/>
                  </a:lnTo>
                  <a:lnTo>
                    <a:pt x="542829" y="200539"/>
                  </a:lnTo>
                  <a:lnTo>
                    <a:pt x="538866" y="200542"/>
                  </a:lnTo>
                  <a:lnTo>
                    <a:pt x="537091" y="200031"/>
                  </a:lnTo>
                  <a:lnTo>
                    <a:pt x="534116" y="200512"/>
                  </a:lnTo>
                  <a:lnTo>
                    <a:pt x="530866" y="203095"/>
                  </a:lnTo>
                  <a:lnTo>
                    <a:pt x="529327" y="205017"/>
                  </a:lnTo>
                  <a:lnTo>
                    <a:pt x="527996" y="206983"/>
                  </a:lnTo>
                  <a:lnTo>
                    <a:pt x="526364" y="211188"/>
                  </a:lnTo>
                  <a:lnTo>
                    <a:pt x="525641" y="213995"/>
                  </a:lnTo>
                  <a:lnTo>
                    <a:pt x="525081" y="215580"/>
                  </a:lnTo>
                  <a:lnTo>
                    <a:pt x="523345" y="218091"/>
                  </a:lnTo>
                  <a:lnTo>
                    <a:pt x="523153" y="219501"/>
                  </a:lnTo>
                  <a:lnTo>
                    <a:pt x="523757" y="220721"/>
                  </a:lnTo>
                  <a:lnTo>
                    <a:pt x="525010" y="222098"/>
                  </a:lnTo>
                  <a:lnTo>
                    <a:pt x="525751" y="224260"/>
                  </a:lnTo>
                  <a:lnTo>
                    <a:pt x="527584" y="226558"/>
                  </a:lnTo>
                  <a:lnTo>
                    <a:pt x="529379" y="228345"/>
                  </a:lnTo>
                  <a:lnTo>
                    <a:pt x="532764" y="231226"/>
                  </a:lnTo>
                  <a:lnTo>
                    <a:pt x="533723" y="232733"/>
                  </a:lnTo>
                  <a:lnTo>
                    <a:pt x="534861" y="234461"/>
                  </a:lnTo>
                  <a:lnTo>
                    <a:pt x="535107" y="236149"/>
                  </a:lnTo>
                  <a:lnTo>
                    <a:pt x="534893" y="237256"/>
                  </a:lnTo>
                  <a:lnTo>
                    <a:pt x="533675" y="238099"/>
                  </a:lnTo>
                  <a:lnTo>
                    <a:pt x="531309" y="238519"/>
                  </a:lnTo>
                  <a:lnTo>
                    <a:pt x="530173" y="239691"/>
                  </a:lnTo>
                  <a:lnTo>
                    <a:pt x="528428" y="241253"/>
                  </a:lnTo>
                  <a:lnTo>
                    <a:pt x="526362" y="243055"/>
                  </a:lnTo>
                  <a:lnTo>
                    <a:pt x="525392" y="243150"/>
                  </a:lnTo>
                  <a:lnTo>
                    <a:pt x="524232" y="243631"/>
                  </a:lnTo>
                  <a:lnTo>
                    <a:pt x="518389" y="245862"/>
                  </a:lnTo>
                  <a:lnTo>
                    <a:pt x="516172" y="246487"/>
                  </a:lnTo>
                  <a:lnTo>
                    <a:pt x="514418" y="247223"/>
                  </a:lnTo>
                  <a:lnTo>
                    <a:pt x="512341" y="249494"/>
                  </a:lnTo>
                  <a:lnTo>
                    <a:pt x="510711" y="251181"/>
                  </a:lnTo>
                  <a:lnTo>
                    <a:pt x="508698" y="253416"/>
                  </a:lnTo>
                  <a:lnTo>
                    <a:pt x="507815" y="254406"/>
                  </a:lnTo>
                  <a:lnTo>
                    <a:pt x="506023" y="256641"/>
                  </a:lnTo>
                  <a:lnTo>
                    <a:pt x="503665" y="259192"/>
                  </a:lnTo>
                  <a:lnTo>
                    <a:pt x="502355" y="260561"/>
                  </a:lnTo>
                  <a:lnTo>
                    <a:pt x="501645" y="261378"/>
                  </a:lnTo>
                  <a:lnTo>
                    <a:pt x="501000" y="262445"/>
                  </a:lnTo>
                  <a:lnTo>
                    <a:pt x="498533" y="263273"/>
                  </a:lnTo>
                  <a:lnTo>
                    <a:pt x="496500" y="264148"/>
                  </a:lnTo>
                  <a:lnTo>
                    <a:pt x="493429" y="265468"/>
                  </a:lnTo>
                  <a:lnTo>
                    <a:pt x="489024" y="266919"/>
                  </a:lnTo>
                  <a:lnTo>
                    <a:pt x="485470" y="268319"/>
                  </a:lnTo>
                  <a:lnTo>
                    <a:pt x="483202" y="269473"/>
                  </a:lnTo>
                  <a:lnTo>
                    <a:pt x="479834" y="270929"/>
                  </a:lnTo>
                  <a:lnTo>
                    <a:pt x="477549" y="271398"/>
                  </a:lnTo>
                  <a:lnTo>
                    <a:pt x="472945" y="271339"/>
                  </a:lnTo>
                  <a:lnTo>
                    <a:pt x="467259" y="271715"/>
                  </a:lnTo>
                  <a:lnTo>
                    <a:pt x="463120" y="271991"/>
                  </a:lnTo>
                  <a:lnTo>
                    <a:pt x="460006" y="271640"/>
                  </a:lnTo>
                  <a:lnTo>
                    <a:pt x="455307" y="271441"/>
                  </a:lnTo>
                  <a:lnTo>
                    <a:pt x="451707" y="271160"/>
                  </a:lnTo>
                  <a:lnTo>
                    <a:pt x="449300" y="271696"/>
                  </a:lnTo>
                  <a:lnTo>
                    <a:pt x="443631" y="272264"/>
                  </a:lnTo>
                  <a:lnTo>
                    <a:pt x="442366" y="272394"/>
                  </a:lnTo>
                  <a:lnTo>
                    <a:pt x="432275" y="273772"/>
                  </a:lnTo>
                  <a:lnTo>
                    <a:pt x="427816" y="274511"/>
                  </a:lnTo>
                  <a:lnTo>
                    <a:pt x="423732" y="274847"/>
                  </a:lnTo>
                  <a:lnTo>
                    <a:pt x="420725" y="275384"/>
                  </a:lnTo>
                  <a:lnTo>
                    <a:pt x="419025" y="276053"/>
                  </a:lnTo>
                  <a:lnTo>
                    <a:pt x="416503" y="277017"/>
                  </a:lnTo>
                  <a:lnTo>
                    <a:pt x="415168" y="277437"/>
                  </a:lnTo>
                  <a:lnTo>
                    <a:pt x="410711" y="279325"/>
                  </a:lnTo>
                  <a:lnTo>
                    <a:pt x="400769" y="283219"/>
                  </a:lnTo>
                  <a:lnTo>
                    <a:pt x="394110" y="286373"/>
                  </a:lnTo>
                  <a:lnTo>
                    <a:pt x="393019" y="286913"/>
                  </a:lnTo>
                  <a:lnTo>
                    <a:pt x="388537" y="289135"/>
                  </a:lnTo>
                  <a:lnTo>
                    <a:pt x="385943" y="290005"/>
                  </a:lnTo>
                  <a:lnTo>
                    <a:pt x="384138" y="291985"/>
                  </a:lnTo>
                  <a:lnTo>
                    <a:pt x="382704" y="293238"/>
                  </a:lnTo>
                  <a:lnTo>
                    <a:pt x="381188" y="293778"/>
                  </a:lnTo>
                  <a:lnTo>
                    <a:pt x="378498" y="292501"/>
                  </a:lnTo>
                  <a:lnTo>
                    <a:pt x="376580" y="292570"/>
                  </a:lnTo>
                  <a:lnTo>
                    <a:pt x="370491" y="292106"/>
                  </a:lnTo>
                  <a:lnTo>
                    <a:pt x="370491" y="286323"/>
                  </a:lnTo>
                  <a:lnTo>
                    <a:pt x="366222" y="287141"/>
                  </a:lnTo>
                  <a:lnTo>
                    <a:pt x="359413" y="288444"/>
                  </a:lnTo>
                  <a:lnTo>
                    <a:pt x="353086" y="289654"/>
                  </a:lnTo>
                  <a:lnTo>
                    <a:pt x="347305" y="286883"/>
                  </a:lnTo>
                  <a:lnTo>
                    <a:pt x="342842" y="284743"/>
                  </a:lnTo>
                  <a:lnTo>
                    <a:pt x="338972" y="282901"/>
                  </a:lnTo>
                  <a:lnTo>
                    <a:pt x="333091" y="281678"/>
                  </a:lnTo>
                  <a:lnTo>
                    <a:pt x="327968" y="280614"/>
                  </a:lnTo>
                  <a:lnTo>
                    <a:pt x="318713" y="278859"/>
                  </a:lnTo>
                  <a:lnTo>
                    <a:pt x="314651" y="277323"/>
                  </a:lnTo>
                  <a:lnTo>
                    <a:pt x="312593" y="275288"/>
                  </a:lnTo>
                  <a:lnTo>
                    <a:pt x="308922" y="270666"/>
                  </a:lnTo>
                  <a:lnTo>
                    <a:pt x="307730" y="269753"/>
                  </a:lnTo>
                  <a:lnTo>
                    <a:pt x="305943" y="269127"/>
                  </a:lnTo>
                  <a:lnTo>
                    <a:pt x="304089" y="268720"/>
                  </a:lnTo>
                  <a:lnTo>
                    <a:pt x="300076" y="268744"/>
                  </a:lnTo>
                  <a:lnTo>
                    <a:pt x="295171" y="268385"/>
                  </a:lnTo>
                  <a:lnTo>
                    <a:pt x="288108" y="267412"/>
                  </a:lnTo>
                  <a:lnTo>
                    <a:pt x="282502" y="266637"/>
                  </a:lnTo>
                  <a:lnTo>
                    <a:pt x="272934" y="265196"/>
                  </a:lnTo>
                  <a:lnTo>
                    <a:pt x="270666" y="265020"/>
                  </a:lnTo>
                  <a:lnTo>
                    <a:pt x="265661" y="266300"/>
                  </a:lnTo>
                  <a:lnTo>
                    <a:pt x="259259" y="267935"/>
                  </a:lnTo>
                  <a:lnTo>
                    <a:pt x="247738" y="266653"/>
                  </a:lnTo>
                  <a:lnTo>
                    <a:pt x="242640" y="266052"/>
                  </a:lnTo>
                  <a:lnTo>
                    <a:pt x="232290" y="264829"/>
                  </a:lnTo>
                  <a:lnTo>
                    <a:pt x="220587" y="263445"/>
                  </a:lnTo>
                  <a:lnTo>
                    <a:pt x="209236" y="262014"/>
                  </a:lnTo>
                  <a:lnTo>
                    <a:pt x="200996" y="262805"/>
                  </a:lnTo>
                  <a:lnTo>
                    <a:pt x="196404" y="263243"/>
                  </a:lnTo>
                  <a:lnTo>
                    <a:pt x="191100" y="263871"/>
                  </a:lnTo>
                  <a:lnTo>
                    <a:pt x="190367" y="263165"/>
                  </a:lnTo>
                  <a:lnTo>
                    <a:pt x="190150" y="260422"/>
                  </a:lnTo>
                  <a:lnTo>
                    <a:pt x="189199" y="258297"/>
                  </a:lnTo>
                  <a:lnTo>
                    <a:pt x="186302" y="255998"/>
                  </a:lnTo>
                  <a:lnTo>
                    <a:pt x="184352" y="253809"/>
                  </a:lnTo>
                  <a:lnTo>
                    <a:pt x="180642" y="250848"/>
                  </a:lnTo>
                  <a:lnTo>
                    <a:pt x="179471" y="248981"/>
                  </a:lnTo>
                  <a:lnTo>
                    <a:pt x="179083" y="246086"/>
                  </a:lnTo>
                  <a:lnTo>
                    <a:pt x="175662" y="238534"/>
                  </a:lnTo>
                  <a:lnTo>
                    <a:pt x="173537" y="233417"/>
                  </a:lnTo>
                  <a:lnTo>
                    <a:pt x="173007" y="232373"/>
                  </a:lnTo>
                  <a:lnTo>
                    <a:pt x="172086" y="230704"/>
                  </a:lnTo>
                  <a:lnTo>
                    <a:pt x="170886" y="229832"/>
                  </a:lnTo>
                  <a:lnTo>
                    <a:pt x="168346" y="229297"/>
                  </a:lnTo>
                  <a:lnTo>
                    <a:pt x="167664" y="228393"/>
                  </a:lnTo>
                  <a:lnTo>
                    <a:pt x="167664" y="226618"/>
                  </a:lnTo>
                  <a:lnTo>
                    <a:pt x="168063" y="224165"/>
                  </a:lnTo>
                  <a:lnTo>
                    <a:pt x="168575" y="222372"/>
                  </a:lnTo>
                  <a:lnTo>
                    <a:pt x="168210" y="221923"/>
                  </a:lnTo>
                  <a:lnTo>
                    <a:pt x="161566" y="222429"/>
                  </a:lnTo>
                  <a:lnTo>
                    <a:pt x="157502" y="221238"/>
                  </a:lnTo>
                  <a:lnTo>
                    <a:pt x="154097" y="219948"/>
                  </a:lnTo>
                  <a:lnTo>
                    <a:pt x="149283" y="216642"/>
                  </a:lnTo>
                  <a:lnTo>
                    <a:pt x="146417" y="215365"/>
                  </a:lnTo>
                  <a:lnTo>
                    <a:pt x="142760" y="211944"/>
                  </a:lnTo>
                  <a:lnTo>
                    <a:pt x="137422" y="211133"/>
                  </a:lnTo>
                  <a:lnTo>
                    <a:pt x="135437" y="209790"/>
                  </a:lnTo>
                  <a:lnTo>
                    <a:pt x="132941" y="206853"/>
                  </a:lnTo>
                  <a:lnTo>
                    <a:pt x="130756" y="204968"/>
                  </a:lnTo>
                  <a:lnTo>
                    <a:pt x="127655" y="203780"/>
                  </a:lnTo>
                  <a:lnTo>
                    <a:pt x="122748" y="202723"/>
                  </a:lnTo>
                  <a:lnTo>
                    <a:pt x="114383" y="201712"/>
                  </a:lnTo>
                  <a:lnTo>
                    <a:pt x="111550" y="201286"/>
                  </a:lnTo>
                  <a:lnTo>
                    <a:pt x="106929" y="201963"/>
                  </a:lnTo>
                  <a:lnTo>
                    <a:pt x="103500" y="202019"/>
                  </a:lnTo>
                  <a:lnTo>
                    <a:pt x="97946" y="201299"/>
                  </a:lnTo>
                  <a:lnTo>
                    <a:pt x="94786" y="200390"/>
                  </a:lnTo>
                  <a:lnTo>
                    <a:pt x="90874" y="200367"/>
                  </a:lnTo>
                  <a:lnTo>
                    <a:pt x="88330" y="200378"/>
                  </a:lnTo>
                  <a:lnTo>
                    <a:pt x="84937" y="200171"/>
                  </a:lnTo>
                  <a:lnTo>
                    <a:pt x="83294" y="199576"/>
                  </a:lnTo>
                  <a:lnTo>
                    <a:pt x="81768" y="198851"/>
                  </a:lnTo>
                  <a:lnTo>
                    <a:pt x="78918" y="199033"/>
                  </a:lnTo>
                  <a:lnTo>
                    <a:pt x="76920" y="198310"/>
                  </a:lnTo>
                  <a:lnTo>
                    <a:pt x="75061" y="196957"/>
                  </a:lnTo>
                  <a:lnTo>
                    <a:pt x="73122" y="196314"/>
                  </a:lnTo>
                  <a:lnTo>
                    <a:pt x="70990" y="196355"/>
                  </a:lnTo>
                  <a:lnTo>
                    <a:pt x="70114" y="196957"/>
                  </a:lnTo>
                  <a:lnTo>
                    <a:pt x="69302" y="196898"/>
                  </a:lnTo>
                  <a:lnTo>
                    <a:pt x="68770" y="195068"/>
                  </a:lnTo>
                  <a:lnTo>
                    <a:pt x="66780" y="192113"/>
                  </a:lnTo>
                  <a:lnTo>
                    <a:pt x="66480" y="190788"/>
                  </a:lnTo>
                  <a:lnTo>
                    <a:pt x="65260" y="189258"/>
                  </a:lnTo>
                  <a:lnTo>
                    <a:pt x="64538" y="187869"/>
                  </a:lnTo>
                  <a:lnTo>
                    <a:pt x="64735" y="185946"/>
                  </a:lnTo>
                  <a:lnTo>
                    <a:pt x="65596" y="182213"/>
                  </a:lnTo>
                  <a:lnTo>
                    <a:pt x="67503" y="178833"/>
                  </a:lnTo>
                  <a:lnTo>
                    <a:pt x="68753" y="177953"/>
                  </a:lnTo>
                  <a:lnTo>
                    <a:pt x="69520" y="176954"/>
                  </a:lnTo>
                  <a:lnTo>
                    <a:pt x="71126" y="175203"/>
                  </a:lnTo>
                  <a:lnTo>
                    <a:pt x="72055" y="173802"/>
                  </a:lnTo>
                  <a:lnTo>
                    <a:pt x="71945" y="171890"/>
                  </a:lnTo>
                  <a:lnTo>
                    <a:pt x="70856" y="169890"/>
                  </a:lnTo>
                  <a:lnTo>
                    <a:pt x="70059" y="167306"/>
                  </a:lnTo>
                  <a:lnTo>
                    <a:pt x="70209" y="165821"/>
                  </a:lnTo>
                  <a:lnTo>
                    <a:pt x="71386" y="164054"/>
                  </a:lnTo>
                  <a:lnTo>
                    <a:pt x="72765" y="160142"/>
                  </a:lnTo>
                  <a:lnTo>
                    <a:pt x="72655" y="159112"/>
                  </a:lnTo>
                  <a:lnTo>
                    <a:pt x="72111" y="158287"/>
                  </a:lnTo>
                  <a:lnTo>
                    <a:pt x="71968" y="156471"/>
                  </a:lnTo>
                  <a:lnTo>
                    <a:pt x="71701" y="154024"/>
                  </a:lnTo>
                  <a:lnTo>
                    <a:pt x="70038" y="150286"/>
                  </a:lnTo>
                  <a:lnTo>
                    <a:pt x="69140" y="148299"/>
                  </a:lnTo>
                  <a:lnTo>
                    <a:pt x="67572" y="147443"/>
                  </a:lnTo>
                  <a:lnTo>
                    <a:pt x="65726" y="146922"/>
                  </a:lnTo>
                  <a:lnTo>
                    <a:pt x="64130" y="144229"/>
                  </a:lnTo>
                  <a:lnTo>
                    <a:pt x="62130" y="141050"/>
                  </a:lnTo>
                  <a:lnTo>
                    <a:pt x="60876" y="139059"/>
                  </a:lnTo>
                  <a:lnTo>
                    <a:pt x="60440" y="137836"/>
                  </a:lnTo>
                  <a:lnTo>
                    <a:pt x="60241" y="135613"/>
                  </a:lnTo>
                  <a:lnTo>
                    <a:pt x="59306" y="132922"/>
                  </a:lnTo>
                  <a:lnTo>
                    <a:pt x="58321" y="131447"/>
                  </a:lnTo>
                  <a:lnTo>
                    <a:pt x="57587" y="130315"/>
                  </a:lnTo>
                  <a:lnTo>
                    <a:pt x="57216" y="128679"/>
                  </a:lnTo>
                  <a:lnTo>
                    <a:pt x="56831" y="128089"/>
                  </a:lnTo>
                  <a:lnTo>
                    <a:pt x="54128" y="127360"/>
                  </a:lnTo>
                  <a:lnTo>
                    <a:pt x="52187" y="126141"/>
                  </a:lnTo>
                  <a:lnTo>
                    <a:pt x="51377" y="124505"/>
                  </a:lnTo>
                  <a:lnTo>
                    <a:pt x="51096" y="123183"/>
                  </a:lnTo>
                  <a:lnTo>
                    <a:pt x="50522" y="122417"/>
                  </a:lnTo>
                  <a:lnTo>
                    <a:pt x="48991" y="122173"/>
                  </a:lnTo>
                  <a:lnTo>
                    <a:pt x="47923" y="123357"/>
                  </a:lnTo>
                  <a:lnTo>
                    <a:pt x="46175" y="123949"/>
                  </a:lnTo>
                  <a:lnTo>
                    <a:pt x="44998" y="123845"/>
                  </a:lnTo>
                  <a:lnTo>
                    <a:pt x="43836" y="123127"/>
                  </a:lnTo>
                  <a:lnTo>
                    <a:pt x="43119" y="122376"/>
                  </a:lnTo>
                  <a:lnTo>
                    <a:pt x="41910" y="121532"/>
                  </a:lnTo>
                  <a:lnTo>
                    <a:pt x="40195" y="118856"/>
                  </a:lnTo>
                  <a:lnTo>
                    <a:pt x="38388" y="118148"/>
                  </a:lnTo>
                  <a:lnTo>
                    <a:pt x="35086" y="118267"/>
                  </a:lnTo>
                  <a:lnTo>
                    <a:pt x="32132" y="119507"/>
                  </a:lnTo>
                  <a:lnTo>
                    <a:pt x="30349" y="119315"/>
                  </a:lnTo>
                  <a:lnTo>
                    <a:pt x="28846" y="118896"/>
                  </a:lnTo>
                  <a:lnTo>
                    <a:pt x="27153" y="117558"/>
                  </a:lnTo>
                  <a:lnTo>
                    <a:pt x="25974" y="116455"/>
                  </a:lnTo>
                  <a:lnTo>
                    <a:pt x="24216" y="116097"/>
                  </a:lnTo>
                  <a:lnTo>
                    <a:pt x="20757" y="114151"/>
                  </a:lnTo>
                  <a:lnTo>
                    <a:pt x="18416" y="112749"/>
                  </a:lnTo>
                  <a:lnTo>
                    <a:pt x="18213" y="109996"/>
                  </a:lnTo>
                  <a:lnTo>
                    <a:pt x="17114" y="108097"/>
                  </a:lnTo>
                  <a:lnTo>
                    <a:pt x="14833" y="107560"/>
                  </a:lnTo>
                  <a:lnTo>
                    <a:pt x="12534" y="105613"/>
                  </a:lnTo>
                  <a:lnTo>
                    <a:pt x="9178" y="104564"/>
                  </a:lnTo>
                  <a:lnTo>
                    <a:pt x="7064" y="103747"/>
                  </a:lnTo>
                  <a:lnTo>
                    <a:pt x="5231" y="103257"/>
                  </a:lnTo>
                  <a:lnTo>
                    <a:pt x="4959" y="102521"/>
                  </a:lnTo>
                  <a:lnTo>
                    <a:pt x="5066" y="101888"/>
                  </a:lnTo>
                  <a:lnTo>
                    <a:pt x="5915" y="100834"/>
                  </a:lnTo>
                  <a:lnTo>
                    <a:pt x="6790" y="99850"/>
                  </a:lnTo>
                  <a:lnTo>
                    <a:pt x="7008" y="98936"/>
                  </a:lnTo>
                  <a:lnTo>
                    <a:pt x="6297" y="98128"/>
                  </a:lnTo>
                  <a:lnTo>
                    <a:pt x="4401" y="97283"/>
                  </a:lnTo>
                  <a:lnTo>
                    <a:pt x="1961" y="96533"/>
                  </a:lnTo>
                  <a:lnTo>
                    <a:pt x="1460" y="95277"/>
                  </a:lnTo>
                  <a:lnTo>
                    <a:pt x="0" y="93970"/>
                  </a:lnTo>
                  <a:lnTo>
                    <a:pt x="255" y="92917"/>
                  </a:lnTo>
                  <a:lnTo>
                    <a:pt x="1408" y="92149"/>
                  </a:lnTo>
                  <a:lnTo>
                    <a:pt x="2581" y="91578"/>
                  </a:lnTo>
                  <a:lnTo>
                    <a:pt x="2853" y="90591"/>
                  </a:lnTo>
                  <a:lnTo>
                    <a:pt x="2024" y="89683"/>
                  </a:lnTo>
                  <a:lnTo>
                    <a:pt x="1618" y="88303"/>
                  </a:lnTo>
                  <a:lnTo>
                    <a:pt x="1814" y="87274"/>
                  </a:lnTo>
                  <a:lnTo>
                    <a:pt x="1572" y="85959"/>
                  </a:lnTo>
                  <a:lnTo>
                    <a:pt x="1661" y="85965"/>
                  </a:lnTo>
                  <a:lnTo>
                    <a:pt x="4237" y="85895"/>
                  </a:lnTo>
                  <a:lnTo>
                    <a:pt x="5416" y="85256"/>
                  </a:lnTo>
                  <a:lnTo>
                    <a:pt x="6310" y="84316"/>
                  </a:lnTo>
                  <a:lnTo>
                    <a:pt x="8239" y="83271"/>
                  </a:lnTo>
                  <a:lnTo>
                    <a:pt x="8649" y="82065"/>
                  </a:lnTo>
                  <a:lnTo>
                    <a:pt x="8677" y="79686"/>
                  </a:lnTo>
                  <a:lnTo>
                    <a:pt x="9938" y="77673"/>
                  </a:lnTo>
                  <a:lnTo>
                    <a:pt x="13149" y="77074"/>
                  </a:lnTo>
                  <a:lnTo>
                    <a:pt x="14378" y="76779"/>
                  </a:lnTo>
                  <a:lnTo>
                    <a:pt x="15684" y="77070"/>
                  </a:lnTo>
                  <a:lnTo>
                    <a:pt x="17716" y="76787"/>
                  </a:lnTo>
                  <a:lnTo>
                    <a:pt x="19681" y="76685"/>
                  </a:lnTo>
                  <a:lnTo>
                    <a:pt x="20776" y="77304"/>
                  </a:lnTo>
                  <a:lnTo>
                    <a:pt x="22216" y="77829"/>
                  </a:lnTo>
                  <a:lnTo>
                    <a:pt x="24069" y="77766"/>
                  </a:lnTo>
                  <a:lnTo>
                    <a:pt x="24704" y="76816"/>
                  </a:lnTo>
                  <a:lnTo>
                    <a:pt x="24781" y="75494"/>
                  </a:lnTo>
                  <a:lnTo>
                    <a:pt x="25585" y="75147"/>
                  </a:lnTo>
                  <a:lnTo>
                    <a:pt x="26585" y="76067"/>
                  </a:lnTo>
                  <a:lnTo>
                    <a:pt x="27142" y="76754"/>
                  </a:lnTo>
                  <a:lnTo>
                    <a:pt x="27977" y="77068"/>
                  </a:lnTo>
                  <a:lnTo>
                    <a:pt x="30213" y="76248"/>
                  </a:lnTo>
                  <a:lnTo>
                    <a:pt x="31772" y="75362"/>
                  </a:lnTo>
                  <a:lnTo>
                    <a:pt x="32279" y="73539"/>
                  </a:lnTo>
                  <a:lnTo>
                    <a:pt x="33186" y="72638"/>
                  </a:lnTo>
                  <a:lnTo>
                    <a:pt x="34408" y="73096"/>
                  </a:lnTo>
                  <a:lnTo>
                    <a:pt x="36540" y="73084"/>
                  </a:lnTo>
                  <a:lnTo>
                    <a:pt x="38295" y="71675"/>
                  </a:lnTo>
                  <a:lnTo>
                    <a:pt x="40599" y="70549"/>
                  </a:lnTo>
                  <a:lnTo>
                    <a:pt x="42256" y="70038"/>
                  </a:lnTo>
                  <a:lnTo>
                    <a:pt x="42597" y="69088"/>
                  </a:lnTo>
                  <a:lnTo>
                    <a:pt x="41817" y="66992"/>
                  </a:lnTo>
                  <a:lnTo>
                    <a:pt x="42028" y="64694"/>
                  </a:lnTo>
                  <a:lnTo>
                    <a:pt x="44248" y="63394"/>
                  </a:lnTo>
                  <a:lnTo>
                    <a:pt x="47207" y="63238"/>
                  </a:lnTo>
                  <a:lnTo>
                    <a:pt x="49403" y="62349"/>
                  </a:lnTo>
                  <a:lnTo>
                    <a:pt x="50014" y="59896"/>
                  </a:lnTo>
                  <a:lnTo>
                    <a:pt x="51091" y="59189"/>
                  </a:lnTo>
                  <a:lnTo>
                    <a:pt x="52198" y="58912"/>
                  </a:lnTo>
                  <a:lnTo>
                    <a:pt x="54868" y="58525"/>
                  </a:lnTo>
                  <a:lnTo>
                    <a:pt x="56788" y="57529"/>
                  </a:lnTo>
                  <a:lnTo>
                    <a:pt x="57972" y="57074"/>
                  </a:lnTo>
                  <a:lnTo>
                    <a:pt x="61333" y="55731"/>
                  </a:lnTo>
                  <a:lnTo>
                    <a:pt x="64389" y="55469"/>
                  </a:lnTo>
                  <a:lnTo>
                    <a:pt x="65700" y="54397"/>
                  </a:lnTo>
                  <a:lnTo>
                    <a:pt x="66725" y="53049"/>
                  </a:lnTo>
                  <a:lnTo>
                    <a:pt x="68436" y="52534"/>
                  </a:lnTo>
                  <a:lnTo>
                    <a:pt x="70185" y="51362"/>
                  </a:lnTo>
                  <a:lnTo>
                    <a:pt x="72493" y="49874"/>
                  </a:lnTo>
                  <a:lnTo>
                    <a:pt x="73404" y="49667"/>
                  </a:lnTo>
                  <a:lnTo>
                    <a:pt x="77185" y="48803"/>
                  </a:lnTo>
                  <a:lnTo>
                    <a:pt x="78663" y="48484"/>
                  </a:lnTo>
                  <a:lnTo>
                    <a:pt x="79553" y="48290"/>
                  </a:lnTo>
                  <a:lnTo>
                    <a:pt x="81194" y="48350"/>
                  </a:lnTo>
                  <a:lnTo>
                    <a:pt x="81889" y="46777"/>
                  </a:lnTo>
                  <a:lnTo>
                    <a:pt x="83552" y="45620"/>
                  </a:lnTo>
                  <a:lnTo>
                    <a:pt x="85214" y="45227"/>
                  </a:lnTo>
                  <a:lnTo>
                    <a:pt x="86039" y="44076"/>
                  </a:lnTo>
                  <a:lnTo>
                    <a:pt x="87635" y="42610"/>
                  </a:lnTo>
                  <a:lnTo>
                    <a:pt x="89801" y="41793"/>
                  </a:lnTo>
                  <a:lnTo>
                    <a:pt x="93167" y="41676"/>
                  </a:lnTo>
                  <a:lnTo>
                    <a:pt x="96428" y="41840"/>
                  </a:lnTo>
                  <a:lnTo>
                    <a:pt x="98382" y="41590"/>
                  </a:lnTo>
                  <a:lnTo>
                    <a:pt x="99995" y="39417"/>
                  </a:lnTo>
                  <a:lnTo>
                    <a:pt x="100298" y="38339"/>
                  </a:lnTo>
                  <a:lnTo>
                    <a:pt x="100669" y="37243"/>
                  </a:lnTo>
                  <a:lnTo>
                    <a:pt x="101973" y="36824"/>
                  </a:lnTo>
                  <a:lnTo>
                    <a:pt x="103556" y="38605"/>
                  </a:lnTo>
                  <a:lnTo>
                    <a:pt x="104884" y="39712"/>
                  </a:lnTo>
                  <a:lnTo>
                    <a:pt x="106929" y="40866"/>
                  </a:lnTo>
                  <a:lnTo>
                    <a:pt x="107985" y="41948"/>
                  </a:lnTo>
                  <a:lnTo>
                    <a:pt x="109194" y="42096"/>
                  </a:lnTo>
                  <a:lnTo>
                    <a:pt x="110461" y="41289"/>
                  </a:lnTo>
                  <a:lnTo>
                    <a:pt x="111360" y="39316"/>
                  </a:lnTo>
                  <a:lnTo>
                    <a:pt x="113066" y="39012"/>
                  </a:lnTo>
                  <a:lnTo>
                    <a:pt x="114943" y="39329"/>
                  </a:lnTo>
                  <a:lnTo>
                    <a:pt x="115435" y="40299"/>
                  </a:lnTo>
                  <a:lnTo>
                    <a:pt x="115592" y="41243"/>
                  </a:lnTo>
                  <a:lnTo>
                    <a:pt x="116458" y="42930"/>
                  </a:lnTo>
                  <a:lnTo>
                    <a:pt x="118521" y="44402"/>
                  </a:lnTo>
                  <a:lnTo>
                    <a:pt x="121162" y="44326"/>
                  </a:lnTo>
                  <a:lnTo>
                    <a:pt x="122222" y="44063"/>
                  </a:lnTo>
                  <a:lnTo>
                    <a:pt x="124794" y="44269"/>
                  </a:lnTo>
                  <a:lnTo>
                    <a:pt x="127320" y="44589"/>
                  </a:lnTo>
                  <a:lnTo>
                    <a:pt x="130073" y="44936"/>
                  </a:lnTo>
                  <a:lnTo>
                    <a:pt x="130879" y="44990"/>
                  </a:lnTo>
                  <a:lnTo>
                    <a:pt x="133828" y="45166"/>
                  </a:lnTo>
                  <a:lnTo>
                    <a:pt x="138128" y="45421"/>
                  </a:lnTo>
                  <a:lnTo>
                    <a:pt x="140028" y="45305"/>
                  </a:lnTo>
                  <a:lnTo>
                    <a:pt x="143904" y="45783"/>
                  </a:lnTo>
                  <a:lnTo>
                    <a:pt x="144699" y="47091"/>
                  </a:lnTo>
                  <a:lnTo>
                    <a:pt x="145414" y="50181"/>
                  </a:lnTo>
                  <a:lnTo>
                    <a:pt x="146023" y="53122"/>
                  </a:lnTo>
                  <a:lnTo>
                    <a:pt x="146196" y="55485"/>
                  </a:lnTo>
                  <a:lnTo>
                    <a:pt x="147202" y="56706"/>
                  </a:lnTo>
                  <a:lnTo>
                    <a:pt x="148491" y="57108"/>
                  </a:lnTo>
                  <a:lnTo>
                    <a:pt x="149339" y="58060"/>
                  </a:lnTo>
                  <a:lnTo>
                    <a:pt x="150838" y="59357"/>
                  </a:lnTo>
                  <a:lnTo>
                    <a:pt x="151946" y="61211"/>
                  </a:lnTo>
                  <a:lnTo>
                    <a:pt x="153289" y="61086"/>
                  </a:lnTo>
                  <a:lnTo>
                    <a:pt x="154230" y="60647"/>
                  </a:lnTo>
                  <a:lnTo>
                    <a:pt x="156290" y="60505"/>
                  </a:lnTo>
                  <a:lnTo>
                    <a:pt x="158923" y="60633"/>
                  </a:lnTo>
                  <a:lnTo>
                    <a:pt x="160750" y="61658"/>
                  </a:lnTo>
                  <a:lnTo>
                    <a:pt x="161445" y="63005"/>
                  </a:lnTo>
                  <a:lnTo>
                    <a:pt x="162928" y="63759"/>
                  </a:lnTo>
                  <a:lnTo>
                    <a:pt x="164140" y="63517"/>
                  </a:lnTo>
                  <a:lnTo>
                    <a:pt x="167750" y="63508"/>
                  </a:lnTo>
                  <a:lnTo>
                    <a:pt x="168992" y="63593"/>
                  </a:lnTo>
                  <a:lnTo>
                    <a:pt x="170234" y="64333"/>
                  </a:lnTo>
                  <a:lnTo>
                    <a:pt x="172021" y="64457"/>
                  </a:lnTo>
                  <a:lnTo>
                    <a:pt x="173007" y="63517"/>
                  </a:lnTo>
                  <a:lnTo>
                    <a:pt x="176116" y="62877"/>
                  </a:lnTo>
                  <a:lnTo>
                    <a:pt x="177919" y="61535"/>
                  </a:lnTo>
                  <a:lnTo>
                    <a:pt x="179303" y="61523"/>
                  </a:lnTo>
                  <a:lnTo>
                    <a:pt x="180353" y="62168"/>
                  </a:lnTo>
                  <a:lnTo>
                    <a:pt x="181156" y="63050"/>
                  </a:lnTo>
                  <a:lnTo>
                    <a:pt x="182345" y="62659"/>
                  </a:lnTo>
                  <a:lnTo>
                    <a:pt x="182987" y="61932"/>
                  </a:lnTo>
                  <a:lnTo>
                    <a:pt x="184026" y="61933"/>
                  </a:lnTo>
                  <a:lnTo>
                    <a:pt x="185047" y="62402"/>
                  </a:lnTo>
                  <a:lnTo>
                    <a:pt x="187655" y="63221"/>
                  </a:lnTo>
                  <a:lnTo>
                    <a:pt x="189543" y="64749"/>
                  </a:lnTo>
                  <a:lnTo>
                    <a:pt x="191005" y="64895"/>
                  </a:lnTo>
                  <a:lnTo>
                    <a:pt x="192890" y="64449"/>
                  </a:lnTo>
                  <a:lnTo>
                    <a:pt x="193760" y="64242"/>
                  </a:lnTo>
                  <a:lnTo>
                    <a:pt x="194589" y="64997"/>
                  </a:lnTo>
                  <a:lnTo>
                    <a:pt x="195809" y="65403"/>
                  </a:lnTo>
                  <a:lnTo>
                    <a:pt x="196734" y="64843"/>
                  </a:lnTo>
                  <a:lnTo>
                    <a:pt x="198314" y="64448"/>
                  </a:lnTo>
                  <a:lnTo>
                    <a:pt x="204374" y="65277"/>
                  </a:lnTo>
                  <a:lnTo>
                    <a:pt x="205775" y="66802"/>
                  </a:lnTo>
                  <a:lnTo>
                    <a:pt x="206848" y="67518"/>
                  </a:lnTo>
                  <a:lnTo>
                    <a:pt x="207716" y="68765"/>
                  </a:lnTo>
                  <a:lnTo>
                    <a:pt x="209301" y="69654"/>
                  </a:lnTo>
                  <a:lnTo>
                    <a:pt x="212644" y="69348"/>
                  </a:lnTo>
                  <a:lnTo>
                    <a:pt x="213940" y="68439"/>
                  </a:lnTo>
                  <a:lnTo>
                    <a:pt x="216647" y="66420"/>
                  </a:lnTo>
                  <a:lnTo>
                    <a:pt x="217721" y="64450"/>
                  </a:lnTo>
                  <a:lnTo>
                    <a:pt x="219084" y="63812"/>
                  </a:lnTo>
                  <a:lnTo>
                    <a:pt x="220625" y="63494"/>
                  </a:lnTo>
                  <a:lnTo>
                    <a:pt x="222059" y="63497"/>
                  </a:lnTo>
                  <a:lnTo>
                    <a:pt x="223570" y="63432"/>
                  </a:lnTo>
                  <a:lnTo>
                    <a:pt x="225399" y="61989"/>
                  </a:lnTo>
                  <a:lnTo>
                    <a:pt x="226887" y="61485"/>
                  </a:lnTo>
                  <a:lnTo>
                    <a:pt x="229088" y="59649"/>
                  </a:lnTo>
                  <a:lnTo>
                    <a:pt x="229498" y="58818"/>
                  </a:lnTo>
                  <a:lnTo>
                    <a:pt x="230563" y="56679"/>
                  </a:lnTo>
                  <a:lnTo>
                    <a:pt x="231223" y="55315"/>
                  </a:lnTo>
                  <a:lnTo>
                    <a:pt x="232335" y="53151"/>
                  </a:lnTo>
                  <a:lnTo>
                    <a:pt x="232934" y="49656"/>
                  </a:lnTo>
                  <a:lnTo>
                    <a:pt x="233273" y="47800"/>
                  </a:lnTo>
                  <a:lnTo>
                    <a:pt x="232981" y="46455"/>
                  </a:lnTo>
                  <a:lnTo>
                    <a:pt x="231677" y="45760"/>
                  </a:lnTo>
                  <a:lnTo>
                    <a:pt x="230008" y="45430"/>
                  </a:lnTo>
                  <a:lnTo>
                    <a:pt x="228546" y="44405"/>
                  </a:lnTo>
                  <a:lnTo>
                    <a:pt x="227460" y="43218"/>
                  </a:lnTo>
                  <a:lnTo>
                    <a:pt x="226826" y="41547"/>
                  </a:lnTo>
                  <a:lnTo>
                    <a:pt x="225958" y="39594"/>
                  </a:lnTo>
                  <a:lnTo>
                    <a:pt x="226009" y="38180"/>
                  </a:lnTo>
                  <a:lnTo>
                    <a:pt x="225765" y="37086"/>
                  </a:lnTo>
                  <a:lnTo>
                    <a:pt x="225028" y="36154"/>
                  </a:lnTo>
                  <a:lnTo>
                    <a:pt x="223620" y="34514"/>
                  </a:lnTo>
                  <a:lnTo>
                    <a:pt x="222938" y="33290"/>
                  </a:lnTo>
                  <a:lnTo>
                    <a:pt x="223169" y="31350"/>
                  </a:lnTo>
                  <a:lnTo>
                    <a:pt x="224830" y="28030"/>
                  </a:lnTo>
                  <a:lnTo>
                    <a:pt x="224985" y="26487"/>
                  </a:lnTo>
                  <a:lnTo>
                    <a:pt x="225194" y="25525"/>
                  </a:lnTo>
                  <a:lnTo>
                    <a:pt x="225103" y="24653"/>
                  </a:lnTo>
                  <a:lnTo>
                    <a:pt x="225627" y="22660"/>
                  </a:lnTo>
                  <a:lnTo>
                    <a:pt x="226561" y="21821"/>
                  </a:lnTo>
                  <a:lnTo>
                    <a:pt x="227632" y="19681"/>
                  </a:lnTo>
                  <a:lnTo>
                    <a:pt x="229081" y="18694"/>
                  </a:lnTo>
                  <a:lnTo>
                    <a:pt x="230884" y="18629"/>
                  </a:lnTo>
                  <a:lnTo>
                    <a:pt x="231664" y="18045"/>
                  </a:lnTo>
                  <a:lnTo>
                    <a:pt x="232053" y="15904"/>
                  </a:lnTo>
                  <a:lnTo>
                    <a:pt x="232923" y="14252"/>
                  </a:lnTo>
                  <a:lnTo>
                    <a:pt x="233504" y="13083"/>
                  </a:lnTo>
                  <a:lnTo>
                    <a:pt x="234600" y="11806"/>
                  </a:lnTo>
                  <a:lnTo>
                    <a:pt x="240964" y="9343"/>
                  </a:lnTo>
                  <a:lnTo>
                    <a:pt x="243609" y="6276"/>
                  </a:lnTo>
                  <a:lnTo>
                    <a:pt x="244546" y="4728"/>
                  </a:lnTo>
                  <a:lnTo>
                    <a:pt x="245566" y="1398"/>
                  </a:lnTo>
                  <a:lnTo>
                    <a:pt x="246551" y="0"/>
                  </a:lnTo>
                  <a:lnTo>
                    <a:pt x="247986" y="462"/>
                  </a:lnTo>
                  <a:lnTo>
                    <a:pt x="249671" y="2424"/>
                  </a:lnTo>
                  <a:lnTo>
                    <a:pt x="250934" y="2440"/>
                  </a:lnTo>
                  <a:lnTo>
                    <a:pt x="252809" y="3504"/>
                  </a:lnTo>
                  <a:lnTo>
                    <a:pt x="257913" y="5731"/>
                  </a:lnTo>
                  <a:lnTo>
                    <a:pt x="260684" y="6429"/>
                  </a:lnTo>
                  <a:lnTo>
                    <a:pt x="262465" y="6647"/>
                  </a:lnTo>
                  <a:lnTo>
                    <a:pt x="264817" y="7263"/>
                  </a:lnTo>
                  <a:lnTo>
                    <a:pt x="266335" y="8565"/>
                  </a:lnTo>
                  <a:lnTo>
                    <a:pt x="269293" y="10689"/>
                  </a:lnTo>
                  <a:lnTo>
                    <a:pt x="271790" y="11232"/>
                  </a:lnTo>
                  <a:lnTo>
                    <a:pt x="276119" y="11446"/>
                  </a:lnTo>
                  <a:lnTo>
                    <a:pt x="281394" y="11557"/>
                  </a:lnTo>
                  <a:lnTo>
                    <a:pt x="282882" y="11928"/>
                  </a:lnTo>
                  <a:lnTo>
                    <a:pt x="286741" y="13457"/>
                  </a:lnTo>
                  <a:lnTo>
                    <a:pt x="291006" y="15144"/>
                  </a:lnTo>
                  <a:lnTo>
                    <a:pt x="295025" y="16651"/>
                  </a:lnTo>
                  <a:lnTo>
                    <a:pt x="298073" y="17820"/>
                  </a:lnTo>
                  <a:lnTo>
                    <a:pt x="299870" y="18952"/>
                  </a:lnTo>
                  <a:lnTo>
                    <a:pt x="301568" y="19602"/>
                  </a:lnTo>
                  <a:lnTo>
                    <a:pt x="303405" y="19048"/>
                  </a:lnTo>
                  <a:lnTo>
                    <a:pt x="305761" y="19174"/>
                  </a:lnTo>
                  <a:lnTo>
                    <a:pt x="311296" y="20529"/>
                  </a:lnTo>
                  <a:lnTo>
                    <a:pt x="314789" y="21669"/>
                  </a:lnTo>
                  <a:lnTo>
                    <a:pt x="317716" y="22513"/>
                  </a:lnTo>
                  <a:lnTo>
                    <a:pt x="318691" y="23677"/>
                  </a:lnTo>
                  <a:lnTo>
                    <a:pt x="318788" y="25228"/>
                  </a:lnTo>
                  <a:lnTo>
                    <a:pt x="318398" y="26540"/>
                  </a:lnTo>
                  <a:lnTo>
                    <a:pt x="318609" y="29717"/>
                  </a:lnTo>
                  <a:lnTo>
                    <a:pt x="319551" y="31379"/>
                  </a:lnTo>
                  <a:lnTo>
                    <a:pt x="319898" y="33610"/>
                  </a:lnTo>
                  <a:lnTo>
                    <a:pt x="320250" y="35736"/>
                  </a:lnTo>
                  <a:lnTo>
                    <a:pt x="320005" y="37836"/>
                  </a:lnTo>
                  <a:lnTo>
                    <a:pt x="320447" y="38951"/>
                  </a:lnTo>
                  <a:lnTo>
                    <a:pt x="321365" y="39607"/>
                  </a:lnTo>
                  <a:lnTo>
                    <a:pt x="322250" y="41070"/>
                  </a:lnTo>
                  <a:lnTo>
                    <a:pt x="321956" y="42610"/>
                  </a:lnTo>
                  <a:lnTo>
                    <a:pt x="321568" y="43508"/>
                  </a:lnTo>
                  <a:lnTo>
                    <a:pt x="321626" y="44949"/>
                  </a:lnTo>
                  <a:lnTo>
                    <a:pt x="322688" y="46136"/>
                  </a:lnTo>
                  <a:lnTo>
                    <a:pt x="324245" y="46370"/>
                  </a:lnTo>
                  <a:lnTo>
                    <a:pt x="325630" y="46675"/>
                  </a:lnTo>
                  <a:lnTo>
                    <a:pt x="327329" y="48544"/>
                  </a:lnTo>
                  <a:lnTo>
                    <a:pt x="330358" y="50695"/>
                  </a:lnTo>
                  <a:lnTo>
                    <a:pt x="332174" y="51293"/>
                  </a:lnTo>
                  <a:lnTo>
                    <a:pt x="334258" y="52258"/>
                  </a:lnTo>
                  <a:lnTo>
                    <a:pt x="338234" y="53203"/>
                  </a:lnTo>
                  <a:lnTo>
                    <a:pt x="340937" y="53490"/>
                  </a:lnTo>
                  <a:lnTo>
                    <a:pt x="342531" y="54257"/>
                  </a:lnTo>
                  <a:lnTo>
                    <a:pt x="344092" y="56108"/>
                  </a:lnTo>
                  <a:lnTo>
                    <a:pt x="346675" y="56491"/>
                  </a:lnTo>
                  <a:lnTo>
                    <a:pt x="348335" y="57131"/>
                  </a:lnTo>
                  <a:lnTo>
                    <a:pt x="351356" y="57893"/>
                  </a:lnTo>
                  <a:lnTo>
                    <a:pt x="353354" y="57451"/>
                  </a:lnTo>
                  <a:lnTo>
                    <a:pt x="355109" y="56808"/>
                  </a:lnTo>
                  <a:lnTo>
                    <a:pt x="356293" y="56932"/>
                  </a:lnTo>
                  <a:lnTo>
                    <a:pt x="358556" y="57352"/>
                  </a:lnTo>
                  <a:lnTo>
                    <a:pt x="361214" y="57440"/>
                  </a:lnTo>
                  <a:lnTo>
                    <a:pt x="363447" y="57001"/>
                  </a:lnTo>
                  <a:lnTo>
                    <a:pt x="365222" y="55698"/>
                  </a:lnTo>
                  <a:lnTo>
                    <a:pt x="367299" y="53937"/>
                  </a:lnTo>
                  <a:lnTo>
                    <a:pt x="369784" y="53043"/>
                  </a:lnTo>
                  <a:lnTo>
                    <a:pt x="372661" y="52723"/>
                  </a:lnTo>
                  <a:lnTo>
                    <a:pt x="374628" y="52009"/>
                  </a:lnTo>
                  <a:lnTo>
                    <a:pt x="381076" y="50819"/>
                  </a:lnTo>
                  <a:lnTo>
                    <a:pt x="383680" y="50615"/>
                  </a:lnTo>
                  <a:lnTo>
                    <a:pt x="385697" y="49465"/>
                  </a:lnTo>
                  <a:lnTo>
                    <a:pt x="387483" y="48568"/>
                  </a:lnTo>
                  <a:lnTo>
                    <a:pt x="390068" y="48184"/>
                  </a:lnTo>
                  <a:lnTo>
                    <a:pt x="393562" y="49126"/>
                  </a:lnTo>
                  <a:lnTo>
                    <a:pt x="396900" y="49912"/>
                  </a:lnTo>
                  <a:lnTo>
                    <a:pt x="400938" y="50167"/>
                  </a:lnTo>
                  <a:lnTo>
                    <a:pt x="403620" y="51253"/>
                  </a:lnTo>
                  <a:lnTo>
                    <a:pt x="405523" y="52278"/>
                  </a:lnTo>
                  <a:lnTo>
                    <a:pt x="408515" y="53089"/>
                  </a:lnTo>
                  <a:lnTo>
                    <a:pt x="411845" y="52712"/>
                  </a:lnTo>
                  <a:lnTo>
                    <a:pt x="416399" y="52387"/>
                  </a:lnTo>
                  <a:lnTo>
                    <a:pt x="419422" y="52856"/>
                  </a:lnTo>
                  <a:lnTo>
                    <a:pt x="422575" y="54719"/>
                  </a:lnTo>
                  <a:lnTo>
                    <a:pt x="424512" y="56213"/>
                  </a:lnTo>
                  <a:lnTo>
                    <a:pt x="426700" y="59399"/>
                  </a:lnTo>
                  <a:lnTo>
                    <a:pt x="428973" y="60943"/>
                  </a:lnTo>
                  <a:lnTo>
                    <a:pt x="430968" y="62202"/>
                  </a:lnTo>
                  <a:lnTo>
                    <a:pt x="433484" y="62281"/>
                  </a:lnTo>
                  <a:lnTo>
                    <a:pt x="439762" y="62384"/>
                  </a:lnTo>
                  <a:lnTo>
                    <a:pt x="443208" y="63050"/>
                  </a:lnTo>
                  <a:lnTo>
                    <a:pt x="446078" y="63402"/>
                  </a:lnTo>
                  <a:lnTo>
                    <a:pt x="446769" y="64069"/>
                  </a:lnTo>
                  <a:lnTo>
                    <a:pt x="446481" y="66250"/>
                  </a:lnTo>
                  <a:lnTo>
                    <a:pt x="446568" y="69369"/>
                  </a:lnTo>
                  <a:lnTo>
                    <a:pt x="446522" y="70799"/>
                  </a:lnTo>
                  <a:lnTo>
                    <a:pt x="447157" y="71878"/>
                  </a:lnTo>
                  <a:lnTo>
                    <a:pt x="448133" y="72068"/>
                  </a:lnTo>
                  <a:lnTo>
                    <a:pt x="448670" y="73588"/>
                  </a:lnTo>
                  <a:lnTo>
                    <a:pt x="450090" y="74489"/>
                  </a:lnTo>
                  <a:lnTo>
                    <a:pt x="452634" y="75575"/>
                  </a:lnTo>
                  <a:lnTo>
                    <a:pt x="456920" y="79258"/>
                  </a:lnTo>
                  <a:lnTo>
                    <a:pt x="459474" y="80831"/>
                  </a:lnTo>
                  <a:lnTo>
                    <a:pt x="461491" y="81367"/>
                  </a:lnTo>
                  <a:lnTo>
                    <a:pt x="464131" y="80999"/>
                  </a:lnTo>
                  <a:lnTo>
                    <a:pt x="468264" y="81008"/>
                  </a:lnTo>
                  <a:lnTo>
                    <a:pt x="475269" y="81020"/>
                  </a:lnTo>
                  <a:lnTo>
                    <a:pt x="480067" y="82125"/>
                  </a:lnTo>
                  <a:lnTo>
                    <a:pt x="481725" y="82882"/>
                  </a:lnTo>
                  <a:lnTo>
                    <a:pt x="486627" y="83757"/>
                  </a:lnTo>
                  <a:lnTo>
                    <a:pt x="492025" y="84721"/>
                  </a:lnTo>
                  <a:lnTo>
                    <a:pt x="496567" y="85727"/>
                  </a:lnTo>
                  <a:lnTo>
                    <a:pt x="499252" y="84428"/>
                  </a:lnTo>
                  <a:lnTo>
                    <a:pt x="501607" y="84310"/>
                  </a:lnTo>
                  <a:lnTo>
                    <a:pt x="503856" y="85252"/>
                  </a:lnTo>
                  <a:lnTo>
                    <a:pt x="506100" y="86665"/>
                  </a:lnTo>
                  <a:lnTo>
                    <a:pt x="507840" y="86512"/>
                  </a:lnTo>
                  <a:lnTo>
                    <a:pt x="510453" y="85849"/>
                  </a:lnTo>
                  <a:lnTo>
                    <a:pt x="518774" y="81897"/>
                  </a:lnTo>
                  <a:lnTo>
                    <a:pt x="521702" y="80420"/>
                  </a:lnTo>
                  <a:lnTo>
                    <a:pt x="523751" y="80799"/>
                  </a:lnTo>
                  <a:lnTo>
                    <a:pt x="525578" y="80274"/>
                  </a:lnTo>
                  <a:lnTo>
                    <a:pt x="526969" y="79831"/>
                  </a:lnTo>
                  <a:lnTo>
                    <a:pt x="530523" y="79219"/>
                  </a:lnTo>
                  <a:lnTo>
                    <a:pt x="532686" y="79052"/>
                  </a:lnTo>
                  <a:lnTo>
                    <a:pt x="534922" y="78696"/>
                  </a:lnTo>
                  <a:lnTo>
                    <a:pt x="538132" y="78461"/>
                  </a:lnTo>
                  <a:lnTo>
                    <a:pt x="544667" y="75868"/>
                  </a:lnTo>
                  <a:lnTo>
                    <a:pt x="547314" y="75359"/>
                  </a:lnTo>
                  <a:lnTo>
                    <a:pt x="551790" y="76078"/>
                  </a:lnTo>
                  <a:lnTo>
                    <a:pt x="554203" y="75610"/>
                  </a:lnTo>
                  <a:lnTo>
                    <a:pt x="556599" y="74299"/>
                  </a:lnTo>
                  <a:lnTo>
                    <a:pt x="559711" y="72948"/>
                  </a:lnTo>
                  <a:lnTo>
                    <a:pt x="560519" y="70756"/>
                  </a:lnTo>
                  <a:lnTo>
                    <a:pt x="562112" y="67744"/>
                  </a:lnTo>
                  <a:lnTo>
                    <a:pt x="565538" y="65521"/>
                  </a:lnTo>
                  <a:lnTo>
                    <a:pt x="568334" y="63581"/>
                  </a:lnTo>
                  <a:lnTo>
                    <a:pt x="571180" y="61693"/>
                  </a:lnTo>
                  <a:lnTo>
                    <a:pt x="574678" y="60120"/>
                  </a:lnTo>
                  <a:lnTo>
                    <a:pt x="577966" y="58976"/>
                  </a:lnTo>
                  <a:lnTo>
                    <a:pt x="582158" y="55979"/>
                  </a:lnTo>
                  <a:lnTo>
                    <a:pt x="585498" y="54459"/>
                  </a:lnTo>
                  <a:lnTo>
                    <a:pt x="587163" y="53963"/>
                  </a:lnTo>
                  <a:lnTo>
                    <a:pt x="589137" y="54511"/>
                  </a:lnTo>
                  <a:lnTo>
                    <a:pt x="592844" y="54917"/>
                  </a:lnTo>
                  <a:lnTo>
                    <a:pt x="595518" y="54794"/>
                  </a:lnTo>
                  <a:lnTo>
                    <a:pt x="597027" y="55141"/>
                  </a:lnTo>
                  <a:lnTo>
                    <a:pt x="600044" y="56607"/>
                  </a:lnTo>
                  <a:lnTo>
                    <a:pt x="602780" y="57893"/>
                  </a:lnTo>
                  <a:lnTo>
                    <a:pt x="604875" y="60180"/>
                  </a:lnTo>
                  <a:lnTo>
                    <a:pt x="608777" y="63371"/>
                  </a:lnTo>
                  <a:lnTo>
                    <a:pt x="610778" y="64442"/>
                  </a:lnTo>
                  <a:lnTo>
                    <a:pt x="612198" y="64882"/>
                  </a:lnTo>
                  <a:lnTo>
                    <a:pt x="615708" y="65184"/>
                  </a:lnTo>
                  <a:lnTo>
                    <a:pt x="618579" y="65340"/>
                  </a:lnTo>
                  <a:lnTo>
                    <a:pt x="620291" y="64611"/>
                  </a:lnTo>
                  <a:lnTo>
                    <a:pt x="623182" y="63277"/>
                  </a:lnTo>
                  <a:lnTo>
                    <a:pt x="627794" y="61585"/>
                  </a:lnTo>
                  <a:lnTo>
                    <a:pt x="629613" y="61629"/>
                  </a:lnTo>
                  <a:lnTo>
                    <a:pt x="632584" y="62529"/>
                  </a:lnTo>
                  <a:lnTo>
                    <a:pt x="637006" y="64195"/>
                  </a:lnTo>
                  <a:lnTo>
                    <a:pt x="638784" y="65443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91" name="ee4p_MY_1_37365">
              <a:extLst>
                <a:ext uri="{FF2B5EF4-FFF2-40B4-BE49-F238E27FC236}">
                  <a16:creationId xmlns:a16="http://schemas.microsoft.com/office/drawing/2014/main" id="{0D9F1274-3C3C-08F2-EC97-D5D9EA025DC8}"/>
                </a:ext>
              </a:extLst>
            </p:cNvPr>
            <p:cNvSpPr>
              <a:spLocks noChangeAspect="1"/>
            </p:cNvSpPr>
            <p:nvPr>
              <p:custDataLst>
                <p:tags r:id="rId245"/>
              </p:custDataLst>
            </p:nvPr>
          </p:nvSpPr>
          <p:spPr>
            <a:xfrm>
              <a:off x="9281812" y="4465703"/>
              <a:ext cx="544836" cy="185491"/>
            </a:xfrm>
            <a:custGeom>
              <a:avLst/>
              <a:gdLst>
                <a:gd name="connsiteX0" fmla="*/ 258430 w 433841"/>
                <a:gd name="connsiteY0" fmla="*/ 101619 h 143787"/>
                <a:gd name="connsiteX1" fmla="*/ 258907 w 433841"/>
                <a:gd name="connsiteY1" fmla="*/ 101704 h 143787"/>
                <a:gd name="connsiteX2" fmla="*/ 259421 w 433841"/>
                <a:gd name="connsiteY2" fmla="*/ 102924 h 143787"/>
                <a:gd name="connsiteX3" fmla="*/ 259375 w 433841"/>
                <a:gd name="connsiteY3" fmla="*/ 105867 h 143787"/>
                <a:gd name="connsiteX4" fmla="*/ 259468 w 433841"/>
                <a:gd name="connsiteY4" fmla="*/ 108464 h 143787"/>
                <a:gd name="connsiteX5" fmla="*/ 259663 w 433841"/>
                <a:gd name="connsiteY5" fmla="*/ 109429 h 143787"/>
                <a:gd name="connsiteX6" fmla="*/ 258987 w 433841"/>
                <a:gd name="connsiteY6" fmla="*/ 109720 h 143787"/>
                <a:gd name="connsiteX7" fmla="*/ 257944 w 433841"/>
                <a:gd name="connsiteY7" fmla="*/ 108936 h 143787"/>
                <a:gd name="connsiteX8" fmla="*/ 257698 w 433841"/>
                <a:gd name="connsiteY8" fmla="*/ 102219 h 143787"/>
                <a:gd name="connsiteX9" fmla="*/ 100356 w 433841"/>
                <a:gd name="connsiteY9" fmla="*/ 99330 h 143787"/>
                <a:gd name="connsiteX10" fmla="*/ 101207 w 433841"/>
                <a:gd name="connsiteY10" fmla="*/ 101488 h 143787"/>
                <a:gd name="connsiteX11" fmla="*/ 101170 w 433841"/>
                <a:gd name="connsiteY11" fmla="*/ 102428 h 143787"/>
                <a:gd name="connsiteX12" fmla="*/ 100104 w 433841"/>
                <a:gd name="connsiteY12" fmla="*/ 102658 h 143787"/>
                <a:gd name="connsiteX13" fmla="*/ 99518 w 433841"/>
                <a:gd name="connsiteY13" fmla="*/ 102506 h 143787"/>
                <a:gd name="connsiteX14" fmla="*/ 99125 w 433841"/>
                <a:gd name="connsiteY14" fmla="*/ 101643 h 143787"/>
                <a:gd name="connsiteX15" fmla="*/ 100026 w 433841"/>
                <a:gd name="connsiteY15" fmla="*/ 99660 h 143787"/>
                <a:gd name="connsiteX16" fmla="*/ 36816 w 433841"/>
                <a:gd name="connsiteY16" fmla="*/ 95000 h 143787"/>
                <a:gd name="connsiteX17" fmla="*/ 37197 w 433841"/>
                <a:gd name="connsiteY17" fmla="*/ 95438 h 143787"/>
                <a:gd name="connsiteX18" fmla="*/ 36978 w 433841"/>
                <a:gd name="connsiteY18" fmla="*/ 96746 h 143787"/>
                <a:gd name="connsiteX19" fmla="*/ 35862 w 433841"/>
                <a:gd name="connsiteY19" fmla="*/ 97146 h 143787"/>
                <a:gd name="connsiteX20" fmla="*/ 35804 w 433841"/>
                <a:gd name="connsiteY20" fmla="*/ 96569 h 143787"/>
                <a:gd name="connsiteX21" fmla="*/ 35997 w 433841"/>
                <a:gd name="connsiteY21" fmla="*/ 95765 h 143787"/>
                <a:gd name="connsiteX22" fmla="*/ 399384 w 433841"/>
                <a:gd name="connsiteY22" fmla="*/ 68541 h 143787"/>
                <a:gd name="connsiteX23" fmla="*/ 400564 w 433841"/>
                <a:gd name="connsiteY23" fmla="*/ 68764 h 143787"/>
                <a:gd name="connsiteX24" fmla="*/ 403292 w 433841"/>
                <a:gd name="connsiteY24" fmla="*/ 70230 h 143787"/>
                <a:gd name="connsiteX25" fmla="*/ 400211 w 433841"/>
                <a:gd name="connsiteY25" fmla="*/ 70655 h 143787"/>
                <a:gd name="connsiteX26" fmla="*/ 398079 w 433841"/>
                <a:gd name="connsiteY26" fmla="*/ 70610 h 143787"/>
                <a:gd name="connsiteX27" fmla="*/ 398472 w 433841"/>
                <a:gd name="connsiteY27" fmla="*/ 69835 h 143787"/>
                <a:gd name="connsiteX28" fmla="*/ 398368 w 433841"/>
                <a:gd name="connsiteY28" fmla="*/ 68811 h 143787"/>
                <a:gd name="connsiteX29" fmla="*/ 13251 w 433841"/>
                <a:gd name="connsiteY29" fmla="*/ 41826 h 143787"/>
                <a:gd name="connsiteX30" fmla="*/ 14680 w 433841"/>
                <a:gd name="connsiteY30" fmla="*/ 42487 h 143787"/>
                <a:gd name="connsiteX31" fmla="*/ 15315 w 433841"/>
                <a:gd name="connsiteY31" fmla="*/ 43106 h 143787"/>
                <a:gd name="connsiteX32" fmla="*/ 14212 w 433841"/>
                <a:gd name="connsiteY32" fmla="*/ 45663 h 143787"/>
                <a:gd name="connsiteX33" fmla="*/ 13655 w 433841"/>
                <a:gd name="connsiteY33" fmla="*/ 46278 h 143787"/>
                <a:gd name="connsiteX34" fmla="*/ 12046 w 433841"/>
                <a:gd name="connsiteY34" fmla="*/ 45926 h 143787"/>
                <a:gd name="connsiteX35" fmla="*/ 12331 w 433841"/>
                <a:gd name="connsiteY35" fmla="*/ 42289 h 143787"/>
                <a:gd name="connsiteX36" fmla="*/ 4462 w 433841"/>
                <a:gd name="connsiteY36" fmla="*/ 19682 h 143787"/>
                <a:gd name="connsiteX37" fmla="*/ 6023 w 433841"/>
                <a:gd name="connsiteY37" fmla="*/ 22060 h 143787"/>
                <a:gd name="connsiteX38" fmla="*/ 5244 w 433841"/>
                <a:gd name="connsiteY38" fmla="*/ 23120 h 143787"/>
                <a:gd name="connsiteX39" fmla="*/ 4855 w 433841"/>
                <a:gd name="connsiteY39" fmla="*/ 23426 h 143787"/>
                <a:gd name="connsiteX40" fmla="*/ 3913 w 433841"/>
                <a:gd name="connsiteY40" fmla="*/ 23078 h 143787"/>
                <a:gd name="connsiteX41" fmla="*/ 3015 w 433841"/>
                <a:gd name="connsiteY41" fmla="*/ 23992 h 143787"/>
                <a:gd name="connsiteX42" fmla="*/ 2156 w 433841"/>
                <a:gd name="connsiteY42" fmla="*/ 24176 h 143787"/>
                <a:gd name="connsiteX43" fmla="*/ 1293 w 433841"/>
                <a:gd name="connsiteY43" fmla="*/ 22527 h 143787"/>
                <a:gd name="connsiteX44" fmla="*/ 230 w 433841"/>
                <a:gd name="connsiteY44" fmla="*/ 21870 h 143787"/>
                <a:gd name="connsiteX45" fmla="*/ 0 w 433841"/>
                <a:gd name="connsiteY45" fmla="*/ 20733 h 143787"/>
                <a:gd name="connsiteX46" fmla="*/ 1422 w 433841"/>
                <a:gd name="connsiteY46" fmla="*/ 20534 h 143787"/>
                <a:gd name="connsiteX47" fmla="*/ 2277 w 433841"/>
                <a:gd name="connsiteY47" fmla="*/ 20927 h 143787"/>
                <a:gd name="connsiteX48" fmla="*/ 3879 w 433841"/>
                <a:gd name="connsiteY48" fmla="*/ 20141 h 143787"/>
                <a:gd name="connsiteX49" fmla="*/ 12611 w 433841"/>
                <a:gd name="connsiteY49" fmla="*/ 14777 h 143787"/>
                <a:gd name="connsiteX50" fmla="*/ 13603 w 433841"/>
                <a:gd name="connsiteY50" fmla="*/ 14864 h 143787"/>
                <a:gd name="connsiteX51" fmla="*/ 15460 w 433841"/>
                <a:gd name="connsiteY51" fmla="*/ 17813 h 143787"/>
                <a:gd name="connsiteX52" fmla="*/ 20291 w 433841"/>
                <a:gd name="connsiteY52" fmla="*/ 19642 h 143787"/>
                <a:gd name="connsiteX53" fmla="*/ 21742 w 433841"/>
                <a:gd name="connsiteY53" fmla="*/ 20076 h 143787"/>
                <a:gd name="connsiteX54" fmla="*/ 23646 w 433841"/>
                <a:gd name="connsiteY54" fmla="*/ 19350 h 143787"/>
                <a:gd name="connsiteX55" fmla="*/ 24506 w 433841"/>
                <a:gd name="connsiteY55" fmla="*/ 19808 h 143787"/>
                <a:gd name="connsiteX56" fmla="*/ 25373 w 433841"/>
                <a:gd name="connsiteY56" fmla="*/ 20560 h 143787"/>
                <a:gd name="connsiteX57" fmla="*/ 25877 w 433841"/>
                <a:gd name="connsiteY57" fmla="*/ 22659 h 143787"/>
                <a:gd name="connsiteX58" fmla="*/ 27146 w 433841"/>
                <a:gd name="connsiteY58" fmla="*/ 24573 h 143787"/>
                <a:gd name="connsiteX59" fmla="*/ 29686 w 433841"/>
                <a:gd name="connsiteY59" fmla="*/ 24301 h 143787"/>
                <a:gd name="connsiteX60" fmla="*/ 30585 w 433841"/>
                <a:gd name="connsiteY60" fmla="*/ 24575 h 143787"/>
                <a:gd name="connsiteX61" fmla="*/ 31117 w 433841"/>
                <a:gd name="connsiteY61" fmla="*/ 24635 h 143787"/>
                <a:gd name="connsiteX62" fmla="*/ 31614 w 433841"/>
                <a:gd name="connsiteY62" fmla="*/ 26334 h 143787"/>
                <a:gd name="connsiteX63" fmla="*/ 31847 w 433841"/>
                <a:gd name="connsiteY63" fmla="*/ 29272 h 143787"/>
                <a:gd name="connsiteX64" fmla="*/ 31605 w 433841"/>
                <a:gd name="connsiteY64" fmla="*/ 30985 h 143787"/>
                <a:gd name="connsiteX65" fmla="*/ 29774 w 433841"/>
                <a:gd name="connsiteY65" fmla="*/ 33432 h 143787"/>
                <a:gd name="connsiteX66" fmla="*/ 29528 w 433841"/>
                <a:gd name="connsiteY66" fmla="*/ 35099 h 143787"/>
                <a:gd name="connsiteX67" fmla="*/ 30491 w 433841"/>
                <a:gd name="connsiteY67" fmla="*/ 36131 h 143787"/>
                <a:gd name="connsiteX68" fmla="*/ 31742 w 433841"/>
                <a:gd name="connsiteY68" fmla="*/ 37232 h 143787"/>
                <a:gd name="connsiteX69" fmla="*/ 32454 w 433841"/>
                <a:gd name="connsiteY69" fmla="*/ 38078 h 143787"/>
                <a:gd name="connsiteX70" fmla="*/ 33199 w 433841"/>
                <a:gd name="connsiteY70" fmla="*/ 37938 h 143787"/>
                <a:gd name="connsiteX71" fmla="*/ 34149 w 433841"/>
                <a:gd name="connsiteY71" fmla="*/ 37368 h 143787"/>
                <a:gd name="connsiteX72" fmla="*/ 35015 w 433841"/>
                <a:gd name="connsiteY72" fmla="*/ 35928 h 143787"/>
                <a:gd name="connsiteX73" fmla="*/ 35618 w 433841"/>
                <a:gd name="connsiteY73" fmla="*/ 34693 h 143787"/>
                <a:gd name="connsiteX74" fmla="*/ 38872 w 433841"/>
                <a:gd name="connsiteY74" fmla="*/ 33310 h 143787"/>
                <a:gd name="connsiteX75" fmla="*/ 42230 w 433841"/>
                <a:gd name="connsiteY75" fmla="*/ 32066 h 143787"/>
                <a:gd name="connsiteX76" fmla="*/ 42688 w 433841"/>
                <a:gd name="connsiteY76" fmla="*/ 32193 h 143787"/>
                <a:gd name="connsiteX77" fmla="*/ 43232 w 433841"/>
                <a:gd name="connsiteY77" fmla="*/ 32745 h 143787"/>
                <a:gd name="connsiteX78" fmla="*/ 44307 w 433841"/>
                <a:gd name="connsiteY78" fmla="*/ 34545 h 143787"/>
                <a:gd name="connsiteX79" fmla="*/ 44936 w 433841"/>
                <a:gd name="connsiteY79" fmla="*/ 34927 h 143787"/>
                <a:gd name="connsiteX80" fmla="*/ 45845 w 433841"/>
                <a:gd name="connsiteY80" fmla="*/ 35109 h 143787"/>
                <a:gd name="connsiteX81" fmla="*/ 47419 w 433841"/>
                <a:gd name="connsiteY81" fmla="*/ 34915 h 143787"/>
                <a:gd name="connsiteX82" fmla="*/ 49252 w 433841"/>
                <a:gd name="connsiteY82" fmla="*/ 33895 h 143787"/>
                <a:gd name="connsiteX83" fmla="*/ 50215 w 433841"/>
                <a:gd name="connsiteY83" fmla="*/ 31986 h 143787"/>
                <a:gd name="connsiteX84" fmla="*/ 50634 w 433841"/>
                <a:gd name="connsiteY84" fmla="*/ 30477 h 143787"/>
                <a:gd name="connsiteX85" fmla="*/ 53266 w 433841"/>
                <a:gd name="connsiteY85" fmla="*/ 27874 h 143787"/>
                <a:gd name="connsiteX86" fmla="*/ 53558 w 433841"/>
                <a:gd name="connsiteY86" fmla="*/ 25921 h 143787"/>
                <a:gd name="connsiteX87" fmla="*/ 54282 w 433841"/>
                <a:gd name="connsiteY87" fmla="*/ 24643 h 143787"/>
                <a:gd name="connsiteX88" fmla="*/ 58105 w 433841"/>
                <a:gd name="connsiteY88" fmla="*/ 25505 h 143787"/>
                <a:gd name="connsiteX89" fmla="*/ 59567 w 433841"/>
                <a:gd name="connsiteY89" fmla="*/ 26202 h 143787"/>
                <a:gd name="connsiteX90" fmla="*/ 63862 w 433841"/>
                <a:gd name="connsiteY90" fmla="*/ 33069 h 143787"/>
                <a:gd name="connsiteX91" fmla="*/ 69520 w 433841"/>
                <a:gd name="connsiteY91" fmla="*/ 37897 h 143787"/>
                <a:gd name="connsiteX92" fmla="*/ 71915 w 433841"/>
                <a:gd name="connsiteY92" fmla="*/ 39696 h 143787"/>
                <a:gd name="connsiteX93" fmla="*/ 73769 w 433841"/>
                <a:gd name="connsiteY93" fmla="*/ 40558 h 143787"/>
                <a:gd name="connsiteX94" fmla="*/ 76305 w 433841"/>
                <a:gd name="connsiteY94" fmla="*/ 43141 h 143787"/>
                <a:gd name="connsiteX95" fmla="*/ 78514 w 433841"/>
                <a:gd name="connsiteY95" fmla="*/ 46385 h 143787"/>
                <a:gd name="connsiteX96" fmla="*/ 83353 w 433841"/>
                <a:gd name="connsiteY96" fmla="*/ 55515 h 143787"/>
                <a:gd name="connsiteX97" fmla="*/ 84195 w 433841"/>
                <a:gd name="connsiteY97" fmla="*/ 59522 h 143787"/>
                <a:gd name="connsiteX98" fmla="*/ 84524 w 433841"/>
                <a:gd name="connsiteY98" fmla="*/ 65642 h 143787"/>
                <a:gd name="connsiteX99" fmla="*/ 83456 w 433841"/>
                <a:gd name="connsiteY99" fmla="*/ 74865 h 143787"/>
                <a:gd name="connsiteX100" fmla="*/ 82164 w 433841"/>
                <a:gd name="connsiteY100" fmla="*/ 79465 h 143787"/>
                <a:gd name="connsiteX101" fmla="*/ 82414 w 433841"/>
                <a:gd name="connsiteY101" fmla="*/ 81636 h 143787"/>
                <a:gd name="connsiteX102" fmla="*/ 84187 w 433841"/>
                <a:gd name="connsiteY102" fmla="*/ 84968 h 143787"/>
                <a:gd name="connsiteX103" fmla="*/ 83655 w 433841"/>
                <a:gd name="connsiteY103" fmla="*/ 88113 h 143787"/>
                <a:gd name="connsiteX104" fmla="*/ 83999 w 433841"/>
                <a:gd name="connsiteY104" fmla="*/ 90724 h 143787"/>
                <a:gd name="connsiteX105" fmla="*/ 83876 w 433841"/>
                <a:gd name="connsiteY105" fmla="*/ 97972 h 143787"/>
                <a:gd name="connsiteX106" fmla="*/ 84886 w 433841"/>
                <a:gd name="connsiteY106" fmla="*/ 100108 h 143787"/>
                <a:gd name="connsiteX107" fmla="*/ 86039 w 433841"/>
                <a:gd name="connsiteY107" fmla="*/ 101476 h 143787"/>
                <a:gd name="connsiteX108" fmla="*/ 92118 w 433841"/>
                <a:gd name="connsiteY108" fmla="*/ 105775 h 143787"/>
                <a:gd name="connsiteX109" fmla="*/ 92563 w 433841"/>
                <a:gd name="connsiteY109" fmla="*/ 107368 h 143787"/>
                <a:gd name="connsiteX110" fmla="*/ 95558 w 433841"/>
                <a:gd name="connsiteY110" fmla="*/ 112839 h 143787"/>
                <a:gd name="connsiteX111" fmla="*/ 101103 w 433841"/>
                <a:gd name="connsiteY111" fmla="*/ 124748 h 143787"/>
                <a:gd name="connsiteX112" fmla="*/ 102649 w 433841"/>
                <a:gd name="connsiteY112" fmla="*/ 130104 h 143787"/>
                <a:gd name="connsiteX113" fmla="*/ 102470 w 433841"/>
                <a:gd name="connsiteY113" fmla="*/ 131544 h 143787"/>
                <a:gd name="connsiteX114" fmla="*/ 101801 w 433841"/>
                <a:gd name="connsiteY114" fmla="*/ 132141 h 143787"/>
                <a:gd name="connsiteX115" fmla="*/ 100170 w 433841"/>
                <a:gd name="connsiteY115" fmla="*/ 132665 h 143787"/>
                <a:gd name="connsiteX116" fmla="*/ 98812 w 433841"/>
                <a:gd name="connsiteY116" fmla="*/ 131617 h 143787"/>
                <a:gd name="connsiteX117" fmla="*/ 98354 w 433841"/>
                <a:gd name="connsiteY117" fmla="*/ 130867 h 143787"/>
                <a:gd name="connsiteX118" fmla="*/ 98494 w 433841"/>
                <a:gd name="connsiteY118" fmla="*/ 129935 h 143787"/>
                <a:gd name="connsiteX119" fmla="*/ 97955 w 433841"/>
                <a:gd name="connsiteY119" fmla="*/ 129018 h 143787"/>
                <a:gd name="connsiteX120" fmla="*/ 96625 w 433841"/>
                <a:gd name="connsiteY120" fmla="*/ 127923 h 143787"/>
                <a:gd name="connsiteX121" fmla="*/ 95860 w 433841"/>
                <a:gd name="connsiteY121" fmla="*/ 126942 h 143787"/>
                <a:gd name="connsiteX122" fmla="*/ 96076 w 433841"/>
                <a:gd name="connsiteY122" fmla="*/ 128570 h 143787"/>
                <a:gd name="connsiteX123" fmla="*/ 96083 w 433841"/>
                <a:gd name="connsiteY123" fmla="*/ 130677 h 143787"/>
                <a:gd name="connsiteX124" fmla="*/ 94394 w 433841"/>
                <a:gd name="connsiteY124" fmla="*/ 130856 h 143787"/>
                <a:gd name="connsiteX125" fmla="*/ 92220 w 433841"/>
                <a:gd name="connsiteY125" fmla="*/ 130195 h 143787"/>
                <a:gd name="connsiteX126" fmla="*/ 89516 w 433841"/>
                <a:gd name="connsiteY126" fmla="*/ 130790 h 143787"/>
                <a:gd name="connsiteX127" fmla="*/ 86316 w 433841"/>
                <a:gd name="connsiteY127" fmla="*/ 133374 h 143787"/>
                <a:gd name="connsiteX128" fmla="*/ 84778 w 433841"/>
                <a:gd name="connsiteY128" fmla="*/ 133448 h 143787"/>
                <a:gd name="connsiteX129" fmla="*/ 83608 w 433841"/>
                <a:gd name="connsiteY129" fmla="*/ 131228 h 143787"/>
                <a:gd name="connsiteX130" fmla="*/ 83003 w 433841"/>
                <a:gd name="connsiteY130" fmla="*/ 129724 h 143787"/>
                <a:gd name="connsiteX131" fmla="*/ 82049 w 433841"/>
                <a:gd name="connsiteY131" fmla="*/ 128656 h 143787"/>
                <a:gd name="connsiteX132" fmla="*/ 71878 w 433841"/>
                <a:gd name="connsiteY132" fmla="*/ 123211 h 143787"/>
                <a:gd name="connsiteX133" fmla="*/ 68125 w 433841"/>
                <a:gd name="connsiteY133" fmla="*/ 121812 h 143787"/>
                <a:gd name="connsiteX134" fmla="*/ 64169 w 433841"/>
                <a:gd name="connsiteY134" fmla="*/ 117680 h 143787"/>
                <a:gd name="connsiteX135" fmla="*/ 55266 w 433841"/>
                <a:gd name="connsiteY135" fmla="*/ 113120 h 143787"/>
                <a:gd name="connsiteX136" fmla="*/ 49613 w 433841"/>
                <a:gd name="connsiteY136" fmla="*/ 108675 h 143787"/>
                <a:gd name="connsiteX137" fmla="*/ 47209 w 433841"/>
                <a:gd name="connsiteY137" fmla="*/ 105928 h 143787"/>
                <a:gd name="connsiteX138" fmla="*/ 41426 w 433841"/>
                <a:gd name="connsiteY138" fmla="*/ 103492 h 143787"/>
                <a:gd name="connsiteX139" fmla="*/ 38931 w 433841"/>
                <a:gd name="connsiteY139" fmla="*/ 100620 h 143787"/>
                <a:gd name="connsiteX140" fmla="*/ 37703 w 433841"/>
                <a:gd name="connsiteY140" fmla="*/ 100055 h 143787"/>
                <a:gd name="connsiteX141" fmla="*/ 36469 w 433841"/>
                <a:gd name="connsiteY141" fmla="*/ 99032 h 143787"/>
                <a:gd name="connsiteX142" fmla="*/ 37769 w 433841"/>
                <a:gd name="connsiteY142" fmla="*/ 96245 h 143787"/>
                <a:gd name="connsiteX143" fmla="*/ 37235 w 433841"/>
                <a:gd name="connsiteY143" fmla="*/ 93338 h 143787"/>
                <a:gd name="connsiteX144" fmla="*/ 36566 w 433841"/>
                <a:gd name="connsiteY144" fmla="*/ 90886 h 143787"/>
                <a:gd name="connsiteX145" fmla="*/ 32487 w 433841"/>
                <a:gd name="connsiteY145" fmla="*/ 86043 h 143787"/>
                <a:gd name="connsiteX146" fmla="*/ 30483 w 433841"/>
                <a:gd name="connsiteY146" fmla="*/ 82663 h 143787"/>
                <a:gd name="connsiteX147" fmla="*/ 26645 w 433841"/>
                <a:gd name="connsiteY147" fmla="*/ 79298 h 143787"/>
                <a:gd name="connsiteX148" fmla="*/ 25110 w 433841"/>
                <a:gd name="connsiteY148" fmla="*/ 77355 h 143787"/>
                <a:gd name="connsiteX149" fmla="*/ 23642 w 433841"/>
                <a:gd name="connsiteY149" fmla="*/ 75101 h 143787"/>
                <a:gd name="connsiteX150" fmla="*/ 24562 w 433841"/>
                <a:gd name="connsiteY150" fmla="*/ 74313 h 143787"/>
                <a:gd name="connsiteX151" fmla="*/ 25413 w 433841"/>
                <a:gd name="connsiteY151" fmla="*/ 73835 h 143787"/>
                <a:gd name="connsiteX152" fmla="*/ 24633 w 433841"/>
                <a:gd name="connsiteY152" fmla="*/ 72200 h 143787"/>
                <a:gd name="connsiteX153" fmla="*/ 22439 w 433841"/>
                <a:gd name="connsiteY153" fmla="*/ 69353 h 143787"/>
                <a:gd name="connsiteX154" fmla="*/ 21411 w 433841"/>
                <a:gd name="connsiteY154" fmla="*/ 66081 h 143787"/>
                <a:gd name="connsiteX155" fmla="*/ 21411 w 433841"/>
                <a:gd name="connsiteY155" fmla="*/ 59904 h 143787"/>
                <a:gd name="connsiteX156" fmla="*/ 18291 w 433841"/>
                <a:gd name="connsiteY156" fmla="*/ 51215 h 143787"/>
                <a:gd name="connsiteX157" fmla="*/ 15620 w 433841"/>
                <a:gd name="connsiteY157" fmla="*/ 39166 h 143787"/>
                <a:gd name="connsiteX158" fmla="*/ 16092 w 433841"/>
                <a:gd name="connsiteY158" fmla="*/ 34945 h 143787"/>
                <a:gd name="connsiteX159" fmla="*/ 15413 w 433841"/>
                <a:gd name="connsiteY159" fmla="*/ 30370 h 143787"/>
                <a:gd name="connsiteX160" fmla="*/ 13644 w 433841"/>
                <a:gd name="connsiteY160" fmla="*/ 25969 h 143787"/>
                <a:gd name="connsiteX161" fmla="*/ 11324 w 433841"/>
                <a:gd name="connsiteY161" fmla="*/ 22823 h 143787"/>
                <a:gd name="connsiteX162" fmla="*/ 10456 w 433841"/>
                <a:gd name="connsiteY162" fmla="*/ 20209 h 143787"/>
                <a:gd name="connsiteX163" fmla="*/ 10873 w 433841"/>
                <a:gd name="connsiteY163" fmla="*/ 19172 h 143787"/>
                <a:gd name="connsiteX164" fmla="*/ 11387 w 433841"/>
                <a:gd name="connsiteY164" fmla="*/ 15777 h 143787"/>
                <a:gd name="connsiteX165" fmla="*/ 11731 w 433841"/>
                <a:gd name="connsiteY165" fmla="*/ 15105 h 143787"/>
                <a:gd name="connsiteX166" fmla="*/ 378779 w 433841"/>
                <a:gd name="connsiteY166" fmla="*/ 8033 h 143787"/>
                <a:gd name="connsiteX167" fmla="*/ 380035 w 433841"/>
                <a:gd name="connsiteY167" fmla="*/ 8881 h 143787"/>
                <a:gd name="connsiteX168" fmla="*/ 380407 w 433841"/>
                <a:gd name="connsiteY168" fmla="*/ 11665 h 143787"/>
                <a:gd name="connsiteX169" fmla="*/ 380234 w 433841"/>
                <a:gd name="connsiteY169" fmla="*/ 12879 h 143787"/>
                <a:gd name="connsiteX170" fmla="*/ 379476 w 433841"/>
                <a:gd name="connsiteY170" fmla="*/ 14678 h 143787"/>
                <a:gd name="connsiteX171" fmla="*/ 379042 w 433841"/>
                <a:gd name="connsiteY171" fmla="*/ 16565 h 143787"/>
                <a:gd name="connsiteX172" fmla="*/ 379579 w 433841"/>
                <a:gd name="connsiteY172" fmla="*/ 16525 h 143787"/>
                <a:gd name="connsiteX173" fmla="*/ 381810 w 433841"/>
                <a:gd name="connsiteY173" fmla="*/ 15375 h 143787"/>
                <a:gd name="connsiteX174" fmla="*/ 384138 w 433841"/>
                <a:gd name="connsiteY174" fmla="*/ 12317 h 143787"/>
                <a:gd name="connsiteX175" fmla="*/ 385451 w 433841"/>
                <a:gd name="connsiteY175" fmla="*/ 9663 h 143787"/>
                <a:gd name="connsiteX176" fmla="*/ 386570 w 433841"/>
                <a:gd name="connsiteY176" fmla="*/ 8507 h 143787"/>
                <a:gd name="connsiteX177" fmla="*/ 388811 w 433841"/>
                <a:gd name="connsiteY177" fmla="*/ 9149 h 143787"/>
                <a:gd name="connsiteX178" fmla="*/ 389310 w 433841"/>
                <a:gd name="connsiteY178" fmla="*/ 9610 h 143787"/>
                <a:gd name="connsiteX179" fmla="*/ 389153 w 433841"/>
                <a:gd name="connsiteY179" fmla="*/ 11517 h 143787"/>
                <a:gd name="connsiteX180" fmla="*/ 389366 w 433841"/>
                <a:gd name="connsiteY180" fmla="*/ 12626 h 143787"/>
                <a:gd name="connsiteX181" fmla="*/ 390230 w 433841"/>
                <a:gd name="connsiteY181" fmla="*/ 14993 h 143787"/>
                <a:gd name="connsiteX182" fmla="*/ 392138 w 433841"/>
                <a:gd name="connsiteY182" fmla="*/ 16428 h 143787"/>
                <a:gd name="connsiteX183" fmla="*/ 394767 w 433841"/>
                <a:gd name="connsiteY183" fmla="*/ 17334 h 143787"/>
                <a:gd name="connsiteX184" fmla="*/ 397209 w 433841"/>
                <a:gd name="connsiteY184" fmla="*/ 18640 h 143787"/>
                <a:gd name="connsiteX185" fmla="*/ 398005 w 433841"/>
                <a:gd name="connsiteY185" fmla="*/ 19505 h 143787"/>
                <a:gd name="connsiteX186" fmla="*/ 398535 w 433841"/>
                <a:gd name="connsiteY186" fmla="*/ 20547 h 143787"/>
                <a:gd name="connsiteX187" fmla="*/ 399068 w 433841"/>
                <a:gd name="connsiteY187" fmla="*/ 22251 h 143787"/>
                <a:gd name="connsiteX188" fmla="*/ 399109 w 433841"/>
                <a:gd name="connsiteY188" fmla="*/ 23975 h 143787"/>
                <a:gd name="connsiteX189" fmla="*/ 397347 w 433841"/>
                <a:gd name="connsiteY189" fmla="*/ 25657 h 143787"/>
                <a:gd name="connsiteX190" fmla="*/ 398096 w 433841"/>
                <a:gd name="connsiteY190" fmla="*/ 28386 h 143787"/>
                <a:gd name="connsiteX191" fmla="*/ 397980 w 433841"/>
                <a:gd name="connsiteY191" fmla="*/ 29978 h 143787"/>
                <a:gd name="connsiteX192" fmla="*/ 397375 w 433841"/>
                <a:gd name="connsiteY192" fmla="*/ 31335 h 143787"/>
                <a:gd name="connsiteX193" fmla="*/ 394810 w 433841"/>
                <a:gd name="connsiteY193" fmla="*/ 32578 h 143787"/>
                <a:gd name="connsiteX194" fmla="*/ 401808 w 433841"/>
                <a:gd name="connsiteY194" fmla="*/ 31341 h 143787"/>
                <a:gd name="connsiteX195" fmla="*/ 403536 w 433841"/>
                <a:gd name="connsiteY195" fmla="*/ 30635 h 143787"/>
                <a:gd name="connsiteX196" fmla="*/ 405924 w 433841"/>
                <a:gd name="connsiteY196" fmla="*/ 28836 h 143787"/>
                <a:gd name="connsiteX197" fmla="*/ 407205 w 433841"/>
                <a:gd name="connsiteY197" fmla="*/ 30387 h 143787"/>
                <a:gd name="connsiteX198" fmla="*/ 408401 w 433841"/>
                <a:gd name="connsiteY198" fmla="*/ 33070 h 143787"/>
                <a:gd name="connsiteX199" fmla="*/ 407438 w 433841"/>
                <a:gd name="connsiteY199" fmla="*/ 33745 h 143787"/>
                <a:gd name="connsiteX200" fmla="*/ 404397 w 433841"/>
                <a:gd name="connsiteY200" fmla="*/ 34734 h 143787"/>
                <a:gd name="connsiteX201" fmla="*/ 404249 w 433841"/>
                <a:gd name="connsiteY201" fmla="*/ 35140 h 143787"/>
                <a:gd name="connsiteX202" fmla="*/ 405257 w 433841"/>
                <a:gd name="connsiteY202" fmla="*/ 36536 h 143787"/>
                <a:gd name="connsiteX203" fmla="*/ 406529 w 433841"/>
                <a:gd name="connsiteY203" fmla="*/ 36406 h 143787"/>
                <a:gd name="connsiteX204" fmla="*/ 409038 w 433841"/>
                <a:gd name="connsiteY204" fmla="*/ 35473 h 143787"/>
                <a:gd name="connsiteX205" fmla="*/ 411349 w 433841"/>
                <a:gd name="connsiteY205" fmla="*/ 34001 h 143787"/>
                <a:gd name="connsiteX206" fmla="*/ 412470 w 433841"/>
                <a:gd name="connsiteY206" fmla="*/ 34019 h 143787"/>
                <a:gd name="connsiteX207" fmla="*/ 413648 w 433841"/>
                <a:gd name="connsiteY207" fmla="*/ 34322 h 143787"/>
                <a:gd name="connsiteX208" fmla="*/ 415931 w 433841"/>
                <a:gd name="connsiteY208" fmla="*/ 35268 h 143787"/>
                <a:gd name="connsiteX209" fmla="*/ 417209 w 433841"/>
                <a:gd name="connsiteY209" fmla="*/ 36034 h 143787"/>
                <a:gd name="connsiteX210" fmla="*/ 418291 w 433841"/>
                <a:gd name="connsiteY210" fmla="*/ 37018 h 143787"/>
                <a:gd name="connsiteX211" fmla="*/ 418993 w 433841"/>
                <a:gd name="connsiteY211" fmla="*/ 39069 h 143787"/>
                <a:gd name="connsiteX212" fmla="*/ 421621 w 433841"/>
                <a:gd name="connsiteY212" fmla="*/ 39812 h 143787"/>
                <a:gd name="connsiteX213" fmla="*/ 427008 w 433841"/>
                <a:gd name="connsiteY213" fmla="*/ 42685 h 143787"/>
                <a:gd name="connsiteX214" fmla="*/ 428008 w 433841"/>
                <a:gd name="connsiteY214" fmla="*/ 42934 h 143787"/>
                <a:gd name="connsiteX215" fmla="*/ 429058 w 433841"/>
                <a:gd name="connsiteY215" fmla="*/ 42991 h 143787"/>
                <a:gd name="connsiteX216" fmla="*/ 431897 w 433841"/>
                <a:gd name="connsiteY216" fmla="*/ 42643 h 143787"/>
                <a:gd name="connsiteX217" fmla="*/ 432893 w 433841"/>
                <a:gd name="connsiteY217" fmla="*/ 43048 h 143787"/>
                <a:gd name="connsiteX218" fmla="*/ 433603 w 433841"/>
                <a:gd name="connsiteY218" fmla="*/ 44084 h 143787"/>
                <a:gd name="connsiteX219" fmla="*/ 433841 w 433841"/>
                <a:gd name="connsiteY219" fmla="*/ 45366 h 143787"/>
                <a:gd name="connsiteX220" fmla="*/ 433763 w 433841"/>
                <a:gd name="connsiteY220" fmla="*/ 46746 h 143787"/>
                <a:gd name="connsiteX221" fmla="*/ 433474 w 433841"/>
                <a:gd name="connsiteY221" fmla="*/ 47791 h 143787"/>
                <a:gd name="connsiteX222" fmla="*/ 432809 w 433841"/>
                <a:gd name="connsiteY222" fmla="*/ 48654 h 143787"/>
                <a:gd name="connsiteX223" fmla="*/ 430876 w 433841"/>
                <a:gd name="connsiteY223" fmla="*/ 49969 h 143787"/>
                <a:gd name="connsiteX224" fmla="*/ 426018 w 433841"/>
                <a:gd name="connsiteY224" fmla="*/ 51689 h 143787"/>
                <a:gd name="connsiteX225" fmla="*/ 420701 w 433841"/>
                <a:gd name="connsiteY225" fmla="*/ 52993 h 143787"/>
                <a:gd name="connsiteX226" fmla="*/ 418032 w 433841"/>
                <a:gd name="connsiteY226" fmla="*/ 52903 h 143787"/>
                <a:gd name="connsiteX227" fmla="*/ 414284 w 433841"/>
                <a:gd name="connsiteY227" fmla="*/ 51786 h 143787"/>
                <a:gd name="connsiteX228" fmla="*/ 412916 w 433841"/>
                <a:gd name="connsiteY228" fmla="*/ 51931 h 143787"/>
                <a:gd name="connsiteX229" fmla="*/ 411602 w 433841"/>
                <a:gd name="connsiteY229" fmla="*/ 52443 h 143787"/>
                <a:gd name="connsiteX230" fmla="*/ 409938 w 433841"/>
                <a:gd name="connsiteY230" fmla="*/ 55997 h 143787"/>
                <a:gd name="connsiteX231" fmla="*/ 413009 w 433841"/>
                <a:gd name="connsiteY231" fmla="*/ 59539 h 143787"/>
                <a:gd name="connsiteX232" fmla="*/ 418278 w 433841"/>
                <a:gd name="connsiteY232" fmla="*/ 63230 h 143787"/>
                <a:gd name="connsiteX233" fmla="*/ 419000 w 433841"/>
                <a:gd name="connsiteY233" fmla="*/ 64149 h 143787"/>
                <a:gd name="connsiteX234" fmla="*/ 418805 w 433841"/>
                <a:gd name="connsiteY234" fmla="*/ 65279 h 143787"/>
                <a:gd name="connsiteX235" fmla="*/ 417965 w 433841"/>
                <a:gd name="connsiteY235" fmla="*/ 65952 h 143787"/>
                <a:gd name="connsiteX236" fmla="*/ 416853 w 433841"/>
                <a:gd name="connsiteY236" fmla="*/ 66327 h 143787"/>
                <a:gd name="connsiteX237" fmla="*/ 413891 w 433841"/>
                <a:gd name="connsiteY237" fmla="*/ 66916 h 143787"/>
                <a:gd name="connsiteX238" fmla="*/ 410898 w 433841"/>
                <a:gd name="connsiteY238" fmla="*/ 67353 h 143787"/>
                <a:gd name="connsiteX239" fmla="*/ 408434 w 433841"/>
                <a:gd name="connsiteY239" fmla="*/ 67983 h 143787"/>
                <a:gd name="connsiteX240" fmla="*/ 406021 w 433841"/>
                <a:gd name="connsiteY240" fmla="*/ 68810 h 143787"/>
                <a:gd name="connsiteX241" fmla="*/ 403532 w 433841"/>
                <a:gd name="connsiteY241" fmla="*/ 68529 h 143787"/>
                <a:gd name="connsiteX242" fmla="*/ 400113 w 433841"/>
                <a:gd name="connsiteY242" fmla="*/ 66876 h 143787"/>
                <a:gd name="connsiteX243" fmla="*/ 399129 w 433841"/>
                <a:gd name="connsiteY243" fmla="*/ 66760 h 143787"/>
                <a:gd name="connsiteX244" fmla="*/ 398096 w 433841"/>
                <a:gd name="connsiteY244" fmla="*/ 67608 h 143787"/>
                <a:gd name="connsiteX245" fmla="*/ 397079 w 433841"/>
                <a:gd name="connsiteY245" fmla="*/ 69923 h 143787"/>
                <a:gd name="connsiteX246" fmla="*/ 396430 w 433841"/>
                <a:gd name="connsiteY246" fmla="*/ 70574 h 143787"/>
                <a:gd name="connsiteX247" fmla="*/ 395609 w 433841"/>
                <a:gd name="connsiteY247" fmla="*/ 70557 h 143787"/>
                <a:gd name="connsiteX248" fmla="*/ 393698 w 433841"/>
                <a:gd name="connsiteY248" fmla="*/ 70081 h 143787"/>
                <a:gd name="connsiteX249" fmla="*/ 389865 w 433841"/>
                <a:gd name="connsiteY249" fmla="*/ 67723 h 143787"/>
                <a:gd name="connsiteX250" fmla="*/ 385952 w 433841"/>
                <a:gd name="connsiteY250" fmla="*/ 66887 h 143787"/>
                <a:gd name="connsiteX251" fmla="*/ 380269 w 433841"/>
                <a:gd name="connsiteY251" fmla="*/ 66819 h 143787"/>
                <a:gd name="connsiteX252" fmla="*/ 377047 w 433841"/>
                <a:gd name="connsiteY252" fmla="*/ 66490 h 143787"/>
                <a:gd name="connsiteX253" fmla="*/ 375739 w 433841"/>
                <a:gd name="connsiteY253" fmla="*/ 66842 h 143787"/>
                <a:gd name="connsiteX254" fmla="*/ 374641 w 433841"/>
                <a:gd name="connsiteY254" fmla="*/ 66857 h 143787"/>
                <a:gd name="connsiteX255" fmla="*/ 373847 w 433841"/>
                <a:gd name="connsiteY255" fmla="*/ 66382 h 143787"/>
                <a:gd name="connsiteX256" fmla="*/ 372998 w 433841"/>
                <a:gd name="connsiteY256" fmla="*/ 66139 h 143787"/>
                <a:gd name="connsiteX257" fmla="*/ 370782 w 433841"/>
                <a:gd name="connsiteY257" fmla="*/ 67526 h 143787"/>
                <a:gd name="connsiteX258" fmla="*/ 369746 w 433841"/>
                <a:gd name="connsiteY258" fmla="*/ 67102 h 143787"/>
                <a:gd name="connsiteX259" fmla="*/ 368699 w 433841"/>
                <a:gd name="connsiteY259" fmla="*/ 66518 h 143787"/>
                <a:gd name="connsiteX260" fmla="*/ 366839 w 433841"/>
                <a:gd name="connsiteY260" fmla="*/ 66322 h 143787"/>
                <a:gd name="connsiteX261" fmla="*/ 364589 w 433841"/>
                <a:gd name="connsiteY261" fmla="*/ 66486 h 143787"/>
                <a:gd name="connsiteX262" fmla="*/ 362093 w 433841"/>
                <a:gd name="connsiteY262" fmla="*/ 67915 h 143787"/>
                <a:gd name="connsiteX263" fmla="*/ 359320 w 433841"/>
                <a:gd name="connsiteY263" fmla="*/ 66630 h 143787"/>
                <a:gd name="connsiteX264" fmla="*/ 358537 w 433841"/>
                <a:gd name="connsiteY264" fmla="*/ 66644 h 143787"/>
                <a:gd name="connsiteX265" fmla="*/ 358007 w 433841"/>
                <a:gd name="connsiteY265" fmla="*/ 66970 h 143787"/>
                <a:gd name="connsiteX266" fmla="*/ 356805 w 433841"/>
                <a:gd name="connsiteY266" fmla="*/ 68732 h 143787"/>
                <a:gd name="connsiteX267" fmla="*/ 354514 w 433841"/>
                <a:gd name="connsiteY267" fmla="*/ 70078 h 143787"/>
                <a:gd name="connsiteX268" fmla="*/ 353380 w 433841"/>
                <a:gd name="connsiteY268" fmla="*/ 72537 h 143787"/>
                <a:gd name="connsiteX269" fmla="*/ 352684 w 433841"/>
                <a:gd name="connsiteY269" fmla="*/ 74895 h 143787"/>
                <a:gd name="connsiteX270" fmla="*/ 352073 w 433841"/>
                <a:gd name="connsiteY270" fmla="*/ 75709 h 143787"/>
                <a:gd name="connsiteX271" fmla="*/ 351908 w 433841"/>
                <a:gd name="connsiteY271" fmla="*/ 80264 h 143787"/>
                <a:gd name="connsiteX272" fmla="*/ 351545 w 433841"/>
                <a:gd name="connsiteY272" fmla="*/ 82464 h 143787"/>
                <a:gd name="connsiteX273" fmla="*/ 352123 w 433841"/>
                <a:gd name="connsiteY273" fmla="*/ 85373 h 143787"/>
                <a:gd name="connsiteX274" fmla="*/ 352021 w 433841"/>
                <a:gd name="connsiteY274" fmla="*/ 86625 h 143787"/>
                <a:gd name="connsiteX275" fmla="*/ 351000 w 433841"/>
                <a:gd name="connsiteY275" fmla="*/ 88486 h 143787"/>
                <a:gd name="connsiteX276" fmla="*/ 350875 w 433841"/>
                <a:gd name="connsiteY276" fmla="*/ 88913 h 143787"/>
                <a:gd name="connsiteX277" fmla="*/ 350333 w 433841"/>
                <a:gd name="connsiteY277" fmla="*/ 91874 h 143787"/>
                <a:gd name="connsiteX278" fmla="*/ 350540 w 433841"/>
                <a:gd name="connsiteY278" fmla="*/ 92660 h 143787"/>
                <a:gd name="connsiteX279" fmla="*/ 350408 w 433841"/>
                <a:gd name="connsiteY279" fmla="*/ 93656 h 143787"/>
                <a:gd name="connsiteX280" fmla="*/ 349551 w 433841"/>
                <a:gd name="connsiteY280" fmla="*/ 95732 h 143787"/>
                <a:gd name="connsiteX281" fmla="*/ 347998 w 433841"/>
                <a:gd name="connsiteY281" fmla="*/ 96298 h 143787"/>
                <a:gd name="connsiteX282" fmla="*/ 346362 w 433841"/>
                <a:gd name="connsiteY282" fmla="*/ 96626 h 143787"/>
                <a:gd name="connsiteX283" fmla="*/ 344965 w 433841"/>
                <a:gd name="connsiteY283" fmla="*/ 95918 h 143787"/>
                <a:gd name="connsiteX284" fmla="*/ 343703 w 433841"/>
                <a:gd name="connsiteY284" fmla="*/ 97057 h 143787"/>
                <a:gd name="connsiteX285" fmla="*/ 342103 w 433841"/>
                <a:gd name="connsiteY285" fmla="*/ 98818 h 143787"/>
                <a:gd name="connsiteX286" fmla="*/ 341413 w 433841"/>
                <a:gd name="connsiteY286" fmla="*/ 100008 h 143787"/>
                <a:gd name="connsiteX287" fmla="*/ 341417 w 433841"/>
                <a:gd name="connsiteY287" fmla="*/ 101112 h 143787"/>
                <a:gd name="connsiteX288" fmla="*/ 341574 w 433841"/>
                <a:gd name="connsiteY288" fmla="*/ 101851 h 143787"/>
                <a:gd name="connsiteX289" fmla="*/ 341248 w 433841"/>
                <a:gd name="connsiteY289" fmla="*/ 102612 h 143787"/>
                <a:gd name="connsiteX290" fmla="*/ 341207 w 433841"/>
                <a:gd name="connsiteY290" fmla="*/ 103418 h 143787"/>
                <a:gd name="connsiteX291" fmla="*/ 341290 w 433841"/>
                <a:gd name="connsiteY291" fmla="*/ 104586 h 143787"/>
                <a:gd name="connsiteX292" fmla="*/ 342376 w 433841"/>
                <a:gd name="connsiteY292" fmla="*/ 105069 h 143787"/>
                <a:gd name="connsiteX293" fmla="*/ 343503 w 433841"/>
                <a:gd name="connsiteY293" fmla="*/ 106076 h 143787"/>
                <a:gd name="connsiteX294" fmla="*/ 343464 w 433841"/>
                <a:gd name="connsiteY294" fmla="*/ 107043 h 143787"/>
                <a:gd name="connsiteX295" fmla="*/ 342838 w 433841"/>
                <a:gd name="connsiteY295" fmla="*/ 107712 h 143787"/>
                <a:gd name="connsiteX296" fmla="*/ 341417 w 433841"/>
                <a:gd name="connsiteY296" fmla="*/ 108747 h 143787"/>
                <a:gd name="connsiteX297" fmla="*/ 338822 w 433841"/>
                <a:gd name="connsiteY297" fmla="*/ 110856 h 143787"/>
                <a:gd name="connsiteX298" fmla="*/ 335884 w 433841"/>
                <a:gd name="connsiteY298" fmla="*/ 112658 h 143787"/>
                <a:gd name="connsiteX299" fmla="*/ 334781 w 433841"/>
                <a:gd name="connsiteY299" fmla="*/ 113076 h 143787"/>
                <a:gd name="connsiteX300" fmla="*/ 334381 w 433841"/>
                <a:gd name="connsiteY300" fmla="*/ 113907 h 143787"/>
                <a:gd name="connsiteX301" fmla="*/ 334168 w 433841"/>
                <a:gd name="connsiteY301" fmla="*/ 115025 h 143787"/>
                <a:gd name="connsiteX302" fmla="*/ 334816 w 433841"/>
                <a:gd name="connsiteY302" fmla="*/ 117475 h 143787"/>
                <a:gd name="connsiteX303" fmla="*/ 335431 w 433841"/>
                <a:gd name="connsiteY303" fmla="*/ 118198 h 143787"/>
                <a:gd name="connsiteX304" fmla="*/ 335757 w 433841"/>
                <a:gd name="connsiteY304" fmla="*/ 119059 h 143787"/>
                <a:gd name="connsiteX305" fmla="*/ 335362 w 433841"/>
                <a:gd name="connsiteY305" fmla="*/ 120082 h 143787"/>
                <a:gd name="connsiteX306" fmla="*/ 335081 w 433841"/>
                <a:gd name="connsiteY306" fmla="*/ 120963 h 143787"/>
                <a:gd name="connsiteX307" fmla="*/ 333999 w 433841"/>
                <a:gd name="connsiteY307" fmla="*/ 121515 h 143787"/>
                <a:gd name="connsiteX308" fmla="*/ 332948 w 433841"/>
                <a:gd name="connsiteY308" fmla="*/ 121918 h 143787"/>
                <a:gd name="connsiteX309" fmla="*/ 332564 w 433841"/>
                <a:gd name="connsiteY309" fmla="*/ 122620 h 143787"/>
                <a:gd name="connsiteX310" fmla="*/ 332006 w 433841"/>
                <a:gd name="connsiteY310" fmla="*/ 125557 h 143787"/>
                <a:gd name="connsiteX311" fmla="*/ 331372 w 433841"/>
                <a:gd name="connsiteY311" fmla="*/ 127088 h 143787"/>
                <a:gd name="connsiteX312" fmla="*/ 329940 w 433841"/>
                <a:gd name="connsiteY312" fmla="*/ 129363 h 143787"/>
                <a:gd name="connsiteX313" fmla="*/ 329462 w 433841"/>
                <a:gd name="connsiteY313" fmla="*/ 130403 h 143787"/>
                <a:gd name="connsiteX314" fmla="*/ 328724 w 433841"/>
                <a:gd name="connsiteY314" fmla="*/ 130738 h 143787"/>
                <a:gd name="connsiteX315" fmla="*/ 325952 w 433841"/>
                <a:gd name="connsiteY315" fmla="*/ 129675 h 143787"/>
                <a:gd name="connsiteX316" fmla="*/ 323466 w 433841"/>
                <a:gd name="connsiteY316" fmla="*/ 130320 h 143787"/>
                <a:gd name="connsiteX317" fmla="*/ 320177 w 433841"/>
                <a:gd name="connsiteY317" fmla="*/ 130731 h 143787"/>
                <a:gd name="connsiteX318" fmla="*/ 317392 w 433841"/>
                <a:gd name="connsiteY318" fmla="*/ 130666 h 143787"/>
                <a:gd name="connsiteX319" fmla="*/ 315232 w 433841"/>
                <a:gd name="connsiteY319" fmla="*/ 131130 h 143787"/>
                <a:gd name="connsiteX320" fmla="*/ 313749 w 433841"/>
                <a:gd name="connsiteY320" fmla="*/ 132333 h 143787"/>
                <a:gd name="connsiteX321" fmla="*/ 312092 w 433841"/>
                <a:gd name="connsiteY321" fmla="*/ 133848 h 143787"/>
                <a:gd name="connsiteX322" fmla="*/ 310352 w 433841"/>
                <a:gd name="connsiteY322" fmla="*/ 134971 h 143787"/>
                <a:gd name="connsiteX323" fmla="*/ 309039 w 433841"/>
                <a:gd name="connsiteY323" fmla="*/ 135517 h 143787"/>
                <a:gd name="connsiteX324" fmla="*/ 306627 w 433841"/>
                <a:gd name="connsiteY324" fmla="*/ 133914 h 143787"/>
                <a:gd name="connsiteX325" fmla="*/ 305411 w 433841"/>
                <a:gd name="connsiteY325" fmla="*/ 134052 h 143787"/>
                <a:gd name="connsiteX326" fmla="*/ 303217 w 433841"/>
                <a:gd name="connsiteY326" fmla="*/ 133500 h 143787"/>
                <a:gd name="connsiteX327" fmla="*/ 298071 w 433841"/>
                <a:gd name="connsiteY327" fmla="*/ 131709 h 143787"/>
                <a:gd name="connsiteX328" fmla="*/ 296798 w 433841"/>
                <a:gd name="connsiteY328" fmla="*/ 131185 h 143787"/>
                <a:gd name="connsiteX329" fmla="*/ 295424 w 433841"/>
                <a:gd name="connsiteY329" fmla="*/ 131139 h 143787"/>
                <a:gd name="connsiteX330" fmla="*/ 295020 w 433841"/>
                <a:gd name="connsiteY330" fmla="*/ 130625 h 143787"/>
                <a:gd name="connsiteX331" fmla="*/ 295237 w 433841"/>
                <a:gd name="connsiteY331" fmla="*/ 129760 h 143787"/>
                <a:gd name="connsiteX332" fmla="*/ 295020 w 433841"/>
                <a:gd name="connsiteY332" fmla="*/ 128625 h 143787"/>
                <a:gd name="connsiteX333" fmla="*/ 294019 w 433841"/>
                <a:gd name="connsiteY333" fmla="*/ 128195 h 143787"/>
                <a:gd name="connsiteX334" fmla="*/ 283697 w 433841"/>
                <a:gd name="connsiteY334" fmla="*/ 128370 h 143787"/>
                <a:gd name="connsiteX335" fmla="*/ 280721 w 433841"/>
                <a:gd name="connsiteY335" fmla="*/ 129351 h 143787"/>
                <a:gd name="connsiteX336" fmla="*/ 278710 w 433841"/>
                <a:gd name="connsiteY336" fmla="*/ 130127 h 143787"/>
                <a:gd name="connsiteX337" fmla="*/ 277275 w 433841"/>
                <a:gd name="connsiteY337" fmla="*/ 131024 h 143787"/>
                <a:gd name="connsiteX338" fmla="*/ 276869 w 433841"/>
                <a:gd name="connsiteY338" fmla="*/ 133256 h 143787"/>
                <a:gd name="connsiteX339" fmla="*/ 276011 w 433841"/>
                <a:gd name="connsiteY339" fmla="*/ 135347 h 143787"/>
                <a:gd name="connsiteX340" fmla="*/ 274904 w 433841"/>
                <a:gd name="connsiteY340" fmla="*/ 137564 h 143787"/>
                <a:gd name="connsiteX341" fmla="*/ 271467 w 433841"/>
                <a:gd name="connsiteY341" fmla="*/ 138229 h 143787"/>
                <a:gd name="connsiteX342" fmla="*/ 268944 w 433841"/>
                <a:gd name="connsiteY342" fmla="*/ 140476 h 143787"/>
                <a:gd name="connsiteX343" fmla="*/ 268075 w 433841"/>
                <a:gd name="connsiteY343" fmla="*/ 140746 h 143787"/>
                <a:gd name="connsiteX344" fmla="*/ 266341 w 433841"/>
                <a:gd name="connsiteY344" fmla="*/ 140420 h 143787"/>
                <a:gd name="connsiteX345" fmla="*/ 264487 w 433841"/>
                <a:gd name="connsiteY345" fmla="*/ 140235 h 143787"/>
                <a:gd name="connsiteX346" fmla="*/ 263143 w 433841"/>
                <a:gd name="connsiteY346" fmla="*/ 140860 h 143787"/>
                <a:gd name="connsiteX347" fmla="*/ 261740 w 433841"/>
                <a:gd name="connsiteY347" fmla="*/ 140828 h 143787"/>
                <a:gd name="connsiteX348" fmla="*/ 257395 w 433841"/>
                <a:gd name="connsiteY348" fmla="*/ 139779 h 143787"/>
                <a:gd name="connsiteX349" fmla="*/ 253297 w 433841"/>
                <a:gd name="connsiteY349" fmla="*/ 139617 h 143787"/>
                <a:gd name="connsiteX350" fmla="*/ 250969 w 433841"/>
                <a:gd name="connsiteY350" fmla="*/ 140151 h 143787"/>
                <a:gd name="connsiteX351" fmla="*/ 249687 w 433841"/>
                <a:gd name="connsiteY351" fmla="*/ 140351 h 143787"/>
                <a:gd name="connsiteX352" fmla="*/ 242537 w 433841"/>
                <a:gd name="connsiteY352" fmla="*/ 143430 h 143787"/>
                <a:gd name="connsiteX353" fmla="*/ 240127 w 433841"/>
                <a:gd name="connsiteY353" fmla="*/ 143787 h 143787"/>
                <a:gd name="connsiteX354" fmla="*/ 239146 w 433841"/>
                <a:gd name="connsiteY354" fmla="*/ 143342 h 143787"/>
                <a:gd name="connsiteX355" fmla="*/ 237766 w 433841"/>
                <a:gd name="connsiteY355" fmla="*/ 142082 h 143787"/>
                <a:gd name="connsiteX356" fmla="*/ 235914 w 433841"/>
                <a:gd name="connsiteY356" fmla="*/ 140823 h 143787"/>
                <a:gd name="connsiteX357" fmla="*/ 231481 w 433841"/>
                <a:gd name="connsiteY357" fmla="*/ 136530 h 143787"/>
                <a:gd name="connsiteX358" fmla="*/ 229846 w 433841"/>
                <a:gd name="connsiteY358" fmla="*/ 135521 h 143787"/>
                <a:gd name="connsiteX359" fmla="*/ 228759 w 433841"/>
                <a:gd name="connsiteY359" fmla="*/ 134485 h 143787"/>
                <a:gd name="connsiteX360" fmla="*/ 227725 w 433841"/>
                <a:gd name="connsiteY360" fmla="*/ 133259 h 143787"/>
                <a:gd name="connsiteX361" fmla="*/ 226257 w 433841"/>
                <a:gd name="connsiteY361" fmla="*/ 131936 h 143787"/>
                <a:gd name="connsiteX362" fmla="*/ 224920 w 433841"/>
                <a:gd name="connsiteY362" fmla="*/ 131027 h 143787"/>
                <a:gd name="connsiteX363" fmla="*/ 223100 w 433841"/>
                <a:gd name="connsiteY363" fmla="*/ 129169 h 143787"/>
                <a:gd name="connsiteX364" fmla="*/ 221292 w 433841"/>
                <a:gd name="connsiteY364" fmla="*/ 127136 h 143787"/>
                <a:gd name="connsiteX365" fmla="*/ 220891 w 433841"/>
                <a:gd name="connsiteY365" fmla="*/ 123558 h 143787"/>
                <a:gd name="connsiteX366" fmla="*/ 219453 w 433841"/>
                <a:gd name="connsiteY366" fmla="*/ 122902 h 143787"/>
                <a:gd name="connsiteX367" fmla="*/ 218969 w 433841"/>
                <a:gd name="connsiteY367" fmla="*/ 121972 h 143787"/>
                <a:gd name="connsiteX368" fmla="*/ 218748 w 433841"/>
                <a:gd name="connsiteY368" fmla="*/ 120914 h 143787"/>
                <a:gd name="connsiteX369" fmla="*/ 220737 w 433841"/>
                <a:gd name="connsiteY369" fmla="*/ 118008 h 143787"/>
                <a:gd name="connsiteX370" fmla="*/ 222184 w 433841"/>
                <a:gd name="connsiteY370" fmla="*/ 121078 h 143787"/>
                <a:gd name="connsiteX371" fmla="*/ 222743 w 433841"/>
                <a:gd name="connsiteY371" fmla="*/ 121762 h 143787"/>
                <a:gd name="connsiteX372" fmla="*/ 225955 w 433841"/>
                <a:gd name="connsiteY372" fmla="*/ 123827 h 143787"/>
                <a:gd name="connsiteX373" fmla="*/ 228602 w 433841"/>
                <a:gd name="connsiteY373" fmla="*/ 124863 h 143787"/>
                <a:gd name="connsiteX374" fmla="*/ 231465 w 433841"/>
                <a:gd name="connsiteY374" fmla="*/ 125284 h 143787"/>
                <a:gd name="connsiteX375" fmla="*/ 234381 w 433841"/>
                <a:gd name="connsiteY375" fmla="*/ 125370 h 143787"/>
                <a:gd name="connsiteX376" fmla="*/ 235540 w 433841"/>
                <a:gd name="connsiteY376" fmla="*/ 125227 h 143787"/>
                <a:gd name="connsiteX377" fmla="*/ 236665 w 433841"/>
                <a:gd name="connsiteY377" fmla="*/ 124817 h 143787"/>
                <a:gd name="connsiteX378" fmla="*/ 237777 w 433841"/>
                <a:gd name="connsiteY378" fmla="*/ 125256 h 143787"/>
                <a:gd name="connsiteX379" fmla="*/ 243873 w 433841"/>
                <a:gd name="connsiteY379" fmla="*/ 128614 h 143787"/>
                <a:gd name="connsiteX380" fmla="*/ 246236 w 433841"/>
                <a:gd name="connsiteY380" fmla="*/ 129215 h 143787"/>
                <a:gd name="connsiteX381" fmla="*/ 248732 w 433841"/>
                <a:gd name="connsiteY381" fmla="*/ 128958 h 143787"/>
                <a:gd name="connsiteX382" fmla="*/ 249727 w 433841"/>
                <a:gd name="connsiteY382" fmla="*/ 129293 h 143787"/>
                <a:gd name="connsiteX383" fmla="*/ 253232 w 433841"/>
                <a:gd name="connsiteY383" fmla="*/ 131869 h 143787"/>
                <a:gd name="connsiteX384" fmla="*/ 254266 w 433841"/>
                <a:gd name="connsiteY384" fmla="*/ 132177 h 143787"/>
                <a:gd name="connsiteX385" fmla="*/ 255992 w 433841"/>
                <a:gd name="connsiteY385" fmla="*/ 131980 h 143787"/>
                <a:gd name="connsiteX386" fmla="*/ 253785 w 433841"/>
                <a:gd name="connsiteY386" fmla="*/ 130804 h 143787"/>
                <a:gd name="connsiteX387" fmla="*/ 252338 w 433841"/>
                <a:gd name="connsiteY387" fmla="*/ 129972 h 143787"/>
                <a:gd name="connsiteX388" fmla="*/ 251690 w 433841"/>
                <a:gd name="connsiteY388" fmla="*/ 128398 h 143787"/>
                <a:gd name="connsiteX389" fmla="*/ 252086 w 433841"/>
                <a:gd name="connsiteY389" fmla="*/ 126721 h 143787"/>
                <a:gd name="connsiteX390" fmla="*/ 253491 w 433841"/>
                <a:gd name="connsiteY390" fmla="*/ 125605 h 143787"/>
                <a:gd name="connsiteX391" fmla="*/ 254465 w 433841"/>
                <a:gd name="connsiteY391" fmla="*/ 124396 h 143787"/>
                <a:gd name="connsiteX392" fmla="*/ 254815 w 433841"/>
                <a:gd name="connsiteY392" fmla="*/ 120778 h 143787"/>
                <a:gd name="connsiteX393" fmla="*/ 255434 w 433841"/>
                <a:gd name="connsiteY393" fmla="*/ 118947 h 143787"/>
                <a:gd name="connsiteX394" fmla="*/ 256603 w 433841"/>
                <a:gd name="connsiteY394" fmla="*/ 117205 h 143787"/>
                <a:gd name="connsiteX395" fmla="*/ 256985 w 433841"/>
                <a:gd name="connsiteY395" fmla="*/ 115526 h 143787"/>
                <a:gd name="connsiteX396" fmla="*/ 255674 w 433841"/>
                <a:gd name="connsiteY396" fmla="*/ 114245 h 143787"/>
                <a:gd name="connsiteX397" fmla="*/ 255379 w 433841"/>
                <a:gd name="connsiteY397" fmla="*/ 112043 h 143787"/>
                <a:gd name="connsiteX398" fmla="*/ 255668 w 433841"/>
                <a:gd name="connsiteY398" fmla="*/ 110219 h 143787"/>
                <a:gd name="connsiteX399" fmla="*/ 256410 w 433841"/>
                <a:gd name="connsiteY399" fmla="*/ 108978 h 143787"/>
                <a:gd name="connsiteX400" fmla="*/ 257599 w 433841"/>
                <a:gd name="connsiteY400" fmla="*/ 109795 h 143787"/>
                <a:gd name="connsiteX401" fmla="*/ 258825 w 433841"/>
                <a:gd name="connsiteY401" fmla="*/ 110555 h 143787"/>
                <a:gd name="connsiteX402" fmla="*/ 260036 w 433841"/>
                <a:gd name="connsiteY402" fmla="*/ 110479 h 143787"/>
                <a:gd name="connsiteX403" fmla="*/ 260870 w 433841"/>
                <a:gd name="connsiteY403" fmla="*/ 110177 h 143787"/>
                <a:gd name="connsiteX404" fmla="*/ 261023 w 433841"/>
                <a:gd name="connsiteY404" fmla="*/ 109236 h 143787"/>
                <a:gd name="connsiteX405" fmla="*/ 260794 w 433841"/>
                <a:gd name="connsiteY405" fmla="*/ 107598 h 143787"/>
                <a:gd name="connsiteX406" fmla="*/ 260857 w 433841"/>
                <a:gd name="connsiteY406" fmla="*/ 104584 h 143787"/>
                <a:gd name="connsiteX407" fmla="*/ 262387 w 433841"/>
                <a:gd name="connsiteY407" fmla="*/ 102178 h 143787"/>
                <a:gd name="connsiteX408" fmla="*/ 264837 w 433841"/>
                <a:gd name="connsiteY408" fmla="*/ 100520 h 143787"/>
                <a:gd name="connsiteX409" fmla="*/ 267147 w 433841"/>
                <a:gd name="connsiteY409" fmla="*/ 99727 h 143787"/>
                <a:gd name="connsiteX410" fmla="*/ 275795 w 433841"/>
                <a:gd name="connsiteY410" fmla="*/ 98379 h 143787"/>
                <a:gd name="connsiteX411" fmla="*/ 289471 w 433841"/>
                <a:gd name="connsiteY411" fmla="*/ 94932 h 143787"/>
                <a:gd name="connsiteX412" fmla="*/ 293522 w 433841"/>
                <a:gd name="connsiteY412" fmla="*/ 93599 h 143787"/>
                <a:gd name="connsiteX413" fmla="*/ 295012 w 433841"/>
                <a:gd name="connsiteY413" fmla="*/ 92908 h 143787"/>
                <a:gd name="connsiteX414" fmla="*/ 296268 w 433841"/>
                <a:gd name="connsiteY414" fmla="*/ 91949 h 143787"/>
                <a:gd name="connsiteX415" fmla="*/ 298381 w 433841"/>
                <a:gd name="connsiteY415" fmla="*/ 88888 h 143787"/>
                <a:gd name="connsiteX416" fmla="*/ 302358 w 433841"/>
                <a:gd name="connsiteY416" fmla="*/ 84063 h 143787"/>
                <a:gd name="connsiteX417" fmla="*/ 305144 w 433841"/>
                <a:gd name="connsiteY417" fmla="*/ 80098 h 143787"/>
                <a:gd name="connsiteX418" fmla="*/ 311026 w 433841"/>
                <a:gd name="connsiteY418" fmla="*/ 74322 h 143787"/>
                <a:gd name="connsiteX419" fmla="*/ 315710 w 433841"/>
                <a:gd name="connsiteY419" fmla="*/ 68966 h 143787"/>
                <a:gd name="connsiteX420" fmla="*/ 316342 w 433841"/>
                <a:gd name="connsiteY420" fmla="*/ 67958 h 143787"/>
                <a:gd name="connsiteX421" fmla="*/ 317121 w 433841"/>
                <a:gd name="connsiteY421" fmla="*/ 65034 h 143787"/>
                <a:gd name="connsiteX422" fmla="*/ 317180 w 433841"/>
                <a:gd name="connsiteY422" fmla="*/ 63658 h 143787"/>
                <a:gd name="connsiteX423" fmla="*/ 317044 w 433841"/>
                <a:gd name="connsiteY423" fmla="*/ 62263 h 143787"/>
                <a:gd name="connsiteX424" fmla="*/ 317668 w 433841"/>
                <a:gd name="connsiteY424" fmla="*/ 61610 h 143787"/>
                <a:gd name="connsiteX425" fmla="*/ 318577 w 433841"/>
                <a:gd name="connsiteY425" fmla="*/ 61220 h 143787"/>
                <a:gd name="connsiteX426" fmla="*/ 318804 w 433841"/>
                <a:gd name="connsiteY426" fmla="*/ 61224 h 143787"/>
                <a:gd name="connsiteX427" fmla="*/ 319495 w 433841"/>
                <a:gd name="connsiteY427" fmla="*/ 61832 h 143787"/>
                <a:gd name="connsiteX428" fmla="*/ 321125 w 433841"/>
                <a:gd name="connsiteY428" fmla="*/ 62680 h 143787"/>
                <a:gd name="connsiteX429" fmla="*/ 322347 w 433841"/>
                <a:gd name="connsiteY429" fmla="*/ 63767 h 143787"/>
                <a:gd name="connsiteX430" fmla="*/ 323164 w 433841"/>
                <a:gd name="connsiteY430" fmla="*/ 65177 h 143787"/>
                <a:gd name="connsiteX431" fmla="*/ 323751 w 433841"/>
                <a:gd name="connsiteY431" fmla="*/ 66496 h 143787"/>
                <a:gd name="connsiteX432" fmla="*/ 323796 w 433841"/>
                <a:gd name="connsiteY432" fmla="*/ 67615 h 143787"/>
                <a:gd name="connsiteX433" fmla="*/ 324532 w 433841"/>
                <a:gd name="connsiteY433" fmla="*/ 68532 h 143787"/>
                <a:gd name="connsiteX434" fmla="*/ 326604 w 433841"/>
                <a:gd name="connsiteY434" fmla="*/ 68686 h 143787"/>
                <a:gd name="connsiteX435" fmla="*/ 327277 w 433841"/>
                <a:gd name="connsiteY435" fmla="*/ 69844 h 143787"/>
                <a:gd name="connsiteX436" fmla="*/ 328717 w 433841"/>
                <a:gd name="connsiteY436" fmla="*/ 71838 h 143787"/>
                <a:gd name="connsiteX437" fmla="*/ 330034 w 433841"/>
                <a:gd name="connsiteY437" fmla="*/ 73266 h 143787"/>
                <a:gd name="connsiteX438" fmla="*/ 330842 w 433841"/>
                <a:gd name="connsiteY438" fmla="*/ 73822 h 143787"/>
                <a:gd name="connsiteX439" fmla="*/ 331855 w 433841"/>
                <a:gd name="connsiteY439" fmla="*/ 73519 h 143787"/>
                <a:gd name="connsiteX440" fmla="*/ 333423 w 433841"/>
                <a:gd name="connsiteY440" fmla="*/ 72215 h 143787"/>
                <a:gd name="connsiteX441" fmla="*/ 334554 w 433841"/>
                <a:gd name="connsiteY441" fmla="*/ 70614 h 143787"/>
                <a:gd name="connsiteX442" fmla="*/ 335312 w 433841"/>
                <a:gd name="connsiteY442" fmla="*/ 68450 h 143787"/>
                <a:gd name="connsiteX443" fmla="*/ 334716 w 433841"/>
                <a:gd name="connsiteY443" fmla="*/ 68134 h 143787"/>
                <a:gd name="connsiteX444" fmla="*/ 335768 w 433841"/>
                <a:gd name="connsiteY444" fmla="*/ 66501 h 143787"/>
                <a:gd name="connsiteX445" fmla="*/ 335971 w 433841"/>
                <a:gd name="connsiteY445" fmla="*/ 65643 h 143787"/>
                <a:gd name="connsiteX446" fmla="*/ 335485 w 433841"/>
                <a:gd name="connsiteY446" fmla="*/ 64855 h 143787"/>
                <a:gd name="connsiteX447" fmla="*/ 334864 w 433841"/>
                <a:gd name="connsiteY447" fmla="*/ 64077 h 143787"/>
                <a:gd name="connsiteX448" fmla="*/ 334623 w 433841"/>
                <a:gd name="connsiteY448" fmla="*/ 62102 h 143787"/>
                <a:gd name="connsiteX449" fmla="*/ 334196 w 433841"/>
                <a:gd name="connsiteY449" fmla="*/ 59588 h 143787"/>
                <a:gd name="connsiteX450" fmla="*/ 333902 w 433841"/>
                <a:gd name="connsiteY450" fmla="*/ 58445 h 143787"/>
                <a:gd name="connsiteX451" fmla="*/ 334732 w 433841"/>
                <a:gd name="connsiteY451" fmla="*/ 57631 h 143787"/>
                <a:gd name="connsiteX452" fmla="*/ 336508 w 433841"/>
                <a:gd name="connsiteY452" fmla="*/ 56591 h 143787"/>
                <a:gd name="connsiteX453" fmla="*/ 338281 w 433841"/>
                <a:gd name="connsiteY453" fmla="*/ 55383 h 143787"/>
                <a:gd name="connsiteX454" fmla="*/ 340095 w 433841"/>
                <a:gd name="connsiteY454" fmla="*/ 54420 h 143787"/>
                <a:gd name="connsiteX455" fmla="*/ 340141 w 433841"/>
                <a:gd name="connsiteY455" fmla="*/ 56161 h 143787"/>
                <a:gd name="connsiteX456" fmla="*/ 340095 w 433841"/>
                <a:gd name="connsiteY456" fmla="*/ 59037 h 143787"/>
                <a:gd name="connsiteX457" fmla="*/ 340644 w 433841"/>
                <a:gd name="connsiteY457" fmla="*/ 61446 h 143787"/>
                <a:gd name="connsiteX458" fmla="*/ 341870 w 433841"/>
                <a:gd name="connsiteY458" fmla="*/ 65705 h 143787"/>
                <a:gd name="connsiteX459" fmla="*/ 343276 w 433841"/>
                <a:gd name="connsiteY459" fmla="*/ 66286 h 143787"/>
                <a:gd name="connsiteX460" fmla="*/ 344958 w 433841"/>
                <a:gd name="connsiteY460" fmla="*/ 66662 h 143787"/>
                <a:gd name="connsiteX461" fmla="*/ 345930 w 433841"/>
                <a:gd name="connsiteY461" fmla="*/ 66543 h 143787"/>
                <a:gd name="connsiteX462" fmla="*/ 346563 w 433841"/>
                <a:gd name="connsiteY462" fmla="*/ 66262 h 143787"/>
                <a:gd name="connsiteX463" fmla="*/ 346729 w 433841"/>
                <a:gd name="connsiteY463" fmla="*/ 65919 h 143787"/>
                <a:gd name="connsiteX464" fmla="*/ 345679 w 433841"/>
                <a:gd name="connsiteY464" fmla="*/ 64244 h 143787"/>
                <a:gd name="connsiteX465" fmla="*/ 345401 w 433841"/>
                <a:gd name="connsiteY465" fmla="*/ 60308 h 143787"/>
                <a:gd name="connsiteX466" fmla="*/ 344544 w 433841"/>
                <a:gd name="connsiteY466" fmla="*/ 57725 h 143787"/>
                <a:gd name="connsiteX467" fmla="*/ 343228 w 433841"/>
                <a:gd name="connsiteY467" fmla="*/ 55151 h 143787"/>
                <a:gd name="connsiteX468" fmla="*/ 342600 w 433841"/>
                <a:gd name="connsiteY468" fmla="*/ 54419 h 143787"/>
                <a:gd name="connsiteX469" fmla="*/ 347794 w 433841"/>
                <a:gd name="connsiteY469" fmla="*/ 53687 h 143787"/>
                <a:gd name="connsiteX470" fmla="*/ 348960 w 433841"/>
                <a:gd name="connsiteY470" fmla="*/ 52880 h 143787"/>
                <a:gd name="connsiteX471" fmla="*/ 350998 w 433841"/>
                <a:gd name="connsiteY471" fmla="*/ 51112 h 143787"/>
                <a:gd name="connsiteX472" fmla="*/ 351765 w 433841"/>
                <a:gd name="connsiteY472" fmla="*/ 50123 h 143787"/>
                <a:gd name="connsiteX473" fmla="*/ 352373 w 433841"/>
                <a:gd name="connsiteY473" fmla="*/ 47893 h 143787"/>
                <a:gd name="connsiteX474" fmla="*/ 349828 w 433841"/>
                <a:gd name="connsiteY474" fmla="*/ 46564 h 143787"/>
                <a:gd name="connsiteX475" fmla="*/ 348828 w 433841"/>
                <a:gd name="connsiteY475" fmla="*/ 44869 h 143787"/>
                <a:gd name="connsiteX476" fmla="*/ 348770 w 433841"/>
                <a:gd name="connsiteY476" fmla="*/ 43036 h 143787"/>
                <a:gd name="connsiteX477" fmla="*/ 351808 w 433841"/>
                <a:gd name="connsiteY477" fmla="*/ 39632 h 143787"/>
                <a:gd name="connsiteX478" fmla="*/ 352857 w 433841"/>
                <a:gd name="connsiteY478" fmla="*/ 38817 h 143787"/>
                <a:gd name="connsiteX479" fmla="*/ 353313 w 433841"/>
                <a:gd name="connsiteY479" fmla="*/ 40027 h 143787"/>
                <a:gd name="connsiteX480" fmla="*/ 354652 w 433841"/>
                <a:gd name="connsiteY480" fmla="*/ 40332 h 143787"/>
                <a:gd name="connsiteX481" fmla="*/ 355885 w 433841"/>
                <a:gd name="connsiteY481" fmla="*/ 40379 h 143787"/>
                <a:gd name="connsiteX482" fmla="*/ 357124 w 433841"/>
                <a:gd name="connsiteY482" fmla="*/ 40310 h 143787"/>
                <a:gd name="connsiteX483" fmla="*/ 358899 w 433841"/>
                <a:gd name="connsiteY483" fmla="*/ 38593 h 143787"/>
                <a:gd name="connsiteX484" fmla="*/ 359812 w 433841"/>
                <a:gd name="connsiteY484" fmla="*/ 36122 h 143787"/>
                <a:gd name="connsiteX485" fmla="*/ 362937 w 433841"/>
                <a:gd name="connsiteY485" fmla="*/ 32629 h 143787"/>
                <a:gd name="connsiteX486" fmla="*/ 364049 w 433841"/>
                <a:gd name="connsiteY486" fmla="*/ 29947 h 143787"/>
                <a:gd name="connsiteX487" fmla="*/ 364676 w 433841"/>
                <a:gd name="connsiteY487" fmla="*/ 27145 h 143787"/>
                <a:gd name="connsiteX488" fmla="*/ 372555 w 433841"/>
                <a:gd name="connsiteY488" fmla="*/ 18439 h 143787"/>
                <a:gd name="connsiteX489" fmla="*/ 373519 w 433841"/>
                <a:gd name="connsiteY489" fmla="*/ 17084 h 143787"/>
                <a:gd name="connsiteX490" fmla="*/ 378196 w 433841"/>
                <a:gd name="connsiteY490" fmla="*/ 8324 h 143787"/>
                <a:gd name="connsiteX491" fmla="*/ 389567 w 433841"/>
                <a:gd name="connsiteY491" fmla="*/ 0 h 143787"/>
                <a:gd name="connsiteX492" fmla="*/ 389936 w 433841"/>
                <a:gd name="connsiteY492" fmla="*/ 1357 h 143787"/>
                <a:gd name="connsiteX493" fmla="*/ 389627 w 433841"/>
                <a:gd name="connsiteY493" fmla="*/ 2909 h 143787"/>
                <a:gd name="connsiteX494" fmla="*/ 389021 w 433841"/>
                <a:gd name="connsiteY494" fmla="*/ 3710 h 143787"/>
                <a:gd name="connsiteX495" fmla="*/ 386859 w 433841"/>
                <a:gd name="connsiteY495" fmla="*/ 4078 h 143787"/>
                <a:gd name="connsiteX496" fmla="*/ 385512 w 433841"/>
                <a:gd name="connsiteY496" fmla="*/ 5254 h 143787"/>
                <a:gd name="connsiteX497" fmla="*/ 385058 w 433841"/>
                <a:gd name="connsiteY497" fmla="*/ 3841 h 143787"/>
                <a:gd name="connsiteX498" fmla="*/ 385149 w 433841"/>
                <a:gd name="connsiteY498" fmla="*/ 2022 h 143787"/>
                <a:gd name="connsiteX499" fmla="*/ 386975 w 433841"/>
                <a:gd name="connsiteY499" fmla="*/ 326 h 143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</a:cxnLst>
              <a:rect l="l" t="t" r="r" b="b"/>
              <a:pathLst>
                <a:path w="433841" h="143787">
                  <a:moveTo>
                    <a:pt x="258430" y="101619"/>
                  </a:moveTo>
                  <a:lnTo>
                    <a:pt x="258907" y="101704"/>
                  </a:lnTo>
                  <a:lnTo>
                    <a:pt x="259421" y="102924"/>
                  </a:lnTo>
                  <a:lnTo>
                    <a:pt x="259375" y="105867"/>
                  </a:lnTo>
                  <a:lnTo>
                    <a:pt x="259468" y="108464"/>
                  </a:lnTo>
                  <a:lnTo>
                    <a:pt x="259663" y="109429"/>
                  </a:lnTo>
                  <a:lnTo>
                    <a:pt x="258987" y="109720"/>
                  </a:lnTo>
                  <a:lnTo>
                    <a:pt x="257944" y="108936"/>
                  </a:lnTo>
                  <a:lnTo>
                    <a:pt x="257698" y="102219"/>
                  </a:lnTo>
                  <a:close/>
                  <a:moveTo>
                    <a:pt x="100356" y="99330"/>
                  </a:moveTo>
                  <a:lnTo>
                    <a:pt x="101207" y="101488"/>
                  </a:lnTo>
                  <a:lnTo>
                    <a:pt x="101170" y="102428"/>
                  </a:lnTo>
                  <a:lnTo>
                    <a:pt x="100104" y="102658"/>
                  </a:lnTo>
                  <a:lnTo>
                    <a:pt x="99518" y="102506"/>
                  </a:lnTo>
                  <a:lnTo>
                    <a:pt x="99125" y="101643"/>
                  </a:lnTo>
                  <a:lnTo>
                    <a:pt x="100026" y="99660"/>
                  </a:lnTo>
                  <a:close/>
                  <a:moveTo>
                    <a:pt x="36816" y="95000"/>
                  </a:moveTo>
                  <a:lnTo>
                    <a:pt x="37197" y="95438"/>
                  </a:lnTo>
                  <a:lnTo>
                    <a:pt x="36978" y="96746"/>
                  </a:lnTo>
                  <a:lnTo>
                    <a:pt x="35862" y="97146"/>
                  </a:lnTo>
                  <a:lnTo>
                    <a:pt x="35804" y="96569"/>
                  </a:lnTo>
                  <a:lnTo>
                    <a:pt x="35997" y="95765"/>
                  </a:lnTo>
                  <a:close/>
                  <a:moveTo>
                    <a:pt x="399384" y="68541"/>
                  </a:moveTo>
                  <a:lnTo>
                    <a:pt x="400564" y="68764"/>
                  </a:lnTo>
                  <a:lnTo>
                    <a:pt x="403292" y="70230"/>
                  </a:lnTo>
                  <a:lnTo>
                    <a:pt x="400211" y="70655"/>
                  </a:lnTo>
                  <a:lnTo>
                    <a:pt x="398079" y="70610"/>
                  </a:lnTo>
                  <a:lnTo>
                    <a:pt x="398472" y="69835"/>
                  </a:lnTo>
                  <a:lnTo>
                    <a:pt x="398368" y="68811"/>
                  </a:lnTo>
                  <a:close/>
                  <a:moveTo>
                    <a:pt x="13251" y="41826"/>
                  </a:moveTo>
                  <a:lnTo>
                    <a:pt x="14680" y="42487"/>
                  </a:lnTo>
                  <a:lnTo>
                    <a:pt x="15315" y="43106"/>
                  </a:lnTo>
                  <a:lnTo>
                    <a:pt x="14212" y="45663"/>
                  </a:lnTo>
                  <a:lnTo>
                    <a:pt x="13655" y="46278"/>
                  </a:lnTo>
                  <a:lnTo>
                    <a:pt x="12046" y="45926"/>
                  </a:lnTo>
                  <a:lnTo>
                    <a:pt x="12331" y="42289"/>
                  </a:lnTo>
                  <a:close/>
                  <a:moveTo>
                    <a:pt x="4462" y="19682"/>
                  </a:moveTo>
                  <a:lnTo>
                    <a:pt x="6023" y="22060"/>
                  </a:lnTo>
                  <a:lnTo>
                    <a:pt x="5244" y="23120"/>
                  </a:lnTo>
                  <a:lnTo>
                    <a:pt x="4855" y="23426"/>
                  </a:lnTo>
                  <a:lnTo>
                    <a:pt x="3913" y="23078"/>
                  </a:lnTo>
                  <a:lnTo>
                    <a:pt x="3015" y="23992"/>
                  </a:lnTo>
                  <a:lnTo>
                    <a:pt x="2156" y="24176"/>
                  </a:lnTo>
                  <a:lnTo>
                    <a:pt x="1293" y="22527"/>
                  </a:lnTo>
                  <a:lnTo>
                    <a:pt x="230" y="21870"/>
                  </a:lnTo>
                  <a:lnTo>
                    <a:pt x="0" y="20733"/>
                  </a:lnTo>
                  <a:lnTo>
                    <a:pt x="1422" y="20534"/>
                  </a:lnTo>
                  <a:lnTo>
                    <a:pt x="2277" y="20927"/>
                  </a:lnTo>
                  <a:lnTo>
                    <a:pt x="3879" y="20141"/>
                  </a:lnTo>
                  <a:close/>
                  <a:moveTo>
                    <a:pt x="12611" y="14777"/>
                  </a:moveTo>
                  <a:lnTo>
                    <a:pt x="13603" y="14864"/>
                  </a:lnTo>
                  <a:lnTo>
                    <a:pt x="15460" y="17813"/>
                  </a:lnTo>
                  <a:lnTo>
                    <a:pt x="20291" y="19642"/>
                  </a:lnTo>
                  <a:lnTo>
                    <a:pt x="21742" y="20076"/>
                  </a:lnTo>
                  <a:lnTo>
                    <a:pt x="23646" y="19350"/>
                  </a:lnTo>
                  <a:lnTo>
                    <a:pt x="24506" y="19808"/>
                  </a:lnTo>
                  <a:lnTo>
                    <a:pt x="25373" y="20560"/>
                  </a:lnTo>
                  <a:lnTo>
                    <a:pt x="25877" y="22659"/>
                  </a:lnTo>
                  <a:lnTo>
                    <a:pt x="27146" y="24573"/>
                  </a:lnTo>
                  <a:lnTo>
                    <a:pt x="29686" y="24301"/>
                  </a:lnTo>
                  <a:lnTo>
                    <a:pt x="30585" y="24575"/>
                  </a:lnTo>
                  <a:lnTo>
                    <a:pt x="31117" y="24635"/>
                  </a:lnTo>
                  <a:lnTo>
                    <a:pt x="31614" y="26334"/>
                  </a:lnTo>
                  <a:lnTo>
                    <a:pt x="31847" y="29272"/>
                  </a:lnTo>
                  <a:lnTo>
                    <a:pt x="31605" y="30985"/>
                  </a:lnTo>
                  <a:lnTo>
                    <a:pt x="29774" y="33432"/>
                  </a:lnTo>
                  <a:lnTo>
                    <a:pt x="29528" y="35099"/>
                  </a:lnTo>
                  <a:lnTo>
                    <a:pt x="30491" y="36131"/>
                  </a:lnTo>
                  <a:lnTo>
                    <a:pt x="31742" y="37232"/>
                  </a:lnTo>
                  <a:lnTo>
                    <a:pt x="32454" y="38078"/>
                  </a:lnTo>
                  <a:lnTo>
                    <a:pt x="33199" y="37938"/>
                  </a:lnTo>
                  <a:lnTo>
                    <a:pt x="34149" y="37368"/>
                  </a:lnTo>
                  <a:lnTo>
                    <a:pt x="35015" y="35928"/>
                  </a:lnTo>
                  <a:lnTo>
                    <a:pt x="35618" y="34693"/>
                  </a:lnTo>
                  <a:lnTo>
                    <a:pt x="38872" y="33310"/>
                  </a:lnTo>
                  <a:lnTo>
                    <a:pt x="42230" y="32066"/>
                  </a:lnTo>
                  <a:lnTo>
                    <a:pt x="42688" y="32193"/>
                  </a:lnTo>
                  <a:lnTo>
                    <a:pt x="43232" y="32745"/>
                  </a:lnTo>
                  <a:lnTo>
                    <a:pt x="44307" y="34545"/>
                  </a:lnTo>
                  <a:lnTo>
                    <a:pt x="44936" y="34927"/>
                  </a:lnTo>
                  <a:lnTo>
                    <a:pt x="45845" y="35109"/>
                  </a:lnTo>
                  <a:lnTo>
                    <a:pt x="47419" y="34915"/>
                  </a:lnTo>
                  <a:lnTo>
                    <a:pt x="49252" y="33895"/>
                  </a:lnTo>
                  <a:lnTo>
                    <a:pt x="50215" y="31986"/>
                  </a:lnTo>
                  <a:lnTo>
                    <a:pt x="50634" y="30477"/>
                  </a:lnTo>
                  <a:lnTo>
                    <a:pt x="53266" y="27874"/>
                  </a:lnTo>
                  <a:lnTo>
                    <a:pt x="53558" y="25921"/>
                  </a:lnTo>
                  <a:lnTo>
                    <a:pt x="54282" y="24643"/>
                  </a:lnTo>
                  <a:lnTo>
                    <a:pt x="58105" y="25505"/>
                  </a:lnTo>
                  <a:lnTo>
                    <a:pt x="59567" y="26202"/>
                  </a:lnTo>
                  <a:lnTo>
                    <a:pt x="63862" y="33069"/>
                  </a:lnTo>
                  <a:lnTo>
                    <a:pt x="69520" y="37897"/>
                  </a:lnTo>
                  <a:lnTo>
                    <a:pt x="71915" y="39696"/>
                  </a:lnTo>
                  <a:lnTo>
                    <a:pt x="73769" y="40558"/>
                  </a:lnTo>
                  <a:lnTo>
                    <a:pt x="76305" y="43141"/>
                  </a:lnTo>
                  <a:lnTo>
                    <a:pt x="78514" y="46385"/>
                  </a:lnTo>
                  <a:lnTo>
                    <a:pt x="83353" y="55515"/>
                  </a:lnTo>
                  <a:lnTo>
                    <a:pt x="84195" y="59522"/>
                  </a:lnTo>
                  <a:lnTo>
                    <a:pt x="84524" y="65642"/>
                  </a:lnTo>
                  <a:lnTo>
                    <a:pt x="83456" y="74865"/>
                  </a:lnTo>
                  <a:lnTo>
                    <a:pt x="82164" y="79465"/>
                  </a:lnTo>
                  <a:lnTo>
                    <a:pt x="82414" y="81636"/>
                  </a:lnTo>
                  <a:lnTo>
                    <a:pt x="84187" y="84968"/>
                  </a:lnTo>
                  <a:lnTo>
                    <a:pt x="83655" y="88113"/>
                  </a:lnTo>
                  <a:lnTo>
                    <a:pt x="83999" y="90724"/>
                  </a:lnTo>
                  <a:lnTo>
                    <a:pt x="83876" y="97972"/>
                  </a:lnTo>
                  <a:lnTo>
                    <a:pt x="84886" y="100108"/>
                  </a:lnTo>
                  <a:lnTo>
                    <a:pt x="86039" y="101476"/>
                  </a:lnTo>
                  <a:lnTo>
                    <a:pt x="92118" y="105775"/>
                  </a:lnTo>
                  <a:lnTo>
                    <a:pt x="92563" y="107368"/>
                  </a:lnTo>
                  <a:lnTo>
                    <a:pt x="95558" y="112839"/>
                  </a:lnTo>
                  <a:lnTo>
                    <a:pt x="101103" y="124748"/>
                  </a:lnTo>
                  <a:lnTo>
                    <a:pt x="102649" y="130104"/>
                  </a:lnTo>
                  <a:lnTo>
                    <a:pt x="102470" y="131544"/>
                  </a:lnTo>
                  <a:lnTo>
                    <a:pt x="101801" y="132141"/>
                  </a:lnTo>
                  <a:lnTo>
                    <a:pt x="100170" y="132665"/>
                  </a:lnTo>
                  <a:lnTo>
                    <a:pt x="98812" y="131617"/>
                  </a:lnTo>
                  <a:lnTo>
                    <a:pt x="98354" y="130867"/>
                  </a:lnTo>
                  <a:lnTo>
                    <a:pt x="98494" y="129935"/>
                  </a:lnTo>
                  <a:lnTo>
                    <a:pt x="97955" y="129018"/>
                  </a:lnTo>
                  <a:lnTo>
                    <a:pt x="96625" y="127923"/>
                  </a:lnTo>
                  <a:lnTo>
                    <a:pt x="95860" y="126942"/>
                  </a:lnTo>
                  <a:lnTo>
                    <a:pt x="96076" y="128570"/>
                  </a:lnTo>
                  <a:lnTo>
                    <a:pt x="96083" y="130677"/>
                  </a:lnTo>
                  <a:lnTo>
                    <a:pt x="94394" y="130856"/>
                  </a:lnTo>
                  <a:lnTo>
                    <a:pt x="92220" y="130195"/>
                  </a:lnTo>
                  <a:lnTo>
                    <a:pt x="89516" y="130790"/>
                  </a:lnTo>
                  <a:lnTo>
                    <a:pt x="86316" y="133374"/>
                  </a:lnTo>
                  <a:lnTo>
                    <a:pt x="84778" y="133448"/>
                  </a:lnTo>
                  <a:lnTo>
                    <a:pt x="83608" y="131228"/>
                  </a:lnTo>
                  <a:lnTo>
                    <a:pt x="83003" y="129724"/>
                  </a:lnTo>
                  <a:lnTo>
                    <a:pt x="82049" y="128656"/>
                  </a:lnTo>
                  <a:lnTo>
                    <a:pt x="71878" y="123211"/>
                  </a:lnTo>
                  <a:lnTo>
                    <a:pt x="68125" y="121812"/>
                  </a:lnTo>
                  <a:lnTo>
                    <a:pt x="64169" y="117680"/>
                  </a:lnTo>
                  <a:lnTo>
                    <a:pt x="55266" y="113120"/>
                  </a:lnTo>
                  <a:lnTo>
                    <a:pt x="49613" y="108675"/>
                  </a:lnTo>
                  <a:lnTo>
                    <a:pt x="47209" y="105928"/>
                  </a:lnTo>
                  <a:lnTo>
                    <a:pt x="41426" y="103492"/>
                  </a:lnTo>
                  <a:lnTo>
                    <a:pt x="38931" y="100620"/>
                  </a:lnTo>
                  <a:lnTo>
                    <a:pt x="37703" y="100055"/>
                  </a:lnTo>
                  <a:lnTo>
                    <a:pt x="36469" y="99032"/>
                  </a:lnTo>
                  <a:lnTo>
                    <a:pt x="37769" y="96245"/>
                  </a:lnTo>
                  <a:lnTo>
                    <a:pt x="37235" y="93338"/>
                  </a:lnTo>
                  <a:lnTo>
                    <a:pt x="36566" y="90886"/>
                  </a:lnTo>
                  <a:lnTo>
                    <a:pt x="32487" y="86043"/>
                  </a:lnTo>
                  <a:lnTo>
                    <a:pt x="30483" y="82663"/>
                  </a:lnTo>
                  <a:lnTo>
                    <a:pt x="26645" y="79298"/>
                  </a:lnTo>
                  <a:lnTo>
                    <a:pt x="25110" y="77355"/>
                  </a:lnTo>
                  <a:lnTo>
                    <a:pt x="23642" y="75101"/>
                  </a:lnTo>
                  <a:lnTo>
                    <a:pt x="24562" y="74313"/>
                  </a:lnTo>
                  <a:lnTo>
                    <a:pt x="25413" y="73835"/>
                  </a:lnTo>
                  <a:lnTo>
                    <a:pt x="24633" y="72200"/>
                  </a:lnTo>
                  <a:lnTo>
                    <a:pt x="22439" y="69353"/>
                  </a:lnTo>
                  <a:lnTo>
                    <a:pt x="21411" y="66081"/>
                  </a:lnTo>
                  <a:lnTo>
                    <a:pt x="21411" y="59904"/>
                  </a:lnTo>
                  <a:lnTo>
                    <a:pt x="18291" y="51215"/>
                  </a:lnTo>
                  <a:lnTo>
                    <a:pt x="15620" y="39166"/>
                  </a:lnTo>
                  <a:lnTo>
                    <a:pt x="16092" y="34945"/>
                  </a:lnTo>
                  <a:lnTo>
                    <a:pt x="15413" y="30370"/>
                  </a:lnTo>
                  <a:lnTo>
                    <a:pt x="13644" y="25969"/>
                  </a:lnTo>
                  <a:lnTo>
                    <a:pt x="11324" y="22823"/>
                  </a:lnTo>
                  <a:lnTo>
                    <a:pt x="10456" y="20209"/>
                  </a:lnTo>
                  <a:lnTo>
                    <a:pt x="10873" y="19172"/>
                  </a:lnTo>
                  <a:lnTo>
                    <a:pt x="11387" y="15777"/>
                  </a:lnTo>
                  <a:lnTo>
                    <a:pt x="11731" y="15105"/>
                  </a:lnTo>
                  <a:close/>
                  <a:moveTo>
                    <a:pt x="378779" y="8033"/>
                  </a:moveTo>
                  <a:lnTo>
                    <a:pt x="380035" y="8881"/>
                  </a:lnTo>
                  <a:lnTo>
                    <a:pt x="380407" y="11665"/>
                  </a:lnTo>
                  <a:lnTo>
                    <a:pt x="380234" y="12879"/>
                  </a:lnTo>
                  <a:lnTo>
                    <a:pt x="379476" y="14678"/>
                  </a:lnTo>
                  <a:lnTo>
                    <a:pt x="379042" y="16565"/>
                  </a:lnTo>
                  <a:lnTo>
                    <a:pt x="379579" y="16525"/>
                  </a:lnTo>
                  <a:lnTo>
                    <a:pt x="381810" y="15375"/>
                  </a:lnTo>
                  <a:lnTo>
                    <a:pt x="384138" y="12317"/>
                  </a:lnTo>
                  <a:lnTo>
                    <a:pt x="385451" y="9663"/>
                  </a:lnTo>
                  <a:lnTo>
                    <a:pt x="386570" y="8507"/>
                  </a:lnTo>
                  <a:lnTo>
                    <a:pt x="388811" y="9149"/>
                  </a:lnTo>
                  <a:lnTo>
                    <a:pt x="389310" y="9610"/>
                  </a:lnTo>
                  <a:lnTo>
                    <a:pt x="389153" y="11517"/>
                  </a:lnTo>
                  <a:lnTo>
                    <a:pt x="389366" y="12626"/>
                  </a:lnTo>
                  <a:lnTo>
                    <a:pt x="390230" y="14993"/>
                  </a:lnTo>
                  <a:lnTo>
                    <a:pt x="392138" y="16428"/>
                  </a:lnTo>
                  <a:lnTo>
                    <a:pt x="394767" y="17334"/>
                  </a:lnTo>
                  <a:lnTo>
                    <a:pt x="397209" y="18640"/>
                  </a:lnTo>
                  <a:lnTo>
                    <a:pt x="398005" y="19505"/>
                  </a:lnTo>
                  <a:lnTo>
                    <a:pt x="398535" y="20547"/>
                  </a:lnTo>
                  <a:lnTo>
                    <a:pt x="399068" y="22251"/>
                  </a:lnTo>
                  <a:lnTo>
                    <a:pt x="399109" y="23975"/>
                  </a:lnTo>
                  <a:lnTo>
                    <a:pt x="397347" y="25657"/>
                  </a:lnTo>
                  <a:lnTo>
                    <a:pt x="398096" y="28386"/>
                  </a:lnTo>
                  <a:lnTo>
                    <a:pt x="397980" y="29978"/>
                  </a:lnTo>
                  <a:lnTo>
                    <a:pt x="397375" y="31335"/>
                  </a:lnTo>
                  <a:lnTo>
                    <a:pt x="394810" y="32578"/>
                  </a:lnTo>
                  <a:lnTo>
                    <a:pt x="401808" y="31341"/>
                  </a:lnTo>
                  <a:lnTo>
                    <a:pt x="403536" y="30635"/>
                  </a:lnTo>
                  <a:lnTo>
                    <a:pt x="405924" y="28836"/>
                  </a:lnTo>
                  <a:lnTo>
                    <a:pt x="407205" y="30387"/>
                  </a:lnTo>
                  <a:lnTo>
                    <a:pt x="408401" y="33070"/>
                  </a:lnTo>
                  <a:lnTo>
                    <a:pt x="407438" y="33745"/>
                  </a:lnTo>
                  <a:lnTo>
                    <a:pt x="404397" y="34734"/>
                  </a:lnTo>
                  <a:lnTo>
                    <a:pt x="404249" y="35140"/>
                  </a:lnTo>
                  <a:lnTo>
                    <a:pt x="405257" y="36536"/>
                  </a:lnTo>
                  <a:lnTo>
                    <a:pt x="406529" y="36406"/>
                  </a:lnTo>
                  <a:lnTo>
                    <a:pt x="409038" y="35473"/>
                  </a:lnTo>
                  <a:lnTo>
                    <a:pt x="411349" y="34001"/>
                  </a:lnTo>
                  <a:lnTo>
                    <a:pt x="412470" y="34019"/>
                  </a:lnTo>
                  <a:lnTo>
                    <a:pt x="413648" y="34322"/>
                  </a:lnTo>
                  <a:lnTo>
                    <a:pt x="415931" y="35268"/>
                  </a:lnTo>
                  <a:lnTo>
                    <a:pt x="417209" y="36034"/>
                  </a:lnTo>
                  <a:lnTo>
                    <a:pt x="418291" y="37018"/>
                  </a:lnTo>
                  <a:lnTo>
                    <a:pt x="418993" y="39069"/>
                  </a:lnTo>
                  <a:lnTo>
                    <a:pt x="421621" y="39812"/>
                  </a:lnTo>
                  <a:lnTo>
                    <a:pt x="427008" y="42685"/>
                  </a:lnTo>
                  <a:lnTo>
                    <a:pt x="428008" y="42934"/>
                  </a:lnTo>
                  <a:lnTo>
                    <a:pt x="429058" y="42991"/>
                  </a:lnTo>
                  <a:lnTo>
                    <a:pt x="431897" y="42643"/>
                  </a:lnTo>
                  <a:lnTo>
                    <a:pt x="432893" y="43048"/>
                  </a:lnTo>
                  <a:lnTo>
                    <a:pt x="433603" y="44084"/>
                  </a:lnTo>
                  <a:lnTo>
                    <a:pt x="433841" y="45366"/>
                  </a:lnTo>
                  <a:lnTo>
                    <a:pt x="433763" y="46746"/>
                  </a:lnTo>
                  <a:lnTo>
                    <a:pt x="433474" y="47791"/>
                  </a:lnTo>
                  <a:lnTo>
                    <a:pt x="432809" y="48654"/>
                  </a:lnTo>
                  <a:lnTo>
                    <a:pt x="430876" y="49969"/>
                  </a:lnTo>
                  <a:lnTo>
                    <a:pt x="426018" y="51689"/>
                  </a:lnTo>
                  <a:lnTo>
                    <a:pt x="420701" y="52993"/>
                  </a:lnTo>
                  <a:lnTo>
                    <a:pt x="418032" y="52903"/>
                  </a:lnTo>
                  <a:lnTo>
                    <a:pt x="414284" y="51786"/>
                  </a:lnTo>
                  <a:lnTo>
                    <a:pt x="412916" y="51931"/>
                  </a:lnTo>
                  <a:lnTo>
                    <a:pt x="411602" y="52443"/>
                  </a:lnTo>
                  <a:lnTo>
                    <a:pt x="409938" y="55997"/>
                  </a:lnTo>
                  <a:lnTo>
                    <a:pt x="413009" y="59539"/>
                  </a:lnTo>
                  <a:lnTo>
                    <a:pt x="418278" y="63230"/>
                  </a:lnTo>
                  <a:lnTo>
                    <a:pt x="419000" y="64149"/>
                  </a:lnTo>
                  <a:lnTo>
                    <a:pt x="418805" y="65279"/>
                  </a:lnTo>
                  <a:lnTo>
                    <a:pt x="417965" y="65952"/>
                  </a:lnTo>
                  <a:lnTo>
                    <a:pt x="416853" y="66327"/>
                  </a:lnTo>
                  <a:lnTo>
                    <a:pt x="413891" y="66916"/>
                  </a:lnTo>
                  <a:lnTo>
                    <a:pt x="410898" y="67353"/>
                  </a:lnTo>
                  <a:lnTo>
                    <a:pt x="408434" y="67983"/>
                  </a:lnTo>
                  <a:lnTo>
                    <a:pt x="406021" y="68810"/>
                  </a:lnTo>
                  <a:lnTo>
                    <a:pt x="403532" y="68529"/>
                  </a:lnTo>
                  <a:lnTo>
                    <a:pt x="400113" y="66876"/>
                  </a:lnTo>
                  <a:lnTo>
                    <a:pt x="399129" y="66760"/>
                  </a:lnTo>
                  <a:lnTo>
                    <a:pt x="398096" y="67608"/>
                  </a:lnTo>
                  <a:lnTo>
                    <a:pt x="397079" y="69923"/>
                  </a:lnTo>
                  <a:lnTo>
                    <a:pt x="396430" y="70574"/>
                  </a:lnTo>
                  <a:lnTo>
                    <a:pt x="395609" y="70557"/>
                  </a:lnTo>
                  <a:lnTo>
                    <a:pt x="393698" y="70081"/>
                  </a:lnTo>
                  <a:lnTo>
                    <a:pt x="389865" y="67723"/>
                  </a:lnTo>
                  <a:lnTo>
                    <a:pt x="385952" y="66887"/>
                  </a:lnTo>
                  <a:lnTo>
                    <a:pt x="380269" y="66819"/>
                  </a:lnTo>
                  <a:lnTo>
                    <a:pt x="377047" y="66490"/>
                  </a:lnTo>
                  <a:lnTo>
                    <a:pt x="375739" y="66842"/>
                  </a:lnTo>
                  <a:lnTo>
                    <a:pt x="374641" y="66857"/>
                  </a:lnTo>
                  <a:lnTo>
                    <a:pt x="373847" y="66382"/>
                  </a:lnTo>
                  <a:lnTo>
                    <a:pt x="372998" y="66139"/>
                  </a:lnTo>
                  <a:lnTo>
                    <a:pt x="370782" y="67526"/>
                  </a:lnTo>
                  <a:lnTo>
                    <a:pt x="369746" y="67102"/>
                  </a:lnTo>
                  <a:lnTo>
                    <a:pt x="368699" y="66518"/>
                  </a:lnTo>
                  <a:lnTo>
                    <a:pt x="366839" y="66322"/>
                  </a:lnTo>
                  <a:lnTo>
                    <a:pt x="364589" y="66486"/>
                  </a:lnTo>
                  <a:lnTo>
                    <a:pt x="362093" y="67915"/>
                  </a:lnTo>
                  <a:lnTo>
                    <a:pt x="359320" y="66630"/>
                  </a:lnTo>
                  <a:lnTo>
                    <a:pt x="358537" y="66644"/>
                  </a:lnTo>
                  <a:lnTo>
                    <a:pt x="358007" y="66970"/>
                  </a:lnTo>
                  <a:lnTo>
                    <a:pt x="356805" y="68732"/>
                  </a:lnTo>
                  <a:lnTo>
                    <a:pt x="354514" y="70078"/>
                  </a:lnTo>
                  <a:lnTo>
                    <a:pt x="353380" y="72537"/>
                  </a:lnTo>
                  <a:lnTo>
                    <a:pt x="352684" y="74895"/>
                  </a:lnTo>
                  <a:lnTo>
                    <a:pt x="352073" y="75709"/>
                  </a:lnTo>
                  <a:lnTo>
                    <a:pt x="351908" y="80264"/>
                  </a:lnTo>
                  <a:lnTo>
                    <a:pt x="351545" y="82464"/>
                  </a:lnTo>
                  <a:lnTo>
                    <a:pt x="352123" y="85373"/>
                  </a:lnTo>
                  <a:lnTo>
                    <a:pt x="352021" y="86625"/>
                  </a:lnTo>
                  <a:lnTo>
                    <a:pt x="351000" y="88486"/>
                  </a:lnTo>
                  <a:lnTo>
                    <a:pt x="350875" y="88913"/>
                  </a:lnTo>
                  <a:lnTo>
                    <a:pt x="350333" y="91874"/>
                  </a:lnTo>
                  <a:lnTo>
                    <a:pt x="350540" y="92660"/>
                  </a:lnTo>
                  <a:lnTo>
                    <a:pt x="350408" y="93656"/>
                  </a:lnTo>
                  <a:lnTo>
                    <a:pt x="349551" y="95732"/>
                  </a:lnTo>
                  <a:lnTo>
                    <a:pt x="347998" y="96298"/>
                  </a:lnTo>
                  <a:lnTo>
                    <a:pt x="346362" y="96626"/>
                  </a:lnTo>
                  <a:lnTo>
                    <a:pt x="344965" y="95918"/>
                  </a:lnTo>
                  <a:lnTo>
                    <a:pt x="343703" y="97057"/>
                  </a:lnTo>
                  <a:lnTo>
                    <a:pt x="342103" y="98818"/>
                  </a:lnTo>
                  <a:lnTo>
                    <a:pt x="341413" y="100008"/>
                  </a:lnTo>
                  <a:lnTo>
                    <a:pt x="341417" y="101112"/>
                  </a:lnTo>
                  <a:lnTo>
                    <a:pt x="341574" y="101851"/>
                  </a:lnTo>
                  <a:lnTo>
                    <a:pt x="341248" y="102612"/>
                  </a:lnTo>
                  <a:lnTo>
                    <a:pt x="341207" y="103418"/>
                  </a:lnTo>
                  <a:lnTo>
                    <a:pt x="341290" y="104586"/>
                  </a:lnTo>
                  <a:lnTo>
                    <a:pt x="342376" y="105069"/>
                  </a:lnTo>
                  <a:lnTo>
                    <a:pt x="343503" y="106076"/>
                  </a:lnTo>
                  <a:lnTo>
                    <a:pt x="343464" y="107043"/>
                  </a:lnTo>
                  <a:lnTo>
                    <a:pt x="342838" y="107712"/>
                  </a:lnTo>
                  <a:lnTo>
                    <a:pt x="341417" y="108747"/>
                  </a:lnTo>
                  <a:lnTo>
                    <a:pt x="338822" y="110856"/>
                  </a:lnTo>
                  <a:lnTo>
                    <a:pt x="335884" y="112658"/>
                  </a:lnTo>
                  <a:lnTo>
                    <a:pt x="334781" y="113076"/>
                  </a:lnTo>
                  <a:lnTo>
                    <a:pt x="334381" y="113907"/>
                  </a:lnTo>
                  <a:lnTo>
                    <a:pt x="334168" y="115025"/>
                  </a:lnTo>
                  <a:lnTo>
                    <a:pt x="334816" y="117475"/>
                  </a:lnTo>
                  <a:lnTo>
                    <a:pt x="335431" y="118198"/>
                  </a:lnTo>
                  <a:lnTo>
                    <a:pt x="335757" y="119059"/>
                  </a:lnTo>
                  <a:lnTo>
                    <a:pt x="335362" y="120082"/>
                  </a:lnTo>
                  <a:lnTo>
                    <a:pt x="335081" y="120963"/>
                  </a:lnTo>
                  <a:lnTo>
                    <a:pt x="333999" y="121515"/>
                  </a:lnTo>
                  <a:lnTo>
                    <a:pt x="332948" y="121918"/>
                  </a:lnTo>
                  <a:lnTo>
                    <a:pt x="332564" y="122620"/>
                  </a:lnTo>
                  <a:lnTo>
                    <a:pt x="332006" y="125557"/>
                  </a:lnTo>
                  <a:lnTo>
                    <a:pt x="331372" y="127088"/>
                  </a:lnTo>
                  <a:lnTo>
                    <a:pt x="329940" y="129363"/>
                  </a:lnTo>
                  <a:lnTo>
                    <a:pt x="329462" y="130403"/>
                  </a:lnTo>
                  <a:lnTo>
                    <a:pt x="328724" y="130738"/>
                  </a:lnTo>
                  <a:lnTo>
                    <a:pt x="325952" y="129675"/>
                  </a:lnTo>
                  <a:lnTo>
                    <a:pt x="323466" y="130320"/>
                  </a:lnTo>
                  <a:lnTo>
                    <a:pt x="320177" y="130731"/>
                  </a:lnTo>
                  <a:lnTo>
                    <a:pt x="317392" y="130666"/>
                  </a:lnTo>
                  <a:lnTo>
                    <a:pt x="315232" y="131130"/>
                  </a:lnTo>
                  <a:lnTo>
                    <a:pt x="313749" y="132333"/>
                  </a:lnTo>
                  <a:lnTo>
                    <a:pt x="312092" y="133848"/>
                  </a:lnTo>
                  <a:lnTo>
                    <a:pt x="310352" y="134971"/>
                  </a:lnTo>
                  <a:lnTo>
                    <a:pt x="309039" y="135517"/>
                  </a:lnTo>
                  <a:lnTo>
                    <a:pt x="306627" y="133914"/>
                  </a:lnTo>
                  <a:lnTo>
                    <a:pt x="305411" y="134052"/>
                  </a:lnTo>
                  <a:lnTo>
                    <a:pt x="303217" y="133500"/>
                  </a:lnTo>
                  <a:lnTo>
                    <a:pt x="298071" y="131709"/>
                  </a:lnTo>
                  <a:lnTo>
                    <a:pt x="296798" y="131185"/>
                  </a:lnTo>
                  <a:lnTo>
                    <a:pt x="295424" y="131139"/>
                  </a:lnTo>
                  <a:lnTo>
                    <a:pt x="295020" y="130625"/>
                  </a:lnTo>
                  <a:lnTo>
                    <a:pt x="295237" y="129760"/>
                  </a:lnTo>
                  <a:lnTo>
                    <a:pt x="295020" y="128625"/>
                  </a:lnTo>
                  <a:lnTo>
                    <a:pt x="294019" y="128195"/>
                  </a:lnTo>
                  <a:lnTo>
                    <a:pt x="283697" y="128370"/>
                  </a:lnTo>
                  <a:lnTo>
                    <a:pt x="280721" y="129351"/>
                  </a:lnTo>
                  <a:lnTo>
                    <a:pt x="278710" y="130127"/>
                  </a:lnTo>
                  <a:lnTo>
                    <a:pt x="277275" y="131024"/>
                  </a:lnTo>
                  <a:lnTo>
                    <a:pt x="276869" y="133256"/>
                  </a:lnTo>
                  <a:lnTo>
                    <a:pt x="276011" y="135347"/>
                  </a:lnTo>
                  <a:lnTo>
                    <a:pt x="274904" y="137564"/>
                  </a:lnTo>
                  <a:lnTo>
                    <a:pt x="271467" y="138229"/>
                  </a:lnTo>
                  <a:lnTo>
                    <a:pt x="268944" y="140476"/>
                  </a:lnTo>
                  <a:lnTo>
                    <a:pt x="268075" y="140746"/>
                  </a:lnTo>
                  <a:lnTo>
                    <a:pt x="266341" y="140420"/>
                  </a:lnTo>
                  <a:lnTo>
                    <a:pt x="264487" y="140235"/>
                  </a:lnTo>
                  <a:lnTo>
                    <a:pt x="263143" y="140860"/>
                  </a:lnTo>
                  <a:lnTo>
                    <a:pt x="261740" y="140828"/>
                  </a:lnTo>
                  <a:lnTo>
                    <a:pt x="257395" y="139779"/>
                  </a:lnTo>
                  <a:lnTo>
                    <a:pt x="253297" y="139617"/>
                  </a:lnTo>
                  <a:lnTo>
                    <a:pt x="250969" y="140151"/>
                  </a:lnTo>
                  <a:lnTo>
                    <a:pt x="249687" y="140351"/>
                  </a:lnTo>
                  <a:lnTo>
                    <a:pt x="242537" y="143430"/>
                  </a:lnTo>
                  <a:lnTo>
                    <a:pt x="240127" y="143787"/>
                  </a:lnTo>
                  <a:lnTo>
                    <a:pt x="239146" y="143342"/>
                  </a:lnTo>
                  <a:lnTo>
                    <a:pt x="237766" y="142082"/>
                  </a:lnTo>
                  <a:lnTo>
                    <a:pt x="235914" y="140823"/>
                  </a:lnTo>
                  <a:lnTo>
                    <a:pt x="231481" y="136530"/>
                  </a:lnTo>
                  <a:lnTo>
                    <a:pt x="229846" y="135521"/>
                  </a:lnTo>
                  <a:lnTo>
                    <a:pt x="228759" y="134485"/>
                  </a:lnTo>
                  <a:lnTo>
                    <a:pt x="227725" y="133259"/>
                  </a:lnTo>
                  <a:lnTo>
                    <a:pt x="226257" y="131936"/>
                  </a:lnTo>
                  <a:lnTo>
                    <a:pt x="224920" y="131027"/>
                  </a:lnTo>
                  <a:lnTo>
                    <a:pt x="223100" y="129169"/>
                  </a:lnTo>
                  <a:lnTo>
                    <a:pt x="221292" y="127136"/>
                  </a:lnTo>
                  <a:lnTo>
                    <a:pt x="220891" y="123558"/>
                  </a:lnTo>
                  <a:lnTo>
                    <a:pt x="219453" y="122902"/>
                  </a:lnTo>
                  <a:lnTo>
                    <a:pt x="218969" y="121972"/>
                  </a:lnTo>
                  <a:lnTo>
                    <a:pt x="218748" y="120914"/>
                  </a:lnTo>
                  <a:lnTo>
                    <a:pt x="220737" y="118008"/>
                  </a:lnTo>
                  <a:lnTo>
                    <a:pt x="222184" y="121078"/>
                  </a:lnTo>
                  <a:lnTo>
                    <a:pt x="222743" y="121762"/>
                  </a:lnTo>
                  <a:lnTo>
                    <a:pt x="225955" y="123827"/>
                  </a:lnTo>
                  <a:lnTo>
                    <a:pt x="228602" y="124863"/>
                  </a:lnTo>
                  <a:lnTo>
                    <a:pt x="231465" y="125284"/>
                  </a:lnTo>
                  <a:lnTo>
                    <a:pt x="234381" y="125370"/>
                  </a:lnTo>
                  <a:lnTo>
                    <a:pt x="235540" y="125227"/>
                  </a:lnTo>
                  <a:lnTo>
                    <a:pt x="236665" y="124817"/>
                  </a:lnTo>
                  <a:lnTo>
                    <a:pt x="237777" y="125256"/>
                  </a:lnTo>
                  <a:lnTo>
                    <a:pt x="243873" y="128614"/>
                  </a:lnTo>
                  <a:lnTo>
                    <a:pt x="246236" y="129215"/>
                  </a:lnTo>
                  <a:lnTo>
                    <a:pt x="248732" y="128958"/>
                  </a:lnTo>
                  <a:lnTo>
                    <a:pt x="249727" y="129293"/>
                  </a:lnTo>
                  <a:lnTo>
                    <a:pt x="253232" y="131869"/>
                  </a:lnTo>
                  <a:lnTo>
                    <a:pt x="254266" y="132177"/>
                  </a:lnTo>
                  <a:lnTo>
                    <a:pt x="255992" y="131980"/>
                  </a:lnTo>
                  <a:lnTo>
                    <a:pt x="253785" y="130804"/>
                  </a:lnTo>
                  <a:lnTo>
                    <a:pt x="252338" y="129972"/>
                  </a:lnTo>
                  <a:lnTo>
                    <a:pt x="251690" y="128398"/>
                  </a:lnTo>
                  <a:lnTo>
                    <a:pt x="252086" y="126721"/>
                  </a:lnTo>
                  <a:lnTo>
                    <a:pt x="253491" y="125605"/>
                  </a:lnTo>
                  <a:lnTo>
                    <a:pt x="254465" y="124396"/>
                  </a:lnTo>
                  <a:lnTo>
                    <a:pt x="254815" y="120778"/>
                  </a:lnTo>
                  <a:lnTo>
                    <a:pt x="255434" y="118947"/>
                  </a:lnTo>
                  <a:lnTo>
                    <a:pt x="256603" y="117205"/>
                  </a:lnTo>
                  <a:lnTo>
                    <a:pt x="256985" y="115526"/>
                  </a:lnTo>
                  <a:lnTo>
                    <a:pt x="255674" y="114245"/>
                  </a:lnTo>
                  <a:lnTo>
                    <a:pt x="255379" y="112043"/>
                  </a:lnTo>
                  <a:lnTo>
                    <a:pt x="255668" y="110219"/>
                  </a:lnTo>
                  <a:lnTo>
                    <a:pt x="256410" y="108978"/>
                  </a:lnTo>
                  <a:lnTo>
                    <a:pt x="257599" y="109795"/>
                  </a:lnTo>
                  <a:lnTo>
                    <a:pt x="258825" y="110555"/>
                  </a:lnTo>
                  <a:lnTo>
                    <a:pt x="260036" y="110479"/>
                  </a:lnTo>
                  <a:lnTo>
                    <a:pt x="260870" y="110177"/>
                  </a:lnTo>
                  <a:lnTo>
                    <a:pt x="261023" y="109236"/>
                  </a:lnTo>
                  <a:lnTo>
                    <a:pt x="260794" y="107598"/>
                  </a:lnTo>
                  <a:lnTo>
                    <a:pt x="260857" y="104584"/>
                  </a:lnTo>
                  <a:lnTo>
                    <a:pt x="262387" y="102178"/>
                  </a:lnTo>
                  <a:lnTo>
                    <a:pt x="264837" y="100520"/>
                  </a:lnTo>
                  <a:lnTo>
                    <a:pt x="267147" y="99727"/>
                  </a:lnTo>
                  <a:lnTo>
                    <a:pt x="275795" y="98379"/>
                  </a:lnTo>
                  <a:lnTo>
                    <a:pt x="289471" y="94932"/>
                  </a:lnTo>
                  <a:lnTo>
                    <a:pt x="293522" y="93599"/>
                  </a:lnTo>
                  <a:lnTo>
                    <a:pt x="295012" y="92908"/>
                  </a:lnTo>
                  <a:lnTo>
                    <a:pt x="296268" y="91949"/>
                  </a:lnTo>
                  <a:lnTo>
                    <a:pt x="298381" y="88888"/>
                  </a:lnTo>
                  <a:lnTo>
                    <a:pt x="302358" y="84063"/>
                  </a:lnTo>
                  <a:lnTo>
                    <a:pt x="305144" y="80098"/>
                  </a:lnTo>
                  <a:lnTo>
                    <a:pt x="311026" y="74322"/>
                  </a:lnTo>
                  <a:lnTo>
                    <a:pt x="315710" y="68966"/>
                  </a:lnTo>
                  <a:lnTo>
                    <a:pt x="316342" y="67958"/>
                  </a:lnTo>
                  <a:lnTo>
                    <a:pt x="317121" y="65034"/>
                  </a:lnTo>
                  <a:lnTo>
                    <a:pt x="317180" y="63658"/>
                  </a:lnTo>
                  <a:lnTo>
                    <a:pt x="317044" y="62263"/>
                  </a:lnTo>
                  <a:lnTo>
                    <a:pt x="317668" y="61610"/>
                  </a:lnTo>
                  <a:lnTo>
                    <a:pt x="318577" y="61220"/>
                  </a:lnTo>
                  <a:lnTo>
                    <a:pt x="318804" y="61224"/>
                  </a:lnTo>
                  <a:lnTo>
                    <a:pt x="319495" y="61832"/>
                  </a:lnTo>
                  <a:lnTo>
                    <a:pt x="321125" y="62680"/>
                  </a:lnTo>
                  <a:lnTo>
                    <a:pt x="322347" y="63767"/>
                  </a:lnTo>
                  <a:lnTo>
                    <a:pt x="323164" y="65177"/>
                  </a:lnTo>
                  <a:lnTo>
                    <a:pt x="323751" y="66496"/>
                  </a:lnTo>
                  <a:lnTo>
                    <a:pt x="323796" y="67615"/>
                  </a:lnTo>
                  <a:lnTo>
                    <a:pt x="324532" y="68532"/>
                  </a:lnTo>
                  <a:lnTo>
                    <a:pt x="326604" y="68686"/>
                  </a:lnTo>
                  <a:lnTo>
                    <a:pt x="327277" y="69844"/>
                  </a:lnTo>
                  <a:lnTo>
                    <a:pt x="328717" y="71838"/>
                  </a:lnTo>
                  <a:lnTo>
                    <a:pt x="330034" y="73266"/>
                  </a:lnTo>
                  <a:lnTo>
                    <a:pt x="330842" y="73822"/>
                  </a:lnTo>
                  <a:lnTo>
                    <a:pt x="331855" y="73519"/>
                  </a:lnTo>
                  <a:lnTo>
                    <a:pt x="333423" y="72215"/>
                  </a:lnTo>
                  <a:lnTo>
                    <a:pt x="334554" y="70614"/>
                  </a:lnTo>
                  <a:lnTo>
                    <a:pt x="335312" y="68450"/>
                  </a:lnTo>
                  <a:lnTo>
                    <a:pt x="334716" y="68134"/>
                  </a:lnTo>
                  <a:lnTo>
                    <a:pt x="335768" y="66501"/>
                  </a:lnTo>
                  <a:lnTo>
                    <a:pt x="335971" y="65643"/>
                  </a:lnTo>
                  <a:lnTo>
                    <a:pt x="335485" y="64855"/>
                  </a:lnTo>
                  <a:lnTo>
                    <a:pt x="334864" y="64077"/>
                  </a:lnTo>
                  <a:lnTo>
                    <a:pt x="334623" y="62102"/>
                  </a:lnTo>
                  <a:lnTo>
                    <a:pt x="334196" y="59588"/>
                  </a:lnTo>
                  <a:lnTo>
                    <a:pt x="333902" y="58445"/>
                  </a:lnTo>
                  <a:lnTo>
                    <a:pt x="334732" y="57631"/>
                  </a:lnTo>
                  <a:lnTo>
                    <a:pt x="336508" y="56591"/>
                  </a:lnTo>
                  <a:lnTo>
                    <a:pt x="338281" y="55383"/>
                  </a:lnTo>
                  <a:lnTo>
                    <a:pt x="340095" y="54420"/>
                  </a:lnTo>
                  <a:lnTo>
                    <a:pt x="340141" y="56161"/>
                  </a:lnTo>
                  <a:lnTo>
                    <a:pt x="340095" y="59037"/>
                  </a:lnTo>
                  <a:lnTo>
                    <a:pt x="340644" y="61446"/>
                  </a:lnTo>
                  <a:lnTo>
                    <a:pt x="341870" y="65705"/>
                  </a:lnTo>
                  <a:lnTo>
                    <a:pt x="343276" y="66286"/>
                  </a:lnTo>
                  <a:lnTo>
                    <a:pt x="344958" y="66662"/>
                  </a:lnTo>
                  <a:lnTo>
                    <a:pt x="345930" y="66543"/>
                  </a:lnTo>
                  <a:lnTo>
                    <a:pt x="346563" y="66262"/>
                  </a:lnTo>
                  <a:lnTo>
                    <a:pt x="346729" y="65919"/>
                  </a:lnTo>
                  <a:lnTo>
                    <a:pt x="345679" y="64244"/>
                  </a:lnTo>
                  <a:lnTo>
                    <a:pt x="345401" y="60308"/>
                  </a:lnTo>
                  <a:lnTo>
                    <a:pt x="344544" y="57725"/>
                  </a:lnTo>
                  <a:lnTo>
                    <a:pt x="343228" y="55151"/>
                  </a:lnTo>
                  <a:lnTo>
                    <a:pt x="342600" y="54419"/>
                  </a:lnTo>
                  <a:lnTo>
                    <a:pt x="347794" y="53687"/>
                  </a:lnTo>
                  <a:lnTo>
                    <a:pt x="348960" y="52880"/>
                  </a:lnTo>
                  <a:lnTo>
                    <a:pt x="350998" y="51112"/>
                  </a:lnTo>
                  <a:lnTo>
                    <a:pt x="351765" y="50123"/>
                  </a:lnTo>
                  <a:lnTo>
                    <a:pt x="352373" y="47893"/>
                  </a:lnTo>
                  <a:lnTo>
                    <a:pt x="349828" y="46564"/>
                  </a:lnTo>
                  <a:lnTo>
                    <a:pt x="348828" y="44869"/>
                  </a:lnTo>
                  <a:lnTo>
                    <a:pt x="348770" y="43036"/>
                  </a:lnTo>
                  <a:lnTo>
                    <a:pt x="351808" y="39632"/>
                  </a:lnTo>
                  <a:lnTo>
                    <a:pt x="352857" y="38817"/>
                  </a:lnTo>
                  <a:lnTo>
                    <a:pt x="353313" y="40027"/>
                  </a:lnTo>
                  <a:lnTo>
                    <a:pt x="354652" y="40332"/>
                  </a:lnTo>
                  <a:lnTo>
                    <a:pt x="355885" y="40379"/>
                  </a:lnTo>
                  <a:lnTo>
                    <a:pt x="357124" y="40310"/>
                  </a:lnTo>
                  <a:lnTo>
                    <a:pt x="358899" y="38593"/>
                  </a:lnTo>
                  <a:lnTo>
                    <a:pt x="359812" y="36122"/>
                  </a:lnTo>
                  <a:lnTo>
                    <a:pt x="362937" y="32629"/>
                  </a:lnTo>
                  <a:lnTo>
                    <a:pt x="364049" y="29947"/>
                  </a:lnTo>
                  <a:lnTo>
                    <a:pt x="364676" y="27145"/>
                  </a:lnTo>
                  <a:lnTo>
                    <a:pt x="372555" y="18439"/>
                  </a:lnTo>
                  <a:lnTo>
                    <a:pt x="373519" y="17084"/>
                  </a:lnTo>
                  <a:lnTo>
                    <a:pt x="378196" y="8324"/>
                  </a:lnTo>
                  <a:close/>
                  <a:moveTo>
                    <a:pt x="389567" y="0"/>
                  </a:moveTo>
                  <a:lnTo>
                    <a:pt x="389936" y="1357"/>
                  </a:lnTo>
                  <a:lnTo>
                    <a:pt x="389627" y="2909"/>
                  </a:lnTo>
                  <a:lnTo>
                    <a:pt x="389021" y="3710"/>
                  </a:lnTo>
                  <a:lnTo>
                    <a:pt x="386859" y="4078"/>
                  </a:lnTo>
                  <a:lnTo>
                    <a:pt x="385512" y="5254"/>
                  </a:lnTo>
                  <a:lnTo>
                    <a:pt x="385058" y="3841"/>
                  </a:lnTo>
                  <a:lnTo>
                    <a:pt x="385149" y="2022"/>
                  </a:lnTo>
                  <a:lnTo>
                    <a:pt x="386975" y="326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92" name="ee4p_NP_1_37365">
              <a:extLst>
                <a:ext uri="{FF2B5EF4-FFF2-40B4-BE49-F238E27FC236}">
                  <a16:creationId xmlns:a16="http://schemas.microsoft.com/office/drawing/2014/main" id="{EDEB58FF-9821-B788-FDC5-D862E3479709}"/>
                </a:ext>
              </a:extLst>
            </p:cNvPr>
            <p:cNvSpPr>
              <a:spLocks noChangeAspect="1"/>
            </p:cNvSpPr>
            <p:nvPr>
              <p:custDataLst>
                <p:tags r:id="rId246"/>
              </p:custDataLst>
            </p:nvPr>
          </p:nvSpPr>
          <p:spPr>
            <a:xfrm>
              <a:off x="8737682" y="3781723"/>
              <a:ext cx="225207" cy="124545"/>
            </a:xfrm>
            <a:custGeom>
              <a:avLst/>
              <a:gdLst/>
              <a:ahLst/>
              <a:cxnLst/>
              <a:rect l="0" t="0" r="0" b="0"/>
              <a:pathLst>
                <a:path w="179327" h="96544">
                  <a:moveTo>
                    <a:pt x="178182" y="60601"/>
                  </a:moveTo>
                  <a:lnTo>
                    <a:pt x="179078" y="61253"/>
                  </a:lnTo>
                  <a:lnTo>
                    <a:pt x="179166" y="62319"/>
                  </a:lnTo>
                  <a:lnTo>
                    <a:pt x="179005" y="63501"/>
                  </a:lnTo>
                  <a:lnTo>
                    <a:pt x="178089" y="66051"/>
                  </a:lnTo>
                  <a:lnTo>
                    <a:pt x="177256" y="67841"/>
                  </a:lnTo>
                  <a:lnTo>
                    <a:pt x="176288" y="71621"/>
                  </a:lnTo>
                  <a:lnTo>
                    <a:pt x="175409" y="78170"/>
                  </a:lnTo>
                  <a:lnTo>
                    <a:pt x="175603" y="79309"/>
                  </a:lnTo>
                  <a:lnTo>
                    <a:pt x="178210" y="83057"/>
                  </a:lnTo>
                  <a:lnTo>
                    <a:pt x="179231" y="85936"/>
                  </a:lnTo>
                  <a:lnTo>
                    <a:pt x="179326" y="87896"/>
                  </a:lnTo>
                  <a:lnTo>
                    <a:pt x="178221" y="91181"/>
                  </a:lnTo>
                  <a:lnTo>
                    <a:pt x="176968" y="94890"/>
                  </a:lnTo>
                  <a:lnTo>
                    <a:pt x="176351" y="95720"/>
                  </a:lnTo>
                  <a:lnTo>
                    <a:pt x="175647" y="96020"/>
                  </a:lnTo>
                  <a:lnTo>
                    <a:pt x="172421" y="94727"/>
                  </a:lnTo>
                  <a:lnTo>
                    <a:pt x="170201" y="94908"/>
                  </a:lnTo>
                  <a:lnTo>
                    <a:pt x="167648" y="95623"/>
                  </a:lnTo>
                  <a:lnTo>
                    <a:pt x="164988" y="95484"/>
                  </a:lnTo>
                  <a:lnTo>
                    <a:pt x="162787" y="95058"/>
                  </a:lnTo>
                  <a:lnTo>
                    <a:pt x="159998" y="96543"/>
                  </a:lnTo>
                  <a:lnTo>
                    <a:pt x="157331" y="95739"/>
                  </a:lnTo>
                  <a:lnTo>
                    <a:pt x="155623" y="94815"/>
                  </a:lnTo>
                  <a:lnTo>
                    <a:pt x="154480" y="92244"/>
                  </a:lnTo>
                  <a:lnTo>
                    <a:pt x="154005" y="91916"/>
                  </a:lnTo>
                  <a:lnTo>
                    <a:pt x="148391" y="94608"/>
                  </a:lnTo>
                  <a:lnTo>
                    <a:pt x="147039" y="94771"/>
                  </a:lnTo>
                  <a:lnTo>
                    <a:pt x="143552" y="93326"/>
                  </a:lnTo>
                  <a:lnTo>
                    <a:pt x="140695" y="91895"/>
                  </a:lnTo>
                  <a:lnTo>
                    <a:pt x="139626" y="91466"/>
                  </a:lnTo>
                  <a:lnTo>
                    <a:pt x="136873" y="90906"/>
                  </a:lnTo>
                  <a:lnTo>
                    <a:pt x="134392" y="90580"/>
                  </a:lnTo>
                  <a:lnTo>
                    <a:pt x="131692" y="89687"/>
                  </a:lnTo>
                  <a:lnTo>
                    <a:pt x="128339" y="90854"/>
                  </a:lnTo>
                  <a:lnTo>
                    <a:pt x="126987" y="90760"/>
                  </a:lnTo>
                  <a:lnTo>
                    <a:pt x="125722" y="89915"/>
                  </a:lnTo>
                  <a:lnTo>
                    <a:pt x="125061" y="88185"/>
                  </a:lnTo>
                  <a:lnTo>
                    <a:pt x="124895" y="86546"/>
                  </a:lnTo>
                  <a:lnTo>
                    <a:pt x="123757" y="85421"/>
                  </a:lnTo>
                  <a:lnTo>
                    <a:pt x="121988" y="85163"/>
                  </a:lnTo>
                  <a:lnTo>
                    <a:pt x="119511" y="86176"/>
                  </a:lnTo>
                  <a:lnTo>
                    <a:pt x="115897" y="87511"/>
                  </a:lnTo>
                  <a:lnTo>
                    <a:pt x="114730" y="87290"/>
                  </a:lnTo>
                  <a:lnTo>
                    <a:pt x="113659" y="86905"/>
                  </a:lnTo>
                  <a:lnTo>
                    <a:pt x="113268" y="86549"/>
                  </a:lnTo>
                  <a:lnTo>
                    <a:pt x="112770" y="85002"/>
                  </a:lnTo>
                  <a:lnTo>
                    <a:pt x="112191" y="84661"/>
                  </a:lnTo>
                  <a:lnTo>
                    <a:pt x="111349" y="84615"/>
                  </a:lnTo>
                  <a:lnTo>
                    <a:pt x="109863" y="84244"/>
                  </a:lnTo>
                  <a:lnTo>
                    <a:pt x="108030" y="83094"/>
                  </a:lnTo>
                  <a:lnTo>
                    <a:pt x="102461" y="80381"/>
                  </a:lnTo>
                  <a:lnTo>
                    <a:pt x="101763" y="79175"/>
                  </a:lnTo>
                  <a:lnTo>
                    <a:pt x="101785" y="76510"/>
                  </a:lnTo>
                  <a:lnTo>
                    <a:pt x="101474" y="75410"/>
                  </a:lnTo>
                  <a:lnTo>
                    <a:pt x="100798" y="74247"/>
                  </a:lnTo>
                  <a:lnTo>
                    <a:pt x="97939" y="73068"/>
                  </a:lnTo>
                  <a:lnTo>
                    <a:pt x="92387" y="71169"/>
                  </a:lnTo>
                  <a:lnTo>
                    <a:pt x="89319" y="69655"/>
                  </a:lnTo>
                  <a:lnTo>
                    <a:pt x="87855" y="70363"/>
                  </a:lnTo>
                  <a:lnTo>
                    <a:pt x="85033" y="70996"/>
                  </a:lnTo>
                  <a:lnTo>
                    <a:pt x="83521" y="72361"/>
                  </a:lnTo>
                  <a:lnTo>
                    <a:pt x="81711" y="71929"/>
                  </a:lnTo>
                  <a:lnTo>
                    <a:pt x="77393" y="70489"/>
                  </a:lnTo>
                  <a:lnTo>
                    <a:pt x="75082" y="70275"/>
                  </a:lnTo>
                  <a:lnTo>
                    <a:pt x="73685" y="70764"/>
                  </a:lnTo>
                  <a:lnTo>
                    <a:pt x="73363" y="71589"/>
                  </a:lnTo>
                  <a:lnTo>
                    <a:pt x="71601" y="72524"/>
                  </a:lnTo>
                  <a:lnTo>
                    <a:pt x="69923" y="71778"/>
                  </a:lnTo>
                  <a:lnTo>
                    <a:pt x="66611" y="70771"/>
                  </a:lnTo>
                  <a:lnTo>
                    <a:pt x="63709" y="70219"/>
                  </a:lnTo>
                  <a:lnTo>
                    <a:pt x="59299" y="68996"/>
                  </a:lnTo>
                  <a:lnTo>
                    <a:pt x="58800" y="67142"/>
                  </a:lnTo>
                  <a:lnTo>
                    <a:pt x="58059" y="65310"/>
                  </a:lnTo>
                  <a:lnTo>
                    <a:pt x="57010" y="64985"/>
                  </a:lnTo>
                  <a:lnTo>
                    <a:pt x="53063" y="65349"/>
                  </a:lnTo>
                  <a:lnTo>
                    <a:pt x="49444" y="63326"/>
                  </a:lnTo>
                  <a:lnTo>
                    <a:pt x="45557" y="60736"/>
                  </a:lnTo>
                  <a:lnTo>
                    <a:pt x="43901" y="59884"/>
                  </a:lnTo>
                  <a:lnTo>
                    <a:pt x="42810" y="59569"/>
                  </a:lnTo>
                  <a:lnTo>
                    <a:pt x="41871" y="59916"/>
                  </a:lnTo>
                  <a:lnTo>
                    <a:pt x="40802" y="60509"/>
                  </a:lnTo>
                  <a:lnTo>
                    <a:pt x="39824" y="60685"/>
                  </a:lnTo>
                  <a:lnTo>
                    <a:pt x="37714" y="59568"/>
                  </a:lnTo>
                  <a:lnTo>
                    <a:pt x="35023" y="57974"/>
                  </a:lnTo>
                  <a:lnTo>
                    <a:pt x="31717" y="56019"/>
                  </a:lnTo>
                  <a:lnTo>
                    <a:pt x="27843" y="53287"/>
                  </a:lnTo>
                  <a:lnTo>
                    <a:pt x="26254" y="51743"/>
                  </a:lnTo>
                  <a:lnTo>
                    <a:pt x="25531" y="50580"/>
                  </a:lnTo>
                  <a:lnTo>
                    <a:pt x="24706" y="49487"/>
                  </a:lnTo>
                  <a:lnTo>
                    <a:pt x="21337" y="47700"/>
                  </a:lnTo>
                  <a:lnTo>
                    <a:pt x="18673" y="46286"/>
                  </a:lnTo>
                  <a:lnTo>
                    <a:pt x="15459" y="44579"/>
                  </a:lnTo>
                  <a:lnTo>
                    <a:pt x="14915" y="44238"/>
                  </a:lnTo>
                  <a:lnTo>
                    <a:pt x="13702" y="43222"/>
                  </a:lnTo>
                  <a:lnTo>
                    <a:pt x="11838" y="41942"/>
                  </a:lnTo>
                  <a:lnTo>
                    <a:pt x="10309" y="41568"/>
                  </a:lnTo>
                  <a:lnTo>
                    <a:pt x="9821" y="42273"/>
                  </a:lnTo>
                  <a:lnTo>
                    <a:pt x="9452" y="43015"/>
                  </a:lnTo>
                  <a:lnTo>
                    <a:pt x="8113" y="42844"/>
                  </a:lnTo>
                  <a:lnTo>
                    <a:pt x="6040" y="41538"/>
                  </a:lnTo>
                  <a:lnTo>
                    <a:pt x="3868" y="40171"/>
                  </a:lnTo>
                  <a:lnTo>
                    <a:pt x="2166" y="38904"/>
                  </a:lnTo>
                  <a:lnTo>
                    <a:pt x="421" y="37604"/>
                  </a:lnTo>
                  <a:lnTo>
                    <a:pt x="0" y="36640"/>
                  </a:lnTo>
                  <a:lnTo>
                    <a:pt x="728" y="33661"/>
                  </a:lnTo>
                  <a:lnTo>
                    <a:pt x="1743" y="31105"/>
                  </a:lnTo>
                  <a:lnTo>
                    <a:pt x="2607" y="30529"/>
                  </a:lnTo>
                  <a:lnTo>
                    <a:pt x="4010" y="28836"/>
                  </a:lnTo>
                  <a:lnTo>
                    <a:pt x="4518" y="25863"/>
                  </a:lnTo>
                  <a:lnTo>
                    <a:pt x="4494" y="23323"/>
                  </a:lnTo>
                  <a:lnTo>
                    <a:pt x="5865" y="19734"/>
                  </a:lnTo>
                  <a:lnTo>
                    <a:pt x="7744" y="15913"/>
                  </a:lnTo>
                  <a:lnTo>
                    <a:pt x="10998" y="11815"/>
                  </a:lnTo>
                  <a:lnTo>
                    <a:pt x="12410" y="10459"/>
                  </a:lnTo>
                  <a:lnTo>
                    <a:pt x="13984" y="9527"/>
                  </a:lnTo>
                  <a:lnTo>
                    <a:pt x="16988" y="6501"/>
                  </a:lnTo>
                  <a:lnTo>
                    <a:pt x="17612" y="6006"/>
                  </a:lnTo>
                  <a:lnTo>
                    <a:pt x="18927" y="5226"/>
                  </a:lnTo>
                  <a:lnTo>
                    <a:pt x="20221" y="5030"/>
                  </a:lnTo>
                  <a:lnTo>
                    <a:pt x="21197" y="5407"/>
                  </a:lnTo>
                  <a:lnTo>
                    <a:pt x="22198" y="6994"/>
                  </a:lnTo>
                  <a:lnTo>
                    <a:pt x="23410" y="8499"/>
                  </a:lnTo>
                  <a:lnTo>
                    <a:pt x="24887" y="8425"/>
                  </a:lnTo>
                  <a:lnTo>
                    <a:pt x="26610" y="7131"/>
                  </a:lnTo>
                  <a:lnTo>
                    <a:pt x="30195" y="1210"/>
                  </a:lnTo>
                  <a:lnTo>
                    <a:pt x="35163" y="0"/>
                  </a:lnTo>
                  <a:lnTo>
                    <a:pt x="39873" y="608"/>
                  </a:lnTo>
                  <a:lnTo>
                    <a:pt x="44041" y="1473"/>
                  </a:lnTo>
                  <a:lnTo>
                    <a:pt x="45269" y="3454"/>
                  </a:lnTo>
                  <a:lnTo>
                    <a:pt x="46075" y="5540"/>
                  </a:lnTo>
                  <a:lnTo>
                    <a:pt x="46597" y="6601"/>
                  </a:lnTo>
                  <a:lnTo>
                    <a:pt x="47962" y="7844"/>
                  </a:lnTo>
                  <a:lnTo>
                    <a:pt x="53840" y="10806"/>
                  </a:lnTo>
                  <a:lnTo>
                    <a:pt x="57252" y="13474"/>
                  </a:lnTo>
                  <a:lnTo>
                    <a:pt x="61972" y="17046"/>
                  </a:lnTo>
                  <a:lnTo>
                    <a:pt x="65503" y="18624"/>
                  </a:lnTo>
                  <a:lnTo>
                    <a:pt x="68632" y="18755"/>
                  </a:lnTo>
                  <a:lnTo>
                    <a:pt x="70394" y="20156"/>
                  </a:lnTo>
                  <a:lnTo>
                    <a:pt x="73048" y="22942"/>
                  </a:lnTo>
                  <a:lnTo>
                    <a:pt x="75291" y="26144"/>
                  </a:lnTo>
                  <a:lnTo>
                    <a:pt x="78097" y="29102"/>
                  </a:lnTo>
                  <a:lnTo>
                    <a:pt x="80034" y="29005"/>
                  </a:lnTo>
                  <a:lnTo>
                    <a:pt x="82672" y="28046"/>
                  </a:lnTo>
                  <a:lnTo>
                    <a:pt x="85890" y="26791"/>
                  </a:lnTo>
                  <a:lnTo>
                    <a:pt x="87792" y="27409"/>
                  </a:lnTo>
                  <a:lnTo>
                    <a:pt x="89548" y="28225"/>
                  </a:lnTo>
                  <a:lnTo>
                    <a:pt x="90133" y="29759"/>
                  </a:lnTo>
                  <a:lnTo>
                    <a:pt x="91189" y="32646"/>
                  </a:lnTo>
                  <a:lnTo>
                    <a:pt x="92363" y="35643"/>
                  </a:lnTo>
                  <a:lnTo>
                    <a:pt x="94208" y="36692"/>
                  </a:lnTo>
                  <a:lnTo>
                    <a:pt x="96389" y="38236"/>
                  </a:lnTo>
                  <a:lnTo>
                    <a:pt x="97598" y="39460"/>
                  </a:lnTo>
                  <a:lnTo>
                    <a:pt x="101692" y="41702"/>
                  </a:lnTo>
                  <a:lnTo>
                    <a:pt x="102271" y="42616"/>
                  </a:lnTo>
                  <a:lnTo>
                    <a:pt x="103100" y="43239"/>
                  </a:lnTo>
                  <a:lnTo>
                    <a:pt x="104098" y="43630"/>
                  </a:lnTo>
                  <a:lnTo>
                    <a:pt x="104927" y="44087"/>
                  </a:lnTo>
                  <a:lnTo>
                    <a:pt x="106214" y="44245"/>
                  </a:lnTo>
                  <a:lnTo>
                    <a:pt x="110947" y="42900"/>
                  </a:lnTo>
                  <a:lnTo>
                    <a:pt x="112213" y="43069"/>
                  </a:lnTo>
                  <a:lnTo>
                    <a:pt x="112936" y="43319"/>
                  </a:lnTo>
                  <a:lnTo>
                    <a:pt x="112960" y="43807"/>
                  </a:lnTo>
                  <a:lnTo>
                    <a:pt x="112105" y="45909"/>
                  </a:lnTo>
                  <a:lnTo>
                    <a:pt x="111377" y="48594"/>
                  </a:lnTo>
                  <a:lnTo>
                    <a:pt x="112126" y="49943"/>
                  </a:lnTo>
                  <a:lnTo>
                    <a:pt x="114109" y="50503"/>
                  </a:lnTo>
                  <a:lnTo>
                    <a:pt x="118499" y="50900"/>
                  </a:lnTo>
                  <a:lnTo>
                    <a:pt x="124418" y="50867"/>
                  </a:lnTo>
                  <a:lnTo>
                    <a:pt x="126212" y="52227"/>
                  </a:lnTo>
                  <a:lnTo>
                    <a:pt x="127998" y="54269"/>
                  </a:lnTo>
                  <a:lnTo>
                    <a:pt x="129798" y="57754"/>
                  </a:lnTo>
                  <a:lnTo>
                    <a:pt x="130515" y="59224"/>
                  </a:lnTo>
                  <a:lnTo>
                    <a:pt x="131410" y="59650"/>
                  </a:lnTo>
                  <a:lnTo>
                    <a:pt x="132949" y="59068"/>
                  </a:lnTo>
                  <a:lnTo>
                    <a:pt x="133200" y="57637"/>
                  </a:lnTo>
                  <a:lnTo>
                    <a:pt x="133271" y="55507"/>
                  </a:lnTo>
                  <a:lnTo>
                    <a:pt x="134560" y="54771"/>
                  </a:lnTo>
                  <a:lnTo>
                    <a:pt x="135383" y="55314"/>
                  </a:lnTo>
                  <a:lnTo>
                    <a:pt x="136350" y="56979"/>
                  </a:lnTo>
                  <a:lnTo>
                    <a:pt x="138797" y="58475"/>
                  </a:lnTo>
                  <a:lnTo>
                    <a:pt x="140568" y="59213"/>
                  </a:lnTo>
                  <a:lnTo>
                    <a:pt x="142254" y="58953"/>
                  </a:lnTo>
                  <a:lnTo>
                    <a:pt x="142960" y="58380"/>
                  </a:lnTo>
                  <a:lnTo>
                    <a:pt x="143791" y="55469"/>
                  </a:lnTo>
                  <a:lnTo>
                    <a:pt x="145117" y="55043"/>
                  </a:lnTo>
                  <a:lnTo>
                    <a:pt x="146800" y="55236"/>
                  </a:lnTo>
                  <a:lnTo>
                    <a:pt x="147443" y="55817"/>
                  </a:lnTo>
                  <a:lnTo>
                    <a:pt x="148123" y="56979"/>
                  </a:lnTo>
                  <a:lnTo>
                    <a:pt x="150157" y="57527"/>
                  </a:lnTo>
                  <a:lnTo>
                    <a:pt x="152179" y="58262"/>
                  </a:lnTo>
                  <a:lnTo>
                    <a:pt x="154088" y="59213"/>
                  </a:lnTo>
                  <a:lnTo>
                    <a:pt x="156769" y="61372"/>
                  </a:lnTo>
                  <a:lnTo>
                    <a:pt x="160071" y="61764"/>
                  </a:lnTo>
                  <a:lnTo>
                    <a:pt x="163906" y="61719"/>
                  </a:lnTo>
                  <a:lnTo>
                    <a:pt x="165921" y="61766"/>
                  </a:lnTo>
                  <a:lnTo>
                    <a:pt x="167409" y="61925"/>
                  </a:lnTo>
                  <a:lnTo>
                    <a:pt x="168739" y="61777"/>
                  </a:lnTo>
                  <a:lnTo>
                    <a:pt x="172675" y="60231"/>
                  </a:lnTo>
                  <a:lnTo>
                    <a:pt x="174282" y="60118"/>
                  </a:lnTo>
                  <a:lnTo>
                    <a:pt x="176271" y="60295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93" name="ee4p_OM_1_37365">
              <a:extLst>
                <a:ext uri="{FF2B5EF4-FFF2-40B4-BE49-F238E27FC236}">
                  <a16:creationId xmlns:a16="http://schemas.microsoft.com/office/drawing/2014/main" id="{0C3C1B8F-C1CF-66B7-074A-991878B6532E}"/>
                </a:ext>
              </a:extLst>
            </p:cNvPr>
            <p:cNvSpPr>
              <a:spLocks noChangeAspect="1"/>
            </p:cNvSpPr>
            <p:nvPr>
              <p:custDataLst>
                <p:tags r:id="rId247"/>
              </p:custDataLst>
            </p:nvPr>
          </p:nvSpPr>
          <p:spPr>
            <a:xfrm>
              <a:off x="7958085" y="3906387"/>
              <a:ext cx="218263" cy="290155"/>
            </a:xfrm>
            <a:custGeom>
              <a:avLst/>
              <a:gdLst>
                <a:gd name="connsiteX0" fmla="*/ 152723 w 173798"/>
                <a:gd name="connsiteY0" fmla="*/ 132631 h 224920"/>
                <a:gd name="connsiteX1" fmla="*/ 154191 w 173798"/>
                <a:gd name="connsiteY1" fmla="*/ 136422 h 224920"/>
                <a:gd name="connsiteX2" fmla="*/ 151635 w 173798"/>
                <a:gd name="connsiteY2" fmla="*/ 138547 h 224920"/>
                <a:gd name="connsiteX3" fmla="*/ 150244 w 173798"/>
                <a:gd name="connsiteY3" fmla="*/ 142166 h 224920"/>
                <a:gd name="connsiteX4" fmla="*/ 149134 w 173798"/>
                <a:gd name="connsiteY4" fmla="*/ 143273 h 224920"/>
                <a:gd name="connsiteX5" fmla="*/ 147741 w 173798"/>
                <a:gd name="connsiteY5" fmla="*/ 143622 h 224920"/>
                <a:gd name="connsiteX6" fmla="*/ 147340 w 173798"/>
                <a:gd name="connsiteY6" fmla="*/ 143459 h 224920"/>
                <a:gd name="connsiteX7" fmla="*/ 147346 w 173798"/>
                <a:gd name="connsiteY7" fmla="*/ 140542 h 224920"/>
                <a:gd name="connsiteX8" fmla="*/ 150591 w 173798"/>
                <a:gd name="connsiteY8" fmla="*/ 136873 h 224920"/>
                <a:gd name="connsiteX9" fmla="*/ 97522 w 173798"/>
                <a:gd name="connsiteY9" fmla="*/ 32518 h 224920"/>
                <a:gd name="connsiteX10" fmla="*/ 99775 w 173798"/>
                <a:gd name="connsiteY10" fmla="*/ 38698 h 224920"/>
                <a:gd name="connsiteX11" fmla="*/ 103109 w 173798"/>
                <a:gd name="connsiteY11" fmla="*/ 44476 h 224920"/>
                <a:gd name="connsiteX12" fmla="*/ 106061 w 173798"/>
                <a:gd name="connsiteY12" fmla="*/ 47661 h 224920"/>
                <a:gd name="connsiteX13" fmla="*/ 109121 w 173798"/>
                <a:gd name="connsiteY13" fmla="*/ 51983 h 224920"/>
                <a:gd name="connsiteX14" fmla="*/ 113776 w 173798"/>
                <a:gd name="connsiteY14" fmla="*/ 55953 h 224920"/>
                <a:gd name="connsiteX15" fmla="*/ 115916 w 173798"/>
                <a:gd name="connsiteY15" fmla="*/ 57309 h 224920"/>
                <a:gd name="connsiteX16" fmla="*/ 124573 w 173798"/>
                <a:gd name="connsiteY16" fmla="*/ 60096 h 224920"/>
                <a:gd name="connsiteX17" fmla="*/ 129300 w 173798"/>
                <a:gd name="connsiteY17" fmla="*/ 61138 h 224920"/>
                <a:gd name="connsiteX18" fmla="*/ 135830 w 173798"/>
                <a:gd name="connsiteY18" fmla="*/ 62133 h 224920"/>
                <a:gd name="connsiteX19" fmla="*/ 140343 w 173798"/>
                <a:gd name="connsiteY19" fmla="*/ 64301 h 224920"/>
                <a:gd name="connsiteX20" fmla="*/ 141861 w 173798"/>
                <a:gd name="connsiteY20" fmla="*/ 64433 h 224920"/>
                <a:gd name="connsiteX21" fmla="*/ 144223 w 173798"/>
                <a:gd name="connsiteY21" fmla="*/ 63791 h 224920"/>
                <a:gd name="connsiteX22" fmla="*/ 145949 w 173798"/>
                <a:gd name="connsiteY22" fmla="*/ 63842 h 224920"/>
                <a:gd name="connsiteX23" fmla="*/ 150261 w 173798"/>
                <a:gd name="connsiteY23" fmla="*/ 66793 h 224920"/>
                <a:gd name="connsiteX24" fmla="*/ 151529 w 173798"/>
                <a:gd name="connsiteY24" fmla="*/ 69589 h 224920"/>
                <a:gd name="connsiteX25" fmla="*/ 153323 w 173798"/>
                <a:gd name="connsiteY25" fmla="*/ 71066 h 224920"/>
                <a:gd name="connsiteX26" fmla="*/ 154912 w 173798"/>
                <a:gd name="connsiteY26" fmla="*/ 73387 h 224920"/>
                <a:gd name="connsiteX27" fmla="*/ 155940 w 173798"/>
                <a:gd name="connsiteY27" fmla="*/ 75816 h 224920"/>
                <a:gd name="connsiteX28" fmla="*/ 159585 w 173798"/>
                <a:gd name="connsiteY28" fmla="*/ 79515 h 224920"/>
                <a:gd name="connsiteX29" fmla="*/ 162155 w 173798"/>
                <a:gd name="connsiteY29" fmla="*/ 83673 h 224920"/>
                <a:gd name="connsiteX30" fmla="*/ 164775 w 173798"/>
                <a:gd name="connsiteY30" fmla="*/ 86757 h 224920"/>
                <a:gd name="connsiteX31" fmla="*/ 167113 w 173798"/>
                <a:gd name="connsiteY31" fmla="*/ 88672 h 224920"/>
                <a:gd name="connsiteX32" fmla="*/ 170661 w 173798"/>
                <a:gd name="connsiteY32" fmla="*/ 89425 h 224920"/>
                <a:gd name="connsiteX33" fmla="*/ 173483 w 173798"/>
                <a:gd name="connsiteY33" fmla="*/ 90289 h 224920"/>
                <a:gd name="connsiteX34" fmla="*/ 173798 w 173798"/>
                <a:gd name="connsiteY34" fmla="*/ 92345 h 224920"/>
                <a:gd name="connsiteX35" fmla="*/ 173509 w 173798"/>
                <a:gd name="connsiteY35" fmla="*/ 95026 h 224920"/>
                <a:gd name="connsiteX36" fmla="*/ 172969 w 173798"/>
                <a:gd name="connsiteY36" fmla="*/ 97006 h 224920"/>
                <a:gd name="connsiteX37" fmla="*/ 170335 w 173798"/>
                <a:gd name="connsiteY37" fmla="*/ 100861 h 224920"/>
                <a:gd name="connsiteX38" fmla="*/ 169708 w 173798"/>
                <a:gd name="connsiteY38" fmla="*/ 103238 h 224920"/>
                <a:gd name="connsiteX39" fmla="*/ 166724 w 173798"/>
                <a:gd name="connsiteY39" fmla="*/ 107157 h 224920"/>
                <a:gd name="connsiteX40" fmla="*/ 163494 w 173798"/>
                <a:gd name="connsiteY40" fmla="*/ 113723 h 224920"/>
                <a:gd name="connsiteX41" fmla="*/ 162012 w 173798"/>
                <a:gd name="connsiteY41" fmla="*/ 115192 h 224920"/>
                <a:gd name="connsiteX42" fmla="*/ 156800 w 173798"/>
                <a:gd name="connsiteY42" fmla="*/ 118577 h 224920"/>
                <a:gd name="connsiteX43" fmla="*/ 152973 w 173798"/>
                <a:gd name="connsiteY43" fmla="*/ 122651 h 224920"/>
                <a:gd name="connsiteX44" fmla="*/ 148434 w 173798"/>
                <a:gd name="connsiteY44" fmla="*/ 129710 h 224920"/>
                <a:gd name="connsiteX45" fmla="*/ 144979 w 173798"/>
                <a:gd name="connsiteY45" fmla="*/ 136704 h 224920"/>
                <a:gd name="connsiteX46" fmla="*/ 143653 w 173798"/>
                <a:gd name="connsiteY46" fmla="*/ 138940 h 224920"/>
                <a:gd name="connsiteX47" fmla="*/ 140879 w 173798"/>
                <a:gd name="connsiteY47" fmla="*/ 139400 h 224920"/>
                <a:gd name="connsiteX48" fmla="*/ 139050 w 173798"/>
                <a:gd name="connsiteY48" fmla="*/ 139204 h 224920"/>
                <a:gd name="connsiteX49" fmla="*/ 137789 w 173798"/>
                <a:gd name="connsiteY49" fmla="*/ 138546 h 224920"/>
                <a:gd name="connsiteX50" fmla="*/ 138289 w 173798"/>
                <a:gd name="connsiteY50" fmla="*/ 136637 h 224920"/>
                <a:gd name="connsiteX51" fmla="*/ 138585 w 173798"/>
                <a:gd name="connsiteY51" fmla="*/ 134507 h 224920"/>
                <a:gd name="connsiteX52" fmla="*/ 136914 w 173798"/>
                <a:gd name="connsiteY52" fmla="*/ 134731 h 224920"/>
                <a:gd name="connsiteX53" fmla="*/ 135443 w 173798"/>
                <a:gd name="connsiteY53" fmla="*/ 135172 h 224920"/>
                <a:gd name="connsiteX54" fmla="*/ 131999 w 173798"/>
                <a:gd name="connsiteY54" fmla="*/ 140398 h 224920"/>
                <a:gd name="connsiteX55" fmla="*/ 130112 w 173798"/>
                <a:gd name="connsiteY55" fmla="*/ 142689 h 224920"/>
                <a:gd name="connsiteX56" fmla="*/ 129710 w 173798"/>
                <a:gd name="connsiteY56" fmla="*/ 145599 h 224920"/>
                <a:gd name="connsiteX57" fmla="*/ 128793 w 173798"/>
                <a:gd name="connsiteY57" fmla="*/ 149352 h 224920"/>
                <a:gd name="connsiteX58" fmla="*/ 127445 w 173798"/>
                <a:gd name="connsiteY58" fmla="*/ 152803 h 224920"/>
                <a:gd name="connsiteX59" fmla="*/ 126847 w 173798"/>
                <a:gd name="connsiteY59" fmla="*/ 155700 h 224920"/>
                <a:gd name="connsiteX60" fmla="*/ 126869 w 173798"/>
                <a:gd name="connsiteY60" fmla="*/ 157342 h 224920"/>
                <a:gd name="connsiteX61" fmla="*/ 127879 w 173798"/>
                <a:gd name="connsiteY61" fmla="*/ 161353 h 224920"/>
                <a:gd name="connsiteX62" fmla="*/ 127948 w 173798"/>
                <a:gd name="connsiteY62" fmla="*/ 165458 h 224920"/>
                <a:gd name="connsiteX63" fmla="*/ 128531 w 173798"/>
                <a:gd name="connsiteY63" fmla="*/ 167920 h 224920"/>
                <a:gd name="connsiteX64" fmla="*/ 129002 w 173798"/>
                <a:gd name="connsiteY64" fmla="*/ 170874 h 224920"/>
                <a:gd name="connsiteX65" fmla="*/ 127385 w 173798"/>
                <a:gd name="connsiteY65" fmla="*/ 171785 h 224920"/>
                <a:gd name="connsiteX66" fmla="*/ 125998 w 173798"/>
                <a:gd name="connsiteY66" fmla="*/ 172231 h 224920"/>
                <a:gd name="connsiteX67" fmla="*/ 120518 w 173798"/>
                <a:gd name="connsiteY67" fmla="*/ 172553 h 224920"/>
                <a:gd name="connsiteX68" fmla="*/ 114959 w 173798"/>
                <a:gd name="connsiteY68" fmla="*/ 173497 h 224920"/>
                <a:gd name="connsiteX69" fmla="*/ 110110 w 173798"/>
                <a:gd name="connsiteY69" fmla="*/ 175209 h 224920"/>
                <a:gd name="connsiteX70" fmla="*/ 107207 w 173798"/>
                <a:gd name="connsiteY70" fmla="*/ 176911 h 224920"/>
                <a:gd name="connsiteX71" fmla="*/ 103428 w 173798"/>
                <a:gd name="connsiteY71" fmla="*/ 180713 h 224920"/>
                <a:gd name="connsiteX72" fmla="*/ 101122 w 173798"/>
                <a:gd name="connsiteY72" fmla="*/ 190347 h 224920"/>
                <a:gd name="connsiteX73" fmla="*/ 97423 w 173798"/>
                <a:gd name="connsiteY73" fmla="*/ 194411 h 224920"/>
                <a:gd name="connsiteX74" fmla="*/ 94920 w 173798"/>
                <a:gd name="connsiteY74" fmla="*/ 195260 h 224920"/>
                <a:gd name="connsiteX75" fmla="*/ 88892 w 173798"/>
                <a:gd name="connsiteY75" fmla="*/ 195616 h 224920"/>
                <a:gd name="connsiteX76" fmla="*/ 80405 w 173798"/>
                <a:gd name="connsiteY76" fmla="*/ 196737 h 224920"/>
                <a:gd name="connsiteX77" fmla="*/ 77425 w 173798"/>
                <a:gd name="connsiteY77" fmla="*/ 197714 h 224920"/>
                <a:gd name="connsiteX78" fmla="*/ 72478 w 173798"/>
                <a:gd name="connsiteY78" fmla="*/ 203589 h 224920"/>
                <a:gd name="connsiteX79" fmla="*/ 72098 w 173798"/>
                <a:gd name="connsiteY79" fmla="*/ 205433 h 224920"/>
                <a:gd name="connsiteX80" fmla="*/ 73055 w 173798"/>
                <a:gd name="connsiteY80" fmla="*/ 206766 h 224920"/>
                <a:gd name="connsiteX81" fmla="*/ 73367 w 173798"/>
                <a:gd name="connsiteY81" fmla="*/ 208239 h 224920"/>
                <a:gd name="connsiteX82" fmla="*/ 72916 w 173798"/>
                <a:gd name="connsiteY82" fmla="*/ 209621 h 224920"/>
                <a:gd name="connsiteX83" fmla="*/ 70672 w 173798"/>
                <a:gd name="connsiteY83" fmla="*/ 213339 h 224920"/>
                <a:gd name="connsiteX84" fmla="*/ 68250 w 173798"/>
                <a:gd name="connsiteY84" fmla="*/ 216040 h 224920"/>
                <a:gd name="connsiteX85" fmla="*/ 61787 w 173798"/>
                <a:gd name="connsiteY85" fmla="*/ 217730 h 224920"/>
                <a:gd name="connsiteX86" fmla="*/ 59416 w 173798"/>
                <a:gd name="connsiteY86" fmla="*/ 216724 h 224920"/>
                <a:gd name="connsiteX87" fmla="*/ 57245 w 173798"/>
                <a:gd name="connsiteY87" fmla="*/ 216215 h 224920"/>
                <a:gd name="connsiteX88" fmla="*/ 53054 w 173798"/>
                <a:gd name="connsiteY88" fmla="*/ 216161 h 224920"/>
                <a:gd name="connsiteX89" fmla="*/ 46226 w 173798"/>
                <a:gd name="connsiteY89" fmla="*/ 216800 h 224920"/>
                <a:gd name="connsiteX90" fmla="*/ 43711 w 173798"/>
                <a:gd name="connsiteY90" fmla="*/ 218795 h 224920"/>
                <a:gd name="connsiteX91" fmla="*/ 39752 w 173798"/>
                <a:gd name="connsiteY91" fmla="*/ 220208 h 224920"/>
                <a:gd name="connsiteX92" fmla="*/ 36092 w 173798"/>
                <a:gd name="connsiteY92" fmla="*/ 222385 h 224920"/>
                <a:gd name="connsiteX93" fmla="*/ 29191 w 173798"/>
                <a:gd name="connsiteY93" fmla="*/ 223217 h 224920"/>
                <a:gd name="connsiteX94" fmla="*/ 24501 w 173798"/>
                <a:gd name="connsiteY94" fmla="*/ 224920 h 224920"/>
                <a:gd name="connsiteX95" fmla="*/ 23160 w 173798"/>
                <a:gd name="connsiteY95" fmla="*/ 221924 h 224920"/>
                <a:gd name="connsiteX96" fmla="*/ 21819 w 173798"/>
                <a:gd name="connsiteY96" fmla="*/ 218926 h 224920"/>
                <a:gd name="connsiteX97" fmla="*/ 20478 w 173798"/>
                <a:gd name="connsiteY97" fmla="*/ 215928 h 224920"/>
                <a:gd name="connsiteX98" fmla="*/ 19135 w 173798"/>
                <a:gd name="connsiteY98" fmla="*/ 212928 h 224920"/>
                <a:gd name="connsiteX99" fmla="*/ 18197 w 173798"/>
                <a:gd name="connsiteY99" fmla="*/ 210828 h 224920"/>
                <a:gd name="connsiteX100" fmla="*/ 16619 w 173798"/>
                <a:gd name="connsiteY100" fmla="*/ 210088 h 224920"/>
                <a:gd name="connsiteX101" fmla="*/ 15662 w 173798"/>
                <a:gd name="connsiteY101" fmla="*/ 207866 h 224920"/>
                <a:gd name="connsiteX102" fmla="*/ 14684 w 173798"/>
                <a:gd name="connsiteY102" fmla="*/ 205590 h 224920"/>
                <a:gd name="connsiteX103" fmla="*/ 13704 w 173798"/>
                <a:gd name="connsiteY103" fmla="*/ 203313 h 224920"/>
                <a:gd name="connsiteX104" fmla="*/ 12726 w 173798"/>
                <a:gd name="connsiteY104" fmla="*/ 201036 h 224920"/>
                <a:gd name="connsiteX105" fmla="*/ 11747 w 173798"/>
                <a:gd name="connsiteY105" fmla="*/ 198758 h 224920"/>
                <a:gd name="connsiteX106" fmla="*/ 10767 w 173798"/>
                <a:gd name="connsiteY106" fmla="*/ 196478 h 224920"/>
                <a:gd name="connsiteX107" fmla="*/ 9789 w 173798"/>
                <a:gd name="connsiteY107" fmla="*/ 194198 h 224920"/>
                <a:gd name="connsiteX108" fmla="*/ 8811 w 173798"/>
                <a:gd name="connsiteY108" fmla="*/ 191918 h 224920"/>
                <a:gd name="connsiteX109" fmla="*/ 7830 w 173798"/>
                <a:gd name="connsiteY109" fmla="*/ 189636 h 224920"/>
                <a:gd name="connsiteX110" fmla="*/ 6852 w 173798"/>
                <a:gd name="connsiteY110" fmla="*/ 187355 h 224920"/>
                <a:gd name="connsiteX111" fmla="*/ 5874 w 173798"/>
                <a:gd name="connsiteY111" fmla="*/ 185071 h 224920"/>
                <a:gd name="connsiteX112" fmla="*/ 4896 w 173798"/>
                <a:gd name="connsiteY112" fmla="*/ 182788 h 224920"/>
                <a:gd name="connsiteX113" fmla="*/ 3915 w 173798"/>
                <a:gd name="connsiteY113" fmla="*/ 180502 h 224920"/>
                <a:gd name="connsiteX114" fmla="*/ 2937 w 173798"/>
                <a:gd name="connsiteY114" fmla="*/ 178216 h 224920"/>
                <a:gd name="connsiteX115" fmla="*/ 1959 w 173798"/>
                <a:gd name="connsiteY115" fmla="*/ 175929 h 224920"/>
                <a:gd name="connsiteX116" fmla="*/ 978 w 173798"/>
                <a:gd name="connsiteY116" fmla="*/ 173641 h 224920"/>
                <a:gd name="connsiteX117" fmla="*/ 0 w 173798"/>
                <a:gd name="connsiteY117" fmla="*/ 171354 h 224920"/>
                <a:gd name="connsiteX118" fmla="*/ 3116 w 173798"/>
                <a:gd name="connsiteY118" fmla="*/ 170276 h 224920"/>
                <a:gd name="connsiteX119" fmla="*/ 6921 w 173798"/>
                <a:gd name="connsiteY119" fmla="*/ 168963 h 224920"/>
                <a:gd name="connsiteX120" fmla="*/ 10726 w 173798"/>
                <a:gd name="connsiteY120" fmla="*/ 167648 h 224920"/>
                <a:gd name="connsiteX121" fmla="*/ 14529 w 173798"/>
                <a:gd name="connsiteY121" fmla="*/ 166334 h 224920"/>
                <a:gd name="connsiteX122" fmla="*/ 18333 w 173798"/>
                <a:gd name="connsiteY122" fmla="*/ 165019 h 224920"/>
                <a:gd name="connsiteX123" fmla="*/ 22136 w 173798"/>
                <a:gd name="connsiteY123" fmla="*/ 163704 h 224920"/>
                <a:gd name="connsiteX124" fmla="*/ 25941 w 173798"/>
                <a:gd name="connsiteY124" fmla="*/ 162388 h 224920"/>
                <a:gd name="connsiteX125" fmla="*/ 29746 w 173798"/>
                <a:gd name="connsiteY125" fmla="*/ 161072 h 224920"/>
                <a:gd name="connsiteX126" fmla="*/ 33548 w 173798"/>
                <a:gd name="connsiteY126" fmla="*/ 159756 h 224920"/>
                <a:gd name="connsiteX127" fmla="*/ 37353 w 173798"/>
                <a:gd name="connsiteY127" fmla="*/ 158440 h 224920"/>
                <a:gd name="connsiteX128" fmla="*/ 41156 w 173798"/>
                <a:gd name="connsiteY128" fmla="*/ 157123 h 224920"/>
                <a:gd name="connsiteX129" fmla="*/ 44961 w 173798"/>
                <a:gd name="connsiteY129" fmla="*/ 155806 h 224920"/>
                <a:gd name="connsiteX130" fmla="*/ 48766 w 173798"/>
                <a:gd name="connsiteY130" fmla="*/ 154489 h 224920"/>
                <a:gd name="connsiteX131" fmla="*/ 52568 w 173798"/>
                <a:gd name="connsiteY131" fmla="*/ 153171 h 224920"/>
                <a:gd name="connsiteX132" fmla="*/ 56373 w 173798"/>
                <a:gd name="connsiteY132" fmla="*/ 151854 h 224920"/>
                <a:gd name="connsiteX133" fmla="*/ 60176 w 173798"/>
                <a:gd name="connsiteY133" fmla="*/ 150535 h 224920"/>
                <a:gd name="connsiteX134" fmla="*/ 63981 w 173798"/>
                <a:gd name="connsiteY134" fmla="*/ 149216 h 224920"/>
                <a:gd name="connsiteX135" fmla="*/ 66330 w 173798"/>
                <a:gd name="connsiteY135" fmla="*/ 148401 h 224920"/>
                <a:gd name="connsiteX136" fmla="*/ 67306 w 173798"/>
                <a:gd name="connsiteY136" fmla="*/ 145334 h 224920"/>
                <a:gd name="connsiteX137" fmla="*/ 68118 w 173798"/>
                <a:gd name="connsiteY137" fmla="*/ 142786 h 224920"/>
                <a:gd name="connsiteX138" fmla="*/ 68926 w 173798"/>
                <a:gd name="connsiteY138" fmla="*/ 140236 h 224920"/>
                <a:gd name="connsiteX139" fmla="*/ 69738 w 173798"/>
                <a:gd name="connsiteY139" fmla="*/ 137685 h 224920"/>
                <a:gd name="connsiteX140" fmla="*/ 70547 w 173798"/>
                <a:gd name="connsiteY140" fmla="*/ 135134 h 224920"/>
                <a:gd name="connsiteX141" fmla="*/ 71355 w 173798"/>
                <a:gd name="connsiteY141" fmla="*/ 132581 h 224920"/>
                <a:gd name="connsiteX142" fmla="*/ 72165 w 173798"/>
                <a:gd name="connsiteY142" fmla="*/ 130027 h 224920"/>
                <a:gd name="connsiteX143" fmla="*/ 72977 w 173798"/>
                <a:gd name="connsiteY143" fmla="*/ 127472 h 224920"/>
                <a:gd name="connsiteX144" fmla="*/ 73784 w 173798"/>
                <a:gd name="connsiteY144" fmla="*/ 124916 h 224920"/>
                <a:gd name="connsiteX145" fmla="*/ 74594 w 173798"/>
                <a:gd name="connsiteY145" fmla="*/ 122357 h 224920"/>
                <a:gd name="connsiteX146" fmla="*/ 75404 w 173798"/>
                <a:gd name="connsiteY146" fmla="*/ 119798 h 224920"/>
                <a:gd name="connsiteX147" fmla="*/ 76214 w 173798"/>
                <a:gd name="connsiteY147" fmla="*/ 117238 h 224920"/>
                <a:gd name="connsiteX148" fmla="*/ 77023 w 173798"/>
                <a:gd name="connsiteY148" fmla="*/ 114677 h 224920"/>
                <a:gd name="connsiteX149" fmla="*/ 77833 w 173798"/>
                <a:gd name="connsiteY149" fmla="*/ 112115 h 224920"/>
                <a:gd name="connsiteX150" fmla="*/ 78643 w 173798"/>
                <a:gd name="connsiteY150" fmla="*/ 109551 h 224920"/>
                <a:gd name="connsiteX151" fmla="*/ 79453 w 173798"/>
                <a:gd name="connsiteY151" fmla="*/ 106986 h 224920"/>
                <a:gd name="connsiteX152" fmla="*/ 80263 w 173798"/>
                <a:gd name="connsiteY152" fmla="*/ 104420 h 224920"/>
                <a:gd name="connsiteX153" fmla="*/ 81005 w 173798"/>
                <a:gd name="connsiteY153" fmla="*/ 102067 h 224920"/>
                <a:gd name="connsiteX154" fmla="*/ 79606 w 173798"/>
                <a:gd name="connsiteY154" fmla="*/ 99801 h 224920"/>
                <a:gd name="connsiteX155" fmla="*/ 77727 w 173798"/>
                <a:gd name="connsiteY155" fmla="*/ 96756 h 224920"/>
                <a:gd name="connsiteX156" fmla="*/ 75760 w 173798"/>
                <a:gd name="connsiteY156" fmla="*/ 93570 h 224920"/>
                <a:gd name="connsiteX157" fmla="*/ 73910 w 173798"/>
                <a:gd name="connsiteY157" fmla="*/ 90569 h 224920"/>
                <a:gd name="connsiteX158" fmla="*/ 72564 w 173798"/>
                <a:gd name="connsiteY158" fmla="*/ 88384 h 224920"/>
                <a:gd name="connsiteX159" fmla="*/ 70940 w 173798"/>
                <a:gd name="connsiteY159" fmla="*/ 85750 h 224920"/>
                <a:gd name="connsiteX160" fmla="*/ 71122 w 173798"/>
                <a:gd name="connsiteY160" fmla="*/ 82354 h 224920"/>
                <a:gd name="connsiteX161" fmla="*/ 71081 w 173798"/>
                <a:gd name="connsiteY161" fmla="*/ 80655 h 224920"/>
                <a:gd name="connsiteX162" fmla="*/ 71251 w 173798"/>
                <a:gd name="connsiteY162" fmla="*/ 78050 h 224920"/>
                <a:gd name="connsiteX163" fmla="*/ 72806 w 173798"/>
                <a:gd name="connsiteY163" fmla="*/ 74431 h 224920"/>
                <a:gd name="connsiteX164" fmla="*/ 74642 w 173798"/>
                <a:gd name="connsiteY164" fmla="*/ 69823 h 224920"/>
                <a:gd name="connsiteX165" fmla="*/ 75983 w 173798"/>
                <a:gd name="connsiteY165" fmla="*/ 66756 h 224920"/>
                <a:gd name="connsiteX166" fmla="*/ 77142 w 173798"/>
                <a:gd name="connsiteY166" fmla="*/ 64089 h 224920"/>
                <a:gd name="connsiteX167" fmla="*/ 78075 w 173798"/>
                <a:gd name="connsiteY167" fmla="*/ 61945 h 224920"/>
                <a:gd name="connsiteX168" fmla="*/ 78587 w 173798"/>
                <a:gd name="connsiteY168" fmla="*/ 59736 h 224920"/>
                <a:gd name="connsiteX169" fmla="*/ 78315 w 173798"/>
                <a:gd name="connsiteY169" fmla="*/ 58181 h 224920"/>
                <a:gd name="connsiteX170" fmla="*/ 77706 w 173798"/>
                <a:gd name="connsiteY170" fmla="*/ 57616 h 224920"/>
                <a:gd name="connsiteX171" fmla="*/ 77190 w 173798"/>
                <a:gd name="connsiteY171" fmla="*/ 56880 h 224920"/>
                <a:gd name="connsiteX172" fmla="*/ 78945 w 173798"/>
                <a:gd name="connsiteY172" fmla="*/ 55703 h 224920"/>
                <a:gd name="connsiteX173" fmla="*/ 82234 w 173798"/>
                <a:gd name="connsiteY173" fmla="*/ 54936 h 224920"/>
                <a:gd name="connsiteX174" fmla="*/ 84059 w 173798"/>
                <a:gd name="connsiteY174" fmla="*/ 55101 h 224920"/>
                <a:gd name="connsiteX175" fmla="*/ 86603 w 173798"/>
                <a:gd name="connsiteY175" fmla="*/ 54532 h 224920"/>
                <a:gd name="connsiteX176" fmla="*/ 88615 w 173798"/>
                <a:gd name="connsiteY176" fmla="*/ 54017 h 224920"/>
                <a:gd name="connsiteX177" fmla="*/ 88770 w 173798"/>
                <a:gd name="connsiteY177" fmla="*/ 53324 h 224920"/>
                <a:gd name="connsiteX178" fmla="*/ 88198 w 173798"/>
                <a:gd name="connsiteY178" fmla="*/ 52160 h 224920"/>
                <a:gd name="connsiteX179" fmla="*/ 87365 w 173798"/>
                <a:gd name="connsiteY179" fmla="*/ 50461 h 224920"/>
                <a:gd name="connsiteX180" fmla="*/ 84514 w 173798"/>
                <a:gd name="connsiteY180" fmla="*/ 50285 h 224920"/>
                <a:gd name="connsiteX181" fmla="*/ 83655 w 173798"/>
                <a:gd name="connsiteY181" fmla="*/ 49816 h 224920"/>
                <a:gd name="connsiteX182" fmla="*/ 84646 w 173798"/>
                <a:gd name="connsiteY182" fmla="*/ 47304 h 224920"/>
                <a:gd name="connsiteX183" fmla="*/ 84609 w 173798"/>
                <a:gd name="connsiteY183" fmla="*/ 46512 h 224920"/>
                <a:gd name="connsiteX184" fmla="*/ 84229 w 173798"/>
                <a:gd name="connsiteY184" fmla="*/ 45574 h 224920"/>
                <a:gd name="connsiteX185" fmla="*/ 83817 w 173798"/>
                <a:gd name="connsiteY185" fmla="*/ 44000 h 224920"/>
                <a:gd name="connsiteX186" fmla="*/ 84024 w 173798"/>
                <a:gd name="connsiteY186" fmla="*/ 41964 h 224920"/>
                <a:gd name="connsiteX187" fmla="*/ 84607 w 173798"/>
                <a:gd name="connsiteY187" fmla="*/ 40581 h 224920"/>
                <a:gd name="connsiteX188" fmla="*/ 84614 w 173798"/>
                <a:gd name="connsiteY188" fmla="*/ 39468 h 224920"/>
                <a:gd name="connsiteX189" fmla="*/ 84335 w 173798"/>
                <a:gd name="connsiteY189" fmla="*/ 37172 h 224920"/>
                <a:gd name="connsiteX190" fmla="*/ 84426 w 173798"/>
                <a:gd name="connsiteY190" fmla="*/ 35131 h 224920"/>
                <a:gd name="connsiteX191" fmla="*/ 85026 w 173798"/>
                <a:gd name="connsiteY191" fmla="*/ 34116 h 224920"/>
                <a:gd name="connsiteX192" fmla="*/ 86084 w 173798"/>
                <a:gd name="connsiteY192" fmla="*/ 33172 h 224920"/>
                <a:gd name="connsiteX193" fmla="*/ 87082 w 173798"/>
                <a:gd name="connsiteY193" fmla="*/ 32693 h 224920"/>
                <a:gd name="connsiteX194" fmla="*/ 88127 w 173798"/>
                <a:gd name="connsiteY194" fmla="*/ 32728 h 224920"/>
                <a:gd name="connsiteX195" fmla="*/ 88956 w 173798"/>
                <a:gd name="connsiteY195" fmla="*/ 33129 h 224920"/>
                <a:gd name="connsiteX196" fmla="*/ 89312 w 173798"/>
                <a:gd name="connsiteY196" fmla="*/ 34200 h 224920"/>
                <a:gd name="connsiteX197" fmla="*/ 89083 w 173798"/>
                <a:gd name="connsiteY197" fmla="*/ 34936 h 224920"/>
                <a:gd name="connsiteX198" fmla="*/ 88494 w 173798"/>
                <a:gd name="connsiteY198" fmla="*/ 35038 h 224920"/>
                <a:gd name="connsiteX199" fmla="*/ 88287 w 173798"/>
                <a:gd name="connsiteY199" fmla="*/ 35347 h 224920"/>
                <a:gd name="connsiteX200" fmla="*/ 89129 w 173798"/>
                <a:gd name="connsiteY200" fmla="*/ 36774 h 224920"/>
                <a:gd name="connsiteX201" fmla="*/ 90355 w 173798"/>
                <a:gd name="connsiteY201" fmla="*/ 38172 h 224920"/>
                <a:gd name="connsiteX202" fmla="*/ 91299 w 173798"/>
                <a:gd name="connsiteY202" fmla="*/ 37939 h 224920"/>
                <a:gd name="connsiteX203" fmla="*/ 92359 w 173798"/>
                <a:gd name="connsiteY203" fmla="*/ 36838 h 224920"/>
                <a:gd name="connsiteX204" fmla="*/ 93469 w 173798"/>
                <a:gd name="connsiteY204" fmla="*/ 35950 h 224920"/>
                <a:gd name="connsiteX205" fmla="*/ 94866 w 173798"/>
                <a:gd name="connsiteY205" fmla="*/ 35164 h 224920"/>
                <a:gd name="connsiteX206" fmla="*/ 95877 w 173798"/>
                <a:gd name="connsiteY206" fmla="*/ 33645 h 224920"/>
                <a:gd name="connsiteX207" fmla="*/ 96747 w 173798"/>
                <a:gd name="connsiteY207" fmla="*/ 32657 h 224920"/>
                <a:gd name="connsiteX208" fmla="*/ 94123 w 173798"/>
                <a:gd name="connsiteY208" fmla="*/ 24874 h 224920"/>
                <a:gd name="connsiteX209" fmla="*/ 95076 w 173798"/>
                <a:gd name="connsiteY209" fmla="*/ 24943 h 224920"/>
                <a:gd name="connsiteX210" fmla="*/ 95307 w 173798"/>
                <a:gd name="connsiteY210" fmla="*/ 25468 h 224920"/>
                <a:gd name="connsiteX211" fmla="*/ 95175 w 173798"/>
                <a:gd name="connsiteY211" fmla="*/ 26483 h 224920"/>
                <a:gd name="connsiteX212" fmla="*/ 94255 w 173798"/>
                <a:gd name="connsiteY212" fmla="*/ 27112 h 224920"/>
                <a:gd name="connsiteX213" fmla="*/ 93599 w 173798"/>
                <a:gd name="connsiteY213" fmla="*/ 27007 h 224920"/>
                <a:gd name="connsiteX214" fmla="*/ 93730 w 173798"/>
                <a:gd name="connsiteY214" fmla="*/ 25749 h 224920"/>
                <a:gd name="connsiteX215" fmla="*/ 97317 w 173798"/>
                <a:gd name="connsiteY215" fmla="*/ 0 h 224920"/>
                <a:gd name="connsiteX216" fmla="*/ 98077 w 173798"/>
                <a:gd name="connsiteY216" fmla="*/ 123 h 224920"/>
                <a:gd name="connsiteX217" fmla="*/ 98447 w 173798"/>
                <a:gd name="connsiteY217" fmla="*/ 691 h 224920"/>
                <a:gd name="connsiteX218" fmla="*/ 98181 w 173798"/>
                <a:gd name="connsiteY218" fmla="*/ 3510 h 224920"/>
                <a:gd name="connsiteX219" fmla="*/ 98151 w 173798"/>
                <a:gd name="connsiteY219" fmla="*/ 5864 h 224920"/>
                <a:gd name="connsiteX220" fmla="*/ 97205 w 173798"/>
                <a:gd name="connsiteY220" fmla="*/ 13057 h 224920"/>
                <a:gd name="connsiteX221" fmla="*/ 96225 w 173798"/>
                <a:gd name="connsiteY221" fmla="*/ 14300 h 224920"/>
                <a:gd name="connsiteX222" fmla="*/ 95737 w 173798"/>
                <a:gd name="connsiteY222" fmla="*/ 15307 h 224920"/>
                <a:gd name="connsiteX223" fmla="*/ 95529 w 173798"/>
                <a:gd name="connsiteY223" fmla="*/ 16692 h 224920"/>
                <a:gd name="connsiteX224" fmla="*/ 95102 w 173798"/>
                <a:gd name="connsiteY224" fmla="*/ 17234 h 224920"/>
                <a:gd name="connsiteX225" fmla="*/ 94461 w 173798"/>
                <a:gd name="connsiteY225" fmla="*/ 17289 h 224920"/>
                <a:gd name="connsiteX226" fmla="*/ 93003 w 173798"/>
                <a:gd name="connsiteY226" fmla="*/ 16828 h 224920"/>
                <a:gd name="connsiteX227" fmla="*/ 92141 w 173798"/>
                <a:gd name="connsiteY227" fmla="*/ 15751 h 224920"/>
                <a:gd name="connsiteX228" fmla="*/ 92303 w 173798"/>
                <a:gd name="connsiteY228" fmla="*/ 14438 h 224920"/>
                <a:gd name="connsiteX229" fmla="*/ 92351 w 173798"/>
                <a:gd name="connsiteY229" fmla="*/ 12019 h 224920"/>
                <a:gd name="connsiteX230" fmla="*/ 92759 w 173798"/>
                <a:gd name="connsiteY230" fmla="*/ 9734 h 224920"/>
                <a:gd name="connsiteX231" fmla="*/ 92646 w 173798"/>
                <a:gd name="connsiteY231" fmla="*/ 7314 h 224920"/>
                <a:gd name="connsiteX232" fmla="*/ 91519 w 173798"/>
                <a:gd name="connsiteY232" fmla="*/ 6824 h 224920"/>
                <a:gd name="connsiteX233" fmla="*/ 90722 w 173798"/>
                <a:gd name="connsiteY233" fmla="*/ 6955 h 224920"/>
                <a:gd name="connsiteX234" fmla="*/ 92580 w 173798"/>
                <a:gd name="connsiteY234" fmla="*/ 3537 h 224920"/>
                <a:gd name="connsiteX235" fmla="*/ 93305 w 173798"/>
                <a:gd name="connsiteY235" fmla="*/ 3012 h 224920"/>
                <a:gd name="connsiteX236" fmla="*/ 93994 w 173798"/>
                <a:gd name="connsiteY236" fmla="*/ 3235 h 224920"/>
                <a:gd name="connsiteX237" fmla="*/ 95700 w 173798"/>
                <a:gd name="connsiteY237" fmla="*/ 2870 h 224920"/>
                <a:gd name="connsiteX238" fmla="*/ 96605 w 173798"/>
                <a:gd name="connsiteY238" fmla="*/ 1012 h 224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</a:cxnLst>
              <a:rect l="l" t="t" r="r" b="b"/>
              <a:pathLst>
                <a:path w="173798" h="224920">
                  <a:moveTo>
                    <a:pt x="152723" y="132631"/>
                  </a:moveTo>
                  <a:lnTo>
                    <a:pt x="154191" y="136422"/>
                  </a:lnTo>
                  <a:lnTo>
                    <a:pt x="151635" y="138547"/>
                  </a:lnTo>
                  <a:lnTo>
                    <a:pt x="150244" y="142166"/>
                  </a:lnTo>
                  <a:lnTo>
                    <a:pt x="149134" y="143273"/>
                  </a:lnTo>
                  <a:lnTo>
                    <a:pt x="147741" y="143622"/>
                  </a:lnTo>
                  <a:lnTo>
                    <a:pt x="147340" y="143459"/>
                  </a:lnTo>
                  <a:lnTo>
                    <a:pt x="147346" y="140542"/>
                  </a:lnTo>
                  <a:lnTo>
                    <a:pt x="150591" y="136873"/>
                  </a:lnTo>
                  <a:close/>
                  <a:moveTo>
                    <a:pt x="97522" y="32518"/>
                  </a:moveTo>
                  <a:lnTo>
                    <a:pt x="99775" y="38698"/>
                  </a:lnTo>
                  <a:lnTo>
                    <a:pt x="103109" y="44476"/>
                  </a:lnTo>
                  <a:lnTo>
                    <a:pt x="106061" y="47661"/>
                  </a:lnTo>
                  <a:lnTo>
                    <a:pt x="109121" y="51983"/>
                  </a:lnTo>
                  <a:lnTo>
                    <a:pt x="113776" y="55953"/>
                  </a:lnTo>
                  <a:lnTo>
                    <a:pt x="115916" y="57309"/>
                  </a:lnTo>
                  <a:lnTo>
                    <a:pt x="124573" y="60096"/>
                  </a:lnTo>
                  <a:lnTo>
                    <a:pt x="129300" y="61138"/>
                  </a:lnTo>
                  <a:lnTo>
                    <a:pt x="135830" y="62133"/>
                  </a:lnTo>
                  <a:lnTo>
                    <a:pt x="140343" y="64301"/>
                  </a:lnTo>
                  <a:lnTo>
                    <a:pt x="141861" y="64433"/>
                  </a:lnTo>
                  <a:lnTo>
                    <a:pt x="144223" y="63791"/>
                  </a:lnTo>
                  <a:lnTo>
                    <a:pt x="145949" y="63842"/>
                  </a:lnTo>
                  <a:lnTo>
                    <a:pt x="150261" y="66793"/>
                  </a:lnTo>
                  <a:lnTo>
                    <a:pt x="151529" y="69589"/>
                  </a:lnTo>
                  <a:lnTo>
                    <a:pt x="153323" y="71066"/>
                  </a:lnTo>
                  <a:lnTo>
                    <a:pt x="154912" y="73387"/>
                  </a:lnTo>
                  <a:lnTo>
                    <a:pt x="155940" y="75816"/>
                  </a:lnTo>
                  <a:lnTo>
                    <a:pt x="159585" y="79515"/>
                  </a:lnTo>
                  <a:lnTo>
                    <a:pt x="162155" y="83673"/>
                  </a:lnTo>
                  <a:lnTo>
                    <a:pt x="164775" y="86757"/>
                  </a:lnTo>
                  <a:lnTo>
                    <a:pt x="167113" y="88672"/>
                  </a:lnTo>
                  <a:lnTo>
                    <a:pt x="170661" y="89425"/>
                  </a:lnTo>
                  <a:lnTo>
                    <a:pt x="173483" y="90289"/>
                  </a:lnTo>
                  <a:lnTo>
                    <a:pt x="173798" y="92345"/>
                  </a:lnTo>
                  <a:lnTo>
                    <a:pt x="173509" y="95026"/>
                  </a:lnTo>
                  <a:lnTo>
                    <a:pt x="172969" y="97006"/>
                  </a:lnTo>
                  <a:lnTo>
                    <a:pt x="170335" y="100861"/>
                  </a:lnTo>
                  <a:lnTo>
                    <a:pt x="169708" y="103238"/>
                  </a:lnTo>
                  <a:lnTo>
                    <a:pt x="166724" y="107157"/>
                  </a:lnTo>
                  <a:lnTo>
                    <a:pt x="163494" y="113723"/>
                  </a:lnTo>
                  <a:lnTo>
                    <a:pt x="162012" y="115192"/>
                  </a:lnTo>
                  <a:lnTo>
                    <a:pt x="156800" y="118577"/>
                  </a:lnTo>
                  <a:lnTo>
                    <a:pt x="152973" y="122651"/>
                  </a:lnTo>
                  <a:lnTo>
                    <a:pt x="148434" y="129710"/>
                  </a:lnTo>
                  <a:lnTo>
                    <a:pt x="144979" y="136704"/>
                  </a:lnTo>
                  <a:lnTo>
                    <a:pt x="143653" y="138940"/>
                  </a:lnTo>
                  <a:lnTo>
                    <a:pt x="140879" y="139400"/>
                  </a:lnTo>
                  <a:lnTo>
                    <a:pt x="139050" y="139204"/>
                  </a:lnTo>
                  <a:lnTo>
                    <a:pt x="137789" y="138546"/>
                  </a:lnTo>
                  <a:lnTo>
                    <a:pt x="138289" y="136637"/>
                  </a:lnTo>
                  <a:lnTo>
                    <a:pt x="138585" y="134507"/>
                  </a:lnTo>
                  <a:lnTo>
                    <a:pt x="136914" y="134731"/>
                  </a:lnTo>
                  <a:lnTo>
                    <a:pt x="135443" y="135172"/>
                  </a:lnTo>
                  <a:lnTo>
                    <a:pt x="131999" y="140398"/>
                  </a:lnTo>
                  <a:lnTo>
                    <a:pt x="130112" y="142689"/>
                  </a:lnTo>
                  <a:lnTo>
                    <a:pt x="129710" y="145599"/>
                  </a:lnTo>
                  <a:lnTo>
                    <a:pt x="128793" y="149352"/>
                  </a:lnTo>
                  <a:lnTo>
                    <a:pt x="127445" y="152803"/>
                  </a:lnTo>
                  <a:lnTo>
                    <a:pt x="126847" y="155700"/>
                  </a:lnTo>
                  <a:lnTo>
                    <a:pt x="126869" y="157342"/>
                  </a:lnTo>
                  <a:lnTo>
                    <a:pt x="127879" y="161353"/>
                  </a:lnTo>
                  <a:lnTo>
                    <a:pt x="127948" y="165458"/>
                  </a:lnTo>
                  <a:lnTo>
                    <a:pt x="128531" y="167920"/>
                  </a:lnTo>
                  <a:lnTo>
                    <a:pt x="129002" y="170874"/>
                  </a:lnTo>
                  <a:lnTo>
                    <a:pt x="127385" y="171785"/>
                  </a:lnTo>
                  <a:lnTo>
                    <a:pt x="125998" y="172231"/>
                  </a:lnTo>
                  <a:lnTo>
                    <a:pt x="120518" y="172553"/>
                  </a:lnTo>
                  <a:lnTo>
                    <a:pt x="114959" y="173497"/>
                  </a:lnTo>
                  <a:lnTo>
                    <a:pt x="110110" y="175209"/>
                  </a:lnTo>
                  <a:lnTo>
                    <a:pt x="107207" y="176911"/>
                  </a:lnTo>
                  <a:lnTo>
                    <a:pt x="103428" y="180713"/>
                  </a:lnTo>
                  <a:lnTo>
                    <a:pt x="101122" y="190347"/>
                  </a:lnTo>
                  <a:lnTo>
                    <a:pt x="97423" y="194411"/>
                  </a:lnTo>
                  <a:lnTo>
                    <a:pt x="94920" y="195260"/>
                  </a:lnTo>
                  <a:lnTo>
                    <a:pt x="88892" y="195616"/>
                  </a:lnTo>
                  <a:lnTo>
                    <a:pt x="80405" y="196737"/>
                  </a:lnTo>
                  <a:lnTo>
                    <a:pt x="77425" y="197714"/>
                  </a:lnTo>
                  <a:lnTo>
                    <a:pt x="72478" y="203589"/>
                  </a:lnTo>
                  <a:lnTo>
                    <a:pt x="72098" y="205433"/>
                  </a:lnTo>
                  <a:lnTo>
                    <a:pt x="73055" y="206766"/>
                  </a:lnTo>
                  <a:lnTo>
                    <a:pt x="73367" y="208239"/>
                  </a:lnTo>
                  <a:lnTo>
                    <a:pt x="72916" y="209621"/>
                  </a:lnTo>
                  <a:lnTo>
                    <a:pt x="70672" y="213339"/>
                  </a:lnTo>
                  <a:lnTo>
                    <a:pt x="68250" y="216040"/>
                  </a:lnTo>
                  <a:lnTo>
                    <a:pt x="61787" y="217730"/>
                  </a:lnTo>
                  <a:lnTo>
                    <a:pt x="59416" y="216724"/>
                  </a:lnTo>
                  <a:lnTo>
                    <a:pt x="57245" y="216215"/>
                  </a:lnTo>
                  <a:lnTo>
                    <a:pt x="53054" y="216161"/>
                  </a:lnTo>
                  <a:lnTo>
                    <a:pt x="46226" y="216800"/>
                  </a:lnTo>
                  <a:lnTo>
                    <a:pt x="43711" y="218795"/>
                  </a:lnTo>
                  <a:lnTo>
                    <a:pt x="39752" y="220208"/>
                  </a:lnTo>
                  <a:lnTo>
                    <a:pt x="36092" y="222385"/>
                  </a:lnTo>
                  <a:lnTo>
                    <a:pt x="29191" y="223217"/>
                  </a:lnTo>
                  <a:lnTo>
                    <a:pt x="24501" y="224920"/>
                  </a:lnTo>
                  <a:lnTo>
                    <a:pt x="23160" y="221924"/>
                  </a:lnTo>
                  <a:lnTo>
                    <a:pt x="21819" y="218926"/>
                  </a:lnTo>
                  <a:lnTo>
                    <a:pt x="20478" y="215928"/>
                  </a:lnTo>
                  <a:lnTo>
                    <a:pt x="19135" y="212928"/>
                  </a:lnTo>
                  <a:lnTo>
                    <a:pt x="18197" y="210828"/>
                  </a:lnTo>
                  <a:lnTo>
                    <a:pt x="16619" y="210088"/>
                  </a:lnTo>
                  <a:lnTo>
                    <a:pt x="15662" y="207866"/>
                  </a:lnTo>
                  <a:lnTo>
                    <a:pt x="14684" y="205590"/>
                  </a:lnTo>
                  <a:lnTo>
                    <a:pt x="13704" y="203313"/>
                  </a:lnTo>
                  <a:lnTo>
                    <a:pt x="12726" y="201036"/>
                  </a:lnTo>
                  <a:lnTo>
                    <a:pt x="11747" y="198758"/>
                  </a:lnTo>
                  <a:lnTo>
                    <a:pt x="10767" y="196478"/>
                  </a:lnTo>
                  <a:lnTo>
                    <a:pt x="9789" y="194198"/>
                  </a:lnTo>
                  <a:lnTo>
                    <a:pt x="8811" y="191918"/>
                  </a:lnTo>
                  <a:lnTo>
                    <a:pt x="7830" y="189636"/>
                  </a:lnTo>
                  <a:lnTo>
                    <a:pt x="6852" y="187355"/>
                  </a:lnTo>
                  <a:lnTo>
                    <a:pt x="5874" y="185071"/>
                  </a:lnTo>
                  <a:lnTo>
                    <a:pt x="4896" y="182788"/>
                  </a:lnTo>
                  <a:lnTo>
                    <a:pt x="3915" y="180502"/>
                  </a:lnTo>
                  <a:lnTo>
                    <a:pt x="2937" y="178216"/>
                  </a:lnTo>
                  <a:lnTo>
                    <a:pt x="1959" y="175929"/>
                  </a:lnTo>
                  <a:lnTo>
                    <a:pt x="978" y="173641"/>
                  </a:lnTo>
                  <a:lnTo>
                    <a:pt x="0" y="171354"/>
                  </a:lnTo>
                  <a:lnTo>
                    <a:pt x="3116" y="170276"/>
                  </a:lnTo>
                  <a:lnTo>
                    <a:pt x="6921" y="168963"/>
                  </a:lnTo>
                  <a:lnTo>
                    <a:pt x="10726" y="167648"/>
                  </a:lnTo>
                  <a:lnTo>
                    <a:pt x="14529" y="166334"/>
                  </a:lnTo>
                  <a:lnTo>
                    <a:pt x="18333" y="165019"/>
                  </a:lnTo>
                  <a:lnTo>
                    <a:pt x="22136" y="163704"/>
                  </a:lnTo>
                  <a:lnTo>
                    <a:pt x="25941" y="162388"/>
                  </a:lnTo>
                  <a:lnTo>
                    <a:pt x="29746" y="161072"/>
                  </a:lnTo>
                  <a:lnTo>
                    <a:pt x="33548" y="159756"/>
                  </a:lnTo>
                  <a:lnTo>
                    <a:pt x="37353" y="158440"/>
                  </a:lnTo>
                  <a:lnTo>
                    <a:pt x="41156" y="157123"/>
                  </a:lnTo>
                  <a:lnTo>
                    <a:pt x="44961" y="155806"/>
                  </a:lnTo>
                  <a:lnTo>
                    <a:pt x="48766" y="154489"/>
                  </a:lnTo>
                  <a:lnTo>
                    <a:pt x="52568" y="153171"/>
                  </a:lnTo>
                  <a:lnTo>
                    <a:pt x="56373" y="151854"/>
                  </a:lnTo>
                  <a:lnTo>
                    <a:pt x="60176" y="150535"/>
                  </a:lnTo>
                  <a:lnTo>
                    <a:pt x="63981" y="149216"/>
                  </a:lnTo>
                  <a:lnTo>
                    <a:pt x="66330" y="148401"/>
                  </a:lnTo>
                  <a:lnTo>
                    <a:pt x="67306" y="145334"/>
                  </a:lnTo>
                  <a:lnTo>
                    <a:pt x="68118" y="142786"/>
                  </a:lnTo>
                  <a:lnTo>
                    <a:pt x="68926" y="140236"/>
                  </a:lnTo>
                  <a:lnTo>
                    <a:pt x="69738" y="137685"/>
                  </a:lnTo>
                  <a:lnTo>
                    <a:pt x="70547" y="135134"/>
                  </a:lnTo>
                  <a:lnTo>
                    <a:pt x="71355" y="132581"/>
                  </a:lnTo>
                  <a:lnTo>
                    <a:pt x="72165" y="130027"/>
                  </a:lnTo>
                  <a:lnTo>
                    <a:pt x="72977" y="127472"/>
                  </a:lnTo>
                  <a:lnTo>
                    <a:pt x="73784" y="124916"/>
                  </a:lnTo>
                  <a:lnTo>
                    <a:pt x="74594" y="122357"/>
                  </a:lnTo>
                  <a:lnTo>
                    <a:pt x="75404" y="119798"/>
                  </a:lnTo>
                  <a:lnTo>
                    <a:pt x="76214" y="117238"/>
                  </a:lnTo>
                  <a:lnTo>
                    <a:pt x="77023" y="114677"/>
                  </a:lnTo>
                  <a:lnTo>
                    <a:pt x="77833" y="112115"/>
                  </a:lnTo>
                  <a:lnTo>
                    <a:pt x="78643" y="109551"/>
                  </a:lnTo>
                  <a:lnTo>
                    <a:pt x="79453" y="106986"/>
                  </a:lnTo>
                  <a:lnTo>
                    <a:pt x="80263" y="104420"/>
                  </a:lnTo>
                  <a:lnTo>
                    <a:pt x="81005" y="102067"/>
                  </a:lnTo>
                  <a:lnTo>
                    <a:pt x="79606" y="99801"/>
                  </a:lnTo>
                  <a:lnTo>
                    <a:pt x="77727" y="96756"/>
                  </a:lnTo>
                  <a:lnTo>
                    <a:pt x="75760" y="93570"/>
                  </a:lnTo>
                  <a:lnTo>
                    <a:pt x="73910" y="90569"/>
                  </a:lnTo>
                  <a:lnTo>
                    <a:pt x="72564" y="88384"/>
                  </a:lnTo>
                  <a:lnTo>
                    <a:pt x="70940" y="85750"/>
                  </a:lnTo>
                  <a:lnTo>
                    <a:pt x="71122" y="82354"/>
                  </a:lnTo>
                  <a:lnTo>
                    <a:pt x="71081" y="80655"/>
                  </a:lnTo>
                  <a:lnTo>
                    <a:pt x="71251" y="78050"/>
                  </a:lnTo>
                  <a:lnTo>
                    <a:pt x="72806" y="74431"/>
                  </a:lnTo>
                  <a:lnTo>
                    <a:pt x="74642" y="69823"/>
                  </a:lnTo>
                  <a:lnTo>
                    <a:pt x="75983" y="66756"/>
                  </a:lnTo>
                  <a:lnTo>
                    <a:pt x="77142" y="64089"/>
                  </a:lnTo>
                  <a:lnTo>
                    <a:pt x="78075" y="61945"/>
                  </a:lnTo>
                  <a:lnTo>
                    <a:pt x="78587" y="59736"/>
                  </a:lnTo>
                  <a:lnTo>
                    <a:pt x="78315" y="58181"/>
                  </a:lnTo>
                  <a:lnTo>
                    <a:pt x="77706" y="57616"/>
                  </a:lnTo>
                  <a:lnTo>
                    <a:pt x="77190" y="56880"/>
                  </a:lnTo>
                  <a:lnTo>
                    <a:pt x="78945" y="55703"/>
                  </a:lnTo>
                  <a:lnTo>
                    <a:pt x="82234" y="54936"/>
                  </a:lnTo>
                  <a:lnTo>
                    <a:pt x="84059" y="55101"/>
                  </a:lnTo>
                  <a:lnTo>
                    <a:pt x="86603" y="54532"/>
                  </a:lnTo>
                  <a:lnTo>
                    <a:pt x="88615" y="54017"/>
                  </a:lnTo>
                  <a:lnTo>
                    <a:pt x="88770" y="53324"/>
                  </a:lnTo>
                  <a:lnTo>
                    <a:pt x="88198" y="52160"/>
                  </a:lnTo>
                  <a:lnTo>
                    <a:pt x="87365" y="50461"/>
                  </a:lnTo>
                  <a:lnTo>
                    <a:pt x="84514" y="50285"/>
                  </a:lnTo>
                  <a:lnTo>
                    <a:pt x="83655" y="49816"/>
                  </a:lnTo>
                  <a:lnTo>
                    <a:pt x="84646" y="47304"/>
                  </a:lnTo>
                  <a:lnTo>
                    <a:pt x="84609" y="46512"/>
                  </a:lnTo>
                  <a:lnTo>
                    <a:pt x="84229" y="45574"/>
                  </a:lnTo>
                  <a:lnTo>
                    <a:pt x="83817" y="44000"/>
                  </a:lnTo>
                  <a:lnTo>
                    <a:pt x="84024" y="41964"/>
                  </a:lnTo>
                  <a:lnTo>
                    <a:pt x="84607" y="40581"/>
                  </a:lnTo>
                  <a:lnTo>
                    <a:pt x="84614" y="39468"/>
                  </a:lnTo>
                  <a:lnTo>
                    <a:pt x="84335" y="37172"/>
                  </a:lnTo>
                  <a:lnTo>
                    <a:pt x="84426" y="35131"/>
                  </a:lnTo>
                  <a:lnTo>
                    <a:pt x="85026" y="34116"/>
                  </a:lnTo>
                  <a:lnTo>
                    <a:pt x="86084" y="33172"/>
                  </a:lnTo>
                  <a:lnTo>
                    <a:pt x="87082" y="32693"/>
                  </a:lnTo>
                  <a:lnTo>
                    <a:pt x="88127" y="32728"/>
                  </a:lnTo>
                  <a:lnTo>
                    <a:pt x="88956" y="33129"/>
                  </a:lnTo>
                  <a:lnTo>
                    <a:pt x="89312" y="34200"/>
                  </a:lnTo>
                  <a:lnTo>
                    <a:pt x="89083" y="34936"/>
                  </a:lnTo>
                  <a:lnTo>
                    <a:pt x="88494" y="35038"/>
                  </a:lnTo>
                  <a:lnTo>
                    <a:pt x="88287" y="35347"/>
                  </a:lnTo>
                  <a:lnTo>
                    <a:pt x="89129" y="36774"/>
                  </a:lnTo>
                  <a:lnTo>
                    <a:pt x="90355" y="38172"/>
                  </a:lnTo>
                  <a:lnTo>
                    <a:pt x="91299" y="37939"/>
                  </a:lnTo>
                  <a:lnTo>
                    <a:pt x="92359" y="36838"/>
                  </a:lnTo>
                  <a:lnTo>
                    <a:pt x="93469" y="35950"/>
                  </a:lnTo>
                  <a:lnTo>
                    <a:pt x="94866" y="35164"/>
                  </a:lnTo>
                  <a:lnTo>
                    <a:pt x="95877" y="33645"/>
                  </a:lnTo>
                  <a:lnTo>
                    <a:pt x="96747" y="32657"/>
                  </a:lnTo>
                  <a:close/>
                  <a:moveTo>
                    <a:pt x="94123" y="24874"/>
                  </a:moveTo>
                  <a:lnTo>
                    <a:pt x="95076" y="24943"/>
                  </a:lnTo>
                  <a:lnTo>
                    <a:pt x="95307" y="25468"/>
                  </a:lnTo>
                  <a:lnTo>
                    <a:pt x="95175" y="26483"/>
                  </a:lnTo>
                  <a:lnTo>
                    <a:pt x="94255" y="27112"/>
                  </a:lnTo>
                  <a:lnTo>
                    <a:pt x="93599" y="27007"/>
                  </a:lnTo>
                  <a:lnTo>
                    <a:pt x="93730" y="25749"/>
                  </a:lnTo>
                  <a:close/>
                  <a:moveTo>
                    <a:pt x="97317" y="0"/>
                  </a:moveTo>
                  <a:lnTo>
                    <a:pt x="98077" y="123"/>
                  </a:lnTo>
                  <a:lnTo>
                    <a:pt x="98447" y="691"/>
                  </a:lnTo>
                  <a:lnTo>
                    <a:pt x="98181" y="3510"/>
                  </a:lnTo>
                  <a:lnTo>
                    <a:pt x="98151" y="5864"/>
                  </a:lnTo>
                  <a:lnTo>
                    <a:pt x="97205" y="13057"/>
                  </a:lnTo>
                  <a:lnTo>
                    <a:pt x="96225" y="14300"/>
                  </a:lnTo>
                  <a:lnTo>
                    <a:pt x="95737" y="15307"/>
                  </a:lnTo>
                  <a:lnTo>
                    <a:pt x="95529" y="16692"/>
                  </a:lnTo>
                  <a:lnTo>
                    <a:pt x="95102" y="17234"/>
                  </a:lnTo>
                  <a:lnTo>
                    <a:pt x="94461" y="17289"/>
                  </a:lnTo>
                  <a:lnTo>
                    <a:pt x="93003" y="16828"/>
                  </a:lnTo>
                  <a:lnTo>
                    <a:pt x="92141" y="15751"/>
                  </a:lnTo>
                  <a:lnTo>
                    <a:pt x="92303" y="14438"/>
                  </a:lnTo>
                  <a:lnTo>
                    <a:pt x="92351" y="12019"/>
                  </a:lnTo>
                  <a:lnTo>
                    <a:pt x="92759" y="9734"/>
                  </a:lnTo>
                  <a:lnTo>
                    <a:pt x="92646" y="7314"/>
                  </a:lnTo>
                  <a:lnTo>
                    <a:pt x="91519" y="6824"/>
                  </a:lnTo>
                  <a:lnTo>
                    <a:pt x="90722" y="6955"/>
                  </a:lnTo>
                  <a:lnTo>
                    <a:pt x="92580" y="3537"/>
                  </a:lnTo>
                  <a:lnTo>
                    <a:pt x="93305" y="3012"/>
                  </a:lnTo>
                  <a:lnTo>
                    <a:pt x="93994" y="3235"/>
                  </a:lnTo>
                  <a:lnTo>
                    <a:pt x="95700" y="2870"/>
                  </a:lnTo>
                  <a:lnTo>
                    <a:pt x="96605" y="1012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94" name="ee4p_PK_1_37365">
              <a:extLst>
                <a:ext uri="{FF2B5EF4-FFF2-40B4-BE49-F238E27FC236}">
                  <a16:creationId xmlns:a16="http://schemas.microsoft.com/office/drawing/2014/main" id="{8690C2F2-F9D8-A467-184A-C630D75E50AC}"/>
                </a:ext>
              </a:extLst>
            </p:cNvPr>
            <p:cNvSpPr>
              <a:spLocks noChangeAspect="1"/>
            </p:cNvSpPr>
            <p:nvPr>
              <p:custDataLst>
                <p:tags r:id="rId248"/>
              </p:custDataLst>
            </p:nvPr>
          </p:nvSpPr>
          <p:spPr>
            <a:xfrm>
              <a:off x="8204281" y="3568790"/>
              <a:ext cx="450011" cy="416642"/>
            </a:xfrm>
            <a:custGeom>
              <a:avLst/>
              <a:gdLst/>
              <a:ahLst/>
              <a:cxnLst/>
              <a:rect l="0" t="0" r="0" b="0"/>
              <a:pathLst>
                <a:path w="358334" h="322969">
                  <a:moveTo>
                    <a:pt x="352103" y="34789"/>
                  </a:moveTo>
                  <a:lnTo>
                    <a:pt x="353118" y="37051"/>
                  </a:lnTo>
                  <a:lnTo>
                    <a:pt x="354653" y="40472"/>
                  </a:lnTo>
                  <a:lnTo>
                    <a:pt x="355660" y="42710"/>
                  </a:lnTo>
                  <a:lnTo>
                    <a:pt x="356791" y="45225"/>
                  </a:lnTo>
                  <a:lnTo>
                    <a:pt x="357357" y="46482"/>
                  </a:lnTo>
                  <a:lnTo>
                    <a:pt x="358333" y="48649"/>
                  </a:lnTo>
                  <a:lnTo>
                    <a:pt x="357936" y="49840"/>
                  </a:lnTo>
                  <a:lnTo>
                    <a:pt x="357277" y="51603"/>
                  </a:lnTo>
                  <a:lnTo>
                    <a:pt x="354863" y="52937"/>
                  </a:lnTo>
                  <a:lnTo>
                    <a:pt x="352457" y="53901"/>
                  </a:lnTo>
                  <a:lnTo>
                    <a:pt x="351896" y="54461"/>
                  </a:lnTo>
                  <a:lnTo>
                    <a:pt x="351708" y="55218"/>
                  </a:lnTo>
                  <a:lnTo>
                    <a:pt x="350542" y="56735"/>
                  </a:lnTo>
                  <a:lnTo>
                    <a:pt x="348290" y="58012"/>
                  </a:lnTo>
                  <a:lnTo>
                    <a:pt x="346422" y="57886"/>
                  </a:lnTo>
                  <a:lnTo>
                    <a:pt x="345245" y="57505"/>
                  </a:lnTo>
                  <a:lnTo>
                    <a:pt x="338959" y="59713"/>
                  </a:lnTo>
                  <a:lnTo>
                    <a:pt x="336052" y="59659"/>
                  </a:lnTo>
                  <a:lnTo>
                    <a:pt x="333780" y="61092"/>
                  </a:lnTo>
                  <a:lnTo>
                    <a:pt x="332096" y="62397"/>
                  </a:lnTo>
                  <a:lnTo>
                    <a:pt x="328715" y="63824"/>
                  </a:lnTo>
                  <a:lnTo>
                    <a:pt x="326424" y="63833"/>
                  </a:lnTo>
                  <a:lnTo>
                    <a:pt x="323040" y="62985"/>
                  </a:lnTo>
                  <a:lnTo>
                    <a:pt x="318872" y="61371"/>
                  </a:lnTo>
                  <a:lnTo>
                    <a:pt x="317180" y="60431"/>
                  </a:lnTo>
                  <a:lnTo>
                    <a:pt x="315652" y="60485"/>
                  </a:lnTo>
                  <a:lnTo>
                    <a:pt x="311969" y="60260"/>
                  </a:lnTo>
                  <a:lnTo>
                    <a:pt x="308363" y="59463"/>
                  </a:lnTo>
                  <a:lnTo>
                    <a:pt x="304059" y="58513"/>
                  </a:lnTo>
                  <a:lnTo>
                    <a:pt x="301932" y="58107"/>
                  </a:lnTo>
                  <a:lnTo>
                    <a:pt x="297563" y="57273"/>
                  </a:lnTo>
                  <a:lnTo>
                    <a:pt x="294724" y="58385"/>
                  </a:lnTo>
                  <a:lnTo>
                    <a:pt x="292156" y="59390"/>
                  </a:lnTo>
                  <a:lnTo>
                    <a:pt x="290064" y="60070"/>
                  </a:lnTo>
                  <a:lnTo>
                    <a:pt x="288336" y="63176"/>
                  </a:lnTo>
                  <a:lnTo>
                    <a:pt x="287607" y="64268"/>
                  </a:lnTo>
                  <a:lnTo>
                    <a:pt x="286767" y="65837"/>
                  </a:lnTo>
                  <a:lnTo>
                    <a:pt x="286378" y="66938"/>
                  </a:lnTo>
                  <a:lnTo>
                    <a:pt x="286719" y="68256"/>
                  </a:lnTo>
                  <a:lnTo>
                    <a:pt x="289254" y="69191"/>
                  </a:lnTo>
                  <a:lnTo>
                    <a:pt x="290310" y="70467"/>
                  </a:lnTo>
                  <a:lnTo>
                    <a:pt x="290468" y="71595"/>
                  </a:lnTo>
                  <a:lnTo>
                    <a:pt x="289556" y="72753"/>
                  </a:lnTo>
                  <a:lnTo>
                    <a:pt x="288796" y="73668"/>
                  </a:lnTo>
                  <a:lnTo>
                    <a:pt x="288801" y="74472"/>
                  </a:lnTo>
                  <a:lnTo>
                    <a:pt x="289204" y="75283"/>
                  </a:lnTo>
                  <a:lnTo>
                    <a:pt x="289813" y="75887"/>
                  </a:lnTo>
                  <a:lnTo>
                    <a:pt x="293411" y="76262"/>
                  </a:lnTo>
                  <a:lnTo>
                    <a:pt x="295542" y="76269"/>
                  </a:lnTo>
                  <a:lnTo>
                    <a:pt x="296371" y="76598"/>
                  </a:lnTo>
                  <a:lnTo>
                    <a:pt x="296469" y="77694"/>
                  </a:lnTo>
                  <a:lnTo>
                    <a:pt x="295689" y="79173"/>
                  </a:lnTo>
                  <a:lnTo>
                    <a:pt x="292655" y="80363"/>
                  </a:lnTo>
                  <a:lnTo>
                    <a:pt x="290943" y="81616"/>
                  </a:lnTo>
                  <a:lnTo>
                    <a:pt x="290401" y="83276"/>
                  </a:lnTo>
                  <a:lnTo>
                    <a:pt x="290425" y="84603"/>
                  </a:lnTo>
                  <a:lnTo>
                    <a:pt x="291010" y="85481"/>
                  </a:lnTo>
                  <a:lnTo>
                    <a:pt x="292463" y="86490"/>
                  </a:lnTo>
                  <a:lnTo>
                    <a:pt x="293823" y="87646"/>
                  </a:lnTo>
                  <a:lnTo>
                    <a:pt x="294238" y="88590"/>
                  </a:lnTo>
                  <a:lnTo>
                    <a:pt x="294074" y="89868"/>
                  </a:lnTo>
                  <a:lnTo>
                    <a:pt x="293526" y="91632"/>
                  </a:lnTo>
                  <a:lnTo>
                    <a:pt x="292035" y="93683"/>
                  </a:lnTo>
                  <a:lnTo>
                    <a:pt x="290794" y="95144"/>
                  </a:lnTo>
                  <a:lnTo>
                    <a:pt x="290697" y="95663"/>
                  </a:lnTo>
                  <a:lnTo>
                    <a:pt x="291006" y="96448"/>
                  </a:lnTo>
                  <a:lnTo>
                    <a:pt x="292007" y="97586"/>
                  </a:lnTo>
                  <a:lnTo>
                    <a:pt x="293713" y="99265"/>
                  </a:lnTo>
                  <a:lnTo>
                    <a:pt x="295832" y="100626"/>
                  </a:lnTo>
                  <a:lnTo>
                    <a:pt x="297192" y="101001"/>
                  </a:lnTo>
                  <a:lnTo>
                    <a:pt x="297635" y="101330"/>
                  </a:lnTo>
                  <a:lnTo>
                    <a:pt x="298058" y="102905"/>
                  </a:lnTo>
                  <a:lnTo>
                    <a:pt x="298217" y="104561"/>
                  </a:lnTo>
                  <a:lnTo>
                    <a:pt x="297676" y="105804"/>
                  </a:lnTo>
                  <a:lnTo>
                    <a:pt x="298762" y="106833"/>
                  </a:lnTo>
                  <a:lnTo>
                    <a:pt x="301610" y="106776"/>
                  </a:lnTo>
                  <a:lnTo>
                    <a:pt x="303929" y="107214"/>
                  </a:lnTo>
                  <a:lnTo>
                    <a:pt x="304905" y="106779"/>
                  </a:lnTo>
                  <a:lnTo>
                    <a:pt x="305588" y="107105"/>
                  </a:lnTo>
                  <a:lnTo>
                    <a:pt x="305147" y="110799"/>
                  </a:lnTo>
                  <a:lnTo>
                    <a:pt x="305467" y="112983"/>
                  </a:lnTo>
                  <a:lnTo>
                    <a:pt x="306084" y="113602"/>
                  </a:lnTo>
                  <a:lnTo>
                    <a:pt x="308365" y="114487"/>
                  </a:lnTo>
                  <a:lnTo>
                    <a:pt x="312753" y="114379"/>
                  </a:lnTo>
                  <a:lnTo>
                    <a:pt x="315335" y="115408"/>
                  </a:lnTo>
                  <a:lnTo>
                    <a:pt x="318201" y="116594"/>
                  </a:lnTo>
                  <a:lnTo>
                    <a:pt x="319725" y="117903"/>
                  </a:lnTo>
                  <a:lnTo>
                    <a:pt x="320408" y="118878"/>
                  </a:lnTo>
                  <a:lnTo>
                    <a:pt x="320213" y="120448"/>
                  </a:lnTo>
                  <a:lnTo>
                    <a:pt x="318652" y="122288"/>
                  </a:lnTo>
                  <a:lnTo>
                    <a:pt x="316102" y="123160"/>
                  </a:lnTo>
                  <a:lnTo>
                    <a:pt x="314614" y="123538"/>
                  </a:lnTo>
                  <a:lnTo>
                    <a:pt x="307272" y="126985"/>
                  </a:lnTo>
                  <a:lnTo>
                    <a:pt x="304979" y="128432"/>
                  </a:lnTo>
                  <a:lnTo>
                    <a:pt x="303206" y="130176"/>
                  </a:lnTo>
                  <a:lnTo>
                    <a:pt x="302552" y="131484"/>
                  </a:lnTo>
                  <a:lnTo>
                    <a:pt x="302197" y="132762"/>
                  </a:lnTo>
                  <a:lnTo>
                    <a:pt x="303787" y="137384"/>
                  </a:lnTo>
                  <a:lnTo>
                    <a:pt x="304055" y="138815"/>
                  </a:lnTo>
                  <a:lnTo>
                    <a:pt x="302750" y="143796"/>
                  </a:lnTo>
                  <a:lnTo>
                    <a:pt x="302368" y="145645"/>
                  </a:lnTo>
                  <a:lnTo>
                    <a:pt x="302856" y="146935"/>
                  </a:lnTo>
                  <a:lnTo>
                    <a:pt x="304417" y="147419"/>
                  </a:lnTo>
                  <a:lnTo>
                    <a:pt x="304759" y="148493"/>
                  </a:lnTo>
                  <a:lnTo>
                    <a:pt x="304914" y="149323"/>
                  </a:lnTo>
                  <a:lnTo>
                    <a:pt x="302193" y="151150"/>
                  </a:lnTo>
                  <a:lnTo>
                    <a:pt x="299332" y="152764"/>
                  </a:lnTo>
                  <a:lnTo>
                    <a:pt x="298425" y="152760"/>
                  </a:lnTo>
                  <a:lnTo>
                    <a:pt x="295689" y="155791"/>
                  </a:lnTo>
                  <a:lnTo>
                    <a:pt x="291120" y="161850"/>
                  </a:lnTo>
                  <a:lnTo>
                    <a:pt x="288695" y="163897"/>
                  </a:lnTo>
                  <a:lnTo>
                    <a:pt x="288524" y="164900"/>
                  </a:lnTo>
                  <a:lnTo>
                    <a:pt x="288328" y="165916"/>
                  </a:lnTo>
                  <a:lnTo>
                    <a:pt x="289254" y="167626"/>
                  </a:lnTo>
                  <a:lnTo>
                    <a:pt x="289448" y="169070"/>
                  </a:lnTo>
                  <a:lnTo>
                    <a:pt x="288412" y="170526"/>
                  </a:lnTo>
                  <a:lnTo>
                    <a:pt x="286702" y="172189"/>
                  </a:lnTo>
                  <a:lnTo>
                    <a:pt x="283359" y="173646"/>
                  </a:lnTo>
                  <a:lnTo>
                    <a:pt x="279146" y="175135"/>
                  </a:lnTo>
                  <a:lnTo>
                    <a:pt x="277248" y="176037"/>
                  </a:lnTo>
                  <a:lnTo>
                    <a:pt x="275825" y="179940"/>
                  </a:lnTo>
                  <a:lnTo>
                    <a:pt x="274510" y="183861"/>
                  </a:lnTo>
                  <a:lnTo>
                    <a:pt x="273921" y="185311"/>
                  </a:lnTo>
                  <a:lnTo>
                    <a:pt x="271647" y="189815"/>
                  </a:lnTo>
                  <a:lnTo>
                    <a:pt x="267675" y="196442"/>
                  </a:lnTo>
                  <a:lnTo>
                    <a:pt x="266671" y="197888"/>
                  </a:lnTo>
                  <a:lnTo>
                    <a:pt x="260530" y="201078"/>
                  </a:lnTo>
                  <a:lnTo>
                    <a:pt x="254257" y="204544"/>
                  </a:lnTo>
                  <a:lnTo>
                    <a:pt x="253154" y="205856"/>
                  </a:lnTo>
                  <a:lnTo>
                    <a:pt x="251869" y="209012"/>
                  </a:lnTo>
                  <a:lnTo>
                    <a:pt x="250660" y="212467"/>
                  </a:lnTo>
                  <a:lnTo>
                    <a:pt x="249539" y="214275"/>
                  </a:lnTo>
                  <a:lnTo>
                    <a:pt x="245548" y="218324"/>
                  </a:lnTo>
                  <a:lnTo>
                    <a:pt x="244240" y="221431"/>
                  </a:lnTo>
                  <a:lnTo>
                    <a:pt x="243829" y="223463"/>
                  </a:lnTo>
                  <a:lnTo>
                    <a:pt x="240433" y="224597"/>
                  </a:lnTo>
                  <a:lnTo>
                    <a:pt x="236591" y="225677"/>
                  </a:lnTo>
                  <a:lnTo>
                    <a:pt x="231000" y="226026"/>
                  </a:lnTo>
                  <a:lnTo>
                    <a:pt x="228671" y="226591"/>
                  </a:lnTo>
                  <a:lnTo>
                    <a:pt x="221819" y="229390"/>
                  </a:lnTo>
                  <a:lnTo>
                    <a:pt x="220117" y="229505"/>
                  </a:lnTo>
                  <a:lnTo>
                    <a:pt x="218778" y="229043"/>
                  </a:lnTo>
                  <a:lnTo>
                    <a:pt x="217765" y="228088"/>
                  </a:lnTo>
                  <a:lnTo>
                    <a:pt x="216826" y="226502"/>
                  </a:lnTo>
                  <a:lnTo>
                    <a:pt x="216384" y="224062"/>
                  </a:lnTo>
                  <a:lnTo>
                    <a:pt x="215060" y="222954"/>
                  </a:lnTo>
                  <a:lnTo>
                    <a:pt x="213276" y="222013"/>
                  </a:lnTo>
                  <a:lnTo>
                    <a:pt x="211400" y="221967"/>
                  </a:lnTo>
                  <a:lnTo>
                    <a:pt x="209514" y="223005"/>
                  </a:lnTo>
                  <a:lnTo>
                    <a:pt x="207875" y="224141"/>
                  </a:lnTo>
                  <a:lnTo>
                    <a:pt x="206761" y="225080"/>
                  </a:lnTo>
                  <a:lnTo>
                    <a:pt x="205668" y="226176"/>
                  </a:lnTo>
                  <a:lnTo>
                    <a:pt x="203574" y="229861"/>
                  </a:lnTo>
                  <a:lnTo>
                    <a:pt x="200179" y="235136"/>
                  </a:lnTo>
                  <a:lnTo>
                    <a:pt x="196388" y="238972"/>
                  </a:lnTo>
                  <a:lnTo>
                    <a:pt x="194984" y="240120"/>
                  </a:lnTo>
                  <a:lnTo>
                    <a:pt x="194105" y="240988"/>
                  </a:lnTo>
                  <a:lnTo>
                    <a:pt x="192920" y="242261"/>
                  </a:lnTo>
                  <a:lnTo>
                    <a:pt x="192235" y="243490"/>
                  </a:lnTo>
                  <a:lnTo>
                    <a:pt x="191296" y="247505"/>
                  </a:lnTo>
                  <a:lnTo>
                    <a:pt x="190754" y="251063"/>
                  </a:lnTo>
                  <a:lnTo>
                    <a:pt x="191002" y="251858"/>
                  </a:lnTo>
                  <a:lnTo>
                    <a:pt x="191570" y="252531"/>
                  </a:lnTo>
                  <a:lnTo>
                    <a:pt x="193641" y="253565"/>
                  </a:lnTo>
                  <a:lnTo>
                    <a:pt x="196634" y="255276"/>
                  </a:lnTo>
                  <a:lnTo>
                    <a:pt x="200514" y="256247"/>
                  </a:lnTo>
                  <a:lnTo>
                    <a:pt x="203786" y="256422"/>
                  </a:lnTo>
                  <a:lnTo>
                    <a:pt x="205008" y="257150"/>
                  </a:lnTo>
                  <a:lnTo>
                    <a:pt x="205738" y="258137"/>
                  </a:lnTo>
                  <a:lnTo>
                    <a:pt x="205941" y="258968"/>
                  </a:lnTo>
                  <a:lnTo>
                    <a:pt x="205772" y="261904"/>
                  </a:lnTo>
                  <a:lnTo>
                    <a:pt x="205405" y="265049"/>
                  </a:lnTo>
                  <a:lnTo>
                    <a:pt x="204191" y="268430"/>
                  </a:lnTo>
                  <a:lnTo>
                    <a:pt x="204211" y="270368"/>
                  </a:lnTo>
                  <a:lnTo>
                    <a:pt x="204688" y="272260"/>
                  </a:lnTo>
                  <a:lnTo>
                    <a:pt x="208325" y="277069"/>
                  </a:lnTo>
                  <a:lnTo>
                    <a:pt x="209664" y="277560"/>
                  </a:lnTo>
                  <a:lnTo>
                    <a:pt x="212391" y="277664"/>
                  </a:lnTo>
                  <a:lnTo>
                    <a:pt x="213658" y="277570"/>
                  </a:lnTo>
                  <a:lnTo>
                    <a:pt x="215066" y="277083"/>
                  </a:lnTo>
                  <a:lnTo>
                    <a:pt x="216068" y="277414"/>
                  </a:lnTo>
                  <a:lnTo>
                    <a:pt x="216811" y="278004"/>
                  </a:lnTo>
                  <a:lnTo>
                    <a:pt x="217005" y="278976"/>
                  </a:lnTo>
                  <a:lnTo>
                    <a:pt x="216891" y="283763"/>
                  </a:lnTo>
                  <a:lnTo>
                    <a:pt x="218007" y="285928"/>
                  </a:lnTo>
                  <a:lnTo>
                    <a:pt x="220173" y="288878"/>
                  </a:lnTo>
                  <a:lnTo>
                    <a:pt x="221881" y="292242"/>
                  </a:lnTo>
                  <a:lnTo>
                    <a:pt x="223499" y="296275"/>
                  </a:lnTo>
                  <a:lnTo>
                    <a:pt x="225043" y="299424"/>
                  </a:lnTo>
                  <a:lnTo>
                    <a:pt x="225643" y="301067"/>
                  </a:lnTo>
                  <a:lnTo>
                    <a:pt x="224637" y="301861"/>
                  </a:lnTo>
                  <a:lnTo>
                    <a:pt x="224062" y="302687"/>
                  </a:lnTo>
                  <a:lnTo>
                    <a:pt x="223918" y="303788"/>
                  </a:lnTo>
                  <a:lnTo>
                    <a:pt x="224127" y="304948"/>
                  </a:lnTo>
                  <a:lnTo>
                    <a:pt x="223993" y="305771"/>
                  </a:lnTo>
                  <a:lnTo>
                    <a:pt x="224723" y="306782"/>
                  </a:lnTo>
                  <a:lnTo>
                    <a:pt x="225587" y="307118"/>
                  </a:lnTo>
                  <a:lnTo>
                    <a:pt x="225559" y="307820"/>
                  </a:lnTo>
                  <a:lnTo>
                    <a:pt x="224205" y="308736"/>
                  </a:lnTo>
                  <a:lnTo>
                    <a:pt x="222996" y="308705"/>
                  </a:lnTo>
                  <a:lnTo>
                    <a:pt x="222069" y="309142"/>
                  </a:lnTo>
                  <a:lnTo>
                    <a:pt x="220275" y="311059"/>
                  </a:lnTo>
                  <a:lnTo>
                    <a:pt x="219439" y="311447"/>
                  </a:lnTo>
                  <a:lnTo>
                    <a:pt x="218312" y="311621"/>
                  </a:lnTo>
                  <a:lnTo>
                    <a:pt x="217055" y="311431"/>
                  </a:lnTo>
                  <a:lnTo>
                    <a:pt x="215282" y="310659"/>
                  </a:lnTo>
                  <a:lnTo>
                    <a:pt x="214764" y="309438"/>
                  </a:lnTo>
                  <a:lnTo>
                    <a:pt x="214967" y="308156"/>
                  </a:lnTo>
                  <a:lnTo>
                    <a:pt x="214563" y="307393"/>
                  </a:lnTo>
                  <a:lnTo>
                    <a:pt x="213291" y="307537"/>
                  </a:lnTo>
                  <a:lnTo>
                    <a:pt x="208864" y="308847"/>
                  </a:lnTo>
                  <a:lnTo>
                    <a:pt x="204645" y="310461"/>
                  </a:lnTo>
                  <a:lnTo>
                    <a:pt x="203913" y="311561"/>
                  </a:lnTo>
                  <a:lnTo>
                    <a:pt x="202939" y="312710"/>
                  </a:lnTo>
                  <a:lnTo>
                    <a:pt x="201009" y="313182"/>
                  </a:lnTo>
                  <a:lnTo>
                    <a:pt x="198165" y="313327"/>
                  </a:lnTo>
                  <a:lnTo>
                    <a:pt x="196198" y="313154"/>
                  </a:lnTo>
                  <a:lnTo>
                    <a:pt x="194384" y="311921"/>
                  </a:lnTo>
                  <a:lnTo>
                    <a:pt x="192725" y="310798"/>
                  </a:lnTo>
                  <a:lnTo>
                    <a:pt x="190166" y="310745"/>
                  </a:lnTo>
                  <a:lnTo>
                    <a:pt x="185558" y="310912"/>
                  </a:lnTo>
                  <a:lnTo>
                    <a:pt x="183004" y="310903"/>
                  </a:lnTo>
                  <a:lnTo>
                    <a:pt x="181501" y="310488"/>
                  </a:lnTo>
                  <a:lnTo>
                    <a:pt x="180020" y="310798"/>
                  </a:lnTo>
                  <a:lnTo>
                    <a:pt x="178167" y="310345"/>
                  </a:lnTo>
                  <a:lnTo>
                    <a:pt x="177342" y="310953"/>
                  </a:lnTo>
                  <a:lnTo>
                    <a:pt x="176564" y="311011"/>
                  </a:lnTo>
                  <a:lnTo>
                    <a:pt x="175938" y="309955"/>
                  </a:lnTo>
                  <a:lnTo>
                    <a:pt x="175521" y="309846"/>
                  </a:lnTo>
                  <a:lnTo>
                    <a:pt x="175031" y="309998"/>
                  </a:lnTo>
                  <a:lnTo>
                    <a:pt x="174604" y="310356"/>
                  </a:lnTo>
                  <a:lnTo>
                    <a:pt x="174349" y="310974"/>
                  </a:lnTo>
                  <a:lnTo>
                    <a:pt x="174260" y="318024"/>
                  </a:lnTo>
                  <a:lnTo>
                    <a:pt x="171220" y="317979"/>
                  </a:lnTo>
                  <a:lnTo>
                    <a:pt x="169054" y="317964"/>
                  </a:lnTo>
                  <a:lnTo>
                    <a:pt x="166679" y="318347"/>
                  </a:lnTo>
                  <a:lnTo>
                    <a:pt x="164495" y="318883"/>
                  </a:lnTo>
                  <a:lnTo>
                    <a:pt x="163426" y="319525"/>
                  </a:lnTo>
                  <a:lnTo>
                    <a:pt x="161898" y="320537"/>
                  </a:lnTo>
                  <a:lnTo>
                    <a:pt x="161539" y="321943"/>
                  </a:lnTo>
                  <a:lnTo>
                    <a:pt x="160803" y="322968"/>
                  </a:lnTo>
                  <a:lnTo>
                    <a:pt x="159747" y="321448"/>
                  </a:lnTo>
                  <a:lnTo>
                    <a:pt x="159067" y="320749"/>
                  </a:lnTo>
                  <a:lnTo>
                    <a:pt x="158281" y="321268"/>
                  </a:lnTo>
                  <a:lnTo>
                    <a:pt x="157164" y="321208"/>
                  </a:lnTo>
                  <a:lnTo>
                    <a:pt x="155152" y="319475"/>
                  </a:lnTo>
                  <a:lnTo>
                    <a:pt x="154247" y="321221"/>
                  </a:lnTo>
                  <a:lnTo>
                    <a:pt x="150918" y="321621"/>
                  </a:lnTo>
                  <a:lnTo>
                    <a:pt x="150499" y="320304"/>
                  </a:lnTo>
                  <a:lnTo>
                    <a:pt x="150416" y="319073"/>
                  </a:lnTo>
                  <a:lnTo>
                    <a:pt x="148587" y="319963"/>
                  </a:lnTo>
                  <a:lnTo>
                    <a:pt x="147272" y="318601"/>
                  </a:lnTo>
                  <a:lnTo>
                    <a:pt x="146681" y="316769"/>
                  </a:lnTo>
                  <a:lnTo>
                    <a:pt x="146173" y="316263"/>
                  </a:lnTo>
                  <a:lnTo>
                    <a:pt x="145592" y="315678"/>
                  </a:lnTo>
                  <a:lnTo>
                    <a:pt x="144213" y="315052"/>
                  </a:lnTo>
                  <a:lnTo>
                    <a:pt x="142977" y="313102"/>
                  </a:lnTo>
                  <a:lnTo>
                    <a:pt x="142865" y="311038"/>
                  </a:lnTo>
                  <a:lnTo>
                    <a:pt x="142520" y="308578"/>
                  </a:lnTo>
                  <a:lnTo>
                    <a:pt x="139928" y="299460"/>
                  </a:lnTo>
                  <a:lnTo>
                    <a:pt x="138361" y="298618"/>
                  </a:lnTo>
                  <a:lnTo>
                    <a:pt x="129570" y="296996"/>
                  </a:lnTo>
                  <a:lnTo>
                    <a:pt x="129110" y="295398"/>
                  </a:lnTo>
                  <a:lnTo>
                    <a:pt x="129721" y="291104"/>
                  </a:lnTo>
                  <a:lnTo>
                    <a:pt x="129473" y="288396"/>
                  </a:lnTo>
                  <a:lnTo>
                    <a:pt x="126626" y="284809"/>
                  </a:lnTo>
                  <a:lnTo>
                    <a:pt x="125830" y="282313"/>
                  </a:lnTo>
                  <a:lnTo>
                    <a:pt x="123502" y="280166"/>
                  </a:lnTo>
                  <a:lnTo>
                    <a:pt x="121193" y="279541"/>
                  </a:lnTo>
                  <a:lnTo>
                    <a:pt x="118868" y="279823"/>
                  </a:lnTo>
                  <a:lnTo>
                    <a:pt x="117613" y="280672"/>
                  </a:lnTo>
                  <a:lnTo>
                    <a:pt x="116924" y="282103"/>
                  </a:lnTo>
                  <a:lnTo>
                    <a:pt x="121906" y="281770"/>
                  </a:lnTo>
                  <a:lnTo>
                    <a:pt x="123027" y="282296"/>
                  </a:lnTo>
                  <a:lnTo>
                    <a:pt x="124365" y="283234"/>
                  </a:lnTo>
                  <a:lnTo>
                    <a:pt x="122934" y="283198"/>
                  </a:lnTo>
                  <a:lnTo>
                    <a:pt x="121284" y="282751"/>
                  </a:lnTo>
                  <a:lnTo>
                    <a:pt x="119213" y="282785"/>
                  </a:lnTo>
                  <a:lnTo>
                    <a:pt x="111450" y="283840"/>
                  </a:lnTo>
                  <a:lnTo>
                    <a:pt x="106942" y="285357"/>
                  </a:lnTo>
                  <a:lnTo>
                    <a:pt x="100895" y="284908"/>
                  </a:lnTo>
                  <a:lnTo>
                    <a:pt x="93268" y="286399"/>
                  </a:lnTo>
                  <a:lnTo>
                    <a:pt x="86974" y="286487"/>
                  </a:lnTo>
                  <a:lnTo>
                    <a:pt x="84372" y="289391"/>
                  </a:lnTo>
                  <a:lnTo>
                    <a:pt x="82936" y="288868"/>
                  </a:lnTo>
                  <a:lnTo>
                    <a:pt x="81823" y="288152"/>
                  </a:lnTo>
                  <a:lnTo>
                    <a:pt x="73162" y="285872"/>
                  </a:lnTo>
                  <a:lnTo>
                    <a:pt x="72562" y="284918"/>
                  </a:lnTo>
                  <a:lnTo>
                    <a:pt x="71113" y="284233"/>
                  </a:lnTo>
                  <a:lnTo>
                    <a:pt x="69519" y="285454"/>
                  </a:lnTo>
                  <a:lnTo>
                    <a:pt x="68375" y="285657"/>
                  </a:lnTo>
                  <a:lnTo>
                    <a:pt x="63629" y="284635"/>
                  </a:lnTo>
                  <a:lnTo>
                    <a:pt x="59996" y="285407"/>
                  </a:lnTo>
                  <a:lnTo>
                    <a:pt x="58649" y="286719"/>
                  </a:lnTo>
                  <a:lnTo>
                    <a:pt x="58554" y="288761"/>
                  </a:lnTo>
                  <a:lnTo>
                    <a:pt x="54006" y="288366"/>
                  </a:lnTo>
                  <a:lnTo>
                    <a:pt x="51448" y="287723"/>
                  </a:lnTo>
                  <a:lnTo>
                    <a:pt x="48020" y="288435"/>
                  </a:lnTo>
                  <a:lnTo>
                    <a:pt x="40275" y="287489"/>
                  </a:lnTo>
                  <a:lnTo>
                    <a:pt x="38234" y="287727"/>
                  </a:lnTo>
                  <a:lnTo>
                    <a:pt x="35410" y="289080"/>
                  </a:lnTo>
                  <a:lnTo>
                    <a:pt x="34226" y="290134"/>
                  </a:lnTo>
                  <a:lnTo>
                    <a:pt x="32548" y="290549"/>
                  </a:lnTo>
                  <a:lnTo>
                    <a:pt x="31076" y="289078"/>
                  </a:lnTo>
                  <a:lnTo>
                    <a:pt x="29968" y="288430"/>
                  </a:lnTo>
                  <a:lnTo>
                    <a:pt x="28940" y="288860"/>
                  </a:lnTo>
                  <a:lnTo>
                    <a:pt x="27554" y="290068"/>
                  </a:lnTo>
                  <a:lnTo>
                    <a:pt x="23540" y="290634"/>
                  </a:lnTo>
                  <a:lnTo>
                    <a:pt x="19907" y="290472"/>
                  </a:lnTo>
                  <a:lnTo>
                    <a:pt x="15999" y="289338"/>
                  </a:lnTo>
                  <a:lnTo>
                    <a:pt x="16463" y="288961"/>
                  </a:lnTo>
                  <a:lnTo>
                    <a:pt x="17072" y="286987"/>
                  </a:lnTo>
                  <a:lnTo>
                    <a:pt x="17618" y="279947"/>
                  </a:lnTo>
                  <a:lnTo>
                    <a:pt x="18310" y="277403"/>
                  </a:lnTo>
                  <a:lnTo>
                    <a:pt x="18098" y="276012"/>
                  </a:lnTo>
                  <a:lnTo>
                    <a:pt x="18249" y="275594"/>
                  </a:lnTo>
                  <a:lnTo>
                    <a:pt x="19776" y="274362"/>
                  </a:lnTo>
                  <a:lnTo>
                    <a:pt x="20145" y="273836"/>
                  </a:lnTo>
                  <a:lnTo>
                    <a:pt x="20728" y="270231"/>
                  </a:lnTo>
                  <a:lnTo>
                    <a:pt x="21374" y="266221"/>
                  </a:lnTo>
                  <a:lnTo>
                    <a:pt x="22091" y="264785"/>
                  </a:lnTo>
                  <a:lnTo>
                    <a:pt x="22697" y="264395"/>
                  </a:lnTo>
                  <a:lnTo>
                    <a:pt x="27545" y="262598"/>
                  </a:lnTo>
                  <a:lnTo>
                    <a:pt x="28361" y="261396"/>
                  </a:lnTo>
                  <a:lnTo>
                    <a:pt x="30868" y="261679"/>
                  </a:lnTo>
                  <a:lnTo>
                    <a:pt x="31095" y="261390"/>
                  </a:lnTo>
                  <a:lnTo>
                    <a:pt x="31318" y="260009"/>
                  </a:lnTo>
                  <a:lnTo>
                    <a:pt x="32482" y="258507"/>
                  </a:lnTo>
                  <a:lnTo>
                    <a:pt x="34091" y="257279"/>
                  </a:lnTo>
                  <a:lnTo>
                    <a:pt x="35289" y="256842"/>
                  </a:lnTo>
                  <a:lnTo>
                    <a:pt x="39649" y="256068"/>
                  </a:lnTo>
                  <a:lnTo>
                    <a:pt x="42194" y="254988"/>
                  </a:lnTo>
                  <a:lnTo>
                    <a:pt x="42970" y="254876"/>
                  </a:lnTo>
                  <a:lnTo>
                    <a:pt x="49744" y="255151"/>
                  </a:lnTo>
                  <a:lnTo>
                    <a:pt x="51178" y="254737"/>
                  </a:lnTo>
                  <a:lnTo>
                    <a:pt x="51404" y="254361"/>
                  </a:lnTo>
                  <a:lnTo>
                    <a:pt x="51804" y="250276"/>
                  </a:lnTo>
                  <a:lnTo>
                    <a:pt x="53030" y="249631"/>
                  </a:lnTo>
                  <a:lnTo>
                    <a:pt x="53225" y="249286"/>
                  </a:lnTo>
                  <a:lnTo>
                    <a:pt x="52806" y="246459"/>
                  </a:lnTo>
                  <a:lnTo>
                    <a:pt x="53041" y="244567"/>
                  </a:lnTo>
                  <a:lnTo>
                    <a:pt x="54436" y="243452"/>
                  </a:lnTo>
                  <a:lnTo>
                    <a:pt x="54356" y="242812"/>
                  </a:lnTo>
                  <a:lnTo>
                    <a:pt x="53354" y="241468"/>
                  </a:lnTo>
                  <a:lnTo>
                    <a:pt x="52024" y="240610"/>
                  </a:lnTo>
                  <a:lnTo>
                    <a:pt x="51376" y="240406"/>
                  </a:lnTo>
                  <a:lnTo>
                    <a:pt x="45818" y="241218"/>
                  </a:lnTo>
                  <a:lnTo>
                    <a:pt x="43523" y="240955"/>
                  </a:lnTo>
                  <a:lnTo>
                    <a:pt x="42447" y="240461"/>
                  </a:lnTo>
                  <a:lnTo>
                    <a:pt x="42220" y="240094"/>
                  </a:lnTo>
                  <a:lnTo>
                    <a:pt x="42436" y="239270"/>
                  </a:lnTo>
                  <a:lnTo>
                    <a:pt x="42475" y="237923"/>
                  </a:lnTo>
                  <a:lnTo>
                    <a:pt x="43285" y="235830"/>
                  </a:lnTo>
                  <a:lnTo>
                    <a:pt x="43531" y="234579"/>
                  </a:lnTo>
                  <a:lnTo>
                    <a:pt x="42875" y="227334"/>
                  </a:lnTo>
                  <a:lnTo>
                    <a:pt x="41933" y="222517"/>
                  </a:lnTo>
                  <a:lnTo>
                    <a:pt x="42436" y="217731"/>
                  </a:lnTo>
                  <a:lnTo>
                    <a:pt x="42337" y="216737"/>
                  </a:lnTo>
                  <a:lnTo>
                    <a:pt x="42147" y="216514"/>
                  </a:lnTo>
                  <a:lnTo>
                    <a:pt x="41443" y="216516"/>
                  </a:lnTo>
                  <a:lnTo>
                    <a:pt x="38059" y="216938"/>
                  </a:lnTo>
                  <a:lnTo>
                    <a:pt x="35170" y="213855"/>
                  </a:lnTo>
                  <a:lnTo>
                    <a:pt x="33382" y="212635"/>
                  </a:lnTo>
                  <a:lnTo>
                    <a:pt x="28463" y="211099"/>
                  </a:lnTo>
                  <a:lnTo>
                    <a:pt x="26306" y="210806"/>
                  </a:lnTo>
                  <a:lnTo>
                    <a:pt x="23140" y="209474"/>
                  </a:lnTo>
                  <a:lnTo>
                    <a:pt x="20225" y="206567"/>
                  </a:lnTo>
                  <a:lnTo>
                    <a:pt x="17240" y="203590"/>
                  </a:lnTo>
                  <a:lnTo>
                    <a:pt x="16040" y="201684"/>
                  </a:lnTo>
                  <a:lnTo>
                    <a:pt x="14710" y="198434"/>
                  </a:lnTo>
                  <a:lnTo>
                    <a:pt x="10935" y="192200"/>
                  </a:lnTo>
                  <a:lnTo>
                    <a:pt x="10970" y="190590"/>
                  </a:lnTo>
                  <a:lnTo>
                    <a:pt x="10503" y="189606"/>
                  </a:lnTo>
                  <a:lnTo>
                    <a:pt x="6828" y="185502"/>
                  </a:lnTo>
                  <a:lnTo>
                    <a:pt x="4220" y="182587"/>
                  </a:lnTo>
                  <a:lnTo>
                    <a:pt x="0" y="177868"/>
                  </a:lnTo>
                  <a:lnTo>
                    <a:pt x="8426" y="180510"/>
                  </a:lnTo>
                  <a:lnTo>
                    <a:pt x="14995" y="182533"/>
                  </a:lnTo>
                  <a:lnTo>
                    <a:pt x="25597" y="185799"/>
                  </a:lnTo>
                  <a:lnTo>
                    <a:pt x="33833" y="188333"/>
                  </a:lnTo>
                  <a:lnTo>
                    <a:pt x="36114" y="188744"/>
                  </a:lnTo>
                  <a:lnTo>
                    <a:pt x="60238" y="186581"/>
                  </a:lnTo>
                  <a:lnTo>
                    <a:pt x="69159" y="188220"/>
                  </a:lnTo>
                  <a:lnTo>
                    <a:pt x="71983" y="189139"/>
                  </a:lnTo>
                  <a:lnTo>
                    <a:pt x="72408" y="188601"/>
                  </a:lnTo>
                  <a:lnTo>
                    <a:pt x="73607" y="187489"/>
                  </a:lnTo>
                  <a:lnTo>
                    <a:pt x="75684" y="186365"/>
                  </a:lnTo>
                  <a:lnTo>
                    <a:pt x="78507" y="185463"/>
                  </a:lnTo>
                  <a:lnTo>
                    <a:pt x="81323" y="184976"/>
                  </a:lnTo>
                  <a:lnTo>
                    <a:pt x="85356" y="184912"/>
                  </a:lnTo>
                  <a:lnTo>
                    <a:pt x="88094" y="184984"/>
                  </a:lnTo>
                  <a:lnTo>
                    <a:pt x="90120" y="185259"/>
                  </a:lnTo>
                  <a:lnTo>
                    <a:pt x="94024" y="185098"/>
                  </a:lnTo>
                  <a:lnTo>
                    <a:pt x="95903" y="184659"/>
                  </a:lnTo>
                  <a:lnTo>
                    <a:pt x="102327" y="182874"/>
                  </a:lnTo>
                  <a:lnTo>
                    <a:pt x="106644" y="181672"/>
                  </a:lnTo>
                  <a:lnTo>
                    <a:pt x="113176" y="179797"/>
                  </a:lnTo>
                  <a:lnTo>
                    <a:pt x="117939" y="178426"/>
                  </a:lnTo>
                  <a:lnTo>
                    <a:pt x="119138" y="177698"/>
                  </a:lnTo>
                  <a:lnTo>
                    <a:pt x="120369" y="176385"/>
                  </a:lnTo>
                  <a:lnTo>
                    <a:pt x="120954" y="175210"/>
                  </a:lnTo>
                  <a:lnTo>
                    <a:pt x="119490" y="173396"/>
                  </a:lnTo>
                  <a:lnTo>
                    <a:pt x="119297" y="171795"/>
                  </a:lnTo>
                  <a:lnTo>
                    <a:pt x="120256" y="169764"/>
                  </a:lnTo>
                  <a:lnTo>
                    <a:pt x="120779" y="166668"/>
                  </a:lnTo>
                  <a:lnTo>
                    <a:pt x="120679" y="162256"/>
                  </a:lnTo>
                  <a:lnTo>
                    <a:pt x="120369" y="159707"/>
                  </a:lnTo>
                  <a:lnTo>
                    <a:pt x="121695" y="154969"/>
                  </a:lnTo>
                  <a:lnTo>
                    <a:pt x="122806" y="152306"/>
                  </a:lnTo>
                  <a:lnTo>
                    <a:pt x="125022" y="151032"/>
                  </a:lnTo>
                  <a:lnTo>
                    <a:pt x="126557" y="150251"/>
                  </a:lnTo>
                  <a:lnTo>
                    <a:pt x="127199" y="149682"/>
                  </a:lnTo>
                  <a:lnTo>
                    <a:pt x="127827" y="149046"/>
                  </a:lnTo>
                  <a:lnTo>
                    <a:pt x="130196" y="145427"/>
                  </a:lnTo>
                  <a:lnTo>
                    <a:pt x="132362" y="143740"/>
                  </a:lnTo>
                  <a:lnTo>
                    <a:pt x="134463" y="142717"/>
                  </a:lnTo>
                  <a:lnTo>
                    <a:pt x="136750" y="142848"/>
                  </a:lnTo>
                  <a:lnTo>
                    <a:pt x="138700" y="144246"/>
                  </a:lnTo>
                  <a:lnTo>
                    <a:pt x="142489" y="144859"/>
                  </a:lnTo>
                  <a:lnTo>
                    <a:pt x="146150" y="144449"/>
                  </a:lnTo>
                  <a:lnTo>
                    <a:pt x="149324" y="143398"/>
                  </a:lnTo>
                  <a:lnTo>
                    <a:pt x="150764" y="142536"/>
                  </a:lnTo>
                  <a:lnTo>
                    <a:pt x="152453" y="141781"/>
                  </a:lnTo>
                  <a:lnTo>
                    <a:pt x="152355" y="140919"/>
                  </a:lnTo>
                  <a:lnTo>
                    <a:pt x="150445" y="140169"/>
                  </a:lnTo>
                  <a:lnTo>
                    <a:pt x="149349" y="139110"/>
                  </a:lnTo>
                  <a:lnTo>
                    <a:pt x="148922" y="137810"/>
                  </a:lnTo>
                  <a:lnTo>
                    <a:pt x="149995" y="137022"/>
                  </a:lnTo>
                  <a:lnTo>
                    <a:pt x="152496" y="136791"/>
                  </a:lnTo>
                  <a:lnTo>
                    <a:pt x="158629" y="133617"/>
                  </a:lnTo>
                  <a:lnTo>
                    <a:pt x="161127" y="131530"/>
                  </a:lnTo>
                  <a:lnTo>
                    <a:pt x="161809" y="130558"/>
                  </a:lnTo>
                  <a:lnTo>
                    <a:pt x="162980" y="130450"/>
                  </a:lnTo>
                  <a:lnTo>
                    <a:pt x="165321" y="131422"/>
                  </a:lnTo>
                  <a:lnTo>
                    <a:pt x="168050" y="131745"/>
                  </a:lnTo>
                  <a:lnTo>
                    <a:pt x="169763" y="130774"/>
                  </a:lnTo>
                  <a:lnTo>
                    <a:pt x="171464" y="130558"/>
                  </a:lnTo>
                  <a:lnTo>
                    <a:pt x="173135" y="131617"/>
                  </a:lnTo>
                  <a:lnTo>
                    <a:pt x="174029" y="132881"/>
                  </a:lnTo>
                  <a:lnTo>
                    <a:pt x="175547" y="134389"/>
                  </a:lnTo>
                  <a:lnTo>
                    <a:pt x="177462" y="134688"/>
                  </a:lnTo>
                  <a:lnTo>
                    <a:pt x="179773" y="133876"/>
                  </a:lnTo>
                  <a:lnTo>
                    <a:pt x="182198" y="132137"/>
                  </a:lnTo>
                  <a:lnTo>
                    <a:pt x="184494" y="129698"/>
                  </a:lnTo>
                  <a:lnTo>
                    <a:pt x="186536" y="127279"/>
                  </a:lnTo>
                  <a:lnTo>
                    <a:pt x="186033" y="119608"/>
                  </a:lnTo>
                  <a:lnTo>
                    <a:pt x="185699" y="115084"/>
                  </a:lnTo>
                  <a:lnTo>
                    <a:pt x="186772" y="112698"/>
                  </a:lnTo>
                  <a:lnTo>
                    <a:pt x="188309" y="111227"/>
                  </a:lnTo>
                  <a:lnTo>
                    <a:pt x="189324" y="108952"/>
                  </a:lnTo>
                  <a:lnTo>
                    <a:pt x="189307" y="106943"/>
                  </a:lnTo>
                  <a:lnTo>
                    <a:pt x="190380" y="105253"/>
                  </a:lnTo>
                  <a:lnTo>
                    <a:pt x="191451" y="100632"/>
                  </a:lnTo>
                  <a:lnTo>
                    <a:pt x="192915" y="99544"/>
                  </a:lnTo>
                  <a:lnTo>
                    <a:pt x="195921" y="98789"/>
                  </a:lnTo>
                  <a:lnTo>
                    <a:pt x="200706" y="98349"/>
                  </a:lnTo>
                  <a:lnTo>
                    <a:pt x="204468" y="96234"/>
                  </a:lnTo>
                  <a:lnTo>
                    <a:pt x="208247" y="93986"/>
                  </a:lnTo>
                  <a:lnTo>
                    <a:pt x="208756" y="92006"/>
                  </a:lnTo>
                  <a:lnTo>
                    <a:pt x="207331" y="89885"/>
                  </a:lnTo>
                  <a:lnTo>
                    <a:pt x="205440" y="85770"/>
                  </a:lnTo>
                  <a:lnTo>
                    <a:pt x="203725" y="83312"/>
                  </a:lnTo>
                  <a:lnTo>
                    <a:pt x="199555" y="78898"/>
                  </a:lnTo>
                  <a:lnTo>
                    <a:pt x="200033" y="76173"/>
                  </a:lnTo>
                  <a:lnTo>
                    <a:pt x="202356" y="75066"/>
                  </a:lnTo>
                  <a:lnTo>
                    <a:pt x="208081" y="76952"/>
                  </a:lnTo>
                  <a:lnTo>
                    <a:pt x="209674" y="77320"/>
                  </a:lnTo>
                  <a:lnTo>
                    <a:pt x="211665" y="77586"/>
                  </a:lnTo>
                  <a:lnTo>
                    <a:pt x="216934" y="77540"/>
                  </a:lnTo>
                  <a:lnTo>
                    <a:pt x="221233" y="76805"/>
                  </a:lnTo>
                  <a:lnTo>
                    <a:pt x="225725" y="75118"/>
                  </a:lnTo>
                  <a:lnTo>
                    <a:pt x="226604" y="73363"/>
                  </a:lnTo>
                  <a:lnTo>
                    <a:pt x="226554" y="71277"/>
                  </a:lnTo>
                  <a:lnTo>
                    <a:pt x="226628" y="69554"/>
                  </a:lnTo>
                  <a:lnTo>
                    <a:pt x="226701" y="67157"/>
                  </a:lnTo>
                  <a:lnTo>
                    <a:pt x="225093" y="65619"/>
                  </a:lnTo>
                  <a:lnTo>
                    <a:pt x="224118" y="64243"/>
                  </a:lnTo>
                  <a:lnTo>
                    <a:pt x="223825" y="63143"/>
                  </a:lnTo>
                  <a:lnTo>
                    <a:pt x="224946" y="62538"/>
                  </a:lnTo>
                  <a:lnTo>
                    <a:pt x="226036" y="61415"/>
                  </a:lnTo>
                  <a:lnTo>
                    <a:pt x="227090" y="59367"/>
                  </a:lnTo>
                  <a:lnTo>
                    <a:pt x="229578" y="56919"/>
                  </a:lnTo>
                  <a:lnTo>
                    <a:pt x="231089" y="54713"/>
                  </a:lnTo>
                  <a:lnTo>
                    <a:pt x="232503" y="53665"/>
                  </a:lnTo>
                  <a:lnTo>
                    <a:pt x="234647" y="52230"/>
                  </a:lnTo>
                  <a:lnTo>
                    <a:pt x="236019" y="50122"/>
                  </a:lnTo>
                  <a:lnTo>
                    <a:pt x="236647" y="48862"/>
                  </a:lnTo>
                  <a:lnTo>
                    <a:pt x="237889" y="47627"/>
                  </a:lnTo>
                  <a:lnTo>
                    <a:pt x="238306" y="46816"/>
                  </a:lnTo>
                  <a:lnTo>
                    <a:pt x="237969" y="46095"/>
                  </a:lnTo>
                  <a:lnTo>
                    <a:pt x="237349" y="45186"/>
                  </a:lnTo>
                  <a:lnTo>
                    <a:pt x="236647" y="44161"/>
                  </a:lnTo>
                  <a:lnTo>
                    <a:pt x="236647" y="43165"/>
                  </a:lnTo>
                  <a:lnTo>
                    <a:pt x="237232" y="42113"/>
                  </a:lnTo>
                  <a:lnTo>
                    <a:pt x="237865" y="41172"/>
                  </a:lnTo>
                  <a:lnTo>
                    <a:pt x="237574" y="39841"/>
                  </a:lnTo>
                  <a:lnTo>
                    <a:pt x="237232" y="37680"/>
                  </a:lnTo>
                  <a:lnTo>
                    <a:pt x="236062" y="36405"/>
                  </a:lnTo>
                  <a:lnTo>
                    <a:pt x="235278" y="33458"/>
                  </a:lnTo>
                  <a:lnTo>
                    <a:pt x="234038" y="30457"/>
                  </a:lnTo>
                  <a:lnTo>
                    <a:pt x="233376" y="29287"/>
                  </a:lnTo>
                  <a:lnTo>
                    <a:pt x="232166" y="27815"/>
                  </a:lnTo>
                  <a:lnTo>
                    <a:pt x="229454" y="26247"/>
                  </a:lnTo>
                  <a:lnTo>
                    <a:pt x="228677" y="25202"/>
                  </a:lnTo>
                  <a:lnTo>
                    <a:pt x="229735" y="23190"/>
                  </a:lnTo>
                  <a:lnTo>
                    <a:pt x="231497" y="21942"/>
                  </a:lnTo>
                  <a:lnTo>
                    <a:pt x="234829" y="18856"/>
                  </a:lnTo>
                  <a:lnTo>
                    <a:pt x="236656" y="16721"/>
                  </a:lnTo>
                  <a:lnTo>
                    <a:pt x="238306" y="15232"/>
                  </a:lnTo>
                  <a:lnTo>
                    <a:pt x="240426" y="15483"/>
                  </a:lnTo>
                  <a:lnTo>
                    <a:pt x="241670" y="15350"/>
                  </a:lnTo>
                  <a:lnTo>
                    <a:pt x="242767" y="13976"/>
                  </a:lnTo>
                  <a:lnTo>
                    <a:pt x="244943" y="12758"/>
                  </a:lnTo>
                  <a:lnTo>
                    <a:pt x="248811" y="10234"/>
                  </a:lnTo>
                  <a:lnTo>
                    <a:pt x="250163" y="8531"/>
                  </a:lnTo>
                  <a:lnTo>
                    <a:pt x="252221" y="7672"/>
                  </a:lnTo>
                  <a:lnTo>
                    <a:pt x="253926" y="7478"/>
                  </a:lnTo>
                  <a:lnTo>
                    <a:pt x="256231" y="6883"/>
                  </a:lnTo>
                  <a:lnTo>
                    <a:pt x="258446" y="5964"/>
                  </a:lnTo>
                  <a:lnTo>
                    <a:pt x="260469" y="5264"/>
                  </a:lnTo>
                  <a:lnTo>
                    <a:pt x="263639" y="5126"/>
                  </a:lnTo>
                  <a:lnTo>
                    <a:pt x="268671" y="4705"/>
                  </a:lnTo>
                  <a:lnTo>
                    <a:pt x="271392" y="4274"/>
                  </a:lnTo>
                  <a:lnTo>
                    <a:pt x="277900" y="3940"/>
                  </a:lnTo>
                  <a:lnTo>
                    <a:pt x="284992" y="3785"/>
                  </a:lnTo>
                  <a:lnTo>
                    <a:pt x="285816" y="3768"/>
                  </a:lnTo>
                  <a:lnTo>
                    <a:pt x="288883" y="4671"/>
                  </a:lnTo>
                  <a:lnTo>
                    <a:pt x="290962" y="5429"/>
                  </a:lnTo>
                  <a:lnTo>
                    <a:pt x="291780" y="5362"/>
                  </a:lnTo>
                  <a:lnTo>
                    <a:pt x="295227" y="3555"/>
                  </a:lnTo>
                  <a:lnTo>
                    <a:pt x="300453" y="1348"/>
                  </a:lnTo>
                  <a:lnTo>
                    <a:pt x="302893" y="369"/>
                  </a:lnTo>
                  <a:lnTo>
                    <a:pt x="304201" y="0"/>
                  </a:lnTo>
                  <a:lnTo>
                    <a:pt x="306227" y="24"/>
                  </a:lnTo>
                  <a:lnTo>
                    <a:pt x="307860" y="609"/>
                  </a:lnTo>
                  <a:lnTo>
                    <a:pt x="309522" y="1465"/>
                  </a:lnTo>
                  <a:lnTo>
                    <a:pt x="310585" y="2143"/>
                  </a:lnTo>
                  <a:lnTo>
                    <a:pt x="311908" y="1738"/>
                  </a:lnTo>
                  <a:lnTo>
                    <a:pt x="314225" y="1260"/>
                  </a:lnTo>
                  <a:lnTo>
                    <a:pt x="316244" y="1613"/>
                  </a:lnTo>
                  <a:lnTo>
                    <a:pt x="320699" y="3133"/>
                  </a:lnTo>
                  <a:lnTo>
                    <a:pt x="321366" y="3890"/>
                  </a:lnTo>
                  <a:lnTo>
                    <a:pt x="322414" y="7583"/>
                  </a:lnTo>
                  <a:lnTo>
                    <a:pt x="323211" y="7918"/>
                  </a:lnTo>
                  <a:lnTo>
                    <a:pt x="325720" y="7048"/>
                  </a:lnTo>
                  <a:lnTo>
                    <a:pt x="327786" y="7488"/>
                  </a:lnTo>
                  <a:lnTo>
                    <a:pt x="330108" y="8682"/>
                  </a:lnTo>
                  <a:lnTo>
                    <a:pt x="331613" y="9829"/>
                  </a:lnTo>
                  <a:lnTo>
                    <a:pt x="332602" y="11071"/>
                  </a:lnTo>
                  <a:lnTo>
                    <a:pt x="333664" y="13077"/>
                  </a:lnTo>
                  <a:lnTo>
                    <a:pt x="334081" y="14685"/>
                  </a:lnTo>
                  <a:lnTo>
                    <a:pt x="334580" y="16601"/>
                  </a:lnTo>
                  <a:lnTo>
                    <a:pt x="334452" y="22001"/>
                  </a:lnTo>
                  <a:lnTo>
                    <a:pt x="333688" y="22883"/>
                  </a:lnTo>
                  <a:lnTo>
                    <a:pt x="333042" y="24031"/>
                  </a:lnTo>
                  <a:lnTo>
                    <a:pt x="333206" y="25029"/>
                  </a:lnTo>
                  <a:lnTo>
                    <a:pt x="333932" y="25821"/>
                  </a:lnTo>
                  <a:lnTo>
                    <a:pt x="335376" y="26357"/>
                  </a:lnTo>
                  <a:lnTo>
                    <a:pt x="336713" y="26693"/>
                  </a:lnTo>
                  <a:lnTo>
                    <a:pt x="337430" y="27546"/>
                  </a:lnTo>
                  <a:lnTo>
                    <a:pt x="338415" y="30576"/>
                  </a:lnTo>
                  <a:lnTo>
                    <a:pt x="339078" y="31042"/>
                  </a:lnTo>
                  <a:lnTo>
                    <a:pt x="340710" y="31032"/>
                  </a:lnTo>
                  <a:lnTo>
                    <a:pt x="343675" y="30371"/>
                  </a:lnTo>
                  <a:lnTo>
                    <a:pt x="346247" y="29336"/>
                  </a:lnTo>
                  <a:lnTo>
                    <a:pt x="347335" y="29113"/>
                  </a:lnTo>
                  <a:lnTo>
                    <a:pt x="347605" y="31988"/>
                  </a:lnTo>
                  <a:lnTo>
                    <a:pt x="349117" y="33086"/>
                  </a:lnTo>
                  <a:lnTo>
                    <a:pt x="351233" y="34363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95" name="ee4p_PH_1_37365">
              <a:extLst>
                <a:ext uri="{FF2B5EF4-FFF2-40B4-BE49-F238E27FC236}">
                  <a16:creationId xmlns:a16="http://schemas.microsoft.com/office/drawing/2014/main" id="{74F6AF09-F002-4D1A-EAE9-39A46803C7AD}"/>
                </a:ext>
              </a:extLst>
            </p:cNvPr>
            <p:cNvSpPr>
              <a:spLocks noChangeAspect="1"/>
            </p:cNvSpPr>
            <p:nvPr>
              <p:custDataLst>
                <p:tags r:id="rId249"/>
              </p:custDataLst>
            </p:nvPr>
          </p:nvSpPr>
          <p:spPr>
            <a:xfrm>
              <a:off x="9762866" y="4072702"/>
              <a:ext cx="267248" cy="458614"/>
            </a:xfrm>
            <a:custGeom>
              <a:avLst/>
              <a:gdLst>
                <a:gd name="connsiteX0" fmla="*/ 71610 w 212804"/>
                <a:gd name="connsiteY0" fmla="*/ 349299 h 355504"/>
                <a:gd name="connsiteX1" fmla="*/ 72083 w 212804"/>
                <a:gd name="connsiteY1" fmla="*/ 350541 h 355504"/>
                <a:gd name="connsiteX2" fmla="*/ 72546 w 212804"/>
                <a:gd name="connsiteY2" fmla="*/ 351150 h 355504"/>
                <a:gd name="connsiteX3" fmla="*/ 71946 w 212804"/>
                <a:gd name="connsiteY3" fmla="*/ 352488 h 355504"/>
                <a:gd name="connsiteX4" fmla="*/ 71247 w 212804"/>
                <a:gd name="connsiteY4" fmla="*/ 353108 h 355504"/>
                <a:gd name="connsiteX5" fmla="*/ 70327 w 212804"/>
                <a:gd name="connsiteY5" fmla="*/ 352758 h 355504"/>
                <a:gd name="connsiteX6" fmla="*/ 69627 w 212804"/>
                <a:gd name="connsiteY6" fmla="*/ 352064 h 355504"/>
                <a:gd name="connsiteX7" fmla="*/ 69234 w 212804"/>
                <a:gd name="connsiteY7" fmla="*/ 353093 h 355504"/>
                <a:gd name="connsiteX8" fmla="*/ 67304 w 212804"/>
                <a:gd name="connsiteY8" fmla="*/ 353489 h 355504"/>
                <a:gd name="connsiteX9" fmla="*/ 66084 w 212804"/>
                <a:gd name="connsiteY9" fmla="*/ 355075 h 355504"/>
                <a:gd name="connsiteX10" fmla="*/ 64303 w 212804"/>
                <a:gd name="connsiteY10" fmla="*/ 355504 h 355504"/>
                <a:gd name="connsiteX11" fmla="*/ 63063 w 212804"/>
                <a:gd name="connsiteY11" fmla="*/ 355298 h 355504"/>
                <a:gd name="connsiteX12" fmla="*/ 63193 w 212804"/>
                <a:gd name="connsiteY12" fmla="*/ 353887 h 355504"/>
                <a:gd name="connsiteX13" fmla="*/ 66628 w 212804"/>
                <a:gd name="connsiteY13" fmla="*/ 351775 h 355504"/>
                <a:gd name="connsiteX14" fmla="*/ 68772 w 212804"/>
                <a:gd name="connsiteY14" fmla="*/ 350995 h 355504"/>
                <a:gd name="connsiteX15" fmla="*/ 70664 w 212804"/>
                <a:gd name="connsiteY15" fmla="*/ 349469 h 355504"/>
                <a:gd name="connsiteX16" fmla="*/ 89956 w 212804"/>
                <a:gd name="connsiteY16" fmla="*/ 332531 h 355504"/>
                <a:gd name="connsiteX17" fmla="*/ 92647 w 212804"/>
                <a:gd name="connsiteY17" fmla="*/ 332983 h 355504"/>
                <a:gd name="connsiteX18" fmla="*/ 93851 w 212804"/>
                <a:gd name="connsiteY18" fmla="*/ 334583 h 355504"/>
                <a:gd name="connsiteX19" fmla="*/ 95370 w 212804"/>
                <a:gd name="connsiteY19" fmla="*/ 334167 h 355504"/>
                <a:gd name="connsiteX20" fmla="*/ 97779 w 212804"/>
                <a:gd name="connsiteY20" fmla="*/ 334615 h 355504"/>
                <a:gd name="connsiteX21" fmla="*/ 98291 w 212804"/>
                <a:gd name="connsiteY21" fmla="*/ 335449 h 355504"/>
                <a:gd name="connsiteX22" fmla="*/ 98212 w 212804"/>
                <a:gd name="connsiteY22" fmla="*/ 335996 h 355504"/>
                <a:gd name="connsiteX23" fmla="*/ 95633 w 212804"/>
                <a:gd name="connsiteY23" fmla="*/ 337546 h 355504"/>
                <a:gd name="connsiteX24" fmla="*/ 93947 w 212804"/>
                <a:gd name="connsiteY24" fmla="*/ 335932 h 355504"/>
                <a:gd name="connsiteX25" fmla="*/ 90958 w 212804"/>
                <a:gd name="connsiteY25" fmla="*/ 337035 h 355504"/>
                <a:gd name="connsiteX26" fmla="*/ 89532 w 212804"/>
                <a:gd name="connsiteY26" fmla="*/ 336371 h 355504"/>
                <a:gd name="connsiteX27" fmla="*/ 87589 w 212804"/>
                <a:gd name="connsiteY27" fmla="*/ 336965 h 355504"/>
                <a:gd name="connsiteX28" fmla="*/ 86389 w 212804"/>
                <a:gd name="connsiteY28" fmla="*/ 335712 h 355504"/>
                <a:gd name="connsiteX29" fmla="*/ 86872 w 212804"/>
                <a:gd name="connsiteY29" fmla="*/ 334507 h 355504"/>
                <a:gd name="connsiteX30" fmla="*/ 112524 w 212804"/>
                <a:gd name="connsiteY30" fmla="*/ 318217 h 355504"/>
                <a:gd name="connsiteX31" fmla="*/ 117605 w 212804"/>
                <a:gd name="connsiteY31" fmla="*/ 320478 h 355504"/>
                <a:gd name="connsiteX32" fmla="*/ 118389 w 212804"/>
                <a:gd name="connsiteY32" fmla="*/ 321293 h 355504"/>
                <a:gd name="connsiteX33" fmla="*/ 116801 w 212804"/>
                <a:gd name="connsiteY33" fmla="*/ 321791 h 355504"/>
                <a:gd name="connsiteX34" fmla="*/ 115679 w 212804"/>
                <a:gd name="connsiteY34" fmla="*/ 323942 h 355504"/>
                <a:gd name="connsiteX35" fmla="*/ 113288 w 212804"/>
                <a:gd name="connsiteY35" fmla="*/ 325154 h 355504"/>
                <a:gd name="connsiteX36" fmla="*/ 111045 w 212804"/>
                <a:gd name="connsiteY36" fmla="*/ 325460 h 355504"/>
                <a:gd name="connsiteX37" fmla="*/ 110332 w 212804"/>
                <a:gd name="connsiteY37" fmla="*/ 325432 h 355504"/>
                <a:gd name="connsiteX38" fmla="*/ 108578 w 212804"/>
                <a:gd name="connsiteY38" fmla="*/ 323172 h 355504"/>
                <a:gd name="connsiteX39" fmla="*/ 108414 w 212804"/>
                <a:gd name="connsiteY39" fmla="*/ 322170 h 355504"/>
                <a:gd name="connsiteX40" fmla="*/ 107004 w 212804"/>
                <a:gd name="connsiteY40" fmla="*/ 321038 h 355504"/>
                <a:gd name="connsiteX41" fmla="*/ 107520 w 212804"/>
                <a:gd name="connsiteY41" fmla="*/ 319920 h 355504"/>
                <a:gd name="connsiteX42" fmla="*/ 109353 w 212804"/>
                <a:gd name="connsiteY42" fmla="*/ 319650 h 355504"/>
                <a:gd name="connsiteX43" fmla="*/ 193369 w 212804"/>
                <a:gd name="connsiteY43" fmla="*/ 308334 h 355504"/>
                <a:gd name="connsiteX44" fmla="*/ 194893 w 212804"/>
                <a:gd name="connsiteY44" fmla="*/ 309554 h 355504"/>
                <a:gd name="connsiteX45" fmla="*/ 194920 w 212804"/>
                <a:gd name="connsiteY45" fmla="*/ 313285 h 355504"/>
                <a:gd name="connsiteX46" fmla="*/ 194574 w 212804"/>
                <a:gd name="connsiteY46" fmla="*/ 314551 h 355504"/>
                <a:gd name="connsiteX47" fmla="*/ 193216 w 212804"/>
                <a:gd name="connsiteY47" fmla="*/ 311569 h 355504"/>
                <a:gd name="connsiteX48" fmla="*/ 192673 w 212804"/>
                <a:gd name="connsiteY48" fmla="*/ 310831 h 355504"/>
                <a:gd name="connsiteX49" fmla="*/ 131464 w 212804"/>
                <a:gd name="connsiteY49" fmla="*/ 302825 h 355504"/>
                <a:gd name="connsiteX50" fmla="*/ 131956 w 212804"/>
                <a:gd name="connsiteY50" fmla="*/ 303365 h 355504"/>
                <a:gd name="connsiteX51" fmla="*/ 132198 w 212804"/>
                <a:gd name="connsiteY51" fmla="*/ 303885 h 355504"/>
                <a:gd name="connsiteX52" fmla="*/ 132101 w 212804"/>
                <a:gd name="connsiteY52" fmla="*/ 304434 h 355504"/>
                <a:gd name="connsiteX53" fmla="*/ 129799 w 212804"/>
                <a:gd name="connsiteY53" fmla="*/ 305466 h 355504"/>
                <a:gd name="connsiteX54" fmla="*/ 129027 w 212804"/>
                <a:gd name="connsiteY54" fmla="*/ 305436 h 355504"/>
                <a:gd name="connsiteX55" fmla="*/ 128848 w 212804"/>
                <a:gd name="connsiteY55" fmla="*/ 303715 h 355504"/>
                <a:gd name="connsiteX56" fmla="*/ 129414 w 212804"/>
                <a:gd name="connsiteY56" fmla="*/ 302935 h 355504"/>
                <a:gd name="connsiteX57" fmla="*/ 130499 w 212804"/>
                <a:gd name="connsiteY57" fmla="*/ 303627 h 355504"/>
                <a:gd name="connsiteX58" fmla="*/ 2378 w 212804"/>
                <a:gd name="connsiteY58" fmla="*/ 288685 h 355504"/>
                <a:gd name="connsiteX59" fmla="*/ 2440 w 212804"/>
                <a:gd name="connsiteY59" fmla="*/ 292818 h 355504"/>
                <a:gd name="connsiteX60" fmla="*/ 1300 w 212804"/>
                <a:gd name="connsiteY60" fmla="*/ 294505 h 355504"/>
                <a:gd name="connsiteX61" fmla="*/ 0 w 212804"/>
                <a:gd name="connsiteY61" fmla="*/ 292561 h 355504"/>
                <a:gd name="connsiteX62" fmla="*/ 138 w 212804"/>
                <a:gd name="connsiteY62" fmla="*/ 289853 h 355504"/>
                <a:gd name="connsiteX63" fmla="*/ 531 w 212804"/>
                <a:gd name="connsiteY63" fmla="*/ 289099 h 355504"/>
                <a:gd name="connsiteX64" fmla="*/ 6885 w 212804"/>
                <a:gd name="connsiteY64" fmla="*/ 283213 h 355504"/>
                <a:gd name="connsiteX65" fmla="*/ 7962 w 212804"/>
                <a:gd name="connsiteY65" fmla="*/ 283357 h 355504"/>
                <a:gd name="connsiteX66" fmla="*/ 8495 w 212804"/>
                <a:gd name="connsiteY66" fmla="*/ 283786 h 355504"/>
                <a:gd name="connsiteX67" fmla="*/ 8529 w 212804"/>
                <a:gd name="connsiteY67" fmla="*/ 285446 h 355504"/>
                <a:gd name="connsiteX68" fmla="*/ 7020 w 212804"/>
                <a:gd name="connsiteY68" fmla="*/ 285973 h 355504"/>
                <a:gd name="connsiteX69" fmla="*/ 6694 w 212804"/>
                <a:gd name="connsiteY69" fmla="*/ 284581 h 355504"/>
                <a:gd name="connsiteX70" fmla="*/ 171751 w 212804"/>
                <a:gd name="connsiteY70" fmla="*/ 262534 h 355504"/>
                <a:gd name="connsiteX71" fmla="*/ 172933 w 212804"/>
                <a:gd name="connsiteY71" fmla="*/ 263717 h 355504"/>
                <a:gd name="connsiteX72" fmla="*/ 173295 w 212804"/>
                <a:gd name="connsiteY72" fmla="*/ 264775 h 355504"/>
                <a:gd name="connsiteX73" fmla="*/ 172660 w 212804"/>
                <a:gd name="connsiteY73" fmla="*/ 266102 h 355504"/>
                <a:gd name="connsiteX74" fmla="*/ 170182 w 212804"/>
                <a:gd name="connsiteY74" fmla="*/ 265005 h 355504"/>
                <a:gd name="connsiteX75" fmla="*/ 169589 w 212804"/>
                <a:gd name="connsiteY75" fmla="*/ 264051 h 355504"/>
                <a:gd name="connsiteX76" fmla="*/ 169905 w 212804"/>
                <a:gd name="connsiteY76" fmla="*/ 262920 h 355504"/>
                <a:gd name="connsiteX77" fmla="*/ 171116 w 212804"/>
                <a:gd name="connsiteY77" fmla="*/ 262537 h 355504"/>
                <a:gd name="connsiteX78" fmla="*/ 147827 w 212804"/>
                <a:gd name="connsiteY78" fmla="*/ 261740 h 355504"/>
                <a:gd name="connsiteX79" fmla="*/ 148773 w 212804"/>
                <a:gd name="connsiteY79" fmla="*/ 262664 h 355504"/>
                <a:gd name="connsiteX80" fmla="*/ 148963 w 212804"/>
                <a:gd name="connsiteY80" fmla="*/ 264977 h 355504"/>
                <a:gd name="connsiteX81" fmla="*/ 146933 w 212804"/>
                <a:gd name="connsiteY81" fmla="*/ 265651 h 355504"/>
                <a:gd name="connsiteX82" fmla="*/ 145303 w 212804"/>
                <a:gd name="connsiteY82" fmla="*/ 265063 h 355504"/>
                <a:gd name="connsiteX83" fmla="*/ 144258 w 212804"/>
                <a:gd name="connsiteY83" fmla="*/ 263672 h 355504"/>
                <a:gd name="connsiteX84" fmla="*/ 144260 w 212804"/>
                <a:gd name="connsiteY84" fmla="*/ 263150 h 355504"/>
                <a:gd name="connsiteX85" fmla="*/ 145180 w 212804"/>
                <a:gd name="connsiteY85" fmla="*/ 263193 h 355504"/>
                <a:gd name="connsiteX86" fmla="*/ 147191 w 212804"/>
                <a:gd name="connsiteY86" fmla="*/ 261974 h 355504"/>
                <a:gd name="connsiteX87" fmla="*/ 198970 w 212804"/>
                <a:gd name="connsiteY87" fmla="*/ 251024 h 355504"/>
                <a:gd name="connsiteX88" fmla="*/ 199527 w 212804"/>
                <a:gd name="connsiteY88" fmla="*/ 252687 h 355504"/>
                <a:gd name="connsiteX89" fmla="*/ 199031 w 212804"/>
                <a:gd name="connsiteY89" fmla="*/ 254718 h 355504"/>
                <a:gd name="connsiteX90" fmla="*/ 198632 w 212804"/>
                <a:gd name="connsiteY90" fmla="*/ 255289 h 355504"/>
                <a:gd name="connsiteX91" fmla="*/ 197960 w 212804"/>
                <a:gd name="connsiteY91" fmla="*/ 254095 h 355504"/>
                <a:gd name="connsiteX92" fmla="*/ 198545 w 212804"/>
                <a:gd name="connsiteY92" fmla="*/ 251468 h 355504"/>
                <a:gd name="connsiteX93" fmla="*/ 189089 w 212804"/>
                <a:gd name="connsiteY93" fmla="*/ 251023 h 355504"/>
                <a:gd name="connsiteX94" fmla="*/ 191777 w 212804"/>
                <a:gd name="connsiteY94" fmla="*/ 253358 h 355504"/>
                <a:gd name="connsiteX95" fmla="*/ 196956 w 212804"/>
                <a:gd name="connsiteY95" fmla="*/ 256512 h 355504"/>
                <a:gd name="connsiteX96" fmla="*/ 198681 w 212804"/>
                <a:gd name="connsiteY96" fmla="*/ 258441 h 355504"/>
                <a:gd name="connsiteX97" fmla="*/ 199815 w 212804"/>
                <a:gd name="connsiteY97" fmla="*/ 260799 h 355504"/>
                <a:gd name="connsiteX98" fmla="*/ 201620 w 212804"/>
                <a:gd name="connsiteY98" fmla="*/ 262142 h 355504"/>
                <a:gd name="connsiteX99" fmla="*/ 203959 w 212804"/>
                <a:gd name="connsiteY99" fmla="*/ 261786 h 355504"/>
                <a:gd name="connsiteX100" fmla="*/ 203928 w 212804"/>
                <a:gd name="connsiteY100" fmla="*/ 265170 h 355504"/>
                <a:gd name="connsiteX101" fmla="*/ 204306 w 212804"/>
                <a:gd name="connsiteY101" fmla="*/ 266159 h 355504"/>
                <a:gd name="connsiteX102" fmla="*/ 206418 w 212804"/>
                <a:gd name="connsiteY102" fmla="*/ 269023 h 355504"/>
                <a:gd name="connsiteX103" fmla="*/ 206748 w 212804"/>
                <a:gd name="connsiteY103" fmla="*/ 271415 h 355504"/>
                <a:gd name="connsiteX104" fmla="*/ 205498 w 212804"/>
                <a:gd name="connsiteY104" fmla="*/ 273660 h 355504"/>
                <a:gd name="connsiteX105" fmla="*/ 204552 w 212804"/>
                <a:gd name="connsiteY105" fmla="*/ 274722 h 355504"/>
                <a:gd name="connsiteX106" fmla="*/ 202814 w 212804"/>
                <a:gd name="connsiteY106" fmla="*/ 276259 h 355504"/>
                <a:gd name="connsiteX107" fmla="*/ 202769 w 212804"/>
                <a:gd name="connsiteY107" fmla="*/ 276963 h 355504"/>
                <a:gd name="connsiteX108" fmla="*/ 203509 w 212804"/>
                <a:gd name="connsiteY108" fmla="*/ 277756 h 355504"/>
                <a:gd name="connsiteX109" fmla="*/ 205926 w 212804"/>
                <a:gd name="connsiteY109" fmla="*/ 278218 h 355504"/>
                <a:gd name="connsiteX110" fmla="*/ 207761 w 212804"/>
                <a:gd name="connsiteY110" fmla="*/ 279452 h 355504"/>
                <a:gd name="connsiteX111" fmla="*/ 208081 w 212804"/>
                <a:gd name="connsiteY111" fmla="*/ 282951 h 355504"/>
                <a:gd name="connsiteX112" fmla="*/ 209826 w 212804"/>
                <a:gd name="connsiteY112" fmla="*/ 285710 h 355504"/>
                <a:gd name="connsiteX113" fmla="*/ 209780 w 212804"/>
                <a:gd name="connsiteY113" fmla="*/ 286913 h 355504"/>
                <a:gd name="connsiteX114" fmla="*/ 209087 w 212804"/>
                <a:gd name="connsiteY114" fmla="*/ 291838 h 355504"/>
                <a:gd name="connsiteX115" fmla="*/ 209309 w 212804"/>
                <a:gd name="connsiteY115" fmla="*/ 293943 h 355504"/>
                <a:gd name="connsiteX116" fmla="*/ 210616 w 212804"/>
                <a:gd name="connsiteY116" fmla="*/ 295630 h 355504"/>
                <a:gd name="connsiteX117" fmla="*/ 211722 w 212804"/>
                <a:gd name="connsiteY117" fmla="*/ 296345 h 355504"/>
                <a:gd name="connsiteX118" fmla="*/ 212289 w 212804"/>
                <a:gd name="connsiteY118" fmla="*/ 297403 h 355504"/>
                <a:gd name="connsiteX119" fmla="*/ 212804 w 212804"/>
                <a:gd name="connsiteY119" fmla="*/ 300304 h 355504"/>
                <a:gd name="connsiteX120" fmla="*/ 212712 w 212804"/>
                <a:gd name="connsiteY120" fmla="*/ 305232 h 355504"/>
                <a:gd name="connsiteX121" fmla="*/ 212542 w 212804"/>
                <a:gd name="connsiteY121" fmla="*/ 306952 h 355504"/>
                <a:gd name="connsiteX122" fmla="*/ 211771 w 212804"/>
                <a:gd name="connsiteY122" fmla="*/ 308550 h 355504"/>
                <a:gd name="connsiteX123" fmla="*/ 209392 w 212804"/>
                <a:gd name="connsiteY123" fmla="*/ 312183 h 355504"/>
                <a:gd name="connsiteX124" fmla="*/ 206185 w 212804"/>
                <a:gd name="connsiteY124" fmla="*/ 315072 h 355504"/>
                <a:gd name="connsiteX125" fmla="*/ 204479 w 212804"/>
                <a:gd name="connsiteY125" fmla="*/ 314879 h 355504"/>
                <a:gd name="connsiteX126" fmla="*/ 203931 w 212804"/>
                <a:gd name="connsiteY126" fmla="*/ 315733 h 355504"/>
                <a:gd name="connsiteX127" fmla="*/ 204995 w 212804"/>
                <a:gd name="connsiteY127" fmla="*/ 318369 h 355504"/>
                <a:gd name="connsiteX128" fmla="*/ 204574 w 212804"/>
                <a:gd name="connsiteY128" fmla="*/ 323932 h 355504"/>
                <a:gd name="connsiteX129" fmla="*/ 203870 w 212804"/>
                <a:gd name="connsiteY129" fmla="*/ 327788 h 355504"/>
                <a:gd name="connsiteX130" fmla="*/ 202833 w 212804"/>
                <a:gd name="connsiteY130" fmla="*/ 325837 h 355504"/>
                <a:gd name="connsiteX131" fmla="*/ 202110 w 212804"/>
                <a:gd name="connsiteY131" fmla="*/ 323793 h 355504"/>
                <a:gd name="connsiteX132" fmla="*/ 201453 w 212804"/>
                <a:gd name="connsiteY132" fmla="*/ 318381 h 355504"/>
                <a:gd name="connsiteX133" fmla="*/ 200636 w 212804"/>
                <a:gd name="connsiteY133" fmla="*/ 315942 h 355504"/>
                <a:gd name="connsiteX134" fmla="*/ 199350 w 212804"/>
                <a:gd name="connsiteY134" fmla="*/ 313712 h 355504"/>
                <a:gd name="connsiteX135" fmla="*/ 198834 w 212804"/>
                <a:gd name="connsiteY135" fmla="*/ 311720 h 355504"/>
                <a:gd name="connsiteX136" fmla="*/ 197498 w 212804"/>
                <a:gd name="connsiteY136" fmla="*/ 309858 h 355504"/>
                <a:gd name="connsiteX137" fmla="*/ 195800 w 212804"/>
                <a:gd name="connsiteY137" fmla="*/ 305051 h 355504"/>
                <a:gd name="connsiteX138" fmla="*/ 194678 w 212804"/>
                <a:gd name="connsiteY138" fmla="*/ 305298 h 355504"/>
                <a:gd name="connsiteX139" fmla="*/ 192812 w 212804"/>
                <a:gd name="connsiteY139" fmla="*/ 306612 h 355504"/>
                <a:gd name="connsiteX140" fmla="*/ 192390 w 212804"/>
                <a:gd name="connsiteY140" fmla="*/ 307517 h 355504"/>
                <a:gd name="connsiteX141" fmla="*/ 192170 w 212804"/>
                <a:gd name="connsiteY141" fmla="*/ 308889 h 355504"/>
                <a:gd name="connsiteX142" fmla="*/ 191738 w 212804"/>
                <a:gd name="connsiteY142" fmla="*/ 310123 h 355504"/>
                <a:gd name="connsiteX143" fmla="*/ 189560 w 212804"/>
                <a:gd name="connsiteY143" fmla="*/ 312089 h 355504"/>
                <a:gd name="connsiteX144" fmla="*/ 187847 w 212804"/>
                <a:gd name="connsiteY144" fmla="*/ 314432 h 355504"/>
                <a:gd name="connsiteX145" fmla="*/ 186437 w 212804"/>
                <a:gd name="connsiteY145" fmla="*/ 316995 h 355504"/>
                <a:gd name="connsiteX146" fmla="*/ 185988 w 212804"/>
                <a:gd name="connsiteY146" fmla="*/ 319345 h 355504"/>
                <a:gd name="connsiteX147" fmla="*/ 187143 w 212804"/>
                <a:gd name="connsiteY147" fmla="*/ 321184 h 355504"/>
                <a:gd name="connsiteX148" fmla="*/ 188331 w 212804"/>
                <a:gd name="connsiteY148" fmla="*/ 321926 h 355504"/>
                <a:gd name="connsiteX149" fmla="*/ 190055 w 212804"/>
                <a:gd name="connsiteY149" fmla="*/ 323572 h 355504"/>
                <a:gd name="connsiteX150" fmla="*/ 190583 w 212804"/>
                <a:gd name="connsiteY150" fmla="*/ 324323 h 355504"/>
                <a:gd name="connsiteX151" fmla="*/ 192401 w 212804"/>
                <a:gd name="connsiteY151" fmla="*/ 329668 h 355504"/>
                <a:gd name="connsiteX152" fmla="*/ 192341 w 212804"/>
                <a:gd name="connsiteY152" fmla="*/ 335135 h 355504"/>
                <a:gd name="connsiteX153" fmla="*/ 191011 w 212804"/>
                <a:gd name="connsiteY153" fmla="*/ 337542 h 355504"/>
                <a:gd name="connsiteX154" fmla="*/ 187651 w 212804"/>
                <a:gd name="connsiteY154" fmla="*/ 342110 h 355504"/>
                <a:gd name="connsiteX155" fmla="*/ 185233 w 212804"/>
                <a:gd name="connsiteY155" fmla="*/ 343558 h 355504"/>
                <a:gd name="connsiteX156" fmla="*/ 183937 w 212804"/>
                <a:gd name="connsiteY156" fmla="*/ 342819 h 355504"/>
                <a:gd name="connsiteX157" fmla="*/ 182900 w 212804"/>
                <a:gd name="connsiteY157" fmla="*/ 340054 h 355504"/>
                <a:gd name="connsiteX158" fmla="*/ 182727 w 212804"/>
                <a:gd name="connsiteY158" fmla="*/ 338914 h 355504"/>
                <a:gd name="connsiteX159" fmla="*/ 183429 w 212804"/>
                <a:gd name="connsiteY159" fmla="*/ 336312 h 355504"/>
                <a:gd name="connsiteX160" fmla="*/ 183507 w 212804"/>
                <a:gd name="connsiteY160" fmla="*/ 333926 h 355504"/>
                <a:gd name="connsiteX161" fmla="*/ 182691 w 212804"/>
                <a:gd name="connsiteY161" fmla="*/ 333118 h 355504"/>
                <a:gd name="connsiteX162" fmla="*/ 181795 w 212804"/>
                <a:gd name="connsiteY162" fmla="*/ 333274 h 355504"/>
                <a:gd name="connsiteX163" fmla="*/ 181419 w 212804"/>
                <a:gd name="connsiteY163" fmla="*/ 333619 h 355504"/>
                <a:gd name="connsiteX164" fmla="*/ 179255 w 212804"/>
                <a:gd name="connsiteY164" fmla="*/ 336741 h 355504"/>
                <a:gd name="connsiteX165" fmla="*/ 178352 w 212804"/>
                <a:gd name="connsiteY165" fmla="*/ 337531 h 355504"/>
                <a:gd name="connsiteX166" fmla="*/ 177022 w 212804"/>
                <a:gd name="connsiteY166" fmla="*/ 337640 h 355504"/>
                <a:gd name="connsiteX167" fmla="*/ 175964 w 212804"/>
                <a:gd name="connsiteY167" fmla="*/ 337427 h 355504"/>
                <a:gd name="connsiteX168" fmla="*/ 169530 w 212804"/>
                <a:gd name="connsiteY168" fmla="*/ 334701 h 355504"/>
                <a:gd name="connsiteX169" fmla="*/ 164277 w 212804"/>
                <a:gd name="connsiteY169" fmla="*/ 332004 h 355504"/>
                <a:gd name="connsiteX170" fmla="*/ 160164 w 212804"/>
                <a:gd name="connsiteY170" fmla="*/ 329485 h 355504"/>
                <a:gd name="connsiteX171" fmla="*/ 157186 w 212804"/>
                <a:gd name="connsiteY171" fmla="*/ 325684 h 355504"/>
                <a:gd name="connsiteX172" fmla="*/ 156558 w 212804"/>
                <a:gd name="connsiteY172" fmla="*/ 322840 h 355504"/>
                <a:gd name="connsiteX173" fmla="*/ 156523 w 212804"/>
                <a:gd name="connsiteY173" fmla="*/ 319864 h 355504"/>
                <a:gd name="connsiteX174" fmla="*/ 155191 w 212804"/>
                <a:gd name="connsiteY174" fmla="*/ 315501 h 355504"/>
                <a:gd name="connsiteX175" fmla="*/ 155035 w 212804"/>
                <a:gd name="connsiteY175" fmla="*/ 314019 h 355504"/>
                <a:gd name="connsiteX176" fmla="*/ 155133 w 212804"/>
                <a:gd name="connsiteY176" fmla="*/ 312597 h 355504"/>
                <a:gd name="connsiteX177" fmla="*/ 156456 w 212804"/>
                <a:gd name="connsiteY177" fmla="*/ 309922 h 355504"/>
                <a:gd name="connsiteX178" fmla="*/ 158059 w 212804"/>
                <a:gd name="connsiteY178" fmla="*/ 308567 h 355504"/>
                <a:gd name="connsiteX179" fmla="*/ 158957 w 212804"/>
                <a:gd name="connsiteY179" fmla="*/ 307595 h 355504"/>
                <a:gd name="connsiteX180" fmla="*/ 159676 w 212804"/>
                <a:gd name="connsiteY180" fmla="*/ 306517 h 355504"/>
                <a:gd name="connsiteX181" fmla="*/ 160166 w 212804"/>
                <a:gd name="connsiteY181" fmla="*/ 305077 h 355504"/>
                <a:gd name="connsiteX182" fmla="*/ 160028 w 212804"/>
                <a:gd name="connsiteY182" fmla="*/ 303647 h 355504"/>
                <a:gd name="connsiteX183" fmla="*/ 159492 w 212804"/>
                <a:gd name="connsiteY183" fmla="*/ 302751 h 355504"/>
                <a:gd name="connsiteX184" fmla="*/ 156961 w 212804"/>
                <a:gd name="connsiteY184" fmla="*/ 299613 h 355504"/>
                <a:gd name="connsiteX185" fmla="*/ 154762 w 212804"/>
                <a:gd name="connsiteY185" fmla="*/ 297683 h 355504"/>
                <a:gd name="connsiteX186" fmla="*/ 150257 w 212804"/>
                <a:gd name="connsiteY186" fmla="*/ 295949 h 355504"/>
                <a:gd name="connsiteX187" fmla="*/ 149209 w 212804"/>
                <a:gd name="connsiteY187" fmla="*/ 294998 h 355504"/>
                <a:gd name="connsiteX188" fmla="*/ 148069 w 212804"/>
                <a:gd name="connsiteY188" fmla="*/ 294278 h 355504"/>
                <a:gd name="connsiteX189" fmla="*/ 146810 w 212804"/>
                <a:gd name="connsiteY189" fmla="*/ 293969 h 355504"/>
                <a:gd name="connsiteX190" fmla="*/ 145579 w 212804"/>
                <a:gd name="connsiteY190" fmla="*/ 293958 h 355504"/>
                <a:gd name="connsiteX191" fmla="*/ 144250 w 212804"/>
                <a:gd name="connsiteY191" fmla="*/ 294497 h 355504"/>
                <a:gd name="connsiteX192" fmla="*/ 143904 w 212804"/>
                <a:gd name="connsiteY192" fmla="*/ 295644 h 355504"/>
                <a:gd name="connsiteX193" fmla="*/ 143996 w 212804"/>
                <a:gd name="connsiteY193" fmla="*/ 296669 h 355504"/>
                <a:gd name="connsiteX194" fmla="*/ 143880 w 212804"/>
                <a:gd name="connsiteY194" fmla="*/ 297667 h 355504"/>
                <a:gd name="connsiteX195" fmla="*/ 141991 w 212804"/>
                <a:gd name="connsiteY195" fmla="*/ 303401 h 355504"/>
                <a:gd name="connsiteX196" fmla="*/ 139583 w 212804"/>
                <a:gd name="connsiteY196" fmla="*/ 302142 h 355504"/>
                <a:gd name="connsiteX197" fmla="*/ 137287 w 212804"/>
                <a:gd name="connsiteY197" fmla="*/ 300690 h 355504"/>
                <a:gd name="connsiteX198" fmla="*/ 136678 w 212804"/>
                <a:gd name="connsiteY198" fmla="*/ 299673 h 355504"/>
                <a:gd name="connsiteX199" fmla="*/ 136415 w 212804"/>
                <a:gd name="connsiteY199" fmla="*/ 298455 h 355504"/>
                <a:gd name="connsiteX200" fmla="*/ 136026 w 212804"/>
                <a:gd name="connsiteY200" fmla="*/ 297633 h 355504"/>
                <a:gd name="connsiteX201" fmla="*/ 135484 w 212804"/>
                <a:gd name="connsiteY201" fmla="*/ 296887 h 355504"/>
                <a:gd name="connsiteX202" fmla="*/ 134429 w 212804"/>
                <a:gd name="connsiteY202" fmla="*/ 298802 h 355504"/>
                <a:gd name="connsiteX203" fmla="*/ 133116 w 212804"/>
                <a:gd name="connsiteY203" fmla="*/ 300315 h 355504"/>
                <a:gd name="connsiteX204" fmla="*/ 131509 w 212804"/>
                <a:gd name="connsiteY204" fmla="*/ 300666 h 355504"/>
                <a:gd name="connsiteX205" fmla="*/ 129875 w 212804"/>
                <a:gd name="connsiteY205" fmla="*/ 300693 h 355504"/>
                <a:gd name="connsiteX206" fmla="*/ 129339 w 212804"/>
                <a:gd name="connsiteY206" fmla="*/ 300044 h 355504"/>
                <a:gd name="connsiteX207" fmla="*/ 128742 w 212804"/>
                <a:gd name="connsiteY207" fmla="*/ 296398 h 355504"/>
                <a:gd name="connsiteX208" fmla="*/ 127021 w 212804"/>
                <a:gd name="connsiteY208" fmla="*/ 295248 h 355504"/>
                <a:gd name="connsiteX209" fmla="*/ 124860 w 212804"/>
                <a:gd name="connsiteY209" fmla="*/ 295493 h 355504"/>
                <a:gd name="connsiteX210" fmla="*/ 122245 w 212804"/>
                <a:gd name="connsiteY210" fmla="*/ 297503 h 355504"/>
                <a:gd name="connsiteX211" fmla="*/ 121725 w 212804"/>
                <a:gd name="connsiteY211" fmla="*/ 298254 h 355504"/>
                <a:gd name="connsiteX212" fmla="*/ 121154 w 212804"/>
                <a:gd name="connsiteY212" fmla="*/ 299985 h 355504"/>
                <a:gd name="connsiteX213" fmla="*/ 118304 w 212804"/>
                <a:gd name="connsiteY213" fmla="*/ 304896 h 355504"/>
                <a:gd name="connsiteX214" fmla="*/ 116795 w 212804"/>
                <a:gd name="connsiteY214" fmla="*/ 308679 h 355504"/>
                <a:gd name="connsiteX215" fmla="*/ 115130 w 212804"/>
                <a:gd name="connsiteY215" fmla="*/ 312364 h 355504"/>
                <a:gd name="connsiteX216" fmla="*/ 114385 w 212804"/>
                <a:gd name="connsiteY216" fmla="*/ 313576 h 355504"/>
                <a:gd name="connsiteX217" fmla="*/ 113404 w 212804"/>
                <a:gd name="connsiteY217" fmla="*/ 314374 h 355504"/>
                <a:gd name="connsiteX218" fmla="*/ 111846 w 212804"/>
                <a:gd name="connsiteY218" fmla="*/ 314043 h 355504"/>
                <a:gd name="connsiteX219" fmla="*/ 110444 w 212804"/>
                <a:gd name="connsiteY219" fmla="*/ 313164 h 355504"/>
                <a:gd name="connsiteX220" fmla="*/ 109116 w 212804"/>
                <a:gd name="connsiteY220" fmla="*/ 310787 h 355504"/>
                <a:gd name="connsiteX221" fmla="*/ 109567 w 212804"/>
                <a:gd name="connsiteY221" fmla="*/ 308024 h 355504"/>
                <a:gd name="connsiteX222" fmla="*/ 111038 w 212804"/>
                <a:gd name="connsiteY222" fmla="*/ 306263 h 355504"/>
                <a:gd name="connsiteX223" fmla="*/ 112277 w 212804"/>
                <a:gd name="connsiteY223" fmla="*/ 304377 h 355504"/>
                <a:gd name="connsiteX224" fmla="*/ 113774 w 212804"/>
                <a:gd name="connsiteY224" fmla="*/ 297789 h 355504"/>
                <a:gd name="connsiteX225" fmla="*/ 113886 w 212804"/>
                <a:gd name="connsiteY225" fmla="*/ 295443 h 355504"/>
                <a:gd name="connsiteX226" fmla="*/ 114150 w 212804"/>
                <a:gd name="connsiteY226" fmla="*/ 294439 h 355504"/>
                <a:gd name="connsiteX227" fmla="*/ 116616 w 212804"/>
                <a:gd name="connsiteY227" fmla="*/ 291444 h 355504"/>
                <a:gd name="connsiteX228" fmla="*/ 118689 w 212804"/>
                <a:gd name="connsiteY228" fmla="*/ 289591 h 355504"/>
                <a:gd name="connsiteX229" fmla="*/ 119785 w 212804"/>
                <a:gd name="connsiteY229" fmla="*/ 289202 h 355504"/>
                <a:gd name="connsiteX230" fmla="*/ 124269 w 212804"/>
                <a:gd name="connsiteY230" fmla="*/ 288147 h 355504"/>
                <a:gd name="connsiteX231" fmla="*/ 126115 w 212804"/>
                <a:gd name="connsiteY231" fmla="*/ 287261 h 355504"/>
                <a:gd name="connsiteX232" fmla="*/ 129021 w 212804"/>
                <a:gd name="connsiteY232" fmla="*/ 287248 h 355504"/>
                <a:gd name="connsiteX233" fmla="*/ 131382 w 212804"/>
                <a:gd name="connsiteY233" fmla="*/ 286742 h 355504"/>
                <a:gd name="connsiteX234" fmla="*/ 133264 w 212804"/>
                <a:gd name="connsiteY234" fmla="*/ 285316 h 355504"/>
                <a:gd name="connsiteX235" fmla="*/ 133407 w 212804"/>
                <a:gd name="connsiteY235" fmla="*/ 283838 h 355504"/>
                <a:gd name="connsiteX236" fmla="*/ 133320 w 212804"/>
                <a:gd name="connsiteY236" fmla="*/ 282298 h 355504"/>
                <a:gd name="connsiteX237" fmla="*/ 133736 w 212804"/>
                <a:gd name="connsiteY237" fmla="*/ 281357 h 355504"/>
                <a:gd name="connsiteX238" fmla="*/ 134465 w 212804"/>
                <a:gd name="connsiteY238" fmla="*/ 280564 h 355504"/>
                <a:gd name="connsiteX239" fmla="*/ 135467 w 212804"/>
                <a:gd name="connsiteY239" fmla="*/ 279521 h 355504"/>
                <a:gd name="connsiteX240" fmla="*/ 136601 w 212804"/>
                <a:gd name="connsiteY240" fmla="*/ 278737 h 355504"/>
                <a:gd name="connsiteX241" fmla="*/ 139822 w 212804"/>
                <a:gd name="connsiteY241" fmla="*/ 278170 h 355504"/>
                <a:gd name="connsiteX242" fmla="*/ 140891 w 212804"/>
                <a:gd name="connsiteY242" fmla="*/ 277526 h 355504"/>
                <a:gd name="connsiteX243" fmla="*/ 141753 w 212804"/>
                <a:gd name="connsiteY243" fmla="*/ 276519 h 355504"/>
                <a:gd name="connsiteX244" fmla="*/ 142956 w 212804"/>
                <a:gd name="connsiteY244" fmla="*/ 274565 h 355504"/>
                <a:gd name="connsiteX245" fmla="*/ 144378 w 212804"/>
                <a:gd name="connsiteY245" fmla="*/ 275050 h 355504"/>
                <a:gd name="connsiteX246" fmla="*/ 145810 w 212804"/>
                <a:gd name="connsiteY246" fmla="*/ 275809 h 355504"/>
                <a:gd name="connsiteX247" fmla="*/ 148384 w 212804"/>
                <a:gd name="connsiteY247" fmla="*/ 276407 h 355504"/>
                <a:gd name="connsiteX248" fmla="*/ 150669 w 212804"/>
                <a:gd name="connsiteY248" fmla="*/ 278031 h 355504"/>
                <a:gd name="connsiteX249" fmla="*/ 152125 w 212804"/>
                <a:gd name="connsiteY249" fmla="*/ 280592 h 355504"/>
                <a:gd name="connsiteX250" fmla="*/ 152375 w 212804"/>
                <a:gd name="connsiteY250" fmla="*/ 281853 h 355504"/>
                <a:gd name="connsiteX251" fmla="*/ 152749 w 212804"/>
                <a:gd name="connsiteY251" fmla="*/ 286022 h 355504"/>
                <a:gd name="connsiteX252" fmla="*/ 152218 w 212804"/>
                <a:gd name="connsiteY252" fmla="*/ 286994 h 355504"/>
                <a:gd name="connsiteX253" fmla="*/ 150000 w 212804"/>
                <a:gd name="connsiteY253" fmla="*/ 288927 h 355504"/>
                <a:gd name="connsiteX254" fmla="*/ 151024 w 212804"/>
                <a:gd name="connsiteY254" fmla="*/ 289130 h 355504"/>
                <a:gd name="connsiteX255" fmla="*/ 153936 w 212804"/>
                <a:gd name="connsiteY255" fmla="*/ 287366 h 355504"/>
                <a:gd name="connsiteX256" fmla="*/ 155389 w 212804"/>
                <a:gd name="connsiteY256" fmla="*/ 286685 h 355504"/>
                <a:gd name="connsiteX257" fmla="*/ 158983 w 212804"/>
                <a:gd name="connsiteY257" fmla="*/ 285740 h 355504"/>
                <a:gd name="connsiteX258" fmla="*/ 159829 w 212804"/>
                <a:gd name="connsiteY258" fmla="*/ 285115 h 355504"/>
                <a:gd name="connsiteX259" fmla="*/ 160451 w 212804"/>
                <a:gd name="connsiteY259" fmla="*/ 284184 h 355504"/>
                <a:gd name="connsiteX260" fmla="*/ 161721 w 212804"/>
                <a:gd name="connsiteY260" fmla="*/ 281632 h 355504"/>
                <a:gd name="connsiteX261" fmla="*/ 162649 w 212804"/>
                <a:gd name="connsiteY261" fmla="*/ 278905 h 355504"/>
                <a:gd name="connsiteX262" fmla="*/ 163373 w 212804"/>
                <a:gd name="connsiteY262" fmla="*/ 277770 h 355504"/>
                <a:gd name="connsiteX263" fmla="*/ 164411 w 212804"/>
                <a:gd name="connsiteY263" fmla="*/ 276870 h 355504"/>
                <a:gd name="connsiteX264" fmla="*/ 165437 w 212804"/>
                <a:gd name="connsiteY264" fmla="*/ 276725 h 355504"/>
                <a:gd name="connsiteX265" fmla="*/ 169207 w 212804"/>
                <a:gd name="connsiteY265" fmla="*/ 278589 h 355504"/>
                <a:gd name="connsiteX266" fmla="*/ 171626 w 212804"/>
                <a:gd name="connsiteY266" fmla="*/ 277691 h 355504"/>
                <a:gd name="connsiteX267" fmla="*/ 172302 w 212804"/>
                <a:gd name="connsiteY267" fmla="*/ 274866 h 355504"/>
                <a:gd name="connsiteX268" fmla="*/ 172857 w 212804"/>
                <a:gd name="connsiteY268" fmla="*/ 270760 h 355504"/>
                <a:gd name="connsiteX269" fmla="*/ 173284 w 212804"/>
                <a:gd name="connsiteY269" fmla="*/ 269648 h 355504"/>
                <a:gd name="connsiteX270" fmla="*/ 174673 w 212804"/>
                <a:gd name="connsiteY270" fmla="*/ 268573 h 355504"/>
                <a:gd name="connsiteX271" fmla="*/ 176329 w 212804"/>
                <a:gd name="connsiteY271" fmla="*/ 268920 h 355504"/>
                <a:gd name="connsiteX272" fmla="*/ 178597 w 212804"/>
                <a:gd name="connsiteY272" fmla="*/ 270394 h 355504"/>
                <a:gd name="connsiteX273" fmla="*/ 180689 w 212804"/>
                <a:gd name="connsiteY273" fmla="*/ 270879 h 355504"/>
                <a:gd name="connsiteX274" fmla="*/ 181466 w 212804"/>
                <a:gd name="connsiteY274" fmla="*/ 269691 h 355504"/>
                <a:gd name="connsiteX275" fmla="*/ 182207 w 212804"/>
                <a:gd name="connsiteY275" fmla="*/ 267349 h 355504"/>
                <a:gd name="connsiteX276" fmla="*/ 183051 w 212804"/>
                <a:gd name="connsiteY276" fmla="*/ 267362 h 355504"/>
                <a:gd name="connsiteX277" fmla="*/ 185876 w 212804"/>
                <a:gd name="connsiteY277" fmla="*/ 268137 h 355504"/>
                <a:gd name="connsiteX278" fmla="*/ 188599 w 212804"/>
                <a:gd name="connsiteY278" fmla="*/ 267626 h 355504"/>
                <a:gd name="connsiteX279" fmla="*/ 189366 w 212804"/>
                <a:gd name="connsiteY279" fmla="*/ 264813 h 355504"/>
                <a:gd name="connsiteX280" fmla="*/ 188851 w 212804"/>
                <a:gd name="connsiteY280" fmla="*/ 261804 h 355504"/>
                <a:gd name="connsiteX281" fmla="*/ 186725 w 212804"/>
                <a:gd name="connsiteY281" fmla="*/ 253030 h 355504"/>
                <a:gd name="connsiteX282" fmla="*/ 187992 w 212804"/>
                <a:gd name="connsiteY282" fmla="*/ 251076 h 355504"/>
                <a:gd name="connsiteX283" fmla="*/ 201315 w 212804"/>
                <a:gd name="connsiteY283" fmla="*/ 244324 h 355504"/>
                <a:gd name="connsiteX284" fmla="*/ 202546 w 212804"/>
                <a:gd name="connsiteY284" fmla="*/ 246906 h 355504"/>
                <a:gd name="connsiteX285" fmla="*/ 202533 w 212804"/>
                <a:gd name="connsiteY285" fmla="*/ 248077 h 355504"/>
                <a:gd name="connsiteX286" fmla="*/ 202354 w 212804"/>
                <a:gd name="connsiteY286" fmla="*/ 248656 h 355504"/>
                <a:gd name="connsiteX287" fmla="*/ 203499 w 212804"/>
                <a:gd name="connsiteY287" fmla="*/ 250112 h 355504"/>
                <a:gd name="connsiteX288" fmla="*/ 202711 w 212804"/>
                <a:gd name="connsiteY288" fmla="*/ 250831 h 355504"/>
                <a:gd name="connsiteX289" fmla="*/ 200996 w 212804"/>
                <a:gd name="connsiteY289" fmla="*/ 250866 h 355504"/>
                <a:gd name="connsiteX290" fmla="*/ 200717 w 212804"/>
                <a:gd name="connsiteY290" fmla="*/ 250986 h 355504"/>
                <a:gd name="connsiteX291" fmla="*/ 199488 w 212804"/>
                <a:gd name="connsiteY291" fmla="*/ 249251 h 355504"/>
                <a:gd name="connsiteX292" fmla="*/ 199653 w 212804"/>
                <a:gd name="connsiteY292" fmla="*/ 247275 h 355504"/>
                <a:gd name="connsiteX293" fmla="*/ 180512 w 212804"/>
                <a:gd name="connsiteY293" fmla="*/ 242184 h 355504"/>
                <a:gd name="connsiteX294" fmla="*/ 181460 w 212804"/>
                <a:gd name="connsiteY294" fmla="*/ 242272 h 355504"/>
                <a:gd name="connsiteX295" fmla="*/ 182678 w 212804"/>
                <a:gd name="connsiteY295" fmla="*/ 243063 h 355504"/>
                <a:gd name="connsiteX296" fmla="*/ 183779 w 212804"/>
                <a:gd name="connsiteY296" fmla="*/ 246044 h 355504"/>
                <a:gd name="connsiteX297" fmla="*/ 183933 w 212804"/>
                <a:gd name="connsiteY297" fmla="*/ 247148 h 355504"/>
                <a:gd name="connsiteX298" fmla="*/ 181086 w 212804"/>
                <a:gd name="connsiteY298" fmla="*/ 244241 h 355504"/>
                <a:gd name="connsiteX299" fmla="*/ 162883 w 212804"/>
                <a:gd name="connsiteY299" fmla="*/ 242075 h 355504"/>
                <a:gd name="connsiteX300" fmla="*/ 163232 w 212804"/>
                <a:gd name="connsiteY300" fmla="*/ 242489 h 355504"/>
                <a:gd name="connsiteX301" fmla="*/ 163712 w 212804"/>
                <a:gd name="connsiteY301" fmla="*/ 242752 h 355504"/>
                <a:gd name="connsiteX302" fmla="*/ 164433 w 212804"/>
                <a:gd name="connsiteY302" fmla="*/ 242823 h 355504"/>
                <a:gd name="connsiteX303" fmla="*/ 166213 w 212804"/>
                <a:gd name="connsiteY303" fmla="*/ 244184 h 355504"/>
                <a:gd name="connsiteX304" fmla="*/ 168220 w 212804"/>
                <a:gd name="connsiteY304" fmla="*/ 245050 h 355504"/>
                <a:gd name="connsiteX305" fmla="*/ 167732 w 212804"/>
                <a:gd name="connsiteY305" fmla="*/ 248343 h 355504"/>
                <a:gd name="connsiteX306" fmla="*/ 168333 w 212804"/>
                <a:gd name="connsiteY306" fmla="*/ 249451 h 355504"/>
                <a:gd name="connsiteX307" fmla="*/ 168590 w 212804"/>
                <a:gd name="connsiteY307" fmla="*/ 250397 h 355504"/>
                <a:gd name="connsiteX308" fmla="*/ 168379 w 212804"/>
                <a:gd name="connsiteY308" fmla="*/ 251216 h 355504"/>
                <a:gd name="connsiteX309" fmla="*/ 166640 w 212804"/>
                <a:gd name="connsiteY309" fmla="*/ 251149 h 355504"/>
                <a:gd name="connsiteX310" fmla="*/ 166018 w 212804"/>
                <a:gd name="connsiteY310" fmla="*/ 251274 h 355504"/>
                <a:gd name="connsiteX311" fmla="*/ 164380 w 212804"/>
                <a:gd name="connsiteY311" fmla="*/ 253367 h 355504"/>
                <a:gd name="connsiteX312" fmla="*/ 163416 w 212804"/>
                <a:gd name="connsiteY312" fmla="*/ 253900 h 355504"/>
                <a:gd name="connsiteX313" fmla="*/ 158167 w 212804"/>
                <a:gd name="connsiteY313" fmla="*/ 254590 h 355504"/>
                <a:gd name="connsiteX314" fmla="*/ 154035 w 212804"/>
                <a:gd name="connsiteY314" fmla="*/ 254039 h 355504"/>
                <a:gd name="connsiteX315" fmla="*/ 152621 w 212804"/>
                <a:gd name="connsiteY315" fmla="*/ 252884 h 355504"/>
                <a:gd name="connsiteX316" fmla="*/ 151699 w 212804"/>
                <a:gd name="connsiteY316" fmla="*/ 250979 h 355504"/>
                <a:gd name="connsiteX317" fmla="*/ 151416 w 212804"/>
                <a:gd name="connsiteY317" fmla="*/ 249723 h 355504"/>
                <a:gd name="connsiteX318" fmla="*/ 152449 w 212804"/>
                <a:gd name="connsiteY318" fmla="*/ 248352 h 355504"/>
                <a:gd name="connsiteX319" fmla="*/ 153444 w 212804"/>
                <a:gd name="connsiteY319" fmla="*/ 247441 h 355504"/>
                <a:gd name="connsiteX320" fmla="*/ 156780 w 212804"/>
                <a:gd name="connsiteY320" fmla="*/ 245642 h 355504"/>
                <a:gd name="connsiteX321" fmla="*/ 157534 w 212804"/>
                <a:gd name="connsiteY321" fmla="*/ 244277 h 355504"/>
                <a:gd name="connsiteX322" fmla="*/ 159281 w 212804"/>
                <a:gd name="connsiteY322" fmla="*/ 242627 h 355504"/>
                <a:gd name="connsiteX323" fmla="*/ 192315 w 212804"/>
                <a:gd name="connsiteY323" fmla="*/ 235814 h 355504"/>
                <a:gd name="connsiteX324" fmla="*/ 192708 w 212804"/>
                <a:gd name="connsiteY324" fmla="*/ 236889 h 355504"/>
                <a:gd name="connsiteX325" fmla="*/ 191870 w 212804"/>
                <a:gd name="connsiteY325" fmla="*/ 240165 h 355504"/>
                <a:gd name="connsiteX326" fmla="*/ 193123 w 212804"/>
                <a:gd name="connsiteY326" fmla="*/ 244043 h 355504"/>
                <a:gd name="connsiteX327" fmla="*/ 192703 w 212804"/>
                <a:gd name="connsiteY327" fmla="*/ 246468 h 355504"/>
                <a:gd name="connsiteX328" fmla="*/ 192883 w 212804"/>
                <a:gd name="connsiteY328" fmla="*/ 247008 h 355504"/>
                <a:gd name="connsiteX329" fmla="*/ 192834 w 212804"/>
                <a:gd name="connsiteY329" fmla="*/ 247556 h 355504"/>
                <a:gd name="connsiteX330" fmla="*/ 192442 w 212804"/>
                <a:gd name="connsiteY330" fmla="*/ 248181 h 355504"/>
                <a:gd name="connsiteX331" fmla="*/ 191914 w 212804"/>
                <a:gd name="connsiteY331" fmla="*/ 246894 h 355504"/>
                <a:gd name="connsiteX332" fmla="*/ 190628 w 212804"/>
                <a:gd name="connsiteY332" fmla="*/ 245686 h 355504"/>
                <a:gd name="connsiteX333" fmla="*/ 189389 w 212804"/>
                <a:gd name="connsiteY333" fmla="*/ 243635 h 355504"/>
                <a:gd name="connsiteX334" fmla="*/ 188512 w 212804"/>
                <a:gd name="connsiteY334" fmla="*/ 242995 h 355504"/>
                <a:gd name="connsiteX335" fmla="*/ 189113 w 212804"/>
                <a:gd name="connsiteY335" fmla="*/ 241369 h 355504"/>
                <a:gd name="connsiteX336" fmla="*/ 189171 w 212804"/>
                <a:gd name="connsiteY336" fmla="*/ 238728 h 355504"/>
                <a:gd name="connsiteX337" fmla="*/ 190400 w 212804"/>
                <a:gd name="connsiteY337" fmla="*/ 237523 h 355504"/>
                <a:gd name="connsiteX338" fmla="*/ 190968 w 212804"/>
                <a:gd name="connsiteY338" fmla="*/ 237167 h 355504"/>
                <a:gd name="connsiteX339" fmla="*/ 191899 w 212804"/>
                <a:gd name="connsiteY339" fmla="*/ 235888 h 355504"/>
                <a:gd name="connsiteX340" fmla="*/ 63738 w 212804"/>
                <a:gd name="connsiteY340" fmla="*/ 231343 h 355504"/>
                <a:gd name="connsiteX341" fmla="*/ 65909 w 212804"/>
                <a:gd name="connsiteY341" fmla="*/ 232133 h 355504"/>
                <a:gd name="connsiteX342" fmla="*/ 67196 w 212804"/>
                <a:gd name="connsiteY342" fmla="*/ 232908 h 355504"/>
                <a:gd name="connsiteX343" fmla="*/ 66593 w 212804"/>
                <a:gd name="connsiteY343" fmla="*/ 233610 h 355504"/>
                <a:gd name="connsiteX344" fmla="*/ 65158 w 212804"/>
                <a:gd name="connsiteY344" fmla="*/ 234789 h 355504"/>
                <a:gd name="connsiteX345" fmla="*/ 62437 w 212804"/>
                <a:gd name="connsiteY345" fmla="*/ 235475 h 355504"/>
                <a:gd name="connsiteX346" fmla="*/ 61801 w 212804"/>
                <a:gd name="connsiteY346" fmla="*/ 233322 h 355504"/>
                <a:gd name="connsiteX347" fmla="*/ 162859 w 212804"/>
                <a:gd name="connsiteY347" fmla="*/ 229855 h 355504"/>
                <a:gd name="connsiteX348" fmla="*/ 163664 w 212804"/>
                <a:gd name="connsiteY348" fmla="*/ 230198 h 355504"/>
                <a:gd name="connsiteX349" fmla="*/ 163913 w 212804"/>
                <a:gd name="connsiteY349" fmla="*/ 230456 h 355504"/>
                <a:gd name="connsiteX350" fmla="*/ 163891 w 212804"/>
                <a:gd name="connsiteY350" fmla="*/ 231512 h 355504"/>
                <a:gd name="connsiteX351" fmla="*/ 162451 w 212804"/>
                <a:gd name="connsiteY351" fmla="*/ 232106 h 355504"/>
                <a:gd name="connsiteX352" fmla="*/ 161837 w 212804"/>
                <a:gd name="connsiteY352" fmla="*/ 232208 h 355504"/>
                <a:gd name="connsiteX353" fmla="*/ 126741 w 212804"/>
                <a:gd name="connsiteY353" fmla="*/ 229096 h 355504"/>
                <a:gd name="connsiteX354" fmla="*/ 127359 w 212804"/>
                <a:gd name="connsiteY354" fmla="*/ 229861 h 355504"/>
                <a:gd name="connsiteX355" fmla="*/ 127535 w 212804"/>
                <a:gd name="connsiteY355" fmla="*/ 231020 h 355504"/>
                <a:gd name="connsiteX356" fmla="*/ 126298 w 212804"/>
                <a:gd name="connsiteY356" fmla="*/ 234515 h 355504"/>
                <a:gd name="connsiteX357" fmla="*/ 125597 w 212804"/>
                <a:gd name="connsiteY357" fmla="*/ 235086 h 355504"/>
                <a:gd name="connsiteX358" fmla="*/ 124985 w 212804"/>
                <a:gd name="connsiteY358" fmla="*/ 235392 h 355504"/>
                <a:gd name="connsiteX359" fmla="*/ 124439 w 212804"/>
                <a:gd name="connsiteY359" fmla="*/ 235347 h 355504"/>
                <a:gd name="connsiteX360" fmla="*/ 123139 w 212804"/>
                <a:gd name="connsiteY360" fmla="*/ 236153 h 355504"/>
                <a:gd name="connsiteX361" fmla="*/ 122660 w 212804"/>
                <a:gd name="connsiteY361" fmla="*/ 234643 h 355504"/>
                <a:gd name="connsiteX362" fmla="*/ 123120 w 212804"/>
                <a:gd name="connsiteY362" fmla="*/ 232071 h 355504"/>
                <a:gd name="connsiteX363" fmla="*/ 125072 w 212804"/>
                <a:gd name="connsiteY363" fmla="*/ 230116 h 355504"/>
                <a:gd name="connsiteX364" fmla="*/ 125573 w 212804"/>
                <a:gd name="connsiteY364" fmla="*/ 229501 h 355504"/>
                <a:gd name="connsiteX365" fmla="*/ 126106 w 212804"/>
                <a:gd name="connsiteY365" fmla="*/ 229137 h 355504"/>
                <a:gd name="connsiteX366" fmla="*/ 139021 w 212804"/>
                <a:gd name="connsiteY366" fmla="*/ 223430 h 355504"/>
                <a:gd name="connsiteX367" fmla="*/ 144638 w 212804"/>
                <a:gd name="connsiteY367" fmla="*/ 225016 h 355504"/>
                <a:gd name="connsiteX368" fmla="*/ 145785 w 212804"/>
                <a:gd name="connsiteY368" fmla="*/ 227409 h 355504"/>
                <a:gd name="connsiteX369" fmla="*/ 145897 w 212804"/>
                <a:gd name="connsiteY369" fmla="*/ 228199 h 355504"/>
                <a:gd name="connsiteX370" fmla="*/ 145016 w 212804"/>
                <a:gd name="connsiteY370" fmla="*/ 230854 h 355504"/>
                <a:gd name="connsiteX371" fmla="*/ 144245 w 212804"/>
                <a:gd name="connsiteY371" fmla="*/ 232636 h 355504"/>
                <a:gd name="connsiteX372" fmla="*/ 142345 w 212804"/>
                <a:gd name="connsiteY372" fmla="*/ 235392 h 355504"/>
                <a:gd name="connsiteX373" fmla="*/ 140943 w 212804"/>
                <a:gd name="connsiteY373" fmla="*/ 238378 h 355504"/>
                <a:gd name="connsiteX374" fmla="*/ 139894 w 212804"/>
                <a:gd name="connsiteY374" fmla="*/ 242866 h 355504"/>
                <a:gd name="connsiteX375" fmla="*/ 139233 w 212804"/>
                <a:gd name="connsiteY375" fmla="*/ 244328 h 355504"/>
                <a:gd name="connsiteX376" fmla="*/ 137473 w 212804"/>
                <a:gd name="connsiteY376" fmla="*/ 247136 h 355504"/>
                <a:gd name="connsiteX377" fmla="*/ 136929 w 212804"/>
                <a:gd name="connsiteY377" fmla="*/ 248677 h 355504"/>
                <a:gd name="connsiteX378" fmla="*/ 136944 w 212804"/>
                <a:gd name="connsiteY378" fmla="*/ 252016 h 355504"/>
                <a:gd name="connsiteX379" fmla="*/ 136650 w 212804"/>
                <a:gd name="connsiteY379" fmla="*/ 253251 h 355504"/>
                <a:gd name="connsiteX380" fmla="*/ 136659 w 212804"/>
                <a:gd name="connsiteY380" fmla="*/ 254437 h 355504"/>
                <a:gd name="connsiteX381" fmla="*/ 140166 w 212804"/>
                <a:gd name="connsiteY381" fmla="*/ 259996 h 355504"/>
                <a:gd name="connsiteX382" fmla="*/ 140464 w 212804"/>
                <a:gd name="connsiteY382" fmla="*/ 260877 h 355504"/>
                <a:gd name="connsiteX383" fmla="*/ 140434 w 212804"/>
                <a:gd name="connsiteY383" fmla="*/ 261869 h 355504"/>
                <a:gd name="connsiteX384" fmla="*/ 139833 w 212804"/>
                <a:gd name="connsiteY384" fmla="*/ 263111 h 355504"/>
                <a:gd name="connsiteX385" fmla="*/ 138404 w 212804"/>
                <a:gd name="connsiteY385" fmla="*/ 265249 h 355504"/>
                <a:gd name="connsiteX386" fmla="*/ 137603 w 212804"/>
                <a:gd name="connsiteY386" fmla="*/ 265995 h 355504"/>
                <a:gd name="connsiteX387" fmla="*/ 136240 w 212804"/>
                <a:gd name="connsiteY387" fmla="*/ 266525 h 355504"/>
                <a:gd name="connsiteX388" fmla="*/ 134776 w 212804"/>
                <a:gd name="connsiteY388" fmla="*/ 266765 h 355504"/>
                <a:gd name="connsiteX389" fmla="*/ 133230 w 212804"/>
                <a:gd name="connsiteY389" fmla="*/ 266643 h 355504"/>
                <a:gd name="connsiteX390" fmla="*/ 132194 w 212804"/>
                <a:gd name="connsiteY390" fmla="*/ 265548 h 355504"/>
                <a:gd name="connsiteX391" fmla="*/ 130397 w 212804"/>
                <a:gd name="connsiteY391" fmla="*/ 260824 h 355504"/>
                <a:gd name="connsiteX392" fmla="*/ 128315 w 212804"/>
                <a:gd name="connsiteY392" fmla="*/ 259675 h 355504"/>
                <a:gd name="connsiteX393" fmla="*/ 125929 w 212804"/>
                <a:gd name="connsiteY393" fmla="*/ 258805 h 355504"/>
                <a:gd name="connsiteX394" fmla="*/ 124731 w 212804"/>
                <a:gd name="connsiteY394" fmla="*/ 258072 h 355504"/>
                <a:gd name="connsiteX395" fmla="*/ 123673 w 212804"/>
                <a:gd name="connsiteY395" fmla="*/ 257189 h 355504"/>
                <a:gd name="connsiteX396" fmla="*/ 120321 w 212804"/>
                <a:gd name="connsiteY396" fmla="*/ 252479 h 355504"/>
                <a:gd name="connsiteX397" fmla="*/ 120068 w 212804"/>
                <a:gd name="connsiteY397" fmla="*/ 249597 h 355504"/>
                <a:gd name="connsiteX398" fmla="*/ 120645 w 212804"/>
                <a:gd name="connsiteY398" fmla="*/ 247966 h 355504"/>
                <a:gd name="connsiteX399" fmla="*/ 121660 w 212804"/>
                <a:gd name="connsiteY399" fmla="*/ 246505 h 355504"/>
                <a:gd name="connsiteX400" fmla="*/ 122805 w 212804"/>
                <a:gd name="connsiteY400" fmla="*/ 246111 h 355504"/>
                <a:gd name="connsiteX401" fmla="*/ 125569 w 212804"/>
                <a:gd name="connsiteY401" fmla="*/ 246058 h 355504"/>
                <a:gd name="connsiteX402" fmla="*/ 127000 w 212804"/>
                <a:gd name="connsiteY402" fmla="*/ 245866 h 355504"/>
                <a:gd name="connsiteX403" fmla="*/ 130153 w 212804"/>
                <a:gd name="connsiteY403" fmla="*/ 243705 h 355504"/>
                <a:gd name="connsiteX404" fmla="*/ 130380 w 212804"/>
                <a:gd name="connsiteY404" fmla="*/ 242855 h 355504"/>
                <a:gd name="connsiteX405" fmla="*/ 130395 w 212804"/>
                <a:gd name="connsiteY405" fmla="*/ 239302 h 355504"/>
                <a:gd name="connsiteX406" fmla="*/ 130082 w 212804"/>
                <a:gd name="connsiteY406" fmla="*/ 236817 h 355504"/>
                <a:gd name="connsiteX407" fmla="*/ 129300 w 212804"/>
                <a:gd name="connsiteY407" fmla="*/ 234391 h 355504"/>
                <a:gd name="connsiteX408" fmla="*/ 130153 w 212804"/>
                <a:gd name="connsiteY408" fmla="*/ 233282 h 355504"/>
                <a:gd name="connsiteX409" fmla="*/ 131265 w 212804"/>
                <a:gd name="connsiteY409" fmla="*/ 232184 h 355504"/>
                <a:gd name="connsiteX410" fmla="*/ 132426 w 212804"/>
                <a:gd name="connsiteY410" fmla="*/ 230042 h 355504"/>
                <a:gd name="connsiteX411" fmla="*/ 132655 w 212804"/>
                <a:gd name="connsiteY411" fmla="*/ 228535 h 355504"/>
                <a:gd name="connsiteX412" fmla="*/ 132677 w 212804"/>
                <a:gd name="connsiteY412" fmla="*/ 226959 h 355504"/>
                <a:gd name="connsiteX413" fmla="*/ 132977 w 212804"/>
                <a:gd name="connsiteY413" fmla="*/ 225831 h 355504"/>
                <a:gd name="connsiteX414" fmla="*/ 133886 w 212804"/>
                <a:gd name="connsiteY414" fmla="*/ 225267 h 355504"/>
                <a:gd name="connsiteX415" fmla="*/ 138250 w 212804"/>
                <a:gd name="connsiteY415" fmla="*/ 223547 h 355504"/>
                <a:gd name="connsiteX416" fmla="*/ 156318 w 212804"/>
                <a:gd name="connsiteY416" fmla="*/ 217172 h 355504"/>
                <a:gd name="connsiteX417" fmla="*/ 156739 w 212804"/>
                <a:gd name="connsiteY417" fmla="*/ 218432 h 355504"/>
                <a:gd name="connsiteX418" fmla="*/ 156266 w 212804"/>
                <a:gd name="connsiteY418" fmla="*/ 220906 h 355504"/>
                <a:gd name="connsiteX419" fmla="*/ 156340 w 212804"/>
                <a:gd name="connsiteY419" fmla="*/ 222094 h 355504"/>
                <a:gd name="connsiteX420" fmla="*/ 156620 w 212804"/>
                <a:gd name="connsiteY420" fmla="*/ 222651 h 355504"/>
                <a:gd name="connsiteX421" fmla="*/ 156638 w 212804"/>
                <a:gd name="connsiteY421" fmla="*/ 224955 h 355504"/>
                <a:gd name="connsiteX422" fmla="*/ 156068 w 212804"/>
                <a:gd name="connsiteY422" fmla="*/ 228487 h 355504"/>
                <a:gd name="connsiteX423" fmla="*/ 156592 w 212804"/>
                <a:gd name="connsiteY423" fmla="*/ 232562 h 355504"/>
                <a:gd name="connsiteX424" fmla="*/ 155568 w 212804"/>
                <a:gd name="connsiteY424" fmla="*/ 236709 h 355504"/>
                <a:gd name="connsiteX425" fmla="*/ 154400 w 212804"/>
                <a:gd name="connsiteY425" fmla="*/ 238574 h 355504"/>
                <a:gd name="connsiteX426" fmla="*/ 152671 w 212804"/>
                <a:gd name="connsiteY426" fmla="*/ 239890 h 355504"/>
                <a:gd name="connsiteX427" fmla="*/ 150786 w 212804"/>
                <a:gd name="connsiteY427" fmla="*/ 240715 h 355504"/>
                <a:gd name="connsiteX428" fmla="*/ 148836 w 212804"/>
                <a:gd name="connsiteY428" fmla="*/ 242780 h 355504"/>
                <a:gd name="connsiteX429" fmla="*/ 147573 w 212804"/>
                <a:gd name="connsiteY429" fmla="*/ 245195 h 355504"/>
                <a:gd name="connsiteX430" fmla="*/ 147365 w 212804"/>
                <a:gd name="connsiteY430" fmla="*/ 247394 h 355504"/>
                <a:gd name="connsiteX431" fmla="*/ 144260 w 212804"/>
                <a:gd name="connsiteY431" fmla="*/ 254813 h 355504"/>
                <a:gd name="connsiteX432" fmla="*/ 141535 w 212804"/>
                <a:gd name="connsiteY432" fmla="*/ 257929 h 355504"/>
                <a:gd name="connsiteX433" fmla="*/ 140682 w 212804"/>
                <a:gd name="connsiteY433" fmla="*/ 258524 h 355504"/>
                <a:gd name="connsiteX434" fmla="*/ 140335 w 212804"/>
                <a:gd name="connsiteY434" fmla="*/ 257052 h 355504"/>
                <a:gd name="connsiteX435" fmla="*/ 140578 w 212804"/>
                <a:gd name="connsiteY435" fmla="*/ 255064 h 355504"/>
                <a:gd name="connsiteX436" fmla="*/ 142273 w 212804"/>
                <a:gd name="connsiteY436" fmla="*/ 248119 h 355504"/>
                <a:gd name="connsiteX437" fmla="*/ 141887 w 212804"/>
                <a:gd name="connsiteY437" fmla="*/ 246381 h 355504"/>
                <a:gd name="connsiteX438" fmla="*/ 144720 w 212804"/>
                <a:gd name="connsiteY438" fmla="*/ 242512 h 355504"/>
                <a:gd name="connsiteX439" fmla="*/ 146457 w 212804"/>
                <a:gd name="connsiteY439" fmla="*/ 238880 h 355504"/>
                <a:gd name="connsiteX440" fmla="*/ 149078 w 212804"/>
                <a:gd name="connsiteY440" fmla="*/ 235064 h 355504"/>
                <a:gd name="connsiteX441" fmla="*/ 149410 w 212804"/>
                <a:gd name="connsiteY441" fmla="*/ 233085 h 355504"/>
                <a:gd name="connsiteX442" fmla="*/ 151734 w 212804"/>
                <a:gd name="connsiteY442" fmla="*/ 229311 h 355504"/>
                <a:gd name="connsiteX443" fmla="*/ 153908 w 212804"/>
                <a:gd name="connsiteY443" fmla="*/ 224104 h 355504"/>
                <a:gd name="connsiteX444" fmla="*/ 153792 w 212804"/>
                <a:gd name="connsiteY444" fmla="*/ 222378 h 355504"/>
                <a:gd name="connsiteX445" fmla="*/ 154355 w 212804"/>
                <a:gd name="connsiteY445" fmla="*/ 221523 h 355504"/>
                <a:gd name="connsiteX446" fmla="*/ 154664 w 212804"/>
                <a:gd name="connsiteY446" fmla="*/ 220218 h 355504"/>
                <a:gd name="connsiteX447" fmla="*/ 154733 w 212804"/>
                <a:gd name="connsiteY447" fmla="*/ 219111 h 355504"/>
                <a:gd name="connsiteX448" fmla="*/ 150086 w 212804"/>
                <a:gd name="connsiteY448" fmla="*/ 216953 h 355504"/>
                <a:gd name="connsiteX449" fmla="*/ 151382 w 212804"/>
                <a:gd name="connsiteY449" fmla="*/ 219921 h 355504"/>
                <a:gd name="connsiteX450" fmla="*/ 149637 w 212804"/>
                <a:gd name="connsiteY450" fmla="*/ 219904 h 355504"/>
                <a:gd name="connsiteX451" fmla="*/ 148994 w 212804"/>
                <a:gd name="connsiteY451" fmla="*/ 217744 h 355504"/>
                <a:gd name="connsiteX452" fmla="*/ 149741 w 212804"/>
                <a:gd name="connsiteY452" fmla="*/ 217046 h 355504"/>
                <a:gd name="connsiteX453" fmla="*/ 55982 w 212804"/>
                <a:gd name="connsiteY453" fmla="*/ 215539 h 355504"/>
                <a:gd name="connsiteX454" fmla="*/ 57133 w 212804"/>
                <a:gd name="connsiteY454" fmla="*/ 216277 h 355504"/>
                <a:gd name="connsiteX455" fmla="*/ 57287 w 212804"/>
                <a:gd name="connsiteY455" fmla="*/ 217323 h 355504"/>
                <a:gd name="connsiteX456" fmla="*/ 56719 w 212804"/>
                <a:gd name="connsiteY456" fmla="*/ 219784 h 355504"/>
                <a:gd name="connsiteX457" fmla="*/ 56675 w 212804"/>
                <a:gd name="connsiteY457" fmla="*/ 221020 h 355504"/>
                <a:gd name="connsiteX458" fmla="*/ 57323 w 212804"/>
                <a:gd name="connsiteY458" fmla="*/ 222276 h 355504"/>
                <a:gd name="connsiteX459" fmla="*/ 56544 w 212804"/>
                <a:gd name="connsiteY459" fmla="*/ 224342 h 355504"/>
                <a:gd name="connsiteX460" fmla="*/ 58522 w 212804"/>
                <a:gd name="connsiteY460" fmla="*/ 229840 h 355504"/>
                <a:gd name="connsiteX461" fmla="*/ 60031 w 212804"/>
                <a:gd name="connsiteY461" fmla="*/ 233320 h 355504"/>
                <a:gd name="connsiteX462" fmla="*/ 60088 w 212804"/>
                <a:gd name="connsiteY462" fmla="*/ 234468 h 355504"/>
                <a:gd name="connsiteX463" fmla="*/ 58060 w 212804"/>
                <a:gd name="connsiteY463" fmla="*/ 236545 h 355504"/>
                <a:gd name="connsiteX464" fmla="*/ 56850 w 212804"/>
                <a:gd name="connsiteY464" fmla="*/ 237173 h 355504"/>
                <a:gd name="connsiteX465" fmla="*/ 54240 w 212804"/>
                <a:gd name="connsiteY465" fmla="*/ 237730 h 355504"/>
                <a:gd name="connsiteX466" fmla="*/ 53065 w 212804"/>
                <a:gd name="connsiteY466" fmla="*/ 238335 h 355504"/>
                <a:gd name="connsiteX467" fmla="*/ 51195 w 212804"/>
                <a:gd name="connsiteY467" fmla="*/ 240024 h 355504"/>
                <a:gd name="connsiteX468" fmla="*/ 50027 w 212804"/>
                <a:gd name="connsiteY468" fmla="*/ 242248 h 355504"/>
                <a:gd name="connsiteX469" fmla="*/ 49731 w 212804"/>
                <a:gd name="connsiteY469" fmla="*/ 243398 h 355504"/>
                <a:gd name="connsiteX470" fmla="*/ 49132 w 212804"/>
                <a:gd name="connsiteY470" fmla="*/ 244282 h 355504"/>
                <a:gd name="connsiteX471" fmla="*/ 43762 w 212804"/>
                <a:gd name="connsiteY471" fmla="*/ 245792 h 355504"/>
                <a:gd name="connsiteX472" fmla="*/ 41242 w 212804"/>
                <a:gd name="connsiteY472" fmla="*/ 246778 h 355504"/>
                <a:gd name="connsiteX473" fmla="*/ 40080 w 212804"/>
                <a:gd name="connsiteY473" fmla="*/ 247519 h 355504"/>
                <a:gd name="connsiteX474" fmla="*/ 39480 w 212804"/>
                <a:gd name="connsiteY474" fmla="*/ 248725 h 355504"/>
                <a:gd name="connsiteX475" fmla="*/ 39896 w 212804"/>
                <a:gd name="connsiteY475" fmla="*/ 250852 h 355504"/>
                <a:gd name="connsiteX476" fmla="*/ 35382 w 212804"/>
                <a:gd name="connsiteY476" fmla="*/ 258529 h 355504"/>
                <a:gd name="connsiteX477" fmla="*/ 33942 w 212804"/>
                <a:gd name="connsiteY477" fmla="*/ 260538 h 355504"/>
                <a:gd name="connsiteX478" fmla="*/ 32404 w 212804"/>
                <a:gd name="connsiteY478" fmla="*/ 262247 h 355504"/>
                <a:gd name="connsiteX479" fmla="*/ 30516 w 212804"/>
                <a:gd name="connsiteY479" fmla="*/ 263464 h 355504"/>
                <a:gd name="connsiteX480" fmla="*/ 27856 w 212804"/>
                <a:gd name="connsiteY480" fmla="*/ 264210 h 355504"/>
                <a:gd name="connsiteX481" fmla="*/ 25751 w 212804"/>
                <a:gd name="connsiteY481" fmla="*/ 265695 h 355504"/>
                <a:gd name="connsiteX482" fmla="*/ 24321 w 212804"/>
                <a:gd name="connsiteY482" fmla="*/ 268321 h 355504"/>
                <a:gd name="connsiteX483" fmla="*/ 22555 w 212804"/>
                <a:gd name="connsiteY483" fmla="*/ 270693 h 355504"/>
                <a:gd name="connsiteX484" fmla="*/ 20322 w 212804"/>
                <a:gd name="connsiteY484" fmla="*/ 272450 h 355504"/>
                <a:gd name="connsiteX485" fmla="*/ 17916 w 212804"/>
                <a:gd name="connsiteY485" fmla="*/ 274002 h 355504"/>
                <a:gd name="connsiteX486" fmla="*/ 15707 w 212804"/>
                <a:gd name="connsiteY486" fmla="*/ 275133 h 355504"/>
                <a:gd name="connsiteX487" fmla="*/ 13326 w 212804"/>
                <a:gd name="connsiteY487" fmla="*/ 275931 h 355504"/>
                <a:gd name="connsiteX488" fmla="*/ 12607 w 212804"/>
                <a:gd name="connsiteY488" fmla="*/ 276964 h 355504"/>
                <a:gd name="connsiteX489" fmla="*/ 12097 w 212804"/>
                <a:gd name="connsiteY489" fmla="*/ 278240 h 355504"/>
                <a:gd name="connsiteX490" fmla="*/ 11048 w 212804"/>
                <a:gd name="connsiteY490" fmla="*/ 278840 h 355504"/>
                <a:gd name="connsiteX491" fmla="*/ 9795 w 212804"/>
                <a:gd name="connsiteY491" fmla="*/ 279186 h 355504"/>
                <a:gd name="connsiteX492" fmla="*/ 7554 w 212804"/>
                <a:gd name="connsiteY492" fmla="*/ 280439 h 355504"/>
                <a:gd name="connsiteX493" fmla="*/ 5506 w 212804"/>
                <a:gd name="connsiteY493" fmla="*/ 282048 h 355504"/>
                <a:gd name="connsiteX494" fmla="*/ 5727 w 212804"/>
                <a:gd name="connsiteY494" fmla="*/ 280058 h 355504"/>
                <a:gd name="connsiteX495" fmla="*/ 6332 w 212804"/>
                <a:gd name="connsiteY495" fmla="*/ 278181 h 355504"/>
                <a:gd name="connsiteX496" fmla="*/ 8411 w 212804"/>
                <a:gd name="connsiteY496" fmla="*/ 274337 h 355504"/>
                <a:gd name="connsiteX497" fmla="*/ 9911 w 212804"/>
                <a:gd name="connsiteY497" fmla="*/ 273154 h 355504"/>
                <a:gd name="connsiteX498" fmla="*/ 12393 w 212804"/>
                <a:gd name="connsiteY498" fmla="*/ 270125 h 355504"/>
                <a:gd name="connsiteX499" fmla="*/ 13792 w 212804"/>
                <a:gd name="connsiteY499" fmla="*/ 268661 h 355504"/>
                <a:gd name="connsiteX500" fmla="*/ 17146 w 212804"/>
                <a:gd name="connsiteY500" fmla="*/ 265765 h 355504"/>
                <a:gd name="connsiteX501" fmla="*/ 20238 w 212804"/>
                <a:gd name="connsiteY501" fmla="*/ 262589 h 355504"/>
                <a:gd name="connsiteX502" fmla="*/ 21272 w 212804"/>
                <a:gd name="connsiteY502" fmla="*/ 262353 h 355504"/>
                <a:gd name="connsiteX503" fmla="*/ 22410 w 212804"/>
                <a:gd name="connsiteY503" fmla="*/ 262305 h 355504"/>
                <a:gd name="connsiteX504" fmla="*/ 23313 w 212804"/>
                <a:gd name="connsiteY504" fmla="*/ 261940 h 355504"/>
                <a:gd name="connsiteX505" fmla="*/ 25325 w 212804"/>
                <a:gd name="connsiteY505" fmla="*/ 260225 h 355504"/>
                <a:gd name="connsiteX506" fmla="*/ 30392 w 212804"/>
                <a:gd name="connsiteY506" fmla="*/ 254512 h 355504"/>
                <a:gd name="connsiteX507" fmla="*/ 34581 w 212804"/>
                <a:gd name="connsiteY507" fmla="*/ 250253 h 355504"/>
                <a:gd name="connsiteX508" fmla="*/ 38873 w 212804"/>
                <a:gd name="connsiteY508" fmla="*/ 244864 h 355504"/>
                <a:gd name="connsiteX509" fmla="*/ 40920 w 212804"/>
                <a:gd name="connsiteY509" fmla="*/ 243294 h 355504"/>
                <a:gd name="connsiteX510" fmla="*/ 41473 w 212804"/>
                <a:gd name="connsiteY510" fmla="*/ 242714 h 355504"/>
                <a:gd name="connsiteX511" fmla="*/ 45425 w 212804"/>
                <a:gd name="connsiteY511" fmla="*/ 237748 h 355504"/>
                <a:gd name="connsiteX512" fmla="*/ 46664 w 212804"/>
                <a:gd name="connsiteY512" fmla="*/ 237027 h 355504"/>
                <a:gd name="connsiteX513" fmla="*/ 48062 w 212804"/>
                <a:gd name="connsiteY513" fmla="*/ 236504 h 355504"/>
                <a:gd name="connsiteX514" fmla="*/ 49011 w 212804"/>
                <a:gd name="connsiteY514" fmla="*/ 235829 h 355504"/>
                <a:gd name="connsiteX515" fmla="*/ 49848 w 212804"/>
                <a:gd name="connsiteY515" fmla="*/ 234984 h 355504"/>
                <a:gd name="connsiteX516" fmla="*/ 51245 w 212804"/>
                <a:gd name="connsiteY516" fmla="*/ 232821 h 355504"/>
                <a:gd name="connsiteX517" fmla="*/ 51813 w 212804"/>
                <a:gd name="connsiteY517" fmla="*/ 230293 h 355504"/>
                <a:gd name="connsiteX518" fmla="*/ 51459 w 212804"/>
                <a:gd name="connsiteY518" fmla="*/ 228865 h 355504"/>
                <a:gd name="connsiteX519" fmla="*/ 50673 w 212804"/>
                <a:gd name="connsiteY519" fmla="*/ 226758 h 355504"/>
                <a:gd name="connsiteX520" fmla="*/ 51657 w 212804"/>
                <a:gd name="connsiteY520" fmla="*/ 223884 h 355504"/>
                <a:gd name="connsiteX521" fmla="*/ 52432 w 212804"/>
                <a:gd name="connsiteY521" fmla="*/ 222558 h 355504"/>
                <a:gd name="connsiteX522" fmla="*/ 55188 w 212804"/>
                <a:gd name="connsiteY522" fmla="*/ 216718 h 355504"/>
                <a:gd name="connsiteX523" fmla="*/ 63946 w 212804"/>
                <a:gd name="connsiteY523" fmla="*/ 211533 h 355504"/>
                <a:gd name="connsiteX524" fmla="*/ 64421 w 212804"/>
                <a:gd name="connsiteY524" fmla="*/ 212718 h 355504"/>
                <a:gd name="connsiteX525" fmla="*/ 63801 w 212804"/>
                <a:gd name="connsiteY525" fmla="*/ 214495 h 355504"/>
                <a:gd name="connsiteX526" fmla="*/ 63266 w 212804"/>
                <a:gd name="connsiteY526" fmla="*/ 214884 h 355504"/>
                <a:gd name="connsiteX527" fmla="*/ 62558 w 212804"/>
                <a:gd name="connsiteY527" fmla="*/ 214144 h 355504"/>
                <a:gd name="connsiteX528" fmla="*/ 61039 w 212804"/>
                <a:gd name="connsiteY528" fmla="*/ 213625 h 355504"/>
                <a:gd name="connsiteX529" fmla="*/ 60942 w 212804"/>
                <a:gd name="connsiteY529" fmla="*/ 212668 h 355504"/>
                <a:gd name="connsiteX530" fmla="*/ 61735 w 212804"/>
                <a:gd name="connsiteY530" fmla="*/ 212691 h 355504"/>
                <a:gd name="connsiteX531" fmla="*/ 63180 w 212804"/>
                <a:gd name="connsiteY531" fmla="*/ 211755 h 355504"/>
                <a:gd name="connsiteX532" fmla="*/ 162770 w 212804"/>
                <a:gd name="connsiteY532" fmla="*/ 211312 h 355504"/>
                <a:gd name="connsiteX533" fmla="*/ 163732 w 212804"/>
                <a:gd name="connsiteY533" fmla="*/ 211764 h 355504"/>
                <a:gd name="connsiteX534" fmla="*/ 165098 w 212804"/>
                <a:gd name="connsiteY534" fmla="*/ 213058 h 355504"/>
                <a:gd name="connsiteX535" fmla="*/ 166757 w 212804"/>
                <a:gd name="connsiteY535" fmla="*/ 213805 h 355504"/>
                <a:gd name="connsiteX536" fmla="*/ 167582 w 212804"/>
                <a:gd name="connsiteY536" fmla="*/ 214451 h 355504"/>
                <a:gd name="connsiteX537" fmla="*/ 168165 w 212804"/>
                <a:gd name="connsiteY537" fmla="*/ 215615 h 355504"/>
                <a:gd name="connsiteX538" fmla="*/ 169706 w 212804"/>
                <a:gd name="connsiteY538" fmla="*/ 216398 h 355504"/>
                <a:gd name="connsiteX539" fmla="*/ 171475 w 212804"/>
                <a:gd name="connsiteY539" fmla="*/ 216085 h 355504"/>
                <a:gd name="connsiteX540" fmla="*/ 173615 w 212804"/>
                <a:gd name="connsiteY540" fmla="*/ 214308 h 355504"/>
                <a:gd name="connsiteX541" fmla="*/ 176022 w 212804"/>
                <a:gd name="connsiteY541" fmla="*/ 214948 h 355504"/>
                <a:gd name="connsiteX542" fmla="*/ 177437 w 212804"/>
                <a:gd name="connsiteY542" fmla="*/ 217566 h 355504"/>
                <a:gd name="connsiteX543" fmla="*/ 178159 w 212804"/>
                <a:gd name="connsiteY543" fmla="*/ 218555 h 355504"/>
                <a:gd name="connsiteX544" fmla="*/ 178551 w 212804"/>
                <a:gd name="connsiteY544" fmla="*/ 220267 h 355504"/>
                <a:gd name="connsiteX545" fmla="*/ 178450 w 212804"/>
                <a:gd name="connsiteY545" fmla="*/ 224370 h 355504"/>
                <a:gd name="connsiteX546" fmla="*/ 177862 w 212804"/>
                <a:gd name="connsiteY546" fmla="*/ 228088 h 355504"/>
                <a:gd name="connsiteX547" fmla="*/ 178317 w 212804"/>
                <a:gd name="connsiteY547" fmla="*/ 228854 h 355504"/>
                <a:gd name="connsiteX548" fmla="*/ 179426 w 212804"/>
                <a:gd name="connsiteY548" fmla="*/ 229522 h 355504"/>
                <a:gd name="connsiteX549" fmla="*/ 180391 w 212804"/>
                <a:gd name="connsiteY549" fmla="*/ 230346 h 355504"/>
                <a:gd name="connsiteX550" fmla="*/ 181201 w 212804"/>
                <a:gd name="connsiteY550" fmla="*/ 231403 h 355504"/>
                <a:gd name="connsiteX551" fmla="*/ 181721 w 212804"/>
                <a:gd name="connsiteY551" fmla="*/ 232579 h 355504"/>
                <a:gd name="connsiteX552" fmla="*/ 181930 w 212804"/>
                <a:gd name="connsiteY552" fmla="*/ 235432 h 355504"/>
                <a:gd name="connsiteX553" fmla="*/ 183321 w 212804"/>
                <a:gd name="connsiteY553" fmla="*/ 237837 h 355504"/>
                <a:gd name="connsiteX554" fmla="*/ 183507 w 212804"/>
                <a:gd name="connsiteY554" fmla="*/ 238773 h 355504"/>
                <a:gd name="connsiteX555" fmla="*/ 183172 w 212804"/>
                <a:gd name="connsiteY555" fmla="*/ 239754 h 355504"/>
                <a:gd name="connsiteX556" fmla="*/ 180853 w 212804"/>
                <a:gd name="connsiteY556" fmla="*/ 239562 h 355504"/>
                <a:gd name="connsiteX557" fmla="*/ 180667 w 212804"/>
                <a:gd name="connsiteY557" fmla="*/ 240390 h 355504"/>
                <a:gd name="connsiteX558" fmla="*/ 180724 w 212804"/>
                <a:gd name="connsiteY558" fmla="*/ 241415 h 355504"/>
                <a:gd name="connsiteX559" fmla="*/ 179900 w 212804"/>
                <a:gd name="connsiteY559" fmla="*/ 240770 h 355504"/>
                <a:gd name="connsiteX560" fmla="*/ 178542 w 212804"/>
                <a:gd name="connsiteY560" fmla="*/ 238422 h 355504"/>
                <a:gd name="connsiteX561" fmla="*/ 177294 w 212804"/>
                <a:gd name="connsiteY561" fmla="*/ 237435 h 355504"/>
                <a:gd name="connsiteX562" fmla="*/ 177679 w 212804"/>
                <a:gd name="connsiteY562" fmla="*/ 241245 h 355504"/>
                <a:gd name="connsiteX563" fmla="*/ 178091 w 212804"/>
                <a:gd name="connsiteY563" fmla="*/ 243072 h 355504"/>
                <a:gd name="connsiteX564" fmla="*/ 178159 w 212804"/>
                <a:gd name="connsiteY564" fmla="*/ 244907 h 355504"/>
                <a:gd name="connsiteX565" fmla="*/ 176003 w 212804"/>
                <a:gd name="connsiteY565" fmla="*/ 243505 h 355504"/>
                <a:gd name="connsiteX566" fmla="*/ 173431 w 212804"/>
                <a:gd name="connsiteY566" fmla="*/ 242640 h 355504"/>
                <a:gd name="connsiteX567" fmla="*/ 172723 w 212804"/>
                <a:gd name="connsiteY567" fmla="*/ 241893 h 355504"/>
                <a:gd name="connsiteX568" fmla="*/ 172965 w 212804"/>
                <a:gd name="connsiteY568" fmla="*/ 239514 h 355504"/>
                <a:gd name="connsiteX569" fmla="*/ 172917 w 212804"/>
                <a:gd name="connsiteY569" fmla="*/ 238330 h 355504"/>
                <a:gd name="connsiteX570" fmla="*/ 171771 w 212804"/>
                <a:gd name="connsiteY570" fmla="*/ 235823 h 355504"/>
                <a:gd name="connsiteX571" fmla="*/ 173119 w 212804"/>
                <a:gd name="connsiteY571" fmla="*/ 230402 h 355504"/>
                <a:gd name="connsiteX572" fmla="*/ 173085 w 212804"/>
                <a:gd name="connsiteY572" fmla="*/ 229294 h 355504"/>
                <a:gd name="connsiteX573" fmla="*/ 172855 w 212804"/>
                <a:gd name="connsiteY573" fmla="*/ 228184 h 355504"/>
                <a:gd name="connsiteX574" fmla="*/ 171792 w 212804"/>
                <a:gd name="connsiteY574" fmla="*/ 225985 h 355504"/>
                <a:gd name="connsiteX575" fmla="*/ 170113 w 212804"/>
                <a:gd name="connsiteY575" fmla="*/ 224145 h 355504"/>
                <a:gd name="connsiteX576" fmla="*/ 169082 w 212804"/>
                <a:gd name="connsiteY576" fmla="*/ 224140 h 355504"/>
                <a:gd name="connsiteX577" fmla="*/ 166577 w 212804"/>
                <a:gd name="connsiteY577" fmla="*/ 225432 h 355504"/>
                <a:gd name="connsiteX578" fmla="*/ 165310 w 212804"/>
                <a:gd name="connsiteY578" fmla="*/ 225004 h 355504"/>
                <a:gd name="connsiteX579" fmla="*/ 164563 w 212804"/>
                <a:gd name="connsiteY579" fmla="*/ 219929 h 355504"/>
                <a:gd name="connsiteX580" fmla="*/ 163552 w 212804"/>
                <a:gd name="connsiteY580" fmla="*/ 214996 h 355504"/>
                <a:gd name="connsiteX581" fmla="*/ 162777 w 212804"/>
                <a:gd name="connsiteY581" fmla="*/ 213733 h 355504"/>
                <a:gd name="connsiteX582" fmla="*/ 162274 w 212804"/>
                <a:gd name="connsiteY582" fmla="*/ 212410 h 355504"/>
                <a:gd name="connsiteX583" fmla="*/ 165131 w 212804"/>
                <a:gd name="connsiteY583" fmla="*/ 207731 h 355504"/>
                <a:gd name="connsiteX584" fmla="*/ 166757 w 212804"/>
                <a:gd name="connsiteY584" fmla="*/ 207908 h 355504"/>
                <a:gd name="connsiteX585" fmla="*/ 167951 w 212804"/>
                <a:gd name="connsiteY585" fmla="*/ 208970 h 355504"/>
                <a:gd name="connsiteX586" fmla="*/ 169218 w 212804"/>
                <a:gd name="connsiteY586" fmla="*/ 210990 h 355504"/>
                <a:gd name="connsiteX587" fmla="*/ 168912 w 212804"/>
                <a:gd name="connsiteY587" fmla="*/ 212275 h 355504"/>
                <a:gd name="connsiteX588" fmla="*/ 166150 w 212804"/>
                <a:gd name="connsiteY588" fmla="*/ 212417 h 355504"/>
                <a:gd name="connsiteX589" fmla="*/ 164941 w 212804"/>
                <a:gd name="connsiteY589" fmla="*/ 211389 h 355504"/>
                <a:gd name="connsiteX590" fmla="*/ 163427 w 212804"/>
                <a:gd name="connsiteY590" fmla="*/ 208383 h 355504"/>
                <a:gd name="connsiteX591" fmla="*/ 171619 w 212804"/>
                <a:gd name="connsiteY591" fmla="*/ 207276 h 355504"/>
                <a:gd name="connsiteX592" fmla="*/ 172891 w 212804"/>
                <a:gd name="connsiteY592" fmla="*/ 207998 h 355504"/>
                <a:gd name="connsiteX593" fmla="*/ 173623 w 212804"/>
                <a:gd name="connsiteY593" fmla="*/ 209264 h 355504"/>
                <a:gd name="connsiteX594" fmla="*/ 174351 w 212804"/>
                <a:gd name="connsiteY594" fmla="*/ 209977 h 355504"/>
                <a:gd name="connsiteX595" fmla="*/ 173943 w 212804"/>
                <a:gd name="connsiteY595" fmla="*/ 211130 h 355504"/>
                <a:gd name="connsiteX596" fmla="*/ 173295 w 212804"/>
                <a:gd name="connsiteY596" fmla="*/ 210811 h 355504"/>
                <a:gd name="connsiteX597" fmla="*/ 172729 w 212804"/>
                <a:gd name="connsiteY597" fmla="*/ 210291 h 355504"/>
                <a:gd name="connsiteX598" fmla="*/ 171902 w 212804"/>
                <a:gd name="connsiteY598" fmla="*/ 208548 h 355504"/>
                <a:gd name="connsiteX599" fmla="*/ 110431 w 212804"/>
                <a:gd name="connsiteY599" fmla="*/ 203195 h 355504"/>
                <a:gd name="connsiteX600" fmla="*/ 111880 w 212804"/>
                <a:gd name="connsiteY600" fmla="*/ 203239 h 355504"/>
                <a:gd name="connsiteX601" fmla="*/ 113154 w 212804"/>
                <a:gd name="connsiteY601" fmla="*/ 204143 h 355504"/>
                <a:gd name="connsiteX602" fmla="*/ 117663 w 212804"/>
                <a:gd name="connsiteY602" fmla="*/ 206005 h 355504"/>
                <a:gd name="connsiteX603" fmla="*/ 120062 w 212804"/>
                <a:gd name="connsiteY603" fmla="*/ 207570 h 355504"/>
                <a:gd name="connsiteX604" fmla="*/ 122206 w 212804"/>
                <a:gd name="connsiteY604" fmla="*/ 209522 h 355504"/>
                <a:gd name="connsiteX605" fmla="*/ 124782 w 212804"/>
                <a:gd name="connsiteY605" fmla="*/ 210663 h 355504"/>
                <a:gd name="connsiteX606" fmla="*/ 127294 w 212804"/>
                <a:gd name="connsiteY606" fmla="*/ 209683 h 355504"/>
                <a:gd name="connsiteX607" fmla="*/ 129766 w 212804"/>
                <a:gd name="connsiteY607" fmla="*/ 209957 h 355504"/>
                <a:gd name="connsiteX608" fmla="*/ 131827 w 212804"/>
                <a:gd name="connsiteY608" fmla="*/ 211444 h 355504"/>
                <a:gd name="connsiteX609" fmla="*/ 131153 w 212804"/>
                <a:gd name="connsiteY609" fmla="*/ 212383 h 355504"/>
                <a:gd name="connsiteX610" fmla="*/ 131014 w 212804"/>
                <a:gd name="connsiteY610" fmla="*/ 213415 h 355504"/>
                <a:gd name="connsiteX611" fmla="*/ 135619 w 212804"/>
                <a:gd name="connsiteY611" fmla="*/ 211171 h 355504"/>
                <a:gd name="connsiteX612" fmla="*/ 136847 w 212804"/>
                <a:gd name="connsiteY612" fmla="*/ 211304 h 355504"/>
                <a:gd name="connsiteX613" fmla="*/ 136806 w 212804"/>
                <a:gd name="connsiteY613" fmla="*/ 213388 h 355504"/>
                <a:gd name="connsiteX614" fmla="*/ 136534 w 212804"/>
                <a:gd name="connsiteY614" fmla="*/ 215156 h 355504"/>
                <a:gd name="connsiteX615" fmla="*/ 135990 w 212804"/>
                <a:gd name="connsiteY615" fmla="*/ 216875 h 355504"/>
                <a:gd name="connsiteX616" fmla="*/ 135015 w 212804"/>
                <a:gd name="connsiteY616" fmla="*/ 218888 h 355504"/>
                <a:gd name="connsiteX617" fmla="*/ 133712 w 212804"/>
                <a:gd name="connsiteY617" fmla="*/ 220687 h 355504"/>
                <a:gd name="connsiteX618" fmla="*/ 131992 w 212804"/>
                <a:gd name="connsiteY618" fmla="*/ 221993 h 355504"/>
                <a:gd name="connsiteX619" fmla="*/ 129956 w 212804"/>
                <a:gd name="connsiteY619" fmla="*/ 222792 h 355504"/>
                <a:gd name="connsiteX620" fmla="*/ 128989 w 212804"/>
                <a:gd name="connsiteY620" fmla="*/ 223517 h 355504"/>
                <a:gd name="connsiteX621" fmla="*/ 128691 w 212804"/>
                <a:gd name="connsiteY621" fmla="*/ 224609 h 355504"/>
                <a:gd name="connsiteX622" fmla="*/ 128727 w 212804"/>
                <a:gd name="connsiteY622" fmla="*/ 225985 h 355504"/>
                <a:gd name="connsiteX623" fmla="*/ 128259 w 212804"/>
                <a:gd name="connsiteY623" fmla="*/ 227235 h 355504"/>
                <a:gd name="connsiteX624" fmla="*/ 126119 w 212804"/>
                <a:gd name="connsiteY624" fmla="*/ 227748 h 355504"/>
                <a:gd name="connsiteX625" fmla="*/ 122779 w 212804"/>
                <a:gd name="connsiteY625" fmla="*/ 230186 h 355504"/>
                <a:gd name="connsiteX626" fmla="*/ 115605 w 212804"/>
                <a:gd name="connsiteY626" fmla="*/ 231728 h 355504"/>
                <a:gd name="connsiteX627" fmla="*/ 113635 w 212804"/>
                <a:gd name="connsiteY627" fmla="*/ 232787 h 355504"/>
                <a:gd name="connsiteX628" fmla="*/ 112379 w 212804"/>
                <a:gd name="connsiteY628" fmla="*/ 234161 h 355504"/>
                <a:gd name="connsiteX629" fmla="*/ 110977 w 212804"/>
                <a:gd name="connsiteY629" fmla="*/ 235408 h 355504"/>
                <a:gd name="connsiteX630" fmla="*/ 110217 w 212804"/>
                <a:gd name="connsiteY630" fmla="*/ 235719 h 355504"/>
                <a:gd name="connsiteX631" fmla="*/ 109870 w 212804"/>
                <a:gd name="connsiteY631" fmla="*/ 235126 h 355504"/>
                <a:gd name="connsiteX632" fmla="*/ 109771 w 212804"/>
                <a:gd name="connsiteY632" fmla="*/ 234618 h 355504"/>
                <a:gd name="connsiteX633" fmla="*/ 110794 w 212804"/>
                <a:gd name="connsiteY633" fmla="*/ 231378 h 355504"/>
                <a:gd name="connsiteX634" fmla="*/ 110623 w 212804"/>
                <a:gd name="connsiteY634" fmla="*/ 230030 h 355504"/>
                <a:gd name="connsiteX635" fmla="*/ 110136 w 212804"/>
                <a:gd name="connsiteY635" fmla="*/ 228722 h 355504"/>
                <a:gd name="connsiteX636" fmla="*/ 110446 w 212804"/>
                <a:gd name="connsiteY636" fmla="*/ 226165 h 355504"/>
                <a:gd name="connsiteX637" fmla="*/ 111692 w 212804"/>
                <a:gd name="connsiteY637" fmla="*/ 223762 h 355504"/>
                <a:gd name="connsiteX638" fmla="*/ 112360 w 212804"/>
                <a:gd name="connsiteY638" fmla="*/ 221115 h 355504"/>
                <a:gd name="connsiteX639" fmla="*/ 112554 w 212804"/>
                <a:gd name="connsiteY639" fmla="*/ 216004 h 355504"/>
                <a:gd name="connsiteX640" fmla="*/ 113523 w 212804"/>
                <a:gd name="connsiteY640" fmla="*/ 208898 h 355504"/>
                <a:gd name="connsiteX641" fmla="*/ 113476 w 212804"/>
                <a:gd name="connsiteY641" fmla="*/ 208048 h 355504"/>
                <a:gd name="connsiteX642" fmla="*/ 112716 w 212804"/>
                <a:gd name="connsiteY642" fmla="*/ 207087 h 355504"/>
                <a:gd name="connsiteX643" fmla="*/ 109926 w 212804"/>
                <a:gd name="connsiteY643" fmla="*/ 206312 h 355504"/>
                <a:gd name="connsiteX644" fmla="*/ 108829 w 212804"/>
                <a:gd name="connsiteY644" fmla="*/ 205583 h 355504"/>
                <a:gd name="connsiteX645" fmla="*/ 109378 w 212804"/>
                <a:gd name="connsiteY645" fmla="*/ 204159 h 355504"/>
                <a:gd name="connsiteX646" fmla="*/ 65153 w 212804"/>
                <a:gd name="connsiteY646" fmla="*/ 201312 h 355504"/>
                <a:gd name="connsiteX647" fmla="*/ 66049 w 212804"/>
                <a:gd name="connsiteY647" fmla="*/ 201785 h 355504"/>
                <a:gd name="connsiteX648" fmla="*/ 66962 w 212804"/>
                <a:gd name="connsiteY648" fmla="*/ 202416 h 355504"/>
                <a:gd name="connsiteX649" fmla="*/ 67805 w 212804"/>
                <a:gd name="connsiteY649" fmla="*/ 202749 h 355504"/>
                <a:gd name="connsiteX650" fmla="*/ 68574 w 212804"/>
                <a:gd name="connsiteY650" fmla="*/ 204020 h 355504"/>
                <a:gd name="connsiteX651" fmla="*/ 68390 w 212804"/>
                <a:gd name="connsiteY651" fmla="*/ 204899 h 355504"/>
                <a:gd name="connsiteX652" fmla="*/ 68627 w 212804"/>
                <a:gd name="connsiteY652" fmla="*/ 205748 h 355504"/>
                <a:gd name="connsiteX653" fmla="*/ 67868 w 212804"/>
                <a:gd name="connsiteY653" fmla="*/ 207545 h 355504"/>
                <a:gd name="connsiteX654" fmla="*/ 66211 w 212804"/>
                <a:gd name="connsiteY654" fmla="*/ 208305 h 355504"/>
                <a:gd name="connsiteX655" fmla="*/ 65793 w 212804"/>
                <a:gd name="connsiteY655" fmla="*/ 207827 h 355504"/>
                <a:gd name="connsiteX656" fmla="*/ 65501 w 212804"/>
                <a:gd name="connsiteY656" fmla="*/ 206715 h 355504"/>
                <a:gd name="connsiteX657" fmla="*/ 65525 w 212804"/>
                <a:gd name="connsiteY657" fmla="*/ 205950 h 355504"/>
                <a:gd name="connsiteX658" fmla="*/ 63935 w 212804"/>
                <a:gd name="connsiteY658" fmla="*/ 201926 h 355504"/>
                <a:gd name="connsiteX659" fmla="*/ 65162 w 212804"/>
                <a:gd name="connsiteY659" fmla="*/ 193735 h 355504"/>
                <a:gd name="connsiteX660" fmla="*/ 66211 w 212804"/>
                <a:gd name="connsiteY660" fmla="*/ 194827 h 355504"/>
                <a:gd name="connsiteX661" fmla="*/ 68725 w 212804"/>
                <a:gd name="connsiteY661" fmla="*/ 196458 h 355504"/>
                <a:gd name="connsiteX662" fmla="*/ 69221 w 212804"/>
                <a:gd name="connsiteY662" fmla="*/ 197132 h 355504"/>
                <a:gd name="connsiteX663" fmla="*/ 70430 w 212804"/>
                <a:gd name="connsiteY663" fmla="*/ 197475 h 355504"/>
                <a:gd name="connsiteX664" fmla="*/ 71295 w 212804"/>
                <a:gd name="connsiteY664" fmla="*/ 197147 h 355504"/>
                <a:gd name="connsiteX665" fmla="*/ 72057 w 212804"/>
                <a:gd name="connsiteY665" fmla="*/ 195963 h 355504"/>
                <a:gd name="connsiteX666" fmla="*/ 72771 w 212804"/>
                <a:gd name="connsiteY666" fmla="*/ 197714 h 355504"/>
                <a:gd name="connsiteX667" fmla="*/ 74559 w 212804"/>
                <a:gd name="connsiteY667" fmla="*/ 199157 h 355504"/>
                <a:gd name="connsiteX668" fmla="*/ 73966 w 212804"/>
                <a:gd name="connsiteY668" fmla="*/ 200615 h 355504"/>
                <a:gd name="connsiteX669" fmla="*/ 72394 w 212804"/>
                <a:gd name="connsiteY669" fmla="*/ 200786 h 355504"/>
                <a:gd name="connsiteX670" fmla="*/ 70850 w 212804"/>
                <a:gd name="connsiteY670" fmla="*/ 200453 h 355504"/>
                <a:gd name="connsiteX671" fmla="*/ 69223 w 212804"/>
                <a:gd name="connsiteY671" fmla="*/ 201034 h 355504"/>
                <a:gd name="connsiteX672" fmla="*/ 67244 w 212804"/>
                <a:gd name="connsiteY672" fmla="*/ 200708 h 355504"/>
                <a:gd name="connsiteX673" fmla="*/ 66060 w 212804"/>
                <a:gd name="connsiteY673" fmla="*/ 199341 h 355504"/>
                <a:gd name="connsiteX674" fmla="*/ 64713 w 212804"/>
                <a:gd name="connsiteY674" fmla="*/ 196884 h 355504"/>
                <a:gd name="connsiteX675" fmla="*/ 64045 w 212804"/>
                <a:gd name="connsiteY675" fmla="*/ 196429 h 355504"/>
                <a:gd name="connsiteX676" fmla="*/ 64128 w 212804"/>
                <a:gd name="connsiteY676" fmla="*/ 195420 h 355504"/>
                <a:gd name="connsiteX677" fmla="*/ 64617 w 212804"/>
                <a:gd name="connsiteY677" fmla="*/ 194780 h 355504"/>
                <a:gd name="connsiteX678" fmla="*/ 64359 w 212804"/>
                <a:gd name="connsiteY678" fmla="*/ 194615 h 355504"/>
                <a:gd name="connsiteX679" fmla="*/ 64484 w 212804"/>
                <a:gd name="connsiteY679" fmla="*/ 194167 h 355504"/>
                <a:gd name="connsiteX680" fmla="*/ 64725 w 212804"/>
                <a:gd name="connsiteY680" fmla="*/ 193862 h 355504"/>
                <a:gd name="connsiteX681" fmla="*/ 121669 w 212804"/>
                <a:gd name="connsiteY681" fmla="*/ 189855 h 355504"/>
                <a:gd name="connsiteX682" fmla="*/ 124582 w 212804"/>
                <a:gd name="connsiteY682" fmla="*/ 189862 h 355504"/>
                <a:gd name="connsiteX683" fmla="*/ 126130 w 212804"/>
                <a:gd name="connsiteY683" fmla="*/ 191374 h 355504"/>
                <a:gd name="connsiteX684" fmla="*/ 126344 w 212804"/>
                <a:gd name="connsiteY684" fmla="*/ 192316 h 355504"/>
                <a:gd name="connsiteX685" fmla="*/ 125707 w 212804"/>
                <a:gd name="connsiteY685" fmla="*/ 193960 h 355504"/>
                <a:gd name="connsiteX686" fmla="*/ 124575 w 212804"/>
                <a:gd name="connsiteY686" fmla="*/ 194487 h 355504"/>
                <a:gd name="connsiteX687" fmla="*/ 122275 w 212804"/>
                <a:gd name="connsiteY687" fmla="*/ 192285 h 355504"/>
                <a:gd name="connsiteX688" fmla="*/ 120939 w 212804"/>
                <a:gd name="connsiteY688" fmla="*/ 191257 h 355504"/>
                <a:gd name="connsiteX689" fmla="*/ 120587 w 212804"/>
                <a:gd name="connsiteY689" fmla="*/ 190682 h 355504"/>
                <a:gd name="connsiteX690" fmla="*/ 180892 w 212804"/>
                <a:gd name="connsiteY690" fmla="*/ 188045 h 355504"/>
                <a:gd name="connsiteX691" fmla="*/ 182868 w 212804"/>
                <a:gd name="connsiteY691" fmla="*/ 189048 h 355504"/>
                <a:gd name="connsiteX692" fmla="*/ 184433 w 212804"/>
                <a:gd name="connsiteY692" fmla="*/ 190880 h 355504"/>
                <a:gd name="connsiteX693" fmla="*/ 184813 w 212804"/>
                <a:gd name="connsiteY693" fmla="*/ 192206 h 355504"/>
                <a:gd name="connsiteX694" fmla="*/ 184651 w 212804"/>
                <a:gd name="connsiteY694" fmla="*/ 193674 h 355504"/>
                <a:gd name="connsiteX695" fmla="*/ 185360 w 212804"/>
                <a:gd name="connsiteY695" fmla="*/ 194326 h 355504"/>
                <a:gd name="connsiteX696" fmla="*/ 186610 w 212804"/>
                <a:gd name="connsiteY696" fmla="*/ 194503 h 355504"/>
                <a:gd name="connsiteX697" fmla="*/ 188212 w 212804"/>
                <a:gd name="connsiteY697" fmla="*/ 195241 h 355504"/>
                <a:gd name="connsiteX698" fmla="*/ 189415 w 212804"/>
                <a:gd name="connsiteY698" fmla="*/ 196600 h 355504"/>
                <a:gd name="connsiteX699" fmla="*/ 188701 w 212804"/>
                <a:gd name="connsiteY699" fmla="*/ 197848 h 355504"/>
                <a:gd name="connsiteX700" fmla="*/ 188923 w 212804"/>
                <a:gd name="connsiteY700" fmla="*/ 199669 h 355504"/>
                <a:gd name="connsiteX701" fmla="*/ 187666 w 212804"/>
                <a:gd name="connsiteY701" fmla="*/ 201958 h 355504"/>
                <a:gd name="connsiteX702" fmla="*/ 187836 w 212804"/>
                <a:gd name="connsiteY702" fmla="*/ 206015 h 355504"/>
                <a:gd name="connsiteX703" fmla="*/ 188558 w 212804"/>
                <a:gd name="connsiteY703" fmla="*/ 207310 h 355504"/>
                <a:gd name="connsiteX704" fmla="*/ 188627 w 212804"/>
                <a:gd name="connsiteY704" fmla="*/ 208618 h 355504"/>
                <a:gd name="connsiteX705" fmla="*/ 188446 w 212804"/>
                <a:gd name="connsiteY705" fmla="*/ 209987 h 355504"/>
                <a:gd name="connsiteX706" fmla="*/ 188754 w 212804"/>
                <a:gd name="connsiteY706" fmla="*/ 211109 h 355504"/>
                <a:gd name="connsiteX707" fmla="*/ 190683 w 212804"/>
                <a:gd name="connsiteY707" fmla="*/ 214828 h 355504"/>
                <a:gd name="connsiteX708" fmla="*/ 191037 w 212804"/>
                <a:gd name="connsiteY708" fmla="*/ 216063 h 355504"/>
                <a:gd name="connsiteX709" fmla="*/ 190447 w 212804"/>
                <a:gd name="connsiteY709" fmla="*/ 217039 h 355504"/>
                <a:gd name="connsiteX710" fmla="*/ 190253 w 212804"/>
                <a:gd name="connsiteY710" fmla="*/ 217962 h 355504"/>
                <a:gd name="connsiteX711" fmla="*/ 191443 w 212804"/>
                <a:gd name="connsiteY711" fmla="*/ 218059 h 355504"/>
                <a:gd name="connsiteX712" fmla="*/ 193138 w 212804"/>
                <a:gd name="connsiteY712" fmla="*/ 219606 h 355504"/>
                <a:gd name="connsiteX713" fmla="*/ 194136 w 212804"/>
                <a:gd name="connsiteY713" fmla="*/ 221648 h 355504"/>
                <a:gd name="connsiteX714" fmla="*/ 193837 w 212804"/>
                <a:gd name="connsiteY714" fmla="*/ 222184 h 355504"/>
                <a:gd name="connsiteX715" fmla="*/ 192483 w 212804"/>
                <a:gd name="connsiteY715" fmla="*/ 220591 h 355504"/>
                <a:gd name="connsiteX716" fmla="*/ 191460 w 212804"/>
                <a:gd name="connsiteY716" fmla="*/ 220339 h 355504"/>
                <a:gd name="connsiteX717" fmla="*/ 187119 w 212804"/>
                <a:gd name="connsiteY717" fmla="*/ 220774 h 355504"/>
                <a:gd name="connsiteX718" fmla="*/ 184459 w 212804"/>
                <a:gd name="connsiteY718" fmla="*/ 220110 h 355504"/>
                <a:gd name="connsiteX719" fmla="*/ 182732 w 212804"/>
                <a:gd name="connsiteY719" fmla="*/ 220048 h 355504"/>
                <a:gd name="connsiteX720" fmla="*/ 181017 w 212804"/>
                <a:gd name="connsiteY720" fmla="*/ 217317 h 355504"/>
                <a:gd name="connsiteX721" fmla="*/ 179514 w 212804"/>
                <a:gd name="connsiteY721" fmla="*/ 216863 h 355504"/>
                <a:gd name="connsiteX722" fmla="*/ 178329 w 212804"/>
                <a:gd name="connsiteY722" fmla="*/ 215655 h 355504"/>
                <a:gd name="connsiteX723" fmla="*/ 176362 w 212804"/>
                <a:gd name="connsiteY723" fmla="*/ 212567 h 355504"/>
                <a:gd name="connsiteX724" fmla="*/ 175735 w 212804"/>
                <a:gd name="connsiteY724" fmla="*/ 210792 h 355504"/>
                <a:gd name="connsiteX725" fmla="*/ 177104 w 212804"/>
                <a:gd name="connsiteY725" fmla="*/ 208998 h 355504"/>
                <a:gd name="connsiteX726" fmla="*/ 177532 w 212804"/>
                <a:gd name="connsiteY726" fmla="*/ 207567 h 355504"/>
                <a:gd name="connsiteX727" fmla="*/ 177461 w 212804"/>
                <a:gd name="connsiteY727" fmla="*/ 206164 h 355504"/>
                <a:gd name="connsiteX728" fmla="*/ 176148 w 212804"/>
                <a:gd name="connsiteY728" fmla="*/ 206395 h 355504"/>
                <a:gd name="connsiteX729" fmla="*/ 175011 w 212804"/>
                <a:gd name="connsiteY729" fmla="*/ 205927 h 355504"/>
                <a:gd name="connsiteX730" fmla="*/ 173615 w 212804"/>
                <a:gd name="connsiteY730" fmla="*/ 204210 h 355504"/>
                <a:gd name="connsiteX731" fmla="*/ 173055 w 212804"/>
                <a:gd name="connsiteY731" fmla="*/ 203218 h 355504"/>
                <a:gd name="connsiteX732" fmla="*/ 172038 w 212804"/>
                <a:gd name="connsiteY732" fmla="*/ 202388 h 355504"/>
                <a:gd name="connsiteX733" fmla="*/ 170423 w 212804"/>
                <a:gd name="connsiteY733" fmla="*/ 200425 h 355504"/>
                <a:gd name="connsiteX734" fmla="*/ 168104 w 212804"/>
                <a:gd name="connsiteY734" fmla="*/ 199657 h 355504"/>
                <a:gd name="connsiteX735" fmla="*/ 167158 w 212804"/>
                <a:gd name="connsiteY735" fmla="*/ 199118 h 355504"/>
                <a:gd name="connsiteX736" fmla="*/ 165314 w 212804"/>
                <a:gd name="connsiteY736" fmla="*/ 197466 h 355504"/>
                <a:gd name="connsiteX737" fmla="*/ 163969 w 212804"/>
                <a:gd name="connsiteY737" fmla="*/ 195420 h 355504"/>
                <a:gd name="connsiteX738" fmla="*/ 162663 w 212804"/>
                <a:gd name="connsiteY738" fmla="*/ 191833 h 355504"/>
                <a:gd name="connsiteX739" fmla="*/ 161976 w 212804"/>
                <a:gd name="connsiteY739" fmla="*/ 188117 h 355504"/>
                <a:gd name="connsiteX740" fmla="*/ 167970 w 212804"/>
                <a:gd name="connsiteY740" fmla="*/ 189085 h 355504"/>
                <a:gd name="connsiteX741" fmla="*/ 174036 w 212804"/>
                <a:gd name="connsiteY741" fmla="*/ 188898 h 355504"/>
                <a:gd name="connsiteX742" fmla="*/ 138575 w 212804"/>
                <a:gd name="connsiteY742" fmla="*/ 187799 h 355504"/>
                <a:gd name="connsiteX743" fmla="*/ 140799 w 212804"/>
                <a:gd name="connsiteY743" fmla="*/ 188722 h 355504"/>
                <a:gd name="connsiteX744" fmla="*/ 143584 w 212804"/>
                <a:gd name="connsiteY744" fmla="*/ 189646 h 355504"/>
                <a:gd name="connsiteX745" fmla="*/ 145707 w 212804"/>
                <a:gd name="connsiteY745" fmla="*/ 190913 h 355504"/>
                <a:gd name="connsiteX746" fmla="*/ 146057 w 212804"/>
                <a:gd name="connsiteY746" fmla="*/ 191763 h 355504"/>
                <a:gd name="connsiteX747" fmla="*/ 149192 w 212804"/>
                <a:gd name="connsiteY747" fmla="*/ 194447 h 355504"/>
                <a:gd name="connsiteX748" fmla="*/ 153431 w 212804"/>
                <a:gd name="connsiteY748" fmla="*/ 197101 h 355504"/>
                <a:gd name="connsiteX749" fmla="*/ 156351 w 212804"/>
                <a:gd name="connsiteY749" fmla="*/ 201638 h 355504"/>
                <a:gd name="connsiteX750" fmla="*/ 156689 w 212804"/>
                <a:gd name="connsiteY750" fmla="*/ 205118 h 355504"/>
                <a:gd name="connsiteX751" fmla="*/ 156465 w 212804"/>
                <a:gd name="connsiteY751" fmla="*/ 206444 h 355504"/>
                <a:gd name="connsiteX752" fmla="*/ 155076 w 212804"/>
                <a:gd name="connsiteY752" fmla="*/ 204954 h 355504"/>
                <a:gd name="connsiteX753" fmla="*/ 152092 w 212804"/>
                <a:gd name="connsiteY753" fmla="*/ 202832 h 355504"/>
                <a:gd name="connsiteX754" fmla="*/ 150019 w 212804"/>
                <a:gd name="connsiteY754" fmla="*/ 202363 h 355504"/>
                <a:gd name="connsiteX755" fmla="*/ 149382 w 212804"/>
                <a:gd name="connsiteY755" fmla="*/ 201980 h 355504"/>
                <a:gd name="connsiteX756" fmla="*/ 149622 w 212804"/>
                <a:gd name="connsiteY756" fmla="*/ 200834 h 355504"/>
                <a:gd name="connsiteX757" fmla="*/ 148268 w 212804"/>
                <a:gd name="connsiteY757" fmla="*/ 199772 h 355504"/>
                <a:gd name="connsiteX758" fmla="*/ 148108 w 212804"/>
                <a:gd name="connsiteY758" fmla="*/ 199338 h 355504"/>
                <a:gd name="connsiteX759" fmla="*/ 146879 w 212804"/>
                <a:gd name="connsiteY759" fmla="*/ 198870 h 355504"/>
                <a:gd name="connsiteX760" fmla="*/ 145089 w 212804"/>
                <a:gd name="connsiteY760" fmla="*/ 196483 h 355504"/>
                <a:gd name="connsiteX761" fmla="*/ 143822 w 212804"/>
                <a:gd name="connsiteY761" fmla="*/ 196034 h 355504"/>
                <a:gd name="connsiteX762" fmla="*/ 142608 w 212804"/>
                <a:gd name="connsiteY762" fmla="*/ 196537 h 355504"/>
                <a:gd name="connsiteX763" fmla="*/ 139818 w 212804"/>
                <a:gd name="connsiteY763" fmla="*/ 200078 h 355504"/>
                <a:gd name="connsiteX764" fmla="*/ 136836 w 212804"/>
                <a:gd name="connsiteY764" fmla="*/ 202561 h 355504"/>
                <a:gd name="connsiteX765" fmla="*/ 136793 w 212804"/>
                <a:gd name="connsiteY765" fmla="*/ 201612 h 355504"/>
                <a:gd name="connsiteX766" fmla="*/ 138002 w 212804"/>
                <a:gd name="connsiteY766" fmla="*/ 198503 h 355504"/>
                <a:gd name="connsiteX767" fmla="*/ 138771 w 212804"/>
                <a:gd name="connsiteY767" fmla="*/ 193535 h 355504"/>
                <a:gd name="connsiteX768" fmla="*/ 139255 w 212804"/>
                <a:gd name="connsiteY768" fmla="*/ 192021 h 355504"/>
                <a:gd name="connsiteX769" fmla="*/ 138650 w 212804"/>
                <a:gd name="connsiteY769" fmla="*/ 189793 h 355504"/>
                <a:gd name="connsiteX770" fmla="*/ 117382 w 212804"/>
                <a:gd name="connsiteY770" fmla="*/ 187587 h 355504"/>
                <a:gd name="connsiteX771" fmla="*/ 117592 w 212804"/>
                <a:gd name="connsiteY771" fmla="*/ 187669 h 355504"/>
                <a:gd name="connsiteX772" fmla="*/ 118108 w 212804"/>
                <a:gd name="connsiteY772" fmla="*/ 189027 h 355504"/>
                <a:gd name="connsiteX773" fmla="*/ 117421 w 212804"/>
                <a:gd name="connsiteY773" fmla="*/ 189712 h 355504"/>
                <a:gd name="connsiteX774" fmla="*/ 117004 w 212804"/>
                <a:gd name="connsiteY774" fmla="*/ 189605 h 355504"/>
                <a:gd name="connsiteX775" fmla="*/ 116715 w 212804"/>
                <a:gd name="connsiteY775" fmla="*/ 188395 h 355504"/>
                <a:gd name="connsiteX776" fmla="*/ 114442 w 212804"/>
                <a:gd name="connsiteY776" fmla="*/ 186246 h 355504"/>
                <a:gd name="connsiteX777" fmla="*/ 114115 w 212804"/>
                <a:gd name="connsiteY777" fmla="*/ 187145 h 355504"/>
                <a:gd name="connsiteX778" fmla="*/ 114145 w 212804"/>
                <a:gd name="connsiteY778" fmla="*/ 188831 h 355504"/>
                <a:gd name="connsiteX779" fmla="*/ 113314 w 212804"/>
                <a:gd name="connsiteY779" fmla="*/ 192931 h 355504"/>
                <a:gd name="connsiteX780" fmla="*/ 111543 w 212804"/>
                <a:gd name="connsiteY780" fmla="*/ 198525 h 355504"/>
                <a:gd name="connsiteX781" fmla="*/ 110353 w 212804"/>
                <a:gd name="connsiteY781" fmla="*/ 196600 h 355504"/>
                <a:gd name="connsiteX782" fmla="*/ 110835 w 212804"/>
                <a:gd name="connsiteY782" fmla="*/ 195391 h 355504"/>
                <a:gd name="connsiteX783" fmla="*/ 109812 w 212804"/>
                <a:gd name="connsiteY783" fmla="*/ 194379 h 355504"/>
                <a:gd name="connsiteX784" fmla="*/ 109537 w 212804"/>
                <a:gd name="connsiteY784" fmla="*/ 193461 h 355504"/>
                <a:gd name="connsiteX785" fmla="*/ 109930 w 212804"/>
                <a:gd name="connsiteY785" fmla="*/ 192247 h 355504"/>
                <a:gd name="connsiteX786" fmla="*/ 111001 w 212804"/>
                <a:gd name="connsiteY786" fmla="*/ 191127 h 355504"/>
                <a:gd name="connsiteX787" fmla="*/ 111269 w 212804"/>
                <a:gd name="connsiteY787" fmla="*/ 187461 h 355504"/>
                <a:gd name="connsiteX788" fmla="*/ 113530 w 212804"/>
                <a:gd name="connsiteY788" fmla="*/ 186291 h 355504"/>
                <a:gd name="connsiteX789" fmla="*/ 147089 w 212804"/>
                <a:gd name="connsiteY789" fmla="*/ 185746 h 355504"/>
                <a:gd name="connsiteX790" fmla="*/ 149018 w 212804"/>
                <a:gd name="connsiteY790" fmla="*/ 187186 h 355504"/>
                <a:gd name="connsiteX791" fmla="*/ 150492 w 212804"/>
                <a:gd name="connsiteY791" fmla="*/ 190709 h 355504"/>
                <a:gd name="connsiteX792" fmla="*/ 150574 w 212804"/>
                <a:gd name="connsiteY792" fmla="*/ 192676 h 355504"/>
                <a:gd name="connsiteX793" fmla="*/ 149742 w 212804"/>
                <a:gd name="connsiteY793" fmla="*/ 191952 h 355504"/>
                <a:gd name="connsiteX794" fmla="*/ 147070 w 212804"/>
                <a:gd name="connsiteY794" fmla="*/ 188091 h 355504"/>
                <a:gd name="connsiteX795" fmla="*/ 146331 w 212804"/>
                <a:gd name="connsiteY795" fmla="*/ 186680 h 355504"/>
                <a:gd name="connsiteX796" fmla="*/ 133724 w 212804"/>
                <a:gd name="connsiteY796" fmla="*/ 175828 h 355504"/>
                <a:gd name="connsiteX797" fmla="*/ 134310 w 212804"/>
                <a:gd name="connsiteY797" fmla="*/ 175891 h 355504"/>
                <a:gd name="connsiteX798" fmla="*/ 137908 w 212804"/>
                <a:gd name="connsiteY798" fmla="*/ 180566 h 355504"/>
                <a:gd name="connsiteX799" fmla="*/ 139579 w 212804"/>
                <a:gd name="connsiteY799" fmla="*/ 181735 h 355504"/>
                <a:gd name="connsiteX800" fmla="*/ 141466 w 212804"/>
                <a:gd name="connsiteY800" fmla="*/ 185163 h 355504"/>
                <a:gd name="connsiteX801" fmla="*/ 139410 w 212804"/>
                <a:gd name="connsiteY801" fmla="*/ 182821 h 355504"/>
                <a:gd name="connsiteX802" fmla="*/ 137026 w 212804"/>
                <a:gd name="connsiteY802" fmla="*/ 181230 h 355504"/>
                <a:gd name="connsiteX803" fmla="*/ 134545 w 212804"/>
                <a:gd name="connsiteY803" fmla="*/ 178587 h 355504"/>
                <a:gd name="connsiteX804" fmla="*/ 132759 w 212804"/>
                <a:gd name="connsiteY804" fmla="*/ 177660 h 355504"/>
                <a:gd name="connsiteX805" fmla="*/ 132220 w 212804"/>
                <a:gd name="connsiteY805" fmla="*/ 177121 h 355504"/>
                <a:gd name="connsiteX806" fmla="*/ 132407 w 212804"/>
                <a:gd name="connsiteY806" fmla="*/ 176030 h 355504"/>
                <a:gd name="connsiteX807" fmla="*/ 77367 w 212804"/>
                <a:gd name="connsiteY807" fmla="*/ 166688 h 355504"/>
                <a:gd name="connsiteX808" fmla="*/ 81457 w 212804"/>
                <a:gd name="connsiteY808" fmla="*/ 167246 h 355504"/>
                <a:gd name="connsiteX809" fmla="*/ 82586 w 212804"/>
                <a:gd name="connsiteY809" fmla="*/ 167654 h 355504"/>
                <a:gd name="connsiteX810" fmla="*/ 83713 w 212804"/>
                <a:gd name="connsiteY810" fmla="*/ 167845 h 355504"/>
                <a:gd name="connsiteX811" fmla="*/ 87250 w 212804"/>
                <a:gd name="connsiteY811" fmla="*/ 167168 h 355504"/>
                <a:gd name="connsiteX812" fmla="*/ 88697 w 212804"/>
                <a:gd name="connsiteY812" fmla="*/ 167507 h 355504"/>
                <a:gd name="connsiteX813" fmla="*/ 89669 w 212804"/>
                <a:gd name="connsiteY813" fmla="*/ 168797 h 355504"/>
                <a:gd name="connsiteX814" fmla="*/ 90876 w 212804"/>
                <a:gd name="connsiteY814" fmla="*/ 169201 h 355504"/>
                <a:gd name="connsiteX815" fmla="*/ 91831 w 212804"/>
                <a:gd name="connsiteY815" fmla="*/ 169865 h 355504"/>
                <a:gd name="connsiteX816" fmla="*/ 93605 w 212804"/>
                <a:gd name="connsiteY816" fmla="*/ 168715 h 355504"/>
                <a:gd name="connsiteX817" fmla="*/ 95411 w 212804"/>
                <a:gd name="connsiteY817" fmla="*/ 170025 h 355504"/>
                <a:gd name="connsiteX818" fmla="*/ 97012 w 212804"/>
                <a:gd name="connsiteY818" fmla="*/ 172470 h 355504"/>
                <a:gd name="connsiteX819" fmla="*/ 98900 w 212804"/>
                <a:gd name="connsiteY819" fmla="*/ 174203 h 355504"/>
                <a:gd name="connsiteX820" fmla="*/ 100682 w 212804"/>
                <a:gd name="connsiteY820" fmla="*/ 175490 h 355504"/>
                <a:gd name="connsiteX821" fmla="*/ 101033 w 212804"/>
                <a:gd name="connsiteY821" fmla="*/ 176442 h 355504"/>
                <a:gd name="connsiteX822" fmla="*/ 99952 w 212804"/>
                <a:gd name="connsiteY822" fmla="*/ 178000 h 355504"/>
                <a:gd name="connsiteX823" fmla="*/ 99622 w 212804"/>
                <a:gd name="connsiteY823" fmla="*/ 179978 h 355504"/>
                <a:gd name="connsiteX824" fmla="*/ 99729 w 212804"/>
                <a:gd name="connsiteY824" fmla="*/ 182101 h 355504"/>
                <a:gd name="connsiteX825" fmla="*/ 101076 w 212804"/>
                <a:gd name="connsiteY825" fmla="*/ 186571 h 355504"/>
                <a:gd name="connsiteX826" fmla="*/ 100604 w 212804"/>
                <a:gd name="connsiteY826" fmla="*/ 187783 h 355504"/>
                <a:gd name="connsiteX827" fmla="*/ 99249 w 212804"/>
                <a:gd name="connsiteY827" fmla="*/ 189495 h 355504"/>
                <a:gd name="connsiteX828" fmla="*/ 98239 w 212804"/>
                <a:gd name="connsiteY828" fmla="*/ 191401 h 355504"/>
                <a:gd name="connsiteX829" fmla="*/ 98369 w 212804"/>
                <a:gd name="connsiteY829" fmla="*/ 192171 h 355504"/>
                <a:gd name="connsiteX830" fmla="*/ 97970 w 212804"/>
                <a:gd name="connsiteY830" fmla="*/ 192800 h 355504"/>
                <a:gd name="connsiteX831" fmla="*/ 97842 w 212804"/>
                <a:gd name="connsiteY831" fmla="*/ 194150 h 355504"/>
                <a:gd name="connsiteX832" fmla="*/ 97012 w 212804"/>
                <a:gd name="connsiteY832" fmla="*/ 193870 h 355504"/>
                <a:gd name="connsiteX833" fmla="*/ 96250 w 212804"/>
                <a:gd name="connsiteY833" fmla="*/ 194082 h 355504"/>
                <a:gd name="connsiteX834" fmla="*/ 95509 w 212804"/>
                <a:gd name="connsiteY834" fmla="*/ 194686 h 355504"/>
                <a:gd name="connsiteX835" fmla="*/ 94357 w 212804"/>
                <a:gd name="connsiteY835" fmla="*/ 195986 h 355504"/>
                <a:gd name="connsiteX836" fmla="*/ 92560 w 212804"/>
                <a:gd name="connsiteY836" fmla="*/ 195592 h 355504"/>
                <a:gd name="connsiteX837" fmla="*/ 91709 w 212804"/>
                <a:gd name="connsiteY837" fmla="*/ 195209 h 355504"/>
                <a:gd name="connsiteX838" fmla="*/ 91502 w 212804"/>
                <a:gd name="connsiteY838" fmla="*/ 194082 h 355504"/>
                <a:gd name="connsiteX839" fmla="*/ 90966 w 212804"/>
                <a:gd name="connsiteY839" fmla="*/ 193289 h 355504"/>
                <a:gd name="connsiteX840" fmla="*/ 90196 w 212804"/>
                <a:gd name="connsiteY840" fmla="*/ 192818 h 355504"/>
                <a:gd name="connsiteX841" fmla="*/ 88294 w 212804"/>
                <a:gd name="connsiteY841" fmla="*/ 190874 h 355504"/>
                <a:gd name="connsiteX842" fmla="*/ 87401 w 212804"/>
                <a:gd name="connsiteY842" fmla="*/ 189413 h 355504"/>
                <a:gd name="connsiteX843" fmla="*/ 87387 w 212804"/>
                <a:gd name="connsiteY843" fmla="*/ 187853 h 355504"/>
                <a:gd name="connsiteX844" fmla="*/ 86898 w 212804"/>
                <a:gd name="connsiteY844" fmla="*/ 186399 h 355504"/>
                <a:gd name="connsiteX845" fmla="*/ 85912 w 212804"/>
                <a:gd name="connsiteY845" fmla="*/ 185100 h 355504"/>
                <a:gd name="connsiteX846" fmla="*/ 84612 w 212804"/>
                <a:gd name="connsiteY846" fmla="*/ 184104 h 355504"/>
                <a:gd name="connsiteX847" fmla="*/ 84178 w 212804"/>
                <a:gd name="connsiteY847" fmla="*/ 183147 h 355504"/>
                <a:gd name="connsiteX848" fmla="*/ 84009 w 212804"/>
                <a:gd name="connsiteY848" fmla="*/ 182016 h 355504"/>
                <a:gd name="connsiteX849" fmla="*/ 83897 w 212804"/>
                <a:gd name="connsiteY849" fmla="*/ 179119 h 355504"/>
                <a:gd name="connsiteX850" fmla="*/ 82053 w 212804"/>
                <a:gd name="connsiteY850" fmla="*/ 175503 h 355504"/>
                <a:gd name="connsiteX851" fmla="*/ 81413 w 212804"/>
                <a:gd name="connsiteY851" fmla="*/ 174637 h 355504"/>
                <a:gd name="connsiteX852" fmla="*/ 79683 w 212804"/>
                <a:gd name="connsiteY852" fmla="*/ 173743 h 355504"/>
                <a:gd name="connsiteX853" fmla="*/ 78250 w 212804"/>
                <a:gd name="connsiteY853" fmla="*/ 172592 h 355504"/>
                <a:gd name="connsiteX854" fmla="*/ 77639 w 212804"/>
                <a:gd name="connsiteY854" fmla="*/ 171445 h 355504"/>
                <a:gd name="connsiteX855" fmla="*/ 77082 w 212804"/>
                <a:gd name="connsiteY855" fmla="*/ 169589 h 355504"/>
                <a:gd name="connsiteX856" fmla="*/ 76697 w 212804"/>
                <a:gd name="connsiteY856" fmla="*/ 169321 h 355504"/>
                <a:gd name="connsiteX857" fmla="*/ 75579 w 212804"/>
                <a:gd name="connsiteY857" fmla="*/ 169406 h 355504"/>
                <a:gd name="connsiteX858" fmla="*/ 74495 w 212804"/>
                <a:gd name="connsiteY858" fmla="*/ 169165 h 355504"/>
                <a:gd name="connsiteX859" fmla="*/ 74810 w 212804"/>
                <a:gd name="connsiteY859" fmla="*/ 167801 h 355504"/>
                <a:gd name="connsiteX860" fmla="*/ 75883 w 212804"/>
                <a:gd name="connsiteY860" fmla="*/ 166809 h 355504"/>
                <a:gd name="connsiteX861" fmla="*/ 108276 w 212804"/>
                <a:gd name="connsiteY861" fmla="*/ 165702 h 355504"/>
                <a:gd name="connsiteX862" fmla="*/ 109352 w 212804"/>
                <a:gd name="connsiteY862" fmla="*/ 166284 h 355504"/>
                <a:gd name="connsiteX863" fmla="*/ 110716 w 212804"/>
                <a:gd name="connsiteY863" fmla="*/ 166350 h 355504"/>
                <a:gd name="connsiteX864" fmla="*/ 111139 w 212804"/>
                <a:gd name="connsiteY864" fmla="*/ 166139 h 355504"/>
                <a:gd name="connsiteX865" fmla="*/ 113767 w 212804"/>
                <a:gd name="connsiteY865" fmla="*/ 168021 h 355504"/>
                <a:gd name="connsiteX866" fmla="*/ 113607 w 212804"/>
                <a:gd name="connsiteY866" fmla="*/ 168974 h 355504"/>
                <a:gd name="connsiteX867" fmla="*/ 113940 w 212804"/>
                <a:gd name="connsiteY867" fmla="*/ 170227 h 355504"/>
                <a:gd name="connsiteX868" fmla="*/ 112444 w 212804"/>
                <a:gd name="connsiteY868" fmla="*/ 172399 h 355504"/>
                <a:gd name="connsiteX869" fmla="*/ 112172 w 212804"/>
                <a:gd name="connsiteY869" fmla="*/ 173129 h 355504"/>
                <a:gd name="connsiteX870" fmla="*/ 111343 w 212804"/>
                <a:gd name="connsiteY870" fmla="*/ 173831 h 355504"/>
                <a:gd name="connsiteX871" fmla="*/ 108490 w 212804"/>
                <a:gd name="connsiteY871" fmla="*/ 172104 h 355504"/>
                <a:gd name="connsiteX872" fmla="*/ 107457 w 212804"/>
                <a:gd name="connsiteY872" fmla="*/ 171049 h 355504"/>
                <a:gd name="connsiteX873" fmla="*/ 107145 w 212804"/>
                <a:gd name="connsiteY873" fmla="*/ 168892 h 355504"/>
                <a:gd name="connsiteX874" fmla="*/ 69679 w 212804"/>
                <a:gd name="connsiteY874" fmla="*/ 159128 h 355504"/>
                <a:gd name="connsiteX875" fmla="*/ 71685 w 212804"/>
                <a:gd name="connsiteY875" fmla="*/ 159971 h 355504"/>
                <a:gd name="connsiteX876" fmla="*/ 73009 w 212804"/>
                <a:gd name="connsiteY876" fmla="*/ 161547 h 355504"/>
                <a:gd name="connsiteX877" fmla="*/ 73043 w 212804"/>
                <a:gd name="connsiteY877" fmla="*/ 163073 h 355504"/>
                <a:gd name="connsiteX878" fmla="*/ 69314 w 212804"/>
                <a:gd name="connsiteY878" fmla="*/ 160833 h 355504"/>
                <a:gd name="connsiteX879" fmla="*/ 69209 w 212804"/>
                <a:gd name="connsiteY879" fmla="*/ 160054 h 355504"/>
                <a:gd name="connsiteX880" fmla="*/ 69297 w 212804"/>
                <a:gd name="connsiteY880" fmla="*/ 159478 h 355504"/>
                <a:gd name="connsiteX881" fmla="*/ 160432 w 212804"/>
                <a:gd name="connsiteY881" fmla="*/ 154180 h 355504"/>
                <a:gd name="connsiteX882" fmla="*/ 162276 w 212804"/>
                <a:gd name="connsiteY882" fmla="*/ 157124 h 355504"/>
                <a:gd name="connsiteX883" fmla="*/ 162904 w 212804"/>
                <a:gd name="connsiteY883" fmla="*/ 157482 h 355504"/>
                <a:gd name="connsiteX884" fmla="*/ 164683 w 212804"/>
                <a:gd name="connsiteY884" fmla="*/ 158835 h 355504"/>
                <a:gd name="connsiteX885" fmla="*/ 164221 w 212804"/>
                <a:gd name="connsiteY885" fmla="*/ 161560 h 355504"/>
                <a:gd name="connsiteX886" fmla="*/ 164392 w 212804"/>
                <a:gd name="connsiteY886" fmla="*/ 163152 h 355504"/>
                <a:gd name="connsiteX887" fmla="*/ 163278 w 212804"/>
                <a:gd name="connsiteY887" fmla="*/ 164215 h 355504"/>
                <a:gd name="connsiteX888" fmla="*/ 162691 w 212804"/>
                <a:gd name="connsiteY888" fmla="*/ 165675 h 355504"/>
                <a:gd name="connsiteX889" fmla="*/ 161972 w 212804"/>
                <a:gd name="connsiteY889" fmla="*/ 165158 h 355504"/>
                <a:gd name="connsiteX890" fmla="*/ 160948 w 212804"/>
                <a:gd name="connsiteY890" fmla="*/ 165241 h 355504"/>
                <a:gd name="connsiteX891" fmla="*/ 159337 w 212804"/>
                <a:gd name="connsiteY891" fmla="*/ 166482 h 355504"/>
                <a:gd name="connsiteX892" fmla="*/ 156720 w 212804"/>
                <a:gd name="connsiteY892" fmla="*/ 164815 h 355504"/>
                <a:gd name="connsiteX893" fmla="*/ 156318 w 212804"/>
                <a:gd name="connsiteY893" fmla="*/ 163519 h 355504"/>
                <a:gd name="connsiteX894" fmla="*/ 158195 w 212804"/>
                <a:gd name="connsiteY894" fmla="*/ 160651 h 355504"/>
                <a:gd name="connsiteX895" fmla="*/ 158175 w 212804"/>
                <a:gd name="connsiteY895" fmla="*/ 156387 h 355504"/>
                <a:gd name="connsiteX896" fmla="*/ 158857 w 212804"/>
                <a:gd name="connsiteY896" fmla="*/ 155339 h 355504"/>
                <a:gd name="connsiteX897" fmla="*/ 159577 w 212804"/>
                <a:gd name="connsiteY897" fmla="*/ 154587 h 355504"/>
                <a:gd name="connsiteX898" fmla="*/ 110332 w 212804"/>
                <a:gd name="connsiteY898" fmla="*/ 150771 h 355504"/>
                <a:gd name="connsiteX899" fmla="*/ 115113 w 212804"/>
                <a:gd name="connsiteY899" fmla="*/ 154828 h 355504"/>
                <a:gd name="connsiteX900" fmla="*/ 115044 w 212804"/>
                <a:gd name="connsiteY900" fmla="*/ 155749 h 355504"/>
                <a:gd name="connsiteX901" fmla="*/ 110267 w 212804"/>
                <a:gd name="connsiteY901" fmla="*/ 152411 h 355504"/>
                <a:gd name="connsiteX902" fmla="*/ 110049 w 212804"/>
                <a:gd name="connsiteY902" fmla="*/ 151837 h 355504"/>
                <a:gd name="connsiteX903" fmla="*/ 110040 w 212804"/>
                <a:gd name="connsiteY903" fmla="*/ 151304 h 355504"/>
                <a:gd name="connsiteX904" fmla="*/ 110608 w 212804"/>
                <a:gd name="connsiteY904" fmla="*/ 132307 h 355504"/>
                <a:gd name="connsiteX905" fmla="*/ 111975 w 212804"/>
                <a:gd name="connsiteY905" fmla="*/ 133242 h 355504"/>
                <a:gd name="connsiteX906" fmla="*/ 112374 w 212804"/>
                <a:gd name="connsiteY906" fmla="*/ 134037 h 355504"/>
                <a:gd name="connsiteX907" fmla="*/ 111936 w 212804"/>
                <a:gd name="connsiteY907" fmla="*/ 133997 h 355504"/>
                <a:gd name="connsiteX908" fmla="*/ 111617 w 212804"/>
                <a:gd name="connsiteY908" fmla="*/ 134140 h 355504"/>
                <a:gd name="connsiteX909" fmla="*/ 110578 w 212804"/>
                <a:gd name="connsiteY909" fmla="*/ 135775 h 355504"/>
                <a:gd name="connsiteX910" fmla="*/ 111714 w 212804"/>
                <a:gd name="connsiteY910" fmla="*/ 138793 h 355504"/>
                <a:gd name="connsiteX911" fmla="*/ 111005 w 212804"/>
                <a:gd name="connsiteY911" fmla="*/ 140989 h 355504"/>
                <a:gd name="connsiteX912" fmla="*/ 109753 w 212804"/>
                <a:gd name="connsiteY912" fmla="*/ 141127 h 355504"/>
                <a:gd name="connsiteX913" fmla="*/ 109259 w 212804"/>
                <a:gd name="connsiteY913" fmla="*/ 140891 h 355504"/>
                <a:gd name="connsiteX914" fmla="*/ 109513 w 212804"/>
                <a:gd name="connsiteY914" fmla="*/ 139806 h 355504"/>
                <a:gd name="connsiteX915" fmla="*/ 109788 w 212804"/>
                <a:gd name="connsiteY915" fmla="*/ 139308 h 355504"/>
                <a:gd name="connsiteX916" fmla="*/ 109533 w 212804"/>
                <a:gd name="connsiteY916" fmla="*/ 137876 h 355504"/>
                <a:gd name="connsiteX917" fmla="*/ 108786 w 212804"/>
                <a:gd name="connsiteY917" fmla="*/ 136976 h 355504"/>
                <a:gd name="connsiteX918" fmla="*/ 108190 w 212804"/>
                <a:gd name="connsiteY918" fmla="*/ 135228 h 355504"/>
                <a:gd name="connsiteX919" fmla="*/ 107261 w 212804"/>
                <a:gd name="connsiteY919" fmla="*/ 134179 h 355504"/>
                <a:gd name="connsiteX920" fmla="*/ 107693 w 212804"/>
                <a:gd name="connsiteY920" fmla="*/ 132494 h 355504"/>
                <a:gd name="connsiteX921" fmla="*/ 91368 w 212804"/>
                <a:gd name="connsiteY921" fmla="*/ 51151 h 355504"/>
                <a:gd name="connsiteX922" fmla="*/ 94750 w 212804"/>
                <a:gd name="connsiteY922" fmla="*/ 52338 h 355504"/>
                <a:gd name="connsiteX923" fmla="*/ 102234 w 212804"/>
                <a:gd name="connsiteY923" fmla="*/ 56613 h 355504"/>
                <a:gd name="connsiteX924" fmla="*/ 104972 w 212804"/>
                <a:gd name="connsiteY924" fmla="*/ 57674 h 355504"/>
                <a:gd name="connsiteX925" fmla="*/ 107820 w 212804"/>
                <a:gd name="connsiteY925" fmla="*/ 58466 h 355504"/>
                <a:gd name="connsiteX926" fmla="*/ 110074 w 212804"/>
                <a:gd name="connsiteY926" fmla="*/ 58700 h 355504"/>
                <a:gd name="connsiteX927" fmla="*/ 112085 w 212804"/>
                <a:gd name="connsiteY927" fmla="*/ 57723 h 355504"/>
                <a:gd name="connsiteX928" fmla="*/ 112936 w 212804"/>
                <a:gd name="connsiteY928" fmla="*/ 56723 h 355504"/>
                <a:gd name="connsiteX929" fmla="*/ 114478 w 212804"/>
                <a:gd name="connsiteY929" fmla="*/ 54096 h 355504"/>
                <a:gd name="connsiteX930" fmla="*/ 116126 w 212804"/>
                <a:gd name="connsiteY930" fmla="*/ 53774 h 355504"/>
                <a:gd name="connsiteX931" fmla="*/ 117106 w 212804"/>
                <a:gd name="connsiteY931" fmla="*/ 54730 h 355504"/>
                <a:gd name="connsiteX932" fmla="*/ 117864 w 212804"/>
                <a:gd name="connsiteY932" fmla="*/ 56012 h 355504"/>
                <a:gd name="connsiteX933" fmla="*/ 118201 w 212804"/>
                <a:gd name="connsiteY933" fmla="*/ 57897 h 355504"/>
                <a:gd name="connsiteX934" fmla="*/ 117732 w 212804"/>
                <a:gd name="connsiteY934" fmla="*/ 59863 h 355504"/>
                <a:gd name="connsiteX935" fmla="*/ 116162 w 212804"/>
                <a:gd name="connsiteY935" fmla="*/ 61626 h 355504"/>
                <a:gd name="connsiteX936" fmla="*/ 115204 w 212804"/>
                <a:gd name="connsiteY936" fmla="*/ 63747 h 355504"/>
                <a:gd name="connsiteX937" fmla="*/ 114573 w 212804"/>
                <a:gd name="connsiteY937" fmla="*/ 70770 h 355504"/>
                <a:gd name="connsiteX938" fmla="*/ 114604 w 212804"/>
                <a:gd name="connsiteY938" fmla="*/ 72871 h 355504"/>
                <a:gd name="connsiteX939" fmla="*/ 115108 w 212804"/>
                <a:gd name="connsiteY939" fmla="*/ 74893 h 355504"/>
                <a:gd name="connsiteX940" fmla="*/ 116471 w 212804"/>
                <a:gd name="connsiteY940" fmla="*/ 78102 h 355504"/>
                <a:gd name="connsiteX941" fmla="*/ 117184 w 212804"/>
                <a:gd name="connsiteY941" fmla="*/ 79005 h 355504"/>
                <a:gd name="connsiteX942" fmla="*/ 119246 w 212804"/>
                <a:gd name="connsiteY942" fmla="*/ 80152 h 355504"/>
                <a:gd name="connsiteX943" fmla="*/ 119802 w 212804"/>
                <a:gd name="connsiteY943" fmla="*/ 81020 h 355504"/>
                <a:gd name="connsiteX944" fmla="*/ 119922 w 212804"/>
                <a:gd name="connsiteY944" fmla="*/ 82578 h 355504"/>
                <a:gd name="connsiteX945" fmla="*/ 120246 w 212804"/>
                <a:gd name="connsiteY945" fmla="*/ 83949 h 355504"/>
                <a:gd name="connsiteX946" fmla="*/ 121580 w 212804"/>
                <a:gd name="connsiteY946" fmla="*/ 84473 h 355504"/>
                <a:gd name="connsiteX947" fmla="*/ 122714 w 212804"/>
                <a:gd name="connsiteY947" fmla="*/ 85162 h 355504"/>
                <a:gd name="connsiteX948" fmla="*/ 122291 w 212804"/>
                <a:gd name="connsiteY948" fmla="*/ 86683 h 355504"/>
                <a:gd name="connsiteX949" fmla="*/ 121582 w 212804"/>
                <a:gd name="connsiteY949" fmla="*/ 88230 h 355504"/>
                <a:gd name="connsiteX950" fmla="*/ 120650 w 212804"/>
                <a:gd name="connsiteY950" fmla="*/ 92036 h 355504"/>
                <a:gd name="connsiteX951" fmla="*/ 116229 w 212804"/>
                <a:gd name="connsiteY951" fmla="*/ 100840 h 355504"/>
                <a:gd name="connsiteX952" fmla="*/ 115970 w 212804"/>
                <a:gd name="connsiteY952" fmla="*/ 102740 h 355504"/>
                <a:gd name="connsiteX953" fmla="*/ 114223 w 212804"/>
                <a:gd name="connsiteY953" fmla="*/ 106523 h 355504"/>
                <a:gd name="connsiteX954" fmla="*/ 110675 w 212804"/>
                <a:gd name="connsiteY954" fmla="*/ 107134 h 355504"/>
                <a:gd name="connsiteX955" fmla="*/ 106561 w 212804"/>
                <a:gd name="connsiteY955" fmla="*/ 108959 h 355504"/>
                <a:gd name="connsiteX956" fmla="*/ 104272 w 212804"/>
                <a:gd name="connsiteY956" fmla="*/ 110381 h 355504"/>
                <a:gd name="connsiteX957" fmla="*/ 102286 w 212804"/>
                <a:gd name="connsiteY957" fmla="*/ 112229 h 355504"/>
                <a:gd name="connsiteX958" fmla="*/ 101526 w 212804"/>
                <a:gd name="connsiteY958" fmla="*/ 114643 h 355504"/>
                <a:gd name="connsiteX959" fmla="*/ 102178 w 212804"/>
                <a:gd name="connsiteY959" fmla="*/ 115747 h 355504"/>
                <a:gd name="connsiteX960" fmla="*/ 102593 w 212804"/>
                <a:gd name="connsiteY960" fmla="*/ 116925 h 355504"/>
                <a:gd name="connsiteX961" fmla="*/ 102545 w 212804"/>
                <a:gd name="connsiteY961" fmla="*/ 118198 h 355504"/>
                <a:gd name="connsiteX962" fmla="*/ 101930 w 212804"/>
                <a:gd name="connsiteY962" fmla="*/ 119255 h 355504"/>
                <a:gd name="connsiteX963" fmla="*/ 99954 w 212804"/>
                <a:gd name="connsiteY963" fmla="*/ 121829 h 355504"/>
                <a:gd name="connsiteX964" fmla="*/ 99118 w 212804"/>
                <a:gd name="connsiteY964" fmla="*/ 123931 h 355504"/>
                <a:gd name="connsiteX965" fmla="*/ 98231 w 212804"/>
                <a:gd name="connsiteY965" fmla="*/ 124873 h 355504"/>
                <a:gd name="connsiteX966" fmla="*/ 97797 w 212804"/>
                <a:gd name="connsiteY966" fmla="*/ 126018 h 355504"/>
                <a:gd name="connsiteX967" fmla="*/ 97943 w 212804"/>
                <a:gd name="connsiteY967" fmla="*/ 127327 h 355504"/>
                <a:gd name="connsiteX968" fmla="*/ 98740 w 212804"/>
                <a:gd name="connsiteY968" fmla="*/ 128464 h 355504"/>
                <a:gd name="connsiteX969" fmla="*/ 101150 w 212804"/>
                <a:gd name="connsiteY969" fmla="*/ 133375 h 355504"/>
                <a:gd name="connsiteX970" fmla="*/ 103728 w 212804"/>
                <a:gd name="connsiteY970" fmla="*/ 138113 h 355504"/>
                <a:gd name="connsiteX971" fmla="*/ 104283 w 212804"/>
                <a:gd name="connsiteY971" fmla="*/ 138657 h 355504"/>
                <a:gd name="connsiteX972" fmla="*/ 104500 w 212804"/>
                <a:gd name="connsiteY972" fmla="*/ 139292 h 355504"/>
                <a:gd name="connsiteX973" fmla="*/ 102977 w 212804"/>
                <a:gd name="connsiteY973" fmla="*/ 140547 h 355504"/>
                <a:gd name="connsiteX974" fmla="*/ 103007 w 212804"/>
                <a:gd name="connsiteY974" fmla="*/ 142819 h 355504"/>
                <a:gd name="connsiteX975" fmla="*/ 103463 w 212804"/>
                <a:gd name="connsiteY975" fmla="*/ 145068 h 355504"/>
                <a:gd name="connsiteX976" fmla="*/ 105748 w 212804"/>
                <a:gd name="connsiteY976" fmla="*/ 150649 h 355504"/>
                <a:gd name="connsiteX977" fmla="*/ 106074 w 212804"/>
                <a:gd name="connsiteY977" fmla="*/ 152140 h 355504"/>
                <a:gd name="connsiteX978" fmla="*/ 106823 w 212804"/>
                <a:gd name="connsiteY978" fmla="*/ 153362 h 355504"/>
                <a:gd name="connsiteX979" fmla="*/ 107991 w 212804"/>
                <a:gd name="connsiteY979" fmla="*/ 154507 h 355504"/>
                <a:gd name="connsiteX980" fmla="*/ 109282 w 212804"/>
                <a:gd name="connsiteY980" fmla="*/ 155469 h 355504"/>
                <a:gd name="connsiteX981" fmla="*/ 112994 w 212804"/>
                <a:gd name="connsiteY981" fmla="*/ 157121 h 355504"/>
                <a:gd name="connsiteX982" fmla="*/ 114426 w 212804"/>
                <a:gd name="connsiteY982" fmla="*/ 157446 h 355504"/>
                <a:gd name="connsiteX983" fmla="*/ 115916 w 212804"/>
                <a:gd name="connsiteY983" fmla="*/ 157503 h 355504"/>
                <a:gd name="connsiteX984" fmla="*/ 116286 w 212804"/>
                <a:gd name="connsiteY984" fmla="*/ 156391 h 355504"/>
                <a:gd name="connsiteX985" fmla="*/ 117592 w 212804"/>
                <a:gd name="connsiteY985" fmla="*/ 156015 h 355504"/>
                <a:gd name="connsiteX986" fmla="*/ 117303 w 212804"/>
                <a:gd name="connsiteY986" fmla="*/ 154921 h 355504"/>
                <a:gd name="connsiteX987" fmla="*/ 115713 w 212804"/>
                <a:gd name="connsiteY987" fmla="*/ 153411 h 355504"/>
                <a:gd name="connsiteX988" fmla="*/ 115651 w 212804"/>
                <a:gd name="connsiteY988" fmla="*/ 152591 h 355504"/>
                <a:gd name="connsiteX989" fmla="*/ 116486 w 212804"/>
                <a:gd name="connsiteY989" fmla="*/ 151982 h 355504"/>
                <a:gd name="connsiteX990" fmla="*/ 117484 w 212804"/>
                <a:gd name="connsiteY990" fmla="*/ 151627 h 355504"/>
                <a:gd name="connsiteX991" fmla="*/ 119719 w 212804"/>
                <a:gd name="connsiteY991" fmla="*/ 149979 h 355504"/>
                <a:gd name="connsiteX992" fmla="*/ 122088 w 212804"/>
                <a:gd name="connsiteY992" fmla="*/ 148659 h 355504"/>
                <a:gd name="connsiteX993" fmla="*/ 125102 w 212804"/>
                <a:gd name="connsiteY993" fmla="*/ 148768 h 355504"/>
                <a:gd name="connsiteX994" fmla="*/ 128062 w 212804"/>
                <a:gd name="connsiteY994" fmla="*/ 149505 h 355504"/>
                <a:gd name="connsiteX995" fmla="*/ 130164 w 212804"/>
                <a:gd name="connsiteY995" fmla="*/ 150274 h 355504"/>
                <a:gd name="connsiteX996" fmla="*/ 131892 w 212804"/>
                <a:gd name="connsiteY996" fmla="*/ 151688 h 355504"/>
                <a:gd name="connsiteX997" fmla="*/ 133668 w 212804"/>
                <a:gd name="connsiteY997" fmla="*/ 154130 h 355504"/>
                <a:gd name="connsiteX998" fmla="*/ 134916 w 212804"/>
                <a:gd name="connsiteY998" fmla="*/ 156832 h 355504"/>
                <a:gd name="connsiteX999" fmla="*/ 134910 w 212804"/>
                <a:gd name="connsiteY999" fmla="*/ 158122 h 355504"/>
                <a:gd name="connsiteX1000" fmla="*/ 134605 w 212804"/>
                <a:gd name="connsiteY1000" fmla="*/ 159412 h 355504"/>
                <a:gd name="connsiteX1001" fmla="*/ 134672 w 212804"/>
                <a:gd name="connsiteY1001" fmla="*/ 160689 h 355504"/>
                <a:gd name="connsiteX1002" fmla="*/ 135601 w 212804"/>
                <a:gd name="connsiteY1002" fmla="*/ 161557 h 355504"/>
                <a:gd name="connsiteX1003" fmla="*/ 138464 w 212804"/>
                <a:gd name="connsiteY1003" fmla="*/ 161622 h 355504"/>
                <a:gd name="connsiteX1004" fmla="*/ 139914 w 212804"/>
                <a:gd name="connsiteY1004" fmla="*/ 159616 h 355504"/>
                <a:gd name="connsiteX1005" fmla="*/ 140099 w 212804"/>
                <a:gd name="connsiteY1005" fmla="*/ 157359 h 355504"/>
                <a:gd name="connsiteX1006" fmla="*/ 139080 w 212804"/>
                <a:gd name="connsiteY1006" fmla="*/ 156483 h 355504"/>
                <a:gd name="connsiteX1007" fmla="*/ 139549 w 212804"/>
                <a:gd name="connsiteY1007" fmla="*/ 155370 h 355504"/>
                <a:gd name="connsiteX1008" fmla="*/ 140429 w 212804"/>
                <a:gd name="connsiteY1008" fmla="*/ 154539 h 355504"/>
                <a:gd name="connsiteX1009" fmla="*/ 141693 w 212804"/>
                <a:gd name="connsiteY1009" fmla="*/ 155283 h 355504"/>
                <a:gd name="connsiteX1010" fmla="*/ 142906 w 212804"/>
                <a:gd name="connsiteY1010" fmla="*/ 156690 h 355504"/>
                <a:gd name="connsiteX1011" fmla="*/ 147340 w 212804"/>
                <a:gd name="connsiteY1011" fmla="*/ 158217 h 355504"/>
                <a:gd name="connsiteX1012" fmla="*/ 148473 w 212804"/>
                <a:gd name="connsiteY1012" fmla="*/ 158250 h 355504"/>
                <a:gd name="connsiteX1013" fmla="*/ 149400 w 212804"/>
                <a:gd name="connsiteY1013" fmla="*/ 158536 h 355504"/>
                <a:gd name="connsiteX1014" fmla="*/ 151383 w 212804"/>
                <a:gd name="connsiteY1014" fmla="*/ 159600 h 355504"/>
                <a:gd name="connsiteX1015" fmla="*/ 152311 w 212804"/>
                <a:gd name="connsiteY1015" fmla="*/ 160445 h 355504"/>
                <a:gd name="connsiteX1016" fmla="*/ 151174 w 212804"/>
                <a:gd name="connsiteY1016" fmla="*/ 162199 h 355504"/>
                <a:gd name="connsiteX1017" fmla="*/ 146771 w 212804"/>
                <a:gd name="connsiteY1017" fmla="*/ 162589 h 355504"/>
                <a:gd name="connsiteX1018" fmla="*/ 145499 w 212804"/>
                <a:gd name="connsiteY1018" fmla="*/ 163910 h 355504"/>
                <a:gd name="connsiteX1019" fmla="*/ 146793 w 212804"/>
                <a:gd name="connsiteY1019" fmla="*/ 166560 h 355504"/>
                <a:gd name="connsiteX1020" fmla="*/ 148905 w 212804"/>
                <a:gd name="connsiteY1020" fmla="*/ 168732 h 355504"/>
                <a:gd name="connsiteX1021" fmla="*/ 150259 w 212804"/>
                <a:gd name="connsiteY1021" fmla="*/ 170489 h 355504"/>
                <a:gd name="connsiteX1022" fmla="*/ 151462 w 212804"/>
                <a:gd name="connsiteY1022" fmla="*/ 172380 h 355504"/>
                <a:gd name="connsiteX1023" fmla="*/ 151404 w 212804"/>
                <a:gd name="connsiteY1023" fmla="*/ 174132 h 355504"/>
                <a:gd name="connsiteX1024" fmla="*/ 150708 w 212804"/>
                <a:gd name="connsiteY1024" fmla="*/ 175955 h 355504"/>
                <a:gd name="connsiteX1025" fmla="*/ 152645 w 212804"/>
                <a:gd name="connsiteY1025" fmla="*/ 175810 h 355504"/>
                <a:gd name="connsiteX1026" fmla="*/ 154468 w 212804"/>
                <a:gd name="connsiteY1026" fmla="*/ 176198 h 355504"/>
                <a:gd name="connsiteX1027" fmla="*/ 156988 w 212804"/>
                <a:gd name="connsiteY1027" fmla="*/ 177722 h 355504"/>
                <a:gd name="connsiteX1028" fmla="*/ 157771 w 212804"/>
                <a:gd name="connsiteY1028" fmla="*/ 177878 h 355504"/>
                <a:gd name="connsiteX1029" fmla="*/ 158616 w 212804"/>
                <a:gd name="connsiteY1029" fmla="*/ 177635 h 355504"/>
                <a:gd name="connsiteX1030" fmla="*/ 158495 w 212804"/>
                <a:gd name="connsiteY1030" fmla="*/ 183134 h 355504"/>
                <a:gd name="connsiteX1031" fmla="*/ 156780 w 212804"/>
                <a:gd name="connsiteY1031" fmla="*/ 188167 h 355504"/>
                <a:gd name="connsiteX1032" fmla="*/ 154612 w 212804"/>
                <a:gd name="connsiteY1032" fmla="*/ 187541 h 355504"/>
                <a:gd name="connsiteX1033" fmla="*/ 152757 w 212804"/>
                <a:gd name="connsiteY1033" fmla="*/ 185413 h 355504"/>
                <a:gd name="connsiteX1034" fmla="*/ 153135 w 212804"/>
                <a:gd name="connsiteY1034" fmla="*/ 182824 h 355504"/>
                <a:gd name="connsiteX1035" fmla="*/ 154321 w 212804"/>
                <a:gd name="connsiteY1035" fmla="*/ 180319 h 355504"/>
                <a:gd name="connsiteX1036" fmla="*/ 153645 w 212804"/>
                <a:gd name="connsiteY1036" fmla="*/ 179790 h 355504"/>
                <a:gd name="connsiteX1037" fmla="*/ 152449 w 212804"/>
                <a:gd name="connsiteY1037" fmla="*/ 179999 h 355504"/>
                <a:gd name="connsiteX1038" fmla="*/ 151088 w 212804"/>
                <a:gd name="connsiteY1038" fmla="*/ 180563 h 355504"/>
                <a:gd name="connsiteX1039" fmla="*/ 149622 w 212804"/>
                <a:gd name="connsiteY1039" fmla="*/ 180757 h 355504"/>
                <a:gd name="connsiteX1040" fmla="*/ 147205 w 212804"/>
                <a:gd name="connsiteY1040" fmla="*/ 180424 h 355504"/>
                <a:gd name="connsiteX1041" fmla="*/ 142243 w 212804"/>
                <a:gd name="connsiteY1041" fmla="*/ 177696 h 355504"/>
                <a:gd name="connsiteX1042" fmla="*/ 140222 w 212804"/>
                <a:gd name="connsiteY1042" fmla="*/ 177449 h 355504"/>
                <a:gd name="connsiteX1043" fmla="*/ 139769 w 212804"/>
                <a:gd name="connsiteY1043" fmla="*/ 176214 h 355504"/>
                <a:gd name="connsiteX1044" fmla="*/ 139881 w 212804"/>
                <a:gd name="connsiteY1044" fmla="*/ 173592 h 355504"/>
                <a:gd name="connsiteX1045" fmla="*/ 137901 w 212804"/>
                <a:gd name="connsiteY1045" fmla="*/ 170489 h 355504"/>
                <a:gd name="connsiteX1046" fmla="*/ 137584 w 212804"/>
                <a:gd name="connsiteY1046" fmla="*/ 169378 h 355504"/>
                <a:gd name="connsiteX1047" fmla="*/ 136957 w 212804"/>
                <a:gd name="connsiteY1047" fmla="*/ 168503 h 355504"/>
                <a:gd name="connsiteX1048" fmla="*/ 131051 w 212804"/>
                <a:gd name="connsiteY1048" fmla="*/ 165122 h 355504"/>
                <a:gd name="connsiteX1049" fmla="*/ 130328 w 212804"/>
                <a:gd name="connsiteY1049" fmla="*/ 164553 h 355504"/>
                <a:gd name="connsiteX1050" fmla="*/ 128512 w 212804"/>
                <a:gd name="connsiteY1050" fmla="*/ 161854 h 355504"/>
                <a:gd name="connsiteX1051" fmla="*/ 124396 w 212804"/>
                <a:gd name="connsiteY1051" fmla="*/ 158011 h 355504"/>
                <a:gd name="connsiteX1052" fmla="*/ 123243 w 212804"/>
                <a:gd name="connsiteY1052" fmla="*/ 157618 h 355504"/>
                <a:gd name="connsiteX1053" fmla="*/ 121988 w 212804"/>
                <a:gd name="connsiteY1053" fmla="*/ 157507 h 355504"/>
                <a:gd name="connsiteX1054" fmla="*/ 121582 w 212804"/>
                <a:gd name="connsiteY1054" fmla="*/ 158482 h 355504"/>
                <a:gd name="connsiteX1055" fmla="*/ 122152 w 212804"/>
                <a:gd name="connsiteY1055" fmla="*/ 159981 h 355504"/>
                <a:gd name="connsiteX1056" fmla="*/ 122384 w 212804"/>
                <a:gd name="connsiteY1056" fmla="*/ 161268 h 355504"/>
                <a:gd name="connsiteX1057" fmla="*/ 122295 w 212804"/>
                <a:gd name="connsiteY1057" fmla="*/ 162617 h 355504"/>
                <a:gd name="connsiteX1058" fmla="*/ 122467 w 212804"/>
                <a:gd name="connsiteY1058" fmla="*/ 163661 h 355504"/>
                <a:gd name="connsiteX1059" fmla="*/ 124418 w 212804"/>
                <a:gd name="connsiteY1059" fmla="*/ 165796 h 355504"/>
                <a:gd name="connsiteX1060" fmla="*/ 124709 w 212804"/>
                <a:gd name="connsiteY1060" fmla="*/ 166806 h 355504"/>
                <a:gd name="connsiteX1061" fmla="*/ 126003 w 212804"/>
                <a:gd name="connsiteY1061" fmla="*/ 169547 h 355504"/>
                <a:gd name="connsiteX1062" fmla="*/ 126162 w 212804"/>
                <a:gd name="connsiteY1062" fmla="*/ 172747 h 355504"/>
                <a:gd name="connsiteX1063" fmla="*/ 124500 w 212804"/>
                <a:gd name="connsiteY1063" fmla="*/ 174074 h 355504"/>
                <a:gd name="connsiteX1064" fmla="*/ 122627 w 212804"/>
                <a:gd name="connsiteY1064" fmla="*/ 172593 h 355504"/>
                <a:gd name="connsiteX1065" fmla="*/ 122567 w 212804"/>
                <a:gd name="connsiteY1065" fmla="*/ 171387 h 355504"/>
                <a:gd name="connsiteX1066" fmla="*/ 122245 w 212804"/>
                <a:gd name="connsiteY1066" fmla="*/ 170264 h 355504"/>
                <a:gd name="connsiteX1067" fmla="*/ 120233 w 212804"/>
                <a:gd name="connsiteY1067" fmla="*/ 167355 h 355504"/>
                <a:gd name="connsiteX1068" fmla="*/ 119561 w 212804"/>
                <a:gd name="connsiteY1068" fmla="*/ 166728 h 355504"/>
                <a:gd name="connsiteX1069" fmla="*/ 115774 w 212804"/>
                <a:gd name="connsiteY1069" fmla="*/ 163855 h 355504"/>
                <a:gd name="connsiteX1070" fmla="*/ 112843 w 212804"/>
                <a:gd name="connsiteY1070" fmla="*/ 160698 h 355504"/>
                <a:gd name="connsiteX1071" fmla="*/ 106324 w 212804"/>
                <a:gd name="connsiteY1071" fmla="*/ 157334 h 355504"/>
                <a:gd name="connsiteX1072" fmla="*/ 105549 w 212804"/>
                <a:gd name="connsiteY1072" fmla="*/ 157150 h 355504"/>
                <a:gd name="connsiteX1073" fmla="*/ 104417 w 212804"/>
                <a:gd name="connsiteY1073" fmla="*/ 157404 h 355504"/>
                <a:gd name="connsiteX1074" fmla="*/ 103351 w 212804"/>
                <a:gd name="connsiteY1074" fmla="*/ 157823 h 355504"/>
                <a:gd name="connsiteX1075" fmla="*/ 100202 w 212804"/>
                <a:gd name="connsiteY1075" fmla="*/ 159486 h 355504"/>
                <a:gd name="connsiteX1076" fmla="*/ 99090 w 212804"/>
                <a:gd name="connsiteY1076" fmla="*/ 160644 h 355504"/>
                <a:gd name="connsiteX1077" fmla="*/ 98991 w 212804"/>
                <a:gd name="connsiteY1077" fmla="*/ 162422 h 355504"/>
                <a:gd name="connsiteX1078" fmla="*/ 96732 w 212804"/>
                <a:gd name="connsiteY1078" fmla="*/ 163835 h 355504"/>
                <a:gd name="connsiteX1079" fmla="*/ 93623 w 212804"/>
                <a:gd name="connsiteY1079" fmla="*/ 164034 h 355504"/>
                <a:gd name="connsiteX1080" fmla="*/ 91234 w 212804"/>
                <a:gd name="connsiteY1080" fmla="*/ 163151 h 355504"/>
                <a:gd name="connsiteX1081" fmla="*/ 89259 w 212804"/>
                <a:gd name="connsiteY1081" fmla="*/ 161380 h 355504"/>
                <a:gd name="connsiteX1082" fmla="*/ 87626 w 212804"/>
                <a:gd name="connsiteY1082" fmla="*/ 161295 h 355504"/>
                <a:gd name="connsiteX1083" fmla="*/ 85601 w 212804"/>
                <a:gd name="connsiteY1083" fmla="*/ 158527 h 355504"/>
                <a:gd name="connsiteX1084" fmla="*/ 83132 w 212804"/>
                <a:gd name="connsiteY1084" fmla="*/ 158171 h 355504"/>
                <a:gd name="connsiteX1085" fmla="*/ 81098 w 212804"/>
                <a:gd name="connsiteY1085" fmla="*/ 160335 h 355504"/>
                <a:gd name="connsiteX1086" fmla="*/ 80662 w 212804"/>
                <a:gd name="connsiteY1086" fmla="*/ 156035 h 355504"/>
                <a:gd name="connsiteX1087" fmla="*/ 80649 w 212804"/>
                <a:gd name="connsiteY1087" fmla="*/ 151689 h 355504"/>
                <a:gd name="connsiteX1088" fmla="*/ 81221 w 212804"/>
                <a:gd name="connsiteY1088" fmla="*/ 150420 h 355504"/>
                <a:gd name="connsiteX1089" fmla="*/ 82230 w 212804"/>
                <a:gd name="connsiteY1089" fmla="*/ 149362 h 355504"/>
                <a:gd name="connsiteX1090" fmla="*/ 87399 w 212804"/>
                <a:gd name="connsiteY1090" fmla="*/ 144806 h 355504"/>
                <a:gd name="connsiteX1091" fmla="*/ 88051 w 212804"/>
                <a:gd name="connsiteY1091" fmla="*/ 143342 h 355504"/>
                <a:gd name="connsiteX1092" fmla="*/ 87825 w 212804"/>
                <a:gd name="connsiteY1092" fmla="*/ 141375 h 355504"/>
                <a:gd name="connsiteX1093" fmla="*/ 86648 w 212804"/>
                <a:gd name="connsiteY1093" fmla="*/ 139778 h 355504"/>
                <a:gd name="connsiteX1094" fmla="*/ 84799 w 212804"/>
                <a:gd name="connsiteY1094" fmla="*/ 138807 h 355504"/>
                <a:gd name="connsiteX1095" fmla="*/ 82664 w 212804"/>
                <a:gd name="connsiteY1095" fmla="*/ 138404 h 355504"/>
                <a:gd name="connsiteX1096" fmla="*/ 81124 w 212804"/>
                <a:gd name="connsiteY1096" fmla="*/ 137510 h 355504"/>
                <a:gd name="connsiteX1097" fmla="*/ 79917 w 212804"/>
                <a:gd name="connsiteY1097" fmla="*/ 136040 h 355504"/>
                <a:gd name="connsiteX1098" fmla="*/ 79100 w 212804"/>
                <a:gd name="connsiteY1098" fmla="*/ 138641 h 355504"/>
                <a:gd name="connsiteX1099" fmla="*/ 79896 w 212804"/>
                <a:gd name="connsiteY1099" fmla="*/ 142514 h 355504"/>
                <a:gd name="connsiteX1100" fmla="*/ 80027 w 212804"/>
                <a:gd name="connsiteY1100" fmla="*/ 145032 h 355504"/>
                <a:gd name="connsiteX1101" fmla="*/ 79297 w 212804"/>
                <a:gd name="connsiteY1101" fmla="*/ 145974 h 355504"/>
                <a:gd name="connsiteX1102" fmla="*/ 77972 w 212804"/>
                <a:gd name="connsiteY1102" fmla="*/ 146001 h 355504"/>
                <a:gd name="connsiteX1103" fmla="*/ 76712 w 212804"/>
                <a:gd name="connsiteY1103" fmla="*/ 145703 h 355504"/>
                <a:gd name="connsiteX1104" fmla="*/ 75769 w 212804"/>
                <a:gd name="connsiteY1104" fmla="*/ 144801 h 355504"/>
                <a:gd name="connsiteX1105" fmla="*/ 75087 w 212804"/>
                <a:gd name="connsiteY1105" fmla="*/ 142205 h 355504"/>
                <a:gd name="connsiteX1106" fmla="*/ 73287 w 212804"/>
                <a:gd name="connsiteY1106" fmla="*/ 140487 h 355504"/>
                <a:gd name="connsiteX1107" fmla="*/ 72556 w 212804"/>
                <a:gd name="connsiteY1107" fmla="*/ 138027 h 355504"/>
                <a:gd name="connsiteX1108" fmla="*/ 71740 w 212804"/>
                <a:gd name="connsiteY1108" fmla="*/ 137677 h 355504"/>
                <a:gd name="connsiteX1109" fmla="*/ 70061 w 212804"/>
                <a:gd name="connsiteY1109" fmla="*/ 137867 h 355504"/>
                <a:gd name="connsiteX1110" fmla="*/ 68827 w 212804"/>
                <a:gd name="connsiteY1110" fmla="*/ 136722 h 355504"/>
                <a:gd name="connsiteX1111" fmla="*/ 67995 w 212804"/>
                <a:gd name="connsiteY1111" fmla="*/ 133850 h 355504"/>
                <a:gd name="connsiteX1112" fmla="*/ 67820 w 212804"/>
                <a:gd name="connsiteY1112" fmla="*/ 130766 h 355504"/>
                <a:gd name="connsiteX1113" fmla="*/ 67120 w 212804"/>
                <a:gd name="connsiteY1113" fmla="*/ 128171 h 355504"/>
                <a:gd name="connsiteX1114" fmla="*/ 66112 w 212804"/>
                <a:gd name="connsiteY1114" fmla="*/ 125660 h 355504"/>
                <a:gd name="connsiteX1115" fmla="*/ 65525 w 212804"/>
                <a:gd name="connsiteY1115" fmla="*/ 123608 h 355504"/>
                <a:gd name="connsiteX1116" fmla="*/ 64614 w 212804"/>
                <a:gd name="connsiteY1116" fmla="*/ 114395 h 355504"/>
                <a:gd name="connsiteX1117" fmla="*/ 64389 w 212804"/>
                <a:gd name="connsiteY1117" fmla="*/ 113549 h 355504"/>
                <a:gd name="connsiteX1118" fmla="*/ 63907 w 212804"/>
                <a:gd name="connsiteY1118" fmla="*/ 112852 h 355504"/>
                <a:gd name="connsiteX1119" fmla="*/ 62769 w 212804"/>
                <a:gd name="connsiteY1119" fmla="*/ 111805 h 355504"/>
                <a:gd name="connsiteX1120" fmla="*/ 61901 w 212804"/>
                <a:gd name="connsiteY1120" fmla="*/ 110524 h 355504"/>
                <a:gd name="connsiteX1121" fmla="*/ 61744 w 212804"/>
                <a:gd name="connsiteY1121" fmla="*/ 109468 h 355504"/>
                <a:gd name="connsiteX1122" fmla="*/ 61981 w 212804"/>
                <a:gd name="connsiteY1122" fmla="*/ 104928 h 355504"/>
                <a:gd name="connsiteX1123" fmla="*/ 62372 w 212804"/>
                <a:gd name="connsiteY1123" fmla="*/ 103834 h 355504"/>
                <a:gd name="connsiteX1124" fmla="*/ 63268 w 212804"/>
                <a:gd name="connsiteY1124" fmla="*/ 103306 h 355504"/>
                <a:gd name="connsiteX1125" fmla="*/ 64493 w 212804"/>
                <a:gd name="connsiteY1125" fmla="*/ 104195 h 355504"/>
                <a:gd name="connsiteX1126" fmla="*/ 65471 w 212804"/>
                <a:gd name="connsiteY1126" fmla="*/ 105299 h 355504"/>
                <a:gd name="connsiteX1127" fmla="*/ 66682 w 212804"/>
                <a:gd name="connsiteY1127" fmla="*/ 105829 h 355504"/>
                <a:gd name="connsiteX1128" fmla="*/ 67749 w 212804"/>
                <a:gd name="connsiteY1128" fmla="*/ 106529 h 355504"/>
                <a:gd name="connsiteX1129" fmla="*/ 69753 w 212804"/>
                <a:gd name="connsiteY1129" fmla="*/ 109214 h 355504"/>
                <a:gd name="connsiteX1130" fmla="*/ 70543 w 212804"/>
                <a:gd name="connsiteY1130" fmla="*/ 109635 h 355504"/>
                <a:gd name="connsiteX1131" fmla="*/ 73009 w 212804"/>
                <a:gd name="connsiteY1131" fmla="*/ 109549 h 355504"/>
                <a:gd name="connsiteX1132" fmla="*/ 74463 w 212804"/>
                <a:gd name="connsiteY1132" fmla="*/ 109208 h 355504"/>
                <a:gd name="connsiteX1133" fmla="*/ 75164 w 212804"/>
                <a:gd name="connsiteY1133" fmla="*/ 108230 h 355504"/>
                <a:gd name="connsiteX1134" fmla="*/ 75607 w 212804"/>
                <a:gd name="connsiteY1134" fmla="*/ 107065 h 355504"/>
                <a:gd name="connsiteX1135" fmla="*/ 75618 w 212804"/>
                <a:gd name="connsiteY1135" fmla="*/ 105688 h 355504"/>
                <a:gd name="connsiteX1136" fmla="*/ 74197 w 212804"/>
                <a:gd name="connsiteY1136" fmla="*/ 101632 h 355504"/>
                <a:gd name="connsiteX1137" fmla="*/ 73760 w 212804"/>
                <a:gd name="connsiteY1137" fmla="*/ 98704 h 355504"/>
                <a:gd name="connsiteX1138" fmla="*/ 73741 w 212804"/>
                <a:gd name="connsiteY1138" fmla="*/ 96064 h 355504"/>
                <a:gd name="connsiteX1139" fmla="*/ 74112 w 212804"/>
                <a:gd name="connsiteY1139" fmla="*/ 93418 h 355504"/>
                <a:gd name="connsiteX1140" fmla="*/ 76052 w 212804"/>
                <a:gd name="connsiteY1140" fmla="*/ 89013 h 355504"/>
                <a:gd name="connsiteX1141" fmla="*/ 76300 w 212804"/>
                <a:gd name="connsiteY1141" fmla="*/ 85953 h 355504"/>
                <a:gd name="connsiteX1142" fmla="*/ 76114 w 212804"/>
                <a:gd name="connsiteY1142" fmla="*/ 81860 h 355504"/>
                <a:gd name="connsiteX1143" fmla="*/ 76455 w 212804"/>
                <a:gd name="connsiteY1143" fmla="*/ 79423 h 355504"/>
                <a:gd name="connsiteX1144" fmla="*/ 76397 w 212804"/>
                <a:gd name="connsiteY1144" fmla="*/ 78023 h 355504"/>
                <a:gd name="connsiteX1145" fmla="*/ 75238 w 212804"/>
                <a:gd name="connsiteY1145" fmla="*/ 75818 h 355504"/>
                <a:gd name="connsiteX1146" fmla="*/ 74935 w 212804"/>
                <a:gd name="connsiteY1146" fmla="*/ 73469 h 355504"/>
                <a:gd name="connsiteX1147" fmla="*/ 78179 w 212804"/>
                <a:gd name="connsiteY1147" fmla="*/ 61500 h 355504"/>
                <a:gd name="connsiteX1148" fmla="*/ 79193 w 212804"/>
                <a:gd name="connsiteY1148" fmla="*/ 59183 h 355504"/>
                <a:gd name="connsiteX1149" fmla="*/ 79934 w 212804"/>
                <a:gd name="connsiteY1149" fmla="*/ 56790 h 355504"/>
                <a:gd name="connsiteX1150" fmla="*/ 80271 w 212804"/>
                <a:gd name="connsiteY1150" fmla="*/ 53609 h 355504"/>
                <a:gd name="connsiteX1151" fmla="*/ 82696 w 212804"/>
                <a:gd name="connsiteY1151" fmla="*/ 52738 h 355504"/>
                <a:gd name="connsiteX1152" fmla="*/ 85005 w 212804"/>
                <a:gd name="connsiteY1152" fmla="*/ 51423 h 355504"/>
                <a:gd name="connsiteX1153" fmla="*/ 86198 w 212804"/>
                <a:gd name="connsiteY1153" fmla="*/ 51526 h 355504"/>
                <a:gd name="connsiteX1154" fmla="*/ 87464 w 212804"/>
                <a:gd name="connsiteY1154" fmla="*/ 51842 h 355504"/>
                <a:gd name="connsiteX1155" fmla="*/ 90259 w 212804"/>
                <a:gd name="connsiteY1155" fmla="*/ 51189 h 355504"/>
                <a:gd name="connsiteX1156" fmla="*/ 109982 w 212804"/>
                <a:gd name="connsiteY1156" fmla="*/ 42103 h 355504"/>
                <a:gd name="connsiteX1157" fmla="*/ 110967 w 212804"/>
                <a:gd name="connsiteY1157" fmla="*/ 43336 h 355504"/>
                <a:gd name="connsiteX1158" fmla="*/ 109502 w 212804"/>
                <a:gd name="connsiteY1158" fmla="*/ 44754 h 355504"/>
                <a:gd name="connsiteX1159" fmla="*/ 108099 w 212804"/>
                <a:gd name="connsiteY1159" fmla="*/ 46399 h 355504"/>
                <a:gd name="connsiteX1160" fmla="*/ 107369 w 212804"/>
                <a:gd name="connsiteY1160" fmla="*/ 45945 h 355504"/>
                <a:gd name="connsiteX1161" fmla="*/ 108155 w 212804"/>
                <a:gd name="connsiteY1161" fmla="*/ 44346 h 355504"/>
                <a:gd name="connsiteX1162" fmla="*/ 108133 w 212804"/>
                <a:gd name="connsiteY1162" fmla="*/ 43791 h 355504"/>
                <a:gd name="connsiteX1163" fmla="*/ 108777 w 212804"/>
                <a:gd name="connsiteY1163" fmla="*/ 42536 h 355504"/>
                <a:gd name="connsiteX1164" fmla="*/ 93837 w 212804"/>
                <a:gd name="connsiteY1164" fmla="*/ 38134 h 355504"/>
                <a:gd name="connsiteX1165" fmla="*/ 94533 w 212804"/>
                <a:gd name="connsiteY1165" fmla="*/ 39064 h 355504"/>
                <a:gd name="connsiteX1166" fmla="*/ 94700 w 212804"/>
                <a:gd name="connsiteY1166" fmla="*/ 40454 h 355504"/>
                <a:gd name="connsiteX1167" fmla="*/ 94577 w 212804"/>
                <a:gd name="connsiteY1167" fmla="*/ 41995 h 355504"/>
                <a:gd name="connsiteX1168" fmla="*/ 93458 w 212804"/>
                <a:gd name="connsiteY1168" fmla="*/ 41181 h 355504"/>
                <a:gd name="connsiteX1169" fmla="*/ 93210 w 212804"/>
                <a:gd name="connsiteY1169" fmla="*/ 40018 h 355504"/>
                <a:gd name="connsiteX1170" fmla="*/ 93323 w 212804"/>
                <a:gd name="connsiteY1170" fmla="*/ 39159 h 355504"/>
                <a:gd name="connsiteX1171" fmla="*/ 97781 w 212804"/>
                <a:gd name="connsiteY1171" fmla="*/ 33185 h 355504"/>
                <a:gd name="connsiteX1172" fmla="*/ 100641 w 212804"/>
                <a:gd name="connsiteY1172" fmla="*/ 34043 h 355504"/>
                <a:gd name="connsiteX1173" fmla="*/ 100870 w 212804"/>
                <a:gd name="connsiteY1173" fmla="*/ 36122 h 355504"/>
                <a:gd name="connsiteX1174" fmla="*/ 99561 w 212804"/>
                <a:gd name="connsiteY1174" fmla="*/ 36076 h 355504"/>
                <a:gd name="connsiteX1175" fmla="*/ 97589 w 212804"/>
                <a:gd name="connsiteY1175" fmla="*/ 34812 h 355504"/>
                <a:gd name="connsiteX1176" fmla="*/ 97405 w 212804"/>
                <a:gd name="connsiteY1176" fmla="*/ 34173 h 355504"/>
                <a:gd name="connsiteX1177" fmla="*/ 97436 w 212804"/>
                <a:gd name="connsiteY1177" fmla="*/ 33636 h 355504"/>
                <a:gd name="connsiteX1178" fmla="*/ 111040 w 212804"/>
                <a:gd name="connsiteY1178" fmla="*/ 8342 h 355504"/>
                <a:gd name="connsiteX1179" fmla="*/ 111923 w 212804"/>
                <a:gd name="connsiteY1179" fmla="*/ 8577 h 355504"/>
                <a:gd name="connsiteX1180" fmla="*/ 110351 w 212804"/>
                <a:gd name="connsiteY1180" fmla="*/ 10962 h 355504"/>
                <a:gd name="connsiteX1181" fmla="*/ 109936 w 212804"/>
                <a:gd name="connsiteY1181" fmla="*/ 11242 h 355504"/>
                <a:gd name="connsiteX1182" fmla="*/ 109334 w 212804"/>
                <a:gd name="connsiteY1182" fmla="*/ 11111 h 355504"/>
                <a:gd name="connsiteX1183" fmla="*/ 109935 w 212804"/>
                <a:gd name="connsiteY1183" fmla="*/ 8938 h 355504"/>
                <a:gd name="connsiteX1184" fmla="*/ 107871 w 212804"/>
                <a:gd name="connsiteY1184" fmla="*/ 0 h 355504"/>
                <a:gd name="connsiteX1185" fmla="*/ 108293 w 212804"/>
                <a:gd name="connsiteY1185" fmla="*/ 47 h 355504"/>
                <a:gd name="connsiteX1186" fmla="*/ 108540 w 212804"/>
                <a:gd name="connsiteY1186" fmla="*/ 1370 h 355504"/>
                <a:gd name="connsiteX1187" fmla="*/ 107467 w 212804"/>
                <a:gd name="connsiteY1187" fmla="*/ 3253 h 355504"/>
                <a:gd name="connsiteX1188" fmla="*/ 106605 w 212804"/>
                <a:gd name="connsiteY1188" fmla="*/ 3233 h 355504"/>
                <a:gd name="connsiteX1189" fmla="*/ 106734 w 212804"/>
                <a:gd name="connsiteY1189" fmla="*/ 2183 h 355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</a:cxnLst>
              <a:rect l="l" t="t" r="r" b="b"/>
              <a:pathLst>
                <a:path w="212804" h="355504">
                  <a:moveTo>
                    <a:pt x="71610" y="349299"/>
                  </a:moveTo>
                  <a:lnTo>
                    <a:pt x="72083" y="350541"/>
                  </a:lnTo>
                  <a:lnTo>
                    <a:pt x="72546" y="351150"/>
                  </a:lnTo>
                  <a:lnTo>
                    <a:pt x="71946" y="352488"/>
                  </a:lnTo>
                  <a:lnTo>
                    <a:pt x="71247" y="353108"/>
                  </a:lnTo>
                  <a:lnTo>
                    <a:pt x="70327" y="352758"/>
                  </a:lnTo>
                  <a:lnTo>
                    <a:pt x="69627" y="352064"/>
                  </a:lnTo>
                  <a:lnTo>
                    <a:pt x="69234" y="353093"/>
                  </a:lnTo>
                  <a:lnTo>
                    <a:pt x="67304" y="353489"/>
                  </a:lnTo>
                  <a:lnTo>
                    <a:pt x="66084" y="355075"/>
                  </a:lnTo>
                  <a:lnTo>
                    <a:pt x="64303" y="355504"/>
                  </a:lnTo>
                  <a:lnTo>
                    <a:pt x="63063" y="355298"/>
                  </a:lnTo>
                  <a:lnTo>
                    <a:pt x="63193" y="353887"/>
                  </a:lnTo>
                  <a:lnTo>
                    <a:pt x="66628" y="351775"/>
                  </a:lnTo>
                  <a:lnTo>
                    <a:pt x="68772" y="350995"/>
                  </a:lnTo>
                  <a:lnTo>
                    <a:pt x="70664" y="349469"/>
                  </a:lnTo>
                  <a:close/>
                  <a:moveTo>
                    <a:pt x="89956" y="332531"/>
                  </a:moveTo>
                  <a:lnTo>
                    <a:pt x="92647" y="332983"/>
                  </a:lnTo>
                  <a:lnTo>
                    <a:pt x="93851" y="334583"/>
                  </a:lnTo>
                  <a:lnTo>
                    <a:pt x="95370" y="334167"/>
                  </a:lnTo>
                  <a:lnTo>
                    <a:pt x="97779" y="334615"/>
                  </a:lnTo>
                  <a:lnTo>
                    <a:pt x="98291" y="335449"/>
                  </a:lnTo>
                  <a:lnTo>
                    <a:pt x="98212" y="335996"/>
                  </a:lnTo>
                  <a:lnTo>
                    <a:pt x="95633" y="337546"/>
                  </a:lnTo>
                  <a:lnTo>
                    <a:pt x="93947" y="335932"/>
                  </a:lnTo>
                  <a:lnTo>
                    <a:pt x="90958" y="337035"/>
                  </a:lnTo>
                  <a:lnTo>
                    <a:pt x="89532" y="336371"/>
                  </a:lnTo>
                  <a:lnTo>
                    <a:pt x="87589" y="336965"/>
                  </a:lnTo>
                  <a:lnTo>
                    <a:pt x="86389" y="335712"/>
                  </a:lnTo>
                  <a:lnTo>
                    <a:pt x="86872" y="334507"/>
                  </a:lnTo>
                  <a:close/>
                  <a:moveTo>
                    <a:pt x="112524" y="318217"/>
                  </a:moveTo>
                  <a:lnTo>
                    <a:pt x="117605" y="320478"/>
                  </a:lnTo>
                  <a:lnTo>
                    <a:pt x="118389" y="321293"/>
                  </a:lnTo>
                  <a:lnTo>
                    <a:pt x="116801" y="321791"/>
                  </a:lnTo>
                  <a:lnTo>
                    <a:pt x="115679" y="323942"/>
                  </a:lnTo>
                  <a:lnTo>
                    <a:pt x="113288" y="325154"/>
                  </a:lnTo>
                  <a:lnTo>
                    <a:pt x="111045" y="325460"/>
                  </a:lnTo>
                  <a:lnTo>
                    <a:pt x="110332" y="325432"/>
                  </a:lnTo>
                  <a:lnTo>
                    <a:pt x="108578" y="323172"/>
                  </a:lnTo>
                  <a:lnTo>
                    <a:pt x="108414" y="322170"/>
                  </a:lnTo>
                  <a:lnTo>
                    <a:pt x="107004" y="321038"/>
                  </a:lnTo>
                  <a:lnTo>
                    <a:pt x="107520" y="319920"/>
                  </a:lnTo>
                  <a:lnTo>
                    <a:pt x="109353" y="319650"/>
                  </a:lnTo>
                  <a:close/>
                  <a:moveTo>
                    <a:pt x="193369" y="308334"/>
                  </a:moveTo>
                  <a:lnTo>
                    <a:pt x="194893" y="309554"/>
                  </a:lnTo>
                  <a:lnTo>
                    <a:pt x="194920" y="313285"/>
                  </a:lnTo>
                  <a:lnTo>
                    <a:pt x="194574" y="314551"/>
                  </a:lnTo>
                  <a:lnTo>
                    <a:pt x="193216" y="311569"/>
                  </a:lnTo>
                  <a:lnTo>
                    <a:pt x="192673" y="310831"/>
                  </a:lnTo>
                  <a:close/>
                  <a:moveTo>
                    <a:pt x="131464" y="302825"/>
                  </a:moveTo>
                  <a:lnTo>
                    <a:pt x="131956" y="303365"/>
                  </a:lnTo>
                  <a:lnTo>
                    <a:pt x="132198" y="303885"/>
                  </a:lnTo>
                  <a:lnTo>
                    <a:pt x="132101" y="304434"/>
                  </a:lnTo>
                  <a:lnTo>
                    <a:pt x="129799" y="305466"/>
                  </a:lnTo>
                  <a:lnTo>
                    <a:pt x="129027" y="305436"/>
                  </a:lnTo>
                  <a:lnTo>
                    <a:pt x="128848" y="303715"/>
                  </a:lnTo>
                  <a:lnTo>
                    <a:pt x="129414" y="302935"/>
                  </a:lnTo>
                  <a:lnTo>
                    <a:pt x="130499" y="303627"/>
                  </a:lnTo>
                  <a:close/>
                  <a:moveTo>
                    <a:pt x="2378" y="288685"/>
                  </a:moveTo>
                  <a:lnTo>
                    <a:pt x="2440" y="292818"/>
                  </a:lnTo>
                  <a:lnTo>
                    <a:pt x="1300" y="294505"/>
                  </a:lnTo>
                  <a:lnTo>
                    <a:pt x="0" y="292561"/>
                  </a:lnTo>
                  <a:lnTo>
                    <a:pt x="138" y="289853"/>
                  </a:lnTo>
                  <a:lnTo>
                    <a:pt x="531" y="289099"/>
                  </a:lnTo>
                  <a:close/>
                  <a:moveTo>
                    <a:pt x="6885" y="283213"/>
                  </a:moveTo>
                  <a:lnTo>
                    <a:pt x="7962" y="283357"/>
                  </a:lnTo>
                  <a:lnTo>
                    <a:pt x="8495" y="283786"/>
                  </a:lnTo>
                  <a:lnTo>
                    <a:pt x="8529" y="285446"/>
                  </a:lnTo>
                  <a:lnTo>
                    <a:pt x="7020" y="285973"/>
                  </a:lnTo>
                  <a:lnTo>
                    <a:pt x="6694" y="284581"/>
                  </a:lnTo>
                  <a:close/>
                  <a:moveTo>
                    <a:pt x="171751" y="262534"/>
                  </a:moveTo>
                  <a:lnTo>
                    <a:pt x="172933" y="263717"/>
                  </a:lnTo>
                  <a:lnTo>
                    <a:pt x="173295" y="264775"/>
                  </a:lnTo>
                  <a:lnTo>
                    <a:pt x="172660" y="266102"/>
                  </a:lnTo>
                  <a:lnTo>
                    <a:pt x="170182" y="265005"/>
                  </a:lnTo>
                  <a:lnTo>
                    <a:pt x="169589" y="264051"/>
                  </a:lnTo>
                  <a:lnTo>
                    <a:pt x="169905" y="262920"/>
                  </a:lnTo>
                  <a:lnTo>
                    <a:pt x="171116" y="262537"/>
                  </a:lnTo>
                  <a:close/>
                  <a:moveTo>
                    <a:pt x="147827" y="261740"/>
                  </a:moveTo>
                  <a:lnTo>
                    <a:pt x="148773" y="262664"/>
                  </a:lnTo>
                  <a:lnTo>
                    <a:pt x="148963" y="264977"/>
                  </a:lnTo>
                  <a:lnTo>
                    <a:pt x="146933" y="265651"/>
                  </a:lnTo>
                  <a:lnTo>
                    <a:pt x="145303" y="265063"/>
                  </a:lnTo>
                  <a:lnTo>
                    <a:pt x="144258" y="263672"/>
                  </a:lnTo>
                  <a:lnTo>
                    <a:pt x="144260" y="263150"/>
                  </a:lnTo>
                  <a:lnTo>
                    <a:pt x="145180" y="263193"/>
                  </a:lnTo>
                  <a:lnTo>
                    <a:pt x="147191" y="261974"/>
                  </a:lnTo>
                  <a:close/>
                  <a:moveTo>
                    <a:pt x="198970" y="251024"/>
                  </a:moveTo>
                  <a:lnTo>
                    <a:pt x="199527" y="252687"/>
                  </a:lnTo>
                  <a:lnTo>
                    <a:pt x="199031" y="254718"/>
                  </a:lnTo>
                  <a:lnTo>
                    <a:pt x="198632" y="255289"/>
                  </a:lnTo>
                  <a:lnTo>
                    <a:pt x="197960" y="254095"/>
                  </a:lnTo>
                  <a:lnTo>
                    <a:pt x="198545" y="251468"/>
                  </a:lnTo>
                  <a:close/>
                  <a:moveTo>
                    <a:pt x="189089" y="251023"/>
                  </a:moveTo>
                  <a:lnTo>
                    <a:pt x="191777" y="253358"/>
                  </a:lnTo>
                  <a:lnTo>
                    <a:pt x="196956" y="256512"/>
                  </a:lnTo>
                  <a:lnTo>
                    <a:pt x="198681" y="258441"/>
                  </a:lnTo>
                  <a:lnTo>
                    <a:pt x="199815" y="260799"/>
                  </a:lnTo>
                  <a:lnTo>
                    <a:pt x="201620" y="262142"/>
                  </a:lnTo>
                  <a:lnTo>
                    <a:pt x="203959" y="261786"/>
                  </a:lnTo>
                  <a:lnTo>
                    <a:pt x="203928" y="265170"/>
                  </a:lnTo>
                  <a:lnTo>
                    <a:pt x="204306" y="266159"/>
                  </a:lnTo>
                  <a:lnTo>
                    <a:pt x="206418" y="269023"/>
                  </a:lnTo>
                  <a:lnTo>
                    <a:pt x="206748" y="271415"/>
                  </a:lnTo>
                  <a:lnTo>
                    <a:pt x="205498" y="273660"/>
                  </a:lnTo>
                  <a:lnTo>
                    <a:pt x="204552" y="274722"/>
                  </a:lnTo>
                  <a:lnTo>
                    <a:pt x="202814" y="276259"/>
                  </a:lnTo>
                  <a:lnTo>
                    <a:pt x="202769" y="276963"/>
                  </a:lnTo>
                  <a:lnTo>
                    <a:pt x="203509" y="277756"/>
                  </a:lnTo>
                  <a:lnTo>
                    <a:pt x="205926" y="278218"/>
                  </a:lnTo>
                  <a:lnTo>
                    <a:pt x="207761" y="279452"/>
                  </a:lnTo>
                  <a:lnTo>
                    <a:pt x="208081" y="282951"/>
                  </a:lnTo>
                  <a:lnTo>
                    <a:pt x="209826" y="285710"/>
                  </a:lnTo>
                  <a:lnTo>
                    <a:pt x="209780" y="286913"/>
                  </a:lnTo>
                  <a:lnTo>
                    <a:pt x="209087" y="291838"/>
                  </a:lnTo>
                  <a:lnTo>
                    <a:pt x="209309" y="293943"/>
                  </a:lnTo>
                  <a:lnTo>
                    <a:pt x="210616" y="295630"/>
                  </a:lnTo>
                  <a:lnTo>
                    <a:pt x="211722" y="296345"/>
                  </a:lnTo>
                  <a:lnTo>
                    <a:pt x="212289" y="297403"/>
                  </a:lnTo>
                  <a:lnTo>
                    <a:pt x="212804" y="300304"/>
                  </a:lnTo>
                  <a:lnTo>
                    <a:pt x="212712" y="305232"/>
                  </a:lnTo>
                  <a:lnTo>
                    <a:pt x="212542" y="306952"/>
                  </a:lnTo>
                  <a:lnTo>
                    <a:pt x="211771" y="308550"/>
                  </a:lnTo>
                  <a:lnTo>
                    <a:pt x="209392" y="312183"/>
                  </a:lnTo>
                  <a:lnTo>
                    <a:pt x="206185" y="315072"/>
                  </a:lnTo>
                  <a:lnTo>
                    <a:pt x="204479" y="314879"/>
                  </a:lnTo>
                  <a:lnTo>
                    <a:pt x="203931" y="315733"/>
                  </a:lnTo>
                  <a:lnTo>
                    <a:pt x="204995" y="318369"/>
                  </a:lnTo>
                  <a:lnTo>
                    <a:pt x="204574" y="323932"/>
                  </a:lnTo>
                  <a:lnTo>
                    <a:pt x="203870" y="327788"/>
                  </a:lnTo>
                  <a:lnTo>
                    <a:pt x="202833" y="325837"/>
                  </a:lnTo>
                  <a:lnTo>
                    <a:pt x="202110" y="323793"/>
                  </a:lnTo>
                  <a:lnTo>
                    <a:pt x="201453" y="318381"/>
                  </a:lnTo>
                  <a:lnTo>
                    <a:pt x="200636" y="315942"/>
                  </a:lnTo>
                  <a:lnTo>
                    <a:pt x="199350" y="313712"/>
                  </a:lnTo>
                  <a:lnTo>
                    <a:pt x="198834" y="311720"/>
                  </a:lnTo>
                  <a:lnTo>
                    <a:pt x="197498" y="309858"/>
                  </a:lnTo>
                  <a:lnTo>
                    <a:pt x="195800" y="305051"/>
                  </a:lnTo>
                  <a:lnTo>
                    <a:pt x="194678" y="305298"/>
                  </a:lnTo>
                  <a:lnTo>
                    <a:pt x="192812" y="306612"/>
                  </a:lnTo>
                  <a:lnTo>
                    <a:pt x="192390" y="307517"/>
                  </a:lnTo>
                  <a:lnTo>
                    <a:pt x="192170" y="308889"/>
                  </a:lnTo>
                  <a:lnTo>
                    <a:pt x="191738" y="310123"/>
                  </a:lnTo>
                  <a:lnTo>
                    <a:pt x="189560" y="312089"/>
                  </a:lnTo>
                  <a:lnTo>
                    <a:pt x="187847" y="314432"/>
                  </a:lnTo>
                  <a:lnTo>
                    <a:pt x="186437" y="316995"/>
                  </a:lnTo>
                  <a:lnTo>
                    <a:pt x="185988" y="319345"/>
                  </a:lnTo>
                  <a:lnTo>
                    <a:pt x="187143" y="321184"/>
                  </a:lnTo>
                  <a:lnTo>
                    <a:pt x="188331" y="321926"/>
                  </a:lnTo>
                  <a:lnTo>
                    <a:pt x="190055" y="323572"/>
                  </a:lnTo>
                  <a:lnTo>
                    <a:pt x="190583" y="324323"/>
                  </a:lnTo>
                  <a:lnTo>
                    <a:pt x="192401" y="329668"/>
                  </a:lnTo>
                  <a:lnTo>
                    <a:pt x="192341" y="335135"/>
                  </a:lnTo>
                  <a:lnTo>
                    <a:pt x="191011" y="337542"/>
                  </a:lnTo>
                  <a:lnTo>
                    <a:pt x="187651" y="342110"/>
                  </a:lnTo>
                  <a:lnTo>
                    <a:pt x="185233" y="343558"/>
                  </a:lnTo>
                  <a:lnTo>
                    <a:pt x="183937" y="342819"/>
                  </a:lnTo>
                  <a:lnTo>
                    <a:pt x="182900" y="340054"/>
                  </a:lnTo>
                  <a:lnTo>
                    <a:pt x="182727" y="338914"/>
                  </a:lnTo>
                  <a:lnTo>
                    <a:pt x="183429" y="336312"/>
                  </a:lnTo>
                  <a:lnTo>
                    <a:pt x="183507" y="333926"/>
                  </a:lnTo>
                  <a:lnTo>
                    <a:pt x="182691" y="333118"/>
                  </a:lnTo>
                  <a:lnTo>
                    <a:pt x="181795" y="333274"/>
                  </a:lnTo>
                  <a:lnTo>
                    <a:pt x="181419" y="333619"/>
                  </a:lnTo>
                  <a:lnTo>
                    <a:pt x="179255" y="336741"/>
                  </a:lnTo>
                  <a:lnTo>
                    <a:pt x="178352" y="337531"/>
                  </a:lnTo>
                  <a:lnTo>
                    <a:pt x="177022" y="337640"/>
                  </a:lnTo>
                  <a:lnTo>
                    <a:pt x="175964" y="337427"/>
                  </a:lnTo>
                  <a:lnTo>
                    <a:pt x="169530" y="334701"/>
                  </a:lnTo>
                  <a:lnTo>
                    <a:pt x="164277" y="332004"/>
                  </a:lnTo>
                  <a:lnTo>
                    <a:pt x="160164" y="329485"/>
                  </a:lnTo>
                  <a:lnTo>
                    <a:pt x="157186" y="325684"/>
                  </a:lnTo>
                  <a:lnTo>
                    <a:pt x="156558" y="322840"/>
                  </a:lnTo>
                  <a:lnTo>
                    <a:pt x="156523" y="319864"/>
                  </a:lnTo>
                  <a:lnTo>
                    <a:pt x="155191" y="315501"/>
                  </a:lnTo>
                  <a:lnTo>
                    <a:pt x="155035" y="314019"/>
                  </a:lnTo>
                  <a:lnTo>
                    <a:pt x="155133" y="312597"/>
                  </a:lnTo>
                  <a:lnTo>
                    <a:pt x="156456" y="309922"/>
                  </a:lnTo>
                  <a:lnTo>
                    <a:pt x="158059" y="308567"/>
                  </a:lnTo>
                  <a:lnTo>
                    <a:pt x="158957" y="307595"/>
                  </a:lnTo>
                  <a:lnTo>
                    <a:pt x="159676" y="306517"/>
                  </a:lnTo>
                  <a:lnTo>
                    <a:pt x="160166" y="305077"/>
                  </a:lnTo>
                  <a:lnTo>
                    <a:pt x="160028" y="303647"/>
                  </a:lnTo>
                  <a:lnTo>
                    <a:pt x="159492" y="302751"/>
                  </a:lnTo>
                  <a:lnTo>
                    <a:pt x="156961" y="299613"/>
                  </a:lnTo>
                  <a:lnTo>
                    <a:pt x="154762" y="297683"/>
                  </a:lnTo>
                  <a:lnTo>
                    <a:pt x="150257" y="295949"/>
                  </a:lnTo>
                  <a:lnTo>
                    <a:pt x="149209" y="294998"/>
                  </a:lnTo>
                  <a:lnTo>
                    <a:pt x="148069" y="294278"/>
                  </a:lnTo>
                  <a:lnTo>
                    <a:pt x="146810" y="293969"/>
                  </a:lnTo>
                  <a:lnTo>
                    <a:pt x="145579" y="293958"/>
                  </a:lnTo>
                  <a:lnTo>
                    <a:pt x="144250" y="294497"/>
                  </a:lnTo>
                  <a:lnTo>
                    <a:pt x="143904" y="295644"/>
                  </a:lnTo>
                  <a:lnTo>
                    <a:pt x="143996" y="296669"/>
                  </a:lnTo>
                  <a:lnTo>
                    <a:pt x="143880" y="297667"/>
                  </a:lnTo>
                  <a:lnTo>
                    <a:pt x="141991" y="303401"/>
                  </a:lnTo>
                  <a:lnTo>
                    <a:pt x="139583" y="302142"/>
                  </a:lnTo>
                  <a:lnTo>
                    <a:pt x="137287" y="300690"/>
                  </a:lnTo>
                  <a:lnTo>
                    <a:pt x="136678" y="299673"/>
                  </a:lnTo>
                  <a:lnTo>
                    <a:pt x="136415" y="298455"/>
                  </a:lnTo>
                  <a:lnTo>
                    <a:pt x="136026" y="297633"/>
                  </a:lnTo>
                  <a:lnTo>
                    <a:pt x="135484" y="296887"/>
                  </a:lnTo>
                  <a:lnTo>
                    <a:pt x="134429" y="298802"/>
                  </a:lnTo>
                  <a:lnTo>
                    <a:pt x="133116" y="300315"/>
                  </a:lnTo>
                  <a:lnTo>
                    <a:pt x="131509" y="300666"/>
                  </a:lnTo>
                  <a:lnTo>
                    <a:pt x="129875" y="300693"/>
                  </a:lnTo>
                  <a:lnTo>
                    <a:pt x="129339" y="300044"/>
                  </a:lnTo>
                  <a:lnTo>
                    <a:pt x="128742" y="296398"/>
                  </a:lnTo>
                  <a:lnTo>
                    <a:pt x="127021" y="295248"/>
                  </a:lnTo>
                  <a:lnTo>
                    <a:pt x="124860" y="295493"/>
                  </a:lnTo>
                  <a:lnTo>
                    <a:pt x="122245" y="297503"/>
                  </a:lnTo>
                  <a:lnTo>
                    <a:pt x="121725" y="298254"/>
                  </a:lnTo>
                  <a:lnTo>
                    <a:pt x="121154" y="299985"/>
                  </a:lnTo>
                  <a:lnTo>
                    <a:pt x="118304" y="304896"/>
                  </a:lnTo>
                  <a:lnTo>
                    <a:pt x="116795" y="308679"/>
                  </a:lnTo>
                  <a:lnTo>
                    <a:pt x="115130" y="312364"/>
                  </a:lnTo>
                  <a:lnTo>
                    <a:pt x="114385" y="313576"/>
                  </a:lnTo>
                  <a:lnTo>
                    <a:pt x="113404" y="314374"/>
                  </a:lnTo>
                  <a:lnTo>
                    <a:pt x="111846" y="314043"/>
                  </a:lnTo>
                  <a:lnTo>
                    <a:pt x="110444" y="313164"/>
                  </a:lnTo>
                  <a:lnTo>
                    <a:pt x="109116" y="310787"/>
                  </a:lnTo>
                  <a:lnTo>
                    <a:pt x="109567" y="308024"/>
                  </a:lnTo>
                  <a:lnTo>
                    <a:pt x="111038" y="306263"/>
                  </a:lnTo>
                  <a:lnTo>
                    <a:pt x="112277" y="304377"/>
                  </a:lnTo>
                  <a:lnTo>
                    <a:pt x="113774" y="297789"/>
                  </a:lnTo>
                  <a:lnTo>
                    <a:pt x="113886" y="295443"/>
                  </a:lnTo>
                  <a:lnTo>
                    <a:pt x="114150" y="294439"/>
                  </a:lnTo>
                  <a:lnTo>
                    <a:pt x="116616" y="291444"/>
                  </a:lnTo>
                  <a:lnTo>
                    <a:pt x="118689" y="289591"/>
                  </a:lnTo>
                  <a:lnTo>
                    <a:pt x="119785" y="289202"/>
                  </a:lnTo>
                  <a:lnTo>
                    <a:pt x="124269" y="288147"/>
                  </a:lnTo>
                  <a:lnTo>
                    <a:pt x="126115" y="287261"/>
                  </a:lnTo>
                  <a:lnTo>
                    <a:pt x="129021" y="287248"/>
                  </a:lnTo>
                  <a:lnTo>
                    <a:pt x="131382" y="286742"/>
                  </a:lnTo>
                  <a:lnTo>
                    <a:pt x="133264" y="285316"/>
                  </a:lnTo>
                  <a:lnTo>
                    <a:pt x="133407" y="283838"/>
                  </a:lnTo>
                  <a:lnTo>
                    <a:pt x="133320" y="282298"/>
                  </a:lnTo>
                  <a:lnTo>
                    <a:pt x="133736" y="281357"/>
                  </a:lnTo>
                  <a:lnTo>
                    <a:pt x="134465" y="280564"/>
                  </a:lnTo>
                  <a:lnTo>
                    <a:pt x="135467" y="279521"/>
                  </a:lnTo>
                  <a:lnTo>
                    <a:pt x="136601" y="278737"/>
                  </a:lnTo>
                  <a:lnTo>
                    <a:pt x="139822" y="278170"/>
                  </a:lnTo>
                  <a:lnTo>
                    <a:pt x="140891" y="277526"/>
                  </a:lnTo>
                  <a:lnTo>
                    <a:pt x="141753" y="276519"/>
                  </a:lnTo>
                  <a:lnTo>
                    <a:pt x="142956" y="274565"/>
                  </a:lnTo>
                  <a:lnTo>
                    <a:pt x="144378" y="275050"/>
                  </a:lnTo>
                  <a:lnTo>
                    <a:pt x="145810" y="275809"/>
                  </a:lnTo>
                  <a:lnTo>
                    <a:pt x="148384" y="276407"/>
                  </a:lnTo>
                  <a:lnTo>
                    <a:pt x="150669" y="278031"/>
                  </a:lnTo>
                  <a:lnTo>
                    <a:pt x="152125" y="280592"/>
                  </a:lnTo>
                  <a:lnTo>
                    <a:pt x="152375" y="281853"/>
                  </a:lnTo>
                  <a:lnTo>
                    <a:pt x="152749" y="286022"/>
                  </a:lnTo>
                  <a:lnTo>
                    <a:pt x="152218" y="286994"/>
                  </a:lnTo>
                  <a:lnTo>
                    <a:pt x="150000" y="288927"/>
                  </a:lnTo>
                  <a:lnTo>
                    <a:pt x="151024" y="289130"/>
                  </a:lnTo>
                  <a:lnTo>
                    <a:pt x="153936" y="287366"/>
                  </a:lnTo>
                  <a:lnTo>
                    <a:pt x="155389" y="286685"/>
                  </a:lnTo>
                  <a:lnTo>
                    <a:pt x="158983" y="285740"/>
                  </a:lnTo>
                  <a:lnTo>
                    <a:pt x="159829" y="285115"/>
                  </a:lnTo>
                  <a:lnTo>
                    <a:pt x="160451" y="284184"/>
                  </a:lnTo>
                  <a:lnTo>
                    <a:pt x="161721" y="281632"/>
                  </a:lnTo>
                  <a:lnTo>
                    <a:pt x="162649" y="278905"/>
                  </a:lnTo>
                  <a:lnTo>
                    <a:pt x="163373" y="277770"/>
                  </a:lnTo>
                  <a:lnTo>
                    <a:pt x="164411" y="276870"/>
                  </a:lnTo>
                  <a:lnTo>
                    <a:pt x="165437" y="276725"/>
                  </a:lnTo>
                  <a:lnTo>
                    <a:pt x="169207" y="278589"/>
                  </a:lnTo>
                  <a:lnTo>
                    <a:pt x="171626" y="277691"/>
                  </a:lnTo>
                  <a:lnTo>
                    <a:pt x="172302" y="274866"/>
                  </a:lnTo>
                  <a:lnTo>
                    <a:pt x="172857" y="270760"/>
                  </a:lnTo>
                  <a:lnTo>
                    <a:pt x="173284" y="269648"/>
                  </a:lnTo>
                  <a:lnTo>
                    <a:pt x="174673" y="268573"/>
                  </a:lnTo>
                  <a:lnTo>
                    <a:pt x="176329" y="268920"/>
                  </a:lnTo>
                  <a:lnTo>
                    <a:pt x="178597" y="270394"/>
                  </a:lnTo>
                  <a:lnTo>
                    <a:pt x="180689" y="270879"/>
                  </a:lnTo>
                  <a:lnTo>
                    <a:pt x="181466" y="269691"/>
                  </a:lnTo>
                  <a:lnTo>
                    <a:pt x="182207" y="267349"/>
                  </a:lnTo>
                  <a:lnTo>
                    <a:pt x="183051" y="267362"/>
                  </a:lnTo>
                  <a:lnTo>
                    <a:pt x="185876" y="268137"/>
                  </a:lnTo>
                  <a:lnTo>
                    <a:pt x="188599" y="267626"/>
                  </a:lnTo>
                  <a:lnTo>
                    <a:pt x="189366" y="264813"/>
                  </a:lnTo>
                  <a:lnTo>
                    <a:pt x="188851" y="261804"/>
                  </a:lnTo>
                  <a:lnTo>
                    <a:pt x="186725" y="253030"/>
                  </a:lnTo>
                  <a:lnTo>
                    <a:pt x="187992" y="251076"/>
                  </a:lnTo>
                  <a:close/>
                  <a:moveTo>
                    <a:pt x="201315" y="244324"/>
                  </a:moveTo>
                  <a:lnTo>
                    <a:pt x="202546" y="246906"/>
                  </a:lnTo>
                  <a:lnTo>
                    <a:pt x="202533" y="248077"/>
                  </a:lnTo>
                  <a:lnTo>
                    <a:pt x="202354" y="248656"/>
                  </a:lnTo>
                  <a:lnTo>
                    <a:pt x="203499" y="250112"/>
                  </a:lnTo>
                  <a:lnTo>
                    <a:pt x="202711" y="250831"/>
                  </a:lnTo>
                  <a:lnTo>
                    <a:pt x="200996" y="250866"/>
                  </a:lnTo>
                  <a:lnTo>
                    <a:pt x="200717" y="250986"/>
                  </a:lnTo>
                  <a:lnTo>
                    <a:pt x="199488" y="249251"/>
                  </a:lnTo>
                  <a:lnTo>
                    <a:pt x="199653" y="247275"/>
                  </a:lnTo>
                  <a:close/>
                  <a:moveTo>
                    <a:pt x="180512" y="242184"/>
                  </a:moveTo>
                  <a:lnTo>
                    <a:pt x="181460" y="242272"/>
                  </a:lnTo>
                  <a:lnTo>
                    <a:pt x="182678" y="243063"/>
                  </a:lnTo>
                  <a:lnTo>
                    <a:pt x="183779" y="246044"/>
                  </a:lnTo>
                  <a:lnTo>
                    <a:pt x="183933" y="247148"/>
                  </a:lnTo>
                  <a:lnTo>
                    <a:pt x="181086" y="244241"/>
                  </a:lnTo>
                  <a:close/>
                  <a:moveTo>
                    <a:pt x="162883" y="242075"/>
                  </a:moveTo>
                  <a:lnTo>
                    <a:pt x="163232" y="242489"/>
                  </a:lnTo>
                  <a:lnTo>
                    <a:pt x="163712" y="242752"/>
                  </a:lnTo>
                  <a:lnTo>
                    <a:pt x="164433" y="242823"/>
                  </a:lnTo>
                  <a:lnTo>
                    <a:pt x="166213" y="244184"/>
                  </a:lnTo>
                  <a:lnTo>
                    <a:pt x="168220" y="245050"/>
                  </a:lnTo>
                  <a:lnTo>
                    <a:pt x="167732" y="248343"/>
                  </a:lnTo>
                  <a:lnTo>
                    <a:pt x="168333" y="249451"/>
                  </a:lnTo>
                  <a:lnTo>
                    <a:pt x="168590" y="250397"/>
                  </a:lnTo>
                  <a:lnTo>
                    <a:pt x="168379" y="251216"/>
                  </a:lnTo>
                  <a:lnTo>
                    <a:pt x="166640" y="251149"/>
                  </a:lnTo>
                  <a:lnTo>
                    <a:pt x="166018" y="251274"/>
                  </a:lnTo>
                  <a:lnTo>
                    <a:pt x="164380" y="253367"/>
                  </a:lnTo>
                  <a:lnTo>
                    <a:pt x="163416" y="253900"/>
                  </a:lnTo>
                  <a:lnTo>
                    <a:pt x="158167" y="254590"/>
                  </a:lnTo>
                  <a:lnTo>
                    <a:pt x="154035" y="254039"/>
                  </a:lnTo>
                  <a:lnTo>
                    <a:pt x="152621" y="252884"/>
                  </a:lnTo>
                  <a:lnTo>
                    <a:pt x="151699" y="250979"/>
                  </a:lnTo>
                  <a:lnTo>
                    <a:pt x="151416" y="249723"/>
                  </a:lnTo>
                  <a:lnTo>
                    <a:pt x="152449" y="248352"/>
                  </a:lnTo>
                  <a:lnTo>
                    <a:pt x="153444" y="247441"/>
                  </a:lnTo>
                  <a:lnTo>
                    <a:pt x="156780" y="245642"/>
                  </a:lnTo>
                  <a:lnTo>
                    <a:pt x="157534" y="244277"/>
                  </a:lnTo>
                  <a:lnTo>
                    <a:pt x="159281" y="242627"/>
                  </a:lnTo>
                  <a:close/>
                  <a:moveTo>
                    <a:pt x="192315" y="235814"/>
                  </a:moveTo>
                  <a:lnTo>
                    <a:pt x="192708" y="236889"/>
                  </a:lnTo>
                  <a:lnTo>
                    <a:pt x="191870" y="240165"/>
                  </a:lnTo>
                  <a:lnTo>
                    <a:pt x="193123" y="244043"/>
                  </a:lnTo>
                  <a:lnTo>
                    <a:pt x="192703" y="246468"/>
                  </a:lnTo>
                  <a:lnTo>
                    <a:pt x="192883" y="247008"/>
                  </a:lnTo>
                  <a:lnTo>
                    <a:pt x="192834" y="247556"/>
                  </a:lnTo>
                  <a:lnTo>
                    <a:pt x="192442" y="248181"/>
                  </a:lnTo>
                  <a:lnTo>
                    <a:pt x="191914" y="246894"/>
                  </a:lnTo>
                  <a:lnTo>
                    <a:pt x="190628" y="245686"/>
                  </a:lnTo>
                  <a:lnTo>
                    <a:pt x="189389" y="243635"/>
                  </a:lnTo>
                  <a:lnTo>
                    <a:pt x="188512" y="242995"/>
                  </a:lnTo>
                  <a:lnTo>
                    <a:pt x="189113" y="241369"/>
                  </a:lnTo>
                  <a:lnTo>
                    <a:pt x="189171" y="238728"/>
                  </a:lnTo>
                  <a:lnTo>
                    <a:pt x="190400" y="237523"/>
                  </a:lnTo>
                  <a:lnTo>
                    <a:pt x="190968" y="237167"/>
                  </a:lnTo>
                  <a:lnTo>
                    <a:pt x="191899" y="235888"/>
                  </a:lnTo>
                  <a:close/>
                  <a:moveTo>
                    <a:pt x="63738" y="231343"/>
                  </a:moveTo>
                  <a:lnTo>
                    <a:pt x="65909" y="232133"/>
                  </a:lnTo>
                  <a:lnTo>
                    <a:pt x="67196" y="232908"/>
                  </a:lnTo>
                  <a:lnTo>
                    <a:pt x="66593" y="233610"/>
                  </a:lnTo>
                  <a:lnTo>
                    <a:pt x="65158" y="234789"/>
                  </a:lnTo>
                  <a:lnTo>
                    <a:pt x="62437" y="235475"/>
                  </a:lnTo>
                  <a:lnTo>
                    <a:pt x="61801" y="233322"/>
                  </a:lnTo>
                  <a:close/>
                  <a:moveTo>
                    <a:pt x="162859" y="229855"/>
                  </a:moveTo>
                  <a:lnTo>
                    <a:pt x="163664" y="230198"/>
                  </a:lnTo>
                  <a:lnTo>
                    <a:pt x="163913" y="230456"/>
                  </a:lnTo>
                  <a:lnTo>
                    <a:pt x="163891" y="231512"/>
                  </a:lnTo>
                  <a:lnTo>
                    <a:pt x="162451" y="232106"/>
                  </a:lnTo>
                  <a:lnTo>
                    <a:pt x="161837" y="232208"/>
                  </a:lnTo>
                  <a:close/>
                  <a:moveTo>
                    <a:pt x="126741" y="229096"/>
                  </a:moveTo>
                  <a:lnTo>
                    <a:pt x="127359" y="229861"/>
                  </a:lnTo>
                  <a:lnTo>
                    <a:pt x="127535" y="231020"/>
                  </a:lnTo>
                  <a:lnTo>
                    <a:pt x="126298" y="234515"/>
                  </a:lnTo>
                  <a:lnTo>
                    <a:pt x="125597" y="235086"/>
                  </a:lnTo>
                  <a:lnTo>
                    <a:pt x="124985" y="235392"/>
                  </a:lnTo>
                  <a:lnTo>
                    <a:pt x="124439" y="235347"/>
                  </a:lnTo>
                  <a:lnTo>
                    <a:pt x="123139" y="236153"/>
                  </a:lnTo>
                  <a:lnTo>
                    <a:pt x="122660" y="234643"/>
                  </a:lnTo>
                  <a:lnTo>
                    <a:pt x="123120" y="232071"/>
                  </a:lnTo>
                  <a:lnTo>
                    <a:pt x="125072" y="230116"/>
                  </a:lnTo>
                  <a:lnTo>
                    <a:pt x="125573" y="229501"/>
                  </a:lnTo>
                  <a:lnTo>
                    <a:pt x="126106" y="229137"/>
                  </a:lnTo>
                  <a:close/>
                  <a:moveTo>
                    <a:pt x="139021" y="223430"/>
                  </a:moveTo>
                  <a:lnTo>
                    <a:pt x="144638" y="225016"/>
                  </a:lnTo>
                  <a:lnTo>
                    <a:pt x="145785" y="227409"/>
                  </a:lnTo>
                  <a:lnTo>
                    <a:pt x="145897" y="228199"/>
                  </a:lnTo>
                  <a:lnTo>
                    <a:pt x="145016" y="230854"/>
                  </a:lnTo>
                  <a:lnTo>
                    <a:pt x="144245" y="232636"/>
                  </a:lnTo>
                  <a:lnTo>
                    <a:pt x="142345" y="235392"/>
                  </a:lnTo>
                  <a:lnTo>
                    <a:pt x="140943" y="238378"/>
                  </a:lnTo>
                  <a:lnTo>
                    <a:pt x="139894" y="242866"/>
                  </a:lnTo>
                  <a:lnTo>
                    <a:pt x="139233" y="244328"/>
                  </a:lnTo>
                  <a:lnTo>
                    <a:pt x="137473" y="247136"/>
                  </a:lnTo>
                  <a:lnTo>
                    <a:pt x="136929" y="248677"/>
                  </a:lnTo>
                  <a:lnTo>
                    <a:pt x="136944" y="252016"/>
                  </a:lnTo>
                  <a:lnTo>
                    <a:pt x="136650" y="253251"/>
                  </a:lnTo>
                  <a:lnTo>
                    <a:pt x="136659" y="254437"/>
                  </a:lnTo>
                  <a:lnTo>
                    <a:pt x="140166" y="259996"/>
                  </a:lnTo>
                  <a:lnTo>
                    <a:pt x="140464" y="260877"/>
                  </a:lnTo>
                  <a:lnTo>
                    <a:pt x="140434" y="261869"/>
                  </a:lnTo>
                  <a:lnTo>
                    <a:pt x="139833" y="263111"/>
                  </a:lnTo>
                  <a:lnTo>
                    <a:pt x="138404" y="265249"/>
                  </a:lnTo>
                  <a:lnTo>
                    <a:pt x="137603" y="265995"/>
                  </a:lnTo>
                  <a:lnTo>
                    <a:pt x="136240" y="266525"/>
                  </a:lnTo>
                  <a:lnTo>
                    <a:pt x="134776" y="266765"/>
                  </a:lnTo>
                  <a:lnTo>
                    <a:pt x="133230" y="266643"/>
                  </a:lnTo>
                  <a:lnTo>
                    <a:pt x="132194" y="265548"/>
                  </a:lnTo>
                  <a:lnTo>
                    <a:pt x="130397" y="260824"/>
                  </a:lnTo>
                  <a:lnTo>
                    <a:pt x="128315" y="259675"/>
                  </a:lnTo>
                  <a:lnTo>
                    <a:pt x="125929" y="258805"/>
                  </a:lnTo>
                  <a:lnTo>
                    <a:pt x="124731" y="258072"/>
                  </a:lnTo>
                  <a:lnTo>
                    <a:pt x="123673" y="257189"/>
                  </a:lnTo>
                  <a:lnTo>
                    <a:pt x="120321" y="252479"/>
                  </a:lnTo>
                  <a:lnTo>
                    <a:pt x="120068" y="249597"/>
                  </a:lnTo>
                  <a:lnTo>
                    <a:pt x="120645" y="247966"/>
                  </a:lnTo>
                  <a:lnTo>
                    <a:pt x="121660" y="246505"/>
                  </a:lnTo>
                  <a:lnTo>
                    <a:pt x="122805" y="246111"/>
                  </a:lnTo>
                  <a:lnTo>
                    <a:pt x="125569" y="246058"/>
                  </a:lnTo>
                  <a:lnTo>
                    <a:pt x="127000" y="245866"/>
                  </a:lnTo>
                  <a:lnTo>
                    <a:pt x="130153" y="243705"/>
                  </a:lnTo>
                  <a:lnTo>
                    <a:pt x="130380" y="242855"/>
                  </a:lnTo>
                  <a:lnTo>
                    <a:pt x="130395" y="239302"/>
                  </a:lnTo>
                  <a:lnTo>
                    <a:pt x="130082" y="236817"/>
                  </a:lnTo>
                  <a:lnTo>
                    <a:pt x="129300" y="234391"/>
                  </a:lnTo>
                  <a:lnTo>
                    <a:pt x="130153" y="233282"/>
                  </a:lnTo>
                  <a:lnTo>
                    <a:pt x="131265" y="232184"/>
                  </a:lnTo>
                  <a:lnTo>
                    <a:pt x="132426" y="230042"/>
                  </a:lnTo>
                  <a:lnTo>
                    <a:pt x="132655" y="228535"/>
                  </a:lnTo>
                  <a:lnTo>
                    <a:pt x="132677" y="226959"/>
                  </a:lnTo>
                  <a:lnTo>
                    <a:pt x="132977" y="225831"/>
                  </a:lnTo>
                  <a:lnTo>
                    <a:pt x="133886" y="225267"/>
                  </a:lnTo>
                  <a:lnTo>
                    <a:pt x="138250" y="223547"/>
                  </a:lnTo>
                  <a:close/>
                  <a:moveTo>
                    <a:pt x="156318" y="217172"/>
                  </a:moveTo>
                  <a:lnTo>
                    <a:pt x="156739" y="218432"/>
                  </a:lnTo>
                  <a:lnTo>
                    <a:pt x="156266" y="220906"/>
                  </a:lnTo>
                  <a:lnTo>
                    <a:pt x="156340" y="222094"/>
                  </a:lnTo>
                  <a:lnTo>
                    <a:pt x="156620" y="222651"/>
                  </a:lnTo>
                  <a:lnTo>
                    <a:pt x="156638" y="224955"/>
                  </a:lnTo>
                  <a:lnTo>
                    <a:pt x="156068" y="228487"/>
                  </a:lnTo>
                  <a:lnTo>
                    <a:pt x="156592" y="232562"/>
                  </a:lnTo>
                  <a:lnTo>
                    <a:pt x="155568" y="236709"/>
                  </a:lnTo>
                  <a:lnTo>
                    <a:pt x="154400" y="238574"/>
                  </a:lnTo>
                  <a:lnTo>
                    <a:pt x="152671" y="239890"/>
                  </a:lnTo>
                  <a:lnTo>
                    <a:pt x="150786" y="240715"/>
                  </a:lnTo>
                  <a:lnTo>
                    <a:pt x="148836" y="242780"/>
                  </a:lnTo>
                  <a:lnTo>
                    <a:pt x="147573" y="245195"/>
                  </a:lnTo>
                  <a:lnTo>
                    <a:pt x="147365" y="247394"/>
                  </a:lnTo>
                  <a:lnTo>
                    <a:pt x="144260" y="254813"/>
                  </a:lnTo>
                  <a:lnTo>
                    <a:pt x="141535" y="257929"/>
                  </a:lnTo>
                  <a:lnTo>
                    <a:pt x="140682" y="258524"/>
                  </a:lnTo>
                  <a:lnTo>
                    <a:pt x="140335" y="257052"/>
                  </a:lnTo>
                  <a:lnTo>
                    <a:pt x="140578" y="255064"/>
                  </a:lnTo>
                  <a:lnTo>
                    <a:pt x="142273" y="248119"/>
                  </a:lnTo>
                  <a:lnTo>
                    <a:pt x="141887" y="246381"/>
                  </a:lnTo>
                  <a:lnTo>
                    <a:pt x="144720" y="242512"/>
                  </a:lnTo>
                  <a:lnTo>
                    <a:pt x="146457" y="238880"/>
                  </a:lnTo>
                  <a:lnTo>
                    <a:pt x="149078" y="235064"/>
                  </a:lnTo>
                  <a:lnTo>
                    <a:pt x="149410" y="233085"/>
                  </a:lnTo>
                  <a:lnTo>
                    <a:pt x="151734" y="229311"/>
                  </a:lnTo>
                  <a:lnTo>
                    <a:pt x="153908" y="224104"/>
                  </a:lnTo>
                  <a:lnTo>
                    <a:pt x="153792" y="222378"/>
                  </a:lnTo>
                  <a:lnTo>
                    <a:pt x="154355" y="221523"/>
                  </a:lnTo>
                  <a:lnTo>
                    <a:pt x="154664" y="220218"/>
                  </a:lnTo>
                  <a:lnTo>
                    <a:pt x="154733" y="219111"/>
                  </a:lnTo>
                  <a:close/>
                  <a:moveTo>
                    <a:pt x="150086" y="216953"/>
                  </a:moveTo>
                  <a:lnTo>
                    <a:pt x="151382" y="219921"/>
                  </a:lnTo>
                  <a:lnTo>
                    <a:pt x="149637" y="219904"/>
                  </a:lnTo>
                  <a:lnTo>
                    <a:pt x="148994" y="217744"/>
                  </a:lnTo>
                  <a:lnTo>
                    <a:pt x="149741" y="217046"/>
                  </a:lnTo>
                  <a:close/>
                  <a:moveTo>
                    <a:pt x="55982" y="215539"/>
                  </a:moveTo>
                  <a:lnTo>
                    <a:pt x="57133" y="216277"/>
                  </a:lnTo>
                  <a:lnTo>
                    <a:pt x="57287" y="217323"/>
                  </a:lnTo>
                  <a:lnTo>
                    <a:pt x="56719" y="219784"/>
                  </a:lnTo>
                  <a:lnTo>
                    <a:pt x="56675" y="221020"/>
                  </a:lnTo>
                  <a:lnTo>
                    <a:pt x="57323" y="222276"/>
                  </a:lnTo>
                  <a:lnTo>
                    <a:pt x="56544" y="224342"/>
                  </a:lnTo>
                  <a:lnTo>
                    <a:pt x="58522" y="229840"/>
                  </a:lnTo>
                  <a:lnTo>
                    <a:pt x="60031" y="233320"/>
                  </a:lnTo>
                  <a:lnTo>
                    <a:pt x="60088" y="234468"/>
                  </a:lnTo>
                  <a:lnTo>
                    <a:pt x="58060" y="236545"/>
                  </a:lnTo>
                  <a:lnTo>
                    <a:pt x="56850" y="237173"/>
                  </a:lnTo>
                  <a:lnTo>
                    <a:pt x="54240" y="237730"/>
                  </a:lnTo>
                  <a:lnTo>
                    <a:pt x="53065" y="238335"/>
                  </a:lnTo>
                  <a:lnTo>
                    <a:pt x="51195" y="240024"/>
                  </a:lnTo>
                  <a:lnTo>
                    <a:pt x="50027" y="242248"/>
                  </a:lnTo>
                  <a:lnTo>
                    <a:pt x="49731" y="243398"/>
                  </a:lnTo>
                  <a:lnTo>
                    <a:pt x="49132" y="244282"/>
                  </a:lnTo>
                  <a:lnTo>
                    <a:pt x="43762" y="245792"/>
                  </a:lnTo>
                  <a:lnTo>
                    <a:pt x="41242" y="246778"/>
                  </a:lnTo>
                  <a:lnTo>
                    <a:pt x="40080" y="247519"/>
                  </a:lnTo>
                  <a:lnTo>
                    <a:pt x="39480" y="248725"/>
                  </a:lnTo>
                  <a:lnTo>
                    <a:pt x="39896" y="250852"/>
                  </a:lnTo>
                  <a:lnTo>
                    <a:pt x="35382" y="258529"/>
                  </a:lnTo>
                  <a:lnTo>
                    <a:pt x="33942" y="260538"/>
                  </a:lnTo>
                  <a:lnTo>
                    <a:pt x="32404" y="262247"/>
                  </a:lnTo>
                  <a:lnTo>
                    <a:pt x="30516" y="263464"/>
                  </a:lnTo>
                  <a:lnTo>
                    <a:pt x="27856" y="264210"/>
                  </a:lnTo>
                  <a:lnTo>
                    <a:pt x="25751" y="265695"/>
                  </a:lnTo>
                  <a:lnTo>
                    <a:pt x="24321" y="268321"/>
                  </a:lnTo>
                  <a:lnTo>
                    <a:pt x="22555" y="270693"/>
                  </a:lnTo>
                  <a:lnTo>
                    <a:pt x="20322" y="272450"/>
                  </a:lnTo>
                  <a:lnTo>
                    <a:pt x="17916" y="274002"/>
                  </a:lnTo>
                  <a:lnTo>
                    <a:pt x="15707" y="275133"/>
                  </a:lnTo>
                  <a:lnTo>
                    <a:pt x="13326" y="275931"/>
                  </a:lnTo>
                  <a:lnTo>
                    <a:pt x="12607" y="276964"/>
                  </a:lnTo>
                  <a:lnTo>
                    <a:pt x="12097" y="278240"/>
                  </a:lnTo>
                  <a:lnTo>
                    <a:pt x="11048" y="278840"/>
                  </a:lnTo>
                  <a:lnTo>
                    <a:pt x="9795" y="279186"/>
                  </a:lnTo>
                  <a:lnTo>
                    <a:pt x="7554" y="280439"/>
                  </a:lnTo>
                  <a:lnTo>
                    <a:pt x="5506" y="282048"/>
                  </a:lnTo>
                  <a:lnTo>
                    <a:pt x="5727" y="280058"/>
                  </a:lnTo>
                  <a:lnTo>
                    <a:pt x="6332" y="278181"/>
                  </a:lnTo>
                  <a:lnTo>
                    <a:pt x="8411" y="274337"/>
                  </a:lnTo>
                  <a:lnTo>
                    <a:pt x="9911" y="273154"/>
                  </a:lnTo>
                  <a:lnTo>
                    <a:pt x="12393" y="270125"/>
                  </a:lnTo>
                  <a:lnTo>
                    <a:pt x="13792" y="268661"/>
                  </a:lnTo>
                  <a:lnTo>
                    <a:pt x="17146" y="265765"/>
                  </a:lnTo>
                  <a:lnTo>
                    <a:pt x="20238" y="262589"/>
                  </a:lnTo>
                  <a:lnTo>
                    <a:pt x="21272" y="262353"/>
                  </a:lnTo>
                  <a:lnTo>
                    <a:pt x="22410" y="262305"/>
                  </a:lnTo>
                  <a:lnTo>
                    <a:pt x="23313" y="261940"/>
                  </a:lnTo>
                  <a:lnTo>
                    <a:pt x="25325" y="260225"/>
                  </a:lnTo>
                  <a:lnTo>
                    <a:pt x="30392" y="254512"/>
                  </a:lnTo>
                  <a:lnTo>
                    <a:pt x="34581" y="250253"/>
                  </a:lnTo>
                  <a:lnTo>
                    <a:pt x="38873" y="244864"/>
                  </a:lnTo>
                  <a:lnTo>
                    <a:pt x="40920" y="243294"/>
                  </a:lnTo>
                  <a:lnTo>
                    <a:pt x="41473" y="242714"/>
                  </a:lnTo>
                  <a:lnTo>
                    <a:pt x="45425" y="237748"/>
                  </a:lnTo>
                  <a:lnTo>
                    <a:pt x="46664" y="237027"/>
                  </a:lnTo>
                  <a:lnTo>
                    <a:pt x="48062" y="236504"/>
                  </a:lnTo>
                  <a:lnTo>
                    <a:pt x="49011" y="235829"/>
                  </a:lnTo>
                  <a:lnTo>
                    <a:pt x="49848" y="234984"/>
                  </a:lnTo>
                  <a:lnTo>
                    <a:pt x="51245" y="232821"/>
                  </a:lnTo>
                  <a:lnTo>
                    <a:pt x="51813" y="230293"/>
                  </a:lnTo>
                  <a:lnTo>
                    <a:pt x="51459" y="228865"/>
                  </a:lnTo>
                  <a:lnTo>
                    <a:pt x="50673" y="226758"/>
                  </a:lnTo>
                  <a:lnTo>
                    <a:pt x="51657" y="223884"/>
                  </a:lnTo>
                  <a:lnTo>
                    <a:pt x="52432" y="222558"/>
                  </a:lnTo>
                  <a:lnTo>
                    <a:pt x="55188" y="216718"/>
                  </a:lnTo>
                  <a:close/>
                  <a:moveTo>
                    <a:pt x="63946" y="211533"/>
                  </a:moveTo>
                  <a:lnTo>
                    <a:pt x="64421" y="212718"/>
                  </a:lnTo>
                  <a:lnTo>
                    <a:pt x="63801" y="214495"/>
                  </a:lnTo>
                  <a:lnTo>
                    <a:pt x="63266" y="214884"/>
                  </a:lnTo>
                  <a:lnTo>
                    <a:pt x="62558" y="214144"/>
                  </a:lnTo>
                  <a:lnTo>
                    <a:pt x="61039" y="213625"/>
                  </a:lnTo>
                  <a:lnTo>
                    <a:pt x="60942" y="212668"/>
                  </a:lnTo>
                  <a:lnTo>
                    <a:pt x="61735" y="212691"/>
                  </a:lnTo>
                  <a:lnTo>
                    <a:pt x="63180" y="211755"/>
                  </a:lnTo>
                  <a:close/>
                  <a:moveTo>
                    <a:pt x="162770" y="211312"/>
                  </a:moveTo>
                  <a:lnTo>
                    <a:pt x="163732" y="211764"/>
                  </a:lnTo>
                  <a:lnTo>
                    <a:pt x="165098" y="213058"/>
                  </a:lnTo>
                  <a:lnTo>
                    <a:pt x="166757" y="213805"/>
                  </a:lnTo>
                  <a:lnTo>
                    <a:pt x="167582" y="214451"/>
                  </a:lnTo>
                  <a:lnTo>
                    <a:pt x="168165" y="215615"/>
                  </a:lnTo>
                  <a:lnTo>
                    <a:pt x="169706" y="216398"/>
                  </a:lnTo>
                  <a:lnTo>
                    <a:pt x="171475" y="216085"/>
                  </a:lnTo>
                  <a:lnTo>
                    <a:pt x="173615" y="214308"/>
                  </a:lnTo>
                  <a:lnTo>
                    <a:pt x="176022" y="214948"/>
                  </a:lnTo>
                  <a:lnTo>
                    <a:pt x="177437" y="217566"/>
                  </a:lnTo>
                  <a:lnTo>
                    <a:pt x="178159" y="218555"/>
                  </a:lnTo>
                  <a:lnTo>
                    <a:pt x="178551" y="220267"/>
                  </a:lnTo>
                  <a:lnTo>
                    <a:pt x="178450" y="224370"/>
                  </a:lnTo>
                  <a:lnTo>
                    <a:pt x="177862" y="228088"/>
                  </a:lnTo>
                  <a:lnTo>
                    <a:pt x="178317" y="228854"/>
                  </a:lnTo>
                  <a:lnTo>
                    <a:pt x="179426" y="229522"/>
                  </a:lnTo>
                  <a:lnTo>
                    <a:pt x="180391" y="230346"/>
                  </a:lnTo>
                  <a:lnTo>
                    <a:pt x="181201" y="231403"/>
                  </a:lnTo>
                  <a:lnTo>
                    <a:pt x="181721" y="232579"/>
                  </a:lnTo>
                  <a:lnTo>
                    <a:pt x="181930" y="235432"/>
                  </a:lnTo>
                  <a:lnTo>
                    <a:pt x="183321" y="237837"/>
                  </a:lnTo>
                  <a:lnTo>
                    <a:pt x="183507" y="238773"/>
                  </a:lnTo>
                  <a:lnTo>
                    <a:pt x="183172" y="239754"/>
                  </a:lnTo>
                  <a:lnTo>
                    <a:pt x="180853" y="239562"/>
                  </a:lnTo>
                  <a:lnTo>
                    <a:pt x="180667" y="240390"/>
                  </a:lnTo>
                  <a:lnTo>
                    <a:pt x="180724" y="241415"/>
                  </a:lnTo>
                  <a:lnTo>
                    <a:pt x="179900" y="240770"/>
                  </a:lnTo>
                  <a:lnTo>
                    <a:pt x="178542" y="238422"/>
                  </a:lnTo>
                  <a:lnTo>
                    <a:pt x="177294" y="237435"/>
                  </a:lnTo>
                  <a:lnTo>
                    <a:pt x="177679" y="241245"/>
                  </a:lnTo>
                  <a:lnTo>
                    <a:pt x="178091" y="243072"/>
                  </a:lnTo>
                  <a:lnTo>
                    <a:pt x="178159" y="244907"/>
                  </a:lnTo>
                  <a:lnTo>
                    <a:pt x="176003" y="243505"/>
                  </a:lnTo>
                  <a:lnTo>
                    <a:pt x="173431" y="242640"/>
                  </a:lnTo>
                  <a:lnTo>
                    <a:pt x="172723" y="241893"/>
                  </a:lnTo>
                  <a:lnTo>
                    <a:pt x="172965" y="239514"/>
                  </a:lnTo>
                  <a:lnTo>
                    <a:pt x="172917" y="238330"/>
                  </a:lnTo>
                  <a:lnTo>
                    <a:pt x="171771" y="235823"/>
                  </a:lnTo>
                  <a:lnTo>
                    <a:pt x="173119" y="230402"/>
                  </a:lnTo>
                  <a:lnTo>
                    <a:pt x="173085" y="229294"/>
                  </a:lnTo>
                  <a:lnTo>
                    <a:pt x="172855" y="228184"/>
                  </a:lnTo>
                  <a:lnTo>
                    <a:pt x="171792" y="225985"/>
                  </a:lnTo>
                  <a:lnTo>
                    <a:pt x="170113" y="224145"/>
                  </a:lnTo>
                  <a:lnTo>
                    <a:pt x="169082" y="224140"/>
                  </a:lnTo>
                  <a:lnTo>
                    <a:pt x="166577" y="225432"/>
                  </a:lnTo>
                  <a:lnTo>
                    <a:pt x="165310" y="225004"/>
                  </a:lnTo>
                  <a:lnTo>
                    <a:pt x="164563" y="219929"/>
                  </a:lnTo>
                  <a:lnTo>
                    <a:pt x="163552" y="214996"/>
                  </a:lnTo>
                  <a:lnTo>
                    <a:pt x="162777" y="213733"/>
                  </a:lnTo>
                  <a:lnTo>
                    <a:pt x="162274" y="212410"/>
                  </a:lnTo>
                  <a:close/>
                  <a:moveTo>
                    <a:pt x="165131" y="207731"/>
                  </a:moveTo>
                  <a:lnTo>
                    <a:pt x="166757" y="207908"/>
                  </a:lnTo>
                  <a:lnTo>
                    <a:pt x="167951" y="208970"/>
                  </a:lnTo>
                  <a:lnTo>
                    <a:pt x="169218" y="210990"/>
                  </a:lnTo>
                  <a:lnTo>
                    <a:pt x="168912" y="212275"/>
                  </a:lnTo>
                  <a:lnTo>
                    <a:pt x="166150" y="212417"/>
                  </a:lnTo>
                  <a:lnTo>
                    <a:pt x="164941" y="211389"/>
                  </a:lnTo>
                  <a:lnTo>
                    <a:pt x="163427" y="208383"/>
                  </a:lnTo>
                  <a:close/>
                  <a:moveTo>
                    <a:pt x="171619" y="207276"/>
                  </a:moveTo>
                  <a:lnTo>
                    <a:pt x="172891" y="207998"/>
                  </a:lnTo>
                  <a:lnTo>
                    <a:pt x="173623" y="209264"/>
                  </a:lnTo>
                  <a:lnTo>
                    <a:pt x="174351" y="209977"/>
                  </a:lnTo>
                  <a:lnTo>
                    <a:pt x="173943" y="211130"/>
                  </a:lnTo>
                  <a:lnTo>
                    <a:pt x="173295" y="210811"/>
                  </a:lnTo>
                  <a:lnTo>
                    <a:pt x="172729" y="210291"/>
                  </a:lnTo>
                  <a:lnTo>
                    <a:pt x="171902" y="208548"/>
                  </a:lnTo>
                  <a:close/>
                  <a:moveTo>
                    <a:pt x="110431" y="203195"/>
                  </a:moveTo>
                  <a:lnTo>
                    <a:pt x="111880" y="203239"/>
                  </a:lnTo>
                  <a:lnTo>
                    <a:pt x="113154" y="204143"/>
                  </a:lnTo>
                  <a:lnTo>
                    <a:pt x="117663" y="206005"/>
                  </a:lnTo>
                  <a:lnTo>
                    <a:pt x="120062" y="207570"/>
                  </a:lnTo>
                  <a:lnTo>
                    <a:pt x="122206" y="209522"/>
                  </a:lnTo>
                  <a:lnTo>
                    <a:pt x="124782" y="210663"/>
                  </a:lnTo>
                  <a:lnTo>
                    <a:pt x="127294" y="209683"/>
                  </a:lnTo>
                  <a:lnTo>
                    <a:pt x="129766" y="209957"/>
                  </a:lnTo>
                  <a:lnTo>
                    <a:pt x="131827" y="211444"/>
                  </a:lnTo>
                  <a:lnTo>
                    <a:pt x="131153" y="212383"/>
                  </a:lnTo>
                  <a:lnTo>
                    <a:pt x="131014" y="213415"/>
                  </a:lnTo>
                  <a:lnTo>
                    <a:pt x="135619" y="211171"/>
                  </a:lnTo>
                  <a:lnTo>
                    <a:pt x="136847" y="211304"/>
                  </a:lnTo>
                  <a:lnTo>
                    <a:pt x="136806" y="213388"/>
                  </a:lnTo>
                  <a:lnTo>
                    <a:pt x="136534" y="215156"/>
                  </a:lnTo>
                  <a:lnTo>
                    <a:pt x="135990" y="216875"/>
                  </a:lnTo>
                  <a:lnTo>
                    <a:pt x="135015" y="218888"/>
                  </a:lnTo>
                  <a:lnTo>
                    <a:pt x="133712" y="220687"/>
                  </a:lnTo>
                  <a:lnTo>
                    <a:pt x="131992" y="221993"/>
                  </a:lnTo>
                  <a:lnTo>
                    <a:pt x="129956" y="222792"/>
                  </a:lnTo>
                  <a:lnTo>
                    <a:pt x="128989" y="223517"/>
                  </a:lnTo>
                  <a:lnTo>
                    <a:pt x="128691" y="224609"/>
                  </a:lnTo>
                  <a:lnTo>
                    <a:pt x="128727" y="225985"/>
                  </a:lnTo>
                  <a:lnTo>
                    <a:pt x="128259" y="227235"/>
                  </a:lnTo>
                  <a:lnTo>
                    <a:pt x="126119" y="227748"/>
                  </a:lnTo>
                  <a:lnTo>
                    <a:pt x="122779" y="230186"/>
                  </a:lnTo>
                  <a:lnTo>
                    <a:pt x="115605" y="231728"/>
                  </a:lnTo>
                  <a:lnTo>
                    <a:pt x="113635" y="232787"/>
                  </a:lnTo>
                  <a:lnTo>
                    <a:pt x="112379" y="234161"/>
                  </a:lnTo>
                  <a:lnTo>
                    <a:pt x="110977" y="235408"/>
                  </a:lnTo>
                  <a:lnTo>
                    <a:pt x="110217" y="235719"/>
                  </a:lnTo>
                  <a:lnTo>
                    <a:pt x="109870" y="235126"/>
                  </a:lnTo>
                  <a:lnTo>
                    <a:pt x="109771" y="234618"/>
                  </a:lnTo>
                  <a:lnTo>
                    <a:pt x="110794" y="231378"/>
                  </a:lnTo>
                  <a:lnTo>
                    <a:pt x="110623" y="230030"/>
                  </a:lnTo>
                  <a:lnTo>
                    <a:pt x="110136" y="228722"/>
                  </a:lnTo>
                  <a:lnTo>
                    <a:pt x="110446" y="226165"/>
                  </a:lnTo>
                  <a:lnTo>
                    <a:pt x="111692" y="223762"/>
                  </a:lnTo>
                  <a:lnTo>
                    <a:pt x="112360" y="221115"/>
                  </a:lnTo>
                  <a:lnTo>
                    <a:pt x="112554" y="216004"/>
                  </a:lnTo>
                  <a:lnTo>
                    <a:pt x="113523" y="208898"/>
                  </a:lnTo>
                  <a:lnTo>
                    <a:pt x="113476" y="208048"/>
                  </a:lnTo>
                  <a:lnTo>
                    <a:pt x="112716" y="207087"/>
                  </a:lnTo>
                  <a:lnTo>
                    <a:pt x="109926" y="206312"/>
                  </a:lnTo>
                  <a:lnTo>
                    <a:pt x="108829" y="205583"/>
                  </a:lnTo>
                  <a:lnTo>
                    <a:pt x="109378" y="204159"/>
                  </a:lnTo>
                  <a:close/>
                  <a:moveTo>
                    <a:pt x="65153" y="201312"/>
                  </a:moveTo>
                  <a:lnTo>
                    <a:pt x="66049" y="201785"/>
                  </a:lnTo>
                  <a:lnTo>
                    <a:pt x="66962" y="202416"/>
                  </a:lnTo>
                  <a:lnTo>
                    <a:pt x="67805" y="202749"/>
                  </a:lnTo>
                  <a:lnTo>
                    <a:pt x="68574" y="204020"/>
                  </a:lnTo>
                  <a:lnTo>
                    <a:pt x="68390" y="204899"/>
                  </a:lnTo>
                  <a:lnTo>
                    <a:pt x="68627" y="205748"/>
                  </a:lnTo>
                  <a:lnTo>
                    <a:pt x="67868" y="207545"/>
                  </a:lnTo>
                  <a:lnTo>
                    <a:pt x="66211" y="208305"/>
                  </a:lnTo>
                  <a:lnTo>
                    <a:pt x="65793" y="207827"/>
                  </a:lnTo>
                  <a:lnTo>
                    <a:pt x="65501" y="206715"/>
                  </a:lnTo>
                  <a:lnTo>
                    <a:pt x="65525" y="205950"/>
                  </a:lnTo>
                  <a:lnTo>
                    <a:pt x="63935" y="201926"/>
                  </a:lnTo>
                  <a:close/>
                  <a:moveTo>
                    <a:pt x="65162" y="193735"/>
                  </a:moveTo>
                  <a:lnTo>
                    <a:pt x="66211" y="194827"/>
                  </a:lnTo>
                  <a:lnTo>
                    <a:pt x="68725" y="196458"/>
                  </a:lnTo>
                  <a:lnTo>
                    <a:pt x="69221" y="197132"/>
                  </a:lnTo>
                  <a:lnTo>
                    <a:pt x="70430" y="197475"/>
                  </a:lnTo>
                  <a:lnTo>
                    <a:pt x="71295" y="197147"/>
                  </a:lnTo>
                  <a:lnTo>
                    <a:pt x="72057" y="195963"/>
                  </a:lnTo>
                  <a:lnTo>
                    <a:pt x="72771" y="197714"/>
                  </a:lnTo>
                  <a:lnTo>
                    <a:pt x="74559" y="199157"/>
                  </a:lnTo>
                  <a:lnTo>
                    <a:pt x="73966" y="200615"/>
                  </a:lnTo>
                  <a:lnTo>
                    <a:pt x="72394" y="200786"/>
                  </a:lnTo>
                  <a:lnTo>
                    <a:pt x="70850" y="200453"/>
                  </a:lnTo>
                  <a:lnTo>
                    <a:pt x="69223" y="201034"/>
                  </a:lnTo>
                  <a:lnTo>
                    <a:pt x="67244" y="200708"/>
                  </a:lnTo>
                  <a:lnTo>
                    <a:pt x="66060" y="199341"/>
                  </a:lnTo>
                  <a:lnTo>
                    <a:pt x="64713" y="196884"/>
                  </a:lnTo>
                  <a:lnTo>
                    <a:pt x="64045" y="196429"/>
                  </a:lnTo>
                  <a:lnTo>
                    <a:pt x="64128" y="195420"/>
                  </a:lnTo>
                  <a:lnTo>
                    <a:pt x="64617" y="194780"/>
                  </a:lnTo>
                  <a:lnTo>
                    <a:pt x="64359" y="194615"/>
                  </a:lnTo>
                  <a:lnTo>
                    <a:pt x="64484" y="194167"/>
                  </a:lnTo>
                  <a:lnTo>
                    <a:pt x="64725" y="193862"/>
                  </a:lnTo>
                  <a:close/>
                  <a:moveTo>
                    <a:pt x="121669" y="189855"/>
                  </a:moveTo>
                  <a:lnTo>
                    <a:pt x="124582" y="189862"/>
                  </a:lnTo>
                  <a:lnTo>
                    <a:pt x="126130" y="191374"/>
                  </a:lnTo>
                  <a:lnTo>
                    <a:pt x="126344" y="192316"/>
                  </a:lnTo>
                  <a:lnTo>
                    <a:pt x="125707" y="193960"/>
                  </a:lnTo>
                  <a:lnTo>
                    <a:pt x="124575" y="194487"/>
                  </a:lnTo>
                  <a:lnTo>
                    <a:pt x="122275" y="192285"/>
                  </a:lnTo>
                  <a:lnTo>
                    <a:pt x="120939" y="191257"/>
                  </a:lnTo>
                  <a:lnTo>
                    <a:pt x="120587" y="190682"/>
                  </a:lnTo>
                  <a:close/>
                  <a:moveTo>
                    <a:pt x="180892" y="188045"/>
                  </a:moveTo>
                  <a:lnTo>
                    <a:pt x="182868" y="189048"/>
                  </a:lnTo>
                  <a:lnTo>
                    <a:pt x="184433" y="190880"/>
                  </a:lnTo>
                  <a:lnTo>
                    <a:pt x="184813" y="192206"/>
                  </a:lnTo>
                  <a:lnTo>
                    <a:pt x="184651" y="193674"/>
                  </a:lnTo>
                  <a:lnTo>
                    <a:pt x="185360" y="194326"/>
                  </a:lnTo>
                  <a:lnTo>
                    <a:pt x="186610" y="194503"/>
                  </a:lnTo>
                  <a:lnTo>
                    <a:pt x="188212" y="195241"/>
                  </a:lnTo>
                  <a:lnTo>
                    <a:pt x="189415" y="196600"/>
                  </a:lnTo>
                  <a:lnTo>
                    <a:pt x="188701" y="197848"/>
                  </a:lnTo>
                  <a:lnTo>
                    <a:pt x="188923" y="199669"/>
                  </a:lnTo>
                  <a:lnTo>
                    <a:pt x="187666" y="201958"/>
                  </a:lnTo>
                  <a:lnTo>
                    <a:pt x="187836" y="206015"/>
                  </a:lnTo>
                  <a:lnTo>
                    <a:pt x="188558" y="207310"/>
                  </a:lnTo>
                  <a:lnTo>
                    <a:pt x="188627" y="208618"/>
                  </a:lnTo>
                  <a:lnTo>
                    <a:pt x="188446" y="209987"/>
                  </a:lnTo>
                  <a:lnTo>
                    <a:pt x="188754" y="211109"/>
                  </a:lnTo>
                  <a:lnTo>
                    <a:pt x="190683" y="214828"/>
                  </a:lnTo>
                  <a:lnTo>
                    <a:pt x="191037" y="216063"/>
                  </a:lnTo>
                  <a:lnTo>
                    <a:pt x="190447" y="217039"/>
                  </a:lnTo>
                  <a:lnTo>
                    <a:pt x="190253" y="217962"/>
                  </a:lnTo>
                  <a:lnTo>
                    <a:pt x="191443" y="218059"/>
                  </a:lnTo>
                  <a:lnTo>
                    <a:pt x="193138" y="219606"/>
                  </a:lnTo>
                  <a:lnTo>
                    <a:pt x="194136" y="221648"/>
                  </a:lnTo>
                  <a:lnTo>
                    <a:pt x="193837" y="222184"/>
                  </a:lnTo>
                  <a:lnTo>
                    <a:pt x="192483" y="220591"/>
                  </a:lnTo>
                  <a:lnTo>
                    <a:pt x="191460" y="220339"/>
                  </a:lnTo>
                  <a:lnTo>
                    <a:pt x="187119" y="220774"/>
                  </a:lnTo>
                  <a:lnTo>
                    <a:pt x="184459" y="220110"/>
                  </a:lnTo>
                  <a:lnTo>
                    <a:pt x="182732" y="220048"/>
                  </a:lnTo>
                  <a:lnTo>
                    <a:pt x="181017" y="217317"/>
                  </a:lnTo>
                  <a:lnTo>
                    <a:pt x="179514" y="216863"/>
                  </a:lnTo>
                  <a:lnTo>
                    <a:pt x="178329" y="215655"/>
                  </a:lnTo>
                  <a:lnTo>
                    <a:pt x="176362" y="212567"/>
                  </a:lnTo>
                  <a:lnTo>
                    <a:pt x="175735" y="210792"/>
                  </a:lnTo>
                  <a:lnTo>
                    <a:pt x="177104" y="208998"/>
                  </a:lnTo>
                  <a:lnTo>
                    <a:pt x="177532" y="207567"/>
                  </a:lnTo>
                  <a:lnTo>
                    <a:pt x="177461" y="206164"/>
                  </a:lnTo>
                  <a:lnTo>
                    <a:pt x="176148" y="206395"/>
                  </a:lnTo>
                  <a:lnTo>
                    <a:pt x="175011" y="205927"/>
                  </a:lnTo>
                  <a:lnTo>
                    <a:pt x="173615" y="204210"/>
                  </a:lnTo>
                  <a:lnTo>
                    <a:pt x="173055" y="203218"/>
                  </a:lnTo>
                  <a:lnTo>
                    <a:pt x="172038" y="202388"/>
                  </a:lnTo>
                  <a:lnTo>
                    <a:pt x="170423" y="200425"/>
                  </a:lnTo>
                  <a:lnTo>
                    <a:pt x="168104" y="199657"/>
                  </a:lnTo>
                  <a:lnTo>
                    <a:pt x="167158" y="199118"/>
                  </a:lnTo>
                  <a:lnTo>
                    <a:pt x="165314" y="197466"/>
                  </a:lnTo>
                  <a:lnTo>
                    <a:pt x="163969" y="195420"/>
                  </a:lnTo>
                  <a:lnTo>
                    <a:pt x="162663" y="191833"/>
                  </a:lnTo>
                  <a:lnTo>
                    <a:pt x="161976" y="188117"/>
                  </a:lnTo>
                  <a:lnTo>
                    <a:pt x="167970" y="189085"/>
                  </a:lnTo>
                  <a:lnTo>
                    <a:pt x="174036" y="188898"/>
                  </a:lnTo>
                  <a:close/>
                  <a:moveTo>
                    <a:pt x="138575" y="187799"/>
                  </a:moveTo>
                  <a:lnTo>
                    <a:pt x="140799" y="188722"/>
                  </a:lnTo>
                  <a:lnTo>
                    <a:pt x="143584" y="189646"/>
                  </a:lnTo>
                  <a:lnTo>
                    <a:pt x="145707" y="190913"/>
                  </a:lnTo>
                  <a:lnTo>
                    <a:pt x="146057" y="191763"/>
                  </a:lnTo>
                  <a:lnTo>
                    <a:pt x="149192" y="194447"/>
                  </a:lnTo>
                  <a:lnTo>
                    <a:pt x="153431" y="197101"/>
                  </a:lnTo>
                  <a:lnTo>
                    <a:pt x="156351" y="201638"/>
                  </a:lnTo>
                  <a:lnTo>
                    <a:pt x="156689" y="205118"/>
                  </a:lnTo>
                  <a:lnTo>
                    <a:pt x="156465" y="206444"/>
                  </a:lnTo>
                  <a:lnTo>
                    <a:pt x="155076" y="204954"/>
                  </a:lnTo>
                  <a:lnTo>
                    <a:pt x="152092" y="202832"/>
                  </a:lnTo>
                  <a:lnTo>
                    <a:pt x="150019" y="202363"/>
                  </a:lnTo>
                  <a:lnTo>
                    <a:pt x="149382" y="201980"/>
                  </a:lnTo>
                  <a:lnTo>
                    <a:pt x="149622" y="200834"/>
                  </a:lnTo>
                  <a:lnTo>
                    <a:pt x="148268" y="199772"/>
                  </a:lnTo>
                  <a:lnTo>
                    <a:pt x="148108" y="199338"/>
                  </a:lnTo>
                  <a:lnTo>
                    <a:pt x="146879" y="198870"/>
                  </a:lnTo>
                  <a:lnTo>
                    <a:pt x="145089" y="196483"/>
                  </a:lnTo>
                  <a:lnTo>
                    <a:pt x="143822" y="196034"/>
                  </a:lnTo>
                  <a:lnTo>
                    <a:pt x="142608" y="196537"/>
                  </a:lnTo>
                  <a:lnTo>
                    <a:pt x="139818" y="200078"/>
                  </a:lnTo>
                  <a:lnTo>
                    <a:pt x="136836" y="202561"/>
                  </a:lnTo>
                  <a:lnTo>
                    <a:pt x="136793" y="201612"/>
                  </a:lnTo>
                  <a:lnTo>
                    <a:pt x="138002" y="198503"/>
                  </a:lnTo>
                  <a:lnTo>
                    <a:pt x="138771" y="193535"/>
                  </a:lnTo>
                  <a:lnTo>
                    <a:pt x="139255" y="192021"/>
                  </a:lnTo>
                  <a:lnTo>
                    <a:pt x="138650" y="189793"/>
                  </a:lnTo>
                  <a:close/>
                  <a:moveTo>
                    <a:pt x="117382" y="187587"/>
                  </a:moveTo>
                  <a:lnTo>
                    <a:pt x="117592" y="187669"/>
                  </a:lnTo>
                  <a:lnTo>
                    <a:pt x="118108" y="189027"/>
                  </a:lnTo>
                  <a:lnTo>
                    <a:pt x="117421" y="189712"/>
                  </a:lnTo>
                  <a:lnTo>
                    <a:pt x="117004" y="189605"/>
                  </a:lnTo>
                  <a:lnTo>
                    <a:pt x="116715" y="188395"/>
                  </a:lnTo>
                  <a:close/>
                  <a:moveTo>
                    <a:pt x="114442" y="186246"/>
                  </a:moveTo>
                  <a:lnTo>
                    <a:pt x="114115" y="187145"/>
                  </a:lnTo>
                  <a:lnTo>
                    <a:pt x="114145" y="188831"/>
                  </a:lnTo>
                  <a:lnTo>
                    <a:pt x="113314" y="192931"/>
                  </a:lnTo>
                  <a:lnTo>
                    <a:pt x="111543" y="198525"/>
                  </a:lnTo>
                  <a:lnTo>
                    <a:pt x="110353" y="196600"/>
                  </a:lnTo>
                  <a:lnTo>
                    <a:pt x="110835" y="195391"/>
                  </a:lnTo>
                  <a:lnTo>
                    <a:pt x="109812" y="194379"/>
                  </a:lnTo>
                  <a:lnTo>
                    <a:pt x="109537" y="193461"/>
                  </a:lnTo>
                  <a:lnTo>
                    <a:pt x="109930" y="192247"/>
                  </a:lnTo>
                  <a:lnTo>
                    <a:pt x="111001" y="191127"/>
                  </a:lnTo>
                  <a:lnTo>
                    <a:pt x="111269" y="187461"/>
                  </a:lnTo>
                  <a:lnTo>
                    <a:pt x="113530" y="186291"/>
                  </a:lnTo>
                  <a:close/>
                  <a:moveTo>
                    <a:pt x="147089" y="185746"/>
                  </a:moveTo>
                  <a:lnTo>
                    <a:pt x="149018" y="187186"/>
                  </a:lnTo>
                  <a:lnTo>
                    <a:pt x="150492" y="190709"/>
                  </a:lnTo>
                  <a:lnTo>
                    <a:pt x="150574" y="192676"/>
                  </a:lnTo>
                  <a:lnTo>
                    <a:pt x="149742" y="191952"/>
                  </a:lnTo>
                  <a:lnTo>
                    <a:pt x="147070" y="188091"/>
                  </a:lnTo>
                  <a:lnTo>
                    <a:pt x="146331" y="186680"/>
                  </a:lnTo>
                  <a:close/>
                  <a:moveTo>
                    <a:pt x="133724" y="175828"/>
                  </a:moveTo>
                  <a:lnTo>
                    <a:pt x="134310" y="175891"/>
                  </a:lnTo>
                  <a:lnTo>
                    <a:pt x="137908" y="180566"/>
                  </a:lnTo>
                  <a:lnTo>
                    <a:pt x="139579" y="181735"/>
                  </a:lnTo>
                  <a:lnTo>
                    <a:pt x="141466" y="185163"/>
                  </a:lnTo>
                  <a:lnTo>
                    <a:pt x="139410" y="182821"/>
                  </a:lnTo>
                  <a:lnTo>
                    <a:pt x="137026" y="181230"/>
                  </a:lnTo>
                  <a:lnTo>
                    <a:pt x="134545" y="178587"/>
                  </a:lnTo>
                  <a:lnTo>
                    <a:pt x="132759" y="177660"/>
                  </a:lnTo>
                  <a:lnTo>
                    <a:pt x="132220" y="177121"/>
                  </a:lnTo>
                  <a:lnTo>
                    <a:pt x="132407" y="176030"/>
                  </a:lnTo>
                  <a:close/>
                  <a:moveTo>
                    <a:pt x="77367" y="166688"/>
                  </a:moveTo>
                  <a:lnTo>
                    <a:pt x="81457" y="167246"/>
                  </a:lnTo>
                  <a:lnTo>
                    <a:pt x="82586" y="167654"/>
                  </a:lnTo>
                  <a:lnTo>
                    <a:pt x="83713" y="167845"/>
                  </a:lnTo>
                  <a:lnTo>
                    <a:pt x="87250" y="167168"/>
                  </a:lnTo>
                  <a:lnTo>
                    <a:pt x="88697" y="167507"/>
                  </a:lnTo>
                  <a:lnTo>
                    <a:pt x="89669" y="168797"/>
                  </a:lnTo>
                  <a:lnTo>
                    <a:pt x="90876" y="169201"/>
                  </a:lnTo>
                  <a:lnTo>
                    <a:pt x="91831" y="169865"/>
                  </a:lnTo>
                  <a:lnTo>
                    <a:pt x="93605" y="168715"/>
                  </a:lnTo>
                  <a:lnTo>
                    <a:pt x="95411" y="170025"/>
                  </a:lnTo>
                  <a:lnTo>
                    <a:pt x="97012" y="172470"/>
                  </a:lnTo>
                  <a:lnTo>
                    <a:pt x="98900" y="174203"/>
                  </a:lnTo>
                  <a:lnTo>
                    <a:pt x="100682" y="175490"/>
                  </a:lnTo>
                  <a:lnTo>
                    <a:pt x="101033" y="176442"/>
                  </a:lnTo>
                  <a:lnTo>
                    <a:pt x="99952" y="178000"/>
                  </a:lnTo>
                  <a:lnTo>
                    <a:pt x="99622" y="179978"/>
                  </a:lnTo>
                  <a:lnTo>
                    <a:pt x="99729" y="182101"/>
                  </a:lnTo>
                  <a:lnTo>
                    <a:pt x="101076" y="186571"/>
                  </a:lnTo>
                  <a:lnTo>
                    <a:pt x="100604" y="187783"/>
                  </a:lnTo>
                  <a:lnTo>
                    <a:pt x="99249" y="189495"/>
                  </a:lnTo>
                  <a:lnTo>
                    <a:pt x="98239" y="191401"/>
                  </a:lnTo>
                  <a:lnTo>
                    <a:pt x="98369" y="192171"/>
                  </a:lnTo>
                  <a:lnTo>
                    <a:pt x="97970" y="192800"/>
                  </a:lnTo>
                  <a:lnTo>
                    <a:pt x="97842" y="194150"/>
                  </a:lnTo>
                  <a:lnTo>
                    <a:pt x="97012" y="193870"/>
                  </a:lnTo>
                  <a:lnTo>
                    <a:pt x="96250" y="194082"/>
                  </a:lnTo>
                  <a:lnTo>
                    <a:pt x="95509" y="194686"/>
                  </a:lnTo>
                  <a:lnTo>
                    <a:pt x="94357" y="195986"/>
                  </a:lnTo>
                  <a:lnTo>
                    <a:pt x="92560" y="195592"/>
                  </a:lnTo>
                  <a:lnTo>
                    <a:pt x="91709" y="195209"/>
                  </a:lnTo>
                  <a:lnTo>
                    <a:pt x="91502" y="194082"/>
                  </a:lnTo>
                  <a:lnTo>
                    <a:pt x="90966" y="193289"/>
                  </a:lnTo>
                  <a:lnTo>
                    <a:pt x="90196" y="192818"/>
                  </a:lnTo>
                  <a:lnTo>
                    <a:pt x="88294" y="190874"/>
                  </a:lnTo>
                  <a:lnTo>
                    <a:pt x="87401" y="189413"/>
                  </a:lnTo>
                  <a:lnTo>
                    <a:pt x="87387" y="187853"/>
                  </a:lnTo>
                  <a:lnTo>
                    <a:pt x="86898" y="186399"/>
                  </a:lnTo>
                  <a:lnTo>
                    <a:pt x="85912" y="185100"/>
                  </a:lnTo>
                  <a:lnTo>
                    <a:pt x="84612" y="184104"/>
                  </a:lnTo>
                  <a:lnTo>
                    <a:pt x="84178" y="183147"/>
                  </a:lnTo>
                  <a:lnTo>
                    <a:pt x="84009" y="182016"/>
                  </a:lnTo>
                  <a:lnTo>
                    <a:pt x="83897" y="179119"/>
                  </a:lnTo>
                  <a:lnTo>
                    <a:pt x="82053" y="175503"/>
                  </a:lnTo>
                  <a:lnTo>
                    <a:pt x="81413" y="174637"/>
                  </a:lnTo>
                  <a:lnTo>
                    <a:pt x="79683" y="173743"/>
                  </a:lnTo>
                  <a:lnTo>
                    <a:pt x="78250" y="172592"/>
                  </a:lnTo>
                  <a:lnTo>
                    <a:pt x="77639" y="171445"/>
                  </a:lnTo>
                  <a:lnTo>
                    <a:pt x="77082" y="169589"/>
                  </a:lnTo>
                  <a:lnTo>
                    <a:pt x="76697" y="169321"/>
                  </a:lnTo>
                  <a:lnTo>
                    <a:pt x="75579" y="169406"/>
                  </a:lnTo>
                  <a:lnTo>
                    <a:pt x="74495" y="169165"/>
                  </a:lnTo>
                  <a:lnTo>
                    <a:pt x="74810" y="167801"/>
                  </a:lnTo>
                  <a:lnTo>
                    <a:pt x="75883" y="166809"/>
                  </a:lnTo>
                  <a:close/>
                  <a:moveTo>
                    <a:pt x="108276" y="165702"/>
                  </a:moveTo>
                  <a:lnTo>
                    <a:pt x="109352" y="166284"/>
                  </a:lnTo>
                  <a:lnTo>
                    <a:pt x="110716" y="166350"/>
                  </a:lnTo>
                  <a:lnTo>
                    <a:pt x="111139" y="166139"/>
                  </a:lnTo>
                  <a:lnTo>
                    <a:pt x="113767" y="168021"/>
                  </a:lnTo>
                  <a:lnTo>
                    <a:pt x="113607" y="168974"/>
                  </a:lnTo>
                  <a:lnTo>
                    <a:pt x="113940" y="170227"/>
                  </a:lnTo>
                  <a:lnTo>
                    <a:pt x="112444" y="172399"/>
                  </a:lnTo>
                  <a:lnTo>
                    <a:pt x="112172" y="173129"/>
                  </a:lnTo>
                  <a:lnTo>
                    <a:pt x="111343" y="173831"/>
                  </a:lnTo>
                  <a:lnTo>
                    <a:pt x="108490" y="172104"/>
                  </a:lnTo>
                  <a:lnTo>
                    <a:pt x="107457" y="171049"/>
                  </a:lnTo>
                  <a:lnTo>
                    <a:pt x="107145" y="168892"/>
                  </a:lnTo>
                  <a:close/>
                  <a:moveTo>
                    <a:pt x="69679" y="159128"/>
                  </a:moveTo>
                  <a:lnTo>
                    <a:pt x="71685" y="159971"/>
                  </a:lnTo>
                  <a:lnTo>
                    <a:pt x="73009" y="161547"/>
                  </a:lnTo>
                  <a:lnTo>
                    <a:pt x="73043" y="163073"/>
                  </a:lnTo>
                  <a:lnTo>
                    <a:pt x="69314" y="160833"/>
                  </a:lnTo>
                  <a:lnTo>
                    <a:pt x="69209" y="160054"/>
                  </a:lnTo>
                  <a:lnTo>
                    <a:pt x="69297" y="159478"/>
                  </a:lnTo>
                  <a:close/>
                  <a:moveTo>
                    <a:pt x="160432" y="154180"/>
                  </a:moveTo>
                  <a:lnTo>
                    <a:pt x="162276" y="157124"/>
                  </a:lnTo>
                  <a:lnTo>
                    <a:pt x="162904" y="157482"/>
                  </a:lnTo>
                  <a:lnTo>
                    <a:pt x="164683" y="158835"/>
                  </a:lnTo>
                  <a:lnTo>
                    <a:pt x="164221" y="161560"/>
                  </a:lnTo>
                  <a:lnTo>
                    <a:pt x="164392" y="163152"/>
                  </a:lnTo>
                  <a:lnTo>
                    <a:pt x="163278" y="164215"/>
                  </a:lnTo>
                  <a:lnTo>
                    <a:pt x="162691" y="165675"/>
                  </a:lnTo>
                  <a:lnTo>
                    <a:pt x="161972" y="165158"/>
                  </a:lnTo>
                  <a:lnTo>
                    <a:pt x="160948" y="165241"/>
                  </a:lnTo>
                  <a:lnTo>
                    <a:pt x="159337" y="166482"/>
                  </a:lnTo>
                  <a:lnTo>
                    <a:pt x="156720" y="164815"/>
                  </a:lnTo>
                  <a:lnTo>
                    <a:pt x="156318" y="163519"/>
                  </a:lnTo>
                  <a:lnTo>
                    <a:pt x="158195" y="160651"/>
                  </a:lnTo>
                  <a:lnTo>
                    <a:pt x="158175" y="156387"/>
                  </a:lnTo>
                  <a:lnTo>
                    <a:pt x="158857" y="155339"/>
                  </a:lnTo>
                  <a:lnTo>
                    <a:pt x="159577" y="154587"/>
                  </a:lnTo>
                  <a:close/>
                  <a:moveTo>
                    <a:pt x="110332" y="150771"/>
                  </a:moveTo>
                  <a:lnTo>
                    <a:pt x="115113" y="154828"/>
                  </a:lnTo>
                  <a:lnTo>
                    <a:pt x="115044" y="155749"/>
                  </a:lnTo>
                  <a:lnTo>
                    <a:pt x="110267" y="152411"/>
                  </a:lnTo>
                  <a:lnTo>
                    <a:pt x="110049" y="151837"/>
                  </a:lnTo>
                  <a:lnTo>
                    <a:pt x="110040" y="151304"/>
                  </a:lnTo>
                  <a:close/>
                  <a:moveTo>
                    <a:pt x="110608" y="132307"/>
                  </a:moveTo>
                  <a:lnTo>
                    <a:pt x="111975" y="133242"/>
                  </a:lnTo>
                  <a:lnTo>
                    <a:pt x="112374" y="134037"/>
                  </a:lnTo>
                  <a:lnTo>
                    <a:pt x="111936" y="133997"/>
                  </a:lnTo>
                  <a:lnTo>
                    <a:pt x="111617" y="134140"/>
                  </a:lnTo>
                  <a:lnTo>
                    <a:pt x="110578" y="135775"/>
                  </a:lnTo>
                  <a:lnTo>
                    <a:pt x="111714" y="138793"/>
                  </a:lnTo>
                  <a:lnTo>
                    <a:pt x="111005" y="140989"/>
                  </a:lnTo>
                  <a:lnTo>
                    <a:pt x="109753" y="141127"/>
                  </a:lnTo>
                  <a:lnTo>
                    <a:pt x="109259" y="140891"/>
                  </a:lnTo>
                  <a:lnTo>
                    <a:pt x="109513" y="139806"/>
                  </a:lnTo>
                  <a:lnTo>
                    <a:pt x="109788" y="139308"/>
                  </a:lnTo>
                  <a:lnTo>
                    <a:pt x="109533" y="137876"/>
                  </a:lnTo>
                  <a:lnTo>
                    <a:pt x="108786" y="136976"/>
                  </a:lnTo>
                  <a:lnTo>
                    <a:pt x="108190" y="135228"/>
                  </a:lnTo>
                  <a:lnTo>
                    <a:pt x="107261" y="134179"/>
                  </a:lnTo>
                  <a:lnTo>
                    <a:pt x="107693" y="132494"/>
                  </a:lnTo>
                  <a:close/>
                  <a:moveTo>
                    <a:pt x="91368" y="51151"/>
                  </a:moveTo>
                  <a:lnTo>
                    <a:pt x="94750" y="52338"/>
                  </a:lnTo>
                  <a:lnTo>
                    <a:pt x="102234" y="56613"/>
                  </a:lnTo>
                  <a:lnTo>
                    <a:pt x="104972" y="57674"/>
                  </a:lnTo>
                  <a:lnTo>
                    <a:pt x="107820" y="58466"/>
                  </a:lnTo>
                  <a:lnTo>
                    <a:pt x="110074" y="58700"/>
                  </a:lnTo>
                  <a:lnTo>
                    <a:pt x="112085" y="57723"/>
                  </a:lnTo>
                  <a:lnTo>
                    <a:pt x="112936" y="56723"/>
                  </a:lnTo>
                  <a:lnTo>
                    <a:pt x="114478" y="54096"/>
                  </a:lnTo>
                  <a:lnTo>
                    <a:pt x="116126" y="53774"/>
                  </a:lnTo>
                  <a:lnTo>
                    <a:pt x="117106" y="54730"/>
                  </a:lnTo>
                  <a:lnTo>
                    <a:pt x="117864" y="56012"/>
                  </a:lnTo>
                  <a:lnTo>
                    <a:pt x="118201" y="57897"/>
                  </a:lnTo>
                  <a:lnTo>
                    <a:pt x="117732" y="59863"/>
                  </a:lnTo>
                  <a:lnTo>
                    <a:pt x="116162" y="61626"/>
                  </a:lnTo>
                  <a:lnTo>
                    <a:pt x="115204" y="63747"/>
                  </a:lnTo>
                  <a:lnTo>
                    <a:pt x="114573" y="70770"/>
                  </a:lnTo>
                  <a:lnTo>
                    <a:pt x="114604" y="72871"/>
                  </a:lnTo>
                  <a:lnTo>
                    <a:pt x="115108" y="74893"/>
                  </a:lnTo>
                  <a:lnTo>
                    <a:pt x="116471" y="78102"/>
                  </a:lnTo>
                  <a:lnTo>
                    <a:pt x="117184" y="79005"/>
                  </a:lnTo>
                  <a:lnTo>
                    <a:pt x="119246" y="80152"/>
                  </a:lnTo>
                  <a:lnTo>
                    <a:pt x="119802" y="81020"/>
                  </a:lnTo>
                  <a:lnTo>
                    <a:pt x="119922" y="82578"/>
                  </a:lnTo>
                  <a:lnTo>
                    <a:pt x="120246" y="83949"/>
                  </a:lnTo>
                  <a:lnTo>
                    <a:pt x="121580" y="84473"/>
                  </a:lnTo>
                  <a:lnTo>
                    <a:pt x="122714" y="85162"/>
                  </a:lnTo>
                  <a:lnTo>
                    <a:pt x="122291" y="86683"/>
                  </a:lnTo>
                  <a:lnTo>
                    <a:pt x="121582" y="88230"/>
                  </a:lnTo>
                  <a:lnTo>
                    <a:pt x="120650" y="92036"/>
                  </a:lnTo>
                  <a:lnTo>
                    <a:pt x="116229" y="100840"/>
                  </a:lnTo>
                  <a:lnTo>
                    <a:pt x="115970" y="102740"/>
                  </a:lnTo>
                  <a:lnTo>
                    <a:pt x="114223" y="106523"/>
                  </a:lnTo>
                  <a:lnTo>
                    <a:pt x="110675" y="107134"/>
                  </a:lnTo>
                  <a:lnTo>
                    <a:pt x="106561" y="108959"/>
                  </a:lnTo>
                  <a:lnTo>
                    <a:pt x="104272" y="110381"/>
                  </a:lnTo>
                  <a:lnTo>
                    <a:pt x="102286" y="112229"/>
                  </a:lnTo>
                  <a:lnTo>
                    <a:pt x="101526" y="114643"/>
                  </a:lnTo>
                  <a:lnTo>
                    <a:pt x="102178" y="115747"/>
                  </a:lnTo>
                  <a:lnTo>
                    <a:pt x="102593" y="116925"/>
                  </a:lnTo>
                  <a:lnTo>
                    <a:pt x="102545" y="118198"/>
                  </a:lnTo>
                  <a:lnTo>
                    <a:pt x="101930" y="119255"/>
                  </a:lnTo>
                  <a:lnTo>
                    <a:pt x="99954" y="121829"/>
                  </a:lnTo>
                  <a:lnTo>
                    <a:pt x="99118" y="123931"/>
                  </a:lnTo>
                  <a:lnTo>
                    <a:pt x="98231" y="124873"/>
                  </a:lnTo>
                  <a:lnTo>
                    <a:pt x="97797" y="126018"/>
                  </a:lnTo>
                  <a:lnTo>
                    <a:pt x="97943" y="127327"/>
                  </a:lnTo>
                  <a:lnTo>
                    <a:pt x="98740" y="128464"/>
                  </a:lnTo>
                  <a:lnTo>
                    <a:pt x="101150" y="133375"/>
                  </a:lnTo>
                  <a:lnTo>
                    <a:pt x="103728" y="138113"/>
                  </a:lnTo>
                  <a:lnTo>
                    <a:pt x="104283" y="138657"/>
                  </a:lnTo>
                  <a:lnTo>
                    <a:pt x="104500" y="139292"/>
                  </a:lnTo>
                  <a:lnTo>
                    <a:pt x="102977" y="140547"/>
                  </a:lnTo>
                  <a:lnTo>
                    <a:pt x="103007" y="142819"/>
                  </a:lnTo>
                  <a:lnTo>
                    <a:pt x="103463" y="145068"/>
                  </a:lnTo>
                  <a:lnTo>
                    <a:pt x="105748" y="150649"/>
                  </a:lnTo>
                  <a:lnTo>
                    <a:pt x="106074" y="152140"/>
                  </a:lnTo>
                  <a:lnTo>
                    <a:pt x="106823" y="153362"/>
                  </a:lnTo>
                  <a:lnTo>
                    <a:pt x="107991" y="154507"/>
                  </a:lnTo>
                  <a:lnTo>
                    <a:pt x="109282" y="155469"/>
                  </a:lnTo>
                  <a:lnTo>
                    <a:pt x="112994" y="157121"/>
                  </a:lnTo>
                  <a:lnTo>
                    <a:pt x="114426" y="157446"/>
                  </a:lnTo>
                  <a:lnTo>
                    <a:pt x="115916" y="157503"/>
                  </a:lnTo>
                  <a:lnTo>
                    <a:pt x="116286" y="156391"/>
                  </a:lnTo>
                  <a:lnTo>
                    <a:pt x="117592" y="156015"/>
                  </a:lnTo>
                  <a:lnTo>
                    <a:pt x="117303" y="154921"/>
                  </a:lnTo>
                  <a:lnTo>
                    <a:pt x="115713" y="153411"/>
                  </a:lnTo>
                  <a:lnTo>
                    <a:pt x="115651" y="152591"/>
                  </a:lnTo>
                  <a:lnTo>
                    <a:pt x="116486" y="151982"/>
                  </a:lnTo>
                  <a:lnTo>
                    <a:pt x="117484" y="151627"/>
                  </a:lnTo>
                  <a:lnTo>
                    <a:pt x="119719" y="149979"/>
                  </a:lnTo>
                  <a:lnTo>
                    <a:pt x="122088" y="148659"/>
                  </a:lnTo>
                  <a:lnTo>
                    <a:pt x="125102" y="148768"/>
                  </a:lnTo>
                  <a:lnTo>
                    <a:pt x="128062" y="149505"/>
                  </a:lnTo>
                  <a:lnTo>
                    <a:pt x="130164" y="150274"/>
                  </a:lnTo>
                  <a:lnTo>
                    <a:pt x="131892" y="151688"/>
                  </a:lnTo>
                  <a:lnTo>
                    <a:pt x="133668" y="154130"/>
                  </a:lnTo>
                  <a:lnTo>
                    <a:pt x="134916" y="156832"/>
                  </a:lnTo>
                  <a:lnTo>
                    <a:pt x="134910" y="158122"/>
                  </a:lnTo>
                  <a:lnTo>
                    <a:pt x="134605" y="159412"/>
                  </a:lnTo>
                  <a:lnTo>
                    <a:pt x="134672" y="160689"/>
                  </a:lnTo>
                  <a:lnTo>
                    <a:pt x="135601" y="161557"/>
                  </a:lnTo>
                  <a:lnTo>
                    <a:pt x="138464" y="161622"/>
                  </a:lnTo>
                  <a:lnTo>
                    <a:pt x="139914" y="159616"/>
                  </a:lnTo>
                  <a:lnTo>
                    <a:pt x="140099" y="157359"/>
                  </a:lnTo>
                  <a:lnTo>
                    <a:pt x="139080" y="156483"/>
                  </a:lnTo>
                  <a:lnTo>
                    <a:pt x="139549" y="155370"/>
                  </a:lnTo>
                  <a:lnTo>
                    <a:pt x="140429" y="154539"/>
                  </a:lnTo>
                  <a:lnTo>
                    <a:pt x="141693" y="155283"/>
                  </a:lnTo>
                  <a:lnTo>
                    <a:pt x="142906" y="156690"/>
                  </a:lnTo>
                  <a:lnTo>
                    <a:pt x="147340" y="158217"/>
                  </a:lnTo>
                  <a:lnTo>
                    <a:pt x="148473" y="158250"/>
                  </a:lnTo>
                  <a:lnTo>
                    <a:pt x="149400" y="158536"/>
                  </a:lnTo>
                  <a:lnTo>
                    <a:pt x="151383" y="159600"/>
                  </a:lnTo>
                  <a:lnTo>
                    <a:pt x="152311" y="160445"/>
                  </a:lnTo>
                  <a:lnTo>
                    <a:pt x="151174" y="162199"/>
                  </a:lnTo>
                  <a:lnTo>
                    <a:pt x="146771" y="162589"/>
                  </a:lnTo>
                  <a:lnTo>
                    <a:pt x="145499" y="163910"/>
                  </a:lnTo>
                  <a:lnTo>
                    <a:pt x="146793" y="166560"/>
                  </a:lnTo>
                  <a:lnTo>
                    <a:pt x="148905" y="168732"/>
                  </a:lnTo>
                  <a:lnTo>
                    <a:pt x="150259" y="170489"/>
                  </a:lnTo>
                  <a:lnTo>
                    <a:pt x="151462" y="172380"/>
                  </a:lnTo>
                  <a:lnTo>
                    <a:pt x="151404" y="174132"/>
                  </a:lnTo>
                  <a:lnTo>
                    <a:pt x="150708" y="175955"/>
                  </a:lnTo>
                  <a:lnTo>
                    <a:pt x="152645" y="175810"/>
                  </a:lnTo>
                  <a:lnTo>
                    <a:pt x="154468" y="176198"/>
                  </a:lnTo>
                  <a:lnTo>
                    <a:pt x="156988" y="177722"/>
                  </a:lnTo>
                  <a:lnTo>
                    <a:pt x="157771" y="177878"/>
                  </a:lnTo>
                  <a:lnTo>
                    <a:pt x="158616" y="177635"/>
                  </a:lnTo>
                  <a:lnTo>
                    <a:pt x="158495" y="183134"/>
                  </a:lnTo>
                  <a:lnTo>
                    <a:pt x="156780" y="188167"/>
                  </a:lnTo>
                  <a:lnTo>
                    <a:pt x="154612" y="187541"/>
                  </a:lnTo>
                  <a:lnTo>
                    <a:pt x="152757" y="185413"/>
                  </a:lnTo>
                  <a:lnTo>
                    <a:pt x="153135" y="182824"/>
                  </a:lnTo>
                  <a:lnTo>
                    <a:pt x="154321" y="180319"/>
                  </a:lnTo>
                  <a:lnTo>
                    <a:pt x="153645" y="179790"/>
                  </a:lnTo>
                  <a:lnTo>
                    <a:pt x="152449" y="179999"/>
                  </a:lnTo>
                  <a:lnTo>
                    <a:pt x="151088" y="180563"/>
                  </a:lnTo>
                  <a:lnTo>
                    <a:pt x="149622" y="180757"/>
                  </a:lnTo>
                  <a:lnTo>
                    <a:pt x="147205" y="180424"/>
                  </a:lnTo>
                  <a:lnTo>
                    <a:pt x="142243" y="177696"/>
                  </a:lnTo>
                  <a:lnTo>
                    <a:pt x="140222" y="177449"/>
                  </a:lnTo>
                  <a:lnTo>
                    <a:pt x="139769" y="176214"/>
                  </a:lnTo>
                  <a:lnTo>
                    <a:pt x="139881" y="173592"/>
                  </a:lnTo>
                  <a:lnTo>
                    <a:pt x="137901" y="170489"/>
                  </a:lnTo>
                  <a:lnTo>
                    <a:pt x="137584" y="169378"/>
                  </a:lnTo>
                  <a:lnTo>
                    <a:pt x="136957" y="168503"/>
                  </a:lnTo>
                  <a:lnTo>
                    <a:pt x="131051" y="165122"/>
                  </a:lnTo>
                  <a:lnTo>
                    <a:pt x="130328" y="164553"/>
                  </a:lnTo>
                  <a:lnTo>
                    <a:pt x="128512" y="161854"/>
                  </a:lnTo>
                  <a:lnTo>
                    <a:pt x="124396" y="158011"/>
                  </a:lnTo>
                  <a:lnTo>
                    <a:pt x="123243" y="157618"/>
                  </a:lnTo>
                  <a:lnTo>
                    <a:pt x="121988" y="157507"/>
                  </a:lnTo>
                  <a:lnTo>
                    <a:pt x="121582" y="158482"/>
                  </a:lnTo>
                  <a:lnTo>
                    <a:pt x="122152" y="159981"/>
                  </a:lnTo>
                  <a:lnTo>
                    <a:pt x="122384" y="161268"/>
                  </a:lnTo>
                  <a:lnTo>
                    <a:pt x="122295" y="162617"/>
                  </a:lnTo>
                  <a:lnTo>
                    <a:pt x="122467" y="163661"/>
                  </a:lnTo>
                  <a:lnTo>
                    <a:pt x="124418" y="165796"/>
                  </a:lnTo>
                  <a:lnTo>
                    <a:pt x="124709" y="166806"/>
                  </a:lnTo>
                  <a:lnTo>
                    <a:pt x="126003" y="169547"/>
                  </a:lnTo>
                  <a:lnTo>
                    <a:pt x="126162" y="172747"/>
                  </a:lnTo>
                  <a:lnTo>
                    <a:pt x="124500" y="174074"/>
                  </a:lnTo>
                  <a:lnTo>
                    <a:pt x="122627" y="172593"/>
                  </a:lnTo>
                  <a:lnTo>
                    <a:pt x="122567" y="171387"/>
                  </a:lnTo>
                  <a:lnTo>
                    <a:pt x="122245" y="170264"/>
                  </a:lnTo>
                  <a:lnTo>
                    <a:pt x="120233" y="167355"/>
                  </a:lnTo>
                  <a:lnTo>
                    <a:pt x="119561" y="166728"/>
                  </a:lnTo>
                  <a:lnTo>
                    <a:pt x="115774" y="163855"/>
                  </a:lnTo>
                  <a:lnTo>
                    <a:pt x="112843" y="160698"/>
                  </a:lnTo>
                  <a:lnTo>
                    <a:pt x="106324" y="157334"/>
                  </a:lnTo>
                  <a:lnTo>
                    <a:pt x="105549" y="157150"/>
                  </a:lnTo>
                  <a:lnTo>
                    <a:pt x="104417" y="157404"/>
                  </a:lnTo>
                  <a:lnTo>
                    <a:pt x="103351" y="157823"/>
                  </a:lnTo>
                  <a:lnTo>
                    <a:pt x="100202" y="159486"/>
                  </a:lnTo>
                  <a:lnTo>
                    <a:pt x="99090" y="160644"/>
                  </a:lnTo>
                  <a:lnTo>
                    <a:pt x="98991" y="162422"/>
                  </a:lnTo>
                  <a:lnTo>
                    <a:pt x="96732" y="163835"/>
                  </a:lnTo>
                  <a:lnTo>
                    <a:pt x="93623" y="164034"/>
                  </a:lnTo>
                  <a:lnTo>
                    <a:pt x="91234" y="163151"/>
                  </a:lnTo>
                  <a:lnTo>
                    <a:pt x="89259" y="161380"/>
                  </a:lnTo>
                  <a:lnTo>
                    <a:pt x="87626" y="161295"/>
                  </a:lnTo>
                  <a:lnTo>
                    <a:pt x="85601" y="158527"/>
                  </a:lnTo>
                  <a:lnTo>
                    <a:pt x="83132" y="158171"/>
                  </a:lnTo>
                  <a:lnTo>
                    <a:pt x="81098" y="160335"/>
                  </a:lnTo>
                  <a:lnTo>
                    <a:pt x="80662" y="156035"/>
                  </a:lnTo>
                  <a:lnTo>
                    <a:pt x="80649" y="151689"/>
                  </a:lnTo>
                  <a:lnTo>
                    <a:pt x="81221" y="150420"/>
                  </a:lnTo>
                  <a:lnTo>
                    <a:pt x="82230" y="149362"/>
                  </a:lnTo>
                  <a:lnTo>
                    <a:pt x="87399" y="144806"/>
                  </a:lnTo>
                  <a:lnTo>
                    <a:pt x="88051" y="143342"/>
                  </a:lnTo>
                  <a:lnTo>
                    <a:pt x="87825" y="141375"/>
                  </a:lnTo>
                  <a:lnTo>
                    <a:pt x="86648" y="139778"/>
                  </a:lnTo>
                  <a:lnTo>
                    <a:pt x="84799" y="138807"/>
                  </a:lnTo>
                  <a:lnTo>
                    <a:pt x="82664" y="138404"/>
                  </a:lnTo>
                  <a:lnTo>
                    <a:pt x="81124" y="137510"/>
                  </a:lnTo>
                  <a:lnTo>
                    <a:pt x="79917" y="136040"/>
                  </a:lnTo>
                  <a:lnTo>
                    <a:pt x="79100" y="138641"/>
                  </a:lnTo>
                  <a:lnTo>
                    <a:pt x="79896" y="142514"/>
                  </a:lnTo>
                  <a:lnTo>
                    <a:pt x="80027" y="145032"/>
                  </a:lnTo>
                  <a:lnTo>
                    <a:pt x="79297" y="145974"/>
                  </a:lnTo>
                  <a:lnTo>
                    <a:pt x="77972" y="146001"/>
                  </a:lnTo>
                  <a:lnTo>
                    <a:pt x="76712" y="145703"/>
                  </a:lnTo>
                  <a:lnTo>
                    <a:pt x="75769" y="144801"/>
                  </a:lnTo>
                  <a:lnTo>
                    <a:pt x="75087" y="142205"/>
                  </a:lnTo>
                  <a:lnTo>
                    <a:pt x="73287" y="140487"/>
                  </a:lnTo>
                  <a:lnTo>
                    <a:pt x="72556" y="138027"/>
                  </a:lnTo>
                  <a:lnTo>
                    <a:pt x="71740" y="137677"/>
                  </a:lnTo>
                  <a:lnTo>
                    <a:pt x="70061" y="137867"/>
                  </a:lnTo>
                  <a:lnTo>
                    <a:pt x="68827" y="136722"/>
                  </a:lnTo>
                  <a:lnTo>
                    <a:pt x="67995" y="133850"/>
                  </a:lnTo>
                  <a:lnTo>
                    <a:pt x="67820" y="130766"/>
                  </a:lnTo>
                  <a:lnTo>
                    <a:pt x="67120" y="128171"/>
                  </a:lnTo>
                  <a:lnTo>
                    <a:pt x="66112" y="125660"/>
                  </a:lnTo>
                  <a:lnTo>
                    <a:pt x="65525" y="123608"/>
                  </a:lnTo>
                  <a:lnTo>
                    <a:pt x="64614" y="114395"/>
                  </a:lnTo>
                  <a:lnTo>
                    <a:pt x="64389" y="113549"/>
                  </a:lnTo>
                  <a:lnTo>
                    <a:pt x="63907" y="112852"/>
                  </a:lnTo>
                  <a:lnTo>
                    <a:pt x="62769" y="111805"/>
                  </a:lnTo>
                  <a:lnTo>
                    <a:pt x="61901" y="110524"/>
                  </a:lnTo>
                  <a:lnTo>
                    <a:pt x="61744" y="109468"/>
                  </a:lnTo>
                  <a:lnTo>
                    <a:pt x="61981" y="104928"/>
                  </a:lnTo>
                  <a:lnTo>
                    <a:pt x="62372" y="103834"/>
                  </a:lnTo>
                  <a:lnTo>
                    <a:pt x="63268" y="103306"/>
                  </a:lnTo>
                  <a:lnTo>
                    <a:pt x="64493" y="104195"/>
                  </a:lnTo>
                  <a:lnTo>
                    <a:pt x="65471" y="105299"/>
                  </a:lnTo>
                  <a:lnTo>
                    <a:pt x="66682" y="105829"/>
                  </a:lnTo>
                  <a:lnTo>
                    <a:pt x="67749" y="106529"/>
                  </a:lnTo>
                  <a:lnTo>
                    <a:pt x="69753" y="109214"/>
                  </a:lnTo>
                  <a:lnTo>
                    <a:pt x="70543" y="109635"/>
                  </a:lnTo>
                  <a:lnTo>
                    <a:pt x="73009" y="109549"/>
                  </a:lnTo>
                  <a:lnTo>
                    <a:pt x="74463" y="109208"/>
                  </a:lnTo>
                  <a:lnTo>
                    <a:pt x="75164" y="108230"/>
                  </a:lnTo>
                  <a:lnTo>
                    <a:pt x="75607" y="107065"/>
                  </a:lnTo>
                  <a:lnTo>
                    <a:pt x="75618" y="105688"/>
                  </a:lnTo>
                  <a:lnTo>
                    <a:pt x="74197" y="101632"/>
                  </a:lnTo>
                  <a:lnTo>
                    <a:pt x="73760" y="98704"/>
                  </a:lnTo>
                  <a:lnTo>
                    <a:pt x="73741" y="96064"/>
                  </a:lnTo>
                  <a:lnTo>
                    <a:pt x="74112" y="93418"/>
                  </a:lnTo>
                  <a:lnTo>
                    <a:pt x="76052" y="89013"/>
                  </a:lnTo>
                  <a:lnTo>
                    <a:pt x="76300" y="85953"/>
                  </a:lnTo>
                  <a:lnTo>
                    <a:pt x="76114" y="81860"/>
                  </a:lnTo>
                  <a:lnTo>
                    <a:pt x="76455" y="79423"/>
                  </a:lnTo>
                  <a:lnTo>
                    <a:pt x="76397" y="78023"/>
                  </a:lnTo>
                  <a:lnTo>
                    <a:pt x="75238" y="75818"/>
                  </a:lnTo>
                  <a:lnTo>
                    <a:pt x="74935" y="73469"/>
                  </a:lnTo>
                  <a:lnTo>
                    <a:pt x="78179" y="61500"/>
                  </a:lnTo>
                  <a:lnTo>
                    <a:pt x="79193" y="59183"/>
                  </a:lnTo>
                  <a:lnTo>
                    <a:pt x="79934" y="56790"/>
                  </a:lnTo>
                  <a:lnTo>
                    <a:pt x="80271" y="53609"/>
                  </a:lnTo>
                  <a:lnTo>
                    <a:pt x="82696" y="52738"/>
                  </a:lnTo>
                  <a:lnTo>
                    <a:pt x="85005" y="51423"/>
                  </a:lnTo>
                  <a:lnTo>
                    <a:pt x="86198" y="51526"/>
                  </a:lnTo>
                  <a:lnTo>
                    <a:pt x="87464" y="51842"/>
                  </a:lnTo>
                  <a:lnTo>
                    <a:pt x="90259" y="51189"/>
                  </a:lnTo>
                  <a:close/>
                  <a:moveTo>
                    <a:pt x="109982" y="42103"/>
                  </a:moveTo>
                  <a:lnTo>
                    <a:pt x="110967" y="43336"/>
                  </a:lnTo>
                  <a:lnTo>
                    <a:pt x="109502" y="44754"/>
                  </a:lnTo>
                  <a:lnTo>
                    <a:pt x="108099" y="46399"/>
                  </a:lnTo>
                  <a:lnTo>
                    <a:pt x="107369" y="45945"/>
                  </a:lnTo>
                  <a:lnTo>
                    <a:pt x="108155" y="44346"/>
                  </a:lnTo>
                  <a:lnTo>
                    <a:pt x="108133" y="43791"/>
                  </a:lnTo>
                  <a:lnTo>
                    <a:pt x="108777" y="42536"/>
                  </a:lnTo>
                  <a:close/>
                  <a:moveTo>
                    <a:pt x="93837" y="38134"/>
                  </a:moveTo>
                  <a:lnTo>
                    <a:pt x="94533" y="39064"/>
                  </a:lnTo>
                  <a:lnTo>
                    <a:pt x="94700" y="40454"/>
                  </a:lnTo>
                  <a:lnTo>
                    <a:pt x="94577" y="41995"/>
                  </a:lnTo>
                  <a:lnTo>
                    <a:pt x="93458" y="41181"/>
                  </a:lnTo>
                  <a:lnTo>
                    <a:pt x="93210" y="40018"/>
                  </a:lnTo>
                  <a:lnTo>
                    <a:pt x="93323" y="39159"/>
                  </a:lnTo>
                  <a:close/>
                  <a:moveTo>
                    <a:pt x="97781" y="33185"/>
                  </a:moveTo>
                  <a:lnTo>
                    <a:pt x="100641" y="34043"/>
                  </a:lnTo>
                  <a:lnTo>
                    <a:pt x="100870" y="36122"/>
                  </a:lnTo>
                  <a:lnTo>
                    <a:pt x="99561" y="36076"/>
                  </a:lnTo>
                  <a:lnTo>
                    <a:pt x="97589" y="34812"/>
                  </a:lnTo>
                  <a:lnTo>
                    <a:pt x="97405" y="34173"/>
                  </a:lnTo>
                  <a:lnTo>
                    <a:pt x="97436" y="33636"/>
                  </a:lnTo>
                  <a:close/>
                  <a:moveTo>
                    <a:pt x="111040" y="8342"/>
                  </a:moveTo>
                  <a:lnTo>
                    <a:pt x="111923" y="8577"/>
                  </a:lnTo>
                  <a:lnTo>
                    <a:pt x="110351" y="10962"/>
                  </a:lnTo>
                  <a:lnTo>
                    <a:pt x="109936" y="11242"/>
                  </a:lnTo>
                  <a:lnTo>
                    <a:pt x="109334" y="11111"/>
                  </a:lnTo>
                  <a:lnTo>
                    <a:pt x="109935" y="8938"/>
                  </a:lnTo>
                  <a:close/>
                  <a:moveTo>
                    <a:pt x="107871" y="0"/>
                  </a:moveTo>
                  <a:lnTo>
                    <a:pt x="108293" y="47"/>
                  </a:lnTo>
                  <a:lnTo>
                    <a:pt x="108540" y="1370"/>
                  </a:lnTo>
                  <a:lnTo>
                    <a:pt x="107467" y="3253"/>
                  </a:lnTo>
                  <a:lnTo>
                    <a:pt x="106605" y="3233"/>
                  </a:lnTo>
                  <a:lnTo>
                    <a:pt x="106734" y="2183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96" name="ee4p_KP_1_37365">
              <a:extLst>
                <a:ext uri="{FF2B5EF4-FFF2-40B4-BE49-F238E27FC236}">
                  <a16:creationId xmlns:a16="http://schemas.microsoft.com/office/drawing/2014/main" id="{7B00430E-4FF5-8F69-4BFD-3797A7202207}"/>
                </a:ext>
              </a:extLst>
            </p:cNvPr>
            <p:cNvSpPr>
              <a:spLocks noChangeAspect="1"/>
            </p:cNvSpPr>
            <p:nvPr>
              <p:custDataLst>
                <p:tags r:id="rId250"/>
              </p:custDataLst>
            </p:nvPr>
          </p:nvSpPr>
          <p:spPr>
            <a:xfrm>
              <a:off x="9967782" y="3368132"/>
              <a:ext cx="176020" cy="178203"/>
            </a:xfrm>
            <a:custGeom>
              <a:avLst/>
              <a:gdLst>
                <a:gd name="connsiteX0" fmla="*/ 12956 w 140161"/>
                <a:gd name="connsiteY0" fmla="*/ 89447 h 138138"/>
                <a:gd name="connsiteX1" fmla="*/ 12308 w 140161"/>
                <a:gd name="connsiteY1" fmla="*/ 91306 h 138138"/>
                <a:gd name="connsiteX2" fmla="*/ 11062 w 140161"/>
                <a:gd name="connsiteY2" fmla="*/ 92051 h 138138"/>
                <a:gd name="connsiteX3" fmla="*/ 10999 w 140161"/>
                <a:gd name="connsiteY3" fmla="*/ 90719 h 138138"/>
                <a:gd name="connsiteX4" fmla="*/ 11961 w 140161"/>
                <a:gd name="connsiteY4" fmla="*/ 89596 h 138138"/>
                <a:gd name="connsiteX5" fmla="*/ 122713 w 140161"/>
                <a:gd name="connsiteY5" fmla="*/ 0 h 138138"/>
                <a:gd name="connsiteX6" fmla="*/ 123663 w 140161"/>
                <a:gd name="connsiteY6" fmla="*/ 67 h 138138"/>
                <a:gd name="connsiteX7" fmla="*/ 124454 w 140161"/>
                <a:gd name="connsiteY7" fmla="*/ 625 h 138138"/>
                <a:gd name="connsiteX8" fmla="*/ 125456 w 140161"/>
                <a:gd name="connsiteY8" fmla="*/ 953 h 138138"/>
                <a:gd name="connsiteX9" fmla="*/ 126790 w 140161"/>
                <a:gd name="connsiteY9" fmla="*/ 643 h 138138"/>
                <a:gd name="connsiteX10" fmla="*/ 127723 w 140161"/>
                <a:gd name="connsiteY10" fmla="*/ 1130 h 138138"/>
                <a:gd name="connsiteX11" fmla="*/ 128308 w 140161"/>
                <a:gd name="connsiteY11" fmla="*/ 2148 h 138138"/>
                <a:gd name="connsiteX12" fmla="*/ 130277 w 140161"/>
                <a:gd name="connsiteY12" fmla="*/ 2849 h 138138"/>
                <a:gd name="connsiteX13" fmla="*/ 130466 w 140161"/>
                <a:gd name="connsiteY13" fmla="*/ 3363 h 138138"/>
                <a:gd name="connsiteX14" fmla="*/ 130418 w 140161"/>
                <a:gd name="connsiteY14" fmla="*/ 6781 h 138138"/>
                <a:gd name="connsiteX15" fmla="*/ 131500 w 140161"/>
                <a:gd name="connsiteY15" fmla="*/ 8381 h 138138"/>
                <a:gd name="connsiteX16" fmla="*/ 132940 w 140161"/>
                <a:gd name="connsiteY16" fmla="*/ 9826 h 138138"/>
                <a:gd name="connsiteX17" fmla="*/ 134920 w 140161"/>
                <a:gd name="connsiteY17" fmla="*/ 11139 h 138138"/>
                <a:gd name="connsiteX18" fmla="*/ 135981 w 140161"/>
                <a:gd name="connsiteY18" fmla="*/ 11437 h 138138"/>
                <a:gd name="connsiteX19" fmla="*/ 136616 w 140161"/>
                <a:gd name="connsiteY19" fmla="*/ 12374 h 138138"/>
                <a:gd name="connsiteX20" fmla="*/ 137216 w 140161"/>
                <a:gd name="connsiteY20" fmla="*/ 13993 h 138138"/>
                <a:gd name="connsiteX21" fmla="*/ 138628 w 140161"/>
                <a:gd name="connsiteY21" fmla="*/ 15568 h 138138"/>
                <a:gd name="connsiteX22" fmla="*/ 139371 w 140161"/>
                <a:gd name="connsiteY22" fmla="*/ 16717 h 138138"/>
                <a:gd name="connsiteX23" fmla="*/ 139513 w 140161"/>
                <a:gd name="connsiteY23" fmla="*/ 17908 h 138138"/>
                <a:gd name="connsiteX24" fmla="*/ 140161 w 140161"/>
                <a:gd name="connsiteY24" fmla="*/ 18580 h 138138"/>
                <a:gd name="connsiteX25" fmla="*/ 139038 w 140161"/>
                <a:gd name="connsiteY25" fmla="*/ 19317 h 138138"/>
                <a:gd name="connsiteX26" fmla="*/ 137551 w 140161"/>
                <a:gd name="connsiteY26" fmla="*/ 18869 h 138138"/>
                <a:gd name="connsiteX27" fmla="*/ 135080 w 140161"/>
                <a:gd name="connsiteY27" fmla="*/ 18602 h 138138"/>
                <a:gd name="connsiteX28" fmla="*/ 131923 w 140161"/>
                <a:gd name="connsiteY28" fmla="*/ 20934 h 138138"/>
                <a:gd name="connsiteX29" fmla="*/ 130177 w 140161"/>
                <a:gd name="connsiteY29" fmla="*/ 21756 h 138138"/>
                <a:gd name="connsiteX30" fmla="*/ 128941 w 140161"/>
                <a:gd name="connsiteY30" fmla="*/ 24048 h 138138"/>
                <a:gd name="connsiteX31" fmla="*/ 126473 w 140161"/>
                <a:gd name="connsiteY31" fmla="*/ 25409 h 138138"/>
                <a:gd name="connsiteX32" fmla="*/ 125125 w 140161"/>
                <a:gd name="connsiteY32" fmla="*/ 26858 h 138138"/>
                <a:gd name="connsiteX33" fmla="*/ 123376 w 140161"/>
                <a:gd name="connsiteY33" fmla="*/ 29364 h 138138"/>
                <a:gd name="connsiteX34" fmla="*/ 122230 w 140161"/>
                <a:gd name="connsiteY34" fmla="*/ 31782 h 138138"/>
                <a:gd name="connsiteX35" fmla="*/ 119576 w 140161"/>
                <a:gd name="connsiteY35" fmla="*/ 34252 h 138138"/>
                <a:gd name="connsiteX36" fmla="*/ 118028 w 140161"/>
                <a:gd name="connsiteY36" fmla="*/ 37356 h 138138"/>
                <a:gd name="connsiteX37" fmla="*/ 117941 w 140161"/>
                <a:gd name="connsiteY37" fmla="*/ 40016 h 138138"/>
                <a:gd name="connsiteX38" fmla="*/ 119634 w 140161"/>
                <a:gd name="connsiteY38" fmla="*/ 42732 h 138138"/>
                <a:gd name="connsiteX39" fmla="*/ 119785 w 140161"/>
                <a:gd name="connsiteY39" fmla="*/ 45045 h 138138"/>
                <a:gd name="connsiteX40" fmla="*/ 118597 w 140161"/>
                <a:gd name="connsiteY40" fmla="*/ 49794 h 138138"/>
                <a:gd name="connsiteX41" fmla="*/ 119258 w 140161"/>
                <a:gd name="connsiteY41" fmla="*/ 54830 h 138138"/>
                <a:gd name="connsiteX42" fmla="*/ 118522 w 140161"/>
                <a:gd name="connsiteY42" fmla="*/ 56800 h 138138"/>
                <a:gd name="connsiteX43" fmla="*/ 110394 w 140161"/>
                <a:gd name="connsiteY43" fmla="*/ 60240 h 138138"/>
                <a:gd name="connsiteX44" fmla="*/ 108271 w 140161"/>
                <a:gd name="connsiteY44" fmla="*/ 61953 h 138138"/>
                <a:gd name="connsiteX45" fmla="*/ 105278 w 140161"/>
                <a:gd name="connsiteY45" fmla="*/ 66407 h 138138"/>
                <a:gd name="connsiteX46" fmla="*/ 101640 w 140161"/>
                <a:gd name="connsiteY46" fmla="*/ 68061 h 138138"/>
                <a:gd name="connsiteX47" fmla="*/ 99379 w 140161"/>
                <a:gd name="connsiteY47" fmla="*/ 69877 h 138138"/>
                <a:gd name="connsiteX48" fmla="*/ 96248 w 140161"/>
                <a:gd name="connsiteY48" fmla="*/ 70948 h 138138"/>
                <a:gd name="connsiteX49" fmla="*/ 94244 w 140161"/>
                <a:gd name="connsiteY49" fmla="*/ 74074 h 138138"/>
                <a:gd name="connsiteX50" fmla="*/ 92043 w 140161"/>
                <a:gd name="connsiteY50" fmla="*/ 75842 h 138138"/>
                <a:gd name="connsiteX51" fmla="*/ 89429 w 140161"/>
                <a:gd name="connsiteY51" fmla="*/ 76918 h 138138"/>
                <a:gd name="connsiteX52" fmla="*/ 87472 w 140161"/>
                <a:gd name="connsiteY52" fmla="*/ 78302 h 138138"/>
                <a:gd name="connsiteX53" fmla="*/ 83091 w 140161"/>
                <a:gd name="connsiteY53" fmla="*/ 78389 h 138138"/>
                <a:gd name="connsiteX54" fmla="*/ 80001 w 140161"/>
                <a:gd name="connsiteY54" fmla="*/ 79353 h 138138"/>
                <a:gd name="connsiteX55" fmla="*/ 77800 w 140161"/>
                <a:gd name="connsiteY55" fmla="*/ 81951 h 138138"/>
                <a:gd name="connsiteX56" fmla="*/ 71190 w 140161"/>
                <a:gd name="connsiteY56" fmla="*/ 84918 h 138138"/>
                <a:gd name="connsiteX57" fmla="*/ 70290 w 140161"/>
                <a:gd name="connsiteY57" fmla="*/ 87163 h 138138"/>
                <a:gd name="connsiteX58" fmla="*/ 70728 w 140161"/>
                <a:gd name="connsiteY58" fmla="*/ 90617 h 138138"/>
                <a:gd name="connsiteX59" fmla="*/ 70765 w 140161"/>
                <a:gd name="connsiteY59" fmla="*/ 93258 h 138138"/>
                <a:gd name="connsiteX60" fmla="*/ 70189 w 140161"/>
                <a:gd name="connsiteY60" fmla="*/ 95429 h 138138"/>
                <a:gd name="connsiteX61" fmla="*/ 68742 w 140161"/>
                <a:gd name="connsiteY61" fmla="*/ 94817 h 138138"/>
                <a:gd name="connsiteX62" fmla="*/ 67964 w 140161"/>
                <a:gd name="connsiteY62" fmla="*/ 95528 h 138138"/>
                <a:gd name="connsiteX63" fmla="*/ 67107 w 140161"/>
                <a:gd name="connsiteY63" fmla="*/ 97536 h 138138"/>
                <a:gd name="connsiteX64" fmla="*/ 67351 w 140161"/>
                <a:gd name="connsiteY64" fmla="*/ 99821 h 138138"/>
                <a:gd name="connsiteX65" fmla="*/ 69616 w 140161"/>
                <a:gd name="connsiteY65" fmla="*/ 100557 h 138138"/>
                <a:gd name="connsiteX66" fmla="*/ 71473 w 140161"/>
                <a:gd name="connsiteY66" fmla="*/ 101495 h 138138"/>
                <a:gd name="connsiteX67" fmla="*/ 74082 w 140161"/>
                <a:gd name="connsiteY67" fmla="*/ 101966 h 138138"/>
                <a:gd name="connsiteX68" fmla="*/ 76010 w 140161"/>
                <a:gd name="connsiteY68" fmla="*/ 103025 h 138138"/>
                <a:gd name="connsiteX69" fmla="*/ 80113 w 140161"/>
                <a:gd name="connsiteY69" fmla="*/ 107836 h 138138"/>
                <a:gd name="connsiteX70" fmla="*/ 83460 w 140161"/>
                <a:gd name="connsiteY70" fmla="*/ 109943 h 138138"/>
                <a:gd name="connsiteX71" fmla="*/ 84332 w 140161"/>
                <a:gd name="connsiteY71" fmla="*/ 110724 h 138138"/>
                <a:gd name="connsiteX72" fmla="*/ 86254 w 140161"/>
                <a:gd name="connsiteY72" fmla="*/ 111780 h 138138"/>
                <a:gd name="connsiteX73" fmla="*/ 88025 w 140161"/>
                <a:gd name="connsiteY73" fmla="*/ 113438 h 138138"/>
                <a:gd name="connsiteX74" fmla="*/ 89023 w 140161"/>
                <a:gd name="connsiteY74" fmla="*/ 114920 h 138138"/>
                <a:gd name="connsiteX75" fmla="*/ 88245 w 140161"/>
                <a:gd name="connsiteY75" fmla="*/ 115321 h 138138"/>
                <a:gd name="connsiteX76" fmla="*/ 86915 w 140161"/>
                <a:gd name="connsiteY76" fmla="*/ 117487 h 138138"/>
                <a:gd name="connsiteX77" fmla="*/ 85673 w 140161"/>
                <a:gd name="connsiteY77" fmla="*/ 120235 h 138138"/>
                <a:gd name="connsiteX78" fmla="*/ 84469 w 140161"/>
                <a:gd name="connsiteY78" fmla="*/ 121719 h 138138"/>
                <a:gd name="connsiteX79" fmla="*/ 83089 w 140161"/>
                <a:gd name="connsiteY79" fmla="*/ 122541 h 138138"/>
                <a:gd name="connsiteX80" fmla="*/ 81601 w 140161"/>
                <a:gd name="connsiteY80" fmla="*/ 123024 h 138138"/>
                <a:gd name="connsiteX81" fmla="*/ 78645 w 140161"/>
                <a:gd name="connsiteY81" fmla="*/ 123232 h 138138"/>
                <a:gd name="connsiteX82" fmla="*/ 75978 w 140161"/>
                <a:gd name="connsiteY82" fmla="*/ 123045 h 138138"/>
                <a:gd name="connsiteX83" fmla="*/ 75112 w 140161"/>
                <a:gd name="connsiteY83" fmla="*/ 122749 h 138138"/>
                <a:gd name="connsiteX84" fmla="*/ 71441 w 140161"/>
                <a:gd name="connsiteY84" fmla="*/ 122922 h 138138"/>
                <a:gd name="connsiteX85" fmla="*/ 70407 w 140161"/>
                <a:gd name="connsiteY85" fmla="*/ 123115 h 138138"/>
                <a:gd name="connsiteX86" fmla="*/ 65129 w 140161"/>
                <a:gd name="connsiteY86" fmla="*/ 122902 h 138138"/>
                <a:gd name="connsiteX87" fmla="*/ 62376 w 140161"/>
                <a:gd name="connsiteY87" fmla="*/ 123127 h 138138"/>
                <a:gd name="connsiteX88" fmla="*/ 60624 w 140161"/>
                <a:gd name="connsiteY88" fmla="*/ 123658 h 138138"/>
                <a:gd name="connsiteX89" fmla="*/ 58841 w 140161"/>
                <a:gd name="connsiteY89" fmla="*/ 124771 h 138138"/>
                <a:gd name="connsiteX90" fmla="*/ 57301 w 140161"/>
                <a:gd name="connsiteY90" fmla="*/ 126439 h 138138"/>
                <a:gd name="connsiteX91" fmla="*/ 55949 w 140161"/>
                <a:gd name="connsiteY91" fmla="*/ 128224 h 138138"/>
                <a:gd name="connsiteX92" fmla="*/ 53194 w 140161"/>
                <a:gd name="connsiteY92" fmla="*/ 131483 h 138138"/>
                <a:gd name="connsiteX93" fmla="*/ 51259 w 140161"/>
                <a:gd name="connsiteY93" fmla="*/ 133066 h 138138"/>
                <a:gd name="connsiteX94" fmla="*/ 51253 w 140161"/>
                <a:gd name="connsiteY94" fmla="*/ 135352 h 138138"/>
                <a:gd name="connsiteX95" fmla="*/ 51209 w 140161"/>
                <a:gd name="connsiteY95" fmla="*/ 136048 h 138138"/>
                <a:gd name="connsiteX96" fmla="*/ 50532 w 140161"/>
                <a:gd name="connsiteY96" fmla="*/ 136532 h 138138"/>
                <a:gd name="connsiteX97" fmla="*/ 50296 w 140161"/>
                <a:gd name="connsiteY97" fmla="*/ 136318 h 138138"/>
                <a:gd name="connsiteX98" fmla="*/ 49180 w 140161"/>
                <a:gd name="connsiteY98" fmla="*/ 136148 h 138138"/>
                <a:gd name="connsiteX99" fmla="*/ 44695 w 140161"/>
                <a:gd name="connsiteY99" fmla="*/ 134060 h 138138"/>
                <a:gd name="connsiteX100" fmla="*/ 41007 w 140161"/>
                <a:gd name="connsiteY100" fmla="*/ 135337 h 138138"/>
                <a:gd name="connsiteX101" fmla="*/ 40076 w 140161"/>
                <a:gd name="connsiteY101" fmla="*/ 136996 h 138138"/>
                <a:gd name="connsiteX102" fmla="*/ 39095 w 140161"/>
                <a:gd name="connsiteY102" fmla="*/ 137528 h 138138"/>
                <a:gd name="connsiteX103" fmla="*/ 37627 w 140161"/>
                <a:gd name="connsiteY103" fmla="*/ 134279 h 138138"/>
                <a:gd name="connsiteX104" fmla="*/ 35226 w 140161"/>
                <a:gd name="connsiteY104" fmla="*/ 134181 h 138138"/>
                <a:gd name="connsiteX105" fmla="*/ 31410 w 140161"/>
                <a:gd name="connsiteY105" fmla="*/ 131320 h 138138"/>
                <a:gd name="connsiteX106" fmla="*/ 29771 w 140161"/>
                <a:gd name="connsiteY106" fmla="*/ 131900 h 138138"/>
                <a:gd name="connsiteX107" fmla="*/ 29354 w 140161"/>
                <a:gd name="connsiteY107" fmla="*/ 133052 h 138138"/>
                <a:gd name="connsiteX108" fmla="*/ 27262 w 140161"/>
                <a:gd name="connsiteY108" fmla="*/ 135682 h 138138"/>
                <a:gd name="connsiteX109" fmla="*/ 24338 w 140161"/>
                <a:gd name="connsiteY109" fmla="*/ 137852 h 138138"/>
                <a:gd name="connsiteX110" fmla="*/ 23395 w 140161"/>
                <a:gd name="connsiteY110" fmla="*/ 138138 h 138138"/>
                <a:gd name="connsiteX111" fmla="*/ 22315 w 140161"/>
                <a:gd name="connsiteY111" fmla="*/ 137991 h 138138"/>
                <a:gd name="connsiteX112" fmla="*/ 22470 w 140161"/>
                <a:gd name="connsiteY112" fmla="*/ 137392 h 138138"/>
                <a:gd name="connsiteX113" fmla="*/ 21274 w 140161"/>
                <a:gd name="connsiteY113" fmla="*/ 134953 h 138138"/>
                <a:gd name="connsiteX114" fmla="*/ 16657 w 140161"/>
                <a:gd name="connsiteY114" fmla="*/ 133965 h 138138"/>
                <a:gd name="connsiteX115" fmla="*/ 14994 w 140161"/>
                <a:gd name="connsiteY115" fmla="*/ 132928 h 138138"/>
                <a:gd name="connsiteX116" fmla="*/ 14154 w 140161"/>
                <a:gd name="connsiteY116" fmla="*/ 132701 h 138138"/>
                <a:gd name="connsiteX117" fmla="*/ 18674 w 140161"/>
                <a:gd name="connsiteY117" fmla="*/ 129975 h 138138"/>
                <a:gd name="connsiteX118" fmla="*/ 19858 w 140161"/>
                <a:gd name="connsiteY118" fmla="*/ 129487 h 138138"/>
                <a:gd name="connsiteX119" fmla="*/ 18974 w 140161"/>
                <a:gd name="connsiteY119" fmla="*/ 128853 h 138138"/>
                <a:gd name="connsiteX120" fmla="*/ 17998 w 140161"/>
                <a:gd name="connsiteY120" fmla="*/ 128542 h 138138"/>
                <a:gd name="connsiteX121" fmla="*/ 14293 w 140161"/>
                <a:gd name="connsiteY121" fmla="*/ 128948 h 138138"/>
                <a:gd name="connsiteX122" fmla="*/ 12347 w 140161"/>
                <a:gd name="connsiteY122" fmla="*/ 128055 h 138138"/>
                <a:gd name="connsiteX123" fmla="*/ 9527 w 140161"/>
                <a:gd name="connsiteY123" fmla="*/ 128340 h 138138"/>
                <a:gd name="connsiteX124" fmla="*/ 7569 w 140161"/>
                <a:gd name="connsiteY124" fmla="*/ 127630 h 138138"/>
                <a:gd name="connsiteX125" fmla="*/ 11628 w 140161"/>
                <a:gd name="connsiteY125" fmla="*/ 124955 h 138138"/>
                <a:gd name="connsiteX126" fmla="*/ 11809 w 140161"/>
                <a:gd name="connsiteY126" fmla="*/ 123373 h 138138"/>
                <a:gd name="connsiteX127" fmla="*/ 11762 w 140161"/>
                <a:gd name="connsiteY127" fmla="*/ 122173 h 138138"/>
                <a:gd name="connsiteX128" fmla="*/ 13822 w 140161"/>
                <a:gd name="connsiteY128" fmla="*/ 118611 h 138138"/>
                <a:gd name="connsiteX129" fmla="*/ 15893 w 140161"/>
                <a:gd name="connsiteY129" fmla="*/ 116638 h 138138"/>
                <a:gd name="connsiteX130" fmla="*/ 21250 w 140161"/>
                <a:gd name="connsiteY130" fmla="*/ 113839 h 138138"/>
                <a:gd name="connsiteX131" fmla="*/ 23587 w 140161"/>
                <a:gd name="connsiteY131" fmla="*/ 113451 h 138138"/>
                <a:gd name="connsiteX132" fmla="*/ 25278 w 140161"/>
                <a:gd name="connsiteY132" fmla="*/ 113562 h 138138"/>
                <a:gd name="connsiteX133" fmla="*/ 26664 w 140161"/>
                <a:gd name="connsiteY133" fmla="*/ 113301 h 138138"/>
                <a:gd name="connsiteX134" fmla="*/ 25209 w 140161"/>
                <a:gd name="connsiteY134" fmla="*/ 112230 h 138138"/>
                <a:gd name="connsiteX135" fmla="*/ 23783 w 140161"/>
                <a:gd name="connsiteY135" fmla="*/ 111737 h 138138"/>
                <a:gd name="connsiteX136" fmla="*/ 21013 w 140161"/>
                <a:gd name="connsiteY136" fmla="*/ 111838 h 138138"/>
                <a:gd name="connsiteX137" fmla="*/ 18136 w 140161"/>
                <a:gd name="connsiteY137" fmla="*/ 110224 h 138138"/>
                <a:gd name="connsiteX138" fmla="*/ 17882 w 140161"/>
                <a:gd name="connsiteY138" fmla="*/ 108520 h 138138"/>
                <a:gd name="connsiteX139" fmla="*/ 23461 w 140161"/>
                <a:gd name="connsiteY139" fmla="*/ 97737 h 138138"/>
                <a:gd name="connsiteX140" fmla="*/ 23539 w 140161"/>
                <a:gd name="connsiteY140" fmla="*/ 96755 h 138138"/>
                <a:gd name="connsiteX141" fmla="*/ 22665 w 140161"/>
                <a:gd name="connsiteY141" fmla="*/ 94126 h 138138"/>
                <a:gd name="connsiteX142" fmla="*/ 22382 w 140161"/>
                <a:gd name="connsiteY142" fmla="*/ 91557 h 138138"/>
                <a:gd name="connsiteX143" fmla="*/ 18385 w 140161"/>
                <a:gd name="connsiteY143" fmla="*/ 90079 h 138138"/>
                <a:gd name="connsiteX144" fmla="*/ 16616 w 140161"/>
                <a:gd name="connsiteY144" fmla="*/ 89902 h 138138"/>
                <a:gd name="connsiteX145" fmla="*/ 11482 w 140161"/>
                <a:gd name="connsiteY145" fmla="*/ 87004 h 138138"/>
                <a:gd name="connsiteX146" fmla="*/ 9434 w 140161"/>
                <a:gd name="connsiteY146" fmla="*/ 85541 h 138138"/>
                <a:gd name="connsiteX147" fmla="*/ 8629 w 140161"/>
                <a:gd name="connsiteY147" fmla="*/ 85971 h 138138"/>
                <a:gd name="connsiteX148" fmla="*/ 8482 w 140161"/>
                <a:gd name="connsiteY148" fmla="*/ 88294 h 138138"/>
                <a:gd name="connsiteX149" fmla="*/ 7751 w 140161"/>
                <a:gd name="connsiteY149" fmla="*/ 88809 h 138138"/>
                <a:gd name="connsiteX150" fmla="*/ 6404 w 140161"/>
                <a:gd name="connsiteY150" fmla="*/ 89258 h 138138"/>
                <a:gd name="connsiteX151" fmla="*/ 5727 w 140161"/>
                <a:gd name="connsiteY151" fmla="*/ 86610 h 138138"/>
                <a:gd name="connsiteX152" fmla="*/ 4617 w 140161"/>
                <a:gd name="connsiteY152" fmla="*/ 84694 h 138138"/>
                <a:gd name="connsiteX153" fmla="*/ 1220 w 140161"/>
                <a:gd name="connsiteY153" fmla="*/ 82743 h 138138"/>
                <a:gd name="connsiteX154" fmla="*/ 0 w 140161"/>
                <a:gd name="connsiteY154" fmla="*/ 81666 h 138138"/>
                <a:gd name="connsiteX155" fmla="*/ 584 w 140161"/>
                <a:gd name="connsiteY155" fmla="*/ 79339 h 138138"/>
                <a:gd name="connsiteX156" fmla="*/ 298 w 140161"/>
                <a:gd name="connsiteY156" fmla="*/ 79133 h 138138"/>
                <a:gd name="connsiteX157" fmla="*/ 840 w 140161"/>
                <a:gd name="connsiteY157" fmla="*/ 76519 h 138138"/>
                <a:gd name="connsiteX158" fmla="*/ 2928 w 140161"/>
                <a:gd name="connsiteY158" fmla="*/ 74499 h 138138"/>
                <a:gd name="connsiteX159" fmla="*/ 8043 w 140161"/>
                <a:gd name="connsiteY159" fmla="*/ 70903 h 138138"/>
                <a:gd name="connsiteX160" fmla="*/ 9361 w 140161"/>
                <a:gd name="connsiteY160" fmla="*/ 69216 h 138138"/>
                <a:gd name="connsiteX161" fmla="*/ 11956 w 140161"/>
                <a:gd name="connsiteY161" fmla="*/ 67225 h 138138"/>
                <a:gd name="connsiteX162" fmla="*/ 13126 w 140161"/>
                <a:gd name="connsiteY162" fmla="*/ 67269 h 138138"/>
                <a:gd name="connsiteX163" fmla="*/ 14334 w 140161"/>
                <a:gd name="connsiteY163" fmla="*/ 67096 h 138138"/>
                <a:gd name="connsiteX164" fmla="*/ 14698 w 140161"/>
                <a:gd name="connsiteY164" fmla="*/ 66229 h 138138"/>
                <a:gd name="connsiteX165" fmla="*/ 14977 w 140161"/>
                <a:gd name="connsiteY165" fmla="*/ 65548 h 138138"/>
                <a:gd name="connsiteX166" fmla="*/ 16016 w 140161"/>
                <a:gd name="connsiteY166" fmla="*/ 64930 h 138138"/>
                <a:gd name="connsiteX167" fmla="*/ 18514 w 140161"/>
                <a:gd name="connsiteY167" fmla="*/ 63831 h 138138"/>
                <a:gd name="connsiteX168" fmla="*/ 21356 w 140161"/>
                <a:gd name="connsiteY168" fmla="*/ 62383 h 138138"/>
                <a:gd name="connsiteX169" fmla="*/ 23621 w 140161"/>
                <a:gd name="connsiteY169" fmla="*/ 61982 h 138138"/>
                <a:gd name="connsiteX170" fmla="*/ 26401 w 140161"/>
                <a:gd name="connsiteY170" fmla="*/ 59813 h 138138"/>
                <a:gd name="connsiteX171" fmla="*/ 27534 w 140161"/>
                <a:gd name="connsiteY171" fmla="*/ 58858 h 138138"/>
                <a:gd name="connsiteX172" fmla="*/ 28667 w 140161"/>
                <a:gd name="connsiteY172" fmla="*/ 58858 h 138138"/>
                <a:gd name="connsiteX173" fmla="*/ 28979 w 140161"/>
                <a:gd name="connsiteY173" fmla="*/ 58414 h 138138"/>
                <a:gd name="connsiteX174" fmla="*/ 29622 w 140161"/>
                <a:gd name="connsiteY174" fmla="*/ 57290 h 138138"/>
                <a:gd name="connsiteX175" fmla="*/ 30507 w 140161"/>
                <a:gd name="connsiteY175" fmla="*/ 56554 h 138138"/>
                <a:gd name="connsiteX176" fmla="*/ 31738 w 140161"/>
                <a:gd name="connsiteY176" fmla="*/ 56414 h 138138"/>
                <a:gd name="connsiteX177" fmla="*/ 33748 w 140161"/>
                <a:gd name="connsiteY177" fmla="*/ 55883 h 138138"/>
                <a:gd name="connsiteX178" fmla="*/ 36273 w 140161"/>
                <a:gd name="connsiteY178" fmla="*/ 55557 h 138138"/>
                <a:gd name="connsiteX179" fmla="*/ 37992 w 140161"/>
                <a:gd name="connsiteY179" fmla="*/ 53732 h 138138"/>
                <a:gd name="connsiteX180" fmla="*/ 38575 w 140161"/>
                <a:gd name="connsiteY180" fmla="*/ 52426 h 138138"/>
                <a:gd name="connsiteX181" fmla="*/ 39711 w 140161"/>
                <a:gd name="connsiteY181" fmla="*/ 50990 h 138138"/>
                <a:gd name="connsiteX182" fmla="*/ 42123 w 140161"/>
                <a:gd name="connsiteY182" fmla="*/ 49422 h 138138"/>
                <a:gd name="connsiteX183" fmla="*/ 43783 w 140161"/>
                <a:gd name="connsiteY183" fmla="*/ 47106 h 138138"/>
                <a:gd name="connsiteX184" fmla="*/ 45621 w 140161"/>
                <a:gd name="connsiteY184" fmla="*/ 44584 h 138138"/>
                <a:gd name="connsiteX185" fmla="*/ 46498 w 140161"/>
                <a:gd name="connsiteY185" fmla="*/ 43779 h 138138"/>
                <a:gd name="connsiteX186" fmla="*/ 47359 w 140161"/>
                <a:gd name="connsiteY186" fmla="*/ 43615 h 138138"/>
                <a:gd name="connsiteX187" fmla="*/ 47871 w 140161"/>
                <a:gd name="connsiteY187" fmla="*/ 42666 h 138138"/>
                <a:gd name="connsiteX188" fmla="*/ 48458 w 140161"/>
                <a:gd name="connsiteY188" fmla="*/ 39984 h 138138"/>
                <a:gd name="connsiteX189" fmla="*/ 49303 w 140161"/>
                <a:gd name="connsiteY189" fmla="*/ 37373 h 138138"/>
                <a:gd name="connsiteX190" fmla="*/ 49810 w 140161"/>
                <a:gd name="connsiteY190" fmla="*/ 36139 h 138138"/>
                <a:gd name="connsiteX191" fmla="*/ 51926 w 140161"/>
                <a:gd name="connsiteY191" fmla="*/ 34791 h 138138"/>
                <a:gd name="connsiteX192" fmla="*/ 52470 w 140161"/>
                <a:gd name="connsiteY192" fmla="*/ 34138 h 138138"/>
                <a:gd name="connsiteX193" fmla="*/ 52946 w 140161"/>
                <a:gd name="connsiteY193" fmla="*/ 33919 h 138138"/>
                <a:gd name="connsiteX194" fmla="*/ 53932 w 140161"/>
                <a:gd name="connsiteY194" fmla="*/ 34094 h 138138"/>
                <a:gd name="connsiteX195" fmla="*/ 55250 w 140161"/>
                <a:gd name="connsiteY195" fmla="*/ 33306 h 138138"/>
                <a:gd name="connsiteX196" fmla="*/ 56493 w 140161"/>
                <a:gd name="connsiteY196" fmla="*/ 32430 h 138138"/>
                <a:gd name="connsiteX197" fmla="*/ 57628 w 140161"/>
                <a:gd name="connsiteY197" fmla="*/ 32736 h 138138"/>
                <a:gd name="connsiteX198" fmla="*/ 58780 w 140161"/>
                <a:gd name="connsiteY198" fmla="*/ 33463 h 138138"/>
                <a:gd name="connsiteX199" fmla="*/ 59983 w 140161"/>
                <a:gd name="connsiteY199" fmla="*/ 34911 h 138138"/>
                <a:gd name="connsiteX200" fmla="*/ 60514 w 140161"/>
                <a:gd name="connsiteY200" fmla="*/ 36064 h 138138"/>
                <a:gd name="connsiteX201" fmla="*/ 61467 w 140161"/>
                <a:gd name="connsiteY201" fmla="*/ 37026 h 138138"/>
                <a:gd name="connsiteX202" fmla="*/ 61651 w 140161"/>
                <a:gd name="connsiteY202" fmla="*/ 38425 h 138138"/>
                <a:gd name="connsiteX203" fmla="*/ 62600 w 140161"/>
                <a:gd name="connsiteY203" fmla="*/ 39038 h 138138"/>
                <a:gd name="connsiteX204" fmla="*/ 64615 w 140161"/>
                <a:gd name="connsiteY204" fmla="*/ 39343 h 138138"/>
                <a:gd name="connsiteX205" fmla="*/ 67921 w 140161"/>
                <a:gd name="connsiteY205" fmla="*/ 40295 h 138138"/>
                <a:gd name="connsiteX206" fmla="*/ 70059 w 140161"/>
                <a:gd name="connsiteY206" fmla="*/ 40349 h 138138"/>
                <a:gd name="connsiteX207" fmla="*/ 71279 w 140161"/>
                <a:gd name="connsiteY207" fmla="*/ 41063 h 138138"/>
                <a:gd name="connsiteX208" fmla="*/ 73834 w 140161"/>
                <a:gd name="connsiteY208" fmla="*/ 41452 h 138138"/>
                <a:gd name="connsiteX209" fmla="*/ 78940 w 140161"/>
                <a:gd name="connsiteY209" fmla="*/ 40894 h 138138"/>
                <a:gd name="connsiteX210" fmla="*/ 81028 w 140161"/>
                <a:gd name="connsiteY210" fmla="*/ 41222 h 138138"/>
                <a:gd name="connsiteX211" fmla="*/ 81905 w 140161"/>
                <a:gd name="connsiteY211" fmla="*/ 42096 h 138138"/>
                <a:gd name="connsiteX212" fmla="*/ 83199 w 140161"/>
                <a:gd name="connsiteY212" fmla="*/ 42792 h 138138"/>
                <a:gd name="connsiteX213" fmla="*/ 84043 w 140161"/>
                <a:gd name="connsiteY213" fmla="*/ 42832 h 138138"/>
                <a:gd name="connsiteX214" fmla="*/ 85168 w 140161"/>
                <a:gd name="connsiteY214" fmla="*/ 41636 h 138138"/>
                <a:gd name="connsiteX215" fmla="*/ 86375 w 140161"/>
                <a:gd name="connsiteY215" fmla="*/ 39694 h 138138"/>
                <a:gd name="connsiteX216" fmla="*/ 87172 w 140161"/>
                <a:gd name="connsiteY216" fmla="*/ 38207 h 138138"/>
                <a:gd name="connsiteX217" fmla="*/ 87135 w 140161"/>
                <a:gd name="connsiteY217" fmla="*/ 37026 h 138138"/>
                <a:gd name="connsiteX218" fmla="*/ 86440 w 140161"/>
                <a:gd name="connsiteY218" fmla="*/ 35758 h 138138"/>
                <a:gd name="connsiteX219" fmla="*/ 84758 w 140161"/>
                <a:gd name="connsiteY219" fmla="*/ 34575 h 138138"/>
                <a:gd name="connsiteX220" fmla="*/ 83656 w 140161"/>
                <a:gd name="connsiteY220" fmla="*/ 32746 h 138138"/>
                <a:gd name="connsiteX221" fmla="*/ 82600 w 140161"/>
                <a:gd name="connsiteY221" fmla="*/ 30852 h 138138"/>
                <a:gd name="connsiteX222" fmla="*/ 81979 w 140161"/>
                <a:gd name="connsiteY222" fmla="*/ 30238 h 138138"/>
                <a:gd name="connsiteX223" fmla="*/ 81467 w 140161"/>
                <a:gd name="connsiteY223" fmla="*/ 29317 h 138138"/>
                <a:gd name="connsiteX224" fmla="*/ 81374 w 140161"/>
                <a:gd name="connsiteY224" fmla="*/ 27908 h 138138"/>
                <a:gd name="connsiteX225" fmla="*/ 81739 w 140161"/>
                <a:gd name="connsiteY225" fmla="*/ 26955 h 138138"/>
                <a:gd name="connsiteX226" fmla="*/ 84280 w 140161"/>
                <a:gd name="connsiteY226" fmla="*/ 26315 h 138138"/>
                <a:gd name="connsiteX227" fmla="*/ 87546 w 140161"/>
                <a:gd name="connsiteY227" fmla="*/ 25943 h 138138"/>
                <a:gd name="connsiteX228" fmla="*/ 90186 w 140161"/>
                <a:gd name="connsiteY228" fmla="*/ 26338 h 138138"/>
                <a:gd name="connsiteX229" fmla="*/ 94598 w 140161"/>
                <a:gd name="connsiteY229" fmla="*/ 26070 h 138138"/>
                <a:gd name="connsiteX230" fmla="*/ 97302 w 140161"/>
                <a:gd name="connsiteY230" fmla="*/ 25543 h 138138"/>
                <a:gd name="connsiteX231" fmla="*/ 99309 w 140161"/>
                <a:gd name="connsiteY231" fmla="*/ 25619 h 138138"/>
                <a:gd name="connsiteX232" fmla="*/ 101158 w 140161"/>
                <a:gd name="connsiteY232" fmla="*/ 25608 h 138138"/>
                <a:gd name="connsiteX233" fmla="*/ 101981 w 140161"/>
                <a:gd name="connsiteY233" fmla="*/ 24796 h 138138"/>
                <a:gd name="connsiteX234" fmla="*/ 104560 w 140161"/>
                <a:gd name="connsiteY234" fmla="*/ 22841 h 138138"/>
                <a:gd name="connsiteX235" fmla="*/ 105808 w 140161"/>
                <a:gd name="connsiteY235" fmla="*/ 22146 h 138138"/>
                <a:gd name="connsiteX236" fmla="*/ 107174 w 140161"/>
                <a:gd name="connsiteY236" fmla="*/ 20818 h 138138"/>
                <a:gd name="connsiteX237" fmla="*/ 107392 w 140161"/>
                <a:gd name="connsiteY237" fmla="*/ 19431 h 138138"/>
                <a:gd name="connsiteX238" fmla="*/ 107666 w 140161"/>
                <a:gd name="connsiteY238" fmla="*/ 18310 h 138138"/>
                <a:gd name="connsiteX239" fmla="*/ 108435 w 140161"/>
                <a:gd name="connsiteY239" fmla="*/ 17107 h 138138"/>
                <a:gd name="connsiteX240" fmla="*/ 109787 w 140161"/>
                <a:gd name="connsiteY240" fmla="*/ 15623 h 138138"/>
                <a:gd name="connsiteX241" fmla="*/ 110941 w 140161"/>
                <a:gd name="connsiteY241" fmla="*/ 14939 h 138138"/>
                <a:gd name="connsiteX242" fmla="*/ 112219 w 140161"/>
                <a:gd name="connsiteY242" fmla="*/ 15028 h 138138"/>
                <a:gd name="connsiteX243" fmla="*/ 113573 w 140161"/>
                <a:gd name="connsiteY243" fmla="*/ 15710 h 138138"/>
                <a:gd name="connsiteX244" fmla="*/ 114432 w 140161"/>
                <a:gd name="connsiteY244" fmla="*/ 16393 h 138138"/>
                <a:gd name="connsiteX245" fmla="*/ 115402 w 140161"/>
                <a:gd name="connsiteY245" fmla="*/ 16195 h 138138"/>
                <a:gd name="connsiteX246" fmla="*/ 116205 w 140161"/>
                <a:gd name="connsiteY246" fmla="*/ 15028 h 138138"/>
                <a:gd name="connsiteX247" fmla="*/ 116736 w 140161"/>
                <a:gd name="connsiteY247" fmla="*/ 14804 h 138138"/>
                <a:gd name="connsiteX248" fmla="*/ 118282 w 140161"/>
                <a:gd name="connsiteY248" fmla="*/ 14701 h 138138"/>
                <a:gd name="connsiteX249" fmla="*/ 118766 w 140161"/>
                <a:gd name="connsiteY249" fmla="*/ 13985 h 138138"/>
                <a:gd name="connsiteX250" fmla="*/ 119358 w 140161"/>
                <a:gd name="connsiteY250" fmla="*/ 10548 h 138138"/>
                <a:gd name="connsiteX251" fmla="*/ 119954 w 140161"/>
                <a:gd name="connsiteY251" fmla="*/ 7833 h 138138"/>
                <a:gd name="connsiteX252" fmla="*/ 120081 w 140161"/>
                <a:gd name="connsiteY252" fmla="*/ 5932 h 138138"/>
                <a:gd name="connsiteX253" fmla="*/ 121459 w 140161"/>
                <a:gd name="connsiteY253" fmla="*/ 2784 h 138138"/>
                <a:gd name="connsiteX254" fmla="*/ 121890 w 140161"/>
                <a:gd name="connsiteY254" fmla="*/ 886 h 138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</a:cxnLst>
              <a:rect l="l" t="t" r="r" b="b"/>
              <a:pathLst>
                <a:path w="140161" h="138138">
                  <a:moveTo>
                    <a:pt x="12956" y="89447"/>
                  </a:moveTo>
                  <a:lnTo>
                    <a:pt x="12308" y="91306"/>
                  </a:lnTo>
                  <a:lnTo>
                    <a:pt x="11062" y="92051"/>
                  </a:lnTo>
                  <a:lnTo>
                    <a:pt x="10999" y="90719"/>
                  </a:lnTo>
                  <a:lnTo>
                    <a:pt x="11961" y="89596"/>
                  </a:lnTo>
                  <a:close/>
                  <a:moveTo>
                    <a:pt x="122713" y="0"/>
                  </a:moveTo>
                  <a:lnTo>
                    <a:pt x="123663" y="67"/>
                  </a:lnTo>
                  <a:lnTo>
                    <a:pt x="124454" y="625"/>
                  </a:lnTo>
                  <a:lnTo>
                    <a:pt x="125456" y="953"/>
                  </a:lnTo>
                  <a:lnTo>
                    <a:pt x="126790" y="643"/>
                  </a:lnTo>
                  <a:lnTo>
                    <a:pt x="127723" y="1130"/>
                  </a:lnTo>
                  <a:lnTo>
                    <a:pt x="128308" y="2148"/>
                  </a:lnTo>
                  <a:lnTo>
                    <a:pt x="130277" y="2849"/>
                  </a:lnTo>
                  <a:lnTo>
                    <a:pt x="130466" y="3363"/>
                  </a:lnTo>
                  <a:lnTo>
                    <a:pt x="130418" y="6781"/>
                  </a:lnTo>
                  <a:lnTo>
                    <a:pt x="131500" y="8381"/>
                  </a:lnTo>
                  <a:lnTo>
                    <a:pt x="132940" y="9826"/>
                  </a:lnTo>
                  <a:lnTo>
                    <a:pt x="134920" y="11139"/>
                  </a:lnTo>
                  <a:lnTo>
                    <a:pt x="135981" y="11437"/>
                  </a:lnTo>
                  <a:lnTo>
                    <a:pt x="136616" y="12374"/>
                  </a:lnTo>
                  <a:lnTo>
                    <a:pt x="137216" y="13993"/>
                  </a:lnTo>
                  <a:lnTo>
                    <a:pt x="138628" y="15568"/>
                  </a:lnTo>
                  <a:lnTo>
                    <a:pt x="139371" y="16717"/>
                  </a:lnTo>
                  <a:lnTo>
                    <a:pt x="139513" y="17908"/>
                  </a:lnTo>
                  <a:lnTo>
                    <a:pt x="140161" y="18580"/>
                  </a:lnTo>
                  <a:lnTo>
                    <a:pt x="139038" y="19317"/>
                  </a:lnTo>
                  <a:lnTo>
                    <a:pt x="137551" y="18869"/>
                  </a:lnTo>
                  <a:lnTo>
                    <a:pt x="135080" y="18602"/>
                  </a:lnTo>
                  <a:lnTo>
                    <a:pt x="131923" y="20934"/>
                  </a:lnTo>
                  <a:lnTo>
                    <a:pt x="130177" y="21756"/>
                  </a:lnTo>
                  <a:lnTo>
                    <a:pt x="128941" y="24048"/>
                  </a:lnTo>
                  <a:lnTo>
                    <a:pt x="126473" y="25409"/>
                  </a:lnTo>
                  <a:lnTo>
                    <a:pt x="125125" y="26858"/>
                  </a:lnTo>
                  <a:lnTo>
                    <a:pt x="123376" y="29364"/>
                  </a:lnTo>
                  <a:lnTo>
                    <a:pt x="122230" y="31782"/>
                  </a:lnTo>
                  <a:lnTo>
                    <a:pt x="119576" y="34252"/>
                  </a:lnTo>
                  <a:lnTo>
                    <a:pt x="118028" y="37356"/>
                  </a:lnTo>
                  <a:lnTo>
                    <a:pt x="117941" y="40016"/>
                  </a:lnTo>
                  <a:lnTo>
                    <a:pt x="119634" y="42732"/>
                  </a:lnTo>
                  <a:lnTo>
                    <a:pt x="119785" y="45045"/>
                  </a:lnTo>
                  <a:lnTo>
                    <a:pt x="118597" y="49794"/>
                  </a:lnTo>
                  <a:lnTo>
                    <a:pt x="119258" y="54830"/>
                  </a:lnTo>
                  <a:lnTo>
                    <a:pt x="118522" y="56800"/>
                  </a:lnTo>
                  <a:lnTo>
                    <a:pt x="110394" y="60240"/>
                  </a:lnTo>
                  <a:lnTo>
                    <a:pt x="108271" y="61953"/>
                  </a:lnTo>
                  <a:lnTo>
                    <a:pt x="105278" y="66407"/>
                  </a:lnTo>
                  <a:lnTo>
                    <a:pt x="101640" y="68061"/>
                  </a:lnTo>
                  <a:lnTo>
                    <a:pt x="99379" y="69877"/>
                  </a:lnTo>
                  <a:lnTo>
                    <a:pt x="96248" y="70948"/>
                  </a:lnTo>
                  <a:lnTo>
                    <a:pt x="94244" y="74074"/>
                  </a:lnTo>
                  <a:lnTo>
                    <a:pt x="92043" y="75842"/>
                  </a:lnTo>
                  <a:lnTo>
                    <a:pt x="89429" y="76918"/>
                  </a:lnTo>
                  <a:lnTo>
                    <a:pt x="87472" y="78302"/>
                  </a:lnTo>
                  <a:lnTo>
                    <a:pt x="83091" y="78389"/>
                  </a:lnTo>
                  <a:lnTo>
                    <a:pt x="80001" y="79353"/>
                  </a:lnTo>
                  <a:lnTo>
                    <a:pt x="77800" y="81951"/>
                  </a:lnTo>
                  <a:lnTo>
                    <a:pt x="71190" y="84918"/>
                  </a:lnTo>
                  <a:lnTo>
                    <a:pt x="70290" y="87163"/>
                  </a:lnTo>
                  <a:lnTo>
                    <a:pt x="70728" y="90617"/>
                  </a:lnTo>
                  <a:lnTo>
                    <a:pt x="70765" y="93258"/>
                  </a:lnTo>
                  <a:lnTo>
                    <a:pt x="70189" y="95429"/>
                  </a:lnTo>
                  <a:lnTo>
                    <a:pt x="68742" y="94817"/>
                  </a:lnTo>
                  <a:lnTo>
                    <a:pt x="67964" y="95528"/>
                  </a:lnTo>
                  <a:lnTo>
                    <a:pt x="67107" y="97536"/>
                  </a:lnTo>
                  <a:lnTo>
                    <a:pt x="67351" y="99821"/>
                  </a:lnTo>
                  <a:lnTo>
                    <a:pt x="69616" y="100557"/>
                  </a:lnTo>
                  <a:lnTo>
                    <a:pt x="71473" y="101495"/>
                  </a:lnTo>
                  <a:lnTo>
                    <a:pt x="74082" y="101966"/>
                  </a:lnTo>
                  <a:lnTo>
                    <a:pt x="76010" y="103025"/>
                  </a:lnTo>
                  <a:lnTo>
                    <a:pt x="80113" y="107836"/>
                  </a:lnTo>
                  <a:lnTo>
                    <a:pt x="83460" y="109943"/>
                  </a:lnTo>
                  <a:lnTo>
                    <a:pt x="84332" y="110724"/>
                  </a:lnTo>
                  <a:lnTo>
                    <a:pt x="86254" y="111780"/>
                  </a:lnTo>
                  <a:lnTo>
                    <a:pt x="88025" y="113438"/>
                  </a:lnTo>
                  <a:lnTo>
                    <a:pt x="89023" y="114920"/>
                  </a:lnTo>
                  <a:lnTo>
                    <a:pt x="88245" y="115321"/>
                  </a:lnTo>
                  <a:lnTo>
                    <a:pt x="86915" y="117487"/>
                  </a:lnTo>
                  <a:lnTo>
                    <a:pt x="85673" y="120235"/>
                  </a:lnTo>
                  <a:lnTo>
                    <a:pt x="84469" y="121719"/>
                  </a:lnTo>
                  <a:lnTo>
                    <a:pt x="83089" y="122541"/>
                  </a:lnTo>
                  <a:lnTo>
                    <a:pt x="81601" y="123024"/>
                  </a:lnTo>
                  <a:lnTo>
                    <a:pt x="78645" y="123232"/>
                  </a:lnTo>
                  <a:lnTo>
                    <a:pt x="75978" y="123045"/>
                  </a:lnTo>
                  <a:lnTo>
                    <a:pt x="75112" y="122749"/>
                  </a:lnTo>
                  <a:lnTo>
                    <a:pt x="71441" y="122922"/>
                  </a:lnTo>
                  <a:lnTo>
                    <a:pt x="70407" y="123115"/>
                  </a:lnTo>
                  <a:lnTo>
                    <a:pt x="65129" y="122902"/>
                  </a:lnTo>
                  <a:lnTo>
                    <a:pt x="62376" y="123127"/>
                  </a:lnTo>
                  <a:lnTo>
                    <a:pt x="60624" y="123658"/>
                  </a:lnTo>
                  <a:lnTo>
                    <a:pt x="58841" y="124771"/>
                  </a:lnTo>
                  <a:lnTo>
                    <a:pt x="57301" y="126439"/>
                  </a:lnTo>
                  <a:lnTo>
                    <a:pt x="55949" y="128224"/>
                  </a:lnTo>
                  <a:lnTo>
                    <a:pt x="53194" y="131483"/>
                  </a:lnTo>
                  <a:lnTo>
                    <a:pt x="51259" y="133066"/>
                  </a:lnTo>
                  <a:lnTo>
                    <a:pt x="51253" y="135352"/>
                  </a:lnTo>
                  <a:lnTo>
                    <a:pt x="51209" y="136048"/>
                  </a:lnTo>
                  <a:lnTo>
                    <a:pt x="50532" y="136532"/>
                  </a:lnTo>
                  <a:lnTo>
                    <a:pt x="50296" y="136318"/>
                  </a:lnTo>
                  <a:lnTo>
                    <a:pt x="49180" y="136148"/>
                  </a:lnTo>
                  <a:lnTo>
                    <a:pt x="44695" y="134060"/>
                  </a:lnTo>
                  <a:lnTo>
                    <a:pt x="41007" y="135337"/>
                  </a:lnTo>
                  <a:lnTo>
                    <a:pt x="40076" y="136996"/>
                  </a:lnTo>
                  <a:lnTo>
                    <a:pt x="39095" y="137528"/>
                  </a:lnTo>
                  <a:lnTo>
                    <a:pt x="37627" y="134279"/>
                  </a:lnTo>
                  <a:lnTo>
                    <a:pt x="35226" y="134181"/>
                  </a:lnTo>
                  <a:lnTo>
                    <a:pt x="31410" y="131320"/>
                  </a:lnTo>
                  <a:lnTo>
                    <a:pt x="29771" y="131900"/>
                  </a:lnTo>
                  <a:lnTo>
                    <a:pt x="29354" y="133052"/>
                  </a:lnTo>
                  <a:lnTo>
                    <a:pt x="27262" y="135682"/>
                  </a:lnTo>
                  <a:lnTo>
                    <a:pt x="24338" y="137852"/>
                  </a:lnTo>
                  <a:lnTo>
                    <a:pt x="23395" y="138138"/>
                  </a:lnTo>
                  <a:lnTo>
                    <a:pt x="22315" y="137991"/>
                  </a:lnTo>
                  <a:lnTo>
                    <a:pt x="22470" y="137392"/>
                  </a:lnTo>
                  <a:lnTo>
                    <a:pt x="21274" y="134953"/>
                  </a:lnTo>
                  <a:lnTo>
                    <a:pt x="16657" y="133965"/>
                  </a:lnTo>
                  <a:lnTo>
                    <a:pt x="14994" y="132928"/>
                  </a:lnTo>
                  <a:lnTo>
                    <a:pt x="14154" y="132701"/>
                  </a:lnTo>
                  <a:lnTo>
                    <a:pt x="18674" y="129975"/>
                  </a:lnTo>
                  <a:lnTo>
                    <a:pt x="19858" y="129487"/>
                  </a:lnTo>
                  <a:lnTo>
                    <a:pt x="18974" y="128853"/>
                  </a:lnTo>
                  <a:lnTo>
                    <a:pt x="17998" y="128542"/>
                  </a:lnTo>
                  <a:lnTo>
                    <a:pt x="14293" y="128948"/>
                  </a:lnTo>
                  <a:lnTo>
                    <a:pt x="12347" y="128055"/>
                  </a:lnTo>
                  <a:lnTo>
                    <a:pt x="9527" y="128340"/>
                  </a:lnTo>
                  <a:lnTo>
                    <a:pt x="7569" y="127630"/>
                  </a:lnTo>
                  <a:lnTo>
                    <a:pt x="11628" y="124955"/>
                  </a:lnTo>
                  <a:lnTo>
                    <a:pt x="11809" y="123373"/>
                  </a:lnTo>
                  <a:lnTo>
                    <a:pt x="11762" y="122173"/>
                  </a:lnTo>
                  <a:lnTo>
                    <a:pt x="13822" y="118611"/>
                  </a:lnTo>
                  <a:lnTo>
                    <a:pt x="15893" y="116638"/>
                  </a:lnTo>
                  <a:lnTo>
                    <a:pt x="21250" y="113839"/>
                  </a:lnTo>
                  <a:lnTo>
                    <a:pt x="23587" y="113451"/>
                  </a:lnTo>
                  <a:lnTo>
                    <a:pt x="25278" y="113562"/>
                  </a:lnTo>
                  <a:lnTo>
                    <a:pt x="26664" y="113301"/>
                  </a:lnTo>
                  <a:lnTo>
                    <a:pt x="25209" y="112230"/>
                  </a:lnTo>
                  <a:lnTo>
                    <a:pt x="23783" y="111737"/>
                  </a:lnTo>
                  <a:lnTo>
                    <a:pt x="21013" y="111838"/>
                  </a:lnTo>
                  <a:lnTo>
                    <a:pt x="18136" y="110224"/>
                  </a:lnTo>
                  <a:lnTo>
                    <a:pt x="17882" y="108520"/>
                  </a:lnTo>
                  <a:lnTo>
                    <a:pt x="23461" y="97737"/>
                  </a:lnTo>
                  <a:lnTo>
                    <a:pt x="23539" y="96755"/>
                  </a:lnTo>
                  <a:lnTo>
                    <a:pt x="22665" y="94126"/>
                  </a:lnTo>
                  <a:lnTo>
                    <a:pt x="22382" y="91557"/>
                  </a:lnTo>
                  <a:lnTo>
                    <a:pt x="18385" y="90079"/>
                  </a:lnTo>
                  <a:lnTo>
                    <a:pt x="16616" y="89902"/>
                  </a:lnTo>
                  <a:lnTo>
                    <a:pt x="11482" y="87004"/>
                  </a:lnTo>
                  <a:lnTo>
                    <a:pt x="9434" y="85541"/>
                  </a:lnTo>
                  <a:lnTo>
                    <a:pt x="8629" y="85971"/>
                  </a:lnTo>
                  <a:lnTo>
                    <a:pt x="8482" y="88294"/>
                  </a:lnTo>
                  <a:lnTo>
                    <a:pt x="7751" y="88809"/>
                  </a:lnTo>
                  <a:lnTo>
                    <a:pt x="6404" y="89258"/>
                  </a:lnTo>
                  <a:lnTo>
                    <a:pt x="5727" y="86610"/>
                  </a:lnTo>
                  <a:lnTo>
                    <a:pt x="4617" y="84694"/>
                  </a:lnTo>
                  <a:lnTo>
                    <a:pt x="1220" y="82743"/>
                  </a:lnTo>
                  <a:lnTo>
                    <a:pt x="0" y="81666"/>
                  </a:lnTo>
                  <a:lnTo>
                    <a:pt x="584" y="79339"/>
                  </a:lnTo>
                  <a:lnTo>
                    <a:pt x="298" y="79133"/>
                  </a:lnTo>
                  <a:lnTo>
                    <a:pt x="840" y="76519"/>
                  </a:lnTo>
                  <a:lnTo>
                    <a:pt x="2928" y="74499"/>
                  </a:lnTo>
                  <a:lnTo>
                    <a:pt x="8043" y="70903"/>
                  </a:lnTo>
                  <a:lnTo>
                    <a:pt x="9361" y="69216"/>
                  </a:lnTo>
                  <a:lnTo>
                    <a:pt x="11956" y="67225"/>
                  </a:lnTo>
                  <a:lnTo>
                    <a:pt x="13126" y="67269"/>
                  </a:lnTo>
                  <a:lnTo>
                    <a:pt x="14334" y="67096"/>
                  </a:lnTo>
                  <a:lnTo>
                    <a:pt x="14698" y="66229"/>
                  </a:lnTo>
                  <a:lnTo>
                    <a:pt x="14977" y="65548"/>
                  </a:lnTo>
                  <a:lnTo>
                    <a:pt x="16016" y="64930"/>
                  </a:lnTo>
                  <a:lnTo>
                    <a:pt x="18514" y="63831"/>
                  </a:lnTo>
                  <a:lnTo>
                    <a:pt x="21356" y="62383"/>
                  </a:lnTo>
                  <a:lnTo>
                    <a:pt x="23621" y="61982"/>
                  </a:lnTo>
                  <a:lnTo>
                    <a:pt x="26401" y="59813"/>
                  </a:lnTo>
                  <a:lnTo>
                    <a:pt x="27534" y="58858"/>
                  </a:lnTo>
                  <a:lnTo>
                    <a:pt x="28667" y="58858"/>
                  </a:lnTo>
                  <a:lnTo>
                    <a:pt x="28979" y="58414"/>
                  </a:lnTo>
                  <a:lnTo>
                    <a:pt x="29622" y="57290"/>
                  </a:lnTo>
                  <a:lnTo>
                    <a:pt x="30507" y="56554"/>
                  </a:lnTo>
                  <a:lnTo>
                    <a:pt x="31738" y="56414"/>
                  </a:lnTo>
                  <a:lnTo>
                    <a:pt x="33748" y="55883"/>
                  </a:lnTo>
                  <a:lnTo>
                    <a:pt x="36273" y="55557"/>
                  </a:lnTo>
                  <a:lnTo>
                    <a:pt x="37992" y="53732"/>
                  </a:lnTo>
                  <a:lnTo>
                    <a:pt x="38575" y="52426"/>
                  </a:lnTo>
                  <a:lnTo>
                    <a:pt x="39711" y="50990"/>
                  </a:lnTo>
                  <a:lnTo>
                    <a:pt x="42123" y="49422"/>
                  </a:lnTo>
                  <a:lnTo>
                    <a:pt x="43783" y="47106"/>
                  </a:lnTo>
                  <a:lnTo>
                    <a:pt x="45621" y="44584"/>
                  </a:lnTo>
                  <a:lnTo>
                    <a:pt x="46498" y="43779"/>
                  </a:lnTo>
                  <a:lnTo>
                    <a:pt x="47359" y="43615"/>
                  </a:lnTo>
                  <a:lnTo>
                    <a:pt x="47871" y="42666"/>
                  </a:lnTo>
                  <a:lnTo>
                    <a:pt x="48458" y="39984"/>
                  </a:lnTo>
                  <a:lnTo>
                    <a:pt x="49303" y="37373"/>
                  </a:lnTo>
                  <a:lnTo>
                    <a:pt x="49810" y="36139"/>
                  </a:lnTo>
                  <a:lnTo>
                    <a:pt x="51926" y="34791"/>
                  </a:lnTo>
                  <a:lnTo>
                    <a:pt x="52470" y="34138"/>
                  </a:lnTo>
                  <a:lnTo>
                    <a:pt x="52946" y="33919"/>
                  </a:lnTo>
                  <a:lnTo>
                    <a:pt x="53932" y="34094"/>
                  </a:lnTo>
                  <a:lnTo>
                    <a:pt x="55250" y="33306"/>
                  </a:lnTo>
                  <a:lnTo>
                    <a:pt x="56493" y="32430"/>
                  </a:lnTo>
                  <a:lnTo>
                    <a:pt x="57628" y="32736"/>
                  </a:lnTo>
                  <a:lnTo>
                    <a:pt x="58780" y="33463"/>
                  </a:lnTo>
                  <a:lnTo>
                    <a:pt x="59983" y="34911"/>
                  </a:lnTo>
                  <a:lnTo>
                    <a:pt x="60514" y="36064"/>
                  </a:lnTo>
                  <a:lnTo>
                    <a:pt x="61467" y="37026"/>
                  </a:lnTo>
                  <a:lnTo>
                    <a:pt x="61651" y="38425"/>
                  </a:lnTo>
                  <a:lnTo>
                    <a:pt x="62600" y="39038"/>
                  </a:lnTo>
                  <a:lnTo>
                    <a:pt x="64615" y="39343"/>
                  </a:lnTo>
                  <a:lnTo>
                    <a:pt x="67921" y="40295"/>
                  </a:lnTo>
                  <a:lnTo>
                    <a:pt x="70059" y="40349"/>
                  </a:lnTo>
                  <a:lnTo>
                    <a:pt x="71279" y="41063"/>
                  </a:lnTo>
                  <a:lnTo>
                    <a:pt x="73834" y="41452"/>
                  </a:lnTo>
                  <a:lnTo>
                    <a:pt x="78940" y="40894"/>
                  </a:lnTo>
                  <a:lnTo>
                    <a:pt x="81028" y="41222"/>
                  </a:lnTo>
                  <a:lnTo>
                    <a:pt x="81905" y="42096"/>
                  </a:lnTo>
                  <a:lnTo>
                    <a:pt x="83199" y="42792"/>
                  </a:lnTo>
                  <a:lnTo>
                    <a:pt x="84043" y="42832"/>
                  </a:lnTo>
                  <a:lnTo>
                    <a:pt x="85168" y="41636"/>
                  </a:lnTo>
                  <a:lnTo>
                    <a:pt x="86375" y="39694"/>
                  </a:lnTo>
                  <a:lnTo>
                    <a:pt x="87172" y="38207"/>
                  </a:lnTo>
                  <a:lnTo>
                    <a:pt x="87135" y="37026"/>
                  </a:lnTo>
                  <a:lnTo>
                    <a:pt x="86440" y="35758"/>
                  </a:lnTo>
                  <a:lnTo>
                    <a:pt x="84758" y="34575"/>
                  </a:lnTo>
                  <a:lnTo>
                    <a:pt x="83656" y="32746"/>
                  </a:lnTo>
                  <a:lnTo>
                    <a:pt x="82600" y="30852"/>
                  </a:lnTo>
                  <a:lnTo>
                    <a:pt x="81979" y="30238"/>
                  </a:lnTo>
                  <a:lnTo>
                    <a:pt x="81467" y="29317"/>
                  </a:lnTo>
                  <a:lnTo>
                    <a:pt x="81374" y="27908"/>
                  </a:lnTo>
                  <a:lnTo>
                    <a:pt x="81739" y="26955"/>
                  </a:lnTo>
                  <a:lnTo>
                    <a:pt x="84280" y="26315"/>
                  </a:lnTo>
                  <a:lnTo>
                    <a:pt x="87546" y="25943"/>
                  </a:lnTo>
                  <a:lnTo>
                    <a:pt x="90186" y="26338"/>
                  </a:lnTo>
                  <a:lnTo>
                    <a:pt x="94598" y="26070"/>
                  </a:lnTo>
                  <a:lnTo>
                    <a:pt x="97302" y="25543"/>
                  </a:lnTo>
                  <a:lnTo>
                    <a:pt x="99309" y="25619"/>
                  </a:lnTo>
                  <a:lnTo>
                    <a:pt x="101158" y="25608"/>
                  </a:lnTo>
                  <a:lnTo>
                    <a:pt x="101981" y="24796"/>
                  </a:lnTo>
                  <a:lnTo>
                    <a:pt x="104560" y="22841"/>
                  </a:lnTo>
                  <a:lnTo>
                    <a:pt x="105808" y="22146"/>
                  </a:lnTo>
                  <a:lnTo>
                    <a:pt x="107174" y="20818"/>
                  </a:lnTo>
                  <a:lnTo>
                    <a:pt x="107392" y="19431"/>
                  </a:lnTo>
                  <a:lnTo>
                    <a:pt x="107666" y="18310"/>
                  </a:lnTo>
                  <a:lnTo>
                    <a:pt x="108435" y="17107"/>
                  </a:lnTo>
                  <a:lnTo>
                    <a:pt x="109787" y="15623"/>
                  </a:lnTo>
                  <a:lnTo>
                    <a:pt x="110941" y="14939"/>
                  </a:lnTo>
                  <a:lnTo>
                    <a:pt x="112219" y="15028"/>
                  </a:lnTo>
                  <a:lnTo>
                    <a:pt x="113573" y="15710"/>
                  </a:lnTo>
                  <a:lnTo>
                    <a:pt x="114432" y="16393"/>
                  </a:lnTo>
                  <a:lnTo>
                    <a:pt x="115402" y="16195"/>
                  </a:lnTo>
                  <a:lnTo>
                    <a:pt x="116205" y="15028"/>
                  </a:lnTo>
                  <a:lnTo>
                    <a:pt x="116736" y="14804"/>
                  </a:lnTo>
                  <a:lnTo>
                    <a:pt x="118282" y="14701"/>
                  </a:lnTo>
                  <a:lnTo>
                    <a:pt x="118766" y="13985"/>
                  </a:lnTo>
                  <a:lnTo>
                    <a:pt x="119358" y="10548"/>
                  </a:lnTo>
                  <a:lnTo>
                    <a:pt x="119954" y="7833"/>
                  </a:lnTo>
                  <a:lnTo>
                    <a:pt x="120081" y="5932"/>
                  </a:lnTo>
                  <a:lnTo>
                    <a:pt x="121459" y="2784"/>
                  </a:lnTo>
                  <a:lnTo>
                    <a:pt x="121890" y="886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97" name="ee4p_QA_1_37365">
              <a:extLst>
                <a:ext uri="{FF2B5EF4-FFF2-40B4-BE49-F238E27FC236}">
                  <a16:creationId xmlns:a16="http://schemas.microsoft.com/office/drawing/2014/main" id="{E4ECAFEB-717A-B6D6-07F0-285885465505}"/>
                </a:ext>
              </a:extLst>
            </p:cNvPr>
            <p:cNvSpPr>
              <a:spLocks noChangeAspect="1"/>
            </p:cNvSpPr>
            <p:nvPr>
              <p:custDataLst>
                <p:tags r:id="rId251"/>
              </p:custDataLst>
            </p:nvPr>
          </p:nvSpPr>
          <p:spPr>
            <a:xfrm>
              <a:off x="7924122" y="3912593"/>
              <a:ext cx="23724" cy="48316"/>
            </a:xfrm>
            <a:custGeom>
              <a:avLst/>
              <a:gdLst/>
              <a:ahLst/>
              <a:cxnLst/>
              <a:rect l="0" t="0" r="0" b="0"/>
              <a:pathLst>
                <a:path w="18891" h="37453">
                  <a:moveTo>
                    <a:pt x="11352" y="36452"/>
                  </a:moveTo>
                  <a:lnTo>
                    <a:pt x="9363" y="36934"/>
                  </a:lnTo>
                  <a:lnTo>
                    <a:pt x="7491" y="37452"/>
                  </a:lnTo>
                  <a:lnTo>
                    <a:pt x="5930" y="37438"/>
                  </a:lnTo>
                  <a:lnTo>
                    <a:pt x="4675" y="37234"/>
                  </a:lnTo>
                  <a:lnTo>
                    <a:pt x="3842" y="36736"/>
                  </a:lnTo>
                  <a:lnTo>
                    <a:pt x="2235" y="34751"/>
                  </a:lnTo>
                  <a:lnTo>
                    <a:pt x="1101" y="32175"/>
                  </a:lnTo>
                  <a:lnTo>
                    <a:pt x="1799" y="30738"/>
                  </a:lnTo>
                  <a:lnTo>
                    <a:pt x="2039" y="29840"/>
                  </a:lnTo>
                  <a:lnTo>
                    <a:pt x="503" y="23041"/>
                  </a:lnTo>
                  <a:lnTo>
                    <a:pt x="0" y="17814"/>
                  </a:lnTo>
                  <a:lnTo>
                    <a:pt x="184" y="16742"/>
                  </a:lnTo>
                  <a:lnTo>
                    <a:pt x="1062" y="15507"/>
                  </a:lnTo>
                  <a:lnTo>
                    <a:pt x="2522" y="12779"/>
                  </a:lnTo>
                  <a:lnTo>
                    <a:pt x="3300" y="10149"/>
                  </a:lnTo>
                  <a:lnTo>
                    <a:pt x="5496" y="4065"/>
                  </a:lnTo>
                  <a:lnTo>
                    <a:pt x="7817" y="1721"/>
                  </a:lnTo>
                  <a:lnTo>
                    <a:pt x="11227" y="0"/>
                  </a:lnTo>
                  <a:lnTo>
                    <a:pt x="14030" y="3363"/>
                  </a:lnTo>
                  <a:lnTo>
                    <a:pt x="17435" y="5935"/>
                  </a:lnTo>
                  <a:lnTo>
                    <a:pt x="18081" y="8804"/>
                  </a:lnTo>
                  <a:lnTo>
                    <a:pt x="17079" y="11139"/>
                  </a:lnTo>
                  <a:lnTo>
                    <a:pt x="16159" y="14855"/>
                  </a:lnTo>
                  <a:lnTo>
                    <a:pt x="16709" y="16562"/>
                  </a:lnTo>
                  <a:lnTo>
                    <a:pt x="16914" y="18038"/>
                  </a:lnTo>
                  <a:lnTo>
                    <a:pt x="17841" y="20520"/>
                  </a:lnTo>
                  <a:lnTo>
                    <a:pt x="18737" y="23736"/>
                  </a:lnTo>
                  <a:lnTo>
                    <a:pt x="18890" y="25974"/>
                  </a:lnTo>
                  <a:lnTo>
                    <a:pt x="18405" y="28046"/>
                  </a:lnTo>
                  <a:lnTo>
                    <a:pt x="17221" y="29786"/>
                  </a:lnTo>
                  <a:lnTo>
                    <a:pt x="14889" y="35018"/>
                  </a:lnTo>
                  <a:lnTo>
                    <a:pt x="14194" y="35562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98" name="ee4p_SA_1_37365">
              <a:extLst>
                <a:ext uri="{FF2B5EF4-FFF2-40B4-BE49-F238E27FC236}">
                  <a16:creationId xmlns:a16="http://schemas.microsoft.com/office/drawing/2014/main" id="{DABEAA65-9A28-FB3F-42C6-FD52B3F78101}"/>
                </a:ext>
              </a:extLst>
            </p:cNvPr>
            <p:cNvSpPr>
              <a:spLocks noChangeAspect="1"/>
            </p:cNvSpPr>
            <p:nvPr>
              <p:custDataLst>
                <p:tags r:id="rId252"/>
              </p:custDataLst>
            </p:nvPr>
          </p:nvSpPr>
          <p:spPr>
            <a:xfrm>
              <a:off x="7475971" y="3727048"/>
              <a:ext cx="583844" cy="477602"/>
            </a:xfrm>
            <a:custGeom>
              <a:avLst/>
              <a:gdLst>
                <a:gd name="connsiteX0" fmla="*/ 160185 w 464902"/>
                <a:gd name="connsiteY0" fmla="*/ 355888 h 370223"/>
                <a:gd name="connsiteX1" fmla="*/ 161442 w 464902"/>
                <a:gd name="connsiteY1" fmla="*/ 356091 h 370223"/>
                <a:gd name="connsiteX2" fmla="*/ 162120 w 464902"/>
                <a:gd name="connsiteY2" fmla="*/ 357392 h 370223"/>
                <a:gd name="connsiteX3" fmla="*/ 162251 w 464902"/>
                <a:gd name="connsiteY3" fmla="*/ 360352 h 370223"/>
                <a:gd name="connsiteX4" fmla="*/ 162442 w 464902"/>
                <a:gd name="connsiteY4" fmla="*/ 360979 h 370223"/>
                <a:gd name="connsiteX5" fmla="*/ 162092 w 464902"/>
                <a:gd name="connsiteY5" fmla="*/ 361655 h 370223"/>
                <a:gd name="connsiteX6" fmla="*/ 162999 w 464902"/>
                <a:gd name="connsiteY6" fmla="*/ 362412 h 370223"/>
                <a:gd name="connsiteX7" fmla="*/ 164709 w 464902"/>
                <a:gd name="connsiteY7" fmla="*/ 362539 h 370223"/>
                <a:gd name="connsiteX8" fmla="*/ 164005 w 464902"/>
                <a:gd name="connsiteY8" fmla="*/ 361814 h 370223"/>
                <a:gd name="connsiteX9" fmla="*/ 163854 w 464902"/>
                <a:gd name="connsiteY9" fmla="*/ 361457 h 370223"/>
                <a:gd name="connsiteX10" fmla="*/ 164597 w 464902"/>
                <a:gd name="connsiteY10" fmla="*/ 360414 h 370223"/>
                <a:gd name="connsiteX11" fmla="*/ 167039 w 464902"/>
                <a:gd name="connsiteY11" fmla="*/ 362571 h 370223"/>
                <a:gd name="connsiteX12" fmla="*/ 166968 w 464902"/>
                <a:gd name="connsiteY12" fmla="*/ 365122 h 370223"/>
                <a:gd name="connsiteX13" fmla="*/ 166760 w 464902"/>
                <a:gd name="connsiteY13" fmla="*/ 365705 h 370223"/>
                <a:gd name="connsiteX14" fmla="*/ 166095 w 464902"/>
                <a:gd name="connsiteY14" fmla="*/ 365157 h 370223"/>
                <a:gd name="connsiteX15" fmla="*/ 165668 w 464902"/>
                <a:gd name="connsiteY15" fmla="*/ 364621 h 370223"/>
                <a:gd name="connsiteX16" fmla="*/ 165534 w 464902"/>
                <a:gd name="connsiteY16" fmla="*/ 364041 h 370223"/>
                <a:gd name="connsiteX17" fmla="*/ 164858 w 464902"/>
                <a:gd name="connsiteY17" fmla="*/ 363416 h 370223"/>
                <a:gd name="connsiteX18" fmla="*/ 162478 w 464902"/>
                <a:gd name="connsiteY18" fmla="*/ 363825 h 370223"/>
                <a:gd name="connsiteX19" fmla="*/ 160999 w 464902"/>
                <a:gd name="connsiteY19" fmla="*/ 363125 h 370223"/>
                <a:gd name="connsiteX20" fmla="*/ 158883 w 464902"/>
                <a:gd name="connsiteY20" fmla="*/ 360977 h 370223"/>
                <a:gd name="connsiteX21" fmla="*/ 158319 w 464902"/>
                <a:gd name="connsiteY21" fmla="*/ 359429 h 370223"/>
                <a:gd name="connsiteX22" fmla="*/ 159205 w 464902"/>
                <a:gd name="connsiteY22" fmla="*/ 359127 h 370223"/>
                <a:gd name="connsiteX23" fmla="*/ 160135 w 464902"/>
                <a:gd name="connsiteY23" fmla="*/ 358381 h 370223"/>
                <a:gd name="connsiteX24" fmla="*/ 160727 w 464902"/>
                <a:gd name="connsiteY24" fmla="*/ 357156 h 370223"/>
                <a:gd name="connsiteX25" fmla="*/ 42397 w 464902"/>
                <a:gd name="connsiteY25" fmla="*/ 154814 h 370223"/>
                <a:gd name="connsiteX26" fmla="*/ 42850 w 464902"/>
                <a:gd name="connsiteY26" fmla="*/ 155837 h 370223"/>
                <a:gd name="connsiteX27" fmla="*/ 43617 w 464902"/>
                <a:gd name="connsiteY27" fmla="*/ 156440 h 370223"/>
                <a:gd name="connsiteX28" fmla="*/ 47128 w 464902"/>
                <a:gd name="connsiteY28" fmla="*/ 157882 h 370223"/>
                <a:gd name="connsiteX29" fmla="*/ 51039 w 464902"/>
                <a:gd name="connsiteY29" fmla="*/ 161025 h 370223"/>
                <a:gd name="connsiteX30" fmla="*/ 51710 w 464902"/>
                <a:gd name="connsiteY30" fmla="*/ 161281 h 370223"/>
                <a:gd name="connsiteX31" fmla="*/ 50536 w 464902"/>
                <a:gd name="connsiteY31" fmla="*/ 162026 h 370223"/>
                <a:gd name="connsiteX32" fmla="*/ 49950 w 464902"/>
                <a:gd name="connsiteY32" fmla="*/ 162026 h 370223"/>
                <a:gd name="connsiteX33" fmla="*/ 48400 w 464902"/>
                <a:gd name="connsiteY33" fmla="*/ 160430 h 370223"/>
                <a:gd name="connsiteX34" fmla="*/ 47489 w 464902"/>
                <a:gd name="connsiteY34" fmla="*/ 159254 h 370223"/>
                <a:gd name="connsiteX35" fmla="*/ 46565 w 464902"/>
                <a:gd name="connsiteY35" fmla="*/ 158465 h 370223"/>
                <a:gd name="connsiteX36" fmla="*/ 42323 w 464902"/>
                <a:gd name="connsiteY36" fmla="*/ 156871 h 370223"/>
                <a:gd name="connsiteX37" fmla="*/ 41749 w 464902"/>
                <a:gd name="connsiteY37" fmla="*/ 155843 h 370223"/>
                <a:gd name="connsiteX38" fmla="*/ 43483 w 464902"/>
                <a:gd name="connsiteY38" fmla="*/ 150873 h 370223"/>
                <a:gd name="connsiteX39" fmla="*/ 43421 w 464902"/>
                <a:gd name="connsiteY39" fmla="*/ 152293 h 370223"/>
                <a:gd name="connsiteX40" fmla="*/ 43768 w 464902"/>
                <a:gd name="connsiteY40" fmla="*/ 153724 h 370223"/>
                <a:gd name="connsiteX41" fmla="*/ 43766 w 464902"/>
                <a:gd name="connsiteY41" fmla="*/ 154245 h 370223"/>
                <a:gd name="connsiteX42" fmla="*/ 43559 w 464902"/>
                <a:gd name="connsiteY42" fmla="*/ 154566 h 370223"/>
                <a:gd name="connsiteX43" fmla="*/ 42626 w 464902"/>
                <a:gd name="connsiteY43" fmla="*/ 153738 h 370223"/>
                <a:gd name="connsiteX44" fmla="*/ 42682 w 464902"/>
                <a:gd name="connsiteY44" fmla="*/ 151910 h 370223"/>
                <a:gd name="connsiteX45" fmla="*/ 100150 w 464902"/>
                <a:gd name="connsiteY45" fmla="*/ 0 h 370223"/>
                <a:gd name="connsiteX46" fmla="*/ 105086 w 464902"/>
                <a:gd name="connsiteY46" fmla="*/ 804 h 370223"/>
                <a:gd name="connsiteX47" fmla="*/ 112504 w 464902"/>
                <a:gd name="connsiteY47" fmla="*/ 2011 h 370223"/>
                <a:gd name="connsiteX48" fmla="*/ 119662 w 464902"/>
                <a:gd name="connsiteY48" fmla="*/ 3176 h 370223"/>
                <a:gd name="connsiteX49" fmla="*/ 127213 w 464902"/>
                <a:gd name="connsiteY49" fmla="*/ 4550 h 370223"/>
                <a:gd name="connsiteX50" fmla="*/ 129636 w 464902"/>
                <a:gd name="connsiteY50" fmla="*/ 5668 h 370223"/>
                <a:gd name="connsiteX51" fmla="*/ 136922 w 464902"/>
                <a:gd name="connsiteY51" fmla="*/ 9780 h 370223"/>
                <a:gd name="connsiteX52" fmla="*/ 141655 w 464902"/>
                <a:gd name="connsiteY52" fmla="*/ 12448 h 370223"/>
                <a:gd name="connsiteX53" fmla="*/ 147183 w 464902"/>
                <a:gd name="connsiteY53" fmla="*/ 15562 h 370223"/>
                <a:gd name="connsiteX54" fmla="*/ 154096 w 464902"/>
                <a:gd name="connsiteY54" fmla="*/ 19452 h 370223"/>
                <a:gd name="connsiteX55" fmla="*/ 158842 w 464902"/>
                <a:gd name="connsiteY55" fmla="*/ 22121 h 370223"/>
                <a:gd name="connsiteX56" fmla="*/ 164916 w 464902"/>
                <a:gd name="connsiteY56" fmla="*/ 25534 h 370223"/>
                <a:gd name="connsiteX57" fmla="*/ 169652 w 464902"/>
                <a:gd name="connsiteY57" fmla="*/ 29430 h 370223"/>
                <a:gd name="connsiteX58" fmla="*/ 175648 w 464902"/>
                <a:gd name="connsiteY58" fmla="*/ 34361 h 370223"/>
                <a:gd name="connsiteX59" fmla="*/ 182237 w 464902"/>
                <a:gd name="connsiteY59" fmla="*/ 39768 h 370223"/>
                <a:gd name="connsiteX60" fmla="*/ 187663 w 464902"/>
                <a:gd name="connsiteY60" fmla="*/ 43966 h 370223"/>
                <a:gd name="connsiteX61" fmla="*/ 195130 w 464902"/>
                <a:gd name="connsiteY61" fmla="*/ 49740 h 370223"/>
                <a:gd name="connsiteX62" fmla="*/ 202491 w 464902"/>
                <a:gd name="connsiteY62" fmla="*/ 55421 h 370223"/>
                <a:gd name="connsiteX63" fmla="*/ 209697 w 464902"/>
                <a:gd name="connsiteY63" fmla="*/ 60976 h 370223"/>
                <a:gd name="connsiteX64" fmla="*/ 215472 w 464902"/>
                <a:gd name="connsiteY64" fmla="*/ 65419 h 370223"/>
                <a:gd name="connsiteX65" fmla="*/ 222770 w 464902"/>
                <a:gd name="connsiteY65" fmla="*/ 71033 h 370223"/>
                <a:gd name="connsiteX66" fmla="*/ 223338 w 464902"/>
                <a:gd name="connsiteY66" fmla="*/ 71244 h 370223"/>
                <a:gd name="connsiteX67" fmla="*/ 230719 w 464902"/>
                <a:gd name="connsiteY67" fmla="*/ 71882 h 370223"/>
                <a:gd name="connsiteX68" fmla="*/ 240639 w 464902"/>
                <a:gd name="connsiteY68" fmla="*/ 72738 h 370223"/>
                <a:gd name="connsiteX69" fmla="*/ 250607 w 464902"/>
                <a:gd name="connsiteY69" fmla="*/ 73597 h 370223"/>
                <a:gd name="connsiteX70" fmla="*/ 259601 w 464902"/>
                <a:gd name="connsiteY70" fmla="*/ 74372 h 370223"/>
                <a:gd name="connsiteX71" fmla="*/ 263470 w 464902"/>
                <a:gd name="connsiteY71" fmla="*/ 73588 h 370223"/>
                <a:gd name="connsiteX72" fmla="*/ 267746 w 464902"/>
                <a:gd name="connsiteY72" fmla="*/ 74109 h 370223"/>
                <a:gd name="connsiteX73" fmla="*/ 273438 w 464902"/>
                <a:gd name="connsiteY73" fmla="*/ 74805 h 370223"/>
                <a:gd name="connsiteX74" fmla="*/ 276900 w 464902"/>
                <a:gd name="connsiteY74" fmla="*/ 75274 h 370223"/>
                <a:gd name="connsiteX75" fmla="*/ 283410 w 464902"/>
                <a:gd name="connsiteY75" fmla="*/ 76155 h 370223"/>
                <a:gd name="connsiteX76" fmla="*/ 285358 w 464902"/>
                <a:gd name="connsiteY76" fmla="*/ 79803 h 370223"/>
                <a:gd name="connsiteX77" fmla="*/ 286064 w 464902"/>
                <a:gd name="connsiteY77" fmla="*/ 82357 h 370223"/>
                <a:gd name="connsiteX78" fmla="*/ 286725 w 464902"/>
                <a:gd name="connsiteY78" fmla="*/ 84844 h 370223"/>
                <a:gd name="connsiteX79" fmla="*/ 288675 w 464902"/>
                <a:gd name="connsiteY79" fmla="*/ 87119 h 370223"/>
                <a:gd name="connsiteX80" fmla="*/ 293112 w 464902"/>
                <a:gd name="connsiteY80" fmla="*/ 87064 h 370223"/>
                <a:gd name="connsiteX81" fmla="*/ 297040 w 464902"/>
                <a:gd name="connsiteY81" fmla="*/ 87015 h 370223"/>
                <a:gd name="connsiteX82" fmla="*/ 301886 w 464902"/>
                <a:gd name="connsiteY82" fmla="*/ 86942 h 370223"/>
                <a:gd name="connsiteX83" fmla="*/ 305727 w 464902"/>
                <a:gd name="connsiteY83" fmla="*/ 86885 h 370223"/>
                <a:gd name="connsiteX84" fmla="*/ 306967 w 464902"/>
                <a:gd name="connsiteY84" fmla="*/ 89141 h 370223"/>
                <a:gd name="connsiteX85" fmla="*/ 307509 w 464902"/>
                <a:gd name="connsiteY85" fmla="*/ 91390 h 370223"/>
                <a:gd name="connsiteX86" fmla="*/ 309793 w 464902"/>
                <a:gd name="connsiteY86" fmla="*/ 96718 h 370223"/>
                <a:gd name="connsiteX87" fmla="*/ 313052 w 464902"/>
                <a:gd name="connsiteY87" fmla="*/ 100869 h 370223"/>
                <a:gd name="connsiteX88" fmla="*/ 313832 w 464902"/>
                <a:gd name="connsiteY88" fmla="*/ 102379 h 370223"/>
                <a:gd name="connsiteX89" fmla="*/ 314359 w 464902"/>
                <a:gd name="connsiteY89" fmla="*/ 104655 h 370223"/>
                <a:gd name="connsiteX90" fmla="*/ 313793 w 464902"/>
                <a:gd name="connsiteY90" fmla="*/ 105500 h 370223"/>
                <a:gd name="connsiteX91" fmla="*/ 313570 w 464902"/>
                <a:gd name="connsiteY91" fmla="*/ 106479 h 370223"/>
                <a:gd name="connsiteX92" fmla="*/ 315987 w 464902"/>
                <a:gd name="connsiteY92" fmla="*/ 108753 h 370223"/>
                <a:gd name="connsiteX93" fmla="*/ 319977 w 464902"/>
                <a:gd name="connsiteY93" fmla="*/ 110673 h 370223"/>
                <a:gd name="connsiteX94" fmla="*/ 321538 w 464902"/>
                <a:gd name="connsiteY94" fmla="*/ 111159 h 370223"/>
                <a:gd name="connsiteX95" fmla="*/ 323307 w 464902"/>
                <a:gd name="connsiteY95" fmla="*/ 112005 h 370223"/>
                <a:gd name="connsiteX96" fmla="*/ 321927 w 464902"/>
                <a:gd name="connsiteY96" fmla="*/ 113319 h 370223"/>
                <a:gd name="connsiteX97" fmla="*/ 324281 w 464902"/>
                <a:gd name="connsiteY97" fmla="*/ 116349 h 370223"/>
                <a:gd name="connsiteX98" fmla="*/ 327017 w 464902"/>
                <a:gd name="connsiteY98" fmla="*/ 119434 h 370223"/>
                <a:gd name="connsiteX99" fmla="*/ 329945 w 464902"/>
                <a:gd name="connsiteY99" fmla="*/ 120129 h 370223"/>
                <a:gd name="connsiteX100" fmla="*/ 333899 w 464902"/>
                <a:gd name="connsiteY100" fmla="*/ 124789 h 370223"/>
                <a:gd name="connsiteX101" fmla="*/ 339861 w 464902"/>
                <a:gd name="connsiteY101" fmla="*/ 127806 h 370223"/>
                <a:gd name="connsiteX102" fmla="*/ 343480 w 464902"/>
                <a:gd name="connsiteY102" fmla="*/ 131755 h 370223"/>
                <a:gd name="connsiteX103" fmla="*/ 343145 w 464902"/>
                <a:gd name="connsiteY103" fmla="*/ 131829 h 370223"/>
                <a:gd name="connsiteX104" fmla="*/ 342083 w 464902"/>
                <a:gd name="connsiteY104" fmla="*/ 131428 h 370223"/>
                <a:gd name="connsiteX105" fmla="*/ 340750 w 464902"/>
                <a:gd name="connsiteY105" fmla="*/ 130886 h 370223"/>
                <a:gd name="connsiteX106" fmla="*/ 340347 w 464902"/>
                <a:gd name="connsiteY106" fmla="*/ 131378 h 370223"/>
                <a:gd name="connsiteX107" fmla="*/ 340418 w 464902"/>
                <a:gd name="connsiteY107" fmla="*/ 133033 h 370223"/>
                <a:gd name="connsiteX108" fmla="*/ 340772 w 464902"/>
                <a:gd name="connsiteY108" fmla="*/ 134977 h 370223"/>
                <a:gd name="connsiteX109" fmla="*/ 342616 w 464902"/>
                <a:gd name="connsiteY109" fmla="*/ 136659 h 370223"/>
                <a:gd name="connsiteX110" fmla="*/ 344257 w 464902"/>
                <a:gd name="connsiteY110" fmla="*/ 137868 h 370223"/>
                <a:gd name="connsiteX111" fmla="*/ 344897 w 464902"/>
                <a:gd name="connsiteY111" fmla="*/ 140154 h 370223"/>
                <a:gd name="connsiteX112" fmla="*/ 343605 w 464902"/>
                <a:gd name="connsiteY112" fmla="*/ 145078 h 370223"/>
                <a:gd name="connsiteX113" fmla="*/ 343158 w 464902"/>
                <a:gd name="connsiteY113" fmla="*/ 145075 h 370223"/>
                <a:gd name="connsiteX114" fmla="*/ 342290 w 464902"/>
                <a:gd name="connsiteY114" fmla="*/ 144648 h 370223"/>
                <a:gd name="connsiteX115" fmla="*/ 341359 w 464902"/>
                <a:gd name="connsiteY115" fmla="*/ 144550 h 370223"/>
                <a:gd name="connsiteX116" fmla="*/ 340867 w 464902"/>
                <a:gd name="connsiteY116" fmla="*/ 144831 h 370223"/>
                <a:gd name="connsiteX117" fmla="*/ 341960 w 464902"/>
                <a:gd name="connsiteY117" fmla="*/ 148370 h 370223"/>
                <a:gd name="connsiteX118" fmla="*/ 343048 w 464902"/>
                <a:gd name="connsiteY118" fmla="*/ 151083 h 370223"/>
                <a:gd name="connsiteX119" fmla="*/ 344361 w 464902"/>
                <a:gd name="connsiteY119" fmla="*/ 153229 h 370223"/>
                <a:gd name="connsiteX120" fmla="*/ 345451 w 464902"/>
                <a:gd name="connsiteY120" fmla="*/ 156369 h 370223"/>
                <a:gd name="connsiteX121" fmla="*/ 346387 w 464902"/>
                <a:gd name="connsiteY121" fmla="*/ 157708 h 370223"/>
                <a:gd name="connsiteX122" fmla="*/ 350232 w 464902"/>
                <a:gd name="connsiteY122" fmla="*/ 161042 h 370223"/>
                <a:gd name="connsiteX123" fmla="*/ 351411 w 464902"/>
                <a:gd name="connsiteY123" fmla="*/ 163826 h 370223"/>
                <a:gd name="connsiteX124" fmla="*/ 352504 w 464902"/>
                <a:gd name="connsiteY124" fmla="*/ 169009 h 370223"/>
                <a:gd name="connsiteX125" fmla="*/ 354914 w 464902"/>
                <a:gd name="connsiteY125" fmla="*/ 171900 h 370223"/>
                <a:gd name="connsiteX126" fmla="*/ 356212 w 464902"/>
                <a:gd name="connsiteY126" fmla="*/ 174121 h 370223"/>
                <a:gd name="connsiteX127" fmla="*/ 357954 w 464902"/>
                <a:gd name="connsiteY127" fmla="*/ 176005 h 370223"/>
                <a:gd name="connsiteX128" fmla="*/ 359088 w 464902"/>
                <a:gd name="connsiteY128" fmla="*/ 178581 h 370223"/>
                <a:gd name="connsiteX129" fmla="*/ 360695 w 464902"/>
                <a:gd name="connsiteY129" fmla="*/ 180566 h 370223"/>
                <a:gd name="connsiteX130" fmla="*/ 361528 w 464902"/>
                <a:gd name="connsiteY130" fmla="*/ 181064 h 370223"/>
                <a:gd name="connsiteX131" fmla="*/ 362783 w 464902"/>
                <a:gd name="connsiteY131" fmla="*/ 181268 h 370223"/>
                <a:gd name="connsiteX132" fmla="*/ 364344 w 464902"/>
                <a:gd name="connsiteY132" fmla="*/ 181282 h 370223"/>
                <a:gd name="connsiteX133" fmla="*/ 366216 w 464902"/>
                <a:gd name="connsiteY133" fmla="*/ 180764 h 370223"/>
                <a:gd name="connsiteX134" fmla="*/ 368205 w 464902"/>
                <a:gd name="connsiteY134" fmla="*/ 180282 h 370223"/>
                <a:gd name="connsiteX135" fmla="*/ 369764 w 464902"/>
                <a:gd name="connsiteY135" fmla="*/ 181289 h 370223"/>
                <a:gd name="connsiteX136" fmla="*/ 371373 w 464902"/>
                <a:gd name="connsiteY136" fmla="*/ 181137 h 370223"/>
                <a:gd name="connsiteX137" fmla="*/ 371530 w 464902"/>
                <a:gd name="connsiteY137" fmla="*/ 182073 h 370223"/>
                <a:gd name="connsiteX138" fmla="*/ 370460 w 464902"/>
                <a:gd name="connsiteY138" fmla="*/ 183341 h 370223"/>
                <a:gd name="connsiteX139" fmla="*/ 369131 w 464902"/>
                <a:gd name="connsiteY139" fmla="*/ 186545 h 370223"/>
                <a:gd name="connsiteX140" fmla="*/ 371019 w 464902"/>
                <a:gd name="connsiteY140" fmla="*/ 187050 h 370223"/>
                <a:gd name="connsiteX141" fmla="*/ 372822 w 464902"/>
                <a:gd name="connsiteY141" fmla="*/ 187299 h 370223"/>
                <a:gd name="connsiteX142" fmla="*/ 374105 w 464902"/>
                <a:gd name="connsiteY142" fmla="*/ 187812 h 370223"/>
                <a:gd name="connsiteX143" fmla="*/ 374847 w 464902"/>
                <a:gd name="connsiteY143" fmla="*/ 187816 h 370223"/>
                <a:gd name="connsiteX144" fmla="*/ 374847 w 464902"/>
                <a:gd name="connsiteY144" fmla="*/ 188478 h 370223"/>
                <a:gd name="connsiteX145" fmla="*/ 374931 w 464902"/>
                <a:gd name="connsiteY145" fmla="*/ 191516 h 370223"/>
                <a:gd name="connsiteX146" fmla="*/ 375383 w 464902"/>
                <a:gd name="connsiteY146" fmla="*/ 192674 h 370223"/>
                <a:gd name="connsiteX147" fmla="*/ 376195 w 464902"/>
                <a:gd name="connsiteY147" fmla="*/ 193701 h 370223"/>
                <a:gd name="connsiteX148" fmla="*/ 377413 w 464902"/>
                <a:gd name="connsiteY148" fmla="*/ 195234 h 370223"/>
                <a:gd name="connsiteX149" fmla="*/ 378628 w 464902"/>
                <a:gd name="connsiteY149" fmla="*/ 196768 h 370223"/>
                <a:gd name="connsiteX150" fmla="*/ 379844 w 464902"/>
                <a:gd name="connsiteY150" fmla="*/ 198302 h 370223"/>
                <a:gd name="connsiteX151" fmla="*/ 381062 w 464902"/>
                <a:gd name="connsiteY151" fmla="*/ 199833 h 370223"/>
                <a:gd name="connsiteX152" fmla="*/ 382278 w 464902"/>
                <a:gd name="connsiteY152" fmla="*/ 201365 h 370223"/>
                <a:gd name="connsiteX153" fmla="*/ 383496 w 464902"/>
                <a:gd name="connsiteY153" fmla="*/ 202896 h 370223"/>
                <a:gd name="connsiteX154" fmla="*/ 384711 w 464902"/>
                <a:gd name="connsiteY154" fmla="*/ 204428 h 370223"/>
                <a:gd name="connsiteX155" fmla="*/ 385927 w 464902"/>
                <a:gd name="connsiteY155" fmla="*/ 205957 h 370223"/>
                <a:gd name="connsiteX156" fmla="*/ 387145 w 464902"/>
                <a:gd name="connsiteY156" fmla="*/ 207488 h 370223"/>
                <a:gd name="connsiteX157" fmla="*/ 388361 w 464902"/>
                <a:gd name="connsiteY157" fmla="*/ 209017 h 370223"/>
                <a:gd name="connsiteX158" fmla="*/ 389579 w 464902"/>
                <a:gd name="connsiteY158" fmla="*/ 210546 h 370223"/>
                <a:gd name="connsiteX159" fmla="*/ 390794 w 464902"/>
                <a:gd name="connsiteY159" fmla="*/ 212074 h 370223"/>
                <a:gd name="connsiteX160" fmla="*/ 392010 w 464902"/>
                <a:gd name="connsiteY160" fmla="*/ 213602 h 370223"/>
                <a:gd name="connsiteX161" fmla="*/ 393228 w 464902"/>
                <a:gd name="connsiteY161" fmla="*/ 215130 h 370223"/>
                <a:gd name="connsiteX162" fmla="*/ 394444 w 464902"/>
                <a:gd name="connsiteY162" fmla="*/ 216658 h 370223"/>
                <a:gd name="connsiteX163" fmla="*/ 395660 w 464902"/>
                <a:gd name="connsiteY163" fmla="*/ 218183 h 370223"/>
                <a:gd name="connsiteX164" fmla="*/ 396666 w 464902"/>
                <a:gd name="connsiteY164" fmla="*/ 219445 h 370223"/>
                <a:gd name="connsiteX165" fmla="*/ 398525 w 464902"/>
                <a:gd name="connsiteY165" fmla="*/ 219685 h 370223"/>
                <a:gd name="connsiteX166" fmla="*/ 399117 w 464902"/>
                <a:gd name="connsiteY166" fmla="*/ 219760 h 370223"/>
                <a:gd name="connsiteX167" fmla="*/ 400790 w 464902"/>
                <a:gd name="connsiteY167" fmla="*/ 219976 h 370223"/>
                <a:gd name="connsiteX168" fmla="*/ 403392 w 464902"/>
                <a:gd name="connsiteY168" fmla="*/ 220312 h 370223"/>
                <a:gd name="connsiteX169" fmla="*/ 406767 w 464902"/>
                <a:gd name="connsiteY169" fmla="*/ 220745 h 370223"/>
                <a:gd name="connsiteX170" fmla="*/ 410758 w 464902"/>
                <a:gd name="connsiteY170" fmla="*/ 221259 h 370223"/>
                <a:gd name="connsiteX171" fmla="*/ 415217 w 464902"/>
                <a:gd name="connsiteY171" fmla="*/ 221832 h 370223"/>
                <a:gd name="connsiteX172" fmla="*/ 419983 w 464902"/>
                <a:gd name="connsiteY172" fmla="*/ 222445 h 370223"/>
                <a:gd name="connsiteX173" fmla="*/ 424904 w 464902"/>
                <a:gd name="connsiteY173" fmla="*/ 223078 h 370223"/>
                <a:gd name="connsiteX174" fmla="*/ 429823 w 464902"/>
                <a:gd name="connsiteY174" fmla="*/ 223710 h 370223"/>
                <a:gd name="connsiteX175" fmla="*/ 434589 w 464902"/>
                <a:gd name="connsiteY175" fmla="*/ 224323 h 370223"/>
                <a:gd name="connsiteX176" fmla="*/ 439046 w 464902"/>
                <a:gd name="connsiteY176" fmla="*/ 224895 h 370223"/>
                <a:gd name="connsiteX177" fmla="*/ 443038 w 464902"/>
                <a:gd name="connsiteY177" fmla="*/ 225409 h 370223"/>
                <a:gd name="connsiteX178" fmla="*/ 446413 w 464902"/>
                <a:gd name="connsiteY178" fmla="*/ 225843 h 370223"/>
                <a:gd name="connsiteX179" fmla="*/ 449014 w 464902"/>
                <a:gd name="connsiteY179" fmla="*/ 226177 h 370223"/>
                <a:gd name="connsiteX180" fmla="*/ 450689 w 464902"/>
                <a:gd name="connsiteY180" fmla="*/ 226393 h 370223"/>
                <a:gd name="connsiteX181" fmla="*/ 451281 w 464902"/>
                <a:gd name="connsiteY181" fmla="*/ 226468 h 370223"/>
                <a:gd name="connsiteX182" fmla="*/ 453034 w 464902"/>
                <a:gd name="connsiteY182" fmla="*/ 226693 h 370223"/>
                <a:gd name="connsiteX183" fmla="*/ 453369 w 464902"/>
                <a:gd name="connsiteY183" fmla="*/ 226636 h 370223"/>
                <a:gd name="connsiteX184" fmla="*/ 454837 w 464902"/>
                <a:gd name="connsiteY184" fmla="*/ 224770 h 370223"/>
                <a:gd name="connsiteX185" fmla="*/ 456461 w 464902"/>
                <a:gd name="connsiteY185" fmla="*/ 227404 h 370223"/>
                <a:gd name="connsiteX186" fmla="*/ 457807 w 464902"/>
                <a:gd name="connsiteY186" fmla="*/ 229589 h 370223"/>
                <a:gd name="connsiteX187" fmla="*/ 459657 w 464902"/>
                <a:gd name="connsiteY187" fmla="*/ 232590 h 370223"/>
                <a:gd name="connsiteX188" fmla="*/ 461624 w 464902"/>
                <a:gd name="connsiteY188" fmla="*/ 235776 h 370223"/>
                <a:gd name="connsiteX189" fmla="*/ 463503 w 464902"/>
                <a:gd name="connsiteY189" fmla="*/ 238821 h 370223"/>
                <a:gd name="connsiteX190" fmla="*/ 464902 w 464902"/>
                <a:gd name="connsiteY190" fmla="*/ 241087 h 370223"/>
                <a:gd name="connsiteX191" fmla="*/ 464160 w 464902"/>
                <a:gd name="connsiteY191" fmla="*/ 243440 h 370223"/>
                <a:gd name="connsiteX192" fmla="*/ 463350 w 464902"/>
                <a:gd name="connsiteY192" fmla="*/ 246006 h 370223"/>
                <a:gd name="connsiteX193" fmla="*/ 462540 w 464902"/>
                <a:gd name="connsiteY193" fmla="*/ 248571 h 370223"/>
                <a:gd name="connsiteX194" fmla="*/ 461730 w 464902"/>
                <a:gd name="connsiteY194" fmla="*/ 251135 h 370223"/>
                <a:gd name="connsiteX195" fmla="*/ 460920 w 464902"/>
                <a:gd name="connsiteY195" fmla="*/ 253697 h 370223"/>
                <a:gd name="connsiteX196" fmla="*/ 460111 w 464902"/>
                <a:gd name="connsiteY196" fmla="*/ 256258 h 370223"/>
                <a:gd name="connsiteX197" fmla="*/ 459301 w 464902"/>
                <a:gd name="connsiteY197" fmla="*/ 258818 h 370223"/>
                <a:gd name="connsiteX198" fmla="*/ 458491 w 464902"/>
                <a:gd name="connsiteY198" fmla="*/ 261377 h 370223"/>
                <a:gd name="connsiteX199" fmla="*/ 457681 w 464902"/>
                <a:gd name="connsiteY199" fmla="*/ 263936 h 370223"/>
                <a:gd name="connsiteX200" fmla="*/ 456874 w 464902"/>
                <a:gd name="connsiteY200" fmla="*/ 266492 h 370223"/>
                <a:gd name="connsiteX201" fmla="*/ 456062 w 464902"/>
                <a:gd name="connsiteY201" fmla="*/ 269047 h 370223"/>
                <a:gd name="connsiteX202" fmla="*/ 455252 w 464902"/>
                <a:gd name="connsiteY202" fmla="*/ 271601 h 370223"/>
                <a:gd name="connsiteX203" fmla="*/ 454444 w 464902"/>
                <a:gd name="connsiteY203" fmla="*/ 274154 h 370223"/>
                <a:gd name="connsiteX204" fmla="*/ 453635 w 464902"/>
                <a:gd name="connsiteY204" fmla="*/ 276705 h 370223"/>
                <a:gd name="connsiteX205" fmla="*/ 452823 w 464902"/>
                <a:gd name="connsiteY205" fmla="*/ 279256 h 370223"/>
                <a:gd name="connsiteX206" fmla="*/ 452015 w 464902"/>
                <a:gd name="connsiteY206" fmla="*/ 281806 h 370223"/>
                <a:gd name="connsiteX207" fmla="*/ 451203 w 464902"/>
                <a:gd name="connsiteY207" fmla="*/ 284354 h 370223"/>
                <a:gd name="connsiteX208" fmla="*/ 450227 w 464902"/>
                <a:gd name="connsiteY208" fmla="*/ 287421 h 370223"/>
                <a:gd name="connsiteX209" fmla="*/ 447878 w 464902"/>
                <a:gd name="connsiteY209" fmla="*/ 288236 h 370223"/>
                <a:gd name="connsiteX210" fmla="*/ 444073 w 464902"/>
                <a:gd name="connsiteY210" fmla="*/ 289555 h 370223"/>
                <a:gd name="connsiteX211" fmla="*/ 440270 w 464902"/>
                <a:gd name="connsiteY211" fmla="*/ 290874 h 370223"/>
                <a:gd name="connsiteX212" fmla="*/ 436465 w 464902"/>
                <a:gd name="connsiteY212" fmla="*/ 292191 h 370223"/>
                <a:gd name="connsiteX213" fmla="*/ 432663 w 464902"/>
                <a:gd name="connsiteY213" fmla="*/ 293509 h 370223"/>
                <a:gd name="connsiteX214" fmla="*/ 428858 w 464902"/>
                <a:gd name="connsiteY214" fmla="*/ 294826 h 370223"/>
                <a:gd name="connsiteX215" fmla="*/ 425053 w 464902"/>
                <a:gd name="connsiteY215" fmla="*/ 296143 h 370223"/>
                <a:gd name="connsiteX216" fmla="*/ 421250 w 464902"/>
                <a:gd name="connsiteY216" fmla="*/ 297460 h 370223"/>
                <a:gd name="connsiteX217" fmla="*/ 417445 w 464902"/>
                <a:gd name="connsiteY217" fmla="*/ 298776 h 370223"/>
                <a:gd name="connsiteX218" fmla="*/ 413643 w 464902"/>
                <a:gd name="connsiteY218" fmla="*/ 300092 h 370223"/>
                <a:gd name="connsiteX219" fmla="*/ 409838 w 464902"/>
                <a:gd name="connsiteY219" fmla="*/ 301408 h 370223"/>
                <a:gd name="connsiteX220" fmla="*/ 406033 w 464902"/>
                <a:gd name="connsiteY220" fmla="*/ 302724 h 370223"/>
                <a:gd name="connsiteX221" fmla="*/ 402230 w 464902"/>
                <a:gd name="connsiteY221" fmla="*/ 304039 h 370223"/>
                <a:gd name="connsiteX222" fmla="*/ 398426 w 464902"/>
                <a:gd name="connsiteY222" fmla="*/ 305354 h 370223"/>
                <a:gd name="connsiteX223" fmla="*/ 394623 w 464902"/>
                <a:gd name="connsiteY223" fmla="*/ 306668 h 370223"/>
                <a:gd name="connsiteX224" fmla="*/ 390818 w 464902"/>
                <a:gd name="connsiteY224" fmla="*/ 307983 h 370223"/>
                <a:gd name="connsiteX225" fmla="*/ 387013 w 464902"/>
                <a:gd name="connsiteY225" fmla="*/ 309296 h 370223"/>
                <a:gd name="connsiteX226" fmla="*/ 383897 w 464902"/>
                <a:gd name="connsiteY226" fmla="*/ 310374 h 370223"/>
                <a:gd name="connsiteX227" fmla="*/ 378708 w 464902"/>
                <a:gd name="connsiteY227" fmla="*/ 311098 h 370223"/>
                <a:gd name="connsiteX228" fmla="*/ 373666 w 464902"/>
                <a:gd name="connsiteY228" fmla="*/ 311800 h 370223"/>
                <a:gd name="connsiteX229" fmla="*/ 367993 w 464902"/>
                <a:gd name="connsiteY229" fmla="*/ 312591 h 370223"/>
                <a:gd name="connsiteX230" fmla="*/ 361174 w 464902"/>
                <a:gd name="connsiteY230" fmla="*/ 313542 h 370223"/>
                <a:gd name="connsiteX231" fmla="*/ 355827 w 464902"/>
                <a:gd name="connsiteY231" fmla="*/ 314287 h 370223"/>
                <a:gd name="connsiteX232" fmla="*/ 348023 w 464902"/>
                <a:gd name="connsiteY232" fmla="*/ 315375 h 370223"/>
                <a:gd name="connsiteX233" fmla="*/ 341029 w 464902"/>
                <a:gd name="connsiteY233" fmla="*/ 316349 h 370223"/>
                <a:gd name="connsiteX234" fmla="*/ 334464 w 464902"/>
                <a:gd name="connsiteY234" fmla="*/ 317263 h 370223"/>
                <a:gd name="connsiteX235" fmla="*/ 327898 w 464902"/>
                <a:gd name="connsiteY235" fmla="*/ 318178 h 370223"/>
                <a:gd name="connsiteX236" fmla="*/ 322309 w 464902"/>
                <a:gd name="connsiteY236" fmla="*/ 318956 h 370223"/>
                <a:gd name="connsiteX237" fmla="*/ 318984 w 464902"/>
                <a:gd name="connsiteY237" fmla="*/ 319861 h 370223"/>
                <a:gd name="connsiteX238" fmla="*/ 315067 w 464902"/>
                <a:gd name="connsiteY238" fmla="*/ 321841 h 370223"/>
                <a:gd name="connsiteX239" fmla="*/ 309055 w 464902"/>
                <a:gd name="connsiteY239" fmla="*/ 324878 h 370223"/>
                <a:gd name="connsiteX240" fmla="*/ 302927 w 464902"/>
                <a:gd name="connsiteY240" fmla="*/ 327971 h 370223"/>
                <a:gd name="connsiteX241" fmla="*/ 299750 w 464902"/>
                <a:gd name="connsiteY241" fmla="*/ 329573 h 370223"/>
                <a:gd name="connsiteX242" fmla="*/ 296423 w 464902"/>
                <a:gd name="connsiteY242" fmla="*/ 333683 h 370223"/>
                <a:gd name="connsiteX243" fmla="*/ 294738 w 464902"/>
                <a:gd name="connsiteY243" fmla="*/ 335762 h 370223"/>
                <a:gd name="connsiteX244" fmla="*/ 291693 w 464902"/>
                <a:gd name="connsiteY244" fmla="*/ 339521 h 370223"/>
                <a:gd name="connsiteX245" fmla="*/ 289392 w 464902"/>
                <a:gd name="connsiteY245" fmla="*/ 342354 h 370223"/>
                <a:gd name="connsiteX246" fmla="*/ 286647 w 464902"/>
                <a:gd name="connsiteY246" fmla="*/ 345738 h 370223"/>
                <a:gd name="connsiteX247" fmla="*/ 285449 w 464902"/>
                <a:gd name="connsiteY247" fmla="*/ 348751 h 370223"/>
                <a:gd name="connsiteX248" fmla="*/ 283600 w 464902"/>
                <a:gd name="connsiteY248" fmla="*/ 353400 h 370223"/>
                <a:gd name="connsiteX249" fmla="*/ 282004 w 464902"/>
                <a:gd name="connsiteY249" fmla="*/ 354572 h 370223"/>
                <a:gd name="connsiteX250" fmla="*/ 279387 w 464902"/>
                <a:gd name="connsiteY250" fmla="*/ 356084 h 370223"/>
                <a:gd name="connsiteX251" fmla="*/ 277006 w 464902"/>
                <a:gd name="connsiteY251" fmla="*/ 357159 h 370223"/>
                <a:gd name="connsiteX252" fmla="*/ 273293 w 464902"/>
                <a:gd name="connsiteY252" fmla="*/ 357004 h 370223"/>
                <a:gd name="connsiteX253" fmla="*/ 271177 w 464902"/>
                <a:gd name="connsiteY253" fmla="*/ 354148 h 370223"/>
                <a:gd name="connsiteX254" fmla="*/ 268934 w 464902"/>
                <a:gd name="connsiteY254" fmla="*/ 351119 h 370223"/>
                <a:gd name="connsiteX255" fmla="*/ 267809 w 464902"/>
                <a:gd name="connsiteY255" fmla="*/ 349901 h 370223"/>
                <a:gd name="connsiteX256" fmla="*/ 266800 w 464902"/>
                <a:gd name="connsiteY256" fmla="*/ 349834 h 370223"/>
                <a:gd name="connsiteX257" fmla="*/ 263073 w 464902"/>
                <a:gd name="connsiteY257" fmla="*/ 350218 h 370223"/>
                <a:gd name="connsiteX258" fmla="*/ 258581 w 464902"/>
                <a:gd name="connsiteY258" fmla="*/ 350682 h 370223"/>
                <a:gd name="connsiteX259" fmla="*/ 253284 w 464902"/>
                <a:gd name="connsiteY259" fmla="*/ 350184 h 370223"/>
                <a:gd name="connsiteX260" fmla="*/ 247174 w 464902"/>
                <a:gd name="connsiteY260" fmla="*/ 349609 h 370223"/>
                <a:gd name="connsiteX261" fmla="*/ 241445 w 464902"/>
                <a:gd name="connsiteY261" fmla="*/ 349071 h 370223"/>
                <a:gd name="connsiteX262" fmla="*/ 238597 w 464902"/>
                <a:gd name="connsiteY262" fmla="*/ 348667 h 370223"/>
                <a:gd name="connsiteX263" fmla="*/ 234839 w 464902"/>
                <a:gd name="connsiteY263" fmla="*/ 346698 h 370223"/>
                <a:gd name="connsiteX264" fmla="*/ 233869 w 464902"/>
                <a:gd name="connsiteY264" fmla="*/ 346307 h 370223"/>
                <a:gd name="connsiteX265" fmla="*/ 232881 w 464902"/>
                <a:gd name="connsiteY265" fmla="*/ 346214 h 370223"/>
                <a:gd name="connsiteX266" fmla="*/ 228424 w 464902"/>
                <a:gd name="connsiteY266" fmla="*/ 346166 h 370223"/>
                <a:gd name="connsiteX267" fmla="*/ 224008 w 464902"/>
                <a:gd name="connsiteY267" fmla="*/ 346118 h 370223"/>
                <a:gd name="connsiteX268" fmla="*/ 219579 w 464902"/>
                <a:gd name="connsiteY268" fmla="*/ 346741 h 370223"/>
                <a:gd name="connsiteX269" fmla="*/ 215338 w 464902"/>
                <a:gd name="connsiteY269" fmla="*/ 346513 h 370223"/>
                <a:gd name="connsiteX270" fmla="*/ 210943 w 464902"/>
                <a:gd name="connsiteY270" fmla="*/ 346873 h 370223"/>
                <a:gd name="connsiteX271" fmla="*/ 209395 w 464902"/>
                <a:gd name="connsiteY271" fmla="*/ 347625 h 370223"/>
                <a:gd name="connsiteX272" fmla="*/ 207676 w 464902"/>
                <a:gd name="connsiteY272" fmla="*/ 347581 h 370223"/>
                <a:gd name="connsiteX273" fmla="*/ 206603 w 464902"/>
                <a:gd name="connsiteY273" fmla="*/ 348245 h 370223"/>
                <a:gd name="connsiteX274" fmla="*/ 205659 w 464902"/>
                <a:gd name="connsiteY274" fmla="*/ 348555 h 370223"/>
                <a:gd name="connsiteX275" fmla="*/ 204541 w 464902"/>
                <a:gd name="connsiteY275" fmla="*/ 347988 h 370223"/>
                <a:gd name="connsiteX276" fmla="*/ 203167 w 464902"/>
                <a:gd name="connsiteY276" fmla="*/ 348112 h 370223"/>
                <a:gd name="connsiteX277" fmla="*/ 201149 w 464902"/>
                <a:gd name="connsiteY277" fmla="*/ 347625 h 370223"/>
                <a:gd name="connsiteX278" fmla="*/ 199831 w 464902"/>
                <a:gd name="connsiteY278" fmla="*/ 346342 h 370223"/>
                <a:gd name="connsiteX279" fmla="*/ 198590 w 464902"/>
                <a:gd name="connsiteY279" fmla="*/ 345212 h 370223"/>
                <a:gd name="connsiteX280" fmla="*/ 197307 w 464902"/>
                <a:gd name="connsiteY280" fmla="*/ 344590 h 370223"/>
                <a:gd name="connsiteX281" fmla="*/ 195869 w 464902"/>
                <a:gd name="connsiteY281" fmla="*/ 344199 h 370223"/>
                <a:gd name="connsiteX282" fmla="*/ 194625 w 464902"/>
                <a:gd name="connsiteY282" fmla="*/ 344190 h 370223"/>
                <a:gd name="connsiteX283" fmla="*/ 193035 w 464902"/>
                <a:gd name="connsiteY283" fmla="*/ 344880 h 370223"/>
                <a:gd name="connsiteX284" fmla="*/ 192064 w 464902"/>
                <a:gd name="connsiteY284" fmla="*/ 345546 h 370223"/>
                <a:gd name="connsiteX285" fmla="*/ 189604 w 464902"/>
                <a:gd name="connsiteY285" fmla="*/ 347765 h 370223"/>
                <a:gd name="connsiteX286" fmla="*/ 189503 w 464902"/>
                <a:gd name="connsiteY286" fmla="*/ 348555 h 370223"/>
                <a:gd name="connsiteX287" fmla="*/ 190621 w 464902"/>
                <a:gd name="connsiteY287" fmla="*/ 349881 h 370223"/>
                <a:gd name="connsiteX288" fmla="*/ 190278 w 464902"/>
                <a:gd name="connsiteY288" fmla="*/ 350501 h 370223"/>
                <a:gd name="connsiteX289" fmla="*/ 188831 w 464902"/>
                <a:gd name="connsiteY289" fmla="*/ 351280 h 370223"/>
                <a:gd name="connsiteX290" fmla="*/ 188388 w 464902"/>
                <a:gd name="connsiteY290" fmla="*/ 353375 h 370223"/>
                <a:gd name="connsiteX291" fmla="*/ 188173 w 464902"/>
                <a:gd name="connsiteY291" fmla="*/ 354525 h 370223"/>
                <a:gd name="connsiteX292" fmla="*/ 187959 w 464902"/>
                <a:gd name="connsiteY292" fmla="*/ 357266 h 370223"/>
                <a:gd name="connsiteX293" fmla="*/ 188602 w 464902"/>
                <a:gd name="connsiteY293" fmla="*/ 359431 h 370223"/>
                <a:gd name="connsiteX294" fmla="*/ 189462 w 464902"/>
                <a:gd name="connsiteY294" fmla="*/ 360226 h 370223"/>
                <a:gd name="connsiteX295" fmla="*/ 189503 w 464902"/>
                <a:gd name="connsiteY295" fmla="*/ 361154 h 370223"/>
                <a:gd name="connsiteX296" fmla="*/ 189032 w 464902"/>
                <a:gd name="connsiteY296" fmla="*/ 363008 h 370223"/>
                <a:gd name="connsiteX297" fmla="*/ 187700 w 464902"/>
                <a:gd name="connsiteY297" fmla="*/ 363582 h 370223"/>
                <a:gd name="connsiteX298" fmla="*/ 186726 w 464902"/>
                <a:gd name="connsiteY298" fmla="*/ 365344 h 370223"/>
                <a:gd name="connsiteX299" fmla="*/ 186125 w 464902"/>
                <a:gd name="connsiteY299" fmla="*/ 366167 h 370223"/>
                <a:gd name="connsiteX300" fmla="*/ 185081 w 464902"/>
                <a:gd name="connsiteY300" fmla="*/ 367105 h 370223"/>
                <a:gd name="connsiteX301" fmla="*/ 180945 w 464902"/>
                <a:gd name="connsiteY301" fmla="*/ 370223 h 370223"/>
                <a:gd name="connsiteX302" fmla="*/ 180736 w 464902"/>
                <a:gd name="connsiteY302" fmla="*/ 368411 h 370223"/>
                <a:gd name="connsiteX303" fmla="*/ 179427 w 464902"/>
                <a:gd name="connsiteY303" fmla="*/ 365725 h 370223"/>
                <a:gd name="connsiteX304" fmla="*/ 179332 w 464902"/>
                <a:gd name="connsiteY304" fmla="*/ 363828 h 370223"/>
                <a:gd name="connsiteX305" fmla="*/ 178723 w 464902"/>
                <a:gd name="connsiteY305" fmla="*/ 361927 h 370223"/>
                <a:gd name="connsiteX306" fmla="*/ 177588 w 464902"/>
                <a:gd name="connsiteY306" fmla="*/ 360464 h 370223"/>
                <a:gd name="connsiteX307" fmla="*/ 175497 w 464902"/>
                <a:gd name="connsiteY307" fmla="*/ 358938 h 370223"/>
                <a:gd name="connsiteX308" fmla="*/ 175303 w 464902"/>
                <a:gd name="connsiteY308" fmla="*/ 356863 h 370223"/>
                <a:gd name="connsiteX309" fmla="*/ 173774 w 464902"/>
                <a:gd name="connsiteY309" fmla="*/ 354812 h 370223"/>
                <a:gd name="connsiteX310" fmla="*/ 171746 w 464902"/>
                <a:gd name="connsiteY310" fmla="*/ 353159 h 370223"/>
                <a:gd name="connsiteX311" fmla="*/ 170621 w 464902"/>
                <a:gd name="connsiteY311" fmla="*/ 350105 h 370223"/>
                <a:gd name="connsiteX312" fmla="*/ 169770 w 464902"/>
                <a:gd name="connsiteY312" fmla="*/ 346043 h 370223"/>
                <a:gd name="connsiteX313" fmla="*/ 164426 w 464902"/>
                <a:gd name="connsiteY313" fmla="*/ 340701 h 370223"/>
                <a:gd name="connsiteX314" fmla="*/ 157743 w 464902"/>
                <a:gd name="connsiteY314" fmla="*/ 335765 h 370223"/>
                <a:gd name="connsiteX315" fmla="*/ 155709 w 464902"/>
                <a:gd name="connsiteY315" fmla="*/ 332982 h 370223"/>
                <a:gd name="connsiteX316" fmla="*/ 152383 w 464902"/>
                <a:gd name="connsiteY316" fmla="*/ 327307 h 370223"/>
                <a:gd name="connsiteX317" fmla="*/ 150705 w 464902"/>
                <a:gd name="connsiteY317" fmla="*/ 322819 h 370223"/>
                <a:gd name="connsiteX318" fmla="*/ 146233 w 464902"/>
                <a:gd name="connsiteY318" fmla="*/ 317650 h 370223"/>
                <a:gd name="connsiteX319" fmla="*/ 146041 w 464902"/>
                <a:gd name="connsiteY319" fmla="*/ 315662 h 370223"/>
                <a:gd name="connsiteX320" fmla="*/ 145378 w 464902"/>
                <a:gd name="connsiteY320" fmla="*/ 313236 h 370223"/>
                <a:gd name="connsiteX321" fmla="*/ 144346 w 464902"/>
                <a:gd name="connsiteY321" fmla="*/ 310536 h 370223"/>
                <a:gd name="connsiteX322" fmla="*/ 143724 w 464902"/>
                <a:gd name="connsiteY322" fmla="*/ 308402 h 370223"/>
                <a:gd name="connsiteX323" fmla="*/ 139241 w 464902"/>
                <a:gd name="connsiteY323" fmla="*/ 299044 h 370223"/>
                <a:gd name="connsiteX324" fmla="*/ 137794 w 464902"/>
                <a:gd name="connsiteY324" fmla="*/ 297549 h 370223"/>
                <a:gd name="connsiteX325" fmla="*/ 136551 w 464902"/>
                <a:gd name="connsiteY325" fmla="*/ 295456 h 370223"/>
                <a:gd name="connsiteX326" fmla="*/ 136228 w 464902"/>
                <a:gd name="connsiteY326" fmla="*/ 293836 h 370223"/>
                <a:gd name="connsiteX327" fmla="*/ 135834 w 464902"/>
                <a:gd name="connsiteY327" fmla="*/ 292950 h 370223"/>
                <a:gd name="connsiteX328" fmla="*/ 132666 w 464902"/>
                <a:gd name="connsiteY328" fmla="*/ 291412 h 370223"/>
                <a:gd name="connsiteX329" fmla="*/ 129709 w 464902"/>
                <a:gd name="connsiteY329" fmla="*/ 287478 h 370223"/>
                <a:gd name="connsiteX330" fmla="*/ 120830 w 464902"/>
                <a:gd name="connsiteY330" fmla="*/ 281207 h 370223"/>
                <a:gd name="connsiteX331" fmla="*/ 116483 w 464902"/>
                <a:gd name="connsiteY331" fmla="*/ 280584 h 370223"/>
                <a:gd name="connsiteX332" fmla="*/ 113039 w 464902"/>
                <a:gd name="connsiteY332" fmla="*/ 278342 h 370223"/>
                <a:gd name="connsiteX333" fmla="*/ 110504 w 464902"/>
                <a:gd name="connsiteY333" fmla="*/ 275407 h 370223"/>
                <a:gd name="connsiteX334" fmla="*/ 107796 w 464902"/>
                <a:gd name="connsiteY334" fmla="*/ 270348 h 370223"/>
                <a:gd name="connsiteX335" fmla="*/ 103039 w 464902"/>
                <a:gd name="connsiteY335" fmla="*/ 264879 h 370223"/>
                <a:gd name="connsiteX336" fmla="*/ 99003 w 464902"/>
                <a:gd name="connsiteY336" fmla="*/ 257104 h 370223"/>
                <a:gd name="connsiteX337" fmla="*/ 100266 w 464902"/>
                <a:gd name="connsiteY337" fmla="*/ 254272 h 370223"/>
                <a:gd name="connsiteX338" fmla="*/ 100186 w 464902"/>
                <a:gd name="connsiteY338" fmla="*/ 252276 h 370223"/>
                <a:gd name="connsiteX339" fmla="*/ 98947 w 464902"/>
                <a:gd name="connsiteY339" fmla="*/ 248920 h 370223"/>
                <a:gd name="connsiteX340" fmla="*/ 97593 w 464902"/>
                <a:gd name="connsiteY340" fmla="*/ 246324 h 370223"/>
                <a:gd name="connsiteX341" fmla="*/ 96667 w 464902"/>
                <a:gd name="connsiteY341" fmla="*/ 243873 h 370223"/>
                <a:gd name="connsiteX342" fmla="*/ 97403 w 464902"/>
                <a:gd name="connsiteY342" fmla="*/ 240354 h 370223"/>
                <a:gd name="connsiteX343" fmla="*/ 97686 w 464902"/>
                <a:gd name="connsiteY343" fmla="*/ 236410 h 370223"/>
                <a:gd name="connsiteX344" fmla="*/ 98480 w 464902"/>
                <a:gd name="connsiteY344" fmla="*/ 234313 h 370223"/>
                <a:gd name="connsiteX345" fmla="*/ 99055 w 464902"/>
                <a:gd name="connsiteY345" fmla="*/ 232011 h 370223"/>
                <a:gd name="connsiteX346" fmla="*/ 98306 w 464902"/>
                <a:gd name="connsiteY346" fmla="*/ 227374 h 370223"/>
                <a:gd name="connsiteX347" fmla="*/ 96965 w 464902"/>
                <a:gd name="connsiteY347" fmla="*/ 224890 h 370223"/>
                <a:gd name="connsiteX348" fmla="*/ 97098 w 464902"/>
                <a:gd name="connsiteY348" fmla="*/ 223235 h 370223"/>
                <a:gd name="connsiteX349" fmla="*/ 95581 w 464902"/>
                <a:gd name="connsiteY349" fmla="*/ 222427 h 370223"/>
                <a:gd name="connsiteX350" fmla="*/ 94345 w 464902"/>
                <a:gd name="connsiteY350" fmla="*/ 220628 h 370223"/>
                <a:gd name="connsiteX351" fmla="*/ 95632 w 464902"/>
                <a:gd name="connsiteY351" fmla="*/ 220633 h 370223"/>
                <a:gd name="connsiteX352" fmla="*/ 93298 w 464902"/>
                <a:gd name="connsiteY352" fmla="*/ 218135 h 370223"/>
                <a:gd name="connsiteX353" fmla="*/ 92443 w 464902"/>
                <a:gd name="connsiteY353" fmla="*/ 216747 h 370223"/>
                <a:gd name="connsiteX354" fmla="*/ 91562 w 464902"/>
                <a:gd name="connsiteY354" fmla="*/ 213350 h 370223"/>
                <a:gd name="connsiteX355" fmla="*/ 90434 w 464902"/>
                <a:gd name="connsiteY355" fmla="*/ 210755 h 370223"/>
                <a:gd name="connsiteX356" fmla="*/ 86813 w 464902"/>
                <a:gd name="connsiteY356" fmla="*/ 204861 h 370223"/>
                <a:gd name="connsiteX357" fmla="*/ 85086 w 464902"/>
                <a:gd name="connsiteY357" fmla="*/ 201263 h 370223"/>
                <a:gd name="connsiteX358" fmla="*/ 81210 w 464902"/>
                <a:gd name="connsiteY358" fmla="*/ 196605 h 370223"/>
                <a:gd name="connsiteX359" fmla="*/ 77003 w 464902"/>
                <a:gd name="connsiteY359" fmla="*/ 193162 h 370223"/>
                <a:gd name="connsiteX360" fmla="*/ 74332 w 464902"/>
                <a:gd name="connsiteY360" fmla="*/ 191604 h 370223"/>
                <a:gd name="connsiteX361" fmla="*/ 73047 w 464902"/>
                <a:gd name="connsiteY361" fmla="*/ 190178 h 370223"/>
                <a:gd name="connsiteX362" fmla="*/ 70864 w 464902"/>
                <a:gd name="connsiteY362" fmla="*/ 190129 h 370223"/>
                <a:gd name="connsiteX363" fmla="*/ 68485 w 464902"/>
                <a:gd name="connsiteY363" fmla="*/ 188091 h 370223"/>
                <a:gd name="connsiteX364" fmla="*/ 66822 w 464902"/>
                <a:gd name="connsiteY364" fmla="*/ 188014 h 370223"/>
                <a:gd name="connsiteX365" fmla="*/ 64718 w 464902"/>
                <a:gd name="connsiteY365" fmla="*/ 187687 h 370223"/>
                <a:gd name="connsiteX366" fmla="*/ 62240 w 464902"/>
                <a:gd name="connsiteY366" fmla="*/ 183761 h 370223"/>
                <a:gd name="connsiteX367" fmla="*/ 60195 w 464902"/>
                <a:gd name="connsiteY367" fmla="*/ 180080 h 370223"/>
                <a:gd name="connsiteX368" fmla="*/ 56709 w 464902"/>
                <a:gd name="connsiteY368" fmla="*/ 175282 h 370223"/>
                <a:gd name="connsiteX369" fmla="*/ 57584 w 464902"/>
                <a:gd name="connsiteY369" fmla="*/ 174028 h 370223"/>
                <a:gd name="connsiteX370" fmla="*/ 58599 w 464902"/>
                <a:gd name="connsiteY370" fmla="*/ 171989 h 370223"/>
                <a:gd name="connsiteX371" fmla="*/ 58093 w 464902"/>
                <a:gd name="connsiteY371" fmla="*/ 169320 h 370223"/>
                <a:gd name="connsiteX372" fmla="*/ 57538 w 464902"/>
                <a:gd name="connsiteY372" fmla="*/ 167502 h 370223"/>
                <a:gd name="connsiteX373" fmla="*/ 56001 w 464902"/>
                <a:gd name="connsiteY373" fmla="*/ 164193 h 370223"/>
                <a:gd name="connsiteX374" fmla="*/ 50957 w 464902"/>
                <a:gd name="connsiteY374" fmla="*/ 155936 h 370223"/>
                <a:gd name="connsiteX375" fmla="*/ 49618 w 464902"/>
                <a:gd name="connsiteY375" fmla="*/ 154725 h 370223"/>
                <a:gd name="connsiteX376" fmla="*/ 47463 w 464902"/>
                <a:gd name="connsiteY376" fmla="*/ 153335 h 370223"/>
                <a:gd name="connsiteX377" fmla="*/ 46132 w 464902"/>
                <a:gd name="connsiteY377" fmla="*/ 149754 h 370223"/>
                <a:gd name="connsiteX378" fmla="*/ 45528 w 464902"/>
                <a:gd name="connsiteY378" fmla="*/ 146537 h 370223"/>
                <a:gd name="connsiteX379" fmla="*/ 42069 w 464902"/>
                <a:gd name="connsiteY379" fmla="*/ 144975 h 370223"/>
                <a:gd name="connsiteX380" fmla="*/ 36118 w 464902"/>
                <a:gd name="connsiteY380" fmla="*/ 133366 h 370223"/>
                <a:gd name="connsiteX381" fmla="*/ 32671 w 464902"/>
                <a:gd name="connsiteY381" fmla="*/ 129305 h 370223"/>
                <a:gd name="connsiteX382" fmla="*/ 31306 w 464902"/>
                <a:gd name="connsiteY382" fmla="*/ 126568 h 370223"/>
                <a:gd name="connsiteX383" fmla="*/ 27318 w 464902"/>
                <a:gd name="connsiteY383" fmla="*/ 122063 h 370223"/>
                <a:gd name="connsiteX384" fmla="*/ 25357 w 464902"/>
                <a:gd name="connsiteY384" fmla="*/ 117580 h 370223"/>
                <a:gd name="connsiteX385" fmla="*/ 21341 w 464902"/>
                <a:gd name="connsiteY385" fmla="*/ 113442 h 370223"/>
                <a:gd name="connsiteX386" fmla="*/ 17857 w 464902"/>
                <a:gd name="connsiteY386" fmla="*/ 106252 h 370223"/>
                <a:gd name="connsiteX387" fmla="*/ 12476 w 464902"/>
                <a:gd name="connsiteY387" fmla="*/ 99057 h 370223"/>
                <a:gd name="connsiteX388" fmla="*/ 10218 w 464902"/>
                <a:gd name="connsiteY388" fmla="*/ 97809 h 370223"/>
                <a:gd name="connsiteX389" fmla="*/ 4673 w 464902"/>
                <a:gd name="connsiteY389" fmla="*/ 97292 h 370223"/>
                <a:gd name="connsiteX390" fmla="*/ 2340 w 464902"/>
                <a:gd name="connsiteY390" fmla="*/ 96764 h 370223"/>
                <a:gd name="connsiteX391" fmla="*/ 194 w 464902"/>
                <a:gd name="connsiteY391" fmla="*/ 98347 h 370223"/>
                <a:gd name="connsiteX392" fmla="*/ 0 w 464902"/>
                <a:gd name="connsiteY392" fmla="*/ 96341 h 370223"/>
                <a:gd name="connsiteX393" fmla="*/ 1483 w 464902"/>
                <a:gd name="connsiteY393" fmla="*/ 93569 h 370223"/>
                <a:gd name="connsiteX394" fmla="*/ 3619 w 464902"/>
                <a:gd name="connsiteY394" fmla="*/ 87739 h 370223"/>
                <a:gd name="connsiteX395" fmla="*/ 4044 w 464902"/>
                <a:gd name="connsiteY395" fmla="*/ 82622 h 370223"/>
                <a:gd name="connsiteX396" fmla="*/ 7398 w 464902"/>
                <a:gd name="connsiteY396" fmla="*/ 67390 h 370223"/>
                <a:gd name="connsiteX397" fmla="*/ 12107 w 464902"/>
                <a:gd name="connsiteY397" fmla="*/ 68175 h 370223"/>
                <a:gd name="connsiteX398" fmla="*/ 15985 w 464902"/>
                <a:gd name="connsiteY398" fmla="*/ 68822 h 370223"/>
                <a:gd name="connsiteX399" fmla="*/ 21649 w 464902"/>
                <a:gd name="connsiteY399" fmla="*/ 69767 h 370223"/>
                <a:gd name="connsiteX400" fmla="*/ 27510 w 464902"/>
                <a:gd name="connsiteY400" fmla="*/ 70746 h 370223"/>
                <a:gd name="connsiteX401" fmla="*/ 30939 w 464902"/>
                <a:gd name="connsiteY401" fmla="*/ 71319 h 370223"/>
                <a:gd name="connsiteX402" fmla="*/ 32112 w 464902"/>
                <a:gd name="connsiteY402" fmla="*/ 71077 h 370223"/>
                <a:gd name="connsiteX403" fmla="*/ 36852 w 464902"/>
                <a:gd name="connsiteY403" fmla="*/ 67345 h 370223"/>
                <a:gd name="connsiteX404" fmla="*/ 41125 w 464902"/>
                <a:gd name="connsiteY404" fmla="*/ 63975 h 370223"/>
                <a:gd name="connsiteX405" fmla="*/ 43684 w 464902"/>
                <a:gd name="connsiteY405" fmla="*/ 59847 h 370223"/>
                <a:gd name="connsiteX406" fmla="*/ 46163 w 464902"/>
                <a:gd name="connsiteY406" fmla="*/ 55846 h 370223"/>
                <a:gd name="connsiteX407" fmla="*/ 47299 w 464902"/>
                <a:gd name="connsiteY407" fmla="*/ 55015 h 370223"/>
                <a:gd name="connsiteX408" fmla="*/ 51097 w 464902"/>
                <a:gd name="connsiteY408" fmla="*/ 54264 h 370223"/>
                <a:gd name="connsiteX409" fmla="*/ 57119 w 464902"/>
                <a:gd name="connsiteY409" fmla="*/ 53073 h 370223"/>
                <a:gd name="connsiteX410" fmla="*/ 63086 w 464902"/>
                <a:gd name="connsiteY410" fmla="*/ 51892 h 370223"/>
                <a:gd name="connsiteX411" fmla="*/ 63561 w 464902"/>
                <a:gd name="connsiteY411" fmla="*/ 51489 h 370223"/>
                <a:gd name="connsiteX412" fmla="*/ 64952 w 464902"/>
                <a:gd name="connsiteY412" fmla="*/ 48272 h 370223"/>
                <a:gd name="connsiteX413" fmla="*/ 66720 w 464902"/>
                <a:gd name="connsiteY413" fmla="*/ 44183 h 370223"/>
                <a:gd name="connsiteX414" fmla="*/ 67081 w 464902"/>
                <a:gd name="connsiteY414" fmla="*/ 43754 h 370223"/>
                <a:gd name="connsiteX415" fmla="*/ 67519 w 464902"/>
                <a:gd name="connsiteY415" fmla="*/ 43337 h 370223"/>
                <a:gd name="connsiteX416" fmla="*/ 71791 w 464902"/>
                <a:gd name="connsiteY416" fmla="*/ 41045 h 370223"/>
                <a:gd name="connsiteX417" fmla="*/ 74382 w 464902"/>
                <a:gd name="connsiteY417" fmla="*/ 39652 h 370223"/>
                <a:gd name="connsiteX418" fmla="*/ 70687 w 464902"/>
                <a:gd name="connsiteY418" fmla="*/ 35539 h 370223"/>
                <a:gd name="connsiteX419" fmla="*/ 67204 w 464902"/>
                <a:gd name="connsiteY419" fmla="*/ 31656 h 370223"/>
                <a:gd name="connsiteX420" fmla="*/ 63302 w 464902"/>
                <a:gd name="connsiteY420" fmla="*/ 27303 h 370223"/>
                <a:gd name="connsiteX421" fmla="*/ 59996 w 464902"/>
                <a:gd name="connsiteY421" fmla="*/ 23914 h 370223"/>
                <a:gd name="connsiteX422" fmla="*/ 55038 w 464902"/>
                <a:gd name="connsiteY422" fmla="*/ 18831 h 370223"/>
                <a:gd name="connsiteX423" fmla="*/ 51794 w 464902"/>
                <a:gd name="connsiteY423" fmla="*/ 15501 h 370223"/>
                <a:gd name="connsiteX424" fmla="*/ 57478 w 464902"/>
                <a:gd name="connsiteY424" fmla="*/ 13922 h 370223"/>
                <a:gd name="connsiteX425" fmla="*/ 63619 w 464902"/>
                <a:gd name="connsiteY425" fmla="*/ 12215 h 370223"/>
                <a:gd name="connsiteX426" fmla="*/ 69821 w 464902"/>
                <a:gd name="connsiteY426" fmla="*/ 10492 h 370223"/>
                <a:gd name="connsiteX427" fmla="*/ 77286 w 464902"/>
                <a:gd name="connsiteY427" fmla="*/ 8416 h 370223"/>
                <a:gd name="connsiteX428" fmla="*/ 83125 w 464902"/>
                <a:gd name="connsiteY428" fmla="*/ 6792 h 370223"/>
                <a:gd name="connsiteX429" fmla="*/ 91840 w 464902"/>
                <a:gd name="connsiteY429" fmla="*/ 4366 h 370223"/>
                <a:gd name="connsiteX430" fmla="*/ 96101 w 464902"/>
                <a:gd name="connsiteY430" fmla="*/ 3178 h 370223"/>
                <a:gd name="connsiteX431" fmla="*/ 96870 w 464902"/>
                <a:gd name="connsiteY431" fmla="*/ 2871 h 370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</a:cxnLst>
              <a:rect l="l" t="t" r="r" b="b"/>
              <a:pathLst>
                <a:path w="464902" h="370223">
                  <a:moveTo>
                    <a:pt x="160185" y="355888"/>
                  </a:moveTo>
                  <a:lnTo>
                    <a:pt x="161442" y="356091"/>
                  </a:lnTo>
                  <a:lnTo>
                    <a:pt x="162120" y="357392"/>
                  </a:lnTo>
                  <a:lnTo>
                    <a:pt x="162251" y="360352"/>
                  </a:lnTo>
                  <a:lnTo>
                    <a:pt x="162442" y="360979"/>
                  </a:lnTo>
                  <a:lnTo>
                    <a:pt x="162092" y="361655"/>
                  </a:lnTo>
                  <a:lnTo>
                    <a:pt x="162999" y="362412"/>
                  </a:lnTo>
                  <a:lnTo>
                    <a:pt x="164709" y="362539"/>
                  </a:lnTo>
                  <a:lnTo>
                    <a:pt x="164005" y="361814"/>
                  </a:lnTo>
                  <a:lnTo>
                    <a:pt x="163854" y="361457"/>
                  </a:lnTo>
                  <a:lnTo>
                    <a:pt x="164597" y="360414"/>
                  </a:lnTo>
                  <a:lnTo>
                    <a:pt x="167039" y="362571"/>
                  </a:lnTo>
                  <a:lnTo>
                    <a:pt x="166968" y="365122"/>
                  </a:lnTo>
                  <a:lnTo>
                    <a:pt x="166760" y="365705"/>
                  </a:lnTo>
                  <a:lnTo>
                    <a:pt x="166095" y="365157"/>
                  </a:lnTo>
                  <a:lnTo>
                    <a:pt x="165668" y="364621"/>
                  </a:lnTo>
                  <a:lnTo>
                    <a:pt x="165534" y="364041"/>
                  </a:lnTo>
                  <a:lnTo>
                    <a:pt x="164858" y="363416"/>
                  </a:lnTo>
                  <a:lnTo>
                    <a:pt x="162478" y="363825"/>
                  </a:lnTo>
                  <a:lnTo>
                    <a:pt x="160999" y="363125"/>
                  </a:lnTo>
                  <a:lnTo>
                    <a:pt x="158883" y="360977"/>
                  </a:lnTo>
                  <a:lnTo>
                    <a:pt x="158319" y="359429"/>
                  </a:lnTo>
                  <a:lnTo>
                    <a:pt x="159205" y="359127"/>
                  </a:lnTo>
                  <a:lnTo>
                    <a:pt x="160135" y="358381"/>
                  </a:lnTo>
                  <a:lnTo>
                    <a:pt x="160727" y="357156"/>
                  </a:lnTo>
                  <a:close/>
                  <a:moveTo>
                    <a:pt x="42397" y="154814"/>
                  </a:moveTo>
                  <a:lnTo>
                    <a:pt x="42850" y="155837"/>
                  </a:lnTo>
                  <a:lnTo>
                    <a:pt x="43617" y="156440"/>
                  </a:lnTo>
                  <a:lnTo>
                    <a:pt x="47128" y="157882"/>
                  </a:lnTo>
                  <a:lnTo>
                    <a:pt x="51039" y="161025"/>
                  </a:lnTo>
                  <a:lnTo>
                    <a:pt x="51710" y="161281"/>
                  </a:lnTo>
                  <a:lnTo>
                    <a:pt x="50536" y="162026"/>
                  </a:lnTo>
                  <a:lnTo>
                    <a:pt x="49950" y="162026"/>
                  </a:lnTo>
                  <a:lnTo>
                    <a:pt x="48400" y="160430"/>
                  </a:lnTo>
                  <a:lnTo>
                    <a:pt x="47489" y="159254"/>
                  </a:lnTo>
                  <a:lnTo>
                    <a:pt x="46565" y="158465"/>
                  </a:lnTo>
                  <a:lnTo>
                    <a:pt x="42323" y="156871"/>
                  </a:lnTo>
                  <a:lnTo>
                    <a:pt x="41749" y="155843"/>
                  </a:lnTo>
                  <a:close/>
                  <a:moveTo>
                    <a:pt x="43483" y="150873"/>
                  </a:moveTo>
                  <a:lnTo>
                    <a:pt x="43421" y="152293"/>
                  </a:lnTo>
                  <a:lnTo>
                    <a:pt x="43768" y="153724"/>
                  </a:lnTo>
                  <a:lnTo>
                    <a:pt x="43766" y="154245"/>
                  </a:lnTo>
                  <a:lnTo>
                    <a:pt x="43559" y="154566"/>
                  </a:lnTo>
                  <a:lnTo>
                    <a:pt x="42626" y="153738"/>
                  </a:lnTo>
                  <a:lnTo>
                    <a:pt x="42682" y="151910"/>
                  </a:lnTo>
                  <a:close/>
                  <a:moveTo>
                    <a:pt x="100150" y="0"/>
                  </a:moveTo>
                  <a:lnTo>
                    <a:pt x="105086" y="804"/>
                  </a:lnTo>
                  <a:lnTo>
                    <a:pt x="112504" y="2011"/>
                  </a:lnTo>
                  <a:lnTo>
                    <a:pt x="119662" y="3176"/>
                  </a:lnTo>
                  <a:lnTo>
                    <a:pt x="127213" y="4550"/>
                  </a:lnTo>
                  <a:lnTo>
                    <a:pt x="129636" y="5668"/>
                  </a:lnTo>
                  <a:lnTo>
                    <a:pt x="136922" y="9780"/>
                  </a:lnTo>
                  <a:lnTo>
                    <a:pt x="141655" y="12448"/>
                  </a:lnTo>
                  <a:lnTo>
                    <a:pt x="147183" y="15562"/>
                  </a:lnTo>
                  <a:lnTo>
                    <a:pt x="154096" y="19452"/>
                  </a:lnTo>
                  <a:lnTo>
                    <a:pt x="158842" y="22121"/>
                  </a:lnTo>
                  <a:lnTo>
                    <a:pt x="164916" y="25534"/>
                  </a:lnTo>
                  <a:lnTo>
                    <a:pt x="169652" y="29430"/>
                  </a:lnTo>
                  <a:lnTo>
                    <a:pt x="175648" y="34361"/>
                  </a:lnTo>
                  <a:lnTo>
                    <a:pt x="182237" y="39768"/>
                  </a:lnTo>
                  <a:lnTo>
                    <a:pt x="187663" y="43966"/>
                  </a:lnTo>
                  <a:lnTo>
                    <a:pt x="195130" y="49740"/>
                  </a:lnTo>
                  <a:lnTo>
                    <a:pt x="202491" y="55421"/>
                  </a:lnTo>
                  <a:lnTo>
                    <a:pt x="209697" y="60976"/>
                  </a:lnTo>
                  <a:lnTo>
                    <a:pt x="215472" y="65419"/>
                  </a:lnTo>
                  <a:lnTo>
                    <a:pt x="222770" y="71033"/>
                  </a:lnTo>
                  <a:lnTo>
                    <a:pt x="223338" y="71244"/>
                  </a:lnTo>
                  <a:lnTo>
                    <a:pt x="230719" y="71882"/>
                  </a:lnTo>
                  <a:lnTo>
                    <a:pt x="240639" y="72738"/>
                  </a:lnTo>
                  <a:lnTo>
                    <a:pt x="250607" y="73597"/>
                  </a:lnTo>
                  <a:lnTo>
                    <a:pt x="259601" y="74372"/>
                  </a:lnTo>
                  <a:lnTo>
                    <a:pt x="263470" y="73588"/>
                  </a:lnTo>
                  <a:lnTo>
                    <a:pt x="267746" y="74109"/>
                  </a:lnTo>
                  <a:lnTo>
                    <a:pt x="273438" y="74805"/>
                  </a:lnTo>
                  <a:lnTo>
                    <a:pt x="276900" y="75274"/>
                  </a:lnTo>
                  <a:lnTo>
                    <a:pt x="283410" y="76155"/>
                  </a:lnTo>
                  <a:lnTo>
                    <a:pt x="285358" y="79803"/>
                  </a:lnTo>
                  <a:lnTo>
                    <a:pt x="286064" y="82357"/>
                  </a:lnTo>
                  <a:lnTo>
                    <a:pt x="286725" y="84844"/>
                  </a:lnTo>
                  <a:lnTo>
                    <a:pt x="288675" y="87119"/>
                  </a:lnTo>
                  <a:lnTo>
                    <a:pt x="293112" y="87064"/>
                  </a:lnTo>
                  <a:lnTo>
                    <a:pt x="297040" y="87015"/>
                  </a:lnTo>
                  <a:lnTo>
                    <a:pt x="301886" y="86942"/>
                  </a:lnTo>
                  <a:lnTo>
                    <a:pt x="305727" y="86885"/>
                  </a:lnTo>
                  <a:lnTo>
                    <a:pt x="306967" y="89141"/>
                  </a:lnTo>
                  <a:lnTo>
                    <a:pt x="307509" y="91390"/>
                  </a:lnTo>
                  <a:lnTo>
                    <a:pt x="309793" y="96718"/>
                  </a:lnTo>
                  <a:lnTo>
                    <a:pt x="313052" y="100869"/>
                  </a:lnTo>
                  <a:lnTo>
                    <a:pt x="313832" y="102379"/>
                  </a:lnTo>
                  <a:lnTo>
                    <a:pt x="314359" y="104655"/>
                  </a:lnTo>
                  <a:lnTo>
                    <a:pt x="313793" y="105500"/>
                  </a:lnTo>
                  <a:lnTo>
                    <a:pt x="313570" y="106479"/>
                  </a:lnTo>
                  <a:lnTo>
                    <a:pt x="315987" y="108753"/>
                  </a:lnTo>
                  <a:lnTo>
                    <a:pt x="319977" y="110673"/>
                  </a:lnTo>
                  <a:lnTo>
                    <a:pt x="321538" y="111159"/>
                  </a:lnTo>
                  <a:lnTo>
                    <a:pt x="323307" y="112005"/>
                  </a:lnTo>
                  <a:lnTo>
                    <a:pt x="321927" y="113319"/>
                  </a:lnTo>
                  <a:lnTo>
                    <a:pt x="324281" y="116349"/>
                  </a:lnTo>
                  <a:lnTo>
                    <a:pt x="327017" y="119434"/>
                  </a:lnTo>
                  <a:lnTo>
                    <a:pt x="329945" y="120129"/>
                  </a:lnTo>
                  <a:lnTo>
                    <a:pt x="333899" y="124789"/>
                  </a:lnTo>
                  <a:lnTo>
                    <a:pt x="339861" y="127806"/>
                  </a:lnTo>
                  <a:lnTo>
                    <a:pt x="343480" y="131755"/>
                  </a:lnTo>
                  <a:lnTo>
                    <a:pt x="343145" y="131829"/>
                  </a:lnTo>
                  <a:lnTo>
                    <a:pt x="342083" y="131428"/>
                  </a:lnTo>
                  <a:lnTo>
                    <a:pt x="340750" y="130886"/>
                  </a:lnTo>
                  <a:lnTo>
                    <a:pt x="340347" y="131378"/>
                  </a:lnTo>
                  <a:lnTo>
                    <a:pt x="340418" y="133033"/>
                  </a:lnTo>
                  <a:lnTo>
                    <a:pt x="340772" y="134977"/>
                  </a:lnTo>
                  <a:lnTo>
                    <a:pt x="342616" y="136659"/>
                  </a:lnTo>
                  <a:lnTo>
                    <a:pt x="344257" y="137868"/>
                  </a:lnTo>
                  <a:lnTo>
                    <a:pt x="344897" y="140154"/>
                  </a:lnTo>
                  <a:lnTo>
                    <a:pt x="343605" y="145078"/>
                  </a:lnTo>
                  <a:lnTo>
                    <a:pt x="343158" y="145075"/>
                  </a:lnTo>
                  <a:lnTo>
                    <a:pt x="342290" y="144648"/>
                  </a:lnTo>
                  <a:lnTo>
                    <a:pt x="341359" y="144550"/>
                  </a:lnTo>
                  <a:lnTo>
                    <a:pt x="340867" y="144831"/>
                  </a:lnTo>
                  <a:lnTo>
                    <a:pt x="341960" y="148370"/>
                  </a:lnTo>
                  <a:lnTo>
                    <a:pt x="343048" y="151083"/>
                  </a:lnTo>
                  <a:lnTo>
                    <a:pt x="344361" y="153229"/>
                  </a:lnTo>
                  <a:lnTo>
                    <a:pt x="345451" y="156369"/>
                  </a:lnTo>
                  <a:lnTo>
                    <a:pt x="346387" y="157708"/>
                  </a:lnTo>
                  <a:lnTo>
                    <a:pt x="350232" y="161042"/>
                  </a:lnTo>
                  <a:lnTo>
                    <a:pt x="351411" y="163826"/>
                  </a:lnTo>
                  <a:lnTo>
                    <a:pt x="352504" y="169009"/>
                  </a:lnTo>
                  <a:lnTo>
                    <a:pt x="354914" y="171900"/>
                  </a:lnTo>
                  <a:lnTo>
                    <a:pt x="356212" y="174121"/>
                  </a:lnTo>
                  <a:lnTo>
                    <a:pt x="357954" y="176005"/>
                  </a:lnTo>
                  <a:lnTo>
                    <a:pt x="359088" y="178581"/>
                  </a:lnTo>
                  <a:lnTo>
                    <a:pt x="360695" y="180566"/>
                  </a:lnTo>
                  <a:lnTo>
                    <a:pt x="361528" y="181064"/>
                  </a:lnTo>
                  <a:lnTo>
                    <a:pt x="362783" y="181268"/>
                  </a:lnTo>
                  <a:lnTo>
                    <a:pt x="364344" y="181282"/>
                  </a:lnTo>
                  <a:lnTo>
                    <a:pt x="366216" y="180764"/>
                  </a:lnTo>
                  <a:lnTo>
                    <a:pt x="368205" y="180282"/>
                  </a:lnTo>
                  <a:lnTo>
                    <a:pt x="369764" y="181289"/>
                  </a:lnTo>
                  <a:lnTo>
                    <a:pt x="371373" y="181137"/>
                  </a:lnTo>
                  <a:lnTo>
                    <a:pt x="371530" y="182073"/>
                  </a:lnTo>
                  <a:lnTo>
                    <a:pt x="370460" y="183341"/>
                  </a:lnTo>
                  <a:lnTo>
                    <a:pt x="369131" y="186545"/>
                  </a:lnTo>
                  <a:lnTo>
                    <a:pt x="371019" y="187050"/>
                  </a:lnTo>
                  <a:lnTo>
                    <a:pt x="372822" y="187299"/>
                  </a:lnTo>
                  <a:lnTo>
                    <a:pt x="374105" y="187812"/>
                  </a:lnTo>
                  <a:lnTo>
                    <a:pt x="374847" y="187816"/>
                  </a:lnTo>
                  <a:lnTo>
                    <a:pt x="374847" y="188478"/>
                  </a:lnTo>
                  <a:lnTo>
                    <a:pt x="374931" y="191516"/>
                  </a:lnTo>
                  <a:lnTo>
                    <a:pt x="375383" y="192674"/>
                  </a:lnTo>
                  <a:lnTo>
                    <a:pt x="376195" y="193701"/>
                  </a:lnTo>
                  <a:lnTo>
                    <a:pt x="377413" y="195234"/>
                  </a:lnTo>
                  <a:lnTo>
                    <a:pt x="378628" y="196768"/>
                  </a:lnTo>
                  <a:lnTo>
                    <a:pt x="379844" y="198302"/>
                  </a:lnTo>
                  <a:lnTo>
                    <a:pt x="381062" y="199833"/>
                  </a:lnTo>
                  <a:lnTo>
                    <a:pt x="382278" y="201365"/>
                  </a:lnTo>
                  <a:lnTo>
                    <a:pt x="383496" y="202896"/>
                  </a:lnTo>
                  <a:lnTo>
                    <a:pt x="384711" y="204428"/>
                  </a:lnTo>
                  <a:lnTo>
                    <a:pt x="385927" y="205957"/>
                  </a:lnTo>
                  <a:lnTo>
                    <a:pt x="387145" y="207488"/>
                  </a:lnTo>
                  <a:lnTo>
                    <a:pt x="388361" y="209017"/>
                  </a:lnTo>
                  <a:lnTo>
                    <a:pt x="389579" y="210546"/>
                  </a:lnTo>
                  <a:lnTo>
                    <a:pt x="390794" y="212074"/>
                  </a:lnTo>
                  <a:lnTo>
                    <a:pt x="392010" y="213602"/>
                  </a:lnTo>
                  <a:lnTo>
                    <a:pt x="393228" y="215130"/>
                  </a:lnTo>
                  <a:lnTo>
                    <a:pt x="394444" y="216658"/>
                  </a:lnTo>
                  <a:lnTo>
                    <a:pt x="395660" y="218183"/>
                  </a:lnTo>
                  <a:lnTo>
                    <a:pt x="396666" y="219445"/>
                  </a:lnTo>
                  <a:lnTo>
                    <a:pt x="398525" y="219685"/>
                  </a:lnTo>
                  <a:lnTo>
                    <a:pt x="399117" y="219760"/>
                  </a:lnTo>
                  <a:lnTo>
                    <a:pt x="400790" y="219976"/>
                  </a:lnTo>
                  <a:lnTo>
                    <a:pt x="403392" y="220312"/>
                  </a:lnTo>
                  <a:lnTo>
                    <a:pt x="406767" y="220745"/>
                  </a:lnTo>
                  <a:lnTo>
                    <a:pt x="410758" y="221259"/>
                  </a:lnTo>
                  <a:lnTo>
                    <a:pt x="415217" y="221832"/>
                  </a:lnTo>
                  <a:lnTo>
                    <a:pt x="419983" y="222445"/>
                  </a:lnTo>
                  <a:lnTo>
                    <a:pt x="424904" y="223078"/>
                  </a:lnTo>
                  <a:lnTo>
                    <a:pt x="429823" y="223710"/>
                  </a:lnTo>
                  <a:lnTo>
                    <a:pt x="434589" y="224323"/>
                  </a:lnTo>
                  <a:lnTo>
                    <a:pt x="439046" y="224895"/>
                  </a:lnTo>
                  <a:lnTo>
                    <a:pt x="443038" y="225409"/>
                  </a:lnTo>
                  <a:lnTo>
                    <a:pt x="446413" y="225843"/>
                  </a:lnTo>
                  <a:lnTo>
                    <a:pt x="449014" y="226177"/>
                  </a:lnTo>
                  <a:lnTo>
                    <a:pt x="450689" y="226393"/>
                  </a:lnTo>
                  <a:lnTo>
                    <a:pt x="451281" y="226468"/>
                  </a:lnTo>
                  <a:lnTo>
                    <a:pt x="453034" y="226693"/>
                  </a:lnTo>
                  <a:lnTo>
                    <a:pt x="453369" y="226636"/>
                  </a:lnTo>
                  <a:lnTo>
                    <a:pt x="454837" y="224770"/>
                  </a:lnTo>
                  <a:lnTo>
                    <a:pt x="456461" y="227404"/>
                  </a:lnTo>
                  <a:lnTo>
                    <a:pt x="457807" y="229589"/>
                  </a:lnTo>
                  <a:lnTo>
                    <a:pt x="459657" y="232590"/>
                  </a:lnTo>
                  <a:lnTo>
                    <a:pt x="461624" y="235776"/>
                  </a:lnTo>
                  <a:lnTo>
                    <a:pt x="463503" y="238821"/>
                  </a:lnTo>
                  <a:lnTo>
                    <a:pt x="464902" y="241087"/>
                  </a:lnTo>
                  <a:lnTo>
                    <a:pt x="464160" y="243440"/>
                  </a:lnTo>
                  <a:lnTo>
                    <a:pt x="463350" y="246006"/>
                  </a:lnTo>
                  <a:lnTo>
                    <a:pt x="462540" y="248571"/>
                  </a:lnTo>
                  <a:lnTo>
                    <a:pt x="461730" y="251135"/>
                  </a:lnTo>
                  <a:lnTo>
                    <a:pt x="460920" y="253697"/>
                  </a:lnTo>
                  <a:lnTo>
                    <a:pt x="460111" y="256258"/>
                  </a:lnTo>
                  <a:lnTo>
                    <a:pt x="459301" y="258818"/>
                  </a:lnTo>
                  <a:lnTo>
                    <a:pt x="458491" y="261377"/>
                  </a:lnTo>
                  <a:lnTo>
                    <a:pt x="457681" y="263936"/>
                  </a:lnTo>
                  <a:lnTo>
                    <a:pt x="456874" y="266492"/>
                  </a:lnTo>
                  <a:lnTo>
                    <a:pt x="456062" y="269047"/>
                  </a:lnTo>
                  <a:lnTo>
                    <a:pt x="455252" y="271601"/>
                  </a:lnTo>
                  <a:lnTo>
                    <a:pt x="454444" y="274154"/>
                  </a:lnTo>
                  <a:lnTo>
                    <a:pt x="453635" y="276705"/>
                  </a:lnTo>
                  <a:lnTo>
                    <a:pt x="452823" y="279256"/>
                  </a:lnTo>
                  <a:lnTo>
                    <a:pt x="452015" y="281806"/>
                  </a:lnTo>
                  <a:lnTo>
                    <a:pt x="451203" y="284354"/>
                  </a:lnTo>
                  <a:lnTo>
                    <a:pt x="450227" y="287421"/>
                  </a:lnTo>
                  <a:lnTo>
                    <a:pt x="447878" y="288236"/>
                  </a:lnTo>
                  <a:lnTo>
                    <a:pt x="444073" y="289555"/>
                  </a:lnTo>
                  <a:lnTo>
                    <a:pt x="440270" y="290874"/>
                  </a:lnTo>
                  <a:lnTo>
                    <a:pt x="436465" y="292191"/>
                  </a:lnTo>
                  <a:lnTo>
                    <a:pt x="432663" y="293509"/>
                  </a:lnTo>
                  <a:lnTo>
                    <a:pt x="428858" y="294826"/>
                  </a:lnTo>
                  <a:lnTo>
                    <a:pt x="425053" y="296143"/>
                  </a:lnTo>
                  <a:lnTo>
                    <a:pt x="421250" y="297460"/>
                  </a:lnTo>
                  <a:lnTo>
                    <a:pt x="417445" y="298776"/>
                  </a:lnTo>
                  <a:lnTo>
                    <a:pt x="413643" y="300092"/>
                  </a:lnTo>
                  <a:lnTo>
                    <a:pt x="409838" y="301408"/>
                  </a:lnTo>
                  <a:lnTo>
                    <a:pt x="406033" y="302724"/>
                  </a:lnTo>
                  <a:lnTo>
                    <a:pt x="402230" y="304039"/>
                  </a:lnTo>
                  <a:lnTo>
                    <a:pt x="398426" y="305354"/>
                  </a:lnTo>
                  <a:lnTo>
                    <a:pt x="394623" y="306668"/>
                  </a:lnTo>
                  <a:lnTo>
                    <a:pt x="390818" y="307983"/>
                  </a:lnTo>
                  <a:lnTo>
                    <a:pt x="387013" y="309296"/>
                  </a:lnTo>
                  <a:lnTo>
                    <a:pt x="383897" y="310374"/>
                  </a:lnTo>
                  <a:lnTo>
                    <a:pt x="378708" y="311098"/>
                  </a:lnTo>
                  <a:lnTo>
                    <a:pt x="373666" y="311800"/>
                  </a:lnTo>
                  <a:lnTo>
                    <a:pt x="367993" y="312591"/>
                  </a:lnTo>
                  <a:lnTo>
                    <a:pt x="361174" y="313542"/>
                  </a:lnTo>
                  <a:lnTo>
                    <a:pt x="355827" y="314287"/>
                  </a:lnTo>
                  <a:lnTo>
                    <a:pt x="348023" y="315375"/>
                  </a:lnTo>
                  <a:lnTo>
                    <a:pt x="341029" y="316349"/>
                  </a:lnTo>
                  <a:lnTo>
                    <a:pt x="334464" y="317263"/>
                  </a:lnTo>
                  <a:lnTo>
                    <a:pt x="327898" y="318178"/>
                  </a:lnTo>
                  <a:lnTo>
                    <a:pt x="322309" y="318956"/>
                  </a:lnTo>
                  <a:lnTo>
                    <a:pt x="318984" y="319861"/>
                  </a:lnTo>
                  <a:lnTo>
                    <a:pt x="315067" y="321841"/>
                  </a:lnTo>
                  <a:lnTo>
                    <a:pt x="309055" y="324878"/>
                  </a:lnTo>
                  <a:lnTo>
                    <a:pt x="302927" y="327971"/>
                  </a:lnTo>
                  <a:lnTo>
                    <a:pt x="299750" y="329573"/>
                  </a:lnTo>
                  <a:lnTo>
                    <a:pt x="296423" y="333683"/>
                  </a:lnTo>
                  <a:lnTo>
                    <a:pt x="294738" y="335762"/>
                  </a:lnTo>
                  <a:lnTo>
                    <a:pt x="291693" y="339521"/>
                  </a:lnTo>
                  <a:lnTo>
                    <a:pt x="289392" y="342354"/>
                  </a:lnTo>
                  <a:lnTo>
                    <a:pt x="286647" y="345738"/>
                  </a:lnTo>
                  <a:lnTo>
                    <a:pt x="285449" y="348751"/>
                  </a:lnTo>
                  <a:lnTo>
                    <a:pt x="283600" y="353400"/>
                  </a:lnTo>
                  <a:lnTo>
                    <a:pt x="282004" y="354572"/>
                  </a:lnTo>
                  <a:lnTo>
                    <a:pt x="279387" y="356084"/>
                  </a:lnTo>
                  <a:lnTo>
                    <a:pt x="277006" y="357159"/>
                  </a:lnTo>
                  <a:lnTo>
                    <a:pt x="273293" y="357004"/>
                  </a:lnTo>
                  <a:lnTo>
                    <a:pt x="271177" y="354148"/>
                  </a:lnTo>
                  <a:lnTo>
                    <a:pt x="268934" y="351119"/>
                  </a:lnTo>
                  <a:lnTo>
                    <a:pt x="267809" y="349901"/>
                  </a:lnTo>
                  <a:lnTo>
                    <a:pt x="266800" y="349834"/>
                  </a:lnTo>
                  <a:lnTo>
                    <a:pt x="263073" y="350218"/>
                  </a:lnTo>
                  <a:lnTo>
                    <a:pt x="258581" y="350682"/>
                  </a:lnTo>
                  <a:lnTo>
                    <a:pt x="253284" y="350184"/>
                  </a:lnTo>
                  <a:lnTo>
                    <a:pt x="247174" y="349609"/>
                  </a:lnTo>
                  <a:lnTo>
                    <a:pt x="241445" y="349071"/>
                  </a:lnTo>
                  <a:lnTo>
                    <a:pt x="238597" y="348667"/>
                  </a:lnTo>
                  <a:lnTo>
                    <a:pt x="234839" y="346698"/>
                  </a:lnTo>
                  <a:lnTo>
                    <a:pt x="233869" y="346307"/>
                  </a:lnTo>
                  <a:lnTo>
                    <a:pt x="232881" y="346214"/>
                  </a:lnTo>
                  <a:lnTo>
                    <a:pt x="228424" y="346166"/>
                  </a:lnTo>
                  <a:lnTo>
                    <a:pt x="224008" y="346118"/>
                  </a:lnTo>
                  <a:lnTo>
                    <a:pt x="219579" y="346741"/>
                  </a:lnTo>
                  <a:lnTo>
                    <a:pt x="215338" y="346513"/>
                  </a:lnTo>
                  <a:lnTo>
                    <a:pt x="210943" y="346873"/>
                  </a:lnTo>
                  <a:lnTo>
                    <a:pt x="209395" y="347625"/>
                  </a:lnTo>
                  <a:lnTo>
                    <a:pt x="207676" y="347581"/>
                  </a:lnTo>
                  <a:lnTo>
                    <a:pt x="206603" y="348245"/>
                  </a:lnTo>
                  <a:lnTo>
                    <a:pt x="205659" y="348555"/>
                  </a:lnTo>
                  <a:lnTo>
                    <a:pt x="204541" y="347988"/>
                  </a:lnTo>
                  <a:lnTo>
                    <a:pt x="203167" y="348112"/>
                  </a:lnTo>
                  <a:lnTo>
                    <a:pt x="201149" y="347625"/>
                  </a:lnTo>
                  <a:lnTo>
                    <a:pt x="199831" y="346342"/>
                  </a:lnTo>
                  <a:lnTo>
                    <a:pt x="198590" y="345212"/>
                  </a:lnTo>
                  <a:lnTo>
                    <a:pt x="197307" y="344590"/>
                  </a:lnTo>
                  <a:lnTo>
                    <a:pt x="195869" y="344199"/>
                  </a:lnTo>
                  <a:lnTo>
                    <a:pt x="194625" y="344190"/>
                  </a:lnTo>
                  <a:lnTo>
                    <a:pt x="193035" y="344880"/>
                  </a:lnTo>
                  <a:lnTo>
                    <a:pt x="192064" y="345546"/>
                  </a:lnTo>
                  <a:lnTo>
                    <a:pt x="189604" y="347765"/>
                  </a:lnTo>
                  <a:lnTo>
                    <a:pt x="189503" y="348555"/>
                  </a:lnTo>
                  <a:lnTo>
                    <a:pt x="190621" y="349881"/>
                  </a:lnTo>
                  <a:lnTo>
                    <a:pt x="190278" y="350501"/>
                  </a:lnTo>
                  <a:lnTo>
                    <a:pt x="188831" y="351280"/>
                  </a:lnTo>
                  <a:lnTo>
                    <a:pt x="188388" y="353375"/>
                  </a:lnTo>
                  <a:lnTo>
                    <a:pt x="188173" y="354525"/>
                  </a:lnTo>
                  <a:lnTo>
                    <a:pt x="187959" y="357266"/>
                  </a:lnTo>
                  <a:lnTo>
                    <a:pt x="188602" y="359431"/>
                  </a:lnTo>
                  <a:lnTo>
                    <a:pt x="189462" y="360226"/>
                  </a:lnTo>
                  <a:lnTo>
                    <a:pt x="189503" y="361154"/>
                  </a:lnTo>
                  <a:lnTo>
                    <a:pt x="189032" y="363008"/>
                  </a:lnTo>
                  <a:lnTo>
                    <a:pt x="187700" y="363582"/>
                  </a:lnTo>
                  <a:lnTo>
                    <a:pt x="186726" y="365344"/>
                  </a:lnTo>
                  <a:lnTo>
                    <a:pt x="186125" y="366167"/>
                  </a:lnTo>
                  <a:lnTo>
                    <a:pt x="185081" y="367105"/>
                  </a:lnTo>
                  <a:lnTo>
                    <a:pt x="180945" y="370223"/>
                  </a:lnTo>
                  <a:lnTo>
                    <a:pt x="180736" y="368411"/>
                  </a:lnTo>
                  <a:lnTo>
                    <a:pt x="179427" y="365725"/>
                  </a:lnTo>
                  <a:lnTo>
                    <a:pt x="179332" y="363828"/>
                  </a:lnTo>
                  <a:lnTo>
                    <a:pt x="178723" y="361927"/>
                  </a:lnTo>
                  <a:lnTo>
                    <a:pt x="177588" y="360464"/>
                  </a:lnTo>
                  <a:lnTo>
                    <a:pt x="175497" y="358938"/>
                  </a:lnTo>
                  <a:lnTo>
                    <a:pt x="175303" y="356863"/>
                  </a:lnTo>
                  <a:lnTo>
                    <a:pt x="173774" y="354812"/>
                  </a:lnTo>
                  <a:lnTo>
                    <a:pt x="171746" y="353159"/>
                  </a:lnTo>
                  <a:lnTo>
                    <a:pt x="170621" y="350105"/>
                  </a:lnTo>
                  <a:lnTo>
                    <a:pt x="169770" y="346043"/>
                  </a:lnTo>
                  <a:lnTo>
                    <a:pt x="164426" y="340701"/>
                  </a:lnTo>
                  <a:lnTo>
                    <a:pt x="157743" y="335765"/>
                  </a:lnTo>
                  <a:lnTo>
                    <a:pt x="155709" y="332982"/>
                  </a:lnTo>
                  <a:lnTo>
                    <a:pt x="152383" y="327307"/>
                  </a:lnTo>
                  <a:lnTo>
                    <a:pt x="150705" y="322819"/>
                  </a:lnTo>
                  <a:lnTo>
                    <a:pt x="146233" y="317650"/>
                  </a:lnTo>
                  <a:lnTo>
                    <a:pt x="146041" y="315662"/>
                  </a:lnTo>
                  <a:lnTo>
                    <a:pt x="145378" y="313236"/>
                  </a:lnTo>
                  <a:lnTo>
                    <a:pt x="144346" y="310536"/>
                  </a:lnTo>
                  <a:lnTo>
                    <a:pt x="143724" y="308402"/>
                  </a:lnTo>
                  <a:lnTo>
                    <a:pt x="139241" y="299044"/>
                  </a:lnTo>
                  <a:lnTo>
                    <a:pt x="137794" y="297549"/>
                  </a:lnTo>
                  <a:lnTo>
                    <a:pt x="136551" y="295456"/>
                  </a:lnTo>
                  <a:lnTo>
                    <a:pt x="136228" y="293836"/>
                  </a:lnTo>
                  <a:lnTo>
                    <a:pt x="135834" y="292950"/>
                  </a:lnTo>
                  <a:lnTo>
                    <a:pt x="132666" y="291412"/>
                  </a:lnTo>
                  <a:lnTo>
                    <a:pt x="129709" y="287478"/>
                  </a:lnTo>
                  <a:lnTo>
                    <a:pt x="120830" y="281207"/>
                  </a:lnTo>
                  <a:lnTo>
                    <a:pt x="116483" y="280584"/>
                  </a:lnTo>
                  <a:lnTo>
                    <a:pt x="113039" y="278342"/>
                  </a:lnTo>
                  <a:lnTo>
                    <a:pt x="110504" y="275407"/>
                  </a:lnTo>
                  <a:lnTo>
                    <a:pt x="107796" y="270348"/>
                  </a:lnTo>
                  <a:lnTo>
                    <a:pt x="103039" y="264879"/>
                  </a:lnTo>
                  <a:lnTo>
                    <a:pt x="99003" y="257104"/>
                  </a:lnTo>
                  <a:lnTo>
                    <a:pt x="100266" y="254272"/>
                  </a:lnTo>
                  <a:lnTo>
                    <a:pt x="100186" y="252276"/>
                  </a:lnTo>
                  <a:lnTo>
                    <a:pt x="98947" y="248920"/>
                  </a:lnTo>
                  <a:lnTo>
                    <a:pt x="97593" y="246324"/>
                  </a:lnTo>
                  <a:lnTo>
                    <a:pt x="96667" y="243873"/>
                  </a:lnTo>
                  <a:lnTo>
                    <a:pt x="97403" y="240354"/>
                  </a:lnTo>
                  <a:lnTo>
                    <a:pt x="97686" y="236410"/>
                  </a:lnTo>
                  <a:lnTo>
                    <a:pt x="98480" y="234313"/>
                  </a:lnTo>
                  <a:lnTo>
                    <a:pt x="99055" y="232011"/>
                  </a:lnTo>
                  <a:lnTo>
                    <a:pt x="98306" y="227374"/>
                  </a:lnTo>
                  <a:lnTo>
                    <a:pt x="96965" y="224890"/>
                  </a:lnTo>
                  <a:lnTo>
                    <a:pt x="97098" y="223235"/>
                  </a:lnTo>
                  <a:lnTo>
                    <a:pt x="95581" y="222427"/>
                  </a:lnTo>
                  <a:lnTo>
                    <a:pt x="94345" y="220628"/>
                  </a:lnTo>
                  <a:lnTo>
                    <a:pt x="95632" y="220633"/>
                  </a:lnTo>
                  <a:lnTo>
                    <a:pt x="93298" y="218135"/>
                  </a:lnTo>
                  <a:lnTo>
                    <a:pt x="92443" y="216747"/>
                  </a:lnTo>
                  <a:lnTo>
                    <a:pt x="91562" y="213350"/>
                  </a:lnTo>
                  <a:lnTo>
                    <a:pt x="90434" y="210755"/>
                  </a:lnTo>
                  <a:lnTo>
                    <a:pt x="86813" y="204861"/>
                  </a:lnTo>
                  <a:lnTo>
                    <a:pt x="85086" y="201263"/>
                  </a:lnTo>
                  <a:lnTo>
                    <a:pt x="81210" y="196605"/>
                  </a:lnTo>
                  <a:lnTo>
                    <a:pt x="77003" y="193162"/>
                  </a:lnTo>
                  <a:lnTo>
                    <a:pt x="74332" y="191604"/>
                  </a:lnTo>
                  <a:lnTo>
                    <a:pt x="73047" y="190178"/>
                  </a:lnTo>
                  <a:lnTo>
                    <a:pt x="70864" y="190129"/>
                  </a:lnTo>
                  <a:lnTo>
                    <a:pt x="68485" y="188091"/>
                  </a:lnTo>
                  <a:lnTo>
                    <a:pt x="66822" y="188014"/>
                  </a:lnTo>
                  <a:lnTo>
                    <a:pt x="64718" y="187687"/>
                  </a:lnTo>
                  <a:lnTo>
                    <a:pt x="62240" y="183761"/>
                  </a:lnTo>
                  <a:lnTo>
                    <a:pt x="60195" y="180080"/>
                  </a:lnTo>
                  <a:lnTo>
                    <a:pt x="56709" y="175282"/>
                  </a:lnTo>
                  <a:lnTo>
                    <a:pt x="57584" y="174028"/>
                  </a:lnTo>
                  <a:lnTo>
                    <a:pt x="58599" y="171989"/>
                  </a:lnTo>
                  <a:lnTo>
                    <a:pt x="58093" y="169320"/>
                  </a:lnTo>
                  <a:lnTo>
                    <a:pt x="57538" y="167502"/>
                  </a:lnTo>
                  <a:lnTo>
                    <a:pt x="56001" y="164193"/>
                  </a:lnTo>
                  <a:lnTo>
                    <a:pt x="50957" y="155936"/>
                  </a:lnTo>
                  <a:lnTo>
                    <a:pt x="49618" y="154725"/>
                  </a:lnTo>
                  <a:lnTo>
                    <a:pt x="47463" y="153335"/>
                  </a:lnTo>
                  <a:lnTo>
                    <a:pt x="46132" y="149754"/>
                  </a:lnTo>
                  <a:lnTo>
                    <a:pt x="45528" y="146537"/>
                  </a:lnTo>
                  <a:lnTo>
                    <a:pt x="42069" y="144975"/>
                  </a:lnTo>
                  <a:lnTo>
                    <a:pt x="36118" y="133366"/>
                  </a:lnTo>
                  <a:lnTo>
                    <a:pt x="32671" y="129305"/>
                  </a:lnTo>
                  <a:lnTo>
                    <a:pt x="31306" y="126568"/>
                  </a:lnTo>
                  <a:lnTo>
                    <a:pt x="27318" y="122063"/>
                  </a:lnTo>
                  <a:lnTo>
                    <a:pt x="25357" y="117580"/>
                  </a:lnTo>
                  <a:lnTo>
                    <a:pt x="21341" y="113442"/>
                  </a:lnTo>
                  <a:lnTo>
                    <a:pt x="17857" y="106252"/>
                  </a:lnTo>
                  <a:lnTo>
                    <a:pt x="12476" y="99057"/>
                  </a:lnTo>
                  <a:lnTo>
                    <a:pt x="10218" y="97809"/>
                  </a:lnTo>
                  <a:lnTo>
                    <a:pt x="4673" y="97292"/>
                  </a:lnTo>
                  <a:lnTo>
                    <a:pt x="2340" y="96764"/>
                  </a:lnTo>
                  <a:lnTo>
                    <a:pt x="194" y="98347"/>
                  </a:lnTo>
                  <a:lnTo>
                    <a:pt x="0" y="96341"/>
                  </a:lnTo>
                  <a:lnTo>
                    <a:pt x="1483" y="93569"/>
                  </a:lnTo>
                  <a:lnTo>
                    <a:pt x="3619" y="87739"/>
                  </a:lnTo>
                  <a:lnTo>
                    <a:pt x="4044" y="82622"/>
                  </a:lnTo>
                  <a:lnTo>
                    <a:pt x="7398" y="67390"/>
                  </a:lnTo>
                  <a:lnTo>
                    <a:pt x="12107" y="68175"/>
                  </a:lnTo>
                  <a:lnTo>
                    <a:pt x="15985" y="68822"/>
                  </a:lnTo>
                  <a:lnTo>
                    <a:pt x="21649" y="69767"/>
                  </a:lnTo>
                  <a:lnTo>
                    <a:pt x="27510" y="70746"/>
                  </a:lnTo>
                  <a:lnTo>
                    <a:pt x="30939" y="71319"/>
                  </a:lnTo>
                  <a:lnTo>
                    <a:pt x="32112" y="71077"/>
                  </a:lnTo>
                  <a:lnTo>
                    <a:pt x="36852" y="67345"/>
                  </a:lnTo>
                  <a:lnTo>
                    <a:pt x="41125" y="63975"/>
                  </a:lnTo>
                  <a:lnTo>
                    <a:pt x="43684" y="59847"/>
                  </a:lnTo>
                  <a:lnTo>
                    <a:pt x="46163" y="55846"/>
                  </a:lnTo>
                  <a:lnTo>
                    <a:pt x="47299" y="55015"/>
                  </a:lnTo>
                  <a:lnTo>
                    <a:pt x="51097" y="54264"/>
                  </a:lnTo>
                  <a:lnTo>
                    <a:pt x="57119" y="53073"/>
                  </a:lnTo>
                  <a:lnTo>
                    <a:pt x="63086" y="51892"/>
                  </a:lnTo>
                  <a:lnTo>
                    <a:pt x="63561" y="51489"/>
                  </a:lnTo>
                  <a:lnTo>
                    <a:pt x="64952" y="48272"/>
                  </a:lnTo>
                  <a:lnTo>
                    <a:pt x="66720" y="44183"/>
                  </a:lnTo>
                  <a:lnTo>
                    <a:pt x="67081" y="43754"/>
                  </a:lnTo>
                  <a:lnTo>
                    <a:pt x="67519" y="43337"/>
                  </a:lnTo>
                  <a:lnTo>
                    <a:pt x="71791" y="41045"/>
                  </a:lnTo>
                  <a:lnTo>
                    <a:pt x="74382" y="39652"/>
                  </a:lnTo>
                  <a:lnTo>
                    <a:pt x="70687" y="35539"/>
                  </a:lnTo>
                  <a:lnTo>
                    <a:pt x="67204" y="31656"/>
                  </a:lnTo>
                  <a:lnTo>
                    <a:pt x="63302" y="27303"/>
                  </a:lnTo>
                  <a:lnTo>
                    <a:pt x="59996" y="23914"/>
                  </a:lnTo>
                  <a:lnTo>
                    <a:pt x="55038" y="18831"/>
                  </a:lnTo>
                  <a:lnTo>
                    <a:pt x="51794" y="15501"/>
                  </a:lnTo>
                  <a:lnTo>
                    <a:pt x="57478" y="13922"/>
                  </a:lnTo>
                  <a:lnTo>
                    <a:pt x="63619" y="12215"/>
                  </a:lnTo>
                  <a:lnTo>
                    <a:pt x="69821" y="10492"/>
                  </a:lnTo>
                  <a:lnTo>
                    <a:pt x="77286" y="8416"/>
                  </a:lnTo>
                  <a:lnTo>
                    <a:pt x="83125" y="6792"/>
                  </a:lnTo>
                  <a:lnTo>
                    <a:pt x="91840" y="4366"/>
                  </a:lnTo>
                  <a:lnTo>
                    <a:pt x="96101" y="3178"/>
                  </a:lnTo>
                  <a:lnTo>
                    <a:pt x="96870" y="2871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99" name="ee4p_SG_1_37365">
              <a:extLst>
                <a:ext uri="{FF2B5EF4-FFF2-40B4-BE49-F238E27FC236}">
                  <a16:creationId xmlns:a16="http://schemas.microsoft.com/office/drawing/2014/main" id="{444471AB-4F5C-CA36-294E-E1907A4813F0}"/>
                </a:ext>
              </a:extLst>
            </p:cNvPr>
            <p:cNvSpPr>
              <a:spLocks noChangeAspect="1"/>
            </p:cNvSpPr>
            <p:nvPr>
              <p:custDataLst>
                <p:tags r:id="rId253"/>
              </p:custDataLst>
            </p:nvPr>
          </p:nvSpPr>
          <p:spPr>
            <a:xfrm>
              <a:off x="9392998" y="4634501"/>
              <a:ext cx="9616" cy="5185"/>
            </a:xfrm>
            <a:custGeom>
              <a:avLst/>
              <a:gdLst/>
              <a:ahLst/>
              <a:cxnLst/>
              <a:rect l="0" t="0" r="0" b="0"/>
              <a:pathLst>
                <a:path w="7657" h="4019">
                  <a:moveTo>
                    <a:pt x="7066" y="2557"/>
                  </a:moveTo>
                  <a:lnTo>
                    <a:pt x="3754" y="4018"/>
                  </a:lnTo>
                  <a:lnTo>
                    <a:pt x="0" y="2688"/>
                  </a:lnTo>
                  <a:lnTo>
                    <a:pt x="1219" y="523"/>
                  </a:lnTo>
                  <a:lnTo>
                    <a:pt x="3710" y="0"/>
                  </a:lnTo>
                  <a:lnTo>
                    <a:pt x="5723" y="688"/>
                  </a:lnTo>
                  <a:lnTo>
                    <a:pt x="6870" y="1213"/>
                  </a:lnTo>
                  <a:lnTo>
                    <a:pt x="7656" y="1810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00" name="ee4p_SY_1_37365">
              <a:extLst>
                <a:ext uri="{FF2B5EF4-FFF2-40B4-BE49-F238E27FC236}">
                  <a16:creationId xmlns:a16="http://schemas.microsoft.com/office/drawing/2014/main" id="{D99DDC62-DB2B-91CD-A032-AD4AC5098494}"/>
                </a:ext>
              </a:extLst>
            </p:cNvPr>
            <p:cNvSpPr>
              <a:spLocks noChangeAspect="1"/>
            </p:cNvSpPr>
            <p:nvPr>
              <p:custDataLst>
                <p:tags r:id="rId254"/>
              </p:custDataLst>
            </p:nvPr>
          </p:nvSpPr>
          <p:spPr>
            <a:xfrm>
              <a:off x="7507855" y="3560229"/>
              <a:ext cx="183131" cy="160712"/>
            </a:xfrm>
            <a:custGeom>
              <a:avLst/>
              <a:gdLst/>
              <a:ahLst/>
              <a:cxnLst/>
              <a:rect l="0" t="0" r="0" b="0"/>
              <a:pathLst>
                <a:path w="145823" h="124579">
                  <a:moveTo>
                    <a:pt x="145820" y="4806"/>
                  </a:moveTo>
                  <a:lnTo>
                    <a:pt x="145822" y="5152"/>
                  </a:lnTo>
                  <a:lnTo>
                    <a:pt x="145623" y="6028"/>
                  </a:lnTo>
                  <a:lnTo>
                    <a:pt x="143129" y="8558"/>
                  </a:lnTo>
                  <a:lnTo>
                    <a:pt x="139739" y="11990"/>
                  </a:lnTo>
                  <a:lnTo>
                    <a:pt x="137307" y="14154"/>
                  </a:lnTo>
                  <a:lnTo>
                    <a:pt x="133207" y="17797"/>
                  </a:lnTo>
                  <a:lnTo>
                    <a:pt x="130147" y="18577"/>
                  </a:lnTo>
                  <a:lnTo>
                    <a:pt x="124986" y="19889"/>
                  </a:lnTo>
                  <a:lnTo>
                    <a:pt x="123601" y="21161"/>
                  </a:lnTo>
                  <a:lnTo>
                    <a:pt x="122315" y="23213"/>
                  </a:lnTo>
                  <a:lnTo>
                    <a:pt x="121559" y="26019"/>
                  </a:lnTo>
                  <a:lnTo>
                    <a:pt x="121336" y="27773"/>
                  </a:lnTo>
                  <a:lnTo>
                    <a:pt x="121200" y="31048"/>
                  </a:lnTo>
                  <a:lnTo>
                    <a:pt x="122407" y="34441"/>
                  </a:lnTo>
                  <a:lnTo>
                    <a:pt x="123567" y="37693"/>
                  </a:lnTo>
                  <a:lnTo>
                    <a:pt x="123716" y="39843"/>
                  </a:lnTo>
                  <a:lnTo>
                    <a:pt x="123600" y="41961"/>
                  </a:lnTo>
                  <a:lnTo>
                    <a:pt x="122477" y="44220"/>
                  </a:lnTo>
                  <a:lnTo>
                    <a:pt x="121261" y="47315"/>
                  </a:lnTo>
                  <a:lnTo>
                    <a:pt x="120555" y="50814"/>
                  </a:lnTo>
                  <a:lnTo>
                    <a:pt x="120183" y="57352"/>
                  </a:lnTo>
                  <a:lnTo>
                    <a:pt x="120175" y="62910"/>
                  </a:lnTo>
                  <a:lnTo>
                    <a:pt x="120075" y="63819"/>
                  </a:lnTo>
                  <a:lnTo>
                    <a:pt x="117959" y="67734"/>
                  </a:lnTo>
                  <a:lnTo>
                    <a:pt x="115482" y="72307"/>
                  </a:lnTo>
                  <a:lnTo>
                    <a:pt x="114333" y="73366"/>
                  </a:lnTo>
                  <a:lnTo>
                    <a:pt x="108903" y="74726"/>
                  </a:lnTo>
                  <a:lnTo>
                    <a:pt x="102978" y="78070"/>
                  </a:lnTo>
                  <a:lnTo>
                    <a:pt x="96354" y="81805"/>
                  </a:lnTo>
                  <a:lnTo>
                    <a:pt x="90341" y="85193"/>
                  </a:lnTo>
                  <a:lnTo>
                    <a:pt x="84027" y="88744"/>
                  </a:lnTo>
                  <a:lnTo>
                    <a:pt x="77479" y="92424"/>
                  </a:lnTo>
                  <a:lnTo>
                    <a:pt x="72800" y="95052"/>
                  </a:lnTo>
                  <a:lnTo>
                    <a:pt x="66538" y="98563"/>
                  </a:lnTo>
                  <a:lnTo>
                    <a:pt x="60835" y="101917"/>
                  </a:lnTo>
                  <a:lnTo>
                    <a:pt x="55056" y="105313"/>
                  </a:lnTo>
                  <a:lnTo>
                    <a:pt x="50666" y="107890"/>
                  </a:lnTo>
                  <a:lnTo>
                    <a:pt x="43996" y="111962"/>
                  </a:lnTo>
                  <a:lnTo>
                    <a:pt x="40090" y="114348"/>
                  </a:lnTo>
                  <a:lnTo>
                    <a:pt x="34343" y="117852"/>
                  </a:lnTo>
                  <a:lnTo>
                    <a:pt x="29288" y="120934"/>
                  </a:lnTo>
                  <a:lnTo>
                    <a:pt x="23304" y="124578"/>
                  </a:lnTo>
                  <a:lnTo>
                    <a:pt x="15805" y="123496"/>
                  </a:lnTo>
                  <a:lnTo>
                    <a:pt x="13436" y="122867"/>
                  </a:lnTo>
                  <a:lnTo>
                    <a:pt x="11495" y="121132"/>
                  </a:lnTo>
                  <a:lnTo>
                    <a:pt x="10068" y="120206"/>
                  </a:lnTo>
                  <a:lnTo>
                    <a:pt x="6524" y="119254"/>
                  </a:lnTo>
                  <a:lnTo>
                    <a:pt x="4246" y="115982"/>
                  </a:lnTo>
                  <a:lnTo>
                    <a:pt x="2881" y="114823"/>
                  </a:lnTo>
                  <a:lnTo>
                    <a:pt x="506" y="114302"/>
                  </a:lnTo>
                  <a:lnTo>
                    <a:pt x="819" y="113133"/>
                  </a:lnTo>
                  <a:lnTo>
                    <a:pt x="2043" y="111160"/>
                  </a:lnTo>
                  <a:lnTo>
                    <a:pt x="3296" y="109007"/>
                  </a:lnTo>
                  <a:lnTo>
                    <a:pt x="2600" y="107810"/>
                  </a:lnTo>
                  <a:lnTo>
                    <a:pt x="2374" y="106792"/>
                  </a:lnTo>
                  <a:lnTo>
                    <a:pt x="2291" y="105576"/>
                  </a:lnTo>
                  <a:lnTo>
                    <a:pt x="3144" y="104412"/>
                  </a:lnTo>
                  <a:lnTo>
                    <a:pt x="2743" y="103009"/>
                  </a:lnTo>
                  <a:lnTo>
                    <a:pt x="2086" y="101597"/>
                  </a:lnTo>
                  <a:lnTo>
                    <a:pt x="1605" y="100889"/>
                  </a:lnTo>
                  <a:lnTo>
                    <a:pt x="1607" y="99595"/>
                  </a:lnTo>
                  <a:lnTo>
                    <a:pt x="1927" y="98606"/>
                  </a:lnTo>
                  <a:lnTo>
                    <a:pt x="2315" y="97089"/>
                  </a:lnTo>
                  <a:lnTo>
                    <a:pt x="3324" y="96256"/>
                  </a:lnTo>
                  <a:lnTo>
                    <a:pt x="3585" y="95391"/>
                  </a:lnTo>
                  <a:lnTo>
                    <a:pt x="4492" y="94542"/>
                  </a:lnTo>
                  <a:lnTo>
                    <a:pt x="5701" y="93850"/>
                  </a:lnTo>
                  <a:lnTo>
                    <a:pt x="5971" y="93291"/>
                  </a:lnTo>
                  <a:lnTo>
                    <a:pt x="5799" y="92971"/>
                  </a:lnTo>
                  <a:lnTo>
                    <a:pt x="4583" y="92348"/>
                  </a:lnTo>
                  <a:lnTo>
                    <a:pt x="3935" y="91245"/>
                  </a:lnTo>
                  <a:lnTo>
                    <a:pt x="4511" y="89636"/>
                  </a:lnTo>
                  <a:lnTo>
                    <a:pt x="4903" y="89134"/>
                  </a:lnTo>
                  <a:lnTo>
                    <a:pt x="5626" y="88358"/>
                  </a:lnTo>
                  <a:lnTo>
                    <a:pt x="7247" y="87175"/>
                  </a:lnTo>
                  <a:lnTo>
                    <a:pt x="8521" y="86978"/>
                  </a:lnTo>
                  <a:lnTo>
                    <a:pt x="9619" y="86977"/>
                  </a:lnTo>
                  <a:lnTo>
                    <a:pt x="11475" y="87075"/>
                  </a:lnTo>
                  <a:lnTo>
                    <a:pt x="12916" y="87287"/>
                  </a:lnTo>
                  <a:lnTo>
                    <a:pt x="13281" y="86982"/>
                  </a:lnTo>
                  <a:lnTo>
                    <a:pt x="13231" y="86590"/>
                  </a:lnTo>
                  <a:lnTo>
                    <a:pt x="11450" y="85620"/>
                  </a:lnTo>
                  <a:lnTo>
                    <a:pt x="11353" y="84847"/>
                  </a:lnTo>
                  <a:lnTo>
                    <a:pt x="11795" y="84018"/>
                  </a:lnTo>
                  <a:lnTo>
                    <a:pt x="13056" y="82709"/>
                  </a:lnTo>
                  <a:lnTo>
                    <a:pt x="14559" y="81750"/>
                  </a:lnTo>
                  <a:lnTo>
                    <a:pt x="15326" y="81577"/>
                  </a:lnTo>
                  <a:lnTo>
                    <a:pt x="17042" y="79649"/>
                  </a:lnTo>
                  <a:lnTo>
                    <a:pt x="18144" y="77486"/>
                  </a:lnTo>
                  <a:lnTo>
                    <a:pt x="16362" y="72224"/>
                  </a:lnTo>
                  <a:lnTo>
                    <a:pt x="15283" y="71381"/>
                  </a:lnTo>
                  <a:lnTo>
                    <a:pt x="13533" y="70658"/>
                  </a:lnTo>
                  <a:lnTo>
                    <a:pt x="12503" y="70547"/>
                  </a:lnTo>
                  <a:lnTo>
                    <a:pt x="12423" y="70205"/>
                  </a:lnTo>
                  <a:lnTo>
                    <a:pt x="13804" y="68867"/>
                  </a:lnTo>
                  <a:lnTo>
                    <a:pt x="14784" y="67704"/>
                  </a:lnTo>
                  <a:lnTo>
                    <a:pt x="13698" y="66595"/>
                  </a:lnTo>
                  <a:lnTo>
                    <a:pt x="11761" y="66075"/>
                  </a:lnTo>
                  <a:lnTo>
                    <a:pt x="11037" y="67220"/>
                  </a:lnTo>
                  <a:lnTo>
                    <a:pt x="8550" y="67327"/>
                  </a:lnTo>
                  <a:lnTo>
                    <a:pt x="4684" y="67312"/>
                  </a:lnTo>
                  <a:lnTo>
                    <a:pt x="2982" y="61740"/>
                  </a:lnTo>
                  <a:lnTo>
                    <a:pt x="2730" y="59325"/>
                  </a:lnTo>
                  <a:lnTo>
                    <a:pt x="2776" y="56528"/>
                  </a:lnTo>
                  <a:lnTo>
                    <a:pt x="3950" y="52428"/>
                  </a:lnTo>
                  <a:lnTo>
                    <a:pt x="3397" y="50529"/>
                  </a:lnTo>
                  <a:lnTo>
                    <a:pt x="3352" y="49248"/>
                  </a:lnTo>
                  <a:lnTo>
                    <a:pt x="3052" y="47486"/>
                  </a:lnTo>
                  <a:lnTo>
                    <a:pt x="0" y="43693"/>
                  </a:lnTo>
                  <a:lnTo>
                    <a:pt x="1663" y="36703"/>
                  </a:lnTo>
                  <a:lnTo>
                    <a:pt x="2836" y="35006"/>
                  </a:lnTo>
                  <a:lnTo>
                    <a:pt x="4492" y="35170"/>
                  </a:lnTo>
                  <a:lnTo>
                    <a:pt x="8025" y="37151"/>
                  </a:lnTo>
                  <a:lnTo>
                    <a:pt x="8606" y="37090"/>
                  </a:lnTo>
                  <a:lnTo>
                    <a:pt x="9675" y="34476"/>
                  </a:lnTo>
                  <a:lnTo>
                    <a:pt x="10711" y="33589"/>
                  </a:lnTo>
                  <a:lnTo>
                    <a:pt x="12894" y="32812"/>
                  </a:lnTo>
                  <a:lnTo>
                    <a:pt x="13510" y="28577"/>
                  </a:lnTo>
                  <a:lnTo>
                    <a:pt x="14529" y="27763"/>
                  </a:lnTo>
                  <a:lnTo>
                    <a:pt x="15758" y="27327"/>
                  </a:lnTo>
                  <a:lnTo>
                    <a:pt x="17645" y="27245"/>
                  </a:lnTo>
                  <a:lnTo>
                    <a:pt x="19288" y="26991"/>
                  </a:lnTo>
                  <a:lnTo>
                    <a:pt x="19392" y="26244"/>
                  </a:lnTo>
                  <a:lnTo>
                    <a:pt x="17094" y="21338"/>
                  </a:lnTo>
                  <a:lnTo>
                    <a:pt x="17297" y="20099"/>
                  </a:lnTo>
                  <a:lnTo>
                    <a:pt x="18407" y="15155"/>
                  </a:lnTo>
                  <a:lnTo>
                    <a:pt x="19105" y="13218"/>
                  </a:lnTo>
                  <a:lnTo>
                    <a:pt x="19772" y="12587"/>
                  </a:lnTo>
                  <a:lnTo>
                    <a:pt x="22381" y="12837"/>
                  </a:lnTo>
                  <a:lnTo>
                    <a:pt x="26034" y="13707"/>
                  </a:lnTo>
                  <a:lnTo>
                    <a:pt x="26997" y="15129"/>
                  </a:lnTo>
                  <a:lnTo>
                    <a:pt x="28785" y="16391"/>
                  </a:lnTo>
                  <a:lnTo>
                    <a:pt x="31465" y="16308"/>
                  </a:lnTo>
                  <a:lnTo>
                    <a:pt x="34553" y="16544"/>
                  </a:lnTo>
                  <a:lnTo>
                    <a:pt x="36969" y="16627"/>
                  </a:lnTo>
                  <a:lnTo>
                    <a:pt x="38898" y="15739"/>
                  </a:lnTo>
                  <a:lnTo>
                    <a:pt x="43249" y="14081"/>
                  </a:lnTo>
                  <a:lnTo>
                    <a:pt x="45408" y="13525"/>
                  </a:lnTo>
                  <a:lnTo>
                    <a:pt x="47369" y="12788"/>
                  </a:lnTo>
                  <a:lnTo>
                    <a:pt x="53672" y="10071"/>
                  </a:lnTo>
                  <a:lnTo>
                    <a:pt x="56196" y="10280"/>
                  </a:lnTo>
                  <a:lnTo>
                    <a:pt x="57924" y="10638"/>
                  </a:lnTo>
                  <a:lnTo>
                    <a:pt x="59245" y="11070"/>
                  </a:lnTo>
                  <a:lnTo>
                    <a:pt x="62215" y="12928"/>
                  </a:lnTo>
                  <a:lnTo>
                    <a:pt x="64666" y="14806"/>
                  </a:lnTo>
                  <a:lnTo>
                    <a:pt x="66384" y="15364"/>
                  </a:lnTo>
                  <a:lnTo>
                    <a:pt x="69476" y="15324"/>
                  </a:lnTo>
                  <a:lnTo>
                    <a:pt x="73942" y="15682"/>
                  </a:lnTo>
                  <a:lnTo>
                    <a:pt x="79431" y="15656"/>
                  </a:lnTo>
                  <a:lnTo>
                    <a:pt x="82634" y="15132"/>
                  </a:lnTo>
                  <a:lnTo>
                    <a:pt x="86726" y="14209"/>
                  </a:lnTo>
                  <a:lnTo>
                    <a:pt x="94020" y="11989"/>
                  </a:lnTo>
                  <a:lnTo>
                    <a:pt x="103616" y="7343"/>
                  </a:lnTo>
                  <a:lnTo>
                    <a:pt x="109261" y="5083"/>
                  </a:lnTo>
                  <a:lnTo>
                    <a:pt x="111693" y="4818"/>
                  </a:lnTo>
                  <a:lnTo>
                    <a:pt x="114861" y="4792"/>
                  </a:lnTo>
                  <a:lnTo>
                    <a:pt x="118028" y="5384"/>
                  </a:lnTo>
                  <a:lnTo>
                    <a:pt x="121621" y="5805"/>
                  </a:lnTo>
                  <a:lnTo>
                    <a:pt x="123278" y="5768"/>
                  </a:lnTo>
                  <a:lnTo>
                    <a:pt x="127169" y="5301"/>
                  </a:lnTo>
                  <a:lnTo>
                    <a:pt x="132211" y="4360"/>
                  </a:lnTo>
                  <a:lnTo>
                    <a:pt x="135379" y="3589"/>
                  </a:lnTo>
                  <a:lnTo>
                    <a:pt x="139205" y="2325"/>
                  </a:lnTo>
                  <a:lnTo>
                    <a:pt x="141594" y="221"/>
                  </a:lnTo>
                  <a:lnTo>
                    <a:pt x="142365" y="0"/>
                  </a:lnTo>
                  <a:lnTo>
                    <a:pt x="143356" y="384"/>
                  </a:lnTo>
                  <a:lnTo>
                    <a:pt x="143820" y="528"/>
                  </a:lnTo>
                  <a:lnTo>
                    <a:pt x="144800" y="1725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01" name="ee4p_TH_1_37365">
              <a:extLst>
                <a:ext uri="{FF2B5EF4-FFF2-40B4-BE49-F238E27FC236}">
                  <a16:creationId xmlns:a16="http://schemas.microsoft.com/office/drawing/2014/main" id="{29C59E92-EBF9-3E98-A093-44ECA03D98A4}"/>
                </a:ext>
              </a:extLst>
            </p:cNvPr>
            <p:cNvSpPr>
              <a:spLocks noChangeAspect="1"/>
            </p:cNvSpPr>
            <p:nvPr>
              <p:custDataLst>
                <p:tags r:id="rId255"/>
              </p:custDataLst>
            </p:nvPr>
          </p:nvSpPr>
          <p:spPr>
            <a:xfrm>
              <a:off x="9218712" y="4085106"/>
              <a:ext cx="229572" cy="429721"/>
            </a:xfrm>
            <a:custGeom>
              <a:avLst/>
              <a:gdLst>
                <a:gd name="connsiteX0" fmla="*/ 50418 w 182803"/>
                <a:gd name="connsiteY0" fmla="*/ 309195 h 333107"/>
                <a:gd name="connsiteX1" fmla="*/ 51465 w 182803"/>
                <a:gd name="connsiteY1" fmla="*/ 312383 h 333107"/>
                <a:gd name="connsiteX2" fmla="*/ 50618 w 182803"/>
                <a:gd name="connsiteY2" fmla="*/ 313463 h 333107"/>
                <a:gd name="connsiteX3" fmla="*/ 50198 w 182803"/>
                <a:gd name="connsiteY3" fmla="*/ 313592 h 333107"/>
                <a:gd name="connsiteX4" fmla="*/ 49370 w 182803"/>
                <a:gd name="connsiteY4" fmla="*/ 311800 h 333107"/>
                <a:gd name="connsiteX5" fmla="*/ 36953 w 182803"/>
                <a:gd name="connsiteY5" fmla="*/ 288696 h 333107"/>
                <a:gd name="connsiteX6" fmla="*/ 37690 w 182803"/>
                <a:gd name="connsiteY6" fmla="*/ 289689 h 333107"/>
                <a:gd name="connsiteX7" fmla="*/ 38264 w 182803"/>
                <a:gd name="connsiteY7" fmla="*/ 292370 h 333107"/>
                <a:gd name="connsiteX8" fmla="*/ 37456 w 182803"/>
                <a:gd name="connsiteY8" fmla="*/ 291823 h 333107"/>
                <a:gd name="connsiteX9" fmla="*/ 36790 w 182803"/>
                <a:gd name="connsiteY9" fmla="*/ 290653 h 333107"/>
                <a:gd name="connsiteX10" fmla="*/ 36798 w 182803"/>
                <a:gd name="connsiteY10" fmla="*/ 288936 h 333107"/>
                <a:gd name="connsiteX11" fmla="*/ 25550 w 182803"/>
                <a:gd name="connsiteY11" fmla="*/ 278195 h 333107"/>
                <a:gd name="connsiteX12" fmla="*/ 27206 w 182803"/>
                <a:gd name="connsiteY12" fmla="*/ 279335 h 333107"/>
                <a:gd name="connsiteX13" fmla="*/ 26934 w 182803"/>
                <a:gd name="connsiteY13" fmla="*/ 282080 h 333107"/>
                <a:gd name="connsiteX14" fmla="*/ 26669 w 182803"/>
                <a:gd name="connsiteY14" fmla="*/ 282456 h 333107"/>
                <a:gd name="connsiteX15" fmla="*/ 20965 w 182803"/>
                <a:gd name="connsiteY15" fmla="*/ 276909 h 333107"/>
                <a:gd name="connsiteX16" fmla="*/ 21605 w 182803"/>
                <a:gd name="connsiteY16" fmla="*/ 278148 h 333107"/>
                <a:gd name="connsiteX17" fmla="*/ 23462 w 182803"/>
                <a:gd name="connsiteY17" fmla="*/ 278704 h 333107"/>
                <a:gd name="connsiteX18" fmla="*/ 22663 w 182803"/>
                <a:gd name="connsiteY18" fmla="*/ 281399 h 333107"/>
                <a:gd name="connsiteX19" fmla="*/ 22889 w 182803"/>
                <a:gd name="connsiteY19" fmla="*/ 282790 h 333107"/>
                <a:gd name="connsiteX20" fmla="*/ 22654 w 182803"/>
                <a:gd name="connsiteY20" fmla="*/ 284428 h 333107"/>
                <a:gd name="connsiteX21" fmla="*/ 21747 w 182803"/>
                <a:gd name="connsiteY21" fmla="*/ 284405 h 333107"/>
                <a:gd name="connsiteX22" fmla="*/ 20823 w 182803"/>
                <a:gd name="connsiteY22" fmla="*/ 285453 h 333107"/>
                <a:gd name="connsiteX23" fmla="*/ 20395 w 182803"/>
                <a:gd name="connsiteY23" fmla="*/ 285592 h 333107"/>
                <a:gd name="connsiteX24" fmla="*/ 19644 w 182803"/>
                <a:gd name="connsiteY24" fmla="*/ 282255 h 333107"/>
                <a:gd name="connsiteX25" fmla="*/ 20508 w 182803"/>
                <a:gd name="connsiteY25" fmla="*/ 277579 h 333107"/>
                <a:gd name="connsiteX26" fmla="*/ 20503 w 182803"/>
                <a:gd name="connsiteY26" fmla="*/ 255240 h 333107"/>
                <a:gd name="connsiteX27" fmla="*/ 20754 w 182803"/>
                <a:gd name="connsiteY27" fmla="*/ 256550 h 333107"/>
                <a:gd name="connsiteX28" fmla="*/ 20643 w 182803"/>
                <a:gd name="connsiteY28" fmla="*/ 257194 h 333107"/>
                <a:gd name="connsiteX29" fmla="*/ 19389 w 182803"/>
                <a:gd name="connsiteY29" fmla="*/ 257432 h 333107"/>
                <a:gd name="connsiteX30" fmla="*/ 19558 w 182803"/>
                <a:gd name="connsiteY30" fmla="*/ 256215 h 333107"/>
                <a:gd name="connsiteX31" fmla="*/ 19895 w 182803"/>
                <a:gd name="connsiteY31" fmla="*/ 255446 h 333107"/>
                <a:gd name="connsiteX32" fmla="*/ 59631 w 182803"/>
                <a:gd name="connsiteY32" fmla="*/ 245273 h 333107"/>
                <a:gd name="connsiteX33" fmla="*/ 59733 w 182803"/>
                <a:gd name="connsiteY33" fmla="*/ 246536 h 333107"/>
                <a:gd name="connsiteX34" fmla="*/ 59256 w 182803"/>
                <a:gd name="connsiteY34" fmla="*/ 248053 h 333107"/>
                <a:gd name="connsiteX35" fmla="*/ 57237 w 182803"/>
                <a:gd name="connsiteY35" fmla="*/ 248940 h 333107"/>
                <a:gd name="connsiteX36" fmla="*/ 56548 w 182803"/>
                <a:gd name="connsiteY36" fmla="*/ 247726 h 333107"/>
                <a:gd name="connsiteX37" fmla="*/ 56731 w 182803"/>
                <a:gd name="connsiteY37" fmla="*/ 245855 h 333107"/>
                <a:gd name="connsiteX38" fmla="*/ 57042 w 182803"/>
                <a:gd name="connsiteY38" fmla="*/ 245385 h 333107"/>
                <a:gd name="connsiteX39" fmla="*/ 59018 w 182803"/>
                <a:gd name="connsiteY39" fmla="*/ 245478 h 333107"/>
                <a:gd name="connsiteX40" fmla="*/ 57701 w 182803"/>
                <a:gd name="connsiteY40" fmla="*/ 240642 h 333107"/>
                <a:gd name="connsiteX41" fmla="*/ 59029 w 182803"/>
                <a:gd name="connsiteY41" fmla="*/ 240684 h 333107"/>
                <a:gd name="connsiteX42" fmla="*/ 59683 w 182803"/>
                <a:gd name="connsiteY42" fmla="*/ 241634 h 333107"/>
                <a:gd name="connsiteX43" fmla="*/ 59707 w 182803"/>
                <a:gd name="connsiteY43" fmla="*/ 242804 h 333107"/>
                <a:gd name="connsiteX44" fmla="*/ 59493 w 182803"/>
                <a:gd name="connsiteY44" fmla="*/ 243177 h 333107"/>
                <a:gd name="connsiteX45" fmla="*/ 58636 w 182803"/>
                <a:gd name="connsiteY45" fmla="*/ 242468 h 333107"/>
                <a:gd name="connsiteX46" fmla="*/ 58025 w 182803"/>
                <a:gd name="connsiteY46" fmla="*/ 241668 h 333107"/>
                <a:gd name="connsiteX47" fmla="*/ 114873 w 182803"/>
                <a:gd name="connsiteY47" fmla="*/ 198192 h 333107"/>
                <a:gd name="connsiteX48" fmla="*/ 115702 w 182803"/>
                <a:gd name="connsiteY48" fmla="*/ 198532 h 333107"/>
                <a:gd name="connsiteX49" fmla="*/ 115337 w 182803"/>
                <a:gd name="connsiteY49" fmla="*/ 200870 h 333107"/>
                <a:gd name="connsiteX50" fmla="*/ 114074 w 182803"/>
                <a:gd name="connsiteY50" fmla="*/ 199912 h 333107"/>
                <a:gd name="connsiteX51" fmla="*/ 114377 w 182803"/>
                <a:gd name="connsiteY51" fmla="*/ 198728 h 333107"/>
                <a:gd name="connsiteX52" fmla="*/ 108427 w 182803"/>
                <a:gd name="connsiteY52" fmla="*/ 187874 h 333107"/>
                <a:gd name="connsiteX53" fmla="*/ 109343 w 182803"/>
                <a:gd name="connsiteY53" fmla="*/ 188103 h 333107"/>
                <a:gd name="connsiteX54" fmla="*/ 110654 w 182803"/>
                <a:gd name="connsiteY54" fmla="*/ 189647 h 333107"/>
                <a:gd name="connsiteX55" fmla="*/ 111323 w 182803"/>
                <a:gd name="connsiteY55" fmla="*/ 190718 h 333107"/>
                <a:gd name="connsiteX56" fmla="*/ 111729 w 182803"/>
                <a:gd name="connsiteY56" fmla="*/ 191533 h 333107"/>
                <a:gd name="connsiteX57" fmla="*/ 111800 w 182803"/>
                <a:gd name="connsiteY57" fmla="*/ 192071 h 333107"/>
                <a:gd name="connsiteX58" fmla="*/ 110654 w 182803"/>
                <a:gd name="connsiteY58" fmla="*/ 191663 h 333107"/>
                <a:gd name="connsiteX59" fmla="*/ 110252 w 182803"/>
                <a:gd name="connsiteY59" fmla="*/ 191854 h 333107"/>
                <a:gd name="connsiteX60" fmla="*/ 108969 w 182803"/>
                <a:gd name="connsiteY60" fmla="*/ 191711 h 333107"/>
                <a:gd name="connsiteX61" fmla="*/ 108337 w 182803"/>
                <a:gd name="connsiteY61" fmla="*/ 188604 h 333107"/>
                <a:gd name="connsiteX62" fmla="*/ 55643 w 182803"/>
                <a:gd name="connsiteY62" fmla="*/ 0 h 333107"/>
                <a:gd name="connsiteX63" fmla="*/ 57058 w 182803"/>
                <a:gd name="connsiteY63" fmla="*/ 207 h 333107"/>
                <a:gd name="connsiteX64" fmla="*/ 58148 w 182803"/>
                <a:gd name="connsiteY64" fmla="*/ 1033 h 333107"/>
                <a:gd name="connsiteX65" fmla="*/ 60776 w 182803"/>
                <a:gd name="connsiteY65" fmla="*/ 2483 h 333107"/>
                <a:gd name="connsiteX66" fmla="*/ 60610 w 182803"/>
                <a:gd name="connsiteY66" fmla="*/ 3841 h 333107"/>
                <a:gd name="connsiteX67" fmla="*/ 61158 w 182803"/>
                <a:gd name="connsiteY67" fmla="*/ 4124 h 333107"/>
                <a:gd name="connsiteX68" fmla="*/ 61918 w 182803"/>
                <a:gd name="connsiteY68" fmla="*/ 3494 h 333107"/>
                <a:gd name="connsiteX69" fmla="*/ 62890 w 182803"/>
                <a:gd name="connsiteY69" fmla="*/ 1954 h 333107"/>
                <a:gd name="connsiteX70" fmla="*/ 63950 w 182803"/>
                <a:gd name="connsiteY70" fmla="*/ 1086 h 333107"/>
                <a:gd name="connsiteX71" fmla="*/ 65099 w 182803"/>
                <a:gd name="connsiteY71" fmla="*/ 888 h 333107"/>
                <a:gd name="connsiteX72" fmla="*/ 66319 w 182803"/>
                <a:gd name="connsiteY72" fmla="*/ 1937 h 333107"/>
                <a:gd name="connsiteX73" fmla="*/ 67610 w 182803"/>
                <a:gd name="connsiteY73" fmla="*/ 4231 h 333107"/>
                <a:gd name="connsiteX74" fmla="*/ 68938 w 182803"/>
                <a:gd name="connsiteY74" fmla="*/ 5536 h 333107"/>
                <a:gd name="connsiteX75" fmla="*/ 69556 w 182803"/>
                <a:gd name="connsiteY75" fmla="*/ 5677 h 333107"/>
                <a:gd name="connsiteX76" fmla="*/ 70007 w 182803"/>
                <a:gd name="connsiteY76" fmla="*/ 6726 h 333107"/>
                <a:gd name="connsiteX77" fmla="*/ 70076 w 182803"/>
                <a:gd name="connsiteY77" fmla="*/ 7731 h 333107"/>
                <a:gd name="connsiteX78" fmla="*/ 69446 w 182803"/>
                <a:gd name="connsiteY78" fmla="*/ 9856 h 333107"/>
                <a:gd name="connsiteX79" fmla="*/ 68377 w 182803"/>
                <a:gd name="connsiteY79" fmla="*/ 12326 h 333107"/>
                <a:gd name="connsiteX80" fmla="*/ 66861 w 182803"/>
                <a:gd name="connsiteY80" fmla="*/ 15379 h 333107"/>
                <a:gd name="connsiteX81" fmla="*/ 67358 w 182803"/>
                <a:gd name="connsiteY81" fmla="*/ 17944 h 333107"/>
                <a:gd name="connsiteX82" fmla="*/ 69424 w 182803"/>
                <a:gd name="connsiteY82" fmla="*/ 20034 h 333107"/>
                <a:gd name="connsiteX83" fmla="*/ 71899 w 182803"/>
                <a:gd name="connsiteY83" fmla="*/ 21265 h 333107"/>
                <a:gd name="connsiteX84" fmla="*/ 74518 w 182803"/>
                <a:gd name="connsiteY84" fmla="*/ 20923 h 333107"/>
                <a:gd name="connsiteX85" fmla="*/ 75909 w 182803"/>
                <a:gd name="connsiteY85" fmla="*/ 20299 h 333107"/>
                <a:gd name="connsiteX86" fmla="*/ 77045 w 182803"/>
                <a:gd name="connsiteY86" fmla="*/ 19309 h 333107"/>
                <a:gd name="connsiteX87" fmla="*/ 78103 w 182803"/>
                <a:gd name="connsiteY87" fmla="*/ 18842 h 333107"/>
                <a:gd name="connsiteX88" fmla="*/ 79440 w 182803"/>
                <a:gd name="connsiteY88" fmla="*/ 18718 h 333107"/>
                <a:gd name="connsiteX89" fmla="*/ 83601 w 182803"/>
                <a:gd name="connsiteY89" fmla="*/ 19443 h 333107"/>
                <a:gd name="connsiteX90" fmla="*/ 84866 w 182803"/>
                <a:gd name="connsiteY90" fmla="*/ 20152 h 333107"/>
                <a:gd name="connsiteX91" fmla="*/ 85063 w 182803"/>
                <a:gd name="connsiteY91" fmla="*/ 21569 h 333107"/>
                <a:gd name="connsiteX92" fmla="*/ 84549 w 182803"/>
                <a:gd name="connsiteY92" fmla="*/ 25211 h 333107"/>
                <a:gd name="connsiteX93" fmla="*/ 85190 w 182803"/>
                <a:gd name="connsiteY93" fmla="*/ 27881 h 333107"/>
                <a:gd name="connsiteX94" fmla="*/ 86369 w 182803"/>
                <a:gd name="connsiteY94" fmla="*/ 30692 h 333107"/>
                <a:gd name="connsiteX95" fmla="*/ 86512 w 182803"/>
                <a:gd name="connsiteY95" fmla="*/ 33253 h 333107"/>
                <a:gd name="connsiteX96" fmla="*/ 85056 w 182803"/>
                <a:gd name="connsiteY96" fmla="*/ 37476 h 333107"/>
                <a:gd name="connsiteX97" fmla="*/ 83840 w 182803"/>
                <a:gd name="connsiteY97" fmla="*/ 41469 h 333107"/>
                <a:gd name="connsiteX98" fmla="*/ 82532 w 182803"/>
                <a:gd name="connsiteY98" fmla="*/ 43408 h 333107"/>
                <a:gd name="connsiteX99" fmla="*/ 81517 w 182803"/>
                <a:gd name="connsiteY99" fmla="*/ 44656 h 333107"/>
                <a:gd name="connsiteX100" fmla="*/ 81219 w 182803"/>
                <a:gd name="connsiteY100" fmla="*/ 45502 h 333107"/>
                <a:gd name="connsiteX101" fmla="*/ 81299 w 182803"/>
                <a:gd name="connsiteY101" fmla="*/ 46302 h 333107"/>
                <a:gd name="connsiteX102" fmla="*/ 82232 w 182803"/>
                <a:gd name="connsiteY102" fmla="*/ 47502 h 333107"/>
                <a:gd name="connsiteX103" fmla="*/ 83220 w 182803"/>
                <a:gd name="connsiteY103" fmla="*/ 49048 h 333107"/>
                <a:gd name="connsiteX104" fmla="*/ 83469 w 182803"/>
                <a:gd name="connsiteY104" fmla="*/ 50527 h 333107"/>
                <a:gd name="connsiteX105" fmla="*/ 83363 w 182803"/>
                <a:gd name="connsiteY105" fmla="*/ 52344 h 333107"/>
                <a:gd name="connsiteX106" fmla="*/ 82685 w 182803"/>
                <a:gd name="connsiteY106" fmla="*/ 54835 h 333107"/>
                <a:gd name="connsiteX107" fmla="*/ 80158 w 182803"/>
                <a:gd name="connsiteY107" fmla="*/ 60229 h 333107"/>
                <a:gd name="connsiteX108" fmla="*/ 78157 w 182803"/>
                <a:gd name="connsiteY108" fmla="*/ 65093 h 333107"/>
                <a:gd name="connsiteX109" fmla="*/ 79204 w 182803"/>
                <a:gd name="connsiteY109" fmla="*/ 66068 h 333107"/>
                <a:gd name="connsiteX110" fmla="*/ 81191 w 182803"/>
                <a:gd name="connsiteY110" fmla="*/ 66778 h 333107"/>
                <a:gd name="connsiteX111" fmla="*/ 82506 w 182803"/>
                <a:gd name="connsiteY111" fmla="*/ 67471 h 333107"/>
                <a:gd name="connsiteX112" fmla="*/ 83884 w 182803"/>
                <a:gd name="connsiteY112" fmla="*/ 67027 h 333107"/>
                <a:gd name="connsiteX113" fmla="*/ 86807 w 182803"/>
                <a:gd name="connsiteY113" fmla="*/ 64156 h 333107"/>
                <a:gd name="connsiteX114" fmla="*/ 89328 w 182803"/>
                <a:gd name="connsiteY114" fmla="*/ 62018 h 333107"/>
                <a:gd name="connsiteX115" fmla="*/ 92454 w 182803"/>
                <a:gd name="connsiteY115" fmla="*/ 59883 h 333107"/>
                <a:gd name="connsiteX116" fmla="*/ 92645 w 182803"/>
                <a:gd name="connsiteY116" fmla="*/ 59697 h 333107"/>
                <a:gd name="connsiteX117" fmla="*/ 95382 w 182803"/>
                <a:gd name="connsiteY117" fmla="*/ 58125 h 333107"/>
                <a:gd name="connsiteX118" fmla="*/ 96635 w 182803"/>
                <a:gd name="connsiteY118" fmla="*/ 56681 h 333107"/>
                <a:gd name="connsiteX119" fmla="*/ 97312 w 182803"/>
                <a:gd name="connsiteY119" fmla="*/ 54838 h 333107"/>
                <a:gd name="connsiteX120" fmla="*/ 98282 w 182803"/>
                <a:gd name="connsiteY120" fmla="*/ 54125 h 333107"/>
                <a:gd name="connsiteX121" fmla="*/ 99539 w 182803"/>
                <a:gd name="connsiteY121" fmla="*/ 54541 h 333107"/>
                <a:gd name="connsiteX122" fmla="*/ 101131 w 182803"/>
                <a:gd name="connsiteY122" fmla="*/ 53740 h 333107"/>
                <a:gd name="connsiteX123" fmla="*/ 103057 w 182803"/>
                <a:gd name="connsiteY123" fmla="*/ 51723 h 333107"/>
                <a:gd name="connsiteX124" fmla="*/ 104536 w 182803"/>
                <a:gd name="connsiteY124" fmla="*/ 50790 h 333107"/>
                <a:gd name="connsiteX125" fmla="*/ 105570 w 182803"/>
                <a:gd name="connsiteY125" fmla="*/ 50945 h 333107"/>
                <a:gd name="connsiteX126" fmla="*/ 107414 w 182803"/>
                <a:gd name="connsiteY126" fmla="*/ 52199 h 333107"/>
                <a:gd name="connsiteX127" fmla="*/ 110072 w 182803"/>
                <a:gd name="connsiteY127" fmla="*/ 54552 h 333107"/>
                <a:gd name="connsiteX128" fmla="*/ 112437 w 182803"/>
                <a:gd name="connsiteY128" fmla="*/ 55952 h 333107"/>
                <a:gd name="connsiteX129" fmla="*/ 114510 w 182803"/>
                <a:gd name="connsiteY129" fmla="*/ 56398 h 333107"/>
                <a:gd name="connsiteX130" fmla="*/ 115521 w 182803"/>
                <a:gd name="connsiteY130" fmla="*/ 57273 h 333107"/>
                <a:gd name="connsiteX131" fmla="*/ 115473 w 182803"/>
                <a:gd name="connsiteY131" fmla="*/ 58576 h 333107"/>
                <a:gd name="connsiteX132" fmla="*/ 115931 w 182803"/>
                <a:gd name="connsiteY132" fmla="*/ 59404 h 333107"/>
                <a:gd name="connsiteX133" fmla="*/ 116900 w 182803"/>
                <a:gd name="connsiteY133" fmla="*/ 59755 h 333107"/>
                <a:gd name="connsiteX134" fmla="*/ 117331 w 182803"/>
                <a:gd name="connsiteY134" fmla="*/ 59615 h 333107"/>
                <a:gd name="connsiteX135" fmla="*/ 117222 w 182803"/>
                <a:gd name="connsiteY135" fmla="*/ 58984 h 333107"/>
                <a:gd name="connsiteX136" fmla="*/ 118159 w 182803"/>
                <a:gd name="connsiteY136" fmla="*/ 58060 h 333107"/>
                <a:gd name="connsiteX137" fmla="*/ 120146 w 182803"/>
                <a:gd name="connsiteY137" fmla="*/ 56844 h 333107"/>
                <a:gd name="connsiteX138" fmla="*/ 122163 w 182803"/>
                <a:gd name="connsiteY138" fmla="*/ 56128 h 333107"/>
                <a:gd name="connsiteX139" fmla="*/ 124215 w 182803"/>
                <a:gd name="connsiteY139" fmla="*/ 55915 h 333107"/>
                <a:gd name="connsiteX140" fmla="*/ 125540 w 182803"/>
                <a:gd name="connsiteY140" fmla="*/ 54950 h 333107"/>
                <a:gd name="connsiteX141" fmla="*/ 126422 w 182803"/>
                <a:gd name="connsiteY141" fmla="*/ 52444 h 333107"/>
                <a:gd name="connsiteX142" fmla="*/ 127689 w 182803"/>
                <a:gd name="connsiteY142" fmla="*/ 50537 h 333107"/>
                <a:gd name="connsiteX143" fmla="*/ 128821 w 182803"/>
                <a:gd name="connsiteY143" fmla="*/ 49674 h 333107"/>
                <a:gd name="connsiteX144" fmla="*/ 130224 w 182803"/>
                <a:gd name="connsiteY144" fmla="*/ 49240 h 333107"/>
                <a:gd name="connsiteX145" fmla="*/ 130586 w 182803"/>
                <a:gd name="connsiteY145" fmla="*/ 48634 h 333107"/>
                <a:gd name="connsiteX146" fmla="*/ 129909 w 182803"/>
                <a:gd name="connsiteY146" fmla="*/ 47858 h 333107"/>
                <a:gd name="connsiteX147" fmla="*/ 129971 w 182803"/>
                <a:gd name="connsiteY147" fmla="*/ 47069 h 333107"/>
                <a:gd name="connsiteX148" fmla="*/ 130779 w 182803"/>
                <a:gd name="connsiteY148" fmla="*/ 46270 h 333107"/>
                <a:gd name="connsiteX149" fmla="*/ 132520 w 182803"/>
                <a:gd name="connsiteY149" fmla="*/ 45929 h 333107"/>
                <a:gd name="connsiteX150" fmla="*/ 135195 w 182803"/>
                <a:gd name="connsiteY150" fmla="*/ 46047 h 333107"/>
                <a:gd name="connsiteX151" fmla="*/ 138328 w 182803"/>
                <a:gd name="connsiteY151" fmla="*/ 46861 h 333107"/>
                <a:gd name="connsiteX152" fmla="*/ 141924 w 182803"/>
                <a:gd name="connsiteY152" fmla="*/ 48371 h 333107"/>
                <a:gd name="connsiteX153" fmla="*/ 144279 w 182803"/>
                <a:gd name="connsiteY153" fmla="*/ 48855 h 333107"/>
                <a:gd name="connsiteX154" fmla="*/ 145403 w 182803"/>
                <a:gd name="connsiteY154" fmla="*/ 48314 h 333107"/>
                <a:gd name="connsiteX155" fmla="*/ 147594 w 182803"/>
                <a:gd name="connsiteY155" fmla="*/ 50652 h 333107"/>
                <a:gd name="connsiteX156" fmla="*/ 150855 w 182803"/>
                <a:gd name="connsiteY156" fmla="*/ 55866 h 333107"/>
                <a:gd name="connsiteX157" fmla="*/ 153651 w 182803"/>
                <a:gd name="connsiteY157" fmla="*/ 59804 h 333107"/>
                <a:gd name="connsiteX158" fmla="*/ 155983 w 182803"/>
                <a:gd name="connsiteY158" fmla="*/ 62469 h 333107"/>
                <a:gd name="connsiteX159" fmla="*/ 158441 w 182803"/>
                <a:gd name="connsiteY159" fmla="*/ 64514 h 333107"/>
                <a:gd name="connsiteX160" fmla="*/ 161019 w 182803"/>
                <a:gd name="connsiteY160" fmla="*/ 65940 h 333107"/>
                <a:gd name="connsiteX161" fmla="*/ 162872 w 182803"/>
                <a:gd name="connsiteY161" fmla="*/ 67879 h 333107"/>
                <a:gd name="connsiteX162" fmla="*/ 164560 w 182803"/>
                <a:gd name="connsiteY162" fmla="*/ 71555 h 333107"/>
                <a:gd name="connsiteX163" fmla="*/ 163299 w 182803"/>
                <a:gd name="connsiteY163" fmla="*/ 76635 h 333107"/>
                <a:gd name="connsiteX164" fmla="*/ 162958 w 182803"/>
                <a:gd name="connsiteY164" fmla="*/ 81020 h 333107"/>
                <a:gd name="connsiteX165" fmla="*/ 163114 w 182803"/>
                <a:gd name="connsiteY165" fmla="*/ 86403 h 333107"/>
                <a:gd name="connsiteX166" fmla="*/ 164634 w 182803"/>
                <a:gd name="connsiteY166" fmla="*/ 90526 h 333107"/>
                <a:gd name="connsiteX167" fmla="*/ 167521 w 182803"/>
                <a:gd name="connsiteY167" fmla="*/ 93390 h 333107"/>
                <a:gd name="connsiteX168" fmla="*/ 169199 w 182803"/>
                <a:gd name="connsiteY168" fmla="*/ 95704 h 333107"/>
                <a:gd name="connsiteX169" fmla="*/ 169672 w 182803"/>
                <a:gd name="connsiteY169" fmla="*/ 97467 h 333107"/>
                <a:gd name="connsiteX170" fmla="*/ 171917 w 182803"/>
                <a:gd name="connsiteY170" fmla="*/ 98981 h 333107"/>
                <a:gd name="connsiteX171" fmla="*/ 175940 w 182803"/>
                <a:gd name="connsiteY171" fmla="*/ 100243 h 333107"/>
                <a:gd name="connsiteX172" fmla="*/ 177611 w 182803"/>
                <a:gd name="connsiteY172" fmla="*/ 101387 h 333107"/>
                <a:gd name="connsiteX173" fmla="*/ 176934 w 182803"/>
                <a:gd name="connsiteY173" fmla="*/ 102413 h 333107"/>
                <a:gd name="connsiteX174" fmla="*/ 176882 w 182803"/>
                <a:gd name="connsiteY174" fmla="*/ 103603 h 333107"/>
                <a:gd name="connsiteX175" fmla="*/ 177449 w 182803"/>
                <a:gd name="connsiteY175" fmla="*/ 104959 h 333107"/>
                <a:gd name="connsiteX176" fmla="*/ 178845 w 182803"/>
                <a:gd name="connsiteY176" fmla="*/ 106080 h 333107"/>
                <a:gd name="connsiteX177" fmla="*/ 181065 w 182803"/>
                <a:gd name="connsiteY177" fmla="*/ 106967 h 333107"/>
                <a:gd name="connsiteX178" fmla="*/ 182384 w 182803"/>
                <a:gd name="connsiteY178" fmla="*/ 107903 h 333107"/>
                <a:gd name="connsiteX179" fmla="*/ 182803 w 182803"/>
                <a:gd name="connsiteY179" fmla="*/ 108886 h 333107"/>
                <a:gd name="connsiteX180" fmla="*/ 182755 w 182803"/>
                <a:gd name="connsiteY180" fmla="*/ 110485 h 333107"/>
                <a:gd name="connsiteX181" fmla="*/ 182241 w 182803"/>
                <a:gd name="connsiteY181" fmla="*/ 112696 h 333107"/>
                <a:gd name="connsiteX182" fmla="*/ 181315 w 182803"/>
                <a:gd name="connsiteY182" fmla="*/ 114396 h 333107"/>
                <a:gd name="connsiteX183" fmla="*/ 179976 w 182803"/>
                <a:gd name="connsiteY183" fmla="*/ 115580 h 333107"/>
                <a:gd name="connsiteX184" fmla="*/ 179814 w 182803"/>
                <a:gd name="connsiteY184" fmla="*/ 116514 h 333107"/>
                <a:gd name="connsiteX185" fmla="*/ 179473 w 182803"/>
                <a:gd name="connsiteY185" fmla="*/ 117940 h 333107"/>
                <a:gd name="connsiteX186" fmla="*/ 179473 w 182803"/>
                <a:gd name="connsiteY186" fmla="*/ 120858 h 333107"/>
                <a:gd name="connsiteX187" fmla="*/ 180424 w 182803"/>
                <a:gd name="connsiteY187" fmla="*/ 122802 h 333107"/>
                <a:gd name="connsiteX188" fmla="*/ 180717 w 182803"/>
                <a:gd name="connsiteY188" fmla="*/ 125269 h 333107"/>
                <a:gd name="connsiteX189" fmla="*/ 180194 w 182803"/>
                <a:gd name="connsiteY189" fmla="*/ 127284 h 333107"/>
                <a:gd name="connsiteX190" fmla="*/ 179689 w 182803"/>
                <a:gd name="connsiteY190" fmla="*/ 131397 h 333107"/>
                <a:gd name="connsiteX191" fmla="*/ 179626 w 182803"/>
                <a:gd name="connsiteY191" fmla="*/ 132991 h 333107"/>
                <a:gd name="connsiteX192" fmla="*/ 179145 w 182803"/>
                <a:gd name="connsiteY192" fmla="*/ 134357 h 333107"/>
                <a:gd name="connsiteX193" fmla="*/ 177974 w 182803"/>
                <a:gd name="connsiteY193" fmla="*/ 135678 h 333107"/>
                <a:gd name="connsiteX194" fmla="*/ 176195 w 182803"/>
                <a:gd name="connsiteY194" fmla="*/ 136918 h 333107"/>
                <a:gd name="connsiteX195" fmla="*/ 174016 w 182803"/>
                <a:gd name="connsiteY195" fmla="*/ 138020 h 333107"/>
                <a:gd name="connsiteX196" fmla="*/ 172681 w 182803"/>
                <a:gd name="connsiteY196" fmla="*/ 138508 h 333107"/>
                <a:gd name="connsiteX197" fmla="*/ 172368 w 182803"/>
                <a:gd name="connsiteY197" fmla="*/ 138737 h 333107"/>
                <a:gd name="connsiteX198" fmla="*/ 171414 w 182803"/>
                <a:gd name="connsiteY198" fmla="*/ 139980 h 333107"/>
                <a:gd name="connsiteX199" fmla="*/ 170268 w 182803"/>
                <a:gd name="connsiteY199" fmla="*/ 141188 h 333107"/>
                <a:gd name="connsiteX200" fmla="*/ 169374 w 182803"/>
                <a:gd name="connsiteY200" fmla="*/ 141189 h 333107"/>
                <a:gd name="connsiteX201" fmla="*/ 168704 w 182803"/>
                <a:gd name="connsiteY201" fmla="*/ 140579 h 333107"/>
                <a:gd name="connsiteX202" fmla="*/ 168240 w 182803"/>
                <a:gd name="connsiteY202" fmla="*/ 139789 h 333107"/>
                <a:gd name="connsiteX203" fmla="*/ 167959 w 182803"/>
                <a:gd name="connsiteY203" fmla="*/ 138059 h 333107"/>
                <a:gd name="connsiteX204" fmla="*/ 165949 w 182803"/>
                <a:gd name="connsiteY204" fmla="*/ 137204 h 333107"/>
                <a:gd name="connsiteX205" fmla="*/ 163742 w 182803"/>
                <a:gd name="connsiteY205" fmla="*/ 136667 h 333107"/>
                <a:gd name="connsiteX206" fmla="*/ 159248 w 182803"/>
                <a:gd name="connsiteY206" fmla="*/ 137519 h 333107"/>
                <a:gd name="connsiteX207" fmla="*/ 155618 w 182803"/>
                <a:gd name="connsiteY207" fmla="*/ 137981 h 333107"/>
                <a:gd name="connsiteX208" fmla="*/ 151553 w 182803"/>
                <a:gd name="connsiteY208" fmla="*/ 137396 h 333107"/>
                <a:gd name="connsiteX209" fmla="*/ 147717 w 182803"/>
                <a:gd name="connsiteY209" fmla="*/ 138135 h 333107"/>
                <a:gd name="connsiteX210" fmla="*/ 146115 w 182803"/>
                <a:gd name="connsiteY210" fmla="*/ 138244 h 333107"/>
                <a:gd name="connsiteX211" fmla="*/ 144275 w 182803"/>
                <a:gd name="connsiteY211" fmla="*/ 138134 h 333107"/>
                <a:gd name="connsiteX212" fmla="*/ 142500 w 182803"/>
                <a:gd name="connsiteY212" fmla="*/ 138148 h 333107"/>
                <a:gd name="connsiteX213" fmla="*/ 140809 w 182803"/>
                <a:gd name="connsiteY213" fmla="*/ 137877 h 333107"/>
                <a:gd name="connsiteX214" fmla="*/ 137681 w 182803"/>
                <a:gd name="connsiteY214" fmla="*/ 136819 h 333107"/>
                <a:gd name="connsiteX215" fmla="*/ 136486 w 182803"/>
                <a:gd name="connsiteY215" fmla="*/ 136901 h 333107"/>
                <a:gd name="connsiteX216" fmla="*/ 133966 w 182803"/>
                <a:gd name="connsiteY216" fmla="*/ 137777 h 333107"/>
                <a:gd name="connsiteX217" fmla="*/ 131336 w 182803"/>
                <a:gd name="connsiteY217" fmla="*/ 138393 h 333107"/>
                <a:gd name="connsiteX218" fmla="*/ 128814 w 182803"/>
                <a:gd name="connsiteY218" fmla="*/ 138815 h 333107"/>
                <a:gd name="connsiteX219" fmla="*/ 125091 w 182803"/>
                <a:gd name="connsiteY219" fmla="*/ 140621 h 333107"/>
                <a:gd name="connsiteX220" fmla="*/ 122399 w 182803"/>
                <a:gd name="connsiteY220" fmla="*/ 143234 h 333107"/>
                <a:gd name="connsiteX221" fmla="*/ 121602 w 182803"/>
                <a:gd name="connsiteY221" fmla="*/ 145079 h 333107"/>
                <a:gd name="connsiteX222" fmla="*/ 120265 w 182803"/>
                <a:gd name="connsiteY222" fmla="*/ 146937 h 333107"/>
                <a:gd name="connsiteX223" fmla="*/ 118410 w 182803"/>
                <a:gd name="connsiteY223" fmla="*/ 149879 h 333107"/>
                <a:gd name="connsiteX224" fmla="*/ 116011 w 182803"/>
                <a:gd name="connsiteY224" fmla="*/ 152694 h 333107"/>
                <a:gd name="connsiteX225" fmla="*/ 114337 w 182803"/>
                <a:gd name="connsiteY225" fmla="*/ 153978 h 333107"/>
                <a:gd name="connsiteX226" fmla="*/ 114797 w 182803"/>
                <a:gd name="connsiteY226" fmla="*/ 154734 h 333107"/>
                <a:gd name="connsiteX227" fmla="*/ 114385 w 182803"/>
                <a:gd name="connsiteY227" fmla="*/ 155650 h 333107"/>
                <a:gd name="connsiteX228" fmla="*/ 111767 w 182803"/>
                <a:gd name="connsiteY228" fmla="*/ 156058 h 333107"/>
                <a:gd name="connsiteX229" fmla="*/ 109730 w 182803"/>
                <a:gd name="connsiteY229" fmla="*/ 156222 h 333107"/>
                <a:gd name="connsiteX230" fmla="*/ 109362 w 182803"/>
                <a:gd name="connsiteY230" fmla="*/ 156679 h 333107"/>
                <a:gd name="connsiteX231" fmla="*/ 109606 w 182803"/>
                <a:gd name="connsiteY231" fmla="*/ 162345 h 333107"/>
                <a:gd name="connsiteX232" fmla="*/ 110319 w 182803"/>
                <a:gd name="connsiteY232" fmla="*/ 164488 h 333107"/>
                <a:gd name="connsiteX233" fmla="*/ 111638 w 182803"/>
                <a:gd name="connsiteY233" fmla="*/ 167074 h 333107"/>
                <a:gd name="connsiteX234" fmla="*/ 112501 w 182803"/>
                <a:gd name="connsiteY234" fmla="*/ 168489 h 333107"/>
                <a:gd name="connsiteX235" fmla="*/ 113143 w 182803"/>
                <a:gd name="connsiteY235" fmla="*/ 172686 h 333107"/>
                <a:gd name="connsiteX236" fmla="*/ 113339 w 182803"/>
                <a:gd name="connsiteY236" fmla="*/ 176244 h 333107"/>
                <a:gd name="connsiteX237" fmla="*/ 116216 w 182803"/>
                <a:gd name="connsiteY237" fmla="*/ 178491 h 333107"/>
                <a:gd name="connsiteX238" fmla="*/ 117845 w 182803"/>
                <a:gd name="connsiteY238" fmla="*/ 180207 h 333107"/>
                <a:gd name="connsiteX239" fmla="*/ 119002 w 182803"/>
                <a:gd name="connsiteY239" fmla="*/ 181716 h 333107"/>
                <a:gd name="connsiteX240" fmla="*/ 118598 w 182803"/>
                <a:gd name="connsiteY240" fmla="*/ 182679 h 333107"/>
                <a:gd name="connsiteX241" fmla="*/ 117909 w 182803"/>
                <a:gd name="connsiteY241" fmla="*/ 185545 h 333107"/>
                <a:gd name="connsiteX242" fmla="*/ 118580 w 182803"/>
                <a:gd name="connsiteY242" fmla="*/ 189267 h 333107"/>
                <a:gd name="connsiteX243" fmla="*/ 122593 w 182803"/>
                <a:gd name="connsiteY243" fmla="*/ 197287 h 333107"/>
                <a:gd name="connsiteX244" fmla="*/ 122943 w 182803"/>
                <a:gd name="connsiteY244" fmla="*/ 197856 h 333107"/>
                <a:gd name="connsiteX245" fmla="*/ 122465 w 182803"/>
                <a:gd name="connsiteY245" fmla="*/ 197919 h 333107"/>
                <a:gd name="connsiteX246" fmla="*/ 121833 w 182803"/>
                <a:gd name="connsiteY246" fmla="*/ 196375 h 333107"/>
                <a:gd name="connsiteX247" fmla="*/ 119796 w 182803"/>
                <a:gd name="connsiteY247" fmla="*/ 193778 h 333107"/>
                <a:gd name="connsiteX248" fmla="*/ 119163 w 182803"/>
                <a:gd name="connsiteY248" fmla="*/ 191001 h 333107"/>
                <a:gd name="connsiteX249" fmla="*/ 116773 w 182803"/>
                <a:gd name="connsiteY249" fmla="*/ 187942 h 333107"/>
                <a:gd name="connsiteX250" fmla="*/ 115430 w 182803"/>
                <a:gd name="connsiteY250" fmla="*/ 186726 h 333107"/>
                <a:gd name="connsiteX251" fmla="*/ 115002 w 182803"/>
                <a:gd name="connsiteY251" fmla="*/ 187741 h 333107"/>
                <a:gd name="connsiteX252" fmla="*/ 114238 w 182803"/>
                <a:gd name="connsiteY252" fmla="*/ 188831 h 333107"/>
                <a:gd name="connsiteX253" fmla="*/ 111891 w 182803"/>
                <a:gd name="connsiteY253" fmla="*/ 187260 h 333107"/>
                <a:gd name="connsiteX254" fmla="*/ 109881 w 182803"/>
                <a:gd name="connsiteY254" fmla="*/ 185614 h 333107"/>
                <a:gd name="connsiteX255" fmla="*/ 108021 w 182803"/>
                <a:gd name="connsiteY255" fmla="*/ 182433 h 333107"/>
                <a:gd name="connsiteX256" fmla="*/ 107785 w 182803"/>
                <a:gd name="connsiteY256" fmla="*/ 183172 h 333107"/>
                <a:gd name="connsiteX257" fmla="*/ 107369 w 182803"/>
                <a:gd name="connsiteY257" fmla="*/ 183840 h 333107"/>
                <a:gd name="connsiteX258" fmla="*/ 105259 w 182803"/>
                <a:gd name="connsiteY258" fmla="*/ 181340 h 333107"/>
                <a:gd name="connsiteX259" fmla="*/ 103052 w 182803"/>
                <a:gd name="connsiteY259" fmla="*/ 179345 h 333107"/>
                <a:gd name="connsiteX260" fmla="*/ 101066 w 182803"/>
                <a:gd name="connsiteY260" fmla="*/ 178631 h 333107"/>
                <a:gd name="connsiteX261" fmla="*/ 99839 w 182803"/>
                <a:gd name="connsiteY261" fmla="*/ 177966 h 333107"/>
                <a:gd name="connsiteX262" fmla="*/ 98660 w 182803"/>
                <a:gd name="connsiteY262" fmla="*/ 176908 h 333107"/>
                <a:gd name="connsiteX263" fmla="*/ 96182 w 182803"/>
                <a:gd name="connsiteY263" fmla="*/ 175808 h 333107"/>
                <a:gd name="connsiteX264" fmla="*/ 90018 w 182803"/>
                <a:gd name="connsiteY264" fmla="*/ 177390 h 333107"/>
                <a:gd name="connsiteX265" fmla="*/ 82175 w 182803"/>
                <a:gd name="connsiteY265" fmla="*/ 176162 h 333107"/>
                <a:gd name="connsiteX266" fmla="*/ 79157 w 182803"/>
                <a:gd name="connsiteY266" fmla="*/ 177338 h 333107"/>
                <a:gd name="connsiteX267" fmla="*/ 77919 w 182803"/>
                <a:gd name="connsiteY267" fmla="*/ 176606 h 333107"/>
                <a:gd name="connsiteX268" fmla="*/ 77157 w 182803"/>
                <a:gd name="connsiteY268" fmla="*/ 175243 h 333107"/>
                <a:gd name="connsiteX269" fmla="*/ 77889 w 182803"/>
                <a:gd name="connsiteY269" fmla="*/ 172914 h 333107"/>
                <a:gd name="connsiteX270" fmla="*/ 78055 w 182803"/>
                <a:gd name="connsiteY270" fmla="*/ 168042 h 333107"/>
                <a:gd name="connsiteX271" fmla="*/ 78988 w 182803"/>
                <a:gd name="connsiteY271" fmla="*/ 164616 h 333107"/>
                <a:gd name="connsiteX272" fmla="*/ 78550 w 182803"/>
                <a:gd name="connsiteY272" fmla="*/ 162012 h 333107"/>
                <a:gd name="connsiteX273" fmla="*/ 79008 w 182803"/>
                <a:gd name="connsiteY273" fmla="*/ 160785 h 333107"/>
                <a:gd name="connsiteX274" fmla="*/ 79355 w 182803"/>
                <a:gd name="connsiteY274" fmla="*/ 159110 h 333107"/>
                <a:gd name="connsiteX275" fmla="*/ 78114 w 182803"/>
                <a:gd name="connsiteY275" fmla="*/ 158425 h 333107"/>
                <a:gd name="connsiteX276" fmla="*/ 72574 w 182803"/>
                <a:gd name="connsiteY276" fmla="*/ 157100 h 333107"/>
                <a:gd name="connsiteX277" fmla="*/ 71400 w 182803"/>
                <a:gd name="connsiteY277" fmla="*/ 156045 h 333107"/>
                <a:gd name="connsiteX278" fmla="*/ 69930 w 182803"/>
                <a:gd name="connsiteY278" fmla="*/ 157254 h 333107"/>
                <a:gd name="connsiteX279" fmla="*/ 63279 w 182803"/>
                <a:gd name="connsiteY279" fmla="*/ 157929 h 333107"/>
                <a:gd name="connsiteX280" fmla="*/ 60774 w 182803"/>
                <a:gd name="connsiteY280" fmla="*/ 158940 h 333107"/>
                <a:gd name="connsiteX281" fmla="*/ 58454 w 182803"/>
                <a:gd name="connsiteY281" fmla="*/ 160884 h 333107"/>
                <a:gd name="connsiteX282" fmla="*/ 57858 w 182803"/>
                <a:gd name="connsiteY282" fmla="*/ 163352 h 333107"/>
                <a:gd name="connsiteX283" fmla="*/ 59197 w 182803"/>
                <a:gd name="connsiteY283" fmla="*/ 164977 h 333107"/>
                <a:gd name="connsiteX284" fmla="*/ 60057 w 182803"/>
                <a:gd name="connsiteY284" fmla="*/ 167801 h 333107"/>
                <a:gd name="connsiteX285" fmla="*/ 57671 w 182803"/>
                <a:gd name="connsiteY285" fmla="*/ 173963 h 333107"/>
                <a:gd name="connsiteX286" fmla="*/ 57271 w 182803"/>
                <a:gd name="connsiteY286" fmla="*/ 175793 h 333107"/>
                <a:gd name="connsiteX287" fmla="*/ 58193 w 182803"/>
                <a:gd name="connsiteY287" fmla="*/ 183322 h 333107"/>
                <a:gd name="connsiteX288" fmla="*/ 57826 w 182803"/>
                <a:gd name="connsiteY288" fmla="*/ 187450 h 333107"/>
                <a:gd name="connsiteX289" fmla="*/ 56527 w 182803"/>
                <a:gd name="connsiteY289" fmla="*/ 190216 h 333107"/>
                <a:gd name="connsiteX290" fmla="*/ 54466 w 182803"/>
                <a:gd name="connsiteY290" fmla="*/ 192702 h 333107"/>
                <a:gd name="connsiteX291" fmla="*/ 53617 w 182803"/>
                <a:gd name="connsiteY291" fmla="*/ 196913 h 333107"/>
                <a:gd name="connsiteX292" fmla="*/ 51998 w 182803"/>
                <a:gd name="connsiteY292" fmla="*/ 198863 h 333107"/>
                <a:gd name="connsiteX293" fmla="*/ 49828 w 182803"/>
                <a:gd name="connsiteY293" fmla="*/ 203318 h 333107"/>
                <a:gd name="connsiteX294" fmla="*/ 48368 w 182803"/>
                <a:gd name="connsiteY294" fmla="*/ 208865 h 333107"/>
                <a:gd name="connsiteX295" fmla="*/ 47329 w 182803"/>
                <a:gd name="connsiteY295" fmla="*/ 211430 h 333107"/>
                <a:gd name="connsiteX296" fmla="*/ 46723 w 182803"/>
                <a:gd name="connsiteY296" fmla="*/ 216152 h 333107"/>
                <a:gd name="connsiteX297" fmla="*/ 42253 w 182803"/>
                <a:gd name="connsiteY297" fmla="*/ 223317 h 333107"/>
                <a:gd name="connsiteX298" fmla="*/ 41203 w 182803"/>
                <a:gd name="connsiteY298" fmla="*/ 227363 h 333107"/>
                <a:gd name="connsiteX299" fmla="*/ 39605 w 182803"/>
                <a:gd name="connsiteY299" fmla="*/ 228889 h 333107"/>
                <a:gd name="connsiteX300" fmla="*/ 40165 w 182803"/>
                <a:gd name="connsiteY300" fmla="*/ 230095 h 333107"/>
                <a:gd name="connsiteX301" fmla="*/ 40259 w 182803"/>
                <a:gd name="connsiteY301" fmla="*/ 232115 h 333107"/>
                <a:gd name="connsiteX302" fmla="*/ 39700 w 182803"/>
                <a:gd name="connsiteY302" fmla="*/ 237503 h 333107"/>
                <a:gd name="connsiteX303" fmla="*/ 39511 w 182803"/>
                <a:gd name="connsiteY303" fmla="*/ 241970 h 333107"/>
                <a:gd name="connsiteX304" fmla="*/ 40186 w 182803"/>
                <a:gd name="connsiteY304" fmla="*/ 244356 h 333107"/>
                <a:gd name="connsiteX305" fmla="*/ 42331 w 182803"/>
                <a:gd name="connsiteY305" fmla="*/ 249097 h 333107"/>
                <a:gd name="connsiteX306" fmla="*/ 41817 w 182803"/>
                <a:gd name="connsiteY306" fmla="*/ 250472 h 333107"/>
                <a:gd name="connsiteX307" fmla="*/ 41570 w 182803"/>
                <a:gd name="connsiteY307" fmla="*/ 252429 h 333107"/>
                <a:gd name="connsiteX308" fmla="*/ 43373 w 182803"/>
                <a:gd name="connsiteY308" fmla="*/ 253316 h 333107"/>
                <a:gd name="connsiteX309" fmla="*/ 44665 w 182803"/>
                <a:gd name="connsiteY309" fmla="*/ 253577 h 333107"/>
                <a:gd name="connsiteX310" fmla="*/ 51961 w 182803"/>
                <a:gd name="connsiteY310" fmla="*/ 251336 h 333107"/>
                <a:gd name="connsiteX311" fmla="*/ 54431 w 182803"/>
                <a:gd name="connsiteY311" fmla="*/ 251912 h 333107"/>
                <a:gd name="connsiteX312" fmla="*/ 55360 w 182803"/>
                <a:gd name="connsiteY312" fmla="*/ 254003 h 333107"/>
                <a:gd name="connsiteX313" fmla="*/ 55961 w 182803"/>
                <a:gd name="connsiteY313" fmla="*/ 255825 h 333107"/>
                <a:gd name="connsiteX314" fmla="*/ 57198 w 182803"/>
                <a:gd name="connsiteY314" fmla="*/ 265667 h 333107"/>
                <a:gd name="connsiteX315" fmla="*/ 57837 w 182803"/>
                <a:gd name="connsiteY315" fmla="*/ 267494 h 333107"/>
                <a:gd name="connsiteX316" fmla="*/ 59312 w 182803"/>
                <a:gd name="connsiteY316" fmla="*/ 269233 h 333107"/>
                <a:gd name="connsiteX317" fmla="*/ 60927 w 182803"/>
                <a:gd name="connsiteY317" fmla="*/ 271082 h 333107"/>
                <a:gd name="connsiteX318" fmla="*/ 61475 w 182803"/>
                <a:gd name="connsiteY318" fmla="*/ 270750 h 333107"/>
                <a:gd name="connsiteX319" fmla="*/ 61581 w 182803"/>
                <a:gd name="connsiteY319" fmla="*/ 270064 h 333107"/>
                <a:gd name="connsiteX320" fmla="*/ 61683 w 182803"/>
                <a:gd name="connsiteY320" fmla="*/ 269293 h 333107"/>
                <a:gd name="connsiteX321" fmla="*/ 63125 w 182803"/>
                <a:gd name="connsiteY321" fmla="*/ 271157 h 333107"/>
                <a:gd name="connsiteX322" fmla="*/ 64246 w 182803"/>
                <a:gd name="connsiteY322" fmla="*/ 274635 h 333107"/>
                <a:gd name="connsiteX323" fmla="*/ 68096 w 182803"/>
                <a:gd name="connsiteY323" fmla="*/ 293015 h 333107"/>
                <a:gd name="connsiteX324" fmla="*/ 69206 w 182803"/>
                <a:gd name="connsiteY324" fmla="*/ 295348 h 333107"/>
                <a:gd name="connsiteX325" fmla="*/ 70124 w 182803"/>
                <a:gd name="connsiteY325" fmla="*/ 297802 h 333107"/>
                <a:gd name="connsiteX326" fmla="*/ 67783 w 182803"/>
                <a:gd name="connsiteY326" fmla="*/ 296605 h 333107"/>
                <a:gd name="connsiteX327" fmla="*/ 67151 w 182803"/>
                <a:gd name="connsiteY327" fmla="*/ 292525 h 333107"/>
                <a:gd name="connsiteX328" fmla="*/ 66479 w 182803"/>
                <a:gd name="connsiteY328" fmla="*/ 290809 h 333107"/>
                <a:gd name="connsiteX329" fmla="*/ 65652 w 182803"/>
                <a:gd name="connsiteY329" fmla="*/ 290556 h 333107"/>
                <a:gd name="connsiteX330" fmla="*/ 64343 w 182803"/>
                <a:gd name="connsiteY330" fmla="*/ 290586 h 333107"/>
                <a:gd name="connsiteX331" fmla="*/ 64259 w 182803"/>
                <a:gd name="connsiteY331" fmla="*/ 289857 h 333107"/>
                <a:gd name="connsiteX332" fmla="*/ 65239 w 182803"/>
                <a:gd name="connsiteY332" fmla="*/ 288525 h 333107"/>
                <a:gd name="connsiteX333" fmla="*/ 65086 w 182803"/>
                <a:gd name="connsiteY333" fmla="*/ 286929 h 333107"/>
                <a:gd name="connsiteX334" fmla="*/ 63743 w 182803"/>
                <a:gd name="connsiteY334" fmla="*/ 285618 h 333107"/>
                <a:gd name="connsiteX335" fmla="*/ 61567 w 182803"/>
                <a:gd name="connsiteY335" fmla="*/ 286659 h 333107"/>
                <a:gd name="connsiteX336" fmla="*/ 61622 w 182803"/>
                <a:gd name="connsiteY336" fmla="*/ 289524 h 333107"/>
                <a:gd name="connsiteX337" fmla="*/ 62598 w 182803"/>
                <a:gd name="connsiteY337" fmla="*/ 291720 h 333107"/>
                <a:gd name="connsiteX338" fmla="*/ 66280 w 182803"/>
                <a:gd name="connsiteY338" fmla="*/ 296619 h 333107"/>
                <a:gd name="connsiteX339" fmla="*/ 67434 w 182803"/>
                <a:gd name="connsiteY339" fmla="*/ 298670 h 333107"/>
                <a:gd name="connsiteX340" fmla="*/ 68897 w 182803"/>
                <a:gd name="connsiteY340" fmla="*/ 299259 h 333107"/>
                <a:gd name="connsiteX341" fmla="*/ 71031 w 182803"/>
                <a:gd name="connsiteY341" fmla="*/ 298934 h 333107"/>
                <a:gd name="connsiteX342" fmla="*/ 73583 w 182803"/>
                <a:gd name="connsiteY342" fmla="*/ 301023 h 333107"/>
                <a:gd name="connsiteX343" fmla="*/ 75594 w 182803"/>
                <a:gd name="connsiteY343" fmla="*/ 302963 h 333107"/>
                <a:gd name="connsiteX344" fmla="*/ 80575 w 182803"/>
                <a:gd name="connsiteY344" fmla="*/ 305934 h 333107"/>
                <a:gd name="connsiteX345" fmla="*/ 83594 w 182803"/>
                <a:gd name="connsiteY345" fmla="*/ 305618 h 333107"/>
                <a:gd name="connsiteX346" fmla="*/ 86857 w 182803"/>
                <a:gd name="connsiteY346" fmla="*/ 304882 h 333107"/>
                <a:gd name="connsiteX347" fmla="*/ 89045 w 182803"/>
                <a:gd name="connsiteY347" fmla="*/ 305076 h 333107"/>
                <a:gd name="connsiteX348" fmla="*/ 91191 w 182803"/>
                <a:gd name="connsiteY348" fmla="*/ 305837 h 333107"/>
                <a:gd name="connsiteX349" fmla="*/ 93763 w 182803"/>
                <a:gd name="connsiteY349" fmla="*/ 308310 h 333107"/>
                <a:gd name="connsiteX350" fmla="*/ 97853 w 182803"/>
                <a:gd name="connsiteY350" fmla="*/ 314514 h 333107"/>
                <a:gd name="connsiteX351" fmla="*/ 104528 w 182803"/>
                <a:gd name="connsiteY351" fmla="*/ 319672 h 333107"/>
                <a:gd name="connsiteX352" fmla="*/ 103804 w 182803"/>
                <a:gd name="connsiteY352" fmla="*/ 320950 h 333107"/>
                <a:gd name="connsiteX353" fmla="*/ 103512 w 182803"/>
                <a:gd name="connsiteY353" fmla="*/ 322903 h 333107"/>
                <a:gd name="connsiteX354" fmla="*/ 100880 w 182803"/>
                <a:gd name="connsiteY354" fmla="*/ 325506 h 333107"/>
                <a:gd name="connsiteX355" fmla="*/ 100461 w 182803"/>
                <a:gd name="connsiteY355" fmla="*/ 327015 h 333107"/>
                <a:gd name="connsiteX356" fmla="*/ 99498 w 182803"/>
                <a:gd name="connsiteY356" fmla="*/ 328924 h 333107"/>
                <a:gd name="connsiteX357" fmla="*/ 97665 w 182803"/>
                <a:gd name="connsiteY357" fmla="*/ 329944 h 333107"/>
                <a:gd name="connsiteX358" fmla="*/ 96091 w 182803"/>
                <a:gd name="connsiteY358" fmla="*/ 330138 h 333107"/>
                <a:gd name="connsiteX359" fmla="*/ 95182 w 182803"/>
                <a:gd name="connsiteY359" fmla="*/ 329956 h 333107"/>
                <a:gd name="connsiteX360" fmla="*/ 94553 w 182803"/>
                <a:gd name="connsiteY360" fmla="*/ 329574 h 333107"/>
                <a:gd name="connsiteX361" fmla="*/ 93478 w 182803"/>
                <a:gd name="connsiteY361" fmla="*/ 327774 h 333107"/>
                <a:gd name="connsiteX362" fmla="*/ 92934 w 182803"/>
                <a:gd name="connsiteY362" fmla="*/ 327222 h 333107"/>
                <a:gd name="connsiteX363" fmla="*/ 92476 w 182803"/>
                <a:gd name="connsiteY363" fmla="*/ 327095 h 333107"/>
                <a:gd name="connsiteX364" fmla="*/ 89118 w 182803"/>
                <a:gd name="connsiteY364" fmla="*/ 328339 h 333107"/>
                <a:gd name="connsiteX365" fmla="*/ 85864 w 182803"/>
                <a:gd name="connsiteY365" fmla="*/ 329722 h 333107"/>
                <a:gd name="connsiteX366" fmla="*/ 85261 w 182803"/>
                <a:gd name="connsiteY366" fmla="*/ 330957 h 333107"/>
                <a:gd name="connsiteX367" fmla="*/ 84395 w 182803"/>
                <a:gd name="connsiteY367" fmla="*/ 332397 h 333107"/>
                <a:gd name="connsiteX368" fmla="*/ 83445 w 182803"/>
                <a:gd name="connsiteY368" fmla="*/ 332967 h 333107"/>
                <a:gd name="connsiteX369" fmla="*/ 82700 w 182803"/>
                <a:gd name="connsiteY369" fmla="*/ 333107 h 333107"/>
                <a:gd name="connsiteX370" fmla="*/ 81988 w 182803"/>
                <a:gd name="connsiteY370" fmla="*/ 332261 h 333107"/>
                <a:gd name="connsiteX371" fmla="*/ 80737 w 182803"/>
                <a:gd name="connsiteY371" fmla="*/ 331160 h 333107"/>
                <a:gd name="connsiteX372" fmla="*/ 79774 w 182803"/>
                <a:gd name="connsiteY372" fmla="*/ 330128 h 333107"/>
                <a:gd name="connsiteX373" fmla="*/ 80020 w 182803"/>
                <a:gd name="connsiteY373" fmla="*/ 328461 h 333107"/>
                <a:gd name="connsiteX374" fmla="*/ 81851 w 182803"/>
                <a:gd name="connsiteY374" fmla="*/ 326014 h 333107"/>
                <a:gd name="connsiteX375" fmla="*/ 82093 w 182803"/>
                <a:gd name="connsiteY375" fmla="*/ 324301 h 333107"/>
                <a:gd name="connsiteX376" fmla="*/ 81860 w 182803"/>
                <a:gd name="connsiteY376" fmla="*/ 321363 h 333107"/>
                <a:gd name="connsiteX377" fmla="*/ 81363 w 182803"/>
                <a:gd name="connsiteY377" fmla="*/ 319664 h 333107"/>
                <a:gd name="connsiteX378" fmla="*/ 80831 w 182803"/>
                <a:gd name="connsiteY378" fmla="*/ 319604 h 333107"/>
                <a:gd name="connsiteX379" fmla="*/ 79932 w 182803"/>
                <a:gd name="connsiteY379" fmla="*/ 319330 h 333107"/>
                <a:gd name="connsiteX380" fmla="*/ 77392 w 182803"/>
                <a:gd name="connsiteY380" fmla="*/ 319602 h 333107"/>
                <a:gd name="connsiteX381" fmla="*/ 76123 w 182803"/>
                <a:gd name="connsiteY381" fmla="*/ 317688 h 333107"/>
                <a:gd name="connsiteX382" fmla="*/ 75619 w 182803"/>
                <a:gd name="connsiteY382" fmla="*/ 315589 h 333107"/>
                <a:gd name="connsiteX383" fmla="*/ 74752 w 182803"/>
                <a:gd name="connsiteY383" fmla="*/ 314837 h 333107"/>
                <a:gd name="connsiteX384" fmla="*/ 73892 w 182803"/>
                <a:gd name="connsiteY384" fmla="*/ 314379 h 333107"/>
                <a:gd name="connsiteX385" fmla="*/ 71988 w 182803"/>
                <a:gd name="connsiteY385" fmla="*/ 315105 h 333107"/>
                <a:gd name="connsiteX386" fmla="*/ 70537 w 182803"/>
                <a:gd name="connsiteY386" fmla="*/ 314671 h 333107"/>
                <a:gd name="connsiteX387" fmla="*/ 65706 w 182803"/>
                <a:gd name="connsiteY387" fmla="*/ 312842 h 333107"/>
                <a:gd name="connsiteX388" fmla="*/ 63849 w 182803"/>
                <a:gd name="connsiteY388" fmla="*/ 309893 h 333107"/>
                <a:gd name="connsiteX389" fmla="*/ 62857 w 182803"/>
                <a:gd name="connsiteY389" fmla="*/ 309806 h 333107"/>
                <a:gd name="connsiteX390" fmla="*/ 61977 w 182803"/>
                <a:gd name="connsiteY390" fmla="*/ 310134 h 333107"/>
                <a:gd name="connsiteX391" fmla="*/ 61633 w 182803"/>
                <a:gd name="connsiteY391" fmla="*/ 310806 h 333107"/>
                <a:gd name="connsiteX392" fmla="*/ 61119 w 182803"/>
                <a:gd name="connsiteY392" fmla="*/ 314201 h 333107"/>
                <a:gd name="connsiteX393" fmla="*/ 60702 w 182803"/>
                <a:gd name="connsiteY393" fmla="*/ 315238 h 333107"/>
                <a:gd name="connsiteX394" fmla="*/ 55164 w 182803"/>
                <a:gd name="connsiteY394" fmla="*/ 308400 h 333107"/>
                <a:gd name="connsiteX395" fmla="*/ 51346 w 182803"/>
                <a:gd name="connsiteY395" fmla="*/ 305585 h 333107"/>
                <a:gd name="connsiteX396" fmla="*/ 51883 w 182803"/>
                <a:gd name="connsiteY396" fmla="*/ 300485 h 333107"/>
                <a:gd name="connsiteX397" fmla="*/ 50722 w 182803"/>
                <a:gd name="connsiteY397" fmla="*/ 299492 h 333107"/>
                <a:gd name="connsiteX398" fmla="*/ 49277 w 182803"/>
                <a:gd name="connsiteY398" fmla="*/ 299393 h 333107"/>
                <a:gd name="connsiteX399" fmla="*/ 48184 w 182803"/>
                <a:gd name="connsiteY399" fmla="*/ 297982 h 333107"/>
                <a:gd name="connsiteX400" fmla="*/ 49156 w 182803"/>
                <a:gd name="connsiteY400" fmla="*/ 294941 h 333107"/>
                <a:gd name="connsiteX401" fmla="*/ 47656 w 182803"/>
                <a:gd name="connsiteY401" fmla="*/ 295522 h 333107"/>
                <a:gd name="connsiteX402" fmla="*/ 45578 w 182803"/>
                <a:gd name="connsiteY402" fmla="*/ 295414 h 333107"/>
                <a:gd name="connsiteX403" fmla="*/ 43885 w 182803"/>
                <a:gd name="connsiteY403" fmla="*/ 294573 h 333107"/>
                <a:gd name="connsiteX404" fmla="*/ 42598 w 182803"/>
                <a:gd name="connsiteY404" fmla="*/ 290368 h 333107"/>
                <a:gd name="connsiteX405" fmla="*/ 41786 w 182803"/>
                <a:gd name="connsiteY405" fmla="*/ 289084 h 333107"/>
                <a:gd name="connsiteX406" fmla="*/ 40011 w 182803"/>
                <a:gd name="connsiteY406" fmla="*/ 286882 h 333107"/>
                <a:gd name="connsiteX407" fmla="*/ 37673 w 182803"/>
                <a:gd name="connsiteY407" fmla="*/ 286882 h 333107"/>
                <a:gd name="connsiteX408" fmla="*/ 36900 w 182803"/>
                <a:gd name="connsiteY408" fmla="*/ 285825 h 333107"/>
                <a:gd name="connsiteX409" fmla="*/ 37085 w 182803"/>
                <a:gd name="connsiteY409" fmla="*/ 283106 h 333107"/>
                <a:gd name="connsiteX410" fmla="*/ 35379 w 182803"/>
                <a:gd name="connsiteY410" fmla="*/ 281438 h 333107"/>
                <a:gd name="connsiteX411" fmla="*/ 33136 w 182803"/>
                <a:gd name="connsiteY411" fmla="*/ 280078 h 333107"/>
                <a:gd name="connsiteX412" fmla="*/ 31283 w 182803"/>
                <a:gd name="connsiteY412" fmla="*/ 279279 h 333107"/>
                <a:gd name="connsiteX413" fmla="*/ 29400 w 182803"/>
                <a:gd name="connsiteY413" fmla="*/ 274897 h 333107"/>
                <a:gd name="connsiteX414" fmla="*/ 27914 w 182803"/>
                <a:gd name="connsiteY414" fmla="*/ 273821 h 333107"/>
                <a:gd name="connsiteX415" fmla="*/ 26651 w 182803"/>
                <a:gd name="connsiteY415" fmla="*/ 272947 h 333107"/>
                <a:gd name="connsiteX416" fmla="*/ 24896 w 182803"/>
                <a:gd name="connsiteY416" fmla="*/ 273537 h 333107"/>
                <a:gd name="connsiteX417" fmla="*/ 24325 w 182803"/>
                <a:gd name="connsiteY417" fmla="*/ 275115 h 333107"/>
                <a:gd name="connsiteX418" fmla="*/ 23153 w 182803"/>
                <a:gd name="connsiteY418" fmla="*/ 276644 h 333107"/>
                <a:gd name="connsiteX419" fmla="*/ 21821 w 182803"/>
                <a:gd name="connsiteY419" fmla="*/ 276450 h 333107"/>
                <a:gd name="connsiteX420" fmla="*/ 20599 w 182803"/>
                <a:gd name="connsiteY420" fmla="*/ 275576 h 333107"/>
                <a:gd name="connsiteX421" fmla="*/ 19110 w 182803"/>
                <a:gd name="connsiteY421" fmla="*/ 271193 h 333107"/>
                <a:gd name="connsiteX422" fmla="*/ 18862 w 182803"/>
                <a:gd name="connsiteY422" fmla="*/ 268508 h 333107"/>
                <a:gd name="connsiteX423" fmla="*/ 19191 w 182803"/>
                <a:gd name="connsiteY423" fmla="*/ 263514 h 333107"/>
                <a:gd name="connsiteX424" fmla="*/ 21052 w 182803"/>
                <a:gd name="connsiteY424" fmla="*/ 259034 h 333107"/>
                <a:gd name="connsiteX425" fmla="*/ 22056 w 182803"/>
                <a:gd name="connsiteY425" fmla="*/ 251865 h 333107"/>
                <a:gd name="connsiteX426" fmla="*/ 23643 w 182803"/>
                <a:gd name="connsiteY426" fmla="*/ 247353 h 333107"/>
                <a:gd name="connsiteX427" fmla="*/ 24744 w 182803"/>
                <a:gd name="connsiteY427" fmla="*/ 245822 h 333107"/>
                <a:gd name="connsiteX428" fmla="*/ 26269 w 182803"/>
                <a:gd name="connsiteY428" fmla="*/ 239661 h 333107"/>
                <a:gd name="connsiteX429" fmla="*/ 29379 w 182803"/>
                <a:gd name="connsiteY429" fmla="*/ 231781 h 333107"/>
                <a:gd name="connsiteX430" fmla="*/ 29731 w 182803"/>
                <a:gd name="connsiteY430" fmla="*/ 230092 h 333107"/>
                <a:gd name="connsiteX431" fmla="*/ 30358 w 182803"/>
                <a:gd name="connsiteY431" fmla="*/ 228197 h 333107"/>
                <a:gd name="connsiteX432" fmla="*/ 30834 w 182803"/>
                <a:gd name="connsiteY432" fmla="*/ 226408 h 333107"/>
                <a:gd name="connsiteX433" fmla="*/ 30989 w 182803"/>
                <a:gd name="connsiteY433" fmla="*/ 223588 h 333107"/>
                <a:gd name="connsiteX434" fmla="*/ 30588 w 182803"/>
                <a:gd name="connsiteY434" fmla="*/ 222100 h 333107"/>
                <a:gd name="connsiteX435" fmla="*/ 30588 w 182803"/>
                <a:gd name="connsiteY435" fmla="*/ 221265 h 333107"/>
                <a:gd name="connsiteX436" fmla="*/ 31244 w 182803"/>
                <a:gd name="connsiteY436" fmla="*/ 220203 h 333107"/>
                <a:gd name="connsiteX437" fmla="*/ 33460 w 182803"/>
                <a:gd name="connsiteY437" fmla="*/ 218416 h 333107"/>
                <a:gd name="connsiteX438" fmla="*/ 36518 w 182803"/>
                <a:gd name="connsiteY438" fmla="*/ 215472 h 333107"/>
                <a:gd name="connsiteX439" fmla="*/ 40160 w 182803"/>
                <a:gd name="connsiteY439" fmla="*/ 211325 h 333107"/>
                <a:gd name="connsiteX440" fmla="*/ 43889 w 182803"/>
                <a:gd name="connsiteY440" fmla="*/ 204963 h 333107"/>
                <a:gd name="connsiteX441" fmla="*/ 45744 w 182803"/>
                <a:gd name="connsiteY441" fmla="*/ 201269 h 333107"/>
                <a:gd name="connsiteX442" fmla="*/ 46524 w 182803"/>
                <a:gd name="connsiteY442" fmla="*/ 199967 h 333107"/>
                <a:gd name="connsiteX443" fmla="*/ 47349 w 182803"/>
                <a:gd name="connsiteY443" fmla="*/ 199560 h 333107"/>
                <a:gd name="connsiteX444" fmla="*/ 48623 w 182803"/>
                <a:gd name="connsiteY444" fmla="*/ 198294 h 333107"/>
                <a:gd name="connsiteX445" fmla="*/ 49500 w 182803"/>
                <a:gd name="connsiteY445" fmla="*/ 196893 h 333107"/>
                <a:gd name="connsiteX446" fmla="*/ 49549 w 182803"/>
                <a:gd name="connsiteY446" fmla="*/ 196186 h 333107"/>
                <a:gd name="connsiteX447" fmla="*/ 47519 w 182803"/>
                <a:gd name="connsiteY447" fmla="*/ 189270 h 333107"/>
                <a:gd name="connsiteX448" fmla="*/ 46192 w 182803"/>
                <a:gd name="connsiteY448" fmla="*/ 187014 h 333107"/>
                <a:gd name="connsiteX449" fmla="*/ 45518 w 182803"/>
                <a:gd name="connsiteY449" fmla="*/ 184347 h 333107"/>
                <a:gd name="connsiteX450" fmla="*/ 45161 w 182803"/>
                <a:gd name="connsiteY450" fmla="*/ 182422 h 333107"/>
                <a:gd name="connsiteX451" fmla="*/ 44674 w 182803"/>
                <a:gd name="connsiteY451" fmla="*/ 180653 h 333107"/>
                <a:gd name="connsiteX452" fmla="*/ 44913 w 182803"/>
                <a:gd name="connsiteY452" fmla="*/ 178985 h 333107"/>
                <a:gd name="connsiteX453" fmla="*/ 44181 w 182803"/>
                <a:gd name="connsiteY453" fmla="*/ 177945 h 333107"/>
                <a:gd name="connsiteX454" fmla="*/ 42531 w 182803"/>
                <a:gd name="connsiteY454" fmla="*/ 176627 h 333107"/>
                <a:gd name="connsiteX455" fmla="*/ 40817 w 182803"/>
                <a:gd name="connsiteY455" fmla="*/ 174676 h 333107"/>
                <a:gd name="connsiteX456" fmla="*/ 39793 w 182803"/>
                <a:gd name="connsiteY456" fmla="*/ 171481 h 333107"/>
                <a:gd name="connsiteX457" fmla="*/ 39793 w 182803"/>
                <a:gd name="connsiteY457" fmla="*/ 169696 h 333107"/>
                <a:gd name="connsiteX458" fmla="*/ 38696 w 182803"/>
                <a:gd name="connsiteY458" fmla="*/ 168136 h 333107"/>
                <a:gd name="connsiteX459" fmla="*/ 38332 w 182803"/>
                <a:gd name="connsiteY459" fmla="*/ 166500 h 333107"/>
                <a:gd name="connsiteX460" fmla="*/ 38987 w 182803"/>
                <a:gd name="connsiteY460" fmla="*/ 164937 h 333107"/>
                <a:gd name="connsiteX461" fmla="*/ 39852 w 182803"/>
                <a:gd name="connsiteY461" fmla="*/ 163586 h 333107"/>
                <a:gd name="connsiteX462" fmla="*/ 39752 w 182803"/>
                <a:gd name="connsiteY462" fmla="*/ 157648 h 333107"/>
                <a:gd name="connsiteX463" fmla="*/ 39407 w 182803"/>
                <a:gd name="connsiteY463" fmla="*/ 155873 h 333107"/>
                <a:gd name="connsiteX464" fmla="*/ 38981 w 182803"/>
                <a:gd name="connsiteY464" fmla="*/ 152700 h 333107"/>
                <a:gd name="connsiteX465" fmla="*/ 37863 w 182803"/>
                <a:gd name="connsiteY465" fmla="*/ 150310 h 333107"/>
                <a:gd name="connsiteX466" fmla="*/ 36280 w 182803"/>
                <a:gd name="connsiteY466" fmla="*/ 147507 h 333107"/>
                <a:gd name="connsiteX467" fmla="*/ 34488 w 182803"/>
                <a:gd name="connsiteY467" fmla="*/ 145192 h 333107"/>
                <a:gd name="connsiteX468" fmla="*/ 29791 w 182803"/>
                <a:gd name="connsiteY468" fmla="*/ 141000 h 333107"/>
                <a:gd name="connsiteX469" fmla="*/ 26449 w 182803"/>
                <a:gd name="connsiteY469" fmla="*/ 138199 h 333107"/>
                <a:gd name="connsiteX470" fmla="*/ 24790 w 182803"/>
                <a:gd name="connsiteY470" fmla="*/ 135649 h 333107"/>
                <a:gd name="connsiteX471" fmla="*/ 22693 w 182803"/>
                <a:gd name="connsiteY471" fmla="*/ 132713 h 333107"/>
                <a:gd name="connsiteX472" fmla="*/ 21188 w 182803"/>
                <a:gd name="connsiteY472" fmla="*/ 130601 h 333107"/>
                <a:gd name="connsiteX473" fmla="*/ 19283 w 182803"/>
                <a:gd name="connsiteY473" fmla="*/ 127930 h 333107"/>
                <a:gd name="connsiteX474" fmla="*/ 18314 w 182803"/>
                <a:gd name="connsiteY474" fmla="*/ 124287 h 333107"/>
                <a:gd name="connsiteX475" fmla="*/ 17779 w 182803"/>
                <a:gd name="connsiteY475" fmla="*/ 120410 h 333107"/>
                <a:gd name="connsiteX476" fmla="*/ 18068 w 182803"/>
                <a:gd name="connsiteY476" fmla="*/ 119127 h 333107"/>
                <a:gd name="connsiteX477" fmla="*/ 18978 w 182803"/>
                <a:gd name="connsiteY477" fmla="*/ 118285 h 333107"/>
                <a:gd name="connsiteX478" fmla="*/ 20171 w 182803"/>
                <a:gd name="connsiteY478" fmla="*/ 117601 h 333107"/>
                <a:gd name="connsiteX479" fmla="*/ 21127 w 182803"/>
                <a:gd name="connsiteY479" fmla="*/ 117443 h 333107"/>
                <a:gd name="connsiteX480" fmla="*/ 23842 w 182803"/>
                <a:gd name="connsiteY480" fmla="*/ 115660 h 333107"/>
                <a:gd name="connsiteX481" fmla="*/ 25725 w 182803"/>
                <a:gd name="connsiteY481" fmla="*/ 115811 h 333107"/>
                <a:gd name="connsiteX482" fmla="*/ 26159 w 182803"/>
                <a:gd name="connsiteY482" fmla="*/ 115426 h 333107"/>
                <a:gd name="connsiteX483" fmla="*/ 26342 w 182803"/>
                <a:gd name="connsiteY483" fmla="*/ 114614 h 333107"/>
                <a:gd name="connsiteX484" fmla="*/ 26104 w 182803"/>
                <a:gd name="connsiteY484" fmla="*/ 111078 h 333107"/>
                <a:gd name="connsiteX485" fmla="*/ 26187 w 182803"/>
                <a:gd name="connsiteY485" fmla="*/ 106348 h 333107"/>
                <a:gd name="connsiteX486" fmla="*/ 26537 w 182803"/>
                <a:gd name="connsiteY486" fmla="*/ 102494 h 333107"/>
                <a:gd name="connsiteX487" fmla="*/ 26943 w 182803"/>
                <a:gd name="connsiteY487" fmla="*/ 99953 h 333107"/>
                <a:gd name="connsiteX488" fmla="*/ 31931 w 182803"/>
                <a:gd name="connsiteY488" fmla="*/ 97001 h 333107"/>
                <a:gd name="connsiteX489" fmla="*/ 32982 w 182803"/>
                <a:gd name="connsiteY489" fmla="*/ 95725 h 333107"/>
                <a:gd name="connsiteX490" fmla="*/ 33490 w 182803"/>
                <a:gd name="connsiteY490" fmla="*/ 94340 h 333107"/>
                <a:gd name="connsiteX491" fmla="*/ 33485 w 182803"/>
                <a:gd name="connsiteY491" fmla="*/ 93118 h 333107"/>
                <a:gd name="connsiteX492" fmla="*/ 33067 w 182803"/>
                <a:gd name="connsiteY492" fmla="*/ 92158 h 333107"/>
                <a:gd name="connsiteX493" fmla="*/ 32317 w 182803"/>
                <a:gd name="connsiteY493" fmla="*/ 91627 h 333107"/>
                <a:gd name="connsiteX494" fmla="*/ 29085 w 182803"/>
                <a:gd name="connsiteY494" fmla="*/ 94174 h 333107"/>
                <a:gd name="connsiteX495" fmla="*/ 28455 w 182803"/>
                <a:gd name="connsiteY495" fmla="*/ 93606 h 333107"/>
                <a:gd name="connsiteX496" fmla="*/ 26971 w 182803"/>
                <a:gd name="connsiteY496" fmla="*/ 89420 h 333107"/>
                <a:gd name="connsiteX497" fmla="*/ 26332 w 182803"/>
                <a:gd name="connsiteY497" fmla="*/ 88144 h 333107"/>
                <a:gd name="connsiteX498" fmla="*/ 25411 w 182803"/>
                <a:gd name="connsiteY498" fmla="*/ 86616 h 333107"/>
                <a:gd name="connsiteX499" fmla="*/ 24416 w 182803"/>
                <a:gd name="connsiteY499" fmla="*/ 84479 h 333107"/>
                <a:gd name="connsiteX500" fmla="*/ 24263 w 182803"/>
                <a:gd name="connsiteY500" fmla="*/ 80778 h 333107"/>
                <a:gd name="connsiteX501" fmla="*/ 23548 w 182803"/>
                <a:gd name="connsiteY501" fmla="*/ 78943 h 333107"/>
                <a:gd name="connsiteX502" fmla="*/ 19516 w 182803"/>
                <a:gd name="connsiteY502" fmla="*/ 75030 h 333107"/>
                <a:gd name="connsiteX503" fmla="*/ 17705 w 182803"/>
                <a:gd name="connsiteY503" fmla="*/ 72930 h 333107"/>
                <a:gd name="connsiteX504" fmla="*/ 15239 w 182803"/>
                <a:gd name="connsiteY504" fmla="*/ 69892 h 333107"/>
                <a:gd name="connsiteX505" fmla="*/ 12280 w 182803"/>
                <a:gd name="connsiteY505" fmla="*/ 66246 h 333107"/>
                <a:gd name="connsiteX506" fmla="*/ 9266 w 182803"/>
                <a:gd name="connsiteY506" fmla="*/ 62873 h 333107"/>
                <a:gd name="connsiteX507" fmla="*/ 7854 w 182803"/>
                <a:gd name="connsiteY507" fmla="*/ 60716 h 333107"/>
                <a:gd name="connsiteX508" fmla="*/ 7353 w 182803"/>
                <a:gd name="connsiteY508" fmla="*/ 60231 h 333107"/>
                <a:gd name="connsiteX509" fmla="*/ 7178 w 182803"/>
                <a:gd name="connsiteY509" fmla="*/ 59400 h 333107"/>
                <a:gd name="connsiteX510" fmla="*/ 8094 w 182803"/>
                <a:gd name="connsiteY510" fmla="*/ 57078 h 333107"/>
                <a:gd name="connsiteX511" fmla="*/ 7647 w 182803"/>
                <a:gd name="connsiteY511" fmla="*/ 54747 h 333107"/>
                <a:gd name="connsiteX512" fmla="*/ 6139 w 182803"/>
                <a:gd name="connsiteY512" fmla="*/ 51633 h 333107"/>
                <a:gd name="connsiteX513" fmla="*/ 5496 w 182803"/>
                <a:gd name="connsiteY513" fmla="*/ 49708 h 333107"/>
                <a:gd name="connsiteX514" fmla="*/ 5712 w 182803"/>
                <a:gd name="connsiteY514" fmla="*/ 48969 h 333107"/>
                <a:gd name="connsiteX515" fmla="*/ 4984 w 182803"/>
                <a:gd name="connsiteY515" fmla="*/ 48680 h 333107"/>
                <a:gd name="connsiteX516" fmla="*/ 3314 w 182803"/>
                <a:gd name="connsiteY516" fmla="*/ 48842 h 333107"/>
                <a:gd name="connsiteX517" fmla="*/ 1700 w 182803"/>
                <a:gd name="connsiteY517" fmla="*/ 47385 h 333107"/>
                <a:gd name="connsiteX518" fmla="*/ 149 w 182803"/>
                <a:gd name="connsiteY518" fmla="*/ 44306 h 333107"/>
                <a:gd name="connsiteX519" fmla="*/ 0 w 182803"/>
                <a:gd name="connsiteY519" fmla="*/ 43765 h 333107"/>
                <a:gd name="connsiteX520" fmla="*/ 512 w 182803"/>
                <a:gd name="connsiteY520" fmla="*/ 43775 h 333107"/>
                <a:gd name="connsiteX521" fmla="*/ 2455 w 182803"/>
                <a:gd name="connsiteY521" fmla="*/ 44308 h 333107"/>
                <a:gd name="connsiteX522" fmla="*/ 3123 w 182803"/>
                <a:gd name="connsiteY522" fmla="*/ 44227 h 333107"/>
                <a:gd name="connsiteX523" fmla="*/ 4498 w 182803"/>
                <a:gd name="connsiteY523" fmla="*/ 43519 h 333107"/>
                <a:gd name="connsiteX524" fmla="*/ 6582 w 182803"/>
                <a:gd name="connsiteY524" fmla="*/ 42775 h 333107"/>
                <a:gd name="connsiteX525" fmla="*/ 7823 w 182803"/>
                <a:gd name="connsiteY525" fmla="*/ 42528 h 333107"/>
                <a:gd name="connsiteX526" fmla="*/ 8225 w 182803"/>
                <a:gd name="connsiteY526" fmla="*/ 42158 h 333107"/>
                <a:gd name="connsiteX527" fmla="*/ 8404 w 182803"/>
                <a:gd name="connsiteY527" fmla="*/ 41412 h 333107"/>
                <a:gd name="connsiteX528" fmla="*/ 7344 w 182803"/>
                <a:gd name="connsiteY528" fmla="*/ 34292 h 333107"/>
                <a:gd name="connsiteX529" fmla="*/ 7523 w 182803"/>
                <a:gd name="connsiteY529" fmla="*/ 32810 h 333107"/>
                <a:gd name="connsiteX530" fmla="*/ 9508 w 182803"/>
                <a:gd name="connsiteY530" fmla="*/ 29739 h 333107"/>
                <a:gd name="connsiteX531" fmla="*/ 9279 w 182803"/>
                <a:gd name="connsiteY531" fmla="*/ 26635 h 333107"/>
                <a:gd name="connsiteX532" fmla="*/ 9793 w 182803"/>
                <a:gd name="connsiteY532" fmla="*/ 22181 h 333107"/>
                <a:gd name="connsiteX533" fmla="*/ 11995 w 182803"/>
                <a:gd name="connsiteY533" fmla="*/ 19129 h 333107"/>
                <a:gd name="connsiteX534" fmla="*/ 13649 w 182803"/>
                <a:gd name="connsiteY534" fmla="*/ 17732 h 333107"/>
                <a:gd name="connsiteX535" fmla="*/ 14176 w 182803"/>
                <a:gd name="connsiteY535" fmla="*/ 15531 h 333107"/>
                <a:gd name="connsiteX536" fmla="*/ 14928 w 182803"/>
                <a:gd name="connsiteY536" fmla="*/ 15066 h 333107"/>
                <a:gd name="connsiteX537" fmla="*/ 16299 w 182803"/>
                <a:gd name="connsiteY537" fmla="*/ 15240 h 333107"/>
                <a:gd name="connsiteX538" fmla="*/ 19130 w 182803"/>
                <a:gd name="connsiteY538" fmla="*/ 16882 h 333107"/>
                <a:gd name="connsiteX539" fmla="*/ 20337 w 182803"/>
                <a:gd name="connsiteY539" fmla="*/ 16961 h 333107"/>
                <a:gd name="connsiteX540" fmla="*/ 22054 w 182803"/>
                <a:gd name="connsiteY540" fmla="*/ 16917 h 333107"/>
                <a:gd name="connsiteX541" fmla="*/ 23905 w 182803"/>
                <a:gd name="connsiteY541" fmla="*/ 16796 h 333107"/>
                <a:gd name="connsiteX542" fmla="*/ 24764 w 182803"/>
                <a:gd name="connsiteY542" fmla="*/ 16638 h 333107"/>
                <a:gd name="connsiteX543" fmla="*/ 30663 w 182803"/>
                <a:gd name="connsiteY543" fmla="*/ 15035 h 333107"/>
                <a:gd name="connsiteX544" fmla="*/ 31965 w 182803"/>
                <a:gd name="connsiteY544" fmla="*/ 14865 h 333107"/>
                <a:gd name="connsiteX545" fmla="*/ 33209 w 182803"/>
                <a:gd name="connsiteY545" fmla="*/ 15069 h 333107"/>
                <a:gd name="connsiteX546" fmla="*/ 34114 w 182803"/>
                <a:gd name="connsiteY546" fmla="*/ 14993 h 333107"/>
                <a:gd name="connsiteX547" fmla="*/ 35027 w 182803"/>
                <a:gd name="connsiteY547" fmla="*/ 14257 h 333107"/>
                <a:gd name="connsiteX548" fmla="*/ 35677 w 182803"/>
                <a:gd name="connsiteY548" fmla="*/ 12959 h 333107"/>
                <a:gd name="connsiteX549" fmla="*/ 36414 w 182803"/>
                <a:gd name="connsiteY549" fmla="*/ 8810 h 333107"/>
                <a:gd name="connsiteX550" fmla="*/ 36835 w 182803"/>
                <a:gd name="connsiteY550" fmla="*/ 8078 h 333107"/>
                <a:gd name="connsiteX551" fmla="*/ 37597 w 182803"/>
                <a:gd name="connsiteY551" fmla="*/ 7485 h 333107"/>
                <a:gd name="connsiteX552" fmla="*/ 38847 w 182803"/>
                <a:gd name="connsiteY552" fmla="*/ 7089 h 333107"/>
                <a:gd name="connsiteX553" fmla="*/ 40310 w 182803"/>
                <a:gd name="connsiteY553" fmla="*/ 7123 h 333107"/>
                <a:gd name="connsiteX554" fmla="*/ 42229 w 182803"/>
                <a:gd name="connsiteY554" fmla="*/ 7921 h 333107"/>
                <a:gd name="connsiteX555" fmla="*/ 43427 w 182803"/>
                <a:gd name="connsiteY555" fmla="*/ 7956 h 333107"/>
                <a:gd name="connsiteX556" fmla="*/ 44783 w 182803"/>
                <a:gd name="connsiteY556" fmla="*/ 7621 h 333107"/>
                <a:gd name="connsiteX557" fmla="*/ 45941 w 182803"/>
                <a:gd name="connsiteY557" fmla="*/ 7049 h 333107"/>
                <a:gd name="connsiteX558" fmla="*/ 46701 w 182803"/>
                <a:gd name="connsiteY558" fmla="*/ 6323 h 333107"/>
                <a:gd name="connsiteX559" fmla="*/ 47049 w 182803"/>
                <a:gd name="connsiteY559" fmla="*/ 5451 h 333107"/>
                <a:gd name="connsiteX560" fmla="*/ 46736 w 182803"/>
                <a:gd name="connsiteY560" fmla="*/ 3773 h 333107"/>
                <a:gd name="connsiteX561" fmla="*/ 45861 w 182803"/>
                <a:gd name="connsiteY561" fmla="*/ 1668 h 333107"/>
                <a:gd name="connsiteX562" fmla="*/ 46103 w 182803"/>
                <a:gd name="connsiteY562" fmla="*/ 1414 h 333107"/>
                <a:gd name="connsiteX563" fmla="*/ 47712 w 182803"/>
                <a:gd name="connsiteY563" fmla="*/ 1880 h 333107"/>
                <a:gd name="connsiteX564" fmla="*/ 50078 w 182803"/>
                <a:gd name="connsiteY564" fmla="*/ 2395 h 333107"/>
                <a:gd name="connsiteX565" fmla="*/ 51879 w 182803"/>
                <a:gd name="connsiteY565" fmla="*/ 2281 h 333107"/>
                <a:gd name="connsiteX566" fmla="*/ 53056 w 182803"/>
                <a:gd name="connsiteY566" fmla="*/ 1915 h 333107"/>
                <a:gd name="connsiteX567" fmla="*/ 54203 w 182803"/>
                <a:gd name="connsiteY567" fmla="*/ 921 h 333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</a:cxnLst>
              <a:rect l="l" t="t" r="r" b="b"/>
              <a:pathLst>
                <a:path w="182803" h="333107">
                  <a:moveTo>
                    <a:pt x="50418" y="309195"/>
                  </a:moveTo>
                  <a:lnTo>
                    <a:pt x="51465" y="312383"/>
                  </a:lnTo>
                  <a:lnTo>
                    <a:pt x="50618" y="313463"/>
                  </a:lnTo>
                  <a:lnTo>
                    <a:pt x="50198" y="313592"/>
                  </a:lnTo>
                  <a:lnTo>
                    <a:pt x="49370" y="311800"/>
                  </a:lnTo>
                  <a:close/>
                  <a:moveTo>
                    <a:pt x="36953" y="288696"/>
                  </a:moveTo>
                  <a:lnTo>
                    <a:pt x="37690" y="289689"/>
                  </a:lnTo>
                  <a:lnTo>
                    <a:pt x="38264" y="292370"/>
                  </a:lnTo>
                  <a:lnTo>
                    <a:pt x="37456" y="291823"/>
                  </a:lnTo>
                  <a:lnTo>
                    <a:pt x="36790" y="290653"/>
                  </a:lnTo>
                  <a:lnTo>
                    <a:pt x="36798" y="288936"/>
                  </a:lnTo>
                  <a:close/>
                  <a:moveTo>
                    <a:pt x="25550" y="278195"/>
                  </a:moveTo>
                  <a:lnTo>
                    <a:pt x="27206" y="279335"/>
                  </a:lnTo>
                  <a:lnTo>
                    <a:pt x="26934" y="282080"/>
                  </a:lnTo>
                  <a:lnTo>
                    <a:pt x="26669" y="282456"/>
                  </a:lnTo>
                  <a:close/>
                  <a:moveTo>
                    <a:pt x="20965" y="276909"/>
                  </a:moveTo>
                  <a:lnTo>
                    <a:pt x="21605" y="278148"/>
                  </a:lnTo>
                  <a:lnTo>
                    <a:pt x="23462" y="278704"/>
                  </a:lnTo>
                  <a:lnTo>
                    <a:pt x="22663" y="281399"/>
                  </a:lnTo>
                  <a:lnTo>
                    <a:pt x="22889" y="282790"/>
                  </a:lnTo>
                  <a:lnTo>
                    <a:pt x="22654" y="284428"/>
                  </a:lnTo>
                  <a:lnTo>
                    <a:pt x="21747" y="284405"/>
                  </a:lnTo>
                  <a:lnTo>
                    <a:pt x="20823" y="285453"/>
                  </a:lnTo>
                  <a:lnTo>
                    <a:pt x="20395" y="285592"/>
                  </a:lnTo>
                  <a:lnTo>
                    <a:pt x="19644" y="282255"/>
                  </a:lnTo>
                  <a:lnTo>
                    <a:pt x="20508" y="277579"/>
                  </a:lnTo>
                  <a:close/>
                  <a:moveTo>
                    <a:pt x="20503" y="255240"/>
                  </a:moveTo>
                  <a:lnTo>
                    <a:pt x="20754" y="256550"/>
                  </a:lnTo>
                  <a:lnTo>
                    <a:pt x="20643" y="257194"/>
                  </a:lnTo>
                  <a:lnTo>
                    <a:pt x="19389" y="257432"/>
                  </a:lnTo>
                  <a:lnTo>
                    <a:pt x="19558" y="256215"/>
                  </a:lnTo>
                  <a:lnTo>
                    <a:pt x="19895" y="255446"/>
                  </a:lnTo>
                  <a:close/>
                  <a:moveTo>
                    <a:pt x="59631" y="245273"/>
                  </a:moveTo>
                  <a:lnTo>
                    <a:pt x="59733" y="246536"/>
                  </a:lnTo>
                  <a:lnTo>
                    <a:pt x="59256" y="248053"/>
                  </a:lnTo>
                  <a:lnTo>
                    <a:pt x="57237" y="248940"/>
                  </a:lnTo>
                  <a:lnTo>
                    <a:pt x="56548" y="247726"/>
                  </a:lnTo>
                  <a:lnTo>
                    <a:pt x="56731" y="245855"/>
                  </a:lnTo>
                  <a:lnTo>
                    <a:pt x="57042" y="245385"/>
                  </a:lnTo>
                  <a:lnTo>
                    <a:pt x="59018" y="245478"/>
                  </a:lnTo>
                  <a:close/>
                  <a:moveTo>
                    <a:pt x="57701" y="240642"/>
                  </a:moveTo>
                  <a:lnTo>
                    <a:pt x="59029" y="240684"/>
                  </a:lnTo>
                  <a:lnTo>
                    <a:pt x="59683" y="241634"/>
                  </a:lnTo>
                  <a:lnTo>
                    <a:pt x="59707" y="242804"/>
                  </a:lnTo>
                  <a:lnTo>
                    <a:pt x="59493" y="243177"/>
                  </a:lnTo>
                  <a:lnTo>
                    <a:pt x="58636" y="242468"/>
                  </a:lnTo>
                  <a:lnTo>
                    <a:pt x="58025" y="241668"/>
                  </a:lnTo>
                  <a:close/>
                  <a:moveTo>
                    <a:pt x="114873" y="198192"/>
                  </a:moveTo>
                  <a:lnTo>
                    <a:pt x="115702" y="198532"/>
                  </a:lnTo>
                  <a:lnTo>
                    <a:pt x="115337" y="200870"/>
                  </a:lnTo>
                  <a:lnTo>
                    <a:pt x="114074" y="199912"/>
                  </a:lnTo>
                  <a:lnTo>
                    <a:pt x="114377" y="198728"/>
                  </a:lnTo>
                  <a:close/>
                  <a:moveTo>
                    <a:pt x="108427" y="187874"/>
                  </a:moveTo>
                  <a:lnTo>
                    <a:pt x="109343" y="188103"/>
                  </a:lnTo>
                  <a:lnTo>
                    <a:pt x="110654" y="189647"/>
                  </a:lnTo>
                  <a:lnTo>
                    <a:pt x="111323" y="190718"/>
                  </a:lnTo>
                  <a:lnTo>
                    <a:pt x="111729" y="191533"/>
                  </a:lnTo>
                  <a:lnTo>
                    <a:pt x="111800" y="192071"/>
                  </a:lnTo>
                  <a:lnTo>
                    <a:pt x="110654" y="191663"/>
                  </a:lnTo>
                  <a:lnTo>
                    <a:pt x="110252" y="191854"/>
                  </a:lnTo>
                  <a:lnTo>
                    <a:pt x="108969" y="191711"/>
                  </a:lnTo>
                  <a:lnTo>
                    <a:pt x="108337" y="188604"/>
                  </a:lnTo>
                  <a:close/>
                  <a:moveTo>
                    <a:pt x="55643" y="0"/>
                  </a:moveTo>
                  <a:lnTo>
                    <a:pt x="57058" y="207"/>
                  </a:lnTo>
                  <a:lnTo>
                    <a:pt x="58148" y="1033"/>
                  </a:lnTo>
                  <a:lnTo>
                    <a:pt x="60776" y="2483"/>
                  </a:lnTo>
                  <a:lnTo>
                    <a:pt x="60610" y="3841"/>
                  </a:lnTo>
                  <a:lnTo>
                    <a:pt x="61158" y="4124"/>
                  </a:lnTo>
                  <a:lnTo>
                    <a:pt x="61918" y="3494"/>
                  </a:lnTo>
                  <a:lnTo>
                    <a:pt x="62890" y="1954"/>
                  </a:lnTo>
                  <a:lnTo>
                    <a:pt x="63950" y="1086"/>
                  </a:lnTo>
                  <a:lnTo>
                    <a:pt x="65099" y="888"/>
                  </a:lnTo>
                  <a:lnTo>
                    <a:pt x="66319" y="1937"/>
                  </a:lnTo>
                  <a:lnTo>
                    <a:pt x="67610" y="4231"/>
                  </a:lnTo>
                  <a:lnTo>
                    <a:pt x="68938" y="5536"/>
                  </a:lnTo>
                  <a:lnTo>
                    <a:pt x="69556" y="5677"/>
                  </a:lnTo>
                  <a:lnTo>
                    <a:pt x="70007" y="6726"/>
                  </a:lnTo>
                  <a:lnTo>
                    <a:pt x="70076" y="7731"/>
                  </a:lnTo>
                  <a:lnTo>
                    <a:pt x="69446" y="9856"/>
                  </a:lnTo>
                  <a:lnTo>
                    <a:pt x="68377" y="12326"/>
                  </a:lnTo>
                  <a:lnTo>
                    <a:pt x="66861" y="15379"/>
                  </a:lnTo>
                  <a:lnTo>
                    <a:pt x="67358" y="17944"/>
                  </a:lnTo>
                  <a:lnTo>
                    <a:pt x="69424" y="20034"/>
                  </a:lnTo>
                  <a:lnTo>
                    <a:pt x="71899" y="21265"/>
                  </a:lnTo>
                  <a:lnTo>
                    <a:pt x="74518" y="20923"/>
                  </a:lnTo>
                  <a:lnTo>
                    <a:pt x="75909" y="20299"/>
                  </a:lnTo>
                  <a:lnTo>
                    <a:pt x="77045" y="19309"/>
                  </a:lnTo>
                  <a:lnTo>
                    <a:pt x="78103" y="18842"/>
                  </a:lnTo>
                  <a:lnTo>
                    <a:pt x="79440" y="18718"/>
                  </a:lnTo>
                  <a:lnTo>
                    <a:pt x="83601" y="19443"/>
                  </a:lnTo>
                  <a:lnTo>
                    <a:pt x="84866" y="20152"/>
                  </a:lnTo>
                  <a:lnTo>
                    <a:pt x="85063" y="21569"/>
                  </a:lnTo>
                  <a:lnTo>
                    <a:pt x="84549" y="25211"/>
                  </a:lnTo>
                  <a:lnTo>
                    <a:pt x="85190" y="27881"/>
                  </a:lnTo>
                  <a:lnTo>
                    <a:pt x="86369" y="30692"/>
                  </a:lnTo>
                  <a:lnTo>
                    <a:pt x="86512" y="33253"/>
                  </a:lnTo>
                  <a:lnTo>
                    <a:pt x="85056" y="37476"/>
                  </a:lnTo>
                  <a:lnTo>
                    <a:pt x="83840" y="41469"/>
                  </a:lnTo>
                  <a:lnTo>
                    <a:pt x="82532" y="43408"/>
                  </a:lnTo>
                  <a:lnTo>
                    <a:pt x="81517" y="44656"/>
                  </a:lnTo>
                  <a:lnTo>
                    <a:pt x="81219" y="45502"/>
                  </a:lnTo>
                  <a:lnTo>
                    <a:pt x="81299" y="46302"/>
                  </a:lnTo>
                  <a:lnTo>
                    <a:pt x="82232" y="47502"/>
                  </a:lnTo>
                  <a:lnTo>
                    <a:pt x="83220" y="49048"/>
                  </a:lnTo>
                  <a:lnTo>
                    <a:pt x="83469" y="50527"/>
                  </a:lnTo>
                  <a:lnTo>
                    <a:pt x="83363" y="52344"/>
                  </a:lnTo>
                  <a:lnTo>
                    <a:pt x="82685" y="54835"/>
                  </a:lnTo>
                  <a:lnTo>
                    <a:pt x="80158" y="60229"/>
                  </a:lnTo>
                  <a:lnTo>
                    <a:pt x="78157" y="65093"/>
                  </a:lnTo>
                  <a:lnTo>
                    <a:pt x="79204" y="66068"/>
                  </a:lnTo>
                  <a:lnTo>
                    <a:pt x="81191" y="66778"/>
                  </a:lnTo>
                  <a:lnTo>
                    <a:pt x="82506" y="67471"/>
                  </a:lnTo>
                  <a:lnTo>
                    <a:pt x="83884" y="67027"/>
                  </a:lnTo>
                  <a:lnTo>
                    <a:pt x="86807" y="64156"/>
                  </a:lnTo>
                  <a:lnTo>
                    <a:pt x="89328" y="62018"/>
                  </a:lnTo>
                  <a:lnTo>
                    <a:pt x="92454" y="59883"/>
                  </a:lnTo>
                  <a:lnTo>
                    <a:pt x="92645" y="59697"/>
                  </a:lnTo>
                  <a:lnTo>
                    <a:pt x="95382" y="58125"/>
                  </a:lnTo>
                  <a:lnTo>
                    <a:pt x="96635" y="56681"/>
                  </a:lnTo>
                  <a:lnTo>
                    <a:pt x="97312" y="54838"/>
                  </a:lnTo>
                  <a:lnTo>
                    <a:pt x="98282" y="54125"/>
                  </a:lnTo>
                  <a:lnTo>
                    <a:pt x="99539" y="54541"/>
                  </a:lnTo>
                  <a:lnTo>
                    <a:pt x="101131" y="53740"/>
                  </a:lnTo>
                  <a:lnTo>
                    <a:pt x="103057" y="51723"/>
                  </a:lnTo>
                  <a:lnTo>
                    <a:pt x="104536" y="50790"/>
                  </a:lnTo>
                  <a:lnTo>
                    <a:pt x="105570" y="50945"/>
                  </a:lnTo>
                  <a:lnTo>
                    <a:pt x="107414" y="52199"/>
                  </a:lnTo>
                  <a:lnTo>
                    <a:pt x="110072" y="54552"/>
                  </a:lnTo>
                  <a:lnTo>
                    <a:pt x="112437" y="55952"/>
                  </a:lnTo>
                  <a:lnTo>
                    <a:pt x="114510" y="56398"/>
                  </a:lnTo>
                  <a:lnTo>
                    <a:pt x="115521" y="57273"/>
                  </a:lnTo>
                  <a:lnTo>
                    <a:pt x="115473" y="58576"/>
                  </a:lnTo>
                  <a:lnTo>
                    <a:pt x="115931" y="59404"/>
                  </a:lnTo>
                  <a:lnTo>
                    <a:pt x="116900" y="59755"/>
                  </a:lnTo>
                  <a:lnTo>
                    <a:pt x="117331" y="59615"/>
                  </a:lnTo>
                  <a:lnTo>
                    <a:pt x="117222" y="58984"/>
                  </a:lnTo>
                  <a:lnTo>
                    <a:pt x="118159" y="58060"/>
                  </a:lnTo>
                  <a:lnTo>
                    <a:pt x="120146" y="56844"/>
                  </a:lnTo>
                  <a:lnTo>
                    <a:pt x="122163" y="56128"/>
                  </a:lnTo>
                  <a:lnTo>
                    <a:pt x="124215" y="55915"/>
                  </a:lnTo>
                  <a:lnTo>
                    <a:pt x="125540" y="54950"/>
                  </a:lnTo>
                  <a:lnTo>
                    <a:pt x="126422" y="52444"/>
                  </a:lnTo>
                  <a:lnTo>
                    <a:pt x="127689" y="50537"/>
                  </a:lnTo>
                  <a:lnTo>
                    <a:pt x="128821" y="49674"/>
                  </a:lnTo>
                  <a:lnTo>
                    <a:pt x="130224" y="49240"/>
                  </a:lnTo>
                  <a:lnTo>
                    <a:pt x="130586" y="48634"/>
                  </a:lnTo>
                  <a:lnTo>
                    <a:pt x="129909" y="47858"/>
                  </a:lnTo>
                  <a:lnTo>
                    <a:pt x="129971" y="47069"/>
                  </a:lnTo>
                  <a:lnTo>
                    <a:pt x="130779" y="46270"/>
                  </a:lnTo>
                  <a:lnTo>
                    <a:pt x="132520" y="45929"/>
                  </a:lnTo>
                  <a:lnTo>
                    <a:pt x="135195" y="46047"/>
                  </a:lnTo>
                  <a:lnTo>
                    <a:pt x="138328" y="46861"/>
                  </a:lnTo>
                  <a:lnTo>
                    <a:pt x="141924" y="48371"/>
                  </a:lnTo>
                  <a:lnTo>
                    <a:pt x="144279" y="48855"/>
                  </a:lnTo>
                  <a:lnTo>
                    <a:pt x="145403" y="48314"/>
                  </a:lnTo>
                  <a:lnTo>
                    <a:pt x="147594" y="50652"/>
                  </a:lnTo>
                  <a:lnTo>
                    <a:pt x="150855" y="55866"/>
                  </a:lnTo>
                  <a:lnTo>
                    <a:pt x="153651" y="59804"/>
                  </a:lnTo>
                  <a:lnTo>
                    <a:pt x="155983" y="62469"/>
                  </a:lnTo>
                  <a:lnTo>
                    <a:pt x="158441" y="64514"/>
                  </a:lnTo>
                  <a:lnTo>
                    <a:pt x="161019" y="65940"/>
                  </a:lnTo>
                  <a:lnTo>
                    <a:pt x="162872" y="67879"/>
                  </a:lnTo>
                  <a:lnTo>
                    <a:pt x="164560" y="71555"/>
                  </a:lnTo>
                  <a:lnTo>
                    <a:pt x="163299" y="76635"/>
                  </a:lnTo>
                  <a:lnTo>
                    <a:pt x="162958" y="81020"/>
                  </a:lnTo>
                  <a:lnTo>
                    <a:pt x="163114" y="86403"/>
                  </a:lnTo>
                  <a:lnTo>
                    <a:pt x="164634" y="90526"/>
                  </a:lnTo>
                  <a:lnTo>
                    <a:pt x="167521" y="93390"/>
                  </a:lnTo>
                  <a:lnTo>
                    <a:pt x="169199" y="95704"/>
                  </a:lnTo>
                  <a:lnTo>
                    <a:pt x="169672" y="97467"/>
                  </a:lnTo>
                  <a:lnTo>
                    <a:pt x="171917" y="98981"/>
                  </a:lnTo>
                  <a:lnTo>
                    <a:pt x="175940" y="100243"/>
                  </a:lnTo>
                  <a:lnTo>
                    <a:pt x="177611" y="101387"/>
                  </a:lnTo>
                  <a:lnTo>
                    <a:pt x="176934" y="102413"/>
                  </a:lnTo>
                  <a:lnTo>
                    <a:pt x="176882" y="103603"/>
                  </a:lnTo>
                  <a:lnTo>
                    <a:pt x="177449" y="104959"/>
                  </a:lnTo>
                  <a:lnTo>
                    <a:pt x="178845" y="106080"/>
                  </a:lnTo>
                  <a:lnTo>
                    <a:pt x="181065" y="106967"/>
                  </a:lnTo>
                  <a:lnTo>
                    <a:pt x="182384" y="107903"/>
                  </a:lnTo>
                  <a:lnTo>
                    <a:pt x="182803" y="108886"/>
                  </a:lnTo>
                  <a:lnTo>
                    <a:pt x="182755" y="110485"/>
                  </a:lnTo>
                  <a:lnTo>
                    <a:pt x="182241" y="112696"/>
                  </a:lnTo>
                  <a:lnTo>
                    <a:pt x="181315" y="114396"/>
                  </a:lnTo>
                  <a:lnTo>
                    <a:pt x="179976" y="115580"/>
                  </a:lnTo>
                  <a:lnTo>
                    <a:pt x="179814" y="116514"/>
                  </a:lnTo>
                  <a:lnTo>
                    <a:pt x="179473" y="117940"/>
                  </a:lnTo>
                  <a:lnTo>
                    <a:pt x="179473" y="120858"/>
                  </a:lnTo>
                  <a:lnTo>
                    <a:pt x="180424" y="122802"/>
                  </a:lnTo>
                  <a:lnTo>
                    <a:pt x="180717" y="125269"/>
                  </a:lnTo>
                  <a:lnTo>
                    <a:pt x="180194" y="127284"/>
                  </a:lnTo>
                  <a:lnTo>
                    <a:pt x="179689" y="131397"/>
                  </a:lnTo>
                  <a:lnTo>
                    <a:pt x="179626" y="132991"/>
                  </a:lnTo>
                  <a:lnTo>
                    <a:pt x="179145" y="134357"/>
                  </a:lnTo>
                  <a:lnTo>
                    <a:pt x="177974" y="135678"/>
                  </a:lnTo>
                  <a:lnTo>
                    <a:pt x="176195" y="136918"/>
                  </a:lnTo>
                  <a:lnTo>
                    <a:pt x="174016" y="138020"/>
                  </a:lnTo>
                  <a:lnTo>
                    <a:pt x="172681" y="138508"/>
                  </a:lnTo>
                  <a:lnTo>
                    <a:pt x="172368" y="138737"/>
                  </a:lnTo>
                  <a:lnTo>
                    <a:pt x="171414" y="139980"/>
                  </a:lnTo>
                  <a:lnTo>
                    <a:pt x="170268" y="141188"/>
                  </a:lnTo>
                  <a:lnTo>
                    <a:pt x="169374" y="141189"/>
                  </a:lnTo>
                  <a:lnTo>
                    <a:pt x="168704" y="140579"/>
                  </a:lnTo>
                  <a:lnTo>
                    <a:pt x="168240" y="139789"/>
                  </a:lnTo>
                  <a:lnTo>
                    <a:pt x="167959" y="138059"/>
                  </a:lnTo>
                  <a:lnTo>
                    <a:pt x="165949" y="137204"/>
                  </a:lnTo>
                  <a:lnTo>
                    <a:pt x="163742" y="136667"/>
                  </a:lnTo>
                  <a:lnTo>
                    <a:pt x="159248" y="137519"/>
                  </a:lnTo>
                  <a:lnTo>
                    <a:pt x="155618" y="137981"/>
                  </a:lnTo>
                  <a:lnTo>
                    <a:pt x="151553" y="137396"/>
                  </a:lnTo>
                  <a:lnTo>
                    <a:pt x="147717" y="138135"/>
                  </a:lnTo>
                  <a:lnTo>
                    <a:pt x="146115" y="138244"/>
                  </a:lnTo>
                  <a:lnTo>
                    <a:pt x="144275" y="138134"/>
                  </a:lnTo>
                  <a:lnTo>
                    <a:pt x="142500" y="138148"/>
                  </a:lnTo>
                  <a:lnTo>
                    <a:pt x="140809" y="137877"/>
                  </a:lnTo>
                  <a:lnTo>
                    <a:pt x="137681" y="136819"/>
                  </a:lnTo>
                  <a:lnTo>
                    <a:pt x="136486" y="136901"/>
                  </a:lnTo>
                  <a:lnTo>
                    <a:pt x="133966" y="137777"/>
                  </a:lnTo>
                  <a:lnTo>
                    <a:pt x="131336" y="138393"/>
                  </a:lnTo>
                  <a:lnTo>
                    <a:pt x="128814" y="138815"/>
                  </a:lnTo>
                  <a:lnTo>
                    <a:pt x="125091" y="140621"/>
                  </a:lnTo>
                  <a:lnTo>
                    <a:pt x="122399" y="143234"/>
                  </a:lnTo>
                  <a:lnTo>
                    <a:pt x="121602" y="145079"/>
                  </a:lnTo>
                  <a:lnTo>
                    <a:pt x="120265" y="146937"/>
                  </a:lnTo>
                  <a:lnTo>
                    <a:pt x="118410" y="149879"/>
                  </a:lnTo>
                  <a:lnTo>
                    <a:pt x="116011" y="152694"/>
                  </a:lnTo>
                  <a:lnTo>
                    <a:pt x="114337" y="153978"/>
                  </a:lnTo>
                  <a:lnTo>
                    <a:pt x="114797" y="154734"/>
                  </a:lnTo>
                  <a:lnTo>
                    <a:pt x="114385" y="155650"/>
                  </a:lnTo>
                  <a:lnTo>
                    <a:pt x="111767" y="156058"/>
                  </a:lnTo>
                  <a:lnTo>
                    <a:pt x="109730" y="156222"/>
                  </a:lnTo>
                  <a:lnTo>
                    <a:pt x="109362" y="156679"/>
                  </a:lnTo>
                  <a:lnTo>
                    <a:pt x="109606" y="162345"/>
                  </a:lnTo>
                  <a:lnTo>
                    <a:pt x="110319" y="164488"/>
                  </a:lnTo>
                  <a:lnTo>
                    <a:pt x="111638" y="167074"/>
                  </a:lnTo>
                  <a:lnTo>
                    <a:pt x="112501" y="168489"/>
                  </a:lnTo>
                  <a:lnTo>
                    <a:pt x="113143" y="172686"/>
                  </a:lnTo>
                  <a:lnTo>
                    <a:pt x="113339" y="176244"/>
                  </a:lnTo>
                  <a:lnTo>
                    <a:pt x="116216" y="178491"/>
                  </a:lnTo>
                  <a:lnTo>
                    <a:pt x="117845" y="180207"/>
                  </a:lnTo>
                  <a:lnTo>
                    <a:pt x="119002" y="181716"/>
                  </a:lnTo>
                  <a:lnTo>
                    <a:pt x="118598" y="182679"/>
                  </a:lnTo>
                  <a:lnTo>
                    <a:pt x="117909" y="185545"/>
                  </a:lnTo>
                  <a:lnTo>
                    <a:pt x="118580" y="189267"/>
                  </a:lnTo>
                  <a:lnTo>
                    <a:pt x="122593" y="197287"/>
                  </a:lnTo>
                  <a:lnTo>
                    <a:pt x="122943" y="197856"/>
                  </a:lnTo>
                  <a:lnTo>
                    <a:pt x="122465" y="197919"/>
                  </a:lnTo>
                  <a:lnTo>
                    <a:pt x="121833" y="196375"/>
                  </a:lnTo>
                  <a:lnTo>
                    <a:pt x="119796" y="193778"/>
                  </a:lnTo>
                  <a:lnTo>
                    <a:pt x="119163" y="191001"/>
                  </a:lnTo>
                  <a:lnTo>
                    <a:pt x="116773" y="187942"/>
                  </a:lnTo>
                  <a:lnTo>
                    <a:pt x="115430" y="186726"/>
                  </a:lnTo>
                  <a:lnTo>
                    <a:pt x="115002" y="187741"/>
                  </a:lnTo>
                  <a:lnTo>
                    <a:pt x="114238" y="188831"/>
                  </a:lnTo>
                  <a:lnTo>
                    <a:pt x="111891" y="187260"/>
                  </a:lnTo>
                  <a:lnTo>
                    <a:pt x="109881" y="185614"/>
                  </a:lnTo>
                  <a:lnTo>
                    <a:pt x="108021" y="182433"/>
                  </a:lnTo>
                  <a:lnTo>
                    <a:pt x="107785" y="183172"/>
                  </a:lnTo>
                  <a:lnTo>
                    <a:pt x="107369" y="183840"/>
                  </a:lnTo>
                  <a:lnTo>
                    <a:pt x="105259" y="181340"/>
                  </a:lnTo>
                  <a:lnTo>
                    <a:pt x="103052" y="179345"/>
                  </a:lnTo>
                  <a:lnTo>
                    <a:pt x="101066" y="178631"/>
                  </a:lnTo>
                  <a:lnTo>
                    <a:pt x="99839" y="177966"/>
                  </a:lnTo>
                  <a:lnTo>
                    <a:pt x="98660" y="176908"/>
                  </a:lnTo>
                  <a:lnTo>
                    <a:pt x="96182" y="175808"/>
                  </a:lnTo>
                  <a:lnTo>
                    <a:pt x="90018" y="177390"/>
                  </a:lnTo>
                  <a:lnTo>
                    <a:pt x="82175" y="176162"/>
                  </a:lnTo>
                  <a:lnTo>
                    <a:pt x="79157" y="177338"/>
                  </a:lnTo>
                  <a:lnTo>
                    <a:pt x="77919" y="176606"/>
                  </a:lnTo>
                  <a:lnTo>
                    <a:pt x="77157" y="175243"/>
                  </a:lnTo>
                  <a:lnTo>
                    <a:pt x="77889" y="172914"/>
                  </a:lnTo>
                  <a:lnTo>
                    <a:pt x="78055" y="168042"/>
                  </a:lnTo>
                  <a:lnTo>
                    <a:pt x="78988" y="164616"/>
                  </a:lnTo>
                  <a:lnTo>
                    <a:pt x="78550" y="162012"/>
                  </a:lnTo>
                  <a:lnTo>
                    <a:pt x="79008" y="160785"/>
                  </a:lnTo>
                  <a:lnTo>
                    <a:pt x="79355" y="159110"/>
                  </a:lnTo>
                  <a:lnTo>
                    <a:pt x="78114" y="158425"/>
                  </a:lnTo>
                  <a:lnTo>
                    <a:pt x="72574" y="157100"/>
                  </a:lnTo>
                  <a:lnTo>
                    <a:pt x="71400" y="156045"/>
                  </a:lnTo>
                  <a:lnTo>
                    <a:pt x="69930" y="157254"/>
                  </a:lnTo>
                  <a:lnTo>
                    <a:pt x="63279" y="157929"/>
                  </a:lnTo>
                  <a:lnTo>
                    <a:pt x="60774" y="158940"/>
                  </a:lnTo>
                  <a:lnTo>
                    <a:pt x="58454" y="160884"/>
                  </a:lnTo>
                  <a:lnTo>
                    <a:pt x="57858" y="163352"/>
                  </a:lnTo>
                  <a:lnTo>
                    <a:pt x="59197" y="164977"/>
                  </a:lnTo>
                  <a:lnTo>
                    <a:pt x="60057" y="167801"/>
                  </a:lnTo>
                  <a:lnTo>
                    <a:pt x="57671" y="173963"/>
                  </a:lnTo>
                  <a:lnTo>
                    <a:pt x="57271" y="175793"/>
                  </a:lnTo>
                  <a:lnTo>
                    <a:pt x="58193" y="183322"/>
                  </a:lnTo>
                  <a:lnTo>
                    <a:pt x="57826" y="187450"/>
                  </a:lnTo>
                  <a:lnTo>
                    <a:pt x="56527" y="190216"/>
                  </a:lnTo>
                  <a:lnTo>
                    <a:pt x="54466" y="192702"/>
                  </a:lnTo>
                  <a:lnTo>
                    <a:pt x="53617" y="196913"/>
                  </a:lnTo>
                  <a:lnTo>
                    <a:pt x="51998" y="198863"/>
                  </a:lnTo>
                  <a:lnTo>
                    <a:pt x="49828" y="203318"/>
                  </a:lnTo>
                  <a:lnTo>
                    <a:pt x="48368" y="208865"/>
                  </a:lnTo>
                  <a:lnTo>
                    <a:pt x="47329" y="211430"/>
                  </a:lnTo>
                  <a:lnTo>
                    <a:pt x="46723" y="216152"/>
                  </a:lnTo>
                  <a:lnTo>
                    <a:pt x="42253" y="223317"/>
                  </a:lnTo>
                  <a:lnTo>
                    <a:pt x="41203" y="227363"/>
                  </a:lnTo>
                  <a:lnTo>
                    <a:pt x="39605" y="228889"/>
                  </a:lnTo>
                  <a:lnTo>
                    <a:pt x="40165" y="230095"/>
                  </a:lnTo>
                  <a:lnTo>
                    <a:pt x="40259" y="232115"/>
                  </a:lnTo>
                  <a:lnTo>
                    <a:pt x="39700" y="237503"/>
                  </a:lnTo>
                  <a:lnTo>
                    <a:pt x="39511" y="241970"/>
                  </a:lnTo>
                  <a:lnTo>
                    <a:pt x="40186" y="244356"/>
                  </a:lnTo>
                  <a:lnTo>
                    <a:pt x="42331" y="249097"/>
                  </a:lnTo>
                  <a:lnTo>
                    <a:pt x="41817" y="250472"/>
                  </a:lnTo>
                  <a:lnTo>
                    <a:pt x="41570" y="252429"/>
                  </a:lnTo>
                  <a:lnTo>
                    <a:pt x="43373" y="253316"/>
                  </a:lnTo>
                  <a:lnTo>
                    <a:pt x="44665" y="253577"/>
                  </a:lnTo>
                  <a:lnTo>
                    <a:pt x="51961" y="251336"/>
                  </a:lnTo>
                  <a:lnTo>
                    <a:pt x="54431" y="251912"/>
                  </a:lnTo>
                  <a:lnTo>
                    <a:pt x="55360" y="254003"/>
                  </a:lnTo>
                  <a:lnTo>
                    <a:pt x="55961" y="255825"/>
                  </a:lnTo>
                  <a:lnTo>
                    <a:pt x="57198" y="265667"/>
                  </a:lnTo>
                  <a:lnTo>
                    <a:pt x="57837" y="267494"/>
                  </a:lnTo>
                  <a:lnTo>
                    <a:pt x="59312" y="269233"/>
                  </a:lnTo>
                  <a:lnTo>
                    <a:pt x="60927" y="271082"/>
                  </a:lnTo>
                  <a:lnTo>
                    <a:pt x="61475" y="270750"/>
                  </a:lnTo>
                  <a:lnTo>
                    <a:pt x="61581" y="270064"/>
                  </a:lnTo>
                  <a:lnTo>
                    <a:pt x="61683" y="269293"/>
                  </a:lnTo>
                  <a:lnTo>
                    <a:pt x="63125" y="271157"/>
                  </a:lnTo>
                  <a:lnTo>
                    <a:pt x="64246" y="274635"/>
                  </a:lnTo>
                  <a:lnTo>
                    <a:pt x="68096" y="293015"/>
                  </a:lnTo>
                  <a:lnTo>
                    <a:pt x="69206" y="295348"/>
                  </a:lnTo>
                  <a:lnTo>
                    <a:pt x="70124" y="297802"/>
                  </a:lnTo>
                  <a:lnTo>
                    <a:pt x="67783" y="296605"/>
                  </a:lnTo>
                  <a:lnTo>
                    <a:pt x="67151" y="292525"/>
                  </a:lnTo>
                  <a:lnTo>
                    <a:pt x="66479" y="290809"/>
                  </a:lnTo>
                  <a:lnTo>
                    <a:pt x="65652" y="290556"/>
                  </a:lnTo>
                  <a:lnTo>
                    <a:pt x="64343" y="290586"/>
                  </a:lnTo>
                  <a:lnTo>
                    <a:pt x="64259" y="289857"/>
                  </a:lnTo>
                  <a:lnTo>
                    <a:pt x="65239" y="288525"/>
                  </a:lnTo>
                  <a:lnTo>
                    <a:pt x="65086" y="286929"/>
                  </a:lnTo>
                  <a:lnTo>
                    <a:pt x="63743" y="285618"/>
                  </a:lnTo>
                  <a:lnTo>
                    <a:pt x="61567" y="286659"/>
                  </a:lnTo>
                  <a:lnTo>
                    <a:pt x="61622" y="289524"/>
                  </a:lnTo>
                  <a:lnTo>
                    <a:pt x="62598" y="291720"/>
                  </a:lnTo>
                  <a:lnTo>
                    <a:pt x="66280" y="296619"/>
                  </a:lnTo>
                  <a:lnTo>
                    <a:pt x="67434" y="298670"/>
                  </a:lnTo>
                  <a:lnTo>
                    <a:pt x="68897" y="299259"/>
                  </a:lnTo>
                  <a:lnTo>
                    <a:pt x="71031" y="298934"/>
                  </a:lnTo>
                  <a:lnTo>
                    <a:pt x="73583" y="301023"/>
                  </a:lnTo>
                  <a:lnTo>
                    <a:pt x="75594" y="302963"/>
                  </a:lnTo>
                  <a:lnTo>
                    <a:pt x="80575" y="305934"/>
                  </a:lnTo>
                  <a:lnTo>
                    <a:pt x="83594" y="305618"/>
                  </a:lnTo>
                  <a:lnTo>
                    <a:pt x="86857" y="304882"/>
                  </a:lnTo>
                  <a:lnTo>
                    <a:pt x="89045" y="305076"/>
                  </a:lnTo>
                  <a:lnTo>
                    <a:pt x="91191" y="305837"/>
                  </a:lnTo>
                  <a:lnTo>
                    <a:pt x="93763" y="308310"/>
                  </a:lnTo>
                  <a:lnTo>
                    <a:pt x="97853" y="314514"/>
                  </a:lnTo>
                  <a:lnTo>
                    <a:pt x="104528" y="319672"/>
                  </a:lnTo>
                  <a:lnTo>
                    <a:pt x="103804" y="320950"/>
                  </a:lnTo>
                  <a:lnTo>
                    <a:pt x="103512" y="322903"/>
                  </a:lnTo>
                  <a:lnTo>
                    <a:pt x="100880" y="325506"/>
                  </a:lnTo>
                  <a:lnTo>
                    <a:pt x="100461" y="327015"/>
                  </a:lnTo>
                  <a:lnTo>
                    <a:pt x="99498" y="328924"/>
                  </a:lnTo>
                  <a:lnTo>
                    <a:pt x="97665" y="329944"/>
                  </a:lnTo>
                  <a:lnTo>
                    <a:pt x="96091" y="330138"/>
                  </a:lnTo>
                  <a:lnTo>
                    <a:pt x="95182" y="329956"/>
                  </a:lnTo>
                  <a:lnTo>
                    <a:pt x="94553" y="329574"/>
                  </a:lnTo>
                  <a:lnTo>
                    <a:pt x="93478" y="327774"/>
                  </a:lnTo>
                  <a:lnTo>
                    <a:pt x="92934" y="327222"/>
                  </a:lnTo>
                  <a:lnTo>
                    <a:pt x="92476" y="327095"/>
                  </a:lnTo>
                  <a:lnTo>
                    <a:pt x="89118" y="328339"/>
                  </a:lnTo>
                  <a:lnTo>
                    <a:pt x="85864" y="329722"/>
                  </a:lnTo>
                  <a:lnTo>
                    <a:pt x="85261" y="330957"/>
                  </a:lnTo>
                  <a:lnTo>
                    <a:pt x="84395" y="332397"/>
                  </a:lnTo>
                  <a:lnTo>
                    <a:pt x="83445" y="332967"/>
                  </a:lnTo>
                  <a:lnTo>
                    <a:pt x="82700" y="333107"/>
                  </a:lnTo>
                  <a:lnTo>
                    <a:pt x="81988" y="332261"/>
                  </a:lnTo>
                  <a:lnTo>
                    <a:pt x="80737" y="331160"/>
                  </a:lnTo>
                  <a:lnTo>
                    <a:pt x="79774" y="330128"/>
                  </a:lnTo>
                  <a:lnTo>
                    <a:pt x="80020" y="328461"/>
                  </a:lnTo>
                  <a:lnTo>
                    <a:pt x="81851" y="326014"/>
                  </a:lnTo>
                  <a:lnTo>
                    <a:pt x="82093" y="324301"/>
                  </a:lnTo>
                  <a:lnTo>
                    <a:pt x="81860" y="321363"/>
                  </a:lnTo>
                  <a:lnTo>
                    <a:pt x="81363" y="319664"/>
                  </a:lnTo>
                  <a:lnTo>
                    <a:pt x="80831" y="319604"/>
                  </a:lnTo>
                  <a:lnTo>
                    <a:pt x="79932" y="319330"/>
                  </a:lnTo>
                  <a:lnTo>
                    <a:pt x="77392" y="319602"/>
                  </a:lnTo>
                  <a:lnTo>
                    <a:pt x="76123" y="317688"/>
                  </a:lnTo>
                  <a:lnTo>
                    <a:pt x="75619" y="315589"/>
                  </a:lnTo>
                  <a:lnTo>
                    <a:pt x="74752" y="314837"/>
                  </a:lnTo>
                  <a:lnTo>
                    <a:pt x="73892" y="314379"/>
                  </a:lnTo>
                  <a:lnTo>
                    <a:pt x="71988" y="315105"/>
                  </a:lnTo>
                  <a:lnTo>
                    <a:pt x="70537" y="314671"/>
                  </a:lnTo>
                  <a:lnTo>
                    <a:pt x="65706" y="312842"/>
                  </a:lnTo>
                  <a:lnTo>
                    <a:pt x="63849" y="309893"/>
                  </a:lnTo>
                  <a:lnTo>
                    <a:pt x="62857" y="309806"/>
                  </a:lnTo>
                  <a:lnTo>
                    <a:pt x="61977" y="310134"/>
                  </a:lnTo>
                  <a:lnTo>
                    <a:pt x="61633" y="310806"/>
                  </a:lnTo>
                  <a:lnTo>
                    <a:pt x="61119" y="314201"/>
                  </a:lnTo>
                  <a:lnTo>
                    <a:pt x="60702" y="315238"/>
                  </a:lnTo>
                  <a:lnTo>
                    <a:pt x="55164" y="308400"/>
                  </a:lnTo>
                  <a:lnTo>
                    <a:pt x="51346" y="305585"/>
                  </a:lnTo>
                  <a:lnTo>
                    <a:pt x="51883" y="300485"/>
                  </a:lnTo>
                  <a:lnTo>
                    <a:pt x="50722" y="299492"/>
                  </a:lnTo>
                  <a:lnTo>
                    <a:pt x="49277" y="299393"/>
                  </a:lnTo>
                  <a:lnTo>
                    <a:pt x="48184" y="297982"/>
                  </a:lnTo>
                  <a:lnTo>
                    <a:pt x="49156" y="294941"/>
                  </a:lnTo>
                  <a:lnTo>
                    <a:pt x="47656" y="295522"/>
                  </a:lnTo>
                  <a:lnTo>
                    <a:pt x="45578" y="295414"/>
                  </a:lnTo>
                  <a:lnTo>
                    <a:pt x="43885" y="294573"/>
                  </a:lnTo>
                  <a:lnTo>
                    <a:pt x="42598" y="290368"/>
                  </a:lnTo>
                  <a:lnTo>
                    <a:pt x="41786" y="289084"/>
                  </a:lnTo>
                  <a:lnTo>
                    <a:pt x="40011" y="286882"/>
                  </a:lnTo>
                  <a:lnTo>
                    <a:pt x="37673" y="286882"/>
                  </a:lnTo>
                  <a:lnTo>
                    <a:pt x="36900" y="285825"/>
                  </a:lnTo>
                  <a:lnTo>
                    <a:pt x="37085" y="283106"/>
                  </a:lnTo>
                  <a:lnTo>
                    <a:pt x="35379" y="281438"/>
                  </a:lnTo>
                  <a:lnTo>
                    <a:pt x="33136" y="280078"/>
                  </a:lnTo>
                  <a:lnTo>
                    <a:pt x="31283" y="279279"/>
                  </a:lnTo>
                  <a:lnTo>
                    <a:pt x="29400" y="274897"/>
                  </a:lnTo>
                  <a:lnTo>
                    <a:pt x="27914" y="273821"/>
                  </a:lnTo>
                  <a:lnTo>
                    <a:pt x="26651" y="272947"/>
                  </a:lnTo>
                  <a:lnTo>
                    <a:pt x="24896" y="273537"/>
                  </a:lnTo>
                  <a:lnTo>
                    <a:pt x="24325" y="275115"/>
                  </a:lnTo>
                  <a:lnTo>
                    <a:pt x="23153" y="276644"/>
                  </a:lnTo>
                  <a:lnTo>
                    <a:pt x="21821" y="276450"/>
                  </a:lnTo>
                  <a:lnTo>
                    <a:pt x="20599" y="275576"/>
                  </a:lnTo>
                  <a:lnTo>
                    <a:pt x="19110" y="271193"/>
                  </a:lnTo>
                  <a:lnTo>
                    <a:pt x="18862" y="268508"/>
                  </a:lnTo>
                  <a:lnTo>
                    <a:pt x="19191" y="263514"/>
                  </a:lnTo>
                  <a:lnTo>
                    <a:pt x="21052" y="259034"/>
                  </a:lnTo>
                  <a:lnTo>
                    <a:pt x="22056" y="251865"/>
                  </a:lnTo>
                  <a:lnTo>
                    <a:pt x="23643" y="247353"/>
                  </a:lnTo>
                  <a:lnTo>
                    <a:pt x="24744" y="245822"/>
                  </a:lnTo>
                  <a:lnTo>
                    <a:pt x="26269" y="239661"/>
                  </a:lnTo>
                  <a:lnTo>
                    <a:pt x="29379" y="231781"/>
                  </a:lnTo>
                  <a:lnTo>
                    <a:pt x="29731" y="230092"/>
                  </a:lnTo>
                  <a:lnTo>
                    <a:pt x="30358" y="228197"/>
                  </a:lnTo>
                  <a:lnTo>
                    <a:pt x="30834" y="226408"/>
                  </a:lnTo>
                  <a:lnTo>
                    <a:pt x="30989" y="223588"/>
                  </a:lnTo>
                  <a:lnTo>
                    <a:pt x="30588" y="222100"/>
                  </a:lnTo>
                  <a:lnTo>
                    <a:pt x="30588" y="221265"/>
                  </a:lnTo>
                  <a:lnTo>
                    <a:pt x="31244" y="220203"/>
                  </a:lnTo>
                  <a:lnTo>
                    <a:pt x="33460" y="218416"/>
                  </a:lnTo>
                  <a:lnTo>
                    <a:pt x="36518" y="215472"/>
                  </a:lnTo>
                  <a:lnTo>
                    <a:pt x="40160" y="211325"/>
                  </a:lnTo>
                  <a:lnTo>
                    <a:pt x="43889" y="204963"/>
                  </a:lnTo>
                  <a:lnTo>
                    <a:pt x="45744" y="201269"/>
                  </a:lnTo>
                  <a:lnTo>
                    <a:pt x="46524" y="199967"/>
                  </a:lnTo>
                  <a:lnTo>
                    <a:pt x="47349" y="199560"/>
                  </a:lnTo>
                  <a:lnTo>
                    <a:pt x="48623" y="198294"/>
                  </a:lnTo>
                  <a:lnTo>
                    <a:pt x="49500" y="196893"/>
                  </a:lnTo>
                  <a:lnTo>
                    <a:pt x="49549" y="196186"/>
                  </a:lnTo>
                  <a:lnTo>
                    <a:pt x="47519" y="189270"/>
                  </a:lnTo>
                  <a:lnTo>
                    <a:pt x="46192" y="187014"/>
                  </a:lnTo>
                  <a:lnTo>
                    <a:pt x="45518" y="184347"/>
                  </a:lnTo>
                  <a:lnTo>
                    <a:pt x="45161" y="182422"/>
                  </a:lnTo>
                  <a:lnTo>
                    <a:pt x="44674" y="180653"/>
                  </a:lnTo>
                  <a:lnTo>
                    <a:pt x="44913" y="178985"/>
                  </a:lnTo>
                  <a:lnTo>
                    <a:pt x="44181" y="177945"/>
                  </a:lnTo>
                  <a:lnTo>
                    <a:pt x="42531" y="176627"/>
                  </a:lnTo>
                  <a:lnTo>
                    <a:pt x="40817" y="174676"/>
                  </a:lnTo>
                  <a:lnTo>
                    <a:pt x="39793" y="171481"/>
                  </a:lnTo>
                  <a:lnTo>
                    <a:pt x="39793" y="169696"/>
                  </a:lnTo>
                  <a:lnTo>
                    <a:pt x="38696" y="168136"/>
                  </a:lnTo>
                  <a:lnTo>
                    <a:pt x="38332" y="166500"/>
                  </a:lnTo>
                  <a:lnTo>
                    <a:pt x="38987" y="164937"/>
                  </a:lnTo>
                  <a:lnTo>
                    <a:pt x="39852" y="163586"/>
                  </a:lnTo>
                  <a:lnTo>
                    <a:pt x="39752" y="157648"/>
                  </a:lnTo>
                  <a:lnTo>
                    <a:pt x="39407" y="155873"/>
                  </a:lnTo>
                  <a:lnTo>
                    <a:pt x="38981" y="152700"/>
                  </a:lnTo>
                  <a:lnTo>
                    <a:pt x="37863" y="150310"/>
                  </a:lnTo>
                  <a:lnTo>
                    <a:pt x="36280" y="147507"/>
                  </a:lnTo>
                  <a:lnTo>
                    <a:pt x="34488" y="145192"/>
                  </a:lnTo>
                  <a:lnTo>
                    <a:pt x="29791" y="141000"/>
                  </a:lnTo>
                  <a:lnTo>
                    <a:pt x="26449" y="138199"/>
                  </a:lnTo>
                  <a:lnTo>
                    <a:pt x="24790" y="135649"/>
                  </a:lnTo>
                  <a:lnTo>
                    <a:pt x="22693" y="132713"/>
                  </a:lnTo>
                  <a:lnTo>
                    <a:pt x="21188" y="130601"/>
                  </a:lnTo>
                  <a:lnTo>
                    <a:pt x="19283" y="127930"/>
                  </a:lnTo>
                  <a:lnTo>
                    <a:pt x="18314" y="124287"/>
                  </a:lnTo>
                  <a:lnTo>
                    <a:pt x="17779" y="120410"/>
                  </a:lnTo>
                  <a:lnTo>
                    <a:pt x="18068" y="119127"/>
                  </a:lnTo>
                  <a:lnTo>
                    <a:pt x="18978" y="118285"/>
                  </a:lnTo>
                  <a:lnTo>
                    <a:pt x="20171" y="117601"/>
                  </a:lnTo>
                  <a:lnTo>
                    <a:pt x="21127" y="117443"/>
                  </a:lnTo>
                  <a:lnTo>
                    <a:pt x="23842" y="115660"/>
                  </a:lnTo>
                  <a:lnTo>
                    <a:pt x="25725" y="115811"/>
                  </a:lnTo>
                  <a:lnTo>
                    <a:pt x="26159" y="115426"/>
                  </a:lnTo>
                  <a:lnTo>
                    <a:pt x="26342" y="114614"/>
                  </a:lnTo>
                  <a:lnTo>
                    <a:pt x="26104" y="111078"/>
                  </a:lnTo>
                  <a:lnTo>
                    <a:pt x="26187" y="106348"/>
                  </a:lnTo>
                  <a:lnTo>
                    <a:pt x="26537" y="102494"/>
                  </a:lnTo>
                  <a:lnTo>
                    <a:pt x="26943" y="99953"/>
                  </a:lnTo>
                  <a:lnTo>
                    <a:pt x="31931" y="97001"/>
                  </a:lnTo>
                  <a:lnTo>
                    <a:pt x="32982" y="95725"/>
                  </a:lnTo>
                  <a:lnTo>
                    <a:pt x="33490" y="94340"/>
                  </a:lnTo>
                  <a:lnTo>
                    <a:pt x="33485" y="93118"/>
                  </a:lnTo>
                  <a:lnTo>
                    <a:pt x="33067" y="92158"/>
                  </a:lnTo>
                  <a:lnTo>
                    <a:pt x="32317" y="91627"/>
                  </a:lnTo>
                  <a:lnTo>
                    <a:pt x="29085" y="94174"/>
                  </a:lnTo>
                  <a:lnTo>
                    <a:pt x="28455" y="93606"/>
                  </a:lnTo>
                  <a:lnTo>
                    <a:pt x="26971" y="89420"/>
                  </a:lnTo>
                  <a:lnTo>
                    <a:pt x="26332" y="88144"/>
                  </a:lnTo>
                  <a:lnTo>
                    <a:pt x="25411" y="86616"/>
                  </a:lnTo>
                  <a:lnTo>
                    <a:pt x="24416" y="84479"/>
                  </a:lnTo>
                  <a:lnTo>
                    <a:pt x="24263" y="80778"/>
                  </a:lnTo>
                  <a:lnTo>
                    <a:pt x="23548" y="78943"/>
                  </a:lnTo>
                  <a:lnTo>
                    <a:pt x="19516" y="75030"/>
                  </a:lnTo>
                  <a:lnTo>
                    <a:pt x="17705" y="72930"/>
                  </a:lnTo>
                  <a:lnTo>
                    <a:pt x="15239" y="69892"/>
                  </a:lnTo>
                  <a:lnTo>
                    <a:pt x="12280" y="66246"/>
                  </a:lnTo>
                  <a:lnTo>
                    <a:pt x="9266" y="62873"/>
                  </a:lnTo>
                  <a:lnTo>
                    <a:pt x="7854" y="60716"/>
                  </a:lnTo>
                  <a:lnTo>
                    <a:pt x="7353" y="60231"/>
                  </a:lnTo>
                  <a:lnTo>
                    <a:pt x="7178" y="59400"/>
                  </a:lnTo>
                  <a:lnTo>
                    <a:pt x="8094" y="57078"/>
                  </a:lnTo>
                  <a:lnTo>
                    <a:pt x="7647" y="54747"/>
                  </a:lnTo>
                  <a:lnTo>
                    <a:pt x="6139" y="51633"/>
                  </a:lnTo>
                  <a:lnTo>
                    <a:pt x="5496" y="49708"/>
                  </a:lnTo>
                  <a:lnTo>
                    <a:pt x="5712" y="48969"/>
                  </a:lnTo>
                  <a:lnTo>
                    <a:pt x="4984" y="48680"/>
                  </a:lnTo>
                  <a:lnTo>
                    <a:pt x="3314" y="48842"/>
                  </a:lnTo>
                  <a:lnTo>
                    <a:pt x="1700" y="47385"/>
                  </a:lnTo>
                  <a:lnTo>
                    <a:pt x="149" y="44306"/>
                  </a:lnTo>
                  <a:lnTo>
                    <a:pt x="0" y="43765"/>
                  </a:lnTo>
                  <a:lnTo>
                    <a:pt x="512" y="43775"/>
                  </a:lnTo>
                  <a:lnTo>
                    <a:pt x="2455" y="44308"/>
                  </a:lnTo>
                  <a:lnTo>
                    <a:pt x="3123" y="44227"/>
                  </a:lnTo>
                  <a:lnTo>
                    <a:pt x="4498" y="43519"/>
                  </a:lnTo>
                  <a:lnTo>
                    <a:pt x="6582" y="42775"/>
                  </a:lnTo>
                  <a:lnTo>
                    <a:pt x="7823" y="42528"/>
                  </a:lnTo>
                  <a:lnTo>
                    <a:pt x="8225" y="42158"/>
                  </a:lnTo>
                  <a:lnTo>
                    <a:pt x="8404" y="41412"/>
                  </a:lnTo>
                  <a:lnTo>
                    <a:pt x="7344" y="34292"/>
                  </a:lnTo>
                  <a:lnTo>
                    <a:pt x="7523" y="32810"/>
                  </a:lnTo>
                  <a:lnTo>
                    <a:pt x="9508" y="29739"/>
                  </a:lnTo>
                  <a:lnTo>
                    <a:pt x="9279" y="26635"/>
                  </a:lnTo>
                  <a:lnTo>
                    <a:pt x="9793" y="22181"/>
                  </a:lnTo>
                  <a:lnTo>
                    <a:pt x="11995" y="19129"/>
                  </a:lnTo>
                  <a:lnTo>
                    <a:pt x="13649" y="17732"/>
                  </a:lnTo>
                  <a:lnTo>
                    <a:pt x="14176" y="15531"/>
                  </a:lnTo>
                  <a:lnTo>
                    <a:pt x="14928" y="15066"/>
                  </a:lnTo>
                  <a:lnTo>
                    <a:pt x="16299" y="15240"/>
                  </a:lnTo>
                  <a:lnTo>
                    <a:pt x="19130" y="16882"/>
                  </a:lnTo>
                  <a:lnTo>
                    <a:pt x="20337" y="16961"/>
                  </a:lnTo>
                  <a:lnTo>
                    <a:pt x="22054" y="16917"/>
                  </a:lnTo>
                  <a:lnTo>
                    <a:pt x="23905" y="16796"/>
                  </a:lnTo>
                  <a:lnTo>
                    <a:pt x="24764" y="16638"/>
                  </a:lnTo>
                  <a:lnTo>
                    <a:pt x="30663" y="15035"/>
                  </a:lnTo>
                  <a:lnTo>
                    <a:pt x="31965" y="14865"/>
                  </a:lnTo>
                  <a:lnTo>
                    <a:pt x="33209" y="15069"/>
                  </a:lnTo>
                  <a:lnTo>
                    <a:pt x="34114" y="14993"/>
                  </a:lnTo>
                  <a:lnTo>
                    <a:pt x="35027" y="14257"/>
                  </a:lnTo>
                  <a:lnTo>
                    <a:pt x="35677" y="12959"/>
                  </a:lnTo>
                  <a:lnTo>
                    <a:pt x="36414" y="8810"/>
                  </a:lnTo>
                  <a:lnTo>
                    <a:pt x="36835" y="8078"/>
                  </a:lnTo>
                  <a:lnTo>
                    <a:pt x="37597" y="7485"/>
                  </a:lnTo>
                  <a:lnTo>
                    <a:pt x="38847" y="7089"/>
                  </a:lnTo>
                  <a:lnTo>
                    <a:pt x="40310" y="7123"/>
                  </a:lnTo>
                  <a:lnTo>
                    <a:pt x="42229" y="7921"/>
                  </a:lnTo>
                  <a:lnTo>
                    <a:pt x="43427" y="7956"/>
                  </a:lnTo>
                  <a:lnTo>
                    <a:pt x="44783" y="7621"/>
                  </a:lnTo>
                  <a:lnTo>
                    <a:pt x="45941" y="7049"/>
                  </a:lnTo>
                  <a:lnTo>
                    <a:pt x="46701" y="6323"/>
                  </a:lnTo>
                  <a:lnTo>
                    <a:pt x="47049" y="5451"/>
                  </a:lnTo>
                  <a:lnTo>
                    <a:pt x="46736" y="3773"/>
                  </a:lnTo>
                  <a:lnTo>
                    <a:pt x="45861" y="1668"/>
                  </a:lnTo>
                  <a:lnTo>
                    <a:pt x="46103" y="1414"/>
                  </a:lnTo>
                  <a:lnTo>
                    <a:pt x="47712" y="1880"/>
                  </a:lnTo>
                  <a:lnTo>
                    <a:pt x="50078" y="2395"/>
                  </a:lnTo>
                  <a:lnTo>
                    <a:pt x="51879" y="2281"/>
                  </a:lnTo>
                  <a:lnTo>
                    <a:pt x="53056" y="1915"/>
                  </a:lnTo>
                  <a:lnTo>
                    <a:pt x="54203" y="921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02" name="ee4p_TJ_1_37365">
              <a:extLst>
                <a:ext uri="{FF2B5EF4-FFF2-40B4-BE49-F238E27FC236}">
                  <a16:creationId xmlns:a16="http://schemas.microsoft.com/office/drawing/2014/main" id="{D5190B5C-5F66-41B7-F55B-5B4408ED87DF}"/>
                </a:ext>
              </a:extLst>
            </p:cNvPr>
            <p:cNvSpPr>
              <a:spLocks noChangeAspect="1"/>
            </p:cNvSpPr>
            <p:nvPr>
              <p:custDataLst>
                <p:tags r:id="rId256"/>
              </p:custDataLst>
            </p:nvPr>
          </p:nvSpPr>
          <p:spPr>
            <a:xfrm>
              <a:off x="8384955" y="3435377"/>
              <a:ext cx="215744" cy="144969"/>
            </a:xfrm>
            <a:custGeom>
              <a:avLst/>
              <a:gdLst>
                <a:gd name="connsiteX0" fmla="*/ 69282 w 171792"/>
                <a:gd name="connsiteY0" fmla="*/ 30169 h 112376"/>
                <a:gd name="connsiteX1" fmla="*/ 69612 w 171792"/>
                <a:gd name="connsiteY1" fmla="*/ 30177 h 112376"/>
                <a:gd name="connsiteX2" fmla="*/ 71145 w 171792"/>
                <a:gd name="connsiteY2" fmla="*/ 30589 h 112376"/>
                <a:gd name="connsiteX3" fmla="*/ 73292 w 171792"/>
                <a:gd name="connsiteY3" fmla="*/ 30879 h 112376"/>
                <a:gd name="connsiteX4" fmla="*/ 74045 w 171792"/>
                <a:gd name="connsiteY4" fmla="*/ 31129 h 112376"/>
                <a:gd name="connsiteX5" fmla="*/ 74121 w 171792"/>
                <a:gd name="connsiteY5" fmla="*/ 31665 h 112376"/>
                <a:gd name="connsiteX6" fmla="*/ 72141 w 171792"/>
                <a:gd name="connsiteY6" fmla="*/ 32668 h 112376"/>
                <a:gd name="connsiteX7" fmla="*/ 70979 w 171792"/>
                <a:gd name="connsiteY7" fmla="*/ 32560 h 112376"/>
                <a:gd name="connsiteX8" fmla="*/ 70074 w 171792"/>
                <a:gd name="connsiteY8" fmla="*/ 31590 h 112376"/>
                <a:gd name="connsiteX9" fmla="*/ 69424 w 171792"/>
                <a:gd name="connsiteY9" fmla="*/ 30682 h 112376"/>
                <a:gd name="connsiteX10" fmla="*/ 71256 w 171792"/>
                <a:gd name="connsiteY10" fmla="*/ 271 h 112376"/>
                <a:gd name="connsiteX11" fmla="*/ 72279 w 171792"/>
                <a:gd name="connsiteY11" fmla="*/ 880 h 112376"/>
                <a:gd name="connsiteX12" fmla="*/ 72961 w 171792"/>
                <a:gd name="connsiteY12" fmla="*/ 1954 h 112376"/>
                <a:gd name="connsiteX13" fmla="*/ 73035 w 171792"/>
                <a:gd name="connsiteY13" fmla="*/ 2590 h 112376"/>
                <a:gd name="connsiteX14" fmla="*/ 72376 w 171792"/>
                <a:gd name="connsiteY14" fmla="*/ 2648 h 112376"/>
                <a:gd name="connsiteX15" fmla="*/ 71182 w 171792"/>
                <a:gd name="connsiteY15" fmla="*/ 1401 h 112376"/>
                <a:gd name="connsiteX16" fmla="*/ 70767 w 171792"/>
                <a:gd name="connsiteY16" fmla="*/ 532 h 112376"/>
                <a:gd name="connsiteX17" fmla="*/ 67494 w 171792"/>
                <a:gd name="connsiteY17" fmla="*/ 0 h 112376"/>
                <a:gd name="connsiteX18" fmla="*/ 68368 w 171792"/>
                <a:gd name="connsiteY18" fmla="*/ 307 h 112376"/>
                <a:gd name="connsiteX19" fmla="*/ 71392 w 171792"/>
                <a:gd name="connsiteY19" fmla="*/ 3251 h 112376"/>
                <a:gd name="connsiteX20" fmla="*/ 73141 w 171792"/>
                <a:gd name="connsiteY20" fmla="*/ 5139 h 112376"/>
                <a:gd name="connsiteX21" fmla="*/ 73141 w 171792"/>
                <a:gd name="connsiteY21" fmla="*/ 5784 h 112376"/>
                <a:gd name="connsiteX22" fmla="*/ 72642 w 171792"/>
                <a:gd name="connsiteY22" fmla="*/ 6270 h 112376"/>
                <a:gd name="connsiteX23" fmla="*/ 72739 w 171792"/>
                <a:gd name="connsiteY23" fmla="*/ 6743 h 112376"/>
                <a:gd name="connsiteX24" fmla="*/ 75212 w 171792"/>
                <a:gd name="connsiteY24" fmla="*/ 7766 h 112376"/>
                <a:gd name="connsiteX25" fmla="*/ 75213 w 171792"/>
                <a:gd name="connsiteY25" fmla="*/ 8233 h 112376"/>
                <a:gd name="connsiteX26" fmla="*/ 74650 w 171792"/>
                <a:gd name="connsiteY26" fmla="*/ 9125 h 112376"/>
                <a:gd name="connsiteX27" fmla="*/ 74350 w 171792"/>
                <a:gd name="connsiteY27" fmla="*/ 9616 h 112376"/>
                <a:gd name="connsiteX28" fmla="*/ 74048 w 171792"/>
                <a:gd name="connsiteY28" fmla="*/ 9823 h 112376"/>
                <a:gd name="connsiteX29" fmla="*/ 70741 w 171792"/>
                <a:gd name="connsiteY29" fmla="*/ 12402 h 112376"/>
                <a:gd name="connsiteX30" fmla="*/ 67066 w 171792"/>
                <a:gd name="connsiteY30" fmla="*/ 15264 h 112376"/>
                <a:gd name="connsiteX31" fmla="*/ 66945 w 171792"/>
                <a:gd name="connsiteY31" fmla="*/ 15637 h 112376"/>
                <a:gd name="connsiteX32" fmla="*/ 66781 w 171792"/>
                <a:gd name="connsiteY32" fmla="*/ 16350 h 112376"/>
                <a:gd name="connsiteX33" fmla="*/ 66822 w 171792"/>
                <a:gd name="connsiteY33" fmla="*/ 17080 h 112376"/>
                <a:gd name="connsiteX34" fmla="*/ 67412 w 171792"/>
                <a:gd name="connsiteY34" fmla="*/ 17675 h 112376"/>
                <a:gd name="connsiteX35" fmla="*/ 68997 w 171792"/>
                <a:gd name="connsiteY35" fmla="*/ 18094 h 112376"/>
                <a:gd name="connsiteX36" fmla="*/ 70404 w 171792"/>
                <a:gd name="connsiteY36" fmla="*/ 18639 h 112376"/>
                <a:gd name="connsiteX37" fmla="*/ 71117 w 171792"/>
                <a:gd name="connsiteY37" fmla="*/ 20139 h 112376"/>
                <a:gd name="connsiteX38" fmla="*/ 71933 w 171792"/>
                <a:gd name="connsiteY38" fmla="*/ 21523 h 112376"/>
                <a:gd name="connsiteX39" fmla="*/ 73048 w 171792"/>
                <a:gd name="connsiteY39" fmla="*/ 21863 h 112376"/>
                <a:gd name="connsiteX40" fmla="*/ 78493 w 171792"/>
                <a:gd name="connsiteY40" fmla="*/ 20990 h 112376"/>
                <a:gd name="connsiteX41" fmla="*/ 79789 w 171792"/>
                <a:gd name="connsiteY41" fmla="*/ 20878 h 112376"/>
                <a:gd name="connsiteX42" fmla="*/ 79854 w 171792"/>
                <a:gd name="connsiteY42" fmla="*/ 21354 h 112376"/>
                <a:gd name="connsiteX43" fmla="*/ 79533 w 171792"/>
                <a:gd name="connsiteY43" fmla="*/ 22217 h 112376"/>
                <a:gd name="connsiteX44" fmla="*/ 74937 w 171792"/>
                <a:gd name="connsiteY44" fmla="*/ 23691 h 112376"/>
                <a:gd name="connsiteX45" fmla="*/ 72853 w 171792"/>
                <a:gd name="connsiteY45" fmla="*/ 24936 h 112376"/>
                <a:gd name="connsiteX46" fmla="*/ 72406 w 171792"/>
                <a:gd name="connsiteY46" fmla="*/ 27140 h 112376"/>
                <a:gd name="connsiteX47" fmla="*/ 71856 w 171792"/>
                <a:gd name="connsiteY47" fmla="*/ 27777 h 112376"/>
                <a:gd name="connsiteX48" fmla="*/ 70919 w 171792"/>
                <a:gd name="connsiteY48" fmla="*/ 28299 h 112376"/>
                <a:gd name="connsiteX49" fmla="*/ 69997 w 171792"/>
                <a:gd name="connsiteY49" fmla="*/ 28419 h 112376"/>
                <a:gd name="connsiteX50" fmla="*/ 68586 w 171792"/>
                <a:gd name="connsiteY50" fmla="*/ 25829 h 112376"/>
                <a:gd name="connsiteX51" fmla="*/ 66984 w 171792"/>
                <a:gd name="connsiteY51" fmla="*/ 25290 h 112376"/>
                <a:gd name="connsiteX52" fmla="*/ 64674 w 171792"/>
                <a:gd name="connsiteY52" fmla="*/ 24378 h 112376"/>
                <a:gd name="connsiteX53" fmla="*/ 60186 w 171792"/>
                <a:gd name="connsiteY53" fmla="*/ 22605 h 112376"/>
                <a:gd name="connsiteX54" fmla="*/ 57872 w 171792"/>
                <a:gd name="connsiteY54" fmla="*/ 21835 h 112376"/>
                <a:gd name="connsiteX55" fmla="*/ 53415 w 171792"/>
                <a:gd name="connsiteY55" fmla="*/ 22990 h 112376"/>
                <a:gd name="connsiteX56" fmla="*/ 48219 w 171792"/>
                <a:gd name="connsiteY56" fmla="*/ 24574 h 112376"/>
                <a:gd name="connsiteX57" fmla="*/ 47409 w 171792"/>
                <a:gd name="connsiteY57" fmla="*/ 25539 h 112376"/>
                <a:gd name="connsiteX58" fmla="*/ 46859 w 171792"/>
                <a:gd name="connsiteY58" fmla="*/ 26572 h 112376"/>
                <a:gd name="connsiteX59" fmla="*/ 46908 w 171792"/>
                <a:gd name="connsiteY59" fmla="*/ 27357 h 112376"/>
                <a:gd name="connsiteX60" fmla="*/ 47282 w 171792"/>
                <a:gd name="connsiteY60" fmla="*/ 28405 h 112376"/>
                <a:gd name="connsiteX61" fmla="*/ 47025 w 171792"/>
                <a:gd name="connsiteY61" fmla="*/ 29205 h 112376"/>
                <a:gd name="connsiteX62" fmla="*/ 46045 w 171792"/>
                <a:gd name="connsiteY62" fmla="*/ 29465 h 112376"/>
                <a:gd name="connsiteX63" fmla="*/ 44574 w 171792"/>
                <a:gd name="connsiteY63" fmla="*/ 28493 h 112376"/>
                <a:gd name="connsiteX64" fmla="*/ 43287 w 171792"/>
                <a:gd name="connsiteY64" fmla="*/ 27933 h 112376"/>
                <a:gd name="connsiteX65" fmla="*/ 42658 w 171792"/>
                <a:gd name="connsiteY65" fmla="*/ 29256 h 112376"/>
                <a:gd name="connsiteX66" fmla="*/ 41905 w 171792"/>
                <a:gd name="connsiteY66" fmla="*/ 31618 h 112376"/>
                <a:gd name="connsiteX67" fmla="*/ 41560 w 171792"/>
                <a:gd name="connsiteY67" fmla="*/ 33336 h 112376"/>
                <a:gd name="connsiteX68" fmla="*/ 42691 w 171792"/>
                <a:gd name="connsiteY68" fmla="*/ 35812 h 112376"/>
                <a:gd name="connsiteX69" fmla="*/ 43076 w 171792"/>
                <a:gd name="connsiteY69" fmla="*/ 39478 h 112376"/>
                <a:gd name="connsiteX70" fmla="*/ 45151 w 171792"/>
                <a:gd name="connsiteY70" fmla="*/ 39279 h 112376"/>
                <a:gd name="connsiteX71" fmla="*/ 46738 w 171792"/>
                <a:gd name="connsiteY71" fmla="*/ 39289 h 112376"/>
                <a:gd name="connsiteX72" fmla="*/ 49735 w 171792"/>
                <a:gd name="connsiteY72" fmla="*/ 38206 h 112376"/>
                <a:gd name="connsiteX73" fmla="*/ 51242 w 171792"/>
                <a:gd name="connsiteY73" fmla="*/ 38177 h 112376"/>
                <a:gd name="connsiteX74" fmla="*/ 53566 w 171792"/>
                <a:gd name="connsiteY74" fmla="*/ 38648 h 112376"/>
                <a:gd name="connsiteX75" fmla="*/ 57632 w 171792"/>
                <a:gd name="connsiteY75" fmla="*/ 38743 h 112376"/>
                <a:gd name="connsiteX76" fmla="*/ 60853 w 171792"/>
                <a:gd name="connsiteY76" fmla="*/ 38548 h 112376"/>
                <a:gd name="connsiteX77" fmla="*/ 61631 w 171792"/>
                <a:gd name="connsiteY77" fmla="*/ 38627 h 112376"/>
                <a:gd name="connsiteX78" fmla="*/ 62389 w 171792"/>
                <a:gd name="connsiteY78" fmla="*/ 37936 h 112376"/>
                <a:gd name="connsiteX79" fmla="*/ 63233 w 171792"/>
                <a:gd name="connsiteY79" fmla="*/ 38174 h 112376"/>
                <a:gd name="connsiteX80" fmla="*/ 64020 w 171792"/>
                <a:gd name="connsiteY80" fmla="*/ 39015 h 112376"/>
                <a:gd name="connsiteX81" fmla="*/ 67276 w 171792"/>
                <a:gd name="connsiteY81" fmla="*/ 37995 h 112376"/>
                <a:gd name="connsiteX82" fmla="*/ 69688 w 171792"/>
                <a:gd name="connsiteY82" fmla="*/ 37853 h 112376"/>
                <a:gd name="connsiteX83" fmla="*/ 71165 w 171792"/>
                <a:gd name="connsiteY83" fmla="*/ 38151 h 112376"/>
                <a:gd name="connsiteX84" fmla="*/ 72046 w 171792"/>
                <a:gd name="connsiteY84" fmla="*/ 38449 h 112376"/>
                <a:gd name="connsiteX85" fmla="*/ 73611 w 171792"/>
                <a:gd name="connsiteY85" fmla="*/ 40867 h 112376"/>
                <a:gd name="connsiteX86" fmla="*/ 74816 w 171792"/>
                <a:gd name="connsiteY86" fmla="*/ 42372 h 112376"/>
                <a:gd name="connsiteX87" fmla="*/ 76280 w 171792"/>
                <a:gd name="connsiteY87" fmla="*/ 42854 h 112376"/>
                <a:gd name="connsiteX88" fmla="*/ 80826 w 171792"/>
                <a:gd name="connsiteY88" fmla="*/ 42409 h 112376"/>
                <a:gd name="connsiteX89" fmla="*/ 82156 w 171792"/>
                <a:gd name="connsiteY89" fmla="*/ 40293 h 112376"/>
                <a:gd name="connsiteX90" fmla="*/ 83328 w 171792"/>
                <a:gd name="connsiteY90" fmla="*/ 39769 h 112376"/>
                <a:gd name="connsiteX91" fmla="*/ 85201 w 171792"/>
                <a:gd name="connsiteY91" fmla="*/ 39607 h 112376"/>
                <a:gd name="connsiteX92" fmla="*/ 86751 w 171792"/>
                <a:gd name="connsiteY92" fmla="*/ 39205 h 112376"/>
                <a:gd name="connsiteX93" fmla="*/ 87982 w 171792"/>
                <a:gd name="connsiteY93" fmla="*/ 38338 h 112376"/>
                <a:gd name="connsiteX94" fmla="*/ 89658 w 171792"/>
                <a:gd name="connsiteY94" fmla="*/ 37580 h 112376"/>
                <a:gd name="connsiteX95" fmla="*/ 91118 w 171792"/>
                <a:gd name="connsiteY95" fmla="*/ 37429 h 112376"/>
                <a:gd name="connsiteX96" fmla="*/ 91841 w 171792"/>
                <a:gd name="connsiteY96" fmla="*/ 37988 h 112376"/>
                <a:gd name="connsiteX97" fmla="*/ 92158 w 171792"/>
                <a:gd name="connsiteY97" fmla="*/ 38723 h 112376"/>
                <a:gd name="connsiteX98" fmla="*/ 91904 w 171792"/>
                <a:gd name="connsiteY98" fmla="*/ 39678 h 112376"/>
                <a:gd name="connsiteX99" fmla="*/ 91847 w 171792"/>
                <a:gd name="connsiteY99" fmla="*/ 40672 h 112376"/>
                <a:gd name="connsiteX100" fmla="*/ 92797 w 171792"/>
                <a:gd name="connsiteY100" fmla="*/ 41340 h 112376"/>
                <a:gd name="connsiteX101" fmla="*/ 95592 w 171792"/>
                <a:gd name="connsiteY101" fmla="*/ 41495 h 112376"/>
                <a:gd name="connsiteX102" fmla="*/ 96909 w 171792"/>
                <a:gd name="connsiteY102" fmla="*/ 42120 h 112376"/>
                <a:gd name="connsiteX103" fmla="*/ 96978 w 171792"/>
                <a:gd name="connsiteY103" fmla="*/ 43294 h 112376"/>
                <a:gd name="connsiteX104" fmla="*/ 96764 w 171792"/>
                <a:gd name="connsiteY104" fmla="*/ 45139 h 112376"/>
                <a:gd name="connsiteX105" fmla="*/ 97935 w 171792"/>
                <a:gd name="connsiteY105" fmla="*/ 45880 h 112376"/>
                <a:gd name="connsiteX106" fmla="*/ 98539 w 171792"/>
                <a:gd name="connsiteY106" fmla="*/ 45942 h 112376"/>
                <a:gd name="connsiteX107" fmla="*/ 102631 w 171792"/>
                <a:gd name="connsiteY107" fmla="*/ 43989 h 112376"/>
                <a:gd name="connsiteX108" fmla="*/ 103776 w 171792"/>
                <a:gd name="connsiteY108" fmla="*/ 43958 h 112376"/>
                <a:gd name="connsiteX109" fmla="*/ 104692 w 171792"/>
                <a:gd name="connsiteY109" fmla="*/ 45034 h 112376"/>
                <a:gd name="connsiteX110" fmla="*/ 106088 w 171792"/>
                <a:gd name="connsiteY110" fmla="*/ 46327 h 112376"/>
                <a:gd name="connsiteX111" fmla="*/ 107915 w 171792"/>
                <a:gd name="connsiteY111" fmla="*/ 47706 h 112376"/>
                <a:gd name="connsiteX112" fmla="*/ 108354 w 171792"/>
                <a:gd name="connsiteY112" fmla="*/ 47494 h 112376"/>
                <a:gd name="connsiteX113" fmla="*/ 109181 w 171792"/>
                <a:gd name="connsiteY113" fmla="*/ 45990 h 112376"/>
                <a:gd name="connsiteX114" fmla="*/ 110740 w 171792"/>
                <a:gd name="connsiteY114" fmla="*/ 44354 h 112376"/>
                <a:gd name="connsiteX115" fmla="*/ 113670 w 171792"/>
                <a:gd name="connsiteY115" fmla="*/ 43822 h 112376"/>
                <a:gd name="connsiteX116" fmla="*/ 115287 w 171792"/>
                <a:gd name="connsiteY116" fmla="*/ 43308 h 112376"/>
                <a:gd name="connsiteX117" fmla="*/ 116980 w 171792"/>
                <a:gd name="connsiteY117" fmla="*/ 43080 h 112376"/>
                <a:gd name="connsiteX118" fmla="*/ 122122 w 171792"/>
                <a:gd name="connsiteY118" fmla="*/ 43744 h 112376"/>
                <a:gd name="connsiteX119" fmla="*/ 123824 w 171792"/>
                <a:gd name="connsiteY119" fmla="*/ 43830 h 112376"/>
                <a:gd name="connsiteX120" fmla="*/ 127358 w 171792"/>
                <a:gd name="connsiteY120" fmla="*/ 43705 h 112376"/>
                <a:gd name="connsiteX121" fmla="*/ 130138 w 171792"/>
                <a:gd name="connsiteY121" fmla="*/ 43376 h 112376"/>
                <a:gd name="connsiteX122" fmla="*/ 132375 w 171792"/>
                <a:gd name="connsiteY122" fmla="*/ 42396 h 112376"/>
                <a:gd name="connsiteX123" fmla="*/ 133508 w 171792"/>
                <a:gd name="connsiteY123" fmla="*/ 41608 h 112376"/>
                <a:gd name="connsiteX124" fmla="*/ 135344 w 171792"/>
                <a:gd name="connsiteY124" fmla="*/ 41145 h 112376"/>
                <a:gd name="connsiteX125" fmla="*/ 137669 w 171792"/>
                <a:gd name="connsiteY125" fmla="*/ 41222 h 112376"/>
                <a:gd name="connsiteX126" fmla="*/ 138909 w 171792"/>
                <a:gd name="connsiteY126" fmla="*/ 41449 h 112376"/>
                <a:gd name="connsiteX127" fmla="*/ 139013 w 171792"/>
                <a:gd name="connsiteY127" fmla="*/ 42803 h 112376"/>
                <a:gd name="connsiteX128" fmla="*/ 138721 w 171792"/>
                <a:gd name="connsiteY128" fmla="*/ 45365 h 112376"/>
                <a:gd name="connsiteX129" fmla="*/ 138371 w 171792"/>
                <a:gd name="connsiteY129" fmla="*/ 47144 h 112376"/>
                <a:gd name="connsiteX130" fmla="*/ 140209 w 171792"/>
                <a:gd name="connsiteY130" fmla="*/ 50371 h 112376"/>
                <a:gd name="connsiteX131" fmla="*/ 141388 w 171792"/>
                <a:gd name="connsiteY131" fmla="*/ 51923 h 112376"/>
                <a:gd name="connsiteX132" fmla="*/ 142535 w 171792"/>
                <a:gd name="connsiteY132" fmla="*/ 53019 h 112376"/>
                <a:gd name="connsiteX133" fmla="*/ 142748 w 171792"/>
                <a:gd name="connsiteY133" fmla="*/ 53885 h 112376"/>
                <a:gd name="connsiteX134" fmla="*/ 142511 w 171792"/>
                <a:gd name="connsiteY134" fmla="*/ 54592 h 112376"/>
                <a:gd name="connsiteX135" fmla="*/ 141083 w 171792"/>
                <a:gd name="connsiteY135" fmla="*/ 55279 h 112376"/>
                <a:gd name="connsiteX136" fmla="*/ 140571 w 171792"/>
                <a:gd name="connsiteY136" fmla="*/ 56014 h 112376"/>
                <a:gd name="connsiteX137" fmla="*/ 140334 w 171792"/>
                <a:gd name="connsiteY137" fmla="*/ 56839 h 112376"/>
                <a:gd name="connsiteX138" fmla="*/ 140792 w 171792"/>
                <a:gd name="connsiteY138" fmla="*/ 57796 h 112376"/>
                <a:gd name="connsiteX139" fmla="*/ 141617 w 171792"/>
                <a:gd name="connsiteY139" fmla="*/ 60848 h 112376"/>
                <a:gd name="connsiteX140" fmla="*/ 142668 w 171792"/>
                <a:gd name="connsiteY140" fmla="*/ 63220 h 112376"/>
                <a:gd name="connsiteX141" fmla="*/ 144160 w 171792"/>
                <a:gd name="connsiteY141" fmla="*/ 64354 h 112376"/>
                <a:gd name="connsiteX142" fmla="*/ 146391 w 171792"/>
                <a:gd name="connsiteY142" fmla="*/ 65106 h 112376"/>
                <a:gd name="connsiteX143" fmla="*/ 147620 w 171792"/>
                <a:gd name="connsiteY143" fmla="*/ 64947 h 112376"/>
                <a:gd name="connsiteX144" fmla="*/ 148499 w 171792"/>
                <a:gd name="connsiteY144" fmla="*/ 63179 h 112376"/>
                <a:gd name="connsiteX145" fmla="*/ 149959 w 171792"/>
                <a:gd name="connsiteY145" fmla="*/ 61821 h 112376"/>
                <a:gd name="connsiteX146" fmla="*/ 151196 w 171792"/>
                <a:gd name="connsiteY146" fmla="*/ 61916 h 112376"/>
                <a:gd name="connsiteX147" fmla="*/ 153189 w 171792"/>
                <a:gd name="connsiteY147" fmla="*/ 61857 h 112376"/>
                <a:gd name="connsiteX148" fmla="*/ 158421 w 171792"/>
                <a:gd name="connsiteY148" fmla="*/ 63398 h 112376"/>
                <a:gd name="connsiteX149" fmla="*/ 163528 w 171792"/>
                <a:gd name="connsiteY149" fmla="*/ 65715 h 112376"/>
                <a:gd name="connsiteX150" fmla="*/ 165016 w 171792"/>
                <a:gd name="connsiteY150" fmla="*/ 66995 h 112376"/>
                <a:gd name="connsiteX151" fmla="*/ 165539 w 171792"/>
                <a:gd name="connsiteY151" fmla="*/ 68436 h 112376"/>
                <a:gd name="connsiteX152" fmla="*/ 164126 w 171792"/>
                <a:gd name="connsiteY152" fmla="*/ 71766 h 112376"/>
                <a:gd name="connsiteX153" fmla="*/ 164193 w 171792"/>
                <a:gd name="connsiteY153" fmla="*/ 73895 h 112376"/>
                <a:gd name="connsiteX154" fmla="*/ 164515 w 171792"/>
                <a:gd name="connsiteY154" fmla="*/ 76160 h 112376"/>
                <a:gd name="connsiteX155" fmla="*/ 165683 w 171792"/>
                <a:gd name="connsiteY155" fmla="*/ 77841 h 112376"/>
                <a:gd name="connsiteX156" fmla="*/ 166752 w 171792"/>
                <a:gd name="connsiteY156" fmla="*/ 80720 h 112376"/>
                <a:gd name="connsiteX157" fmla="*/ 166961 w 171792"/>
                <a:gd name="connsiteY157" fmla="*/ 83104 h 112376"/>
                <a:gd name="connsiteX158" fmla="*/ 167426 w 171792"/>
                <a:gd name="connsiteY158" fmla="*/ 83814 h 112376"/>
                <a:gd name="connsiteX159" fmla="*/ 167802 w 171792"/>
                <a:gd name="connsiteY159" fmla="*/ 84645 h 112376"/>
                <a:gd name="connsiteX160" fmla="*/ 167227 w 171792"/>
                <a:gd name="connsiteY160" fmla="*/ 86824 h 112376"/>
                <a:gd name="connsiteX161" fmla="*/ 166828 w 171792"/>
                <a:gd name="connsiteY161" fmla="*/ 89020 h 112376"/>
                <a:gd name="connsiteX162" fmla="*/ 167305 w 171792"/>
                <a:gd name="connsiteY162" fmla="*/ 89751 h 112376"/>
                <a:gd name="connsiteX163" fmla="*/ 168866 w 171792"/>
                <a:gd name="connsiteY163" fmla="*/ 90835 h 112376"/>
                <a:gd name="connsiteX164" fmla="*/ 171321 w 171792"/>
                <a:gd name="connsiteY164" fmla="*/ 92854 h 112376"/>
                <a:gd name="connsiteX165" fmla="*/ 171792 w 171792"/>
                <a:gd name="connsiteY165" fmla="*/ 94527 h 112376"/>
                <a:gd name="connsiteX166" fmla="*/ 170913 w 171792"/>
                <a:gd name="connsiteY166" fmla="*/ 95590 h 112376"/>
                <a:gd name="connsiteX167" fmla="*/ 169352 w 171792"/>
                <a:gd name="connsiteY167" fmla="*/ 96877 h 112376"/>
                <a:gd name="connsiteX168" fmla="*/ 167357 w 171792"/>
                <a:gd name="connsiteY168" fmla="*/ 97987 h 112376"/>
                <a:gd name="connsiteX169" fmla="*/ 166763 w 171792"/>
                <a:gd name="connsiteY169" fmla="*/ 98455 h 112376"/>
                <a:gd name="connsiteX170" fmla="*/ 166411 w 171792"/>
                <a:gd name="connsiteY170" fmla="*/ 98191 h 112376"/>
                <a:gd name="connsiteX171" fmla="*/ 165418 w 171792"/>
                <a:gd name="connsiteY171" fmla="*/ 97071 h 112376"/>
                <a:gd name="connsiteX172" fmla="*/ 163208 w 171792"/>
                <a:gd name="connsiteY172" fmla="*/ 95258 h 112376"/>
                <a:gd name="connsiteX173" fmla="*/ 161635 w 171792"/>
                <a:gd name="connsiteY173" fmla="*/ 94303 h 112376"/>
                <a:gd name="connsiteX174" fmla="*/ 158646 w 171792"/>
                <a:gd name="connsiteY174" fmla="*/ 94612 h 112376"/>
                <a:gd name="connsiteX175" fmla="*/ 156892 w 171792"/>
                <a:gd name="connsiteY175" fmla="*/ 94275 h 112376"/>
                <a:gd name="connsiteX176" fmla="*/ 154772 w 171792"/>
                <a:gd name="connsiteY176" fmla="*/ 93684 h 112376"/>
                <a:gd name="connsiteX177" fmla="*/ 152796 w 171792"/>
                <a:gd name="connsiteY177" fmla="*/ 93769 h 112376"/>
                <a:gd name="connsiteX178" fmla="*/ 151555 w 171792"/>
                <a:gd name="connsiteY178" fmla="*/ 94865 h 112376"/>
                <a:gd name="connsiteX179" fmla="*/ 150749 w 171792"/>
                <a:gd name="connsiteY179" fmla="*/ 95962 h 112376"/>
                <a:gd name="connsiteX180" fmla="*/ 148773 w 171792"/>
                <a:gd name="connsiteY180" fmla="*/ 96299 h 112376"/>
                <a:gd name="connsiteX181" fmla="*/ 145923 w 171792"/>
                <a:gd name="connsiteY181" fmla="*/ 97142 h 112376"/>
                <a:gd name="connsiteX182" fmla="*/ 141518 w 171792"/>
                <a:gd name="connsiteY182" fmla="*/ 98451 h 112376"/>
                <a:gd name="connsiteX183" fmla="*/ 139392 w 171792"/>
                <a:gd name="connsiteY183" fmla="*/ 98258 h 112376"/>
                <a:gd name="connsiteX184" fmla="*/ 138818 w 171792"/>
                <a:gd name="connsiteY184" fmla="*/ 97692 h 112376"/>
                <a:gd name="connsiteX185" fmla="*/ 139289 w 171792"/>
                <a:gd name="connsiteY185" fmla="*/ 96937 h 112376"/>
                <a:gd name="connsiteX186" fmla="*/ 140803 w 171792"/>
                <a:gd name="connsiteY186" fmla="*/ 95962 h 112376"/>
                <a:gd name="connsiteX187" fmla="*/ 141168 w 171792"/>
                <a:gd name="connsiteY187" fmla="*/ 94780 h 112376"/>
                <a:gd name="connsiteX188" fmla="*/ 140876 w 171792"/>
                <a:gd name="connsiteY188" fmla="*/ 93684 h 112376"/>
                <a:gd name="connsiteX189" fmla="*/ 139473 w 171792"/>
                <a:gd name="connsiteY189" fmla="*/ 93385 h 112376"/>
                <a:gd name="connsiteX190" fmla="*/ 138931 w 171792"/>
                <a:gd name="connsiteY190" fmla="*/ 93213 h 112376"/>
                <a:gd name="connsiteX191" fmla="*/ 138313 w 171792"/>
                <a:gd name="connsiteY191" fmla="*/ 92988 h 112376"/>
                <a:gd name="connsiteX192" fmla="*/ 135586 w 171792"/>
                <a:gd name="connsiteY192" fmla="*/ 92333 h 112376"/>
                <a:gd name="connsiteX193" fmla="*/ 133409 w 171792"/>
                <a:gd name="connsiteY193" fmla="*/ 92574 h 112376"/>
                <a:gd name="connsiteX194" fmla="*/ 129611 w 171792"/>
                <a:gd name="connsiteY194" fmla="*/ 93946 h 112376"/>
                <a:gd name="connsiteX195" fmla="*/ 122632 w 171792"/>
                <a:gd name="connsiteY195" fmla="*/ 97540 h 112376"/>
                <a:gd name="connsiteX196" fmla="*/ 119570 w 171792"/>
                <a:gd name="connsiteY196" fmla="*/ 99956 h 112376"/>
                <a:gd name="connsiteX197" fmla="*/ 117367 w 171792"/>
                <a:gd name="connsiteY197" fmla="*/ 103612 h 112376"/>
                <a:gd name="connsiteX198" fmla="*/ 110764 w 171792"/>
                <a:gd name="connsiteY198" fmla="*/ 104786 h 112376"/>
                <a:gd name="connsiteX199" fmla="*/ 106224 w 171792"/>
                <a:gd name="connsiteY199" fmla="*/ 106879 h 112376"/>
                <a:gd name="connsiteX200" fmla="*/ 101547 w 171792"/>
                <a:gd name="connsiteY200" fmla="*/ 110285 h 112376"/>
                <a:gd name="connsiteX201" fmla="*/ 98453 w 171792"/>
                <a:gd name="connsiteY201" fmla="*/ 112116 h 112376"/>
                <a:gd name="connsiteX202" fmla="*/ 96944 w 171792"/>
                <a:gd name="connsiteY202" fmla="*/ 112376 h 112376"/>
                <a:gd name="connsiteX203" fmla="*/ 95436 w 171792"/>
                <a:gd name="connsiteY203" fmla="*/ 112050 h 112376"/>
                <a:gd name="connsiteX204" fmla="*/ 93929 w 171792"/>
                <a:gd name="connsiteY204" fmla="*/ 111136 h 112376"/>
                <a:gd name="connsiteX205" fmla="*/ 92456 w 171792"/>
                <a:gd name="connsiteY205" fmla="*/ 108287 h 112376"/>
                <a:gd name="connsiteX206" fmla="*/ 91152 w 171792"/>
                <a:gd name="connsiteY206" fmla="*/ 103968 h 112376"/>
                <a:gd name="connsiteX207" fmla="*/ 90290 w 171792"/>
                <a:gd name="connsiteY207" fmla="*/ 101106 h 112376"/>
                <a:gd name="connsiteX208" fmla="*/ 90774 w 171792"/>
                <a:gd name="connsiteY208" fmla="*/ 97431 h 112376"/>
                <a:gd name="connsiteX209" fmla="*/ 91325 w 171792"/>
                <a:gd name="connsiteY209" fmla="*/ 93243 h 112376"/>
                <a:gd name="connsiteX210" fmla="*/ 91886 w 171792"/>
                <a:gd name="connsiteY210" fmla="*/ 88981 h 112376"/>
                <a:gd name="connsiteX211" fmla="*/ 92795 w 171792"/>
                <a:gd name="connsiteY211" fmla="*/ 84053 h 112376"/>
                <a:gd name="connsiteX212" fmla="*/ 93551 w 171792"/>
                <a:gd name="connsiteY212" fmla="*/ 82296 h 112376"/>
                <a:gd name="connsiteX213" fmla="*/ 93592 w 171792"/>
                <a:gd name="connsiteY213" fmla="*/ 81122 h 112376"/>
                <a:gd name="connsiteX214" fmla="*/ 92923 w 171792"/>
                <a:gd name="connsiteY214" fmla="*/ 80531 h 112376"/>
                <a:gd name="connsiteX215" fmla="*/ 91504 w 171792"/>
                <a:gd name="connsiteY215" fmla="*/ 80564 h 112376"/>
                <a:gd name="connsiteX216" fmla="*/ 89334 w 171792"/>
                <a:gd name="connsiteY216" fmla="*/ 81219 h 112376"/>
                <a:gd name="connsiteX217" fmla="*/ 87792 w 171792"/>
                <a:gd name="connsiteY217" fmla="*/ 81333 h 112376"/>
                <a:gd name="connsiteX218" fmla="*/ 86876 w 171792"/>
                <a:gd name="connsiteY218" fmla="*/ 80909 h 112376"/>
                <a:gd name="connsiteX219" fmla="*/ 86971 w 171792"/>
                <a:gd name="connsiteY219" fmla="*/ 78615 h 112376"/>
                <a:gd name="connsiteX220" fmla="*/ 88075 w 171792"/>
                <a:gd name="connsiteY220" fmla="*/ 74450 h 112376"/>
                <a:gd name="connsiteX221" fmla="*/ 86376 w 171792"/>
                <a:gd name="connsiteY221" fmla="*/ 70938 h 112376"/>
                <a:gd name="connsiteX222" fmla="*/ 81871 w 171792"/>
                <a:gd name="connsiteY222" fmla="*/ 68087 h 112376"/>
                <a:gd name="connsiteX223" fmla="*/ 78040 w 171792"/>
                <a:gd name="connsiteY223" fmla="*/ 67095 h 112376"/>
                <a:gd name="connsiteX224" fmla="*/ 74879 w 171792"/>
                <a:gd name="connsiteY224" fmla="*/ 67966 h 112376"/>
                <a:gd name="connsiteX225" fmla="*/ 72223 w 171792"/>
                <a:gd name="connsiteY225" fmla="*/ 70232 h 112376"/>
                <a:gd name="connsiteX226" fmla="*/ 70072 w 171792"/>
                <a:gd name="connsiteY226" fmla="*/ 73892 h 112376"/>
                <a:gd name="connsiteX227" fmla="*/ 67843 w 171792"/>
                <a:gd name="connsiteY227" fmla="*/ 76883 h 112376"/>
                <a:gd name="connsiteX228" fmla="*/ 65533 w 171792"/>
                <a:gd name="connsiteY228" fmla="*/ 79207 h 112376"/>
                <a:gd name="connsiteX229" fmla="*/ 63885 w 171792"/>
                <a:gd name="connsiteY229" fmla="*/ 80325 h 112376"/>
                <a:gd name="connsiteX230" fmla="*/ 63352 w 171792"/>
                <a:gd name="connsiteY230" fmla="*/ 80755 h 112376"/>
                <a:gd name="connsiteX231" fmla="*/ 63015 w 171792"/>
                <a:gd name="connsiteY231" fmla="*/ 81738 h 112376"/>
                <a:gd name="connsiteX232" fmla="*/ 64244 w 171792"/>
                <a:gd name="connsiteY232" fmla="*/ 84827 h 112376"/>
                <a:gd name="connsiteX233" fmla="*/ 64166 w 171792"/>
                <a:gd name="connsiteY233" fmla="*/ 87416 h 112376"/>
                <a:gd name="connsiteX234" fmla="*/ 62778 w 171792"/>
                <a:gd name="connsiteY234" fmla="*/ 89504 h 112376"/>
                <a:gd name="connsiteX235" fmla="*/ 61255 w 171792"/>
                <a:gd name="connsiteY235" fmla="*/ 90499 h 112376"/>
                <a:gd name="connsiteX236" fmla="*/ 59595 w 171792"/>
                <a:gd name="connsiteY236" fmla="*/ 90404 h 112376"/>
                <a:gd name="connsiteX237" fmla="*/ 58273 w 171792"/>
                <a:gd name="connsiteY237" fmla="*/ 89920 h 112376"/>
                <a:gd name="connsiteX238" fmla="*/ 57293 w 171792"/>
                <a:gd name="connsiteY238" fmla="*/ 89048 h 112376"/>
                <a:gd name="connsiteX239" fmla="*/ 54645 w 171792"/>
                <a:gd name="connsiteY239" fmla="*/ 88812 h 112376"/>
                <a:gd name="connsiteX240" fmla="*/ 50331 w 171792"/>
                <a:gd name="connsiteY240" fmla="*/ 89208 h 112376"/>
                <a:gd name="connsiteX241" fmla="*/ 47375 w 171792"/>
                <a:gd name="connsiteY241" fmla="*/ 90255 h 112376"/>
                <a:gd name="connsiteX242" fmla="*/ 45783 w 171792"/>
                <a:gd name="connsiteY242" fmla="*/ 91949 h 112376"/>
                <a:gd name="connsiteX243" fmla="*/ 45321 w 171792"/>
                <a:gd name="connsiteY243" fmla="*/ 94180 h 112376"/>
                <a:gd name="connsiteX244" fmla="*/ 45995 w 171792"/>
                <a:gd name="connsiteY244" fmla="*/ 96946 h 112376"/>
                <a:gd name="connsiteX245" fmla="*/ 45658 w 171792"/>
                <a:gd name="connsiteY245" fmla="*/ 99063 h 112376"/>
                <a:gd name="connsiteX246" fmla="*/ 44317 w 171792"/>
                <a:gd name="connsiteY246" fmla="*/ 100533 h 112376"/>
                <a:gd name="connsiteX247" fmla="*/ 43213 w 171792"/>
                <a:gd name="connsiteY247" fmla="*/ 101376 h 112376"/>
                <a:gd name="connsiteX248" fmla="*/ 42350 w 171792"/>
                <a:gd name="connsiteY248" fmla="*/ 101593 h 112376"/>
                <a:gd name="connsiteX249" fmla="*/ 40478 w 171792"/>
                <a:gd name="connsiteY249" fmla="*/ 100323 h 112376"/>
                <a:gd name="connsiteX250" fmla="*/ 37599 w 171792"/>
                <a:gd name="connsiteY250" fmla="*/ 97566 h 112376"/>
                <a:gd name="connsiteX251" fmla="*/ 35619 w 171792"/>
                <a:gd name="connsiteY251" fmla="*/ 96074 h 112376"/>
                <a:gd name="connsiteX252" fmla="*/ 34544 w 171792"/>
                <a:gd name="connsiteY252" fmla="*/ 95848 h 112376"/>
                <a:gd name="connsiteX253" fmla="*/ 33956 w 171792"/>
                <a:gd name="connsiteY253" fmla="*/ 95997 h 112376"/>
                <a:gd name="connsiteX254" fmla="*/ 33295 w 171792"/>
                <a:gd name="connsiteY254" fmla="*/ 96283 h 112376"/>
                <a:gd name="connsiteX255" fmla="*/ 32922 w 171792"/>
                <a:gd name="connsiteY255" fmla="*/ 96641 h 112376"/>
                <a:gd name="connsiteX256" fmla="*/ 32596 w 171792"/>
                <a:gd name="connsiteY256" fmla="*/ 97459 h 112376"/>
                <a:gd name="connsiteX257" fmla="*/ 31674 w 171792"/>
                <a:gd name="connsiteY257" fmla="*/ 97783 h 112376"/>
                <a:gd name="connsiteX258" fmla="*/ 30374 w 171792"/>
                <a:gd name="connsiteY258" fmla="*/ 97528 h 112376"/>
                <a:gd name="connsiteX259" fmla="*/ 29178 w 171792"/>
                <a:gd name="connsiteY259" fmla="*/ 97773 h 112376"/>
                <a:gd name="connsiteX260" fmla="*/ 28467 w 171792"/>
                <a:gd name="connsiteY260" fmla="*/ 98638 h 112376"/>
                <a:gd name="connsiteX261" fmla="*/ 26466 w 171792"/>
                <a:gd name="connsiteY261" fmla="*/ 99683 h 112376"/>
                <a:gd name="connsiteX262" fmla="*/ 22937 w 171792"/>
                <a:gd name="connsiteY262" fmla="*/ 100852 h 112376"/>
                <a:gd name="connsiteX263" fmla="*/ 21004 w 171792"/>
                <a:gd name="connsiteY263" fmla="*/ 102101 h 112376"/>
                <a:gd name="connsiteX264" fmla="*/ 20678 w 171792"/>
                <a:gd name="connsiteY264" fmla="*/ 103427 h 112376"/>
                <a:gd name="connsiteX265" fmla="*/ 20151 w 171792"/>
                <a:gd name="connsiteY265" fmla="*/ 104018 h 112376"/>
                <a:gd name="connsiteX266" fmla="*/ 19072 w 171792"/>
                <a:gd name="connsiteY266" fmla="*/ 103804 h 112376"/>
                <a:gd name="connsiteX267" fmla="*/ 15880 w 171792"/>
                <a:gd name="connsiteY267" fmla="*/ 105627 h 112376"/>
                <a:gd name="connsiteX268" fmla="*/ 13453 w 171792"/>
                <a:gd name="connsiteY268" fmla="*/ 105062 h 112376"/>
                <a:gd name="connsiteX269" fmla="*/ 10721 w 171792"/>
                <a:gd name="connsiteY269" fmla="*/ 102718 h 112376"/>
                <a:gd name="connsiteX270" fmla="*/ 9208 w 171792"/>
                <a:gd name="connsiteY270" fmla="*/ 100785 h 112376"/>
                <a:gd name="connsiteX271" fmla="*/ 9052 w 171792"/>
                <a:gd name="connsiteY271" fmla="*/ 99969 h 112376"/>
                <a:gd name="connsiteX272" fmla="*/ 9916 w 171792"/>
                <a:gd name="connsiteY272" fmla="*/ 98115 h 112376"/>
                <a:gd name="connsiteX273" fmla="*/ 10276 w 171792"/>
                <a:gd name="connsiteY273" fmla="*/ 91942 h 112376"/>
                <a:gd name="connsiteX274" fmla="*/ 11365 w 171792"/>
                <a:gd name="connsiteY274" fmla="*/ 89805 h 112376"/>
                <a:gd name="connsiteX275" fmla="*/ 14623 w 171792"/>
                <a:gd name="connsiteY275" fmla="*/ 85964 h 112376"/>
                <a:gd name="connsiteX276" fmla="*/ 16319 w 171792"/>
                <a:gd name="connsiteY276" fmla="*/ 83034 h 112376"/>
                <a:gd name="connsiteX277" fmla="*/ 18230 w 171792"/>
                <a:gd name="connsiteY277" fmla="*/ 80653 h 112376"/>
                <a:gd name="connsiteX278" fmla="*/ 19611 w 171792"/>
                <a:gd name="connsiteY278" fmla="*/ 79852 h 112376"/>
                <a:gd name="connsiteX279" fmla="*/ 20883 w 171792"/>
                <a:gd name="connsiteY279" fmla="*/ 77974 h 112376"/>
                <a:gd name="connsiteX280" fmla="*/ 21926 w 171792"/>
                <a:gd name="connsiteY280" fmla="*/ 75822 h 112376"/>
                <a:gd name="connsiteX281" fmla="*/ 22220 w 171792"/>
                <a:gd name="connsiteY281" fmla="*/ 74469 h 112376"/>
                <a:gd name="connsiteX282" fmla="*/ 22127 w 171792"/>
                <a:gd name="connsiteY282" fmla="*/ 73403 h 112376"/>
                <a:gd name="connsiteX283" fmla="*/ 21747 w 171792"/>
                <a:gd name="connsiteY283" fmla="*/ 72716 h 112376"/>
                <a:gd name="connsiteX284" fmla="*/ 19940 w 171792"/>
                <a:gd name="connsiteY284" fmla="*/ 71258 h 112376"/>
                <a:gd name="connsiteX285" fmla="*/ 17569 w 171792"/>
                <a:gd name="connsiteY285" fmla="*/ 68981 h 112376"/>
                <a:gd name="connsiteX286" fmla="*/ 16310 w 171792"/>
                <a:gd name="connsiteY286" fmla="*/ 66654 h 112376"/>
                <a:gd name="connsiteX287" fmla="*/ 15619 w 171792"/>
                <a:gd name="connsiteY287" fmla="*/ 63683 h 112376"/>
                <a:gd name="connsiteX288" fmla="*/ 15440 w 171792"/>
                <a:gd name="connsiteY288" fmla="*/ 61612 h 112376"/>
                <a:gd name="connsiteX289" fmla="*/ 17666 w 171792"/>
                <a:gd name="connsiteY289" fmla="*/ 55901 h 112376"/>
                <a:gd name="connsiteX290" fmla="*/ 17312 w 171792"/>
                <a:gd name="connsiteY290" fmla="*/ 54945 h 112376"/>
                <a:gd name="connsiteX291" fmla="*/ 16671 w 171792"/>
                <a:gd name="connsiteY291" fmla="*/ 54057 h 112376"/>
                <a:gd name="connsiteX292" fmla="*/ 15362 w 171792"/>
                <a:gd name="connsiteY292" fmla="*/ 53499 h 112376"/>
                <a:gd name="connsiteX293" fmla="*/ 13487 w 171792"/>
                <a:gd name="connsiteY293" fmla="*/ 53258 h 112376"/>
                <a:gd name="connsiteX294" fmla="*/ 11633 w 171792"/>
                <a:gd name="connsiteY294" fmla="*/ 53514 h 112376"/>
                <a:gd name="connsiteX295" fmla="*/ 9264 w 171792"/>
                <a:gd name="connsiteY295" fmla="*/ 53534 h 112376"/>
                <a:gd name="connsiteX296" fmla="*/ 7625 w 171792"/>
                <a:gd name="connsiteY296" fmla="*/ 53214 h 112376"/>
                <a:gd name="connsiteX297" fmla="*/ 7230 w 171792"/>
                <a:gd name="connsiteY297" fmla="*/ 52855 h 112376"/>
                <a:gd name="connsiteX298" fmla="*/ 7025 w 171792"/>
                <a:gd name="connsiteY298" fmla="*/ 50251 h 112376"/>
                <a:gd name="connsiteX299" fmla="*/ 6606 w 171792"/>
                <a:gd name="connsiteY299" fmla="*/ 49685 h 112376"/>
                <a:gd name="connsiteX300" fmla="*/ 5901 w 171792"/>
                <a:gd name="connsiteY300" fmla="*/ 49187 h 112376"/>
                <a:gd name="connsiteX301" fmla="*/ 1123 w 171792"/>
                <a:gd name="connsiteY301" fmla="*/ 47986 h 112376"/>
                <a:gd name="connsiteX302" fmla="*/ 177 w 171792"/>
                <a:gd name="connsiteY302" fmla="*/ 47468 h 112376"/>
                <a:gd name="connsiteX303" fmla="*/ 0 w 171792"/>
                <a:gd name="connsiteY303" fmla="*/ 46810 h 112376"/>
                <a:gd name="connsiteX304" fmla="*/ 1693 w 171792"/>
                <a:gd name="connsiteY304" fmla="*/ 41015 h 112376"/>
                <a:gd name="connsiteX305" fmla="*/ 2431 w 171792"/>
                <a:gd name="connsiteY305" fmla="*/ 40578 h 112376"/>
                <a:gd name="connsiteX306" fmla="*/ 3142 w 171792"/>
                <a:gd name="connsiteY306" fmla="*/ 39635 h 112376"/>
                <a:gd name="connsiteX307" fmla="*/ 4265 w 171792"/>
                <a:gd name="connsiteY307" fmla="*/ 38625 h 112376"/>
                <a:gd name="connsiteX308" fmla="*/ 8169 w 171792"/>
                <a:gd name="connsiteY308" fmla="*/ 36969 h 112376"/>
                <a:gd name="connsiteX309" fmla="*/ 12360 w 171792"/>
                <a:gd name="connsiteY309" fmla="*/ 37686 h 112376"/>
                <a:gd name="connsiteX310" fmla="*/ 16088 w 171792"/>
                <a:gd name="connsiteY310" fmla="*/ 38456 h 112376"/>
                <a:gd name="connsiteX311" fmla="*/ 19797 w 171792"/>
                <a:gd name="connsiteY311" fmla="*/ 38868 h 112376"/>
                <a:gd name="connsiteX312" fmla="*/ 21082 w 171792"/>
                <a:gd name="connsiteY312" fmla="*/ 39143 h 112376"/>
                <a:gd name="connsiteX313" fmla="*/ 23205 w 171792"/>
                <a:gd name="connsiteY313" fmla="*/ 39372 h 112376"/>
                <a:gd name="connsiteX314" fmla="*/ 24626 w 171792"/>
                <a:gd name="connsiteY314" fmla="*/ 39168 h 112376"/>
                <a:gd name="connsiteX315" fmla="*/ 25591 w 171792"/>
                <a:gd name="connsiteY315" fmla="*/ 38491 h 112376"/>
                <a:gd name="connsiteX316" fmla="*/ 27342 w 171792"/>
                <a:gd name="connsiteY316" fmla="*/ 36616 h 112376"/>
                <a:gd name="connsiteX317" fmla="*/ 27878 w 171792"/>
                <a:gd name="connsiteY317" fmla="*/ 33799 h 112376"/>
                <a:gd name="connsiteX318" fmla="*/ 28510 w 171792"/>
                <a:gd name="connsiteY318" fmla="*/ 31311 h 112376"/>
                <a:gd name="connsiteX319" fmla="*/ 29571 w 171792"/>
                <a:gd name="connsiteY319" fmla="*/ 31118 h 112376"/>
                <a:gd name="connsiteX320" fmla="*/ 30639 w 171792"/>
                <a:gd name="connsiteY320" fmla="*/ 31380 h 112376"/>
                <a:gd name="connsiteX321" fmla="*/ 31147 w 171792"/>
                <a:gd name="connsiteY321" fmla="*/ 30876 h 112376"/>
                <a:gd name="connsiteX322" fmla="*/ 31363 w 171792"/>
                <a:gd name="connsiteY322" fmla="*/ 30192 h 112376"/>
                <a:gd name="connsiteX323" fmla="*/ 31581 w 171792"/>
                <a:gd name="connsiteY323" fmla="*/ 29610 h 112376"/>
                <a:gd name="connsiteX324" fmla="*/ 32019 w 171792"/>
                <a:gd name="connsiteY324" fmla="*/ 29481 h 112376"/>
                <a:gd name="connsiteX325" fmla="*/ 32788 w 171792"/>
                <a:gd name="connsiteY325" fmla="*/ 30128 h 112376"/>
                <a:gd name="connsiteX326" fmla="*/ 33226 w 171792"/>
                <a:gd name="connsiteY326" fmla="*/ 29954 h 112376"/>
                <a:gd name="connsiteX327" fmla="*/ 33592 w 171792"/>
                <a:gd name="connsiteY327" fmla="*/ 29524 h 112376"/>
                <a:gd name="connsiteX328" fmla="*/ 33483 w 171792"/>
                <a:gd name="connsiteY328" fmla="*/ 29007 h 112376"/>
                <a:gd name="connsiteX329" fmla="*/ 32611 w 171792"/>
                <a:gd name="connsiteY329" fmla="*/ 28135 h 112376"/>
                <a:gd name="connsiteX330" fmla="*/ 31838 w 171792"/>
                <a:gd name="connsiteY330" fmla="*/ 26765 h 112376"/>
                <a:gd name="connsiteX331" fmla="*/ 31911 w 171792"/>
                <a:gd name="connsiteY331" fmla="*/ 26291 h 112376"/>
                <a:gd name="connsiteX332" fmla="*/ 32175 w 171792"/>
                <a:gd name="connsiteY332" fmla="*/ 25800 h 112376"/>
                <a:gd name="connsiteX333" fmla="*/ 34470 w 171792"/>
                <a:gd name="connsiteY333" fmla="*/ 25334 h 112376"/>
                <a:gd name="connsiteX334" fmla="*/ 35513 w 171792"/>
                <a:gd name="connsiteY334" fmla="*/ 25252 h 112376"/>
                <a:gd name="connsiteX335" fmla="*/ 35876 w 171792"/>
                <a:gd name="connsiteY335" fmla="*/ 24767 h 112376"/>
                <a:gd name="connsiteX336" fmla="*/ 35742 w 171792"/>
                <a:gd name="connsiteY336" fmla="*/ 23993 h 112376"/>
                <a:gd name="connsiteX337" fmla="*/ 34876 w 171792"/>
                <a:gd name="connsiteY337" fmla="*/ 23556 h 112376"/>
                <a:gd name="connsiteX338" fmla="*/ 31730 w 171792"/>
                <a:gd name="connsiteY338" fmla="*/ 23797 h 112376"/>
                <a:gd name="connsiteX339" fmla="*/ 28528 w 171792"/>
                <a:gd name="connsiteY339" fmla="*/ 23742 h 112376"/>
                <a:gd name="connsiteX340" fmla="*/ 28145 w 171792"/>
                <a:gd name="connsiteY340" fmla="*/ 23271 h 112376"/>
                <a:gd name="connsiteX341" fmla="*/ 28327 w 171792"/>
                <a:gd name="connsiteY341" fmla="*/ 22753 h 112376"/>
                <a:gd name="connsiteX342" fmla="*/ 28810 w 171792"/>
                <a:gd name="connsiteY342" fmla="*/ 22346 h 112376"/>
                <a:gd name="connsiteX343" fmla="*/ 35427 w 171792"/>
                <a:gd name="connsiteY343" fmla="*/ 21303 h 112376"/>
                <a:gd name="connsiteX344" fmla="*/ 38934 w 171792"/>
                <a:gd name="connsiteY344" fmla="*/ 21665 h 112376"/>
                <a:gd name="connsiteX345" fmla="*/ 41542 w 171792"/>
                <a:gd name="connsiteY345" fmla="*/ 22217 h 112376"/>
                <a:gd name="connsiteX346" fmla="*/ 42572 w 171792"/>
                <a:gd name="connsiteY346" fmla="*/ 21943 h 112376"/>
                <a:gd name="connsiteX347" fmla="*/ 41348 w 171792"/>
                <a:gd name="connsiteY347" fmla="*/ 19591 h 112376"/>
                <a:gd name="connsiteX348" fmla="*/ 43004 w 171792"/>
                <a:gd name="connsiteY348" fmla="*/ 19370 h 112376"/>
                <a:gd name="connsiteX349" fmla="*/ 43220 w 171792"/>
                <a:gd name="connsiteY349" fmla="*/ 18564 h 112376"/>
                <a:gd name="connsiteX350" fmla="*/ 41054 w 171792"/>
                <a:gd name="connsiteY350" fmla="*/ 12304 h 112376"/>
                <a:gd name="connsiteX351" fmla="*/ 42242 w 171792"/>
                <a:gd name="connsiteY351" fmla="*/ 11751 h 112376"/>
                <a:gd name="connsiteX352" fmla="*/ 43436 w 171792"/>
                <a:gd name="connsiteY352" fmla="*/ 10516 h 112376"/>
                <a:gd name="connsiteX353" fmla="*/ 43334 w 171792"/>
                <a:gd name="connsiteY353" fmla="*/ 8177 h 112376"/>
                <a:gd name="connsiteX354" fmla="*/ 44392 w 171792"/>
                <a:gd name="connsiteY354" fmla="*/ 7036 h 112376"/>
                <a:gd name="connsiteX355" fmla="*/ 45645 w 171792"/>
                <a:gd name="connsiteY355" fmla="*/ 6254 h 112376"/>
                <a:gd name="connsiteX356" fmla="*/ 47511 w 171792"/>
                <a:gd name="connsiteY356" fmla="*/ 7044 h 112376"/>
                <a:gd name="connsiteX357" fmla="*/ 50389 w 171792"/>
                <a:gd name="connsiteY357" fmla="*/ 9354 h 112376"/>
                <a:gd name="connsiteX358" fmla="*/ 51327 w 171792"/>
                <a:gd name="connsiteY358" fmla="*/ 9802 h 112376"/>
                <a:gd name="connsiteX359" fmla="*/ 52257 w 171792"/>
                <a:gd name="connsiteY359" fmla="*/ 9933 h 112376"/>
                <a:gd name="connsiteX360" fmla="*/ 53592 w 171792"/>
                <a:gd name="connsiteY360" fmla="*/ 9217 h 112376"/>
                <a:gd name="connsiteX361" fmla="*/ 58731 w 171792"/>
                <a:gd name="connsiteY361" fmla="*/ 6930 h 112376"/>
                <a:gd name="connsiteX362" fmla="*/ 61620 w 171792"/>
                <a:gd name="connsiteY362" fmla="*/ 5644 h 112376"/>
                <a:gd name="connsiteX363" fmla="*/ 65064 w 171792"/>
                <a:gd name="connsiteY363" fmla="*/ 3771 h 112376"/>
                <a:gd name="connsiteX364" fmla="*/ 65658 w 171792"/>
                <a:gd name="connsiteY364" fmla="*/ 3047 h 112376"/>
                <a:gd name="connsiteX365" fmla="*/ 66846 w 171792"/>
                <a:gd name="connsiteY365" fmla="*/ 196 h 112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</a:cxnLst>
              <a:rect l="l" t="t" r="r" b="b"/>
              <a:pathLst>
                <a:path w="171792" h="112376">
                  <a:moveTo>
                    <a:pt x="69282" y="30169"/>
                  </a:moveTo>
                  <a:lnTo>
                    <a:pt x="69612" y="30177"/>
                  </a:lnTo>
                  <a:lnTo>
                    <a:pt x="71145" y="30589"/>
                  </a:lnTo>
                  <a:lnTo>
                    <a:pt x="73292" y="30879"/>
                  </a:lnTo>
                  <a:lnTo>
                    <a:pt x="74045" y="31129"/>
                  </a:lnTo>
                  <a:lnTo>
                    <a:pt x="74121" y="31665"/>
                  </a:lnTo>
                  <a:lnTo>
                    <a:pt x="72141" y="32668"/>
                  </a:lnTo>
                  <a:lnTo>
                    <a:pt x="70979" y="32560"/>
                  </a:lnTo>
                  <a:lnTo>
                    <a:pt x="70074" y="31590"/>
                  </a:lnTo>
                  <a:lnTo>
                    <a:pt x="69424" y="30682"/>
                  </a:lnTo>
                  <a:close/>
                  <a:moveTo>
                    <a:pt x="71256" y="271"/>
                  </a:moveTo>
                  <a:lnTo>
                    <a:pt x="72279" y="880"/>
                  </a:lnTo>
                  <a:lnTo>
                    <a:pt x="72961" y="1954"/>
                  </a:lnTo>
                  <a:lnTo>
                    <a:pt x="73035" y="2590"/>
                  </a:lnTo>
                  <a:lnTo>
                    <a:pt x="72376" y="2648"/>
                  </a:lnTo>
                  <a:lnTo>
                    <a:pt x="71182" y="1401"/>
                  </a:lnTo>
                  <a:lnTo>
                    <a:pt x="70767" y="532"/>
                  </a:lnTo>
                  <a:close/>
                  <a:moveTo>
                    <a:pt x="67494" y="0"/>
                  </a:moveTo>
                  <a:lnTo>
                    <a:pt x="68368" y="307"/>
                  </a:lnTo>
                  <a:lnTo>
                    <a:pt x="71392" y="3251"/>
                  </a:lnTo>
                  <a:lnTo>
                    <a:pt x="73141" y="5139"/>
                  </a:lnTo>
                  <a:lnTo>
                    <a:pt x="73141" y="5784"/>
                  </a:lnTo>
                  <a:lnTo>
                    <a:pt x="72642" y="6270"/>
                  </a:lnTo>
                  <a:lnTo>
                    <a:pt x="72739" y="6743"/>
                  </a:lnTo>
                  <a:lnTo>
                    <a:pt x="75212" y="7766"/>
                  </a:lnTo>
                  <a:lnTo>
                    <a:pt x="75213" y="8233"/>
                  </a:lnTo>
                  <a:lnTo>
                    <a:pt x="74650" y="9125"/>
                  </a:lnTo>
                  <a:lnTo>
                    <a:pt x="74350" y="9616"/>
                  </a:lnTo>
                  <a:lnTo>
                    <a:pt x="74048" y="9823"/>
                  </a:lnTo>
                  <a:lnTo>
                    <a:pt x="70741" y="12402"/>
                  </a:lnTo>
                  <a:lnTo>
                    <a:pt x="67066" y="15264"/>
                  </a:lnTo>
                  <a:lnTo>
                    <a:pt x="66945" y="15637"/>
                  </a:lnTo>
                  <a:lnTo>
                    <a:pt x="66781" y="16350"/>
                  </a:lnTo>
                  <a:lnTo>
                    <a:pt x="66822" y="17080"/>
                  </a:lnTo>
                  <a:lnTo>
                    <a:pt x="67412" y="17675"/>
                  </a:lnTo>
                  <a:lnTo>
                    <a:pt x="68997" y="18094"/>
                  </a:lnTo>
                  <a:lnTo>
                    <a:pt x="70404" y="18639"/>
                  </a:lnTo>
                  <a:lnTo>
                    <a:pt x="71117" y="20139"/>
                  </a:lnTo>
                  <a:lnTo>
                    <a:pt x="71933" y="21523"/>
                  </a:lnTo>
                  <a:lnTo>
                    <a:pt x="73048" y="21863"/>
                  </a:lnTo>
                  <a:lnTo>
                    <a:pt x="78493" y="20990"/>
                  </a:lnTo>
                  <a:lnTo>
                    <a:pt x="79789" y="20878"/>
                  </a:lnTo>
                  <a:lnTo>
                    <a:pt x="79854" y="21354"/>
                  </a:lnTo>
                  <a:lnTo>
                    <a:pt x="79533" y="22217"/>
                  </a:lnTo>
                  <a:lnTo>
                    <a:pt x="74937" y="23691"/>
                  </a:lnTo>
                  <a:lnTo>
                    <a:pt x="72853" y="24936"/>
                  </a:lnTo>
                  <a:lnTo>
                    <a:pt x="72406" y="27140"/>
                  </a:lnTo>
                  <a:lnTo>
                    <a:pt x="71856" y="27777"/>
                  </a:lnTo>
                  <a:lnTo>
                    <a:pt x="70919" y="28299"/>
                  </a:lnTo>
                  <a:lnTo>
                    <a:pt x="69997" y="28419"/>
                  </a:lnTo>
                  <a:lnTo>
                    <a:pt x="68586" y="25829"/>
                  </a:lnTo>
                  <a:lnTo>
                    <a:pt x="66984" y="25290"/>
                  </a:lnTo>
                  <a:lnTo>
                    <a:pt x="64674" y="24378"/>
                  </a:lnTo>
                  <a:lnTo>
                    <a:pt x="60186" y="22605"/>
                  </a:lnTo>
                  <a:lnTo>
                    <a:pt x="57872" y="21835"/>
                  </a:lnTo>
                  <a:lnTo>
                    <a:pt x="53415" y="22990"/>
                  </a:lnTo>
                  <a:lnTo>
                    <a:pt x="48219" y="24574"/>
                  </a:lnTo>
                  <a:lnTo>
                    <a:pt x="47409" y="25539"/>
                  </a:lnTo>
                  <a:lnTo>
                    <a:pt x="46859" y="26572"/>
                  </a:lnTo>
                  <a:lnTo>
                    <a:pt x="46908" y="27357"/>
                  </a:lnTo>
                  <a:lnTo>
                    <a:pt x="47282" y="28405"/>
                  </a:lnTo>
                  <a:lnTo>
                    <a:pt x="47025" y="29205"/>
                  </a:lnTo>
                  <a:lnTo>
                    <a:pt x="46045" y="29465"/>
                  </a:lnTo>
                  <a:lnTo>
                    <a:pt x="44574" y="28493"/>
                  </a:lnTo>
                  <a:lnTo>
                    <a:pt x="43287" y="27933"/>
                  </a:lnTo>
                  <a:lnTo>
                    <a:pt x="42658" y="29256"/>
                  </a:lnTo>
                  <a:lnTo>
                    <a:pt x="41905" y="31618"/>
                  </a:lnTo>
                  <a:lnTo>
                    <a:pt x="41560" y="33336"/>
                  </a:lnTo>
                  <a:lnTo>
                    <a:pt x="42691" y="35812"/>
                  </a:lnTo>
                  <a:lnTo>
                    <a:pt x="43076" y="39478"/>
                  </a:lnTo>
                  <a:lnTo>
                    <a:pt x="45151" y="39279"/>
                  </a:lnTo>
                  <a:lnTo>
                    <a:pt x="46738" y="39289"/>
                  </a:lnTo>
                  <a:lnTo>
                    <a:pt x="49735" y="38206"/>
                  </a:lnTo>
                  <a:lnTo>
                    <a:pt x="51242" y="38177"/>
                  </a:lnTo>
                  <a:lnTo>
                    <a:pt x="53566" y="38648"/>
                  </a:lnTo>
                  <a:lnTo>
                    <a:pt x="57632" y="38743"/>
                  </a:lnTo>
                  <a:lnTo>
                    <a:pt x="60853" y="38548"/>
                  </a:lnTo>
                  <a:lnTo>
                    <a:pt x="61631" y="38627"/>
                  </a:lnTo>
                  <a:lnTo>
                    <a:pt x="62389" y="37936"/>
                  </a:lnTo>
                  <a:lnTo>
                    <a:pt x="63233" y="38174"/>
                  </a:lnTo>
                  <a:lnTo>
                    <a:pt x="64020" y="39015"/>
                  </a:lnTo>
                  <a:lnTo>
                    <a:pt x="67276" y="37995"/>
                  </a:lnTo>
                  <a:lnTo>
                    <a:pt x="69688" y="37853"/>
                  </a:lnTo>
                  <a:lnTo>
                    <a:pt x="71165" y="38151"/>
                  </a:lnTo>
                  <a:lnTo>
                    <a:pt x="72046" y="38449"/>
                  </a:lnTo>
                  <a:lnTo>
                    <a:pt x="73611" y="40867"/>
                  </a:lnTo>
                  <a:lnTo>
                    <a:pt x="74816" y="42372"/>
                  </a:lnTo>
                  <a:lnTo>
                    <a:pt x="76280" y="42854"/>
                  </a:lnTo>
                  <a:lnTo>
                    <a:pt x="80826" y="42409"/>
                  </a:lnTo>
                  <a:lnTo>
                    <a:pt x="82156" y="40293"/>
                  </a:lnTo>
                  <a:lnTo>
                    <a:pt x="83328" y="39769"/>
                  </a:lnTo>
                  <a:lnTo>
                    <a:pt x="85201" y="39607"/>
                  </a:lnTo>
                  <a:lnTo>
                    <a:pt x="86751" y="39205"/>
                  </a:lnTo>
                  <a:lnTo>
                    <a:pt x="87982" y="38338"/>
                  </a:lnTo>
                  <a:lnTo>
                    <a:pt x="89658" y="37580"/>
                  </a:lnTo>
                  <a:lnTo>
                    <a:pt x="91118" y="37429"/>
                  </a:lnTo>
                  <a:lnTo>
                    <a:pt x="91841" y="37988"/>
                  </a:lnTo>
                  <a:lnTo>
                    <a:pt x="92158" y="38723"/>
                  </a:lnTo>
                  <a:lnTo>
                    <a:pt x="91904" y="39678"/>
                  </a:lnTo>
                  <a:lnTo>
                    <a:pt x="91847" y="40672"/>
                  </a:lnTo>
                  <a:lnTo>
                    <a:pt x="92797" y="41340"/>
                  </a:lnTo>
                  <a:lnTo>
                    <a:pt x="95592" y="41495"/>
                  </a:lnTo>
                  <a:lnTo>
                    <a:pt x="96909" y="42120"/>
                  </a:lnTo>
                  <a:lnTo>
                    <a:pt x="96978" y="43294"/>
                  </a:lnTo>
                  <a:lnTo>
                    <a:pt x="96764" y="45139"/>
                  </a:lnTo>
                  <a:lnTo>
                    <a:pt x="97935" y="45880"/>
                  </a:lnTo>
                  <a:lnTo>
                    <a:pt x="98539" y="45942"/>
                  </a:lnTo>
                  <a:lnTo>
                    <a:pt x="102631" y="43989"/>
                  </a:lnTo>
                  <a:lnTo>
                    <a:pt x="103776" y="43958"/>
                  </a:lnTo>
                  <a:lnTo>
                    <a:pt x="104692" y="45034"/>
                  </a:lnTo>
                  <a:lnTo>
                    <a:pt x="106088" y="46327"/>
                  </a:lnTo>
                  <a:lnTo>
                    <a:pt x="107915" y="47706"/>
                  </a:lnTo>
                  <a:lnTo>
                    <a:pt x="108354" y="47494"/>
                  </a:lnTo>
                  <a:lnTo>
                    <a:pt x="109181" y="45990"/>
                  </a:lnTo>
                  <a:lnTo>
                    <a:pt x="110740" y="44354"/>
                  </a:lnTo>
                  <a:lnTo>
                    <a:pt x="113670" y="43822"/>
                  </a:lnTo>
                  <a:lnTo>
                    <a:pt x="115287" y="43308"/>
                  </a:lnTo>
                  <a:lnTo>
                    <a:pt x="116980" y="43080"/>
                  </a:lnTo>
                  <a:lnTo>
                    <a:pt x="122122" y="43744"/>
                  </a:lnTo>
                  <a:lnTo>
                    <a:pt x="123824" y="43830"/>
                  </a:lnTo>
                  <a:lnTo>
                    <a:pt x="127358" y="43705"/>
                  </a:lnTo>
                  <a:lnTo>
                    <a:pt x="130138" y="43376"/>
                  </a:lnTo>
                  <a:lnTo>
                    <a:pt x="132375" y="42396"/>
                  </a:lnTo>
                  <a:lnTo>
                    <a:pt x="133508" y="41608"/>
                  </a:lnTo>
                  <a:lnTo>
                    <a:pt x="135344" y="41145"/>
                  </a:lnTo>
                  <a:lnTo>
                    <a:pt x="137669" y="41222"/>
                  </a:lnTo>
                  <a:lnTo>
                    <a:pt x="138909" y="41449"/>
                  </a:lnTo>
                  <a:lnTo>
                    <a:pt x="139013" y="42803"/>
                  </a:lnTo>
                  <a:lnTo>
                    <a:pt x="138721" y="45365"/>
                  </a:lnTo>
                  <a:lnTo>
                    <a:pt x="138371" y="47144"/>
                  </a:lnTo>
                  <a:lnTo>
                    <a:pt x="140209" y="50371"/>
                  </a:lnTo>
                  <a:lnTo>
                    <a:pt x="141388" y="51923"/>
                  </a:lnTo>
                  <a:lnTo>
                    <a:pt x="142535" y="53019"/>
                  </a:lnTo>
                  <a:lnTo>
                    <a:pt x="142748" y="53885"/>
                  </a:lnTo>
                  <a:lnTo>
                    <a:pt x="142511" y="54592"/>
                  </a:lnTo>
                  <a:lnTo>
                    <a:pt x="141083" y="55279"/>
                  </a:lnTo>
                  <a:lnTo>
                    <a:pt x="140571" y="56014"/>
                  </a:lnTo>
                  <a:lnTo>
                    <a:pt x="140334" y="56839"/>
                  </a:lnTo>
                  <a:lnTo>
                    <a:pt x="140792" y="57796"/>
                  </a:lnTo>
                  <a:lnTo>
                    <a:pt x="141617" y="60848"/>
                  </a:lnTo>
                  <a:lnTo>
                    <a:pt x="142668" y="63220"/>
                  </a:lnTo>
                  <a:lnTo>
                    <a:pt x="144160" y="64354"/>
                  </a:lnTo>
                  <a:lnTo>
                    <a:pt x="146391" y="65106"/>
                  </a:lnTo>
                  <a:lnTo>
                    <a:pt x="147620" y="64947"/>
                  </a:lnTo>
                  <a:lnTo>
                    <a:pt x="148499" y="63179"/>
                  </a:lnTo>
                  <a:lnTo>
                    <a:pt x="149959" y="61821"/>
                  </a:lnTo>
                  <a:lnTo>
                    <a:pt x="151196" y="61916"/>
                  </a:lnTo>
                  <a:lnTo>
                    <a:pt x="153189" y="61857"/>
                  </a:lnTo>
                  <a:lnTo>
                    <a:pt x="158421" y="63398"/>
                  </a:lnTo>
                  <a:lnTo>
                    <a:pt x="163528" y="65715"/>
                  </a:lnTo>
                  <a:lnTo>
                    <a:pt x="165016" y="66995"/>
                  </a:lnTo>
                  <a:lnTo>
                    <a:pt x="165539" y="68436"/>
                  </a:lnTo>
                  <a:lnTo>
                    <a:pt x="164126" y="71766"/>
                  </a:lnTo>
                  <a:lnTo>
                    <a:pt x="164193" y="73895"/>
                  </a:lnTo>
                  <a:lnTo>
                    <a:pt x="164515" y="76160"/>
                  </a:lnTo>
                  <a:lnTo>
                    <a:pt x="165683" y="77841"/>
                  </a:lnTo>
                  <a:lnTo>
                    <a:pt x="166752" y="80720"/>
                  </a:lnTo>
                  <a:lnTo>
                    <a:pt x="166961" y="83104"/>
                  </a:lnTo>
                  <a:lnTo>
                    <a:pt x="167426" y="83814"/>
                  </a:lnTo>
                  <a:lnTo>
                    <a:pt x="167802" y="84645"/>
                  </a:lnTo>
                  <a:lnTo>
                    <a:pt x="167227" y="86824"/>
                  </a:lnTo>
                  <a:lnTo>
                    <a:pt x="166828" y="89020"/>
                  </a:lnTo>
                  <a:lnTo>
                    <a:pt x="167305" y="89751"/>
                  </a:lnTo>
                  <a:lnTo>
                    <a:pt x="168866" y="90835"/>
                  </a:lnTo>
                  <a:lnTo>
                    <a:pt x="171321" y="92854"/>
                  </a:lnTo>
                  <a:lnTo>
                    <a:pt x="171792" y="94527"/>
                  </a:lnTo>
                  <a:lnTo>
                    <a:pt x="170913" y="95590"/>
                  </a:lnTo>
                  <a:lnTo>
                    <a:pt x="169352" y="96877"/>
                  </a:lnTo>
                  <a:lnTo>
                    <a:pt x="167357" y="97987"/>
                  </a:lnTo>
                  <a:lnTo>
                    <a:pt x="166763" y="98455"/>
                  </a:lnTo>
                  <a:lnTo>
                    <a:pt x="166411" y="98191"/>
                  </a:lnTo>
                  <a:lnTo>
                    <a:pt x="165418" y="97071"/>
                  </a:lnTo>
                  <a:lnTo>
                    <a:pt x="163208" y="95258"/>
                  </a:lnTo>
                  <a:lnTo>
                    <a:pt x="161635" y="94303"/>
                  </a:lnTo>
                  <a:lnTo>
                    <a:pt x="158646" y="94612"/>
                  </a:lnTo>
                  <a:lnTo>
                    <a:pt x="156892" y="94275"/>
                  </a:lnTo>
                  <a:lnTo>
                    <a:pt x="154772" y="93684"/>
                  </a:lnTo>
                  <a:lnTo>
                    <a:pt x="152796" y="93769"/>
                  </a:lnTo>
                  <a:lnTo>
                    <a:pt x="151555" y="94865"/>
                  </a:lnTo>
                  <a:lnTo>
                    <a:pt x="150749" y="95962"/>
                  </a:lnTo>
                  <a:lnTo>
                    <a:pt x="148773" y="96299"/>
                  </a:lnTo>
                  <a:lnTo>
                    <a:pt x="145923" y="97142"/>
                  </a:lnTo>
                  <a:lnTo>
                    <a:pt x="141518" y="98451"/>
                  </a:lnTo>
                  <a:lnTo>
                    <a:pt x="139392" y="98258"/>
                  </a:lnTo>
                  <a:lnTo>
                    <a:pt x="138818" y="97692"/>
                  </a:lnTo>
                  <a:lnTo>
                    <a:pt x="139289" y="96937"/>
                  </a:lnTo>
                  <a:lnTo>
                    <a:pt x="140803" y="95962"/>
                  </a:lnTo>
                  <a:lnTo>
                    <a:pt x="141168" y="94780"/>
                  </a:lnTo>
                  <a:lnTo>
                    <a:pt x="140876" y="93684"/>
                  </a:lnTo>
                  <a:lnTo>
                    <a:pt x="139473" y="93385"/>
                  </a:lnTo>
                  <a:lnTo>
                    <a:pt x="138931" y="93213"/>
                  </a:lnTo>
                  <a:lnTo>
                    <a:pt x="138313" y="92988"/>
                  </a:lnTo>
                  <a:lnTo>
                    <a:pt x="135586" y="92333"/>
                  </a:lnTo>
                  <a:lnTo>
                    <a:pt x="133409" y="92574"/>
                  </a:lnTo>
                  <a:lnTo>
                    <a:pt x="129611" y="93946"/>
                  </a:lnTo>
                  <a:lnTo>
                    <a:pt x="122632" y="97540"/>
                  </a:lnTo>
                  <a:lnTo>
                    <a:pt x="119570" y="99956"/>
                  </a:lnTo>
                  <a:lnTo>
                    <a:pt x="117367" y="103612"/>
                  </a:lnTo>
                  <a:lnTo>
                    <a:pt x="110764" y="104786"/>
                  </a:lnTo>
                  <a:lnTo>
                    <a:pt x="106224" y="106879"/>
                  </a:lnTo>
                  <a:lnTo>
                    <a:pt x="101547" y="110285"/>
                  </a:lnTo>
                  <a:lnTo>
                    <a:pt x="98453" y="112116"/>
                  </a:lnTo>
                  <a:lnTo>
                    <a:pt x="96944" y="112376"/>
                  </a:lnTo>
                  <a:lnTo>
                    <a:pt x="95436" y="112050"/>
                  </a:lnTo>
                  <a:lnTo>
                    <a:pt x="93929" y="111136"/>
                  </a:lnTo>
                  <a:lnTo>
                    <a:pt x="92456" y="108287"/>
                  </a:lnTo>
                  <a:lnTo>
                    <a:pt x="91152" y="103968"/>
                  </a:lnTo>
                  <a:lnTo>
                    <a:pt x="90290" y="101106"/>
                  </a:lnTo>
                  <a:lnTo>
                    <a:pt x="90774" y="97431"/>
                  </a:lnTo>
                  <a:lnTo>
                    <a:pt x="91325" y="93243"/>
                  </a:lnTo>
                  <a:lnTo>
                    <a:pt x="91886" y="88981"/>
                  </a:lnTo>
                  <a:lnTo>
                    <a:pt x="92795" y="84053"/>
                  </a:lnTo>
                  <a:lnTo>
                    <a:pt x="93551" y="82296"/>
                  </a:lnTo>
                  <a:lnTo>
                    <a:pt x="93592" y="81122"/>
                  </a:lnTo>
                  <a:lnTo>
                    <a:pt x="92923" y="80531"/>
                  </a:lnTo>
                  <a:lnTo>
                    <a:pt x="91504" y="80564"/>
                  </a:lnTo>
                  <a:lnTo>
                    <a:pt x="89334" y="81219"/>
                  </a:lnTo>
                  <a:lnTo>
                    <a:pt x="87792" y="81333"/>
                  </a:lnTo>
                  <a:lnTo>
                    <a:pt x="86876" y="80909"/>
                  </a:lnTo>
                  <a:lnTo>
                    <a:pt x="86971" y="78615"/>
                  </a:lnTo>
                  <a:lnTo>
                    <a:pt x="88075" y="74450"/>
                  </a:lnTo>
                  <a:lnTo>
                    <a:pt x="86376" y="70938"/>
                  </a:lnTo>
                  <a:lnTo>
                    <a:pt x="81871" y="68087"/>
                  </a:lnTo>
                  <a:lnTo>
                    <a:pt x="78040" y="67095"/>
                  </a:lnTo>
                  <a:lnTo>
                    <a:pt x="74879" y="67966"/>
                  </a:lnTo>
                  <a:lnTo>
                    <a:pt x="72223" y="70232"/>
                  </a:lnTo>
                  <a:lnTo>
                    <a:pt x="70072" y="73892"/>
                  </a:lnTo>
                  <a:lnTo>
                    <a:pt x="67843" y="76883"/>
                  </a:lnTo>
                  <a:lnTo>
                    <a:pt x="65533" y="79207"/>
                  </a:lnTo>
                  <a:lnTo>
                    <a:pt x="63885" y="80325"/>
                  </a:lnTo>
                  <a:lnTo>
                    <a:pt x="63352" y="80755"/>
                  </a:lnTo>
                  <a:lnTo>
                    <a:pt x="63015" y="81738"/>
                  </a:lnTo>
                  <a:lnTo>
                    <a:pt x="64244" y="84827"/>
                  </a:lnTo>
                  <a:lnTo>
                    <a:pt x="64166" y="87416"/>
                  </a:lnTo>
                  <a:lnTo>
                    <a:pt x="62778" y="89504"/>
                  </a:lnTo>
                  <a:lnTo>
                    <a:pt x="61255" y="90499"/>
                  </a:lnTo>
                  <a:lnTo>
                    <a:pt x="59595" y="90404"/>
                  </a:lnTo>
                  <a:lnTo>
                    <a:pt x="58273" y="89920"/>
                  </a:lnTo>
                  <a:lnTo>
                    <a:pt x="57293" y="89048"/>
                  </a:lnTo>
                  <a:lnTo>
                    <a:pt x="54645" y="88812"/>
                  </a:lnTo>
                  <a:lnTo>
                    <a:pt x="50331" y="89208"/>
                  </a:lnTo>
                  <a:lnTo>
                    <a:pt x="47375" y="90255"/>
                  </a:lnTo>
                  <a:lnTo>
                    <a:pt x="45783" y="91949"/>
                  </a:lnTo>
                  <a:lnTo>
                    <a:pt x="45321" y="94180"/>
                  </a:lnTo>
                  <a:lnTo>
                    <a:pt x="45995" y="96946"/>
                  </a:lnTo>
                  <a:lnTo>
                    <a:pt x="45658" y="99063"/>
                  </a:lnTo>
                  <a:lnTo>
                    <a:pt x="44317" y="100533"/>
                  </a:lnTo>
                  <a:lnTo>
                    <a:pt x="43213" y="101376"/>
                  </a:lnTo>
                  <a:lnTo>
                    <a:pt x="42350" y="101593"/>
                  </a:lnTo>
                  <a:lnTo>
                    <a:pt x="40478" y="100323"/>
                  </a:lnTo>
                  <a:lnTo>
                    <a:pt x="37599" y="97566"/>
                  </a:lnTo>
                  <a:lnTo>
                    <a:pt x="35619" y="96074"/>
                  </a:lnTo>
                  <a:lnTo>
                    <a:pt x="34544" y="95848"/>
                  </a:lnTo>
                  <a:lnTo>
                    <a:pt x="33956" y="95997"/>
                  </a:lnTo>
                  <a:lnTo>
                    <a:pt x="33295" y="96283"/>
                  </a:lnTo>
                  <a:lnTo>
                    <a:pt x="32922" y="96641"/>
                  </a:lnTo>
                  <a:lnTo>
                    <a:pt x="32596" y="97459"/>
                  </a:lnTo>
                  <a:lnTo>
                    <a:pt x="31674" y="97783"/>
                  </a:lnTo>
                  <a:lnTo>
                    <a:pt x="30374" y="97528"/>
                  </a:lnTo>
                  <a:lnTo>
                    <a:pt x="29178" y="97773"/>
                  </a:lnTo>
                  <a:lnTo>
                    <a:pt x="28467" y="98638"/>
                  </a:lnTo>
                  <a:lnTo>
                    <a:pt x="26466" y="99683"/>
                  </a:lnTo>
                  <a:lnTo>
                    <a:pt x="22937" y="100852"/>
                  </a:lnTo>
                  <a:lnTo>
                    <a:pt x="21004" y="102101"/>
                  </a:lnTo>
                  <a:lnTo>
                    <a:pt x="20678" y="103427"/>
                  </a:lnTo>
                  <a:lnTo>
                    <a:pt x="20151" y="104018"/>
                  </a:lnTo>
                  <a:lnTo>
                    <a:pt x="19072" y="103804"/>
                  </a:lnTo>
                  <a:lnTo>
                    <a:pt x="15880" y="105627"/>
                  </a:lnTo>
                  <a:lnTo>
                    <a:pt x="13453" y="105062"/>
                  </a:lnTo>
                  <a:lnTo>
                    <a:pt x="10721" y="102718"/>
                  </a:lnTo>
                  <a:lnTo>
                    <a:pt x="9208" y="100785"/>
                  </a:lnTo>
                  <a:lnTo>
                    <a:pt x="9052" y="99969"/>
                  </a:lnTo>
                  <a:lnTo>
                    <a:pt x="9916" y="98115"/>
                  </a:lnTo>
                  <a:lnTo>
                    <a:pt x="10276" y="91942"/>
                  </a:lnTo>
                  <a:lnTo>
                    <a:pt x="11365" y="89805"/>
                  </a:lnTo>
                  <a:lnTo>
                    <a:pt x="14623" y="85964"/>
                  </a:lnTo>
                  <a:lnTo>
                    <a:pt x="16319" y="83034"/>
                  </a:lnTo>
                  <a:lnTo>
                    <a:pt x="18230" y="80653"/>
                  </a:lnTo>
                  <a:lnTo>
                    <a:pt x="19611" y="79852"/>
                  </a:lnTo>
                  <a:lnTo>
                    <a:pt x="20883" y="77974"/>
                  </a:lnTo>
                  <a:lnTo>
                    <a:pt x="21926" y="75822"/>
                  </a:lnTo>
                  <a:lnTo>
                    <a:pt x="22220" y="74469"/>
                  </a:lnTo>
                  <a:lnTo>
                    <a:pt x="22127" y="73403"/>
                  </a:lnTo>
                  <a:lnTo>
                    <a:pt x="21747" y="72716"/>
                  </a:lnTo>
                  <a:lnTo>
                    <a:pt x="19940" y="71258"/>
                  </a:lnTo>
                  <a:lnTo>
                    <a:pt x="17569" y="68981"/>
                  </a:lnTo>
                  <a:lnTo>
                    <a:pt x="16310" y="66654"/>
                  </a:lnTo>
                  <a:lnTo>
                    <a:pt x="15619" y="63683"/>
                  </a:lnTo>
                  <a:lnTo>
                    <a:pt x="15440" y="61612"/>
                  </a:lnTo>
                  <a:lnTo>
                    <a:pt x="17666" y="55901"/>
                  </a:lnTo>
                  <a:lnTo>
                    <a:pt x="17312" y="54945"/>
                  </a:lnTo>
                  <a:lnTo>
                    <a:pt x="16671" y="54057"/>
                  </a:lnTo>
                  <a:lnTo>
                    <a:pt x="15362" y="53499"/>
                  </a:lnTo>
                  <a:lnTo>
                    <a:pt x="13487" y="53258"/>
                  </a:lnTo>
                  <a:lnTo>
                    <a:pt x="11633" y="53514"/>
                  </a:lnTo>
                  <a:lnTo>
                    <a:pt x="9264" y="53534"/>
                  </a:lnTo>
                  <a:lnTo>
                    <a:pt x="7625" y="53214"/>
                  </a:lnTo>
                  <a:lnTo>
                    <a:pt x="7230" y="52855"/>
                  </a:lnTo>
                  <a:lnTo>
                    <a:pt x="7025" y="50251"/>
                  </a:lnTo>
                  <a:lnTo>
                    <a:pt x="6606" y="49685"/>
                  </a:lnTo>
                  <a:lnTo>
                    <a:pt x="5901" y="49187"/>
                  </a:lnTo>
                  <a:lnTo>
                    <a:pt x="1123" y="47986"/>
                  </a:lnTo>
                  <a:lnTo>
                    <a:pt x="177" y="47468"/>
                  </a:lnTo>
                  <a:lnTo>
                    <a:pt x="0" y="46810"/>
                  </a:lnTo>
                  <a:lnTo>
                    <a:pt x="1693" y="41015"/>
                  </a:lnTo>
                  <a:lnTo>
                    <a:pt x="2431" y="40578"/>
                  </a:lnTo>
                  <a:lnTo>
                    <a:pt x="3142" y="39635"/>
                  </a:lnTo>
                  <a:lnTo>
                    <a:pt x="4265" y="38625"/>
                  </a:lnTo>
                  <a:lnTo>
                    <a:pt x="8169" y="36969"/>
                  </a:lnTo>
                  <a:lnTo>
                    <a:pt x="12360" y="37686"/>
                  </a:lnTo>
                  <a:lnTo>
                    <a:pt x="16088" y="38456"/>
                  </a:lnTo>
                  <a:lnTo>
                    <a:pt x="19797" y="38868"/>
                  </a:lnTo>
                  <a:lnTo>
                    <a:pt x="21082" y="39143"/>
                  </a:lnTo>
                  <a:lnTo>
                    <a:pt x="23205" y="39372"/>
                  </a:lnTo>
                  <a:lnTo>
                    <a:pt x="24626" y="39168"/>
                  </a:lnTo>
                  <a:lnTo>
                    <a:pt x="25591" y="38491"/>
                  </a:lnTo>
                  <a:lnTo>
                    <a:pt x="27342" y="36616"/>
                  </a:lnTo>
                  <a:lnTo>
                    <a:pt x="27878" y="33799"/>
                  </a:lnTo>
                  <a:lnTo>
                    <a:pt x="28510" y="31311"/>
                  </a:lnTo>
                  <a:lnTo>
                    <a:pt x="29571" y="31118"/>
                  </a:lnTo>
                  <a:lnTo>
                    <a:pt x="30639" y="31380"/>
                  </a:lnTo>
                  <a:lnTo>
                    <a:pt x="31147" y="30876"/>
                  </a:lnTo>
                  <a:lnTo>
                    <a:pt x="31363" y="30192"/>
                  </a:lnTo>
                  <a:lnTo>
                    <a:pt x="31581" y="29610"/>
                  </a:lnTo>
                  <a:lnTo>
                    <a:pt x="32019" y="29481"/>
                  </a:lnTo>
                  <a:lnTo>
                    <a:pt x="32788" y="30128"/>
                  </a:lnTo>
                  <a:lnTo>
                    <a:pt x="33226" y="29954"/>
                  </a:lnTo>
                  <a:lnTo>
                    <a:pt x="33592" y="29524"/>
                  </a:lnTo>
                  <a:lnTo>
                    <a:pt x="33483" y="29007"/>
                  </a:lnTo>
                  <a:lnTo>
                    <a:pt x="32611" y="28135"/>
                  </a:lnTo>
                  <a:lnTo>
                    <a:pt x="31838" y="26765"/>
                  </a:lnTo>
                  <a:lnTo>
                    <a:pt x="31911" y="26291"/>
                  </a:lnTo>
                  <a:lnTo>
                    <a:pt x="32175" y="25800"/>
                  </a:lnTo>
                  <a:lnTo>
                    <a:pt x="34470" y="25334"/>
                  </a:lnTo>
                  <a:lnTo>
                    <a:pt x="35513" y="25252"/>
                  </a:lnTo>
                  <a:lnTo>
                    <a:pt x="35876" y="24767"/>
                  </a:lnTo>
                  <a:lnTo>
                    <a:pt x="35742" y="23993"/>
                  </a:lnTo>
                  <a:lnTo>
                    <a:pt x="34876" y="23556"/>
                  </a:lnTo>
                  <a:lnTo>
                    <a:pt x="31730" y="23797"/>
                  </a:lnTo>
                  <a:lnTo>
                    <a:pt x="28528" y="23742"/>
                  </a:lnTo>
                  <a:lnTo>
                    <a:pt x="28145" y="23271"/>
                  </a:lnTo>
                  <a:lnTo>
                    <a:pt x="28327" y="22753"/>
                  </a:lnTo>
                  <a:lnTo>
                    <a:pt x="28810" y="22346"/>
                  </a:lnTo>
                  <a:lnTo>
                    <a:pt x="35427" y="21303"/>
                  </a:lnTo>
                  <a:lnTo>
                    <a:pt x="38934" y="21665"/>
                  </a:lnTo>
                  <a:lnTo>
                    <a:pt x="41542" y="22217"/>
                  </a:lnTo>
                  <a:lnTo>
                    <a:pt x="42572" y="21943"/>
                  </a:lnTo>
                  <a:lnTo>
                    <a:pt x="41348" y="19591"/>
                  </a:lnTo>
                  <a:lnTo>
                    <a:pt x="43004" y="19370"/>
                  </a:lnTo>
                  <a:lnTo>
                    <a:pt x="43220" y="18564"/>
                  </a:lnTo>
                  <a:lnTo>
                    <a:pt x="41054" y="12304"/>
                  </a:lnTo>
                  <a:lnTo>
                    <a:pt x="42242" y="11751"/>
                  </a:lnTo>
                  <a:lnTo>
                    <a:pt x="43436" y="10516"/>
                  </a:lnTo>
                  <a:lnTo>
                    <a:pt x="43334" y="8177"/>
                  </a:lnTo>
                  <a:lnTo>
                    <a:pt x="44392" y="7036"/>
                  </a:lnTo>
                  <a:lnTo>
                    <a:pt x="45645" y="6254"/>
                  </a:lnTo>
                  <a:lnTo>
                    <a:pt x="47511" y="7044"/>
                  </a:lnTo>
                  <a:lnTo>
                    <a:pt x="50389" y="9354"/>
                  </a:lnTo>
                  <a:lnTo>
                    <a:pt x="51327" y="9802"/>
                  </a:lnTo>
                  <a:lnTo>
                    <a:pt x="52257" y="9933"/>
                  </a:lnTo>
                  <a:lnTo>
                    <a:pt x="53592" y="9217"/>
                  </a:lnTo>
                  <a:lnTo>
                    <a:pt x="58731" y="6930"/>
                  </a:lnTo>
                  <a:lnTo>
                    <a:pt x="61620" y="5644"/>
                  </a:lnTo>
                  <a:lnTo>
                    <a:pt x="65064" y="3771"/>
                  </a:lnTo>
                  <a:lnTo>
                    <a:pt x="65658" y="3047"/>
                  </a:lnTo>
                  <a:lnTo>
                    <a:pt x="66846" y="196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03" name="ee4p_TM_1_37365">
              <a:extLst>
                <a:ext uri="{FF2B5EF4-FFF2-40B4-BE49-F238E27FC236}">
                  <a16:creationId xmlns:a16="http://schemas.microsoft.com/office/drawing/2014/main" id="{9192EC48-5A74-E920-0F0F-50C07FB483D4}"/>
                </a:ext>
              </a:extLst>
            </p:cNvPr>
            <p:cNvSpPr>
              <a:spLocks noChangeAspect="1"/>
            </p:cNvSpPr>
            <p:nvPr>
              <p:custDataLst>
                <p:tags r:id="rId257"/>
              </p:custDataLst>
            </p:nvPr>
          </p:nvSpPr>
          <p:spPr>
            <a:xfrm>
              <a:off x="7972422" y="3375720"/>
              <a:ext cx="392533" cy="253860"/>
            </a:xfrm>
            <a:custGeom>
              <a:avLst/>
              <a:gdLst>
                <a:gd name="connsiteX0" fmla="*/ 12371 w 312565"/>
                <a:gd name="connsiteY0" fmla="*/ 96822 h 196785"/>
                <a:gd name="connsiteX1" fmla="*/ 13230 w 312565"/>
                <a:gd name="connsiteY1" fmla="*/ 96886 h 196785"/>
                <a:gd name="connsiteX2" fmla="*/ 12412 w 312565"/>
                <a:gd name="connsiteY2" fmla="*/ 98339 h 196785"/>
                <a:gd name="connsiteX3" fmla="*/ 13615 w 312565"/>
                <a:gd name="connsiteY3" fmla="*/ 104406 h 196785"/>
                <a:gd name="connsiteX4" fmla="*/ 13408 w 312565"/>
                <a:gd name="connsiteY4" fmla="*/ 105617 h 196785"/>
                <a:gd name="connsiteX5" fmla="*/ 12207 w 312565"/>
                <a:gd name="connsiteY5" fmla="*/ 101976 h 196785"/>
                <a:gd name="connsiteX6" fmla="*/ 11602 w 312565"/>
                <a:gd name="connsiteY6" fmla="*/ 97956 h 196785"/>
                <a:gd name="connsiteX7" fmla="*/ 134778 w 312565"/>
                <a:gd name="connsiteY7" fmla="*/ 0 h 196785"/>
                <a:gd name="connsiteX8" fmla="*/ 137894 w 312565"/>
                <a:gd name="connsiteY8" fmla="*/ 2735 h 196785"/>
                <a:gd name="connsiteX9" fmla="*/ 141144 w 312565"/>
                <a:gd name="connsiteY9" fmla="*/ 5797 h 196785"/>
                <a:gd name="connsiteX10" fmla="*/ 142336 w 312565"/>
                <a:gd name="connsiteY10" fmla="*/ 6363 h 196785"/>
                <a:gd name="connsiteX11" fmla="*/ 144657 w 312565"/>
                <a:gd name="connsiteY11" fmla="*/ 6687 h 196785"/>
                <a:gd name="connsiteX12" fmla="*/ 146587 w 312565"/>
                <a:gd name="connsiteY12" fmla="*/ 6803 h 196785"/>
                <a:gd name="connsiteX13" fmla="*/ 147393 w 312565"/>
                <a:gd name="connsiteY13" fmla="*/ 7133 h 196785"/>
                <a:gd name="connsiteX14" fmla="*/ 148268 w 312565"/>
                <a:gd name="connsiteY14" fmla="*/ 7926 h 196785"/>
                <a:gd name="connsiteX15" fmla="*/ 149980 w 312565"/>
                <a:gd name="connsiteY15" fmla="*/ 11271 h 196785"/>
                <a:gd name="connsiteX16" fmla="*/ 151699 w 312565"/>
                <a:gd name="connsiteY16" fmla="*/ 12147 h 196785"/>
                <a:gd name="connsiteX17" fmla="*/ 153839 w 312565"/>
                <a:gd name="connsiteY17" fmla="*/ 12780 h 196785"/>
                <a:gd name="connsiteX18" fmla="*/ 160727 w 312565"/>
                <a:gd name="connsiteY18" fmla="*/ 12725 h 196785"/>
                <a:gd name="connsiteX19" fmla="*/ 162843 w 312565"/>
                <a:gd name="connsiteY19" fmla="*/ 12895 h 196785"/>
                <a:gd name="connsiteX20" fmla="*/ 164573 w 312565"/>
                <a:gd name="connsiteY20" fmla="*/ 14469 h 196785"/>
                <a:gd name="connsiteX21" fmla="*/ 165648 w 312565"/>
                <a:gd name="connsiteY21" fmla="*/ 15116 h 196785"/>
                <a:gd name="connsiteX22" fmla="*/ 166111 w 312565"/>
                <a:gd name="connsiteY22" fmla="*/ 15672 h 196785"/>
                <a:gd name="connsiteX23" fmla="*/ 165994 w 312565"/>
                <a:gd name="connsiteY23" fmla="*/ 16365 h 196785"/>
                <a:gd name="connsiteX24" fmla="*/ 165571 w 312565"/>
                <a:gd name="connsiteY24" fmla="*/ 17243 h 196785"/>
                <a:gd name="connsiteX25" fmla="*/ 165517 w 312565"/>
                <a:gd name="connsiteY25" fmla="*/ 18935 h 196785"/>
                <a:gd name="connsiteX26" fmla="*/ 165405 w 312565"/>
                <a:gd name="connsiteY26" fmla="*/ 20243 h 196785"/>
                <a:gd name="connsiteX27" fmla="*/ 164856 w 312565"/>
                <a:gd name="connsiteY27" fmla="*/ 20864 h 196785"/>
                <a:gd name="connsiteX28" fmla="*/ 164689 w 312565"/>
                <a:gd name="connsiteY28" fmla="*/ 21445 h 196785"/>
                <a:gd name="connsiteX29" fmla="*/ 165149 w 312565"/>
                <a:gd name="connsiteY29" fmla="*/ 21953 h 196785"/>
                <a:gd name="connsiteX30" fmla="*/ 168341 w 312565"/>
                <a:gd name="connsiteY30" fmla="*/ 23199 h 196785"/>
                <a:gd name="connsiteX31" fmla="*/ 169417 w 312565"/>
                <a:gd name="connsiteY31" fmla="*/ 24535 h 196785"/>
                <a:gd name="connsiteX32" fmla="*/ 170224 w 312565"/>
                <a:gd name="connsiteY32" fmla="*/ 25135 h 196785"/>
                <a:gd name="connsiteX33" fmla="*/ 170416 w 312565"/>
                <a:gd name="connsiteY33" fmla="*/ 25964 h 196785"/>
                <a:gd name="connsiteX34" fmla="*/ 169877 w 312565"/>
                <a:gd name="connsiteY34" fmla="*/ 26517 h 196785"/>
                <a:gd name="connsiteX35" fmla="*/ 168378 w 312565"/>
                <a:gd name="connsiteY35" fmla="*/ 26241 h 196785"/>
                <a:gd name="connsiteX36" fmla="*/ 167648 w 312565"/>
                <a:gd name="connsiteY36" fmla="*/ 27115 h 196785"/>
                <a:gd name="connsiteX37" fmla="*/ 167648 w 312565"/>
                <a:gd name="connsiteY37" fmla="*/ 28681 h 196785"/>
                <a:gd name="connsiteX38" fmla="*/ 168719 w 312565"/>
                <a:gd name="connsiteY38" fmla="*/ 30152 h 196785"/>
                <a:gd name="connsiteX39" fmla="*/ 169028 w 312565"/>
                <a:gd name="connsiteY39" fmla="*/ 31497 h 196785"/>
                <a:gd name="connsiteX40" fmla="*/ 168322 w 312565"/>
                <a:gd name="connsiteY40" fmla="*/ 32790 h 196785"/>
                <a:gd name="connsiteX41" fmla="*/ 167497 w 312565"/>
                <a:gd name="connsiteY41" fmla="*/ 34614 h 196785"/>
                <a:gd name="connsiteX42" fmla="*/ 167466 w 312565"/>
                <a:gd name="connsiteY42" fmla="*/ 35905 h 196785"/>
                <a:gd name="connsiteX43" fmla="*/ 167959 w 312565"/>
                <a:gd name="connsiteY43" fmla="*/ 36642 h 196785"/>
                <a:gd name="connsiteX44" fmla="*/ 170399 w 312565"/>
                <a:gd name="connsiteY44" fmla="*/ 37974 h 196785"/>
                <a:gd name="connsiteX45" fmla="*/ 176037 w 312565"/>
                <a:gd name="connsiteY45" fmla="*/ 41332 h 196785"/>
                <a:gd name="connsiteX46" fmla="*/ 177333 w 312565"/>
                <a:gd name="connsiteY46" fmla="*/ 41477 h 196785"/>
                <a:gd name="connsiteX47" fmla="*/ 182669 w 312565"/>
                <a:gd name="connsiteY47" fmla="*/ 40696 h 196785"/>
                <a:gd name="connsiteX48" fmla="*/ 185152 w 312565"/>
                <a:gd name="connsiteY48" fmla="*/ 40619 h 196785"/>
                <a:gd name="connsiteX49" fmla="*/ 186612 w 312565"/>
                <a:gd name="connsiteY49" fmla="*/ 41138 h 196785"/>
                <a:gd name="connsiteX50" fmla="*/ 190741 w 312565"/>
                <a:gd name="connsiteY50" fmla="*/ 41615 h 196785"/>
                <a:gd name="connsiteX51" fmla="*/ 192053 w 312565"/>
                <a:gd name="connsiteY51" fmla="*/ 42151 h 196785"/>
                <a:gd name="connsiteX52" fmla="*/ 193448 w 312565"/>
                <a:gd name="connsiteY52" fmla="*/ 42187 h 196785"/>
                <a:gd name="connsiteX53" fmla="*/ 195362 w 312565"/>
                <a:gd name="connsiteY53" fmla="*/ 42031 h 196785"/>
                <a:gd name="connsiteX54" fmla="*/ 196657 w 312565"/>
                <a:gd name="connsiteY54" fmla="*/ 40528 h 196785"/>
                <a:gd name="connsiteX55" fmla="*/ 197318 w 312565"/>
                <a:gd name="connsiteY55" fmla="*/ 40185 h 196785"/>
                <a:gd name="connsiteX56" fmla="*/ 197899 w 312565"/>
                <a:gd name="connsiteY56" fmla="*/ 39936 h 196785"/>
                <a:gd name="connsiteX57" fmla="*/ 199078 w 312565"/>
                <a:gd name="connsiteY57" fmla="*/ 39897 h 196785"/>
                <a:gd name="connsiteX58" fmla="*/ 202341 w 312565"/>
                <a:gd name="connsiteY58" fmla="*/ 40852 h 196785"/>
                <a:gd name="connsiteX59" fmla="*/ 205776 w 312565"/>
                <a:gd name="connsiteY59" fmla="*/ 42866 h 196785"/>
                <a:gd name="connsiteX60" fmla="*/ 208052 w 312565"/>
                <a:gd name="connsiteY60" fmla="*/ 44702 h 196785"/>
                <a:gd name="connsiteX61" fmla="*/ 209173 w 312565"/>
                <a:gd name="connsiteY61" fmla="*/ 46363 h 196785"/>
                <a:gd name="connsiteX62" fmla="*/ 210590 w 312565"/>
                <a:gd name="connsiteY62" fmla="*/ 49961 h 196785"/>
                <a:gd name="connsiteX63" fmla="*/ 212302 w 312565"/>
                <a:gd name="connsiteY63" fmla="*/ 55488 h 196785"/>
                <a:gd name="connsiteX64" fmla="*/ 214369 w 312565"/>
                <a:gd name="connsiteY64" fmla="*/ 59213 h 196785"/>
                <a:gd name="connsiteX65" fmla="*/ 216791 w 312565"/>
                <a:gd name="connsiteY65" fmla="*/ 61144 h 196785"/>
                <a:gd name="connsiteX66" fmla="*/ 218493 w 312565"/>
                <a:gd name="connsiteY66" fmla="*/ 64686 h 196785"/>
                <a:gd name="connsiteX67" fmla="*/ 219966 w 312565"/>
                <a:gd name="connsiteY67" fmla="*/ 72413 h 196785"/>
                <a:gd name="connsiteX68" fmla="*/ 220886 w 312565"/>
                <a:gd name="connsiteY68" fmla="*/ 73993 h 196785"/>
                <a:gd name="connsiteX69" fmla="*/ 221820 w 312565"/>
                <a:gd name="connsiteY69" fmla="*/ 74815 h 196785"/>
                <a:gd name="connsiteX70" fmla="*/ 224589 w 312565"/>
                <a:gd name="connsiteY70" fmla="*/ 77045 h 196785"/>
                <a:gd name="connsiteX71" fmla="*/ 230253 w 312565"/>
                <a:gd name="connsiteY71" fmla="*/ 80733 h 196785"/>
                <a:gd name="connsiteX72" fmla="*/ 233598 w 312565"/>
                <a:gd name="connsiteY72" fmla="*/ 82908 h 196785"/>
                <a:gd name="connsiteX73" fmla="*/ 238767 w 312565"/>
                <a:gd name="connsiteY73" fmla="*/ 86379 h 196785"/>
                <a:gd name="connsiteX74" fmla="*/ 243503 w 312565"/>
                <a:gd name="connsiteY74" fmla="*/ 89556 h 196785"/>
                <a:gd name="connsiteX75" fmla="*/ 248251 w 312565"/>
                <a:gd name="connsiteY75" fmla="*/ 94452 h 196785"/>
                <a:gd name="connsiteX76" fmla="*/ 249199 w 312565"/>
                <a:gd name="connsiteY76" fmla="*/ 95167 h 196785"/>
                <a:gd name="connsiteX77" fmla="*/ 253375 w 312565"/>
                <a:gd name="connsiteY77" fmla="*/ 97811 h 196785"/>
                <a:gd name="connsiteX78" fmla="*/ 258025 w 312565"/>
                <a:gd name="connsiteY78" fmla="*/ 100519 h 196785"/>
                <a:gd name="connsiteX79" fmla="*/ 261279 w 312565"/>
                <a:gd name="connsiteY79" fmla="*/ 99907 h 196785"/>
                <a:gd name="connsiteX80" fmla="*/ 266181 w 312565"/>
                <a:gd name="connsiteY80" fmla="*/ 104067 h 196785"/>
                <a:gd name="connsiteX81" fmla="*/ 268176 w 312565"/>
                <a:gd name="connsiteY81" fmla="*/ 105610 h 196785"/>
                <a:gd name="connsiteX82" fmla="*/ 269018 w 312565"/>
                <a:gd name="connsiteY82" fmla="*/ 106136 h 196785"/>
                <a:gd name="connsiteX83" fmla="*/ 272572 w 312565"/>
                <a:gd name="connsiteY83" fmla="*/ 107775 h 196785"/>
                <a:gd name="connsiteX84" fmla="*/ 278233 w 312565"/>
                <a:gd name="connsiteY84" fmla="*/ 111202 h 196785"/>
                <a:gd name="connsiteX85" fmla="*/ 285374 w 312565"/>
                <a:gd name="connsiteY85" fmla="*/ 116107 h 196785"/>
                <a:gd name="connsiteX86" fmla="*/ 290090 w 312565"/>
                <a:gd name="connsiteY86" fmla="*/ 118940 h 196785"/>
                <a:gd name="connsiteX87" fmla="*/ 291372 w 312565"/>
                <a:gd name="connsiteY87" fmla="*/ 119271 h 196785"/>
                <a:gd name="connsiteX88" fmla="*/ 292646 w 312565"/>
                <a:gd name="connsiteY88" fmla="*/ 119254 h 196785"/>
                <a:gd name="connsiteX89" fmla="*/ 294011 w 312565"/>
                <a:gd name="connsiteY89" fmla="*/ 118646 h 196785"/>
                <a:gd name="connsiteX90" fmla="*/ 295490 w 312565"/>
                <a:gd name="connsiteY90" fmla="*/ 118165 h 196785"/>
                <a:gd name="connsiteX91" fmla="*/ 298012 w 312565"/>
                <a:gd name="connsiteY91" fmla="*/ 118795 h 196785"/>
                <a:gd name="connsiteX92" fmla="*/ 300746 w 312565"/>
                <a:gd name="connsiteY92" fmla="*/ 119928 h 196785"/>
                <a:gd name="connsiteX93" fmla="*/ 302478 w 312565"/>
                <a:gd name="connsiteY93" fmla="*/ 120786 h 196785"/>
                <a:gd name="connsiteX94" fmla="*/ 304480 w 312565"/>
                <a:gd name="connsiteY94" fmla="*/ 122034 h 196785"/>
                <a:gd name="connsiteX95" fmla="*/ 306065 w 312565"/>
                <a:gd name="connsiteY95" fmla="*/ 123212 h 196785"/>
                <a:gd name="connsiteX96" fmla="*/ 307268 w 312565"/>
                <a:gd name="connsiteY96" fmla="*/ 123757 h 196785"/>
                <a:gd name="connsiteX97" fmla="*/ 311353 w 312565"/>
                <a:gd name="connsiteY97" fmla="*/ 124786 h 196785"/>
                <a:gd name="connsiteX98" fmla="*/ 312055 w 312565"/>
                <a:gd name="connsiteY98" fmla="*/ 125404 h 196785"/>
                <a:gd name="connsiteX99" fmla="*/ 312499 w 312565"/>
                <a:gd name="connsiteY99" fmla="*/ 126092 h 196785"/>
                <a:gd name="connsiteX100" fmla="*/ 312565 w 312565"/>
                <a:gd name="connsiteY100" fmla="*/ 126805 h 196785"/>
                <a:gd name="connsiteX101" fmla="*/ 310271 w 312565"/>
                <a:gd name="connsiteY101" fmla="*/ 130551 h 196785"/>
                <a:gd name="connsiteX102" fmla="*/ 309956 w 312565"/>
                <a:gd name="connsiteY102" fmla="*/ 135322 h 196785"/>
                <a:gd name="connsiteX103" fmla="*/ 309941 w 312565"/>
                <a:gd name="connsiteY103" fmla="*/ 138910 h 196785"/>
                <a:gd name="connsiteX104" fmla="*/ 310198 w 312565"/>
                <a:gd name="connsiteY104" fmla="*/ 141722 h 196785"/>
                <a:gd name="connsiteX105" fmla="*/ 309084 w 312565"/>
                <a:gd name="connsiteY105" fmla="*/ 141817 h 196785"/>
                <a:gd name="connsiteX106" fmla="*/ 306395 w 312565"/>
                <a:gd name="connsiteY106" fmla="*/ 141220 h 196785"/>
                <a:gd name="connsiteX107" fmla="*/ 301046 w 312565"/>
                <a:gd name="connsiteY107" fmla="*/ 140031 h 196785"/>
                <a:gd name="connsiteX108" fmla="*/ 296453 w 312565"/>
                <a:gd name="connsiteY108" fmla="*/ 137648 h 196785"/>
                <a:gd name="connsiteX109" fmla="*/ 293454 w 312565"/>
                <a:gd name="connsiteY109" fmla="*/ 136089 h 196785"/>
                <a:gd name="connsiteX110" fmla="*/ 292985 w 312565"/>
                <a:gd name="connsiteY110" fmla="*/ 136301 h 196785"/>
                <a:gd name="connsiteX111" fmla="*/ 291640 w 312565"/>
                <a:gd name="connsiteY111" fmla="*/ 137366 h 196785"/>
                <a:gd name="connsiteX112" fmla="*/ 290716 w 312565"/>
                <a:gd name="connsiteY112" fmla="*/ 138677 h 196785"/>
                <a:gd name="connsiteX113" fmla="*/ 289981 w 312565"/>
                <a:gd name="connsiteY113" fmla="*/ 141214 h 196785"/>
                <a:gd name="connsiteX114" fmla="*/ 288809 w 312565"/>
                <a:gd name="connsiteY114" fmla="*/ 144202 h 196785"/>
                <a:gd name="connsiteX115" fmla="*/ 283251 w 312565"/>
                <a:gd name="connsiteY115" fmla="*/ 144314 h 196785"/>
                <a:gd name="connsiteX116" fmla="*/ 278519 w 312565"/>
                <a:gd name="connsiteY116" fmla="*/ 144539 h 196785"/>
                <a:gd name="connsiteX117" fmla="*/ 275466 w 312565"/>
                <a:gd name="connsiteY117" fmla="*/ 145670 h 196785"/>
                <a:gd name="connsiteX118" fmla="*/ 272475 w 312565"/>
                <a:gd name="connsiteY118" fmla="*/ 147236 h 196785"/>
                <a:gd name="connsiteX119" fmla="*/ 271726 w 312565"/>
                <a:gd name="connsiteY119" fmla="*/ 149088 h 196785"/>
                <a:gd name="connsiteX120" fmla="*/ 271078 w 312565"/>
                <a:gd name="connsiteY120" fmla="*/ 151491 h 196785"/>
                <a:gd name="connsiteX121" fmla="*/ 269336 w 312565"/>
                <a:gd name="connsiteY121" fmla="*/ 156943 h 196785"/>
                <a:gd name="connsiteX122" fmla="*/ 267749 w 312565"/>
                <a:gd name="connsiteY122" fmla="*/ 161905 h 196785"/>
                <a:gd name="connsiteX123" fmla="*/ 266937 w 312565"/>
                <a:gd name="connsiteY123" fmla="*/ 165120 h 196785"/>
                <a:gd name="connsiteX124" fmla="*/ 265725 w 312565"/>
                <a:gd name="connsiteY124" fmla="*/ 167320 h 196785"/>
                <a:gd name="connsiteX125" fmla="*/ 262342 w 312565"/>
                <a:gd name="connsiteY125" fmla="*/ 170218 h 196785"/>
                <a:gd name="connsiteX126" fmla="*/ 258502 w 312565"/>
                <a:gd name="connsiteY126" fmla="*/ 172167 h 196785"/>
                <a:gd name="connsiteX127" fmla="*/ 256464 w 312565"/>
                <a:gd name="connsiteY127" fmla="*/ 173083 h 196785"/>
                <a:gd name="connsiteX128" fmla="*/ 255561 w 312565"/>
                <a:gd name="connsiteY128" fmla="*/ 174221 h 196785"/>
                <a:gd name="connsiteX129" fmla="*/ 255362 w 312565"/>
                <a:gd name="connsiteY129" fmla="*/ 175294 h 196785"/>
                <a:gd name="connsiteX130" fmla="*/ 254639 w 312565"/>
                <a:gd name="connsiteY130" fmla="*/ 175622 h 196785"/>
                <a:gd name="connsiteX131" fmla="*/ 253056 w 312565"/>
                <a:gd name="connsiteY131" fmla="*/ 175430 h 196785"/>
                <a:gd name="connsiteX132" fmla="*/ 251385 w 312565"/>
                <a:gd name="connsiteY132" fmla="*/ 175616 h 196785"/>
                <a:gd name="connsiteX133" fmla="*/ 247716 w 312565"/>
                <a:gd name="connsiteY133" fmla="*/ 176740 h 196785"/>
                <a:gd name="connsiteX134" fmla="*/ 243745 w 312565"/>
                <a:gd name="connsiteY134" fmla="*/ 178119 h 196785"/>
                <a:gd name="connsiteX135" fmla="*/ 238983 w 312565"/>
                <a:gd name="connsiteY135" fmla="*/ 179499 h 196785"/>
                <a:gd name="connsiteX136" fmla="*/ 236269 w 312565"/>
                <a:gd name="connsiteY136" fmla="*/ 179498 h 196785"/>
                <a:gd name="connsiteX137" fmla="*/ 235187 w 312565"/>
                <a:gd name="connsiteY137" fmla="*/ 179807 h 196785"/>
                <a:gd name="connsiteX138" fmla="*/ 234714 w 312565"/>
                <a:gd name="connsiteY138" fmla="*/ 180499 h 196785"/>
                <a:gd name="connsiteX139" fmla="*/ 235187 w 312565"/>
                <a:gd name="connsiteY139" fmla="*/ 181808 h 196785"/>
                <a:gd name="connsiteX140" fmla="*/ 235647 w 312565"/>
                <a:gd name="connsiteY140" fmla="*/ 182777 h 196785"/>
                <a:gd name="connsiteX141" fmla="*/ 236066 w 312565"/>
                <a:gd name="connsiteY141" fmla="*/ 184040 h 196785"/>
                <a:gd name="connsiteX142" fmla="*/ 234952 w 312565"/>
                <a:gd name="connsiteY142" fmla="*/ 185061 h 196785"/>
                <a:gd name="connsiteX143" fmla="*/ 234174 w 312565"/>
                <a:gd name="connsiteY143" fmla="*/ 186809 h 196785"/>
                <a:gd name="connsiteX144" fmla="*/ 233565 w 312565"/>
                <a:gd name="connsiteY144" fmla="*/ 189882 h 196785"/>
                <a:gd name="connsiteX145" fmla="*/ 231877 w 312565"/>
                <a:gd name="connsiteY145" fmla="*/ 190802 h 196785"/>
                <a:gd name="connsiteX146" fmla="*/ 229173 w 312565"/>
                <a:gd name="connsiteY146" fmla="*/ 192297 h 196785"/>
                <a:gd name="connsiteX147" fmla="*/ 226180 w 312565"/>
                <a:gd name="connsiteY147" fmla="*/ 194263 h 196785"/>
                <a:gd name="connsiteX148" fmla="*/ 225416 w 312565"/>
                <a:gd name="connsiteY148" fmla="*/ 194665 h 196785"/>
                <a:gd name="connsiteX149" fmla="*/ 223701 w 312565"/>
                <a:gd name="connsiteY149" fmla="*/ 195221 h 196785"/>
                <a:gd name="connsiteX150" fmla="*/ 221989 w 312565"/>
                <a:gd name="connsiteY150" fmla="*/ 195053 h 196785"/>
                <a:gd name="connsiteX151" fmla="*/ 220436 w 312565"/>
                <a:gd name="connsiteY151" fmla="*/ 194765 h 196785"/>
                <a:gd name="connsiteX152" fmla="*/ 218750 w 312565"/>
                <a:gd name="connsiteY152" fmla="*/ 195269 h 196785"/>
                <a:gd name="connsiteX153" fmla="*/ 217007 w 312565"/>
                <a:gd name="connsiteY153" fmla="*/ 196785 h 196785"/>
                <a:gd name="connsiteX154" fmla="*/ 216198 w 312565"/>
                <a:gd name="connsiteY154" fmla="*/ 196326 h 196785"/>
                <a:gd name="connsiteX155" fmla="*/ 215791 w 312565"/>
                <a:gd name="connsiteY155" fmla="*/ 194792 h 196785"/>
                <a:gd name="connsiteX156" fmla="*/ 214913 w 312565"/>
                <a:gd name="connsiteY156" fmla="*/ 193796 h 196785"/>
                <a:gd name="connsiteX157" fmla="*/ 212183 w 312565"/>
                <a:gd name="connsiteY157" fmla="*/ 191543 h 196785"/>
                <a:gd name="connsiteX158" fmla="*/ 209844 w 312565"/>
                <a:gd name="connsiteY158" fmla="*/ 189935 h 196785"/>
                <a:gd name="connsiteX159" fmla="*/ 208832 w 312565"/>
                <a:gd name="connsiteY159" fmla="*/ 189830 h 196785"/>
                <a:gd name="connsiteX160" fmla="*/ 206685 w 312565"/>
                <a:gd name="connsiteY160" fmla="*/ 190242 h 196785"/>
                <a:gd name="connsiteX161" fmla="*/ 204003 w 312565"/>
                <a:gd name="connsiteY161" fmla="*/ 190545 h 196785"/>
                <a:gd name="connsiteX162" fmla="*/ 201820 w 312565"/>
                <a:gd name="connsiteY162" fmla="*/ 190221 h 196785"/>
                <a:gd name="connsiteX163" fmla="*/ 200091 w 312565"/>
                <a:gd name="connsiteY163" fmla="*/ 189579 h 196785"/>
                <a:gd name="connsiteX164" fmla="*/ 197415 w 312565"/>
                <a:gd name="connsiteY164" fmla="*/ 187369 h 196785"/>
                <a:gd name="connsiteX165" fmla="*/ 196441 w 312565"/>
                <a:gd name="connsiteY165" fmla="*/ 186179 h 196785"/>
                <a:gd name="connsiteX166" fmla="*/ 195712 w 312565"/>
                <a:gd name="connsiteY166" fmla="*/ 185264 h 196785"/>
                <a:gd name="connsiteX167" fmla="*/ 193883 w 312565"/>
                <a:gd name="connsiteY167" fmla="*/ 185513 h 196785"/>
                <a:gd name="connsiteX168" fmla="*/ 193371 w 312565"/>
                <a:gd name="connsiteY168" fmla="*/ 184514 h 196785"/>
                <a:gd name="connsiteX169" fmla="*/ 193297 w 312565"/>
                <a:gd name="connsiteY169" fmla="*/ 183349 h 196785"/>
                <a:gd name="connsiteX170" fmla="*/ 193809 w 312565"/>
                <a:gd name="connsiteY170" fmla="*/ 181932 h 196785"/>
                <a:gd name="connsiteX171" fmla="*/ 193664 w 312565"/>
                <a:gd name="connsiteY171" fmla="*/ 179266 h 196785"/>
                <a:gd name="connsiteX172" fmla="*/ 192641 w 312565"/>
                <a:gd name="connsiteY172" fmla="*/ 177348 h 196785"/>
                <a:gd name="connsiteX173" fmla="*/ 191470 w 312565"/>
                <a:gd name="connsiteY173" fmla="*/ 176514 h 196785"/>
                <a:gd name="connsiteX174" fmla="*/ 191615 w 312565"/>
                <a:gd name="connsiteY174" fmla="*/ 175930 h 196785"/>
                <a:gd name="connsiteX175" fmla="*/ 192127 w 312565"/>
                <a:gd name="connsiteY175" fmla="*/ 174594 h 196785"/>
                <a:gd name="connsiteX176" fmla="*/ 192785 w 312565"/>
                <a:gd name="connsiteY176" fmla="*/ 173426 h 196785"/>
                <a:gd name="connsiteX177" fmla="*/ 192777 w 312565"/>
                <a:gd name="connsiteY177" fmla="*/ 171116 h 196785"/>
                <a:gd name="connsiteX178" fmla="*/ 191961 w 312565"/>
                <a:gd name="connsiteY178" fmla="*/ 168610 h 196785"/>
                <a:gd name="connsiteX179" fmla="*/ 191634 w 312565"/>
                <a:gd name="connsiteY179" fmla="*/ 164990 h 196785"/>
                <a:gd name="connsiteX180" fmla="*/ 191846 w 312565"/>
                <a:gd name="connsiteY180" fmla="*/ 161455 h 196785"/>
                <a:gd name="connsiteX181" fmla="*/ 190734 w 312565"/>
                <a:gd name="connsiteY181" fmla="*/ 159673 h 196785"/>
                <a:gd name="connsiteX182" fmla="*/ 181630 w 312565"/>
                <a:gd name="connsiteY182" fmla="*/ 159663 h 196785"/>
                <a:gd name="connsiteX183" fmla="*/ 173524 w 312565"/>
                <a:gd name="connsiteY183" fmla="*/ 159798 h 196785"/>
                <a:gd name="connsiteX184" fmla="*/ 173068 w 312565"/>
                <a:gd name="connsiteY184" fmla="*/ 159394 h 196785"/>
                <a:gd name="connsiteX185" fmla="*/ 169920 w 312565"/>
                <a:gd name="connsiteY185" fmla="*/ 154931 h 196785"/>
                <a:gd name="connsiteX186" fmla="*/ 167365 w 312565"/>
                <a:gd name="connsiteY186" fmla="*/ 151540 h 196785"/>
                <a:gd name="connsiteX187" fmla="*/ 164841 w 312565"/>
                <a:gd name="connsiteY187" fmla="*/ 149538 h 196785"/>
                <a:gd name="connsiteX188" fmla="*/ 159060 w 312565"/>
                <a:gd name="connsiteY188" fmla="*/ 147072 h 196785"/>
                <a:gd name="connsiteX189" fmla="*/ 156296 w 312565"/>
                <a:gd name="connsiteY189" fmla="*/ 146043 h 196785"/>
                <a:gd name="connsiteX190" fmla="*/ 153925 w 312565"/>
                <a:gd name="connsiteY190" fmla="*/ 144160 h 196785"/>
                <a:gd name="connsiteX191" fmla="*/ 151988 w 312565"/>
                <a:gd name="connsiteY191" fmla="*/ 142098 h 196785"/>
                <a:gd name="connsiteX192" fmla="*/ 151487 w 312565"/>
                <a:gd name="connsiteY192" fmla="*/ 139266 h 196785"/>
                <a:gd name="connsiteX193" fmla="*/ 151094 w 312565"/>
                <a:gd name="connsiteY193" fmla="*/ 138337 h 196785"/>
                <a:gd name="connsiteX194" fmla="*/ 150537 w 312565"/>
                <a:gd name="connsiteY194" fmla="*/ 137584 h 196785"/>
                <a:gd name="connsiteX195" fmla="*/ 149926 w 312565"/>
                <a:gd name="connsiteY195" fmla="*/ 137249 h 196785"/>
                <a:gd name="connsiteX196" fmla="*/ 149190 w 312565"/>
                <a:gd name="connsiteY196" fmla="*/ 137325 h 196785"/>
                <a:gd name="connsiteX197" fmla="*/ 142476 w 312565"/>
                <a:gd name="connsiteY197" fmla="*/ 134032 h 196785"/>
                <a:gd name="connsiteX198" fmla="*/ 139783 w 312565"/>
                <a:gd name="connsiteY198" fmla="*/ 133167 h 196785"/>
                <a:gd name="connsiteX199" fmla="*/ 137248 w 312565"/>
                <a:gd name="connsiteY199" fmla="*/ 133863 h 196785"/>
                <a:gd name="connsiteX200" fmla="*/ 136130 w 312565"/>
                <a:gd name="connsiteY200" fmla="*/ 133983 h 196785"/>
                <a:gd name="connsiteX201" fmla="*/ 133925 w 312565"/>
                <a:gd name="connsiteY201" fmla="*/ 133047 h 196785"/>
                <a:gd name="connsiteX202" fmla="*/ 131388 w 312565"/>
                <a:gd name="connsiteY202" fmla="*/ 134316 h 196785"/>
                <a:gd name="connsiteX203" fmla="*/ 130304 w 312565"/>
                <a:gd name="connsiteY203" fmla="*/ 134397 h 196785"/>
                <a:gd name="connsiteX204" fmla="*/ 128788 w 312565"/>
                <a:gd name="connsiteY204" fmla="*/ 134094 h 196785"/>
                <a:gd name="connsiteX205" fmla="*/ 127537 w 312565"/>
                <a:gd name="connsiteY205" fmla="*/ 133619 h 196785"/>
                <a:gd name="connsiteX206" fmla="*/ 124158 w 312565"/>
                <a:gd name="connsiteY206" fmla="*/ 130620 h 196785"/>
                <a:gd name="connsiteX207" fmla="*/ 121323 w 312565"/>
                <a:gd name="connsiteY207" fmla="*/ 129406 h 196785"/>
                <a:gd name="connsiteX208" fmla="*/ 119280 w 312565"/>
                <a:gd name="connsiteY208" fmla="*/ 128629 h 196785"/>
                <a:gd name="connsiteX209" fmla="*/ 115352 w 312565"/>
                <a:gd name="connsiteY209" fmla="*/ 127490 h 196785"/>
                <a:gd name="connsiteX210" fmla="*/ 111161 w 312565"/>
                <a:gd name="connsiteY210" fmla="*/ 126896 h 196785"/>
                <a:gd name="connsiteX211" fmla="*/ 109012 w 312565"/>
                <a:gd name="connsiteY211" fmla="*/ 126403 h 196785"/>
                <a:gd name="connsiteX212" fmla="*/ 107462 w 312565"/>
                <a:gd name="connsiteY212" fmla="*/ 125746 h 196785"/>
                <a:gd name="connsiteX213" fmla="*/ 107064 w 312565"/>
                <a:gd name="connsiteY213" fmla="*/ 125321 h 196785"/>
                <a:gd name="connsiteX214" fmla="*/ 107086 w 312565"/>
                <a:gd name="connsiteY214" fmla="*/ 124219 h 196785"/>
                <a:gd name="connsiteX215" fmla="*/ 106969 w 312565"/>
                <a:gd name="connsiteY215" fmla="*/ 122772 h 196785"/>
                <a:gd name="connsiteX216" fmla="*/ 106453 w 312565"/>
                <a:gd name="connsiteY216" fmla="*/ 121719 h 196785"/>
                <a:gd name="connsiteX217" fmla="*/ 105393 w 312565"/>
                <a:gd name="connsiteY217" fmla="*/ 120456 h 196785"/>
                <a:gd name="connsiteX218" fmla="*/ 103920 w 312565"/>
                <a:gd name="connsiteY218" fmla="*/ 119510 h 196785"/>
                <a:gd name="connsiteX219" fmla="*/ 101387 w 312565"/>
                <a:gd name="connsiteY219" fmla="*/ 119676 h 196785"/>
                <a:gd name="connsiteX220" fmla="*/ 97576 w 312565"/>
                <a:gd name="connsiteY220" fmla="*/ 119597 h 196785"/>
                <a:gd name="connsiteX221" fmla="*/ 94657 w 312565"/>
                <a:gd name="connsiteY221" fmla="*/ 118646 h 196785"/>
                <a:gd name="connsiteX222" fmla="*/ 92342 w 312565"/>
                <a:gd name="connsiteY222" fmla="*/ 118477 h 196785"/>
                <a:gd name="connsiteX223" fmla="*/ 89558 w 312565"/>
                <a:gd name="connsiteY223" fmla="*/ 118657 h 196785"/>
                <a:gd name="connsiteX224" fmla="*/ 87271 w 312565"/>
                <a:gd name="connsiteY224" fmla="*/ 118662 h 196785"/>
                <a:gd name="connsiteX225" fmla="*/ 85641 w 312565"/>
                <a:gd name="connsiteY225" fmla="*/ 119353 h 196785"/>
                <a:gd name="connsiteX226" fmla="*/ 84695 w 312565"/>
                <a:gd name="connsiteY226" fmla="*/ 120159 h 196785"/>
                <a:gd name="connsiteX227" fmla="*/ 84095 w 312565"/>
                <a:gd name="connsiteY227" fmla="*/ 122631 h 196785"/>
                <a:gd name="connsiteX228" fmla="*/ 83544 w 312565"/>
                <a:gd name="connsiteY228" fmla="*/ 123001 h 196785"/>
                <a:gd name="connsiteX229" fmla="*/ 82587 w 312565"/>
                <a:gd name="connsiteY229" fmla="*/ 123181 h 196785"/>
                <a:gd name="connsiteX230" fmla="*/ 81314 w 312565"/>
                <a:gd name="connsiteY230" fmla="*/ 123053 h 196785"/>
                <a:gd name="connsiteX231" fmla="*/ 78640 w 312565"/>
                <a:gd name="connsiteY231" fmla="*/ 123074 h 196785"/>
                <a:gd name="connsiteX232" fmla="*/ 74019 w 312565"/>
                <a:gd name="connsiteY232" fmla="*/ 122636 h 196785"/>
                <a:gd name="connsiteX233" fmla="*/ 68206 w 312565"/>
                <a:gd name="connsiteY233" fmla="*/ 122505 h 196785"/>
                <a:gd name="connsiteX234" fmla="*/ 63838 w 312565"/>
                <a:gd name="connsiteY234" fmla="*/ 123752 h 196785"/>
                <a:gd name="connsiteX235" fmla="*/ 60385 w 312565"/>
                <a:gd name="connsiteY235" fmla="*/ 125541 h 196785"/>
                <a:gd name="connsiteX236" fmla="*/ 57087 w 312565"/>
                <a:gd name="connsiteY236" fmla="*/ 127562 h 196785"/>
                <a:gd name="connsiteX237" fmla="*/ 53207 w 312565"/>
                <a:gd name="connsiteY237" fmla="*/ 130751 h 196785"/>
                <a:gd name="connsiteX238" fmla="*/ 52069 w 312565"/>
                <a:gd name="connsiteY238" fmla="*/ 132165 h 196785"/>
                <a:gd name="connsiteX239" fmla="*/ 49782 w 312565"/>
                <a:gd name="connsiteY239" fmla="*/ 137807 h 196785"/>
                <a:gd name="connsiteX240" fmla="*/ 48769 w 312565"/>
                <a:gd name="connsiteY240" fmla="*/ 138617 h 196785"/>
                <a:gd name="connsiteX241" fmla="*/ 47448 w 312565"/>
                <a:gd name="connsiteY241" fmla="*/ 139266 h 196785"/>
                <a:gd name="connsiteX242" fmla="*/ 46105 w 312565"/>
                <a:gd name="connsiteY242" fmla="*/ 139381 h 196785"/>
                <a:gd name="connsiteX243" fmla="*/ 43446 w 312565"/>
                <a:gd name="connsiteY243" fmla="*/ 140214 h 196785"/>
                <a:gd name="connsiteX244" fmla="*/ 39933 w 312565"/>
                <a:gd name="connsiteY244" fmla="*/ 141591 h 196785"/>
                <a:gd name="connsiteX245" fmla="*/ 37541 w 312565"/>
                <a:gd name="connsiteY245" fmla="*/ 142130 h 196785"/>
                <a:gd name="connsiteX246" fmla="*/ 31406 w 312565"/>
                <a:gd name="connsiteY246" fmla="*/ 141847 h 196785"/>
                <a:gd name="connsiteX247" fmla="*/ 31045 w 312565"/>
                <a:gd name="connsiteY247" fmla="*/ 140061 h 196785"/>
                <a:gd name="connsiteX248" fmla="*/ 29940 w 312565"/>
                <a:gd name="connsiteY248" fmla="*/ 133523 h 196785"/>
                <a:gd name="connsiteX249" fmla="*/ 29402 w 312565"/>
                <a:gd name="connsiteY249" fmla="*/ 126910 h 196785"/>
                <a:gd name="connsiteX250" fmla="*/ 29439 w 312565"/>
                <a:gd name="connsiteY250" fmla="*/ 123860 h 196785"/>
                <a:gd name="connsiteX251" fmla="*/ 30078 w 312565"/>
                <a:gd name="connsiteY251" fmla="*/ 117731 h 196785"/>
                <a:gd name="connsiteX252" fmla="*/ 30028 w 312565"/>
                <a:gd name="connsiteY252" fmla="*/ 114640 h 196785"/>
                <a:gd name="connsiteX253" fmla="*/ 29767 w 312565"/>
                <a:gd name="connsiteY253" fmla="*/ 111834 h 196785"/>
                <a:gd name="connsiteX254" fmla="*/ 30022 w 312565"/>
                <a:gd name="connsiteY254" fmla="*/ 109082 h 196785"/>
                <a:gd name="connsiteX255" fmla="*/ 30512 w 312565"/>
                <a:gd name="connsiteY255" fmla="*/ 105984 h 196785"/>
                <a:gd name="connsiteX256" fmla="*/ 30769 w 312565"/>
                <a:gd name="connsiteY256" fmla="*/ 102832 h 196785"/>
                <a:gd name="connsiteX257" fmla="*/ 30400 w 312565"/>
                <a:gd name="connsiteY257" fmla="*/ 100631 h 196785"/>
                <a:gd name="connsiteX258" fmla="*/ 29212 w 312565"/>
                <a:gd name="connsiteY258" fmla="*/ 98854 h 196785"/>
                <a:gd name="connsiteX259" fmla="*/ 27204 w 312565"/>
                <a:gd name="connsiteY259" fmla="*/ 96654 h 196785"/>
                <a:gd name="connsiteX260" fmla="*/ 26886 w 312565"/>
                <a:gd name="connsiteY260" fmla="*/ 95351 h 196785"/>
                <a:gd name="connsiteX261" fmla="*/ 26772 w 312565"/>
                <a:gd name="connsiteY261" fmla="*/ 93897 h 196785"/>
                <a:gd name="connsiteX262" fmla="*/ 24848 w 312565"/>
                <a:gd name="connsiteY262" fmla="*/ 93732 h 196785"/>
                <a:gd name="connsiteX263" fmla="*/ 23120 w 312565"/>
                <a:gd name="connsiteY263" fmla="*/ 92227 h 196785"/>
                <a:gd name="connsiteX264" fmla="*/ 21695 w 312565"/>
                <a:gd name="connsiteY264" fmla="*/ 91407 h 196785"/>
                <a:gd name="connsiteX265" fmla="*/ 18629 w 312565"/>
                <a:gd name="connsiteY265" fmla="*/ 90496 h 196785"/>
                <a:gd name="connsiteX266" fmla="*/ 17091 w 312565"/>
                <a:gd name="connsiteY266" fmla="*/ 90450 h 196785"/>
                <a:gd name="connsiteX267" fmla="*/ 15688 w 312565"/>
                <a:gd name="connsiteY267" fmla="*/ 91119 h 196785"/>
                <a:gd name="connsiteX268" fmla="*/ 14656 w 312565"/>
                <a:gd name="connsiteY268" fmla="*/ 92461 h 196785"/>
                <a:gd name="connsiteX269" fmla="*/ 13934 w 312565"/>
                <a:gd name="connsiteY269" fmla="*/ 90345 h 196785"/>
                <a:gd name="connsiteX270" fmla="*/ 13952 w 312565"/>
                <a:gd name="connsiteY270" fmla="*/ 88130 h 196785"/>
                <a:gd name="connsiteX271" fmla="*/ 16402 w 312565"/>
                <a:gd name="connsiteY271" fmla="*/ 83547 h 196785"/>
                <a:gd name="connsiteX272" fmla="*/ 17936 w 312565"/>
                <a:gd name="connsiteY272" fmla="*/ 84884 h 196785"/>
                <a:gd name="connsiteX273" fmla="*/ 19808 w 312565"/>
                <a:gd name="connsiteY273" fmla="*/ 85421 h 196785"/>
                <a:gd name="connsiteX274" fmla="*/ 22190 w 312565"/>
                <a:gd name="connsiteY274" fmla="*/ 85502 h 196785"/>
                <a:gd name="connsiteX275" fmla="*/ 24528 w 312565"/>
                <a:gd name="connsiteY275" fmla="*/ 85147 h 196785"/>
                <a:gd name="connsiteX276" fmla="*/ 24070 w 312565"/>
                <a:gd name="connsiteY276" fmla="*/ 83576 h 196785"/>
                <a:gd name="connsiteX277" fmla="*/ 22984 w 312565"/>
                <a:gd name="connsiteY277" fmla="*/ 82685 h 196785"/>
                <a:gd name="connsiteX278" fmla="*/ 21635 w 312565"/>
                <a:gd name="connsiteY278" fmla="*/ 81981 h 196785"/>
                <a:gd name="connsiteX279" fmla="*/ 21153 w 312565"/>
                <a:gd name="connsiteY279" fmla="*/ 79907 h 196785"/>
                <a:gd name="connsiteX280" fmla="*/ 21326 w 312565"/>
                <a:gd name="connsiteY280" fmla="*/ 77756 h 196785"/>
                <a:gd name="connsiteX281" fmla="*/ 21967 w 312565"/>
                <a:gd name="connsiteY281" fmla="*/ 75720 h 196785"/>
                <a:gd name="connsiteX282" fmla="*/ 21237 w 312565"/>
                <a:gd name="connsiteY282" fmla="*/ 74899 h 196785"/>
                <a:gd name="connsiteX283" fmla="*/ 20130 w 312565"/>
                <a:gd name="connsiteY283" fmla="*/ 74392 h 196785"/>
                <a:gd name="connsiteX284" fmla="*/ 17573 w 312565"/>
                <a:gd name="connsiteY284" fmla="*/ 74452 h 196785"/>
                <a:gd name="connsiteX285" fmla="*/ 14256 w 312565"/>
                <a:gd name="connsiteY285" fmla="*/ 73914 h 196785"/>
                <a:gd name="connsiteX286" fmla="*/ 10915 w 312565"/>
                <a:gd name="connsiteY286" fmla="*/ 73681 h 196785"/>
                <a:gd name="connsiteX287" fmla="*/ 10134 w 312565"/>
                <a:gd name="connsiteY287" fmla="*/ 76083 h 196785"/>
                <a:gd name="connsiteX288" fmla="*/ 11978 w 312565"/>
                <a:gd name="connsiteY288" fmla="*/ 79234 h 196785"/>
                <a:gd name="connsiteX289" fmla="*/ 10414 w 312565"/>
                <a:gd name="connsiteY289" fmla="*/ 77686 h 196785"/>
                <a:gd name="connsiteX290" fmla="*/ 8942 w 312565"/>
                <a:gd name="connsiteY290" fmla="*/ 75638 h 196785"/>
                <a:gd name="connsiteX291" fmla="*/ 6873 w 312565"/>
                <a:gd name="connsiteY291" fmla="*/ 71950 h 196785"/>
                <a:gd name="connsiteX292" fmla="*/ 5541 w 312565"/>
                <a:gd name="connsiteY292" fmla="*/ 67622 h 196785"/>
                <a:gd name="connsiteX293" fmla="*/ 5303 w 312565"/>
                <a:gd name="connsiteY293" fmla="*/ 62943 h 196785"/>
                <a:gd name="connsiteX294" fmla="*/ 6432 w 312565"/>
                <a:gd name="connsiteY294" fmla="*/ 59068 h 196785"/>
                <a:gd name="connsiteX295" fmla="*/ 7873 w 312565"/>
                <a:gd name="connsiteY295" fmla="*/ 55426 h 196785"/>
                <a:gd name="connsiteX296" fmla="*/ 8743 w 312565"/>
                <a:gd name="connsiteY296" fmla="*/ 50758 h 196785"/>
                <a:gd name="connsiteX297" fmla="*/ 9942 w 312565"/>
                <a:gd name="connsiteY297" fmla="*/ 46166 h 196785"/>
                <a:gd name="connsiteX298" fmla="*/ 11140 w 312565"/>
                <a:gd name="connsiteY298" fmla="*/ 48224 h 196785"/>
                <a:gd name="connsiteX299" fmla="*/ 12509 w 312565"/>
                <a:gd name="connsiteY299" fmla="*/ 50067 h 196785"/>
                <a:gd name="connsiteX300" fmla="*/ 14403 w 312565"/>
                <a:gd name="connsiteY300" fmla="*/ 51770 h 196785"/>
                <a:gd name="connsiteX301" fmla="*/ 15437 w 312565"/>
                <a:gd name="connsiteY301" fmla="*/ 52176 h 196785"/>
                <a:gd name="connsiteX302" fmla="*/ 18553 w 312565"/>
                <a:gd name="connsiteY302" fmla="*/ 52879 h 196785"/>
                <a:gd name="connsiteX303" fmla="*/ 20559 w 312565"/>
                <a:gd name="connsiteY303" fmla="*/ 52615 h 196785"/>
                <a:gd name="connsiteX304" fmla="*/ 22697 w 312565"/>
                <a:gd name="connsiteY304" fmla="*/ 51609 h 196785"/>
                <a:gd name="connsiteX305" fmla="*/ 24796 w 312565"/>
                <a:gd name="connsiteY305" fmla="*/ 51939 h 196785"/>
                <a:gd name="connsiteX306" fmla="*/ 26532 w 312565"/>
                <a:gd name="connsiteY306" fmla="*/ 53831 h 196785"/>
                <a:gd name="connsiteX307" fmla="*/ 28080 w 312565"/>
                <a:gd name="connsiteY307" fmla="*/ 55950 h 196785"/>
                <a:gd name="connsiteX308" fmla="*/ 30430 w 312565"/>
                <a:gd name="connsiteY308" fmla="*/ 56396 h 196785"/>
                <a:gd name="connsiteX309" fmla="*/ 35269 w 312565"/>
                <a:gd name="connsiteY309" fmla="*/ 54864 h 196785"/>
                <a:gd name="connsiteX310" fmla="*/ 37571 w 312565"/>
                <a:gd name="connsiteY310" fmla="*/ 54514 h 196785"/>
                <a:gd name="connsiteX311" fmla="*/ 39568 w 312565"/>
                <a:gd name="connsiteY311" fmla="*/ 55215 h 196785"/>
                <a:gd name="connsiteX312" fmla="*/ 40599 w 312565"/>
                <a:gd name="connsiteY312" fmla="*/ 55344 h 196785"/>
                <a:gd name="connsiteX313" fmla="*/ 41648 w 312565"/>
                <a:gd name="connsiteY313" fmla="*/ 55227 h 196785"/>
                <a:gd name="connsiteX314" fmla="*/ 40739 w 312565"/>
                <a:gd name="connsiteY314" fmla="*/ 53345 h 196785"/>
                <a:gd name="connsiteX315" fmla="*/ 40367 w 312565"/>
                <a:gd name="connsiteY315" fmla="*/ 51517 h 196785"/>
                <a:gd name="connsiteX316" fmla="*/ 41583 w 312565"/>
                <a:gd name="connsiteY316" fmla="*/ 50550 h 196785"/>
                <a:gd name="connsiteX317" fmla="*/ 45401 w 312565"/>
                <a:gd name="connsiteY317" fmla="*/ 51577 h 196785"/>
                <a:gd name="connsiteX318" fmla="*/ 47832 w 312565"/>
                <a:gd name="connsiteY318" fmla="*/ 50892 h 196785"/>
                <a:gd name="connsiteX319" fmla="*/ 48452 w 312565"/>
                <a:gd name="connsiteY319" fmla="*/ 50506 h 196785"/>
                <a:gd name="connsiteX320" fmla="*/ 49005 w 312565"/>
                <a:gd name="connsiteY320" fmla="*/ 50032 h 196785"/>
                <a:gd name="connsiteX321" fmla="*/ 49296 w 312565"/>
                <a:gd name="connsiteY321" fmla="*/ 48450 h 196785"/>
                <a:gd name="connsiteX322" fmla="*/ 49180 w 312565"/>
                <a:gd name="connsiteY322" fmla="*/ 46827 h 196785"/>
                <a:gd name="connsiteX323" fmla="*/ 48865 w 312565"/>
                <a:gd name="connsiteY323" fmla="*/ 45296 h 196785"/>
                <a:gd name="connsiteX324" fmla="*/ 48152 w 312565"/>
                <a:gd name="connsiteY324" fmla="*/ 43953 h 196785"/>
                <a:gd name="connsiteX325" fmla="*/ 46399 w 312565"/>
                <a:gd name="connsiteY325" fmla="*/ 42072 h 196785"/>
                <a:gd name="connsiteX326" fmla="*/ 39596 w 312565"/>
                <a:gd name="connsiteY326" fmla="*/ 37585 h 196785"/>
                <a:gd name="connsiteX327" fmla="*/ 37307 w 312565"/>
                <a:gd name="connsiteY327" fmla="*/ 35793 h 196785"/>
                <a:gd name="connsiteX328" fmla="*/ 35401 w 312565"/>
                <a:gd name="connsiteY328" fmla="*/ 33473 h 196785"/>
                <a:gd name="connsiteX329" fmla="*/ 34185 w 312565"/>
                <a:gd name="connsiteY329" fmla="*/ 30195 h 196785"/>
                <a:gd name="connsiteX330" fmla="*/ 33198 w 312565"/>
                <a:gd name="connsiteY330" fmla="*/ 26774 h 196785"/>
                <a:gd name="connsiteX331" fmla="*/ 32282 w 312565"/>
                <a:gd name="connsiteY331" fmla="*/ 24232 h 196785"/>
                <a:gd name="connsiteX332" fmla="*/ 29909 w 312565"/>
                <a:gd name="connsiteY332" fmla="*/ 18321 h 196785"/>
                <a:gd name="connsiteX333" fmla="*/ 28985 w 312565"/>
                <a:gd name="connsiteY333" fmla="*/ 17618 h 196785"/>
                <a:gd name="connsiteX334" fmla="*/ 27828 w 312565"/>
                <a:gd name="connsiteY334" fmla="*/ 17305 h 196785"/>
                <a:gd name="connsiteX335" fmla="*/ 25010 w 312565"/>
                <a:gd name="connsiteY335" fmla="*/ 17120 h 196785"/>
                <a:gd name="connsiteX336" fmla="*/ 22157 w 312565"/>
                <a:gd name="connsiteY336" fmla="*/ 17551 h 196785"/>
                <a:gd name="connsiteX337" fmla="*/ 17493 w 312565"/>
                <a:gd name="connsiteY337" fmla="*/ 18569 h 196785"/>
                <a:gd name="connsiteX338" fmla="*/ 14822 w 312565"/>
                <a:gd name="connsiteY338" fmla="*/ 18251 h 196785"/>
                <a:gd name="connsiteX339" fmla="*/ 13587 w 312565"/>
                <a:gd name="connsiteY339" fmla="*/ 18881 h 196785"/>
                <a:gd name="connsiteX340" fmla="*/ 10529 w 312565"/>
                <a:gd name="connsiteY340" fmla="*/ 21374 h 196785"/>
                <a:gd name="connsiteX341" fmla="*/ 9097 w 312565"/>
                <a:gd name="connsiteY341" fmla="*/ 23508 h 196785"/>
                <a:gd name="connsiteX342" fmla="*/ 7098 w 312565"/>
                <a:gd name="connsiteY342" fmla="*/ 28383 h 196785"/>
                <a:gd name="connsiteX343" fmla="*/ 8616 w 312565"/>
                <a:gd name="connsiteY343" fmla="*/ 29952 h 196785"/>
                <a:gd name="connsiteX344" fmla="*/ 8588 w 312565"/>
                <a:gd name="connsiteY344" fmla="*/ 30980 h 196785"/>
                <a:gd name="connsiteX345" fmla="*/ 7437 w 312565"/>
                <a:gd name="connsiteY345" fmla="*/ 38161 h 196785"/>
                <a:gd name="connsiteX346" fmla="*/ 8136 w 312565"/>
                <a:gd name="connsiteY346" fmla="*/ 41637 h 196785"/>
                <a:gd name="connsiteX347" fmla="*/ 7884 w 312565"/>
                <a:gd name="connsiteY347" fmla="*/ 41895 h 196785"/>
                <a:gd name="connsiteX348" fmla="*/ 7335 w 312565"/>
                <a:gd name="connsiteY348" fmla="*/ 41089 h 196785"/>
                <a:gd name="connsiteX349" fmla="*/ 5603 w 312565"/>
                <a:gd name="connsiteY349" fmla="*/ 37540 h 196785"/>
                <a:gd name="connsiteX350" fmla="*/ 2554 w 312565"/>
                <a:gd name="connsiteY350" fmla="*/ 33207 h 196785"/>
                <a:gd name="connsiteX351" fmla="*/ 0 w 312565"/>
                <a:gd name="connsiteY351" fmla="*/ 26567 h 196785"/>
                <a:gd name="connsiteX352" fmla="*/ 4489 w 312565"/>
                <a:gd name="connsiteY352" fmla="*/ 22218 h 196785"/>
                <a:gd name="connsiteX353" fmla="*/ 8328 w 312565"/>
                <a:gd name="connsiteY353" fmla="*/ 19133 h 196785"/>
                <a:gd name="connsiteX354" fmla="*/ 11468 w 312565"/>
                <a:gd name="connsiteY354" fmla="*/ 17270 h 196785"/>
                <a:gd name="connsiteX355" fmla="*/ 12427 w 312565"/>
                <a:gd name="connsiteY355" fmla="*/ 16817 h 196785"/>
                <a:gd name="connsiteX356" fmla="*/ 16722 w 312565"/>
                <a:gd name="connsiteY356" fmla="*/ 15272 h 196785"/>
                <a:gd name="connsiteX357" fmla="*/ 22265 w 312565"/>
                <a:gd name="connsiteY357" fmla="*/ 13878 h 196785"/>
                <a:gd name="connsiteX358" fmla="*/ 26346 w 312565"/>
                <a:gd name="connsiteY358" fmla="*/ 12850 h 196785"/>
                <a:gd name="connsiteX359" fmla="*/ 31676 w 312565"/>
                <a:gd name="connsiteY359" fmla="*/ 11974 h 196785"/>
                <a:gd name="connsiteX360" fmla="*/ 33418 w 312565"/>
                <a:gd name="connsiteY360" fmla="*/ 11811 h 196785"/>
                <a:gd name="connsiteX361" fmla="*/ 35979 w 312565"/>
                <a:gd name="connsiteY361" fmla="*/ 11830 h 196785"/>
                <a:gd name="connsiteX362" fmla="*/ 38057 w 312565"/>
                <a:gd name="connsiteY362" fmla="*/ 12655 h 196785"/>
                <a:gd name="connsiteX363" fmla="*/ 39316 w 312565"/>
                <a:gd name="connsiteY363" fmla="*/ 13300 h 196785"/>
                <a:gd name="connsiteX364" fmla="*/ 43760 w 312565"/>
                <a:gd name="connsiteY364" fmla="*/ 15955 h 196785"/>
                <a:gd name="connsiteX365" fmla="*/ 48294 w 312565"/>
                <a:gd name="connsiteY365" fmla="*/ 18665 h 196785"/>
                <a:gd name="connsiteX366" fmla="*/ 52184 w 312565"/>
                <a:gd name="connsiteY366" fmla="*/ 21667 h 196785"/>
                <a:gd name="connsiteX367" fmla="*/ 53287 w 312565"/>
                <a:gd name="connsiteY367" fmla="*/ 22889 h 196785"/>
                <a:gd name="connsiteX368" fmla="*/ 53904 w 312565"/>
                <a:gd name="connsiteY368" fmla="*/ 24350 h 196785"/>
                <a:gd name="connsiteX369" fmla="*/ 54362 w 312565"/>
                <a:gd name="connsiteY369" fmla="*/ 25782 h 196785"/>
                <a:gd name="connsiteX370" fmla="*/ 57668 w 312565"/>
                <a:gd name="connsiteY370" fmla="*/ 30317 h 196785"/>
                <a:gd name="connsiteX371" fmla="*/ 59005 w 312565"/>
                <a:gd name="connsiteY371" fmla="*/ 32393 h 196785"/>
                <a:gd name="connsiteX372" fmla="*/ 60936 w 312565"/>
                <a:gd name="connsiteY372" fmla="*/ 35092 h 196785"/>
                <a:gd name="connsiteX373" fmla="*/ 62486 w 312565"/>
                <a:gd name="connsiteY373" fmla="*/ 36405 h 196785"/>
                <a:gd name="connsiteX374" fmla="*/ 64004 w 312565"/>
                <a:gd name="connsiteY374" fmla="*/ 38028 h 196785"/>
                <a:gd name="connsiteX375" fmla="*/ 65021 w 312565"/>
                <a:gd name="connsiteY375" fmla="*/ 39364 h 196785"/>
                <a:gd name="connsiteX376" fmla="*/ 66185 w 312565"/>
                <a:gd name="connsiteY376" fmla="*/ 39997 h 196785"/>
                <a:gd name="connsiteX377" fmla="*/ 67472 w 312565"/>
                <a:gd name="connsiteY377" fmla="*/ 40248 h 196785"/>
                <a:gd name="connsiteX378" fmla="*/ 70422 w 312565"/>
                <a:gd name="connsiteY378" fmla="*/ 39825 h 196785"/>
                <a:gd name="connsiteX379" fmla="*/ 73969 w 312565"/>
                <a:gd name="connsiteY379" fmla="*/ 38981 h 196785"/>
                <a:gd name="connsiteX380" fmla="*/ 76090 w 312565"/>
                <a:gd name="connsiteY380" fmla="*/ 38629 h 196785"/>
                <a:gd name="connsiteX381" fmla="*/ 77029 w 312565"/>
                <a:gd name="connsiteY381" fmla="*/ 38680 h 196785"/>
                <a:gd name="connsiteX382" fmla="*/ 82879 w 312565"/>
                <a:gd name="connsiteY382" fmla="*/ 38980 h 196785"/>
                <a:gd name="connsiteX383" fmla="*/ 88139 w 312565"/>
                <a:gd name="connsiteY383" fmla="*/ 39249 h 196785"/>
                <a:gd name="connsiteX384" fmla="*/ 94635 w 312565"/>
                <a:gd name="connsiteY384" fmla="*/ 39583 h 196785"/>
                <a:gd name="connsiteX385" fmla="*/ 96563 w 312565"/>
                <a:gd name="connsiteY385" fmla="*/ 39896 h 196785"/>
                <a:gd name="connsiteX386" fmla="*/ 98885 w 312565"/>
                <a:gd name="connsiteY386" fmla="*/ 40185 h 196785"/>
                <a:gd name="connsiteX387" fmla="*/ 100038 w 312565"/>
                <a:gd name="connsiteY387" fmla="*/ 40229 h 196785"/>
                <a:gd name="connsiteX388" fmla="*/ 101061 w 312565"/>
                <a:gd name="connsiteY388" fmla="*/ 39074 h 196785"/>
                <a:gd name="connsiteX389" fmla="*/ 101737 w 312565"/>
                <a:gd name="connsiteY389" fmla="*/ 38440 h 196785"/>
                <a:gd name="connsiteX390" fmla="*/ 102268 w 312565"/>
                <a:gd name="connsiteY390" fmla="*/ 37939 h 196785"/>
                <a:gd name="connsiteX391" fmla="*/ 102158 w 312565"/>
                <a:gd name="connsiteY391" fmla="*/ 37372 h 196785"/>
                <a:gd name="connsiteX392" fmla="*/ 101336 w 312565"/>
                <a:gd name="connsiteY392" fmla="*/ 36891 h 196785"/>
                <a:gd name="connsiteX393" fmla="*/ 100042 w 312565"/>
                <a:gd name="connsiteY393" fmla="*/ 35291 h 196785"/>
                <a:gd name="connsiteX394" fmla="*/ 99305 w 312565"/>
                <a:gd name="connsiteY394" fmla="*/ 29507 h 196785"/>
                <a:gd name="connsiteX395" fmla="*/ 98846 w 312565"/>
                <a:gd name="connsiteY395" fmla="*/ 24548 h 196785"/>
                <a:gd name="connsiteX396" fmla="*/ 100385 w 312565"/>
                <a:gd name="connsiteY396" fmla="*/ 23002 h 196785"/>
                <a:gd name="connsiteX397" fmla="*/ 102152 w 312565"/>
                <a:gd name="connsiteY397" fmla="*/ 21880 h 196785"/>
                <a:gd name="connsiteX398" fmla="*/ 104700 w 312565"/>
                <a:gd name="connsiteY398" fmla="*/ 18499 h 196785"/>
                <a:gd name="connsiteX399" fmla="*/ 106067 w 312565"/>
                <a:gd name="connsiteY399" fmla="*/ 17454 h 196785"/>
                <a:gd name="connsiteX400" fmla="*/ 108081 w 312565"/>
                <a:gd name="connsiteY400" fmla="*/ 16590 h 196785"/>
                <a:gd name="connsiteX401" fmla="*/ 114812 w 312565"/>
                <a:gd name="connsiteY401" fmla="*/ 16364 h 196785"/>
                <a:gd name="connsiteX402" fmla="*/ 117645 w 312565"/>
                <a:gd name="connsiteY402" fmla="*/ 15698 h 196785"/>
                <a:gd name="connsiteX403" fmla="*/ 118567 w 312565"/>
                <a:gd name="connsiteY403" fmla="*/ 14602 h 196785"/>
                <a:gd name="connsiteX404" fmla="*/ 120060 w 312565"/>
                <a:gd name="connsiteY404" fmla="*/ 11830 h 196785"/>
                <a:gd name="connsiteX405" fmla="*/ 120552 w 312565"/>
                <a:gd name="connsiteY405" fmla="*/ 9570 h 196785"/>
                <a:gd name="connsiteX406" fmla="*/ 121387 w 312565"/>
                <a:gd name="connsiteY406" fmla="*/ 8536 h 196785"/>
                <a:gd name="connsiteX407" fmla="*/ 122392 w 312565"/>
                <a:gd name="connsiteY407" fmla="*/ 7767 h 196785"/>
                <a:gd name="connsiteX408" fmla="*/ 123421 w 312565"/>
                <a:gd name="connsiteY408" fmla="*/ 7797 h 196785"/>
                <a:gd name="connsiteX409" fmla="*/ 125415 w 312565"/>
                <a:gd name="connsiteY409" fmla="*/ 8462 h 196785"/>
                <a:gd name="connsiteX410" fmla="*/ 126929 w 312565"/>
                <a:gd name="connsiteY410" fmla="*/ 8832 h 196785"/>
                <a:gd name="connsiteX411" fmla="*/ 128008 w 312565"/>
                <a:gd name="connsiteY411" fmla="*/ 9334 h 196785"/>
                <a:gd name="connsiteX412" fmla="*/ 128989 w 312565"/>
                <a:gd name="connsiteY412" fmla="*/ 10132 h 196785"/>
                <a:gd name="connsiteX413" fmla="*/ 129945 w 312565"/>
                <a:gd name="connsiteY413" fmla="*/ 11521 h 196785"/>
                <a:gd name="connsiteX414" fmla="*/ 130092 w 312565"/>
                <a:gd name="connsiteY414" fmla="*/ 12435 h 196785"/>
                <a:gd name="connsiteX415" fmla="*/ 130533 w 312565"/>
                <a:gd name="connsiteY415" fmla="*/ 12967 h 196785"/>
                <a:gd name="connsiteX416" fmla="*/ 131293 w 312565"/>
                <a:gd name="connsiteY416" fmla="*/ 12978 h 196785"/>
                <a:gd name="connsiteX417" fmla="*/ 131858 w 312565"/>
                <a:gd name="connsiteY417" fmla="*/ 12985 h 196785"/>
                <a:gd name="connsiteX418" fmla="*/ 132243 w 312565"/>
                <a:gd name="connsiteY418" fmla="*/ 12784 h 196785"/>
                <a:gd name="connsiteX419" fmla="*/ 132495 w 312565"/>
                <a:gd name="connsiteY419" fmla="*/ 12318 h 196785"/>
                <a:gd name="connsiteX420" fmla="*/ 132299 w 312565"/>
                <a:gd name="connsiteY420" fmla="*/ 11698 h 196785"/>
                <a:gd name="connsiteX421" fmla="*/ 130999 w 312565"/>
                <a:gd name="connsiteY421" fmla="*/ 9925 h 196785"/>
                <a:gd name="connsiteX422" fmla="*/ 128135 w 312565"/>
                <a:gd name="connsiteY422" fmla="*/ 6709 h 196785"/>
                <a:gd name="connsiteX423" fmla="*/ 126265 w 312565"/>
                <a:gd name="connsiteY423" fmla="*/ 5400 h 196785"/>
                <a:gd name="connsiteX424" fmla="*/ 125335 w 312565"/>
                <a:gd name="connsiteY424" fmla="*/ 4690 h 196785"/>
                <a:gd name="connsiteX425" fmla="*/ 125104 w 312565"/>
                <a:gd name="connsiteY425" fmla="*/ 4020 h 196785"/>
                <a:gd name="connsiteX426" fmla="*/ 126317 w 312565"/>
                <a:gd name="connsiteY426" fmla="*/ 2998 h 196785"/>
                <a:gd name="connsiteX427" fmla="*/ 127494 w 312565"/>
                <a:gd name="connsiteY427" fmla="*/ 2416 h 196785"/>
                <a:gd name="connsiteX428" fmla="*/ 129561 w 312565"/>
                <a:gd name="connsiteY428" fmla="*/ 2853 h 196785"/>
                <a:gd name="connsiteX429" fmla="*/ 132303 w 312565"/>
                <a:gd name="connsiteY429" fmla="*/ 3091 h 196785"/>
                <a:gd name="connsiteX430" fmla="*/ 133523 w 312565"/>
                <a:gd name="connsiteY430" fmla="*/ 2581 h 196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</a:cxnLst>
              <a:rect l="l" t="t" r="r" b="b"/>
              <a:pathLst>
                <a:path w="312565" h="196785">
                  <a:moveTo>
                    <a:pt x="12371" y="96822"/>
                  </a:moveTo>
                  <a:lnTo>
                    <a:pt x="13230" y="96886"/>
                  </a:lnTo>
                  <a:lnTo>
                    <a:pt x="12412" y="98339"/>
                  </a:lnTo>
                  <a:lnTo>
                    <a:pt x="13615" y="104406"/>
                  </a:lnTo>
                  <a:lnTo>
                    <a:pt x="13408" y="105617"/>
                  </a:lnTo>
                  <a:lnTo>
                    <a:pt x="12207" y="101976"/>
                  </a:lnTo>
                  <a:lnTo>
                    <a:pt x="11602" y="97956"/>
                  </a:lnTo>
                  <a:close/>
                  <a:moveTo>
                    <a:pt x="134778" y="0"/>
                  </a:moveTo>
                  <a:lnTo>
                    <a:pt x="137894" y="2735"/>
                  </a:lnTo>
                  <a:lnTo>
                    <a:pt x="141144" y="5797"/>
                  </a:lnTo>
                  <a:lnTo>
                    <a:pt x="142336" y="6363"/>
                  </a:lnTo>
                  <a:lnTo>
                    <a:pt x="144657" y="6687"/>
                  </a:lnTo>
                  <a:lnTo>
                    <a:pt x="146587" y="6803"/>
                  </a:lnTo>
                  <a:lnTo>
                    <a:pt x="147393" y="7133"/>
                  </a:lnTo>
                  <a:lnTo>
                    <a:pt x="148268" y="7926"/>
                  </a:lnTo>
                  <a:lnTo>
                    <a:pt x="149980" y="11271"/>
                  </a:lnTo>
                  <a:lnTo>
                    <a:pt x="151699" y="12147"/>
                  </a:lnTo>
                  <a:lnTo>
                    <a:pt x="153839" y="12780"/>
                  </a:lnTo>
                  <a:lnTo>
                    <a:pt x="160727" y="12725"/>
                  </a:lnTo>
                  <a:lnTo>
                    <a:pt x="162843" y="12895"/>
                  </a:lnTo>
                  <a:lnTo>
                    <a:pt x="164573" y="14469"/>
                  </a:lnTo>
                  <a:lnTo>
                    <a:pt x="165648" y="15116"/>
                  </a:lnTo>
                  <a:lnTo>
                    <a:pt x="166111" y="15672"/>
                  </a:lnTo>
                  <a:lnTo>
                    <a:pt x="165994" y="16365"/>
                  </a:lnTo>
                  <a:lnTo>
                    <a:pt x="165571" y="17243"/>
                  </a:lnTo>
                  <a:lnTo>
                    <a:pt x="165517" y="18935"/>
                  </a:lnTo>
                  <a:lnTo>
                    <a:pt x="165405" y="20243"/>
                  </a:lnTo>
                  <a:lnTo>
                    <a:pt x="164856" y="20864"/>
                  </a:lnTo>
                  <a:lnTo>
                    <a:pt x="164689" y="21445"/>
                  </a:lnTo>
                  <a:lnTo>
                    <a:pt x="165149" y="21953"/>
                  </a:lnTo>
                  <a:lnTo>
                    <a:pt x="168341" y="23199"/>
                  </a:lnTo>
                  <a:lnTo>
                    <a:pt x="169417" y="24535"/>
                  </a:lnTo>
                  <a:lnTo>
                    <a:pt x="170224" y="25135"/>
                  </a:lnTo>
                  <a:lnTo>
                    <a:pt x="170416" y="25964"/>
                  </a:lnTo>
                  <a:lnTo>
                    <a:pt x="169877" y="26517"/>
                  </a:lnTo>
                  <a:lnTo>
                    <a:pt x="168378" y="26241"/>
                  </a:lnTo>
                  <a:lnTo>
                    <a:pt x="167648" y="27115"/>
                  </a:lnTo>
                  <a:lnTo>
                    <a:pt x="167648" y="28681"/>
                  </a:lnTo>
                  <a:lnTo>
                    <a:pt x="168719" y="30152"/>
                  </a:lnTo>
                  <a:lnTo>
                    <a:pt x="169028" y="31497"/>
                  </a:lnTo>
                  <a:lnTo>
                    <a:pt x="168322" y="32790"/>
                  </a:lnTo>
                  <a:lnTo>
                    <a:pt x="167497" y="34614"/>
                  </a:lnTo>
                  <a:lnTo>
                    <a:pt x="167466" y="35905"/>
                  </a:lnTo>
                  <a:lnTo>
                    <a:pt x="167959" y="36642"/>
                  </a:lnTo>
                  <a:lnTo>
                    <a:pt x="170399" y="37974"/>
                  </a:lnTo>
                  <a:lnTo>
                    <a:pt x="176037" y="41332"/>
                  </a:lnTo>
                  <a:lnTo>
                    <a:pt x="177333" y="41477"/>
                  </a:lnTo>
                  <a:lnTo>
                    <a:pt x="182669" y="40696"/>
                  </a:lnTo>
                  <a:lnTo>
                    <a:pt x="185152" y="40619"/>
                  </a:lnTo>
                  <a:lnTo>
                    <a:pt x="186612" y="41138"/>
                  </a:lnTo>
                  <a:lnTo>
                    <a:pt x="190741" y="41615"/>
                  </a:lnTo>
                  <a:lnTo>
                    <a:pt x="192053" y="42151"/>
                  </a:lnTo>
                  <a:lnTo>
                    <a:pt x="193448" y="42187"/>
                  </a:lnTo>
                  <a:lnTo>
                    <a:pt x="195362" y="42031"/>
                  </a:lnTo>
                  <a:lnTo>
                    <a:pt x="196657" y="40528"/>
                  </a:lnTo>
                  <a:lnTo>
                    <a:pt x="197318" y="40185"/>
                  </a:lnTo>
                  <a:lnTo>
                    <a:pt x="197899" y="39936"/>
                  </a:lnTo>
                  <a:lnTo>
                    <a:pt x="199078" y="39897"/>
                  </a:lnTo>
                  <a:lnTo>
                    <a:pt x="202341" y="40852"/>
                  </a:lnTo>
                  <a:lnTo>
                    <a:pt x="205776" y="42866"/>
                  </a:lnTo>
                  <a:lnTo>
                    <a:pt x="208052" y="44702"/>
                  </a:lnTo>
                  <a:lnTo>
                    <a:pt x="209173" y="46363"/>
                  </a:lnTo>
                  <a:lnTo>
                    <a:pt x="210590" y="49961"/>
                  </a:lnTo>
                  <a:lnTo>
                    <a:pt x="212302" y="55488"/>
                  </a:lnTo>
                  <a:lnTo>
                    <a:pt x="214369" y="59213"/>
                  </a:lnTo>
                  <a:lnTo>
                    <a:pt x="216791" y="61144"/>
                  </a:lnTo>
                  <a:lnTo>
                    <a:pt x="218493" y="64686"/>
                  </a:lnTo>
                  <a:lnTo>
                    <a:pt x="219966" y="72413"/>
                  </a:lnTo>
                  <a:lnTo>
                    <a:pt x="220886" y="73993"/>
                  </a:lnTo>
                  <a:lnTo>
                    <a:pt x="221820" y="74815"/>
                  </a:lnTo>
                  <a:lnTo>
                    <a:pt x="224589" y="77045"/>
                  </a:lnTo>
                  <a:lnTo>
                    <a:pt x="230253" y="80733"/>
                  </a:lnTo>
                  <a:lnTo>
                    <a:pt x="233598" y="82908"/>
                  </a:lnTo>
                  <a:lnTo>
                    <a:pt x="238767" y="86379"/>
                  </a:lnTo>
                  <a:lnTo>
                    <a:pt x="243503" y="89556"/>
                  </a:lnTo>
                  <a:lnTo>
                    <a:pt x="248251" y="94452"/>
                  </a:lnTo>
                  <a:lnTo>
                    <a:pt x="249199" y="95167"/>
                  </a:lnTo>
                  <a:lnTo>
                    <a:pt x="253375" y="97811"/>
                  </a:lnTo>
                  <a:lnTo>
                    <a:pt x="258025" y="100519"/>
                  </a:lnTo>
                  <a:lnTo>
                    <a:pt x="261279" y="99907"/>
                  </a:lnTo>
                  <a:lnTo>
                    <a:pt x="266181" y="104067"/>
                  </a:lnTo>
                  <a:lnTo>
                    <a:pt x="268176" y="105610"/>
                  </a:lnTo>
                  <a:lnTo>
                    <a:pt x="269018" y="106136"/>
                  </a:lnTo>
                  <a:lnTo>
                    <a:pt x="272572" y="107775"/>
                  </a:lnTo>
                  <a:lnTo>
                    <a:pt x="278233" y="111202"/>
                  </a:lnTo>
                  <a:lnTo>
                    <a:pt x="285374" y="116107"/>
                  </a:lnTo>
                  <a:lnTo>
                    <a:pt x="290090" y="118940"/>
                  </a:lnTo>
                  <a:lnTo>
                    <a:pt x="291372" y="119271"/>
                  </a:lnTo>
                  <a:lnTo>
                    <a:pt x="292646" y="119254"/>
                  </a:lnTo>
                  <a:lnTo>
                    <a:pt x="294011" y="118646"/>
                  </a:lnTo>
                  <a:lnTo>
                    <a:pt x="295490" y="118165"/>
                  </a:lnTo>
                  <a:lnTo>
                    <a:pt x="298012" y="118795"/>
                  </a:lnTo>
                  <a:lnTo>
                    <a:pt x="300746" y="119928"/>
                  </a:lnTo>
                  <a:lnTo>
                    <a:pt x="302478" y="120786"/>
                  </a:lnTo>
                  <a:lnTo>
                    <a:pt x="304480" y="122034"/>
                  </a:lnTo>
                  <a:lnTo>
                    <a:pt x="306065" y="123212"/>
                  </a:lnTo>
                  <a:lnTo>
                    <a:pt x="307268" y="123757"/>
                  </a:lnTo>
                  <a:lnTo>
                    <a:pt x="311353" y="124786"/>
                  </a:lnTo>
                  <a:lnTo>
                    <a:pt x="312055" y="125404"/>
                  </a:lnTo>
                  <a:lnTo>
                    <a:pt x="312499" y="126092"/>
                  </a:lnTo>
                  <a:lnTo>
                    <a:pt x="312565" y="126805"/>
                  </a:lnTo>
                  <a:lnTo>
                    <a:pt x="310271" y="130551"/>
                  </a:lnTo>
                  <a:lnTo>
                    <a:pt x="309956" y="135322"/>
                  </a:lnTo>
                  <a:lnTo>
                    <a:pt x="309941" y="138910"/>
                  </a:lnTo>
                  <a:lnTo>
                    <a:pt x="310198" y="141722"/>
                  </a:lnTo>
                  <a:lnTo>
                    <a:pt x="309084" y="141817"/>
                  </a:lnTo>
                  <a:lnTo>
                    <a:pt x="306395" y="141220"/>
                  </a:lnTo>
                  <a:lnTo>
                    <a:pt x="301046" y="140031"/>
                  </a:lnTo>
                  <a:lnTo>
                    <a:pt x="296453" y="137648"/>
                  </a:lnTo>
                  <a:lnTo>
                    <a:pt x="293454" y="136089"/>
                  </a:lnTo>
                  <a:lnTo>
                    <a:pt x="292985" y="136301"/>
                  </a:lnTo>
                  <a:lnTo>
                    <a:pt x="291640" y="137366"/>
                  </a:lnTo>
                  <a:lnTo>
                    <a:pt x="290716" y="138677"/>
                  </a:lnTo>
                  <a:lnTo>
                    <a:pt x="289981" y="141214"/>
                  </a:lnTo>
                  <a:lnTo>
                    <a:pt x="288809" y="144202"/>
                  </a:lnTo>
                  <a:lnTo>
                    <a:pt x="283251" y="144314"/>
                  </a:lnTo>
                  <a:lnTo>
                    <a:pt x="278519" y="144539"/>
                  </a:lnTo>
                  <a:lnTo>
                    <a:pt x="275466" y="145670"/>
                  </a:lnTo>
                  <a:lnTo>
                    <a:pt x="272475" y="147236"/>
                  </a:lnTo>
                  <a:lnTo>
                    <a:pt x="271726" y="149088"/>
                  </a:lnTo>
                  <a:lnTo>
                    <a:pt x="271078" y="151491"/>
                  </a:lnTo>
                  <a:lnTo>
                    <a:pt x="269336" y="156943"/>
                  </a:lnTo>
                  <a:lnTo>
                    <a:pt x="267749" y="161905"/>
                  </a:lnTo>
                  <a:lnTo>
                    <a:pt x="266937" y="165120"/>
                  </a:lnTo>
                  <a:lnTo>
                    <a:pt x="265725" y="167320"/>
                  </a:lnTo>
                  <a:lnTo>
                    <a:pt x="262342" y="170218"/>
                  </a:lnTo>
                  <a:lnTo>
                    <a:pt x="258502" y="172167"/>
                  </a:lnTo>
                  <a:lnTo>
                    <a:pt x="256464" y="173083"/>
                  </a:lnTo>
                  <a:lnTo>
                    <a:pt x="255561" y="174221"/>
                  </a:lnTo>
                  <a:lnTo>
                    <a:pt x="255362" y="175294"/>
                  </a:lnTo>
                  <a:lnTo>
                    <a:pt x="254639" y="175622"/>
                  </a:lnTo>
                  <a:lnTo>
                    <a:pt x="253056" y="175430"/>
                  </a:lnTo>
                  <a:lnTo>
                    <a:pt x="251385" y="175616"/>
                  </a:lnTo>
                  <a:lnTo>
                    <a:pt x="247716" y="176740"/>
                  </a:lnTo>
                  <a:lnTo>
                    <a:pt x="243745" y="178119"/>
                  </a:lnTo>
                  <a:lnTo>
                    <a:pt x="238983" y="179499"/>
                  </a:lnTo>
                  <a:lnTo>
                    <a:pt x="236269" y="179498"/>
                  </a:lnTo>
                  <a:lnTo>
                    <a:pt x="235187" y="179807"/>
                  </a:lnTo>
                  <a:lnTo>
                    <a:pt x="234714" y="180499"/>
                  </a:lnTo>
                  <a:lnTo>
                    <a:pt x="235187" y="181808"/>
                  </a:lnTo>
                  <a:lnTo>
                    <a:pt x="235647" y="182777"/>
                  </a:lnTo>
                  <a:lnTo>
                    <a:pt x="236066" y="184040"/>
                  </a:lnTo>
                  <a:lnTo>
                    <a:pt x="234952" y="185061"/>
                  </a:lnTo>
                  <a:lnTo>
                    <a:pt x="234174" y="186809"/>
                  </a:lnTo>
                  <a:lnTo>
                    <a:pt x="233565" y="189882"/>
                  </a:lnTo>
                  <a:lnTo>
                    <a:pt x="231877" y="190802"/>
                  </a:lnTo>
                  <a:lnTo>
                    <a:pt x="229173" y="192297"/>
                  </a:lnTo>
                  <a:lnTo>
                    <a:pt x="226180" y="194263"/>
                  </a:lnTo>
                  <a:lnTo>
                    <a:pt x="225416" y="194665"/>
                  </a:lnTo>
                  <a:lnTo>
                    <a:pt x="223701" y="195221"/>
                  </a:lnTo>
                  <a:lnTo>
                    <a:pt x="221989" y="195053"/>
                  </a:lnTo>
                  <a:lnTo>
                    <a:pt x="220436" y="194765"/>
                  </a:lnTo>
                  <a:lnTo>
                    <a:pt x="218750" y="195269"/>
                  </a:lnTo>
                  <a:lnTo>
                    <a:pt x="217007" y="196785"/>
                  </a:lnTo>
                  <a:lnTo>
                    <a:pt x="216198" y="196326"/>
                  </a:lnTo>
                  <a:lnTo>
                    <a:pt x="215791" y="194792"/>
                  </a:lnTo>
                  <a:lnTo>
                    <a:pt x="214913" y="193796"/>
                  </a:lnTo>
                  <a:lnTo>
                    <a:pt x="212183" y="191543"/>
                  </a:lnTo>
                  <a:lnTo>
                    <a:pt x="209844" y="189935"/>
                  </a:lnTo>
                  <a:lnTo>
                    <a:pt x="208832" y="189830"/>
                  </a:lnTo>
                  <a:lnTo>
                    <a:pt x="206685" y="190242"/>
                  </a:lnTo>
                  <a:lnTo>
                    <a:pt x="204003" y="190545"/>
                  </a:lnTo>
                  <a:lnTo>
                    <a:pt x="201820" y="190221"/>
                  </a:lnTo>
                  <a:lnTo>
                    <a:pt x="200091" y="189579"/>
                  </a:lnTo>
                  <a:lnTo>
                    <a:pt x="197415" y="187369"/>
                  </a:lnTo>
                  <a:lnTo>
                    <a:pt x="196441" y="186179"/>
                  </a:lnTo>
                  <a:lnTo>
                    <a:pt x="195712" y="185264"/>
                  </a:lnTo>
                  <a:lnTo>
                    <a:pt x="193883" y="185513"/>
                  </a:lnTo>
                  <a:lnTo>
                    <a:pt x="193371" y="184514"/>
                  </a:lnTo>
                  <a:lnTo>
                    <a:pt x="193297" y="183349"/>
                  </a:lnTo>
                  <a:lnTo>
                    <a:pt x="193809" y="181932"/>
                  </a:lnTo>
                  <a:lnTo>
                    <a:pt x="193664" y="179266"/>
                  </a:lnTo>
                  <a:lnTo>
                    <a:pt x="192641" y="177348"/>
                  </a:lnTo>
                  <a:lnTo>
                    <a:pt x="191470" y="176514"/>
                  </a:lnTo>
                  <a:lnTo>
                    <a:pt x="191615" y="175930"/>
                  </a:lnTo>
                  <a:lnTo>
                    <a:pt x="192127" y="174594"/>
                  </a:lnTo>
                  <a:lnTo>
                    <a:pt x="192785" y="173426"/>
                  </a:lnTo>
                  <a:lnTo>
                    <a:pt x="192777" y="171116"/>
                  </a:lnTo>
                  <a:lnTo>
                    <a:pt x="191961" y="168610"/>
                  </a:lnTo>
                  <a:lnTo>
                    <a:pt x="191634" y="164990"/>
                  </a:lnTo>
                  <a:lnTo>
                    <a:pt x="191846" y="161455"/>
                  </a:lnTo>
                  <a:lnTo>
                    <a:pt x="190734" y="159673"/>
                  </a:lnTo>
                  <a:lnTo>
                    <a:pt x="181630" y="159663"/>
                  </a:lnTo>
                  <a:lnTo>
                    <a:pt x="173524" y="159798"/>
                  </a:lnTo>
                  <a:lnTo>
                    <a:pt x="173068" y="159394"/>
                  </a:lnTo>
                  <a:lnTo>
                    <a:pt x="169920" y="154931"/>
                  </a:lnTo>
                  <a:lnTo>
                    <a:pt x="167365" y="151540"/>
                  </a:lnTo>
                  <a:lnTo>
                    <a:pt x="164841" y="149538"/>
                  </a:lnTo>
                  <a:lnTo>
                    <a:pt x="159060" y="147072"/>
                  </a:lnTo>
                  <a:lnTo>
                    <a:pt x="156296" y="146043"/>
                  </a:lnTo>
                  <a:lnTo>
                    <a:pt x="153925" y="144160"/>
                  </a:lnTo>
                  <a:lnTo>
                    <a:pt x="151988" y="142098"/>
                  </a:lnTo>
                  <a:lnTo>
                    <a:pt x="151487" y="139266"/>
                  </a:lnTo>
                  <a:lnTo>
                    <a:pt x="151094" y="138337"/>
                  </a:lnTo>
                  <a:lnTo>
                    <a:pt x="150537" y="137584"/>
                  </a:lnTo>
                  <a:lnTo>
                    <a:pt x="149926" y="137249"/>
                  </a:lnTo>
                  <a:lnTo>
                    <a:pt x="149190" y="137325"/>
                  </a:lnTo>
                  <a:lnTo>
                    <a:pt x="142476" y="134032"/>
                  </a:lnTo>
                  <a:lnTo>
                    <a:pt x="139783" y="133167"/>
                  </a:lnTo>
                  <a:lnTo>
                    <a:pt x="137248" y="133863"/>
                  </a:lnTo>
                  <a:lnTo>
                    <a:pt x="136130" y="133983"/>
                  </a:lnTo>
                  <a:lnTo>
                    <a:pt x="133925" y="133047"/>
                  </a:lnTo>
                  <a:lnTo>
                    <a:pt x="131388" y="134316"/>
                  </a:lnTo>
                  <a:lnTo>
                    <a:pt x="130304" y="134397"/>
                  </a:lnTo>
                  <a:lnTo>
                    <a:pt x="128788" y="134094"/>
                  </a:lnTo>
                  <a:lnTo>
                    <a:pt x="127537" y="133619"/>
                  </a:lnTo>
                  <a:lnTo>
                    <a:pt x="124158" y="130620"/>
                  </a:lnTo>
                  <a:lnTo>
                    <a:pt x="121323" y="129406"/>
                  </a:lnTo>
                  <a:lnTo>
                    <a:pt x="119280" y="128629"/>
                  </a:lnTo>
                  <a:lnTo>
                    <a:pt x="115352" y="127490"/>
                  </a:lnTo>
                  <a:lnTo>
                    <a:pt x="111161" y="126896"/>
                  </a:lnTo>
                  <a:lnTo>
                    <a:pt x="109012" y="126403"/>
                  </a:lnTo>
                  <a:lnTo>
                    <a:pt x="107462" y="125746"/>
                  </a:lnTo>
                  <a:lnTo>
                    <a:pt x="107064" y="125321"/>
                  </a:lnTo>
                  <a:lnTo>
                    <a:pt x="107086" y="124219"/>
                  </a:lnTo>
                  <a:lnTo>
                    <a:pt x="106969" y="122772"/>
                  </a:lnTo>
                  <a:lnTo>
                    <a:pt x="106453" y="121719"/>
                  </a:lnTo>
                  <a:lnTo>
                    <a:pt x="105393" y="120456"/>
                  </a:lnTo>
                  <a:lnTo>
                    <a:pt x="103920" y="119510"/>
                  </a:lnTo>
                  <a:lnTo>
                    <a:pt x="101387" y="119676"/>
                  </a:lnTo>
                  <a:lnTo>
                    <a:pt x="97576" y="119597"/>
                  </a:lnTo>
                  <a:lnTo>
                    <a:pt x="94657" y="118646"/>
                  </a:lnTo>
                  <a:lnTo>
                    <a:pt x="92342" y="118477"/>
                  </a:lnTo>
                  <a:lnTo>
                    <a:pt x="89558" y="118657"/>
                  </a:lnTo>
                  <a:lnTo>
                    <a:pt x="87271" y="118662"/>
                  </a:lnTo>
                  <a:lnTo>
                    <a:pt x="85641" y="119353"/>
                  </a:lnTo>
                  <a:lnTo>
                    <a:pt x="84695" y="120159"/>
                  </a:lnTo>
                  <a:lnTo>
                    <a:pt x="84095" y="122631"/>
                  </a:lnTo>
                  <a:lnTo>
                    <a:pt x="83544" y="123001"/>
                  </a:lnTo>
                  <a:lnTo>
                    <a:pt x="82587" y="123181"/>
                  </a:lnTo>
                  <a:lnTo>
                    <a:pt x="81314" y="123053"/>
                  </a:lnTo>
                  <a:lnTo>
                    <a:pt x="78640" y="123074"/>
                  </a:lnTo>
                  <a:lnTo>
                    <a:pt x="74019" y="122636"/>
                  </a:lnTo>
                  <a:lnTo>
                    <a:pt x="68206" y="122505"/>
                  </a:lnTo>
                  <a:lnTo>
                    <a:pt x="63838" y="123752"/>
                  </a:lnTo>
                  <a:lnTo>
                    <a:pt x="60385" y="125541"/>
                  </a:lnTo>
                  <a:lnTo>
                    <a:pt x="57087" y="127562"/>
                  </a:lnTo>
                  <a:lnTo>
                    <a:pt x="53207" y="130751"/>
                  </a:lnTo>
                  <a:lnTo>
                    <a:pt x="52069" y="132165"/>
                  </a:lnTo>
                  <a:lnTo>
                    <a:pt x="49782" y="137807"/>
                  </a:lnTo>
                  <a:lnTo>
                    <a:pt x="48769" y="138617"/>
                  </a:lnTo>
                  <a:lnTo>
                    <a:pt x="47448" y="139266"/>
                  </a:lnTo>
                  <a:lnTo>
                    <a:pt x="46105" y="139381"/>
                  </a:lnTo>
                  <a:lnTo>
                    <a:pt x="43446" y="140214"/>
                  </a:lnTo>
                  <a:lnTo>
                    <a:pt x="39933" y="141591"/>
                  </a:lnTo>
                  <a:lnTo>
                    <a:pt x="37541" y="142130"/>
                  </a:lnTo>
                  <a:lnTo>
                    <a:pt x="31406" y="141847"/>
                  </a:lnTo>
                  <a:lnTo>
                    <a:pt x="31045" y="140061"/>
                  </a:lnTo>
                  <a:lnTo>
                    <a:pt x="29940" y="133523"/>
                  </a:lnTo>
                  <a:lnTo>
                    <a:pt x="29402" y="126910"/>
                  </a:lnTo>
                  <a:lnTo>
                    <a:pt x="29439" y="123860"/>
                  </a:lnTo>
                  <a:lnTo>
                    <a:pt x="30078" y="117731"/>
                  </a:lnTo>
                  <a:lnTo>
                    <a:pt x="30028" y="114640"/>
                  </a:lnTo>
                  <a:lnTo>
                    <a:pt x="29767" y="111834"/>
                  </a:lnTo>
                  <a:lnTo>
                    <a:pt x="30022" y="109082"/>
                  </a:lnTo>
                  <a:lnTo>
                    <a:pt x="30512" y="105984"/>
                  </a:lnTo>
                  <a:lnTo>
                    <a:pt x="30769" y="102832"/>
                  </a:lnTo>
                  <a:lnTo>
                    <a:pt x="30400" y="100631"/>
                  </a:lnTo>
                  <a:lnTo>
                    <a:pt x="29212" y="98854"/>
                  </a:lnTo>
                  <a:lnTo>
                    <a:pt x="27204" y="96654"/>
                  </a:lnTo>
                  <a:lnTo>
                    <a:pt x="26886" y="95351"/>
                  </a:lnTo>
                  <a:lnTo>
                    <a:pt x="26772" y="93897"/>
                  </a:lnTo>
                  <a:lnTo>
                    <a:pt x="24848" y="93732"/>
                  </a:lnTo>
                  <a:lnTo>
                    <a:pt x="23120" y="92227"/>
                  </a:lnTo>
                  <a:lnTo>
                    <a:pt x="21695" y="91407"/>
                  </a:lnTo>
                  <a:lnTo>
                    <a:pt x="18629" y="90496"/>
                  </a:lnTo>
                  <a:lnTo>
                    <a:pt x="17091" y="90450"/>
                  </a:lnTo>
                  <a:lnTo>
                    <a:pt x="15688" y="91119"/>
                  </a:lnTo>
                  <a:lnTo>
                    <a:pt x="14656" y="92461"/>
                  </a:lnTo>
                  <a:lnTo>
                    <a:pt x="13934" y="90345"/>
                  </a:lnTo>
                  <a:lnTo>
                    <a:pt x="13952" y="88130"/>
                  </a:lnTo>
                  <a:lnTo>
                    <a:pt x="16402" y="83547"/>
                  </a:lnTo>
                  <a:lnTo>
                    <a:pt x="17936" y="84884"/>
                  </a:lnTo>
                  <a:lnTo>
                    <a:pt x="19808" y="85421"/>
                  </a:lnTo>
                  <a:lnTo>
                    <a:pt x="22190" y="85502"/>
                  </a:lnTo>
                  <a:lnTo>
                    <a:pt x="24528" y="85147"/>
                  </a:lnTo>
                  <a:lnTo>
                    <a:pt x="24070" y="83576"/>
                  </a:lnTo>
                  <a:lnTo>
                    <a:pt x="22984" y="82685"/>
                  </a:lnTo>
                  <a:lnTo>
                    <a:pt x="21635" y="81981"/>
                  </a:lnTo>
                  <a:lnTo>
                    <a:pt x="21153" y="79907"/>
                  </a:lnTo>
                  <a:lnTo>
                    <a:pt x="21326" y="77756"/>
                  </a:lnTo>
                  <a:lnTo>
                    <a:pt x="21967" y="75720"/>
                  </a:lnTo>
                  <a:lnTo>
                    <a:pt x="21237" y="74899"/>
                  </a:lnTo>
                  <a:lnTo>
                    <a:pt x="20130" y="74392"/>
                  </a:lnTo>
                  <a:lnTo>
                    <a:pt x="17573" y="74452"/>
                  </a:lnTo>
                  <a:lnTo>
                    <a:pt x="14256" y="73914"/>
                  </a:lnTo>
                  <a:lnTo>
                    <a:pt x="10915" y="73681"/>
                  </a:lnTo>
                  <a:lnTo>
                    <a:pt x="10134" y="76083"/>
                  </a:lnTo>
                  <a:lnTo>
                    <a:pt x="11978" y="79234"/>
                  </a:lnTo>
                  <a:lnTo>
                    <a:pt x="10414" y="77686"/>
                  </a:lnTo>
                  <a:lnTo>
                    <a:pt x="8942" y="75638"/>
                  </a:lnTo>
                  <a:lnTo>
                    <a:pt x="6873" y="71950"/>
                  </a:lnTo>
                  <a:lnTo>
                    <a:pt x="5541" y="67622"/>
                  </a:lnTo>
                  <a:lnTo>
                    <a:pt x="5303" y="62943"/>
                  </a:lnTo>
                  <a:lnTo>
                    <a:pt x="6432" y="59068"/>
                  </a:lnTo>
                  <a:lnTo>
                    <a:pt x="7873" y="55426"/>
                  </a:lnTo>
                  <a:lnTo>
                    <a:pt x="8743" y="50758"/>
                  </a:lnTo>
                  <a:lnTo>
                    <a:pt x="9942" y="46166"/>
                  </a:lnTo>
                  <a:lnTo>
                    <a:pt x="11140" y="48224"/>
                  </a:lnTo>
                  <a:lnTo>
                    <a:pt x="12509" y="50067"/>
                  </a:lnTo>
                  <a:lnTo>
                    <a:pt x="14403" y="51770"/>
                  </a:lnTo>
                  <a:lnTo>
                    <a:pt x="15437" y="52176"/>
                  </a:lnTo>
                  <a:lnTo>
                    <a:pt x="18553" y="52879"/>
                  </a:lnTo>
                  <a:lnTo>
                    <a:pt x="20559" y="52615"/>
                  </a:lnTo>
                  <a:lnTo>
                    <a:pt x="22697" y="51609"/>
                  </a:lnTo>
                  <a:lnTo>
                    <a:pt x="24796" y="51939"/>
                  </a:lnTo>
                  <a:lnTo>
                    <a:pt x="26532" y="53831"/>
                  </a:lnTo>
                  <a:lnTo>
                    <a:pt x="28080" y="55950"/>
                  </a:lnTo>
                  <a:lnTo>
                    <a:pt x="30430" y="56396"/>
                  </a:lnTo>
                  <a:lnTo>
                    <a:pt x="35269" y="54864"/>
                  </a:lnTo>
                  <a:lnTo>
                    <a:pt x="37571" y="54514"/>
                  </a:lnTo>
                  <a:lnTo>
                    <a:pt x="39568" y="55215"/>
                  </a:lnTo>
                  <a:lnTo>
                    <a:pt x="40599" y="55344"/>
                  </a:lnTo>
                  <a:lnTo>
                    <a:pt x="41648" y="55227"/>
                  </a:lnTo>
                  <a:lnTo>
                    <a:pt x="40739" y="53345"/>
                  </a:lnTo>
                  <a:lnTo>
                    <a:pt x="40367" y="51517"/>
                  </a:lnTo>
                  <a:lnTo>
                    <a:pt x="41583" y="50550"/>
                  </a:lnTo>
                  <a:lnTo>
                    <a:pt x="45401" y="51577"/>
                  </a:lnTo>
                  <a:lnTo>
                    <a:pt x="47832" y="50892"/>
                  </a:lnTo>
                  <a:lnTo>
                    <a:pt x="48452" y="50506"/>
                  </a:lnTo>
                  <a:lnTo>
                    <a:pt x="49005" y="50032"/>
                  </a:lnTo>
                  <a:lnTo>
                    <a:pt x="49296" y="48450"/>
                  </a:lnTo>
                  <a:lnTo>
                    <a:pt x="49180" y="46827"/>
                  </a:lnTo>
                  <a:lnTo>
                    <a:pt x="48865" y="45296"/>
                  </a:lnTo>
                  <a:lnTo>
                    <a:pt x="48152" y="43953"/>
                  </a:lnTo>
                  <a:lnTo>
                    <a:pt x="46399" y="42072"/>
                  </a:lnTo>
                  <a:lnTo>
                    <a:pt x="39596" y="37585"/>
                  </a:lnTo>
                  <a:lnTo>
                    <a:pt x="37307" y="35793"/>
                  </a:lnTo>
                  <a:lnTo>
                    <a:pt x="35401" y="33473"/>
                  </a:lnTo>
                  <a:lnTo>
                    <a:pt x="34185" y="30195"/>
                  </a:lnTo>
                  <a:lnTo>
                    <a:pt x="33198" y="26774"/>
                  </a:lnTo>
                  <a:lnTo>
                    <a:pt x="32282" y="24232"/>
                  </a:lnTo>
                  <a:lnTo>
                    <a:pt x="29909" y="18321"/>
                  </a:lnTo>
                  <a:lnTo>
                    <a:pt x="28985" y="17618"/>
                  </a:lnTo>
                  <a:lnTo>
                    <a:pt x="27828" y="17305"/>
                  </a:lnTo>
                  <a:lnTo>
                    <a:pt x="25010" y="17120"/>
                  </a:lnTo>
                  <a:lnTo>
                    <a:pt x="22157" y="17551"/>
                  </a:lnTo>
                  <a:lnTo>
                    <a:pt x="17493" y="18569"/>
                  </a:lnTo>
                  <a:lnTo>
                    <a:pt x="14822" y="18251"/>
                  </a:lnTo>
                  <a:lnTo>
                    <a:pt x="13587" y="18881"/>
                  </a:lnTo>
                  <a:lnTo>
                    <a:pt x="10529" y="21374"/>
                  </a:lnTo>
                  <a:lnTo>
                    <a:pt x="9097" y="23508"/>
                  </a:lnTo>
                  <a:lnTo>
                    <a:pt x="7098" y="28383"/>
                  </a:lnTo>
                  <a:lnTo>
                    <a:pt x="8616" y="29952"/>
                  </a:lnTo>
                  <a:lnTo>
                    <a:pt x="8588" y="30980"/>
                  </a:lnTo>
                  <a:lnTo>
                    <a:pt x="7437" y="38161"/>
                  </a:lnTo>
                  <a:lnTo>
                    <a:pt x="8136" y="41637"/>
                  </a:lnTo>
                  <a:lnTo>
                    <a:pt x="7884" y="41895"/>
                  </a:lnTo>
                  <a:lnTo>
                    <a:pt x="7335" y="41089"/>
                  </a:lnTo>
                  <a:lnTo>
                    <a:pt x="5603" y="37540"/>
                  </a:lnTo>
                  <a:lnTo>
                    <a:pt x="2554" y="33207"/>
                  </a:lnTo>
                  <a:lnTo>
                    <a:pt x="0" y="26567"/>
                  </a:lnTo>
                  <a:lnTo>
                    <a:pt x="4489" y="22218"/>
                  </a:lnTo>
                  <a:lnTo>
                    <a:pt x="8328" y="19133"/>
                  </a:lnTo>
                  <a:lnTo>
                    <a:pt x="11468" y="17270"/>
                  </a:lnTo>
                  <a:lnTo>
                    <a:pt x="12427" y="16817"/>
                  </a:lnTo>
                  <a:lnTo>
                    <a:pt x="16722" y="15272"/>
                  </a:lnTo>
                  <a:lnTo>
                    <a:pt x="22265" y="13878"/>
                  </a:lnTo>
                  <a:lnTo>
                    <a:pt x="26346" y="12850"/>
                  </a:lnTo>
                  <a:lnTo>
                    <a:pt x="31676" y="11974"/>
                  </a:lnTo>
                  <a:lnTo>
                    <a:pt x="33418" y="11811"/>
                  </a:lnTo>
                  <a:lnTo>
                    <a:pt x="35979" y="11830"/>
                  </a:lnTo>
                  <a:lnTo>
                    <a:pt x="38057" y="12655"/>
                  </a:lnTo>
                  <a:lnTo>
                    <a:pt x="39316" y="13300"/>
                  </a:lnTo>
                  <a:lnTo>
                    <a:pt x="43760" y="15955"/>
                  </a:lnTo>
                  <a:lnTo>
                    <a:pt x="48294" y="18665"/>
                  </a:lnTo>
                  <a:lnTo>
                    <a:pt x="52184" y="21667"/>
                  </a:lnTo>
                  <a:lnTo>
                    <a:pt x="53287" y="22889"/>
                  </a:lnTo>
                  <a:lnTo>
                    <a:pt x="53904" y="24350"/>
                  </a:lnTo>
                  <a:lnTo>
                    <a:pt x="54362" y="25782"/>
                  </a:lnTo>
                  <a:lnTo>
                    <a:pt x="57668" y="30317"/>
                  </a:lnTo>
                  <a:lnTo>
                    <a:pt x="59005" y="32393"/>
                  </a:lnTo>
                  <a:lnTo>
                    <a:pt x="60936" y="35092"/>
                  </a:lnTo>
                  <a:lnTo>
                    <a:pt x="62486" y="36405"/>
                  </a:lnTo>
                  <a:lnTo>
                    <a:pt x="64004" y="38028"/>
                  </a:lnTo>
                  <a:lnTo>
                    <a:pt x="65021" y="39364"/>
                  </a:lnTo>
                  <a:lnTo>
                    <a:pt x="66185" y="39997"/>
                  </a:lnTo>
                  <a:lnTo>
                    <a:pt x="67472" y="40248"/>
                  </a:lnTo>
                  <a:lnTo>
                    <a:pt x="70422" y="39825"/>
                  </a:lnTo>
                  <a:lnTo>
                    <a:pt x="73969" y="38981"/>
                  </a:lnTo>
                  <a:lnTo>
                    <a:pt x="76090" y="38629"/>
                  </a:lnTo>
                  <a:lnTo>
                    <a:pt x="77029" y="38680"/>
                  </a:lnTo>
                  <a:lnTo>
                    <a:pt x="82879" y="38980"/>
                  </a:lnTo>
                  <a:lnTo>
                    <a:pt x="88139" y="39249"/>
                  </a:lnTo>
                  <a:lnTo>
                    <a:pt x="94635" y="39583"/>
                  </a:lnTo>
                  <a:lnTo>
                    <a:pt x="96563" y="39896"/>
                  </a:lnTo>
                  <a:lnTo>
                    <a:pt x="98885" y="40185"/>
                  </a:lnTo>
                  <a:lnTo>
                    <a:pt x="100038" y="40229"/>
                  </a:lnTo>
                  <a:lnTo>
                    <a:pt x="101061" y="39074"/>
                  </a:lnTo>
                  <a:lnTo>
                    <a:pt x="101737" y="38440"/>
                  </a:lnTo>
                  <a:lnTo>
                    <a:pt x="102268" y="37939"/>
                  </a:lnTo>
                  <a:lnTo>
                    <a:pt x="102158" y="37372"/>
                  </a:lnTo>
                  <a:lnTo>
                    <a:pt x="101336" y="36891"/>
                  </a:lnTo>
                  <a:lnTo>
                    <a:pt x="100042" y="35291"/>
                  </a:lnTo>
                  <a:lnTo>
                    <a:pt x="99305" y="29507"/>
                  </a:lnTo>
                  <a:lnTo>
                    <a:pt x="98846" y="24548"/>
                  </a:lnTo>
                  <a:lnTo>
                    <a:pt x="100385" y="23002"/>
                  </a:lnTo>
                  <a:lnTo>
                    <a:pt x="102152" y="21880"/>
                  </a:lnTo>
                  <a:lnTo>
                    <a:pt x="104700" y="18499"/>
                  </a:lnTo>
                  <a:lnTo>
                    <a:pt x="106067" y="17454"/>
                  </a:lnTo>
                  <a:lnTo>
                    <a:pt x="108081" y="16590"/>
                  </a:lnTo>
                  <a:lnTo>
                    <a:pt x="114812" y="16364"/>
                  </a:lnTo>
                  <a:lnTo>
                    <a:pt x="117645" y="15698"/>
                  </a:lnTo>
                  <a:lnTo>
                    <a:pt x="118567" y="14602"/>
                  </a:lnTo>
                  <a:lnTo>
                    <a:pt x="120060" y="11830"/>
                  </a:lnTo>
                  <a:lnTo>
                    <a:pt x="120552" y="9570"/>
                  </a:lnTo>
                  <a:lnTo>
                    <a:pt x="121387" y="8536"/>
                  </a:lnTo>
                  <a:lnTo>
                    <a:pt x="122392" y="7767"/>
                  </a:lnTo>
                  <a:lnTo>
                    <a:pt x="123421" y="7797"/>
                  </a:lnTo>
                  <a:lnTo>
                    <a:pt x="125415" y="8462"/>
                  </a:lnTo>
                  <a:lnTo>
                    <a:pt x="126929" y="8832"/>
                  </a:lnTo>
                  <a:lnTo>
                    <a:pt x="128008" y="9334"/>
                  </a:lnTo>
                  <a:lnTo>
                    <a:pt x="128989" y="10132"/>
                  </a:lnTo>
                  <a:lnTo>
                    <a:pt x="129945" y="11521"/>
                  </a:lnTo>
                  <a:lnTo>
                    <a:pt x="130092" y="12435"/>
                  </a:lnTo>
                  <a:lnTo>
                    <a:pt x="130533" y="12967"/>
                  </a:lnTo>
                  <a:lnTo>
                    <a:pt x="131293" y="12978"/>
                  </a:lnTo>
                  <a:lnTo>
                    <a:pt x="131858" y="12985"/>
                  </a:lnTo>
                  <a:lnTo>
                    <a:pt x="132243" y="12784"/>
                  </a:lnTo>
                  <a:lnTo>
                    <a:pt x="132495" y="12318"/>
                  </a:lnTo>
                  <a:lnTo>
                    <a:pt x="132299" y="11698"/>
                  </a:lnTo>
                  <a:lnTo>
                    <a:pt x="130999" y="9925"/>
                  </a:lnTo>
                  <a:lnTo>
                    <a:pt x="128135" y="6709"/>
                  </a:lnTo>
                  <a:lnTo>
                    <a:pt x="126265" y="5400"/>
                  </a:lnTo>
                  <a:lnTo>
                    <a:pt x="125335" y="4690"/>
                  </a:lnTo>
                  <a:lnTo>
                    <a:pt x="125104" y="4020"/>
                  </a:lnTo>
                  <a:lnTo>
                    <a:pt x="126317" y="2998"/>
                  </a:lnTo>
                  <a:lnTo>
                    <a:pt x="127494" y="2416"/>
                  </a:lnTo>
                  <a:lnTo>
                    <a:pt x="129561" y="2853"/>
                  </a:lnTo>
                  <a:lnTo>
                    <a:pt x="132303" y="3091"/>
                  </a:lnTo>
                  <a:lnTo>
                    <a:pt x="133523" y="2581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04" name="ee4p_TL_1_37365">
              <a:extLst>
                <a:ext uri="{FF2B5EF4-FFF2-40B4-BE49-F238E27FC236}">
                  <a16:creationId xmlns:a16="http://schemas.microsoft.com/office/drawing/2014/main" id="{9F424B6A-A554-BB8F-806D-62CAEFEE835E}"/>
                </a:ext>
              </a:extLst>
            </p:cNvPr>
            <p:cNvSpPr>
              <a:spLocks noChangeAspect="1"/>
            </p:cNvSpPr>
            <p:nvPr>
              <p:custDataLst>
                <p:tags r:id="rId258"/>
              </p:custDataLst>
            </p:nvPr>
          </p:nvSpPr>
          <p:spPr>
            <a:xfrm>
              <a:off x="9959107" y="4908479"/>
              <a:ext cx="90521" cy="39436"/>
            </a:xfrm>
            <a:custGeom>
              <a:avLst/>
              <a:gdLst>
                <a:gd name="connsiteX0" fmla="*/ 9024 w 72080"/>
                <a:gd name="connsiteY0" fmla="*/ 23398 h 30570"/>
                <a:gd name="connsiteX1" fmla="*/ 8888 w 72080"/>
                <a:gd name="connsiteY1" fmla="*/ 24473 h 30570"/>
                <a:gd name="connsiteX2" fmla="*/ 8328 w 72080"/>
                <a:gd name="connsiteY2" fmla="*/ 26163 h 30570"/>
                <a:gd name="connsiteX3" fmla="*/ 7504 w 72080"/>
                <a:gd name="connsiteY3" fmla="*/ 26956 h 30570"/>
                <a:gd name="connsiteX4" fmla="*/ 6258 w 72080"/>
                <a:gd name="connsiteY4" fmla="*/ 28381 h 30570"/>
                <a:gd name="connsiteX5" fmla="*/ 5439 w 72080"/>
                <a:gd name="connsiteY5" fmla="*/ 28696 h 30570"/>
                <a:gd name="connsiteX6" fmla="*/ 2172 w 72080"/>
                <a:gd name="connsiteY6" fmla="*/ 28383 h 30570"/>
                <a:gd name="connsiteX7" fmla="*/ 1751 w 72080"/>
                <a:gd name="connsiteY7" fmla="*/ 28590 h 30570"/>
                <a:gd name="connsiteX8" fmla="*/ 1190 w 72080"/>
                <a:gd name="connsiteY8" fmla="*/ 28440 h 30570"/>
                <a:gd name="connsiteX9" fmla="*/ 357 w 72080"/>
                <a:gd name="connsiteY9" fmla="*/ 27524 h 30570"/>
                <a:gd name="connsiteX10" fmla="*/ 0 w 72080"/>
                <a:gd name="connsiteY10" fmla="*/ 26771 h 30570"/>
                <a:gd name="connsiteX11" fmla="*/ 3578 w 72080"/>
                <a:gd name="connsiteY11" fmla="*/ 24865 h 30570"/>
                <a:gd name="connsiteX12" fmla="*/ 64790 w 72080"/>
                <a:gd name="connsiteY12" fmla="*/ 3913 h 30570"/>
                <a:gd name="connsiteX13" fmla="*/ 66826 w 72080"/>
                <a:gd name="connsiteY13" fmla="*/ 4637 h 30570"/>
                <a:gd name="connsiteX14" fmla="*/ 70284 w 72080"/>
                <a:gd name="connsiteY14" fmla="*/ 5187 h 30570"/>
                <a:gd name="connsiteX15" fmla="*/ 71217 w 72080"/>
                <a:gd name="connsiteY15" fmla="*/ 5668 h 30570"/>
                <a:gd name="connsiteX16" fmla="*/ 72080 w 72080"/>
                <a:gd name="connsiteY16" fmla="*/ 6335 h 30570"/>
                <a:gd name="connsiteX17" fmla="*/ 68066 w 72080"/>
                <a:gd name="connsiteY17" fmla="*/ 9877 h 30570"/>
                <a:gd name="connsiteX18" fmla="*/ 63659 w 72080"/>
                <a:gd name="connsiteY18" fmla="*/ 12810 h 30570"/>
                <a:gd name="connsiteX19" fmla="*/ 60945 w 72080"/>
                <a:gd name="connsiteY19" fmla="*/ 13697 h 30570"/>
                <a:gd name="connsiteX20" fmla="*/ 58135 w 72080"/>
                <a:gd name="connsiteY20" fmla="*/ 14298 h 30570"/>
                <a:gd name="connsiteX21" fmla="*/ 55993 w 72080"/>
                <a:gd name="connsiteY21" fmla="*/ 15431 h 30570"/>
                <a:gd name="connsiteX22" fmla="*/ 54188 w 72080"/>
                <a:gd name="connsiteY22" fmla="*/ 17209 h 30570"/>
                <a:gd name="connsiteX23" fmla="*/ 51879 w 72080"/>
                <a:gd name="connsiteY23" fmla="*/ 18210 h 30570"/>
                <a:gd name="connsiteX24" fmla="*/ 49275 w 72080"/>
                <a:gd name="connsiteY24" fmla="*/ 18548 h 30570"/>
                <a:gd name="connsiteX25" fmla="*/ 47053 w 72080"/>
                <a:gd name="connsiteY25" fmla="*/ 19081 h 30570"/>
                <a:gd name="connsiteX26" fmla="*/ 45036 w 72080"/>
                <a:gd name="connsiteY26" fmla="*/ 20126 h 30570"/>
                <a:gd name="connsiteX27" fmla="*/ 42229 w 72080"/>
                <a:gd name="connsiteY27" fmla="*/ 21917 h 30570"/>
                <a:gd name="connsiteX28" fmla="*/ 41093 w 72080"/>
                <a:gd name="connsiteY28" fmla="*/ 22100 h 30570"/>
                <a:gd name="connsiteX29" fmla="*/ 39890 w 72080"/>
                <a:gd name="connsiteY29" fmla="*/ 22057 h 30570"/>
                <a:gd name="connsiteX30" fmla="*/ 37565 w 72080"/>
                <a:gd name="connsiteY30" fmla="*/ 22743 h 30570"/>
                <a:gd name="connsiteX31" fmla="*/ 30331 w 72080"/>
                <a:gd name="connsiteY31" fmla="*/ 25303 h 30570"/>
                <a:gd name="connsiteX32" fmla="*/ 25958 w 72080"/>
                <a:gd name="connsiteY32" fmla="*/ 28152 h 30570"/>
                <a:gd name="connsiteX33" fmla="*/ 22816 w 72080"/>
                <a:gd name="connsiteY33" fmla="*/ 30570 h 30570"/>
                <a:gd name="connsiteX34" fmla="*/ 22052 w 72080"/>
                <a:gd name="connsiteY34" fmla="*/ 27668 h 30570"/>
                <a:gd name="connsiteX35" fmla="*/ 21242 w 72080"/>
                <a:gd name="connsiteY35" fmla="*/ 26423 h 30570"/>
                <a:gd name="connsiteX36" fmla="*/ 20607 w 72080"/>
                <a:gd name="connsiteY36" fmla="*/ 25715 h 30570"/>
                <a:gd name="connsiteX37" fmla="*/ 20394 w 72080"/>
                <a:gd name="connsiteY37" fmla="*/ 24833 h 30570"/>
                <a:gd name="connsiteX38" fmla="*/ 20428 w 72080"/>
                <a:gd name="connsiteY38" fmla="*/ 23920 h 30570"/>
                <a:gd name="connsiteX39" fmla="*/ 20812 w 72080"/>
                <a:gd name="connsiteY39" fmla="*/ 23500 h 30570"/>
                <a:gd name="connsiteX40" fmla="*/ 23531 w 72080"/>
                <a:gd name="connsiteY40" fmla="*/ 23387 h 30570"/>
                <a:gd name="connsiteX41" fmla="*/ 24613 w 72080"/>
                <a:gd name="connsiteY41" fmla="*/ 21896 h 30570"/>
                <a:gd name="connsiteX42" fmla="*/ 24604 w 72080"/>
                <a:gd name="connsiteY42" fmla="*/ 20104 h 30570"/>
                <a:gd name="connsiteX43" fmla="*/ 24060 w 72080"/>
                <a:gd name="connsiteY43" fmla="*/ 19499 h 30570"/>
                <a:gd name="connsiteX44" fmla="*/ 23529 w 72080"/>
                <a:gd name="connsiteY44" fmla="*/ 19244 h 30570"/>
                <a:gd name="connsiteX45" fmla="*/ 20717 w 72080"/>
                <a:gd name="connsiteY45" fmla="*/ 20587 h 30570"/>
                <a:gd name="connsiteX46" fmla="*/ 19911 w 72080"/>
                <a:gd name="connsiteY46" fmla="*/ 20346 h 30570"/>
                <a:gd name="connsiteX47" fmla="*/ 19430 w 72080"/>
                <a:gd name="connsiteY47" fmla="*/ 19858 h 30570"/>
                <a:gd name="connsiteX48" fmla="*/ 19590 w 72080"/>
                <a:gd name="connsiteY48" fmla="*/ 17873 h 30570"/>
                <a:gd name="connsiteX49" fmla="*/ 21905 w 72080"/>
                <a:gd name="connsiteY49" fmla="*/ 16015 h 30570"/>
                <a:gd name="connsiteX50" fmla="*/ 23868 w 72080"/>
                <a:gd name="connsiteY50" fmla="*/ 12649 h 30570"/>
                <a:gd name="connsiteX51" fmla="*/ 25245 w 72080"/>
                <a:gd name="connsiteY51" fmla="*/ 11309 h 30570"/>
                <a:gd name="connsiteX52" fmla="*/ 28454 w 72080"/>
                <a:gd name="connsiteY52" fmla="*/ 10050 h 30570"/>
                <a:gd name="connsiteX53" fmla="*/ 29752 w 72080"/>
                <a:gd name="connsiteY53" fmla="*/ 9695 h 30570"/>
                <a:gd name="connsiteX54" fmla="*/ 39093 w 72080"/>
                <a:gd name="connsiteY54" fmla="*/ 7842 h 30570"/>
                <a:gd name="connsiteX55" fmla="*/ 41322 w 72080"/>
                <a:gd name="connsiteY55" fmla="*/ 7716 h 30570"/>
                <a:gd name="connsiteX56" fmla="*/ 47243 w 72080"/>
                <a:gd name="connsiteY56" fmla="*/ 7770 h 30570"/>
                <a:gd name="connsiteX57" fmla="*/ 55164 w 72080"/>
                <a:gd name="connsiteY57" fmla="*/ 7366 h 30570"/>
                <a:gd name="connsiteX58" fmla="*/ 57125 w 72080"/>
                <a:gd name="connsiteY58" fmla="*/ 7114 h 30570"/>
                <a:gd name="connsiteX59" fmla="*/ 59664 w 72080"/>
                <a:gd name="connsiteY59" fmla="*/ 6296 h 30570"/>
                <a:gd name="connsiteX60" fmla="*/ 62121 w 72080"/>
                <a:gd name="connsiteY60" fmla="*/ 5285 h 30570"/>
                <a:gd name="connsiteX61" fmla="*/ 63425 w 72080"/>
                <a:gd name="connsiteY61" fmla="*/ 4489 h 30570"/>
                <a:gd name="connsiteX62" fmla="*/ 35596 w 72080"/>
                <a:gd name="connsiteY62" fmla="*/ 0 h 30570"/>
                <a:gd name="connsiteX63" fmla="*/ 34122 w 72080"/>
                <a:gd name="connsiteY63" fmla="*/ 3826 h 30570"/>
                <a:gd name="connsiteX64" fmla="*/ 32522 w 72080"/>
                <a:gd name="connsiteY64" fmla="*/ 3009 h 30570"/>
                <a:gd name="connsiteX65" fmla="*/ 34224 w 72080"/>
                <a:gd name="connsiteY65" fmla="*/ 861 h 30570"/>
                <a:gd name="connsiteX66" fmla="*/ 35042 w 72080"/>
                <a:gd name="connsiteY66" fmla="*/ 224 h 30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72080" h="30570">
                  <a:moveTo>
                    <a:pt x="9024" y="23398"/>
                  </a:moveTo>
                  <a:lnTo>
                    <a:pt x="8888" y="24473"/>
                  </a:lnTo>
                  <a:lnTo>
                    <a:pt x="8328" y="26163"/>
                  </a:lnTo>
                  <a:lnTo>
                    <a:pt x="7504" y="26956"/>
                  </a:lnTo>
                  <a:lnTo>
                    <a:pt x="6258" y="28381"/>
                  </a:lnTo>
                  <a:lnTo>
                    <a:pt x="5439" y="28696"/>
                  </a:lnTo>
                  <a:lnTo>
                    <a:pt x="2172" y="28383"/>
                  </a:lnTo>
                  <a:lnTo>
                    <a:pt x="1751" y="28590"/>
                  </a:lnTo>
                  <a:lnTo>
                    <a:pt x="1190" y="28440"/>
                  </a:lnTo>
                  <a:lnTo>
                    <a:pt x="357" y="27524"/>
                  </a:lnTo>
                  <a:lnTo>
                    <a:pt x="0" y="26771"/>
                  </a:lnTo>
                  <a:lnTo>
                    <a:pt x="3578" y="24865"/>
                  </a:lnTo>
                  <a:close/>
                  <a:moveTo>
                    <a:pt x="64790" y="3913"/>
                  </a:moveTo>
                  <a:lnTo>
                    <a:pt x="66826" y="4637"/>
                  </a:lnTo>
                  <a:lnTo>
                    <a:pt x="70284" y="5187"/>
                  </a:lnTo>
                  <a:lnTo>
                    <a:pt x="71217" y="5668"/>
                  </a:lnTo>
                  <a:lnTo>
                    <a:pt x="72080" y="6335"/>
                  </a:lnTo>
                  <a:lnTo>
                    <a:pt x="68066" y="9877"/>
                  </a:lnTo>
                  <a:lnTo>
                    <a:pt x="63659" y="12810"/>
                  </a:lnTo>
                  <a:lnTo>
                    <a:pt x="60945" y="13697"/>
                  </a:lnTo>
                  <a:lnTo>
                    <a:pt x="58135" y="14298"/>
                  </a:lnTo>
                  <a:lnTo>
                    <a:pt x="55993" y="15431"/>
                  </a:lnTo>
                  <a:lnTo>
                    <a:pt x="54188" y="17209"/>
                  </a:lnTo>
                  <a:lnTo>
                    <a:pt x="51879" y="18210"/>
                  </a:lnTo>
                  <a:lnTo>
                    <a:pt x="49275" y="18548"/>
                  </a:lnTo>
                  <a:lnTo>
                    <a:pt x="47053" y="19081"/>
                  </a:lnTo>
                  <a:lnTo>
                    <a:pt x="45036" y="20126"/>
                  </a:lnTo>
                  <a:lnTo>
                    <a:pt x="42229" y="21917"/>
                  </a:lnTo>
                  <a:lnTo>
                    <a:pt x="41093" y="22100"/>
                  </a:lnTo>
                  <a:lnTo>
                    <a:pt x="39890" y="22057"/>
                  </a:lnTo>
                  <a:lnTo>
                    <a:pt x="37565" y="22743"/>
                  </a:lnTo>
                  <a:lnTo>
                    <a:pt x="30331" y="25303"/>
                  </a:lnTo>
                  <a:lnTo>
                    <a:pt x="25958" y="28152"/>
                  </a:lnTo>
                  <a:lnTo>
                    <a:pt x="22816" y="30570"/>
                  </a:lnTo>
                  <a:lnTo>
                    <a:pt x="22052" y="27668"/>
                  </a:lnTo>
                  <a:lnTo>
                    <a:pt x="21242" y="26423"/>
                  </a:lnTo>
                  <a:lnTo>
                    <a:pt x="20607" y="25715"/>
                  </a:lnTo>
                  <a:lnTo>
                    <a:pt x="20394" y="24833"/>
                  </a:lnTo>
                  <a:lnTo>
                    <a:pt x="20428" y="23920"/>
                  </a:lnTo>
                  <a:lnTo>
                    <a:pt x="20812" y="23500"/>
                  </a:lnTo>
                  <a:lnTo>
                    <a:pt x="23531" y="23387"/>
                  </a:lnTo>
                  <a:lnTo>
                    <a:pt x="24613" y="21896"/>
                  </a:lnTo>
                  <a:lnTo>
                    <a:pt x="24604" y="20104"/>
                  </a:lnTo>
                  <a:lnTo>
                    <a:pt x="24060" y="19499"/>
                  </a:lnTo>
                  <a:lnTo>
                    <a:pt x="23529" y="19244"/>
                  </a:lnTo>
                  <a:lnTo>
                    <a:pt x="20717" y="20587"/>
                  </a:lnTo>
                  <a:lnTo>
                    <a:pt x="19911" y="20346"/>
                  </a:lnTo>
                  <a:lnTo>
                    <a:pt x="19430" y="19858"/>
                  </a:lnTo>
                  <a:lnTo>
                    <a:pt x="19590" y="17873"/>
                  </a:lnTo>
                  <a:lnTo>
                    <a:pt x="21905" y="16015"/>
                  </a:lnTo>
                  <a:lnTo>
                    <a:pt x="23868" y="12649"/>
                  </a:lnTo>
                  <a:lnTo>
                    <a:pt x="25245" y="11309"/>
                  </a:lnTo>
                  <a:lnTo>
                    <a:pt x="28454" y="10050"/>
                  </a:lnTo>
                  <a:lnTo>
                    <a:pt x="29752" y="9695"/>
                  </a:lnTo>
                  <a:lnTo>
                    <a:pt x="39093" y="7842"/>
                  </a:lnTo>
                  <a:lnTo>
                    <a:pt x="41322" y="7716"/>
                  </a:lnTo>
                  <a:lnTo>
                    <a:pt x="47243" y="7770"/>
                  </a:lnTo>
                  <a:lnTo>
                    <a:pt x="55164" y="7366"/>
                  </a:lnTo>
                  <a:lnTo>
                    <a:pt x="57125" y="7114"/>
                  </a:lnTo>
                  <a:lnTo>
                    <a:pt x="59664" y="6296"/>
                  </a:lnTo>
                  <a:lnTo>
                    <a:pt x="62121" y="5285"/>
                  </a:lnTo>
                  <a:lnTo>
                    <a:pt x="63425" y="4489"/>
                  </a:lnTo>
                  <a:close/>
                  <a:moveTo>
                    <a:pt x="35596" y="0"/>
                  </a:moveTo>
                  <a:lnTo>
                    <a:pt x="34122" y="3826"/>
                  </a:lnTo>
                  <a:lnTo>
                    <a:pt x="32522" y="3009"/>
                  </a:lnTo>
                  <a:lnTo>
                    <a:pt x="34224" y="861"/>
                  </a:lnTo>
                  <a:lnTo>
                    <a:pt x="35042" y="224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05" name="ee4p_TR_1_37365">
              <a:extLst>
                <a:ext uri="{FF2B5EF4-FFF2-40B4-BE49-F238E27FC236}">
                  <a16:creationId xmlns:a16="http://schemas.microsoft.com/office/drawing/2014/main" id="{C10AF68E-FF7B-4A72-24AF-EDF2299E2496}"/>
                </a:ext>
              </a:extLst>
            </p:cNvPr>
            <p:cNvSpPr>
              <a:spLocks noChangeAspect="1"/>
            </p:cNvSpPr>
            <p:nvPr>
              <p:custDataLst>
                <p:tags r:id="rId259"/>
              </p:custDataLst>
            </p:nvPr>
          </p:nvSpPr>
          <p:spPr>
            <a:xfrm>
              <a:off x="7227511" y="3399282"/>
              <a:ext cx="531733" cy="208874"/>
            </a:xfrm>
            <a:custGeom>
              <a:avLst/>
              <a:gdLst>
                <a:gd name="connsiteX0" fmla="*/ 5515 w 423407"/>
                <a:gd name="connsiteY0" fmla="*/ 48881 h 161913"/>
                <a:gd name="connsiteX1" fmla="*/ 6812 w 423407"/>
                <a:gd name="connsiteY1" fmla="*/ 50453 h 161913"/>
                <a:gd name="connsiteX2" fmla="*/ 6657 w 423407"/>
                <a:gd name="connsiteY2" fmla="*/ 51536 h 161913"/>
                <a:gd name="connsiteX3" fmla="*/ 1576 w 423407"/>
                <a:gd name="connsiteY3" fmla="*/ 52342 h 161913"/>
                <a:gd name="connsiteX4" fmla="*/ 0 w 423407"/>
                <a:gd name="connsiteY4" fmla="*/ 51547 h 161913"/>
                <a:gd name="connsiteX5" fmla="*/ 1591 w 423407"/>
                <a:gd name="connsiteY5" fmla="*/ 49970 h 161913"/>
                <a:gd name="connsiteX6" fmla="*/ 4552 w 423407"/>
                <a:gd name="connsiteY6" fmla="*/ 48993 h 161913"/>
                <a:gd name="connsiteX7" fmla="*/ 206472 w 423407"/>
                <a:gd name="connsiteY7" fmla="*/ 797 h 161913"/>
                <a:gd name="connsiteX8" fmla="*/ 209754 w 423407"/>
                <a:gd name="connsiteY8" fmla="*/ 1746 h 161913"/>
                <a:gd name="connsiteX9" fmla="*/ 209447 w 423407"/>
                <a:gd name="connsiteY9" fmla="*/ 2756 h 161913"/>
                <a:gd name="connsiteX10" fmla="*/ 208851 w 423407"/>
                <a:gd name="connsiteY10" fmla="*/ 3619 h 161913"/>
                <a:gd name="connsiteX11" fmla="*/ 209028 w 423407"/>
                <a:gd name="connsiteY11" fmla="*/ 5367 h 161913"/>
                <a:gd name="connsiteX12" fmla="*/ 210954 w 423407"/>
                <a:gd name="connsiteY12" fmla="*/ 7931 h 161913"/>
                <a:gd name="connsiteX13" fmla="*/ 212913 w 423407"/>
                <a:gd name="connsiteY13" fmla="*/ 9676 h 161913"/>
                <a:gd name="connsiteX14" fmla="*/ 218668 w 423407"/>
                <a:gd name="connsiteY14" fmla="*/ 12177 h 161913"/>
                <a:gd name="connsiteX15" fmla="*/ 226668 w 423407"/>
                <a:gd name="connsiteY15" fmla="*/ 10067 h 161913"/>
                <a:gd name="connsiteX16" fmla="*/ 227957 w 423407"/>
                <a:gd name="connsiteY16" fmla="*/ 10303 h 161913"/>
                <a:gd name="connsiteX17" fmla="*/ 229586 w 423407"/>
                <a:gd name="connsiteY17" fmla="*/ 10892 h 161913"/>
                <a:gd name="connsiteX18" fmla="*/ 232403 w 423407"/>
                <a:gd name="connsiteY18" fmla="*/ 17660 h 161913"/>
                <a:gd name="connsiteX19" fmla="*/ 234597 w 423407"/>
                <a:gd name="connsiteY19" fmla="*/ 20048 h 161913"/>
                <a:gd name="connsiteX20" fmla="*/ 237404 w 423407"/>
                <a:gd name="connsiteY20" fmla="*/ 21671 h 161913"/>
                <a:gd name="connsiteX21" fmla="*/ 239711 w 423407"/>
                <a:gd name="connsiteY21" fmla="*/ 21990 h 161913"/>
                <a:gd name="connsiteX22" fmla="*/ 241423 w 423407"/>
                <a:gd name="connsiteY22" fmla="*/ 20297 h 161913"/>
                <a:gd name="connsiteX23" fmla="*/ 242749 w 423407"/>
                <a:gd name="connsiteY23" fmla="*/ 19615 h 161913"/>
                <a:gd name="connsiteX24" fmla="*/ 245638 w 423407"/>
                <a:gd name="connsiteY24" fmla="*/ 19326 h 161913"/>
                <a:gd name="connsiteX25" fmla="*/ 250376 w 423407"/>
                <a:gd name="connsiteY25" fmla="*/ 21650 h 161913"/>
                <a:gd name="connsiteX26" fmla="*/ 252017 w 423407"/>
                <a:gd name="connsiteY26" fmla="*/ 24048 h 161913"/>
                <a:gd name="connsiteX27" fmla="*/ 260083 w 423407"/>
                <a:gd name="connsiteY27" fmla="*/ 25900 h 161913"/>
                <a:gd name="connsiteX28" fmla="*/ 267483 w 423407"/>
                <a:gd name="connsiteY28" fmla="*/ 26827 h 161913"/>
                <a:gd name="connsiteX29" fmla="*/ 270676 w 423407"/>
                <a:gd name="connsiteY29" fmla="*/ 28854 h 161913"/>
                <a:gd name="connsiteX30" fmla="*/ 281091 w 423407"/>
                <a:gd name="connsiteY30" fmla="*/ 30889 h 161913"/>
                <a:gd name="connsiteX31" fmla="*/ 284980 w 423407"/>
                <a:gd name="connsiteY31" fmla="*/ 30573 h 161913"/>
                <a:gd name="connsiteX32" fmla="*/ 291508 w 423407"/>
                <a:gd name="connsiteY32" fmla="*/ 28438 h 161913"/>
                <a:gd name="connsiteX33" fmla="*/ 304205 w 423407"/>
                <a:gd name="connsiteY33" fmla="*/ 26102 h 161913"/>
                <a:gd name="connsiteX34" fmla="*/ 312642 w 423407"/>
                <a:gd name="connsiteY34" fmla="*/ 29363 h 161913"/>
                <a:gd name="connsiteX35" fmla="*/ 314924 w 423407"/>
                <a:gd name="connsiteY35" fmla="*/ 29786 h 161913"/>
                <a:gd name="connsiteX36" fmla="*/ 316894 w 423407"/>
                <a:gd name="connsiteY36" fmla="*/ 29505 h 161913"/>
                <a:gd name="connsiteX37" fmla="*/ 319729 w 423407"/>
                <a:gd name="connsiteY37" fmla="*/ 30402 h 161913"/>
                <a:gd name="connsiteX38" fmla="*/ 322754 w 423407"/>
                <a:gd name="connsiteY38" fmla="*/ 29920 h 161913"/>
                <a:gd name="connsiteX39" fmla="*/ 332091 w 423407"/>
                <a:gd name="connsiteY39" fmla="*/ 26076 h 161913"/>
                <a:gd name="connsiteX40" fmla="*/ 335011 w 423407"/>
                <a:gd name="connsiteY40" fmla="*/ 23895 h 161913"/>
                <a:gd name="connsiteX41" fmla="*/ 338105 w 423407"/>
                <a:gd name="connsiteY41" fmla="*/ 23331 h 161913"/>
                <a:gd name="connsiteX42" fmla="*/ 340850 w 423407"/>
                <a:gd name="connsiteY42" fmla="*/ 22024 h 161913"/>
                <a:gd name="connsiteX43" fmla="*/ 348164 w 423407"/>
                <a:gd name="connsiteY43" fmla="*/ 17738 h 161913"/>
                <a:gd name="connsiteX44" fmla="*/ 350280 w 423407"/>
                <a:gd name="connsiteY44" fmla="*/ 15259 h 161913"/>
                <a:gd name="connsiteX45" fmla="*/ 351751 w 423407"/>
                <a:gd name="connsiteY45" fmla="*/ 15792 h 161913"/>
                <a:gd name="connsiteX46" fmla="*/ 354519 w 423407"/>
                <a:gd name="connsiteY46" fmla="*/ 16471 h 161913"/>
                <a:gd name="connsiteX47" fmla="*/ 356236 w 423407"/>
                <a:gd name="connsiteY47" fmla="*/ 17292 h 161913"/>
                <a:gd name="connsiteX48" fmla="*/ 357212 w 423407"/>
                <a:gd name="connsiteY48" fmla="*/ 17507 h 161913"/>
                <a:gd name="connsiteX49" fmla="*/ 359473 w 423407"/>
                <a:gd name="connsiteY49" fmla="*/ 15835 h 161913"/>
                <a:gd name="connsiteX50" fmla="*/ 362833 w 423407"/>
                <a:gd name="connsiteY50" fmla="*/ 15877 h 161913"/>
                <a:gd name="connsiteX51" fmla="*/ 365782 w 423407"/>
                <a:gd name="connsiteY51" fmla="*/ 16071 h 161913"/>
                <a:gd name="connsiteX52" fmla="*/ 367305 w 423407"/>
                <a:gd name="connsiteY52" fmla="*/ 16381 h 161913"/>
                <a:gd name="connsiteX53" fmla="*/ 369170 w 423407"/>
                <a:gd name="connsiteY53" fmla="*/ 16936 h 161913"/>
                <a:gd name="connsiteX54" fmla="*/ 371427 w 423407"/>
                <a:gd name="connsiteY54" fmla="*/ 17310 h 161913"/>
                <a:gd name="connsiteX55" fmla="*/ 372345 w 423407"/>
                <a:gd name="connsiteY55" fmla="*/ 16511 h 161913"/>
                <a:gd name="connsiteX56" fmla="*/ 373660 w 423407"/>
                <a:gd name="connsiteY56" fmla="*/ 14154 h 161913"/>
                <a:gd name="connsiteX57" fmla="*/ 374169 w 423407"/>
                <a:gd name="connsiteY57" fmla="*/ 13852 h 161913"/>
                <a:gd name="connsiteX58" fmla="*/ 374532 w 423407"/>
                <a:gd name="connsiteY58" fmla="*/ 13637 h 161913"/>
                <a:gd name="connsiteX59" fmla="*/ 376203 w 423407"/>
                <a:gd name="connsiteY59" fmla="*/ 13454 h 161913"/>
                <a:gd name="connsiteX60" fmla="*/ 377789 w 423407"/>
                <a:gd name="connsiteY60" fmla="*/ 13635 h 161913"/>
                <a:gd name="connsiteX61" fmla="*/ 378535 w 423407"/>
                <a:gd name="connsiteY61" fmla="*/ 14036 h 161913"/>
                <a:gd name="connsiteX62" fmla="*/ 379283 w 423407"/>
                <a:gd name="connsiteY62" fmla="*/ 15922 h 161913"/>
                <a:gd name="connsiteX63" fmla="*/ 381164 w 423407"/>
                <a:gd name="connsiteY63" fmla="*/ 16597 h 161913"/>
                <a:gd name="connsiteX64" fmla="*/ 384489 w 423407"/>
                <a:gd name="connsiteY64" fmla="*/ 19607 h 161913"/>
                <a:gd name="connsiteX65" fmla="*/ 386521 w 423407"/>
                <a:gd name="connsiteY65" fmla="*/ 20813 h 161913"/>
                <a:gd name="connsiteX66" fmla="*/ 387013 w 423407"/>
                <a:gd name="connsiteY66" fmla="*/ 21319 h 161913"/>
                <a:gd name="connsiteX67" fmla="*/ 386344 w 423407"/>
                <a:gd name="connsiteY67" fmla="*/ 21928 h 161913"/>
                <a:gd name="connsiteX68" fmla="*/ 386605 w 423407"/>
                <a:gd name="connsiteY68" fmla="*/ 22678 h 161913"/>
                <a:gd name="connsiteX69" fmla="*/ 387769 w 423407"/>
                <a:gd name="connsiteY69" fmla="*/ 23659 h 161913"/>
                <a:gd name="connsiteX70" fmla="*/ 389401 w 423407"/>
                <a:gd name="connsiteY70" fmla="*/ 24027 h 161913"/>
                <a:gd name="connsiteX71" fmla="*/ 391164 w 423407"/>
                <a:gd name="connsiteY71" fmla="*/ 23898 h 161913"/>
                <a:gd name="connsiteX72" fmla="*/ 392123 w 423407"/>
                <a:gd name="connsiteY72" fmla="*/ 24255 h 161913"/>
                <a:gd name="connsiteX73" fmla="*/ 392809 w 423407"/>
                <a:gd name="connsiteY73" fmla="*/ 24810 h 161913"/>
                <a:gd name="connsiteX74" fmla="*/ 392990 w 423407"/>
                <a:gd name="connsiteY74" fmla="*/ 25587 h 161913"/>
                <a:gd name="connsiteX75" fmla="*/ 392943 w 423407"/>
                <a:gd name="connsiteY75" fmla="*/ 26084 h 161913"/>
                <a:gd name="connsiteX76" fmla="*/ 393293 w 423407"/>
                <a:gd name="connsiteY76" fmla="*/ 27201 h 161913"/>
                <a:gd name="connsiteX77" fmla="*/ 394668 w 423407"/>
                <a:gd name="connsiteY77" fmla="*/ 28776 h 161913"/>
                <a:gd name="connsiteX78" fmla="*/ 396310 w 423407"/>
                <a:gd name="connsiteY78" fmla="*/ 29740 h 161913"/>
                <a:gd name="connsiteX79" fmla="*/ 397193 w 423407"/>
                <a:gd name="connsiteY79" fmla="*/ 30770 h 161913"/>
                <a:gd name="connsiteX80" fmla="*/ 398626 w 423407"/>
                <a:gd name="connsiteY80" fmla="*/ 34314 h 161913"/>
                <a:gd name="connsiteX81" fmla="*/ 399205 w 423407"/>
                <a:gd name="connsiteY81" fmla="*/ 36272 h 161913"/>
                <a:gd name="connsiteX82" fmla="*/ 398989 w 423407"/>
                <a:gd name="connsiteY82" fmla="*/ 38155 h 161913"/>
                <a:gd name="connsiteX83" fmla="*/ 397994 w 423407"/>
                <a:gd name="connsiteY83" fmla="*/ 40087 h 161913"/>
                <a:gd name="connsiteX84" fmla="*/ 395815 w 423407"/>
                <a:gd name="connsiteY84" fmla="*/ 42489 h 161913"/>
                <a:gd name="connsiteX85" fmla="*/ 396355 w 423407"/>
                <a:gd name="connsiteY85" fmla="*/ 43492 h 161913"/>
                <a:gd name="connsiteX86" fmla="*/ 396843 w 423407"/>
                <a:gd name="connsiteY86" fmla="*/ 44820 h 161913"/>
                <a:gd name="connsiteX87" fmla="*/ 396679 w 423407"/>
                <a:gd name="connsiteY87" fmla="*/ 45780 h 161913"/>
                <a:gd name="connsiteX88" fmla="*/ 398221 w 423407"/>
                <a:gd name="connsiteY88" fmla="*/ 48846 h 161913"/>
                <a:gd name="connsiteX89" fmla="*/ 398922 w 423407"/>
                <a:gd name="connsiteY89" fmla="*/ 50748 h 161913"/>
                <a:gd name="connsiteX90" fmla="*/ 398335 w 423407"/>
                <a:gd name="connsiteY90" fmla="*/ 51188 h 161913"/>
                <a:gd name="connsiteX91" fmla="*/ 397957 w 423407"/>
                <a:gd name="connsiteY91" fmla="*/ 51796 h 161913"/>
                <a:gd name="connsiteX92" fmla="*/ 400732 w 423407"/>
                <a:gd name="connsiteY92" fmla="*/ 53260 h 161913"/>
                <a:gd name="connsiteX93" fmla="*/ 404055 w 423407"/>
                <a:gd name="connsiteY93" fmla="*/ 54489 h 161913"/>
                <a:gd name="connsiteX94" fmla="*/ 405457 w 423407"/>
                <a:gd name="connsiteY94" fmla="*/ 54725 h 161913"/>
                <a:gd name="connsiteX95" fmla="*/ 409275 w 423407"/>
                <a:gd name="connsiteY95" fmla="*/ 54161 h 161913"/>
                <a:gd name="connsiteX96" fmla="*/ 411734 w 423407"/>
                <a:gd name="connsiteY96" fmla="*/ 54040 h 161913"/>
                <a:gd name="connsiteX97" fmla="*/ 414174 w 423407"/>
                <a:gd name="connsiteY97" fmla="*/ 55204 h 161913"/>
                <a:gd name="connsiteX98" fmla="*/ 417731 w 423407"/>
                <a:gd name="connsiteY98" fmla="*/ 58022 h 161913"/>
                <a:gd name="connsiteX99" fmla="*/ 421563 w 423407"/>
                <a:gd name="connsiteY99" fmla="*/ 61696 h 161913"/>
                <a:gd name="connsiteX100" fmla="*/ 422326 w 423407"/>
                <a:gd name="connsiteY100" fmla="*/ 62813 h 161913"/>
                <a:gd name="connsiteX101" fmla="*/ 422661 w 423407"/>
                <a:gd name="connsiteY101" fmla="*/ 63304 h 161913"/>
                <a:gd name="connsiteX102" fmla="*/ 423407 w 423407"/>
                <a:gd name="connsiteY102" fmla="*/ 64194 h 161913"/>
                <a:gd name="connsiteX103" fmla="*/ 422632 w 423407"/>
                <a:gd name="connsiteY103" fmla="*/ 64177 h 161913"/>
                <a:gd name="connsiteX104" fmla="*/ 421369 w 423407"/>
                <a:gd name="connsiteY104" fmla="*/ 63380 h 161913"/>
                <a:gd name="connsiteX105" fmla="*/ 418320 w 423407"/>
                <a:gd name="connsiteY105" fmla="*/ 61121 h 161913"/>
                <a:gd name="connsiteX106" fmla="*/ 416763 w 423407"/>
                <a:gd name="connsiteY106" fmla="*/ 62092 h 161913"/>
                <a:gd name="connsiteX107" fmla="*/ 415420 w 423407"/>
                <a:gd name="connsiteY107" fmla="*/ 63770 h 161913"/>
                <a:gd name="connsiteX108" fmla="*/ 413947 w 423407"/>
                <a:gd name="connsiteY108" fmla="*/ 70123 h 161913"/>
                <a:gd name="connsiteX109" fmla="*/ 412755 w 423407"/>
                <a:gd name="connsiteY109" fmla="*/ 70799 h 161913"/>
                <a:gd name="connsiteX110" fmla="*/ 410654 w 423407"/>
                <a:gd name="connsiteY110" fmla="*/ 70780 h 161913"/>
                <a:gd name="connsiteX111" fmla="*/ 408080 w 423407"/>
                <a:gd name="connsiteY111" fmla="*/ 70561 h 161913"/>
                <a:gd name="connsiteX112" fmla="*/ 406310 w 423407"/>
                <a:gd name="connsiteY112" fmla="*/ 70879 h 161913"/>
                <a:gd name="connsiteX113" fmla="*/ 405852 w 423407"/>
                <a:gd name="connsiteY113" fmla="*/ 71282 h 161913"/>
                <a:gd name="connsiteX114" fmla="*/ 406085 w 423407"/>
                <a:gd name="connsiteY114" fmla="*/ 71967 h 161913"/>
                <a:gd name="connsiteX115" fmla="*/ 406610 w 423407"/>
                <a:gd name="connsiteY115" fmla="*/ 73009 h 161913"/>
                <a:gd name="connsiteX116" fmla="*/ 406981 w 423407"/>
                <a:gd name="connsiteY116" fmla="*/ 74327 h 161913"/>
                <a:gd name="connsiteX117" fmla="*/ 407087 w 423407"/>
                <a:gd name="connsiteY117" fmla="*/ 75406 h 161913"/>
                <a:gd name="connsiteX118" fmla="*/ 408020 w 423407"/>
                <a:gd name="connsiteY118" fmla="*/ 76382 h 161913"/>
                <a:gd name="connsiteX119" fmla="*/ 409275 w 423407"/>
                <a:gd name="connsiteY119" fmla="*/ 77309 h 161913"/>
                <a:gd name="connsiteX120" fmla="*/ 409330 w 423407"/>
                <a:gd name="connsiteY120" fmla="*/ 78260 h 161913"/>
                <a:gd name="connsiteX121" fmla="*/ 409138 w 423407"/>
                <a:gd name="connsiteY121" fmla="*/ 79600 h 161913"/>
                <a:gd name="connsiteX122" fmla="*/ 408849 w 423407"/>
                <a:gd name="connsiteY122" fmla="*/ 80622 h 161913"/>
                <a:gd name="connsiteX123" fmla="*/ 408534 w 423407"/>
                <a:gd name="connsiteY123" fmla="*/ 81200 h 161913"/>
                <a:gd name="connsiteX124" fmla="*/ 409115 w 423407"/>
                <a:gd name="connsiteY124" fmla="*/ 82751 h 161913"/>
                <a:gd name="connsiteX125" fmla="*/ 410477 w 423407"/>
                <a:gd name="connsiteY125" fmla="*/ 84588 h 161913"/>
                <a:gd name="connsiteX126" fmla="*/ 411345 w 423407"/>
                <a:gd name="connsiteY126" fmla="*/ 85290 h 161913"/>
                <a:gd name="connsiteX127" fmla="*/ 411021 w 423407"/>
                <a:gd name="connsiteY127" fmla="*/ 88784 h 161913"/>
                <a:gd name="connsiteX128" fmla="*/ 411533 w 423407"/>
                <a:gd name="connsiteY128" fmla="*/ 90330 h 161913"/>
                <a:gd name="connsiteX129" fmla="*/ 411924 w 423407"/>
                <a:gd name="connsiteY129" fmla="*/ 92465 h 161913"/>
                <a:gd name="connsiteX130" fmla="*/ 411769 w 423407"/>
                <a:gd name="connsiteY130" fmla="*/ 96009 h 161913"/>
                <a:gd name="connsiteX131" fmla="*/ 411939 w 423407"/>
                <a:gd name="connsiteY131" fmla="*/ 96879 h 161913"/>
                <a:gd name="connsiteX132" fmla="*/ 412405 w 423407"/>
                <a:gd name="connsiteY132" fmla="*/ 97177 h 161913"/>
                <a:gd name="connsiteX133" fmla="*/ 413647 w 423407"/>
                <a:gd name="connsiteY133" fmla="*/ 97309 h 161913"/>
                <a:gd name="connsiteX134" fmla="*/ 414865 w 423407"/>
                <a:gd name="connsiteY134" fmla="*/ 97638 h 161913"/>
                <a:gd name="connsiteX135" fmla="*/ 415286 w 423407"/>
                <a:gd name="connsiteY135" fmla="*/ 98217 h 161913"/>
                <a:gd name="connsiteX136" fmla="*/ 415280 w 423407"/>
                <a:gd name="connsiteY136" fmla="*/ 98641 h 161913"/>
                <a:gd name="connsiteX137" fmla="*/ 413760 w 423407"/>
                <a:gd name="connsiteY137" fmla="*/ 100264 h 161913"/>
                <a:gd name="connsiteX138" fmla="*/ 413580 w 423407"/>
                <a:gd name="connsiteY138" fmla="*/ 101417 h 161913"/>
                <a:gd name="connsiteX139" fmla="*/ 413053 w 423407"/>
                <a:gd name="connsiteY139" fmla="*/ 103040 h 161913"/>
                <a:gd name="connsiteX140" fmla="*/ 412621 w 423407"/>
                <a:gd name="connsiteY140" fmla="*/ 103995 h 161913"/>
                <a:gd name="connsiteX141" fmla="*/ 411263 w 423407"/>
                <a:gd name="connsiteY141" fmla="*/ 105803 h 161913"/>
                <a:gd name="connsiteX142" fmla="*/ 410399 w 423407"/>
                <a:gd name="connsiteY142" fmla="*/ 107639 h 161913"/>
                <a:gd name="connsiteX143" fmla="*/ 410011 w 423407"/>
                <a:gd name="connsiteY143" fmla="*/ 109154 h 161913"/>
                <a:gd name="connsiteX144" fmla="*/ 410268 w 423407"/>
                <a:gd name="connsiteY144" fmla="*/ 109868 h 161913"/>
                <a:gd name="connsiteX145" fmla="*/ 412772 w 423407"/>
                <a:gd name="connsiteY145" fmla="*/ 110083 h 161913"/>
                <a:gd name="connsiteX146" fmla="*/ 414133 w 423407"/>
                <a:gd name="connsiteY146" fmla="*/ 111173 h 161913"/>
                <a:gd name="connsiteX147" fmla="*/ 417748 w 423407"/>
                <a:gd name="connsiteY147" fmla="*/ 113338 h 161913"/>
                <a:gd name="connsiteX148" fmla="*/ 418383 w 423407"/>
                <a:gd name="connsiteY148" fmla="*/ 114215 h 161913"/>
                <a:gd name="connsiteX149" fmla="*/ 417396 w 423407"/>
                <a:gd name="connsiteY149" fmla="*/ 115550 h 161913"/>
                <a:gd name="connsiteX150" fmla="*/ 417413 w 423407"/>
                <a:gd name="connsiteY150" fmla="*/ 116107 h 161913"/>
                <a:gd name="connsiteX151" fmla="*/ 417880 w 423407"/>
                <a:gd name="connsiteY151" fmla="*/ 116815 h 161913"/>
                <a:gd name="connsiteX152" fmla="*/ 418100 w 423407"/>
                <a:gd name="connsiteY152" fmla="*/ 118053 h 161913"/>
                <a:gd name="connsiteX153" fmla="*/ 418011 w 423407"/>
                <a:gd name="connsiteY153" fmla="*/ 119427 h 161913"/>
                <a:gd name="connsiteX154" fmla="*/ 418031 w 423407"/>
                <a:gd name="connsiteY154" fmla="*/ 121239 h 161913"/>
                <a:gd name="connsiteX155" fmla="*/ 418696 w 423407"/>
                <a:gd name="connsiteY155" fmla="*/ 121537 h 161913"/>
                <a:gd name="connsiteX156" fmla="*/ 421151 w 423407"/>
                <a:gd name="connsiteY156" fmla="*/ 123236 h 161913"/>
                <a:gd name="connsiteX157" fmla="*/ 422898 w 423407"/>
                <a:gd name="connsiteY157" fmla="*/ 124938 h 161913"/>
                <a:gd name="connsiteX158" fmla="*/ 422956 w 423407"/>
                <a:gd name="connsiteY158" fmla="*/ 125463 h 161913"/>
                <a:gd name="connsiteX159" fmla="*/ 422106 w 423407"/>
                <a:gd name="connsiteY159" fmla="*/ 126806 h 161913"/>
                <a:gd name="connsiteX160" fmla="*/ 422291 w 423407"/>
                <a:gd name="connsiteY160" fmla="*/ 128352 h 161913"/>
                <a:gd name="connsiteX161" fmla="*/ 422257 w 423407"/>
                <a:gd name="connsiteY161" fmla="*/ 128707 h 161913"/>
                <a:gd name="connsiteX162" fmla="*/ 421501 w 423407"/>
                <a:gd name="connsiteY162" fmla="*/ 128125 h 161913"/>
                <a:gd name="connsiteX163" fmla="*/ 420138 w 423407"/>
                <a:gd name="connsiteY163" fmla="*/ 127914 h 161913"/>
                <a:gd name="connsiteX164" fmla="*/ 418737 w 423407"/>
                <a:gd name="connsiteY164" fmla="*/ 127852 h 161913"/>
                <a:gd name="connsiteX165" fmla="*/ 417854 w 423407"/>
                <a:gd name="connsiteY165" fmla="*/ 128304 h 161913"/>
                <a:gd name="connsiteX166" fmla="*/ 416305 w 423407"/>
                <a:gd name="connsiteY166" fmla="*/ 129519 h 161913"/>
                <a:gd name="connsiteX167" fmla="*/ 414226 w 423407"/>
                <a:gd name="connsiteY167" fmla="*/ 130843 h 161913"/>
                <a:gd name="connsiteX168" fmla="*/ 412537 w 423407"/>
                <a:gd name="connsiteY168" fmla="*/ 132058 h 161913"/>
                <a:gd name="connsiteX169" fmla="*/ 411570 w 423407"/>
                <a:gd name="connsiteY169" fmla="*/ 132890 h 161913"/>
                <a:gd name="connsiteX170" fmla="*/ 410771 w 423407"/>
                <a:gd name="connsiteY170" fmla="*/ 132756 h 161913"/>
                <a:gd name="connsiteX171" fmla="*/ 410147 w 423407"/>
                <a:gd name="connsiteY171" fmla="*/ 132029 h 161913"/>
                <a:gd name="connsiteX172" fmla="*/ 409797 w 423407"/>
                <a:gd name="connsiteY172" fmla="*/ 131013 h 161913"/>
                <a:gd name="connsiteX173" fmla="*/ 409946 w 423407"/>
                <a:gd name="connsiteY173" fmla="*/ 127174 h 161913"/>
                <a:gd name="connsiteX174" fmla="*/ 409579 w 423407"/>
                <a:gd name="connsiteY174" fmla="*/ 125971 h 161913"/>
                <a:gd name="connsiteX175" fmla="*/ 408793 w 423407"/>
                <a:gd name="connsiteY175" fmla="*/ 125127 h 161913"/>
                <a:gd name="connsiteX176" fmla="*/ 407869 w 423407"/>
                <a:gd name="connsiteY176" fmla="*/ 124645 h 161913"/>
                <a:gd name="connsiteX177" fmla="*/ 406767 w 423407"/>
                <a:gd name="connsiteY177" fmla="*/ 124375 h 161913"/>
                <a:gd name="connsiteX178" fmla="*/ 405630 w 423407"/>
                <a:gd name="connsiteY178" fmla="*/ 124348 h 161913"/>
                <a:gd name="connsiteX179" fmla="*/ 404012 w 423407"/>
                <a:gd name="connsiteY179" fmla="*/ 125476 h 161913"/>
                <a:gd name="connsiteX180" fmla="*/ 401721 w 423407"/>
                <a:gd name="connsiteY180" fmla="*/ 126641 h 161913"/>
                <a:gd name="connsiteX181" fmla="*/ 398169 w 423407"/>
                <a:gd name="connsiteY181" fmla="*/ 126547 h 161913"/>
                <a:gd name="connsiteX182" fmla="*/ 395785 w 423407"/>
                <a:gd name="connsiteY182" fmla="*/ 126328 h 161913"/>
                <a:gd name="connsiteX183" fmla="*/ 394632 w 423407"/>
                <a:gd name="connsiteY183" fmla="*/ 126106 h 161913"/>
                <a:gd name="connsiteX184" fmla="*/ 390008 w 423407"/>
                <a:gd name="connsiteY184" fmla="*/ 124319 h 161913"/>
                <a:gd name="connsiteX185" fmla="*/ 389043 w 423407"/>
                <a:gd name="connsiteY185" fmla="*/ 124272 h 161913"/>
                <a:gd name="connsiteX186" fmla="*/ 387320 w 423407"/>
                <a:gd name="connsiteY186" fmla="*/ 123549 h 161913"/>
                <a:gd name="connsiteX187" fmla="*/ 385271 w 423407"/>
                <a:gd name="connsiteY187" fmla="*/ 122975 h 161913"/>
                <a:gd name="connsiteX188" fmla="*/ 381824 w 423407"/>
                <a:gd name="connsiteY188" fmla="*/ 124062 h 161913"/>
                <a:gd name="connsiteX189" fmla="*/ 380332 w 423407"/>
                <a:gd name="connsiteY189" fmla="*/ 123803 h 161913"/>
                <a:gd name="connsiteX190" fmla="*/ 378242 w 423407"/>
                <a:gd name="connsiteY190" fmla="*/ 122860 h 161913"/>
                <a:gd name="connsiteX191" fmla="*/ 377501 w 423407"/>
                <a:gd name="connsiteY191" fmla="*/ 123114 h 161913"/>
                <a:gd name="connsiteX192" fmla="*/ 375165 w 423407"/>
                <a:gd name="connsiteY192" fmla="*/ 125986 h 161913"/>
                <a:gd name="connsiteX193" fmla="*/ 371194 w 423407"/>
                <a:gd name="connsiteY193" fmla="*/ 129056 h 161913"/>
                <a:gd name="connsiteX194" fmla="*/ 369052 w 423407"/>
                <a:gd name="connsiteY194" fmla="*/ 129568 h 161913"/>
                <a:gd name="connsiteX195" fmla="*/ 368032 w 423407"/>
                <a:gd name="connsiteY195" fmla="*/ 126487 h 161913"/>
                <a:gd name="connsiteX196" fmla="*/ 367052 w 423407"/>
                <a:gd name="connsiteY196" fmla="*/ 125290 h 161913"/>
                <a:gd name="connsiteX197" fmla="*/ 366588 w 423407"/>
                <a:gd name="connsiteY197" fmla="*/ 125146 h 161913"/>
                <a:gd name="connsiteX198" fmla="*/ 365597 w 423407"/>
                <a:gd name="connsiteY198" fmla="*/ 124762 h 161913"/>
                <a:gd name="connsiteX199" fmla="*/ 364826 w 423407"/>
                <a:gd name="connsiteY199" fmla="*/ 124983 h 161913"/>
                <a:gd name="connsiteX200" fmla="*/ 362437 w 423407"/>
                <a:gd name="connsiteY200" fmla="*/ 127087 h 161913"/>
                <a:gd name="connsiteX201" fmla="*/ 358611 w 423407"/>
                <a:gd name="connsiteY201" fmla="*/ 128351 h 161913"/>
                <a:gd name="connsiteX202" fmla="*/ 355443 w 423407"/>
                <a:gd name="connsiteY202" fmla="*/ 129122 h 161913"/>
                <a:gd name="connsiteX203" fmla="*/ 350401 w 423407"/>
                <a:gd name="connsiteY203" fmla="*/ 130063 h 161913"/>
                <a:gd name="connsiteX204" fmla="*/ 346510 w 423407"/>
                <a:gd name="connsiteY204" fmla="*/ 130530 h 161913"/>
                <a:gd name="connsiteX205" fmla="*/ 344853 w 423407"/>
                <a:gd name="connsiteY205" fmla="*/ 130567 h 161913"/>
                <a:gd name="connsiteX206" fmla="*/ 341260 w 423407"/>
                <a:gd name="connsiteY206" fmla="*/ 130146 h 161913"/>
                <a:gd name="connsiteX207" fmla="*/ 338093 w 423407"/>
                <a:gd name="connsiteY207" fmla="*/ 129554 h 161913"/>
                <a:gd name="connsiteX208" fmla="*/ 334925 w 423407"/>
                <a:gd name="connsiteY208" fmla="*/ 129580 h 161913"/>
                <a:gd name="connsiteX209" fmla="*/ 332493 w 423407"/>
                <a:gd name="connsiteY209" fmla="*/ 129845 h 161913"/>
                <a:gd name="connsiteX210" fmla="*/ 326848 w 423407"/>
                <a:gd name="connsiteY210" fmla="*/ 132105 h 161913"/>
                <a:gd name="connsiteX211" fmla="*/ 317252 w 423407"/>
                <a:gd name="connsiteY211" fmla="*/ 136751 h 161913"/>
                <a:gd name="connsiteX212" fmla="*/ 309958 w 423407"/>
                <a:gd name="connsiteY212" fmla="*/ 138971 h 161913"/>
                <a:gd name="connsiteX213" fmla="*/ 305866 w 423407"/>
                <a:gd name="connsiteY213" fmla="*/ 139894 h 161913"/>
                <a:gd name="connsiteX214" fmla="*/ 302663 w 423407"/>
                <a:gd name="connsiteY214" fmla="*/ 140418 h 161913"/>
                <a:gd name="connsiteX215" fmla="*/ 297174 w 423407"/>
                <a:gd name="connsiteY215" fmla="*/ 140444 h 161913"/>
                <a:gd name="connsiteX216" fmla="*/ 292708 w 423407"/>
                <a:gd name="connsiteY216" fmla="*/ 140086 h 161913"/>
                <a:gd name="connsiteX217" fmla="*/ 289616 w 423407"/>
                <a:gd name="connsiteY217" fmla="*/ 140126 h 161913"/>
                <a:gd name="connsiteX218" fmla="*/ 287898 w 423407"/>
                <a:gd name="connsiteY218" fmla="*/ 139568 h 161913"/>
                <a:gd name="connsiteX219" fmla="*/ 285447 w 423407"/>
                <a:gd name="connsiteY219" fmla="*/ 137690 h 161913"/>
                <a:gd name="connsiteX220" fmla="*/ 282477 w 423407"/>
                <a:gd name="connsiteY220" fmla="*/ 135832 h 161913"/>
                <a:gd name="connsiteX221" fmla="*/ 281156 w 423407"/>
                <a:gd name="connsiteY221" fmla="*/ 135400 h 161913"/>
                <a:gd name="connsiteX222" fmla="*/ 279428 w 423407"/>
                <a:gd name="connsiteY222" fmla="*/ 135042 h 161913"/>
                <a:gd name="connsiteX223" fmla="*/ 276904 w 423407"/>
                <a:gd name="connsiteY223" fmla="*/ 134833 h 161913"/>
                <a:gd name="connsiteX224" fmla="*/ 270601 w 423407"/>
                <a:gd name="connsiteY224" fmla="*/ 137550 h 161913"/>
                <a:gd name="connsiteX225" fmla="*/ 268640 w 423407"/>
                <a:gd name="connsiteY225" fmla="*/ 138287 h 161913"/>
                <a:gd name="connsiteX226" fmla="*/ 266481 w 423407"/>
                <a:gd name="connsiteY226" fmla="*/ 138843 h 161913"/>
                <a:gd name="connsiteX227" fmla="*/ 262130 w 423407"/>
                <a:gd name="connsiteY227" fmla="*/ 140501 h 161913"/>
                <a:gd name="connsiteX228" fmla="*/ 260201 w 423407"/>
                <a:gd name="connsiteY228" fmla="*/ 141389 h 161913"/>
                <a:gd name="connsiteX229" fmla="*/ 257785 w 423407"/>
                <a:gd name="connsiteY229" fmla="*/ 141306 h 161913"/>
                <a:gd name="connsiteX230" fmla="*/ 254697 w 423407"/>
                <a:gd name="connsiteY230" fmla="*/ 141070 h 161913"/>
                <a:gd name="connsiteX231" fmla="*/ 252017 w 423407"/>
                <a:gd name="connsiteY231" fmla="*/ 141153 h 161913"/>
                <a:gd name="connsiteX232" fmla="*/ 250229 w 423407"/>
                <a:gd name="connsiteY232" fmla="*/ 139891 h 161913"/>
                <a:gd name="connsiteX233" fmla="*/ 249266 w 423407"/>
                <a:gd name="connsiteY233" fmla="*/ 138469 h 161913"/>
                <a:gd name="connsiteX234" fmla="*/ 245613 w 423407"/>
                <a:gd name="connsiteY234" fmla="*/ 137599 h 161913"/>
                <a:gd name="connsiteX235" fmla="*/ 243004 w 423407"/>
                <a:gd name="connsiteY235" fmla="*/ 137349 h 161913"/>
                <a:gd name="connsiteX236" fmla="*/ 242337 w 423407"/>
                <a:gd name="connsiteY236" fmla="*/ 137980 h 161913"/>
                <a:gd name="connsiteX237" fmla="*/ 241639 w 423407"/>
                <a:gd name="connsiteY237" fmla="*/ 139917 h 161913"/>
                <a:gd name="connsiteX238" fmla="*/ 240529 w 423407"/>
                <a:gd name="connsiteY238" fmla="*/ 144861 h 161913"/>
                <a:gd name="connsiteX239" fmla="*/ 240326 w 423407"/>
                <a:gd name="connsiteY239" fmla="*/ 146100 h 161913"/>
                <a:gd name="connsiteX240" fmla="*/ 242624 w 423407"/>
                <a:gd name="connsiteY240" fmla="*/ 151006 h 161913"/>
                <a:gd name="connsiteX241" fmla="*/ 242520 w 423407"/>
                <a:gd name="connsiteY241" fmla="*/ 151753 h 161913"/>
                <a:gd name="connsiteX242" fmla="*/ 240877 w 423407"/>
                <a:gd name="connsiteY242" fmla="*/ 152007 h 161913"/>
                <a:gd name="connsiteX243" fmla="*/ 238990 w 423407"/>
                <a:gd name="connsiteY243" fmla="*/ 152089 h 161913"/>
                <a:gd name="connsiteX244" fmla="*/ 237761 w 423407"/>
                <a:gd name="connsiteY244" fmla="*/ 152525 h 161913"/>
                <a:gd name="connsiteX245" fmla="*/ 236742 w 423407"/>
                <a:gd name="connsiteY245" fmla="*/ 153339 h 161913"/>
                <a:gd name="connsiteX246" fmla="*/ 236126 w 423407"/>
                <a:gd name="connsiteY246" fmla="*/ 157574 h 161913"/>
                <a:gd name="connsiteX247" fmla="*/ 233943 w 423407"/>
                <a:gd name="connsiteY247" fmla="*/ 158351 h 161913"/>
                <a:gd name="connsiteX248" fmla="*/ 232907 w 423407"/>
                <a:gd name="connsiteY248" fmla="*/ 159238 h 161913"/>
                <a:gd name="connsiteX249" fmla="*/ 231838 w 423407"/>
                <a:gd name="connsiteY249" fmla="*/ 161852 h 161913"/>
                <a:gd name="connsiteX250" fmla="*/ 231257 w 423407"/>
                <a:gd name="connsiteY250" fmla="*/ 161913 h 161913"/>
                <a:gd name="connsiteX251" fmla="*/ 227724 w 423407"/>
                <a:gd name="connsiteY251" fmla="*/ 159932 h 161913"/>
                <a:gd name="connsiteX252" fmla="*/ 226068 w 423407"/>
                <a:gd name="connsiteY252" fmla="*/ 159768 h 161913"/>
                <a:gd name="connsiteX253" fmla="*/ 227489 w 423407"/>
                <a:gd name="connsiteY253" fmla="*/ 157709 h 161913"/>
                <a:gd name="connsiteX254" fmla="*/ 225945 w 423407"/>
                <a:gd name="connsiteY254" fmla="*/ 153646 h 161913"/>
                <a:gd name="connsiteX255" fmla="*/ 224260 w 423407"/>
                <a:gd name="connsiteY255" fmla="*/ 149834 h 161913"/>
                <a:gd name="connsiteX256" fmla="*/ 225850 w 423407"/>
                <a:gd name="connsiteY256" fmla="*/ 147393 h 161913"/>
                <a:gd name="connsiteX257" fmla="*/ 229143 w 423407"/>
                <a:gd name="connsiteY257" fmla="*/ 144446 h 161913"/>
                <a:gd name="connsiteX258" fmla="*/ 232609 w 423407"/>
                <a:gd name="connsiteY258" fmla="*/ 140992 h 161913"/>
                <a:gd name="connsiteX259" fmla="*/ 232602 w 423407"/>
                <a:gd name="connsiteY259" fmla="*/ 138859 h 161913"/>
                <a:gd name="connsiteX260" fmla="*/ 232423 w 423407"/>
                <a:gd name="connsiteY260" fmla="*/ 137230 h 161913"/>
                <a:gd name="connsiteX261" fmla="*/ 231430 w 423407"/>
                <a:gd name="connsiteY261" fmla="*/ 136103 h 161913"/>
                <a:gd name="connsiteX262" fmla="*/ 229523 w 423407"/>
                <a:gd name="connsiteY262" fmla="*/ 134604 h 161913"/>
                <a:gd name="connsiteX263" fmla="*/ 226331 w 423407"/>
                <a:gd name="connsiteY263" fmla="*/ 136204 h 161913"/>
                <a:gd name="connsiteX264" fmla="*/ 224053 w 423407"/>
                <a:gd name="connsiteY264" fmla="*/ 137970 h 161913"/>
                <a:gd name="connsiteX265" fmla="*/ 222565 w 423407"/>
                <a:gd name="connsiteY265" fmla="*/ 138328 h 161913"/>
                <a:gd name="connsiteX266" fmla="*/ 220948 w 423407"/>
                <a:gd name="connsiteY266" fmla="*/ 139334 h 161913"/>
                <a:gd name="connsiteX267" fmla="*/ 220162 w 423407"/>
                <a:gd name="connsiteY267" fmla="*/ 141149 h 161913"/>
                <a:gd name="connsiteX268" fmla="*/ 218212 w 423407"/>
                <a:gd name="connsiteY268" fmla="*/ 142563 h 161913"/>
                <a:gd name="connsiteX269" fmla="*/ 215023 w 423407"/>
                <a:gd name="connsiteY269" fmla="*/ 143116 h 161913"/>
                <a:gd name="connsiteX270" fmla="*/ 210224 w 423407"/>
                <a:gd name="connsiteY270" fmla="*/ 141604 h 161913"/>
                <a:gd name="connsiteX271" fmla="*/ 205072 w 423407"/>
                <a:gd name="connsiteY271" fmla="*/ 139300 h 161913"/>
                <a:gd name="connsiteX272" fmla="*/ 202155 w 423407"/>
                <a:gd name="connsiteY272" fmla="*/ 137432 h 161913"/>
                <a:gd name="connsiteX273" fmla="*/ 199775 w 423407"/>
                <a:gd name="connsiteY273" fmla="*/ 136987 h 161913"/>
                <a:gd name="connsiteX274" fmla="*/ 197514 w 423407"/>
                <a:gd name="connsiteY274" fmla="*/ 137808 h 161913"/>
                <a:gd name="connsiteX275" fmla="*/ 190842 w 423407"/>
                <a:gd name="connsiteY275" fmla="*/ 142381 h 161913"/>
                <a:gd name="connsiteX276" fmla="*/ 184735 w 423407"/>
                <a:gd name="connsiteY276" fmla="*/ 149053 h 161913"/>
                <a:gd name="connsiteX277" fmla="*/ 183219 w 423407"/>
                <a:gd name="connsiteY277" fmla="*/ 150205 h 161913"/>
                <a:gd name="connsiteX278" fmla="*/ 177466 w 423407"/>
                <a:gd name="connsiteY278" fmla="*/ 153067 h 161913"/>
                <a:gd name="connsiteX279" fmla="*/ 173664 w 423407"/>
                <a:gd name="connsiteY279" fmla="*/ 154027 h 161913"/>
                <a:gd name="connsiteX280" fmla="*/ 171874 w 423407"/>
                <a:gd name="connsiteY280" fmla="*/ 153804 h 161913"/>
                <a:gd name="connsiteX281" fmla="*/ 164305 w 423407"/>
                <a:gd name="connsiteY281" fmla="*/ 155063 h 161913"/>
                <a:gd name="connsiteX282" fmla="*/ 160546 w 423407"/>
                <a:gd name="connsiteY282" fmla="*/ 155247 h 161913"/>
                <a:gd name="connsiteX283" fmla="*/ 157568 w 423407"/>
                <a:gd name="connsiteY283" fmla="*/ 156757 h 161913"/>
                <a:gd name="connsiteX284" fmla="*/ 151796 w 423407"/>
                <a:gd name="connsiteY284" fmla="*/ 155120 h 161913"/>
                <a:gd name="connsiteX285" fmla="*/ 148345 w 423407"/>
                <a:gd name="connsiteY285" fmla="*/ 153025 h 161913"/>
                <a:gd name="connsiteX286" fmla="*/ 146268 w 423407"/>
                <a:gd name="connsiteY286" fmla="*/ 150896 h 161913"/>
                <a:gd name="connsiteX287" fmla="*/ 142880 w 423407"/>
                <a:gd name="connsiteY287" fmla="*/ 146310 h 161913"/>
                <a:gd name="connsiteX288" fmla="*/ 140478 w 423407"/>
                <a:gd name="connsiteY288" fmla="*/ 144127 h 161913"/>
                <a:gd name="connsiteX289" fmla="*/ 135082 w 423407"/>
                <a:gd name="connsiteY289" fmla="*/ 142163 h 161913"/>
                <a:gd name="connsiteX290" fmla="*/ 125676 w 423407"/>
                <a:gd name="connsiteY290" fmla="*/ 137386 h 161913"/>
                <a:gd name="connsiteX291" fmla="*/ 123201 w 423407"/>
                <a:gd name="connsiteY291" fmla="*/ 136862 h 161913"/>
                <a:gd name="connsiteX292" fmla="*/ 116781 w 423407"/>
                <a:gd name="connsiteY292" fmla="*/ 136177 h 161913"/>
                <a:gd name="connsiteX293" fmla="*/ 110010 w 423407"/>
                <a:gd name="connsiteY293" fmla="*/ 135745 h 161913"/>
                <a:gd name="connsiteX294" fmla="*/ 108638 w 423407"/>
                <a:gd name="connsiteY294" fmla="*/ 137485 h 161913"/>
                <a:gd name="connsiteX295" fmla="*/ 108118 w 423407"/>
                <a:gd name="connsiteY295" fmla="*/ 144367 h 161913"/>
                <a:gd name="connsiteX296" fmla="*/ 106958 w 423407"/>
                <a:gd name="connsiteY296" fmla="*/ 146260 h 161913"/>
                <a:gd name="connsiteX297" fmla="*/ 106462 w 423407"/>
                <a:gd name="connsiteY297" fmla="*/ 149821 h 161913"/>
                <a:gd name="connsiteX298" fmla="*/ 105632 w 423407"/>
                <a:gd name="connsiteY298" fmla="*/ 150846 h 161913"/>
                <a:gd name="connsiteX299" fmla="*/ 104332 w 423407"/>
                <a:gd name="connsiteY299" fmla="*/ 151519 h 161913"/>
                <a:gd name="connsiteX300" fmla="*/ 102300 w 423407"/>
                <a:gd name="connsiteY300" fmla="*/ 150395 h 161913"/>
                <a:gd name="connsiteX301" fmla="*/ 100890 w 423407"/>
                <a:gd name="connsiteY301" fmla="*/ 149899 h 161913"/>
                <a:gd name="connsiteX302" fmla="*/ 97608 w 423407"/>
                <a:gd name="connsiteY302" fmla="*/ 151364 h 161913"/>
                <a:gd name="connsiteX303" fmla="*/ 91108 w 423407"/>
                <a:gd name="connsiteY303" fmla="*/ 153419 h 161913"/>
                <a:gd name="connsiteX304" fmla="*/ 88893 w 423407"/>
                <a:gd name="connsiteY304" fmla="*/ 153706 h 161913"/>
                <a:gd name="connsiteX305" fmla="*/ 81359 w 423407"/>
                <a:gd name="connsiteY305" fmla="*/ 151125 h 161913"/>
                <a:gd name="connsiteX306" fmla="*/ 78601 w 423407"/>
                <a:gd name="connsiteY306" fmla="*/ 149465 h 161913"/>
                <a:gd name="connsiteX307" fmla="*/ 76824 w 423407"/>
                <a:gd name="connsiteY307" fmla="*/ 147624 h 161913"/>
                <a:gd name="connsiteX308" fmla="*/ 76224 w 423407"/>
                <a:gd name="connsiteY308" fmla="*/ 144512 h 161913"/>
                <a:gd name="connsiteX309" fmla="*/ 75105 w 423407"/>
                <a:gd name="connsiteY309" fmla="*/ 142739 h 161913"/>
                <a:gd name="connsiteX310" fmla="*/ 74941 w 423407"/>
                <a:gd name="connsiteY310" fmla="*/ 141521 h 161913"/>
                <a:gd name="connsiteX311" fmla="*/ 74503 w 423407"/>
                <a:gd name="connsiteY311" fmla="*/ 140117 h 161913"/>
                <a:gd name="connsiteX312" fmla="*/ 72985 w 423407"/>
                <a:gd name="connsiteY312" fmla="*/ 139562 h 161913"/>
                <a:gd name="connsiteX313" fmla="*/ 71354 w 423407"/>
                <a:gd name="connsiteY313" fmla="*/ 140621 h 161913"/>
                <a:gd name="connsiteX314" fmla="*/ 69607 w 423407"/>
                <a:gd name="connsiteY314" fmla="*/ 140578 h 161913"/>
                <a:gd name="connsiteX315" fmla="*/ 67413 w 423407"/>
                <a:gd name="connsiteY315" fmla="*/ 139929 h 161913"/>
                <a:gd name="connsiteX316" fmla="*/ 62237 w 423407"/>
                <a:gd name="connsiteY316" fmla="*/ 137317 h 161913"/>
                <a:gd name="connsiteX317" fmla="*/ 58260 w 423407"/>
                <a:gd name="connsiteY317" fmla="*/ 137110 h 161913"/>
                <a:gd name="connsiteX318" fmla="*/ 55869 w 423407"/>
                <a:gd name="connsiteY318" fmla="*/ 140298 h 161913"/>
                <a:gd name="connsiteX319" fmla="*/ 54010 w 423407"/>
                <a:gd name="connsiteY319" fmla="*/ 141311 h 161913"/>
                <a:gd name="connsiteX320" fmla="*/ 51974 w 423407"/>
                <a:gd name="connsiteY320" fmla="*/ 141614 h 161913"/>
                <a:gd name="connsiteX321" fmla="*/ 51857 w 423407"/>
                <a:gd name="connsiteY321" fmla="*/ 140707 h 161913"/>
                <a:gd name="connsiteX322" fmla="*/ 53401 w 423407"/>
                <a:gd name="connsiteY322" fmla="*/ 138645 h 161913"/>
                <a:gd name="connsiteX323" fmla="*/ 47206 w 423407"/>
                <a:gd name="connsiteY323" fmla="*/ 139026 h 161913"/>
                <a:gd name="connsiteX324" fmla="*/ 43935 w 423407"/>
                <a:gd name="connsiteY324" fmla="*/ 140596 h 161913"/>
                <a:gd name="connsiteX325" fmla="*/ 41382 w 423407"/>
                <a:gd name="connsiteY325" fmla="*/ 140352 h 161913"/>
                <a:gd name="connsiteX326" fmla="*/ 39469 w 423407"/>
                <a:gd name="connsiteY326" fmla="*/ 139643 h 161913"/>
                <a:gd name="connsiteX327" fmla="*/ 39756 w 423407"/>
                <a:gd name="connsiteY327" fmla="*/ 138775 h 161913"/>
                <a:gd name="connsiteX328" fmla="*/ 41697 w 423407"/>
                <a:gd name="connsiteY328" fmla="*/ 138457 h 161913"/>
                <a:gd name="connsiteX329" fmla="*/ 43381 w 423407"/>
                <a:gd name="connsiteY329" fmla="*/ 137752 h 161913"/>
                <a:gd name="connsiteX330" fmla="*/ 50095 w 423407"/>
                <a:gd name="connsiteY330" fmla="*/ 137178 h 161913"/>
                <a:gd name="connsiteX331" fmla="*/ 51663 w 423407"/>
                <a:gd name="connsiteY331" fmla="*/ 136601 h 161913"/>
                <a:gd name="connsiteX332" fmla="*/ 53380 w 423407"/>
                <a:gd name="connsiteY332" fmla="*/ 134358 h 161913"/>
                <a:gd name="connsiteX333" fmla="*/ 56506 w 423407"/>
                <a:gd name="connsiteY333" fmla="*/ 132423 h 161913"/>
                <a:gd name="connsiteX334" fmla="*/ 56903 w 423407"/>
                <a:gd name="connsiteY334" fmla="*/ 131592 h 161913"/>
                <a:gd name="connsiteX335" fmla="*/ 54500 w 423407"/>
                <a:gd name="connsiteY335" fmla="*/ 131581 h 161913"/>
                <a:gd name="connsiteX336" fmla="*/ 44211 w 423407"/>
                <a:gd name="connsiteY336" fmla="*/ 132143 h 161913"/>
                <a:gd name="connsiteX337" fmla="*/ 37147 w 423407"/>
                <a:gd name="connsiteY337" fmla="*/ 131833 h 161913"/>
                <a:gd name="connsiteX338" fmla="*/ 36310 w 423407"/>
                <a:gd name="connsiteY338" fmla="*/ 132792 h 161913"/>
                <a:gd name="connsiteX339" fmla="*/ 35247 w 423407"/>
                <a:gd name="connsiteY339" fmla="*/ 132927 h 161913"/>
                <a:gd name="connsiteX340" fmla="*/ 34954 w 423407"/>
                <a:gd name="connsiteY340" fmla="*/ 130317 h 161913"/>
                <a:gd name="connsiteX341" fmla="*/ 36070 w 423407"/>
                <a:gd name="connsiteY341" fmla="*/ 129104 h 161913"/>
                <a:gd name="connsiteX342" fmla="*/ 37573 w 423407"/>
                <a:gd name="connsiteY342" fmla="*/ 129216 h 161913"/>
                <a:gd name="connsiteX343" fmla="*/ 41263 w 423407"/>
                <a:gd name="connsiteY343" fmla="*/ 128161 h 161913"/>
                <a:gd name="connsiteX344" fmla="*/ 40933 w 423407"/>
                <a:gd name="connsiteY344" fmla="*/ 125989 h 161913"/>
                <a:gd name="connsiteX345" fmla="*/ 38290 w 423407"/>
                <a:gd name="connsiteY345" fmla="*/ 124521 h 161913"/>
                <a:gd name="connsiteX346" fmla="*/ 37752 w 423407"/>
                <a:gd name="connsiteY346" fmla="*/ 123655 h 161913"/>
                <a:gd name="connsiteX347" fmla="*/ 35835 w 423407"/>
                <a:gd name="connsiteY347" fmla="*/ 123452 h 161913"/>
                <a:gd name="connsiteX348" fmla="*/ 34280 w 423407"/>
                <a:gd name="connsiteY348" fmla="*/ 122419 h 161913"/>
                <a:gd name="connsiteX349" fmla="*/ 33941 w 423407"/>
                <a:gd name="connsiteY349" fmla="*/ 119810 h 161913"/>
                <a:gd name="connsiteX350" fmla="*/ 32703 w 423407"/>
                <a:gd name="connsiteY350" fmla="*/ 116943 h 161913"/>
                <a:gd name="connsiteX351" fmla="*/ 30935 w 423407"/>
                <a:gd name="connsiteY351" fmla="*/ 115556 h 161913"/>
                <a:gd name="connsiteX352" fmla="*/ 31153 w 423407"/>
                <a:gd name="connsiteY352" fmla="*/ 114794 h 161913"/>
                <a:gd name="connsiteX353" fmla="*/ 34394 w 423407"/>
                <a:gd name="connsiteY353" fmla="*/ 113829 h 161913"/>
                <a:gd name="connsiteX354" fmla="*/ 35066 w 423407"/>
                <a:gd name="connsiteY354" fmla="*/ 109813 h 161913"/>
                <a:gd name="connsiteX355" fmla="*/ 34571 w 423407"/>
                <a:gd name="connsiteY355" fmla="*/ 107345 h 161913"/>
                <a:gd name="connsiteX356" fmla="*/ 32941 w 423407"/>
                <a:gd name="connsiteY356" fmla="*/ 107135 h 161913"/>
                <a:gd name="connsiteX357" fmla="*/ 28191 w 423407"/>
                <a:gd name="connsiteY357" fmla="*/ 105185 h 161913"/>
                <a:gd name="connsiteX358" fmla="*/ 26748 w 423407"/>
                <a:gd name="connsiteY358" fmla="*/ 105393 h 161913"/>
                <a:gd name="connsiteX359" fmla="*/ 25174 w 423407"/>
                <a:gd name="connsiteY359" fmla="*/ 103250 h 161913"/>
                <a:gd name="connsiteX360" fmla="*/ 22418 w 423407"/>
                <a:gd name="connsiteY360" fmla="*/ 101709 h 161913"/>
                <a:gd name="connsiteX361" fmla="*/ 21054 w 423407"/>
                <a:gd name="connsiteY361" fmla="*/ 102273 h 161913"/>
                <a:gd name="connsiteX362" fmla="*/ 20198 w 423407"/>
                <a:gd name="connsiteY362" fmla="*/ 102969 h 161913"/>
                <a:gd name="connsiteX363" fmla="*/ 18922 w 423407"/>
                <a:gd name="connsiteY363" fmla="*/ 102635 h 161913"/>
                <a:gd name="connsiteX364" fmla="*/ 16782 w 423407"/>
                <a:gd name="connsiteY364" fmla="*/ 101298 h 161913"/>
                <a:gd name="connsiteX365" fmla="*/ 14681 w 423407"/>
                <a:gd name="connsiteY365" fmla="*/ 100575 h 161913"/>
                <a:gd name="connsiteX366" fmla="*/ 13748 w 423407"/>
                <a:gd name="connsiteY366" fmla="*/ 99683 h 161913"/>
                <a:gd name="connsiteX367" fmla="*/ 14919 w 423407"/>
                <a:gd name="connsiteY367" fmla="*/ 97296 h 161913"/>
                <a:gd name="connsiteX368" fmla="*/ 16528 w 423407"/>
                <a:gd name="connsiteY368" fmla="*/ 97353 h 161913"/>
                <a:gd name="connsiteX369" fmla="*/ 16821 w 423407"/>
                <a:gd name="connsiteY369" fmla="*/ 95481 h 161913"/>
                <a:gd name="connsiteX370" fmla="*/ 15551 w 423407"/>
                <a:gd name="connsiteY370" fmla="*/ 92359 h 161913"/>
                <a:gd name="connsiteX371" fmla="*/ 15675 w 423407"/>
                <a:gd name="connsiteY371" fmla="*/ 90755 h 161913"/>
                <a:gd name="connsiteX372" fmla="*/ 17078 w 423407"/>
                <a:gd name="connsiteY372" fmla="*/ 90316 h 161913"/>
                <a:gd name="connsiteX373" fmla="*/ 18676 w 423407"/>
                <a:gd name="connsiteY373" fmla="*/ 90618 h 161913"/>
                <a:gd name="connsiteX374" fmla="*/ 20289 w 423407"/>
                <a:gd name="connsiteY374" fmla="*/ 92485 h 161913"/>
                <a:gd name="connsiteX375" fmla="*/ 20816 w 423407"/>
                <a:gd name="connsiteY375" fmla="*/ 94290 h 161913"/>
                <a:gd name="connsiteX376" fmla="*/ 20477 w 423407"/>
                <a:gd name="connsiteY376" fmla="*/ 96048 h 161913"/>
                <a:gd name="connsiteX377" fmla="*/ 21501 w 423407"/>
                <a:gd name="connsiteY377" fmla="*/ 97749 h 161913"/>
                <a:gd name="connsiteX378" fmla="*/ 22228 w 423407"/>
                <a:gd name="connsiteY378" fmla="*/ 98179 h 161913"/>
                <a:gd name="connsiteX379" fmla="*/ 22718 w 423407"/>
                <a:gd name="connsiteY379" fmla="*/ 96388 h 161913"/>
                <a:gd name="connsiteX380" fmla="*/ 23403 w 423407"/>
                <a:gd name="connsiteY380" fmla="*/ 96048 h 161913"/>
                <a:gd name="connsiteX381" fmla="*/ 24345 w 423407"/>
                <a:gd name="connsiteY381" fmla="*/ 96830 h 161913"/>
                <a:gd name="connsiteX382" fmla="*/ 26368 w 423407"/>
                <a:gd name="connsiteY382" fmla="*/ 97222 h 161913"/>
                <a:gd name="connsiteX383" fmla="*/ 31613 w 423407"/>
                <a:gd name="connsiteY383" fmla="*/ 96122 h 161913"/>
                <a:gd name="connsiteX384" fmla="*/ 32621 w 423407"/>
                <a:gd name="connsiteY384" fmla="*/ 95190 h 161913"/>
                <a:gd name="connsiteX385" fmla="*/ 28778 w 423407"/>
                <a:gd name="connsiteY385" fmla="*/ 95295 h 161913"/>
                <a:gd name="connsiteX386" fmla="*/ 27372 w 423407"/>
                <a:gd name="connsiteY386" fmla="*/ 94423 h 161913"/>
                <a:gd name="connsiteX387" fmla="*/ 25845 w 423407"/>
                <a:gd name="connsiteY387" fmla="*/ 92471 h 161913"/>
                <a:gd name="connsiteX388" fmla="*/ 24906 w 423407"/>
                <a:gd name="connsiteY388" fmla="*/ 90697 h 161913"/>
                <a:gd name="connsiteX389" fmla="*/ 24738 w 423407"/>
                <a:gd name="connsiteY389" fmla="*/ 89826 h 161913"/>
                <a:gd name="connsiteX390" fmla="*/ 24206 w 423407"/>
                <a:gd name="connsiteY390" fmla="*/ 88552 h 161913"/>
                <a:gd name="connsiteX391" fmla="*/ 24792 w 423407"/>
                <a:gd name="connsiteY391" fmla="*/ 87870 h 161913"/>
                <a:gd name="connsiteX392" fmla="*/ 27424 w 423407"/>
                <a:gd name="connsiteY392" fmla="*/ 86846 h 161913"/>
                <a:gd name="connsiteX393" fmla="*/ 29734 w 423407"/>
                <a:gd name="connsiteY393" fmla="*/ 83978 h 161913"/>
                <a:gd name="connsiteX394" fmla="*/ 28771 w 423407"/>
                <a:gd name="connsiteY394" fmla="*/ 83147 h 161913"/>
                <a:gd name="connsiteX395" fmla="*/ 27670 w 423407"/>
                <a:gd name="connsiteY395" fmla="*/ 82754 h 161913"/>
                <a:gd name="connsiteX396" fmla="*/ 26474 w 423407"/>
                <a:gd name="connsiteY396" fmla="*/ 83046 h 161913"/>
                <a:gd name="connsiteX397" fmla="*/ 25340 w 423407"/>
                <a:gd name="connsiteY397" fmla="*/ 82063 h 161913"/>
                <a:gd name="connsiteX398" fmla="*/ 25193 w 423407"/>
                <a:gd name="connsiteY398" fmla="*/ 80695 h 161913"/>
                <a:gd name="connsiteX399" fmla="*/ 26100 w 423407"/>
                <a:gd name="connsiteY399" fmla="*/ 79588 h 161913"/>
                <a:gd name="connsiteX400" fmla="*/ 26195 w 423407"/>
                <a:gd name="connsiteY400" fmla="*/ 78064 h 161913"/>
                <a:gd name="connsiteX401" fmla="*/ 23226 w 423407"/>
                <a:gd name="connsiteY401" fmla="*/ 74309 h 161913"/>
                <a:gd name="connsiteX402" fmla="*/ 22397 w 423407"/>
                <a:gd name="connsiteY402" fmla="*/ 73491 h 161913"/>
                <a:gd name="connsiteX403" fmla="*/ 23036 w 423407"/>
                <a:gd name="connsiteY403" fmla="*/ 72262 h 161913"/>
                <a:gd name="connsiteX404" fmla="*/ 25303 w 423407"/>
                <a:gd name="connsiteY404" fmla="*/ 70203 h 161913"/>
                <a:gd name="connsiteX405" fmla="*/ 27463 w 423407"/>
                <a:gd name="connsiteY405" fmla="*/ 67652 h 161913"/>
                <a:gd name="connsiteX406" fmla="*/ 27203 w 423407"/>
                <a:gd name="connsiteY406" fmla="*/ 66812 h 161913"/>
                <a:gd name="connsiteX407" fmla="*/ 25608 w 423407"/>
                <a:gd name="connsiteY407" fmla="*/ 66469 h 161913"/>
                <a:gd name="connsiteX408" fmla="*/ 18024 w 423407"/>
                <a:gd name="connsiteY408" fmla="*/ 67564 h 161913"/>
                <a:gd name="connsiteX409" fmla="*/ 15076 w 423407"/>
                <a:gd name="connsiteY409" fmla="*/ 68515 h 161913"/>
                <a:gd name="connsiteX410" fmla="*/ 9820 w 423407"/>
                <a:gd name="connsiteY410" fmla="*/ 68948 h 161913"/>
                <a:gd name="connsiteX411" fmla="*/ 9442 w 423407"/>
                <a:gd name="connsiteY411" fmla="*/ 67562 h 161913"/>
                <a:gd name="connsiteX412" fmla="*/ 9561 w 423407"/>
                <a:gd name="connsiteY412" fmla="*/ 66311 h 161913"/>
                <a:gd name="connsiteX413" fmla="*/ 10740 w 423407"/>
                <a:gd name="connsiteY413" fmla="*/ 64032 h 161913"/>
                <a:gd name="connsiteX414" fmla="*/ 10632 w 423407"/>
                <a:gd name="connsiteY414" fmla="*/ 58406 h 161913"/>
                <a:gd name="connsiteX415" fmla="*/ 11330 w 423407"/>
                <a:gd name="connsiteY415" fmla="*/ 55351 h 161913"/>
                <a:gd name="connsiteX416" fmla="*/ 14250 w 423407"/>
                <a:gd name="connsiteY416" fmla="*/ 54441 h 161913"/>
                <a:gd name="connsiteX417" fmla="*/ 17832 w 423407"/>
                <a:gd name="connsiteY417" fmla="*/ 49945 h 161913"/>
                <a:gd name="connsiteX418" fmla="*/ 23640 w 423407"/>
                <a:gd name="connsiteY418" fmla="*/ 44639 h 161913"/>
                <a:gd name="connsiteX419" fmla="*/ 29700 w 423407"/>
                <a:gd name="connsiteY419" fmla="*/ 44741 h 161913"/>
                <a:gd name="connsiteX420" fmla="*/ 32122 w 423407"/>
                <a:gd name="connsiteY420" fmla="*/ 43275 h 161913"/>
                <a:gd name="connsiteX421" fmla="*/ 35725 w 423407"/>
                <a:gd name="connsiteY421" fmla="*/ 43189 h 161913"/>
                <a:gd name="connsiteX422" fmla="*/ 36379 w 423407"/>
                <a:gd name="connsiteY422" fmla="*/ 44255 h 161913"/>
                <a:gd name="connsiteX423" fmla="*/ 36787 w 423407"/>
                <a:gd name="connsiteY423" fmla="*/ 45275 h 161913"/>
                <a:gd name="connsiteX424" fmla="*/ 39948 w 423407"/>
                <a:gd name="connsiteY424" fmla="*/ 46739 h 161913"/>
                <a:gd name="connsiteX425" fmla="*/ 45530 w 423407"/>
                <a:gd name="connsiteY425" fmla="*/ 46507 h 161913"/>
                <a:gd name="connsiteX426" fmla="*/ 46886 w 423407"/>
                <a:gd name="connsiteY426" fmla="*/ 45930 h 161913"/>
                <a:gd name="connsiteX427" fmla="*/ 48195 w 423407"/>
                <a:gd name="connsiteY427" fmla="*/ 45123 h 161913"/>
                <a:gd name="connsiteX428" fmla="*/ 45614 w 423407"/>
                <a:gd name="connsiteY428" fmla="*/ 42512 h 161913"/>
                <a:gd name="connsiteX429" fmla="*/ 46439 w 423407"/>
                <a:gd name="connsiteY429" fmla="*/ 41775 h 161913"/>
                <a:gd name="connsiteX430" fmla="*/ 48778 w 423407"/>
                <a:gd name="connsiteY430" fmla="*/ 41688 h 161913"/>
                <a:gd name="connsiteX431" fmla="*/ 51313 w 423407"/>
                <a:gd name="connsiteY431" fmla="*/ 42303 h 161913"/>
                <a:gd name="connsiteX432" fmla="*/ 51430 w 423407"/>
                <a:gd name="connsiteY432" fmla="*/ 42901 h 161913"/>
                <a:gd name="connsiteX433" fmla="*/ 50756 w 423407"/>
                <a:gd name="connsiteY433" fmla="*/ 43721 h 161913"/>
                <a:gd name="connsiteX434" fmla="*/ 49972 w 423407"/>
                <a:gd name="connsiteY434" fmla="*/ 45157 h 161913"/>
                <a:gd name="connsiteX435" fmla="*/ 50717 w 423407"/>
                <a:gd name="connsiteY435" fmla="*/ 45433 h 161913"/>
                <a:gd name="connsiteX436" fmla="*/ 57936 w 423407"/>
                <a:gd name="connsiteY436" fmla="*/ 44566 h 161913"/>
                <a:gd name="connsiteX437" fmla="*/ 65481 w 423407"/>
                <a:gd name="connsiteY437" fmla="*/ 45261 h 161913"/>
                <a:gd name="connsiteX438" fmla="*/ 67882 w 423407"/>
                <a:gd name="connsiteY438" fmla="*/ 44884 h 161913"/>
                <a:gd name="connsiteX439" fmla="*/ 73814 w 423407"/>
                <a:gd name="connsiteY439" fmla="*/ 44913 h 161913"/>
                <a:gd name="connsiteX440" fmla="*/ 74876 w 423407"/>
                <a:gd name="connsiteY440" fmla="*/ 44012 h 161913"/>
                <a:gd name="connsiteX441" fmla="*/ 73082 w 423407"/>
                <a:gd name="connsiteY441" fmla="*/ 42881 h 161913"/>
                <a:gd name="connsiteX442" fmla="*/ 71326 w 423407"/>
                <a:gd name="connsiteY442" fmla="*/ 42488 h 161913"/>
                <a:gd name="connsiteX443" fmla="*/ 70145 w 423407"/>
                <a:gd name="connsiteY443" fmla="*/ 41936 h 161913"/>
                <a:gd name="connsiteX444" fmla="*/ 68966 w 423407"/>
                <a:gd name="connsiteY444" fmla="*/ 41136 h 161913"/>
                <a:gd name="connsiteX445" fmla="*/ 72728 w 423407"/>
                <a:gd name="connsiteY445" fmla="*/ 38606 h 161913"/>
                <a:gd name="connsiteX446" fmla="*/ 74852 w 423407"/>
                <a:gd name="connsiteY446" fmla="*/ 38119 h 161913"/>
                <a:gd name="connsiteX447" fmla="*/ 84881 w 423407"/>
                <a:gd name="connsiteY447" fmla="*/ 36564 h 161913"/>
                <a:gd name="connsiteX448" fmla="*/ 92339 w 423407"/>
                <a:gd name="connsiteY448" fmla="*/ 35785 h 161913"/>
                <a:gd name="connsiteX449" fmla="*/ 92434 w 423407"/>
                <a:gd name="connsiteY449" fmla="*/ 35207 h 161913"/>
                <a:gd name="connsiteX450" fmla="*/ 91359 w 423407"/>
                <a:gd name="connsiteY450" fmla="*/ 35206 h 161913"/>
                <a:gd name="connsiteX451" fmla="*/ 81721 w 423407"/>
                <a:gd name="connsiteY451" fmla="*/ 33916 h 161913"/>
                <a:gd name="connsiteX452" fmla="*/ 79400 w 423407"/>
                <a:gd name="connsiteY452" fmla="*/ 32917 h 161913"/>
                <a:gd name="connsiteX453" fmla="*/ 76174 w 423407"/>
                <a:gd name="connsiteY453" fmla="*/ 30538 h 161913"/>
                <a:gd name="connsiteX454" fmla="*/ 75474 w 423407"/>
                <a:gd name="connsiteY454" fmla="*/ 29865 h 161913"/>
                <a:gd name="connsiteX455" fmla="*/ 74662 w 423407"/>
                <a:gd name="connsiteY455" fmla="*/ 28704 h 161913"/>
                <a:gd name="connsiteX456" fmla="*/ 75146 w 423407"/>
                <a:gd name="connsiteY456" fmla="*/ 26228 h 161913"/>
                <a:gd name="connsiteX457" fmla="*/ 75742 w 423407"/>
                <a:gd name="connsiteY457" fmla="*/ 24237 h 161913"/>
                <a:gd name="connsiteX458" fmla="*/ 76932 w 423407"/>
                <a:gd name="connsiteY458" fmla="*/ 23083 h 161913"/>
                <a:gd name="connsiteX459" fmla="*/ 80782 w 423407"/>
                <a:gd name="connsiteY459" fmla="*/ 22907 h 161913"/>
                <a:gd name="connsiteX460" fmla="*/ 93985 w 423407"/>
                <a:gd name="connsiteY460" fmla="*/ 24933 h 161913"/>
                <a:gd name="connsiteX461" fmla="*/ 103395 w 423407"/>
                <a:gd name="connsiteY461" fmla="*/ 23719 h 161913"/>
                <a:gd name="connsiteX462" fmla="*/ 113680 w 423407"/>
                <a:gd name="connsiteY462" fmla="*/ 26670 h 161913"/>
                <a:gd name="connsiteX463" fmla="*/ 123516 w 423407"/>
                <a:gd name="connsiteY463" fmla="*/ 26071 h 161913"/>
                <a:gd name="connsiteX464" fmla="*/ 125546 w 423407"/>
                <a:gd name="connsiteY464" fmla="*/ 24746 h 161913"/>
                <a:gd name="connsiteX465" fmla="*/ 128008 w 423407"/>
                <a:gd name="connsiteY465" fmla="*/ 20473 h 161913"/>
                <a:gd name="connsiteX466" fmla="*/ 141904 w 423407"/>
                <a:gd name="connsiteY466" fmla="*/ 13362 h 161913"/>
                <a:gd name="connsiteX467" fmla="*/ 146769 w 423407"/>
                <a:gd name="connsiteY467" fmla="*/ 9647 h 161913"/>
                <a:gd name="connsiteX468" fmla="*/ 151981 w 423407"/>
                <a:gd name="connsiteY468" fmla="*/ 7613 h 161913"/>
                <a:gd name="connsiteX469" fmla="*/ 160925 w 423407"/>
                <a:gd name="connsiteY469" fmla="*/ 5350 h 161913"/>
                <a:gd name="connsiteX470" fmla="*/ 168401 w 423407"/>
                <a:gd name="connsiteY470" fmla="*/ 2356 h 161913"/>
                <a:gd name="connsiteX471" fmla="*/ 170537 w 423407"/>
                <a:gd name="connsiteY471" fmla="*/ 2011 h 161913"/>
                <a:gd name="connsiteX472" fmla="*/ 188484 w 423407"/>
                <a:gd name="connsiteY472" fmla="*/ 3441 h 161913"/>
                <a:gd name="connsiteX473" fmla="*/ 200812 w 423407"/>
                <a:gd name="connsiteY473" fmla="*/ 3623 h 161913"/>
                <a:gd name="connsiteX474" fmla="*/ 34835 w 423407"/>
                <a:gd name="connsiteY474" fmla="*/ 0 h 161913"/>
                <a:gd name="connsiteX475" fmla="*/ 35953 w 423407"/>
                <a:gd name="connsiteY475" fmla="*/ 365 h 161913"/>
                <a:gd name="connsiteX476" fmla="*/ 37456 w 423407"/>
                <a:gd name="connsiteY476" fmla="*/ 1812 h 161913"/>
                <a:gd name="connsiteX477" fmla="*/ 39931 w 423407"/>
                <a:gd name="connsiteY477" fmla="*/ 3887 h 161913"/>
                <a:gd name="connsiteX478" fmla="*/ 41259 w 423407"/>
                <a:gd name="connsiteY478" fmla="*/ 4579 h 161913"/>
                <a:gd name="connsiteX479" fmla="*/ 42254 w 423407"/>
                <a:gd name="connsiteY479" fmla="*/ 4258 h 161913"/>
                <a:gd name="connsiteX480" fmla="*/ 44051 w 423407"/>
                <a:gd name="connsiteY480" fmla="*/ 3504 h 161913"/>
                <a:gd name="connsiteX481" fmla="*/ 45770 w 423407"/>
                <a:gd name="connsiteY481" fmla="*/ 3498 h 161913"/>
                <a:gd name="connsiteX482" fmla="*/ 47158 w 423407"/>
                <a:gd name="connsiteY482" fmla="*/ 3631 h 161913"/>
                <a:gd name="connsiteX483" fmla="*/ 47828 w 423407"/>
                <a:gd name="connsiteY483" fmla="*/ 2974 h 161913"/>
                <a:gd name="connsiteX484" fmla="*/ 48873 w 423407"/>
                <a:gd name="connsiteY484" fmla="*/ 2833 h 161913"/>
                <a:gd name="connsiteX485" fmla="*/ 51864 w 423407"/>
                <a:gd name="connsiteY485" fmla="*/ 3299 h 161913"/>
                <a:gd name="connsiteX486" fmla="*/ 51264 w 423407"/>
                <a:gd name="connsiteY486" fmla="*/ 6327 h 161913"/>
                <a:gd name="connsiteX487" fmla="*/ 52656 w 423407"/>
                <a:gd name="connsiteY487" fmla="*/ 9659 h 161913"/>
                <a:gd name="connsiteX488" fmla="*/ 55919 w 423407"/>
                <a:gd name="connsiteY488" fmla="*/ 14280 h 161913"/>
                <a:gd name="connsiteX489" fmla="*/ 59203 w 423407"/>
                <a:gd name="connsiteY489" fmla="*/ 16609 h 161913"/>
                <a:gd name="connsiteX490" fmla="*/ 72479 w 423407"/>
                <a:gd name="connsiteY490" fmla="*/ 22362 h 161913"/>
                <a:gd name="connsiteX491" fmla="*/ 74922 w 423407"/>
                <a:gd name="connsiteY491" fmla="*/ 22853 h 161913"/>
                <a:gd name="connsiteX492" fmla="*/ 74367 w 423407"/>
                <a:gd name="connsiteY492" fmla="*/ 25206 h 161913"/>
                <a:gd name="connsiteX493" fmla="*/ 73568 w 423407"/>
                <a:gd name="connsiteY493" fmla="*/ 27295 h 161913"/>
                <a:gd name="connsiteX494" fmla="*/ 72689 w 423407"/>
                <a:gd name="connsiteY494" fmla="*/ 28688 h 161913"/>
                <a:gd name="connsiteX495" fmla="*/ 68800 w 423407"/>
                <a:gd name="connsiteY495" fmla="*/ 29583 h 161913"/>
                <a:gd name="connsiteX496" fmla="*/ 58065 w 423407"/>
                <a:gd name="connsiteY496" fmla="*/ 27022 h 161913"/>
                <a:gd name="connsiteX497" fmla="*/ 55351 w 423407"/>
                <a:gd name="connsiteY497" fmla="*/ 26780 h 161913"/>
                <a:gd name="connsiteX498" fmla="*/ 53436 w 423407"/>
                <a:gd name="connsiteY498" fmla="*/ 27290 h 161913"/>
                <a:gd name="connsiteX499" fmla="*/ 49890 w 423407"/>
                <a:gd name="connsiteY499" fmla="*/ 29151 h 161913"/>
                <a:gd name="connsiteX500" fmla="*/ 45958 w 423407"/>
                <a:gd name="connsiteY500" fmla="*/ 28554 h 161913"/>
                <a:gd name="connsiteX501" fmla="*/ 40475 w 423407"/>
                <a:gd name="connsiteY501" fmla="*/ 29610 h 161913"/>
                <a:gd name="connsiteX502" fmla="*/ 38944 w 423407"/>
                <a:gd name="connsiteY502" fmla="*/ 33111 h 161913"/>
                <a:gd name="connsiteX503" fmla="*/ 35137 w 423407"/>
                <a:gd name="connsiteY503" fmla="*/ 37117 h 161913"/>
                <a:gd name="connsiteX504" fmla="*/ 28871 w 423407"/>
                <a:gd name="connsiteY504" fmla="*/ 40350 h 161913"/>
                <a:gd name="connsiteX505" fmla="*/ 24392 w 423407"/>
                <a:gd name="connsiteY505" fmla="*/ 42078 h 161913"/>
                <a:gd name="connsiteX506" fmla="*/ 17668 w 423407"/>
                <a:gd name="connsiteY506" fmla="*/ 48267 h 161913"/>
                <a:gd name="connsiteX507" fmla="*/ 14617 w 423407"/>
                <a:gd name="connsiteY507" fmla="*/ 51874 h 161913"/>
                <a:gd name="connsiteX508" fmla="*/ 13329 w 423407"/>
                <a:gd name="connsiteY508" fmla="*/ 52573 h 161913"/>
                <a:gd name="connsiteX509" fmla="*/ 11803 w 423407"/>
                <a:gd name="connsiteY509" fmla="*/ 53126 h 161913"/>
                <a:gd name="connsiteX510" fmla="*/ 12317 w 423407"/>
                <a:gd name="connsiteY510" fmla="*/ 51396 h 161913"/>
                <a:gd name="connsiteX511" fmla="*/ 13072 w 423407"/>
                <a:gd name="connsiteY511" fmla="*/ 49811 h 161913"/>
                <a:gd name="connsiteX512" fmla="*/ 12900 w 423407"/>
                <a:gd name="connsiteY512" fmla="*/ 48615 h 161913"/>
                <a:gd name="connsiteX513" fmla="*/ 12932 w 423407"/>
                <a:gd name="connsiteY513" fmla="*/ 46876 h 161913"/>
                <a:gd name="connsiteX514" fmla="*/ 15176 w 423407"/>
                <a:gd name="connsiteY514" fmla="*/ 44900 h 161913"/>
                <a:gd name="connsiteX515" fmla="*/ 17214 w 423407"/>
                <a:gd name="connsiteY515" fmla="*/ 43467 h 161913"/>
                <a:gd name="connsiteX516" fmla="*/ 23247 w 423407"/>
                <a:gd name="connsiteY516" fmla="*/ 40868 h 161913"/>
                <a:gd name="connsiteX517" fmla="*/ 24835 w 423407"/>
                <a:gd name="connsiteY517" fmla="*/ 38709 h 161913"/>
                <a:gd name="connsiteX518" fmla="*/ 20103 w 423407"/>
                <a:gd name="connsiteY518" fmla="*/ 38761 h 161913"/>
                <a:gd name="connsiteX519" fmla="*/ 15301 w 423407"/>
                <a:gd name="connsiteY519" fmla="*/ 39241 h 161913"/>
                <a:gd name="connsiteX520" fmla="*/ 12278 w 423407"/>
                <a:gd name="connsiteY520" fmla="*/ 38934 h 161913"/>
                <a:gd name="connsiteX521" fmla="*/ 9652 w 423407"/>
                <a:gd name="connsiteY521" fmla="*/ 39110 h 161913"/>
                <a:gd name="connsiteX522" fmla="*/ 8818 w 423407"/>
                <a:gd name="connsiteY522" fmla="*/ 37220 h 161913"/>
                <a:gd name="connsiteX523" fmla="*/ 8182 w 423407"/>
                <a:gd name="connsiteY523" fmla="*/ 36083 h 161913"/>
                <a:gd name="connsiteX524" fmla="*/ 8862 w 423407"/>
                <a:gd name="connsiteY524" fmla="*/ 35728 h 161913"/>
                <a:gd name="connsiteX525" fmla="*/ 9734 w 423407"/>
                <a:gd name="connsiteY525" fmla="*/ 35482 h 161913"/>
                <a:gd name="connsiteX526" fmla="*/ 11276 w 423407"/>
                <a:gd name="connsiteY526" fmla="*/ 33464 h 161913"/>
                <a:gd name="connsiteX527" fmla="*/ 12653 w 423407"/>
                <a:gd name="connsiteY527" fmla="*/ 31974 h 161913"/>
                <a:gd name="connsiteX528" fmla="*/ 14640 w 423407"/>
                <a:gd name="connsiteY528" fmla="*/ 30100 h 161913"/>
                <a:gd name="connsiteX529" fmla="*/ 15150 w 423407"/>
                <a:gd name="connsiteY529" fmla="*/ 28981 h 161913"/>
                <a:gd name="connsiteX530" fmla="*/ 15150 w 423407"/>
                <a:gd name="connsiteY530" fmla="*/ 27936 h 161913"/>
                <a:gd name="connsiteX531" fmla="*/ 14675 w 423407"/>
                <a:gd name="connsiteY531" fmla="*/ 27211 h 161913"/>
                <a:gd name="connsiteX532" fmla="*/ 14582 w 423407"/>
                <a:gd name="connsiteY532" fmla="*/ 26350 h 161913"/>
                <a:gd name="connsiteX533" fmla="*/ 14522 w 423407"/>
                <a:gd name="connsiteY533" fmla="*/ 25132 h 161913"/>
                <a:gd name="connsiteX534" fmla="*/ 14632 w 423407"/>
                <a:gd name="connsiteY534" fmla="*/ 22616 h 161913"/>
                <a:gd name="connsiteX535" fmla="*/ 19181 w 423407"/>
                <a:gd name="connsiteY535" fmla="*/ 19863 h 161913"/>
                <a:gd name="connsiteX536" fmla="*/ 20639 w 423407"/>
                <a:gd name="connsiteY536" fmla="*/ 19572 h 161913"/>
                <a:gd name="connsiteX537" fmla="*/ 21138 w 423407"/>
                <a:gd name="connsiteY537" fmla="*/ 18316 h 161913"/>
                <a:gd name="connsiteX538" fmla="*/ 20803 w 423407"/>
                <a:gd name="connsiteY538" fmla="*/ 15399 h 161913"/>
                <a:gd name="connsiteX539" fmla="*/ 20175 w 423407"/>
                <a:gd name="connsiteY539" fmla="*/ 13043 h 161913"/>
                <a:gd name="connsiteX540" fmla="*/ 19360 w 423407"/>
                <a:gd name="connsiteY540" fmla="*/ 12885 h 161913"/>
                <a:gd name="connsiteX541" fmla="*/ 18266 w 423407"/>
                <a:gd name="connsiteY541" fmla="*/ 12197 h 161913"/>
                <a:gd name="connsiteX542" fmla="*/ 17547 w 423407"/>
                <a:gd name="connsiteY542" fmla="*/ 11400 h 161913"/>
                <a:gd name="connsiteX543" fmla="*/ 16398 w 423407"/>
                <a:gd name="connsiteY543" fmla="*/ 10527 h 161913"/>
                <a:gd name="connsiteX544" fmla="*/ 14415 w 423407"/>
                <a:gd name="connsiteY544" fmla="*/ 9992 h 161913"/>
                <a:gd name="connsiteX545" fmla="*/ 14351 w 423407"/>
                <a:gd name="connsiteY545" fmla="*/ 9247 h 161913"/>
                <a:gd name="connsiteX546" fmla="*/ 14556 w 423407"/>
                <a:gd name="connsiteY546" fmla="*/ 8502 h 161913"/>
                <a:gd name="connsiteX547" fmla="*/ 15288 w 423407"/>
                <a:gd name="connsiteY547" fmla="*/ 7740 h 161913"/>
                <a:gd name="connsiteX548" fmla="*/ 18629 w 423407"/>
                <a:gd name="connsiteY548" fmla="*/ 7083 h 161913"/>
                <a:gd name="connsiteX549" fmla="*/ 19024 w 423407"/>
                <a:gd name="connsiteY549" fmla="*/ 6545 h 161913"/>
                <a:gd name="connsiteX550" fmla="*/ 19475 w 423407"/>
                <a:gd name="connsiteY550" fmla="*/ 5218 h 161913"/>
                <a:gd name="connsiteX551" fmla="*/ 20138 w 423407"/>
                <a:gd name="connsiteY551" fmla="*/ 3859 h 161913"/>
                <a:gd name="connsiteX552" fmla="*/ 20926 w 423407"/>
                <a:gd name="connsiteY552" fmla="*/ 3409 h 161913"/>
                <a:gd name="connsiteX553" fmla="*/ 22339 w 423407"/>
                <a:gd name="connsiteY553" fmla="*/ 3451 h 161913"/>
                <a:gd name="connsiteX554" fmla="*/ 25018 w 423407"/>
                <a:gd name="connsiteY554" fmla="*/ 3137 h 161913"/>
                <a:gd name="connsiteX555" fmla="*/ 26886 w 423407"/>
                <a:gd name="connsiteY555" fmla="*/ 2694 h 161913"/>
                <a:gd name="connsiteX556" fmla="*/ 28741 w 423407"/>
                <a:gd name="connsiteY556" fmla="*/ 1764 h 161913"/>
                <a:gd name="connsiteX557" fmla="*/ 29691 w 423407"/>
                <a:gd name="connsiteY557" fmla="*/ 920 h 161913"/>
                <a:gd name="connsiteX558" fmla="*/ 33708 w 423407"/>
                <a:gd name="connsiteY558" fmla="*/ 430 h 161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</a:cxnLst>
              <a:rect l="l" t="t" r="r" b="b"/>
              <a:pathLst>
                <a:path w="423407" h="161913">
                  <a:moveTo>
                    <a:pt x="5515" y="48881"/>
                  </a:moveTo>
                  <a:lnTo>
                    <a:pt x="6812" y="50453"/>
                  </a:lnTo>
                  <a:lnTo>
                    <a:pt x="6657" y="51536"/>
                  </a:lnTo>
                  <a:lnTo>
                    <a:pt x="1576" y="52342"/>
                  </a:lnTo>
                  <a:lnTo>
                    <a:pt x="0" y="51547"/>
                  </a:lnTo>
                  <a:lnTo>
                    <a:pt x="1591" y="49970"/>
                  </a:lnTo>
                  <a:lnTo>
                    <a:pt x="4552" y="48993"/>
                  </a:lnTo>
                  <a:close/>
                  <a:moveTo>
                    <a:pt x="206472" y="797"/>
                  </a:moveTo>
                  <a:lnTo>
                    <a:pt x="209754" y="1746"/>
                  </a:lnTo>
                  <a:lnTo>
                    <a:pt x="209447" y="2756"/>
                  </a:lnTo>
                  <a:lnTo>
                    <a:pt x="208851" y="3619"/>
                  </a:lnTo>
                  <a:lnTo>
                    <a:pt x="209028" y="5367"/>
                  </a:lnTo>
                  <a:lnTo>
                    <a:pt x="210954" y="7931"/>
                  </a:lnTo>
                  <a:lnTo>
                    <a:pt x="212913" y="9676"/>
                  </a:lnTo>
                  <a:lnTo>
                    <a:pt x="218668" y="12177"/>
                  </a:lnTo>
                  <a:lnTo>
                    <a:pt x="226668" y="10067"/>
                  </a:lnTo>
                  <a:lnTo>
                    <a:pt x="227957" y="10303"/>
                  </a:lnTo>
                  <a:lnTo>
                    <a:pt x="229586" y="10892"/>
                  </a:lnTo>
                  <a:lnTo>
                    <a:pt x="232403" y="17660"/>
                  </a:lnTo>
                  <a:lnTo>
                    <a:pt x="234597" y="20048"/>
                  </a:lnTo>
                  <a:lnTo>
                    <a:pt x="237404" y="21671"/>
                  </a:lnTo>
                  <a:lnTo>
                    <a:pt x="239711" y="21990"/>
                  </a:lnTo>
                  <a:lnTo>
                    <a:pt x="241423" y="20297"/>
                  </a:lnTo>
                  <a:lnTo>
                    <a:pt x="242749" y="19615"/>
                  </a:lnTo>
                  <a:lnTo>
                    <a:pt x="245638" y="19326"/>
                  </a:lnTo>
                  <a:lnTo>
                    <a:pt x="250376" y="21650"/>
                  </a:lnTo>
                  <a:lnTo>
                    <a:pt x="252017" y="24048"/>
                  </a:lnTo>
                  <a:lnTo>
                    <a:pt x="260083" y="25900"/>
                  </a:lnTo>
                  <a:lnTo>
                    <a:pt x="267483" y="26827"/>
                  </a:lnTo>
                  <a:lnTo>
                    <a:pt x="270676" y="28854"/>
                  </a:lnTo>
                  <a:lnTo>
                    <a:pt x="281091" y="30889"/>
                  </a:lnTo>
                  <a:lnTo>
                    <a:pt x="284980" y="30573"/>
                  </a:lnTo>
                  <a:lnTo>
                    <a:pt x="291508" y="28438"/>
                  </a:lnTo>
                  <a:lnTo>
                    <a:pt x="304205" y="26102"/>
                  </a:lnTo>
                  <a:lnTo>
                    <a:pt x="312642" y="29363"/>
                  </a:lnTo>
                  <a:lnTo>
                    <a:pt x="314924" y="29786"/>
                  </a:lnTo>
                  <a:lnTo>
                    <a:pt x="316894" y="29505"/>
                  </a:lnTo>
                  <a:lnTo>
                    <a:pt x="319729" y="30402"/>
                  </a:lnTo>
                  <a:lnTo>
                    <a:pt x="322754" y="29920"/>
                  </a:lnTo>
                  <a:lnTo>
                    <a:pt x="332091" y="26076"/>
                  </a:lnTo>
                  <a:lnTo>
                    <a:pt x="335011" y="23895"/>
                  </a:lnTo>
                  <a:lnTo>
                    <a:pt x="338105" y="23331"/>
                  </a:lnTo>
                  <a:lnTo>
                    <a:pt x="340850" y="22024"/>
                  </a:lnTo>
                  <a:lnTo>
                    <a:pt x="348164" y="17738"/>
                  </a:lnTo>
                  <a:lnTo>
                    <a:pt x="350280" y="15259"/>
                  </a:lnTo>
                  <a:lnTo>
                    <a:pt x="351751" y="15792"/>
                  </a:lnTo>
                  <a:lnTo>
                    <a:pt x="354519" y="16471"/>
                  </a:lnTo>
                  <a:lnTo>
                    <a:pt x="356236" y="17292"/>
                  </a:lnTo>
                  <a:lnTo>
                    <a:pt x="357212" y="17507"/>
                  </a:lnTo>
                  <a:lnTo>
                    <a:pt x="359473" y="15835"/>
                  </a:lnTo>
                  <a:lnTo>
                    <a:pt x="362833" y="15877"/>
                  </a:lnTo>
                  <a:lnTo>
                    <a:pt x="365782" y="16071"/>
                  </a:lnTo>
                  <a:lnTo>
                    <a:pt x="367305" y="16381"/>
                  </a:lnTo>
                  <a:lnTo>
                    <a:pt x="369170" y="16936"/>
                  </a:lnTo>
                  <a:lnTo>
                    <a:pt x="371427" y="17310"/>
                  </a:lnTo>
                  <a:lnTo>
                    <a:pt x="372345" y="16511"/>
                  </a:lnTo>
                  <a:lnTo>
                    <a:pt x="373660" y="14154"/>
                  </a:lnTo>
                  <a:lnTo>
                    <a:pt x="374169" y="13852"/>
                  </a:lnTo>
                  <a:lnTo>
                    <a:pt x="374532" y="13637"/>
                  </a:lnTo>
                  <a:lnTo>
                    <a:pt x="376203" y="13454"/>
                  </a:lnTo>
                  <a:lnTo>
                    <a:pt x="377789" y="13635"/>
                  </a:lnTo>
                  <a:lnTo>
                    <a:pt x="378535" y="14036"/>
                  </a:lnTo>
                  <a:lnTo>
                    <a:pt x="379283" y="15922"/>
                  </a:lnTo>
                  <a:lnTo>
                    <a:pt x="381164" y="16597"/>
                  </a:lnTo>
                  <a:lnTo>
                    <a:pt x="384489" y="19607"/>
                  </a:lnTo>
                  <a:lnTo>
                    <a:pt x="386521" y="20813"/>
                  </a:lnTo>
                  <a:lnTo>
                    <a:pt x="387013" y="21319"/>
                  </a:lnTo>
                  <a:lnTo>
                    <a:pt x="386344" y="21928"/>
                  </a:lnTo>
                  <a:lnTo>
                    <a:pt x="386605" y="22678"/>
                  </a:lnTo>
                  <a:lnTo>
                    <a:pt x="387769" y="23659"/>
                  </a:lnTo>
                  <a:lnTo>
                    <a:pt x="389401" y="24027"/>
                  </a:lnTo>
                  <a:lnTo>
                    <a:pt x="391164" y="23898"/>
                  </a:lnTo>
                  <a:lnTo>
                    <a:pt x="392123" y="24255"/>
                  </a:lnTo>
                  <a:lnTo>
                    <a:pt x="392809" y="24810"/>
                  </a:lnTo>
                  <a:lnTo>
                    <a:pt x="392990" y="25587"/>
                  </a:lnTo>
                  <a:lnTo>
                    <a:pt x="392943" y="26084"/>
                  </a:lnTo>
                  <a:lnTo>
                    <a:pt x="393293" y="27201"/>
                  </a:lnTo>
                  <a:lnTo>
                    <a:pt x="394668" y="28776"/>
                  </a:lnTo>
                  <a:lnTo>
                    <a:pt x="396310" y="29740"/>
                  </a:lnTo>
                  <a:lnTo>
                    <a:pt x="397193" y="30770"/>
                  </a:lnTo>
                  <a:lnTo>
                    <a:pt x="398626" y="34314"/>
                  </a:lnTo>
                  <a:lnTo>
                    <a:pt x="399205" y="36272"/>
                  </a:lnTo>
                  <a:lnTo>
                    <a:pt x="398989" y="38155"/>
                  </a:lnTo>
                  <a:lnTo>
                    <a:pt x="397994" y="40087"/>
                  </a:lnTo>
                  <a:lnTo>
                    <a:pt x="395815" y="42489"/>
                  </a:lnTo>
                  <a:lnTo>
                    <a:pt x="396355" y="43492"/>
                  </a:lnTo>
                  <a:lnTo>
                    <a:pt x="396843" y="44820"/>
                  </a:lnTo>
                  <a:lnTo>
                    <a:pt x="396679" y="45780"/>
                  </a:lnTo>
                  <a:lnTo>
                    <a:pt x="398221" y="48846"/>
                  </a:lnTo>
                  <a:lnTo>
                    <a:pt x="398922" y="50748"/>
                  </a:lnTo>
                  <a:lnTo>
                    <a:pt x="398335" y="51188"/>
                  </a:lnTo>
                  <a:lnTo>
                    <a:pt x="397957" y="51796"/>
                  </a:lnTo>
                  <a:lnTo>
                    <a:pt x="400732" y="53260"/>
                  </a:lnTo>
                  <a:lnTo>
                    <a:pt x="404055" y="54489"/>
                  </a:lnTo>
                  <a:lnTo>
                    <a:pt x="405457" y="54725"/>
                  </a:lnTo>
                  <a:lnTo>
                    <a:pt x="409275" y="54161"/>
                  </a:lnTo>
                  <a:lnTo>
                    <a:pt x="411734" y="54040"/>
                  </a:lnTo>
                  <a:lnTo>
                    <a:pt x="414174" y="55204"/>
                  </a:lnTo>
                  <a:lnTo>
                    <a:pt x="417731" y="58022"/>
                  </a:lnTo>
                  <a:lnTo>
                    <a:pt x="421563" y="61696"/>
                  </a:lnTo>
                  <a:lnTo>
                    <a:pt x="422326" y="62813"/>
                  </a:lnTo>
                  <a:lnTo>
                    <a:pt x="422661" y="63304"/>
                  </a:lnTo>
                  <a:lnTo>
                    <a:pt x="423407" y="64194"/>
                  </a:lnTo>
                  <a:lnTo>
                    <a:pt x="422632" y="64177"/>
                  </a:lnTo>
                  <a:lnTo>
                    <a:pt x="421369" y="63380"/>
                  </a:lnTo>
                  <a:lnTo>
                    <a:pt x="418320" y="61121"/>
                  </a:lnTo>
                  <a:lnTo>
                    <a:pt x="416763" y="62092"/>
                  </a:lnTo>
                  <a:lnTo>
                    <a:pt x="415420" y="63770"/>
                  </a:lnTo>
                  <a:lnTo>
                    <a:pt x="413947" y="70123"/>
                  </a:lnTo>
                  <a:lnTo>
                    <a:pt x="412755" y="70799"/>
                  </a:lnTo>
                  <a:lnTo>
                    <a:pt x="410654" y="70780"/>
                  </a:lnTo>
                  <a:lnTo>
                    <a:pt x="408080" y="70561"/>
                  </a:lnTo>
                  <a:lnTo>
                    <a:pt x="406310" y="70879"/>
                  </a:lnTo>
                  <a:lnTo>
                    <a:pt x="405852" y="71282"/>
                  </a:lnTo>
                  <a:lnTo>
                    <a:pt x="406085" y="71967"/>
                  </a:lnTo>
                  <a:lnTo>
                    <a:pt x="406610" y="73009"/>
                  </a:lnTo>
                  <a:lnTo>
                    <a:pt x="406981" y="74327"/>
                  </a:lnTo>
                  <a:lnTo>
                    <a:pt x="407087" y="75406"/>
                  </a:lnTo>
                  <a:lnTo>
                    <a:pt x="408020" y="76382"/>
                  </a:lnTo>
                  <a:lnTo>
                    <a:pt x="409275" y="77309"/>
                  </a:lnTo>
                  <a:lnTo>
                    <a:pt x="409330" y="78260"/>
                  </a:lnTo>
                  <a:lnTo>
                    <a:pt x="409138" y="79600"/>
                  </a:lnTo>
                  <a:lnTo>
                    <a:pt x="408849" y="80622"/>
                  </a:lnTo>
                  <a:lnTo>
                    <a:pt x="408534" y="81200"/>
                  </a:lnTo>
                  <a:lnTo>
                    <a:pt x="409115" y="82751"/>
                  </a:lnTo>
                  <a:lnTo>
                    <a:pt x="410477" y="84588"/>
                  </a:lnTo>
                  <a:lnTo>
                    <a:pt x="411345" y="85290"/>
                  </a:lnTo>
                  <a:lnTo>
                    <a:pt x="411021" y="88784"/>
                  </a:lnTo>
                  <a:lnTo>
                    <a:pt x="411533" y="90330"/>
                  </a:lnTo>
                  <a:lnTo>
                    <a:pt x="411924" y="92465"/>
                  </a:lnTo>
                  <a:lnTo>
                    <a:pt x="411769" y="96009"/>
                  </a:lnTo>
                  <a:lnTo>
                    <a:pt x="411939" y="96879"/>
                  </a:lnTo>
                  <a:lnTo>
                    <a:pt x="412405" y="97177"/>
                  </a:lnTo>
                  <a:lnTo>
                    <a:pt x="413647" y="97309"/>
                  </a:lnTo>
                  <a:lnTo>
                    <a:pt x="414865" y="97638"/>
                  </a:lnTo>
                  <a:lnTo>
                    <a:pt x="415286" y="98217"/>
                  </a:lnTo>
                  <a:lnTo>
                    <a:pt x="415280" y="98641"/>
                  </a:lnTo>
                  <a:lnTo>
                    <a:pt x="413760" y="100264"/>
                  </a:lnTo>
                  <a:lnTo>
                    <a:pt x="413580" y="101417"/>
                  </a:lnTo>
                  <a:lnTo>
                    <a:pt x="413053" y="103040"/>
                  </a:lnTo>
                  <a:lnTo>
                    <a:pt x="412621" y="103995"/>
                  </a:lnTo>
                  <a:lnTo>
                    <a:pt x="411263" y="105803"/>
                  </a:lnTo>
                  <a:lnTo>
                    <a:pt x="410399" y="107639"/>
                  </a:lnTo>
                  <a:lnTo>
                    <a:pt x="410011" y="109154"/>
                  </a:lnTo>
                  <a:lnTo>
                    <a:pt x="410268" y="109868"/>
                  </a:lnTo>
                  <a:lnTo>
                    <a:pt x="412772" y="110083"/>
                  </a:lnTo>
                  <a:lnTo>
                    <a:pt x="414133" y="111173"/>
                  </a:lnTo>
                  <a:lnTo>
                    <a:pt x="417748" y="113338"/>
                  </a:lnTo>
                  <a:lnTo>
                    <a:pt x="418383" y="114215"/>
                  </a:lnTo>
                  <a:lnTo>
                    <a:pt x="417396" y="115550"/>
                  </a:lnTo>
                  <a:lnTo>
                    <a:pt x="417413" y="116107"/>
                  </a:lnTo>
                  <a:lnTo>
                    <a:pt x="417880" y="116815"/>
                  </a:lnTo>
                  <a:lnTo>
                    <a:pt x="418100" y="118053"/>
                  </a:lnTo>
                  <a:lnTo>
                    <a:pt x="418011" y="119427"/>
                  </a:lnTo>
                  <a:lnTo>
                    <a:pt x="418031" y="121239"/>
                  </a:lnTo>
                  <a:lnTo>
                    <a:pt x="418696" y="121537"/>
                  </a:lnTo>
                  <a:lnTo>
                    <a:pt x="421151" y="123236"/>
                  </a:lnTo>
                  <a:lnTo>
                    <a:pt x="422898" y="124938"/>
                  </a:lnTo>
                  <a:lnTo>
                    <a:pt x="422956" y="125463"/>
                  </a:lnTo>
                  <a:lnTo>
                    <a:pt x="422106" y="126806"/>
                  </a:lnTo>
                  <a:lnTo>
                    <a:pt x="422291" y="128352"/>
                  </a:lnTo>
                  <a:lnTo>
                    <a:pt x="422257" y="128707"/>
                  </a:lnTo>
                  <a:lnTo>
                    <a:pt x="421501" y="128125"/>
                  </a:lnTo>
                  <a:lnTo>
                    <a:pt x="420138" y="127914"/>
                  </a:lnTo>
                  <a:lnTo>
                    <a:pt x="418737" y="127852"/>
                  </a:lnTo>
                  <a:lnTo>
                    <a:pt x="417854" y="128304"/>
                  </a:lnTo>
                  <a:lnTo>
                    <a:pt x="416305" y="129519"/>
                  </a:lnTo>
                  <a:lnTo>
                    <a:pt x="414226" y="130843"/>
                  </a:lnTo>
                  <a:lnTo>
                    <a:pt x="412537" y="132058"/>
                  </a:lnTo>
                  <a:lnTo>
                    <a:pt x="411570" y="132890"/>
                  </a:lnTo>
                  <a:lnTo>
                    <a:pt x="410771" y="132756"/>
                  </a:lnTo>
                  <a:lnTo>
                    <a:pt x="410147" y="132029"/>
                  </a:lnTo>
                  <a:lnTo>
                    <a:pt x="409797" y="131013"/>
                  </a:lnTo>
                  <a:lnTo>
                    <a:pt x="409946" y="127174"/>
                  </a:lnTo>
                  <a:lnTo>
                    <a:pt x="409579" y="125971"/>
                  </a:lnTo>
                  <a:lnTo>
                    <a:pt x="408793" y="125127"/>
                  </a:lnTo>
                  <a:lnTo>
                    <a:pt x="407869" y="124645"/>
                  </a:lnTo>
                  <a:lnTo>
                    <a:pt x="406767" y="124375"/>
                  </a:lnTo>
                  <a:lnTo>
                    <a:pt x="405630" y="124348"/>
                  </a:lnTo>
                  <a:lnTo>
                    <a:pt x="404012" y="125476"/>
                  </a:lnTo>
                  <a:lnTo>
                    <a:pt x="401721" y="126641"/>
                  </a:lnTo>
                  <a:lnTo>
                    <a:pt x="398169" y="126547"/>
                  </a:lnTo>
                  <a:lnTo>
                    <a:pt x="395785" y="126328"/>
                  </a:lnTo>
                  <a:lnTo>
                    <a:pt x="394632" y="126106"/>
                  </a:lnTo>
                  <a:lnTo>
                    <a:pt x="390008" y="124319"/>
                  </a:lnTo>
                  <a:lnTo>
                    <a:pt x="389043" y="124272"/>
                  </a:lnTo>
                  <a:lnTo>
                    <a:pt x="387320" y="123549"/>
                  </a:lnTo>
                  <a:lnTo>
                    <a:pt x="385271" y="122975"/>
                  </a:lnTo>
                  <a:lnTo>
                    <a:pt x="381824" y="124062"/>
                  </a:lnTo>
                  <a:lnTo>
                    <a:pt x="380332" y="123803"/>
                  </a:lnTo>
                  <a:lnTo>
                    <a:pt x="378242" y="122860"/>
                  </a:lnTo>
                  <a:lnTo>
                    <a:pt x="377501" y="123114"/>
                  </a:lnTo>
                  <a:lnTo>
                    <a:pt x="375165" y="125986"/>
                  </a:lnTo>
                  <a:lnTo>
                    <a:pt x="371194" y="129056"/>
                  </a:lnTo>
                  <a:lnTo>
                    <a:pt x="369052" y="129568"/>
                  </a:lnTo>
                  <a:lnTo>
                    <a:pt x="368032" y="126487"/>
                  </a:lnTo>
                  <a:lnTo>
                    <a:pt x="367052" y="125290"/>
                  </a:lnTo>
                  <a:lnTo>
                    <a:pt x="366588" y="125146"/>
                  </a:lnTo>
                  <a:lnTo>
                    <a:pt x="365597" y="124762"/>
                  </a:lnTo>
                  <a:lnTo>
                    <a:pt x="364826" y="124983"/>
                  </a:lnTo>
                  <a:lnTo>
                    <a:pt x="362437" y="127087"/>
                  </a:lnTo>
                  <a:lnTo>
                    <a:pt x="358611" y="128351"/>
                  </a:lnTo>
                  <a:lnTo>
                    <a:pt x="355443" y="129122"/>
                  </a:lnTo>
                  <a:lnTo>
                    <a:pt x="350401" y="130063"/>
                  </a:lnTo>
                  <a:lnTo>
                    <a:pt x="346510" y="130530"/>
                  </a:lnTo>
                  <a:lnTo>
                    <a:pt x="344853" y="130567"/>
                  </a:lnTo>
                  <a:lnTo>
                    <a:pt x="341260" y="130146"/>
                  </a:lnTo>
                  <a:lnTo>
                    <a:pt x="338093" y="129554"/>
                  </a:lnTo>
                  <a:lnTo>
                    <a:pt x="334925" y="129580"/>
                  </a:lnTo>
                  <a:lnTo>
                    <a:pt x="332493" y="129845"/>
                  </a:lnTo>
                  <a:lnTo>
                    <a:pt x="326848" y="132105"/>
                  </a:lnTo>
                  <a:lnTo>
                    <a:pt x="317252" y="136751"/>
                  </a:lnTo>
                  <a:lnTo>
                    <a:pt x="309958" y="138971"/>
                  </a:lnTo>
                  <a:lnTo>
                    <a:pt x="305866" y="139894"/>
                  </a:lnTo>
                  <a:lnTo>
                    <a:pt x="302663" y="140418"/>
                  </a:lnTo>
                  <a:lnTo>
                    <a:pt x="297174" y="140444"/>
                  </a:lnTo>
                  <a:lnTo>
                    <a:pt x="292708" y="140086"/>
                  </a:lnTo>
                  <a:lnTo>
                    <a:pt x="289616" y="140126"/>
                  </a:lnTo>
                  <a:lnTo>
                    <a:pt x="287898" y="139568"/>
                  </a:lnTo>
                  <a:lnTo>
                    <a:pt x="285447" y="137690"/>
                  </a:lnTo>
                  <a:lnTo>
                    <a:pt x="282477" y="135832"/>
                  </a:lnTo>
                  <a:lnTo>
                    <a:pt x="281156" y="135400"/>
                  </a:lnTo>
                  <a:lnTo>
                    <a:pt x="279428" y="135042"/>
                  </a:lnTo>
                  <a:lnTo>
                    <a:pt x="276904" y="134833"/>
                  </a:lnTo>
                  <a:lnTo>
                    <a:pt x="270601" y="137550"/>
                  </a:lnTo>
                  <a:lnTo>
                    <a:pt x="268640" y="138287"/>
                  </a:lnTo>
                  <a:lnTo>
                    <a:pt x="266481" y="138843"/>
                  </a:lnTo>
                  <a:lnTo>
                    <a:pt x="262130" y="140501"/>
                  </a:lnTo>
                  <a:lnTo>
                    <a:pt x="260201" y="141389"/>
                  </a:lnTo>
                  <a:lnTo>
                    <a:pt x="257785" y="141306"/>
                  </a:lnTo>
                  <a:lnTo>
                    <a:pt x="254697" y="141070"/>
                  </a:lnTo>
                  <a:lnTo>
                    <a:pt x="252017" y="141153"/>
                  </a:lnTo>
                  <a:lnTo>
                    <a:pt x="250229" y="139891"/>
                  </a:lnTo>
                  <a:lnTo>
                    <a:pt x="249266" y="138469"/>
                  </a:lnTo>
                  <a:lnTo>
                    <a:pt x="245613" y="137599"/>
                  </a:lnTo>
                  <a:lnTo>
                    <a:pt x="243004" y="137349"/>
                  </a:lnTo>
                  <a:lnTo>
                    <a:pt x="242337" y="137980"/>
                  </a:lnTo>
                  <a:lnTo>
                    <a:pt x="241639" y="139917"/>
                  </a:lnTo>
                  <a:lnTo>
                    <a:pt x="240529" y="144861"/>
                  </a:lnTo>
                  <a:lnTo>
                    <a:pt x="240326" y="146100"/>
                  </a:lnTo>
                  <a:lnTo>
                    <a:pt x="242624" y="151006"/>
                  </a:lnTo>
                  <a:lnTo>
                    <a:pt x="242520" y="151753"/>
                  </a:lnTo>
                  <a:lnTo>
                    <a:pt x="240877" y="152007"/>
                  </a:lnTo>
                  <a:lnTo>
                    <a:pt x="238990" y="152089"/>
                  </a:lnTo>
                  <a:lnTo>
                    <a:pt x="237761" y="152525"/>
                  </a:lnTo>
                  <a:lnTo>
                    <a:pt x="236742" y="153339"/>
                  </a:lnTo>
                  <a:lnTo>
                    <a:pt x="236126" y="157574"/>
                  </a:lnTo>
                  <a:lnTo>
                    <a:pt x="233943" y="158351"/>
                  </a:lnTo>
                  <a:lnTo>
                    <a:pt x="232907" y="159238"/>
                  </a:lnTo>
                  <a:lnTo>
                    <a:pt x="231838" y="161852"/>
                  </a:lnTo>
                  <a:lnTo>
                    <a:pt x="231257" y="161913"/>
                  </a:lnTo>
                  <a:lnTo>
                    <a:pt x="227724" y="159932"/>
                  </a:lnTo>
                  <a:lnTo>
                    <a:pt x="226068" y="159768"/>
                  </a:lnTo>
                  <a:lnTo>
                    <a:pt x="227489" y="157709"/>
                  </a:lnTo>
                  <a:lnTo>
                    <a:pt x="225945" y="153646"/>
                  </a:lnTo>
                  <a:lnTo>
                    <a:pt x="224260" y="149834"/>
                  </a:lnTo>
                  <a:lnTo>
                    <a:pt x="225850" y="147393"/>
                  </a:lnTo>
                  <a:lnTo>
                    <a:pt x="229143" y="144446"/>
                  </a:lnTo>
                  <a:lnTo>
                    <a:pt x="232609" y="140992"/>
                  </a:lnTo>
                  <a:lnTo>
                    <a:pt x="232602" y="138859"/>
                  </a:lnTo>
                  <a:lnTo>
                    <a:pt x="232423" y="137230"/>
                  </a:lnTo>
                  <a:lnTo>
                    <a:pt x="231430" y="136103"/>
                  </a:lnTo>
                  <a:lnTo>
                    <a:pt x="229523" y="134604"/>
                  </a:lnTo>
                  <a:lnTo>
                    <a:pt x="226331" y="136204"/>
                  </a:lnTo>
                  <a:lnTo>
                    <a:pt x="224053" y="137970"/>
                  </a:lnTo>
                  <a:lnTo>
                    <a:pt x="222565" y="138328"/>
                  </a:lnTo>
                  <a:lnTo>
                    <a:pt x="220948" y="139334"/>
                  </a:lnTo>
                  <a:lnTo>
                    <a:pt x="220162" y="141149"/>
                  </a:lnTo>
                  <a:lnTo>
                    <a:pt x="218212" y="142563"/>
                  </a:lnTo>
                  <a:lnTo>
                    <a:pt x="215023" y="143116"/>
                  </a:lnTo>
                  <a:lnTo>
                    <a:pt x="210224" y="141604"/>
                  </a:lnTo>
                  <a:lnTo>
                    <a:pt x="205072" y="139300"/>
                  </a:lnTo>
                  <a:lnTo>
                    <a:pt x="202155" y="137432"/>
                  </a:lnTo>
                  <a:lnTo>
                    <a:pt x="199775" y="136987"/>
                  </a:lnTo>
                  <a:lnTo>
                    <a:pt x="197514" y="137808"/>
                  </a:lnTo>
                  <a:lnTo>
                    <a:pt x="190842" y="142381"/>
                  </a:lnTo>
                  <a:lnTo>
                    <a:pt x="184735" y="149053"/>
                  </a:lnTo>
                  <a:lnTo>
                    <a:pt x="183219" y="150205"/>
                  </a:lnTo>
                  <a:lnTo>
                    <a:pt x="177466" y="153067"/>
                  </a:lnTo>
                  <a:lnTo>
                    <a:pt x="173664" y="154027"/>
                  </a:lnTo>
                  <a:lnTo>
                    <a:pt x="171874" y="153804"/>
                  </a:lnTo>
                  <a:lnTo>
                    <a:pt x="164305" y="155063"/>
                  </a:lnTo>
                  <a:lnTo>
                    <a:pt x="160546" y="155247"/>
                  </a:lnTo>
                  <a:lnTo>
                    <a:pt x="157568" y="156757"/>
                  </a:lnTo>
                  <a:lnTo>
                    <a:pt x="151796" y="155120"/>
                  </a:lnTo>
                  <a:lnTo>
                    <a:pt x="148345" y="153025"/>
                  </a:lnTo>
                  <a:lnTo>
                    <a:pt x="146268" y="150896"/>
                  </a:lnTo>
                  <a:lnTo>
                    <a:pt x="142880" y="146310"/>
                  </a:lnTo>
                  <a:lnTo>
                    <a:pt x="140478" y="144127"/>
                  </a:lnTo>
                  <a:lnTo>
                    <a:pt x="135082" y="142163"/>
                  </a:lnTo>
                  <a:lnTo>
                    <a:pt x="125676" y="137386"/>
                  </a:lnTo>
                  <a:lnTo>
                    <a:pt x="123201" y="136862"/>
                  </a:lnTo>
                  <a:lnTo>
                    <a:pt x="116781" y="136177"/>
                  </a:lnTo>
                  <a:lnTo>
                    <a:pt x="110010" y="135745"/>
                  </a:lnTo>
                  <a:lnTo>
                    <a:pt x="108638" y="137485"/>
                  </a:lnTo>
                  <a:lnTo>
                    <a:pt x="108118" y="144367"/>
                  </a:lnTo>
                  <a:lnTo>
                    <a:pt x="106958" y="146260"/>
                  </a:lnTo>
                  <a:lnTo>
                    <a:pt x="106462" y="149821"/>
                  </a:lnTo>
                  <a:lnTo>
                    <a:pt x="105632" y="150846"/>
                  </a:lnTo>
                  <a:lnTo>
                    <a:pt x="104332" y="151519"/>
                  </a:lnTo>
                  <a:lnTo>
                    <a:pt x="102300" y="150395"/>
                  </a:lnTo>
                  <a:lnTo>
                    <a:pt x="100890" y="149899"/>
                  </a:lnTo>
                  <a:lnTo>
                    <a:pt x="97608" y="151364"/>
                  </a:lnTo>
                  <a:lnTo>
                    <a:pt x="91108" y="153419"/>
                  </a:lnTo>
                  <a:lnTo>
                    <a:pt x="88893" y="153706"/>
                  </a:lnTo>
                  <a:lnTo>
                    <a:pt x="81359" y="151125"/>
                  </a:lnTo>
                  <a:lnTo>
                    <a:pt x="78601" y="149465"/>
                  </a:lnTo>
                  <a:lnTo>
                    <a:pt x="76824" y="147624"/>
                  </a:lnTo>
                  <a:lnTo>
                    <a:pt x="76224" y="144512"/>
                  </a:lnTo>
                  <a:lnTo>
                    <a:pt x="75105" y="142739"/>
                  </a:lnTo>
                  <a:lnTo>
                    <a:pt x="74941" y="141521"/>
                  </a:lnTo>
                  <a:lnTo>
                    <a:pt x="74503" y="140117"/>
                  </a:lnTo>
                  <a:lnTo>
                    <a:pt x="72985" y="139562"/>
                  </a:lnTo>
                  <a:lnTo>
                    <a:pt x="71354" y="140621"/>
                  </a:lnTo>
                  <a:lnTo>
                    <a:pt x="69607" y="140578"/>
                  </a:lnTo>
                  <a:lnTo>
                    <a:pt x="67413" y="139929"/>
                  </a:lnTo>
                  <a:lnTo>
                    <a:pt x="62237" y="137317"/>
                  </a:lnTo>
                  <a:lnTo>
                    <a:pt x="58260" y="137110"/>
                  </a:lnTo>
                  <a:lnTo>
                    <a:pt x="55869" y="140298"/>
                  </a:lnTo>
                  <a:lnTo>
                    <a:pt x="54010" y="141311"/>
                  </a:lnTo>
                  <a:lnTo>
                    <a:pt x="51974" y="141614"/>
                  </a:lnTo>
                  <a:lnTo>
                    <a:pt x="51857" y="140707"/>
                  </a:lnTo>
                  <a:lnTo>
                    <a:pt x="53401" y="138645"/>
                  </a:lnTo>
                  <a:lnTo>
                    <a:pt x="47206" y="139026"/>
                  </a:lnTo>
                  <a:lnTo>
                    <a:pt x="43935" y="140596"/>
                  </a:lnTo>
                  <a:lnTo>
                    <a:pt x="41382" y="140352"/>
                  </a:lnTo>
                  <a:lnTo>
                    <a:pt x="39469" y="139643"/>
                  </a:lnTo>
                  <a:lnTo>
                    <a:pt x="39756" y="138775"/>
                  </a:lnTo>
                  <a:lnTo>
                    <a:pt x="41697" y="138457"/>
                  </a:lnTo>
                  <a:lnTo>
                    <a:pt x="43381" y="137752"/>
                  </a:lnTo>
                  <a:lnTo>
                    <a:pt x="50095" y="137178"/>
                  </a:lnTo>
                  <a:lnTo>
                    <a:pt x="51663" y="136601"/>
                  </a:lnTo>
                  <a:lnTo>
                    <a:pt x="53380" y="134358"/>
                  </a:lnTo>
                  <a:lnTo>
                    <a:pt x="56506" y="132423"/>
                  </a:lnTo>
                  <a:lnTo>
                    <a:pt x="56903" y="131592"/>
                  </a:lnTo>
                  <a:lnTo>
                    <a:pt x="54500" y="131581"/>
                  </a:lnTo>
                  <a:lnTo>
                    <a:pt x="44211" y="132143"/>
                  </a:lnTo>
                  <a:lnTo>
                    <a:pt x="37147" y="131833"/>
                  </a:lnTo>
                  <a:lnTo>
                    <a:pt x="36310" y="132792"/>
                  </a:lnTo>
                  <a:lnTo>
                    <a:pt x="35247" y="132927"/>
                  </a:lnTo>
                  <a:lnTo>
                    <a:pt x="34954" y="130317"/>
                  </a:lnTo>
                  <a:lnTo>
                    <a:pt x="36070" y="129104"/>
                  </a:lnTo>
                  <a:lnTo>
                    <a:pt x="37573" y="129216"/>
                  </a:lnTo>
                  <a:lnTo>
                    <a:pt x="41263" y="128161"/>
                  </a:lnTo>
                  <a:lnTo>
                    <a:pt x="40933" y="125989"/>
                  </a:lnTo>
                  <a:lnTo>
                    <a:pt x="38290" y="124521"/>
                  </a:lnTo>
                  <a:lnTo>
                    <a:pt x="37752" y="123655"/>
                  </a:lnTo>
                  <a:lnTo>
                    <a:pt x="35835" y="123452"/>
                  </a:lnTo>
                  <a:lnTo>
                    <a:pt x="34280" y="122419"/>
                  </a:lnTo>
                  <a:lnTo>
                    <a:pt x="33941" y="119810"/>
                  </a:lnTo>
                  <a:lnTo>
                    <a:pt x="32703" y="116943"/>
                  </a:lnTo>
                  <a:lnTo>
                    <a:pt x="30935" y="115556"/>
                  </a:lnTo>
                  <a:lnTo>
                    <a:pt x="31153" y="114794"/>
                  </a:lnTo>
                  <a:lnTo>
                    <a:pt x="34394" y="113829"/>
                  </a:lnTo>
                  <a:lnTo>
                    <a:pt x="35066" y="109813"/>
                  </a:lnTo>
                  <a:lnTo>
                    <a:pt x="34571" y="107345"/>
                  </a:lnTo>
                  <a:lnTo>
                    <a:pt x="32941" y="107135"/>
                  </a:lnTo>
                  <a:lnTo>
                    <a:pt x="28191" y="105185"/>
                  </a:lnTo>
                  <a:lnTo>
                    <a:pt x="26748" y="105393"/>
                  </a:lnTo>
                  <a:lnTo>
                    <a:pt x="25174" y="103250"/>
                  </a:lnTo>
                  <a:lnTo>
                    <a:pt x="22418" y="101709"/>
                  </a:lnTo>
                  <a:lnTo>
                    <a:pt x="21054" y="102273"/>
                  </a:lnTo>
                  <a:lnTo>
                    <a:pt x="20198" y="102969"/>
                  </a:lnTo>
                  <a:lnTo>
                    <a:pt x="18922" y="102635"/>
                  </a:lnTo>
                  <a:lnTo>
                    <a:pt x="16782" y="101298"/>
                  </a:lnTo>
                  <a:lnTo>
                    <a:pt x="14681" y="100575"/>
                  </a:lnTo>
                  <a:lnTo>
                    <a:pt x="13748" y="99683"/>
                  </a:lnTo>
                  <a:lnTo>
                    <a:pt x="14919" y="97296"/>
                  </a:lnTo>
                  <a:lnTo>
                    <a:pt x="16528" y="97353"/>
                  </a:lnTo>
                  <a:lnTo>
                    <a:pt x="16821" y="95481"/>
                  </a:lnTo>
                  <a:lnTo>
                    <a:pt x="15551" y="92359"/>
                  </a:lnTo>
                  <a:lnTo>
                    <a:pt x="15675" y="90755"/>
                  </a:lnTo>
                  <a:lnTo>
                    <a:pt x="17078" y="90316"/>
                  </a:lnTo>
                  <a:lnTo>
                    <a:pt x="18676" y="90618"/>
                  </a:lnTo>
                  <a:lnTo>
                    <a:pt x="20289" y="92485"/>
                  </a:lnTo>
                  <a:lnTo>
                    <a:pt x="20816" y="94290"/>
                  </a:lnTo>
                  <a:lnTo>
                    <a:pt x="20477" y="96048"/>
                  </a:lnTo>
                  <a:lnTo>
                    <a:pt x="21501" y="97749"/>
                  </a:lnTo>
                  <a:lnTo>
                    <a:pt x="22228" y="98179"/>
                  </a:lnTo>
                  <a:lnTo>
                    <a:pt x="22718" y="96388"/>
                  </a:lnTo>
                  <a:lnTo>
                    <a:pt x="23403" y="96048"/>
                  </a:lnTo>
                  <a:lnTo>
                    <a:pt x="24345" y="96830"/>
                  </a:lnTo>
                  <a:lnTo>
                    <a:pt x="26368" y="97222"/>
                  </a:lnTo>
                  <a:lnTo>
                    <a:pt x="31613" y="96122"/>
                  </a:lnTo>
                  <a:lnTo>
                    <a:pt x="32621" y="95190"/>
                  </a:lnTo>
                  <a:lnTo>
                    <a:pt x="28778" y="95295"/>
                  </a:lnTo>
                  <a:lnTo>
                    <a:pt x="27372" y="94423"/>
                  </a:lnTo>
                  <a:lnTo>
                    <a:pt x="25845" y="92471"/>
                  </a:lnTo>
                  <a:lnTo>
                    <a:pt x="24906" y="90697"/>
                  </a:lnTo>
                  <a:lnTo>
                    <a:pt x="24738" y="89826"/>
                  </a:lnTo>
                  <a:lnTo>
                    <a:pt x="24206" y="88552"/>
                  </a:lnTo>
                  <a:lnTo>
                    <a:pt x="24792" y="87870"/>
                  </a:lnTo>
                  <a:lnTo>
                    <a:pt x="27424" y="86846"/>
                  </a:lnTo>
                  <a:lnTo>
                    <a:pt x="29734" y="83978"/>
                  </a:lnTo>
                  <a:lnTo>
                    <a:pt x="28771" y="83147"/>
                  </a:lnTo>
                  <a:lnTo>
                    <a:pt x="27670" y="82754"/>
                  </a:lnTo>
                  <a:lnTo>
                    <a:pt x="26474" y="83046"/>
                  </a:lnTo>
                  <a:lnTo>
                    <a:pt x="25340" y="82063"/>
                  </a:lnTo>
                  <a:lnTo>
                    <a:pt x="25193" y="80695"/>
                  </a:lnTo>
                  <a:lnTo>
                    <a:pt x="26100" y="79588"/>
                  </a:lnTo>
                  <a:lnTo>
                    <a:pt x="26195" y="78064"/>
                  </a:lnTo>
                  <a:lnTo>
                    <a:pt x="23226" y="74309"/>
                  </a:lnTo>
                  <a:lnTo>
                    <a:pt x="22397" y="73491"/>
                  </a:lnTo>
                  <a:lnTo>
                    <a:pt x="23036" y="72262"/>
                  </a:lnTo>
                  <a:lnTo>
                    <a:pt x="25303" y="70203"/>
                  </a:lnTo>
                  <a:lnTo>
                    <a:pt x="27463" y="67652"/>
                  </a:lnTo>
                  <a:lnTo>
                    <a:pt x="27203" y="66812"/>
                  </a:lnTo>
                  <a:lnTo>
                    <a:pt x="25608" y="66469"/>
                  </a:lnTo>
                  <a:lnTo>
                    <a:pt x="18024" y="67564"/>
                  </a:lnTo>
                  <a:lnTo>
                    <a:pt x="15076" y="68515"/>
                  </a:lnTo>
                  <a:lnTo>
                    <a:pt x="9820" y="68948"/>
                  </a:lnTo>
                  <a:lnTo>
                    <a:pt x="9442" y="67562"/>
                  </a:lnTo>
                  <a:lnTo>
                    <a:pt x="9561" y="66311"/>
                  </a:lnTo>
                  <a:lnTo>
                    <a:pt x="10740" y="64032"/>
                  </a:lnTo>
                  <a:lnTo>
                    <a:pt x="10632" y="58406"/>
                  </a:lnTo>
                  <a:lnTo>
                    <a:pt x="11330" y="55351"/>
                  </a:lnTo>
                  <a:lnTo>
                    <a:pt x="14250" y="54441"/>
                  </a:lnTo>
                  <a:lnTo>
                    <a:pt x="17832" y="49945"/>
                  </a:lnTo>
                  <a:lnTo>
                    <a:pt x="23640" y="44639"/>
                  </a:lnTo>
                  <a:lnTo>
                    <a:pt x="29700" y="44741"/>
                  </a:lnTo>
                  <a:lnTo>
                    <a:pt x="32122" y="43275"/>
                  </a:lnTo>
                  <a:lnTo>
                    <a:pt x="35725" y="43189"/>
                  </a:lnTo>
                  <a:lnTo>
                    <a:pt x="36379" y="44255"/>
                  </a:lnTo>
                  <a:lnTo>
                    <a:pt x="36787" y="45275"/>
                  </a:lnTo>
                  <a:lnTo>
                    <a:pt x="39948" y="46739"/>
                  </a:lnTo>
                  <a:lnTo>
                    <a:pt x="45530" y="46507"/>
                  </a:lnTo>
                  <a:lnTo>
                    <a:pt x="46886" y="45930"/>
                  </a:lnTo>
                  <a:lnTo>
                    <a:pt x="48195" y="45123"/>
                  </a:lnTo>
                  <a:lnTo>
                    <a:pt x="45614" y="42512"/>
                  </a:lnTo>
                  <a:lnTo>
                    <a:pt x="46439" y="41775"/>
                  </a:lnTo>
                  <a:lnTo>
                    <a:pt x="48778" y="41688"/>
                  </a:lnTo>
                  <a:lnTo>
                    <a:pt x="51313" y="42303"/>
                  </a:lnTo>
                  <a:lnTo>
                    <a:pt x="51430" y="42901"/>
                  </a:lnTo>
                  <a:lnTo>
                    <a:pt x="50756" y="43721"/>
                  </a:lnTo>
                  <a:lnTo>
                    <a:pt x="49972" y="45157"/>
                  </a:lnTo>
                  <a:lnTo>
                    <a:pt x="50717" y="45433"/>
                  </a:lnTo>
                  <a:lnTo>
                    <a:pt x="57936" y="44566"/>
                  </a:lnTo>
                  <a:lnTo>
                    <a:pt x="65481" y="45261"/>
                  </a:lnTo>
                  <a:lnTo>
                    <a:pt x="67882" y="44884"/>
                  </a:lnTo>
                  <a:lnTo>
                    <a:pt x="73814" y="44913"/>
                  </a:lnTo>
                  <a:lnTo>
                    <a:pt x="74876" y="44012"/>
                  </a:lnTo>
                  <a:lnTo>
                    <a:pt x="73082" y="42881"/>
                  </a:lnTo>
                  <a:lnTo>
                    <a:pt x="71326" y="42488"/>
                  </a:lnTo>
                  <a:lnTo>
                    <a:pt x="70145" y="41936"/>
                  </a:lnTo>
                  <a:lnTo>
                    <a:pt x="68966" y="41136"/>
                  </a:lnTo>
                  <a:lnTo>
                    <a:pt x="72728" y="38606"/>
                  </a:lnTo>
                  <a:lnTo>
                    <a:pt x="74852" y="38119"/>
                  </a:lnTo>
                  <a:lnTo>
                    <a:pt x="84881" y="36564"/>
                  </a:lnTo>
                  <a:lnTo>
                    <a:pt x="92339" y="35785"/>
                  </a:lnTo>
                  <a:lnTo>
                    <a:pt x="92434" y="35207"/>
                  </a:lnTo>
                  <a:lnTo>
                    <a:pt x="91359" y="35206"/>
                  </a:lnTo>
                  <a:lnTo>
                    <a:pt x="81721" y="33916"/>
                  </a:lnTo>
                  <a:lnTo>
                    <a:pt x="79400" y="32917"/>
                  </a:lnTo>
                  <a:lnTo>
                    <a:pt x="76174" y="30538"/>
                  </a:lnTo>
                  <a:lnTo>
                    <a:pt x="75474" y="29865"/>
                  </a:lnTo>
                  <a:lnTo>
                    <a:pt x="74662" y="28704"/>
                  </a:lnTo>
                  <a:lnTo>
                    <a:pt x="75146" y="26228"/>
                  </a:lnTo>
                  <a:lnTo>
                    <a:pt x="75742" y="24237"/>
                  </a:lnTo>
                  <a:lnTo>
                    <a:pt x="76932" y="23083"/>
                  </a:lnTo>
                  <a:lnTo>
                    <a:pt x="80782" y="22907"/>
                  </a:lnTo>
                  <a:lnTo>
                    <a:pt x="93985" y="24933"/>
                  </a:lnTo>
                  <a:lnTo>
                    <a:pt x="103395" y="23719"/>
                  </a:lnTo>
                  <a:lnTo>
                    <a:pt x="113680" y="26670"/>
                  </a:lnTo>
                  <a:lnTo>
                    <a:pt x="123516" y="26071"/>
                  </a:lnTo>
                  <a:lnTo>
                    <a:pt x="125546" y="24746"/>
                  </a:lnTo>
                  <a:lnTo>
                    <a:pt x="128008" y="20473"/>
                  </a:lnTo>
                  <a:lnTo>
                    <a:pt x="141904" y="13362"/>
                  </a:lnTo>
                  <a:lnTo>
                    <a:pt x="146769" y="9647"/>
                  </a:lnTo>
                  <a:lnTo>
                    <a:pt x="151981" y="7613"/>
                  </a:lnTo>
                  <a:lnTo>
                    <a:pt x="160925" y="5350"/>
                  </a:lnTo>
                  <a:lnTo>
                    <a:pt x="168401" y="2356"/>
                  </a:lnTo>
                  <a:lnTo>
                    <a:pt x="170537" y="2011"/>
                  </a:lnTo>
                  <a:lnTo>
                    <a:pt x="188484" y="3441"/>
                  </a:lnTo>
                  <a:lnTo>
                    <a:pt x="200812" y="3623"/>
                  </a:lnTo>
                  <a:close/>
                  <a:moveTo>
                    <a:pt x="34835" y="0"/>
                  </a:moveTo>
                  <a:lnTo>
                    <a:pt x="35953" y="365"/>
                  </a:lnTo>
                  <a:lnTo>
                    <a:pt x="37456" y="1812"/>
                  </a:lnTo>
                  <a:lnTo>
                    <a:pt x="39931" y="3887"/>
                  </a:lnTo>
                  <a:lnTo>
                    <a:pt x="41259" y="4579"/>
                  </a:lnTo>
                  <a:lnTo>
                    <a:pt x="42254" y="4258"/>
                  </a:lnTo>
                  <a:lnTo>
                    <a:pt x="44051" y="3504"/>
                  </a:lnTo>
                  <a:lnTo>
                    <a:pt x="45770" y="3498"/>
                  </a:lnTo>
                  <a:lnTo>
                    <a:pt x="47158" y="3631"/>
                  </a:lnTo>
                  <a:lnTo>
                    <a:pt x="47828" y="2974"/>
                  </a:lnTo>
                  <a:lnTo>
                    <a:pt x="48873" y="2833"/>
                  </a:lnTo>
                  <a:lnTo>
                    <a:pt x="51864" y="3299"/>
                  </a:lnTo>
                  <a:lnTo>
                    <a:pt x="51264" y="6327"/>
                  </a:lnTo>
                  <a:lnTo>
                    <a:pt x="52656" y="9659"/>
                  </a:lnTo>
                  <a:lnTo>
                    <a:pt x="55919" y="14280"/>
                  </a:lnTo>
                  <a:lnTo>
                    <a:pt x="59203" y="16609"/>
                  </a:lnTo>
                  <a:lnTo>
                    <a:pt x="72479" y="22362"/>
                  </a:lnTo>
                  <a:lnTo>
                    <a:pt x="74922" y="22853"/>
                  </a:lnTo>
                  <a:lnTo>
                    <a:pt x="74367" y="25206"/>
                  </a:lnTo>
                  <a:lnTo>
                    <a:pt x="73568" y="27295"/>
                  </a:lnTo>
                  <a:lnTo>
                    <a:pt x="72689" y="28688"/>
                  </a:lnTo>
                  <a:lnTo>
                    <a:pt x="68800" y="29583"/>
                  </a:lnTo>
                  <a:lnTo>
                    <a:pt x="58065" y="27022"/>
                  </a:lnTo>
                  <a:lnTo>
                    <a:pt x="55351" y="26780"/>
                  </a:lnTo>
                  <a:lnTo>
                    <a:pt x="53436" y="27290"/>
                  </a:lnTo>
                  <a:lnTo>
                    <a:pt x="49890" y="29151"/>
                  </a:lnTo>
                  <a:lnTo>
                    <a:pt x="45958" y="28554"/>
                  </a:lnTo>
                  <a:lnTo>
                    <a:pt x="40475" y="29610"/>
                  </a:lnTo>
                  <a:lnTo>
                    <a:pt x="38944" y="33111"/>
                  </a:lnTo>
                  <a:lnTo>
                    <a:pt x="35137" y="37117"/>
                  </a:lnTo>
                  <a:lnTo>
                    <a:pt x="28871" y="40350"/>
                  </a:lnTo>
                  <a:lnTo>
                    <a:pt x="24392" y="42078"/>
                  </a:lnTo>
                  <a:lnTo>
                    <a:pt x="17668" y="48267"/>
                  </a:lnTo>
                  <a:lnTo>
                    <a:pt x="14617" y="51874"/>
                  </a:lnTo>
                  <a:lnTo>
                    <a:pt x="13329" y="52573"/>
                  </a:lnTo>
                  <a:lnTo>
                    <a:pt x="11803" y="53126"/>
                  </a:lnTo>
                  <a:lnTo>
                    <a:pt x="12317" y="51396"/>
                  </a:lnTo>
                  <a:lnTo>
                    <a:pt x="13072" y="49811"/>
                  </a:lnTo>
                  <a:lnTo>
                    <a:pt x="12900" y="48615"/>
                  </a:lnTo>
                  <a:lnTo>
                    <a:pt x="12932" y="46876"/>
                  </a:lnTo>
                  <a:lnTo>
                    <a:pt x="15176" y="44900"/>
                  </a:lnTo>
                  <a:lnTo>
                    <a:pt x="17214" y="43467"/>
                  </a:lnTo>
                  <a:lnTo>
                    <a:pt x="23247" y="40868"/>
                  </a:lnTo>
                  <a:lnTo>
                    <a:pt x="24835" y="38709"/>
                  </a:lnTo>
                  <a:lnTo>
                    <a:pt x="20103" y="38761"/>
                  </a:lnTo>
                  <a:lnTo>
                    <a:pt x="15301" y="39241"/>
                  </a:lnTo>
                  <a:lnTo>
                    <a:pt x="12278" y="38934"/>
                  </a:lnTo>
                  <a:lnTo>
                    <a:pt x="9652" y="39110"/>
                  </a:lnTo>
                  <a:lnTo>
                    <a:pt x="8818" y="37220"/>
                  </a:lnTo>
                  <a:lnTo>
                    <a:pt x="8182" y="36083"/>
                  </a:lnTo>
                  <a:lnTo>
                    <a:pt x="8862" y="35728"/>
                  </a:lnTo>
                  <a:lnTo>
                    <a:pt x="9734" y="35482"/>
                  </a:lnTo>
                  <a:lnTo>
                    <a:pt x="11276" y="33464"/>
                  </a:lnTo>
                  <a:lnTo>
                    <a:pt x="12653" y="31974"/>
                  </a:lnTo>
                  <a:lnTo>
                    <a:pt x="14640" y="30100"/>
                  </a:lnTo>
                  <a:lnTo>
                    <a:pt x="15150" y="28981"/>
                  </a:lnTo>
                  <a:lnTo>
                    <a:pt x="15150" y="27936"/>
                  </a:lnTo>
                  <a:lnTo>
                    <a:pt x="14675" y="27211"/>
                  </a:lnTo>
                  <a:lnTo>
                    <a:pt x="14582" y="26350"/>
                  </a:lnTo>
                  <a:lnTo>
                    <a:pt x="14522" y="25132"/>
                  </a:lnTo>
                  <a:lnTo>
                    <a:pt x="14632" y="22616"/>
                  </a:lnTo>
                  <a:lnTo>
                    <a:pt x="19181" y="19863"/>
                  </a:lnTo>
                  <a:lnTo>
                    <a:pt x="20639" y="19572"/>
                  </a:lnTo>
                  <a:lnTo>
                    <a:pt x="21138" y="18316"/>
                  </a:lnTo>
                  <a:lnTo>
                    <a:pt x="20803" y="15399"/>
                  </a:lnTo>
                  <a:lnTo>
                    <a:pt x="20175" y="13043"/>
                  </a:lnTo>
                  <a:lnTo>
                    <a:pt x="19360" y="12885"/>
                  </a:lnTo>
                  <a:lnTo>
                    <a:pt x="18266" y="12197"/>
                  </a:lnTo>
                  <a:lnTo>
                    <a:pt x="17547" y="11400"/>
                  </a:lnTo>
                  <a:lnTo>
                    <a:pt x="16398" y="10527"/>
                  </a:lnTo>
                  <a:lnTo>
                    <a:pt x="14415" y="9992"/>
                  </a:lnTo>
                  <a:lnTo>
                    <a:pt x="14351" y="9247"/>
                  </a:lnTo>
                  <a:lnTo>
                    <a:pt x="14556" y="8502"/>
                  </a:lnTo>
                  <a:lnTo>
                    <a:pt x="15288" y="7740"/>
                  </a:lnTo>
                  <a:lnTo>
                    <a:pt x="18629" y="7083"/>
                  </a:lnTo>
                  <a:lnTo>
                    <a:pt x="19024" y="6545"/>
                  </a:lnTo>
                  <a:lnTo>
                    <a:pt x="19475" y="5218"/>
                  </a:lnTo>
                  <a:lnTo>
                    <a:pt x="20138" y="3859"/>
                  </a:lnTo>
                  <a:lnTo>
                    <a:pt x="20926" y="3409"/>
                  </a:lnTo>
                  <a:lnTo>
                    <a:pt x="22339" y="3451"/>
                  </a:lnTo>
                  <a:lnTo>
                    <a:pt x="25018" y="3137"/>
                  </a:lnTo>
                  <a:lnTo>
                    <a:pt x="26886" y="2694"/>
                  </a:lnTo>
                  <a:lnTo>
                    <a:pt x="28741" y="1764"/>
                  </a:lnTo>
                  <a:lnTo>
                    <a:pt x="29691" y="920"/>
                  </a:lnTo>
                  <a:lnTo>
                    <a:pt x="33708" y="430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06" name="ee4p_TW_1_37365">
              <a:extLst>
                <a:ext uri="{FF2B5EF4-FFF2-40B4-BE49-F238E27FC236}">
                  <a16:creationId xmlns:a16="http://schemas.microsoft.com/office/drawing/2014/main" id="{E9F04DEE-4DF7-09E4-3823-109E04EE8D22}"/>
                </a:ext>
              </a:extLst>
            </p:cNvPr>
            <p:cNvSpPr>
              <a:spLocks noChangeAspect="1"/>
            </p:cNvSpPr>
            <p:nvPr>
              <p:custDataLst>
                <p:tags r:id="rId260"/>
              </p:custDataLst>
            </p:nvPr>
          </p:nvSpPr>
          <p:spPr>
            <a:xfrm>
              <a:off x="9799461" y="3939294"/>
              <a:ext cx="101127" cy="101064"/>
            </a:xfrm>
            <a:custGeom>
              <a:avLst/>
              <a:gdLst>
                <a:gd name="connsiteX0" fmla="*/ 2656 w 80525"/>
                <a:gd name="connsiteY0" fmla="*/ 17752 h 78342"/>
                <a:gd name="connsiteX1" fmla="*/ 3624 w 80525"/>
                <a:gd name="connsiteY1" fmla="*/ 19315 h 78342"/>
                <a:gd name="connsiteX2" fmla="*/ 3215 w 80525"/>
                <a:gd name="connsiteY2" fmla="*/ 20281 h 78342"/>
                <a:gd name="connsiteX3" fmla="*/ 173 w 80525"/>
                <a:gd name="connsiteY3" fmla="*/ 19766 h 78342"/>
                <a:gd name="connsiteX4" fmla="*/ 0 w 80525"/>
                <a:gd name="connsiteY4" fmla="*/ 18820 h 78342"/>
                <a:gd name="connsiteX5" fmla="*/ 1151 w 80525"/>
                <a:gd name="connsiteY5" fmla="*/ 18996 h 78342"/>
                <a:gd name="connsiteX6" fmla="*/ 71417 w 80525"/>
                <a:gd name="connsiteY6" fmla="*/ 0 h 78342"/>
                <a:gd name="connsiteX7" fmla="*/ 73110 w 80525"/>
                <a:gd name="connsiteY7" fmla="*/ 37 h 78342"/>
                <a:gd name="connsiteX8" fmla="*/ 74202 w 80525"/>
                <a:gd name="connsiteY8" fmla="*/ 1048 h 78342"/>
                <a:gd name="connsiteX9" fmla="*/ 75177 w 80525"/>
                <a:gd name="connsiteY9" fmla="*/ 2246 h 78342"/>
                <a:gd name="connsiteX10" fmla="*/ 76198 w 80525"/>
                <a:gd name="connsiteY10" fmla="*/ 2893 h 78342"/>
                <a:gd name="connsiteX11" fmla="*/ 78841 w 80525"/>
                <a:gd name="connsiteY11" fmla="*/ 4062 h 78342"/>
                <a:gd name="connsiteX12" fmla="*/ 79999 w 80525"/>
                <a:gd name="connsiteY12" fmla="*/ 5192 h 78342"/>
                <a:gd name="connsiteX13" fmla="*/ 80525 w 80525"/>
                <a:gd name="connsiteY13" fmla="*/ 7139 h 78342"/>
                <a:gd name="connsiteX14" fmla="*/ 78917 w 80525"/>
                <a:gd name="connsiteY14" fmla="*/ 8985 h 78342"/>
                <a:gd name="connsiteX15" fmla="*/ 78118 w 80525"/>
                <a:gd name="connsiteY15" fmla="*/ 10648 h 78342"/>
                <a:gd name="connsiteX16" fmla="*/ 77969 w 80525"/>
                <a:gd name="connsiteY16" fmla="*/ 12486 h 78342"/>
                <a:gd name="connsiteX17" fmla="*/ 78256 w 80525"/>
                <a:gd name="connsiteY17" fmla="*/ 14972 h 78342"/>
                <a:gd name="connsiteX18" fmla="*/ 78293 w 80525"/>
                <a:gd name="connsiteY18" fmla="*/ 17465 h 78342"/>
                <a:gd name="connsiteX19" fmla="*/ 76281 w 80525"/>
                <a:gd name="connsiteY19" fmla="*/ 23309 h 78342"/>
                <a:gd name="connsiteX20" fmla="*/ 74121 w 80525"/>
                <a:gd name="connsiteY20" fmla="*/ 26947 h 78342"/>
                <a:gd name="connsiteX21" fmla="*/ 73540 w 80525"/>
                <a:gd name="connsiteY21" fmla="*/ 28758 h 78342"/>
                <a:gd name="connsiteX22" fmla="*/ 72883 w 80525"/>
                <a:gd name="connsiteY22" fmla="*/ 33249 h 78342"/>
                <a:gd name="connsiteX23" fmla="*/ 71616 w 80525"/>
                <a:gd name="connsiteY23" fmla="*/ 37754 h 78342"/>
                <a:gd name="connsiteX24" fmla="*/ 70534 w 80525"/>
                <a:gd name="connsiteY24" fmla="*/ 43460 h 78342"/>
                <a:gd name="connsiteX25" fmla="*/ 68772 w 80525"/>
                <a:gd name="connsiteY25" fmla="*/ 49330 h 78342"/>
                <a:gd name="connsiteX26" fmla="*/ 67773 w 80525"/>
                <a:gd name="connsiteY26" fmla="*/ 51783 h 78342"/>
                <a:gd name="connsiteX27" fmla="*/ 66526 w 80525"/>
                <a:gd name="connsiteY27" fmla="*/ 54130 h 78342"/>
                <a:gd name="connsiteX28" fmla="*/ 63549 w 80525"/>
                <a:gd name="connsiteY28" fmla="*/ 58560 h 78342"/>
                <a:gd name="connsiteX29" fmla="*/ 60178 w 80525"/>
                <a:gd name="connsiteY29" fmla="*/ 62191 h 78342"/>
                <a:gd name="connsiteX30" fmla="*/ 58809 w 80525"/>
                <a:gd name="connsiteY30" fmla="*/ 64918 h 78342"/>
                <a:gd name="connsiteX31" fmla="*/ 57714 w 80525"/>
                <a:gd name="connsiteY31" fmla="*/ 67799 h 78342"/>
                <a:gd name="connsiteX32" fmla="*/ 57271 w 80525"/>
                <a:gd name="connsiteY32" fmla="*/ 70516 h 78342"/>
                <a:gd name="connsiteX33" fmla="*/ 57295 w 80525"/>
                <a:gd name="connsiteY33" fmla="*/ 73317 h 78342"/>
                <a:gd name="connsiteX34" fmla="*/ 56982 w 80525"/>
                <a:gd name="connsiteY34" fmla="*/ 75844 h 78342"/>
                <a:gd name="connsiteX35" fmla="*/ 56442 w 80525"/>
                <a:gd name="connsiteY35" fmla="*/ 78342 h 78342"/>
                <a:gd name="connsiteX36" fmla="*/ 54296 w 80525"/>
                <a:gd name="connsiteY36" fmla="*/ 77623 h 78342"/>
                <a:gd name="connsiteX37" fmla="*/ 53132 w 80525"/>
                <a:gd name="connsiteY37" fmla="*/ 75834 h 78342"/>
                <a:gd name="connsiteX38" fmla="*/ 52863 w 80525"/>
                <a:gd name="connsiteY38" fmla="*/ 72897 h 78342"/>
                <a:gd name="connsiteX39" fmla="*/ 51307 w 80525"/>
                <a:gd name="connsiteY39" fmla="*/ 69346 h 78342"/>
                <a:gd name="connsiteX40" fmla="*/ 50724 w 80525"/>
                <a:gd name="connsiteY40" fmla="*/ 68328 h 78342"/>
                <a:gd name="connsiteX41" fmla="*/ 48480 w 80525"/>
                <a:gd name="connsiteY41" fmla="*/ 66341 h 78342"/>
                <a:gd name="connsiteX42" fmla="*/ 46442 w 80525"/>
                <a:gd name="connsiteY42" fmla="*/ 65350 h 78342"/>
                <a:gd name="connsiteX43" fmla="*/ 44863 w 80525"/>
                <a:gd name="connsiteY43" fmla="*/ 63883 h 78342"/>
                <a:gd name="connsiteX44" fmla="*/ 45071 w 80525"/>
                <a:gd name="connsiteY44" fmla="*/ 64003 h 78342"/>
                <a:gd name="connsiteX45" fmla="*/ 43904 w 80525"/>
                <a:gd name="connsiteY45" fmla="*/ 62026 h 78342"/>
                <a:gd name="connsiteX46" fmla="*/ 43019 w 80525"/>
                <a:gd name="connsiteY46" fmla="*/ 59921 h 78342"/>
                <a:gd name="connsiteX47" fmla="*/ 41191 w 80525"/>
                <a:gd name="connsiteY47" fmla="*/ 53936 h 78342"/>
                <a:gd name="connsiteX48" fmla="*/ 40560 w 80525"/>
                <a:gd name="connsiteY48" fmla="*/ 52489 h 78342"/>
                <a:gd name="connsiteX49" fmla="*/ 39715 w 80525"/>
                <a:gd name="connsiteY49" fmla="*/ 51168 h 78342"/>
                <a:gd name="connsiteX50" fmla="*/ 39474 w 80525"/>
                <a:gd name="connsiteY50" fmla="*/ 49861 h 78342"/>
                <a:gd name="connsiteX51" fmla="*/ 39763 w 80525"/>
                <a:gd name="connsiteY51" fmla="*/ 48407 h 78342"/>
                <a:gd name="connsiteX52" fmla="*/ 40551 w 80525"/>
                <a:gd name="connsiteY52" fmla="*/ 46235 h 78342"/>
                <a:gd name="connsiteX53" fmla="*/ 41032 w 80525"/>
                <a:gd name="connsiteY53" fmla="*/ 44043 h 78342"/>
                <a:gd name="connsiteX54" fmla="*/ 40644 w 80525"/>
                <a:gd name="connsiteY54" fmla="*/ 41065 h 78342"/>
                <a:gd name="connsiteX55" fmla="*/ 40793 w 80525"/>
                <a:gd name="connsiteY55" fmla="*/ 38113 h 78342"/>
                <a:gd name="connsiteX56" fmla="*/ 41387 w 80525"/>
                <a:gd name="connsiteY56" fmla="*/ 36801 h 78342"/>
                <a:gd name="connsiteX57" fmla="*/ 51795 w 80525"/>
                <a:gd name="connsiteY57" fmla="*/ 18776 h 78342"/>
                <a:gd name="connsiteX58" fmla="*/ 54619 w 80525"/>
                <a:gd name="connsiteY58" fmla="*/ 14931 h 78342"/>
                <a:gd name="connsiteX59" fmla="*/ 56355 w 80525"/>
                <a:gd name="connsiteY59" fmla="*/ 13042 h 78342"/>
                <a:gd name="connsiteX60" fmla="*/ 57807 w 80525"/>
                <a:gd name="connsiteY60" fmla="*/ 10912 h 78342"/>
                <a:gd name="connsiteX61" fmla="*/ 59189 w 80525"/>
                <a:gd name="connsiteY61" fmla="*/ 8215 h 78342"/>
                <a:gd name="connsiteX62" fmla="*/ 60882 w 80525"/>
                <a:gd name="connsiteY62" fmla="*/ 5749 h 78342"/>
                <a:gd name="connsiteX63" fmla="*/ 62093 w 80525"/>
                <a:gd name="connsiteY63" fmla="*/ 4989 h 78342"/>
                <a:gd name="connsiteX64" fmla="*/ 68064 w 80525"/>
                <a:gd name="connsiteY64" fmla="*/ 2774 h 78342"/>
                <a:gd name="connsiteX65" fmla="*/ 69925 w 80525"/>
                <a:gd name="connsiteY65" fmla="*/ 657 h 78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</a:cxnLst>
              <a:rect l="l" t="t" r="r" b="b"/>
              <a:pathLst>
                <a:path w="80525" h="78342">
                  <a:moveTo>
                    <a:pt x="2656" y="17752"/>
                  </a:moveTo>
                  <a:lnTo>
                    <a:pt x="3624" y="19315"/>
                  </a:lnTo>
                  <a:lnTo>
                    <a:pt x="3215" y="20281"/>
                  </a:lnTo>
                  <a:lnTo>
                    <a:pt x="173" y="19766"/>
                  </a:lnTo>
                  <a:lnTo>
                    <a:pt x="0" y="18820"/>
                  </a:lnTo>
                  <a:lnTo>
                    <a:pt x="1151" y="18996"/>
                  </a:lnTo>
                  <a:close/>
                  <a:moveTo>
                    <a:pt x="71417" y="0"/>
                  </a:moveTo>
                  <a:lnTo>
                    <a:pt x="73110" y="37"/>
                  </a:lnTo>
                  <a:lnTo>
                    <a:pt x="74202" y="1048"/>
                  </a:lnTo>
                  <a:lnTo>
                    <a:pt x="75177" y="2246"/>
                  </a:lnTo>
                  <a:lnTo>
                    <a:pt x="76198" y="2893"/>
                  </a:lnTo>
                  <a:lnTo>
                    <a:pt x="78841" y="4062"/>
                  </a:lnTo>
                  <a:lnTo>
                    <a:pt x="79999" y="5192"/>
                  </a:lnTo>
                  <a:lnTo>
                    <a:pt x="80525" y="7139"/>
                  </a:lnTo>
                  <a:lnTo>
                    <a:pt x="78917" y="8985"/>
                  </a:lnTo>
                  <a:lnTo>
                    <a:pt x="78118" y="10648"/>
                  </a:lnTo>
                  <a:lnTo>
                    <a:pt x="77969" y="12486"/>
                  </a:lnTo>
                  <a:lnTo>
                    <a:pt x="78256" y="14972"/>
                  </a:lnTo>
                  <a:lnTo>
                    <a:pt x="78293" y="17465"/>
                  </a:lnTo>
                  <a:lnTo>
                    <a:pt x="76281" y="23309"/>
                  </a:lnTo>
                  <a:lnTo>
                    <a:pt x="74121" y="26947"/>
                  </a:lnTo>
                  <a:lnTo>
                    <a:pt x="73540" y="28758"/>
                  </a:lnTo>
                  <a:lnTo>
                    <a:pt x="72883" y="33249"/>
                  </a:lnTo>
                  <a:lnTo>
                    <a:pt x="71616" y="37754"/>
                  </a:lnTo>
                  <a:lnTo>
                    <a:pt x="70534" y="43460"/>
                  </a:lnTo>
                  <a:lnTo>
                    <a:pt x="68772" y="49330"/>
                  </a:lnTo>
                  <a:lnTo>
                    <a:pt x="67773" y="51783"/>
                  </a:lnTo>
                  <a:lnTo>
                    <a:pt x="66526" y="54130"/>
                  </a:lnTo>
                  <a:lnTo>
                    <a:pt x="63549" y="58560"/>
                  </a:lnTo>
                  <a:lnTo>
                    <a:pt x="60178" y="62191"/>
                  </a:lnTo>
                  <a:lnTo>
                    <a:pt x="58809" y="64918"/>
                  </a:lnTo>
                  <a:lnTo>
                    <a:pt x="57714" y="67799"/>
                  </a:lnTo>
                  <a:lnTo>
                    <a:pt x="57271" y="70516"/>
                  </a:lnTo>
                  <a:lnTo>
                    <a:pt x="57295" y="73317"/>
                  </a:lnTo>
                  <a:lnTo>
                    <a:pt x="56982" y="75844"/>
                  </a:lnTo>
                  <a:lnTo>
                    <a:pt x="56442" y="78342"/>
                  </a:lnTo>
                  <a:lnTo>
                    <a:pt x="54296" y="77623"/>
                  </a:lnTo>
                  <a:lnTo>
                    <a:pt x="53132" y="75834"/>
                  </a:lnTo>
                  <a:lnTo>
                    <a:pt x="52863" y="72897"/>
                  </a:lnTo>
                  <a:lnTo>
                    <a:pt x="51307" y="69346"/>
                  </a:lnTo>
                  <a:lnTo>
                    <a:pt x="50724" y="68328"/>
                  </a:lnTo>
                  <a:lnTo>
                    <a:pt x="48480" y="66341"/>
                  </a:lnTo>
                  <a:lnTo>
                    <a:pt x="46442" y="65350"/>
                  </a:lnTo>
                  <a:lnTo>
                    <a:pt x="44863" y="63883"/>
                  </a:lnTo>
                  <a:lnTo>
                    <a:pt x="45071" y="64003"/>
                  </a:lnTo>
                  <a:lnTo>
                    <a:pt x="43904" y="62026"/>
                  </a:lnTo>
                  <a:lnTo>
                    <a:pt x="43019" y="59921"/>
                  </a:lnTo>
                  <a:lnTo>
                    <a:pt x="41191" y="53936"/>
                  </a:lnTo>
                  <a:lnTo>
                    <a:pt x="40560" y="52489"/>
                  </a:lnTo>
                  <a:lnTo>
                    <a:pt x="39715" y="51168"/>
                  </a:lnTo>
                  <a:lnTo>
                    <a:pt x="39474" y="49861"/>
                  </a:lnTo>
                  <a:lnTo>
                    <a:pt x="39763" y="48407"/>
                  </a:lnTo>
                  <a:lnTo>
                    <a:pt x="40551" y="46235"/>
                  </a:lnTo>
                  <a:lnTo>
                    <a:pt x="41032" y="44043"/>
                  </a:lnTo>
                  <a:lnTo>
                    <a:pt x="40644" y="41065"/>
                  </a:lnTo>
                  <a:lnTo>
                    <a:pt x="40793" y="38113"/>
                  </a:lnTo>
                  <a:lnTo>
                    <a:pt x="41387" y="36801"/>
                  </a:lnTo>
                  <a:lnTo>
                    <a:pt x="51795" y="18776"/>
                  </a:lnTo>
                  <a:lnTo>
                    <a:pt x="54619" y="14931"/>
                  </a:lnTo>
                  <a:lnTo>
                    <a:pt x="56355" y="13042"/>
                  </a:lnTo>
                  <a:lnTo>
                    <a:pt x="57807" y="10912"/>
                  </a:lnTo>
                  <a:lnTo>
                    <a:pt x="59189" y="8215"/>
                  </a:lnTo>
                  <a:lnTo>
                    <a:pt x="60882" y="5749"/>
                  </a:lnTo>
                  <a:lnTo>
                    <a:pt x="62093" y="4989"/>
                  </a:lnTo>
                  <a:lnTo>
                    <a:pt x="68064" y="2774"/>
                  </a:lnTo>
                  <a:lnTo>
                    <a:pt x="69925" y="657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07" name="ee4p_UZ_1_37365">
              <a:extLst>
                <a:ext uri="{FF2B5EF4-FFF2-40B4-BE49-F238E27FC236}">
                  <a16:creationId xmlns:a16="http://schemas.microsoft.com/office/drawing/2014/main" id="{C5F49B82-4B3A-C351-F0EF-A0060D44B663}"/>
                </a:ext>
              </a:extLst>
            </p:cNvPr>
            <p:cNvSpPr>
              <a:spLocks noChangeAspect="1"/>
            </p:cNvSpPr>
            <p:nvPr>
              <p:custDataLst>
                <p:tags r:id="rId261"/>
              </p:custDataLst>
            </p:nvPr>
          </p:nvSpPr>
          <p:spPr>
            <a:xfrm>
              <a:off x="8069110" y="3278610"/>
              <a:ext cx="476556" cy="285731"/>
            </a:xfrm>
            <a:custGeom>
              <a:avLst/>
              <a:gdLst>
                <a:gd name="connsiteX0" fmla="*/ 349686 w 379471"/>
                <a:gd name="connsiteY0" fmla="*/ 148756 h 221490"/>
                <a:gd name="connsiteX1" fmla="*/ 349459 w 379471"/>
                <a:gd name="connsiteY1" fmla="*/ 149931 h 221490"/>
                <a:gd name="connsiteX2" fmla="*/ 348868 w 379471"/>
                <a:gd name="connsiteY2" fmla="*/ 151054 h 221490"/>
                <a:gd name="connsiteX3" fmla="*/ 347827 w 379471"/>
                <a:gd name="connsiteY3" fmla="*/ 150786 h 221490"/>
                <a:gd name="connsiteX4" fmla="*/ 347011 w 379471"/>
                <a:gd name="connsiteY4" fmla="*/ 150039 h 221490"/>
                <a:gd name="connsiteX5" fmla="*/ 347283 w 379471"/>
                <a:gd name="connsiteY5" fmla="*/ 149451 h 221490"/>
                <a:gd name="connsiteX6" fmla="*/ 348505 w 379471"/>
                <a:gd name="connsiteY6" fmla="*/ 149130 h 221490"/>
                <a:gd name="connsiteX7" fmla="*/ 349142 w 379471"/>
                <a:gd name="connsiteY7" fmla="*/ 148810 h 221490"/>
                <a:gd name="connsiteX8" fmla="*/ 332340 w 379471"/>
                <a:gd name="connsiteY8" fmla="*/ 144660 h 221490"/>
                <a:gd name="connsiteX9" fmla="*/ 332752 w 379471"/>
                <a:gd name="connsiteY9" fmla="*/ 144742 h 221490"/>
                <a:gd name="connsiteX10" fmla="*/ 333996 w 379471"/>
                <a:gd name="connsiteY10" fmla="*/ 146550 h 221490"/>
                <a:gd name="connsiteX11" fmla="*/ 335100 w 379471"/>
                <a:gd name="connsiteY11" fmla="*/ 147077 h 221490"/>
                <a:gd name="connsiteX12" fmla="*/ 337276 w 379471"/>
                <a:gd name="connsiteY12" fmla="*/ 147378 h 221490"/>
                <a:gd name="connsiteX13" fmla="*/ 336184 w 379471"/>
                <a:gd name="connsiteY13" fmla="*/ 149160 h 221490"/>
                <a:gd name="connsiteX14" fmla="*/ 336987 w 379471"/>
                <a:gd name="connsiteY14" fmla="*/ 151063 h 221490"/>
                <a:gd name="connsiteX15" fmla="*/ 336777 w 379471"/>
                <a:gd name="connsiteY15" fmla="*/ 151433 h 221490"/>
                <a:gd name="connsiteX16" fmla="*/ 335674 w 379471"/>
                <a:gd name="connsiteY16" fmla="*/ 151671 h 221490"/>
                <a:gd name="connsiteX17" fmla="*/ 333640 w 379471"/>
                <a:gd name="connsiteY17" fmla="*/ 151633 h 221490"/>
                <a:gd name="connsiteX18" fmla="*/ 332478 w 379471"/>
                <a:gd name="connsiteY18" fmla="*/ 151367 h 221490"/>
                <a:gd name="connsiteX19" fmla="*/ 333184 w 379471"/>
                <a:gd name="connsiteY19" fmla="*/ 149251 h 221490"/>
                <a:gd name="connsiteX20" fmla="*/ 333210 w 379471"/>
                <a:gd name="connsiteY20" fmla="*/ 148829 h 221490"/>
                <a:gd name="connsiteX21" fmla="*/ 333126 w 379471"/>
                <a:gd name="connsiteY21" fmla="*/ 148766 h 221490"/>
                <a:gd name="connsiteX22" fmla="*/ 332538 w 379471"/>
                <a:gd name="connsiteY22" fmla="*/ 148484 h 221490"/>
                <a:gd name="connsiteX23" fmla="*/ 331653 w 379471"/>
                <a:gd name="connsiteY23" fmla="*/ 147620 h 221490"/>
                <a:gd name="connsiteX24" fmla="*/ 331349 w 379471"/>
                <a:gd name="connsiteY24" fmla="*/ 146339 h 221490"/>
                <a:gd name="connsiteX25" fmla="*/ 331694 w 379471"/>
                <a:gd name="connsiteY25" fmla="*/ 145157 h 221490"/>
                <a:gd name="connsiteX26" fmla="*/ 322757 w 379471"/>
                <a:gd name="connsiteY26" fmla="*/ 121792 h 221490"/>
                <a:gd name="connsiteX27" fmla="*/ 322268 w 379471"/>
                <a:gd name="connsiteY27" fmla="*/ 122053 h 221490"/>
                <a:gd name="connsiteX28" fmla="*/ 322683 w 379471"/>
                <a:gd name="connsiteY28" fmla="*/ 122922 h 221490"/>
                <a:gd name="connsiteX29" fmla="*/ 323877 w 379471"/>
                <a:gd name="connsiteY29" fmla="*/ 124169 h 221490"/>
                <a:gd name="connsiteX30" fmla="*/ 324536 w 379471"/>
                <a:gd name="connsiteY30" fmla="*/ 124111 h 221490"/>
                <a:gd name="connsiteX31" fmla="*/ 324462 w 379471"/>
                <a:gd name="connsiteY31" fmla="*/ 123475 h 221490"/>
                <a:gd name="connsiteX32" fmla="*/ 323780 w 379471"/>
                <a:gd name="connsiteY32" fmla="*/ 122401 h 221490"/>
                <a:gd name="connsiteX33" fmla="*/ 57040 w 379471"/>
                <a:gd name="connsiteY33" fmla="*/ 0 h 221490"/>
                <a:gd name="connsiteX34" fmla="*/ 59553 w 379471"/>
                <a:gd name="connsiteY34" fmla="*/ 1313 h 221490"/>
                <a:gd name="connsiteX35" fmla="*/ 62607 w 379471"/>
                <a:gd name="connsiteY35" fmla="*/ 3120 h 221490"/>
                <a:gd name="connsiteX36" fmla="*/ 65660 w 379471"/>
                <a:gd name="connsiteY36" fmla="*/ 4926 h 221490"/>
                <a:gd name="connsiteX37" fmla="*/ 68717 w 379471"/>
                <a:gd name="connsiteY37" fmla="*/ 6730 h 221490"/>
                <a:gd name="connsiteX38" fmla="*/ 71771 w 379471"/>
                <a:gd name="connsiteY38" fmla="*/ 8533 h 221490"/>
                <a:gd name="connsiteX39" fmla="*/ 74824 w 379471"/>
                <a:gd name="connsiteY39" fmla="*/ 10336 h 221490"/>
                <a:gd name="connsiteX40" fmla="*/ 77882 w 379471"/>
                <a:gd name="connsiteY40" fmla="*/ 12136 h 221490"/>
                <a:gd name="connsiteX41" fmla="*/ 80935 w 379471"/>
                <a:gd name="connsiteY41" fmla="*/ 13935 h 221490"/>
                <a:gd name="connsiteX42" fmla="*/ 83989 w 379471"/>
                <a:gd name="connsiteY42" fmla="*/ 15733 h 221490"/>
                <a:gd name="connsiteX43" fmla="*/ 87044 w 379471"/>
                <a:gd name="connsiteY43" fmla="*/ 17528 h 221490"/>
                <a:gd name="connsiteX44" fmla="*/ 90098 w 379471"/>
                <a:gd name="connsiteY44" fmla="*/ 19325 h 221490"/>
                <a:gd name="connsiteX45" fmla="*/ 93153 w 379471"/>
                <a:gd name="connsiteY45" fmla="*/ 21120 h 221490"/>
                <a:gd name="connsiteX46" fmla="*/ 96209 w 379471"/>
                <a:gd name="connsiteY46" fmla="*/ 22913 h 221490"/>
                <a:gd name="connsiteX47" fmla="*/ 99262 w 379471"/>
                <a:gd name="connsiteY47" fmla="*/ 24705 h 221490"/>
                <a:gd name="connsiteX48" fmla="*/ 102318 w 379471"/>
                <a:gd name="connsiteY48" fmla="*/ 26497 h 221490"/>
                <a:gd name="connsiteX49" fmla="*/ 105373 w 379471"/>
                <a:gd name="connsiteY49" fmla="*/ 28286 h 221490"/>
                <a:gd name="connsiteX50" fmla="*/ 108427 w 379471"/>
                <a:gd name="connsiteY50" fmla="*/ 30075 h 221490"/>
                <a:gd name="connsiteX51" fmla="*/ 111273 w 379471"/>
                <a:gd name="connsiteY51" fmla="*/ 31740 h 221490"/>
                <a:gd name="connsiteX52" fmla="*/ 112542 w 379471"/>
                <a:gd name="connsiteY52" fmla="*/ 32974 h 221490"/>
                <a:gd name="connsiteX53" fmla="*/ 113244 w 379471"/>
                <a:gd name="connsiteY53" fmla="*/ 35691 h 221490"/>
                <a:gd name="connsiteX54" fmla="*/ 114652 w 379471"/>
                <a:gd name="connsiteY54" fmla="*/ 37851 h 221490"/>
                <a:gd name="connsiteX55" fmla="*/ 117101 w 379471"/>
                <a:gd name="connsiteY55" fmla="*/ 40190 h 221490"/>
                <a:gd name="connsiteX56" fmla="*/ 119612 w 379471"/>
                <a:gd name="connsiteY56" fmla="*/ 42581 h 221490"/>
                <a:gd name="connsiteX57" fmla="*/ 122726 w 379471"/>
                <a:gd name="connsiteY57" fmla="*/ 45738 h 221490"/>
                <a:gd name="connsiteX58" fmla="*/ 124888 w 379471"/>
                <a:gd name="connsiteY58" fmla="*/ 47927 h 221490"/>
                <a:gd name="connsiteX59" fmla="*/ 127090 w 379471"/>
                <a:gd name="connsiteY59" fmla="*/ 50157 h 221490"/>
                <a:gd name="connsiteX60" fmla="*/ 130724 w 379471"/>
                <a:gd name="connsiteY60" fmla="*/ 53833 h 221490"/>
                <a:gd name="connsiteX61" fmla="*/ 132994 w 379471"/>
                <a:gd name="connsiteY61" fmla="*/ 56126 h 221490"/>
                <a:gd name="connsiteX62" fmla="*/ 134801 w 379471"/>
                <a:gd name="connsiteY62" fmla="*/ 56201 h 221490"/>
                <a:gd name="connsiteX63" fmla="*/ 138470 w 379471"/>
                <a:gd name="connsiteY63" fmla="*/ 55656 h 221490"/>
                <a:gd name="connsiteX64" fmla="*/ 143368 w 379471"/>
                <a:gd name="connsiteY64" fmla="*/ 54928 h 221490"/>
                <a:gd name="connsiteX65" fmla="*/ 147239 w 379471"/>
                <a:gd name="connsiteY65" fmla="*/ 54352 h 221490"/>
                <a:gd name="connsiteX66" fmla="*/ 151921 w 379471"/>
                <a:gd name="connsiteY66" fmla="*/ 53655 h 221490"/>
                <a:gd name="connsiteX67" fmla="*/ 156376 w 379471"/>
                <a:gd name="connsiteY67" fmla="*/ 52991 h 221490"/>
                <a:gd name="connsiteX68" fmla="*/ 159900 w 379471"/>
                <a:gd name="connsiteY68" fmla="*/ 52466 h 221490"/>
                <a:gd name="connsiteX69" fmla="*/ 165158 w 379471"/>
                <a:gd name="connsiteY69" fmla="*/ 52863 h 221490"/>
                <a:gd name="connsiteX70" fmla="*/ 170351 w 379471"/>
                <a:gd name="connsiteY70" fmla="*/ 53257 h 221490"/>
                <a:gd name="connsiteX71" fmla="*/ 174076 w 379471"/>
                <a:gd name="connsiteY71" fmla="*/ 53540 h 221490"/>
                <a:gd name="connsiteX72" fmla="*/ 177728 w 379471"/>
                <a:gd name="connsiteY72" fmla="*/ 53818 h 221490"/>
                <a:gd name="connsiteX73" fmla="*/ 182051 w 379471"/>
                <a:gd name="connsiteY73" fmla="*/ 54144 h 221490"/>
                <a:gd name="connsiteX74" fmla="*/ 184469 w 379471"/>
                <a:gd name="connsiteY74" fmla="*/ 54327 h 221490"/>
                <a:gd name="connsiteX75" fmla="*/ 187233 w 379471"/>
                <a:gd name="connsiteY75" fmla="*/ 54536 h 221490"/>
                <a:gd name="connsiteX76" fmla="*/ 188404 w 379471"/>
                <a:gd name="connsiteY76" fmla="*/ 53985 h 221490"/>
                <a:gd name="connsiteX77" fmla="*/ 190792 w 379471"/>
                <a:gd name="connsiteY77" fmla="*/ 52857 h 221490"/>
                <a:gd name="connsiteX78" fmla="*/ 193047 w 379471"/>
                <a:gd name="connsiteY78" fmla="*/ 51792 h 221490"/>
                <a:gd name="connsiteX79" fmla="*/ 195385 w 379471"/>
                <a:gd name="connsiteY79" fmla="*/ 50686 h 221490"/>
                <a:gd name="connsiteX80" fmla="*/ 197456 w 379471"/>
                <a:gd name="connsiteY80" fmla="*/ 50127 h 221490"/>
                <a:gd name="connsiteX81" fmla="*/ 199615 w 379471"/>
                <a:gd name="connsiteY81" fmla="*/ 51897 h 221490"/>
                <a:gd name="connsiteX82" fmla="*/ 201423 w 379471"/>
                <a:gd name="connsiteY82" fmla="*/ 53929 h 221490"/>
                <a:gd name="connsiteX83" fmla="*/ 203325 w 379471"/>
                <a:gd name="connsiteY83" fmla="*/ 56071 h 221490"/>
                <a:gd name="connsiteX84" fmla="*/ 205528 w 379471"/>
                <a:gd name="connsiteY84" fmla="*/ 58134 h 221490"/>
                <a:gd name="connsiteX85" fmla="*/ 207650 w 379471"/>
                <a:gd name="connsiteY85" fmla="*/ 59358 h 221490"/>
                <a:gd name="connsiteX86" fmla="*/ 210518 w 379471"/>
                <a:gd name="connsiteY86" fmla="*/ 61011 h 221490"/>
                <a:gd name="connsiteX87" fmla="*/ 212166 w 379471"/>
                <a:gd name="connsiteY87" fmla="*/ 63842 h 221490"/>
                <a:gd name="connsiteX88" fmla="*/ 214366 w 379471"/>
                <a:gd name="connsiteY88" fmla="*/ 67614 h 221490"/>
                <a:gd name="connsiteX89" fmla="*/ 215813 w 379471"/>
                <a:gd name="connsiteY89" fmla="*/ 70093 h 221490"/>
                <a:gd name="connsiteX90" fmla="*/ 217303 w 379471"/>
                <a:gd name="connsiteY90" fmla="*/ 72641 h 221490"/>
                <a:gd name="connsiteX91" fmla="*/ 219471 w 379471"/>
                <a:gd name="connsiteY91" fmla="*/ 71636 h 221490"/>
                <a:gd name="connsiteX92" fmla="*/ 221784 w 379471"/>
                <a:gd name="connsiteY92" fmla="*/ 70562 h 221490"/>
                <a:gd name="connsiteX93" fmla="*/ 223876 w 379471"/>
                <a:gd name="connsiteY93" fmla="*/ 69592 h 221490"/>
                <a:gd name="connsiteX94" fmla="*/ 223623 w 379471"/>
                <a:gd name="connsiteY94" fmla="*/ 72737 h 221490"/>
                <a:gd name="connsiteX95" fmla="*/ 223394 w 379471"/>
                <a:gd name="connsiteY95" fmla="*/ 75592 h 221490"/>
                <a:gd name="connsiteX96" fmla="*/ 223045 w 379471"/>
                <a:gd name="connsiteY96" fmla="*/ 79907 h 221490"/>
                <a:gd name="connsiteX97" fmla="*/ 222760 w 379471"/>
                <a:gd name="connsiteY97" fmla="*/ 83440 h 221490"/>
                <a:gd name="connsiteX98" fmla="*/ 222001 w 379471"/>
                <a:gd name="connsiteY98" fmla="*/ 87649 h 221490"/>
                <a:gd name="connsiteX99" fmla="*/ 221950 w 379471"/>
                <a:gd name="connsiteY99" fmla="*/ 90851 h 221490"/>
                <a:gd name="connsiteX100" fmla="*/ 221907 w 379471"/>
                <a:gd name="connsiteY100" fmla="*/ 93661 h 221490"/>
                <a:gd name="connsiteX101" fmla="*/ 221870 w 379471"/>
                <a:gd name="connsiteY101" fmla="*/ 95889 h 221490"/>
                <a:gd name="connsiteX102" fmla="*/ 225930 w 379471"/>
                <a:gd name="connsiteY102" fmla="*/ 95989 h 221490"/>
                <a:gd name="connsiteX103" fmla="*/ 228929 w 379471"/>
                <a:gd name="connsiteY103" fmla="*/ 96062 h 221490"/>
                <a:gd name="connsiteX104" fmla="*/ 232684 w 379471"/>
                <a:gd name="connsiteY104" fmla="*/ 96154 h 221490"/>
                <a:gd name="connsiteX105" fmla="*/ 233047 w 379471"/>
                <a:gd name="connsiteY105" fmla="*/ 98953 h 221490"/>
                <a:gd name="connsiteX106" fmla="*/ 233552 w 379471"/>
                <a:gd name="connsiteY106" fmla="*/ 102879 h 221490"/>
                <a:gd name="connsiteX107" fmla="*/ 234319 w 379471"/>
                <a:gd name="connsiteY107" fmla="*/ 106433 h 221490"/>
                <a:gd name="connsiteX108" fmla="*/ 234962 w 379471"/>
                <a:gd name="connsiteY108" fmla="*/ 109411 h 221490"/>
                <a:gd name="connsiteX109" fmla="*/ 235927 w 379471"/>
                <a:gd name="connsiteY109" fmla="*/ 113259 h 221490"/>
                <a:gd name="connsiteX110" fmla="*/ 236444 w 379471"/>
                <a:gd name="connsiteY110" fmla="*/ 115313 h 221490"/>
                <a:gd name="connsiteX111" fmla="*/ 237351 w 379471"/>
                <a:gd name="connsiteY111" fmla="*/ 117728 h 221490"/>
                <a:gd name="connsiteX112" fmla="*/ 238238 w 379471"/>
                <a:gd name="connsiteY112" fmla="*/ 118309 h 221490"/>
                <a:gd name="connsiteX113" fmla="*/ 239663 w 379471"/>
                <a:gd name="connsiteY113" fmla="*/ 118696 h 221490"/>
                <a:gd name="connsiteX114" fmla="*/ 244626 w 379471"/>
                <a:gd name="connsiteY114" fmla="*/ 118408 h 221490"/>
                <a:gd name="connsiteX115" fmla="*/ 248746 w 379471"/>
                <a:gd name="connsiteY115" fmla="*/ 118170 h 221490"/>
                <a:gd name="connsiteX116" fmla="*/ 251987 w 379471"/>
                <a:gd name="connsiteY116" fmla="*/ 117981 h 221490"/>
                <a:gd name="connsiteX117" fmla="*/ 255446 w 379471"/>
                <a:gd name="connsiteY117" fmla="*/ 117781 h 221490"/>
                <a:gd name="connsiteX118" fmla="*/ 260024 w 379471"/>
                <a:gd name="connsiteY118" fmla="*/ 117514 h 221490"/>
                <a:gd name="connsiteX119" fmla="*/ 261572 w 379471"/>
                <a:gd name="connsiteY119" fmla="*/ 118129 h 221490"/>
                <a:gd name="connsiteX120" fmla="*/ 262913 w 379471"/>
                <a:gd name="connsiteY120" fmla="*/ 117698 h 221490"/>
                <a:gd name="connsiteX121" fmla="*/ 264462 w 379471"/>
                <a:gd name="connsiteY121" fmla="*/ 117268 h 221490"/>
                <a:gd name="connsiteX122" fmla="*/ 265693 w 379471"/>
                <a:gd name="connsiteY122" fmla="*/ 119022 h 221490"/>
                <a:gd name="connsiteX123" fmla="*/ 266319 w 379471"/>
                <a:gd name="connsiteY123" fmla="*/ 119912 h 221490"/>
                <a:gd name="connsiteX124" fmla="*/ 267195 w 379471"/>
                <a:gd name="connsiteY124" fmla="*/ 120832 h 221490"/>
                <a:gd name="connsiteX125" fmla="*/ 268383 w 379471"/>
                <a:gd name="connsiteY125" fmla="*/ 121691 h 221490"/>
                <a:gd name="connsiteX126" fmla="*/ 267880 w 379471"/>
                <a:gd name="connsiteY126" fmla="*/ 123490 h 221490"/>
                <a:gd name="connsiteX127" fmla="*/ 267144 w 379471"/>
                <a:gd name="connsiteY127" fmla="*/ 126109 h 221490"/>
                <a:gd name="connsiteX128" fmla="*/ 266936 w 379471"/>
                <a:gd name="connsiteY128" fmla="*/ 127457 h 221490"/>
                <a:gd name="connsiteX129" fmla="*/ 268366 w 379471"/>
                <a:gd name="connsiteY129" fmla="*/ 128907 h 221490"/>
                <a:gd name="connsiteX130" fmla="*/ 269426 w 379471"/>
                <a:gd name="connsiteY130" fmla="*/ 129754 h 221490"/>
                <a:gd name="connsiteX131" fmla="*/ 272337 w 379471"/>
                <a:gd name="connsiteY131" fmla="*/ 131477 h 221490"/>
                <a:gd name="connsiteX132" fmla="*/ 275060 w 379471"/>
                <a:gd name="connsiteY132" fmla="*/ 132438 h 221490"/>
                <a:gd name="connsiteX133" fmla="*/ 276843 w 379471"/>
                <a:gd name="connsiteY133" fmla="*/ 132721 h 221490"/>
                <a:gd name="connsiteX134" fmla="*/ 278545 w 379471"/>
                <a:gd name="connsiteY134" fmla="*/ 132354 h 221490"/>
                <a:gd name="connsiteX135" fmla="*/ 279165 w 379471"/>
                <a:gd name="connsiteY135" fmla="*/ 131376 h 221490"/>
                <a:gd name="connsiteX136" fmla="*/ 279009 w 379471"/>
                <a:gd name="connsiteY136" fmla="*/ 130030 h 221490"/>
                <a:gd name="connsiteX137" fmla="*/ 278189 w 379471"/>
                <a:gd name="connsiteY137" fmla="*/ 128616 h 221490"/>
                <a:gd name="connsiteX138" fmla="*/ 278249 w 379471"/>
                <a:gd name="connsiteY138" fmla="*/ 126931 h 221490"/>
                <a:gd name="connsiteX139" fmla="*/ 278798 w 379471"/>
                <a:gd name="connsiteY139" fmla="*/ 125697 h 221490"/>
                <a:gd name="connsiteX140" fmla="*/ 280538 w 379471"/>
                <a:gd name="connsiteY140" fmla="*/ 123456 h 221490"/>
                <a:gd name="connsiteX141" fmla="*/ 282182 w 379471"/>
                <a:gd name="connsiteY141" fmla="*/ 121342 h 221490"/>
                <a:gd name="connsiteX142" fmla="*/ 284704 w 379471"/>
                <a:gd name="connsiteY142" fmla="*/ 119185 h 221490"/>
                <a:gd name="connsiteX143" fmla="*/ 287705 w 379471"/>
                <a:gd name="connsiteY143" fmla="*/ 117046 h 221490"/>
                <a:gd name="connsiteX144" fmla="*/ 288956 w 379471"/>
                <a:gd name="connsiteY144" fmla="*/ 115488 h 221490"/>
                <a:gd name="connsiteX145" fmla="*/ 289431 w 379471"/>
                <a:gd name="connsiteY145" fmla="*/ 112776 h 221490"/>
                <a:gd name="connsiteX146" fmla="*/ 291391 w 379471"/>
                <a:gd name="connsiteY146" fmla="*/ 111236 h 221490"/>
                <a:gd name="connsiteX147" fmla="*/ 293508 w 379471"/>
                <a:gd name="connsiteY147" fmla="*/ 110312 h 221490"/>
                <a:gd name="connsiteX148" fmla="*/ 296140 w 379471"/>
                <a:gd name="connsiteY148" fmla="*/ 109510 h 221490"/>
                <a:gd name="connsiteX149" fmla="*/ 296861 w 379471"/>
                <a:gd name="connsiteY149" fmla="*/ 108154 h 221490"/>
                <a:gd name="connsiteX150" fmla="*/ 300491 w 379471"/>
                <a:gd name="connsiteY150" fmla="*/ 105849 h 221490"/>
                <a:gd name="connsiteX151" fmla="*/ 302674 w 379471"/>
                <a:gd name="connsiteY151" fmla="*/ 104710 h 221490"/>
                <a:gd name="connsiteX152" fmla="*/ 305421 w 379471"/>
                <a:gd name="connsiteY152" fmla="*/ 104043 h 221490"/>
                <a:gd name="connsiteX153" fmla="*/ 309221 w 379471"/>
                <a:gd name="connsiteY153" fmla="*/ 102540 h 221490"/>
                <a:gd name="connsiteX154" fmla="*/ 312221 w 379471"/>
                <a:gd name="connsiteY154" fmla="*/ 100780 h 221490"/>
                <a:gd name="connsiteX155" fmla="*/ 315101 w 379471"/>
                <a:gd name="connsiteY155" fmla="*/ 97452 h 221490"/>
                <a:gd name="connsiteX156" fmla="*/ 317379 w 379471"/>
                <a:gd name="connsiteY156" fmla="*/ 95276 h 221490"/>
                <a:gd name="connsiteX157" fmla="*/ 319306 w 379471"/>
                <a:gd name="connsiteY157" fmla="*/ 93932 h 221490"/>
                <a:gd name="connsiteX158" fmla="*/ 320921 w 379471"/>
                <a:gd name="connsiteY158" fmla="*/ 93887 h 221490"/>
                <a:gd name="connsiteX159" fmla="*/ 322050 w 379471"/>
                <a:gd name="connsiteY159" fmla="*/ 94971 h 221490"/>
                <a:gd name="connsiteX160" fmla="*/ 323026 w 379471"/>
                <a:gd name="connsiteY160" fmla="*/ 95062 h 221490"/>
                <a:gd name="connsiteX161" fmla="*/ 323668 w 379471"/>
                <a:gd name="connsiteY161" fmla="*/ 94565 h 221490"/>
                <a:gd name="connsiteX162" fmla="*/ 324756 w 379471"/>
                <a:gd name="connsiteY162" fmla="*/ 93164 h 221490"/>
                <a:gd name="connsiteX163" fmla="*/ 325922 w 379471"/>
                <a:gd name="connsiteY163" fmla="*/ 91537 h 221490"/>
                <a:gd name="connsiteX164" fmla="*/ 327013 w 379471"/>
                <a:gd name="connsiteY164" fmla="*/ 90858 h 221490"/>
                <a:gd name="connsiteX165" fmla="*/ 329131 w 379471"/>
                <a:gd name="connsiteY165" fmla="*/ 90512 h 221490"/>
                <a:gd name="connsiteX166" fmla="*/ 331042 w 379471"/>
                <a:gd name="connsiteY166" fmla="*/ 89409 h 221490"/>
                <a:gd name="connsiteX167" fmla="*/ 331754 w 379471"/>
                <a:gd name="connsiteY167" fmla="*/ 88933 h 221490"/>
                <a:gd name="connsiteX168" fmla="*/ 333016 w 379471"/>
                <a:gd name="connsiteY168" fmla="*/ 88451 h 221490"/>
                <a:gd name="connsiteX169" fmla="*/ 335093 w 379471"/>
                <a:gd name="connsiteY169" fmla="*/ 89374 h 221490"/>
                <a:gd name="connsiteX170" fmla="*/ 336922 w 379471"/>
                <a:gd name="connsiteY170" fmla="*/ 90533 h 221490"/>
                <a:gd name="connsiteX171" fmla="*/ 337356 w 379471"/>
                <a:gd name="connsiteY171" fmla="*/ 91069 h 221490"/>
                <a:gd name="connsiteX172" fmla="*/ 337272 w 379471"/>
                <a:gd name="connsiteY172" fmla="*/ 91691 h 221490"/>
                <a:gd name="connsiteX173" fmla="*/ 332932 w 379471"/>
                <a:gd name="connsiteY173" fmla="*/ 93953 h 221490"/>
                <a:gd name="connsiteX174" fmla="*/ 330237 w 379471"/>
                <a:gd name="connsiteY174" fmla="*/ 95010 h 221490"/>
                <a:gd name="connsiteX175" fmla="*/ 329049 w 379471"/>
                <a:gd name="connsiteY175" fmla="*/ 95200 h 221490"/>
                <a:gd name="connsiteX176" fmla="*/ 328723 w 379471"/>
                <a:gd name="connsiteY176" fmla="*/ 95497 h 221490"/>
                <a:gd name="connsiteX177" fmla="*/ 327870 w 379471"/>
                <a:gd name="connsiteY177" fmla="*/ 98071 h 221490"/>
                <a:gd name="connsiteX178" fmla="*/ 326199 w 379471"/>
                <a:gd name="connsiteY178" fmla="*/ 98533 h 221490"/>
                <a:gd name="connsiteX179" fmla="*/ 324056 w 379471"/>
                <a:gd name="connsiteY179" fmla="*/ 99322 h 221490"/>
                <a:gd name="connsiteX180" fmla="*/ 322553 w 379471"/>
                <a:gd name="connsiteY180" fmla="*/ 100506 h 221490"/>
                <a:gd name="connsiteX181" fmla="*/ 320167 w 379471"/>
                <a:gd name="connsiteY181" fmla="*/ 103308 h 221490"/>
                <a:gd name="connsiteX182" fmla="*/ 314108 w 379471"/>
                <a:gd name="connsiteY182" fmla="*/ 107373 h 221490"/>
                <a:gd name="connsiteX183" fmla="*/ 314020 w 379471"/>
                <a:gd name="connsiteY183" fmla="*/ 108205 h 221490"/>
                <a:gd name="connsiteX184" fmla="*/ 314549 w 379471"/>
                <a:gd name="connsiteY184" fmla="*/ 108879 h 221490"/>
                <a:gd name="connsiteX185" fmla="*/ 316520 w 379471"/>
                <a:gd name="connsiteY185" fmla="*/ 109345 h 221490"/>
                <a:gd name="connsiteX186" fmla="*/ 319124 w 379471"/>
                <a:gd name="connsiteY186" fmla="*/ 110594 h 221490"/>
                <a:gd name="connsiteX187" fmla="*/ 320530 w 379471"/>
                <a:gd name="connsiteY187" fmla="*/ 111569 h 221490"/>
                <a:gd name="connsiteX188" fmla="*/ 324389 w 379471"/>
                <a:gd name="connsiteY188" fmla="*/ 110309 h 221490"/>
                <a:gd name="connsiteX189" fmla="*/ 325339 w 379471"/>
                <a:gd name="connsiteY189" fmla="*/ 110587 h 221490"/>
                <a:gd name="connsiteX190" fmla="*/ 326345 w 379471"/>
                <a:gd name="connsiteY190" fmla="*/ 111889 h 221490"/>
                <a:gd name="connsiteX191" fmla="*/ 327408 w 379471"/>
                <a:gd name="connsiteY191" fmla="*/ 115531 h 221490"/>
                <a:gd name="connsiteX192" fmla="*/ 329133 w 379471"/>
                <a:gd name="connsiteY192" fmla="*/ 116522 h 221490"/>
                <a:gd name="connsiteX193" fmla="*/ 331392 w 379471"/>
                <a:gd name="connsiteY193" fmla="*/ 117284 h 221490"/>
                <a:gd name="connsiteX194" fmla="*/ 332793 w 379471"/>
                <a:gd name="connsiteY194" fmla="*/ 117532 h 221490"/>
                <a:gd name="connsiteX195" fmla="*/ 334667 w 379471"/>
                <a:gd name="connsiteY195" fmla="*/ 118427 h 221490"/>
                <a:gd name="connsiteX196" fmla="*/ 337160 w 379471"/>
                <a:gd name="connsiteY196" fmla="*/ 118761 h 221490"/>
                <a:gd name="connsiteX197" fmla="*/ 338827 w 379471"/>
                <a:gd name="connsiteY197" fmla="*/ 118430 h 221490"/>
                <a:gd name="connsiteX198" fmla="*/ 340910 w 379471"/>
                <a:gd name="connsiteY198" fmla="*/ 119197 h 221490"/>
                <a:gd name="connsiteX199" fmla="*/ 341249 w 379471"/>
                <a:gd name="connsiteY199" fmla="*/ 118864 h 221490"/>
                <a:gd name="connsiteX200" fmla="*/ 341526 w 379471"/>
                <a:gd name="connsiteY200" fmla="*/ 113437 h 221490"/>
                <a:gd name="connsiteX201" fmla="*/ 343275 w 379471"/>
                <a:gd name="connsiteY201" fmla="*/ 114345 h 221490"/>
                <a:gd name="connsiteX202" fmla="*/ 344284 w 379471"/>
                <a:gd name="connsiteY202" fmla="*/ 114329 h 221490"/>
                <a:gd name="connsiteX203" fmla="*/ 345166 w 379471"/>
                <a:gd name="connsiteY203" fmla="*/ 113665 h 221490"/>
                <a:gd name="connsiteX204" fmla="*/ 345624 w 379471"/>
                <a:gd name="connsiteY204" fmla="*/ 112763 h 221490"/>
                <a:gd name="connsiteX205" fmla="*/ 345920 w 379471"/>
                <a:gd name="connsiteY205" fmla="*/ 110967 h 221490"/>
                <a:gd name="connsiteX206" fmla="*/ 345536 w 379471"/>
                <a:gd name="connsiteY206" fmla="*/ 109175 h 221490"/>
                <a:gd name="connsiteX207" fmla="*/ 346315 w 379471"/>
                <a:gd name="connsiteY207" fmla="*/ 108358 h 221490"/>
                <a:gd name="connsiteX208" fmla="*/ 346922 w 379471"/>
                <a:gd name="connsiteY208" fmla="*/ 108173 h 221490"/>
                <a:gd name="connsiteX209" fmla="*/ 347369 w 379471"/>
                <a:gd name="connsiteY209" fmla="*/ 108389 h 221490"/>
                <a:gd name="connsiteX210" fmla="*/ 347637 w 379471"/>
                <a:gd name="connsiteY210" fmla="*/ 108850 h 221490"/>
                <a:gd name="connsiteX211" fmla="*/ 347712 w 379471"/>
                <a:gd name="connsiteY211" fmla="*/ 110477 h 221490"/>
                <a:gd name="connsiteX212" fmla="*/ 348974 w 379471"/>
                <a:gd name="connsiteY212" fmla="*/ 111163 h 221490"/>
                <a:gd name="connsiteX213" fmla="*/ 349742 w 379471"/>
                <a:gd name="connsiteY213" fmla="*/ 111556 h 221490"/>
                <a:gd name="connsiteX214" fmla="*/ 350479 w 379471"/>
                <a:gd name="connsiteY214" fmla="*/ 112932 h 221490"/>
                <a:gd name="connsiteX215" fmla="*/ 351191 w 379471"/>
                <a:gd name="connsiteY215" fmla="*/ 114242 h 221490"/>
                <a:gd name="connsiteX216" fmla="*/ 351647 w 379471"/>
                <a:gd name="connsiteY216" fmla="*/ 117310 h 221490"/>
                <a:gd name="connsiteX217" fmla="*/ 353413 w 379471"/>
                <a:gd name="connsiteY217" fmla="*/ 117520 h 221490"/>
                <a:gd name="connsiteX218" fmla="*/ 355491 w 379471"/>
                <a:gd name="connsiteY218" fmla="*/ 118108 h 221490"/>
                <a:gd name="connsiteX219" fmla="*/ 356884 w 379471"/>
                <a:gd name="connsiteY219" fmla="*/ 117532 h 221490"/>
                <a:gd name="connsiteX220" fmla="*/ 357963 w 379471"/>
                <a:gd name="connsiteY220" fmla="*/ 117871 h 221490"/>
                <a:gd name="connsiteX221" fmla="*/ 358332 w 379471"/>
                <a:gd name="connsiteY221" fmla="*/ 119326 h 221490"/>
                <a:gd name="connsiteX222" fmla="*/ 358326 w 379471"/>
                <a:gd name="connsiteY222" fmla="*/ 120685 h 221490"/>
                <a:gd name="connsiteX223" fmla="*/ 358473 w 379471"/>
                <a:gd name="connsiteY223" fmla="*/ 121762 h 221490"/>
                <a:gd name="connsiteX224" fmla="*/ 359043 w 379471"/>
                <a:gd name="connsiteY224" fmla="*/ 122069 h 221490"/>
                <a:gd name="connsiteX225" fmla="*/ 360852 w 379471"/>
                <a:gd name="connsiteY225" fmla="*/ 121394 h 221490"/>
                <a:gd name="connsiteX226" fmla="*/ 362381 w 379471"/>
                <a:gd name="connsiteY226" fmla="*/ 121301 h 221490"/>
                <a:gd name="connsiteX227" fmla="*/ 363780 w 379471"/>
                <a:gd name="connsiteY227" fmla="*/ 121946 h 221490"/>
                <a:gd name="connsiteX228" fmla="*/ 365519 w 379471"/>
                <a:gd name="connsiteY228" fmla="*/ 122926 h 221490"/>
                <a:gd name="connsiteX229" fmla="*/ 368050 w 379471"/>
                <a:gd name="connsiteY229" fmla="*/ 125500 h 221490"/>
                <a:gd name="connsiteX230" fmla="*/ 368887 w 379471"/>
                <a:gd name="connsiteY230" fmla="*/ 125864 h 221490"/>
                <a:gd name="connsiteX231" fmla="*/ 372705 w 379471"/>
                <a:gd name="connsiteY231" fmla="*/ 126068 h 221490"/>
                <a:gd name="connsiteX232" fmla="*/ 373493 w 379471"/>
                <a:gd name="connsiteY232" fmla="*/ 126589 h 221490"/>
                <a:gd name="connsiteX233" fmla="*/ 374806 w 379471"/>
                <a:gd name="connsiteY233" fmla="*/ 126587 h 221490"/>
                <a:gd name="connsiteX234" fmla="*/ 376223 w 379471"/>
                <a:gd name="connsiteY234" fmla="*/ 126122 h 221490"/>
                <a:gd name="connsiteX235" fmla="*/ 379365 w 379471"/>
                <a:gd name="connsiteY235" fmla="*/ 126952 h 221490"/>
                <a:gd name="connsiteX236" fmla="*/ 379471 w 379471"/>
                <a:gd name="connsiteY236" fmla="*/ 127421 h 221490"/>
                <a:gd name="connsiteX237" fmla="*/ 378939 w 379471"/>
                <a:gd name="connsiteY237" fmla="*/ 128068 h 221490"/>
                <a:gd name="connsiteX238" fmla="*/ 371442 w 379471"/>
                <a:gd name="connsiteY238" fmla="*/ 131627 h 221490"/>
                <a:gd name="connsiteX239" fmla="*/ 370889 w 379471"/>
                <a:gd name="connsiteY239" fmla="*/ 132720 h 221490"/>
                <a:gd name="connsiteX240" fmla="*/ 369358 w 379471"/>
                <a:gd name="connsiteY240" fmla="*/ 134111 h 221490"/>
                <a:gd name="connsiteX241" fmla="*/ 367689 w 379471"/>
                <a:gd name="connsiteY241" fmla="*/ 134902 h 221490"/>
                <a:gd name="connsiteX242" fmla="*/ 366879 w 379471"/>
                <a:gd name="connsiteY242" fmla="*/ 134930 h 221490"/>
                <a:gd name="connsiteX243" fmla="*/ 363221 w 379471"/>
                <a:gd name="connsiteY243" fmla="*/ 133523 h 221490"/>
                <a:gd name="connsiteX244" fmla="*/ 362791 w 379471"/>
                <a:gd name="connsiteY244" fmla="*/ 133862 h 221490"/>
                <a:gd name="connsiteX245" fmla="*/ 362491 w 379471"/>
                <a:gd name="connsiteY245" fmla="*/ 134430 h 221490"/>
                <a:gd name="connsiteX246" fmla="*/ 362506 w 379471"/>
                <a:gd name="connsiteY246" fmla="*/ 135051 h 221490"/>
                <a:gd name="connsiteX247" fmla="*/ 363308 w 379471"/>
                <a:gd name="connsiteY247" fmla="*/ 136535 h 221490"/>
                <a:gd name="connsiteX248" fmla="*/ 362938 w 379471"/>
                <a:gd name="connsiteY248" fmla="*/ 137469 h 221490"/>
                <a:gd name="connsiteX249" fmla="*/ 362241 w 379471"/>
                <a:gd name="connsiteY249" fmla="*/ 138142 h 221490"/>
                <a:gd name="connsiteX250" fmla="*/ 359947 w 379471"/>
                <a:gd name="connsiteY250" fmla="*/ 137552 h 221490"/>
                <a:gd name="connsiteX251" fmla="*/ 359520 w 379471"/>
                <a:gd name="connsiteY251" fmla="*/ 137175 h 221490"/>
                <a:gd name="connsiteX252" fmla="*/ 359479 w 379471"/>
                <a:gd name="connsiteY252" fmla="*/ 136762 h 221490"/>
                <a:gd name="connsiteX253" fmla="*/ 358596 w 379471"/>
                <a:gd name="connsiteY253" fmla="*/ 136761 h 221490"/>
                <a:gd name="connsiteX254" fmla="*/ 357233 w 379471"/>
                <a:gd name="connsiteY254" fmla="*/ 137175 h 221490"/>
                <a:gd name="connsiteX255" fmla="*/ 354610 w 379471"/>
                <a:gd name="connsiteY255" fmla="*/ 139736 h 221490"/>
                <a:gd name="connsiteX256" fmla="*/ 353692 w 379471"/>
                <a:gd name="connsiteY256" fmla="*/ 141076 h 221490"/>
                <a:gd name="connsiteX257" fmla="*/ 353351 w 379471"/>
                <a:gd name="connsiteY257" fmla="*/ 141884 h 221490"/>
                <a:gd name="connsiteX258" fmla="*/ 352180 w 379471"/>
                <a:gd name="connsiteY258" fmla="*/ 142344 h 221490"/>
                <a:gd name="connsiteX259" fmla="*/ 350913 w 379471"/>
                <a:gd name="connsiteY259" fmla="*/ 142518 h 221490"/>
                <a:gd name="connsiteX260" fmla="*/ 349304 w 379471"/>
                <a:gd name="connsiteY260" fmla="*/ 143727 h 221490"/>
                <a:gd name="connsiteX261" fmla="*/ 347531 w 379471"/>
                <a:gd name="connsiteY261" fmla="*/ 144659 h 221490"/>
                <a:gd name="connsiteX262" fmla="*/ 346963 w 379471"/>
                <a:gd name="connsiteY262" fmla="*/ 143973 h 221490"/>
                <a:gd name="connsiteX263" fmla="*/ 346611 w 379471"/>
                <a:gd name="connsiteY263" fmla="*/ 143205 h 221490"/>
                <a:gd name="connsiteX264" fmla="*/ 346147 w 379471"/>
                <a:gd name="connsiteY264" fmla="*/ 142967 h 221490"/>
                <a:gd name="connsiteX265" fmla="*/ 345054 w 379471"/>
                <a:gd name="connsiteY265" fmla="*/ 143147 h 221490"/>
                <a:gd name="connsiteX266" fmla="*/ 343726 w 379471"/>
                <a:gd name="connsiteY266" fmla="*/ 143180 h 221490"/>
                <a:gd name="connsiteX267" fmla="*/ 342333 w 379471"/>
                <a:gd name="connsiteY267" fmla="*/ 142317 h 221490"/>
                <a:gd name="connsiteX268" fmla="*/ 340537 w 379471"/>
                <a:gd name="connsiteY268" fmla="*/ 141450 h 221490"/>
                <a:gd name="connsiteX269" fmla="*/ 338956 w 379471"/>
                <a:gd name="connsiteY269" fmla="*/ 141143 h 221490"/>
                <a:gd name="connsiteX270" fmla="*/ 334309 w 379471"/>
                <a:gd name="connsiteY270" fmla="*/ 141553 h 221490"/>
                <a:gd name="connsiteX271" fmla="*/ 332011 w 379471"/>
                <a:gd name="connsiteY271" fmla="*/ 141981 h 221490"/>
                <a:gd name="connsiteX272" fmla="*/ 331290 w 379471"/>
                <a:gd name="connsiteY272" fmla="*/ 142399 h 221490"/>
                <a:gd name="connsiteX273" fmla="*/ 329994 w 379471"/>
                <a:gd name="connsiteY273" fmla="*/ 142511 h 221490"/>
                <a:gd name="connsiteX274" fmla="*/ 324549 w 379471"/>
                <a:gd name="connsiteY274" fmla="*/ 143384 h 221490"/>
                <a:gd name="connsiteX275" fmla="*/ 323434 w 379471"/>
                <a:gd name="connsiteY275" fmla="*/ 143044 h 221490"/>
                <a:gd name="connsiteX276" fmla="*/ 322618 w 379471"/>
                <a:gd name="connsiteY276" fmla="*/ 141660 h 221490"/>
                <a:gd name="connsiteX277" fmla="*/ 321905 w 379471"/>
                <a:gd name="connsiteY277" fmla="*/ 140160 h 221490"/>
                <a:gd name="connsiteX278" fmla="*/ 320498 w 379471"/>
                <a:gd name="connsiteY278" fmla="*/ 139615 h 221490"/>
                <a:gd name="connsiteX279" fmla="*/ 318913 w 379471"/>
                <a:gd name="connsiteY279" fmla="*/ 139196 h 221490"/>
                <a:gd name="connsiteX280" fmla="*/ 318323 w 379471"/>
                <a:gd name="connsiteY280" fmla="*/ 138601 h 221490"/>
                <a:gd name="connsiteX281" fmla="*/ 318282 w 379471"/>
                <a:gd name="connsiteY281" fmla="*/ 137871 h 221490"/>
                <a:gd name="connsiteX282" fmla="*/ 318446 w 379471"/>
                <a:gd name="connsiteY282" fmla="*/ 137158 h 221490"/>
                <a:gd name="connsiteX283" fmla="*/ 318567 w 379471"/>
                <a:gd name="connsiteY283" fmla="*/ 136785 h 221490"/>
                <a:gd name="connsiteX284" fmla="*/ 322242 w 379471"/>
                <a:gd name="connsiteY284" fmla="*/ 133923 h 221490"/>
                <a:gd name="connsiteX285" fmla="*/ 325549 w 379471"/>
                <a:gd name="connsiteY285" fmla="*/ 131344 h 221490"/>
                <a:gd name="connsiteX286" fmla="*/ 325851 w 379471"/>
                <a:gd name="connsiteY286" fmla="*/ 131137 h 221490"/>
                <a:gd name="connsiteX287" fmla="*/ 326151 w 379471"/>
                <a:gd name="connsiteY287" fmla="*/ 130646 h 221490"/>
                <a:gd name="connsiteX288" fmla="*/ 326714 w 379471"/>
                <a:gd name="connsiteY288" fmla="*/ 129754 h 221490"/>
                <a:gd name="connsiteX289" fmla="*/ 326713 w 379471"/>
                <a:gd name="connsiteY289" fmla="*/ 129287 h 221490"/>
                <a:gd name="connsiteX290" fmla="*/ 324240 w 379471"/>
                <a:gd name="connsiteY290" fmla="*/ 128264 h 221490"/>
                <a:gd name="connsiteX291" fmla="*/ 324143 w 379471"/>
                <a:gd name="connsiteY291" fmla="*/ 127791 h 221490"/>
                <a:gd name="connsiteX292" fmla="*/ 324642 w 379471"/>
                <a:gd name="connsiteY292" fmla="*/ 127305 h 221490"/>
                <a:gd name="connsiteX293" fmla="*/ 324642 w 379471"/>
                <a:gd name="connsiteY293" fmla="*/ 126660 h 221490"/>
                <a:gd name="connsiteX294" fmla="*/ 322893 w 379471"/>
                <a:gd name="connsiteY294" fmla="*/ 124772 h 221490"/>
                <a:gd name="connsiteX295" fmla="*/ 319869 w 379471"/>
                <a:gd name="connsiteY295" fmla="*/ 121828 h 221490"/>
                <a:gd name="connsiteX296" fmla="*/ 318995 w 379471"/>
                <a:gd name="connsiteY296" fmla="*/ 121521 h 221490"/>
                <a:gd name="connsiteX297" fmla="*/ 318347 w 379471"/>
                <a:gd name="connsiteY297" fmla="*/ 121717 h 221490"/>
                <a:gd name="connsiteX298" fmla="*/ 317159 w 379471"/>
                <a:gd name="connsiteY298" fmla="*/ 124568 h 221490"/>
                <a:gd name="connsiteX299" fmla="*/ 316565 w 379471"/>
                <a:gd name="connsiteY299" fmla="*/ 125292 h 221490"/>
                <a:gd name="connsiteX300" fmla="*/ 313121 w 379471"/>
                <a:gd name="connsiteY300" fmla="*/ 127165 h 221490"/>
                <a:gd name="connsiteX301" fmla="*/ 310232 w 379471"/>
                <a:gd name="connsiteY301" fmla="*/ 128451 h 221490"/>
                <a:gd name="connsiteX302" fmla="*/ 305093 w 379471"/>
                <a:gd name="connsiteY302" fmla="*/ 130738 h 221490"/>
                <a:gd name="connsiteX303" fmla="*/ 303758 w 379471"/>
                <a:gd name="connsiteY303" fmla="*/ 131454 h 221490"/>
                <a:gd name="connsiteX304" fmla="*/ 302828 w 379471"/>
                <a:gd name="connsiteY304" fmla="*/ 131323 h 221490"/>
                <a:gd name="connsiteX305" fmla="*/ 301890 w 379471"/>
                <a:gd name="connsiteY305" fmla="*/ 130875 h 221490"/>
                <a:gd name="connsiteX306" fmla="*/ 299012 w 379471"/>
                <a:gd name="connsiteY306" fmla="*/ 128565 h 221490"/>
                <a:gd name="connsiteX307" fmla="*/ 297146 w 379471"/>
                <a:gd name="connsiteY307" fmla="*/ 127775 h 221490"/>
                <a:gd name="connsiteX308" fmla="*/ 295893 w 379471"/>
                <a:gd name="connsiteY308" fmla="*/ 128557 h 221490"/>
                <a:gd name="connsiteX309" fmla="*/ 294835 w 379471"/>
                <a:gd name="connsiteY309" fmla="*/ 129698 h 221490"/>
                <a:gd name="connsiteX310" fmla="*/ 294937 w 379471"/>
                <a:gd name="connsiteY310" fmla="*/ 132037 h 221490"/>
                <a:gd name="connsiteX311" fmla="*/ 293743 w 379471"/>
                <a:gd name="connsiteY311" fmla="*/ 133272 h 221490"/>
                <a:gd name="connsiteX312" fmla="*/ 292555 w 379471"/>
                <a:gd name="connsiteY312" fmla="*/ 133825 h 221490"/>
                <a:gd name="connsiteX313" fmla="*/ 294721 w 379471"/>
                <a:gd name="connsiteY313" fmla="*/ 140085 h 221490"/>
                <a:gd name="connsiteX314" fmla="*/ 294505 w 379471"/>
                <a:gd name="connsiteY314" fmla="*/ 140891 h 221490"/>
                <a:gd name="connsiteX315" fmla="*/ 292849 w 379471"/>
                <a:gd name="connsiteY315" fmla="*/ 141112 h 221490"/>
                <a:gd name="connsiteX316" fmla="*/ 294073 w 379471"/>
                <a:gd name="connsiteY316" fmla="*/ 143464 h 221490"/>
                <a:gd name="connsiteX317" fmla="*/ 293043 w 379471"/>
                <a:gd name="connsiteY317" fmla="*/ 143738 h 221490"/>
                <a:gd name="connsiteX318" fmla="*/ 290435 w 379471"/>
                <a:gd name="connsiteY318" fmla="*/ 143186 h 221490"/>
                <a:gd name="connsiteX319" fmla="*/ 286928 w 379471"/>
                <a:gd name="connsiteY319" fmla="*/ 142824 h 221490"/>
                <a:gd name="connsiteX320" fmla="*/ 280311 w 379471"/>
                <a:gd name="connsiteY320" fmla="*/ 143867 h 221490"/>
                <a:gd name="connsiteX321" fmla="*/ 279828 w 379471"/>
                <a:gd name="connsiteY321" fmla="*/ 144274 h 221490"/>
                <a:gd name="connsiteX322" fmla="*/ 279646 w 379471"/>
                <a:gd name="connsiteY322" fmla="*/ 144792 h 221490"/>
                <a:gd name="connsiteX323" fmla="*/ 280029 w 379471"/>
                <a:gd name="connsiteY323" fmla="*/ 145263 h 221490"/>
                <a:gd name="connsiteX324" fmla="*/ 283231 w 379471"/>
                <a:gd name="connsiteY324" fmla="*/ 145318 h 221490"/>
                <a:gd name="connsiteX325" fmla="*/ 286377 w 379471"/>
                <a:gd name="connsiteY325" fmla="*/ 145077 h 221490"/>
                <a:gd name="connsiteX326" fmla="*/ 287243 w 379471"/>
                <a:gd name="connsiteY326" fmla="*/ 145514 h 221490"/>
                <a:gd name="connsiteX327" fmla="*/ 287377 w 379471"/>
                <a:gd name="connsiteY327" fmla="*/ 146288 h 221490"/>
                <a:gd name="connsiteX328" fmla="*/ 287014 w 379471"/>
                <a:gd name="connsiteY328" fmla="*/ 146773 h 221490"/>
                <a:gd name="connsiteX329" fmla="*/ 285971 w 379471"/>
                <a:gd name="connsiteY329" fmla="*/ 146855 h 221490"/>
                <a:gd name="connsiteX330" fmla="*/ 283676 w 379471"/>
                <a:gd name="connsiteY330" fmla="*/ 147321 h 221490"/>
                <a:gd name="connsiteX331" fmla="*/ 283412 w 379471"/>
                <a:gd name="connsiteY331" fmla="*/ 147812 h 221490"/>
                <a:gd name="connsiteX332" fmla="*/ 283339 w 379471"/>
                <a:gd name="connsiteY332" fmla="*/ 148286 h 221490"/>
                <a:gd name="connsiteX333" fmla="*/ 284112 w 379471"/>
                <a:gd name="connsiteY333" fmla="*/ 149656 h 221490"/>
                <a:gd name="connsiteX334" fmla="*/ 284984 w 379471"/>
                <a:gd name="connsiteY334" fmla="*/ 150528 h 221490"/>
                <a:gd name="connsiteX335" fmla="*/ 285093 w 379471"/>
                <a:gd name="connsiteY335" fmla="*/ 151045 h 221490"/>
                <a:gd name="connsiteX336" fmla="*/ 284727 w 379471"/>
                <a:gd name="connsiteY336" fmla="*/ 151475 h 221490"/>
                <a:gd name="connsiteX337" fmla="*/ 284289 w 379471"/>
                <a:gd name="connsiteY337" fmla="*/ 151649 h 221490"/>
                <a:gd name="connsiteX338" fmla="*/ 283520 w 379471"/>
                <a:gd name="connsiteY338" fmla="*/ 151002 h 221490"/>
                <a:gd name="connsiteX339" fmla="*/ 283082 w 379471"/>
                <a:gd name="connsiteY339" fmla="*/ 151131 h 221490"/>
                <a:gd name="connsiteX340" fmla="*/ 282864 w 379471"/>
                <a:gd name="connsiteY340" fmla="*/ 151713 h 221490"/>
                <a:gd name="connsiteX341" fmla="*/ 282648 w 379471"/>
                <a:gd name="connsiteY341" fmla="*/ 152397 h 221490"/>
                <a:gd name="connsiteX342" fmla="*/ 282140 w 379471"/>
                <a:gd name="connsiteY342" fmla="*/ 152901 h 221490"/>
                <a:gd name="connsiteX343" fmla="*/ 281072 w 379471"/>
                <a:gd name="connsiteY343" fmla="*/ 152639 h 221490"/>
                <a:gd name="connsiteX344" fmla="*/ 280011 w 379471"/>
                <a:gd name="connsiteY344" fmla="*/ 152832 h 221490"/>
                <a:gd name="connsiteX345" fmla="*/ 279379 w 379471"/>
                <a:gd name="connsiteY345" fmla="*/ 155320 h 221490"/>
                <a:gd name="connsiteX346" fmla="*/ 278843 w 379471"/>
                <a:gd name="connsiteY346" fmla="*/ 158137 h 221490"/>
                <a:gd name="connsiteX347" fmla="*/ 277092 w 379471"/>
                <a:gd name="connsiteY347" fmla="*/ 160012 h 221490"/>
                <a:gd name="connsiteX348" fmla="*/ 276127 w 379471"/>
                <a:gd name="connsiteY348" fmla="*/ 160689 h 221490"/>
                <a:gd name="connsiteX349" fmla="*/ 274706 w 379471"/>
                <a:gd name="connsiteY349" fmla="*/ 160893 h 221490"/>
                <a:gd name="connsiteX350" fmla="*/ 272583 w 379471"/>
                <a:gd name="connsiteY350" fmla="*/ 160664 h 221490"/>
                <a:gd name="connsiteX351" fmla="*/ 271298 w 379471"/>
                <a:gd name="connsiteY351" fmla="*/ 160389 h 221490"/>
                <a:gd name="connsiteX352" fmla="*/ 267589 w 379471"/>
                <a:gd name="connsiteY352" fmla="*/ 159977 h 221490"/>
                <a:gd name="connsiteX353" fmla="*/ 263861 w 379471"/>
                <a:gd name="connsiteY353" fmla="*/ 159207 h 221490"/>
                <a:gd name="connsiteX354" fmla="*/ 259670 w 379471"/>
                <a:gd name="connsiteY354" fmla="*/ 158490 h 221490"/>
                <a:gd name="connsiteX355" fmla="*/ 255766 w 379471"/>
                <a:gd name="connsiteY355" fmla="*/ 160146 h 221490"/>
                <a:gd name="connsiteX356" fmla="*/ 254643 w 379471"/>
                <a:gd name="connsiteY356" fmla="*/ 161156 h 221490"/>
                <a:gd name="connsiteX357" fmla="*/ 253932 w 379471"/>
                <a:gd name="connsiteY357" fmla="*/ 162099 h 221490"/>
                <a:gd name="connsiteX358" fmla="*/ 253194 w 379471"/>
                <a:gd name="connsiteY358" fmla="*/ 162536 h 221490"/>
                <a:gd name="connsiteX359" fmla="*/ 251501 w 379471"/>
                <a:gd name="connsiteY359" fmla="*/ 168331 h 221490"/>
                <a:gd name="connsiteX360" fmla="*/ 251678 w 379471"/>
                <a:gd name="connsiteY360" fmla="*/ 168989 h 221490"/>
                <a:gd name="connsiteX361" fmla="*/ 252624 w 379471"/>
                <a:gd name="connsiteY361" fmla="*/ 169507 h 221490"/>
                <a:gd name="connsiteX362" fmla="*/ 257402 w 379471"/>
                <a:gd name="connsiteY362" fmla="*/ 170708 h 221490"/>
                <a:gd name="connsiteX363" fmla="*/ 258107 w 379471"/>
                <a:gd name="connsiteY363" fmla="*/ 171206 h 221490"/>
                <a:gd name="connsiteX364" fmla="*/ 258526 w 379471"/>
                <a:gd name="connsiteY364" fmla="*/ 171772 h 221490"/>
                <a:gd name="connsiteX365" fmla="*/ 258731 w 379471"/>
                <a:gd name="connsiteY365" fmla="*/ 174376 h 221490"/>
                <a:gd name="connsiteX366" fmla="*/ 259126 w 379471"/>
                <a:gd name="connsiteY366" fmla="*/ 174735 h 221490"/>
                <a:gd name="connsiteX367" fmla="*/ 260765 w 379471"/>
                <a:gd name="connsiteY367" fmla="*/ 175055 h 221490"/>
                <a:gd name="connsiteX368" fmla="*/ 263134 w 379471"/>
                <a:gd name="connsiteY368" fmla="*/ 175035 h 221490"/>
                <a:gd name="connsiteX369" fmla="*/ 264988 w 379471"/>
                <a:gd name="connsiteY369" fmla="*/ 174779 h 221490"/>
                <a:gd name="connsiteX370" fmla="*/ 266863 w 379471"/>
                <a:gd name="connsiteY370" fmla="*/ 175020 h 221490"/>
                <a:gd name="connsiteX371" fmla="*/ 268172 w 379471"/>
                <a:gd name="connsiteY371" fmla="*/ 175578 h 221490"/>
                <a:gd name="connsiteX372" fmla="*/ 268813 w 379471"/>
                <a:gd name="connsiteY372" fmla="*/ 176466 h 221490"/>
                <a:gd name="connsiteX373" fmla="*/ 269167 w 379471"/>
                <a:gd name="connsiteY373" fmla="*/ 177422 h 221490"/>
                <a:gd name="connsiteX374" fmla="*/ 266941 w 379471"/>
                <a:gd name="connsiteY374" fmla="*/ 183133 h 221490"/>
                <a:gd name="connsiteX375" fmla="*/ 267120 w 379471"/>
                <a:gd name="connsiteY375" fmla="*/ 185204 h 221490"/>
                <a:gd name="connsiteX376" fmla="*/ 267811 w 379471"/>
                <a:gd name="connsiteY376" fmla="*/ 188175 h 221490"/>
                <a:gd name="connsiteX377" fmla="*/ 269070 w 379471"/>
                <a:gd name="connsiteY377" fmla="*/ 190502 h 221490"/>
                <a:gd name="connsiteX378" fmla="*/ 271441 w 379471"/>
                <a:gd name="connsiteY378" fmla="*/ 192779 h 221490"/>
                <a:gd name="connsiteX379" fmla="*/ 273248 w 379471"/>
                <a:gd name="connsiteY379" fmla="*/ 194237 h 221490"/>
                <a:gd name="connsiteX380" fmla="*/ 273628 w 379471"/>
                <a:gd name="connsiteY380" fmla="*/ 194924 h 221490"/>
                <a:gd name="connsiteX381" fmla="*/ 273721 w 379471"/>
                <a:gd name="connsiteY381" fmla="*/ 195990 h 221490"/>
                <a:gd name="connsiteX382" fmla="*/ 273427 w 379471"/>
                <a:gd name="connsiteY382" fmla="*/ 197343 h 221490"/>
                <a:gd name="connsiteX383" fmla="*/ 272384 w 379471"/>
                <a:gd name="connsiteY383" fmla="*/ 199495 h 221490"/>
                <a:gd name="connsiteX384" fmla="*/ 271112 w 379471"/>
                <a:gd name="connsiteY384" fmla="*/ 201373 h 221490"/>
                <a:gd name="connsiteX385" fmla="*/ 269731 w 379471"/>
                <a:gd name="connsiteY385" fmla="*/ 202174 h 221490"/>
                <a:gd name="connsiteX386" fmla="*/ 267820 w 379471"/>
                <a:gd name="connsiteY386" fmla="*/ 204555 h 221490"/>
                <a:gd name="connsiteX387" fmla="*/ 266124 w 379471"/>
                <a:gd name="connsiteY387" fmla="*/ 207485 h 221490"/>
                <a:gd name="connsiteX388" fmla="*/ 262866 w 379471"/>
                <a:gd name="connsiteY388" fmla="*/ 211326 h 221490"/>
                <a:gd name="connsiteX389" fmla="*/ 261777 w 379471"/>
                <a:gd name="connsiteY389" fmla="*/ 213463 h 221490"/>
                <a:gd name="connsiteX390" fmla="*/ 261417 w 379471"/>
                <a:gd name="connsiteY390" fmla="*/ 219636 h 221490"/>
                <a:gd name="connsiteX391" fmla="*/ 260553 w 379471"/>
                <a:gd name="connsiteY391" fmla="*/ 221490 h 221490"/>
                <a:gd name="connsiteX392" fmla="*/ 260419 w 379471"/>
                <a:gd name="connsiteY392" fmla="*/ 220787 h 221490"/>
                <a:gd name="connsiteX393" fmla="*/ 259249 w 379471"/>
                <a:gd name="connsiteY393" fmla="*/ 220088 h 221490"/>
                <a:gd name="connsiteX394" fmla="*/ 257202 w 379471"/>
                <a:gd name="connsiteY394" fmla="*/ 220208 h 221490"/>
                <a:gd name="connsiteX395" fmla="*/ 255854 w 379471"/>
                <a:gd name="connsiteY395" fmla="*/ 219874 h 221490"/>
                <a:gd name="connsiteX396" fmla="*/ 255209 w 379471"/>
                <a:gd name="connsiteY396" fmla="*/ 219084 h 221490"/>
                <a:gd name="connsiteX397" fmla="*/ 253537 w 379471"/>
                <a:gd name="connsiteY397" fmla="*/ 219304 h 221490"/>
                <a:gd name="connsiteX398" fmla="*/ 250840 w 379471"/>
                <a:gd name="connsiteY398" fmla="*/ 220538 h 221490"/>
                <a:gd name="connsiteX399" fmla="*/ 248094 w 379471"/>
                <a:gd name="connsiteY399" fmla="*/ 219885 h 221490"/>
                <a:gd name="connsiteX400" fmla="*/ 245293 w 379471"/>
                <a:gd name="connsiteY400" fmla="*/ 217346 h 221490"/>
                <a:gd name="connsiteX401" fmla="*/ 239961 w 379471"/>
                <a:gd name="connsiteY401" fmla="*/ 216416 h 221490"/>
                <a:gd name="connsiteX402" fmla="*/ 233207 w 379471"/>
                <a:gd name="connsiteY402" fmla="*/ 216998 h 221490"/>
                <a:gd name="connsiteX403" fmla="*/ 232950 w 379471"/>
                <a:gd name="connsiteY403" fmla="*/ 214186 h 221490"/>
                <a:gd name="connsiteX404" fmla="*/ 232965 w 379471"/>
                <a:gd name="connsiteY404" fmla="*/ 210598 h 221490"/>
                <a:gd name="connsiteX405" fmla="*/ 233280 w 379471"/>
                <a:gd name="connsiteY405" fmla="*/ 205827 h 221490"/>
                <a:gd name="connsiteX406" fmla="*/ 235574 w 379471"/>
                <a:gd name="connsiteY406" fmla="*/ 202081 h 221490"/>
                <a:gd name="connsiteX407" fmla="*/ 235508 w 379471"/>
                <a:gd name="connsiteY407" fmla="*/ 201368 h 221490"/>
                <a:gd name="connsiteX408" fmla="*/ 235064 w 379471"/>
                <a:gd name="connsiteY408" fmla="*/ 200680 h 221490"/>
                <a:gd name="connsiteX409" fmla="*/ 234362 w 379471"/>
                <a:gd name="connsiteY409" fmla="*/ 200062 h 221490"/>
                <a:gd name="connsiteX410" fmla="*/ 230277 w 379471"/>
                <a:gd name="connsiteY410" fmla="*/ 199033 h 221490"/>
                <a:gd name="connsiteX411" fmla="*/ 229074 w 379471"/>
                <a:gd name="connsiteY411" fmla="*/ 198488 h 221490"/>
                <a:gd name="connsiteX412" fmla="*/ 227489 w 379471"/>
                <a:gd name="connsiteY412" fmla="*/ 197310 h 221490"/>
                <a:gd name="connsiteX413" fmla="*/ 225487 w 379471"/>
                <a:gd name="connsiteY413" fmla="*/ 196062 h 221490"/>
                <a:gd name="connsiteX414" fmla="*/ 223755 w 379471"/>
                <a:gd name="connsiteY414" fmla="*/ 195204 h 221490"/>
                <a:gd name="connsiteX415" fmla="*/ 221021 w 379471"/>
                <a:gd name="connsiteY415" fmla="*/ 194071 h 221490"/>
                <a:gd name="connsiteX416" fmla="*/ 218499 w 379471"/>
                <a:gd name="connsiteY416" fmla="*/ 193441 h 221490"/>
                <a:gd name="connsiteX417" fmla="*/ 217020 w 379471"/>
                <a:gd name="connsiteY417" fmla="*/ 193922 h 221490"/>
                <a:gd name="connsiteX418" fmla="*/ 215655 w 379471"/>
                <a:gd name="connsiteY418" fmla="*/ 194530 h 221490"/>
                <a:gd name="connsiteX419" fmla="*/ 214381 w 379471"/>
                <a:gd name="connsiteY419" fmla="*/ 194547 h 221490"/>
                <a:gd name="connsiteX420" fmla="*/ 213099 w 379471"/>
                <a:gd name="connsiteY420" fmla="*/ 194216 h 221490"/>
                <a:gd name="connsiteX421" fmla="*/ 208383 w 379471"/>
                <a:gd name="connsiteY421" fmla="*/ 191383 h 221490"/>
                <a:gd name="connsiteX422" fmla="*/ 201242 w 379471"/>
                <a:gd name="connsiteY422" fmla="*/ 186478 h 221490"/>
                <a:gd name="connsiteX423" fmla="*/ 195581 w 379471"/>
                <a:gd name="connsiteY423" fmla="*/ 183051 h 221490"/>
                <a:gd name="connsiteX424" fmla="*/ 192027 w 379471"/>
                <a:gd name="connsiteY424" fmla="*/ 181412 h 221490"/>
                <a:gd name="connsiteX425" fmla="*/ 191185 w 379471"/>
                <a:gd name="connsiteY425" fmla="*/ 180886 h 221490"/>
                <a:gd name="connsiteX426" fmla="*/ 189190 w 379471"/>
                <a:gd name="connsiteY426" fmla="*/ 179343 h 221490"/>
                <a:gd name="connsiteX427" fmla="*/ 184288 w 379471"/>
                <a:gd name="connsiteY427" fmla="*/ 175183 h 221490"/>
                <a:gd name="connsiteX428" fmla="*/ 181034 w 379471"/>
                <a:gd name="connsiteY428" fmla="*/ 175795 h 221490"/>
                <a:gd name="connsiteX429" fmla="*/ 176384 w 379471"/>
                <a:gd name="connsiteY429" fmla="*/ 173087 h 221490"/>
                <a:gd name="connsiteX430" fmla="*/ 172208 w 379471"/>
                <a:gd name="connsiteY430" fmla="*/ 170443 h 221490"/>
                <a:gd name="connsiteX431" fmla="*/ 171260 w 379471"/>
                <a:gd name="connsiteY431" fmla="*/ 169728 h 221490"/>
                <a:gd name="connsiteX432" fmla="*/ 166512 w 379471"/>
                <a:gd name="connsiteY432" fmla="*/ 164832 h 221490"/>
                <a:gd name="connsiteX433" fmla="*/ 161776 w 379471"/>
                <a:gd name="connsiteY433" fmla="*/ 161655 h 221490"/>
                <a:gd name="connsiteX434" fmla="*/ 156607 w 379471"/>
                <a:gd name="connsiteY434" fmla="*/ 158184 h 221490"/>
                <a:gd name="connsiteX435" fmla="*/ 153262 w 379471"/>
                <a:gd name="connsiteY435" fmla="*/ 156009 h 221490"/>
                <a:gd name="connsiteX436" fmla="*/ 147598 w 379471"/>
                <a:gd name="connsiteY436" fmla="*/ 152321 h 221490"/>
                <a:gd name="connsiteX437" fmla="*/ 144829 w 379471"/>
                <a:gd name="connsiteY437" fmla="*/ 150091 h 221490"/>
                <a:gd name="connsiteX438" fmla="*/ 143895 w 379471"/>
                <a:gd name="connsiteY438" fmla="*/ 149269 h 221490"/>
                <a:gd name="connsiteX439" fmla="*/ 142975 w 379471"/>
                <a:gd name="connsiteY439" fmla="*/ 147689 h 221490"/>
                <a:gd name="connsiteX440" fmla="*/ 141502 w 379471"/>
                <a:gd name="connsiteY440" fmla="*/ 139962 h 221490"/>
                <a:gd name="connsiteX441" fmla="*/ 139800 w 379471"/>
                <a:gd name="connsiteY441" fmla="*/ 136420 h 221490"/>
                <a:gd name="connsiteX442" fmla="*/ 137378 w 379471"/>
                <a:gd name="connsiteY442" fmla="*/ 134489 h 221490"/>
                <a:gd name="connsiteX443" fmla="*/ 135311 w 379471"/>
                <a:gd name="connsiteY443" fmla="*/ 130764 h 221490"/>
                <a:gd name="connsiteX444" fmla="*/ 133599 w 379471"/>
                <a:gd name="connsiteY444" fmla="*/ 125237 h 221490"/>
                <a:gd name="connsiteX445" fmla="*/ 132182 w 379471"/>
                <a:gd name="connsiteY445" fmla="*/ 121639 h 221490"/>
                <a:gd name="connsiteX446" fmla="*/ 131061 w 379471"/>
                <a:gd name="connsiteY446" fmla="*/ 119978 h 221490"/>
                <a:gd name="connsiteX447" fmla="*/ 128785 w 379471"/>
                <a:gd name="connsiteY447" fmla="*/ 118142 h 221490"/>
                <a:gd name="connsiteX448" fmla="*/ 125350 w 379471"/>
                <a:gd name="connsiteY448" fmla="*/ 116128 h 221490"/>
                <a:gd name="connsiteX449" fmla="*/ 122087 w 379471"/>
                <a:gd name="connsiteY449" fmla="*/ 115173 h 221490"/>
                <a:gd name="connsiteX450" fmla="*/ 120908 w 379471"/>
                <a:gd name="connsiteY450" fmla="*/ 115212 h 221490"/>
                <a:gd name="connsiteX451" fmla="*/ 120327 w 379471"/>
                <a:gd name="connsiteY451" fmla="*/ 115461 h 221490"/>
                <a:gd name="connsiteX452" fmla="*/ 119666 w 379471"/>
                <a:gd name="connsiteY452" fmla="*/ 115804 h 221490"/>
                <a:gd name="connsiteX453" fmla="*/ 118371 w 379471"/>
                <a:gd name="connsiteY453" fmla="*/ 117307 h 221490"/>
                <a:gd name="connsiteX454" fmla="*/ 116457 w 379471"/>
                <a:gd name="connsiteY454" fmla="*/ 117463 h 221490"/>
                <a:gd name="connsiteX455" fmla="*/ 115062 w 379471"/>
                <a:gd name="connsiteY455" fmla="*/ 117427 h 221490"/>
                <a:gd name="connsiteX456" fmla="*/ 113750 w 379471"/>
                <a:gd name="connsiteY456" fmla="*/ 116891 h 221490"/>
                <a:gd name="connsiteX457" fmla="*/ 109621 w 379471"/>
                <a:gd name="connsiteY457" fmla="*/ 116414 h 221490"/>
                <a:gd name="connsiteX458" fmla="*/ 108161 w 379471"/>
                <a:gd name="connsiteY458" fmla="*/ 115895 h 221490"/>
                <a:gd name="connsiteX459" fmla="*/ 105678 w 379471"/>
                <a:gd name="connsiteY459" fmla="*/ 115972 h 221490"/>
                <a:gd name="connsiteX460" fmla="*/ 100342 w 379471"/>
                <a:gd name="connsiteY460" fmla="*/ 116753 h 221490"/>
                <a:gd name="connsiteX461" fmla="*/ 99046 w 379471"/>
                <a:gd name="connsiteY461" fmla="*/ 116608 h 221490"/>
                <a:gd name="connsiteX462" fmla="*/ 93408 w 379471"/>
                <a:gd name="connsiteY462" fmla="*/ 113250 h 221490"/>
                <a:gd name="connsiteX463" fmla="*/ 90968 w 379471"/>
                <a:gd name="connsiteY463" fmla="*/ 111918 h 221490"/>
                <a:gd name="connsiteX464" fmla="*/ 90475 w 379471"/>
                <a:gd name="connsiteY464" fmla="*/ 111181 h 221490"/>
                <a:gd name="connsiteX465" fmla="*/ 90506 w 379471"/>
                <a:gd name="connsiteY465" fmla="*/ 109890 h 221490"/>
                <a:gd name="connsiteX466" fmla="*/ 91331 w 379471"/>
                <a:gd name="connsiteY466" fmla="*/ 108066 h 221490"/>
                <a:gd name="connsiteX467" fmla="*/ 92037 w 379471"/>
                <a:gd name="connsiteY467" fmla="*/ 106773 h 221490"/>
                <a:gd name="connsiteX468" fmla="*/ 91728 w 379471"/>
                <a:gd name="connsiteY468" fmla="*/ 105428 h 221490"/>
                <a:gd name="connsiteX469" fmla="*/ 90657 w 379471"/>
                <a:gd name="connsiteY469" fmla="*/ 103957 h 221490"/>
                <a:gd name="connsiteX470" fmla="*/ 90657 w 379471"/>
                <a:gd name="connsiteY470" fmla="*/ 102391 h 221490"/>
                <a:gd name="connsiteX471" fmla="*/ 91387 w 379471"/>
                <a:gd name="connsiteY471" fmla="*/ 101517 h 221490"/>
                <a:gd name="connsiteX472" fmla="*/ 92886 w 379471"/>
                <a:gd name="connsiteY472" fmla="*/ 101793 h 221490"/>
                <a:gd name="connsiteX473" fmla="*/ 93425 w 379471"/>
                <a:gd name="connsiteY473" fmla="*/ 101240 h 221490"/>
                <a:gd name="connsiteX474" fmla="*/ 93233 w 379471"/>
                <a:gd name="connsiteY474" fmla="*/ 100411 h 221490"/>
                <a:gd name="connsiteX475" fmla="*/ 92426 w 379471"/>
                <a:gd name="connsiteY475" fmla="*/ 99811 h 221490"/>
                <a:gd name="connsiteX476" fmla="*/ 91350 w 379471"/>
                <a:gd name="connsiteY476" fmla="*/ 98475 h 221490"/>
                <a:gd name="connsiteX477" fmla="*/ 88158 w 379471"/>
                <a:gd name="connsiteY477" fmla="*/ 97229 h 221490"/>
                <a:gd name="connsiteX478" fmla="*/ 87698 w 379471"/>
                <a:gd name="connsiteY478" fmla="*/ 96721 h 221490"/>
                <a:gd name="connsiteX479" fmla="*/ 87865 w 379471"/>
                <a:gd name="connsiteY479" fmla="*/ 96140 h 221490"/>
                <a:gd name="connsiteX480" fmla="*/ 88414 w 379471"/>
                <a:gd name="connsiteY480" fmla="*/ 95519 h 221490"/>
                <a:gd name="connsiteX481" fmla="*/ 88526 w 379471"/>
                <a:gd name="connsiteY481" fmla="*/ 94211 h 221490"/>
                <a:gd name="connsiteX482" fmla="*/ 88580 w 379471"/>
                <a:gd name="connsiteY482" fmla="*/ 92519 h 221490"/>
                <a:gd name="connsiteX483" fmla="*/ 89003 w 379471"/>
                <a:gd name="connsiteY483" fmla="*/ 91641 h 221490"/>
                <a:gd name="connsiteX484" fmla="*/ 89120 w 379471"/>
                <a:gd name="connsiteY484" fmla="*/ 90948 h 221490"/>
                <a:gd name="connsiteX485" fmla="*/ 88657 w 379471"/>
                <a:gd name="connsiteY485" fmla="*/ 90392 h 221490"/>
                <a:gd name="connsiteX486" fmla="*/ 87582 w 379471"/>
                <a:gd name="connsiteY486" fmla="*/ 89745 h 221490"/>
                <a:gd name="connsiteX487" fmla="*/ 85852 w 379471"/>
                <a:gd name="connsiteY487" fmla="*/ 88171 h 221490"/>
                <a:gd name="connsiteX488" fmla="*/ 83736 w 379471"/>
                <a:gd name="connsiteY488" fmla="*/ 88001 h 221490"/>
                <a:gd name="connsiteX489" fmla="*/ 76848 w 379471"/>
                <a:gd name="connsiteY489" fmla="*/ 88056 h 221490"/>
                <a:gd name="connsiteX490" fmla="*/ 74708 w 379471"/>
                <a:gd name="connsiteY490" fmla="*/ 87423 h 221490"/>
                <a:gd name="connsiteX491" fmla="*/ 72989 w 379471"/>
                <a:gd name="connsiteY491" fmla="*/ 86547 h 221490"/>
                <a:gd name="connsiteX492" fmla="*/ 71277 w 379471"/>
                <a:gd name="connsiteY492" fmla="*/ 83202 h 221490"/>
                <a:gd name="connsiteX493" fmla="*/ 70402 w 379471"/>
                <a:gd name="connsiteY493" fmla="*/ 82409 h 221490"/>
                <a:gd name="connsiteX494" fmla="*/ 69596 w 379471"/>
                <a:gd name="connsiteY494" fmla="*/ 82079 h 221490"/>
                <a:gd name="connsiteX495" fmla="*/ 67666 w 379471"/>
                <a:gd name="connsiteY495" fmla="*/ 81963 h 221490"/>
                <a:gd name="connsiteX496" fmla="*/ 65345 w 379471"/>
                <a:gd name="connsiteY496" fmla="*/ 81639 h 221490"/>
                <a:gd name="connsiteX497" fmla="*/ 64153 w 379471"/>
                <a:gd name="connsiteY497" fmla="*/ 81073 h 221490"/>
                <a:gd name="connsiteX498" fmla="*/ 60903 w 379471"/>
                <a:gd name="connsiteY498" fmla="*/ 78011 h 221490"/>
                <a:gd name="connsiteX499" fmla="*/ 57787 w 379471"/>
                <a:gd name="connsiteY499" fmla="*/ 75276 h 221490"/>
                <a:gd name="connsiteX500" fmla="*/ 56532 w 379471"/>
                <a:gd name="connsiteY500" fmla="*/ 77857 h 221490"/>
                <a:gd name="connsiteX501" fmla="*/ 55312 w 379471"/>
                <a:gd name="connsiteY501" fmla="*/ 78367 h 221490"/>
                <a:gd name="connsiteX502" fmla="*/ 52570 w 379471"/>
                <a:gd name="connsiteY502" fmla="*/ 78129 h 221490"/>
                <a:gd name="connsiteX503" fmla="*/ 50503 w 379471"/>
                <a:gd name="connsiteY503" fmla="*/ 77692 h 221490"/>
                <a:gd name="connsiteX504" fmla="*/ 49326 w 379471"/>
                <a:gd name="connsiteY504" fmla="*/ 78274 h 221490"/>
                <a:gd name="connsiteX505" fmla="*/ 48113 w 379471"/>
                <a:gd name="connsiteY505" fmla="*/ 79296 h 221490"/>
                <a:gd name="connsiteX506" fmla="*/ 48344 w 379471"/>
                <a:gd name="connsiteY506" fmla="*/ 79966 h 221490"/>
                <a:gd name="connsiteX507" fmla="*/ 49274 w 379471"/>
                <a:gd name="connsiteY507" fmla="*/ 80676 h 221490"/>
                <a:gd name="connsiteX508" fmla="*/ 51144 w 379471"/>
                <a:gd name="connsiteY508" fmla="*/ 81985 h 221490"/>
                <a:gd name="connsiteX509" fmla="*/ 54008 w 379471"/>
                <a:gd name="connsiteY509" fmla="*/ 85201 h 221490"/>
                <a:gd name="connsiteX510" fmla="*/ 55308 w 379471"/>
                <a:gd name="connsiteY510" fmla="*/ 86974 h 221490"/>
                <a:gd name="connsiteX511" fmla="*/ 55504 w 379471"/>
                <a:gd name="connsiteY511" fmla="*/ 87594 h 221490"/>
                <a:gd name="connsiteX512" fmla="*/ 55252 w 379471"/>
                <a:gd name="connsiteY512" fmla="*/ 88060 h 221490"/>
                <a:gd name="connsiteX513" fmla="*/ 54867 w 379471"/>
                <a:gd name="connsiteY513" fmla="*/ 88261 h 221490"/>
                <a:gd name="connsiteX514" fmla="*/ 54302 w 379471"/>
                <a:gd name="connsiteY514" fmla="*/ 88254 h 221490"/>
                <a:gd name="connsiteX515" fmla="*/ 53542 w 379471"/>
                <a:gd name="connsiteY515" fmla="*/ 88243 h 221490"/>
                <a:gd name="connsiteX516" fmla="*/ 53101 w 379471"/>
                <a:gd name="connsiteY516" fmla="*/ 87711 h 221490"/>
                <a:gd name="connsiteX517" fmla="*/ 52954 w 379471"/>
                <a:gd name="connsiteY517" fmla="*/ 86797 h 221490"/>
                <a:gd name="connsiteX518" fmla="*/ 51998 w 379471"/>
                <a:gd name="connsiteY518" fmla="*/ 85408 h 221490"/>
                <a:gd name="connsiteX519" fmla="*/ 51017 w 379471"/>
                <a:gd name="connsiteY519" fmla="*/ 84610 h 221490"/>
                <a:gd name="connsiteX520" fmla="*/ 49938 w 379471"/>
                <a:gd name="connsiteY520" fmla="*/ 84108 h 221490"/>
                <a:gd name="connsiteX521" fmla="*/ 48424 w 379471"/>
                <a:gd name="connsiteY521" fmla="*/ 83738 h 221490"/>
                <a:gd name="connsiteX522" fmla="*/ 46430 w 379471"/>
                <a:gd name="connsiteY522" fmla="*/ 83073 h 221490"/>
                <a:gd name="connsiteX523" fmla="*/ 45401 w 379471"/>
                <a:gd name="connsiteY523" fmla="*/ 83043 h 221490"/>
                <a:gd name="connsiteX524" fmla="*/ 44396 w 379471"/>
                <a:gd name="connsiteY524" fmla="*/ 83812 h 221490"/>
                <a:gd name="connsiteX525" fmla="*/ 43561 w 379471"/>
                <a:gd name="connsiteY525" fmla="*/ 84846 h 221490"/>
                <a:gd name="connsiteX526" fmla="*/ 43069 w 379471"/>
                <a:gd name="connsiteY526" fmla="*/ 87106 h 221490"/>
                <a:gd name="connsiteX527" fmla="*/ 41576 w 379471"/>
                <a:gd name="connsiteY527" fmla="*/ 89878 h 221490"/>
                <a:gd name="connsiteX528" fmla="*/ 40654 w 379471"/>
                <a:gd name="connsiteY528" fmla="*/ 90974 h 221490"/>
                <a:gd name="connsiteX529" fmla="*/ 37821 w 379471"/>
                <a:gd name="connsiteY529" fmla="*/ 91640 h 221490"/>
                <a:gd name="connsiteX530" fmla="*/ 31090 w 379471"/>
                <a:gd name="connsiteY530" fmla="*/ 91866 h 221490"/>
                <a:gd name="connsiteX531" fmla="*/ 29076 w 379471"/>
                <a:gd name="connsiteY531" fmla="*/ 92730 h 221490"/>
                <a:gd name="connsiteX532" fmla="*/ 27709 w 379471"/>
                <a:gd name="connsiteY532" fmla="*/ 93775 h 221490"/>
                <a:gd name="connsiteX533" fmla="*/ 25161 w 379471"/>
                <a:gd name="connsiteY533" fmla="*/ 97156 h 221490"/>
                <a:gd name="connsiteX534" fmla="*/ 23394 w 379471"/>
                <a:gd name="connsiteY534" fmla="*/ 98278 h 221490"/>
                <a:gd name="connsiteX535" fmla="*/ 21855 w 379471"/>
                <a:gd name="connsiteY535" fmla="*/ 99824 h 221490"/>
                <a:gd name="connsiteX536" fmla="*/ 22314 w 379471"/>
                <a:gd name="connsiteY536" fmla="*/ 104783 h 221490"/>
                <a:gd name="connsiteX537" fmla="*/ 23051 w 379471"/>
                <a:gd name="connsiteY537" fmla="*/ 110567 h 221490"/>
                <a:gd name="connsiteX538" fmla="*/ 24345 w 379471"/>
                <a:gd name="connsiteY538" fmla="*/ 112167 h 221490"/>
                <a:gd name="connsiteX539" fmla="*/ 25167 w 379471"/>
                <a:gd name="connsiteY539" fmla="*/ 112648 h 221490"/>
                <a:gd name="connsiteX540" fmla="*/ 25277 w 379471"/>
                <a:gd name="connsiteY540" fmla="*/ 113215 h 221490"/>
                <a:gd name="connsiteX541" fmla="*/ 24746 w 379471"/>
                <a:gd name="connsiteY541" fmla="*/ 113716 h 221490"/>
                <a:gd name="connsiteX542" fmla="*/ 24070 w 379471"/>
                <a:gd name="connsiteY542" fmla="*/ 114350 h 221490"/>
                <a:gd name="connsiteX543" fmla="*/ 23047 w 379471"/>
                <a:gd name="connsiteY543" fmla="*/ 115505 h 221490"/>
                <a:gd name="connsiteX544" fmla="*/ 21894 w 379471"/>
                <a:gd name="connsiteY544" fmla="*/ 115461 h 221490"/>
                <a:gd name="connsiteX545" fmla="*/ 19572 w 379471"/>
                <a:gd name="connsiteY545" fmla="*/ 115172 h 221490"/>
                <a:gd name="connsiteX546" fmla="*/ 17644 w 379471"/>
                <a:gd name="connsiteY546" fmla="*/ 114859 h 221490"/>
                <a:gd name="connsiteX547" fmla="*/ 11148 w 379471"/>
                <a:gd name="connsiteY547" fmla="*/ 114525 h 221490"/>
                <a:gd name="connsiteX548" fmla="*/ 5888 w 379471"/>
                <a:gd name="connsiteY548" fmla="*/ 114256 h 221490"/>
                <a:gd name="connsiteX549" fmla="*/ 38 w 379471"/>
                <a:gd name="connsiteY549" fmla="*/ 113956 h 221490"/>
                <a:gd name="connsiteX550" fmla="*/ 36 w 379471"/>
                <a:gd name="connsiteY550" fmla="*/ 107893 h 221490"/>
                <a:gd name="connsiteX551" fmla="*/ 32 w 379471"/>
                <a:gd name="connsiteY551" fmla="*/ 101817 h 221490"/>
                <a:gd name="connsiteX552" fmla="*/ 30 w 379471"/>
                <a:gd name="connsiteY552" fmla="*/ 95729 h 221490"/>
                <a:gd name="connsiteX553" fmla="*/ 27 w 379471"/>
                <a:gd name="connsiteY553" fmla="*/ 89628 h 221490"/>
                <a:gd name="connsiteX554" fmla="*/ 25 w 379471"/>
                <a:gd name="connsiteY554" fmla="*/ 83514 h 221490"/>
                <a:gd name="connsiteX555" fmla="*/ 23 w 379471"/>
                <a:gd name="connsiteY555" fmla="*/ 77387 h 221490"/>
                <a:gd name="connsiteX556" fmla="*/ 21 w 379471"/>
                <a:gd name="connsiteY556" fmla="*/ 71246 h 221490"/>
                <a:gd name="connsiteX557" fmla="*/ 19 w 379471"/>
                <a:gd name="connsiteY557" fmla="*/ 65093 h 221490"/>
                <a:gd name="connsiteX558" fmla="*/ 17 w 379471"/>
                <a:gd name="connsiteY558" fmla="*/ 58926 h 221490"/>
                <a:gd name="connsiteX559" fmla="*/ 15 w 379471"/>
                <a:gd name="connsiteY559" fmla="*/ 52745 h 221490"/>
                <a:gd name="connsiteX560" fmla="*/ 12 w 379471"/>
                <a:gd name="connsiteY560" fmla="*/ 46548 h 221490"/>
                <a:gd name="connsiteX561" fmla="*/ 10 w 379471"/>
                <a:gd name="connsiteY561" fmla="*/ 40339 h 221490"/>
                <a:gd name="connsiteX562" fmla="*/ 8 w 379471"/>
                <a:gd name="connsiteY562" fmla="*/ 34116 h 221490"/>
                <a:gd name="connsiteX563" fmla="*/ 6 w 379471"/>
                <a:gd name="connsiteY563" fmla="*/ 27879 h 221490"/>
                <a:gd name="connsiteX564" fmla="*/ 1 w 379471"/>
                <a:gd name="connsiteY564" fmla="*/ 21627 h 221490"/>
                <a:gd name="connsiteX565" fmla="*/ 0 w 379471"/>
                <a:gd name="connsiteY565" fmla="*/ 15361 h 221490"/>
                <a:gd name="connsiteX566" fmla="*/ 2759 w 379471"/>
                <a:gd name="connsiteY566" fmla="*/ 14582 h 221490"/>
                <a:gd name="connsiteX567" fmla="*/ 6240 w 379471"/>
                <a:gd name="connsiteY567" fmla="*/ 13600 h 221490"/>
                <a:gd name="connsiteX568" fmla="*/ 9585 w 379471"/>
                <a:gd name="connsiteY568" fmla="*/ 12657 h 221490"/>
                <a:gd name="connsiteX569" fmla="*/ 13556 w 379471"/>
                <a:gd name="connsiteY569" fmla="*/ 11536 h 221490"/>
                <a:gd name="connsiteX570" fmla="*/ 18048 w 379471"/>
                <a:gd name="connsiteY570" fmla="*/ 10269 h 221490"/>
                <a:gd name="connsiteX571" fmla="*/ 21876 w 379471"/>
                <a:gd name="connsiteY571" fmla="*/ 9186 h 221490"/>
                <a:gd name="connsiteX572" fmla="*/ 26446 w 379471"/>
                <a:gd name="connsiteY572" fmla="*/ 7895 h 221490"/>
                <a:gd name="connsiteX573" fmla="*/ 29931 w 379471"/>
                <a:gd name="connsiteY573" fmla="*/ 6909 h 221490"/>
                <a:gd name="connsiteX574" fmla="*/ 33204 w 379471"/>
                <a:gd name="connsiteY574" fmla="*/ 5983 h 221490"/>
                <a:gd name="connsiteX575" fmla="*/ 37391 w 379471"/>
                <a:gd name="connsiteY575" fmla="*/ 4886 h 221490"/>
                <a:gd name="connsiteX576" fmla="*/ 43900 w 379471"/>
                <a:gd name="connsiteY576" fmla="*/ 3177 h 221490"/>
                <a:gd name="connsiteX577" fmla="*/ 47530 w 379471"/>
                <a:gd name="connsiteY577" fmla="*/ 2225 h 221490"/>
                <a:gd name="connsiteX578" fmla="*/ 51199 w 379471"/>
                <a:gd name="connsiteY578" fmla="*/ 1262 h 221490"/>
                <a:gd name="connsiteX579" fmla="*/ 54699 w 379471"/>
                <a:gd name="connsiteY579" fmla="*/ 342 h 221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</a:cxnLst>
              <a:rect l="l" t="t" r="r" b="b"/>
              <a:pathLst>
                <a:path w="379471" h="221490">
                  <a:moveTo>
                    <a:pt x="349686" y="148756"/>
                  </a:moveTo>
                  <a:lnTo>
                    <a:pt x="349459" y="149931"/>
                  </a:lnTo>
                  <a:lnTo>
                    <a:pt x="348868" y="151054"/>
                  </a:lnTo>
                  <a:lnTo>
                    <a:pt x="347827" y="150786"/>
                  </a:lnTo>
                  <a:lnTo>
                    <a:pt x="347011" y="150039"/>
                  </a:lnTo>
                  <a:lnTo>
                    <a:pt x="347283" y="149451"/>
                  </a:lnTo>
                  <a:lnTo>
                    <a:pt x="348505" y="149130"/>
                  </a:lnTo>
                  <a:lnTo>
                    <a:pt x="349142" y="148810"/>
                  </a:lnTo>
                  <a:close/>
                  <a:moveTo>
                    <a:pt x="332340" y="144660"/>
                  </a:moveTo>
                  <a:lnTo>
                    <a:pt x="332752" y="144742"/>
                  </a:lnTo>
                  <a:lnTo>
                    <a:pt x="333996" y="146550"/>
                  </a:lnTo>
                  <a:lnTo>
                    <a:pt x="335100" y="147077"/>
                  </a:lnTo>
                  <a:lnTo>
                    <a:pt x="337276" y="147378"/>
                  </a:lnTo>
                  <a:lnTo>
                    <a:pt x="336184" y="149160"/>
                  </a:lnTo>
                  <a:lnTo>
                    <a:pt x="336987" y="151063"/>
                  </a:lnTo>
                  <a:lnTo>
                    <a:pt x="336777" y="151433"/>
                  </a:lnTo>
                  <a:lnTo>
                    <a:pt x="335674" y="151671"/>
                  </a:lnTo>
                  <a:lnTo>
                    <a:pt x="333640" y="151633"/>
                  </a:lnTo>
                  <a:lnTo>
                    <a:pt x="332478" y="151367"/>
                  </a:lnTo>
                  <a:lnTo>
                    <a:pt x="333184" y="149251"/>
                  </a:lnTo>
                  <a:lnTo>
                    <a:pt x="333210" y="148829"/>
                  </a:lnTo>
                  <a:lnTo>
                    <a:pt x="333126" y="148766"/>
                  </a:lnTo>
                  <a:lnTo>
                    <a:pt x="332538" y="148484"/>
                  </a:lnTo>
                  <a:lnTo>
                    <a:pt x="331653" y="147620"/>
                  </a:lnTo>
                  <a:lnTo>
                    <a:pt x="331349" y="146339"/>
                  </a:lnTo>
                  <a:lnTo>
                    <a:pt x="331694" y="145157"/>
                  </a:lnTo>
                  <a:close/>
                  <a:moveTo>
                    <a:pt x="322757" y="121792"/>
                  </a:moveTo>
                  <a:lnTo>
                    <a:pt x="322268" y="122053"/>
                  </a:lnTo>
                  <a:lnTo>
                    <a:pt x="322683" y="122922"/>
                  </a:lnTo>
                  <a:lnTo>
                    <a:pt x="323877" y="124169"/>
                  </a:lnTo>
                  <a:lnTo>
                    <a:pt x="324536" y="124111"/>
                  </a:lnTo>
                  <a:lnTo>
                    <a:pt x="324462" y="123475"/>
                  </a:lnTo>
                  <a:lnTo>
                    <a:pt x="323780" y="122401"/>
                  </a:lnTo>
                  <a:close/>
                  <a:moveTo>
                    <a:pt x="57040" y="0"/>
                  </a:moveTo>
                  <a:lnTo>
                    <a:pt x="59553" y="1313"/>
                  </a:lnTo>
                  <a:lnTo>
                    <a:pt x="62607" y="3120"/>
                  </a:lnTo>
                  <a:lnTo>
                    <a:pt x="65660" y="4926"/>
                  </a:lnTo>
                  <a:lnTo>
                    <a:pt x="68717" y="6730"/>
                  </a:lnTo>
                  <a:lnTo>
                    <a:pt x="71771" y="8533"/>
                  </a:lnTo>
                  <a:lnTo>
                    <a:pt x="74824" y="10336"/>
                  </a:lnTo>
                  <a:lnTo>
                    <a:pt x="77882" y="12136"/>
                  </a:lnTo>
                  <a:lnTo>
                    <a:pt x="80935" y="13935"/>
                  </a:lnTo>
                  <a:lnTo>
                    <a:pt x="83989" y="15733"/>
                  </a:lnTo>
                  <a:lnTo>
                    <a:pt x="87044" y="17528"/>
                  </a:lnTo>
                  <a:lnTo>
                    <a:pt x="90098" y="19325"/>
                  </a:lnTo>
                  <a:lnTo>
                    <a:pt x="93153" y="21120"/>
                  </a:lnTo>
                  <a:lnTo>
                    <a:pt x="96209" y="22913"/>
                  </a:lnTo>
                  <a:lnTo>
                    <a:pt x="99262" y="24705"/>
                  </a:lnTo>
                  <a:lnTo>
                    <a:pt x="102318" y="26497"/>
                  </a:lnTo>
                  <a:lnTo>
                    <a:pt x="105373" y="28286"/>
                  </a:lnTo>
                  <a:lnTo>
                    <a:pt x="108427" y="30075"/>
                  </a:lnTo>
                  <a:lnTo>
                    <a:pt x="111273" y="31740"/>
                  </a:lnTo>
                  <a:lnTo>
                    <a:pt x="112542" y="32974"/>
                  </a:lnTo>
                  <a:lnTo>
                    <a:pt x="113244" y="35691"/>
                  </a:lnTo>
                  <a:lnTo>
                    <a:pt x="114652" y="37851"/>
                  </a:lnTo>
                  <a:lnTo>
                    <a:pt x="117101" y="40190"/>
                  </a:lnTo>
                  <a:lnTo>
                    <a:pt x="119612" y="42581"/>
                  </a:lnTo>
                  <a:lnTo>
                    <a:pt x="122726" y="45738"/>
                  </a:lnTo>
                  <a:lnTo>
                    <a:pt x="124888" y="47927"/>
                  </a:lnTo>
                  <a:lnTo>
                    <a:pt x="127090" y="50157"/>
                  </a:lnTo>
                  <a:lnTo>
                    <a:pt x="130724" y="53833"/>
                  </a:lnTo>
                  <a:lnTo>
                    <a:pt x="132994" y="56126"/>
                  </a:lnTo>
                  <a:lnTo>
                    <a:pt x="134801" y="56201"/>
                  </a:lnTo>
                  <a:lnTo>
                    <a:pt x="138470" y="55656"/>
                  </a:lnTo>
                  <a:lnTo>
                    <a:pt x="143368" y="54928"/>
                  </a:lnTo>
                  <a:lnTo>
                    <a:pt x="147239" y="54352"/>
                  </a:lnTo>
                  <a:lnTo>
                    <a:pt x="151921" y="53655"/>
                  </a:lnTo>
                  <a:lnTo>
                    <a:pt x="156376" y="52991"/>
                  </a:lnTo>
                  <a:lnTo>
                    <a:pt x="159900" y="52466"/>
                  </a:lnTo>
                  <a:lnTo>
                    <a:pt x="165158" y="52863"/>
                  </a:lnTo>
                  <a:lnTo>
                    <a:pt x="170351" y="53257"/>
                  </a:lnTo>
                  <a:lnTo>
                    <a:pt x="174076" y="53540"/>
                  </a:lnTo>
                  <a:lnTo>
                    <a:pt x="177728" y="53818"/>
                  </a:lnTo>
                  <a:lnTo>
                    <a:pt x="182051" y="54144"/>
                  </a:lnTo>
                  <a:lnTo>
                    <a:pt x="184469" y="54327"/>
                  </a:lnTo>
                  <a:lnTo>
                    <a:pt x="187233" y="54536"/>
                  </a:lnTo>
                  <a:lnTo>
                    <a:pt x="188404" y="53985"/>
                  </a:lnTo>
                  <a:lnTo>
                    <a:pt x="190792" y="52857"/>
                  </a:lnTo>
                  <a:lnTo>
                    <a:pt x="193047" y="51792"/>
                  </a:lnTo>
                  <a:lnTo>
                    <a:pt x="195385" y="50686"/>
                  </a:lnTo>
                  <a:lnTo>
                    <a:pt x="197456" y="50127"/>
                  </a:lnTo>
                  <a:lnTo>
                    <a:pt x="199615" y="51897"/>
                  </a:lnTo>
                  <a:lnTo>
                    <a:pt x="201423" y="53929"/>
                  </a:lnTo>
                  <a:lnTo>
                    <a:pt x="203325" y="56071"/>
                  </a:lnTo>
                  <a:lnTo>
                    <a:pt x="205528" y="58134"/>
                  </a:lnTo>
                  <a:lnTo>
                    <a:pt x="207650" y="59358"/>
                  </a:lnTo>
                  <a:lnTo>
                    <a:pt x="210518" y="61011"/>
                  </a:lnTo>
                  <a:lnTo>
                    <a:pt x="212166" y="63842"/>
                  </a:lnTo>
                  <a:lnTo>
                    <a:pt x="214366" y="67614"/>
                  </a:lnTo>
                  <a:lnTo>
                    <a:pt x="215813" y="70093"/>
                  </a:lnTo>
                  <a:lnTo>
                    <a:pt x="217303" y="72641"/>
                  </a:lnTo>
                  <a:lnTo>
                    <a:pt x="219471" y="71636"/>
                  </a:lnTo>
                  <a:lnTo>
                    <a:pt x="221784" y="70562"/>
                  </a:lnTo>
                  <a:lnTo>
                    <a:pt x="223876" y="69592"/>
                  </a:lnTo>
                  <a:lnTo>
                    <a:pt x="223623" y="72737"/>
                  </a:lnTo>
                  <a:lnTo>
                    <a:pt x="223394" y="75592"/>
                  </a:lnTo>
                  <a:lnTo>
                    <a:pt x="223045" y="79907"/>
                  </a:lnTo>
                  <a:lnTo>
                    <a:pt x="222760" y="83440"/>
                  </a:lnTo>
                  <a:lnTo>
                    <a:pt x="222001" y="87649"/>
                  </a:lnTo>
                  <a:lnTo>
                    <a:pt x="221950" y="90851"/>
                  </a:lnTo>
                  <a:lnTo>
                    <a:pt x="221907" y="93661"/>
                  </a:lnTo>
                  <a:lnTo>
                    <a:pt x="221870" y="95889"/>
                  </a:lnTo>
                  <a:lnTo>
                    <a:pt x="225930" y="95989"/>
                  </a:lnTo>
                  <a:lnTo>
                    <a:pt x="228929" y="96062"/>
                  </a:lnTo>
                  <a:lnTo>
                    <a:pt x="232684" y="96154"/>
                  </a:lnTo>
                  <a:lnTo>
                    <a:pt x="233047" y="98953"/>
                  </a:lnTo>
                  <a:lnTo>
                    <a:pt x="233552" y="102879"/>
                  </a:lnTo>
                  <a:lnTo>
                    <a:pt x="234319" y="106433"/>
                  </a:lnTo>
                  <a:lnTo>
                    <a:pt x="234962" y="109411"/>
                  </a:lnTo>
                  <a:lnTo>
                    <a:pt x="235927" y="113259"/>
                  </a:lnTo>
                  <a:lnTo>
                    <a:pt x="236444" y="115313"/>
                  </a:lnTo>
                  <a:lnTo>
                    <a:pt x="237351" y="117728"/>
                  </a:lnTo>
                  <a:lnTo>
                    <a:pt x="238238" y="118309"/>
                  </a:lnTo>
                  <a:lnTo>
                    <a:pt x="239663" y="118696"/>
                  </a:lnTo>
                  <a:lnTo>
                    <a:pt x="244626" y="118408"/>
                  </a:lnTo>
                  <a:lnTo>
                    <a:pt x="248746" y="118170"/>
                  </a:lnTo>
                  <a:lnTo>
                    <a:pt x="251987" y="117981"/>
                  </a:lnTo>
                  <a:lnTo>
                    <a:pt x="255446" y="117781"/>
                  </a:lnTo>
                  <a:lnTo>
                    <a:pt x="260024" y="117514"/>
                  </a:lnTo>
                  <a:lnTo>
                    <a:pt x="261572" y="118129"/>
                  </a:lnTo>
                  <a:lnTo>
                    <a:pt x="262913" y="117698"/>
                  </a:lnTo>
                  <a:lnTo>
                    <a:pt x="264462" y="117268"/>
                  </a:lnTo>
                  <a:lnTo>
                    <a:pt x="265693" y="119022"/>
                  </a:lnTo>
                  <a:lnTo>
                    <a:pt x="266319" y="119912"/>
                  </a:lnTo>
                  <a:lnTo>
                    <a:pt x="267195" y="120832"/>
                  </a:lnTo>
                  <a:lnTo>
                    <a:pt x="268383" y="121691"/>
                  </a:lnTo>
                  <a:lnTo>
                    <a:pt x="267880" y="123490"/>
                  </a:lnTo>
                  <a:lnTo>
                    <a:pt x="267144" y="126109"/>
                  </a:lnTo>
                  <a:lnTo>
                    <a:pt x="266936" y="127457"/>
                  </a:lnTo>
                  <a:lnTo>
                    <a:pt x="268366" y="128907"/>
                  </a:lnTo>
                  <a:lnTo>
                    <a:pt x="269426" y="129754"/>
                  </a:lnTo>
                  <a:lnTo>
                    <a:pt x="272337" y="131477"/>
                  </a:lnTo>
                  <a:lnTo>
                    <a:pt x="275060" y="132438"/>
                  </a:lnTo>
                  <a:lnTo>
                    <a:pt x="276843" y="132721"/>
                  </a:lnTo>
                  <a:lnTo>
                    <a:pt x="278545" y="132354"/>
                  </a:lnTo>
                  <a:lnTo>
                    <a:pt x="279165" y="131376"/>
                  </a:lnTo>
                  <a:lnTo>
                    <a:pt x="279009" y="130030"/>
                  </a:lnTo>
                  <a:lnTo>
                    <a:pt x="278189" y="128616"/>
                  </a:lnTo>
                  <a:lnTo>
                    <a:pt x="278249" y="126931"/>
                  </a:lnTo>
                  <a:lnTo>
                    <a:pt x="278798" y="125697"/>
                  </a:lnTo>
                  <a:lnTo>
                    <a:pt x="280538" y="123456"/>
                  </a:lnTo>
                  <a:lnTo>
                    <a:pt x="282182" y="121342"/>
                  </a:lnTo>
                  <a:lnTo>
                    <a:pt x="284704" y="119185"/>
                  </a:lnTo>
                  <a:lnTo>
                    <a:pt x="287705" y="117046"/>
                  </a:lnTo>
                  <a:lnTo>
                    <a:pt x="288956" y="115488"/>
                  </a:lnTo>
                  <a:lnTo>
                    <a:pt x="289431" y="112776"/>
                  </a:lnTo>
                  <a:lnTo>
                    <a:pt x="291391" y="111236"/>
                  </a:lnTo>
                  <a:lnTo>
                    <a:pt x="293508" y="110312"/>
                  </a:lnTo>
                  <a:lnTo>
                    <a:pt x="296140" y="109510"/>
                  </a:lnTo>
                  <a:lnTo>
                    <a:pt x="296861" y="108154"/>
                  </a:lnTo>
                  <a:lnTo>
                    <a:pt x="300491" y="105849"/>
                  </a:lnTo>
                  <a:lnTo>
                    <a:pt x="302674" y="104710"/>
                  </a:lnTo>
                  <a:lnTo>
                    <a:pt x="305421" y="104043"/>
                  </a:lnTo>
                  <a:lnTo>
                    <a:pt x="309221" y="102540"/>
                  </a:lnTo>
                  <a:lnTo>
                    <a:pt x="312221" y="100780"/>
                  </a:lnTo>
                  <a:lnTo>
                    <a:pt x="315101" y="97452"/>
                  </a:lnTo>
                  <a:lnTo>
                    <a:pt x="317379" y="95276"/>
                  </a:lnTo>
                  <a:lnTo>
                    <a:pt x="319306" y="93932"/>
                  </a:lnTo>
                  <a:lnTo>
                    <a:pt x="320921" y="93887"/>
                  </a:lnTo>
                  <a:lnTo>
                    <a:pt x="322050" y="94971"/>
                  </a:lnTo>
                  <a:lnTo>
                    <a:pt x="323026" y="95062"/>
                  </a:lnTo>
                  <a:lnTo>
                    <a:pt x="323668" y="94565"/>
                  </a:lnTo>
                  <a:lnTo>
                    <a:pt x="324756" y="93164"/>
                  </a:lnTo>
                  <a:lnTo>
                    <a:pt x="325922" y="91537"/>
                  </a:lnTo>
                  <a:lnTo>
                    <a:pt x="327013" y="90858"/>
                  </a:lnTo>
                  <a:lnTo>
                    <a:pt x="329131" y="90512"/>
                  </a:lnTo>
                  <a:lnTo>
                    <a:pt x="331042" y="89409"/>
                  </a:lnTo>
                  <a:lnTo>
                    <a:pt x="331754" y="88933"/>
                  </a:lnTo>
                  <a:lnTo>
                    <a:pt x="333016" y="88451"/>
                  </a:lnTo>
                  <a:lnTo>
                    <a:pt x="335093" y="89374"/>
                  </a:lnTo>
                  <a:lnTo>
                    <a:pt x="336922" y="90533"/>
                  </a:lnTo>
                  <a:lnTo>
                    <a:pt x="337356" y="91069"/>
                  </a:lnTo>
                  <a:lnTo>
                    <a:pt x="337272" y="91691"/>
                  </a:lnTo>
                  <a:lnTo>
                    <a:pt x="332932" y="93953"/>
                  </a:lnTo>
                  <a:lnTo>
                    <a:pt x="330237" y="95010"/>
                  </a:lnTo>
                  <a:lnTo>
                    <a:pt x="329049" y="95200"/>
                  </a:lnTo>
                  <a:lnTo>
                    <a:pt x="328723" y="95497"/>
                  </a:lnTo>
                  <a:lnTo>
                    <a:pt x="327870" y="98071"/>
                  </a:lnTo>
                  <a:lnTo>
                    <a:pt x="326199" y="98533"/>
                  </a:lnTo>
                  <a:lnTo>
                    <a:pt x="324056" y="99322"/>
                  </a:lnTo>
                  <a:lnTo>
                    <a:pt x="322553" y="100506"/>
                  </a:lnTo>
                  <a:lnTo>
                    <a:pt x="320167" y="103308"/>
                  </a:lnTo>
                  <a:lnTo>
                    <a:pt x="314108" y="107373"/>
                  </a:lnTo>
                  <a:lnTo>
                    <a:pt x="314020" y="108205"/>
                  </a:lnTo>
                  <a:lnTo>
                    <a:pt x="314549" y="108879"/>
                  </a:lnTo>
                  <a:lnTo>
                    <a:pt x="316520" y="109345"/>
                  </a:lnTo>
                  <a:lnTo>
                    <a:pt x="319124" y="110594"/>
                  </a:lnTo>
                  <a:lnTo>
                    <a:pt x="320530" y="111569"/>
                  </a:lnTo>
                  <a:lnTo>
                    <a:pt x="324389" y="110309"/>
                  </a:lnTo>
                  <a:lnTo>
                    <a:pt x="325339" y="110587"/>
                  </a:lnTo>
                  <a:lnTo>
                    <a:pt x="326345" y="111889"/>
                  </a:lnTo>
                  <a:lnTo>
                    <a:pt x="327408" y="115531"/>
                  </a:lnTo>
                  <a:lnTo>
                    <a:pt x="329133" y="116522"/>
                  </a:lnTo>
                  <a:lnTo>
                    <a:pt x="331392" y="117284"/>
                  </a:lnTo>
                  <a:lnTo>
                    <a:pt x="332793" y="117532"/>
                  </a:lnTo>
                  <a:lnTo>
                    <a:pt x="334667" y="118427"/>
                  </a:lnTo>
                  <a:lnTo>
                    <a:pt x="337160" y="118761"/>
                  </a:lnTo>
                  <a:lnTo>
                    <a:pt x="338827" y="118430"/>
                  </a:lnTo>
                  <a:lnTo>
                    <a:pt x="340910" y="119197"/>
                  </a:lnTo>
                  <a:lnTo>
                    <a:pt x="341249" y="118864"/>
                  </a:lnTo>
                  <a:lnTo>
                    <a:pt x="341526" y="113437"/>
                  </a:lnTo>
                  <a:lnTo>
                    <a:pt x="343275" y="114345"/>
                  </a:lnTo>
                  <a:lnTo>
                    <a:pt x="344284" y="114329"/>
                  </a:lnTo>
                  <a:lnTo>
                    <a:pt x="345166" y="113665"/>
                  </a:lnTo>
                  <a:lnTo>
                    <a:pt x="345624" y="112763"/>
                  </a:lnTo>
                  <a:lnTo>
                    <a:pt x="345920" y="110967"/>
                  </a:lnTo>
                  <a:lnTo>
                    <a:pt x="345536" y="109175"/>
                  </a:lnTo>
                  <a:lnTo>
                    <a:pt x="346315" y="108358"/>
                  </a:lnTo>
                  <a:lnTo>
                    <a:pt x="346922" y="108173"/>
                  </a:lnTo>
                  <a:lnTo>
                    <a:pt x="347369" y="108389"/>
                  </a:lnTo>
                  <a:lnTo>
                    <a:pt x="347637" y="108850"/>
                  </a:lnTo>
                  <a:lnTo>
                    <a:pt x="347712" y="110477"/>
                  </a:lnTo>
                  <a:lnTo>
                    <a:pt x="348974" y="111163"/>
                  </a:lnTo>
                  <a:lnTo>
                    <a:pt x="349742" y="111556"/>
                  </a:lnTo>
                  <a:lnTo>
                    <a:pt x="350479" y="112932"/>
                  </a:lnTo>
                  <a:lnTo>
                    <a:pt x="351191" y="114242"/>
                  </a:lnTo>
                  <a:lnTo>
                    <a:pt x="351647" y="117310"/>
                  </a:lnTo>
                  <a:lnTo>
                    <a:pt x="353413" y="117520"/>
                  </a:lnTo>
                  <a:lnTo>
                    <a:pt x="355491" y="118108"/>
                  </a:lnTo>
                  <a:lnTo>
                    <a:pt x="356884" y="117532"/>
                  </a:lnTo>
                  <a:lnTo>
                    <a:pt x="357963" y="117871"/>
                  </a:lnTo>
                  <a:lnTo>
                    <a:pt x="358332" y="119326"/>
                  </a:lnTo>
                  <a:lnTo>
                    <a:pt x="358326" y="120685"/>
                  </a:lnTo>
                  <a:lnTo>
                    <a:pt x="358473" y="121762"/>
                  </a:lnTo>
                  <a:lnTo>
                    <a:pt x="359043" y="122069"/>
                  </a:lnTo>
                  <a:lnTo>
                    <a:pt x="360852" y="121394"/>
                  </a:lnTo>
                  <a:lnTo>
                    <a:pt x="362381" y="121301"/>
                  </a:lnTo>
                  <a:lnTo>
                    <a:pt x="363780" y="121946"/>
                  </a:lnTo>
                  <a:lnTo>
                    <a:pt x="365519" y="122926"/>
                  </a:lnTo>
                  <a:lnTo>
                    <a:pt x="368050" y="125500"/>
                  </a:lnTo>
                  <a:lnTo>
                    <a:pt x="368887" y="125864"/>
                  </a:lnTo>
                  <a:lnTo>
                    <a:pt x="372705" y="126068"/>
                  </a:lnTo>
                  <a:lnTo>
                    <a:pt x="373493" y="126589"/>
                  </a:lnTo>
                  <a:lnTo>
                    <a:pt x="374806" y="126587"/>
                  </a:lnTo>
                  <a:lnTo>
                    <a:pt x="376223" y="126122"/>
                  </a:lnTo>
                  <a:lnTo>
                    <a:pt x="379365" y="126952"/>
                  </a:lnTo>
                  <a:lnTo>
                    <a:pt x="379471" y="127421"/>
                  </a:lnTo>
                  <a:lnTo>
                    <a:pt x="378939" y="128068"/>
                  </a:lnTo>
                  <a:lnTo>
                    <a:pt x="371442" y="131627"/>
                  </a:lnTo>
                  <a:lnTo>
                    <a:pt x="370889" y="132720"/>
                  </a:lnTo>
                  <a:lnTo>
                    <a:pt x="369358" y="134111"/>
                  </a:lnTo>
                  <a:lnTo>
                    <a:pt x="367689" y="134902"/>
                  </a:lnTo>
                  <a:lnTo>
                    <a:pt x="366879" y="134930"/>
                  </a:lnTo>
                  <a:lnTo>
                    <a:pt x="363221" y="133523"/>
                  </a:lnTo>
                  <a:lnTo>
                    <a:pt x="362791" y="133862"/>
                  </a:lnTo>
                  <a:lnTo>
                    <a:pt x="362491" y="134430"/>
                  </a:lnTo>
                  <a:lnTo>
                    <a:pt x="362506" y="135051"/>
                  </a:lnTo>
                  <a:lnTo>
                    <a:pt x="363308" y="136535"/>
                  </a:lnTo>
                  <a:lnTo>
                    <a:pt x="362938" y="137469"/>
                  </a:lnTo>
                  <a:lnTo>
                    <a:pt x="362241" y="138142"/>
                  </a:lnTo>
                  <a:lnTo>
                    <a:pt x="359947" y="137552"/>
                  </a:lnTo>
                  <a:lnTo>
                    <a:pt x="359520" y="137175"/>
                  </a:lnTo>
                  <a:lnTo>
                    <a:pt x="359479" y="136762"/>
                  </a:lnTo>
                  <a:lnTo>
                    <a:pt x="358596" y="136761"/>
                  </a:lnTo>
                  <a:lnTo>
                    <a:pt x="357233" y="137175"/>
                  </a:lnTo>
                  <a:lnTo>
                    <a:pt x="354610" y="139736"/>
                  </a:lnTo>
                  <a:lnTo>
                    <a:pt x="353692" y="141076"/>
                  </a:lnTo>
                  <a:lnTo>
                    <a:pt x="353351" y="141884"/>
                  </a:lnTo>
                  <a:lnTo>
                    <a:pt x="352180" y="142344"/>
                  </a:lnTo>
                  <a:lnTo>
                    <a:pt x="350913" y="142518"/>
                  </a:lnTo>
                  <a:lnTo>
                    <a:pt x="349304" y="143727"/>
                  </a:lnTo>
                  <a:lnTo>
                    <a:pt x="347531" y="144659"/>
                  </a:lnTo>
                  <a:lnTo>
                    <a:pt x="346963" y="143973"/>
                  </a:lnTo>
                  <a:lnTo>
                    <a:pt x="346611" y="143205"/>
                  </a:lnTo>
                  <a:lnTo>
                    <a:pt x="346147" y="142967"/>
                  </a:lnTo>
                  <a:lnTo>
                    <a:pt x="345054" y="143147"/>
                  </a:lnTo>
                  <a:lnTo>
                    <a:pt x="343726" y="143180"/>
                  </a:lnTo>
                  <a:lnTo>
                    <a:pt x="342333" y="142317"/>
                  </a:lnTo>
                  <a:lnTo>
                    <a:pt x="340537" y="141450"/>
                  </a:lnTo>
                  <a:lnTo>
                    <a:pt x="338956" y="141143"/>
                  </a:lnTo>
                  <a:lnTo>
                    <a:pt x="334309" y="141553"/>
                  </a:lnTo>
                  <a:lnTo>
                    <a:pt x="332011" y="141981"/>
                  </a:lnTo>
                  <a:lnTo>
                    <a:pt x="331290" y="142399"/>
                  </a:lnTo>
                  <a:lnTo>
                    <a:pt x="329994" y="142511"/>
                  </a:lnTo>
                  <a:lnTo>
                    <a:pt x="324549" y="143384"/>
                  </a:lnTo>
                  <a:lnTo>
                    <a:pt x="323434" y="143044"/>
                  </a:lnTo>
                  <a:lnTo>
                    <a:pt x="322618" y="141660"/>
                  </a:lnTo>
                  <a:lnTo>
                    <a:pt x="321905" y="140160"/>
                  </a:lnTo>
                  <a:lnTo>
                    <a:pt x="320498" y="139615"/>
                  </a:lnTo>
                  <a:lnTo>
                    <a:pt x="318913" y="139196"/>
                  </a:lnTo>
                  <a:lnTo>
                    <a:pt x="318323" y="138601"/>
                  </a:lnTo>
                  <a:lnTo>
                    <a:pt x="318282" y="137871"/>
                  </a:lnTo>
                  <a:lnTo>
                    <a:pt x="318446" y="137158"/>
                  </a:lnTo>
                  <a:lnTo>
                    <a:pt x="318567" y="136785"/>
                  </a:lnTo>
                  <a:lnTo>
                    <a:pt x="322242" y="133923"/>
                  </a:lnTo>
                  <a:lnTo>
                    <a:pt x="325549" y="131344"/>
                  </a:lnTo>
                  <a:lnTo>
                    <a:pt x="325851" y="131137"/>
                  </a:lnTo>
                  <a:lnTo>
                    <a:pt x="326151" y="130646"/>
                  </a:lnTo>
                  <a:lnTo>
                    <a:pt x="326714" y="129754"/>
                  </a:lnTo>
                  <a:lnTo>
                    <a:pt x="326713" y="129287"/>
                  </a:lnTo>
                  <a:lnTo>
                    <a:pt x="324240" y="128264"/>
                  </a:lnTo>
                  <a:lnTo>
                    <a:pt x="324143" y="127791"/>
                  </a:lnTo>
                  <a:lnTo>
                    <a:pt x="324642" y="127305"/>
                  </a:lnTo>
                  <a:lnTo>
                    <a:pt x="324642" y="126660"/>
                  </a:lnTo>
                  <a:lnTo>
                    <a:pt x="322893" y="124772"/>
                  </a:lnTo>
                  <a:lnTo>
                    <a:pt x="319869" y="121828"/>
                  </a:lnTo>
                  <a:lnTo>
                    <a:pt x="318995" y="121521"/>
                  </a:lnTo>
                  <a:lnTo>
                    <a:pt x="318347" y="121717"/>
                  </a:lnTo>
                  <a:lnTo>
                    <a:pt x="317159" y="124568"/>
                  </a:lnTo>
                  <a:lnTo>
                    <a:pt x="316565" y="125292"/>
                  </a:lnTo>
                  <a:lnTo>
                    <a:pt x="313121" y="127165"/>
                  </a:lnTo>
                  <a:lnTo>
                    <a:pt x="310232" y="128451"/>
                  </a:lnTo>
                  <a:lnTo>
                    <a:pt x="305093" y="130738"/>
                  </a:lnTo>
                  <a:lnTo>
                    <a:pt x="303758" y="131454"/>
                  </a:lnTo>
                  <a:lnTo>
                    <a:pt x="302828" y="131323"/>
                  </a:lnTo>
                  <a:lnTo>
                    <a:pt x="301890" y="130875"/>
                  </a:lnTo>
                  <a:lnTo>
                    <a:pt x="299012" y="128565"/>
                  </a:lnTo>
                  <a:lnTo>
                    <a:pt x="297146" y="127775"/>
                  </a:lnTo>
                  <a:lnTo>
                    <a:pt x="295893" y="128557"/>
                  </a:lnTo>
                  <a:lnTo>
                    <a:pt x="294835" y="129698"/>
                  </a:lnTo>
                  <a:lnTo>
                    <a:pt x="294937" y="132037"/>
                  </a:lnTo>
                  <a:lnTo>
                    <a:pt x="293743" y="133272"/>
                  </a:lnTo>
                  <a:lnTo>
                    <a:pt x="292555" y="133825"/>
                  </a:lnTo>
                  <a:lnTo>
                    <a:pt x="294721" y="140085"/>
                  </a:lnTo>
                  <a:lnTo>
                    <a:pt x="294505" y="140891"/>
                  </a:lnTo>
                  <a:lnTo>
                    <a:pt x="292849" y="141112"/>
                  </a:lnTo>
                  <a:lnTo>
                    <a:pt x="294073" y="143464"/>
                  </a:lnTo>
                  <a:lnTo>
                    <a:pt x="293043" y="143738"/>
                  </a:lnTo>
                  <a:lnTo>
                    <a:pt x="290435" y="143186"/>
                  </a:lnTo>
                  <a:lnTo>
                    <a:pt x="286928" y="142824"/>
                  </a:lnTo>
                  <a:lnTo>
                    <a:pt x="280311" y="143867"/>
                  </a:lnTo>
                  <a:lnTo>
                    <a:pt x="279828" y="144274"/>
                  </a:lnTo>
                  <a:lnTo>
                    <a:pt x="279646" y="144792"/>
                  </a:lnTo>
                  <a:lnTo>
                    <a:pt x="280029" y="145263"/>
                  </a:lnTo>
                  <a:lnTo>
                    <a:pt x="283231" y="145318"/>
                  </a:lnTo>
                  <a:lnTo>
                    <a:pt x="286377" y="145077"/>
                  </a:lnTo>
                  <a:lnTo>
                    <a:pt x="287243" y="145514"/>
                  </a:lnTo>
                  <a:lnTo>
                    <a:pt x="287377" y="146288"/>
                  </a:lnTo>
                  <a:lnTo>
                    <a:pt x="287014" y="146773"/>
                  </a:lnTo>
                  <a:lnTo>
                    <a:pt x="285971" y="146855"/>
                  </a:lnTo>
                  <a:lnTo>
                    <a:pt x="283676" y="147321"/>
                  </a:lnTo>
                  <a:lnTo>
                    <a:pt x="283412" y="147812"/>
                  </a:lnTo>
                  <a:lnTo>
                    <a:pt x="283339" y="148286"/>
                  </a:lnTo>
                  <a:lnTo>
                    <a:pt x="284112" y="149656"/>
                  </a:lnTo>
                  <a:lnTo>
                    <a:pt x="284984" y="150528"/>
                  </a:lnTo>
                  <a:lnTo>
                    <a:pt x="285093" y="151045"/>
                  </a:lnTo>
                  <a:lnTo>
                    <a:pt x="284727" y="151475"/>
                  </a:lnTo>
                  <a:lnTo>
                    <a:pt x="284289" y="151649"/>
                  </a:lnTo>
                  <a:lnTo>
                    <a:pt x="283520" y="151002"/>
                  </a:lnTo>
                  <a:lnTo>
                    <a:pt x="283082" y="151131"/>
                  </a:lnTo>
                  <a:lnTo>
                    <a:pt x="282864" y="151713"/>
                  </a:lnTo>
                  <a:lnTo>
                    <a:pt x="282648" y="152397"/>
                  </a:lnTo>
                  <a:lnTo>
                    <a:pt x="282140" y="152901"/>
                  </a:lnTo>
                  <a:lnTo>
                    <a:pt x="281072" y="152639"/>
                  </a:lnTo>
                  <a:lnTo>
                    <a:pt x="280011" y="152832"/>
                  </a:lnTo>
                  <a:lnTo>
                    <a:pt x="279379" y="155320"/>
                  </a:lnTo>
                  <a:lnTo>
                    <a:pt x="278843" y="158137"/>
                  </a:lnTo>
                  <a:lnTo>
                    <a:pt x="277092" y="160012"/>
                  </a:lnTo>
                  <a:lnTo>
                    <a:pt x="276127" y="160689"/>
                  </a:lnTo>
                  <a:lnTo>
                    <a:pt x="274706" y="160893"/>
                  </a:lnTo>
                  <a:lnTo>
                    <a:pt x="272583" y="160664"/>
                  </a:lnTo>
                  <a:lnTo>
                    <a:pt x="271298" y="160389"/>
                  </a:lnTo>
                  <a:lnTo>
                    <a:pt x="267589" y="159977"/>
                  </a:lnTo>
                  <a:lnTo>
                    <a:pt x="263861" y="159207"/>
                  </a:lnTo>
                  <a:lnTo>
                    <a:pt x="259670" y="158490"/>
                  </a:lnTo>
                  <a:lnTo>
                    <a:pt x="255766" y="160146"/>
                  </a:lnTo>
                  <a:lnTo>
                    <a:pt x="254643" y="161156"/>
                  </a:lnTo>
                  <a:lnTo>
                    <a:pt x="253932" y="162099"/>
                  </a:lnTo>
                  <a:lnTo>
                    <a:pt x="253194" y="162536"/>
                  </a:lnTo>
                  <a:lnTo>
                    <a:pt x="251501" y="168331"/>
                  </a:lnTo>
                  <a:lnTo>
                    <a:pt x="251678" y="168989"/>
                  </a:lnTo>
                  <a:lnTo>
                    <a:pt x="252624" y="169507"/>
                  </a:lnTo>
                  <a:lnTo>
                    <a:pt x="257402" y="170708"/>
                  </a:lnTo>
                  <a:lnTo>
                    <a:pt x="258107" y="171206"/>
                  </a:lnTo>
                  <a:lnTo>
                    <a:pt x="258526" y="171772"/>
                  </a:lnTo>
                  <a:lnTo>
                    <a:pt x="258731" y="174376"/>
                  </a:lnTo>
                  <a:lnTo>
                    <a:pt x="259126" y="174735"/>
                  </a:lnTo>
                  <a:lnTo>
                    <a:pt x="260765" y="175055"/>
                  </a:lnTo>
                  <a:lnTo>
                    <a:pt x="263134" y="175035"/>
                  </a:lnTo>
                  <a:lnTo>
                    <a:pt x="264988" y="174779"/>
                  </a:lnTo>
                  <a:lnTo>
                    <a:pt x="266863" y="175020"/>
                  </a:lnTo>
                  <a:lnTo>
                    <a:pt x="268172" y="175578"/>
                  </a:lnTo>
                  <a:lnTo>
                    <a:pt x="268813" y="176466"/>
                  </a:lnTo>
                  <a:lnTo>
                    <a:pt x="269167" y="177422"/>
                  </a:lnTo>
                  <a:lnTo>
                    <a:pt x="266941" y="183133"/>
                  </a:lnTo>
                  <a:lnTo>
                    <a:pt x="267120" y="185204"/>
                  </a:lnTo>
                  <a:lnTo>
                    <a:pt x="267811" y="188175"/>
                  </a:lnTo>
                  <a:lnTo>
                    <a:pt x="269070" y="190502"/>
                  </a:lnTo>
                  <a:lnTo>
                    <a:pt x="271441" y="192779"/>
                  </a:lnTo>
                  <a:lnTo>
                    <a:pt x="273248" y="194237"/>
                  </a:lnTo>
                  <a:lnTo>
                    <a:pt x="273628" y="194924"/>
                  </a:lnTo>
                  <a:lnTo>
                    <a:pt x="273721" y="195990"/>
                  </a:lnTo>
                  <a:lnTo>
                    <a:pt x="273427" y="197343"/>
                  </a:lnTo>
                  <a:lnTo>
                    <a:pt x="272384" y="199495"/>
                  </a:lnTo>
                  <a:lnTo>
                    <a:pt x="271112" y="201373"/>
                  </a:lnTo>
                  <a:lnTo>
                    <a:pt x="269731" y="202174"/>
                  </a:lnTo>
                  <a:lnTo>
                    <a:pt x="267820" y="204555"/>
                  </a:lnTo>
                  <a:lnTo>
                    <a:pt x="266124" y="207485"/>
                  </a:lnTo>
                  <a:lnTo>
                    <a:pt x="262866" y="211326"/>
                  </a:lnTo>
                  <a:lnTo>
                    <a:pt x="261777" y="213463"/>
                  </a:lnTo>
                  <a:lnTo>
                    <a:pt x="261417" y="219636"/>
                  </a:lnTo>
                  <a:lnTo>
                    <a:pt x="260553" y="221490"/>
                  </a:lnTo>
                  <a:lnTo>
                    <a:pt x="260419" y="220787"/>
                  </a:lnTo>
                  <a:lnTo>
                    <a:pt x="259249" y="220088"/>
                  </a:lnTo>
                  <a:lnTo>
                    <a:pt x="257202" y="220208"/>
                  </a:lnTo>
                  <a:lnTo>
                    <a:pt x="255854" y="219874"/>
                  </a:lnTo>
                  <a:lnTo>
                    <a:pt x="255209" y="219084"/>
                  </a:lnTo>
                  <a:lnTo>
                    <a:pt x="253537" y="219304"/>
                  </a:lnTo>
                  <a:lnTo>
                    <a:pt x="250840" y="220538"/>
                  </a:lnTo>
                  <a:lnTo>
                    <a:pt x="248094" y="219885"/>
                  </a:lnTo>
                  <a:lnTo>
                    <a:pt x="245293" y="217346"/>
                  </a:lnTo>
                  <a:lnTo>
                    <a:pt x="239961" y="216416"/>
                  </a:lnTo>
                  <a:lnTo>
                    <a:pt x="233207" y="216998"/>
                  </a:lnTo>
                  <a:lnTo>
                    <a:pt x="232950" y="214186"/>
                  </a:lnTo>
                  <a:lnTo>
                    <a:pt x="232965" y="210598"/>
                  </a:lnTo>
                  <a:lnTo>
                    <a:pt x="233280" y="205827"/>
                  </a:lnTo>
                  <a:lnTo>
                    <a:pt x="235574" y="202081"/>
                  </a:lnTo>
                  <a:lnTo>
                    <a:pt x="235508" y="201368"/>
                  </a:lnTo>
                  <a:lnTo>
                    <a:pt x="235064" y="200680"/>
                  </a:lnTo>
                  <a:lnTo>
                    <a:pt x="234362" y="200062"/>
                  </a:lnTo>
                  <a:lnTo>
                    <a:pt x="230277" y="199033"/>
                  </a:lnTo>
                  <a:lnTo>
                    <a:pt x="229074" y="198488"/>
                  </a:lnTo>
                  <a:lnTo>
                    <a:pt x="227489" y="197310"/>
                  </a:lnTo>
                  <a:lnTo>
                    <a:pt x="225487" y="196062"/>
                  </a:lnTo>
                  <a:lnTo>
                    <a:pt x="223755" y="195204"/>
                  </a:lnTo>
                  <a:lnTo>
                    <a:pt x="221021" y="194071"/>
                  </a:lnTo>
                  <a:lnTo>
                    <a:pt x="218499" y="193441"/>
                  </a:lnTo>
                  <a:lnTo>
                    <a:pt x="217020" y="193922"/>
                  </a:lnTo>
                  <a:lnTo>
                    <a:pt x="215655" y="194530"/>
                  </a:lnTo>
                  <a:lnTo>
                    <a:pt x="214381" y="194547"/>
                  </a:lnTo>
                  <a:lnTo>
                    <a:pt x="213099" y="194216"/>
                  </a:lnTo>
                  <a:lnTo>
                    <a:pt x="208383" y="191383"/>
                  </a:lnTo>
                  <a:lnTo>
                    <a:pt x="201242" y="186478"/>
                  </a:lnTo>
                  <a:lnTo>
                    <a:pt x="195581" y="183051"/>
                  </a:lnTo>
                  <a:lnTo>
                    <a:pt x="192027" y="181412"/>
                  </a:lnTo>
                  <a:lnTo>
                    <a:pt x="191185" y="180886"/>
                  </a:lnTo>
                  <a:lnTo>
                    <a:pt x="189190" y="179343"/>
                  </a:lnTo>
                  <a:lnTo>
                    <a:pt x="184288" y="175183"/>
                  </a:lnTo>
                  <a:lnTo>
                    <a:pt x="181034" y="175795"/>
                  </a:lnTo>
                  <a:lnTo>
                    <a:pt x="176384" y="173087"/>
                  </a:lnTo>
                  <a:lnTo>
                    <a:pt x="172208" y="170443"/>
                  </a:lnTo>
                  <a:lnTo>
                    <a:pt x="171260" y="169728"/>
                  </a:lnTo>
                  <a:lnTo>
                    <a:pt x="166512" y="164832"/>
                  </a:lnTo>
                  <a:lnTo>
                    <a:pt x="161776" y="161655"/>
                  </a:lnTo>
                  <a:lnTo>
                    <a:pt x="156607" y="158184"/>
                  </a:lnTo>
                  <a:lnTo>
                    <a:pt x="153262" y="156009"/>
                  </a:lnTo>
                  <a:lnTo>
                    <a:pt x="147598" y="152321"/>
                  </a:lnTo>
                  <a:lnTo>
                    <a:pt x="144829" y="150091"/>
                  </a:lnTo>
                  <a:lnTo>
                    <a:pt x="143895" y="149269"/>
                  </a:lnTo>
                  <a:lnTo>
                    <a:pt x="142975" y="147689"/>
                  </a:lnTo>
                  <a:lnTo>
                    <a:pt x="141502" y="139962"/>
                  </a:lnTo>
                  <a:lnTo>
                    <a:pt x="139800" y="136420"/>
                  </a:lnTo>
                  <a:lnTo>
                    <a:pt x="137378" y="134489"/>
                  </a:lnTo>
                  <a:lnTo>
                    <a:pt x="135311" y="130764"/>
                  </a:lnTo>
                  <a:lnTo>
                    <a:pt x="133599" y="125237"/>
                  </a:lnTo>
                  <a:lnTo>
                    <a:pt x="132182" y="121639"/>
                  </a:lnTo>
                  <a:lnTo>
                    <a:pt x="131061" y="119978"/>
                  </a:lnTo>
                  <a:lnTo>
                    <a:pt x="128785" y="118142"/>
                  </a:lnTo>
                  <a:lnTo>
                    <a:pt x="125350" y="116128"/>
                  </a:lnTo>
                  <a:lnTo>
                    <a:pt x="122087" y="115173"/>
                  </a:lnTo>
                  <a:lnTo>
                    <a:pt x="120908" y="115212"/>
                  </a:lnTo>
                  <a:lnTo>
                    <a:pt x="120327" y="115461"/>
                  </a:lnTo>
                  <a:lnTo>
                    <a:pt x="119666" y="115804"/>
                  </a:lnTo>
                  <a:lnTo>
                    <a:pt x="118371" y="117307"/>
                  </a:lnTo>
                  <a:lnTo>
                    <a:pt x="116457" y="117463"/>
                  </a:lnTo>
                  <a:lnTo>
                    <a:pt x="115062" y="117427"/>
                  </a:lnTo>
                  <a:lnTo>
                    <a:pt x="113750" y="116891"/>
                  </a:lnTo>
                  <a:lnTo>
                    <a:pt x="109621" y="116414"/>
                  </a:lnTo>
                  <a:lnTo>
                    <a:pt x="108161" y="115895"/>
                  </a:lnTo>
                  <a:lnTo>
                    <a:pt x="105678" y="115972"/>
                  </a:lnTo>
                  <a:lnTo>
                    <a:pt x="100342" y="116753"/>
                  </a:lnTo>
                  <a:lnTo>
                    <a:pt x="99046" y="116608"/>
                  </a:lnTo>
                  <a:lnTo>
                    <a:pt x="93408" y="113250"/>
                  </a:lnTo>
                  <a:lnTo>
                    <a:pt x="90968" y="111918"/>
                  </a:lnTo>
                  <a:lnTo>
                    <a:pt x="90475" y="111181"/>
                  </a:lnTo>
                  <a:lnTo>
                    <a:pt x="90506" y="109890"/>
                  </a:lnTo>
                  <a:lnTo>
                    <a:pt x="91331" y="108066"/>
                  </a:lnTo>
                  <a:lnTo>
                    <a:pt x="92037" y="106773"/>
                  </a:lnTo>
                  <a:lnTo>
                    <a:pt x="91728" y="105428"/>
                  </a:lnTo>
                  <a:lnTo>
                    <a:pt x="90657" y="103957"/>
                  </a:lnTo>
                  <a:lnTo>
                    <a:pt x="90657" y="102391"/>
                  </a:lnTo>
                  <a:lnTo>
                    <a:pt x="91387" y="101517"/>
                  </a:lnTo>
                  <a:lnTo>
                    <a:pt x="92886" y="101793"/>
                  </a:lnTo>
                  <a:lnTo>
                    <a:pt x="93425" y="101240"/>
                  </a:lnTo>
                  <a:lnTo>
                    <a:pt x="93233" y="100411"/>
                  </a:lnTo>
                  <a:lnTo>
                    <a:pt x="92426" y="99811"/>
                  </a:lnTo>
                  <a:lnTo>
                    <a:pt x="91350" y="98475"/>
                  </a:lnTo>
                  <a:lnTo>
                    <a:pt x="88158" y="97229"/>
                  </a:lnTo>
                  <a:lnTo>
                    <a:pt x="87698" y="96721"/>
                  </a:lnTo>
                  <a:lnTo>
                    <a:pt x="87865" y="96140"/>
                  </a:lnTo>
                  <a:lnTo>
                    <a:pt x="88414" y="95519"/>
                  </a:lnTo>
                  <a:lnTo>
                    <a:pt x="88526" y="94211"/>
                  </a:lnTo>
                  <a:lnTo>
                    <a:pt x="88580" y="92519"/>
                  </a:lnTo>
                  <a:lnTo>
                    <a:pt x="89003" y="91641"/>
                  </a:lnTo>
                  <a:lnTo>
                    <a:pt x="89120" y="90948"/>
                  </a:lnTo>
                  <a:lnTo>
                    <a:pt x="88657" y="90392"/>
                  </a:lnTo>
                  <a:lnTo>
                    <a:pt x="87582" y="89745"/>
                  </a:lnTo>
                  <a:lnTo>
                    <a:pt x="85852" y="88171"/>
                  </a:lnTo>
                  <a:lnTo>
                    <a:pt x="83736" y="88001"/>
                  </a:lnTo>
                  <a:lnTo>
                    <a:pt x="76848" y="88056"/>
                  </a:lnTo>
                  <a:lnTo>
                    <a:pt x="74708" y="87423"/>
                  </a:lnTo>
                  <a:lnTo>
                    <a:pt x="72989" y="86547"/>
                  </a:lnTo>
                  <a:lnTo>
                    <a:pt x="71277" y="83202"/>
                  </a:lnTo>
                  <a:lnTo>
                    <a:pt x="70402" y="82409"/>
                  </a:lnTo>
                  <a:lnTo>
                    <a:pt x="69596" y="82079"/>
                  </a:lnTo>
                  <a:lnTo>
                    <a:pt x="67666" y="81963"/>
                  </a:lnTo>
                  <a:lnTo>
                    <a:pt x="65345" y="81639"/>
                  </a:lnTo>
                  <a:lnTo>
                    <a:pt x="64153" y="81073"/>
                  </a:lnTo>
                  <a:lnTo>
                    <a:pt x="60903" y="78011"/>
                  </a:lnTo>
                  <a:lnTo>
                    <a:pt x="57787" y="75276"/>
                  </a:lnTo>
                  <a:lnTo>
                    <a:pt x="56532" y="77857"/>
                  </a:lnTo>
                  <a:lnTo>
                    <a:pt x="55312" y="78367"/>
                  </a:lnTo>
                  <a:lnTo>
                    <a:pt x="52570" y="78129"/>
                  </a:lnTo>
                  <a:lnTo>
                    <a:pt x="50503" y="77692"/>
                  </a:lnTo>
                  <a:lnTo>
                    <a:pt x="49326" y="78274"/>
                  </a:lnTo>
                  <a:lnTo>
                    <a:pt x="48113" y="79296"/>
                  </a:lnTo>
                  <a:lnTo>
                    <a:pt x="48344" y="79966"/>
                  </a:lnTo>
                  <a:lnTo>
                    <a:pt x="49274" y="80676"/>
                  </a:lnTo>
                  <a:lnTo>
                    <a:pt x="51144" y="81985"/>
                  </a:lnTo>
                  <a:lnTo>
                    <a:pt x="54008" y="85201"/>
                  </a:lnTo>
                  <a:lnTo>
                    <a:pt x="55308" y="86974"/>
                  </a:lnTo>
                  <a:lnTo>
                    <a:pt x="55504" y="87594"/>
                  </a:lnTo>
                  <a:lnTo>
                    <a:pt x="55252" y="88060"/>
                  </a:lnTo>
                  <a:lnTo>
                    <a:pt x="54867" y="88261"/>
                  </a:lnTo>
                  <a:lnTo>
                    <a:pt x="54302" y="88254"/>
                  </a:lnTo>
                  <a:lnTo>
                    <a:pt x="53542" y="88243"/>
                  </a:lnTo>
                  <a:lnTo>
                    <a:pt x="53101" y="87711"/>
                  </a:lnTo>
                  <a:lnTo>
                    <a:pt x="52954" y="86797"/>
                  </a:lnTo>
                  <a:lnTo>
                    <a:pt x="51998" y="85408"/>
                  </a:lnTo>
                  <a:lnTo>
                    <a:pt x="51017" y="84610"/>
                  </a:lnTo>
                  <a:lnTo>
                    <a:pt x="49938" y="84108"/>
                  </a:lnTo>
                  <a:lnTo>
                    <a:pt x="48424" y="83738"/>
                  </a:lnTo>
                  <a:lnTo>
                    <a:pt x="46430" y="83073"/>
                  </a:lnTo>
                  <a:lnTo>
                    <a:pt x="45401" y="83043"/>
                  </a:lnTo>
                  <a:lnTo>
                    <a:pt x="44396" y="83812"/>
                  </a:lnTo>
                  <a:lnTo>
                    <a:pt x="43561" y="84846"/>
                  </a:lnTo>
                  <a:lnTo>
                    <a:pt x="43069" y="87106"/>
                  </a:lnTo>
                  <a:lnTo>
                    <a:pt x="41576" y="89878"/>
                  </a:lnTo>
                  <a:lnTo>
                    <a:pt x="40654" y="90974"/>
                  </a:lnTo>
                  <a:lnTo>
                    <a:pt x="37821" y="91640"/>
                  </a:lnTo>
                  <a:lnTo>
                    <a:pt x="31090" y="91866"/>
                  </a:lnTo>
                  <a:lnTo>
                    <a:pt x="29076" y="92730"/>
                  </a:lnTo>
                  <a:lnTo>
                    <a:pt x="27709" y="93775"/>
                  </a:lnTo>
                  <a:lnTo>
                    <a:pt x="25161" y="97156"/>
                  </a:lnTo>
                  <a:lnTo>
                    <a:pt x="23394" y="98278"/>
                  </a:lnTo>
                  <a:lnTo>
                    <a:pt x="21855" y="99824"/>
                  </a:lnTo>
                  <a:lnTo>
                    <a:pt x="22314" y="104783"/>
                  </a:lnTo>
                  <a:lnTo>
                    <a:pt x="23051" y="110567"/>
                  </a:lnTo>
                  <a:lnTo>
                    <a:pt x="24345" y="112167"/>
                  </a:lnTo>
                  <a:lnTo>
                    <a:pt x="25167" y="112648"/>
                  </a:lnTo>
                  <a:lnTo>
                    <a:pt x="25277" y="113215"/>
                  </a:lnTo>
                  <a:lnTo>
                    <a:pt x="24746" y="113716"/>
                  </a:lnTo>
                  <a:lnTo>
                    <a:pt x="24070" y="114350"/>
                  </a:lnTo>
                  <a:lnTo>
                    <a:pt x="23047" y="115505"/>
                  </a:lnTo>
                  <a:lnTo>
                    <a:pt x="21894" y="115461"/>
                  </a:lnTo>
                  <a:lnTo>
                    <a:pt x="19572" y="115172"/>
                  </a:lnTo>
                  <a:lnTo>
                    <a:pt x="17644" y="114859"/>
                  </a:lnTo>
                  <a:lnTo>
                    <a:pt x="11148" y="114525"/>
                  </a:lnTo>
                  <a:lnTo>
                    <a:pt x="5888" y="114256"/>
                  </a:lnTo>
                  <a:lnTo>
                    <a:pt x="38" y="113956"/>
                  </a:lnTo>
                  <a:lnTo>
                    <a:pt x="36" y="107893"/>
                  </a:lnTo>
                  <a:lnTo>
                    <a:pt x="32" y="101817"/>
                  </a:lnTo>
                  <a:lnTo>
                    <a:pt x="30" y="95729"/>
                  </a:lnTo>
                  <a:lnTo>
                    <a:pt x="27" y="89628"/>
                  </a:lnTo>
                  <a:lnTo>
                    <a:pt x="25" y="83514"/>
                  </a:lnTo>
                  <a:lnTo>
                    <a:pt x="23" y="77387"/>
                  </a:lnTo>
                  <a:lnTo>
                    <a:pt x="21" y="71246"/>
                  </a:lnTo>
                  <a:lnTo>
                    <a:pt x="19" y="65093"/>
                  </a:lnTo>
                  <a:lnTo>
                    <a:pt x="17" y="58926"/>
                  </a:lnTo>
                  <a:lnTo>
                    <a:pt x="15" y="52745"/>
                  </a:lnTo>
                  <a:lnTo>
                    <a:pt x="12" y="46548"/>
                  </a:lnTo>
                  <a:lnTo>
                    <a:pt x="10" y="40339"/>
                  </a:lnTo>
                  <a:lnTo>
                    <a:pt x="8" y="34116"/>
                  </a:lnTo>
                  <a:lnTo>
                    <a:pt x="6" y="27879"/>
                  </a:lnTo>
                  <a:lnTo>
                    <a:pt x="1" y="21627"/>
                  </a:lnTo>
                  <a:lnTo>
                    <a:pt x="0" y="15361"/>
                  </a:lnTo>
                  <a:lnTo>
                    <a:pt x="2759" y="14582"/>
                  </a:lnTo>
                  <a:lnTo>
                    <a:pt x="6240" y="13600"/>
                  </a:lnTo>
                  <a:lnTo>
                    <a:pt x="9585" y="12657"/>
                  </a:lnTo>
                  <a:lnTo>
                    <a:pt x="13556" y="11536"/>
                  </a:lnTo>
                  <a:lnTo>
                    <a:pt x="18048" y="10269"/>
                  </a:lnTo>
                  <a:lnTo>
                    <a:pt x="21876" y="9186"/>
                  </a:lnTo>
                  <a:lnTo>
                    <a:pt x="26446" y="7895"/>
                  </a:lnTo>
                  <a:lnTo>
                    <a:pt x="29931" y="6909"/>
                  </a:lnTo>
                  <a:lnTo>
                    <a:pt x="33204" y="5983"/>
                  </a:lnTo>
                  <a:lnTo>
                    <a:pt x="37391" y="4886"/>
                  </a:lnTo>
                  <a:lnTo>
                    <a:pt x="43900" y="3177"/>
                  </a:lnTo>
                  <a:lnTo>
                    <a:pt x="47530" y="2225"/>
                  </a:lnTo>
                  <a:lnTo>
                    <a:pt x="51199" y="1262"/>
                  </a:lnTo>
                  <a:lnTo>
                    <a:pt x="54699" y="342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08" name="ee4p_VN_1_37365">
              <a:extLst>
                <a:ext uri="{FF2B5EF4-FFF2-40B4-BE49-F238E27FC236}">
                  <a16:creationId xmlns:a16="http://schemas.microsoft.com/office/drawing/2014/main" id="{26013698-094D-90AD-6568-CC02F6D56DCF}"/>
                </a:ext>
              </a:extLst>
            </p:cNvPr>
            <p:cNvSpPr>
              <a:spLocks noChangeAspect="1"/>
            </p:cNvSpPr>
            <p:nvPr>
              <p:custDataLst>
                <p:tags r:id="rId262"/>
              </p:custDataLst>
            </p:nvPr>
          </p:nvSpPr>
          <p:spPr>
            <a:xfrm>
              <a:off x="9350713" y="3997736"/>
              <a:ext cx="203202" cy="432618"/>
            </a:xfrm>
            <a:custGeom>
              <a:avLst/>
              <a:gdLst>
                <a:gd name="connsiteX0" fmla="*/ 100194 w 161805"/>
                <a:gd name="connsiteY0" fmla="*/ 331275 h 335353"/>
                <a:gd name="connsiteX1" fmla="*/ 99993 w 161805"/>
                <a:gd name="connsiteY1" fmla="*/ 332241 h 335353"/>
                <a:gd name="connsiteX2" fmla="*/ 100060 w 161805"/>
                <a:gd name="connsiteY2" fmla="*/ 332728 h 335353"/>
                <a:gd name="connsiteX3" fmla="*/ 99284 w 161805"/>
                <a:gd name="connsiteY3" fmla="*/ 333136 h 335353"/>
                <a:gd name="connsiteX4" fmla="*/ 98660 w 161805"/>
                <a:gd name="connsiteY4" fmla="*/ 333187 h 335353"/>
                <a:gd name="connsiteX5" fmla="*/ 98190 w 161805"/>
                <a:gd name="connsiteY5" fmla="*/ 332732 h 335353"/>
                <a:gd name="connsiteX6" fmla="*/ 42020 w 161805"/>
                <a:gd name="connsiteY6" fmla="*/ 294191 h 335353"/>
                <a:gd name="connsiteX7" fmla="*/ 42821 w 161805"/>
                <a:gd name="connsiteY7" fmla="*/ 295030 h 335353"/>
                <a:gd name="connsiteX8" fmla="*/ 43242 w 161805"/>
                <a:gd name="connsiteY8" fmla="*/ 296141 h 335353"/>
                <a:gd name="connsiteX9" fmla="*/ 43082 w 161805"/>
                <a:gd name="connsiteY9" fmla="*/ 298738 h 335353"/>
                <a:gd name="connsiteX10" fmla="*/ 42220 w 161805"/>
                <a:gd name="connsiteY10" fmla="*/ 301287 h 335353"/>
                <a:gd name="connsiteX11" fmla="*/ 42475 w 161805"/>
                <a:gd name="connsiteY11" fmla="*/ 302397 h 335353"/>
                <a:gd name="connsiteX12" fmla="*/ 41815 w 161805"/>
                <a:gd name="connsiteY12" fmla="*/ 303108 h 335353"/>
                <a:gd name="connsiteX13" fmla="*/ 40348 w 161805"/>
                <a:gd name="connsiteY13" fmla="*/ 298334 h 335353"/>
                <a:gd name="connsiteX14" fmla="*/ 38487 w 161805"/>
                <a:gd name="connsiteY14" fmla="*/ 296268 h 335353"/>
                <a:gd name="connsiteX15" fmla="*/ 38079 w 161805"/>
                <a:gd name="connsiteY15" fmla="*/ 295471 h 335353"/>
                <a:gd name="connsiteX16" fmla="*/ 39161 w 161805"/>
                <a:gd name="connsiteY16" fmla="*/ 295529 h 335353"/>
                <a:gd name="connsiteX17" fmla="*/ 41093 w 161805"/>
                <a:gd name="connsiteY17" fmla="*/ 294223 h 335353"/>
                <a:gd name="connsiteX18" fmla="*/ 111647 w 161805"/>
                <a:gd name="connsiteY18" fmla="*/ 293792 h 335353"/>
                <a:gd name="connsiteX19" fmla="*/ 112053 w 161805"/>
                <a:gd name="connsiteY19" fmla="*/ 293803 h 335353"/>
                <a:gd name="connsiteX20" fmla="*/ 111450 w 161805"/>
                <a:gd name="connsiteY20" fmla="*/ 294888 h 335353"/>
                <a:gd name="connsiteX21" fmla="*/ 109595 w 161805"/>
                <a:gd name="connsiteY21" fmla="*/ 296242 h 335353"/>
                <a:gd name="connsiteX22" fmla="*/ 109466 w 161805"/>
                <a:gd name="connsiteY22" fmla="*/ 295104 h 335353"/>
                <a:gd name="connsiteX23" fmla="*/ 111079 w 161805"/>
                <a:gd name="connsiteY23" fmla="*/ 294371 h 335353"/>
                <a:gd name="connsiteX24" fmla="*/ 106713 w 161805"/>
                <a:gd name="connsiteY24" fmla="*/ 57519 h 335353"/>
                <a:gd name="connsiteX25" fmla="*/ 108710 w 161805"/>
                <a:gd name="connsiteY25" fmla="*/ 58216 h 335353"/>
                <a:gd name="connsiteX26" fmla="*/ 109168 w 161805"/>
                <a:gd name="connsiteY26" fmla="*/ 58667 h 335353"/>
                <a:gd name="connsiteX27" fmla="*/ 109157 w 161805"/>
                <a:gd name="connsiteY27" fmla="*/ 59072 h 335353"/>
                <a:gd name="connsiteX28" fmla="*/ 108678 w 161805"/>
                <a:gd name="connsiteY28" fmla="*/ 59965 h 335353"/>
                <a:gd name="connsiteX29" fmla="*/ 108436 w 161805"/>
                <a:gd name="connsiteY29" fmla="*/ 60288 h 335353"/>
                <a:gd name="connsiteX30" fmla="*/ 107523 w 161805"/>
                <a:gd name="connsiteY30" fmla="*/ 60380 h 335353"/>
                <a:gd name="connsiteX31" fmla="*/ 105767 w 161805"/>
                <a:gd name="connsiteY31" fmla="*/ 58507 h 335353"/>
                <a:gd name="connsiteX32" fmla="*/ 103217 w 161805"/>
                <a:gd name="connsiteY32" fmla="*/ 56113 h 335353"/>
                <a:gd name="connsiteX33" fmla="*/ 104538 w 161805"/>
                <a:gd name="connsiteY33" fmla="*/ 57722 h 335353"/>
                <a:gd name="connsiteX34" fmla="*/ 104772 w 161805"/>
                <a:gd name="connsiteY34" fmla="*/ 58703 h 335353"/>
                <a:gd name="connsiteX35" fmla="*/ 104517 w 161805"/>
                <a:gd name="connsiteY35" fmla="*/ 59149 h 335353"/>
                <a:gd name="connsiteX36" fmla="*/ 103389 w 161805"/>
                <a:gd name="connsiteY36" fmla="*/ 58056 h 335353"/>
                <a:gd name="connsiteX37" fmla="*/ 102645 w 161805"/>
                <a:gd name="connsiteY37" fmla="*/ 57584 h 335353"/>
                <a:gd name="connsiteX38" fmla="*/ 119933 w 161805"/>
                <a:gd name="connsiteY38" fmla="*/ 53662 h 335353"/>
                <a:gd name="connsiteX39" fmla="*/ 119928 w 161805"/>
                <a:gd name="connsiteY39" fmla="*/ 54883 h 335353"/>
                <a:gd name="connsiteX40" fmla="*/ 119270 w 161805"/>
                <a:gd name="connsiteY40" fmla="*/ 56143 h 335353"/>
                <a:gd name="connsiteX41" fmla="*/ 118037 w 161805"/>
                <a:gd name="connsiteY41" fmla="*/ 56745 h 335353"/>
                <a:gd name="connsiteX42" fmla="*/ 116570 w 161805"/>
                <a:gd name="connsiteY42" fmla="*/ 56677 h 335353"/>
                <a:gd name="connsiteX43" fmla="*/ 118326 w 161805"/>
                <a:gd name="connsiteY43" fmla="*/ 55549 h 335353"/>
                <a:gd name="connsiteX44" fmla="*/ 119218 w 161805"/>
                <a:gd name="connsiteY44" fmla="*/ 54152 h 335353"/>
                <a:gd name="connsiteX45" fmla="*/ 118274 w 161805"/>
                <a:gd name="connsiteY45" fmla="*/ 48233 h 335353"/>
                <a:gd name="connsiteX46" fmla="*/ 120185 w 161805"/>
                <a:gd name="connsiteY46" fmla="*/ 49355 h 335353"/>
                <a:gd name="connsiteX47" fmla="*/ 121071 w 161805"/>
                <a:gd name="connsiteY47" fmla="*/ 49439 h 335353"/>
                <a:gd name="connsiteX48" fmla="*/ 117885 w 161805"/>
                <a:gd name="connsiteY48" fmla="*/ 52331 h 335353"/>
                <a:gd name="connsiteX49" fmla="*/ 116665 w 161805"/>
                <a:gd name="connsiteY49" fmla="*/ 52285 h 335353"/>
                <a:gd name="connsiteX50" fmla="*/ 117749 w 161805"/>
                <a:gd name="connsiteY50" fmla="*/ 49011 h 335353"/>
                <a:gd name="connsiteX51" fmla="*/ 69608 w 161805"/>
                <a:gd name="connsiteY51" fmla="*/ 0 h 335353"/>
                <a:gd name="connsiteX52" fmla="*/ 71268 w 161805"/>
                <a:gd name="connsiteY52" fmla="*/ 876 h 335353"/>
                <a:gd name="connsiteX53" fmla="*/ 73251 w 161805"/>
                <a:gd name="connsiteY53" fmla="*/ 2563 h 335353"/>
                <a:gd name="connsiteX54" fmla="*/ 74454 w 161805"/>
                <a:gd name="connsiteY54" fmla="*/ 3834 h 335353"/>
                <a:gd name="connsiteX55" fmla="*/ 75257 w 161805"/>
                <a:gd name="connsiteY55" fmla="*/ 5207 h 335353"/>
                <a:gd name="connsiteX56" fmla="*/ 75639 w 161805"/>
                <a:gd name="connsiteY56" fmla="*/ 6357 h 335353"/>
                <a:gd name="connsiteX57" fmla="*/ 78803 w 161805"/>
                <a:gd name="connsiteY57" fmla="*/ 7353 h 335353"/>
                <a:gd name="connsiteX58" fmla="*/ 80817 w 161805"/>
                <a:gd name="connsiteY58" fmla="*/ 8765 h 335353"/>
                <a:gd name="connsiteX59" fmla="*/ 82158 w 161805"/>
                <a:gd name="connsiteY59" fmla="*/ 9849 h 335353"/>
                <a:gd name="connsiteX60" fmla="*/ 83478 w 161805"/>
                <a:gd name="connsiteY60" fmla="*/ 9799 h 335353"/>
                <a:gd name="connsiteX61" fmla="*/ 84798 w 161805"/>
                <a:gd name="connsiteY61" fmla="*/ 9508 h 335353"/>
                <a:gd name="connsiteX62" fmla="*/ 85653 w 161805"/>
                <a:gd name="connsiteY62" fmla="*/ 8639 h 335353"/>
                <a:gd name="connsiteX63" fmla="*/ 87145 w 161805"/>
                <a:gd name="connsiteY63" fmla="*/ 8621 h 335353"/>
                <a:gd name="connsiteX64" fmla="*/ 88913 w 161805"/>
                <a:gd name="connsiteY64" fmla="*/ 8748 h 335353"/>
                <a:gd name="connsiteX65" fmla="*/ 89699 w 161805"/>
                <a:gd name="connsiteY65" fmla="*/ 9096 h 335353"/>
                <a:gd name="connsiteX66" fmla="*/ 91146 w 161805"/>
                <a:gd name="connsiteY66" fmla="*/ 11092 h 335353"/>
                <a:gd name="connsiteX67" fmla="*/ 91800 w 161805"/>
                <a:gd name="connsiteY67" fmla="*/ 11371 h 335353"/>
                <a:gd name="connsiteX68" fmla="*/ 93106 w 161805"/>
                <a:gd name="connsiteY68" fmla="*/ 11231 h 335353"/>
                <a:gd name="connsiteX69" fmla="*/ 95601 w 161805"/>
                <a:gd name="connsiteY69" fmla="*/ 10523 h 335353"/>
                <a:gd name="connsiteX70" fmla="*/ 97611 w 161805"/>
                <a:gd name="connsiteY70" fmla="*/ 10186 h 335353"/>
                <a:gd name="connsiteX71" fmla="*/ 99429 w 161805"/>
                <a:gd name="connsiteY71" fmla="*/ 10980 h 335353"/>
                <a:gd name="connsiteX72" fmla="*/ 102884 w 161805"/>
                <a:gd name="connsiteY72" fmla="*/ 13200 h 335353"/>
                <a:gd name="connsiteX73" fmla="*/ 101913 w 161805"/>
                <a:gd name="connsiteY73" fmla="*/ 14782 h 335353"/>
                <a:gd name="connsiteX74" fmla="*/ 101144 w 161805"/>
                <a:gd name="connsiteY74" fmla="*/ 16485 h 335353"/>
                <a:gd name="connsiteX75" fmla="*/ 99630 w 161805"/>
                <a:gd name="connsiteY75" fmla="*/ 17688 h 335353"/>
                <a:gd name="connsiteX76" fmla="*/ 98509 w 161805"/>
                <a:gd name="connsiteY76" fmla="*/ 17986 h 335353"/>
                <a:gd name="connsiteX77" fmla="*/ 97801 w 161805"/>
                <a:gd name="connsiteY77" fmla="*/ 19657 h 335353"/>
                <a:gd name="connsiteX78" fmla="*/ 97490 w 161805"/>
                <a:gd name="connsiteY78" fmla="*/ 22120 h 335353"/>
                <a:gd name="connsiteX79" fmla="*/ 97872 w 161805"/>
                <a:gd name="connsiteY79" fmla="*/ 23368 h 335353"/>
                <a:gd name="connsiteX80" fmla="*/ 98747 w 161805"/>
                <a:gd name="connsiteY80" fmla="*/ 23767 h 335353"/>
                <a:gd name="connsiteX81" fmla="*/ 99705 w 161805"/>
                <a:gd name="connsiteY81" fmla="*/ 24601 h 335353"/>
                <a:gd name="connsiteX82" fmla="*/ 100097 w 161805"/>
                <a:gd name="connsiteY82" fmla="*/ 25697 h 335353"/>
                <a:gd name="connsiteX83" fmla="*/ 100226 w 161805"/>
                <a:gd name="connsiteY83" fmla="*/ 28134 h 335353"/>
                <a:gd name="connsiteX84" fmla="*/ 100174 w 161805"/>
                <a:gd name="connsiteY84" fmla="*/ 30878 h 335353"/>
                <a:gd name="connsiteX85" fmla="*/ 100304 w 161805"/>
                <a:gd name="connsiteY85" fmla="*/ 31790 h 335353"/>
                <a:gd name="connsiteX86" fmla="*/ 101057 w 161805"/>
                <a:gd name="connsiteY86" fmla="*/ 31622 h 335353"/>
                <a:gd name="connsiteX87" fmla="*/ 101762 w 161805"/>
                <a:gd name="connsiteY87" fmla="*/ 31293 h 335353"/>
                <a:gd name="connsiteX88" fmla="*/ 103191 w 161805"/>
                <a:gd name="connsiteY88" fmla="*/ 31719 h 335353"/>
                <a:gd name="connsiteX89" fmla="*/ 104968 w 161805"/>
                <a:gd name="connsiteY89" fmla="*/ 32431 h 335353"/>
                <a:gd name="connsiteX90" fmla="*/ 106089 w 161805"/>
                <a:gd name="connsiteY90" fmla="*/ 33154 h 335353"/>
                <a:gd name="connsiteX91" fmla="*/ 107102 w 161805"/>
                <a:gd name="connsiteY91" fmla="*/ 33065 h 335353"/>
                <a:gd name="connsiteX92" fmla="*/ 107885 w 161805"/>
                <a:gd name="connsiteY92" fmla="*/ 33773 h 335353"/>
                <a:gd name="connsiteX93" fmla="*/ 108181 w 161805"/>
                <a:gd name="connsiteY93" fmla="*/ 35130 h 335353"/>
                <a:gd name="connsiteX94" fmla="*/ 109105 w 161805"/>
                <a:gd name="connsiteY94" fmla="*/ 36073 h 335353"/>
                <a:gd name="connsiteX95" fmla="*/ 111691 w 161805"/>
                <a:gd name="connsiteY95" fmla="*/ 37860 h 335353"/>
                <a:gd name="connsiteX96" fmla="*/ 113759 w 161805"/>
                <a:gd name="connsiteY96" fmla="*/ 38009 h 335353"/>
                <a:gd name="connsiteX97" fmla="*/ 115508 w 161805"/>
                <a:gd name="connsiteY97" fmla="*/ 40366 h 335353"/>
                <a:gd name="connsiteX98" fmla="*/ 117328 w 161805"/>
                <a:gd name="connsiteY98" fmla="*/ 39593 h 335353"/>
                <a:gd name="connsiteX99" fmla="*/ 118166 w 161805"/>
                <a:gd name="connsiteY99" fmla="*/ 40610 h 335353"/>
                <a:gd name="connsiteX100" fmla="*/ 121917 w 161805"/>
                <a:gd name="connsiteY100" fmla="*/ 40250 h 335353"/>
                <a:gd name="connsiteX101" fmla="*/ 124532 w 161805"/>
                <a:gd name="connsiteY101" fmla="*/ 39298 h 335353"/>
                <a:gd name="connsiteX102" fmla="*/ 125478 w 161805"/>
                <a:gd name="connsiteY102" fmla="*/ 39526 h 335353"/>
                <a:gd name="connsiteX103" fmla="*/ 127830 w 161805"/>
                <a:gd name="connsiteY103" fmla="*/ 41489 h 335353"/>
                <a:gd name="connsiteX104" fmla="*/ 129250 w 161805"/>
                <a:gd name="connsiteY104" fmla="*/ 42703 h 335353"/>
                <a:gd name="connsiteX105" fmla="*/ 128214 w 161805"/>
                <a:gd name="connsiteY105" fmla="*/ 42912 h 335353"/>
                <a:gd name="connsiteX106" fmla="*/ 125633 w 161805"/>
                <a:gd name="connsiteY106" fmla="*/ 42954 h 335353"/>
                <a:gd name="connsiteX107" fmla="*/ 123381 w 161805"/>
                <a:gd name="connsiteY107" fmla="*/ 45066 h 335353"/>
                <a:gd name="connsiteX108" fmla="*/ 121822 w 161805"/>
                <a:gd name="connsiteY108" fmla="*/ 45940 h 335353"/>
                <a:gd name="connsiteX109" fmla="*/ 119395 w 161805"/>
                <a:gd name="connsiteY109" fmla="*/ 46677 h 335353"/>
                <a:gd name="connsiteX110" fmla="*/ 116808 w 161805"/>
                <a:gd name="connsiteY110" fmla="*/ 47866 h 335353"/>
                <a:gd name="connsiteX111" fmla="*/ 116061 w 161805"/>
                <a:gd name="connsiteY111" fmla="*/ 49962 h 335353"/>
                <a:gd name="connsiteX112" fmla="*/ 115998 w 161805"/>
                <a:gd name="connsiteY112" fmla="*/ 51480 h 335353"/>
                <a:gd name="connsiteX113" fmla="*/ 115577 w 161805"/>
                <a:gd name="connsiteY113" fmla="*/ 53174 h 335353"/>
                <a:gd name="connsiteX114" fmla="*/ 111386 w 161805"/>
                <a:gd name="connsiteY114" fmla="*/ 55633 h 335353"/>
                <a:gd name="connsiteX115" fmla="*/ 110213 w 161805"/>
                <a:gd name="connsiteY115" fmla="*/ 55382 h 335353"/>
                <a:gd name="connsiteX116" fmla="*/ 109405 w 161805"/>
                <a:gd name="connsiteY116" fmla="*/ 54465 h 335353"/>
                <a:gd name="connsiteX117" fmla="*/ 108168 w 161805"/>
                <a:gd name="connsiteY117" fmla="*/ 54651 h 335353"/>
                <a:gd name="connsiteX118" fmla="*/ 107333 w 161805"/>
                <a:gd name="connsiteY118" fmla="*/ 55109 h 335353"/>
                <a:gd name="connsiteX119" fmla="*/ 106337 w 161805"/>
                <a:gd name="connsiteY119" fmla="*/ 55047 h 335353"/>
                <a:gd name="connsiteX120" fmla="*/ 105227 w 161805"/>
                <a:gd name="connsiteY120" fmla="*/ 55603 h 335353"/>
                <a:gd name="connsiteX121" fmla="*/ 103776 w 161805"/>
                <a:gd name="connsiteY121" fmla="*/ 55429 h 335353"/>
                <a:gd name="connsiteX122" fmla="*/ 102441 w 161805"/>
                <a:gd name="connsiteY122" fmla="*/ 54654 h 335353"/>
                <a:gd name="connsiteX123" fmla="*/ 101666 w 161805"/>
                <a:gd name="connsiteY123" fmla="*/ 54450 h 335353"/>
                <a:gd name="connsiteX124" fmla="*/ 100742 w 161805"/>
                <a:gd name="connsiteY124" fmla="*/ 54442 h 335353"/>
                <a:gd name="connsiteX125" fmla="*/ 100567 w 161805"/>
                <a:gd name="connsiteY125" fmla="*/ 55361 h 335353"/>
                <a:gd name="connsiteX126" fmla="*/ 101934 w 161805"/>
                <a:gd name="connsiteY126" fmla="*/ 58924 h 335353"/>
                <a:gd name="connsiteX127" fmla="*/ 102290 w 161805"/>
                <a:gd name="connsiteY127" fmla="*/ 60565 h 335353"/>
                <a:gd name="connsiteX128" fmla="*/ 97810 w 161805"/>
                <a:gd name="connsiteY128" fmla="*/ 65373 h 335353"/>
                <a:gd name="connsiteX129" fmla="*/ 98298 w 161805"/>
                <a:gd name="connsiteY129" fmla="*/ 68470 h 335353"/>
                <a:gd name="connsiteX130" fmla="*/ 97084 w 161805"/>
                <a:gd name="connsiteY130" fmla="*/ 70850 h 335353"/>
                <a:gd name="connsiteX131" fmla="*/ 94376 w 161805"/>
                <a:gd name="connsiteY131" fmla="*/ 72760 h 335353"/>
                <a:gd name="connsiteX132" fmla="*/ 89295 w 161805"/>
                <a:gd name="connsiteY132" fmla="*/ 77682 h 335353"/>
                <a:gd name="connsiteX133" fmla="*/ 87006 w 161805"/>
                <a:gd name="connsiteY133" fmla="*/ 77789 h 335353"/>
                <a:gd name="connsiteX134" fmla="*/ 85279 w 161805"/>
                <a:gd name="connsiteY134" fmla="*/ 78900 h 335353"/>
                <a:gd name="connsiteX135" fmla="*/ 81517 w 161805"/>
                <a:gd name="connsiteY135" fmla="*/ 86981 h 335353"/>
                <a:gd name="connsiteX136" fmla="*/ 81476 w 161805"/>
                <a:gd name="connsiteY136" fmla="*/ 89746 h 335353"/>
                <a:gd name="connsiteX137" fmla="*/ 80885 w 161805"/>
                <a:gd name="connsiteY137" fmla="*/ 91769 h 335353"/>
                <a:gd name="connsiteX138" fmla="*/ 81012 w 161805"/>
                <a:gd name="connsiteY138" fmla="*/ 93712 h 335353"/>
                <a:gd name="connsiteX139" fmla="*/ 79360 w 161805"/>
                <a:gd name="connsiteY139" fmla="*/ 97528 h 335353"/>
                <a:gd name="connsiteX140" fmla="*/ 77649 w 161805"/>
                <a:gd name="connsiteY140" fmla="*/ 99146 h 335353"/>
                <a:gd name="connsiteX141" fmla="*/ 77268 w 161805"/>
                <a:gd name="connsiteY141" fmla="*/ 101229 h 335353"/>
                <a:gd name="connsiteX142" fmla="*/ 79706 w 161805"/>
                <a:gd name="connsiteY142" fmla="*/ 105512 h 335353"/>
                <a:gd name="connsiteX143" fmla="*/ 79975 w 161805"/>
                <a:gd name="connsiteY143" fmla="*/ 106267 h 335353"/>
                <a:gd name="connsiteX144" fmla="*/ 81390 w 161805"/>
                <a:gd name="connsiteY144" fmla="*/ 108566 h 335353"/>
                <a:gd name="connsiteX145" fmla="*/ 82076 w 161805"/>
                <a:gd name="connsiteY145" fmla="*/ 110206 h 335353"/>
                <a:gd name="connsiteX146" fmla="*/ 83160 w 161805"/>
                <a:gd name="connsiteY146" fmla="*/ 111846 h 335353"/>
                <a:gd name="connsiteX147" fmla="*/ 87082 w 161805"/>
                <a:gd name="connsiteY147" fmla="*/ 116101 h 335353"/>
                <a:gd name="connsiteX148" fmla="*/ 88827 w 161805"/>
                <a:gd name="connsiteY148" fmla="*/ 117402 h 335353"/>
                <a:gd name="connsiteX149" fmla="*/ 90927 w 161805"/>
                <a:gd name="connsiteY149" fmla="*/ 118287 h 335353"/>
                <a:gd name="connsiteX150" fmla="*/ 94739 w 161805"/>
                <a:gd name="connsiteY150" fmla="*/ 122114 h 335353"/>
                <a:gd name="connsiteX151" fmla="*/ 96665 w 161805"/>
                <a:gd name="connsiteY151" fmla="*/ 124550 h 335353"/>
                <a:gd name="connsiteX152" fmla="*/ 95788 w 161805"/>
                <a:gd name="connsiteY152" fmla="*/ 126211 h 335353"/>
                <a:gd name="connsiteX153" fmla="*/ 96220 w 161805"/>
                <a:gd name="connsiteY153" fmla="*/ 129726 h 335353"/>
                <a:gd name="connsiteX154" fmla="*/ 93499 w 161805"/>
                <a:gd name="connsiteY154" fmla="*/ 128689 h 335353"/>
                <a:gd name="connsiteX155" fmla="*/ 93823 w 161805"/>
                <a:gd name="connsiteY155" fmla="*/ 129104 h 335353"/>
                <a:gd name="connsiteX156" fmla="*/ 97058 w 161805"/>
                <a:gd name="connsiteY156" fmla="*/ 131021 h 335353"/>
                <a:gd name="connsiteX157" fmla="*/ 101900 w 161805"/>
                <a:gd name="connsiteY157" fmla="*/ 137758 h 335353"/>
                <a:gd name="connsiteX158" fmla="*/ 106110 w 161805"/>
                <a:gd name="connsiteY158" fmla="*/ 141079 h 335353"/>
                <a:gd name="connsiteX159" fmla="*/ 110394 w 161805"/>
                <a:gd name="connsiteY159" fmla="*/ 144854 h 335353"/>
                <a:gd name="connsiteX160" fmla="*/ 111732 w 161805"/>
                <a:gd name="connsiteY160" fmla="*/ 148438 h 335353"/>
                <a:gd name="connsiteX161" fmla="*/ 115594 w 161805"/>
                <a:gd name="connsiteY161" fmla="*/ 150807 h 335353"/>
                <a:gd name="connsiteX162" fmla="*/ 119889 w 161805"/>
                <a:gd name="connsiteY162" fmla="*/ 154244 h 335353"/>
                <a:gd name="connsiteX163" fmla="*/ 119702 w 161805"/>
                <a:gd name="connsiteY163" fmla="*/ 155014 h 335353"/>
                <a:gd name="connsiteX164" fmla="*/ 120866 w 161805"/>
                <a:gd name="connsiteY164" fmla="*/ 155937 h 335353"/>
                <a:gd name="connsiteX165" fmla="*/ 123755 w 161805"/>
                <a:gd name="connsiteY165" fmla="*/ 157759 h 335353"/>
                <a:gd name="connsiteX166" fmla="*/ 125501 w 161805"/>
                <a:gd name="connsiteY166" fmla="*/ 159684 h 335353"/>
                <a:gd name="connsiteX167" fmla="*/ 126180 w 161805"/>
                <a:gd name="connsiteY167" fmla="*/ 161514 h 335353"/>
                <a:gd name="connsiteX168" fmla="*/ 127246 w 161805"/>
                <a:gd name="connsiteY168" fmla="*/ 161805 h 335353"/>
                <a:gd name="connsiteX169" fmla="*/ 128447 w 161805"/>
                <a:gd name="connsiteY169" fmla="*/ 161356 h 335353"/>
                <a:gd name="connsiteX170" fmla="*/ 129650 w 161805"/>
                <a:gd name="connsiteY170" fmla="*/ 161181 h 335353"/>
                <a:gd name="connsiteX171" fmla="*/ 130505 w 161805"/>
                <a:gd name="connsiteY171" fmla="*/ 161317 h 335353"/>
                <a:gd name="connsiteX172" fmla="*/ 131801 w 161805"/>
                <a:gd name="connsiteY172" fmla="*/ 163323 h 335353"/>
                <a:gd name="connsiteX173" fmla="*/ 133608 w 161805"/>
                <a:gd name="connsiteY173" fmla="*/ 165117 h 335353"/>
                <a:gd name="connsiteX174" fmla="*/ 134476 w 161805"/>
                <a:gd name="connsiteY174" fmla="*/ 166764 h 335353"/>
                <a:gd name="connsiteX175" fmla="*/ 135180 w 161805"/>
                <a:gd name="connsiteY175" fmla="*/ 166544 h 335353"/>
                <a:gd name="connsiteX176" fmla="*/ 135767 w 161805"/>
                <a:gd name="connsiteY176" fmla="*/ 166793 h 335353"/>
                <a:gd name="connsiteX177" fmla="*/ 135914 w 161805"/>
                <a:gd name="connsiteY177" fmla="*/ 168171 h 335353"/>
                <a:gd name="connsiteX178" fmla="*/ 136180 w 161805"/>
                <a:gd name="connsiteY178" fmla="*/ 169077 h 335353"/>
                <a:gd name="connsiteX179" fmla="*/ 138596 w 161805"/>
                <a:gd name="connsiteY179" fmla="*/ 171721 h 335353"/>
                <a:gd name="connsiteX180" fmla="*/ 139749 w 161805"/>
                <a:gd name="connsiteY180" fmla="*/ 174208 h 335353"/>
                <a:gd name="connsiteX181" fmla="*/ 142632 w 161805"/>
                <a:gd name="connsiteY181" fmla="*/ 178240 h 335353"/>
                <a:gd name="connsiteX182" fmla="*/ 144764 w 161805"/>
                <a:gd name="connsiteY182" fmla="*/ 180530 h 335353"/>
                <a:gd name="connsiteX183" fmla="*/ 146279 w 161805"/>
                <a:gd name="connsiteY183" fmla="*/ 181819 h 335353"/>
                <a:gd name="connsiteX184" fmla="*/ 148015 w 161805"/>
                <a:gd name="connsiteY184" fmla="*/ 182921 h 335353"/>
                <a:gd name="connsiteX185" fmla="*/ 149717 w 161805"/>
                <a:gd name="connsiteY185" fmla="*/ 187388 h 335353"/>
                <a:gd name="connsiteX186" fmla="*/ 150639 w 161805"/>
                <a:gd name="connsiteY186" fmla="*/ 191437 h 335353"/>
                <a:gd name="connsiteX187" fmla="*/ 152464 w 161805"/>
                <a:gd name="connsiteY187" fmla="*/ 195926 h 335353"/>
                <a:gd name="connsiteX188" fmla="*/ 153844 w 161805"/>
                <a:gd name="connsiteY188" fmla="*/ 197884 h 335353"/>
                <a:gd name="connsiteX189" fmla="*/ 153891 w 161805"/>
                <a:gd name="connsiteY189" fmla="*/ 201578 h 335353"/>
                <a:gd name="connsiteX190" fmla="*/ 155003 w 161805"/>
                <a:gd name="connsiteY190" fmla="*/ 205380 h 335353"/>
                <a:gd name="connsiteX191" fmla="*/ 156199 w 161805"/>
                <a:gd name="connsiteY191" fmla="*/ 207944 h 335353"/>
                <a:gd name="connsiteX192" fmla="*/ 156551 w 161805"/>
                <a:gd name="connsiteY192" fmla="*/ 210564 h 335353"/>
                <a:gd name="connsiteX193" fmla="*/ 156919 w 161805"/>
                <a:gd name="connsiteY193" fmla="*/ 211864 h 335353"/>
                <a:gd name="connsiteX194" fmla="*/ 157376 w 161805"/>
                <a:gd name="connsiteY194" fmla="*/ 212839 h 335353"/>
                <a:gd name="connsiteX195" fmla="*/ 158674 w 161805"/>
                <a:gd name="connsiteY195" fmla="*/ 217279 h 335353"/>
                <a:gd name="connsiteX196" fmla="*/ 158337 w 161805"/>
                <a:gd name="connsiteY196" fmla="*/ 219338 h 335353"/>
                <a:gd name="connsiteX197" fmla="*/ 157430 w 161805"/>
                <a:gd name="connsiteY197" fmla="*/ 217317 h 335353"/>
                <a:gd name="connsiteX198" fmla="*/ 157540 w 161805"/>
                <a:gd name="connsiteY198" fmla="*/ 223268 h 335353"/>
                <a:gd name="connsiteX199" fmla="*/ 158337 w 161805"/>
                <a:gd name="connsiteY199" fmla="*/ 226414 h 335353"/>
                <a:gd name="connsiteX200" fmla="*/ 157978 w 161805"/>
                <a:gd name="connsiteY200" fmla="*/ 230272 h 335353"/>
                <a:gd name="connsiteX201" fmla="*/ 158812 w 161805"/>
                <a:gd name="connsiteY201" fmla="*/ 231625 h 335353"/>
                <a:gd name="connsiteX202" fmla="*/ 160298 w 161805"/>
                <a:gd name="connsiteY202" fmla="*/ 235981 h 335353"/>
                <a:gd name="connsiteX203" fmla="*/ 161341 w 161805"/>
                <a:gd name="connsiteY203" fmla="*/ 237544 h 335353"/>
                <a:gd name="connsiteX204" fmla="*/ 161255 w 161805"/>
                <a:gd name="connsiteY204" fmla="*/ 242868 h 335353"/>
                <a:gd name="connsiteX205" fmla="*/ 161805 w 161805"/>
                <a:gd name="connsiteY205" fmla="*/ 245551 h 335353"/>
                <a:gd name="connsiteX206" fmla="*/ 160401 w 161805"/>
                <a:gd name="connsiteY206" fmla="*/ 243953 h 335353"/>
                <a:gd name="connsiteX207" fmla="*/ 159387 w 161805"/>
                <a:gd name="connsiteY207" fmla="*/ 242130 h 335353"/>
                <a:gd name="connsiteX208" fmla="*/ 158026 w 161805"/>
                <a:gd name="connsiteY208" fmla="*/ 243093 h 335353"/>
                <a:gd name="connsiteX209" fmla="*/ 156809 w 161805"/>
                <a:gd name="connsiteY209" fmla="*/ 244514 h 335353"/>
                <a:gd name="connsiteX210" fmla="*/ 158704 w 161805"/>
                <a:gd name="connsiteY210" fmla="*/ 250231 h 335353"/>
                <a:gd name="connsiteX211" fmla="*/ 156540 w 161805"/>
                <a:gd name="connsiteY211" fmla="*/ 249688 h 335353"/>
                <a:gd name="connsiteX212" fmla="*/ 156737 w 161805"/>
                <a:gd name="connsiteY212" fmla="*/ 257373 h 335353"/>
                <a:gd name="connsiteX213" fmla="*/ 157633 w 161805"/>
                <a:gd name="connsiteY213" fmla="*/ 259167 h 335353"/>
                <a:gd name="connsiteX214" fmla="*/ 157698 w 161805"/>
                <a:gd name="connsiteY214" fmla="*/ 260027 h 335353"/>
                <a:gd name="connsiteX215" fmla="*/ 157435 w 161805"/>
                <a:gd name="connsiteY215" fmla="*/ 261055 h 335353"/>
                <a:gd name="connsiteX216" fmla="*/ 156837 w 161805"/>
                <a:gd name="connsiteY216" fmla="*/ 259931 h 335353"/>
                <a:gd name="connsiteX217" fmla="*/ 156711 w 161805"/>
                <a:gd name="connsiteY217" fmla="*/ 258773 h 335353"/>
                <a:gd name="connsiteX218" fmla="*/ 156370 w 161805"/>
                <a:gd name="connsiteY218" fmla="*/ 259029 h 335353"/>
                <a:gd name="connsiteX219" fmla="*/ 156387 w 161805"/>
                <a:gd name="connsiteY219" fmla="*/ 259625 h 335353"/>
                <a:gd name="connsiteX220" fmla="*/ 155666 w 161805"/>
                <a:gd name="connsiteY220" fmla="*/ 260981 h 335353"/>
                <a:gd name="connsiteX221" fmla="*/ 155450 w 161805"/>
                <a:gd name="connsiteY221" fmla="*/ 262660 h 335353"/>
                <a:gd name="connsiteX222" fmla="*/ 156227 w 161805"/>
                <a:gd name="connsiteY222" fmla="*/ 264087 h 335353"/>
                <a:gd name="connsiteX223" fmla="*/ 156359 w 161805"/>
                <a:gd name="connsiteY223" fmla="*/ 265176 h 335353"/>
                <a:gd name="connsiteX224" fmla="*/ 155798 w 161805"/>
                <a:gd name="connsiteY224" fmla="*/ 266523 h 335353"/>
                <a:gd name="connsiteX225" fmla="*/ 154897 w 161805"/>
                <a:gd name="connsiteY225" fmla="*/ 267950 h 335353"/>
                <a:gd name="connsiteX226" fmla="*/ 152844 w 161805"/>
                <a:gd name="connsiteY226" fmla="*/ 268138 h 335353"/>
                <a:gd name="connsiteX227" fmla="*/ 152375 w 161805"/>
                <a:gd name="connsiteY227" fmla="*/ 270923 h 335353"/>
                <a:gd name="connsiteX228" fmla="*/ 151673 w 161805"/>
                <a:gd name="connsiteY228" fmla="*/ 273879 h 335353"/>
                <a:gd name="connsiteX229" fmla="*/ 148005 w 161805"/>
                <a:gd name="connsiteY229" fmla="*/ 274348 h 335353"/>
                <a:gd name="connsiteX230" fmla="*/ 145340 w 161805"/>
                <a:gd name="connsiteY230" fmla="*/ 276949 h 335353"/>
                <a:gd name="connsiteX231" fmla="*/ 142044 w 161805"/>
                <a:gd name="connsiteY231" fmla="*/ 277918 h 335353"/>
                <a:gd name="connsiteX232" fmla="*/ 139110 w 161805"/>
                <a:gd name="connsiteY232" fmla="*/ 280497 h 335353"/>
                <a:gd name="connsiteX233" fmla="*/ 135863 w 161805"/>
                <a:gd name="connsiteY233" fmla="*/ 282878 h 335353"/>
                <a:gd name="connsiteX234" fmla="*/ 133750 w 161805"/>
                <a:gd name="connsiteY234" fmla="*/ 283194 h 335353"/>
                <a:gd name="connsiteX235" fmla="*/ 131954 w 161805"/>
                <a:gd name="connsiteY235" fmla="*/ 283707 h 335353"/>
                <a:gd name="connsiteX236" fmla="*/ 129886 w 161805"/>
                <a:gd name="connsiteY236" fmla="*/ 287663 h 335353"/>
                <a:gd name="connsiteX237" fmla="*/ 126430 w 161805"/>
                <a:gd name="connsiteY237" fmla="*/ 288116 h 335353"/>
                <a:gd name="connsiteX238" fmla="*/ 120224 w 161805"/>
                <a:gd name="connsiteY238" fmla="*/ 291350 h 335353"/>
                <a:gd name="connsiteX239" fmla="*/ 118143 w 161805"/>
                <a:gd name="connsiteY239" fmla="*/ 292906 h 335353"/>
                <a:gd name="connsiteX240" fmla="*/ 116244 w 161805"/>
                <a:gd name="connsiteY240" fmla="*/ 293514 h 335353"/>
                <a:gd name="connsiteX241" fmla="*/ 113525 w 161805"/>
                <a:gd name="connsiteY241" fmla="*/ 294861 h 335353"/>
                <a:gd name="connsiteX242" fmla="*/ 112941 w 161805"/>
                <a:gd name="connsiteY242" fmla="*/ 294381 h 335353"/>
                <a:gd name="connsiteX243" fmla="*/ 112035 w 161805"/>
                <a:gd name="connsiteY243" fmla="*/ 293225 h 335353"/>
                <a:gd name="connsiteX244" fmla="*/ 109684 w 161805"/>
                <a:gd name="connsiteY244" fmla="*/ 292627 h 335353"/>
                <a:gd name="connsiteX245" fmla="*/ 108533 w 161805"/>
                <a:gd name="connsiteY245" fmla="*/ 291331 h 335353"/>
                <a:gd name="connsiteX246" fmla="*/ 108201 w 161805"/>
                <a:gd name="connsiteY246" fmla="*/ 289662 h 335353"/>
                <a:gd name="connsiteX247" fmla="*/ 107890 w 161805"/>
                <a:gd name="connsiteY247" fmla="*/ 289001 h 335353"/>
                <a:gd name="connsiteX248" fmla="*/ 107382 w 161805"/>
                <a:gd name="connsiteY248" fmla="*/ 289945 h 335353"/>
                <a:gd name="connsiteX249" fmla="*/ 106993 w 161805"/>
                <a:gd name="connsiteY249" fmla="*/ 293915 h 335353"/>
                <a:gd name="connsiteX250" fmla="*/ 106582 w 161805"/>
                <a:gd name="connsiteY250" fmla="*/ 294817 h 335353"/>
                <a:gd name="connsiteX251" fmla="*/ 105577 w 161805"/>
                <a:gd name="connsiteY251" fmla="*/ 295209 h 335353"/>
                <a:gd name="connsiteX252" fmla="*/ 103601 w 161805"/>
                <a:gd name="connsiteY252" fmla="*/ 294080 h 335353"/>
                <a:gd name="connsiteX253" fmla="*/ 101714 w 161805"/>
                <a:gd name="connsiteY253" fmla="*/ 291793 h 335353"/>
                <a:gd name="connsiteX254" fmla="*/ 99028 w 161805"/>
                <a:gd name="connsiteY254" fmla="*/ 293373 h 335353"/>
                <a:gd name="connsiteX255" fmla="*/ 99850 w 161805"/>
                <a:gd name="connsiteY255" fmla="*/ 293568 h 335353"/>
                <a:gd name="connsiteX256" fmla="*/ 101075 w 161805"/>
                <a:gd name="connsiteY256" fmla="*/ 293438 h 335353"/>
                <a:gd name="connsiteX257" fmla="*/ 102021 w 161805"/>
                <a:gd name="connsiteY257" fmla="*/ 293833 h 335353"/>
                <a:gd name="connsiteX258" fmla="*/ 102824 w 161805"/>
                <a:gd name="connsiteY258" fmla="*/ 295358 h 335353"/>
                <a:gd name="connsiteX259" fmla="*/ 102796 w 161805"/>
                <a:gd name="connsiteY259" fmla="*/ 296189 h 335353"/>
                <a:gd name="connsiteX260" fmla="*/ 102379 w 161805"/>
                <a:gd name="connsiteY260" fmla="*/ 297153 h 335353"/>
                <a:gd name="connsiteX261" fmla="*/ 99861 w 161805"/>
                <a:gd name="connsiteY261" fmla="*/ 297307 h 335353"/>
                <a:gd name="connsiteX262" fmla="*/ 96503 w 161805"/>
                <a:gd name="connsiteY262" fmla="*/ 296968 h 335353"/>
                <a:gd name="connsiteX263" fmla="*/ 95892 w 161805"/>
                <a:gd name="connsiteY263" fmla="*/ 297098 h 335353"/>
                <a:gd name="connsiteX264" fmla="*/ 98952 w 161805"/>
                <a:gd name="connsiteY264" fmla="*/ 298584 h 335353"/>
                <a:gd name="connsiteX265" fmla="*/ 101751 w 161805"/>
                <a:gd name="connsiteY265" fmla="*/ 299443 h 335353"/>
                <a:gd name="connsiteX266" fmla="*/ 102994 w 161805"/>
                <a:gd name="connsiteY266" fmla="*/ 300384 h 335353"/>
                <a:gd name="connsiteX267" fmla="*/ 102994 w 161805"/>
                <a:gd name="connsiteY267" fmla="*/ 301159 h 335353"/>
                <a:gd name="connsiteX268" fmla="*/ 101422 w 161805"/>
                <a:gd name="connsiteY268" fmla="*/ 302416 h 335353"/>
                <a:gd name="connsiteX269" fmla="*/ 100207 w 161805"/>
                <a:gd name="connsiteY269" fmla="*/ 303952 h 335353"/>
                <a:gd name="connsiteX270" fmla="*/ 100183 w 161805"/>
                <a:gd name="connsiteY270" fmla="*/ 304905 h 335353"/>
                <a:gd name="connsiteX271" fmla="*/ 100155 w 161805"/>
                <a:gd name="connsiteY271" fmla="*/ 305969 h 335353"/>
                <a:gd name="connsiteX272" fmla="*/ 98801 w 161805"/>
                <a:gd name="connsiteY272" fmla="*/ 306889 h 335353"/>
                <a:gd name="connsiteX273" fmla="*/ 97954 w 161805"/>
                <a:gd name="connsiteY273" fmla="*/ 306706 h 335353"/>
                <a:gd name="connsiteX274" fmla="*/ 95562 w 161805"/>
                <a:gd name="connsiteY274" fmla="*/ 305108 h 335353"/>
                <a:gd name="connsiteX275" fmla="*/ 88648 w 161805"/>
                <a:gd name="connsiteY275" fmla="*/ 298809 h 335353"/>
                <a:gd name="connsiteX276" fmla="*/ 89690 w 161805"/>
                <a:gd name="connsiteY276" fmla="*/ 300587 h 335353"/>
                <a:gd name="connsiteX277" fmla="*/ 96851 w 161805"/>
                <a:gd name="connsiteY277" fmla="*/ 307751 h 335353"/>
                <a:gd name="connsiteX278" fmla="*/ 98110 w 161805"/>
                <a:gd name="connsiteY278" fmla="*/ 310109 h 335353"/>
                <a:gd name="connsiteX279" fmla="*/ 98289 w 161805"/>
                <a:gd name="connsiteY279" fmla="*/ 311771 h 335353"/>
                <a:gd name="connsiteX280" fmla="*/ 97553 w 161805"/>
                <a:gd name="connsiteY280" fmla="*/ 312609 h 335353"/>
                <a:gd name="connsiteX281" fmla="*/ 96335 w 161805"/>
                <a:gd name="connsiteY281" fmla="*/ 313594 h 335353"/>
                <a:gd name="connsiteX282" fmla="*/ 93990 w 161805"/>
                <a:gd name="connsiteY282" fmla="*/ 313668 h 335353"/>
                <a:gd name="connsiteX283" fmla="*/ 90141 w 161805"/>
                <a:gd name="connsiteY283" fmla="*/ 311005 h 335353"/>
                <a:gd name="connsiteX284" fmla="*/ 83988 w 161805"/>
                <a:gd name="connsiteY284" fmla="*/ 304615 h 335353"/>
                <a:gd name="connsiteX285" fmla="*/ 81893 w 161805"/>
                <a:gd name="connsiteY285" fmla="*/ 303744 h 335353"/>
                <a:gd name="connsiteX286" fmla="*/ 88118 w 161805"/>
                <a:gd name="connsiteY286" fmla="*/ 311046 h 335353"/>
                <a:gd name="connsiteX287" fmla="*/ 89138 w 161805"/>
                <a:gd name="connsiteY287" fmla="*/ 312819 h 335353"/>
                <a:gd name="connsiteX288" fmla="*/ 90189 w 161805"/>
                <a:gd name="connsiteY288" fmla="*/ 314867 h 335353"/>
                <a:gd name="connsiteX289" fmla="*/ 89889 w 161805"/>
                <a:gd name="connsiteY289" fmla="*/ 316084 h 335353"/>
                <a:gd name="connsiteX290" fmla="*/ 89353 w 161805"/>
                <a:gd name="connsiteY290" fmla="*/ 317223 h 335353"/>
                <a:gd name="connsiteX291" fmla="*/ 74596 w 161805"/>
                <a:gd name="connsiteY291" fmla="*/ 323991 h 335353"/>
                <a:gd name="connsiteX292" fmla="*/ 72394 w 161805"/>
                <a:gd name="connsiteY292" fmla="*/ 326906 h 335353"/>
                <a:gd name="connsiteX293" fmla="*/ 70645 w 161805"/>
                <a:gd name="connsiteY293" fmla="*/ 330500 h 335353"/>
                <a:gd name="connsiteX294" fmla="*/ 67747 w 161805"/>
                <a:gd name="connsiteY294" fmla="*/ 332501 h 335353"/>
                <a:gd name="connsiteX295" fmla="*/ 66048 w 161805"/>
                <a:gd name="connsiteY295" fmla="*/ 334330 h 335353"/>
                <a:gd name="connsiteX296" fmla="*/ 61128 w 161805"/>
                <a:gd name="connsiteY296" fmla="*/ 335353 h 335353"/>
                <a:gd name="connsiteX297" fmla="*/ 58442 w 161805"/>
                <a:gd name="connsiteY297" fmla="*/ 335033 h 335353"/>
                <a:gd name="connsiteX298" fmla="*/ 61225 w 161805"/>
                <a:gd name="connsiteY298" fmla="*/ 331714 h 335353"/>
                <a:gd name="connsiteX299" fmla="*/ 59507 w 161805"/>
                <a:gd name="connsiteY299" fmla="*/ 330484 h 335353"/>
                <a:gd name="connsiteX300" fmla="*/ 59420 w 161805"/>
                <a:gd name="connsiteY300" fmla="*/ 321933 h 335353"/>
                <a:gd name="connsiteX301" fmla="*/ 60096 w 161805"/>
                <a:gd name="connsiteY301" fmla="*/ 312551 h 335353"/>
                <a:gd name="connsiteX302" fmla="*/ 61379 w 161805"/>
                <a:gd name="connsiteY302" fmla="*/ 307862 h 335353"/>
                <a:gd name="connsiteX303" fmla="*/ 63234 w 161805"/>
                <a:gd name="connsiteY303" fmla="*/ 306693 h 335353"/>
                <a:gd name="connsiteX304" fmla="*/ 65565 w 161805"/>
                <a:gd name="connsiteY304" fmla="*/ 305971 h 335353"/>
                <a:gd name="connsiteX305" fmla="*/ 65617 w 161805"/>
                <a:gd name="connsiteY305" fmla="*/ 304982 h 335353"/>
                <a:gd name="connsiteX306" fmla="*/ 65386 w 161805"/>
                <a:gd name="connsiteY306" fmla="*/ 303856 h 335353"/>
                <a:gd name="connsiteX307" fmla="*/ 64134 w 161805"/>
                <a:gd name="connsiteY307" fmla="*/ 302254 h 335353"/>
                <a:gd name="connsiteX308" fmla="*/ 62762 w 161805"/>
                <a:gd name="connsiteY308" fmla="*/ 301514 h 335353"/>
                <a:gd name="connsiteX309" fmla="*/ 60716 w 161805"/>
                <a:gd name="connsiteY309" fmla="*/ 301197 h 335353"/>
                <a:gd name="connsiteX310" fmla="*/ 59139 w 161805"/>
                <a:gd name="connsiteY310" fmla="*/ 299232 h 335353"/>
                <a:gd name="connsiteX311" fmla="*/ 57939 w 161805"/>
                <a:gd name="connsiteY311" fmla="*/ 299313 h 335353"/>
                <a:gd name="connsiteX312" fmla="*/ 56078 w 161805"/>
                <a:gd name="connsiteY312" fmla="*/ 299965 h 335353"/>
                <a:gd name="connsiteX313" fmla="*/ 54954 w 161805"/>
                <a:gd name="connsiteY313" fmla="*/ 299122 h 335353"/>
                <a:gd name="connsiteX314" fmla="*/ 54542 w 161805"/>
                <a:gd name="connsiteY314" fmla="*/ 297799 h 335353"/>
                <a:gd name="connsiteX315" fmla="*/ 52819 w 161805"/>
                <a:gd name="connsiteY315" fmla="*/ 296166 h 335353"/>
                <a:gd name="connsiteX316" fmla="*/ 50835 w 161805"/>
                <a:gd name="connsiteY316" fmla="*/ 294574 h 335353"/>
                <a:gd name="connsiteX317" fmla="*/ 51733 w 161805"/>
                <a:gd name="connsiteY317" fmla="*/ 294325 h 335353"/>
                <a:gd name="connsiteX318" fmla="*/ 52773 w 161805"/>
                <a:gd name="connsiteY318" fmla="*/ 293410 h 335353"/>
                <a:gd name="connsiteX319" fmla="*/ 53883 w 161805"/>
                <a:gd name="connsiteY319" fmla="*/ 292233 h 335353"/>
                <a:gd name="connsiteX320" fmla="*/ 56656 w 161805"/>
                <a:gd name="connsiteY320" fmla="*/ 292070 h 335353"/>
                <a:gd name="connsiteX321" fmla="*/ 59437 w 161805"/>
                <a:gd name="connsiteY321" fmla="*/ 292125 h 335353"/>
                <a:gd name="connsiteX322" fmla="*/ 60215 w 161805"/>
                <a:gd name="connsiteY322" fmla="*/ 291819 h 335353"/>
                <a:gd name="connsiteX323" fmla="*/ 61335 w 161805"/>
                <a:gd name="connsiteY323" fmla="*/ 290573 h 335353"/>
                <a:gd name="connsiteX324" fmla="*/ 63162 w 161805"/>
                <a:gd name="connsiteY324" fmla="*/ 288970 h 335353"/>
                <a:gd name="connsiteX325" fmla="*/ 64545 w 161805"/>
                <a:gd name="connsiteY325" fmla="*/ 288082 h 335353"/>
                <a:gd name="connsiteX326" fmla="*/ 64870 w 161805"/>
                <a:gd name="connsiteY326" fmla="*/ 287363 h 335353"/>
                <a:gd name="connsiteX327" fmla="*/ 64317 w 161805"/>
                <a:gd name="connsiteY327" fmla="*/ 285672 h 335353"/>
                <a:gd name="connsiteX328" fmla="*/ 64011 w 161805"/>
                <a:gd name="connsiteY328" fmla="*/ 283939 h 335353"/>
                <a:gd name="connsiteX329" fmla="*/ 64529 w 161805"/>
                <a:gd name="connsiteY329" fmla="*/ 283391 h 335353"/>
                <a:gd name="connsiteX330" fmla="*/ 67045 w 161805"/>
                <a:gd name="connsiteY330" fmla="*/ 283700 h 335353"/>
                <a:gd name="connsiteX331" fmla="*/ 69805 w 161805"/>
                <a:gd name="connsiteY331" fmla="*/ 284507 h 335353"/>
                <a:gd name="connsiteX332" fmla="*/ 70476 w 161805"/>
                <a:gd name="connsiteY332" fmla="*/ 284872 h 335353"/>
                <a:gd name="connsiteX333" fmla="*/ 72065 w 161805"/>
                <a:gd name="connsiteY333" fmla="*/ 282749 h 335353"/>
                <a:gd name="connsiteX334" fmla="*/ 72491 w 161805"/>
                <a:gd name="connsiteY334" fmla="*/ 282491 h 335353"/>
                <a:gd name="connsiteX335" fmla="*/ 73529 w 161805"/>
                <a:gd name="connsiteY335" fmla="*/ 282495 h 335353"/>
                <a:gd name="connsiteX336" fmla="*/ 76268 w 161805"/>
                <a:gd name="connsiteY336" fmla="*/ 282104 h 335353"/>
                <a:gd name="connsiteX337" fmla="*/ 78948 w 161805"/>
                <a:gd name="connsiteY337" fmla="*/ 281541 h 335353"/>
                <a:gd name="connsiteX338" fmla="*/ 80215 w 161805"/>
                <a:gd name="connsiteY338" fmla="*/ 281632 h 335353"/>
                <a:gd name="connsiteX339" fmla="*/ 81446 w 161805"/>
                <a:gd name="connsiteY339" fmla="*/ 283062 h 335353"/>
                <a:gd name="connsiteX340" fmla="*/ 82387 w 161805"/>
                <a:gd name="connsiteY340" fmla="*/ 284460 h 335353"/>
                <a:gd name="connsiteX341" fmla="*/ 82871 w 161805"/>
                <a:gd name="connsiteY341" fmla="*/ 284574 h 335353"/>
                <a:gd name="connsiteX342" fmla="*/ 84264 w 161805"/>
                <a:gd name="connsiteY342" fmla="*/ 283978 h 335353"/>
                <a:gd name="connsiteX343" fmla="*/ 85412 w 161805"/>
                <a:gd name="connsiteY343" fmla="*/ 284724 h 335353"/>
                <a:gd name="connsiteX344" fmla="*/ 87816 w 161805"/>
                <a:gd name="connsiteY344" fmla="*/ 285943 h 335353"/>
                <a:gd name="connsiteX345" fmla="*/ 89256 w 161805"/>
                <a:gd name="connsiteY345" fmla="*/ 285996 h 335353"/>
                <a:gd name="connsiteX346" fmla="*/ 88539 w 161805"/>
                <a:gd name="connsiteY346" fmla="*/ 283154 h 335353"/>
                <a:gd name="connsiteX347" fmla="*/ 89345 w 161805"/>
                <a:gd name="connsiteY347" fmla="*/ 281133 h 335353"/>
                <a:gd name="connsiteX348" fmla="*/ 89190 w 161805"/>
                <a:gd name="connsiteY348" fmla="*/ 280578 h 335353"/>
                <a:gd name="connsiteX349" fmla="*/ 87831 w 161805"/>
                <a:gd name="connsiteY349" fmla="*/ 279648 h 335353"/>
                <a:gd name="connsiteX350" fmla="*/ 83234 w 161805"/>
                <a:gd name="connsiteY350" fmla="*/ 275928 h 335353"/>
                <a:gd name="connsiteX351" fmla="*/ 82448 w 161805"/>
                <a:gd name="connsiteY351" fmla="*/ 274821 h 335353"/>
                <a:gd name="connsiteX352" fmla="*/ 82556 w 161805"/>
                <a:gd name="connsiteY352" fmla="*/ 273072 h 335353"/>
                <a:gd name="connsiteX353" fmla="*/ 82402 w 161805"/>
                <a:gd name="connsiteY353" fmla="*/ 270504 h 335353"/>
                <a:gd name="connsiteX354" fmla="*/ 81990 w 161805"/>
                <a:gd name="connsiteY354" fmla="*/ 268890 h 335353"/>
                <a:gd name="connsiteX355" fmla="*/ 82059 w 161805"/>
                <a:gd name="connsiteY355" fmla="*/ 267944 h 335353"/>
                <a:gd name="connsiteX356" fmla="*/ 82347 w 161805"/>
                <a:gd name="connsiteY356" fmla="*/ 267189 h 335353"/>
                <a:gd name="connsiteX357" fmla="*/ 83195 w 161805"/>
                <a:gd name="connsiteY357" fmla="*/ 266890 h 335353"/>
                <a:gd name="connsiteX358" fmla="*/ 84007 w 161805"/>
                <a:gd name="connsiteY358" fmla="*/ 266788 h 335353"/>
                <a:gd name="connsiteX359" fmla="*/ 84663 w 161805"/>
                <a:gd name="connsiteY359" fmla="*/ 266126 h 335353"/>
                <a:gd name="connsiteX360" fmla="*/ 85765 w 161805"/>
                <a:gd name="connsiteY360" fmla="*/ 264433 h 335353"/>
                <a:gd name="connsiteX361" fmla="*/ 87907 w 161805"/>
                <a:gd name="connsiteY361" fmla="*/ 264584 h 335353"/>
                <a:gd name="connsiteX362" fmla="*/ 90919 w 161805"/>
                <a:gd name="connsiteY362" fmla="*/ 265546 h 335353"/>
                <a:gd name="connsiteX363" fmla="*/ 93145 w 161805"/>
                <a:gd name="connsiteY363" fmla="*/ 266140 h 335353"/>
                <a:gd name="connsiteX364" fmla="*/ 94458 w 161805"/>
                <a:gd name="connsiteY364" fmla="*/ 266024 h 335353"/>
                <a:gd name="connsiteX365" fmla="*/ 94752 w 161805"/>
                <a:gd name="connsiteY365" fmla="*/ 265783 h 335353"/>
                <a:gd name="connsiteX366" fmla="*/ 94713 w 161805"/>
                <a:gd name="connsiteY366" fmla="*/ 264873 h 335353"/>
                <a:gd name="connsiteX367" fmla="*/ 94868 w 161805"/>
                <a:gd name="connsiteY367" fmla="*/ 260987 h 335353"/>
                <a:gd name="connsiteX368" fmla="*/ 94782 w 161805"/>
                <a:gd name="connsiteY368" fmla="*/ 260164 h 335353"/>
                <a:gd name="connsiteX369" fmla="*/ 96678 w 161805"/>
                <a:gd name="connsiteY369" fmla="*/ 259781 h 335353"/>
                <a:gd name="connsiteX370" fmla="*/ 99583 w 161805"/>
                <a:gd name="connsiteY370" fmla="*/ 259698 h 335353"/>
                <a:gd name="connsiteX371" fmla="*/ 101111 w 161805"/>
                <a:gd name="connsiteY371" fmla="*/ 259472 h 335353"/>
                <a:gd name="connsiteX372" fmla="*/ 102538 w 161805"/>
                <a:gd name="connsiteY372" fmla="*/ 257834 h 335353"/>
                <a:gd name="connsiteX373" fmla="*/ 106209 w 161805"/>
                <a:gd name="connsiteY373" fmla="*/ 257269 h 335353"/>
                <a:gd name="connsiteX374" fmla="*/ 108864 w 161805"/>
                <a:gd name="connsiteY374" fmla="*/ 255063 h 335353"/>
                <a:gd name="connsiteX375" fmla="*/ 111258 w 161805"/>
                <a:gd name="connsiteY375" fmla="*/ 252792 h 335353"/>
                <a:gd name="connsiteX376" fmla="*/ 112433 w 161805"/>
                <a:gd name="connsiteY376" fmla="*/ 252188 h 335353"/>
                <a:gd name="connsiteX377" fmla="*/ 113928 w 161805"/>
                <a:gd name="connsiteY377" fmla="*/ 251793 h 335353"/>
                <a:gd name="connsiteX378" fmla="*/ 115041 w 161805"/>
                <a:gd name="connsiteY378" fmla="*/ 251850 h 335353"/>
                <a:gd name="connsiteX379" fmla="*/ 116441 w 161805"/>
                <a:gd name="connsiteY379" fmla="*/ 253164 h 335353"/>
                <a:gd name="connsiteX380" fmla="*/ 117605 w 161805"/>
                <a:gd name="connsiteY380" fmla="*/ 252374 h 335353"/>
                <a:gd name="connsiteX381" fmla="*/ 118941 w 161805"/>
                <a:gd name="connsiteY381" fmla="*/ 250828 h 335353"/>
                <a:gd name="connsiteX382" fmla="*/ 119641 w 161805"/>
                <a:gd name="connsiteY382" fmla="*/ 249319 h 335353"/>
                <a:gd name="connsiteX383" fmla="*/ 120026 w 161805"/>
                <a:gd name="connsiteY383" fmla="*/ 246890 h 335353"/>
                <a:gd name="connsiteX384" fmla="*/ 119762 w 161805"/>
                <a:gd name="connsiteY384" fmla="*/ 243163 h 335353"/>
                <a:gd name="connsiteX385" fmla="*/ 119054 w 161805"/>
                <a:gd name="connsiteY385" fmla="*/ 240246 h 335353"/>
                <a:gd name="connsiteX386" fmla="*/ 118391 w 161805"/>
                <a:gd name="connsiteY386" fmla="*/ 238058 h 335353"/>
                <a:gd name="connsiteX387" fmla="*/ 118254 w 161805"/>
                <a:gd name="connsiteY387" fmla="*/ 235872 h 335353"/>
                <a:gd name="connsiteX388" fmla="*/ 119806 w 161805"/>
                <a:gd name="connsiteY388" fmla="*/ 231485 h 335353"/>
                <a:gd name="connsiteX389" fmla="*/ 121131 w 161805"/>
                <a:gd name="connsiteY389" fmla="*/ 226706 h 335353"/>
                <a:gd name="connsiteX390" fmla="*/ 120876 w 161805"/>
                <a:gd name="connsiteY390" fmla="*/ 224818 h 335353"/>
                <a:gd name="connsiteX391" fmla="*/ 119432 w 161805"/>
                <a:gd name="connsiteY391" fmla="*/ 221834 h 335353"/>
                <a:gd name="connsiteX392" fmla="*/ 117965 w 161805"/>
                <a:gd name="connsiteY392" fmla="*/ 218198 h 335353"/>
                <a:gd name="connsiteX393" fmla="*/ 116355 w 161805"/>
                <a:gd name="connsiteY393" fmla="*/ 214200 h 335353"/>
                <a:gd name="connsiteX394" fmla="*/ 115750 w 161805"/>
                <a:gd name="connsiteY394" fmla="*/ 213604 h 335353"/>
                <a:gd name="connsiteX395" fmla="*/ 115318 w 161805"/>
                <a:gd name="connsiteY395" fmla="*/ 212490 h 335353"/>
                <a:gd name="connsiteX396" fmla="*/ 115072 w 161805"/>
                <a:gd name="connsiteY396" fmla="*/ 211189 h 335353"/>
                <a:gd name="connsiteX397" fmla="*/ 115711 w 161805"/>
                <a:gd name="connsiteY397" fmla="*/ 207100 h 335353"/>
                <a:gd name="connsiteX398" fmla="*/ 115802 w 161805"/>
                <a:gd name="connsiteY398" fmla="*/ 205728 h 335353"/>
                <a:gd name="connsiteX399" fmla="*/ 117658 w 161805"/>
                <a:gd name="connsiteY399" fmla="*/ 203866 h 335353"/>
                <a:gd name="connsiteX400" fmla="*/ 118647 w 161805"/>
                <a:gd name="connsiteY400" fmla="*/ 201732 h 335353"/>
                <a:gd name="connsiteX401" fmla="*/ 119578 w 161805"/>
                <a:gd name="connsiteY401" fmla="*/ 199379 h 335353"/>
                <a:gd name="connsiteX402" fmla="*/ 119229 w 161805"/>
                <a:gd name="connsiteY402" fmla="*/ 198134 h 335353"/>
                <a:gd name="connsiteX403" fmla="*/ 119103 w 161805"/>
                <a:gd name="connsiteY403" fmla="*/ 195597 h 335353"/>
                <a:gd name="connsiteX404" fmla="*/ 119341 w 161805"/>
                <a:gd name="connsiteY404" fmla="*/ 194367 h 335353"/>
                <a:gd name="connsiteX405" fmla="*/ 118902 w 161805"/>
                <a:gd name="connsiteY405" fmla="*/ 193370 h 335353"/>
                <a:gd name="connsiteX406" fmla="*/ 118365 w 161805"/>
                <a:gd name="connsiteY406" fmla="*/ 191925 h 335353"/>
                <a:gd name="connsiteX407" fmla="*/ 118717 w 161805"/>
                <a:gd name="connsiteY407" fmla="*/ 190985 h 335353"/>
                <a:gd name="connsiteX408" fmla="*/ 120021 w 161805"/>
                <a:gd name="connsiteY408" fmla="*/ 190181 h 335353"/>
                <a:gd name="connsiteX409" fmla="*/ 120781 w 161805"/>
                <a:gd name="connsiteY409" fmla="*/ 188792 h 335353"/>
                <a:gd name="connsiteX410" fmla="*/ 121755 w 161805"/>
                <a:gd name="connsiteY410" fmla="*/ 187177 h 335353"/>
                <a:gd name="connsiteX411" fmla="*/ 122184 w 161805"/>
                <a:gd name="connsiteY411" fmla="*/ 185698 h 335353"/>
                <a:gd name="connsiteX412" fmla="*/ 121489 w 161805"/>
                <a:gd name="connsiteY412" fmla="*/ 184462 h 335353"/>
                <a:gd name="connsiteX413" fmla="*/ 120219 w 161805"/>
                <a:gd name="connsiteY413" fmla="*/ 182612 h 335353"/>
                <a:gd name="connsiteX414" fmla="*/ 117905 w 161805"/>
                <a:gd name="connsiteY414" fmla="*/ 180932 h 335353"/>
                <a:gd name="connsiteX415" fmla="*/ 115234 w 161805"/>
                <a:gd name="connsiteY415" fmla="*/ 178789 h 335353"/>
                <a:gd name="connsiteX416" fmla="*/ 113921 w 161805"/>
                <a:gd name="connsiteY416" fmla="*/ 177470 h 335353"/>
                <a:gd name="connsiteX417" fmla="*/ 112887 w 161805"/>
                <a:gd name="connsiteY417" fmla="*/ 176126 h 335353"/>
                <a:gd name="connsiteX418" fmla="*/ 111934 w 161805"/>
                <a:gd name="connsiteY418" fmla="*/ 174558 h 335353"/>
                <a:gd name="connsiteX419" fmla="*/ 111411 w 161805"/>
                <a:gd name="connsiteY419" fmla="*/ 173307 h 335353"/>
                <a:gd name="connsiteX420" fmla="*/ 111919 w 161805"/>
                <a:gd name="connsiteY420" fmla="*/ 172488 h 335353"/>
                <a:gd name="connsiteX421" fmla="*/ 115717 w 161805"/>
                <a:gd name="connsiteY421" fmla="*/ 170604 h 335353"/>
                <a:gd name="connsiteX422" fmla="*/ 116410 w 161805"/>
                <a:gd name="connsiteY422" fmla="*/ 169925 h 335353"/>
                <a:gd name="connsiteX423" fmla="*/ 116812 w 161805"/>
                <a:gd name="connsiteY423" fmla="*/ 168878 h 335353"/>
                <a:gd name="connsiteX424" fmla="*/ 116508 w 161805"/>
                <a:gd name="connsiteY424" fmla="*/ 167854 h 335353"/>
                <a:gd name="connsiteX425" fmla="*/ 115484 w 161805"/>
                <a:gd name="connsiteY425" fmla="*/ 167301 h 335353"/>
                <a:gd name="connsiteX426" fmla="*/ 114299 w 161805"/>
                <a:gd name="connsiteY426" fmla="*/ 166923 h 335353"/>
                <a:gd name="connsiteX427" fmla="*/ 112549 w 161805"/>
                <a:gd name="connsiteY427" fmla="*/ 165737 h 335353"/>
                <a:gd name="connsiteX428" fmla="*/ 109284 w 161805"/>
                <a:gd name="connsiteY428" fmla="*/ 162481 h 335353"/>
                <a:gd name="connsiteX429" fmla="*/ 107786 w 161805"/>
                <a:gd name="connsiteY429" fmla="*/ 161755 h 335353"/>
                <a:gd name="connsiteX430" fmla="*/ 106209 w 161805"/>
                <a:gd name="connsiteY430" fmla="*/ 160818 h 335353"/>
                <a:gd name="connsiteX431" fmla="*/ 105372 w 161805"/>
                <a:gd name="connsiteY431" fmla="*/ 159832 h 335353"/>
                <a:gd name="connsiteX432" fmla="*/ 104450 w 161805"/>
                <a:gd name="connsiteY432" fmla="*/ 157128 h 335353"/>
                <a:gd name="connsiteX433" fmla="*/ 104037 w 161805"/>
                <a:gd name="connsiteY433" fmla="*/ 156886 h 335353"/>
                <a:gd name="connsiteX434" fmla="*/ 103134 w 161805"/>
                <a:gd name="connsiteY434" fmla="*/ 157702 h 335353"/>
                <a:gd name="connsiteX435" fmla="*/ 101983 w 161805"/>
                <a:gd name="connsiteY435" fmla="*/ 158560 h 335353"/>
                <a:gd name="connsiteX436" fmla="*/ 101023 w 161805"/>
                <a:gd name="connsiteY436" fmla="*/ 158414 h 335353"/>
                <a:gd name="connsiteX437" fmla="*/ 100146 w 161805"/>
                <a:gd name="connsiteY437" fmla="*/ 157650 h 335353"/>
                <a:gd name="connsiteX438" fmla="*/ 99727 w 161805"/>
                <a:gd name="connsiteY438" fmla="*/ 156621 h 335353"/>
                <a:gd name="connsiteX439" fmla="*/ 98758 w 161805"/>
                <a:gd name="connsiteY439" fmla="*/ 155209 h 335353"/>
                <a:gd name="connsiteX440" fmla="*/ 97708 w 161805"/>
                <a:gd name="connsiteY440" fmla="*/ 154058 h 335353"/>
                <a:gd name="connsiteX441" fmla="*/ 97432 w 161805"/>
                <a:gd name="connsiteY441" fmla="*/ 150187 h 335353"/>
                <a:gd name="connsiteX442" fmla="*/ 97261 w 161805"/>
                <a:gd name="connsiteY442" fmla="*/ 148923 h 335353"/>
                <a:gd name="connsiteX443" fmla="*/ 96736 w 161805"/>
                <a:gd name="connsiteY443" fmla="*/ 147161 h 335353"/>
                <a:gd name="connsiteX444" fmla="*/ 95920 w 161805"/>
                <a:gd name="connsiteY444" fmla="*/ 146530 h 335353"/>
                <a:gd name="connsiteX445" fmla="*/ 95050 w 161805"/>
                <a:gd name="connsiteY445" fmla="*/ 146059 h 335353"/>
                <a:gd name="connsiteX446" fmla="*/ 93003 w 161805"/>
                <a:gd name="connsiteY446" fmla="*/ 142847 h 335353"/>
                <a:gd name="connsiteX447" fmla="*/ 91591 w 161805"/>
                <a:gd name="connsiteY447" fmla="*/ 141183 h 335353"/>
                <a:gd name="connsiteX448" fmla="*/ 85769 w 161805"/>
                <a:gd name="connsiteY448" fmla="*/ 136663 h 335353"/>
                <a:gd name="connsiteX449" fmla="*/ 85046 w 161805"/>
                <a:gd name="connsiteY449" fmla="*/ 135940 h 335353"/>
                <a:gd name="connsiteX450" fmla="*/ 83480 w 161805"/>
                <a:gd name="connsiteY450" fmla="*/ 134079 h 335353"/>
                <a:gd name="connsiteX451" fmla="*/ 80755 w 161805"/>
                <a:gd name="connsiteY451" fmla="*/ 131440 h 335353"/>
                <a:gd name="connsiteX452" fmla="*/ 78807 w 161805"/>
                <a:gd name="connsiteY452" fmla="*/ 129310 h 335353"/>
                <a:gd name="connsiteX453" fmla="*/ 77388 w 161805"/>
                <a:gd name="connsiteY453" fmla="*/ 127107 h 335353"/>
                <a:gd name="connsiteX454" fmla="*/ 76734 w 161805"/>
                <a:gd name="connsiteY454" fmla="*/ 125193 h 335353"/>
                <a:gd name="connsiteX455" fmla="*/ 76531 w 161805"/>
                <a:gd name="connsiteY455" fmla="*/ 123700 h 335353"/>
                <a:gd name="connsiteX456" fmla="*/ 74985 w 161805"/>
                <a:gd name="connsiteY456" fmla="*/ 121560 h 335353"/>
                <a:gd name="connsiteX457" fmla="*/ 73651 w 161805"/>
                <a:gd name="connsiteY457" fmla="*/ 119804 h 335353"/>
                <a:gd name="connsiteX458" fmla="*/ 72363 w 161805"/>
                <a:gd name="connsiteY458" fmla="*/ 119234 h 335353"/>
                <a:gd name="connsiteX459" fmla="*/ 70893 w 161805"/>
                <a:gd name="connsiteY459" fmla="*/ 118997 h 335353"/>
                <a:gd name="connsiteX460" fmla="*/ 69561 w 161805"/>
                <a:gd name="connsiteY460" fmla="*/ 117952 h 335353"/>
                <a:gd name="connsiteX461" fmla="*/ 67129 w 161805"/>
                <a:gd name="connsiteY461" fmla="*/ 115590 h 335353"/>
                <a:gd name="connsiteX462" fmla="*/ 66051 w 161805"/>
                <a:gd name="connsiteY462" fmla="*/ 114069 h 335353"/>
                <a:gd name="connsiteX463" fmla="*/ 65417 w 161805"/>
                <a:gd name="connsiteY463" fmla="*/ 113044 h 335353"/>
                <a:gd name="connsiteX464" fmla="*/ 65443 w 161805"/>
                <a:gd name="connsiteY464" fmla="*/ 111989 h 335353"/>
                <a:gd name="connsiteX465" fmla="*/ 66028 w 161805"/>
                <a:gd name="connsiteY465" fmla="*/ 110232 h 335353"/>
                <a:gd name="connsiteX466" fmla="*/ 66734 w 161805"/>
                <a:gd name="connsiteY466" fmla="*/ 109231 h 335353"/>
                <a:gd name="connsiteX467" fmla="*/ 66758 w 161805"/>
                <a:gd name="connsiteY467" fmla="*/ 108449 h 335353"/>
                <a:gd name="connsiteX468" fmla="*/ 66065 w 161805"/>
                <a:gd name="connsiteY468" fmla="*/ 107811 h 335353"/>
                <a:gd name="connsiteX469" fmla="*/ 63367 w 161805"/>
                <a:gd name="connsiteY469" fmla="*/ 106679 h 335353"/>
                <a:gd name="connsiteX470" fmla="*/ 57250 w 161805"/>
                <a:gd name="connsiteY470" fmla="*/ 104959 h 335353"/>
                <a:gd name="connsiteX471" fmla="*/ 54968 w 161805"/>
                <a:gd name="connsiteY471" fmla="*/ 103649 h 335353"/>
                <a:gd name="connsiteX472" fmla="*/ 52860 w 161805"/>
                <a:gd name="connsiteY472" fmla="*/ 101967 h 335353"/>
                <a:gd name="connsiteX473" fmla="*/ 51264 w 161805"/>
                <a:gd name="connsiteY473" fmla="*/ 100827 h 335353"/>
                <a:gd name="connsiteX474" fmla="*/ 43808 w 161805"/>
                <a:gd name="connsiteY474" fmla="*/ 95974 h 335353"/>
                <a:gd name="connsiteX475" fmla="*/ 41547 w 161805"/>
                <a:gd name="connsiteY475" fmla="*/ 95163 h 335353"/>
                <a:gd name="connsiteX476" fmla="*/ 39601 w 161805"/>
                <a:gd name="connsiteY476" fmla="*/ 94301 h 335353"/>
                <a:gd name="connsiteX477" fmla="*/ 39010 w 161805"/>
                <a:gd name="connsiteY477" fmla="*/ 93464 h 335353"/>
                <a:gd name="connsiteX478" fmla="*/ 39115 w 161805"/>
                <a:gd name="connsiteY478" fmla="*/ 92661 h 335353"/>
                <a:gd name="connsiteX479" fmla="*/ 39903 w 161805"/>
                <a:gd name="connsiteY479" fmla="*/ 92063 h 335353"/>
                <a:gd name="connsiteX480" fmla="*/ 42016 w 161805"/>
                <a:gd name="connsiteY480" fmla="*/ 90815 h 335353"/>
                <a:gd name="connsiteX481" fmla="*/ 42797 w 161805"/>
                <a:gd name="connsiteY481" fmla="*/ 89389 h 335353"/>
                <a:gd name="connsiteX482" fmla="*/ 42547 w 161805"/>
                <a:gd name="connsiteY482" fmla="*/ 87516 h 335353"/>
                <a:gd name="connsiteX483" fmla="*/ 41704 w 161805"/>
                <a:gd name="connsiteY483" fmla="*/ 85625 h 335353"/>
                <a:gd name="connsiteX484" fmla="*/ 42115 w 161805"/>
                <a:gd name="connsiteY484" fmla="*/ 84966 h 335353"/>
                <a:gd name="connsiteX485" fmla="*/ 42795 w 161805"/>
                <a:gd name="connsiteY485" fmla="*/ 84891 h 335353"/>
                <a:gd name="connsiteX486" fmla="*/ 44218 w 161805"/>
                <a:gd name="connsiteY486" fmla="*/ 84835 h 335353"/>
                <a:gd name="connsiteX487" fmla="*/ 47153 w 161805"/>
                <a:gd name="connsiteY487" fmla="*/ 84728 h 335353"/>
                <a:gd name="connsiteX488" fmla="*/ 53486 w 161805"/>
                <a:gd name="connsiteY488" fmla="*/ 86450 h 335353"/>
                <a:gd name="connsiteX489" fmla="*/ 54406 w 161805"/>
                <a:gd name="connsiteY489" fmla="*/ 86262 h 335353"/>
                <a:gd name="connsiteX490" fmla="*/ 57840 w 161805"/>
                <a:gd name="connsiteY490" fmla="*/ 83137 h 335353"/>
                <a:gd name="connsiteX491" fmla="*/ 59135 w 161805"/>
                <a:gd name="connsiteY491" fmla="*/ 81267 h 335353"/>
                <a:gd name="connsiteX492" fmla="*/ 59431 w 161805"/>
                <a:gd name="connsiteY492" fmla="*/ 79706 h 335353"/>
                <a:gd name="connsiteX493" fmla="*/ 60109 w 161805"/>
                <a:gd name="connsiteY493" fmla="*/ 78714 h 335353"/>
                <a:gd name="connsiteX494" fmla="*/ 61925 w 161805"/>
                <a:gd name="connsiteY494" fmla="*/ 77082 h 335353"/>
                <a:gd name="connsiteX495" fmla="*/ 61953 w 161805"/>
                <a:gd name="connsiteY495" fmla="*/ 75593 h 335353"/>
                <a:gd name="connsiteX496" fmla="*/ 61057 w 161805"/>
                <a:gd name="connsiteY496" fmla="*/ 73607 h 335353"/>
                <a:gd name="connsiteX497" fmla="*/ 60154 w 161805"/>
                <a:gd name="connsiteY497" fmla="*/ 72840 h 335353"/>
                <a:gd name="connsiteX498" fmla="*/ 59377 w 161805"/>
                <a:gd name="connsiteY498" fmla="*/ 72508 h 335353"/>
                <a:gd name="connsiteX499" fmla="*/ 56857 w 161805"/>
                <a:gd name="connsiteY499" fmla="*/ 72773 h 335353"/>
                <a:gd name="connsiteX500" fmla="*/ 56375 w 161805"/>
                <a:gd name="connsiteY500" fmla="*/ 72327 h 335353"/>
                <a:gd name="connsiteX501" fmla="*/ 56043 w 161805"/>
                <a:gd name="connsiteY501" fmla="*/ 70846 h 335353"/>
                <a:gd name="connsiteX502" fmla="*/ 55922 w 161805"/>
                <a:gd name="connsiteY502" fmla="*/ 69937 h 335353"/>
                <a:gd name="connsiteX503" fmla="*/ 55091 w 161805"/>
                <a:gd name="connsiteY503" fmla="*/ 68877 h 335353"/>
                <a:gd name="connsiteX504" fmla="*/ 52379 w 161805"/>
                <a:gd name="connsiteY504" fmla="*/ 67975 h 335353"/>
                <a:gd name="connsiteX505" fmla="*/ 50079 w 161805"/>
                <a:gd name="connsiteY505" fmla="*/ 67719 h 335353"/>
                <a:gd name="connsiteX506" fmla="*/ 49538 w 161805"/>
                <a:gd name="connsiteY506" fmla="*/ 67336 h 335353"/>
                <a:gd name="connsiteX507" fmla="*/ 50424 w 161805"/>
                <a:gd name="connsiteY507" fmla="*/ 66314 h 335353"/>
                <a:gd name="connsiteX508" fmla="*/ 51990 w 161805"/>
                <a:gd name="connsiteY508" fmla="*/ 65303 h 335353"/>
                <a:gd name="connsiteX509" fmla="*/ 53186 w 161805"/>
                <a:gd name="connsiteY509" fmla="*/ 64720 h 335353"/>
                <a:gd name="connsiteX510" fmla="*/ 54125 w 161805"/>
                <a:gd name="connsiteY510" fmla="*/ 63674 h 335353"/>
                <a:gd name="connsiteX511" fmla="*/ 54303 w 161805"/>
                <a:gd name="connsiteY511" fmla="*/ 62603 h 335353"/>
                <a:gd name="connsiteX512" fmla="*/ 53134 w 161805"/>
                <a:gd name="connsiteY512" fmla="*/ 61650 h 335353"/>
                <a:gd name="connsiteX513" fmla="*/ 51610 w 161805"/>
                <a:gd name="connsiteY513" fmla="*/ 60595 h 335353"/>
                <a:gd name="connsiteX514" fmla="*/ 49137 w 161805"/>
                <a:gd name="connsiteY514" fmla="*/ 58579 h 335353"/>
                <a:gd name="connsiteX515" fmla="*/ 45726 w 161805"/>
                <a:gd name="connsiteY515" fmla="*/ 56435 h 335353"/>
                <a:gd name="connsiteX516" fmla="*/ 43648 w 161805"/>
                <a:gd name="connsiteY516" fmla="*/ 55707 h 335353"/>
                <a:gd name="connsiteX517" fmla="*/ 42558 w 161805"/>
                <a:gd name="connsiteY517" fmla="*/ 55806 h 335353"/>
                <a:gd name="connsiteX518" fmla="*/ 38798 w 161805"/>
                <a:gd name="connsiteY518" fmla="*/ 57648 h 335353"/>
                <a:gd name="connsiteX519" fmla="*/ 36775 w 161805"/>
                <a:gd name="connsiteY519" fmla="*/ 58846 h 335353"/>
                <a:gd name="connsiteX520" fmla="*/ 35093 w 161805"/>
                <a:gd name="connsiteY520" fmla="*/ 60983 h 335353"/>
                <a:gd name="connsiteX521" fmla="*/ 33337 w 161805"/>
                <a:gd name="connsiteY521" fmla="*/ 61441 h 335353"/>
                <a:gd name="connsiteX522" fmla="*/ 31560 w 161805"/>
                <a:gd name="connsiteY522" fmla="*/ 60500 h 335353"/>
                <a:gd name="connsiteX523" fmla="*/ 29545 w 161805"/>
                <a:gd name="connsiteY523" fmla="*/ 59532 h 335353"/>
                <a:gd name="connsiteX524" fmla="*/ 23954 w 161805"/>
                <a:gd name="connsiteY524" fmla="*/ 58129 h 335353"/>
                <a:gd name="connsiteX525" fmla="*/ 21605 w 161805"/>
                <a:gd name="connsiteY525" fmla="*/ 56950 h 335353"/>
                <a:gd name="connsiteX526" fmla="*/ 16725 w 161805"/>
                <a:gd name="connsiteY526" fmla="*/ 49767 h 335353"/>
                <a:gd name="connsiteX527" fmla="*/ 16003 w 161805"/>
                <a:gd name="connsiteY527" fmla="*/ 48303 h 335353"/>
                <a:gd name="connsiteX528" fmla="*/ 16470 w 161805"/>
                <a:gd name="connsiteY528" fmla="*/ 46647 h 335353"/>
                <a:gd name="connsiteX529" fmla="*/ 16806 w 161805"/>
                <a:gd name="connsiteY529" fmla="*/ 44277 h 335353"/>
                <a:gd name="connsiteX530" fmla="*/ 17295 w 161805"/>
                <a:gd name="connsiteY530" fmla="*/ 42740 h 335353"/>
                <a:gd name="connsiteX531" fmla="*/ 18158 w 161805"/>
                <a:gd name="connsiteY531" fmla="*/ 41272 h 335353"/>
                <a:gd name="connsiteX532" fmla="*/ 18392 w 161805"/>
                <a:gd name="connsiteY532" fmla="*/ 39965 h 335353"/>
                <a:gd name="connsiteX533" fmla="*/ 18180 w 161805"/>
                <a:gd name="connsiteY533" fmla="*/ 38688 h 335353"/>
                <a:gd name="connsiteX534" fmla="*/ 17474 w 161805"/>
                <a:gd name="connsiteY534" fmla="*/ 37956 h 335353"/>
                <a:gd name="connsiteX535" fmla="*/ 16556 w 161805"/>
                <a:gd name="connsiteY535" fmla="*/ 37740 h 335353"/>
                <a:gd name="connsiteX536" fmla="*/ 15872 w 161805"/>
                <a:gd name="connsiteY536" fmla="*/ 37450 h 335353"/>
                <a:gd name="connsiteX537" fmla="*/ 15224 w 161805"/>
                <a:gd name="connsiteY537" fmla="*/ 35768 h 335353"/>
                <a:gd name="connsiteX538" fmla="*/ 14833 w 161805"/>
                <a:gd name="connsiteY538" fmla="*/ 35986 h 335353"/>
                <a:gd name="connsiteX539" fmla="*/ 14233 w 161805"/>
                <a:gd name="connsiteY539" fmla="*/ 38032 h 335353"/>
                <a:gd name="connsiteX540" fmla="*/ 13514 w 161805"/>
                <a:gd name="connsiteY540" fmla="*/ 38767 h 335353"/>
                <a:gd name="connsiteX541" fmla="*/ 12557 w 161805"/>
                <a:gd name="connsiteY541" fmla="*/ 39134 h 335353"/>
                <a:gd name="connsiteX542" fmla="*/ 11821 w 161805"/>
                <a:gd name="connsiteY542" fmla="*/ 38811 h 335353"/>
                <a:gd name="connsiteX543" fmla="*/ 11352 w 161805"/>
                <a:gd name="connsiteY543" fmla="*/ 37991 h 335353"/>
                <a:gd name="connsiteX544" fmla="*/ 11141 w 161805"/>
                <a:gd name="connsiteY544" fmla="*/ 36603 h 335353"/>
                <a:gd name="connsiteX545" fmla="*/ 10663 w 161805"/>
                <a:gd name="connsiteY545" fmla="*/ 34739 h 335353"/>
                <a:gd name="connsiteX546" fmla="*/ 10063 w 161805"/>
                <a:gd name="connsiteY546" fmla="*/ 33520 h 335353"/>
                <a:gd name="connsiteX547" fmla="*/ 7962 w 161805"/>
                <a:gd name="connsiteY547" fmla="*/ 32281 h 335353"/>
                <a:gd name="connsiteX548" fmla="*/ 6971 w 161805"/>
                <a:gd name="connsiteY548" fmla="*/ 30671 h 335353"/>
                <a:gd name="connsiteX549" fmla="*/ 3846 w 161805"/>
                <a:gd name="connsiteY549" fmla="*/ 27166 h 335353"/>
                <a:gd name="connsiteX550" fmla="*/ 1229 w 161805"/>
                <a:gd name="connsiteY550" fmla="*/ 24708 h 335353"/>
                <a:gd name="connsiteX551" fmla="*/ 0 w 161805"/>
                <a:gd name="connsiteY551" fmla="*/ 22497 h 335353"/>
                <a:gd name="connsiteX552" fmla="*/ 1074 w 161805"/>
                <a:gd name="connsiteY552" fmla="*/ 21673 h 335353"/>
                <a:gd name="connsiteX553" fmla="*/ 2424 w 161805"/>
                <a:gd name="connsiteY553" fmla="*/ 20479 h 335353"/>
                <a:gd name="connsiteX554" fmla="*/ 3865 w 161805"/>
                <a:gd name="connsiteY554" fmla="*/ 18619 h 335353"/>
                <a:gd name="connsiteX555" fmla="*/ 5492 w 161805"/>
                <a:gd name="connsiteY555" fmla="*/ 16279 h 335353"/>
                <a:gd name="connsiteX556" fmla="*/ 6170 w 161805"/>
                <a:gd name="connsiteY556" fmla="*/ 14851 h 335353"/>
                <a:gd name="connsiteX557" fmla="*/ 6645 w 161805"/>
                <a:gd name="connsiteY557" fmla="*/ 14273 h 335353"/>
                <a:gd name="connsiteX558" fmla="*/ 7595 w 161805"/>
                <a:gd name="connsiteY558" fmla="*/ 13851 h 335353"/>
                <a:gd name="connsiteX559" fmla="*/ 8619 w 161805"/>
                <a:gd name="connsiteY559" fmla="*/ 14082 h 335353"/>
                <a:gd name="connsiteX560" fmla="*/ 10417 w 161805"/>
                <a:gd name="connsiteY560" fmla="*/ 15028 h 335353"/>
                <a:gd name="connsiteX561" fmla="*/ 13125 w 161805"/>
                <a:gd name="connsiteY561" fmla="*/ 16235 h 335353"/>
                <a:gd name="connsiteX562" fmla="*/ 15537 w 161805"/>
                <a:gd name="connsiteY562" fmla="*/ 17662 h 335353"/>
                <a:gd name="connsiteX563" fmla="*/ 16513 w 161805"/>
                <a:gd name="connsiteY563" fmla="*/ 19099 h 335353"/>
                <a:gd name="connsiteX564" fmla="*/ 17861 w 161805"/>
                <a:gd name="connsiteY564" fmla="*/ 20476 h 335353"/>
                <a:gd name="connsiteX565" fmla="*/ 18895 w 161805"/>
                <a:gd name="connsiteY565" fmla="*/ 20892 h 335353"/>
                <a:gd name="connsiteX566" fmla="*/ 19413 w 161805"/>
                <a:gd name="connsiteY566" fmla="*/ 20782 h 335353"/>
                <a:gd name="connsiteX567" fmla="*/ 20972 w 161805"/>
                <a:gd name="connsiteY567" fmla="*/ 19747 h 335353"/>
                <a:gd name="connsiteX568" fmla="*/ 22309 w 161805"/>
                <a:gd name="connsiteY568" fmla="*/ 18707 h 335353"/>
                <a:gd name="connsiteX569" fmla="*/ 22337 w 161805"/>
                <a:gd name="connsiteY569" fmla="*/ 17527 h 335353"/>
                <a:gd name="connsiteX570" fmla="*/ 23570 w 161805"/>
                <a:gd name="connsiteY570" fmla="*/ 16467 h 335353"/>
                <a:gd name="connsiteX571" fmla="*/ 25183 w 161805"/>
                <a:gd name="connsiteY571" fmla="*/ 14722 h 335353"/>
                <a:gd name="connsiteX572" fmla="*/ 25941 w 161805"/>
                <a:gd name="connsiteY572" fmla="*/ 13538 h 335353"/>
                <a:gd name="connsiteX573" fmla="*/ 26517 w 161805"/>
                <a:gd name="connsiteY573" fmla="*/ 13413 h 335353"/>
                <a:gd name="connsiteX574" fmla="*/ 27168 w 161805"/>
                <a:gd name="connsiteY574" fmla="*/ 13764 h 335353"/>
                <a:gd name="connsiteX575" fmla="*/ 29709 w 161805"/>
                <a:gd name="connsiteY575" fmla="*/ 17424 h 335353"/>
                <a:gd name="connsiteX576" fmla="*/ 30195 w 161805"/>
                <a:gd name="connsiteY576" fmla="*/ 17643 h 335353"/>
                <a:gd name="connsiteX577" fmla="*/ 30912 w 161805"/>
                <a:gd name="connsiteY577" fmla="*/ 17094 h 335353"/>
                <a:gd name="connsiteX578" fmla="*/ 31914 w 161805"/>
                <a:gd name="connsiteY578" fmla="*/ 14235 h 335353"/>
                <a:gd name="connsiteX579" fmla="*/ 33008 w 161805"/>
                <a:gd name="connsiteY579" fmla="*/ 13127 h 335353"/>
                <a:gd name="connsiteX580" fmla="*/ 33387 w 161805"/>
                <a:gd name="connsiteY580" fmla="*/ 13407 h 335353"/>
                <a:gd name="connsiteX581" fmla="*/ 39527 w 161805"/>
                <a:gd name="connsiteY581" fmla="*/ 18800 h 335353"/>
                <a:gd name="connsiteX582" fmla="*/ 40113 w 161805"/>
                <a:gd name="connsiteY582" fmla="*/ 18757 h 335353"/>
                <a:gd name="connsiteX583" fmla="*/ 40774 w 161805"/>
                <a:gd name="connsiteY583" fmla="*/ 18515 h 335353"/>
                <a:gd name="connsiteX584" fmla="*/ 41203 w 161805"/>
                <a:gd name="connsiteY584" fmla="*/ 17686 h 335353"/>
                <a:gd name="connsiteX585" fmla="*/ 41687 w 161805"/>
                <a:gd name="connsiteY585" fmla="*/ 15820 h 335353"/>
                <a:gd name="connsiteX586" fmla="*/ 42599 w 161805"/>
                <a:gd name="connsiteY586" fmla="*/ 13820 h 335353"/>
                <a:gd name="connsiteX587" fmla="*/ 44570 w 161805"/>
                <a:gd name="connsiteY587" fmla="*/ 12706 h 335353"/>
                <a:gd name="connsiteX588" fmla="*/ 46105 w 161805"/>
                <a:gd name="connsiteY588" fmla="*/ 12490 h 335353"/>
                <a:gd name="connsiteX589" fmla="*/ 46675 w 161805"/>
                <a:gd name="connsiteY589" fmla="*/ 13443 h 335353"/>
                <a:gd name="connsiteX590" fmla="*/ 48004 w 161805"/>
                <a:gd name="connsiteY590" fmla="*/ 14757 h 335353"/>
                <a:gd name="connsiteX591" fmla="*/ 49628 w 161805"/>
                <a:gd name="connsiteY591" fmla="*/ 14942 h 335353"/>
                <a:gd name="connsiteX592" fmla="*/ 53056 w 161805"/>
                <a:gd name="connsiteY592" fmla="*/ 12613 h 335353"/>
                <a:gd name="connsiteX593" fmla="*/ 54177 w 161805"/>
                <a:gd name="connsiteY593" fmla="*/ 12243 h 335353"/>
                <a:gd name="connsiteX594" fmla="*/ 55375 w 161805"/>
                <a:gd name="connsiteY594" fmla="*/ 12285 h 335353"/>
                <a:gd name="connsiteX595" fmla="*/ 56604 w 161805"/>
                <a:gd name="connsiteY595" fmla="*/ 12192 h 335353"/>
                <a:gd name="connsiteX596" fmla="*/ 57771 w 161805"/>
                <a:gd name="connsiteY596" fmla="*/ 11300 h 335353"/>
                <a:gd name="connsiteX597" fmla="*/ 59001 w 161805"/>
                <a:gd name="connsiteY597" fmla="*/ 10121 h 335353"/>
                <a:gd name="connsiteX598" fmla="*/ 59422 w 161805"/>
                <a:gd name="connsiteY598" fmla="*/ 7799 h 335353"/>
                <a:gd name="connsiteX599" fmla="*/ 59684 w 161805"/>
                <a:gd name="connsiteY599" fmla="*/ 5715 h 335353"/>
                <a:gd name="connsiteX600" fmla="*/ 60528 w 161805"/>
                <a:gd name="connsiteY600" fmla="*/ 4872 h 335353"/>
                <a:gd name="connsiteX601" fmla="*/ 61532 w 161805"/>
                <a:gd name="connsiteY601" fmla="*/ 4308 h 335353"/>
                <a:gd name="connsiteX602" fmla="*/ 63424 w 161805"/>
                <a:gd name="connsiteY602" fmla="*/ 3520 h 335353"/>
                <a:gd name="connsiteX603" fmla="*/ 67699 w 161805"/>
                <a:gd name="connsiteY603" fmla="*/ 1497 h 335353"/>
                <a:gd name="connsiteX604" fmla="*/ 68799 w 161805"/>
                <a:gd name="connsiteY604" fmla="*/ 539 h 335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</a:cxnLst>
              <a:rect l="l" t="t" r="r" b="b"/>
              <a:pathLst>
                <a:path w="161805" h="335353">
                  <a:moveTo>
                    <a:pt x="100194" y="331275"/>
                  </a:moveTo>
                  <a:lnTo>
                    <a:pt x="99993" y="332241"/>
                  </a:lnTo>
                  <a:lnTo>
                    <a:pt x="100060" y="332728"/>
                  </a:lnTo>
                  <a:lnTo>
                    <a:pt x="99284" y="333136"/>
                  </a:lnTo>
                  <a:lnTo>
                    <a:pt x="98660" y="333187"/>
                  </a:lnTo>
                  <a:lnTo>
                    <a:pt x="98190" y="332732"/>
                  </a:lnTo>
                  <a:close/>
                  <a:moveTo>
                    <a:pt x="42020" y="294191"/>
                  </a:moveTo>
                  <a:lnTo>
                    <a:pt x="42821" y="295030"/>
                  </a:lnTo>
                  <a:lnTo>
                    <a:pt x="43242" y="296141"/>
                  </a:lnTo>
                  <a:lnTo>
                    <a:pt x="43082" y="298738"/>
                  </a:lnTo>
                  <a:lnTo>
                    <a:pt x="42220" y="301287"/>
                  </a:lnTo>
                  <a:lnTo>
                    <a:pt x="42475" y="302397"/>
                  </a:lnTo>
                  <a:lnTo>
                    <a:pt x="41815" y="303108"/>
                  </a:lnTo>
                  <a:lnTo>
                    <a:pt x="40348" y="298334"/>
                  </a:lnTo>
                  <a:lnTo>
                    <a:pt x="38487" y="296268"/>
                  </a:lnTo>
                  <a:lnTo>
                    <a:pt x="38079" y="295471"/>
                  </a:lnTo>
                  <a:lnTo>
                    <a:pt x="39161" y="295529"/>
                  </a:lnTo>
                  <a:lnTo>
                    <a:pt x="41093" y="294223"/>
                  </a:lnTo>
                  <a:close/>
                  <a:moveTo>
                    <a:pt x="111647" y="293792"/>
                  </a:moveTo>
                  <a:lnTo>
                    <a:pt x="112053" y="293803"/>
                  </a:lnTo>
                  <a:lnTo>
                    <a:pt x="111450" y="294888"/>
                  </a:lnTo>
                  <a:lnTo>
                    <a:pt x="109595" y="296242"/>
                  </a:lnTo>
                  <a:lnTo>
                    <a:pt x="109466" y="295104"/>
                  </a:lnTo>
                  <a:lnTo>
                    <a:pt x="111079" y="294371"/>
                  </a:lnTo>
                  <a:close/>
                  <a:moveTo>
                    <a:pt x="106713" y="57519"/>
                  </a:moveTo>
                  <a:lnTo>
                    <a:pt x="108710" y="58216"/>
                  </a:lnTo>
                  <a:lnTo>
                    <a:pt x="109168" y="58667"/>
                  </a:lnTo>
                  <a:lnTo>
                    <a:pt x="109157" y="59072"/>
                  </a:lnTo>
                  <a:lnTo>
                    <a:pt x="108678" y="59965"/>
                  </a:lnTo>
                  <a:lnTo>
                    <a:pt x="108436" y="60288"/>
                  </a:lnTo>
                  <a:lnTo>
                    <a:pt x="107523" y="60380"/>
                  </a:lnTo>
                  <a:lnTo>
                    <a:pt x="105767" y="58507"/>
                  </a:lnTo>
                  <a:close/>
                  <a:moveTo>
                    <a:pt x="103217" y="56113"/>
                  </a:moveTo>
                  <a:lnTo>
                    <a:pt x="104538" y="57722"/>
                  </a:lnTo>
                  <a:lnTo>
                    <a:pt x="104772" y="58703"/>
                  </a:lnTo>
                  <a:lnTo>
                    <a:pt x="104517" y="59149"/>
                  </a:lnTo>
                  <a:lnTo>
                    <a:pt x="103389" y="58056"/>
                  </a:lnTo>
                  <a:lnTo>
                    <a:pt x="102645" y="57584"/>
                  </a:lnTo>
                  <a:close/>
                  <a:moveTo>
                    <a:pt x="119933" y="53662"/>
                  </a:moveTo>
                  <a:lnTo>
                    <a:pt x="119928" y="54883"/>
                  </a:lnTo>
                  <a:lnTo>
                    <a:pt x="119270" y="56143"/>
                  </a:lnTo>
                  <a:lnTo>
                    <a:pt x="118037" y="56745"/>
                  </a:lnTo>
                  <a:lnTo>
                    <a:pt x="116570" y="56677"/>
                  </a:lnTo>
                  <a:lnTo>
                    <a:pt x="118326" y="55549"/>
                  </a:lnTo>
                  <a:lnTo>
                    <a:pt x="119218" y="54152"/>
                  </a:lnTo>
                  <a:close/>
                  <a:moveTo>
                    <a:pt x="118274" y="48233"/>
                  </a:moveTo>
                  <a:lnTo>
                    <a:pt x="120185" y="49355"/>
                  </a:lnTo>
                  <a:lnTo>
                    <a:pt x="121071" y="49439"/>
                  </a:lnTo>
                  <a:lnTo>
                    <a:pt x="117885" y="52331"/>
                  </a:lnTo>
                  <a:lnTo>
                    <a:pt x="116665" y="52285"/>
                  </a:lnTo>
                  <a:lnTo>
                    <a:pt x="117749" y="49011"/>
                  </a:lnTo>
                  <a:close/>
                  <a:moveTo>
                    <a:pt x="69608" y="0"/>
                  </a:moveTo>
                  <a:lnTo>
                    <a:pt x="71268" y="876"/>
                  </a:lnTo>
                  <a:lnTo>
                    <a:pt x="73251" y="2563"/>
                  </a:lnTo>
                  <a:lnTo>
                    <a:pt x="74454" y="3834"/>
                  </a:lnTo>
                  <a:lnTo>
                    <a:pt x="75257" y="5207"/>
                  </a:lnTo>
                  <a:lnTo>
                    <a:pt x="75639" y="6357"/>
                  </a:lnTo>
                  <a:lnTo>
                    <a:pt x="78803" y="7353"/>
                  </a:lnTo>
                  <a:lnTo>
                    <a:pt x="80817" y="8765"/>
                  </a:lnTo>
                  <a:lnTo>
                    <a:pt x="82158" y="9849"/>
                  </a:lnTo>
                  <a:lnTo>
                    <a:pt x="83478" y="9799"/>
                  </a:lnTo>
                  <a:lnTo>
                    <a:pt x="84798" y="9508"/>
                  </a:lnTo>
                  <a:lnTo>
                    <a:pt x="85653" y="8639"/>
                  </a:lnTo>
                  <a:lnTo>
                    <a:pt x="87145" y="8621"/>
                  </a:lnTo>
                  <a:lnTo>
                    <a:pt x="88913" y="8748"/>
                  </a:lnTo>
                  <a:lnTo>
                    <a:pt x="89699" y="9096"/>
                  </a:lnTo>
                  <a:lnTo>
                    <a:pt x="91146" y="11092"/>
                  </a:lnTo>
                  <a:lnTo>
                    <a:pt x="91800" y="11371"/>
                  </a:lnTo>
                  <a:lnTo>
                    <a:pt x="93106" y="11231"/>
                  </a:lnTo>
                  <a:lnTo>
                    <a:pt x="95601" y="10523"/>
                  </a:lnTo>
                  <a:lnTo>
                    <a:pt x="97611" y="10186"/>
                  </a:lnTo>
                  <a:lnTo>
                    <a:pt x="99429" y="10980"/>
                  </a:lnTo>
                  <a:lnTo>
                    <a:pt x="102884" y="13200"/>
                  </a:lnTo>
                  <a:lnTo>
                    <a:pt x="101913" y="14782"/>
                  </a:lnTo>
                  <a:lnTo>
                    <a:pt x="101144" y="16485"/>
                  </a:lnTo>
                  <a:lnTo>
                    <a:pt x="99630" y="17688"/>
                  </a:lnTo>
                  <a:lnTo>
                    <a:pt x="98509" y="17986"/>
                  </a:lnTo>
                  <a:lnTo>
                    <a:pt x="97801" y="19657"/>
                  </a:lnTo>
                  <a:lnTo>
                    <a:pt x="97490" y="22120"/>
                  </a:lnTo>
                  <a:lnTo>
                    <a:pt x="97872" y="23368"/>
                  </a:lnTo>
                  <a:lnTo>
                    <a:pt x="98747" y="23767"/>
                  </a:lnTo>
                  <a:lnTo>
                    <a:pt x="99705" y="24601"/>
                  </a:lnTo>
                  <a:lnTo>
                    <a:pt x="100097" y="25697"/>
                  </a:lnTo>
                  <a:lnTo>
                    <a:pt x="100226" y="28134"/>
                  </a:lnTo>
                  <a:lnTo>
                    <a:pt x="100174" y="30878"/>
                  </a:lnTo>
                  <a:lnTo>
                    <a:pt x="100304" y="31790"/>
                  </a:lnTo>
                  <a:lnTo>
                    <a:pt x="101057" y="31622"/>
                  </a:lnTo>
                  <a:lnTo>
                    <a:pt x="101762" y="31293"/>
                  </a:lnTo>
                  <a:lnTo>
                    <a:pt x="103191" y="31719"/>
                  </a:lnTo>
                  <a:lnTo>
                    <a:pt x="104968" y="32431"/>
                  </a:lnTo>
                  <a:lnTo>
                    <a:pt x="106089" y="33154"/>
                  </a:lnTo>
                  <a:lnTo>
                    <a:pt x="107102" y="33065"/>
                  </a:lnTo>
                  <a:lnTo>
                    <a:pt x="107885" y="33773"/>
                  </a:lnTo>
                  <a:lnTo>
                    <a:pt x="108181" y="35130"/>
                  </a:lnTo>
                  <a:lnTo>
                    <a:pt x="109105" y="36073"/>
                  </a:lnTo>
                  <a:lnTo>
                    <a:pt x="111691" y="37860"/>
                  </a:lnTo>
                  <a:lnTo>
                    <a:pt x="113759" y="38009"/>
                  </a:lnTo>
                  <a:lnTo>
                    <a:pt x="115508" y="40366"/>
                  </a:lnTo>
                  <a:lnTo>
                    <a:pt x="117328" y="39593"/>
                  </a:lnTo>
                  <a:lnTo>
                    <a:pt x="118166" y="40610"/>
                  </a:lnTo>
                  <a:lnTo>
                    <a:pt x="121917" y="40250"/>
                  </a:lnTo>
                  <a:lnTo>
                    <a:pt x="124532" y="39298"/>
                  </a:lnTo>
                  <a:lnTo>
                    <a:pt x="125478" y="39526"/>
                  </a:lnTo>
                  <a:lnTo>
                    <a:pt x="127830" y="41489"/>
                  </a:lnTo>
                  <a:lnTo>
                    <a:pt x="129250" y="42703"/>
                  </a:lnTo>
                  <a:lnTo>
                    <a:pt x="128214" y="42912"/>
                  </a:lnTo>
                  <a:lnTo>
                    <a:pt x="125633" y="42954"/>
                  </a:lnTo>
                  <a:lnTo>
                    <a:pt x="123381" y="45066"/>
                  </a:lnTo>
                  <a:lnTo>
                    <a:pt x="121822" y="45940"/>
                  </a:lnTo>
                  <a:lnTo>
                    <a:pt x="119395" y="46677"/>
                  </a:lnTo>
                  <a:lnTo>
                    <a:pt x="116808" y="47866"/>
                  </a:lnTo>
                  <a:lnTo>
                    <a:pt x="116061" y="49962"/>
                  </a:lnTo>
                  <a:lnTo>
                    <a:pt x="115998" y="51480"/>
                  </a:lnTo>
                  <a:lnTo>
                    <a:pt x="115577" y="53174"/>
                  </a:lnTo>
                  <a:lnTo>
                    <a:pt x="111386" y="55633"/>
                  </a:lnTo>
                  <a:lnTo>
                    <a:pt x="110213" y="55382"/>
                  </a:lnTo>
                  <a:lnTo>
                    <a:pt x="109405" y="54465"/>
                  </a:lnTo>
                  <a:lnTo>
                    <a:pt x="108168" y="54651"/>
                  </a:lnTo>
                  <a:lnTo>
                    <a:pt x="107333" y="55109"/>
                  </a:lnTo>
                  <a:lnTo>
                    <a:pt x="106337" y="55047"/>
                  </a:lnTo>
                  <a:lnTo>
                    <a:pt x="105227" y="55603"/>
                  </a:lnTo>
                  <a:lnTo>
                    <a:pt x="103776" y="55429"/>
                  </a:lnTo>
                  <a:lnTo>
                    <a:pt x="102441" y="54654"/>
                  </a:lnTo>
                  <a:lnTo>
                    <a:pt x="101666" y="54450"/>
                  </a:lnTo>
                  <a:lnTo>
                    <a:pt x="100742" y="54442"/>
                  </a:lnTo>
                  <a:lnTo>
                    <a:pt x="100567" y="55361"/>
                  </a:lnTo>
                  <a:lnTo>
                    <a:pt x="101934" y="58924"/>
                  </a:lnTo>
                  <a:lnTo>
                    <a:pt x="102290" y="60565"/>
                  </a:lnTo>
                  <a:lnTo>
                    <a:pt x="97810" y="65373"/>
                  </a:lnTo>
                  <a:lnTo>
                    <a:pt x="98298" y="68470"/>
                  </a:lnTo>
                  <a:lnTo>
                    <a:pt x="97084" y="70850"/>
                  </a:lnTo>
                  <a:lnTo>
                    <a:pt x="94376" y="72760"/>
                  </a:lnTo>
                  <a:lnTo>
                    <a:pt x="89295" y="77682"/>
                  </a:lnTo>
                  <a:lnTo>
                    <a:pt x="87006" y="77789"/>
                  </a:lnTo>
                  <a:lnTo>
                    <a:pt x="85279" y="78900"/>
                  </a:lnTo>
                  <a:lnTo>
                    <a:pt x="81517" y="86981"/>
                  </a:lnTo>
                  <a:lnTo>
                    <a:pt x="81476" y="89746"/>
                  </a:lnTo>
                  <a:lnTo>
                    <a:pt x="80885" y="91769"/>
                  </a:lnTo>
                  <a:lnTo>
                    <a:pt x="81012" y="93712"/>
                  </a:lnTo>
                  <a:lnTo>
                    <a:pt x="79360" y="97528"/>
                  </a:lnTo>
                  <a:lnTo>
                    <a:pt x="77649" y="99146"/>
                  </a:lnTo>
                  <a:lnTo>
                    <a:pt x="77268" y="101229"/>
                  </a:lnTo>
                  <a:lnTo>
                    <a:pt x="79706" y="105512"/>
                  </a:lnTo>
                  <a:lnTo>
                    <a:pt x="79975" y="106267"/>
                  </a:lnTo>
                  <a:lnTo>
                    <a:pt x="81390" y="108566"/>
                  </a:lnTo>
                  <a:lnTo>
                    <a:pt x="82076" y="110206"/>
                  </a:lnTo>
                  <a:lnTo>
                    <a:pt x="83160" y="111846"/>
                  </a:lnTo>
                  <a:lnTo>
                    <a:pt x="87082" y="116101"/>
                  </a:lnTo>
                  <a:lnTo>
                    <a:pt x="88827" y="117402"/>
                  </a:lnTo>
                  <a:lnTo>
                    <a:pt x="90927" y="118287"/>
                  </a:lnTo>
                  <a:lnTo>
                    <a:pt x="94739" y="122114"/>
                  </a:lnTo>
                  <a:lnTo>
                    <a:pt x="96665" y="124550"/>
                  </a:lnTo>
                  <a:lnTo>
                    <a:pt x="95788" y="126211"/>
                  </a:lnTo>
                  <a:lnTo>
                    <a:pt x="96220" y="129726"/>
                  </a:lnTo>
                  <a:lnTo>
                    <a:pt x="93499" y="128689"/>
                  </a:lnTo>
                  <a:lnTo>
                    <a:pt x="93823" y="129104"/>
                  </a:lnTo>
                  <a:lnTo>
                    <a:pt x="97058" y="131021"/>
                  </a:lnTo>
                  <a:lnTo>
                    <a:pt x="101900" y="137758"/>
                  </a:lnTo>
                  <a:lnTo>
                    <a:pt x="106110" y="141079"/>
                  </a:lnTo>
                  <a:lnTo>
                    <a:pt x="110394" y="144854"/>
                  </a:lnTo>
                  <a:lnTo>
                    <a:pt x="111732" y="148438"/>
                  </a:lnTo>
                  <a:lnTo>
                    <a:pt x="115594" y="150807"/>
                  </a:lnTo>
                  <a:lnTo>
                    <a:pt x="119889" y="154244"/>
                  </a:lnTo>
                  <a:lnTo>
                    <a:pt x="119702" y="155014"/>
                  </a:lnTo>
                  <a:lnTo>
                    <a:pt x="120866" y="155937"/>
                  </a:lnTo>
                  <a:lnTo>
                    <a:pt x="123755" y="157759"/>
                  </a:lnTo>
                  <a:lnTo>
                    <a:pt x="125501" y="159684"/>
                  </a:lnTo>
                  <a:lnTo>
                    <a:pt x="126180" y="161514"/>
                  </a:lnTo>
                  <a:lnTo>
                    <a:pt x="127246" y="161805"/>
                  </a:lnTo>
                  <a:lnTo>
                    <a:pt x="128447" y="161356"/>
                  </a:lnTo>
                  <a:lnTo>
                    <a:pt x="129650" y="161181"/>
                  </a:lnTo>
                  <a:lnTo>
                    <a:pt x="130505" y="161317"/>
                  </a:lnTo>
                  <a:lnTo>
                    <a:pt x="131801" y="163323"/>
                  </a:lnTo>
                  <a:lnTo>
                    <a:pt x="133608" y="165117"/>
                  </a:lnTo>
                  <a:lnTo>
                    <a:pt x="134476" y="166764"/>
                  </a:lnTo>
                  <a:lnTo>
                    <a:pt x="135180" y="166544"/>
                  </a:lnTo>
                  <a:lnTo>
                    <a:pt x="135767" y="166793"/>
                  </a:lnTo>
                  <a:lnTo>
                    <a:pt x="135914" y="168171"/>
                  </a:lnTo>
                  <a:lnTo>
                    <a:pt x="136180" y="169077"/>
                  </a:lnTo>
                  <a:lnTo>
                    <a:pt x="138596" y="171721"/>
                  </a:lnTo>
                  <a:lnTo>
                    <a:pt x="139749" y="174208"/>
                  </a:lnTo>
                  <a:lnTo>
                    <a:pt x="142632" y="178240"/>
                  </a:lnTo>
                  <a:lnTo>
                    <a:pt x="144764" y="180530"/>
                  </a:lnTo>
                  <a:lnTo>
                    <a:pt x="146279" y="181819"/>
                  </a:lnTo>
                  <a:lnTo>
                    <a:pt x="148015" y="182921"/>
                  </a:lnTo>
                  <a:lnTo>
                    <a:pt x="149717" y="187388"/>
                  </a:lnTo>
                  <a:lnTo>
                    <a:pt x="150639" y="191437"/>
                  </a:lnTo>
                  <a:lnTo>
                    <a:pt x="152464" y="195926"/>
                  </a:lnTo>
                  <a:lnTo>
                    <a:pt x="153844" y="197884"/>
                  </a:lnTo>
                  <a:lnTo>
                    <a:pt x="153891" y="201578"/>
                  </a:lnTo>
                  <a:lnTo>
                    <a:pt x="155003" y="205380"/>
                  </a:lnTo>
                  <a:lnTo>
                    <a:pt x="156199" y="207944"/>
                  </a:lnTo>
                  <a:lnTo>
                    <a:pt x="156551" y="210564"/>
                  </a:lnTo>
                  <a:lnTo>
                    <a:pt x="156919" y="211864"/>
                  </a:lnTo>
                  <a:lnTo>
                    <a:pt x="157376" y="212839"/>
                  </a:lnTo>
                  <a:lnTo>
                    <a:pt x="158674" y="217279"/>
                  </a:lnTo>
                  <a:lnTo>
                    <a:pt x="158337" y="219338"/>
                  </a:lnTo>
                  <a:lnTo>
                    <a:pt x="157430" y="217317"/>
                  </a:lnTo>
                  <a:lnTo>
                    <a:pt x="157540" y="223268"/>
                  </a:lnTo>
                  <a:lnTo>
                    <a:pt x="158337" y="226414"/>
                  </a:lnTo>
                  <a:lnTo>
                    <a:pt x="157978" y="230272"/>
                  </a:lnTo>
                  <a:lnTo>
                    <a:pt x="158812" y="231625"/>
                  </a:lnTo>
                  <a:lnTo>
                    <a:pt x="160298" y="235981"/>
                  </a:lnTo>
                  <a:lnTo>
                    <a:pt x="161341" y="237544"/>
                  </a:lnTo>
                  <a:lnTo>
                    <a:pt x="161255" y="242868"/>
                  </a:lnTo>
                  <a:lnTo>
                    <a:pt x="161805" y="245551"/>
                  </a:lnTo>
                  <a:lnTo>
                    <a:pt x="160401" y="243953"/>
                  </a:lnTo>
                  <a:lnTo>
                    <a:pt x="159387" y="242130"/>
                  </a:lnTo>
                  <a:lnTo>
                    <a:pt x="158026" y="243093"/>
                  </a:lnTo>
                  <a:lnTo>
                    <a:pt x="156809" y="244514"/>
                  </a:lnTo>
                  <a:lnTo>
                    <a:pt x="158704" y="250231"/>
                  </a:lnTo>
                  <a:lnTo>
                    <a:pt x="156540" y="249688"/>
                  </a:lnTo>
                  <a:lnTo>
                    <a:pt x="156737" y="257373"/>
                  </a:lnTo>
                  <a:lnTo>
                    <a:pt x="157633" y="259167"/>
                  </a:lnTo>
                  <a:lnTo>
                    <a:pt x="157698" y="260027"/>
                  </a:lnTo>
                  <a:lnTo>
                    <a:pt x="157435" y="261055"/>
                  </a:lnTo>
                  <a:lnTo>
                    <a:pt x="156837" y="259931"/>
                  </a:lnTo>
                  <a:lnTo>
                    <a:pt x="156711" y="258773"/>
                  </a:lnTo>
                  <a:lnTo>
                    <a:pt x="156370" y="259029"/>
                  </a:lnTo>
                  <a:lnTo>
                    <a:pt x="156387" y="259625"/>
                  </a:lnTo>
                  <a:lnTo>
                    <a:pt x="155666" y="260981"/>
                  </a:lnTo>
                  <a:lnTo>
                    <a:pt x="155450" y="262660"/>
                  </a:lnTo>
                  <a:lnTo>
                    <a:pt x="156227" y="264087"/>
                  </a:lnTo>
                  <a:lnTo>
                    <a:pt x="156359" y="265176"/>
                  </a:lnTo>
                  <a:lnTo>
                    <a:pt x="155798" y="266523"/>
                  </a:lnTo>
                  <a:lnTo>
                    <a:pt x="154897" y="267950"/>
                  </a:lnTo>
                  <a:lnTo>
                    <a:pt x="152844" y="268138"/>
                  </a:lnTo>
                  <a:lnTo>
                    <a:pt x="152375" y="270923"/>
                  </a:lnTo>
                  <a:lnTo>
                    <a:pt x="151673" y="273879"/>
                  </a:lnTo>
                  <a:lnTo>
                    <a:pt x="148005" y="274348"/>
                  </a:lnTo>
                  <a:lnTo>
                    <a:pt x="145340" y="276949"/>
                  </a:lnTo>
                  <a:lnTo>
                    <a:pt x="142044" y="277918"/>
                  </a:lnTo>
                  <a:lnTo>
                    <a:pt x="139110" y="280497"/>
                  </a:lnTo>
                  <a:lnTo>
                    <a:pt x="135863" y="282878"/>
                  </a:lnTo>
                  <a:lnTo>
                    <a:pt x="133750" y="283194"/>
                  </a:lnTo>
                  <a:lnTo>
                    <a:pt x="131954" y="283707"/>
                  </a:lnTo>
                  <a:lnTo>
                    <a:pt x="129886" y="287663"/>
                  </a:lnTo>
                  <a:lnTo>
                    <a:pt x="126430" y="288116"/>
                  </a:lnTo>
                  <a:lnTo>
                    <a:pt x="120224" y="291350"/>
                  </a:lnTo>
                  <a:lnTo>
                    <a:pt x="118143" y="292906"/>
                  </a:lnTo>
                  <a:lnTo>
                    <a:pt x="116244" y="293514"/>
                  </a:lnTo>
                  <a:lnTo>
                    <a:pt x="113525" y="294861"/>
                  </a:lnTo>
                  <a:lnTo>
                    <a:pt x="112941" y="294381"/>
                  </a:lnTo>
                  <a:lnTo>
                    <a:pt x="112035" y="293225"/>
                  </a:lnTo>
                  <a:lnTo>
                    <a:pt x="109684" y="292627"/>
                  </a:lnTo>
                  <a:lnTo>
                    <a:pt x="108533" y="291331"/>
                  </a:lnTo>
                  <a:lnTo>
                    <a:pt x="108201" y="289662"/>
                  </a:lnTo>
                  <a:lnTo>
                    <a:pt x="107890" y="289001"/>
                  </a:lnTo>
                  <a:lnTo>
                    <a:pt x="107382" y="289945"/>
                  </a:lnTo>
                  <a:lnTo>
                    <a:pt x="106993" y="293915"/>
                  </a:lnTo>
                  <a:lnTo>
                    <a:pt x="106582" y="294817"/>
                  </a:lnTo>
                  <a:lnTo>
                    <a:pt x="105577" y="295209"/>
                  </a:lnTo>
                  <a:lnTo>
                    <a:pt x="103601" y="294080"/>
                  </a:lnTo>
                  <a:lnTo>
                    <a:pt x="101714" y="291793"/>
                  </a:lnTo>
                  <a:lnTo>
                    <a:pt x="99028" y="293373"/>
                  </a:lnTo>
                  <a:lnTo>
                    <a:pt x="99850" y="293568"/>
                  </a:lnTo>
                  <a:lnTo>
                    <a:pt x="101075" y="293438"/>
                  </a:lnTo>
                  <a:lnTo>
                    <a:pt x="102021" y="293833"/>
                  </a:lnTo>
                  <a:lnTo>
                    <a:pt x="102824" y="295358"/>
                  </a:lnTo>
                  <a:lnTo>
                    <a:pt x="102796" y="296189"/>
                  </a:lnTo>
                  <a:lnTo>
                    <a:pt x="102379" y="297153"/>
                  </a:lnTo>
                  <a:lnTo>
                    <a:pt x="99861" y="297307"/>
                  </a:lnTo>
                  <a:lnTo>
                    <a:pt x="96503" y="296968"/>
                  </a:lnTo>
                  <a:lnTo>
                    <a:pt x="95892" y="297098"/>
                  </a:lnTo>
                  <a:lnTo>
                    <a:pt x="98952" y="298584"/>
                  </a:lnTo>
                  <a:lnTo>
                    <a:pt x="101751" y="299443"/>
                  </a:lnTo>
                  <a:lnTo>
                    <a:pt x="102994" y="300384"/>
                  </a:lnTo>
                  <a:lnTo>
                    <a:pt x="102994" y="301159"/>
                  </a:lnTo>
                  <a:lnTo>
                    <a:pt x="101422" y="302416"/>
                  </a:lnTo>
                  <a:lnTo>
                    <a:pt x="100207" y="303952"/>
                  </a:lnTo>
                  <a:lnTo>
                    <a:pt x="100183" y="304905"/>
                  </a:lnTo>
                  <a:lnTo>
                    <a:pt x="100155" y="305969"/>
                  </a:lnTo>
                  <a:lnTo>
                    <a:pt x="98801" y="306889"/>
                  </a:lnTo>
                  <a:lnTo>
                    <a:pt x="97954" y="306706"/>
                  </a:lnTo>
                  <a:lnTo>
                    <a:pt x="95562" y="305108"/>
                  </a:lnTo>
                  <a:lnTo>
                    <a:pt x="88648" y="298809"/>
                  </a:lnTo>
                  <a:lnTo>
                    <a:pt x="89690" y="300587"/>
                  </a:lnTo>
                  <a:lnTo>
                    <a:pt x="96851" y="307751"/>
                  </a:lnTo>
                  <a:lnTo>
                    <a:pt x="98110" y="310109"/>
                  </a:lnTo>
                  <a:lnTo>
                    <a:pt x="98289" y="311771"/>
                  </a:lnTo>
                  <a:lnTo>
                    <a:pt x="97553" y="312609"/>
                  </a:lnTo>
                  <a:lnTo>
                    <a:pt x="96335" y="313594"/>
                  </a:lnTo>
                  <a:lnTo>
                    <a:pt x="93990" y="313668"/>
                  </a:lnTo>
                  <a:lnTo>
                    <a:pt x="90141" y="311005"/>
                  </a:lnTo>
                  <a:lnTo>
                    <a:pt x="83988" y="304615"/>
                  </a:lnTo>
                  <a:lnTo>
                    <a:pt x="81893" y="303744"/>
                  </a:lnTo>
                  <a:lnTo>
                    <a:pt x="88118" y="311046"/>
                  </a:lnTo>
                  <a:lnTo>
                    <a:pt x="89138" y="312819"/>
                  </a:lnTo>
                  <a:lnTo>
                    <a:pt x="90189" y="314867"/>
                  </a:lnTo>
                  <a:lnTo>
                    <a:pt x="89889" y="316084"/>
                  </a:lnTo>
                  <a:lnTo>
                    <a:pt x="89353" y="317223"/>
                  </a:lnTo>
                  <a:lnTo>
                    <a:pt x="74596" y="323991"/>
                  </a:lnTo>
                  <a:lnTo>
                    <a:pt x="72394" y="326906"/>
                  </a:lnTo>
                  <a:lnTo>
                    <a:pt x="70645" y="330500"/>
                  </a:lnTo>
                  <a:lnTo>
                    <a:pt x="67747" y="332501"/>
                  </a:lnTo>
                  <a:lnTo>
                    <a:pt x="66048" y="334330"/>
                  </a:lnTo>
                  <a:lnTo>
                    <a:pt x="61128" y="335353"/>
                  </a:lnTo>
                  <a:lnTo>
                    <a:pt x="58442" y="335033"/>
                  </a:lnTo>
                  <a:lnTo>
                    <a:pt x="61225" y="331714"/>
                  </a:lnTo>
                  <a:lnTo>
                    <a:pt x="59507" y="330484"/>
                  </a:lnTo>
                  <a:lnTo>
                    <a:pt x="59420" y="321933"/>
                  </a:lnTo>
                  <a:lnTo>
                    <a:pt x="60096" y="312551"/>
                  </a:lnTo>
                  <a:lnTo>
                    <a:pt x="61379" y="307862"/>
                  </a:lnTo>
                  <a:lnTo>
                    <a:pt x="63234" y="306693"/>
                  </a:lnTo>
                  <a:lnTo>
                    <a:pt x="65565" y="305971"/>
                  </a:lnTo>
                  <a:lnTo>
                    <a:pt x="65617" y="304982"/>
                  </a:lnTo>
                  <a:lnTo>
                    <a:pt x="65386" y="303856"/>
                  </a:lnTo>
                  <a:lnTo>
                    <a:pt x="64134" y="302254"/>
                  </a:lnTo>
                  <a:lnTo>
                    <a:pt x="62762" y="301514"/>
                  </a:lnTo>
                  <a:lnTo>
                    <a:pt x="60716" y="301197"/>
                  </a:lnTo>
                  <a:lnTo>
                    <a:pt x="59139" y="299232"/>
                  </a:lnTo>
                  <a:lnTo>
                    <a:pt x="57939" y="299313"/>
                  </a:lnTo>
                  <a:lnTo>
                    <a:pt x="56078" y="299965"/>
                  </a:lnTo>
                  <a:lnTo>
                    <a:pt x="54954" y="299122"/>
                  </a:lnTo>
                  <a:lnTo>
                    <a:pt x="54542" y="297799"/>
                  </a:lnTo>
                  <a:lnTo>
                    <a:pt x="52819" y="296166"/>
                  </a:lnTo>
                  <a:lnTo>
                    <a:pt x="50835" y="294574"/>
                  </a:lnTo>
                  <a:lnTo>
                    <a:pt x="51733" y="294325"/>
                  </a:lnTo>
                  <a:lnTo>
                    <a:pt x="52773" y="293410"/>
                  </a:lnTo>
                  <a:lnTo>
                    <a:pt x="53883" y="292233"/>
                  </a:lnTo>
                  <a:lnTo>
                    <a:pt x="56656" y="292070"/>
                  </a:lnTo>
                  <a:lnTo>
                    <a:pt x="59437" y="292125"/>
                  </a:lnTo>
                  <a:lnTo>
                    <a:pt x="60215" y="291819"/>
                  </a:lnTo>
                  <a:lnTo>
                    <a:pt x="61335" y="290573"/>
                  </a:lnTo>
                  <a:lnTo>
                    <a:pt x="63162" y="288970"/>
                  </a:lnTo>
                  <a:lnTo>
                    <a:pt x="64545" y="288082"/>
                  </a:lnTo>
                  <a:lnTo>
                    <a:pt x="64870" y="287363"/>
                  </a:lnTo>
                  <a:lnTo>
                    <a:pt x="64317" y="285672"/>
                  </a:lnTo>
                  <a:lnTo>
                    <a:pt x="64011" y="283939"/>
                  </a:lnTo>
                  <a:lnTo>
                    <a:pt x="64529" y="283391"/>
                  </a:lnTo>
                  <a:lnTo>
                    <a:pt x="67045" y="283700"/>
                  </a:lnTo>
                  <a:lnTo>
                    <a:pt x="69805" y="284507"/>
                  </a:lnTo>
                  <a:lnTo>
                    <a:pt x="70476" y="284872"/>
                  </a:lnTo>
                  <a:lnTo>
                    <a:pt x="72065" y="282749"/>
                  </a:lnTo>
                  <a:lnTo>
                    <a:pt x="72491" y="282491"/>
                  </a:lnTo>
                  <a:lnTo>
                    <a:pt x="73529" y="282495"/>
                  </a:lnTo>
                  <a:lnTo>
                    <a:pt x="76268" y="282104"/>
                  </a:lnTo>
                  <a:lnTo>
                    <a:pt x="78948" y="281541"/>
                  </a:lnTo>
                  <a:lnTo>
                    <a:pt x="80215" y="281632"/>
                  </a:lnTo>
                  <a:lnTo>
                    <a:pt x="81446" y="283062"/>
                  </a:lnTo>
                  <a:lnTo>
                    <a:pt x="82387" y="284460"/>
                  </a:lnTo>
                  <a:lnTo>
                    <a:pt x="82871" y="284574"/>
                  </a:lnTo>
                  <a:lnTo>
                    <a:pt x="84264" y="283978"/>
                  </a:lnTo>
                  <a:lnTo>
                    <a:pt x="85412" y="284724"/>
                  </a:lnTo>
                  <a:lnTo>
                    <a:pt x="87816" y="285943"/>
                  </a:lnTo>
                  <a:lnTo>
                    <a:pt x="89256" y="285996"/>
                  </a:lnTo>
                  <a:lnTo>
                    <a:pt x="88539" y="283154"/>
                  </a:lnTo>
                  <a:lnTo>
                    <a:pt x="89345" y="281133"/>
                  </a:lnTo>
                  <a:lnTo>
                    <a:pt x="89190" y="280578"/>
                  </a:lnTo>
                  <a:lnTo>
                    <a:pt x="87831" y="279648"/>
                  </a:lnTo>
                  <a:lnTo>
                    <a:pt x="83234" y="275928"/>
                  </a:lnTo>
                  <a:lnTo>
                    <a:pt x="82448" y="274821"/>
                  </a:lnTo>
                  <a:lnTo>
                    <a:pt x="82556" y="273072"/>
                  </a:lnTo>
                  <a:lnTo>
                    <a:pt x="82402" y="270504"/>
                  </a:lnTo>
                  <a:lnTo>
                    <a:pt x="81990" y="268890"/>
                  </a:lnTo>
                  <a:lnTo>
                    <a:pt x="82059" y="267944"/>
                  </a:lnTo>
                  <a:lnTo>
                    <a:pt x="82347" y="267189"/>
                  </a:lnTo>
                  <a:lnTo>
                    <a:pt x="83195" y="266890"/>
                  </a:lnTo>
                  <a:lnTo>
                    <a:pt x="84007" y="266788"/>
                  </a:lnTo>
                  <a:lnTo>
                    <a:pt x="84663" y="266126"/>
                  </a:lnTo>
                  <a:lnTo>
                    <a:pt x="85765" y="264433"/>
                  </a:lnTo>
                  <a:lnTo>
                    <a:pt x="87907" y="264584"/>
                  </a:lnTo>
                  <a:lnTo>
                    <a:pt x="90919" y="265546"/>
                  </a:lnTo>
                  <a:lnTo>
                    <a:pt x="93145" y="266140"/>
                  </a:lnTo>
                  <a:lnTo>
                    <a:pt x="94458" y="266024"/>
                  </a:lnTo>
                  <a:lnTo>
                    <a:pt x="94752" y="265783"/>
                  </a:lnTo>
                  <a:lnTo>
                    <a:pt x="94713" y="264873"/>
                  </a:lnTo>
                  <a:lnTo>
                    <a:pt x="94868" y="260987"/>
                  </a:lnTo>
                  <a:lnTo>
                    <a:pt x="94782" y="260164"/>
                  </a:lnTo>
                  <a:lnTo>
                    <a:pt x="96678" y="259781"/>
                  </a:lnTo>
                  <a:lnTo>
                    <a:pt x="99583" y="259698"/>
                  </a:lnTo>
                  <a:lnTo>
                    <a:pt x="101111" y="259472"/>
                  </a:lnTo>
                  <a:lnTo>
                    <a:pt x="102538" y="257834"/>
                  </a:lnTo>
                  <a:lnTo>
                    <a:pt x="106209" y="257269"/>
                  </a:lnTo>
                  <a:lnTo>
                    <a:pt x="108864" y="255063"/>
                  </a:lnTo>
                  <a:lnTo>
                    <a:pt x="111258" y="252792"/>
                  </a:lnTo>
                  <a:lnTo>
                    <a:pt x="112433" y="252188"/>
                  </a:lnTo>
                  <a:lnTo>
                    <a:pt x="113928" y="251793"/>
                  </a:lnTo>
                  <a:lnTo>
                    <a:pt x="115041" y="251850"/>
                  </a:lnTo>
                  <a:lnTo>
                    <a:pt x="116441" y="253164"/>
                  </a:lnTo>
                  <a:lnTo>
                    <a:pt x="117605" y="252374"/>
                  </a:lnTo>
                  <a:lnTo>
                    <a:pt x="118941" y="250828"/>
                  </a:lnTo>
                  <a:lnTo>
                    <a:pt x="119641" y="249319"/>
                  </a:lnTo>
                  <a:lnTo>
                    <a:pt x="120026" y="246890"/>
                  </a:lnTo>
                  <a:lnTo>
                    <a:pt x="119762" y="243163"/>
                  </a:lnTo>
                  <a:lnTo>
                    <a:pt x="119054" y="240246"/>
                  </a:lnTo>
                  <a:lnTo>
                    <a:pt x="118391" y="238058"/>
                  </a:lnTo>
                  <a:lnTo>
                    <a:pt x="118254" y="235872"/>
                  </a:lnTo>
                  <a:lnTo>
                    <a:pt x="119806" y="231485"/>
                  </a:lnTo>
                  <a:lnTo>
                    <a:pt x="121131" y="226706"/>
                  </a:lnTo>
                  <a:lnTo>
                    <a:pt x="120876" y="224818"/>
                  </a:lnTo>
                  <a:lnTo>
                    <a:pt x="119432" y="221834"/>
                  </a:lnTo>
                  <a:lnTo>
                    <a:pt x="117965" y="218198"/>
                  </a:lnTo>
                  <a:lnTo>
                    <a:pt x="116355" y="214200"/>
                  </a:lnTo>
                  <a:lnTo>
                    <a:pt x="115750" y="213604"/>
                  </a:lnTo>
                  <a:lnTo>
                    <a:pt x="115318" y="212490"/>
                  </a:lnTo>
                  <a:lnTo>
                    <a:pt x="115072" y="211189"/>
                  </a:lnTo>
                  <a:lnTo>
                    <a:pt x="115711" y="207100"/>
                  </a:lnTo>
                  <a:lnTo>
                    <a:pt x="115802" y="205728"/>
                  </a:lnTo>
                  <a:lnTo>
                    <a:pt x="117658" y="203866"/>
                  </a:lnTo>
                  <a:lnTo>
                    <a:pt x="118647" y="201732"/>
                  </a:lnTo>
                  <a:lnTo>
                    <a:pt x="119578" y="199379"/>
                  </a:lnTo>
                  <a:lnTo>
                    <a:pt x="119229" y="198134"/>
                  </a:lnTo>
                  <a:lnTo>
                    <a:pt x="119103" y="195597"/>
                  </a:lnTo>
                  <a:lnTo>
                    <a:pt x="119341" y="194367"/>
                  </a:lnTo>
                  <a:lnTo>
                    <a:pt x="118902" y="193370"/>
                  </a:lnTo>
                  <a:lnTo>
                    <a:pt x="118365" y="191925"/>
                  </a:lnTo>
                  <a:lnTo>
                    <a:pt x="118717" y="190985"/>
                  </a:lnTo>
                  <a:lnTo>
                    <a:pt x="120021" y="190181"/>
                  </a:lnTo>
                  <a:lnTo>
                    <a:pt x="120781" y="188792"/>
                  </a:lnTo>
                  <a:lnTo>
                    <a:pt x="121755" y="187177"/>
                  </a:lnTo>
                  <a:lnTo>
                    <a:pt x="122184" y="185698"/>
                  </a:lnTo>
                  <a:lnTo>
                    <a:pt x="121489" y="184462"/>
                  </a:lnTo>
                  <a:lnTo>
                    <a:pt x="120219" y="182612"/>
                  </a:lnTo>
                  <a:lnTo>
                    <a:pt x="117905" y="180932"/>
                  </a:lnTo>
                  <a:lnTo>
                    <a:pt x="115234" y="178789"/>
                  </a:lnTo>
                  <a:lnTo>
                    <a:pt x="113921" y="177470"/>
                  </a:lnTo>
                  <a:lnTo>
                    <a:pt x="112887" y="176126"/>
                  </a:lnTo>
                  <a:lnTo>
                    <a:pt x="111934" y="174558"/>
                  </a:lnTo>
                  <a:lnTo>
                    <a:pt x="111411" y="173307"/>
                  </a:lnTo>
                  <a:lnTo>
                    <a:pt x="111919" y="172488"/>
                  </a:lnTo>
                  <a:lnTo>
                    <a:pt x="115717" y="170604"/>
                  </a:lnTo>
                  <a:lnTo>
                    <a:pt x="116410" y="169925"/>
                  </a:lnTo>
                  <a:lnTo>
                    <a:pt x="116812" y="168878"/>
                  </a:lnTo>
                  <a:lnTo>
                    <a:pt x="116508" y="167854"/>
                  </a:lnTo>
                  <a:lnTo>
                    <a:pt x="115484" y="167301"/>
                  </a:lnTo>
                  <a:lnTo>
                    <a:pt x="114299" y="166923"/>
                  </a:lnTo>
                  <a:lnTo>
                    <a:pt x="112549" y="165737"/>
                  </a:lnTo>
                  <a:lnTo>
                    <a:pt x="109284" y="162481"/>
                  </a:lnTo>
                  <a:lnTo>
                    <a:pt x="107786" y="161755"/>
                  </a:lnTo>
                  <a:lnTo>
                    <a:pt x="106209" y="160818"/>
                  </a:lnTo>
                  <a:lnTo>
                    <a:pt x="105372" y="159832"/>
                  </a:lnTo>
                  <a:lnTo>
                    <a:pt x="104450" y="157128"/>
                  </a:lnTo>
                  <a:lnTo>
                    <a:pt x="104037" y="156886"/>
                  </a:lnTo>
                  <a:lnTo>
                    <a:pt x="103134" y="157702"/>
                  </a:lnTo>
                  <a:lnTo>
                    <a:pt x="101983" y="158560"/>
                  </a:lnTo>
                  <a:lnTo>
                    <a:pt x="101023" y="158414"/>
                  </a:lnTo>
                  <a:lnTo>
                    <a:pt x="100146" y="157650"/>
                  </a:lnTo>
                  <a:lnTo>
                    <a:pt x="99727" y="156621"/>
                  </a:lnTo>
                  <a:lnTo>
                    <a:pt x="98758" y="155209"/>
                  </a:lnTo>
                  <a:lnTo>
                    <a:pt x="97708" y="154058"/>
                  </a:lnTo>
                  <a:lnTo>
                    <a:pt x="97432" y="150187"/>
                  </a:lnTo>
                  <a:lnTo>
                    <a:pt x="97261" y="148923"/>
                  </a:lnTo>
                  <a:lnTo>
                    <a:pt x="96736" y="147161"/>
                  </a:lnTo>
                  <a:lnTo>
                    <a:pt x="95920" y="146530"/>
                  </a:lnTo>
                  <a:lnTo>
                    <a:pt x="95050" y="146059"/>
                  </a:lnTo>
                  <a:lnTo>
                    <a:pt x="93003" y="142847"/>
                  </a:lnTo>
                  <a:lnTo>
                    <a:pt x="91591" y="141183"/>
                  </a:lnTo>
                  <a:lnTo>
                    <a:pt x="85769" y="136663"/>
                  </a:lnTo>
                  <a:lnTo>
                    <a:pt x="85046" y="135940"/>
                  </a:lnTo>
                  <a:lnTo>
                    <a:pt x="83480" y="134079"/>
                  </a:lnTo>
                  <a:lnTo>
                    <a:pt x="80755" y="131440"/>
                  </a:lnTo>
                  <a:lnTo>
                    <a:pt x="78807" y="129310"/>
                  </a:lnTo>
                  <a:lnTo>
                    <a:pt x="77388" y="127107"/>
                  </a:lnTo>
                  <a:lnTo>
                    <a:pt x="76734" y="125193"/>
                  </a:lnTo>
                  <a:lnTo>
                    <a:pt x="76531" y="123700"/>
                  </a:lnTo>
                  <a:lnTo>
                    <a:pt x="74985" y="121560"/>
                  </a:lnTo>
                  <a:lnTo>
                    <a:pt x="73651" y="119804"/>
                  </a:lnTo>
                  <a:lnTo>
                    <a:pt x="72363" y="119234"/>
                  </a:lnTo>
                  <a:lnTo>
                    <a:pt x="70893" y="118997"/>
                  </a:lnTo>
                  <a:lnTo>
                    <a:pt x="69561" y="117952"/>
                  </a:lnTo>
                  <a:lnTo>
                    <a:pt x="67129" y="115590"/>
                  </a:lnTo>
                  <a:lnTo>
                    <a:pt x="66051" y="114069"/>
                  </a:lnTo>
                  <a:lnTo>
                    <a:pt x="65417" y="113044"/>
                  </a:lnTo>
                  <a:lnTo>
                    <a:pt x="65443" y="111989"/>
                  </a:lnTo>
                  <a:lnTo>
                    <a:pt x="66028" y="110232"/>
                  </a:lnTo>
                  <a:lnTo>
                    <a:pt x="66734" y="109231"/>
                  </a:lnTo>
                  <a:lnTo>
                    <a:pt x="66758" y="108449"/>
                  </a:lnTo>
                  <a:lnTo>
                    <a:pt x="66065" y="107811"/>
                  </a:lnTo>
                  <a:lnTo>
                    <a:pt x="63367" y="106679"/>
                  </a:lnTo>
                  <a:lnTo>
                    <a:pt x="57250" y="104959"/>
                  </a:lnTo>
                  <a:lnTo>
                    <a:pt x="54968" y="103649"/>
                  </a:lnTo>
                  <a:lnTo>
                    <a:pt x="52860" y="101967"/>
                  </a:lnTo>
                  <a:lnTo>
                    <a:pt x="51264" y="100827"/>
                  </a:lnTo>
                  <a:lnTo>
                    <a:pt x="43808" y="95974"/>
                  </a:lnTo>
                  <a:lnTo>
                    <a:pt x="41547" y="95163"/>
                  </a:lnTo>
                  <a:lnTo>
                    <a:pt x="39601" y="94301"/>
                  </a:lnTo>
                  <a:lnTo>
                    <a:pt x="39010" y="93464"/>
                  </a:lnTo>
                  <a:lnTo>
                    <a:pt x="39115" y="92661"/>
                  </a:lnTo>
                  <a:lnTo>
                    <a:pt x="39903" y="92063"/>
                  </a:lnTo>
                  <a:lnTo>
                    <a:pt x="42016" y="90815"/>
                  </a:lnTo>
                  <a:lnTo>
                    <a:pt x="42797" y="89389"/>
                  </a:lnTo>
                  <a:lnTo>
                    <a:pt x="42547" y="87516"/>
                  </a:lnTo>
                  <a:lnTo>
                    <a:pt x="41704" y="85625"/>
                  </a:lnTo>
                  <a:lnTo>
                    <a:pt x="42115" y="84966"/>
                  </a:lnTo>
                  <a:lnTo>
                    <a:pt x="42795" y="84891"/>
                  </a:lnTo>
                  <a:lnTo>
                    <a:pt x="44218" y="84835"/>
                  </a:lnTo>
                  <a:lnTo>
                    <a:pt x="47153" y="84728"/>
                  </a:lnTo>
                  <a:lnTo>
                    <a:pt x="53486" y="86450"/>
                  </a:lnTo>
                  <a:lnTo>
                    <a:pt x="54406" y="86262"/>
                  </a:lnTo>
                  <a:lnTo>
                    <a:pt x="57840" y="83137"/>
                  </a:lnTo>
                  <a:lnTo>
                    <a:pt x="59135" y="81267"/>
                  </a:lnTo>
                  <a:lnTo>
                    <a:pt x="59431" y="79706"/>
                  </a:lnTo>
                  <a:lnTo>
                    <a:pt x="60109" y="78714"/>
                  </a:lnTo>
                  <a:lnTo>
                    <a:pt x="61925" y="77082"/>
                  </a:lnTo>
                  <a:lnTo>
                    <a:pt x="61953" y="75593"/>
                  </a:lnTo>
                  <a:lnTo>
                    <a:pt x="61057" y="73607"/>
                  </a:lnTo>
                  <a:lnTo>
                    <a:pt x="60154" y="72840"/>
                  </a:lnTo>
                  <a:lnTo>
                    <a:pt x="59377" y="72508"/>
                  </a:lnTo>
                  <a:lnTo>
                    <a:pt x="56857" y="72773"/>
                  </a:lnTo>
                  <a:lnTo>
                    <a:pt x="56375" y="72327"/>
                  </a:lnTo>
                  <a:lnTo>
                    <a:pt x="56043" y="70846"/>
                  </a:lnTo>
                  <a:lnTo>
                    <a:pt x="55922" y="69937"/>
                  </a:lnTo>
                  <a:lnTo>
                    <a:pt x="55091" y="68877"/>
                  </a:lnTo>
                  <a:lnTo>
                    <a:pt x="52379" y="67975"/>
                  </a:lnTo>
                  <a:lnTo>
                    <a:pt x="50079" y="67719"/>
                  </a:lnTo>
                  <a:lnTo>
                    <a:pt x="49538" y="67336"/>
                  </a:lnTo>
                  <a:lnTo>
                    <a:pt x="50424" y="66314"/>
                  </a:lnTo>
                  <a:lnTo>
                    <a:pt x="51990" y="65303"/>
                  </a:lnTo>
                  <a:lnTo>
                    <a:pt x="53186" y="64720"/>
                  </a:lnTo>
                  <a:lnTo>
                    <a:pt x="54125" y="63674"/>
                  </a:lnTo>
                  <a:lnTo>
                    <a:pt x="54303" y="62603"/>
                  </a:lnTo>
                  <a:lnTo>
                    <a:pt x="53134" y="61650"/>
                  </a:lnTo>
                  <a:lnTo>
                    <a:pt x="51610" y="60595"/>
                  </a:lnTo>
                  <a:lnTo>
                    <a:pt x="49137" y="58579"/>
                  </a:lnTo>
                  <a:lnTo>
                    <a:pt x="45726" y="56435"/>
                  </a:lnTo>
                  <a:lnTo>
                    <a:pt x="43648" y="55707"/>
                  </a:lnTo>
                  <a:lnTo>
                    <a:pt x="42558" y="55806"/>
                  </a:lnTo>
                  <a:lnTo>
                    <a:pt x="38798" y="57648"/>
                  </a:lnTo>
                  <a:lnTo>
                    <a:pt x="36775" y="58846"/>
                  </a:lnTo>
                  <a:lnTo>
                    <a:pt x="35093" y="60983"/>
                  </a:lnTo>
                  <a:lnTo>
                    <a:pt x="33337" y="61441"/>
                  </a:lnTo>
                  <a:lnTo>
                    <a:pt x="31560" y="60500"/>
                  </a:lnTo>
                  <a:lnTo>
                    <a:pt x="29545" y="59532"/>
                  </a:lnTo>
                  <a:lnTo>
                    <a:pt x="23954" y="58129"/>
                  </a:lnTo>
                  <a:lnTo>
                    <a:pt x="21605" y="56950"/>
                  </a:lnTo>
                  <a:lnTo>
                    <a:pt x="16725" y="49767"/>
                  </a:lnTo>
                  <a:lnTo>
                    <a:pt x="16003" y="48303"/>
                  </a:lnTo>
                  <a:lnTo>
                    <a:pt x="16470" y="46647"/>
                  </a:lnTo>
                  <a:lnTo>
                    <a:pt x="16806" y="44277"/>
                  </a:lnTo>
                  <a:lnTo>
                    <a:pt x="17295" y="42740"/>
                  </a:lnTo>
                  <a:lnTo>
                    <a:pt x="18158" y="41272"/>
                  </a:lnTo>
                  <a:lnTo>
                    <a:pt x="18392" y="39965"/>
                  </a:lnTo>
                  <a:lnTo>
                    <a:pt x="18180" y="38688"/>
                  </a:lnTo>
                  <a:lnTo>
                    <a:pt x="17474" y="37956"/>
                  </a:lnTo>
                  <a:lnTo>
                    <a:pt x="16556" y="37740"/>
                  </a:lnTo>
                  <a:lnTo>
                    <a:pt x="15872" y="37450"/>
                  </a:lnTo>
                  <a:lnTo>
                    <a:pt x="15224" y="35768"/>
                  </a:lnTo>
                  <a:lnTo>
                    <a:pt x="14833" y="35986"/>
                  </a:lnTo>
                  <a:lnTo>
                    <a:pt x="14233" y="38032"/>
                  </a:lnTo>
                  <a:lnTo>
                    <a:pt x="13514" y="38767"/>
                  </a:lnTo>
                  <a:lnTo>
                    <a:pt x="12557" y="39134"/>
                  </a:lnTo>
                  <a:lnTo>
                    <a:pt x="11821" y="38811"/>
                  </a:lnTo>
                  <a:lnTo>
                    <a:pt x="11352" y="37991"/>
                  </a:lnTo>
                  <a:lnTo>
                    <a:pt x="11141" y="36603"/>
                  </a:lnTo>
                  <a:lnTo>
                    <a:pt x="10663" y="34739"/>
                  </a:lnTo>
                  <a:lnTo>
                    <a:pt x="10063" y="33520"/>
                  </a:lnTo>
                  <a:lnTo>
                    <a:pt x="7962" y="32281"/>
                  </a:lnTo>
                  <a:lnTo>
                    <a:pt x="6971" y="30671"/>
                  </a:lnTo>
                  <a:lnTo>
                    <a:pt x="3846" y="27166"/>
                  </a:lnTo>
                  <a:lnTo>
                    <a:pt x="1229" y="24708"/>
                  </a:lnTo>
                  <a:lnTo>
                    <a:pt x="0" y="22497"/>
                  </a:lnTo>
                  <a:lnTo>
                    <a:pt x="1074" y="21673"/>
                  </a:lnTo>
                  <a:lnTo>
                    <a:pt x="2424" y="20479"/>
                  </a:lnTo>
                  <a:lnTo>
                    <a:pt x="3865" y="18619"/>
                  </a:lnTo>
                  <a:lnTo>
                    <a:pt x="5492" y="16279"/>
                  </a:lnTo>
                  <a:lnTo>
                    <a:pt x="6170" y="14851"/>
                  </a:lnTo>
                  <a:lnTo>
                    <a:pt x="6645" y="14273"/>
                  </a:lnTo>
                  <a:lnTo>
                    <a:pt x="7595" y="13851"/>
                  </a:lnTo>
                  <a:lnTo>
                    <a:pt x="8619" y="14082"/>
                  </a:lnTo>
                  <a:lnTo>
                    <a:pt x="10417" y="15028"/>
                  </a:lnTo>
                  <a:lnTo>
                    <a:pt x="13125" y="16235"/>
                  </a:lnTo>
                  <a:lnTo>
                    <a:pt x="15537" y="17662"/>
                  </a:lnTo>
                  <a:lnTo>
                    <a:pt x="16513" y="19099"/>
                  </a:lnTo>
                  <a:lnTo>
                    <a:pt x="17861" y="20476"/>
                  </a:lnTo>
                  <a:lnTo>
                    <a:pt x="18895" y="20892"/>
                  </a:lnTo>
                  <a:lnTo>
                    <a:pt x="19413" y="20782"/>
                  </a:lnTo>
                  <a:lnTo>
                    <a:pt x="20972" y="19747"/>
                  </a:lnTo>
                  <a:lnTo>
                    <a:pt x="22309" y="18707"/>
                  </a:lnTo>
                  <a:lnTo>
                    <a:pt x="22337" y="17527"/>
                  </a:lnTo>
                  <a:lnTo>
                    <a:pt x="23570" y="16467"/>
                  </a:lnTo>
                  <a:lnTo>
                    <a:pt x="25183" y="14722"/>
                  </a:lnTo>
                  <a:lnTo>
                    <a:pt x="25941" y="13538"/>
                  </a:lnTo>
                  <a:lnTo>
                    <a:pt x="26517" y="13413"/>
                  </a:lnTo>
                  <a:lnTo>
                    <a:pt x="27168" y="13764"/>
                  </a:lnTo>
                  <a:lnTo>
                    <a:pt x="29709" y="17424"/>
                  </a:lnTo>
                  <a:lnTo>
                    <a:pt x="30195" y="17643"/>
                  </a:lnTo>
                  <a:lnTo>
                    <a:pt x="30912" y="17094"/>
                  </a:lnTo>
                  <a:lnTo>
                    <a:pt x="31914" y="14235"/>
                  </a:lnTo>
                  <a:lnTo>
                    <a:pt x="33008" y="13127"/>
                  </a:lnTo>
                  <a:lnTo>
                    <a:pt x="33387" y="13407"/>
                  </a:lnTo>
                  <a:lnTo>
                    <a:pt x="39527" y="18800"/>
                  </a:lnTo>
                  <a:lnTo>
                    <a:pt x="40113" y="18757"/>
                  </a:lnTo>
                  <a:lnTo>
                    <a:pt x="40774" y="18515"/>
                  </a:lnTo>
                  <a:lnTo>
                    <a:pt x="41203" y="17686"/>
                  </a:lnTo>
                  <a:lnTo>
                    <a:pt x="41687" y="15820"/>
                  </a:lnTo>
                  <a:lnTo>
                    <a:pt x="42599" y="13820"/>
                  </a:lnTo>
                  <a:lnTo>
                    <a:pt x="44570" y="12706"/>
                  </a:lnTo>
                  <a:lnTo>
                    <a:pt x="46105" y="12490"/>
                  </a:lnTo>
                  <a:lnTo>
                    <a:pt x="46675" y="13443"/>
                  </a:lnTo>
                  <a:lnTo>
                    <a:pt x="48004" y="14757"/>
                  </a:lnTo>
                  <a:lnTo>
                    <a:pt x="49628" y="14942"/>
                  </a:lnTo>
                  <a:lnTo>
                    <a:pt x="53056" y="12613"/>
                  </a:lnTo>
                  <a:lnTo>
                    <a:pt x="54177" y="12243"/>
                  </a:lnTo>
                  <a:lnTo>
                    <a:pt x="55375" y="12285"/>
                  </a:lnTo>
                  <a:lnTo>
                    <a:pt x="56604" y="12192"/>
                  </a:lnTo>
                  <a:lnTo>
                    <a:pt x="57771" y="11300"/>
                  </a:lnTo>
                  <a:lnTo>
                    <a:pt x="59001" y="10121"/>
                  </a:lnTo>
                  <a:lnTo>
                    <a:pt x="59422" y="7799"/>
                  </a:lnTo>
                  <a:lnTo>
                    <a:pt x="59684" y="5715"/>
                  </a:lnTo>
                  <a:lnTo>
                    <a:pt x="60528" y="4872"/>
                  </a:lnTo>
                  <a:lnTo>
                    <a:pt x="61532" y="4308"/>
                  </a:lnTo>
                  <a:lnTo>
                    <a:pt x="63424" y="3520"/>
                  </a:lnTo>
                  <a:lnTo>
                    <a:pt x="67699" y="1497"/>
                  </a:lnTo>
                  <a:lnTo>
                    <a:pt x="68799" y="539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09" name="ee4p_YE_1_37365">
              <a:extLst>
                <a:ext uri="{FF2B5EF4-FFF2-40B4-BE49-F238E27FC236}">
                  <a16:creationId xmlns:a16="http://schemas.microsoft.com/office/drawing/2014/main" id="{04F3B5B8-41BE-7FB6-D10F-27E769BDCB98}"/>
                </a:ext>
              </a:extLst>
            </p:cNvPr>
            <p:cNvSpPr>
              <a:spLocks noChangeAspect="1"/>
            </p:cNvSpPr>
            <p:nvPr>
              <p:custDataLst>
                <p:tags r:id="rId263"/>
              </p:custDataLst>
            </p:nvPr>
          </p:nvSpPr>
          <p:spPr>
            <a:xfrm>
              <a:off x="7696259" y="4127441"/>
              <a:ext cx="332179" cy="195191"/>
            </a:xfrm>
            <a:custGeom>
              <a:avLst/>
              <a:gdLst>
                <a:gd name="connsiteX0" fmla="*/ 242922 w 264507"/>
                <a:gd name="connsiteY0" fmla="*/ 142397 h 151306"/>
                <a:gd name="connsiteX1" fmla="*/ 245211 w 264507"/>
                <a:gd name="connsiteY1" fmla="*/ 142585 h 151306"/>
                <a:gd name="connsiteX2" fmla="*/ 247969 w 264507"/>
                <a:gd name="connsiteY2" fmla="*/ 144170 h 151306"/>
                <a:gd name="connsiteX3" fmla="*/ 249331 w 264507"/>
                <a:gd name="connsiteY3" fmla="*/ 144440 h 151306"/>
                <a:gd name="connsiteX4" fmla="*/ 251404 w 264507"/>
                <a:gd name="connsiteY4" fmla="*/ 143662 h 151306"/>
                <a:gd name="connsiteX5" fmla="*/ 257349 w 264507"/>
                <a:gd name="connsiteY5" fmla="*/ 143559 h 151306"/>
                <a:gd name="connsiteX6" fmla="*/ 264507 w 264507"/>
                <a:gd name="connsiteY6" fmla="*/ 146058 h 151306"/>
                <a:gd name="connsiteX7" fmla="*/ 263156 w 264507"/>
                <a:gd name="connsiteY7" fmla="*/ 146717 h 151306"/>
                <a:gd name="connsiteX8" fmla="*/ 262354 w 264507"/>
                <a:gd name="connsiteY8" fmla="*/ 147618 h 151306"/>
                <a:gd name="connsiteX9" fmla="*/ 259204 w 264507"/>
                <a:gd name="connsiteY9" fmla="*/ 148441 h 151306"/>
                <a:gd name="connsiteX10" fmla="*/ 256068 w 264507"/>
                <a:gd name="connsiteY10" fmla="*/ 150371 h 151306"/>
                <a:gd name="connsiteX11" fmla="*/ 246988 w 264507"/>
                <a:gd name="connsiteY11" fmla="*/ 151306 h 151306"/>
                <a:gd name="connsiteX12" fmla="*/ 244323 w 264507"/>
                <a:gd name="connsiteY12" fmla="*/ 150783 h 151306"/>
                <a:gd name="connsiteX13" fmla="*/ 242136 w 264507"/>
                <a:gd name="connsiteY13" fmla="*/ 148919 h 151306"/>
                <a:gd name="connsiteX14" fmla="*/ 238076 w 264507"/>
                <a:gd name="connsiteY14" fmla="*/ 146498 h 151306"/>
                <a:gd name="connsiteX15" fmla="*/ 239683 w 264507"/>
                <a:gd name="connsiteY15" fmla="*/ 144955 h 151306"/>
                <a:gd name="connsiteX16" fmla="*/ 240024 w 264507"/>
                <a:gd name="connsiteY16" fmla="*/ 144248 h 151306"/>
                <a:gd name="connsiteX17" fmla="*/ 240622 w 264507"/>
                <a:gd name="connsiteY17" fmla="*/ 143569 h 151306"/>
                <a:gd name="connsiteX18" fmla="*/ 5135 w 264507"/>
                <a:gd name="connsiteY18" fmla="*/ 118697 h 151306"/>
                <a:gd name="connsiteX19" fmla="*/ 5420 w 264507"/>
                <a:gd name="connsiteY19" fmla="*/ 118769 h 151306"/>
                <a:gd name="connsiteX20" fmla="*/ 4573 w 264507"/>
                <a:gd name="connsiteY20" fmla="*/ 120161 h 151306"/>
                <a:gd name="connsiteX21" fmla="*/ 3111 w 264507"/>
                <a:gd name="connsiteY21" fmla="*/ 120851 h 151306"/>
                <a:gd name="connsiteX22" fmla="*/ 4111 w 264507"/>
                <a:gd name="connsiteY22" fmla="*/ 119064 h 151306"/>
                <a:gd name="connsiteX23" fmla="*/ 4711 w 264507"/>
                <a:gd name="connsiteY23" fmla="*/ 111977 h 151306"/>
                <a:gd name="connsiteX24" fmla="*/ 5513 w 264507"/>
                <a:gd name="connsiteY24" fmla="*/ 113222 h 151306"/>
                <a:gd name="connsiteX25" fmla="*/ 5271 w 264507"/>
                <a:gd name="connsiteY25" fmla="*/ 114141 h 151306"/>
                <a:gd name="connsiteX26" fmla="*/ 4979 w 264507"/>
                <a:gd name="connsiteY26" fmla="*/ 114620 h 151306"/>
                <a:gd name="connsiteX27" fmla="*/ 4578 w 264507"/>
                <a:gd name="connsiteY27" fmla="*/ 114515 h 151306"/>
                <a:gd name="connsiteX28" fmla="*/ 3206 w 264507"/>
                <a:gd name="connsiteY28" fmla="*/ 113320 h 151306"/>
                <a:gd name="connsiteX29" fmla="*/ 1179 w 264507"/>
                <a:gd name="connsiteY29" fmla="*/ 81141 h 151306"/>
                <a:gd name="connsiteX30" fmla="*/ 1669 w 264507"/>
                <a:gd name="connsiteY30" fmla="*/ 82602 h 151306"/>
                <a:gd name="connsiteX31" fmla="*/ 1358 w 264507"/>
                <a:gd name="connsiteY31" fmla="*/ 83410 h 151306"/>
                <a:gd name="connsiteX32" fmla="*/ 911 w 264507"/>
                <a:gd name="connsiteY32" fmla="*/ 84063 h 151306"/>
                <a:gd name="connsiteX33" fmla="*/ 214 w 264507"/>
                <a:gd name="connsiteY33" fmla="*/ 84565 h 151306"/>
                <a:gd name="connsiteX34" fmla="*/ 0 w 264507"/>
                <a:gd name="connsiteY34" fmla="*/ 83686 h 151306"/>
                <a:gd name="connsiteX35" fmla="*/ 457 w 264507"/>
                <a:gd name="connsiteY35" fmla="*/ 81711 h 151306"/>
                <a:gd name="connsiteX36" fmla="*/ 208486 w 264507"/>
                <a:gd name="connsiteY36" fmla="*/ 0 h 151306"/>
                <a:gd name="connsiteX37" fmla="*/ 209464 w 264507"/>
                <a:gd name="connsiteY37" fmla="*/ 2287 h 151306"/>
                <a:gd name="connsiteX38" fmla="*/ 210445 w 264507"/>
                <a:gd name="connsiteY38" fmla="*/ 4575 h 151306"/>
                <a:gd name="connsiteX39" fmla="*/ 211423 w 264507"/>
                <a:gd name="connsiteY39" fmla="*/ 6862 h 151306"/>
                <a:gd name="connsiteX40" fmla="*/ 212401 w 264507"/>
                <a:gd name="connsiteY40" fmla="*/ 9148 h 151306"/>
                <a:gd name="connsiteX41" fmla="*/ 213382 w 264507"/>
                <a:gd name="connsiteY41" fmla="*/ 11434 h 151306"/>
                <a:gd name="connsiteX42" fmla="*/ 214360 w 264507"/>
                <a:gd name="connsiteY42" fmla="*/ 13717 h 151306"/>
                <a:gd name="connsiteX43" fmla="*/ 215338 w 264507"/>
                <a:gd name="connsiteY43" fmla="*/ 16001 h 151306"/>
                <a:gd name="connsiteX44" fmla="*/ 216316 w 264507"/>
                <a:gd name="connsiteY44" fmla="*/ 18282 h 151306"/>
                <a:gd name="connsiteX45" fmla="*/ 217297 w 264507"/>
                <a:gd name="connsiteY45" fmla="*/ 20564 h 151306"/>
                <a:gd name="connsiteX46" fmla="*/ 218275 w 264507"/>
                <a:gd name="connsiteY46" fmla="*/ 22844 h 151306"/>
                <a:gd name="connsiteX47" fmla="*/ 219253 w 264507"/>
                <a:gd name="connsiteY47" fmla="*/ 25124 h 151306"/>
                <a:gd name="connsiteX48" fmla="*/ 220233 w 264507"/>
                <a:gd name="connsiteY48" fmla="*/ 27404 h 151306"/>
                <a:gd name="connsiteX49" fmla="*/ 221212 w 264507"/>
                <a:gd name="connsiteY49" fmla="*/ 29682 h 151306"/>
                <a:gd name="connsiteX50" fmla="*/ 222190 w 264507"/>
                <a:gd name="connsiteY50" fmla="*/ 31959 h 151306"/>
                <a:gd name="connsiteX51" fmla="*/ 223170 w 264507"/>
                <a:gd name="connsiteY51" fmla="*/ 34236 h 151306"/>
                <a:gd name="connsiteX52" fmla="*/ 224148 w 264507"/>
                <a:gd name="connsiteY52" fmla="*/ 36512 h 151306"/>
                <a:gd name="connsiteX53" fmla="*/ 225105 w 264507"/>
                <a:gd name="connsiteY53" fmla="*/ 38734 h 151306"/>
                <a:gd name="connsiteX54" fmla="*/ 226683 w 264507"/>
                <a:gd name="connsiteY54" fmla="*/ 39474 h 151306"/>
                <a:gd name="connsiteX55" fmla="*/ 227621 w 264507"/>
                <a:gd name="connsiteY55" fmla="*/ 41574 h 151306"/>
                <a:gd name="connsiteX56" fmla="*/ 228964 w 264507"/>
                <a:gd name="connsiteY56" fmla="*/ 44574 h 151306"/>
                <a:gd name="connsiteX57" fmla="*/ 230305 w 264507"/>
                <a:gd name="connsiteY57" fmla="*/ 47572 h 151306"/>
                <a:gd name="connsiteX58" fmla="*/ 231646 w 264507"/>
                <a:gd name="connsiteY58" fmla="*/ 50570 h 151306"/>
                <a:gd name="connsiteX59" fmla="*/ 232987 w 264507"/>
                <a:gd name="connsiteY59" fmla="*/ 53566 h 151306"/>
                <a:gd name="connsiteX60" fmla="*/ 221838 w 264507"/>
                <a:gd name="connsiteY60" fmla="*/ 57610 h 151306"/>
                <a:gd name="connsiteX61" fmla="*/ 218897 w 264507"/>
                <a:gd name="connsiteY61" fmla="*/ 59407 h 151306"/>
                <a:gd name="connsiteX62" fmla="*/ 216228 w 264507"/>
                <a:gd name="connsiteY62" fmla="*/ 61625 h 151306"/>
                <a:gd name="connsiteX63" fmla="*/ 214228 w 264507"/>
                <a:gd name="connsiteY63" fmla="*/ 64397 h 151306"/>
                <a:gd name="connsiteX64" fmla="*/ 212829 w 264507"/>
                <a:gd name="connsiteY64" fmla="*/ 69263 h 151306"/>
                <a:gd name="connsiteX65" fmla="*/ 213891 w 264507"/>
                <a:gd name="connsiteY65" fmla="*/ 73711 h 151306"/>
                <a:gd name="connsiteX66" fmla="*/ 213790 w 264507"/>
                <a:gd name="connsiteY66" fmla="*/ 76091 h 151306"/>
                <a:gd name="connsiteX67" fmla="*/ 210911 w 264507"/>
                <a:gd name="connsiteY67" fmla="*/ 77667 h 151306"/>
                <a:gd name="connsiteX68" fmla="*/ 208225 w 264507"/>
                <a:gd name="connsiteY68" fmla="*/ 78805 h 151306"/>
                <a:gd name="connsiteX69" fmla="*/ 205239 w 264507"/>
                <a:gd name="connsiteY69" fmla="*/ 80535 h 151306"/>
                <a:gd name="connsiteX70" fmla="*/ 203422 w 264507"/>
                <a:gd name="connsiteY70" fmla="*/ 80969 h 151306"/>
                <a:gd name="connsiteX71" fmla="*/ 201939 w 264507"/>
                <a:gd name="connsiteY71" fmla="*/ 82350 h 151306"/>
                <a:gd name="connsiteX72" fmla="*/ 200218 w 264507"/>
                <a:gd name="connsiteY72" fmla="*/ 83307 h 151306"/>
                <a:gd name="connsiteX73" fmla="*/ 193999 w 264507"/>
                <a:gd name="connsiteY73" fmla="*/ 85808 h 151306"/>
                <a:gd name="connsiteX74" fmla="*/ 187203 w 264507"/>
                <a:gd name="connsiteY74" fmla="*/ 87742 h 151306"/>
                <a:gd name="connsiteX75" fmla="*/ 176411 w 264507"/>
                <a:gd name="connsiteY75" fmla="*/ 90062 h 151306"/>
                <a:gd name="connsiteX76" fmla="*/ 172243 w 264507"/>
                <a:gd name="connsiteY76" fmla="*/ 92570 h 151306"/>
                <a:gd name="connsiteX77" fmla="*/ 168447 w 264507"/>
                <a:gd name="connsiteY77" fmla="*/ 94292 h 151306"/>
                <a:gd name="connsiteX78" fmla="*/ 162686 w 264507"/>
                <a:gd name="connsiteY78" fmla="*/ 94809 h 151306"/>
                <a:gd name="connsiteX79" fmla="*/ 154776 w 264507"/>
                <a:gd name="connsiteY79" fmla="*/ 97198 h 151306"/>
                <a:gd name="connsiteX80" fmla="*/ 150381 w 264507"/>
                <a:gd name="connsiteY80" fmla="*/ 99109 h 151306"/>
                <a:gd name="connsiteX81" fmla="*/ 144920 w 264507"/>
                <a:gd name="connsiteY81" fmla="*/ 102219 h 151306"/>
                <a:gd name="connsiteX82" fmla="*/ 143707 w 264507"/>
                <a:gd name="connsiteY82" fmla="*/ 103203 h 151306"/>
                <a:gd name="connsiteX83" fmla="*/ 142748 w 264507"/>
                <a:gd name="connsiteY83" fmla="*/ 105491 h 151306"/>
                <a:gd name="connsiteX84" fmla="*/ 141068 w 264507"/>
                <a:gd name="connsiteY84" fmla="*/ 107467 h 151306"/>
                <a:gd name="connsiteX85" fmla="*/ 137779 w 264507"/>
                <a:gd name="connsiteY85" fmla="*/ 110705 h 151306"/>
                <a:gd name="connsiteX86" fmla="*/ 135311 w 264507"/>
                <a:gd name="connsiteY86" fmla="*/ 112368 h 151306"/>
                <a:gd name="connsiteX87" fmla="*/ 133661 w 264507"/>
                <a:gd name="connsiteY87" fmla="*/ 112456 h 151306"/>
                <a:gd name="connsiteX88" fmla="*/ 130461 w 264507"/>
                <a:gd name="connsiteY88" fmla="*/ 113365 h 151306"/>
                <a:gd name="connsiteX89" fmla="*/ 126676 w 264507"/>
                <a:gd name="connsiteY89" fmla="*/ 113551 h 151306"/>
                <a:gd name="connsiteX90" fmla="*/ 120310 w 264507"/>
                <a:gd name="connsiteY90" fmla="*/ 112414 h 151306"/>
                <a:gd name="connsiteX91" fmla="*/ 118675 w 264507"/>
                <a:gd name="connsiteY91" fmla="*/ 113209 h 151306"/>
                <a:gd name="connsiteX92" fmla="*/ 117328 w 264507"/>
                <a:gd name="connsiteY92" fmla="*/ 114469 h 151306"/>
                <a:gd name="connsiteX93" fmla="*/ 112426 w 264507"/>
                <a:gd name="connsiteY93" fmla="*/ 116688 h 151306"/>
                <a:gd name="connsiteX94" fmla="*/ 107436 w 264507"/>
                <a:gd name="connsiteY94" fmla="*/ 121122 h 151306"/>
                <a:gd name="connsiteX95" fmla="*/ 103784 w 264507"/>
                <a:gd name="connsiteY95" fmla="*/ 122299 h 151306"/>
                <a:gd name="connsiteX96" fmla="*/ 97882 w 264507"/>
                <a:gd name="connsiteY96" fmla="*/ 123693 h 151306"/>
                <a:gd name="connsiteX97" fmla="*/ 93752 w 264507"/>
                <a:gd name="connsiteY97" fmla="*/ 125536 h 151306"/>
                <a:gd name="connsiteX98" fmla="*/ 90979 w 264507"/>
                <a:gd name="connsiteY98" fmla="*/ 126276 h 151306"/>
                <a:gd name="connsiteX99" fmla="*/ 87407 w 264507"/>
                <a:gd name="connsiteY99" fmla="*/ 126662 h 151306"/>
                <a:gd name="connsiteX100" fmla="*/ 80800 w 264507"/>
                <a:gd name="connsiteY100" fmla="*/ 126476 h 151306"/>
                <a:gd name="connsiteX101" fmla="*/ 74533 w 264507"/>
                <a:gd name="connsiteY101" fmla="*/ 127141 h 151306"/>
                <a:gd name="connsiteX102" fmla="*/ 68731 w 264507"/>
                <a:gd name="connsiteY102" fmla="*/ 128391 h 151306"/>
                <a:gd name="connsiteX103" fmla="*/ 66004 w 264507"/>
                <a:gd name="connsiteY103" fmla="*/ 130758 h 151306"/>
                <a:gd name="connsiteX104" fmla="*/ 62898 w 264507"/>
                <a:gd name="connsiteY104" fmla="*/ 134502 h 151306"/>
                <a:gd name="connsiteX105" fmla="*/ 57819 w 264507"/>
                <a:gd name="connsiteY105" fmla="*/ 136047 h 151306"/>
                <a:gd name="connsiteX106" fmla="*/ 56623 w 264507"/>
                <a:gd name="connsiteY106" fmla="*/ 137390 h 151306"/>
                <a:gd name="connsiteX107" fmla="*/ 55051 w 264507"/>
                <a:gd name="connsiteY107" fmla="*/ 140148 h 151306"/>
                <a:gd name="connsiteX108" fmla="*/ 51760 w 264507"/>
                <a:gd name="connsiteY108" fmla="*/ 140860 h 151306"/>
                <a:gd name="connsiteX109" fmla="*/ 48785 w 264507"/>
                <a:gd name="connsiteY109" fmla="*/ 141318 h 151306"/>
                <a:gd name="connsiteX110" fmla="*/ 45744 w 264507"/>
                <a:gd name="connsiteY110" fmla="*/ 140117 h 151306"/>
                <a:gd name="connsiteX111" fmla="*/ 40011 w 264507"/>
                <a:gd name="connsiteY111" fmla="*/ 143444 h 151306"/>
                <a:gd name="connsiteX112" fmla="*/ 37841 w 264507"/>
                <a:gd name="connsiteY112" fmla="*/ 143995 h 151306"/>
                <a:gd name="connsiteX113" fmla="*/ 34550 w 264507"/>
                <a:gd name="connsiteY113" fmla="*/ 144129 h 151306"/>
                <a:gd name="connsiteX114" fmla="*/ 32213 w 264507"/>
                <a:gd name="connsiteY114" fmla="*/ 144825 h 151306"/>
                <a:gd name="connsiteX115" fmla="*/ 30531 w 264507"/>
                <a:gd name="connsiteY115" fmla="*/ 144626 h 151306"/>
                <a:gd name="connsiteX116" fmla="*/ 28443 w 264507"/>
                <a:gd name="connsiteY116" fmla="*/ 143326 h 151306"/>
                <a:gd name="connsiteX117" fmla="*/ 23999 w 264507"/>
                <a:gd name="connsiteY117" fmla="*/ 141752 h 151306"/>
                <a:gd name="connsiteX118" fmla="*/ 20754 w 264507"/>
                <a:gd name="connsiteY118" fmla="*/ 142777 h 151306"/>
                <a:gd name="connsiteX119" fmla="*/ 20481 w 264507"/>
                <a:gd name="connsiteY119" fmla="*/ 139627 h 151306"/>
                <a:gd name="connsiteX120" fmla="*/ 15100 w 264507"/>
                <a:gd name="connsiteY120" fmla="*/ 130002 h 151306"/>
                <a:gd name="connsiteX121" fmla="*/ 16221 w 264507"/>
                <a:gd name="connsiteY121" fmla="*/ 121613 h 151306"/>
                <a:gd name="connsiteX122" fmla="*/ 16217 w 264507"/>
                <a:gd name="connsiteY122" fmla="*/ 120426 h 151306"/>
                <a:gd name="connsiteX123" fmla="*/ 15148 w 264507"/>
                <a:gd name="connsiteY123" fmla="*/ 116677 h 151306"/>
                <a:gd name="connsiteX124" fmla="*/ 11941 w 264507"/>
                <a:gd name="connsiteY124" fmla="*/ 113250 h 151306"/>
                <a:gd name="connsiteX125" fmla="*/ 12036 w 264507"/>
                <a:gd name="connsiteY125" fmla="*/ 108906 h 151306"/>
                <a:gd name="connsiteX126" fmla="*/ 10963 w 264507"/>
                <a:gd name="connsiteY126" fmla="*/ 105795 h 151306"/>
                <a:gd name="connsiteX127" fmla="*/ 10110 w 264507"/>
                <a:gd name="connsiteY127" fmla="*/ 102601 h 151306"/>
                <a:gd name="connsiteX128" fmla="*/ 10386 w 264507"/>
                <a:gd name="connsiteY128" fmla="*/ 101750 h 151306"/>
                <a:gd name="connsiteX129" fmla="*/ 10438 w 264507"/>
                <a:gd name="connsiteY129" fmla="*/ 100981 h 151306"/>
                <a:gd name="connsiteX130" fmla="*/ 8799 w 264507"/>
                <a:gd name="connsiteY130" fmla="*/ 96051 h 151306"/>
                <a:gd name="connsiteX131" fmla="*/ 8251 w 264507"/>
                <a:gd name="connsiteY131" fmla="*/ 95052 h 151306"/>
                <a:gd name="connsiteX132" fmla="*/ 8048 w 264507"/>
                <a:gd name="connsiteY132" fmla="*/ 94019 h 151306"/>
                <a:gd name="connsiteX133" fmla="*/ 8585 w 264507"/>
                <a:gd name="connsiteY133" fmla="*/ 93229 h 151306"/>
                <a:gd name="connsiteX134" fmla="*/ 8566 w 264507"/>
                <a:gd name="connsiteY134" fmla="*/ 92313 h 151306"/>
                <a:gd name="connsiteX135" fmla="*/ 7696 w 264507"/>
                <a:gd name="connsiteY135" fmla="*/ 90799 h 151306"/>
                <a:gd name="connsiteX136" fmla="*/ 6780 w 264507"/>
                <a:gd name="connsiteY136" fmla="*/ 87919 h 151306"/>
                <a:gd name="connsiteX137" fmla="*/ 2405 w 264507"/>
                <a:gd name="connsiteY137" fmla="*/ 85660 h 151306"/>
                <a:gd name="connsiteX138" fmla="*/ 3290 w 264507"/>
                <a:gd name="connsiteY138" fmla="*/ 83544 h 151306"/>
                <a:gd name="connsiteX139" fmla="*/ 4144 w 264507"/>
                <a:gd name="connsiteY139" fmla="*/ 84286 h 151306"/>
                <a:gd name="connsiteX140" fmla="*/ 5295 w 264507"/>
                <a:gd name="connsiteY140" fmla="*/ 84915 h 151306"/>
                <a:gd name="connsiteX141" fmla="*/ 5528 w 264507"/>
                <a:gd name="connsiteY141" fmla="*/ 83546 h 151306"/>
                <a:gd name="connsiteX142" fmla="*/ 5547 w 264507"/>
                <a:gd name="connsiteY142" fmla="*/ 82519 h 151306"/>
                <a:gd name="connsiteX143" fmla="*/ 3718 w 264507"/>
                <a:gd name="connsiteY143" fmla="*/ 76111 h 151306"/>
                <a:gd name="connsiteX144" fmla="*/ 6426 w 264507"/>
                <a:gd name="connsiteY144" fmla="*/ 67558 h 151306"/>
                <a:gd name="connsiteX145" fmla="*/ 5534 w 264507"/>
                <a:gd name="connsiteY145" fmla="*/ 59849 h 151306"/>
                <a:gd name="connsiteX146" fmla="*/ 9670 w 264507"/>
                <a:gd name="connsiteY146" fmla="*/ 56731 h 151306"/>
                <a:gd name="connsiteX147" fmla="*/ 10714 w 264507"/>
                <a:gd name="connsiteY147" fmla="*/ 55793 h 151306"/>
                <a:gd name="connsiteX148" fmla="*/ 11315 w 264507"/>
                <a:gd name="connsiteY148" fmla="*/ 54970 h 151306"/>
                <a:gd name="connsiteX149" fmla="*/ 12289 w 264507"/>
                <a:gd name="connsiteY149" fmla="*/ 53208 h 151306"/>
                <a:gd name="connsiteX150" fmla="*/ 13621 w 264507"/>
                <a:gd name="connsiteY150" fmla="*/ 52634 h 151306"/>
                <a:gd name="connsiteX151" fmla="*/ 14092 w 264507"/>
                <a:gd name="connsiteY151" fmla="*/ 50780 h 151306"/>
                <a:gd name="connsiteX152" fmla="*/ 14051 w 264507"/>
                <a:gd name="connsiteY152" fmla="*/ 49852 h 151306"/>
                <a:gd name="connsiteX153" fmla="*/ 13191 w 264507"/>
                <a:gd name="connsiteY153" fmla="*/ 49057 h 151306"/>
                <a:gd name="connsiteX154" fmla="*/ 12548 w 264507"/>
                <a:gd name="connsiteY154" fmla="*/ 46892 h 151306"/>
                <a:gd name="connsiteX155" fmla="*/ 12762 w 264507"/>
                <a:gd name="connsiteY155" fmla="*/ 44151 h 151306"/>
                <a:gd name="connsiteX156" fmla="*/ 12977 w 264507"/>
                <a:gd name="connsiteY156" fmla="*/ 43001 h 151306"/>
                <a:gd name="connsiteX157" fmla="*/ 13420 w 264507"/>
                <a:gd name="connsiteY157" fmla="*/ 40906 h 151306"/>
                <a:gd name="connsiteX158" fmla="*/ 14867 w 264507"/>
                <a:gd name="connsiteY158" fmla="*/ 40127 h 151306"/>
                <a:gd name="connsiteX159" fmla="*/ 15210 w 264507"/>
                <a:gd name="connsiteY159" fmla="*/ 39507 h 151306"/>
                <a:gd name="connsiteX160" fmla="*/ 14092 w 264507"/>
                <a:gd name="connsiteY160" fmla="*/ 38181 h 151306"/>
                <a:gd name="connsiteX161" fmla="*/ 14193 w 264507"/>
                <a:gd name="connsiteY161" fmla="*/ 37391 h 151306"/>
                <a:gd name="connsiteX162" fmla="*/ 16653 w 264507"/>
                <a:gd name="connsiteY162" fmla="*/ 35172 h 151306"/>
                <a:gd name="connsiteX163" fmla="*/ 17624 w 264507"/>
                <a:gd name="connsiteY163" fmla="*/ 34506 h 151306"/>
                <a:gd name="connsiteX164" fmla="*/ 19214 w 264507"/>
                <a:gd name="connsiteY164" fmla="*/ 33816 h 151306"/>
                <a:gd name="connsiteX165" fmla="*/ 20458 w 264507"/>
                <a:gd name="connsiteY165" fmla="*/ 33825 h 151306"/>
                <a:gd name="connsiteX166" fmla="*/ 21896 w 264507"/>
                <a:gd name="connsiteY166" fmla="*/ 34216 h 151306"/>
                <a:gd name="connsiteX167" fmla="*/ 23179 w 264507"/>
                <a:gd name="connsiteY167" fmla="*/ 34838 h 151306"/>
                <a:gd name="connsiteX168" fmla="*/ 24420 w 264507"/>
                <a:gd name="connsiteY168" fmla="*/ 35968 h 151306"/>
                <a:gd name="connsiteX169" fmla="*/ 25738 w 264507"/>
                <a:gd name="connsiteY169" fmla="*/ 37251 h 151306"/>
                <a:gd name="connsiteX170" fmla="*/ 27756 w 264507"/>
                <a:gd name="connsiteY170" fmla="*/ 37738 h 151306"/>
                <a:gd name="connsiteX171" fmla="*/ 29130 w 264507"/>
                <a:gd name="connsiteY171" fmla="*/ 37614 h 151306"/>
                <a:gd name="connsiteX172" fmla="*/ 30248 w 264507"/>
                <a:gd name="connsiteY172" fmla="*/ 38181 h 151306"/>
                <a:gd name="connsiteX173" fmla="*/ 31192 w 264507"/>
                <a:gd name="connsiteY173" fmla="*/ 37871 h 151306"/>
                <a:gd name="connsiteX174" fmla="*/ 32265 w 264507"/>
                <a:gd name="connsiteY174" fmla="*/ 37207 h 151306"/>
                <a:gd name="connsiteX175" fmla="*/ 33984 w 264507"/>
                <a:gd name="connsiteY175" fmla="*/ 37251 h 151306"/>
                <a:gd name="connsiteX176" fmla="*/ 35532 w 264507"/>
                <a:gd name="connsiteY176" fmla="*/ 36499 h 151306"/>
                <a:gd name="connsiteX177" fmla="*/ 39927 w 264507"/>
                <a:gd name="connsiteY177" fmla="*/ 36139 h 151306"/>
                <a:gd name="connsiteX178" fmla="*/ 44168 w 264507"/>
                <a:gd name="connsiteY178" fmla="*/ 36367 h 151306"/>
                <a:gd name="connsiteX179" fmla="*/ 48597 w 264507"/>
                <a:gd name="connsiteY179" fmla="*/ 35744 h 151306"/>
                <a:gd name="connsiteX180" fmla="*/ 53013 w 264507"/>
                <a:gd name="connsiteY180" fmla="*/ 35792 h 151306"/>
                <a:gd name="connsiteX181" fmla="*/ 57470 w 264507"/>
                <a:gd name="connsiteY181" fmla="*/ 35840 h 151306"/>
                <a:gd name="connsiteX182" fmla="*/ 58458 w 264507"/>
                <a:gd name="connsiteY182" fmla="*/ 35933 h 151306"/>
                <a:gd name="connsiteX183" fmla="*/ 59428 w 264507"/>
                <a:gd name="connsiteY183" fmla="*/ 36324 h 151306"/>
                <a:gd name="connsiteX184" fmla="*/ 63186 w 264507"/>
                <a:gd name="connsiteY184" fmla="*/ 38293 h 151306"/>
                <a:gd name="connsiteX185" fmla="*/ 66034 w 264507"/>
                <a:gd name="connsiteY185" fmla="*/ 38697 h 151306"/>
                <a:gd name="connsiteX186" fmla="*/ 71763 w 264507"/>
                <a:gd name="connsiteY186" fmla="*/ 39235 h 151306"/>
                <a:gd name="connsiteX187" fmla="*/ 77873 w 264507"/>
                <a:gd name="connsiteY187" fmla="*/ 39810 h 151306"/>
                <a:gd name="connsiteX188" fmla="*/ 83170 w 264507"/>
                <a:gd name="connsiteY188" fmla="*/ 40308 h 151306"/>
                <a:gd name="connsiteX189" fmla="*/ 87662 w 264507"/>
                <a:gd name="connsiteY189" fmla="*/ 39844 h 151306"/>
                <a:gd name="connsiteX190" fmla="*/ 91389 w 264507"/>
                <a:gd name="connsiteY190" fmla="*/ 39460 h 151306"/>
                <a:gd name="connsiteX191" fmla="*/ 92398 w 264507"/>
                <a:gd name="connsiteY191" fmla="*/ 39527 h 151306"/>
                <a:gd name="connsiteX192" fmla="*/ 93523 w 264507"/>
                <a:gd name="connsiteY192" fmla="*/ 40745 h 151306"/>
                <a:gd name="connsiteX193" fmla="*/ 95766 w 264507"/>
                <a:gd name="connsiteY193" fmla="*/ 43774 h 151306"/>
                <a:gd name="connsiteX194" fmla="*/ 97882 w 264507"/>
                <a:gd name="connsiteY194" fmla="*/ 46630 h 151306"/>
                <a:gd name="connsiteX195" fmla="*/ 101595 w 264507"/>
                <a:gd name="connsiteY195" fmla="*/ 46785 h 151306"/>
                <a:gd name="connsiteX196" fmla="*/ 103976 w 264507"/>
                <a:gd name="connsiteY196" fmla="*/ 45710 h 151306"/>
                <a:gd name="connsiteX197" fmla="*/ 106593 w 264507"/>
                <a:gd name="connsiteY197" fmla="*/ 44198 h 151306"/>
                <a:gd name="connsiteX198" fmla="*/ 108189 w 264507"/>
                <a:gd name="connsiteY198" fmla="*/ 43026 h 151306"/>
                <a:gd name="connsiteX199" fmla="*/ 110038 w 264507"/>
                <a:gd name="connsiteY199" fmla="*/ 38377 h 151306"/>
                <a:gd name="connsiteX200" fmla="*/ 111236 w 264507"/>
                <a:gd name="connsiteY200" fmla="*/ 35364 h 151306"/>
                <a:gd name="connsiteX201" fmla="*/ 113981 w 264507"/>
                <a:gd name="connsiteY201" fmla="*/ 31980 h 151306"/>
                <a:gd name="connsiteX202" fmla="*/ 116282 w 264507"/>
                <a:gd name="connsiteY202" fmla="*/ 29147 h 151306"/>
                <a:gd name="connsiteX203" fmla="*/ 119327 w 264507"/>
                <a:gd name="connsiteY203" fmla="*/ 25388 h 151306"/>
                <a:gd name="connsiteX204" fmla="*/ 121012 w 264507"/>
                <a:gd name="connsiteY204" fmla="*/ 23309 h 151306"/>
                <a:gd name="connsiteX205" fmla="*/ 124339 w 264507"/>
                <a:gd name="connsiteY205" fmla="*/ 19199 h 151306"/>
                <a:gd name="connsiteX206" fmla="*/ 127516 w 264507"/>
                <a:gd name="connsiteY206" fmla="*/ 17597 h 151306"/>
                <a:gd name="connsiteX207" fmla="*/ 133644 w 264507"/>
                <a:gd name="connsiteY207" fmla="*/ 14504 h 151306"/>
                <a:gd name="connsiteX208" fmla="*/ 139656 w 264507"/>
                <a:gd name="connsiteY208" fmla="*/ 11467 h 151306"/>
                <a:gd name="connsiteX209" fmla="*/ 143573 w 264507"/>
                <a:gd name="connsiteY209" fmla="*/ 9487 h 151306"/>
                <a:gd name="connsiteX210" fmla="*/ 146898 w 264507"/>
                <a:gd name="connsiteY210" fmla="*/ 8582 h 151306"/>
                <a:gd name="connsiteX211" fmla="*/ 152487 w 264507"/>
                <a:gd name="connsiteY211" fmla="*/ 7804 h 151306"/>
                <a:gd name="connsiteX212" fmla="*/ 159053 w 264507"/>
                <a:gd name="connsiteY212" fmla="*/ 6889 h 151306"/>
                <a:gd name="connsiteX213" fmla="*/ 165618 w 264507"/>
                <a:gd name="connsiteY213" fmla="*/ 5975 h 151306"/>
                <a:gd name="connsiteX214" fmla="*/ 172612 w 264507"/>
                <a:gd name="connsiteY214" fmla="*/ 5001 h 151306"/>
                <a:gd name="connsiteX215" fmla="*/ 180416 w 264507"/>
                <a:gd name="connsiteY215" fmla="*/ 3913 h 151306"/>
                <a:gd name="connsiteX216" fmla="*/ 185763 w 264507"/>
                <a:gd name="connsiteY216" fmla="*/ 3168 h 151306"/>
                <a:gd name="connsiteX217" fmla="*/ 192582 w 264507"/>
                <a:gd name="connsiteY217" fmla="*/ 2217 h 151306"/>
                <a:gd name="connsiteX218" fmla="*/ 198255 w 264507"/>
                <a:gd name="connsiteY218" fmla="*/ 1426 h 151306"/>
                <a:gd name="connsiteX219" fmla="*/ 203297 w 264507"/>
                <a:gd name="connsiteY219" fmla="*/ 724 h 151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</a:cxnLst>
              <a:rect l="l" t="t" r="r" b="b"/>
              <a:pathLst>
                <a:path w="264507" h="151306">
                  <a:moveTo>
                    <a:pt x="242922" y="142397"/>
                  </a:moveTo>
                  <a:lnTo>
                    <a:pt x="245211" y="142585"/>
                  </a:lnTo>
                  <a:lnTo>
                    <a:pt x="247969" y="144170"/>
                  </a:lnTo>
                  <a:lnTo>
                    <a:pt x="249331" y="144440"/>
                  </a:lnTo>
                  <a:lnTo>
                    <a:pt x="251404" y="143662"/>
                  </a:lnTo>
                  <a:lnTo>
                    <a:pt x="257349" y="143559"/>
                  </a:lnTo>
                  <a:lnTo>
                    <a:pt x="264507" y="146058"/>
                  </a:lnTo>
                  <a:lnTo>
                    <a:pt x="263156" y="146717"/>
                  </a:lnTo>
                  <a:lnTo>
                    <a:pt x="262354" y="147618"/>
                  </a:lnTo>
                  <a:lnTo>
                    <a:pt x="259204" y="148441"/>
                  </a:lnTo>
                  <a:lnTo>
                    <a:pt x="256068" y="150371"/>
                  </a:lnTo>
                  <a:lnTo>
                    <a:pt x="246988" y="151306"/>
                  </a:lnTo>
                  <a:lnTo>
                    <a:pt x="244323" y="150783"/>
                  </a:lnTo>
                  <a:lnTo>
                    <a:pt x="242136" y="148919"/>
                  </a:lnTo>
                  <a:lnTo>
                    <a:pt x="238076" y="146498"/>
                  </a:lnTo>
                  <a:lnTo>
                    <a:pt x="239683" y="144955"/>
                  </a:lnTo>
                  <a:lnTo>
                    <a:pt x="240024" y="144248"/>
                  </a:lnTo>
                  <a:lnTo>
                    <a:pt x="240622" y="143569"/>
                  </a:lnTo>
                  <a:close/>
                  <a:moveTo>
                    <a:pt x="5135" y="118697"/>
                  </a:moveTo>
                  <a:lnTo>
                    <a:pt x="5420" y="118769"/>
                  </a:lnTo>
                  <a:lnTo>
                    <a:pt x="4573" y="120161"/>
                  </a:lnTo>
                  <a:lnTo>
                    <a:pt x="3111" y="120851"/>
                  </a:lnTo>
                  <a:lnTo>
                    <a:pt x="4111" y="119064"/>
                  </a:lnTo>
                  <a:close/>
                  <a:moveTo>
                    <a:pt x="4711" y="111977"/>
                  </a:moveTo>
                  <a:lnTo>
                    <a:pt x="5513" y="113222"/>
                  </a:lnTo>
                  <a:lnTo>
                    <a:pt x="5271" y="114141"/>
                  </a:lnTo>
                  <a:lnTo>
                    <a:pt x="4979" y="114620"/>
                  </a:lnTo>
                  <a:lnTo>
                    <a:pt x="4578" y="114515"/>
                  </a:lnTo>
                  <a:lnTo>
                    <a:pt x="3206" y="113320"/>
                  </a:lnTo>
                  <a:close/>
                  <a:moveTo>
                    <a:pt x="1179" y="81141"/>
                  </a:moveTo>
                  <a:lnTo>
                    <a:pt x="1669" y="82602"/>
                  </a:lnTo>
                  <a:lnTo>
                    <a:pt x="1358" y="83410"/>
                  </a:lnTo>
                  <a:lnTo>
                    <a:pt x="911" y="84063"/>
                  </a:lnTo>
                  <a:lnTo>
                    <a:pt x="214" y="84565"/>
                  </a:lnTo>
                  <a:lnTo>
                    <a:pt x="0" y="83686"/>
                  </a:lnTo>
                  <a:lnTo>
                    <a:pt x="457" y="81711"/>
                  </a:lnTo>
                  <a:close/>
                  <a:moveTo>
                    <a:pt x="208486" y="0"/>
                  </a:moveTo>
                  <a:lnTo>
                    <a:pt x="209464" y="2287"/>
                  </a:lnTo>
                  <a:lnTo>
                    <a:pt x="210445" y="4575"/>
                  </a:lnTo>
                  <a:lnTo>
                    <a:pt x="211423" y="6862"/>
                  </a:lnTo>
                  <a:lnTo>
                    <a:pt x="212401" y="9148"/>
                  </a:lnTo>
                  <a:lnTo>
                    <a:pt x="213382" y="11434"/>
                  </a:lnTo>
                  <a:lnTo>
                    <a:pt x="214360" y="13717"/>
                  </a:lnTo>
                  <a:lnTo>
                    <a:pt x="215338" y="16001"/>
                  </a:lnTo>
                  <a:lnTo>
                    <a:pt x="216316" y="18282"/>
                  </a:lnTo>
                  <a:lnTo>
                    <a:pt x="217297" y="20564"/>
                  </a:lnTo>
                  <a:lnTo>
                    <a:pt x="218275" y="22844"/>
                  </a:lnTo>
                  <a:lnTo>
                    <a:pt x="219253" y="25124"/>
                  </a:lnTo>
                  <a:lnTo>
                    <a:pt x="220233" y="27404"/>
                  </a:lnTo>
                  <a:lnTo>
                    <a:pt x="221212" y="29682"/>
                  </a:lnTo>
                  <a:lnTo>
                    <a:pt x="222190" y="31959"/>
                  </a:lnTo>
                  <a:lnTo>
                    <a:pt x="223170" y="34236"/>
                  </a:lnTo>
                  <a:lnTo>
                    <a:pt x="224148" y="36512"/>
                  </a:lnTo>
                  <a:lnTo>
                    <a:pt x="225105" y="38734"/>
                  </a:lnTo>
                  <a:lnTo>
                    <a:pt x="226683" y="39474"/>
                  </a:lnTo>
                  <a:lnTo>
                    <a:pt x="227621" y="41574"/>
                  </a:lnTo>
                  <a:lnTo>
                    <a:pt x="228964" y="44574"/>
                  </a:lnTo>
                  <a:lnTo>
                    <a:pt x="230305" y="47572"/>
                  </a:lnTo>
                  <a:lnTo>
                    <a:pt x="231646" y="50570"/>
                  </a:lnTo>
                  <a:lnTo>
                    <a:pt x="232987" y="53566"/>
                  </a:lnTo>
                  <a:lnTo>
                    <a:pt x="221838" y="57610"/>
                  </a:lnTo>
                  <a:lnTo>
                    <a:pt x="218897" y="59407"/>
                  </a:lnTo>
                  <a:lnTo>
                    <a:pt x="216228" y="61625"/>
                  </a:lnTo>
                  <a:lnTo>
                    <a:pt x="214228" y="64397"/>
                  </a:lnTo>
                  <a:lnTo>
                    <a:pt x="212829" y="69263"/>
                  </a:lnTo>
                  <a:lnTo>
                    <a:pt x="213891" y="73711"/>
                  </a:lnTo>
                  <a:lnTo>
                    <a:pt x="213790" y="76091"/>
                  </a:lnTo>
                  <a:lnTo>
                    <a:pt x="210911" y="77667"/>
                  </a:lnTo>
                  <a:lnTo>
                    <a:pt x="208225" y="78805"/>
                  </a:lnTo>
                  <a:lnTo>
                    <a:pt x="205239" y="80535"/>
                  </a:lnTo>
                  <a:lnTo>
                    <a:pt x="203422" y="80969"/>
                  </a:lnTo>
                  <a:lnTo>
                    <a:pt x="201939" y="82350"/>
                  </a:lnTo>
                  <a:lnTo>
                    <a:pt x="200218" y="83307"/>
                  </a:lnTo>
                  <a:lnTo>
                    <a:pt x="193999" y="85808"/>
                  </a:lnTo>
                  <a:lnTo>
                    <a:pt x="187203" y="87742"/>
                  </a:lnTo>
                  <a:lnTo>
                    <a:pt x="176411" y="90062"/>
                  </a:lnTo>
                  <a:lnTo>
                    <a:pt x="172243" y="92570"/>
                  </a:lnTo>
                  <a:lnTo>
                    <a:pt x="168447" y="94292"/>
                  </a:lnTo>
                  <a:lnTo>
                    <a:pt x="162686" y="94809"/>
                  </a:lnTo>
                  <a:lnTo>
                    <a:pt x="154776" y="97198"/>
                  </a:lnTo>
                  <a:lnTo>
                    <a:pt x="150381" y="99109"/>
                  </a:lnTo>
                  <a:lnTo>
                    <a:pt x="144920" y="102219"/>
                  </a:lnTo>
                  <a:lnTo>
                    <a:pt x="143707" y="103203"/>
                  </a:lnTo>
                  <a:lnTo>
                    <a:pt x="142748" y="105491"/>
                  </a:lnTo>
                  <a:lnTo>
                    <a:pt x="141068" y="107467"/>
                  </a:lnTo>
                  <a:lnTo>
                    <a:pt x="137779" y="110705"/>
                  </a:lnTo>
                  <a:lnTo>
                    <a:pt x="135311" y="112368"/>
                  </a:lnTo>
                  <a:lnTo>
                    <a:pt x="133661" y="112456"/>
                  </a:lnTo>
                  <a:lnTo>
                    <a:pt x="130461" y="113365"/>
                  </a:lnTo>
                  <a:lnTo>
                    <a:pt x="126676" y="113551"/>
                  </a:lnTo>
                  <a:lnTo>
                    <a:pt x="120310" y="112414"/>
                  </a:lnTo>
                  <a:lnTo>
                    <a:pt x="118675" y="113209"/>
                  </a:lnTo>
                  <a:lnTo>
                    <a:pt x="117328" y="114469"/>
                  </a:lnTo>
                  <a:lnTo>
                    <a:pt x="112426" y="116688"/>
                  </a:lnTo>
                  <a:lnTo>
                    <a:pt x="107436" y="121122"/>
                  </a:lnTo>
                  <a:lnTo>
                    <a:pt x="103784" y="122299"/>
                  </a:lnTo>
                  <a:lnTo>
                    <a:pt x="97882" y="123693"/>
                  </a:lnTo>
                  <a:lnTo>
                    <a:pt x="93752" y="125536"/>
                  </a:lnTo>
                  <a:lnTo>
                    <a:pt x="90979" y="126276"/>
                  </a:lnTo>
                  <a:lnTo>
                    <a:pt x="87407" y="126662"/>
                  </a:lnTo>
                  <a:lnTo>
                    <a:pt x="80800" y="126476"/>
                  </a:lnTo>
                  <a:lnTo>
                    <a:pt x="74533" y="127141"/>
                  </a:lnTo>
                  <a:lnTo>
                    <a:pt x="68731" y="128391"/>
                  </a:lnTo>
                  <a:lnTo>
                    <a:pt x="66004" y="130758"/>
                  </a:lnTo>
                  <a:lnTo>
                    <a:pt x="62898" y="134502"/>
                  </a:lnTo>
                  <a:lnTo>
                    <a:pt x="57819" y="136047"/>
                  </a:lnTo>
                  <a:lnTo>
                    <a:pt x="56623" y="137390"/>
                  </a:lnTo>
                  <a:lnTo>
                    <a:pt x="55051" y="140148"/>
                  </a:lnTo>
                  <a:lnTo>
                    <a:pt x="51760" y="140860"/>
                  </a:lnTo>
                  <a:lnTo>
                    <a:pt x="48785" y="141318"/>
                  </a:lnTo>
                  <a:lnTo>
                    <a:pt x="45744" y="140117"/>
                  </a:lnTo>
                  <a:lnTo>
                    <a:pt x="40011" y="143444"/>
                  </a:lnTo>
                  <a:lnTo>
                    <a:pt x="37841" y="143995"/>
                  </a:lnTo>
                  <a:lnTo>
                    <a:pt x="34550" y="144129"/>
                  </a:lnTo>
                  <a:lnTo>
                    <a:pt x="32213" y="144825"/>
                  </a:lnTo>
                  <a:lnTo>
                    <a:pt x="30531" y="144626"/>
                  </a:lnTo>
                  <a:lnTo>
                    <a:pt x="28443" y="143326"/>
                  </a:lnTo>
                  <a:lnTo>
                    <a:pt x="23999" y="141752"/>
                  </a:lnTo>
                  <a:lnTo>
                    <a:pt x="20754" y="142777"/>
                  </a:lnTo>
                  <a:lnTo>
                    <a:pt x="20481" y="139627"/>
                  </a:lnTo>
                  <a:lnTo>
                    <a:pt x="15100" y="130002"/>
                  </a:lnTo>
                  <a:lnTo>
                    <a:pt x="16221" y="121613"/>
                  </a:lnTo>
                  <a:lnTo>
                    <a:pt x="16217" y="120426"/>
                  </a:lnTo>
                  <a:lnTo>
                    <a:pt x="15148" y="116677"/>
                  </a:lnTo>
                  <a:lnTo>
                    <a:pt x="11941" y="113250"/>
                  </a:lnTo>
                  <a:lnTo>
                    <a:pt x="12036" y="108906"/>
                  </a:lnTo>
                  <a:lnTo>
                    <a:pt x="10963" y="105795"/>
                  </a:lnTo>
                  <a:lnTo>
                    <a:pt x="10110" y="102601"/>
                  </a:lnTo>
                  <a:lnTo>
                    <a:pt x="10386" y="101750"/>
                  </a:lnTo>
                  <a:lnTo>
                    <a:pt x="10438" y="100981"/>
                  </a:lnTo>
                  <a:lnTo>
                    <a:pt x="8799" y="96051"/>
                  </a:lnTo>
                  <a:lnTo>
                    <a:pt x="8251" y="95052"/>
                  </a:lnTo>
                  <a:lnTo>
                    <a:pt x="8048" y="94019"/>
                  </a:lnTo>
                  <a:lnTo>
                    <a:pt x="8585" y="93229"/>
                  </a:lnTo>
                  <a:lnTo>
                    <a:pt x="8566" y="92313"/>
                  </a:lnTo>
                  <a:lnTo>
                    <a:pt x="7696" y="90799"/>
                  </a:lnTo>
                  <a:lnTo>
                    <a:pt x="6780" y="87919"/>
                  </a:lnTo>
                  <a:lnTo>
                    <a:pt x="2405" y="85660"/>
                  </a:lnTo>
                  <a:lnTo>
                    <a:pt x="3290" y="83544"/>
                  </a:lnTo>
                  <a:lnTo>
                    <a:pt x="4144" y="84286"/>
                  </a:lnTo>
                  <a:lnTo>
                    <a:pt x="5295" y="84915"/>
                  </a:lnTo>
                  <a:lnTo>
                    <a:pt x="5528" y="83546"/>
                  </a:lnTo>
                  <a:lnTo>
                    <a:pt x="5547" y="82519"/>
                  </a:lnTo>
                  <a:lnTo>
                    <a:pt x="3718" y="76111"/>
                  </a:lnTo>
                  <a:lnTo>
                    <a:pt x="6426" y="67558"/>
                  </a:lnTo>
                  <a:lnTo>
                    <a:pt x="5534" y="59849"/>
                  </a:lnTo>
                  <a:lnTo>
                    <a:pt x="9670" y="56731"/>
                  </a:lnTo>
                  <a:lnTo>
                    <a:pt x="10714" y="55793"/>
                  </a:lnTo>
                  <a:lnTo>
                    <a:pt x="11315" y="54970"/>
                  </a:lnTo>
                  <a:lnTo>
                    <a:pt x="12289" y="53208"/>
                  </a:lnTo>
                  <a:lnTo>
                    <a:pt x="13621" y="52634"/>
                  </a:lnTo>
                  <a:lnTo>
                    <a:pt x="14092" y="50780"/>
                  </a:lnTo>
                  <a:lnTo>
                    <a:pt x="14051" y="49852"/>
                  </a:lnTo>
                  <a:lnTo>
                    <a:pt x="13191" y="49057"/>
                  </a:lnTo>
                  <a:lnTo>
                    <a:pt x="12548" y="46892"/>
                  </a:lnTo>
                  <a:lnTo>
                    <a:pt x="12762" y="44151"/>
                  </a:lnTo>
                  <a:lnTo>
                    <a:pt x="12977" y="43001"/>
                  </a:lnTo>
                  <a:lnTo>
                    <a:pt x="13420" y="40906"/>
                  </a:lnTo>
                  <a:lnTo>
                    <a:pt x="14867" y="40127"/>
                  </a:lnTo>
                  <a:lnTo>
                    <a:pt x="15210" y="39507"/>
                  </a:lnTo>
                  <a:lnTo>
                    <a:pt x="14092" y="38181"/>
                  </a:lnTo>
                  <a:lnTo>
                    <a:pt x="14193" y="37391"/>
                  </a:lnTo>
                  <a:lnTo>
                    <a:pt x="16653" y="35172"/>
                  </a:lnTo>
                  <a:lnTo>
                    <a:pt x="17624" y="34506"/>
                  </a:lnTo>
                  <a:lnTo>
                    <a:pt x="19214" y="33816"/>
                  </a:lnTo>
                  <a:lnTo>
                    <a:pt x="20458" y="33825"/>
                  </a:lnTo>
                  <a:lnTo>
                    <a:pt x="21896" y="34216"/>
                  </a:lnTo>
                  <a:lnTo>
                    <a:pt x="23179" y="34838"/>
                  </a:lnTo>
                  <a:lnTo>
                    <a:pt x="24420" y="35968"/>
                  </a:lnTo>
                  <a:lnTo>
                    <a:pt x="25738" y="37251"/>
                  </a:lnTo>
                  <a:lnTo>
                    <a:pt x="27756" y="37738"/>
                  </a:lnTo>
                  <a:lnTo>
                    <a:pt x="29130" y="37614"/>
                  </a:lnTo>
                  <a:lnTo>
                    <a:pt x="30248" y="38181"/>
                  </a:lnTo>
                  <a:lnTo>
                    <a:pt x="31192" y="37871"/>
                  </a:lnTo>
                  <a:lnTo>
                    <a:pt x="32265" y="37207"/>
                  </a:lnTo>
                  <a:lnTo>
                    <a:pt x="33984" y="37251"/>
                  </a:lnTo>
                  <a:lnTo>
                    <a:pt x="35532" y="36499"/>
                  </a:lnTo>
                  <a:lnTo>
                    <a:pt x="39927" y="36139"/>
                  </a:lnTo>
                  <a:lnTo>
                    <a:pt x="44168" y="36367"/>
                  </a:lnTo>
                  <a:lnTo>
                    <a:pt x="48597" y="35744"/>
                  </a:lnTo>
                  <a:lnTo>
                    <a:pt x="53013" y="35792"/>
                  </a:lnTo>
                  <a:lnTo>
                    <a:pt x="57470" y="35840"/>
                  </a:lnTo>
                  <a:lnTo>
                    <a:pt x="58458" y="35933"/>
                  </a:lnTo>
                  <a:lnTo>
                    <a:pt x="59428" y="36324"/>
                  </a:lnTo>
                  <a:lnTo>
                    <a:pt x="63186" y="38293"/>
                  </a:lnTo>
                  <a:lnTo>
                    <a:pt x="66034" y="38697"/>
                  </a:lnTo>
                  <a:lnTo>
                    <a:pt x="71763" y="39235"/>
                  </a:lnTo>
                  <a:lnTo>
                    <a:pt x="77873" y="39810"/>
                  </a:lnTo>
                  <a:lnTo>
                    <a:pt x="83170" y="40308"/>
                  </a:lnTo>
                  <a:lnTo>
                    <a:pt x="87662" y="39844"/>
                  </a:lnTo>
                  <a:lnTo>
                    <a:pt x="91389" y="39460"/>
                  </a:lnTo>
                  <a:lnTo>
                    <a:pt x="92398" y="39527"/>
                  </a:lnTo>
                  <a:lnTo>
                    <a:pt x="93523" y="40745"/>
                  </a:lnTo>
                  <a:lnTo>
                    <a:pt x="95766" y="43774"/>
                  </a:lnTo>
                  <a:lnTo>
                    <a:pt x="97882" y="46630"/>
                  </a:lnTo>
                  <a:lnTo>
                    <a:pt x="101595" y="46785"/>
                  </a:lnTo>
                  <a:lnTo>
                    <a:pt x="103976" y="45710"/>
                  </a:lnTo>
                  <a:lnTo>
                    <a:pt x="106593" y="44198"/>
                  </a:lnTo>
                  <a:lnTo>
                    <a:pt x="108189" y="43026"/>
                  </a:lnTo>
                  <a:lnTo>
                    <a:pt x="110038" y="38377"/>
                  </a:lnTo>
                  <a:lnTo>
                    <a:pt x="111236" y="35364"/>
                  </a:lnTo>
                  <a:lnTo>
                    <a:pt x="113981" y="31980"/>
                  </a:lnTo>
                  <a:lnTo>
                    <a:pt x="116282" y="29147"/>
                  </a:lnTo>
                  <a:lnTo>
                    <a:pt x="119327" y="25388"/>
                  </a:lnTo>
                  <a:lnTo>
                    <a:pt x="121012" y="23309"/>
                  </a:lnTo>
                  <a:lnTo>
                    <a:pt x="124339" y="19199"/>
                  </a:lnTo>
                  <a:lnTo>
                    <a:pt x="127516" y="17597"/>
                  </a:lnTo>
                  <a:lnTo>
                    <a:pt x="133644" y="14504"/>
                  </a:lnTo>
                  <a:lnTo>
                    <a:pt x="139656" y="11467"/>
                  </a:lnTo>
                  <a:lnTo>
                    <a:pt x="143573" y="9487"/>
                  </a:lnTo>
                  <a:lnTo>
                    <a:pt x="146898" y="8582"/>
                  </a:lnTo>
                  <a:lnTo>
                    <a:pt x="152487" y="7804"/>
                  </a:lnTo>
                  <a:lnTo>
                    <a:pt x="159053" y="6889"/>
                  </a:lnTo>
                  <a:lnTo>
                    <a:pt x="165618" y="5975"/>
                  </a:lnTo>
                  <a:lnTo>
                    <a:pt x="172612" y="5001"/>
                  </a:lnTo>
                  <a:lnTo>
                    <a:pt x="180416" y="3913"/>
                  </a:lnTo>
                  <a:lnTo>
                    <a:pt x="185763" y="3168"/>
                  </a:lnTo>
                  <a:lnTo>
                    <a:pt x="192582" y="2217"/>
                  </a:lnTo>
                  <a:lnTo>
                    <a:pt x="198255" y="1426"/>
                  </a:lnTo>
                  <a:lnTo>
                    <a:pt x="203297" y="724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10" name="ee4p_RU_1_37365">
              <a:extLst>
                <a:ext uri="{FF2B5EF4-FFF2-40B4-BE49-F238E27FC236}">
                  <a16:creationId xmlns:a16="http://schemas.microsoft.com/office/drawing/2014/main" id="{B40D3906-71C8-EBF1-0BF0-0D8BA3DB0822}"/>
                </a:ext>
              </a:extLst>
            </p:cNvPr>
            <p:cNvSpPr>
              <a:spLocks noChangeAspect="1"/>
            </p:cNvSpPr>
            <p:nvPr>
              <p:custDataLst>
                <p:tags r:id="rId264"/>
              </p:custDataLst>
            </p:nvPr>
          </p:nvSpPr>
          <p:spPr>
            <a:xfrm>
              <a:off x="7059102" y="1556961"/>
              <a:ext cx="4739295" cy="1872839"/>
            </a:xfrm>
            <a:custGeom>
              <a:avLst/>
              <a:gdLst>
                <a:gd name="connsiteX0" fmla="*/ 2796832 w 3773795"/>
                <a:gd name="connsiteY0" fmla="*/ 1391858 h 1451770"/>
                <a:gd name="connsiteX1" fmla="*/ 2797101 w 3773795"/>
                <a:gd name="connsiteY1" fmla="*/ 1392096 h 1451770"/>
                <a:gd name="connsiteX2" fmla="*/ 2796782 w 3773795"/>
                <a:gd name="connsiteY2" fmla="*/ 1392392 h 1451770"/>
                <a:gd name="connsiteX3" fmla="*/ 2796419 w 3773795"/>
                <a:gd name="connsiteY3" fmla="*/ 1392600 h 1451770"/>
                <a:gd name="connsiteX4" fmla="*/ 2795881 w 3773795"/>
                <a:gd name="connsiteY4" fmla="*/ 1392927 h 1451770"/>
                <a:gd name="connsiteX5" fmla="*/ 2795588 w 3773795"/>
                <a:gd name="connsiteY5" fmla="*/ 1392986 h 1451770"/>
                <a:gd name="connsiteX6" fmla="*/ 2795493 w 3773795"/>
                <a:gd name="connsiteY6" fmla="*/ 1392630 h 1451770"/>
                <a:gd name="connsiteX7" fmla="*/ 2795955 w 3773795"/>
                <a:gd name="connsiteY7" fmla="*/ 1392274 h 1451770"/>
                <a:gd name="connsiteX8" fmla="*/ 2792254 w 3773795"/>
                <a:gd name="connsiteY8" fmla="*/ 1391576 h 1451770"/>
                <a:gd name="connsiteX9" fmla="*/ 2792564 w 3773795"/>
                <a:gd name="connsiteY9" fmla="*/ 1391710 h 1451770"/>
                <a:gd name="connsiteX10" fmla="*/ 2792968 w 3773795"/>
                <a:gd name="connsiteY10" fmla="*/ 1391688 h 1451770"/>
                <a:gd name="connsiteX11" fmla="*/ 2793351 w 3773795"/>
                <a:gd name="connsiteY11" fmla="*/ 1391643 h 1451770"/>
                <a:gd name="connsiteX12" fmla="*/ 2793571 w 3773795"/>
                <a:gd name="connsiteY12" fmla="*/ 1391955 h 1451770"/>
                <a:gd name="connsiteX13" fmla="*/ 2793625 w 3773795"/>
                <a:gd name="connsiteY13" fmla="*/ 1392466 h 1451770"/>
                <a:gd name="connsiteX14" fmla="*/ 2793351 w 3773795"/>
                <a:gd name="connsiteY14" fmla="*/ 1392488 h 1451770"/>
                <a:gd name="connsiteX15" fmla="*/ 2792822 w 3773795"/>
                <a:gd name="connsiteY15" fmla="*/ 1392577 h 1451770"/>
                <a:gd name="connsiteX16" fmla="*/ 2792528 w 3773795"/>
                <a:gd name="connsiteY16" fmla="*/ 1392644 h 1451770"/>
                <a:gd name="connsiteX17" fmla="*/ 2792364 w 3773795"/>
                <a:gd name="connsiteY17" fmla="*/ 1392288 h 1451770"/>
                <a:gd name="connsiteX18" fmla="*/ 2792254 w 3773795"/>
                <a:gd name="connsiteY18" fmla="*/ 1391999 h 1451770"/>
                <a:gd name="connsiteX19" fmla="*/ 2791979 w 3773795"/>
                <a:gd name="connsiteY19" fmla="*/ 1391820 h 1451770"/>
                <a:gd name="connsiteX20" fmla="*/ 2791979 w 3773795"/>
                <a:gd name="connsiteY20" fmla="*/ 1391620 h 1451770"/>
                <a:gd name="connsiteX21" fmla="*/ 2801731 w 3773795"/>
                <a:gd name="connsiteY21" fmla="*/ 1386394 h 1451770"/>
                <a:gd name="connsiteX22" fmla="*/ 2802243 w 3773795"/>
                <a:gd name="connsiteY22" fmla="*/ 1386512 h 1451770"/>
                <a:gd name="connsiteX23" fmla="*/ 2802608 w 3773795"/>
                <a:gd name="connsiteY23" fmla="*/ 1386602 h 1451770"/>
                <a:gd name="connsiteX24" fmla="*/ 2802807 w 3773795"/>
                <a:gd name="connsiteY24" fmla="*/ 1387108 h 1451770"/>
                <a:gd name="connsiteX25" fmla="*/ 2802221 w 3773795"/>
                <a:gd name="connsiteY25" fmla="*/ 1387255 h 1451770"/>
                <a:gd name="connsiteX26" fmla="*/ 2801245 w 3773795"/>
                <a:gd name="connsiteY26" fmla="*/ 1387108 h 1451770"/>
                <a:gd name="connsiteX27" fmla="*/ 2800928 w 3773795"/>
                <a:gd name="connsiteY27" fmla="*/ 1386988 h 1451770"/>
                <a:gd name="connsiteX28" fmla="*/ 2801146 w 3773795"/>
                <a:gd name="connsiteY28" fmla="*/ 1386751 h 1451770"/>
                <a:gd name="connsiteX29" fmla="*/ 2813107 w 3773795"/>
                <a:gd name="connsiteY29" fmla="*/ 1380761 h 1451770"/>
                <a:gd name="connsiteX30" fmla="*/ 2814422 w 3773795"/>
                <a:gd name="connsiteY30" fmla="*/ 1381609 h 1451770"/>
                <a:gd name="connsiteX31" fmla="*/ 2814752 w 3773795"/>
                <a:gd name="connsiteY31" fmla="*/ 1382284 h 1451770"/>
                <a:gd name="connsiteX32" fmla="*/ 2810660 w 3773795"/>
                <a:gd name="connsiteY32" fmla="*/ 1383913 h 1451770"/>
                <a:gd name="connsiteX33" fmla="*/ 2809976 w 3773795"/>
                <a:gd name="connsiteY33" fmla="*/ 1384654 h 1451770"/>
                <a:gd name="connsiteX34" fmla="*/ 2808331 w 3773795"/>
                <a:gd name="connsiteY34" fmla="*/ 1384003 h 1451770"/>
                <a:gd name="connsiteX35" fmla="*/ 2808439 w 3773795"/>
                <a:gd name="connsiteY35" fmla="*/ 1382476 h 1451770"/>
                <a:gd name="connsiteX36" fmla="*/ 2808626 w 3773795"/>
                <a:gd name="connsiteY36" fmla="*/ 1382045 h 1451770"/>
                <a:gd name="connsiteX37" fmla="*/ 2797352 w 3773795"/>
                <a:gd name="connsiteY37" fmla="*/ 1363421 h 1451770"/>
                <a:gd name="connsiteX38" fmla="*/ 2799464 w 3773795"/>
                <a:gd name="connsiteY38" fmla="*/ 1363489 h 1451770"/>
                <a:gd name="connsiteX39" fmla="*/ 2802744 w 3773795"/>
                <a:gd name="connsiteY39" fmla="*/ 1365475 h 1451770"/>
                <a:gd name="connsiteX40" fmla="*/ 2807428 w 3773795"/>
                <a:gd name="connsiteY40" fmla="*/ 1365045 h 1451770"/>
                <a:gd name="connsiteX41" fmla="*/ 2806288 w 3773795"/>
                <a:gd name="connsiteY41" fmla="*/ 1366832 h 1451770"/>
                <a:gd name="connsiteX42" fmla="*/ 2804526 w 3773795"/>
                <a:gd name="connsiteY42" fmla="*/ 1366804 h 1451770"/>
                <a:gd name="connsiteX43" fmla="*/ 2801423 w 3773795"/>
                <a:gd name="connsiteY43" fmla="*/ 1369376 h 1451770"/>
                <a:gd name="connsiteX44" fmla="*/ 2798697 w 3773795"/>
                <a:gd name="connsiteY44" fmla="*/ 1369710 h 1451770"/>
                <a:gd name="connsiteX45" fmla="*/ 2797356 w 3773795"/>
                <a:gd name="connsiteY45" fmla="*/ 1370326 h 1451770"/>
                <a:gd name="connsiteX46" fmla="*/ 2792973 w 3773795"/>
                <a:gd name="connsiteY46" fmla="*/ 1374181 h 1451770"/>
                <a:gd name="connsiteX47" fmla="*/ 2792381 w 3773795"/>
                <a:gd name="connsiteY47" fmla="*/ 1375697 h 1451770"/>
                <a:gd name="connsiteX48" fmla="*/ 2789721 w 3773795"/>
                <a:gd name="connsiteY48" fmla="*/ 1378593 h 1451770"/>
                <a:gd name="connsiteX49" fmla="*/ 2785737 w 3773795"/>
                <a:gd name="connsiteY49" fmla="*/ 1381177 h 1451770"/>
                <a:gd name="connsiteX50" fmla="*/ 2785053 w 3773795"/>
                <a:gd name="connsiteY50" fmla="*/ 1386050 h 1451770"/>
                <a:gd name="connsiteX51" fmla="*/ 2782474 w 3773795"/>
                <a:gd name="connsiteY51" fmla="*/ 1384095 h 1451770"/>
                <a:gd name="connsiteX52" fmla="*/ 2782184 w 3773795"/>
                <a:gd name="connsiteY52" fmla="*/ 1382116 h 1451770"/>
                <a:gd name="connsiteX53" fmla="*/ 2782970 w 3773795"/>
                <a:gd name="connsiteY53" fmla="*/ 1380480 h 1451770"/>
                <a:gd name="connsiteX54" fmla="*/ 2787494 w 3773795"/>
                <a:gd name="connsiteY54" fmla="*/ 1377014 h 1451770"/>
                <a:gd name="connsiteX55" fmla="*/ 2789308 w 3773795"/>
                <a:gd name="connsiteY55" fmla="*/ 1375053 h 1451770"/>
                <a:gd name="connsiteX56" fmla="*/ 2789862 w 3773795"/>
                <a:gd name="connsiteY56" fmla="*/ 1373496 h 1451770"/>
                <a:gd name="connsiteX57" fmla="*/ 2791599 w 3773795"/>
                <a:gd name="connsiteY57" fmla="*/ 1371761 h 1451770"/>
                <a:gd name="connsiteX58" fmla="*/ 2792446 w 3773795"/>
                <a:gd name="connsiteY58" fmla="*/ 1370254 h 1451770"/>
                <a:gd name="connsiteX59" fmla="*/ 2793556 w 3773795"/>
                <a:gd name="connsiteY59" fmla="*/ 1369601 h 1451770"/>
                <a:gd name="connsiteX60" fmla="*/ 2856182 w 3773795"/>
                <a:gd name="connsiteY60" fmla="*/ 1335366 h 1451770"/>
                <a:gd name="connsiteX61" fmla="*/ 2857057 w 3773795"/>
                <a:gd name="connsiteY61" fmla="*/ 1335818 h 1451770"/>
                <a:gd name="connsiteX62" fmla="*/ 2857366 w 3773795"/>
                <a:gd name="connsiteY62" fmla="*/ 1336475 h 1451770"/>
                <a:gd name="connsiteX63" fmla="*/ 2857349 w 3773795"/>
                <a:gd name="connsiteY63" fmla="*/ 1337304 h 1451770"/>
                <a:gd name="connsiteX64" fmla="*/ 2856854 w 3773795"/>
                <a:gd name="connsiteY64" fmla="*/ 1338468 h 1451770"/>
                <a:gd name="connsiteX65" fmla="*/ 2857608 w 3773795"/>
                <a:gd name="connsiteY65" fmla="*/ 1339862 h 1451770"/>
                <a:gd name="connsiteX66" fmla="*/ 2856582 w 3773795"/>
                <a:gd name="connsiteY66" fmla="*/ 1340924 h 1451770"/>
                <a:gd name="connsiteX67" fmla="*/ 2852354 w 3773795"/>
                <a:gd name="connsiteY67" fmla="*/ 1341098 h 1451770"/>
                <a:gd name="connsiteX68" fmla="*/ 2848266 w 3773795"/>
                <a:gd name="connsiteY68" fmla="*/ 1343030 h 1451770"/>
                <a:gd name="connsiteX69" fmla="*/ 2844898 w 3773795"/>
                <a:gd name="connsiteY69" fmla="*/ 1343861 h 1451770"/>
                <a:gd name="connsiteX70" fmla="*/ 2839214 w 3773795"/>
                <a:gd name="connsiteY70" fmla="*/ 1347875 h 1451770"/>
                <a:gd name="connsiteX71" fmla="*/ 2837190 w 3773795"/>
                <a:gd name="connsiteY71" fmla="*/ 1350057 h 1451770"/>
                <a:gd name="connsiteX72" fmla="*/ 2834323 w 3773795"/>
                <a:gd name="connsiteY72" fmla="*/ 1350925 h 1451770"/>
                <a:gd name="connsiteX73" fmla="*/ 2831530 w 3773795"/>
                <a:gd name="connsiteY73" fmla="*/ 1350418 h 1451770"/>
                <a:gd name="connsiteX74" fmla="*/ 2830737 w 3773795"/>
                <a:gd name="connsiteY74" fmla="*/ 1351304 h 1451770"/>
                <a:gd name="connsiteX75" fmla="*/ 2830464 w 3773795"/>
                <a:gd name="connsiteY75" fmla="*/ 1352892 h 1451770"/>
                <a:gd name="connsiteX76" fmla="*/ 2829436 w 3773795"/>
                <a:gd name="connsiteY76" fmla="*/ 1354285 h 1451770"/>
                <a:gd name="connsiteX77" fmla="*/ 2823843 w 3773795"/>
                <a:gd name="connsiteY77" fmla="*/ 1358590 h 1451770"/>
                <a:gd name="connsiteX78" fmla="*/ 2821572 w 3773795"/>
                <a:gd name="connsiteY78" fmla="*/ 1361968 h 1451770"/>
                <a:gd name="connsiteX79" fmla="*/ 2819162 w 3773795"/>
                <a:gd name="connsiteY79" fmla="*/ 1362576 h 1451770"/>
                <a:gd name="connsiteX80" fmla="*/ 2814718 w 3773795"/>
                <a:gd name="connsiteY80" fmla="*/ 1366027 h 1451770"/>
                <a:gd name="connsiteX81" fmla="*/ 2815515 w 3773795"/>
                <a:gd name="connsiteY81" fmla="*/ 1363070 h 1451770"/>
                <a:gd name="connsiteX82" fmla="*/ 2816415 w 3773795"/>
                <a:gd name="connsiteY82" fmla="*/ 1361637 h 1451770"/>
                <a:gd name="connsiteX83" fmla="*/ 2820102 w 3773795"/>
                <a:gd name="connsiteY83" fmla="*/ 1358980 h 1451770"/>
                <a:gd name="connsiteX84" fmla="*/ 2820408 w 3773795"/>
                <a:gd name="connsiteY84" fmla="*/ 1356176 h 1451770"/>
                <a:gd name="connsiteX85" fmla="*/ 2822438 w 3773795"/>
                <a:gd name="connsiteY85" fmla="*/ 1353726 h 1451770"/>
                <a:gd name="connsiteX86" fmla="*/ 2826503 w 3773795"/>
                <a:gd name="connsiteY86" fmla="*/ 1351291 h 1451770"/>
                <a:gd name="connsiteX87" fmla="*/ 2829320 w 3773795"/>
                <a:gd name="connsiteY87" fmla="*/ 1348087 h 1451770"/>
                <a:gd name="connsiteX88" fmla="*/ 2831533 w 3773795"/>
                <a:gd name="connsiteY88" fmla="*/ 1347250 h 1451770"/>
                <a:gd name="connsiteX89" fmla="*/ 2833999 w 3773795"/>
                <a:gd name="connsiteY89" fmla="*/ 1344576 h 1451770"/>
                <a:gd name="connsiteX90" fmla="*/ 2836566 w 3773795"/>
                <a:gd name="connsiteY90" fmla="*/ 1343620 h 1451770"/>
                <a:gd name="connsiteX91" fmla="*/ 2836281 w 3773795"/>
                <a:gd name="connsiteY91" fmla="*/ 1341574 h 1451770"/>
                <a:gd name="connsiteX92" fmla="*/ 2837418 w 3773795"/>
                <a:gd name="connsiteY92" fmla="*/ 1339297 h 1451770"/>
                <a:gd name="connsiteX93" fmla="*/ 2838314 w 3773795"/>
                <a:gd name="connsiteY93" fmla="*/ 1339450 h 1451770"/>
                <a:gd name="connsiteX94" fmla="*/ 2840337 w 3773795"/>
                <a:gd name="connsiteY94" fmla="*/ 1342620 h 1451770"/>
                <a:gd name="connsiteX95" fmla="*/ 2841974 w 3773795"/>
                <a:gd name="connsiteY95" fmla="*/ 1342727 h 1451770"/>
                <a:gd name="connsiteX96" fmla="*/ 2846267 w 3773795"/>
                <a:gd name="connsiteY96" fmla="*/ 1342064 h 1451770"/>
                <a:gd name="connsiteX97" fmla="*/ 2852637 w 3773795"/>
                <a:gd name="connsiteY97" fmla="*/ 1336514 h 1451770"/>
                <a:gd name="connsiteX98" fmla="*/ 2854723 w 3773795"/>
                <a:gd name="connsiteY98" fmla="*/ 1335525 h 1451770"/>
                <a:gd name="connsiteX99" fmla="*/ 626718 w 3773795"/>
                <a:gd name="connsiteY99" fmla="*/ 1332050 h 1451770"/>
                <a:gd name="connsiteX100" fmla="*/ 627601 w 3773795"/>
                <a:gd name="connsiteY100" fmla="*/ 1334608 h 1451770"/>
                <a:gd name="connsiteX101" fmla="*/ 627511 w 3773795"/>
                <a:gd name="connsiteY101" fmla="*/ 1336416 h 1451770"/>
                <a:gd name="connsiteX102" fmla="*/ 627171 w 3773795"/>
                <a:gd name="connsiteY102" fmla="*/ 1336918 h 1451770"/>
                <a:gd name="connsiteX103" fmla="*/ 626124 w 3773795"/>
                <a:gd name="connsiteY103" fmla="*/ 1334388 h 1451770"/>
                <a:gd name="connsiteX104" fmla="*/ 626064 w 3773795"/>
                <a:gd name="connsiteY104" fmla="*/ 1332845 h 1451770"/>
                <a:gd name="connsiteX105" fmla="*/ 2891031 w 3773795"/>
                <a:gd name="connsiteY105" fmla="*/ 1316421 h 1451770"/>
                <a:gd name="connsiteX106" fmla="*/ 2895553 w 3773795"/>
                <a:gd name="connsiteY106" fmla="*/ 1316556 h 1451770"/>
                <a:gd name="connsiteX107" fmla="*/ 2888508 w 3773795"/>
                <a:gd name="connsiteY107" fmla="*/ 1321982 h 1451770"/>
                <a:gd name="connsiteX108" fmla="*/ 2887634 w 3773795"/>
                <a:gd name="connsiteY108" fmla="*/ 1324165 h 1451770"/>
                <a:gd name="connsiteX109" fmla="*/ 2884574 w 3773795"/>
                <a:gd name="connsiteY109" fmla="*/ 1326478 h 1451770"/>
                <a:gd name="connsiteX110" fmla="*/ 2882306 w 3773795"/>
                <a:gd name="connsiteY110" fmla="*/ 1327220 h 1451770"/>
                <a:gd name="connsiteX111" fmla="*/ 2880743 w 3773795"/>
                <a:gd name="connsiteY111" fmla="*/ 1328303 h 1451770"/>
                <a:gd name="connsiteX112" fmla="*/ 2876416 w 3773795"/>
                <a:gd name="connsiteY112" fmla="*/ 1332188 h 1451770"/>
                <a:gd name="connsiteX113" fmla="*/ 2873125 w 3773795"/>
                <a:gd name="connsiteY113" fmla="*/ 1333582 h 1451770"/>
                <a:gd name="connsiteX114" fmla="*/ 2871095 w 3773795"/>
                <a:gd name="connsiteY114" fmla="*/ 1333527 h 1451770"/>
                <a:gd name="connsiteX115" fmla="*/ 2875935 w 3773795"/>
                <a:gd name="connsiteY115" fmla="*/ 1326742 h 1451770"/>
                <a:gd name="connsiteX116" fmla="*/ 2878817 w 3773795"/>
                <a:gd name="connsiteY116" fmla="*/ 1325741 h 1451770"/>
                <a:gd name="connsiteX117" fmla="*/ 2882488 w 3773795"/>
                <a:gd name="connsiteY117" fmla="*/ 1321716 h 1451770"/>
                <a:gd name="connsiteX118" fmla="*/ 2890149 w 3773795"/>
                <a:gd name="connsiteY118" fmla="*/ 1316783 h 1451770"/>
                <a:gd name="connsiteX119" fmla="*/ 2932735 w 3773795"/>
                <a:gd name="connsiteY119" fmla="*/ 1290555 h 1451770"/>
                <a:gd name="connsiteX120" fmla="*/ 2933933 w 3773795"/>
                <a:gd name="connsiteY120" fmla="*/ 1290589 h 1451770"/>
                <a:gd name="connsiteX121" fmla="*/ 2927591 w 3773795"/>
                <a:gd name="connsiteY121" fmla="*/ 1297429 h 1451770"/>
                <a:gd name="connsiteX122" fmla="*/ 2923469 w 3773795"/>
                <a:gd name="connsiteY122" fmla="*/ 1300495 h 1451770"/>
                <a:gd name="connsiteX123" fmla="*/ 2922109 w 3773795"/>
                <a:gd name="connsiteY123" fmla="*/ 1300461 h 1451770"/>
                <a:gd name="connsiteX124" fmla="*/ 2921430 w 3773795"/>
                <a:gd name="connsiteY124" fmla="*/ 1299334 h 1451770"/>
                <a:gd name="connsiteX125" fmla="*/ 2921251 w 3773795"/>
                <a:gd name="connsiteY125" fmla="*/ 1298668 h 1451770"/>
                <a:gd name="connsiteX126" fmla="*/ 2924546 w 3773795"/>
                <a:gd name="connsiteY126" fmla="*/ 1298214 h 1451770"/>
                <a:gd name="connsiteX127" fmla="*/ 2928427 w 3773795"/>
                <a:gd name="connsiteY127" fmla="*/ 1294142 h 1451770"/>
                <a:gd name="connsiteX128" fmla="*/ 2931213 w 3773795"/>
                <a:gd name="connsiteY128" fmla="*/ 1291476 h 1451770"/>
                <a:gd name="connsiteX129" fmla="*/ 2951409 w 3773795"/>
                <a:gd name="connsiteY129" fmla="*/ 1271890 h 1451770"/>
                <a:gd name="connsiteX130" fmla="*/ 2951893 w 3773795"/>
                <a:gd name="connsiteY130" fmla="*/ 1273179 h 1451770"/>
                <a:gd name="connsiteX131" fmla="*/ 2950848 w 3773795"/>
                <a:gd name="connsiteY131" fmla="*/ 1274778 h 1451770"/>
                <a:gd name="connsiteX132" fmla="*/ 2949749 w 3773795"/>
                <a:gd name="connsiteY132" fmla="*/ 1274571 h 1451770"/>
                <a:gd name="connsiteX133" fmla="*/ 2949311 w 3773795"/>
                <a:gd name="connsiteY133" fmla="*/ 1274164 h 1451770"/>
                <a:gd name="connsiteX134" fmla="*/ 2950744 w 3773795"/>
                <a:gd name="connsiteY134" fmla="*/ 1272220 h 1451770"/>
                <a:gd name="connsiteX135" fmla="*/ 2976171 w 3773795"/>
                <a:gd name="connsiteY135" fmla="*/ 1240837 h 1451770"/>
                <a:gd name="connsiteX136" fmla="*/ 2976821 w 3773795"/>
                <a:gd name="connsiteY136" fmla="*/ 1241203 h 1451770"/>
                <a:gd name="connsiteX137" fmla="*/ 2976296 w 3773795"/>
                <a:gd name="connsiteY137" fmla="*/ 1242198 h 1451770"/>
                <a:gd name="connsiteX138" fmla="*/ 2973567 w 3773795"/>
                <a:gd name="connsiteY138" fmla="*/ 1244103 h 1451770"/>
                <a:gd name="connsiteX139" fmla="*/ 2972720 w 3773795"/>
                <a:gd name="connsiteY139" fmla="*/ 1245569 h 1451770"/>
                <a:gd name="connsiteX140" fmla="*/ 2971785 w 3773795"/>
                <a:gd name="connsiteY140" fmla="*/ 1245086 h 1451770"/>
                <a:gd name="connsiteX141" fmla="*/ 2971599 w 3773795"/>
                <a:gd name="connsiteY141" fmla="*/ 1244609 h 1451770"/>
                <a:gd name="connsiteX142" fmla="*/ 2973798 w 3773795"/>
                <a:gd name="connsiteY142" fmla="*/ 1242911 h 1451770"/>
                <a:gd name="connsiteX143" fmla="*/ 2974564 w 3773795"/>
                <a:gd name="connsiteY143" fmla="*/ 1240851 h 1451770"/>
                <a:gd name="connsiteX144" fmla="*/ 2990011 w 3773795"/>
                <a:gd name="connsiteY144" fmla="*/ 1219598 h 1451770"/>
                <a:gd name="connsiteX145" fmla="*/ 2991662 w 3773795"/>
                <a:gd name="connsiteY145" fmla="*/ 1220074 h 1451770"/>
                <a:gd name="connsiteX146" fmla="*/ 2991301 w 3773795"/>
                <a:gd name="connsiteY146" fmla="*/ 1221911 h 1451770"/>
                <a:gd name="connsiteX147" fmla="*/ 2989511 w 3773795"/>
                <a:gd name="connsiteY147" fmla="*/ 1224729 h 1451770"/>
                <a:gd name="connsiteX148" fmla="*/ 2990121 w 3773795"/>
                <a:gd name="connsiteY148" fmla="*/ 1228179 h 1451770"/>
                <a:gd name="connsiteX149" fmla="*/ 2989691 w 3773795"/>
                <a:gd name="connsiteY149" fmla="*/ 1229207 h 1451770"/>
                <a:gd name="connsiteX150" fmla="*/ 2987577 w 3773795"/>
                <a:gd name="connsiteY150" fmla="*/ 1230476 h 1451770"/>
                <a:gd name="connsiteX151" fmla="*/ 2985279 w 3773795"/>
                <a:gd name="connsiteY151" fmla="*/ 1229721 h 1451770"/>
                <a:gd name="connsiteX152" fmla="*/ 2985325 w 3773795"/>
                <a:gd name="connsiteY152" fmla="*/ 1227242 h 1451770"/>
                <a:gd name="connsiteX153" fmla="*/ 3018137 w 3773795"/>
                <a:gd name="connsiteY153" fmla="*/ 1187045 h 1451770"/>
                <a:gd name="connsiteX154" fmla="*/ 3018711 w 3773795"/>
                <a:gd name="connsiteY154" fmla="*/ 1189974 h 1451770"/>
                <a:gd name="connsiteX155" fmla="*/ 3018218 w 3773795"/>
                <a:gd name="connsiteY155" fmla="*/ 1193230 h 1451770"/>
                <a:gd name="connsiteX156" fmla="*/ 3016976 w 3773795"/>
                <a:gd name="connsiteY156" fmla="*/ 1196352 h 1451770"/>
                <a:gd name="connsiteX157" fmla="*/ 3014249 w 3773795"/>
                <a:gd name="connsiteY157" fmla="*/ 1200689 h 1451770"/>
                <a:gd name="connsiteX158" fmla="*/ 3011404 w 3773795"/>
                <a:gd name="connsiteY158" fmla="*/ 1203588 h 1451770"/>
                <a:gd name="connsiteX159" fmla="*/ 3007316 w 3773795"/>
                <a:gd name="connsiteY159" fmla="*/ 1204306 h 1451770"/>
                <a:gd name="connsiteX160" fmla="*/ 3005301 w 3773795"/>
                <a:gd name="connsiteY160" fmla="*/ 1205221 h 1451770"/>
                <a:gd name="connsiteX161" fmla="*/ 3003809 w 3773795"/>
                <a:gd name="connsiteY161" fmla="*/ 1207181 h 1451770"/>
                <a:gd name="connsiteX162" fmla="*/ 3002665 w 3773795"/>
                <a:gd name="connsiteY162" fmla="*/ 1208236 h 1451770"/>
                <a:gd name="connsiteX163" fmla="*/ 3000265 w 3773795"/>
                <a:gd name="connsiteY163" fmla="*/ 1207661 h 1451770"/>
                <a:gd name="connsiteX164" fmla="*/ 2999257 w 3773795"/>
                <a:gd name="connsiteY164" fmla="*/ 1206694 h 1451770"/>
                <a:gd name="connsiteX165" fmla="*/ 2999257 w 3773795"/>
                <a:gd name="connsiteY165" fmla="*/ 1203277 h 1451770"/>
                <a:gd name="connsiteX166" fmla="*/ 2998196 w 3773795"/>
                <a:gd name="connsiteY166" fmla="*/ 1201779 h 1451770"/>
                <a:gd name="connsiteX167" fmla="*/ 2998711 w 3773795"/>
                <a:gd name="connsiteY167" fmla="*/ 1200815 h 1451770"/>
                <a:gd name="connsiteX168" fmla="*/ 3001108 w 3773795"/>
                <a:gd name="connsiteY168" fmla="*/ 1200947 h 1451770"/>
                <a:gd name="connsiteX169" fmla="*/ 3003476 w 3773795"/>
                <a:gd name="connsiteY169" fmla="*/ 1198754 h 1451770"/>
                <a:gd name="connsiteX170" fmla="*/ 3008923 w 3773795"/>
                <a:gd name="connsiteY170" fmla="*/ 1197833 h 1451770"/>
                <a:gd name="connsiteX171" fmla="*/ 3010969 w 3773795"/>
                <a:gd name="connsiteY171" fmla="*/ 1195462 h 1451770"/>
                <a:gd name="connsiteX172" fmla="*/ 3013446 w 3773795"/>
                <a:gd name="connsiteY172" fmla="*/ 1189600 h 1451770"/>
                <a:gd name="connsiteX173" fmla="*/ 3016031 w 3773795"/>
                <a:gd name="connsiteY173" fmla="*/ 1187480 h 1451770"/>
                <a:gd name="connsiteX174" fmla="*/ 3024319 w 3773795"/>
                <a:gd name="connsiteY174" fmla="*/ 1184415 h 1451770"/>
                <a:gd name="connsiteX175" fmla="*/ 3026074 w 3773795"/>
                <a:gd name="connsiteY175" fmla="*/ 1184489 h 1451770"/>
                <a:gd name="connsiteX176" fmla="*/ 3026774 w 3773795"/>
                <a:gd name="connsiteY176" fmla="*/ 1184973 h 1451770"/>
                <a:gd name="connsiteX177" fmla="*/ 3026677 w 3773795"/>
                <a:gd name="connsiteY177" fmla="*/ 1187647 h 1451770"/>
                <a:gd name="connsiteX178" fmla="*/ 3024951 w 3773795"/>
                <a:gd name="connsiteY178" fmla="*/ 1190371 h 1451770"/>
                <a:gd name="connsiteX179" fmla="*/ 3024074 w 3773795"/>
                <a:gd name="connsiteY179" fmla="*/ 1191064 h 1451770"/>
                <a:gd name="connsiteX180" fmla="*/ 3023198 w 3773795"/>
                <a:gd name="connsiteY180" fmla="*/ 1190911 h 1451770"/>
                <a:gd name="connsiteX181" fmla="*/ 3020334 w 3773795"/>
                <a:gd name="connsiteY181" fmla="*/ 1189075 h 1451770"/>
                <a:gd name="connsiteX182" fmla="*/ 3019709 w 3773795"/>
                <a:gd name="connsiteY182" fmla="*/ 1188210 h 1451770"/>
                <a:gd name="connsiteX183" fmla="*/ 3020706 w 3773795"/>
                <a:gd name="connsiteY183" fmla="*/ 1186671 h 1451770"/>
                <a:gd name="connsiteX184" fmla="*/ 3006454 w 3773795"/>
                <a:gd name="connsiteY184" fmla="*/ 1182304 h 1451770"/>
                <a:gd name="connsiteX185" fmla="*/ 3008026 w 3773795"/>
                <a:gd name="connsiteY185" fmla="*/ 1183004 h 1451770"/>
                <a:gd name="connsiteX186" fmla="*/ 3008335 w 3773795"/>
                <a:gd name="connsiteY186" fmla="*/ 1184903 h 1451770"/>
                <a:gd name="connsiteX187" fmla="*/ 3008140 w 3773795"/>
                <a:gd name="connsiteY187" fmla="*/ 1185587 h 1451770"/>
                <a:gd name="connsiteX188" fmla="*/ 3006121 w 3773795"/>
                <a:gd name="connsiteY188" fmla="*/ 1185917 h 1451770"/>
                <a:gd name="connsiteX189" fmla="*/ 3005221 w 3773795"/>
                <a:gd name="connsiteY189" fmla="*/ 1185138 h 1451770"/>
                <a:gd name="connsiteX190" fmla="*/ 3004573 w 3773795"/>
                <a:gd name="connsiteY190" fmla="*/ 1184196 h 1451770"/>
                <a:gd name="connsiteX191" fmla="*/ 3004217 w 3773795"/>
                <a:gd name="connsiteY191" fmla="*/ 1182914 h 1451770"/>
                <a:gd name="connsiteX192" fmla="*/ 2721743 w 3773795"/>
                <a:gd name="connsiteY192" fmla="*/ 1078452 h 1451770"/>
                <a:gd name="connsiteX193" fmla="*/ 2723252 w 3773795"/>
                <a:gd name="connsiteY193" fmla="*/ 1079128 h 1451770"/>
                <a:gd name="connsiteX194" fmla="*/ 2728010 w 3773795"/>
                <a:gd name="connsiteY194" fmla="*/ 1086829 h 1451770"/>
                <a:gd name="connsiteX195" fmla="*/ 2728226 w 3773795"/>
                <a:gd name="connsiteY195" fmla="*/ 1088508 h 1451770"/>
                <a:gd name="connsiteX196" fmla="*/ 2727809 w 3773795"/>
                <a:gd name="connsiteY196" fmla="*/ 1090235 h 1451770"/>
                <a:gd name="connsiteX197" fmla="*/ 2726913 w 3773795"/>
                <a:gd name="connsiteY197" fmla="*/ 1092455 h 1451770"/>
                <a:gd name="connsiteX198" fmla="*/ 2726578 w 3773795"/>
                <a:gd name="connsiteY198" fmla="*/ 1094796 h 1451770"/>
                <a:gd name="connsiteX199" fmla="*/ 2727131 w 3773795"/>
                <a:gd name="connsiteY199" fmla="*/ 1096837 h 1451770"/>
                <a:gd name="connsiteX200" fmla="*/ 2726723 w 3773795"/>
                <a:gd name="connsiteY200" fmla="*/ 1097342 h 1451770"/>
                <a:gd name="connsiteX201" fmla="*/ 2730649 w 3773795"/>
                <a:gd name="connsiteY201" fmla="*/ 1106568 h 1451770"/>
                <a:gd name="connsiteX202" fmla="*/ 2733482 w 3773795"/>
                <a:gd name="connsiteY202" fmla="*/ 1112365 h 1451770"/>
                <a:gd name="connsiteX203" fmla="*/ 2734285 w 3773795"/>
                <a:gd name="connsiteY203" fmla="*/ 1114731 h 1451770"/>
                <a:gd name="connsiteX204" fmla="*/ 2734903 w 3773795"/>
                <a:gd name="connsiteY204" fmla="*/ 1117219 h 1451770"/>
                <a:gd name="connsiteX205" fmla="*/ 2735717 w 3773795"/>
                <a:gd name="connsiteY205" fmla="*/ 1122351 h 1451770"/>
                <a:gd name="connsiteX206" fmla="*/ 2735892 w 3773795"/>
                <a:gd name="connsiteY206" fmla="*/ 1130211 h 1451770"/>
                <a:gd name="connsiteX207" fmla="*/ 2735693 w 3773795"/>
                <a:gd name="connsiteY207" fmla="*/ 1132789 h 1451770"/>
                <a:gd name="connsiteX208" fmla="*/ 2735063 w 3773795"/>
                <a:gd name="connsiteY208" fmla="*/ 1135303 h 1451770"/>
                <a:gd name="connsiteX209" fmla="*/ 2734380 w 3773795"/>
                <a:gd name="connsiteY209" fmla="*/ 1136806 h 1451770"/>
                <a:gd name="connsiteX210" fmla="*/ 2732981 w 3773795"/>
                <a:gd name="connsiteY210" fmla="*/ 1137869 h 1451770"/>
                <a:gd name="connsiteX211" fmla="*/ 2732346 w 3773795"/>
                <a:gd name="connsiteY211" fmla="*/ 1140649 h 1451770"/>
                <a:gd name="connsiteX212" fmla="*/ 2731977 w 3773795"/>
                <a:gd name="connsiteY212" fmla="*/ 1148524 h 1451770"/>
                <a:gd name="connsiteX213" fmla="*/ 2732752 w 3773795"/>
                <a:gd name="connsiteY213" fmla="*/ 1152643 h 1451770"/>
                <a:gd name="connsiteX214" fmla="*/ 2734077 w 3773795"/>
                <a:gd name="connsiteY214" fmla="*/ 1155495 h 1451770"/>
                <a:gd name="connsiteX215" fmla="*/ 2735054 w 3773795"/>
                <a:gd name="connsiteY215" fmla="*/ 1158550 h 1451770"/>
                <a:gd name="connsiteX216" fmla="*/ 2735159 w 3773795"/>
                <a:gd name="connsiteY216" fmla="*/ 1161848 h 1451770"/>
                <a:gd name="connsiteX217" fmla="*/ 2735624 w 3773795"/>
                <a:gd name="connsiteY217" fmla="*/ 1163293 h 1451770"/>
                <a:gd name="connsiteX218" fmla="*/ 2737775 w 3773795"/>
                <a:gd name="connsiteY218" fmla="*/ 1165135 h 1451770"/>
                <a:gd name="connsiteX219" fmla="*/ 2738608 w 3773795"/>
                <a:gd name="connsiteY219" fmla="*/ 1166579 h 1451770"/>
                <a:gd name="connsiteX220" fmla="*/ 2738872 w 3773795"/>
                <a:gd name="connsiteY220" fmla="*/ 1168622 h 1451770"/>
                <a:gd name="connsiteX221" fmla="*/ 2738995 w 3773795"/>
                <a:gd name="connsiteY221" fmla="*/ 1171635 h 1451770"/>
                <a:gd name="connsiteX222" fmla="*/ 2739344 w 3773795"/>
                <a:gd name="connsiteY222" fmla="*/ 1172284 h 1451770"/>
                <a:gd name="connsiteX223" fmla="*/ 2740349 w 3773795"/>
                <a:gd name="connsiteY223" fmla="*/ 1173186 h 1451770"/>
                <a:gd name="connsiteX224" fmla="*/ 2744812 w 3773795"/>
                <a:gd name="connsiteY224" fmla="*/ 1194757 h 1451770"/>
                <a:gd name="connsiteX225" fmla="*/ 2746580 w 3773795"/>
                <a:gd name="connsiteY225" fmla="*/ 1201256 h 1451770"/>
                <a:gd name="connsiteX226" fmla="*/ 2751709 w 3773795"/>
                <a:gd name="connsiteY226" fmla="*/ 1212435 h 1451770"/>
                <a:gd name="connsiteX227" fmla="*/ 2753774 w 3773795"/>
                <a:gd name="connsiteY227" fmla="*/ 1219179 h 1451770"/>
                <a:gd name="connsiteX228" fmla="*/ 2755063 w 3773795"/>
                <a:gd name="connsiteY228" fmla="*/ 1222390 h 1451770"/>
                <a:gd name="connsiteX229" fmla="*/ 2755955 w 3773795"/>
                <a:gd name="connsiteY229" fmla="*/ 1225768 h 1451770"/>
                <a:gd name="connsiteX230" fmla="*/ 2756665 w 3773795"/>
                <a:gd name="connsiteY230" fmla="*/ 1229227 h 1451770"/>
                <a:gd name="connsiteX231" fmla="*/ 2758194 w 3773795"/>
                <a:gd name="connsiteY231" fmla="*/ 1232969 h 1451770"/>
                <a:gd name="connsiteX232" fmla="*/ 2760195 w 3773795"/>
                <a:gd name="connsiteY232" fmla="*/ 1236668 h 1451770"/>
                <a:gd name="connsiteX233" fmla="*/ 2764068 w 3773795"/>
                <a:gd name="connsiteY233" fmla="*/ 1239956 h 1451770"/>
                <a:gd name="connsiteX234" fmla="*/ 2765808 w 3773795"/>
                <a:gd name="connsiteY234" fmla="*/ 1241797 h 1451770"/>
                <a:gd name="connsiteX235" fmla="*/ 2766274 w 3773795"/>
                <a:gd name="connsiteY235" fmla="*/ 1243270 h 1451770"/>
                <a:gd name="connsiteX236" fmla="*/ 2766432 w 3773795"/>
                <a:gd name="connsiteY236" fmla="*/ 1248369 h 1451770"/>
                <a:gd name="connsiteX237" fmla="*/ 2765523 w 3773795"/>
                <a:gd name="connsiteY237" fmla="*/ 1247281 h 1451770"/>
                <a:gd name="connsiteX238" fmla="*/ 2764381 w 3773795"/>
                <a:gd name="connsiteY238" fmla="*/ 1243404 h 1451770"/>
                <a:gd name="connsiteX239" fmla="*/ 2762508 w 3773795"/>
                <a:gd name="connsiteY239" fmla="*/ 1241161 h 1451770"/>
                <a:gd name="connsiteX240" fmla="*/ 2759755 w 3773795"/>
                <a:gd name="connsiteY240" fmla="*/ 1238514 h 1451770"/>
                <a:gd name="connsiteX241" fmla="*/ 2756924 w 3773795"/>
                <a:gd name="connsiteY241" fmla="*/ 1236134 h 1451770"/>
                <a:gd name="connsiteX242" fmla="*/ 2753423 w 3773795"/>
                <a:gd name="connsiteY242" fmla="*/ 1232168 h 1451770"/>
                <a:gd name="connsiteX243" fmla="*/ 2751727 w 3773795"/>
                <a:gd name="connsiteY243" fmla="*/ 1231006 h 1451770"/>
                <a:gd name="connsiteX244" fmla="*/ 2749936 w 3773795"/>
                <a:gd name="connsiteY244" fmla="*/ 1230229 h 1451770"/>
                <a:gd name="connsiteX245" fmla="*/ 2746649 w 3773795"/>
                <a:gd name="connsiteY245" fmla="*/ 1229305 h 1451770"/>
                <a:gd name="connsiteX246" fmla="*/ 2744730 w 3773795"/>
                <a:gd name="connsiteY246" fmla="*/ 1229207 h 1451770"/>
                <a:gd name="connsiteX247" fmla="*/ 2736989 w 3773795"/>
                <a:gd name="connsiteY247" fmla="*/ 1229818 h 1451770"/>
                <a:gd name="connsiteX248" fmla="*/ 2733763 w 3773795"/>
                <a:gd name="connsiteY248" fmla="*/ 1230615 h 1451770"/>
                <a:gd name="connsiteX249" fmla="*/ 2730858 w 3773795"/>
                <a:gd name="connsiteY249" fmla="*/ 1232446 h 1451770"/>
                <a:gd name="connsiteX250" fmla="*/ 2729130 w 3773795"/>
                <a:gd name="connsiteY250" fmla="*/ 1235116 h 1451770"/>
                <a:gd name="connsiteX251" fmla="*/ 2727910 w 3773795"/>
                <a:gd name="connsiteY251" fmla="*/ 1240471 h 1451770"/>
                <a:gd name="connsiteX252" fmla="*/ 2720819 w 3773795"/>
                <a:gd name="connsiteY252" fmla="*/ 1259524 h 1451770"/>
                <a:gd name="connsiteX253" fmla="*/ 2719122 w 3773795"/>
                <a:gd name="connsiteY253" fmla="*/ 1264462 h 1451770"/>
                <a:gd name="connsiteX254" fmla="*/ 2718495 w 3773795"/>
                <a:gd name="connsiteY254" fmla="*/ 1269744 h 1451770"/>
                <a:gd name="connsiteX255" fmla="*/ 2718740 w 3773795"/>
                <a:gd name="connsiteY255" fmla="*/ 1273884 h 1451770"/>
                <a:gd name="connsiteX256" fmla="*/ 2719228 w 3773795"/>
                <a:gd name="connsiteY256" fmla="*/ 1275400 h 1451770"/>
                <a:gd name="connsiteX257" fmla="*/ 2721242 w 3773795"/>
                <a:gd name="connsiteY257" fmla="*/ 1279532 h 1451770"/>
                <a:gd name="connsiteX258" fmla="*/ 2722907 w 3773795"/>
                <a:gd name="connsiteY258" fmla="*/ 1281904 h 1451770"/>
                <a:gd name="connsiteX259" fmla="*/ 2724131 w 3773795"/>
                <a:gd name="connsiteY259" fmla="*/ 1282919 h 1451770"/>
                <a:gd name="connsiteX260" fmla="*/ 2725529 w 3773795"/>
                <a:gd name="connsiteY260" fmla="*/ 1283603 h 1451770"/>
                <a:gd name="connsiteX261" fmla="*/ 2726447 w 3773795"/>
                <a:gd name="connsiteY261" fmla="*/ 1284441 h 1451770"/>
                <a:gd name="connsiteX262" fmla="*/ 2727217 w 3773795"/>
                <a:gd name="connsiteY262" fmla="*/ 1285537 h 1451770"/>
                <a:gd name="connsiteX263" fmla="*/ 2728660 w 3773795"/>
                <a:gd name="connsiteY263" fmla="*/ 1288337 h 1451770"/>
                <a:gd name="connsiteX264" fmla="*/ 2730511 w 3773795"/>
                <a:gd name="connsiteY264" fmla="*/ 1294538 h 1451770"/>
                <a:gd name="connsiteX265" fmla="*/ 2732471 w 3773795"/>
                <a:gd name="connsiteY265" fmla="*/ 1298909 h 1451770"/>
                <a:gd name="connsiteX266" fmla="*/ 2733350 w 3773795"/>
                <a:gd name="connsiteY266" fmla="*/ 1300279 h 1451770"/>
                <a:gd name="connsiteX267" fmla="*/ 2735583 w 3773795"/>
                <a:gd name="connsiteY267" fmla="*/ 1299931 h 1451770"/>
                <a:gd name="connsiteX268" fmla="*/ 2737036 w 3773795"/>
                <a:gd name="connsiteY268" fmla="*/ 1299978 h 1451770"/>
                <a:gd name="connsiteX269" fmla="*/ 2738427 w 3773795"/>
                <a:gd name="connsiteY269" fmla="*/ 1300359 h 1451770"/>
                <a:gd name="connsiteX270" fmla="*/ 2739275 w 3773795"/>
                <a:gd name="connsiteY270" fmla="*/ 1301471 h 1451770"/>
                <a:gd name="connsiteX271" fmla="*/ 2740485 w 3773795"/>
                <a:gd name="connsiteY271" fmla="*/ 1306392 h 1451770"/>
                <a:gd name="connsiteX272" fmla="*/ 2741333 w 3773795"/>
                <a:gd name="connsiteY272" fmla="*/ 1311084 h 1451770"/>
                <a:gd name="connsiteX273" fmla="*/ 2741376 w 3773795"/>
                <a:gd name="connsiteY273" fmla="*/ 1312342 h 1451770"/>
                <a:gd name="connsiteX274" fmla="*/ 2739782 w 3773795"/>
                <a:gd name="connsiteY274" fmla="*/ 1315958 h 1451770"/>
                <a:gd name="connsiteX275" fmla="*/ 2739386 w 3773795"/>
                <a:gd name="connsiteY275" fmla="*/ 1317495 h 1451770"/>
                <a:gd name="connsiteX276" fmla="*/ 2739202 w 3773795"/>
                <a:gd name="connsiteY276" fmla="*/ 1319121 h 1451770"/>
                <a:gd name="connsiteX277" fmla="*/ 2738785 w 3773795"/>
                <a:gd name="connsiteY277" fmla="*/ 1320402 h 1451770"/>
                <a:gd name="connsiteX278" fmla="*/ 2738081 w 3773795"/>
                <a:gd name="connsiteY278" fmla="*/ 1321530 h 1451770"/>
                <a:gd name="connsiteX279" fmla="*/ 2737794 w 3773795"/>
                <a:gd name="connsiteY279" fmla="*/ 1316183 h 1451770"/>
                <a:gd name="connsiteX280" fmla="*/ 2736725 w 3773795"/>
                <a:gd name="connsiteY280" fmla="*/ 1312403 h 1451770"/>
                <a:gd name="connsiteX281" fmla="*/ 2736324 w 3773795"/>
                <a:gd name="connsiteY281" fmla="*/ 1309138 h 1451770"/>
                <a:gd name="connsiteX282" fmla="*/ 2734780 w 3773795"/>
                <a:gd name="connsiteY282" fmla="*/ 1306840 h 1451770"/>
                <a:gd name="connsiteX283" fmla="*/ 2729595 w 3773795"/>
                <a:gd name="connsiteY283" fmla="*/ 1305905 h 1451770"/>
                <a:gd name="connsiteX284" fmla="*/ 2724762 w 3773795"/>
                <a:gd name="connsiteY284" fmla="*/ 1305554 h 1451770"/>
                <a:gd name="connsiteX285" fmla="*/ 2724015 w 3773795"/>
                <a:gd name="connsiteY285" fmla="*/ 1305138 h 1451770"/>
                <a:gd name="connsiteX286" fmla="*/ 2722950 w 3773795"/>
                <a:gd name="connsiteY286" fmla="*/ 1303736 h 1451770"/>
                <a:gd name="connsiteX287" fmla="*/ 2721724 w 3773795"/>
                <a:gd name="connsiteY287" fmla="*/ 1302618 h 1451770"/>
                <a:gd name="connsiteX288" fmla="*/ 2720482 w 3773795"/>
                <a:gd name="connsiteY288" fmla="*/ 1302469 h 1451770"/>
                <a:gd name="connsiteX289" fmla="*/ 2719206 w 3773795"/>
                <a:gd name="connsiteY289" fmla="*/ 1302898 h 1451770"/>
                <a:gd name="connsiteX290" fmla="*/ 2717012 w 3773795"/>
                <a:gd name="connsiteY290" fmla="*/ 1304470 h 1451770"/>
                <a:gd name="connsiteX291" fmla="*/ 2715413 w 3773795"/>
                <a:gd name="connsiteY291" fmla="*/ 1306959 h 1451770"/>
                <a:gd name="connsiteX292" fmla="*/ 2714164 w 3773795"/>
                <a:gd name="connsiteY292" fmla="*/ 1309624 h 1451770"/>
                <a:gd name="connsiteX293" fmla="*/ 2713147 w 3773795"/>
                <a:gd name="connsiteY293" fmla="*/ 1312429 h 1451770"/>
                <a:gd name="connsiteX294" fmla="*/ 2711037 w 3773795"/>
                <a:gd name="connsiteY294" fmla="*/ 1319866 h 1451770"/>
                <a:gd name="connsiteX295" fmla="*/ 2709735 w 3773795"/>
                <a:gd name="connsiteY295" fmla="*/ 1322342 h 1451770"/>
                <a:gd name="connsiteX296" fmla="*/ 2708130 w 3773795"/>
                <a:gd name="connsiteY296" fmla="*/ 1324611 h 1451770"/>
                <a:gd name="connsiteX297" fmla="*/ 2706770 w 3773795"/>
                <a:gd name="connsiteY297" fmla="*/ 1323381 h 1451770"/>
                <a:gd name="connsiteX298" fmla="*/ 2705576 w 3773795"/>
                <a:gd name="connsiteY298" fmla="*/ 1321949 h 1451770"/>
                <a:gd name="connsiteX299" fmla="*/ 2704876 w 3773795"/>
                <a:gd name="connsiteY299" fmla="*/ 1319883 h 1451770"/>
                <a:gd name="connsiteX300" fmla="*/ 2704574 w 3773795"/>
                <a:gd name="connsiteY300" fmla="*/ 1317602 h 1451770"/>
                <a:gd name="connsiteX301" fmla="*/ 2702674 w 3773795"/>
                <a:gd name="connsiteY301" fmla="*/ 1309836 h 1451770"/>
                <a:gd name="connsiteX302" fmla="*/ 2703473 w 3773795"/>
                <a:gd name="connsiteY302" fmla="*/ 1303081 h 1451770"/>
                <a:gd name="connsiteX303" fmla="*/ 2706668 w 3773795"/>
                <a:gd name="connsiteY303" fmla="*/ 1293714 h 1451770"/>
                <a:gd name="connsiteX304" fmla="*/ 2707280 w 3773795"/>
                <a:gd name="connsiteY304" fmla="*/ 1290642 h 1451770"/>
                <a:gd name="connsiteX305" fmla="*/ 2706798 w 3773795"/>
                <a:gd name="connsiteY305" fmla="*/ 1287723 h 1451770"/>
                <a:gd name="connsiteX306" fmla="*/ 2706075 w 3773795"/>
                <a:gd name="connsiteY306" fmla="*/ 1284838 h 1451770"/>
                <a:gd name="connsiteX307" fmla="*/ 2705595 w 3773795"/>
                <a:gd name="connsiteY307" fmla="*/ 1279339 h 1451770"/>
                <a:gd name="connsiteX308" fmla="*/ 2705630 w 3773795"/>
                <a:gd name="connsiteY308" fmla="*/ 1278113 h 1451770"/>
                <a:gd name="connsiteX309" fmla="*/ 2706770 w 3773795"/>
                <a:gd name="connsiteY309" fmla="*/ 1274932 h 1451770"/>
                <a:gd name="connsiteX310" fmla="*/ 2708105 w 3773795"/>
                <a:gd name="connsiteY310" fmla="*/ 1271901 h 1451770"/>
                <a:gd name="connsiteX311" fmla="*/ 2709724 w 3773795"/>
                <a:gd name="connsiteY311" fmla="*/ 1269259 h 1451770"/>
                <a:gd name="connsiteX312" fmla="*/ 2710443 w 3773795"/>
                <a:gd name="connsiteY312" fmla="*/ 1266122 h 1451770"/>
                <a:gd name="connsiteX313" fmla="*/ 2709418 w 3773795"/>
                <a:gd name="connsiteY313" fmla="*/ 1258301 h 1451770"/>
                <a:gd name="connsiteX314" fmla="*/ 2707060 w 3773795"/>
                <a:gd name="connsiteY314" fmla="*/ 1253002 h 1451770"/>
                <a:gd name="connsiteX315" fmla="*/ 2704153 w 3773795"/>
                <a:gd name="connsiteY315" fmla="*/ 1247959 h 1451770"/>
                <a:gd name="connsiteX316" fmla="*/ 2703617 w 3773795"/>
                <a:gd name="connsiteY316" fmla="*/ 1246616 h 1451770"/>
                <a:gd name="connsiteX317" fmla="*/ 2703468 w 3773795"/>
                <a:gd name="connsiteY317" fmla="*/ 1245246 h 1451770"/>
                <a:gd name="connsiteX318" fmla="*/ 2705973 w 3773795"/>
                <a:gd name="connsiteY318" fmla="*/ 1238920 h 1451770"/>
                <a:gd name="connsiteX319" fmla="*/ 2706870 w 3773795"/>
                <a:gd name="connsiteY319" fmla="*/ 1235886 h 1451770"/>
                <a:gd name="connsiteX320" fmla="*/ 2707895 w 3773795"/>
                <a:gd name="connsiteY320" fmla="*/ 1229206 h 1451770"/>
                <a:gd name="connsiteX321" fmla="*/ 2708828 w 3773795"/>
                <a:gd name="connsiteY321" fmla="*/ 1225549 h 1451770"/>
                <a:gd name="connsiteX322" fmla="*/ 2709571 w 3773795"/>
                <a:gd name="connsiteY322" fmla="*/ 1221833 h 1451770"/>
                <a:gd name="connsiteX323" fmla="*/ 2709811 w 3773795"/>
                <a:gd name="connsiteY323" fmla="*/ 1203163 h 1451770"/>
                <a:gd name="connsiteX324" fmla="*/ 2709588 w 3773795"/>
                <a:gd name="connsiteY324" fmla="*/ 1200402 h 1451770"/>
                <a:gd name="connsiteX325" fmla="*/ 2707997 w 3773795"/>
                <a:gd name="connsiteY325" fmla="*/ 1194517 h 1451770"/>
                <a:gd name="connsiteX326" fmla="*/ 2707884 w 3773795"/>
                <a:gd name="connsiteY326" fmla="*/ 1191161 h 1451770"/>
                <a:gd name="connsiteX327" fmla="*/ 2708647 w 3773795"/>
                <a:gd name="connsiteY327" fmla="*/ 1186911 h 1451770"/>
                <a:gd name="connsiteX328" fmla="*/ 2709681 w 3773795"/>
                <a:gd name="connsiteY328" fmla="*/ 1183596 h 1451770"/>
                <a:gd name="connsiteX329" fmla="*/ 2711022 w 3773795"/>
                <a:gd name="connsiteY329" fmla="*/ 1180435 h 1451770"/>
                <a:gd name="connsiteX330" fmla="*/ 2710996 w 3773795"/>
                <a:gd name="connsiteY330" fmla="*/ 1173881 h 1451770"/>
                <a:gd name="connsiteX331" fmla="*/ 2708431 w 3773795"/>
                <a:gd name="connsiteY331" fmla="*/ 1167815 h 1451770"/>
                <a:gd name="connsiteX332" fmla="*/ 2706557 w 3773795"/>
                <a:gd name="connsiteY332" fmla="*/ 1165138 h 1451770"/>
                <a:gd name="connsiteX333" fmla="*/ 2703616 w 3773795"/>
                <a:gd name="connsiteY333" fmla="*/ 1161917 h 1451770"/>
                <a:gd name="connsiteX334" fmla="*/ 2701381 w 3773795"/>
                <a:gd name="connsiteY334" fmla="*/ 1160145 h 1451770"/>
                <a:gd name="connsiteX335" fmla="*/ 2700286 w 3773795"/>
                <a:gd name="connsiteY335" fmla="*/ 1158786 h 1451770"/>
                <a:gd name="connsiteX336" fmla="*/ 2701381 w 3773795"/>
                <a:gd name="connsiteY336" fmla="*/ 1158330 h 1451770"/>
                <a:gd name="connsiteX337" fmla="*/ 2702182 w 3773795"/>
                <a:gd name="connsiteY337" fmla="*/ 1157227 h 1451770"/>
                <a:gd name="connsiteX338" fmla="*/ 2700255 w 3773795"/>
                <a:gd name="connsiteY338" fmla="*/ 1155528 h 1451770"/>
                <a:gd name="connsiteX339" fmla="*/ 2699093 w 3773795"/>
                <a:gd name="connsiteY339" fmla="*/ 1152972 h 1451770"/>
                <a:gd name="connsiteX340" fmla="*/ 2698925 w 3773795"/>
                <a:gd name="connsiteY340" fmla="*/ 1142917 h 1451770"/>
                <a:gd name="connsiteX341" fmla="*/ 2699403 w 3773795"/>
                <a:gd name="connsiteY341" fmla="*/ 1140359 h 1451770"/>
                <a:gd name="connsiteX342" fmla="*/ 2700843 w 3773795"/>
                <a:gd name="connsiteY342" fmla="*/ 1137514 h 1451770"/>
                <a:gd name="connsiteX343" fmla="*/ 2702075 w 3773795"/>
                <a:gd name="connsiteY343" fmla="*/ 1134515 h 1451770"/>
                <a:gd name="connsiteX344" fmla="*/ 2703230 w 3773795"/>
                <a:gd name="connsiteY344" fmla="*/ 1127422 h 1451770"/>
                <a:gd name="connsiteX345" fmla="*/ 2703630 w 3773795"/>
                <a:gd name="connsiteY345" fmla="*/ 1120081 h 1451770"/>
                <a:gd name="connsiteX346" fmla="*/ 2702861 w 3773795"/>
                <a:gd name="connsiteY346" fmla="*/ 1117096 h 1451770"/>
                <a:gd name="connsiteX347" fmla="*/ 2702523 w 3773795"/>
                <a:gd name="connsiteY347" fmla="*/ 1111058 h 1451770"/>
                <a:gd name="connsiteX348" fmla="*/ 2703162 w 3773795"/>
                <a:gd name="connsiteY348" fmla="*/ 1109556 h 1451770"/>
                <a:gd name="connsiteX349" fmla="*/ 2705639 w 3773795"/>
                <a:gd name="connsiteY349" fmla="*/ 1107540 h 1451770"/>
                <a:gd name="connsiteX350" fmla="*/ 2709565 w 3773795"/>
                <a:gd name="connsiteY350" fmla="*/ 1106359 h 1451770"/>
                <a:gd name="connsiteX351" fmla="*/ 2710402 w 3773795"/>
                <a:gd name="connsiteY351" fmla="*/ 1106708 h 1451770"/>
                <a:gd name="connsiteX352" fmla="*/ 2713477 w 3773795"/>
                <a:gd name="connsiteY352" fmla="*/ 1109074 h 1451770"/>
                <a:gd name="connsiteX353" fmla="*/ 2714617 w 3773795"/>
                <a:gd name="connsiteY353" fmla="*/ 1109162 h 1451770"/>
                <a:gd name="connsiteX354" fmla="*/ 2715801 w 3773795"/>
                <a:gd name="connsiteY354" fmla="*/ 1108915 h 1451770"/>
                <a:gd name="connsiteX355" fmla="*/ 2718060 w 3773795"/>
                <a:gd name="connsiteY355" fmla="*/ 1107809 h 1451770"/>
                <a:gd name="connsiteX356" fmla="*/ 2719327 w 3773795"/>
                <a:gd name="connsiteY356" fmla="*/ 1105118 h 1451770"/>
                <a:gd name="connsiteX357" fmla="*/ 2717684 w 3773795"/>
                <a:gd name="connsiteY357" fmla="*/ 1103585 h 1451770"/>
                <a:gd name="connsiteX358" fmla="*/ 2718643 w 3773795"/>
                <a:gd name="connsiteY358" fmla="*/ 1101622 h 1451770"/>
                <a:gd name="connsiteX359" fmla="*/ 2721452 w 3773795"/>
                <a:gd name="connsiteY359" fmla="*/ 1100966 h 1451770"/>
                <a:gd name="connsiteX360" fmla="*/ 2721657 w 3773795"/>
                <a:gd name="connsiteY360" fmla="*/ 1099279 h 1451770"/>
                <a:gd name="connsiteX361" fmla="*/ 2720640 w 3773795"/>
                <a:gd name="connsiteY361" fmla="*/ 1099080 h 1451770"/>
                <a:gd name="connsiteX362" fmla="*/ 2721528 w 3773795"/>
                <a:gd name="connsiteY362" fmla="*/ 1096683 h 1451770"/>
                <a:gd name="connsiteX363" fmla="*/ 2722035 w 3773795"/>
                <a:gd name="connsiteY363" fmla="*/ 1094271 h 1451770"/>
                <a:gd name="connsiteX364" fmla="*/ 2721244 w 3773795"/>
                <a:gd name="connsiteY364" fmla="*/ 1092067 h 1451770"/>
                <a:gd name="connsiteX365" fmla="*/ 2716742 w 3773795"/>
                <a:gd name="connsiteY365" fmla="*/ 1086599 h 1451770"/>
                <a:gd name="connsiteX366" fmla="*/ 2713831 w 3773795"/>
                <a:gd name="connsiteY366" fmla="*/ 1082578 h 1451770"/>
                <a:gd name="connsiteX367" fmla="*/ 2718623 w 3773795"/>
                <a:gd name="connsiteY367" fmla="*/ 1082632 h 1451770"/>
                <a:gd name="connsiteX368" fmla="*/ 2720038 w 3773795"/>
                <a:gd name="connsiteY368" fmla="*/ 1081881 h 1451770"/>
                <a:gd name="connsiteX369" fmla="*/ 2721156 w 3773795"/>
                <a:gd name="connsiteY369" fmla="*/ 1080218 h 1451770"/>
                <a:gd name="connsiteX370" fmla="*/ 3270542 w 3773795"/>
                <a:gd name="connsiteY370" fmla="*/ 1064968 h 1451770"/>
                <a:gd name="connsiteX371" fmla="*/ 3272329 w 3773795"/>
                <a:gd name="connsiteY371" fmla="*/ 1066783 h 1451770"/>
                <a:gd name="connsiteX372" fmla="*/ 3274941 w 3773795"/>
                <a:gd name="connsiteY372" fmla="*/ 1067628 h 1451770"/>
                <a:gd name="connsiteX373" fmla="*/ 3278744 w 3773795"/>
                <a:gd name="connsiteY373" fmla="*/ 1070069 h 1451770"/>
                <a:gd name="connsiteX374" fmla="*/ 3282204 w 3773795"/>
                <a:gd name="connsiteY374" fmla="*/ 1073907 h 1451770"/>
                <a:gd name="connsiteX375" fmla="*/ 3283138 w 3773795"/>
                <a:gd name="connsiteY375" fmla="*/ 1075503 h 1451770"/>
                <a:gd name="connsiteX376" fmla="*/ 3274205 w 3773795"/>
                <a:gd name="connsiteY376" fmla="*/ 1069849 h 1451770"/>
                <a:gd name="connsiteX377" fmla="*/ 3270020 w 3773795"/>
                <a:gd name="connsiteY377" fmla="*/ 1066868 h 1451770"/>
                <a:gd name="connsiteX378" fmla="*/ 3268990 w 3773795"/>
                <a:gd name="connsiteY378" fmla="*/ 1065001 h 1451770"/>
                <a:gd name="connsiteX379" fmla="*/ 2599314 w 3773795"/>
                <a:gd name="connsiteY379" fmla="*/ 1057258 h 1451770"/>
                <a:gd name="connsiteX380" fmla="*/ 2599814 w 3773795"/>
                <a:gd name="connsiteY380" fmla="*/ 1057484 h 1451770"/>
                <a:gd name="connsiteX381" fmla="*/ 2597086 w 3773795"/>
                <a:gd name="connsiteY381" fmla="*/ 1062824 h 1451770"/>
                <a:gd name="connsiteX382" fmla="*/ 2595188 w 3773795"/>
                <a:gd name="connsiteY382" fmla="*/ 1062910 h 1451770"/>
                <a:gd name="connsiteX383" fmla="*/ 2593714 w 3773795"/>
                <a:gd name="connsiteY383" fmla="*/ 1061783 h 1451770"/>
                <a:gd name="connsiteX384" fmla="*/ 2590671 w 3773795"/>
                <a:gd name="connsiteY384" fmla="*/ 1062232 h 1451770"/>
                <a:gd name="connsiteX385" fmla="*/ 2589554 w 3773795"/>
                <a:gd name="connsiteY385" fmla="*/ 1061921 h 1451770"/>
                <a:gd name="connsiteX386" fmla="*/ 2591338 w 3773795"/>
                <a:gd name="connsiteY386" fmla="*/ 1060286 h 1451770"/>
                <a:gd name="connsiteX387" fmla="*/ 2595769 w 3773795"/>
                <a:gd name="connsiteY387" fmla="*/ 1057722 h 1451770"/>
                <a:gd name="connsiteX388" fmla="*/ 2597579 w 3773795"/>
                <a:gd name="connsiteY388" fmla="*/ 1057752 h 1451770"/>
                <a:gd name="connsiteX389" fmla="*/ 2608631 w 3773795"/>
                <a:gd name="connsiteY389" fmla="*/ 1054510 h 1451770"/>
                <a:gd name="connsiteX390" fmla="*/ 2615996 w 3773795"/>
                <a:gd name="connsiteY390" fmla="*/ 1057188 h 1451770"/>
                <a:gd name="connsiteX391" fmla="*/ 2616661 w 3773795"/>
                <a:gd name="connsiteY391" fmla="*/ 1057725 h 1451770"/>
                <a:gd name="connsiteX392" fmla="*/ 2618667 w 3773795"/>
                <a:gd name="connsiteY392" fmla="*/ 1058934 h 1451770"/>
                <a:gd name="connsiteX393" fmla="*/ 2621781 w 3773795"/>
                <a:gd name="connsiteY393" fmla="*/ 1058727 h 1451770"/>
                <a:gd name="connsiteX394" fmla="*/ 2622535 w 3773795"/>
                <a:gd name="connsiteY394" fmla="*/ 1059543 h 1451770"/>
                <a:gd name="connsiteX395" fmla="*/ 2620110 w 3773795"/>
                <a:gd name="connsiteY395" fmla="*/ 1060853 h 1451770"/>
                <a:gd name="connsiteX396" fmla="*/ 2618343 w 3773795"/>
                <a:gd name="connsiteY396" fmla="*/ 1063619 h 1451770"/>
                <a:gd name="connsiteX397" fmla="*/ 2617782 w 3773795"/>
                <a:gd name="connsiteY397" fmla="*/ 1066079 h 1451770"/>
                <a:gd name="connsiteX398" fmla="*/ 2617080 w 3773795"/>
                <a:gd name="connsiteY398" fmla="*/ 1067051 h 1451770"/>
                <a:gd name="connsiteX399" fmla="*/ 2615104 w 3773795"/>
                <a:gd name="connsiteY399" fmla="*/ 1068260 h 1451770"/>
                <a:gd name="connsiteX400" fmla="*/ 2613338 w 3773795"/>
                <a:gd name="connsiteY400" fmla="*/ 1069872 h 1451770"/>
                <a:gd name="connsiteX401" fmla="*/ 2611817 w 3773795"/>
                <a:gd name="connsiteY401" fmla="*/ 1070903 h 1451770"/>
                <a:gd name="connsiteX402" fmla="*/ 2610483 w 3773795"/>
                <a:gd name="connsiteY402" fmla="*/ 1071207 h 1451770"/>
                <a:gd name="connsiteX403" fmla="*/ 2607486 w 3773795"/>
                <a:gd name="connsiteY403" fmla="*/ 1065922 h 1451770"/>
                <a:gd name="connsiteX404" fmla="*/ 2606095 w 3773795"/>
                <a:gd name="connsiteY404" fmla="*/ 1064463 h 1451770"/>
                <a:gd name="connsiteX405" fmla="*/ 2601969 w 3773795"/>
                <a:gd name="connsiteY405" fmla="*/ 1066947 h 1451770"/>
                <a:gd name="connsiteX406" fmla="*/ 2601014 w 3773795"/>
                <a:gd name="connsiteY406" fmla="*/ 1067003 h 1451770"/>
                <a:gd name="connsiteX407" fmla="*/ 2601949 w 3773795"/>
                <a:gd name="connsiteY407" fmla="*/ 1063922 h 1451770"/>
                <a:gd name="connsiteX408" fmla="*/ 2604364 w 3773795"/>
                <a:gd name="connsiteY408" fmla="*/ 1060553 h 1451770"/>
                <a:gd name="connsiteX409" fmla="*/ 2605495 w 3773795"/>
                <a:gd name="connsiteY409" fmla="*/ 1060082 h 1451770"/>
                <a:gd name="connsiteX410" fmla="*/ 2607886 w 3773795"/>
                <a:gd name="connsiteY410" fmla="*/ 1055555 h 1451770"/>
                <a:gd name="connsiteX411" fmla="*/ 28644 w 3773795"/>
                <a:gd name="connsiteY411" fmla="*/ 1051745 h 1451770"/>
                <a:gd name="connsiteX412" fmla="*/ 29927 w 3773795"/>
                <a:gd name="connsiteY412" fmla="*/ 1051984 h 1451770"/>
                <a:gd name="connsiteX413" fmla="*/ 27750 w 3773795"/>
                <a:gd name="connsiteY413" fmla="*/ 1054922 h 1451770"/>
                <a:gd name="connsiteX414" fmla="*/ 21900 w 3773795"/>
                <a:gd name="connsiteY414" fmla="*/ 1061116 h 1451770"/>
                <a:gd name="connsiteX415" fmla="*/ 23733 w 3773795"/>
                <a:gd name="connsiteY415" fmla="*/ 1061937 h 1451770"/>
                <a:gd name="connsiteX416" fmla="*/ 25862 w 3773795"/>
                <a:gd name="connsiteY416" fmla="*/ 1062202 h 1451770"/>
                <a:gd name="connsiteX417" fmla="*/ 28372 w 3773795"/>
                <a:gd name="connsiteY417" fmla="*/ 1063355 h 1451770"/>
                <a:gd name="connsiteX418" fmla="*/ 30769 w 3773795"/>
                <a:gd name="connsiteY418" fmla="*/ 1063563 h 1451770"/>
                <a:gd name="connsiteX419" fmla="*/ 35036 w 3773795"/>
                <a:gd name="connsiteY419" fmla="*/ 1062565 h 1451770"/>
                <a:gd name="connsiteX420" fmla="*/ 35787 w 3773795"/>
                <a:gd name="connsiteY420" fmla="*/ 1057259 h 1451770"/>
                <a:gd name="connsiteX421" fmla="*/ 36072 w 3773795"/>
                <a:gd name="connsiteY421" fmla="*/ 1052441 h 1451770"/>
                <a:gd name="connsiteX422" fmla="*/ 37439 w 3773795"/>
                <a:gd name="connsiteY422" fmla="*/ 1052430 h 1451770"/>
                <a:gd name="connsiteX423" fmla="*/ 39467 w 3773795"/>
                <a:gd name="connsiteY423" fmla="*/ 1052089 h 1451770"/>
                <a:gd name="connsiteX424" fmla="*/ 40745 w 3773795"/>
                <a:gd name="connsiteY424" fmla="*/ 1053356 h 1451770"/>
                <a:gd name="connsiteX425" fmla="*/ 43125 w 3773795"/>
                <a:gd name="connsiteY425" fmla="*/ 1054562 h 1451770"/>
                <a:gd name="connsiteX426" fmla="*/ 45955 w 3773795"/>
                <a:gd name="connsiteY426" fmla="*/ 1055640 h 1451770"/>
                <a:gd name="connsiteX427" fmla="*/ 50184 w 3773795"/>
                <a:gd name="connsiteY427" fmla="*/ 1057476 h 1451770"/>
                <a:gd name="connsiteX428" fmla="*/ 54572 w 3773795"/>
                <a:gd name="connsiteY428" fmla="*/ 1058616 h 1451770"/>
                <a:gd name="connsiteX429" fmla="*/ 56020 w 3773795"/>
                <a:gd name="connsiteY429" fmla="*/ 1058748 h 1451770"/>
                <a:gd name="connsiteX430" fmla="*/ 60631 w 3773795"/>
                <a:gd name="connsiteY430" fmla="*/ 1058598 h 1451770"/>
                <a:gd name="connsiteX431" fmla="*/ 65515 w 3773795"/>
                <a:gd name="connsiteY431" fmla="*/ 1058756 h 1451770"/>
                <a:gd name="connsiteX432" fmla="*/ 66846 w 3773795"/>
                <a:gd name="connsiteY432" fmla="*/ 1061475 h 1451770"/>
                <a:gd name="connsiteX433" fmla="*/ 69257 w 3773795"/>
                <a:gd name="connsiteY433" fmla="*/ 1062760 h 1451770"/>
                <a:gd name="connsiteX434" fmla="*/ 71207 w 3773795"/>
                <a:gd name="connsiteY434" fmla="*/ 1064527 h 1451770"/>
                <a:gd name="connsiteX435" fmla="*/ 71352 w 3773795"/>
                <a:gd name="connsiteY435" fmla="*/ 1065534 h 1451770"/>
                <a:gd name="connsiteX436" fmla="*/ 68664 w 3773795"/>
                <a:gd name="connsiteY436" fmla="*/ 1071839 h 1451770"/>
                <a:gd name="connsiteX437" fmla="*/ 68107 w 3773795"/>
                <a:gd name="connsiteY437" fmla="*/ 1073970 h 1451770"/>
                <a:gd name="connsiteX438" fmla="*/ 68005 w 3773795"/>
                <a:gd name="connsiteY438" fmla="*/ 1076105 h 1451770"/>
                <a:gd name="connsiteX439" fmla="*/ 68988 w 3773795"/>
                <a:gd name="connsiteY439" fmla="*/ 1078772 h 1451770"/>
                <a:gd name="connsiteX440" fmla="*/ 69914 w 3773795"/>
                <a:gd name="connsiteY440" fmla="*/ 1080261 h 1451770"/>
                <a:gd name="connsiteX441" fmla="*/ 69154 w 3773795"/>
                <a:gd name="connsiteY441" fmla="*/ 1080465 h 1451770"/>
                <a:gd name="connsiteX442" fmla="*/ 56696 w 3773795"/>
                <a:gd name="connsiteY442" fmla="*/ 1080167 h 1451770"/>
                <a:gd name="connsiteX443" fmla="*/ 44883 w 3773795"/>
                <a:gd name="connsiteY443" fmla="*/ 1079661 h 1451770"/>
                <a:gd name="connsiteX444" fmla="*/ 33967 w 3773795"/>
                <a:gd name="connsiteY444" fmla="*/ 1079194 h 1451770"/>
                <a:gd name="connsiteX445" fmla="*/ 23446 w 3773795"/>
                <a:gd name="connsiteY445" fmla="*/ 1078741 h 1451770"/>
                <a:gd name="connsiteX446" fmla="*/ 13351 w 3773795"/>
                <a:gd name="connsiteY446" fmla="*/ 1078311 h 1451770"/>
                <a:gd name="connsiteX447" fmla="*/ 7074 w 3773795"/>
                <a:gd name="connsiteY447" fmla="*/ 1077907 h 1451770"/>
                <a:gd name="connsiteX448" fmla="*/ 881 w 3773795"/>
                <a:gd name="connsiteY448" fmla="*/ 1077508 h 1451770"/>
                <a:gd name="connsiteX449" fmla="*/ 0 w 3773795"/>
                <a:gd name="connsiteY449" fmla="*/ 1077139 h 1451770"/>
                <a:gd name="connsiteX450" fmla="*/ 3407 w 3773795"/>
                <a:gd name="connsiteY450" fmla="*/ 1074523 h 1451770"/>
                <a:gd name="connsiteX451" fmla="*/ 5627 w 3773795"/>
                <a:gd name="connsiteY451" fmla="*/ 1071802 h 1451770"/>
                <a:gd name="connsiteX452" fmla="*/ 7512 w 3773795"/>
                <a:gd name="connsiteY452" fmla="*/ 1068246 h 1451770"/>
                <a:gd name="connsiteX453" fmla="*/ 7713 w 3773795"/>
                <a:gd name="connsiteY453" fmla="*/ 1065780 h 1451770"/>
                <a:gd name="connsiteX454" fmla="*/ 8184 w 3773795"/>
                <a:gd name="connsiteY454" fmla="*/ 1062995 h 1451770"/>
                <a:gd name="connsiteX455" fmla="*/ 11127 w 3773795"/>
                <a:gd name="connsiteY455" fmla="*/ 1061911 h 1451770"/>
                <a:gd name="connsiteX456" fmla="*/ 17519 w 3773795"/>
                <a:gd name="connsiteY456" fmla="*/ 1062072 h 1451770"/>
                <a:gd name="connsiteX457" fmla="*/ 20252 w 3773795"/>
                <a:gd name="connsiteY457" fmla="*/ 1060732 h 1451770"/>
                <a:gd name="connsiteX458" fmla="*/ 23759 w 3773795"/>
                <a:gd name="connsiteY458" fmla="*/ 1057417 h 1451770"/>
                <a:gd name="connsiteX459" fmla="*/ 27448 w 3773795"/>
                <a:gd name="connsiteY459" fmla="*/ 1053430 h 1451770"/>
                <a:gd name="connsiteX460" fmla="*/ 3235595 w 3773795"/>
                <a:gd name="connsiteY460" fmla="*/ 1049745 h 1451770"/>
                <a:gd name="connsiteX461" fmla="*/ 3241801 w 3773795"/>
                <a:gd name="connsiteY461" fmla="*/ 1050593 h 1451770"/>
                <a:gd name="connsiteX462" fmla="*/ 3243214 w 3773795"/>
                <a:gd name="connsiteY462" fmla="*/ 1050964 h 1451770"/>
                <a:gd name="connsiteX463" fmla="*/ 3242201 w 3773795"/>
                <a:gd name="connsiteY463" fmla="*/ 1053113 h 1451770"/>
                <a:gd name="connsiteX464" fmla="*/ 3242601 w 3773795"/>
                <a:gd name="connsiteY464" fmla="*/ 1055483 h 1451770"/>
                <a:gd name="connsiteX465" fmla="*/ 3246055 w 3773795"/>
                <a:gd name="connsiteY465" fmla="*/ 1060401 h 1451770"/>
                <a:gd name="connsiteX466" fmla="*/ 3247718 w 3773795"/>
                <a:gd name="connsiteY466" fmla="*/ 1062113 h 1451770"/>
                <a:gd name="connsiteX467" fmla="*/ 3249882 w 3773795"/>
                <a:gd name="connsiteY467" fmla="*/ 1063409 h 1451770"/>
                <a:gd name="connsiteX468" fmla="*/ 3251495 w 3773795"/>
                <a:gd name="connsiteY468" fmla="*/ 1065516 h 1451770"/>
                <a:gd name="connsiteX469" fmla="*/ 3251380 w 3773795"/>
                <a:gd name="connsiteY469" fmla="*/ 1069958 h 1451770"/>
                <a:gd name="connsiteX470" fmla="*/ 3248642 w 3773795"/>
                <a:gd name="connsiteY470" fmla="*/ 1067706 h 1451770"/>
                <a:gd name="connsiteX471" fmla="*/ 3247368 w 3773795"/>
                <a:gd name="connsiteY471" fmla="*/ 1065890 h 1451770"/>
                <a:gd name="connsiteX472" fmla="*/ 3245556 w 3773795"/>
                <a:gd name="connsiteY472" fmla="*/ 1065546 h 1451770"/>
                <a:gd name="connsiteX473" fmla="*/ 3244297 w 3773795"/>
                <a:gd name="connsiteY473" fmla="*/ 1064734 h 1451770"/>
                <a:gd name="connsiteX474" fmla="*/ 3242199 w 3773795"/>
                <a:gd name="connsiteY474" fmla="*/ 1062525 h 1451770"/>
                <a:gd name="connsiteX475" fmla="*/ 3239763 w 3773795"/>
                <a:gd name="connsiteY475" fmla="*/ 1059640 h 1451770"/>
                <a:gd name="connsiteX476" fmla="*/ 3238936 w 3773795"/>
                <a:gd name="connsiteY476" fmla="*/ 1058219 h 1451770"/>
                <a:gd name="connsiteX477" fmla="*/ 3238581 w 3773795"/>
                <a:gd name="connsiteY477" fmla="*/ 1056399 h 1451770"/>
                <a:gd name="connsiteX478" fmla="*/ 3236937 w 3773795"/>
                <a:gd name="connsiteY478" fmla="*/ 1054711 h 1451770"/>
                <a:gd name="connsiteX479" fmla="*/ 3231611 w 3773795"/>
                <a:gd name="connsiteY479" fmla="*/ 1051502 h 1451770"/>
                <a:gd name="connsiteX480" fmla="*/ 3233367 w 3773795"/>
                <a:gd name="connsiteY480" fmla="*/ 1051119 h 1451770"/>
                <a:gd name="connsiteX481" fmla="*/ 2898053 w 3773795"/>
                <a:gd name="connsiteY481" fmla="*/ 928889 h 1451770"/>
                <a:gd name="connsiteX482" fmla="*/ 2899080 w 3773795"/>
                <a:gd name="connsiteY482" fmla="*/ 930119 h 1451770"/>
                <a:gd name="connsiteX483" fmla="*/ 2899414 w 3773795"/>
                <a:gd name="connsiteY483" fmla="*/ 931007 h 1451770"/>
                <a:gd name="connsiteX484" fmla="*/ 2896367 w 3773795"/>
                <a:gd name="connsiteY484" fmla="*/ 933497 h 1451770"/>
                <a:gd name="connsiteX485" fmla="*/ 2894624 w 3773795"/>
                <a:gd name="connsiteY485" fmla="*/ 933866 h 1451770"/>
                <a:gd name="connsiteX486" fmla="*/ 2893754 w 3773795"/>
                <a:gd name="connsiteY486" fmla="*/ 932976 h 1451770"/>
                <a:gd name="connsiteX487" fmla="*/ 2893719 w 3773795"/>
                <a:gd name="connsiteY487" fmla="*/ 932348 h 1451770"/>
                <a:gd name="connsiteX488" fmla="*/ 2896422 w 3773795"/>
                <a:gd name="connsiteY488" fmla="*/ 930941 h 1451770"/>
                <a:gd name="connsiteX489" fmla="*/ 3204332 w 3773795"/>
                <a:gd name="connsiteY489" fmla="*/ 926715 h 1451770"/>
                <a:gd name="connsiteX490" fmla="*/ 3205554 w 3773795"/>
                <a:gd name="connsiteY490" fmla="*/ 926899 h 1451770"/>
                <a:gd name="connsiteX491" fmla="*/ 3206807 w 3773795"/>
                <a:gd name="connsiteY491" fmla="*/ 930453 h 1451770"/>
                <a:gd name="connsiteX492" fmla="*/ 3207521 w 3773795"/>
                <a:gd name="connsiteY492" fmla="*/ 935059 h 1451770"/>
                <a:gd name="connsiteX493" fmla="*/ 3206506 w 3773795"/>
                <a:gd name="connsiteY493" fmla="*/ 937828 h 1451770"/>
                <a:gd name="connsiteX494" fmla="*/ 3199056 w 3773795"/>
                <a:gd name="connsiteY494" fmla="*/ 939371 h 1451770"/>
                <a:gd name="connsiteX495" fmla="*/ 3192008 w 3773795"/>
                <a:gd name="connsiteY495" fmla="*/ 942431 h 1451770"/>
                <a:gd name="connsiteX496" fmla="*/ 3184823 w 3773795"/>
                <a:gd name="connsiteY496" fmla="*/ 946977 h 1451770"/>
                <a:gd name="connsiteX497" fmla="*/ 3181202 w 3773795"/>
                <a:gd name="connsiteY497" fmla="*/ 950016 h 1451770"/>
                <a:gd name="connsiteX498" fmla="*/ 3180669 w 3773795"/>
                <a:gd name="connsiteY498" fmla="*/ 949522 h 1451770"/>
                <a:gd name="connsiteX499" fmla="*/ 3180328 w 3773795"/>
                <a:gd name="connsiteY499" fmla="*/ 948828 h 1451770"/>
                <a:gd name="connsiteX500" fmla="*/ 3180226 w 3773795"/>
                <a:gd name="connsiteY500" fmla="*/ 947767 h 1451770"/>
                <a:gd name="connsiteX501" fmla="*/ 3183532 w 3773795"/>
                <a:gd name="connsiteY501" fmla="*/ 945764 h 1451770"/>
                <a:gd name="connsiteX502" fmla="*/ 3186845 w 3773795"/>
                <a:gd name="connsiteY502" fmla="*/ 940654 h 1451770"/>
                <a:gd name="connsiteX503" fmla="*/ 3188126 w 3773795"/>
                <a:gd name="connsiteY503" fmla="*/ 936393 h 1451770"/>
                <a:gd name="connsiteX504" fmla="*/ 3187730 w 3773795"/>
                <a:gd name="connsiteY504" fmla="*/ 935007 h 1451770"/>
                <a:gd name="connsiteX505" fmla="*/ 3187605 w 3773795"/>
                <a:gd name="connsiteY505" fmla="*/ 933618 h 1451770"/>
                <a:gd name="connsiteX506" fmla="*/ 3197361 w 3773795"/>
                <a:gd name="connsiteY506" fmla="*/ 930975 h 1451770"/>
                <a:gd name="connsiteX507" fmla="*/ 356551 w 3773795"/>
                <a:gd name="connsiteY507" fmla="*/ 722070 h 1451770"/>
                <a:gd name="connsiteX508" fmla="*/ 358475 w 3773795"/>
                <a:gd name="connsiteY508" fmla="*/ 722628 h 1451770"/>
                <a:gd name="connsiteX509" fmla="*/ 359190 w 3773795"/>
                <a:gd name="connsiteY509" fmla="*/ 724047 h 1451770"/>
                <a:gd name="connsiteX510" fmla="*/ 359410 w 3773795"/>
                <a:gd name="connsiteY510" fmla="*/ 726377 h 1451770"/>
                <a:gd name="connsiteX511" fmla="*/ 358723 w 3773795"/>
                <a:gd name="connsiteY511" fmla="*/ 727868 h 1451770"/>
                <a:gd name="connsiteX512" fmla="*/ 359054 w 3773795"/>
                <a:gd name="connsiteY512" fmla="*/ 729125 h 1451770"/>
                <a:gd name="connsiteX513" fmla="*/ 357648 w 3773795"/>
                <a:gd name="connsiteY513" fmla="*/ 730016 h 1451770"/>
                <a:gd name="connsiteX514" fmla="*/ 355467 w 3773795"/>
                <a:gd name="connsiteY514" fmla="*/ 727108 h 1451770"/>
                <a:gd name="connsiteX515" fmla="*/ 354169 w 3773795"/>
                <a:gd name="connsiteY515" fmla="*/ 727066 h 1451770"/>
                <a:gd name="connsiteX516" fmla="*/ 352780 w 3773795"/>
                <a:gd name="connsiteY516" fmla="*/ 725813 h 1451770"/>
                <a:gd name="connsiteX517" fmla="*/ 352124 w 3773795"/>
                <a:gd name="connsiteY517" fmla="*/ 723745 h 1451770"/>
                <a:gd name="connsiteX518" fmla="*/ 353381 w 3773795"/>
                <a:gd name="connsiteY518" fmla="*/ 723168 h 1451770"/>
                <a:gd name="connsiteX519" fmla="*/ 353889 w 3773795"/>
                <a:gd name="connsiteY519" fmla="*/ 723527 h 1451770"/>
                <a:gd name="connsiteX520" fmla="*/ 1103357 w 3773795"/>
                <a:gd name="connsiteY520" fmla="*/ 665275 h 1451770"/>
                <a:gd name="connsiteX521" fmla="*/ 1105871 w 3773795"/>
                <a:gd name="connsiteY521" fmla="*/ 665722 h 1451770"/>
                <a:gd name="connsiteX522" fmla="*/ 1109939 w 3773795"/>
                <a:gd name="connsiteY522" fmla="*/ 665816 h 1451770"/>
                <a:gd name="connsiteX523" fmla="*/ 1112530 w 3773795"/>
                <a:gd name="connsiteY523" fmla="*/ 666736 h 1451770"/>
                <a:gd name="connsiteX524" fmla="*/ 1116048 w 3773795"/>
                <a:gd name="connsiteY524" fmla="*/ 667320 h 1451770"/>
                <a:gd name="connsiteX525" fmla="*/ 1115627 w 3773795"/>
                <a:gd name="connsiteY525" fmla="*/ 669864 h 1451770"/>
                <a:gd name="connsiteX526" fmla="*/ 1115618 w 3773795"/>
                <a:gd name="connsiteY526" fmla="*/ 670890 h 1451770"/>
                <a:gd name="connsiteX527" fmla="*/ 1116787 w 3773795"/>
                <a:gd name="connsiteY527" fmla="*/ 672013 h 1451770"/>
                <a:gd name="connsiteX528" fmla="*/ 1115661 w 3773795"/>
                <a:gd name="connsiteY528" fmla="*/ 673916 h 1451770"/>
                <a:gd name="connsiteX529" fmla="*/ 1114811 w 3773795"/>
                <a:gd name="connsiteY529" fmla="*/ 674484 h 1451770"/>
                <a:gd name="connsiteX530" fmla="*/ 1110919 w 3773795"/>
                <a:gd name="connsiteY530" fmla="*/ 674943 h 1451770"/>
                <a:gd name="connsiteX531" fmla="*/ 1106644 w 3773795"/>
                <a:gd name="connsiteY531" fmla="*/ 672152 h 1451770"/>
                <a:gd name="connsiteX532" fmla="*/ 1102619 w 3773795"/>
                <a:gd name="connsiteY532" fmla="*/ 666577 h 1451770"/>
                <a:gd name="connsiteX533" fmla="*/ 507319 w 3773795"/>
                <a:gd name="connsiteY533" fmla="*/ 663626 h 1451770"/>
                <a:gd name="connsiteX534" fmla="*/ 509176 w 3773795"/>
                <a:gd name="connsiteY534" fmla="*/ 664119 h 1451770"/>
                <a:gd name="connsiteX535" fmla="*/ 510487 w 3773795"/>
                <a:gd name="connsiteY535" fmla="*/ 665860 h 1451770"/>
                <a:gd name="connsiteX536" fmla="*/ 510994 w 3773795"/>
                <a:gd name="connsiteY536" fmla="*/ 667105 h 1451770"/>
                <a:gd name="connsiteX537" fmla="*/ 510152 w 3773795"/>
                <a:gd name="connsiteY537" fmla="*/ 667609 h 1451770"/>
                <a:gd name="connsiteX538" fmla="*/ 505769 w 3773795"/>
                <a:gd name="connsiteY538" fmla="*/ 665869 h 1451770"/>
                <a:gd name="connsiteX539" fmla="*/ 505387 w 3773795"/>
                <a:gd name="connsiteY539" fmla="*/ 664559 h 1451770"/>
                <a:gd name="connsiteX540" fmla="*/ 505574 w 3773795"/>
                <a:gd name="connsiteY540" fmla="*/ 663996 h 1451770"/>
                <a:gd name="connsiteX541" fmla="*/ 654978 w 3773795"/>
                <a:gd name="connsiteY541" fmla="*/ 560128 h 1451770"/>
                <a:gd name="connsiteX542" fmla="*/ 672028 w 3773795"/>
                <a:gd name="connsiteY542" fmla="*/ 568012 h 1451770"/>
                <a:gd name="connsiteX543" fmla="*/ 675810 w 3773795"/>
                <a:gd name="connsiteY543" fmla="*/ 570052 h 1451770"/>
                <a:gd name="connsiteX544" fmla="*/ 677975 w 3773795"/>
                <a:gd name="connsiteY544" fmla="*/ 572834 h 1451770"/>
                <a:gd name="connsiteX545" fmla="*/ 678368 w 3773795"/>
                <a:gd name="connsiteY545" fmla="*/ 576592 h 1451770"/>
                <a:gd name="connsiteX546" fmla="*/ 676989 w 3773795"/>
                <a:gd name="connsiteY546" fmla="*/ 578147 h 1451770"/>
                <a:gd name="connsiteX547" fmla="*/ 675747 w 3773795"/>
                <a:gd name="connsiteY547" fmla="*/ 578583 h 1451770"/>
                <a:gd name="connsiteX548" fmla="*/ 675227 w 3773795"/>
                <a:gd name="connsiteY548" fmla="*/ 576232 h 1451770"/>
                <a:gd name="connsiteX549" fmla="*/ 674188 w 3773795"/>
                <a:gd name="connsiteY549" fmla="*/ 575169 h 1451770"/>
                <a:gd name="connsiteX550" fmla="*/ 670359 w 3773795"/>
                <a:gd name="connsiteY550" fmla="*/ 577973 h 1451770"/>
                <a:gd name="connsiteX551" fmla="*/ 668569 w 3773795"/>
                <a:gd name="connsiteY551" fmla="*/ 581054 h 1451770"/>
                <a:gd name="connsiteX552" fmla="*/ 663847 w 3773795"/>
                <a:gd name="connsiteY552" fmla="*/ 585466 h 1451770"/>
                <a:gd name="connsiteX553" fmla="*/ 653989 w 3773795"/>
                <a:gd name="connsiteY553" fmla="*/ 588604 h 1451770"/>
                <a:gd name="connsiteX554" fmla="*/ 648016 w 3773795"/>
                <a:gd name="connsiteY554" fmla="*/ 589968 h 1451770"/>
                <a:gd name="connsiteX555" fmla="*/ 642635 w 3773795"/>
                <a:gd name="connsiteY555" fmla="*/ 590350 h 1451770"/>
                <a:gd name="connsiteX556" fmla="*/ 637595 w 3773795"/>
                <a:gd name="connsiteY556" fmla="*/ 587583 h 1451770"/>
                <a:gd name="connsiteX557" fmla="*/ 634872 w 3773795"/>
                <a:gd name="connsiteY557" fmla="*/ 582270 h 1451770"/>
                <a:gd name="connsiteX558" fmla="*/ 634397 w 3773795"/>
                <a:gd name="connsiteY558" fmla="*/ 580649 h 1451770"/>
                <a:gd name="connsiteX559" fmla="*/ 634051 w 3773795"/>
                <a:gd name="connsiteY559" fmla="*/ 578475 h 1451770"/>
                <a:gd name="connsiteX560" fmla="*/ 634084 w 3773795"/>
                <a:gd name="connsiteY560" fmla="*/ 576291 h 1451770"/>
                <a:gd name="connsiteX561" fmla="*/ 634438 w 3773795"/>
                <a:gd name="connsiteY561" fmla="*/ 572901 h 1451770"/>
                <a:gd name="connsiteX562" fmla="*/ 634961 w 3773795"/>
                <a:gd name="connsiteY562" fmla="*/ 569578 h 1451770"/>
                <a:gd name="connsiteX563" fmla="*/ 637038 w 3773795"/>
                <a:gd name="connsiteY563" fmla="*/ 566599 h 1451770"/>
                <a:gd name="connsiteX564" fmla="*/ 641847 w 3773795"/>
                <a:gd name="connsiteY564" fmla="*/ 563070 h 1451770"/>
                <a:gd name="connsiteX565" fmla="*/ 646569 w 3773795"/>
                <a:gd name="connsiteY565" fmla="*/ 560774 h 1451770"/>
                <a:gd name="connsiteX566" fmla="*/ 648966 w 3773795"/>
                <a:gd name="connsiteY566" fmla="*/ 560205 h 1451770"/>
                <a:gd name="connsiteX567" fmla="*/ 1052795 w 3773795"/>
                <a:gd name="connsiteY567" fmla="*/ 557615 h 1451770"/>
                <a:gd name="connsiteX568" fmla="*/ 1055289 w 3773795"/>
                <a:gd name="connsiteY568" fmla="*/ 557743 h 1451770"/>
                <a:gd name="connsiteX569" fmla="*/ 1055643 w 3773795"/>
                <a:gd name="connsiteY569" fmla="*/ 559400 h 1451770"/>
                <a:gd name="connsiteX570" fmla="*/ 1053853 w 3773795"/>
                <a:gd name="connsiteY570" fmla="*/ 562816 h 1451770"/>
                <a:gd name="connsiteX571" fmla="*/ 1050180 w 3773795"/>
                <a:gd name="connsiteY571" fmla="*/ 562635 h 1451770"/>
                <a:gd name="connsiteX572" fmla="*/ 1049062 w 3773795"/>
                <a:gd name="connsiteY572" fmla="*/ 561858 h 1451770"/>
                <a:gd name="connsiteX573" fmla="*/ 1048589 w 3773795"/>
                <a:gd name="connsiteY573" fmla="*/ 561225 h 1451770"/>
                <a:gd name="connsiteX574" fmla="*/ 3137726 w 3773795"/>
                <a:gd name="connsiteY574" fmla="*/ 555102 h 1451770"/>
                <a:gd name="connsiteX575" fmla="*/ 3138069 w 3773795"/>
                <a:gd name="connsiteY575" fmla="*/ 555315 h 1451770"/>
                <a:gd name="connsiteX576" fmla="*/ 3140215 w 3773795"/>
                <a:gd name="connsiteY576" fmla="*/ 556947 h 1451770"/>
                <a:gd name="connsiteX577" fmla="*/ 3140027 w 3773795"/>
                <a:gd name="connsiteY577" fmla="*/ 560532 h 1451770"/>
                <a:gd name="connsiteX578" fmla="*/ 3138502 w 3773795"/>
                <a:gd name="connsiteY578" fmla="*/ 563051 h 1451770"/>
                <a:gd name="connsiteX579" fmla="*/ 3134834 w 3773795"/>
                <a:gd name="connsiteY579" fmla="*/ 563944 h 1451770"/>
                <a:gd name="connsiteX580" fmla="*/ 3134313 w 3773795"/>
                <a:gd name="connsiteY580" fmla="*/ 565675 h 1451770"/>
                <a:gd name="connsiteX581" fmla="*/ 3134795 w 3773795"/>
                <a:gd name="connsiteY581" fmla="*/ 568660 h 1451770"/>
                <a:gd name="connsiteX582" fmla="*/ 3134903 w 3773795"/>
                <a:gd name="connsiteY582" fmla="*/ 572490 h 1451770"/>
                <a:gd name="connsiteX583" fmla="*/ 3135272 w 3773795"/>
                <a:gd name="connsiteY583" fmla="*/ 575910 h 1451770"/>
                <a:gd name="connsiteX584" fmla="*/ 3137494 w 3773795"/>
                <a:gd name="connsiteY584" fmla="*/ 579418 h 1451770"/>
                <a:gd name="connsiteX585" fmla="*/ 3137987 w 3773795"/>
                <a:gd name="connsiteY585" fmla="*/ 581217 h 1451770"/>
                <a:gd name="connsiteX586" fmla="*/ 3137760 w 3773795"/>
                <a:gd name="connsiteY586" fmla="*/ 582842 h 1451770"/>
                <a:gd name="connsiteX587" fmla="*/ 3136883 w 3773795"/>
                <a:gd name="connsiteY587" fmla="*/ 583871 h 1451770"/>
                <a:gd name="connsiteX588" fmla="*/ 3135896 w 3773795"/>
                <a:gd name="connsiteY588" fmla="*/ 583922 h 1451770"/>
                <a:gd name="connsiteX589" fmla="*/ 3136643 w 3773795"/>
                <a:gd name="connsiteY589" fmla="*/ 581355 h 1451770"/>
                <a:gd name="connsiteX590" fmla="*/ 3136751 w 3773795"/>
                <a:gd name="connsiteY590" fmla="*/ 580209 h 1451770"/>
                <a:gd name="connsiteX591" fmla="*/ 3134605 w 3773795"/>
                <a:gd name="connsiteY591" fmla="*/ 578316 h 1451770"/>
                <a:gd name="connsiteX592" fmla="*/ 3130590 w 3773795"/>
                <a:gd name="connsiteY592" fmla="*/ 576875 h 1451770"/>
                <a:gd name="connsiteX593" fmla="*/ 3129573 w 3773795"/>
                <a:gd name="connsiteY593" fmla="*/ 575762 h 1451770"/>
                <a:gd name="connsiteX594" fmla="*/ 3129330 w 3773795"/>
                <a:gd name="connsiteY594" fmla="*/ 572390 h 1451770"/>
                <a:gd name="connsiteX595" fmla="*/ 3130193 w 3773795"/>
                <a:gd name="connsiteY595" fmla="*/ 567070 h 1451770"/>
                <a:gd name="connsiteX596" fmla="*/ 3128386 w 3773795"/>
                <a:gd name="connsiteY596" fmla="*/ 564257 h 1451770"/>
                <a:gd name="connsiteX597" fmla="*/ 3129004 w 3773795"/>
                <a:gd name="connsiteY597" fmla="*/ 561749 h 1451770"/>
                <a:gd name="connsiteX598" fmla="*/ 3133704 w 3773795"/>
                <a:gd name="connsiteY598" fmla="*/ 558966 h 1451770"/>
                <a:gd name="connsiteX599" fmla="*/ 3135616 w 3773795"/>
                <a:gd name="connsiteY599" fmla="*/ 556819 h 1451770"/>
                <a:gd name="connsiteX600" fmla="*/ 3289254 w 3773795"/>
                <a:gd name="connsiteY600" fmla="*/ 540278 h 1451770"/>
                <a:gd name="connsiteX601" fmla="*/ 3311739 w 3773795"/>
                <a:gd name="connsiteY601" fmla="*/ 545534 h 1451770"/>
                <a:gd name="connsiteX602" fmla="*/ 3312754 w 3773795"/>
                <a:gd name="connsiteY602" fmla="*/ 546581 h 1451770"/>
                <a:gd name="connsiteX603" fmla="*/ 3313040 w 3773795"/>
                <a:gd name="connsiteY603" fmla="*/ 547523 h 1451770"/>
                <a:gd name="connsiteX604" fmla="*/ 3312699 w 3773795"/>
                <a:gd name="connsiteY604" fmla="*/ 549609 h 1451770"/>
                <a:gd name="connsiteX605" fmla="*/ 3310803 w 3773795"/>
                <a:gd name="connsiteY605" fmla="*/ 549988 h 1451770"/>
                <a:gd name="connsiteX606" fmla="*/ 3310066 w 3773795"/>
                <a:gd name="connsiteY606" fmla="*/ 551358 h 1451770"/>
                <a:gd name="connsiteX607" fmla="*/ 3309276 w 3773795"/>
                <a:gd name="connsiteY607" fmla="*/ 555524 h 1451770"/>
                <a:gd name="connsiteX608" fmla="*/ 3308887 w 3773795"/>
                <a:gd name="connsiteY608" fmla="*/ 556606 h 1451770"/>
                <a:gd name="connsiteX609" fmla="*/ 3307891 w 3773795"/>
                <a:gd name="connsiteY609" fmla="*/ 557416 h 1451770"/>
                <a:gd name="connsiteX610" fmla="*/ 3301588 w 3773795"/>
                <a:gd name="connsiteY610" fmla="*/ 557770 h 1451770"/>
                <a:gd name="connsiteX611" fmla="*/ 3289036 w 3773795"/>
                <a:gd name="connsiteY611" fmla="*/ 554125 h 1451770"/>
                <a:gd name="connsiteX612" fmla="*/ 3284531 w 3773795"/>
                <a:gd name="connsiteY612" fmla="*/ 552200 h 1451770"/>
                <a:gd name="connsiteX613" fmla="*/ 3281177 w 3773795"/>
                <a:gd name="connsiteY613" fmla="*/ 549742 h 1451770"/>
                <a:gd name="connsiteX614" fmla="*/ 3277388 w 3773795"/>
                <a:gd name="connsiteY614" fmla="*/ 548017 h 1451770"/>
                <a:gd name="connsiteX615" fmla="*/ 3276671 w 3773795"/>
                <a:gd name="connsiteY615" fmla="*/ 547338 h 1451770"/>
                <a:gd name="connsiteX616" fmla="*/ 3277226 w 3773795"/>
                <a:gd name="connsiteY616" fmla="*/ 545911 h 1451770"/>
                <a:gd name="connsiteX617" fmla="*/ 3278349 w 3773795"/>
                <a:gd name="connsiteY617" fmla="*/ 544806 h 1451770"/>
                <a:gd name="connsiteX618" fmla="*/ 3282657 w 3773795"/>
                <a:gd name="connsiteY618" fmla="*/ 541890 h 1451770"/>
                <a:gd name="connsiteX619" fmla="*/ 3285680 w 3773795"/>
                <a:gd name="connsiteY619" fmla="*/ 540566 h 1451770"/>
                <a:gd name="connsiteX620" fmla="*/ 871236 w 3773795"/>
                <a:gd name="connsiteY620" fmla="*/ 522414 h 1451770"/>
                <a:gd name="connsiteX621" fmla="*/ 872182 w 3773795"/>
                <a:gd name="connsiteY621" fmla="*/ 522601 h 1451770"/>
                <a:gd name="connsiteX622" fmla="*/ 873072 w 3773795"/>
                <a:gd name="connsiteY622" fmla="*/ 523535 h 1451770"/>
                <a:gd name="connsiteX623" fmla="*/ 877971 w 3773795"/>
                <a:gd name="connsiteY623" fmla="*/ 526543 h 1451770"/>
                <a:gd name="connsiteX624" fmla="*/ 880539 w 3773795"/>
                <a:gd name="connsiteY624" fmla="*/ 528563 h 1451770"/>
                <a:gd name="connsiteX625" fmla="*/ 882819 w 3773795"/>
                <a:gd name="connsiteY625" fmla="*/ 531027 h 1451770"/>
                <a:gd name="connsiteX626" fmla="*/ 885190 w 3773795"/>
                <a:gd name="connsiteY626" fmla="*/ 533091 h 1451770"/>
                <a:gd name="connsiteX627" fmla="*/ 892256 w 3773795"/>
                <a:gd name="connsiteY627" fmla="*/ 536609 h 1451770"/>
                <a:gd name="connsiteX628" fmla="*/ 897041 w 3773795"/>
                <a:gd name="connsiteY628" fmla="*/ 539994 h 1451770"/>
                <a:gd name="connsiteX629" fmla="*/ 901912 w 3773795"/>
                <a:gd name="connsiteY629" fmla="*/ 542384 h 1451770"/>
                <a:gd name="connsiteX630" fmla="*/ 903193 w 3773795"/>
                <a:gd name="connsiteY630" fmla="*/ 543472 h 1451770"/>
                <a:gd name="connsiteX631" fmla="*/ 903860 w 3773795"/>
                <a:gd name="connsiteY631" fmla="*/ 545420 h 1451770"/>
                <a:gd name="connsiteX632" fmla="*/ 903784 w 3773795"/>
                <a:gd name="connsiteY632" fmla="*/ 549038 h 1451770"/>
                <a:gd name="connsiteX633" fmla="*/ 902966 w 3773795"/>
                <a:gd name="connsiteY633" fmla="*/ 551705 h 1451770"/>
                <a:gd name="connsiteX634" fmla="*/ 900466 w 3773795"/>
                <a:gd name="connsiteY634" fmla="*/ 552123 h 1451770"/>
                <a:gd name="connsiteX635" fmla="*/ 898006 w 3773795"/>
                <a:gd name="connsiteY635" fmla="*/ 553208 h 1451770"/>
                <a:gd name="connsiteX636" fmla="*/ 893811 w 3773795"/>
                <a:gd name="connsiteY636" fmla="*/ 552054 h 1451770"/>
                <a:gd name="connsiteX637" fmla="*/ 891452 w 3773795"/>
                <a:gd name="connsiteY637" fmla="*/ 552843 h 1451770"/>
                <a:gd name="connsiteX638" fmla="*/ 889092 w 3773795"/>
                <a:gd name="connsiteY638" fmla="*/ 552895 h 1451770"/>
                <a:gd name="connsiteX639" fmla="*/ 887142 w 3773795"/>
                <a:gd name="connsiteY639" fmla="*/ 552480 h 1451770"/>
                <a:gd name="connsiteX640" fmla="*/ 885205 w 3773795"/>
                <a:gd name="connsiteY640" fmla="*/ 551897 h 1451770"/>
                <a:gd name="connsiteX641" fmla="*/ 883905 w 3773795"/>
                <a:gd name="connsiteY641" fmla="*/ 551206 h 1451770"/>
                <a:gd name="connsiteX642" fmla="*/ 883972 w 3773795"/>
                <a:gd name="connsiteY642" fmla="*/ 549150 h 1451770"/>
                <a:gd name="connsiteX643" fmla="*/ 882234 w 3773795"/>
                <a:gd name="connsiteY643" fmla="*/ 546181 h 1451770"/>
                <a:gd name="connsiteX644" fmla="*/ 879556 w 3773795"/>
                <a:gd name="connsiteY644" fmla="*/ 545226 h 1451770"/>
                <a:gd name="connsiteX645" fmla="*/ 877053 w 3773795"/>
                <a:gd name="connsiteY645" fmla="*/ 544910 h 1451770"/>
                <a:gd name="connsiteX646" fmla="*/ 874309 w 3773795"/>
                <a:gd name="connsiteY646" fmla="*/ 543983 h 1451770"/>
                <a:gd name="connsiteX647" fmla="*/ 872944 w 3773795"/>
                <a:gd name="connsiteY647" fmla="*/ 544422 h 1451770"/>
                <a:gd name="connsiteX648" fmla="*/ 871208 w 3773795"/>
                <a:gd name="connsiteY648" fmla="*/ 545507 h 1451770"/>
                <a:gd name="connsiteX649" fmla="*/ 870074 w 3773795"/>
                <a:gd name="connsiteY649" fmla="*/ 545133 h 1451770"/>
                <a:gd name="connsiteX650" fmla="*/ 864045 w 3773795"/>
                <a:gd name="connsiteY650" fmla="*/ 538879 h 1451770"/>
                <a:gd name="connsiteX651" fmla="*/ 863030 w 3773795"/>
                <a:gd name="connsiteY651" fmla="*/ 537414 h 1451770"/>
                <a:gd name="connsiteX652" fmla="*/ 862398 w 3773795"/>
                <a:gd name="connsiteY652" fmla="*/ 535782 h 1451770"/>
                <a:gd name="connsiteX653" fmla="*/ 861568 w 3773795"/>
                <a:gd name="connsiteY653" fmla="*/ 534733 h 1451770"/>
                <a:gd name="connsiteX654" fmla="*/ 859467 w 3773795"/>
                <a:gd name="connsiteY654" fmla="*/ 530317 h 1451770"/>
                <a:gd name="connsiteX655" fmla="*/ 860504 w 3773795"/>
                <a:gd name="connsiteY655" fmla="*/ 528269 h 1451770"/>
                <a:gd name="connsiteX656" fmla="*/ 862614 w 3773795"/>
                <a:gd name="connsiteY656" fmla="*/ 526974 h 1451770"/>
                <a:gd name="connsiteX657" fmla="*/ 864000 w 3773795"/>
                <a:gd name="connsiteY657" fmla="*/ 526626 h 1451770"/>
                <a:gd name="connsiteX658" fmla="*/ 866570 w 3773795"/>
                <a:gd name="connsiteY658" fmla="*/ 523700 h 1451770"/>
                <a:gd name="connsiteX659" fmla="*/ 1035639 w 3773795"/>
                <a:gd name="connsiteY659" fmla="*/ 510097 h 1451770"/>
                <a:gd name="connsiteX660" fmla="*/ 1036140 w 3773795"/>
                <a:gd name="connsiteY660" fmla="*/ 510231 h 1451770"/>
                <a:gd name="connsiteX661" fmla="*/ 1036026 w 3773795"/>
                <a:gd name="connsiteY661" fmla="*/ 513064 h 1451770"/>
                <a:gd name="connsiteX662" fmla="*/ 1038308 w 3773795"/>
                <a:gd name="connsiteY662" fmla="*/ 519355 h 1451770"/>
                <a:gd name="connsiteX663" fmla="*/ 1038476 w 3773795"/>
                <a:gd name="connsiteY663" fmla="*/ 520965 h 1451770"/>
                <a:gd name="connsiteX664" fmla="*/ 1037310 w 3773795"/>
                <a:gd name="connsiteY664" fmla="*/ 520428 h 1451770"/>
                <a:gd name="connsiteX665" fmla="*/ 1035824 w 3773795"/>
                <a:gd name="connsiteY665" fmla="*/ 518583 h 1451770"/>
                <a:gd name="connsiteX666" fmla="*/ 1034917 w 3773795"/>
                <a:gd name="connsiteY666" fmla="*/ 516392 h 1451770"/>
                <a:gd name="connsiteX667" fmla="*/ 1034635 w 3773795"/>
                <a:gd name="connsiteY667" fmla="*/ 511920 h 1451770"/>
                <a:gd name="connsiteX668" fmla="*/ 1035151 w 3773795"/>
                <a:gd name="connsiteY668" fmla="*/ 510721 h 1451770"/>
                <a:gd name="connsiteX669" fmla="*/ 3114361 w 3773795"/>
                <a:gd name="connsiteY669" fmla="*/ 503601 h 1451770"/>
                <a:gd name="connsiteX670" fmla="*/ 3116954 w 3773795"/>
                <a:gd name="connsiteY670" fmla="*/ 504014 h 1451770"/>
                <a:gd name="connsiteX671" fmla="*/ 3118703 w 3773795"/>
                <a:gd name="connsiteY671" fmla="*/ 505636 h 1451770"/>
                <a:gd name="connsiteX672" fmla="*/ 3120341 w 3773795"/>
                <a:gd name="connsiteY672" fmla="*/ 508085 h 1451770"/>
                <a:gd name="connsiteX673" fmla="*/ 3118845 w 3773795"/>
                <a:gd name="connsiteY673" fmla="*/ 508762 h 1451770"/>
                <a:gd name="connsiteX674" fmla="*/ 3115604 w 3773795"/>
                <a:gd name="connsiteY674" fmla="*/ 508205 h 1451770"/>
                <a:gd name="connsiteX675" fmla="*/ 3114104 w 3773795"/>
                <a:gd name="connsiteY675" fmla="*/ 506945 h 1451770"/>
                <a:gd name="connsiteX676" fmla="*/ 3114181 w 3773795"/>
                <a:gd name="connsiteY676" fmla="*/ 504060 h 1451770"/>
                <a:gd name="connsiteX677" fmla="*/ 732526 w 3773795"/>
                <a:gd name="connsiteY677" fmla="*/ 484565 h 1451770"/>
                <a:gd name="connsiteX678" fmla="*/ 733510 w 3773795"/>
                <a:gd name="connsiteY678" fmla="*/ 484724 h 1451770"/>
                <a:gd name="connsiteX679" fmla="*/ 736309 w 3773795"/>
                <a:gd name="connsiteY679" fmla="*/ 486142 h 1451770"/>
                <a:gd name="connsiteX680" fmla="*/ 738317 w 3773795"/>
                <a:gd name="connsiteY680" fmla="*/ 489140 h 1451770"/>
                <a:gd name="connsiteX681" fmla="*/ 740084 w 3773795"/>
                <a:gd name="connsiteY681" fmla="*/ 491306 h 1451770"/>
                <a:gd name="connsiteX682" fmla="*/ 741574 w 3773795"/>
                <a:gd name="connsiteY682" fmla="*/ 491145 h 1451770"/>
                <a:gd name="connsiteX683" fmla="*/ 742705 w 3773795"/>
                <a:gd name="connsiteY683" fmla="*/ 492225 h 1451770"/>
                <a:gd name="connsiteX684" fmla="*/ 742984 w 3773795"/>
                <a:gd name="connsiteY684" fmla="*/ 494478 h 1451770"/>
                <a:gd name="connsiteX685" fmla="*/ 740027 w 3773795"/>
                <a:gd name="connsiteY685" fmla="*/ 498310 h 1451770"/>
                <a:gd name="connsiteX686" fmla="*/ 739511 w 3773795"/>
                <a:gd name="connsiteY686" fmla="*/ 499688 h 1451770"/>
                <a:gd name="connsiteX687" fmla="*/ 740785 w 3773795"/>
                <a:gd name="connsiteY687" fmla="*/ 500968 h 1451770"/>
                <a:gd name="connsiteX688" fmla="*/ 741122 w 3773795"/>
                <a:gd name="connsiteY688" fmla="*/ 501664 h 1451770"/>
                <a:gd name="connsiteX689" fmla="*/ 738948 w 3773795"/>
                <a:gd name="connsiteY689" fmla="*/ 502202 h 1451770"/>
                <a:gd name="connsiteX690" fmla="*/ 738546 w 3773795"/>
                <a:gd name="connsiteY690" fmla="*/ 500469 h 1451770"/>
                <a:gd name="connsiteX691" fmla="*/ 737333 w 3773795"/>
                <a:gd name="connsiteY691" fmla="*/ 498772 h 1451770"/>
                <a:gd name="connsiteX692" fmla="*/ 734806 w 3773795"/>
                <a:gd name="connsiteY692" fmla="*/ 497469 h 1451770"/>
                <a:gd name="connsiteX693" fmla="*/ 733780 w 3773795"/>
                <a:gd name="connsiteY693" fmla="*/ 496291 h 1451770"/>
                <a:gd name="connsiteX694" fmla="*/ 732662 w 3773795"/>
                <a:gd name="connsiteY694" fmla="*/ 493629 h 1451770"/>
                <a:gd name="connsiteX695" fmla="*/ 728421 w 3773795"/>
                <a:gd name="connsiteY695" fmla="*/ 490798 h 1451770"/>
                <a:gd name="connsiteX696" fmla="*/ 725743 w 3773795"/>
                <a:gd name="connsiteY696" fmla="*/ 491252 h 1451770"/>
                <a:gd name="connsiteX697" fmla="*/ 722735 w 3773795"/>
                <a:gd name="connsiteY697" fmla="*/ 489989 h 1451770"/>
                <a:gd name="connsiteX698" fmla="*/ 721854 w 3773795"/>
                <a:gd name="connsiteY698" fmla="*/ 489398 h 1451770"/>
                <a:gd name="connsiteX699" fmla="*/ 721638 w 3773795"/>
                <a:gd name="connsiteY699" fmla="*/ 487767 h 1451770"/>
                <a:gd name="connsiteX700" fmla="*/ 722893 w 3773795"/>
                <a:gd name="connsiteY700" fmla="*/ 486474 h 1451770"/>
                <a:gd name="connsiteX701" fmla="*/ 727669 w 3773795"/>
                <a:gd name="connsiteY701" fmla="*/ 485325 h 1451770"/>
                <a:gd name="connsiteX702" fmla="*/ 729986 w 3773795"/>
                <a:gd name="connsiteY702" fmla="*/ 485394 h 1451770"/>
                <a:gd name="connsiteX703" fmla="*/ 732470 w 3773795"/>
                <a:gd name="connsiteY703" fmla="*/ 486543 h 1451770"/>
                <a:gd name="connsiteX704" fmla="*/ 732262 w 3773795"/>
                <a:gd name="connsiteY704" fmla="*/ 485132 h 1451770"/>
                <a:gd name="connsiteX705" fmla="*/ 2613925 w 3773795"/>
                <a:gd name="connsiteY705" fmla="*/ 477048 h 1451770"/>
                <a:gd name="connsiteX706" fmla="*/ 2614828 w 3773795"/>
                <a:gd name="connsiteY706" fmla="*/ 477245 h 1451770"/>
                <a:gd name="connsiteX707" fmla="*/ 2616512 w 3773795"/>
                <a:gd name="connsiteY707" fmla="*/ 478892 h 1451770"/>
                <a:gd name="connsiteX708" fmla="*/ 2617088 w 3773795"/>
                <a:gd name="connsiteY708" fmla="*/ 480326 h 1451770"/>
                <a:gd name="connsiteX709" fmla="*/ 2611604 w 3773795"/>
                <a:gd name="connsiteY709" fmla="*/ 483770 h 1451770"/>
                <a:gd name="connsiteX710" fmla="*/ 2609417 w 3773795"/>
                <a:gd name="connsiteY710" fmla="*/ 483333 h 1451770"/>
                <a:gd name="connsiteX711" fmla="*/ 2607181 w 3773795"/>
                <a:gd name="connsiteY711" fmla="*/ 481675 h 1451770"/>
                <a:gd name="connsiteX712" fmla="*/ 2605987 w 3773795"/>
                <a:gd name="connsiteY712" fmla="*/ 481312 h 1451770"/>
                <a:gd name="connsiteX713" fmla="*/ 2604781 w 3773795"/>
                <a:gd name="connsiteY713" fmla="*/ 481565 h 1451770"/>
                <a:gd name="connsiteX714" fmla="*/ 2603476 w 3773795"/>
                <a:gd name="connsiteY714" fmla="*/ 482248 h 1451770"/>
                <a:gd name="connsiteX715" fmla="*/ 2601736 w 3773795"/>
                <a:gd name="connsiteY715" fmla="*/ 482438 h 1451770"/>
                <a:gd name="connsiteX716" fmla="*/ 2597604 w 3773795"/>
                <a:gd name="connsiteY716" fmla="*/ 480549 h 1451770"/>
                <a:gd name="connsiteX717" fmla="*/ 2597280 w 3773795"/>
                <a:gd name="connsiteY717" fmla="*/ 479418 h 1451770"/>
                <a:gd name="connsiteX718" fmla="*/ 2597673 w 3773795"/>
                <a:gd name="connsiteY718" fmla="*/ 478894 h 1451770"/>
                <a:gd name="connsiteX719" fmla="*/ 2598727 w 3773795"/>
                <a:gd name="connsiteY719" fmla="*/ 478345 h 1451770"/>
                <a:gd name="connsiteX720" fmla="*/ 2599582 w 3773795"/>
                <a:gd name="connsiteY720" fmla="*/ 478305 h 1451770"/>
                <a:gd name="connsiteX721" fmla="*/ 2602096 w 3773795"/>
                <a:gd name="connsiteY721" fmla="*/ 477373 h 1451770"/>
                <a:gd name="connsiteX722" fmla="*/ 3566330 w 3773795"/>
                <a:gd name="connsiteY722" fmla="*/ 476708 h 1451770"/>
                <a:gd name="connsiteX723" fmla="*/ 3568929 w 3773795"/>
                <a:gd name="connsiteY723" fmla="*/ 476830 h 1451770"/>
                <a:gd name="connsiteX724" fmla="*/ 3571529 w 3773795"/>
                <a:gd name="connsiteY724" fmla="*/ 477491 h 1451770"/>
                <a:gd name="connsiteX725" fmla="*/ 3581202 w 3773795"/>
                <a:gd name="connsiteY725" fmla="*/ 478958 h 1451770"/>
                <a:gd name="connsiteX726" fmla="*/ 3583091 w 3773795"/>
                <a:gd name="connsiteY726" fmla="*/ 479447 h 1451770"/>
                <a:gd name="connsiteX727" fmla="*/ 3586162 w 3773795"/>
                <a:gd name="connsiteY727" fmla="*/ 481388 h 1451770"/>
                <a:gd name="connsiteX728" fmla="*/ 3587948 w 3773795"/>
                <a:gd name="connsiteY728" fmla="*/ 482047 h 1451770"/>
                <a:gd name="connsiteX729" fmla="*/ 3589657 w 3773795"/>
                <a:gd name="connsiteY729" fmla="*/ 483184 h 1451770"/>
                <a:gd name="connsiteX730" fmla="*/ 3591466 w 3773795"/>
                <a:gd name="connsiteY730" fmla="*/ 485102 h 1451770"/>
                <a:gd name="connsiteX731" fmla="*/ 3594956 w 3773795"/>
                <a:gd name="connsiteY731" fmla="*/ 487159 h 1451770"/>
                <a:gd name="connsiteX732" fmla="*/ 3600104 w 3773795"/>
                <a:gd name="connsiteY732" fmla="*/ 489529 h 1451770"/>
                <a:gd name="connsiteX733" fmla="*/ 3601254 w 3773795"/>
                <a:gd name="connsiteY733" fmla="*/ 490285 h 1451770"/>
                <a:gd name="connsiteX734" fmla="*/ 3601999 w 3773795"/>
                <a:gd name="connsiteY734" fmla="*/ 492069 h 1451770"/>
                <a:gd name="connsiteX735" fmla="*/ 3601444 w 3773795"/>
                <a:gd name="connsiteY735" fmla="*/ 494187 h 1451770"/>
                <a:gd name="connsiteX736" fmla="*/ 3594850 w 3773795"/>
                <a:gd name="connsiteY736" fmla="*/ 498208 h 1451770"/>
                <a:gd name="connsiteX737" fmla="*/ 3589523 w 3773795"/>
                <a:gd name="connsiteY737" fmla="*/ 499244 h 1451770"/>
                <a:gd name="connsiteX738" fmla="*/ 3579234 w 3773795"/>
                <a:gd name="connsiteY738" fmla="*/ 500341 h 1451770"/>
                <a:gd name="connsiteX739" fmla="*/ 3565328 w 3773795"/>
                <a:gd name="connsiteY739" fmla="*/ 503367 h 1451770"/>
                <a:gd name="connsiteX740" fmla="*/ 3559605 w 3773795"/>
                <a:gd name="connsiteY740" fmla="*/ 504207 h 1451770"/>
                <a:gd name="connsiteX741" fmla="*/ 3557593 w 3773795"/>
                <a:gd name="connsiteY741" fmla="*/ 504028 h 1451770"/>
                <a:gd name="connsiteX742" fmla="*/ 3552566 w 3773795"/>
                <a:gd name="connsiteY742" fmla="*/ 502082 h 1451770"/>
                <a:gd name="connsiteX743" fmla="*/ 3546685 w 3773795"/>
                <a:gd name="connsiteY743" fmla="*/ 501221 h 1451770"/>
                <a:gd name="connsiteX744" fmla="*/ 3544061 w 3773795"/>
                <a:gd name="connsiteY744" fmla="*/ 501920 h 1451770"/>
                <a:gd name="connsiteX745" fmla="*/ 3538894 w 3773795"/>
                <a:gd name="connsiteY745" fmla="*/ 505016 h 1451770"/>
                <a:gd name="connsiteX746" fmla="*/ 3527946 w 3773795"/>
                <a:gd name="connsiteY746" fmla="*/ 505768 h 1451770"/>
                <a:gd name="connsiteX747" fmla="*/ 3521511 w 3773795"/>
                <a:gd name="connsiteY747" fmla="*/ 507936 h 1451770"/>
                <a:gd name="connsiteX748" fmla="*/ 3519986 w 3773795"/>
                <a:gd name="connsiteY748" fmla="*/ 508111 h 1451770"/>
                <a:gd name="connsiteX749" fmla="*/ 3516795 w 3773795"/>
                <a:gd name="connsiteY749" fmla="*/ 500915 h 1451770"/>
                <a:gd name="connsiteX750" fmla="*/ 3516354 w 3773795"/>
                <a:gd name="connsiteY750" fmla="*/ 499025 h 1451770"/>
                <a:gd name="connsiteX751" fmla="*/ 3517583 w 3773795"/>
                <a:gd name="connsiteY751" fmla="*/ 496667 h 1451770"/>
                <a:gd name="connsiteX752" fmla="*/ 3520792 w 3773795"/>
                <a:gd name="connsiteY752" fmla="*/ 493742 h 1451770"/>
                <a:gd name="connsiteX753" fmla="*/ 3522165 w 3773795"/>
                <a:gd name="connsiteY753" fmla="*/ 491583 h 1451770"/>
                <a:gd name="connsiteX754" fmla="*/ 3529771 w 3773795"/>
                <a:gd name="connsiteY754" fmla="*/ 487789 h 1451770"/>
                <a:gd name="connsiteX755" fmla="*/ 3536683 w 3773795"/>
                <a:gd name="connsiteY755" fmla="*/ 482774 h 1451770"/>
                <a:gd name="connsiteX756" fmla="*/ 3540403 w 3773795"/>
                <a:gd name="connsiteY756" fmla="*/ 482017 h 1451770"/>
                <a:gd name="connsiteX757" fmla="*/ 3544174 w 3773795"/>
                <a:gd name="connsiteY757" fmla="*/ 479686 h 1451770"/>
                <a:gd name="connsiteX758" fmla="*/ 3546685 w 3773795"/>
                <a:gd name="connsiteY758" fmla="*/ 479098 h 1451770"/>
                <a:gd name="connsiteX759" fmla="*/ 3550115 w 3773795"/>
                <a:gd name="connsiteY759" fmla="*/ 478557 h 1451770"/>
                <a:gd name="connsiteX760" fmla="*/ 3553517 w 3773795"/>
                <a:gd name="connsiteY760" fmla="*/ 477453 h 1451770"/>
                <a:gd name="connsiteX761" fmla="*/ 3556716 w 3773795"/>
                <a:gd name="connsiteY761" fmla="*/ 477271 h 1451770"/>
                <a:gd name="connsiteX762" fmla="*/ 3559907 w 3773795"/>
                <a:gd name="connsiteY762" fmla="*/ 477916 h 1451770"/>
                <a:gd name="connsiteX763" fmla="*/ 3563125 w 3773795"/>
                <a:gd name="connsiteY763" fmla="*/ 477711 h 1451770"/>
                <a:gd name="connsiteX764" fmla="*/ 1285689 w 3773795"/>
                <a:gd name="connsiteY764" fmla="*/ 433887 h 1451770"/>
                <a:gd name="connsiteX765" fmla="*/ 1297421 w 3773795"/>
                <a:gd name="connsiteY765" fmla="*/ 437147 h 1451770"/>
                <a:gd name="connsiteX766" fmla="*/ 1299054 w 3773795"/>
                <a:gd name="connsiteY766" fmla="*/ 439190 h 1451770"/>
                <a:gd name="connsiteX767" fmla="*/ 1299323 w 3773795"/>
                <a:gd name="connsiteY767" fmla="*/ 440103 h 1451770"/>
                <a:gd name="connsiteX768" fmla="*/ 1294666 w 3773795"/>
                <a:gd name="connsiteY768" fmla="*/ 442830 h 1451770"/>
                <a:gd name="connsiteX769" fmla="*/ 1291409 w 3773795"/>
                <a:gd name="connsiteY769" fmla="*/ 443851 h 1451770"/>
                <a:gd name="connsiteX770" fmla="*/ 1286404 w 3773795"/>
                <a:gd name="connsiteY770" fmla="*/ 447341 h 1451770"/>
                <a:gd name="connsiteX771" fmla="*/ 1283124 w 3773795"/>
                <a:gd name="connsiteY771" fmla="*/ 448059 h 1451770"/>
                <a:gd name="connsiteX772" fmla="*/ 1272357 w 3773795"/>
                <a:gd name="connsiteY772" fmla="*/ 448449 h 1451770"/>
                <a:gd name="connsiteX773" fmla="*/ 1267058 w 3773795"/>
                <a:gd name="connsiteY773" fmla="*/ 447794 h 1451770"/>
                <a:gd name="connsiteX774" fmla="*/ 1266287 w 3773795"/>
                <a:gd name="connsiteY774" fmla="*/ 446988 h 1451770"/>
                <a:gd name="connsiteX775" fmla="*/ 1266995 w 3773795"/>
                <a:gd name="connsiteY775" fmla="*/ 444970 h 1451770"/>
                <a:gd name="connsiteX776" fmla="*/ 1272444 w 3773795"/>
                <a:gd name="connsiteY776" fmla="*/ 441904 h 1451770"/>
                <a:gd name="connsiteX777" fmla="*/ 1274897 w 3773795"/>
                <a:gd name="connsiteY777" fmla="*/ 439948 h 1451770"/>
                <a:gd name="connsiteX778" fmla="*/ 1277492 w 3773795"/>
                <a:gd name="connsiteY778" fmla="*/ 436643 h 1451770"/>
                <a:gd name="connsiteX779" fmla="*/ 1281934 w 3773795"/>
                <a:gd name="connsiteY779" fmla="*/ 433901 h 1451770"/>
                <a:gd name="connsiteX780" fmla="*/ 1316994 w 3773795"/>
                <a:gd name="connsiteY780" fmla="*/ 414403 h 1451770"/>
                <a:gd name="connsiteX781" fmla="*/ 1321246 w 3773795"/>
                <a:gd name="connsiteY781" fmla="*/ 416758 h 1451770"/>
                <a:gd name="connsiteX782" fmla="*/ 1322483 w 3773795"/>
                <a:gd name="connsiteY782" fmla="*/ 419101 h 1451770"/>
                <a:gd name="connsiteX783" fmla="*/ 1325331 w 3773795"/>
                <a:gd name="connsiteY783" fmla="*/ 421818 h 1451770"/>
                <a:gd name="connsiteX784" fmla="*/ 1325256 w 3773795"/>
                <a:gd name="connsiteY784" fmla="*/ 428097 h 1451770"/>
                <a:gd name="connsiteX785" fmla="*/ 1324450 w 3773795"/>
                <a:gd name="connsiteY785" fmla="*/ 430086 h 1451770"/>
                <a:gd name="connsiteX786" fmla="*/ 1322885 w 3773795"/>
                <a:gd name="connsiteY786" fmla="*/ 430557 h 1451770"/>
                <a:gd name="connsiteX787" fmla="*/ 1310721 w 3773795"/>
                <a:gd name="connsiteY787" fmla="*/ 428841 h 1451770"/>
                <a:gd name="connsiteX788" fmla="*/ 1306512 w 3773795"/>
                <a:gd name="connsiteY788" fmla="*/ 426665 h 1451770"/>
                <a:gd name="connsiteX789" fmla="*/ 1305251 w 3773795"/>
                <a:gd name="connsiteY789" fmla="*/ 424677 h 1451770"/>
                <a:gd name="connsiteX790" fmla="*/ 1305773 w 3773795"/>
                <a:gd name="connsiteY790" fmla="*/ 422928 h 1451770"/>
                <a:gd name="connsiteX791" fmla="*/ 1211840 w 3773795"/>
                <a:gd name="connsiteY791" fmla="*/ 412874 h 1451770"/>
                <a:gd name="connsiteX792" fmla="*/ 1216066 w 3773795"/>
                <a:gd name="connsiteY792" fmla="*/ 413242 h 1451770"/>
                <a:gd name="connsiteX793" fmla="*/ 1218839 w 3773795"/>
                <a:gd name="connsiteY793" fmla="*/ 413818 h 1451770"/>
                <a:gd name="connsiteX794" fmla="*/ 1224063 w 3773795"/>
                <a:gd name="connsiteY794" fmla="*/ 415749 h 1451770"/>
                <a:gd name="connsiteX795" fmla="*/ 1219221 w 3773795"/>
                <a:gd name="connsiteY795" fmla="*/ 417007 h 1451770"/>
                <a:gd name="connsiteX796" fmla="*/ 1217113 w 3773795"/>
                <a:gd name="connsiteY796" fmla="*/ 419694 h 1451770"/>
                <a:gd name="connsiteX797" fmla="*/ 1217399 w 3773795"/>
                <a:gd name="connsiteY797" fmla="*/ 421369 h 1451770"/>
                <a:gd name="connsiteX798" fmla="*/ 1218217 w 3773795"/>
                <a:gd name="connsiteY798" fmla="*/ 422279 h 1451770"/>
                <a:gd name="connsiteX799" fmla="*/ 1217407 w 3773795"/>
                <a:gd name="connsiteY799" fmla="*/ 423721 h 1451770"/>
                <a:gd name="connsiteX800" fmla="*/ 1216917 w 3773795"/>
                <a:gd name="connsiteY800" fmla="*/ 424128 h 1451770"/>
                <a:gd name="connsiteX801" fmla="*/ 1215805 w 3773795"/>
                <a:gd name="connsiteY801" fmla="*/ 423397 h 1451770"/>
                <a:gd name="connsiteX802" fmla="*/ 1212415 w 3773795"/>
                <a:gd name="connsiteY802" fmla="*/ 422280 h 1451770"/>
                <a:gd name="connsiteX803" fmla="*/ 1206796 w 3773795"/>
                <a:gd name="connsiteY803" fmla="*/ 419428 h 1451770"/>
                <a:gd name="connsiteX804" fmla="*/ 1205017 w 3773795"/>
                <a:gd name="connsiteY804" fmla="*/ 417479 h 1451770"/>
                <a:gd name="connsiteX805" fmla="*/ 1205950 w 3773795"/>
                <a:gd name="connsiteY805" fmla="*/ 415248 h 1451770"/>
                <a:gd name="connsiteX806" fmla="*/ 1207191 w 3773795"/>
                <a:gd name="connsiteY806" fmla="*/ 413779 h 1451770"/>
                <a:gd name="connsiteX807" fmla="*/ 2219172 w 3773795"/>
                <a:gd name="connsiteY807" fmla="*/ 411299 h 1451770"/>
                <a:gd name="connsiteX808" fmla="*/ 2221695 w 3773795"/>
                <a:gd name="connsiteY808" fmla="*/ 411762 h 1451770"/>
                <a:gd name="connsiteX809" fmla="*/ 2225195 w 3773795"/>
                <a:gd name="connsiteY809" fmla="*/ 413856 h 1451770"/>
                <a:gd name="connsiteX810" fmla="*/ 2225737 w 3773795"/>
                <a:gd name="connsiteY810" fmla="*/ 414593 h 1451770"/>
                <a:gd name="connsiteX811" fmla="*/ 2220134 w 3773795"/>
                <a:gd name="connsiteY811" fmla="*/ 416494 h 1451770"/>
                <a:gd name="connsiteX812" fmla="*/ 2215361 w 3773795"/>
                <a:gd name="connsiteY812" fmla="*/ 416471 h 1451770"/>
                <a:gd name="connsiteX813" fmla="*/ 2212007 w 3773795"/>
                <a:gd name="connsiteY813" fmla="*/ 413135 h 1451770"/>
                <a:gd name="connsiteX814" fmla="*/ 2214694 w 3773795"/>
                <a:gd name="connsiteY814" fmla="*/ 411816 h 1451770"/>
                <a:gd name="connsiteX815" fmla="*/ 778335 w 3773795"/>
                <a:gd name="connsiteY815" fmla="*/ 401957 h 1451770"/>
                <a:gd name="connsiteX816" fmla="*/ 781358 w 3773795"/>
                <a:gd name="connsiteY816" fmla="*/ 402144 h 1451770"/>
                <a:gd name="connsiteX817" fmla="*/ 785355 w 3773795"/>
                <a:gd name="connsiteY817" fmla="*/ 403269 h 1451770"/>
                <a:gd name="connsiteX818" fmla="*/ 789743 w 3773795"/>
                <a:gd name="connsiteY818" fmla="*/ 405332 h 1451770"/>
                <a:gd name="connsiteX819" fmla="*/ 800080 w 3773795"/>
                <a:gd name="connsiteY819" fmla="*/ 407019 h 1451770"/>
                <a:gd name="connsiteX820" fmla="*/ 807828 w 3773795"/>
                <a:gd name="connsiteY820" fmla="*/ 407547 h 1451770"/>
                <a:gd name="connsiteX821" fmla="*/ 812533 w 3773795"/>
                <a:gd name="connsiteY821" fmla="*/ 408846 h 1451770"/>
                <a:gd name="connsiteX822" fmla="*/ 814282 w 3773795"/>
                <a:gd name="connsiteY822" fmla="*/ 409879 h 1451770"/>
                <a:gd name="connsiteX823" fmla="*/ 813572 w 3773795"/>
                <a:gd name="connsiteY823" fmla="*/ 412506 h 1451770"/>
                <a:gd name="connsiteX824" fmla="*/ 812183 w 3773795"/>
                <a:gd name="connsiteY824" fmla="*/ 413585 h 1451770"/>
                <a:gd name="connsiteX825" fmla="*/ 808962 w 3773795"/>
                <a:gd name="connsiteY825" fmla="*/ 416995 h 1451770"/>
                <a:gd name="connsiteX826" fmla="*/ 808476 w 3773795"/>
                <a:gd name="connsiteY826" fmla="*/ 419097 h 1451770"/>
                <a:gd name="connsiteX827" fmla="*/ 809048 w 3773795"/>
                <a:gd name="connsiteY827" fmla="*/ 422394 h 1451770"/>
                <a:gd name="connsiteX828" fmla="*/ 808553 w 3773795"/>
                <a:gd name="connsiteY828" fmla="*/ 424787 h 1451770"/>
                <a:gd name="connsiteX829" fmla="*/ 807474 w 3773795"/>
                <a:gd name="connsiteY829" fmla="*/ 426532 h 1451770"/>
                <a:gd name="connsiteX830" fmla="*/ 806636 w 3773795"/>
                <a:gd name="connsiteY830" fmla="*/ 427254 h 1451770"/>
                <a:gd name="connsiteX831" fmla="*/ 800797 w 3773795"/>
                <a:gd name="connsiteY831" fmla="*/ 427250 h 1451770"/>
                <a:gd name="connsiteX832" fmla="*/ 798668 w 3773795"/>
                <a:gd name="connsiteY832" fmla="*/ 428220 h 1451770"/>
                <a:gd name="connsiteX833" fmla="*/ 798558 w 3773795"/>
                <a:gd name="connsiteY833" fmla="*/ 430102 h 1451770"/>
                <a:gd name="connsiteX834" fmla="*/ 798171 w 3773795"/>
                <a:gd name="connsiteY834" fmla="*/ 432190 h 1451770"/>
                <a:gd name="connsiteX835" fmla="*/ 796301 w 3773795"/>
                <a:gd name="connsiteY835" fmla="*/ 435231 h 1451770"/>
                <a:gd name="connsiteX836" fmla="*/ 792429 w 3773795"/>
                <a:gd name="connsiteY836" fmla="*/ 436221 h 1451770"/>
                <a:gd name="connsiteX837" fmla="*/ 791589 w 3773795"/>
                <a:gd name="connsiteY837" fmla="*/ 437321 h 1451770"/>
                <a:gd name="connsiteX838" fmla="*/ 791889 w 3773795"/>
                <a:gd name="connsiteY838" fmla="*/ 439314 h 1451770"/>
                <a:gd name="connsiteX839" fmla="*/ 790542 w 3773795"/>
                <a:gd name="connsiteY839" fmla="*/ 440826 h 1451770"/>
                <a:gd name="connsiteX840" fmla="*/ 790622 w 3773795"/>
                <a:gd name="connsiteY840" fmla="*/ 443176 h 1451770"/>
                <a:gd name="connsiteX841" fmla="*/ 791304 w 3773795"/>
                <a:gd name="connsiteY841" fmla="*/ 444460 h 1451770"/>
                <a:gd name="connsiteX842" fmla="*/ 791496 w 3773795"/>
                <a:gd name="connsiteY842" fmla="*/ 447130 h 1451770"/>
                <a:gd name="connsiteX843" fmla="*/ 794127 w 3773795"/>
                <a:gd name="connsiteY843" fmla="*/ 450990 h 1451770"/>
                <a:gd name="connsiteX844" fmla="*/ 793615 w 3773795"/>
                <a:gd name="connsiteY844" fmla="*/ 452578 h 1451770"/>
                <a:gd name="connsiteX845" fmla="*/ 791589 w 3773795"/>
                <a:gd name="connsiteY845" fmla="*/ 455701 h 1451770"/>
                <a:gd name="connsiteX846" fmla="*/ 790963 w 3773795"/>
                <a:gd name="connsiteY846" fmla="*/ 459503 h 1451770"/>
                <a:gd name="connsiteX847" fmla="*/ 789257 w 3773795"/>
                <a:gd name="connsiteY847" fmla="*/ 462784 h 1451770"/>
                <a:gd name="connsiteX848" fmla="*/ 793088 w 3773795"/>
                <a:gd name="connsiteY848" fmla="*/ 465506 h 1451770"/>
                <a:gd name="connsiteX849" fmla="*/ 794759 w 3773795"/>
                <a:gd name="connsiteY849" fmla="*/ 469037 h 1451770"/>
                <a:gd name="connsiteX850" fmla="*/ 796241 w 3773795"/>
                <a:gd name="connsiteY850" fmla="*/ 472871 h 1451770"/>
                <a:gd name="connsiteX851" fmla="*/ 800788 w 3773795"/>
                <a:gd name="connsiteY851" fmla="*/ 480330 h 1451770"/>
                <a:gd name="connsiteX852" fmla="*/ 805738 w 3773795"/>
                <a:gd name="connsiteY852" fmla="*/ 486931 h 1451770"/>
                <a:gd name="connsiteX853" fmla="*/ 814831 w 3773795"/>
                <a:gd name="connsiteY853" fmla="*/ 496598 h 1451770"/>
                <a:gd name="connsiteX854" fmla="*/ 824569 w 3773795"/>
                <a:gd name="connsiteY854" fmla="*/ 503884 h 1451770"/>
                <a:gd name="connsiteX855" fmla="*/ 828346 w 3773795"/>
                <a:gd name="connsiteY855" fmla="*/ 505939 h 1451770"/>
                <a:gd name="connsiteX856" fmla="*/ 837588 w 3773795"/>
                <a:gd name="connsiteY856" fmla="*/ 509308 h 1451770"/>
                <a:gd name="connsiteX857" fmla="*/ 839200 w 3773795"/>
                <a:gd name="connsiteY857" fmla="*/ 510372 h 1451770"/>
                <a:gd name="connsiteX858" fmla="*/ 840724 w 3773795"/>
                <a:gd name="connsiteY858" fmla="*/ 511859 h 1451770"/>
                <a:gd name="connsiteX859" fmla="*/ 836783 w 3773795"/>
                <a:gd name="connsiteY859" fmla="*/ 514578 h 1451770"/>
                <a:gd name="connsiteX860" fmla="*/ 832726 w 3773795"/>
                <a:gd name="connsiteY860" fmla="*/ 515580 h 1451770"/>
                <a:gd name="connsiteX861" fmla="*/ 832356 w 3773795"/>
                <a:gd name="connsiteY861" fmla="*/ 516818 h 1451770"/>
                <a:gd name="connsiteX862" fmla="*/ 830121 w 3773795"/>
                <a:gd name="connsiteY862" fmla="*/ 517459 h 1451770"/>
                <a:gd name="connsiteX863" fmla="*/ 819130 w 3773795"/>
                <a:gd name="connsiteY863" fmla="*/ 515159 h 1451770"/>
                <a:gd name="connsiteX864" fmla="*/ 818530 w 3773795"/>
                <a:gd name="connsiteY864" fmla="*/ 514805 h 1451770"/>
                <a:gd name="connsiteX865" fmla="*/ 817358 w 3773795"/>
                <a:gd name="connsiteY865" fmla="*/ 513117 h 1451770"/>
                <a:gd name="connsiteX866" fmla="*/ 816061 w 3773795"/>
                <a:gd name="connsiteY866" fmla="*/ 511859 h 1451770"/>
                <a:gd name="connsiteX867" fmla="*/ 813313 w 3773795"/>
                <a:gd name="connsiteY867" fmla="*/ 511645 h 1451770"/>
                <a:gd name="connsiteX868" fmla="*/ 810534 w 3773795"/>
                <a:gd name="connsiteY868" fmla="*/ 512423 h 1451770"/>
                <a:gd name="connsiteX869" fmla="*/ 812186 w 3773795"/>
                <a:gd name="connsiteY869" fmla="*/ 513949 h 1451770"/>
                <a:gd name="connsiteX870" fmla="*/ 814008 w 3773795"/>
                <a:gd name="connsiteY870" fmla="*/ 514421 h 1451770"/>
                <a:gd name="connsiteX871" fmla="*/ 817196 w 3773795"/>
                <a:gd name="connsiteY871" fmla="*/ 517282 h 1451770"/>
                <a:gd name="connsiteX872" fmla="*/ 815833 w 3773795"/>
                <a:gd name="connsiteY872" fmla="*/ 518368 h 1451770"/>
                <a:gd name="connsiteX873" fmla="*/ 814393 w 3773795"/>
                <a:gd name="connsiteY873" fmla="*/ 518505 h 1451770"/>
                <a:gd name="connsiteX874" fmla="*/ 807934 w 3773795"/>
                <a:gd name="connsiteY874" fmla="*/ 514705 h 1451770"/>
                <a:gd name="connsiteX875" fmla="*/ 807321 w 3773795"/>
                <a:gd name="connsiteY875" fmla="*/ 515175 h 1451770"/>
                <a:gd name="connsiteX876" fmla="*/ 806709 w 3773795"/>
                <a:gd name="connsiteY876" fmla="*/ 516288 h 1451770"/>
                <a:gd name="connsiteX877" fmla="*/ 803492 w 3773795"/>
                <a:gd name="connsiteY877" fmla="*/ 515050 h 1451770"/>
                <a:gd name="connsiteX878" fmla="*/ 802732 w 3773795"/>
                <a:gd name="connsiteY878" fmla="*/ 515969 h 1451770"/>
                <a:gd name="connsiteX879" fmla="*/ 800292 w 3773795"/>
                <a:gd name="connsiteY879" fmla="*/ 516400 h 1451770"/>
                <a:gd name="connsiteX880" fmla="*/ 798299 w 3773795"/>
                <a:gd name="connsiteY880" fmla="*/ 515345 h 1451770"/>
                <a:gd name="connsiteX881" fmla="*/ 798292 w 3773795"/>
                <a:gd name="connsiteY881" fmla="*/ 514008 h 1451770"/>
                <a:gd name="connsiteX882" fmla="*/ 797869 w 3773795"/>
                <a:gd name="connsiteY882" fmla="*/ 513329 h 1451770"/>
                <a:gd name="connsiteX883" fmla="*/ 787910 w 3773795"/>
                <a:gd name="connsiteY883" fmla="*/ 514378 h 1451770"/>
                <a:gd name="connsiteX884" fmla="*/ 783813 w 3773795"/>
                <a:gd name="connsiteY884" fmla="*/ 514349 h 1451770"/>
                <a:gd name="connsiteX885" fmla="*/ 779732 w 3773795"/>
                <a:gd name="connsiteY885" fmla="*/ 513893 h 1451770"/>
                <a:gd name="connsiteX886" fmla="*/ 774824 w 3773795"/>
                <a:gd name="connsiteY886" fmla="*/ 511335 h 1451770"/>
                <a:gd name="connsiteX887" fmla="*/ 774007 w 3773795"/>
                <a:gd name="connsiteY887" fmla="*/ 512484 h 1451770"/>
                <a:gd name="connsiteX888" fmla="*/ 773852 w 3773795"/>
                <a:gd name="connsiteY888" fmla="*/ 513814 h 1451770"/>
                <a:gd name="connsiteX889" fmla="*/ 771999 w 3773795"/>
                <a:gd name="connsiteY889" fmla="*/ 513283 h 1451770"/>
                <a:gd name="connsiteX890" fmla="*/ 767914 w 3773795"/>
                <a:gd name="connsiteY890" fmla="*/ 511222 h 1451770"/>
                <a:gd name="connsiteX891" fmla="*/ 764968 w 3773795"/>
                <a:gd name="connsiteY891" fmla="*/ 510409 h 1451770"/>
                <a:gd name="connsiteX892" fmla="*/ 754420 w 3773795"/>
                <a:gd name="connsiteY892" fmla="*/ 508417 h 1451770"/>
                <a:gd name="connsiteX893" fmla="*/ 746929 w 3773795"/>
                <a:gd name="connsiteY893" fmla="*/ 506039 h 1451770"/>
                <a:gd name="connsiteX894" fmla="*/ 748790 w 3773795"/>
                <a:gd name="connsiteY894" fmla="*/ 504949 h 1451770"/>
                <a:gd name="connsiteX895" fmla="*/ 752014 w 3773795"/>
                <a:gd name="connsiteY895" fmla="*/ 504382 h 1451770"/>
                <a:gd name="connsiteX896" fmla="*/ 752060 w 3773795"/>
                <a:gd name="connsiteY896" fmla="*/ 502923 h 1451770"/>
                <a:gd name="connsiteX897" fmla="*/ 751550 w 3773795"/>
                <a:gd name="connsiteY897" fmla="*/ 500911 h 1451770"/>
                <a:gd name="connsiteX898" fmla="*/ 751444 w 3773795"/>
                <a:gd name="connsiteY898" fmla="*/ 498826 h 1451770"/>
                <a:gd name="connsiteX899" fmla="*/ 753273 w 3773795"/>
                <a:gd name="connsiteY899" fmla="*/ 497426 h 1451770"/>
                <a:gd name="connsiteX900" fmla="*/ 757398 w 3773795"/>
                <a:gd name="connsiteY900" fmla="*/ 498093 h 1451770"/>
                <a:gd name="connsiteX901" fmla="*/ 756895 w 3773795"/>
                <a:gd name="connsiteY901" fmla="*/ 495815 h 1451770"/>
                <a:gd name="connsiteX902" fmla="*/ 758840 w 3773795"/>
                <a:gd name="connsiteY902" fmla="*/ 495374 h 1451770"/>
                <a:gd name="connsiteX903" fmla="*/ 762636 w 3773795"/>
                <a:gd name="connsiteY903" fmla="*/ 496685 h 1451770"/>
                <a:gd name="connsiteX904" fmla="*/ 764001 w 3773795"/>
                <a:gd name="connsiteY904" fmla="*/ 495864 h 1451770"/>
                <a:gd name="connsiteX905" fmla="*/ 758041 w 3773795"/>
                <a:gd name="connsiteY905" fmla="*/ 492996 h 1451770"/>
                <a:gd name="connsiteX906" fmla="*/ 751511 w 3773795"/>
                <a:gd name="connsiteY906" fmla="*/ 488920 h 1451770"/>
                <a:gd name="connsiteX907" fmla="*/ 752205 w 3773795"/>
                <a:gd name="connsiteY907" fmla="*/ 487453 h 1451770"/>
                <a:gd name="connsiteX908" fmla="*/ 749840 w 3773795"/>
                <a:gd name="connsiteY908" fmla="*/ 487056 h 1451770"/>
                <a:gd name="connsiteX909" fmla="*/ 747512 w 3773795"/>
                <a:gd name="connsiteY909" fmla="*/ 487153 h 1451770"/>
                <a:gd name="connsiteX910" fmla="*/ 745501 w 3773795"/>
                <a:gd name="connsiteY910" fmla="*/ 484750 h 1451770"/>
                <a:gd name="connsiteX911" fmla="*/ 745799 w 3773795"/>
                <a:gd name="connsiteY911" fmla="*/ 481567 h 1451770"/>
                <a:gd name="connsiteX912" fmla="*/ 747549 w 3773795"/>
                <a:gd name="connsiteY912" fmla="*/ 479409 h 1451770"/>
                <a:gd name="connsiteX913" fmla="*/ 746493 w 3773795"/>
                <a:gd name="connsiteY913" fmla="*/ 478938 h 1451770"/>
                <a:gd name="connsiteX914" fmla="*/ 736434 w 3773795"/>
                <a:gd name="connsiteY914" fmla="*/ 480842 h 1451770"/>
                <a:gd name="connsiteX915" fmla="*/ 731343 w 3773795"/>
                <a:gd name="connsiteY915" fmla="*/ 480408 h 1451770"/>
                <a:gd name="connsiteX916" fmla="*/ 725596 w 3773795"/>
                <a:gd name="connsiteY916" fmla="*/ 479133 h 1451770"/>
                <a:gd name="connsiteX917" fmla="*/ 720315 w 3773795"/>
                <a:gd name="connsiteY917" fmla="*/ 481037 h 1451770"/>
                <a:gd name="connsiteX918" fmla="*/ 714961 w 3773795"/>
                <a:gd name="connsiteY918" fmla="*/ 481671 h 1451770"/>
                <a:gd name="connsiteX919" fmla="*/ 712191 w 3773795"/>
                <a:gd name="connsiteY919" fmla="*/ 480993 h 1451770"/>
                <a:gd name="connsiteX920" fmla="*/ 709515 w 3773795"/>
                <a:gd name="connsiteY920" fmla="*/ 479612 h 1451770"/>
                <a:gd name="connsiteX921" fmla="*/ 707278 w 3773795"/>
                <a:gd name="connsiteY921" fmla="*/ 477732 h 1451770"/>
                <a:gd name="connsiteX922" fmla="*/ 705529 w 3773795"/>
                <a:gd name="connsiteY922" fmla="*/ 474584 h 1451770"/>
                <a:gd name="connsiteX923" fmla="*/ 703923 w 3773795"/>
                <a:gd name="connsiteY923" fmla="*/ 469305 h 1451770"/>
                <a:gd name="connsiteX924" fmla="*/ 703700 w 3773795"/>
                <a:gd name="connsiteY924" fmla="*/ 467303 h 1451770"/>
                <a:gd name="connsiteX925" fmla="*/ 704031 w 3773795"/>
                <a:gd name="connsiteY925" fmla="*/ 462824 h 1451770"/>
                <a:gd name="connsiteX926" fmla="*/ 704886 w 3773795"/>
                <a:gd name="connsiteY926" fmla="*/ 460952 h 1451770"/>
                <a:gd name="connsiteX927" fmla="*/ 707103 w 3773795"/>
                <a:gd name="connsiteY927" fmla="*/ 457178 h 1451770"/>
                <a:gd name="connsiteX928" fmla="*/ 708665 w 3773795"/>
                <a:gd name="connsiteY928" fmla="*/ 456012 h 1451770"/>
                <a:gd name="connsiteX929" fmla="*/ 712033 w 3773795"/>
                <a:gd name="connsiteY929" fmla="*/ 454243 h 1451770"/>
                <a:gd name="connsiteX930" fmla="*/ 713802 w 3773795"/>
                <a:gd name="connsiteY930" fmla="*/ 453784 h 1451770"/>
                <a:gd name="connsiteX931" fmla="*/ 717853 w 3773795"/>
                <a:gd name="connsiteY931" fmla="*/ 454698 h 1451770"/>
                <a:gd name="connsiteX932" fmla="*/ 721908 w 3773795"/>
                <a:gd name="connsiteY932" fmla="*/ 454756 h 1451770"/>
                <a:gd name="connsiteX933" fmla="*/ 723683 w 3773795"/>
                <a:gd name="connsiteY933" fmla="*/ 453754 h 1451770"/>
                <a:gd name="connsiteX934" fmla="*/ 725329 w 3773795"/>
                <a:gd name="connsiteY934" fmla="*/ 451982 h 1451770"/>
                <a:gd name="connsiteX935" fmla="*/ 726549 w 3773795"/>
                <a:gd name="connsiteY935" fmla="*/ 449675 h 1451770"/>
                <a:gd name="connsiteX936" fmla="*/ 729295 w 3773795"/>
                <a:gd name="connsiteY936" fmla="*/ 448359 h 1451770"/>
                <a:gd name="connsiteX937" fmla="*/ 730090 w 3773795"/>
                <a:gd name="connsiteY937" fmla="*/ 447656 h 1451770"/>
                <a:gd name="connsiteX938" fmla="*/ 730971 w 3773795"/>
                <a:gd name="connsiteY938" fmla="*/ 446164 h 1451770"/>
                <a:gd name="connsiteX939" fmla="*/ 731941 w 3773795"/>
                <a:gd name="connsiteY939" fmla="*/ 443914 h 1451770"/>
                <a:gd name="connsiteX940" fmla="*/ 732120 w 3773795"/>
                <a:gd name="connsiteY940" fmla="*/ 441998 h 1451770"/>
                <a:gd name="connsiteX941" fmla="*/ 732891 w 3773795"/>
                <a:gd name="connsiteY941" fmla="*/ 440081 h 1451770"/>
                <a:gd name="connsiteX942" fmla="*/ 735432 w 3773795"/>
                <a:gd name="connsiteY942" fmla="*/ 437288 h 1451770"/>
                <a:gd name="connsiteX943" fmla="*/ 734539 w 3773795"/>
                <a:gd name="connsiteY943" fmla="*/ 435557 h 1451770"/>
                <a:gd name="connsiteX944" fmla="*/ 734888 w 3773795"/>
                <a:gd name="connsiteY944" fmla="*/ 434385 h 1451770"/>
                <a:gd name="connsiteX945" fmla="*/ 736603 w 3773795"/>
                <a:gd name="connsiteY945" fmla="*/ 432309 h 1451770"/>
                <a:gd name="connsiteX946" fmla="*/ 731440 w 3773795"/>
                <a:gd name="connsiteY946" fmla="*/ 431746 h 1451770"/>
                <a:gd name="connsiteX947" fmla="*/ 729712 w 3773795"/>
                <a:gd name="connsiteY947" fmla="*/ 430835 h 1451770"/>
                <a:gd name="connsiteX948" fmla="*/ 728021 w 3773795"/>
                <a:gd name="connsiteY948" fmla="*/ 429439 h 1451770"/>
                <a:gd name="connsiteX949" fmla="*/ 728509 w 3773795"/>
                <a:gd name="connsiteY949" fmla="*/ 428130 h 1451770"/>
                <a:gd name="connsiteX950" fmla="*/ 729144 w 3773795"/>
                <a:gd name="connsiteY950" fmla="*/ 427172 h 1451770"/>
                <a:gd name="connsiteX951" fmla="*/ 734294 w 3773795"/>
                <a:gd name="connsiteY951" fmla="*/ 423645 h 1451770"/>
                <a:gd name="connsiteX952" fmla="*/ 736527 w 3773795"/>
                <a:gd name="connsiteY952" fmla="*/ 422606 h 1451770"/>
                <a:gd name="connsiteX953" fmla="*/ 738982 w 3773795"/>
                <a:gd name="connsiteY953" fmla="*/ 422032 h 1451770"/>
                <a:gd name="connsiteX954" fmla="*/ 741431 w 3773795"/>
                <a:gd name="connsiteY954" fmla="*/ 422046 h 1451770"/>
                <a:gd name="connsiteX955" fmla="*/ 744053 w 3773795"/>
                <a:gd name="connsiteY955" fmla="*/ 422445 h 1451770"/>
                <a:gd name="connsiteX956" fmla="*/ 746625 w 3773795"/>
                <a:gd name="connsiteY956" fmla="*/ 421898 h 1451770"/>
                <a:gd name="connsiteX957" fmla="*/ 743914 w 3773795"/>
                <a:gd name="connsiteY957" fmla="*/ 419521 h 1451770"/>
                <a:gd name="connsiteX958" fmla="*/ 743690 w 3773795"/>
                <a:gd name="connsiteY958" fmla="*/ 417916 h 1451770"/>
                <a:gd name="connsiteX959" fmla="*/ 742625 w 3773795"/>
                <a:gd name="connsiteY959" fmla="*/ 413994 h 1451770"/>
                <a:gd name="connsiteX960" fmla="*/ 742824 w 3773795"/>
                <a:gd name="connsiteY960" fmla="*/ 412151 h 1451770"/>
                <a:gd name="connsiteX961" fmla="*/ 744001 w 3773795"/>
                <a:gd name="connsiteY961" fmla="*/ 410651 h 1451770"/>
                <a:gd name="connsiteX962" fmla="*/ 746354 w 3773795"/>
                <a:gd name="connsiteY962" fmla="*/ 408887 h 1451770"/>
                <a:gd name="connsiteX963" fmla="*/ 749773 w 3773795"/>
                <a:gd name="connsiteY963" fmla="*/ 408301 h 1451770"/>
                <a:gd name="connsiteX964" fmla="*/ 752459 w 3773795"/>
                <a:gd name="connsiteY964" fmla="*/ 407373 h 1451770"/>
                <a:gd name="connsiteX965" fmla="*/ 755102 w 3773795"/>
                <a:gd name="connsiteY965" fmla="*/ 405971 h 1451770"/>
                <a:gd name="connsiteX966" fmla="*/ 757588 w 3773795"/>
                <a:gd name="connsiteY966" fmla="*/ 405729 h 1451770"/>
                <a:gd name="connsiteX967" fmla="*/ 762571 w 3773795"/>
                <a:gd name="connsiteY967" fmla="*/ 406684 h 1451770"/>
                <a:gd name="connsiteX968" fmla="*/ 765033 w 3773795"/>
                <a:gd name="connsiteY968" fmla="*/ 406477 h 1451770"/>
                <a:gd name="connsiteX969" fmla="*/ 767804 w 3773795"/>
                <a:gd name="connsiteY969" fmla="*/ 405708 h 1451770"/>
                <a:gd name="connsiteX970" fmla="*/ 775509 w 3773795"/>
                <a:gd name="connsiteY970" fmla="*/ 402707 h 1451770"/>
                <a:gd name="connsiteX971" fmla="*/ 1135143 w 3773795"/>
                <a:gd name="connsiteY971" fmla="*/ 396553 h 1451770"/>
                <a:gd name="connsiteX972" fmla="*/ 1136979 w 3773795"/>
                <a:gd name="connsiteY972" fmla="*/ 396988 h 1451770"/>
                <a:gd name="connsiteX973" fmla="*/ 1139587 w 3773795"/>
                <a:gd name="connsiteY973" fmla="*/ 398107 h 1451770"/>
                <a:gd name="connsiteX974" fmla="*/ 1141587 w 3773795"/>
                <a:gd name="connsiteY974" fmla="*/ 399396 h 1451770"/>
                <a:gd name="connsiteX975" fmla="*/ 1144230 w 3773795"/>
                <a:gd name="connsiteY975" fmla="*/ 402614 h 1451770"/>
                <a:gd name="connsiteX976" fmla="*/ 1146303 w 3773795"/>
                <a:gd name="connsiteY976" fmla="*/ 403896 h 1451770"/>
                <a:gd name="connsiteX977" fmla="*/ 1149501 w 3773795"/>
                <a:gd name="connsiteY977" fmla="*/ 406400 h 1451770"/>
                <a:gd name="connsiteX978" fmla="*/ 1150406 w 3773795"/>
                <a:gd name="connsiteY978" fmla="*/ 408877 h 1451770"/>
                <a:gd name="connsiteX979" fmla="*/ 1150311 w 3773795"/>
                <a:gd name="connsiteY979" fmla="*/ 411032 h 1451770"/>
                <a:gd name="connsiteX980" fmla="*/ 1144329 w 3773795"/>
                <a:gd name="connsiteY980" fmla="*/ 411520 h 1451770"/>
                <a:gd name="connsiteX981" fmla="*/ 1133960 w 3773795"/>
                <a:gd name="connsiteY981" fmla="*/ 413333 h 1451770"/>
                <a:gd name="connsiteX982" fmla="*/ 1129255 w 3773795"/>
                <a:gd name="connsiteY982" fmla="*/ 414374 h 1451770"/>
                <a:gd name="connsiteX983" fmla="*/ 1122764 w 3773795"/>
                <a:gd name="connsiteY983" fmla="*/ 416357 h 1451770"/>
                <a:gd name="connsiteX984" fmla="*/ 1120950 w 3773795"/>
                <a:gd name="connsiteY984" fmla="*/ 416510 h 1451770"/>
                <a:gd name="connsiteX985" fmla="*/ 1116976 w 3773795"/>
                <a:gd name="connsiteY985" fmla="*/ 416011 h 1451770"/>
                <a:gd name="connsiteX986" fmla="*/ 1115253 w 3773795"/>
                <a:gd name="connsiteY986" fmla="*/ 416820 h 1451770"/>
                <a:gd name="connsiteX987" fmla="*/ 1112586 w 3773795"/>
                <a:gd name="connsiteY987" fmla="*/ 414818 h 1451770"/>
                <a:gd name="connsiteX988" fmla="*/ 1112813 w 3773795"/>
                <a:gd name="connsiteY988" fmla="*/ 413038 h 1451770"/>
                <a:gd name="connsiteX989" fmla="*/ 1114035 w 3773795"/>
                <a:gd name="connsiteY989" fmla="*/ 411233 h 1451770"/>
                <a:gd name="connsiteX990" fmla="*/ 1114767 w 3773795"/>
                <a:gd name="connsiteY990" fmla="*/ 408898 h 1451770"/>
                <a:gd name="connsiteX991" fmla="*/ 1114262 w 3773795"/>
                <a:gd name="connsiteY991" fmla="*/ 403160 h 1451770"/>
                <a:gd name="connsiteX992" fmla="*/ 1117661 w 3773795"/>
                <a:gd name="connsiteY992" fmla="*/ 399525 h 1451770"/>
                <a:gd name="connsiteX993" fmla="*/ 1122092 w 3773795"/>
                <a:gd name="connsiteY993" fmla="*/ 398122 h 1451770"/>
                <a:gd name="connsiteX994" fmla="*/ 1252569 w 3773795"/>
                <a:gd name="connsiteY994" fmla="*/ 394807 h 1451770"/>
                <a:gd name="connsiteX995" fmla="*/ 1263743 w 3773795"/>
                <a:gd name="connsiteY995" fmla="*/ 399480 h 1451770"/>
                <a:gd name="connsiteX996" fmla="*/ 1261606 w 3773795"/>
                <a:gd name="connsiteY996" fmla="*/ 399748 h 1451770"/>
                <a:gd name="connsiteX997" fmla="*/ 1252210 w 3773795"/>
                <a:gd name="connsiteY997" fmla="*/ 398182 h 1451770"/>
                <a:gd name="connsiteX998" fmla="*/ 1248863 w 3773795"/>
                <a:gd name="connsiteY998" fmla="*/ 396165 h 1451770"/>
                <a:gd name="connsiteX999" fmla="*/ 1250111 w 3773795"/>
                <a:gd name="connsiteY999" fmla="*/ 394848 h 1451770"/>
                <a:gd name="connsiteX1000" fmla="*/ 1245481 w 3773795"/>
                <a:gd name="connsiteY1000" fmla="*/ 394022 h 1451770"/>
                <a:gd name="connsiteX1001" fmla="*/ 1247898 w 3773795"/>
                <a:gd name="connsiteY1001" fmla="*/ 394608 h 1451770"/>
                <a:gd name="connsiteX1002" fmla="*/ 1248166 w 3773795"/>
                <a:gd name="connsiteY1002" fmla="*/ 395063 h 1451770"/>
                <a:gd name="connsiteX1003" fmla="*/ 1244836 w 3773795"/>
                <a:gd name="connsiteY1003" fmla="*/ 397958 h 1451770"/>
                <a:gd name="connsiteX1004" fmla="*/ 1243203 w 3773795"/>
                <a:gd name="connsiteY1004" fmla="*/ 398911 h 1451770"/>
                <a:gd name="connsiteX1005" fmla="*/ 1236051 w 3773795"/>
                <a:gd name="connsiteY1005" fmla="*/ 399017 h 1451770"/>
                <a:gd name="connsiteX1006" fmla="*/ 1232527 w 3773795"/>
                <a:gd name="connsiteY1006" fmla="*/ 400056 h 1451770"/>
                <a:gd name="connsiteX1007" fmla="*/ 1233205 w 3773795"/>
                <a:gd name="connsiteY1007" fmla="*/ 398132 h 1451770"/>
                <a:gd name="connsiteX1008" fmla="*/ 1237511 w 3773795"/>
                <a:gd name="connsiteY1008" fmla="*/ 395432 h 1451770"/>
                <a:gd name="connsiteX1009" fmla="*/ 2704917 w 3773795"/>
                <a:gd name="connsiteY1009" fmla="*/ 379370 h 1451770"/>
                <a:gd name="connsiteX1010" fmla="*/ 2710512 w 3773795"/>
                <a:gd name="connsiteY1010" fmla="*/ 380191 h 1451770"/>
                <a:gd name="connsiteX1011" fmla="*/ 2716045 w 3773795"/>
                <a:gd name="connsiteY1011" fmla="*/ 382100 h 1451770"/>
                <a:gd name="connsiteX1012" fmla="*/ 2720558 w 3773795"/>
                <a:gd name="connsiteY1012" fmla="*/ 384185 h 1451770"/>
                <a:gd name="connsiteX1013" fmla="*/ 2736138 w 3773795"/>
                <a:gd name="connsiteY1013" fmla="*/ 394231 h 1451770"/>
                <a:gd name="connsiteX1014" fmla="*/ 2737619 w 3773795"/>
                <a:gd name="connsiteY1014" fmla="*/ 396277 h 1451770"/>
                <a:gd name="connsiteX1015" fmla="*/ 2738796 w 3773795"/>
                <a:gd name="connsiteY1015" fmla="*/ 398922 h 1451770"/>
                <a:gd name="connsiteX1016" fmla="*/ 2739400 w 3773795"/>
                <a:gd name="connsiteY1016" fmla="*/ 407959 h 1451770"/>
                <a:gd name="connsiteX1017" fmla="*/ 2738520 w 3773795"/>
                <a:gd name="connsiteY1017" fmla="*/ 408602 h 1451770"/>
                <a:gd name="connsiteX1018" fmla="*/ 2732810 w 3773795"/>
                <a:gd name="connsiteY1018" fmla="*/ 409049 h 1451770"/>
                <a:gd name="connsiteX1019" fmla="*/ 2725034 w 3773795"/>
                <a:gd name="connsiteY1019" fmla="*/ 408028 h 1451770"/>
                <a:gd name="connsiteX1020" fmla="*/ 2719403 w 3773795"/>
                <a:gd name="connsiteY1020" fmla="*/ 407667 h 1451770"/>
                <a:gd name="connsiteX1021" fmla="*/ 2713991 w 3773795"/>
                <a:gd name="connsiteY1021" fmla="*/ 407686 h 1451770"/>
                <a:gd name="connsiteX1022" fmla="*/ 2709219 w 3773795"/>
                <a:gd name="connsiteY1022" fmla="*/ 406463 h 1451770"/>
                <a:gd name="connsiteX1023" fmla="*/ 2697507 w 3773795"/>
                <a:gd name="connsiteY1023" fmla="*/ 405224 h 1451770"/>
                <a:gd name="connsiteX1024" fmla="*/ 2688353 w 3773795"/>
                <a:gd name="connsiteY1024" fmla="*/ 401891 h 1451770"/>
                <a:gd name="connsiteX1025" fmla="*/ 2678873 w 3773795"/>
                <a:gd name="connsiteY1025" fmla="*/ 399469 h 1451770"/>
                <a:gd name="connsiteX1026" fmla="*/ 2676856 w 3773795"/>
                <a:gd name="connsiteY1026" fmla="*/ 399215 h 1451770"/>
                <a:gd name="connsiteX1027" fmla="*/ 2670879 w 3773795"/>
                <a:gd name="connsiteY1027" fmla="*/ 399925 h 1451770"/>
                <a:gd name="connsiteX1028" fmla="*/ 2662796 w 3773795"/>
                <a:gd name="connsiteY1028" fmla="*/ 403073 h 1451770"/>
                <a:gd name="connsiteX1029" fmla="*/ 2660545 w 3773795"/>
                <a:gd name="connsiteY1029" fmla="*/ 403337 h 1451770"/>
                <a:gd name="connsiteX1030" fmla="*/ 2657459 w 3773795"/>
                <a:gd name="connsiteY1030" fmla="*/ 403337 h 1451770"/>
                <a:gd name="connsiteX1031" fmla="*/ 2655247 w 3773795"/>
                <a:gd name="connsiteY1031" fmla="*/ 400335 h 1451770"/>
                <a:gd name="connsiteX1032" fmla="*/ 2660434 w 3773795"/>
                <a:gd name="connsiteY1032" fmla="*/ 399361 h 1451770"/>
                <a:gd name="connsiteX1033" fmla="*/ 2665632 w 3773795"/>
                <a:gd name="connsiteY1033" fmla="*/ 398980 h 1451770"/>
                <a:gd name="connsiteX1034" fmla="*/ 2670618 w 3773795"/>
                <a:gd name="connsiteY1034" fmla="*/ 397893 h 1451770"/>
                <a:gd name="connsiteX1035" fmla="*/ 2675325 w 3773795"/>
                <a:gd name="connsiteY1035" fmla="*/ 394410 h 1451770"/>
                <a:gd name="connsiteX1036" fmla="*/ 2677623 w 3773795"/>
                <a:gd name="connsiteY1036" fmla="*/ 391646 h 1451770"/>
                <a:gd name="connsiteX1037" fmla="*/ 2681743 w 3773795"/>
                <a:gd name="connsiteY1037" fmla="*/ 385283 h 1451770"/>
                <a:gd name="connsiteX1038" fmla="*/ 2683950 w 3773795"/>
                <a:gd name="connsiteY1038" fmla="*/ 382961 h 1451770"/>
                <a:gd name="connsiteX1039" fmla="*/ 2686186 w 3773795"/>
                <a:gd name="connsiteY1039" fmla="*/ 381484 h 1451770"/>
                <a:gd name="connsiteX1040" fmla="*/ 2688513 w 3773795"/>
                <a:gd name="connsiteY1040" fmla="*/ 381028 h 1451770"/>
                <a:gd name="connsiteX1041" fmla="*/ 2691209 w 3773795"/>
                <a:gd name="connsiteY1041" fmla="*/ 381226 h 1451770"/>
                <a:gd name="connsiteX1042" fmla="*/ 2699392 w 3773795"/>
                <a:gd name="connsiteY1042" fmla="*/ 379833 h 1451770"/>
                <a:gd name="connsiteX1043" fmla="*/ 2317908 w 3773795"/>
                <a:gd name="connsiteY1043" fmla="*/ 378160 h 1451770"/>
                <a:gd name="connsiteX1044" fmla="*/ 2320517 w 3773795"/>
                <a:gd name="connsiteY1044" fmla="*/ 378556 h 1451770"/>
                <a:gd name="connsiteX1045" fmla="*/ 2322490 w 3773795"/>
                <a:gd name="connsiteY1045" fmla="*/ 379997 h 1451770"/>
                <a:gd name="connsiteX1046" fmla="*/ 2322844 w 3773795"/>
                <a:gd name="connsiteY1046" fmla="*/ 380529 h 1451770"/>
                <a:gd name="connsiteX1047" fmla="*/ 2320413 w 3773795"/>
                <a:gd name="connsiteY1047" fmla="*/ 382163 h 1451770"/>
                <a:gd name="connsiteX1048" fmla="*/ 2319059 w 3773795"/>
                <a:gd name="connsiteY1048" fmla="*/ 382257 h 1451770"/>
                <a:gd name="connsiteX1049" fmla="*/ 2316509 w 3773795"/>
                <a:gd name="connsiteY1049" fmla="*/ 381108 h 1451770"/>
                <a:gd name="connsiteX1050" fmla="*/ 2315831 w 3773795"/>
                <a:gd name="connsiteY1050" fmla="*/ 379570 h 1451770"/>
                <a:gd name="connsiteX1051" fmla="*/ 2315848 w 3773795"/>
                <a:gd name="connsiteY1051" fmla="*/ 378792 h 1451770"/>
                <a:gd name="connsiteX1052" fmla="*/ 1405122 w 3773795"/>
                <a:gd name="connsiteY1052" fmla="*/ 369142 h 1451770"/>
                <a:gd name="connsiteX1053" fmla="*/ 1413164 w 3773795"/>
                <a:gd name="connsiteY1053" fmla="*/ 370409 h 1451770"/>
                <a:gd name="connsiteX1054" fmla="*/ 1415483 w 3773795"/>
                <a:gd name="connsiteY1054" fmla="*/ 371834 h 1451770"/>
                <a:gd name="connsiteX1055" fmla="*/ 1413950 w 3773795"/>
                <a:gd name="connsiteY1055" fmla="*/ 372598 h 1451770"/>
                <a:gd name="connsiteX1056" fmla="*/ 1412773 w 3773795"/>
                <a:gd name="connsiteY1056" fmla="*/ 373608 h 1451770"/>
                <a:gd name="connsiteX1057" fmla="*/ 1411760 w 3773795"/>
                <a:gd name="connsiteY1057" fmla="*/ 373468 h 1451770"/>
                <a:gd name="connsiteX1058" fmla="*/ 1410890 w 3773795"/>
                <a:gd name="connsiteY1058" fmla="*/ 373992 h 1451770"/>
                <a:gd name="connsiteX1059" fmla="*/ 1405326 w 3773795"/>
                <a:gd name="connsiteY1059" fmla="*/ 372444 h 1451770"/>
                <a:gd name="connsiteX1060" fmla="*/ 1397781 w 3773795"/>
                <a:gd name="connsiteY1060" fmla="*/ 371741 h 1451770"/>
                <a:gd name="connsiteX1061" fmla="*/ 1399664 w 3773795"/>
                <a:gd name="connsiteY1061" fmla="*/ 370126 h 1451770"/>
                <a:gd name="connsiteX1062" fmla="*/ 1391320 w 3773795"/>
                <a:gd name="connsiteY1062" fmla="*/ 368717 h 1451770"/>
                <a:gd name="connsiteX1063" fmla="*/ 1393209 w 3773795"/>
                <a:gd name="connsiteY1063" fmla="*/ 369275 h 1451770"/>
                <a:gd name="connsiteX1064" fmla="*/ 1394933 w 3773795"/>
                <a:gd name="connsiteY1064" fmla="*/ 370891 h 1451770"/>
                <a:gd name="connsiteX1065" fmla="*/ 1395397 w 3773795"/>
                <a:gd name="connsiteY1065" fmla="*/ 371773 h 1451770"/>
                <a:gd name="connsiteX1066" fmla="*/ 1393248 w 3773795"/>
                <a:gd name="connsiteY1066" fmla="*/ 373262 h 1451770"/>
                <a:gd name="connsiteX1067" fmla="*/ 1390271 w 3773795"/>
                <a:gd name="connsiteY1067" fmla="*/ 372425 h 1451770"/>
                <a:gd name="connsiteX1068" fmla="*/ 1388135 w 3773795"/>
                <a:gd name="connsiteY1068" fmla="*/ 371411 h 1451770"/>
                <a:gd name="connsiteX1069" fmla="*/ 1386982 w 3773795"/>
                <a:gd name="connsiteY1069" fmla="*/ 370031 h 1451770"/>
                <a:gd name="connsiteX1070" fmla="*/ 1388154 w 3773795"/>
                <a:gd name="connsiteY1070" fmla="*/ 369243 h 1451770"/>
                <a:gd name="connsiteX1071" fmla="*/ 2560197 w 3773795"/>
                <a:gd name="connsiteY1071" fmla="*/ 364726 h 1451770"/>
                <a:gd name="connsiteX1072" fmla="*/ 2565533 w 3773795"/>
                <a:gd name="connsiteY1072" fmla="*/ 366179 h 1451770"/>
                <a:gd name="connsiteX1073" fmla="*/ 2574566 w 3773795"/>
                <a:gd name="connsiteY1073" fmla="*/ 371796 h 1451770"/>
                <a:gd name="connsiteX1074" fmla="*/ 2579483 w 3773795"/>
                <a:gd name="connsiteY1074" fmla="*/ 376350 h 1451770"/>
                <a:gd name="connsiteX1075" fmla="*/ 2578119 w 3773795"/>
                <a:gd name="connsiteY1075" fmla="*/ 379427 h 1451770"/>
                <a:gd name="connsiteX1076" fmla="*/ 2576442 w 3773795"/>
                <a:gd name="connsiteY1076" fmla="*/ 380660 h 1451770"/>
                <a:gd name="connsiteX1077" fmla="*/ 2574890 w 3773795"/>
                <a:gd name="connsiteY1077" fmla="*/ 378760 h 1451770"/>
                <a:gd name="connsiteX1078" fmla="*/ 2567440 w 3773795"/>
                <a:gd name="connsiteY1078" fmla="*/ 373128 h 1451770"/>
                <a:gd name="connsiteX1079" fmla="*/ 2565646 w 3773795"/>
                <a:gd name="connsiteY1079" fmla="*/ 370449 h 1451770"/>
                <a:gd name="connsiteX1080" fmla="*/ 2561560 w 3773795"/>
                <a:gd name="connsiteY1080" fmla="*/ 367925 h 1451770"/>
                <a:gd name="connsiteX1081" fmla="*/ 2560538 w 3773795"/>
                <a:gd name="connsiteY1081" fmla="*/ 366970 h 1451770"/>
                <a:gd name="connsiteX1082" fmla="*/ 2680978 w 3773795"/>
                <a:gd name="connsiteY1082" fmla="*/ 363840 h 1451770"/>
                <a:gd name="connsiteX1083" fmla="*/ 2683082 w 3773795"/>
                <a:gd name="connsiteY1083" fmla="*/ 364237 h 1451770"/>
                <a:gd name="connsiteX1084" fmla="*/ 2685166 w 3773795"/>
                <a:gd name="connsiteY1084" fmla="*/ 365189 h 1451770"/>
                <a:gd name="connsiteX1085" fmla="*/ 2686070 w 3773795"/>
                <a:gd name="connsiteY1085" fmla="*/ 366639 h 1451770"/>
                <a:gd name="connsiteX1086" fmla="*/ 2686468 w 3773795"/>
                <a:gd name="connsiteY1086" fmla="*/ 368439 h 1451770"/>
                <a:gd name="connsiteX1087" fmla="*/ 2685349 w 3773795"/>
                <a:gd name="connsiteY1087" fmla="*/ 373523 h 1451770"/>
                <a:gd name="connsiteX1088" fmla="*/ 2684539 w 3773795"/>
                <a:gd name="connsiteY1088" fmla="*/ 375724 h 1451770"/>
                <a:gd name="connsiteX1089" fmla="*/ 2673417 w 3773795"/>
                <a:gd name="connsiteY1089" fmla="*/ 379210 h 1451770"/>
                <a:gd name="connsiteX1090" fmla="*/ 2671255 w 3773795"/>
                <a:gd name="connsiteY1090" fmla="*/ 379080 h 1451770"/>
                <a:gd name="connsiteX1091" fmla="*/ 2666251 w 3773795"/>
                <a:gd name="connsiteY1091" fmla="*/ 375502 h 1451770"/>
                <a:gd name="connsiteX1092" fmla="*/ 2664446 w 3773795"/>
                <a:gd name="connsiteY1092" fmla="*/ 367725 h 1451770"/>
                <a:gd name="connsiteX1093" fmla="*/ 2666481 w 3773795"/>
                <a:gd name="connsiteY1093" fmla="*/ 365450 h 1451770"/>
                <a:gd name="connsiteX1094" fmla="*/ 2668841 w 3773795"/>
                <a:gd name="connsiteY1094" fmla="*/ 364559 h 1451770"/>
                <a:gd name="connsiteX1095" fmla="*/ 2671209 w 3773795"/>
                <a:gd name="connsiteY1095" fmla="*/ 364158 h 1451770"/>
                <a:gd name="connsiteX1096" fmla="*/ 1443223 w 3773795"/>
                <a:gd name="connsiteY1096" fmla="*/ 353303 h 1451770"/>
                <a:gd name="connsiteX1097" fmla="*/ 1440705 w 3773795"/>
                <a:gd name="connsiteY1097" fmla="*/ 355753 h 1451770"/>
                <a:gd name="connsiteX1098" fmla="*/ 1439632 w 3773795"/>
                <a:gd name="connsiteY1098" fmla="*/ 358354 h 1451770"/>
                <a:gd name="connsiteX1099" fmla="*/ 1433406 w 3773795"/>
                <a:gd name="connsiteY1099" fmla="*/ 357023 h 1451770"/>
                <a:gd name="connsiteX1100" fmla="*/ 1432534 w 3773795"/>
                <a:gd name="connsiteY1100" fmla="*/ 355971 h 1451770"/>
                <a:gd name="connsiteX1101" fmla="*/ 1435870 w 3773795"/>
                <a:gd name="connsiteY1101" fmla="*/ 354399 h 1451770"/>
                <a:gd name="connsiteX1102" fmla="*/ 1438956 w 3773795"/>
                <a:gd name="connsiteY1102" fmla="*/ 353441 h 1451770"/>
                <a:gd name="connsiteX1103" fmla="*/ 2044929 w 3773795"/>
                <a:gd name="connsiteY1103" fmla="*/ 351840 h 1451770"/>
                <a:gd name="connsiteX1104" fmla="*/ 2064107 w 3773795"/>
                <a:gd name="connsiteY1104" fmla="*/ 354873 h 1451770"/>
                <a:gd name="connsiteX1105" fmla="*/ 2071503 w 3773795"/>
                <a:gd name="connsiteY1105" fmla="*/ 356557 h 1451770"/>
                <a:gd name="connsiteX1106" fmla="*/ 2073735 w 3773795"/>
                <a:gd name="connsiteY1106" fmla="*/ 358327 h 1451770"/>
                <a:gd name="connsiteX1107" fmla="*/ 2072982 w 3773795"/>
                <a:gd name="connsiteY1107" fmla="*/ 360394 h 1451770"/>
                <a:gd name="connsiteX1108" fmla="*/ 2071790 w 3773795"/>
                <a:gd name="connsiteY1108" fmla="*/ 361954 h 1451770"/>
                <a:gd name="connsiteX1109" fmla="*/ 2070898 w 3773795"/>
                <a:gd name="connsiteY1109" fmla="*/ 363887 h 1451770"/>
                <a:gd name="connsiteX1110" fmla="*/ 2069380 w 3773795"/>
                <a:gd name="connsiteY1110" fmla="*/ 365338 h 1451770"/>
                <a:gd name="connsiteX1111" fmla="*/ 2064679 w 3773795"/>
                <a:gd name="connsiteY1111" fmla="*/ 367181 h 1451770"/>
                <a:gd name="connsiteX1112" fmla="*/ 2061001 w 3773795"/>
                <a:gd name="connsiteY1112" fmla="*/ 371251 h 1451770"/>
                <a:gd name="connsiteX1113" fmla="*/ 2060363 w 3773795"/>
                <a:gd name="connsiteY1113" fmla="*/ 371591 h 1451770"/>
                <a:gd name="connsiteX1114" fmla="*/ 2047391 w 3773795"/>
                <a:gd name="connsiteY1114" fmla="*/ 369375 h 1451770"/>
                <a:gd name="connsiteX1115" fmla="*/ 2045384 w 3773795"/>
                <a:gd name="connsiteY1115" fmla="*/ 368638 h 1451770"/>
                <a:gd name="connsiteX1116" fmla="*/ 2041118 w 3773795"/>
                <a:gd name="connsiteY1116" fmla="*/ 366209 h 1451770"/>
                <a:gd name="connsiteX1117" fmla="*/ 2035167 w 3773795"/>
                <a:gd name="connsiteY1117" fmla="*/ 363876 h 1451770"/>
                <a:gd name="connsiteX1118" fmla="*/ 2032081 w 3773795"/>
                <a:gd name="connsiteY1118" fmla="*/ 360390 h 1451770"/>
                <a:gd name="connsiteX1119" fmla="*/ 2033556 w 3773795"/>
                <a:gd name="connsiteY1119" fmla="*/ 359727 h 1451770"/>
                <a:gd name="connsiteX1120" fmla="*/ 2035046 w 3773795"/>
                <a:gd name="connsiteY1120" fmla="*/ 359465 h 1451770"/>
                <a:gd name="connsiteX1121" fmla="*/ 2040403 w 3773795"/>
                <a:gd name="connsiteY1121" fmla="*/ 359922 h 1451770"/>
                <a:gd name="connsiteX1122" fmla="*/ 2041938 w 3773795"/>
                <a:gd name="connsiteY1122" fmla="*/ 358835 h 1451770"/>
                <a:gd name="connsiteX1123" fmla="*/ 2042682 w 3773795"/>
                <a:gd name="connsiteY1123" fmla="*/ 355890 h 1451770"/>
                <a:gd name="connsiteX1124" fmla="*/ 2042826 w 3773795"/>
                <a:gd name="connsiteY1124" fmla="*/ 354145 h 1451770"/>
                <a:gd name="connsiteX1125" fmla="*/ 2043230 w 3773795"/>
                <a:gd name="connsiteY1125" fmla="*/ 352812 h 1451770"/>
                <a:gd name="connsiteX1126" fmla="*/ 1481535 w 3773795"/>
                <a:gd name="connsiteY1126" fmla="*/ 332319 h 1451770"/>
                <a:gd name="connsiteX1127" fmla="*/ 1482588 w 3773795"/>
                <a:gd name="connsiteY1127" fmla="*/ 332828 h 1451770"/>
                <a:gd name="connsiteX1128" fmla="*/ 1484445 w 3773795"/>
                <a:gd name="connsiteY1128" fmla="*/ 333637 h 1451770"/>
                <a:gd name="connsiteX1129" fmla="*/ 1490271 w 3773795"/>
                <a:gd name="connsiteY1129" fmla="*/ 332358 h 1451770"/>
                <a:gd name="connsiteX1130" fmla="*/ 1491412 w 3773795"/>
                <a:gd name="connsiteY1130" fmla="*/ 332772 h 1451770"/>
                <a:gd name="connsiteX1131" fmla="*/ 1493007 w 3773795"/>
                <a:gd name="connsiteY1131" fmla="*/ 334657 h 1451770"/>
                <a:gd name="connsiteX1132" fmla="*/ 1490518 w 3773795"/>
                <a:gd name="connsiteY1132" fmla="*/ 338098 h 1451770"/>
                <a:gd name="connsiteX1133" fmla="*/ 1488648 w 3773795"/>
                <a:gd name="connsiteY1133" fmla="*/ 339471 h 1451770"/>
                <a:gd name="connsiteX1134" fmla="*/ 1483448 w 3773795"/>
                <a:gd name="connsiteY1134" fmla="*/ 338699 h 1451770"/>
                <a:gd name="connsiteX1135" fmla="*/ 1476782 w 3773795"/>
                <a:gd name="connsiteY1135" fmla="*/ 338584 h 1451770"/>
                <a:gd name="connsiteX1136" fmla="*/ 1473864 w 3773795"/>
                <a:gd name="connsiteY1136" fmla="*/ 336705 h 1451770"/>
                <a:gd name="connsiteX1137" fmla="*/ 1475458 w 3773795"/>
                <a:gd name="connsiteY1137" fmla="*/ 334699 h 1451770"/>
                <a:gd name="connsiteX1138" fmla="*/ 1479302 w 3773795"/>
                <a:gd name="connsiteY1138" fmla="*/ 333506 h 1451770"/>
                <a:gd name="connsiteX1139" fmla="*/ 1383361 w 3773795"/>
                <a:gd name="connsiteY1139" fmla="*/ 309055 h 1451770"/>
                <a:gd name="connsiteX1140" fmla="*/ 1383509 w 3773795"/>
                <a:gd name="connsiteY1140" fmla="*/ 313360 h 1451770"/>
                <a:gd name="connsiteX1141" fmla="*/ 1384315 w 3773795"/>
                <a:gd name="connsiteY1141" fmla="*/ 314808 h 1451770"/>
                <a:gd name="connsiteX1142" fmla="*/ 1384598 w 3773795"/>
                <a:gd name="connsiteY1142" fmla="*/ 316433 h 1451770"/>
                <a:gd name="connsiteX1143" fmla="*/ 1383663 w 3773795"/>
                <a:gd name="connsiteY1143" fmla="*/ 316949 h 1451770"/>
                <a:gd name="connsiteX1144" fmla="*/ 1380806 w 3773795"/>
                <a:gd name="connsiteY1144" fmla="*/ 316860 h 1451770"/>
                <a:gd name="connsiteX1145" fmla="*/ 1379223 w 3773795"/>
                <a:gd name="connsiteY1145" fmla="*/ 321040 h 1451770"/>
                <a:gd name="connsiteX1146" fmla="*/ 1377599 w 3773795"/>
                <a:gd name="connsiteY1146" fmla="*/ 320342 h 1451770"/>
                <a:gd name="connsiteX1147" fmla="*/ 1376614 w 3773795"/>
                <a:gd name="connsiteY1147" fmla="*/ 317950 h 1451770"/>
                <a:gd name="connsiteX1148" fmla="*/ 1373013 w 3773795"/>
                <a:gd name="connsiteY1148" fmla="*/ 319553 h 1451770"/>
                <a:gd name="connsiteX1149" fmla="*/ 1372065 w 3773795"/>
                <a:gd name="connsiteY1149" fmla="*/ 319179 h 1451770"/>
                <a:gd name="connsiteX1150" fmla="*/ 1370395 w 3773795"/>
                <a:gd name="connsiteY1150" fmla="*/ 317306 h 1451770"/>
                <a:gd name="connsiteX1151" fmla="*/ 1369353 w 3773795"/>
                <a:gd name="connsiteY1151" fmla="*/ 316923 h 1451770"/>
                <a:gd name="connsiteX1152" fmla="*/ 1368655 w 3773795"/>
                <a:gd name="connsiteY1152" fmla="*/ 315657 h 1451770"/>
                <a:gd name="connsiteX1153" fmla="*/ 1373332 w 3773795"/>
                <a:gd name="connsiteY1153" fmla="*/ 311928 h 1451770"/>
                <a:gd name="connsiteX1154" fmla="*/ 1376209 w 3773795"/>
                <a:gd name="connsiteY1154" fmla="*/ 313911 h 1451770"/>
                <a:gd name="connsiteX1155" fmla="*/ 1378074 w 3773795"/>
                <a:gd name="connsiteY1155" fmla="*/ 313781 h 1451770"/>
                <a:gd name="connsiteX1156" fmla="*/ 1377703 w 3773795"/>
                <a:gd name="connsiteY1156" fmla="*/ 311544 h 1451770"/>
                <a:gd name="connsiteX1157" fmla="*/ 1377770 w 3773795"/>
                <a:gd name="connsiteY1157" fmla="*/ 309857 h 1451770"/>
                <a:gd name="connsiteX1158" fmla="*/ 1380182 w 3773795"/>
                <a:gd name="connsiteY1158" fmla="*/ 309151 h 1451770"/>
                <a:gd name="connsiteX1159" fmla="*/ 2806758 w 3773795"/>
                <a:gd name="connsiteY1159" fmla="*/ 306089 h 1451770"/>
                <a:gd name="connsiteX1160" fmla="*/ 2811479 w 3773795"/>
                <a:gd name="connsiteY1160" fmla="*/ 309286 h 1451770"/>
                <a:gd name="connsiteX1161" fmla="*/ 2811418 w 3773795"/>
                <a:gd name="connsiteY1161" fmla="*/ 312945 h 1451770"/>
                <a:gd name="connsiteX1162" fmla="*/ 2812457 w 3773795"/>
                <a:gd name="connsiteY1162" fmla="*/ 315531 h 1451770"/>
                <a:gd name="connsiteX1163" fmla="*/ 2818319 w 3773795"/>
                <a:gd name="connsiteY1163" fmla="*/ 315819 h 1451770"/>
                <a:gd name="connsiteX1164" fmla="*/ 2826793 w 3773795"/>
                <a:gd name="connsiteY1164" fmla="*/ 312528 h 1451770"/>
                <a:gd name="connsiteX1165" fmla="*/ 2827975 w 3773795"/>
                <a:gd name="connsiteY1165" fmla="*/ 312415 h 1451770"/>
                <a:gd name="connsiteX1166" fmla="*/ 2848659 w 3773795"/>
                <a:gd name="connsiteY1166" fmla="*/ 313621 h 1451770"/>
                <a:gd name="connsiteX1167" fmla="*/ 2850350 w 3773795"/>
                <a:gd name="connsiteY1167" fmla="*/ 314786 h 1451770"/>
                <a:gd name="connsiteX1168" fmla="*/ 2850570 w 3773795"/>
                <a:gd name="connsiteY1168" fmla="*/ 317060 h 1451770"/>
                <a:gd name="connsiteX1169" fmla="*/ 2849914 w 3773795"/>
                <a:gd name="connsiteY1169" fmla="*/ 318268 h 1451770"/>
                <a:gd name="connsiteX1170" fmla="*/ 2849601 w 3773795"/>
                <a:gd name="connsiteY1170" fmla="*/ 319914 h 1451770"/>
                <a:gd name="connsiteX1171" fmla="*/ 2852147 w 3773795"/>
                <a:gd name="connsiteY1171" fmla="*/ 321518 h 1451770"/>
                <a:gd name="connsiteX1172" fmla="*/ 2858826 w 3773795"/>
                <a:gd name="connsiteY1172" fmla="*/ 321885 h 1451770"/>
                <a:gd name="connsiteX1173" fmla="*/ 2863049 w 3773795"/>
                <a:gd name="connsiteY1173" fmla="*/ 320375 h 1451770"/>
                <a:gd name="connsiteX1174" fmla="*/ 2875479 w 3773795"/>
                <a:gd name="connsiteY1174" fmla="*/ 321153 h 1451770"/>
                <a:gd name="connsiteX1175" fmla="*/ 2885619 w 3773795"/>
                <a:gd name="connsiteY1175" fmla="*/ 322280 h 1451770"/>
                <a:gd name="connsiteX1176" fmla="*/ 2889528 w 3773795"/>
                <a:gd name="connsiteY1176" fmla="*/ 324733 h 1451770"/>
                <a:gd name="connsiteX1177" fmla="*/ 2892547 w 3773795"/>
                <a:gd name="connsiteY1177" fmla="*/ 326051 h 1451770"/>
                <a:gd name="connsiteX1178" fmla="*/ 2895054 w 3773795"/>
                <a:gd name="connsiteY1178" fmla="*/ 327580 h 1451770"/>
                <a:gd name="connsiteX1179" fmla="*/ 2896874 w 3773795"/>
                <a:gd name="connsiteY1179" fmla="*/ 326679 h 1451770"/>
                <a:gd name="connsiteX1180" fmla="*/ 2898587 w 3773795"/>
                <a:gd name="connsiteY1180" fmla="*/ 325120 h 1451770"/>
                <a:gd name="connsiteX1181" fmla="*/ 2900059 w 3773795"/>
                <a:gd name="connsiteY1181" fmla="*/ 324805 h 1451770"/>
                <a:gd name="connsiteX1182" fmla="*/ 2901506 w 3773795"/>
                <a:gd name="connsiteY1182" fmla="*/ 325065 h 1451770"/>
                <a:gd name="connsiteX1183" fmla="*/ 2897612 w 3773795"/>
                <a:gd name="connsiteY1183" fmla="*/ 334451 h 1451770"/>
                <a:gd name="connsiteX1184" fmla="*/ 2896153 w 3773795"/>
                <a:gd name="connsiteY1184" fmla="*/ 335583 h 1451770"/>
                <a:gd name="connsiteX1185" fmla="*/ 2890646 w 3773795"/>
                <a:gd name="connsiteY1185" fmla="*/ 337883 h 1451770"/>
                <a:gd name="connsiteX1186" fmla="*/ 2879741 w 3773795"/>
                <a:gd name="connsiteY1186" fmla="*/ 341031 h 1451770"/>
                <a:gd name="connsiteX1187" fmla="*/ 2874408 w 3773795"/>
                <a:gd name="connsiteY1187" fmla="*/ 342030 h 1451770"/>
                <a:gd name="connsiteX1188" fmla="*/ 2862320 w 3773795"/>
                <a:gd name="connsiteY1188" fmla="*/ 342037 h 1451770"/>
                <a:gd name="connsiteX1189" fmla="*/ 2845662 w 3773795"/>
                <a:gd name="connsiteY1189" fmla="*/ 340806 h 1451770"/>
                <a:gd name="connsiteX1190" fmla="*/ 2841140 w 3773795"/>
                <a:gd name="connsiteY1190" fmla="*/ 339694 h 1451770"/>
                <a:gd name="connsiteX1191" fmla="*/ 2838476 w 3773795"/>
                <a:gd name="connsiteY1191" fmla="*/ 338300 h 1451770"/>
                <a:gd name="connsiteX1192" fmla="*/ 2833369 w 3773795"/>
                <a:gd name="connsiteY1192" fmla="*/ 335007 h 1451770"/>
                <a:gd name="connsiteX1193" fmla="*/ 2830847 w 3773795"/>
                <a:gd name="connsiteY1193" fmla="*/ 333816 h 1451770"/>
                <a:gd name="connsiteX1194" fmla="*/ 2822669 w 3773795"/>
                <a:gd name="connsiteY1194" fmla="*/ 332697 h 1451770"/>
                <a:gd name="connsiteX1195" fmla="*/ 2820171 w 3773795"/>
                <a:gd name="connsiteY1195" fmla="*/ 332071 h 1451770"/>
                <a:gd name="connsiteX1196" fmla="*/ 2815324 w 3773795"/>
                <a:gd name="connsiteY1196" fmla="*/ 329235 h 1451770"/>
                <a:gd name="connsiteX1197" fmla="*/ 2810425 w 3773795"/>
                <a:gd name="connsiteY1197" fmla="*/ 326943 h 1451770"/>
                <a:gd name="connsiteX1198" fmla="*/ 2798158 w 3773795"/>
                <a:gd name="connsiteY1198" fmla="*/ 323211 h 1451770"/>
                <a:gd name="connsiteX1199" fmla="*/ 2798989 w 3773795"/>
                <a:gd name="connsiteY1199" fmla="*/ 318884 h 1451770"/>
                <a:gd name="connsiteX1200" fmla="*/ 2800569 w 3773795"/>
                <a:gd name="connsiteY1200" fmla="*/ 314504 h 1451770"/>
                <a:gd name="connsiteX1201" fmla="*/ 2802457 w 3773795"/>
                <a:gd name="connsiteY1201" fmla="*/ 310609 h 1451770"/>
                <a:gd name="connsiteX1202" fmla="*/ 2804569 w 3773795"/>
                <a:gd name="connsiteY1202" fmla="*/ 307147 h 1451770"/>
                <a:gd name="connsiteX1203" fmla="*/ 2567088 w 3773795"/>
                <a:gd name="connsiteY1203" fmla="*/ 294232 h 1451770"/>
                <a:gd name="connsiteX1204" fmla="*/ 2569070 w 3773795"/>
                <a:gd name="connsiteY1204" fmla="*/ 296343 h 1451770"/>
                <a:gd name="connsiteX1205" fmla="*/ 2570418 w 3773795"/>
                <a:gd name="connsiteY1205" fmla="*/ 299463 h 1451770"/>
                <a:gd name="connsiteX1206" fmla="*/ 2571647 w 3773795"/>
                <a:gd name="connsiteY1206" fmla="*/ 301032 h 1451770"/>
                <a:gd name="connsiteX1207" fmla="*/ 2576568 w 3773795"/>
                <a:gd name="connsiteY1207" fmla="*/ 304124 h 1451770"/>
                <a:gd name="connsiteX1208" fmla="*/ 2577488 w 3773795"/>
                <a:gd name="connsiteY1208" fmla="*/ 305022 h 1451770"/>
                <a:gd name="connsiteX1209" fmla="*/ 2573385 w 3773795"/>
                <a:gd name="connsiteY1209" fmla="*/ 308772 h 1451770"/>
                <a:gd name="connsiteX1210" fmla="*/ 2572981 w 3773795"/>
                <a:gd name="connsiteY1210" fmla="*/ 310375 h 1451770"/>
                <a:gd name="connsiteX1211" fmla="*/ 2574206 w 3773795"/>
                <a:gd name="connsiteY1211" fmla="*/ 312511 h 1451770"/>
                <a:gd name="connsiteX1212" fmla="*/ 2572617 w 3773795"/>
                <a:gd name="connsiteY1212" fmla="*/ 313798 h 1451770"/>
                <a:gd name="connsiteX1213" fmla="*/ 2568133 w 3773795"/>
                <a:gd name="connsiteY1213" fmla="*/ 315030 h 1451770"/>
                <a:gd name="connsiteX1214" fmla="*/ 2561634 w 3773795"/>
                <a:gd name="connsiteY1214" fmla="*/ 314692 h 1451770"/>
                <a:gd name="connsiteX1215" fmla="*/ 2562100 w 3773795"/>
                <a:gd name="connsiteY1215" fmla="*/ 311399 h 1451770"/>
                <a:gd name="connsiteX1216" fmla="*/ 2563214 w 3773795"/>
                <a:gd name="connsiteY1216" fmla="*/ 309940 h 1451770"/>
                <a:gd name="connsiteX1217" fmla="*/ 2564745 w 3773795"/>
                <a:gd name="connsiteY1217" fmla="*/ 306328 h 1451770"/>
                <a:gd name="connsiteX1218" fmla="*/ 2564050 w 3773795"/>
                <a:gd name="connsiteY1218" fmla="*/ 303635 h 1451770"/>
                <a:gd name="connsiteX1219" fmla="*/ 2564430 w 3773795"/>
                <a:gd name="connsiteY1219" fmla="*/ 300331 h 1451770"/>
                <a:gd name="connsiteX1220" fmla="*/ 2565213 w 3773795"/>
                <a:gd name="connsiteY1220" fmla="*/ 297793 h 1451770"/>
                <a:gd name="connsiteX1221" fmla="*/ 2945223 w 3773795"/>
                <a:gd name="connsiteY1221" fmla="*/ 278380 h 1451770"/>
                <a:gd name="connsiteX1222" fmla="*/ 2946011 w 3773795"/>
                <a:gd name="connsiteY1222" fmla="*/ 278821 h 1451770"/>
                <a:gd name="connsiteX1223" fmla="*/ 2946646 w 3773795"/>
                <a:gd name="connsiteY1223" fmla="*/ 279810 h 1451770"/>
                <a:gd name="connsiteX1224" fmla="*/ 2947136 w 3773795"/>
                <a:gd name="connsiteY1224" fmla="*/ 281706 h 1451770"/>
                <a:gd name="connsiteX1225" fmla="*/ 2944933 w 3773795"/>
                <a:gd name="connsiteY1225" fmla="*/ 283340 h 1451770"/>
                <a:gd name="connsiteX1226" fmla="*/ 2939897 w 3773795"/>
                <a:gd name="connsiteY1226" fmla="*/ 280712 h 1451770"/>
                <a:gd name="connsiteX1227" fmla="*/ 2941759 w 3773795"/>
                <a:gd name="connsiteY1227" fmla="*/ 279292 h 1451770"/>
                <a:gd name="connsiteX1228" fmla="*/ 2635975 w 3773795"/>
                <a:gd name="connsiteY1228" fmla="*/ 278158 h 1451770"/>
                <a:gd name="connsiteX1229" fmla="*/ 2638309 w 3773795"/>
                <a:gd name="connsiteY1229" fmla="*/ 278293 h 1451770"/>
                <a:gd name="connsiteX1230" fmla="*/ 2640477 w 3773795"/>
                <a:gd name="connsiteY1230" fmla="*/ 279961 h 1451770"/>
                <a:gd name="connsiteX1231" fmla="*/ 2642502 w 3773795"/>
                <a:gd name="connsiteY1231" fmla="*/ 282314 h 1451770"/>
                <a:gd name="connsiteX1232" fmla="*/ 2644761 w 3773795"/>
                <a:gd name="connsiteY1232" fmla="*/ 283570 h 1451770"/>
                <a:gd name="connsiteX1233" fmla="*/ 2651775 w 3773795"/>
                <a:gd name="connsiteY1233" fmla="*/ 286623 h 1451770"/>
                <a:gd name="connsiteX1234" fmla="*/ 2656525 w 3773795"/>
                <a:gd name="connsiteY1234" fmla="*/ 289358 h 1451770"/>
                <a:gd name="connsiteX1235" fmla="*/ 2663279 w 3773795"/>
                <a:gd name="connsiteY1235" fmla="*/ 294968 h 1451770"/>
                <a:gd name="connsiteX1236" fmla="*/ 2665564 w 3773795"/>
                <a:gd name="connsiteY1236" fmla="*/ 295832 h 1451770"/>
                <a:gd name="connsiteX1237" fmla="*/ 2668268 w 3773795"/>
                <a:gd name="connsiteY1237" fmla="*/ 295264 h 1451770"/>
                <a:gd name="connsiteX1238" fmla="*/ 2670804 w 3773795"/>
                <a:gd name="connsiteY1238" fmla="*/ 296462 h 1451770"/>
                <a:gd name="connsiteX1239" fmla="*/ 2673175 w 3773795"/>
                <a:gd name="connsiteY1239" fmla="*/ 301238 h 1451770"/>
                <a:gd name="connsiteX1240" fmla="*/ 2674289 w 3773795"/>
                <a:gd name="connsiteY1240" fmla="*/ 302434 h 1451770"/>
                <a:gd name="connsiteX1241" fmla="*/ 2675515 w 3773795"/>
                <a:gd name="connsiteY1241" fmla="*/ 303299 h 1451770"/>
                <a:gd name="connsiteX1242" fmla="*/ 2676722 w 3773795"/>
                <a:gd name="connsiteY1242" fmla="*/ 303740 h 1451770"/>
                <a:gd name="connsiteX1243" fmla="*/ 2680242 w 3773795"/>
                <a:gd name="connsiteY1243" fmla="*/ 303893 h 1451770"/>
                <a:gd name="connsiteX1244" fmla="*/ 2681863 w 3773795"/>
                <a:gd name="connsiteY1244" fmla="*/ 302937 h 1451770"/>
                <a:gd name="connsiteX1245" fmla="*/ 2683077 w 3773795"/>
                <a:gd name="connsiteY1245" fmla="*/ 300757 h 1451770"/>
                <a:gd name="connsiteX1246" fmla="*/ 2682995 w 3773795"/>
                <a:gd name="connsiteY1246" fmla="*/ 298550 h 1451770"/>
                <a:gd name="connsiteX1247" fmla="*/ 2682688 w 3773795"/>
                <a:gd name="connsiteY1247" fmla="*/ 296323 h 1451770"/>
                <a:gd name="connsiteX1248" fmla="*/ 2682671 w 3773795"/>
                <a:gd name="connsiteY1248" fmla="*/ 293258 h 1451770"/>
                <a:gd name="connsiteX1249" fmla="*/ 2683213 w 3773795"/>
                <a:gd name="connsiteY1249" fmla="*/ 290522 h 1451770"/>
                <a:gd name="connsiteX1250" fmla="*/ 2683989 w 3773795"/>
                <a:gd name="connsiteY1250" fmla="*/ 288841 h 1451770"/>
                <a:gd name="connsiteX1251" fmla="*/ 2685034 w 3773795"/>
                <a:gd name="connsiteY1251" fmla="*/ 287732 h 1451770"/>
                <a:gd name="connsiteX1252" fmla="*/ 2690931 w 3773795"/>
                <a:gd name="connsiteY1252" fmla="*/ 284340 h 1451770"/>
                <a:gd name="connsiteX1253" fmla="*/ 2695046 w 3773795"/>
                <a:gd name="connsiteY1253" fmla="*/ 281005 h 1451770"/>
                <a:gd name="connsiteX1254" fmla="*/ 2700726 w 3773795"/>
                <a:gd name="connsiteY1254" fmla="*/ 282328 h 1451770"/>
                <a:gd name="connsiteX1255" fmla="*/ 2706457 w 3773795"/>
                <a:gd name="connsiteY1255" fmla="*/ 285257 h 1451770"/>
                <a:gd name="connsiteX1256" fmla="*/ 2716604 w 3773795"/>
                <a:gd name="connsiteY1256" fmla="*/ 291596 h 1451770"/>
                <a:gd name="connsiteX1257" fmla="*/ 2721229 w 3773795"/>
                <a:gd name="connsiteY1257" fmla="*/ 293412 h 1451770"/>
                <a:gd name="connsiteX1258" fmla="*/ 2726917 w 3773795"/>
                <a:gd name="connsiteY1258" fmla="*/ 295061 h 1451770"/>
                <a:gd name="connsiteX1259" fmla="*/ 2732631 w 3773795"/>
                <a:gd name="connsiteY1259" fmla="*/ 295660 h 1451770"/>
                <a:gd name="connsiteX1260" fmla="*/ 2735417 w 3773795"/>
                <a:gd name="connsiteY1260" fmla="*/ 295268 h 1451770"/>
                <a:gd name="connsiteX1261" fmla="*/ 2740919 w 3773795"/>
                <a:gd name="connsiteY1261" fmla="*/ 293549 h 1451770"/>
                <a:gd name="connsiteX1262" fmla="*/ 2743702 w 3773795"/>
                <a:gd name="connsiteY1262" fmla="*/ 293401 h 1451770"/>
                <a:gd name="connsiteX1263" fmla="*/ 2778406 w 3773795"/>
                <a:gd name="connsiteY1263" fmla="*/ 305919 h 1451770"/>
                <a:gd name="connsiteX1264" fmla="*/ 2779611 w 3773795"/>
                <a:gd name="connsiteY1264" fmla="*/ 306884 h 1451770"/>
                <a:gd name="connsiteX1265" fmla="*/ 2780720 w 3773795"/>
                <a:gd name="connsiteY1265" fmla="*/ 308390 h 1451770"/>
                <a:gd name="connsiteX1266" fmla="*/ 2773280 w 3773795"/>
                <a:gd name="connsiteY1266" fmla="*/ 310213 h 1451770"/>
                <a:gd name="connsiteX1267" fmla="*/ 2768408 w 3773795"/>
                <a:gd name="connsiteY1267" fmla="*/ 313508 h 1451770"/>
                <a:gd name="connsiteX1268" fmla="*/ 2766720 w 3773795"/>
                <a:gd name="connsiteY1268" fmla="*/ 315762 h 1451770"/>
                <a:gd name="connsiteX1269" fmla="*/ 2768654 w 3773795"/>
                <a:gd name="connsiteY1269" fmla="*/ 317594 h 1451770"/>
                <a:gd name="connsiteX1270" fmla="*/ 2770185 w 3773795"/>
                <a:gd name="connsiteY1270" fmla="*/ 320069 h 1451770"/>
                <a:gd name="connsiteX1271" fmla="*/ 2759666 w 3773795"/>
                <a:gd name="connsiteY1271" fmla="*/ 327472 h 1451770"/>
                <a:gd name="connsiteX1272" fmla="*/ 2755426 w 3773795"/>
                <a:gd name="connsiteY1272" fmla="*/ 329382 h 1451770"/>
                <a:gd name="connsiteX1273" fmla="*/ 2751085 w 3773795"/>
                <a:gd name="connsiteY1273" fmla="*/ 330024 h 1451770"/>
                <a:gd name="connsiteX1274" fmla="*/ 2742377 w 3773795"/>
                <a:gd name="connsiteY1274" fmla="*/ 328283 h 1451770"/>
                <a:gd name="connsiteX1275" fmla="*/ 2737295 w 3773795"/>
                <a:gd name="connsiteY1275" fmla="*/ 328333 h 1451770"/>
                <a:gd name="connsiteX1276" fmla="*/ 2732303 w 3773795"/>
                <a:gd name="connsiteY1276" fmla="*/ 326824 h 1451770"/>
                <a:gd name="connsiteX1277" fmla="*/ 2726813 w 3773795"/>
                <a:gd name="connsiteY1277" fmla="*/ 322360 h 1451770"/>
                <a:gd name="connsiteX1278" fmla="*/ 2724559 w 3773795"/>
                <a:gd name="connsiteY1278" fmla="*/ 320119 h 1451770"/>
                <a:gd name="connsiteX1279" fmla="*/ 2722556 w 3773795"/>
                <a:gd name="connsiteY1279" fmla="*/ 317008 h 1451770"/>
                <a:gd name="connsiteX1280" fmla="*/ 2721894 w 3773795"/>
                <a:gd name="connsiteY1280" fmla="*/ 312041 h 1451770"/>
                <a:gd name="connsiteX1281" fmla="*/ 2722666 w 3773795"/>
                <a:gd name="connsiteY1281" fmla="*/ 307758 h 1451770"/>
                <a:gd name="connsiteX1282" fmla="*/ 2725609 w 3773795"/>
                <a:gd name="connsiteY1282" fmla="*/ 306538 h 1451770"/>
                <a:gd name="connsiteX1283" fmla="*/ 2728228 w 3773795"/>
                <a:gd name="connsiteY1283" fmla="*/ 303779 h 1451770"/>
                <a:gd name="connsiteX1284" fmla="*/ 2728591 w 3773795"/>
                <a:gd name="connsiteY1284" fmla="*/ 302583 h 1451770"/>
                <a:gd name="connsiteX1285" fmla="*/ 2727250 w 3773795"/>
                <a:gd name="connsiteY1285" fmla="*/ 300181 h 1451770"/>
                <a:gd name="connsiteX1286" fmla="*/ 2718621 w 3773795"/>
                <a:gd name="connsiteY1286" fmla="*/ 299838 h 1451770"/>
                <a:gd name="connsiteX1287" fmla="*/ 2713233 w 3773795"/>
                <a:gd name="connsiteY1287" fmla="*/ 301152 h 1451770"/>
                <a:gd name="connsiteX1288" fmla="*/ 2708332 w 3773795"/>
                <a:gd name="connsiteY1288" fmla="*/ 302549 h 1451770"/>
                <a:gd name="connsiteX1289" fmla="*/ 2709765 w 3773795"/>
                <a:gd name="connsiteY1289" fmla="*/ 311653 h 1451770"/>
                <a:gd name="connsiteX1290" fmla="*/ 2710821 w 3773795"/>
                <a:gd name="connsiteY1290" fmla="*/ 314553 h 1451770"/>
                <a:gd name="connsiteX1291" fmla="*/ 2712279 w 3773795"/>
                <a:gd name="connsiteY1291" fmla="*/ 316629 h 1451770"/>
                <a:gd name="connsiteX1292" fmla="*/ 2720063 w 3773795"/>
                <a:gd name="connsiteY1292" fmla="*/ 326099 h 1451770"/>
                <a:gd name="connsiteX1293" fmla="*/ 2721836 w 3773795"/>
                <a:gd name="connsiteY1293" fmla="*/ 327437 h 1451770"/>
                <a:gd name="connsiteX1294" fmla="*/ 2726982 w 3773795"/>
                <a:gd name="connsiteY1294" fmla="*/ 329240 h 1451770"/>
                <a:gd name="connsiteX1295" fmla="*/ 2731366 w 3773795"/>
                <a:gd name="connsiteY1295" fmla="*/ 333314 h 1451770"/>
                <a:gd name="connsiteX1296" fmla="*/ 2723633 w 3773795"/>
                <a:gd name="connsiteY1296" fmla="*/ 337840 h 1451770"/>
                <a:gd name="connsiteX1297" fmla="*/ 2720268 w 3773795"/>
                <a:gd name="connsiteY1297" fmla="*/ 339178 h 1451770"/>
                <a:gd name="connsiteX1298" fmla="*/ 2716878 w 3773795"/>
                <a:gd name="connsiteY1298" fmla="*/ 339926 h 1451770"/>
                <a:gd name="connsiteX1299" fmla="*/ 2714792 w 3773795"/>
                <a:gd name="connsiteY1299" fmla="*/ 339567 h 1451770"/>
                <a:gd name="connsiteX1300" fmla="*/ 2712779 w 3773795"/>
                <a:gd name="connsiteY1300" fmla="*/ 338627 h 1451770"/>
                <a:gd name="connsiteX1301" fmla="*/ 2710497 w 3773795"/>
                <a:gd name="connsiteY1301" fmla="*/ 336435 h 1451770"/>
                <a:gd name="connsiteX1302" fmla="*/ 2708636 w 3773795"/>
                <a:gd name="connsiteY1302" fmla="*/ 334168 h 1451770"/>
                <a:gd name="connsiteX1303" fmla="*/ 2706144 w 3773795"/>
                <a:gd name="connsiteY1303" fmla="*/ 332388 h 1451770"/>
                <a:gd name="connsiteX1304" fmla="*/ 2700862 w 3773795"/>
                <a:gd name="connsiteY1304" fmla="*/ 332772 h 1451770"/>
                <a:gd name="connsiteX1305" fmla="*/ 2696032 w 3773795"/>
                <a:gd name="connsiteY1305" fmla="*/ 334336 h 1451770"/>
                <a:gd name="connsiteX1306" fmla="*/ 2691178 w 3773795"/>
                <a:gd name="connsiteY1306" fmla="*/ 335395 h 1451770"/>
                <a:gd name="connsiteX1307" fmla="*/ 2676811 w 3773795"/>
                <a:gd name="connsiteY1307" fmla="*/ 337220 h 1451770"/>
                <a:gd name="connsiteX1308" fmla="*/ 2672458 w 3773795"/>
                <a:gd name="connsiteY1308" fmla="*/ 338356 h 1451770"/>
                <a:gd name="connsiteX1309" fmla="*/ 2668123 w 3773795"/>
                <a:gd name="connsiteY1309" fmla="*/ 338759 h 1451770"/>
                <a:gd name="connsiteX1310" fmla="*/ 2662445 w 3773795"/>
                <a:gd name="connsiteY1310" fmla="*/ 336649 h 1451770"/>
                <a:gd name="connsiteX1311" fmla="*/ 2656854 w 3773795"/>
                <a:gd name="connsiteY1311" fmla="*/ 333603 h 1451770"/>
                <a:gd name="connsiteX1312" fmla="*/ 2655152 w 3773795"/>
                <a:gd name="connsiteY1312" fmla="*/ 333590 h 1451770"/>
                <a:gd name="connsiteX1313" fmla="*/ 2653485 w 3773795"/>
                <a:gd name="connsiteY1313" fmla="*/ 334406 h 1451770"/>
                <a:gd name="connsiteX1314" fmla="*/ 2652207 w 3773795"/>
                <a:gd name="connsiteY1314" fmla="*/ 336240 h 1451770"/>
                <a:gd name="connsiteX1315" fmla="*/ 2651416 w 3773795"/>
                <a:gd name="connsiteY1315" fmla="*/ 339161 h 1451770"/>
                <a:gd name="connsiteX1316" fmla="*/ 2649599 w 3773795"/>
                <a:gd name="connsiteY1316" fmla="*/ 343058 h 1451770"/>
                <a:gd name="connsiteX1317" fmla="*/ 2647288 w 3773795"/>
                <a:gd name="connsiteY1317" fmla="*/ 345800 h 1451770"/>
                <a:gd name="connsiteX1318" fmla="*/ 2644850 w 3773795"/>
                <a:gd name="connsiteY1318" fmla="*/ 346991 h 1451770"/>
                <a:gd name="connsiteX1319" fmla="*/ 2642280 w 3773795"/>
                <a:gd name="connsiteY1319" fmla="*/ 347128 h 1451770"/>
                <a:gd name="connsiteX1320" fmla="*/ 2639685 w 3773795"/>
                <a:gd name="connsiteY1320" fmla="*/ 346376 h 1451770"/>
                <a:gd name="connsiteX1321" fmla="*/ 2637117 w 3773795"/>
                <a:gd name="connsiteY1321" fmla="*/ 345180 h 1451770"/>
                <a:gd name="connsiteX1322" fmla="*/ 2620017 w 3773795"/>
                <a:gd name="connsiteY1322" fmla="*/ 340937 h 1451770"/>
                <a:gd name="connsiteX1323" fmla="*/ 2618007 w 3773795"/>
                <a:gd name="connsiteY1323" fmla="*/ 339636 h 1451770"/>
                <a:gd name="connsiteX1324" fmla="*/ 2616098 w 3773795"/>
                <a:gd name="connsiteY1324" fmla="*/ 337704 h 1451770"/>
                <a:gd name="connsiteX1325" fmla="*/ 2610967 w 3773795"/>
                <a:gd name="connsiteY1325" fmla="*/ 331623 h 1451770"/>
                <a:gd name="connsiteX1326" fmla="*/ 2608425 w 3773795"/>
                <a:gd name="connsiteY1326" fmla="*/ 330206 h 1451770"/>
                <a:gd name="connsiteX1327" fmla="*/ 2605748 w 3773795"/>
                <a:gd name="connsiteY1327" fmla="*/ 329603 h 1451770"/>
                <a:gd name="connsiteX1328" fmla="*/ 2600684 w 3773795"/>
                <a:gd name="connsiteY1328" fmla="*/ 326521 h 1451770"/>
                <a:gd name="connsiteX1329" fmla="*/ 2596003 w 3773795"/>
                <a:gd name="connsiteY1329" fmla="*/ 321579 h 1451770"/>
                <a:gd name="connsiteX1330" fmla="*/ 2595031 w 3773795"/>
                <a:gd name="connsiteY1330" fmla="*/ 320005 h 1451770"/>
                <a:gd name="connsiteX1331" fmla="*/ 2594707 w 3773795"/>
                <a:gd name="connsiteY1331" fmla="*/ 317548 h 1451770"/>
                <a:gd name="connsiteX1332" fmla="*/ 2595476 w 3773795"/>
                <a:gd name="connsiteY1332" fmla="*/ 315773 h 1451770"/>
                <a:gd name="connsiteX1333" fmla="*/ 2599535 w 3773795"/>
                <a:gd name="connsiteY1333" fmla="*/ 316610 h 1451770"/>
                <a:gd name="connsiteX1334" fmla="*/ 2602271 w 3773795"/>
                <a:gd name="connsiteY1334" fmla="*/ 316518 h 1451770"/>
                <a:gd name="connsiteX1335" fmla="*/ 2600623 w 3773795"/>
                <a:gd name="connsiteY1335" fmla="*/ 307317 h 1451770"/>
                <a:gd name="connsiteX1336" fmla="*/ 2601809 w 3773795"/>
                <a:gd name="connsiteY1336" fmla="*/ 298554 h 1451770"/>
                <a:gd name="connsiteX1337" fmla="*/ 2603791 w 3773795"/>
                <a:gd name="connsiteY1337" fmla="*/ 297102 h 1451770"/>
                <a:gd name="connsiteX1338" fmla="*/ 2611487 w 3773795"/>
                <a:gd name="connsiteY1338" fmla="*/ 298097 h 1451770"/>
                <a:gd name="connsiteX1339" fmla="*/ 2608989 w 3773795"/>
                <a:gd name="connsiteY1339" fmla="*/ 295220 h 1451770"/>
                <a:gd name="connsiteX1340" fmla="*/ 2606946 w 3773795"/>
                <a:gd name="connsiteY1340" fmla="*/ 291322 h 1451770"/>
                <a:gd name="connsiteX1341" fmla="*/ 2608259 w 3773795"/>
                <a:gd name="connsiteY1341" fmla="*/ 289260 h 1451770"/>
                <a:gd name="connsiteX1342" fmla="*/ 2609693 w 3773795"/>
                <a:gd name="connsiteY1342" fmla="*/ 287768 h 1451770"/>
                <a:gd name="connsiteX1343" fmla="*/ 2612988 w 3773795"/>
                <a:gd name="connsiteY1343" fmla="*/ 286522 h 1451770"/>
                <a:gd name="connsiteX1344" fmla="*/ 2617469 w 3773795"/>
                <a:gd name="connsiteY1344" fmla="*/ 285972 h 1451770"/>
                <a:gd name="connsiteX1345" fmla="*/ 2618832 w 3773795"/>
                <a:gd name="connsiteY1345" fmla="*/ 285089 h 1451770"/>
                <a:gd name="connsiteX1346" fmla="*/ 2620099 w 3773795"/>
                <a:gd name="connsiteY1346" fmla="*/ 283579 h 1451770"/>
                <a:gd name="connsiteX1347" fmla="*/ 2622567 w 3773795"/>
                <a:gd name="connsiteY1347" fmla="*/ 282015 h 1451770"/>
                <a:gd name="connsiteX1348" fmla="*/ 2627499 w 3773795"/>
                <a:gd name="connsiteY1348" fmla="*/ 281327 h 1451770"/>
                <a:gd name="connsiteX1349" fmla="*/ 1695253 w 3773795"/>
                <a:gd name="connsiteY1349" fmla="*/ 273338 h 1451770"/>
                <a:gd name="connsiteX1350" fmla="*/ 1701040 w 3773795"/>
                <a:gd name="connsiteY1350" fmla="*/ 274582 h 1451770"/>
                <a:gd name="connsiteX1351" fmla="*/ 1702843 w 3773795"/>
                <a:gd name="connsiteY1351" fmla="*/ 275235 h 1451770"/>
                <a:gd name="connsiteX1352" fmla="*/ 1702306 w 3773795"/>
                <a:gd name="connsiteY1352" fmla="*/ 277177 h 1451770"/>
                <a:gd name="connsiteX1353" fmla="*/ 1700030 w 3773795"/>
                <a:gd name="connsiteY1353" fmla="*/ 276607 h 1451770"/>
                <a:gd name="connsiteX1354" fmla="*/ 1697024 w 3773795"/>
                <a:gd name="connsiteY1354" fmla="*/ 277591 h 1451770"/>
                <a:gd name="connsiteX1355" fmla="*/ 1697083 w 3773795"/>
                <a:gd name="connsiteY1355" fmla="*/ 279170 h 1451770"/>
                <a:gd name="connsiteX1356" fmla="*/ 1695914 w 3773795"/>
                <a:gd name="connsiteY1356" fmla="*/ 281706 h 1451770"/>
                <a:gd name="connsiteX1357" fmla="*/ 1691673 w 3773795"/>
                <a:gd name="connsiteY1357" fmla="*/ 280172 h 1451770"/>
                <a:gd name="connsiteX1358" fmla="*/ 1685830 w 3773795"/>
                <a:gd name="connsiteY1358" fmla="*/ 279954 h 1451770"/>
                <a:gd name="connsiteX1359" fmla="*/ 1682161 w 3773795"/>
                <a:gd name="connsiteY1359" fmla="*/ 278434 h 1451770"/>
                <a:gd name="connsiteX1360" fmla="*/ 1674035 w 3773795"/>
                <a:gd name="connsiteY1360" fmla="*/ 277473 h 1451770"/>
                <a:gd name="connsiteX1361" fmla="*/ 1674277 w 3773795"/>
                <a:gd name="connsiteY1361" fmla="*/ 275335 h 1451770"/>
                <a:gd name="connsiteX1362" fmla="*/ 1675555 w 3773795"/>
                <a:gd name="connsiteY1362" fmla="*/ 274083 h 1451770"/>
                <a:gd name="connsiteX1363" fmla="*/ 1680300 w 3773795"/>
                <a:gd name="connsiteY1363" fmla="*/ 275883 h 1451770"/>
                <a:gd name="connsiteX1364" fmla="*/ 1684541 w 3773795"/>
                <a:gd name="connsiteY1364" fmla="*/ 273862 h 1451770"/>
                <a:gd name="connsiteX1365" fmla="*/ 1692606 w 3773795"/>
                <a:gd name="connsiteY1365" fmla="*/ 274868 h 1451770"/>
                <a:gd name="connsiteX1366" fmla="*/ 1708680 w 3773795"/>
                <a:gd name="connsiteY1366" fmla="*/ 271060 h 1451770"/>
                <a:gd name="connsiteX1367" fmla="*/ 1711164 w 3773795"/>
                <a:gd name="connsiteY1367" fmla="*/ 271600 h 1451770"/>
                <a:gd name="connsiteX1368" fmla="*/ 1712382 w 3773795"/>
                <a:gd name="connsiteY1368" fmla="*/ 272881 h 1451770"/>
                <a:gd name="connsiteX1369" fmla="*/ 1712552 w 3773795"/>
                <a:gd name="connsiteY1369" fmla="*/ 273465 h 1451770"/>
                <a:gd name="connsiteX1370" fmla="*/ 1710810 w 3773795"/>
                <a:gd name="connsiteY1370" fmla="*/ 276480 h 1451770"/>
                <a:gd name="connsiteX1371" fmla="*/ 1708149 w 3773795"/>
                <a:gd name="connsiteY1371" fmla="*/ 278182 h 1451770"/>
                <a:gd name="connsiteX1372" fmla="*/ 1706910 w 3773795"/>
                <a:gd name="connsiteY1372" fmla="*/ 278671 h 1451770"/>
                <a:gd name="connsiteX1373" fmla="*/ 1705951 w 3773795"/>
                <a:gd name="connsiteY1373" fmla="*/ 278338 h 1451770"/>
                <a:gd name="connsiteX1374" fmla="*/ 1705616 w 3773795"/>
                <a:gd name="connsiteY1374" fmla="*/ 277829 h 1451770"/>
                <a:gd name="connsiteX1375" fmla="*/ 1705635 w 3773795"/>
                <a:gd name="connsiteY1375" fmla="*/ 275507 h 1451770"/>
                <a:gd name="connsiteX1376" fmla="*/ 1707685 w 3773795"/>
                <a:gd name="connsiteY1376" fmla="*/ 272479 h 1451770"/>
                <a:gd name="connsiteX1377" fmla="*/ 1707737 w 3773795"/>
                <a:gd name="connsiteY1377" fmla="*/ 271535 h 1451770"/>
                <a:gd name="connsiteX1378" fmla="*/ 2051776 w 3773795"/>
                <a:gd name="connsiteY1378" fmla="*/ 257815 h 1451770"/>
                <a:gd name="connsiteX1379" fmla="*/ 2053631 w 3773795"/>
                <a:gd name="connsiteY1379" fmla="*/ 258869 h 1451770"/>
                <a:gd name="connsiteX1380" fmla="*/ 2057048 w 3773795"/>
                <a:gd name="connsiteY1380" fmla="*/ 261994 h 1451770"/>
                <a:gd name="connsiteX1381" fmla="*/ 2057674 w 3773795"/>
                <a:gd name="connsiteY1381" fmla="*/ 263988 h 1451770"/>
                <a:gd name="connsiteX1382" fmla="*/ 2056642 w 3773795"/>
                <a:gd name="connsiteY1382" fmla="*/ 264460 h 1451770"/>
                <a:gd name="connsiteX1383" fmla="*/ 2056030 w 3773795"/>
                <a:gd name="connsiteY1383" fmla="*/ 265209 h 1451770"/>
                <a:gd name="connsiteX1384" fmla="*/ 2055771 w 3773795"/>
                <a:gd name="connsiteY1384" fmla="*/ 266611 h 1451770"/>
                <a:gd name="connsiteX1385" fmla="*/ 2054817 w 3773795"/>
                <a:gd name="connsiteY1385" fmla="*/ 266718 h 1451770"/>
                <a:gd name="connsiteX1386" fmla="*/ 2051792 w 3773795"/>
                <a:gd name="connsiteY1386" fmla="*/ 265171 h 1451770"/>
                <a:gd name="connsiteX1387" fmla="*/ 2049626 w 3773795"/>
                <a:gd name="connsiteY1387" fmla="*/ 262683 h 1451770"/>
                <a:gd name="connsiteX1388" fmla="*/ 2046463 w 3773795"/>
                <a:gd name="connsiteY1388" fmla="*/ 262162 h 1451770"/>
                <a:gd name="connsiteX1389" fmla="*/ 2043122 w 3773795"/>
                <a:gd name="connsiteY1389" fmla="*/ 259694 h 1451770"/>
                <a:gd name="connsiteX1390" fmla="*/ 2042375 w 3773795"/>
                <a:gd name="connsiteY1390" fmla="*/ 258626 h 1451770"/>
                <a:gd name="connsiteX1391" fmla="*/ 2043308 w 3773795"/>
                <a:gd name="connsiteY1391" fmla="*/ 258319 h 1451770"/>
                <a:gd name="connsiteX1392" fmla="*/ 2049285 w 3773795"/>
                <a:gd name="connsiteY1392" fmla="*/ 258986 h 1451770"/>
                <a:gd name="connsiteX1393" fmla="*/ 1719818 w 3773795"/>
                <a:gd name="connsiteY1393" fmla="*/ 254915 h 1451770"/>
                <a:gd name="connsiteX1394" fmla="*/ 1724390 w 3773795"/>
                <a:gd name="connsiteY1394" fmla="*/ 259860 h 1451770"/>
                <a:gd name="connsiteX1395" fmla="*/ 1723216 w 3773795"/>
                <a:gd name="connsiteY1395" fmla="*/ 260547 h 1451770"/>
                <a:gd name="connsiteX1396" fmla="*/ 1720897 w 3773795"/>
                <a:gd name="connsiteY1396" fmla="*/ 260258 h 1451770"/>
                <a:gd name="connsiteX1397" fmla="*/ 1718935 w 3773795"/>
                <a:gd name="connsiteY1397" fmla="*/ 258503 h 1451770"/>
                <a:gd name="connsiteX1398" fmla="*/ 1718242 w 3773795"/>
                <a:gd name="connsiteY1398" fmla="*/ 255703 h 1451770"/>
                <a:gd name="connsiteX1399" fmla="*/ 2870197 w 3773795"/>
                <a:gd name="connsiteY1399" fmla="*/ 251433 h 1451770"/>
                <a:gd name="connsiteX1400" fmla="*/ 2867144 w 3773795"/>
                <a:gd name="connsiteY1400" fmla="*/ 253044 h 1451770"/>
                <a:gd name="connsiteX1401" fmla="*/ 2865738 w 3773795"/>
                <a:gd name="connsiteY1401" fmla="*/ 256284 h 1451770"/>
                <a:gd name="connsiteX1402" fmla="*/ 2864531 w 3773795"/>
                <a:gd name="connsiteY1402" fmla="*/ 257072 h 1451770"/>
                <a:gd name="connsiteX1403" fmla="*/ 2847912 w 3773795"/>
                <a:gd name="connsiteY1403" fmla="*/ 257610 h 1451770"/>
                <a:gd name="connsiteX1404" fmla="*/ 2849007 w 3773795"/>
                <a:gd name="connsiteY1404" fmla="*/ 256287 h 1451770"/>
                <a:gd name="connsiteX1405" fmla="*/ 2855010 w 3773795"/>
                <a:gd name="connsiteY1405" fmla="*/ 253073 h 1451770"/>
                <a:gd name="connsiteX1406" fmla="*/ 1062430 w 3773795"/>
                <a:gd name="connsiteY1406" fmla="*/ 240792 h 1451770"/>
                <a:gd name="connsiteX1407" fmla="*/ 1070511 w 3773795"/>
                <a:gd name="connsiteY1407" fmla="*/ 241766 h 1451770"/>
                <a:gd name="connsiteX1408" fmla="*/ 1080869 w 3773795"/>
                <a:gd name="connsiteY1408" fmla="*/ 244410 h 1451770"/>
                <a:gd name="connsiteX1409" fmla="*/ 1085588 w 3773795"/>
                <a:gd name="connsiteY1409" fmla="*/ 247334 h 1451770"/>
                <a:gd name="connsiteX1410" fmla="*/ 1089440 w 3773795"/>
                <a:gd name="connsiteY1410" fmla="*/ 251085 h 1451770"/>
                <a:gd name="connsiteX1411" fmla="*/ 1090289 w 3773795"/>
                <a:gd name="connsiteY1411" fmla="*/ 252428 h 1451770"/>
                <a:gd name="connsiteX1412" fmla="*/ 1090951 w 3773795"/>
                <a:gd name="connsiteY1412" fmla="*/ 254870 h 1451770"/>
                <a:gd name="connsiteX1413" fmla="*/ 1089820 w 3773795"/>
                <a:gd name="connsiteY1413" fmla="*/ 257081 h 1451770"/>
                <a:gd name="connsiteX1414" fmla="*/ 1089101 w 3773795"/>
                <a:gd name="connsiteY1414" fmla="*/ 259348 h 1451770"/>
                <a:gd name="connsiteX1415" fmla="*/ 1090025 w 3773795"/>
                <a:gd name="connsiteY1415" fmla="*/ 261075 h 1451770"/>
                <a:gd name="connsiteX1416" fmla="*/ 1082480 w 3773795"/>
                <a:gd name="connsiteY1416" fmla="*/ 266747 h 1451770"/>
                <a:gd name="connsiteX1417" fmla="*/ 1075046 w 3773795"/>
                <a:gd name="connsiteY1417" fmla="*/ 272968 h 1451770"/>
                <a:gd name="connsiteX1418" fmla="*/ 1073786 w 3773795"/>
                <a:gd name="connsiteY1418" fmla="*/ 274275 h 1451770"/>
                <a:gd name="connsiteX1419" fmla="*/ 1064940 w 3773795"/>
                <a:gd name="connsiteY1419" fmla="*/ 276431 h 1451770"/>
                <a:gd name="connsiteX1420" fmla="*/ 1056093 w 3773795"/>
                <a:gd name="connsiteY1420" fmla="*/ 279908 h 1451770"/>
                <a:gd name="connsiteX1421" fmla="*/ 1050823 w 3773795"/>
                <a:gd name="connsiteY1421" fmla="*/ 282323 h 1451770"/>
                <a:gd name="connsiteX1422" fmla="*/ 1045654 w 3773795"/>
                <a:gd name="connsiteY1422" fmla="*/ 283954 h 1451770"/>
                <a:gd name="connsiteX1423" fmla="*/ 1040442 w 3773795"/>
                <a:gd name="connsiteY1423" fmla="*/ 285100 h 1451770"/>
                <a:gd name="connsiteX1424" fmla="*/ 1032149 w 3773795"/>
                <a:gd name="connsiteY1424" fmla="*/ 287971 h 1451770"/>
                <a:gd name="connsiteX1425" fmla="*/ 1017483 w 3773795"/>
                <a:gd name="connsiteY1425" fmla="*/ 291549 h 1451770"/>
                <a:gd name="connsiteX1426" fmla="*/ 1008249 w 3773795"/>
                <a:gd name="connsiteY1426" fmla="*/ 294494 h 1451770"/>
                <a:gd name="connsiteX1427" fmla="*/ 998143 w 3773795"/>
                <a:gd name="connsiteY1427" fmla="*/ 296805 h 1451770"/>
                <a:gd name="connsiteX1428" fmla="*/ 987487 w 3773795"/>
                <a:gd name="connsiteY1428" fmla="*/ 299893 h 1451770"/>
                <a:gd name="connsiteX1429" fmla="*/ 976800 w 3773795"/>
                <a:gd name="connsiteY1429" fmla="*/ 302011 h 1451770"/>
                <a:gd name="connsiteX1430" fmla="*/ 974150 w 3773795"/>
                <a:gd name="connsiteY1430" fmla="*/ 302184 h 1451770"/>
                <a:gd name="connsiteX1431" fmla="*/ 966571 w 3773795"/>
                <a:gd name="connsiteY1431" fmla="*/ 305134 h 1451770"/>
                <a:gd name="connsiteX1432" fmla="*/ 960585 w 3773795"/>
                <a:gd name="connsiteY1432" fmla="*/ 306361 h 1451770"/>
                <a:gd name="connsiteX1433" fmla="*/ 938918 w 3773795"/>
                <a:gd name="connsiteY1433" fmla="*/ 312987 h 1451770"/>
                <a:gd name="connsiteX1434" fmla="*/ 928969 w 3773795"/>
                <a:gd name="connsiteY1434" fmla="*/ 317811 h 1451770"/>
                <a:gd name="connsiteX1435" fmla="*/ 926102 w 3773795"/>
                <a:gd name="connsiteY1435" fmla="*/ 318203 h 1451770"/>
                <a:gd name="connsiteX1436" fmla="*/ 923215 w 3773795"/>
                <a:gd name="connsiteY1436" fmla="*/ 318024 h 1451770"/>
                <a:gd name="connsiteX1437" fmla="*/ 920846 w 3773795"/>
                <a:gd name="connsiteY1437" fmla="*/ 319532 h 1451770"/>
                <a:gd name="connsiteX1438" fmla="*/ 918600 w 3773795"/>
                <a:gd name="connsiteY1438" fmla="*/ 322132 h 1451770"/>
                <a:gd name="connsiteX1439" fmla="*/ 913921 w 3773795"/>
                <a:gd name="connsiteY1439" fmla="*/ 324749 h 1451770"/>
                <a:gd name="connsiteX1440" fmla="*/ 911567 w 3773795"/>
                <a:gd name="connsiteY1440" fmla="*/ 327093 h 1451770"/>
                <a:gd name="connsiteX1441" fmla="*/ 909136 w 3773795"/>
                <a:gd name="connsiteY1441" fmla="*/ 328965 h 1451770"/>
                <a:gd name="connsiteX1442" fmla="*/ 907723 w 3773795"/>
                <a:gd name="connsiteY1442" fmla="*/ 329566 h 1451770"/>
                <a:gd name="connsiteX1443" fmla="*/ 905035 w 3773795"/>
                <a:gd name="connsiteY1443" fmla="*/ 329378 h 1451770"/>
                <a:gd name="connsiteX1444" fmla="*/ 903748 w 3773795"/>
                <a:gd name="connsiteY1444" fmla="*/ 329579 h 1451770"/>
                <a:gd name="connsiteX1445" fmla="*/ 899354 w 3773795"/>
                <a:gd name="connsiteY1445" fmla="*/ 331667 h 1451770"/>
                <a:gd name="connsiteX1446" fmla="*/ 898563 w 3773795"/>
                <a:gd name="connsiteY1446" fmla="*/ 333295 h 1451770"/>
                <a:gd name="connsiteX1447" fmla="*/ 903290 w 3773795"/>
                <a:gd name="connsiteY1447" fmla="*/ 334382 h 1451770"/>
                <a:gd name="connsiteX1448" fmla="*/ 904318 w 3773795"/>
                <a:gd name="connsiteY1448" fmla="*/ 336214 h 1451770"/>
                <a:gd name="connsiteX1449" fmla="*/ 902943 w 3773795"/>
                <a:gd name="connsiteY1449" fmla="*/ 337506 h 1451770"/>
                <a:gd name="connsiteX1450" fmla="*/ 899883 w 3773795"/>
                <a:gd name="connsiteY1450" fmla="*/ 339195 h 1451770"/>
                <a:gd name="connsiteX1451" fmla="*/ 898151 w 3773795"/>
                <a:gd name="connsiteY1451" fmla="*/ 340975 h 1451770"/>
                <a:gd name="connsiteX1452" fmla="*/ 895002 w 3773795"/>
                <a:gd name="connsiteY1452" fmla="*/ 342766 h 1451770"/>
                <a:gd name="connsiteX1453" fmla="*/ 892841 w 3773795"/>
                <a:gd name="connsiteY1453" fmla="*/ 343260 h 1451770"/>
                <a:gd name="connsiteX1454" fmla="*/ 887643 w 3773795"/>
                <a:gd name="connsiteY1454" fmla="*/ 343205 h 1451770"/>
                <a:gd name="connsiteX1455" fmla="*/ 887364 w 3773795"/>
                <a:gd name="connsiteY1455" fmla="*/ 345420 h 1451770"/>
                <a:gd name="connsiteX1456" fmla="*/ 888179 w 3773795"/>
                <a:gd name="connsiteY1456" fmla="*/ 346781 h 1451770"/>
                <a:gd name="connsiteX1457" fmla="*/ 887764 w 3773795"/>
                <a:gd name="connsiteY1457" fmla="*/ 347984 h 1451770"/>
                <a:gd name="connsiteX1458" fmla="*/ 886023 w 3773795"/>
                <a:gd name="connsiteY1458" fmla="*/ 349161 h 1451770"/>
                <a:gd name="connsiteX1459" fmla="*/ 884298 w 3773795"/>
                <a:gd name="connsiteY1459" fmla="*/ 349005 h 1451770"/>
                <a:gd name="connsiteX1460" fmla="*/ 876429 w 3773795"/>
                <a:gd name="connsiteY1460" fmla="*/ 345529 h 1451770"/>
                <a:gd name="connsiteX1461" fmla="*/ 875145 w 3773795"/>
                <a:gd name="connsiteY1461" fmla="*/ 346723 h 1451770"/>
                <a:gd name="connsiteX1462" fmla="*/ 874592 w 3773795"/>
                <a:gd name="connsiteY1462" fmla="*/ 349131 h 1451770"/>
                <a:gd name="connsiteX1463" fmla="*/ 874350 w 3773795"/>
                <a:gd name="connsiteY1463" fmla="*/ 351712 h 1451770"/>
                <a:gd name="connsiteX1464" fmla="*/ 873353 w 3773795"/>
                <a:gd name="connsiteY1464" fmla="*/ 353652 h 1451770"/>
                <a:gd name="connsiteX1465" fmla="*/ 872013 w 3773795"/>
                <a:gd name="connsiteY1465" fmla="*/ 354612 h 1451770"/>
                <a:gd name="connsiteX1466" fmla="*/ 869532 w 3773795"/>
                <a:gd name="connsiteY1466" fmla="*/ 355611 h 1451770"/>
                <a:gd name="connsiteX1467" fmla="*/ 860830 w 3773795"/>
                <a:gd name="connsiteY1467" fmla="*/ 354028 h 1451770"/>
                <a:gd name="connsiteX1468" fmla="*/ 860111 w 3773795"/>
                <a:gd name="connsiteY1468" fmla="*/ 355544 h 1451770"/>
                <a:gd name="connsiteX1469" fmla="*/ 861435 w 3773795"/>
                <a:gd name="connsiteY1469" fmla="*/ 357394 h 1451770"/>
                <a:gd name="connsiteX1470" fmla="*/ 863285 w 3773795"/>
                <a:gd name="connsiteY1470" fmla="*/ 361480 h 1451770"/>
                <a:gd name="connsiteX1471" fmla="*/ 863713 w 3773795"/>
                <a:gd name="connsiteY1471" fmla="*/ 363167 h 1451770"/>
                <a:gd name="connsiteX1472" fmla="*/ 862670 w 3773795"/>
                <a:gd name="connsiteY1472" fmla="*/ 365855 h 1451770"/>
                <a:gd name="connsiteX1473" fmla="*/ 858768 w 3773795"/>
                <a:gd name="connsiteY1473" fmla="*/ 370128 h 1451770"/>
                <a:gd name="connsiteX1474" fmla="*/ 843864 w 3773795"/>
                <a:gd name="connsiteY1474" fmla="*/ 375104 h 1451770"/>
                <a:gd name="connsiteX1475" fmla="*/ 844108 w 3773795"/>
                <a:gd name="connsiteY1475" fmla="*/ 376827 h 1451770"/>
                <a:gd name="connsiteX1476" fmla="*/ 845766 w 3773795"/>
                <a:gd name="connsiteY1476" fmla="*/ 380107 h 1451770"/>
                <a:gd name="connsiteX1477" fmla="*/ 846183 w 3773795"/>
                <a:gd name="connsiteY1477" fmla="*/ 382148 h 1451770"/>
                <a:gd name="connsiteX1478" fmla="*/ 845578 w 3773795"/>
                <a:gd name="connsiteY1478" fmla="*/ 384099 h 1451770"/>
                <a:gd name="connsiteX1479" fmla="*/ 843611 w 3773795"/>
                <a:gd name="connsiteY1479" fmla="*/ 385641 h 1451770"/>
                <a:gd name="connsiteX1480" fmla="*/ 841432 w 3773795"/>
                <a:gd name="connsiteY1480" fmla="*/ 385685 h 1451770"/>
                <a:gd name="connsiteX1481" fmla="*/ 840244 w 3773795"/>
                <a:gd name="connsiteY1481" fmla="*/ 385371 h 1451770"/>
                <a:gd name="connsiteX1482" fmla="*/ 836813 w 3773795"/>
                <a:gd name="connsiteY1482" fmla="*/ 383215 h 1451770"/>
                <a:gd name="connsiteX1483" fmla="*/ 833818 w 3773795"/>
                <a:gd name="connsiteY1483" fmla="*/ 382682 h 1451770"/>
                <a:gd name="connsiteX1484" fmla="*/ 833328 w 3773795"/>
                <a:gd name="connsiteY1484" fmla="*/ 383692 h 1451770"/>
                <a:gd name="connsiteX1485" fmla="*/ 837161 w 3773795"/>
                <a:gd name="connsiteY1485" fmla="*/ 386635 h 1451770"/>
                <a:gd name="connsiteX1486" fmla="*/ 838893 w 3773795"/>
                <a:gd name="connsiteY1486" fmla="*/ 390402 h 1451770"/>
                <a:gd name="connsiteX1487" fmla="*/ 837062 w 3773795"/>
                <a:gd name="connsiteY1487" fmla="*/ 392453 h 1451770"/>
                <a:gd name="connsiteX1488" fmla="*/ 829866 w 3773795"/>
                <a:gd name="connsiteY1488" fmla="*/ 396980 h 1451770"/>
                <a:gd name="connsiteX1489" fmla="*/ 826096 w 3773795"/>
                <a:gd name="connsiteY1489" fmla="*/ 402855 h 1451770"/>
                <a:gd name="connsiteX1490" fmla="*/ 818806 w 3773795"/>
                <a:gd name="connsiteY1490" fmla="*/ 405502 h 1451770"/>
                <a:gd name="connsiteX1491" fmla="*/ 814300 w 3773795"/>
                <a:gd name="connsiteY1491" fmla="*/ 405803 h 1451770"/>
                <a:gd name="connsiteX1492" fmla="*/ 809832 w 3773795"/>
                <a:gd name="connsiteY1492" fmla="*/ 405085 h 1451770"/>
                <a:gd name="connsiteX1493" fmla="*/ 805547 w 3773795"/>
                <a:gd name="connsiteY1493" fmla="*/ 403734 h 1451770"/>
                <a:gd name="connsiteX1494" fmla="*/ 794815 w 3773795"/>
                <a:gd name="connsiteY1494" fmla="*/ 403269 h 1451770"/>
                <a:gd name="connsiteX1495" fmla="*/ 788866 w 3773795"/>
                <a:gd name="connsiteY1495" fmla="*/ 401770 h 1451770"/>
                <a:gd name="connsiteX1496" fmla="*/ 782822 w 3773795"/>
                <a:gd name="connsiteY1496" fmla="*/ 399136 h 1451770"/>
                <a:gd name="connsiteX1497" fmla="*/ 777556 w 3773795"/>
                <a:gd name="connsiteY1497" fmla="*/ 399325 h 1451770"/>
                <a:gd name="connsiteX1498" fmla="*/ 773070 w 3773795"/>
                <a:gd name="connsiteY1498" fmla="*/ 400643 h 1451770"/>
                <a:gd name="connsiteX1499" fmla="*/ 767190 w 3773795"/>
                <a:gd name="connsiteY1499" fmla="*/ 403518 h 1451770"/>
                <a:gd name="connsiteX1500" fmla="*/ 763468 w 3773795"/>
                <a:gd name="connsiteY1500" fmla="*/ 397978 h 1451770"/>
                <a:gd name="connsiteX1501" fmla="*/ 765083 w 3773795"/>
                <a:gd name="connsiteY1501" fmla="*/ 395372 h 1451770"/>
                <a:gd name="connsiteX1502" fmla="*/ 756992 w 3773795"/>
                <a:gd name="connsiteY1502" fmla="*/ 388734 h 1451770"/>
                <a:gd name="connsiteX1503" fmla="*/ 755316 w 3773795"/>
                <a:gd name="connsiteY1503" fmla="*/ 385771 h 1451770"/>
                <a:gd name="connsiteX1504" fmla="*/ 757272 w 3773795"/>
                <a:gd name="connsiteY1504" fmla="*/ 384294 h 1451770"/>
                <a:gd name="connsiteX1505" fmla="*/ 759751 w 3773795"/>
                <a:gd name="connsiteY1505" fmla="*/ 383358 h 1451770"/>
                <a:gd name="connsiteX1506" fmla="*/ 764407 w 3773795"/>
                <a:gd name="connsiteY1506" fmla="*/ 380628 h 1451770"/>
                <a:gd name="connsiteX1507" fmla="*/ 769102 w 3773795"/>
                <a:gd name="connsiteY1507" fmla="*/ 378478 h 1451770"/>
                <a:gd name="connsiteX1508" fmla="*/ 773951 w 3773795"/>
                <a:gd name="connsiteY1508" fmla="*/ 377802 h 1451770"/>
                <a:gd name="connsiteX1509" fmla="*/ 774770 w 3773795"/>
                <a:gd name="connsiteY1509" fmla="*/ 377446 h 1451770"/>
                <a:gd name="connsiteX1510" fmla="*/ 776776 w 3773795"/>
                <a:gd name="connsiteY1510" fmla="*/ 374233 h 1451770"/>
                <a:gd name="connsiteX1511" fmla="*/ 778940 w 3773795"/>
                <a:gd name="connsiteY1511" fmla="*/ 371561 h 1451770"/>
                <a:gd name="connsiteX1512" fmla="*/ 780909 w 3773795"/>
                <a:gd name="connsiteY1512" fmla="*/ 370117 h 1451770"/>
                <a:gd name="connsiteX1513" fmla="*/ 783176 w 3773795"/>
                <a:gd name="connsiteY1513" fmla="*/ 367624 h 1451770"/>
                <a:gd name="connsiteX1514" fmla="*/ 790210 w 3773795"/>
                <a:gd name="connsiteY1514" fmla="*/ 357490 h 1451770"/>
                <a:gd name="connsiteX1515" fmla="*/ 791879 w 3773795"/>
                <a:gd name="connsiteY1515" fmla="*/ 356770 h 1451770"/>
                <a:gd name="connsiteX1516" fmla="*/ 806515 w 3773795"/>
                <a:gd name="connsiteY1516" fmla="*/ 354798 h 1451770"/>
                <a:gd name="connsiteX1517" fmla="*/ 807815 w 3773795"/>
                <a:gd name="connsiteY1517" fmla="*/ 354152 h 1451770"/>
                <a:gd name="connsiteX1518" fmla="*/ 803622 w 3773795"/>
                <a:gd name="connsiteY1518" fmla="*/ 352136 h 1451770"/>
                <a:gd name="connsiteX1519" fmla="*/ 799294 w 3773795"/>
                <a:gd name="connsiteY1519" fmla="*/ 352179 h 1451770"/>
                <a:gd name="connsiteX1520" fmla="*/ 797299 w 3773795"/>
                <a:gd name="connsiteY1520" fmla="*/ 351528 h 1451770"/>
                <a:gd name="connsiteX1521" fmla="*/ 796167 w 3773795"/>
                <a:gd name="connsiteY1521" fmla="*/ 350021 h 1451770"/>
                <a:gd name="connsiteX1522" fmla="*/ 795545 w 3773795"/>
                <a:gd name="connsiteY1522" fmla="*/ 348393 h 1451770"/>
                <a:gd name="connsiteX1523" fmla="*/ 797258 w 3773795"/>
                <a:gd name="connsiteY1523" fmla="*/ 347139 h 1451770"/>
                <a:gd name="connsiteX1524" fmla="*/ 802874 w 3773795"/>
                <a:gd name="connsiteY1524" fmla="*/ 340997 h 1451770"/>
                <a:gd name="connsiteX1525" fmla="*/ 809601 w 3773795"/>
                <a:gd name="connsiteY1525" fmla="*/ 336529 h 1451770"/>
                <a:gd name="connsiteX1526" fmla="*/ 815811 w 3773795"/>
                <a:gd name="connsiteY1526" fmla="*/ 333899 h 1451770"/>
                <a:gd name="connsiteX1527" fmla="*/ 814258 w 3773795"/>
                <a:gd name="connsiteY1527" fmla="*/ 333198 h 1451770"/>
                <a:gd name="connsiteX1528" fmla="*/ 812302 w 3773795"/>
                <a:gd name="connsiteY1528" fmla="*/ 331406 h 1451770"/>
                <a:gd name="connsiteX1529" fmla="*/ 804740 w 3773795"/>
                <a:gd name="connsiteY1529" fmla="*/ 331852 h 1451770"/>
                <a:gd name="connsiteX1530" fmla="*/ 801758 w 3773795"/>
                <a:gd name="connsiteY1530" fmla="*/ 329402 h 1451770"/>
                <a:gd name="connsiteX1531" fmla="*/ 800829 w 3773795"/>
                <a:gd name="connsiteY1531" fmla="*/ 327989 h 1451770"/>
                <a:gd name="connsiteX1532" fmla="*/ 800583 w 3773795"/>
                <a:gd name="connsiteY1532" fmla="*/ 326469 h 1451770"/>
                <a:gd name="connsiteX1533" fmla="*/ 803030 w 3773795"/>
                <a:gd name="connsiteY1533" fmla="*/ 324541 h 1451770"/>
                <a:gd name="connsiteX1534" fmla="*/ 805569 w 3773795"/>
                <a:gd name="connsiteY1534" fmla="*/ 323391 h 1451770"/>
                <a:gd name="connsiteX1535" fmla="*/ 808370 w 3773795"/>
                <a:gd name="connsiteY1535" fmla="*/ 323732 h 1451770"/>
                <a:gd name="connsiteX1536" fmla="*/ 811166 w 3773795"/>
                <a:gd name="connsiteY1536" fmla="*/ 324721 h 1451770"/>
                <a:gd name="connsiteX1537" fmla="*/ 813386 w 3773795"/>
                <a:gd name="connsiteY1537" fmla="*/ 325880 h 1451770"/>
                <a:gd name="connsiteX1538" fmla="*/ 815513 w 3773795"/>
                <a:gd name="connsiteY1538" fmla="*/ 327747 h 1451770"/>
                <a:gd name="connsiteX1539" fmla="*/ 817394 w 3773795"/>
                <a:gd name="connsiteY1539" fmla="*/ 327673 h 1451770"/>
                <a:gd name="connsiteX1540" fmla="*/ 824159 w 3773795"/>
                <a:gd name="connsiteY1540" fmla="*/ 321162 h 1451770"/>
                <a:gd name="connsiteX1541" fmla="*/ 823121 w 3773795"/>
                <a:gd name="connsiteY1541" fmla="*/ 319677 h 1451770"/>
                <a:gd name="connsiteX1542" fmla="*/ 822682 w 3773795"/>
                <a:gd name="connsiteY1542" fmla="*/ 317420 h 1451770"/>
                <a:gd name="connsiteX1543" fmla="*/ 823456 w 3773795"/>
                <a:gd name="connsiteY1543" fmla="*/ 316394 h 1451770"/>
                <a:gd name="connsiteX1544" fmla="*/ 826662 w 3773795"/>
                <a:gd name="connsiteY1544" fmla="*/ 315337 h 1451770"/>
                <a:gd name="connsiteX1545" fmla="*/ 828830 w 3773795"/>
                <a:gd name="connsiteY1545" fmla="*/ 314947 h 1451770"/>
                <a:gd name="connsiteX1546" fmla="*/ 833568 w 3773795"/>
                <a:gd name="connsiteY1546" fmla="*/ 315420 h 1451770"/>
                <a:gd name="connsiteX1547" fmla="*/ 840313 w 3773795"/>
                <a:gd name="connsiteY1547" fmla="*/ 316847 h 1451770"/>
                <a:gd name="connsiteX1548" fmla="*/ 840860 w 3773795"/>
                <a:gd name="connsiteY1548" fmla="*/ 316169 h 1451770"/>
                <a:gd name="connsiteX1549" fmla="*/ 842555 w 3773795"/>
                <a:gd name="connsiteY1549" fmla="*/ 311790 h 1451770"/>
                <a:gd name="connsiteX1550" fmla="*/ 844218 w 3773795"/>
                <a:gd name="connsiteY1550" fmla="*/ 309455 h 1451770"/>
                <a:gd name="connsiteX1551" fmla="*/ 851078 w 3773795"/>
                <a:gd name="connsiteY1551" fmla="*/ 305607 h 1451770"/>
                <a:gd name="connsiteX1552" fmla="*/ 850612 w 3773795"/>
                <a:gd name="connsiteY1552" fmla="*/ 304419 h 1451770"/>
                <a:gd name="connsiteX1553" fmla="*/ 850297 w 3773795"/>
                <a:gd name="connsiteY1553" fmla="*/ 302439 h 1451770"/>
                <a:gd name="connsiteX1554" fmla="*/ 858258 w 3773795"/>
                <a:gd name="connsiteY1554" fmla="*/ 299889 h 1451770"/>
                <a:gd name="connsiteX1555" fmla="*/ 863441 w 3773795"/>
                <a:gd name="connsiteY1555" fmla="*/ 297320 h 1451770"/>
                <a:gd name="connsiteX1556" fmla="*/ 868494 w 3773795"/>
                <a:gd name="connsiteY1556" fmla="*/ 293802 h 1451770"/>
                <a:gd name="connsiteX1557" fmla="*/ 871003 w 3773795"/>
                <a:gd name="connsiteY1557" fmla="*/ 293037 h 1451770"/>
                <a:gd name="connsiteX1558" fmla="*/ 873562 w 3773795"/>
                <a:gd name="connsiteY1558" fmla="*/ 292946 h 1451770"/>
                <a:gd name="connsiteX1559" fmla="*/ 878783 w 3773795"/>
                <a:gd name="connsiteY1559" fmla="*/ 291441 h 1451770"/>
                <a:gd name="connsiteX1560" fmla="*/ 888410 w 3773795"/>
                <a:gd name="connsiteY1560" fmla="*/ 289685 h 1451770"/>
                <a:gd name="connsiteX1561" fmla="*/ 894031 w 3773795"/>
                <a:gd name="connsiteY1561" fmla="*/ 287964 h 1451770"/>
                <a:gd name="connsiteX1562" fmla="*/ 895845 w 3773795"/>
                <a:gd name="connsiteY1562" fmla="*/ 284213 h 1451770"/>
                <a:gd name="connsiteX1563" fmla="*/ 899408 w 3773795"/>
                <a:gd name="connsiteY1563" fmla="*/ 282865 h 1451770"/>
                <a:gd name="connsiteX1564" fmla="*/ 906635 w 3773795"/>
                <a:gd name="connsiteY1564" fmla="*/ 282301 h 1451770"/>
                <a:gd name="connsiteX1565" fmla="*/ 909386 w 3773795"/>
                <a:gd name="connsiteY1565" fmla="*/ 282510 h 1451770"/>
                <a:gd name="connsiteX1566" fmla="*/ 910947 w 3773795"/>
                <a:gd name="connsiteY1566" fmla="*/ 284111 h 1451770"/>
                <a:gd name="connsiteX1567" fmla="*/ 914065 w 3773795"/>
                <a:gd name="connsiteY1567" fmla="*/ 283998 h 1451770"/>
                <a:gd name="connsiteX1568" fmla="*/ 915294 w 3773795"/>
                <a:gd name="connsiteY1568" fmla="*/ 283182 h 1451770"/>
                <a:gd name="connsiteX1569" fmla="*/ 916536 w 3773795"/>
                <a:gd name="connsiteY1569" fmla="*/ 281791 h 1451770"/>
                <a:gd name="connsiteX1570" fmla="*/ 916160 w 3773795"/>
                <a:gd name="connsiteY1570" fmla="*/ 279554 h 1451770"/>
                <a:gd name="connsiteX1571" fmla="*/ 916104 w 3773795"/>
                <a:gd name="connsiteY1571" fmla="*/ 276643 h 1451770"/>
                <a:gd name="connsiteX1572" fmla="*/ 918814 w 3773795"/>
                <a:gd name="connsiteY1572" fmla="*/ 274792 h 1451770"/>
                <a:gd name="connsiteX1573" fmla="*/ 919803 w 3773795"/>
                <a:gd name="connsiteY1573" fmla="*/ 274404 h 1451770"/>
                <a:gd name="connsiteX1574" fmla="*/ 927935 w 3773795"/>
                <a:gd name="connsiteY1574" fmla="*/ 273653 h 1451770"/>
                <a:gd name="connsiteX1575" fmla="*/ 932748 w 3773795"/>
                <a:gd name="connsiteY1575" fmla="*/ 273994 h 1451770"/>
                <a:gd name="connsiteX1576" fmla="*/ 942703 w 3773795"/>
                <a:gd name="connsiteY1576" fmla="*/ 276248 h 1451770"/>
                <a:gd name="connsiteX1577" fmla="*/ 947873 w 3773795"/>
                <a:gd name="connsiteY1577" fmla="*/ 276756 h 1451770"/>
                <a:gd name="connsiteX1578" fmla="*/ 954748 w 3773795"/>
                <a:gd name="connsiteY1578" fmla="*/ 276084 h 1451770"/>
                <a:gd name="connsiteX1579" fmla="*/ 958937 w 3773795"/>
                <a:gd name="connsiteY1579" fmla="*/ 276473 h 1451770"/>
                <a:gd name="connsiteX1580" fmla="*/ 971203 w 3773795"/>
                <a:gd name="connsiteY1580" fmla="*/ 273148 h 1451770"/>
                <a:gd name="connsiteX1581" fmla="*/ 991929 w 3773795"/>
                <a:gd name="connsiteY1581" fmla="*/ 270010 h 1451770"/>
                <a:gd name="connsiteX1582" fmla="*/ 997327 w 3773795"/>
                <a:gd name="connsiteY1582" fmla="*/ 267819 h 1451770"/>
                <a:gd name="connsiteX1583" fmla="*/ 1002687 w 3773795"/>
                <a:gd name="connsiteY1583" fmla="*/ 265146 h 1451770"/>
                <a:gd name="connsiteX1584" fmla="*/ 1005403 w 3773795"/>
                <a:gd name="connsiteY1584" fmla="*/ 264577 h 1451770"/>
                <a:gd name="connsiteX1585" fmla="*/ 1008152 w 3773795"/>
                <a:gd name="connsiteY1585" fmla="*/ 264443 h 1451770"/>
                <a:gd name="connsiteX1586" fmla="*/ 1010642 w 3773795"/>
                <a:gd name="connsiteY1586" fmla="*/ 263604 h 1451770"/>
                <a:gd name="connsiteX1587" fmla="*/ 1015477 w 3773795"/>
                <a:gd name="connsiteY1587" fmla="*/ 261311 h 1451770"/>
                <a:gd name="connsiteX1588" fmla="*/ 1017876 w 3773795"/>
                <a:gd name="connsiteY1588" fmla="*/ 260813 h 1451770"/>
                <a:gd name="connsiteX1589" fmla="*/ 1020491 w 3773795"/>
                <a:gd name="connsiteY1589" fmla="*/ 260783 h 1451770"/>
                <a:gd name="connsiteX1590" fmla="*/ 1022872 w 3773795"/>
                <a:gd name="connsiteY1590" fmla="*/ 259218 h 1451770"/>
                <a:gd name="connsiteX1591" fmla="*/ 1024995 w 3773795"/>
                <a:gd name="connsiteY1591" fmla="*/ 255780 h 1451770"/>
                <a:gd name="connsiteX1592" fmla="*/ 1027297 w 3773795"/>
                <a:gd name="connsiteY1592" fmla="*/ 253096 h 1451770"/>
                <a:gd name="connsiteX1593" fmla="*/ 1033538 w 3773795"/>
                <a:gd name="connsiteY1593" fmla="*/ 249631 h 1451770"/>
                <a:gd name="connsiteX1594" fmla="*/ 1044231 w 3773795"/>
                <a:gd name="connsiteY1594" fmla="*/ 244868 h 1451770"/>
                <a:gd name="connsiteX1595" fmla="*/ 1053847 w 3773795"/>
                <a:gd name="connsiteY1595" fmla="*/ 243014 h 1451770"/>
                <a:gd name="connsiteX1596" fmla="*/ 1059845 w 3773795"/>
                <a:gd name="connsiteY1596" fmla="*/ 240969 h 1451770"/>
                <a:gd name="connsiteX1597" fmla="*/ 1700952 w 3773795"/>
                <a:gd name="connsiteY1597" fmla="*/ 231750 h 1451770"/>
                <a:gd name="connsiteX1598" fmla="*/ 1701693 w 3773795"/>
                <a:gd name="connsiteY1598" fmla="*/ 234154 h 1451770"/>
                <a:gd name="connsiteX1599" fmla="*/ 1701680 w 3773795"/>
                <a:gd name="connsiteY1599" fmla="*/ 235295 h 1451770"/>
                <a:gd name="connsiteX1600" fmla="*/ 1698650 w 3773795"/>
                <a:gd name="connsiteY1600" fmla="*/ 238017 h 1451770"/>
                <a:gd name="connsiteX1601" fmla="*/ 1695579 w 3773795"/>
                <a:gd name="connsiteY1601" fmla="*/ 240090 h 1451770"/>
                <a:gd name="connsiteX1602" fmla="*/ 1694873 w 3773795"/>
                <a:gd name="connsiteY1602" fmla="*/ 240992 h 1451770"/>
                <a:gd name="connsiteX1603" fmla="*/ 1693908 w 3773795"/>
                <a:gd name="connsiteY1603" fmla="*/ 241695 h 1451770"/>
                <a:gd name="connsiteX1604" fmla="*/ 1691289 w 3773795"/>
                <a:gd name="connsiteY1604" fmla="*/ 241212 h 1451770"/>
                <a:gd name="connsiteX1605" fmla="*/ 1686054 w 3773795"/>
                <a:gd name="connsiteY1605" fmla="*/ 242494 h 1451770"/>
                <a:gd name="connsiteX1606" fmla="*/ 1684089 w 3773795"/>
                <a:gd name="connsiteY1606" fmla="*/ 241766 h 1451770"/>
                <a:gd name="connsiteX1607" fmla="*/ 1682211 w 3773795"/>
                <a:gd name="connsiteY1607" fmla="*/ 240338 h 1451770"/>
                <a:gd name="connsiteX1608" fmla="*/ 1675206 w 3773795"/>
                <a:gd name="connsiteY1608" fmla="*/ 240795 h 1451770"/>
                <a:gd name="connsiteX1609" fmla="*/ 1673133 w 3773795"/>
                <a:gd name="connsiteY1609" fmla="*/ 240454 h 1451770"/>
                <a:gd name="connsiteX1610" fmla="*/ 1676458 w 3773795"/>
                <a:gd name="connsiteY1610" fmla="*/ 238702 h 1451770"/>
                <a:gd name="connsiteX1611" fmla="*/ 1686041 w 3773795"/>
                <a:gd name="connsiteY1611" fmla="*/ 236789 h 1451770"/>
                <a:gd name="connsiteX1612" fmla="*/ 1548109 w 3773795"/>
                <a:gd name="connsiteY1612" fmla="*/ 226811 h 1451770"/>
                <a:gd name="connsiteX1613" fmla="*/ 1549510 w 3773795"/>
                <a:gd name="connsiteY1613" fmla="*/ 228250 h 1451770"/>
                <a:gd name="connsiteX1614" fmla="*/ 1549205 w 3773795"/>
                <a:gd name="connsiteY1614" fmla="*/ 229459 h 1451770"/>
                <a:gd name="connsiteX1615" fmla="*/ 1545855 w 3773795"/>
                <a:gd name="connsiteY1615" fmla="*/ 232530 h 1451770"/>
                <a:gd name="connsiteX1616" fmla="*/ 1541106 w 3773795"/>
                <a:gd name="connsiteY1616" fmla="*/ 232756 h 1451770"/>
                <a:gd name="connsiteX1617" fmla="*/ 1538447 w 3773795"/>
                <a:gd name="connsiteY1617" fmla="*/ 231544 h 1451770"/>
                <a:gd name="connsiteX1618" fmla="*/ 1537616 w 3773795"/>
                <a:gd name="connsiteY1618" fmla="*/ 230755 h 1451770"/>
                <a:gd name="connsiteX1619" fmla="*/ 1538916 w 3773795"/>
                <a:gd name="connsiteY1619" fmla="*/ 228641 h 1451770"/>
                <a:gd name="connsiteX1620" fmla="*/ 1540708 w 3773795"/>
                <a:gd name="connsiteY1620" fmla="*/ 227260 h 1451770"/>
                <a:gd name="connsiteX1621" fmla="*/ 1943257 w 3773795"/>
                <a:gd name="connsiteY1621" fmla="*/ 225119 h 1451770"/>
                <a:gd name="connsiteX1622" fmla="*/ 1945628 w 3773795"/>
                <a:gd name="connsiteY1622" fmla="*/ 225921 h 1451770"/>
                <a:gd name="connsiteX1623" fmla="*/ 1946416 w 3773795"/>
                <a:gd name="connsiteY1623" fmla="*/ 226406 h 1451770"/>
                <a:gd name="connsiteX1624" fmla="*/ 1947195 w 3773795"/>
                <a:gd name="connsiteY1624" fmla="*/ 227338 h 1451770"/>
                <a:gd name="connsiteX1625" fmla="*/ 1947526 w 3773795"/>
                <a:gd name="connsiteY1625" fmla="*/ 228815 h 1451770"/>
                <a:gd name="connsiteX1626" fmla="*/ 1941672 w 3773795"/>
                <a:gd name="connsiteY1626" fmla="*/ 230013 h 1451770"/>
                <a:gd name="connsiteX1627" fmla="*/ 1939184 w 3773795"/>
                <a:gd name="connsiteY1627" fmla="*/ 230068 h 1451770"/>
                <a:gd name="connsiteX1628" fmla="*/ 1938461 w 3773795"/>
                <a:gd name="connsiteY1628" fmla="*/ 227843 h 1451770"/>
                <a:gd name="connsiteX1629" fmla="*/ 1940603 w 3773795"/>
                <a:gd name="connsiteY1629" fmla="*/ 225142 h 1451770"/>
                <a:gd name="connsiteX1630" fmla="*/ 1870252 w 3773795"/>
                <a:gd name="connsiteY1630" fmla="*/ 207045 h 1451770"/>
                <a:gd name="connsiteX1631" fmla="*/ 1884170 w 3773795"/>
                <a:gd name="connsiteY1631" fmla="*/ 210755 h 1451770"/>
                <a:gd name="connsiteX1632" fmla="*/ 1887508 w 3773795"/>
                <a:gd name="connsiteY1632" fmla="*/ 213466 h 1451770"/>
                <a:gd name="connsiteX1633" fmla="*/ 1895109 w 3773795"/>
                <a:gd name="connsiteY1633" fmla="*/ 215614 h 1451770"/>
                <a:gd name="connsiteX1634" fmla="*/ 1903981 w 3773795"/>
                <a:gd name="connsiteY1634" fmla="*/ 216744 h 1451770"/>
                <a:gd name="connsiteX1635" fmla="*/ 1908056 w 3773795"/>
                <a:gd name="connsiteY1635" fmla="*/ 218457 h 1451770"/>
                <a:gd name="connsiteX1636" fmla="*/ 1910021 w 3773795"/>
                <a:gd name="connsiteY1636" fmla="*/ 220399 h 1451770"/>
                <a:gd name="connsiteX1637" fmla="*/ 1911706 w 3773795"/>
                <a:gd name="connsiteY1637" fmla="*/ 223082 h 1451770"/>
                <a:gd name="connsiteX1638" fmla="*/ 1904511 w 3773795"/>
                <a:gd name="connsiteY1638" fmla="*/ 224890 h 1451770"/>
                <a:gd name="connsiteX1639" fmla="*/ 1896780 w 3773795"/>
                <a:gd name="connsiteY1639" fmla="*/ 230239 h 1451770"/>
                <a:gd name="connsiteX1640" fmla="*/ 1886329 w 3773795"/>
                <a:gd name="connsiteY1640" fmla="*/ 233190 h 1451770"/>
                <a:gd name="connsiteX1641" fmla="*/ 1873321 w 3773795"/>
                <a:gd name="connsiteY1641" fmla="*/ 235152 h 1451770"/>
                <a:gd name="connsiteX1642" fmla="*/ 1870641 w 3773795"/>
                <a:gd name="connsiteY1642" fmla="*/ 236591 h 1451770"/>
                <a:gd name="connsiteX1643" fmla="*/ 1895357 w 3773795"/>
                <a:gd name="connsiteY1643" fmla="*/ 237032 h 1451770"/>
                <a:gd name="connsiteX1644" fmla="*/ 1902559 w 3773795"/>
                <a:gd name="connsiteY1644" fmla="*/ 236643 h 1451770"/>
                <a:gd name="connsiteX1645" fmla="*/ 1904021 w 3773795"/>
                <a:gd name="connsiteY1645" fmla="*/ 241262 h 1451770"/>
                <a:gd name="connsiteX1646" fmla="*/ 1906457 w 3773795"/>
                <a:gd name="connsiteY1646" fmla="*/ 241446 h 1451770"/>
                <a:gd name="connsiteX1647" fmla="*/ 1913604 w 3773795"/>
                <a:gd name="connsiteY1647" fmla="*/ 239222 h 1451770"/>
                <a:gd name="connsiteX1648" fmla="*/ 1917878 w 3773795"/>
                <a:gd name="connsiteY1648" fmla="*/ 239104 h 1451770"/>
                <a:gd name="connsiteX1649" fmla="*/ 1925979 w 3773795"/>
                <a:gd name="connsiteY1649" fmla="*/ 240690 h 1451770"/>
                <a:gd name="connsiteX1650" fmla="*/ 1927718 w 3773795"/>
                <a:gd name="connsiteY1650" fmla="*/ 239852 h 1451770"/>
                <a:gd name="connsiteX1651" fmla="*/ 1931209 w 3773795"/>
                <a:gd name="connsiteY1651" fmla="*/ 239731 h 1451770"/>
                <a:gd name="connsiteX1652" fmla="*/ 1938668 w 3773795"/>
                <a:gd name="connsiteY1652" fmla="*/ 241750 h 1451770"/>
                <a:gd name="connsiteX1653" fmla="*/ 1942004 w 3773795"/>
                <a:gd name="connsiteY1653" fmla="*/ 244741 h 1451770"/>
                <a:gd name="connsiteX1654" fmla="*/ 1936707 w 3773795"/>
                <a:gd name="connsiteY1654" fmla="*/ 249586 h 1451770"/>
                <a:gd name="connsiteX1655" fmla="*/ 1931195 w 3773795"/>
                <a:gd name="connsiteY1655" fmla="*/ 253817 h 1451770"/>
                <a:gd name="connsiteX1656" fmla="*/ 1924514 w 3773795"/>
                <a:gd name="connsiteY1656" fmla="*/ 261055 h 1451770"/>
                <a:gd name="connsiteX1657" fmla="*/ 1922451 w 3773795"/>
                <a:gd name="connsiteY1657" fmla="*/ 260462 h 1451770"/>
                <a:gd name="connsiteX1658" fmla="*/ 1918895 w 3773795"/>
                <a:gd name="connsiteY1658" fmla="*/ 260316 h 1451770"/>
                <a:gd name="connsiteX1659" fmla="*/ 1919534 w 3773795"/>
                <a:gd name="connsiteY1659" fmla="*/ 263864 h 1451770"/>
                <a:gd name="connsiteX1660" fmla="*/ 1925496 w 3773795"/>
                <a:gd name="connsiteY1660" fmla="*/ 263752 h 1451770"/>
                <a:gd name="connsiteX1661" fmla="*/ 1928640 w 3773795"/>
                <a:gd name="connsiteY1661" fmla="*/ 265341 h 1451770"/>
                <a:gd name="connsiteX1662" fmla="*/ 1935988 w 3773795"/>
                <a:gd name="connsiteY1662" fmla="*/ 263322 h 1451770"/>
                <a:gd name="connsiteX1663" fmla="*/ 1946304 w 3773795"/>
                <a:gd name="connsiteY1663" fmla="*/ 263963 h 1451770"/>
                <a:gd name="connsiteX1664" fmla="*/ 1948469 w 3773795"/>
                <a:gd name="connsiteY1664" fmla="*/ 263402 h 1451770"/>
                <a:gd name="connsiteX1665" fmla="*/ 1952451 w 3773795"/>
                <a:gd name="connsiteY1665" fmla="*/ 261226 h 1451770"/>
                <a:gd name="connsiteX1666" fmla="*/ 1953505 w 3773795"/>
                <a:gd name="connsiteY1666" fmla="*/ 257038 h 1451770"/>
                <a:gd name="connsiteX1667" fmla="*/ 1955230 w 3773795"/>
                <a:gd name="connsiteY1667" fmla="*/ 254372 h 1451770"/>
                <a:gd name="connsiteX1668" fmla="*/ 1958629 w 3773795"/>
                <a:gd name="connsiteY1668" fmla="*/ 253477 h 1451770"/>
                <a:gd name="connsiteX1669" fmla="*/ 1962397 w 3773795"/>
                <a:gd name="connsiteY1669" fmla="*/ 254323 h 1451770"/>
                <a:gd name="connsiteX1670" fmla="*/ 1968729 w 3773795"/>
                <a:gd name="connsiteY1670" fmla="*/ 254295 h 1451770"/>
                <a:gd name="connsiteX1671" fmla="*/ 1984892 w 3773795"/>
                <a:gd name="connsiteY1671" fmla="*/ 252951 h 1451770"/>
                <a:gd name="connsiteX1672" fmla="*/ 1998421 w 3773795"/>
                <a:gd name="connsiteY1672" fmla="*/ 254676 h 1451770"/>
                <a:gd name="connsiteX1673" fmla="*/ 2009263 w 3773795"/>
                <a:gd name="connsiteY1673" fmla="*/ 252527 h 1451770"/>
                <a:gd name="connsiteX1674" fmla="*/ 2023489 w 3773795"/>
                <a:gd name="connsiteY1674" fmla="*/ 254160 h 1451770"/>
                <a:gd name="connsiteX1675" fmla="*/ 2029628 w 3773795"/>
                <a:gd name="connsiteY1675" fmla="*/ 255839 h 1451770"/>
                <a:gd name="connsiteX1676" fmla="*/ 2034229 w 3773795"/>
                <a:gd name="connsiteY1676" fmla="*/ 258804 h 1451770"/>
                <a:gd name="connsiteX1677" fmla="*/ 2038332 w 3773795"/>
                <a:gd name="connsiteY1677" fmla="*/ 259667 h 1451770"/>
                <a:gd name="connsiteX1678" fmla="*/ 2041706 w 3773795"/>
                <a:gd name="connsiteY1678" fmla="*/ 261973 h 1451770"/>
                <a:gd name="connsiteX1679" fmla="*/ 2045139 w 3773795"/>
                <a:gd name="connsiteY1679" fmla="*/ 265330 h 1451770"/>
                <a:gd name="connsiteX1680" fmla="*/ 2043433 w 3773795"/>
                <a:gd name="connsiteY1680" fmla="*/ 268070 h 1451770"/>
                <a:gd name="connsiteX1681" fmla="*/ 2041794 w 3773795"/>
                <a:gd name="connsiteY1681" fmla="*/ 269905 h 1451770"/>
                <a:gd name="connsiteX1682" fmla="*/ 2046219 w 3773795"/>
                <a:gd name="connsiteY1682" fmla="*/ 267913 h 1451770"/>
                <a:gd name="connsiteX1683" fmla="*/ 2049630 w 3773795"/>
                <a:gd name="connsiteY1683" fmla="*/ 267423 h 1451770"/>
                <a:gd name="connsiteX1684" fmla="*/ 2052200 w 3773795"/>
                <a:gd name="connsiteY1684" fmla="*/ 268631 h 1451770"/>
                <a:gd name="connsiteX1685" fmla="*/ 2056761 w 3773795"/>
                <a:gd name="connsiteY1685" fmla="*/ 269764 h 1451770"/>
                <a:gd name="connsiteX1686" fmla="*/ 2058190 w 3773795"/>
                <a:gd name="connsiteY1686" fmla="*/ 277286 h 1451770"/>
                <a:gd name="connsiteX1687" fmla="*/ 2059481 w 3773795"/>
                <a:gd name="connsiteY1687" fmla="*/ 278741 h 1451770"/>
                <a:gd name="connsiteX1688" fmla="*/ 2060716 w 3773795"/>
                <a:gd name="connsiteY1688" fmla="*/ 281347 h 1451770"/>
                <a:gd name="connsiteX1689" fmla="*/ 2059024 w 3773795"/>
                <a:gd name="connsiteY1689" fmla="*/ 283730 h 1451770"/>
                <a:gd name="connsiteX1690" fmla="*/ 2057572 w 3773795"/>
                <a:gd name="connsiteY1690" fmla="*/ 284803 h 1451770"/>
                <a:gd name="connsiteX1691" fmla="*/ 2061170 w 3773795"/>
                <a:gd name="connsiteY1691" fmla="*/ 284575 h 1451770"/>
                <a:gd name="connsiteX1692" fmla="*/ 2066206 w 3773795"/>
                <a:gd name="connsiteY1692" fmla="*/ 282053 h 1451770"/>
                <a:gd name="connsiteX1693" fmla="*/ 2067253 w 3773795"/>
                <a:gd name="connsiteY1693" fmla="*/ 281198 h 1451770"/>
                <a:gd name="connsiteX1694" fmla="*/ 2068499 w 3773795"/>
                <a:gd name="connsiteY1694" fmla="*/ 279305 h 1451770"/>
                <a:gd name="connsiteX1695" fmla="*/ 2066634 w 3773795"/>
                <a:gd name="connsiteY1695" fmla="*/ 277450 h 1451770"/>
                <a:gd name="connsiteX1696" fmla="*/ 2064908 w 3773795"/>
                <a:gd name="connsiteY1696" fmla="*/ 276333 h 1451770"/>
                <a:gd name="connsiteX1697" fmla="*/ 2067076 w 3773795"/>
                <a:gd name="connsiteY1697" fmla="*/ 275496 h 1451770"/>
                <a:gd name="connsiteX1698" fmla="*/ 2071202 w 3773795"/>
                <a:gd name="connsiteY1698" fmla="*/ 275790 h 1451770"/>
                <a:gd name="connsiteX1699" fmla="*/ 2073256 w 3773795"/>
                <a:gd name="connsiteY1699" fmla="*/ 279107 h 1451770"/>
                <a:gd name="connsiteX1700" fmla="*/ 2074632 w 3773795"/>
                <a:gd name="connsiteY1700" fmla="*/ 282144 h 1451770"/>
                <a:gd name="connsiteX1701" fmla="*/ 2077641 w 3773795"/>
                <a:gd name="connsiteY1701" fmla="*/ 292136 h 1451770"/>
                <a:gd name="connsiteX1702" fmla="*/ 2084129 w 3773795"/>
                <a:gd name="connsiteY1702" fmla="*/ 290796 h 1451770"/>
                <a:gd name="connsiteX1703" fmla="*/ 2084433 w 3773795"/>
                <a:gd name="connsiteY1703" fmla="*/ 293747 h 1451770"/>
                <a:gd name="connsiteX1704" fmla="*/ 2081730 w 3773795"/>
                <a:gd name="connsiteY1704" fmla="*/ 300563 h 1451770"/>
                <a:gd name="connsiteX1705" fmla="*/ 2078881 w 3773795"/>
                <a:gd name="connsiteY1705" fmla="*/ 305601 h 1451770"/>
                <a:gd name="connsiteX1706" fmla="*/ 2077724 w 3773795"/>
                <a:gd name="connsiteY1706" fmla="*/ 306689 h 1451770"/>
                <a:gd name="connsiteX1707" fmla="*/ 2075918 w 3773795"/>
                <a:gd name="connsiteY1707" fmla="*/ 306888 h 1451770"/>
                <a:gd name="connsiteX1708" fmla="*/ 2076610 w 3773795"/>
                <a:gd name="connsiteY1708" fmla="*/ 304290 h 1451770"/>
                <a:gd name="connsiteX1709" fmla="*/ 2075545 w 3773795"/>
                <a:gd name="connsiteY1709" fmla="*/ 302726 h 1451770"/>
                <a:gd name="connsiteX1710" fmla="*/ 2073832 w 3773795"/>
                <a:gd name="connsiteY1710" fmla="*/ 301774 h 1451770"/>
                <a:gd name="connsiteX1711" fmla="*/ 2067968 w 3773795"/>
                <a:gd name="connsiteY1711" fmla="*/ 300838 h 1451770"/>
                <a:gd name="connsiteX1712" fmla="*/ 2056974 w 3773795"/>
                <a:gd name="connsiteY1712" fmla="*/ 294677 h 1451770"/>
                <a:gd name="connsiteX1713" fmla="*/ 2054044 w 3773795"/>
                <a:gd name="connsiteY1713" fmla="*/ 294023 h 1451770"/>
                <a:gd name="connsiteX1714" fmla="*/ 2053369 w 3773795"/>
                <a:gd name="connsiteY1714" fmla="*/ 294305 h 1451770"/>
                <a:gd name="connsiteX1715" fmla="*/ 2053079 w 3773795"/>
                <a:gd name="connsiteY1715" fmla="*/ 294913 h 1451770"/>
                <a:gd name="connsiteX1716" fmla="*/ 2059194 w 3773795"/>
                <a:gd name="connsiteY1716" fmla="*/ 299084 h 1451770"/>
                <a:gd name="connsiteX1717" fmla="*/ 2064193 w 3773795"/>
                <a:gd name="connsiteY1717" fmla="*/ 306532 h 1451770"/>
                <a:gd name="connsiteX1718" fmla="*/ 2068745 w 3773795"/>
                <a:gd name="connsiteY1718" fmla="*/ 304352 h 1451770"/>
                <a:gd name="connsiteX1719" fmla="*/ 2070546 w 3773795"/>
                <a:gd name="connsiteY1719" fmla="*/ 304759 h 1451770"/>
                <a:gd name="connsiteX1720" fmla="*/ 2073051 w 3773795"/>
                <a:gd name="connsiteY1720" fmla="*/ 308219 h 1451770"/>
                <a:gd name="connsiteX1721" fmla="*/ 2077531 w 3773795"/>
                <a:gd name="connsiteY1721" fmla="*/ 309663 h 1451770"/>
                <a:gd name="connsiteX1722" fmla="*/ 2081230 w 3773795"/>
                <a:gd name="connsiteY1722" fmla="*/ 311963 h 1451770"/>
                <a:gd name="connsiteX1723" fmla="*/ 2078741 w 3773795"/>
                <a:gd name="connsiteY1723" fmla="*/ 318999 h 1451770"/>
                <a:gd name="connsiteX1724" fmla="*/ 2063513 w 3773795"/>
                <a:gd name="connsiteY1724" fmla="*/ 331336 h 1451770"/>
                <a:gd name="connsiteX1725" fmla="*/ 2047307 w 3773795"/>
                <a:gd name="connsiteY1725" fmla="*/ 338483 h 1451770"/>
                <a:gd name="connsiteX1726" fmla="*/ 2040148 w 3773795"/>
                <a:gd name="connsiteY1726" fmla="*/ 343462 h 1451770"/>
                <a:gd name="connsiteX1727" fmla="*/ 2027562 w 3773795"/>
                <a:gd name="connsiteY1727" fmla="*/ 347044 h 1451770"/>
                <a:gd name="connsiteX1728" fmla="*/ 2018578 w 3773795"/>
                <a:gd name="connsiteY1728" fmla="*/ 351878 h 1451770"/>
                <a:gd name="connsiteX1729" fmla="*/ 2007097 w 3773795"/>
                <a:gd name="connsiteY1729" fmla="*/ 355463 h 1451770"/>
                <a:gd name="connsiteX1730" fmla="*/ 2003832 w 3773795"/>
                <a:gd name="connsiteY1730" fmla="*/ 359276 h 1451770"/>
                <a:gd name="connsiteX1731" fmla="*/ 1995306 w 3773795"/>
                <a:gd name="connsiteY1731" fmla="*/ 361744 h 1451770"/>
                <a:gd name="connsiteX1732" fmla="*/ 1995883 w 3773795"/>
                <a:gd name="connsiteY1732" fmla="*/ 363001 h 1451770"/>
                <a:gd name="connsiteX1733" fmla="*/ 1996877 w 3773795"/>
                <a:gd name="connsiteY1733" fmla="*/ 364381 h 1451770"/>
                <a:gd name="connsiteX1734" fmla="*/ 1995827 w 3773795"/>
                <a:gd name="connsiteY1734" fmla="*/ 366658 h 1451770"/>
                <a:gd name="connsiteX1735" fmla="*/ 1994642 w 3773795"/>
                <a:gd name="connsiteY1735" fmla="*/ 368380 h 1451770"/>
                <a:gd name="connsiteX1736" fmla="*/ 1988021 w 3773795"/>
                <a:gd name="connsiteY1736" fmla="*/ 371861 h 1451770"/>
                <a:gd name="connsiteX1737" fmla="*/ 1978383 w 3773795"/>
                <a:gd name="connsiteY1737" fmla="*/ 374304 h 1451770"/>
                <a:gd name="connsiteX1738" fmla="*/ 1959025 w 3773795"/>
                <a:gd name="connsiteY1738" fmla="*/ 388864 h 1451770"/>
                <a:gd name="connsiteX1739" fmla="*/ 1949426 w 3773795"/>
                <a:gd name="connsiteY1739" fmla="*/ 391824 h 1451770"/>
                <a:gd name="connsiteX1740" fmla="*/ 1938495 w 3773795"/>
                <a:gd name="connsiteY1740" fmla="*/ 391993 h 1451770"/>
                <a:gd name="connsiteX1741" fmla="*/ 1936193 w 3773795"/>
                <a:gd name="connsiteY1741" fmla="*/ 393347 h 1451770"/>
                <a:gd name="connsiteX1742" fmla="*/ 1927951 w 3773795"/>
                <a:gd name="connsiteY1742" fmla="*/ 402425 h 1451770"/>
                <a:gd name="connsiteX1743" fmla="*/ 1925412 w 3773795"/>
                <a:gd name="connsiteY1743" fmla="*/ 404382 h 1451770"/>
                <a:gd name="connsiteX1744" fmla="*/ 1914561 w 3773795"/>
                <a:gd name="connsiteY1744" fmla="*/ 405345 h 1451770"/>
                <a:gd name="connsiteX1745" fmla="*/ 1903250 w 3773795"/>
                <a:gd name="connsiteY1745" fmla="*/ 420106 h 1451770"/>
                <a:gd name="connsiteX1746" fmla="*/ 1896962 w 3773795"/>
                <a:gd name="connsiteY1746" fmla="*/ 425085 h 1451770"/>
                <a:gd name="connsiteX1747" fmla="*/ 1891460 w 3773795"/>
                <a:gd name="connsiteY1747" fmla="*/ 427773 h 1451770"/>
                <a:gd name="connsiteX1748" fmla="*/ 1897182 w 3773795"/>
                <a:gd name="connsiteY1748" fmla="*/ 427232 h 1451770"/>
                <a:gd name="connsiteX1749" fmla="*/ 1903937 w 3773795"/>
                <a:gd name="connsiteY1749" fmla="*/ 425268 h 1451770"/>
                <a:gd name="connsiteX1750" fmla="*/ 1911863 w 3773795"/>
                <a:gd name="connsiteY1750" fmla="*/ 420503 h 1451770"/>
                <a:gd name="connsiteX1751" fmla="*/ 1913917 w 3773795"/>
                <a:gd name="connsiteY1751" fmla="*/ 418304 h 1451770"/>
                <a:gd name="connsiteX1752" fmla="*/ 1915006 w 3773795"/>
                <a:gd name="connsiteY1752" fmla="*/ 415831 h 1451770"/>
                <a:gd name="connsiteX1753" fmla="*/ 1917355 w 3773795"/>
                <a:gd name="connsiteY1753" fmla="*/ 413893 h 1451770"/>
                <a:gd name="connsiteX1754" fmla="*/ 1920956 w 3773795"/>
                <a:gd name="connsiteY1754" fmla="*/ 412496 h 1451770"/>
                <a:gd name="connsiteX1755" fmla="*/ 1934906 w 3773795"/>
                <a:gd name="connsiteY1755" fmla="*/ 410891 h 1451770"/>
                <a:gd name="connsiteX1756" fmla="*/ 1940654 w 3773795"/>
                <a:gd name="connsiteY1756" fmla="*/ 411491 h 1451770"/>
                <a:gd name="connsiteX1757" fmla="*/ 1949093 w 3773795"/>
                <a:gd name="connsiteY1757" fmla="*/ 411067 h 1451770"/>
                <a:gd name="connsiteX1758" fmla="*/ 1954641 w 3773795"/>
                <a:gd name="connsiteY1758" fmla="*/ 408419 h 1451770"/>
                <a:gd name="connsiteX1759" fmla="*/ 1957951 w 3773795"/>
                <a:gd name="connsiteY1759" fmla="*/ 407472 h 1451770"/>
                <a:gd name="connsiteX1760" fmla="*/ 1960923 w 3773795"/>
                <a:gd name="connsiteY1760" fmla="*/ 407135 h 1451770"/>
                <a:gd name="connsiteX1761" fmla="*/ 1962385 w 3773795"/>
                <a:gd name="connsiteY1761" fmla="*/ 405251 h 1451770"/>
                <a:gd name="connsiteX1762" fmla="*/ 1967336 w 3773795"/>
                <a:gd name="connsiteY1762" fmla="*/ 404875 h 1451770"/>
                <a:gd name="connsiteX1763" fmla="*/ 1978714 w 3773795"/>
                <a:gd name="connsiteY1763" fmla="*/ 402350 h 1451770"/>
                <a:gd name="connsiteX1764" fmla="*/ 1980388 w 3773795"/>
                <a:gd name="connsiteY1764" fmla="*/ 401448 h 1451770"/>
                <a:gd name="connsiteX1765" fmla="*/ 1984046 w 3773795"/>
                <a:gd name="connsiteY1765" fmla="*/ 397703 h 1451770"/>
                <a:gd name="connsiteX1766" fmla="*/ 1990813 w 3773795"/>
                <a:gd name="connsiteY1766" fmla="*/ 399130 h 1451770"/>
                <a:gd name="connsiteX1767" fmla="*/ 1995637 w 3773795"/>
                <a:gd name="connsiteY1767" fmla="*/ 398343 h 1451770"/>
                <a:gd name="connsiteX1768" fmla="*/ 2008317 w 3773795"/>
                <a:gd name="connsiteY1768" fmla="*/ 391657 h 1451770"/>
                <a:gd name="connsiteX1769" fmla="*/ 2015937 w 3773795"/>
                <a:gd name="connsiteY1769" fmla="*/ 389075 h 1451770"/>
                <a:gd name="connsiteX1770" fmla="*/ 2018034 w 3773795"/>
                <a:gd name="connsiteY1770" fmla="*/ 387293 h 1451770"/>
                <a:gd name="connsiteX1771" fmla="*/ 2016510 w 3773795"/>
                <a:gd name="connsiteY1771" fmla="*/ 386046 h 1451770"/>
                <a:gd name="connsiteX1772" fmla="*/ 2014810 w 3773795"/>
                <a:gd name="connsiteY1772" fmla="*/ 385180 h 1451770"/>
                <a:gd name="connsiteX1773" fmla="*/ 2007423 w 3773795"/>
                <a:gd name="connsiteY1773" fmla="*/ 387494 h 1451770"/>
                <a:gd name="connsiteX1774" fmla="*/ 2000854 w 3773795"/>
                <a:gd name="connsiteY1774" fmla="*/ 388244 h 1451770"/>
                <a:gd name="connsiteX1775" fmla="*/ 1993370 w 3773795"/>
                <a:gd name="connsiteY1775" fmla="*/ 387643 h 1451770"/>
                <a:gd name="connsiteX1776" fmla="*/ 1992353 w 3773795"/>
                <a:gd name="connsiteY1776" fmla="*/ 386734 h 1451770"/>
                <a:gd name="connsiteX1777" fmla="*/ 1991444 w 3773795"/>
                <a:gd name="connsiteY1777" fmla="*/ 384307 h 1451770"/>
                <a:gd name="connsiteX1778" fmla="*/ 1993843 w 3773795"/>
                <a:gd name="connsiteY1778" fmla="*/ 380822 h 1451770"/>
                <a:gd name="connsiteX1779" fmla="*/ 1995943 w 3773795"/>
                <a:gd name="connsiteY1779" fmla="*/ 378695 h 1451770"/>
                <a:gd name="connsiteX1780" fmla="*/ 2000692 w 3773795"/>
                <a:gd name="connsiteY1780" fmla="*/ 375943 h 1451770"/>
                <a:gd name="connsiteX1781" fmla="*/ 2004618 w 3773795"/>
                <a:gd name="connsiteY1781" fmla="*/ 374948 h 1451770"/>
                <a:gd name="connsiteX1782" fmla="*/ 2019183 w 3773795"/>
                <a:gd name="connsiteY1782" fmla="*/ 377949 h 1451770"/>
                <a:gd name="connsiteX1783" fmla="*/ 2022193 w 3773795"/>
                <a:gd name="connsiteY1783" fmla="*/ 378318 h 1451770"/>
                <a:gd name="connsiteX1784" fmla="*/ 2023843 w 3773795"/>
                <a:gd name="connsiteY1784" fmla="*/ 373418 h 1451770"/>
                <a:gd name="connsiteX1785" fmla="*/ 2028499 w 3773795"/>
                <a:gd name="connsiteY1785" fmla="*/ 373654 h 1451770"/>
                <a:gd name="connsiteX1786" fmla="*/ 2033124 w 3773795"/>
                <a:gd name="connsiteY1786" fmla="*/ 374469 h 1451770"/>
                <a:gd name="connsiteX1787" fmla="*/ 2031120 w 3773795"/>
                <a:gd name="connsiteY1787" fmla="*/ 375492 h 1451770"/>
                <a:gd name="connsiteX1788" fmla="*/ 2025993 w 3773795"/>
                <a:gd name="connsiteY1788" fmla="*/ 377058 h 1451770"/>
                <a:gd name="connsiteX1789" fmla="*/ 2027572 w 3773795"/>
                <a:gd name="connsiteY1789" fmla="*/ 380666 h 1451770"/>
                <a:gd name="connsiteX1790" fmla="*/ 2029803 w 3773795"/>
                <a:gd name="connsiteY1790" fmla="*/ 383125 h 1451770"/>
                <a:gd name="connsiteX1791" fmla="*/ 2038721 w 3773795"/>
                <a:gd name="connsiteY1791" fmla="*/ 386669 h 1451770"/>
                <a:gd name="connsiteX1792" fmla="*/ 2046318 w 3773795"/>
                <a:gd name="connsiteY1792" fmla="*/ 388227 h 1451770"/>
                <a:gd name="connsiteX1793" fmla="*/ 2051907 w 3773795"/>
                <a:gd name="connsiteY1793" fmla="*/ 388133 h 1451770"/>
                <a:gd name="connsiteX1794" fmla="*/ 2060649 w 3773795"/>
                <a:gd name="connsiteY1794" fmla="*/ 386633 h 1451770"/>
                <a:gd name="connsiteX1795" fmla="*/ 2061988 w 3773795"/>
                <a:gd name="connsiteY1795" fmla="*/ 385557 h 1451770"/>
                <a:gd name="connsiteX1796" fmla="*/ 2063839 w 3773795"/>
                <a:gd name="connsiteY1796" fmla="*/ 382785 h 1451770"/>
                <a:gd name="connsiteX1797" fmla="*/ 2061546 w 3773795"/>
                <a:gd name="connsiteY1797" fmla="*/ 377338 h 1451770"/>
                <a:gd name="connsiteX1798" fmla="*/ 2063735 w 3773795"/>
                <a:gd name="connsiteY1798" fmla="*/ 378044 h 1451770"/>
                <a:gd name="connsiteX1799" fmla="*/ 2065899 w 3773795"/>
                <a:gd name="connsiteY1799" fmla="*/ 379417 h 1451770"/>
                <a:gd name="connsiteX1800" fmla="*/ 2069188 w 3773795"/>
                <a:gd name="connsiteY1800" fmla="*/ 382709 h 1451770"/>
                <a:gd name="connsiteX1801" fmla="*/ 2072401 w 3773795"/>
                <a:gd name="connsiteY1801" fmla="*/ 388292 h 1451770"/>
                <a:gd name="connsiteX1802" fmla="*/ 2074377 w 3773795"/>
                <a:gd name="connsiteY1802" fmla="*/ 390856 h 1451770"/>
                <a:gd name="connsiteX1803" fmla="*/ 2073232 w 3773795"/>
                <a:gd name="connsiteY1803" fmla="*/ 393631 h 1451770"/>
                <a:gd name="connsiteX1804" fmla="*/ 2068644 w 3773795"/>
                <a:gd name="connsiteY1804" fmla="*/ 398892 h 1451770"/>
                <a:gd name="connsiteX1805" fmla="*/ 2071298 w 3773795"/>
                <a:gd name="connsiteY1805" fmla="*/ 401793 h 1451770"/>
                <a:gd name="connsiteX1806" fmla="*/ 2076029 w 3773795"/>
                <a:gd name="connsiteY1806" fmla="*/ 403725 h 1451770"/>
                <a:gd name="connsiteX1807" fmla="*/ 2075955 w 3773795"/>
                <a:gd name="connsiteY1807" fmla="*/ 412254 h 1451770"/>
                <a:gd name="connsiteX1808" fmla="*/ 2075668 w 3773795"/>
                <a:gd name="connsiteY1808" fmla="*/ 416368 h 1451770"/>
                <a:gd name="connsiteX1809" fmla="*/ 2073340 w 3773795"/>
                <a:gd name="connsiteY1809" fmla="*/ 420839 h 1451770"/>
                <a:gd name="connsiteX1810" fmla="*/ 2070643 w 3773795"/>
                <a:gd name="connsiteY1810" fmla="*/ 422721 h 1451770"/>
                <a:gd name="connsiteX1811" fmla="*/ 2068000 w 3773795"/>
                <a:gd name="connsiteY1811" fmla="*/ 425520 h 1451770"/>
                <a:gd name="connsiteX1812" fmla="*/ 2068671 w 3773795"/>
                <a:gd name="connsiteY1812" fmla="*/ 428091 h 1451770"/>
                <a:gd name="connsiteX1813" fmla="*/ 2069289 w 3773795"/>
                <a:gd name="connsiteY1813" fmla="*/ 429740 h 1451770"/>
                <a:gd name="connsiteX1814" fmla="*/ 2072077 w 3773795"/>
                <a:gd name="connsiteY1814" fmla="*/ 432791 h 1451770"/>
                <a:gd name="connsiteX1815" fmla="*/ 2079868 w 3773795"/>
                <a:gd name="connsiteY1815" fmla="*/ 433748 h 1451770"/>
                <a:gd name="connsiteX1816" fmla="*/ 2080916 w 3773795"/>
                <a:gd name="connsiteY1816" fmla="*/ 432926 h 1451770"/>
                <a:gd name="connsiteX1817" fmla="*/ 2079106 w 3773795"/>
                <a:gd name="connsiteY1817" fmla="*/ 431965 h 1451770"/>
                <a:gd name="connsiteX1818" fmla="*/ 2073828 w 3773795"/>
                <a:gd name="connsiteY1818" fmla="*/ 430543 h 1451770"/>
                <a:gd name="connsiteX1819" fmla="*/ 2071766 w 3773795"/>
                <a:gd name="connsiteY1819" fmla="*/ 429375 h 1451770"/>
                <a:gd name="connsiteX1820" fmla="*/ 2069940 w 3773795"/>
                <a:gd name="connsiteY1820" fmla="*/ 426563 h 1451770"/>
                <a:gd name="connsiteX1821" fmla="*/ 2072062 w 3773795"/>
                <a:gd name="connsiteY1821" fmla="*/ 423516 h 1451770"/>
                <a:gd name="connsiteX1822" fmla="*/ 2074405 w 3773795"/>
                <a:gd name="connsiteY1822" fmla="*/ 421248 h 1451770"/>
                <a:gd name="connsiteX1823" fmla="*/ 2077176 w 3773795"/>
                <a:gd name="connsiteY1823" fmla="*/ 416094 h 1451770"/>
                <a:gd name="connsiteX1824" fmla="*/ 2078031 w 3773795"/>
                <a:gd name="connsiteY1824" fmla="*/ 412376 h 1451770"/>
                <a:gd name="connsiteX1825" fmla="*/ 2077531 w 3773795"/>
                <a:gd name="connsiteY1825" fmla="*/ 408546 h 1451770"/>
                <a:gd name="connsiteX1826" fmla="*/ 2079306 w 3773795"/>
                <a:gd name="connsiteY1826" fmla="*/ 406807 h 1451770"/>
                <a:gd name="connsiteX1827" fmla="*/ 2082095 w 3773795"/>
                <a:gd name="connsiteY1827" fmla="*/ 404921 h 1451770"/>
                <a:gd name="connsiteX1828" fmla="*/ 2083511 w 3773795"/>
                <a:gd name="connsiteY1828" fmla="*/ 404556 h 1451770"/>
                <a:gd name="connsiteX1829" fmla="*/ 2084770 w 3773795"/>
                <a:gd name="connsiteY1829" fmla="*/ 403738 h 1451770"/>
                <a:gd name="connsiteX1830" fmla="*/ 2082755 w 3773795"/>
                <a:gd name="connsiteY1830" fmla="*/ 402818 h 1451770"/>
                <a:gd name="connsiteX1831" fmla="*/ 2080902 w 3773795"/>
                <a:gd name="connsiteY1831" fmla="*/ 402344 h 1451770"/>
                <a:gd name="connsiteX1832" fmla="*/ 2077102 w 3773795"/>
                <a:gd name="connsiteY1832" fmla="*/ 399998 h 1451770"/>
                <a:gd name="connsiteX1833" fmla="*/ 2076459 w 3773795"/>
                <a:gd name="connsiteY1833" fmla="*/ 396955 h 1451770"/>
                <a:gd name="connsiteX1834" fmla="*/ 2084122 w 3773795"/>
                <a:gd name="connsiteY1834" fmla="*/ 395741 h 1451770"/>
                <a:gd name="connsiteX1835" fmla="*/ 2088624 w 3773795"/>
                <a:gd name="connsiteY1835" fmla="*/ 393550 h 1451770"/>
                <a:gd name="connsiteX1836" fmla="*/ 2105330 w 3773795"/>
                <a:gd name="connsiteY1836" fmla="*/ 392587 h 1451770"/>
                <a:gd name="connsiteX1837" fmla="*/ 2116865 w 3773795"/>
                <a:gd name="connsiteY1837" fmla="*/ 388500 h 1451770"/>
                <a:gd name="connsiteX1838" fmla="*/ 2142466 w 3773795"/>
                <a:gd name="connsiteY1838" fmla="*/ 389637 h 1451770"/>
                <a:gd name="connsiteX1839" fmla="*/ 2160446 w 3773795"/>
                <a:gd name="connsiteY1839" fmla="*/ 392930 h 1451770"/>
                <a:gd name="connsiteX1840" fmla="*/ 2185689 w 3773795"/>
                <a:gd name="connsiteY1840" fmla="*/ 393330 h 1451770"/>
                <a:gd name="connsiteX1841" fmla="*/ 2194992 w 3773795"/>
                <a:gd name="connsiteY1841" fmla="*/ 395550 h 1451770"/>
                <a:gd name="connsiteX1842" fmla="*/ 2195883 w 3773795"/>
                <a:gd name="connsiteY1842" fmla="*/ 396384 h 1451770"/>
                <a:gd name="connsiteX1843" fmla="*/ 2196440 w 3773795"/>
                <a:gd name="connsiteY1843" fmla="*/ 397970 h 1451770"/>
                <a:gd name="connsiteX1844" fmla="*/ 2192417 w 3773795"/>
                <a:gd name="connsiteY1844" fmla="*/ 398682 h 1451770"/>
                <a:gd name="connsiteX1845" fmla="*/ 2185840 w 3773795"/>
                <a:gd name="connsiteY1845" fmla="*/ 398687 h 1451770"/>
                <a:gd name="connsiteX1846" fmla="*/ 2184061 w 3773795"/>
                <a:gd name="connsiteY1846" fmla="*/ 402826 h 1451770"/>
                <a:gd name="connsiteX1847" fmla="*/ 2185248 w 3773795"/>
                <a:gd name="connsiteY1847" fmla="*/ 407955 h 1451770"/>
                <a:gd name="connsiteX1848" fmla="*/ 2196970 w 3773795"/>
                <a:gd name="connsiteY1848" fmla="*/ 413432 h 1451770"/>
                <a:gd name="connsiteX1849" fmla="*/ 2207251 w 3773795"/>
                <a:gd name="connsiteY1849" fmla="*/ 415687 h 1451770"/>
                <a:gd name="connsiteX1850" fmla="*/ 2214439 w 3773795"/>
                <a:gd name="connsiteY1850" fmla="*/ 419270 h 1451770"/>
                <a:gd name="connsiteX1851" fmla="*/ 2218227 w 3773795"/>
                <a:gd name="connsiteY1851" fmla="*/ 419597 h 1451770"/>
                <a:gd name="connsiteX1852" fmla="*/ 2233180 w 3773795"/>
                <a:gd name="connsiteY1852" fmla="*/ 419186 h 1451770"/>
                <a:gd name="connsiteX1853" fmla="*/ 2242008 w 3773795"/>
                <a:gd name="connsiteY1853" fmla="*/ 421056 h 1451770"/>
                <a:gd name="connsiteX1854" fmla="*/ 2249905 w 3773795"/>
                <a:gd name="connsiteY1854" fmla="*/ 419618 h 1451770"/>
                <a:gd name="connsiteX1855" fmla="*/ 2258607 w 3773795"/>
                <a:gd name="connsiteY1855" fmla="*/ 419667 h 1451770"/>
                <a:gd name="connsiteX1856" fmla="*/ 2261663 w 3773795"/>
                <a:gd name="connsiteY1856" fmla="*/ 420038 h 1451770"/>
                <a:gd name="connsiteX1857" fmla="*/ 2264841 w 3773795"/>
                <a:gd name="connsiteY1857" fmla="*/ 422721 h 1451770"/>
                <a:gd name="connsiteX1858" fmla="*/ 2269935 w 3773795"/>
                <a:gd name="connsiteY1858" fmla="*/ 423421 h 1451770"/>
                <a:gd name="connsiteX1859" fmla="*/ 2276068 w 3773795"/>
                <a:gd name="connsiteY1859" fmla="*/ 423539 h 1451770"/>
                <a:gd name="connsiteX1860" fmla="*/ 2279486 w 3773795"/>
                <a:gd name="connsiteY1860" fmla="*/ 422990 h 1451770"/>
                <a:gd name="connsiteX1861" fmla="*/ 2280810 w 3773795"/>
                <a:gd name="connsiteY1861" fmla="*/ 422330 h 1451770"/>
                <a:gd name="connsiteX1862" fmla="*/ 2280344 w 3773795"/>
                <a:gd name="connsiteY1862" fmla="*/ 421285 h 1451770"/>
                <a:gd name="connsiteX1863" fmla="*/ 2275282 w 3773795"/>
                <a:gd name="connsiteY1863" fmla="*/ 419626 h 1451770"/>
                <a:gd name="connsiteX1864" fmla="*/ 2275830 w 3773795"/>
                <a:gd name="connsiteY1864" fmla="*/ 417683 h 1451770"/>
                <a:gd name="connsiteX1865" fmla="*/ 2277787 w 3773795"/>
                <a:gd name="connsiteY1865" fmla="*/ 417209 h 1451770"/>
                <a:gd name="connsiteX1866" fmla="*/ 2286280 w 3773795"/>
                <a:gd name="connsiteY1866" fmla="*/ 419880 h 1451770"/>
                <a:gd name="connsiteX1867" fmla="*/ 2289840 w 3773795"/>
                <a:gd name="connsiteY1867" fmla="*/ 420291 h 1451770"/>
                <a:gd name="connsiteX1868" fmla="*/ 2292954 w 3773795"/>
                <a:gd name="connsiteY1868" fmla="*/ 418312 h 1451770"/>
                <a:gd name="connsiteX1869" fmla="*/ 2295241 w 3773795"/>
                <a:gd name="connsiteY1869" fmla="*/ 414770 h 1451770"/>
                <a:gd name="connsiteX1870" fmla="*/ 2296502 w 3773795"/>
                <a:gd name="connsiteY1870" fmla="*/ 412293 h 1451770"/>
                <a:gd name="connsiteX1871" fmla="*/ 2297834 w 3773795"/>
                <a:gd name="connsiteY1871" fmla="*/ 411078 h 1451770"/>
                <a:gd name="connsiteX1872" fmla="*/ 2298953 w 3773795"/>
                <a:gd name="connsiteY1872" fmla="*/ 410889 h 1451770"/>
                <a:gd name="connsiteX1873" fmla="*/ 2300054 w 3773795"/>
                <a:gd name="connsiteY1873" fmla="*/ 410215 h 1451770"/>
                <a:gd name="connsiteX1874" fmla="*/ 2297372 w 3773795"/>
                <a:gd name="connsiteY1874" fmla="*/ 407315 h 1451770"/>
                <a:gd name="connsiteX1875" fmla="*/ 2294783 w 3773795"/>
                <a:gd name="connsiteY1875" fmla="*/ 403674 h 1451770"/>
                <a:gd name="connsiteX1876" fmla="*/ 2294150 w 3773795"/>
                <a:gd name="connsiteY1876" fmla="*/ 401325 h 1451770"/>
                <a:gd name="connsiteX1877" fmla="*/ 2293429 w 3773795"/>
                <a:gd name="connsiteY1877" fmla="*/ 400119 h 1451770"/>
                <a:gd name="connsiteX1878" fmla="*/ 2293041 w 3773795"/>
                <a:gd name="connsiteY1878" fmla="*/ 395762 h 1451770"/>
                <a:gd name="connsiteX1879" fmla="*/ 2295498 w 3773795"/>
                <a:gd name="connsiteY1879" fmla="*/ 391316 h 1451770"/>
                <a:gd name="connsiteX1880" fmla="*/ 2297154 w 3773795"/>
                <a:gd name="connsiteY1880" fmla="*/ 390053 h 1451770"/>
                <a:gd name="connsiteX1881" fmla="*/ 2303915 w 3773795"/>
                <a:gd name="connsiteY1881" fmla="*/ 391749 h 1451770"/>
                <a:gd name="connsiteX1882" fmla="*/ 2306945 w 3773795"/>
                <a:gd name="connsiteY1882" fmla="*/ 389069 h 1451770"/>
                <a:gd name="connsiteX1883" fmla="*/ 2308827 w 3773795"/>
                <a:gd name="connsiteY1883" fmla="*/ 388083 h 1451770"/>
                <a:gd name="connsiteX1884" fmla="*/ 2316988 w 3773795"/>
                <a:gd name="connsiteY1884" fmla="*/ 386258 h 1451770"/>
                <a:gd name="connsiteX1885" fmla="*/ 2320374 w 3773795"/>
                <a:gd name="connsiteY1885" fmla="*/ 386411 h 1451770"/>
                <a:gd name="connsiteX1886" fmla="*/ 2326014 w 3773795"/>
                <a:gd name="connsiteY1886" fmla="*/ 388106 h 1451770"/>
                <a:gd name="connsiteX1887" fmla="*/ 2344164 w 3773795"/>
                <a:gd name="connsiteY1887" fmla="*/ 396288 h 1451770"/>
                <a:gd name="connsiteX1888" fmla="*/ 2343754 w 3773795"/>
                <a:gd name="connsiteY1888" fmla="*/ 399411 h 1451770"/>
                <a:gd name="connsiteX1889" fmla="*/ 2348085 w 3773795"/>
                <a:gd name="connsiteY1889" fmla="*/ 398513 h 1451770"/>
                <a:gd name="connsiteX1890" fmla="*/ 2350152 w 3773795"/>
                <a:gd name="connsiteY1890" fmla="*/ 397249 h 1451770"/>
                <a:gd name="connsiteX1891" fmla="*/ 2355006 w 3773795"/>
                <a:gd name="connsiteY1891" fmla="*/ 396421 h 1451770"/>
                <a:gd name="connsiteX1892" fmla="*/ 2358258 w 3773795"/>
                <a:gd name="connsiteY1892" fmla="*/ 395109 h 1451770"/>
                <a:gd name="connsiteX1893" fmla="*/ 2359176 w 3773795"/>
                <a:gd name="connsiteY1893" fmla="*/ 395602 h 1451770"/>
                <a:gd name="connsiteX1894" fmla="*/ 2360258 w 3773795"/>
                <a:gd name="connsiteY1894" fmla="*/ 396898 h 1451770"/>
                <a:gd name="connsiteX1895" fmla="*/ 2359461 w 3773795"/>
                <a:gd name="connsiteY1895" fmla="*/ 398718 h 1451770"/>
                <a:gd name="connsiteX1896" fmla="*/ 2358324 w 3773795"/>
                <a:gd name="connsiteY1896" fmla="*/ 400589 h 1451770"/>
                <a:gd name="connsiteX1897" fmla="*/ 2359098 w 3773795"/>
                <a:gd name="connsiteY1897" fmla="*/ 401679 h 1451770"/>
                <a:gd name="connsiteX1898" fmla="*/ 2360048 w 3773795"/>
                <a:gd name="connsiteY1898" fmla="*/ 401909 h 1451770"/>
                <a:gd name="connsiteX1899" fmla="*/ 2364849 w 3773795"/>
                <a:gd name="connsiteY1899" fmla="*/ 404201 h 1451770"/>
                <a:gd name="connsiteX1900" fmla="*/ 2371172 w 3773795"/>
                <a:gd name="connsiteY1900" fmla="*/ 399975 h 1451770"/>
                <a:gd name="connsiteX1901" fmla="*/ 2373752 w 3773795"/>
                <a:gd name="connsiteY1901" fmla="*/ 395962 h 1451770"/>
                <a:gd name="connsiteX1902" fmla="*/ 2375436 w 3773795"/>
                <a:gd name="connsiteY1902" fmla="*/ 395140 h 1451770"/>
                <a:gd name="connsiteX1903" fmla="*/ 2391113 w 3773795"/>
                <a:gd name="connsiteY1903" fmla="*/ 397955 h 1451770"/>
                <a:gd name="connsiteX1904" fmla="*/ 2395862 w 3773795"/>
                <a:gd name="connsiteY1904" fmla="*/ 399490 h 1451770"/>
                <a:gd name="connsiteX1905" fmla="*/ 2396786 w 3773795"/>
                <a:gd name="connsiteY1905" fmla="*/ 400339 h 1451770"/>
                <a:gd name="connsiteX1906" fmla="*/ 2397423 w 3773795"/>
                <a:gd name="connsiteY1906" fmla="*/ 401824 h 1451770"/>
                <a:gd name="connsiteX1907" fmla="*/ 2399988 w 3773795"/>
                <a:gd name="connsiteY1907" fmla="*/ 403457 h 1451770"/>
                <a:gd name="connsiteX1908" fmla="*/ 2403078 w 3773795"/>
                <a:gd name="connsiteY1908" fmla="*/ 404386 h 1451770"/>
                <a:gd name="connsiteX1909" fmla="*/ 2402696 w 3773795"/>
                <a:gd name="connsiteY1909" fmla="*/ 405654 h 1451770"/>
                <a:gd name="connsiteX1910" fmla="*/ 2402556 w 3773795"/>
                <a:gd name="connsiteY1910" fmla="*/ 407066 h 1451770"/>
                <a:gd name="connsiteX1911" fmla="*/ 2409835 w 3773795"/>
                <a:gd name="connsiteY1911" fmla="*/ 407282 h 1451770"/>
                <a:gd name="connsiteX1912" fmla="*/ 2413008 w 3773795"/>
                <a:gd name="connsiteY1912" fmla="*/ 408513 h 1451770"/>
                <a:gd name="connsiteX1913" fmla="*/ 2416505 w 3773795"/>
                <a:gd name="connsiteY1913" fmla="*/ 410343 h 1451770"/>
                <a:gd name="connsiteX1914" fmla="*/ 2416129 w 3773795"/>
                <a:gd name="connsiteY1914" fmla="*/ 412498 h 1451770"/>
                <a:gd name="connsiteX1915" fmla="*/ 2417052 w 3773795"/>
                <a:gd name="connsiteY1915" fmla="*/ 413715 h 1451770"/>
                <a:gd name="connsiteX1916" fmla="*/ 2420276 w 3773795"/>
                <a:gd name="connsiteY1916" fmla="*/ 413845 h 1451770"/>
                <a:gd name="connsiteX1917" fmla="*/ 2421192 w 3773795"/>
                <a:gd name="connsiteY1917" fmla="*/ 413641 h 1451770"/>
                <a:gd name="connsiteX1918" fmla="*/ 2420155 w 3773795"/>
                <a:gd name="connsiteY1918" fmla="*/ 416471 h 1451770"/>
                <a:gd name="connsiteX1919" fmla="*/ 2415728 w 3773795"/>
                <a:gd name="connsiteY1919" fmla="*/ 419544 h 1451770"/>
                <a:gd name="connsiteX1920" fmla="*/ 2413113 w 3773795"/>
                <a:gd name="connsiteY1920" fmla="*/ 420781 h 1451770"/>
                <a:gd name="connsiteX1921" fmla="*/ 2410101 w 3773795"/>
                <a:gd name="connsiteY1921" fmla="*/ 422807 h 1451770"/>
                <a:gd name="connsiteX1922" fmla="*/ 2411759 w 3773795"/>
                <a:gd name="connsiteY1922" fmla="*/ 423198 h 1451770"/>
                <a:gd name="connsiteX1923" fmla="*/ 2419349 w 3773795"/>
                <a:gd name="connsiteY1923" fmla="*/ 423763 h 1451770"/>
                <a:gd name="connsiteX1924" fmla="*/ 2424033 w 3773795"/>
                <a:gd name="connsiteY1924" fmla="*/ 427828 h 1451770"/>
                <a:gd name="connsiteX1925" fmla="*/ 2424504 w 3773795"/>
                <a:gd name="connsiteY1925" fmla="*/ 430788 h 1451770"/>
                <a:gd name="connsiteX1926" fmla="*/ 2421567 w 3773795"/>
                <a:gd name="connsiteY1926" fmla="*/ 431971 h 1451770"/>
                <a:gd name="connsiteX1927" fmla="*/ 2414884 w 3773795"/>
                <a:gd name="connsiteY1927" fmla="*/ 435782 h 1451770"/>
                <a:gd name="connsiteX1928" fmla="*/ 2410861 w 3773795"/>
                <a:gd name="connsiteY1928" fmla="*/ 437276 h 1451770"/>
                <a:gd name="connsiteX1929" fmla="*/ 2408099 w 3773795"/>
                <a:gd name="connsiteY1929" fmla="*/ 437394 h 1451770"/>
                <a:gd name="connsiteX1930" fmla="*/ 2406104 w 3773795"/>
                <a:gd name="connsiteY1930" fmla="*/ 437902 h 1451770"/>
                <a:gd name="connsiteX1931" fmla="*/ 2409003 w 3773795"/>
                <a:gd name="connsiteY1931" fmla="*/ 439543 h 1451770"/>
                <a:gd name="connsiteX1932" fmla="*/ 2421546 w 3773795"/>
                <a:gd name="connsiteY1932" fmla="*/ 439964 h 1451770"/>
                <a:gd name="connsiteX1933" fmla="*/ 2425188 w 3773795"/>
                <a:gd name="connsiteY1933" fmla="*/ 441967 h 1451770"/>
                <a:gd name="connsiteX1934" fmla="*/ 2428071 w 3773795"/>
                <a:gd name="connsiteY1934" fmla="*/ 447053 h 1451770"/>
                <a:gd name="connsiteX1935" fmla="*/ 2428047 w 3773795"/>
                <a:gd name="connsiteY1935" fmla="*/ 453242 h 1451770"/>
                <a:gd name="connsiteX1936" fmla="*/ 2425236 w 3773795"/>
                <a:gd name="connsiteY1936" fmla="*/ 456316 h 1451770"/>
                <a:gd name="connsiteX1937" fmla="*/ 2417529 w 3773795"/>
                <a:gd name="connsiteY1937" fmla="*/ 456834 h 1451770"/>
                <a:gd name="connsiteX1938" fmla="*/ 2407362 w 3773795"/>
                <a:gd name="connsiteY1938" fmla="*/ 449957 h 1451770"/>
                <a:gd name="connsiteX1939" fmla="*/ 2401211 w 3773795"/>
                <a:gd name="connsiteY1939" fmla="*/ 447297 h 1451770"/>
                <a:gd name="connsiteX1940" fmla="*/ 2392508 w 3773795"/>
                <a:gd name="connsiteY1940" fmla="*/ 442120 h 1451770"/>
                <a:gd name="connsiteX1941" fmla="*/ 2390798 w 3773795"/>
                <a:gd name="connsiteY1941" fmla="*/ 442988 h 1451770"/>
                <a:gd name="connsiteX1942" fmla="*/ 2393349 w 3773795"/>
                <a:gd name="connsiteY1942" fmla="*/ 447354 h 1451770"/>
                <a:gd name="connsiteX1943" fmla="*/ 2397443 w 3773795"/>
                <a:gd name="connsiteY1943" fmla="*/ 449772 h 1451770"/>
                <a:gd name="connsiteX1944" fmla="*/ 2404789 w 3773795"/>
                <a:gd name="connsiteY1944" fmla="*/ 456469 h 1451770"/>
                <a:gd name="connsiteX1945" fmla="*/ 2417008 w 3773795"/>
                <a:gd name="connsiteY1945" fmla="*/ 470188 h 1451770"/>
                <a:gd name="connsiteX1946" fmla="*/ 2419855 w 3773795"/>
                <a:gd name="connsiteY1946" fmla="*/ 469075 h 1451770"/>
                <a:gd name="connsiteX1947" fmla="*/ 2421546 w 3773795"/>
                <a:gd name="connsiteY1947" fmla="*/ 467342 h 1451770"/>
                <a:gd name="connsiteX1948" fmla="*/ 2422377 w 3773795"/>
                <a:gd name="connsiteY1948" fmla="*/ 465118 h 1451770"/>
                <a:gd name="connsiteX1949" fmla="*/ 2421656 w 3773795"/>
                <a:gd name="connsiteY1949" fmla="*/ 462047 h 1451770"/>
                <a:gd name="connsiteX1950" fmla="*/ 2423616 w 3773795"/>
                <a:gd name="connsiteY1950" fmla="*/ 463542 h 1451770"/>
                <a:gd name="connsiteX1951" fmla="*/ 2425419 w 3773795"/>
                <a:gd name="connsiteY1951" fmla="*/ 466289 h 1451770"/>
                <a:gd name="connsiteX1952" fmla="*/ 2429157 w 3773795"/>
                <a:gd name="connsiteY1952" fmla="*/ 470845 h 1451770"/>
                <a:gd name="connsiteX1953" fmla="*/ 2424145 w 3773795"/>
                <a:gd name="connsiteY1953" fmla="*/ 470619 h 1451770"/>
                <a:gd name="connsiteX1954" fmla="*/ 2417840 w 3773795"/>
                <a:gd name="connsiteY1954" fmla="*/ 472147 h 1451770"/>
                <a:gd name="connsiteX1955" fmla="*/ 2415501 w 3773795"/>
                <a:gd name="connsiteY1955" fmla="*/ 473954 h 1451770"/>
                <a:gd name="connsiteX1956" fmla="*/ 2417257 w 3773795"/>
                <a:gd name="connsiteY1956" fmla="*/ 476480 h 1451770"/>
                <a:gd name="connsiteX1957" fmla="*/ 2421937 w 3773795"/>
                <a:gd name="connsiteY1957" fmla="*/ 476844 h 1451770"/>
                <a:gd name="connsiteX1958" fmla="*/ 2423932 w 3773795"/>
                <a:gd name="connsiteY1958" fmla="*/ 480278 h 1451770"/>
                <a:gd name="connsiteX1959" fmla="*/ 2427588 w 3773795"/>
                <a:gd name="connsiteY1959" fmla="*/ 484517 h 1451770"/>
                <a:gd name="connsiteX1960" fmla="*/ 2435815 w 3773795"/>
                <a:gd name="connsiteY1960" fmla="*/ 496106 h 1451770"/>
                <a:gd name="connsiteX1961" fmla="*/ 2441653 w 3773795"/>
                <a:gd name="connsiteY1961" fmla="*/ 498297 h 1451770"/>
                <a:gd name="connsiteX1962" fmla="*/ 2447299 w 3773795"/>
                <a:gd name="connsiteY1962" fmla="*/ 503065 h 1451770"/>
                <a:gd name="connsiteX1963" fmla="*/ 2452956 w 3773795"/>
                <a:gd name="connsiteY1963" fmla="*/ 505274 h 1451770"/>
                <a:gd name="connsiteX1964" fmla="*/ 2455860 w 3773795"/>
                <a:gd name="connsiteY1964" fmla="*/ 505443 h 1451770"/>
                <a:gd name="connsiteX1965" fmla="*/ 2457821 w 3773795"/>
                <a:gd name="connsiteY1965" fmla="*/ 502458 h 1451770"/>
                <a:gd name="connsiteX1966" fmla="*/ 2459475 w 3773795"/>
                <a:gd name="connsiteY1966" fmla="*/ 503526 h 1451770"/>
                <a:gd name="connsiteX1967" fmla="*/ 2460937 w 3773795"/>
                <a:gd name="connsiteY1967" fmla="*/ 508855 h 1451770"/>
                <a:gd name="connsiteX1968" fmla="*/ 2463668 w 3773795"/>
                <a:gd name="connsiteY1968" fmla="*/ 511165 h 1451770"/>
                <a:gd name="connsiteX1969" fmla="*/ 2466673 w 3773795"/>
                <a:gd name="connsiteY1969" fmla="*/ 511321 h 1451770"/>
                <a:gd name="connsiteX1970" fmla="*/ 2469123 w 3773795"/>
                <a:gd name="connsiteY1970" fmla="*/ 510384 h 1451770"/>
                <a:gd name="connsiteX1971" fmla="*/ 2472751 w 3773795"/>
                <a:gd name="connsiteY1971" fmla="*/ 507861 h 1451770"/>
                <a:gd name="connsiteX1972" fmla="*/ 2475619 w 3773795"/>
                <a:gd name="connsiteY1972" fmla="*/ 504931 h 1451770"/>
                <a:gd name="connsiteX1973" fmla="*/ 2480197 w 3773795"/>
                <a:gd name="connsiteY1973" fmla="*/ 496839 h 1451770"/>
                <a:gd name="connsiteX1974" fmla="*/ 2483235 w 3773795"/>
                <a:gd name="connsiteY1974" fmla="*/ 492738 h 1451770"/>
                <a:gd name="connsiteX1975" fmla="*/ 2486086 w 3773795"/>
                <a:gd name="connsiteY1975" fmla="*/ 491058 h 1451770"/>
                <a:gd name="connsiteX1976" fmla="*/ 2485100 w 3773795"/>
                <a:gd name="connsiteY1976" fmla="*/ 489061 h 1451770"/>
                <a:gd name="connsiteX1977" fmla="*/ 2485386 w 3773795"/>
                <a:gd name="connsiteY1977" fmla="*/ 486744 h 1451770"/>
                <a:gd name="connsiteX1978" fmla="*/ 2487489 w 3773795"/>
                <a:gd name="connsiteY1978" fmla="*/ 481292 h 1451770"/>
                <a:gd name="connsiteX1979" fmla="*/ 2490337 w 3773795"/>
                <a:gd name="connsiteY1979" fmla="*/ 474802 h 1451770"/>
                <a:gd name="connsiteX1980" fmla="*/ 2492507 w 3773795"/>
                <a:gd name="connsiteY1980" fmla="*/ 471382 h 1451770"/>
                <a:gd name="connsiteX1981" fmla="*/ 2497738 w 3773795"/>
                <a:gd name="connsiteY1981" fmla="*/ 464433 h 1451770"/>
                <a:gd name="connsiteX1982" fmla="*/ 2499763 w 3773795"/>
                <a:gd name="connsiteY1982" fmla="*/ 463170 h 1451770"/>
                <a:gd name="connsiteX1983" fmla="*/ 2501132 w 3773795"/>
                <a:gd name="connsiteY1983" fmla="*/ 465414 h 1451770"/>
                <a:gd name="connsiteX1984" fmla="*/ 2502298 w 3773795"/>
                <a:gd name="connsiteY1984" fmla="*/ 468405 h 1451770"/>
                <a:gd name="connsiteX1985" fmla="*/ 2503074 w 3773795"/>
                <a:gd name="connsiteY1985" fmla="*/ 469685 h 1451770"/>
                <a:gd name="connsiteX1986" fmla="*/ 2503862 w 3773795"/>
                <a:gd name="connsiteY1986" fmla="*/ 470194 h 1451770"/>
                <a:gd name="connsiteX1987" fmla="*/ 2510310 w 3773795"/>
                <a:gd name="connsiteY1987" fmla="*/ 476279 h 1451770"/>
                <a:gd name="connsiteX1988" fmla="*/ 2516839 w 3773795"/>
                <a:gd name="connsiteY1988" fmla="*/ 481007 h 1451770"/>
                <a:gd name="connsiteX1989" fmla="*/ 2522648 w 3773795"/>
                <a:gd name="connsiteY1989" fmla="*/ 483322 h 1451770"/>
                <a:gd name="connsiteX1990" fmla="*/ 2531801 w 3773795"/>
                <a:gd name="connsiteY1990" fmla="*/ 485573 h 1451770"/>
                <a:gd name="connsiteX1991" fmla="*/ 2545066 w 3773795"/>
                <a:gd name="connsiteY1991" fmla="*/ 485253 h 1451770"/>
                <a:gd name="connsiteX1992" fmla="*/ 2547524 w 3773795"/>
                <a:gd name="connsiteY1992" fmla="*/ 482247 h 1451770"/>
                <a:gd name="connsiteX1993" fmla="*/ 2552135 w 3773795"/>
                <a:gd name="connsiteY1993" fmla="*/ 480025 h 1451770"/>
                <a:gd name="connsiteX1994" fmla="*/ 2559586 w 3773795"/>
                <a:gd name="connsiteY1994" fmla="*/ 478862 h 1451770"/>
                <a:gd name="connsiteX1995" fmla="*/ 2564005 w 3773795"/>
                <a:gd name="connsiteY1995" fmla="*/ 476129 h 1451770"/>
                <a:gd name="connsiteX1996" fmla="*/ 2571204 w 3773795"/>
                <a:gd name="connsiteY1996" fmla="*/ 475301 h 1451770"/>
                <a:gd name="connsiteX1997" fmla="*/ 2575750 w 3773795"/>
                <a:gd name="connsiteY1997" fmla="*/ 475751 h 1451770"/>
                <a:gd name="connsiteX1998" fmla="*/ 2582733 w 3773795"/>
                <a:gd name="connsiteY1998" fmla="*/ 477748 h 1451770"/>
                <a:gd name="connsiteX1999" fmla="*/ 2598425 w 3773795"/>
                <a:gd name="connsiteY1999" fmla="*/ 484078 h 1451770"/>
                <a:gd name="connsiteX2000" fmla="*/ 2602839 w 3773795"/>
                <a:gd name="connsiteY2000" fmla="*/ 486368 h 1451770"/>
                <a:gd name="connsiteX2001" fmla="*/ 2605095 w 3773795"/>
                <a:gd name="connsiteY2001" fmla="*/ 488825 h 1451770"/>
                <a:gd name="connsiteX2002" fmla="*/ 2610250 w 3773795"/>
                <a:gd name="connsiteY2002" fmla="*/ 492514 h 1451770"/>
                <a:gd name="connsiteX2003" fmla="*/ 2613506 w 3773795"/>
                <a:gd name="connsiteY2003" fmla="*/ 494308 h 1451770"/>
                <a:gd name="connsiteX2004" fmla="*/ 2616642 w 3773795"/>
                <a:gd name="connsiteY2004" fmla="*/ 495544 h 1451770"/>
                <a:gd name="connsiteX2005" fmla="*/ 2617793 w 3773795"/>
                <a:gd name="connsiteY2005" fmla="*/ 495166 h 1451770"/>
                <a:gd name="connsiteX2006" fmla="*/ 2617395 w 3773795"/>
                <a:gd name="connsiteY2006" fmla="*/ 494116 h 1451770"/>
                <a:gd name="connsiteX2007" fmla="*/ 2615808 w 3773795"/>
                <a:gd name="connsiteY2007" fmla="*/ 493086 h 1451770"/>
                <a:gd name="connsiteX2008" fmla="*/ 2614527 w 3773795"/>
                <a:gd name="connsiteY2008" fmla="*/ 491757 h 1451770"/>
                <a:gd name="connsiteX2009" fmla="*/ 2618257 w 3773795"/>
                <a:gd name="connsiteY2009" fmla="*/ 490376 h 1451770"/>
                <a:gd name="connsiteX2010" fmla="*/ 2618695 w 3773795"/>
                <a:gd name="connsiteY2010" fmla="*/ 489360 h 1451770"/>
                <a:gd name="connsiteX2011" fmla="*/ 2619980 w 3773795"/>
                <a:gd name="connsiteY2011" fmla="*/ 488483 h 1451770"/>
                <a:gd name="connsiteX2012" fmla="*/ 2624921 w 3773795"/>
                <a:gd name="connsiteY2012" fmla="*/ 487747 h 1451770"/>
                <a:gd name="connsiteX2013" fmla="*/ 2620125 w 3773795"/>
                <a:gd name="connsiteY2013" fmla="*/ 486402 h 1451770"/>
                <a:gd name="connsiteX2014" fmla="*/ 2618467 w 3773795"/>
                <a:gd name="connsiteY2014" fmla="*/ 486205 h 1451770"/>
                <a:gd name="connsiteX2015" fmla="*/ 2616171 w 3773795"/>
                <a:gd name="connsiteY2015" fmla="*/ 485365 h 1451770"/>
                <a:gd name="connsiteX2016" fmla="*/ 2616370 w 3773795"/>
                <a:gd name="connsiteY2016" fmla="*/ 483503 h 1451770"/>
                <a:gd name="connsiteX2017" fmla="*/ 2617881 w 3773795"/>
                <a:gd name="connsiteY2017" fmla="*/ 482127 h 1451770"/>
                <a:gd name="connsiteX2018" fmla="*/ 2619045 w 3773795"/>
                <a:gd name="connsiteY2018" fmla="*/ 479578 h 1451770"/>
                <a:gd name="connsiteX2019" fmla="*/ 2620596 w 3773795"/>
                <a:gd name="connsiteY2019" fmla="*/ 477936 h 1451770"/>
                <a:gd name="connsiteX2020" fmla="*/ 2623155 w 3773795"/>
                <a:gd name="connsiteY2020" fmla="*/ 476702 h 1451770"/>
                <a:gd name="connsiteX2021" fmla="*/ 2625010 w 3773795"/>
                <a:gd name="connsiteY2021" fmla="*/ 476437 h 1451770"/>
                <a:gd name="connsiteX2022" fmla="*/ 2629589 w 3773795"/>
                <a:gd name="connsiteY2022" fmla="*/ 478076 h 1451770"/>
                <a:gd name="connsiteX2023" fmla="*/ 2632791 w 3773795"/>
                <a:gd name="connsiteY2023" fmla="*/ 475128 h 1451770"/>
                <a:gd name="connsiteX2024" fmla="*/ 2635228 w 3773795"/>
                <a:gd name="connsiteY2024" fmla="*/ 475365 h 1451770"/>
                <a:gd name="connsiteX2025" fmla="*/ 2640196 w 3773795"/>
                <a:gd name="connsiteY2025" fmla="*/ 478349 h 1451770"/>
                <a:gd name="connsiteX2026" fmla="*/ 2644718 w 3773795"/>
                <a:gd name="connsiteY2026" fmla="*/ 482891 h 1451770"/>
                <a:gd name="connsiteX2027" fmla="*/ 2647169 w 3773795"/>
                <a:gd name="connsiteY2027" fmla="*/ 482894 h 1451770"/>
                <a:gd name="connsiteX2028" fmla="*/ 2654066 w 3773795"/>
                <a:gd name="connsiteY2028" fmla="*/ 481077 h 1451770"/>
                <a:gd name="connsiteX2029" fmla="*/ 2661851 w 3773795"/>
                <a:gd name="connsiteY2029" fmla="*/ 480986 h 1451770"/>
                <a:gd name="connsiteX2030" fmla="*/ 2660846 w 3773795"/>
                <a:gd name="connsiteY2030" fmla="*/ 478283 h 1451770"/>
                <a:gd name="connsiteX2031" fmla="*/ 2655459 w 3773795"/>
                <a:gd name="connsiteY2031" fmla="*/ 472439 h 1451770"/>
                <a:gd name="connsiteX2032" fmla="*/ 2656074 w 3773795"/>
                <a:gd name="connsiteY2032" fmla="*/ 464859 h 1451770"/>
                <a:gd name="connsiteX2033" fmla="*/ 2652302 w 3773795"/>
                <a:gd name="connsiteY2033" fmla="*/ 463140 h 1451770"/>
                <a:gd name="connsiteX2034" fmla="*/ 2648033 w 3773795"/>
                <a:gd name="connsiteY2034" fmla="*/ 462123 h 1451770"/>
                <a:gd name="connsiteX2035" fmla="*/ 2654245 w 3773795"/>
                <a:gd name="connsiteY2035" fmla="*/ 460186 h 1451770"/>
                <a:gd name="connsiteX2036" fmla="*/ 2658819 w 3773795"/>
                <a:gd name="connsiteY2036" fmla="*/ 453976 h 1451770"/>
                <a:gd name="connsiteX2037" fmla="*/ 2662512 w 3773795"/>
                <a:gd name="connsiteY2037" fmla="*/ 453416 h 1451770"/>
                <a:gd name="connsiteX2038" fmla="*/ 2666350 w 3773795"/>
                <a:gd name="connsiteY2038" fmla="*/ 452206 h 1451770"/>
                <a:gd name="connsiteX2039" fmla="*/ 2665171 w 3773795"/>
                <a:gd name="connsiteY2039" fmla="*/ 451447 h 1451770"/>
                <a:gd name="connsiteX2040" fmla="*/ 2653731 w 3773795"/>
                <a:gd name="connsiteY2040" fmla="*/ 450781 h 1451770"/>
                <a:gd name="connsiteX2041" fmla="*/ 2651261 w 3773795"/>
                <a:gd name="connsiteY2041" fmla="*/ 451528 h 1451770"/>
                <a:gd name="connsiteX2042" fmla="*/ 2649607 w 3773795"/>
                <a:gd name="connsiteY2042" fmla="*/ 453359 h 1451770"/>
                <a:gd name="connsiteX2043" fmla="*/ 2643988 w 3773795"/>
                <a:gd name="connsiteY2043" fmla="*/ 453359 h 1451770"/>
                <a:gd name="connsiteX2044" fmla="*/ 2643295 w 3773795"/>
                <a:gd name="connsiteY2044" fmla="*/ 449175 h 1451770"/>
                <a:gd name="connsiteX2045" fmla="*/ 2643202 w 3773795"/>
                <a:gd name="connsiteY2045" fmla="*/ 446461 h 1451770"/>
                <a:gd name="connsiteX2046" fmla="*/ 2650562 w 3773795"/>
                <a:gd name="connsiteY2046" fmla="*/ 440767 h 1451770"/>
                <a:gd name="connsiteX2047" fmla="*/ 2653381 w 3773795"/>
                <a:gd name="connsiteY2047" fmla="*/ 439532 h 1451770"/>
                <a:gd name="connsiteX2048" fmla="*/ 2672164 w 3773795"/>
                <a:gd name="connsiteY2048" fmla="*/ 439657 h 1451770"/>
                <a:gd name="connsiteX2049" fmla="*/ 2677792 w 3773795"/>
                <a:gd name="connsiteY2049" fmla="*/ 438579 h 1451770"/>
                <a:gd name="connsiteX2050" fmla="*/ 2686066 w 3773795"/>
                <a:gd name="connsiteY2050" fmla="*/ 435739 h 1451770"/>
                <a:gd name="connsiteX2051" fmla="*/ 2683941 w 3773795"/>
                <a:gd name="connsiteY2051" fmla="*/ 433936 h 1451770"/>
                <a:gd name="connsiteX2052" fmla="*/ 2683712 w 3773795"/>
                <a:gd name="connsiteY2052" fmla="*/ 430293 h 1451770"/>
                <a:gd name="connsiteX2053" fmla="*/ 2676625 w 3773795"/>
                <a:gd name="connsiteY2053" fmla="*/ 425010 h 1451770"/>
                <a:gd name="connsiteX2054" fmla="*/ 2677148 w 3773795"/>
                <a:gd name="connsiteY2054" fmla="*/ 423798 h 1451770"/>
                <a:gd name="connsiteX2055" fmla="*/ 2677858 w 3773795"/>
                <a:gd name="connsiteY2055" fmla="*/ 423023 h 1451770"/>
                <a:gd name="connsiteX2056" fmla="*/ 2680071 w 3773795"/>
                <a:gd name="connsiteY2056" fmla="*/ 422984 h 1451770"/>
                <a:gd name="connsiteX2057" fmla="*/ 2691162 w 3773795"/>
                <a:gd name="connsiteY2057" fmla="*/ 424383 h 1451770"/>
                <a:gd name="connsiteX2058" fmla="*/ 2695774 w 3773795"/>
                <a:gd name="connsiteY2058" fmla="*/ 427285 h 1451770"/>
                <a:gd name="connsiteX2059" fmla="*/ 2707783 w 3773795"/>
                <a:gd name="connsiteY2059" fmla="*/ 430133 h 1451770"/>
                <a:gd name="connsiteX2060" fmla="*/ 2739943 w 3773795"/>
                <a:gd name="connsiteY2060" fmla="*/ 431079 h 1451770"/>
                <a:gd name="connsiteX2061" fmla="*/ 2743594 w 3773795"/>
                <a:gd name="connsiteY2061" fmla="*/ 432128 h 1451770"/>
                <a:gd name="connsiteX2062" fmla="*/ 2757369 w 3773795"/>
                <a:gd name="connsiteY2062" fmla="*/ 433392 h 1451770"/>
                <a:gd name="connsiteX2063" fmla="*/ 2763223 w 3773795"/>
                <a:gd name="connsiteY2063" fmla="*/ 434778 h 1451770"/>
                <a:gd name="connsiteX2064" fmla="*/ 2777169 w 3773795"/>
                <a:gd name="connsiteY2064" fmla="*/ 436437 h 1451770"/>
                <a:gd name="connsiteX2065" fmla="*/ 2783502 w 3773795"/>
                <a:gd name="connsiteY2065" fmla="*/ 437612 h 1451770"/>
                <a:gd name="connsiteX2066" fmla="*/ 2788552 w 3773795"/>
                <a:gd name="connsiteY2066" fmla="*/ 439480 h 1451770"/>
                <a:gd name="connsiteX2067" fmla="*/ 2796715 w 3773795"/>
                <a:gd name="connsiteY2067" fmla="*/ 440563 h 1451770"/>
                <a:gd name="connsiteX2068" fmla="*/ 2800466 w 3773795"/>
                <a:gd name="connsiteY2068" fmla="*/ 441778 h 1451770"/>
                <a:gd name="connsiteX2069" fmla="*/ 2800065 w 3773795"/>
                <a:gd name="connsiteY2069" fmla="*/ 445630 h 1451770"/>
                <a:gd name="connsiteX2070" fmla="*/ 2783089 w 3773795"/>
                <a:gd name="connsiteY2070" fmla="*/ 445116 h 1451770"/>
                <a:gd name="connsiteX2071" fmla="*/ 2777468 w 3773795"/>
                <a:gd name="connsiteY2071" fmla="*/ 443842 h 1451770"/>
                <a:gd name="connsiteX2072" fmla="*/ 2770494 w 3773795"/>
                <a:gd name="connsiteY2072" fmla="*/ 443694 h 1451770"/>
                <a:gd name="connsiteX2073" fmla="*/ 2767816 w 3773795"/>
                <a:gd name="connsiteY2073" fmla="*/ 444275 h 1451770"/>
                <a:gd name="connsiteX2074" fmla="*/ 2763642 w 3773795"/>
                <a:gd name="connsiteY2074" fmla="*/ 447467 h 1451770"/>
                <a:gd name="connsiteX2075" fmla="*/ 2758630 w 3773795"/>
                <a:gd name="connsiteY2075" fmla="*/ 449136 h 1451770"/>
                <a:gd name="connsiteX2076" fmla="*/ 2754391 w 3773795"/>
                <a:gd name="connsiteY2076" fmla="*/ 449408 h 1451770"/>
                <a:gd name="connsiteX2077" fmla="*/ 2757171 w 3773795"/>
                <a:gd name="connsiteY2077" fmla="*/ 452151 h 1451770"/>
                <a:gd name="connsiteX2078" fmla="*/ 2761057 w 3773795"/>
                <a:gd name="connsiteY2078" fmla="*/ 452892 h 1451770"/>
                <a:gd name="connsiteX2079" fmla="*/ 2773627 w 3773795"/>
                <a:gd name="connsiteY2079" fmla="*/ 449363 h 1451770"/>
                <a:gd name="connsiteX2080" fmla="*/ 2808011 w 3773795"/>
                <a:gd name="connsiteY2080" fmla="*/ 447595 h 1451770"/>
                <a:gd name="connsiteX2081" fmla="*/ 2813266 w 3773795"/>
                <a:gd name="connsiteY2081" fmla="*/ 447887 h 1451770"/>
                <a:gd name="connsiteX2082" fmla="*/ 2812718 w 3773795"/>
                <a:gd name="connsiteY2082" fmla="*/ 450330 h 1451770"/>
                <a:gd name="connsiteX2083" fmla="*/ 2808123 w 3773795"/>
                <a:gd name="connsiteY2083" fmla="*/ 455013 h 1451770"/>
                <a:gd name="connsiteX2084" fmla="*/ 2803754 w 3773795"/>
                <a:gd name="connsiteY2084" fmla="*/ 458652 h 1451770"/>
                <a:gd name="connsiteX2085" fmla="*/ 2797378 w 3773795"/>
                <a:gd name="connsiteY2085" fmla="*/ 462387 h 1451770"/>
                <a:gd name="connsiteX2086" fmla="*/ 2795002 w 3773795"/>
                <a:gd name="connsiteY2086" fmla="*/ 462367 h 1451770"/>
                <a:gd name="connsiteX2087" fmla="*/ 2799965 w 3773795"/>
                <a:gd name="connsiteY2087" fmla="*/ 454435 h 1451770"/>
                <a:gd name="connsiteX2088" fmla="*/ 2797909 w 3773795"/>
                <a:gd name="connsiteY2088" fmla="*/ 454063 h 1451770"/>
                <a:gd name="connsiteX2089" fmla="*/ 2796011 w 3773795"/>
                <a:gd name="connsiteY2089" fmla="*/ 454237 h 1451770"/>
                <a:gd name="connsiteX2090" fmla="*/ 2790437 w 3773795"/>
                <a:gd name="connsiteY2090" fmla="*/ 450939 h 1451770"/>
                <a:gd name="connsiteX2091" fmla="*/ 2789535 w 3773795"/>
                <a:gd name="connsiteY2091" fmla="*/ 450773 h 1451770"/>
                <a:gd name="connsiteX2092" fmla="*/ 2788453 w 3773795"/>
                <a:gd name="connsiteY2092" fmla="*/ 451583 h 1451770"/>
                <a:gd name="connsiteX2093" fmla="*/ 2788464 w 3773795"/>
                <a:gd name="connsiteY2093" fmla="*/ 452775 h 1451770"/>
                <a:gd name="connsiteX2094" fmla="*/ 2787445 w 3773795"/>
                <a:gd name="connsiteY2094" fmla="*/ 457351 h 1451770"/>
                <a:gd name="connsiteX2095" fmla="*/ 2789494 w 3773795"/>
                <a:gd name="connsiteY2095" fmla="*/ 459265 h 1451770"/>
                <a:gd name="connsiteX2096" fmla="*/ 2789494 w 3773795"/>
                <a:gd name="connsiteY2096" fmla="*/ 462538 h 1451770"/>
                <a:gd name="connsiteX2097" fmla="*/ 2781766 w 3773795"/>
                <a:gd name="connsiteY2097" fmla="*/ 464646 h 1451770"/>
                <a:gd name="connsiteX2098" fmla="*/ 2778758 w 3773795"/>
                <a:gd name="connsiteY2098" fmla="*/ 464461 h 1451770"/>
                <a:gd name="connsiteX2099" fmla="*/ 2775542 w 3773795"/>
                <a:gd name="connsiteY2099" fmla="*/ 463122 h 1451770"/>
                <a:gd name="connsiteX2100" fmla="*/ 2774176 w 3773795"/>
                <a:gd name="connsiteY2100" fmla="*/ 463166 h 1451770"/>
                <a:gd name="connsiteX2101" fmla="*/ 2773797 w 3773795"/>
                <a:gd name="connsiteY2101" fmla="*/ 464198 h 1451770"/>
                <a:gd name="connsiteX2102" fmla="*/ 2774480 w 3773795"/>
                <a:gd name="connsiteY2102" fmla="*/ 466107 h 1451770"/>
                <a:gd name="connsiteX2103" fmla="*/ 2774391 w 3773795"/>
                <a:gd name="connsiteY2103" fmla="*/ 467085 h 1451770"/>
                <a:gd name="connsiteX2104" fmla="*/ 2773156 w 3773795"/>
                <a:gd name="connsiteY2104" fmla="*/ 468612 h 1451770"/>
                <a:gd name="connsiteX2105" fmla="*/ 2772532 w 3773795"/>
                <a:gd name="connsiteY2105" fmla="*/ 470268 h 1451770"/>
                <a:gd name="connsiteX2106" fmla="*/ 2774432 w 3773795"/>
                <a:gd name="connsiteY2106" fmla="*/ 472155 h 1451770"/>
                <a:gd name="connsiteX2107" fmla="*/ 2776931 w 3773795"/>
                <a:gd name="connsiteY2107" fmla="*/ 472629 h 1451770"/>
                <a:gd name="connsiteX2108" fmla="*/ 2790557 w 3773795"/>
                <a:gd name="connsiteY2108" fmla="*/ 470551 h 1451770"/>
                <a:gd name="connsiteX2109" fmla="*/ 2796493 w 3773795"/>
                <a:gd name="connsiteY2109" fmla="*/ 468010 h 1451770"/>
                <a:gd name="connsiteX2110" fmla="*/ 2803010 w 3773795"/>
                <a:gd name="connsiteY2110" fmla="*/ 463331 h 1451770"/>
                <a:gd name="connsiteX2111" fmla="*/ 2814658 w 3773795"/>
                <a:gd name="connsiteY2111" fmla="*/ 451949 h 1451770"/>
                <a:gd name="connsiteX2112" fmla="*/ 2819795 w 3773795"/>
                <a:gd name="connsiteY2112" fmla="*/ 448027 h 1451770"/>
                <a:gd name="connsiteX2113" fmla="*/ 2822774 w 3773795"/>
                <a:gd name="connsiteY2113" fmla="*/ 446538 h 1451770"/>
                <a:gd name="connsiteX2114" fmla="*/ 2826582 w 3773795"/>
                <a:gd name="connsiteY2114" fmla="*/ 445996 h 1451770"/>
                <a:gd name="connsiteX2115" fmla="*/ 2847987 w 3773795"/>
                <a:gd name="connsiteY2115" fmla="*/ 447199 h 1451770"/>
                <a:gd name="connsiteX2116" fmla="*/ 2860432 w 3773795"/>
                <a:gd name="connsiteY2116" fmla="*/ 449675 h 1451770"/>
                <a:gd name="connsiteX2117" fmla="*/ 2872300 w 3773795"/>
                <a:gd name="connsiteY2117" fmla="*/ 453325 h 1451770"/>
                <a:gd name="connsiteX2118" fmla="*/ 2878151 w 3773795"/>
                <a:gd name="connsiteY2118" fmla="*/ 456348 h 1451770"/>
                <a:gd name="connsiteX2119" fmla="*/ 2882505 w 3773795"/>
                <a:gd name="connsiteY2119" fmla="*/ 460440 h 1451770"/>
                <a:gd name="connsiteX2120" fmla="*/ 2883281 w 3773795"/>
                <a:gd name="connsiteY2120" fmla="*/ 462160 h 1451770"/>
                <a:gd name="connsiteX2121" fmla="*/ 2883695 w 3773795"/>
                <a:gd name="connsiteY2121" fmla="*/ 464419 h 1451770"/>
                <a:gd name="connsiteX2122" fmla="*/ 2880692 w 3773795"/>
                <a:gd name="connsiteY2122" fmla="*/ 466585 h 1451770"/>
                <a:gd name="connsiteX2123" fmla="*/ 2867394 w 3773795"/>
                <a:gd name="connsiteY2123" fmla="*/ 467303 h 1451770"/>
                <a:gd name="connsiteX2124" fmla="*/ 2862287 w 3773795"/>
                <a:gd name="connsiteY2124" fmla="*/ 468527 h 1451770"/>
                <a:gd name="connsiteX2125" fmla="*/ 2860443 w 3773795"/>
                <a:gd name="connsiteY2125" fmla="*/ 469881 h 1451770"/>
                <a:gd name="connsiteX2126" fmla="*/ 2860212 w 3773795"/>
                <a:gd name="connsiteY2126" fmla="*/ 470647 h 1451770"/>
                <a:gd name="connsiteX2127" fmla="*/ 2859515 w 3773795"/>
                <a:gd name="connsiteY2127" fmla="*/ 471857 h 1451770"/>
                <a:gd name="connsiteX2128" fmla="*/ 2860506 w 3773795"/>
                <a:gd name="connsiteY2128" fmla="*/ 472848 h 1451770"/>
                <a:gd name="connsiteX2129" fmla="*/ 2866469 w 3773795"/>
                <a:gd name="connsiteY2129" fmla="*/ 472951 h 1451770"/>
                <a:gd name="connsiteX2130" fmla="*/ 2872222 w 3773795"/>
                <a:gd name="connsiteY2130" fmla="*/ 473932 h 1451770"/>
                <a:gd name="connsiteX2131" fmla="*/ 2880162 w 3773795"/>
                <a:gd name="connsiteY2131" fmla="*/ 476492 h 1451770"/>
                <a:gd name="connsiteX2132" fmla="*/ 2881391 w 3773795"/>
                <a:gd name="connsiteY2132" fmla="*/ 477341 h 1451770"/>
                <a:gd name="connsiteX2133" fmla="*/ 2883907 w 3773795"/>
                <a:gd name="connsiteY2133" fmla="*/ 479767 h 1451770"/>
                <a:gd name="connsiteX2134" fmla="*/ 2884667 w 3773795"/>
                <a:gd name="connsiteY2134" fmla="*/ 480196 h 1451770"/>
                <a:gd name="connsiteX2135" fmla="*/ 2896584 w 3773795"/>
                <a:gd name="connsiteY2135" fmla="*/ 479817 h 1451770"/>
                <a:gd name="connsiteX2136" fmla="*/ 2897360 w 3773795"/>
                <a:gd name="connsiteY2136" fmla="*/ 480684 h 1451770"/>
                <a:gd name="connsiteX2137" fmla="*/ 2898087 w 3773795"/>
                <a:gd name="connsiteY2137" fmla="*/ 482466 h 1451770"/>
                <a:gd name="connsiteX2138" fmla="*/ 2894933 w 3773795"/>
                <a:gd name="connsiteY2138" fmla="*/ 485293 h 1451770"/>
                <a:gd name="connsiteX2139" fmla="*/ 2891830 w 3773795"/>
                <a:gd name="connsiteY2139" fmla="*/ 487207 h 1451770"/>
                <a:gd name="connsiteX2140" fmla="*/ 2885481 w 3773795"/>
                <a:gd name="connsiteY2140" fmla="*/ 491767 h 1451770"/>
                <a:gd name="connsiteX2141" fmla="*/ 2888694 w 3773795"/>
                <a:gd name="connsiteY2141" fmla="*/ 490118 h 1451770"/>
                <a:gd name="connsiteX2142" fmla="*/ 2901490 w 3773795"/>
                <a:gd name="connsiteY2142" fmla="*/ 486227 h 1451770"/>
                <a:gd name="connsiteX2143" fmla="*/ 2904721 w 3773795"/>
                <a:gd name="connsiteY2143" fmla="*/ 485512 h 1451770"/>
                <a:gd name="connsiteX2144" fmla="*/ 2908647 w 3773795"/>
                <a:gd name="connsiteY2144" fmla="*/ 485786 h 1451770"/>
                <a:gd name="connsiteX2145" fmla="*/ 2918313 w 3773795"/>
                <a:gd name="connsiteY2145" fmla="*/ 489315 h 1451770"/>
                <a:gd name="connsiteX2146" fmla="*/ 2922234 w 3773795"/>
                <a:gd name="connsiteY2146" fmla="*/ 492122 h 1451770"/>
                <a:gd name="connsiteX2147" fmla="*/ 2929597 w 3773795"/>
                <a:gd name="connsiteY2147" fmla="*/ 499998 h 1451770"/>
                <a:gd name="connsiteX2148" fmla="*/ 2927542 w 3773795"/>
                <a:gd name="connsiteY2148" fmla="*/ 500838 h 1451770"/>
                <a:gd name="connsiteX2149" fmla="*/ 2922284 w 3773795"/>
                <a:gd name="connsiteY2149" fmla="*/ 501647 h 1451770"/>
                <a:gd name="connsiteX2150" fmla="*/ 2938797 w 3773795"/>
                <a:gd name="connsiteY2150" fmla="*/ 507611 h 1451770"/>
                <a:gd name="connsiteX2151" fmla="*/ 2945199 w 3773795"/>
                <a:gd name="connsiteY2151" fmla="*/ 507564 h 1451770"/>
                <a:gd name="connsiteX2152" fmla="*/ 2959844 w 3773795"/>
                <a:gd name="connsiteY2152" fmla="*/ 505834 h 1451770"/>
                <a:gd name="connsiteX2153" fmla="*/ 2967218 w 3773795"/>
                <a:gd name="connsiteY2153" fmla="*/ 505779 h 1451770"/>
                <a:gd name="connsiteX2154" fmla="*/ 2980924 w 3773795"/>
                <a:gd name="connsiteY2154" fmla="*/ 501970 h 1451770"/>
                <a:gd name="connsiteX2155" fmla="*/ 2994534 w 3773795"/>
                <a:gd name="connsiteY2155" fmla="*/ 499556 h 1451770"/>
                <a:gd name="connsiteX2156" fmla="*/ 3007059 w 3773795"/>
                <a:gd name="connsiteY2156" fmla="*/ 499379 h 1451770"/>
                <a:gd name="connsiteX2157" fmla="*/ 3013677 w 3773795"/>
                <a:gd name="connsiteY2157" fmla="*/ 497078 h 1451770"/>
                <a:gd name="connsiteX2158" fmla="*/ 3031131 w 3773795"/>
                <a:gd name="connsiteY2158" fmla="*/ 497149 h 1451770"/>
                <a:gd name="connsiteX2159" fmla="*/ 3047998 w 3773795"/>
                <a:gd name="connsiteY2159" fmla="*/ 497927 h 1451770"/>
                <a:gd name="connsiteX2160" fmla="*/ 3061037 w 3773795"/>
                <a:gd name="connsiteY2160" fmla="*/ 499352 h 1451770"/>
                <a:gd name="connsiteX2161" fmla="*/ 3075745 w 3773795"/>
                <a:gd name="connsiteY2161" fmla="*/ 503561 h 1451770"/>
                <a:gd name="connsiteX2162" fmla="*/ 3090085 w 3773795"/>
                <a:gd name="connsiteY2162" fmla="*/ 509371 h 1451770"/>
                <a:gd name="connsiteX2163" fmla="*/ 3098426 w 3773795"/>
                <a:gd name="connsiteY2163" fmla="*/ 515034 h 1451770"/>
                <a:gd name="connsiteX2164" fmla="*/ 3100124 w 3773795"/>
                <a:gd name="connsiteY2164" fmla="*/ 516826 h 1451770"/>
                <a:gd name="connsiteX2165" fmla="*/ 3102493 w 3773795"/>
                <a:gd name="connsiteY2165" fmla="*/ 520779 h 1451770"/>
                <a:gd name="connsiteX2166" fmla="*/ 3103527 w 3773795"/>
                <a:gd name="connsiteY2166" fmla="*/ 524072 h 1451770"/>
                <a:gd name="connsiteX2167" fmla="*/ 3104585 w 3773795"/>
                <a:gd name="connsiteY2167" fmla="*/ 528613 h 1451770"/>
                <a:gd name="connsiteX2168" fmla="*/ 3104076 w 3773795"/>
                <a:gd name="connsiteY2168" fmla="*/ 532124 h 1451770"/>
                <a:gd name="connsiteX2169" fmla="*/ 3102002 w 3773795"/>
                <a:gd name="connsiteY2169" fmla="*/ 534609 h 1451770"/>
                <a:gd name="connsiteX2170" fmla="*/ 3100715 w 3773795"/>
                <a:gd name="connsiteY2170" fmla="*/ 537675 h 1451770"/>
                <a:gd name="connsiteX2171" fmla="*/ 3100886 w 3773795"/>
                <a:gd name="connsiteY2171" fmla="*/ 541294 h 1451770"/>
                <a:gd name="connsiteX2172" fmla="*/ 3098459 w 3773795"/>
                <a:gd name="connsiteY2172" fmla="*/ 546023 h 1451770"/>
                <a:gd name="connsiteX2173" fmla="*/ 3100739 w 3773795"/>
                <a:gd name="connsiteY2173" fmla="*/ 549383 h 1451770"/>
                <a:gd name="connsiteX2174" fmla="*/ 3107077 w 3773795"/>
                <a:gd name="connsiteY2174" fmla="*/ 551554 h 1451770"/>
                <a:gd name="connsiteX2175" fmla="*/ 3120794 w 3773795"/>
                <a:gd name="connsiteY2175" fmla="*/ 554485 h 1451770"/>
                <a:gd name="connsiteX2176" fmla="*/ 3124581 w 3773795"/>
                <a:gd name="connsiteY2176" fmla="*/ 556401 h 1451770"/>
                <a:gd name="connsiteX2177" fmla="*/ 3124983 w 3773795"/>
                <a:gd name="connsiteY2177" fmla="*/ 562190 h 1451770"/>
                <a:gd name="connsiteX2178" fmla="*/ 3126157 w 3773795"/>
                <a:gd name="connsiteY2178" fmla="*/ 567036 h 1451770"/>
                <a:gd name="connsiteX2179" fmla="*/ 3127341 w 3773795"/>
                <a:gd name="connsiteY2179" fmla="*/ 576230 h 1451770"/>
                <a:gd name="connsiteX2180" fmla="*/ 3129669 w 3773795"/>
                <a:gd name="connsiteY2180" fmla="*/ 578532 h 1451770"/>
                <a:gd name="connsiteX2181" fmla="*/ 3133406 w 3773795"/>
                <a:gd name="connsiteY2181" fmla="*/ 580725 h 1451770"/>
                <a:gd name="connsiteX2182" fmla="*/ 3134087 w 3773795"/>
                <a:gd name="connsiteY2182" fmla="*/ 583709 h 1451770"/>
                <a:gd name="connsiteX2183" fmla="*/ 3129407 w 3773795"/>
                <a:gd name="connsiteY2183" fmla="*/ 593403 h 1451770"/>
                <a:gd name="connsiteX2184" fmla="*/ 3126481 w 3773795"/>
                <a:gd name="connsiteY2184" fmla="*/ 595185 h 1451770"/>
                <a:gd name="connsiteX2185" fmla="*/ 3123371 w 3773795"/>
                <a:gd name="connsiteY2185" fmla="*/ 597843 h 1451770"/>
                <a:gd name="connsiteX2186" fmla="*/ 3128866 w 3773795"/>
                <a:gd name="connsiteY2186" fmla="*/ 596915 h 1451770"/>
                <a:gd name="connsiteX2187" fmla="*/ 3131645 w 3773795"/>
                <a:gd name="connsiteY2187" fmla="*/ 593401 h 1451770"/>
                <a:gd name="connsiteX2188" fmla="*/ 3134629 w 3773795"/>
                <a:gd name="connsiteY2188" fmla="*/ 586884 h 1451770"/>
                <a:gd name="connsiteX2189" fmla="*/ 3137507 w 3773795"/>
                <a:gd name="connsiteY2189" fmla="*/ 585847 h 1451770"/>
                <a:gd name="connsiteX2190" fmla="*/ 3139062 w 3773795"/>
                <a:gd name="connsiteY2190" fmla="*/ 583709 h 1451770"/>
                <a:gd name="connsiteX2191" fmla="*/ 3139062 w 3773795"/>
                <a:gd name="connsiteY2191" fmla="*/ 577559 h 1451770"/>
                <a:gd name="connsiteX2192" fmla="*/ 3137170 w 3773795"/>
                <a:gd name="connsiteY2192" fmla="*/ 572208 h 1451770"/>
                <a:gd name="connsiteX2193" fmla="*/ 3137170 w 3773795"/>
                <a:gd name="connsiteY2193" fmla="*/ 568376 h 1451770"/>
                <a:gd name="connsiteX2194" fmla="*/ 3138427 w 3773795"/>
                <a:gd name="connsiteY2194" fmla="*/ 565277 h 1451770"/>
                <a:gd name="connsiteX2195" fmla="*/ 3147453 w 3773795"/>
                <a:gd name="connsiteY2195" fmla="*/ 558801 h 1451770"/>
                <a:gd name="connsiteX2196" fmla="*/ 3152338 w 3773795"/>
                <a:gd name="connsiteY2196" fmla="*/ 556196 h 1451770"/>
                <a:gd name="connsiteX2197" fmla="*/ 3156974 w 3773795"/>
                <a:gd name="connsiteY2197" fmla="*/ 554725 h 1451770"/>
                <a:gd name="connsiteX2198" fmla="*/ 3169555 w 3773795"/>
                <a:gd name="connsiteY2198" fmla="*/ 553402 h 1451770"/>
                <a:gd name="connsiteX2199" fmla="*/ 3175232 w 3773795"/>
                <a:gd name="connsiteY2199" fmla="*/ 552145 h 1451770"/>
                <a:gd name="connsiteX2200" fmla="*/ 3181792 w 3773795"/>
                <a:gd name="connsiteY2200" fmla="*/ 552989 h 1451770"/>
                <a:gd name="connsiteX2201" fmla="*/ 3186375 w 3773795"/>
                <a:gd name="connsiteY2201" fmla="*/ 552653 h 1451770"/>
                <a:gd name="connsiteX2202" fmla="*/ 3191697 w 3773795"/>
                <a:gd name="connsiteY2202" fmla="*/ 551342 h 1451770"/>
                <a:gd name="connsiteX2203" fmla="*/ 3196420 w 3773795"/>
                <a:gd name="connsiteY2203" fmla="*/ 551966 h 1451770"/>
                <a:gd name="connsiteX2204" fmla="*/ 3204241 w 3773795"/>
                <a:gd name="connsiteY2204" fmla="*/ 556292 h 1451770"/>
                <a:gd name="connsiteX2205" fmla="*/ 3231824 w 3773795"/>
                <a:gd name="connsiteY2205" fmla="*/ 557261 h 1451770"/>
                <a:gd name="connsiteX2206" fmla="*/ 3236683 w 3773795"/>
                <a:gd name="connsiteY2206" fmla="*/ 558767 h 1451770"/>
                <a:gd name="connsiteX2207" fmla="*/ 3255254 w 3773795"/>
                <a:gd name="connsiteY2207" fmla="*/ 560585 h 1451770"/>
                <a:gd name="connsiteX2208" fmla="*/ 3256671 w 3773795"/>
                <a:gd name="connsiteY2208" fmla="*/ 560572 h 1451770"/>
                <a:gd name="connsiteX2209" fmla="*/ 3260845 w 3773795"/>
                <a:gd name="connsiteY2209" fmla="*/ 558436 h 1451770"/>
                <a:gd name="connsiteX2210" fmla="*/ 3273117 w 3773795"/>
                <a:gd name="connsiteY2210" fmla="*/ 551138 h 1451770"/>
                <a:gd name="connsiteX2211" fmla="*/ 3278174 w 3773795"/>
                <a:gd name="connsiteY2211" fmla="*/ 551615 h 1451770"/>
                <a:gd name="connsiteX2212" fmla="*/ 3280236 w 3773795"/>
                <a:gd name="connsiteY2212" fmla="*/ 552757 h 1451770"/>
                <a:gd name="connsiteX2213" fmla="*/ 3282393 w 3773795"/>
                <a:gd name="connsiteY2213" fmla="*/ 555645 h 1451770"/>
                <a:gd name="connsiteX2214" fmla="*/ 3284656 w 3773795"/>
                <a:gd name="connsiteY2214" fmla="*/ 557537 h 1451770"/>
                <a:gd name="connsiteX2215" fmla="*/ 3286425 w 3773795"/>
                <a:gd name="connsiteY2215" fmla="*/ 562640 h 1451770"/>
                <a:gd name="connsiteX2216" fmla="*/ 3288040 w 3773795"/>
                <a:gd name="connsiteY2216" fmla="*/ 569491 h 1451770"/>
                <a:gd name="connsiteX2217" fmla="*/ 3290695 w 3773795"/>
                <a:gd name="connsiteY2217" fmla="*/ 570736 h 1451770"/>
                <a:gd name="connsiteX2218" fmla="*/ 3294333 w 3773795"/>
                <a:gd name="connsiteY2218" fmla="*/ 571170 h 1451770"/>
                <a:gd name="connsiteX2219" fmla="*/ 3302262 w 3773795"/>
                <a:gd name="connsiteY2219" fmla="*/ 573700 h 1451770"/>
                <a:gd name="connsiteX2220" fmla="*/ 3310320 w 3773795"/>
                <a:gd name="connsiteY2220" fmla="*/ 576954 h 1451770"/>
                <a:gd name="connsiteX2221" fmla="*/ 3312620 w 3773795"/>
                <a:gd name="connsiteY2221" fmla="*/ 583150 h 1451770"/>
                <a:gd name="connsiteX2222" fmla="*/ 3316937 w 3773795"/>
                <a:gd name="connsiteY2222" fmla="*/ 588311 h 1451770"/>
                <a:gd name="connsiteX2223" fmla="*/ 3327015 w 3773795"/>
                <a:gd name="connsiteY2223" fmla="*/ 587823 h 1451770"/>
                <a:gd name="connsiteX2224" fmla="*/ 3337451 w 3773795"/>
                <a:gd name="connsiteY2224" fmla="*/ 586792 h 1451770"/>
                <a:gd name="connsiteX2225" fmla="*/ 3347575 w 3773795"/>
                <a:gd name="connsiteY2225" fmla="*/ 578282 h 1451770"/>
                <a:gd name="connsiteX2226" fmla="*/ 3347602 w 3773795"/>
                <a:gd name="connsiteY2226" fmla="*/ 574812 h 1451770"/>
                <a:gd name="connsiteX2227" fmla="*/ 3345106 w 3773795"/>
                <a:gd name="connsiteY2227" fmla="*/ 569797 h 1451770"/>
                <a:gd name="connsiteX2228" fmla="*/ 3341355 w 3773795"/>
                <a:gd name="connsiteY2228" fmla="*/ 564938 h 1451770"/>
                <a:gd name="connsiteX2229" fmla="*/ 3338438 w 3773795"/>
                <a:gd name="connsiteY2229" fmla="*/ 557303 h 1451770"/>
                <a:gd name="connsiteX2230" fmla="*/ 3329122 w 3773795"/>
                <a:gd name="connsiteY2230" fmla="*/ 555608 h 1451770"/>
                <a:gd name="connsiteX2231" fmla="*/ 3330012 w 3773795"/>
                <a:gd name="connsiteY2231" fmla="*/ 553384 h 1451770"/>
                <a:gd name="connsiteX2232" fmla="*/ 3333514 w 3773795"/>
                <a:gd name="connsiteY2232" fmla="*/ 550720 h 1451770"/>
                <a:gd name="connsiteX2233" fmla="*/ 3336689 w 3773795"/>
                <a:gd name="connsiteY2233" fmla="*/ 546562 h 1451770"/>
                <a:gd name="connsiteX2234" fmla="*/ 3337181 w 3773795"/>
                <a:gd name="connsiteY2234" fmla="*/ 543353 h 1451770"/>
                <a:gd name="connsiteX2235" fmla="*/ 3336328 w 3773795"/>
                <a:gd name="connsiteY2235" fmla="*/ 536640 h 1451770"/>
                <a:gd name="connsiteX2236" fmla="*/ 3344756 w 3773795"/>
                <a:gd name="connsiteY2236" fmla="*/ 537096 h 1451770"/>
                <a:gd name="connsiteX2237" fmla="*/ 3353130 w 3773795"/>
                <a:gd name="connsiteY2237" fmla="*/ 537885 h 1451770"/>
                <a:gd name="connsiteX2238" fmla="*/ 3369135 w 3773795"/>
                <a:gd name="connsiteY2238" fmla="*/ 540884 h 1451770"/>
                <a:gd name="connsiteX2239" fmla="*/ 3382161 w 3773795"/>
                <a:gd name="connsiteY2239" fmla="*/ 542149 h 1451770"/>
                <a:gd name="connsiteX2240" fmla="*/ 3389009 w 3773795"/>
                <a:gd name="connsiteY2240" fmla="*/ 544068 h 1451770"/>
                <a:gd name="connsiteX2241" fmla="*/ 3393146 w 3773795"/>
                <a:gd name="connsiteY2241" fmla="*/ 546231 h 1451770"/>
                <a:gd name="connsiteX2242" fmla="*/ 3398034 w 3773795"/>
                <a:gd name="connsiteY2242" fmla="*/ 547852 h 1451770"/>
                <a:gd name="connsiteX2243" fmla="*/ 3399713 w 3773795"/>
                <a:gd name="connsiteY2243" fmla="*/ 543900 h 1451770"/>
                <a:gd name="connsiteX2244" fmla="*/ 3401600 w 3773795"/>
                <a:gd name="connsiteY2244" fmla="*/ 543000 h 1451770"/>
                <a:gd name="connsiteX2245" fmla="*/ 3408117 w 3773795"/>
                <a:gd name="connsiteY2245" fmla="*/ 545199 h 1451770"/>
                <a:gd name="connsiteX2246" fmla="*/ 3412864 w 3773795"/>
                <a:gd name="connsiteY2246" fmla="*/ 545869 h 1451770"/>
                <a:gd name="connsiteX2247" fmla="*/ 3421076 w 3773795"/>
                <a:gd name="connsiteY2247" fmla="*/ 545573 h 1451770"/>
                <a:gd name="connsiteX2248" fmla="*/ 3431382 w 3773795"/>
                <a:gd name="connsiteY2248" fmla="*/ 546597 h 1451770"/>
                <a:gd name="connsiteX2249" fmla="*/ 3442660 w 3773795"/>
                <a:gd name="connsiteY2249" fmla="*/ 546424 h 1451770"/>
                <a:gd name="connsiteX2250" fmla="*/ 3452734 w 3773795"/>
                <a:gd name="connsiteY2250" fmla="*/ 544684 h 1451770"/>
                <a:gd name="connsiteX2251" fmla="*/ 3456500 w 3773795"/>
                <a:gd name="connsiteY2251" fmla="*/ 545033 h 1451770"/>
                <a:gd name="connsiteX2252" fmla="*/ 3460614 w 3773795"/>
                <a:gd name="connsiteY2252" fmla="*/ 546414 h 1451770"/>
                <a:gd name="connsiteX2253" fmla="*/ 3467312 w 3773795"/>
                <a:gd name="connsiteY2253" fmla="*/ 550030 h 1451770"/>
                <a:gd name="connsiteX2254" fmla="*/ 3478677 w 3773795"/>
                <a:gd name="connsiteY2254" fmla="*/ 554845 h 1451770"/>
                <a:gd name="connsiteX2255" fmla="*/ 3489072 w 3773795"/>
                <a:gd name="connsiteY2255" fmla="*/ 556195 h 1451770"/>
                <a:gd name="connsiteX2256" fmla="*/ 3500994 w 3773795"/>
                <a:gd name="connsiteY2256" fmla="*/ 560740 h 1451770"/>
                <a:gd name="connsiteX2257" fmla="*/ 3512252 w 3773795"/>
                <a:gd name="connsiteY2257" fmla="*/ 562407 h 1451770"/>
                <a:gd name="connsiteX2258" fmla="*/ 3521219 w 3773795"/>
                <a:gd name="connsiteY2258" fmla="*/ 564978 h 1451770"/>
                <a:gd name="connsiteX2259" fmla="*/ 3522515 w 3773795"/>
                <a:gd name="connsiteY2259" fmla="*/ 565957 h 1451770"/>
                <a:gd name="connsiteX2260" fmla="*/ 3522914 w 3773795"/>
                <a:gd name="connsiteY2260" fmla="*/ 567367 h 1451770"/>
                <a:gd name="connsiteX2261" fmla="*/ 3523483 w 3773795"/>
                <a:gd name="connsiteY2261" fmla="*/ 568544 h 1451770"/>
                <a:gd name="connsiteX2262" fmla="*/ 3530602 w 3773795"/>
                <a:gd name="connsiteY2262" fmla="*/ 569951 h 1451770"/>
                <a:gd name="connsiteX2263" fmla="*/ 3543771 w 3773795"/>
                <a:gd name="connsiteY2263" fmla="*/ 579547 h 1451770"/>
                <a:gd name="connsiteX2264" fmla="*/ 3546685 w 3773795"/>
                <a:gd name="connsiteY2264" fmla="*/ 580680 h 1451770"/>
                <a:gd name="connsiteX2265" fmla="*/ 3546686 w 3773795"/>
                <a:gd name="connsiteY2265" fmla="*/ 580680 h 1451770"/>
                <a:gd name="connsiteX2266" fmla="*/ 3551140 w 3773795"/>
                <a:gd name="connsiteY2266" fmla="*/ 582345 h 1451770"/>
                <a:gd name="connsiteX2267" fmla="*/ 3555631 w 3773795"/>
                <a:gd name="connsiteY2267" fmla="*/ 583658 h 1451770"/>
                <a:gd name="connsiteX2268" fmla="*/ 3557421 w 3773795"/>
                <a:gd name="connsiteY2268" fmla="*/ 583246 h 1451770"/>
                <a:gd name="connsiteX2269" fmla="*/ 3558385 w 3773795"/>
                <a:gd name="connsiteY2269" fmla="*/ 583430 h 1451770"/>
                <a:gd name="connsiteX2270" fmla="*/ 3560926 w 3773795"/>
                <a:gd name="connsiteY2270" fmla="*/ 585726 h 1451770"/>
                <a:gd name="connsiteX2271" fmla="*/ 3562621 w 3773795"/>
                <a:gd name="connsiteY2271" fmla="*/ 586799 h 1451770"/>
                <a:gd name="connsiteX2272" fmla="*/ 3571586 w 3773795"/>
                <a:gd name="connsiteY2272" fmla="*/ 589542 h 1451770"/>
                <a:gd name="connsiteX2273" fmla="*/ 3575667 w 3773795"/>
                <a:gd name="connsiteY2273" fmla="*/ 592584 h 1451770"/>
                <a:gd name="connsiteX2274" fmla="*/ 3579001 w 3773795"/>
                <a:gd name="connsiteY2274" fmla="*/ 596026 h 1451770"/>
                <a:gd name="connsiteX2275" fmla="*/ 3577340 w 3773795"/>
                <a:gd name="connsiteY2275" fmla="*/ 595356 h 1451770"/>
                <a:gd name="connsiteX2276" fmla="*/ 3574293 w 3773795"/>
                <a:gd name="connsiteY2276" fmla="*/ 593150 h 1451770"/>
                <a:gd name="connsiteX2277" fmla="*/ 3574623 w 3773795"/>
                <a:gd name="connsiteY2277" fmla="*/ 595743 h 1451770"/>
                <a:gd name="connsiteX2278" fmla="*/ 3575593 w 3773795"/>
                <a:gd name="connsiteY2278" fmla="*/ 597549 h 1451770"/>
                <a:gd name="connsiteX2279" fmla="*/ 3580430 w 3773795"/>
                <a:gd name="connsiteY2279" fmla="*/ 599247 h 1451770"/>
                <a:gd name="connsiteX2280" fmla="*/ 3585504 w 3773795"/>
                <a:gd name="connsiteY2280" fmla="*/ 600593 h 1451770"/>
                <a:gd name="connsiteX2281" fmla="*/ 3588754 w 3773795"/>
                <a:gd name="connsiteY2281" fmla="*/ 602197 h 1451770"/>
                <a:gd name="connsiteX2282" fmla="*/ 3589833 w 3773795"/>
                <a:gd name="connsiteY2282" fmla="*/ 603590 h 1451770"/>
                <a:gd name="connsiteX2283" fmla="*/ 3590496 w 3773795"/>
                <a:gd name="connsiteY2283" fmla="*/ 606102 h 1451770"/>
                <a:gd name="connsiteX2284" fmla="*/ 3589675 w 3773795"/>
                <a:gd name="connsiteY2284" fmla="*/ 608312 h 1451770"/>
                <a:gd name="connsiteX2285" fmla="*/ 3592625 w 3773795"/>
                <a:gd name="connsiteY2285" fmla="*/ 607486 h 1451770"/>
                <a:gd name="connsiteX2286" fmla="*/ 3595403 w 3773795"/>
                <a:gd name="connsiteY2286" fmla="*/ 605519 h 1451770"/>
                <a:gd name="connsiteX2287" fmla="*/ 3593964 w 3773795"/>
                <a:gd name="connsiteY2287" fmla="*/ 603980 h 1451770"/>
                <a:gd name="connsiteX2288" fmla="*/ 3584618 w 3773795"/>
                <a:gd name="connsiteY2288" fmla="*/ 598602 h 1451770"/>
                <a:gd name="connsiteX2289" fmla="*/ 3582660 w 3773795"/>
                <a:gd name="connsiteY2289" fmla="*/ 596793 h 1451770"/>
                <a:gd name="connsiteX2290" fmla="*/ 3585384 w 3773795"/>
                <a:gd name="connsiteY2290" fmla="*/ 597725 h 1451770"/>
                <a:gd name="connsiteX2291" fmla="*/ 3597915 w 3773795"/>
                <a:gd name="connsiteY2291" fmla="*/ 604570 h 1451770"/>
                <a:gd name="connsiteX2292" fmla="*/ 3601362 w 3773795"/>
                <a:gd name="connsiteY2292" fmla="*/ 607186 h 1451770"/>
                <a:gd name="connsiteX2293" fmla="*/ 3599904 w 3773795"/>
                <a:gd name="connsiteY2293" fmla="*/ 607691 h 1451770"/>
                <a:gd name="connsiteX2294" fmla="*/ 3598883 w 3773795"/>
                <a:gd name="connsiteY2294" fmla="*/ 609216 h 1451770"/>
                <a:gd name="connsiteX2295" fmla="*/ 3599993 w 3773795"/>
                <a:gd name="connsiteY2295" fmla="*/ 609865 h 1451770"/>
                <a:gd name="connsiteX2296" fmla="*/ 3601503 w 3773795"/>
                <a:gd name="connsiteY2296" fmla="*/ 609382 h 1451770"/>
                <a:gd name="connsiteX2297" fmla="*/ 3604010 w 3773795"/>
                <a:gd name="connsiteY2297" fmla="*/ 609065 h 1451770"/>
                <a:gd name="connsiteX2298" fmla="*/ 3606445 w 3773795"/>
                <a:gd name="connsiteY2298" fmla="*/ 609930 h 1451770"/>
                <a:gd name="connsiteX2299" fmla="*/ 3609222 w 3773795"/>
                <a:gd name="connsiteY2299" fmla="*/ 611755 h 1451770"/>
                <a:gd name="connsiteX2300" fmla="*/ 3615072 w 3773795"/>
                <a:gd name="connsiteY2300" fmla="*/ 613870 h 1451770"/>
                <a:gd name="connsiteX2301" fmla="*/ 3649612 w 3773795"/>
                <a:gd name="connsiteY2301" fmla="*/ 630590 h 1451770"/>
                <a:gd name="connsiteX2302" fmla="*/ 3650394 w 3773795"/>
                <a:gd name="connsiteY2302" fmla="*/ 633458 h 1451770"/>
                <a:gd name="connsiteX2303" fmla="*/ 3651366 w 3773795"/>
                <a:gd name="connsiteY2303" fmla="*/ 634798 h 1451770"/>
                <a:gd name="connsiteX2304" fmla="*/ 3651948 w 3773795"/>
                <a:gd name="connsiteY2304" fmla="*/ 636507 h 1451770"/>
                <a:gd name="connsiteX2305" fmla="*/ 3652104 w 3773795"/>
                <a:gd name="connsiteY2305" fmla="*/ 639306 h 1451770"/>
                <a:gd name="connsiteX2306" fmla="*/ 3648959 w 3773795"/>
                <a:gd name="connsiteY2306" fmla="*/ 642659 h 1451770"/>
                <a:gd name="connsiteX2307" fmla="*/ 3653817 w 3773795"/>
                <a:gd name="connsiteY2307" fmla="*/ 642359 h 1451770"/>
                <a:gd name="connsiteX2308" fmla="*/ 3654530 w 3773795"/>
                <a:gd name="connsiteY2308" fmla="*/ 641925 h 1451770"/>
                <a:gd name="connsiteX2309" fmla="*/ 3655794 w 3773795"/>
                <a:gd name="connsiteY2309" fmla="*/ 640555 h 1451770"/>
                <a:gd name="connsiteX2310" fmla="*/ 3657186 w 3773795"/>
                <a:gd name="connsiteY2310" fmla="*/ 639651 h 1451770"/>
                <a:gd name="connsiteX2311" fmla="*/ 3659057 w 3773795"/>
                <a:gd name="connsiteY2311" fmla="*/ 640775 h 1451770"/>
                <a:gd name="connsiteX2312" fmla="*/ 3660566 w 3773795"/>
                <a:gd name="connsiteY2312" fmla="*/ 642978 h 1451770"/>
                <a:gd name="connsiteX2313" fmla="*/ 3660122 w 3773795"/>
                <a:gd name="connsiteY2313" fmla="*/ 645990 h 1451770"/>
                <a:gd name="connsiteX2314" fmla="*/ 3658784 w 3773795"/>
                <a:gd name="connsiteY2314" fmla="*/ 648425 h 1451770"/>
                <a:gd name="connsiteX2315" fmla="*/ 3658613 w 3773795"/>
                <a:gd name="connsiteY2315" fmla="*/ 652552 h 1451770"/>
                <a:gd name="connsiteX2316" fmla="*/ 3659787 w 3773795"/>
                <a:gd name="connsiteY2316" fmla="*/ 656012 h 1451770"/>
                <a:gd name="connsiteX2317" fmla="*/ 3661033 w 3773795"/>
                <a:gd name="connsiteY2317" fmla="*/ 657460 h 1451770"/>
                <a:gd name="connsiteX2318" fmla="*/ 3662029 w 3773795"/>
                <a:gd name="connsiteY2318" fmla="*/ 659119 h 1451770"/>
                <a:gd name="connsiteX2319" fmla="*/ 3662304 w 3773795"/>
                <a:gd name="connsiteY2319" fmla="*/ 664041 h 1451770"/>
                <a:gd name="connsiteX2320" fmla="*/ 3660118 w 3773795"/>
                <a:gd name="connsiteY2320" fmla="*/ 666245 h 1451770"/>
                <a:gd name="connsiteX2321" fmla="*/ 3658906 w 3773795"/>
                <a:gd name="connsiteY2321" fmla="*/ 670014 h 1451770"/>
                <a:gd name="connsiteX2322" fmla="*/ 3660247 w 3773795"/>
                <a:gd name="connsiteY2322" fmla="*/ 670384 h 1451770"/>
                <a:gd name="connsiteX2323" fmla="*/ 3664440 w 3773795"/>
                <a:gd name="connsiteY2323" fmla="*/ 670744 h 1451770"/>
                <a:gd name="connsiteX2324" fmla="*/ 3665815 w 3773795"/>
                <a:gd name="connsiteY2324" fmla="*/ 671410 h 1451770"/>
                <a:gd name="connsiteX2325" fmla="*/ 3668219 w 3773795"/>
                <a:gd name="connsiteY2325" fmla="*/ 673164 h 1451770"/>
                <a:gd name="connsiteX2326" fmla="*/ 3668794 w 3773795"/>
                <a:gd name="connsiteY2326" fmla="*/ 674853 h 1451770"/>
                <a:gd name="connsiteX2327" fmla="*/ 3669323 w 3773795"/>
                <a:gd name="connsiteY2327" fmla="*/ 677151 h 1451770"/>
                <a:gd name="connsiteX2328" fmla="*/ 3670099 w 3773795"/>
                <a:gd name="connsiteY2328" fmla="*/ 679285 h 1451770"/>
                <a:gd name="connsiteX2329" fmla="*/ 3670643 w 3773795"/>
                <a:gd name="connsiteY2329" fmla="*/ 680306 h 1451770"/>
                <a:gd name="connsiteX2330" fmla="*/ 3671264 w 3773795"/>
                <a:gd name="connsiteY2330" fmla="*/ 680155 h 1451770"/>
                <a:gd name="connsiteX2331" fmla="*/ 3673675 w 3773795"/>
                <a:gd name="connsiteY2331" fmla="*/ 677204 h 1451770"/>
                <a:gd name="connsiteX2332" fmla="*/ 3674802 w 3773795"/>
                <a:gd name="connsiteY2332" fmla="*/ 676323 h 1451770"/>
                <a:gd name="connsiteX2333" fmla="*/ 3677483 w 3773795"/>
                <a:gd name="connsiteY2333" fmla="*/ 675557 h 1451770"/>
                <a:gd name="connsiteX2334" fmla="*/ 3678965 w 3773795"/>
                <a:gd name="connsiteY2334" fmla="*/ 678897 h 1451770"/>
                <a:gd name="connsiteX2335" fmla="*/ 3677920 w 3773795"/>
                <a:gd name="connsiteY2335" fmla="*/ 684521 h 1451770"/>
                <a:gd name="connsiteX2336" fmla="*/ 3678795 w 3773795"/>
                <a:gd name="connsiteY2336" fmla="*/ 684518 h 1451770"/>
                <a:gd name="connsiteX2337" fmla="*/ 3679479 w 3773795"/>
                <a:gd name="connsiteY2337" fmla="*/ 683926 h 1451770"/>
                <a:gd name="connsiteX2338" fmla="*/ 3680342 w 3773795"/>
                <a:gd name="connsiteY2338" fmla="*/ 682420 h 1451770"/>
                <a:gd name="connsiteX2339" fmla="*/ 3681570 w 3773795"/>
                <a:gd name="connsiteY2339" fmla="*/ 681548 h 1451770"/>
                <a:gd name="connsiteX2340" fmla="*/ 3683071 w 3773795"/>
                <a:gd name="connsiteY2340" fmla="*/ 679503 h 1451770"/>
                <a:gd name="connsiteX2341" fmla="*/ 3684356 w 3773795"/>
                <a:gd name="connsiteY2341" fmla="*/ 676975 h 1451770"/>
                <a:gd name="connsiteX2342" fmla="*/ 3682840 w 3773795"/>
                <a:gd name="connsiteY2342" fmla="*/ 674997 h 1451770"/>
                <a:gd name="connsiteX2343" fmla="*/ 3681106 w 3773795"/>
                <a:gd name="connsiteY2343" fmla="*/ 673761 h 1451770"/>
                <a:gd name="connsiteX2344" fmla="*/ 3677105 w 3773795"/>
                <a:gd name="connsiteY2344" fmla="*/ 673064 h 1451770"/>
                <a:gd name="connsiteX2345" fmla="*/ 3675016 w 3773795"/>
                <a:gd name="connsiteY2345" fmla="*/ 671583 h 1451770"/>
                <a:gd name="connsiteX2346" fmla="*/ 3674236 w 3773795"/>
                <a:gd name="connsiteY2346" fmla="*/ 669691 h 1451770"/>
                <a:gd name="connsiteX2347" fmla="*/ 3676271 w 3773795"/>
                <a:gd name="connsiteY2347" fmla="*/ 668922 h 1451770"/>
                <a:gd name="connsiteX2348" fmla="*/ 3678017 w 3773795"/>
                <a:gd name="connsiteY2348" fmla="*/ 667546 h 1451770"/>
                <a:gd name="connsiteX2349" fmla="*/ 3679235 w 3773795"/>
                <a:gd name="connsiteY2349" fmla="*/ 664253 h 1451770"/>
                <a:gd name="connsiteX2350" fmla="*/ 3678941 w 3773795"/>
                <a:gd name="connsiteY2350" fmla="*/ 662442 h 1451770"/>
                <a:gd name="connsiteX2351" fmla="*/ 3678451 w 3773795"/>
                <a:gd name="connsiteY2351" fmla="*/ 660655 h 1451770"/>
                <a:gd name="connsiteX2352" fmla="*/ 3677446 w 3773795"/>
                <a:gd name="connsiteY2352" fmla="*/ 658149 h 1451770"/>
                <a:gd name="connsiteX2353" fmla="*/ 3675945 w 3773795"/>
                <a:gd name="connsiteY2353" fmla="*/ 656691 h 1451770"/>
                <a:gd name="connsiteX2354" fmla="*/ 3673088 w 3773795"/>
                <a:gd name="connsiteY2354" fmla="*/ 655963 h 1451770"/>
                <a:gd name="connsiteX2355" fmla="*/ 3671798 w 3773795"/>
                <a:gd name="connsiteY2355" fmla="*/ 654539 h 1451770"/>
                <a:gd name="connsiteX2356" fmla="*/ 3669830 w 3773795"/>
                <a:gd name="connsiteY2356" fmla="*/ 654618 h 1451770"/>
                <a:gd name="connsiteX2357" fmla="*/ 3667882 w 3773795"/>
                <a:gd name="connsiteY2357" fmla="*/ 654192 h 1451770"/>
                <a:gd name="connsiteX2358" fmla="*/ 3667096 w 3773795"/>
                <a:gd name="connsiteY2358" fmla="*/ 653671 h 1451770"/>
                <a:gd name="connsiteX2359" fmla="*/ 3667194 w 3773795"/>
                <a:gd name="connsiteY2359" fmla="*/ 652641 h 1451770"/>
                <a:gd name="connsiteX2360" fmla="*/ 3669461 w 3773795"/>
                <a:gd name="connsiteY2360" fmla="*/ 652175 h 1451770"/>
                <a:gd name="connsiteX2361" fmla="*/ 3681922 w 3773795"/>
                <a:gd name="connsiteY2361" fmla="*/ 652051 h 1451770"/>
                <a:gd name="connsiteX2362" fmla="*/ 3686440 w 3773795"/>
                <a:gd name="connsiteY2362" fmla="*/ 650619 h 1451770"/>
                <a:gd name="connsiteX2363" fmla="*/ 3688499 w 3773795"/>
                <a:gd name="connsiteY2363" fmla="*/ 651068 h 1451770"/>
                <a:gd name="connsiteX2364" fmla="*/ 3690546 w 3773795"/>
                <a:gd name="connsiteY2364" fmla="*/ 652098 h 1451770"/>
                <a:gd name="connsiteX2365" fmla="*/ 3697980 w 3773795"/>
                <a:gd name="connsiteY2365" fmla="*/ 653445 h 1451770"/>
                <a:gd name="connsiteX2366" fmla="*/ 3697763 w 3773795"/>
                <a:gd name="connsiteY2366" fmla="*/ 654073 h 1451770"/>
                <a:gd name="connsiteX2367" fmla="*/ 3696513 w 3773795"/>
                <a:gd name="connsiteY2367" fmla="*/ 654712 h 1451770"/>
                <a:gd name="connsiteX2368" fmla="*/ 3694316 w 3773795"/>
                <a:gd name="connsiteY2368" fmla="*/ 657703 h 1451770"/>
                <a:gd name="connsiteX2369" fmla="*/ 3693884 w 3773795"/>
                <a:gd name="connsiteY2369" fmla="*/ 659401 h 1451770"/>
                <a:gd name="connsiteX2370" fmla="*/ 3693789 w 3773795"/>
                <a:gd name="connsiteY2370" fmla="*/ 661552 h 1451770"/>
                <a:gd name="connsiteX2371" fmla="*/ 3695744 w 3773795"/>
                <a:gd name="connsiteY2371" fmla="*/ 661971 h 1451770"/>
                <a:gd name="connsiteX2372" fmla="*/ 3697591 w 3773795"/>
                <a:gd name="connsiteY2372" fmla="*/ 661060 h 1451770"/>
                <a:gd name="connsiteX2373" fmla="*/ 3696690 w 3773795"/>
                <a:gd name="connsiteY2373" fmla="*/ 659326 h 1451770"/>
                <a:gd name="connsiteX2374" fmla="*/ 3696422 w 3773795"/>
                <a:gd name="connsiteY2374" fmla="*/ 657193 h 1451770"/>
                <a:gd name="connsiteX2375" fmla="*/ 3697202 w 3773795"/>
                <a:gd name="connsiteY2375" fmla="*/ 656259 h 1451770"/>
                <a:gd name="connsiteX2376" fmla="*/ 3698223 w 3773795"/>
                <a:gd name="connsiteY2376" fmla="*/ 656059 h 1451770"/>
                <a:gd name="connsiteX2377" fmla="*/ 3700176 w 3773795"/>
                <a:gd name="connsiteY2377" fmla="*/ 657665 h 1451770"/>
                <a:gd name="connsiteX2378" fmla="*/ 3702297 w 3773795"/>
                <a:gd name="connsiteY2378" fmla="*/ 658176 h 1451770"/>
                <a:gd name="connsiteX2379" fmla="*/ 3709417 w 3773795"/>
                <a:gd name="connsiteY2379" fmla="*/ 658814 h 1451770"/>
                <a:gd name="connsiteX2380" fmla="*/ 3711434 w 3773795"/>
                <a:gd name="connsiteY2380" fmla="*/ 658608 h 1451770"/>
                <a:gd name="connsiteX2381" fmla="*/ 3712081 w 3773795"/>
                <a:gd name="connsiteY2381" fmla="*/ 657791 h 1451770"/>
                <a:gd name="connsiteX2382" fmla="*/ 3710691 w 3773795"/>
                <a:gd name="connsiteY2382" fmla="*/ 656847 h 1451770"/>
                <a:gd name="connsiteX2383" fmla="*/ 3701428 w 3773795"/>
                <a:gd name="connsiteY2383" fmla="*/ 654754 h 1451770"/>
                <a:gd name="connsiteX2384" fmla="*/ 3701304 w 3773795"/>
                <a:gd name="connsiteY2384" fmla="*/ 653602 h 1451770"/>
                <a:gd name="connsiteX2385" fmla="*/ 3709849 w 3773795"/>
                <a:gd name="connsiteY2385" fmla="*/ 655022 h 1451770"/>
                <a:gd name="connsiteX2386" fmla="*/ 3713691 w 3773795"/>
                <a:gd name="connsiteY2386" fmla="*/ 656329 h 1451770"/>
                <a:gd name="connsiteX2387" fmla="*/ 3717524 w 3773795"/>
                <a:gd name="connsiteY2387" fmla="*/ 657303 h 1451770"/>
                <a:gd name="connsiteX2388" fmla="*/ 3722885 w 3773795"/>
                <a:gd name="connsiteY2388" fmla="*/ 657016 h 1451770"/>
                <a:gd name="connsiteX2389" fmla="*/ 3728103 w 3773795"/>
                <a:gd name="connsiteY2389" fmla="*/ 658563 h 1451770"/>
                <a:gd name="connsiteX2390" fmla="*/ 3733099 w 3773795"/>
                <a:gd name="connsiteY2390" fmla="*/ 662765 h 1451770"/>
                <a:gd name="connsiteX2391" fmla="*/ 3737722 w 3773795"/>
                <a:gd name="connsiteY2391" fmla="*/ 668029 h 1451770"/>
                <a:gd name="connsiteX2392" fmla="*/ 3742393 w 3773795"/>
                <a:gd name="connsiteY2392" fmla="*/ 671139 h 1451770"/>
                <a:gd name="connsiteX2393" fmla="*/ 3747315 w 3773795"/>
                <a:gd name="connsiteY2393" fmla="*/ 673467 h 1451770"/>
                <a:gd name="connsiteX2394" fmla="*/ 3755519 w 3773795"/>
                <a:gd name="connsiteY2394" fmla="*/ 679828 h 1451770"/>
                <a:gd name="connsiteX2395" fmla="*/ 3756540 w 3773795"/>
                <a:gd name="connsiteY2395" fmla="*/ 680328 h 1451770"/>
                <a:gd name="connsiteX2396" fmla="*/ 3757345 w 3773795"/>
                <a:gd name="connsiteY2396" fmla="*/ 681188 h 1451770"/>
                <a:gd name="connsiteX2397" fmla="*/ 3755803 w 3773795"/>
                <a:gd name="connsiteY2397" fmla="*/ 682262 h 1451770"/>
                <a:gd name="connsiteX2398" fmla="*/ 3754441 w 3773795"/>
                <a:gd name="connsiteY2398" fmla="*/ 683811 h 1451770"/>
                <a:gd name="connsiteX2399" fmla="*/ 3757120 w 3773795"/>
                <a:gd name="connsiteY2399" fmla="*/ 682740 h 1451770"/>
                <a:gd name="connsiteX2400" fmla="*/ 3759820 w 3773795"/>
                <a:gd name="connsiteY2400" fmla="*/ 682011 h 1451770"/>
                <a:gd name="connsiteX2401" fmla="*/ 3761146 w 3773795"/>
                <a:gd name="connsiteY2401" fmla="*/ 682153 h 1451770"/>
                <a:gd name="connsiteX2402" fmla="*/ 3762345 w 3773795"/>
                <a:gd name="connsiteY2402" fmla="*/ 682968 h 1451770"/>
                <a:gd name="connsiteX2403" fmla="*/ 3763127 w 3773795"/>
                <a:gd name="connsiteY2403" fmla="*/ 684270 h 1451770"/>
                <a:gd name="connsiteX2404" fmla="*/ 3763562 w 3773795"/>
                <a:gd name="connsiteY2404" fmla="*/ 685561 h 1451770"/>
                <a:gd name="connsiteX2405" fmla="*/ 3762412 w 3773795"/>
                <a:gd name="connsiteY2405" fmla="*/ 686735 h 1451770"/>
                <a:gd name="connsiteX2406" fmla="*/ 3770264 w 3773795"/>
                <a:gd name="connsiteY2406" fmla="*/ 686948 h 1451770"/>
                <a:gd name="connsiteX2407" fmla="*/ 3772718 w 3773795"/>
                <a:gd name="connsiteY2407" fmla="*/ 687695 h 1451770"/>
                <a:gd name="connsiteX2408" fmla="*/ 3773795 w 3773795"/>
                <a:gd name="connsiteY2408" fmla="*/ 690810 h 1451770"/>
                <a:gd name="connsiteX2409" fmla="*/ 3771527 w 3773795"/>
                <a:gd name="connsiteY2409" fmla="*/ 692976 h 1451770"/>
                <a:gd name="connsiteX2410" fmla="*/ 3770201 w 3773795"/>
                <a:gd name="connsiteY2410" fmla="*/ 692713 h 1451770"/>
                <a:gd name="connsiteX2411" fmla="*/ 3768927 w 3773795"/>
                <a:gd name="connsiteY2411" fmla="*/ 691802 h 1451770"/>
                <a:gd name="connsiteX2412" fmla="*/ 3767722 w 3773795"/>
                <a:gd name="connsiteY2412" fmla="*/ 691711 h 1451770"/>
                <a:gd name="connsiteX2413" fmla="*/ 3764280 w 3773795"/>
                <a:gd name="connsiteY2413" fmla="*/ 692641 h 1451770"/>
                <a:gd name="connsiteX2414" fmla="*/ 3758939 w 3773795"/>
                <a:gd name="connsiteY2414" fmla="*/ 695549 h 1451770"/>
                <a:gd name="connsiteX2415" fmla="*/ 3755851 w 3773795"/>
                <a:gd name="connsiteY2415" fmla="*/ 697852 h 1451770"/>
                <a:gd name="connsiteX2416" fmla="*/ 3755356 w 3773795"/>
                <a:gd name="connsiteY2416" fmla="*/ 699378 h 1451770"/>
                <a:gd name="connsiteX2417" fmla="*/ 3755834 w 3773795"/>
                <a:gd name="connsiteY2417" fmla="*/ 703505 h 1451770"/>
                <a:gd name="connsiteX2418" fmla="*/ 3755401 w 3773795"/>
                <a:gd name="connsiteY2418" fmla="*/ 705469 h 1451770"/>
                <a:gd name="connsiteX2419" fmla="*/ 3753073 w 3773795"/>
                <a:gd name="connsiteY2419" fmla="*/ 706730 h 1451770"/>
                <a:gd name="connsiteX2420" fmla="*/ 3747974 w 3773795"/>
                <a:gd name="connsiteY2420" fmla="*/ 705964 h 1451770"/>
                <a:gd name="connsiteX2421" fmla="*/ 3745661 w 3773795"/>
                <a:gd name="connsiteY2421" fmla="*/ 705154 h 1451770"/>
                <a:gd name="connsiteX2422" fmla="*/ 3743063 w 3773795"/>
                <a:gd name="connsiteY2422" fmla="*/ 704059 h 1451770"/>
                <a:gd name="connsiteX2423" fmla="*/ 3740563 w 3773795"/>
                <a:gd name="connsiteY2423" fmla="*/ 702537 h 1451770"/>
                <a:gd name="connsiteX2424" fmla="*/ 3737360 w 3773795"/>
                <a:gd name="connsiteY2424" fmla="*/ 700093 h 1451770"/>
                <a:gd name="connsiteX2425" fmla="*/ 3736373 w 3773795"/>
                <a:gd name="connsiteY2425" fmla="*/ 699860 h 1451770"/>
                <a:gd name="connsiteX2426" fmla="*/ 3735718 w 3773795"/>
                <a:gd name="connsiteY2426" fmla="*/ 700447 h 1451770"/>
                <a:gd name="connsiteX2427" fmla="*/ 3736811 w 3773795"/>
                <a:gd name="connsiteY2427" fmla="*/ 701995 h 1451770"/>
                <a:gd name="connsiteX2428" fmla="*/ 3738989 w 3773795"/>
                <a:gd name="connsiteY2428" fmla="*/ 703933 h 1451770"/>
                <a:gd name="connsiteX2429" fmla="*/ 3742721 w 3773795"/>
                <a:gd name="connsiteY2429" fmla="*/ 706492 h 1451770"/>
                <a:gd name="connsiteX2430" fmla="*/ 3744494 w 3773795"/>
                <a:gd name="connsiteY2430" fmla="*/ 709328 h 1451770"/>
                <a:gd name="connsiteX2431" fmla="*/ 3743353 w 3773795"/>
                <a:gd name="connsiteY2431" fmla="*/ 710739 h 1451770"/>
                <a:gd name="connsiteX2432" fmla="*/ 3741935 w 3773795"/>
                <a:gd name="connsiteY2432" fmla="*/ 711063 h 1451770"/>
                <a:gd name="connsiteX2433" fmla="*/ 3740917 w 3773795"/>
                <a:gd name="connsiteY2433" fmla="*/ 711038 h 1451770"/>
                <a:gd name="connsiteX2434" fmla="*/ 3737650 w 3773795"/>
                <a:gd name="connsiteY2434" fmla="*/ 710153 h 1451770"/>
                <a:gd name="connsiteX2435" fmla="*/ 3735384 w 3773795"/>
                <a:gd name="connsiteY2435" fmla="*/ 709939 h 1451770"/>
                <a:gd name="connsiteX2436" fmla="*/ 3728217 w 3773795"/>
                <a:gd name="connsiteY2436" fmla="*/ 710761 h 1451770"/>
                <a:gd name="connsiteX2437" fmla="*/ 3725635 w 3773795"/>
                <a:gd name="connsiteY2437" fmla="*/ 711286 h 1451770"/>
                <a:gd name="connsiteX2438" fmla="*/ 3724750 w 3773795"/>
                <a:gd name="connsiteY2438" fmla="*/ 710851 h 1451770"/>
                <a:gd name="connsiteX2439" fmla="*/ 3724529 w 3773795"/>
                <a:gd name="connsiteY2439" fmla="*/ 709613 h 1451770"/>
                <a:gd name="connsiteX2440" fmla="*/ 3720674 w 3773795"/>
                <a:gd name="connsiteY2440" fmla="*/ 708712 h 1451770"/>
                <a:gd name="connsiteX2441" fmla="*/ 3718410 w 3773795"/>
                <a:gd name="connsiteY2441" fmla="*/ 708584 h 1451770"/>
                <a:gd name="connsiteX2442" fmla="*/ 3717340 w 3773795"/>
                <a:gd name="connsiteY2442" fmla="*/ 708154 h 1451770"/>
                <a:gd name="connsiteX2443" fmla="*/ 3716456 w 3773795"/>
                <a:gd name="connsiteY2443" fmla="*/ 706875 h 1451770"/>
                <a:gd name="connsiteX2444" fmla="*/ 3713948 w 3773795"/>
                <a:gd name="connsiteY2444" fmla="*/ 704982 h 1451770"/>
                <a:gd name="connsiteX2445" fmla="*/ 3710144 w 3773795"/>
                <a:gd name="connsiteY2445" fmla="*/ 704240 h 1451770"/>
                <a:gd name="connsiteX2446" fmla="*/ 3707679 w 3773795"/>
                <a:gd name="connsiteY2446" fmla="*/ 704153 h 1451770"/>
                <a:gd name="connsiteX2447" fmla="*/ 3706261 w 3773795"/>
                <a:gd name="connsiteY2447" fmla="*/ 704567 h 1451770"/>
                <a:gd name="connsiteX2448" fmla="*/ 3711275 w 3773795"/>
                <a:gd name="connsiteY2448" fmla="*/ 707076 h 1451770"/>
                <a:gd name="connsiteX2449" fmla="*/ 3715755 w 3773795"/>
                <a:gd name="connsiteY2449" fmla="*/ 711284 h 1451770"/>
                <a:gd name="connsiteX2450" fmla="*/ 3714914 w 3773795"/>
                <a:gd name="connsiteY2450" fmla="*/ 712061 h 1451770"/>
                <a:gd name="connsiteX2451" fmla="*/ 3714344 w 3773795"/>
                <a:gd name="connsiteY2451" fmla="*/ 712966 h 1451770"/>
                <a:gd name="connsiteX2452" fmla="*/ 3716822 w 3773795"/>
                <a:gd name="connsiteY2452" fmla="*/ 713030 h 1451770"/>
                <a:gd name="connsiteX2453" fmla="*/ 3718434 w 3773795"/>
                <a:gd name="connsiteY2453" fmla="*/ 712744 h 1451770"/>
                <a:gd name="connsiteX2454" fmla="*/ 3718903 w 3773795"/>
                <a:gd name="connsiteY2454" fmla="*/ 713848 h 1451770"/>
                <a:gd name="connsiteX2455" fmla="*/ 3717614 w 3773795"/>
                <a:gd name="connsiteY2455" fmla="*/ 718276 h 1451770"/>
                <a:gd name="connsiteX2456" fmla="*/ 3716743 w 3773795"/>
                <a:gd name="connsiteY2456" fmla="*/ 719254 h 1451770"/>
                <a:gd name="connsiteX2457" fmla="*/ 3708946 w 3773795"/>
                <a:gd name="connsiteY2457" fmla="*/ 720232 h 1451770"/>
                <a:gd name="connsiteX2458" fmla="*/ 3710908 w 3773795"/>
                <a:gd name="connsiteY2458" fmla="*/ 720964 h 1451770"/>
                <a:gd name="connsiteX2459" fmla="*/ 3712921 w 3773795"/>
                <a:gd name="connsiteY2459" fmla="*/ 721193 h 1451770"/>
                <a:gd name="connsiteX2460" fmla="*/ 3715208 w 3773795"/>
                <a:gd name="connsiteY2460" fmla="*/ 721019 h 1451770"/>
                <a:gd name="connsiteX2461" fmla="*/ 3717257 w 3773795"/>
                <a:gd name="connsiteY2461" fmla="*/ 721776 h 1451770"/>
                <a:gd name="connsiteX2462" fmla="*/ 3718636 w 3773795"/>
                <a:gd name="connsiteY2462" fmla="*/ 724550 h 1451770"/>
                <a:gd name="connsiteX2463" fmla="*/ 3718868 w 3773795"/>
                <a:gd name="connsiteY2463" fmla="*/ 727448 h 1451770"/>
                <a:gd name="connsiteX2464" fmla="*/ 3716852 w 3773795"/>
                <a:gd name="connsiteY2464" fmla="*/ 729101 h 1451770"/>
                <a:gd name="connsiteX2465" fmla="*/ 3714765 w 3773795"/>
                <a:gd name="connsiteY2465" fmla="*/ 730444 h 1451770"/>
                <a:gd name="connsiteX2466" fmla="*/ 3710474 w 3773795"/>
                <a:gd name="connsiteY2466" fmla="*/ 732481 h 1451770"/>
                <a:gd name="connsiteX2467" fmla="*/ 3706058 w 3773795"/>
                <a:gd name="connsiteY2467" fmla="*/ 733379 h 1451770"/>
                <a:gd name="connsiteX2468" fmla="*/ 3703739 w 3773795"/>
                <a:gd name="connsiteY2468" fmla="*/ 733154 h 1451770"/>
                <a:gd name="connsiteX2469" fmla="*/ 3701489 w 3773795"/>
                <a:gd name="connsiteY2469" fmla="*/ 733605 h 1451770"/>
                <a:gd name="connsiteX2470" fmla="*/ 3700006 w 3773795"/>
                <a:gd name="connsiteY2470" fmla="*/ 734660 h 1451770"/>
                <a:gd name="connsiteX2471" fmla="*/ 3699573 w 3773795"/>
                <a:gd name="connsiteY2471" fmla="*/ 735728 h 1451770"/>
                <a:gd name="connsiteX2472" fmla="*/ 3701513 w 3773795"/>
                <a:gd name="connsiteY2472" fmla="*/ 735020 h 1451770"/>
                <a:gd name="connsiteX2473" fmla="*/ 3703750 w 3773795"/>
                <a:gd name="connsiteY2473" fmla="*/ 735415 h 1451770"/>
                <a:gd name="connsiteX2474" fmla="*/ 3705868 w 3773795"/>
                <a:gd name="connsiteY2474" fmla="*/ 736687 h 1451770"/>
                <a:gd name="connsiteX2475" fmla="*/ 3705637 w 3773795"/>
                <a:gd name="connsiteY2475" fmla="*/ 737737 h 1451770"/>
                <a:gd name="connsiteX2476" fmla="*/ 3703624 w 3773795"/>
                <a:gd name="connsiteY2476" fmla="*/ 738881 h 1451770"/>
                <a:gd name="connsiteX2477" fmla="*/ 3703149 w 3773795"/>
                <a:gd name="connsiteY2477" fmla="*/ 739748 h 1451770"/>
                <a:gd name="connsiteX2478" fmla="*/ 3703923 w 3773795"/>
                <a:gd name="connsiteY2478" fmla="*/ 741209 h 1451770"/>
                <a:gd name="connsiteX2479" fmla="*/ 3703662 w 3773795"/>
                <a:gd name="connsiteY2479" fmla="*/ 742464 h 1451770"/>
                <a:gd name="connsiteX2480" fmla="*/ 3704695 w 3773795"/>
                <a:gd name="connsiteY2480" fmla="*/ 743140 h 1451770"/>
                <a:gd name="connsiteX2481" fmla="*/ 3707067 w 3773795"/>
                <a:gd name="connsiteY2481" fmla="*/ 743377 h 1451770"/>
                <a:gd name="connsiteX2482" fmla="*/ 3709958 w 3773795"/>
                <a:gd name="connsiteY2482" fmla="*/ 744282 h 1451770"/>
                <a:gd name="connsiteX2483" fmla="*/ 3712804 w 3773795"/>
                <a:gd name="connsiteY2483" fmla="*/ 745483 h 1451770"/>
                <a:gd name="connsiteX2484" fmla="*/ 3713928 w 3773795"/>
                <a:gd name="connsiteY2484" fmla="*/ 746511 h 1451770"/>
                <a:gd name="connsiteX2485" fmla="*/ 3714873 w 3773795"/>
                <a:gd name="connsiteY2485" fmla="*/ 747958 h 1451770"/>
                <a:gd name="connsiteX2486" fmla="*/ 3715207 w 3773795"/>
                <a:gd name="connsiteY2486" fmla="*/ 749492 h 1451770"/>
                <a:gd name="connsiteX2487" fmla="*/ 3714704 w 3773795"/>
                <a:gd name="connsiteY2487" fmla="*/ 750119 h 1451770"/>
                <a:gd name="connsiteX2488" fmla="*/ 3708221 w 3773795"/>
                <a:gd name="connsiteY2488" fmla="*/ 750362 h 1451770"/>
                <a:gd name="connsiteX2489" fmla="*/ 3707237 w 3773795"/>
                <a:gd name="connsiteY2489" fmla="*/ 750178 h 1451770"/>
                <a:gd name="connsiteX2490" fmla="*/ 3706866 w 3773795"/>
                <a:gd name="connsiteY2490" fmla="*/ 748481 h 1451770"/>
                <a:gd name="connsiteX2491" fmla="*/ 3706080 w 3773795"/>
                <a:gd name="connsiteY2491" fmla="*/ 747095 h 1451770"/>
                <a:gd name="connsiteX2492" fmla="*/ 3703611 w 3773795"/>
                <a:gd name="connsiteY2492" fmla="*/ 746128 h 1451770"/>
                <a:gd name="connsiteX2493" fmla="*/ 3702597 w 3773795"/>
                <a:gd name="connsiteY2493" fmla="*/ 746794 h 1451770"/>
                <a:gd name="connsiteX2494" fmla="*/ 3703331 w 3773795"/>
                <a:gd name="connsiteY2494" fmla="*/ 751699 h 1451770"/>
                <a:gd name="connsiteX2495" fmla="*/ 3702353 w 3773795"/>
                <a:gd name="connsiteY2495" fmla="*/ 753182 h 1451770"/>
                <a:gd name="connsiteX2496" fmla="*/ 3701268 w 3773795"/>
                <a:gd name="connsiteY2496" fmla="*/ 754254 h 1451770"/>
                <a:gd name="connsiteX2497" fmla="*/ 3697988 w 3773795"/>
                <a:gd name="connsiteY2497" fmla="*/ 754882 h 1451770"/>
                <a:gd name="connsiteX2498" fmla="*/ 3695378 w 3773795"/>
                <a:gd name="connsiteY2498" fmla="*/ 754531 h 1451770"/>
                <a:gd name="connsiteX2499" fmla="*/ 3693162 w 3773795"/>
                <a:gd name="connsiteY2499" fmla="*/ 752216 h 1451770"/>
                <a:gd name="connsiteX2500" fmla="*/ 3693166 w 3773795"/>
                <a:gd name="connsiteY2500" fmla="*/ 750244 h 1451770"/>
                <a:gd name="connsiteX2501" fmla="*/ 3694632 w 3773795"/>
                <a:gd name="connsiteY2501" fmla="*/ 749096 h 1451770"/>
                <a:gd name="connsiteX2502" fmla="*/ 3694630 w 3773795"/>
                <a:gd name="connsiteY2502" fmla="*/ 747503 h 1451770"/>
                <a:gd name="connsiteX2503" fmla="*/ 3694228 w 3773795"/>
                <a:gd name="connsiteY2503" fmla="*/ 745648 h 1451770"/>
                <a:gd name="connsiteX2504" fmla="*/ 3692720 w 3773795"/>
                <a:gd name="connsiteY2504" fmla="*/ 747804 h 1451770"/>
                <a:gd name="connsiteX2505" fmla="*/ 3690968 w 3773795"/>
                <a:gd name="connsiteY2505" fmla="*/ 749596 h 1451770"/>
                <a:gd name="connsiteX2506" fmla="*/ 3688123 w 3773795"/>
                <a:gd name="connsiteY2506" fmla="*/ 751840 h 1451770"/>
                <a:gd name="connsiteX2507" fmla="*/ 3686744 w 3773795"/>
                <a:gd name="connsiteY2507" fmla="*/ 752129 h 1451770"/>
                <a:gd name="connsiteX2508" fmla="*/ 3685334 w 3773795"/>
                <a:gd name="connsiteY2508" fmla="*/ 751874 h 1451770"/>
                <a:gd name="connsiteX2509" fmla="*/ 3681616 w 3773795"/>
                <a:gd name="connsiteY2509" fmla="*/ 750268 h 1451770"/>
                <a:gd name="connsiteX2510" fmla="*/ 3679327 w 3773795"/>
                <a:gd name="connsiteY2510" fmla="*/ 748872 h 1451770"/>
                <a:gd name="connsiteX2511" fmla="*/ 3674828 w 3773795"/>
                <a:gd name="connsiteY2511" fmla="*/ 744286 h 1451770"/>
                <a:gd name="connsiteX2512" fmla="*/ 3672325 w 3773795"/>
                <a:gd name="connsiteY2512" fmla="*/ 742150 h 1451770"/>
                <a:gd name="connsiteX2513" fmla="*/ 3666741 w 3773795"/>
                <a:gd name="connsiteY2513" fmla="*/ 739289 h 1451770"/>
                <a:gd name="connsiteX2514" fmla="*/ 3660994 w 3773795"/>
                <a:gd name="connsiteY2514" fmla="*/ 737208 h 1451770"/>
                <a:gd name="connsiteX2515" fmla="*/ 3656448 w 3773795"/>
                <a:gd name="connsiteY2515" fmla="*/ 735859 h 1451770"/>
                <a:gd name="connsiteX2516" fmla="*/ 3654020 w 3773795"/>
                <a:gd name="connsiteY2516" fmla="*/ 736016 h 1451770"/>
                <a:gd name="connsiteX2517" fmla="*/ 3651586 w 3773795"/>
                <a:gd name="connsiteY2517" fmla="*/ 736564 h 1451770"/>
                <a:gd name="connsiteX2518" fmla="*/ 3648509 w 3773795"/>
                <a:gd name="connsiteY2518" fmla="*/ 736263 h 1451770"/>
                <a:gd name="connsiteX2519" fmla="*/ 3647469 w 3773795"/>
                <a:gd name="connsiteY2519" fmla="*/ 735751 h 1451770"/>
                <a:gd name="connsiteX2520" fmla="*/ 3646560 w 3773795"/>
                <a:gd name="connsiteY2520" fmla="*/ 734609 h 1451770"/>
                <a:gd name="connsiteX2521" fmla="*/ 3645733 w 3773795"/>
                <a:gd name="connsiteY2521" fmla="*/ 733946 h 1451770"/>
                <a:gd name="connsiteX2522" fmla="*/ 3641416 w 3773795"/>
                <a:gd name="connsiteY2522" fmla="*/ 731113 h 1451770"/>
                <a:gd name="connsiteX2523" fmla="*/ 3638365 w 3773795"/>
                <a:gd name="connsiteY2523" fmla="*/ 728789 h 1451770"/>
                <a:gd name="connsiteX2524" fmla="*/ 3638241 w 3773795"/>
                <a:gd name="connsiteY2524" fmla="*/ 727231 h 1451770"/>
                <a:gd name="connsiteX2525" fmla="*/ 3638887 w 3773795"/>
                <a:gd name="connsiteY2525" fmla="*/ 725385 h 1451770"/>
                <a:gd name="connsiteX2526" fmla="*/ 3638314 w 3773795"/>
                <a:gd name="connsiteY2526" fmla="*/ 720799 h 1451770"/>
                <a:gd name="connsiteX2527" fmla="*/ 3636837 w 3773795"/>
                <a:gd name="connsiteY2527" fmla="*/ 716478 h 1451770"/>
                <a:gd name="connsiteX2528" fmla="*/ 3633071 w 3773795"/>
                <a:gd name="connsiteY2528" fmla="*/ 712188 h 1451770"/>
                <a:gd name="connsiteX2529" fmla="*/ 3623028 w 3773795"/>
                <a:gd name="connsiteY2529" fmla="*/ 709415 h 1451770"/>
                <a:gd name="connsiteX2530" fmla="*/ 3614743 w 3773795"/>
                <a:gd name="connsiteY2530" fmla="*/ 707462 h 1451770"/>
                <a:gd name="connsiteX2531" fmla="*/ 3611778 w 3773795"/>
                <a:gd name="connsiteY2531" fmla="*/ 707017 h 1451770"/>
                <a:gd name="connsiteX2532" fmla="*/ 3609146 w 3773795"/>
                <a:gd name="connsiteY2532" fmla="*/ 707452 h 1451770"/>
                <a:gd name="connsiteX2533" fmla="*/ 3602214 w 3773795"/>
                <a:gd name="connsiteY2533" fmla="*/ 711005 h 1451770"/>
                <a:gd name="connsiteX2534" fmla="*/ 3597573 w 3773795"/>
                <a:gd name="connsiteY2534" fmla="*/ 711512 h 1451770"/>
                <a:gd name="connsiteX2535" fmla="*/ 3584049 w 3773795"/>
                <a:gd name="connsiteY2535" fmla="*/ 711688 h 1451770"/>
                <a:gd name="connsiteX2536" fmla="*/ 3581788 w 3773795"/>
                <a:gd name="connsiteY2536" fmla="*/ 711300 h 1451770"/>
                <a:gd name="connsiteX2537" fmla="*/ 3579751 w 3773795"/>
                <a:gd name="connsiteY2537" fmla="*/ 709790 h 1451770"/>
                <a:gd name="connsiteX2538" fmla="*/ 3579280 w 3773795"/>
                <a:gd name="connsiteY2538" fmla="*/ 707765 h 1451770"/>
                <a:gd name="connsiteX2539" fmla="*/ 3579868 w 3773795"/>
                <a:gd name="connsiteY2539" fmla="*/ 704000 h 1451770"/>
                <a:gd name="connsiteX2540" fmla="*/ 3579801 w 3773795"/>
                <a:gd name="connsiteY2540" fmla="*/ 702407 h 1451770"/>
                <a:gd name="connsiteX2541" fmla="*/ 3579273 w 3773795"/>
                <a:gd name="connsiteY2541" fmla="*/ 701868 h 1451770"/>
                <a:gd name="connsiteX2542" fmla="*/ 3578558 w 3773795"/>
                <a:gd name="connsiteY2542" fmla="*/ 701913 h 1451770"/>
                <a:gd name="connsiteX2543" fmla="*/ 3575892 w 3773795"/>
                <a:gd name="connsiteY2543" fmla="*/ 700406 h 1451770"/>
                <a:gd name="connsiteX2544" fmla="*/ 3573417 w 3773795"/>
                <a:gd name="connsiteY2544" fmla="*/ 697877 h 1451770"/>
                <a:gd name="connsiteX2545" fmla="*/ 3571465 w 3773795"/>
                <a:gd name="connsiteY2545" fmla="*/ 695258 h 1451770"/>
                <a:gd name="connsiteX2546" fmla="*/ 3570144 w 3773795"/>
                <a:gd name="connsiteY2546" fmla="*/ 691738 h 1451770"/>
                <a:gd name="connsiteX2547" fmla="*/ 3571932 w 3773795"/>
                <a:gd name="connsiteY2547" fmla="*/ 691562 h 1451770"/>
                <a:gd name="connsiteX2548" fmla="*/ 3574397 w 3773795"/>
                <a:gd name="connsiteY2548" fmla="*/ 692436 h 1451770"/>
                <a:gd name="connsiteX2549" fmla="*/ 3574755 w 3773795"/>
                <a:gd name="connsiteY2549" fmla="*/ 691573 h 1451770"/>
                <a:gd name="connsiteX2550" fmla="*/ 3575568 w 3773795"/>
                <a:gd name="connsiteY2550" fmla="*/ 688388 h 1451770"/>
                <a:gd name="connsiteX2551" fmla="*/ 3577282 w 3773795"/>
                <a:gd name="connsiteY2551" fmla="*/ 686855 h 1451770"/>
                <a:gd name="connsiteX2552" fmla="*/ 3577940 w 3773795"/>
                <a:gd name="connsiteY2552" fmla="*/ 685665 h 1451770"/>
                <a:gd name="connsiteX2553" fmla="*/ 3579099 w 3773795"/>
                <a:gd name="connsiteY2553" fmla="*/ 681325 h 1451770"/>
                <a:gd name="connsiteX2554" fmla="*/ 3579266 w 3773795"/>
                <a:gd name="connsiteY2554" fmla="*/ 678195 h 1451770"/>
                <a:gd name="connsiteX2555" fmla="*/ 3577293 w 3773795"/>
                <a:gd name="connsiteY2555" fmla="*/ 679903 h 1451770"/>
                <a:gd name="connsiteX2556" fmla="*/ 3574264 w 3773795"/>
                <a:gd name="connsiteY2556" fmla="*/ 684240 h 1451770"/>
                <a:gd name="connsiteX2557" fmla="*/ 3572759 w 3773795"/>
                <a:gd name="connsiteY2557" fmla="*/ 685510 h 1451770"/>
                <a:gd name="connsiteX2558" fmla="*/ 3571713 w 3773795"/>
                <a:gd name="connsiteY2558" fmla="*/ 686083 h 1451770"/>
                <a:gd name="connsiteX2559" fmla="*/ 3570665 w 3773795"/>
                <a:gd name="connsiteY2559" fmla="*/ 686345 h 1451770"/>
                <a:gd name="connsiteX2560" fmla="*/ 3568219 w 3773795"/>
                <a:gd name="connsiteY2560" fmla="*/ 685479 h 1451770"/>
                <a:gd name="connsiteX2561" fmla="*/ 3566474 w 3773795"/>
                <a:gd name="connsiteY2561" fmla="*/ 684435 h 1451770"/>
                <a:gd name="connsiteX2562" fmla="*/ 3566434 w 3773795"/>
                <a:gd name="connsiteY2562" fmla="*/ 680238 h 1451770"/>
                <a:gd name="connsiteX2563" fmla="*/ 3565626 w 3773795"/>
                <a:gd name="connsiteY2563" fmla="*/ 679172 h 1451770"/>
                <a:gd name="connsiteX2564" fmla="*/ 3564853 w 3773795"/>
                <a:gd name="connsiteY2564" fmla="*/ 679972 h 1451770"/>
                <a:gd name="connsiteX2565" fmla="*/ 3564537 w 3773795"/>
                <a:gd name="connsiteY2565" fmla="*/ 681472 h 1451770"/>
                <a:gd name="connsiteX2566" fmla="*/ 3562314 w 3773795"/>
                <a:gd name="connsiteY2566" fmla="*/ 681747 h 1451770"/>
                <a:gd name="connsiteX2567" fmla="*/ 3561276 w 3773795"/>
                <a:gd name="connsiteY2567" fmla="*/ 682393 h 1451770"/>
                <a:gd name="connsiteX2568" fmla="*/ 3561805 w 3773795"/>
                <a:gd name="connsiteY2568" fmla="*/ 684880 h 1451770"/>
                <a:gd name="connsiteX2569" fmla="*/ 3561562 w 3773795"/>
                <a:gd name="connsiteY2569" fmla="*/ 686981 h 1451770"/>
                <a:gd name="connsiteX2570" fmla="*/ 3559451 w 3773795"/>
                <a:gd name="connsiteY2570" fmla="*/ 687770 h 1451770"/>
                <a:gd name="connsiteX2571" fmla="*/ 3555172 w 3773795"/>
                <a:gd name="connsiteY2571" fmla="*/ 688254 h 1451770"/>
                <a:gd name="connsiteX2572" fmla="*/ 3553688 w 3773795"/>
                <a:gd name="connsiteY2572" fmla="*/ 686190 h 1451770"/>
                <a:gd name="connsiteX2573" fmla="*/ 3552415 w 3773795"/>
                <a:gd name="connsiteY2573" fmla="*/ 689064 h 1451770"/>
                <a:gd name="connsiteX2574" fmla="*/ 3551469 w 3773795"/>
                <a:gd name="connsiteY2574" fmla="*/ 692279 h 1451770"/>
                <a:gd name="connsiteX2575" fmla="*/ 3551335 w 3773795"/>
                <a:gd name="connsiteY2575" fmla="*/ 696558 h 1451770"/>
                <a:gd name="connsiteX2576" fmla="*/ 3552692 w 3773795"/>
                <a:gd name="connsiteY2576" fmla="*/ 700099 h 1451770"/>
                <a:gd name="connsiteX2577" fmla="*/ 3554631 w 3773795"/>
                <a:gd name="connsiteY2577" fmla="*/ 701783 h 1451770"/>
                <a:gd name="connsiteX2578" fmla="*/ 3558867 w 3773795"/>
                <a:gd name="connsiteY2578" fmla="*/ 704320 h 1451770"/>
                <a:gd name="connsiteX2579" fmla="*/ 3560705 w 3773795"/>
                <a:gd name="connsiteY2579" fmla="*/ 706109 h 1451770"/>
                <a:gd name="connsiteX2580" fmla="*/ 3561182 w 3773795"/>
                <a:gd name="connsiteY2580" fmla="*/ 708411 h 1451770"/>
                <a:gd name="connsiteX2581" fmla="*/ 3561011 w 3773795"/>
                <a:gd name="connsiteY2581" fmla="*/ 710532 h 1451770"/>
                <a:gd name="connsiteX2582" fmla="*/ 3558810 w 3773795"/>
                <a:gd name="connsiteY2582" fmla="*/ 713120 h 1451770"/>
                <a:gd name="connsiteX2583" fmla="*/ 3557314 w 3773795"/>
                <a:gd name="connsiteY2583" fmla="*/ 715257 h 1451770"/>
                <a:gd name="connsiteX2584" fmla="*/ 3554752 w 3773795"/>
                <a:gd name="connsiteY2584" fmla="*/ 720390 h 1451770"/>
                <a:gd name="connsiteX2585" fmla="*/ 3553217 w 3773795"/>
                <a:gd name="connsiteY2585" fmla="*/ 722443 h 1451770"/>
                <a:gd name="connsiteX2586" fmla="*/ 3546685 w 3773795"/>
                <a:gd name="connsiteY2586" fmla="*/ 726762 h 1451770"/>
                <a:gd name="connsiteX2587" fmla="*/ 3542868 w 3773795"/>
                <a:gd name="connsiteY2587" fmla="*/ 727950 h 1451770"/>
                <a:gd name="connsiteX2588" fmla="*/ 3538975 w 3773795"/>
                <a:gd name="connsiteY2588" fmla="*/ 732015 h 1451770"/>
                <a:gd name="connsiteX2589" fmla="*/ 3534484 w 3773795"/>
                <a:gd name="connsiteY2589" fmla="*/ 735560 h 1451770"/>
                <a:gd name="connsiteX2590" fmla="*/ 3527889 w 3773795"/>
                <a:gd name="connsiteY2590" fmla="*/ 737007 h 1451770"/>
                <a:gd name="connsiteX2591" fmla="*/ 3517905 w 3773795"/>
                <a:gd name="connsiteY2591" fmla="*/ 742384 h 1451770"/>
                <a:gd name="connsiteX2592" fmla="*/ 3513948 w 3773795"/>
                <a:gd name="connsiteY2592" fmla="*/ 743387 h 1451770"/>
                <a:gd name="connsiteX2593" fmla="*/ 3508770 w 3773795"/>
                <a:gd name="connsiteY2593" fmla="*/ 740915 h 1451770"/>
                <a:gd name="connsiteX2594" fmla="*/ 3496902 w 3773795"/>
                <a:gd name="connsiteY2594" fmla="*/ 739315 h 1451770"/>
                <a:gd name="connsiteX2595" fmla="*/ 3493210 w 3773795"/>
                <a:gd name="connsiteY2595" fmla="*/ 737140 h 1451770"/>
                <a:gd name="connsiteX2596" fmla="*/ 3487800 w 3773795"/>
                <a:gd name="connsiteY2596" fmla="*/ 731642 h 1451770"/>
                <a:gd name="connsiteX2597" fmla="*/ 3485917 w 3773795"/>
                <a:gd name="connsiteY2597" fmla="*/ 730844 h 1451770"/>
                <a:gd name="connsiteX2598" fmla="*/ 3484311 w 3773795"/>
                <a:gd name="connsiteY2598" fmla="*/ 728671 h 1451770"/>
                <a:gd name="connsiteX2599" fmla="*/ 3477714 w 3773795"/>
                <a:gd name="connsiteY2599" fmla="*/ 726233 h 1451770"/>
                <a:gd name="connsiteX2600" fmla="*/ 3472052 w 3773795"/>
                <a:gd name="connsiteY2600" fmla="*/ 727827 h 1451770"/>
                <a:gd name="connsiteX2601" fmla="*/ 3467371 w 3773795"/>
                <a:gd name="connsiteY2601" fmla="*/ 726618 h 1451770"/>
                <a:gd name="connsiteX2602" fmla="*/ 3465777 w 3773795"/>
                <a:gd name="connsiteY2602" fmla="*/ 727478 h 1451770"/>
                <a:gd name="connsiteX2603" fmla="*/ 3468234 w 3773795"/>
                <a:gd name="connsiteY2603" fmla="*/ 728271 h 1451770"/>
                <a:gd name="connsiteX2604" fmla="*/ 3472510 w 3773795"/>
                <a:gd name="connsiteY2604" fmla="*/ 728920 h 1451770"/>
                <a:gd name="connsiteX2605" fmla="*/ 3479023 w 3773795"/>
                <a:gd name="connsiteY2605" fmla="*/ 728603 h 1451770"/>
                <a:gd name="connsiteX2606" fmla="*/ 3481174 w 3773795"/>
                <a:gd name="connsiteY2606" fmla="*/ 729190 h 1451770"/>
                <a:gd name="connsiteX2607" fmla="*/ 3483078 w 3773795"/>
                <a:gd name="connsiteY2607" fmla="*/ 731080 h 1451770"/>
                <a:gd name="connsiteX2608" fmla="*/ 3485276 w 3773795"/>
                <a:gd name="connsiteY2608" fmla="*/ 734140 h 1451770"/>
                <a:gd name="connsiteX2609" fmla="*/ 3483626 w 3773795"/>
                <a:gd name="connsiteY2609" fmla="*/ 736176 h 1451770"/>
                <a:gd name="connsiteX2610" fmla="*/ 3481869 w 3773795"/>
                <a:gd name="connsiteY2610" fmla="*/ 736826 h 1451770"/>
                <a:gd name="connsiteX2611" fmla="*/ 3476613 w 3773795"/>
                <a:gd name="connsiteY2611" fmla="*/ 734586 h 1451770"/>
                <a:gd name="connsiteX2612" fmla="*/ 3470545 w 3773795"/>
                <a:gd name="connsiteY2612" fmla="*/ 734917 h 1451770"/>
                <a:gd name="connsiteX2613" fmla="*/ 3467733 w 3773795"/>
                <a:gd name="connsiteY2613" fmla="*/ 734373 h 1451770"/>
                <a:gd name="connsiteX2614" fmla="*/ 3459588 w 3773795"/>
                <a:gd name="connsiteY2614" fmla="*/ 730582 h 1451770"/>
                <a:gd name="connsiteX2615" fmla="*/ 3453398 w 3773795"/>
                <a:gd name="connsiteY2615" fmla="*/ 734772 h 1451770"/>
                <a:gd name="connsiteX2616" fmla="*/ 3444891 w 3773795"/>
                <a:gd name="connsiteY2616" fmla="*/ 736932 h 1451770"/>
                <a:gd name="connsiteX2617" fmla="*/ 3438286 w 3773795"/>
                <a:gd name="connsiteY2617" fmla="*/ 737177 h 1451770"/>
                <a:gd name="connsiteX2618" fmla="*/ 3426148 w 3773795"/>
                <a:gd name="connsiteY2618" fmla="*/ 740500 h 1451770"/>
                <a:gd name="connsiteX2619" fmla="*/ 3429460 w 3773795"/>
                <a:gd name="connsiteY2619" fmla="*/ 740587 h 1451770"/>
                <a:gd name="connsiteX2620" fmla="*/ 3438271 w 3773795"/>
                <a:gd name="connsiteY2620" fmla="*/ 738258 h 1451770"/>
                <a:gd name="connsiteX2621" fmla="*/ 3443436 w 3773795"/>
                <a:gd name="connsiteY2621" fmla="*/ 738258 h 1451770"/>
                <a:gd name="connsiteX2622" fmla="*/ 3451115 w 3773795"/>
                <a:gd name="connsiteY2622" fmla="*/ 736976 h 1451770"/>
                <a:gd name="connsiteX2623" fmla="*/ 3455110 w 3773795"/>
                <a:gd name="connsiteY2623" fmla="*/ 735443 h 1451770"/>
                <a:gd name="connsiteX2624" fmla="*/ 3457040 w 3773795"/>
                <a:gd name="connsiteY2624" fmla="*/ 734014 h 1451770"/>
                <a:gd name="connsiteX2625" fmla="*/ 3459487 w 3773795"/>
                <a:gd name="connsiteY2625" fmla="*/ 732597 h 1451770"/>
                <a:gd name="connsiteX2626" fmla="*/ 3461979 w 3773795"/>
                <a:gd name="connsiteY2626" fmla="*/ 733313 h 1451770"/>
                <a:gd name="connsiteX2627" fmla="*/ 3463698 w 3773795"/>
                <a:gd name="connsiteY2627" fmla="*/ 734808 h 1451770"/>
                <a:gd name="connsiteX2628" fmla="*/ 3464889 w 3773795"/>
                <a:gd name="connsiteY2628" fmla="*/ 736927 h 1451770"/>
                <a:gd name="connsiteX2629" fmla="*/ 3465997 w 3773795"/>
                <a:gd name="connsiteY2629" fmla="*/ 739741 h 1451770"/>
                <a:gd name="connsiteX2630" fmla="*/ 3464499 w 3773795"/>
                <a:gd name="connsiteY2630" fmla="*/ 741216 h 1451770"/>
                <a:gd name="connsiteX2631" fmla="*/ 3463089 w 3773795"/>
                <a:gd name="connsiteY2631" fmla="*/ 741997 h 1451770"/>
                <a:gd name="connsiteX2632" fmla="*/ 3461352 w 3773795"/>
                <a:gd name="connsiteY2632" fmla="*/ 743999 h 1451770"/>
                <a:gd name="connsiteX2633" fmla="*/ 3469461 w 3773795"/>
                <a:gd name="connsiteY2633" fmla="*/ 740552 h 1451770"/>
                <a:gd name="connsiteX2634" fmla="*/ 3474400 w 3773795"/>
                <a:gd name="connsiteY2634" fmla="*/ 742607 h 1451770"/>
                <a:gd name="connsiteX2635" fmla="*/ 3476874 w 3773795"/>
                <a:gd name="connsiteY2635" fmla="*/ 742288 h 1451770"/>
                <a:gd name="connsiteX2636" fmla="*/ 3481450 w 3773795"/>
                <a:gd name="connsiteY2636" fmla="*/ 739237 h 1451770"/>
                <a:gd name="connsiteX2637" fmla="*/ 3488917 w 3773795"/>
                <a:gd name="connsiteY2637" fmla="*/ 737278 h 1451770"/>
                <a:gd name="connsiteX2638" fmla="*/ 3489800 w 3773795"/>
                <a:gd name="connsiteY2638" fmla="*/ 737658 h 1451770"/>
                <a:gd name="connsiteX2639" fmla="*/ 3490679 w 3773795"/>
                <a:gd name="connsiteY2639" fmla="*/ 738609 h 1451770"/>
                <a:gd name="connsiteX2640" fmla="*/ 3489411 w 3773795"/>
                <a:gd name="connsiteY2640" fmla="*/ 744463 h 1451770"/>
                <a:gd name="connsiteX2641" fmla="*/ 3489921 w 3773795"/>
                <a:gd name="connsiteY2641" fmla="*/ 749032 h 1451770"/>
                <a:gd name="connsiteX2642" fmla="*/ 3495550 w 3773795"/>
                <a:gd name="connsiteY2642" fmla="*/ 753996 h 1451770"/>
                <a:gd name="connsiteX2643" fmla="*/ 3501429 w 3773795"/>
                <a:gd name="connsiteY2643" fmla="*/ 756920 h 1451770"/>
                <a:gd name="connsiteX2644" fmla="*/ 3503450 w 3773795"/>
                <a:gd name="connsiteY2644" fmla="*/ 757015 h 1451770"/>
                <a:gd name="connsiteX2645" fmla="*/ 3505348 w 3773795"/>
                <a:gd name="connsiteY2645" fmla="*/ 756459 h 1451770"/>
                <a:gd name="connsiteX2646" fmla="*/ 3506086 w 3773795"/>
                <a:gd name="connsiteY2646" fmla="*/ 753842 h 1451770"/>
                <a:gd name="connsiteX2647" fmla="*/ 3507536 w 3773795"/>
                <a:gd name="connsiteY2647" fmla="*/ 751878 h 1451770"/>
                <a:gd name="connsiteX2648" fmla="*/ 3509381 w 3773795"/>
                <a:gd name="connsiteY2648" fmla="*/ 753653 h 1451770"/>
                <a:gd name="connsiteX2649" fmla="*/ 3510895 w 3773795"/>
                <a:gd name="connsiteY2649" fmla="*/ 755551 h 1451770"/>
                <a:gd name="connsiteX2650" fmla="*/ 3513011 w 3773795"/>
                <a:gd name="connsiteY2650" fmla="*/ 760260 h 1451770"/>
                <a:gd name="connsiteX2651" fmla="*/ 3512960 w 3773795"/>
                <a:gd name="connsiteY2651" fmla="*/ 761635 h 1451770"/>
                <a:gd name="connsiteX2652" fmla="*/ 3512441 w 3773795"/>
                <a:gd name="connsiteY2652" fmla="*/ 764377 h 1451770"/>
                <a:gd name="connsiteX2653" fmla="*/ 3514313 w 3773795"/>
                <a:gd name="connsiteY2653" fmla="*/ 765638 h 1451770"/>
                <a:gd name="connsiteX2654" fmla="*/ 3516840 w 3773795"/>
                <a:gd name="connsiteY2654" fmla="*/ 766003 h 1451770"/>
                <a:gd name="connsiteX2655" fmla="*/ 3517773 w 3773795"/>
                <a:gd name="connsiteY2655" fmla="*/ 770334 h 1451770"/>
                <a:gd name="connsiteX2656" fmla="*/ 3518635 w 3773795"/>
                <a:gd name="connsiteY2656" fmla="*/ 776492 h 1451770"/>
                <a:gd name="connsiteX2657" fmla="*/ 3517527 w 3773795"/>
                <a:gd name="connsiteY2657" fmla="*/ 777066 h 1451770"/>
                <a:gd name="connsiteX2658" fmla="*/ 3516302 w 3773795"/>
                <a:gd name="connsiteY2658" fmla="*/ 777066 h 1451770"/>
                <a:gd name="connsiteX2659" fmla="*/ 3512200 w 3773795"/>
                <a:gd name="connsiteY2659" fmla="*/ 778650 h 1451770"/>
                <a:gd name="connsiteX2660" fmla="*/ 3512767 w 3773795"/>
                <a:gd name="connsiteY2660" fmla="*/ 779753 h 1451770"/>
                <a:gd name="connsiteX2661" fmla="*/ 3516916 w 3773795"/>
                <a:gd name="connsiteY2661" fmla="*/ 780364 h 1451770"/>
                <a:gd name="connsiteX2662" fmla="*/ 3518081 w 3773795"/>
                <a:gd name="connsiteY2662" fmla="*/ 781593 h 1451770"/>
                <a:gd name="connsiteX2663" fmla="*/ 3517250 w 3773795"/>
                <a:gd name="connsiteY2663" fmla="*/ 784447 h 1451770"/>
                <a:gd name="connsiteX2664" fmla="*/ 3517468 w 3773795"/>
                <a:gd name="connsiteY2664" fmla="*/ 785762 h 1451770"/>
                <a:gd name="connsiteX2665" fmla="*/ 3518913 w 3773795"/>
                <a:gd name="connsiteY2665" fmla="*/ 786025 h 1451770"/>
                <a:gd name="connsiteX2666" fmla="*/ 3519857 w 3773795"/>
                <a:gd name="connsiteY2666" fmla="*/ 784360 h 1451770"/>
                <a:gd name="connsiteX2667" fmla="*/ 3519606 w 3773795"/>
                <a:gd name="connsiteY2667" fmla="*/ 781988 h 1451770"/>
                <a:gd name="connsiteX2668" fmla="*/ 3519995 w 3773795"/>
                <a:gd name="connsiteY2668" fmla="*/ 780935 h 1451770"/>
                <a:gd name="connsiteX2669" fmla="*/ 3522772 w 3773795"/>
                <a:gd name="connsiteY2669" fmla="*/ 785833 h 1451770"/>
                <a:gd name="connsiteX2670" fmla="*/ 3522836 w 3773795"/>
                <a:gd name="connsiteY2670" fmla="*/ 787761 h 1451770"/>
                <a:gd name="connsiteX2671" fmla="*/ 3525195 w 3773795"/>
                <a:gd name="connsiteY2671" fmla="*/ 789944 h 1451770"/>
                <a:gd name="connsiteX2672" fmla="*/ 3531921 w 3773795"/>
                <a:gd name="connsiteY2672" fmla="*/ 793157 h 1451770"/>
                <a:gd name="connsiteX2673" fmla="*/ 3533165 w 3773795"/>
                <a:gd name="connsiteY2673" fmla="*/ 794652 h 1451770"/>
                <a:gd name="connsiteX2674" fmla="*/ 3533530 w 3773795"/>
                <a:gd name="connsiteY2674" fmla="*/ 797067 h 1451770"/>
                <a:gd name="connsiteX2675" fmla="*/ 3531848 w 3773795"/>
                <a:gd name="connsiteY2675" fmla="*/ 797755 h 1451770"/>
                <a:gd name="connsiteX2676" fmla="*/ 3530312 w 3773795"/>
                <a:gd name="connsiteY2676" fmla="*/ 799477 h 1451770"/>
                <a:gd name="connsiteX2677" fmla="*/ 3531254 w 3773795"/>
                <a:gd name="connsiteY2677" fmla="*/ 801851 h 1451770"/>
                <a:gd name="connsiteX2678" fmla="*/ 3532998 w 3773795"/>
                <a:gd name="connsiteY2678" fmla="*/ 803796 h 1451770"/>
                <a:gd name="connsiteX2679" fmla="*/ 3535871 w 3773795"/>
                <a:gd name="connsiteY2679" fmla="*/ 804519 h 1451770"/>
                <a:gd name="connsiteX2680" fmla="*/ 3537188 w 3773795"/>
                <a:gd name="connsiteY2680" fmla="*/ 807608 h 1451770"/>
                <a:gd name="connsiteX2681" fmla="*/ 3537188 w 3773795"/>
                <a:gd name="connsiteY2681" fmla="*/ 810577 h 1451770"/>
                <a:gd name="connsiteX2682" fmla="*/ 3535126 w 3773795"/>
                <a:gd name="connsiteY2682" fmla="*/ 813143 h 1451770"/>
                <a:gd name="connsiteX2683" fmla="*/ 3530956 w 3773795"/>
                <a:gd name="connsiteY2683" fmla="*/ 816681 h 1451770"/>
                <a:gd name="connsiteX2684" fmla="*/ 3528485 w 3773795"/>
                <a:gd name="connsiteY2684" fmla="*/ 818097 h 1451770"/>
                <a:gd name="connsiteX2685" fmla="*/ 3527534 w 3773795"/>
                <a:gd name="connsiteY2685" fmla="*/ 820597 h 1451770"/>
                <a:gd name="connsiteX2686" fmla="*/ 3527242 w 3773795"/>
                <a:gd name="connsiteY2686" fmla="*/ 823208 h 1451770"/>
                <a:gd name="connsiteX2687" fmla="*/ 3525559 w 3773795"/>
                <a:gd name="connsiteY2687" fmla="*/ 823094 h 1451770"/>
                <a:gd name="connsiteX2688" fmla="*/ 3523774 w 3773795"/>
                <a:gd name="connsiteY2688" fmla="*/ 822010 h 1451770"/>
                <a:gd name="connsiteX2689" fmla="*/ 3502886 w 3773795"/>
                <a:gd name="connsiteY2689" fmla="*/ 815421 h 1451770"/>
                <a:gd name="connsiteX2690" fmla="*/ 3495011 w 3773795"/>
                <a:gd name="connsiteY2690" fmla="*/ 814187 h 1451770"/>
                <a:gd name="connsiteX2691" fmla="*/ 3488116 w 3773795"/>
                <a:gd name="connsiteY2691" fmla="*/ 814027 h 1451770"/>
                <a:gd name="connsiteX2692" fmla="*/ 3486818 w 3773795"/>
                <a:gd name="connsiteY2692" fmla="*/ 813628 h 1451770"/>
                <a:gd name="connsiteX2693" fmla="*/ 3486891 w 3773795"/>
                <a:gd name="connsiteY2693" fmla="*/ 812061 h 1451770"/>
                <a:gd name="connsiteX2694" fmla="*/ 3487332 w 3773795"/>
                <a:gd name="connsiteY2694" fmla="*/ 810655 h 1451770"/>
                <a:gd name="connsiteX2695" fmla="*/ 3488301 w 3773795"/>
                <a:gd name="connsiteY2695" fmla="*/ 808870 h 1451770"/>
                <a:gd name="connsiteX2696" fmla="*/ 3487844 w 3773795"/>
                <a:gd name="connsiteY2696" fmla="*/ 807336 h 1451770"/>
                <a:gd name="connsiteX2697" fmla="*/ 3486945 w 3773795"/>
                <a:gd name="connsiteY2697" fmla="*/ 807237 h 1451770"/>
                <a:gd name="connsiteX2698" fmla="*/ 3486069 w 3773795"/>
                <a:gd name="connsiteY2698" fmla="*/ 808404 h 1451770"/>
                <a:gd name="connsiteX2699" fmla="*/ 3484166 w 3773795"/>
                <a:gd name="connsiteY2699" fmla="*/ 808407 h 1451770"/>
                <a:gd name="connsiteX2700" fmla="*/ 3482366 w 3773795"/>
                <a:gd name="connsiteY2700" fmla="*/ 807053 h 1451770"/>
                <a:gd name="connsiteX2701" fmla="*/ 3480869 w 3773795"/>
                <a:gd name="connsiteY2701" fmla="*/ 807478 h 1451770"/>
                <a:gd name="connsiteX2702" fmla="*/ 3480128 w 3773795"/>
                <a:gd name="connsiteY2702" fmla="*/ 809379 h 1451770"/>
                <a:gd name="connsiteX2703" fmla="*/ 3479540 w 3773795"/>
                <a:gd name="connsiteY2703" fmla="*/ 810378 h 1451770"/>
                <a:gd name="connsiteX2704" fmla="*/ 3479569 w 3773795"/>
                <a:gd name="connsiteY2704" fmla="*/ 811573 h 1451770"/>
                <a:gd name="connsiteX2705" fmla="*/ 3480526 w 3773795"/>
                <a:gd name="connsiteY2705" fmla="*/ 812679 h 1451770"/>
                <a:gd name="connsiteX2706" fmla="*/ 3484542 w 3773795"/>
                <a:gd name="connsiteY2706" fmla="*/ 813884 h 1451770"/>
                <a:gd name="connsiteX2707" fmla="*/ 3483875 w 3773795"/>
                <a:gd name="connsiteY2707" fmla="*/ 814938 h 1451770"/>
                <a:gd name="connsiteX2708" fmla="*/ 3478302 w 3773795"/>
                <a:gd name="connsiteY2708" fmla="*/ 815796 h 1451770"/>
                <a:gd name="connsiteX2709" fmla="*/ 3473771 w 3773795"/>
                <a:gd name="connsiteY2709" fmla="*/ 816839 h 1451770"/>
                <a:gd name="connsiteX2710" fmla="*/ 3467889 w 3773795"/>
                <a:gd name="connsiteY2710" fmla="*/ 820102 h 1451770"/>
                <a:gd name="connsiteX2711" fmla="*/ 3465499 w 3773795"/>
                <a:gd name="connsiteY2711" fmla="*/ 822327 h 1451770"/>
                <a:gd name="connsiteX2712" fmla="*/ 3449698 w 3773795"/>
                <a:gd name="connsiteY2712" fmla="*/ 827867 h 1451770"/>
                <a:gd name="connsiteX2713" fmla="*/ 3445897 w 3773795"/>
                <a:gd name="connsiteY2713" fmla="*/ 829797 h 1451770"/>
                <a:gd name="connsiteX2714" fmla="*/ 3444213 w 3773795"/>
                <a:gd name="connsiteY2714" fmla="*/ 830023 h 1451770"/>
                <a:gd name="connsiteX2715" fmla="*/ 3442047 w 3773795"/>
                <a:gd name="connsiteY2715" fmla="*/ 830670 h 1451770"/>
                <a:gd name="connsiteX2716" fmla="*/ 3440378 w 3773795"/>
                <a:gd name="connsiteY2716" fmla="*/ 832992 h 1451770"/>
                <a:gd name="connsiteX2717" fmla="*/ 3431648 w 3773795"/>
                <a:gd name="connsiteY2717" fmla="*/ 836251 h 1451770"/>
                <a:gd name="connsiteX2718" fmla="*/ 3429823 w 3773795"/>
                <a:gd name="connsiteY2718" fmla="*/ 835943 h 1451770"/>
                <a:gd name="connsiteX2719" fmla="*/ 3427513 w 3773795"/>
                <a:gd name="connsiteY2719" fmla="*/ 838678 h 1451770"/>
                <a:gd name="connsiteX2720" fmla="*/ 3425386 w 3773795"/>
                <a:gd name="connsiteY2720" fmla="*/ 840175 h 1451770"/>
                <a:gd name="connsiteX2721" fmla="*/ 3420313 w 3773795"/>
                <a:gd name="connsiteY2721" fmla="*/ 840383 h 1451770"/>
                <a:gd name="connsiteX2722" fmla="*/ 3417083 w 3773795"/>
                <a:gd name="connsiteY2722" fmla="*/ 841143 h 1451770"/>
                <a:gd name="connsiteX2723" fmla="*/ 3410084 w 3773795"/>
                <a:gd name="connsiteY2723" fmla="*/ 845076 h 1451770"/>
                <a:gd name="connsiteX2724" fmla="*/ 3405686 w 3773795"/>
                <a:gd name="connsiteY2724" fmla="*/ 843831 h 1451770"/>
                <a:gd name="connsiteX2725" fmla="*/ 3400540 w 3773795"/>
                <a:gd name="connsiteY2725" fmla="*/ 849235 h 1451770"/>
                <a:gd name="connsiteX2726" fmla="*/ 3394815 w 3773795"/>
                <a:gd name="connsiteY2726" fmla="*/ 854313 h 1451770"/>
                <a:gd name="connsiteX2727" fmla="*/ 3393107 w 3773795"/>
                <a:gd name="connsiteY2727" fmla="*/ 854328 h 1451770"/>
                <a:gd name="connsiteX2728" fmla="*/ 3388728 w 3773795"/>
                <a:gd name="connsiteY2728" fmla="*/ 852198 h 1451770"/>
                <a:gd name="connsiteX2729" fmla="*/ 3387629 w 3773795"/>
                <a:gd name="connsiteY2729" fmla="*/ 853316 h 1451770"/>
                <a:gd name="connsiteX2730" fmla="*/ 3388316 w 3773795"/>
                <a:gd name="connsiteY2730" fmla="*/ 855362 h 1451770"/>
                <a:gd name="connsiteX2731" fmla="*/ 3389866 w 3773795"/>
                <a:gd name="connsiteY2731" fmla="*/ 857521 h 1451770"/>
                <a:gd name="connsiteX2732" fmla="*/ 3388976 w 3773795"/>
                <a:gd name="connsiteY2732" fmla="*/ 858147 h 1451770"/>
                <a:gd name="connsiteX2733" fmla="*/ 3387236 w 3773795"/>
                <a:gd name="connsiteY2733" fmla="*/ 857552 h 1451770"/>
                <a:gd name="connsiteX2734" fmla="*/ 3385945 w 3773795"/>
                <a:gd name="connsiteY2734" fmla="*/ 857427 h 1451770"/>
                <a:gd name="connsiteX2735" fmla="*/ 3385046 w 3773795"/>
                <a:gd name="connsiteY2735" fmla="*/ 858076 h 1451770"/>
                <a:gd name="connsiteX2736" fmla="*/ 3385200 w 3773795"/>
                <a:gd name="connsiteY2736" fmla="*/ 859622 h 1451770"/>
                <a:gd name="connsiteX2737" fmla="*/ 3382718 w 3773795"/>
                <a:gd name="connsiteY2737" fmla="*/ 861606 h 1451770"/>
                <a:gd name="connsiteX2738" fmla="*/ 3380779 w 3773795"/>
                <a:gd name="connsiteY2738" fmla="*/ 861758 h 1451770"/>
                <a:gd name="connsiteX2739" fmla="*/ 3378547 w 3773795"/>
                <a:gd name="connsiteY2739" fmla="*/ 862382 h 1451770"/>
                <a:gd name="connsiteX2740" fmla="*/ 3377802 w 3773795"/>
                <a:gd name="connsiteY2740" fmla="*/ 864090 h 1451770"/>
                <a:gd name="connsiteX2741" fmla="*/ 3378473 w 3773795"/>
                <a:gd name="connsiteY2741" fmla="*/ 865934 h 1451770"/>
                <a:gd name="connsiteX2742" fmla="*/ 3374504 w 3773795"/>
                <a:gd name="connsiteY2742" fmla="*/ 868080 h 1451770"/>
                <a:gd name="connsiteX2743" fmla="*/ 3371276 w 3773795"/>
                <a:gd name="connsiteY2743" fmla="*/ 870837 h 1451770"/>
                <a:gd name="connsiteX2744" fmla="*/ 3369736 w 3773795"/>
                <a:gd name="connsiteY2744" fmla="*/ 871339 h 1451770"/>
                <a:gd name="connsiteX2745" fmla="*/ 3367974 w 3773795"/>
                <a:gd name="connsiteY2745" fmla="*/ 872565 h 1451770"/>
                <a:gd name="connsiteX2746" fmla="*/ 3366041 w 3773795"/>
                <a:gd name="connsiteY2746" fmla="*/ 873461 h 1451770"/>
                <a:gd name="connsiteX2747" fmla="*/ 3363806 w 3773795"/>
                <a:gd name="connsiteY2747" fmla="*/ 873268 h 1451770"/>
                <a:gd name="connsiteX2748" fmla="*/ 3358505 w 3773795"/>
                <a:gd name="connsiteY2748" fmla="*/ 877195 h 1451770"/>
                <a:gd name="connsiteX2749" fmla="*/ 3346555 w 3773795"/>
                <a:gd name="connsiteY2749" fmla="*/ 883962 h 1451770"/>
                <a:gd name="connsiteX2750" fmla="*/ 3343239 w 3773795"/>
                <a:gd name="connsiteY2750" fmla="*/ 884844 h 1451770"/>
                <a:gd name="connsiteX2751" fmla="*/ 3339013 w 3773795"/>
                <a:gd name="connsiteY2751" fmla="*/ 886893 h 1451770"/>
                <a:gd name="connsiteX2752" fmla="*/ 3338605 w 3773795"/>
                <a:gd name="connsiteY2752" fmla="*/ 888264 h 1451770"/>
                <a:gd name="connsiteX2753" fmla="*/ 3338578 w 3773795"/>
                <a:gd name="connsiteY2753" fmla="*/ 889953 h 1451770"/>
                <a:gd name="connsiteX2754" fmla="*/ 3336892 w 3773795"/>
                <a:gd name="connsiteY2754" fmla="*/ 892721 h 1451770"/>
                <a:gd name="connsiteX2755" fmla="*/ 3334927 w 3773795"/>
                <a:gd name="connsiteY2755" fmla="*/ 899734 h 1451770"/>
                <a:gd name="connsiteX2756" fmla="*/ 3334331 w 3773795"/>
                <a:gd name="connsiteY2756" fmla="*/ 900991 h 1451770"/>
                <a:gd name="connsiteX2757" fmla="*/ 3333324 w 3773795"/>
                <a:gd name="connsiteY2757" fmla="*/ 902453 h 1451770"/>
                <a:gd name="connsiteX2758" fmla="*/ 3328971 w 3773795"/>
                <a:gd name="connsiteY2758" fmla="*/ 901774 h 1451770"/>
                <a:gd name="connsiteX2759" fmla="*/ 3325179 w 3773795"/>
                <a:gd name="connsiteY2759" fmla="*/ 899096 h 1451770"/>
                <a:gd name="connsiteX2760" fmla="*/ 3323955 w 3773795"/>
                <a:gd name="connsiteY2760" fmla="*/ 897866 h 1451770"/>
                <a:gd name="connsiteX2761" fmla="*/ 3323299 w 3773795"/>
                <a:gd name="connsiteY2761" fmla="*/ 896423 h 1451770"/>
                <a:gd name="connsiteX2762" fmla="*/ 3323065 w 3773795"/>
                <a:gd name="connsiteY2762" fmla="*/ 894101 h 1451770"/>
                <a:gd name="connsiteX2763" fmla="*/ 3322342 w 3773795"/>
                <a:gd name="connsiteY2763" fmla="*/ 893028 h 1451770"/>
                <a:gd name="connsiteX2764" fmla="*/ 3321467 w 3773795"/>
                <a:gd name="connsiteY2764" fmla="*/ 892526 h 1451770"/>
                <a:gd name="connsiteX2765" fmla="*/ 3317125 w 3773795"/>
                <a:gd name="connsiteY2765" fmla="*/ 886789 h 1451770"/>
                <a:gd name="connsiteX2766" fmla="*/ 3309548 w 3773795"/>
                <a:gd name="connsiteY2766" fmla="*/ 882839 h 1451770"/>
                <a:gd name="connsiteX2767" fmla="*/ 3308466 w 3773795"/>
                <a:gd name="connsiteY2767" fmla="*/ 881529 h 1451770"/>
                <a:gd name="connsiteX2768" fmla="*/ 3298770 w 3773795"/>
                <a:gd name="connsiteY2768" fmla="*/ 882600 h 1451770"/>
                <a:gd name="connsiteX2769" fmla="*/ 3296162 w 3773795"/>
                <a:gd name="connsiteY2769" fmla="*/ 882631 h 1451770"/>
                <a:gd name="connsiteX2770" fmla="*/ 3291574 w 3773795"/>
                <a:gd name="connsiteY2770" fmla="*/ 881652 h 1451770"/>
                <a:gd name="connsiteX2771" fmla="*/ 3284380 w 3773795"/>
                <a:gd name="connsiteY2771" fmla="*/ 882263 h 1451770"/>
                <a:gd name="connsiteX2772" fmla="*/ 3275723 w 3773795"/>
                <a:gd name="connsiteY2772" fmla="*/ 884416 h 1451770"/>
                <a:gd name="connsiteX2773" fmla="*/ 3273071 w 3773795"/>
                <a:gd name="connsiteY2773" fmla="*/ 885761 h 1451770"/>
                <a:gd name="connsiteX2774" fmla="*/ 3264242 w 3773795"/>
                <a:gd name="connsiteY2774" fmla="*/ 887845 h 1451770"/>
                <a:gd name="connsiteX2775" fmla="*/ 3258433 w 3773795"/>
                <a:gd name="connsiteY2775" fmla="*/ 891144 h 1451770"/>
                <a:gd name="connsiteX2776" fmla="*/ 3247122 w 3773795"/>
                <a:gd name="connsiteY2776" fmla="*/ 903064 h 1451770"/>
                <a:gd name="connsiteX2777" fmla="*/ 3244452 w 3773795"/>
                <a:gd name="connsiteY2777" fmla="*/ 905526 h 1451770"/>
                <a:gd name="connsiteX2778" fmla="*/ 3243153 w 3773795"/>
                <a:gd name="connsiteY2778" fmla="*/ 906059 h 1451770"/>
                <a:gd name="connsiteX2779" fmla="*/ 3241239 w 3773795"/>
                <a:gd name="connsiteY2779" fmla="*/ 906283 h 1451770"/>
                <a:gd name="connsiteX2780" fmla="*/ 3240408 w 3773795"/>
                <a:gd name="connsiteY2780" fmla="*/ 903888 h 1451770"/>
                <a:gd name="connsiteX2781" fmla="*/ 3240123 w 3773795"/>
                <a:gd name="connsiteY2781" fmla="*/ 901997 h 1451770"/>
                <a:gd name="connsiteX2782" fmla="*/ 3240839 w 3773795"/>
                <a:gd name="connsiteY2782" fmla="*/ 898377 h 1451770"/>
                <a:gd name="connsiteX2783" fmla="*/ 3242197 w 3773795"/>
                <a:gd name="connsiteY2783" fmla="*/ 895413 h 1451770"/>
                <a:gd name="connsiteX2784" fmla="*/ 3243583 w 3773795"/>
                <a:gd name="connsiteY2784" fmla="*/ 889846 h 1451770"/>
                <a:gd name="connsiteX2785" fmla="*/ 3243928 w 3773795"/>
                <a:gd name="connsiteY2785" fmla="*/ 887580 h 1451770"/>
                <a:gd name="connsiteX2786" fmla="*/ 3244902 w 3773795"/>
                <a:gd name="connsiteY2786" fmla="*/ 885232 h 1451770"/>
                <a:gd name="connsiteX2787" fmla="*/ 3241099 w 3773795"/>
                <a:gd name="connsiteY2787" fmla="*/ 885380 h 1451770"/>
                <a:gd name="connsiteX2788" fmla="*/ 3235833 w 3773795"/>
                <a:gd name="connsiteY2788" fmla="*/ 889488 h 1451770"/>
                <a:gd name="connsiteX2789" fmla="*/ 3227894 w 3773795"/>
                <a:gd name="connsiteY2789" fmla="*/ 893485 h 1451770"/>
                <a:gd name="connsiteX2790" fmla="*/ 3224198 w 3773795"/>
                <a:gd name="connsiteY2790" fmla="*/ 894523 h 1451770"/>
                <a:gd name="connsiteX2791" fmla="*/ 3221310 w 3773795"/>
                <a:gd name="connsiteY2791" fmla="*/ 896851 h 1451770"/>
                <a:gd name="connsiteX2792" fmla="*/ 3219262 w 3773795"/>
                <a:gd name="connsiteY2792" fmla="*/ 897187 h 1451770"/>
                <a:gd name="connsiteX2793" fmla="*/ 3216873 w 3773795"/>
                <a:gd name="connsiteY2793" fmla="*/ 898054 h 1451770"/>
                <a:gd name="connsiteX2794" fmla="*/ 3216632 w 3773795"/>
                <a:gd name="connsiteY2794" fmla="*/ 903111 h 1451770"/>
                <a:gd name="connsiteX2795" fmla="*/ 3215422 w 3773795"/>
                <a:gd name="connsiteY2795" fmla="*/ 905911 h 1451770"/>
                <a:gd name="connsiteX2796" fmla="*/ 3213979 w 3773795"/>
                <a:gd name="connsiteY2796" fmla="*/ 906476 h 1451770"/>
                <a:gd name="connsiteX2797" fmla="*/ 3211782 w 3773795"/>
                <a:gd name="connsiteY2797" fmla="*/ 906563 h 1451770"/>
                <a:gd name="connsiteX2798" fmla="*/ 3210125 w 3773795"/>
                <a:gd name="connsiteY2798" fmla="*/ 905467 h 1451770"/>
                <a:gd name="connsiteX2799" fmla="*/ 3207700 w 3773795"/>
                <a:gd name="connsiteY2799" fmla="*/ 901398 h 1451770"/>
                <a:gd name="connsiteX2800" fmla="*/ 3204507 w 3773795"/>
                <a:gd name="connsiteY2800" fmla="*/ 899288 h 1451770"/>
                <a:gd name="connsiteX2801" fmla="*/ 3202621 w 3773795"/>
                <a:gd name="connsiteY2801" fmla="*/ 898910 h 1451770"/>
                <a:gd name="connsiteX2802" fmla="*/ 3201224 w 3773795"/>
                <a:gd name="connsiteY2802" fmla="*/ 899395 h 1451770"/>
                <a:gd name="connsiteX2803" fmla="*/ 3198454 w 3773795"/>
                <a:gd name="connsiteY2803" fmla="*/ 902181 h 1451770"/>
                <a:gd name="connsiteX2804" fmla="*/ 3195396 w 3773795"/>
                <a:gd name="connsiteY2804" fmla="*/ 904697 h 1451770"/>
                <a:gd name="connsiteX2805" fmla="*/ 3195878 w 3773795"/>
                <a:gd name="connsiteY2805" fmla="*/ 901830 h 1451770"/>
                <a:gd name="connsiteX2806" fmla="*/ 3193280 w 3773795"/>
                <a:gd name="connsiteY2806" fmla="*/ 900741 h 1451770"/>
                <a:gd name="connsiteX2807" fmla="*/ 3190965 w 3773795"/>
                <a:gd name="connsiteY2807" fmla="*/ 900089 h 1451770"/>
                <a:gd name="connsiteX2808" fmla="*/ 3188028 w 3773795"/>
                <a:gd name="connsiteY2808" fmla="*/ 899955 h 1451770"/>
                <a:gd name="connsiteX2809" fmla="*/ 3187227 w 3773795"/>
                <a:gd name="connsiteY2809" fmla="*/ 900388 h 1451770"/>
                <a:gd name="connsiteX2810" fmla="*/ 3186037 w 3773795"/>
                <a:gd name="connsiteY2810" fmla="*/ 902027 h 1451770"/>
                <a:gd name="connsiteX2811" fmla="*/ 3183479 w 3773795"/>
                <a:gd name="connsiteY2811" fmla="*/ 904152 h 1451770"/>
                <a:gd name="connsiteX2812" fmla="*/ 3181697 w 3773795"/>
                <a:gd name="connsiteY2812" fmla="*/ 905053 h 1451770"/>
                <a:gd name="connsiteX2813" fmla="*/ 3179844 w 3773795"/>
                <a:gd name="connsiteY2813" fmla="*/ 906761 h 1451770"/>
                <a:gd name="connsiteX2814" fmla="*/ 3178846 w 3773795"/>
                <a:gd name="connsiteY2814" fmla="*/ 908524 h 1451770"/>
                <a:gd name="connsiteX2815" fmla="*/ 3177881 w 3773795"/>
                <a:gd name="connsiteY2815" fmla="*/ 911027 h 1451770"/>
                <a:gd name="connsiteX2816" fmla="*/ 3176728 w 3773795"/>
                <a:gd name="connsiteY2816" fmla="*/ 917117 h 1451770"/>
                <a:gd name="connsiteX2817" fmla="*/ 3176812 w 3773795"/>
                <a:gd name="connsiteY2817" fmla="*/ 924237 h 1451770"/>
                <a:gd name="connsiteX2818" fmla="*/ 3172655 w 3773795"/>
                <a:gd name="connsiteY2818" fmla="*/ 929827 h 1451770"/>
                <a:gd name="connsiteX2819" fmla="*/ 3171004 w 3773795"/>
                <a:gd name="connsiteY2819" fmla="*/ 929276 h 1451770"/>
                <a:gd name="connsiteX2820" fmla="*/ 3170224 w 3773795"/>
                <a:gd name="connsiteY2820" fmla="*/ 929642 h 1451770"/>
                <a:gd name="connsiteX2821" fmla="*/ 3169453 w 3773795"/>
                <a:gd name="connsiteY2821" fmla="*/ 930384 h 1451770"/>
                <a:gd name="connsiteX2822" fmla="*/ 3170874 w 3773795"/>
                <a:gd name="connsiteY2822" fmla="*/ 933451 h 1451770"/>
                <a:gd name="connsiteX2823" fmla="*/ 3170112 w 3773795"/>
                <a:gd name="connsiteY2823" fmla="*/ 934548 h 1451770"/>
                <a:gd name="connsiteX2824" fmla="*/ 3169332 w 3773795"/>
                <a:gd name="connsiteY2824" fmla="*/ 935280 h 1451770"/>
                <a:gd name="connsiteX2825" fmla="*/ 3167401 w 3773795"/>
                <a:gd name="connsiteY2825" fmla="*/ 936083 h 1451770"/>
                <a:gd name="connsiteX2826" fmla="*/ 3162893 w 3773795"/>
                <a:gd name="connsiteY2826" fmla="*/ 940610 h 1451770"/>
                <a:gd name="connsiteX2827" fmla="*/ 3158685 w 3773795"/>
                <a:gd name="connsiteY2827" fmla="*/ 943571 h 1451770"/>
                <a:gd name="connsiteX2828" fmla="*/ 3151798 w 3773795"/>
                <a:gd name="connsiteY2828" fmla="*/ 952017 h 1451770"/>
                <a:gd name="connsiteX2829" fmla="*/ 3149756 w 3773795"/>
                <a:gd name="connsiteY2829" fmla="*/ 957644 h 1451770"/>
                <a:gd name="connsiteX2830" fmla="*/ 3147784 w 3773795"/>
                <a:gd name="connsiteY2830" fmla="*/ 963943 h 1451770"/>
                <a:gd name="connsiteX2831" fmla="*/ 3148710 w 3773795"/>
                <a:gd name="connsiteY2831" fmla="*/ 967021 h 1451770"/>
                <a:gd name="connsiteX2832" fmla="*/ 3149543 w 3773795"/>
                <a:gd name="connsiteY2832" fmla="*/ 969030 h 1451770"/>
                <a:gd name="connsiteX2833" fmla="*/ 3150833 w 3773795"/>
                <a:gd name="connsiteY2833" fmla="*/ 970426 h 1451770"/>
                <a:gd name="connsiteX2834" fmla="*/ 3153033 w 3773795"/>
                <a:gd name="connsiteY2834" fmla="*/ 971882 h 1451770"/>
                <a:gd name="connsiteX2835" fmla="*/ 3157765 w 3773795"/>
                <a:gd name="connsiteY2835" fmla="*/ 973505 h 1451770"/>
                <a:gd name="connsiteX2836" fmla="*/ 3157339 w 3773795"/>
                <a:gd name="connsiteY2836" fmla="*/ 974571 h 1451770"/>
                <a:gd name="connsiteX2837" fmla="*/ 3157322 w 3773795"/>
                <a:gd name="connsiteY2837" fmla="*/ 975458 h 1451770"/>
                <a:gd name="connsiteX2838" fmla="*/ 3158993 w 3773795"/>
                <a:gd name="connsiteY2838" fmla="*/ 973894 h 1451770"/>
                <a:gd name="connsiteX2839" fmla="*/ 3160209 w 3773795"/>
                <a:gd name="connsiteY2839" fmla="*/ 969483 h 1451770"/>
                <a:gd name="connsiteX2840" fmla="*/ 3163135 w 3773795"/>
                <a:gd name="connsiteY2840" fmla="*/ 968069 h 1451770"/>
                <a:gd name="connsiteX2841" fmla="*/ 3164551 w 3773795"/>
                <a:gd name="connsiteY2841" fmla="*/ 968138 h 1451770"/>
                <a:gd name="connsiteX2842" fmla="*/ 3173986 w 3773795"/>
                <a:gd name="connsiteY2842" fmla="*/ 971621 h 1451770"/>
                <a:gd name="connsiteX2843" fmla="*/ 3175771 w 3773795"/>
                <a:gd name="connsiteY2843" fmla="*/ 973121 h 1451770"/>
                <a:gd name="connsiteX2844" fmla="*/ 3175509 w 3773795"/>
                <a:gd name="connsiteY2844" fmla="*/ 976429 h 1451770"/>
                <a:gd name="connsiteX2845" fmla="*/ 3174933 w 3773795"/>
                <a:gd name="connsiteY2845" fmla="*/ 978006 h 1451770"/>
                <a:gd name="connsiteX2846" fmla="*/ 3173185 w 3773795"/>
                <a:gd name="connsiteY2846" fmla="*/ 980319 h 1451770"/>
                <a:gd name="connsiteX2847" fmla="*/ 3169829 w 3773795"/>
                <a:gd name="connsiteY2847" fmla="*/ 983100 h 1451770"/>
                <a:gd name="connsiteX2848" fmla="*/ 3165899 w 3773795"/>
                <a:gd name="connsiteY2848" fmla="*/ 986912 h 1451770"/>
                <a:gd name="connsiteX2849" fmla="*/ 3165523 w 3773795"/>
                <a:gd name="connsiteY2849" fmla="*/ 989246 h 1451770"/>
                <a:gd name="connsiteX2850" fmla="*/ 3165506 w 3773795"/>
                <a:gd name="connsiteY2850" fmla="*/ 990520 h 1451770"/>
                <a:gd name="connsiteX2851" fmla="*/ 3166535 w 3773795"/>
                <a:gd name="connsiteY2851" fmla="*/ 994992 h 1451770"/>
                <a:gd name="connsiteX2852" fmla="*/ 3166685 w 3773795"/>
                <a:gd name="connsiteY2852" fmla="*/ 997503 h 1451770"/>
                <a:gd name="connsiteX2853" fmla="*/ 3166160 w 3773795"/>
                <a:gd name="connsiteY2853" fmla="*/ 1002177 h 1451770"/>
                <a:gd name="connsiteX2854" fmla="*/ 3166415 w 3773795"/>
                <a:gd name="connsiteY2854" fmla="*/ 1004193 h 1451770"/>
                <a:gd name="connsiteX2855" fmla="*/ 3167460 w 3773795"/>
                <a:gd name="connsiteY2855" fmla="*/ 1005914 h 1451770"/>
                <a:gd name="connsiteX2856" fmla="*/ 3169056 w 3773795"/>
                <a:gd name="connsiteY2856" fmla="*/ 1006991 h 1451770"/>
                <a:gd name="connsiteX2857" fmla="*/ 3171805 w 3773795"/>
                <a:gd name="connsiteY2857" fmla="*/ 1006403 h 1451770"/>
                <a:gd name="connsiteX2858" fmla="*/ 3174437 w 3773795"/>
                <a:gd name="connsiteY2858" fmla="*/ 1006902 h 1451770"/>
                <a:gd name="connsiteX2859" fmla="*/ 3176452 w 3773795"/>
                <a:gd name="connsiteY2859" fmla="*/ 1008080 h 1451770"/>
                <a:gd name="connsiteX2860" fmla="*/ 3176158 w 3773795"/>
                <a:gd name="connsiteY2860" fmla="*/ 1011962 h 1451770"/>
                <a:gd name="connsiteX2861" fmla="*/ 3177281 w 3773795"/>
                <a:gd name="connsiteY2861" fmla="*/ 1015629 h 1451770"/>
                <a:gd name="connsiteX2862" fmla="*/ 3178198 w 3773795"/>
                <a:gd name="connsiteY2862" fmla="*/ 1022367 h 1451770"/>
                <a:gd name="connsiteX2863" fmla="*/ 3176557 w 3773795"/>
                <a:gd name="connsiteY2863" fmla="*/ 1024204 h 1451770"/>
                <a:gd name="connsiteX2864" fmla="*/ 3174964 w 3773795"/>
                <a:gd name="connsiteY2864" fmla="*/ 1025351 h 1451770"/>
                <a:gd name="connsiteX2865" fmla="*/ 3171827 w 3773795"/>
                <a:gd name="connsiteY2865" fmla="*/ 1028232 h 1451770"/>
                <a:gd name="connsiteX2866" fmla="*/ 3170153 w 3773795"/>
                <a:gd name="connsiteY2866" fmla="*/ 1028571 h 1451770"/>
                <a:gd name="connsiteX2867" fmla="*/ 3167249 w 3773795"/>
                <a:gd name="connsiteY2867" fmla="*/ 1027579 h 1451770"/>
                <a:gd name="connsiteX2868" fmla="*/ 3162556 w 3773795"/>
                <a:gd name="connsiteY2868" fmla="*/ 1022374 h 1451770"/>
                <a:gd name="connsiteX2869" fmla="*/ 3164437 w 3773795"/>
                <a:gd name="connsiteY2869" fmla="*/ 1019290 h 1451770"/>
                <a:gd name="connsiteX2870" fmla="*/ 3168419 w 3773795"/>
                <a:gd name="connsiteY2870" fmla="*/ 1017141 h 1451770"/>
                <a:gd name="connsiteX2871" fmla="*/ 3170231 w 3773795"/>
                <a:gd name="connsiteY2871" fmla="*/ 1015588 h 1451770"/>
                <a:gd name="connsiteX2872" fmla="*/ 3171627 w 3773795"/>
                <a:gd name="connsiteY2872" fmla="*/ 1013302 h 1451770"/>
                <a:gd name="connsiteX2873" fmla="*/ 3169544 w 3773795"/>
                <a:gd name="connsiteY2873" fmla="*/ 1013736 h 1451770"/>
                <a:gd name="connsiteX2874" fmla="*/ 3168073 w 3773795"/>
                <a:gd name="connsiteY2874" fmla="*/ 1014730 h 1451770"/>
                <a:gd name="connsiteX2875" fmla="*/ 3163515 w 3773795"/>
                <a:gd name="connsiteY2875" fmla="*/ 1014300 h 1451770"/>
                <a:gd name="connsiteX2876" fmla="*/ 3161692 w 3773795"/>
                <a:gd name="connsiteY2876" fmla="*/ 1015403 h 1451770"/>
                <a:gd name="connsiteX2877" fmla="*/ 3159473 w 3773795"/>
                <a:gd name="connsiteY2877" fmla="*/ 1017152 h 1451770"/>
                <a:gd name="connsiteX2878" fmla="*/ 3160347 w 3773795"/>
                <a:gd name="connsiteY2878" fmla="*/ 1021486 h 1451770"/>
                <a:gd name="connsiteX2879" fmla="*/ 3158864 w 3773795"/>
                <a:gd name="connsiteY2879" fmla="*/ 1022274 h 1451770"/>
                <a:gd name="connsiteX2880" fmla="*/ 3156054 w 3773795"/>
                <a:gd name="connsiteY2880" fmla="*/ 1023766 h 1451770"/>
                <a:gd name="connsiteX2881" fmla="*/ 3151897 w 3773795"/>
                <a:gd name="connsiteY2881" fmla="*/ 1025624 h 1451770"/>
                <a:gd name="connsiteX2882" fmla="*/ 3150546 w 3773795"/>
                <a:gd name="connsiteY2882" fmla="*/ 1026829 h 1451770"/>
                <a:gd name="connsiteX2883" fmla="*/ 3146987 w 3773795"/>
                <a:gd name="connsiteY2883" fmla="*/ 1034593 h 1451770"/>
                <a:gd name="connsiteX2884" fmla="*/ 3143704 w 3773795"/>
                <a:gd name="connsiteY2884" fmla="*/ 1040355 h 1451770"/>
                <a:gd name="connsiteX2885" fmla="*/ 3142562 w 3773795"/>
                <a:gd name="connsiteY2885" fmla="*/ 1045272 h 1451770"/>
                <a:gd name="connsiteX2886" fmla="*/ 3142683 w 3773795"/>
                <a:gd name="connsiteY2886" fmla="*/ 1049542 h 1451770"/>
                <a:gd name="connsiteX2887" fmla="*/ 3143912 w 3773795"/>
                <a:gd name="connsiteY2887" fmla="*/ 1054254 h 1451770"/>
                <a:gd name="connsiteX2888" fmla="*/ 3144780 w 3773795"/>
                <a:gd name="connsiteY2888" fmla="*/ 1056300 h 1451770"/>
                <a:gd name="connsiteX2889" fmla="*/ 3148581 w 3773795"/>
                <a:gd name="connsiteY2889" fmla="*/ 1060636 h 1451770"/>
                <a:gd name="connsiteX2890" fmla="*/ 3150442 w 3773795"/>
                <a:gd name="connsiteY2890" fmla="*/ 1064072 h 1451770"/>
                <a:gd name="connsiteX2891" fmla="*/ 3151002 w 3773795"/>
                <a:gd name="connsiteY2891" fmla="*/ 1068180 h 1451770"/>
                <a:gd name="connsiteX2892" fmla="*/ 3147935 w 3773795"/>
                <a:gd name="connsiteY2892" fmla="*/ 1070124 h 1451770"/>
                <a:gd name="connsiteX2893" fmla="*/ 3142601 w 3773795"/>
                <a:gd name="connsiteY2893" fmla="*/ 1074886 h 1451770"/>
                <a:gd name="connsiteX2894" fmla="*/ 3140370 w 3773795"/>
                <a:gd name="connsiteY2894" fmla="*/ 1075396 h 1451770"/>
                <a:gd name="connsiteX2895" fmla="*/ 3133057 w 3773795"/>
                <a:gd name="connsiteY2895" fmla="*/ 1075265 h 1451770"/>
                <a:gd name="connsiteX2896" fmla="*/ 3129427 w 3773795"/>
                <a:gd name="connsiteY2896" fmla="*/ 1072891 h 1451770"/>
                <a:gd name="connsiteX2897" fmla="*/ 3125129 w 3773795"/>
                <a:gd name="connsiteY2897" fmla="*/ 1073498 h 1451770"/>
                <a:gd name="connsiteX2898" fmla="*/ 3121527 w 3773795"/>
                <a:gd name="connsiteY2898" fmla="*/ 1074629 h 1451770"/>
                <a:gd name="connsiteX2899" fmla="*/ 3115879 w 3773795"/>
                <a:gd name="connsiteY2899" fmla="*/ 1078003 h 1451770"/>
                <a:gd name="connsiteX2900" fmla="*/ 3110830 w 3773795"/>
                <a:gd name="connsiteY2900" fmla="*/ 1082350 h 1451770"/>
                <a:gd name="connsiteX2901" fmla="*/ 3106088 w 3773795"/>
                <a:gd name="connsiteY2901" fmla="*/ 1085364 h 1451770"/>
                <a:gd name="connsiteX2902" fmla="*/ 3104667 w 3773795"/>
                <a:gd name="connsiteY2902" fmla="*/ 1087136 h 1451770"/>
                <a:gd name="connsiteX2903" fmla="*/ 3102713 w 3773795"/>
                <a:gd name="connsiteY2903" fmla="*/ 1090854 h 1451770"/>
                <a:gd name="connsiteX2904" fmla="*/ 3100988 w 3773795"/>
                <a:gd name="connsiteY2904" fmla="*/ 1097663 h 1451770"/>
                <a:gd name="connsiteX2905" fmla="*/ 3101587 w 3773795"/>
                <a:gd name="connsiteY2905" fmla="*/ 1101017 h 1451770"/>
                <a:gd name="connsiteX2906" fmla="*/ 3102547 w 3773795"/>
                <a:gd name="connsiteY2906" fmla="*/ 1102582 h 1451770"/>
                <a:gd name="connsiteX2907" fmla="*/ 3103466 w 3773795"/>
                <a:gd name="connsiteY2907" fmla="*/ 1104653 h 1451770"/>
                <a:gd name="connsiteX2908" fmla="*/ 3102212 w 3773795"/>
                <a:gd name="connsiteY2908" fmla="*/ 1107802 h 1451770"/>
                <a:gd name="connsiteX2909" fmla="*/ 3102180 w 3773795"/>
                <a:gd name="connsiteY2909" fmla="*/ 1109817 h 1451770"/>
                <a:gd name="connsiteX2910" fmla="*/ 3104490 w 3773795"/>
                <a:gd name="connsiteY2910" fmla="*/ 1113000 h 1451770"/>
                <a:gd name="connsiteX2911" fmla="*/ 3104998 w 3773795"/>
                <a:gd name="connsiteY2911" fmla="*/ 1117363 h 1451770"/>
                <a:gd name="connsiteX2912" fmla="*/ 3103281 w 3773795"/>
                <a:gd name="connsiteY2912" fmla="*/ 1117498 h 1451770"/>
                <a:gd name="connsiteX2913" fmla="*/ 3099391 w 3773795"/>
                <a:gd name="connsiteY2913" fmla="*/ 1114359 h 1451770"/>
                <a:gd name="connsiteX2914" fmla="*/ 3095287 w 3773795"/>
                <a:gd name="connsiteY2914" fmla="*/ 1114118 h 1451770"/>
                <a:gd name="connsiteX2915" fmla="*/ 3085341 w 3773795"/>
                <a:gd name="connsiteY2915" fmla="*/ 1117736 h 1451770"/>
                <a:gd name="connsiteX2916" fmla="*/ 3081270 w 3773795"/>
                <a:gd name="connsiteY2916" fmla="*/ 1119822 h 1451770"/>
                <a:gd name="connsiteX2917" fmla="*/ 3076701 w 3773795"/>
                <a:gd name="connsiteY2917" fmla="*/ 1123972 h 1451770"/>
                <a:gd name="connsiteX2918" fmla="*/ 3075336 w 3773795"/>
                <a:gd name="connsiteY2918" fmla="*/ 1123180 h 1451770"/>
                <a:gd name="connsiteX2919" fmla="*/ 3074360 w 3773795"/>
                <a:gd name="connsiteY2919" fmla="*/ 1120803 h 1451770"/>
                <a:gd name="connsiteX2920" fmla="*/ 3072704 w 3773795"/>
                <a:gd name="connsiteY2920" fmla="*/ 1119749 h 1451770"/>
                <a:gd name="connsiteX2921" fmla="*/ 3070658 w 3773795"/>
                <a:gd name="connsiteY2921" fmla="*/ 1120277 h 1451770"/>
                <a:gd name="connsiteX2922" fmla="*/ 3069779 w 3773795"/>
                <a:gd name="connsiteY2922" fmla="*/ 1122521 h 1451770"/>
                <a:gd name="connsiteX2923" fmla="*/ 3072605 w 3773795"/>
                <a:gd name="connsiteY2923" fmla="*/ 1123576 h 1451770"/>
                <a:gd name="connsiteX2924" fmla="*/ 3073680 w 3773795"/>
                <a:gd name="connsiteY2924" fmla="*/ 1125027 h 1451770"/>
                <a:gd name="connsiteX2925" fmla="*/ 3072020 w 3773795"/>
                <a:gd name="connsiteY2925" fmla="*/ 1130558 h 1451770"/>
                <a:gd name="connsiteX2926" fmla="*/ 3070849 w 3773795"/>
                <a:gd name="connsiteY2926" fmla="*/ 1132399 h 1451770"/>
                <a:gd name="connsiteX2927" fmla="*/ 3071283 w 3773795"/>
                <a:gd name="connsiteY2927" fmla="*/ 1137352 h 1451770"/>
                <a:gd name="connsiteX2928" fmla="*/ 3071123 w 3773795"/>
                <a:gd name="connsiteY2928" fmla="*/ 1139645 h 1451770"/>
                <a:gd name="connsiteX2929" fmla="*/ 3070467 w 3773795"/>
                <a:gd name="connsiteY2929" fmla="*/ 1141967 h 1451770"/>
                <a:gd name="connsiteX2930" fmla="*/ 3067552 w 3773795"/>
                <a:gd name="connsiteY2930" fmla="*/ 1148313 h 1451770"/>
                <a:gd name="connsiteX2931" fmla="*/ 3062508 w 3773795"/>
                <a:gd name="connsiteY2931" fmla="*/ 1156625 h 1451770"/>
                <a:gd name="connsiteX2932" fmla="*/ 3056310 w 3773795"/>
                <a:gd name="connsiteY2932" fmla="*/ 1162644 h 1451770"/>
                <a:gd name="connsiteX2933" fmla="*/ 3052013 w 3773795"/>
                <a:gd name="connsiteY2933" fmla="*/ 1164725 h 1451770"/>
                <a:gd name="connsiteX2934" fmla="*/ 3049847 w 3773795"/>
                <a:gd name="connsiteY2934" fmla="*/ 1166332 h 1451770"/>
                <a:gd name="connsiteX2935" fmla="*/ 3048938 w 3773795"/>
                <a:gd name="connsiteY2935" fmla="*/ 1168416 h 1451770"/>
                <a:gd name="connsiteX2936" fmla="*/ 3042579 w 3773795"/>
                <a:gd name="connsiteY2936" fmla="*/ 1174168 h 1451770"/>
                <a:gd name="connsiteX2937" fmla="*/ 3034733 w 3773795"/>
                <a:gd name="connsiteY2937" fmla="*/ 1180198 h 1451770"/>
                <a:gd name="connsiteX2938" fmla="*/ 3032529 w 3773795"/>
                <a:gd name="connsiteY2938" fmla="*/ 1181288 h 1451770"/>
                <a:gd name="connsiteX2939" fmla="*/ 3032010 w 3773795"/>
                <a:gd name="connsiteY2939" fmla="*/ 1179015 h 1451770"/>
                <a:gd name="connsiteX2940" fmla="*/ 3031771 w 3773795"/>
                <a:gd name="connsiteY2940" fmla="*/ 1176762 h 1451770"/>
                <a:gd name="connsiteX2941" fmla="*/ 3030827 w 3773795"/>
                <a:gd name="connsiteY2941" fmla="*/ 1173755 h 1451770"/>
                <a:gd name="connsiteX2942" fmla="*/ 3028011 w 3773795"/>
                <a:gd name="connsiteY2942" fmla="*/ 1171271 h 1451770"/>
                <a:gd name="connsiteX2943" fmla="*/ 3027519 w 3773795"/>
                <a:gd name="connsiteY2943" fmla="*/ 1169257 h 1451770"/>
                <a:gd name="connsiteX2944" fmla="*/ 3027059 w 3773795"/>
                <a:gd name="connsiteY2944" fmla="*/ 1166473 h 1451770"/>
                <a:gd name="connsiteX2945" fmla="*/ 3026825 w 3773795"/>
                <a:gd name="connsiteY2945" fmla="*/ 1153572 h 1451770"/>
                <a:gd name="connsiteX2946" fmla="*/ 3024338 w 3773795"/>
                <a:gd name="connsiteY2946" fmla="*/ 1140138 h 1451770"/>
                <a:gd name="connsiteX2947" fmla="*/ 3024060 w 3773795"/>
                <a:gd name="connsiteY2947" fmla="*/ 1135892 h 1451770"/>
                <a:gd name="connsiteX2948" fmla="*/ 3021049 w 3773795"/>
                <a:gd name="connsiteY2948" fmla="*/ 1132411 h 1451770"/>
                <a:gd name="connsiteX2949" fmla="*/ 3019408 w 3773795"/>
                <a:gd name="connsiteY2949" fmla="*/ 1128802 h 1451770"/>
                <a:gd name="connsiteX2950" fmla="*/ 3018434 w 3773795"/>
                <a:gd name="connsiteY2950" fmla="*/ 1125251 h 1451770"/>
                <a:gd name="connsiteX2951" fmla="*/ 3018179 w 3773795"/>
                <a:gd name="connsiteY2951" fmla="*/ 1121052 h 1451770"/>
                <a:gd name="connsiteX2952" fmla="*/ 3014893 w 3773795"/>
                <a:gd name="connsiteY2952" fmla="*/ 1098853 h 1451770"/>
                <a:gd name="connsiteX2953" fmla="*/ 3013890 w 3773795"/>
                <a:gd name="connsiteY2953" fmla="*/ 1093288 h 1451770"/>
                <a:gd name="connsiteX2954" fmla="*/ 3009503 w 3773795"/>
                <a:gd name="connsiteY2954" fmla="*/ 1075236 h 1451770"/>
                <a:gd name="connsiteX2955" fmla="*/ 3007599 w 3773795"/>
                <a:gd name="connsiteY2955" fmla="*/ 1064734 h 1451770"/>
                <a:gd name="connsiteX2956" fmla="*/ 3006351 w 3773795"/>
                <a:gd name="connsiteY2956" fmla="*/ 1054445 h 1451770"/>
                <a:gd name="connsiteX2957" fmla="*/ 3006151 w 3773795"/>
                <a:gd name="connsiteY2957" fmla="*/ 1049837 h 1451770"/>
                <a:gd name="connsiteX2958" fmla="*/ 3008110 w 3773795"/>
                <a:gd name="connsiteY2958" fmla="*/ 1036049 h 1451770"/>
                <a:gd name="connsiteX2959" fmla="*/ 3009727 w 3773795"/>
                <a:gd name="connsiteY2959" fmla="*/ 1027373 h 1451770"/>
                <a:gd name="connsiteX2960" fmla="*/ 3015607 w 3773795"/>
                <a:gd name="connsiteY2960" fmla="*/ 1007854 h 1451770"/>
                <a:gd name="connsiteX2961" fmla="*/ 3016555 w 3773795"/>
                <a:gd name="connsiteY2961" fmla="*/ 1006067 h 1451770"/>
                <a:gd name="connsiteX2962" fmla="*/ 3017486 w 3773795"/>
                <a:gd name="connsiteY2962" fmla="*/ 1005134 h 1451770"/>
                <a:gd name="connsiteX2963" fmla="*/ 3027698 w 3773795"/>
                <a:gd name="connsiteY2963" fmla="*/ 997573 h 1451770"/>
                <a:gd name="connsiteX2964" fmla="*/ 3032101 w 3773795"/>
                <a:gd name="connsiteY2964" fmla="*/ 993426 h 1451770"/>
                <a:gd name="connsiteX2965" fmla="*/ 3034764 w 3773795"/>
                <a:gd name="connsiteY2965" fmla="*/ 989053 h 1451770"/>
                <a:gd name="connsiteX2966" fmla="*/ 3037592 w 3773795"/>
                <a:gd name="connsiteY2966" fmla="*/ 983456 h 1451770"/>
                <a:gd name="connsiteX2967" fmla="*/ 3037301 w 3773795"/>
                <a:gd name="connsiteY2967" fmla="*/ 980443 h 1451770"/>
                <a:gd name="connsiteX2968" fmla="*/ 3036962 w 3773795"/>
                <a:gd name="connsiteY2968" fmla="*/ 978696 h 1451770"/>
                <a:gd name="connsiteX2969" fmla="*/ 3035893 w 3773795"/>
                <a:gd name="connsiteY2969" fmla="*/ 976746 h 1451770"/>
                <a:gd name="connsiteX2970" fmla="*/ 3033498 w 3773795"/>
                <a:gd name="connsiteY2970" fmla="*/ 974477 h 1451770"/>
                <a:gd name="connsiteX2971" fmla="*/ 3034345 w 3773795"/>
                <a:gd name="connsiteY2971" fmla="*/ 973465 h 1451770"/>
                <a:gd name="connsiteX2972" fmla="*/ 3035275 w 3773795"/>
                <a:gd name="connsiteY2972" fmla="*/ 972697 h 1451770"/>
                <a:gd name="connsiteX2973" fmla="*/ 3037791 w 3773795"/>
                <a:gd name="connsiteY2973" fmla="*/ 971849 h 1451770"/>
                <a:gd name="connsiteX2974" fmla="*/ 3042900 w 3773795"/>
                <a:gd name="connsiteY2974" fmla="*/ 973555 h 1451770"/>
                <a:gd name="connsiteX2975" fmla="*/ 3048066 w 3773795"/>
                <a:gd name="connsiteY2975" fmla="*/ 972837 h 1451770"/>
                <a:gd name="connsiteX2976" fmla="*/ 3052842 w 3773795"/>
                <a:gd name="connsiteY2976" fmla="*/ 965776 h 1451770"/>
                <a:gd name="connsiteX2977" fmla="*/ 3059657 w 3773795"/>
                <a:gd name="connsiteY2977" fmla="*/ 966861 h 1451770"/>
                <a:gd name="connsiteX2978" fmla="*/ 3064872 w 3773795"/>
                <a:gd name="connsiteY2978" fmla="*/ 965599 h 1451770"/>
                <a:gd name="connsiteX2979" fmla="*/ 3066304 w 3773795"/>
                <a:gd name="connsiteY2979" fmla="*/ 966122 h 1451770"/>
                <a:gd name="connsiteX2980" fmla="*/ 3067318 w 3773795"/>
                <a:gd name="connsiteY2980" fmla="*/ 963733 h 1451770"/>
                <a:gd name="connsiteX2981" fmla="*/ 3070156 w 3773795"/>
                <a:gd name="connsiteY2981" fmla="*/ 961183 h 1451770"/>
                <a:gd name="connsiteX2982" fmla="*/ 3075410 w 3773795"/>
                <a:gd name="connsiteY2982" fmla="*/ 957370 h 1451770"/>
                <a:gd name="connsiteX2983" fmla="*/ 3083147 w 3773795"/>
                <a:gd name="connsiteY2983" fmla="*/ 952775 h 1451770"/>
                <a:gd name="connsiteX2984" fmla="*/ 3086988 w 3773795"/>
                <a:gd name="connsiteY2984" fmla="*/ 949691 h 1451770"/>
                <a:gd name="connsiteX2985" fmla="*/ 3089150 w 3773795"/>
                <a:gd name="connsiteY2985" fmla="*/ 946745 h 1451770"/>
                <a:gd name="connsiteX2986" fmla="*/ 3092339 w 3773795"/>
                <a:gd name="connsiteY2986" fmla="*/ 943980 h 1451770"/>
                <a:gd name="connsiteX2987" fmla="*/ 3095410 w 3773795"/>
                <a:gd name="connsiteY2987" fmla="*/ 940488 h 1451770"/>
                <a:gd name="connsiteX2988" fmla="*/ 3101067 w 3773795"/>
                <a:gd name="connsiteY2988" fmla="*/ 929966 h 1451770"/>
                <a:gd name="connsiteX2989" fmla="*/ 3112191 w 3773795"/>
                <a:gd name="connsiteY2989" fmla="*/ 921245 h 1451770"/>
                <a:gd name="connsiteX2990" fmla="*/ 3116548 w 3773795"/>
                <a:gd name="connsiteY2990" fmla="*/ 916220 h 1451770"/>
                <a:gd name="connsiteX2991" fmla="*/ 3120174 w 3773795"/>
                <a:gd name="connsiteY2991" fmla="*/ 914437 h 1451770"/>
                <a:gd name="connsiteX2992" fmla="*/ 3123354 w 3773795"/>
                <a:gd name="connsiteY2992" fmla="*/ 913610 h 1451770"/>
                <a:gd name="connsiteX2993" fmla="*/ 3131397 w 3773795"/>
                <a:gd name="connsiteY2993" fmla="*/ 906410 h 1451770"/>
                <a:gd name="connsiteX2994" fmla="*/ 3136490 w 3773795"/>
                <a:gd name="connsiteY2994" fmla="*/ 900410 h 1451770"/>
                <a:gd name="connsiteX2995" fmla="*/ 3143217 w 3773795"/>
                <a:gd name="connsiteY2995" fmla="*/ 896276 h 1451770"/>
                <a:gd name="connsiteX2996" fmla="*/ 3145262 w 3773795"/>
                <a:gd name="connsiteY2996" fmla="*/ 893626 h 1451770"/>
                <a:gd name="connsiteX2997" fmla="*/ 3148747 w 3773795"/>
                <a:gd name="connsiteY2997" fmla="*/ 887384 h 1451770"/>
                <a:gd name="connsiteX2998" fmla="*/ 3150174 w 3773795"/>
                <a:gd name="connsiteY2998" fmla="*/ 885845 h 1451770"/>
                <a:gd name="connsiteX2999" fmla="*/ 3154556 w 3773795"/>
                <a:gd name="connsiteY2999" fmla="*/ 883503 h 1451770"/>
                <a:gd name="connsiteX3000" fmla="*/ 3164437 w 3773795"/>
                <a:gd name="connsiteY3000" fmla="*/ 879409 h 1451770"/>
                <a:gd name="connsiteX3001" fmla="*/ 3170186 w 3773795"/>
                <a:gd name="connsiteY3001" fmla="*/ 875283 h 1451770"/>
                <a:gd name="connsiteX3002" fmla="*/ 3178570 w 3773795"/>
                <a:gd name="connsiteY3002" fmla="*/ 874697 h 1451770"/>
                <a:gd name="connsiteX3003" fmla="*/ 3181092 w 3773795"/>
                <a:gd name="connsiteY3003" fmla="*/ 873046 h 1451770"/>
                <a:gd name="connsiteX3004" fmla="*/ 3183718 w 3773795"/>
                <a:gd name="connsiteY3004" fmla="*/ 872128 h 1451770"/>
                <a:gd name="connsiteX3005" fmla="*/ 3186478 w 3773795"/>
                <a:gd name="connsiteY3005" fmla="*/ 870799 h 1451770"/>
                <a:gd name="connsiteX3006" fmla="*/ 3183018 w 3773795"/>
                <a:gd name="connsiteY3006" fmla="*/ 867147 h 1451770"/>
                <a:gd name="connsiteX3007" fmla="*/ 3183809 w 3773795"/>
                <a:gd name="connsiteY3007" fmla="*/ 865174 h 1451770"/>
                <a:gd name="connsiteX3008" fmla="*/ 3184480 w 3773795"/>
                <a:gd name="connsiteY3008" fmla="*/ 864268 h 1451770"/>
                <a:gd name="connsiteX3009" fmla="*/ 3190533 w 3773795"/>
                <a:gd name="connsiteY3009" fmla="*/ 859920 h 1451770"/>
                <a:gd name="connsiteX3010" fmla="*/ 3193012 w 3773795"/>
                <a:gd name="connsiteY3010" fmla="*/ 856435 h 1451770"/>
                <a:gd name="connsiteX3011" fmla="*/ 3192716 w 3773795"/>
                <a:gd name="connsiteY3011" fmla="*/ 854935 h 1451770"/>
                <a:gd name="connsiteX3012" fmla="*/ 3192289 w 3773795"/>
                <a:gd name="connsiteY3012" fmla="*/ 853866 h 1451770"/>
                <a:gd name="connsiteX3013" fmla="*/ 3188566 w 3773795"/>
                <a:gd name="connsiteY3013" fmla="*/ 852463 h 1451770"/>
                <a:gd name="connsiteX3014" fmla="*/ 3189289 w 3773795"/>
                <a:gd name="connsiteY3014" fmla="*/ 849184 h 1451770"/>
                <a:gd name="connsiteX3015" fmla="*/ 3190298 w 3773795"/>
                <a:gd name="connsiteY3015" fmla="*/ 846408 h 1451770"/>
                <a:gd name="connsiteX3016" fmla="*/ 3193323 w 3773795"/>
                <a:gd name="connsiteY3016" fmla="*/ 844014 h 1451770"/>
                <a:gd name="connsiteX3017" fmla="*/ 3194394 w 3773795"/>
                <a:gd name="connsiteY3017" fmla="*/ 838465 h 1451770"/>
                <a:gd name="connsiteX3018" fmla="*/ 3194532 w 3773795"/>
                <a:gd name="connsiteY3018" fmla="*/ 832630 h 1451770"/>
                <a:gd name="connsiteX3019" fmla="*/ 3197473 w 3773795"/>
                <a:gd name="connsiteY3019" fmla="*/ 824172 h 1451770"/>
                <a:gd name="connsiteX3020" fmla="*/ 3199249 w 3773795"/>
                <a:gd name="connsiteY3020" fmla="*/ 822307 h 1451770"/>
                <a:gd name="connsiteX3021" fmla="*/ 3206121 w 3773795"/>
                <a:gd name="connsiteY3021" fmla="*/ 818050 h 1451770"/>
                <a:gd name="connsiteX3022" fmla="*/ 3207721 w 3773795"/>
                <a:gd name="connsiteY3022" fmla="*/ 817939 h 1451770"/>
                <a:gd name="connsiteX3023" fmla="*/ 3212520 w 3773795"/>
                <a:gd name="connsiteY3023" fmla="*/ 819379 h 1451770"/>
                <a:gd name="connsiteX3024" fmla="*/ 3217748 w 3773795"/>
                <a:gd name="connsiteY3024" fmla="*/ 820079 h 1451770"/>
                <a:gd name="connsiteX3025" fmla="*/ 3219605 w 3773795"/>
                <a:gd name="connsiteY3025" fmla="*/ 821368 h 1451770"/>
                <a:gd name="connsiteX3026" fmla="*/ 3219993 w 3773795"/>
                <a:gd name="connsiteY3026" fmla="*/ 820277 h 1451770"/>
                <a:gd name="connsiteX3027" fmla="*/ 3219732 w 3773795"/>
                <a:gd name="connsiteY3027" fmla="*/ 818819 h 1451770"/>
                <a:gd name="connsiteX3028" fmla="*/ 3221203 w 3773795"/>
                <a:gd name="connsiteY3028" fmla="*/ 818310 h 1451770"/>
                <a:gd name="connsiteX3029" fmla="*/ 3224233 w 3773795"/>
                <a:gd name="connsiteY3029" fmla="*/ 818857 h 1451770"/>
                <a:gd name="connsiteX3030" fmla="*/ 3223772 w 3773795"/>
                <a:gd name="connsiteY3030" fmla="*/ 817247 h 1451770"/>
                <a:gd name="connsiteX3031" fmla="*/ 3215977 w 3773795"/>
                <a:gd name="connsiteY3031" fmla="*/ 816453 h 1451770"/>
                <a:gd name="connsiteX3032" fmla="*/ 3210413 w 3773795"/>
                <a:gd name="connsiteY3032" fmla="*/ 814590 h 1451770"/>
                <a:gd name="connsiteX3033" fmla="*/ 3205428 w 3773795"/>
                <a:gd name="connsiteY3033" fmla="*/ 810992 h 1451770"/>
                <a:gd name="connsiteX3034" fmla="*/ 3202142 w 3773795"/>
                <a:gd name="connsiteY3034" fmla="*/ 809986 h 1451770"/>
                <a:gd name="connsiteX3035" fmla="*/ 3198544 w 3773795"/>
                <a:gd name="connsiteY3035" fmla="*/ 810264 h 1451770"/>
                <a:gd name="connsiteX3036" fmla="*/ 3178115 w 3773795"/>
                <a:gd name="connsiteY3036" fmla="*/ 815285 h 1451770"/>
                <a:gd name="connsiteX3037" fmla="*/ 3177128 w 3773795"/>
                <a:gd name="connsiteY3037" fmla="*/ 816644 h 1451770"/>
                <a:gd name="connsiteX3038" fmla="*/ 3176179 w 3773795"/>
                <a:gd name="connsiteY3038" fmla="*/ 818572 h 1451770"/>
                <a:gd name="connsiteX3039" fmla="*/ 3177460 w 3773795"/>
                <a:gd name="connsiteY3039" fmla="*/ 821402 h 1451770"/>
                <a:gd name="connsiteX3040" fmla="*/ 3176484 w 3773795"/>
                <a:gd name="connsiteY3040" fmla="*/ 822640 h 1451770"/>
                <a:gd name="connsiteX3041" fmla="*/ 3175495 w 3773795"/>
                <a:gd name="connsiteY3041" fmla="*/ 823446 h 1451770"/>
                <a:gd name="connsiteX3042" fmla="*/ 3174394 w 3773795"/>
                <a:gd name="connsiteY3042" fmla="*/ 825292 h 1451770"/>
                <a:gd name="connsiteX3043" fmla="*/ 3173399 w 3773795"/>
                <a:gd name="connsiteY3043" fmla="*/ 828942 h 1451770"/>
                <a:gd name="connsiteX3044" fmla="*/ 3173677 w 3773795"/>
                <a:gd name="connsiteY3044" fmla="*/ 832463 h 1451770"/>
                <a:gd name="connsiteX3045" fmla="*/ 3171170 w 3773795"/>
                <a:gd name="connsiteY3045" fmla="*/ 837880 h 1451770"/>
                <a:gd name="connsiteX3046" fmla="*/ 3170984 w 3773795"/>
                <a:gd name="connsiteY3046" fmla="*/ 841268 h 1451770"/>
                <a:gd name="connsiteX3047" fmla="*/ 3175370 w 3773795"/>
                <a:gd name="connsiteY3047" fmla="*/ 843135 h 1451770"/>
                <a:gd name="connsiteX3048" fmla="*/ 3176480 w 3773795"/>
                <a:gd name="connsiteY3048" fmla="*/ 844395 h 1451770"/>
                <a:gd name="connsiteX3049" fmla="*/ 3175154 w 3773795"/>
                <a:gd name="connsiteY3049" fmla="*/ 846251 h 1451770"/>
                <a:gd name="connsiteX3050" fmla="*/ 3173850 w 3773795"/>
                <a:gd name="connsiteY3050" fmla="*/ 847382 h 1451770"/>
                <a:gd name="connsiteX3051" fmla="*/ 3172664 w 3773795"/>
                <a:gd name="connsiteY3051" fmla="*/ 848767 h 1451770"/>
                <a:gd name="connsiteX3052" fmla="*/ 3171824 w 3773795"/>
                <a:gd name="connsiteY3052" fmla="*/ 849326 h 1451770"/>
                <a:gd name="connsiteX3053" fmla="*/ 3170645 w 3773795"/>
                <a:gd name="connsiteY3053" fmla="*/ 849660 h 1451770"/>
                <a:gd name="connsiteX3054" fmla="*/ 3169047 w 3773795"/>
                <a:gd name="connsiteY3054" fmla="*/ 847847 h 1451770"/>
                <a:gd name="connsiteX3055" fmla="*/ 3167594 w 3773795"/>
                <a:gd name="connsiteY3055" fmla="*/ 844206 h 1451770"/>
                <a:gd name="connsiteX3056" fmla="*/ 3165303 w 3773795"/>
                <a:gd name="connsiteY3056" fmla="*/ 843994 h 1451770"/>
                <a:gd name="connsiteX3057" fmla="*/ 3164540 w 3773795"/>
                <a:gd name="connsiteY3057" fmla="*/ 844542 h 1451770"/>
                <a:gd name="connsiteX3058" fmla="*/ 3164124 w 3773795"/>
                <a:gd name="connsiteY3058" fmla="*/ 845986 h 1451770"/>
                <a:gd name="connsiteX3059" fmla="*/ 3162103 w 3773795"/>
                <a:gd name="connsiteY3059" fmla="*/ 846072 h 1451770"/>
                <a:gd name="connsiteX3060" fmla="*/ 3159865 w 3773795"/>
                <a:gd name="connsiteY3060" fmla="*/ 845391 h 1451770"/>
                <a:gd name="connsiteX3061" fmla="*/ 3157348 w 3773795"/>
                <a:gd name="connsiteY3061" fmla="*/ 845663 h 1451770"/>
                <a:gd name="connsiteX3062" fmla="*/ 3152832 w 3773795"/>
                <a:gd name="connsiteY3062" fmla="*/ 849779 h 1451770"/>
                <a:gd name="connsiteX3063" fmla="*/ 3127375 w 3773795"/>
                <a:gd name="connsiteY3063" fmla="*/ 869254 h 1451770"/>
                <a:gd name="connsiteX3064" fmla="*/ 3124676 w 3773795"/>
                <a:gd name="connsiteY3064" fmla="*/ 871608 h 1451770"/>
                <a:gd name="connsiteX3065" fmla="*/ 3121394 w 3773795"/>
                <a:gd name="connsiteY3065" fmla="*/ 876273 h 1451770"/>
                <a:gd name="connsiteX3066" fmla="*/ 3115101 w 3773795"/>
                <a:gd name="connsiteY3066" fmla="*/ 876723 h 1451770"/>
                <a:gd name="connsiteX3067" fmla="*/ 3112584 w 3773795"/>
                <a:gd name="connsiteY3067" fmla="*/ 877770 h 1451770"/>
                <a:gd name="connsiteX3068" fmla="*/ 3110795 w 3773795"/>
                <a:gd name="connsiteY3068" fmla="*/ 879156 h 1451770"/>
                <a:gd name="connsiteX3069" fmla="*/ 3108282 w 3773795"/>
                <a:gd name="connsiteY3069" fmla="*/ 880111 h 1451770"/>
                <a:gd name="connsiteX3070" fmla="*/ 3108364 w 3773795"/>
                <a:gd name="connsiteY3070" fmla="*/ 878365 h 1451770"/>
                <a:gd name="connsiteX3071" fmla="*/ 3108889 w 3773795"/>
                <a:gd name="connsiteY3071" fmla="*/ 877065 h 1451770"/>
                <a:gd name="connsiteX3072" fmla="*/ 3109435 w 3773795"/>
                <a:gd name="connsiteY3072" fmla="*/ 873656 h 1451770"/>
                <a:gd name="connsiteX3073" fmla="*/ 3112821 w 3773795"/>
                <a:gd name="connsiteY3073" fmla="*/ 867152 h 1451770"/>
                <a:gd name="connsiteX3074" fmla="*/ 3110661 w 3773795"/>
                <a:gd name="connsiteY3074" fmla="*/ 866504 h 1451770"/>
                <a:gd name="connsiteX3075" fmla="*/ 3108517 w 3773795"/>
                <a:gd name="connsiteY3075" fmla="*/ 866408 h 1451770"/>
                <a:gd name="connsiteX3076" fmla="*/ 3104531 w 3773795"/>
                <a:gd name="connsiteY3076" fmla="*/ 867759 h 1451770"/>
                <a:gd name="connsiteX3077" fmla="*/ 3101858 w 3773795"/>
                <a:gd name="connsiteY3077" fmla="*/ 869907 h 1451770"/>
                <a:gd name="connsiteX3078" fmla="*/ 3099809 w 3773795"/>
                <a:gd name="connsiteY3078" fmla="*/ 869463 h 1451770"/>
                <a:gd name="connsiteX3079" fmla="*/ 3100784 w 3773795"/>
                <a:gd name="connsiteY3079" fmla="*/ 867539 h 1451770"/>
                <a:gd name="connsiteX3080" fmla="*/ 3103320 w 3773795"/>
                <a:gd name="connsiteY3080" fmla="*/ 863686 h 1451770"/>
                <a:gd name="connsiteX3081" fmla="*/ 3102541 w 3773795"/>
                <a:gd name="connsiteY3081" fmla="*/ 860122 h 1451770"/>
                <a:gd name="connsiteX3082" fmla="*/ 3101858 w 3773795"/>
                <a:gd name="connsiteY3082" fmla="*/ 858190 h 1451770"/>
                <a:gd name="connsiteX3083" fmla="*/ 3102914 w 3773795"/>
                <a:gd name="connsiteY3083" fmla="*/ 857106 h 1451770"/>
                <a:gd name="connsiteX3084" fmla="*/ 3108040 w 3773795"/>
                <a:gd name="connsiteY3084" fmla="*/ 849887 h 1451770"/>
                <a:gd name="connsiteX3085" fmla="*/ 3109902 w 3773795"/>
                <a:gd name="connsiteY3085" fmla="*/ 846155 h 1451770"/>
                <a:gd name="connsiteX3086" fmla="*/ 3111461 w 3773795"/>
                <a:gd name="connsiteY3086" fmla="*/ 841205 h 1451770"/>
                <a:gd name="connsiteX3087" fmla="*/ 3111551 w 3773795"/>
                <a:gd name="connsiteY3087" fmla="*/ 839667 h 1451770"/>
                <a:gd name="connsiteX3088" fmla="*/ 3111284 w 3773795"/>
                <a:gd name="connsiteY3088" fmla="*/ 837767 h 1451770"/>
                <a:gd name="connsiteX3089" fmla="*/ 3109701 w 3773795"/>
                <a:gd name="connsiteY3089" fmla="*/ 837444 h 1451770"/>
                <a:gd name="connsiteX3090" fmla="*/ 3108479 w 3773795"/>
                <a:gd name="connsiteY3090" fmla="*/ 837479 h 1451770"/>
                <a:gd name="connsiteX3091" fmla="*/ 3098299 w 3773795"/>
                <a:gd name="connsiteY3091" fmla="*/ 842393 h 1451770"/>
                <a:gd name="connsiteX3092" fmla="*/ 3094544 w 3773795"/>
                <a:gd name="connsiteY3092" fmla="*/ 843715 h 1451770"/>
                <a:gd name="connsiteX3093" fmla="*/ 3093305 w 3773795"/>
                <a:gd name="connsiteY3093" fmla="*/ 841610 h 1451770"/>
                <a:gd name="connsiteX3094" fmla="*/ 3091685 w 3773795"/>
                <a:gd name="connsiteY3094" fmla="*/ 840705 h 1451770"/>
                <a:gd name="connsiteX3095" fmla="*/ 3088854 w 3773795"/>
                <a:gd name="connsiteY3095" fmla="*/ 837093 h 1451770"/>
                <a:gd name="connsiteX3096" fmla="*/ 3086516 w 3773795"/>
                <a:gd name="connsiteY3096" fmla="*/ 836574 h 1451770"/>
                <a:gd name="connsiteX3097" fmla="*/ 3084026 w 3773795"/>
                <a:gd name="connsiteY3097" fmla="*/ 836817 h 1451770"/>
                <a:gd name="connsiteX3098" fmla="*/ 3078445 w 3773795"/>
                <a:gd name="connsiteY3098" fmla="*/ 839270 h 1451770"/>
                <a:gd name="connsiteX3099" fmla="*/ 3072317 w 3773795"/>
                <a:gd name="connsiteY3099" fmla="*/ 840609 h 1451770"/>
                <a:gd name="connsiteX3100" fmla="*/ 3067597 w 3773795"/>
                <a:gd name="connsiteY3100" fmla="*/ 840105 h 1451770"/>
                <a:gd name="connsiteX3101" fmla="*/ 3063570 w 3773795"/>
                <a:gd name="connsiteY3101" fmla="*/ 842174 h 1451770"/>
                <a:gd name="connsiteX3102" fmla="*/ 3061769 w 3773795"/>
                <a:gd name="connsiteY3102" fmla="*/ 842556 h 1451770"/>
                <a:gd name="connsiteX3103" fmla="*/ 3055781 w 3773795"/>
                <a:gd name="connsiteY3103" fmla="*/ 841140 h 1451770"/>
                <a:gd name="connsiteX3104" fmla="*/ 3048485 w 3773795"/>
                <a:gd name="connsiteY3104" fmla="*/ 841015 h 1451770"/>
                <a:gd name="connsiteX3105" fmla="*/ 3046303 w 3773795"/>
                <a:gd name="connsiteY3105" fmla="*/ 842778 h 1451770"/>
                <a:gd name="connsiteX3106" fmla="*/ 3039968 w 3773795"/>
                <a:gd name="connsiteY3106" fmla="*/ 845202 h 1451770"/>
                <a:gd name="connsiteX3107" fmla="*/ 3035714 w 3773795"/>
                <a:gd name="connsiteY3107" fmla="*/ 848949 h 1451770"/>
                <a:gd name="connsiteX3108" fmla="*/ 3033476 w 3773795"/>
                <a:gd name="connsiteY3108" fmla="*/ 850152 h 1451770"/>
                <a:gd name="connsiteX3109" fmla="*/ 3031036 w 3773795"/>
                <a:gd name="connsiteY3109" fmla="*/ 851812 h 1451770"/>
                <a:gd name="connsiteX3110" fmla="*/ 3029917 w 3773795"/>
                <a:gd name="connsiteY3110" fmla="*/ 858842 h 1451770"/>
                <a:gd name="connsiteX3111" fmla="*/ 3026666 w 3773795"/>
                <a:gd name="connsiteY3111" fmla="*/ 861081 h 1451770"/>
                <a:gd name="connsiteX3112" fmla="*/ 3023604 w 3773795"/>
                <a:gd name="connsiteY3112" fmla="*/ 862796 h 1451770"/>
                <a:gd name="connsiteX3113" fmla="*/ 3017231 w 3773795"/>
                <a:gd name="connsiteY3113" fmla="*/ 868156 h 1451770"/>
                <a:gd name="connsiteX3114" fmla="*/ 3012751 w 3773795"/>
                <a:gd name="connsiteY3114" fmla="*/ 875476 h 1451770"/>
                <a:gd name="connsiteX3115" fmla="*/ 3009717 w 3773795"/>
                <a:gd name="connsiteY3115" fmla="*/ 878644 h 1451770"/>
                <a:gd name="connsiteX3116" fmla="*/ 3003342 w 3773795"/>
                <a:gd name="connsiteY3116" fmla="*/ 883066 h 1451770"/>
                <a:gd name="connsiteX3117" fmla="*/ 2993236 w 3773795"/>
                <a:gd name="connsiteY3117" fmla="*/ 888830 h 1451770"/>
                <a:gd name="connsiteX3118" fmla="*/ 2984556 w 3773795"/>
                <a:gd name="connsiteY3118" fmla="*/ 898172 h 1451770"/>
                <a:gd name="connsiteX3119" fmla="*/ 2981515 w 3773795"/>
                <a:gd name="connsiteY3119" fmla="*/ 905151 h 1451770"/>
                <a:gd name="connsiteX3120" fmla="*/ 2980390 w 3773795"/>
                <a:gd name="connsiteY3120" fmla="*/ 905383 h 1451770"/>
                <a:gd name="connsiteX3121" fmla="*/ 2978250 w 3773795"/>
                <a:gd name="connsiteY3121" fmla="*/ 906814 h 1451770"/>
                <a:gd name="connsiteX3122" fmla="*/ 2977665 w 3773795"/>
                <a:gd name="connsiteY3122" fmla="*/ 910206 h 1451770"/>
                <a:gd name="connsiteX3123" fmla="*/ 2977714 w 3773795"/>
                <a:gd name="connsiteY3123" fmla="*/ 912573 h 1451770"/>
                <a:gd name="connsiteX3124" fmla="*/ 2976396 w 3773795"/>
                <a:gd name="connsiteY3124" fmla="*/ 914481 h 1451770"/>
                <a:gd name="connsiteX3125" fmla="*/ 2975083 w 3773795"/>
                <a:gd name="connsiteY3125" fmla="*/ 916838 h 1451770"/>
                <a:gd name="connsiteX3126" fmla="*/ 2976477 w 3773795"/>
                <a:gd name="connsiteY3126" fmla="*/ 918318 h 1451770"/>
                <a:gd name="connsiteX3127" fmla="*/ 2977788 w 3773795"/>
                <a:gd name="connsiteY3127" fmla="*/ 918589 h 1451770"/>
                <a:gd name="connsiteX3128" fmla="*/ 2979678 w 3773795"/>
                <a:gd name="connsiteY3128" fmla="*/ 918382 h 1451770"/>
                <a:gd name="connsiteX3129" fmla="*/ 2984651 w 3773795"/>
                <a:gd name="connsiteY3129" fmla="*/ 916458 h 1451770"/>
                <a:gd name="connsiteX3130" fmla="*/ 2993247 w 3773795"/>
                <a:gd name="connsiteY3130" fmla="*/ 919425 h 1451770"/>
                <a:gd name="connsiteX3131" fmla="*/ 2997568 w 3773795"/>
                <a:gd name="connsiteY3131" fmla="*/ 922355 h 1451770"/>
                <a:gd name="connsiteX3132" fmla="*/ 2997266 w 3773795"/>
                <a:gd name="connsiteY3132" fmla="*/ 925296 h 1451770"/>
                <a:gd name="connsiteX3133" fmla="*/ 2997430 w 3773795"/>
                <a:gd name="connsiteY3133" fmla="*/ 927911 h 1451770"/>
                <a:gd name="connsiteX3134" fmla="*/ 2994251 w 3773795"/>
                <a:gd name="connsiteY3134" fmla="*/ 927732 h 1451770"/>
                <a:gd name="connsiteX3135" fmla="*/ 2989984 w 3773795"/>
                <a:gd name="connsiteY3135" fmla="*/ 927995 h 1451770"/>
                <a:gd name="connsiteX3136" fmla="*/ 2987326 w 3773795"/>
                <a:gd name="connsiteY3136" fmla="*/ 929504 h 1451770"/>
                <a:gd name="connsiteX3137" fmla="*/ 2981898 w 3773795"/>
                <a:gd name="connsiteY3137" fmla="*/ 927048 h 1451770"/>
                <a:gd name="connsiteX3138" fmla="*/ 2980084 w 3773795"/>
                <a:gd name="connsiteY3138" fmla="*/ 927986 h 1451770"/>
                <a:gd name="connsiteX3139" fmla="*/ 2977225 w 3773795"/>
                <a:gd name="connsiteY3139" fmla="*/ 930571 h 1451770"/>
                <a:gd name="connsiteX3140" fmla="*/ 2972012 w 3773795"/>
                <a:gd name="connsiteY3140" fmla="*/ 931648 h 1451770"/>
                <a:gd name="connsiteX3141" fmla="*/ 2969375 w 3773795"/>
                <a:gd name="connsiteY3141" fmla="*/ 930389 h 1451770"/>
                <a:gd name="connsiteX3142" fmla="*/ 2965031 w 3773795"/>
                <a:gd name="connsiteY3142" fmla="*/ 926781 h 1451770"/>
                <a:gd name="connsiteX3143" fmla="*/ 2957644 w 3773795"/>
                <a:gd name="connsiteY3143" fmla="*/ 927106 h 1451770"/>
                <a:gd name="connsiteX3144" fmla="*/ 2955693 w 3773795"/>
                <a:gd name="connsiteY3144" fmla="*/ 931134 h 1451770"/>
                <a:gd name="connsiteX3145" fmla="*/ 2953994 w 3773795"/>
                <a:gd name="connsiteY3145" fmla="*/ 931032 h 1451770"/>
                <a:gd name="connsiteX3146" fmla="*/ 2951376 w 3773795"/>
                <a:gd name="connsiteY3146" fmla="*/ 931441 h 1451770"/>
                <a:gd name="connsiteX3147" fmla="*/ 2947053 w 3773795"/>
                <a:gd name="connsiteY3147" fmla="*/ 936090 h 1451770"/>
                <a:gd name="connsiteX3148" fmla="*/ 2945631 w 3773795"/>
                <a:gd name="connsiteY3148" fmla="*/ 936506 h 1451770"/>
                <a:gd name="connsiteX3149" fmla="*/ 2940273 w 3773795"/>
                <a:gd name="connsiteY3149" fmla="*/ 935601 h 1451770"/>
                <a:gd name="connsiteX3150" fmla="*/ 2936406 w 3773795"/>
                <a:gd name="connsiteY3150" fmla="*/ 933248 h 1451770"/>
                <a:gd name="connsiteX3151" fmla="*/ 2934613 w 3773795"/>
                <a:gd name="connsiteY3151" fmla="*/ 933106 h 1451770"/>
                <a:gd name="connsiteX3152" fmla="*/ 2931199 w 3773795"/>
                <a:gd name="connsiteY3152" fmla="*/ 934205 h 1451770"/>
                <a:gd name="connsiteX3153" fmla="*/ 2929489 w 3773795"/>
                <a:gd name="connsiteY3153" fmla="*/ 937020 h 1451770"/>
                <a:gd name="connsiteX3154" fmla="*/ 2921014 w 3773795"/>
                <a:gd name="connsiteY3154" fmla="*/ 938442 h 1451770"/>
                <a:gd name="connsiteX3155" fmla="*/ 2912659 w 3773795"/>
                <a:gd name="connsiteY3155" fmla="*/ 938169 h 1451770"/>
                <a:gd name="connsiteX3156" fmla="*/ 2908111 w 3773795"/>
                <a:gd name="connsiteY3156" fmla="*/ 931420 h 1451770"/>
                <a:gd name="connsiteX3157" fmla="*/ 2916600 w 3773795"/>
                <a:gd name="connsiteY3157" fmla="*/ 928763 h 1451770"/>
                <a:gd name="connsiteX3158" fmla="*/ 2921653 w 3773795"/>
                <a:gd name="connsiteY3158" fmla="*/ 929329 h 1451770"/>
                <a:gd name="connsiteX3159" fmla="*/ 2927325 w 3773795"/>
                <a:gd name="connsiteY3159" fmla="*/ 928892 h 1451770"/>
                <a:gd name="connsiteX3160" fmla="*/ 2933309 w 3773795"/>
                <a:gd name="connsiteY3160" fmla="*/ 926819 h 1451770"/>
                <a:gd name="connsiteX3161" fmla="*/ 2931294 w 3773795"/>
                <a:gd name="connsiteY3161" fmla="*/ 925044 h 1451770"/>
                <a:gd name="connsiteX3162" fmla="*/ 2929856 w 3773795"/>
                <a:gd name="connsiteY3162" fmla="*/ 924630 h 1451770"/>
                <a:gd name="connsiteX3163" fmla="*/ 2926272 w 3773795"/>
                <a:gd name="connsiteY3163" fmla="*/ 924842 h 1451770"/>
                <a:gd name="connsiteX3164" fmla="*/ 2923081 w 3773795"/>
                <a:gd name="connsiteY3164" fmla="*/ 923562 h 1451770"/>
                <a:gd name="connsiteX3165" fmla="*/ 2916175 w 3773795"/>
                <a:gd name="connsiteY3165" fmla="*/ 916982 h 1451770"/>
                <a:gd name="connsiteX3166" fmla="*/ 2913134 w 3773795"/>
                <a:gd name="connsiteY3166" fmla="*/ 915768 h 1451770"/>
                <a:gd name="connsiteX3167" fmla="*/ 2909200 w 3773795"/>
                <a:gd name="connsiteY3167" fmla="*/ 915042 h 1451770"/>
                <a:gd name="connsiteX3168" fmla="*/ 2906177 w 3773795"/>
                <a:gd name="connsiteY3168" fmla="*/ 914963 h 1451770"/>
                <a:gd name="connsiteX3169" fmla="*/ 2905048 w 3773795"/>
                <a:gd name="connsiteY3169" fmla="*/ 915433 h 1451770"/>
                <a:gd name="connsiteX3170" fmla="*/ 2903486 w 3773795"/>
                <a:gd name="connsiteY3170" fmla="*/ 917018 h 1451770"/>
                <a:gd name="connsiteX3171" fmla="*/ 2902410 w 3773795"/>
                <a:gd name="connsiteY3171" fmla="*/ 918579 h 1451770"/>
                <a:gd name="connsiteX3172" fmla="*/ 2901530 w 3773795"/>
                <a:gd name="connsiteY3172" fmla="*/ 919061 h 1451770"/>
                <a:gd name="connsiteX3173" fmla="*/ 2899452 w 3773795"/>
                <a:gd name="connsiteY3173" fmla="*/ 918785 h 1451770"/>
                <a:gd name="connsiteX3174" fmla="*/ 2896926 w 3773795"/>
                <a:gd name="connsiteY3174" fmla="*/ 917559 h 1451770"/>
                <a:gd name="connsiteX3175" fmla="*/ 2894015 w 3773795"/>
                <a:gd name="connsiteY3175" fmla="*/ 917958 h 1451770"/>
                <a:gd name="connsiteX3176" fmla="*/ 2895259 w 3773795"/>
                <a:gd name="connsiteY3176" fmla="*/ 916955 h 1451770"/>
                <a:gd name="connsiteX3177" fmla="*/ 2898077 w 3773795"/>
                <a:gd name="connsiteY3177" fmla="*/ 915925 h 1451770"/>
                <a:gd name="connsiteX3178" fmla="*/ 2893432 w 3773795"/>
                <a:gd name="connsiteY3178" fmla="*/ 914797 h 1451770"/>
                <a:gd name="connsiteX3179" fmla="*/ 2890521 w 3773795"/>
                <a:gd name="connsiteY3179" fmla="*/ 913215 h 1451770"/>
                <a:gd name="connsiteX3180" fmla="*/ 2887801 w 3773795"/>
                <a:gd name="connsiteY3180" fmla="*/ 912807 h 1451770"/>
                <a:gd name="connsiteX3181" fmla="*/ 2875418 w 3773795"/>
                <a:gd name="connsiteY3181" fmla="*/ 908888 h 1451770"/>
                <a:gd name="connsiteX3182" fmla="*/ 2870596 w 3773795"/>
                <a:gd name="connsiteY3182" fmla="*/ 909198 h 1451770"/>
                <a:gd name="connsiteX3183" fmla="*/ 2867632 w 3773795"/>
                <a:gd name="connsiteY3183" fmla="*/ 910268 h 1451770"/>
                <a:gd name="connsiteX3184" fmla="*/ 2862652 w 3773795"/>
                <a:gd name="connsiteY3184" fmla="*/ 913489 h 1451770"/>
                <a:gd name="connsiteX3185" fmla="*/ 2864034 w 3773795"/>
                <a:gd name="connsiteY3185" fmla="*/ 915845 h 1451770"/>
                <a:gd name="connsiteX3186" fmla="*/ 2865088 w 3773795"/>
                <a:gd name="connsiteY3186" fmla="*/ 916896 h 1451770"/>
                <a:gd name="connsiteX3187" fmla="*/ 2865742 w 3773795"/>
                <a:gd name="connsiteY3187" fmla="*/ 918161 h 1451770"/>
                <a:gd name="connsiteX3188" fmla="*/ 2864151 w 3773795"/>
                <a:gd name="connsiteY3188" fmla="*/ 918412 h 1451770"/>
                <a:gd name="connsiteX3189" fmla="*/ 2859551 w 3773795"/>
                <a:gd name="connsiteY3189" fmla="*/ 918593 h 1451770"/>
                <a:gd name="connsiteX3190" fmla="*/ 2856723 w 3773795"/>
                <a:gd name="connsiteY3190" fmla="*/ 916713 h 1451770"/>
                <a:gd name="connsiteX3191" fmla="*/ 2854772 w 3773795"/>
                <a:gd name="connsiteY3191" fmla="*/ 919461 h 1451770"/>
                <a:gd name="connsiteX3192" fmla="*/ 2855552 w 3773795"/>
                <a:gd name="connsiteY3192" fmla="*/ 921917 h 1451770"/>
                <a:gd name="connsiteX3193" fmla="*/ 2858770 w 3773795"/>
                <a:gd name="connsiteY3193" fmla="*/ 921050 h 1451770"/>
                <a:gd name="connsiteX3194" fmla="*/ 2860428 w 3773795"/>
                <a:gd name="connsiteY3194" fmla="*/ 922060 h 1451770"/>
                <a:gd name="connsiteX3195" fmla="*/ 2859309 w 3773795"/>
                <a:gd name="connsiteY3195" fmla="*/ 924887 h 1451770"/>
                <a:gd name="connsiteX3196" fmla="*/ 2855165 w 3773795"/>
                <a:gd name="connsiteY3196" fmla="*/ 925698 h 1451770"/>
                <a:gd name="connsiteX3197" fmla="*/ 2849959 w 3773795"/>
                <a:gd name="connsiteY3197" fmla="*/ 925554 h 1451770"/>
                <a:gd name="connsiteX3198" fmla="*/ 2844789 w 3773795"/>
                <a:gd name="connsiteY3198" fmla="*/ 920585 h 1451770"/>
                <a:gd name="connsiteX3199" fmla="*/ 2836325 w 3773795"/>
                <a:gd name="connsiteY3199" fmla="*/ 921442 h 1451770"/>
                <a:gd name="connsiteX3200" fmla="*/ 2832196 w 3773795"/>
                <a:gd name="connsiteY3200" fmla="*/ 924627 h 1451770"/>
                <a:gd name="connsiteX3201" fmla="*/ 2828361 w 3773795"/>
                <a:gd name="connsiteY3201" fmla="*/ 925350 h 1451770"/>
                <a:gd name="connsiteX3202" fmla="*/ 2817871 w 3773795"/>
                <a:gd name="connsiteY3202" fmla="*/ 922172 h 1451770"/>
                <a:gd name="connsiteX3203" fmla="*/ 2812645 w 3773795"/>
                <a:gd name="connsiteY3203" fmla="*/ 921936 h 1451770"/>
                <a:gd name="connsiteX3204" fmla="*/ 2806752 w 3773795"/>
                <a:gd name="connsiteY3204" fmla="*/ 919184 h 1451770"/>
                <a:gd name="connsiteX3205" fmla="*/ 2804699 w 3773795"/>
                <a:gd name="connsiteY3205" fmla="*/ 920052 h 1451770"/>
                <a:gd name="connsiteX3206" fmla="*/ 2800919 w 3773795"/>
                <a:gd name="connsiteY3206" fmla="*/ 926887 h 1451770"/>
                <a:gd name="connsiteX3207" fmla="*/ 2795968 w 3773795"/>
                <a:gd name="connsiteY3207" fmla="*/ 928550 h 1451770"/>
                <a:gd name="connsiteX3208" fmla="*/ 2793361 w 3773795"/>
                <a:gd name="connsiteY3208" fmla="*/ 927641 h 1451770"/>
                <a:gd name="connsiteX3209" fmla="*/ 2791094 w 3773795"/>
                <a:gd name="connsiteY3209" fmla="*/ 923330 h 1451770"/>
                <a:gd name="connsiteX3210" fmla="*/ 2789488 w 3773795"/>
                <a:gd name="connsiteY3210" fmla="*/ 921910 h 1451770"/>
                <a:gd name="connsiteX3211" fmla="*/ 2785025 w 3773795"/>
                <a:gd name="connsiteY3211" fmla="*/ 920607 h 1451770"/>
                <a:gd name="connsiteX3212" fmla="*/ 2761338 w 3773795"/>
                <a:gd name="connsiteY3212" fmla="*/ 921827 h 1451770"/>
                <a:gd name="connsiteX3213" fmla="*/ 2753378 w 3773795"/>
                <a:gd name="connsiteY3213" fmla="*/ 920779 h 1451770"/>
                <a:gd name="connsiteX3214" fmla="*/ 2747746 w 3773795"/>
                <a:gd name="connsiteY3214" fmla="*/ 920678 h 1451770"/>
                <a:gd name="connsiteX3215" fmla="*/ 2740120 w 3773795"/>
                <a:gd name="connsiteY3215" fmla="*/ 922895 h 1451770"/>
                <a:gd name="connsiteX3216" fmla="*/ 2732787 w 3773795"/>
                <a:gd name="connsiteY3216" fmla="*/ 922028 h 1451770"/>
                <a:gd name="connsiteX3217" fmla="*/ 2719256 w 3773795"/>
                <a:gd name="connsiteY3217" fmla="*/ 926278 h 1451770"/>
                <a:gd name="connsiteX3218" fmla="*/ 2713730 w 3773795"/>
                <a:gd name="connsiteY3218" fmla="*/ 929134 h 1451770"/>
                <a:gd name="connsiteX3219" fmla="*/ 2706986 w 3773795"/>
                <a:gd name="connsiteY3219" fmla="*/ 934119 h 1451770"/>
                <a:gd name="connsiteX3220" fmla="*/ 2701000 w 3773795"/>
                <a:gd name="connsiteY3220" fmla="*/ 942382 h 1451770"/>
                <a:gd name="connsiteX3221" fmla="*/ 2697645 w 3773795"/>
                <a:gd name="connsiteY3221" fmla="*/ 945500 h 1451770"/>
                <a:gd name="connsiteX3222" fmla="*/ 2691987 w 3773795"/>
                <a:gd name="connsiteY3222" fmla="*/ 949412 h 1451770"/>
                <a:gd name="connsiteX3223" fmla="*/ 2684041 w 3773795"/>
                <a:gd name="connsiteY3223" fmla="*/ 953003 h 1451770"/>
                <a:gd name="connsiteX3224" fmla="*/ 2679674 w 3773795"/>
                <a:gd name="connsiteY3224" fmla="*/ 956658 h 1451770"/>
                <a:gd name="connsiteX3225" fmla="*/ 2677347 w 3773795"/>
                <a:gd name="connsiteY3225" fmla="*/ 959597 h 1451770"/>
                <a:gd name="connsiteX3226" fmla="*/ 2673149 w 3773795"/>
                <a:gd name="connsiteY3226" fmla="*/ 970721 h 1451770"/>
                <a:gd name="connsiteX3227" fmla="*/ 2672082 w 3773795"/>
                <a:gd name="connsiteY3227" fmla="*/ 972377 h 1451770"/>
                <a:gd name="connsiteX3228" fmla="*/ 2662252 w 3773795"/>
                <a:gd name="connsiteY3228" fmla="*/ 976407 h 1451770"/>
                <a:gd name="connsiteX3229" fmla="*/ 2659139 w 3773795"/>
                <a:gd name="connsiteY3229" fmla="*/ 980814 h 1451770"/>
                <a:gd name="connsiteX3230" fmla="*/ 2657852 w 3773795"/>
                <a:gd name="connsiteY3230" fmla="*/ 981933 h 1451770"/>
                <a:gd name="connsiteX3231" fmla="*/ 2653781 w 3773795"/>
                <a:gd name="connsiteY3231" fmla="*/ 983793 h 1451770"/>
                <a:gd name="connsiteX3232" fmla="*/ 2651291 w 3773795"/>
                <a:gd name="connsiteY3232" fmla="*/ 986890 h 1451770"/>
                <a:gd name="connsiteX3233" fmla="*/ 2649903 w 3773795"/>
                <a:gd name="connsiteY3233" fmla="*/ 987799 h 1451770"/>
                <a:gd name="connsiteX3234" fmla="*/ 2644105 w 3773795"/>
                <a:gd name="connsiteY3234" fmla="*/ 989962 h 1451770"/>
                <a:gd name="connsiteX3235" fmla="*/ 2639330 w 3773795"/>
                <a:gd name="connsiteY3235" fmla="*/ 995456 h 1451770"/>
                <a:gd name="connsiteX3236" fmla="*/ 2632617 w 3773795"/>
                <a:gd name="connsiteY3236" fmla="*/ 999332 h 1451770"/>
                <a:gd name="connsiteX3237" fmla="*/ 2622792 w 3773795"/>
                <a:gd name="connsiteY3237" fmla="*/ 1009937 h 1451770"/>
                <a:gd name="connsiteX3238" fmla="*/ 2621959 w 3773795"/>
                <a:gd name="connsiteY3238" fmla="*/ 1011209 h 1451770"/>
                <a:gd name="connsiteX3239" fmla="*/ 2621086 w 3773795"/>
                <a:gd name="connsiteY3239" fmla="*/ 1014030 h 1451770"/>
                <a:gd name="connsiteX3240" fmla="*/ 2619608 w 3773795"/>
                <a:gd name="connsiteY3240" fmla="*/ 1016087 h 1451770"/>
                <a:gd name="connsiteX3241" fmla="*/ 2611155 w 3773795"/>
                <a:gd name="connsiteY3241" fmla="*/ 1025278 h 1451770"/>
                <a:gd name="connsiteX3242" fmla="*/ 2608533 w 3773795"/>
                <a:gd name="connsiteY3242" fmla="*/ 1026128 h 1451770"/>
                <a:gd name="connsiteX3243" fmla="*/ 2604357 w 3773795"/>
                <a:gd name="connsiteY3243" fmla="*/ 1030411 h 1451770"/>
                <a:gd name="connsiteX3244" fmla="*/ 2600062 w 3773795"/>
                <a:gd name="connsiteY3244" fmla="*/ 1032979 h 1451770"/>
                <a:gd name="connsiteX3245" fmla="*/ 2596132 w 3773795"/>
                <a:gd name="connsiteY3245" fmla="*/ 1035995 h 1451770"/>
                <a:gd name="connsiteX3246" fmla="*/ 2591299 w 3773795"/>
                <a:gd name="connsiteY3246" fmla="*/ 1039134 h 1451770"/>
                <a:gd name="connsiteX3247" fmla="*/ 2583929 w 3773795"/>
                <a:gd name="connsiteY3247" fmla="*/ 1042777 h 1451770"/>
                <a:gd name="connsiteX3248" fmla="*/ 2581517 w 3773795"/>
                <a:gd name="connsiteY3248" fmla="*/ 1044842 h 1451770"/>
                <a:gd name="connsiteX3249" fmla="*/ 2577626 w 3773795"/>
                <a:gd name="connsiteY3249" fmla="*/ 1049720 h 1451770"/>
                <a:gd name="connsiteX3250" fmla="*/ 2568241 w 3773795"/>
                <a:gd name="connsiteY3250" fmla="*/ 1055631 h 1451770"/>
                <a:gd name="connsiteX3251" fmla="*/ 2563594 w 3773795"/>
                <a:gd name="connsiteY3251" fmla="*/ 1057074 h 1451770"/>
                <a:gd name="connsiteX3252" fmla="*/ 2557444 w 3773795"/>
                <a:gd name="connsiteY3252" fmla="*/ 1062316 h 1451770"/>
                <a:gd name="connsiteX3253" fmla="*/ 2556831 w 3773795"/>
                <a:gd name="connsiteY3253" fmla="*/ 1063547 h 1451770"/>
                <a:gd name="connsiteX3254" fmla="*/ 2556317 w 3773795"/>
                <a:gd name="connsiteY3254" fmla="*/ 1065462 h 1451770"/>
                <a:gd name="connsiteX3255" fmla="*/ 2557339 w 3773795"/>
                <a:gd name="connsiteY3255" fmla="*/ 1068813 h 1451770"/>
                <a:gd name="connsiteX3256" fmla="*/ 2558835 w 3773795"/>
                <a:gd name="connsiteY3256" fmla="*/ 1069550 h 1451770"/>
                <a:gd name="connsiteX3257" fmla="*/ 2561320 w 3773795"/>
                <a:gd name="connsiteY3257" fmla="*/ 1070008 h 1451770"/>
                <a:gd name="connsiteX3258" fmla="*/ 2570470 w 3773795"/>
                <a:gd name="connsiteY3258" fmla="*/ 1073328 h 1451770"/>
                <a:gd name="connsiteX3259" fmla="*/ 2579015 w 3773795"/>
                <a:gd name="connsiteY3259" fmla="*/ 1072407 h 1451770"/>
                <a:gd name="connsiteX3260" fmla="*/ 2586583 w 3773795"/>
                <a:gd name="connsiteY3260" fmla="*/ 1072420 h 1451770"/>
                <a:gd name="connsiteX3261" fmla="*/ 2589552 w 3773795"/>
                <a:gd name="connsiteY3261" fmla="*/ 1072093 h 1451770"/>
                <a:gd name="connsiteX3262" fmla="*/ 2591381 w 3773795"/>
                <a:gd name="connsiteY3262" fmla="*/ 1072195 h 1451770"/>
                <a:gd name="connsiteX3263" fmla="*/ 2591967 w 3773795"/>
                <a:gd name="connsiteY3263" fmla="*/ 1074014 h 1451770"/>
                <a:gd name="connsiteX3264" fmla="*/ 2591893 w 3773795"/>
                <a:gd name="connsiteY3264" fmla="*/ 1077347 h 1451770"/>
                <a:gd name="connsiteX3265" fmla="*/ 2590788 w 3773795"/>
                <a:gd name="connsiteY3265" fmla="*/ 1080367 h 1451770"/>
                <a:gd name="connsiteX3266" fmla="*/ 2589881 w 3773795"/>
                <a:gd name="connsiteY3266" fmla="*/ 1089269 h 1451770"/>
                <a:gd name="connsiteX3267" fmla="*/ 2588855 w 3773795"/>
                <a:gd name="connsiteY3267" fmla="*/ 1093192 h 1451770"/>
                <a:gd name="connsiteX3268" fmla="*/ 2589647 w 3773795"/>
                <a:gd name="connsiteY3268" fmla="*/ 1097044 h 1451770"/>
                <a:gd name="connsiteX3269" fmla="*/ 2591500 w 3773795"/>
                <a:gd name="connsiteY3269" fmla="*/ 1097713 h 1451770"/>
                <a:gd name="connsiteX3270" fmla="*/ 2593353 w 3773795"/>
                <a:gd name="connsiteY3270" fmla="*/ 1095977 h 1451770"/>
                <a:gd name="connsiteX3271" fmla="*/ 2596279 w 3773795"/>
                <a:gd name="connsiteY3271" fmla="*/ 1095711 h 1451770"/>
                <a:gd name="connsiteX3272" fmla="*/ 2599300 w 3773795"/>
                <a:gd name="connsiteY3272" fmla="*/ 1096512 h 1451770"/>
                <a:gd name="connsiteX3273" fmla="*/ 2601569 w 3773795"/>
                <a:gd name="connsiteY3273" fmla="*/ 1090343 h 1451770"/>
                <a:gd name="connsiteX3274" fmla="*/ 2599678 w 3773795"/>
                <a:gd name="connsiteY3274" fmla="*/ 1089383 h 1451770"/>
                <a:gd name="connsiteX3275" fmla="*/ 2597991 w 3773795"/>
                <a:gd name="connsiteY3275" fmla="*/ 1087206 h 1451770"/>
                <a:gd name="connsiteX3276" fmla="*/ 2598996 w 3773795"/>
                <a:gd name="connsiteY3276" fmla="*/ 1085575 h 1451770"/>
                <a:gd name="connsiteX3277" fmla="*/ 2604216 w 3773795"/>
                <a:gd name="connsiteY3277" fmla="*/ 1082529 h 1451770"/>
                <a:gd name="connsiteX3278" fmla="*/ 2607475 w 3773795"/>
                <a:gd name="connsiteY3278" fmla="*/ 1082259 h 1451770"/>
                <a:gd name="connsiteX3279" fmla="*/ 2610591 w 3773795"/>
                <a:gd name="connsiteY3279" fmla="*/ 1082500 h 1451770"/>
                <a:gd name="connsiteX3280" fmla="*/ 2607211 w 3773795"/>
                <a:gd name="connsiteY3280" fmla="*/ 1086360 h 1451770"/>
                <a:gd name="connsiteX3281" fmla="*/ 2605843 w 3773795"/>
                <a:gd name="connsiteY3281" fmla="*/ 1087148 h 1451770"/>
                <a:gd name="connsiteX3282" fmla="*/ 2604784 w 3773795"/>
                <a:gd name="connsiteY3282" fmla="*/ 1087359 h 1451770"/>
                <a:gd name="connsiteX3283" fmla="*/ 2603366 w 3773795"/>
                <a:gd name="connsiteY3283" fmla="*/ 1088057 h 1451770"/>
                <a:gd name="connsiteX3284" fmla="*/ 2606400 w 3773795"/>
                <a:gd name="connsiteY3284" fmla="*/ 1090272 h 1451770"/>
                <a:gd name="connsiteX3285" fmla="*/ 2609635 w 3773795"/>
                <a:gd name="connsiteY3285" fmla="*/ 1092005 h 1451770"/>
                <a:gd name="connsiteX3286" fmla="*/ 2614323 w 3773795"/>
                <a:gd name="connsiteY3286" fmla="*/ 1092724 h 1451770"/>
                <a:gd name="connsiteX3287" fmla="*/ 2613248 w 3773795"/>
                <a:gd name="connsiteY3287" fmla="*/ 1094040 h 1451770"/>
                <a:gd name="connsiteX3288" fmla="*/ 2610123 w 3773795"/>
                <a:gd name="connsiteY3288" fmla="*/ 1095176 h 1451770"/>
                <a:gd name="connsiteX3289" fmla="*/ 2607296 w 3773795"/>
                <a:gd name="connsiteY3289" fmla="*/ 1099977 h 1451770"/>
                <a:gd name="connsiteX3290" fmla="*/ 2602800 w 3773795"/>
                <a:gd name="connsiteY3290" fmla="*/ 1102257 h 1451770"/>
                <a:gd name="connsiteX3291" fmla="*/ 2600761 w 3773795"/>
                <a:gd name="connsiteY3291" fmla="*/ 1103838 h 1451770"/>
                <a:gd name="connsiteX3292" fmla="*/ 2601474 w 3773795"/>
                <a:gd name="connsiteY3292" fmla="*/ 1104835 h 1451770"/>
                <a:gd name="connsiteX3293" fmla="*/ 2603124 w 3773795"/>
                <a:gd name="connsiteY3293" fmla="*/ 1105052 h 1451770"/>
                <a:gd name="connsiteX3294" fmla="*/ 2612187 w 3773795"/>
                <a:gd name="connsiteY3294" fmla="*/ 1104408 h 1451770"/>
                <a:gd name="connsiteX3295" fmla="*/ 2616881 w 3773795"/>
                <a:gd name="connsiteY3295" fmla="*/ 1103103 h 1451770"/>
                <a:gd name="connsiteX3296" fmla="*/ 2623569 w 3773795"/>
                <a:gd name="connsiteY3296" fmla="*/ 1099393 h 1451770"/>
                <a:gd name="connsiteX3297" fmla="*/ 2626354 w 3773795"/>
                <a:gd name="connsiteY3297" fmla="*/ 1093859 h 1451770"/>
                <a:gd name="connsiteX3298" fmla="*/ 2628890 w 3773795"/>
                <a:gd name="connsiteY3298" fmla="*/ 1092332 h 1451770"/>
                <a:gd name="connsiteX3299" fmla="*/ 2629650 w 3773795"/>
                <a:gd name="connsiteY3299" fmla="*/ 1092326 h 1451770"/>
                <a:gd name="connsiteX3300" fmla="*/ 2630539 w 3773795"/>
                <a:gd name="connsiteY3300" fmla="*/ 1092711 h 1451770"/>
                <a:gd name="connsiteX3301" fmla="*/ 2630561 w 3773795"/>
                <a:gd name="connsiteY3301" fmla="*/ 1096599 h 1451770"/>
                <a:gd name="connsiteX3302" fmla="*/ 2626976 w 3773795"/>
                <a:gd name="connsiteY3302" fmla="*/ 1100972 h 1451770"/>
                <a:gd name="connsiteX3303" fmla="*/ 2624438 w 3773795"/>
                <a:gd name="connsiteY3303" fmla="*/ 1103439 h 1451770"/>
                <a:gd name="connsiteX3304" fmla="*/ 2623498 w 3773795"/>
                <a:gd name="connsiteY3304" fmla="*/ 1105502 h 1451770"/>
                <a:gd name="connsiteX3305" fmla="*/ 2625059 w 3773795"/>
                <a:gd name="connsiteY3305" fmla="*/ 1105536 h 1451770"/>
                <a:gd name="connsiteX3306" fmla="*/ 2627942 w 3773795"/>
                <a:gd name="connsiteY3306" fmla="*/ 1105111 h 1451770"/>
                <a:gd name="connsiteX3307" fmla="*/ 2629274 w 3773795"/>
                <a:gd name="connsiteY3307" fmla="*/ 1104115 h 1451770"/>
                <a:gd name="connsiteX3308" fmla="*/ 2632587 w 3773795"/>
                <a:gd name="connsiteY3308" fmla="*/ 1098838 h 1451770"/>
                <a:gd name="connsiteX3309" fmla="*/ 2633442 w 3773795"/>
                <a:gd name="connsiteY3309" fmla="*/ 1095057 h 1451770"/>
                <a:gd name="connsiteX3310" fmla="*/ 2633934 w 3773795"/>
                <a:gd name="connsiteY3310" fmla="*/ 1089782 h 1451770"/>
                <a:gd name="connsiteX3311" fmla="*/ 2633558 w 3773795"/>
                <a:gd name="connsiteY3311" fmla="*/ 1086626 h 1451770"/>
                <a:gd name="connsiteX3312" fmla="*/ 2633807 w 3773795"/>
                <a:gd name="connsiteY3312" fmla="*/ 1084345 h 1451770"/>
                <a:gd name="connsiteX3313" fmla="*/ 2632509 w 3773795"/>
                <a:gd name="connsiteY3313" fmla="*/ 1082042 h 1451770"/>
                <a:gd name="connsiteX3314" fmla="*/ 2633359 w 3773795"/>
                <a:gd name="connsiteY3314" fmla="*/ 1081381 h 1451770"/>
                <a:gd name="connsiteX3315" fmla="*/ 2642412 w 3773795"/>
                <a:gd name="connsiteY3315" fmla="*/ 1084492 h 1451770"/>
                <a:gd name="connsiteX3316" fmla="*/ 2647158 w 3773795"/>
                <a:gd name="connsiteY3316" fmla="*/ 1085248 h 1451770"/>
                <a:gd name="connsiteX3317" fmla="*/ 2655731 w 3773795"/>
                <a:gd name="connsiteY3317" fmla="*/ 1082687 h 1451770"/>
                <a:gd name="connsiteX3318" fmla="*/ 2657679 w 3773795"/>
                <a:gd name="connsiteY3318" fmla="*/ 1083317 h 1451770"/>
                <a:gd name="connsiteX3319" fmla="*/ 2659070 w 3773795"/>
                <a:gd name="connsiteY3319" fmla="*/ 1084873 h 1451770"/>
                <a:gd name="connsiteX3320" fmla="*/ 2666152 w 3773795"/>
                <a:gd name="connsiteY3320" fmla="*/ 1089545 h 1451770"/>
                <a:gd name="connsiteX3321" fmla="*/ 2667545 w 3773795"/>
                <a:gd name="connsiteY3321" fmla="*/ 1091078 h 1451770"/>
                <a:gd name="connsiteX3322" fmla="*/ 2669875 w 3773795"/>
                <a:gd name="connsiteY3322" fmla="*/ 1096787 h 1451770"/>
                <a:gd name="connsiteX3323" fmla="*/ 2677405 w 3773795"/>
                <a:gd name="connsiteY3323" fmla="*/ 1103318 h 1451770"/>
                <a:gd name="connsiteX3324" fmla="*/ 2684438 w 3773795"/>
                <a:gd name="connsiteY3324" fmla="*/ 1106390 h 1451770"/>
                <a:gd name="connsiteX3325" fmla="*/ 2684645 w 3773795"/>
                <a:gd name="connsiteY3325" fmla="*/ 1107605 h 1451770"/>
                <a:gd name="connsiteX3326" fmla="*/ 2689126 w 3773795"/>
                <a:gd name="connsiteY3326" fmla="*/ 1111210 h 1451770"/>
                <a:gd name="connsiteX3327" fmla="*/ 2692577 w 3773795"/>
                <a:gd name="connsiteY3327" fmla="*/ 1112463 h 1451770"/>
                <a:gd name="connsiteX3328" fmla="*/ 2693203 w 3773795"/>
                <a:gd name="connsiteY3328" fmla="*/ 1115731 h 1451770"/>
                <a:gd name="connsiteX3329" fmla="*/ 2691564 w 3773795"/>
                <a:gd name="connsiteY3329" fmla="*/ 1118332 h 1451770"/>
                <a:gd name="connsiteX3330" fmla="*/ 2688320 w 3773795"/>
                <a:gd name="connsiteY3330" fmla="*/ 1120789 h 1451770"/>
                <a:gd name="connsiteX3331" fmla="*/ 2681821 w 3773795"/>
                <a:gd name="connsiteY3331" fmla="*/ 1118505 h 1451770"/>
                <a:gd name="connsiteX3332" fmla="*/ 2680767 w 3773795"/>
                <a:gd name="connsiteY3332" fmla="*/ 1118613 h 1451770"/>
                <a:gd name="connsiteX3333" fmla="*/ 2681538 w 3773795"/>
                <a:gd name="connsiteY3333" fmla="*/ 1120053 h 1451770"/>
                <a:gd name="connsiteX3334" fmla="*/ 2686232 w 3773795"/>
                <a:gd name="connsiteY3334" fmla="*/ 1124312 h 1451770"/>
                <a:gd name="connsiteX3335" fmla="*/ 2689970 w 3773795"/>
                <a:gd name="connsiteY3335" fmla="*/ 1126028 h 1451770"/>
                <a:gd name="connsiteX3336" fmla="*/ 2690192 w 3773795"/>
                <a:gd name="connsiteY3336" fmla="*/ 1131626 h 1451770"/>
                <a:gd name="connsiteX3337" fmla="*/ 2689730 w 3773795"/>
                <a:gd name="connsiteY3337" fmla="*/ 1134678 h 1451770"/>
                <a:gd name="connsiteX3338" fmla="*/ 2687241 w 3773795"/>
                <a:gd name="connsiteY3338" fmla="*/ 1138083 h 1451770"/>
                <a:gd name="connsiteX3339" fmla="*/ 2688068 w 3773795"/>
                <a:gd name="connsiteY3339" fmla="*/ 1140083 h 1451770"/>
                <a:gd name="connsiteX3340" fmla="*/ 2691602 w 3773795"/>
                <a:gd name="connsiteY3340" fmla="*/ 1142971 h 1451770"/>
                <a:gd name="connsiteX3341" fmla="*/ 2693359 w 3773795"/>
                <a:gd name="connsiteY3341" fmla="*/ 1144063 h 1451770"/>
                <a:gd name="connsiteX3342" fmla="*/ 2695043 w 3773795"/>
                <a:gd name="connsiteY3342" fmla="*/ 1145717 h 1451770"/>
                <a:gd name="connsiteX3343" fmla="*/ 2692838 w 3773795"/>
                <a:gd name="connsiteY3343" fmla="*/ 1149309 h 1451770"/>
                <a:gd name="connsiteX3344" fmla="*/ 2692426 w 3773795"/>
                <a:gd name="connsiteY3344" fmla="*/ 1153347 h 1451770"/>
                <a:gd name="connsiteX3345" fmla="*/ 2690027 w 3773795"/>
                <a:gd name="connsiteY3345" fmla="*/ 1155117 h 1451770"/>
                <a:gd name="connsiteX3346" fmla="*/ 2687174 w 3773795"/>
                <a:gd name="connsiteY3346" fmla="*/ 1159038 h 1451770"/>
                <a:gd name="connsiteX3347" fmla="*/ 2682822 w 3773795"/>
                <a:gd name="connsiteY3347" fmla="*/ 1162214 h 1451770"/>
                <a:gd name="connsiteX3348" fmla="*/ 2680743 w 3773795"/>
                <a:gd name="connsiteY3348" fmla="*/ 1168262 h 1451770"/>
                <a:gd name="connsiteX3349" fmla="*/ 2677407 w 3773795"/>
                <a:gd name="connsiteY3349" fmla="*/ 1173596 h 1451770"/>
                <a:gd name="connsiteX3350" fmla="*/ 2677031 w 3773795"/>
                <a:gd name="connsiteY3350" fmla="*/ 1178891 h 1451770"/>
                <a:gd name="connsiteX3351" fmla="*/ 2676476 w 3773795"/>
                <a:gd name="connsiteY3351" fmla="*/ 1180777 h 1451770"/>
                <a:gd name="connsiteX3352" fmla="*/ 2673719 w 3773795"/>
                <a:gd name="connsiteY3352" fmla="*/ 1186220 h 1451770"/>
                <a:gd name="connsiteX3353" fmla="*/ 2672734 w 3773795"/>
                <a:gd name="connsiteY3353" fmla="*/ 1193616 h 1451770"/>
                <a:gd name="connsiteX3354" fmla="*/ 2674040 w 3773795"/>
                <a:gd name="connsiteY3354" fmla="*/ 1205650 h 1451770"/>
                <a:gd name="connsiteX3355" fmla="*/ 2674672 w 3773795"/>
                <a:gd name="connsiteY3355" fmla="*/ 1206346 h 1451770"/>
                <a:gd name="connsiteX3356" fmla="*/ 2676010 w 3773795"/>
                <a:gd name="connsiteY3356" fmla="*/ 1207047 h 1451770"/>
                <a:gd name="connsiteX3357" fmla="*/ 2675762 w 3773795"/>
                <a:gd name="connsiteY3357" fmla="*/ 1207876 h 1451770"/>
                <a:gd name="connsiteX3358" fmla="*/ 2675127 w 3773795"/>
                <a:gd name="connsiteY3358" fmla="*/ 1208464 h 1451770"/>
                <a:gd name="connsiteX3359" fmla="*/ 2672431 w 3773795"/>
                <a:gd name="connsiteY3359" fmla="*/ 1211981 h 1451770"/>
                <a:gd name="connsiteX3360" fmla="*/ 2672473 w 3773795"/>
                <a:gd name="connsiteY3360" fmla="*/ 1214457 h 1451770"/>
                <a:gd name="connsiteX3361" fmla="*/ 2673507 w 3773795"/>
                <a:gd name="connsiteY3361" fmla="*/ 1216297 h 1451770"/>
                <a:gd name="connsiteX3362" fmla="*/ 2673636 w 3773795"/>
                <a:gd name="connsiteY3362" fmla="*/ 1221057 h 1451770"/>
                <a:gd name="connsiteX3363" fmla="*/ 2671732 w 3773795"/>
                <a:gd name="connsiteY3363" fmla="*/ 1228649 h 1451770"/>
                <a:gd name="connsiteX3364" fmla="*/ 2671026 w 3773795"/>
                <a:gd name="connsiteY3364" fmla="*/ 1229843 h 1451770"/>
                <a:gd name="connsiteX3365" fmla="*/ 2670257 w 3773795"/>
                <a:gd name="connsiteY3365" fmla="*/ 1231816 h 1451770"/>
                <a:gd name="connsiteX3366" fmla="*/ 2669910 w 3773795"/>
                <a:gd name="connsiteY3366" fmla="*/ 1233580 h 1451770"/>
                <a:gd name="connsiteX3367" fmla="*/ 2669400 w 3773795"/>
                <a:gd name="connsiteY3367" fmla="*/ 1234699 h 1451770"/>
                <a:gd name="connsiteX3368" fmla="*/ 2669033 w 3773795"/>
                <a:gd name="connsiteY3368" fmla="*/ 1236587 h 1451770"/>
                <a:gd name="connsiteX3369" fmla="*/ 2669579 w 3773795"/>
                <a:gd name="connsiteY3369" fmla="*/ 1238273 h 1451770"/>
                <a:gd name="connsiteX3370" fmla="*/ 2670566 w 3773795"/>
                <a:gd name="connsiteY3370" fmla="*/ 1239150 h 1451770"/>
                <a:gd name="connsiteX3371" fmla="*/ 2667158 w 3773795"/>
                <a:gd name="connsiteY3371" fmla="*/ 1244599 h 1451770"/>
                <a:gd name="connsiteX3372" fmla="*/ 2665973 w 3773795"/>
                <a:gd name="connsiteY3372" fmla="*/ 1251680 h 1451770"/>
                <a:gd name="connsiteX3373" fmla="*/ 2664706 w 3773795"/>
                <a:gd name="connsiteY3373" fmla="*/ 1254546 h 1451770"/>
                <a:gd name="connsiteX3374" fmla="*/ 2662166 w 3773795"/>
                <a:gd name="connsiteY3374" fmla="*/ 1257347 h 1451770"/>
                <a:gd name="connsiteX3375" fmla="*/ 2656910 w 3773795"/>
                <a:gd name="connsiteY3375" fmla="*/ 1261399 h 1451770"/>
                <a:gd name="connsiteX3376" fmla="*/ 2655043 w 3773795"/>
                <a:gd name="connsiteY3376" fmla="*/ 1263962 h 1451770"/>
                <a:gd name="connsiteX3377" fmla="*/ 2651598 w 3773795"/>
                <a:gd name="connsiteY3377" fmla="*/ 1267196 h 1451770"/>
                <a:gd name="connsiteX3378" fmla="*/ 2648328 w 3773795"/>
                <a:gd name="connsiteY3378" fmla="*/ 1269676 h 1451770"/>
                <a:gd name="connsiteX3379" fmla="*/ 2643781 w 3773795"/>
                <a:gd name="connsiteY3379" fmla="*/ 1276781 h 1451770"/>
                <a:gd name="connsiteX3380" fmla="*/ 2640119 w 3773795"/>
                <a:gd name="connsiteY3380" fmla="*/ 1283841 h 1451770"/>
                <a:gd name="connsiteX3381" fmla="*/ 2630952 w 3773795"/>
                <a:gd name="connsiteY3381" fmla="*/ 1292963 h 1451770"/>
                <a:gd name="connsiteX3382" fmla="*/ 2629689 w 3773795"/>
                <a:gd name="connsiteY3382" fmla="*/ 1295224 h 1451770"/>
                <a:gd name="connsiteX3383" fmla="*/ 2629043 w 3773795"/>
                <a:gd name="connsiteY3383" fmla="*/ 1297633 h 1451770"/>
                <a:gd name="connsiteX3384" fmla="*/ 2626640 w 3773795"/>
                <a:gd name="connsiteY3384" fmla="*/ 1301666 h 1451770"/>
                <a:gd name="connsiteX3385" fmla="*/ 2625426 w 3773795"/>
                <a:gd name="connsiteY3385" fmla="*/ 1307273 h 1451770"/>
                <a:gd name="connsiteX3386" fmla="*/ 2622624 w 3773795"/>
                <a:gd name="connsiteY3386" fmla="*/ 1309506 h 1451770"/>
                <a:gd name="connsiteX3387" fmla="*/ 2620328 w 3773795"/>
                <a:gd name="connsiteY3387" fmla="*/ 1315388 h 1451770"/>
                <a:gd name="connsiteX3388" fmla="*/ 2612872 w 3773795"/>
                <a:gd name="connsiteY3388" fmla="*/ 1324295 h 1451770"/>
                <a:gd name="connsiteX3389" fmla="*/ 2611021 w 3773795"/>
                <a:gd name="connsiteY3389" fmla="*/ 1327333 h 1451770"/>
                <a:gd name="connsiteX3390" fmla="*/ 2605266 w 3773795"/>
                <a:gd name="connsiteY3390" fmla="*/ 1332244 h 1451770"/>
                <a:gd name="connsiteX3391" fmla="*/ 2599114 w 3773795"/>
                <a:gd name="connsiteY3391" fmla="*/ 1339017 h 1451770"/>
                <a:gd name="connsiteX3392" fmla="*/ 2591519 w 3773795"/>
                <a:gd name="connsiteY3392" fmla="*/ 1345112 h 1451770"/>
                <a:gd name="connsiteX3393" fmla="*/ 2590054 w 3773795"/>
                <a:gd name="connsiteY3393" fmla="*/ 1347606 h 1451770"/>
                <a:gd name="connsiteX3394" fmla="*/ 2587110 w 3773795"/>
                <a:gd name="connsiteY3394" fmla="*/ 1350390 h 1451770"/>
                <a:gd name="connsiteX3395" fmla="*/ 2583934 w 3773795"/>
                <a:gd name="connsiteY3395" fmla="*/ 1354651 h 1451770"/>
                <a:gd name="connsiteX3396" fmla="*/ 2579306 w 3773795"/>
                <a:gd name="connsiteY3396" fmla="*/ 1358886 h 1451770"/>
                <a:gd name="connsiteX3397" fmla="*/ 2578367 w 3773795"/>
                <a:gd name="connsiteY3397" fmla="*/ 1361739 h 1451770"/>
                <a:gd name="connsiteX3398" fmla="*/ 2576899 w 3773795"/>
                <a:gd name="connsiteY3398" fmla="*/ 1363721 h 1451770"/>
                <a:gd name="connsiteX3399" fmla="*/ 2573465 w 3773795"/>
                <a:gd name="connsiteY3399" fmla="*/ 1365061 h 1451770"/>
                <a:gd name="connsiteX3400" fmla="*/ 2570980 w 3773795"/>
                <a:gd name="connsiteY3400" fmla="*/ 1366863 h 1451770"/>
                <a:gd name="connsiteX3401" fmla="*/ 2563430 w 3773795"/>
                <a:gd name="connsiteY3401" fmla="*/ 1377761 h 1451770"/>
                <a:gd name="connsiteX3402" fmla="*/ 2562454 w 3773795"/>
                <a:gd name="connsiteY3402" fmla="*/ 1379725 h 1451770"/>
                <a:gd name="connsiteX3403" fmla="*/ 2562329 w 3773795"/>
                <a:gd name="connsiteY3403" fmla="*/ 1381450 h 1451770"/>
                <a:gd name="connsiteX3404" fmla="*/ 2557393 w 3773795"/>
                <a:gd name="connsiteY3404" fmla="*/ 1385510 h 1451770"/>
                <a:gd name="connsiteX3405" fmla="*/ 2554538 w 3773795"/>
                <a:gd name="connsiteY3405" fmla="*/ 1389793 h 1451770"/>
                <a:gd name="connsiteX3406" fmla="*/ 2549804 w 3773795"/>
                <a:gd name="connsiteY3406" fmla="*/ 1392463 h 1451770"/>
                <a:gd name="connsiteX3407" fmla="*/ 2544825 w 3773795"/>
                <a:gd name="connsiteY3407" fmla="*/ 1396120 h 1451770"/>
                <a:gd name="connsiteX3408" fmla="*/ 2532987 w 3773795"/>
                <a:gd name="connsiteY3408" fmla="*/ 1402788 h 1451770"/>
                <a:gd name="connsiteX3409" fmla="*/ 2529759 w 3773795"/>
                <a:gd name="connsiteY3409" fmla="*/ 1405325 h 1451770"/>
                <a:gd name="connsiteX3410" fmla="*/ 2523102 w 3773795"/>
                <a:gd name="connsiteY3410" fmla="*/ 1408472 h 1451770"/>
                <a:gd name="connsiteX3411" fmla="*/ 2520389 w 3773795"/>
                <a:gd name="connsiteY3411" fmla="*/ 1408518 h 1451770"/>
                <a:gd name="connsiteX3412" fmla="*/ 2514702 w 3773795"/>
                <a:gd name="connsiteY3412" fmla="*/ 1410239 h 1451770"/>
                <a:gd name="connsiteX3413" fmla="*/ 2510953 w 3773795"/>
                <a:gd name="connsiteY3413" fmla="*/ 1412027 h 1451770"/>
                <a:gd name="connsiteX3414" fmla="*/ 2508728 w 3773795"/>
                <a:gd name="connsiteY3414" fmla="*/ 1411337 h 1451770"/>
                <a:gd name="connsiteX3415" fmla="*/ 2507340 w 3773795"/>
                <a:gd name="connsiteY3415" fmla="*/ 1409058 h 1451770"/>
                <a:gd name="connsiteX3416" fmla="*/ 2505733 w 3773795"/>
                <a:gd name="connsiteY3416" fmla="*/ 1409131 h 1451770"/>
                <a:gd name="connsiteX3417" fmla="*/ 2504399 w 3773795"/>
                <a:gd name="connsiteY3417" fmla="*/ 1409440 h 1451770"/>
                <a:gd name="connsiteX3418" fmla="*/ 2500981 w 3773795"/>
                <a:gd name="connsiteY3418" fmla="*/ 1407244 h 1451770"/>
                <a:gd name="connsiteX3419" fmla="*/ 2498051 w 3773795"/>
                <a:gd name="connsiteY3419" fmla="*/ 1407357 h 1451770"/>
                <a:gd name="connsiteX3420" fmla="*/ 2495948 w 3773795"/>
                <a:gd name="connsiteY3420" fmla="*/ 1406335 h 1451770"/>
                <a:gd name="connsiteX3421" fmla="*/ 2492021 w 3773795"/>
                <a:gd name="connsiteY3421" fmla="*/ 1407044 h 1451770"/>
                <a:gd name="connsiteX3422" fmla="*/ 2492698 w 3773795"/>
                <a:gd name="connsiteY3422" fmla="*/ 1397514 h 1451770"/>
                <a:gd name="connsiteX3423" fmla="*/ 2492149 w 3773795"/>
                <a:gd name="connsiteY3423" fmla="*/ 1395503 h 1451770"/>
                <a:gd name="connsiteX3424" fmla="*/ 2490460 w 3773795"/>
                <a:gd name="connsiteY3424" fmla="*/ 1397343 h 1451770"/>
                <a:gd name="connsiteX3425" fmla="*/ 2485938 w 3773795"/>
                <a:gd name="connsiteY3425" fmla="*/ 1400728 h 1451770"/>
                <a:gd name="connsiteX3426" fmla="*/ 2484138 w 3773795"/>
                <a:gd name="connsiteY3426" fmla="*/ 1401360 h 1451770"/>
                <a:gd name="connsiteX3427" fmla="*/ 2482354 w 3773795"/>
                <a:gd name="connsiteY3427" fmla="*/ 1401366 h 1451770"/>
                <a:gd name="connsiteX3428" fmla="*/ 2483055 w 3773795"/>
                <a:gd name="connsiteY3428" fmla="*/ 1399338 h 1451770"/>
                <a:gd name="connsiteX3429" fmla="*/ 2485593 w 3773795"/>
                <a:gd name="connsiteY3429" fmla="*/ 1396403 h 1451770"/>
                <a:gd name="connsiteX3430" fmla="*/ 2484779 w 3773795"/>
                <a:gd name="connsiteY3430" fmla="*/ 1395973 h 1451770"/>
                <a:gd name="connsiteX3431" fmla="*/ 2483954 w 3773795"/>
                <a:gd name="connsiteY3431" fmla="*/ 1395814 h 1451770"/>
                <a:gd name="connsiteX3432" fmla="*/ 2480765 w 3773795"/>
                <a:gd name="connsiteY3432" fmla="*/ 1397069 h 1451770"/>
                <a:gd name="connsiteX3433" fmla="*/ 2479158 w 3773795"/>
                <a:gd name="connsiteY3433" fmla="*/ 1398482 h 1451770"/>
                <a:gd name="connsiteX3434" fmla="*/ 2474610 w 3773795"/>
                <a:gd name="connsiteY3434" fmla="*/ 1404014 h 1451770"/>
                <a:gd name="connsiteX3435" fmla="*/ 2471887 w 3773795"/>
                <a:gd name="connsiteY3435" fmla="*/ 1408676 h 1451770"/>
                <a:gd name="connsiteX3436" fmla="*/ 2469659 w 3773795"/>
                <a:gd name="connsiteY3436" fmla="*/ 1410018 h 1451770"/>
                <a:gd name="connsiteX3437" fmla="*/ 2468616 w 3773795"/>
                <a:gd name="connsiteY3437" fmla="*/ 1412015 h 1451770"/>
                <a:gd name="connsiteX3438" fmla="*/ 2466691 w 3773795"/>
                <a:gd name="connsiteY3438" fmla="*/ 1413922 h 1451770"/>
                <a:gd name="connsiteX3439" fmla="*/ 2463740 w 3773795"/>
                <a:gd name="connsiteY3439" fmla="*/ 1413411 h 1451770"/>
                <a:gd name="connsiteX3440" fmla="*/ 2461991 w 3773795"/>
                <a:gd name="connsiteY3440" fmla="*/ 1413711 h 1451770"/>
                <a:gd name="connsiteX3441" fmla="*/ 2457800 w 3773795"/>
                <a:gd name="connsiteY3441" fmla="*/ 1412660 h 1451770"/>
                <a:gd name="connsiteX3442" fmla="*/ 2456766 w 3773795"/>
                <a:gd name="connsiteY3442" fmla="*/ 1413111 h 1451770"/>
                <a:gd name="connsiteX3443" fmla="*/ 2459525 w 3773795"/>
                <a:gd name="connsiteY3443" fmla="*/ 1416673 h 1451770"/>
                <a:gd name="connsiteX3444" fmla="*/ 2457219 w 3773795"/>
                <a:gd name="connsiteY3444" fmla="*/ 1421928 h 1451770"/>
                <a:gd name="connsiteX3445" fmla="*/ 2456277 w 3773795"/>
                <a:gd name="connsiteY3445" fmla="*/ 1422547 h 1451770"/>
                <a:gd name="connsiteX3446" fmla="*/ 2455629 w 3773795"/>
                <a:gd name="connsiteY3446" fmla="*/ 1421875 h 1451770"/>
                <a:gd name="connsiteX3447" fmla="*/ 2455487 w 3773795"/>
                <a:gd name="connsiteY3447" fmla="*/ 1420684 h 1451770"/>
                <a:gd name="connsiteX3448" fmla="*/ 2454744 w 3773795"/>
                <a:gd name="connsiteY3448" fmla="*/ 1419535 h 1451770"/>
                <a:gd name="connsiteX3449" fmla="*/ 2453332 w 3773795"/>
                <a:gd name="connsiteY3449" fmla="*/ 1417960 h 1451770"/>
                <a:gd name="connsiteX3450" fmla="*/ 2452732 w 3773795"/>
                <a:gd name="connsiteY3450" fmla="*/ 1416341 h 1451770"/>
                <a:gd name="connsiteX3451" fmla="*/ 2454003 w 3773795"/>
                <a:gd name="connsiteY3451" fmla="*/ 1415489 h 1451770"/>
                <a:gd name="connsiteX3452" fmla="*/ 2453829 w 3773795"/>
                <a:gd name="connsiteY3452" fmla="*/ 1413997 h 1451770"/>
                <a:gd name="connsiteX3453" fmla="*/ 2452591 w 3773795"/>
                <a:gd name="connsiteY3453" fmla="*/ 1412632 h 1451770"/>
                <a:gd name="connsiteX3454" fmla="*/ 2450792 w 3773795"/>
                <a:gd name="connsiteY3454" fmla="*/ 1412332 h 1451770"/>
                <a:gd name="connsiteX3455" fmla="*/ 2450364 w 3773795"/>
                <a:gd name="connsiteY3455" fmla="*/ 1411950 h 1451770"/>
                <a:gd name="connsiteX3456" fmla="*/ 2450472 w 3773795"/>
                <a:gd name="connsiteY3456" fmla="*/ 1411223 h 1451770"/>
                <a:gd name="connsiteX3457" fmla="*/ 2451090 w 3773795"/>
                <a:gd name="connsiteY3457" fmla="*/ 1410465 h 1451770"/>
                <a:gd name="connsiteX3458" fmla="*/ 2451980 w 3773795"/>
                <a:gd name="connsiteY3458" fmla="*/ 1409831 h 1451770"/>
                <a:gd name="connsiteX3459" fmla="*/ 2453843 w 3773795"/>
                <a:gd name="connsiteY3459" fmla="*/ 1408962 h 1451770"/>
                <a:gd name="connsiteX3460" fmla="*/ 2457055 w 3773795"/>
                <a:gd name="connsiteY3460" fmla="*/ 1408314 h 1451770"/>
                <a:gd name="connsiteX3461" fmla="*/ 2458842 w 3773795"/>
                <a:gd name="connsiteY3461" fmla="*/ 1407752 h 1451770"/>
                <a:gd name="connsiteX3462" fmla="*/ 2460285 w 3773795"/>
                <a:gd name="connsiteY3462" fmla="*/ 1407578 h 1451770"/>
                <a:gd name="connsiteX3463" fmla="*/ 2461928 w 3773795"/>
                <a:gd name="connsiteY3463" fmla="*/ 1407888 h 1451770"/>
                <a:gd name="connsiteX3464" fmla="*/ 2463315 w 3773795"/>
                <a:gd name="connsiteY3464" fmla="*/ 1407049 h 1451770"/>
                <a:gd name="connsiteX3465" fmla="*/ 2464708 w 3773795"/>
                <a:gd name="connsiteY3465" fmla="*/ 1406536 h 1451770"/>
                <a:gd name="connsiteX3466" fmla="*/ 2465038 w 3773795"/>
                <a:gd name="connsiteY3466" fmla="*/ 1405089 h 1451770"/>
                <a:gd name="connsiteX3467" fmla="*/ 2465096 w 3773795"/>
                <a:gd name="connsiteY3467" fmla="*/ 1402897 h 1451770"/>
                <a:gd name="connsiteX3468" fmla="*/ 2465601 w 3773795"/>
                <a:gd name="connsiteY3468" fmla="*/ 1402244 h 1451770"/>
                <a:gd name="connsiteX3469" fmla="*/ 2466189 w 3773795"/>
                <a:gd name="connsiteY3469" fmla="*/ 1401301 h 1451770"/>
                <a:gd name="connsiteX3470" fmla="*/ 2467074 w 3773795"/>
                <a:gd name="connsiteY3470" fmla="*/ 1400105 h 1451770"/>
                <a:gd name="connsiteX3471" fmla="*/ 2467877 w 3773795"/>
                <a:gd name="connsiteY3471" fmla="*/ 1397002 h 1451770"/>
                <a:gd name="connsiteX3472" fmla="*/ 2468484 w 3773795"/>
                <a:gd name="connsiteY3472" fmla="*/ 1394855 h 1451770"/>
                <a:gd name="connsiteX3473" fmla="*/ 2468882 w 3773795"/>
                <a:gd name="connsiteY3473" fmla="*/ 1393768 h 1451770"/>
                <a:gd name="connsiteX3474" fmla="*/ 2468980 w 3773795"/>
                <a:gd name="connsiteY3474" fmla="*/ 1392288 h 1451770"/>
                <a:gd name="connsiteX3475" fmla="*/ 2468586 w 3773795"/>
                <a:gd name="connsiteY3475" fmla="*/ 1391320 h 1451770"/>
                <a:gd name="connsiteX3476" fmla="*/ 2467817 w 3773795"/>
                <a:gd name="connsiteY3476" fmla="*/ 1390744 h 1451770"/>
                <a:gd name="connsiteX3477" fmla="*/ 2467225 w 3773795"/>
                <a:gd name="connsiteY3477" fmla="*/ 1390336 h 1451770"/>
                <a:gd name="connsiteX3478" fmla="*/ 2467173 w 3773795"/>
                <a:gd name="connsiteY3478" fmla="*/ 1388679 h 1451770"/>
                <a:gd name="connsiteX3479" fmla="*/ 2467251 w 3773795"/>
                <a:gd name="connsiteY3479" fmla="*/ 1386420 h 1451770"/>
                <a:gd name="connsiteX3480" fmla="*/ 2467044 w 3773795"/>
                <a:gd name="connsiteY3480" fmla="*/ 1384967 h 1451770"/>
                <a:gd name="connsiteX3481" fmla="*/ 2467908 w 3773795"/>
                <a:gd name="connsiteY3481" fmla="*/ 1376910 h 1451770"/>
                <a:gd name="connsiteX3482" fmla="*/ 2468836 w 3773795"/>
                <a:gd name="connsiteY3482" fmla="*/ 1375051 h 1451770"/>
                <a:gd name="connsiteX3483" fmla="*/ 2465973 w 3773795"/>
                <a:gd name="connsiteY3483" fmla="*/ 1364263 h 1451770"/>
                <a:gd name="connsiteX3484" fmla="*/ 2465113 w 3773795"/>
                <a:gd name="connsiteY3484" fmla="*/ 1360823 h 1451770"/>
                <a:gd name="connsiteX3485" fmla="*/ 2464533 w 3773795"/>
                <a:gd name="connsiteY3485" fmla="*/ 1359080 h 1451770"/>
                <a:gd name="connsiteX3486" fmla="*/ 2463278 w 3773795"/>
                <a:gd name="connsiteY3486" fmla="*/ 1356530 h 1451770"/>
                <a:gd name="connsiteX3487" fmla="*/ 2462479 w 3773795"/>
                <a:gd name="connsiteY3487" fmla="*/ 1355256 h 1451770"/>
                <a:gd name="connsiteX3488" fmla="*/ 2462785 w 3773795"/>
                <a:gd name="connsiteY3488" fmla="*/ 1354045 h 1451770"/>
                <a:gd name="connsiteX3489" fmla="*/ 2463921 w 3773795"/>
                <a:gd name="connsiteY3489" fmla="*/ 1352830 h 1451770"/>
                <a:gd name="connsiteX3490" fmla="*/ 2465012 w 3773795"/>
                <a:gd name="connsiteY3490" fmla="*/ 1352252 h 1451770"/>
                <a:gd name="connsiteX3491" fmla="*/ 2468232 w 3773795"/>
                <a:gd name="connsiteY3491" fmla="*/ 1351975 h 1451770"/>
                <a:gd name="connsiteX3492" fmla="*/ 2469123 w 3773795"/>
                <a:gd name="connsiteY3492" fmla="*/ 1351539 h 1451770"/>
                <a:gd name="connsiteX3493" fmla="*/ 2473072 w 3773795"/>
                <a:gd name="connsiteY3493" fmla="*/ 1350230 h 1451770"/>
                <a:gd name="connsiteX3494" fmla="*/ 2473972 w 3773795"/>
                <a:gd name="connsiteY3494" fmla="*/ 1349435 h 1451770"/>
                <a:gd name="connsiteX3495" fmla="*/ 2475988 w 3773795"/>
                <a:gd name="connsiteY3495" fmla="*/ 1347507 h 1451770"/>
                <a:gd name="connsiteX3496" fmla="*/ 2476767 w 3773795"/>
                <a:gd name="connsiteY3496" fmla="*/ 1346059 h 1451770"/>
                <a:gd name="connsiteX3497" fmla="*/ 2477653 w 3773795"/>
                <a:gd name="connsiteY3497" fmla="*/ 1344175 h 1451770"/>
                <a:gd name="connsiteX3498" fmla="*/ 2479601 w 3773795"/>
                <a:gd name="connsiteY3498" fmla="*/ 1343154 h 1451770"/>
                <a:gd name="connsiteX3499" fmla="*/ 2480769 w 3773795"/>
                <a:gd name="connsiteY3499" fmla="*/ 1341437 h 1451770"/>
                <a:gd name="connsiteX3500" fmla="*/ 2482028 w 3773795"/>
                <a:gd name="connsiteY3500" fmla="*/ 1340845 h 1451770"/>
                <a:gd name="connsiteX3501" fmla="*/ 2483297 w 3773795"/>
                <a:gd name="connsiteY3501" fmla="*/ 1342302 h 1451770"/>
                <a:gd name="connsiteX3502" fmla="*/ 2484807 w 3773795"/>
                <a:gd name="connsiteY3502" fmla="*/ 1343117 h 1451770"/>
                <a:gd name="connsiteX3503" fmla="*/ 2486793 w 3773795"/>
                <a:gd name="connsiteY3503" fmla="*/ 1343611 h 1451770"/>
                <a:gd name="connsiteX3504" fmla="*/ 2489313 w 3773795"/>
                <a:gd name="connsiteY3504" fmla="*/ 1344232 h 1451770"/>
                <a:gd name="connsiteX3505" fmla="*/ 2493330 w 3773795"/>
                <a:gd name="connsiteY3505" fmla="*/ 1345418 h 1451770"/>
                <a:gd name="connsiteX3506" fmla="*/ 2497444 w 3773795"/>
                <a:gd name="connsiteY3506" fmla="*/ 1346435 h 1451770"/>
                <a:gd name="connsiteX3507" fmla="*/ 2500022 w 3773795"/>
                <a:gd name="connsiteY3507" fmla="*/ 1347232 h 1451770"/>
                <a:gd name="connsiteX3508" fmla="*/ 2501294 w 3773795"/>
                <a:gd name="connsiteY3508" fmla="*/ 1347591 h 1451770"/>
                <a:gd name="connsiteX3509" fmla="*/ 2503848 w 3773795"/>
                <a:gd name="connsiteY3509" fmla="*/ 1348122 h 1451770"/>
                <a:gd name="connsiteX3510" fmla="*/ 2504956 w 3773795"/>
                <a:gd name="connsiteY3510" fmla="*/ 1348535 h 1451770"/>
                <a:gd name="connsiteX3511" fmla="*/ 2506001 w 3773795"/>
                <a:gd name="connsiteY3511" fmla="*/ 1348976 h 1451770"/>
                <a:gd name="connsiteX3512" fmla="*/ 2507675 w 3773795"/>
                <a:gd name="connsiteY3512" fmla="*/ 1347755 h 1451770"/>
                <a:gd name="connsiteX3513" fmla="*/ 2509925 w 3773795"/>
                <a:gd name="connsiteY3513" fmla="*/ 1346219 h 1451770"/>
                <a:gd name="connsiteX3514" fmla="*/ 2509558 w 3773795"/>
                <a:gd name="connsiteY3514" fmla="*/ 1343761 h 1451770"/>
                <a:gd name="connsiteX3515" fmla="*/ 2509923 w 3773795"/>
                <a:gd name="connsiteY3515" fmla="*/ 1340994 h 1451770"/>
                <a:gd name="connsiteX3516" fmla="*/ 2511530 w 3773795"/>
                <a:gd name="connsiteY3516" fmla="*/ 1336235 h 1451770"/>
                <a:gd name="connsiteX3517" fmla="*/ 2513320 w 3773795"/>
                <a:gd name="connsiteY3517" fmla="*/ 1334849 h 1451770"/>
                <a:gd name="connsiteX3518" fmla="*/ 2514261 w 3773795"/>
                <a:gd name="connsiteY3518" fmla="*/ 1334634 h 1451770"/>
                <a:gd name="connsiteX3519" fmla="*/ 2515276 w 3773795"/>
                <a:gd name="connsiteY3519" fmla="*/ 1334109 h 1451770"/>
                <a:gd name="connsiteX3520" fmla="*/ 2517066 w 3773795"/>
                <a:gd name="connsiteY3520" fmla="*/ 1333216 h 1451770"/>
                <a:gd name="connsiteX3521" fmla="*/ 2517711 w 3773795"/>
                <a:gd name="connsiteY3521" fmla="*/ 1331935 h 1451770"/>
                <a:gd name="connsiteX3522" fmla="*/ 2517347 w 3773795"/>
                <a:gd name="connsiteY3522" fmla="*/ 1330453 h 1451770"/>
                <a:gd name="connsiteX3523" fmla="*/ 2517936 w 3773795"/>
                <a:gd name="connsiteY3523" fmla="*/ 1329005 h 1451770"/>
                <a:gd name="connsiteX3524" fmla="*/ 2518132 w 3773795"/>
                <a:gd name="connsiteY3524" fmla="*/ 1327551 h 1451770"/>
                <a:gd name="connsiteX3525" fmla="*/ 2518761 w 3773795"/>
                <a:gd name="connsiteY3525" fmla="*/ 1325666 h 1451770"/>
                <a:gd name="connsiteX3526" fmla="*/ 2519604 w 3773795"/>
                <a:gd name="connsiteY3526" fmla="*/ 1325142 h 1451770"/>
                <a:gd name="connsiteX3527" fmla="*/ 2520860 w 3773795"/>
                <a:gd name="connsiteY3527" fmla="*/ 1324521 h 1451770"/>
                <a:gd name="connsiteX3528" fmla="*/ 2521741 w 3773795"/>
                <a:gd name="connsiteY3528" fmla="*/ 1323558 h 1451770"/>
                <a:gd name="connsiteX3529" fmla="*/ 2522579 w 3773795"/>
                <a:gd name="connsiteY3529" fmla="*/ 1322075 h 1451770"/>
                <a:gd name="connsiteX3530" fmla="*/ 2523141 w 3773795"/>
                <a:gd name="connsiteY3530" fmla="*/ 1320398 h 1451770"/>
                <a:gd name="connsiteX3531" fmla="*/ 2522909 w 3773795"/>
                <a:gd name="connsiteY3531" fmla="*/ 1318459 h 1451770"/>
                <a:gd name="connsiteX3532" fmla="*/ 2524004 w 3773795"/>
                <a:gd name="connsiteY3532" fmla="*/ 1317182 h 1451770"/>
                <a:gd name="connsiteX3533" fmla="*/ 2525830 w 3773795"/>
                <a:gd name="connsiteY3533" fmla="*/ 1316121 h 1451770"/>
                <a:gd name="connsiteX3534" fmla="*/ 2526461 w 3773795"/>
                <a:gd name="connsiteY3534" fmla="*/ 1315471 h 1451770"/>
                <a:gd name="connsiteX3535" fmla="*/ 2526759 w 3773795"/>
                <a:gd name="connsiteY3535" fmla="*/ 1313772 h 1451770"/>
                <a:gd name="connsiteX3536" fmla="*/ 2526881 w 3773795"/>
                <a:gd name="connsiteY3536" fmla="*/ 1313025 h 1451770"/>
                <a:gd name="connsiteX3537" fmla="*/ 2527378 w 3773795"/>
                <a:gd name="connsiteY3537" fmla="*/ 1312169 h 1451770"/>
                <a:gd name="connsiteX3538" fmla="*/ 2527023 w 3773795"/>
                <a:gd name="connsiteY3538" fmla="*/ 1310405 h 1451770"/>
                <a:gd name="connsiteX3539" fmla="*/ 2526578 w 3773795"/>
                <a:gd name="connsiteY3539" fmla="*/ 1308502 h 1451770"/>
                <a:gd name="connsiteX3540" fmla="*/ 2528588 w 3773795"/>
                <a:gd name="connsiteY3540" fmla="*/ 1305304 h 1451770"/>
                <a:gd name="connsiteX3541" fmla="*/ 2530029 w 3773795"/>
                <a:gd name="connsiteY3541" fmla="*/ 1302553 h 1451770"/>
                <a:gd name="connsiteX3542" fmla="*/ 2530380 w 3773795"/>
                <a:gd name="connsiteY3542" fmla="*/ 1298516 h 1451770"/>
                <a:gd name="connsiteX3543" fmla="*/ 2530545 w 3773795"/>
                <a:gd name="connsiteY3543" fmla="*/ 1297852 h 1451770"/>
                <a:gd name="connsiteX3544" fmla="*/ 2531106 w 3773795"/>
                <a:gd name="connsiteY3544" fmla="*/ 1295934 h 1451770"/>
                <a:gd name="connsiteX3545" fmla="*/ 2531439 w 3773795"/>
                <a:gd name="connsiteY3545" fmla="*/ 1295171 h 1451770"/>
                <a:gd name="connsiteX3546" fmla="*/ 2532556 w 3773795"/>
                <a:gd name="connsiteY3546" fmla="*/ 1292634 h 1451770"/>
                <a:gd name="connsiteX3547" fmla="*/ 2533998 w 3773795"/>
                <a:gd name="connsiteY3547" fmla="*/ 1290983 h 1451770"/>
                <a:gd name="connsiteX3548" fmla="*/ 2533713 w 3773795"/>
                <a:gd name="connsiteY3548" fmla="*/ 1289134 h 1451770"/>
                <a:gd name="connsiteX3549" fmla="*/ 2533131 w 3773795"/>
                <a:gd name="connsiteY3549" fmla="*/ 1287329 h 1451770"/>
                <a:gd name="connsiteX3550" fmla="*/ 2533235 w 3773795"/>
                <a:gd name="connsiteY3550" fmla="*/ 1286113 h 1451770"/>
                <a:gd name="connsiteX3551" fmla="*/ 2534507 w 3773795"/>
                <a:gd name="connsiteY3551" fmla="*/ 1284700 h 1451770"/>
                <a:gd name="connsiteX3552" fmla="*/ 2535279 w 3773795"/>
                <a:gd name="connsiteY3552" fmla="*/ 1283996 h 1451770"/>
                <a:gd name="connsiteX3553" fmla="*/ 2535958 w 3773795"/>
                <a:gd name="connsiteY3553" fmla="*/ 1282992 h 1451770"/>
                <a:gd name="connsiteX3554" fmla="*/ 2537034 w 3773795"/>
                <a:gd name="connsiteY3554" fmla="*/ 1282546 h 1451770"/>
                <a:gd name="connsiteX3555" fmla="*/ 2537986 w 3773795"/>
                <a:gd name="connsiteY3555" fmla="*/ 1282301 h 1451770"/>
                <a:gd name="connsiteX3556" fmla="*/ 2540219 w 3773795"/>
                <a:gd name="connsiteY3556" fmla="*/ 1282045 h 1451770"/>
                <a:gd name="connsiteX3557" fmla="*/ 2541510 w 3773795"/>
                <a:gd name="connsiteY3557" fmla="*/ 1280985 h 1451770"/>
                <a:gd name="connsiteX3558" fmla="*/ 2542711 w 3773795"/>
                <a:gd name="connsiteY3558" fmla="*/ 1279898 h 1451770"/>
                <a:gd name="connsiteX3559" fmla="*/ 2544914 w 3773795"/>
                <a:gd name="connsiteY3559" fmla="*/ 1277062 h 1451770"/>
                <a:gd name="connsiteX3560" fmla="*/ 2545628 w 3773795"/>
                <a:gd name="connsiteY3560" fmla="*/ 1275387 h 1451770"/>
                <a:gd name="connsiteX3561" fmla="*/ 2546164 w 3773795"/>
                <a:gd name="connsiteY3561" fmla="*/ 1274516 h 1451770"/>
                <a:gd name="connsiteX3562" fmla="*/ 2544976 w 3773795"/>
                <a:gd name="connsiteY3562" fmla="*/ 1272096 h 1451770"/>
                <a:gd name="connsiteX3563" fmla="*/ 2543908 w 3773795"/>
                <a:gd name="connsiteY3563" fmla="*/ 1270044 h 1451770"/>
                <a:gd name="connsiteX3564" fmla="*/ 2542603 w 3773795"/>
                <a:gd name="connsiteY3564" fmla="*/ 1267199 h 1451770"/>
                <a:gd name="connsiteX3565" fmla="*/ 2542043 w 3773795"/>
                <a:gd name="connsiteY3565" fmla="*/ 1265864 h 1451770"/>
                <a:gd name="connsiteX3566" fmla="*/ 2542914 w 3773795"/>
                <a:gd name="connsiteY3566" fmla="*/ 1264159 h 1451770"/>
                <a:gd name="connsiteX3567" fmla="*/ 2543840 w 3773795"/>
                <a:gd name="connsiteY3567" fmla="*/ 1263106 h 1451770"/>
                <a:gd name="connsiteX3568" fmla="*/ 2544328 w 3773795"/>
                <a:gd name="connsiteY3568" fmla="*/ 1262169 h 1451770"/>
                <a:gd name="connsiteX3569" fmla="*/ 2544583 w 3773795"/>
                <a:gd name="connsiteY3569" fmla="*/ 1260554 h 1451770"/>
                <a:gd name="connsiteX3570" fmla="*/ 2544238 w 3773795"/>
                <a:gd name="connsiteY3570" fmla="*/ 1259325 h 1451770"/>
                <a:gd name="connsiteX3571" fmla="*/ 2541989 w 3773795"/>
                <a:gd name="connsiteY3571" fmla="*/ 1257405 h 1451770"/>
                <a:gd name="connsiteX3572" fmla="*/ 2539614 w 3773795"/>
                <a:gd name="connsiteY3572" fmla="*/ 1256454 h 1451770"/>
                <a:gd name="connsiteX3573" fmla="*/ 2536934 w 3773795"/>
                <a:gd name="connsiteY3573" fmla="*/ 1256071 h 1451770"/>
                <a:gd name="connsiteX3574" fmla="*/ 2536015 w 3773795"/>
                <a:gd name="connsiteY3574" fmla="*/ 1255941 h 1451770"/>
                <a:gd name="connsiteX3575" fmla="*/ 2534079 w 3773795"/>
                <a:gd name="connsiteY3575" fmla="*/ 1256324 h 1451770"/>
                <a:gd name="connsiteX3576" fmla="*/ 2526038 w 3773795"/>
                <a:gd name="connsiteY3576" fmla="*/ 1258764 h 1451770"/>
                <a:gd name="connsiteX3577" fmla="*/ 2522270 w 3773795"/>
                <a:gd name="connsiteY3577" fmla="*/ 1260632 h 1451770"/>
                <a:gd name="connsiteX3578" fmla="*/ 2520091 w 3773795"/>
                <a:gd name="connsiteY3578" fmla="*/ 1262743 h 1451770"/>
                <a:gd name="connsiteX3579" fmla="*/ 2517772 w 3773795"/>
                <a:gd name="connsiteY3579" fmla="*/ 1263756 h 1451770"/>
                <a:gd name="connsiteX3580" fmla="*/ 2514075 w 3773795"/>
                <a:gd name="connsiteY3580" fmla="*/ 1263633 h 1451770"/>
                <a:gd name="connsiteX3581" fmla="*/ 2510601 w 3773795"/>
                <a:gd name="connsiteY3581" fmla="*/ 1263516 h 1451770"/>
                <a:gd name="connsiteX3582" fmla="*/ 2507860 w 3773795"/>
                <a:gd name="connsiteY3582" fmla="*/ 1264681 h 1451770"/>
                <a:gd name="connsiteX3583" fmla="*/ 2504699 w 3773795"/>
                <a:gd name="connsiteY3583" fmla="*/ 1267089 h 1451770"/>
                <a:gd name="connsiteX3584" fmla="*/ 2502393 w 3773795"/>
                <a:gd name="connsiteY3584" fmla="*/ 1268189 h 1451770"/>
                <a:gd name="connsiteX3585" fmla="*/ 2500942 w 3773795"/>
                <a:gd name="connsiteY3585" fmla="*/ 1267987 h 1451770"/>
                <a:gd name="connsiteX3586" fmla="*/ 2499387 w 3773795"/>
                <a:gd name="connsiteY3586" fmla="*/ 1269598 h 1451770"/>
                <a:gd name="connsiteX3587" fmla="*/ 2497729 w 3773795"/>
                <a:gd name="connsiteY3587" fmla="*/ 1273023 h 1451770"/>
                <a:gd name="connsiteX3588" fmla="*/ 2495835 w 3773795"/>
                <a:gd name="connsiteY3588" fmla="*/ 1274528 h 1451770"/>
                <a:gd name="connsiteX3589" fmla="*/ 2493710 w 3773795"/>
                <a:gd name="connsiteY3589" fmla="*/ 1274120 h 1451770"/>
                <a:gd name="connsiteX3590" fmla="*/ 2488616 w 3773795"/>
                <a:gd name="connsiteY3590" fmla="*/ 1274444 h 1451770"/>
                <a:gd name="connsiteX3591" fmla="*/ 2480555 w 3773795"/>
                <a:gd name="connsiteY3591" fmla="*/ 1275498 h 1451770"/>
                <a:gd name="connsiteX3592" fmla="*/ 2475502 w 3773795"/>
                <a:gd name="connsiteY3592" fmla="*/ 1275455 h 1451770"/>
                <a:gd name="connsiteX3593" fmla="*/ 2473457 w 3773795"/>
                <a:gd name="connsiteY3593" fmla="*/ 1274314 h 1451770"/>
                <a:gd name="connsiteX3594" fmla="*/ 2470252 w 3773795"/>
                <a:gd name="connsiteY3594" fmla="*/ 1274167 h 1451770"/>
                <a:gd name="connsiteX3595" fmla="*/ 2465887 w 3773795"/>
                <a:gd name="connsiteY3595" fmla="*/ 1275016 h 1451770"/>
                <a:gd name="connsiteX3596" fmla="*/ 2463252 w 3773795"/>
                <a:gd name="connsiteY3596" fmla="*/ 1275190 h 1451770"/>
                <a:gd name="connsiteX3597" fmla="*/ 2462349 w 3773795"/>
                <a:gd name="connsiteY3597" fmla="*/ 1274687 h 1451770"/>
                <a:gd name="connsiteX3598" fmla="*/ 2461706 w 3773795"/>
                <a:gd name="connsiteY3598" fmla="*/ 1273267 h 1451770"/>
                <a:gd name="connsiteX3599" fmla="*/ 2461322 w 3773795"/>
                <a:gd name="connsiteY3599" fmla="*/ 1270927 h 1451770"/>
                <a:gd name="connsiteX3600" fmla="*/ 2459844 w 3773795"/>
                <a:gd name="connsiteY3600" fmla="*/ 1268489 h 1451770"/>
                <a:gd name="connsiteX3601" fmla="*/ 2457280 w 3773795"/>
                <a:gd name="connsiteY3601" fmla="*/ 1265956 h 1451770"/>
                <a:gd name="connsiteX3602" fmla="*/ 2456826 w 3773795"/>
                <a:gd name="connsiteY3602" fmla="*/ 1262895 h 1451770"/>
                <a:gd name="connsiteX3603" fmla="*/ 2458486 w 3773795"/>
                <a:gd name="connsiteY3603" fmla="*/ 1259306 h 1451770"/>
                <a:gd name="connsiteX3604" fmla="*/ 2458864 w 3773795"/>
                <a:gd name="connsiteY3604" fmla="*/ 1256845 h 1451770"/>
                <a:gd name="connsiteX3605" fmla="*/ 2457962 w 3773795"/>
                <a:gd name="connsiteY3605" fmla="*/ 1255516 h 1451770"/>
                <a:gd name="connsiteX3606" fmla="*/ 2457594 w 3773795"/>
                <a:gd name="connsiteY3606" fmla="*/ 1254327 h 1451770"/>
                <a:gd name="connsiteX3607" fmla="*/ 2455656 w 3773795"/>
                <a:gd name="connsiteY3607" fmla="*/ 1252823 h 1451770"/>
                <a:gd name="connsiteX3608" fmla="*/ 2454286 w 3773795"/>
                <a:gd name="connsiteY3608" fmla="*/ 1250233 h 1451770"/>
                <a:gd name="connsiteX3609" fmla="*/ 2453288 w 3773795"/>
                <a:gd name="connsiteY3609" fmla="*/ 1249443 h 1451770"/>
                <a:gd name="connsiteX3610" fmla="*/ 2453587 w 3773795"/>
                <a:gd name="connsiteY3610" fmla="*/ 1247236 h 1451770"/>
                <a:gd name="connsiteX3611" fmla="*/ 2454727 w 3773795"/>
                <a:gd name="connsiteY3611" fmla="*/ 1244589 h 1451770"/>
                <a:gd name="connsiteX3612" fmla="*/ 2453311 w 3773795"/>
                <a:gd name="connsiteY3612" fmla="*/ 1242084 h 1451770"/>
                <a:gd name="connsiteX3613" fmla="*/ 2448935 w 3773795"/>
                <a:gd name="connsiteY3613" fmla="*/ 1241936 h 1451770"/>
                <a:gd name="connsiteX3614" fmla="*/ 2445414 w 3773795"/>
                <a:gd name="connsiteY3614" fmla="*/ 1241215 h 1451770"/>
                <a:gd name="connsiteX3615" fmla="*/ 2441900 w 3773795"/>
                <a:gd name="connsiteY3615" fmla="*/ 1238917 h 1451770"/>
                <a:gd name="connsiteX3616" fmla="*/ 2436492 w 3773795"/>
                <a:gd name="connsiteY3616" fmla="*/ 1232445 h 1451770"/>
                <a:gd name="connsiteX3617" fmla="*/ 2433807 w 3773795"/>
                <a:gd name="connsiteY3617" fmla="*/ 1230166 h 1451770"/>
                <a:gd name="connsiteX3618" fmla="*/ 2432045 w 3773795"/>
                <a:gd name="connsiteY3618" fmla="*/ 1229933 h 1451770"/>
                <a:gd name="connsiteX3619" fmla="*/ 2430768 w 3773795"/>
                <a:gd name="connsiteY3619" fmla="*/ 1228880 h 1451770"/>
                <a:gd name="connsiteX3620" fmla="*/ 2429982 w 3773795"/>
                <a:gd name="connsiteY3620" fmla="*/ 1227007 h 1451770"/>
                <a:gd name="connsiteX3621" fmla="*/ 2428712 w 3773795"/>
                <a:gd name="connsiteY3621" fmla="*/ 1226988 h 1451770"/>
                <a:gd name="connsiteX3622" fmla="*/ 2427473 w 3773795"/>
                <a:gd name="connsiteY3622" fmla="*/ 1226988 h 1451770"/>
                <a:gd name="connsiteX3623" fmla="*/ 2426709 w 3773795"/>
                <a:gd name="connsiteY3623" fmla="*/ 1227765 h 1451770"/>
                <a:gd name="connsiteX3624" fmla="*/ 2425819 w 3773795"/>
                <a:gd name="connsiteY3624" fmla="*/ 1228008 h 1451770"/>
                <a:gd name="connsiteX3625" fmla="*/ 2424461 w 3773795"/>
                <a:gd name="connsiteY3625" fmla="*/ 1227298 h 1451770"/>
                <a:gd name="connsiteX3626" fmla="*/ 2423061 w 3773795"/>
                <a:gd name="connsiteY3626" fmla="*/ 1227219 h 1451770"/>
                <a:gd name="connsiteX3627" fmla="*/ 2421624 w 3773795"/>
                <a:gd name="connsiteY3627" fmla="*/ 1227773 h 1451770"/>
                <a:gd name="connsiteX3628" fmla="*/ 2420407 w 3773795"/>
                <a:gd name="connsiteY3628" fmla="*/ 1227412 h 1451770"/>
                <a:gd name="connsiteX3629" fmla="*/ 2419416 w 3773795"/>
                <a:gd name="connsiteY3629" fmla="*/ 1226134 h 1451770"/>
                <a:gd name="connsiteX3630" fmla="*/ 2417602 w 3773795"/>
                <a:gd name="connsiteY3630" fmla="*/ 1225283 h 1451770"/>
                <a:gd name="connsiteX3631" fmla="*/ 2414972 w 3773795"/>
                <a:gd name="connsiteY3631" fmla="*/ 1224857 h 1451770"/>
                <a:gd name="connsiteX3632" fmla="*/ 2413888 w 3773795"/>
                <a:gd name="connsiteY3632" fmla="*/ 1223969 h 1451770"/>
                <a:gd name="connsiteX3633" fmla="*/ 2414346 w 3773795"/>
                <a:gd name="connsiteY3633" fmla="*/ 1222617 h 1451770"/>
                <a:gd name="connsiteX3634" fmla="*/ 2413860 w 3773795"/>
                <a:gd name="connsiteY3634" fmla="*/ 1221608 h 1451770"/>
                <a:gd name="connsiteX3635" fmla="*/ 2412423 w 3773795"/>
                <a:gd name="connsiteY3635" fmla="*/ 1220942 h 1451770"/>
                <a:gd name="connsiteX3636" fmla="*/ 2408503 w 3773795"/>
                <a:gd name="connsiteY3636" fmla="*/ 1221112 h 1451770"/>
                <a:gd name="connsiteX3637" fmla="*/ 2402098 w 3773795"/>
                <a:gd name="connsiteY3637" fmla="*/ 1222116 h 1451770"/>
                <a:gd name="connsiteX3638" fmla="*/ 2396847 w 3773795"/>
                <a:gd name="connsiteY3638" fmla="*/ 1221848 h 1451770"/>
                <a:gd name="connsiteX3639" fmla="*/ 2392748 w 3773795"/>
                <a:gd name="connsiteY3639" fmla="*/ 1220311 h 1451770"/>
                <a:gd name="connsiteX3640" fmla="*/ 2390468 w 3773795"/>
                <a:gd name="connsiteY3640" fmla="*/ 1218890 h 1451770"/>
                <a:gd name="connsiteX3641" fmla="*/ 2390004 w 3773795"/>
                <a:gd name="connsiteY3641" fmla="*/ 1217590 h 1451770"/>
                <a:gd name="connsiteX3642" fmla="*/ 2388822 w 3773795"/>
                <a:gd name="connsiteY3642" fmla="*/ 1216339 h 1451770"/>
                <a:gd name="connsiteX3643" fmla="*/ 2386922 w 3773795"/>
                <a:gd name="connsiteY3643" fmla="*/ 1215142 h 1451770"/>
                <a:gd name="connsiteX3644" fmla="*/ 2385853 w 3773795"/>
                <a:gd name="connsiteY3644" fmla="*/ 1213078 h 1451770"/>
                <a:gd name="connsiteX3645" fmla="*/ 2385617 w 3773795"/>
                <a:gd name="connsiteY3645" fmla="*/ 1210147 h 1451770"/>
                <a:gd name="connsiteX3646" fmla="*/ 2386071 w 3773795"/>
                <a:gd name="connsiteY3646" fmla="*/ 1207357 h 1451770"/>
                <a:gd name="connsiteX3647" fmla="*/ 2387795 w 3773795"/>
                <a:gd name="connsiteY3647" fmla="*/ 1203387 h 1451770"/>
                <a:gd name="connsiteX3648" fmla="*/ 2383484 w 3773795"/>
                <a:gd name="connsiteY3648" fmla="*/ 1200793 h 1451770"/>
                <a:gd name="connsiteX3649" fmla="*/ 2382199 w 3773795"/>
                <a:gd name="connsiteY3649" fmla="*/ 1199299 h 1451770"/>
                <a:gd name="connsiteX3650" fmla="*/ 2382508 w 3773795"/>
                <a:gd name="connsiteY3650" fmla="*/ 1198039 h 1451770"/>
                <a:gd name="connsiteX3651" fmla="*/ 2382279 w 3773795"/>
                <a:gd name="connsiteY3651" fmla="*/ 1197040 h 1451770"/>
                <a:gd name="connsiteX3652" fmla="*/ 2381510 w 3773795"/>
                <a:gd name="connsiteY3652" fmla="*/ 1196301 h 1451770"/>
                <a:gd name="connsiteX3653" fmla="*/ 2381559 w 3773795"/>
                <a:gd name="connsiteY3653" fmla="*/ 1195121 h 1451770"/>
                <a:gd name="connsiteX3654" fmla="*/ 2382420 w 3773795"/>
                <a:gd name="connsiteY3654" fmla="*/ 1193497 h 1451770"/>
                <a:gd name="connsiteX3655" fmla="*/ 2382414 w 3773795"/>
                <a:gd name="connsiteY3655" fmla="*/ 1191426 h 1451770"/>
                <a:gd name="connsiteX3656" fmla="*/ 2381532 w 3773795"/>
                <a:gd name="connsiteY3656" fmla="*/ 1188906 h 1451770"/>
                <a:gd name="connsiteX3657" fmla="*/ 2379127 w 3773795"/>
                <a:gd name="connsiteY3657" fmla="*/ 1185367 h 1451770"/>
                <a:gd name="connsiteX3658" fmla="*/ 2375195 w 3773795"/>
                <a:gd name="connsiteY3658" fmla="*/ 1180803 h 1451770"/>
                <a:gd name="connsiteX3659" fmla="*/ 2373080 w 3773795"/>
                <a:gd name="connsiteY3659" fmla="*/ 1177463 h 1451770"/>
                <a:gd name="connsiteX3660" fmla="*/ 2372787 w 3773795"/>
                <a:gd name="connsiteY3660" fmla="*/ 1175352 h 1451770"/>
                <a:gd name="connsiteX3661" fmla="*/ 2372260 w 3773795"/>
                <a:gd name="connsiteY3661" fmla="*/ 1173659 h 1451770"/>
                <a:gd name="connsiteX3662" fmla="*/ 2371524 w 3773795"/>
                <a:gd name="connsiteY3662" fmla="*/ 1172744 h 1451770"/>
                <a:gd name="connsiteX3663" fmla="*/ 2371068 w 3773795"/>
                <a:gd name="connsiteY3663" fmla="*/ 1171175 h 1451770"/>
                <a:gd name="connsiteX3664" fmla="*/ 2371377 w 3773795"/>
                <a:gd name="connsiteY3664" fmla="*/ 1169436 h 1451770"/>
                <a:gd name="connsiteX3665" fmla="*/ 2370925 w 3773795"/>
                <a:gd name="connsiteY3665" fmla="*/ 1168318 h 1451770"/>
                <a:gd name="connsiteX3666" fmla="*/ 2370359 w 3773795"/>
                <a:gd name="connsiteY3666" fmla="*/ 1167267 h 1451770"/>
                <a:gd name="connsiteX3667" fmla="*/ 2370441 w 3773795"/>
                <a:gd name="connsiteY3667" fmla="*/ 1165575 h 1451770"/>
                <a:gd name="connsiteX3668" fmla="*/ 2369757 w 3773795"/>
                <a:gd name="connsiteY3668" fmla="*/ 1164416 h 1451770"/>
                <a:gd name="connsiteX3669" fmla="*/ 2368313 w 3773795"/>
                <a:gd name="connsiteY3669" fmla="*/ 1163792 h 1451770"/>
                <a:gd name="connsiteX3670" fmla="*/ 2367859 w 3773795"/>
                <a:gd name="connsiteY3670" fmla="*/ 1162509 h 1451770"/>
                <a:gd name="connsiteX3671" fmla="*/ 2368127 w 3773795"/>
                <a:gd name="connsiteY3671" fmla="*/ 1159767 h 1451770"/>
                <a:gd name="connsiteX3672" fmla="*/ 2367086 w 3773795"/>
                <a:gd name="connsiteY3672" fmla="*/ 1157460 h 1451770"/>
                <a:gd name="connsiteX3673" fmla="*/ 2363920 w 3773795"/>
                <a:gd name="connsiteY3673" fmla="*/ 1153194 h 1451770"/>
                <a:gd name="connsiteX3674" fmla="*/ 2362981 w 3773795"/>
                <a:gd name="connsiteY3674" fmla="*/ 1150076 h 1451770"/>
                <a:gd name="connsiteX3675" fmla="*/ 2362705 w 3773795"/>
                <a:gd name="connsiteY3675" fmla="*/ 1147259 h 1451770"/>
                <a:gd name="connsiteX3676" fmla="*/ 2361361 w 3773795"/>
                <a:gd name="connsiteY3676" fmla="*/ 1145881 h 1451770"/>
                <a:gd name="connsiteX3677" fmla="*/ 2361288 w 3773795"/>
                <a:gd name="connsiteY3677" fmla="*/ 1144651 h 1451770"/>
                <a:gd name="connsiteX3678" fmla="*/ 2361111 w 3773795"/>
                <a:gd name="connsiteY3678" fmla="*/ 1142514 h 1451770"/>
                <a:gd name="connsiteX3679" fmla="*/ 2360288 w 3773795"/>
                <a:gd name="connsiteY3679" fmla="*/ 1141929 h 1451770"/>
                <a:gd name="connsiteX3680" fmla="*/ 2359800 w 3773795"/>
                <a:gd name="connsiteY3680" fmla="*/ 1141175 h 1451770"/>
                <a:gd name="connsiteX3681" fmla="*/ 2360186 w 3773795"/>
                <a:gd name="connsiteY3681" fmla="*/ 1140273 h 1451770"/>
                <a:gd name="connsiteX3682" fmla="*/ 2359550 w 3773795"/>
                <a:gd name="connsiteY3682" fmla="*/ 1139152 h 1451770"/>
                <a:gd name="connsiteX3683" fmla="*/ 2357885 w 3773795"/>
                <a:gd name="connsiteY3683" fmla="*/ 1137812 h 1451770"/>
                <a:gd name="connsiteX3684" fmla="*/ 2357118 w 3773795"/>
                <a:gd name="connsiteY3684" fmla="*/ 1136652 h 1451770"/>
                <a:gd name="connsiteX3685" fmla="*/ 2356931 w 3773795"/>
                <a:gd name="connsiteY3685" fmla="*/ 1135601 h 1451770"/>
                <a:gd name="connsiteX3686" fmla="*/ 2356094 w 3773795"/>
                <a:gd name="connsiteY3686" fmla="*/ 1134783 h 1451770"/>
                <a:gd name="connsiteX3687" fmla="*/ 2353646 w 3773795"/>
                <a:gd name="connsiteY3687" fmla="*/ 1133988 h 1451770"/>
                <a:gd name="connsiteX3688" fmla="*/ 2352985 w 3773795"/>
                <a:gd name="connsiteY3688" fmla="*/ 1132889 h 1451770"/>
                <a:gd name="connsiteX3689" fmla="*/ 2353145 w 3773795"/>
                <a:gd name="connsiteY3689" fmla="*/ 1131912 h 1451770"/>
                <a:gd name="connsiteX3690" fmla="*/ 2353672 w 3773795"/>
                <a:gd name="connsiteY3690" fmla="*/ 1131003 h 1451770"/>
                <a:gd name="connsiteX3691" fmla="*/ 2353961 w 3773795"/>
                <a:gd name="connsiteY3691" fmla="*/ 1130451 h 1451770"/>
                <a:gd name="connsiteX3692" fmla="*/ 2353870 w 3773795"/>
                <a:gd name="connsiteY3692" fmla="*/ 1129739 h 1451770"/>
                <a:gd name="connsiteX3693" fmla="*/ 2353695 w 3773795"/>
                <a:gd name="connsiteY3693" fmla="*/ 1129035 h 1451770"/>
                <a:gd name="connsiteX3694" fmla="*/ 2352726 w 3773795"/>
                <a:gd name="connsiteY3694" fmla="*/ 1128187 h 1451770"/>
                <a:gd name="connsiteX3695" fmla="*/ 2351339 w 3773795"/>
                <a:gd name="connsiteY3695" fmla="*/ 1127207 h 1451770"/>
                <a:gd name="connsiteX3696" fmla="*/ 2349798 w 3773795"/>
                <a:gd name="connsiteY3696" fmla="*/ 1125090 h 1451770"/>
                <a:gd name="connsiteX3697" fmla="*/ 2347828 w 3773795"/>
                <a:gd name="connsiteY3697" fmla="*/ 1124516 h 1451770"/>
                <a:gd name="connsiteX3698" fmla="*/ 2346620 w 3773795"/>
                <a:gd name="connsiteY3698" fmla="*/ 1124516 h 1451770"/>
                <a:gd name="connsiteX3699" fmla="*/ 2345572 w 3773795"/>
                <a:gd name="connsiteY3699" fmla="*/ 1123317 h 1451770"/>
                <a:gd name="connsiteX3700" fmla="*/ 2345894 w 3773795"/>
                <a:gd name="connsiteY3700" fmla="*/ 1122555 h 1451770"/>
                <a:gd name="connsiteX3701" fmla="*/ 2345813 w 3773795"/>
                <a:gd name="connsiteY3701" fmla="*/ 1121135 h 1451770"/>
                <a:gd name="connsiteX3702" fmla="*/ 2344870 w 3773795"/>
                <a:gd name="connsiteY3702" fmla="*/ 1119980 h 1451770"/>
                <a:gd name="connsiteX3703" fmla="*/ 2343697 w 3773795"/>
                <a:gd name="connsiteY3703" fmla="*/ 1119525 h 1451770"/>
                <a:gd name="connsiteX3704" fmla="*/ 2342592 w 3773795"/>
                <a:gd name="connsiteY3704" fmla="*/ 1119820 h 1451770"/>
                <a:gd name="connsiteX3705" fmla="*/ 2339860 w 3773795"/>
                <a:gd name="connsiteY3705" fmla="*/ 1118738 h 1451770"/>
                <a:gd name="connsiteX3706" fmla="*/ 2335507 w 3773795"/>
                <a:gd name="connsiteY3706" fmla="*/ 1116276 h 1451770"/>
                <a:gd name="connsiteX3707" fmla="*/ 2332177 w 3773795"/>
                <a:gd name="connsiteY3707" fmla="*/ 1115140 h 1451770"/>
                <a:gd name="connsiteX3708" fmla="*/ 2329876 w 3773795"/>
                <a:gd name="connsiteY3708" fmla="*/ 1115331 h 1451770"/>
                <a:gd name="connsiteX3709" fmla="*/ 2328454 w 3773795"/>
                <a:gd name="connsiteY3709" fmla="*/ 1116071 h 1451770"/>
                <a:gd name="connsiteX3710" fmla="*/ 2327912 w 3773795"/>
                <a:gd name="connsiteY3710" fmla="*/ 1117358 h 1451770"/>
                <a:gd name="connsiteX3711" fmla="*/ 2326368 w 3773795"/>
                <a:gd name="connsiteY3711" fmla="*/ 1117235 h 1451770"/>
                <a:gd name="connsiteX3712" fmla="*/ 2322555 w 3773795"/>
                <a:gd name="connsiteY3712" fmla="*/ 1114930 h 1451770"/>
                <a:gd name="connsiteX3713" fmla="*/ 2318709 w 3773795"/>
                <a:gd name="connsiteY3713" fmla="*/ 1114360 h 1451770"/>
                <a:gd name="connsiteX3714" fmla="*/ 2316569 w 3773795"/>
                <a:gd name="connsiteY3714" fmla="*/ 1113119 h 1451770"/>
                <a:gd name="connsiteX3715" fmla="*/ 2314850 w 3773795"/>
                <a:gd name="connsiteY3715" fmla="*/ 1111017 h 1451770"/>
                <a:gd name="connsiteX3716" fmla="*/ 2313270 w 3773795"/>
                <a:gd name="connsiteY3716" fmla="*/ 1110137 h 1451770"/>
                <a:gd name="connsiteX3717" fmla="*/ 2311819 w 3773795"/>
                <a:gd name="connsiteY3717" fmla="*/ 1110481 h 1451770"/>
                <a:gd name="connsiteX3718" fmla="*/ 2308290 w 3773795"/>
                <a:gd name="connsiteY3718" fmla="*/ 1109069 h 1451770"/>
                <a:gd name="connsiteX3719" fmla="*/ 2302678 w 3773795"/>
                <a:gd name="connsiteY3719" fmla="*/ 1105895 h 1451770"/>
                <a:gd name="connsiteX3720" fmla="*/ 2299734 w 3773795"/>
                <a:gd name="connsiteY3720" fmla="*/ 1104824 h 1451770"/>
                <a:gd name="connsiteX3721" fmla="*/ 2298672 w 3773795"/>
                <a:gd name="connsiteY3721" fmla="*/ 1105423 h 1451770"/>
                <a:gd name="connsiteX3722" fmla="*/ 2298119 w 3773795"/>
                <a:gd name="connsiteY3722" fmla="*/ 1105429 h 1451770"/>
                <a:gd name="connsiteX3723" fmla="*/ 2297117 w 3773795"/>
                <a:gd name="connsiteY3723" fmla="*/ 1105339 h 1451770"/>
                <a:gd name="connsiteX3724" fmla="*/ 2295671 w 3773795"/>
                <a:gd name="connsiteY3724" fmla="*/ 1105299 h 1451770"/>
                <a:gd name="connsiteX3725" fmla="*/ 2293140 w 3773795"/>
                <a:gd name="connsiteY3725" fmla="*/ 1104550 h 1451770"/>
                <a:gd name="connsiteX3726" fmla="*/ 2289702 w 3773795"/>
                <a:gd name="connsiteY3726" fmla="*/ 1104883 h 1451770"/>
                <a:gd name="connsiteX3727" fmla="*/ 2285357 w 3773795"/>
                <a:gd name="connsiteY3727" fmla="*/ 1106296 h 1451770"/>
                <a:gd name="connsiteX3728" fmla="*/ 2280650 w 3773795"/>
                <a:gd name="connsiteY3728" fmla="*/ 1107175 h 1451770"/>
                <a:gd name="connsiteX3729" fmla="*/ 2275588 w 3773795"/>
                <a:gd name="connsiteY3729" fmla="*/ 1107523 h 1451770"/>
                <a:gd name="connsiteX3730" fmla="*/ 2272589 w 3773795"/>
                <a:gd name="connsiteY3730" fmla="*/ 1107356 h 1451770"/>
                <a:gd name="connsiteX3731" fmla="*/ 2271651 w 3773795"/>
                <a:gd name="connsiteY3731" fmla="*/ 1106678 h 1451770"/>
                <a:gd name="connsiteX3732" fmla="*/ 2266148 w 3773795"/>
                <a:gd name="connsiteY3732" fmla="*/ 1107689 h 1451770"/>
                <a:gd name="connsiteX3733" fmla="*/ 2258520 w 3773795"/>
                <a:gd name="connsiteY3733" fmla="*/ 1109732 h 1451770"/>
                <a:gd name="connsiteX3734" fmla="*/ 2251036 w 3773795"/>
                <a:gd name="connsiteY3734" fmla="*/ 1111734 h 1451770"/>
                <a:gd name="connsiteX3735" fmla="*/ 2241748 w 3773795"/>
                <a:gd name="connsiteY3735" fmla="*/ 1112710 h 1451770"/>
                <a:gd name="connsiteX3736" fmla="*/ 2235527 w 3773795"/>
                <a:gd name="connsiteY3736" fmla="*/ 1116096 h 1451770"/>
                <a:gd name="connsiteX3737" fmla="*/ 2229274 w 3773795"/>
                <a:gd name="connsiteY3737" fmla="*/ 1122202 h 1451770"/>
                <a:gd name="connsiteX3738" fmla="*/ 2224782 w 3773795"/>
                <a:gd name="connsiteY3738" fmla="*/ 1126036 h 1451770"/>
                <a:gd name="connsiteX3739" fmla="*/ 2222049 w 3773795"/>
                <a:gd name="connsiteY3739" fmla="*/ 1127609 h 1451770"/>
                <a:gd name="connsiteX3740" fmla="*/ 2220939 w 3773795"/>
                <a:gd name="connsiteY3740" fmla="*/ 1129669 h 1451770"/>
                <a:gd name="connsiteX3741" fmla="*/ 2221453 w 3773795"/>
                <a:gd name="connsiteY3741" fmla="*/ 1132213 h 1451770"/>
                <a:gd name="connsiteX3742" fmla="*/ 2223778 w 3773795"/>
                <a:gd name="connsiteY3742" fmla="*/ 1133119 h 1451770"/>
                <a:gd name="connsiteX3743" fmla="*/ 2227920 w 3773795"/>
                <a:gd name="connsiteY3743" fmla="*/ 1132389 h 1451770"/>
                <a:gd name="connsiteX3744" fmla="*/ 2231481 w 3773795"/>
                <a:gd name="connsiteY3744" fmla="*/ 1132745 h 1451770"/>
                <a:gd name="connsiteX3745" fmla="*/ 2234468 w 3773795"/>
                <a:gd name="connsiteY3745" fmla="*/ 1134187 h 1451770"/>
                <a:gd name="connsiteX3746" fmla="*/ 2235419 w 3773795"/>
                <a:gd name="connsiteY3746" fmla="*/ 1136361 h 1451770"/>
                <a:gd name="connsiteX3747" fmla="*/ 2234340 w 3773795"/>
                <a:gd name="connsiteY3747" fmla="*/ 1139266 h 1451770"/>
                <a:gd name="connsiteX3748" fmla="*/ 2234672 w 3773795"/>
                <a:gd name="connsiteY3748" fmla="*/ 1142117 h 1451770"/>
                <a:gd name="connsiteX3749" fmla="*/ 2236422 w 3773795"/>
                <a:gd name="connsiteY3749" fmla="*/ 1144918 h 1451770"/>
                <a:gd name="connsiteX3750" fmla="*/ 2236538 w 3773795"/>
                <a:gd name="connsiteY3750" fmla="*/ 1148146 h 1451770"/>
                <a:gd name="connsiteX3751" fmla="*/ 2235026 w 3773795"/>
                <a:gd name="connsiteY3751" fmla="*/ 1151799 h 1451770"/>
                <a:gd name="connsiteX3752" fmla="*/ 2231248 w 3773795"/>
                <a:gd name="connsiteY3752" fmla="*/ 1155476 h 1451770"/>
                <a:gd name="connsiteX3753" fmla="*/ 2225199 w 3773795"/>
                <a:gd name="connsiteY3753" fmla="*/ 1159178 h 1451770"/>
                <a:gd name="connsiteX3754" fmla="*/ 2221437 w 3773795"/>
                <a:gd name="connsiteY3754" fmla="*/ 1162780 h 1451770"/>
                <a:gd name="connsiteX3755" fmla="*/ 2219229 w 3773795"/>
                <a:gd name="connsiteY3755" fmla="*/ 1168029 h 1451770"/>
                <a:gd name="connsiteX3756" fmla="*/ 2215828 w 3773795"/>
                <a:gd name="connsiteY3756" fmla="*/ 1172578 h 1451770"/>
                <a:gd name="connsiteX3757" fmla="*/ 2214577 w 3773795"/>
                <a:gd name="connsiteY3757" fmla="*/ 1175142 h 1451770"/>
                <a:gd name="connsiteX3758" fmla="*/ 2214342 w 3773795"/>
                <a:gd name="connsiteY3758" fmla="*/ 1177242 h 1451770"/>
                <a:gd name="connsiteX3759" fmla="*/ 2212992 w 3773795"/>
                <a:gd name="connsiteY3759" fmla="*/ 1179510 h 1451770"/>
                <a:gd name="connsiteX3760" fmla="*/ 2210526 w 3773795"/>
                <a:gd name="connsiteY3760" fmla="*/ 1181945 h 1451770"/>
                <a:gd name="connsiteX3761" fmla="*/ 2209174 w 3773795"/>
                <a:gd name="connsiteY3761" fmla="*/ 1184385 h 1451770"/>
                <a:gd name="connsiteX3762" fmla="*/ 2208941 w 3773795"/>
                <a:gd name="connsiteY3762" fmla="*/ 1186830 h 1451770"/>
                <a:gd name="connsiteX3763" fmla="*/ 2207702 w 3773795"/>
                <a:gd name="connsiteY3763" fmla="*/ 1189056 h 1451770"/>
                <a:gd name="connsiteX3764" fmla="*/ 2205454 w 3773795"/>
                <a:gd name="connsiteY3764" fmla="*/ 1191061 h 1451770"/>
                <a:gd name="connsiteX3765" fmla="*/ 2204052 w 3773795"/>
                <a:gd name="connsiteY3765" fmla="*/ 1193181 h 1451770"/>
                <a:gd name="connsiteX3766" fmla="*/ 2203504 w 3773795"/>
                <a:gd name="connsiteY3766" fmla="*/ 1195411 h 1451770"/>
                <a:gd name="connsiteX3767" fmla="*/ 2202638 w 3773795"/>
                <a:gd name="connsiteY3767" fmla="*/ 1196911 h 1451770"/>
                <a:gd name="connsiteX3768" fmla="*/ 2201466 w 3773795"/>
                <a:gd name="connsiteY3768" fmla="*/ 1197680 h 1451770"/>
                <a:gd name="connsiteX3769" fmla="*/ 2202090 w 3773795"/>
                <a:gd name="connsiteY3769" fmla="*/ 1198439 h 1451770"/>
                <a:gd name="connsiteX3770" fmla="*/ 2204514 w 3773795"/>
                <a:gd name="connsiteY3770" fmla="*/ 1199190 h 1451770"/>
                <a:gd name="connsiteX3771" fmla="*/ 2205503 w 3773795"/>
                <a:gd name="connsiteY3771" fmla="*/ 1201362 h 1451770"/>
                <a:gd name="connsiteX3772" fmla="*/ 2205056 w 3773795"/>
                <a:gd name="connsiteY3772" fmla="*/ 1204951 h 1451770"/>
                <a:gd name="connsiteX3773" fmla="*/ 2203593 w 3773795"/>
                <a:gd name="connsiteY3773" fmla="*/ 1207510 h 1451770"/>
                <a:gd name="connsiteX3774" fmla="*/ 2201107 w 3773795"/>
                <a:gd name="connsiteY3774" fmla="*/ 1209041 h 1451770"/>
                <a:gd name="connsiteX3775" fmla="*/ 2197393 w 3773795"/>
                <a:gd name="connsiteY3775" fmla="*/ 1210037 h 1451770"/>
                <a:gd name="connsiteX3776" fmla="*/ 2192450 w 3773795"/>
                <a:gd name="connsiteY3776" fmla="*/ 1210500 h 1451770"/>
                <a:gd name="connsiteX3777" fmla="*/ 2185719 w 3773795"/>
                <a:gd name="connsiteY3777" fmla="*/ 1213912 h 1451770"/>
                <a:gd name="connsiteX3778" fmla="*/ 2179861 w 3773795"/>
                <a:gd name="connsiteY3778" fmla="*/ 1218280 h 1451770"/>
                <a:gd name="connsiteX3779" fmla="*/ 2172936 w 3773795"/>
                <a:gd name="connsiteY3779" fmla="*/ 1223431 h 1451770"/>
                <a:gd name="connsiteX3780" fmla="*/ 2171590 w 3773795"/>
                <a:gd name="connsiteY3780" fmla="*/ 1223430 h 1451770"/>
                <a:gd name="connsiteX3781" fmla="*/ 2169066 w 3773795"/>
                <a:gd name="connsiteY3781" fmla="*/ 1222789 h 1451770"/>
                <a:gd name="connsiteX3782" fmla="*/ 2164173 w 3773795"/>
                <a:gd name="connsiteY3782" fmla="*/ 1220676 h 1451770"/>
                <a:gd name="connsiteX3783" fmla="*/ 2159053 w 3773795"/>
                <a:gd name="connsiteY3783" fmla="*/ 1220232 h 1451770"/>
                <a:gd name="connsiteX3784" fmla="*/ 2154101 w 3773795"/>
                <a:gd name="connsiteY3784" fmla="*/ 1218274 h 1451770"/>
                <a:gd name="connsiteX3785" fmla="*/ 2151166 w 3773795"/>
                <a:gd name="connsiteY3785" fmla="*/ 1216984 h 1451770"/>
                <a:gd name="connsiteX3786" fmla="*/ 2146619 w 3773795"/>
                <a:gd name="connsiteY3786" fmla="*/ 1214509 h 1451770"/>
                <a:gd name="connsiteX3787" fmla="*/ 2145475 w 3773795"/>
                <a:gd name="connsiteY3787" fmla="*/ 1212974 h 1451770"/>
                <a:gd name="connsiteX3788" fmla="*/ 2143697 w 3773795"/>
                <a:gd name="connsiteY3788" fmla="*/ 1211726 h 1451770"/>
                <a:gd name="connsiteX3789" fmla="*/ 2139275 w 3773795"/>
                <a:gd name="connsiteY3789" fmla="*/ 1210060 h 1451770"/>
                <a:gd name="connsiteX3790" fmla="*/ 2136304 w 3773795"/>
                <a:gd name="connsiteY3790" fmla="*/ 1209160 h 1451770"/>
                <a:gd name="connsiteX3791" fmla="*/ 2134485 w 3773795"/>
                <a:gd name="connsiteY3791" fmla="*/ 1209116 h 1451770"/>
                <a:gd name="connsiteX3792" fmla="*/ 2129873 w 3773795"/>
                <a:gd name="connsiteY3792" fmla="*/ 1210808 h 1451770"/>
                <a:gd name="connsiteX3793" fmla="*/ 2126982 w 3773795"/>
                <a:gd name="connsiteY3793" fmla="*/ 1212142 h 1451770"/>
                <a:gd name="connsiteX3794" fmla="*/ 2125270 w 3773795"/>
                <a:gd name="connsiteY3794" fmla="*/ 1212871 h 1451770"/>
                <a:gd name="connsiteX3795" fmla="*/ 2122399 w 3773795"/>
                <a:gd name="connsiteY3795" fmla="*/ 1212715 h 1451770"/>
                <a:gd name="connsiteX3796" fmla="*/ 2118889 w 3773795"/>
                <a:gd name="connsiteY3796" fmla="*/ 1212413 h 1451770"/>
                <a:gd name="connsiteX3797" fmla="*/ 2117469 w 3773795"/>
                <a:gd name="connsiteY3797" fmla="*/ 1211973 h 1451770"/>
                <a:gd name="connsiteX3798" fmla="*/ 2115468 w 3773795"/>
                <a:gd name="connsiteY3798" fmla="*/ 1210902 h 1451770"/>
                <a:gd name="connsiteX3799" fmla="*/ 2111566 w 3773795"/>
                <a:gd name="connsiteY3799" fmla="*/ 1207711 h 1451770"/>
                <a:gd name="connsiteX3800" fmla="*/ 2109471 w 3773795"/>
                <a:gd name="connsiteY3800" fmla="*/ 1205424 h 1451770"/>
                <a:gd name="connsiteX3801" fmla="*/ 2106735 w 3773795"/>
                <a:gd name="connsiteY3801" fmla="*/ 1204138 h 1451770"/>
                <a:gd name="connsiteX3802" fmla="*/ 2103718 w 3773795"/>
                <a:gd name="connsiteY3802" fmla="*/ 1202672 h 1451770"/>
                <a:gd name="connsiteX3803" fmla="*/ 2102209 w 3773795"/>
                <a:gd name="connsiteY3803" fmla="*/ 1202325 h 1451770"/>
                <a:gd name="connsiteX3804" fmla="*/ 2099535 w 3773795"/>
                <a:gd name="connsiteY3804" fmla="*/ 1202448 h 1451770"/>
                <a:gd name="connsiteX3805" fmla="*/ 2095828 w 3773795"/>
                <a:gd name="connsiteY3805" fmla="*/ 1202042 h 1451770"/>
                <a:gd name="connsiteX3806" fmla="*/ 2093854 w 3773795"/>
                <a:gd name="connsiteY3806" fmla="*/ 1201494 h 1451770"/>
                <a:gd name="connsiteX3807" fmla="*/ 2092189 w 3773795"/>
                <a:gd name="connsiteY3807" fmla="*/ 1201990 h 1451770"/>
                <a:gd name="connsiteX3808" fmla="*/ 2088849 w 3773795"/>
                <a:gd name="connsiteY3808" fmla="*/ 1203510 h 1451770"/>
                <a:gd name="connsiteX3809" fmla="*/ 2084657 w 3773795"/>
                <a:gd name="connsiteY3809" fmla="*/ 1206507 h 1451770"/>
                <a:gd name="connsiteX3810" fmla="*/ 2081369 w 3773795"/>
                <a:gd name="connsiteY3810" fmla="*/ 1207651 h 1451770"/>
                <a:gd name="connsiteX3811" fmla="*/ 2077871 w 3773795"/>
                <a:gd name="connsiteY3811" fmla="*/ 1209224 h 1451770"/>
                <a:gd name="connsiteX3812" fmla="*/ 2075025 w 3773795"/>
                <a:gd name="connsiteY3812" fmla="*/ 1211112 h 1451770"/>
                <a:gd name="connsiteX3813" fmla="*/ 2072229 w 3773795"/>
                <a:gd name="connsiteY3813" fmla="*/ 1213052 h 1451770"/>
                <a:gd name="connsiteX3814" fmla="*/ 2068803 w 3773795"/>
                <a:gd name="connsiteY3814" fmla="*/ 1215275 h 1451770"/>
                <a:gd name="connsiteX3815" fmla="*/ 2067210 w 3773795"/>
                <a:gd name="connsiteY3815" fmla="*/ 1218287 h 1451770"/>
                <a:gd name="connsiteX3816" fmla="*/ 2066402 w 3773795"/>
                <a:gd name="connsiteY3816" fmla="*/ 1220479 h 1451770"/>
                <a:gd name="connsiteX3817" fmla="*/ 2063290 w 3773795"/>
                <a:gd name="connsiteY3817" fmla="*/ 1221830 h 1451770"/>
                <a:gd name="connsiteX3818" fmla="*/ 2060894 w 3773795"/>
                <a:gd name="connsiteY3818" fmla="*/ 1223141 h 1451770"/>
                <a:gd name="connsiteX3819" fmla="*/ 2058481 w 3773795"/>
                <a:gd name="connsiteY3819" fmla="*/ 1223609 h 1451770"/>
                <a:gd name="connsiteX3820" fmla="*/ 2054005 w 3773795"/>
                <a:gd name="connsiteY3820" fmla="*/ 1222890 h 1451770"/>
                <a:gd name="connsiteX3821" fmla="*/ 2051358 w 3773795"/>
                <a:gd name="connsiteY3821" fmla="*/ 1223399 h 1451770"/>
                <a:gd name="connsiteX3822" fmla="*/ 2044823 w 3773795"/>
                <a:gd name="connsiteY3822" fmla="*/ 1225992 h 1451770"/>
                <a:gd name="connsiteX3823" fmla="*/ 2041613 w 3773795"/>
                <a:gd name="connsiteY3823" fmla="*/ 1226227 h 1451770"/>
                <a:gd name="connsiteX3824" fmla="*/ 2039377 w 3773795"/>
                <a:gd name="connsiteY3824" fmla="*/ 1226583 h 1451770"/>
                <a:gd name="connsiteX3825" fmla="*/ 2037214 w 3773795"/>
                <a:gd name="connsiteY3825" fmla="*/ 1226750 h 1451770"/>
                <a:gd name="connsiteX3826" fmla="*/ 2033660 w 3773795"/>
                <a:gd name="connsiteY3826" fmla="*/ 1227362 h 1451770"/>
                <a:gd name="connsiteX3827" fmla="*/ 2032269 w 3773795"/>
                <a:gd name="connsiteY3827" fmla="*/ 1227805 h 1451770"/>
                <a:gd name="connsiteX3828" fmla="*/ 2030442 w 3773795"/>
                <a:gd name="connsiteY3828" fmla="*/ 1228330 h 1451770"/>
                <a:gd name="connsiteX3829" fmla="*/ 2028393 w 3773795"/>
                <a:gd name="connsiteY3829" fmla="*/ 1227951 h 1451770"/>
                <a:gd name="connsiteX3830" fmla="*/ 2025465 w 3773795"/>
                <a:gd name="connsiteY3830" fmla="*/ 1229428 h 1451770"/>
                <a:gd name="connsiteX3831" fmla="*/ 2017144 w 3773795"/>
                <a:gd name="connsiteY3831" fmla="*/ 1233380 h 1451770"/>
                <a:gd name="connsiteX3832" fmla="*/ 2014531 w 3773795"/>
                <a:gd name="connsiteY3832" fmla="*/ 1234043 h 1451770"/>
                <a:gd name="connsiteX3833" fmla="*/ 2012791 w 3773795"/>
                <a:gd name="connsiteY3833" fmla="*/ 1234196 h 1451770"/>
                <a:gd name="connsiteX3834" fmla="*/ 2010547 w 3773795"/>
                <a:gd name="connsiteY3834" fmla="*/ 1232783 h 1451770"/>
                <a:gd name="connsiteX3835" fmla="*/ 2008298 w 3773795"/>
                <a:gd name="connsiteY3835" fmla="*/ 1231841 h 1451770"/>
                <a:gd name="connsiteX3836" fmla="*/ 2005943 w 3773795"/>
                <a:gd name="connsiteY3836" fmla="*/ 1231959 h 1451770"/>
                <a:gd name="connsiteX3837" fmla="*/ 2003258 w 3773795"/>
                <a:gd name="connsiteY3837" fmla="*/ 1233258 h 1451770"/>
                <a:gd name="connsiteX3838" fmla="*/ 1998716 w 3773795"/>
                <a:gd name="connsiteY3838" fmla="*/ 1232252 h 1451770"/>
                <a:gd name="connsiteX3839" fmla="*/ 1993318 w 3773795"/>
                <a:gd name="connsiteY3839" fmla="*/ 1231288 h 1451770"/>
                <a:gd name="connsiteX3840" fmla="*/ 1988416 w 3773795"/>
                <a:gd name="connsiteY3840" fmla="*/ 1230413 h 1451770"/>
                <a:gd name="connsiteX3841" fmla="*/ 1986758 w 3773795"/>
                <a:gd name="connsiteY3841" fmla="*/ 1229656 h 1451770"/>
                <a:gd name="connsiteX3842" fmla="*/ 1981960 w 3773795"/>
                <a:gd name="connsiteY3842" fmla="*/ 1228551 h 1451770"/>
                <a:gd name="connsiteX3843" fmla="*/ 1974955 w 3773795"/>
                <a:gd name="connsiteY3843" fmla="*/ 1228539 h 1451770"/>
                <a:gd name="connsiteX3844" fmla="*/ 1970822 w 3773795"/>
                <a:gd name="connsiteY3844" fmla="*/ 1228530 h 1451770"/>
                <a:gd name="connsiteX3845" fmla="*/ 1968182 w 3773795"/>
                <a:gd name="connsiteY3845" fmla="*/ 1228898 h 1451770"/>
                <a:gd name="connsiteX3846" fmla="*/ 1966165 w 3773795"/>
                <a:gd name="connsiteY3846" fmla="*/ 1228362 h 1451770"/>
                <a:gd name="connsiteX3847" fmla="*/ 1963611 w 3773795"/>
                <a:gd name="connsiteY3847" fmla="*/ 1226789 h 1451770"/>
                <a:gd name="connsiteX3848" fmla="*/ 1959325 w 3773795"/>
                <a:gd name="connsiteY3848" fmla="*/ 1223106 h 1451770"/>
                <a:gd name="connsiteX3849" fmla="*/ 1956781 w 3773795"/>
                <a:gd name="connsiteY3849" fmla="*/ 1222020 h 1451770"/>
                <a:gd name="connsiteX3850" fmla="*/ 1955361 w 3773795"/>
                <a:gd name="connsiteY3850" fmla="*/ 1221119 h 1451770"/>
                <a:gd name="connsiteX3851" fmla="*/ 1954824 w 3773795"/>
                <a:gd name="connsiteY3851" fmla="*/ 1219599 h 1451770"/>
                <a:gd name="connsiteX3852" fmla="*/ 1953848 w 3773795"/>
                <a:gd name="connsiteY3852" fmla="*/ 1219409 h 1451770"/>
                <a:gd name="connsiteX3853" fmla="*/ 1953213 w 3773795"/>
                <a:gd name="connsiteY3853" fmla="*/ 1218330 h 1451770"/>
                <a:gd name="connsiteX3854" fmla="*/ 1953259 w 3773795"/>
                <a:gd name="connsiteY3854" fmla="*/ 1216900 h 1451770"/>
                <a:gd name="connsiteX3855" fmla="*/ 1953172 w 3773795"/>
                <a:gd name="connsiteY3855" fmla="*/ 1213781 h 1451770"/>
                <a:gd name="connsiteX3856" fmla="*/ 1953460 w 3773795"/>
                <a:gd name="connsiteY3856" fmla="*/ 1211600 h 1451770"/>
                <a:gd name="connsiteX3857" fmla="*/ 1952769 w 3773795"/>
                <a:gd name="connsiteY3857" fmla="*/ 1210933 h 1451770"/>
                <a:gd name="connsiteX3858" fmla="*/ 1949899 w 3773795"/>
                <a:gd name="connsiteY3858" fmla="*/ 1210581 h 1451770"/>
                <a:gd name="connsiteX3859" fmla="*/ 1946453 w 3773795"/>
                <a:gd name="connsiteY3859" fmla="*/ 1209915 h 1451770"/>
                <a:gd name="connsiteX3860" fmla="*/ 1940175 w 3773795"/>
                <a:gd name="connsiteY3860" fmla="*/ 1209812 h 1451770"/>
                <a:gd name="connsiteX3861" fmla="*/ 1937659 w 3773795"/>
                <a:gd name="connsiteY3861" fmla="*/ 1209733 h 1451770"/>
                <a:gd name="connsiteX3862" fmla="*/ 1935664 w 3773795"/>
                <a:gd name="connsiteY3862" fmla="*/ 1208474 h 1451770"/>
                <a:gd name="connsiteX3863" fmla="*/ 1933391 w 3773795"/>
                <a:gd name="connsiteY3863" fmla="*/ 1206930 h 1451770"/>
                <a:gd name="connsiteX3864" fmla="*/ 1931203 w 3773795"/>
                <a:gd name="connsiteY3864" fmla="*/ 1203744 h 1451770"/>
                <a:gd name="connsiteX3865" fmla="*/ 1929266 w 3773795"/>
                <a:gd name="connsiteY3865" fmla="*/ 1202250 h 1451770"/>
                <a:gd name="connsiteX3866" fmla="*/ 1926113 w 3773795"/>
                <a:gd name="connsiteY3866" fmla="*/ 1200387 h 1451770"/>
                <a:gd name="connsiteX3867" fmla="*/ 1923090 w 3773795"/>
                <a:gd name="connsiteY3867" fmla="*/ 1199918 h 1451770"/>
                <a:gd name="connsiteX3868" fmla="*/ 1918536 w 3773795"/>
                <a:gd name="connsiteY3868" fmla="*/ 1200243 h 1451770"/>
                <a:gd name="connsiteX3869" fmla="*/ 1915206 w 3773795"/>
                <a:gd name="connsiteY3869" fmla="*/ 1200620 h 1451770"/>
                <a:gd name="connsiteX3870" fmla="*/ 1912214 w 3773795"/>
                <a:gd name="connsiteY3870" fmla="*/ 1199809 h 1451770"/>
                <a:gd name="connsiteX3871" fmla="*/ 1910311 w 3773795"/>
                <a:gd name="connsiteY3871" fmla="*/ 1198784 h 1451770"/>
                <a:gd name="connsiteX3872" fmla="*/ 1907629 w 3773795"/>
                <a:gd name="connsiteY3872" fmla="*/ 1197698 h 1451770"/>
                <a:gd name="connsiteX3873" fmla="*/ 1903591 w 3773795"/>
                <a:gd name="connsiteY3873" fmla="*/ 1197443 h 1451770"/>
                <a:gd name="connsiteX3874" fmla="*/ 1900253 w 3773795"/>
                <a:gd name="connsiteY3874" fmla="*/ 1196657 h 1451770"/>
                <a:gd name="connsiteX3875" fmla="*/ 1896759 w 3773795"/>
                <a:gd name="connsiteY3875" fmla="*/ 1195715 h 1451770"/>
                <a:gd name="connsiteX3876" fmla="*/ 1894174 w 3773795"/>
                <a:gd name="connsiteY3876" fmla="*/ 1196099 h 1451770"/>
                <a:gd name="connsiteX3877" fmla="*/ 1892388 w 3773795"/>
                <a:gd name="connsiteY3877" fmla="*/ 1196996 h 1451770"/>
                <a:gd name="connsiteX3878" fmla="*/ 1890371 w 3773795"/>
                <a:gd name="connsiteY3878" fmla="*/ 1198146 h 1451770"/>
                <a:gd name="connsiteX3879" fmla="*/ 1887767 w 3773795"/>
                <a:gd name="connsiteY3879" fmla="*/ 1198350 h 1451770"/>
                <a:gd name="connsiteX3880" fmla="*/ 1881319 w 3773795"/>
                <a:gd name="connsiteY3880" fmla="*/ 1199540 h 1451770"/>
                <a:gd name="connsiteX3881" fmla="*/ 1879352 w 3773795"/>
                <a:gd name="connsiteY3881" fmla="*/ 1200254 h 1451770"/>
                <a:gd name="connsiteX3882" fmla="*/ 1876475 w 3773795"/>
                <a:gd name="connsiteY3882" fmla="*/ 1200574 h 1451770"/>
                <a:gd name="connsiteX3883" fmla="*/ 1873990 w 3773795"/>
                <a:gd name="connsiteY3883" fmla="*/ 1201468 h 1451770"/>
                <a:gd name="connsiteX3884" fmla="*/ 1871913 w 3773795"/>
                <a:gd name="connsiteY3884" fmla="*/ 1203229 h 1451770"/>
                <a:gd name="connsiteX3885" fmla="*/ 1870138 w 3773795"/>
                <a:gd name="connsiteY3885" fmla="*/ 1204532 h 1451770"/>
                <a:gd name="connsiteX3886" fmla="*/ 1867905 w 3773795"/>
                <a:gd name="connsiteY3886" fmla="*/ 1204971 h 1451770"/>
                <a:gd name="connsiteX3887" fmla="*/ 1865247 w 3773795"/>
                <a:gd name="connsiteY3887" fmla="*/ 1204883 h 1451770"/>
                <a:gd name="connsiteX3888" fmla="*/ 1862984 w 3773795"/>
                <a:gd name="connsiteY3888" fmla="*/ 1204463 h 1451770"/>
                <a:gd name="connsiteX3889" fmla="*/ 1861800 w 3773795"/>
                <a:gd name="connsiteY3889" fmla="*/ 1204339 h 1451770"/>
                <a:gd name="connsiteX3890" fmla="*/ 1860045 w 3773795"/>
                <a:gd name="connsiteY3890" fmla="*/ 1204982 h 1451770"/>
                <a:gd name="connsiteX3891" fmla="*/ 1858047 w 3773795"/>
                <a:gd name="connsiteY3891" fmla="*/ 1205424 h 1451770"/>
                <a:gd name="connsiteX3892" fmla="*/ 1855026 w 3773795"/>
                <a:gd name="connsiteY3892" fmla="*/ 1204662 h 1451770"/>
                <a:gd name="connsiteX3893" fmla="*/ 1853366 w 3773795"/>
                <a:gd name="connsiteY3893" fmla="*/ 1204022 h 1451770"/>
                <a:gd name="connsiteX3894" fmla="*/ 1850783 w 3773795"/>
                <a:gd name="connsiteY3894" fmla="*/ 1203639 h 1451770"/>
                <a:gd name="connsiteX3895" fmla="*/ 1849222 w 3773795"/>
                <a:gd name="connsiteY3895" fmla="*/ 1201788 h 1451770"/>
                <a:gd name="connsiteX3896" fmla="*/ 1847628 w 3773795"/>
                <a:gd name="connsiteY3896" fmla="*/ 1201021 h 1451770"/>
                <a:gd name="connsiteX3897" fmla="*/ 1844925 w 3773795"/>
                <a:gd name="connsiteY3897" fmla="*/ 1200734 h 1451770"/>
                <a:gd name="connsiteX3898" fmla="*/ 1840949 w 3773795"/>
                <a:gd name="connsiteY3898" fmla="*/ 1199789 h 1451770"/>
                <a:gd name="connsiteX3899" fmla="*/ 1838865 w 3773795"/>
                <a:gd name="connsiteY3899" fmla="*/ 1198824 h 1451770"/>
                <a:gd name="connsiteX3900" fmla="*/ 1837049 w 3773795"/>
                <a:gd name="connsiteY3900" fmla="*/ 1198226 h 1451770"/>
                <a:gd name="connsiteX3901" fmla="*/ 1834020 w 3773795"/>
                <a:gd name="connsiteY3901" fmla="*/ 1196075 h 1451770"/>
                <a:gd name="connsiteX3902" fmla="*/ 1832321 w 3773795"/>
                <a:gd name="connsiteY3902" fmla="*/ 1194206 h 1451770"/>
                <a:gd name="connsiteX3903" fmla="*/ 1830936 w 3773795"/>
                <a:gd name="connsiteY3903" fmla="*/ 1193901 h 1451770"/>
                <a:gd name="connsiteX3904" fmla="*/ 1829379 w 3773795"/>
                <a:gd name="connsiteY3904" fmla="*/ 1193667 h 1451770"/>
                <a:gd name="connsiteX3905" fmla="*/ 1828317 w 3773795"/>
                <a:gd name="connsiteY3905" fmla="*/ 1192480 h 1451770"/>
                <a:gd name="connsiteX3906" fmla="*/ 1828259 w 3773795"/>
                <a:gd name="connsiteY3906" fmla="*/ 1191039 h 1451770"/>
                <a:gd name="connsiteX3907" fmla="*/ 1828647 w 3773795"/>
                <a:gd name="connsiteY3907" fmla="*/ 1190141 h 1451770"/>
                <a:gd name="connsiteX3908" fmla="*/ 1828941 w 3773795"/>
                <a:gd name="connsiteY3908" fmla="*/ 1188601 h 1451770"/>
                <a:gd name="connsiteX3909" fmla="*/ 1828056 w 3773795"/>
                <a:gd name="connsiteY3909" fmla="*/ 1187138 h 1451770"/>
                <a:gd name="connsiteX3910" fmla="*/ 1827138 w 3773795"/>
                <a:gd name="connsiteY3910" fmla="*/ 1186482 h 1451770"/>
                <a:gd name="connsiteX3911" fmla="*/ 1826696 w 3773795"/>
                <a:gd name="connsiteY3911" fmla="*/ 1185367 h 1451770"/>
                <a:gd name="connsiteX3912" fmla="*/ 1826941 w 3773795"/>
                <a:gd name="connsiteY3912" fmla="*/ 1183267 h 1451770"/>
                <a:gd name="connsiteX3913" fmla="*/ 1826589 w 3773795"/>
                <a:gd name="connsiteY3913" fmla="*/ 1181141 h 1451770"/>
                <a:gd name="connsiteX3914" fmla="*/ 1826242 w 3773795"/>
                <a:gd name="connsiteY3914" fmla="*/ 1178910 h 1451770"/>
                <a:gd name="connsiteX3915" fmla="*/ 1825300 w 3773795"/>
                <a:gd name="connsiteY3915" fmla="*/ 1177248 h 1451770"/>
                <a:gd name="connsiteX3916" fmla="*/ 1825089 w 3773795"/>
                <a:gd name="connsiteY3916" fmla="*/ 1174071 h 1451770"/>
                <a:gd name="connsiteX3917" fmla="*/ 1825479 w 3773795"/>
                <a:gd name="connsiteY3917" fmla="*/ 1172759 h 1451770"/>
                <a:gd name="connsiteX3918" fmla="*/ 1825382 w 3773795"/>
                <a:gd name="connsiteY3918" fmla="*/ 1171208 h 1451770"/>
                <a:gd name="connsiteX3919" fmla="*/ 1824407 w 3773795"/>
                <a:gd name="connsiteY3919" fmla="*/ 1170044 h 1451770"/>
                <a:gd name="connsiteX3920" fmla="*/ 1821480 w 3773795"/>
                <a:gd name="connsiteY3920" fmla="*/ 1169200 h 1451770"/>
                <a:gd name="connsiteX3921" fmla="*/ 1817987 w 3773795"/>
                <a:gd name="connsiteY3921" fmla="*/ 1168060 h 1451770"/>
                <a:gd name="connsiteX3922" fmla="*/ 1812452 w 3773795"/>
                <a:gd name="connsiteY3922" fmla="*/ 1166705 h 1451770"/>
                <a:gd name="connsiteX3923" fmla="*/ 1810096 w 3773795"/>
                <a:gd name="connsiteY3923" fmla="*/ 1166579 h 1451770"/>
                <a:gd name="connsiteX3924" fmla="*/ 1808259 w 3773795"/>
                <a:gd name="connsiteY3924" fmla="*/ 1167133 h 1451770"/>
                <a:gd name="connsiteX3925" fmla="*/ 1806561 w 3773795"/>
                <a:gd name="connsiteY3925" fmla="*/ 1166483 h 1451770"/>
                <a:gd name="connsiteX3926" fmla="*/ 1804764 w 3773795"/>
                <a:gd name="connsiteY3926" fmla="*/ 1165351 h 1451770"/>
                <a:gd name="connsiteX3927" fmla="*/ 1801716 w 3773795"/>
                <a:gd name="connsiteY3927" fmla="*/ 1164182 h 1451770"/>
                <a:gd name="connsiteX3928" fmla="*/ 1797697 w 3773795"/>
                <a:gd name="connsiteY3928" fmla="*/ 1162675 h 1451770"/>
                <a:gd name="connsiteX3929" fmla="*/ 1793432 w 3773795"/>
                <a:gd name="connsiteY3929" fmla="*/ 1160988 h 1451770"/>
                <a:gd name="connsiteX3930" fmla="*/ 1789573 w 3773795"/>
                <a:gd name="connsiteY3930" fmla="*/ 1159459 h 1451770"/>
                <a:gd name="connsiteX3931" fmla="*/ 1788085 w 3773795"/>
                <a:gd name="connsiteY3931" fmla="*/ 1159088 h 1451770"/>
                <a:gd name="connsiteX3932" fmla="*/ 1782810 w 3773795"/>
                <a:gd name="connsiteY3932" fmla="*/ 1158977 h 1451770"/>
                <a:gd name="connsiteX3933" fmla="*/ 1778481 w 3773795"/>
                <a:gd name="connsiteY3933" fmla="*/ 1158763 h 1451770"/>
                <a:gd name="connsiteX3934" fmla="*/ 1775984 w 3773795"/>
                <a:gd name="connsiteY3934" fmla="*/ 1158220 h 1451770"/>
                <a:gd name="connsiteX3935" fmla="*/ 1773026 w 3773795"/>
                <a:gd name="connsiteY3935" fmla="*/ 1156096 h 1451770"/>
                <a:gd name="connsiteX3936" fmla="*/ 1771508 w 3773795"/>
                <a:gd name="connsiteY3936" fmla="*/ 1154794 h 1451770"/>
                <a:gd name="connsiteX3937" fmla="*/ 1769156 w 3773795"/>
                <a:gd name="connsiteY3937" fmla="*/ 1154178 h 1451770"/>
                <a:gd name="connsiteX3938" fmla="*/ 1767375 w 3773795"/>
                <a:gd name="connsiteY3938" fmla="*/ 1153960 h 1451770"/>
                <a:gd name="connsiteX3939" fmla="*/ 1764604 w 3773795"/>
                <a:gd name="connsiteY3939" fmla="*/ 1153262 h 1451770"/>
                <a:gd name="connsiteX3940" fmla="*/ 1759500 w 3773795"/>
                <a:gd name="connsiteY3940" fmla="*/ 1151035 h 1451770"/>
                <a:gd name="connsiteX3941" fmla="*/ 1757625 w 3773795"/>
                <a:gd name="connsiteY3941" fmla="*/ 1149971 h 1451770"/>
                <a:gd name="connsiteX3942" fmla="*/ 1756362 w 3773795"/>
                <a:gd name="connsiteY3942" fmla="*/ 1149955 h 1451770"/>
                <a:gd name="connsiteX3943" fmla="*/ 1754677 w 3773795"/>
                <a:gd name="connsiteY3943" fmla="*/ 1147993 h 1451770"/>
                <a:gd name="connsiteX3944" fmla="*/ 1753242 w 3773795"/>
                <a:gd name="connsiteY3944" fmla="*/ 1147531 h 1451770"/>
                <a:gd name="connsiteX3945" fmla="*/ 1752257 w 3773795"/>
                <a:gd name="connsiteY3945" fmla="*/ 1148929 h 1451770"/>
                <a:gd name="connsiteX3946" fmla="*/ 1751237 w 3773795"/>
                <a:gd name="connsiteY3946" fmla="*/ 1152259 h 1451770"/>
                <a:gd name="connsiteX3947" fmla="*/ 1750300 w 3773795"/>
                <a:gd name="connsiteY3947" fmla="*/ 1153807 h 1451770"/>
                <a:gd name="connsiteX3948" fmla="*/ 1747655 w 3773795"/>
                <a:gd name="connsiteY3948" fmla="*/ 1156874 h 1451770"/>
                <a:gd name="connsiteX3949" fmla="*/ 1741291 w 3773795"/>
                <a:gd name="connsiteY3949" fmla="*/ 1159337 h 1451770"/>
                <a:gd name="connsiteX3950" fmla="*/ 1740195 w 3773795"/>
                <a:gd name="connsiteY3950" fmla="*/ 1160614 h 1451770"/>
                <a:gd name="connsiteX3951" fmla="*/ 1739614 w 3773795"/>
                <a:gd name="connsiteY3951" fmla="*/ 1161783 h 1451770"/>
                <a:gd name="connsiteX3952" fmla="*/ 1738744 w 3773795"/>
                <a:gd name="connsiteY3952" fmla="*/ 1163435 h 1451770"/>
                <a:gd name="connsiteX3953" fmla="*/ 1738355 w 3773795"/>
                <a:gd name="connsiteY3953" fmla="*/ 1165576 h 1451770"/>
                <a:gd name="connsiteX3954" fmla="*/ 1737575 w 3773795"/>
                <a:gd name="connsiteY3954" fmla="*/ 1166160 h 1451770"/>
                <a:gd name="connsiteX3955" fmla="*/ 1735772 w 3773795"/>
                <a:gd name="connsiteY3955" fmla="*/ 1166225 h 1451770"/>
                <a:gd name="connsiteX3956" fmla="*/ 1734323 w 3773795"/>
                <a:gd name="connsiteY3956" fmla="*/ 1167212 h 1451770"/>
                <a:gd name="connsiteX3957" fmla="*/ 1733252 w 3773795"/>
                <a:gd name="connsiteY3957" fmla="*/ 1169352 h 1451770"/>
                <a:gd name="connsiteX3958" fmla="*/ 1732318 w 3773795"/>
                <a:gd name="connsiteY3958" fmla="*/ 1170191 h 1451770"/>
                <a:gd name="connsiteX3959" fmla="*/ 1731794 w 3773795"/>
                <a:gd name="connsiteY3959" fmla="*/ 1172184 h 1451770"/>
                <a:gd name="connsiteX3960" fmla="*/ 1731885 w 3773795"/>
                <a:gd name="connsiteY3960" fmla="*/ 1173056 h 1451770"/>
                <a:gd name="connsiteX3961" fmla="*/ 1731676 w 3773795"/>
                <a:gd name="connsiteY3961" fmla="*/ 1174018 h 1451770"/>
                <a:gd name="connsiteX3962" fmla="*/ 1731521 w 3773795"/>
                <a:gd name="connsiteY3962" fmla="*/ 1175561 h 1451770"/>
                <a:gd name="connsiteX3963" fmla="*/ 1729860 w 3773795"/>
                <a:gd name="connsiteY3963" fmla="*/ 1178881 h 1451770"/>
                <a:gd name="connsiteX3964" fmla="*/ 1729629 w 3773795"/>
                <a:gd name="connsiteY3964" fmla="*/ 1180821 h 1451770"/>
                <a:gd name="connsiteX3965" fmla="*/ 1730311 w 3773795"/>
                <a:gd name="connsiteY3965" fmla="*/ 1182045 h 1451770"/>
                <a:gd name="connsiteX3966" fmla="*/ 1731719 w 3773795"/>
                <a:gd name="connsiteY3966" fmla="*/ 1183685 h 1451770"/>
                <a:gd name="connsiteX3967" fmla="*/ 1732456 w 3773795"/>
                <a:gd name="connsiteY3967" fmla="*/ 1184617 h 1451770"/>
                <a:gd name="connsiteX3968" fmla="*/ 1732700 w 3773795"/>
                <a:gd name="connsiteY3968" fmla="*/ 1185711 h 1451770"/>
                <a:gd name="connsiteX3969" fmla="*/ 1732649 w 3773795"/>
                <a:gd name="connsiteY3969" fmla="*/ 1187125 h 1451770"/>
                <a:gd name="connsiteX3970" fmla="*/ 1733517 w 3773795"/>
                <a:gd name="connsiteY3970" fmla="*/ 1189078 h 1451770"/>
                <a:gd name="connsiteX3971" fmla="*/ 1734151 w 3773795"/>
                <a:gd name="connsiteY3971" fmla="*/ 1190749 h 1451770"/>
                <a:gd name="connsiteX3972" fmla="*/ 1735237 w 3773795"/>
                <a:gd name="connsiteY3972" fmla="*/ 1191936 h 1451770"/>
                <a:gd name="connsiteX3973" fmla="*/ 1736699 w 3773795"/>
                <a:gd name="connsiteY3973" fmla="*/ 1192961 h 1451770"/>
                <a:gd name="connsiteX3974" fmla="*/ 1738368 w 3773795"/>
                <a:gd name="connsiteY3974" fmla="*/ 1193291 h 1451770"/>
                <a:gd name="connsiteX3975" fmla="*/ 1739672 w 3773795"/>
                <a:gd name="connsiteY3975" fmla="*/ 1193986 h 1451770"/>
                <a:gd name="connsiteX3976" fmla="*/ 1739964 w 3773795"/>
                <a:gd name="connsiteY3976" fmla="*/ 1195331 h 1451770"/>
                <a:gd name="connsiteX3977" fmla="*/ 1739625 w 3773795"/>
                <a:gd name="connsiteY3977" fmla="*/ 1197187 h 1451770"/>
                <a:gd name="connsiteX3978" fmla="*/ 1739026 w 3773795"/>
                <a:gd name="connsiteY3978" fmla="*/ 1200682 h 1451770"/>
                <a:gd name="connsiteX3979" fmla="*/ 1737914 w 3773795"/>
                <a:gd name="connsiteY3979" fmla="*/ 1202846 h 1451770"/>
                <a:gd name="connsiteX3980" fmla="*/ 1737254 w 3773795"/>
                <a:gd name="connsiteY3980" fmla="*/ 1204210 h 1451770"/>
                <a:gd name="connsiteX3981" fmla="*/ 1736189 w 3773795"/>
                <a:gd name="connsiteY3981" fmla="*/ 1206349 h 1451770"/>
                <a:gd name="connsiteX3982" fmla="*/ 1735779 w 3773795"/>
                <a:gd name="connsiteY3982" fmla="*/ 1207180 h 1451770"/>
                <a:gd name="connsiteX3983" fmla="*/ 1733578 w 3773795"/>
                <a:gd name="connsiteY3983" fmla="*/ 1209016 h 1451770"/>
                <a:gd name="connsiteX3984" fmla="*/ 1732090 w 3773795"/>
                <a:gd name="connsiteY3984" fmla="*/ 1209520 h 1451770"/>
                <a:gd name="connsiteX3985" fmla="*/ 1730261 w 3773795"/>
                <a:gd name="connsiteY3985" fmla="*/ 1210963 h 1451770"/>
                <a:gd name="connsiteX3986" fmla="*/ 1728750 w 3773795"/>
                <a:gd name="connsiteY3986" fmla="*/ 1211028 h 1451770"/>
                <a:gd name="connsiteX3987" fmla="*/ 1727316 w 3773795"/>
                <a:gd name="connsiteY3987" fmla="*/ 1211025 h 1451770"/>
                <a:gd name="connsiteX3988" fmla="*/ 1725775 w 3773795"/>
                <a:gd name="connsiteY3988" fmla="*/ 1211343 h 1451770"/>
                <a:gd name="connsiteX3989" fmla="*/ 1724412 w 3773795"/>
                <a:gd name="connsiteY3989" fmla="*/ 1211981 h 1451770"/>
                <a:gd name="connsiteX3990" fmla="*/ 1723338 w 3773795"/>
                <a:gd name="connsiteY3990" fmla="*/ 1213951 h 1451770"/>
                <a:gd name="connsiteX3991" fmla="*/ 1720631 w 3773795"/>
                <a:gd name="connsiteY3991" fmla="*/ 1215970 h 1451770"/>
                <a:gd name="connsiteX3992" fmla="*/ 1719335 w 3773795"/>
                <a:gd name="connsiteY3992" fmla="*/ 1216879 h 1451770"/>
                <a:gd name="connsiteX3993" fmla="*/ 1715992 w 3773795"/>
                <a:gd name="connsiteY3993" fmla="*/ 1217185 h 1451770"/>
                <a:gd name="connsiteX3994" fmla="*/ 1714407 w 3773795"/>
                <a:gd name="connsiteY3994" fmla="*/ 1216296 h 1451770"/>
                <a:gd name="connsiteX3995" fmla="*/ 1713539 w 3773795"/>
                <a:gd name="connsiteY3995" fmla="*/ 1215049 h 1451770"/>
                <a:gd name="connsiteX3996" fmla="*/ 1712466 w 3773795"/>
                <a:gd name="connsiteY3996" fmla="*/ 1214333 h 1451770"/>
                <a:gd name="connsiteX3997" fmla="*/ 1711065 w 3773795"/>
                <a:gd name="connsiteY3997" fmla="*/ 1212808 h 1451770"/>
                <a:gd name="connsiteX3998" fmla="*/ 1705005 w 3773795"/>
                <a:gd name="connsiteY3998" fmla="*/ 1211979 h 1451770"/>
                <a:gd name="connsiteX3999" fmla="*/ 1703425 w 3773795"/>
                <a:gd name="connsiteY3999" fmla="*/ 1212374 h 1451770"/>
                <a:gd name="connsiteX4000" fmla="*/ 1702500 w 3773795"/>
                <a:gd name="connsiteY4000" fmla="*/ 1212934 h 1451770"/>
                <a:gd name="connsiteX4001" fmla="*/ 1701280 w 3773795"/>
                <a:gd name="connsiteY4001" fmla="*/ 1212528 h 1451770"/>
                <a:gd name="connsiteX4002" fmla="*/ 1700451 w 3773795"/>
                <a:gd name="connsiteY4002" fmla="*/ 1211773 h 1451770"/>
                <a:gd name="connsiteX4003" fmla="*/ 1699581 w 3773795"/>
                <a:gd name="connsiteY4003" fmla="*/ 1211980 h 1451770"/>
                <a:gd name="connsiteX4004" fmla="*/ 1697696 w 3773795"/>
                <a:gd name="connsiteY4004" fmla="*/ 1212426 h 1451770"/>
                <a:gd name="connsiteX4005" fmla="*/ 1696234 w 3773795"/>
                <a:gd name="connsiteY4005" fmla="*/ 1212280 h 1451770"/>
                <a:gd name="connsiteX4006" fmla="*/ 1694346 w 3773795"/>
                <a:gd name="connsiteY4006" fmla="*/ 1210752 h 1451770"/>
                <a:gd name="connsiteX4007" fmla="*/ 1691738 w 3773795"/>
                <a:gd name="connsiteY4007" fmla="*/ 1209933 h 1451770"/>
                <a:gd name="connsiteX4008" fmla="*/ 1690717 w 3773795"/>
                <a:gd name="connsiteY4008" fmla="*/ 1209464 h 1451770"/>
                <a:gd name="connsiteX4009" fmla="*/ 1689678 w 3773795"/>
                <a:gd name="connsiteY4009" fmla="*/ 1209463 h 1451770"/>
                <a:gd name="connsiteX4010" fmla="*/ 1689036 w 3773795"/>
                <a:gd name="connsiteY4010" fmla="*/ 1210190 h 1451770"/>
                <a:gd name="connsiteX4011" fmla="*/ 1687847 w 3773795"/>
                <a:gd name="connsiteY4011" fmla="*/ 1210581 h 1451770"/>
                <a:gd name="connsiteX4012" fmla="*/ 1687044 w 3773795"/>
                <a:gd name="connsiteY4012" fmla="*/ 1209699 h 1451770"/>
                <a:gd name="connsiteX4013" fmla="*/ 1685994 w 3773795"/>
                <a:gd name="connsiteY4013" fmla="*/ 1209054 h 1451770"/>
                <a:gd name="connsiteX4014" fmla="*/ 1684610 w 3773795"/>
                <a:gd name="connsiteY4014" fmla="*/ 1209066 h 1451770"/>
                <a:gd name="connsiteX4015" fmla="*/ 1682807 w 3773795"/>
                <a:gd name="connsiteY4015" fmla="*/ 1210408 h 1451770"/>
                <a:gd name="connsiteX4016" fmla="*/ 1679698 w 3773795"/>
                <a:gd name="connsiteY4016" fmla="*/ 1211048 h 1451770"/>
                <a:gd name="connsiteX4017" fmla="*/ 1678712 w 3773795"/>
                <a:gd name="connsiteY4017" fmla="*/ 1211988 h 1451770"/>
                <a:gd name="connsiteX4018" fmla="*/ 1676925 w 3773795"/>
                <a:gd name="connsiteY4018" fmla="*/ 1211864 h 1451770"/>
                <a:gd name="connsiteX4019" fmla="*/ 1675683 w 3773795"/>
                <a:gd name="connsiteY4019" fmla="*/ 1211124 h 1451770"/>
                <a:gd name="connsiteX4020" fmla="*/ 1674441 w 3773795"/>
                <a:gd name="connsiteY4020" fmla="*/ 1211039 h 1451770"/>
                <a:gd name="connsiteX4021" fmla="*/ 1670831 w 3773795"/>
                <a:gd name="connsiteY4021" fmla="*/ 1211048 h 1451770"/>
                <a:gd name="connsiteX4022" fmla="*/ 1669619 w 3773795"/>
                <a:gd name="connsiteY4022" fmla="*/ 1211290 h 1451770"/>
                <a:gd name="connsiteX4023" fmla="*/ 1668136 w 3773795"/>
                <a:gd name="connsiteY4023" fmla="*/ 1210536 h 1451770"/>
                <a:gd name="connsiteX4024" fmla="*/ 1667441 w 3773795"/>
                <a:gd name="connsiteY4024" fmla="*/ 1209189 h 1451770"/>
                <a:gd name="connsiteX4025" fmla="*/ 1665614 w 3773795"/>
                <a:gd name="connsiteY4025" fmla="*/ 1208164 h 1451770"/>
                <a:gd name="connsiteX4026" fmla="*/ 1662981 w 3773795"/>
                <a:gd name="connsiteY4026" fmla="*/ 1208036 h 1451770"/>
                <a:gd name="connsiteX4027" fmla="*/ 1660921 w 3773795"/>
                <a:gd name="connsiteY4027" fmla="*/ 1208178 h 1451770"/>
                <a:gd name="connsiteX4028" fmla="*/ 1659980 w 3773795"/>
                <a:gd name="connsiteY4028" fmla="*/ 1208617 h 1451770"/>
                <a:gd name="connsiteX4029" fmla="*/ 1658637 w 3773795"/>
                <a:gd name="connsiteY4029" fmla="*/ 1208742 h 1451770"/>
                <a:gd name="connsiteX4030" fmla="*/ 1657529 w 3773795"/>
                <a:gd name="connsiteY4030" fmla="*/ 1206888 h 1451770"/>
                <a:gd name="connsiteX4031" fmla="*/ 1656030 w 3773795"/>
                <a:gd name="connsiteY4031" fmla="*/ 1205591 h 1451770"/>
                <a:gd name="connsiteX4032" fmla="*/ 1655182 w 3773795"/>
                <a:gd name="connsiteY4032" fmla="*/ 1204639 h 1451770"/>
                <a:gd name="connsiteX4033" fmla="*/ 1653893 w 3773795"/>
                <a:gd name="connsiteY4033" fmla="*/ 1204237 h 1451770"/>
                <a:gd name="connsiteX4034" fmla="*/ 1652887 w 3773795"/>
                <a:gd name="connsiteY4034" fmla="*/ 1203016 h 1451770"/>
                <a:gd name="connsiteX4035" fmla="*/ 1652714 w 3773795"/>
                <a:gd name="connsiteY4035" fmla="*/ 1200653 h 1451770"/>
                <a:gd name="connsiteX4036" fmla="*/ 1652105 w 3773795"/>
                <a:gd name="connsiteY4036" fmla="*/ 1197712 h 1451770"/>
                <a:gd name="connsiteX4037" fmla="*/ 1651390 w 3773795"/>
                <a:gd name="connsiteY4037" fmla="*/ 1194622 h 1451770"/>
                <a:gd name="connsiteX4038" fmla="*/ 1650595 w 3773795"/>
                <a:gd name="connsiteY4038" fmla="*/ 1193314 h 1451770"/>
                <a:gd name="connsiteX4039" fmla="*/ 1646719 w 3773795"/>
                <a:gd name="connsiteY4039" fmla="*/ 1192836 h 1451770"/>
                <a:gd name="connsiteX4040" fmla="*/ 1644819 w 3773795"/>
                <a:gd name="connsiteY4040" fmla="*/ 1192952 h 1451770"/>
                <a:gd name="connsiteX4041" fmla="*/ 1640519 w 3773795"/>
                <a:gd name="connsiteY4041" fmla="*/ 1192697 h 1451770"/>
                <a:gd name="connsiteX4042" fmla="*/ 1637570 w 3773795"/>
                <a:gd name="connsiteY4042" fmla="*/ 1192521 h 1451770"/>
                <a:gd name="connsiteX4043" fmla="*/ 1636764 w 3773795"/>
                <a:gd name="connsiteY4043" fmla="*/ 1192467 h 1451770"/>
                <a:gd name="connsiteX4044" fmla="*/ 1634011 w 3773795"/>
                <a:gd name="connsiteY4044" fmla="*/ 1192120 h 1451770"/>
                <a:gd name="connsiteX4045" fmla="*/ 1631485 w 3773795"/>
                <a:gd name="connsiteY4045" fmla="*/ 1191800 h 1451770"/>
                <a:gd name="connsiteX4046" fmla="*/ 1628913 w 3773795"/>
                <a:gd name="connsiteY4046" fmla="*/ 1191594 h 1451770"/>
                <a:gd name="connsiteX4047" fmla="*/ 1627853 w 3773795"/>
                <a:gd name="connsiteY4047" fmla="*/ 1191857 h 1451770"/>
                <a:gd name="connsiteX4048" fmla="*/ 1625212 w 3773795"/>
                <a:gd name="connsiteY4048" fmla="*/ 1191933 h 1451770"/>
                <a:gd name="connsiteX4049" fmla="*/ 1623149 w 3773795"/>
                <a:gd name="connsiteY4049" fmla="*/ 1190461 h 1451770"/>
                <a:gd name="connsiteX4050" fmla="*/ 1622283 w 3773795"/>
                <a:gd name="connsiteY4050" fmla="*/ 1188774 h 1451770"/>
                <a:gd name="connsiteX4051" fmla="*/ 1622126 w 3773795"/>
                <a:gd name="connsiteY4051" fmla="*/ 1187830 h 1451770"/>
                <a:gd name="connsiteX4052" fmla="*/ 1621634 w 3773795"/>
                <a:gd name="connsiteY4052" fmla="*/ 1186860 h 1451770"/>
                <a:gd name="connsiteX4053" fmla="*/ 1619757 w 3773795"/>
                <a:gd name="connsiteY4053" fmla="*/ 1186543 h 1451770"/>
                <a:gd name="connsiteX4054" fmla="*/ 1618051 w 3773795"/>
                <a:gd name="connsiteY4054" fmla="*/ 1186847 h 1451770"/>
                <a:gd name="connsiteX4055" fmla="*/ 1617152 w 3773795"/>
                <a:gd name="connsiteY4055" fmla="*/ 1188820 h 1451770"/>
                <a:gd name="connsiteX4056" fmla="*/ 1615885 w 3773795"/>
                <a:gd name="connsiteY4056" fmla="*/ 1189627 h 1451770"/>
                <a:gd name="connsiteX4057" fmla="*/ 1614676 w 3773795"/>
                <a:gd name="connsiteY4057" fmla="*/ 1189479 h 1451770"/>
                <a:gd name="connsiteX4058" fmla="*/ 1613620 w 3773795"/>
                <a:gd name="connsiteY4058" fmla="*/ 1188397 h 1451770"/>
                <a:gd name="connsiteX4059" fmla="*/ 1611575 w 3773795"/>
                <a:gd name="connsiteY4059" fmla="*/ 1187243 h 1451770"/>
                <a:gd name="connsiteX4060" fmla="*/ 1610247 w 3773795"/>
                <a:gd name="connsiteY4060" fmla="*/ 1186136 h 1451770"/>
                <a:gd name="connsiteX4061" fmla="*/ 1608664 w 3773795"/>
                <a:gd name="connsiteY4061" fmla="*/ 1184355 h 1451770"/>
                <a:gd name="connsiteX4062" fmla="*/ 1607360 w 3773795"/>
                <a:gd name="connsiteY4062" fmla="*/ 1184774 h 1451770"/>
                <a:gd name="connsiteX4063" fmla="*/ 1606989 w 3773795"/>
                <a:gd name="connsiteY4063" fmla="*/ 1185870 h 1451770"/>
                <a:gd name="connsiteX4064" fmla="*/ 1606686 w 3773795"/>
                <a:gd name="connsiteY4064" fmla="*/ 1186948 h 1451770"/>
                <a:gd name="connsiteX4065" fmla="*/ 1605073 w 3773795"/>
                <a:gd name="connsiteY4065" fmla="*/ 1189121 h 1451770"/>
                <a:gd name="connsiteX4066" fmla="*/ 1603119 w 3773795"/>
                <a:gd name="connsiteY4066" fmla="*/ 1189371 h 1451770"/>
                <a:gd name="connsiteX4067" fmla="*/ 1599858 w 3773795"/>
                <a:gd name="connsiteY4067" fmla="*/ 1189207 h 1451770"/>
                <a:gd name="connsiteX4068" fmla="*/ 1596492 w 3773795"/>
                <a:gd name="connsiteY4068" fmla="*/ 1189324 h 1451770"/>
                <a:gd name="connsiteX4069" fmla="*/ 1594326 w 3773795"/>
                <a:gd name="connsiteY4069" fmla="*/ 1190141 h 1451770"/>
                <a:gd name="connsiteX4070" fmla="*/ 1592730 w 3773795"/>
                <a:gd name="connsiteY4070" fmla="*/ 1191607 h 1451770"/>
                <a:gd name="connsiteX4071" fmla="*/ 1591905 w 3773795"/>
                <a:gd name="connsiteY4071" fmla="*/ 1192758 h 1451770"/>
                <a:gd name="connsiteX4072" fmla="*/ 1590243 w 3773795"/>
                <a:gd name="connsiteY4072" fmla="*/ 1193151 h 1451770"/>
                <a:gd name="connsiteX4073" fmla="*/ 1588580 w 3773795"/>
                <a:gd name="connsiteY4073" fmla="*/ 1194308 h 1451770"/>
                <a:gd name="connsiteX4074" fmla="*/ 1587885 w 3773795"/>
                <a:gd name="connsiteY4074" fmla="*/ 1195881 h 1451770"/>
                <a:gd name="connsiteX4075" fmla="*/ 1586244 w 3773795"/>
                <a:gd name="connsiteY4075" fmla="*/ 1195821 h 1451770"/>
                <a:gd name="connsiteX4076" fmla="*/ 1585354 w 3773795"/>
                <a:gd name="connsiteY4076" fmla="*/ 1196015 h 1451770"/>
                <a:gd name="connsiteX4077" fmla="*/ 1583876 w 3773795"/>
                <a:gd name="connsiteY4077" fmla="*/ 1196334 h 1451770"/>
                <a:gd name="connsiteX4078" fmla="*/ 1580095 w 3773795"/>
                <a:gd name="connsiteY4078" fmla="*/ 1197198 h 1451770"/>
                <a:gd name="connsiteX4079" fmla="*/ 1579184 w 3773795"/>
                <a:gd name="connsiteY4079" fmla="*/ 1197405 h 1451770"/>
                <a:gd name="connsiteX4080" fmla="*/ 1576876 w 3773795"/>
                <a:gd name="connsiteY4080" fmla="*/ 1198893 h 1451770"/>
                <a:gd name="connsiteX4081" fmla="*/ 1575127 w 3773795"/>
                <a:gd name="connsiteY4081" fmla="*/ 1200065 h 1451770"/>
                <a:gd name="connsiteX4082" fmla="*/ 1573416 w 3773795"/>
                <a:gd name="connsiteY4082" fmla="*/ 1200580 h 1451770"/>
                <a:gd name="connsiteX4083" fmla="*/ 1572391 w 3773795"/>
                <a:gd name="connsiteY4083" fmla="*/ 1201928 h 1451770"/>
                <a:gd name="connsiteX4084" fmla="*/ 1571080 w 3773795"/>
                <a:gd name="connsiteY4084" fmla="*/ 1203000 h 1451770"/>
                <a:gd name="connsiteX4085" fmla="*/ 1568024 w 3773795"/>
                <a:gd name="connsiteY4085" fmla="*/ 1203262 h 1451770"/>
                <a:gd name="connsiteX4086" fmla="*/ 1564663 w 3773795"/>
                <a:gd name="connsiteY4086" fmla="*/ 1204605 h 1451770"/>
                <a:gd name="connsiteX4087" fmla="*/ 1563479 w 3773795"/>
                <a:gd name="connsiteY4087" fmla="*/ 1205060 h 1451770"/>
                <a:gd name="connsiteX4088" fmla="*/ 1561559 w 3773795"/>
                <a:gd name="connsiteY4088" fmla="*/ 1206056 h 1451770"/>
                <a:gd name="connsiteX4089" fmla="*/ 1558889 w 3773795"/>
                <a:gd name="connsiteY4089" fmla="*/ 1206443 h 1451770"/>
                <a:gd name="connsiteX4090" fmla="*/ 1557782 w 3773795"/>
                <a:gd name="connsiteY4090" fmla="*/ 1206720 h 1451770"/>
                <a:gd name="connsiteX4091" fmla="*/ 1556705 w 3773795"/>
                <a:gd name="connsiteY4091" fmla="*/ 1207427 h 1451770"/>
                <a:gd name="connsiteX4092" fmla="*/ 1556094 w 3773795"/>
                <a:gd name="connsiteY4092" fmla="*/ 1209880 h 1451770"/>
                <a:gd name="connsiteX4093" fmla="*/ 1553898 w 3773795"/>
                <a:gd name="connsiteY4093" fmla="*/ 1210769 h 1451770"/>
                <a:gd name="connsiteX4094" fmla="*/ 1550939 w 3773795"/>
                <a:gd name="connsiteY4094" fmla="*/ 1210925 h 1451770"/>
                <a:gd name="connsiteX4095" fmla="*/ 1548719 w 3773795"/>
                <a:gd name="connsiteY4095" fmla="*/ 1212225 h 1451770"/>
                <a:gd name="connsiteX4096" fmla="*/ 1548508 w 3773795"/>
                <a:gd name="connsiteY4096" fmla="*/ 1214523 h 1451770"/>
                <a:gd name="connsiteX4097" fmla="*/ 1549288 w 3773795"/>
                <a:gd name="connsiteY4097" fmla="*/ 1216619 h 1451770"/>
                <a:gd name="connsiteX4098" fmla="*/ 1548947 w 3773795"/>
                <a:gd name="connsiteY4098" fmla="*/ 1217569 h 1451770"/>
                <a:gd name="connsiteX4099" fmla="*/ 1547290 w 3773795"/>
                <a:gd name="connsiteY4099" fmla="*/ 1218080 h 1451770"/>
                <a:gd name="connsiteX4100" fmla="*/ 1544986 w 3773795"/>
                <a:gd name="connsiteY4100" fmla="*/ 1219206 h 1451770"/>
                <a:gd name="connsiteX4101" fmla="*/ 1543231 w 3773795"/>
                <a:gd name="connsiteY4101" fmla="*/ 1220615 h 1451770"/>
                <a:gd name="connsiteX4102" fmla="*/ 1541099 w 3773795"/>
                <a:gd name="connsiteY4102" fmla="*/ 1220627 h 1451770"/>
                <a:gd name="connsiteX4103" fmla="*/ 1539877 w 3773795"/>
                <a:gd name="connsiteY4103" fmla="*/ 1220169 h 1451770"/>
                <a:gd name="connsiteX4104" fmla="*/ 1538970 w 3773795"/>
                <a:gd name="connsiteY4104" fmla="*/ 1221070 h 1451770"/>
                <a:gd name="connsiteX4105" fmla="*/ 1538463 w 3773795"/>
                <a:gd name="connsiteY4105" fmla="*/ 1222893 h 1451770"/>
                <a:gd name="connsiteX4106" fmla="*/ 1536904 w 3773795"/>
                <a:gd name="connsiteY4106" fmla="*/ 1223779 h 1451770"/>
                <a:gd name="connsiteX4107" fmla="*/ 1534668 w 3773795"/>
                <a:gd name="connsiteY4107" fmla="*/ 1224599 h 1451770"/>
                <a:gd name="connsiteX4108" fmla="*/ 1533833 w 3773795"/>
                <a:gd name="connsiteY4108" fmla="*/ 1224285 h 1451770"/>
                <a:gd name="connsiteX4109" fmla="*/ 1533276 w 3773795"/>
                <a:gd name="connsiteY4109" fmla="*/ 1223598 h 1451770"/>
                <a:gd name="connsiteX4110" fmla="*/ 1532276 w 3773795"/>
                <a:gd name="connsiteY4110" fmla="*/ 1222678 h 1451770"/>
                <a:gd name="connsiteX4111" fmla="*/ 1531472 w 3773795"/>
                <a:gd name="connsiteY4111" fmla="*/ 1223025 h 1451770"/>
                <a:gd name="connsiteX4112" fmla="*/ 1531395 w 3773795"/>
                <a:gd name="connsiteY4112" fmla="*/ 1224347 h 1451770"/>
                <a:gd name="connsiteX4113" fmla="*/ 1530760 w 3773795"/>
                <a:gd name="connsiteY4113" fmla="*/ 1225297 h 1451770"/>
                <a:gd name="connsiteX4114" fmla="*/ 1528907 w 3773795"/>
                <a:gd name="connsiteY4114" fmla="*/ 1225360 h 1451770"/>
                <a:gd name="connsiteX4115" fmla="*/ 1527467 w 3773795"/>
                <a:gd name="connsiteY4115" fmla="*/ 1224835 h 1451770"/>
                <a:gd name="connsiteX4116" fmla="*/ 1526372 w 3773795"/>
                <a:gd name="connsiteY4116" fmla="*/ 1224216 h 1451770"/>
                <a:gd name="connsiteX4117" fmla="*/ 1524407 w 3773795"/>
                <a:gd name="connsiteY4117" fmla="*/ 1224318 h 1451770"/>
                <a:gd name="connsiteX4118" fmla="*/ 1522375 w 3773795"/>
                <a:gd name="connsiteY4118" fmla="*/ 1224601 h 1451770"/>
                <a:gd name="connsiteX4119" fmla="*/ 1521069 w 3773795"/>
                <a:gd name="connsiteY4119" fmla="*/ 1224310 h 1451770"/>
                <a:gd name="connsiteX4120" fmla="*/ 1519840 w 3773795"/>
                <a:gd name="connsiteY4120" fmla="*/ 1224605 h 1451770"/>
                <a:gd name="connsiteX4121" fmla="*/ 1516629 w 3773795"/>
                <a:gd name="connsiteY4121" fmla="*/ 1225204 h 1451770"/>
                <a:gd name="connsiteX4122" fmla="*/ 1515368 w 3773795"/>
                <a:gd name="connsiteY4122" fmla="*/ 1227217 h 1451770"/>
                <a:gd name="connsiteX4123" fmla="*/ 1515340 w 3773795"/>
                <a:gd name="connsiteY4123" fmla="*/ 1229596 h 1451770"/>
                <a:gd name="connsiteX4124" fmla="*/ 1514930 w 3773795"/>
                <a:gd name="connsiteY4124" fmla="*/ 1230802 h 1451770"/>
                <a:gd name="connsiteX4125" fmla="*/ 1513001 w 3773795"/>
                <a:gd name="connsiteY4125" fmla="*/ 1231847 h 1451770"/>
                <a:gd name="connsiteX4126" fmla="*/ 1512107 w 3773795"/>
                <a:gd name="connsiteY4126" fmla="*/ 1232787 h 1451770"/>
                <a:gd name="connsiteX4127" fmla="*/ 1510928 w 3773795"/>
                <a:gd name="connsiteY4127" fmla="*/ 1233426 h 1451770"/>
                <a:gd name="connsiteX4128" fmla="*/ 1508352 w 3773795"/>
                <a:gd name="connsiteY4128" fmla="*/ 1233496 h 1451770"/>
                <a:gd name="connsiteX4129" fmla="*/ 1508263 w 3773795"/>
                <a:gd name="connsiteY4129" fmla="*/ 1233490 h 1451770"/>
                <a:gd name="connsiteX4130" fmla="*/ 1507119 w 3773795"/>
                <a:gd name="connsiteY4130" fmla="*/ 1233390 h 1451770"/>
                <a:gd name="connsiteX4131" fmla="*/ 1505038 w 3773795"/>
                <a:gd name="connsiteY4131" fmla="*/ 1233922 h 1451770"/>
                <a:gd name="connsiteX4132" fmla="*/ 1503008 w 3773795"/>
                <a:gd name="connsiteY4132" fmla="*/ 1234346 h 1451770"/>
                <a:gd name="connsiteX4133" fmla="*/ 1501665 w 3773795"/>
                <a:gd name="connsiteY4133" fmla="*/ 1234630 h 1451770"/>
                <a:gd name="connsiteX4134" fmla="*/ 1500788 w 3773795"/>
                <a:gd name="connsiteY4134" fmla="*/ 1235515 h 1451770"/>
                <a:gd name="connsiteX4135" fmla="*/ 1499473 w 3773795"/>
                <a:gd name="connsiteY4135" fmla="*/ 1235939 h 1451770"/>
                <a:gd name="connsiteX4136" fmla="*/ 1497398 w 3773795"/>
                <a:gd name="connsiteY4136" fmla="*/ 1235677 h 1451770"/>
                <a:gd name="connsiteX4137" fmla="*/ 1496823 w 3773795"/>
                <a:gd name="connsiteY4137" fmla="*/ 1233909 h 1451770"/>
                <a:gd name="connsiteX4138" fmla="*/ 1495426 w 3773795"/>
                <a:gd name="connsiteY4138" fmla="*/ 1231950 h 1451770"/>
                <a:gd name="connsiteX4139" fmla="*/ 1493532 w 3773795"/>
                <a:gd name="connsiteY4139" fmla="*/ 1231274 h 1451770"/>
                <a:gd name="connsiteX4140" fmla="*/ 1491820 w 3773795"/>
                <a:gd name="connsiteY4140" fmla="*/ 1230851 h 1451770"/>
                <a:gd name="connsiteX4141" fmla="*/ 1490280 w 3773795"/>
                <a:gd name="connsiteY4141" fmla="*/ 1229914 h 1451770"/>
                <a:gd name="connsiteX4142" fmla="*/ 1489218 w 3773795"/>
                <a:gd name="connsiteY4142" fmla="*/ 1228919 h 1451770"/>
                <a:gd name="connsiteX4143" fmla="*/ 1486104 w 3773795"/>
                <a:gd name="connsiteY4143" fmla="*/ 1224165 h 1451770"/>
                <a:gd name="connsiteX4144" fmla="*/ 1483942 w 3773795"/>
                <a:gd name="connsiteY4144" fmla="*/ 1222136 h 1451770"/>
                <a:gd name="connsiteX4145" fmla="*/ 1481999 w 3773795"/>
                <a:gd name="connsiteY4145" fmla="*/ 1222018 h 1451770"/>
                <a:gd name="connsiteX4146" fmla="*/ 1481729 w 3773795"/>
                <a:gd name="connsiteY4146" fmla="*/ 1220667 h 1451770"/>
                <a:gd name="connsiteX4147" fmla="*/ 1482858 w 3773795"/>
                <a:gd name="connsiteY4147" fmla="*/ 1219317 h 1451770"/>
                <a:gd name="connsiteX4148" fmla="*/ 1484303 w 3773795"/>
                <a:gd name="connsiteY4148" fmla="*/ 1218200 h 1451770"/>
                <a:gd name="connsiteX4149" fmla="*/ 1484260 w 3773795"/>
                <a:gd name="connsiteY4149" fmla="*/ 1216671 h 1451770"/>
                <a:gd name="connsiteX4150" fmla="*/ 1483083 w 3773795"/>
                <a:gd name="connsiteY4150" fmla="*/ 1215848 h 1451770"/>
                <a:gd name="connsiteX4151" fmla="*/ 1481638 w 3773795"/>
                <a:gd name="connsiteY4151" fmla="*/ 1216082 h 1451770"/>
                <a:gd name="connsiteX4152" fmla="*/ 1479695 w 3773795"/>
                <a:gd name="connsiteY4152" fmla="*/ 1217849 h 1451770"/>
                <a:gd name="connsiteX4153" fmla="*/ 1477389 w 3773795"/>
                <a:gd name="connsiteY4153" fmla="*/ 1219841 h 1451770"/>
                <a:gd name="connsiteX4154" fmla="*/ 1474612 w 3773795"/>
                <a:gd name="connsiteY4154" fmla="*/ 1221306 h 1451770"/>
                <a:gd name="connsiteX4155" fmla="*/ 1473502 w 3773795"/>
                <a:gd name="connsiteY4155" fmla="*/ 1222488 h 1451770"/>
                <a:gd name="connsiteX4156" fmla="*/ 1472146 w 3773795"/>
                <a:gd name="connsiteY4156" fmla="*/ 1223838 h 1451770"/>
                <a:gd name="connsiteX4157" fmla="*/ 1470202 w 3773795"/>
                <a:gd name="connsiteY4157" fmla="*/ 1223661 h 1451770"/>
                <a:gd name="connsiteX4158" fmla="*/ 1468801 w 3773795"/>
                <a:gd name="connsiteY4158" fmla="*/ 1223720 h 1451770"/>
                <a:gd name="connsiteX4159" fmla="*/ 1467581 w 3773795"/>
                <a:gd name="connsiteY4159" fmla="*/ 1223838 h 1451770"/>
                <a:gd name="connsiteX4160" fmla="*/ 1466678 w 3773795"/>
                <a:gd name="connsiteY4160" fmla="*/ 1222370 h 1451770"/>
                <a:gd name="connsiteX4161" fmla="*/ 1465504 w 3773795"/>
                <a:gd name="connsiteY4161" fmla="*/ 1222195 h 1451770"/>
                <a:gd name="connsiteX4162" fmla="*/ 1457056 w 3773795"/>
                <a:gd name="connsiteY4162" fmla="*/ 1220792 h 1451770"/>
                <a:gd name="connsiteX4163" fmla="*/ 1454251 w 3773795"/>
                <a:gd name="connsiteY4163" fmla="*/ 1220259 h 1451770"/>
                <a:gd name="connsiteX4164" fmla="*/ 1452489 w 3773795"/>
                <a:gd name="connsiteY4164" fmla="*/ 1220962 h 1451770"/>
                <a:gd name="connsiteX4165" fmla="*/ 1451178 w 3773795"/>
                <a:gd name="connsiteY4165" fmla="*/ 1220492 h 1451770"/>
                <a:gd name="connsiteX4166" fmla="*/ 1450682 w 3773795"/>
                <a:gd name="connsiteY4166" fmla="*/ 1219083 h 1451770"/>
                <a:gd name="connsiteX4167" fmla="*/ 1449053 w 3773795"/>
                <a:gd name="connsiteY4167" fmla="*/ 1216612 h 1451770"/>
                <a:gd name="connsiteX4168" fmla="*/ 1447725 w 3773795"/>
                <a:gd name="connsiteY4168" fmla="*/ 1214570 h 1451770"/>
                <a:gd name="connsiteX4169" fmla="*/ 1446052 w 3773795"/>
                <a:gd name="connsiteY4169" fmla="*/ 1212481 h 1451770"/>
                <a:gd name="connsiteX4170" fmla="*/ 1445486 w 3773795"/>
                <a:gd name="connsiteY4170" fmla="*/ 1210839 h 1451770"/>
                <a:gd name="connsiteX4171" fmla="*/ 1446028 w 3773795"/>
                <a:gd name="connsiteY4171" fmla="*/ 1209130 h 1451770"/>
                <a:gd name="connsiteX4172" fmla="*/ 1445801 w 3773795"/>
                <a:gd name="connsiteY4172" fmla="*/ 1207654 h 1451770"/>
                <a:gd name="connsiteX4173" fmla="*/ 1444355 w 3773795"/>
                <a:gd name="connsiteY4173" fmla="*/ 1206886 h 1451770"/>
                <a:gd name="connsiteX4174" fmla="*/ 1442474 w 3773795"/>
                <a:gd name="connsiteY4174" fmla="*/ 1206790 h 1451770"/>
                <a:gd name="connsiteX4175" fmla="*/ 1437351 w 3773795"/>
                <a:gd name="connsiteY4175" fmla="*/ 1203578 h 1451770"/>
                <a:gd name="connsiteX4176" fmla="*/ 1434957 w 3773795"/>
                <a:gd name="connsiteY4176" fmla="*/ 1203105 h 1451770"/>
                <a:gd name="connsiteX4177" fmla="*/ 1432789 w 3773795"/>
                <a:gd name="connsiteY4177" fmla="*/ 1202514 h 1451770"/>
                <a:gd name="connsiteX4178" fmla="*/ 1431070 w 3773795"/>
                <a:gd name="connsiteY4178" fmla="*/ 1202514 h 1451770"/>
                <a:gd name="connsiteX4179" fmla="*/ 1429623 w 3773795"/>
                <a:gd name="connsiteY4179" fmla="*/ 1201093 h 1451770"/>
                <a:gd name="connsiteX4180" fmla="*/ 1428224 w 3773795"/>
                <a:gd name="connsiteY4180" fmla="*/ 1196767 h 1451770"/>
                <a:gd name="connsiteX4181" fmla="*/ 1427814 w 3773795"/>
                <a:gd name="connsiteY4181" fmla="*/ 1194355 h 1451770"/>
                <a:gd name="connsiteX4182" fmla="*/ 1426118 w 3773795"/>
                <a:gd name="connsiteY4182" fmla="*/ 1191909 h 1451770"/>
                <a:gd name="connsiteX4183" fmla="*/ 1423974 w 3773795"/>
                <a:gd name="connsiteY4183" fmla="*/ 1189811 h 1451770"/>
                <a:gd name="connsiteX4184" fmla="*/ 1422709 w 3773795"/>
                <a:gd name="connsiteY4184" fmla="*/ 1186964 h 1451770"/>
                <a:gd name="connsiteX4185" fmla="*/ 1420821 w 3773795"/>
                <a:gd name="connsiteY4185" fmla="*/ 1185701 h 1451770"/>
                <a:gd name="connsiteX4186" fmla="*/ 1417682 w 3773795"/>
                <a:gd name="connsiteY4186" fmla="*/ 1183685 h 1451770"/>
                <a:gd name="connsiteX4187" fmla="*/ 1414667 w 3773795"/>
                <a:gd name="connsiteY4187" fmla="*/ 1182267 h 1451770"/>
                <a:gd name="connsiteX4188" fmla="*/ 1409711 w 3773795"/>
                <a:gd name="connsiteY4188" fmla="*/ 1180549 h 1451770"/>
                <a:gd name="connsiteX4189" fmla="*/ 1407863 w 3773795"/>
                <a:gd name="connsiteY4189" fmla="*/ 1180549 h 1451770"/>
                <a:gd name="connsiteX4190" fmla="*/ 1405354 w 3773795"/>
                <a:gd name="connsiteY4190" fmla="*/ 1180706 h 1451770"/>
                <a:gd name="connsiteX4191" fmla="*/ 1403862 w 3773795"/>
                <a:gd name="connsiteY4191" fmla="*/ 1181541 h 1451770"/>
                <a:gd name="connsiteX4192" fmla="*/ 1402236 w 3773795"/>
                <a:gd name="connsiteY4192" fmla="*/ 1183390 h 1451770"/>
                <a:gd name="connsiteX4193" fmla="*/ 1400020 w 3773795"/>
                <a:gd name="connsiteY4193" fmla="*/ 1183511 h 1451770"/>
                <a:gd name="connsiteX4194" fmla="*/ 1396522 w 3773795"/>
                <a:gd name="connsiteY4194" fmla="*/ 1183504 h 1451770"/>
                <a:gd name="connsiteX4195" fmla="*/ 1395587 w 3773795"/>
                <a:gd name="connsiteY4195" fmla="*/ 1184200 h 1451770"/>
                <a:gd name="connsiteX4196" fmla="*/ 1395021 w 3773795"/>
                <a:gd name="connsiteY4196" fmla="*/ 1185459 h 1451770"/>
                <a:gd name="connsiteX4197" fmla="*/ 1393224 w 3773795"/>
                <a:gd name="connsiteY4197" fmla="*/ 1187056 h 1451770"/>
                <a:gd name="connsiteX4198" fmla="*/ 1390620 w 3773795"/>
                <a:gd name="connsiteY4198" fmla="*/ 1188335 h 1451770"/>
                <a:gd name="connsiteX4199" fmla="*/ 1386915 w 3773795"/>
                <a:gd name="connsiteY4199" fmla="*/ 1187918 h 1451770"/>
                <a:gd name="connsiteX4200" fmla="*/ 1384384 w 3773795"/>
                <a:gd name="connsiteY4200" fmla="*/ 1188572 h 1451770"/>
                <a:gd name="connsiteX4201" fmla="*/ 1381866 w 3773795"/>
                <a:gd name="connsiteY4201" fmla="*/ 1188822 h 1451770"/>
                <a:gd name="connsiteX4202" fmla="*/ 1378232 w 3773795"/>
                <a:gd name="connsiteY4202" fmla="*/ 1187206 h 1451770"/>
                <a:gd name="connsiteX4203" fmla="*/ 1374215 w 3773795"/>
                <a:gd name="connsiteY4203" fmla="*/ 1187263 h 1451770"/>
                <a:gd name="connsiteX4204" fmla="*/ 1371602 w 3773795"/>
                <a:gd name="connsiteY4204" fmla="*/ 1187999 h 1451770"/>
                <a:gd name="connsiteX4205" fmla="*/ 1367888 w 3773795"/>
                <a:gd name="connsiteY4205" fmla="*/ 1187978 h 1451770"/>
                <a:gd name="connsiteX4206" fmla="*/ 1367126 w 3773795"/>
                <a:gd name="connsiteY4206" fmla="*/ 1187067 h 1451770"/>
                <a:gd name="connsiteX4207" fmla="*/ 1367571 w 3773795"/>
                <a:gd name="connsiteY4207" fmla="*/ 1185535 h 1451770"/>
                <a:gd name="connsiteX4208" fmla="*/ 1367264 w 3773795"/>
                <a:gd name="connsiteY4208" fmla="*/ 1184154 h 1451770"/>
                <a:gd name="connsiteX4209" fmla="*/ 1366655 w 3773795"/>
                <a:gd name="connsiteY4209" fmla="*/ 1183025 h 1451770"/>
                <a:gd name="connsiteX4210" fmla="*/ 1366172 w 3773795"/>
                <a:gd name="connsiteY4210" fmla="*/ 1181661 h 1451770"/>
                <a:gd name="connsiteX4211" fmla="*/ 1364643 w 3773795"/>
                <a:gd name="connsiteY4211" fmla="*/ 1181372 h 1451770"/>
                <a:gd name="connsiteX4212" fmla="*/ 1360341 w 3773795"/>
                <a:gd name="connsiteY4212" fmla="*/ 1181959 h 1451770"/>
                <a:gd name="connsiteX4213" fmla="*/ 1359167 w 3773795"/>
                <a:gd name="connsiteY4213" fmla="*/ 1181303 h 1451770"/>
                <a:gd name="connsiteX4214" fmla="*/ 1359300 w 3773795"/>
                <a:gd name="connsiteY4214" fmla="*/ 1179954 h 1451770"/>
                <a:gd name="connsiteX4215" fmla="*/ 1360071 w 3773795"/>
                <a:gd name="connsiteY4215" fmla="*/ 1178276 h 1451770"/>
                <a:gd name="connsiteX4216" fmla="*/ 1360704 w 3773795"/>
                <a:gd name="connsiteY4216" fmla="*/ 1176105 h 1451770"/>
                <a:gd name="connsiteX4217" fmla="*/ 1360400 w 3773795"/>
                <a:gd name="connsiteY4217" fmla="*/ 1174803 h 1451770"/>
                <a:gd name="connsiteX4218" fmla="*/ 1358178 w 3773795"/>
                <a:gd name="connsiteY4218" fmla="*/ 1174960 h 1451770"/>
                <a:gd name="connsiteX4219" fmla="*/ 1356826 w 3773795"/>
                <a:gd name="connsiteY4219" fmla="*/ 1174840 h 1451770"/>
                <a:gd name="connsiteX4220" fmla="*/ 1356129 w 3773795"/>
                <a:gd name="connsiteY4220" fmla="*/ 1173289 h 1451770"/>
                <a:gd name="connsiteX4221" fmla="*/ 1354874 w 3773795"/>
                <a:gd name="connsiteY4221" fmla="*/ 1172156 h 1451770"/>
                <a:gd name="connsiteX4222" fmla="*/ 1353453 w 3773795"/>
                <a:gd name="connsiteY4222" fmla="*/ 1172095 h 1451770"/>
                <a:gd name="connsiteX4223" fmla="*/ 1351732 w 3773795"/>
                <a:gd name="connsiteY4223" fmla="*/ 1171805 h 1451770"/>
                <a:gd name="connsiteX4224" fmla="*/ 1349858 w 3773795"/>
                <a:gd name="connsiteY4224" fmla="*/ 1172276 h 1451770"/>
                <a:gd name="connsiteX4225" fmla="*/ 1348862 w 3773795"/>
                <a:gd name="connsiteY4225" fmla="*/ 1173832 h 1451770"/>
                <a:gd name="connsiteX4226" fmla="*/ 1347651 w 3773795"/>
                <a:gd name="connsiteY4226" fmla="*/ 1174055 h 1451770"/>
                <a:gd name="connsiteX4227" fmla="*/ 1346331 w 3773795"/>
                <a:gd name="connsiteY4227" fmla="*/ 1174490 h 1451770"/>
                <a:gd name="connsiteX4228" fmla="*/ 1345381 w 3773795"/>
                <a:gd name="connsiteY4228" fmla="*/ 1175029 h 1451770"/>
                <a:gd name="connsiteX4229" fmla="*/ 1344794 w 3773795"/>
                <a:gd name="connsiteY4229" fmla="*/ 1176404 h 1451770"/>
                <a:gd name="connsiteX4230" fmla="*/ 1345061 w 3773795"/>
                <a:gd name="connsiteY4230" fmla="*/ 1177683 h 1451770"/>
                <a:gd name="connsiteX4231" fmla="*/ 1345474 w 3773795"/>
                <a:gd name="connsiteY4231" fmla="*/ 1180460 h 1451770"/>
                <a:gd name="connsiteX4232" fmla="*/ 1344841 w 3773795"/>
                <a:gd name="connsiteY4232" fmla="*/ 1181959 h 1451770"/>
                <a:gd name="connsiteX4233" fmla="*/ 1343107 w 3773795"/>
                <a:gd name="connsiteY4233" fmla="*/ 1182753 h 1451770"/>
                <a:gd name="connsiteX4234" fmla="*/ 1341453 w 3773795"/>
                <a:gd name="connsiteY4234" fmla="*/ 1182592 h 1451770"/>
                <a:gd name="connsiteX4235" fmla="*/ 1340343 w 3773795"/>
                <a:gd name="connsiteY4235" fmla="*/ 1182967 h 1451770"/>
                <a:gd name="connsiteX4236" fmla="*/ 1338287 w 3773795"/>
                <a:gd name="connsiteY4236" fmla="*/ 1184525 h 1451770"/>
                <a:gd name="connsiteX4237" fmla="*/ 1337383 w 3773795"/>
                <a:gd name="connsiteY4237" fmla="*/ 1185060 h 1451770"/>
                <a:gd name="connsiteX4238" fmla="*/ 1337067 w 3773795"/>
                <a:gd name="connsiteY4238" fmla="*/ 1186014 h 1451770"/>
                <a:gd name="connsiteX4239" fmla="*/ 1336931 w 3773795"/>
                <a:gd name="connsiteY4239" fmla="*/ 1187443 h 1451770"/>
                <a:gd name="connsiteX4240" fmla="*/ 1335169 w 3773795"/>
                <a:gd name="connsiteY4240" fmla="*/ 1186967 h 1451770"/>
                <a:gd name="connsiteX4241" fmla="*/ 1332371 w 3773795"/>
                <a:gd name="connsiteY4241" fmla="*/ 1181691 h 1451770"/>
                <a:gd name="connsiteX4242" fmla="*/ 1329203 w 3773795"/>
                <a:gd name="connsiteY4242" fmla="*/ 1175712 h 1451770"/>
                <a:gd name="connsiteX4243" fmla="*/ 1325618 w 3773795"/>
                <a:gd name="connsiteY4243" fmla="*/ 1169324 h 1451770"/>
                <a:gd name="connsiteX4244" fmla="*/ 1323729 w 3773795"/>
                <a:gd name="connsiteY4244" fmla="*/ 1165943 h 1451770"/>
                <a:gd name="connsiteX4245" fmla="*/ 1316650 w 3773795"/>
                <a:gd name="connsiteY4245" fmla="*/ 1154898 h 1451770"/>
                <a:gd name="connsiteX4246" fmla="*/ 1313187 w 3773795"/>
                <a:gd name="connsiteY4246" fmla="*/ 1149599 h 1451770"/>
                <a:gd name="connsiteX4247" fmla="*/ 1307203 w 3773795"/>
                <a:gd name="connsiteY4247" fmla="*/ 1140421 h 1451770"/>
                <a:gd name="connsiteX4248" fmla="*/ 1301764 w 3773795"/>
                <a:gd name="connsiteY4248" fmla="*/ 1132048 h 1451770"/>
                <a:gd name="connsiteX4249" fmla="*/ 1295629 w 3773795"/>
                <a:gd name="connsiteY4249" fmla="*/ 1123351 h 1451770"/>
                <a:gd name="connsiteX4250" fmla="*/ 1291990 w 3773795"/>
                <a:gd name="connsiteY4250" fmla="*/ 1118401 h 1451770"/>
                <a:gd name="connsiteX4251" fmla="*/ 1288153 w 3773795"/>
                <a:gd name="connsiteY4251" fmla="*/ 1113172 h 1451770"/>
                <a:gd name="connsiteX4252" fmla="*/ 1286814 w 3773795"/>
                <a:gd name="connsiteY4252" fmla="*/ 1111722 h 1451770"/>
                <a:gd name="connsiteX4253" fmla="*/ 1284713 w 3773795"/>
                <a:gd name="connsiteY4253" fmla="*/ 1109866 h 1451770"/>
                <a:gd name="connsiteX4254" fmla="*/ 1279513 w 3773795"/>
                <a:gd name="connsiteY4254" fmla="*/ 1106263 h 1451770"/>
                <a:gd name="connsiteX4255" fmla="*/ 1272066 w 3773795"/>
                <a:gd name="connsiteY4255" fmla="*/ 1101094 h 1451770"/>
                <a:gd name="connsiteX4256" fmla="*/ 1265173 w 3773795"/>
                <a:gd name="connsiteY4256" fmla="*/ 1096482 h 1451770"/>
                <a:gd name="connsiteX4257" fmla="*/ 1259755 w 3773795"/>
                <a:gd name="connsiteY4257" fmla="*/ 1092852 h 1451770"/>
                <a:gd name="connsiteX4258" fmla="*/ 1258371 w 3773795"/>
                <a:gd name="connsiteY4258" fmla="*/ 1091315 h 1451770"/>
                <a:gd name="connsiteX4259" fmla="*/ 1257745 w 3773795"/>
                <a:gd name="connsiteY4259" fmla="*/ 1090425 h 1451770"/>
                <a:gd name="connsiteX4260" fmla="*/ 1257166 w 3773795"/>
                <a:gd name="connsiteY4260" fmla="*/ 1089432 h 1451770"/>
                <a:gd name="connsiteX4261" fmla="*/ 1256358 w 3773795"/>
                <a:gd name="connsiteY4261" fmla="*/ 1087663 h 1451770"/>
                <a:gd name="connsiteX4262" fmla="*/ 1256350 w 3773795"/>
                <a:gd name="connsiteY4262" fmla="*/ 1086509 h 1451770"/>
                <a:gd name="connsiteX4263" fmla="*/ 1261500 w 3773795"/>
                <a:gd name="connsiteY4263" fmla="*/ 1086699 h 1451770"/>
                <a:gd name="connsiteX4264" fmla="*/ 1262571 w 3773795"/>
                <a:gd name="connsiteY4264" fmla="*/ 1085567 h 1451770"/>
                <a:gd name="connsiteX4265" fmla="*/ 1264471 w 3773795"/>
                <a:gd name="connsiteY4265" fmla="*/ 1081325 h 1451770"/>
                <a:gd name="connsiteX4266" fmla="*/ 1265540 w 3773795"/>
                <a:gd name="connsiteY4266" fmla="*/ 1077651 h 1451770"/>
                <a:gd name="connsiteX4267" fmla="*/ 1263817 w 3773795"/>
                <a:gd name="connsiteY4267" fmla="*/ 1077819 h 1451770"/>
                <a:gd name="connsiteX4268" fmla="*/ 1260636 w 3773795"/>
                <a:gd name="connsiteY4268" fmla="*/ 1079337 h 1451770"/>
                <a:gd name="connsiteX4269" fmla="*/ 1258947 w 3773795"/>
                <a:gd name="connsiteY4269" fmla="*/ 1080435 h 1451770"/>
                <a:gd name="connsiteX4270" fmla="*/ 1258003 w 3773795"/>
                <a:gd name="connsiteY4270" fmla="*/ 1080904 h 1451770"/>
                <a:gd name="connsiteX4271" fmla="*/ 1252920 w 3773795"/>
                <a:gd name="connsiteY4271" fmla="*/ 1081627 h 1451770"/>
                <a:gd name="connsiteX4272" fmla="*/ 1250133 w 3773795"/>
                <a:gd name="connsiteY4272" fmla="*/ 1083253 h 1451770"/>
                <a:gd name="connsiteX4273" fmla="*/ 1244386 w 3773795"/>
                <a:gd name="connsiteY4273" fmla="*/ 1086008 h 1451770"/>
                <a:gd name="connsiteX4274" fmla="*/ 1240234 w 3773795"/>
                <a:gd name="connsiteY4274" fmla="*/ 1087624 h 1451770"/>
                <a:gd name="connsiteX4275" fmla="*/ 1239437 w 3773795"/>
                <a:gd name="connsiteY4275" fmla="*/ 1087891 h 1451770"/>
                <a:gd name="connsiteX4276" fmla="*/ 1234581 w 3773795"/>
                <a:gd name="connsiteY4276" fmla="*/ 1088388 h 1451770"/>
                <a:gd name="connsiteX4277" fmla="*/ 1233717 w 3773795"/>
                <a:gd name="connsiteY4277" fmla="*/ 1089030 h 1451770"/>
                <a:gd name="connsiteX4278" fmla="*/ 1233589 w 3773795"/>
                <a:gd name="connsiteY4278" fmla="*/ 1090450 h 1451770"/>
                <a:gd name="connsiteX4279" fmla="*/ 1233251 w 3773795"/>
                <a:gd name="connsiteY4279" fmla="*/ 1092016 h 1451770"/>
                <a:gd name="connsiteX4280" fmla="*/ 1229783 w 3773795"/>
                <a:gd name="connsiteY4280" fmla="*/ 1094328 h 1451770"/>
                <a:gd name="connsiteX4281" fmla="*/ 1226066 w 3773795"/>
                <a:gd name="connsiteY4281" fmla="*/ 1096360 h 1451770"/>
                <a:gd name="connsiteX4282" fmla="*/ 1224669 w 3773795"/>
                <a:gd name="connsiteY4282" fmla="*/ 1096586 h 1451770"/>
                <a:gd name="connsiteX4283" fmla="*/ 1222411 w 3773795"/>
                <a:gd name="connsiteY4283" fmla="*/ 1096138 h 1451770"/>
                <a:gd name="connsiteX4284" fmla="*/ 1221247 w 3773795"/>
                <a:gd name="connsiteY4284" fmla="*/ 1096391 h 1451770"/>
                <a:gd name="connsiteX4285" fmla="*/ 1217870 w 3773795"/>
                <a:gd name="connsiteY4285" fmla="*/ 1098547 h 1451770"/>
                <a:gd name="connsiteX4286" fmla="*/ 1212795 w 3773795"/>
                <a:gd name="connsiteY4286" fmla="*/ 1101784 h 1451770"/>
                <a:gd name="connsiteX4287" fmla="*/ 1212319 w 3773795"/>
                <a:gd name="connsiteY4287" fmla="*/ 1103099 h 1451770"/>
                <a:gd name="connsiteX4288" fmla="*/ 1212294 w 3773795"/>
                <a:gd name="connsiteY4288" fmla="*/ 1104697 h 1451770"/>
                <a:gd name="connsiteX4289" fmla="*/ 1211706 w 3773795"/>
                <a:gd name="connsiteY4289" fmla="*/ 1106093 h 1451770"/>
                <a:gd name="connsiteX4290" fmla="*/ 1210575 w 3773795"/>
                <a:gd name="connsiteY4290" fmla="*/ 1106599 h 1451770"/>
                <a:gd name="connsiteX4291" fmla="*/ 1208934 w 3773795"/>
                <a:gd name="connsiteY4291" fmla="*/ 1105390 h 1451770"/>
                <a:gd name="connsiteX4292" fmla="*/ 1207444 w 3773795"/>
                <a:gd name="connsiteY4292" fmla="*/ 1103921 h 1451770"/>
                <a:gd name="connsiteX4293" fmla="*/ 1204319 w 3773795"/>
                <a:gd name="connsiteY4293" fmla="*/ 1102866 h 1451770"/>
                <a:gd name="connsiteX4294" fmla="*/ 1199683 w 3773795"/>
                <a:gd name="connsiteY4294" fmla="*/ 1102615 h 1451770"/>
                <a:gd name="connsiteX4295" fmla="*/ 1196856 w 3773795"/>
                <a:gd name="connsiteY4295" fmla="*/ 1103127 h 1451770"/>
                <a:gd name="connsiteX4296" fmla="*/ 1194907 w 3773795"/>
                <a:gd name="connsiteY4296" fmla="*/ 1103927 h 1451770"/>
                <a:gd name="connsiteX4297" fmla="*/ 1191080 w 3773795"/>
                <a:gd name="connsiteY4297" fmla="*/ 1107164 h 1451770"/>
                <a:gd name="connsiteX4298" fmla="*/ 1189688 w 3773795"/>
                <a:gd name="connsiteY4298" fmla="*/ 1107806 h 1451770"/>
                <a:gd name="connsiteX4299" fmla="*/ 1188912 w 3773795"/>
                <a:gd name="connsiteY4299" fmla="*/ 1107600 h 1451770"/>
                <a:gd name="connsiteX4300" fmla="*/ 1188692 w 3773795"/>
                <a:gd name="connsiteY4300" fmla="*/ 1106039 h 1451770"/>
                <a:gd name="connsiteX4301" fmla="*/ 1187917 w 3773795"/>
                <a:gd name="connsiteY4301" fmla="*/ 1104925 h 1451770"/>
                <a:gd name="connsiteX4302" fmla="*/ 1187007 w 3773795"/>
                <a:gd name="connsiteY4302" fmla="*/ 1103260 h 1451770"/>
                <a:gd name="connsiteX4303" fmla="*/ 1187448 w 3773795"/>
                <a:gd name="connsiteY4303" fmla="*/ 1099973 h 1451770"/>
                <a:gd name="connsiteX4304" fmla="*/ 1189521 w 3773795"/>
                <a:gd name="connsiteY4304" fmla="*/ 1096821 h 1451770"/>
                <a:gd name="connsiteX4305" fmla="*/ 1192944 w 3773795"/>
                <a:gd name="connsiteY4305" fmla="*/ 1095100 h 1451770"/>
                <a:gd name="connsiteX4306" fmla="*/ 1195701 w 3773795"/>
                <a:gd name="connsiteY4306" fmla="*/ 1093248 h 1451770"/>
                <a:gd name="connsiteX4307" fmla="*/ 1196511 w 3773795"/>
                <a:gd name="connsiteY4307" fmla="*/ 1091224 h 1451770"/>
                <a:gd name="connsiteX4308" fmla="*/ 1196442 w 3773795"/>
                <a:gd name="connsiteY4308" fmla="*/ 1089823 h 1451770"/>
                <a:gd name="connsiteX4309" fmla="*/ 1195425 w 3773795"/>
                <a:gd name="connsiteY4309" fmla="*/ 1089183 h 1451770"/>
                <a:gd name="connsiteX4310" fmla="*/ 1194353 w 3773795"/>
                <a:gd name="connsiteY4310" fmla="*/ 1089064 h 1451770"/>
                <a:gd name="connsiteX4311" fmla="*/ 1193734 w 3773795"/>
                <a:gd name="connsiteY4311" fmla="*/ 1089745 h 1451770"/>
                <a:gd name="connsiteX4312" fmla="*/ 1191870 w 3773795"/>
                <a:gd name="connsiteY4312" fmla="*/ 1091130 h 1451770"/>
                <a:gd name="connsiteX4313" fmla="*/ 1189107 w 3773795"/>
                <a:gd name="connsiteY4313" fmla="*/ 1092236 h 1451770"/>
                <a:gd name="connsiteX4314" fmla="*/ 1186804 w 3773795"/>
                <a:gd name="connsiteY4314" fmla="*/ 1092455 h 1451770"/>
                <a:gd name="connsiteX4315" fmla="*/ 1185772 w 3773795"/>
                <a:gd name="connsiteY4315" fmla="*/ 1092388 h 1451770"/>
                <a:gd name="connsiteX4316" fmla="*/ 1183328 w 3773795"/>
                <a:gd name="connsiteY4316" fmla="*/ 1091693 h 1451770"/>
                <a:gd name="connsiteX4317" fmla="*/ 1178789 w 3773795"/>
                <a:gd name="connsiteY4317" fmla="*/ 1087851 h 1451770"/>
                <a:gd name="connsiteX4318" fmla="*/ 1174962 w 3773795"/>
                <a:gd name="connsiteY4318" fmla="*/ 1087329 h 1451770"/>
                <a:gd name="connsiteX4319" fmla="*/ 1172337 w 3773795"/>
                <a:gd name="connsiteY4319" fmla="*/ 1087031 h 1451770"/>
                <a:gd name="connsiteX4320" fmla="*/ 1171462 w 3773795"/>
                <a:gd name="connsiteY4320" fmla="*/ 1087418 h 1451770"/>
                <a:gd name="connsiteX4321" fmla="*/ 1171054 w 3773795"/>
                <a:gd name="connsiteY4321" fmla="*/ 1088364 h 1451770"/>
                <a:gd name="connsiteX4322" fmla="*/ 1171304 w 3773795"/>
                <a:gd name="connsiteY4322" fmla="*/ 1089395 h 1451770"/>
                <a:gd name="connsiteX4323" fmla="*/ 1171827 w 3773795"/>
                <a:gd name="connsiteY4323" fmla="*/ 1090410 h 1451770"/>
                <a:gd name="connsiteX4324" fmla="*/ 1171533 w 3773795"/>
                <a:gd name="connsiteY4324" fmla="*/ 1091232 h 1451770"/>
                <a:gd name="connsiteX4325" fmla="*/ 1170302 w 3773795"/>
                <a:gd name="connsiteY4325" fmla="*/ 1091844 h 1451770"/>
                <a:gd name="connsiteX4326" fmla="*/ 1168456 w 3773795"/>
                <a:gd name="connsiteY4326" fmla="*/ 1092872 h 1451770"/>
                <a:gd name="connsiteX4327" fmla="*/ 1167517 w 3773795"/>
                <a:gd name="connsiteY4327" fmla="*/ 1092187 h 1451770"/>
                <a:gd name="connsiteX4328" fmla="*/ 1167046 w 3773795"/>
                <a:gd name="connsiteY4328" fmla="*/ 1089481 h 1451770"/>
                <a:gd name="connsiteX4329" fmla="*/ 1167141 w 3773795"/>
                <a:gd name="connsiteY4329" fmla="*/ 1087374 h 1451770"/>
                <a:gd name="connsiteX4330" fmla="*/ 1165863 w 3773795"/>
                <a:gd name="connsiteY4330" fmla="*/ 1085599 h 1451770"/>
                <a:gd name="connsiteX4331" fmla="*/ 1164528 w 3773795"/>
                <a:gd name="connsiteY4331" fmla="*/ 1082840 h 1451770"/>
                <a:gd name="connsiteX4332" fmla="*/ 1162691 w 3773795"/>
                <a:gd name="connsiteY4332" fmla="*/ 1081210 h 1451770"/>
                <a:gd name="connsiteX4333" fmla="*/ 1160907 w 3773795"/>
                <a:gd name="connsiteY4333" fmla="*/ 1081734 h 1451770"/>
                <a:gd name="connsiteX4334" fmla="*/ 1160028 w 3773795"/>
                <a:gd name="connsiteY4334" fmla="*/ 1084072 h 1451770"/>
                <a:gd name="connsiteX4335" fmla="*/ 1158676 w 3773795"/>
                <a:gd name="connsiteY4335" fmla="*/ 1084862 h 1451770"/>
                <a:gd name="connsiteX4336" fmla="*/ 1156087 w 3773795"/>
                <a:gd name="connsiteY4336" fmla="*/ 1084381 h 1451770"/>
                <a:gd name="connsiteX4337" fmla="*/ 1151438 w 3773795"/>
                <a:gd name="connsiteY4337" fmla="*/ 1085703 h 1451770"/>
                <a:gd name="connsiteX4338" fmla="*/ 1143904 w 3773795"/>
                <a:gd name="connsiteY4338" fmla="*/ 1086301 h 1451770"/>
                <a:gd name="connsiteX4339" fmla="*/ 1138525 w 3773795"/>
                <a:gd name="connsiteY4339" fmla="*/ 1084663 h 1451770"/>
                <a:gd name="connsiteX4340" fmla="*/ 1137631 w 3773795"/>
                <a:gd name="connsiteY4340" fmla="*/ 1083194 h 1451770"/>
                <a:gd name="connsiteX4341" fmla="*/ 1139829 w 3773795"/>
                <a:gd name="connsiteY4341" fmla="*/ 1080040 h 1451770"/>
                <a:gd name="connsiteX4342" fmla="*/ 1139998 w 3773795"/>
                <a:gd name="connsiteY4342" fmla="*/ 1077253 h 1451770"/>
                <a:gd name="connsiteX4343" fmla="*/ 1139985 w 3773795"/>
                <a:gd name="connsiteY4343" fmla="*/ 1074713 h 1451770"/>
                <a:gd name="connsiteX4344" fmla="*/ 1140568 w 3773795"/>
                <a:gd name="connsiteY4344" fmla="*/ 1072858 h 1451770"/>
                <a:gd name="connsiteX4345" fmla="*/ 1139257 w 3773795"/>
                <a:gd name="connsiteY4345" fmla="*/ 1069317 h 1451770"/>
                <a:gd name="connsiteX4346" fmla="*/ 1136283 w 3773795"/>
                <a:gd name="connsiteY4346" fmla="*/ 1062096 h 1451770"/>
                <a:gd name="connsiteX4347" fmla="*/ 1134478 w 3773795"/>
                <a:gd name="connsiteY4347" fmla="*/ 1056637 h 1451770"/>
                <a:gd name="connsiteX4348" fmla="*/ 1131829 w 3773795"/>
                <a:gd name="connsiteY4348" fmla="*/ 1052533 h 1451770"/>
                <a:gd name="connsiteX4349" fmla="*/ 1130673 w 3773795"/>
                <a:gd name="connsiteY4349" fmla="*/ 1051174 h 1451770"/>
                <a:gd name="connsiteX4350" fmla="*/ 1125107 w 3773795"/>
                <a:gd name="connsiteY4350" fmla="*/ 1051877 h 1451770"/>
                <a:gd name="connsiteX4351" fmla="*/ 1123578 w 3773795"/>
                <a:gd name="connsiteY4351" fmla="*/ 1052778 h 1451770"/>
                <a:gd name="connsiteX4352" fmla="*/ 1122567 w 3773795"/>
                <a:gd name="connsiteY4352" fmla="*/ 1054040 h 1451770"/>
                <a:gd name="connsiteX4353" fmla="*/ 1120839 w 3773795"/>
                <a:gd name="connsiteY4353" fmla="*/ 1054923 h 1451770"/>
                <a:gd name="connsiteX4354" fmla="*/ 1118386 w 3773795"/>
                <a:gd name="connsiteY4354" fmla="*/ 1055575 h 1451770"/>
                <a:gd name="connsiteX4355" fmla="*/ 1116285 w 3773795"/>
                <a:gd name="connsiteY4355" fmla="*/ 1055134 h 1451770"/>
                <a:gd name="connsiteX4356" fmla="*/ 1113949 w 3773795"/>
                <a:gd name="connsiteY4356" fmla="*/ 1054447 h 1451770"/>
                <a:gd name="connsiteX4357" fmla="*/ 1111483 w 3773795"/>
                <a:gd name="connsiteY4357" fmla="*/ 1053010 h 1451770"/>
                <a:gd name="connsiteX4358" fmla="*/ 1108609 w 3773795"/>
                <a:gd name="connsiteY4358" fmla="*/ 1051106 h 1451770"/>
                <a:gd name="connsiteX4359" fmla="*/ 1103148 w 3773795"/>
                <a:gd name="connsiteY4359" fmla="*/ 1049577 h 1451770"/>
                <a:gd name="connsiteX4360" fmla="*/ 1097702 w 3773795"/>
                <a:gd name="connsiteY4360" fmla="*/ 1049095 h 1451770"/>
                <a:gd name="connsiteX4361" fmla="*/ 1091738 w 3773795"/>
                <a:gd name="connsiteY4361" fmla="*/ 1048566 h 1451770"/>
                <a:gd name="connsiteX4362" fmla="*/ 1088768 w 3773795"/>
                <a:gd name="connsiteY4362" fmla="*/ 1049532 h 1451770"/>
                <a:gd name="connsiteX4363" fmla="*/ 1085892 w 3773795"/>
                <a:gd name="connsiteY4363" fmla="*/ 1051071 h 1451770"/>
                <a:gd name="connsiteX4364" fmla="*/ 1081733 w 3773795"/>
                <a:gd name="connsiteY4364" fmla="*/ 1054269 h 1451770"/>
                <a:gd name="connsiteX4365" fmla="*/ 1079824 w 3773795"/>
                <a:gd name="connsiteY4365" fmla="*/ 1054589 h 1451770"/>
                <a:gd name="connsiteX4366" fmla="*/ 1076805 w 3773795"/>
                <a:gd name="connsiteY4366" fmla="*/ 1054833 h 1451770"/>
                <a:gd name="connsiteX4367" fmla="*/ 1074689 w 3773795"/>
                <a:gd name="connsiteY4367" fmla="*/ 1055621 h 1451770"/>
                <a:gd name="connsiteX4368" fmla="*/ 1075110 w 3773795"/>
                <a:gd name="connsiteY4368" fmla="*/ 1057029 h 1451770"/>
                <a:gd name="connsiteX4369" fmla="*/ 1075525 w 3773795"/>
                <a:gd name="connsiteY4369" fmla="*/ 1058962 h 1451770"/>
                <a:gd name="connsiteX4370" fmla="*/ 1074758 w 3773795"/>
                <a:gd name="connsiteY4370" fmla="*/ 1060481 h 1451770"/>
                <a:gd name="connsiteX4371" fmla="*/ 1073575 w 3773795"/>
                <a:gd name="connsiteY4371" fmla="*/ 1061290 h 1451770"/>
                <a:gd name="connsiteX4372" fmla="*/ 1071761 w 3773795"/>
                <a:gd name="connsiteY4372" fmla="*/ 1061816 h 1451770"/>
                <a:gd name="connsiteX4373" fmla="*/ 1068800 w 3773795"/>
                <a:gd name="connsiteY4373" fmla="*/ 1061996 h 1451770"/>
                <a:gd name="connsiteX4374" fmla="*/ 1066367 w 3773795"/>
                <a:gd name="connsiteY4374" fmla="*/ 1062308 h 1451770"/>
                <a:gd name="connsiteX4375" fmla="*/ 1063348 w 3773795"/>
                <a:gd name="connsiteY4375" fmla="*/ 1064493 h 1451770"/>
                <a:gd name="connsiteX4376" fmla="*/ 1058733 w 3773795"/>
                <a:gd name="connsiteY4376" fmla="*/ 1065043 h 1451770"/>
                <a:gd name="connsiteX4377" fmla="*/ 1053706 w 3773795"/>
                <a:gd name="connsiteY4377" fmla="*/ 1065830 h 1451770"/>
                <a:gd name="connsiteX4378" fmla="*/ 1050191 w 3773795"/>
                <a:gd name="connsiteY4378" fmla="*/ 1067076 h 1451770"/>
                <a:gd name="connsiteX4379" fmla="*/ 1042588 w 3773795"/>
                <a:gd name="connsiteY4379" fmla="*/ 1068617 h 1451770"/>
                <a:gd name="connsiteX4380" fmla="*/ 1038185 w 3773795"/>
                <a:gd name="connsiteY4380" fmla="*/ 1069305 h 1451770"/>
                <a:gd name="connsiteX4381" fmla="*/ 1030828 w 3773795"/>
                <a:gd name="connsiteY4381" fmla="*/ 1070776 h 1451770"/>
                <a:gd name="connsiteX4382" fmla="*/ 1024902 w 3773795"/>
                <a:gd name="connsiteY4382" fmla="*/ 1071016 h 1451770"/>
                <a:gd name="connsiteX4383" fmla="*/ 1024008 w 3773795"/>
                <a:gd name="connsiteY4383" fmla="*/ 1069982 h 1451770"/>
                <a:gd name="connsiteX4384" fmla="*/ 1019443 w 3773795"/>
                <a:gd name="connsiteY4384" fmla="*/ 1072265 h 1451770"/>
                <a:gd name="connsiteX4385" fmla="*/ 1014339 w 3773795"/>
                <a:gd name="connsiteY4385" fmla="*/ 1072125 h 1451770"/>
                <a:gd name="connsiteX4386" fmla="*/ 1013397 w 3773795"/>
                <a:gd name="connsiteY4386" fmla="*/ 1073041 h 1451770"/>
                <a:gd name="connsiteX4387" fmla="*/ 1012153 w 3773795"/>
                <a:gd name="connsiteY4387" fmla="*/ 1073923 h 1451770"/>
                <a:gd name="connsiteX4388" fmla="*/ 1010778 w 3773795"/>
                <a:gd name="connsiteY4388" fmla="*/ 1074317 h 1451770"/>
                <a:gd name="connsiteX4389" fmla="*/ 1009042 w 3773795"/>
                <a:gd name="connsiteY4389" fmla="*/ 1075402 h 1451770"/>
                <a:gd name="connsiteX4390" fmla="*/ 1008042 w 3773795"/>
                <a:gd name="connsiteY4390" fmla="*/ 1077690 h 1451770"/>
                <a:gd name="connsiteX4391" fmla="*/ 1007282 w 3773795"/>
                <a:gd name="connsiteY4391" fmla="*/ 1080029 h 1451770"/>
                <a:gd name="connsiteX4392" fmla="*/ 1005746 w 3773795"/>
                <a:gd name="connsiteY4392" fmla="*/ 1080767 h 1451770"/>
                <a:gd name="connsiteX4393" fmla="*/ 1003691 w 3773795"/>
                <a:gd name="connsiteY4393" fmla="*/ 1079896 h 1451770"/>
                <a:gd name="connsiteX4394" fmla="*/ 1002173 w 3773795"/>
                <a:gd name="connsiteY4394" fmla="*/ 1079047 h 1451770"/>
                <a:gd name="connsiteX4395" fmla="*/ 999575 w 3773795"/>
                <a:gd name="connsiteY4395" fmla="*/ 1079903 h 1451770"/>
                <a:gd name="connsiteX4396" fmla="*/ 996051 w 3773795"/>
                <a:gd name="connsiteY4396" fmla="*/ 1080400 h 1451770"/>
                <a:gd name="connsiteX4397" fmla="*/ 993291 w 3773795"/>
                <a:gd name="connsiteY4397" fmla="*/ 1080097 h 1451770"/>
                <a:gd name="connsiteX4398" fmla="*/ 991879 w 3773795"/>
                <a:gd name="connsiteY4398" fmla="*/ 1079426 h 1451770"/>
                <a:gd name="connsiteX4399" fmla="*/ 986089 w 3773795"/>
                <a:gd name="connsiteY4399" fmla="*/ 1080547 h 1451770"/>
                <a:gd name="connsiteX4400" fmla="*/ 983071 w 3773795"/>
                <a:gd name="connsiteY4400" fmla="*/ 1081902 h 1451770"/>
                <a:gd name="connsiteX4401" fmla="*/ 982507 w 3773795"/>
                <a:gd name="connsiteY4401" fmla="*/ 1082608 h 1451770"/>
                <a:gd name="connsiteX4402" fmla="*/ 981766 w 3773795"/>
                <a:gd name="connsiteY4402" fmla="*/ 1082993 h 1451770"/>
                <a:gd name="connsiteX4403" fmla="*/ 978298 w 3773795"/>
                <a:gd name="connsiteY4403" fmla="*/ 1083925 h 1451770"/>
                <a:gd name="connsiteX4404" fmla="*/ 975515 w 3773795"/>
                <a:gd name="connsiteY4404" fmla="*/ 1083665 h 1451770"/>
                <a:gd name="connsiteX4405" fmla="*/ 975077 w 3773795"/>
                <a:gd name="connsiteY4405" fmla="*/ 1083720 h 1451770"/>
                <a:gd name="connsiteX4406" fmla="*/ 972438 w 3773795"/>
                <a:gd name="connsiteY4406" fmla="*/ 1084368 h 1451770"/>
                <a:gd name="connsiteX4407" fmla="*/ 968715 w 3773795"/>
                <a:gd name="connsiteY4407" fmla="*/ 1085545 h 1451770"/>
                <a:gd name="connsiteX4408" fmla="*/ 966040 w 3773795"/>
                <a:gd name="connsiteY4408" fmla="*/ 1085933 h 1451770"/>
                <a:gd name="connsiteX4409" fmla="*/ 963798 w 3773795"/>
                <a:gd name="connsiteY4409" fmla="*/ 1085915 h 1451770"/>
                <a:gd name="connsiteX4410" fmla="*/ 962366 w 3773795"/>
                <a:gd name="connsiteY4410" fmla="*/ 1086881 h 1451770"/>
                <a:gd name="connsiteX4411" fmla="*/ 961203 w 3773795"/>
                <a:gd name="connsiteY4411" fmla="*/ 1087915 h 1451770"/>
                <a:gd name="connsiteX4412" fmla="*/ 951447 w 3773795"/>
                <a:gd name="connsiteY4412" fmla="*/ 1089007 h 1451770"/>
                <a:gd name="connsiteX4413" fmla="*/ 950464 w 3773795"/>
                <a:gd name="connsiteY4413" fmla="*/ 1089761 h 1451770"/>
                <a:gd name="connsiteX4414" fmla="*/ 948490 w 3773795"/>
                <a:gd name="connsiteY4414" fmla="*/ 1090709 h 1451770"/>
                <a:gd name="connsiteX4415" fmla="*/ 938345 w 3773795"/>
                <a:gd name="connsiteY4415" fmla="*/ 1091029 h 1451770"/>
                <a:gd name="connsiteX4416" fmla="*/ 937508 w 3773795"/>
                <a:gd name="connsiteY4416" fmla="*/ 1091718 h 1451770"/>
                <a:gd name="connsiteX4417" fmla="*/ 937139 w 3773795"/>
                <a:gd name="connsiteY4417" fmla="*/ 1092492 h 1451770"/>
                <a:gd name="connsiteX4418" fmla="*/ 935879 w 3773795"/>
                <a:gd name="connsiteY4418" fmla="*/ 1092732 h 1451770"/>
                <a:gd name="connsiteX4419" fmla="*/ 928570 w 3773795"/>
                <a:gd name="connsiteY4419" fmla="*/ 1091263 h 1451770"/>
                <a:gd name="connsiteX4420" fmla="*/ 922722 w 3773795"/>
                <a:gd name="connsiteY4420" fmla="*/ 1089614 h 1451770"/>
                <a:gd name="connsiteX4421" fmla="*/ 920453 w 3773795"/>
                <a:gd name="connsiteY4421" fmla="*/ 1090518 h 1451770"/>
                <a:gd name="connsiteX4422" fmla="*/ 918522 w 3773795"/>
                <a:gd name="connsiteY4422" fmla="*/ 1092206 h 1451770"/>
                <a:gd name="connsiteX4423" fmla="*/ 917846 w 3773795"/>
                <a:gd name="connsiteY4423" fmla="*/ 1094672 h 1451770"/>
                <a:gd name="connsiteX4424" fmla="*/ 917846 w 3773795"/>
                <a:gd name="connsiteY4424" fmla="*/ 1096775 h 1451770"/>
                <a:gd name="connsiteX4425" fmla="*/ 917846 w 3773795"/>
                <a:gd name="connsiteY4425" fmla="*/ 1098575 h 1451770"/>
                <a:gd name="connsiteX4426" fmla="*/ 916970 w 3773795"/>
                <a:gd name="connsiteY4426" fmla="*/ 1099876 h 1451770"/>
                <a:gd name="connsiteX4427" fmla="*/ 915024 w 3773795"/>
                <a:gd name="connsiteY4427" fmla="*/ 1101478 h 1451770"/>
                <a:gd name="connsiteX4428" fmla="*/ 914890 w 3773795"/>
                <a:gd name="connsiteY4428" fmla="*/ 1102555 h 1451770"/>
                <a:gd name="connsiteX4429" fmla="*/ 917523 w 3773795"/>
                <a:gd name="connsiteY4429" fmla="*/ 1103721 h 1451770"/>
                <a:gd name="connsiteX4430" fmla="*/ 920826 w 3773795"/>
                <a:gd name="connsiteY4430" fmla="*/ 1104690 h 1451770"/>
                <a:gd name="connsiteX4431" fmla="*/ 922776 w 3773795"/>
                <a:gd name="connsiteY4431" fmla="*/ 1104261 h 1451770"/>
                <a:gd name="connsiteX4432" fmla="*/ 924409 w 3773795"/>
                <a:gd name="connsiteY4432" fmla="*/ 1103601 h 1451770"/>
                <a:gd name="connsiteX4433" fmla="*/ 925828 w 3773795"/>
                <a:gd name="connsiteY4433" fmla="*/ 1103806 h 1451770"/>
                <a:gd name="connsiteX4434" fmla="*/ 926823 w 3773795"/>
                <a:gd name="connsiteY4434" fmla="*/ 1104584 h 1451770"/>
                <a:gd name="connsiteX4435" fmla="*/ 927173 w 3773795"/>
                <a:gd name="connsiteY4435" fmla="*/ 1105524 h 1451770"/>
                <a:gd name="connsiteX4436" fmla="*/ 926987 w 3773795"/>
                <a:gd name="connsiteY4436" fmla="*/ 1106179 h 1451770"/>
                <a:gd name="connsiteX4437" fmla="*/ 926368 w 3773795"/>
                <a:gd name="connsiteY4437" fmla="*/ 1106688 h 1451770"/>
                <a:gd name="connsiteX4438" fmla="*/ 924210 w 3773795"/>
                <a:gd name="connsiteY4438" fmla="*/ 1107558 h 1451770"/>
                <a:gd name="connsiteX4439" fmla="*/ 922234 w 3773795"/>
                <a:gd name="connsiteY4439" fmla="*/ 1107259 h 1451770"/>
                <a:gd name="connsiteX4440" fmla="*/ 920405 w 3773795"/>
                <a:gd name="connsiteY4440" fmla="*/ 1107856 h 1451770"/>
                <a:gd name="connsiteX4441" fmla="*/ 919455 w 3773795"/>
                <a:gd name="connsiteY4441" fmla="*/ 1109052 h 1451770"/>
                <a:gd name="connsiteX4442" fmla="*/ 918944 w 3773795"/>
                <a:gd name="connsiteY4442" fmla="*/ 1111141 h 1451770"/>
                <a:gd name="connsiteX4443" fmla="*/ 919749 w 3773795"/>
                <a:gd name="connsiteY4443" fmla="*/ 1112632 h 1451770"/>
                <a:gd name="connsiteX4444" fmla="*/ 922219 w 3773795"/>
                <a:gd name="connsiteY4444" fmla="*/ 1112991 h 1451770"/>
                <a:gd name="connsiteX4445" fmla="*/ 925002 w 3773795"/>
                <a:gd name="connsiteY4445" fmla="*/ 1114067 h 1451770"/>
                <a:gd name="connsiteX4446" fmla="*/ 928084 w 3773795"/>
                <a:gd name="connsiteY4446" fmla="*/ 1114576 h 1451770"/>
                <a:gd name="connsiteX4447" fmla="*/ 929935 w 3773795"/>
                <a:gd name="connsiteY4447" fmla="*/ 1114395 h 1451770"/>
                <a:gd name="connsiteX4448" fmla="*/ 932286 w 3773795"/>
                <a:gd name="connsiteY4448" fmla="*/ 1116032 h 1451770"/>
                <a:gd name="connsiteX4449" fmla="*/ 937780 w 3773795"/>
                <a:gd name="connsiteY4449" fmla="*/ 1118014 h 1451770"/>
                <a:gd name="connsiteX4450" fmla="*/ 939248 w 3773795"/>
                <a:gd name="connsiteY4450" fmla="*/ 1119526 h 1451770"/>
                <a:gd name="connsiteX4451" fmla="*/ 939285 w 3773795"/>
                <a:gd name="connsiteY4451" fmla="*/ 1121084 h 1451770"/>
                <a:gd name="connsiteX4452" fmla="*/ 938276 w 3773795"/>
                <a:gd name="connsiteY4452" fmla="*/ 1122261 h 1451770"/>
                <a:gd name="connsiteX4453" fmla="*/ 936886 w 3773795"/>
                <a:gd name="connsiteY4453" fmla="*/ 1122930 h 1451770"/>
                <a:gd name="connsiteX4454" fmla="*/ 934992 w 3773795"/>
                <a:gd name="connsiteY4454" fmla="*/ 1122566 h 1451770"/>
                <a:gd name="connsiteX4455" fmla="*/ 931250 w 3773795"/>
                <a:gd name="connsiteY4455" fmla="*/ 1122163 h 1451770"/>
                <a:gd name="connsiteX4456" fmla="*/ 927143 w 3773795"/>
                <a:gd name="connsiteY4456" fmla="*/ 1121890 h 1451770"/>
                <a:gd name="connsiteX4457" fmla="*/ 924206 w 3773795"/>
                <a:gd name="connsiteY4457" fmla="*/ 1121366 h 1451770"/>
                <a:gd name="connsiteX4458" fmla="*/ 919919 w 3773795"/>
                <a:gd name="connsiteY4458" fmla="*/ 1121574 h 1451770"/>
                <a:gd name="connsiteX4459" fmla="*/ 916393 w 3773795"/>
                <a:gd name="connsiteY4459" fmla="*/ 1122071 h 1451770"/>
                <a:gd name="connsiteX4460" fmla="*/ 915488 w 3773795"/>
                <a:gd name="connsiteY4460" fmla="*/ 1123241 h 1451770"/>
                <a:gd name="connsiteX4461" fmla="*/ 914121 w 3773795"/>
                <a:gd name="connsiteY4461" fmla="*/ 1125430 h 1451770"/>
                <a:gd name="connsiteX4462" fmla="*/ 912983 w 3773795"/>
                <a:gd name="connsiteY4462" fmla="*/ 1126647 h 1451770"/>
                <a:gd name="connsiteX4463" fmla="*/ 910973 w 3773795"/>
                <a:gd name="connsiteY4463" fmla="*/ 1128878 h 1451770"/>
                <a:gd name="connsiteX4464" fmla="*/ 910356 w 3773795"/>
                <a:gd name="connsiteY4464" fmla="*/ 1130935 h 1451770"/>
                <a:gd name="connsiteX4465" fmla="*/ 911392 w 3773795"/>
                <a:gd name="connsiteY4465" fmla="*/ 1134092 h 1451770"/>
                <a:gd name="connsiteX4466" fmla="*/ 914890 w 3773795"/>
                <a:gd name="connsiteY4466" fmla="*/ 1139300 h 1451770"/>
                <a:gd name="connsiteX4467" fmla="*/ 915223 w 3773795"/>
                <a:gd name="connsiteY4467" fmla="*/ 1141020 h 1451770"/>
                <a:gd name="connsiteX4468" fmla="*/ 913964 w 3773795"/>
                <a:gd name="connsiteY4468" fmla="*/ 1142691 h 1451770"/>
                <a:gd name="connsiteX4469" fmla="*/ 911550 w 3773795"/>
                <a:gd name="connsiteY4469" fmla="*/ 1144090 h 1451770"/>
                <a:gd name="connsiteX4470" fmla="*/ 908054 w 3773795"/>
                <a:gd name="connsiteY4470" fmla="*/ 1146538 h 1451770"/>
                <a:gd name="connsiteX4471" fmla="*/ 904272 w 3773795"/>
                <a:gd name="connsiteY4471" fmla="*/ 1146671 h 1451770"/>
                <a:gd name="connsiteX4472" fmla="*/ 902640 w 3773795"/>
                <a:gd name="connsiteY4472" fmla="*/ 1147285 h 1451770"/>
                <a:gd name="connsiteX4473" fmla="*/ 898399 w 3773795"/>
                <a:gd name="connsiteY4473" fmla="*/ 1150277 h 1451770"/>
                <a:gd name="connsiteX4474" fmla="*/ 894681 w 3773795"/>
                <a:gd name="connsiteY4474" fmla="*/ 1151698 h 1451770"/>
                <a:gd name="connsiteX4475" fmla="*/ 893901 w 3773795"/>
                <a:gd name="connsiteY4475" fmla="*/ 1152975 h 1451770"/>
                <a:gd name="connsiteX4476" fmla="*/ 894724 w 3773795"/>
                <a:gd name="connsiteY4476" fmla="*/ 1154234 h 1451770"/>
                <a:gd name="connsiteX4477" fmla="*/ 899431 w 3773795"/>
                <a:gd name="connsiteY4477" fmla="*/ 1155887 h 1451770"/>
                <a:gd name="connsiteX4478" fmla="*/ 901800 w 3773795"/>
                <a:gd name="connsiteY4478" fmla="*/ 1157705 h 1451770"/>
                <a:gd name="connsiteX4479" fmla="*/ 902483 w 3773795"/>
                <a:gd name="connsiteY4479" fmla="*/ 1159741 h 1451770"/>
                <a:gd name="connsiteX4480" fmla="*/ 903508 w 3773795"/>
                <a:gd name="connsiteY4480" fmla="*/ 1161294 h 1451770"/>
                <a:gd name="connsiteX4481" fmla="*/ 907171 w 3773795"/>
                <a:gd name="connsiteY4481" fmla="*/ 1162302 h 1451770"/>
                <a:gd name="connsiteX4482" fmla="*/ 914759 w 3773795"/>
                <a:gd name="connsiteY4482" fmla="*/ 1164652 h 1451770"/>
                <a:gd name="connsiteX4483" fmla="*/ 915197 w 3773795"/>
                <a:gd name="connsiteY4483" fmla="*/ 1164897 h 1451770"/>
                <a:gd name="connsiteX4484" fmla="*/ 915672 w 3773795"/>
                <a:gd name="connsiteY4484" fmla="*/ 1165965 h 1451770"/>
                <a:gd name="connsiteX4485" fmla="*/ 923372 w 3773795"/>
                <a:gd name="connsiteY4485" fmla="*/ 1167448 h 1451770"/>
                <a:gd name="connsiteX4486" fmla="*/ 924439 w 3773795"/>
                <a:gd name="connsiteY4486" fmla="*/ 1168245 h 1451770"/>
                <a:gd name="connsiteX4487" fmla="*/ 927609 w 3773795"/>
                <a:gd name="connsiteY4487" fmla="*/ 1170890 h 1451770"/>
                <a:gd name="connsiteX4488" fmla="*/ 928281 w 3773795"/>
                <a:gd name="connsiteY4488" fmla="*/ 1173672 h 1451770"/>
                <a:gd name="connsiteX4489" fmla="*/ 926670 w 3773795"/>
                <a:gd name="connsiteY4489" fmla="*/ 1176385 h 1451770"/>
                <a:gd name="connsiteX4490" fmla="*/ 925626 w 3773795"/>
                <a:gd name="connsiteY4490" fmla="*/ 1180676 h 1451770"/>
                <a:gd name="connsiteX4491" fmla="*/ 923955 w 3773795"/>
                <a:gd name="connsiteY4491" fmla="*/ 1184446 h 1451770"/>
                <a:gd name="connsiteX4492" fmla="*/ 920360 w 3773795"/>
                <a:gd name="connsiteY4492" fmla="*/ 1186960 h 1451770"/>
                <a:gd name="connsiteX4493" fmla="*/ 914068 w 3773795"/>
                <a:gd name="connsiteY4493" fmla="*/ 1189269 h 1451770"/>
                <a:gd name="connsiteX4494" fmla="*/ 907339 w 3773795"/>
                <a:gd name="connsiteY4494" fmla="*/ 1190194 h 1451770"/>
                <a:gd name="connsiteX4495" fmla="*/ 904475 w 3773795"/>
                <a:gd name="connsiteY4495" fmla="*/ 1190035 h 1451770"/>
                <a:gd name="connsiteX4496" fmla="*/ 902625 w 3773795"/>
                <a:gd name="connsiteY4496" fmla="*/ 1189745 h 1451770"/>
                <a:gd name="connsiteX4497" fmla="*/ 899602 w 3773795"/>
                <a:gd name="connsiteY4497" fmla="*/ 1189017 h 1451770"/>
                <a:gd name="connsiteX4498" fmla="*/ 897360 w 3773795"/>
                <a:gd name="connsiteY4498" fmla="*/ 1187106 h 1451770"/>
                <a:gd name="connsiteX4499" fmla="*/ 895710 w 3773795"/>
                <a:gd name="connsiteY4499" fmla="*/ 1185229 h 1451770"/>
                <a:gd name="connsiteX4500" fmla="*/ 894527 w 3773795"/>
                <a:gd name="connsiteY4500" fmla="*/ 1184760 h 1451770"/>
                <a:gd name="connsiteX4501" fmla="*/ 893348 w 3773795"/>
                <a:gd name="connsiteY4501" fmla="*/ 1185069 h 1451770"/>
                <a:gd name="connsiteX4502" fmla="*/ 892241 w 3773795"/>
                <a:gd name="connsiteY4502" fmla="*/ 1186247 h 1451770"/>
                <a:gd name="connsiteX4503" fmla="*/ 890751 w 3773795"/>
                <a:gd name="connsiteY4503" fmla="*/ 1189424 h 1451770"/>
                <a:gd name="connsiteX4504" fmla="*/ 889083 w 3773795"/>
                <a:gd name="connsiteY4504" fmla="*/ 1192569 h 1451770"/>
                <a:gd name="connsiteX4505" fmla="*/ 887730 w 3773795"/>
                <a:gd name="connsiteY4505" fmla="*/ 1193676 h 1451770"/>
                <a:gd name="connsiteX4506" fmla="*/ 882685 w 3773795"/>
                <a:gd name="connsiteY4506" fmla="*/ 1195159 h 1451770"/>
                <a:gd name="connsiteX4507" fmla="*/ 882128 w 3773795"/>
                <a:gd name="connsiteY4507" fmla="*/ 1194630 h 1451770"/>
                <a:gd name="connsiteX4508" fmla="*/ 882705 w 3773795"/>
                <a:gd name="connsiteY4508" fmla="*/ 1192546 h 1451770"/>
                <a:gd name="connsiteX4509" fmla="*/ 882068 w 3773795"/>
                <a:gd name="connsiteY4509" fmla="*/ 1191922 h 1451770"/>
                <a:gd name="connsiteX4510" fmla="*/ 881122 w 3773795"/>
                <a:gd name="connsiteY4510" fmla="*/ 1191453 h 1451770"/>
                <a:gd name="connsiteX4511" fmla="*/ 874899 w 3773795"/>
                <a:gd name="connsiteY4511" fmla="*/ 1190654 h 1451770"/>
                <a:gd name="connsiteX4512" fmla="*/ 872543 w 3773795"/>
                <a:gd name="connsiteY4512" fmla="*/ 1190063 h 1451770"/>
                <a:gd name="connsiteX4513" fmla="*/ 870785 w 3773795"/>
                <a:gd name="connsiteY4513" fmla="*/ 1189833 h 1451770"/>
                <a:gd name="connsiteX4514" fmla="*/ 868548 w 3773795"/>
                <a:gd name="connsiteY4514" fmla="*/ 1189300 h 1451770"/>
                <a:gd name="connsiteX4515" fmla="*/ 867008 w 3773795"/>
                <a:gd name="connsiteY4515" fmla="*/ 1188055 h 1451770"/>
                <a:gd name="connsiteX4516" fmla="*/ 863702 w 3773795"/>
                <a:gd name="connsiteY4516" fmla="*/ 1184234 h 1451770"/>
                <a:gd name="connsiteX4517" fmla="*/ 861113 w 3773795"/>
                <a:gd name="connsiteY4517" fmla="*/ 1181236 h 1451770"/>
                <a:gd name="connsiteX4518" fmla="*/ 856950 w 3773795"/>
                <a:gd name="connsiteY4518" fmla="*/ 1178526 h 1451770"/>
                <a:gd name="connsiteX4519" fmla="*/ 853175 w 3773795"/>
                <a:gd name="connsiteY4519" fmla="*/ 1178002 h 1451770"/>
                <a:gd name="connsiteX4520" fmla="*/ 852870 w 3773795"/>
                <a:gd name="connsiteY4520" fmla="*/ 1178279 h 1451770"/>
                <a:gd name="connsiteX4521" fmla="*/ 850005 w 3773795"/>
                <a:gd name="connsiteY4521" fmla="*/ 1178379 h 1451770"/>
                <a:gd name="connsiteX4522" fmla="*/ 845445 w 3773795"/>
                <a:gd name="connsiteY4522" fmla="*/ 1177712 h 1451770"/>
                <a:gd name="connsiteX4523" fmla="*/ 845224 w 3773795"/>
                <a:gd name="connsiteY4523" fmla="*/ 1177789 h 1451770"/>
                <a:gd name="connsiteX4524" fmla="*/ 843807 w 3773795"/>
                <a:gd name="connsiteY4524" fmla="*/ 1179021 h 1451770"/>
                <a:gd name="connsiteX4525" fmla="*/ 842749 w 3773795"/>
                <a:gd name="connsiteY4525" fmla="*/ 1180947 h 1451770"/>
                <a:gd name="connsiteX4526" fmla="*/ 841353 w 3773795"/>
                <a:gd name="connsiteY4526" fmla="*/ 1182576 h 1451770"/>
                <a:gd name="connsiteX4527" fmla="*/ 839230 w 3773795"/>
                <a:gd name="connsiteY4527" fmla="*/ 1183439 h 1451770"/>
                <a:gd name="connsiteX4528" fmla="*/ 836673 w 3773795"/>
                <a:gd name="connsiteY4528" fmla="*/ 1183635 h 1451770"/>
                <a:gd name="connsiteX4529" fmla="*/ 833805 w 3773795"/>
                <a:gd name="connsiteY4529" fmla="*/ 1181952 h 1451770"/>
                <a:gd name="connsiteX4530" fmla="*/ 830854 w 3773795"/>
                <a:gd name="connsiteY4530" fmla="*/ 1179338 h 1451770"/>
                <a:gd name="connsiteX4531" fmla="*/ 827155 w 3773795"/>
                <a:gd name="connsiteY4531" fmla="*/ 1178486 h 1451770"/>
                <a:gd name="connsiteX4532" fmla="*/ 823570 w 3773795"/>
                <a:gd name="connsiteY4532" fmla="*/ 1179059 h 1451770"/>
                <a:gd name="connsiteX4533" fmla="*/ 822259 w 3773795"/>
                <a:gd name="connsiteY4533" fmla="*/ 1179468 h 1451770"/>
                <a:gd name="connsiteX4534" fmla="*/ 818497 w 3773795"/>
                <a:gd name="connsiteY4534" fmla="*/ 1180950 h 1451770"/>
                <a:gd name="connsiteX4535" fmla="*/ 817318 w 3773795"/>
                <a:gd name="connsiteY4535" fmla="*/ 1180259 h 1451770"/>
                <a:gd name="connsiteX4536" fmla="*/ 815649 w 3773795"/>
                <a:gd name="connsiteY4536" fmla="*/ 1179820 h 1451770"/>
                <a:gd name="connsiteX4537" fmla="*/ 811983 w 3773795"/>
                <a:gd name="connsiteY4537" fmla="*/ 1182257 h 1451770"/>
                <a:gd name="connsiteX4538" fmla="*/ 807966 w 3773795"/>
                <a:gd name="connsiteY4538" fmla="*/ 1184925 h 1451770"/>
                <a:gd name="connsiteX4539" fmla="*/ 807094 w 3773795"/>
                <a:gd name="connsiteY4539" fmla="*/ 1186917 h 1451770"/>
                <a:gd name="connsiteX4540" fmla="*/ 805882 w 3773795"/>
                <a:gd name="connsiteY4540" fmla="*/ 1188744 h 1451770"/>
                <a:gd name="connsiteX4541" fmla="*/ 803218 w 3773795"/>
                <a:gd name="connsiteY4541" fmla="*/ 1190483 h 1451770"/>
                <a:gd name="connsiteX4542" fmla="*/ 800309 w 3773795"/>
                <a:gd name="connsiteY4542" fmla="*/ 1191987 h 1451770"/>
                <a:gd name="connsiteX4543" fmla="*/ 797845 w 3773795"/>
                <a:gd name="connsiteY4543" fmla="*/ 1192545 h 1451770"/>
                <a:gd name="connsiteX4544" fmla="*/ 794662 w 3773795"/>
                <a:gd name="connsiteY4544" fmla="*/ 1191994 h 1451770"/>
                <a:gd name="connsiteX4545" fmla="*/ 790656 w 3773795"/>
                <a:gd name="connsiteY4545" fmla="*/ 1190148 h 1451770"/>
                <a:gd name="connsiteX4546" fmla="*/ 786988 w 3773795"/>
                <a:gd name="connsiteY4546" fmla="*/ 1187836 h 1451770"/>
                <a:gd name="connsiteX4547" fmla="*/ 782999 w 3773795"/>
                <a:gd name="connsiteY4547" fmla="*/ 1184191 h 1451770"/>
                <a:gd name="connsiteX4548" fmla="*/ 779752 w 3773795"/>
                <a:gd name="connsiteY4548" fmla="*/ 1182103 h 1451770"/>
                <a:gd name="connsiteX4549" fmla="*/ 776638 w 3773795"/>
                <a:gd name="connsiteY4549" fmla="*/ 1180446 h 1451770"/>
                <a:gd name="connsiteX4550" fmla="*/ 774746 w 3773795"/>
                <a:gd name="connsiteY4550" fmla="*/ 1180052 h 1451770"/>
                <a:gd name="connsiteX4551" fmla="*/ 773228 w 3773795"/>
                <a:gd name="connsiteY4551" fmla="*/ 1180676 h 1451770"/>
                <a:gd name="connsiteX4552" fmla="*/ 772634 w 3773795"/>
                <a:gd name="connsiteY4552" fmla="*/ 1181966 h 1451770"/>
                <a:gd name="connsiteX4553" fmla="*/ 773066 w 3773795"/>
                <a:gd name="connsiteY4553" fmla="*/ 1182981 h 1451770"/>
                <a:gd name="connsiteX4554" fmla="*/ 773964 w 3773795"/>
                <a:gd name="connsiteY4554" fmla="*/ 1183897 h 1451770"/>
                <a:gd name="connsiteX4555" fmla="*/ 774664 w 3773795"/>
                <a:gd name="connsiteY4555" fmla="*/ 1186778 h 1451770"/>
                <a:gd name="connsiteX4556" fmla="*/ 774932 w 3773795"/>
                <a:gd name="connsiteY4556" fmla="*/ 1190297 h 1451770"/>
                <a:gd name="connsiteX4557" fmla="*/ 774625 w 3773795"/>
                <a:gd name="connsiteY4557" fmla="*/ 1192291 h 1451770"/>
                <a:gd name="connsiteX4558" fmla="*/ 773742 w 3773795"/>
                <a:gd name="connsiteY4558" fmla="*/ 1193480 h 1451770"/>
                <a:gd name="connsiteX4559" fmla="*/ 772837 w 3773795"/>
                <a:gd name="connsiteY4559" fmla="*/ 1193913 h 1451770"/>
                <a:gd name="connsiteX4560" fmla="*/ 771999 w 3773795"/>
                <a:gd name="connsiteY4560" fmla="*/ 1193757 h 1451770"/>
                <a:gd name="connsiteX4561" fmla="*/ 770984 w 3773795"/>
                <a:gd name="connsiteY4561" fmla="*/ 1192518 h 1451770"/>
                <a:gd name="connsiteX4562" fmla="*/ 770363 w 3773795"/>
                <a:gd name="connsiteY4562" fmla="*/ 1189897 h 1451770"/>
                <a:gd name="connsiteX4563" fmla="*/ 769879 w 3773795"/>
                <a:gd name="connsiteY4563" fmla="*/ 1186799 h 1451770"/>
                <a:gd name="connsiteX4564" fmla="*/ 767145 w 3773795"/>
                <a:gd name="connsiteY4564" fmla="*/ 1182900 h 1451770"/>
                <a:gd name="connsiteX4565" fmla="*/ 764785 w 3773795"/>
                <a:gd name="connsiteY4565" fmla="*/ 1180516 h 1451770"/>
                <a:gd name="connsiteX4566" fmla="*/ 763649 w 3773795"/>
                <a:gd name="connsiteY4566" fmla="*/ 1179199 h 1451770"/>
                <a:gd name="connsiteX4567" fmla="*/ 761477 w 3773795"/>
                <a:gd name="connsiteY4567" fmla="*/ 1177024 h 1451770"/>
                <a:gd name="connsiteX4568" fmla="*/ 759604 w 3773795"/>
                <a:gd name="connsiteY4568" fmla="*/ 1175678 h 1451770"/>
                <a:gd name="connsiteX4569" fmla="*/ 755616 w 3773795"/>
                <a:gd name="connsiteY4569" fmla="*/ 1174140 h 1451770"/>
                <a:gd name="connsiteX4570" fmla="*/ 753662 w 3773795"/>
                <a:gd name="connsiteY4570" fmla="*/ 1173024 h 1451770"/>
                <a:gd name="connsiteX4571" fmla="*/ 750269 w 3773795"/>
                <a:gd name="connsiteY4571" fmla="*/ 1168691 h 1451770"/>
                <a:gd name="connsiteX4572" fmla="*/ 748367 w 3773795"/>
                <a:gd name="connsiteY4572" fmla="*/ 1167371 h 1451770"/>
                <a:gd name="connsiteX4573" fmla="*/ 745923 w 3773795"/>
                <a:gd name="connsiteY4573" fmla="*/ 1166259 h 1451770"/>
                <a:gd name="connsiteX4574" fmla="*/ 743914 w 3773795"/>
                <a:gd name="connsiteY4574" fmla="*/ 1165929 h 1451770"/>
                <a:gd name="connsiteX4575" fmla="*/ 743474 w 3773795"/>
                <a:gd name="connsiteY4575" fmla="*/ 1166183 h 1451770"/>
                <a:gd name="connsiteX4576" fmla="*/ 739296 w 3773795"/>
                <a:gd name="connsiteY4576" fmla="*/ 1166807 h 1451770"/>
                <a:gd name="connsiteX4577" fmla="*/ 736294 w 3773795"/>
                <a:gd name="connsiteY4577" fmla="*/ 1166712 h 1451770"/>
                <a:gd name="connsiteX4578" fmla="*/ 734478 w 3773795"/>
                <a:gd name="connsiteY4578" fmla="*/ 1165900 h 1451770"/>
                <a:gd name="connsiteX4579" fmla="*/ 732588 w 3773795"/>
                <a:gd name="connsiteY4579" fmla="*/ 1165803 h 1451770"/>
                <a:gd name="connsiteX4580" fmla="*/ 732435 w 3773795"/>
                <a:gd name="connsiteY4580" fmla="*/ 1165796 h 1451770"/>
                <a:gd name="connsiteX4581" fmla="*/ 730379 w 3773795"/>
                <a:gd name="connsiteY4581" fmla="*/ 1166342 h 1451770"/>
                <a:gd name="connsiteX4582" fmla="*/ 729995 w 3773795"/>
                <a:gd name="connsiteY4582" fmla="*/ 1166306 h 1451770"/>
                <a:gd name="connsiteX4583" fmla="*/ 728965 w 3773795"/>
                <a:gd name="connsiteY4583" fmla="*/ 1166281 h 1451770"/>
                <a:gd name="connsiteX4584" fmla="*/ 727306 w 3773795"/>
                <a:gd name="connsiteY4584" fmla="*/ 1165384 h 1451770"/>
                <a:gd name="connsiteX4585" fmla="*/ 725689 w 3773795"/>
                <a:gd name="connsiteY4585" fmla="*/ 1162970 h 1451770"/>
                <a:gd name="connsiteX4586" fmla="*/ 723655 w 3773795"/>
                <a:gd name="connsiteY4586" fmla="*/ 1160407 h 1451770"/>
                <a:gd name="connsiteX4587" fmla="*/ 721180 w 3773795"/>
                <a:gd name="connsiteY4587" fmla="*/ 1159580 h 1451770"/>
                <a:gd name="connsiteX4588" fmla="*/ 716492 w 3773795"/>
                <a:gd name="connsiteY4588" fmla="*/ 1160660 h 1451770"/>
                <a:gd name="connsiteX4589" fmla="*/ 711368 w 3773795"/>
                <a:gd name="connsiteY4589" fmla="*/ 1164146 h 1451770"/>
                <a:gd name="connsiteX4590" fmla="*/ 707691 w 3773795"/>
                <a:gd name="connsiteY4590" fmla="*/ 1166212 h 1451770"/>
                <a:gd name="connsiteX4591" fmla="*/ 704692 w 3773795"/>
                <a:gd name="connsiteY4591" fmla="*/ 1166269 h 1451770"/>
                <a:gd name="connsiteX4592" fmla="*/ 702979 w 3773795"/>
                <a:gd name="connsiteY4592" fmla="*/ 1166585 h 1451770"/>
                <a:gd name="connsiteX4593" fmla="*/ 701841 w 3773795"/>
                <a:gd name="connsiteY4593" fmla="*/ 1166466 h 1451770"/>
                <a:gd name="connsiteX4594" fmla="*/ 700880 w 3773795"/>
                <a:gd name="connsiteY4594" fmla="*/ 1165817 h 1451770"/>
                <a:gd name="connsiteX4595" fmla="*/ 700651 w 3773795"/>
                <a:gd name="connsiteY4595" fmla="*/ 1164560 h 1451770"/>
                <a:gd name="connsiteX4596" fmla="*/ 700191 w 3773795"/>
                <a:gd name="connsiteY4596" fmla="*/ 1162963 h 1451770"/>
                <a:gd name="connsiteX4597" fmla="*/ 697837 w 3773795"/>
                <a:gd name="connsiteY4597" fmla="*/ 1161404 h 1451770"/>
                <a:gd name="connsiteX4598" fmla="*/ 694618 w 3773795"/>
                <a:gd name="connsiteY4598" fmla="*/ 1160397 h 1451770"/>
                <a:gd name="connsiteX4599" fmla="*/ 691623 w 3773795"/>
                <a:gd name="connsiteY4599" fmla="*/ 1159291 h 1451770"/>
                <a:gd name="connsiteX4600" fmla="*/ 689666 w 3773795"/>
                <a:gd name="connsiteY4600" fmla="*/ 1158996 h 1451770"/>
                <a:gd name="connsiteX4601" fmla="*/ 688831 w 3773795"/>
                <a:gd name="connsiteY4601" fmla="*/ 1160588 h 1451770"/>
                <a:gd name="connsiteX4602" fmla="*/ 686350 w 3773795"/>
                <a:gd name="connsiteY4602" fmla="*/ 1163119 h 1451770"/>
                <a:gd name="connsiteX4603" fmla="*/ 683527 w 3773795"/>
                <a:gd name="connsiteY4603" fmla="*/ 1165576 h 1451770"/>
                <a:gd name="connsiteX4604" fmla="*/ 679932 w 3773795"/>
                <a:gd name="connsiteY4604" fmla="*/ 1169566 h 1451770"/>
                <a:gd name="connsiteX4605" fmla="*/ 678949 w 3773795"/>
                <a:gd name="connsiteY4605" fmla="*/ 1170979 h 1451770"/>
                <a:gd name="connsiteX4606" fmla="*/ 677570 w 3773795"/>
                <a:gd name="connsiteY4606" fmla="*/ 1171919 h 1451770"/>
                <a:gd name="connsiteX4607" fmla="*/ 674430 w 3773795"/>
                <a:gd name="connsiteY4607" fmla="*/ 1172943 h 1451770"/>
                <a:gd name="connsiteX4608" fmla="*/ 670614 w 3773795"/>
                <a:gd name="connsiteY4608" fmla="*/ 1174624 h 1451770"/>
                <a:gd name="connsiteX4609" fmla="*/ 668181 w 3773795"/>
                <a:gd name="connsiteY4609" fmla="*/ 1176535 h 1451770"/>
                <a:gd name="connsiteX4610" fmla="*/ 664732 w 3773795"/>
                <a:gd name="connsiteY4610" fmla="*/ 1177401 h 1451770"/>
                <a:gd name="connsiteX4611" fmla="*/ 661011 w 3773795"/>
                <a:gd name="connsiteY4611" fmla="*/ 1177947 h 1451770"/>
                <a:gd name="connsiteX4612" fmla="*/ 659387 w 3773795"/>
                <a:gd name="connsiteY4612" fmla="*/ 1179602 h 1451770"/>
                <a:gd name="connsiteX4613" fmla="*/ 658390 w 3773795"/>
                <a:gd name="connsiteY4613" fmla="*/ 1182298 h 1451770"/>
                <a:gd name="connsiteX4614" fmla="*/ 657150 w 3773795"/>
                <a:gd name="connsiteY4614" fmla="*/ 1184718 h 1451770"/>
                <a:gd name="connsiteX4615" fmla="*/ 651296 w 3773795"/>
                <a:gd name="connsiteY4615" fmla="*/ 1188379 h 1451770"/>
                <a:gd name="connsiteX4616" fmla="*/ 648091 w 3773795"/>
                <a:gd name="connsiteY4616" fmla="*/ 1190750 h 1451770"/>
                <a:gd name="connsiteX4617" fmla="*/ 645762 w 3773795"/>
                <a:gd name="connsiteY4617" fmla="*/ 1192008 h 1451770"/>
                <a:gd name="connsiteX4618" fmla="*/ 644134 w 3773795"/>
                <a:gd name="connsiteY4618" fmla="*/ 1191847 h 1451770"/>
                <a:gd name="connsiteX4619" fmla="*/ 642374 w 3773795"/>
                <a:gd name="connsiteY4619" fmla="*/ 1191469 h 1451770"/>
                <a:gd name="connsiteX4620" fmla="*/ 641709 w 3773795"/>
                <a:gd name="connsiteY4620" fmla="*/ 1191678 h 1451770"/>
                <a:gd name="connsiteX4621" fmla="*/ 642613 w 3773795"/>
                <a:gd name="connsiteY4621" fmla="*/ 1193490 h 1451770"/>
                <a:gd name="connsiteX4622" fmla="*/ 643375 w 3773795"/>
                <a:gd name="connsiteY4622" fmla="*/ 1199195 h 1451770"/>
                <a:gd name="connsiteX4623" fmla="*/ 644457 w 3773795"/>
                <a:gd name="connsiteY4623" fmla="*/ 1202824 h 1451770"/>
                <a:gd name="connsiteX4624" fmla="*/ 645239 w 3773795"/>
                <a:gd name="connsiteY4624" fmla="*/ 1204907 h 1451770"/>
                <a:gd name="connsiteX4625" fmla="*/ 645973 w 3773795"/>
                <a:gd name="connsiteY4625" fmla="*/ 1206543 h 1451770"/>
                <a:gd name="connsiteX4626" fmla="*/ 646533 w 3773795"/>
                <a:gd name="connsiteY4626" fmla="*/ 1209048 h 1451770"/>
                <a:gd name="connsiteX4627" fmla="*/ 645803 w 3773795"/>
                <a:gd name="connsiteY4627" fmla="*/ 1210512 h 1451770"/>
                <a:gd name="connsiteX4628" fmla="*/ 644669 w 3773795"/>
                <a:gd name="connsiteY4628" fmla="*/ 1211495 h 1451770"/>
                <a:gd name="connsiteX4629" fmla="*/ 641154 w 3773795"/>
                <a:gd name="connsiteY4629" fmla="*/ 1213041 h 1451770"/>
                <a:gd name="connsiteX4630" fmla="*/ 637489 w 3773795"/>
                <a:gd name="connsiteY4630" fmla="*/ 1214372 h 1451770"/>
                <a:gd name="connsiteX4631" fmla="*/ 635293 w 3773795"/>
                <a:gd name="connsiteY4631" fmla="*/ 1213515 h 1451770"/>
                <a:gd name="connsiteX4632" fmla="*/ 632857 w 3773795"/>
                <a:gd name="connsiteY4632" fmla="*/ 1211391 h 1451770"/>
                <a:gd name="connsiteX4633" fmla="*/ 631896 w 3773795"/>
                <a:gd name="connsiteY4633" fmla="*/ 1210293 h 1451770"/>
                <a:gd name="connsiteX4634" fmla="*/ 629229 w 3773795"/>
                <a:gd name="connsiteY4634" fmla="*/ 1206724 h 1451770"/>
                <a:gd name="connsiteX4635" fmla="*/ 624561 w 3773795"/>
                <a:gd name="connsiteY4635" fmla="*/ 1201264 h 1451770"/>
                <a:gd name="connsiteX4636" fmla="*/ 621380 w 3773795"/>
                <a:gd name="connsiteY4636" fmla="*/ 1198493 h 1451770"/>
                <a:gd name="connsiteX4637" fmla="*/ 619033 w 3773795"/>
                <a:gd name="connsiteY4637" fmla="*/ 1197460 h 1451770"/>
                <a:gd name="connsiteX4638" fmla="*/ 616910 w 3773795"/>
                <a:gd name="connsiteY4638" fmla="*/ 1197775 h 1451770"/>
                <a:gd name="connsiteX4639" fmla="*/ 615265 w 3773795"/>
                <a:gd name="connsiteY4639" fmla="*/ 1199073 h 1451770"/>
                <a:gd name="connsiteX4640" fmla="*/ 614096 w 3773795"/>
                <a:gd name="connsiteY4640" fmla="*/ 1200228 h 1451770"/>
                <a:gd name="connsiteX4641" fmla="*/ 612993 w 3773795"/>
                <a:gd name="connsiteY4641" fmla="*/ 1201519 h 1451770"/>
                <a:gd name="connsiteX4642" fmla="*/ 612291 w 3773795"/>
                <a:gd name="connsiteY4642" fmla="*/ 1203142 h 1451770"/>
                <a:gd name="connsiteX4643" fmla="*/ 612356 w 3773795"/>
                <a:gd name="connsiteY4643" fmla="*/ 1205376 h 1451770"/>
                <a:gd name="connsiteX4644" fmla="*/ 612302 w 3773795"/>
                <a:gd name="connsiteY4644" fmla="*/ 1207738 h 1451770"/>
                <a:gd name="connsiteX4645" fmla="*/ 611265 w 3773795"/>
                <a:gd name="connsiteY4645" fmla="*/ 1209402 h 1451770"/>
                <a:gd name="connsiteX4646" fmla="*/ 608640 w 3773795"/>
                <a:gd name="connsiteY4646" fmla="*/ 1211186 h 1451770"/>
                <a:gd name="connsiteX4647" fmla="*/ 605597 w 3773795"/>
                <a:gd name="connsiteY4647" fmla="*/ 1213674 h 1451770"/>
                <a:gd name="connsiteX4648" fmla="*/ 603332 w 3773795"/>
                <a:gd name="connsiteY4648" fmla="*/ 1218159 h 1451770"/>
                <a:gd name="connsiteX4649" fmla="*/ 601864 w 3773795"/>
                <a:gd name="connsiteY4649" fmla="*/ 1223754 h 1451770"/>
                <a:gd name="connsiteX4650" fmla="*/ 601397 w 3773795"/>
                <a:gd name="connsiteY4650" fmla="*/ 1227629 h 1451770"/>
                <a:gd name="connsiteX4651" fmla="*/ 602522 w 3773795"/>
                <a:gd name="connsiteY4651" fmla="*/ 1229440 h 1451770"/>
                <a:gd name="connsiteX4652" fmla="*/ 604744 w 3773795"/>
                <a:gd name="connsiteY4652" fmla="*/ 1230908 h 1451770"/>
                <a:gd name="connsiteX4653" fmla="*/ 606176 w 3773795"/>
                <a:gd name="connsiteY4653" fmla="*/ 1232415 h 1451770"/>
                <a:gd name="connsiteX4654" fmla="*/ 606467 w 3773795"/>
                <a:gd name="connsiteY4654" fmla="*/ 1233834 h 1451770"/>
                <a:gd name="connsiteX4655" fmla="*/ 606089 w 3773795"/>
                <a:gd name="connsiteY4655" fmla="*/ 1235318 h 1451770"/>
                <a:gd name="connsiteX4656" fmla="*/ 604939 w 3773795"/>
                <a:gd name="connsiteY4656" fmla="*/ 1237032 h 1451770"/>
                <a:gd name="connsiteX4657" fmla="*/ 602522 w 3773795"/>
                <a:gd name="connsiteY4657" fmla="*/ 1238992 h 1451770"/>
                <a:gd name="connsiteX4658" fmla="*/ 599199 w 3773795"/>
                <a:gd name="connsiteY4658" fmla="*/ 1243668 h 1451770"/>
                <a:gd name="connsiteX4659" fmla="*/ 597132 w 3773795"/>
                <a:gd name="connsiteY4659" fmla="*/ 1250255 h 1451770"/>
                <a:gd name="connsiteX4660" fmla="*/ 598277 w 3773795"/>
                <a:gd name="connsiteY4660" fmla="*/ 1254841 h 1451770"/>
                <a:gd name="connsiteX4661" fmla="*/ 602526 w 3773795"/>
                <a:gd name="connsiteY4661" fmla="*/ 1257353 h 1451770"/>
                <a:gd name="connsiteX4662" fmla="*/ 605869 w 3773795"/>
                <a:gd name="connsiteY4662" fmla="*/ 1258460 h 1451770"/>
                <a:gd name="connsiteX4663" fmla="*/ 607204 w 3773795"/>
                <a:gd name="connsiteY4663" fmla="*/ 1259932 h 1451770"/>
                <a:gd name="connsiteX4664" fmla="*/ 608406 w 3773795"/>
                <a:gd name="connsiteY4664" fmla="*/ 1262913 h 1451770"/>
                <a:gd name="connsiteX4665" fmla="*/ 608240 w 3773795"/>
                <a:gd name="connsiteY4665" fmla="*/ 1265932 h 1451770"/>
                <a:gd name="connsiteX4666" fmla="*/ 607837 w 3773795"/>
                <a:gd name="connsiteY4666" fmla="*/ 1267974 h 1451770"/>
                <a:gd name="connsiteX4667" fmla="*/ 608666 w 3773795"/>
                <a:gd name="connsiteY4667" fmla="*/ 1269974 h 1451770"/>
                <a:gd name="connsiteX4668" fmla="*/ 610242 w 3773795"/>
                <a:gd name="connsiteY4668" fmla="*/ 1272348 h 1451770"/>
                <a:gd name="connsiteX4669" fmla="*/ 612239 w 3773795"/>
                <a:gd name="connsiteY4669" fmla="*/ 1273799 h 1451770"/>
                <a:gd name="connsiteX4670" fmla="*/ 614339 w 3773795"/>
                <a:gd name="connsiteY4670" fmla="*/ 1273018 h 1451770"/>
                <a:gd name="connsiteX4671" fmla="*/ 616431 w 3773795"/>
                <a:gd name="connsiteY4671" fmla="*/ 1272026 h 1451770"/>
                <a:gd name="connsiteX4672" fmla="*/ 619046 w 3773795"/>
                <a:gd name="connsiteY4672" fmla="*/ 1272418 h 1451770"/>
                <a:gd name="connsiteX4673" fmla="*/ 626442 w 3773795"/>
                <a:gd name="connsiteY4673" fmla="*/ 1273242 h 1451770"/>
                <a:gd name="connsiteX4674" fmla="*/ 630318 w 3773795"/>
                <a:gd name="connsiteY4674" fmla="*/ 1273672 h 1451770"/>
                <a:gd name="connsiteX4675" fmla="*/ 631579 w 3773795"/>
                <a:gd name="connsiteY4675" fmla="*/ 1274702 h 1451770"/>
                <a:gd name="connsiteX4676" fmla="*/ 633982 w 3773795"/>
                <a:gd name="connsiteY4676" fmla="*/ 1278043 h 1451770"/>
                <a:gd name="connsiteX4677" fmla="*/ 637020 w 3773795"/>
                <a:gd name="connsiteY4677" fmla="*/ 1281788 h 1451770"/>
                <a:gd name="connsiteX4678" fmla="*/ 640104 w 3773795"/>
                <a:gd name="connsiteY4678" fmla="*/ 1285586 h 1451770"/>
                <a:gd name="connsiteX4679" fmla="*/ 641169 w 3773795"/>
                <a:gd name="connsiteY4679" fmla="*/ 1287229 h 1451770"/>
                <a:gd name="connsiteX4680" fmla="*/ 643682 w 3773795"/>
                <a:gd name="connsiteY4680" fmla="*/ 1291755 h 1451770"/>
                <a:gd name="connsiteX4681" fmla="*/ 646280 w 3773795"/>
                <a:gd name="connsiteY4681" fmla="*/ 1295818 h 1451770"/>
                <a:gd name="connsiteX4682" fmla="*/ 649100 w 3773795"/>
                <a:gd name="connsiteY4682" fmla="*/ 1300843 h 1451770"/>
                <a:gd name="connsiteX4683" fmla="*/ 648899 w 3773795"/>
                <a:gd name="connsiteY4683" fmla="*/ 1302202 h 1451770"/>
                <a:gd name="connsiteX4684" fmla="*/ 647424 w 3773795"/>
                <a:gd name="connsiteY4684" fmla="*/ 1302769 h 1451770"/>
                <a:gd name="connsiteX4685" fmla="*/ 645053 w 3773795"/>
                <a:gd name="connsiteY4685" fmla="*/ 1302632 h 1451770"/>
                <a:gd name="connsiteX4686" fmla="*/ 643222 w 3773795"/>
                <a:gd name="connsiteY4686" fmla="*/ 1301895 h 1451770"/>
                <a:gd name="connsiteX4687" fmla="*/ 642195 w 3773795"/>
                <a:gd name="connsiteY4687" fmla="*/ 1301286 h 1451770"/>
                <a:gd name="connsiteX4688" fmla="*/ 641270 w 3773795"/>
                <a:gd name="connsiteY4688" fmla="*/ 1301085 h 1451770"/>
                <a:gd name="connsiteX4689" fmla="*/ 640234 w 3773795"/>
                <a:gd name="connsiteY4689" fmla="*/ 1301330 h 1451770"/>
                <a:gd name="connsiteX4690" fmla="*/ 639352 w 3773795"/>
                <a:gd name="connsiteY4690" fmla="*/ 1301965 h 1451770"/>
                <a:gd name="connsiteX4691" fmla="*/ 638994 w 3773795"/>
                <a:gd name="connsiteY4691" fmla="*/ 1302958 h 1451770"/>
                <a:gd name="connsiteX4692" fmla="*/ 639145 w 3773795"/>
                <a:gd name="connsiteY4692" fmla="*/ 1304311 h 1451770"/>
                <a:gd name="connsiteX4693" fmla="*/ 639854 w 3773795"/>
                <a:gd name="connsiteY4693" fmla="*/ 1305544 h 1451770"/>
                <a:gd name="connsiteX4694" fmla="*/ 640845 w 3773795"/>
                <a:gd name="connsiteY4694" fmla="*/ 1306337 h 1451770"/>
                <a:gd name="connsiteX4695" fmla="*/ 641378 w 3773795"/>
                <a:gd name="connsiteY4695" fmla="*/ 1306632 h 1451770"/>
                <a:gd name="connsiteX4696" fmla="*/ 645008 w 3773795"/>
                <a:gd name="connsiteY4696" fmla="*/ 1308257 h 1451770"/>
                <a:gd name="connsiteX4697" fmla="*/ 649091 w 3773795"/>
                <a:gd name="connsiteY4697" fmla="*/ 1310083 h 1451770"/>
                <a:gd name="connsiteX4698" fmla="*/ 654073 w 3773795"/>
                <a:gd name="connsiteY4698" fmla="*/ 1312671 h 1451770"/>
                <a:gd name="connsiteX4699" fmla="*/ 655133 w 3773795"/>
                <a:gd name="connsiteY4699" fmla="*/ 1312994 h 1451770"/>
                <a:gd name="connsiteX4700" fmla="*/ 655436 w 3773795"/>
                <a:gd name="connsiteY4700" fmla="*/ 1314257 h 1451770"/>
                <a:gd name="connsiteX4701" fmla="*/ 652773 w 3773795"/>
                <a:gd name="connsiteY4701" fmla="*/ 1314530 h 1451770"/>
                <a:gd name="connsiteX4702" fmla="*/ 652445 w 3773795"/>
                <a:gd name="connsiteY4702" fmla="*/ 1316005 h 1451770"/>
                <a:gd name="connsiteX4703" fmla="*/ 651758 w 3773795"/>
                <a:gd name="connsiteY4703" fmla="*/ 1317091 h 1451770"/>
                <a:gd name="connsiteX4704" fmla="*/ 645796 w 3773795"/>
                <a:gd name="connsiteY4704" fmla="*/ 1319545 h 1451770"/>
                <a:gd name="connsiteX4705" fmla="*/ 644306 w 3773795"/>
                <a:gd name="connsiteY4705" fmla="*/ 1319538 h 1451770"/>
                <a:gd name="connsiteX4706" fmla="*/ 643004 w 3773795"/>
                <a:gd name="connsiteY4706" fmla="*/ 1319940 h 1451770"/>
                <a:gd name="connsiteX4707" fmla="*/ 643084 w 3773795"/>
                <a:gd name="connsiteY4707" fmla="*/ 1321527 h 1451770"/>
                <a:gd name="connsiteX4708" fmla="*/ 643440 w 3773795"/>
                <a:gd name="connsiteY4708" fmla="*/ 1322978 h 1451770"/>
                <a:gd name="connsiteX4709" fmla="*/ 644462 w 3773795"/>
                <a:gd name="connsiteY4709" fmla="*/ 1324515 h 1451770"/>
                <a:gd name="connsiteX4710" fmla="*/ 644019 w 3773795"/>
                <a:gd name="connsiteY4710" fmla="*/ 1325169 h 1451770"/>
                <a:gd name="connsiteX4711" fmla="*/ 643136 w 3773795"/>
                <a:gd name="connsiteY4711" fmla="*/ 1325388 h 1451770"/>
                <a:gd name="connsiteX4712" fmla="*/ 641981 w 3773795"/>
                <a:gd name="connsiteY4712" fmla="*/ 1324923 h 1451770"/>
                <a:gd name="connsiteX4713" fmla="*/ 640912 w 3773795"/>
                <a:gd name="connsiteY4713" fmla="*/ 1324120 h 1451770"/>
                <a:gd name="connsiteX4714" fmla="*/ 639767 w 3773795"/>
                <a:gd name="connsiteY4714" fmla="*/ 1323919 h 1451770"/>
                <a:gd name="connsiteX4715" fmla="*/ 638655 w 3773795"/>
                <a:gd name="connsiteY4715" fmla="*/ 1324120 h 1451770"/>
                <a:gd name="connsiteX4716" fmla="*/ 633583 w 3773795"/>
                <a:gd name="connsiteY4716" fmla="*/ 1328451 h 1451770"/>
                <a:gd name="connsiteX4717" fmla="*/ 631406 w 3773795"/>
                <a:gd name="connsiteY4717" fmla="*/ 1329574 h 1451770"/>
                <a:gd name="connsiteX4718" fmla="*/ 629055 w 3773795"/>
                <a:gd name="connsiteY4718" fmla="*/ 1330015 h 1451770"/>
                <a:gd name="connsiteX4719" fmla="*/ 624131 w 3773795"/>
                <a:gd name="connsiteY4719" fmla="*/ 1331610 h 1451770"/>
                <a:gd name="connsiteX4720" fmla="*/ 622667 w 3773795"/>
                <a:gd name="connsiteY4720" fmla="*/ 1331530 h 1451770"/>
                <a:gd name="connsiteX4721" fmla="*/ 621276 w 3773795"/>
                <a:gd name="connsiteY4721" fmla="*/ 1330973 h 1451770"/>
                <a:gd name="connsiteX4722" fmla="*/ 620143 w 3773795"/>
                <a:gd name="connsiteY4722" fmla="*/ 1331783 h 1451770"/>
                <a:gd name="connsiteX4723" fmla="*/ 619778 w 3773795"/>
                <a:gd name="connsiteY4723" fmla="*/ 1333783 h 1451770"/>
                <a:gd name="connsiteX4724" fmla="*/ 618467 w 3773795"/>
                <a:gd name="connsiteY4724" fmla="*/ 1332402 h 1451770"/>
                <a:gd name="connsiteX4725" fmla="*/ 617016 w 3773795"/>
                <a:gd name="connsiteY4725" fmla="*/ 1331304 h 1451770"/>
                <a:gd name="connsiteX4726" fmla="*/ 616374 w 3773795"/>
                <a:gd name="connsiteY4726" fmla="*/ 1330934 h 1451770"/>
                <a:gd name="connsiteX4727" fmla="*/ 616018 w 3773795"/>
                <a:gd name="connsiteY4727" fmla="*/ 1331152 h 1451770"/>
                <a:gd name="connsiteX4728" fmla="*/ 617366 w 3773795"/>
                <a:gd name="connsiteY4728" fmla="*/ 1333297 h 1451770"/>
                <a:gd name="connsiteX4729" fmla="*/ 617483 w 3773795"/>
                <a:gd name="connsiteY4729" fmla="*/ 1335263 h 1451770"/>
                <a:gd name="connsiteX4730" fmla="*/ 617152 w 3773795"/>
                <a:gd name="connsiteY4730" fmla="*/ 1336342 h 1451770"/>
                <a:gd name="connsiteX4731" fmla="*/ 616580 w 3773795"/>
                <a:gd name="connsiteY4731" fmla="*/ 1337327 h 1451770"/>
                <a:gd name="connsiteX4732" fmla="*/ 615824 w 3773795"/>
                <a:gd name="connsiteY4732" fmla="*/ 1337932 h 1451770"/>
                <a:gd name="connsiteX4733" fmla="*/ 614908 w 3773795"/>
                <a:gd name="connsiteY4733" fmla="*/ 1338261 h 1451770"/>
                <a:gd name="connsiteX4734" fmla="*/ 614423 w 3773795"/>
                <a:gd name="connsiteY4734" fmla="*/ 1341725 h 1451770"/>
                <a:gd name="connsiteX4735" fmla="*/ 613542 w 3773795"/>
                <a:gd name="connsiteY4735" fmla="*/ 1343837 h 1451770"/>
                <a:gd name="connsiteX4736" fmla="*/ 612324 w 3773795"/>
                <a:gd name="connsiteY4736" fmla="*/ 1345706 h 1451770"/>
                <a:gd name="connsiteX4737" fmla="*/ 610672 w 3773795"/>
                <a:gd name="connsiteY4737" fmla="*/ 1349130 h 1451770"/>
                <a:gd name="connsiteX4738" fmla="*/ 609346 w 3773795"/>
                <a:gd name="connsiteY4738" fmla="*/ 1350624 h 1451770"/>
                <a:gd name="connsiteX4739" fmla="*/ 608311 w 3773795"/>
                <a:gd name="connsiteY4739" fmla="*/ 1352363 h 1451770"/>
                <a:gd name="connsiteX4740" fmla="*/ 607627 w 3773795"/>
                <a:gd name="connsiteY4740" fmla="*/ 1354791 h 1451770"/>
                <a:gd name="connsiteX4741" fmla="*/ 606642 w 3773795"/>
                <a:gd name="connsiteY4741" fmla="*/ 1354221 h 1451770"/>
                <a:gd name="connsiteX4742" fmla="*/ 605839 w 3773795"/>
                <a:gd name="connsiteY4742" fmla="*/ 1353179 h 1451770"/>
                <a:gd name="connsiteX4743" fmla="*/ 605413 w 3773795"/>
                <a:gd name="connsiteY4743" fmla="*/ 1354557 h 1451770"/>
                <a:gd name="connsiteX4744" fmla="*/ 604833 w 3773795"/>
                <a:gd name="connsiteY4744" fmla="*/ 1355730 h 1451770"/>
                <a:gd name="connsiteX4745" fmla="*/ 602263 w 3773795"/>
                <a:gd name="connsiteY4745" fmla="*/ 1357483 h 1451770"/>
                <a:gd name="connsiteX4746" fmla="*/ 600363 w 3773795"/>
                <a:gd name="connsiteY4746" fmla="*/ 1359165 h 1451770"/>
                <a:gd name="connsiteX4747" fmla="*/ 599497 w 3773795"/>
                <a:gd name="connsiteY4747" fmla="*/ 1361775 h 1451770"/>
                <a:gd name="connsiteX4748" fmla="*/ 599300 w 3773795"/>
                <a:gd name="connsiteY4748" fmla="*/ 1363335 h 1451770"/>
                <a:gd name="connsiteX4749" fmla="*/ 599603 w 3773795"/>
                <a:gd name="connsiteY4749" fmla="*/ 1364740 h 1451770"/>
                <a:gd name="connsiteX4750" fmla="*/ 600313 w 3773795"/>
                <a:gd name="connsiteY4750" fmla="*/ 1365583 h 1451770"/>
                <a:gd name="connsiteX4751" fmla="*/ 603910 w 3773795"/>
                <a:gd name="connsiteY4751" fmla="*/ 1366493 h 1451770"/>
                <a:gd name="connsiteX4752" fmla="*/ 606297 w 3773795"/>
                <a:gd name="connsiteY4752" fmla="*/ 1367685 h 1451770"/>
                <a:gd name="connsiteX4753" fmla="*/ 608487 w 3773795"/>
                <a:gd name="connsiteY4753" fmla="*/ 1369899 h 1451770"/>
                <a:gd name="connsiteX4754" fmla="*/ 610857 w 3773795"/>
                <a:gd name="connsiteY4754" fmla="*/ 1371778 h 1451770"/>
                <a:gd name="connsiteX4755" fmla="*/ 612563 w 3773795"/>
                <a:gd name="connsiteY4755" fmla="*/ 1374197 h 1451770"/>
                <a:gd name="connsiteX4756" fmla="*/ 613768 w 3773795"/>
                <a:gd name="connsiteY4756" fmla="*/ 1377169 h 1451770"/>
                <a:gd name="connsiteX4757" fmla="*/ 615265 w 3773795"/>
                <a:gd name="connsiteY4757" fmla="*/ 1382939 h 1451770"/>
                <a:gd name="connsiteX4758" fmla="*/ 616007 w 3773795"/>
                <a:gd name="connsiteY4758" fmla="*/ 1389004 h 1451770"/>
                <a:gd name="connsiteX4759" fmla="*/ 618215 w 3773795"/>
                <a:gd name="connsiteY4759" fmla="*/ 1381459 h 1451770"/>
                <a:gd name="connsiteX4760" fmla="*/ 620069 w 3773795"/>
                <a:gd name="connsiteY4760" fmla="*/ 1380110 h 1451770"/>
                <a:gd name="connsiteX4761" fmla="*/ 619657 w 3773795"/>
                <a:gd name="connsiteY4761" fmla="*/ 1382235 h 1451770"/>
                <a:gd name="connsiteX4762" fmla="*/ 618333 w 3773795"/>
                <a:gd name="connsiteY4762" fmla="*/ 1385501 h 1451770"/>
                <a:gd name="connsiteX4763" fmla="*/ 617029 w 3773795"/>
                <a:gd name="connsiteY4763" fmla="*/ 1390224 h 1451770"/>
                <a:gd name="connsiteX4764" fmla="*/ 616606 w 3773795"/>
                <a:gd name="connsiteY4764" fmla="*/ 1393670 h 1451770"/>
                <a:gd name="connsiteX4765" fmla="*/ 617087 w 3773795"/>
                <a:gd name="connsiteY4765" fmla="*/ 1396653 h 1451770"/>
                <a:gd name="connsiteX4766" fmla="*/ 617115 w 3773795"/>
                <a:gd name="connsiteY4766" fmla="*/ 1398050 h 1451770"/>
                <a:gd name="connsiteX4767" fmla="*/ 616016 w 3773795"/>
                <a:gd name="connsiteY4767" fmla="*/ 1402978 h 1451770"/>
                <a:gd name="connsiteX4768" fmla="*/ 616584 w 3773795"/>
                <a:gd name="connsiteY4768" fmla="*/ 1403924 h 1451770"/>
                <a:gd name="connsiteX4769" fmla="*/ 617472 w 3773795"/>
                <a:gd name="connsiteY4769" fmla="*/ 1404798 h 1451770"/>
                <a:gd name="connsiteX4770" fmla="*/ 619813 w 3773795"/>
                <a:gd name="connsiteY4770" fmla="*/ 1406504 h 1451770"/>
                <a:gd name="connsiteX4771" fmla="*/ 621454 w 3773795"/>
                <a:gd name="connsiteY4771" fmla="*/ 1408980 h 1451770"/>
                <a:gd name="connsiteX4772" fmla="*/ 621866 w 3773795"/>
                <a:gd name="connsiteY4772" fmla="*/ 1412461 h 1451770"/>
                <a:gd name="connsiteX4773" fmla="*/ 622795 w 3773795"/>
                <a:gd name="connsiteY4773" fmla="*/ 1413421 h 1451770"/>
                <a:gd name="connsiteX4774" fmla="*/ 623958 w 3773795"/>
                <a:gd name="connsiteY4774" fmla="*/ 1414257 h 1451770"/>
                <a:gd name="connsiteX4775" fmla="*/ 629659 w 3773795"/>
                <a:gd name="connsiteY4775" fmla="*/ 1421185 h 1451770"/>
                <a:gd name="connsiteX4776" fmla="*/ 632942 w 3773795"/>
                <a:gd name="connsiteY4776" fmla="*/ 1425782 h 1451770"/>
                <a:gd name="connsiteX4777" fmla="*/ 634587 w 3773795"/>
                <a:gd name="connsiteY4777" fmla="*/ 1428460 h 1451770"/>
                <a:gd name="connsiteX4778" fmla="*/ 636373 w 3773795"/>
                <a:gd name="connsiteY4778" fmla="*/ 1431827 h 1451770"/>
                <a:gd name="connsiteX4779" fmla="*/ 637314 w 3773795"/>
                <a:gd name="connsiteY4779" fmla="*/ 1432608 h 1451770"/>
                <a:gd name="connsiteX4780" fmla="*/ 638429 w 3773795"/>
                <a:gd name="connsiteY4780" fmla="*/ 1433108 h 1451770"/>
                <a:gd name="connsiteX4781" fmla="*/ 640553 w 3773795"/>
                <a:gd name="connsiteY4781" fmla="*/ 1434716 h 1451770"/>
                <a:gd name="connsiteX4782" fmla="*/ 639355 w 3773795"/>
                <a:gd name="connsiteY4782" fmla="*/ 1436442 h 1451770"/>
                <a:gd name="connsiteX4783" fmla="*/ 637409 w 3773795"/>
                <a:gd name="connsiteY4783" fmla="*/ 1439514 h 1451770"/>
                <a:gd name="connsiteX4784" fmla="*/ 636541 w 3773795"/>
                <a:gd name="connsiteY4784" fmla="*/ 1441140 h 1451770"/>
                <a:gd name="connsiteX4785" fmla="*/ 634479 w 3773795"/>
                <a:gd name="connsiteY4785" fmla="*/ 1442644 h 1451770"/>
                <a:gd name="connsiteX4786" fmla="*/ 631032 w 3773795"/>
                <a:gd name="connsiteY4786" fmla="*/ 1444236 h 1451770"/>
                <a:gd name="connsiteX4787" fmla="*/ 629126 w 3773795"/>
                <a:gd name="connsiteY4787" fmla="*/ 1444925 h 1451770"/>
                <a:gd name="connsiteX4788" fmla="*/ 627083 w 3773795"/>
                <a:gd name="connsiteY4788" fmla="*/ 1448217 h 1451770"/>
                <a:gd name="connsiteX4789" fmla="*/ 624816 w 3773795"/>
                <a:gd name="connsiteY4789" fmla="*/ 1451415 h 1451770"/>
                <a:gd name="connsiteX4790" fmla="*/ 623265 w 3773795"/>
                <a:gd name="connsiteY4790" fmla="*/ 1451770 h 1451770"/>
                <a:gd name="connsiteX4791" fmla="*/ 618860 w 3773795"/>
                <a:gd name="connsiteY4791" fmla="*/ 1451273 h 1451770"/>
                <a:gd name="connsiteX4792" fmla="*/ 617286 w 3773795"/>
                <a:gd name="connsiteY4792" fmla="*/ 1450985 h 1451770"/>
                <a:gd name="connsiteX4793" fmla="*/ 612799 w 3773795"/>
                <a:gd name="connsiteY4793" fmla="*/ 1449577 h 1451770"/>
                <a:gd name="connsiteX4794" fmla="*/ 611548 w 3773795"/>
                <a:gd name="connsiteY4794" fmla="*/ 1448716 h 1451770"/>
                <a:gd name="connsiteX4795" fmla="*/ 610313 w 3773795"/>
                <a:gd name="connsiteY4795" fmla="*/ 1445006 h 1451770"/>
                <a:gd name="connsiteX4796" fmla="*/ 608927 w 3773795"/>
                <a:gd name="connsiteY4796" fmla="*/ 1443409 h 1451770"/>
                <a:gd name="connsiteX4797" fmla="*/ 607189 w 3773795"/>
                <a:gd name="connsiteY4797" fmla="*/ 1442388 h 1451770"/>
                <a:gd name="connsiteX4798" fmla="*/ 605999 w 3773795"/>
                <a:gd name="connsiteY4798" fmla="*/ 1441520 h 1451770"/>
                <a:gd name="connsiteX4799" fmla="*/ 605504 w 3773795"/>
                <a:gd name="connsiteY4799" fmla="*/ 1440624 h 1451770"/>
                <a:gd name="connsiteX4800" fmla="*/ 604245 w 3773795"/>
                <a:gd name="connsiteY4800" fmla="*/ 1439327 h 1451770"/>
                <a:gd name="connsiteX4801" fmla="*/ 601918 w 3773795"/>
                <a:gd name="connsiteY4801" fmla="*/ 1437394 h 1451770"/>
                <a:gd name="connsiteX4802" fmla="*/ 600231 w 3773795"/>
                <a:gd name="connsiteY4802" fmla="*/ 1435561 h 1451770"/>
                <a:gd name="connsiteX4803" fmla="*/ 598927 w 3773795"/>
                <a:gd name="connsiteY4803" fmla="*/ 1435064 h 1451770"/>
                <a:gd name="connsiteX4804" fmla="*/ 597283 w 3773795"/>
                <a:gd name="connsiteY4804" fmla="*/ 1435711 h 1451770"/>
                <a:gd name="connsiteX4805" fmla="*/ 596295 w 3773795"/>
                <a:gd name="connsiteY4805" fmla="*/ 1435892 h 1451770"/>
                <a:gd name="connsiteX4806" fmla="*/ 595871 w 3773795"/>
                <a:gd name="connsiteY4806" fmla="*/ 1435569 h 1451770"/>
                <a:gd name="connsiteX4807" fmla="*/ 595552 w 3773795"/>
                <a:gd name="connsiteY4807" fmla="*/ 1434028 h 1451770"/>
                <a:gd name="connsiteX4808" fmla="*/ 593168 w 3773795"/>
                <a:gd name="connsiteY4808" fmla="*/ 1433483 h 1451770"/>
                <a:gd name="connsiteX4809" fmla="*/ 592762 w 3773795"/>
                <a:gd name="connsiteY4809" fmla="*/ 1433121 h 1451770"/>
                <a:gd name="connsiteX4810" fmla="*/ 589583 w 3773795"/>
                <a:gd name="connsiteY4810" fmla="*/ 1431643 h 1451770"/>
                <a:gd name="connsiteX4811" fmla="*/ 588365 w 3773795"/>
                <a:gd name="connsiteY4811" fmla="*/ 1430859 h 1451770"/>
                <a:gd name="connsiteX4812" fmla="*/ 587195 w 3773795"/>
                <a:gd name="connsiteY4812" fmla="*/ 1430801 h 1451770"/>
                <a:gd name="connsiteX4813" fmla="*/ 584733 w 3773795"/>
                <a:gd name="connsiteY4813" fmla="*/ 1430358 h 1451770"/>
                <a:gd name="connsiteX4814" fmla="*/ 582645 w 3773795"/>
                <a:gd name="connsiteY4814" fmla="*/ 1429650 h 1451770"/>
                <a:gd name="connsiteX4815" fmla="*/ 581680 w 3773795"/>
                <a:gd name="connsiteY4815" fmla="*/ 1428713 h 1451770"/>
                <a:gd name="connsiteX4816" fmla="*/ 580257 w 3773795"/>
                <a:gd name="connsiteY4816" fmla="*/ 1427669 h 1451770"/>
                <a:gd name="connsiteX4817" fmla="*/ 577616 w 3773795"/>
                <a:gd name="connsiteY4817" fmla="*/ 1426369 h 1451770"/>
                <a:gd name="connsiteX4818" fmla="*/ 575670 w 3773795"/>
                <a:gd name="connsiteY4818" fmla="*/ 1425141 h 1451770"/>
                <a:gd name="connsiteX4819" fmla="*/ 575575 w 3773795"/>
                <a:gd name="connsiteY4819" fmla="*/ 1424352 h 1451770"/>
                <a:gd name="connsiteX4820" fmla="*/ 576771 w 3773795"/>
                <a:gd name="connsiteY4820" fmla="*/ 1421087 h 1451770"/>
                <a:gd name="connsiteX4821" fmla="*/ 577637 w 3773795"/>
                <a:gd name="connsiteY4821" fmla="*/ 1417951 h 1451770"/>
                <a:gd name="connsiteX4822" fmla="*/ 577145 w 3773795"/>
                <a:gd name="connsiteY4822" fmla="*/ 1417336 h 1451770"/>
                <a:gd name="connsiteX4823" fmla="*/ 576046 w 3773795"/>
                <a:gd name="connsiteY4823" fmla="*/ 1416814 h 1451770"/>
                <a:gd name="connsiteX4824" fmla="*/ 573997 w 3773795"/>
                <a:gd name="connsiteY4824" fmla="*/ 1416332 h 1451770"/>
                <a:gd name="connsiteX4825" fmla="*/ 569151 w 3773795"/>
                <a:gd name="connsiteY4825" fmla="*/ 1416491 h 1451770"/>
                <a:gd name="connsiteX4826" fmla="*/ 566154 w 3773795"/>
                <a:gd name="connsiteY4826" fmla="*/ 1413329 h 1451770"/>
                <a:gd name="connsiteX4827" fmla="*/ 565093 w 3773795"/>
                <a:gd name="connsiteY4827" fmla="*/ 1412614 h 1451770"/>
                <a:gd name="connsiteX4828" fmla="*/ 563133 w 3773795"/>
                <a:gd name="connsiteY4828" fmla="*/ 1412103 h 1451770"/>
                <a:gd name="connsiteX4829" fmla="*/ 560298 w 3773795"/>
                <a:gd name="connsiteY4829" fmla="*/ 1411137 h 1451770"/>
                <a:gd name="connsiteX4830" fmla="*/ 558697 w 3773795"/>
                <a:gd name="connsiteY4830" fmla="*/ 1410439 h 1451770"/>
                <a:gd name="connsiteX4831" fmla="*/ 558244 w 3773795"/>
                <a:gd name="connsiteY4831" fmla="*/ 1410695 h 1451770"/>
                <a:gd name="connsiteX4832" fmla="*/ 556489 w 3773795"/>
                <a:gd name="connsiteY4832" fmla="*/ 1414168 h 1451770"/>
                <a:gd name="connsiteX4833" fmla="*/ 554735 w 3773795"/>
                <a:gd name="connsiteY4833" fmla="*/ 1411689 h 1451770"/>
                <a:gd name="connsiteX4834" fmla="*/ 553686 w 3773795"/>
                <a:gd name="connsiteY4834" fmla="*/ 1411018 h 1451770"/>
                <a:gd name="connsiteX4835" fmla="*/ 552185 w 3773795"/>
                <a:gd name="connsiteY4835" fmla="*/ 1410650 h 1451770"/>
                <a:gd name="connsiteX4836" fmla="*/ 550623 w 3773795"/>
                <a:gd name="connsiteY4836" fmla="*/ 1410646 h 1451770"/>
                <a:gd name="connsiteX4837" fmla="*/ 546724 w 3773795"/>
                <a:gd name="connsiteY4837" fmla="*/ 1411852 h 1451770"/>
                <a:gd name="connsiteX4838" fmla="*/ 543854 w 3773795"/>
                <a:gd name="connsiteY4838" fmla="*/ 1413185 h 1451770"/>
                <a:gd name="connsiteX4839" fmla="*/ 541710 w 3773795"/>
                <a:gd name="connsiteY4839" fmla="*/ 1414180 h 1451770"/>
                <a:gd name="connsiteX4840" fmla="*/ 539542 w 3773795"/>
                <a:gd name="connsiteY4840" fmla="*/ 1414734 h 1451770"/>
                <a:gd name="connsiteX4841" fmla="*/ 538496 w 3773795"/>
                <a:gd name="connsiteY4841" fmla="*/ 1415510 h 1451770"/>
                <a:gd name="connsiteX4842" fmla="*/ 535590 w 3773795"/>
                <a:gd name="connsiteY4842" fmla="*/ 1415377 h 1451770"/>
                <a:gd name="connsiteX4843" fmla="*/ 534128 w 3773795"/>
                <a:gd name="connsiteY4843" fmla="*/ 1414781 h 1451770"/>
                <a:gd name="connsiteX4844" fmla="*/ 533653 w 3773795"/>
                <a:gd name="connsiteY4844" fmla="*/ 1414163 h 1451770"/>
                <a:gd name="connsiteX4845" fmla="*/ 533908 w 3773795"/>
                <a:gd name="connsiteY4845" fmla="*/ 1413081 h 1451770"/>
                <a:gd name="connsiteX4846" fmla="*/ 534914 w 3773795"/>
                <a:gd name="connsiteY4846" fmla="*/ 1411867 h 1451770"/>
                <a:gd name="connsiteX4847" fmla="*/ 534987 w 3773795"/>
                <a:gd name="connsiteY4847" fmla="*/ 1411203 h 1451770"/>
                <a:gd name="connsiteX4848" fmla="*/ 534631 w 3773795"/>
                <a:gd name="connsiteY4848" fmla="*/ 1410689 h 1451770"/>
                <a:gd name="connsiteX4849" fmla="*/ 531103 w 3773795"/>
                <a:gd name="connsiteY4849" fmla="*/ 1409066 h 1451770"/>
                <a:gd name="connsiteX4850" fmla="*/ 529660 w 3773795"/>
                <a:gd name="connsiteY4850" fmla="*/ 1408083 h 1451770"/>
                <a:gd name="connsiteX4851" fmla="*/ 525020 w 3773795"/>
                <a:gd name="connsiteY4851" fmla="*/ 1406685 h 1451770"/>
                <a:gd name="connsiteX4852" fmla="*/ 519297 w 3773795"/>
                <a:gd name="connsiteY4852" fmla="*/ 1404211 h 1451770"/>
                <a:gd name="connsiteX4853" fmla="*/ 517330 w 3773795"/>
                <a:gd name="connsiteY4853" fmla="*/ 1402587 h 1451770"/>
                <a:gd name="connsiteX4854" fmla="*/ 517140 w 3773795"/>
                <a:gd name="connsiteY4854" fmla="*/ 1401464 h 1451770"/>
                <a:gd name="connsiteX4855" fmla="*/ 514894 w 3773795"/>
                <a:gd name="connsiteY4855" fmla="*/ 1400361 h 1451770"/>
                <a:gd name="connsiteX4856" fmla="*/ 512033 w 3773795"/>
                <a:gd name="connsiteY4856" fmla="*/ 1399370 h 1451770"/>
                <a:gd name="connsiteX4857" fmla="*/ 509813 w 3773795"/>
                <a:gd name="connsiteY4857" fmla="*/ 1399651 h 1451770"/>
                <a:gd name="connsiteX4858" fmla="*/ 507730 w 3773795"/>
                <a:gd name="connsiteY4858" fmla="*/ 1399758 h 1451770"/>
                <a:gd name="connsiteX4859" fmla="*/ 504480 w 3773795"/>
                <a:gd name="connsiteY4859" fmla="*/ 1397903 h 1451770"/>
                <a:gd name="connsiteX4860" fmla="*/ 501398 w 3773795"/>
                <a:gd name="connsiteY4860" fmla="*/ 1397799 h 1451770"/>
                <a:gd name="connsiteX4861" fmla="*/ 497917 w 3773795"/>
                <a:gd name="connsiteY4861" fmla="*/ 1398356 h 1451770"/>
                <a:gd name="connsiteX4862" fmla="*/ 497155 w 3773795"/>
                <a:gd name="connsiteY4862" fmla="*/ 1398577 h 1451770"/>
                <a:gd name="connsiteX4863" fmla="*/ 496319 w 3773795"/>
                <a:gd name="connsiteY4863" fmla="*/ 1398818 h 1451770"/>
                <a:gd name="connsiteX4864" fmla="*/ 485939 w 3773795"/>
                <a:gd name="connsiteY4864" fmla="*/ 1398036 h 1451770"/>
                <a:gd name="connsiteX4865" fmla="*/ 483290 w 3773795"/>
                <a:gd name="connsiteY4865" fmla="*/ 1396503 h 1451770"/>
                <a:gd name="connsiteX4866" fmla="*/ 481022 w 3773795"/>
                <a:gd name="connsiteY4866" fmla="*/ 1394969 h 1451770"/>
                <a:gd name="connsiteX4867" fmla="*/ 474939 w 3773795"/>
                <a:gd name="connsiteY4867" fmla="*/ 1393865 h 1451770"/>
                <a:gd name="connsiteX4868" fmla="*/ 471819 w 3773795"/>
                <a:gd name="connsiteY4868" fmla="*/ 1392692 h 1451770"/>
                <a:gd name="connsiteX4869" fmla="*/ 468716 w 3773795"/>
                <a:gd name="connsiteY4869" fmla="*/ 1391027 h 1451770"/>
                <a:gd name="connsiteX4870" fmla="*/ 465319 w 3773795"/>
                <a:gd name="connsiteY4870" fmla="*/ 1389574 h 1451770"/>
                <a:gd name="connsiteX4871" fmla="*/ 462464 w 3773795"/>
                <a:gd name="connsiteY4871" fmla="*/ 1390163 h 1451770"/>
                <a:gd name="connsiteX4872" fmla="*/ 458558 w 3773795"/>
                <a:gd name="connsiteY4872" fmla="*/ 1389335 h 1451770"/>
                <a:gd name="connsiteX4873" fmla="*/ 454311 w 3773795"/>
                <a:gd name="connsiteY4873" fmla="*/ 1388607 h 1451770"/>
                <a:gd name="connsiteX4874" fmla="*/ 452860 w 3773795"/>
                <a:gd name="connsiteY4874" fmla="*/ 1389055 h 1451770"/>
                <a:gd name="connsiteX4875" fmla="*/ 451514 w 3773795"/>
                <a:gd name="connsiteY4875" fmla="*/ 1390894 h 1451770"/>
                <a:gd name="connsiteX4876" fmla="*/ 450510 w 3773795"/>
                <a:gd name="connsiteY4876" fmla="*/ 1392644 h 1451770"/>
                <a:gd name="connsiteX4877" fmla="*/ 448195 w 3773795"/>
                <a:gd name="connsiteY4877" fmla="*/ 1391219 h 1451770"/>
                <a:gd name="connsiteX4878" fmla="*/ 440303 w 3773795"/>
                <a:gd name="connsiteY4878" fmla="*/ 1384343 h 1451770"/>
                <a:gd name="connsiteX4879" fmla="*/ 436161 w 3773795"/>
                <a:gd name="connsiteY4879" fmla="*/ 1379768 h 1451770"/>
                <a:gd name="connsiteX4880" fmla="*/ 422626 w 3773795"/>
                <a:gd name="connsiteY4880" fmla="*/ 1369182 h 1451770"/>
                <a:gd name="connsiteX4881" fmla="*/ 420825 w 3773795"/>
                <a:gd name="connsiteY4881" fmla="*/ 1368370 h 1451770"/>
                <a:gd name="connsiteX4882" fmla="*/ 413660 w 3773795"/>
                <a:gd name="connsiteY4882" fmla="*/ 1366838 h 1451770"/>
                <a:gd name="connsiteX4883" fmla="*/ 410773 w 3773795"/>
                <a:gd name="connsiteY4883" fmla="*/ 1365609 h 1451770"/>
                <a:gd name="connsiteX4884" fmla="*/ 403481 w 3773795"/>
                <a:gd name="connsiteY4884" fmla="*/ 1358013 h 1451770"/>
                <a:gd name="connsiteX4885" fmla="*/ 400240 w 3773795"/>
                <a:gd name="connsiteY4885" fmla="*/ 1359033 h 1451770"/>
                <a:gd name="connsiteX4886" fmla="*/ 397311 w 3773795"/>
                <a:gd name="connsiteY4886" fmla="*/ 1358775 h 1451770"/>
                <a:gd name="connsiteX4887" fmla="*/ 395601 w 3773795"/>
                <a:gd name="connsiteY4887" fmla="*/ 1358110 h 1451770"/>
                <a:gd name="connsiteX4888" fmla="*/ 393748 w 3773795"/>
                <a:gd name="connsiteY4888" fmla="*/ 1357018 h 1451770"/>
                <a:gd name="connsiteX4889" fmla="*/ 392444 w 3773795"/>
                <a:gd name="connsiteY4889" fmla="*/ 1355572 h 1451770"/>
                <a:gd name="connsiteX4890" fmla="*/ 390935 w 3773795"/>
                <a:gd name="connsiteY4890" fmla="*/ 1352388 h 1451770"/>
                <a:gd name="connsiteX4891" fmla="*/ 389181 w 3773795"/>
                <a:gd name="connsiteY4891" fmla="*/ 1350560 h 1451770"/>
                <a:gd name="connsiteX4892" fmla="*/ 383424 w 3773795"/>
                <a:gd name="connsiteY4892" fmla="*/ 1347891 h 1451770"/>
                <a:gd name="connsiteX4893" fmla="*/ 376931 w 3773795"/>
                <a:gd name="connsiteY4893" fmla="*/ 1346335 h 1451770"/>
                <a:gd name="connsiteX4894" fmla="*/ 376419 w 3773795"/>
                <a:gd name="connsiteY4894" fmla="*/ 1345655 h 1451770"/>
                <a:gd name="connsiteX4895" fmla="*/ 376231 w 3773795"/>
                <a:gd name="connsiteY4895" fmla="*/ 1344719 h 1451770"/>
                <a:gd name="connsiteX4896" fmla="*/ 381846 w 3773795"/>
                <a:gd name="connsiteY4896" fmla="*/ 1342904 h 1451770"/>
                <a:gd name="connsiteX4897" fmla="*/ 383353 w 3773795"/>
                <a:gd name="connsiteY4897" fmla="*/ 1341864 h 1451770"/>
                <a:gd name="connsiteX4898" fmla="*/ 380474 w 3773795"/>
                <a:gd name="connsiteY4898" fmla="*/ 1340484 h 1451770"/>
                <a:gd name="connsiteX4899" fmla="*/ 379382 w 3773795"/>
                <a:gd name="connsiteY4899" fmla="*/ 1340256 h 1451770"/>
                <a:gd name="connsiteX4900" fmla="*/ 378471 w 3773795"/>
                <a:gd name="connsiteY4900" fmla="*/ 1339610 h 1451770"/>
                <a:gd name="connsiteX4901" fmla="*/ 380092 w 3773795"/>
                <a:gd name="connsiteY4901" fmla="*/ 1338572 h 1451770"/>
                <a:gd name="connsiteX4902" fmla="*/ 381688 w 3773795"/>
                <a:gd name="connsiteY4902" fmla="*/ 1338096 h 1451770"/>
                <a:gd name="connsiteX4903" fmla="*/ 384163 w 3773795"/>
                <a:gd name="connsiteY4903" fmla="*/ 1339289 h 1451770"/>
                <a:gd name="connsiteX4904" fmla="*/ 386942 w 3773795"/>
                <a:gd name="connsiteY4904" fmla="*/ 1341503 h 1451770"/>
                <a:gd name="connsiteX4905" fmla="*/ 389375 w 3773795"/>
                <a:gd name="connsiteY4905" fmla="*/ 1342341 h 1451770"/>
                <a:gd name="connsiteX4906" fmla="*/ 390496 w 3773795"/>
                <a:gd name="connsiteY4906" fmla="*/ 1341282 h 1451770"/>
                <a:gd name="connsiteX4907" fmla="*/ 398963 w 3773795"/>
                <a:gd name="connsiteY4907" fmla="*/ 1339464 h 1451770"/>
                <a:gd name="connsiteX4908" fmla="*/ 399533 w 3773795"/>
                <a:gd name="connsiteY4908" fmla="*/ 1338023 h 1451770"/>
                <a:gd name="connsiteX4909" fmla="*/ 399510 w 3773795"/>
                <a:gd name="connsiteY4909" fmla="*/ 1336412 h 1451770"/>
                <a:gd name="connsiteX4910" fmla="*/ 398680 w 3773795"/>
                <a:gd name="connsiteY4910" fmla="*/ 1336469 h 1451770"/>
                <a:gd name="connsiteX4911" fmla="*/ 398140 w 3773795"/>
                <a:gd name="connsiteY4911" fmla="*/ 1336106 h 1451770"/>
                <a:gd name="connsiteX4912" fmla="*/ 398195 w 3773795"/>
                <a:gd name="connsiteY4912" fmla="*/ 1334315 h 1451770"/>
                <a:gd name="connsiteX4913" fmla="*/ 399451 w 3773795"/>
                <a:gd name="connsiteY4913" fmla="*/ 1331857 h 1451770"/>
                <a:gd name="connsiteX4914" fmla="*/ 403248 w 3773795"/>
                <a:gd name="connsiteY4914" fmla="*/ 1327851 h 1451770"/>
                <a:gd name="connsiteX4915" fmla="*/ 405286 w 3773795"/>
                <a:gd name="connsiteY4915" fmla="*/ 1322274 h 1451770"/>
                <a:gd name="connsiteX4916" fmla="*/ 407081 w 3773795"/>
                <a:gd name="connsiteY4916" fmla="*/ 1321002 h 1451770"/>
                <a:gd name="connsiteX4917" fmla="*/ 408398 w 3773795"/>
                <a:gd name="connsiteY4917" fmla="*/ 1321850 h 1451770"/>
                <a:gd name="connsiteX4918" fmla="*/ 408307 w 3773795"/>
                <a:gd name="connsiteY4918" fmla="*/ 1323153 h 1451770"/>
                <a:gd name="connsiteX4919" fmla="*/ 408525 w 3773795"/>
                <a:gd name="connsiteY4919" fmla="*/ 1324121 h 1451770"/>
                <a:gd name="connsiteX4920" fmla="*/ 409702 w 3773795"/>
                <a:gd name="connsiteY4920" fmla="*/ 1322243 h 1451770"/>
                <a:gd name="connsiteX4921" fmla="*/ 410825 w 3773795"/>
                <a:gd name="connsiteY4921" fmla="*/ 1319702 h 1451770"/>
                <a:gd name="connsiteX4922" fmla="*/ 413660 w 3773795"/>
                <a:gd name="connsiteY4922" fmla="*/ 1319687 h 1451770"/>
                <a:gd name="connsiteX4923" fmla="*/ 415618 w 3773795"/>
                <a:gd name="connsiteY4923" fmla="*/ 1320111 h 1451770"/>
                <a:gd name="connsiteX4924" fmla="*/ 417651 w 3773795"/>
                <a:gd name="connsiteY4924" fmla="*/ 1319820 h 1451770"/>
                <a:gd name="connsiteX4925" fmla="*/ 413736 w 3773795"/>
                <a:gd name="connsiteY4925" fmla="*/ 1315632 h 1451770"/>
                <a:gd name="connsiteX4926" fmla="*/ 408484 w 3773795"/>
                <a:gd name="connsiteY4926" fmla="*/ 1311409 h 1451770"/>
                <a:gd name="connsiteX4927" fmla="*/ 406269 w 3773795"/>
                <a:gd name="connsiteY4927" fmla="*/ 1311727 h 1451770"/>
                <a:gd name="connsiteX4928" fmla="*/ 404861 w 3773795"/>
                <a:gd name="connsiteY4928" fmla="*/ 1311072 h 1451770"/>
                <a:gd name="connsiteX4929" fmla="*/ 402555 w 3773795"/>
                <a:gd name="connsiteY4929" fmla="*/ 1307587 h 1451770"/>
                <a:gd name="connsiteX4930" fmla="*/ 401602 w 3773795"/>
                <a:gd name="connsiteY4930" fmla="*/ 1304696 h 1451770"/>
                <a:gd name="connsiteX4931" fmla="*/ 403833 w 3773795"/>
                <a:gd name="connsiteY4931" fmla="*/ 1304761 h 1451770"/>
                <a:gd name="connsiteX4932" fmla="*/ 406057 w 3773795"/>
                <a:gd name="connsiteY4932" fmla="*/ 1305199 h 1451770"/>
                <a:gd name="connsiteX4933" fmla="*/ 410292 w 3773795"/>
                <a:gd name="connsiteY4933" fmla="*/ 1303179 h 1451770"/>
                <a:gd name="connsiteX4934" fmla="*/ 411850 w 3773795"/>
                <a:gd name="connsiteY4934" fmla="*/ 1302884 h 1451770"/>
                <a:gd name="connsiteX4935" fmla="*/ 414360 w 3773795"/>
                <a:gd name="connsiteY4935" fmla="*/ 1303523 h 1451770"/>
                <a:gd name="connsiteX4936" fmla="*/ 417843 w 3773795"/>
                <a:gd name="connsiteY4936" fmla="*/ 1303930 h 1451770"/>
                <a:gd name="connsiteX4937" fmla="*/ 417556 w 3773795"/>
                <a:gd name="connsiteY4937" fmla="*/ 1302024 h 1451770"/>
                <a:gd name="connsiteX4938" fmla="*/ 416465 w 3773795"/>
                <a:gd name="connsiteY4938" fmla="*/ 1299772 h 1451770"/>
                <a:gd name="connsiteX4939" fmla="*/ 420713 w 3773795"/>
                <a:gd name="connsiteY4939" fmla="*/ 1298101 h 1451770"/>
                <a:gd name="connsiteX4940" fmla="*/ 424479 w 3773795"/>
                <a:gd name="connsiteY4940" fmla="*/ 1297178 h 1451770"/>
                <a:gd name="connsiteX4941" fmla="*/ 431680 w 3773795"/>
                <a:gd name="connsiteY4941" fmla="*/ 1293906 h 1451770"/>
                <a:gd name="connsiteX4942" fmla="*/ 434863 w 3773795"/>
                <a:gd name="connsiteY4942" fmla="*/ 1293328 h 1451770"/>
                <a:gd name="connsiteX4943" fmla="*/ 435269 w 3773795"/>
                <a:gd name="connsiteY4943" fmla="*/ 1292581 h 1451770"/>
                <a:gd name="connsiteX4944" fmla="*/ 435366 w 3773795"/>
                <a:gd name="connsiteY4944" fmla="*/ 1291607 h 1451770"/>
                <a:gd name="connsiteX4945" fmla="*/ 434284 w 3773795"/>
                <a:gd name="connsiteY4945" fmla="*/ 1288986 h 1451770"/>
                <a:gd name="connsiteX4946" fmla="*/ 433205 w 3773795"/>
                <a:gd name="connsiteY4946" fmla="*/ 1287046 h 1451770"/>
                <a:gd name="connsiteX4947" fmla="*/ 429402 w 3773795"/>
                <a:gd name="connsiteY4947" fmla="*/ 1286952 h 1451770"/>
                <a:gd name="connsiteX4948" fmla="*/ 427292 w 3773795"/>
                <a:gd name="connsiteY4948" fmla="*/ 1289653 h 1451770"/>
                <a:gd name="connsiteX4949" fmla="*/ 421540 w 3773795"/>
                <a:gd name="connsiteY4949" fmla="*/ 1290540 h 1451770"/>
                <a:gd name="connsiteX4950" fmla="*/ 418981 w 3773795"/>
                <a:gd name="connsiteY4950" fmla="*/ 1290361 h 1451770"/>
                <a:gd name="connsiteX4951" fmla="*/ 421013 w 3773795"/>
                <a:gd name="connsiteY4951" fmla="*/ 1288631 h 1451770"/>
                <a:gd name="connsiteX4952" fmla="*/ 423040 w 3773795"/>
                <a:gd name="connsiteY4952" fmla="*/ 1287970 h 1451770"/>
                <a:gd name="connsiteX4953" fmla="*/ 423613 w 3773795"/>
                <a:gd name="connsiteY4953" fmla="*/ 1287249 h 1451770"/>
                <a:gd name="connsiteX4954" fmla="*/ 419529 w 3773795"/>
                <a:gd name="connsiteY4954" fmla="*/ 1287878 h 1451770"/>
                <a:gd name="connsiteX4955" fmla="*/ 417484 w 3773795"/>
                <a:gd name="connsiteY4955" fmla="*/ 1289657 h 1451770"/>
                <a:gd name="connsiteX4956" fmla="*/ 411505 w 3773795"/>
                <a:gd name="connsiteY4956" fmla="*/ 1292007 h 1451770"/>
                <a:gd name="connsiteX4957" fmla="*/ 411317 w 3773795"/>
                <a:gd name="connsiteY4957" fmla="*/ 1290773 h 1451770"/>
                <a:gd name="connsiteX4958" fmla="*/ 411218 w 3773795"/>
                <a:gd name="connsiteY4958" fmla="*/ 1289665 h 1451770"/>
                <a:gd name="connsiteX4959" fmla="*/ 411656 w 3773795"/>
                <a:gd name="connsiteY4959" fmla="*/ 1288616 h 1451770"/>
                <a:gd name="connsiteX4960" fmla="*/ 412632 w 3773795"/>
                <a:gd name="connsiteY4960" fmla="*/ 1287938 h 1451770"/>
                <a:gd name="connsiteX4961" fmla="*/ 412973 w 3773795"/>
                <a:gd name="connsiteY4961" fmla="*/ 1287321 h 1451770"/>
                <a:gd name="connsiteX4962" fmla="*/ 412973 w 3773795"/>
                <a:gd name="connsiteY4962" fmla="*/ 1286827 h 1451770"/>
                <a:gd name="connsiteX4963" fmla="*/ 412095 w 3773795"/>
                <a:gd name="connsiteY4963" fmla="*/ 1286518 h 1451770"/>
                <a:gd name="connsiteX4964" fmla="*/ 411364 w 3773795"/>
                <a:gd name="connsiteY4964" fmla="*/ 1286271 h 1451770"/>
                <a:gd name="connsiteX4965" fmla="*/ 411218 w 3773795"/>
                <a:gd name="connsiteY4965" fmla="*/ 1285592 h 1451770"/>
                <a:gd name="connsiteX4966" fmla="*/ 411462 w 3773795"/>
                <a:gd name="connsiteY4966" fmla="*/ 1284976 h 1451770"/>
                <a:gd name="connsiteX4967" fmla="*/ 412144 w 3773795"/>
                <a:gd name="connsiteY4967" fmla="*/ 1284110 h 1451770"/>
                <a:gd name="connsiteX4968" fmla="*/ 412438 w 3773795"/>
                <a:gd name="connsiteY4968" fmla="*/ 1283122 h 1451770"/>
                <a:gd name="connsiteX4969" fmla="*/ 412488 w 3773795"/>
                <a:gd name="connsiteY4969" fmla="*/ 1281142 h 1451770"/>
                <a:gd name="connsiteX4970" fmla="*/ 413120 w 3773795"/>
                <a:gd name="connsiteY4970" fmla="*/ 1278907 h 1451770"/>
                <a:gd name="connsiteX4971" fmla="*/ 414921 w 3773795"/>
                <a:gd name="connsiteY4971" fmla="*/ 1277481 h 1451770"/>
                <a:gd name="connsiteX4972" fmla="*/ 418063 w 3773795"/>
                <a:gd name="connsiteY4972" fmla="*/ 1277131 h 1451770"/>
                <a:gd name="connsiteX4973" fmla="*/ 420931 w 3773795"/>
                <a:gd name="connsiteY4973" fmla="*/ 1275908 h 1451770"/>
                <a:gd name="connsiteX4974" fmla="*/ 422663 w 3773795"/>
                <a:gd name="connsiteY4974" fmla="*/ 1274553 h 1451770"/>
                <a:gd name="connsiteX4975" fmla="*/ 424947 w 3773795"/>
                <a:gd name="connsiteY4975" fmla="*/ 1271094 h 1451770"/>
                <a:gd name="connsiteX4976" fmla="*/ 426672 w 3773795"/>
                <a:gd name="connsiteY4976" fmla="*/ 1270584 h 1451770"/>
                <a:gd name="connsiteX4977" fmla="*/ 430156 w 3773795"/>
                <a:gd name="connsiteY4977" fmla="*/ 1270771 h 1451770"/>
                <a:gd name="connsiteX4978" fmla="*/ 432382 w 3773795"/>
                <a:gd name="connsiteY4978" fmla="*/ 1271083 h 1451770"/>
                <a:gd name="connsiteX4979" fmla="*/ 437523 w 3773795"/>
                <a:gd name="connsiteY4979" fmla="*/ 1271186 h 1451770"/>
                <a:gd name="connsiteX4980" fmla="*/ 443438 w 3773795"/>
                <a:gd name="connsiteY4980" fmla="*/ 1270976 h 1451770"/>
                <a:gd name="connsiteX4981" fmla="*/ 445150 w 3773795"/>
                <a:gd name="connsiteY4981" fmla="*/ 1270874 h 1451770"/>
                <a:gd name="connsiteX4982" fmla="*/ 446096 w 3773795"/>
                <a:gd name="connsiteY4982" fmla="*/ 1269670 h 1451770"/>
                <a:gd name="connsiteX4983" fmla="*/ 446031 w 3773795"/>
                <a:gd name="connsiteY4983" fmla="*/ 1267502 h 1451770"/>
                <a:gd name="connsiteX4984" fmla="*/ 446876 w 3773795"/>
                <a:gd name="connsiteY4984" fmla="*/ 1265503 h 1451770"/>
                <a:gd name="connsiteX4985" fmla="*/ 448448 w 3773795"/>
                <a:gd name="connsiteY4985" fmla="*/ 1261744 h 1451770"/>
                <a:gd name="connsiteX4986" fmla="*/ 450128 w 3773795"/>
                <a:gd name="connsiteY4986" fmla="*/ 1259777 h 1451770"/>
                <a:gd name="connsiteX4987" fmla="*/ 450059 w 3773795"/>
                <a:gd name="connsiteY4987" fmla="*/ 1258901 h 1451770"/>
                <a:gd name="connsiteX4988" fmla="*/ 449180 w 3773795"/>
                <a:gd name="connsiteY4988" fmla="*/ 1258532 h 1451770"/>
                <a:gd name="connsiteX4989" fmla="*/ 448033 w 3773795"/>
                <a:gd name="connsiteY4989" fmla="*/ 1258348 h 1451770"/>
                <a:gd name="connsiteX4990" fmla="*/ 447617 w 3773795"/>
                <a:gd name="connsiteY4990" fmla="*/ 1257942 h 1451770"/>
                <a:gd name="connsiteX4991" fmla="*/ 447670 w 3773795"/>
                <a:gd name="connsiteY4991" fmla="*/ 1257116 h 1451770"/>
                <a:gd name="connsiteX4992" fmla="*/ 448554 w 3773795"/>
                <a:gd name="connsiteY4992" fmla="*/ 1256309 h 1451770"/>
                <a:gd name="connsiteX4993" fmla="*/ 448394 w 3773795"/>
                <a:gd name="connsiteY4993" fmla="*/ 1254647 h 1451770"/>
                <a:gd name="connsiteX4994" fmla="*/ 447839 w 3773795"/>
                <a:gd name="connsiteY4994" fmla="*/ 1252800 h 1451770"/>
                <a:gd name="connsiteX4995" fmla="*/ 447355 w 3773795"/>
                <a:gd name="connsiteY4995" fmla="*/ 1251138 h 1451770"/>
                <a:gd name="connsiteX4996" fmla="*/ 445803 w 3773795"/>
                <a:gd name="connsiteY4996" fmla="*/ 1250312 h 1451770"/>
                <a:gd name="connsiteX4997" fmla="*/ 443133 w 3773795"/>
                <a:gd name="connsiteY4997" fmla="*/ 1249763 h 1451770"/>
                <a:gd name="connsiteX4998" fmla="*/ 443702 w 3773795"/>
                <a:gd name="connsiteY4998" fmla="*/ 1247739 h 1451770"/>
                <a:gd name="connsiteX4999" fmla="*/ 444457 w 3773795"/>
                <a:gd name="connsiteY4999" fmla="*/ 1245552 h 1451770"/>
                <a:gd name="connsiteX5000" fmla="*/ 445591 w 3773795"/>
                <a:gd name="connsiteY5000" fmla="*/ 1244336 h 1451770"/>
                <a:gd name="connsiteX5001" fmla="*/ 446409 w 3773795"/>
                <a:gd name="connsiteY5001" fmla="*/ 1243606 h 1451770"/>
                <a:gd name="connsiteX5002" fmla="*/ 448869 w 3773795"/>
                <a:gd name="connsiteY5002" fmla="*/ 1244004 h 1451770"/>
                <a:gd name="connsiteX5003" fmla="*/ 450646 w 3773795"/>
                <a:gd name="connsiteY5003" fmla="*/ 1243616 h 1451770"/>
                <a:gd name="connsiteX5004" fmla="*/ 451069 w 3773795"/>
                <a:gd name="connsiteY5004" fmla="*/ 1243197 h 1451770"/>
                <a:gd name="connsiteX5005" fmla="*/ 450750 w 3773795"/>
                <a:gd name="connsiteY5005" fmla="*/ 1242362 h 1451770"/>
                <a:gd name="connsiteX5006" fmla="*/ 447977 w 3773795"/>
                <a:gd name="connsiteY5006" fmla="*/ 1241605 h 1451770"/>
                <a:gd name="connsiteX5007" fmla="*/ 445535 w 3773795"/>
                <a:gd name="connsiteY5007" fmla="*/ 1240565 h 1451770"/>
                <a:gd name="connsiteX5008" fmla="*/ 444481 w 3773795"/>
                <a:gd name="connsiteY5008" fmla="*/ 1239279 h 1451770"/>
                <a:gd name="connsiteX5009" fmla="*/ 444058 w 3773795"/>
                <a:gd name="connsiteY5009" fmla="*/ 1237900 h 1451770"/>
                <a:gd name="connsiteX5010" fmla="*/ 445671 w 3773795"/>
                <a:gd name="connsiteY5010" fmla="*/ 1237082 h 1451770"/>
                <a:gd name="connsiteX5011" fmla="*/ 448551 w 3773795"/>
                <a:gd name="connsiteY5011" fmla="*/ 1236297 h 1451770"/>
                <a:gd name="connsiteX5012" fmla="*/ 450467 w 3773795"/>
                <a:gd name="connsiteY5012" fmla="*/ 1234418 h 1451770"/>
                <a:gd name="connsiteX5013" fmla="*/ 452538 w 3773795"/>
                <a:gd name="connsiteY5013" fmla="*/ 1232404 h 1451770"/>
                <a:gd name="connsiteX5014" fmla="*/ 453395 w 3773795"/>
                <a:gd name="connsiteY5014" fmla="*/ 1230937 h 1451770"/>
                <a:gd name="connsiteX5015" fmla="*/ 453827 w 3773795"/>
                <a:gd name="connsiteY5015" fmla="*/ 1229344 h 1451770"/>
                <a:gd name="connsiteX5016" fmla="*/ 453779 w 3773795"/>
                <a:gd name="connsiteY5016" fmla="*/ 1227579 h 1451770"/>
                <a:gd name="connsiteX5017" fmla="*/ 452268 w 3773795"/>
                <a:gd name="connsiteY5017" fmla="*/ 1225782 h 1451770"/>
                <a:gd name="connsiteX5018" fmla="*/ 452268 w 3773795"/>
                <a:gd name="connsiteY5018" fmla="*/ 1223902 h 1451770"/>
                <a:gd name="connsiteX5019" fmla="*/ 453088 w 3773795"/>
                <a:gd name="connsiteY5019" fmla="*/ 1222593 h 1451770"/>
                <a:gd name="connsiteX5020" fmla="*/ 452773 w 3773795"/>
                <a:gd name="connsiteY5020" fmla="*/ 1221611 h 1451770"/>
                <a:gd name="connsiteX5021" fmla="*/ 451667 w 3773795"/>
                <a:gd name="connsiteY5021" fmla="*/ 1221041 h 1451770"/>
                <a:gd name="connsiteX5022" fmla="*/ 450072 w 3773795"/>
                <a:gd name="connsiteY5022" fmla="*/ 1221212 h 1451770"/>
                <a:gd name="connsiteX5023" fmla="*/ 448266 w 3773795"/>
                <a:gd name="connsiteY5023" fmla="*/ 1221875 h 1451770"/>
                <a:gd name="connsiteX5024" fmla="*/ 446137 w 3773795"/>
                <a:gd name="connsiteY5024" fmla="*/ 1221750 h 1451770"/>
                <a:gd name="connsiteX5025" fmla="*/ 442732 w 3773795"/>
                <a:gd name="connsiteY5025" fmla="*/ 1219490 h 1451770"/>
                <a:gd name="connsiteX5026" fmla="*/ 439110 w 3773795"/>
                <a:gd name="connsiteY5026" fmla="*/ 1217265 h 1451770"/>
                <a:gd name="connsiteX5027" fmla="*/ 437025 w 3773795"/>
                <a:gd name="connsiteY5027" fmla="*/ 1217190 h 1451770"/>
                <a:gd name="connsiteX5028" fmla="*/ 435576 w 3773795"/>
                <a:gd name="connsiteY5028" fmla="*/ 1216862 h 1451770"/>
                <a:gd name="connsiteX5029" fmla="*/ 434317 w 3773795"/>
                <a:gd name="connsiteY5029" fmla="*/ 1215714 h 1451770"/>
                <a:gd name="connsiteX5030" fmla="*/ 433561 w 3773795"/>
                <a:gd name="connsiteY5030" fmla="*/ 1214237 h 1451770"/>
                <a:gd name="connsiteX5031" fmla="*/ 432743 w 3773795"/>
                <a:gd name="connsiteY5031" fmla="*/ 1213582 h 1451770"/>
                <a:gd name="connsiteX5032" fmla="*/ 431419 w 3773795"/>
                <a:gd name="connsiteY5032" fmla="*/ 1213991 h 1451770"/>
                <a:gd name="connsiteX5033" fmla="*/ 429490 w 3773795"/>
                <a:gd name="connsiteY5033" fmla="*/ 1214663 h 1451770"/>
                <a:gd name="connsiteX5034" fmla="*/ 427072 w 3773795"/>
                <a:gd name="connsiteY5034" fmla="*/ 1214482 h 1451770"/>
                <a:gd name="connsiteX5035" fmla="*/ 423939 w 3773795"/>
                <a:gd name="connsiteY5035" fmla="*/ 1212764 h 1451770"/>
                <a:gd name="connsiteX5036" fmla="*/ 421088 w 3773795"/>
                <a:gd name="connsiteY5036" fmla="*/ 1210787 h 1451770"/>
                <a:gd name="connsiteX5037" fmla="*/ 418970 w 3773795"/>
                <a:gd name="connsiteY5037" fmla="*/ 1210738 h 1451770"/>
                <a:gd name="connsiteX5038" fmla="*/ 416742 w 3773795"/>
                <a:gd name="connsiteY5038" fmla="*/ 1210464 h 1451770"/>
                <a:gd name="connsiteX5039" fmla="*/ 412483 w 3773795"/>
                <a:gd name="connsiteY5039" fmla="*/ 1207916 h 1451770"/>
                <a:gd name="connsiteX5040" fmla="*/ 411380 w 3773795"/>
                <a:gd name="connsiteY5040" fmla="*/ 1207941 h 1451770"/>
                <a:gd name="connsiteX5041" fmla="*/ 410691 w 3773795"/>
                <a:gd name="connsiteY5041" fmla="*/ 1208694 h 1451770"/>
                <a:gd name="connsiteX5042" fmla="*/ 410363 w 3773795"/>
                <a:gd name="connsiteY5042" fmla="*/ 1210739 h 1451770"/>
                <a:gd name="connsiteX5043" fmla="*/ 410011 w 3773795"/>
                <a:gd name="connsiteY5043" fmla="*/ 1211176 h 1451770"/>
                <a:gd name="connsiteX5044" fmla="*/ 409253 w 3773795"/>
                <a:gd name="connsiteY5044" fmla="*/ 1211510 h 1451770"/>
                <a:gd name="connsiteX5045" fmla="*/ 407802 w 3773795"/>
                <a:gd name="connsiteY5045" fmla="*/ 1211735 h 1451770"/>
                <a:gd name="connsiteX5046" fmla="*/ 405666 w 3773795"/>
                <a:gd name="connsiteY5046" fmla="*/ 1210460 h 1451770"/>
                <a:gd name="connsiteX5047" fmla="*/ 400224 w 3773795"/>
                <a:gd name="connsiteY5047" fmla="*/ 1206277 h 1451770"/>
                <a:gd name="connsiteX5048" fmla="*/ 398033 w 3773795"/>
                <a:gd name="connsiteY5048" fmla="*/ 1203215 h 1451770"/>
                <a:gd name="connsiteX5049" fmla="*/ 397530 w 3773795"/>
                <a:gd name="connsiteY5049" fmla="*/ 1200989 h 1451770"/>
                <a:gd name="connsiteX5050" fmla="*/ 395739 w 3773795"/>
                <a:gd name="connsiteY5050" fmla="*/ 1199573 h 1451770"/>
                <a:gd name="connsiteX5051" fmla="*/ 394003 w 3773795"/>
                <a:gd name="connsiteY5051" fmla="*/ 1197521 h 1451770"/>
                <a:gd name="connsiteX5052" fmla="*/ 392241 w 3773795"/>
                <a:gd name="connsiteY5052" fmla="*/ 1197343 h 1451770"/>
                <a:gd name="connsiteX5053" fmla="*/ 390289 w 3773795"/>
                <a:gd name="connsiteY5053" fmla="*/ 1198000 h 1451770"/>
                <a:gd name="connsiteX5054" fmla="*/ 388436 w 3773795"/>
                <a:gd name="connsiteY5054" fmla="*/ 1198988 h 1451770"/>
                <a:gd name="connsiteX5055" fmla="*/ 387555 w 3773795"/>
                <a:gd name="connsiteY5055" fmla="*/ 1199260 h 1451770"/>
                <a:gd name="connsiteX5056" fmla="*/ 384398 w 3773795"/>
                <a:gd name="connsiteY5056" fmla="*/ 1199606 h 1451770"/>
                <a:gd name="connsiteX5057" fmla="*/ 379326 w 3773795"/>
                <a:gd name="connsiteY5057" fmla="*/ 1200989 h 1451770"/>
                <a:gd name="connsiteX5058" fmla="*/ 377939 w 3773795"/>
                <a:gd name="connsiteY5058" fmla="*/ 1202309 h 1451770"/>
                <a:gd name="connsiteX5059" fmla="*/ 376238 w 3773795"/>
                <a:gd name="connsiteY5059" fmla="*/ 1203380 h 1451770"/>
                <a:gd name="connsiteX5060" fmla="*/ 374916 w 3773795"/>
                <a:gd name="connsiteY5060" fmla="*/ 1202638 h 1451770"/>
                <a:gd name="connsiteX5061" fmla="*/ 373593 w 3773795"/>
                <a:gd name="connsiteY5061" fmla="*/ 1201318 h 1451770"/>
                <a:gd name="connsiteX5062" fmla="*/ 370697 w 3773795"/>
                <a:gd name="connsiteY5062" fmla="*/ 1200844 h 1451770"/>
                <a:gd name="connsiteX5063" fmla="*/ 369309 w 3773795"/>
                <a:gd name="connsiteY5063" fmla="*/ 1201318 h 1451770"/>
                <a:gd name="connsiteX5064" fmla="*/ 367922 w 3773795"/>
                <a:gd name="connsiteY5064" fmla="*/ 1200411 h 1451770"/>
                <a:gd name="connsiteX5065" fmla="*/ 366730 w 3773795"/>
                <a:gd name="connsiteY5065" fmla="*/ 1198787 h 1451770"/>
                <a:gd name="connsiteX5066" fmla="*/ 365115 w 3773795"/>
                <a:gd name="connsiteY5066" fmla="*/ 1197606 h 1451770"/>
                <a:gd name="connsiteX5067" fmla="*/ 362714 w 3773795"/>
                <a:gd name="connsiteY5067" fmla="*/ 1197283 h 1451770"/>
                <a:gd name="connsiteX5068" fmla="*/ 360114 w 3773795"/>
                <a:gd name="connsiteY5068" fmla="*/ 1196778 h 1451770"/>
                <a:gd name="connsiteX5069" fmla="*/ 358034 w 3773795"/>
                <a:gd name="connsiteY5069" fmla="*/ 1197687 h 1451770"/>
                <a:gd name="connsiteX5070" fmla="*/ 355326 w 3773795"/>
                <a:gd name="connsiteY5070" fmla="*/ 1199420 h 1451770"/>
                <a:gd name="connsiteX5071" fmla="*/ 353500 w 3773795"/>
                <a:gd name="connsiteY5071" fmla="*/ 1198760 h 1451770"/>
                <a:gd name="connsiteX5072" fmla="*/ 352491 w 3773795"/>
                <a:gd name="connsiteY5072" fmla="*/ 1196694 h 1451770"/>
                <a:gd name="connsiteX5073" fmla="*/ 351230 w 3773795"/>
                <a:gd name="connsiteY5073" fmla="*/ 1196116 h 1451770"/>
                <a:gd name="connsiteX5074" fmla="*/ 349531 w 3773795"/>
                <a:gd name="connsiteY5074" fmla="*/ 1193799 h 1451770"/>
                <a:gd name="connsiteX5075" fmla="*/ 349090 w 3773795"/>
                <a:gd name="connsiteY5075" fmla="*/ 1191729 h 1451770"/>
                <a:gd name="connsiteX5076" fmla="*/ 349531 w 3773795"/>
                <a:gd name="connsiteY5076" fmla="*/ 1190819 h 1451770"/>
                <a:gd name="connsiteX5077" fmla="*/ 350161 w 3773795"/>
                <a:gd name="connsiteY5077" fmla="*/ 1189659 h 1451770"/>
                <a:gd name="connsiteX5078" fmla="*/ 350161 w 3773795"/>
                <a:gd name="connsiteY5078" fmla="*/ 1188332 h 1451770"/>
                <a:gd name="connsiteX5079" fmla="*/ 349658 w 3773795"/>
                <a:gd name="connsiteY5079" fmla="*/ 1187170 h 1451770"/>
                <a:gd name="connsiteX5080" fmla="*/ 348902 w 3773795"/>
                <a:gd name="connsiteY5080" fmla="*/ 1186257 h 1451770"/>
                <a:gd name="connsiteX5081" fmla="*/ 348082 w 3773795"/>
                <a:gd name="connsiteY5081" fmla="*/ 1183184 h 1451770"/>
                <a:gd name="connsiteX5082" fmla="*/ 347389 w 3773795"/>
                <a:gd name="connsiteY5082" fmla="*/ 1181853 h 1451770"/>
                <a:gd name="connsiteX5083" fmla="*/ 347263 w 3773795"/>
                <a:gd name="connsiteY5083" fmla="*/ 1180773 h 1451770"/>
                <a:gd name="connsiteX5084" fmla="*/ 347831 w 3773795"/>
                <a:gd name="connsiteY5084" fmla="*/ 1179773 h 1451770"/>
                <a:gd name="connsiteX5085" fmla="*/ 347326 w 3773795"/>
                <a:gd name="connsiteY5085" fmla="*/ 1179108 h 1451770"/>
                <a:gd name="connsiteX5086" fmla="*/ 346380 w 3773795"/>
                <a:gd name="connsiteY5086" fmla="*/ 1179024 h 1451770"/>
                <a:gd name="connsiteX5087" fmla="*/ 344808 w 3773795"/>
                <a:gd name="connsiteY5087" fmla="*/ 1179108 h 1451770"/>
                <a:gd name="connsiteX5088" fmla="*/ 343925 w 3773795"/>
                <a:gd name="connsiteY5088" fmla="*/ 1178608 h 1451770"/>
                <a:gd name="connsiteX5089" fmla="*/ 342979 w 3773795"/>
                <a:gd name="connsiteY5089" fmla="*/ 1176858 h 1451770"/>
                <a:gd name="connsiteX5090" fmla="*/ 342476 w 3773795"/>
                <a:gd name="connsiteY5090" fmla="*/ 1175108 h 1451770"/>
                <a:gd name="connsiteX5091" fmla="*/ 341845 w 3773795"/>
                <a:gd name="connsiteY5091" fmla="*/ 1174441 h 1451770"/>
                <a:gd name="connsiteX5092" fmla="*/ 340213 w 3773795"/>
                <a:gd name="connsiteY5092" fmla="*/ 1174490 h 1451770"/>
                <a:gd name="connsiteX5093" fmla="*/ 337522 w 3773795"/>
                <a:gd name="connsiteY5093" fmla="*/ 1174857 h 1451770"/>
                <a:gd name="connsiteX5094" fmla="*/ 335130 w 3773795"/>
                <a:gd name="connsiteY5094" fmla="*/ 1175439 h 1451770"/>
                <a:gd name="connsiteX5095" fmla="*/ 334067 w 3773795"/>
                <a:gd name="connsiteY5095" fmla="*/ 1175355 h 1451770"/>
                <a:gd name="connsiteX5096" fmla="*/ 331955 w 3773795"/>
                <a:gd name="connsiteY5096" fmla="*/ 1174450 h 1451770"/>
                <a:gd name="connsiteX5097" fmla="*/ 329174 w 3773795"/>
                <a:gd name="connsiteY5097" fmla="*/ 1173456 h 1451770"/>
                <a:gd name="connsiteX5098" fmla="*/ 323495 w 3773795"/>
                <a:gd name="connsiteY5098" fmla="*/ 1173259 h 1451770"/>
                <a:gd name="connsiteX5099" fmla="*/ 323046 w 3773795"/>
                <a:gd name="connsiteY5099" fmla="*/ 1172920 h 1451770"/>
                <a:gd name="connsiteX5100" fmla="*/ 323368 w 3773795"/>
                <a:gd name="connsiteY5100" fmla="*/ 1172290 h 1451770"/>
                <a:gd name="connsiteX5101" fmla="*/ 324523 w 3773795"/>
                <a:gd name="connsiteY5101" fmla="*/ 1171269 h 1451770"/>
                <a:gd name="connsiteX5102" fmla="*/ 324398 w 3773795"/>
                <a:gd name="connsiteY5102" fmla="*/ 1170433 h 1451770"/>
                <a:gd name="connsiteX5103" fmla="*/ 323400 w 3773795"/>
                <a:gd name="connsiteY5103" fmla="*/ 1169757 h 1451770"/>
                <a:gd name="connsiteX5104" fmla="*/ 322884 w 3773795"/>
                <a:gd name="connsiteY5104" fmla="*/ 1168093 h 1451770"/>
                <a:gd name="connsiteX5105" fmla="*/ 322944 w 3773795"/>
                <a:gd name="connsiteY5105" fmla="*/ 1166209 h 1451770"/>
                <a:gd name="connsiteX5106" fmla="*/ 322759 w 3773795"/>
                <a:gd name="connsiteY5106" fmla="*/ 1164159 h 1451770"/>
                <a:gd name="connsiteX5107" fmla="*/ 321562 w 3773795"/>
                <a:gd name="connsiteY5107" fmla="*/ 1162566 h 1451770"/>
                <a:gd name="connsiteX5108" fmla="*/ 320869 w 3773795"/>
                <a:gd name="connsiteY5108" fmla="*/ 1161477 h 1451770"/>
                <a:gd name="connsiteX5109" fmla="*/ 320994 w 3773795"/>
                <a:gd name="connsiteY5109" fmla="*/ 1160470 h 1451770"/>
                <a:gd name="connsiteX5110" fmla="*/ 323605 w 3773795"/>
                <a:gd name="connsiteY5110" fmla="*/ 1160085 h 1451770"/>
                <a:gd name="connsiteX5111" fmla="*/ 326704 w 3773795"/>
                <a:gd name="connsiteY5111" fmla="*/ 1159370 h 1451770"/>
                <a:gd name="connsiteX5112" fmla="*/ 327222 w 3773795"/>
                <a:gd name="connsiteY5112" fmla="*/ 1158633 h 1451770"/>
                <a:gd name="connsiteX5113" fmla="*/ 327114 w 3773795"/>
                <a:gd name="connsiteY5113" fmla="*/ 1157486 h 1451770"/>
                <a:gd name="connsiteX5114" fmla="*/ 320817 w 3773795"/>
                <a:gd name="connsiteY5114" fmla="*/ 1151604 h 1451770"/>
                <a:gd name="connsiteX5115" fmla="*/ 318656 w 3773795"/>
                <a:gd name="connsiteY5115" fmla="*/ 1146386 h 1451770"/>
                <a:gd name="connsiteX5116" fmla="*/ 316594 w 3773795"/>
                <a:gd name="connsiteY5116" fmla="*/ 1143554 h 1451770"/>
                <a:gd name="connsiteX5117" fmla="*/ 314311 w 3773795"/>
                <a:gd name="connsiteY5117" fmla="*/ 1141650 h 1451770"/>
                <a:gd name="connsiteX5118" fmla="*/ 312463 w 3773795"/>
                <a:gd name="connsiteY5118" fmla="*/ 1140785 h 1451770"/>
                <a:gd name="connsiteX5119" fmla="*/ 309768 w 3773795"/>
                <a:gd name="connsiteY5119" fmla="*/ 1141146 h 1451770"/>
                <a:gd name="connsiteX5120" fmla="*/ 306196 w 3773795"/>
                <a:gd name="connsiteY5120" fmla="*/ 1141111 h 1451770"/>
                <a:gd name="connsiteX5121" fmla="*/ 302553 w 3773795"/>
                <a:gd name="connsiteY5121" fmla="*/ 1140524 h 1451770"/>
                <a:gd name="connsiteX5122" fmla="*/ 299487 w 3773795"/>
                <a:gd name="connsiteY5122" fmla="*/ 1140914 h 1451770"/>
                <a:gd name="connsiteX5123" fmla="*/ 293987 w 3773795"/>
                <a:gd name="connsiteY5123" fmla="*/ 1143410 h 1451770"/>
                <a:gd name="connsiteX5124" fmla="*/ 291925 w 3773795"/>
                <a:gd name="connsiteY5124" fmla="*/ 1143520 h 1451770"/>
                <a:gd name="connsiteX5125" fmla="*/ 288364 w 3773795"/>
                <a:gd name="connsiteY5125" fmla="*/ 1142735 h 1451770"/>
                <a:gd name="connsiteX5126" fmla="*/ 285324 w 3773795"/>
                <a:gd name="connsiteY5126" fmla="*/ 1141861 h 1451770"/>
                <a:gd name="connsiteX5127" fmla="*/ 283721 w 3773795"/>
                <a:gd name="connsiteY5127" fmla="*/ 1141900 h 1451770"/>
                <a:gd name="connsiteX5128" fmla="*/ 282745 w 3773795"/>
                <a:gd name="connsiteY5128" fmla="*/ 1142268 h 1451770"/>
                <a:gd name="connsiteX5129" fmla="*/ 282119 w 3773795"/>
                <a:gd name="connsiteY5129" fmla="*/ 1142942 h 1451770"/>
                <a:gd name="connsiteX5130" fmla="*/ 280346 w 3773795"/>
                <a:gd name="connsiteY5130" fmla="*/ 1147628 h 1451770"/>
                <a:gd name="connsiteX5131" fmla="*/ 278887 w 3773795"/>
                <a:gd name="connsiteY5131" fmla="*/ 1148548 h 1451770"/>
                <a:gd name="connsiteX5132" fmla="*/ 276796 w 3773795"/>
                <a:gd name="connsiteY5132" fmla="*/ 1149505 h 1451770"/>
                <a:gd name="connsiteX5133" fmla="*/ 275012 w 3773795"/>
                <a:gd name="connsiteY5133" fmla="*/ 1149670 h 1451770"/>
                <a:gd name="connsiteX5134" fmla="*/ 273514 w 3773795"/>
                <a:gd name="connsiteY5134" fmla="*/ 1149622 h 1451770"/>
                <a:gd name="connsiteX5135" fmla="*/ 271342 w 3773795"/>
                <a:gd name="connsiteY5135" fmla="*/ 1148904 h 1451770"/>
                <a:gd name="connsiteX5136" fmla="*/ 269281 w 3773795"/>
                <a:gd name="connsiteY5136" fmla="*/ 1148060 h 1451770"/>
                <a:gd name="connsiteX5137" fmla="*/ 268860 w 3773795"/>
                <a:gd name="connsiteY5137" fmla="*/ 1148011 h 1451770"/>
                <a:gd name="connsiteX5138" fmla="*/ 268755 w 3773795"/>
                <a:gd name="connsiteY5138" fmla="*/ 1147278 h 1451770"/>
                <a:gd name="connsiteX5139" fmla="*/ 267252 w 3773795"/>
                <a:gd name="connsiteY5139" fmla="*/ 1144468 h 1451770"/>
                <a:gd name="connsiteX5140" fmla="*/ 266351 w 3773795"/>
                <a:gd name="connsiteY5140" fmla="*/ 1143236 h 1451770"/>
                <a:gd name="connsiteX5141" fmla="*/ 265282 w 3773795"/>
                <a:gd name="connsiteY5141" fmla="*/ 1142565 h 1451770"/>
                <a:gd name="connsiteX5142" fmla="*/ 264747 w 3773795"/>
                <a:gd name="connsiteY5142" fmla="*/ 1141749 h 1451770"/>
                <a:gd name="connsiteX5143" fmla="*/ 264730 w 3773795"/>
                <a:gd name="connsiteY5143" fmla="*/ 1138371 h 1451770"/>
                <a:gd name="connsiteX5144" fmla="*/ 264928 w 3773795"/>
                <a:gd name="connsiteY5144" fmla="*/ 1135204 h 1451770"/>
                <a:gd name="connsiteX5145" fmla="*/ 265600 w 3773795"/>
                <a:gd name="connsiteY5145" fmla="*/ 1134796 h 1451770"/>
                <a:gd name="connsiteX5146" fmla="*/ 263615 w 3773795"/>
                <a:gd name="connsiteY5146" fmla="*/ 1132210 h 1451770"/>
                <a:gd name="connsiteX5147" fmla="*/ 263466 w 3773795"/>
                <a:gd name="connsiteY5147" fmla="*/ 1130250 h 1451770"/>
                <a:gd name="connsiteX5148" fmla="*/ 264440 w 3773795"/>
                <a:gd name="connsiteY5148" fmla="*/ 1129274 h 1451770"/>
                <a:gd name="connsiteX5149" fmla="*/ 264470 w 3773795"/>
                <a:gd name="connsiteY5149" fmla="*/ 1128445 h 1451770"/>
                <a:gd name="connsiteX5150" fmla="*/ 263814 w 3773795"/>
                <a:gd name="connsiteY5150" fmla="*/ 1127280 h 1451770"/>
                <a:gd name="connsiteX5151" fmla="*/ 261771 w 3773795"/>
                <a:gd name="connsiteY5151" fmla="*/ 1125380 h 1451770"/>
                <a:gd name="connsiteX5152" fmla="*/ 259787 w 3773795"/>
                <a:gd name="connsiteY5152" fmla="*/ 1123238 h 1451770"/>
                <a:gd name="connsiteX5153" fmla="*/ 258506 w 3773795"/>
                <a:gd name="connsiteY5153" fmla="*/ 1121552 h 1451770"/>
                <a:gd name="connsiteX5154" fmla="*/ 257703 w 3773795"/>
                <a:gd name="connsiteY5154" fmla="*/ 1120746 h 1451770"/>
                <a:gd name="connsiteX5155" fmla="*/ 258679 w 3773795"/>
                <a:gd name="connsiteY5155" fmla="*/ 1119422 h 1451770"/>
                <a:gd name="connsiteX5156" fmla="*/ 260042 w 3773795"/>
                <a:gd name="connsiteY5156" fmla="*/ 1117081 h 1451770"/>
                <a:gd name="connsiteX5157" fmla="*/ 260568 w 3773795"/>
                <a:gd name="connsiteY5157" fmla="*/ 1115706 h 1451770"/>
                <a:gd name="connsiteX5158" fmla="*/ 261221 w 3773795"/>
                <a:gd name="connsiteY5158" fmla="*/ 1115369 h 1451770"/>
                <a:gd name="connsiteX5159" fmla="*/ 264429 w 3773795"/>
                <a:gd name="connsiteY5159" fmla="*/ 1115175 h 1451770"/>
                <a:gd name="connsiteX5160" fmla="*/ 266757 w 3773795"/>
                <a:gd name="connsiteY5160" fmla="*/ 1115222 h 1451770"/>
                <a:gd name="connsiteX5161" fmla="*/ 268508 w 3773795"/>
                <a:gd name="connsiteY5161" fmla="*/ 1115725 h 1451770"/>
                <a:gd name="connsiteX5162" fmla="*/ 269171 w 3773795"/>
                <a:gd name="connsiteY5162" fmla="*/ 1116844 h 1451770"/>
                <a:gd name="connsiteX5163" fmla="*/ 270769 w 3773795"/>
                <a:gd name="connsiteY5163" fmla="*/ 1118064 h 1451770"/>
                <a:gd name="connsiteX5164" fmla="*/ 275319 w 3773795"/>
                <a:gd name="connsiteY5164" fmla="*/ 1118566 h 1451770"/>
                <a:gd name="connsiteX5165" fmla="*/ 277232 w 3773795"/>
                <a:gd name="connsiteY5165" fmla="*/ 1118515 h 1451770"/>
                <a:gd name="connsiteX5166" fmla="*/ 279636 w 3773795"/>
                <a:gd name="connsiteY5166" fmla="*/ 1117399 h 1451770"/>
                <a:gd name="connsiteX5167" fmla="*/ 283518 w 3773795"/>
                <a:gd name="connsiteY5167" fmla="*/ 1114932 h 1451770"/>
                <a:gd name="connsiteX5168" fmla="*/ 284471 w 3773795"/>
                <a:gd name="connsiteY5168" fmla="*/ 1113138 h 1451770"/>
                <a:gd name="connsiteX5169" fmla="*/ 286874 w 3773795"/>
                <a:gd name="connsiteY5169" fmla="*/ 1111873 h 1451770"/>
                <a:gd name="connsiteX5170" fmla="*/ 288342 w 3773795"/>
                <a:gd name="connsiteY5170" fmla="*/ 1111377 h 1451770"/>
                <a:gd name="connsiteX5171" fmla="*/ 289666 w 3773795"/>
                <a:gd name="connsiteY5171" fmla="*/ 1111154 h 1451770"/>
                <a:gd name="connsiteX5172" fmla="*/ 289798 w 3773795"/>
                <a:gd name="connsiteY5172" fmla="*/ 1110098 h 1451770"/>
                <a:gd name="connsiteX5173" fmla="*/ 289713 w 3773795"/>
                <a:gd name="connsiteY5173" fmla="*/ 1108653 h 1451770"/>
                <a:gd name="connsiteX5174" fmla="*/ 289256 w 3773795"/>
                <a:gd name="connsiteY5174" fmla="*/ 1107789 h 1451770"/>
                <a:gd name="connsiteX5175" fmla="*/ 284477 w 3773795"/>
                <a:gd name="connsiteY5175" fmla="*/ 1104810 h 1451770"/>
                <a:gd name="connsiteX5176" fmla="*/ 283875 w 3773795"/>
                <a:gd name="connsiteY5176" fmla="*/ 1103837 h 1451770"/>
                <a:gd name="connsiteX5177" fmla="*/ 283494 w 3773795"/>
                <a:gd name="connsiteY5177" fmla="*/ 1102689 h 1451770"/>
                <a:gd name="connsiteX5178" fmla="*/ 284064 w 3773795"/>
                <a:gd name="connsiteY5178" fmla="*/ 1101601 h 1451770"/>
                <a:gd name="connsiteX5179" fmla="*/ 284047 w 3773795"/>
                <a:gd name="connsiteY5179" fmla="*/ 1100405 h 1451770"/>
                <a:gd name="connsiteX5180" fmla="*/ 278524 w 3773795"/>
                <a:gd name="connsiteY5180" fmla="*/ 1097735 h 1451770"/>
                <a:gd name="connsiteX5181" fmla="*/ 273920 w 3773795"/>
                <a:gd name="connsiteY5181" fmla="*/ 1097262 h 1451770"/>
                <a:gd name="connsiteX5182" fmla="*/ 270130 w 3773795"/>
                <a:gd name="connsiteY5182" fmla="*/ 1097412 h 1451770"/>
                <a:gd name="connsiteX5183" fmla="*/ 268657 w 3773795"/>
                <a:gd name="connsiteY5183" fmla="*/ 1096852 h 1451770"/>
                <a:gd name="connsiteX5184" fmla="*/ 269294 w 3773795"/>
                <a:gd name="connsiteY5184" fmla="*/ 1095504 h 1451770"/>
                <a:gd name="connsiteX5185" fmla="*/ 270229 w 3773795"/>
                <a:gd name="connsiteY5185" fmla="*/ 1093080 h 1451770"/>
                <a:gd name="connsiteX5186" fmla="*/ 270506 w 3773795"/>
                <a:gd name="connsiteY5186" fmla="*/ 1091085 h 1451770"/>
                <a:gd name="connsiteX5187" fmla="*/ 270244 w 3773795"/>
                <a:gd name="connsiteY5187" fmla="*/ 1090177 h 1451770"/>
                <a:gd name="connsiteX5188" fmla="*/ 269493 w 3773795"/>
                <a:gd name="connsiteY5188" fmla="*/ 1089413 h 1451770"/>
                <a:gd name="connsiteX5189" fmla="*/ 265876 w 3773795"/>
                <a:gd name="connsiteY5189" fmla="*/ 1087734 h 1451770"/>
                <a:gd name="connsiteX5190" fmla="*/ 260905 w 3773795"/>
                <a:gd name="connsiteY5190" fmla="*/ 1085158 h 1451770"/>
                <a:gd name="connsiteX5191" fmla="*/ 258595 w 3773795"/>
                <a:gd name="connsiteY5191" fmla="*/ 1082244 h 1451770"/>
                <a:gd name="connsiteX5192" fmla="*/ 257409 w 3773795"/>
                <a:gd name="connsiteY5192" fmla="*/ 1079198 h 1451770"/>
                <a:gd name="connsiteX5193" fmla="*/ 256066 w 3773795"/>
                <a:gd name="connsiteY5193" fmla="*/ 1077328 h 1451770"/>
                <a:gd name="connsiteX5194" fmla="*/ 253635 w 3773795"/>
                <a:gd name="connsiteY5194" fmla="*/ 1076143 h 1451770"/>
                <a:gd name="connsiteX5195" fmla="*/ 253792 w 3773795"/>
                <a:gd name="connsiteY5195" fmla="*/ 1075370 h 1451770"/>
                <a:gd name="connsiteX5196" fmla="*/ 255405 w 3773795"/>
                <a:gd name="connsiteY5196" fmla="*/ 1072502 h 1451770"/>
                <a:gd name="connsiteX5197" fmla="*/ 255345 w 3773795"/>
                <a:gd name="connsiteY5197" fmla="*/ 1072062 h 1451770"/>
                <a:gd name="connsiteX5198" fmla="*/ 254662 w 3773795"/>
                <a:gd name="connsiteY5198" fmla="*/ 1071354 h 1451770"/>
                <a:gd name="connsiteX5199" fmla="*/ 251630 w 3773795"/>
                <a:gd name="connsiteY5199" fmla="*/ 1069903 h 1451770"/>
                <a:gd name="connsiteX5200" fmla="*/ 247532 w 3773795"/>
                <a:gd name="connsiteY5200" fmla="*/ 1067227 h 1451770"/>
                <a:gd name="connsiteX5201" fmla="*/ 247359 w 3773795"/>
                <a:gd name="connsiteY5201" fmla="*/ 1066529 h 1451770"/>
                <a:gd name="connsiteX5202" fmla="*/ 247657 w 3773795"/>
                <a:gd name="connsiteY5202" fmla="*/ 1064845 h 1451770"/>
                <a:gd name="connsiteX5203" fmla="*/ 248219 w 3773795"/>
                <a:gd name="connsiteY5203" fmla="*/ 1063186 h 1451770"/>
                <a:gd name="connsiteX5204" fmla="*/ 249035 w 3773795"/>
                <a:gd name="connsiteY5204" fmla="*/ 1062395 h 1451770"/>
                <a:gd name="connsiteX5205" fmla="*/ 251488 w 3773795"/>
                <a:gd name="connsiteY5205" fmla="*/ 1059022 h 1451770"/>
                <a:gd name="connsiteX5206" fmla="*/ 251488 w 3773795"/>
                <a:gd name="connsiteY5206" fmla="*/ 1057874 h 1451770"/>
                <a:gd name="connsiteX5207" fmla="*/ 251071 w 3773795"/>
                <a:gd name="connsiteY5207" fmla="*/ 1056341 h 1451770"/>
                <a:gd name="connsiteX5208" fmla="*/ 249270 w 3773795"/>
                <a:gd name="connsiteY5208" fmla="*/ 1053695 h 1451770"/>
                <a:gd name="connsiteX5209" fmla="*/ 247878 w 3773795"/>
                <a:gd name="connsiteY5209" fmla="*/ 1051991 h 1451770"/>
                <a:gd name="connsiteX5210" fmla="*/ 247791 w 3773795"/>
                <a:gd name="connsiteY5210" fmla="*/ 1051118 h 1451770"/>
                <a:gd name="connsiteX5211" fmla="*/ 248022 w 3773795"/>
                <a:gd name="connsiteY5211" fmla="*/ 1050399 h 1451770"/>
                <a:gd name="connsiteX5212" fmla="*/ 248925 w 3773795"/>
                <a:gd name="connsiteY5212" fmla="*/ 1049469 h 1451770"/>
                <a:gd name="connsiteX5213" fmla="*/ 249782 w 3773795"/>
                <a:gd name="connsiteY5213" fmla="*/ 1048325 h 1451770"/>
                <a:gd name="connsiteX5214" fmla="*/ 249963 w 3773795"/>
                <a:gd name="connsiteY5214" fmla="*/ 1044368 h 1451770"/>
                <a:gd name="connsiteX5215" fmla="*/ 249920 w 3773795"/>
                <a:gd name="connsiteY5215" fmla="*/ 1042984 h 1451770"/>
                <a:gd name="connsiteX5216" fmla="*/ 249376 w 3773795"/>
                <a:gd name="connsiteY5216" fmla="*/ 1042167 h 1451770"/>
                <a:gd name="connsiteX5217" fmla="*/ 248795 w 3773795"/>
                <a:gd name="connsiteY5217" fmla="*/ 1041822 h 1451770"/>
                <a:gd name="connsiteX5218" fmla="*/ 247575 w 3773795"/>
                <a:gd name="connsiteY5218" fmla="*/ 1042020 h 1451770"/>
                <a:gd name="connsiteX5219" fmla="*/ 245826 w 3773795"/>
                <a:gd name="connsiteY5219" fmla="*/ 1041370 h 1451770"/>
                <a:gd name="connsiteX5220" fmla="*/ 244513 w 3773795"/>
                <a:gd name="connsiteY5220" fmla="*/ 1040336 h 1451770"/>
                <a:gd name="connsiteX5221" fmla="*/ 243701 w 3773795"/>
                <a:gd name="connsiteY5221" fmla="*/ 1040001 h 1451770"/>
                <a:gd name="connsiteX5222" fmla="*/ 242842 w 3773795"/>
                <a:gd name="connsiteY5222" fmla="*/ 1038945 h 1451770"/>
                <a:gd name="connsiteX5223" fmla="*/ 240380 w 3773795"/>
                <a:gd name="connsiteY5223" fmla="*/ 1036818 h 1451770"/>
                <a:gd name="connsiteX5224" fmla="*/ 239957 w 3773795"/>
                <a:gd name="connsiteY5224" fmla="*/ 1036258 h 1451770"/>
                <a:gd name="connsiteX5225" fmla="*/ 235033 w 3773795"/>
                <a:gd name="connsiteY5225" fmla="*/ 1034443 h 1451770"/>
                <a:gd name="connsiteX5226" fmla="*/ 230812 w 3773795"/>
                <a:gd name="connsiteY5226" fmla="*/ 1034716 h 1451770"/>
                <a:gd name="connsiteX5227" fmla="*/ 228476 w 3773795"/>
                <a:gd name="connsiteY5227" fmla="*/ 1034441 h 1451770"/>
                <a:gd name="connsiteX5228" fmla="*/ 227251 w 3773795"/>
                <a:gd name="connsiteY5228" fmla="*/ 1034844 h 1451770"/>
                <a:gd name="connsiteX5229" fmla="*/ 225975 w 3773795"/>
                <a:gd name="connsiteY5229" fmla="*/ 1036000 h 1451770"/>
                <a:gd name="connsiteX5230" fmla="*/ 224211 w 3773795"/>
                <a:gd name="connsiteY5230" fmla="*/ 1036768 h 1451770"/>
                <a:gd name="connsiteX5231" fmla="*/ 222893 w 3773795"/>
                <a:gd name="connsiteY5231" fmla="*/ 1036789 h 1451770"/>
                <a:gd name="connsiteX5232" fmla="*/ 221688 w 3773795"/>
                <a:gd name="connsiteY5232" fmla="*/ 1037365 h 1451770"/>
                <a:gd name="connsiteX5233" fmla="*/ 218419 w 3773795"/>
                <a:gd name="connsiteY5233" fmla="*/ 1039433 h 1451770"/>
                <a:gd name="connsiteX5234" fmla="*/ 216888 w 3773795"/>
                <a:gd name="connsiteY5234" fmla="*/ 1038183 h 1451770"/>
                <a:gd name="connsiteX5235" fmla="*/ 215571 w 3773795"/>
                <a:gd name="connsiteY5235" fmla="*/ 1036334 h 1451770"/>
                <a:gd name="connsiteX5236" fmla="*/ 216007 w 3773795"/>
                <a:gd name="connsiteY5236" fmla="*/ 1034769 h 1451770"/>
                <a:gd name="connsiteX5237" fmla="*/ 216556 w 3773795"/>
                <a:gd name="connsiteY5237" fmla="*/ 1033328 h 1451770"/>
                <a:gd name="connsiteX5238" fmla="*/ 216515 w 3773795"/>
                <a:gd name="connsiteY5238" fmla="*/ 1032359 h 1451770"/>
                <a:gd name="connsiteX5239" fmla="*/ 216048 w 3773795"/>
                <a:gd name="connsiteY5239" fmla="*/ 1031533 h 1451770"/>
                <a:gd name="connsiteX5240" fmla="*/ 214014 w 3773795"/>
                <a:gd name="connsiteY5240" fmla="*/ 1030625 h 1451770"/>
                <a:gd name="connsiteX5241" fmla="*/ 209689 w 3773795"/>
                <a:gd name="connsiteY5241" fmla="*/ 1028966 h 1451770"/>
                <a:gd name="connsiteX5242" fmla="*/ 208458 w 3773795"/>
                <a:gd name="connsiteY5242" fmla="*/ 1028946 h 1451770"/>
                <a:gd name="connsiteX5243" fmla="*/ 206594 w 3773795"/>
                <a:gd name="connsiteY5243" fmla="*/ 1029559 h 1451770"/>
                <a:gd name="connsiteX5244" fmla="*/ 203217 w 3773795"/>
                <a:gd name="connsiteY5244" fmla="*/ 1031413 h 1451770"/>
                <a:gd name="connsiteX5245" fmla="*/ 202025 w 3773795"/>
                <a:gd name="connsiteY5245" fmla="*/ 1031015 h 1451770"/>
                <a:gd name="connsiteX5246" fmla="*/ 200920 w 3773795"/>
                <a:gd name="connsiteY5246" fmla="*/ 1029542 h 1451770"/>
                <a:gd name="connsiteX5247" fmla="*/ 199728 w 3773795"/>
                <a:gd name="connsiteY5247" fmla="*/ 1027699 h 1451770"/>
                <a:gd name="connsiteX5248" fmla="*/ 198115 w 3773795"/>
                <a:gd name="connsiteY5248" fmla="*/ 1026756 h 1451770"/>
                <a:gd name="connsiteX5249" fmla="*/ 194644 w 3773795"/>
                <a:gd name="connsiteY5249" fmla="*/ 1026849 h 1451770"/>
                <a:gd name="connsiteX5250" fmla="*/ 194314 w 3773795"/>
                <a:gd name="connsiteY5250" fmla="*/ 1026920 h 1451770"/>
                <a:gd name="connsiteX5251" fmla="*/ 192638 w 3773795"/>
                <a:gd name="connsiteY5251" fmla="*/ 1027987 h 1451770"/>
                <a:gd name="connsiteX5252" fmla="*/ 191930 w 3773795"/>
                <a:gd name="connsiteY5252" fmla="*/ 1027881 h 1451770"/>
                <a:gd name="connsiteX5253" fmla="*/ 188916 w 3773795"/>
                <a:gd name="connsiteY5253" fmla="*/ 1025166 h 1451770"/>
                <a:gd name="connsiteX5254" fmla="*/ 189477 w 3773795"/>
                <a:gd name="connsiteY5254" fmla="*/ 1023685 h 1451770"/>
                <a:gd name="connsiteX5255" fmla="*/ 190112 w 3773795"/>
                <a:gd name="connsiteY5255" fmla="*/ 1021495 h 1451770"/>
                <a:gd name="connsiteX5256" fmla="*/ 189883 w 3773795"/>
                <a:gd name="connsiteY5256" fmla="*/ 1019769 h 1451770"/>
                <a:gd name="connsiteX5257" fmla="*/ 189386 w 3773795"/>
                <a:gd name="connsiteY5257" fmla="*/ 1017536 h 1451770"/>
                <a:gd name="connsiteX5258" fmla="*/ 188095 w 3773795"/>
                <a:gd name="connsiteY5258" fmla="*/ 1013653 h 1451770"/>
                <a:gd name="connsiteX5259" fmla="*/ 187924 w 3773795"/>
                <a:gd name="connsiteY5259" fmla="*/ 1012554 h 1451770"/>
                <a:gd name="connsiteX5260" fmla="*/ 185810 w 3773795"/>
                <a:gd name="connsiteY5260" fmla="*/ 1010853 h 1451770"/>
                <a:gd name="connsiteX5261" fmla="*/ 185458 w 3773795"/>
                <a:gd name="connsiteY5261" fmla="*/ 1009424 h 1451770"/>
                <a:gd name="connsiteX5262" fmla="*/ 184348 w 3773795"/>
                <a:gd name="connsiteY5262" fmla="*/ 1007587 h 1451770"/>
                <a:gd name="connsiteX5263" fmla="*/ 183258 w 3773795"/>
                <a:gd name="connsiteY5263" fmla="*/ 1006411 h 1451770"/>
                <a:gd name="connsiteX5264" fmla="*/ 183025 w 3773795"/>
                <a:gd name="connsiteY5264" fmla="*/ 1003793 h 1451770"/>
                <a:gd name="connsiteX5265" fmla="*/ 182297 w 3773795"/>
                <a:gd name="connsiteY5265" fmla="*/ 1002871 h 1451770"/>
                <a:gd name="connsiteX5266" fmla="*/ 181356 w 3773795"/>
                <a:gd name="connsiteY5266" fmla="*/ 1002439 h 1451770"/>
                <a:gd name="connsiteX5267" fmla="*/ 178030 w 3773795"/>
                <a:gd name="connsiteY5267" fmla="*/ 1003192 h 1451770"/>
                <a:gd name="connsiteX5268" fmla="*/ 177672 w 3773795"/>
                <a:gd name="connsiteY5268" fmla="*/ 1003115 h 1451770"/>
                <a:gd name="connsiteX5269" fmla="*/ 179257 w 3773795"/>
                <a:gd name="connsiteY5269" fmla="*/ 998936 h 1451770"/>
                <a:gd name="connsiteX5270" fmla="*/ 179395 w 3773795"/>
                <a:gd name="connsiteY5270" fmla="*/ 996515 h 1451770"/>
                <a:gd name="connsiteX5271" fmla="*/ 180399 w 3773795"/>
                <a:gd name="connsiteY5271" fmla="*/ 993969 h 1451770"/>
                <a:gd name="connsiteX5272" fmla="*/ 181543 w 3773795"/>
                <a:gd name="connsiteY5272" fmla="*/ 992962 h 1451770"/>
                <a:gd name="connsiteX5273" fmla="*/ 181891 w 3773795"/>
                <a:gd name="connsiteY5273" fmla="*/ 992088 h 1451770"/>
                <a:gd name="connsiteX5274" fmla="*/ 182068 w 3773795"/>
                <a:gd name="connsiteY5274" fmla="*/ 990400 h 1451770"/>
                <a:gd name="connsiteX5275" fmla="*/ 181854 w 3773795"/>
                <a:gd name="connsiteY5275" fmla="*/ 988953 h 1451770"/>
                <a:gd name="connsiteX5276" fmla="*/ 181153 w 3773795"/>
                <a:gd name="connsiteY5276" fmla="*/ 988203 h 1451770"/>
                <a:gd name="connsiteX5277" fmla="*/ 178408 w 3773795"/>
                <a:gd name="connsiteY5277" fmla="*/ 986578 h 1451770"/>
                <a:gd name="connsiteX5278" fmla="*/ 175443 w 3773795"/>
                <a:gd name="connsiteY5278" fmla="*/ 984618 h 1451770"/>
                <a:gd name="connsiteX5279" fmla="*/ 174834 w 3773795"/>
                <a:gd name="connsiteY5279" fmla="*/ 982125 h 1451770"/>
                <a:gd name="connsiteX5280" fmla="*/ 173918 w 3773795"/>
                <a:gd name="connsiteY5280" fmla="*/ 981619 h 1451770"/>
                <a:gd name="connsiteX5281" fmla="*/ 171314 w 3773795"/>
                <a:gd name="connsiteY5281" fmla="*/ 981489 h 1451770"/>
                <a:gd name="connsiteX5282" fmla="*/ 171366 w 3773795"/>
                <a:gd name="connsiteY5282" fmla="*/ 980783 h 1451770"/>
                <a:gd name="connsiteX5283" fmla="*/ 171753 w 3773795"/>
                <a:gd name="connsiteY5283" fmla="*/ 978798 h 1451770"/>
                <a:gd name="connsiteX5284" fmla="*/ 172377 w 3773795"/>
                <a:gd name="connsiteY5284" fmla="*/ 977068 h 1451770"/>
                <a:gd name="connsiteX5285" fmla="*/ 174411 w 3773795"/>
                <a:gd name="connsiteY5285" fmla="*/ 975212 h 1451770"/>
                <a:gd name="connsiteX5286" fmla="*/ 174914 w 3773795"/>
                <a:gd name="connsiteY5286" fmla="*/ 973958 h 1451770"/>
                <a:gd name="connsiteX5287" fmla="*/ 175519 w 3773795"/>
                <a:gd name="connsiteY5287" fmla="*/ 972832 h 1451770"/>
                <a:gd name="connsiteX5288" fmla="*/ 180179 w 3773795"/>
                <a:gd name="connsiteY5288" fmla="*/ 971502 h 1451770"/>
                <a:gd name="connsiteX5289" fmla="*/ 180712 w 3773795"/>
                <a:gd name="connsiteY5289" fmla="*/ 970999 h 1451770"/>
                <a:gd name="connsiteX5290" fmla="*/ 180747 w 3773795"/>
                <a:gd name="connsiteY5290" fmla="*/ 970552 h 1451770"/>
                <a:gd name="connsiteX5291" fmla="*/ 180530 w 3773795"/>
                <a:gd name="connsiteY5291" fmla="*/ 970122 h 1451770"/>
                <a:gd name="connsiteX5292" fmla="*/ 179496 w 3773795"/>
                <a:gd name="connsiteY5292" fmla="*/ 969439 h 1451770"/>
                <a:gd name="connsiteX5293" fmla="*/ 178423 w 3773795"/>
                <a:gd name="connsiteY5293" fmla="*/ 968506 h 1451770"/>
                <a:gd name="connsiteX5294" fmla="*/ 177775 w 3773795"/>
                <a:gd name="connsiteY5294" fmla="*/ 965964 h 1451770"/>
                <a:gd name="connsiteX5295" fmla="*/ 176160 w 3773795"/>
                <a:gd name="connsiteY5295" fmla="*/ 961978 h 1451770"/>
                <a:gd name="connsiteX5296" fmla="*/ 174642 w 3773795"/>
                <a:gd name="connsiteY5296" fmla="*/ 959302 h 1451770"/>
                <a:gd name="connsiteX5297" fmla="*/ 174318 w 3773795"/>
                <a:gd name="connsiteY5297" fmla="*/ 957734 h 1451770"/>
                <a:gd name="connsiteX5298" fmla="*/ 174711 w 3773795"/>
                <a:gd name="connsiteY5298" fmla="*/ 955923 h 1451770"/>
                <a:gd name="connsiteX5299" fmla="*/ 175253 w 3773795"/>
                <a:gd name="connsiteY5299" fmla="*/ 954144 h 1451770"/>
                <a:gd name="connsiteX5300" fmla="*/ 175281 w 3773795"/>
                <a:gd name="connsiteY5300" fmla="*/ 952410 h 1451770"/>
                <a:gd name="connsiteX5301" fmla="*/ 172975 w 3773795"/>
                <a:gd name="connsiteY5301" fmla="*/ 942778 h 1451770"/>
                <a:gd name="connsiteX5302" fmla="*/ 173132 w 3773795"/>
                <a:gd name="connsiteY5302" fmla="*/ 941020 h 1451770"/>
                <a:gd name="connsiteX5303" fmla="*/ 173802 w 3773795"/>
                <a:gd name="connsiteY5303" fmla="*/ 939266 h 1451770"/>
                <a:gd name="connsiteX5304" fmla="*/ 174877 w 3773795"/>
                <a:gd name="connsiteY5304" fmla="*/ 937805 h 1451770"/>
                <a:gd name="connsiteX5305" fmla="*/ 177281 w 3773795"/>
                <a:gd name="connsiteY5305" fmla="*/ 935898 h 1451770"/>
                <a:gd name="connsiteX5306" fmla="*/ 180284 w 3773795"/>
                <a:gd name="connsiteY5306" fmla="*/ 932415 h 1451770"/>
                <a:gd name="connsiteX5307" fmla="*/ 182316 w 3773795"/>
                <a:gd name="connsiteY5307" fmla="*/ 927828 h 1451770"/>
                <a:gd name="connsiteX5308" fmla="*/ 183381 w 3773795"/>
                <a:gd name="connsiteY5308" fmla="*/ 925053 h 1451770"/>
                <a:gd name="connsiteX5309" fmla="*/ 184277 w 3773795"/>
                <a:gd name="connsiteY5309" fmla="*/ 924420 h 1451770"/>
                <a:gd name="connsiteX5310" fmla="*/ 186007 w 3773795"/>
                <a:gd name="connsiteY5310" fmla="*/ 924266 h 1451770"/>
                <a:gd name="connsiteX5311" fmla="*/ 186663 w 3773795"/>
                <a:gd name="connsiteY5311" fmla="*/ 923412 h 1451770"/>
                <a:gd name="connsiteX5312" fmla="*/ 187000 w 3773795"/>
                <a:gd name="connsiteY5312" fmla="*/ 922907 h 1451770"/>
                <a:gd name="connsiteX5313" fmla="*/ 188482 w 3773795"/>
                <a:gd name="connsiteY5313" fmla="*/ 922439 h 1451770"/>
                <a:gd name="connsiteX5314" fmla="*/ 188985 w 3773795"/>
                <a:gd name="connsiteY5314" fmla="*/ 921888 h 1451770"/>
                <a:gd name="connsiteX5315" fmla="*/ 188585 w 3773795"/>
                <a:gd name="connsiteY5315" fmla="*/ 920950 h 1451770"/>
                <a:gd name="connsiteX5316" fmla="*/ 187099 w 3773795"/>
                <a:gd name="connsiteY5316" fmla="*/ 919309 h 1451770"/>
                <a:gd name="connsiteX5317" fmla="*/ 185920 w 3773795"/>
                <a:gd name="connsiteY5317" fmla="*/ 918289 h 1451770"/>
                <a:gd name="connsiteX5318" fmla="*/ 187058 w 3773795"/>
                <a:gd name="connsiteY5318" fmla="*/ 916002 h 1451770"/>
                <a:gd name="connsiteX5319" fmla="*/ 186668 w 3773795"/>
                <a:gd name="connsiteY5319" fmla="*/ 912942 h 1451770"/>
                <a:gd name="connsiteX5320" fmla="*/ 185953 w 3773795"/>
                <a:gd name="connsiteY5320" fmla="*/ 910391 h 1451770"/>
                <a:gd name="connsiteX5321" fmla="*/ 186927 w 3773795"/>
                <a:gd name="connsiteY5321" fmla="*/ 908521 h 1451770"/>
                <a:gd name="connsiteX5322" fmla="*/ 188544 w 3773795"/>
                <a:gd name="connsiteY5322" fmla="*/ 908357 h 1451770"/>
                <a:gd name="connsiteX5323" fmla="*/ 190343 w 3773795"/>
                <a:gd name="connsiteY5323" fmla="*/ 910394 h 1451770"/>
                <a:gd name="connsiteX5324" fmla="*/ 193042 w 3773795"/>
                <a:gd name="connsiteY5324" fmla="*/ 911451 h 1451770"/>
                <a:gd name="connsiteX5325" fmla="*/ 195014 w 3773795"/>
                <a:gd name="connsiteY5325" fmla="*/ 910084 h 1451770"/>
                <a:gd name="connsiteX5326" fmla="*/ 195681 w 3773795"/>
                <a:gd name="connsiteY5326" fmla="*/ 907443 h 1451770"/>
                <a:gd name="connsiteX5327" fmla="*/ 197102 w 3773795"/>
                <a:gd name="connsiteY5327" fmla="*/ 906280 h 1451770"/>
                <a:gd name="connsiteX5328" fmla="*/ 198998 w 3773795"/>
                <a:gd name="connsiteY5328" fmla="*/ 907318 h 1451770"/>
                <a:gd name="connsiteX5329" fmla="*/ 202176 w 3773795"/>
                <a:gd name="connsiteY5329" fmla="*/ 907693 h 1451770"/>
                <a:gd name="connsiteX5330" fmla="*/ 204813 w 3773795"/>
                <a:gd name="connsiteY5330" fmla="*/ 907521 h 1451770"/>
                <a:gd name="connsiteX5331" fmla="*/ 206590 w 3773795"/>
                <a:gd name="connsiteY5331" fmla="*/ 906966 h 1451770"/>
                <a:gd name="connsiteX5332" fmla="*/ 207348 w 3773795"/>
                <a:gd name="connsiteY5332" fmla="*/ 906107 h 1451770"/>
                <a:gd name="connsiteX5333" fmla="*/ 208052 w 3773795"/>
                <a:gd name="connsiteY5333" fmla="*/ 904565 h 1451770"/>
                <a:gd name="connsiteX5334" fmla="*/ 209505 w 3773795"/>
                <a:gd name="connsiteY5334" fmla="*/ 902603 h 1451770"/>
                <a:gd name="connsiteX5335" fmla="*/ 211013 w 3773795"/>
                <a:gd name="connsiteY5335" fmla="*/ 901322 h 1451770"/>
                <a:gd name="connsiteX5336" fmla="*/ 222565 w 3773795"/>
                <a:gd name="connsiteY5336" fmla="*/ 902779 h 1451770"/>
                <a:gd name="connsiteX5337" fmla="*/ 232578 w 3773795"/>
                <a:gd name="connsiteY5337" fmla="*/ 905488 h 1451770"/>
                <a:gd name="connsiteX5338" fmla="*/ 233336 w 3773795"/>
                <a:gd name="connsiteY5338" fmla="*/ 904474 h 1451770"/>
                <a:gd name="connsiteX5339" fmla="*/ 233686 w 3773795"/>
                <a:gd name="connsiteY5339" fmla="*/ 902730 h 1451770"/>
                <a:gd name="connsiteX5340" fmla="*/ 231194 w 3773795"/>
                <a:gd name="connsiteY5340" fmla="*/ 901229 h 1451770"/>
                <a:gd name="connsiteX5341" fmla="*/ 229354 w 3773795"/>
                <a:gd name="connsiteY5341" fmla="*/ 900443 h 1451770"/>
                <a:gd name="connsiteX5342" fmla="*/ 227044 w 3773795"/>
                <a:gd name="connsiteY5342" fmla="*/ 897317 h 1451770"/>
                <a:gd name="connsiteX5343" fmla="*/ 223703 w 3773795"/>
                <a:gd name="connsiteY5343" fmla="*/ 894850 h 1451770"/>
                <a:gd name="connsiteX5344" fmla="*/ 220346 w 3773795"/>
                <a:gd name="connsiteY5344" fmla="*/ 894633 h 1451770"/>
                <a:gd name="connsiteX5345" fmla="*/ 215947 w 3773795"/>
                <a:gd name="connsiteY5345" fmla="*/ 895492 h 1451770"/>
                <a:gd name="connsiteX5346" fmla="*/ 209285 w 3773795"/>
                <a:gd name="connsiteY5346" fmla="*/ 894978 h 1451770"/>
                <a:gd name="connsiteX5347" fmla="*/ 203614 w 3773795"/>
                <a:gd name="connsiteY5347" fmla="*/ 890330 h 1451770"/>
                <a:gd name="connsiteX5348" fmla="*/ 199866 w 3773795"/>
                <a:gd name="connsiteY5348" fmla="*/ 888876 h 1451770"/>
                <a:gd name="connsiteX5349" fmla="*/ 197193 w 3773795"/>
                <a:gd name="connsiteY5349" fmla="*/ 885294 h 1451770"/>
                <a:gd name="connsiteX5350" fmla="*/ 196514 w 3773795"/>
                <a:gd name="connsiteY5350" fmla="*/ 883390 h 1451770"/>
                <a:gd name="connsiteX5351" fmla="*/ 199408 w 3773795"/>
                <a:gd name="connsiteY5351" fmla="*/ 885006 h 1451770"/>
                <a:gd name="connsiteX5352" fmla="*/ 199803 w 3773795"/>
                <a:gd name="connsiteY5352" fmla="*/ 883298 h 1451770"/>
                <a:gd name="connsiteX5353" fmla="*/ 200030 w 3773795"/>
                <a:gd name="connsiteY5353" fmla="*/ 881027 h 1451770"/>
                <a:gd name="connsiteX5354" fmla="*/ 198421 w 3773795"/>
                <a:gd name="connsiteY5354" fmla="*/ 879640 h 1451770"/>
                <a:gd name="connsiteX5355" fmla="*/ 196983 w 3773795"/>
                <a:gd name="connsiteY5355" fmla="*/ 878814 h 1451770"/>
                <a:gd name="connsiteX5356" fmla="*/ 189609 w 3773795"/>
                <a:gd name="connsiteY5356" fmla="*/ 882361 h 1451770"/>
                <a:gd name="connsiteX5357" fmla="*/ 181170 w 3773795"/>
                <a:gd name="connsiteY5357" fmla="*/ 883523 h 1451770"/>
                <a:gd name="connsiteX5358" fmla="*/ 189004 w 3773795"/>
                <a:gd name="connsiteY5358" fmla="*/ 876523 h 1451770"/>
                <a:gd name="connsiteX5359" fmla="*/ 194653 w 3773795"/>
                <a:gd name="connsiteY5359" fmla="*/ 871466 h 1451770"/>
                <a:gd name="connsiteX5360" fmla="*/ 195707 w 3773795"/>
                <a:gd name="connsiteY5360" fmla="*/ 870704 h 1451770"/>
                <a:gd name="connsiteX5361" fmla="*/ 198207 w 3773795"/>
                <a:gd name="connsiteY5361" fmla="*/ 869344 h 1451770"/>
                <a:gd name="connsiteX5362" fmla="*/ 200302 w 3773795"/>
                <a:gd name="connsiteY5362" fmla="*/ 867913 h 1451770"/>
                <a:gd name="connsiteX5363" fmla="*/ 201986 w 3773795"/>
                <a:gd name="connsiteY5363" fmla="*/ 866035 h 1451770"/>
                <a:gd name="connsiteX5364" fmla="*/ 207601 w 3773795"/>
                <a:gd name="connsiteY5364" fmla="*/ 862326 h 1451770"/>
                <a:gd name="connsiteX5365" fmla="*/ 213321 w 3773795"/>
                <a:gd name="connsiteY5365" fmla="*/ 858325 h 1451770"/>
                <a:gd name="connsiteX5366" fmla="*/ 218644 w 3773795"/>
                <a:gd name="connsiteY5366" fmla="*/ 853042 h 1451770"/>
                <a:gd name="connsiteX5367" fmla="*/ 220568 w 3773795"/>
                <a:gd name="connsiteY5367" fmla="*/ 851377 h 1451770"/>
                <a:gd name="connsiteX5368" fmla="*/ 223017 w 3773795"/>
                <a:gd name="connsiteY5368" fmla="*/ 849595 h 1451770"/>
                <a:gd name="connsiteX5369" fmla="*/ 228391 w 3773795"/>
                <a:gd name="connsiteY5369" fmla="*/ 843984 h 1451770"/>
                <a:gd name="connsiteX5370" fmla="*/ 230089 w 3773795"/>
                <a:gd name="connsiteY5370" fmla="*/ 842428 h 1451770"/>
                <a:gd name="connsiteX5371" fmla="*/ 236645 w 3773795"/>
                <a:gd name="connsiteY5371" fmla="*/ 835366 h 1451770"/>
                <a:gd name="connsiteX5372" fmla="*/ 240475 w 3773795"/>
                <a:gd name="connsiteY5372" fmla="*/ 831838 h 1451770"/>
                <a:gd name="connsiteX5373" fmla="*/ 242376 w 3773795"/>
                <a:gd name="connsiteY5373" fmla="*/ 829809 h 1451770"/>
                <a:gd name="connsiteX5374" fmla="*/ 250560 w 3773795"/>
                <a:gd name="connsiteY5374" fmla="*/ 823091 h 1451770"/>
                <a:gd name="connsiteX5375" fmla="*/ 256109 w 3773795"/>
                <a:gd name="connsiteY5375" fmla="*/ 817677 h 1451770"/>
                <a:gd name="connsiteX5376" fmla="*/ 258297 w 3773795"/>
                <a:gd name="connsiteY5376" fmla="*/ 814703 h 1451770"/>
                <a:gd name="connsiteX5377" fmla="*/ 260436 w 3773795"/>
                <a:gd name="connsiteY5377" fmla="*/ 810434 h 1451770"/>
                <a:gd name="connsiteX5378" fmla="*/ 261650 w 3773795"/>
                <a:gd name="connsiteY5378" fmla="*/ 807517 h 1451770"/>
                <a:gd name="connsiteX5379" fmla="*/ 263788 w 3773795"/>
                <a:gd name="connsiteY5379" fmla="*/ 803737 h 1451770"/>
                <a:gd name="connsiteX5380" fmla="*/ 263844 w 3773795"/>
                <a:gd name="connsiteY5380" fmla="*/ 802482 h 1451770"/>
                <a:gd name="connsiteX5381" fmla="*/ 263242 w 3773795"/>
                <a:gd name="connsiteY5381" fmla="*/ 801314 h 1451770"/>
                <a:gd name="connsiteX5382" fmla="*/ 261644 w 3773795"/>
                <a:gd name="connsiteY5382" fmla="*/ 799498 h 1451770"/>
                <a:gd name="connsiteX5383" fmla="*/ 259426 w 3773795"/>
                <a:gd name="connsiteY5383" fmla="*/ 797403 h 1451770"/>
                <a:gd name="connsiteX5384" fmla="*/ 257452 w 3773795"/>
                <a:gd name="connsiteY5384" fmla="*/ 794837 h 1451770"/>
                <a:gd name="connsiteX5385" fmla="*/ 255980 w 3773795"/>
                <a:gd name="connsiteY5385" fmla="*/ 792526 h 1451770"/>
                <a:gd name="connsiteX5386" fmla="*/ 251423 w 3773795"/>
                <a:gd name="connsiteY5386" fmla="*/ 789310 h 1451770"/>
                <a:gd name="connsiteX5387" fmla="*/ 244358 w 3773795"/>
                <a:gd name="connsiteY5387" fmla="*/ 785232 h 1451770"/>
                <a:gd name="connsiteX5388" fmla="*/ 239123 w 3773795"/>
                <a:gd name="connsiteY5388" fmla="*/ 782205 h 1451770"/>
                <a:gd name="connsiteX5389" fmla="*/ 231093 w 3773795"/>
                <a:gd name="connsiteY5389" fmla="*/ 775723 h 1451770"/>
                <a:gd name="connsiteX5390" fmla="*/ 229681 w 3773795"/>
                <a:gd name="connsiteY5390" fmla="*/ 774103 h 1451770"/>
                <a:gd name="connsiteX5391" fmla="*/ 229959 w 3773795"/>
                <a:gd name="connsiteY5391" fmla="*/ 773676 h 1451770"/>
                <a:gd name="connsiteX5392" fmla="*/ 234518 w 3773795"/>
                <a:gd name="connsiteY5392" fmla="*/ 771707 h 1451770"/>
                <a:gd name="connsiteX5393" fmla="*/ 239052 w 3773795"/>
                <a:gd name="connsiteY5393" fmla="*/ 766630 h 1451770"/>
                <a:gd name="connsiteX5394" fmla="*/ 241011 w 3773795"/>
                <a:gd name="connsiteY5394" fmla="*/ 764051 h 1451770"/>
                <a:gd name="connsiteX5395" fmla="*/ 241501 w 3773795"/>
                <a:gd name="connsiteY5395" fmla="*/ 762049 h 1451770"/>
                <a:gd name="connsiteX5396" fmla="*/ 241542 w 3773795"/>
                <a:gd name="connsiteY5396" fmla="*/ 759792 h 1451770"/>
                <a:gd name="connsiteX5397" fmla="*/ 241229 w 3773795"/>
                <a:gd name="connsiteY5397" fmla="*/ 757708 h 1451770"/>
                <a:gd name="connsiteX5398" fmla="*/ 240657 w 3773795"/>
                <a:gd name="connsiteY5398" fmla="*/ 756414 h 1451770"/>
                <a:gd name="connsiteX5399" fmla="*/ 238506 w 3773795"/>
                <a:gd name="connsiteY5399" fmla="*/ 754787 h 1451770"/>
                <a:gd name="connsiteX5400" fmla="*/ 232259 w 3773795"/>
                <a:gd name="connsiteY5400" fmla="*/ 751817 h 1451770"/>
                <a:gd name="connsiteX5401" fmla="*/ 230794 w 3773795"/>
                <a:gd name="connsiteY5401" fmla="*/ 749072 h 1451770"/>
                <a:gd name="connsiteX5402" fmla="*/ 229572 w 3773795"/>
                <a:gd name="connsiteY5402" fmla="*/ 746192 h 1451770"/>
                <a:gd name="connsiteX5403" fmla="*/ 229549 w 3773795"/>
                <a:gd name="connsiteY5403" fmla="*/ 745001 h 1451770"/>
                <a:gd name="connsiteX5404" fmla="*/ 232524 w 3773795"/>
                <a:gd name="connsiteY5404" fmla="*/ 741901 h 1451770"/>
                <a:gd name="connsiteX5405" fmla="*/ 232658 w 3773795"/>
                <a:gd name="connsiteY5405" fmla="*/ 740350 h 1451770"/>
                <a:gd name="connsiteX5406" fmla="*/ 232306 w 3773795"/>
                <a:gd name="connsiteY5406" fmla="*/ 738760 h 1451770"/>
                <a:gd name="connsiteX5407" fmla="*/ 231479 w 3773795"/>
                <a:gd name="connsiteY5407" fmla="*/ 737599 h 1451770"/>
                <a:gd name="connsiteX5408" fmla="*/ 225075 w 3773795"/>
                <a:gd name="connsiteY5408" fmla="*/ 736195 h 1451770"/>
                <a:gd name="connsiteX5409" fmla="*/ 223271 w 3773795"/>
                <a:gd name="connsiteY5409" fmla="*/ 734711 h 1451770"/>
                <a:gd name="connsiteX5410" fmla="*/ 221853 w 3773795"/>
                <a:gd name="connsiteY5410" fmla="*/ 732345 h 1451770"/>
                <a:gd name="connsiteX5411" fmla="*/ 221116 w 3773795"/>
                <a:gd name="connsiteY5411" fmla="*/ 730312 h 1451770"/>
                <a:gd name="connsiteX5412" fmla="*/ 221043 w 3773795"/>
                <a:gd name="connsiteY5412" fmla="*/ 729108 h 1451770"/>
                <a:gd name="connsiteX5413" fmla="*/ 221520 w 3773795"/>
                <a:gd name="connsiteY5413" fmla="*/ 727759 h 1451770"/>
                <a:gd name="connsiteX5414" fmla="*/ 223677 w 3773795"/>
                <a:gd name="connsiteY5414" fmla="*/ 726291 h 1451770"/>
                <a:gd name="connsiteX5415" fmla="*/ 225685 w 3773795"/>
                <a:gd name="connsiteY5415" fmla="*/ 725299 h 1451770"/>
                <a:gd name="connsiteX5416" fmla="*/ 226042 w 3773795"/>
                <a:gd name="connsiteY5416" fmla="*/ 723961 h 1451770"/>
                <a:gd name="connsiteX5417" fmla="*/ 226025 w 3773795"/>
                <a:gd name="connsiteY5417" fmla="*/ 722512 h 1451770"/>
                <a:gd name="connsiteX5418" fmla="*/ 225679 w 3773795"/>
                <a:gd name="connsiteY5418" fmla="*/ 721811 h 1451770"/>
                <a:gd name="connsiteX5419" fmla="*/ 221680 w 3773795"/>
                <a:gd name="connsiteY5419" fmla="*/ 721121 h 1451770"/>
                <a:gd name="connsiteX5420" fmla="*/ 221298 w 3773795"/>
                <a:gd name="connsiteY5420" fmla="*/ 720729 h 1451770"/>
                <a:gd name="connsiteX5421" fmla="*/ 221200 w 3773795"/>
                <a:gd name="connsiteY5421" fmla="*/ 720227 h 1451770"/>
                <a:gd name="connsiteX5422" fmla="*/ 221404 w 3773795"/>
                <a:gd name="connsiteY5422" fmla="*/ 719626 h 1451770"/>
                <a:gd name="connsiteX5423" fmla="*/ 223563 w 3773795"/>
                <a:gd name="connsiteY5423" fmla="*/ 717039 h 1451770"/>
                <a:gd name="connsiteX5424" fmla="*/ 223854 w 3773795"/>
                <a:gd name="connsiteY5424" fmla="*/ 712102 h 1451770"/>
                <a:gd name="connsiteX5425" fmla="*/ 225876 w 3773795"/>
                <a:gd name="connsiteY5425" fmla="*/ 708646 h 1451770"/>
                <a:gd name="connsiteX5426" fmla="*/ 223587 w 3773795"/>
                <a:gd name="connsiteY5426" fmla="*/ 706620 h 1451770"/>
                <a:gd name="connsiteX5427" fmla="*/ 223764 w 3773795"/>
                <a:gd name="connsiteY5427" fmla="*/ 706263 h 1451770"/>
                <a:gd name="connsiteX5428" fmla="*/ 227273 w 3773795"/>
                <a:gd name="connsiteY5428" fmla="*/ 705201 h 1451770"/>
                <a:gd name="connsiteX5429" fmla="*/ 230510 w 3773795"/>
                <a:gd name="connsiteY5429" fmla="*/ 704943 h 1451770"/>
                <a:gd name="connsiteX5430" fmla="*/ 231976 w 3773795"/>
                <a:gd name="connsiteY5430" fmla="*/ 704544 h 1451770"/>
                <a:gd name="connsiteX5431" fmla="*/ 232140 w 3773795"/>
                <a:gd name="connsiteY5431" fmla="*/ 702922 h 1451770"/>
                <a:gd name="connsiteX5432" fmla="*/ 231803 w 3773795"/>
                <a:gd name="connsiteY5432" fmla="*/ 700728 h 1451770"/>
                <a:gd name="connsiteX5433" fmla="*/ 228467 w 3773795"/>
                <a:gd name="connsiteY5433" fmla="*/ 692097 h 1451770"/>
                <a:gd name="connsiteX5434" fmla="*/ 227733 w 3773795"/>
                <a:gd name="connsiteY5434" fmla="*/ 689603 h 1451770"/>
                <a:gd name="connsiteX5435" fmla="*/ 225523 w 3773795"/>
                <a:gd name="connsiteY5435" fmla="*/ 686450 h 1451770"/>
                <a:gd name="connsiteX5436" fmla="*/ 223693 w 3773795"/>
                <a:gd name="connsiteY5436" fmla="*/ 684328 h 1451770"/>
                <a:gd name="connsiteX5437" fmla="*/ 222591 w 3773795"/>
                <a:gd name="connsiteY5437" fmla="*/ 682812 h 1451770"/>
                <a:gd name="connsiteX5438" fmla="*/ 220818 w 3773795"/>
                <a:gd name="connsiteY5438" fmla="*/ 679842 h 1451770"/>
                <a:gd name="connsiteX5439" fmla="*/ 219792 w 3773795"/>
                <a:gd name="connsiteY5439" fmla="*/ 676790 h 1451770"/>
                <a:gd name="connsiteX5440" fmla="*/ 218024 w 3773795"/>
                <a:gd name="connsiteY5440" fmla="*/ 673377 h 1451770"/>
                <a:gd name="connsiteX5441" fmla="*/ 215964 w 3773795"/>
                <a:gd name="connsiteY5441" fmla="*/ 670240 h 1451770"/>
                <a:gd name="connsiteX5442" fmla="*/ 214241 w 3773795"/>
                <a:gd name="connsiteY5442" fmla="*/ 667334 h 1451770"/>
                <a:gd name="connsiteX5443" fmla="*/ 209814 w 3773795"/>
                <a:gd name="connsiteY5443" fmla="*/ 661632 h 1451770"/>
                <a:gd name="connsiteX5444" fmla="*/ 209220 w 3773795"/>
                <a:gd name="connsiteY5444" fmla="*/ 660051 h 1451770"/>
                <a:gd name="connsiteX5445" fmla="*/ 209283 w 3773795"/>
                <a:gd name="connsiteY5445" fmla="*/ 658620 h 1451770"/>
                <a:gd name="connsiteX5446" fmla="*/ 209680 w 3773795"/>
                <a:gd name="connsiteY5446" fmla="*/ 657104 h 1451770"/>
                <a:gd name="connsiteX5447" fmla="*/ 213137 w 3773795"/>
                <a:gd name="connsiteY5447" fmla="*/ 652419 h 1451770"/>
                <a:gd name="connsiteX5448" fmla="*/ 216329 w 3773795"/>
                <a:gd name="connsiteY5448" fmla="*/ 648502 h 1451770"/>
                <a:gd name="connsiteX5449" fmla="*/ 220410 w 3773795"/>
                <a:gd name="connsiteY5449" fmla="*/ 643897 h 1451770"/>
                <a:gd name="connsiteX5450" fmla="*/ 224353 w 3773795"/>
                <a:gd name="connsiteY5450" fmla="*/ 640067 h 1451770"/>
                <a:gd name="connsiteX5451" fmla="*/ 228568 w 3773795"/>
                <a:gd name="connsiteY5451" fmla="*/ 635515 h 1451770"/>
                <a:gd name="connsiteX5452" fmla="*/ 229605 w 3773795"/>
                <a:gd name="connsiteY5452" fmla="*/ 630961 h 1451770"/>
                <a:gd name="connsiteX5453" fmla="*/ 229409 w 3773795"/>
                <a:gd name="connsiteY5453" fmla="*/ 630194 h 1451770"/>
                <a:gd name="connsiteX5454" fmla="*/ 225923 w 3773795"/>
                <a:gd name="connsiteY5454" fmla="*/ 627722 h 1451770"/>
                <a:gd name="connsiteX5455" fmla="*/ 219348 w 3773795"/>
                <a:gd name="connsiteY5455" fmla="*/ 621092 h 1451770"/>
                <a:gd name="connsiteX5456" fmla="*/ 215359 w 3773795"/>
                <a:gd name="connsiteY5456" fmla="*/ 616049 h 1451770"/>
                <a:gd name="connsiteX5457" fmla="*/ 209149 w 3773795"/>
                <a:gd name="connsiteY5457" fmla="*/ 613914 h 1451770"/>
                <a:gd name="connsiteX5458" fmla="*/ 200794 w 3773795"/>
                <a:gd name="connsiteY5458" fmla="*/ 611177 h 1451770"/>
                <a:gd name="connsiteX5459" fmla="*/ 198030 w 3773795"/>
                <a:gd name="connsiteY5459" fmla="*/ 605008 h 1451770"/>
                <a:gd name="connsiteX5460" fmla="*/ 196052 w 3773795"/>
                <a:gd name="connsiteY5460" fmla="*/ 599760 h 1451770"/>
                <a:gd name="connsiteX5461" fmla="*/ 196242 w 3773795"/>
                <a:gd name="connsiteY5461" fmla="*/ 597870 h 1451770"/>
                <a:gd name="connsiteX5462" fmla="*/ 202273 w 3773795"/>
                <a:gd name="connsiteY5462" fmla="*/ 588874 h 1451770"/>
                <a:gd name="connsiteX5463" fmla="*/ 202839 w 3773795"/>
                <a:gd name="connsiteY5463" fmla="*/ 587239 h 1451770"/>
                <a:gd name="connsiteX5464" fmla="*/ 202733 w 3773795"/>
                <a:gd name="connsiteY5464" fmla="*/ 586226 h 1451770"/>
                <a:gd name="connsiteX5465" fmla="*/ 202114 w 3773795"/>
                <a:gd name="connsiteY5465" fmla="*/ 585592 h 1451770"/>
                <a:gd name="connsiteX5466" fmla="*/ 201254 w 3773795"/>
                <a:gd name="connsiteY5466" fmla="*/ 585242 h 1451770"/>
                <a:gd name="connsiteX5467" fmla="*/ 195672 w 3773795"/>
                <a:gd name="connsiteY5467" fmla="*/ 584981 h 1451770"/>
                <a:gd name="connsiteX5468" fmla="*/ 194800 w 3773795"/>
                <a:gd name="connsiteY5468" fmla="*/ 583748 h 1451770"/>
                <a:gd name="connsiteX5469" fmla="*/ 198160 w 3773795"/>
                <a:gd name="connsiteY5469" fmla="*/ 582817 h 1451770"/>
                <a:gd name="connsiteX5470" fmla="*/ 200950 w 3773795"/>
                <a:gd name="connsiteY5470" fmla="*/ 581547 h 1451770"/>
                <a:gd name="connsiteX5471" fmla="*/ 205521 w 3773795"/>
                <a:gd name="connsiteY5471" fmla="*/ 579664 h 1451770"/>
                <a:gd name="connsiteX5472" fmla="*/ 207001 w 3773795"/>
                <a:gd name="connsiteY5472" fmla="*/ 579187 h 1451770"/>
                <a:gd name="connsiteX5473" fmla="*/ 210378 w 3773795"/>
                <a:gd name="connsiteY5473" fmla="*/ 578102 h 1451770"/>
                <a:gd name="connsiteX5474" fmla="*/ 211535 w 3773795"/>
                <a:gd name="connsiteY5474" fmla="*/ 577265 h 1451770"/>
                <a:gd name="connsiteX5475" fmla="*/ 212399 w 3773795"/>
                <a:gd name="connsiteY5475" fmla="*/ 576276 h 1451770"/>
                <a:gd name="connsiteX5476" fmla="*/ 215562 w 3773795"/>
                <a:gd name="connsiteY5476" fmla="*/ 569525 h 1451770"/>
                <a:gd name="connsiteX5477" fmla="*/ 216342 w 3773795"/>
                <a:gd name="connsiteY5477" fmla="*/ 568452 h 1451770"/>
                <a:gd name="connsiteX5478" fmla="*/ 226169 w 3773795"/>
                <a:gd name="connsiteY5478" fmla="*/ 566022 h 1451770"/>
                <a:gd name="connsiteX5479" fmla="*/ 229737 w 3773795"/>
                <a:gd name="connsiteY5479" fmla="*/ 564772 h 1451770"/>
                <a:gd name="connsiteX5480" fmla="*/ 231799 w 3773795"/>
                <a:gd name="connsiteY5480" fmla="*/ 563194 h 1451770"/>
                <a:gd name="connsiteX5481" fmla="*/ 232784 w 3773795"/>
                <a:gd name="connsiteY5481" fmla="*/ 561966 h 1451770"/>
                <a:gd name="connsiteX5482" fmla="*/ 233490 w 3773795"/>
                <a:gd name="connsiteY5482" fmla="*/ 560505 h 1451770"/>
                <a:gd name="connsiteX5483" fmla="*/ 233997 w 3773795"/>
                <a:gd name="connsiteY5483" fmla="*/ 558893 h 1451770"/>
                <a:gd name="connsiteX5484" fmla="*/ 234213 w 3773795"/>
                <a:gd name="connsiteY5484" fmla="*/ 557412 h 1451770"/>
                <a:gd name="connsiteX5485" fmla="*/ 233401 w 3773795"/>
                <a:gd name="connsiteY5485" fmla="*/ 555478 h 1451770"/>
                <a:gd name="connsiteX5486" fmla="*/ 233852 w 3773795"/>
                <a:gd name="connsiteY5486" fmla="*/ 555244 h 1451770"/>
                <a:gd name="connsiteX5487" fmla="*/ 234900 w 3773795"/>
                <a:gd name="connsiteY5487" fmla="*/ 555325 h 1451770"/>
                <a:gd name="connsiteX5488" fmla="*/ 238264 w 3773795"/>
                <a:gd name="connsiteY5488" fmla="*/ 557250 h 1451770"/>
                <a:gd name="connsiteX5489" fmla="*/ 243477 w 3773795"/>
                <a:gd name="connsiteY5489" fmla="*/ 559293 h 1451770"/>
                <a:gd name="connsiteX5490" fmla="*/ 247312 w 3773795"/>
                <a:gd name="connsiteY5490" fmla="*/ 559452 h 1451770"/>
                <a:gd name="connsiteX5491" fmla="*/ 248901 w 3773795"/>
                <a:gd name="connsiteY5491" fmla="*/ 559063 h 1451770"/>
                <a:gd name="connsiteX5492" fmla="*/ 249696 w 3773795"/>
                <a:gd name="connsiteY5492" fmla="*/ 558170 h 1451770"/>
                <a:gd name="connsiteX5493" fmla="*/ 250266 w 3773795"/>
                <a:gd name="connsiteY5493" fmla="*/ 556422 h 1451770"/>
                <a:gd name="connsiteX5494" fmla="*/ 250303 w 3773795"/>
                <a:gd name="connsiteY5494" fmla="*/ 554619 h 1451770"/>
                <a:gd name="connsiteX5495" fmla="*/ 249100 w 3773795"/>
                <a:gd name="connsiteY5495" fmla="*/ 549442 h 1451770"/>
                <a:gd name="connsiteX5496" fmla="*/ 253075 w 3773795"/>
                <a:gd name="connsiteY5496" fmla="*/ 550001 h 1451770"/>
                <a:gd name="connsiteX5497" fmla="*/ 261991 w 3773795"/>
                <a:gd name="connsiteY5497" fmla="*/ 553133 h 1451770"/>
                <a:gd name="connsiteX5498" fmla="*/ 264075 w 3773795"/>
                <a:gd name="connsiteY5498" fmla="*/ 552845 h 1451770"/>
                <a:gd name="connsiteX5499" fmla="*/ 266712 w 3773795"/>
                <a:gd name="connsiteY5499" fmla="*/ 551899 h 1451770"/>
                <a:gd name="connsiteX5500" fmla="*/ 269417 w 3773795"/>
                <a:gd name="connsiteY5500" fmla="*/ 548169 h 1451770"/>
                <a:gd name="connsiteX5501" fmla="*/ 271426 w 3773795"/>
                <a:gd name="connsiteY5501" fmla="*/ 547530 h 1451770"/>
                <a:gd name="connsiteX5502" fmla="*/ 274047 w 3773795"/>
                <a:gd name="connsiteY5502" fmla="*/ 548400 h 1451770"/>
                <a:gd name="connsiteX5503" fmla="*/ 274769 w 3773795"/>
                <a:gd name="connsiteY5503" fmla="*/ 547399 h 1451770"/>
                <a:gd name="connsiteX5504" fmla="*/ 273414 w 3773795"/>
                <a:gd name="connsiteY5504" fmla="*/ 544299 h 1451770"/>
                <a:gd name="connsiteX5505" fmla="*/ 273751 w 3773795"/>
                <a:gd name="connsiteY5505" fmla="*/ 542729 h 1451770"/>
                <a:gd name="connsiteX5506" fmla="*/ 282752 w 3773795"/>
                <a:gd name="connsiteY5506" fmla="*/ 546083 h 1451770"/>
                <a:gd name="connsiteX5507" fmla="*/ 286595 w 3773795"/>
                <a:gd name="connsiteY5507" fmla="*/ 548534 h 1451770"/>
                <a:gd name="connsiteX5508" fmla="*/ 294915 w 3773795"/>
                <a:gd name="connsiteY5508" fmla="*/ 550685 h 1451770"/>
                <a:gd name="connsiteX5509" fmla="*/ 296377 w 3773795"/>
                <a:gd name="connsiteY5509" fmla="*/ 551855 h 1451770"/>
                <a:gd name="connsiteX5510" fmla="*/ 296483 w 3773795"/>
                <a:gd name="connsiteY5510" fmla="*/ 553883 h 1451770"/>
                <a:gd name="connsiteX5511" fmla="*/ 296086 w 3773795"/>
                <a:gd name="connsiteY5511" fmla="*/ 555623 h 1451770"/>
                <a:gd name="connsiteX5512" fmla="*/ 294326 w 3773795"/>
                <a:gd name="connsiteY5512" fmla="*/ 556583 h 1451770"/>
                <a:gd name="connsiteX5513" fmla="*/ 290771 w 3773795"/>
                <a:gd name="connsiteY5513" fmla="*/ 556426 h 1451770"/>
                <a:gd name="connsiteX5514" fmla="*/ 278001 w 3773795"/>
                <a:gd name="connsiteY5514" fmla="*/ 553745 h 1451770"/>
                <a:gd name="connsiteX5515" fmla="*/ 276116 w 3773795"/>
                <a:gd name="connsiteY5515" fmla="*/ 555373 h 1451770"/>
                <a:gd name="connsiteX5516" fmla="*/ 277660 w 3773795"/>
                <a:gd name="connsiteY5516" fmla="*/ 556782 h 1451770"/>
                <a:gd name="connsiteX5517" fmla="*/ 281402 w 3773795"/>
                <a:gd name="connsiteY5517" fmla="*/ 558444 h 1451770"/>
                <a:gd name="connsiteX5518" fmla="*/ 282445 w 3773795"/>
                <a:gd name="connsiteY5518" fmla="*/ 561386 h 1451770"/>
                <a:gd name="connsiteX5519" fmla="*/ 288174 w 3773795"/>
                <a:gd name="connsiteY5519" fmla="*/ 560981 h 1451770"/>
                <a:gd name="connsiteX5520" fmla="*/ 293635 w 3773795"/>
                <a:gd name="connsiteY5520" fmla="*/ 562100 h 1451770"/>
                <a:gd name="connsiteX5521" fmla="*/ 296200 w 3773795"/>
                <a:gd name="connsiteY5521" fmla="*/ 561737 h 1451770"/>
                <a:gd name="connsiteX5522" fmla="*/ 296669 w 3773795"/>
                <a:gd name="connsiteY5522" fmla="*/ 562696 h 1451770"/>
                <a:gd name="connsiteX5523" fmla="*/ 294913 w 3773795"/>
                <a:gd name="connsiteY5523" fmla="*/ 565128 h 1451770"/>
                <a:gd name="connsiteX5524" fmla="*/ 295738 w 3773795"/>
                <a:gd name="connsiteY5524" fmla="*/ 565753 h 1451770"/>
                <a:gd name="connsiteX5525" fmla="*/ 301862 w 3773795"/>
                <a:gd name="connsiteY5525" fmla="*/ 563394 h 1451770"/>
                <a:gd name="connsiteX5526" fmla="*/ 304715 w 3773795"/>
                <a:gd name="connsiteY5526" fmla="*/ 562747 h 1451770"/>
                <a:gd name="connsiteX5527" fmla="*/ 306250 w 3773795"/>
                <a:gd name="connsiteY5527" fmla="*/ 563377 h 1451770"/>
                <a:gd name="connsiteX5528" fmla="*/ 306457 w 3773795"/>
                <a:gd name="connsiteY5528" fmla="*/ 565330 h 1451770"/>
                <a:gd name="connsiteX5529" fmla="*/ 305447 w 3773795"/>
                <a:gd name="connsiteY5529" fmla="*/ 567784 h 1451770"/>
                <a:gd name="connsiteX5530" fmla="*/ 305337 w 3773795"/>
                <a:gd name="connsiteY5530" fmla="*/ 569649 h 1451770"/>
                <a:gd name="connsiteX5531" fmla="*/ 303452 w 3773795"/>
                <a:gd name="connsiteY5531" fmla="*/ 574146 h 1451770"/>
                <a:gd name="connsiteX5532" fmla="*/ 300547 w 3773795"/>
                <a:gd name="connsiteY5532" fmla="*/ 575506 h 1451770"/>
                <a:gd name="connsiteX5533" fmla="*/ 299327 w 3773795"/>
                <a:gd name="connsiteY5533" fmla="*/ 577375 h 1451770"/>
                <a:gd name="connsiteX5534" fmla="*/ 303577 w 3773795"/>
                <a:gd name="connsiteY5534" fmla="*/ 576230 h 1451770"/>
                <a:gd name="connsiteX5535" fmla="*/ 305838 w 3773795"/>
                <a:gd name="connsiteY5535" fmla="*/ 574981 h 1451770"/>
                <a:gd name="connsiteX5536" fmla="*/ 310070 w 3773795"/>
                <a:gd name="connsiteY5536" fmla="*/ 568802 h 1451770"/>
                <a:gd name="connsiteX5537" fmla="*/ 311338 w 3773795"/>
                <a:gd name="connsiteY5537" fmla="*/ 567980 h 1451770"/>
                <a:gd name="connsiteX5538" fmla="*/ 323389 w 3773795"/>
                <a:gd name="connsiteY5538" fmla="*/ 567868 h 1451770"/>
                <a:gd name="connsiteX5539" fmla="*/ 326117 w 3773795"/>
                <a:gd name="connsiteY5539" fmla="*/ 568266 h 1451770"/>
                <a:gd name="connsiteX5540" fmla="*/ 337421 w 3773795"/>
                <a:gd name="connsiteY5540" fmla="*/ 571181 h 1451770"/>
                <a:gd name="connsiteX5541" fmla="*/ 340640 w 3773795"/>
                <a:gd name="connsiteY5541" fmla="*/ 571448 h 1451770"/>
                <a:gd name="connsiteX5542" fmla="*/ 344318 w 3773795"/>
                <a:gd name="connsiteY5542" fmla="*/ 571075 h 1451770"/>
                <a:gd name="connsiteX5543" fmla="*/ 345586 w 3773795"/>
                <a:gd name="connsiteY5543" fmla="*/ 569721 h 1451770"/>
                <a:gd name="connsiteX5544" fmla="*/ 346838 w 3773795"/>
                <a:gd name="connsiteY5544" fmla="*/ 569337 h 1451770"/>
                <a:gd name="connsiteX5545" fmla="*/ 359399 w 3773795"/>
                <a:gd name="connsiteY5545" fmla="*/ 572595 h 1451770"/>
                <a:gd name="connsiteX5546" fmla="*/ 376212 w 3773795"/>
                <a:gd name="connsiteY5546" fmla="*/ 579904 h 1451770"/>
                <a:gd name="connsiteX5547" fmla="*/ 400807 w 3773795"/>
                <a:gd name="connsiteY5547" fmla="*/ 591930 h 1451770"/>
                <a:gd name="connsiteX5548" fmla="*/ 414673 w 3773795"/>
                <a:gd name="connsiteY5548" fmla="*/ 602567 h 1451770"/>
                <a:gd name="connsiteX5549" fmla="*/ 416277 w 3773795"/>
                <a:gd name="connsiteY5549" fmla="*/ 604845 h 1451770"/>
                <a:gd name="connsiteX5550" fmla="*/ 421289 w 3773795"/>
                <a:gd name="connsiteY5550" fmla="*/ 606135 h 1451770"/>
                <a:gd name="connsiteX5551" fmla="*/ 422367 w 3773795"/>
                <a:gd name="connsiteY5551" fmla="*/ 605262 h 1451770"/>
                <a:gd name="connsiteX5552" fmla="*/ 425152 w 3773795"/>
                <a:gd name="connsiteY5552" fmla="*/ 606019 h 1451770"/>
                <a:gd name="connsiteX5553" fmla="*/ 441458 w 3773795"/>
                <a:gd name="connsiteY5553" fmla="*/ 615674 h 1451770"/>
                <a:gd name="connsiteX5554" fmla="*/ 447083 w 3773795"/>
                <a:gd name="connsiteY5554" fmla="*/ 616173 h 1451770"/>
                <a:gd name="connsiteX5555" fmla="*/ 446340 w 3773795"/>
                <a:gd name="connsiteY5555" fmla="*/ 614135 h 1451770"/>
                <a:gd name="connsiteX5556" fmla="*/ 445379 w 3773795"/>
                <a:gd name="connsiteY5556" fmla="*/ 612229 h 1451770"/>
                <a:gd name="connsiteX5557" fmla="*/ 446772 w 3773795"/>
                <a:gd name="connsiteY5557" fmla="*/ 612662 h 1451770"/>
                <a:gd name="connsiteX5558" fmla="*/ 448681 w 3773795"/>
                <a:gd name="connsiteY5558" fmla="*/ 614046 h 1451770"/>
                <a:gd name="connsiteX5559" fmla="*/ 451780 w 3773795"/>
                <a:gd name="connsiteY5559" fmla="*/ 617816 h 1451770"/>
                <a:gd name="connsiteX5560" fmla="*/ 455559 w 3773795"/>
                <a:gd name="connsiteY5560" fmla="*/ 620606 h 1451770"/>
                <a:gd name="connsiteX5561" fmla="*/ 459407 w 3773795"/>
                <a:gd name="connsiteY5561" fmla="*/ 624776 h 1451770"/>
                <a:gd name="connsiteX5562" fmla="*/ 462616 w 3773795"/>
                <a:gd name="connsiteY5562" fmla="*/ 626372 h 1451770"/>
                <a:gd name="connsiteX5563" fmla="*/ 465507 w 3773795"/>
                <a:gd name="connsiteY5563" fmla="*/ 626963 h 1451770"/>
                <a:gd name="connsiteX5564" fmla="*/ 467934 w 3773795"/>
                <a:gd name="connsiteY5564" fmla="*/ 628137 h 1451770"/>
                <a:gd name="connsiteX5565" fmla="*/ 472359 w 3773795"/>
                <a:gd name="connsiteY5565" fmla="*/ 629254 h 1451770"/>
                <a:gd name="connsiteX5566" fmla="*/ 474449 w 3773795"/>
                <a:gd name="connsiteY5566" fmla="*/ 639399 h 1451770"/>
                <a:gd name="connsiteX5567" fmla="*/ 476062 w 3773795"/>
                <a:gd name="connsiteY5567" fmla="*/ 641584 h 1451770"/>
                <a:gd name="connsiteX5568" fmla="*/ 476062 w 3773795"/>
                <a:gd name="connsiteY5568" fmla="*/ 646049 h 1451770"/>
                <a:gd name="connsiteX5569" fmla="*/ 478889 w 3773795"/>
                <a:gd name="connsiteY5569" fmla="*/ 647864 h 1451770"/>
                <a:gd name="connsiteX5570" fmla="*/ 481035 w 3773795"/>
                <a:gd name="connsiteY5570" fmla="*/ 648193 h 1451770"/>
                <a:gd name="connsiteX5571" fmla="*/ 480936 w 3773795"/>
                <a:gd name="connsiteY5571" fmla="*/ 651491 h 1451770"/>
                <a:gd name="connsiteX5572" fmla="*/ 479195 w 3773795"/>
                <a:gd name="connsiteY5572" fmla="*/ 659212 h 1451770"/>
                <a:gd name="connsiteX5573" fmla="*/ 477280 w 3773795"/>
                <a:gd name="connsiteY5573" fmla="*/ 662488 h 1451770"/>
                <a:gd name="connsiteX5574" fmla="*/ 462523 w 3773795"/>
                <a:gd name="connsiteY5574" fmla="*/ 676534 h 1451770"/>
                <a:gd name="connsiteX5575" fmla="*/ 453274 w 3773795"/>
                <a:gd name="connsiteY5575" fmla="*/ 681936 h 1451770"/>
                <a:gd name="connsiteX5576" fmla="*/ 435269 w 3773795"/>
                <a:gd name="connsiteY5576" fmla="*/ 688101 h 1451770"/>
                <a:gd name="connsiteX5577" fmla="*/ 421224 w 3773795"/>
                <a:gd name="connsiteY5577" fmla="*/ 690409 h 1451770"/>
                <a:gd name="connsiteX5578" fmla="*/ 415556 w 3773795"/>
                <a:gd name="connsiteY5578" fmla="*/ 690577 h 1451770"/>
                <a:gd name="connsiteX5579" fmla="*/ 404569 w 3773795"/>
                <a:gd name="connsiteY5579" fmla="*/ 689437 h 1451770"/>
                <a:gd name="connsiteX5580" fmla="*/ 398544 w 3773795"/>
                <a:gd name="connsiteY5580" fmla="*/ 688191 h 1451770"/>
                <a:gd name="connsiteX5581" fmla="*/ 391172 w 3773795"/>
                <a:gd name="connsiteY5581" fmla="*/ 684688 h 1451770"/>
                <a:gd name="connsiteX5582" fmla="*/ 384292 w 3773795"/>
                <a:gd name="connsiteY5582" fmla="*/ 682943 h 1451770"/>
                <a:gd name="connsiteX5583" fmla="*/ 379566 w 3773795"/>
                <a:gd name="connsiteY5583" fmla="*/ 682171 h 1451770"/>
                <a:gd name="connsiteX5584" fmla="*/ 370798 w 3773795"/>
                <a:gd name="connsiteY5584" fmla="*/ 681849 h 1451770"/>
                <a:gd name="connsiteX5585" fmla="*/ 351783 w 3773795"/>
                <a:gd name="connsiteY5585" fmla="*/ 678407 h 1451770"/>
                <a:gd name="connsiteX5586" fmla="*/ 348477 w 3773795"/>
                <a:gd name="connsiteY5586" fmla="*/ 677196 h 1451770"/>
                <a:gd name="connsiteX5587" fmla="*/ 336550 w 3773795"/>
                <a:gd name="connsiteY5587" fmla="*/ 670458 h 1451770"/>
                <a:gd name="connsiteX5588" fmla="*/ 331811 w 3773795"/>
                <a:gd name="connsiteY5588" fmla="*/ 672363 h 1451770"/>
                <a:gd name="connsiteX5589" fmla="*/ 328988 w 3773795"/>
                <a:gd name="connsiteY5589" fmla="*/ 672706 h 1451770"/>
                <a:gd name="connsiteX5590" fmla="*/ 327075 w 3773795"/>
                <a:gd name="connsiteY5590" fmla="*/ 670382 h 1451770"/>
                <a:gd name="connsiteX5591" fmla="*/ 327844 w 3773795"/>
                <a:gd name="connsiteY5591" fmla="*/ 669768 h 1451770"/>
                <a:gd name="connsiteX5592" fmla="*/ 328302 w 3773795"/>
                <a:gd name="connsiteY5592" fmla="*/ 668975 h 1451770"/>
                <a:gd name="connsiteX5593" fmla="*/ 321547 w 3773795"/>
                <a:gd name="connsiteY5593" fmla="*/ 667047 h 1451770"/>
                <a:gd name="connsiteX5594" fmla="*/ 315965 w 3773795"/>
                <a:gd name="connsiteY5594" fmla="*/ 666918 h 1451770"/>
                <a:gd name="connsiteX5595" fmla="*/ 313000 w 3773795"/>
                <a:gd name="connsiteY5595" fmla="*/ 665279 h 1451770"/>
                <a:gd name="connsiteX5596" fmla="*/ 309370 w 3773795"/>
                <a:gd name="connsiteY5596" fmla="*/ 664030 h 1451770"/>
                <a:gd name="connsiteX5597" fmla="*/ 307768 w 3773795"/>
                <a:gd name="connsiteY5597" fmla="*/ 664782 h 1451770"/>
                <a:gd name="connsiteX5598" fmla="*/ 306863 w 3773795"/>
                <a:gd name="connsiteY5598" fmla="*/ 664775 h 1451770"/>
                <a:gd name="connsiteX5599" fmla="*/ 299526 w 3773795"/>
                <a:gd name="connsiteY5599" fmla="*/ 661827 h 1451770"/>
                <a:gd name="connsiteX5600" fmla="*/ 296248 w 3773795"/>
                <a:gd name="connsiteY5600" fmla="*/ 659435 h 1451770"/>
                <a:gd name="connsiteX5601" fmla="*/ 292834 w 3773795"/>
                <a:gd name="connsiteY5601" fmla="*/ 655219 h 1451770"/>
                <a:gd name="connsiteX5602" fmla="*/ 293667 w 3773795"/>
                <a:gd name="connsiteY5602" fmla="*/ 653742 h 1451770"/>
                <a:gd name="connsiteX5603" fmla="*/ 294667 w 3773795"/>
                <a:gd name="connsiteY5603" fmla="*/ 652784 h 1451770"/>
                <a:gd name="connsiteX5604" fmla="*/ 282935 w 3773795"/>
                <a:gd name="connsiteY5604" fmla="*/ 650323 h 1451770"/>
                <a:gd name="connsiteX5605" fmla="*/ 271778 w 3773795"/>
                <a:gd name="connsiteY5605" fmla="*/ 649997 h 1451770"/>
                <a:gd name="connsiteX5606" fmla="*/ 273717 w 3773795"/>
                <a:gd name="connsiteY5606" fmla="*/ 651177 h 1451770"/>
                <a:gd name="connsiteX5607" fmla="*/ 278549 w 3773795"/>
                <a:gd name="connsiteY5607" fmla="*/ 651797 h 1451770"/>
                <a:gd name="connsiteX5608" fmla="*/ 281624 w 3773795"/>
                <a:gd name="connsiteY5608" fmla="*/ 653491 h 1451770"/>
                <a:gd name="connsiteX5609" fmla="*/ 285170 w 3773795"/>
                <a:gd name="connsiteY5609" fmla="*/ 655877 h 1451770"/>
                <a:gd name="connsiteX5610" fmla="*/ 284345 w 3773795"/>
                <a:gd name="connsiteY5610" fmla="*/ 659137 h 1451770"/>
                <a:gd name="connsiteX5611" fmla="*/ 289271 w 3773795"/>
                <a:gd name="connsiteY5611" fmla="*/ 662362 h 1451770"/>
                <a:gd name="connsiteX5612" fmla="*/ 293050 w 3773795"/>
                <a:gd name="connsiteY5612" fmla="*/ 665429 h 1451770"/>
                <a:gd name="connsiteX5613" fmla="*/ 293162 w 3773795"/>
                <a:gd name="connsiteY5613" fmla="*/ 666375 h 1451770"/>
                <a:gd name="connsiteX5614" fmla="*/ 294628 w 3773795"/>
                <a:gd name="connsiteY5614" fmla="*/ 667016 h 1451770"/>
                <a:gd name="connsiteX5615" fmla="*/ 300197 w 3773795"/>
                <a:gd name="connsiteY5615" fmla="*/ 667912 h 1451770"/>
                <a:gd name="connsiteX5616" fmla="*/ 301167 w 3773795"/>
                <a:gd name="connsiteY5616" fmla="*/ 670727 h 1451770"/>
                <a:gd name="connsiteX5617" fmla="*/ 300249 w 3773795"/>
                <a:gd name="connsiteY5617" fmla="*/ 671836 h 1451770"/>
                <a:gd name="connsiteX5618" fmla="*/ 301012 w 3773795"/>
                <a:gd name="connsiteY5618" fmla="*/ 673397 h 1451770"/>
                <a:gd name="connsiteX5619" fmla="*/ 305166 w 3773795"/>
                <a:gd name="connsiteY5619" fmla="*/ 675145 h 1451770"/>
                <a:gd name="connsiteX5620" fmla="*/ 307651 w 3773795"/>
                <a:gd name="connsiteY5620" fmla="*/ 675621 h 1451770"/>
                <a:gd name="connsiteX5621" fmla="*/ 310709 w 3773795"/>
                <a:gd name="connsiteY5621" fmla="*/ 676681 h 1451770"/>
                <a:gd name="connsiteX5622" fmla="*/ 309323 w 3773795"/>
                <a:gd name="connsiteY5622" fmla="*/ 678821 h 1451770"/>
                <a:gd name="connsiteX5623" fmla="*/ 306751 w 3773795"/>
                <a:gd name="connsiteY5623" fmla="*/ 680209 h 1451770"/>
                <a:gd name="connsiteX5624" fmla="*/ 304177 w 3773795"/>
                <a:gd name="connsiteY5624" fmla="*/ 680847 h 1451770"/>
                <a:gd name="connsiteX5625" fmla="*/ 305399 w 3773795"/>
                <a:gd name="connsiteY5625" fmla="*/ 681359 h 1451770"/>
                <a:gd name="connsiteX5626" fmla="*/ 308735 w 3773795"/>
                <a:gd name="connsiteY5626" fmla="*/ 681161 h 1451770"/>
                <a:gd name="connsiteX5627" fmla="*/ 320809 w 3773795"/>
                <a:gd name="connsiteY5627" fmla="*/ 684681 h 1451770"/>
                <a:gd name="connsiteX5628" fmla="*/ 327157 w 3773795"/>
                <a:gd name="connsiteY5628" fmla="*/ 688234 h 1451770"/>
                <a:gd name="connsiteX5629" fmla="*/ 333614 w 3773795"/>
                <a:gd name="connsiteY5629" fmla="*/ 694696 h 1451770"/>
                <a:gd name="connsiteX5630" fmla="*/ 335704 w 3773795"/>
                <a:gd name="connsiteY5630" fmla="*/ 697884 h 1451770"/>
                <a:gd name="connsiteX5631" fmla="*/ 335855 w 3773795"/>
                <a:gd name="connsiteY5631" fmla="*/ 699641 h 1451770"/>
                <a:gd name="connsiteX5632" fmla="*/ 335497 w 3773795"/>
                <a:gd name="connsiteY5632" fmla="*/ 701393 h 1451770"/>
                <a:gd name="connsiteX5633" fmla="*/ 334564 w 3773795"/>
                <a:gd name="connsiteY5633" fmla="*/ 703285 h 1451770"/>
                <a:gd name="connsiteX5634" fmla="*/ 334139 w 3773795"/>
                <a:gd name="connsiteY5634" fmla="*/ 705184 h 1451770"/>
                <a:gd name="connsiteX5635" fmla="*/ 331932 w 3773795"/>
                <a:gd name="connsiteY5635" fmla="*/ 710780 h 1451770"/>
                <a:gd name="connsiteX5636" fmla="*/ 330349 w 3773795"/>
                <a:gd name="connsiteY5636" fmla="*/ 712708 h 1451770"/>
                <a:gd name="connsiteX5637" fmla="*/ 327304 w 3773795"/>
                <a:gd name="connsiteY5637" fmla="*/ 714914 h 1451770"/>
                <a:gd name="connsiteX5638" fmla="*/ 330167 w 3773795"/>
                <a:gd name="connsiteY5638" fmla="*/ 719171 h 1451770"/>
                <a:gd name="connsiteX5639" fmla="*/ 333156 w 3773795"/>
                <a:gd name="connsiteY5639" fmla="*/ 723131 h 1451770"/>
                <a:gd name="connsiteX5640" fmla="*/ 336084 w 3773795"/>
                <a:gd name="connsiteY5640" fmla="*/ 729681 h 1451770"/>
                <a:gd name="connsiteX5641" fmla="*/ 336607 w 3773795"/>
                <a:gd name="connsiteY5641" fmla="*/ 732311 h 1451770"/>
                <a:gd name="connsiteX5642" fmla="*/ 336728 w 3773795"/>
                <a:gd name="connsiteY5642" fmla="*/ 736342 h 1451770"/>
                <a:gd name="connsiteX5643" fmla="*/ 339373 w 3773795"/>
                <a:gd name="connsiteY5643" fmla="*/ 737924 h 1451770"/>
                <a:gd name="connsiteX5644" fmla="*/ 338339 w 3773795"/>
                <a:gd name="connsiteY5644" fmla="*/ 738542 h 1451770"/>
                <a:gd name="connsiteX5645" fmla="*/ 337296 w 3773795"/>
                <a:gd name="connsiteY5645" fmla="*/ 739685 h 1451770"/>
                <a:gd name="connsiteX5646" fmla="*/ 337544 w 3773795"/>
                <a:gd name="connsiteY5646" fmla="*/ 744919 h 1451770"/>
                <a:gd name="connsiteX5647" fmla="*/ 341211 w 3773795"/>
                <a:gd name="connsiteY5647" fmla="*/ 749183 h 1451770"/>
                <a:gd name="connsiteX5648" fmla="*/ 346711 w 3773795"/>
                <a:gd name="connsiteY5648" fmla="*/ 751944 h 1451770"/>
                <a:gd name="connsiteX5649" fmla="*/ 349982 w 3773795"/>
                <a:gd name="connsiteY5649" fmla="*/ 752504 h 1451770"/>
                <a:gd name="connsiteX5650" fmla="*/ 354737 w 3773795"/>
                <a:gd name="connsiteY5650" fmla="*/ 751384 h 1451770"/>
                <a:gd name="connsiteX5651" fmla="*/ 358164 w 3773795"/>
                <a:gd name="connsiteY5651" fmla="*/ 752909 h 1451770"/>
                <a:gd name="connsiteX5652" fmla="*/ 365780 w 3773795"/>
                <a:gd name="connsiteY5652" fmla="*/ 758097 h 1451770"/>
                <a:gd name="connsiteX5653" fmla="*/ 369218 w 3773795"/>
                <a:gd name="connsiteY5653" fmla="*/ 763565 h 1451770"/>
                <a:gd name="connsiteX5654" fmla="*/ 370611 w 3773795"/>
                <a:gd name="connsiteY5654" fmla="*/ 764678 h 1451770"/>
                <a:gd name="connsiteX5655" fmla="*/ 378324 w 3773795"/>
                <a:gd name="connsiteY5655" fmla="*/ 766716 h 1451770"/>
                <a:gd name="connsiteX5656" fmla="*/ 384105 w 3773795"/>
                <a:gd name="connsiteY5656" fmla="*/ 767968 h 1451770"/>
                <a:gd name="connsiteX5657" fmla="*/ 392895 w 3773795"/>
                <a:gd name="connsiteY5657" fmla="*/ 771235 h 1451770"/>
                <a:gd name="connsiteX5658" fmla="*/ 394431 w 3773795"/>
                <a:gd name="connsiteY5658" fmla="*/ 771353 h 1451770"/>
                <a:gd name="connsiteX5659" fmla="*/ 398702 w 3773795"/>
                <a:gd name="connsiteY5659" fmla="*/ 768536 h 1451770"/>
                <a:gd name="connsiteX5660" fmla="*/ 406057 w 3773795"/>
                <a:gd name="connsiteY5660" fmla="*/ 766573 h 1451770"/>
                <a:gd name="connsiteX5661" fmla="*/ 408331 w 3773795"/>
                <a:gd name="connsiteY5661" fmla="*/ 763866 h 1451770"/>
                <a:gd name="connsiteX5662" fmla="*/ 408141 w 3773795"/>
                <a:gd name="connsiteY5662" fmla="*/ 761564 h 1451770"/>
                <a:gd name="connsiteX5663" fmla="*/ 406260 w 3773795"/>
                <a:gd name="connsiteY5663" fmla="*/ 757459 h 1451770"/>
                <a:gd name="connsiteX5664" fmla="*/ 405742 w 3773795"/>
                <a:gd name="connsiteY5664" fmla="*/ 753450 h 1451770"/>
                <a:gd name="connsiteX5665" fmla="*/ 403306 w 3773795"/>
                <a:gd name="connsiteY5665" fmla="*/ 751810 h 1451770"/>
                <a:gd name="connsiteX5666" fmla="*/ 401030 w 3773795"/>
                <a:gd name="connsiteY5666" fmla="*/ 750721 h 1451770"/>
                <a:gd name="connsiteX5667" fmla="*/ 394152 w 3773795"/>
                <a:gd name="connsiteY5667" fmla="*/ 751552 h 1451770"/>
                <a:gd name="connsiteX5668" fmla="*/ 391056 w 3773795"/>
                <a:gd name="connsiteY5668" fmla="*/ 751397 h 1451770"/>
                <a:gd name="connsiteX5669" fmla="*/ 388715 w 3773795"/>
                <a:gd name="connsiteY5669" fmla="*/ 750311 h 1451770"/>
                <a:gd name="connsiteX5670" fmla="*/ 385547 w 3773795"/>
                <a:gd name="connsiteY5670" fmla="*/ 747442 h 1451770"/>
                <a:gd name="connsiteX5671" fmla="*/ 379552 w 3773795"/>
                <a:gd name="connsiteY5671" fmla="*/ 740451 h 1451770"/>
                <a:gd name="connsiteX5672" fmla="*/ 376344 w 3773795"/>
                <a:gd name="connsiteY5672" fmla="*/ 738118 h 1451770"/>
                <a:gd name="connsiteX5673" fmla="*/ 375338 w 3773795"/>
                <a:gd name="connsiteY5673" fmla="*/ 736672 h 1451770"/>
                <a:gd name="connsiteX5674" fmla="*/ 374221 w 3773795"/>
                <a:gd name="connsiteY5674" fmla="*/ 734653 h 1451770"/>
                <a:gd name="connsiteX5675" fmla="*/ 374361 w 3773795"/>
                <a:gd name="connsiteY5675" fmla="*/ 731381 h 1451770"/>
                <a:gd name="connsiteX5676" fmla="*/ 376979 w 3773795"/>
                <a:gd name="connsiteY5676" fmla="*/ 731495 h 1451770"/>
                <a:gd name="connsiteX5677" fmla="*/ 379920 w 3773795"/>
                <a:gd name="connsiteY5677" fmla="*/ 729639 h 1451770"/>
                <a:gd name="connsiteX5678" fmla="*/ 382062 w 3773795"/>
                <a:gd name="connsiteY5678" fmla="*/ 722978 h 1451770"/>
                <a:gd name="connsiteX5679" fmla="*/ 385763 w 3773795"/>
                <a:gd name="connsiteY5679" fmla="*/ 722130 h 1451770"/>
                <a:gd name="connsiteX5680" fmla="*/ 387767 w 3773795"/>
                <a:gd name="connsiteY5680" fmla="*/ 722188 h 1451770"/>
                <a:gd name="connsiteX5681" fmla="*/ 396331 w 3773795"/>
                <a:gd name="connsiteY5681" fmla="*/ 725286 h 1451770"/>
                <a:gd name="connsiteX5682" fmla="*/ 406972 w 3773795"/>
                <a:gd name="connsiteY5682" fmla="*/ 733528 h 1451770"/>
                <a:gd name="connsiteX5683" fmla="*/ 409324 w 3773795"/>
                <a:gd name="connsiteY5683" fmla="*/ 734394 h 1451770"/>
                <a:gd name="connsiteX5684" fmla="*/ 411812 w 3773795"/>
                <a:gd name="connsiteY5684" fmla="*/ 734515 h 1451770"/>
                <a:gd name="connsiteX5685" fmla="*/ 415878 w 3773795"/>
                <a:gd name="connsiteY5685" fmla="*/ 734305 h 1451770"/>
                <a:gd name="connsiteX5686" fmla="*/ 416539 w 3773795"/>
                <a:gd name="connsiteY5686" fmla="*/ 735377 h 1451770"/>
                <a:gd name="connsiteX5687" fmla="*/ 418726 w 3773795"/>
                <a:gd name="connsiteY5687" fmla="*/ 736661 h 1451770"/>
                <a:gd name="connsiteX5688" fmla="*/ 420322 w 3773795"/>
                <a:gd name="connsiteY5688" fmla="*/ 736826 h 1451770"/>
                <a:gd name="connsiteX5689" fmla="*/ 430061 w 3773795"/>
                <a:gd name="connsiteY5689" fmla="*/ 739427 h 1451770"/>
                <a:gd name="connsiteX5690" fmla="*/ 441423 w 3773795"/>
                <a:gd name="connsiteY5690" fmla="*/ 744543 h 1451770"/>
                <a:gd name="connsiteX5691" fmla="*/ 445638 w 3773795"/>
                <a:gd name="connsiteY5691" fmla="*/ 744312 h 1451770"/>
                <a:gd name="connsiteX5692" fmla="*/ 447297 w 3773795"/>
                <a:gd name="connsiteY5692" fmla="*/ 741481 h 1451770"/>
                <a:gd name="connsiteX5693" fmla="*/ 447642 w 3773795"/>
                <a:gd name="connsiteY5693" fmla="*/ 740262 h 1451770"/>
                <a:gd name="connsiteX5694" fmla="*/ 452268 w 3773795"/>
                <a:gd name="connsiteY5694" fmla="*/ 737395 h 1451770"/>
                <a:gd name="connsiteX5695" fmla="*/ 455494 w 3773795"/>
                <a:gd name="connsiteY5695" fmla="*/ 736920 h 1451770"/>
                <a:gd name="connsiteX5696" fmla="*/ 460007 w 3773795"/>
                <a:gd name="connsiteY5696" fmla="*/ 737963 h 1451770"/>
                <a:gd name="connsiteX5697" fmla="*/ 460828 w 3773795"/>
                <a:gd name="connsiteY5697" fmla="*/ 737110 h 1451770"/>
                <a:gd name="connsiteX5698" fmla="*/ 459290 w 3773795"/>
                <a:gd name="connsiteY5698" fmla="*/ 732900 h 1451770"/>
                <a:gd name="connsiteX5699" fmla="*/ 457209 w 3773795"/>
                <a:gd name="connsiteY5699" fmla="*/ 729247 h 1451770"/>
                <a:gd name="connsiteX5700" fmla="*/ 454144 w 3773795"/>
                <a:gd name="connsiteY5700" fmla="*/ 726904 h 1451770"/>
                <a:gd name="connsiteX5701" fmla="*/ 448701 w 3773795"/>
                <a:gd name="connsiteY5701" fmla="*/ 720006 h 1451770"/>
                <a:gd name="connsiteX5702" fmla="*/ 446524 w 3773795"/>
                <a:gd name="connsiteY5702" fmla="*/ 716573 h 1451770"/>
                <a:gd name="connsiteX5703" fmla="*/ 445442 w 3773795"/>
                <a:gd name="connsiteY5703" fmla="*/ 713025 h 1451770"/>
                <a:gd name="connsiteX5704" fmla="*/ 446150 w 3773795"/>
                <a:gd name="connsiteY5704" fmla="*/ 709881 h 1451770"/>
                <a:gd name="connsiteX5705" fmla="*/ 446932 w 3773795"/>
                <a:gd name="connsiteY5705" fmla="*/ 707586 h 1451770"/>
                <a:gd name="connsiteX5706" fmla="*/ 458238 w 3773795"/>
                <a:gd name="connsiteY5706" fmla="*/ 701996 h 1451770"/>
                <a:gd name="connsiteX5707" fmla="*/ 462328 w 3773795"/>
                <a:gd name="connsiteY5707" fmla="*/ 698641 h 1451770"/>
                <a:gd name="connsiteX5708" fmla="*/ 466282 w 3773795"/>
                <a:gd name="connsiteY5708" fmla="*/ 694273 h 1451770"/>
                <a:gd name="connsiteX5709" fmla="*/ 468113 w 3773795"/>
                <a:gd name="connsiteY5709" fmla="*/ 693379 h 1451770"/>
                <a:gd name="connsiteX5710" fmla="*/ 474783 w 3773795"/>
                <a:gd name="connsiteY5710" fmla="*/ 692164 h 1451770"/>
                <a:gd name="connsiteX5711" fmla="*/ 483622 w 3773795"/>
                <a:gd name="connsiteY5711" fmla="*/ 688417 h 1451770"/>
                <a:gd name="connsiteX5712" fmla="*/ 490368 w 3773795"/>
                <a:gd name="connsiteY5712" fmla="*/ 683429 h 1451770"/>
                <a:gd name="connsiteX5713" fmla="*/ 497062 w 3773795"/>
                <a:gd name="connsiteY5713" fmla="*/ 675822 h 1451770"/>
                <a:gd name="connsiteX5714" fmla="*/ 499869 w 3773795"/>
                <a:gd name="connsiteY5714" fmla="*/ 673838 h 1451770"/>
                <a:gd name="connsiteX5715" fmla="*/ 502150 w 3773795"/>
                <a:gd name="connsiteY5715" fmla="*/ 674020 h 1451770"/>
                <a:gd name="connsiteX5716" fmla="*/ 505181 w 3773795"/>
                <a:gd name="connsiteY5716" fmla="*/ 675213 h 1451770"/>
                <a:gd name="connsiteX5717" fmla="*/ 508528 w 3773795"/>
                <a:gd name="connsiteY5717" fmla="*/ 677423 h 1451770"/>
                <a:gd name="connsiteX5718" fmla="*/ 513048 w 3773795"/>
                <a:gd name="connsiteY5718" fmla="*/ 677835 h 1451770"/>
                <a:gd name="connsiteX5719" fmla="*/ 517458 w 3773795"/>
                <a:gd name="connsiteY5719" fmla="*/ 677481 h 1451770"/>
                <a:gd name="connsiteX5720" fmla="*/ 522482 w 3773795"/>
                <a:gd name="connsiteY5720" fmla="*/ 677681 h 1451770"/>
                <a:gd name="connsiteX5721" fmla="*/ 529507 w 3773795"/>
                <a:gd name="connsiteY5721" fmla="*/ 681150 h 1451770"/>
                <a:gd name="connsiteX5722" fmla="*/ 530666 w 3773795"/>
                <a:gd name="connsiteY5722" fmla="*/ 682257 h 1451770"/>
                <a:gd name="connsiteX5723" fmla="*/ 531768 w 3773795"/>
                <a:gd name="connsiteY5723" fmla="*/ 683736 h 1451770"/>
                <a:gd name="connsiteX5724" fmla="*/ 529496 w 3773795"/>
                <a:gd name="connsiteY5724" fmla="*/ 686585 h 1451770"/>
                <a:gd name="connsiteX5725" fmla="*/ 529308 w 3773795"/>
                <a:gd name="connsiteY5725" fmla="*/ 688418 h 1451770"/>
                <a:gd name="connsiteX5726" fmla="*/ 531122 w 3773795"/>
                <a:gd name="connsiteY5726" fmla="*/ 687563 h 1451770"/>
                <a:gd name="connsiteX5727" fmla="*/ 533623 w 3773795"/>
                <a:gd name="connsiteY5727" fmla="*/ 687134 h 1451770"/>
                <a:gd name="connsiteX5728" fmla="*/ 535983 w 3773795"/>
                <a:gd name="connsiteY5728" fmla="*/ 687722 h 1451770"/>
                <a:gd name="connsiteX5729" fmla="*/ 538203 w 3773795"/>
                <a:gd name="connsiteY5729" fmla="*/ 689324 h 1451770"/>
                <a:gd name="connsiteX5730" fmla="*/ 539807 w 3773795"/>
                <a:gd name="connsiteY5730" fmla="*/ 691115 h 1451770"/>
                <a:gd name="connsiteX5731" fmla="*/ 541746 w 3773795"/>
                <a:gd name="connsiteY5731" fmla="*/ 692622 h 1451770"/>
                <a:gd name="connsiteX5732" fmla="*/ 542366 w 3773795"/>
                <a:gd name="connsiteY5732" fmla="*/ 690574 h 1451770"/>
                <a:gd name="connsiteX5733" fmla="*/ 542651 w 3773795"/>
                <a:gd name="connsiteY5733" fmla="*/ 688808 h 1451770"/>
                <a:gd name="connsiteX5734" fmla="*/ 541586 w 3773795"/>
                <a:gd name="connsiteY5734" fmla="*/ 684321 h 1451770"/>
                <a:gd name="connsiteX5735" fmla="*/ 544318 w 3773795"/>
                <a:gd name="connsiteY5735" fmla="*/ 677992 h 1451770"/>
                <a:gd name="connsiteX5736" fmla="*/ 546434 w 3773795"/>
                <a:gd name="connsiteY5736" fmla="*/ 675240 h 1451770"/>
                <a:gd name="connsiteX5737" fmla="*/ 550243 w 3773795"/>
                <a:gd name="connsiteY5737" fmla="*/ 668214 h 1451770"/>
                <a:gd name="connsiteX5738" fmla="*/ 549103 w 3773795"/>
                <a:gd name="connsiteY5738" fmla="*/ 663659 h 1451770"/>
                <a:gd name="connsiteX5739" fmla="*/ 548930 w 3773795"/>
                <a:gd name="connsiteY5739" fmla="*/ 658340 h 1451770"/>
                <a:gd name="connsiteX5740" fmla="*/ 548369 w 3773795"/>
                <a:gd name="connsiteY5740" fmla="*/ 655865 h 1451770"/>
                <a:gd name="connsiteX5741" fmla="*/ 545890 w 3773795"/>
                <a:gd name="connsiteY5741" fmla="*/ 652304 h 1451770"/>
                <a:gd name="connsiteX5742" fmla="*/ 541083 w 3773795"/>
                <a:gd name="connsiteY5742" fmla="*/ 649776 h 1451770"/>
                <a:gd name="connsiteX5743" fmla="*/ 536240 w 3773795"/>
                <a:gd name="connsiteY5743" fmla="*/ 648980 h 1451770"/>
                <a:gd name="connsiteX5744" fmla="*/ 534627 w 3773795"/>
                <a:gd name="connsiteY5744" fmla="*/ 646515 h 1451770"/>
                <a:gd name="connsiteX5745" fmla="*/ 534920 w 3773795"/>
                <a:gd name="connsiteY5745" fmla="*/ 643701 h 1451770"/>
                <a:gd name="connsiteX5746" fmla="*/ 536261 w 3773795"/>
                <a:gd name="connsiteY5746" fmla="*/ 639583 h 1451770"/>
                <a:gd name="connsiteX5747" fmla="*/ 540243 w 3773795"/>
                <a:gd name="connsiteY5747" fmla="*/ 630871 h 1451770"/>
                <a:gd name="connsiteX5748" fmla="*/ 544422 w 3773795"/>
                <a:gd name="connsiteY5748" fmla="*/ 618567 h 1451770"/>
                <a:gd name="connsiteX5749" fmla="*/ 544558 w 3773795"/>
                <a:gd name="connsiteY5749" fmla="*/ 615692 h 1451770"/>
                <a:gd name="connsiteX5750" fmla="*/ 544167 w 3773795"/>
                <a:gd name="connsiteY5750" fmla="*/ 614119 h 1451770"/>
                <a:gd name="connsiteX5751" fmla="*/ 544445 w 3773795"/>
                <a:gd name="connsiteY5751" fmla="*/ 612525 h 1451770"/>
                <a:gd name="connsiteX5752" fmla="*/ 543964 w 3773795"/>
                <a:gd name="connsiteY5752" fmla="*/ 608737 h 1451770"/>
                <a:gd name="connsiteX5753" fmla="*/ 543178 w 3773795"/>
                <a:gd name="connsiteY5753" fmla="*/ 605936 h 1451770"/>
                <a:gd name="connsiteX5754" fmla="*/ 526259 w 3773795"/>
                <a:gd name="connsiteY5754" fmla="*/ 595146 h 1451770"/>
                <a:gd name="connsiteX5755" fmla="*/ 525242 w 3773795"/>
                <a:gd name="connsiteY5755" fmla="*/ 594098 h 1451770"/>
                <a:gd name="connsiteX5756" fmla="*/ 524694 w 3773795"/>
                <a:gd name="connsiteY5756" fmla="*/ 592652 h 1451770"/>
                <a:gd name="connsiteX5757" fmla="*/ 526464 w 3773795"/>
                <a:gd name="connsiteY5757" fmla="*/ 592330 h 1451770"/>
                <a:gd name="connsiteX5758" fmla="*/ 527762 w 3773795"/>
                <a:gd name="connsiteY5758" fmla="*/ 592404 h 1451770"/>
                <a:gd name="connsiteX5759" fmla="*/ 540500 w 3773795"/>
                <a:gd name="connsiteY5759" fmla="*/ 597440 h 1451770"/>
                <a:gd name="connsiteX5760" fmla="*/ 543314 w 3773795"/>
                <a:gd name="connsiteY5760" fmla="*/ 597712 h 1451770"/>
                <a:gd name="connsiteX5761" fmla="*/ 563277 w 3773795"/>
                <a:gd name="connsiteY5761" fmla="*/ 596313 h 1451770"/>
                <a:gd name="connsiteX5762" fmla="*/ 573036 w 3773795"/>
                <a:gd name="connsiteY5762" fmla="*/ 597528 h 1451770"/>
                <a:gd name="connsiteX5763" fmla="*/ 581274 w 3773795"/>
                <a:gd name="connsiteY5763" fmla="*/ 600093 h 1451770"/>
                <a:gd name="connsiteX5764" fmla="*/ 587165 w 3773795"/>
                <a:gd name="connsiteY5764" fmla="*/ 607301 h 1451770"/>
                <a:gd name="connsiteX5765" fmla="*/ 593163 w 3773795"/>
                <a:gd name="connsiteY5765" fmla="*/ 613881 h 1451770"/>
                <a:gd name="connsiteX5766" fmla="*/ 598778 w 3773795"/>
                <a:gd name="connsiteY5766" fmla="*/ 619522 h 1451770"/>
                <a:gd name="connsiteX5767" fmla="*/ 598929 w 3773795"/>
                <a:gd name="connsiteY5767" fmla="*/ 624134 h 1451770"/>
                <a:gd name="connsiteX5768" fmla="*/ 593146 w 3773795"/>
                <a:gd name="connsiteY5768" fmla="*/ 625086 h 1451770"/>
                <a:gd name="connsiteX5769" fmla="*/ 587515 w 3773795"/>
                <a:gd name="connsiteY5769" fmla="*/ 625295 h 1451770"/>
                <a:gd name="connsiteX5770" fmla="*/ 573241 w 3773795"/>
                <a:gd name="connsiteY5770" fmla="*/ 627587 h 1451770"/>
                <a:gd name="connsiteX5771" fmla="*/ 569823 w 3773795"/>
                <a:gd name="connsiteY5771" fmla="*/ 630183 h 1451770"/>
                <a:gd name="connsiteX5772" fmla="*/ 560211 w 3773795"/>
                <a:gd name="connsiteY5772" fmla="*/ 638150 h 1451770"/>
                <a:gd name="connsiteX5773" fmla="*/ 559386 w 3773795"/>
                <a:gd name="connsiteY5773" fmla="*/ 640566 h 1451770"/>
                <a:gd name="connsiteX5774" fmla="*/ 560211 w 3773795"/>
                <a:gd name="connsiteY5774" fmla="*/ 642907 h 1451770"/>
                <a:gd name="connsiteX5775" fmla="*/ 564621 w 3773795"/>
                <a:gd name="connsiteY5775" fmla="*/ 645383 h 1451770"/>
                <a:gd name="connsiteX5776" fmla="*/ 573982 w 3773795"/>
                <a:gd name="connsiteY5776" fmla="*/ 649093 h 1451770"/>
                <a:gd name="connsiteX5777" fmla="*/ 578190 w 3773795"/>
                <a:gd name="connsiteY5777" fmla="*/ 656425 h 1451770"/>
                <a:gd name="connsiteX5778" fmla="*/ 581127 w 3773795"/>
                <a:gd name="connsiteY5778" fmla="*/ 660076 h 1451770"/>
                <a:gd name="connsiteX5779" fmla="*/ 583353 w 3773795"/>
                <a:gd name="connsiteY5779" fmla="*/ 661486 h 1451770"/>
                <a:gd name="connsiteX5780" fmla="*/ 585519 w 3773795"/>
                <a:gd name="connsiteY5780" fmla="*/ 661844 h 1451770"/>
                <a:gd name="connsiteX5781" fmla="*/ 590246 w 3773795"/>
                <a:gd name="connsiteY5781" fmla="*/ 661869 h 1451770"/>
                <a:gd name="connsiteX5782" fmla="*/ 593580 w 3773795"/>
                <a:gd name="connsiteY5782" fmla="*/ 662754 h 1451770"/>
                <a:gd name="connsiteX5783" fmla="*/ 594550 w 3773795"/>
                <a:gd name="connsiteY5783" fmla="*/ 663452 h 1451770"/>
                <a:gd name="connsiteX5784" fmla="*/ 595876 w 3773795"/>
                <a:gd name="connsiteY5784" fmla="*/ 662754 h 1451770"/>
                <a:gd name="connsiteX5785" fmla="*/ 598938 w 3773795"/>
                <a:gd name="connsiteY5785" fmla="*/ 662511 h 1451770"/>
                <a:gd name="connsiteX5786" fmla="*/ 616752 w 3773795"/>
                <a:gd name="connsiteY5786" fmla="*/ 658634 h 1451770"/>
                <a:gd name="connsiteX5787" fmla="*/ 620277 w 3773795"/>
                <a:gd name="connsiteY5787" fmla="*/ 656918 h 1451770"/>
                <a:gd name="connsiteX5788" fmla="*/ 621454 w 3773795"/>
                <a:gd name="connsiteY5788" fmla="*/ 654343 h 1451770"/>
                <a:gd name="connsiteX5789" fmla="*/ 622758 w 3773795"/>
                <a:gd name="connsiteY5789" fmla="*/ 645724 h 1451770"/>
                <a:gd name="connsiteX5790" fmla="*/ 624332 w 3773795"/>
                <a:gd name="connsiteY5790" fmla="*/ 642722 h 1451770"/>
                <a:gd name="connsiteX5791" fmla="*/ 625856 w 3773795"/>
                <a:gd name="connsiteY5791" fmla="*/ 639005 h 1451770"/>
                <a:gd name="connsiteX5792" fmla="*/ 625291 w 3773795"/>
                <a:gd name="connsiteY5792" fmla="*/ 636724 h 1451770"/>
                <a:gd name="connsiteX5793" fmla="*/ 625116 w 3773795"/>
                <a:gd name="connsiteY5793" fmla="*/ 634132 h 1451770"/>
                <a:gd name="connsiteX5794" fmla="*/ 634049 w 3773795"/>
                <a:gd name="connsiteY5794" fmla="*/ 631635 h 1451770"/>
                <a:gd name="connsiteX5795" fmla="*/ 642343 w 3773795"/>
                <a:gd name="connsiteY5795" fmla="*/ 629941 h 1451770"/>
                <a:gd name="connsiteX5796" fmla="*/ 646310 w 3773795"/>
                <a:gd name="connsiteY5796" fmla="*/ 630461 h 1451770"/>
                <a:gd name="connsiteX5797" fmla="*/ 647299 w 3773795"/>
                <a:gd name="connsiteY5797" fmla="*/ 628579 h 1451770"/>
                <a:gd name="connsiteX5798" fmla="*/ 644751 w 3773795"/>
                <a:gd name="connsiteY5798" fmla="*/ 624961 h 1451770"/>
                <a:gd name="connsiteX5799" fmla="*/ 643270 w 3773795"/>
                <a:gd name="connsiteY5799" fmla="*/ 623172 h 1451770"/>
                <a:gd name="connsiteX5800" fmla="*/ 644565 w 3773795"/>
                <a:gd name="connsiteY5800" fmla="*/ 622349 h 1451770"/>
                <a:gd name="connsiteX5801" fmla="*/ 646474 w 3773795"/>
                <a:gd name="connsiteY5801" fmla="*/ 623342 h 1451770"/>
                <a:gd name="connsiteX5802" fmla="*/ 648979 w 3773795"/>
                <a:gd name="connsiteY5802" fmla="*/ 623946 h 1451770"/>
                <a:gd name="connsiteX5803" fmla="*/ 653432 w 3773795"/>
                <a:gd name="connsiteY5803" fmla="*/ 623317 h 1451770"/>
                <a:gd name="connsiteX5804" fmla="*/ 670591 w 3773795"/>
                <a:gd name="connsiteY5804" fmla="*/ 615924 h 1451770"/>
                <a:gd name="connsiteX5805" fmla="*/ 677267 w 3773795"/>
                <a:gd name="connsiteY5805" fmla="*/ 611729 h 1451770"/>
                <a:gd name="connsiteX5806" fmla="*/ 681266 w 3773795"/>
                <a:gd name="connsiteY5806" fmla="*/ 610088 h 1451770"/>
                <a:gd name="connsiteX5807" fmla="*/ 687576 w 3773795"/>
                <a:gd name="connsiteY5807" fmla="*/ 606294 h 1451770"/>
                <a:gd name="connsiteX5808" fmla="*/ 690660 w 3773795"/>
                <a:gd name="connsiteY5808" fmla="*/ 605062 h 1451770"/>
                <a:gd name="connsiteX5809" fmla="*/ 695959 w 3773795"/>
                <a:gd name="connsiteY5809" fmla="*/ 604550 h 1451770"/>
                <a:gd name="connsiteX5810" fmla="*/ 701655 w 3773795"/>
                <a:gd name="connsiteY5810" fmla="*/ 603053 h 1451770"/>
                <a:gd name="connsiteX5811" fmla="*/ 707859 w 3773795"/>
                <a:gd name="connsiteY5811" fmla="*/ 600222 h 1451770"/>
                <a:gd name="connsiteX5812" fmla="*/ 716218 w 3773795"/>
                <a:gd name="connsiteY5812" fmla="*/ 597826 h 1451770"/>
                <a:gd name="connsiteX5813" fmla="*/ 717566 w 3773795"/>
                <a:gd name="connsiteY5813" fmla="*/ 597729 h 1451770"/>
                <a:gd name="connsiteX5814" fmla="*/ 719183 w 3773795"/>
                <a:gd name="connsiteY5814" fmla="*/ 598085 h 1451770"/>
                <a:gd name="connsiteX5815" fmla="*/ 722644 w 3773795"/>
                <a:gd name="connsiteY5815" fmla="*/ 600872 h 1451770"/>
                <a:gd name="connsiteX5816" fmla="*/ 721364 w 3773795"/>
                <a:gd name="connsiteY5816" fmla="*/ 602434 h 1451770"/>
                <a:gd name="connsiteX5817" fmla="*/ 720392 w 3773795"/>
                <a:gd name="connsiteY5817" fmla="*/ 604131 h 1451770"/>
                <a:gd name="connsiteX5818" fmla="*/ 722066 w 3773795"/>
                <a:gd name="connsiteY5818" fmla="*/ 605024 h 1451770"/>
                <a:gd name="connsiteX5819" fmla="*/ 723461 w 3773795"/>
                <a:gd name="connsiteY5819" fmla="*/ 605454 h 1451770"/>
                <a:gd name="connsiteX5820" fmla="*/ 725106 w 3773795"/>
                <a:gd name="connsiteY5820" fmla="*/ 604994 h 1451770"/>
                <a:gd name="connsiteX5821" fmla="*/ 726838 w 3773795"/>
                <a:gd name="connsiteY5821" fmla="*/ 603831 h 1451770"/>
                <a:gd name="connsiteX5822" fmla="*/ 731144 w 3773795"/>
                <a:gd name="connsiteY5822" fmla="*/ 602122 h 1451770"/>
                <a:gd name="connsiteX5823" fmla="*/ 732314 w 3773795"/>
                <a:gd name="connsiteY5823" fmla="*/ 599927 h 1451770"/>
                <a:gd name="connsiteX5824" fmla="*/ 730656 w 3773795"/>
                <a:gd name="connsiteY5824" fmla="*/ 599078 h 1451770"/>
                <a:gd name="connsiteX5825" fmla="*/ 728499 w 3773795"/>
                <a:gd name="connsiteY5825" fmla="*/ 595765 h 1451770"/>
                <a:gd name="connsiteX5826" fmla="*/ 725955 w 3773795"/>
                <a:gd name="connsiteY5826" fmla="*/ 595082 h 1451770"/>
                <a:gd name="connsiteX5827" fmla="*/ 723942 w 3773795"/>
                <a:gd name="connsiteY5827" fmla="*/ 595161 h 1451770"/>
                <a:gd name="connsiteX5828" fmla="*/ 731450 w 3773795"/>
                <a:gd name="connsiteY5828" fmla="*/ 590425 h 1451770"/>
                <a:gd name="connsiteX5829" fmla="*/ 747577 w 3773795"/>
                <a:gd name="connsiteY5829" fmla="*/ 583424 h 1451770"/>
                <a:gd name="connsiteX5830" fmla="*/ 756180 w 3773795"/>
                <a:gd name="connsiteY5830" fmla="*/ 580198 h 1451770"/>
                <a:gd name="connsiteX5831" fmla="*/ 764668 w 3773795"/>
                <a:gd name="connsiteY5831" fmla="*/ 579910 h 1451770"/>
                <a:gd name="connsiteX5832" fmla="*/ 771421 w 3773795"/>
                <a:gd name="connsiteY5832" fmla="*/ 580336 h 1451770"/>
                <a:gd name="connsiteX5833" fmla="*/ 768879 w 3773795"/>
                <a:gd name="connsiteY5833" fmla="*/ 581404 h 1451770"/>
                <a:gd name="connsiteX5834" fmla="*/ 757782 w 3773795"/>
                <a:gd name="connsiteY5834" fmla="*/ 582880 h 1451770"/>
                <a:gd name="connsiteX5835" fmla="*/ 756085 w 3773795"/>
                <a:gd name="connsiteY5835" fmla="*/ 583620 h 1451770"/>
                <a:gd name="connsiteX5836" fmla="*/ 756098 w 3773795"/>
                <a:gd name="connsiteY5836" fmla="*/ 584502 h 1451770"/>
                <a:gd name="connsiteX5837" fmla="*/ 758780 w 3773795"/>
                <a:gd name="connsiteY5837" fmla="*/ 585021 h 1451770"/>
                <a:gd name="connsiteX5838" fmla="*/ 759909 w 3773795"/>
                <a:gd name="connsiteY5838" fmla="*/ 586062 h 1451770"/>
                <a:gd name="connsiteX5839" fmla="*/ 758996 w 3773795"/>
                <a:gd name="connsiteY5839" fmla="*/ 587314 h 1451770"/>
                <a:gd name="connsiteX5840" fmla="*/ 758153 w 3773795"/>
                <a:gd name="connsiteY5840" fmla="*/ 587714 h 1451770"/>
                <a:gd name="connsiteX5841" fmla="*/ 756886 w 3773795"/>
                <a:gd name="connsiteY5841" fmla="*/ 591283 h 1451770"/>
                <a:gd name="connsiteX5842" fmla="*/ 755228 w 3773795"/>
                <a:gd name="connsiteY5842" fmla="*/ 594168 h 1451770"/>
                <a:gd name="connsiteX5843" fmla="*/ 758739 w 3773795"/>
                <a:gd name="connsiteY5843" fmla="*/ 597896 h 1451770"/>
                <a:gd name="connsiteX5844" fmla="*/ 759030 w 3773795"/>
                <a:gd name="connsiteY5844" fmla="*/ 601785 h 1451770"/>
                <a:gd name="connsiteX5845" fmla="*/ 756789 w 3773795"/>
                <a:gd name="connsiteY5845" fmla="*/ 603810 h 1451770"/>
                <a:gd name="connsiteX5846" fmla="*/ 753705 w 3773795"/>
                <a:gd name="connsiteY5846" fmla="*/ 603049 h 1451770"/>
                <a:gd name="connsiteX5847" fmla="*/ 750978 w 3773795"/>
                <a:gd name="connsiteY5847" fmla="*/ 604406 h 1451770"/>
                <a:gd name="connsiteX5848" fmla="*/ 746022 w 3773795"/>
                <a:gd name="connsiteY5848" fmla="*/ 605319 h 1451770"/>
                <a:gd name="connsiteX5849" fmla="*/ 744934 w 3773795"/>
                <a:gd name="connsiteY5849" fmla="*/ 606525 h 1451770"/>
                <a:gd name="connsiteX5850" fmla="*/ 744208 w 3773795"/>
                <a:gd name="connsiteY5850" fmla="*/ 608213 h 1451770"/>
                <a:gd name="connsiteX5851" fmla="*/ 747361 w 3773795"/>
                <a:gd name="connsiteY5851" fmla="*/ 608620 h 1451770"/>
                <a:gd name="connsiteX5852" fmla="*/ 749838 w 3773795"/>
                <a:gd name="connsiteY5852" fmla="*/ 608512 h 1451770"/>
                <a:gd name="connsiteX5853" fmla="*/ 758650 w 3773795"/>
                <a:gd name="connsiteY5853" fmla="*/ 609598 h 1451770"/>
                <a:gd name="connsiteX5854" fmla="*/ 759849 w 3773795"/>
                <a:gd name="connsiteY5854" fmla="*/ 609746 h 1451770"/>
                <a:gd name="connsiteX5855" fmla="*/ 762753 w 3773795"/>
                <a:gd name="connsiteY5855" fmla="*/ 608536 h 1451770"/>
                <a:gd name="connsiteX5856" fmla="*/ 765709 w 3773795"/>
                <a:gd name="connsiteY5856" fmla="*/ 608258 h 1451770"/>
                <a:gd name="connsiteX5857" fmla="*/ 769270 w 3773795"/>
                <a:gd name="connsiteY5857" fmla="*/ 607922 h 1451770"/>
                <a:gd name="connsiteX5858" fmla="*/ 771088 w 3773795"/>
                <a:gd name="connsiteY5858" fmla="*/ 607195 h 1451770"/>
                <a:gd name="connsiteX5859" fmla="*/ 772969 w 3773795"/>
                <a:gd name="connsiteY5859" fmla="*/ 608001 h 1451770"/>
                <a:gd name="connsiteX5860" fmla="*/ 776435 w 3773795"/>
                <a:gd name="connsiteY5860" fmla="*/ 611392 h 1451770"/>
                <a:gd name="connsiteX5861" fmla="*/ 779605 w 3773795"/>
                <a:gd name="connsiteY5861" fmla="*/ 610718 h 1451770"/>
                <a:gd name="connsiteX5862" fmla="*/ 780969 w 3773795"/>
                <a:gd name="connsiteY5862" fmla="*/ 604148 h 1451770"/>
                <a:gd name="connsiteX5863" fmla="*/ 786007 w 3773795"/>
                <a:gd name="connsiteY5863" fmla="*/ 600080 h 1451770"/>
                <a:gd name="connsiteX5864" fmla="*/ 791915 w 3773795"/>
                <a:gd name="connsiteY5864" fmla="*/ 596711 h 1451770"/>
                <a:gd name="connsiteX5865" fmla="*/ 797603 w 3773795"/>
                <a:gd name="connsiteY5865" fmla="*/ 596401 h 1451770"/>
                <a:gd name="connsiteX5866" fmla="*/ 803116 w 3773795"/>
                <a:gd name="connsiteY5866" fmla="*/ 594040 h 1451770"/>
                <a:gd name="connsiteX5867" fmla="*/ 805749 w 3773795"/>
                <a:gd name="connsiteY5867" fmla="*/ 593595 h 1451770"/>
                <a:gd name="connsiteX5868" fmla="*/ 810879 w 3773795"/>
                <a:gd name="connsiteY5868" fmla="*/ 594549 h 1451770"/>
                <a:gd name="connsiteX5869" fmla="*/ 818497 w 3773795"/>
                <a:gd name="connsiteY5869" fmla="*/ 594742 h 1451770"/>
                <a:gd name="connsiteX5870" fmla="*/ 824892 w 3773795"/>
                <a:gd name="connsiteY5870" fmla="*/ 596754 h 1451770"/>
                <a:gd name="connsiteX5871" fmla="*/ 829700 w 3773795"/>
                <a:gd name="connsiteY5871" fmla="*/ 597242 h 1451770"/>
                <a:gd name="connsiteX5872" fmla="*/ 836721 w 3773795"/>
                <a:gd name="connsiteY5872" fmla="*/ 593878 h 1451770"/>
                <a:gd name="connsiteX5873" fmla="*/ 852834 w 3773795"/>
                <a:gd name="connsiteY5873" fmla="*/ 584305 h 1451770"/>
                <a:gd name="connsiteX5874" fmla="*/ 854248 w 3773795"/>
                <a:gd name="connsiteY5874" fmla="*/ 586462 h 1451770"/>
                <a:gd name="connsiteX5875" fmla="*/ 856833 w 3773795"/>
                <a:gd name="connsiteY5875" fmla="*/ 583282 h 1451770"/>
                <a:gd name="connsiteX5876" fmla="*/ 869327 w 3773795"/>
                <a:gd name="connsiteY5876" fmla="*/ 579891 h 1451770"/>
                <a:gd name="connsiteX5877" fmla="*/ 872387 w 3773795"/>
                <a:gd name="connsiteY5877" fmla="*/ 579804 h 1451770"/>
                <a:gd name="connsiteX5878" fmla="*/ 872443 w 3773795"/>
                <a:gd name="connsiteY5878" fmla="*/ 581101 h 1451770"/>
                <a:gd name="connsiteX5879" fmla="*/ 873555 w 3773795"/>
                <a:gd name="connsiteY5879" fmla="*/ 584053 h 1451770"/>
                <a:gd name="connsiteX5880" fmla="*/ 875993 w 3773795"/>
                <a:gd name="connsiteY5880" fmla="*/ 585857 h 1451770"/>
                <a:gd name="connsiteX5881" fmla="*/ 879312 w 3773795"/>
                <a:gd name="connsiteY5881" fmla="*/ 590148 h 1451770"/>
                <a:gd name="connsiteX5882" fmla="*/ 877717 w 3773795"/>
                <a:gd name="connsiteY5882" fmla="*/ 591302 h 1451770"/>
                <a:gd name="connsiteX5883" fmla="*/ 876041 w 3773795"/>
                <a:gd name="connsiteY5883" fmla="*/ 591962 h 1451770"/>
                <a:gd name="connsiteX5884" fmla="*/ 873603 w 3773795"/>
                <a:gd name="connsiteY5884" fmla="*/ 594847 h 1451770"/>
                <a:gd name="connsiteX5885" fmla="*/ 873309 w 3773795"/>
                <a:gd name="connsiteY5885" fmla="*/ 601448 h 1451770"/>
                <a:gd name="connsiteX5886" fmla="*/ 877991 w 3773795"/>
                <a:gd name="connsiteY5886" fmla="*/ 603135 h 1451770"/>
                <a:gd name="connsiteX5887" fmla="*/ 884482 w 3773795"/>
                <a:gd name="connsiteY5887" fmla="*/ 605017 h 1451770"/>
                <a:gd name="connsiteX5888" fmla="*/ 887166 w 3773795"/>
                <a:gd name="connsiteY5888" fmla="*/ 604998 h 1451770"/>
                <a:gd name="connsiteX5889" fmla="*/ 889418 w 3773795"/>
                <a:gd name="connsiteY5889" fmla="*/ 603900 h 1451770"/>
                <a:gd name="connsiteX5890" fmla="*/ 890109 w 3773795"/>
                <a:gd name="connsiteY5890" fmla="*/ 603298 h 1451770"/>
                <a:gd name="connsiteX5891" fmla="*/ 890962 w 3773795"/>
                <a:gd name="connsiteY5891" fmla="*/ 602307 h 1451770"/>
                <a:gd name="connsiteX5892" fmla="*/ 891526 w 3773795"/>
                <a:gd name="connsiteY5892" fmla="*/ 600414 h 1451770"/>
                <a:gd name="connsiteX5893" fmla="*/ 891936 w 3773795"/>
                <a:gd name="connsiteY5893" fmla="*/ 598912 h 1451770"/>
                <a:gd name="connsiteX5894" fmla="*/ 890250 w 3773795"/>
                <a:gd name="connsiteY5894" fmla="*/ 595285 h 1451770"/>
                <a:gd name="connsiteX5895" fmla="*/ 890932 w 3773795"/>
                <a:gd name="connsiteY5895" fmla="*/ 591383 h 1451770"/>
                <a:gd name="connsiteX5896" fmla="*/ 896775 w 3773795"/>
                <a:gd name="connsiteY5896" fmla="*/ 591646 h 1451770"/>
                <a:gd name="connsiteX5897" fmla="*/ 904048 w 3773795"/>
                <a:gd name="connsiteY5897" fmla="*/ 590511 h 1451770"/>
                <a:gd name="connsiteX5898" fmla="*/ 907332 w 3773795"/>
                <a:gd name="connsiteY5898" fmla="*/ 588273 h 1451770"/>
                <a:gd name="connsiteX5899" fmla="*/ 911256 w 3773795"/>
                <a:gd name="connsiteY5899" fmla="*/ 584094 h 1451770"/>
                <a:gd name="connsiteX5900" fmla="*/ 913875 w 3773795"/>
                <a:gd name="connsiteY5900" fmla="*/ 580551 h 1451770"/>
                <a:gd name="connsiteX5901" fmla="*/ 912217 w 3773795"/>
                <a:gd name="connsiteY5901" fmla="*/ 574392 h 1451770"/>
                <a:gd name="connsiteX5902" fmla="*/ 907926 w 3773795"/>
                <a:gd name="connsiteY5902" fmla="*/ 575762 h 1451770"/>
                <a:gd name="connsiteX5903" fmla="*/ 900690 w 3773795"/>
                <a:gd name="connsiteY5903" fmla="*/ 562249 h 1451770"/>
                <a:gd name="connsiteX5904" fmla="*/ 897004 w 3773795"/>
                <a:gd name="connsiteY5904" fmla="*/ 557006 h 1451770"/>
                <a:gd name="connsiteX5905" fmla="*/ 899345 w 3773795"/>
                <a:gd name="connsiteY5905" fmla="*/ 554585 h 1451770"/>
                <a:gd name="connsiteX5906" fmla="*/ 905585 w 3773795"/>
                <a:gd name="connsiteY5906" fmla="*/ 553025 h 1451770"/>
                <a:gd name="connsiteX5907" fmla="*/ 911208 w 3773795"/>
                <a:gd name="connsiteY5907" fmla="*/ 547957 h 1451770"/>
                <a:gd name="connsiteX5908" fmla="*/ 913333 w 3773795"/>
                <a:gd name="connsiteY5908" fmla="*/ 546934 h 1451770"/>
                <a:gd name="connsiteX5909" fmla="*/ 915696 w 3773795"/>
                <a:gd name="connsiteY5909" fmla="*/ 546763 h 1451770"/>
                <a:gd name="connsiteX5910" fmla="*/ 932382 w 3773795"/>
                <a:gd name="connsiteY5910" fmla="*/ 550245 h 1451770"/>
                <a:gd name="connsiteX5911" fmla="*/ 951414 w 3773795"/>
                <a:gd name="connsiteY5911" fmla="*/ 551029 h 1451770"/>
                <a:gd name="connsiteX5912" fmla="*/ 967560 w 3773795"/>
                <a:gd name="connsiteY5912" fmla="*/ 553695 h 1451770"/>
                <a:gd name="connsiteX5913" fmla="*/ 985891 w 3773795"/>
                <a:gd name="connsiteY5913" fmla="*/ 559211 h 1451770"/>
                <a:gd name="connsiteX5914" fmla="*/ 994775 w 3773795"/>
                <a:gd name="connsiteY5914" fmla="*/ 563085 h 1451770"/>
                <a:gd name="connsiteX5915" fmla="*/ 1002211 w 3773795"/>
                <a:gd name="connsiteY5915" fmla="*/ 567390 h 1451770"/>
                <a:gd name="connsiteX5916" fmla="*/ 1001499 w 3773795"/>
                <a:gd name="connsiteY5916" fmla="*/ 570413 h 1451770"/>
                <a:gd name="connsiteX5917" fmla="*/ 1004490 w 3773795"/>
                <a:gd name="connsiteY5917" fmla="*/ 569556 h 1451770"/>
                <a:gd name="connsiteX5918" fmla="*/ 1011017 w 3773795"/>
                <a:gd name="connsiteY5918" fmla="*/ 572221 h 1451770"/>
                <a:gd name="connsiteX5919" fmla="*/ 1015466 w 3773795"/>
                <a:gd name="connsiteY5919" fmla="*/ 573307 h 1451770"/>
                <a:gd name="connsiteX5920" fmla="*/ 1020061 w 3773795"/>
                <a:gd name="connsiteY5920" fmla="*/ 574905 h 1451770"/>
                <a:gd name="connsiteX5921" fmla="*/ 1021762 w 3773795"/>
                <a:gd name="connsiteY5921" fmla="*/ 577053 h 1451770"/>
                <a:gd name="connsiteX5922" fmla="*/ 1027779 w 3773795"/>
                <a:gd name="connsiteY5922" fmla="*/ 578630 h 1451770"/>
                <a:gd name="connsiteX5923" fmla="*/ 1033989 w 3773795"/>
                <a:gd name="connsiteY5923" fmla="*/ 581536 h 1451770"/>
                <a:gd name="connsiteX5924" fmla="*/ 1035105 w 3773795"/>
                <a:gd name="connsiteY5924" fmla="*/ 582058 h 1451770"/>
                <a:gd name="connsiteX5925" fmla="*/ 1042631 w 3773795"/>
                <a:gd name="connsiteY5925" fmla="*/ 584219 h 1451770"/>
                <a:gd name="connsiteX5926" fmla="*/ 1048071 w 3773795"/>
                <a:gd name="connsiteY5926" fmla="*/ 584930 h 1451770"/>
                <a:gd name="connsiteX5927" fmla="*/ 1051316 w 3773795"/>
                <a:gd name="connsiteY5927" fmla="*/ 589548 h 1451770"/>
                <a:gd name="connsiteX5928" fmla="*/ 1062160 w 3773795"/>
                <a:gd name="connsiteY5928" fmla="*/ 596270 h 1451770"/>
                <a:gd name="connsiteX5929" fmla="*/ 1064175 w 3773795"/>
                <a:gd name="connsiteY5929" fmla="*/ 598790 h 1451770"/>
                <a:gd name="connsiteX5930" fmla="*/ 1073599 w 3773795"/>
                <a:gd name="connsiteY5930" fmla="*/ 603006 h 1451770"/>
                <a:gd name="connsiteX5931" fmla="*/ 1078336 w 3773795"/>
                <a:gd name="connsiteY5931" fmla="*/ 606426 h 1451770"/>
                <a:gd name="connsiteX5932" fmla="*/ 1081277 w 3773795"/>
                <a:gd name="connsiteY5932" fmla="*/ 605120 h 1451770"/>
                <a:gd name="connsiteX5933" fmla="*/ 1088470 w 3773795"/>
                <a:gd name="connsiteY5933" fmla="*/ 596726 h 1451770"/>
                <a:gd name="connsiteX5934" fmla="*/ 1092778 w 3773795"/>
                <a:gd name="connsiteY5934" fmla="*/ 587078 h 1451770"/>
                <a:gd name="connsiteX5935" fmla="*/ 1095348 w 3773795"/>
                <a:gd name="connsiteY5935" fmla="*/ 581950 h 1451770"/>
                <a:gd name="connsiteX5936" fmla="*/ 1090569 w 3773795"/>
                <a:gd name="connsiteY5936" fmla="*/ 581735 h 1451770"/>
                <a:gd name="connsiteX5937" fmla="*/ 1086998 w 3773795"/>
                <a:gd name="connsiteY5937" fmla="*/ 583237 h 1451770"/>
                <a:gd name="connsiteX5938" fmla="*/ 1084713 w 3773795"/>
                <a:gd name="connsiteY5938" fmla="*/ 582850 h 1451770"/>
                <a:gd name="connsiteX5939" fmla="*/ 1082131 w 3773795"/>
                <a:gd name="connsiteY5939" fmla="*/ 581313 h 1451770"/>
                <a:gd name="connsiteX5940" fmla="*/ 1077980 w 3773795"/>
                <a:gd name="connsiteY5940" fmla="*/ 577418 h 1451770"/>
                <a:gd name="connsiteX5941" fmla="*/ 1072724 w 3773795"/>
                <a:gd name="connsiteY5941" fmla="*/ 570864 h 1451770"/>
                <a:gd name="connsiteX5942" fmla="*/ 1071744 w 3773795"/>
                <a:gd name="connsiteY5942" fmla="*/ 563665 h 1451770"/>
                <a:gd name="connsiteX5943" fmla="*/ 1070258 w 3773795"/>
                <a:gd name="connsiteY5943" fmla="*/ 561350 h 1451770"/>
                <a:gd name="connsiteX5944" fmla="*/ 1065138 w 3773795"/>
                <a:gd name="connsiteY5944" fmla="*/ 559394 h 1451770"/>
                <a:gd name="connsiteX5945" fmla="*/ 1061817 w 3773795"/>
                <a:gd name="connsiteY5945" fmla="*/ 557261 h 1451770"/>
                <a:gd name="connsiteX5946" fmla="*/ 1049441 w 3773795"/>
                <a:gd name="connsiteY5946" fmla="*/ 552972 h 1451770"/>
                <a:gd name="connsiteX5947" fmla="*/ 1047222 w 3773795"/>
                <a:gd name="connsiteY5947" fmla="*/ 554470 h 1451770"/>
                <a:gd name="connsiteX5948" fmla="*/ 1046561 w 3773795"/>
                <a:gd name="connsiteY5948" fmla="*/ 556780 h 1451770"/>
                <a:gd name="connsiteX5949" fmla="*/ 1045732 w 3773795"/>
                <a:gd name="connsiteY5949" fmla="*/ 558461 h 1451770"/>
                <a:gd name="connsiteX5950" fmla="*/ 1044484 w 3773795"/>
                <a:gd name="connsiteY5950" fmla="*/ 556290 h 1451770"/>
                <a:gd name="connsiteX5951" fmla="*/ 1043682 w 3773795"/>
                <a:gd name="connsiteY5951" fmla="*/ 554326 h 1451770"/>
                <a:gd name="connsiteX5952" fmla="*/ 1043659 w 3773795"/>
                <a:gd name="connsiteY5952" fmla="*/ 551146 h 1451770"/>
                <a:gd name="connsiteX5953" fmla="*/ 1044306 w 3773795"/>
                <a:gd name="connsiteY5953" fmla="*/ 547128 h 1451770"/>
                <a:gd name="connsiteX5954" fmla="*/ 1046388 w 3773795"/>
                <a:gd name="connsiteY5954" fmla="*/ 540334 h 1451770"/>
                <a:gd name="connsiteX5955" fmla="*/ 1049543 w 3773795"/>
                <a:gd name="connsiteY5955" fmla="*/ 540676 h 1451770"/>
                <a:gd name="connsiteX5956" fmla="*/ 1051210 w 3773795"/>
                <a:gd name="connsiteY5956" fmla="*/ 539687 h 1451770"/>
                <a:gd name="connsiteX5957" fmla="*/ 1053307 w 3773795"/>
                <a:gd name="connsiteY5957" fmla="*/ 536620 h 1451770"/>
                <a:gd name="connsiteX5958" fmla="*/ 1052383 w 3773795"/>
                <a:gd name="connsiteY5958" fmla="*/ 534099 h 1451770"/>
                <a:gd name="connsiteX5959" fmla="*/ 1051256 w 3773795"/>
                <a:gd name="connsiteY5959" fmla="*/ 532182 h 1451770"/>
                <a:gd name="connsiteX5960" fmla="*/ 1051484 w 3773795"/>
                <a:gd name="connsiteY5960" fmla="*/ 529192 h 1451770"/>
                <a:gd name="connsiteX5961" fmla="*/ 1053475 w 3773795"/>
                <a:gd name="connsiteY5961" fmla="*/ 521020 h 1451770"/>
                <a:gd name="connsiteX5962" fmla="*/ 1054313 w 3773795"/>
                <a:gd name="connsiteY5962" fmla="*/ 511460 h 1451770"/>
                <a:gd name="connsiteX5963" fmla="*/ 1052694 w 3773795"/>
                <a:gd name="connsiteY5963" fmla="*/ 509061 h 1451770"/>
                <a:gd name="connsiteX5964" fmla="*/ 1051186 w 3773795"/>
                <a:gd name="connsiteY5964" fmla="*/ 507488 h 1451770"/>
                <a:gd name="connsiteX5965" fmla="*/ 1044091 w 3773795"/>
                <a:gd name="connsiteY5965" fmla="*/ 509104 h 1451770"/>
                <a:gd name="connsiteX5966" fmla="*/ 1041433 w 3773795"/>
                <a:gd name="connsiteY5966" fmla="*/ 508254 h 1451770"/>
                <a:gd name="connsiteX5967" fmla="*/ 1040834 w 3773795"/>
                <a:gd name="connsiteY5967" fmla="*/ 506395 h 1451770"/>
                <a:gd name="connsiteX5968" fmla="*/ 1040633 w 3773795"/>
                <a:gd name="connsiteY5968" fmla="*/ 504949 h 1451770"/>
                <a:gd name="connsiteX5969" fmla="*/ 1042683 w 3773795"/>
                <a:gd name="connsiteY5969" fmla="*/ 502458 h 1451770"/>
                <a:gd name="connsiteX5970" fmla="*/ 1044635 w 3773795"/>
                <a:gd name="connsiteY5970" fmla="*/ 498364 h 1451770"/>
                <a:gd name="connsiteX5971" fmla="*/ 1041219 w 3773795"/>
                <a:gd name="connsiteY5971" fmla="*/ 499254 h 1451770"/>
                <a:gd name="connsiteX5972" fmla="*/ 1040048 w 3773795"/>
                <a:gd name="connsiteY5972" fmla="*/ 497649 h 1451770"/>
                <a:gd name="connsiteX5973" fmla="*/ 1042888 w 3773795"/>
                <a:gd name="connsiteY5973" fmla="*/ 495281 h 1451770"/>
                <a:gd name="connsiteX5974" fmla="*/ 1046194 w 3773795"/>
                <a:gd name="connsiteY5974" fmla="*/ 489501 h 1451770"/>
                <a:gd name="connsiteX5975" fmla="*/ 1054080 w 3773795"/>
                <a:gd name="connsiteY5975" fmla="*/ 486839 h 1451770"/>
                <a:gd name="connsiteX5976" fmla="*/ 1059997 w 3773795"/>
                <a:gd name="connsiteY5976" fmla="*/ 484227 h 1451770"/>
                <a:gd name="connsiteX5977" fmla="*/ 1069230 w 3773795"/>
                <a:gd name="connsiteY5977" fmla="*/ 478663 h 1451770"/>
                <a:gd name="connsiteX5978" fmla="*/ 1076082 w 3773795"/>
                <a:gd name="connsiteY5978" fmla="*/ 473162 h 1451770"/>
                <a:gd name="connsiteX5979" fmla="*/ 1080509 w 3773795"/>
                <a:gd name="connsiteY5979" fmla="*/ 466189 h 1451770"/>
                <a:gd name="connsiteX5980" fmla="*/ 1083560 w 3773795"/>
                <a:gd name="connsiteY5980" fmla="*/ 459592 h 1451770"/>
                <a:gd name="connsiteX5981" fmla="*/ 1088475 w 3773795"/>
                <a:gd name="connsiteY5981" fmla="*/ 443889 h 1451770"/>
                <a:gd name="connsiteX5982" fmla="*/ 1093104 w 3773795"/>
                <a:gd name="connsiteY5982" fmla="*/ 432265 h 1451770"/>
                <a:gd name="connsiteX5983" fmla="*/ 1100895 w 3773795"/>
                <a:gd name="connsiteY5983" fmla="*/ 420264 h 1451770"/>
                <a:gd name="connsiteX5984" fmla="*/ 1105769 w 3773795"/>
                <a:gd name="connsiteY5984" fmla="*/ 419150 h 1451770"/>
                <a:gd name="connsiteX5985" fmla="*/ 1107594 w 3773795"/>
                <a:gd name="connsiteY5985" fmla="*/ 419336 h 1451770"/>
                <a:gd name="connsiteX5986" fmla="*/ 1107918 w 3773795"/>
                <a:gd name="connsiteY5986" fmla="*/ 420227 h 1451770"/>
                <a:gd name="connsiteX5987" fmla="*/ 1106808 w 3773795"/>
                <a:gd name="connsiteY5987" fmla="*/ 421262 h 1451770"/>
                <a:gd name="connsiteX5988" fmla="*/ 1106505 w 3773795"/>
                <a:gd name="connsiteY5988" fmla="*/ 422706 h 1451770"/>
                <a:gd name="connsiteX5989" fmla="*/ 1108566 w 3773795"/>
                <a:gd name="connsiteY5989" fmla="*/ 423236 h 1451770"/>
                <a:gd name="connsiteX5990" fmla="*/ 1111865 w 3773795"/>
                <a:gd name="connsiteY5990" fmla="*/ 423337 h 1451770"/>
                <a:gd name="connsiteX5991" fmla="*/ 1118160 w 3773795"/>
                <a:gd name="connsiteY5991" fmla="*/ 422554 h 1451770"/>
                <a:gd name="connsiteX5992" fmla="*/ 1128844 w 3773795"/>
                <a:gd name="connsiteY5992" fmla="*/ 423008 h 1451770"/>
                <a:gd name="connsiteX5993" fmla="*/ 1147525 w 3773795"/>
                <a:gd name="connsiteY5993" fmla="*/ 422028 h 1451770"/>
                <a:gd name="connsiteX5994" fmla="*/ 1150108 w 3773795"/>
                <a:gd name="connsiteY5994" fmla="*/ 422515 h 1451770"/>
                <a:gd name="connsiteX5995" fmla="*/ 1157020 w 3773795"/>
                <a:gd name="connsiteY5995" fmla="*/ 425982 h 1451770"/>
                <a:gd name="connsiteX5996" fmla="*/ 1160810 w 3773795"/>
                <a:gd name="connsiteY5996" fmla="*/ 425590 h 1451770"/>
                <a:gd name="connsiteX5997" fmla="*/ 1168448 w 3773795"/>
                <a:gd name="connsiteY5997" fmla="*/ 427215 h 1451770"/>
                <a:gd name="connsiteX5998" fmla="*/ 1172591 w 3773795"/>
                <a:gd name="connsiteY5998" fmla="*/ 429140 h 1451770"/>
                <a:gd name="connsiteX5999" fmla="*/ 1176534 w 3773795"/>
                <a:gd name="connsiteY5999" fmla="*/ 431365 h 1451770"/>
                <a:gd name="connsiteX6000" fmla="*/ 1175988 w 3773795"/>
                <a:gd name="connsiteY6000" fmla="*/ 440081 h 1451770"/>
                <a:gd name="connsiteX6001" fmla="*/ 1175226 w 3773795"/>
                <a:gd name="connsiteY6001" fmla="*/ 445902 h 1451770"/>
                <a:gd name="connsiteX6002" fmla="*/ 1172384 w 3773795"/>
                <a:gd name="connsiteY6002" fmla="*/ 456836 h 1451770"/>
                <a:gd name="connsiteX6003" fmla="*/ 1171272 w 3773795"/>
                <a:gd name="connsiteY6003" fmla="*/ 459600 h 1451770"/>
                <a:gd name="connsiteX6004" fmla="*/ 1166869 w 3773795"/>
                <a:gd name="connsiteY6004" fmla="*/ 467464 h 1451770"/>
                <a:gd name="connsiteX6005" fmla="*/ 1164757 w 3773795"/>
                <a:gd name="connsiteY6005" fmla="*/ 472641 h 1451770"/>
                <a:gd name="connsiteX6006" fmla="*/ 1161445 w 3773795"/>
                <a:gd name="connsiteY6006" fmla="*/ 476177 h 1451770"/>
                <a:gd name="connsiteX6007" fmla="*/ 1156631 w 3773795"/>
                <a:gd name="connsiteY6007" fmla="*/ 478680 h 1451770"/>
                <a:gd name="connsiteX6008" fmla="*/ 1156020 w 3773795"/>
                <a:gd name="connsiteY6008" fmla="*/ 480174 h 1451770"/>
                <a:gd name="connsiteX6009" fmla="*/ 1155642 w 3773795"/>
                <a:gd name="connsiteY6009" fmla="*/ 482378 h 1451770"/>
                <a:gd name="connsiteX6010" fmla="*/ 1160330 w 3773795"/>
                <a:gd name="connsiteY6010" fmla="*/ 488513 h 1451770"/>
                <a:gd name="connsiteX6011" fmla="*/ 1171432 w 3773795"/>
                <a:gd name="connsiteY6011" fmla="*/ 494826 h 1451770"/>
                <a:gd name="connsiteX6012" fmla="*/ 1174155 w 3773795"/>
                <a:gd name="connsiteY6012" fmla="*/ 502423 h 1451770"/>
                <a:gd name="connsiteX6013" fmla="*/ 1174755 w 3773795"/>
                <a:gd name="connsiteY6013" fmla="*/ 508079 h 1451770"/>
                <a:gd name="connsiteX6014" fmla="*/ 1174055 w 3773795"/>
                <a:gd name="connsiteY6014" fmla="*/ 522728 h 1451770"/>
                <a:gd name="connsiteX6015" fmla="*/ 1173023 w 3773795"/>
                <a:gd name="connsiteY6015" fmla="*/ 524879 h 1451770"/>
                <a:gd name="connsiteX6016" fmla="*/ 1171002 w 3773795"/>
                <a:gd name="connsiteY6016" fmla="*/ 527185 h 1451770"/>
                <a:gd name="connsiteX6017" fmla="*/ 1168957 w 3773795"/>
                <a:gd name="connsiteY6017" fmla="*/ 529995 h 1451770"/>
                <a:gd name="connsiteX6018" fmla="*/ 1170289 w 3773795"/>
                <a:gd name="connsiteY6018" fmla="*/ 534064 h 1451770"/>
                <a:gd name="connsiteX6019" fmla="*/ 1171831 w 3773795"/>
                <a:gd name="connsiteY6019" fmla="*/ 549058 h 1451770"/>
                <a:gd name="connsiteX6020" fmla="*/ 1172190 w 3773795"/>
                <a:gd name="connsiteY6020" fmla="*/ 561193 h 1451770"/>
                <a:gd name="connsiteX6021" fmla="*/ 1170901 w 3773795"/>
                <a:gd name="connsiteY6021" fmla="*/ 565321 h 1451770"/>
                <a:gd name="connsiteX6022" fmla="*/ 1170231 w 3773795"/>
                <a:gd name="connsiteY6022" fmla="*/ 574053 h 1451770"/>
                <a:gd name="connsiteX6023" fmla="*/ 1170238 w 3773795"/>
                <a:gd name="connsiteY6023" fmla="*/ 576916 h 1451770"/>
                <a:gd name="connsiteX6024" fmla="*/ 1171330 w 3773795"/>
                <a:gd name="connsiteY6024" fmla="*/ 581251 h 1451770"/>
                <a:gd name="connsiteX6025" fmla="*/ 1173576 w 3773795"/>
                <a:gd name="connsiteY6025" fmla="*/ 584881 h 1451770"/>
                <a:gd name="connsiteX6026" fmla="*/ 1176530 w 3773795"/>
                <a:gd name="connsiteY6026" fmla="*/ 587184 h 1451770"/>
                <a:gd name="connsiteX6027" fmla="*/ 1184906 w 3773795"/>
                <a:gd name="connsiteY6027" fmla="*/ 591366 h 1451770"/>
                <a:gd name="connsiteX6028" fmla="*/ 1192807 w 3773795"/>
                <a:gd name="connsiteY6028" fmla="*/ 596454 h 1451770"/>
                <a:gd name="connsiteX6029" fmla="*/ 1193369 w 3773795"/>
                <a:gd name="connsiteY6029" fmla="*/ 598063 h 1451770"/>
                <a:gd name="connsiteX6030" fmla="*/ 1193773 w 3773795"/>
                <a:gd name="connsiteY6030" fmla="*/ 600009 h 1451770"/>
                <a:gd name="connsiteX6031" fmla="*/ 1190977 w 3773795"/>
                <a:gd name="connsiteY6031" fmla="*/ 601969 h 1451770"/>
                <a:gd name="connsiteX6032" fmla="*/ 1186580 w 3773795"/>
                <a:gd name="connsiteY6032" fmla="*/ 607182 h 1451770"/>
                <a:gd name="connsiteX6033" fmla="*/ 1183773 w 3773795"/>
                <a:gd name="connsiteY6033" fmla="*/ 611499 h 1451770"/>
                <a:gd name="connsiteX6034" fmla="*/ 1183550 w 3773795"/>
                <a:gd name="connsiteY6034" fmla="*/ 614944 h 1451770"/>
                <a:gd name="connsiteX6035" fmla="*/ 1184516 w 3773795"/>
                <a:gd name="connsiteY6035" fmla="*/ 619424 h 1451770"/>
                <a:gd name="connsiteX6036" fmla="*/ 1184053 w 3773795"/>
                <a:gd name="connsiteY6036" fmla="*/ 623520 h 1451770"/>
                <a:gd name="connsiteX6037" fmla="*/ 1182166 w 3773795"/>
                <a:gd name="connsiteY6037" fmla="*/ 627233 h 1451770"/>
                <a:gd name="connsiteX6038" fmla="*/ 1179555 w 3773795"/>
                <a:gd name="connsiteY6038" fmla="*/ 629905 h 1451770"/>
                <a:gd name="connsiteX6039" fmla="*/ 1171719 w 3773795"/>
                <a:gd name="connsiteY6039" fmla="*/ 634027 h 1451770"/>
                <a:gd name="connsiteX6040" fmla="*/ 1155204 w 3773795"/>
                <a:gd name="connsiteY6040" fmla="*/ 655737 h 1451770"/>
                <a:gd name="connsiteX6041" fmla="*/ 1151239 w 3773795"/>
                <a:gd name="connsiteY6041" fmla="*/ 658267 h 1451770"/>
                <a:gd name="connsiteX6042" fmla="*/ 1144541 w 3773795"/>
                <a:gd name="connsiteY6042" fmla="*/ 657454 h 1451770"/>
                <a:gd name="connsiteX6043" fmla="*/ 1146392 w 3773795"/>
                <a:gd name="connsiteY6043" fmla="*/ 660527 h 1451770"/>
                <a:gd name="connsiteX6044" fmla="*/ 1148652 w 3773795"/>
                <a:gd name="connsiteY6044" fmla="*/ 664927 h 1451770"/>
                <a:gd name="connsiteX6045" fmla="*/ 1148395 w 3773795"/>
                <a:gd name="connsiteY6045" fmla="*/ 667794 h 1451770"/>
                <a:gd name="connsiteX6046" fmla="*/ 1144027 w 3773795"/>
                <a:gd name="connsiteY6046" fmla="*/ 667660 h 1451770"/>
                <a:gd name="connsiteX6047" fmla="*/ 1137916 w 3773795"/>
                <a:gd name="connsiteY6047" fmla="*/ 670704 h 1451770"/>
                <a:gd name="connsiteX6048" fmla="*/ 1135126 w 3773795"/>
                <a:gd name="connsiteY6048" fmla="*/ 672787 h 1451770"/>
                <a:gd name="connsiteX6049" fmla="*/ 1130382 w 3773795"/>
                <a:gd name="connsiteY6049" fmla="*/ 673847 h 1451770"/>
                <a:gd name="connsiteX6050" fmla="*/ 1126767 w 3773795"/>
                <a:gd name="connsiteY6050" fmla="*/ 672767 h 1451770"/>
                <a:gd name="connsiteX6051" fmla="*/ 1122818 w 3773795"/>
                <a:gd name="connsiteY6051" fmla="*/ 670778 h 1451770"/>
                <a:gd name="connsiteX6052" fmla="*/ 1123394 w 3773795"/>
                <a:gd name="connsiteY6052" fmla="*/ 669109 h 1451770"/>
                <a:gd name="connsiteX6053" fmla="*/ 1124139 w 3773795"/>
                <a:gd name="connsiteY6053" fmla="*/ 668344 h 1451770"/>
                <a:gd name="connsiteX6054" fmla="*/ 1126912 w 3773795"/>
                <a:gd name="connsiteY6054" fmla="*/ 667135 h 1451770"/>
                <a:gd name="connsiteX6055" fmla="*/ 1129626 w 3773795"/>
                <a:gd name="connsiteY6055" fmla="*/ 665488 h 1451770"/>
                <a:gd name="connsiteX6056" fmla="*/ 1128300 w 3773795"/>
                <a:gd name="connsiteY6056" fmla="*/ 665159 h 1451770"/>
                <a:gd name="connsiteX6057" fmla="*/ 1127158 w 3773795"/>
                <a:gd name="connsiteY6057" fmla="*/ 665175 h 1451770"/>
                <a:gd name="connsiteX6058" fmla="*/ 1124169 w 3773795"/>
                <a:gd name="connsiteY6058" fmla="*/ 667268 h 1451770"/>
                <a:gd name="connsiteX6059" fmla="*/ 1120619 w 3773795"/>
                <a:gd name="connsiteY6059" fmla="*/ 667695 h 1451770"/>
                <a:gd name="connsiteX6060" fmla="*/ 1116426 w 3773795"/>
                <a:gd name="connsiteY6060" fmla="*/ 665153 h 1451770"/>
                <a:gd name="connsiteX6061" fmla="*/ 1113217 w 3773795"/>
                <a:gd name="connsiteY6061" fmla="*/ 662346 h 1451770"/>
                <a:gd name="connsiteX6062" fmla="*/ 1111636 w 3773795"/>
                <a:gd name="connsiteY6062" fmla="*/ 661771 h 1451770"/>
                <a:gd name="connsiteX6063" fmla="*/ 1108613 w 3773795"/>
                <a:gd name="connsiteY6063" fmla="*/ 662917 h 1451770"/>
                <a:gd name="connsiteX6064" fmla="*/ 1097056 w 3773795"/>
                <a:gd name="connsiteY6064" fmla="*/ 662397 h 1451770"/>
                <a:gd name="connsiteX6065" fmla="*/ 1093981 w 3773795"/>
                <a:gd name="connsiteY6065" fmla="*/ 662869 h 1451770"/>
                <a:gd name="connsiteX6066" fmla="*/ 1092538 w 3773795"/>
                <a:gd name="connsiteY6066" fmla="*/ 663893 h 1451770"/>
                <a:gd name="connsiteX6067" fmla="*/ 1093372 w 3773795"/>
                <a:gd name="connsiteY6067" fmla="*/ 664708 h 1451770"/>
                <a:gd name="connsiteX6068" fmla="*/ 1094255 w 3773795"/>
                <a:gd name="connsiteY6068" fmla="*/ 666294 h 1451770"/>
                <a:gd name="connsiteX6069" fmla="*/ 1095423 w 3773795"/>
                <a:gd name="connsiteY6069" fmla="*/ 669363 h 1451770"/>
                <a:gd name="connsiteX6070" fmla="*/ 1096538 w 3773795"/>
                <a:gd name="connsiteY6070" fmla="*/ 671659 h 1451770"/>
                <a:gd name="connsiteX6071" fmla="*/ 1101351 w 3773795"/>
                <a:gd name="connsiteY6071" fmla="*/ 674168 h 1451770"/>
                <a:gd name="connsiteX6072" fmla="*/ 1107741 w 3773795"/>
                <a:gd name="connsiteY6072" fmla="*/ 675134 h 1451770"/>
                <a:gd name="connsiteX6073" fmla="*/ 1113964 w 3773795"/>
                <a:gd name="connsiteY6073" fmla="*/ 678201 h 1451770"/>
                <a:gd name="connsiteX6074" fmla="*/ 1121859 w 3773795"/>
                <a:gd name="connsiteY6074" fmla="*/ 680374 h 1451770"/>
                <a:gd name="connsiteX6075" fmla="*/ 1139682 w 3773795"/>
                <a:gd name="connsiteY6075" fmla="*/ 679481 h 1451770"/>
                <a:gd name="connsiteX6076" fmla="*/ 1144381 w 3773795"/>
                <a:gd name="connsiteY6076" fmla="*/ 679747 h 1451770"/>
                <a:gd name="connsiteX6077" fmla="*/ 1148972 w 3773795"/>
                <a:gd name="connsiteY6077" fmla="*/ 680693 h 1451770"/>
                <a:gd name="connsiteX6078" fmla="*/ 1156741 w 3773795"/>
                <a:gd name="connsiteY6078" fmla="*/ 683892 h 1451770"/>
                <a:gd name="connsiteX6079" fmla="*/ 1160071 w 3773795"/>
                <a:gd name="connsiteY6079" fmla="*/ 683650 h 1451770"/>
                <a:gd name="connsiteX6080" fmla="*/ 1165688 w 3773795"/>
                <a:gd name="connsiteY6080" fmla="*/ 680752 h 1451770"/>
                <a:gd name="connsiteX6081" fmla="*/ 1167068 w 3773795"/>
                <a:gd name="connsiteY6081" fmla="*/ 674323 h 1451770"/>
                <a:gd name="connsiteX6082" fmla="*/ 1167806 w 3773795"/>
                <a:gd name="connsiteY6082" fmla="*/ 672319 h 1451770"/>
                <a:gd name="connsiteX6083" fmla="*/ 1188243 w 3773795"/>
                <a:gd name="connsiteY6083" fmla="*/ 663206 h 1451770"/>
                <a:gd name="connsiteX6084" fmla="*/ 1192045 w 3773795"/>
                <a:gd name="connsiteY6084" fmla="*/ 661191 h 1451770"/>
                <a:gd name="connsiteX6085" fmla="*/ 1198204 w 3773795"/>
                <a:gd name="connsiteY6085" fmla="*/ 656196 h 1451770"/>
                <a:gd name="connsiteX6086" fmla="*/ 1200221 w 3773795"/>
                <a:gd name="connsiteY6086" fmla="*/ 652853 h 1451770"/>
                <a:gd name="connsiteX6087" fmla="*/ 1202497 w 3773795"/>
                <a:gd name="connsiteY6087" fmla="*/ 643773 h 1451770"/>
                <a:gd name="connsiteX6088" fmla="*/ 1204449 w 3773795"/>
                <a:gd name="connsiteY6088" fmla="*/ 640530 h 1451770"/>
                <a:gd name="connsiteX6089" fmla="*/ 1217751 w 3773795"/>
                <a:gd name="connsiteY6089" fmla="*/ 629966 h 1451770"/>
                <a:gd name="connsiteX6090" fmla="*/ 1219817 w 3773795"/>
                <a:gd name="connsiteY6090" fmla="*/ 627255 h 1451770"/>
                <a:gd name="connsiteX6091" fmla="*/ 1220210 w 3773795"/>
                <a:gd name="connsiteY6091" fmla="*/ 622290 h 1451770"/>
                <a:gd name="connsiteX6092" fmla="*/ 1220009 w 3773795"/>
                <a:gd name="connsiteY6092" fmla="*/ 618934 h 1451770"/>
                <a:gd name="connsiteX6093" fmla="*/ 1219223 w 3773795"/>
                <a:gd name="connsiteY6093" fmla="*/ 615605 h 1451770"/>
                <a:gd name="connsiteX6094" fmla="*/ 1216785 w 3773795"/>
                <a:gd name="connsiteY6094" fmla="*/ 610090 h 1451770"/>
                <a:gd name="connsiteX6095" fmla="*/ 1214105 w 3773795"/>
                <a:gd name="connsiteY6095" fmla="*/ 606853 h 1451770"/>
                <a:gd name="connsiteX6096" fmla="*/ 1211456 w 3773795"/>
                <a:gd name="connsiteY6096" fmla="*/ 602357 h 1451770"/>
                <a:gd name="connsiteX6097" fmla="*/ 1213436 w 3773795"/>
                <a:gd name="connsiteY6097" fmla="*/ 593210 h 1451770"/>
                <a:gd name="connsiteX6098" fmla="*/ 1215617 w 3773795"/>
                <a:gd name="connsiteY6098" fmla="*/ 589653 h 1451770"/>
                <a:gd name="connsiteX6099" fmla="*/ 1227669 w 3773795"/>
                <a:gd name="connsiteY6099" fmla="*/ 585389 h 1451770"/>
                <a:gd name="connsiteX6100" fmla="*/ 1237950 w 3773795"/>
                <a:gd name="connsiteY6100" fmla="*/ 583864 h 1451770"/>
                <a:gd name="connsiteX6101" fmla="*/ 1249403 w 3773795"/>
                <a:gd name="connsiteY6101" fmla="*/ 580979 h 1451770"/>
                <a:gd name="connsiteX6102" fmla="*/ 1254013 w 3773795"/>
                <a:gd name="connsiteY6102" fmla="*/ 580368 h 1451770"/>
                <a:gd name="connsiteX6103" fmla="*/ 1257179 w 3773795"/>
                <a:gd name="connsiteY6103" fmla="*/ 580880 h 1451770"/>
                <a:gd name="connsiteX6104" fmla="*/ 1260420 w 3773795"/>
                <a:gd name="connsiteY6104" fmla="*/ 584002 h 1451770"/>
                <a:gd name="connsiteX6105" fmla="*/ 1263279 w 3773795"/>
                <a:gd name="connsiteY6105" fmla="*/ 588663 h 1451770"/>
                <a:gd name="connsiteX6106" fmla="*/ 1271608 w 3773795"/>
                <a:gd name="connsiteY6106" fmla="*/ 595621 h 1451770"/>
                <a:gd name="connsiteX6107" fmla="*/ 1274411 w 3773795"/>
                <a:gd name="connsiteY6107" fmla="*/ 600481 h 1451770"/>
                <a:gd name="connsiteX6108" fmla="*/ 1274909 w 3773795"/>
                <a:gd name="connsiteY6108" fmla="*/ 606376 h 1451770"/>
                <a:gd name="connsiteX6109" fmla="*/ 1274631 w 3773795"/>
                <a:gd name="connsiteY6109" fmla="*/ 620639 h 1451770"/>
                <a:gd name="connsiteX6110" fmla="*/ 1272994 w 3773795"/>
                <a:gd name="connsiteY6110" fmla="*/ 626795 h 1451770"/>
                <a:gd name="connsiteX6111" fmla="*/ 1276326 w 3773795"/>
                <a:gd name="connsiteY6111" fmla="*/ 628416 h 1451770"/>
                <a:gd name="connsiteX6112" fmla="*/ 1277885 w 3773795"/>
                <a:gd name="connsiteY6112" fmla="*/ 629812 h 1451770"/>
                <a:gd name="connsiteX6113" fmla="*/ 1281945 w 3773795"/>
                <a:gd name="connsiteY6113" fmla="*/ 631878 h 1451770"/>
                <a:gd name="connsiteX6114" fmla="*/ 1284065 w 3773795"/>
                <a:gd name="connsiteY6114" fmla="*/ 633927 h 1451770"/>
                <a:gd name="connsiteX6115" fmla="*/ 1286199 w 3773795"/>
                <a:gd name="connsiteY6115" fmla="*/ 634656 h 1451770"/>
                <a:gd name="connsiteX6116" fmla="*/ 1290930 w 3773795"/>
                <a:gd name="connsiteY6116" fmla="*/ 635073 h 1451770"/>
                <a:gd name="connsiteX6117" fmla="*/ 1304286 w 3773795"/>
                <a:gd name="connsiteY6117" fmla="*/ 634347 h 1451770"/>
                <a:gd name="connsiteX6118" fmla="*/ 1311647 w 3773795"/>
                <a:gd name="connsiteY6118" fmla="*/ 633946 h 1451770"/>
                <a:gd name="connsiteX6119" fmla="*/ 1310876 w 3773795"/>
                <a:gd name="connsiteY6119" fmla="*/ 633040 h 1451770"/>
                <a:gd name="connsiteX6120" fmla="*/ 1309803 w 3773795"/>
                <a:gd name="connsiteY6120" fmla="*/ 632359 h 1451770"/>
                <a:gd name="connsiteX6121" fmla="*/ 1303612 w 3773795"/>
                <a:gd name="connsiteY6121" fmla="*/ 632061 h 1451770"/>
                <a:gd name="connsiteX6122" fmla="*/ 1294815 w 3773795"/>
                <a:gd name="connsiteY6122" fmla="*/ 630579 h 1451770"/>
                <a:gd name="connsiteX6123" fmla="*/ 1282145 w 3773795"/>
                <a:gd name="connsiteY6123" fmla="*/ 627802 h 1451770"/>
                <a:gd name="connsiteX6124" fmla="*/ 1280639 w 3773795"/>
                <a:gd name="connsiteY6124" fmla="*/ 621830 h 1451770"/>
                <a:gd name="connsiteX6125" fmla="*/ 1280988 w 3773795"/>
                <a:gd name="connsiteY6125" fmla="*/ 618109 h 1451770"/>
                <a:gd name="connsiteX6126" fmla="*/ 1283838 w 3773795"/>
                <a:gd name="connsiteY6126" fmla="*/ 611155 h 1451770"/>
                <a:gd name="connsiteX6127" fmla="*/ 1285873 w 3773795"/>
                <a:gd name="connsiteY6127" fmla="*/ 609935 h 1451770"/>
                <a:gd name="connsiteX6128" fmla="*/ 1288337 w 3773795"/>
                <a:gd name="connsiteY6128" fmla="*/ 609464 h 1451770"/>
                <a:gd name="connsiteX6129" fmla="*/ 1291142 w 3773795"/>
                <a:gd name="connsiteY6129" fmla="*/ 608519 h 1451770"/>
                <a:gd name="connsiteX6130" fmla="*/ 1290336 w 3773795"/>
                <a:gd name="connsiteY6130" fmla="*/ 604025 h 1451770"/>
                <a:gd name="connsiteX6131" fmla="*/ 1289190 w 3773795"/>
                <a:gd name="connsiteY6131" fmla="*/ 599994 h 1451770"/>
                <a:gd name="connsiteX6132" fmla="*/ 1286501 w 3773795"/>
                <a:gd name="connsiteY6132" fmla="*/ 594303 h 1451770"/>
                <a:gd name="connsiteX6133" fmla="*/ 1283526 w 3773795"/>
                <a:gd name="connsiteY6133" fmla="*/ 583792 h 1451770"/>
                <a:gd name="connsiteX6134" fmla="*/ 1279449 w 3773795"/>
                <a:gd name="connsiteY6134" fmla="*/ 583711 h 1451770"/>
                <a:gd name="connsiteX6135" fmla="*/ 1276397 w 3773795"/>
                <a:gd name="connsiteY6135" fmla="*/ 581640 h 1451770"/>
                <a:gd name="connsiteX6136" fmla="*/ 1261286 w 3773795"/>
                <a:gd name="connsiteY6136" fmla="*/ 575485 h 1451770"/>
                <a:gd name="connsiteX6137" fmla="*/ 1247047 w 3773795"/>
                <a:gd name="connsiteY6137" fmla="*/ 570910 h 1451770"/>
                <a:gd name="connsiteX6138" fmla="*/ 1237321 w 3773795"/>
                <a:gd name="connsiteY6138" fmla="*/ 570257 h 1451770"/>
                <a:gd name="connsiteX6139" fmla="*/ 1234201 w 3773795"/>
                <a:gd name="connsiteY6139" fmla="*/ 570771 h 1451770"/>
                <a:gd name="connsiteX6140" fmla="*/ 1226097 w 3773795"/>
                <a:gd name="connsiteY6140" fmla="*/ 575527 h 1451770"/>
                <a:gd name="connsiteX6141" fmla="*/ 1220819 w 3773795"/>
                <a:gd name="connsiteY6141" fmla="*/ 576526 h 1451770"/>
                <a:gd name="connsiteX6142" fmla="*/ 1210819 w 3773795"/>
                <a:gd name="connsiteY6142" fmla="*/ 574429 h 1451770"/>
                <a:gd name="connsiteX6143" fmla="*/ 1202302 w 3773795"/>
                <a:gd name="connsiteY6143" fmla="*/ 575591 h 1451770"/>
                <a:gd name="connsiteX6144" fmla="*/ 1199176 w 3773795"/>
                <a:gd name="connsiteY6144" fmla="*/ 574482 h 1451770"/>
                <a:gd name="connsiteX6145" fmla="*/ 1197841 w 3773795"/>
                <a:gd name="connsiteY6145" fmla="*/ 572342 h 1451770"/>
                <a:gd name="connsiteX6146" fmla="*/ 1200389 w 3773795"/>
                <a:gd name="connsiteY6146" fmla="*/ 563776 h 1451770"/>
                <a:gd name="connsiteX6147" fmla="*/ 1199102 w 3773795"/>
                <a:gd name="connsiteY6147" fmla="*/ 560415 h 1451770"/>
                <a:gd name="connsiteX6148" fmla="*/ 1195356 w 3773795"/>
                <a:gd name="connsiteY6148" fmla="*/ 555980 h 1451770"/>
                <a:gd name="connsiteX6149" fmla="*/ 1193075 w 3773795"/>
                <a:gd name="connsiteY6149" fmla="*/ 552440 h 1451770"/>
                <a:gd name="connsiteX6150" fmla="*/ 1193473 w 3773795"/>
                <a:gd name="connsiteY6150" fmla="*/ 548673 h 1451770"/>
                <a:gd name="connsiteX6151" fmla="*/ 1199046 w 3773795"/>
                <a:gd name="connsiteY6151" fmla="*/ 533938 h 1451770"/>
                <a:gd name="connsiteX6152" fmla="*/ 1201417 w 3773795"/>
                <a:gd name="connsiteY6152" fmla="*/ 530078 h 1451770"/>
                <a:gd name="connsiteX6153" fmla="*/ 1207372 w 3773795"/>
                <a:gd name="connsiteY6153" fmla="*/ 523202 h 1451770"/>
                <a:gd name="connsiteX6154" fmla="*/ 1210394 w 3773795"/>
                <a:gd name="connsiteY6154" fmla="*/ 517876 h 1451770"/>
                <a:gd name="connsiteX6155" fmla="*/ 1209677 w 3773795"/>
                <a:gd name="connsiteY6155" fmla="*/ 514876 h 1451770"/>
                <a:gd name="connsiteX6156" fmla="*/ 1196865 w 3773795"/>
                <a:gd name="connsiteY6156" fmla="*/ 498162 h 1451770"/>
                <a:gd name="connsiteX6157" fmla="*/ 1193438 w 3773795"/>
                <a:gd name="connsiteY6157" fmla="*/ 492175 h 1451770"/>
                <a:gd name="connsiteX6158" fmla="*/ 1191905 w 3773795"/>
                <a:gd name="connsiteY6158" fmla="*/ 490267 h 1451770"/>
                <a:gd name="connsiteX6159" fmla="*/ 1188765 w 3773795"/>
                <a:gd name="connsiteY6159" fmla="*/ 487981 h 1451770"/>
                <a:gd name="connsiteX6160" fmla="*/ 1184017 w 3773795"/>
                <a:gd name="connsiteY6160" fmla="*/ 485319 h 1451770"/>
                <a:gd name="connsiteX6161" fmla="*/ 1182596 w 3773795"/>
                <a:gd name="connsiteY6161" fmla="*/ 482886 h 1451770"/>
                <a:gd name="connsiteX6162" fmla="*/ 1195543 w 3773795"/>
                <a:gd name="connsiteY6162" fmla="*/ 466500 h 1451770"/>
                <a:gd name="connsiteX6163" fmla="*/ 1201462 w 3773795"/>
                <a:gd name="connsiteY6163" fmla="*/ 463632 h 1451770"/>
                <a:gd name="connsiteX6164" fmla="*/ 1209683 w 3773795"/>
                <a:gd name="connsiteY6164" fmla="*/ 461858 h 1451770"/>
                <a:gd name="connsiteX6165" fmla="*/ 1213615 w 3773795"/>
                <a:gd name="connsiteY6165" fmla="*/ 460240 h 1451770"/>
                <a:gd name="connsiteX6166" fmla="*/ 1220582 w 3773795"/>
                <a:gd name="connsiteY6166" fmla="*/ 456921 h 1451770"/>
                <a:gd name="connsiteX6167" fmla="*/ 1224740 w 3773795"/>
                <a:gd name="connsiteY6167" fmla="*/ 454132 h 1451770"/>
                <a:gd name="connsiteX6168" fmla="*/ 1226090 w 3773795"/>
                <a:gd name="connsiteY6168" fmla="*/ 451878 h 1451770"/>
                <a:gd name="connsiteX6169" fmla="*/ 1226902 w 3773795"/>
                <a:gd name="connsiteY6169" fmla="*/ 449227 h 1451770"/>
                <a:gd name="connsiteX6170" fmla="*/ 1227060 w 3773795"/>
                <a:gd name="connsiteY6170" fmla="*/ 442677 h 1451770"/>
                <a:gd name="connsiteX6171" fmla="*/ 1226248 w 3773795"/>
                <a:gd name="connsiteY6171" fmla="*/ 437333 h 1451770"/>
                <a:gd name="connsiteX6172" fmla="*/ 1225090 w 3773795"/>
                <a:gd name="connsiteY6172" fmla="*/ 434379 h 1451770"/>
                <a:gd name="connsiteX6173" fmla="*/ 1222633 w 3773795"/>
                <a:gd name="connsiteY6173" fmla="*/ 430582 h 1451770"/>
                <a:gd name="connsiteX6174" fmla="*/ 1220200 w 3773795"/>
                <a:gd name="connsiteY6174" fmla="*/ 426311 h 1451770"/>
                <a:gd name="connsiteX6175" fmla="*/ 1221927 w 3773795"/>
                <a:gd name="connsiteY6175" fmla="*/ 425194 h 1451770"/>
                <a:gd name="connsiteX6176" fmla="*/ 1223635 w 3773795"/>
                <a:gd name="connsiteY6176" fmla="*/ 424548 h 1451770"/>
                <a:gd name="connsiteX6177" fmla="*/ 1228284 w 3773795"/>
                <a:gd name="connsiteY6177" fmla="*/ 424592 h 1451770"/>
                <a:gd name="connsiteX6178" fmla="*/ 1233080 w 3773795"/>
                <a:gd name="connsiteY6178" fmla="*/ 426951 h 1451770"/>
                <a:gd name="connsiteX6179" fmla="*/ 1235415 w 3773795"/>
                <a:gd name="connsiteY6179" fmla="*/ 431633 h 1451770"/>
                <a:gd name="connsiteX6180" fmla="*/ 1238258 w 3773795"/>
                <a:gd name="connsiteY6180" fmla="*/ 435984 h 1451770"/>
                <a:gd name="connsiteX6181" fmla="*/ 1238250 w 3773795"/>
                <a:gd name="connsiteY6181" fmla="*/ 438862 h 1451770"/>
                <a:gd name="connsiteX6182" fmla="*/ 1237991 w 3773795"/>
                <a:gd name="connsiteY6182" fmla="*/ 441153 h 1451770"/>
                <a:gd name="connsiteX6183" fmla="*/ 1239161 w 3773795"/>
                <a:gd name="connsiteY6183" fmla="*/ 444275 h 1451770"/>
                <a:gd name="connsiteX6184" fmla="*/ 1240195 w 3773795"/>
                <a:gd name="connsiteY6184" fmla="*/ 445618 h 1451770"/>
                <a:gd name="connsiteX6185" fmla="*/ 1241307 w 3773795"/>
                <a:gd name="connsiteY6185" fmla="*/ 447853 h 1451770"/>
                <a:gd name="connsiteX6186" fmla="*/ 1240269 w 3773795"/>
                <a:gd name="connsiteY6186" fmla="*/ 449626 h 1451770"/>
                <a:gd name="connsiteX6187" fmla="*/ 1239161 w 3773795"/>
                <a:gd name="connsiteY6187" fmla="*/ 450506 h 1451770"/>
                <a:gd name="connsiteX6188" fmla="*/ 1237079 w 3773795"/>
                <a:gd name="connsiteY6188" fmla="*/ 453056 h 1451770"/>
                <a:gd name="connsiteX6189" fmla="*/ 1233637 w 3773795"/>
                <a:gd name="connsiteY6189" fmla="*/ 460811 h 1451770"/>
                <a:gd name="connsiteX6190" fmla="*/ 1230968 w 3773795"/>
                <a:gd name="connsiteY6190" fmla="*/ 461811 h 1451770"/>
                <a:gd name="connsiteX6191" fmla="*/ 1230385 w 3773795"/>
                <a:gd name="connsiteY6191" fmla="*/ 467803 h 1451770"/>
                <a:gd name="connsiteX6192" fmla="*/ 1236040 w 3773795"/>
                <a:gd name="connsiteY6192" fmla="*/ 474316 h 1451770"/>
                <a:gd name="connsiteX6193" fmla="*/ 1235274 w 3773795"/>
                <a:gd name="connsiteY6193" fmla="*/ 479235 h 1451770"/>
                <a:gd name="connsiteX6194" fmla="*/ 1234138 w 3773795"/>
                <a:gd name="connsiteY6194" fmla="*/ 480856 h 1451770"/>
                <a:gd name="connsiteX6195" fmla="*/ 1231111 w 3773795"/>
                <a:gd name="connsiteY6195" fmla="*/ 483491 h 1451770"/>
                <a:gd name="connsiteX6196" fmla="*/ 1231504 w 3773795"/>
                <a:gd name="connsiteY6196" fmla="*/ 485593 h 1451770"/>
                <a:gd name="connsiteX6197" fmla="*/ 1232255 w 3773795"/>
                <a:gd name="connsiteY6197" fmla="*/ 487087 h 1451770"/>
                <a:gd name="connsiteX6198" fmla="*/ 1241135 w 3773795"/>
                <a:gd name="connsiteY6198" fmla="*/ 490170 h 1451770"/>
                <a:gd name="connsiteX6199" fmla="*/ 1249468 w 3773795"/>
                <a:gd name="connsiteY6199" fmla="*/ 492092 h 1451770"/>
                <a:gd name="connsiteX6200" fmla="*/ 1263432 w 3773795"/>
                <a:gd name="connsiteY6200" fmla="*/ 492762 h 1451770"/>
                <a:gd name="connsiteX6201" fmla="*/ 1267568 w 3773795"/>
                <a:gd name="connsiteY6201" fmla="*/ 495767 h 1451770"/>
                <a:gd name="connsiteX6202" fmla="*/ 1269031 w 3773795"/>
                <a:gd name="connsiteY6202" fmla="*/ 493613 h 1451770"/>
                <a:gd name="connsiteX6203" fmla="*/ 1282176 w 3773795"/>
                <a:gd name="connsiteY6203" fmla="*/ 494145 h 1451770"/>
                <a:gd name="connsiteX6204" fmla="*/ 1292759 w 3773795"/>
                <a:gd name="connsiteY6204" fmla="*/ 501491 h 1451770"/>
                <a:gd name="connsiteX6205" fmla="*/ 1298339 w 3773795"/>
                <a:gd name="connsiteY6205" fmla="*/ 503746 h 1451770"/>
                <a:gd name="connsiteX6206" fmla="*/ 1302876 w 3773795"/>
                <a:gd name="connsiteY6206" fmla="*/ 504496 h 1451770"/>
                <a:gd name="connsiteX6207" fmla="*/ 1312084 w 3773795"/>
                <a:gd name="connsiteY6207" fmla="*/ 503611 h 1451770"/>
                <a:gd name="connsiteX6208" fmla="*/ 1313703 w 3773795"/>
                <a:gd name="connsiteY6208" fmla="*/ 502949 h 1451770"/>
                <a:gd name="connsiteX6209" fmla="*/ 1315217 w 3773795"/>
                <a:gd name="connsiteY6209" fmla="*/ 500858 h 1451770"/>
                <a:gd name="connsiteX6210" fmla="*/ 1310900 w 3773795"/>
                <a:gd name="connsiteY6210" fmla="*/ 501053 h 1451770"/>
                <a:gd name="connsiteX6211" fmla="*/ 1309017 w 3773795"/>
                <a:gd name="connsiteY6211" fmla="*/ 502007 h 1451770"/>
                <a:gd name="connsiteX6212" fmla="*/ 1307257 w 3773795"/>
                <a:gd name="connsiteY6212" fmla="*/ 501909 h 1451770"/>
                <a:gd name="connsiteX6213" fmla="*/ 1304245 w 3773795"/>
                <a:gd name="connsiteY6213" fmla="*/ 501185 h 1451770"/>
                <a:gd name="connsiteX6214" fmla="*/ 1302116 w 3773795"/>
                <a:gd name="connsiteY6214" fmla="*/ 499913 h 1451770"/>
                <a:gd name="connsiteX6215" fmla="*/ 1299796 w 3773795"/>
                <a:gd name="connsiteY6215" fmla="*/ 497418 h 1451770"/>
                <a:gd name="connsiteX6216" fmla="*/ 1295951 w 3773795"/>
                <a:gd name="connsiteY6216" fmla="*/ 490154 h 1451770"/>
                <a:gd name="connsiteX6217" fmla="*/ 1289224 w 3773795"/>
                <a:gd name="connsiteY6217" fmla="*/ 487806 h 1451770"/>
                <a:gd name="connsiteX6218" fmla="*/ 1284763 w 3773795"/>
                <a:gd name="connsiteY6218" fmla="*/ 488761 h 1451770"/>
                <a:gd name="connsiteX6219" fmla="*/ 1279775 w 3773795"/>
                <a:gd name="connsiteY6219" fmla="*/ 488315 h 1451770"/>
                <a:gd name="connsiteX6220" fmla="*/ 1271651 w 3773795"/>
                <a:gd name="connsiteY6220" fmla="*/ 484334 h 1451770"/>
                <a:gd name="connsiteX6221" fmla="*/ 1266289 w 3773795"/>
                <a:gd name="connsiteY6221" fmla="*/ 482818 h 1451770"/>
                <a:gd name="connsiteX6222" fmla="*/ 1256609 w 3773795"/>
                <a:gd name="connsiteY6222" fmla="*/ 478495 h 1451770"/>
                <a:gd name="connsiteX6223" fmla="*/ 1253927 w 3773795"/>
                <a:gd name="connsiteY6223" fmla="*/ 476738 h 1451770"/>
                <a:gd name="connsiteX6224" fmla="*/ 1251795 w 3773795"/>
                <a:gd name="connsiteY6224" fmla="*/ 473160 h 1451770"/>
                <a:gd name="connsiteX6225" fmla="*/ 1249316 w 3773795"/>
                <a:gd name="connsiteY6225" fmla="*/ 467161 h 1451770"/>
                <a:gd name="connsiteX6226" fmla="*/ 1247742 w 3773795"/>
                <a:gd name="connsiteY6226" fmla="*/ 463811 h 1451770"/>
                <a:gd name="connsiteX6227" fmla="*/ 1249768 w 3773795"/>
                <a:gd name="connsiteY6227" fmla="*/ 463144 h 1451770"/>
                <a:gd name="connsiteX6228" fmla="*/ 1256350 w 3773795"/>
                <a:gd name="connsiteY6228" fmla="*/ 459870 h 1451770"/>
                <a:gd name="connsiteX6229" fmla="*/ 1266294 w 3773795"/>
                <a:gd name="connsiteY6229" fmla="*/ 458755 h 1451770"/>
                <a:gd name="connsiteX6230" fmla="*/ 1270493 w 3773795"/>
                <a:gd name="connsiteY6230" fmla="*/ 459944 h 1451770"/>
                <a:gd name="connsiteX6231" fmla="*/ 1281316 w 3773795"/>
                <a:gd name="connsiteY6231" fmla="*/ 466623 h 1451770"/>
                <a:gd name="connsiteX6232" fmla="*/ 1286330 w 3773795"/>
                <a:gd name="connsiteY6232" fmla="*/ 466856 h 1451770"/>
                <a:gd name="connsiteX6233" fmla="*/ 1295383 w 3773795"/>
                <a:gd name="connsiteY6233" fmla="*/ 463948 h 1451770"/>
                <a:gd name="connsiteX6234" fmla="*/ 1296389 w 3773795"/>
                <a:gd name="connsiteY6234" fmla="*/ 462085 h 1451770"/>
                <a:gd name="connsiteX6235" fmla="*/ 1294363 w 3773795"/>
                <a:gd name="connsiteY6235" fmla="*/ 458273 h 1451770"/>
                <a:gd name="connsiteX6236" fmla="*/ 1291612 w 3773795"/>
                <a:gd name="connsiteY6236" fmla="*/ 456316 h 1451770"/>
                <a:gd name="connsiteX6237" fmla="*/ 1286400 w 3773795"/>
                <a:gd name="connsiteY6237" fmla="*/ 455395 h 1451770"/>
                <a:gd name="connsiteX6238" fmla="*/ 1280036 w 3773795"/>
                <a:gd name="connsiteY6238" fmla="*/ 457155 h 1451770"/>
                <a:gd name="connsiteX6239" fmla="*/ 1278222 w 3773795"/>
                <a:gd name="connsiteY6239" fmla="*/ 455665 h 1451770"/>
                <a:gd name="connsiteX6240" fmla="*/ 1278861 w 3773795"/>
                <a:gd name="connsiteY6240" fmla="*/ 453647 h 1451770"/>
                <a:gd name="connsiteX6241" fmla="*/ 1279565 w 3773795"/>
                <a:gd name="connsiteY6241" fmla="*/ 452172 h 1451770"/>
                <a:gd name="connsiteX6242" fmla="*/ 1282964 w 3773795"/>
                <a:gd name="connsiteY6242" fmla="*/ 451787 h 1451770"/>
                <a:gd name="connsiteX6243" fmla="*/ 1285350 w 3773795"/>
                <a:gd name="connsiteY6243" fmla="*/ 450635 h 1451770"/>
                <a:gd name="connsiteX6244" fmla="*/ 1290546 w 3773795"/>
                <a:gd name="connsiteY6244" fmla="*/ 446503 h 1451770"/>
                <a:gd name="connsiteX6245" fmla="*/ 1296233 w 3773795"/>
                <a:gd name="connsiteY6245" fmla="*/ 444476 h 1451770"/>
                <a:gd name="connsiteX6246" fmla="*/ 1301921 w 3773795"/>
                <a:gd name="connsiteY6246" fmla="*/ 443747 h 1451770"/>
                <a:gd name="connsiteX6247" fmla="*/ 1322695 w 3773795"/>
                <a:gd name="connsiteY6247" fmla="*/ 444338 h 1451770"/>
                <a:gd name="connsiteX6248" fmla="*/ 1334455 w 3773795"/>
                <a:gd name="connsiteY6248" fmla="*/ 450890 h 1451770"/>
                <a:gd name="connsiteX6249" fmla="*/ 1345955 w 3773795"/>
                <a:gd name="connsiteY6249" fmla="*/ 453788 h 1451770"/>
                <a:gd name="connsiteX6250" fmla="*/ 1350935 w 3773795"/>
                <a:gd name="connsiteY6250" fmla="*/ 456057 h 1451770"/>
                <a:gd name="connsiteX6251" fmla="*/ 1352334 w 3773795"/>
                <a:gd name="connsiteY6251" fmla="*/ 456435 h 1451770"/>
                <a:gd name="connsiteX6252" fmla="*/ 1353490 w 3773795"/>
                <a:gd name="connsiteY6252" fmla="*/ 457876 h 1451770"/>
                <a:gd name="connsiteX6253" fmla="*/ 1354403 w 3773795"/>
                <a:gd name="connsiteY6253" fmla="*/ 461346 h 1451770"/>
                <a:gd name="connsiteX6254" fmla="*/ 1368891 w 3773795"/>
                <a:gd name="connsiteY6254" fmla="*/ 470565 h 1451770"/>
                <a:gd name="connsiteX6255" fmla="*/ 1372216 w 3773795"/>
                <a:gd name="connsiteY6255" fmla="*/ 471802 h 1451770"/>
                <a:gd name="connsiteX6256" fmla="*/ 1381464 w 3773795"/>
                <a:gd name="connsiteY6256" fmla="*/ 472177 h 1451770"/>
                <a:gd name="connsiteX6257" fmla="*/ 1391799 w 3773795"/>
                <a:gd name="connsiteY6257" fmla="*/ 470053 h 1451770"/>
                <a:gd name="connsiteX6258" fmla="*/ 1396455 w 3773795"/>
                <a:gd name="connsiteY6258" fmla="*/ 469827 h 1451770"/>
                <a:gd name="connsiteX6259" fmla="*/ 1401504 w 3773795"/>
                <a:gd name="connsiteY6259" fmla="*/ 470460 h 1451770"/>
                <a:gd name="connsiteX6260" fmla="*/ 1404168 w 3773795"/>
                <a:gd name="connsiteY6260" fmla="*/ 471616 h 1451770"/>
                <a:gd name="connsiteX6261" fmla="*/ 1406975 w 3773795"/>
                <a:gd name="connsiteY6261" fmla="*/ 473762 h 1451770"/>
                <a:gd name="connsiteX6262" fmla="*/ 1405470 w 3773795"/>
                <a:gd name="connsiteY6262" fmla="*/ 476463 h 1451770"/>
                <a:gd name="connsiteX6263" fmla="*/ 1404147 w 3773795"/>
                <a:gd name="connsiteY6263" fmla="*/ 478088 h 1451770"/>
                <a:gd name="connsiteX6264" fmla="*/ 1401303 w 3773795"/>
                <a:gd name="connsiteY6264" fmla="*/ 482623 h 1451770"/>
                <a:gd name="connsiteX6265" fmla="*/ 1399996 w 3773795"/>
                <a:gd name="connsiteY6265" fmla="*/ 483905 h 1451770"/>
                <a:gd name="connsiteX6266" fmla="*/ 1390603 w 3773795"/>
                <a:gd name="connsiteY6266" fmla="*/ 489075 h 1451770"/>
                <a:gd name="connsiteX6267" fmla="*/ 1386837 w 3773795"/>
                <a:gd name="connsiteY6267" fmla="*/ 490410 h 1451770"/>
                <a:gd name="connsiteX6268" fmla="*/ 1385822 w 3773795"/>
                <a:gd name="connsiteY6268" fmla="*/ 497161 h 1451770"/>
                <a:gd name="connsiteX6269" fmla="*/ 1385321 w 3773795"/>
                <a:gd name="connsiteY6269" fmla="*/ 498668 h 1451770"/>
                <a:gd name="connsiteX6270" fmla="*/ 1384986 w 3773795"/>
                <a:gd name="connsiteY6270" fmla="*/ 501032 h 1451770"/>
                <a:gd name="connsiteX6271" fmla="*/ 1386686 w 3773795"/>
                <a:gd name="connsiteY6271" fmla="*/ 505801 h 1451770"/>
                <a:gd name="connsiteX6272" fmla="*/ 1387126 w 3773795"/>
                <a:gd name="connsiteY6272" fmla="*/ 508702 h 1451770"/>
                <a:gd name="connsiteX6273" fmla="*/ 1385684 w 3773795"/>
                <a:gd name="connsiteY6273" fmla="*/ 512744 h 1451770"/>
                <a:gd name="connsiteX6274" fmla="*/ 1383306 w 3773795"/>
                <a:gd name="connsiteY6274" fmla="*/ 517098 h 1451770"/>
                <a:gd name="connsiteX6275" fmla="*/ 1383732 w 3773795"/>
                <a:gd name="connsiteY6275" fmla="*/ 520565 h 1451770"/>
                <a:gd name="connsiteX6276" fmla="*/ 1384589 w 3773795"/>
                <a:gd name="connsiteY6276" fmla="*/ 525186 h 1451770"/>
                <a:gd name="connsiteX6277" fmla="*/ 1384913 w 3773795"/>
                <a:gd name="connsiteY6277" fmla="*/ 523807 h 1451770"/>
                <a:gd name="connsiteX6278" fmla="*/ 1384816 w 3773795"/>
                <a:gd name="connsiteY6278" fmla="*/ 521706 h 1451770"/>
                <a:gd name="connsiteX6279" fmla="*/ 1385412 w 3773795"/>
                <a:gd name="connsiteY6279" fmla="*/ 519280 h 1451770"/>
                <a:gd name="connsiteX6280" fmla="*/ 1389685 w 3773795"/>
                <a:gd name="connsiteY6280" fmla="*/ 513413 h 1451770"/>
                <a:gd name="connsiteX6281" fmla="*/ 1392799 w 3773795"/>
                <a:gd name="connsiteY6281" fmla="*/ 505378 h 1451770"/>
                <a:gd name="connsiteX6282" fmla="*/ 1396012 w 3773795"/>
                <a:gd name="connsiteY6282" fmla="*/ 503276 h 1451770"/>
                <a:gd name="connsiteX6283" fmla="*/ 1398917 w 3773795"/>
                <a:gd name="connsiteY6283" fmla="*/ 502762 h 1451770"/>
                <a:gd name="connsiteX6284" fmla="*/ 1402035 w 3773795"/>
                <a:gd name="connsiteY6284" fmla="*/ 505158 h 1451770"/>
                <a:gd name="connsiteX6285" fmla="*/ 1402940 w 3773795"/>
                <a:gd name="connsiteY6285" fmla="*/ 508385 h 1451770"/>
                <a:gd name="connsiteX6286" fmla="*/ 1403101 w 3773795"/>
                <a:gd name="connsiteY6286" fmla="*/ 513227 h 1451770"/>
                <a:gd name="connsiteX6287" fmla="*/ 1402478 w 3773795"/>
                <a:gd name="connsiteY6287" fmla="*/ 517803 h 1451770"/>
                <a:gd name="connsiteX6288" fmla="*/ 1400037 w 3773795"/>
                <a:gd name="connsiteY6288" fmla="*/ 524719 h 1451770"/>
                <a:gd name="connsiteX6289" fmla="*/ 1396116 w 3773795"/>
                <a:gd name="connsiteY6289" fmla="*/ 529536 h 1451770"/>
                <a:gd name="connsiteX6290" fmla="*/ 1394786 w 3773795"/>
                <a:gd name="connsiteY6290" fmla="*/ 532269 h 1451770"/>
                <a:gd name="connsiteX6291" fmla="*/ 1396664 w 3773795"/>
                <a:gd name="connsiteY6291" fmla="*/ 534797 h 1451770"/>
                <a:gd name="connsiteX6292" fmla="*/ 1398638 w 3773795"/>
                <a:gd name="connsiteY6292" fmla="*/ 536760 h 1451770"/>
                <a:gd name="connsiteX6293" fmla="*/ 1400949 w 3773795"/>
                <a:gd name="connsiteY6293" fmla="*/ 537404 h 1451770"/>
                <a:gd name="connsiteX6294" fmla="*/ 1403596 w 3773795"/>
                <a:gd name="connsiteY6294" fmla="*/ 537216 h 1451770"/>
                <a:gd name="connsiteX6295" fmla="*/ 1404233 w 3773795"/>
                <a:gd name="connsiteY6295" fmla="*/ 536560 h 1451770"/>
                <a:gd name="connsiteX6296" fmla="*/ 1404730 w 3773795"/>
                <a:gd name="connsiteY6296" fmla="*/ 534672 h 1451770"/>
                <a:gd name="connsiteX6297" fmla="*/ 1403892 w 3773795"/>
                <a:gd name="connsiteY6297" fmla="*/ 532135 h 1451770"/>
                <a:gd name="connsiteX6298" fmla="*/ 1403443 w 3773795"/>
                <a:gd name="connsiteY6298" fmla="*/ 529925 h 1451770"/>
                <a:gd name="connsiteX6299" fmla="*/ 1408299 w 3773795"/>
                <a:gd name="connsiteY6299" fmla="*/ 528149 h 1451770"/>
                <a:gd name="connsiteX6300" fmla="*/ 1412801 w 3773795"/>
                <a:gd name="connsiteY6300" fmla="*/ 527196 h 1451770"/>
                <a:gd name="connsiteX6301" fmla="*/ 1416401 w 3773795"/>
                <a:gd name="connsiteY6301" fmla="*/ 524283 h 1451770"/>
                <a:gd name="connsiteX6302" fmla="*/ 1417299 w 3773795"/>
                <a:gd name="connsiteY6302" fmla="*/ 522365 h 1451770"/>
                <a:gd name="connsiteX6303" fmla="*/ 1418083 w 3773795"/>
                <a:gd name="connsiteY6303" fmla="*/ 519165 h 1451770"/>
                <a:gd name="connsiteX6304" fmla="*/ 1416211 w 3773795"/>
                <a:gd name="connsiteY6304" fmla="*/ 514129 h 1451770"/>
                <a:gd name="connsiteX6305" fmla="*/ 1414611 w 3773795"/>
                <a:gd name="connsiteY6305" fmla="*/ 510368 h 1451770"/>
                <a:gd name="connsiteX6306" fmla="*/ 1409193 w 3773795"/>
                <a:gd name="connsiteY6306" fmla="*/ 501402 h 1451770"/>
                <a:gd name="connsiteX6307" fmla="*/ 1405155 w 3773795"/>
                <a:gd name="connsiteY6307" fmla="*/ 496750 h 1451770"/>
                <a:gd name="connsiteX6308" fmla="*/ 1407692 w 3773795"/>
                <a:gd name="connsiteY6308" fmla="*/ 489765 h 1451770"/>
                <a:gd name="connsiteX6309" fmla="*/ 1411929 w 3773795"/>
                <a:gd name="connsiteY6309" fmla="*/ 481964 h 1451770"/>
                <a:gd name="connsiteX6310" fmla="*/ 1413553 w 3773795"/>
                <a:gd name="connsiteY6310" fmla="*/ 480057 h 1451770"/>
                <a:gd name="connsiteX6311" fmla="*/ 1413983 w 3773795"/>
                <a:gd name="connsiteY6311" fmla="*/ 478856 h 1451770"/>
                <a:gd name="connsiteX6312" fmla="*/ 1414443 w 3773795"/>
                <a:gd name="connsiteY6312" fmla="*/ 476782 h 1451770"/>
                <a:gd name="connsiteX6313" fmla="*/ 1414049 w 3773795"/>
                <a:gd name="connsiteY6313" fmla="*/ 474514 h 1451770"/>
                <a:gd name="connsiteX6314" fmla="*/ 1413626 w 3773795"/>
                <a:gd name="connsiteY6314" fmla="*/ 473116 h 1451770"/>
                <a:gd name="connsiteX6315" fmla="*/ 1409338 w 3773795"/>
                <a:gd name="connsiteY6315" fmla="*/ 467221 h 1451770"/>
                <a:gd name="connsiteX6316" fmla="*/ 1406239 w 3773795"/>
                <a:gd name="connsiteY6316" fmla="*/ 465281 h 1451770"/>
                <a:gd name="connsiteX6317" fmla="*/ 1396395 w 3773795"/>
                <a:gd name="connsiteY6317" fmla="*/ 464123 h 1451770"/>
                <a:gd name="connsiteX6318" fmla="*/ 1393970 w 3773795"/>
                <a:gd name="connsiteY6318" fmla="*/ 463200 h 1451770"/>
                <a:gd name="connsiteX6319" fmla="*/ 1386755 w 3773795"/>
                <a:gd name="connsiteY6319" fmla="*/ 457151 h 1451770"/>
                <a:gd name="connsiteX6320" fmla="*/ 1385904 w 3773795"/>
                <a:gd name="connsiteY6320" fmla="*/ 455774 h 1451770"/>
                <a:gd name="connsiteX6321" fmla="*/ 1384326 w 3773795"/>
                <a:gd name="connsiteY6321" fmla="*/ 451383 h 1451770"/>
                <a:gd name="connsiteX6322" fmla="*/ 1383758 w 3773795"/>
                <a:gd name="connsiteY6322" fmla="*/ 450289 h 1451770"/>
                <a:gd name="connsiteX6323" fmla="*/ 1381769 w 3773795"/>
                <a:gd name="connsiteY6323" fmla="*/ 449132 h 1451770"/>
                <a:gd name="connsiteX6324" fmla="*/ 1375118 w 3773795"/>
                <a:gd name="connsiteY6324" fmla="*/ 446590 h 1451770"/>
                <a:gd name="connsiteX6325" fmla="*/ 1370549 w 3773795"/>
                <a:gd name="connsiteY6325" fmla="*/ 445547 h 1451770"/>
                <a:gd name="connsiteX6326" fmla="*/ 1363837 w 3773795"/>
                <a:gd name="connsiteY6326" fmla="*/ 445250 h 1451770"/>
                <a:gd name="connsiteX6327" fmla="*/ 1359756 w 3773795"/>
                <a:gd name="connsiteY6327" fmla="*/ 443964 h 1451770"/>
                <a:gd name="connsiteX6328" fmla="*/ 1353762 w 3773795"/>
                <a:gd name="connsiteY6328" fmla="*/ 439858 h 1451770"/>
                <a:gd name="connsiteX6329" fmla="*/ 1353114 w 3773795"/>
                <a:gd name="connsiteY6329" fmla="*/ 438536 h 1451770"/>
                <a:gd name="connsiteX6330" fmla="*/ 1351386 w 3773795"/>
                <a:gd name="connsiteY6330" fmla="*/ 433188 h 1451770"/>
                <a:gd name="connsiteX6331" fmla="*/ 1349985 w 3773795"/>
                <a:gd name="connsiteY6331" fmla="*/ 430502 h 1451770"/>
                <a:gd name="connsiteX6332" fmla="*/ 1350408 w 3773795"/>
                <a:gd name="connsiteY6332" fmla="*/ 428523 h 1451770"/>
                <a:gd name="connsiteX6333" fmla="*/ 1352583 w 3773795"/>
                <a:gd name="connsiteY6333" fmla="*/ 424253 h 1451770"/>
                <a:gd name="connsiteX6334" fmla="*/ 1354083 w 3773795"/>
                <a:gd name="connsiteY6334" fmla="*/ 420532 h 1451770"/>
                <a:gd name="connsiteX6335" fmla="*/ 1352222 w 3773795"/>
                <a:gd name="connsiteY6335" fmla="*/ 417322 h 1451770"/>
                <a:gd name="connsiteX6336" fmla="*/ 1349596 w 3773795"/>
                <a:gd name="connsiteY6336" fmla="*/ 416312 h 1451770"/>
                <a:gd name="connsiteX6337" fmla="*/ 1346744 w 3773795"/>
                <a:gd name="connsiteY6337" fmla="*/ 414752 h 1451770"/>
                <a:gd name="connsiteX6338" fmla="*/ 1345545 w 3773795"/>
                <a:gd name="connsiteY6338" fmla="*/ 411826 h 1451770"/>
                <a:gd name="connsiteX6339" fmla="*/ 1344861 w 3773795"/>
                <a:gd name="connsiteY6339" fmla="*/ 408608 h 1451770"/>
                <a:gd name="connsiteX6340" fmla="*/ 1344738 w 3773795"/>
                <a:gd name="connsiteY6340" fmla="*/ 406125 h 1451770"/>
                <a:gd name="connsiteX6341" fmla="*/ 1344275 w 3773795"/>
                <a:gd name="connsiteY6341" fmla="*/ 403269 h 1451770"/>
                <a:gd name="connsiteX6342" fmla="*/ 1345608 w 3773795"/>
                <a:gd name="connsiteY6342" fmla="*/ 400847 h 1451770"/>
                <a:gd name="connsiteX6343" fmla="*/ 1348651 w 3773795"/>
                <a:gd name="connsiteY6343" fmla="*/ 398276 h 1451770"/>
                <a:gd name="connsiteX6344" fmla="*/ 1347899 w 3773795"/>
                <a:gd name="connsiteY6344" fmla="*/ 396528 h 1451770"/>
                <a:gd name="connsiteX6345" fmla="*/ 1348370 w 3773795"/>
                <a:gd name="connsiteY6345" fmla="*/ 394243 h 1451770"/>
                <a:gd name="connsiteX6346" fmla="*/ 1367953 w 3773795"/>
                <a:gd name="connsiteY6346" fmla="*/ 391164 h 1451770"/>
                <a:gd name="connsiteX6347" fmla="*/ 1375651 w 3773795"/>
                <a:gd name="connsiteY6347" fmla="*/ 390375 h 1451770"/>
                <a:gd name="connsiteX6348" fmla="*/ 1413855 w 3773795"/>
                <a:gd name="connsiteY6348" fmla="*/ 390047 h 1451770"/>
                <a:gd name="connsiteX6349" fmla="*/ 1416559 w 3773795"/>
                <a:gd name="connsiteY6349" fmla="*/ 389190 h 1451770"/>
                <a:gd name="connsiteX6350" fmla="*/ 1433151 w 3773795"/>
                <a:gd name="connsiteY6350" fmla="*/ 387666 h 1451770"/>
                <a:gd name="connsiteX6351" fmla="*/ 1440239 w 3773795"/>
                <a:gd name="connsiteY6351" fmla="*/ 385914 h 1451770"/>
                <a:gd name="connsiteX6352" fmla="*/ 1447747 w 3773795"/>
                <a:gd name="connsiteY6352" fmla="*/ 387773 h 1451770"/>
                <a:gd name="connsiteX6353" fmla="*/ 1450470 w 3773795"/>
                <a:gd name="connsiteY6353" fmla="*/ 387687 h 1451770"/>
                <a:gd name="connsiteX6354" fmla="*/ 1455948 w 3773795"/>
                <a:gd name="connsiteY6354" fmla="*/ 387126 h 1451770"/>
                <a:gd name="connsiteX6355" fmla="*/ 1459554 w 3773795"/>
                <a:gd name="connsiteY6355" fmla="*/ 383390 h 1451770"/>
                <a:gd name="connsiteX6356" fmla="*/ 1467689 w 3773795"/>
                <a:gd name="connsiteY6356" fmla="*/ 381869 h 1451770"/>
                <a:gd name="connsiteX6357" fmla="*/ 1481224 w 3773795"/>
                <a:gd name="connsiteY6357" fmla="*/ 380260 h 1451770"/>
                <a:gd name="connsiteX6358" fmla="*/ 1487892 w 3773795"/>
                <a:gd name="connsiteY6358" fmla="*/ 380570 h 1451770"/>
                <a:gd name="connsiteX6359" fmla="*/ 1489403 w 3773795"/>
                <a:gd name="connsiteY6359" fmla="*/ 381705 h 1451770"/>
                <a:gd name="connsiteX6360" fmla="*/ 1490911 w 3773795"/>
                <a:gd name="connsiteY6360" fmla="*/ 383278 h 1451770"/>
                <a:gd name="connsiteX6361" fmla="*/ 1483573 w 3773795"/>
                <a:gd name="connsiteY6361" fmla="*/ 387888 h 1451770"/>
                <a:gd name="connsiteX6362" fmla="*/ 1476238 w 3773795"/>
                <a:gd name="connsiteY6362" fmla="*/ 392048 h 1451770"/>
                <a:gd name="connsiteX6363" fmla="*/ 1470228 w 3773795"/>
                <a:gd name="connsiteY6363" fmla="*/ 393821 h 1451770"/>
                <a:gd name="connsiteX6364" fmla="*/ 1464322 w 3773795"/>
                <a:gd name="connsiteY6364" fmla="*/ 397476 h 1451770"/>
                <a:gd name="connsiteX6365" fmla="*/ 1463735 w 3773795"/>
                <a:gd name="connsiteY6365" fmla="*/ 398919 h 1451770"/>
                <a:gd name="connsiteX6366" fmla="*/ 1463560 w 3773795"/>
                <a:gd name="connsiteY6366" fmla="*/ 399798 h 1451770"/>
                <a:gd name="connsiteX6367" fmla="*/ 1463778 w 3773795"/>
                <a:gd name="connsiteY6367" fmla="*/ 402637 h 1451770"/>
                <a:gd name="connsiteX6368" fmla="*/ 1464125 w 3773795"/>
                <a:gd name="connsiteY6368" fmla="*/ 404539 h 1451770"/>
                <a:gd name="connsiteX6369" fmla="*/ 1470317 w 3773795"/>
                <a:gd name="connsiteY6369" fmla="*/ 406849 h 1451770"/>
                <a:gd name="connsiteX6370" fmla="*/ 1474955 w 3773795"/>
                <a:gd name="connsiteY6370" fmla="*/ 410109 h 1451770"/>
                <a:gd name="connsiteX6371" fmla="*/ 1479520 w 3773795"/>
                <a:gd name="connsiteY6371" fmla="*/ 412451 h 1451770"/>
                <a:gd name="connsiteX6372" fmla="*/ 1483117 w 3773795"/>
                <a:gd name="connsiteY6372" fmla="*/ 413876 h 1451770"/>
                <a:gd name="connsiteX6373" fmla="*/ 1483958 w 3773795"/>
                <a:gd name="connsiteY6373" fmla="*/ 413071 h 1451770"/>
                <a:gd name="connsiteX6374" fmla="*/ 1470837 w 3773795"/>
                <a:gd name="connsiteY6374" fmla="*/ 405399 h 1451770"/>
                <a:gd name="connsiteX6375" fmla="*/ 1467501 w 3773795"/>
                <a:gd name="connsiteY6375" fmla="*/ 403684 h 1451770"/>
                <a:gd name="connsiteX6376" fmla="*/ 1466158 w 3773795"/>
                <a:gd name="connsiteY6376" fmla="*/ 401839 h 1451770"/>
                <a:gd name="connsiteX6377" fmla="*/ 1466797 w 3773795"/>
                <a:gd name="connsiteY6377" fmla="*/ 399024 h 1451770"/>
                <a:gd name="connsiteX6378" fmla="*/ 1468123 w 3773795"/>
                <a:gd name="connsiteY6378" fmla="*/ 397772 h 1451770"/>
                <a:gd name="connsiteX6379" fmla="*/ 1470189 w 3773795"/>
                <a:gd name="connsiteY6379" fmla="*/ 396350 h 1451770"/>
                <a:gd name="connsiteX6380" fmla="*/ 1471576 w 3773795"/>
                <a:gd name="connsiteY6380" fmla="*/ 395687 h 1451770"/>
                <a:gd name="connsiteX6381" fmla="*/ 1476467 w 3773795"/>
                <a:gd name="connsiteY6381" fmla="*/ 394226 h 1451770"/>
                <a:gd name="connsiteX6382" fmla="*/ 1492915 w 3773795"/>
                <a:gd name="connsiteY6382" fmla="*/ 392251 h 1451770"/>
                <a:gd name="connsiteX6383" fmla="*/ 1496769 w 3773795"/>
                <a:gd name="connsiteY6383" fmla="*/ 388410 h 1451770"/>
                <a:gd name="connsiteX6384" fmla="*/ 1498430 w 3773795"/>
                <a:gd name="connsiteY6384" fmla="*/ 386212 h 1451770"/>
                <a:gd name="connsiteX6385" fmla="*/ 1502889 w 3773795"/>
                <a:gd name="connsiteY6385" fmla="*/ 383855 h 1451770"/>
                <a:gd name="connsiteX6386" fmla="*/ 1501386 w 3773795"/>
                <a:gd name="connsiteY6386" fmla="*/ 382921 h 1451770"/>
                <a:gd name="connsiteX6387" fmla="*/ 1497721 w 3773795"/>
                <a:gd name="connsiteY6387" fmla="*/ 382337 h 1451770"/>
                <a:gd name="connsiteX6388" fmla="*/ 1494895 w 3773795"/>
                <a:gd name="connsiteY6388" fmla="*/ 380933 h 1451770"/>
                <a:gd name="connsiteX6389" fmla="*/ 1483560 w 3773795"/>
                <a:gd name="connsiteY6389" fmla="*/ 367247 h 1451770"/>
                <a:gd name="connsiteX6390" fmla="*/ 1480774 w 3773795"/>
                <a:gd name="connsiteY6390" fmla="*/ 365144 h 1451770"/>
                <a:gd name="connsiteX6391" fmla="*/ 1472079 w 3773795"/>
                <a:gd name="connsiteY6391" fmla="*/ 363596 h 1451770"/>
                <a:gd name="connsiteX6392" fmla="*/ 1468177 w 3773795"/>
                <a:gd name="connsiteY6392" fmla="*/ 362003 h 1451770"/>
                <a:gd name="connsiteX6393" fmla="*/ 1472191 w 3773795"/>
                <a:gd name="connsiteY6393" fmla="*/ 357341 h 1451770"/>
                <a:gd name="connsiteX6394" fmla="*/ 1476899 w 3773795"/>
                <a:gd name="connsiteY6394" fmla="*/ 356160 h 1451770"/>
                <a:gd name="connsiteX6395" fmla="*/ 1480053 w 3773795"/>
                <a:gd name="connsiteY6395" fmla="*/ 356416 h 1451770"/>
                <a:gd name="connsiteX6396" fmla="*/ 1482846 w 3773795"/>
                <a:gd name="connsiteY6396" fmla="*/ 357724 h 1451770"/>
                <a:gd name="connsiteX6397" fmla="*/ 1488002 w 3773795"/>
                <a:gd name="connsiteY6397" fmla="*/ 361597 h 1451770"/>
                <a:gd name="connsiteX6398" fmla="*/ 1495337 w 3773795"/>
                <a:gd name="connsiteY6398" fmla="*/ 359920 h 1451770"/>
                <a:gd name="connsiteX6399" fmla="*/ 1492606 w 3773795"/>
                <a:gd name="connsiteY6399" fmla="*/ 358190 h 1451770"/>
                <a:gd name="connsiteX6400" fmla="*/ 1487920 w 3773795"/>
                <a:gd name="connsiteY6400" fmla="*/ 356177 h 1451770"/>
                <a:gd name="connsiteX6401" fmla="*/ 1483627 w 3773795"/>
                <a:gd name="connsiteY6401" fmla="*/ 352999 h 1451770"/>
                <a:gd name="connsiteX6402" fmla="*/ 1477559 w 3773795"/>
                <a:gd name="connsiteY6402" fmla="*/ 350241 h 1451770"/>
                <a:gd name="connsiteX6403" fmla="*/ 1470714 w 3773795"/>
                <a:gd name="connsiteY6403" fmla="*/ 348355 h 1451770"/>
                <a:gd name="connsiteX6404" fmla="*/ 1463525 w 3773795"/>
                <a:gd name="connsiteY6404" fmla="*/ 347629 h 1451770"/>
                <a:gd name="connsiteX6405" fmla="*/ 1465510 w 3773795"/>
                <a:gd name="connsiteY6405" fmla="*/ 343453 h 1451770"/>
                <a:gd name="connsiteX6406" fmla="*/ 1469448 w 3773795"/>
                <a:gd name="connsiteY6406" fmla="*/ 343981 h 1451770"/>
                <a:gd name="connsiteX6407" fmla="*/ 1470790 w 3773795"/>
                <a:gd name="connsiteY6407" fmla="*/ 342698 h 1451770"/>
                <a:gd name="connsiteX6408" fmla="*/ 1472597 w 3773795"/>
                <a:gd name="connsiteY6408" fmla="*/ 340111 h 1451770"/>
                <a:gd name="connsiteX6409" fmla="*/ 1482552 w 3773795"/>
                <a:gd name="connsiteY6409" fmla="*/ 345993 h 1451770"/>
                <a:gd name="connsiteX6410" fmla="*/ 1487227 w 3773795"/>
                <a:gd name="connsiteY6410" fmla="*/ 344436 h 1451770"/>
                <a:gd name="connsiteX6411" fmla="*/ 1491183 w 3773795"/>
                <a:gd name="connsiteY6411" fmla="*/ 341755 h 1451770"/>
                <a:gd name="connsiteX6412" fmla="*/ 1499531 w 3773795"/>
                <a:gd name="connsiteY6412" fmla="*/ 334612 h 1451770"/>
                <a:gd name="connsiteX6413" fmla="*/ 1500598 w 3773795"/>
                <a:gd name="connsiteY6413" fmla="*/ 331416 h 1451770"/>
                <a:gd name="connsiteX6414" fmla="*/ 1496614 w 3773795"/>
                <a:gd name="connsiteY6414" fmla="*/ 329677 h 1451770"/>
                <a:gd name="connsiteX6415" fmla="*/ 1493370 w 3773795"/>
                <a:gd name="connsiteY6415" fmla="*/ 328803 h 1451770"/>
                <a:gd name="connsiteX6416" fmla="*/ 1488911 w 3773795"/>
                <a:gd name="connsiteY6416" fmla="*/ 328987 h 1451770"/>
                <a:gd name="connsiteX6417" fmla="*/ 1488527 w 3773795"/>
                <a:gd name="connsiteY6417" fmla="*/ 327006 h 1451770"/>
                <a:gd name="connsiteX6418" fmla="*/ 1490390 w 3773795"/>
                <a:gd name="connsiteY6418" fmla="*/ 324476 h 1451770"/>
                <a:gd name="connsiteX6419" fmla="*/ 1494036 w 3773795"/>
                <a:gd name="connsiteY6419" fmla="*/ 323502 h 1451770"/>
                <a:gd name="connsiteX6420" fmla="*/ 1505104 w 3773795"/>
                <a:gd name="connsiteY6420" fmla="*/ 326261 h 1451770"/>
                <a:gd name="connsiteX6421" fmla="*/ 1523509 w 3773795"/>
                <a:gd name="connsiteY6421" fmla="*/ 319110 h 1451770"/>
                <a:gd name="connsiteX6422" fmla="*/ 1528581 w 3773795"/>
                <a:gd name="connsiteY6422" fmla="*/ 315601 h 1451770"/>
                <a:gd name="connsiteX6423" fmla="*/ 1541343 w 3773795"/>
                <a:gd name="connsiteY6423" fmla="*/ 311092 h 1451770"/>
                <a:gd name="connsiteX6424" fmla="*/ 1547642 w 3773795"/>
                <a:gd name="connsiteY6424" fmla="*/ 311622 h 1451770"/>
                <a:gd name="connsiteX6425" fmla="*/ 1560685 w 3773795"/>
                <a:gd name="connsiteY6425" fmla="*/ 305673 h 1451770"/>
                <a:gd name="connsiteX6426" fmla="*/ 1578811 w 3773795"/>
                <a:gd name="connsiteY6426" fmla="*/ 303047 h 1451770"/>
                <a:gd name="connsiteX6427" fmla="*/ 1589309 w 3773795"/>
                <a:gd name="connsiteY6427" fmla="*/ 303042 h 1451770"/>
                <a:gd name="connsiteX6428" fmla="*/ 1597401 w 3773795"/>
                <a:gd name="connsiteY6428" fmla="*/ 299713 h 1451770"/>
                <a:gd name="connsiteX6429" fmla="*/ 1609830 w 3773795"/>
                <a:gd name="connsiteY6429" fmla="*/ 298544 h 1451770"/>
                <a:gd name="connsiteX6430" fmla="*/ 1614143 w 3773795"/>
                <a:gd name="connsiteY6430" fmla="*/ 297217 h 1451770"/>
                <a:gd name="connsiteX6431" fmla="*/ 1635089 w 3773795"/>
                <a:gd name="connsiteY6431" fmla="*/ 293833 h 1451770"/>
                <a:gd name="connsiteX6432" fmla="*/ 1646706 w 3773795"/>
                <a:gd name="connsiteY6432" fmla="*/ 291176 h 1451770"/>
                <a:gd name="connsiteX6433" fmla="*/ 1648501 w 3773795"/>
                <a:gd name="connsiteY6433" fmla="*/ 289079 h 1451770"/>
                <a:gd name="connsiteX6434" fmla="*/ 1638123 w 3773795"/>
                <a:gd name="connsiteY6434" fmla="*/ 290783 h 1451770"/>
                <a:gd name="connsiteX6435" fmla="*/ 1635624 w 3773795"/>
                <a:gd name="connsiteY6435" fmla="*/ 289212 h 1451770"/>
                <a:gd name="connsiteX6436" fmla="*/ 1633445 w 3773795"/>
                <a:gd name="connsiteY6436" fmla="*/ 290273 h 1451770"/>
                <a:gd name="connsiteX6437" fmla="*/ 1631910 w 3773795"/>
                <a:gd name="connsiteY6437" fmla="*/ 291702 h 1451770"/>
                <a:gd name="connsiteX6438" fmla="*/ 1626870 w 3773795"/>
                <a:gd name="connsiteY6438" fmla="*/ 289090 h 1451770"/>
                <a:gd name="connsiteX6439" fmla="*/ 1625503 w 3773795"/>
                <a:gd name="connsiteY6439" fmla="*/ 289740 h 1451770"/>
                <a:gd name="connsiteX6440" fmla="*/ 1624449 w 3773795"/>
                <a:gd name="connsiteY6440" fmla="*/ 291178 h 1451770"/>
                <a:gd name="connsiteX6441" fmla="*/ 1622635 w 3773795"/>
                <a:gd name="connsiteY6441" fmla="*/ 291637 h 1451770"/>
                <a:gd name="connsiteX6442" fmla="*/ 1620508 w 3773795"/>
                <a:gd name="connsiteY6442" fmla="*/ 291309 h 1451770"/>
                <a:gd name="connsiteX6443" fmla="*/ 1619804 w 3773795"/>
                <a:gd name="connsiteY6443" fmla="*/ 288161 h 1451770"/>
                <a:gd name="connsiteX6444" fmla="*/ 1622303 w 3773795"/>
                <a:gd name="connsiteY6444" fmla="*/ 283825 h 1451770"/>
                <a:gd name="connsiteX6445" fmla="*/ 1625250 w 3773795"/>
                <a:gd name="connsiteY6445" fmla="*/ 286061 h 1451770"/>
                <a:gd name="connsiteX6446" fmla="*/ 1628664 w 3773795"/>
                <a:gd name="connsiteY6446" fmla="*/ 282750 h 1451770"/>
                <a:gd name="connsiteX6447" fmla="*/ 1630882 w 3773795"/>
                <a:gd name="connsiteY6447" fmla="*/ 282661 h 1451770"/>
                <a:gd name="connsiteX6448" fmla="*/ 1637270 w 3773795"/>
                <a:gd name="connsiteY6448" fmla="*/ 284776 h 1451770"/>
                <a:gd name="connsiteX6449" fmla="*/ 1641569 w 3773795"/>
                <a:gd name="connsiteY6449" fmla="*/ 282634 h 1451770"/>
                <a:gd name="connsiteX6450" fmla="*/ 1647306 w 3773795"/>
                <a:gd name="connsiteY6450" fmla="*/ 281622 h 1451770"/>
                <a:gd name="connsiteX6451" fmla="*/ 1653629 w 3773795"/>
                <a:gd name="connsiteY6451" fmla="*/ 282568 h 1451770"/>
                <a:gd name="connsiteX6452" fmla="*/ 1656249 w 3773795"/>
                <a:gd name="connsiteY6452" fmla="*/ 282332 h 1451770"/>
                <a:gd name="connsiteX6453" fmla="*/ 1657771 w 3773795"/>
                <a:gd name="connsiteY6453" fmla="*/ 280341 h 1451770"/>
                <a:gd name="connsiteX6454" fmla="*/ 1668006 w 3773795"/>
                <a:gd name="connsiteY6454" fmla="*/ 282079 h 1451770"/>
                <a:gd name="connsiteX6455" fmla="*/ 1675100 w 3773795"/>
                <a:gd name="connsiteY6455" fmla="*/ 280894 h 1451770"/>
                <a:gd name="connsiteX6456" fmla="*/ 1679952 w 3773795"/>
                <a:gd name="connsiteY6456" fmla="*/ 280998 h 1451770"/>
                <a:gd name="connsiteX6457" fmla="*/ 1687497 w 3773795"/>
                <a:gd name="connsiteY6457" fmla="*/ 282097 h 1451770"/>
                <a:gd name="connsiteX6458" fmla="*/ 1690936 w 3773795"/>
                <a:gd name="connsiteY6458" fmla="*/ 283512 h 1451770"/>
                <a:gd name="connsiteX6459" fmla="*/ 1688959 w 3773795"/>
                <a:gd name="connsiteY6459" fmla="*/ 286794 h 1451770"/>
                <a:gd name="connsiteX6460" fmla="*/ 1681602 w 3773795"/>
                <a:gd name="connsiteY6460" fmla="*/ 292112 h 1451770"/>
                <a:gd name="connsiteX6461" fmla="*/ 1683603 w 3773795"/>
                <a:gd name="connsiteY6461" fmla="*/ 293010 h 1451770"/>
                <a:gd name="connsiteX6462" fmla="*/ 1687825 w 3773795"/>
                <a:gd name="connsiteY6462" fmla="*/ 290582 h 1451770"/>
                <a:gd name="connsiteX6463" fmla="*/ 1700513 w 3773795"/>
                <a:gd name="connsiteY6463" fmla="*/ 286980 h 1451770"/>
                <a:gd name="connsiteX6464" fmla="*/ 1702548 w 3773795"/>
                <a:gd name="connsiteY6464" fmla="*/ 287690 h 1451770"/>
                <a:gd name="connsiteX6465" fmla="*/ 1701157 w 3773795"/>
                <a:gd name="connsiteY6465" fmla="*/ 290781 h 1451770"/>
                <a:gd name="connsiteX6466" fmla="*/ 1700259 w 3773795"/>
                <a:gd name="connsiteY6466" fmla="*/ 292156 h 1451770"/>
                <a:gd name="connsiteX6467" fmla="*/ 1708709 w 3773795"/>
                <a:gd name="connsiteY6467" fmla="*/ 290355 h 1451770"/>
                <a:gd name="connsiteX6468" fmla="*/ 1715923 w 3773795"/>
                <a:gd name="connsiteY6468" fmla="*/ 286384 h 1451770"/>
                <a:gd name="connsiteX6469" fmla="*/ 1719134 w 3773795"/>
                <a:gd name="connsiteY6469" fmla="*/ 285718 h 1451770"/>
                <a:gd name="connsiteX6470" fmla="*/ 1722419 w 3773795"/>
                <a:gd name="connsiteY6470" fmla="*/ 288128 h 1451770"/>
                <a:gd name="connsiteX6471" fmla="*/ 1725481 w 3773795"/>
                <a:gd name="connsiteY6471" fmla="*/ 285915 h 1451770"/>
                <a:gd name="connsiteX6472" fmla="*/ 1726191 w 3773795"/>
                <a:gd name="connsiteY6472" fmla="*/ 283692 h 1451770"/>
                <a:gd name="connsiteX6473" fmla="*/ 1731687 w 3773795"/>
                <a:gd name="connsiteY6473" fmla="*/ 283209 h 1451770"/>
                <a:gd name="connsiteX6474" fmla="*/ 1733935 w 3773795"/>
                <a:gd name="connsiteY6474" fmla="*/ 281163 h 1451770"/>
                <a:gd name="connsiteX6475" fmla="*/ 1737796 w 3773795"/>
                <a:gd name="connsiteY6475" fmla="*/ 279674 h 1451770"/>
                <a:gd name="connsiteX6476" fmla="*/ 1741054 w 3773795"/>
                <a:gd name="connsiteY6476" fmla="*/ 279029 h 1451770"/>
                <a:gd name="connsiteX6477" fmla="*/ 1748131 w 3773795"/>
                <a:gd name="connsiteY6477" fmla="*/ 276199 h 1451770"/>
                <a:gd name="connsiteX6478" fmla="*/ 1750547 w 3773795"/>
                <a:gd name="connsiteY6478" fmla="*/ 277050 h 1451770"/>
                <a:gd name="connsiteX6479" fmla="*/ 1755265 w 3773795"/>
                <a:gd name="connsiteY6479" fmla="*/ 277800 h 1451770"/>
                <a:gd name="connsiteX6480" fmla="*/ 1759745 w 3773795"/>
                <a:gd name="connsiteY6480" fmla="*/ 279163 h 1451770"/>
                <a:gd name="connsiteX6481" fmla="*/ 1768046 w 3773795"/>
                <a:gd name="connsiteY6481" fmla="*/ 282270 h 1451770"/>
                <a:gd name="connsiteX6482" fmla="*/ 1769217 w 3773795"/>
                <a:gd name="connsiteY6482" fmla="*/ 283497 h 1451770"/>
                <a:gd name="connsiteX6483" fmla="*/ 1770268 w 3773795"/>
                <a:gd name="connsiteY6483" fmla="*/ 283692 h 1451770"/>
                <a:gd name="connsiteX6484" fmla="*/ 1772639 w 3773795"/>
                <a:gd name="connsiteY6484" fmla="*/ 285928 h 1451770"/>
                <a:gd name="connsiteX6485" fmla="*/ 1770845 w 3773795"/>
                <a:gd name="connsiteY6485" fmla="*/ 289210 h 1451770"/>
                <a:gd name="connsiteX6486" fmla="*/ 1768923 w 3773795"/>
                <a:gd name="connsiteY6486" fmla="*/ 293926 h 1451770"/>
                <a:gd name="connsiteX6487" fmla="*/ 1765381 w 3773795"/>
                <a:gd name="connsiteY6487" fmla="*/ 296131 h 1451770"/>
                <a:gd name="connsiteX6488" fmla="*/ 1767560 w 3773795"/>
                <a:gd name="connsiteY6488" fmla="*/ 296339 h 1451770"/>
                <a:gd name="connsiteX6489" fmla="*/ 1769079 w 3773795"/>
                <a:gd name="connsiteY6489" fmla="*/ 295766 h 1451770"/>
                <a:gd name="connsiteX6490" fmla="*/ 1771912 w 3773795"/>
                <a:gd name="connsiteY6490" fmla="*/ 292633 h 1451770"/>
                <a:gd name="connsiteX6491" fmla="*/ 1774430 w 3773795"/>
                <a:gd name="connsiteY6491" fmla="*/ 290390 h 1451770"/>
                <a:gd name="connsiteX6492" fmla="*/ 1773855 w 3773795"/>
                <a:gd name="connsiteY6492" fmla="*/ 281060 h 1451770"/>
                <a:gd name="connsiteX6493" fmla="*/ 1769242 w 3773795"/>
                <a:gd name="connsiteY6493" fmla="*/ 276313 h 1451770"/>
                <a:gd name="connsiteX6494" fmla="*/ 1765790 w 3773795"/>
                <a:gd name="connsiteY6494" fmla="*/ 274720 h 1451770"/>
                <a:gd name="connsiteX6495" fmla="*/ 1757679 w 3773795"/>
                <a:gd name="connsiteY6495" fmla="*/ 269729 h 1451770"/>
                <a:gd name="connsiteX6496" fmla="*/ 1754930 w 3773795"/>
                <a:gd name="connsiteY6496" fmla="*/ 267600 h 1451770"/>
                <a:gd name="connsiteX6497" fmla="*/ 1751307 w 3773795"/>
                <a:gd name="connsiteY6497" fmla="*/ 265314 h 1451770"/>
                <a:gd name="connsiteX6498" fmla="*/ 1752717 w 3773795"/>
                <a:gd name="connsiteY6498" fmla="*/ 263988 h 1451770"/>
                <a:gd name="connsiteX6499" fmla="*/ 1768346 w 3773795"/>
                <a:gd name="connsiteY6499" fmla="*/ 265737 h 1451770"/>
                <a:gd name="connsiteX6500" fmla="*/ 1776295 w 3773795"/>
                <a:gd name="connsiteY6500" fmla="*/ 264891 h 1451770"/>
                <a:gd name="connsiteX6501" fmla="*/ 1784845 w 3773795"/>
                <a:gd name="connsiteY6501" fmla="*/ 265384 h 1451770"/>
                <a:gd name="connsiteX6502" fmla="*/ 1796373 w 3773795"/>
                <a:gd name="connsiteY6502" fmla="*/ 263270 h 1451770"/>
                <a:gd name="connsiteX6503" fmla="*/ 1801171 w 3773795"/>
                <a:gd name="connsiteY6503" fmla="*/ 265471 h 1451770"/>
                <a:gd name="connsiteX6504" fmla="*/ 1806700 w 3773795"/>
                <a:gd name="connsiteY6504" fmla="*/ 265395 h 1451770"/>
                <a:gd name="connsiteX6505" fmla="*/ 1813046 w 3773795"/>
                <a:gd name="connsiteY6505" fmla="*/ 267215 h 1451770"/>
                <a:gd name="connsiteX6506" fmla="*/ 1814948 w 3773795"/>
                <a:gd name="connsiteY6506" fmla="*/ 265093 h 1451770"/>
                <a:gd name="connsiteX6507" fmla="*/ 1804538 w 3773795"/>
                <a:gd name="connsiteY6507" fmla="*/ 262788 h 1451770"/>
                <a:gd name="connsiteX6508" fmla="*/ 1799886 w 3773795"/>
                <a:gd name="connsiteY6508" fmla="*/ 263026 h 1451770"/>
                <a:gd name="connsiteX6509" fmla="*/ 1798237 w 3773795"/>
                <a:gd name="connsiteY6509" fmla="*/ 261821 h 1451770"/>
                <a:gd name="connsiteX6510" fmla="*/ 1799966 w 3773795"/>
                <a:gd name="connsiteY6510" fmla="*/ 259137 h 1451770"/>
                <a:gd name="connsiteX6511" fmla="*/ 1802024 w 3773795"/>
                <a:gd name="connsiteY6511" fmla="*/ 255039 h 1451770"/>
                <a:gd name="connsiteX6512" fmla="*/ 1800010 w 3773795"/>
                <a:gd name="connsiteY6512" fmla="*/ 251467 h 1451770"/>
                <a:gd name="connsiteX6513" fmla="*/ 1798069 w 3773795"/>
                <a:gd name="connsiteY6513" fmla="*/ 249563 h 1451770"/>
                <a:gd name="connsiteX6514" fmla="*/ 1797747 w 3773795"/>
                <a:gd name="connsiteY6514" fmla="*/ 245942 h 1451770"/>
                <a:gd name="connsiteX6515" fmla="*/ 1799606 w 3773795"/>
                <a:gd name="connsiteY6515" fmla="*/ 241773 h 1451770"/>
                <a:gd name="connsiteX6516" fmla="*/ 1803936 w 3773795"/>
                <a:gd name="connsiteY6516" fmla="*/ 240002 h 1451770"/>
                <a:gd name="connsiteX6517" fmla="*/ 1806304 w 3773795"/>
                <a:gd name="connsiteY6517" fmla="*/ 236602 h 1451770"/>
                <a:gd name="connsiteX6518" fmla="*/ 1811275 w 3773795"/>
                <a:gd name="connsiteY6518" fmla="*/ 232097 h 1451770"/>
                <a:gd name="connsiteX6519" fmla="*/ 1835432 w 3773795"/>
                <a:gd name="connsiteY6519" fmla="*/ 217531 h 1451770"/>
                <a:gd name="connsiteX6520" fmla="*/ 1846959 w 3773795"/>
                <a:gd name="connsiteY6520" fmla="*/ 211967 h 1451770"/>
                <a:gd name="connsiteX6521" fmla="*/ 1851377 w 3773795"/>
                <a:gd name="connsiteY6521" fmla="*/ 211277 h 1451770"/>
                <a:gd name="connsiteX6522" fmla="*/ 1856452 w 3773795"/>
                <a:gd name="connsiteY6522" fmla="*/ 211708 h 1451770"/>
                <a:gd name="connsiteX6523" fmla="*/ 1866486 w 3773795"/>
                <a:gd name="connsiteY6523" fmla="*/ 207047 h 1451770"/>
                <a:gd name="connsiteX6524" fmla="*/ 1943740 w 3773795"/>
                <a:gd name="connsiteY6524" fmla="*/ 185164 h 1451770"/>
                <a:gd name="connsiteX6525" fmla="*/ 1945177 w 3773795"/>
                <a:gd name="connsiteY6525" fmla="*/ 185349 h 1451770"/>
                <a:gd name="connsiteX6526" fmla="*/ 1947880 w 3773795"/>
                <a:gd name="connsiteY6526" fmla="*/ 187968 h 1451770"/>
                <a:gd name="connsiteX6527" fmla="*/ 1945906 w 3773795"/>
                <a:gd name="connsiteY6527" fmla="*/ 190282 h 1451770"/>
                <a:gd name="connsiteX6528" fmla="*/ 1943151 w 3773795"/>
                <a:gd name="connsiteY6528" fmla="*/ 191468 h 1451770"/>
                <a:gd name="connsiteX6529" fmla="*/ 1940104 w 3773795"/>
                <a:gd name="connsiteY6529" fmla="*/ 189516 h 1451770"/>
                <a:gd name="connsiteX6530" fmla="*/ 1932538 w 3773795"/>
                <a:gd name="connsiteY6530" fmla="*/ 189656 h 1451770"/>
                <a:gd name="connsiteX6531" fmla="*/ 1919577 w 3773795"/>
                <a:gd name="connsiteY6531" fmla="*/ 187540 h 1451770"/>
                <a:gd name="connsiteX6532" fmla="*/ 1923287 w 3773795"/>
                <a:gd name="connsiteY6532" fmla="*/ 186211 h 1451770"/>
                <a:gd name="connsiteX6533" fmla="*/ 1920491 w 3773795"/>
                <a:gd name="connsiteY6533" fmla="*/ 177923 h 1451770"/>
                <a:gd name="connsiteX6534" fmla="*/ 1924550 w 3773795"/>
                <a:gd name="connsiteY6534" fmla="*/ 178107 h 1451770"/>
                <a:gd name="connsiteX6535" fmla="*/ 1925672 w 3773795"/>
                <a:gd name="connsiteY6535" fmla="*/ 179050 h 1451770"/>
                <a:gd name="connsiteX6536" fmla="*/ 1926301 w 3773795"/>
                <a:gd name="connsiteY6536" fmla="*/ 180130 h 1451770"/>
                <a:gd name="connsiteX6537" fmla="*/ 1926286 w 3773795"/>
                <a:gd name="connsiteY6537" fmla="*/ 181535 h 1451770"/>
                <a:gd name="connsiteX6538" fmla="*/ 1925405 w 3773795"/>
                <a:gd name="connsiteY6538" fmla="*/ 181535 h 1451770"/>
                <a:gd name="connsiteX6539" fmla="*/ 1921549 w 3773795"/>
                <a:gd name="connsiteY6539" fmla="*/ 181694 h 1451770"/>
                <a:gd name="connsiteX6540" fmla="*/ 1920836 w 3773795"/>
                <a:gd name="connsiteY6540" fmla="*/ 182494 h 1451770"/>
                <a:gd name="connsiteX6541" fmla="*/ 1916368 w 3773795"/>
                <a:gd name="connsiteY6541" fmla="*/ 184358 h 1451770"/>
                <a:gd name="connsiteX6542" fmla="*/ 1913730 w 3773795"/>
                <a:gd name="connsiteY6542" fmla="*/ 184721 h 1451770"/>
                <a:gd name="connsiteX6543" fmla="*/ 1910911 w 3773795"/>
                <a:gd name="connsiteY6543" fmla="*/ 183690 h 1451770"/>
                <a:gd name="connsiteX6544" fmla="*/ 1911680 w 3773795"/>
                <a:gd name="connsiteY6544" fmla="*/ 181551 h 1451770"/>
                <a:gd name="connsiteX6545" fmla="*/ 1918141 w 3773795"/>
                <a:gd name="connsiteY6545" fmla="*/ 181169 h 1451770"/>
                <a:gd name="connsiteX6546" fmla="*/ 1830893 w 3773795"/>
                <a:gd name="connsiteY6546" fmla="*/ 124475 h 1451770"/>
                <a:gd name="connsiteX6547" fmla="*/ 1839406 w 3773795"/>
                <a:gd name="connsiteY6547" fmla="*/ 126512 h 1451770"/>
                <a:gd name="connsiteX6548" fmla="*/ 1844972 w 3773795"/>
                <a:gd name="connsiteY6548" fmla="*/ 129514 h 1451770"/>
                <a:gd name="connsiteX6549" fmla="*/ 1846218 w 3773795"/>
                <a:gd name="connsiteY6549" fmla="*/ 131118 h 1451770"/>
                <a:gd name="connsiteX6550" fmla="*/ 1845212 w 3773795"/>
                <a:gd name="connsiteY6550" fmla="*/ 131939 h 1451770"/>
                <a:gd name="connsiteX6551" fmla="*/ 1842718 w 3773795"/>
                <a:gd name="connsiteY6551" fmla="*/ 132499 h 1451770"/>
                <a:gd name="connsiteX6552" fmla="*/ 1841504 w 3773795"/>
                <a:gd name="connsiteY6552" fmla="*/ 133350 h 1451770"/>
                <a:gd name="connsiteX6553" fmla="*/ 1839349 w 3773795"/>
                <a:gd name="connsiteY6553" fmla="*/ 137176 h 1451770"/>
                <a:gd name="connsiteX6554" fmla="*/ 1838431 w 3773795"/>
                <a:gd name="connsiteY6554" fmla="*/ 140640 h 1451770"/>
                <a:gd name="connsiteX6555" fmla="*/ 1831843 w 3773795"/>
                <a:gd name="connsiteY6555" fmla="*/ 151887 h 1451770"/>
                <a:gd name="connsiteX6556" fmla="*/ 1831057 w 3773795"/>
                <a:gd name="connsiteY6556" fmla="*/ 153900 h 1451770"/>
                <a:gd name="connsiteX6557" fmla="*/ 1834927 w 3773795"/>
                <a:gd name="connsiteY6557" fmla="*/ 152150 h 1451770"/>
                <a:gd name="connsiteX6558" fmla="*/ 1838472 w 3773795"/>
                <a:gd name="connsiteY6558" fmla="*/ 148321 h 1451770"/>
                <a:gd name="connsiteX6559" fmla="*/ 1840621 w 3773795"/>
                <a:gd name="connsiteY6559" fmla="*/ 145144 h 1451770"/>
                <a:gd name="connsiteX6560" fmla="*/ 1842956 w 3773795"/>
                <a:gd name="connsiteY6560" fmla="*/ 143112 h 1451770"/>
                <a:gd name="connsiteX6561" fmla="*/ 1845726 w 3773795"/>
                <a:gd name="connsiteY6561" fmla="*/ 143076 h 1451770"/>
                <a:gd name="connsiteX6562" fmla="*/ 1848455 w 3773795"/>
                <a:gd name="connsiteY6562" fmla="*/ 142349 h 1451770"/>
                <a:gd name="connsiteX6563" fmla="*/ 1853636 w 3773795"/>
                <a:gd name="connsiteY6563" fmla="*/ 139653 h 1451770"/>
                <a:gd name="connsiteX6564" fmla="*/ 1858931 w 3773795"/>
                <a:gd name="connsiteY6564" fmla="*/ 138477 h 1451770"/>
                <a:gd name="connsiteX6565" fmla="*/ 1861759 w 3773795"/>
                <a:gd name="connsiteY6565" fmla="*/ 138513 h 1451770"/>
                <a:gd name="connsiteX6566" fmla="*/ 1864521 w 3773795"/>
                <a:gd name="connsiteY6566" fmla="*/ 139794 h 1451770"/>
                <a:gd name="connsiteX6567" fmla="*/ 1866253 w 3773795"/>
                <a:gd name="connsiteY6567" fmla="*/ 142779 h 1451770"/>
                <a:gd name="connsiteX6568" fmla="*/ 1868179 w 3773795"/>
                <a:gd name="connsiteY6568" fmla="*/ 145202 h 1451770"/>
                <a:gd name="connsiteX6569" fmla="*/ 1875102 w 3773795"/>
                <a:gd name="connsiteY6569" fmla="*/ 146972 h 1451770"/>
                <a:gd name="connsiteX6570" fmla="*/ 1876098 w 3773795"/>
                <a:gd name="connsiteY6570" fmla="*/ 147618 h 1451770"/>
                <a:gd name="connsiteX6571" fmla="*/ 1876711 w 3773795"/>
                <a:gd name="connsiteY6571" fmla="*/ 149604 h 1451770"/>
                <a:gd name="connsiteX6572" fmla="*/ 1876160 w 3773795"/>
                <a:gd name="connsiteY6572" fmla="*/ 151723 h 1451770"/>
                <a:gd name="connsiteX6573" fmla="*/ 1880166 w 3773795"/>
                <a:gd name="connsiteY6573" fmla="*/ 153914 h 1451770"/>
                <a:gd name="connsiteX6574" fmla="*/ 1885646 w 3773795"/>
                <a:gd name="connsiteY6574" fmla="*/ 152952 h 1451770"/>
                <a:gd name="connsiteX6575" fmla="*/ 1888600 w 3773795"/>
                <a:gd name="connsiteY6575" fmla="*/ 153517 h 1451770"/>
                <a:gd name="connsiteX6576" fmla="*/ 1891505 w 3773795"/>
                <a:gd name="connsiteY6576" fmla="*/ 154711 h 1451770"/>
                <a:gd name="connsiteX6577" fmla="*/ 1892801 w 3773795"/>
                <a:gd name="connsiteY6577" fmla="*/ 156609 h 1451770"/>
                <a:gd name="connsiteX6578" fmla="*/ 1893939 w 3773795"/>
                <a:gd name="connsiteY6578" fmla="*/ 158894 h 1451770"/>
                <a:gd name="connsiteX6579" fmla="*/ 1895135 w 3773795"/>
                <a:gd name="connsiteY6579" fmla="*/ 162146 h 1451770"/>
                <a:gd name="connsiteX6580" fmla="*/ 1895854 w 3773795"/>
                <a:gd name="connsiteY6580" fmla="*/ 165652 h 1451770"/>
                <a:gd name="connsiteX6581" fmla="*/ 1895189 w 3773795"/>
                <a:gd name="connsiteY6581" fmla="*/ 170207 h 1451770"/>
                <a:gd name="connsiteX6582" fmla="*/ 1884576 w 3773795"/>
                <a:gd name="connsiteY6582" fmla="*/ 177312 h 1451770"/>
                <a:gd name="connsiteX6583" fmla="*/ 1882567 w 3773795"/>
                <a:gd name="connsiteY6583" fmla="*/ 177938 h 1451770"/>
                <a:gd name="connsiteX6584" fmla="*/ 1877651 w 3773795"/>
                <a:gd name="connsiteY6584" fmla="*/ 177481 h 1451770"/>
                <a:gd name="connsiteX6585" fmla="*/ 1872742 w 3773795"/>
                <a:gd name="connsiteY6585" fmla="*/ 178163 h 1451770"/>
                <a:gd name="connsiteX6586" fmla="*/ 1859959 w 3773795"/>
                <a:gd name="connsiteY6586" fmla="*/ 181858 h 1451770"/>
                <a:gd name="connsiteX6587" fmla="*/ 1844122 w 3773795"/>
                <a:gd name="connsiteY6587" fmla="*/ 181974 h 1451770"/>
                <a:gd name="connsiteX6588" fmla="*/ 1839557 w 3773795"/>
                <a:gd name="connsiteY6588" fmla="*/ 185237 h 1451770"/>
                <a:gd name="connsiteX6589" fmla="*/ 1838179 w 3773795"/>
                <a:gd name="connsiteY6589" fmla="*/ 185141 h 1451770"/>
                <a:gd name="connsiteX6590" fmla="*/ 1836825 w 3773795"/>
                <a:gd name="connsiteY6590" fmla="*/ 184574 h 1451770"/>
                <a:gd name="connsiteX6591" fmla="*/ 1835587 w 3773795"/>
                <a:gd name="connsiteY6591" fmla="*/ 183475 h 1451770"/>
                <a:gd name="connsiteX6592" fmla="*/ 1825930 w 3773795"/>
                <a:gd name="connsiteY6592" fmla="*/ 184400 h 1451770"/>
                <a:gd name="connsiteX6593" fmla="*/ 1815138 w 3773795"/>
                <a:gd name="connsiteY6593" fmla="*/ 184928 h 1451770"/>
                <a:gd name="connsiteX6594" fmla="*/ 1804341 w 3773795"/>
                <a:gd name="connsiteY6594" fmla="*/ 185043 h 1451770"/>
                <a:gd name="connsiteX6595" fmla="*/ 1800711 w 3773795"/>
                <a:gd name="connsiteY6595" fmla="*/ 187391 h 1451770"/>
                <a:gd name="connsiteX6596" fmla="*/ 1789683 w 3773795"/>
                <a:gd name="connsiteY6596" fmla="*/ 191958 h 1451770"/>
                <a:gd name="connsiteX6597" fmla="*/ 1779534 w 3773795"/>
                <a:gd name="connsiteY6597" fmla="*/ 195420 h 1451770"/>
                <a:gd name="connsiteX6598" fmla="*/ 1774289 w 3773795"/>
                <a:gd name="connsiteY6598" fmla="*/ 196286 h 1451770"/>
                <a:gd name="connsiteX6599" fmla="*/ 1766667 w 3773795"/>
                <a:gd name="connsiteY6599" fmla="*/ 195369 h 1451770"/>
                <a:gd name="connsiteX6600" fmla="*/ 1764265 w 3773795"/>
                <a:gd name="connsiteY6600" fmla="*/ 194194 h 1451770"/>
                <a:gd name="connsiteX6601" fmla="*/ 1761952 w 3773795"/>
                <a:gd name="connsiteY6601" fmla="*/ 192408 h 1451770"/>
                <a:gd name="connsiteX6602" fmla="*/ 1765304 w 3773795"/>
                <a:gd name="connsiteY6602" fmla="*/ 190216 h 1451770"/>
                <a:gd name="connsiteX6603" fmla="*/ 1767668 w 3773795"/>
                <a:gd name="connsiteY6603" fmla="*/ 185684 h 1451770"/>
                <a:gd name="connsiteX6604" fmla="*/ 1770594 w 3773795"/>
                <a:gd name="connsiteY6604" fmla="*/ 183048 h 1451770"/>
                <a:gd name="connsiteX6605" fmla="*/ 1778135 w 3773795"/>
                <a:gd name="connsiteY6605" fmla="*/ 177978 h 1451770"/>
                <a:gd name="connsiteX6606" fmla="*/ 1778988 w 3773795"/>
                <a:gd name="connsiteY6606" fmla="*/ 175980 h 1451770"/>
                <a:gd name="connsiteX6607" fmla="*/ 1780448 w 3773795"/>
                <a:gd name="connsiteY6607" fmla="*/ 171631 h 1451770"/>
                <a:gd name="connsiteX6608" fmla="*/ 1781320 w 3773795"/>
                <a:gd name="connsiteY6608" fmla="*/ 170011 h 1451770"/>
                <a:gd name="connsiteX6609" fmla="*/ 1782471 w 3773795"/>
                <a:gd name="connsiteY6609" fmla="*/ 168470 h 1451770"/>
                <a:gd name="connsiteX6610" fmla="*/ 1783404 w 3773795"/>
                <a:gd name="connsiteY6610" fmla="*/ 166627 h 1451770"/>
                <a:gd name="connsiteX6611" fmla="*/ 1783525 w 3773795"/>
                <a:gd name="connsiteY6611" fmla="*/ 163830 h 1451770"/>
                <a:gd name="connsiteX6612" fmla="*/ 1783996 w 3773795"/>
                <a:gd name="connsiteY6612" fmla="*/ 161512 h 1451770"/>
                <a:gd name="connsiteX6613" fmla="*/ 1786924 w 3773795"/>
                <a:gd name="connsiteY6613" fmla="*/ 157912 h 1451770"/>
                <a:gd name="connsiteX6614" fmla="*/ 1789118 w 3773795"/>
                <a:gd name="connsiteY6614" fmla="*/ 156225 h 1451770"/>
                <a:gd name="connsiteX6615" fmla="*/ 1791417 w 3773795"/>
                <a:gd name="connsiteY6615" fmla="*/ 155757 h 1451770"/>
                <a:gd name="connsiteX6616" fmla="*/ 1797077 w 3773795"/>
                <a:gd name="connsiteY6616" fmla="*/ 156430 h 1451770"/>
                <a:gd name="connsiteX6617" fmla="*/ 1798850 w 3773795"/>
                <a:gd name="connsiteY6617" fmla="*/ 156192 h 1451770"/>
                <a:gd name="connsiteX6618" fmla="*/ 1797572 w 3773795"/>
                <a:gd name="connsiteY6618" fmla="*/ 155023 h 1451770"/>
                <a:gd name="connsiteX6619" fmla="*/ 1796649 w 3773795"/>
                <a:gd name="connsiteY6619" fmla="*/ 150856 h 1451770"/>
                <a:gd name="connsiteX6620" fmla="*/ 1796833 w 3773795"/>
                <a:gd name="connsiteY6620" fmla="*/ 149483 h 1451770"/>
                <a:gd name="connsiteX6621" fmla="*/ 1797647 w 3773795"/>
                <a:gd name="connsiteY6621" fmla="*/ 146825 h 1451770"/>
                <a:gd name="connsiteX6622" fmla="*/ 1799064 w 3773795"/>
                <a:gd name="connsiteY6622" fmla="*/ 145528 h 1451770"/>
                <a:gd name="connsiteX6623" fmla="*/ 1800510 w 3773795"/>
                <a:gd name="connsiteY6623" fmla="*/ 144706 h 1451770"/>
                <a:gd name="connsiteX6624" fmla="*/ 1801335 w 3773795"/>
                <a:gd name="connsiteY6624" fmla="*/ 141123 h 1451770"/>
                <a:gd name="connsiteX6625" fmla="*/ 1800983 w 3773795"/>
                <a:gd name="connsiteY6625" fmla="*/ 139794 h 1451770"/>
                <a:gd name="connsiteX6626" fmla="*/ 1803119 w 3773795"/>
                <a:gd name="connsiteY6626" fmla="*/ 138138 h 1451770"/>
                <a:gd name="connsiteX6627" fmla="*/ 1804164 w 3773795"/>
                <a:gd name="connsiteY6627" fmla="*/ 135794 h 1451770"/>
                <a:gd name="connsiteX6628" fmla="*/ 1806693 w 3773795"/>
                <a:gd name="connsiteY6628" fmla="*/ 134404 h 1451770"/>
                <a:gd name="connsiteX6629" fmla="*/ 1811837 w 3773795"/>
                <a:gd name="connsiteY6629" fmla="*/ 133326 h 1451770"/>
                <a:gd name="connsiteX6630" fmla="*/ 1812106 w 3773795"/>
                <a:gd name="connsiteY6630" fmla="*/ 130449 h 1451770"/>
                <a:gd name="connsiteX6631" fmla="*/ 1812888 w 3773795"/>
                <a:gd name="connsiteY6631" fmla="*/ 128578 h 1451770"/>
                <a:gd name="connsiteX6632" fmla="*/ 1814054 w 3773795"/>
                <a:gd name="connsiteY6632" fmla="*/ 128037 h 1451770"/>
                <a:gd name="connsiteX6633" fmla="*/ 1816663 w 3773795"/>
                <a:gd name="connsiteY6633" fmla="*/ 127512 h 1451770"/>
                <a:gd name="connsiteX6634" fmla="*/ 1818053 w 3773795"/>
                <a:gd name="connsiteY6634" fmla="*/ 127599 h 1451770"/>
                <a:gd name="connsiteX6635" fmla="*/ 1819997 w 3773795"/>
                <a:gd name="connsiteY6635" fmla="*/ 130500 h 1451770"/>
                <a:gd name="connsiteX6636" fmla="*/ 1822057 w 3773795"/>
                <a:gd name="connsiteY6636" fmla="*/ 132870 h 1451770"/>
                <a:gd name="connsiteX6637" fmla="*/ 1824782 w 3773795"/>
                <a:gd name="connsiteY6637" fmla="*/ 133423 h 1451770"/>
                <a:gd name="connsiteX6638" fmla="*/ 1827496 w 3773795"/>
                <a:gd name="connsiteY6638" fmla="*/ 133246 h 1451770"/>
                <a:gd name="connsiteX6639" fmla="*/ 1825860 w 3773795"/>
                <a:gd name="connsiteY6639" fmla="*/ 130451 h 1451770"/>
                <a:gd name="connsiteX6640" fmla="*/ 1825935 w 3773795"/>
                <a:gd name="connsiteY6640" fmla="*/ 127441 h 1451770"/>
                <a:gd name="connsiteX6641" fmla="*/ 1826918 w 3773795"/>
                <a:gd name="connsiteY6641" fmla="*/ 125481 h 1451770"/>
                <a:gd name="connsiteX6642" fmla="*/ 1828185 w 3773795"/>
                <a:gd name="connsiteY6642" fmla="*/ 124630 h 1451770"/>
                <a:gd name="connsiteX6643" fmla="*/ 1250308 w 3773795"/>
                <a:gd name="connsiteY6643" fmla="*/ 112959 h 1451770"/>
                <a:gd name="connsiteX6644" fmla="*/ 1252530 w 3773795"/>
                <a:gd name="connsiteY6644" fmla="*/ 113627 h 1451770"/>
                <a:gd name="connsiteX6645" fmla="*/ 1255263 w 3773795"/>
                <a:gd name="connsiteY6645" fmla="*/ 115416 h 1451770"/>
                <a:gd name="connsiteX6646" fmla="*/ 1257360 w 3773795"/>
                <a:gd name="connsiteY6646" fmla="*/ 114022 h 1451770"/>
                <a:gd name="connsiteX6647" fmla="*/ 1277101 w 3773795"/>
                <a:gd name="connsiteY6647" fmla="*/ 118327 h 1451770"/>
                <a:gd name="connsiteX6648" fmla="*/ 1281284 w 3773795"/>
                <a:gd name="connsiteY6648" fmla="*/ 119942 h 1451770"/>
                <a:gd name="connsiteX6649" fmla="*/ 1282161 w 3773795"/>
                <a:gd name="connsiteY6649" fmla="*/ 121061 h 1451770"/>
                <a:gd name="connsiteX6650" fmla="*/ 1264939 w 3773795"/>
                <a:gd name="connsiteY6650" fmla="*/ 121678 h 1451770"/>
                <a:gd name="connsiteX6651" fmla="*/ 1261387 w 3773795"/>
                <a:gd name="connsiteY6651" fmla="*/ 121484 h 1451770"/>
                <a:gd name="connsiteX6652" fmla="*/ 1261100 w 3773795"/>
                <a:gd name="connsiteY6652" fmla="*/ 118945 h 1451770"/>
                <a:gd name="connsiteX6653" fmla="*/ 1257144 w 3773795"/>
                <a:gd name="connsiteY6653" fmla="*/ 118894 h 1451770"/>
                <a:gd name="connsiteX6654" fmla="*/ 1250424 w 3773795"/>
                <a:gd name="connsiteY6654" fmla="*/ 117235 h 1451770"/>
                <a:gd name="connsiteX6655" fmla="*/ 1248615 w 3773795"/>
                <a:gd name="connsiteY6655" fmla="*/ 114897 h 1451770"/>
                <a:gd name="connsiteX6656" fmla="*/ 1248166 w 3773795"/>
                <a:gd name="connsiteY6656" fmla="*/ 113944 h 1451770"/>
                <a:gd name="connsiteX6657" fmla="*/ 1779228 w 3773795"/>
                <a:gd name="connsiteY6657" fmla="*/ 111131 h 1451770"/>
                <a:gd name="connsiteX6658" fmla="*/ 1780845 w 3773795"/>
                <a:gd name="connsiteY6658" fmla="*/ 111997 h 1451770"/>
                <a:gd name="connsiteX6659" fmla="*/ 1784356 w 3773795"/>
                <a:gd name="connsiteY6659" fmla="*/ 112669 h 1451770"/>
                <a:gd name="connsiteX6660" fmla="*/ 1780722 w 3773795"/>
                <a:gd name="connsiteY6660" fmla="*/ 115467 h 1451770"/>
                <a:gd name="connsiteX6661" fmla="*/ 1775846 w 3773795"/>
                <a:gd name="connsiteY6661" fmla="*/ 116096 h 1451770"/>
                <a:gd name="connsiteX6662" fmla="*/ 1776440 w 3773795"/>
                <a:gd name="connsiteY6662" fmla="*/ 112610 h 1451770"/>
                <a:gd name="connsiteX6663" fmla="*/ 1776738 w 3773795"/>
                <a:gd name="connsiteY6663" fmla="*/ 111665 h 1451770"/>
                <a:gd name="connsiteX6664" fmla="*/ 1595334 w 3773795"/>
                <a:gd name="connsiteY6664" fmla="*/ 93474 h 1451770"/>
                <a:gd name="connsiteX6665" fmla="*/ 1604654 w 3773795"/>
                <a:gd name="connsiteY6665" fmla="*/ 93820 h 1451770"/>
                <a:gd name="connsiteX6666" fmla="*/ 1613926 w 3773795"/>
                <a:gd name="connsiteY6666" fmla="*/ 96289 h 1451770"/>
                <a:gd name="connsiteX6667" fmla="*/ 1633579 w 3773795"/>
                <a:gd name="connsiteY6667" fmla="*/ 99082 h 1451770"/>
                <a:gd name="connsiteX6668" fmla="*/ 1640690 w 3773795"/>
                <a:gd name="connsiteY6668" fmla="*/ 100923 h 1451770"/>
                <a:gd name="connsiteX6669" fmla="*/ 1636276 w 3773795"/>
                <a:gd name="connsiteY6669" fmla="*/ 105333 h 1451770"/>
                <a:gd name="connsiteX6670" fmla="*/ 1631379 w 3773795"/>
                <a:gd name="connsiteY6670" fmla="*/ 106981 h 1451770"/>
                <a:gd name="connsiteX6671" fmla="*/ 1626360 w 3773795"/>
                <a:gd name="connsiteY6671" fmla="*/ 109301 h 1451770"/>
                <a:gd name="connsiteX6672" fmla="*/ 1621301 w 3773795"/>
                <a:gd name="connsiteY6672" fmla="*/ 110957 h 1451770"/>
                <a:gd name="connsiteX6673" fmla="*/ 1615932 w 3773795"/>
                <a:gd name="connsiteY6673" fmla="*/ 111922 h 1451770"/>
                <a:gd name="connsiteX6674" fmla="*/ 1610562 w 3773795"/>
                <a:gd name="connsiteY6674" fmla="*/ 112407 h 1451770"/>
                <a:gd name="connsiteX6675" fmla="*/ 1604218 w 3773795"/>
                <a:gd name="connsiteY6675" fmla="*/ 111948 h 1451770"/>
                <a:gd name="connsiteX6676" fmla="*/ 1593823 w 3773795"/>
                <a:gd name="connsiteY6676" fmla="*/ 106646 h 1451770"/>
                <a:gd name="connsiteX6677" fmla="*/ 1587027 w 3773795"/>
                <a:gd name="connsiteY6677" fmla="*/ 104392 h 1451770"/>
                <a:gd name="connsiteX6678" fmla="*/ 1581495 w 3773795"/>
                <a:gd name="connsiteY6678" fmla="*/ 100903 h 1451770"/>
                <a:gd name="connsiteX6679" fmla="*/ 1580262 w 3773795"/>
                <a:gd name="connsiteY6679" fmla="*/ 97047 h 1451770"/>
                <a:gd name="connsiteX6680" fmla="*/ 1583777 w 3773795"/>
                <a:gd name="connsiteY6680" fmla="*/ 94564 h 1451770"/>
                <a:gd name="connsiteX6681" fmla="*/ 1588126 w 3773795"/>
                <a:gd name="connsiteY6681" fmla="*/ 93630 h 1451770"/>
                <a:gd name="connsiteX6682" fmla="*/ 692815 w 3773795"/>
                <a:gd name="connsiteY6682" fmla="*/ 91354 h 1451770"/>
                <a:gd name="connsiteX6683" fmla="*/ 699848 w 3773795"/>
                <a:gd name="connsiteY6683" fmla="*/ 93659 h 1451770"/>
                <a:gd name="connsiteX6684" fmla="*/ 699483 w 3773795"/>
                <a:gd name="connsiteY6684" fmla="*/ 95592 h 1451770"/>
                <a:gd name="connsiteX6685" fmla="*/ 699591 w 3773795"/>
                <a:gd name="connsiteY6685" fmla="*/ 96555 h 1451770"/>
                <a:gd name="connsiteX6686" fmla="*/ 701452 w 3773795"/>
                <a:gd name="connsiteY6686" fmla="*/ 97510 h 1451770"/>
                <a:gd name="connsiteX6687" fmla="*/ 703273 w 3773795"/>
                <a:gd name="connsiteY6687" fmla="*/ 98925 h 1451770"/>
                <a:gd name="connsiteX6688" fmla="*/ 703845 w 3773795"/>
                <a:gd name="connsiteY6688" fmla="*/ 99544 h 1451770"/>
                <a:gd name="connsiteX6689" fmla="*/ 703759 w 3773795"/>
                <a:gd name="connsiteY6689" fmla="*/ 100119 h 1451770"/>
                <a:gd name="connsiteX6690" fmla="*/ 695909 w 3773795"/>
                <a:gd name="connsiteY6690" fmla="*/ 99542 h 1451770"/>
                <a:gd name="connsiteX6691" fmla="*/ 682152 w 3773795"/>
                <a:gd name="connsiteY6691" fmla="*/ 99923 h 1451770"/>
                <a:gd name="connsiteX6692" fmla="*/ 674132 w 3773795"/>
                <a:gd name="connsiteY6692" fmla="*/ 97094 h 1451770"/>
                <a:gd name="connsiteX6693" fmla="*/ 682562 w 3773795"/>
                <a:gd name="connsiteY6693" fmla="*/ 94325 h 1451770"/>
                <a:gd name="connsiteX6694" fmla="*/ 687053 w 3773795"/>
                <a:gd name="connsiteY6694" fmla="*/ 93664 h 1451770"/>
                <a:gd name="connsiteX6695" fmla="*/ 883160 w 3773795"/>
                <a:gd name="connsiteY6695" fmla="*/ 90109 h 1451770"/>
                <a:gd name="connsiteX6696" fmla="*/ 888846 w 3773795"/>
                <a:gd name="connsiteY6696" fmla="*/ 91939 h 1451770"/>
                <a:gd name="connsiteX6697" fmla="*/ 891264 w 3773795"/>
                <a:gd name="connsiteY6697" fmla="*/ 96402 h 1451770"/>
                <a:gd name="connsiteX6698" fmla="*/ 886352 w 3773795"/>
                <a:gd name="connsiteY6698" fmla="*/ 98342 h 1451770"/>
                <a:gd name="connsiteX6699" fmla="*/ 878431 w 3773795"/>
                <a:gd name="connsiteY6699" fmla="*/ 99991 h 1451770"/>
                <a:gd name="connsiteX6700" fmla="*/ 875600 w 3773795"/>
                <a:gd name="connsiteY6700" fmla="*/ 99492 h 1451770"/>
                <a:gd name="connsiteX6701" fmla="*/ 874862 w 3773795"/>
                <a:gd name="connsiteY6701" fmla="*/ 98721 h 1451770"/>
                <a:gd name="connsiteX6702" fmla="*/ 873339 w 3773795"/>
                <a:gd name="connsiteY6702" fmla="*/ 97921 h 1451770"/>
                <a:gd name="connsiteX6703" fmla="*/ 869334 w 3773795"/>
                <a:gd name="connsiteY6703" fmla="*/ 96890 h 1451770"/>
                <a:gd name="connsiteX6704" fmla="*/ 869928 w 3773795"/>
                <a:gd name="connsiteY6704" fmla="*/ 93977 h 1451770"/>
                <a:gd name="connsiteX6705" fmla="*/ 871152 w 3773795"/>
                <a:gd name="connsiteY6705" fmla="*/ 93393 h 1451770"/>
                <a:gd name="connsiteX6706" fmla="*/ 1724355 w 3773795"/>
                <a:gd name="connsiteY6706" fmla="*/ 87606 h 1451770"/>
                <a:gd name="connsiteX6707" fmla="*/ 1726295 w 3773795"/>
                <a:gd name="connsiteY6707" fmla="*/ 88114 h 1451770"/>
                <a:gd name="connsiteX6708" fmla="*/ 1731360 w 3773795"/>
                <a:gd name="connsiteY6708" fmla="*/ 91315 h 1451770"/>
                <a:gd name="connsiteX6709" fmla="*/ 1733885 w 3773795"/>
                <a:gd name="connsiteY6709" fmla="*/ 94961 h 1451770"/>
                <a:gd name="connsiteX6710" fmla="*/ 1731430 w 3773795"/>
                <a:gd name="connsiteY6710" fmla="*/ 95924 h 1451770"/>
                <a:gd name="connsiteX6711" fmla="*/ 1729244 w 3773795"/>
                <a:gd name="connsiteY6711" fmla="*/ 98317 h 1451770"/>
                <a:gd name="connsiteX6712" fmla="*/ 1728184 w 3773795"/>
                <a:gd name="connsiteY6712" fmla="*/ 101360 h 1451770"/>
                <a:gd name="connsiteX6713" fmla="*/ 1725243 w 3773795"/>
                <a:gd name="connsiteY6713" fmla="*/ 103642 h 1451770"/>
                <a:gd name="connsiteX6714" fmla="*/ 1724454 w 3773795"/>
                <a:gd name="connsiteY6714" fmla="*/ 107430 h 1451770"/>
                <a:gd name="connsiteX6715" fmla="*/ 1725789 w 3773795"/>
                <a:gd name="connsiteY6715" fmla="*/ 108147 h 1451770"/>
                <a:gd name="connsiteX6716" fmla="*/ 1727400 w 3773795"/>
                <a:gd name="connsiteY6716" fmla="*/ 107106 h 1451770"/>
                <a:gd name="connsiteX6717" fmla="*/ 1730633 w 3773795"/>
                <a:gd name="connsiteY6717" fmla="*/ 103532 h 1451770"/>
                <a:gd name="connsiteX6718" fmla="*/ 1734919 w 3773795"/>
                <a:gd name="connsiteY6718" fmla="*/ 101097 h 1451770"/>
                <a:gd name="connsiteX6719" fmla="*/ 1739533 w 3773795"/>
                <a:gd name="connsiteY6719" fmla="*/ 102452 h 1451770"/>
                <a:gd name="connsiteX6720" fmla="*/ 1741300 w 3773795"/>
                <a:gd name="connsiteY6720" fmla="*/ 101939 h 1451770"/>
                <a:gd name="connsiteX6721" fmla="*/ 1744526 w 3773795"/>
                <a:gd name="connsiteY6721" fmla="*/ 98477 h 1451770"/>
                <a:gd name="connsiteX6722" fmla="*/ 1743926 w 3773795"/>
                <a:gd name="connsiteY6722" fmla="*/ 95653 h 1451770"/>
                <a:gd name="connsiteX6723" fmla="*/ 1745252 w 3773795"/>
                <a:gd name="connsiteY6723" fmla="*/ 93913 h 1451770"/>
                <a:gd name="connsiteX6724" fmla="*/ 1746681 w 3773795"/>
                <a:gd name="connsiteY6724" fmla="*/ 93479 h 1451770"/>
                <a:gd name="connsiteX6725" fmla="*/ 1752640 w 3773795"/>
                <a:gd name="connsiteY6725" fmla="*/ 93822 h 1451770"/>
                <a:gd name="connsiteX6726" fmla="*/ 1762125 w 3773795"/>
                <a:gd name="connsiteY6726" fmla="*/ 95289 h 1451770"/>
                <a:gd name="connsiteX6727" fmla="*/ 1763801 w 3773795"/>
                <a:gd name="connsiteY6727" fmla="*/ 96801 h 1451770"/>
                <a:gd name="connsiteX6728" fmla="*/ 1766064 w 3773795"/>
                <a:gd name="connsiteY6728" fmla="*/ 97618 h 1451770"/>
                <a:gd name="connsiteX6729" fmla="*/ 1767459 w 3773795"/>
                <a:gd name="connsiteY6729" fmla="*/ 99072 h 1451770"/>
                <a:gd name="connsiteX6730" fmla="*/ 1771669 w 3773795"/>
                <a:gd name="connsiteY6730" fmla="*/ 100149 h 1451770"/>
                <a:gd name="connsiteX6731" fmla="*/ 1773700 w 3773795"/>
                <a:gd name="connsiteY6731" fmla="*/ 101242 h 1451770"/>
                <a:gd name="connsiteX6732" fmla="*/ 1776535 w 3773795"/>
                <a:gd name="connsiteY6732" fmla="*/ 103716 h 1451770"/>
                <a:gd name="connsiteX6733" fmla="*/ 1779070 w 3773795"/>
                <a:gd name="connsiteY6733" fmla="*/ 107322 h 1451770"/>
                <a:gd name="connsiteX6734" fmla="*/ 1775854 w 3773795"/>
                <a:gd name="connsiteY6734" fmla="*/ 109264 h 1451770"/>
                <a:gd name="connsiteX6735" fmla="*/ 1774162 w 3773795"/>
                <a:gd name="connsiteY6735" fmla="*/ 112734 h 1451770"/>
                <a:gd name="connsiteX6736" fmla="*/ 1773414 w 3773795"/>
                <a:gd name="connsiteY6736" fmla="*/ 113527 h 1451770"/>
                <a:gd name="connsiteX6737" fmla="*/ 1772888 w 3773795"/>
                <a:gd name="connsiteY6737" fmla="*/ 114765 h 1451770"/>
                <a:gd name="connsiteX6738" fmla="*/ 1772655 w 3773795"/>
                <a:gd name="connsiteY6738" fmla="*/ 117785 h 1451770"/>
                <a:gd name="connsiteX6739" fmla="*/ 1772162 w 3773795"/>
                <a:gd name="connsiteY6739" fmla="*/ 120401 h 1451770"/>
                <a:gd name="connsiteX6740" fmla="*/ 1771551 w 3773795"/>
                <a:gd name="connsiteY6740" fmla="*/ 121562 h 1451770"/>
                <a:gd name="connsiteX6741" fmla="*/ 1771221 w 3773795"/>
                <a:gd name="connsiteY6741" fmla="*/ 122972 h 1451770"/>
                <a:gd name="connsiteX6742" fmla="*/ 1771559 w 3773795"/>
                <a:gd name="connsiteY6742" fmla="*/ 126861 h 1451770"/>
                <a:gd name="connsiteX6743" fmla="*/ 1770655 w 3773795"/>
                <a:gd name="connsiteY6743" fmla="*/ 129920 h 1451770"/>
                <a:gd name="connsiteX6744" fmla="*/ 1767485 w 3773795"/>
                <a:gd name="connsiteY6744" fmla="*/ 132233 h 1451770"/>
                <a:gd name="connsiteX6745" fmla="*/ 1764179 w 3773795"/>
                <a:gd name="connsiteY6745" fmla="*/ 132322 h 1451770"/>
                <a:gd name="connsiteX6746" fmla="*/ 1759299 w 3773795"/>
                <a:gd name="connsiteY6746" fmla="*/ 130763 h 1451770"/>
                <a:gd name="connsiteX6747" fmla="*/ 1757912 w 3773795"/>
                <a:gd name="connsiteY6747" fmla="*/ 130809 h 1451770"/>
                <a:gd name="connsiteX6748" fmla="*/ 1756528 w 3773795"/>
                <a:gd name="connsiteY6748" fmla="*/ 131420 h 1451770"/>
                <a:gd name="connsiteX6749" fmla="*/ 1762622 w 3773795"/>
                <a:gd name="connsiteY6749" fmla="*/ 134671 h 1451770"/>
                <a:gd name="connsiteX6750" fmla="*/ 1767043 w 3773795"/>
                <a:gd name="connsiteY6750" fmla="*/ 139453 h 1451770"/>
                <a:gd name="connsiteX6751" fmla="*/ 1772205 w 3773795"/>
                <a:gd name="connsiteY6751" fmla="*/ 140561 h 1451770"/>
                <a:gd name="connsiteX6752" fmla="*/ 1773617 w 3773795"/>
                <a:gd name="connsiteY6752" fmla="*/ 141142 h 1451770"/>
                <a:gd name="connsiteX6753" fmla="*/ 1775496 w 3773795"/>
                <a:gd name="connsiteY6753" fmla="*/ 145535 h 1451770"/>
                <a:gd name="connsiteX6754" fmla="*/ 1776153 w 3773795"/>
                <a:gd name="connsiteY6754" fmla="*/ 147739 h 1451770"/>
                <a:gd name="connsiteX6755" fmla="*/ 1767563 w 3773795"/>
                <a:gd name="connsiteY6755" fmla="*/ 153056 h 1451770"/>
                <a:gd name="connsiteX6756" fmla="*/ 1765323 w 3773795"/>
                <a:gd name="connsiteY6756" fmla="*/ 153960 h 1451770"/>
                <a:gd name="connsiteX6757" fmla="*/ 1751613 w 3773795"/>
                <a:gd name="connsiteY6757" fmla="*/ 154739 h 1451770"/>
                <a:gd name="connsiteX6758" fmla="*/ 1742583 w 3773795"/>
                <a:gd name="connsiteY6758" fmla="*/ 156225 h 1451770"/>
                <a:gd name="connsiteX6759" fmla="*/ 1739739 w 3773795"/>
                <a:gd name="connsiteY6759" fmla="*/ 155873 h 1451770"/>
                <a:gd name="connsiteX6760" fmla="*/ 1734690 w 3773795"/>
                <a:gd name="connsiteY6760" fmla="*/ 154606 h 1451770"/>
                <a:gd name="connsiteX6761" fmla="*/ 1731395 w 3773795"/>
                <a:gd name="connsiteY6761" fmla="*/ 155132 h 1451770"/>
                <a:gd name="connsiteX6762" fmla="*/ 1726606 w 3773795"/>
                <a:gd name="connsiteY6762" fmla="*/ 154296 h 1451770"/>
                <a:gd name="connsiteX6763" fmla="*/ 1723662 w 3773795"/>
                <a:gd name="connsiteY6763" fmla="*/ 154334 h 1451770"/>
                <a:gd name="connsiteX6764" fmla="*/ 1716867 w 3773795"/>
                <a:gd name="connsiteY6764" fmla="*/ 152310 h 1451770"/>
                <a:gd name="connsiteX6765" fmla="*/ 1709896 w 3773795"/>
                <a:gd name="connsiteY6765" fmla="*/ 149085 h 1451770"/>
                <a:gd name="connsiteX6766" fmla="*/ 1708531 w 3773795"/>
                <a:gd name="connsiteY6766" fmla="*/ 147622 h 1451770"/>
                <a:gd name="connsiteX6767" fmla="*/ 1707130 w 3773795"/>
                <a:gd name="connsiteY6767" fmla="*/ 146586 h 1451770"/>
                <a:gd name="connsiteX6768" fmla="*/ 1698775 w 3773795"/>
                <a:gd name="connsiteY6768" fmla="*/ 145700 h 1451770"/>
                <a:gd name="connsiteX6769" fmla="*/ 1696948 w 3773795"/>
                <a:gd name="connsiteY6769" fmla="*/ 145070 h 1451770"/>
                <a:gd name="connsiteX6770" fmla="*/ 1684768 w 3773795"/>
                <a:gd name="connsiteY6770" fmla="*/ 145779 h 1451770"/>
                <a:gd name="connsiteX6771" fmla="*/ 1682697 w 3773795"/>
                <a:gd name="connsiteY6771" fmla="*/ 145260 h 1451770"/>
                <a:gd name="connsiteX6772" fmla="*/ 1678898 w 3773795"/>
                <a:gd name="connsiteY6772" fmla="*/ 141031 h 1451770"/>
                <a:gd name="connsiteX6773" fmla="*/ 1676816 w 3773795"/>
                <a:gd name="connsiteY6773" fmla="*/ 140971 h 1451770"/>
                <a:gd name="connsiteX6774" fmla="*/ 1670101 w 3773795"/>
                <a:gd name="connsiteY6774" fmla="*/ 143414 h 1451770"/>
                <a:gd name="connsiteX6775" fmla="*/ 1667607 w 3773795"/>
                <a:gd name="connsiteY6775" fmla="*/ 143263 h 1451770"/>
                <a:gd name="connsiteX6776" fmla="*/ 1662534 w 3773795"/>
                <a:gd name="connsiteY6776" fmla="*/ 141595 h 1451770"/>
                <a:gd name="connsiteX6777" fmla="*/ 1659468 w 3773795"/>
                <a:gd name="connsiteY6777" fmla="*/ 139585 h 1451770"/>
                <a:gd name="connsiteX6778" fmla="*/ 1659010 w 3773795"/>
                <a:gd name="connsiteY6778" fmla="*/ 138927 h 1451770"/>
                <a:gd name="connsiteX6779" fmla="*/ 1658747 w 3773795"/>
                <a:gd name="connsiteY6779" fmla="*/ 136389 h 1451770"/>
                <a:gd name="connsiteX6780" fmla="*/ 1655704 w 3773795"/>
                <a:gd name="connsiteY6780" fmla="*/ 135095 h 1451770"/>
                <a:gd name="connsiteX6781" fmla="*/ 1651981 w 3773795"/>
                <a:gd name="connsiteY6781" fmla="*/ 130703 h 1451770"/>
                <a:gd name="connsiteX6782" fmla="*/ 1649881 w 3773795"/>
                <a:gd name="connsiteY6782" fmla="*/ 126006 h 1451770"/>
                <a:gd name="connsiteX6783" fmla="*/ 1639705 w 3773795"/>
                <a:gd name="connsiteY6783" fmla="*/ 123571 h 1451770"/>
                <a:gd name="connsiteX6784" fmla="*/ 1633517 w 3773795"/>
                <a:gd name="connsiteY6784" fmla="*/ 123008 h 1451770"/>
                <a:gd name="connsiteX6785" fmla="*/ 1628952 w 3773795"/>
                <a:gd name="connsiteY6785" fmla="*/ 123224 h 1451770"/>
                <a:gd name="connsiteX6786" fmla="*/ 1624497 w 3773795"/>
                <a:gd name="connsiteY6786" fmla="*/ 121389 h 1451770"/>
                <a:gd name="connsiteX6787" fmla="*/ 1631880 w 3773795"/>
                <a:gd name="connsiteY6787" fmla="*/ 114600 h 1451770"/>
                <a:gd name="connsiteX6788" fmla="*/ 1641667 w 3773795"/>
                <a:gd name="connsiteY6788" fmla="*/ 111099 h 1451770"/>
                <a:gd name="connsiteX6789" fmla="*/ 1645888 w 3773795"/>
                <a:gd name="connsiteY6789" fmla="*/ 108379 h 1451770"/>
                <a:gd name="connsiteX6790" fmla="*/ 1650729 w 3773795"/>
                <a:gd name="connsiteY6790" fmla="*/ 104682 h 1451770"/>
                <a:gd name="connsiteX6791" fmla="*/ 1652722 w 3773795"/>
                <a:gd name="connsiteY6791" fmla="*/ 99040 h 1451770"/>
                <a:gd name="connsiteX6792" fmla="*/ 1660951 w 3773795"/>
                <a:gd name="connsiteY6792" fmla="*/ 95547 h 1451770"/>
                <a:gd name="connsiteX6793" fmla="*/ 1663066 w 3773795"/>
                <a:gd name="connsiteY6793" fmla="*/ 94357 h 1451770"/>
                <a:gd name="connsiteX6794" fmla="*/ 1665979 w 3773795"/>
                <a:gd name="connsiteY6794" fmla="*/ 91606 h 1451770"/>
                <a:gd name="connsiteX6795" fmla="*/ 1666875 w 3773795"/>
                <a:gd name="connsiteY6795" fmla="*/ 91223 h 1451770"/>
                <a:gd name="connsiteX6796" fmla="*/ 1673377 w 3773795"/>
                <a:gd name="connsiteY6796" fmla="*/ 94574 h 1451770"/>
                <a:gd name="connsiteX6797" fmla="*/ 1674629 w 3773795"/>
                <a:gd name="connsiteY6797" fmla="*/ 93987 h 1451770"/>
                <a:gd name="connsiteX6798" fmla="*/ 1675795 w 3773795"/>
                <a:gd name="connsiteY6798" fmla="*/ 92438 h 1451770"/>
                <a:gd name="connsiteX6799" fmla="*/ 1678157 w 3773795"/>
                <a:gd name="connsiteY6799" fmla="*/ 90779 h 1451770"/>
                <a:gd name="connsiteX6800" fmla="*/ 1686123 w 3773795"/>
                <a:gd name="connsiteY6800" fmla="*/ 90556 h 1451770"/>
                <a:gd name="connsiteX6801" fmla="*/ 1692861 w 3773795"/>
                <a:gd name="connsiteY6801" fmla="*/ 91223 h 1451770"/>
                <a:gd name="connsiteX6802" fmla="*/ 1695400 w 3773795"/>
                <a:gd name="connsiteY6802" fmla="*/ 90554 h 1451770"/>
                <a:gd name="connsiteX6803" fmla="*/ 1698479 w 3773795"/>
                <a:gd name="connsiteY6803" fmla="*/ 90843 h 1451770"/>
                <a:gd name="connsiteX6804" fmla="*/ 1714044 w 3773795"/>
                <a:gd name="connsiteY6804" fmla="*/ 88378 h 1451770"/>
                <a:gd name="connsiteX6805" fmla="*/ 669539 w 3773795"/>
                <a:gd name="connsiteY6805" fmla="*/ 84463 h 1451770"/>
                <a:gd name="connsiteX6806" fmla="*/ 677660 w 3773795"/>
                <a:gd name="connsiteY6806" fmla="*/ 85008 h 1451770"/>
                <a:gd name="connsiteX6807" fmla="*/ 678964 w 3773795"/>
                <a:gd name="connsiteY6807" fmla="*/ 86725 h 1451770"/>
                <a:gd name="connsiteX6808" fmla="*/ 679168 w 3773795"/>
                <a:gd name="connsiteY6808" fmla="*/ 87398 h 1451770"/>
                <a:gd name="connsiteX6809" fmla="*/ 673709 w 3773795"/>
                <a:gd name="connsiteY6809" fmla="*/ 90583 h 1451770"/>
                <a:gd name="connsiteX6810" fmla="*/ 673255 w 3773795"/>
                <a:gd name="connsiteY6810" fmla="*/ 92361 h 1451770"/>
                <a:gd name="connsiteX6811" fmla="*/ 671467 w 3773795"/>
                <a:gd name="connsiteY6811" fmla="*/ 93047 h 1451770"/>
                <a:gd name="connsiteX6812" fmla="*/ 663006 w 3773795"/>
                <a:gd name="connsiteY6812" fmla="*/ 89234 h 1451770"/>
                <a:gd name="connsiteX6813" fmla="*/ 662294 w 3773795"/>
                <a:gd name="connsiteY6813" fmla="*/ 88079 h 1451770"/>
                <a:gd name="connsiteX6814" fmla="*/ 787979 w 3773795"/>
                <a:gd name="connsiteY6814" fmla="*/ 79624 h 1451770"/>
                <a:gd name="connsiteX6815" fmla="*/ 790482 w 3773795"/>
                <a:gd name="connsiteY6815" fmla="*/ 80017 h 1451770"/>
                <a:gd name="connsiteX6816" fmla="*/ 792285 w 3773795"/>
                <a:gd name="connsiteY6816" fmla="*/ 80802 h 1451770"/>
                <a:gd name="connsiteX6817" fmla="*/ 793278 w 3773795"/>
                <a:gd name="connsiteY6817" fmla="*/ 82247 h 1451770"/>
                <a:gd name="connsiteX6818" fmla="*/ 786986 w 3773795"/>
                <a:gd name="connsiteY6818" fmla="*/ 84636 h 1451770"/>
                <a:gd name="connsiteX6819" fmla="*/ 783742 w 3773795"/>
                <a:gd name="connsiteY6819" fmla="*/ 84557 h 1451770"/>
                <a:gd name="connsiteX6820" fmla="*/ 782222 w 3773795"/>
                <a:gd name="connsiteY6820" fmla="*/ 83131 h 1451770"/>
                <a:gd name="connsiteX6821" fmla="*/ 784697 w 3773795"/>
                <a:gd name="connsiteY6821" fmla="*/ 81142 h 1451770"/>
                <a:gd name="connsiteX6822" fmla="*/ 825669 w 3773795"/>
                <a:gd name="connsiteY6822" fmla="*/ 77547 h 1451770"/>
                <a:gd name="connsiteX6823" fmla="*/ 828636 w 3773795"/>
                <a:gd name="connsiteY6823" fmla="*/ 78323 h 1451770"/>
                <a:gd name="connsiteX6824" fmla="*/ 829608 w 3773795"/>
                <a:gd name="connsiteY6824" fmla="*/ 80052 h 1451770"/>
                <a:gd name="connsiteX6825" fmla="*/ 829525 w 3773795"/>
                <a:gd name="connsiteY6825" fmla="*/ 86304 h 1451770"/>
                <a:gd name="connsiteX6826" fmla="*/ 828504 w 3773795"/>
                <a:gd name="connsiteY6826" fmla="*/ 89068 h 1451770"/>
                <a:gd name="connsiteX6827" fmla="*/ 828668 w 3773795"/>
                <a:gd name="connsiteY6827" fmla="*/ 91332 h 1451770"/>
                <a:gd name="connsiteX6828" fmla="*/ 826606 w 3773795"/>
                <a:gd name="connsiteY6828" fmla="*/ 92504 h 1451770"/>
                <a:gd name="connsiteX6829" fmla="*/ 809218 w 3773795"/>
                <a:gd name="connsiteY6829" fmla="*/ 92253 h 1451770"/>
                <a:gd name="connsiteX6830" fmla="*/ 800618 w 3773795"/>
                <a:gd name="connsiteY6830" fmla="*/ 91712 h 1451770"/>
                <a:gd name="connsiteX6831" fmla="*/ 798681 w 3773795"/>
                <a:gd name="connsiteY6831" fmla="*/ 90823 h 1451770"/>
                <a:gd name="connsiteX6832" fmla="*/ 803507 w 3773795"/>
                <a:gd name="connsiteY6832" fmla="*/ 87858 h 1451770"/>
                <a:gd name="connsiteX6833" fmla="*/ 805053 w 3773795"/>
                <a:gd name="connsiteY6833" fmla="*/ 85799 h 1451770"/>
                <a:gd name="connsiteX6834" fmla="*/ 804559 w 3773795"/>
                <a:gd name="connsiteY6834" fmla="*/ 79895 h 1451770"/>
                <a:gd name="connsiteX6835" fmla="*/ 805323 w 3773795"/>
                <a:gd name="connsiteY6835" fmla="*/ 78813 h 1451770"/>
                <a:gd name="connsiteX6836" fmla="*/ 819268 w 3773795"/>
                <a:gd name="connsiteY6836" fmla="*/ 79373 h 1451770"/>
                <a:gd name="connsiteX6837" fmla="*/ 820421 w 3773795"/>
                <a:gd name="connsiteY6837" fmla="*/ 77694 h 1451770"/>
                <a:gd name="connsiteX6838" fmla="*/ 742552 w 3773795"/>
                <a:gd name="connsiteY6838" fmla="*/ 75176 h 1451770"/>
                <a:gd name="connsiteX6839" fmla="*/ 745726 w 3773795"/>
                <a:gd name="connsiteY6839" fmla="*/ 75699 h 1451770"/>
                <a:gd name="connsiteX6840" fmla="*/ 746096 w 3773795"/>
                <a:gd name="connsiteY6840" fmla="*/ 77539 h 1451770"/>
                <a:gd name="connsiteX6841" fmla="*/ 749196 w 3773795"/>
                <a:gd name="connsiteY6841" fmla="*/ 79726 h 1451770"/>
                <a:gd name="connsiteX6842" fmla="*/ 757279 w 3773795"/>
                <a:gd name="connsiteY6842" fmla="*/ 82525 h 1451770"/>
                <a:gd name="connsiteX6843" fmla="*/ 755648 w 3773795"/>
                <a:gd name="connsiteY6843" fmla="*/ 84560 h 1451770"/>
                <a:gd name="connsiteX6844" fmla="*/ 752885 w 3773795"/>
                <a:gd name="connsiteY6844" fmla="*/ 84852 h 1451770"/>
                <a:gd name="connsiteX6845" fmla="*/ 749976 w 3773795"/>
                <a:gd name="connsiteY6845" fmla="*/ 86747 h 1451770"/>
                <a:gd name="connsiteX6846" fmla="*/ 735270 w 3773795"/>
                <a:gd name="connsiteY6846" fmla="*/ 87354 h 1451770"/>
                <a:gd name="connsiteX6847" fmla="*/ 730397 w 3773795"/>
                <a:gd name="connsiteY6847" fmla="*/ 87069 h 1451770"/>
                <a:gd name="connsiteX6848" fmla="*/ 729757 w 3773795"/>
                <a:gd name="connsiteY6848" fmla="*/ 86445 h 1451770"/>
                <a:gd name="connsiteX6849" fmla="*/ 728507 w 3773795"/>
                <a:gd name="connsiteY6849" fmla="*/ 85903 h 1451770"/>
                <a:gd name="connsiteX6850" fmla="*/ 723931 w 3773795"/>
                <a:gd name="connsiteY6850" fmla="*/ 85325 h 1451770"/>
                <a:gd name="connsiteX6851" fmla="*/ 721053 w 3773795"/>
                <a:gd name="connsiteY6851" fmla="*/ 82761 h 1451770"/>
                <a:gd name="connsiteX6852" fmla="*/ 722310 w 3773795"/>
                <a:gd name="connsiteY6852" fmla="*/ 82121 h 1451770"/>
                <a:gd name="connsiteX6853" fmla="*/ 729086 w 3773795"/>
                <a:gd name="connsiteY6853" fmla="*/ 81073 h 1451770"/>
                <a:gd name="connsiteX6854" fmla="*/ 731383 w 3773795"/>
                <a:gd name="connsiteY6854" fmla="*/ 79974 h 1451770"/>
                <a:gd name="connsiteX6855" fmla="*/ 732167 w 3773795"/>
                <a:gd name="connsiteY6855" fmla="*/ 78495 h 1451770"/>
                <a:gd name="connsiteX6856" fmla="*/ 735216 w 3773795"/>
                <a:gd name="connsiteY6856" fmla="*/ 75699 h 1451770"/>
                <a:gd name="connsiteX6857" fmla="*/ 828554 w 3773795"/>
                <a:gd name="connsiteY6857" fmla="*/ 71021 h 1451770"/>
                <a:gd name="connsiteX6858" fmla="*/ 838437 w 3773795"/>
                <a:gd name="connsiteY6858" fmla="*/ 71970 h 1451770"/>
                <a:gd name="connsiteX6859" fmla="*/ 859632 w 3773795"/>
                <a:gd name="connsiteY6859" fmla="*/ 72514 h 1451770"/>
                <a:gd name="connsiteX6860" fmla="*/ 870493 w 3773795"/>
                <a:gd name="connsiteY6860" fmla="*/ 75011 h 1451770"/>
                <a:gd name="connsiteX6861" fmla="*/ 873683 w 3773795"/>
                <a:gd name="connsiteY6861" fmla="*/ 76411 h 1451770"/>
                <a:gd name="connsiteX6862" fmla="*/ 876769 w 3773795"/>
                <a:gd name="connsiteY6862" fmla="*/ 78716 h 1451770"/>
                <a:gd name="connsiteX6863" fmla="*/ 857807 w 3773795"/>
                <a:gd name="connsiteY6863" fmla="*/ 79962 h 1451770"/>
                <a:gd name="connsiteX6864" fmla="*/ 855285 w 3773795"/>
                <a:gd name="connsiteY6864" fmla="*/ 81028 h 1451770"/>
                <a:gd name="connsiteX6865" fmla="*/ 855326 w 3773795"/>
                <a:gd name="connsiteY6865" fmla="*/ 83552 h 1451770"/>
                <a:gd name="connsiteX6866" fmla="*/ 854656 w 3773795"/>
                <a:gd name="connsiteY6866" fmla="*/ 85905 h 1451770"/>
                <a:gd name="connsiteX6867" fmla="*/ 852616 w 3773795"/>
                <a:gd name="connsiteY6867" fmla="*/ 86173 h 1451770"/>
                <a:gd name="connsiteX6868" fmla="*/ 848040 w 3773795"/>
                <a:gd name="connsiteY6868" fmla="*/ 89886 h 1451770"/>
                <a:gd name="connsiteX6869" fmla="*/ 844587 w 3773795"/>
                <a:gd name="connsiteY6869" fmla="*/ 90858 h 1451770"/>
                <a:gd name="connsiteX6870" fmla="*/ 835570 w 3773795"/>
                <a:gd name="connsiteY6870" fmla="*/ 89081 h 1451770"/>
                <a:gd name="connsiteX6871" fmla="*/ 834244 w 3773795"/>
                <a:gd name="connsiteY6871" fmla="*/ 88121 h 1451770"/>
                <a:gd name="connsiteX6872" fmla="*/ 833119 w 3773795"/>
                <a:gd name="connsiteY6872" fmla="*/ 86307 h 1451770"/>
                <a:gd name="connsiteX6873" fmla="*/ 831629 w 3773795"/>
                <a:gd name="connsiteY6873" fmla="*/ 79477 h 1451770"/>
                <a:gd name="connsiteX6874" fmla="*/ 831577 w 3773795"/>
                <a:gd name="connsiteY6874" fmla="*/ 77430 h 1451770"/>
                <a:gd name="connsiteX6875" fmla="*/ 831013 w 3773795"/>
                <a:gd name="connsiteY6875" fmla="*/ 76013 h 1451770"/>
                <a:gd name="connsiteX6876" fmla="*/ 828739 w 3773795"/>
                <a:gd name="connsiteY6876" fmla="*/ 73512 h 1451770"/>
                <a:gd name="connsiteX6877" fmla="*/ 827141 w 3773795"/>
                <a:gd name="connsiteY6877" fmla="*/ 72332 h 1451770"/>
                <a:gd name="connsiteX6878" fmla="*/ 757844 w 3773795"/>
                <a:gd name="connsiteY6878" fmla="*/ 65315 h 1451770"/>
                <a:gd name="connsiteX6879" fmla="*/ 764467 w 3773795"/>
                <a:gd name="connsiteY6879" fmla="*/ 66901 h 1451770"/>
                <a:gd name="connsiteX6880" fmla="*/ 765100 w 3773795"/>
                <a:gd name="connsiteY6880" fmla="*/ 67547 h 1451770"/>
                <a:gd name="connsiteX6881" fmla="*/ 769562 w 3773795"/>
                <a:gd name="connsiteY6881" fmla="*/ 68656 h 1451770"/>
                <a:gd name="connsiteX6882" fmla="*/ 770229 w 3773795"/>
                <a:gd name="connsiteY6882" fmla="*/ 70778 h 1451770"/>
                <a:gd name="connsiteX6883" fmla="*/ 769743 w 3773795"/>
                <a:gd name="connsiteY6883" fmla="*/ 72102 h 1451770"/>
                <a:gd name="connsiteX6884" fmla="*/ 766659 w 3773795"/>
                <a:gd name="connsiteY6884" fmla="*/ 74732 h 1451770"/>
                <a:gd name="connsiteX6885" fmla="*/ 756400 w 3773795"/>
                <a:gd name="connsiteY6885" fmla="*/ 71927 h 1451770"/>
                <a:gd name="connsiteX6886" fmla="*/ 757242 w 3773795"/>
                <a:gd name="connsiteY6886" fmla="*/ 70513 h 1451770"/>
                <a:gd name="connsiteX6887" fmla="*/ 758352 w 3773795"/>
                <a:gd name="connsiteY6887" fmla="*/ 69921 h 1451770"/>
                <a:gd name="connsiteX6888" fmla="*/ 758382 w 3773795"/>
                <a:gd name="connsiteY6888" fmla="*/ 68536 h 1451770"/>
                <a:gd name="connsiteX6889" fmla="*/ 757439 w 3773795"/>
                <a:gd name="connsiteY6889" fmla="*/ 67482 h 1451770"/>
                <a:gd name="connsiteX6890" fmla="*/ 615548 w 3773795"/>
                <a:gd name="connsiteY6890" fmla="*/ 52518 h 1451770"/>
                <a:gd name="connsiteX6891" fmla="*/ 625664 w 3773795"/>
                <a:gd name="connsiteY6891" fmla="*/ 54635 h 1451770"/>
                <a:gd name="connsiteX6892" fmla="*/ 633265 w 3773795"/>
                <a:gd name="connsiteY6892" fmla="*/ 54078 h 1451770"/>
                <a:gd name="connsiteX6893" fmla="*/ 635520 w 3773795"/>
                <a:gd name="connsiteY6893" fmla="*/ 54310 h 1451770"/>
                <a:gd name="connsiteX6894" fmla="*/ 637742 w 3773795"/>
                <a:gd name="connsiteY6894" fmla="*/ 54981 h 1451770"/>
                <a:gd name="connsiteX6895" fmla="*/ 639990 w 3773795"/>
                <a:gd name="connsiteY6895" fmla="*/ 56372 h 1451770"/>
                <a:gd name="connsiteX6896" fmla="*/ 643067 w 3773795"/>
                <a:gd name="connsiteY6896" fmla="*/ 59531 h 1451770"/>
                <a:gd name="connsiteX6897" fmla="*/ 643002 w 3773795"/>
                <a:gd name="connsiteY6897" fmla="*/ 63878 h 1451770"/>
                <a:gd name="connsiteX6898" fmla="*/ 641717 w 3773795"/>
                <a:gd name="connsiteY6898" fmla="*/ 64082 h 1451770"/>
                <a:gd name="connsiteX6899" fmla="*/ 628867 w 3773795"/>
                <a:gd name="connsiteY6899" fmla="*/ 62084 h 1451770"/>
                <a:gd name="connsiteX6900" fmla="*/ 622963 w 3773795"/>
                <a:gd name="connsiteY6900" fmla="*/ 57548 h 1451770"/>
                <a:gd name="connsiteX6901" fmla="*/ 621369 w 3773795"/>
                <a:gd name="connsiteY6901" fmla="*/ 57087 h 1451770"/>
                <a:gd name="connsiteX6902" fmla="*/ 619044 w 3773795"/>
                <a:gd name="connsiteY6902" fmla="*/ 58285 h 1451770"/>
                <a:gd name="connsiteX6903" fmla="*/ 617102 w 3773795"/>
                <a:gd name="connsiteY6903" fmla="*/ 61066 h 1451770"/>
                <a:gd name="connsiteX6904" fmla="*/ 614932 w 3773795"/>
                <a:gd name="connsiteY6904" fmla="*/ 61757 h 1451770"/>
                <a:gd name="connsiteX6905" fmla="*/ 612494 w 3773795"/>
                <a:gd name="connsiteY6905" fmla="*/ 65268 h 1451770"/>
                <a:gd name="connsiteX6906" fmla="*/ 610158 w 3773795"/>
                <a:gd name="connsiteY6906" fmla="*/ 64819 h 1451770"/>
                <a:gd name="connsiteX6907" fmla="*/ 608979 w 3773795"/>
                <a:gd name="connsiteY6907" fmla="*/ 65122 h 1451770"/>
                <a:gd name="connsiteX6908" fmla="*/ 606018 w 3773795"/>
                <a:gd name="connsiteY6908" fmla="*/ 67529 h 1451770"/>
                <a:gd name="connsiteX6909" fmla="*/ 598644 w 3773795"/>
                <a:gd name="connsiteY6909" fmla="*/ 67570 h 1451770"/>
                <a:gd name="connsiteX6910" fmla="*/ 597458 w 3773795"/>
                <a:gd name="connsiteY6910" fmla="*/ 68628 h 1451770"/>
                <a:gd name="connsiteX6911" fmla="*/ 595020 w 3773795"/>
                <a:gd name="connsiteY6911" fmla="*/ 71962 h 1451770"/>
                <a:gd name="connsiteX6912" fmla="*/ 592023 w 3773795"/>
                <a:gd name="connsiteY6912" fmla="*/ 72921 h 1451770"/>
                <a:gd name="connsiteX6913" fmla="*/ 586789 w 3773795"/>
                <a:gd name="connsiteY6913" fmla="*/ 73435 h 1451770"/>
                <a:gd name="connsiteX6914" fmla="*/ 584986 w 3773795"/>
                <a:gd name="connsiteY6914" fmla="*/ 71540 h 1451770"/>
                <a:gd name="connsiteX6915" fmla="*/ 584185 w 3773795"/>
                <a:gd name="connsiteY6915" fmla="*/ 68618 h 1451770"/>
                <a:gd name="connsiteX6916" fmla="*/ 582978 w 3773795"/>
                <a:gd name="connsiteY6916" fmla="*/ 67152 h 1451770"/>
                <a:gd name="connsiteX6917" fmla="*/ 575720 w 3773795"/>
                <a:gd name="connsiteY6917" fmla="*/ 68818 h 1451770"/>
                <a:gd name="connsiteX6918" fmla="*/ 570157 w 3773795"/>
                <a:gd name="connsiteY6918" fmla="*/ 67622 h 1451770"/>
                <a:gd name="connsiteX6919" fmla="*/ 564850 w 3773795"/>
                <a:gd name="connsiteY6919" fmla="*/ 65651 h 1451770"/>
                <a:gd name="connsiteX6920" fmla="*/ 559449 w 3773795"/>
                <a:gd name="connsiteY6920" fmla="*/ 65007 h 1451770"/>
                <a:gd name="connsiteX6921" fmla="*/ 564303 w 3773795"/>
                <a:gd name="connsiteY6921" fmla="*/ 62902 h 1451770"/>
                <a:gd name="connsiteX6922" fmla="*/ 590902 w 3773795"/>
                <a:gd name="connsiteY6922" fmla="*/ 58635 h 1451770"/>
                <a:gd name="connsiteX6923" fmla="*/ 601332 w 3773795"/>
                <a:gd name="connsiteY6923" fmla="*/ 57601 h 1451770"/>
                <a:gd name="connsiteX6924" fmla="*/ 606230 w 3773795"/>
                <a:gd name="connsiteY6924" fmla="*/ 54547 h 1451770"/>
                <a:gd name="connsiteX6925" fmla="*/ 613565 w 3773795"/>
                <a:gd name="connsiteY6925" fmla="*/ 52556 h 1451770"/>
                <a:gd name="connsiteX6926" fmla="*/ 928555 w 3773795"/>
                <a:gd name="connsiteY6926" fmla="*/ 50487 h 1451770"/>
                <a:gd name="connsiteX6927" fmla="*/ 934152 w 3773795"/>
                <a:gd name="connsiteY6927" fmla="*/ 50848 h 1451770"/>
                <a:gd name="connsiteX6928" fmla="*/ 939732 w 3773795"/>
                <a:gd name="connsiteY6928" fmla="*/ 51849 h 1451770"/>
                <a:gd name="connsiteX6929" fmla="*/ 941166 w 3773795"/>
                <a:gd name="connsiteY6929" fmla="*/ 53495 h 1451770"/>
                <a:gd name="connsiteX6930" fmla="*/ 942492 w 3773795"/>
                <a:gd name="connsiteY6930" fmla="*/ 55581 h 1451770"/>
                <a:gd name="connsiteX6931" fmla="*/ 941697 w 3773795"/>
                <a:gd name="connsiteY6931" fmla="*/ 58889 h 1451770"/>
                <a:gd name="connsiteX6932" fmla="*/ 939989 w 3773795"/>
                <a:gd name="connsiteY6932" fmla="*/ 61285 h 1451770"/>
                <a:gd name="connsiteX6933" fmla="*/ 939131 w 3773795"/>
                <a:gd name="connsiteY6933" fmla="*/ 64716 h 1451770"/>
                <a:gd name="connsiteX6934" fmla="*/ 932351 w 3773795"/>
                <a:gd name="connsiteY6934" fmla="*/ 65533 h 1451770"/>
                <a:gd name="connsiteX6935" fmla="*/ 930408 w 3773795"/>
                <a:gd name="connsiteY6935" fmla="*/ 66287 h 1451770"/>
                <a:gd name="connsiteX6936" fmla="*/ 928555 w 3773795"/>
                <a:gd name="connsiteY6936" fmla="*/ 68921 h 1451770"/>
                <a:gd name="connsiteX6937" fmla="*/ 921649 w 3773795"/>
                <a:gd name="connsiteY6937" fmla="*/ 70468 h 1451770"/>
                <a:gd name="connsiteX6938" fmla="*/ 916477 w 3773795"/>
                <a:gd name="connsiteY6938" fmla="*/ 74872 h 1451770"/>
                <a:gd name="connsiteX6939" fmla="*/ 909202 w 3773795"/>
                <a:gd name="connsiteY6939" fmla="*/ 74051 h 1451770"/>
                <a:gd name="connsiteX6940" fmla="*/ 899386 w 3773795"/>
                <a:gd name="connsiteY6940" fmla="*/ 70996 h 1451770"/>
                <a:gd name="connsiteX6941" fmla="*/ 891025 w 3773795"/>
                <a:gd name="connsiteY6941" fmla="*/ 73468 h 1451770"/>
                <a:gd name="connsiteX6942" fmla="*/ 885488 w 3773795"/>
                <a:gd name="connsiteY6942" fmla="*/ 74226 h 1451770"/>
                <a:gd name="connsiteX6943" fmla="*/ 878779 w 3773795"/>
                <a:gd name="connsiteY6943" fmla="*/ 70453 h 1451770"/>
                <a:gd name="connsiteX6944" fmla="*/ 877850 w 3773795"/>
                <a:gd name="connsiteY6944" fmla="*/ 69609 h 1451770"/>
                <a:gd name="connsiteX6945" fmla="*/ 877492 w 3773795"/>
                <a:gd name="connsiteY6945" fmla="*/ 66989 h 1451770"/>
                <a:gd name="connsiteX6946" fmla="*/ 877891 w 3773795"/>
                <a:gd name="connsiteY6946" fmla="*/ 64673 h 1451770"/>
                <a:gd name="connsiteX6947" fmla="*/ 879667 w 3773795"/>
                <a:gd name="connsiteY6947" fmla="*/ 59800 h 1451770"/>
                <a:gd name="connsiteX6948" fmla="*/ 882068 w 3773795"/>
                <a:gd name="connsiteY6948" fmla="*/ 57019 h 1451770"/>
                <a:gd name="connsiteX6949" fmla="*/ 883268 w 3773795"/>
                <a:gd name="connsiteY6949" fmla="*/ 56138 h 1451770"/>
                <a:gd name="connsiteX6950" fmla="*/ 884216 w 3773795"/>
                <a:gd name="connsiteY6950" fmla="*/ 54438 h 1451770"/>
                <a:gd name="connsiteX6951" fmla="*/ 886948 w 3773795"/>
                <a:gd name="connsiteY6951" fmla="*/ 53411 h 1451770"/>
                <a:gd name="connsiteX6952" fmla="*/ 895322 w 3773795"/>
                <a:gd name="connsiteY6952" fmla="*/ 52781 h 1451770"/>
                <a:gd name="connsiteX6953" fmla="*/ 898427 w 3773795"/>
                <a:gd name="connsiteY6953" fmla="*/ 53341 h 1451770"/>
                <a:gd name="connsiteX6954" fmla="*/ 899379 w 3773795"/>
                <a:gd name="connsiteY6954" fmla="*/ 55215 h 1451770"/>
                <a:gd name="connsiteX6955" fmla="*/ 903880 w 3773795"/>
                <a:gd name="connsiteY6955" fmla="*/ 55071 h 1451770"/>
                <a:gd name="connsiteX6956" fmla="*/ 911368 w 3773795"/>
                <a:gd name="connsiteY6956" fmla="*/ 53919 h 1451770"/>
                <a:gd name="connsiteX6957" fmla="*/ 922269 w 3773795"/>
                <a:gd name="connsiteY6957" fmla="*/ 52053 h 1451770"/>
                <a:gd name="connsiteX6958" fmla="*/ 678261 w 3773795"/>
                <a:gd name="connsiteY6958" fmla="*/ 48709 h 1451770"/>
                <a:gd name="connsiteX6959" fmla="*/ 681651 w 3773795"/>
                <a:gd name="connsiteY6959" fmla="*/ 49556 h 1451770"/>
                <a:gd name="connsiteX6960" fmla="*/ 689824 w 3773795"/>
                <a:gd name="connsiteY6960" fmla="*/ 49387 h 1451770"/>
                <a:gd name="connsiteX6961" fmla="*/ 692402 w 3773795"/>
                <a:gd name="connsiteY6961" fmla="*/ 50616 h 1451770"/>
                <a:gd name="connsiteX6962" fmla="*/ 704279 w 3773795"/>
                <a:gd name="connsiteY6962" fmla="*/ 58145 h 1451770"/>
                <a:gd name="connsiteX6963" fmla="*/ 707291 w 3773795"/>
                <a:gd name="connsiteY6963" fmla="*/ 58346 h 1451770"/>
                <a:gd name="connsiteX6964" fmla="*/ 709781 w 3773795"/>
                <a:gd name="connsiteY6964" fmla="*/ 61082 h 1451770"/>
                <a:gd name="connsiteX6965" fmla="*/ 697455 w 3773795"/>
                <a:gd name="connsiteY6965" fmla="*/ 65383 h 1451770"/>
                <a:gd name="connsiteX6966" fmla="*/ 693357 w 3773795"/>
                <a:gd name="connsiteY6966" fmla="*/ 68638 h 1451770"/>
                <a:gd name="connsiteX6967" fmla="*/ 678295 w 3773795"/>
                <a:gd name="connsiteY6967" fmla="*/ 69311 h 1451770"/>
                <a:gd name="connsiteX6968" fmla="*/ 668705 w 3773795"/>
                <a:gd name="connsiteY6968" fmla="*/ 70831 h 1451770"/>
                <a:gd name="connsiteX6969" fmla="*/ 666578 w 3773795"/>
                <a:gd name="connsiteY6969" fmla="*/ 72140 h 1451770"/>
                <a:gd name="connsiteX6970" fmla="*/ 667559 w 3773795"/>
                <a:gd name="connsiteY6970" fmla="*/ 74527 h 1451770"/>
                <a:gd name="connsiteX6971" fmla="*/ 662955 w 3773795"/>
                <a:gd name="connsiteY6971" fmla="*/ 77016 h 1451770"/>
                <a:gd name="connsiteX6972" fmla="*/ 647701 w 3773795"/>
                <a:gd name="connsiteY6972" fmla="*/ 77393 h 1451770"/>
                <a:gd name="connsiteX6973" fmla="*/ 645820 w 3773795"/>
                <a:gd name="connsiteY6973" fmla="*/ 78181 h 1451770"/>
                <a:gd name="connsiteX6974" fmla="*/ 642857 w 3773795"/>
                <a:gd name="connsiteY6974" fmla="*/ 80914 h 1451770"/>
                <a:gd name="connsiteX6975" fmla="*/ 643121 w 3773795"/>
                <a:gd name="connsiteY6975" fmla="*/ 81411 h 1451770"/>
                <a:gd name="connsiteX6976" fmla="*/ 648273 w 3773795"/>
                <a:gd name="connsiteY6976" fmla="*/ 82096 h 1451770"/>
                <a:gd name="connsiteX6977" fmla="*/ 649105 w 3773795"/>
                <a:gd name="connsiteY6977" fmla="*/ 82662 h 1451770"/>
                <a:gd name="connsiteX6978" fmla="*/ 649796 w 3773795"/>
                <a:gd name="connsiteY6978" fmla="*/ 83845 h 1451770"/>
                <a:gd name="connsiteX6979" fmla="*/ 650236 w 3773795"/>
                <a:gd name="connsiteY6979" fmla="*/ 85620 h 1451770"/>
                <a:gd name="connsiteX6980" fmla="*/ 649502 w 3773795"/>
                <a:gd name="connsiteY6980" fmla="*/ 87893 h 1451770"/>
                <a:gd name="connsiteX6981" fmla="*/ 647608 w 3773795"/>
                <a:gd name="connsiteY6981" fmla="*/ 88262 h 1451770"/>
                <a:gd name="connsiteX6982" fmla="*/ 645518 w 3773795"/>
                <a:gd name="connsiteY6982" fmla="*/ 87968 h 1451770"/>
                <a:gd name="connsiteX6983" fmla="*/ 640750 w 3773795"/>
                <a:gd name="connsiteY6983" fmla="*/ 86232 h 1451770"/>
                <a:gd name="connsiteX6984" fmla="*/ 640149 w 3773795"/>
                <a:gd name="connsiteY6984" fmla="*/ 86844 h 1451770"/>
                <a:gd name="connsiteX6985" fmla="*/ 639664 w 3773795"/>
                <a:gd name="connsiteY6985" fmla="*/ 88114 h 1451770"/>
                <a:gd name="connsiteX6986" fmla="*/ 638208 w 3773795"/>
                <a:gd name="connsiteY6986" fmla="*/ 90551 h 1451770"/>
                <a:gd name="connsiteX6987" fmla="*/ 636427 w 3773795"/>
                <a:gd name="connsiteY6987" fmla="*/ 91275 h 1451770"/>
                <a:gd name="connsiteX6988" fmla="*/ 631583 w 3773795"/>
                <a:gd name="connsiteY6988" fmla="*/ 89404 h 1451770"/>
                <a:gd name="connsiteX6989" fmla="*/ 630007 w 3773795"/>
                <a:gd name="connsiteY6989" fmla="*/ 89933 h 1451770"/>
                <a:gd name="connsiteX6990" fmla="*/ 628456 w 3773795"/>
                <a:gd name="connsiteY6990" fmla="*/ 91090 h 1451770"/>
                <a:gd name="connsiteX6991" fmla="*/ 626558 w 3773795"/>
                <a:gd name="connsiteY6991" fmla="*/ 91638 h 1451770"/>
                <a:gd name="connsiteX6992" fmla="*/ 622078 w 3773795"/>
                <a:gd name="connsiteY6992" fmla="*/ 91989 h 1451770"/>
                <a:gd name="connsiteX6993" fmla="*/ 619758 w 3773795"/>
                <a:gd name="connsiteY6993" fmla="*/ 90457 h 1451770"/>
                <a:gd name="connsiteX6994" fmla="*/ 621764 w 3773795"/>
                <a:gd name="connsiteY6994" fmla="*/ 88462 h 1451770"/>
                <a:gd name="connsiteX6995" fmla="*/ 627390 w 3773795"/>
                <a:gd name="connsiteY6995" fmla="*/ 85360 h 1451770"/>
                <a:gd name="connsiteX6996" fmla="*/ 625520 w 3773795"/>
                <a:gd name="connsiteY6996" fmla="*/ 84004 h 1451770"/>
                <a:gd name="connsiteX6997" fmla="*/ 619978 w 3773795"/>
                <a:gd name="connsiteY6997" fmla="*/ 83696 h 1451770"/>
                <a:gd name="connsiteX6998" fmla="*/ 615599 w 3773795"/>
                <a:gd name="connsiteY6998" fmla="*/ 84468 h 1451770"/>
                <a:gd name="connsiteX6999" fmla="*/ 613360 w 3773795"/>
                <a:gd name="connsiteY6999" fmla="*/ 86579 h 1451770"/>
                <a:gd name="connsiteX7000" fmla="*/ 611272 w 3773795"/>
                <a:gd name="connsiteY7000" fmla="*/ 87000 h 1451770"/>
                <a:gd name="connsiteX7001" fmla="*/ 605575 w 3773795"/>
                <a:gd name="connsiteY7001" fmla="*/ 86871 h 1451770"/>
                <a:gd name="connsiteX7002" fmla="*/ 602367 w 3773795"/>
                <a:gd name="connsiteY7002" fmla="*/ 84108 h 1451770"/>
                <a:gd name="connsiteX7003" fmla="*/ 599985 w 3773795"/>
                <a:gd name="connsiteY7003" fmla="*/ 83069 h 1451770"/>
                <a:gd name="connsiteX7004" fmla="*/ 597912 w 3773795"/>
                <a:gd name="connsiteY7004" fmla="*/ 80899 h 1451770"/>
                <a:gd name="connsiteX7005" fmla="*/ 614684 w 3773795"/>
                <a:gd name="connsiteY7005" fmla="*/ 73534 h 1451770"/>
                <a:gd name="connsiteX7006" fmla="*/ 620281 w 3773795"/>
                <a:gd name="connsiteY7006" fmla="*/ 70683 h 1451770"/>
                <a:gd name="connsiteX7007" fmla="*/ 625582 w 3773795"/>
                <a:gd name="connsiteY7007" fmla="*/ 69224 h 1451770"/>
                <a:gd name="connsiteX7008" fmla="*/ 632490 w 3773795"/>
                <a:gd name="connsiteY7008" fmla="*/ 68463 h 1451770"/>
                <a:gd name="connsiteX7009" fmla="*/ 634656 w 3773795"/>
                <a:gd name="connsiteY7009" fmla="*/ 67557 h 1451770"/>
                <a:gd name="connsiteX7010" fmla="*/ 636789 w 3773795"/>
                <a:gd name="connsiteY7010" fmla="*/ 67186 h 1451770"/>
                <a:gd name="connsiteX7011" fmla="*/ 638163 w 3773795"/>
                <a:gd name="connsiteY7011" fmla="*/ 67737 h 1451770"/>
                <a:gd name="connsiteX7012" fmla="*/ 641709 w 3773795"/>
                <a:gd name="connsiteY7012" fmla="*/ 70286 h 1451770"/>
                <a:gd name="connsiteX7013" fmla="*/ 651940 w 3773795"/>
                <a:gd name="connsiteY7013" fmla="*/ 69903 h 1451770"/>
                <a:gd name="connsiteX7014" fmla="*/ 654095 w 3773795"/>
                <a:gd name="connsiteY7014" fmla="*/ 67708 h 1451770"/>
                <a:gd name="connsiteX7015" fmla="*/ 654259 w 3773795"/>
                <a:gd name="connsiteY7015" fmla="*/ 62709 h 1451770"/>
                <a:gd name="connsiteX7016" fmla="*/ 653259 w 3773795"/>
                <a:gd name="connsiteY7016" fmla="*/ 59822 h 1451770"/>
                <a:gd name="connsiteX7017" fmla="*/ 655401 w 3773795"/>
                <a:gd name="connsiteY7017" fmla="*/ 54186 h 1451770"/>
                <a:gd name="connsiteX7018" fmla="*/ 661227 w 3773795"/>
                <a:gd name="connsiteY7018" fmla="*/ 51914 h 1451770"/>
                <a:gd name="connsiteX7019" fmla="*/ 674859 w 3773795"/>
                <a:gd name="connsiteY7019" fmla="*/ 48884 h 1451770"/>
                <a:gd name="connsiteX7020" fmla="*/ 1331198 w 3773795"/>
                <a:gd name="connsiteY7020" fmla="*/ 46213 h 1451770"/>
                <a:gd name="connsiteX7021" fmla="*/ 1341656 w 3773795"/>
                <a:gd name="connsiteY7021" fmla="*/ 47540 h 1451770"/>
                <a:gd name="connsiteX7022" fmla="*/ 1344936 w 3773795"/>
                <a:gd name="connsiteY7022" fmla="*/ 48686 h 1451770"/>
                <a:gd name="connsiteX7023" fmla="*/ 1343729 w 3773795"/>
                <a:gd name="connsiteY7023" fmla="*/ 51021 h 1451770"/>
                <a:gd name="connsiteX7024" fmla="*/ 1343099 w 3773795"/>
                <a:gd name="connsiteY7024" fmla="*/ 51781 h 1451770"/>
                <a:gd name="connsiteX7025" fmla="*/ 1336063 w 3773795"/>
                <a:gd name="connsiteY7025" fmla="*/ 52803 h 1451770"/>
                <a:gd name="connsiteX7026" fmla="*/ 1315541 w 3773795"/>
                <a:gd name="connsiteY7026" fmla="*/ 54668 h 1451770"/>
                <a:gd name="connsiteX7027" fmla="*/ 1313513 w 3773795"/>
                <a:gd name="connsiteY7027" fmla="*/ 53492 h 1451770"/>
                <a:gd name="connsiteX7028" fmla="*/ 1312867 w 3773795"/>
                <a:gd name="connsiteY7028" fmla="*/ 52798 h 1451770"/>
                <a:gd name="connsiteX7029" fmla="*/ 1315791 w 3773795"/>
                <a:gd name="connsiteY7029" fmla="*/ 48899 h 1451770"/>
                <a:gd name="connsiteX7030" fmla="*/ 1318168 w 3773795"/>
                <a:gd name="connsiteY7030" fmla="*/ 46993 h 1451770"/>
                <a:gd name="connsiteX7031" fmla="*/ 925458 w 3773795"/>
                <a:gd name="connsiteY7031" fmla="*/ 39528 h 1451770"/>
                <a:gd name="connsiteX7032" fmla="*/ 927890 w 3773795"/>
                <a:gd name="connsiteY7032" fmla="*/ 42321 h 1451770"/>
                <a:gd name="connsiteX7033" fmla="*/ 925780 w 3773795"/>
                <a:gd name="connsiteY7033" fmla="*/ 44362 h 1451770"/>
                <a:gd name="connsiteX7034" fmla="*/ 918458 w 3773795"/>
                <a:gd name="connsiteY7034" fmla="*/ 47512 h 1451770"/>
                <a:gd name="connsiteX7035" fmla="*/ 911513 w 3773795"/>
                <a:gd name="connsiteY7035" fmla="*/ 48583 h 1451770"/>
                <a:gd name="connsiteX7036" fmla="*/ 900332 w 3773795"/>
                <a:gd name="connsiteY7036" fmla="*/ 47243 h 1451770"/>
                <a:gd name="connsiteX7037" fmla="*/ 894519 w 3773795"/>
                <a:gd name="connsiteY7037" fmla="*/ 45733 h 1451770"/>
                <a:gd name="connsiteX7038" fmla="*/ 894963 w 3773795"/>
                <a:gd name="connsiteY7038" fmla="*/ 44978 h 1451770"/>
                <a:gd name="connsiteX7039" fmla="*/ 896495 w 3773795"/>
                <a:gd name="connsiteY7039" fmla="*/ 44070 h 1451770"/>
                <a:gd name="connsiteX7040" fmla="*/ 906203 w 3773795"/>
                <a:gd name="connsiteY7040" fmla="*/ 40375 h 1451770"/>
                <a:gd name="connsiteX7041" fmla="*/ 776457 w 3773795"/>
                <a:gd name="connsiteY7041" fmla="*/ 38902 h 1451770"/>
                <a:gd name="connsiteX7042" fmla="*/ 793079 w 3773795"/>
                <a:gd name="connsiteY7042" fmla="*/ 43902 h 1451770"/>
                <a:gd name="connsiteX7043" fmla="*/ 808545 w 3773795"/>
                <a:gd name="connsiteY7043" fmla="*/ 43420 h 1451770"/>
                <a:gd name="connsiteX7044" fmla="*/ 815226 w 3773795"/>
                <a:gd name="connsiteY7044" fmla="*/ 45026 h 1451770"/>
                <a:gd name="connsiteX7045" fmla="*/ 824898 w 3773795"/>
                <a:gd name="connsiteY7045" fmla="*/ 49453 h 1451770"/>
                <a:gd name="connsiteX7046" fmla="*/ 839450 w 3773795"/>
                <a:gd name="connsiteY7046" fmla="*/ 54272 h 1451770"/>
                <a:gd name="connsiteX7047" fmla="*/ 842244 w 3773795"/>
                <a:gd name="connsiteY7047" fmla="*/ 55689 h 1451770"/>
                <a:gd name="connsiteX7048" fmla="*/ 839729 w 3773795"/>
                <a:gd name="connsiteY7048" fmla="*/ 57588 h 1451770"/>
                <a:gd name="connsiteX7049" fmla="*/ 822799 w 3773795"/>
                <a:gd name="connsiteY7049" fmla="*/ 62318 h 1451770"/>
                <a:gd name="connsiteX7050" fmla="*/ 811760 w 3773795"/>
                <a:gd name="connsiteY7050" fmla="*/ 63899 h 1451770"/>
                <a:gd name="connsiteX7051" fmla="*/ 802205 w 3773795"/>
                <a:gd name="connsiteY7051" fmla="*/ 64127 h 1451770"/>
                <a:gd name="connsiteX7052" fmla="*/ 798426 w 3773795"/>
                <a:gd name="connsiteY7052" fmla="*/ 63670 h 1451770"/>
                <a:gd name="connsiteX7053" fmla="*/ 794626 w 3773795"/>
                <a:gd name="connsiteY7053" fmla="*/ 60275 h 1451770"/>
                <a:gd name="connsiteX7054" fmla="*/ 785262 w 3773795"/>
                <a:gd name="connsiteY7054" fmla="*/ 57772 h 1451770"/>
                <a:gd name="connsiteX7055" fmla="*/ 775333 w 3773795"/>
                <a:gd name="connsiteY7055" fmla="*/ 58454 h 1451770"/>
                <a:gd name="connsiteX7056" fmla="*/ 774342 w 3773795"/>
                <a:gd name="connsiteY7056" fmla="*/ 57085 h 1451770"/>
                <a:gd name="connsiteX7057" fmla="*/ 772340 w 3773795"/>
                <a:gd name="connsiteY7057" fmla="*/ 56168 h 1451770"/>
                <a:gd name="connsiteX7058" fmla="*/ 768875 w 3773795"/>
                <a:gd name="connsiteY7058" fmla="*/ 55963 h 1451770"/>
                <a:gd name="connsiteX7059" fmla="*/ 762031 w 3773795"/>
                <a:gd name="connsiteY7059" fmla="*/ 54587 h 1451770"/>
                <a:gd name="connsiteX7060" fmla="*/ 761563 w 3773795"/>
                <a:gd name="connsiteY7060" fmla="*/ 51571 h 1451770"/>
                <a:gd name="connsiteX7061" fmla="*/ 765878 w 3773795"/>
                <a:gd name="connsiteY7061" fmla="*/ 50024 h 1451770"/>
                <a:gd name="connsiteX7062" fmla="*/ 768681 w 3773795"/>
                <a:gd name="connsiteY7062" fmla="*/ 49923 h 1451770"/>
                <a:gd name="connsiteX7063" fmla="*/ 769775 w 3773795"/>
                <a:gd name="connsiteY7063" fmla="*/ 45634 h 1451770"/>
                <a:gd name="connsiteX7064" fmla="*/ 774578 w 3773795"/>
                <a:gd name="connsiteY7064" fmla="*/ 39047 h 1451770"/>
                <a:gd name="connsiteX7065" fmla="*/ 850102 w 3773795"/>
                <a:gd name="connsiteY7065" fmla="*/ 38772 h 1451770"/>
                <a:gd name="connsiteX7066" fmla="*/ 851271 w 3773795"/>
                <a:gd name="connsiteY7066" fmla="*/ 38991 h 1451770"/>
                <a:gd name="connsiteX7067" fmla="*/ 853207 w 3773795"/>
                <a:gd name="connsiteY7067" fmla="*/ 40016 h 1451770"/>
                <a:gd name="connsiteX7068" fmla="*/ 860232 w 3773795"/>
                <a:gd name="connsiteY7068" fmla="*/ 41724 h 1451770"/>
                <a:gd name="connsiteX7069" fmla="*/ 862769 w 3773795"/>
                <a:gd name="connsiteY7069" fmla="*/ 42770 h 1451770"/>
                <a:gd name="connsiteX7070" fmla="*/ 865846 w 3773795"/>
                <a:gd name="connsiteY7070" fmla="*/ 45404 h 1451770"/>
                <a:gd name="connsiteX7071" fmla="*/ 867036 w 3773795"/>
                <a:gd name="connsiteY7071" fmla="*/ 48380 h 1451770"/>
                <a:gd name="connsiteX7072" fmla="*/ 868964 w 3773795"/>
                <a:gd name="connsiteY7072" fmla="*/ 50242 h 1451770"/>
                <a:gd name="connsiteX7073" fmla="*/ 869584 w 3773795"/>
                <a:gd name="connsiteY7073" fmla="*/ 53654 h 1451770"/>
                <a:gd name="connsiteX7074" fmla="*/ 868023 w 3773795"/>
                <a:gd name="connsiteY7074" fmla="*/ 56354 h 1451770"/>
                <a:gd name="connsiteX7075" fmla="*/ 863201 w 3773795"/>
                <a:gd name="connsiteY7075" fmla="*/ 56944 h 1451770"/>
                <a:gd name="connsiteX7076" fmla="*/ 855324 w 3773795"/>
                <a:gd name="connsiteY7076" fmla="*/ 57102 h 1451770"/>
                <a:gd name="connsiteX7077" fmla="*/ 847634 w 3773795"/>
                <a:gd name="connsiteY7077" fmla="*/ 55634 h 1451770"/>
                <a:gd name="connsiteX7078" fmla="*/ 843475 w 3773795"/>
                <a:gd name="connsiteY7078" fmla="*/ 50687 h 1451770"/>
                <a:gd name="connsiteX7079" fmla="*/ 835854 w 3773795"/>
                <a:gd name="connsiteY7079" fmla="*/ 49336 h 1451770"/>
                <a:gd name="connsiteX7080" fmla="*/ 831560 w 3773795"/>
                <a:gd name="connsiteY7080" fmla="*/ 44047 h 1451770"/>
                <a:gd name="connsiteX7081" fmla="*/ 835967 w 3773795"/>
                <a:gd name="connsiteY7081" fmla="*/ 42504 h 1451770"/>
                <a:gd name="connsiteX7082" fmla="*/ 841406 w 3773795"/>
                <a:gd name="connsiteY7082" fmla="*/ 43296 h 1451770"/>
                <a:gd name="connsiteX7083" fmla="*/ 687941 w 3773795"/>
                <a:gd name="connsiteY7083" fmla="*/ 36050 h 1451770"/>
                <a:gd name="connsiteX7084" fmla="*/ 691538 w 3773795"/>
                <a:gd name="connsiteY7084" fmla="*/ 37081 h 1451770"/>
                <a:gd name="connsiteX7085" fmla="*/ 693033 w 3773795"/>
                <a:gd name="connsiteY7085" fmla="*/ 39309 h 1451770"/>
                <a:gd name="connsiteX7086" fmla="*/ 689552 w 3773795"/>
                <a:gd name="connsiteY7086" fmla="*/ 41201 h 1451770"/>
                <a:gd name="connsiteX7087" fmla="*/ 688777 w 3773795"/>
                <a:gd name="connsiteY7087" fmla="*/ 42471 h 1451770"/>
                <a:gd name="connsiteX7088" fmla="*/ 685732 w 3773795"/>
                <a:gd name="connsiteY7088" fmla="*/ 42791 h 1451770"/>
                <a:gd name="connsiteX7089" fmla="*/ 683568 w 3773795"/>
                <a:gd name="connsiteY7089" fmla="*/ 42567 h 1451770"/>
                <a:gd name="connsiteX7090" fmla="*/ 681219 w 3773795"/>
                <a:gd name="connsiteY7090" fmla="*/ 40548 h 1451770"/>
                <a:gd name="connsiteX7091" fmla="*/ 680457 w 3773795"/>
                <a:gd name="connsiteY7091" fmla="*/ 39591 h 1451770"/>
                <a:gd name="connsiteX7092" fmla="*/ 680258 w 3773795"/>
                <a:gd name="connsiteY7092" fmla="*/ 38561 h 1451770"/>
                <a:gd name="connsiteX7093" fmla="*/ 682391 w 3773795"/>
                <a:gd name="connsiteY7093" fmla="*/ 38367 h 1451770"/>
                <a:gd name="connsiteX7094" fmla="*/ 683298 w 3773795"/>
                <a:gd name="connsiteY7094" fmla="*/ 37428 h 1451770"/>
                <a:gd name="connsiteX7095" fmla="*/ 683644 w 3773795"/>
                <a:gd name="connsiteY7095" fmla="*/ 36699 h 1451770"/>
                <a:gd name="connsiteX7096" fmla="*/ 685197 w 3773795"/>
                <a:gd name="connsiteY7096" fmla="*/ 36113 h 1451770"/>
                <a:gd name="connsiteX7097" fmla="*/ 994403 w 3773795"/>
                <a:gd name="connsiteY7097" fmla="*/ 34596 h 1451770"/>
                <a:gd name="connsiteX7098" fmla="*/ 999415 w 3773795"/>
                <a:gd name="connsiteY7098" fmla="*/ 34660 h 1451770"/>
                <a:gd name="connsiteX7099" fmla="*/ 1004405 w 3773795"/>
                <a:gd name="connsiteY7099" fmla="*/ 36111 h 1451770"/>
                <a:gd name="connsiteX7100" fmla="*/ 1007595 w 3773795"/>
                <a:gd name="connsiteY7100" fmla="*/ 37438 h 1451770"/>
                <a:gd name="connsiteX7101" fmla="*/ 1010642 w 3773795"/>
                <a:gd name="connsiteY7101" fmla="*/ 39919 h 1451770"/>
                <a:gd name="connsiteX7102" fmla="*/ 1012240 w 3773795"/>
                <a:gd name="connsiteY7102" fmla="*/ 41986 h 1451770"/>
                <a:gd name="connsiteX7103" fmla="*/ 1011754 w 3773795"/>
                <a:gd name="connsiteY7103" fmla="*/ 44509 h 1451770"/>
                <a:gd name="connsiteX7104" fmla="*/ 1012019 w 3773795"/>
                <a:gd name="connsiteY7104" fmla="*/ 46595 h 1451770"/>
                <a:gd name="connsiteX7105" fmla="*/ 1013464 w 3773795"/>
                <a:gd name="connsiteY7105" fmla="*/ 48530 h 1451770"/>
                <a:gd name="connsiteX7106" fmla="*/ 1003736 w 3773795"/>
                <a:gd name="connsiteY7106" fmla="*/ 54315 h 1451770"/>
                <a:gd name="connsiteX7107" fmla="*/ 993805 w 3773795"/>
                <a:gd name="connsiteY7107" fmla="*/ 57591 h 1451770"/>
                <a:gd name="connsiteX7108" fmla="*/ 967834 w 3773795"/>
                <a:gd name="connsiteY7108" fmla="*/ 60441 h 1451770"/>
                <a:gd name="connsiteX7109" fmla="*/ 963716 w 3773795"/>
                <a:gd name="connsiteY7109" fmla="*/ 60569 h 1451770"/>
                <a:gd name="connsiteX7110" fmla="*/ 959615 w 3773795"/>
                <a:gd name="connsiteY7110" fmla="*/ 59785 h 1451770"/>
                <a:gd name="connsiteX7111" fmla="*/ 954271 w 3773795"/>
                <a:gd name="connsiteY7111" fmla="*/ 57216 h 1451770"/>
                <a:gd name="connsiteX7112" fmla="*/ 948961 w 3773795"/>
                <a:gd name="connsiteY7112" fmla="*/ 54161 h 1451770"/>
                <a:gd name="connsiteX7113" fmla="*/ 950559 w 3773795"/>
                <a:gd name="connsiteY7113" fmla="*/ 52551 h 1451770"/>
                <a:gd name="connsiteX7114" fmla="*/ 955573 w 3773795"/>
                <a:gd name="connsiteY7114" fmla="*/ 50442 h 1451770"/>
                <a:gd name="connsiteX7115" fmla="*/ 962129 w 3773795"/>
                <a:gd name="connsiteY7115" fmla="*/ 46658 h 1451770"/>
                <a:gd name="connsiteX7116" fmla="*/ 973161 w 3773795"/>
                <a:gd name="connsiteY7116" fmla="*/ 45926 h 1451770"/>
                <a:gd name="connsiteX7117" fmla="*/ 978495 w 3773795"/>
                <a:gd name="connsiteY7117" fmla="*/ 45913 h 1451770"/>
                <a:gd name="connsiteX7118" fmla="*/ 983796 w 3773795"/>
                <a:gd name="connsiteY7118" fmla="*/ 45021 h 1451770"/>
                <a:gd name="connsiteX7119" fmla="*/ 985349 w 3773795"/>
                <a:gd name="connsiteY7119" fmla="*/ 43077 h 1451770"/>
                <a:gd name="connsiteX7120" fmla="*/ 986334 w 3773795"/>
                <a:gd name="connsiteY7120" fmla="*/ 39403 h 1451770"/>
                <a:gd name="connsiteX7121" fmla="*/ 987337 w 3773795"/>
                <a:gd name="connsiteY7121" fmla="*/ 37418 h 1451770"/>
                <a:gd name="connsiteX7122" fmla="*/ 988538 w 3773795"/>
                <a:gd name="connsiteY7122" fmla="*/ 35813 h 1451770"/>
                <a:gd name="connsiteX7123" fmla="*/ 1558141 w 3773795"/>
                <a:gd name="connsiteY7123" fmla="*/ 33800 h 1451770"/>
                <a:gd name="connsiteX7124" fmla="*/ 1581117 w 3773795"/>
                <a:gd name="connsiteY7124" fmla="*/ 34563 h 1451770"/>
                <a:gd name="connsiteX7125" fmla="*/ 1589273 w 3773795"/>
                <a:gd name="connsiteY7125" fmla="*/ 35356 h 1451770"/>
                <a:gd name="connsiteX7126" fmla="*/ 1591249 w 3773795"/>
                <a:gd name="connsiteY7126" fmla="*/ 37586 h 1451770"/>
                <a:gd name="connsiteX7127" fmla="*/ 1583635 w 3773795"/>
                <a:gd name="connsiteY7127" fmla="*/ 41617 h 1451770"/>
                <a:gd name="connsiteX7128" fmla="*/ 1556059 w 3773795"/>
                <a:gd name="connsiteY7128" fmla="*/ 39049 h 1451770"/>
                <a:gd name="connsiteX7129" fmla="*/ 1554814 w 3773795"/>
                <a:gd name="connsiteY7129" fmla="*/ 37194 h 1451770"/>
                <a:gd name="connsiteX7130" fmla="*/ 1554410 w 3773795"/>
                <a:gd name="connsiteY7130" fmla="*/ 36047 h 1451770"/>
                <a:gd name="connsiteX7131" fmla="*/ 1684860 w 3773795"/>
                <a:gd name="connsiteY7131" fmla="*/ 30308 h 1451770"/>
                <a:gd name="connsiteX7132" fmla="*/ 1687099 w 3773795"/>
                <a:gd name="connsiteY7132" fmla="*/ 31348 h 1451770"/>
                <a:gd name="connsiteX7133" fmla="*/ 1688913 w 3773795"/>
                <a:gd name="connsiteY7133" fmla="*/ 33920 h 1451770"/>
                <a:gd name="connsiteX7134" fmla="*/ 1690930 w 3773795"/>
                <a:gd name="connsiteY7134" fmla="*/ 34895 h 1451770"/>
                <a:gd name="connsiteX7135" fmla="*/ 1693401 w 3773795"/>
                <a:gd name="connsiteY7135" fmla="*/ 35356 h 1451770"/>
                <a:gd name="connsiteX7136" fmla="*/ 1699685 w 3773795"/>
                <a:gd name="connsiteY7136" fmla="*/ 39772 h 1451770"/>
                <a:gd name="connsiteX7137" fmla="*/ 1700911 w 3773795"/>
                <a:gd name="connsiteY7137" fmla="*/ 41005 h 1451770"/>
                <a:gd name="connsiteX7138" fmla="*/ 1701719 w 3773795"/>
                <a:gd name="connsiteY7138" fmla="*/ 43372 h 1451770"/>
                <a:gd name="connsiteX7139" fmla="*/ 1704597 w 3773795"/>
                <a:gd name="connsiteY7139" fmla="*/ 45237 h 1451770"/>
                <a:gd name="connsiteX7140" fmla="*/ 1705962 w 3773795"/>
                <a:gd name="connsiteY7140" fmla="*/ 47122 h 1451770"/>
                <a:gd name="connsiteX7141" fmla="*/ 1720527 w 3773795"/>
                <a:gd name="connsiteY7141" fmla="*/ 53129 h 1451770"/>
                <a:gd name="connsiteX7142" fmla="*/ 1726925 w 3773795"/>
                <a:gd name="connsiteY7142" fmla="*/ 53911 h 1451770"/>
                <a:gd name="connsiteX7143" fmla="*/ 1729774 w 3773795"/>
                <a:gd name="connsiteY7143" fmla="*/ 55379 h 1451770"/>
                <a:gd name="connsiteX7144" fmla="*/ 1730615 w 3773795"/>
                <a:gd name="connsiteY7144" fmla="*/ 57185 h 1451770"/>
                <a:gd name="connsiteX7145" fmla="*/ 1730318 w 3773795"/>
                <a:gd name="connsiteY7145" fmla="*/ 60544 h 1451770"/>
                <a:gd name="connsiteX7146" fmla="*/ 1727902 w 3773795"/>
                <a:gd name="connsiteY7146" fmla="*/ 60514 h 1451770"/>
                <a:gd name="connsiteX7147" fmla="*/ 1726094 w 3773795"/>
                <a:gd name="connsiteY7147" fmla="*/ 61574 h 1451770"/>
                <a:gd name="connsiteX7148" fmla="*/ 1716275 w 3773795"/>
                <a:gd name="connsiteY7148" fmla="*/ 62892 h 1451770"/>
                <a:gd name="connsiteX7149" fmla="*/ 1713880 w 3773795"/>
                <a:gd name="connsiteY7149" fmla="*/ 64864 h 1451770"/>
                <a:gd name="connsiteX7150" fmla="*/ 1711941 w 3773795"/>
                <a:gd name="connsiteY7150" fmla="*/ 68891 h 1451770"/>
                <a:gd name="connsiteX7151" fmla="*/ 1712984 w 3773795"/>
                <a:gd name="connsiteY7151" fmla="*/ 69693 h 1451770"/>
                <a:gd name="connsiteX7152" fmla="*/ 1713923 w 3773795"/>
                <a:gd name="connsiteY7152" fmla="*/ 70886 h 1451770"/>
                <a:gd name="connsiteX7153" fmla="*/ 1716912 w 3773795"/>
                <a:gd name="connsiteY7153" fmla="*/ 77708 h 1451770"/>
                <a:gd name="connsiteX7154" fmla="*/ 1717722 w 3773795"/>
                <a:gd name="connsiteY7154" fmla="*/ 78751 h 1451770"/>
                <a:gd name="connsiteX7155" fmla="*/ 1720600 w 3773795"/>
                <a:gd name="connsiteY7155" fmla="*/ 79738 h 1451770"/>
                <a:gd name="connsiteX7156" fmla="*/ 1717979 w 3773795"/>
                <a:gd name="connsiteY7156" fmla="*/ 82302 h 1451770"/>
                <a:gd name="connsiteX7157" fmla="*/ 1715253 w 3773795"/>
                <a:gd name="connsiteY7157" fmla="*/ 83915 h 1451770"/>
                <a:gd name="connsiteX7158" fmla="*/ 1686078 w 3773795"/>
                <a:gd name="connsiteY7158" fmla="*/ 87165 h 1451770"/>
                <a:gd name="connsiteX7159" fmla="*/ 1666301 w 3773795"/>
                <a:gd name="connsiteY7159" fmla="*/ 88512 h 1451770"/>
                <a:gd name="connsiteX7160" fmla="*/ 1659665 w 3773795"/>
                <a:gd name="connsiteY7160" fmla="*/ 89909 h 1451770"/>
                <a:gd name="connsiteX7161" fmla="*/ 1657538 w 3773795"/>
                <a:gd name="connsiteY7161" fmla="*/ 89743 h 1451770"/>
                <a:gd name="connsiteX7162" fmla="*/ 1652305 w 3773795"/>
                <a:gd name="connsiteY7162" fmla="*/ 92275 h 1451770"/>
                <a:gd name="connsiteX7163" fmla="*/ 1642221 w 3773795"/>
                <a:gd name="connsiteY7163" fmla="*/ 95604 h 1451770"/>
                <a:gd name="connsiteX7164" fmla="*/ 1637408 w 3773795"/>
                <a:gd name="connsiteY7164" fmla="*/ 95629 h 1451770"/>
                <a:gd name="connsiteX7165" fmla="*/ 1622983 w 3773795"/>
                <a:gd name="connsiteY7165" fmla="*/ 90957 h 1451770"/>
                <a:gd name="connsiteX7166" fmla="*/ 1605276 w 3773795"/>
                <a:gd name="connsiteY7166" fmla="*/ 87047 h 1451770"/>
                <a:gd name="connsiteX7167" fmla="*/ 1602857 w 3773795"/>
                <a:gd name="connsiteY7167" fmla="*/ 84812 h 1451770"/>
                <a:gd name="connsiteX7168" fmla="*/ 1598423 w 3773795"/>
                <a:gd name="connsiteY7168" fmla="*/ 83495 h 1451770"/>
                <a:gd name="connsiteX7169" fmla="*/ 1592801 w 3773795"/>
                <a:gd name="connsiteY7169" fmla="*/ 82446 h 1451770"/>
                <a:gd name="connsiteX7170" fmla="*/ 1590290 w 3773795"/>
                <a:gd name="connsiteY7170" fmla="*/ 77935 h 1451770"/>
                <a:gd name="connsiteX7171" fmla="*/ 1593916 w 3773795"/>
                <a:gd name="connsiteY7171" fmla="*/ 74877 h 1451770"/>
                <a:gd name="connsiteX7172" fmla="*/ 1598535 w 3773795"/>
                <a:gd name="connsiteY7172" fmla="*/ 71860 h 1451770"/>
                <a:gd name="connsiteX7173" fmla="*/ 1606274 w 3773795"/>
                <a:gd name="connsiteY7173" fmla="*/ 70756 h 1451770"/>
                <a:gd name="connsiteX7174" fmla="*/ 1613598 w 3773795"/>
                <a:gd name="connsiteY7174" fmla="*/ 69009 h 1451770"/>
                <a:gd name="connsiteX7175" fmla="*/ 1619100 w 3773795"/>
                <a:gd name="connsiteY7175" fmla="*/ 64633 h 1451770"/>
                <a:gd name="connsiteX7176" fmla="*/ 1622513 w 3773795"/>
                <a:gd name="connsiteY7176" fmla="*/ 60292 h 1451770"/>
                <a:gd name="connsiteX7177" fmla="*/ 1628736 w 3773795"/>
                <a:gd name="connsiteY7177" fmla="*/ 55742 h 1451770"/>
                <a:gd name="connsiteX7178" fmla="*/ 1617911 w 3773795"/>
                <a:gd name="connsiteY7178" fmla="*/ 56908 h 1451770"/>
                <a:gd name="connsiteX7179" fmla="*/ 1613922 w 3773795"/>
                <a:gd name="connsiteY7179" fmla="*/ 56279 h 1451770"/>
                <a:gd name="connsiteX7180" fmla="*/ 1614311 w 3773795"/>
                <a:gd name="connsiteY7180" fmla="*/ 54774 h 1451770"/>
                <a:gd name="connsiteX7181" fmla="*/ 1616526 w 3773795"/>
                <a:gd name="connsiteY7181" fmla="*/ 51561 h 1451770"/>
                <a:gd name="connsiteX7182" fmla="*/ 1617727 w 3773795"/>
                <a:gd name="connsiteY7182" fmla="*/ 50479 h 1451770"/>
                <a:gd name="connsiteX7183" fmla="*/ 1621575 w 3773795"/>
                <a:gd name="connsiteY7183" fmla="*/ 48783 h 1451770"/>
                <a:gd name="connsiteX7184" fmla="*/ 1624371 w 3773795"/>
                <a:gd name="connsiteY7184" fmla="*/ 45533 h 1451770"/>
                <a:gd name="connsiteX7185" fmla="*/ 1630863 w 3773795"/>
                <a:gd name="connsiteY7185" fmla="*/ 43288 h 1451770"/>
                <a:gd name="connsiteX7186" fmla="*/ 1633929 w 3773795"/>
                <a:gd name="connsiteY7186" fmla="*/ 42897 h 1451770"/>
                <a:gd name="connsiteX7187" fmla="*/ 1637010 w 3773795"/>
                <a:gd name="connsiteY7187" fmla="*/ 42953 h 1451770"/>
                <a:gd name="connsiteX7188" fmla="*/ 1642586 w 3773795"/>
                <a:gd name="connsiteY7188" fmla="*/ 41899 h 1451770"/>
                <a:gd name="connsiteX7189" fmla="*/ 1648142 w 3773795"/>
                <a:gd name="connsiteY7189" fmla="*/ 40283 h 1451770"/>
                <a:gd name="connsiteX7190" fmla="*/ 1653346 w 3773795"/>
                <a:gd name="connsiteY7190" fmla="*/ 39350 h 1451770"/>
                <a:gd name="connsiteX7191" fmla="*/ 1658568 w 3773795"/>
                <a:gd name="connsiteY7191" fmla="*/ 38971 h 1451770"/>
                <a:gd name="connsiteX7192" fmla="*/ 1663571 w 3773795"/>
                <a:gd name="connsiteY7192" fmla="*/ 37680 h 1451770"/>
                <a:gd name="connsiteX7193" fmla="*/ 1668503 w 3773795"/>
                <a:gd name="connsiteY7193" fmla="*/ 35139 h 1451770"/>
                <a:gd name="connsiteX7194" fmla="*/ 1670684 w 3773795"/>
                <a:gd name="connsiteY7194" fmla="*/ 30804 h 1451770"/>
                <a:gd name="connsiteX7195" fmla="*/ 872778 w 3773795"/>
                <a:gd name="connsiteY7195" fmla="*/ 24158 h 1451770"/>
                <a:gd name="connsiteX7196" fmla="*/ 877330 w 3773795"/>
                <a:gd name="connsiteY7196" fmla="*/ 25817 h 1451770"/>
                <a:gd name="connsiteX7197" fmla="*/ 879403 w 3773795"/>
                <a:gd name="connsiteY7197" fmla="*/ 27972 h 1451770"/>
                <a:gd name="connsiteX7198" fmla="*/ 878043 w 3773795"/>
                <a:gd name="connsiteY7198" fmla="*/ 29011 h 1451770"/>
                <a:gd name="connsiteX7199" fmla="*/ 873264 w 3773795"/>
                <a:gd name="connsiteY7199" fmla="*/ 29689 h 1451770"/>
                <a:gd name="connsiteX7200" fmla="*/ 864907 w 3773795"/>
                <a:gd name="connsiteY7200" fmla="*/ 28576 h 1451770"/>
                <a:gd name="connsiteX7201" fmla="*/ 862499 w 3773795"/>
                <a:gd name="connsiteY7201" fmla="*/ 27332 h 1451770"/>
                <a:gd name="connsiteX7202" fmla="*/ 863037 w 3773795"/>
                <a:gd name="connsiteY7202" fmla="*/ 26120 h 1451770"/>
                <a:gd name="connsiteX7203" fmla="*/ 868479 w 3773795"/>
                <a:gd name="connsiteY7203" fmla="*/ 24466 h 1451770"/>
                <a:gd name="connsiteX7204" fmla="*/ 842741 w 3773795"/>
                <a:gd name="connsiteY7204" fmla="*/ 15362 h 1451770"/>
                <a:gd name="connsiteX7205" fmla="*/ 844812 w 3773795"/>
                <a:gd name="connsiteY7205" fmla="*/ 16344 h 1451770"/>
                <a:gd name="connsiteX7206" fmla="*/ 845971 w 3773795"/>
                <a:gd name="connsiteY7206" fmla="*/ 18434 h 1451770"/>
                <a:gd name="connsiteX7207" fmla="*/ 849375 w 3773795"/>
                <a:gd name="connsiteY7207" fmla="*/ 19628 h 1451770"/>
                <a:gd name="connsiteX7208" fmla="*/ 858649 w 3773795"/>
                <a:gd name="connsiteY7208" fmla="*/ 20662 h 1451770"/>
                <a:gd name="connsiteX7209" fmla="*/ 861476 w 3773795"/>
                <a:gd name="connsiteY7209" fmla="*/ 23069 h 1451770"/>
                <a:gd name="connsiteX7210" fmla="*/ 857230 w 3773795"/>
                <a:gd name="connsiteY7210" fmla="*/ 24722 h 1451770"/>
                <a:gd name="connsiteX7211" fmla="*/ 845883 w 3773795"/>
                <a:gd name="connsiteY7211" fmla="*/ 25715 h 1451770"/>
                <a:gd name="connsiteX7212" fmla="*/ 847060 w 3773795"/>
                <a:gd name="connsiteY7212" fmla="*/ 29114 h 1451770"/>
                <a:gd name="connsiteX7213" fmla="*/ 849347 w 3773795"/>
                <a:gd name="connsiteY7213" fmla="*/ 31650 h 1451770"/>
                <a:gd name="connsiteX7214" fmla="*/ 847081 w 3773795"/>
                <a:gd name="connsiteY7214" fmla="*/ 34647 h 1451770"/>
                <a:gd name="connsiteX7215" fmla="*/ 843916 w 3773795"/>
                <a:gd name="connsiteY7215" fmla="*/ 36098 h 1451770"/>
                <a:gd name="connsiteX7216" fmla="*/ 836867 w 3773795"/>
                <a:gd name="connsiteY7216" fmla="*/ 37881 h 1451770"/>
                <a:gd name="connsiteX7217" fmla="*/ 830421 w 3773795"/>
                <a:gd name="connsiteY7217" fmla="*/ 35642 h 1451770"/>
                <a:gd name="connsiteX7218" fmla="*/ 822957 w 3773795"/>
                <a:gd name="connsiteY7218" fmla="*/ 32534 h 1451770"/>
                <a:gd name="connsiteX7219" fmla="*/ 819581 w 3773795"/>
                <a:gd name="connsiteY7219" fmla="*/ 34607 h 1451770"/>
                <a:gd name="connsiteX7220" fmla="*/ 816116 w 3773795"/>
                <a:gd name="connsiteY7220" fmla="*/ 35810 h 1451770"/>
                <a:gd name="connsiteX7221" fmla="*/ 812831 w 3773795"/>
                <a:gd name="connsiteY7221" fmla="*/ 35634 h 1451770"/>
                <a:gd name="connsiteX7222" fmla="*/ 809029 w 3773795"/>
                <a:gd name="connsiteY7222" fmla="*/ 33264 h 1451770"/>
                <a:gd name="connsiteX7223" fmla="*/ 798519 w 3773795"/>
                <a:gd name="connsiteY7223" fmla="*/ 35119 h 1451770"/>
                <a:gd name="connsiteX7224" fmla="*/ 795334 w 3773795"/>
                <a:gd name="connsiteY7224" fmla="*/ 33050 h 1451770"/>
                <a:gd name="connsiteX7225" fmla="*/ 792976 w 3773795"/>
                <a:gd name="connsiteY7225" fmla="*/ 28699 h 1451770"/>
                <a:gd name="connsiteX7226" fmla="*/ 799961 w 3773795"/>
                <a:gd name="connsiteY7226" fmla="*/ 27741 h 1451770"/>
                <a:gd name="connsiteX7227" fmla="*/ 808251 w 3773795"/>
                <a:gd name="connsiteY7227" fmla="*/ 29124 h 1451770"/>
                <a:gd name="connsiteX7228" fmla="*/ 813732 w 3773795"/>
                <a:gd name="connsiteY7228" fmla="*/ 24720 h 1451770"/>
                <a:gd name="connsiteX7229" fmla="*/ 820676 w 3773795"/>
                <a:gd name="connsiteY7229" fmla="*/ 22808 h 1451770"/>
                <a:gd name="connsiteX7230" fmla="*/ 826299 w 3773795"/>
                <a:gd name="connsiteY7230" fmla="*/ 18217 h 1451770"/>
                <a:gd name="connsiteX7231" fmla="*/ 828918 w 3773795"/>
                <a:gd name="connsiteY7231" fmla="*/ 16599 h 1451770"/>
                <a:gd name="connsiteX7232" fmla="*/ 834967 w 3773795"/>
                <a:gd name="connsiteY7232" fmla="*/ 16914 h 1451770"/>
                <a:gd name="connsiteX7233" fmla="*/ 836988 w 3773795"/>
                <a:gd name="connsiteY7233" fmla="*/ 16512 h 1451770"/>
                <a:gd name="connsiteX7234" fmla="*/ 955033 w 3773795"/>
                <a:gd name="connsiteY7234" fmla="*/ 7193 h 1451770"/>
                <a:gd name="connsiteX7235" fmla="*/ 975258 w 3773795"/>
                <a:gd name="connsiteY7235" fmla="*/ 8871 h 1451770"/>
                <a:gd name="connsiteX7236" fmla="*/ 976537 w 3773795"/>
                <a:gd name="connsiteY7236" fmla="*/ 10098 h 1451770"/>
                <a:gd name="connsiteX7237" fmla="*/ 976869 w 3773795"/>
                <a:gd name="connsiteY7237" fmla="*/ 10858 h 1451770"/>
                <a:gd name="connsiteX7238" fmla="*/ 973962 w 3773795"/>
                <a:gd name="connsiteY7238" fmla="*/ 13000 h 1451770"/>
                <a:gd name="connsiteX7239" fmla="*/ 971254 w 3773795"/>
                <a:gd name="connsiteY7239" fmla="*/ 13675 h 1451770"/>
                <a:gd name="connsiteX7240" fmla="*/ 957024 w 3773795"/>
                <a:gd name="connsiteY7240" fmla="*/ 13024 h 1451770"/>
                <a:gd name="connsiteX7241" fmla="*/ 950127 w 3773795"/>
                <a:gd name="connsiteY7241" fmla="*/ 11745 h 1451770"/>
                <a:gd name="connsiteX7242" fmla="*/ 949203 w 3773795"/>
                <a:gd name="connsiteY7242" fmla="*/ 11006 h 1451770"/>
                <a:gd name="connsiteX7243" fmla="*/ 948849 w 3773795"/>
                <a:gd name="connsiteY7243" fmla="*/ 10364 h 1451770"/>
                <a:gd name="connsiteX7244" fmla="*/ 939810 w 3773795"/>
                <a:gd name="connsiteY7244" fmla="*/ 9293 h 1451770"/>
                <a:gd name="connsiteX7245" fmla="*/ 943735 w 3773795"/>
                <a:gd name="connsiteY7245" fmla="*/ 7851 h 1451770"/>
                <a:gd name="connsiteX7246" fmla="*/ 876909 w 3773795"/>
                <a:gd name="connsiteY7246" fmla="*/ 0 h 1451770"/>
                <a:gd name="connsiteX7247" fmla="*/ 880152 w 3773795"/>
                <a:gd name="connsiteY7247" fmla="*/ 1532 h 1451770"/>
                <a:gd name="connsiteX7248" fmla="*/ 879010 w 3773795"/>
                <a:gd name="connsiteY7248" fmla="*/ 3899 h 1451770"/>
                <a:gd name="connsiteX7249" fmla="*/ 879001 w 3773795"/>
                <a:gd name="connsiteY7249" fmla="*/ 5067 h 1451770"/>
                <a:gd name="connsiteX7250" fmla="*/ 855540 w 3773795"/>
                <a:gd name="connsiteY7250" fmla="*/ 7392 h 1451770"/>
                <a:gd name="connsiteX7251" fmla="*/ 848230 w 3773795"/>
                <a:gd name="connsiteY7251" fmla="*/ 8428 h 1451770"/>
                <a:gd name="connsiteX7252" fmla="*/ 847252 w 3773795"/>
                <a:gd name="connsiteY7252" fmla="*/ 7641 h 1451770"/>
                <a:gd name="connsiteX7253" fmla="*/ 847001 w 3773795"/>
                <a:gd name="connsiteY7253" fmla="*/ 7035 h 1451770"/>
                <a:gd name="connsiteX7254" fmla="*/ 847794 w 3773795"/>
                <a:gd name="connsiteY7254" fmla="*/ 5659 h 1451770"/>
                <a:gd name="connsiteX7255" fmla="*/ 848675 w 3773795"/>
                <a:gd name="connsiteY7255" fmla="*/ 3045 h 1451770"/>
                <a:gd name="connsiteX7256" fmla="*/ 851983 w 3773795"/>
                <a:gd name="connsiteY7256" fmla="*/ 1397 h 14517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  <a:cxn ang="0">
                  <a:pos x="connsiteX2223" y="connsiteY2223"/>
                </a:cxn>
                <a:cxn ang="0">
                  <a:pos x="connsiteX2224" y="connsiteY2224"/>
                </a:cxn>
                <a:cxn ang="0">
                  <a:pos x="connsiteX2225" y="connsiteY2225"/>
                </a:cxn>
                <a:cxn ang="0">
                  <a:pos x="connsiteX2226" y="connsiteY2226"/>
                </a:cxn>
                <a:cxn ang="0">
                  <a:pos x="connsiteX2227" y="connsiteY2227"/>
                </a:cxn>
                <a:cxn ang="0">
                  <a:pos x="connsiteX2228" y="connsiteY2228"/>
                </a:cxn>
                <a:cxn ang="0">
                  <a:pos x="connsiteX2229" y="connsiteY2229"/>
                </a:cxn>
                <a:cxn ang="0">
                  <a:pos x="connsiteX2230" y="connsiteY2230"/>
                </a:cxn>
                <a:cxn ang="0">
                  <a:pos x="connsiteX2231" y="connsiteY2231"/>
                </a:cxn>
                <a:cxn ang="0">
                  <a:pos x="connsiteX2232" y="connsiteY2232"/>
                </a:cxn>
                <a:cxn ang="0">
                  <a:pos x="connsiteX2233" y="connsiteY2233"/>
                </a:cxn>
                <a:cxn ang="0">
                  <a:pos x="connsiteX2234" y="connsiteY2234"/>
                </a:cxn>
                <a:cxn ang="0">
                  <a:pos x="connsiteX2235" y="connsiteY2235"/>
                </a:cxn>
                <a:cxn ang="0">
                  <a:pos x="connsiteX2236" y="connsiteY2236"/>
                </a:cxn>
                <a:cxn ang="0">
                  <a:pos x="connsiteX2237" y="connsiteY2237"/>
                </a:cxn>
                <a:cxn ang="0">
                  <a:pos x="connsiteX2238" y="connsiteY2238"/>
                </a:cxn>
                <a:cxn ang="0">
                  <a:pos x="connsiteX2239" y="connsiteY2239"/>
                </a:cxn>
                <a:cxn ang="0">
                  <a:pos x="connsiteX2240" y="connsiteY2240"/>
                </a:cxn>
                <a:cxn ang="0">
                  <a:pos x="connsiteX2241" y="connsiteY2241"/>
                </a:cxn>
                <a:cxn ang="0">
                  <a:pos x="connsiteX2242" y="connsiteY2242"/>
                </a:cxn>
                <a:cxn ang="0">
                  <a:pos x="connsiteX2243" y="connsiteY2243"/>
                </a:cxn>
                <a:cxn ang="0">
                  <a:pos x="connsiteX2244" y="connsiteY2244"/>
                </a:cxn>
                <a:cxn ang="0">
                  <a:pos x="connsiteX2245" y="connsiteY2245"/>
                </a:cxn>
                <a:cxn ang="0">
                  <a:pos x="connsiteX2246" y="connsiteY2246"/>
                </a:cxn>
                <a:cxn ang="0">
                  <a:pos x="connsiteX2247" y="connsiteY2247"/>
                </a:cxn>
                <a:cxn ang="0">
                  <a:pos x="connsiteX2248" y="connsiteY2248"/>
                </a:cxn>
                <a:cxn ang="0">
                  <a:pos x="connsiteX2249" y="connsiteY2249"/>
                </a:cxn>
                <a:cxn ang="0">
                  <a:pos x="connsiteX2250" y="connsiteY2250"/>
                </a:cxn>
                <a:cxn ang="0">
                  <a:pos x="connsiteX2251" y="connsiteY2251"/>
                </a:cxn>
                <a:cxn ang="0">
                  <a:pos x="connsiteX2252" y="connsiteY2252"/>
                </a:cxn>
                <a:cxn ang="0">
                  <a:pos x="connsiteX2253" y="connsiteY2253"/>
                </a:cxn>
                <a:cxn ang="0">
                  <a:pos x="connsiteX2254" y="connsiteY2254"/>
                </a:cxn>
                <a:cxn ang="0">
                  <a:pos x="connsiteX2255" y="connsiteY2255"/>
                </a:cxn>
                <a:cxn ang="0">
                  <a:pos x="connsiteX2256" y="connsiteY2256"/>
                </a:cxn>
                <a:cxn ang="0">
                  <a:pos x="connsiteX2257" y="connsiteY2257"/>
                </a:cxn>
                <a:cxn ang="0">
                  <a:pos x="connsiteX2258" y="connsiteY2258"/>
                </a:cxn>
                <a:cxn ang="0">
                  <a:pos x="connsiteX2259" y="connsiteY2259"/>
                </a:cxn>
                <a:cxn ang="0">
                  <a:pos x="connsiteX2260" y="connsiteY2260"/>
                </a:cxn>
                <a:cxn ang="0">
                  <a:pos x="connsiteX2261" y="connsiteY2261"/>
                </a:cxn>
                <a:cxn ang="0">
                  <a:pos x="connsiteX2262" y="connsiteY2262"/>
                </a:cxn>
                <a:cxn ang="0">
                  <a:pos x="connsiteX2263" y="connsiteY2263"/>
                </a:cxn>
                <a:cxn ang="0">
                  <a:pos x="connsiteX2264" y="connsiteY2264"/>
                </a:cxn>
                <a:cxn ang="0">
                  <a:pos x="connsiteX2265" y="connsiteY2265"/>
                </a:cxn>
                <a:cxn ang="0">
                  <a:pos x="connsiteX2266" y="connsiteY2266"/>
                </a:cxn>
                <a:cxn ang="0">
                  <a:pos x="connsiteX2267" y="connsiteY2267"/>
                </a:cxn>
                <a:cxn ang="0">
                  <a:pos x="connsiteX2268" y="connsiteY2268"/>
                </a:cxn>
                <a:cxn ang="0">
                  <a:pos x="connsiteX2269" y="connsiteY2269"/>
                </a:cxn>
                <a:cxn ang="0">
                  <a:pos x="connsiteX2270" y="connsiteY2270"/>
                </a:cxn>
                <a:cxn ang="0">
                  <a:pos x="connsiteX2271" y="connsiteY2271"/>
                </a:cxn>
                <a:cxn ang="0">
                  <a:pos x="connsiteX2272" y="connsiteY2272"/>
                </a:cxn>
                <a:cxn ang="0">
                  <a:pos x="connsiteX2273" y="connsiteY2273"/>
                </a:cxn>
                <a:cxn ang="0">
                  <a:pos x="connsiteX2274" y="connsiteY2274"/>
                </a:cxn>
                <a:cxn ang="0">
                  <a:pos x="connsiteX2275" y="connsiteY2275"/>
                </a:cxn>
                <a:cxn ang="0">
                  <a:pos x="connsiteX2276" y="connsiteY2276"/>
                </a:cxn>
                <a:cxn ang="0">
                  <a:pos x="connsiteX2277" y="connsiteY2277"/>
                </a:cxn>
                <a:cxn ang="0">
                  <a:pos x="connsiteX2278" y="connsiteY2278"/>
                </a:cxn>
                <a:cxn ang="0">
                  <a:pos x="connsiteX2279" y="connsiteY2279"/>
                </a:cxn>
                <a:cxn ang="0">
                  <a:pos x="connsiteX2280" y="connsiteY2280"/>
                </a:cxn>
                <a:cxn ang="0">
                  <a:pos x="connsiteX2281" y="connsiteY2281"/>
                </a:cxn>
                <a:cxn ang="0">
                  <a:pos x="connsiteX2282" y="connsiteY2282"/>
                </a:cxn>
                <a:cxn ang="0">
                  <a:pos x="connsiteX2283" y="connsiteY2283"/>
                </a:cxn>
                <a:cxn ang="0">
                  <a:pos x="connsiteX2284" y="connsiteY2284"/>
                </a:cxn>
                <a:cxn ang="0">
                  <a:pos x="connsiteX2285" y="connsiteY2285"/>
                </a:cxn>
                <a:cxn ang="0">
                  <a:pos x="connsiteX2286" y="connsiteY2286"/>
                </a:cxn>
                <a:cxn ang="0">
                  <a:pos x="connsiteX2287" y="connsiteY2287"/>
                </a:cxn>
                <a:cxn ang="0">
                  <a:pos x="connsiteX2288" y="connsiteY2288"/>
                </a:cxn>
                <a:cxn ang="0">
                  <a:pos x="connsiteX2289" y="connsiteY2289"/>
                </a:cxn>
                <a:cxn ang="0">
                  <a:pos x="connsiteX2290" y="connsiteY2290"/>
                </a:cxn>
                <a:cxn ang="0">
                  <a:pos x="connsiteX2291" y="connsiteY2291"/>
                </a:cxn>
                <a:cxn ang="0">
                  <a:pos x="connsiteX2292" y="connsiteY2292"/>
                </a:cxn>
                <a:cxn ang="0">
                  <a:pos x="connsiteX2293" y="connsiteY2293"/>
                </a:cxn>
                <a:cxn ang="0">
                  <a:pos x="connsiteX2294" y="connsiteY2294"/>
                </a:cxn>
                <a:cxn ang="0">
                  <a:pos x="connsiteX2295" y="connsiteY2295"/>
                </a:cxn>
                <a:cxn ang="0">
                  <a:pos x="connsiteX2296" y="connsiteY2296"/>
                </a:cxn>
                <a:cxn ang="0">
                  <a:pos x="connsiteX2297" y="connsiteY2297"/>
                </a:cxn>
                <a:cxn ang="0">
                  <a:pos x="connsiteX2298" y="connsiteY2298"/>
                </a:cxn>
                <a:cxn ang="0">
                  <a:pos x="connsiteX2299" y="connsiteY2299"/>
                </a:cxn>
                <a:cxn ang="0">
                  <a:pos x="connsiteX2300" y="connsiteY2300"/>
                </a:cxn>
                <a:cxn ang="0">
                  <a:pos x="connsiteX2301" y="connsiteY2301"/>
                </a:cxn>
                <a:cxn ang="0">
                  <a:pos x="connsiteX2302" y="connsiteY2302"/>
                </a:cxn>
                <a:cxn ang="0">
                  <a:pos x="connsiteX2303" y="connsiteY2303"/>
                </a:cxn>
                <a:cxn ang="0">
                  <a:pos x="connsiteX2304" y="connsiteY2304"/>
                </a:cxn>
                <a:cxn ang="0">
                  <a:pos x="connsiteX2305" y="connsiteY2305"/>
                </a:cxn>
                <a:cxn ang="0">
                  <a:pos x="connsiteX2306" y="connsiteY2306"/>
                </a:cxn>
                <a:cxn ang="0">
                  <a:pos x="connsiteX2307" y="connsiteY2307"/>
                </a:cxn>
                <a:cxn ang="0">
                  <a:pos x="connsiteX2308" y="connsiteY2308"/>
                </a:cxn>
                <a:cxn ang="0">
                  <a:pos x="connsiteX2309" y="connsiteY2309"/>
                </a:cxn>
                <a:cxn ang="0">
                  <a:pos x="connsiteX2310" y="connsiteY2310"/>
                </a:cxn>
                <a:cxn ang="0">
                  <a:pos x="connsiteX2311" y="connsiteY2311"/>
                </a:cxn>
                <a:cxn ang="0">
                  <a:pos x="connsiteX2312" y="connsiteY2312"/>
                </a:cxn>
                <a:cxn ang="0">
                  <a:pos x="connsiteX2313" y="connsiteY2313"/>
                </a:cxn>
                <a:cxn ang="0">
                  <a:pos x="connsiteX2314" y="connsiteY2314"/>
                </a:cxn>
                <a:cxn ang="0">
                  <a:pos x="connsiteX2315" y="connsiteY2315"/>
                </a:cxn>
                <a:cxn ang="0">
                  <a:pos x="connsiteX2316" y="connsiteY2316"/>
                </a:cxn>
                <a:cxn ang="0">
                  <a:pos x="connsiteX2317" y="connsiteY2317"/>
                </a:cxn>
                <a:cxn ang="0">
                  <a:pos x="connsiteX2318" y="connsiteY2318"/>
                </a:cxn>
                <a:cxn ang="0">
                  <a:pos x="connsiteX2319" y="connsiteY2319"/>
                </a:cxn>
                <a:cxn ang="0">
                  <a:pos x="connsiteX2320" y="connsiteY2320"/>
                </a:cxn>
                <a:cxn ang="0">
                  <a:pos x="connsiteX2321" y="connsiteY2321"/>
                </a:cxn>
                <a:cxn ang="0">
                  <a:pos x="connsiteX2322" y="connsiteY2322"/>
                </a:cxn>
                <a:cxn ang="0">
                  <a:pos x="connsiteX2323" y="connsiteY2323"/>
                </a:cxn>
                <a:cxn ang="0">
                  <a:pos x="connsiteX2324" y="connsiteY2324"/>
                </a:cxn>
                <a:cxn ang="0">
                  <a:pos x="connsiteX2325" y="connsiteY2325"/>
                </a:cxn>
                <a:cxn ang="0">
                  <a:pos x="connsiteX2326" y="connsiteY2326"/>
                </a:cxn>
                <a:cxn ang="0">
                  <a:pos x="connsiteX2327" y="connsiteY2327"/>
                </a:cxn>
                <a:cxn ang="0">
                  <a:pos x="connsiteX2328" y="connsiteY2328"/>
                </a:cxn>
                <a:cxn ang="0">
                  <a:pos x="connsiteX2329" y="connsiteY2329"/>
                </a:cxn>
                <a:cxn ang="0">
                  <a:pos x="connsiteX2330" y="connsiteY2330"/>
                </a:cxn>
                <a:cxn ang="0">
                  <a:pos x="connsiteX2331" y="connsiteY2331"/>
                </a:cxn>
                <a:cxn ang="0">
                  <a:pos x="connsiteX2332" y="connsiteY2332"/>
                </a:cxn>
                <a:cxn ang="0">
                  <a:pos x="connsiteX2333" y="connsiteY2333"/>
                </a:cxn>
                <a:cxn ang="0">
                  <a:pos x="connsiteX2334" y="connsiteY2334"/>
                </a:cxn>
                <a:cxn ang="0">
                  <a:pos x="connsiteX2335" y="connsiteY2335"/>
                </a:cxn>
                <a:cxn ang="0">
                  <a:pos x="connsiteX2336" y="connsiteY2336"/>
                </a:cxn>
                <a:cxn ang="0">
                  <a:pos x="connsiteX2337" y="connsiteY2337"/>
                </a:cxn>
                <a:cxn ang="0">
                  <a:pos x="connsiteX2338" y="connsiteY2338"/>
                </a:cxn>
                <a:cxn ang="0">
                  <a:pos x="connsiteX2339" y="connsiteY2339"/>
                </a:cxn>
                <a:cxn ang="0">
                  <a:pos x="connsiteX2340" y="connsiteY2340"/>
                </a:cxn>
                <a:cxn ang="0">
                  <a:pos x="connsiteX2341" y="connsiteY2341"/>
                </a:cxn>
                <a:cxn ang="0">
                  <a:pos x="connsiteX2342" y="connsiteY2342"/>
                </a:cxn>
                <a:cxn ang="0">
                  <a:pos x="connsiteX2343" y="connsiteY2343"/>
                </a:cxn>
                <a:cxn ang="0">
                  <a:pos x="connsiteX2344" y="connsiteY2344"/>
                </a:cxn>
                <a:cxn ang="0">
                  <a:pos x="connsiteX2345" y="connsiteY2345"/>
                </a:cxn>
                <a:cxn ang="0">
                  <a:pos x="connsiteX2346" y="connsiteY2346"/>
                </a:cxn>
                <a:cxn ang="0">
                  <a:pos x="connsiteX2347" y="connsiteY2347"/>
                </a:cxn>
                <a:cxn ang="0">
                  <a:pos x="connsiteX2348" y="connsiteY2348"/>
                </a:cxn>
                <a:cxn ang="0">
                  <a:pos x="connsiteX2349" y="connsiteY2349"/>
                </a:cxn>
                <a:cxn ang="0">
                  <a:pos x="connsiteX2350" y="connsiteY2350"/>
                </a:cxn>
                <a:cxn ang="0">
                  <a:pos x="connsiteX2351" y="connsiteY2351"/>
                </a:cxn>
                <a:cxn ang="0">
                  <a:pos x="connsiteX2352" y="connsiteY2352"/>
                </a:cxn>
                <a:cxn ang="0">
                  <a:pos x="connsiteX2353" y="connsiteY2353"/>
                </a:cxn>
                <a:cxn ang="0">
                  <a:pos x="connsiteX2354" y="connsiteY2354"/>
                </a:cxn>
                <a:cxn ang="0">
                  <a:pos x="connsiteX2355" y="connsiteY2355"/>
                </a:cxn>
                <a:cxn ang="0">
                  <a:pos x="connsiteX2356" y="connsiteY2356"/>
                </a:cxn>
                <a:cxn ang="0">
                  <a:pos x="connsiteX2357" y="connsiteY2357"/>
                </a:cxn>
                <a:cxn ang="0">
                  <a:pos x="connsiteX2358" y="connsiteY2358"/>
                </a:cxn>
                <a:cxn ang="0">
                  <a:pos x="connsiteX2359" y="connsiteY2359"/>
                </a:cxn>
                <a:cxn ang="0">
                  <a:pos x="connsiteX2360" y="connsiteY2360"/>
                </a:cxn>
                <a:cxn ang="0">
                  <a:pos x="connsiteX2361" y="connsiteY2361"/>
                </a:cxn>
                <a:cxn ang="0">
                  <a:pos x="connsiteX2362" y="connsiteY2362"/>
                </a:cxn>
                <a:cxn ang="0">
                  <a:pos x="connsiteX2363" y="connsiteY2363"/>
                </a:cxn>
                <a:cxn ang="0">
                  <a:pos x="connsiteX2364" y="connsiteY2364"/>
                </a:cxn>
                <a:cxn ang="0">
                  <a:pos x="connsiteX2365" y="connsiteY2365"/>
                </a:cxn>
                <a:cxn ang="0">
                  <a:pos x="connsiteX2366" y="connsiteY2366"/>
                </a:cxn>
                <a:cxn ang="0">
                  <a:pos x="connsiteX2367" y="connsiteY2367"/>
                </a:cxn>
                <a:cxn ang="0">
                  <a:pos x="connsiteX2368" y="connsiteY2368"/>
                </a:cxn>
                <a:cxn ang="0">
                  <a:pos x="connsiteX2369" y="connsiteY2369"/>
                </a:cxn>
                <a:cxn ang="0">
                  <a:pos x="connsiteX2370" y="connsiteY2370"/>
                </a:cxn>
                <a:cxn ang="0">
                  <a:pos x="connsiteX2371" y="connsiteY2371"/>
                </a:cxn>
                <a:cxn ang="0">
                  <a:pos x="connsiteX2372" y="connsiteY2372"/>
                </a:cxn>
                <a:cxn ang="0">
                  <a:pos x="connsiteX2373" y="connsiteY2373"/>
                </a:cxn>
                <a:cxn ang="0">
                  <a:pos x="connsiteX2374" y="connsiteY2374"/>
                </a:cxn>
                <a:cxn ang="0">
                  <a:pos x="connsiteX2375" y="connsiteY2375"/>
                </a:cxn>
                <a:cxn ang="0">
                  <a:pos x="connsiteX2376" y="connsiteY2376"/>
                </a:cxn>
                <a:cxn ang="0">
                  <a:pos x="connsiteX2377" y="connsiteY2377"/>
                </a:cxn>
                <a:cxn ang="0">
                  <a:pos x="connsiteX2378" y="connsiteY2378"/>
                </a:cxn>
                <a:cxn ang="0">
                  <a:pos x="connsiteX2379" y="connsiteY2379"/>
                </a:cxn>
                <a:cxn ang="0">
                  <a:pos x="connsiteX2380" y="connsiteY2380"/>
                </a:cxn>
                <a:cxn ang="0">
                  <a:pos x="connsiteX2381" y="connsiteY2381"/>
                </a:cxn>
                <a:cxn ang="0">
                  <a:pos x="connsiteX2382" y="connsiteY2382"/>
                </a:cxn>
                <a:cxn ang="0">
                  <a:pos x="connsiteX2383" y="connsiteY2383"/>
                </a:cxn>
                <a:cxn ang="0">
                  <a:pos x="connsiteX2384" y="connsiteY2384"/>
                </a:cxn>
                <a:cxn ang="0">
                  <a:pos x="connsiteX2385" y="connsiteY2385"/>
                </a:cxn>
                <a:cxn ang="0">
                  <a:pos x="connsiteX2386" y="connsiteY2386"/>
                </a:cxn>
                <a:cxn ang="0">
                  <a:pos x="connsiteX2387" y="connsiteY2387"/>
                </a:cxn>
                <a:cxn ang="0">
                  <a:pos x="connsiteX2388" y="connsiteY2388"/>
                </a:cxn>
                <a:cxn ang="0">
                  <a:pos x="connsiteX2389" y="connsiteY2389"/>
                </a:cxn>
                <a:cxn ang="0">
                  <a:pos x="connsiteX2390" y="connsiteY2390"/>
                </a:cxn>
                <a:cxn ang="0">
                  <a:pos x="connsiteX2391" y="connsiteY2391"/>
                </a:cxn>
                <a:cxn ang="0">
                  <a:pos x="connsiteX2392" y="connsiteY2392"/>
                </a:cxn>
                <a:cxn ang="0">
                  <a:pos x="connsiteX2393" y="connsiteY2393"/>
                </a:cxn>
                <a:cxn ang="0">
                  <a:pos x="connsiteX2394" y="connsiteY2394"/>
                </a:cxn>
                <a:cxn ang="0">
                  <a:pos x="connsiteX2395" y="connsiteY2395"/>
                </a:cxn>
                <a:cxn ang="0">
                  <a:pos x="connsiteX2396" y="connsiteY2396"/>
                </a:cxn>
                <a:cxn ang="0">
                  <a:pos x="connsiteX2397" y="connsiteY2397"/>
                </a:cxn>
                <a:cxn ang="0">
                  <a:pos x="connsiteX2398" y="connsiteY2398"/>
                </a:cxn>
                <a:cxn ang="0">
                  <a:pos x="connsiteX2399" y="connsiteY2399"/>
                </a:cxn>
                <a:cxn ang="0">
                  <a:pos x="connsiteX2400" y="connsiteY2400"/>
                </a:cxn>
                <a:cxn ang="0">
                  <a:pos x="connsiteX2401" y="connsiteY2401"/>
                </a:cxn>
                <a:cxn ang="0">
                  <a:pos x="connsiteX2402" y="connsiteY2402"/>
                </a:cxn>
                <a:cxn ang="0">
                  <a:pos x="connsiteX2403" y="connsiteY2403"/>
                </a:cxn>
                <a:cxn ang="0">
                  <a:pos x="connsiteX2404" y="connsiteY2404"/>
                </a:cxn>
                <a:cxn ang="0">
                  <a:pos x="connsiteX2405" y="connsiteY2405"/>
                </a:cxn>
                <a:cxn ang="0">
                  <a:pos x="connsiteX2406" y="connsiteY2406"/>
                </a:cxn>
                <a:cxn ang="0">
                  <a:pos x="connsiteX2407" y="connsiteY2407"/>
                </a:cxn>
                <a:cxn ang="0">
                  <a:pos x="connsiteX2408" y="connsiteY2408"/>
                </a:cxn>
                <a:cxn ang="0">
                  <a:pos x="connsiteX2409" y="connsiteY2409"/>
                </a:cxn>
                <a:cxn ang="0">
                  <a:pos x="connsiteX2410" y="connsiteY2410"/>
                </a:cxn>
                <a:cxn ang="0">
                  <a:pos x="connsiteX2411" y="connsiteY2411"/>
                </a:cxn>
                <a:cxn ang="0">
                  <a:pos x="connsiteX2412" y="connsiteY2412"/>
                </a:cxn>
                <a:cxn ang="0">
                  <a:pos x="connsiteX2413" y="connsiteY2413"/>
                </a:cxn>
                <a:cxn ang="0">
                  <a:pos x="connsiteX2414" y="connsiteY2414"/>
                </a:cxn>
                <a:cxn ang="0">
                  <a:pos x="connsiteX2415" y="connsiteY2415"/>
                </a:cxn>
                <a:cxn ang="0">
                  <a:pos x="connsiteX2416" y="connsiteY2416"/>
                </a:cxn>
                <a:cxn ang="0">
                  <a:pos x="connsiteX2417" y="connsiteY2417"/>
                </a:cxn>
                <a:cxn ang="0">
                  <a:pos x="connsiteX2418" y="connsiteY2418"/>
                </a:cxn>
                <a:cxn ang="0">
                  <a:pos x="connsiteX2419" y="connsiteY2419"/>
                </a:cxn>
                <a:cxn ang="0">
                  <a:pos x="connsiteX2420" y="connsiteY2420"/>
                </a:cxn>
                <a:cxn ang="0">
                  <a:pos x="connsiteX2421" y="connsiteY2421"/>
                </a:cxn>
                <a:cxn ang="0">
                  <a:pos x="connsiteX2422" y="connsiteY2422"/>
                </a:cxn>
                <a:cxn ang="0">
                  <a:pos x="connsiteX2423" y="connsiteY2423"/>
                </a:cxn>
                <a:cxn ang="0">
                  <a:pos x="connsiteX2424" y="connsiteY2424"/>
                </a:cxn>
                <a:cxn ang="0">
                  <a:pos x="connsiteX2425" y="connsiteY2425"/>
                </a:cxn>
                <a:cxn ang="0">
                  <a:pos x="connsiteX2426" y="connsiteY2426"/>
                </a:cxn>
                <a:cxn ang="0">
                  <a:pos x="connsiteX2427" y="connsiteY2427"/>
                </a:cxn>
                <a:cxn ang="0">
                  <a:pos x="connsiteX2428" y="connsiteY2428"/>
                </a:cxn>
                <a:cxn ang="0">
                  <a:pos x="connsiteX2429" y="connsiteY2429"/>
                </a:cxn>
                <a:cxn ang="0">
                  <a:pos x="connsiteX2430" y="connsiteY2430"/>
                </a:cxn>
                <a:cxn ang="0">
                  <a:pos x="connsiteX2431" y="connsiteY2431"/>
                </a:cxn>
                <a:cxn ang="0">
                  <a:pos x="connsiteX2432" y="connsiteY2432"/>
                </a:cxn>
                <a:cxn ang="0">
                  <a:pos x="connsiteX2433" y="connsiteY2433"/>
                </a:cxn>
                <a:cxn ang="0">
                  <a:pos x="connsiteX2434" y="connsiteY2434"/>
                </a:cxn>
                <a:cxn ang="0">
                  <a:pos x="connsiteX2435" y="connsiteY2435"/>
                </a:cxn>
                <a:cxn ang="0">
                  <a:pos x="connsiteX2436" y="connsiteY2436"/>
                </a:cxn>
                <a:cxn ang="0">
                  <a:pos x="connsiteX2437" y="connsiteY2437"/>
                </a:cxn>
                <a:cxn ang="0">
                  <a:pos x="connsiteX2438" y="connsiteY2438"/>
                </a:cxn>
                <a:cxn ang="0">
                  <a:pos x="connsiteX2439" y="connsiteY2439"/>
                </a:cxn>
                <a:cxn ang="0">
                  <a:pos x="connsiteX2440" y="connsiteY2440"/>
                </a:cxn>
                <a:cxn ang="0">
                  <a:pos x="connsiteX2441" y="connsiteY2441"/>
                </a:cxn>
                <a:cxn ang="0">
                  <a:pos x="connsiteX2442" y="connsiteY2442"/>
                </a:cxn>
                <a:cxn ang="0">
                  <a:pos x="connsiteX2443" y="connsiteY2443"/>
                </a:cxn>
                <a:cxn ang="0">
                  <a:pos x="connsiteX2444" y="connsiteY2444"/>
                </a:cxn>
                <a:cxn ang="0">
                  <a:pos x="connsiteX2445" y="connsiteY2445"/>
                </a:cxn>
                <a:cxn ang="0">
                  <a:pos x="connsiteX2446" y="connsiteY2446"/>
                </a:cxn>
                <a:cxn ang="0">
                  <a:pos x="connsiteX2447" y="connsiteY2447"/>
                </a:cxn>
                <a:cxn ang="0">
                  <a:pos x="connsiteX2448" y="connsiteY2448"/>
                </a:cxn>
                <a:cxn ang="0">
                  <a:pos x="connsiteX2449" y="connsiteY2449"/>
                </a:cxn>
                <a:cxn ang="0">
                  <a:pos x="connsiteX2450" y="connsiteY2450"/>
                </a:cxn>
                <a:cxn ang="0">
                  <a:pos x="connsiteX2451" y="connsiteY2451"/>
                </a:cxn>
                <a:cxn ang="0">
                  <a:pos x="connsiteX2452" y="connsiteY2452"/>
                </a:cxn>
                <a:cxn ang="0">
                  <a:pos x="connsiteX2453" y="connsiteY2453"/>
                </a:cxn>
                <a:cxn ang="0">
                  <a:pos x="connsiteX2454" y="connsiteY2454"/>
                </a:cxn>
                <a:cxn ang="0">
                  <a:pos x="connsiteX2455" y="connsiteY2455"/>
                </a:cxn>
                <a:cxn ang="0">
                  <a:pos x="connsiteX2456" y="connsiteY2456"/>
                </a:cxn>
                <a:cxn ang="0">
                  <a:pos x="connsiteX2457" y="connsiteY2457"/>
                </a:cxn>
                <a:cxn ang="0">
                  <a:pos x="connsiteX2458" y="connsiteY2458"/>
                </a:cxn>
                <a:cxn ang="0">
                  <a:pos x="connsiteX2459" y="connsiteY2459"/>
                </a:cxn>
                <a:cxn ang="0">
                  <a:pos x="connsiteX2460" y="connsiteY2460"/>
                </a:cxn>
                <a:cxn ang="0">
                  <a:pos x="connsiteX2461" y="connsiteY2461"/>
                </a:cxn>
                <a:cxn ang="0">
                  <a:pos x="connsiteX2462" y="connsiteY2462"/>
                </a:cxn>
                <a:cxn ang="0">
                  <a:pos x="connsiteX2463" y="connsiteY2463"/>
                </a:cxn>
                <a:cxn ang="0">
                  <a:pos x="connsiteX2464" y="connsiteY2464"/>
                </a:cxn>
                <a:cxn ang="0">
                  <a:pos x="connsiteX2465" y="connsiteY2465"/>
                </a:cxn>
                <a:cxn ang="0">
                  <a:pos x="connsiteX2466" y="connsiteY2466"/>
                </a:cxn>
                <a:cxn ang="0">
                  <a:pos x="connsiteX2467" y="connsiteY2467"/>
                </a:cxn>
                <a:cxn ang="0">
                  <a:pos x="connsiteX2468" y="connsiteY2468"/>
                </a:cxn>
                <a:cxn ang="0">
                  <a:pos x="connsiteX2469" y="connsiteY2469"/>
                </a:cxn>
                <a:cxn ang="0">
                  <a:pos x="connsiteX2470" y="connsiteY2470"/>
                </a:cxn>
                <a:cxn ang="0">
                  <a:pos x="connsiteX2471" y="connsiteY2471"/>
                </a:cxn>
                <a:cxn ang="0">
                  <a:pos x="connsiteX2472" y="connsiteY2472"/>
                </a:cxn>
                <a:cxn ang="0">
                  <a:pos x="connsiteX2473" y="connsiteY2473"/>
                </a:cxn>
                <a:cxn ang="0">
                  <a:pos x="connsiteX2474" y="connsiteY2474"/>
                </a:cxn>
                <a:cxn ang="0">
                  <a:pos x="connsiteX2475" y="connsiteY2475"/>
                </a:cxn>
                <a:cxn ang="0">
                  <a:pos x="connsiteX2476" y="connsiteY2476"/>
                </a:cxn>
                <a:cxn ang="0">
                  <a:pos x="connsiteX2477" y="connsiteY2477"/>
                </a:cxn>
                <a:cxn ang="0">
                  <a:pos x="connsiteX2478" y="connsiteY2478"/>
                </a:cxn>
                <a:cxn ang="0">
                  <a:pos x="connsiteX2479" y="connsiteY2479"/>
                </a:cxn>
                <a:cxn ang="0">
                  <a:pos x="connsiteX2480" y="connsiteY2480"/>
                </a:cxn>
                <a:cxn ang="0">
                  <a:pos x="connsiteX2481" y="connsiteY2481"/>
                </a:cxn>
                <a:cxn ang="0">
                  <a:pos x="connsiteX2482" y="connsiteY2482"/>
                </a:cxn>
                <a:cxn ang="0">
                  <a:pos x="connsiteX2483" y="connsiteY2483"/>
                </a:cxn>
                <a:cxn ang="0">
                  <a:pos x="connsiteX2484" y="connsiteY2484"/>
                </a:cxn>
                <a:cxn ang="0">
                  <a:pos x="connsiteX2485" y="connsiteY2485"/>
                </a:cxn>
                <a:cxn ang="0">
                  <a:pos x="connsiteX2486" y="connsiteY2486"/>
                </a:cxn>
                <a:cxn ang="0">
                  <a:pos x="connsiteX2487" y="connsiteY2487"/>
                </a:cxn>
                <a:cxn ang="0">
                  <a:pos x="connsiteX2488" y="connsiteY2488"/>
                </a:cxn>
                <a:cxn ang="0">
                  <a:pos x="connsiteX2489" y="connsiteY2489"/>
                </a:cxn>
                <a:cxn ang="0">
                  <a:pos x="connsiteX2490" y="connsiteY2490"/>
                </a:cxn>
                <a:cxn ang="0">
                  <a:pos x="connsiteX2491" y="connsiteY2491"/>
                </a:cxn>
                <a:cxn ang="0">
                  <a:pos x="connsiteX2492" y="connsiteY2492"/>
                </a:cxn>
                <a:cxn ang="0">
                  <a:pos x="connsiteX2493" y="connsiteY2493"/>
                </a:cxn>
                <a:cxn ang="0">
                  <a:pos x="connsiteX2494" y="connsiteY2494"/>
                </a:cxn>
                <a:cxn ang="0">
                  <a:pos x="connsiteX2495" y="connsiteY2495"/>
                </a:cxn>
                <a:cxn ang="0">
                  <a:pos x="connsiteX2496" y="connsiteY2496"/>
                </a:cxn>
                <a:cxn ang="0">
                  <a:pos x="connsiteX2497" y="connsiteY2497"/>
                </a:cxn>
                <a:cxn ang="0">
                  <a:pos x="connsiteX2498" y="connsiteY2498"/>
                </a:cxn>
                <a:cxn ang="0">
                  <a:pos x="connsiteX2499" y="connsiteY2499"/>
                </a:cxn>
                <a:cxn ang="0">
                  <a:pos x="connsiteX2500" y="connsiteY2500"/>
                </a:cxn>
                <a:cxn ang="0">
                  <a:pos x="connsiteX2501" y="connsiteY2501"/>
                </a:cxn>
                <a:cxn ang="0">
                  <a:pos x="connsiteX2502" y="connsiteY2502"/>
                </a:cxn>
                <a:cxn ang="0">
                  <a:pos x="connsiteX2503" y="connsiteY2503"/>
                </a:cxn>
                <a:cxn ang="0">
                  <a:pos x="connsiteX2504" y="connsiteY2504"/>
                </a:cxn>
                <a:cxn ang="0">
                  <a:pos x="connsiteX2505" y="connsiteY2505"/>
                </a:cxn>
                <a:cxn ang="0">
                  <a:pos x="connsiteX2506" y="connsiteY2506"/>
                </a:cxn>
                <a:cxn ang="0">
                  <a:pos x="connsiteX2507" y="connsiteY2507"/>
                </a:cxn>
                <a:cxn ang="0">
                  <a:pos x="connsiteX2508" y="connsiteY2508"/>
                </a:cxn>
                <a:cxn ang="0">
                  <a:pos x="connsiteX2509" y="connsiteY2509"/>
                </a:cxn>
                <a:cxn ang="0">
                  <a:pos x="connsiteX2510" y="connsiteY2510"/>
                </a:cxn>
                <a:cxn ang="0">
                  <a:pos x="connsiteX2511" y="connsiteY2511"/>
                </a:cxn>
                <a:cxn ang="0">
                  <a:pos x="connsiteX2512" y="connsiteY2512"/>
                </a:cxn>
                <a:cxn ang="0">
                  <a:pos x="connsiteX2513" y="connsiteY2513"/>
                </a:cxn>
                <a:cxn ang="0">
                  <a:pos x="connsiteX2514" y="connsiteY2514"/>
                </a:cxn>
                <a:cxn ang="0">
                  <a:pos x="connsiteX2515" y="connsiteY2515"/>
                </a:cxn>
                <a:cxn ang="0">
                  <a:pos x="connsiteX2516" y="connsiteY2516"/>
                </a:cxn>
                <a:cxn ang="0">
                  <a:pos x="connsiteX2517" y="connsiteY2517"/>
                </a:cxn>
                <a:cxn ang="0">
                  <a:pos x="connsiteX2518" y="connsiteY2518"/>
                </a:cxn>
                <a:cxn ang="0">
                  <a:pos x="connsiteX2519" y="connsiteY2519"/>
                </a:cxn>
                <a:cxn ang="0">
                  <a:pos x="connsiteX2520" y="connsiteY2520"/>
                </a:cxn>
                <a:cxn ang="0">
                  <a:pos x="connsiteX2521" y="connsiteY2521"/>
                </a:cxn>
                <a:cxn ang="0">
                  <a:pos x="connsiteX2522" y="connsiteY2522"/>
                </a:cxn>
                <a:cxn ang="0">
                  <a:pos x="connsiteX2523" y="connsiteY2523"/>
                </a:cxn>
                <a:cxn ang="0">
                  <a:pos x="connsiteX2524" y="connsiteY2524"/>
                </a:cxn>
                <a:cxn ang="0">
                  <a:pos x="connsiteX2525" y="connsiteY2525"/>
                </a:cxn>
                <a:cxn ang="0">
                  <a:pos x="connsiteX2526" y="connsiteY2526"/>
                </a:cxn>
                <a:cxn ang="0">
                  <a:pos x="connsiteX2527" y="connsiteY2527"/>
                </a:cxn>
                <a:cxn ang="0">
                  <a:pos x="connsiteX2528" y="connsiteY2528"/>
                </a:cxn>
                <a:cxn ang="0">
                  <a:pos x="connsiteX2529" y="connsiteY2529"/>
                </a:cxn>
                <a:cxn ang="0">
                  <a:pos x="connsiteX2530" y="connsiteY2530"/>
                </a:cxn>
                <a:cxn ang="0">
                  <a:pos x="connsiteX2531" y="connsiteY2531"/>
                </a:cxn>
                <a:cxn ang="0">
                  <a:pos x="connsiteX2532" y="connsiteY2532"/>
                </a:cxn>
                <a:cxn ang="0">
                  <a:pos x="connsiteX2533" y="connsiteY2533"/>
                </a:cxn>
                <a:cxn ang="0">
                  <a:pos x="connsiteX2534" y="connsiteY2534"/>
                </a:cxn>
                <a:cxn ang="0">
                  <a:pos x="connsiteX2535" y="connsiteY2535"/>
                </a:cxn>
                <a:cxn ang="0">
                  <a:pos x="connsiteX2536" y="connsiteY2536"/>
                </a:cxn>
                <a:cxn ang="0">
                  <a:pos x="connsiteX2537" y="connsiteY2537"/>
                </a:cxn>
                <a:cxn ang="0">
                  <a:pos x="connsiteX2538" y="connsiteY2538"/>
                </a:cxn>
                <a:cxn ang="0">
                  <a:pos x="connsiteX2539" y="connsiteY2539"/>
                </a:cxn>
                <a:cxn ang="0">
                  <a:pos x="connsiteX2540" y="connsiteY2540"/>
                </a:cxn>
                <a:cxn ang="0">
                  <a:pos x="connsiteX2541" y="connsiteY2541"/>
                </a:cxn>
                <a:cxn ang="0">
                  <a:pos x="connsiteX2542" y="connsiteY2542"/>
                </a:cxn>
                <a:cxn ang="0">
                  <a:pos x="connsiteX2543" y="connsiteY2543"/>
                </a:cxn>
                <a:cxn ang="0">
                  <a:pos x="connsiteX2544" y="connsiteY2544"/>
                </a:cxn>
                <a:cxn ang="0">
                  <a:pos x="connsiteX2545" y="connsiteY2545"/>
                </a:cxn>
                <a:cxn ang="0">
                  <a:pos x="connsiteX2546" y="connsiteY2546"/>
                </a:cxn>
                <a:cxn ang="0">
                  <a:pos x="connsiteX2547" y="connsiteY2547"/>
                </a:cxn>
                <a:cxn ang="0">
                  <a:pos x="connsiteX2548" y="connsiteY2548"/>
                </a:cxn>
                <a:cxn ang="0">
                  <a:pos x="connsiteX2549" y="connsiteY2549"/>
                </a:cxn>
                <a:cxn ang="0">
                  <a:pos x="connsiteX2550" y="connsiteY2550"/>
                </a:cxn>
                <a:cxn ang="0">
                  <a:pos x="connsiteX2551" y="connsiteY2551"/>
                </a:cxn>
                <a:cxn ang="0">
                  <a:pos x="connsiteX2552" y="connsiteY2552"/>
                </a:cxn>
                <a:cxn ang="0">
                  <a:pos x="connsiteX2553" y="connsiteY2553"/>
                </a:cxn>
                <a:cxn ang="0">
                  <a:pos x="connsiteX2554" y="connsiteY2554"/>
                </a:cxn>
                <a:cxn ang="0">
                  <a:pos x="connsiteX2555" y="connsiteY2555"/>
                </a:cxn>
                <a:cxn ang="0">
                  <a:pos x="connsiteX2556" y="connsiteY2556"/>
                </a:cxn>
                <a:cxn ang="0">
                  <a:pos x="connsiteX2557" y="connsiteY2557"/>
                </a:cxn>
                <a:cxn ang="0">
                  <a:pos x="connsiteX2558" y="connsiteY2558"/>
                </a:cxn>
                <a:cxn ang="0">
                  <a:pos x="connsiteX2559" y="connsiteY2559"/>
                </a:cxn>
                <a:cxn ang="0">
                  <a:pos x="connsiteX2560" y="connsiteY2560"/>
                </a:cxn>
                <a:cxn ang="0">
                  <a:pos x="connsiteX2561" y="connsiteY2561"/>
                </a:cxn>
                <a:cxn ang="0">
                  <a:pos x="connsiteX2562" y="connsiteY2562"/>
                </a:cxn>
                <a:cxn ang="0">
                  <a:pos x="connsiteX2563" y="connsiteY2563"/>
                </a:cxn>
                <a:cxn ang="0">
                  <a:pos x="connsiteX2564" y="connsiteY2564"/>
                </a:cxn>
                <a:cxn ang="0">
                  <a:pos x="connsiteX2565" y="connsiteY2565"/>
                </a:cxn>
                <a:cxn ang="0">
                  <a:pos x="connsiteX2566" y="connsiteY2566"/>
                </a:cxn>
                <a:cxn ang="0">
                  <a:pos x="connsiteX2567" y="connsiteY2567"/>
                </a:cxn>
                <a:cxn ang="0">
                  <a:pos x="connsiteX2568" y="connsiteY2568"/>
                </a:cxn>
                <a:cxn ang="0">
                  <a:pos x="connsiteX2569" y="connsiteY2569"/>
                </a:cxn>
                <a:cxn ang="0">
                  <a:pos x="connsiteX2570" y="connsiteY2570"/>
                </a:cxn>
                <a:cxn ang="0">
                  <a:pos x="connsiteX2571" y="connsiteY2571"/>
                </a:cxn>
                <a:cxn ang="0">
                  <a:pos x="connsiteX2572" y="connsiteY2572"/>
                </a:cxn>
                <a:cxn ang="0">
                  <a:pos x="connsiteX2573" y="connsiteY2573"/>
                </a:cxn>
                <a:cxn ang="0">
                  <a:pos x="connsiteX2574" y="connsiteY2574"/>
                </a:cxn>
                <a:cxn ang="0">
                  <a:pos x="connsiteX2575" y="connsiteY2575"/>
                </a:cxn>
                <a:cxn ang="0">
                  <a:pos x="connsiteX2576" y="connsiteY2576"/>
                </a:cxn>
                <a:cxn ang="0">
                  <a:pos x="connsiteX2577" y="connsiteY2577"/>
                </a:cxn>
                <a:cxn ang="0">
                  <a:pos x="connsiteX2578" y="connsiteY2578"/>
                </a:cxn>
                <a:cxn ang="0">
                  <a:pos x="connsiteX2579" y="connsiteY2579"/>
                </a:cxn>
                <a:cxn ang="0">
                  <a:pos x="connsiteX2580" y="connsiteY2580"/>
                </a:cxn>
                <a:cxn ang="0">
                  <a:pos x="connsiteX2581" y="connsiteY2581"/>
                </a:cxn>
                <a:cxn ang="0">
                  <a:pos x="connsiteX2582" y="connsiteY2582"/>
                </a:cxn>
                <a:cxn ang="0">
                  <a:pos x="connsiteX2583" y="connsiteY2583"/>
                </a:cxn>
                <a:cxn ang="0">
                  <a:pos x="connsiteX2584" y="connsiteY2584"/>
                </a:cxn>
                <a:cxn ang="0">
                  <a:pos x="connsiteX2585" y="connsiteY2585"/>
                </a:cxn>
                <a:cxn ang="0">
                  <a:pos x="connsiteX2586" y="connsiteY2586"/>
                </a:cxn>
                <a:cxn ang="0">
                  <a:pos x="connsiteX2587" y="connsiteY2587"/>
                </a:cxn>
                <a:cxn ang="0">
                  <a:pos x="connsiteX2588" y="connsiteY2588"/>
                </a:cxn>
                <a:cxn ang="0">
                  <a:pos x="connsiteX2589" y="connsiteY2589"/>
                </a:cxn>
                <a:cxn ang="0">
                  <a:pos x="connsiteX2590" y="connsiteY2590"/>
                </a:cxn>
                <a:cxn ang="0">
                  <a:pos x="connsiteX2591" y="connsiteY2591"/>
                </a:cxn>
                <a:cxn ang="0">
                  <a:pos x="connsiteX2592" y="connsiteY2592"/>
                </a:cxn>
                <a:cxn ang="0">
                  <a:pos x="connsiteX2593" y="connsiteY2593"/>
                </a:cxn>
                <a:cxn ang="0">
                  <a:pos x="connsiteX2594" y="connsiteY2594"/>
                </a:cxn>
                <a:cxn ang="0">
                  <a:pos x="connsiteX2595" y="connsiteY2595"/>
                </a:cxn>
                <a:cxn ang="0">
                  <a:pos x="connsiteX2596" y="connsiteY2596"/>
                </a:cxn>
                <a:cxn ang="0">
                  <a:pos x="connsiteX2597" y="connsiteY2597"/>
                </a:cxn>
                <a:cxn ang="0">
                  <a:pos x="connsiteX2598" y="connsiteY2598"/>
                </a:cxn>
                <a:cxn ang="0">
                  <a:pos x="connsiteX2599" y="connsiteY2599"/>
                </a:cxn>
                <a:cxn ang="0">
                  <a:pos x="connsiteX2600" y="connsiteY2600"/>
                </a:cxn>
                <a:cxn ang="0">
                  <a:pos x="connsiteX2601" y="connsiteY2601"/>
                </a:cxn>
                <a:cxn ang="0">
                  <a:pos x="connsiteX2602" y="connsiteY2602"/>
                </a:cxn>
                <a:cxn ang="0">
                  <a:pos x="connsiteX2603" y="connsiteY2603"/>
                </a:cxn>
                <a:cxn ang="0">
                  <a:pos x="connsiteX2604" y="connsiteY2604"/>
                </a:cxn>
                <a:cxn ang="0">
                  <a:pos x="connsiteX2605" y="connsiteY2605"/>
                </a:cxn>
                <a:cxn ang="0">
                  <a:pos x="connsiteX2606" y="connsiteY2606"/>
                </a:cxn>
                <a:cxn ang="0">
                  <a:pos x="connsiteX2607" y="connsiteY2607"/>
                </a:cxn>
                <a:cxn ang="0">
                  <a:pos x="connsiteX2608" y="connsiteY2608"/>
                </a:cxn>
                <a:cxn ang="0">
                  <a:pos x="connsiteX2609" y="connsiteY2609"/>
                </a:cxn>
                <a:cxn ang="0">
                  <a:pos x="connsiteX2610" y="connsiteY2610"/>
                </a:cxn>
                <a:cxn ang="0">
                  <a:pos x="connsiteX2611" y="connsiteY2611"/>
                </a:cxn>
                <a:cxn ang="0">
                  <a:pos x="connsiteX2612" y="connsiteY2612"/>
                </a:cxn>
                <a:cxn ang="0">
                  <a:pos x="connsiteX2613" y="connsiteY2613"/>
                </a:cxn>
                <a:cxn ang="0">
                  <a:pos x="connsiteX2614" y="connsiteY2614"/>
                </a:cxn>
                <a:cxn ang="0">
                  <a:pos x="connsiteX2615" y="connsiteY2615"/>
                </a:cxn>
                <a:cxn ang="0">
                  <a:pos x="connsiteX2616" y="connsiteY2616"/>
                </a:cxn>
                <a:cxn ang="0">
                  <a:pos x="connsiteX2617" y="connsiteY2617"/>
                </a:cxn>
                <a:cxn ang="0">
                  <a:pos x="connsiteX2618" y="connsiteY2618"/>
                </a:cxn>
                <a:cxn ang="0">
                  <a:pos x="connsiteX2619" y="connsiteY2619"/>
                </a:cxn>
                <a:cxn ang="0">
                  <a:pos x="connsiteX2620" y="connsiteY2620"/>
                </a:cxn>
                <a:cxn ang="0">
                  <a:pos x="connsiteX2621" y="connsiteY2621"/>
                </a:cxn>
                <a:cxn ang="0">
                  <a:pos x="connsiteX2622" y="connsiteY2622"/>
                </a:cxn>
                <a:cxn ang="0">
                  <a:pos x="connsiteX2623" y="connsiteY2623"/>
                </a:cxn>
                <a:cxn ang="0">
                  <a:pos x="connsiteX2624" y="connsiteY2624"/>
                </a:cxn>
                <a:cxn ang="0">
                  <a:pos x="connsiteX2625" y="connsiteY2625"/>
                </a:cxn>
                <a:cxn ang="0">
                  <a:pos x="connsiteX2626" y="connsiteY2626"/>
                </a:cxn>
                <a:cxn ang="0">
                  <a:pos x="connsiteX2627" y="connsiteY2627"/>
                </a:cxn>
                <a:cxn ang="0">
                  <a:pos x="connsiteX2628" y="connsiteY2628"/>
                </a:cxn>
                <a:cxn ang="0">
                  <a:pos x="connsiteX2629" y="connsiteY2629"/>
                </a:cxn>
                <a:cxn ang="0">
                  <a:pos x="connsiteX2630" y="connsiteY2630"/>
                </a:cxn>
                <a:cxn ang="0">
                  <a:pos x="connsiteX2631" y="connsiteY2631"/>
                </a:cxn>
                <a:cxn ang="0">
                  <a:pos x="connsiteX2632" y="connsiteY2632"/>
                </a:cxn>
                <a:cxn ang="0">
                  <a:pos x="connsiteX2633" y="connsiteY2633"/>
                </a:cxn>
                <a:cxn ang="0">
                  <a:pos x="connsiteX2634" y="connsiteY2634"/>
                </a:cxn>
                <a:cxn ang="0">
                  <a:pos x="connsiteX2635" y="connsiteY2635"/>
                </a:cxn>
                <a:cxn ang="0">
                  <a:pos x="connsiteX2636" y="connsiteY2636"/>
                </a:cxn>
                <a:cxn ang="0">
                  <a:pos x="connsiteX2637" y="connsiteY2637"/>
                </a:cxn>
                <a:cxn ang="0">
                  <a:pos x="connsiteX2638" y="connsiteY2638"/>
                </a:cxn>
                <a:cxn ang="0">
                  <a:pos x="connsiteX2639" y="connsiteY2639"/>
                </a:cxn>
                <a:cxn ang="0">
                  <a:pos x="connsiteX2640" y="connsiteY2640"/>
                </a:cxn>
                <a:cxn ang="0">
                  <a:pos x="connsiteX2641" y="connsiteY2641"/>
                </a:cxn>
                <a:cxn ang="0">
                  <a:pos x="connsiteX2642" y="connsiteY2642"/>
                </a:cxn>
                <a:cxn ang="0">
                  <a:pos x="connsiteX2643" y="connsiteY2643"/>
                </a:cxn>
                <a:cxn ang="0">
                  <a:pos x="connsiteX2644" y="connsiteY2644"/>
                </a:cxn>
                <a:cxn ang="0">
                  <a:pos x="connsiteX2645" y="connsiteY2645"/>
                </a:cxn>
                <a:cxn ang="0">
                  <a:pos x="connsiteX2646" y="connsiteY2646"/>
                </a:cxn>
                <a:cxn ang="0">
                  <a:pos x="connsiteX2647" y="connsiteY2647"/>
                </a:cxn>
                <a:cxn ang="0">
                  <a:pos x="connsiteX2648" y="connsiteY2648"/>
                </a:cxn>
                <a:cxn ang="0">
                  <a:pos x="connsiteX2649" y="connsiteY2649"/>
                </a:cxn>
                <a:cxn ang="0">
                  <a:pos x="connsiteX2650" y="connsiteY2650"/>
                </a:cxn>
                <a:cxn ang="0">
                  <a:pos x="connsiteX2651" y="connsiteY2651"/>
                </a:cxn>
                <a:cxn ang="0">
                  <a:pos x="connsiteX2652" y="connsiteY2652"/>
                </a:cxn>
                <a:cxn ang="0">
                  <a:pos x="connsiteX2653" y="connsiteY2653"/>
                </a:cxn>
                <a:cxn ang="0">
                  <a:pos x="connsiteX2654" y="connsiteY2654"/>
                </a:cxn>
                <a:cxn ang="0">
                  <a:pos x="connsiteX2655" y="connsiteY2655"/>
                </a:cxn>
                <a:cxn ang="0">
                  <a:pos x="connsiteX2656" y="connsiteY2656"/>
                </a:cxn>
                <a:cxn ang="0">
                  <a:pos x="connsiteX2657" y="connsiteY2657"/>
                </a:cxn>
                <a:cxn ang="0">
                  <a:pos x="connsiteX2658" y="connsiteY2658"/>
                </a:cxn>
                <a:cxn ang="0">
                  <a:pos x="connsiteX2659" y="connsiteY2659"/>
                </a:cxn>
                <a:cxn ang="0">
                  <a:pos x="connsiteX2660" y="connsiteY2660"/>
                </a:cxn>
                <a:cxn ang="0">
                  <a:pos x="connsiteX2661" y="connsiteY2661"/>
                </a:cxn>
                <a:cxn ang="0">
                  <a:pos x="connsiteX2662" y="connsiteY2662"/>
                </a:cxn>
                <a:cxn ang="0">
                  <a:pos x="connsiteX2663" y="connsiteY2663"/>
                </a:cxn>
                <a:cxn ang="0">
                  <a:pos x="connsiteX2664" y="connsiteY2664"/>
                </a:cxn>
                <a:cxn ang="0">
                  <a:pos x="connsiteX2665" y="connsiteY2665"/>
                </a:cxn>
                <a:cxn ang="0">
                  <a:pos x="connsiteX2666" y="connsiteY2666"/>
                </a:cxn>
                <a:cxn ang="0">
                  <a:pos x="connsiteX2667" y="connsiteY2667"/>
                </a:cxn>
                <a:cxn ang="0">
                  <a:pos x="connsiteX2668" y="connsiteY2668"/>
                </a:cxn>
                <a:cxn ang="0">
                  <a:pos x="connsiteX2669" y="connsiteY2669"/>
                </a:cxn>
                <a:cxn ang="0">
                  <a:pos x="connsiteX2670" y="connsiteY2670"/>
                </a:cxn>
                <a:cxn ang="0">
                  <a:pos x="connsiteX2671" y="connsiteY2671"/>
                </a:cxn>
                <a:cxn ang="0">
                  <a:pos x="connsiteX2672" y="connsiteY2672"/>
                </a:cxn>
                <a:cxn ang="0">
                  <a:pos x="connsiteX2673" y="connsiteY2673"/>
                </a:cxn>
                <a:cxn ang="0">
                  <a:pos x="connsiteX2674" y="connsiteY2674"/>
                </a:cxn>
                <a:cxn ang="0">
                  <a:pos x="connsiteX2675" y="connsiteY2675"/>
                </a:cxn>
                <a:cxn ang="0">
                  <a:pos x="connsiteX2676" y="connsiteY2676"/>
                </a:cxn>
                <a:cxn ang="0">
                  <a:pos x="connsiteX2677" y="connsiteY2677"/>
                </a:cxn>
                <a:cxn ang="0">
                  <a:pos x="connsiteX2678" y="connsiteY2678"/>
                </a:cxn>
                <a:cxn ang="0">
                  <a:pos x="connsiteX2679" y="connsiteY2679"/>
                </a:cxn>
                <a:cxn ang="0">
                  <a:pos x="connsiteX2680" y="connsiteY2680"/>
                </a:cxn>
                <a:cxn ang="0">
                  <a:pos x="connsiteX2681" y="connsiteY2681"/>
                </a:cxn>
                <a:cxn ang="0">
                  <a:pos x="connsiteX2682" y="connsiteY2682"/>
                </a:cxn>
                <a:cxn ang="0">
                  <a:pos x="connsiteX2683" y="connsiteY2683"/>
                </a:cxn>
                <a:cxn ang="0">
                  <a:pos x="connsiteX2684" y="connsiteY2684"/>
                </a:cxn>
                <a:cxn ang="0">
                  <a:pos x="connsiteX2685" y="connsiteY2685"/>
                </a:cxn>
                <a:cxn ang="0">
                  <a:pos x="connsiteX2686" y="connsiteY2686"/>
                </a:cxn>
                <a:cxn ang="0">
                  <a:pos x="connsiteX2687" y="connsiteY2687"/>
                </a:cxn>
                <a:cxn ang="0">
                  <a:pos x="connsiteX2688" y="connsiteY2688"/>
                </a:cxn>
                <a:cxn ang="0">
                  <a:pos x="connsiteX2689" y="connsiteY2689"/>
                </a:cxn>
                <a:cxn ang="0">
                  <a:pos x="connsiteX2690" y="connsiteY2690"/>
                </a:cxn>
                <a:cxn ang="0">
                  <a:pos x="connsiteX2691" y="connsiteY2691"/>
                </a:cxn>
                <a:cxn ang="0">
                  <a:pos x="connsiteX2692" y="connsiteY2692"/>
                </a:cxn>
                <a:cxn ang="0">
                  <a:pos x="connsiteX2693" y="connsiteY2693"/>
                </a:cxn>
                <a:cxn ang="0">
                  <a:pos x="connsiteX2694" y="connsiteY2694"/>
                </a:cxn>
                <a:cxn ang="0">
                  <a:pos x="connsiteX2695" y="connsiteY2695"/>
                </a:cxn>
                <a:cxn ang="0">
                  <a:pos x="connsiteX2696" y="connsiteY2696"/>
                </a:cxn>
                <a:cxn ang="0">
                  <a:pos x="connsiteX2697" y="connsiteY2697"/>
                </a:cxn>
                <a:cxn ang="0">
                  <a:pos x="connsiteX2698" y="connsiteY2698"/>
                </a:cxn>
                <a:cxn ang="0">
                  <a:pos x="connsiteX2699" y="connsiteY2699"/>
                </a:cxn>
                <a:cxn ang="0">
                  <a:pos x="connsiteX2700" y="connsiteY2700"/>
                </a:cxn>
                <a:cxn ang="0">
                  <a:pos x="connsiteX2701" y="connsiteY2701"/>
                </a:cxn>
                <a:cxn ang="0">
                  <a:pos x="connsiteX2702" y="connsiteY2702"/>
                </a:cxn>
                <a:cxn ang="0">
                  <a:pos x="connsiteX2703" y="connsiteY2703"/>
                </a:cxn>
                <a:cxn ang="0">
                  <a:pos x="connsiteX2704" y="connsiteY2704"/>
                </a:cxn>
                <a:cxn ang="0">
                  <a:pos x="connsiteX2705" y="connsiteY2705"/>
                </a:cxn>
                <a:cxn ang="0">
                  <a:pos x="connsiteX2706" y="connsiteY2706"/>
                </a:cxn>
                <a:cxn ang="0">
                  <a:pos x="connsiteX2707" y="connsiteY2707"/>
                </a:cxn>
                <a:cxn ang="0">
                  <a:pos x="connsiteX2708" y="connsiteY2708"/>
                </a:cxn>
                <a:cxn ang="0">
                  <a:pos x="connsiteX2709" y="connsiteY2709"/>
                </a:cxn>
                <a:cxn ang="0">
                  <a:pos x="connsiteX2710" y="connsiteY2710"/>
                </a:cxn>
                <a:cxn ang="0">
                  <a:pos x="connsiteX2711" y="connsiteY2711"/>
                </a:cxn>
                <a:cxn ang="0">
                  <a:pos x="connsiteX2712" y="connsiteY2712"/>
                </a:cxn>
                <a:cxn ang="0">
                  <a:pos x="connsiteX2713" y="connsiteY2713"/>
                </a:cxn>
                <a:cxn ang="0">
                  <a:pos x="connsiteX2714" y="connsiteY2714"/>
                </a:cxn>
                <a:cxn ang="0">
                  <a:pos x="connsiteX2715" y="connsiteY2715"/>
                </a:cxn>
                <a:cxn ang="0">
                  <a:pos x="connsiteX2716" y="connsiteY2716"/>
                </a:cxn>
                <a:cxn ang="0">
                  <a:pos x="connsiteX2717" y="connsiteY2717"/>
                </a:cxn>
                <a:cxn ang="0">
                  <a:pos x="connsiteX2718" y="connsiteY2718"/>
                </a:cxn>
                <a:cxn ang="0">
                  <a:pos x="connsiteX2719" y="connsiteY2719"/>
                </a:cxn>
                <a:cxn ang="0">
                  <a:pos x="connsiteX2720" y="connsiteY2720"/>
                </a:cxn>
                <a:cxn ang="0">
                  <a:pos x="connsiteX2721" y="connsiteY2721"/>
                </a:cxn>
                <a:cxn ang="0">
                  <a:pos x="connsiteX2722" y="connsiteY2722"/>
                </a:cxn>
                <a:cxn ang="0">
                  <a:pos x="connsiteX2723" y="connsiteY2723"/>
                </a:cxn>
                <a:cxn ang="0">
                  <a:pos x="connsiteX2724" y="connsiteY2724"/>
                </a:cxn>
                <a:cxn ang="0">
                  <a:pos x="connsiteX2725" y="connsiteY2725"/>
                </a:cxn>
                <a:cxn ang="0">
                  <a:pos x="connsiteX2726" y="connsiteY2726"/>
                </a:cxn>
                <a:cxn ang="0">
                  <a:pos x="connsiteX2727" y="connsiteY2727"/>
                </a:cxn>
                <a:cxn ang="0">
                  <a:pos x="connsiteX2728" y="connsiteY2728"/>
                </a:cxn>
                <a:cxn ang="0">
                  <a:pos x="connsiteX2729" y="connsiteY2729"/>
                </a:cxn>
                <a:cxn ang="0">
                  <a:pos x="connsiteX2730" y="connsiteY2730"/>
                </a:cxn>
                <a:cxn ang="0">
                  <a:pos x="connsiteX2731" y="connsiteY2731"/>
                </a:cxn>
                <a:cxn ang="0">
                  <a:pos x="connsiteX2732" y="connsiteY2732"/>
                </a:cxn>
                <a:cxn ang="0">
                  <a:pos x="connsiteX2733" y="connsiteY2733"/>
                </a:cxn>
                <a:cxn ang="0">
                  <a:pos x="connsiteX2734" y="connsiteY2734"/>
                </a:cxn>
                <a:cxn ang="0">
                  <a:pos x="connsiteX2735" y="connsiteY2735"/>
                </a:cxn>
                <a:cxn ang="0">
                  <a:pos x="connsiteX2736" y="connsiteY2736"/>
                </a:cxn>
                <a:cxn ang="0">
                  <a:pos x="connsiteX2737" y="connsiteY2737"/>
                </a:cxn>
                <a:cxn ang="0">
                  <a:pos x="connsiteX2738" y="connsiteY2738"/>
                </a:cxn>
                <a:cxn ang="0">
                  <a:pos x="connsiteX2739" y="connsiteY2739"/>
                </a:cxn>
                <a:cxn ang="0">
                  <a:pos x="connsiteX2740" y="connsiteY2740"/>
                </a:cxn>
                <a:cxn ang="0">
                  <a:pos x="connsiteX2741" y="connsiteY2741"/>
                </a:cxn>
                <a:cxn ang="0">
                  <a:pos x="connsiteX2742" y="connsiteY2742"/>
                </a:cxn>
                <a:cxn ang="0">
                  <a:pos x="connsiteX2743" y="connsiteY2743"/>
                </a:cxn>
                <a:cxn ang="0">
                  <a:pos x="connsiteX2744" y="connsiteY2744"/>
                </a:cxn>
                <a:cxn ang="0">
                  <a:pos x="connsiteX2745" y="connsiteY2745"/>
                </a:cxn>
                <a:cxn ang="0">
                  <a:pos x="connsiteX2746" y="connsiteY2746"/>
                </a:cxn>
                <a:cxn ang="0">
                  <a:pos x="connsiteX2747" y="connsiteY2747"/>
                </a:cxn>
                <a:cxn ang="0">
                  <a:pos x="connsiteX2748" y="connsiteY2748"/>
                </a:cxn>
                <a:cxn ang="0">
                  <a:pos x="connsiteX2749" y="connsiteY2749"/>
                </a:cxn>
                <a:cxn ang="0">
                  <a:pos x="connsiteX2750" y="connsiteY2750"/>
                </a:cxn>
                <a:cxn ang="0">
                  <a:pos x="connsiteX2751" y="connsiteY2751"/>
                </a:cxn>
                <a:cxn ang="0">
                  <a:pos x="connsiteX2752" y="connsiteY2752"/>
                </a:cxn>
                <a:cxn ang="0">
                  <a:pos x="connsiteX2753" y="connsiteY2753"/>
                </a:cxn>
                <a:cxn ang="0">
                  <a:pos x="connsiteX2754" y="connsiteY2754"/>
                </a:cxn>
                <a:cxn ang="0">
                  <a:pos x="connsiteX2755" y="connsiteY2755"/>
                </a:cxn>
                <a:cxn ang="0">
                  <a:pos x="connsiteX2756" y="connsiteY2756"/>
                </a:cxn>
                <a:cxn ang="0">
                  <a:pos x="connsiteX2757" y="connsiteY2757"/>
                </a:cxn>
                <a:cxn ang="0">
                  <a:pos x="connsiteX2758" y="connsiteY2758"/>
                </a:cxn>
                <a:cxn ang="0">
                  <a:pos x="connsiteX2759" y="connsiteY2759"/>
                </a:cxn>
                <a:cxn ang="0">
                  <a:pos x="connsiteX2760" y="connsiteY2760"/>
                </a:cxn>
                <a:cxn ang="0">
                  <a:pos x="connsiteX2761" y="connsiteY2761"/>
                </a:cxn>
                <a:cxn ang="0">
                  <a:pos x="connsiteX2762" y="connsiteY2762"/>
                </a:cxn>
                <a:cxn ang="0">
                  <a:pos x="connsiteX2763" y="connsiteY2763"/>
                </a:cxn>
                <a:cxn ang="0">
                  <a:pos x="connsiteX2764" y="connsiteY2764"/>
                </a:cxn>
                <a:cxn ang="0">
                  <a:pos x="connsiteX2765" y="connsiteY2765"/>
                </a:cxn>
                <a:cxn ang="0">
                  <a:pos x="connsiteX2766" y="connsiteY2766"/>
                </a:cxn>
                <a:cxn ang="0">
                  <a:pos x="connsiteX2767" y="connsiteY2767"/>
                </a:cxn>
                <a:cxn ang="0">
                  <a:pos x="connsiteX2768" y="connsiteY2768"/>
                </a:cxn>
                <a:cxn ang="0">
                  <a:pos x="connsiteX2769" y="connsiteY2769"/>
                </a:cxn>
                <a:cxn ang="0">
                  <a:pos x="connsiteX2770" y="connsiteY2770"/>
                </a:cxn>
                <a:cxn ang="0">
                  <a:pos x="connsiteX2771" y="connsiteY2771"/>
                </a:cxn>
                <a:cxn ang="0">
                  <a:pos x="connsiteX2772" y="connsiteY2772"/>
                </a:cxn>
                <a:cxn ang="0">
                  <a:pos x="connsiteX2773" y="connsiteY2773"/>
                </a:cxn>
                <a:cxn ang="0">
                  <a:pos x="connsiteX2774" y="connsiteY2774"/>
                </a:cxn>
                <a:cxn ang="0">
                  <a:pos x="connsiteX2775" y="connsiteY2775"/>
                </a:cxn>
                <a:cxn ang="0">
                  <a:pos x="connsiteX2776" y="connsiteY2776"/>
                </a:cxn>
                <a:cxn ang="0">
                  <a:pos x="connsiteX2777" y="connsiteY2777"/>
                </a:cxn>
                <a:cxn ang="0">
                  <a:pos x="connsiteX2778" y="connsiteY2778"/>
                </a:cxn>
                <a:cxn ang="0">
                  <a:pos x="connsiteX2779" y="connsiteY2779"/>
                </a:cxn>
                <a:cxn ang="0">
                  <a:pos x="connsiteX2780" y="connsiteY2780"/>
                </a:cxn>
                <a:cxn ang="0">
                  <a:pos x="connsiteX2781" y="connsiteY2781"/>
                </a:cxn>
                <a:cxn ang="0">
                  <a:pos x="connsiteX2782" y="connsiteY2782"/>
                </a:cxn>
                <a:cxn ang="0">
                  <a:pos x="connsiteX2783" y="connsiteY2783"/>
                </a:cxn>
                <a:cxn ang="0">
                  <a:pos x="connsiteX2784" y="connsiteY2784"/>
                </a:cxn>
                <a:cxn ang="0">
                  <a:pos x="connsiteX2785" y="connsiteY2785"/>
                </a:cxn>
                <a:cxn ang="0">
                  <a:pos x="connsiteX2786" y="connsiteY2786"/>
                </a:cxn>
                <a:cxn ang="0">
                  <a:pos x="connsiteX2787" y="connsiteY2787"/>
                </a:cxn>
                <a:cxn ang="0">
                  <a:pos x="connsiteX2788" y="connsiteY2788"/>
                </a:cxn>
                <a:cxn ang="0">
                  <a:pos x="connsiteX2789" y="connsiteY2789"/>
                </a:cxn>
                <a:cxn ang="0">
                  <a:pos x="connsiteX2790" y="connsiteY2790"/>
                </a:cxn>
                <a:cxn ang="0">
                  <a:pos x="connsiteX2791" y="connsiteY2791"/>
                </a:cxn>
                <a:cxn ang="0">
                  <a:pos x="connsiteX2792" y="connsiteY2792"/>
                </a:cxn>
                <a:cxn ang="0">
                  <a:pos x="connsiteX2793" y="connsiteY2793"/>
                </a:cxn>
                <a:cxn ang="0">
                  <a:pos x="connsiteX2794" y="connsiteY2794"/>
                </a:cxn>
                <a:cxn ang="0">
                  <a:pos x="connsiteX2795" y="connsiteY2795"/>
                </a:cxn>
                <a:cxn ang="0">
                  <a:pos x="connsiteX2796" y="connsiteY2796"/>
                </a:cxn>
                <a:cxn ang="0">
                  <a:pos x="connsiteX2797" y="connsiteY2797"/>
                </a:cxn>
                <a:cxn ang="0">
                  <a:pos x="connsiteX2798" y="connsiteY2798"/>
                </a:cxn>
                <a:cxn ang="0">
                  <a:pos x="connsiteX2799" y="connsiteY2799"/>
                </a:cxn>
                <a:cxn ang="0">
                  <a:pos x="connsiteX2800" y="connsiteY2800"/>
                </a:cxn>
                <a:cxn ang="0">
                  <a:pos x="connsiteX2801" y="connsiteY2801"/>
                </a:cxn>
                <a:cxn ang="0">
                  <a:pos x="connsiteX2802" y="connsiteY2802"/>
                </a:cxn>
                <a:cxn ang="0">
                  <a:pos x="connsiteX2803" y="connsiteY2803"/>
                </a:cxn>
                <a:cxn ang="0">
                  <a:pos x="connsiteX2804" y="connsiteY2804"/>
                </a:cxn>
                <a:cxn ang="0">
                  <a:pos x="connsiteX2805" y="connsiteY2805"/>
                </a:cxn>
                <a:cxn ang="0">
                  <a:pos x="connsiteX2806" y="connsiteY2806"/>
                </a:cxn>
                <a:cxn ang="0">
                  <a:pos x="connsiteX2807" y="connsiteY2807"/>
                </a:cxn>
                <a:cxn ang="0">
                  <a:pos x="connsiteX2808" y="connsiteY2808"/>
                </a:cxn>
                <a:cxn ang="0">
                  <a:pos x="connsiteX2809" y="connsiteY2809"/>
                </a:cxn>
                <a:cxn ang="0">
                  <a:pos x="connsiteX2810" y="connsiteY2810"/>
                </a:cxn>
                <a:cxn ang="0">
                  <a:pos x="connsiteX2811" y="connsiteY2811"/>
                </a:cxn>
                <a:cxn ang="0">
                  <a:pos x="connsiteX2812" y="connsiteY2812"/>
                </a:cxn>
                <a:cxn ang="0">
                  <a:pos x="connsiteX2813" y="connsiteY2813"/>
                </a:cxn>
                <a:cxn ang="0">
                  <a:pos x="connsiteX2814" y="connsiteY2814"/>
                </a:cxn>
                <a:cxn ang="0">
                  <a:pos x="connsiteX2815" y="connsiteY2815"/>
                </a:cxn>
                <a:cxn ang="0">
                  <a:pos x="connsiteX2816" y="connsiteY2816"/>
                </a:cxn>
                <a:cxn ang="0">
                  <a:pos x="connsiteX2817" y="connsiteY2817"/>
                </a:cxn>
                <a:cxn ang="0">
                  <a:pos x="connsiteX2818" y="connsiteY2818"/>
                </a:cxn>
                <a:cxn ang="0">
                  <a:pos x="connsiteX2819" y="connsiteY2819"/>
                </a:cxn>
                <a:cxn ang="0">
                  <a:pos x="connsiteX2820" y="connsiteY2820"/>
                </a:cxn>
                <a:cxn ang="0">
                  <a:pos x="connsiteX2821" y="connsiteY2821"/>
                </a:cxn>
                <a:cxn ang="0">
                  <a:pos x="connsiteX2822" y="connsiteY2822"/>
                </a:cxn>
                <a:cxn ang="0">
                  <a:pos x="connsiteX2823" y="connsiteY2823"/>
                </a:cxn>
                <a:cxn ang="0">
                  <a:pos x="connsiteX2824" y="connsiteY2824"/>
                </a:cxn>
                <a:cxn ang="0">
                  <a:pos x="connsiteX2825" y="connsiteY2825"/>
                </a:cxn>
                <a:cxn ang="0">
                  <a:pos x="connsiteX2826" y="connsiteY2826"/>
                </a:cxn>
                <a:cxn ang="0">
                  <a:pos x="connsiteX2827" y="connsiteY2827"/>
                </a:cxn>
                <a:cxn ang="0">
                  <a:pos x="connsiteX2828" y="connsiteY2828"/>
                </a:cxn>
                <a:cxn ang="0">
                  <a:pos x="connsiteX2829" y="connsiteY2829"/>
                </a:cxn>
                <a:cxn ang="0">
                  <a:pos x="connsiteX2830" y="connsiteY2830"/>
                </a:cxn>
                <a:cxn ang="0">
                  <a:pos x="connsiteX2831" y="connsiteY2831"/>
                </a:cxn>
                <a:cxn ang="0">
                  <a:pos x="connsiteX2832" y="connsiteY2832"/>
                </a:cxn>
                <a:cxn ang="0">
                  <a:pos x="connsiteX2833" y="connsiteY2833"/>
                </a:cxn>
                <a:cxn ang="0">
                  <a:pos x="connsiteX2834" y="connsiteY2834"/>
                </a:cxn>
                <a:cxn ang="0">
                  <a:pos x="connsiteX2835" y="connsiteY2835"/>
                </a:cxn>
                <a:cxn ang="0">
                  <a:pos x="connsiteX2836" y="connsiteY2836"/>
                </a:cxn>
                <a:cxn ang="0">
                  <a:pos x="connsiteX2837" y="connsiteY2837"/>
                </a:cxn>
                <a:cxn ang="0">
                  <a:pos x="connsiteX2838" y="connsiteY2838"/>
                </a:cxn>
                <a:cxn ang="0">
                  <a:pos x="connsiteX2839" y="connsiteY2839"/>
                </a:cxn>
                <a:cxn ang="0">
                  <a:pos x="connsiteX2840" y="connsiteY2840"/>
                </a:cxn>
                <a:cxn ang="0">
                  <a:pos x="connsiteX2841" y="connsiteY2841"/>
                </a:cxn>
                <a:cxn ang="0">
                  <a:pos x="connsiteX2842" y="connsiteY2842"/>
                </a:cxn>
                <a:cxn ang="0">
                  <a:pos x="connsiteX2843" y="connsiteY2843"/>
                </a:cxn>
                <a:cxn ang="0">
                  <a:pos x="connsiteX2844" y="connsiteY2844"/>
                </a:cxn>
                <a:cxn ang="0">
                  <a:pos x="connsiteX2845" y="connsiteY2845"/>
                </a:cxn>
                <a:cxn ang="0">
                  <a:pos x="connsiteX2846" y="connsiteY2846"/>
                </a:cxn>
                <a:cxn ang="0">
                  <a:pos x="connsiteX2847" y="connsiteY2847"/>
                </a:cxn>
                <a:cxn ang="0">
                  <a:pos x="connsiteX2848" y="connsiteY2848"/>
                </a:cxn>
                <a:cxn ang="0">
                  <a:pos x="connsiteX2849" y="connsiteY2849"/>
                </a:cxn>
                <a:cxn ang="0">
                  <a:pos x="connsiteX2850" y="connsiteY2850"/>
                </a:cxn>
                <a:cxn ang="0">
                  <a:pos x="connsiteX2851" y="connsiteY2851"/>
                </a:cxn>
                <a:cxn ang="0">
                  <a:pos x="connsiteX2852" y="connsiteY2852"/>
                </a:cxn>
                <a:cxn ang="0">
                  <a:pos x="connsiteX2853" y="connsiteY2853"/>
                </a:cxn>
                <a:cxn ang="0">
                  <a:pos x="connsiteX2854" y="connsiteY2854"/>
                </a:cxn>
                <a:cxn ang="0">
                  <a:pos x="connsiteX2855" y="connsiteY2855"/>
                </a:cxn>
                <a:cxn ang="0">
                  <a:pos x="connsiteX2856" y="connsiteY2856"/>
                </a:cxn>
                <a:cxn ang="0">
                  <a:pos x="connsiteX2857" y="connsiteY2857"/>
                </a:cxn>
                <a:cxn ang="0">
                  <a:pos x="connsiteX2858" y="connsiteY2858"/>
                </a:cxn>
                <a:cxn ang="0">
                  <a:pos x="connsiteX2859" y="connsiteY2859"/>
                </a:cxn>
                <a:cxn ang="0">
                  <a:pos x="connsiteX2860" y="connsiteY2860"/>
                </a:cxn>
                <a:cxn ang="0">
                  <a:pos x="connsiteX2861" y="connsiteY2861"/>
                </a:cxn>
                <a:cxn ang="0">
                  <a:pos x="connsiteX2862" y="connsiteY2862"/>
                </a:cxn>
                <a:cxn ang="0">
                  <a:pos x="connsiteX2863" y="connsiteY2863"/>
                </a:cxn>
                <a:cxn ang="0">
                  <a:pos x="connsiteX2864" y="connsiteY2864"/>
                </a:cxn>
                <a:cxn ang="0">
                  <a:pos x="connsiteX2865" y="connsiteY2865"/>
                </a:cxn>
                <a:cxn ang="0">
                  <a:pos x="connsiteX2866" y="connsiteY2866"/>
                </a:cxn>
                <a:cxn ang="0">
                  <a:pos x="connsiteX2867" y="connsiteY2867"/>
                </a:cxn>
                <a:cxn ang="0">
                  <a:pos x="connsiteX2868" y="connsiteY2868"/>
                </a:cxn>
                <a:cxn ang="0">
                  <a:pos x="connsiteX2869" y="connsiteY2869"/>
                </a:cxn>
                <a:cxn ang="0">
                  <a:pos x="connsiteX2870" y="connsiteY2870"/>
                </a:cxn>
                <a:cxn ang="0">
                  <a:pos x="connsiteX2871" y="connsiteY2871"/>
                </a:cxn>
                <a:cxn ang="0">
                  <a:pos x="connsiteX2872" y="connsiteY2872"/>
                </a:cxn>
                <a:cxn ang="0">
                  <a:pos x="connsiteX2873" y="connsiteY2873"/>
                </a:cxn>
                <a:cxn ang="0">
                  <a:pos x="connsiteX2874" y="connsiteY2874"/>
                </a:cxn>
                <a:cxn ang="0">
                  <a:pos x="connsiteX2875" y="connsiteY2875"/>
                </a:cxn>
                <a:cxn ang="0">
                  <a:pos x="connsiteX2876" y="connsiteY2876"/>
                </a:cxn>
                <a:cxn ang="0">
                  <a:pos x="connsiteX2877" y="connsiteY2877"/>
                </a:cxn>
                <a:cxn ang="0">
                  <a:pos x="connsiteX2878" y="connsiteY2878"/>
                </a:cxn>
                <a:cxn ang="0">
                  <a:pos x="connsiteX2879" y="connsiteY2879"/>
                </a:cxn>
                <a:cxn ang="0">
                  <a:pos x="connsiteX2880" y="connsiteY2880"/>
                </a:cxn>
                <a:cxn ang="0">
                  <a:pos x="connsiteX2881" y="connsiteY2881"/>
                </a:cxn>
                <a:cxn ang="0">
                  <a:pos x="connsiteX2882" y="connsiteY2882"/>
                </a:cxn>
                <a:cxn ang="0">
                  <a:pos x="connsiteX2883" y="connsiteY2883"/>
                </a:cxn>
                <a:cxn ang="0">
                  <a:pos x="connsiteX2884" y="connsiteY2884"/>
                </a:cxn>
                <a:cxn ang="0">
                  <a:pos x="connsiteX2885" y="connsiteY2885"/>
                </a:cxn>
                <a:cxn ang="0">
                  <a:pos x="connsiteX2886" y="connsiteY2886"/>
                </a:cxn>
                <a:cxn ang="0">
                  <a:pos x="connsiteX2887" y="connsiteY2887"/>
                </a:cxn>
                <a:cxn ang="0">
                  <a:pos x="connsiteX2888" y="connsiteY2888"/>
                </a:cxn>
                <a:cxn ang="0">
                  <a:pos x="connsiteX2889" y="connsiteY2889"/>
                </a:cxn>
                <a:cxn ang="0">
                  <a:pos x="connsiteX2890" y="connsiteY2890"/>
                </a:cxn>
                <a:cxn ang="0">
                  <a:pos x="connsiteX2891" y="connsiteY2891"/>
                </a:cxn>
                <a:cxn ang="0">
                  <a:pos x="connsiteX2892" y="connsiteY2892"/>
                </a:cxn>
                <a:cxn ang="0">
                  <a:pos x="connsiteX2893" y="connsiteY2893"/>
                </a:cxn>
                <a:cxn ang="0">
                  <a:pos x="connsiteX2894" y="connsiteY2894"/>
                </a:cxn>
                <a:cxn ang="0">
                  <a:pos x="connsiteX2895" y="connsiteY2895"/>
                </a:cxn>
                <a:cxn ang="0">
                  <a:pos x="connsiteX2896" y="connsiteY2896"/>
                </a:cxn>
                <a:cxn ang="0">
                  <a:pos x="connsiteX2897" y="connsiteY2897"/>
                </a:cxn>
                <a:cxn ang="0">
                  <a:pos x="connsiteX2898" y="connsiteY2898"/>
                </a:cxn>
                <a:cxn ang="0">
                  <a:pos x="connsiteX2899" y="connsiteY2899"/>
                </a:cxn>
                <a:cxn ang="0">
                  <a:pos x="connsiteX2900" y="connsiteY2900"/>
                </a:cxn>
                <a:cxn ang="0">
                  <a:pos x="connsiteX2901" y="connsiteY2901"/>
                </a:cxn>
                <a:cxn ang="0">
                  <a:pos x="connsiteX2902" y="connsiteY2902"/>
                </a:cxn>
                <a:cxn ang="0">
                  <a:pos x="connsiteX2903" y="connsiteY2903"/>
                </a:cxn>
                <a:cxn ang="0">
                  <a:pos x="connsiteX2904" y="connsiteY2904"/>
                </a:cxn>
                <a:cxn ang="0">
                  <a:pos x="connsiteX2905" y="connsiteY2905"/>
                </a:cxn>
                <a:cxn ang="0">
                  <a:pos x="connsiteX2906" y="connsiteY2906"/>
                </a:cxn>
                <a:cxn ang="0">
                  <a:pos x="connsiteX2907" y="connsiteY2907"/>
                </a:cxn>
                <a:cxn ang="0">
                  <a:pos x="connsiteX2908" y="connsiteY2908"/>
                </a:cxn>
                <a:cxn ang="0">
                  <a:pos x="connsiteX2909" y="connsiteY2909"/>
                </a:cxn>
                <a:cxn ang="0">
                  <a:pos x="connsiteX2910" y="connsiteY2910"/>
                </a:cxn>
                <a:cxn ang="0">
                  <a:pos x="connsiteX2911" y="connsiteY2911"/>
                </a:cxn>
                <a:cxn ang="0">
                  <a:pos x="connsiteX2912" y="connsiteY2912"/>
                </a:cxn>
                <a:cxn ang="0">
                  <a:pos x="connsiteX2913" y="connsiteY2913"/>
                </a:cxn>
                <a:cxn ang="0">
                  <a:pos x="connsiteX2914" y="connsiteY2914"/>
                </a:cxn>
                <a:cxn ang="0">
                  <a:pos x="connsiteX2915" y="connsiteY2915"/>
                </a:cxn>
                <a:cxn ang="0">
                  <a:pos x="connsiteX2916" y="connsiteY2916"/>
                </a:cxn>
                <a:cxn ang="0">
                  <a:pos x="connsiteX2917" y="connsiteY2917"/>
                </a:cxn>
                <a:cxn ang="0">
                  <a:pos x="connsiteX2918" y="connsiteY2918"/>
                </a:cxn>
                <a:cxn ang="0">
                  <a:pos x="connsiteX2919" y="connsiteY2919"/>
                </a:cxn>
                <a:cxn ang="0">
                  <a:pos x="connsiteX2920" y="connsiteY2920"/>
                </a:cxn>
                <a:cxn ang="0">
                  <a:pos x="connsiteX2921" y="connsiteY2921"/>
                </a:cxn>
                <a:cxn ang="0">
                  <a:pos x="connsiteX2922" y="connsiteY2922"/>
                </a:cxn>
                <a:cxn ang="0">
                  <a:pos x="connsiteX2923" y="connsiteY2923"/>
                </a:cxn>
                <a:cxn ang="0">
                  <a:pos x="connsiteX2924" y="connsiteY2924"/>
                </a:cxn>
                <a:cxn ang="0">
                  <a:pos x="connsiteX2925" y="connsiteY2925"/>
                </a:cxn>
                <a:cxn ang="0">
                  <a:pos x="connsiteX2926" y="connsiteY2926"/>
                </a:cxn>
                <a:cxn ang="0">
                  <a:pos x="connsiteX2927" y="connsiteY2927"/>
                </a:cxn>
                <a:cxn ang="0">
                  <a:pos x="connsiteX2928" y="connsiteY2928"/>
                </a:cxn>
                <a:cxn ang="0">
                  <a:pos x="connsiteX2929" y="connsiteY2929"/>
                </a:cxn>
                <a:cxn ang="0">
                  <a:pos x="connsiteX2930" y="connsiteY2930"/>
                </a:cxn>
                <a:cxn ang="0">
                  <a:pos x="connsiteX2931" y="connsiteY2931"/>
                </a:cxn>
                <a:cxn ang="0">
                  <a:pos x="connsiteX2932" y="connsiteY2932"/>
                </a:cxn>
                <a:cxn ang="0">
                  <a:pos x="connsiteX2933" y="connsiteY2933"/>
                </a:cxn>
                <a:cxn ang="0">
                  <a:pos x="connsiteX2934" y="connsiteY2934"/>
                </a:cxn>
                <a:cxn ang="0">
                  <a:pos x="connsiteX2935" y="connsiteY2935"/>
                </a:cxn>
                <a:cxn ang="0">
                  <a:pos x="connsiteX2936" y="connsiteY2936"/>
                </a:cxn>
                <a:cxn ang="0">
                  <a:pos x="connsiteX2937" y="connsiteY2937"/>
                </a:cxn>
                <a:cxn ang="0">
                  <a:pos x="connsiteX2938" y="connsiteY2938"/>
                </a:cxn>
                <a:cxn ang="0">
                  <a:pos x="connsiteX2939" y="connsiteY2939"/>
                </a:cxn>
                <a:cxn ang="0">
                  <a:pos x="connsiteX2940" y="connsiteY2940"/>
                </a:cxn>
                <a:cxn ang="0">
                  <a:pos x="connsiteX2941" y="connsiteY2941"/>
                </a:cxn>
                <a:cxn ang="0">
                  <a:pos x="connsiteX2942" y="connsiteY2942"/>
                </a:cxn>
                <a:cxn ang="0">
                  <a:pos x="connsiteX2943" y="connsiteY2943"/>
                </a:cxn>
                <a:cxn ang="0">
                  <a:pos x="connsiteX2944" y="connsiteY2944"/>
                </a:cxn>
                <a:cxn ang="0">
                  <a:pos x="connsiteX2945" y="connsiteY2945"/>
                </a:cxn>
                <a:cxn ang="0">
                  <a:pos x="connsiteX2946" y="connsiteY2946"/>
                </a:cxn>
                <a:cxn ang="0">
                  <a:pos x="connsiteX2947" y="connsiteY2947"/>
                </a:cxn>
                <a:cxn ang="0">
                  <a:pos x="connsiteX2948" y="connsiteY2948"/>
                </a:cxn>
                <a:cxn ang="0">
                  <a:pos x="connsiteX2949" y="connsiteY2949"/>
                </a:cxn>
                <a:cxn ang="0">
                  <a:pos x="connsiteX2950" y="connsiteY2950"/>
                </a:cxn>
                <a:cxn ang="0">
                  <a:pos x="connsiteX2951" y="connsiteY2951"/>
                </a:cxn>
                <a:cxn ang="0">
                  <a:pos x="connsiteX2952" y="connsiteY2952"/>
                </a:cxn>
                <a:cxn ang="0">
                  <a:pos x="connsiteX2953" y="connsiteY2953"/>
                </a:cxn>
                <a:cxn ang="0">
                  <a:pos x="connsiteX2954" y="connsiteY2954"/>
                </a:cxn>
                <a:cxn ang="0">
                  <a:pos x="connsiteX2955" y="connsiteY2955"/>
                </a:cxn>
                <a:cxn ang="0">
                  <a:pos x="connsiteX2956" y="connsiteY2956"/>
                </a:cxn>
                <a:cxn ang="0">
                  <a:pos x="connsiteX2957" y="connsiteY2957"/>
                </a:cxn>
                <a:cxn ang="0">
                  <a:pos x="connsiteX2958" y="connsiteY2958"/>
                </a:cxn>
                <a:cxn ang="0">
                  <a:pos x="connsiteX2959" y="connsiteY2959"/>
                </a:cxn>
                <a:cxn ang="0">
                  <a:pos x="connsiteX2960" y="connsiteY2960"/>
                </a:cxn>
                <a:cxn ang="0">
                  <a:pos x="connsiteX2961" y="connsiteY2961"/>
                </a:cxn>
                <a:cxn ang="0">
                  <a:pos x="connsiteX2962" y="connsiteY2962"/>
                </a:cxn>
                <a:cxn ang="0">
                  <a:pos x="connsiteX2963" y="connsiteY2963"/>
                </a:cxn>
                <a:cxn ang="0">
                  <a:pos x="connsiteX2964" y="connsiteY2964"/>
                </a:cxn>
                <a:cxn ang="0">
                  <a:pos x="connsiteX2965" y="connsiteY2965"/>
                </a:cxn>
                <a:cxn ang="0">
                  <a:pos x="connsiteX2966" y="connsiteY2966"/>
                </a:cxn>
                <a:cxn ang="0">
                  <a:pos x="connsiteX2967" y="connsiteY2967"/>
                </a:cxn>
                <a:cxn ang="0">
                  <a:pos x="connsiteX2968" y="connsiteY2968"/>
                </a:cxn>
                <a:cxn ang="0">
                  <a:pos x="connsiteX2969" y="connsiteY2969"/>
                </a:cxn>
                <a:cxn ang="0">
                  <a:pos x="connsiteX2970" y="connsiteY2970"/>
                </a:cxn>
                <a:cxn ang="0">
                  <a:pos x="connsiteX2971" y="connsiteY2971"/>
                </a:cxn>
                <a:cxn ang="0">
                  <a:pos x="connsiteX2972" y="connsiteY2972"/>
                </a:cxn>
                <a:cxn ang="0">
                  <a:pos x="connsiteX2973" y="connsiteY2973"/>
                </a:cxn>
                <a:cxn ang="0">
                  <a:pos x="connsiteX2974" y="connsiteY2974"/>
                </a:cxn>
                <a:cxn ang="0">
                  <a:pos x="connsiteX2975" y="connsiteY2975"/>
                </a:cxn>
                <a:cxn ang="0">
                  <a:pos x="connsiteX2976" y="connsiteY2976"/>
                </a:cxn>
                <a:cxn ang="0">
                  <a:pos x="connsiteX2977" y="connsiteY2977"/>
                </a:cxn>
                <a:cxn ang="0">
                  <a:pos x="connsiteX2978" y="connsiteY2978"/>
                </a:cxn>
                <a:cxn ang="0">
                  <a:pos x="connsiteX2979" y="connsiteY2979"/>
                </a:cxn>
                <a:cxn ang="0">
                  <a:pos x="connsiteX2980" y="connsiteY2980"/>
                </a:cxn>
                <a:cxn ang="0">
                  <a:pos x="connsiteX2981" y="connsiteY2981"/>
                </a:cxn>
                <a:cxn ang="0">
                  <a:pos x="connsiteX2982" y="connsiteY2982"/>
                </a:cxn>
                <a:cxn ang="0">
                  <a:pos x="connsiteX2983" y="connsiteY2983"/>
                </a:cxn>
                <a:cxn ang="0">
                  <a:pos x="connsiteX2984" y="connsiteY2984"/>
                </a:cxn>
                <a:cxn ang="0">
                  <a:pos x="connsiteX2985" y="connsiteY2985"/>
                </a:cxn>
                <a:cxn ang="0">
                  <a:pos x="connsiteX2986" y="connsiteY2986"/>
                </a:cxn>
                <a:cxn ang="0">
                  <a:pos x="connsiteX2987" y="connsiteY2987"/>
                </a:cxn>
                <a:cxn ang="0">
                  <a:pos x="connsiteX2988" y="connsiteY2988"/>
                </a:cxn>
                <a:cxn ang="0">
                  <a:pos x="connsiteX2989" y="connsiteY2989"/>
                </a:cxn>
                <a:cxn ang="0">
                  <a:pos x="connsiteX2990" y="connsiteY2990"/>
                </a:cxn>
                <a:cxn ang="0">
                  <a:pos x="connsiteX2991" y="connsiteY2991"/>
                </a:cxn>
                <a:cxn ang="0">
                  <a:pos x="connsiteX2992" y="connsiteY2992"/>
                </a:cxn>
                <a:cxn ang="0">
                  <a:pos x="connsiteX2993" y="connsiteY2993"/>
                </a:cxn>
                <a:cxn ang="0">
                  <a:pos x="connsiteX2994" y="connsiteY2994"/>
                </a:cxn>
                <a:cxn ang="0">
                  <a:pos x="connsiteX2995" y="connsiteY2995"/>
                </a:cxn>
                <a:cxn ang="0">
                  <a:pos x="connsiteX2996" y="connsiteY2996"/>
                </a:cxn>
                <a:cxn ang="0">
                  <a:pos x="connsiteX2997" y="connsiteY2997"/>
                </a:cxn>
                <a:cxn ang="0">
                  <a:pos x="connsiteX2998" y="connsiteY2998"/>
                </a:cxn>
                <a:cxn ang="0">
                  <a:pos x="connsiteX2999" y="connsiteY2999"/>
                </a:cxn>
                <a:cxn ang="0">
                  <a:pos x="connsiteX3000" y="connsiteY3000"/>
                </a:cxn>
                <a:cxn ang="0">
                  <a:pos x="connsiteX3001" y="connsiteY3001"/>
                </a:cxn>
                <a:cxn ang="0">
                  <a:pos x="connsiteX3002" y="connsiteY3002"/>
                </a:cxn>
                <a:cxn ang="0">
                  <a:pos x="connsiteX3003" y="connsiteY3003"/>
                </a:cxn>
                <a:cxn ang="0">
                  <a:pos x="connsiteX3004" y="connsiteY3004"/>
                </a:cxn>
                <a:cxn ang="0">
                  <a:pos x="connsiteX3005" y="connsiteY3005"/>
                </a:cxn>
                <a:cxn ang="0">
                  <a:pos x="connsiteX3006" y="connsiteY3006"/>
                </a:cxn>
                <a:cxn ang="0">
                  <a:pos x="connsiteX3007" y="connsiteY3007"/>
                </a:cxn>
                <a:cxn ang="0">
                  <a:pos x="connsiteX3008" y="connsiteY3008"/>
                </a:cxn>
                <a:cxn ang="0">
                  <a:pos x="connsiteX3009" y="connsiteY3009"/>
                </a:cxn>
                <a:cxn ang="0">
                  <a:pos x="connsiteX3010" y="connsiteY3010"/>
                </a:cxn>
                <a:cxn ang="0">
                  <a:pos x="connsiteX3011" y="connsiteY3011"/>
                </a:cxn>
                <a:cxn ang="0">
                  <a:pos x="connsiteX3012" y="connsiteY3012"/>
                </a:cxn>
                <a:cxn ang="0">
                  <a:pos x="connsiteX3013" y="connsiteY3013"/>
                </a:cxn>
                <a:cxn ang="0">
                  <a:pos x="connsiteX3014" y="connsiteY3014"/>
                </a:cxn>
                <a:cxn ang="0">
                  <a:pos x="connsiteX3015" y="connsiteY3015"/>
                </a:cxn>
                <a:cxn ang="0">
                  <a:pos x="connsiteX3016" y="connsiteY3016"/>
                </a:cxn>
                <a:cxn ang="0">
                  <a:pos x="connsiteX3017" y="connsiteY3017"/>
                </a:cxn>
                <a:cxn ang="0">
                  <a:pos x="connsiteX3018" y="connsiteY3018"/>
                </a:cxn>
                <a:cxn ang="0">
                  <a:pos x="connsiteX3019" y="connsiteY3019"/>
                </a:cxn>
                <a:cxn ang="0">
                  <a:pos x="connsiteX3020" y="connsiteY3020"/>
                </a:cxn>
                <a:cxn ang="0">
                  <a:pos x="connsiteX3021" y="connsiteY3021"/>
                </a:cxn>
                <a:cxn ang="0">
                  <a:pos x="connsiteX3022" y="connsiteY3022"/>
                </a:cxn>
                <a:cxn ang="0">
                  <a:pos x="connsiteX3023" y="connsiteY3023"/>
                </a:cxn>
                <a:cxn ang="0">
                  <a:pos x="connsiteX3024" y="connsiteY3024"/>
                </a:cxn>
                <a:cxn ang="0">
                  <a:pos x="connsiteX3025" y="connsiteY3025"/>
                </a:cxn>
                <a:cxn ang="0">
                  <a:pos x="connsiteX3026" y="connsiteY3026"/>
                </a:cxn>
                <a:cxn ang="0">
                  <a:pos x="connsiteX3027" y="connsiteY3027"/>
                </a:cxn>
                <a:cxn ang="0">
                  <a:pos x="connsiteX3028" y="connsiteY3028"/>
                </a:cxn>
                <a:cxn ang="0">
                  <a:pos x="connsiteX3029" y="connsiteY3029"/>
                </a:cxn>
                <a:cxn ang="0">
                  <a:pos x="connsiteX3030" y="connsiteY3030"/>
                </a:cxn>
                <a:cxn ang="0">
                  <a:pos x="connsiteX3031" y="connsiteY3031"/>
                </a:cxn>
                <a:cxn ang="0">
                  <a:pos x="connsiteX3032" y="connsiteY3032"/>
                </a:cxn>
                <a:cxn ang="0">
                  <a:pos x="connsiteX3033" y="connsiteY3033"/>
                </a:cxn>
                <a:cxn ang="0">
                  <a:pos x="connsiteX3034" y="connsiteY3034"/>
                </a:cxn>
                <a:cxn ang="0">
                  <a:pos x="connsiteX3035" y="connsiteY3035"/>
                </a:cxn>
                <a:cxn ang="0">
                  <a:pos x="connsiteX3036" y="connsiteY3036"/>
                </a:cxn>
                <a:cxn ang="0">
                  <a:pos x="connsiteX3037" y="connsiteY3037"/>
                </a:cxn>
                <a:cxn ang="0">
                  <a:pos x="connsiteX3038" y="connsiteY3038"/>
                </a:cxn>
                <a:cxn ang="0">
                  <a:pos x="connsiteX3039" y="connsiteY3039"/>
                </a:cxn>
                <a:cxn ang="0">
                  <a:pos x="connsiteX3040" y="connsiteY3040"/>
                </a:cxn>
                <a:cxn ang="0">
                  <a:pos x="connsiteX3041" y="connsiteY3041"/>
                </a:cxn>
                <a:cxn ang="0">
                  <a:pos x="connsiteX3042" y="connsiteY3042"/>
                </a:cxn>
                <a:cxn ang="0">
                  <a:pos x="connsiteX3043" y="connsiteY3043"/>
                </a:cxn>
                <a:cxn ang="0">
                  <a:pos x="connsiteX3044" y="connsiteY3044"/>
                </a:cxn>
                <a:cxn ang="0">
                  <a:pos x="connsiteX3045" y="connsiteY3045"/>
                </a:cxn>
                <a:cxn ang="0">
                  <a:pos x="connsiteX3046" y="connsiteY3046"/>
                </a:cxn>
                <a:cxn ang="0">
                  <a:pos x="connsiteX3047" y="connsiteY3047"/>
                </a:cxn>
                <a:cxn ang="0">
                  <a:pos x="connsiteX3048" y="connsiteY3048"/>
                </a:cxn>
                <a:cxn ang="0">
                  <a:pos x="connsiteX3049" y="connsiteY3049"/>
                </a:cxn>
                <a:cxn ang="0">
                  <a:pos x="connsiteX3050" y="connsiteY3050"/>
                </a:cxn>
                <a:cxn ang="0">
                  <a:pos x="connsiteX3051" y="connsiteY3051"/>
                </a:cxn>
                <a:cxn ang="0">
                  <a:pos x="connsiteX3052" y="connsiteY3052"/>
                </a:cxn>
                <a:cxn ang="0">
                  <a:pos x="connsiteX3053" y="connsiteY3053"/>
                </a:cxn>
                <a:cxn ang="0">
                  <a:pos x="connsiteX3054" y="connsiteY3054"/>
                </a:cxn>
                <a:cxn ang="0">
                  <a:pos x="connsiteX3055" y="connsiteY3055"/>
                </a:cxn>
                <a:cxn ang="0">
                  <a:pos x="connsiteX3056" y="connsiteY3056"/>
                </a:cxn>
                <a:cxn ang="0">
                  <a:pos x="connsiteX3057" y="connsiteY3057"/>
                </a:cxn>
                <a:cxn ang="0">
                  <a:pos x="connsiteX3058" y="connsiteY3058"/>
                </a:cxn>
                <a:cxn ang="0">
                  <a:pos x="connsiteX3059" y="connsiteY3059"/>
                </a:cxn>
                <a:cxn ang="0">
                  <a:pos x="connsiteX3060" y="connsiteY3060"/>
                </a:cxn>
                <a:cxn ang="0">
                  <a:pos x="connsiteX3061" y="connsiteY3061"/>
                </a:cxn>
                <a:cxn ang="0">
                  <a:pos x="connsiteX3062" y="connsiteY3062"/>
                </a:cxn>
                <a:cxn ang="0">
                  <a:pos x="connsiteX3063" y="connsiteY3063"/>
                </a:cxn>
                <a:cxn ang="0">
                  <a:pos x="connsiteX3064" y="connsiteY3064"/>
                </a:cxn>
                <a:cxn ang="0">
                  <a:pos x="connsiteX3065" y="connsiteY3065"/>
                </a:cxn>
                <a:cxn ang="0">
                  <a:pos x="connsiteX3066" y="connsiteY3066"/>
                </a:cxn>
                <a:cxn ang="0">
                  <a:pos x="connsiteX3067" y="connsiteY3067"/>
                </a:cxn>
                <a:cxn ang="0">
                  <a:pos x="connsiteX3068" y="connsiteY3068"/>
                </a:cxn>
                <a:cxn ang="0">
                  <a:pos x="connsiteX3069" y="connsiteY3069"/>
                </a:cxn>
                <a:cxn ang="0">
                  <a:pos x="connsiteX3070" y="connsiteY3070"/>
                </a:cxn>
                <a:cxn ang="0">
                  <a:pos x="connsiteX3071" y="connsiteY3071"/>
                </a:cxn>
                <a:cxn ang="0">
                  <a:pos x="connsiteX3072" y="connsiteY3072"/>
                </a:cxn>
                <a:cxn ang="0">
                  <a:pos x="connsiteX3073" y="connsiteY3073"/>
                </a:cxn>
                <a:cxn ang="0">
                  <a:pos x="connsiteX3074" y="connsiteY3074"/>
                </a:cxn>
                <a:cxn ang="0">
                  <a:pos x="connsiteX3075" y="connsiteY3075"/>
                </a:cxn>
                <a:cxn ang="0">
                  <a:pos x="connsiteX3076" y="connsiteY3076"/>
                </a:cxn>
                <a:cxn ang="0">
                  <a:pos x="connsiteX3077" y="connsiteY3077"/>
                </a:cxn>
                <a:cxn ang="0">
                  <a:pos x="connsiteX3078" y="connsiteY3078"/>
                </a:cxn>
                <a:cxn ang="0">
                  <a:pos x="connsiteX3079" y="connsiteY3079"/>
                </a:cxn>
                <a:cxn ang="0">
                  <a:pos x="connsiteX3080" y="connsiteY3080"/>
                </a:cxn>
                <a:cxn ang="0">
                  <a:pos x="connsiteX3081" y="connsiteY3081"/>
                </a:cxn>
                <a:cxn ang="0">
                  <a:pos x="connsiteX3082" y="connsiteY3082"/>
                </a:cxn>
                <a:cxn ang="0">
                  <a:pos x="connsiteX3083" y="connsiteY3083"/>
                </a:cxn>
                <a:cxn ang="0">
                  <a:pos x="connsiteX3084" y="connsiteY3084"/>
                </a:cxn>
                <a:cxn ang="0">
                  <a:pos x="connsiteX3085" y="connsiteY3085"/>
                </a:cxn>
                <a:cxn ang="0">
                  <a:pos x="connsiteX3086" y="connsiteY3086"/>
                </a:cxn>
                <a:cxn ang="0">
                  <a:pos x="connsiteX3087" y="connsiteY3087"/>
                </a:cxn>
                <a:cxn ang="0">
                  <a:pos x="connsiteX3088" y="connsiteY3088"/>
                </a:cxn>
                <a:cxn ang="0">
                  <a:pos x="connsiteX3089" y="connsiteY3089"/>
                </a:cxn>
                <a:cxn ang="0">
                  <a:pos x="connsiteX3090" y="connsiteY3090"/>
                </a:cxn>
                <a:cxn ang="0">
                  <a:pos x="connsiteX3091" y="connsiteY3091"/>
                </a:cxn>
                <a:cxn ang="0">
                  <a:pos x="connsiteX3092" y="connsiteY3092"/>
                </a:cxn>
                <a:cxn ang="0">
                  <a:pos x="connsiteX3093" y="connsiteY3093"/>
                </a:cxn>
                <a:cxn ang="0">
                  <a:pos x="connsiteX3094" y="connsiteY3094"/>
                </a:cxn>
                <a:cxn ang="0">
                  <a:pos x="connsiteX3095" y="connsiteY3095"/>
                </a:cxn>
                <a:cxn ang="0">
                  <a:pos x="connsiteX3096" y="connsiteY3096"/>
                </a:cxn>
                <a:cxn ang="0">
                  <a:pos x="connsiteX3097" y="connsiteY3097"/>
                </a:cxn>
                <a:cxn ang="0">
                  <a:pos x="connsiteX3098" y="connsiteY3098"/>
                </a:cxn>
                <a:cxn ang="0">
                  <a:pos x="connsiteX3099" y="connsiteY3099"/>
                </a:cxn>
                <a:cxn ang="0">
                  <a:pos x="connsiteX3100" y="connsiteY3100"/>
                </a:cxn>
                <a:cxn ang="0">
                  <a:pos x="connsiteX3101" y="connsiteY3101"/>
                </a:cxn>
                <a:cxn ang="0">
                  <a:pos x="connsiteX3102" y="connsiteY3102"/>
                </a:cxn>
                <a:cxn ang="0">
                  <a:pos x="connsiteX3103" y="connsiteY3103"/>
                </a:cxn>
                <a:cxn ang="0">
                  <a:pos x="connsiteX3104" y="connsiteY3104"/>
                </a:cxn>
                <a:cxn ang="0">
                  <a:pos x="connsiteX3105" y="connsiteY3105"/>
                </a:cxn>
                <a:cxn ang="0">
                  <a:pos x="connsiteX3106" y="connsiteY3106"/>
                </a:cxn>
                <a:cxn ang="0">
                  <a:pos x="connsiteX3107" y="connsiteY3107"/>
                </a:cxn>
                <a:cxn ang="0">
                  <a:pos x="connsiteX3108" y="connsiteY3108"/>
                </a:cxn>
                <a:cxn ang="0">
                  <a:pos x="connsiteX3109" y="connsiteY3109"/>
                </a:cxn>
                <a:cxn ang="0">
                  <a:pos x="connsiteX3110" y="connsiteY3110"/>
                </a:cxn>
                <a:cxn ang="0">
                  <a:pos x="connsiteX3111" y="connsiteY3111"/>
                </a:cxn>
                <a:cxn ang="0">
                  <a:pos x="connsiteX3112" y="connsiteY3112"/>
                </a:cxn>
                <a:cxn ang="0">
                  <a:pos x="connsiteX3113" y="connsiteY3113"/>
                </a:cxn>
                <a:cxn ang="0">
                  <a:pos x="connsiteX3114" y="connsiteY3114"/>
                </a:cxn>
                <a:cxn ang="0">
                  <a:pos x="connsiteX3115" y="connsiteY3115"/>
                </a:cxn>
                <a:cxn ang="0">
                  <a:pos x="connsiteX3116" y="connsiteY3116"/>
                </a:cxn>
                <a:cxn ang="0">
                  <a:pos x="connsiteX3117" y="connsiteY3117"/>
                </a:cxn>
                <a:cxn ang="0">
                  <a:pos x="connsiteX3118" y="connsiteY3118"/>
                </a:cxn>
                <a:cxn ang="0">
                  <a:pos x="connsiteX3119" y="connsiteY3119"/>
                </a:cxn>
                <a:cxn ang="0">
                  <a:pos x="connsiteX3120" y="connsiteY3120"/>
                </a:cxn>
                <a:cxn ang="0">
                  <a:pos x="connsiteX3121" y="connsiteY3121"/>
                </a:cxn>
                <a:cxn ang="0">
                  <a:pos x="connsiteX3122" y="connsiteY3122"/>
                </a:cxn>
                <a:cxn ang="0">
                  <a:pos x="connsiteX3123" y="connsiteY3123"/>
                </a:cxn>
                <a:cxn ang="0">
                  <a:pos x="connsiteX3124" y="connsiteY3124"/>
                </a:cxn>
                <a:cxn ang="0">
                  <a:pos x="connsiteX3125" y="connsiteY3125"/>
                </a:cxn>
                <a:cxn ang="0">
                  <a:pos x="connsiteX3126" y="connsiteY3126"/>
                </a:cxn>
                <a:cxn ang="0">
                  <a:pos x="connsiteX3127" y="connsiteY3127"/>
                </a:cxn>
                <a:cxn ang="0">
                  <a:pos x="connsiteX3128" y="connsiteY3128"/>
                </a:cxn>
                <a:cxn ang="0">
                  <a:pos x="connsiteX3129" y="connsiteY3129"/>
                </a:cxn>
                <a:cxn ang="0">
                  <a:pos x="connsiteX3130" y="connsiteY3130"/>
                </a:cxn>
                <a:cxn ang="0">
                  <a:pos x="connsiteX3131" y="connsiteY3131"/>
                </a:cxn>
                <a:cxn ang="0">
                  <a:pos x="connsiteX3132" y="connsiteY3132"/>
                </a:cxn>
                <a:cxn ang="0">
                  <a:pos x="connsiteX3133" y="connsiteY3133"/>
                </a:cxn>
                <a:cxn ang="0">
                  <a:pos x="connsiteX3134" y="connsiteY3134"/>
                </a:cxn>
                <a:cxn ang="0">
                  <a:pos x="connsiteX3135" y="connsiteY3135"/>
                </a:cxn>
                <a:cxn ang="0">
                  <a:pos x="connsiteX3136" y="connsiteY3136"/>
                </a:cxn>
                <a:cxn ang="0">
                  <a:pos x="connsiteX3137" y="connsiteY3137"/>
                </a:cxn>
                <a:cxn ang="0">
                  <a:pos x="connsiteX3138" y="connsiteY3138"/>
                </a:cxn>
                <a:cxn ang="0">
                  <a:pos x="connsiteX3139" y="connsiteY3139"/>
                </a:cxn>
                <a:cxn ang="0">
                  <a:pos x="connsiteX3140" y="connsiteY3140"/>
                </a:cxn>
                <a:cxn ang="0">
                  <a:pos x="connsiteX3141" y="connsiteY3141"/>
                </a:cxn>
                <a:cxn ang="0">
                  <a:pos x="connsiteX3142" y="connsiteY3142"/>
                </a:cxn>
                <a:cxn ang="0">
                  <a:pos x="connsiteX3143" y="connsiteY3143"/>
                </a:cxn>
                <a:cxn ang="0">
                  <a:pos x="connsiteX3144" y="connsiteY3144"/>
                </a:cxn>
                <a:cxn ang="0">
                  <a:pos x="connsiteX3145" y="connsiteY3145"/>
                </a:cxn>
                <a:cxn ang="0">
                  <a:pos x="connsiteX3146" y="connsiteY3146"/>
                </a:cxn>
                <a:cxn ang="0">
                  <a:pos x="connsiteX3147" y="connsiteY3147"/>
                </a:cxn>
                <a:cxn ang="0">
                  <a:pos x="connsiteX3148" y="connsiteY3148"/>
                </a:cxn>
                <a:cxn ang="0">
                  <a:pos x="connsiteX3149" y="connsiteY3149"/>
                </a:cxn>
                <a:cxn ang="0">
                  <a:pos x="connsiteX3150" y="connsiteY3150"/>
                </a:cxn>
                <a:cxn ang="0">
                  <a:pos x="connsiteX3151" y="connsiteY3151"/>
                </a:cxn>
                <a:cxn ang="0">
                  <a:pos x="connsiteX3152" y="connsiteY3152"/>
                </a:cxn>
                <a:cxn ang="0">
                  <a:pos x="connsiteX3153" y="connsiteY3153"/>
                </a:cxn>
                <a:cxn ang="0">
                  <a:pos x="connsiteX3154" y="connsiteY3154"/>
                </a:cxn>
                <a:cxn ang="0">
                  <a:pos x="connsiteX3155" y="connsiteY3155"/>
                </a:cxn>
                <a:cxn ang="0">
                  <a:pos x="connsiteX3156" y="connsiteY3156"/>
                </a:cxn>
                <a:cxn ang="0">
                  <a:pos x="connsiteX3157" y="connsiteY3157"/>
                </a:cxn>
                <a:cxn ang="0">
                  <a:pos x="connsiteX3158" y="connsiteY3158"/>
                </a:cxn>
                <a:cxn ang="0">
                  <a:pos x="connsiteX3159" y="connsiteY3159"/>
                </a:cxn>
                <a:cxn ang="0">
                  <a:pos x="connsiteX3160" y="connsiteY3160"/>
                </a:cxn>
                <a:cxn ang="0">
                  <a:pos x="connsiteX3161" y="connsiteY3161"/>
                </a:cxn>
                <a:cxn ang="0">
                  <a:pos x="connsiteX3162" y="connsiteY3162"/>
                </a:cxn>
                <a:cxn ang="0">
                  <a:pos x="connsiteX3163" y="connsiteY3163"/>
                </a:cxn>
                <a:cxn ang="0">
                  <a:pos x="connsiteX3164" y="connsiteY3164"/>
                </a:cxn>
                <a:cxn ang="0">
                  <a:pos x="connsiteX3165" y="connsiteY3165"/>
                </a:cxn>
                <a:cxn ang="0">
                  <a:pos x="connsiteX3166" y="connsiteY3166"/>
                </a:cxn>
                <a:cxn ang="0">
                  <a:pos x="connsiteX3167" y="connsiteY3167"/>
                </a:cxn>
                <a:cxn ang="0">
                  <a:pos x="connsiteX3168" y="connsiteY3168"/>
                </a:cxn>
                <a:cxn ang="0">
                  <a:pos x="connsiteX3169" y="connsiteY3169"/>
                </a:cxn>
                <a:cxn ang="0">
                  <a:pos x="connsiteX3170" y="connsiteY3170"/>
                </a:cxn>
                <a:cxn ang="0">
                  <a:pos x="connsiteX3171" y="connsiteY3171"/>
                </a:cxn>
                <a:cxn ang="0">
                  <a:pos x="connsiteX3172" y="connsiteY3172"/>
                </a:cxn>
                <a:cxn ang="0">
                  <a:pos x="connsiteX3173" y="connsiteY3173"/>
                </a:cxn>
                <a:cxn ang="0">
                  <a:pos x="connsiteX3174" y="connsiteY3174"/>
                </a:cxn>
                <a:cxn ang="0">
                  <a:pos x="connsiteX3175" y="connsiteY3175"/>
                </a:cxn>
                <a:cxn ang="0">
                  <a:pos x="connsiteX3176" y="connsiteY3176"/>
                </a:cxn>
                <a:cxn ang="0">
                  <a:pos x="connsiteX3177" y="connsiteY3177"/>
                </a:cxn>
                <a:cxn ang="0">
                  <a:pos x="connsiteX3178" y="connsiteY3178"/>
                </a:cxn>
                <a:cxn ang="0">
                  <a:pos x="connsiteX3179" y="connsiteY3179"/>
                </a:cxn>
                <a:cxn ang="0">
                  <a:pos x="connsiteX3180" y="connsiteY3180"/>
                </a:cxn>
                <a:cxn ang="0">
                  <a:pos x="connsiteX3181" y="connsiteY3181"/>
                </a:cxn>
                <a:cxn ang="0">
                  <a:pos x="connsiteX3182" y="connsiteY3182"/>
                </a:cxn>
                <a:cxn ang="0">
                  <a:pos x="connsiteX3183" y="connsiteY3183"/>
                </a:cxn>
                <a:cxn ang="0">
                  <a:pos x="connsiteX3184" y="connsiteY3184"/>
                </a:cxn>
                <a:cxn ang="0">
                  <a:pos x="connsiteX3185" y="connsiteY3185"/>
                </a:cxn>
                <a:cxn ang="0">
                  <a:pos x="connsiteX3186" y="connsiteY3186"/>
                </a:cxn>
                <a:cxn ang="0">
                  <a:pos x="connsiteX3187" y="connsiteY3187"/>
                </a:cxn>
                <a:cxn ang="0">
                  <a:pos x="connsiteX3188" y="connsiteY3188"/>
                </a:cxn>
                <a:cxn ang="0">
                  <a:pos x="connsiteX3189" y="connsiteY3189"/>
                </a:cxn>
                <a:cxn ang="0">
                  <a:pos x="connsiteX3190" y="connsiteY3190"/>
                </a:cxn>
                <a:cxn ang="0">
                  <a:pos x="connsiteX3191" y="connsiteY3191"/>
                </a:cxn>
                <a:cxn ang="0">
                  <a:pos x="connsiteX3192" y="connsiteY3192"/>
                </a:cxn>
                <a:cxn ang="0">
                  <a:pos x="connsiteX3193" y="connsiteY3193"/>
                </a:cxn>
                <a:cxn ang="0">
                  <a:pos x="connsiteX3194" y="connsiteY3194"/>
                </a:cxn>
                <a:cxn ang="0">
                  <a:pos x="connsiteX3195" y="connsiteY3195"/>
                </a:cxn>
                <a:cxn ang="0">
                  <a:pos x="connsiteX3196" y="connsiteY3196"/>
                </a:cxn>
                <a:cxn ang="0">
                  <a:pos x="connsiteX3197" y="connsiteY3197"/>
                </a:cxn>
                <a:cxn ang="0">
                  <a:pos x="connsiteX3198" y="connsiteY3198"/>
                </a:cxn>
                <a:cxn ang="0">
                  <a:pos x="connsiteX3199" y="connsiteY3199"/>
                </a:cxn>
                <a:cxn ang="0">
                  <a:pos x="connsiteX3200" y="connsiteY3200"/>
                </a:cxn>
                <a:cxn ang="0">
                  <a:pos x="connsiteX3201" y="connsiteY3201"/>
                </a:cxn>
                <a:cxn ang="0">
                  <a:pos x="connsiteX3202" y="connsiteY3202"/>
                </a:cxn>
                <a:cxn ang="0">
                  <a:pos x="connsiteX3203" y="connsiteY3203"/>
                </a:cxn>
                <a:cxn ang="0">
                  <a:pos x="connsiteX3204" y="connsiteY3204"/>
                </a:cxn>
                <a:cxn ang="0">
                  <a:pos x="connsiteX3205" y="connsiteY3205"/>
                </a:cxn>
                <a:cxn ang="0">
                  <a:pos x="connsiteX3206" y="connsiteY3206"/>
                </a:cxn>
                <a:cxn ang="0">
                  <a:pos x="connsiteX3207" y="connsiteY3207"/>
                </a:cxn>
                <a:cxn ang="0">
                  <a:pos x="connsiteX3208" y="connsiteY3208"/>
                </a:cxn>
                <a:cxn ang="0">
                  <a:pos x="connsiteX3209" y="connsiteY3209"/>
                </a:cxn>
                <a:cxn ang="0">
                  <a:pos x="connsiteX3210" y="connsiteY3210"/>
                </a:cxn>
                <a:cxn ang="0">
                  <a:pos x="connsiteX3211" y="connsiteY3211"/>
                </a:cxn>
                <a:cxn ang="0">
                  <a:pos x="connsiteX3212" y="connsiteY3212"/>
                </a:cxn>
                <a:cxn ang="0">
                  <a:pos x="connsiteX3213" y="connsiteY3213"/>
                </a:cxn>
                <a:cxn ang="0">
                  <a:pos x="connsiteX3214" y="connsiteY3214"/>
                </a:cxn>
                <a:cxn ang="0">
                  <a:pos x="connsiteX3215" y="connsiteY3215"/>
                </a:cxn>
                <a:cxn ang="0">
                  <a:pos x="connsiteX3216" y="connsiteY3216"/>
                </a:cxn>
                <a:cxn ang="0">
                  <a:pos x="connsiteX3217" y="connsiteY3217"/>
                </a:cxn>
                <a:cxn ang="0">
                  <a:pos x="connsiteX3218" y="connsiteY3218"/>
                </a:cxn>
                <a:cxn ang="0">
                  <a:pos x="connsiteX3219" y="connsiteY3219"/>
                </a:cxn>
                <a:cxn ang="0">
                  <a:pos x="connsiteX3220" y="connsiteY3220"/>
                </a:cxn>
                <a:cxn ang="0">
                  <a:pos x="connsiteX3221" y="connsiteY3221"/>
                </a:cxn>
                <a:cxn ang="0">
                  <a:pos x="connsiteX3222" y="connsiteY3222"/>
                </a:cxn>
                <a:cxn ang="0">
                  <a:pos x="connsiteX3223" y="connsiteY3223"/>
                </a:cxn>
                <a:cxn ang="0">
                  <a:pos x="connsiteX3224" y="connsiteY3224"/>
                </a:cxn>
                <a:cxn ang="0">
                  <a:pos x="connsiteX3225" y="connsiteY3225"/>
                </a:cxn>
                <a:cxn ang="0">
                  <a:pos x="connsiteX3226" y="connsiteY3226"/>
                </a:cxn>
                <a:cxn ang="0">
                  <a:pos x="connsiteX3227" y="connsiteY3227"/>
                </a:cxn>
                <a:cxn ang="0">
                  <a:pos x="connsiteX3228" y="connsiteY3228"/>
                </a:cxn>
                <a:cxn ang="0">
                  <a:pos x="connsiteX3229" y="connsiteY3229"/>
                </a:cxn>
                <a:cxn ang="0">
                  <a:pos x="connsiteX3230" y="connsiteY3230"/>
                </a:cxn>
                <a:cxn ang="0">
                  <a:pos x="connsiteX3231" y="connsiteY3231"/>
                </a:cxn>
                <a:cxn ang="0">
                  <a:pos x="connsiteX3232" y="connsiteY3232"/>
                </a:cxn>
                <a:cxn ang="0">
                  <a:pos x="connsiteX3233" y="connsiteY3233"/>
                </a:cxn>
                <a:cxn ang="0">
                  <a:pos x="connsiteX3234" y="connsiteY3234"/>
                </a:cxn>
                <a:cxn ang="0">
                  <a:pos x="connsiteX3235" y="connsiteY3235"/>
                </a:cxn>
                <a:cxn ang="0">
                  <a:pos x="connsiteX3236" y="connsiteY3236"/>
                </a:cxn>
                <a:cxn ang="0">
                  <a:pos x="connsiteX3237" y="connsiteY3237"/>
                </a:cxn>
                <a:cxn ang="0">
                  <a:pos x="connsiteX3238" y="connsiteY3238"/>
                </a:cxn>
                <a:cxn ang="0">
                  <a:pos x="connsiteX3239" y="connsiteY3239"/>
                </a:cxn>
                <a:cxn ang="0">
                  <a:pos x="connsiteX3240" y="connsiteY3240"/>
                </a:cxn>
                <a:cxn ang="0">
                  <a:pos x="connsiteX3241" y="connsiteY3241"/>
                </a:cxn>
                <a:cxn ang="0">
                  <a:pos x="connsiteX3242" y="connsiteY3242"/>
                </a:cxn>
                <a:cxn ang="0">
                  <a:pos x="connsiteX3243" y="connsiteY3243"/>
                </a:cxn>
                <a:cxn ang="0">
                  <a:pos x="connsiteX3244" y="connsiteY3244"/>
                </a:cxn>
                <a:cxn ang="0">
                  <a:pos x="connsiteX3245" y="connsiteY3245"/>
                </a:cxn>
                <a:cxn ang="0">
                  <a:pos x="connsiteX3246" y="connsiteY3246"/>
                </a:cxn>
                <a:cxn ang="0">
                  <a:pos x="connsiteX3247" y="connsiteY3247"/>
                </a:cxn>
                <a:cxn ang="0">
                  <a:pos x="connsiteX3248" y="connsiteY3248"/>
                </a:cxn>
                <a:cxn ang="0">
                  <a:pos x="connsiteX3249" y="connsiteY3249"/>
                </a:cxn>
                <a:cxn ang="0">
                  <a:pos x="connsiteX3250" y="connsiteY3250"/>
                </a:cxn>
                <a:cxn ang="0">
                  <a:pos x="connsiteX3251" y="connsiteY3251"/>
                </a:cxn>
                <a:cxn ang="0">
                  <a:pos x="connsiteX3252" y="connsiteY3252"/>
                </a:cxn>
                <a:cxn ang="0">
                  <a:pos x="connsiteX3253" y="connsiteY3253"/>
                </a:cxn>
                <a:cxn ang="0">
                  <a:pos x="connsiteX3254" y="connsiteY3254"/>
                </a:cxn>
                <a:cxn ang="0">
                  <a:pos x="connsiteX3255" y="connsiteY3255"/>
                </a:cxn>
                <a:cxn ang="0">
                  <a:pos x="connsiteX3256" y="connsiteY3256"/>
                </a:cxn>
                <a:cxn ang="0">
                  <a:pos x="connsiteX3257" y="connsiteY3257"/>
                </a:cxn>
                <a:cxn ang="0">
                  <a:pos x="connsiteX3258" y="connsiteY3258"/>
                </a:cxn>
                <a:cxn ang="0">
                  <a:pos x="connsiteX3259" y="connsiteY3259"/>
                </a:cxn>
                <a:cxn ang="0">
                  <a:pos x="connsiteX3260" y="connsiteY3260"/>
                </a:cxn>
                <a:cxn ang="0">
                  <a:pos x="connsiteX3261" y="connsiteY3261"/>
                </a:cxn>
                <a:cxn ang="0">
                  <a:pos x="connsiteX3262" y="connsiteY3262"/>
                </a:cxn>
                <a:cxn ang="0">
                  <a:pos x="connsiteX3263" y="connsiteY3263"/>
                </a:cxn>
                <a:cxn ang="0">
                  <a:pos x="connsiteX3264" y="connsiteY3264"/>
                </a:cxn>
                <a:cxn ang="0">
                  <a:pos x="connsiteX3265" y="connsiteY3265"/>
                </a:cxn>
                <a:cxn ang="0">
                  <a:pos x="connsiteX3266" y="connsiteY3266"/>
                </a:cxn>
                <a:cxn ang="0">
                  <a:pos x="connsiteX3267" y="connsiteY3267"/>
                </a:cxn>
                <a:cxn ang="0">
                  <a:pos x="connsiteX3268" y="connsiteY3268"/>
                </a:cxn>
                <a:cxn ang="0">
                  <a:pos x="connsiteX3269" y="connsiteY3269"/>
                </a:cxn>
                <a:cxn ang="0">
                  <a:pos x="connsiteX3270" y="connsiteY3270"/>
                </a:cxn>
                <a:cxn ang="0">
                  <a:pos x="connsiteX3271" y="connsiteY3271"/>
                </a:cxn>
                <a:cxn ang="0">
                  <a:pos x="connsiteX3272" y="connsiteY3272"/>
                </a:cxn>
                <a:cxn ang="0">
                  <a:pos x="connsiteX3273" y="connsiteY3273"/>
                </a:cxn>
                <a:cxn ang="0">
                  <a:pos x="connsiteX3274" y="connsiteY3274"/>
                </a:cxn>
                <a:cxn ang="0">
                  <a:pos x="connsiteX3275" y="connsiteY3275"/>
                </a:cxn>
                <a:cxn ang="0">
                  <a:pos x="connsiteX3276" y="connsiteY3276"/>
                </a:cxn>
                <a:cxn ang="0">
                  <a:pos x="connsiteX3277" y="connsiteY3277"/>
                </a:cxn>
                <a:cxn ang="0">
                  <a:pos x="connsiteX3278" y="connsiteY3278"/>
                </a:cxn>
                <a:cxn ang="0">
                  <a:pos x="connsiteX3279" y="connsiteY3279"/>
                </a:cxn>
                <a:cxn ang="0">
                  <a:pos x="connsiteX3280" y="connsiteY3280"/>
                </a:cxn>
                <a:cxn ang="0">
                  <a:pos x="connsiteX3281" y="connsiteY3281"/>
                </a:cxn>
                <a:cxn ang="0">
                  <a:pos x="connsiteX3282" y="connsiteY3282"/>
                </a:cxn>
                <a:cxn ang="0">
                  <a:pos x="connsiteX3283" y="connsiteY3283"/>
                </a:cxn>
                <a:cxn ang="0">
                  <a:pos x="connsiteX3284" y="connsiteY3284"/>
                </a:cxn>
                <a:cxn ang="0">
                  <a:pos x="connsiteX3285" y="connsiteY3285"/>
                </a:cxn>
                <a:cxn ang="0">
                  <a:pos x="connsiteX3286" y="connsiteY3286"/>
                </a:cxn>
                <a:cxn ang="0">
                  <a:pos x="connsiteX3287" y="connsiteY3287"/>
                </a:cxn>
                <a:cxn ang="0">
                  <a:pos x="connsiteX3288" y="connsiteY3288"/>
                </a:cxn>
                <a:cxn ang="0">
                  <a:pos x="connsiteX3289" y="connsiteY3289"/>
                </a:cxn>
                <a:cxn ang="0">
                  <a:pos x="connsiteX3290" y="connsiteY3290"/>
                </a:cxn>
                <a:cxn ang="0">
                  <a:pos x="connsiteX3291" y="connsiteY3291"/>
                </a:cxn>
                <a:cxn ang="0">
                  <a:pos x="connsiteX3292" y="connsiteY3292"/>
                </a:cxn>
                <a:cxn ang="0">
                  <a:pos x="connsiteX3293" y="connsiteY3293"/>
                </a:cxn>
                <a:cxn ang="0">
                  <a:pos x="connsiteX3294" y="connsiteY3294"/>
                </a:cxn>
                <a:cxn ang="0">
                  <a:pos x="connsiteX3295" y="connsiteY3295"/>
                </a:cxn>
                <a:cxn ang="0">
                  <a:pos x="connsiteX3296" y="connsiteY3296"/>
                </a:cxn>
                <a:cxn ang="0">
                  <a:pos x="connsiteX3297" y="connsiteY3297"/>
                </a:cxn>
                <a:cxn ang="0">
                  <a:pos x="connsiteX3298" y="connsiteY3298"/>
                </a:cxn>
                <a:cxn ang="0">
                  <a:pos x="connsiteX3299" y="connsiteY3299"/>
                </a:cxn>
                <a:cxn ang="0">
                  <a:pos x="connsiteX3300" y="connsiteY3300"/>
                </a:cxn>
                <a:cxn ang="0">
                  <a:pos x="connsiteX3301" y="connsiteY3301"/>
                </a:cxn>
                <a:cxn ang="0">
                  <a:pos x="connsiteX3302" y="connsiteY3302"/>
                </a:cxn>
                <a:cxn ang="0">
                  <a:pos x="connsiteX3303" y="connsiteY3303"/>
                </a:cxn>
                <a:cxn ang="0">
                  <a:pos x="connsiteX3304" y="connsiteY3304"/>
                </a:cxn>
                <a:cxn ang="0">
                  <a:pos x="connsiteX3305" y="connsiteY3305"/>
                </a:cxn>
                <a:cxn ang="0">
                  <a:pos x="connsiteX3306" y="connsiteY3306"/>
                </a:cxn>
                <a:cxn ang="0">
                  <a:pos x="connsiteX3307" y="connsiteY3307"/>
                </a:cxn>
                <a:cxn ang="0">
                  <a:pos x="connsiteX3308" y="connsiteY3308"/>
                </a:cxn>
                <a:cxn ang="0">
                  <a:pos x="connsiteX3309" y="connsiteY3309"/>
                </a:cxn>
                <a:cxn ang="0">
                  <a:pos x="connsiteX3310" y="connsiteY3310"/>
                </a:cxn>
                <a:cxn ang="0">
                  <a:pos x="connsiteX3311" y="connsiteY3311"/>
                </a:cxn>
                <a:cxn ang="0">
                  <a:pos x="connsiteX3312" y="connsiteY3312"/>
                </a:cxn>
                <a:cxn ang="0">
                  <a:pos x="connsiteX3313" y="connsiteY3313"/>
                </a:cxn>
                <a:cxn ang="0">
                  <a:pos x="connsiteX3314" y="connsiteY3314"/>
                </a:cxn>
                <a:cxn ang="0">
                  <a:pos x="connsiteX3315" y="connsiteY3315"/>
                </a:cxn>
                <a:cxn ang="0">
                  <a:pos x="connsiteX3316" y="connsiteY3316"/>
                </a:cxn>
                <a:cxn ang="0">
                  <a:pos x="connsiteX3317" y="connsiteY3317"/>
                </a:cxn>
                <a:cxn ang="0">
                  <a:pos x="connsiteX3318" y="connsiteY3318"/>
                </a:cxn>
                <a:cxn ang="0">
                  <a:pos x="connsiteX3319" y="connsiteY3319"/>
                </a:cxn>
                <a:cxn ang="0">
                  <a:pos x="connsiteX3320" y="connsiteY3320"/>
                </a:cxn>
                <a:cxn ang="0">
                  <a:pos x="connsiteX3321" y="connsiteY3321"/>
                </a:cxn>
                <a:cxn ang="0">
                  <a:pos x="connsiteX3322" y="connsiteY3322"/>
                </a:cxn>
                <a:cxn ang="0">
                  <a:pos x="connsiteX3323" y="connsiteY3323"/>
                </a:cxn>
                <a:cxn ang="0">
                  <a:pos x="connsiteX3324" y="connsiteY3324"/>
                </a:cxn>
                <a:cxn ang="0">
                  <a:pos x="connsiteX3325" y="connsiteY3325"/>
                </a:cxn>
                <a:cxn ang="0">
                  <a:pos x="connsiteX3326" y="connsiteY3326"/>
                </a:cxn>
                <a:cxn ang="0">
                  <a:pos x="connsiteX3327" y="connsiteY3327"/>
                </a:cxn>
                <a:cxn ang="0">
                  <a:pos x="connsiteX3328" y="connsiteY3328"/>
                </a:cxn>
                <a:cxn ang="0">
                  <a:pos x="connsiteX3329" y="connsiteY3329"/>
                </a:cxn>
                <a:cxn ang="0">
                  <a:pos x="connsiteX3330" y="connsiteY3330"/>
                </a:cxn>
                <a:cxn ang="0">
                  <a:pos x="connsiteX3331" y="connsiteY3331"/>
                </a:cxn>
                <a:cxn ang="0">
                  <a:pos x="connsiteX3332" y="connsiteY3332"/>
                </a:cxn>
                <a:cxn ang="0">
                  <a:pos x="connsiteX3333" y="connsiteY3333"/>
                </a:cxn>
                <a:cxn ang="0">
                  <a:pos x="connsiteX3334" y="connsiteY3334"/>
                </a:cxn>
                <a:cxn ang="0">
                  <a:pos x="connsiteX3335" y="connsiteY3335"/>
                </a:cxn>
                <a:cxn ang="0">
                  <a:pos x="connsiteX3336" y="connsiteY3336"/>
                </a:cxn>
                <a:cxn ang="0">
                  <a:pos x="connsiteX3337" y="connsiteY3337"/>
                </a:cxn>
                <a:cxn ang="0">
                  <a:pos x="connsiteX3338" y="connsiteY3338"/>
                </a:cxn>
                <a:cxn ang="0">
                  <a:pos x="connsiteX3339" y="connsiteY3339"/>
                </a:cxn>
                <a:cxn ang="0">
                  <a:pos x="connsiteX3340" y="connsiteY3340"/>
                </a:cxn>
                <a:cxn ang="0">
                  <a:pos x="connsiteX3341" y="connsiteY3341"/>
                </a:cxn>
                <a:cxn ang="0">
                  <a:pos x="connsiteX3342" y="connsiteY3342"/>
                </a:cxn>
                <a:cxn ang="0">
                  <a:pos x="connsiteX3343" y="connsiteY3343"/>
                </a:cxn>
                <a:cxn ang="0">
                  <a:pos x="connsiteX3344" y="connsiteY3344"/>
                </a:cxn>
                <a:cxn ang="0">
                  <a:pos x="connsiteX3345" y="connsiteY3345"/>
                </a:cxn>
                <a:cxn ang="0">
                  <a:pos x="connsiteX3346" y="connsiteY3346"/>
                </a:cxn>
                <a:cxn ang="0">
                  <a:pos x="connsiteX3347" y="connsiteY3347"/>
                </a:cxn>
                <a:cxn ang="0">
                  <a:pos x="connsiteX3348" y="connsiteY3348"/>
                </a:cxn>
                <a:cxn ang="0">
                  <a:pos x="connsiteX3349" y="connsiteY3349"/>
                </a:cxn>
                <a:cxn ang="0">
                  <a:pos x="connsiteX3350" y="connsiteY3350"/>
                </a:cxn>
                <a:cxn ang="0">
                  <a:pos x="connsiteX3351" y="connsiteY3351"/>
                </a:cxn>
                <a:cxn ang="0">
                  <a:pos x="connsiteX3352" y="connsiteY3352"/>
                </a:cxn>
                <a:cxn ang="0">
                  <a:pos x="connsiteX3353" y="connsiteY3353"/>
                </a:cxn>
                <a:cxn ang="0">
                  <a:pos x="connsiteX3354" y="connsiteY3354"/>
                </a:cxn>
                <a:cxn ang="0">
                  <a:pos x="connsiteX3355" y="connsiteY3355"/>
                </a:cxn>
                <a:cxn ang="0">
                  <a:pos x="connsiteX3356" y="connsiteY3356"/>
                </a:cxn>
                <a:cxn ang="0">
                  <a:pos x="connsiteX3357" y="connsiteY3357"/>
                </a:cxn>
                <a:cxn ang="0">
                  <a:pos x="connsiteX3358" y="connsiteY3358"/>
                </a:cxn>
                <a:cxn ang="0">
                  <a:pos x="connsiteX3359" y="connsiteY3359"/>
                </a:cxn>
                <a:cxn ang="0">
                  <a:pos x="connsiteX3360" y="connsiteY3360"/>
                </a:cxn>
                <a:cxn ang="0">
                  <a:pos x="connsiteX3361" y="connsiteY3361"/>
                </a:cxn>
                <a:cxn ang="0">
                  <a:pos x="connsiteX3362" y="connsiteY3362"/>
                </a:cxn>
                <a:cxn ang="0">
                  <a:pos x="connsiteX3363" y="connsiteY3363"/>
                </a:cxn>
                <a:cxn ang="0">
                  <a:pos x="connsiteX3364" y="connsiteY3364"/>
                </a:cxn>
                <a:cxn ang="0">
                  <a:pos x="connsiteX3365" y="connsiteY3365"/>
                </a:cxn>
                <a:cxn ang="0">
                  <a:pos x="connsiteX3366" y="connsiteY3366"/>
                </a:cxn>
                <a:cxn ang="0">
                  <a:pos x="connsiteX3367" y="connsiteY3367"/>
                </a:cxn>
                <a:cxn ang="0">
                  <a:pos x="connsiteX3368" y="connsiteY3368"/>
                </a:cxn>
                <a:cxn ang="0">
                  <a:pos x="connsiteX3369" y="connsiteY3369"/>
                </a:cxn>
                <a:cxn ang="0">
                  <a:pos x="connsiteX3370" y="connsiteY3370"/>
                </a:cxn>
                <a:cxn ang="0">
                  <a:pos x="connsiteX3371" y="connsiteY3371"/>
                </a:cxn>
                <a:cxn ang="0">
                  <a:pos x="connsiteX3372" y="connsiteY3372"/>
                </a:cxn>
                <a:cxn ang="0">
                  <a:pos x="connsiteX3373" y="connsiteY3373"/>
                </a:cxn>
                <a:cxn ang="0">
                  <a:pos x="connsiteX3374" y="connsiteY3374"/>
                </a:cxn>
                <a:cxn ang="0">
                  <a:pos x="connsiteX3375" y="connsiteY3375"/>
                </a:cxn>
                <a:cxn ang="0">
                  <a:pos x="connsiteX3376" y="connsiteY3376"/>
                </a:cxn>
                <a:cxn ang="0">
                  <a:pos x="connsiteX3377" y="connsiteY3377"/>
                </a:cxn>
                <a:cxn ang="0">
                  <a:pos x="connsiteX3378" y="connsiteY3378"/>
                </a:cxn>
                <a:cxn ang="0">
                  <a:pos x="connsiteX3379" y="connsiteY3379"/>
                </a:cxn>
                <a:cxn ang="0">
                  <a:pos x="connsiteX3380" y="connsiteY3380"/>
                </a:cxn>
                <a:cxn ang="0">
                  <a:pos x="connsiteX3381" y="connsiteY3381"/>
                </a:cxn>
                <a:cxn ang="0">
                  <a:pos x="connsiteX3382" y="connsiteY3382"/>
                </a:cxn>
                <a:cxn ang="0">
                  <a:pos x="connsiteX3383" y="connsiteY3383"/>
                </a:cxn>
                <a:cxn ang="0">
                  <a:pos x="connsiteX3384" y="connsiteY3384"/>
                </a:cxn>
                <a:cxn ang="0">
                  <a:pos x="connsiteX3385" y="connsiteY3385"/>
                </a:cxn>
                <a:cxn ang="0">
                  <a:pos x="connsiteX3386" y="connsiteY3386"/>
                </a:cxn>
                <a:cxn ang="0">
                  <a:pos x="connsiteX3387" y="connsiteY3387"/>
                </a:cxn>
                <a:cxn ang="0">
                  <a:pos x="connsiteX3388" y="connsiteY3388"/>
                </a:cxn>
                <a:cxn ang="0">
                  <a:pos x="connsiteX3389" y="connsiteY3389"/>
                </a:cxn>
                <a:cxn ang="0">
                  <a:pos x="connsiteX3390" y="connsiteY3390"/>
                </a:cxn>
                <a:cxn ang="0">
                  <a:pos x="connsiteX3391" y="connsiteY3391"/>
                </a:cxn>
                <a:cxn ang="0">
                  <a:pos x="connsiteX3392" y="connsiteY3392"/>
                </a:cxn>
                <a:cxn ang="0">
                  <a:pos x="connsiteX3393" y="connsiteY3393"/>
                </a:cxn>
                <a:cxn ang="0">
                  <a:pos x="connsiteX3394" y="connsiteY3394"/>
                </a:cxn>
                <a:cxn ang="0">
                  <a:pos x="connsiteX3395" y="connsiteY3395"/>
                </a:cxn>
                <a:cxn ang="0">
                  <a:pos x="connsiteX3396" y="connsiteY3396"/>
                </a:cxn>
                <a:cxn ang="0">
                  <a:pos x="connsiteX3397" y="connsiteY3397"/>
                </a:cxn>
                <a:cxn ang="0">
                  <a:pos x="connsiteX3398" y="connsiteY3398"/>
                </a:cxn>
                <a:cxn ang="0">
                  <a:pos x="connsiteX3399" y="connsiteY3399"/>
                </a:cxn>
                <a:cxn ang="0">
                  <a:pos x="connsiteX3400" y="connsiteY3400"/>
                </a:cxn>
                <a:cxn ang="0">
                  <a:pos x="connsiteX3401" y="connsiteY3401"/>
                </a:cxn>
                <a:cxn ang="0">
                  <a:pos x="connsiteX3402" y="connsiteY3402"/>
                </a:cxn>
                <a:cxn ang="0">
                  <a:pos x="connsiteX3403" y="connsiteY3403"/>
                </a:cxn>
                <a:cxn ang="0">
                  <a:pos x="connsiteX3404" y="connsiteY3404"/>
                </a:cxn>
                <a:cxn ang="0">
                  <a:pos x="connsiteX3405" y="connsiteY3405"/>
                </a:cxn>
                <a:cxn ang="0">
                  <a:pos x="connsiteX3406" y="connsiteY3406"/>
                </a:cxn>
                <a:cxn ang="0">
                  <a:pos x="connsiteX3407" y="connsiteY3407"/>
                </a:cxn>
                <a:cxn ang="0">
                  <a:pos x="connsiteX3408" y="connsiteY3408"/>
                </a:cxn>
                <a:cxn ang="0">
                  <a:pos x="connsiteX3409" y="connsiteY3409"/>
                </a:cxn>
                <a:cxn ang="0">
                  <a:pos x="connsiteX3410" y="connsiteY3410"/>
                </a:cxn>
                <a:cxn ang="0">
                  <a:pos x="connsiteX3411" y="connsiteY3411"/>
                </a:cxn>
                <a:cxn ang="0">
                  <a:pos x="connsiteX3412" y="connsiteY3412"/>
                </a:cxn>
                <a:cxn ang="0">
                  <a:pos x="connsiteX3413" y="connsiteY3413"/>
                </a:cxn>
                <a:cxn ang="0">
                  <a:pos x="connsiteX3414" y="connsiteY3414"/>
                </a:cxn>
                <a:cxn ang="0">
                  <a:pos x="connsiteX3415" y="connsiteY3415"/>
                </a:cxn>
                <a:cxn ang="0">
                  <a:pos x="connsiteX3416" y="connsiteY3416"/>
                </a:cxn>
                <a:cxn ang="0">
                  <a:pos x="connsiteX3417" y="connsiteY3417"/>
                </a:cxn>
                <a:cxn ang="0">
                  <a:pos x="connsiteX3418" y="connsiteY3418"/>
                </a:cxn>
                <a:cxn ang="0">
                  <a:pos x="connsiteX3419" y="connsiteY3419"/>
                </a:cxn>
                <a:cxn ang="0">
                  <a:pos x="connsiteX3420" y="connsiteY3420"/>
                </a:cxn>
                <a:cxn ang="0">
                  <a:pos x="connsiteX3421" y="connsiteY3421"/>
                </a:cxn>
                <a:cxn ang="0">
                  <a:pos x="connsiteX3422" y="connsiteY3422"/>
                </a:cxn>
                <a:cxn ang="0">
                  <a:pos x="connsiteX3423" y="connsiteY3423"/>
                </a:cxn>
                <a:cxn ang="0">
                  <a:pos x="connsiteX3424" y="connsiteY3424"/>
                </a:cxn>
                <a:cxn ang="0">
                  <a:pos x="connsiteX3425" y="connsiteY3425"/>
                </a:cxn>
                <a:cxn ang="0">
                  <a:pos x="connsiteX3426" y="connsiteY3426"/>
                </a:cxn>
                <a:cxn ang="0">
                  <a:pos x="connsiteX3427" y="connsiteY3427"/>
                </a:cxn>
                <a:cxn ang="0">
                  <a:pos x="connsiteX3428" y="connsiteY3428"/>
                </a:cxn>
                <a:cxn ang="0">
                  <a:pos x="connsiteX3429" y="connsiteY3429"/>
                </a:cxn>
                <a:cxn ang="0">
                  <a:pos x="connsiteX3430" y="connsiteY3430"/>
                </a:cxn>
                <a:cxn ang="0">
                  <a:pos x="connsiteX3431" y="connsiteY3431"/>
                </a:cxn>
                <a:cxn ang="0">
                  <a:pos x="connsiteX3432" y="connsiteY3432"/>
                </a:cxn>
                <a:cxn ang="0">
                  <a:pos x="connsiteX3433" y="connsiteY3433"/>
                </a:cxn>
                <a:cxn ang="0">
                  <a:pos x="connsiteX3434" y="connsiteY3434"/>
                </a:cxn>
                <a:cxn ang="0">
                  <a:pos x="connsiteX3435" y="connsiteY3435"/>
                </a:cxn>
                <a:cxn ang="0">
                  <a:pos x="connsiteX3436" y="connsiteY3436"/>
                </a:cxn>
                <a:cxn ang="0">
                  <a:pos x="connsiteX3437" y="connsiteY3437"/>
                </a:cxn>
                <a:cxn ang="0">
                  <a:pos x="connsiteX3438" y="connsiteY3438"/>
                </a:cxn>
                <a:cxn ang="0">
                  <a:pos x="connsiteX3439" y="connsiteY3439"/>
                </a:cxn>
                <a:cxn ang="0">
                  <a:pos x="connsiteX3440" y="connsiteY3440"/>
                </a:cxn>
                <a:cxn ang="0">
                  <a:pos x="connsiteX3441" y="connsiteY3441"/>
                </a:cxn>
                <a:cxn ang="0">
                  <a:pos x="connsiteX3442" y="connsiteY3442"/>
                </a:cxn>
                <a:cxn ang="0">
                  <a:pos x="connsiteX3443" y="connsiteY3443"/>
                </a:cxn>
                <a:cxn ang="0">
                  <a:pos x="connsiteX3444" y="connsiteY3444"/>
                </a:cxn>
                <a:cxn ang="0">
                  <a:pos x="connsiteX3445" y="connsiteY3445"/>
                </a:cxn>
                <a:cxn ang="0">
                  <a:pos x="connsiteX3446" y="connsiteY3446"/>
                </a:cxn>
                <a:cxn ang="0">
                  <a:pos x="connsiteX3447" y="connsiteY3447"/>
                </a:cxn>
                <a:cxn ang="0">
                  <a:pos x="connsiteX3448" y="connsiteY3448"/>
                </a:cxn>
                <a:cxn ang="0">
                  <a:pos x="connsiteX3449" y="connsiteY3449"/>
                </a:cxn>
                <a:cxn ang="0">
                  <a:pos x="connsiteX3450" y="connsiteY3450"/>
                </a:cxn>
                <a:cxn ang="0">
                  <a:pos x="connsiteX3451" y="connsiteY3451"/>
                </a:cxn>
                <a:cxn ang="0">
                  <a:pos x="connsiteX3452" y="connsiteY3452"/>
                </a:cxn>
                <a:cxn ang="0">
                  <a:pos x="connsiteX3453" y="connsiteY3453"/>
                </a:cxn>
                <a:cxn ang="0">
                  <a:pos x="connsiteX3454" y="connsiteY3454"/>
                </a:cxn>
                <a:cxn ang="0">
                  <a:pos x="connsiteX3455" y="connsiteY3455"/>
                </a:cxn>
                <a:cxn ang="0">
                  <a:pos x="connsiteX3456" y="connsiteY3456"/>
                </a:cxn>
                <a:cxn ang="0">
                  <a:pos x="connsiteX3457" y="connsiteY3457"/>
                </a:cxn>
                <a:cxn ang="0">
                  <a:pos x="connsiteX3458" y="connsiteY3458"/>
                </a:cxn>
                <a:cxn ang="0">
                  <a:pos x="connsiteX3459" y="connsiteY3459"/>
                </a:cxn>
                <a:cxn ang="0">
                  <a:pos x="connsiteX3460" y="connsiteY3460"/>
                </a:cxn>
                <a:cxn ang="0">
                  <a:pos x="connsiteX3461" y="connsiteY3461"/>
                </a:cxn>
                <a:cxn ang="0">
                  <a:pos x="connsiteX3462" y="connsiteY3462"/>
                </a:cxn>
                <a:cxn ang="0">
                  <a:pos x="connsiteX3463" y="connsiteY3463"/>
                </a:cxn>
                <a:cxn ang="0">
                  <a:pos x="connsiteX3464" y="connsiteY3464"/>
                </a:cxn>
                <a:cxn ang="0">
                  <a:pos x="connsiteX3465" y="connsiteY3465"/>
                </a:cxn>
                <a:cxn ang="0">
                  <a:pos x="connsiteX3466" y="connsiteY3466"/>
                </a:cxn>
                <a:cxn ang="0">
                  <a:pos x="connsiteX3467" y="connsiteY3467"/>
                </a:cxn>
                <a:cxn ang="0">
                  <a:pos x="connsiteX3468" y="connsiteY3468"/>
                </a:cxn>
                <a:cxn ang="0">
                  <a:pos x="connsiteX3469" y="connsiteY3469"/>
                </a:cxn>
                <a:cxn ang="0">
                  <a:pos x="connsiteX3470" y="connsiteY3470"/>
                </a:cxn>
                <a:cxn ang="0">
                  <a:pos x="connsiteX3471" y="connsiteY3471"/>
                </a:cxn>
                <a:cxn ang="0">
                  <a:pos x="connsiteX3472" y="connsiteY3472"/>
                </a:cxn>
                <a:cxn ang="0">
                  <a:pos x="connsiteX3473" y="connsiteY3473"/>
                </a:cxn>
                <a:cxn ang="0">
                  <a:pos x="connsiteX3474" y="connsiteY3474"/>
                </a:cxn>
                <a:cxn ang="0">
                  <a:pos x="connsiteX3475" y="connsiteY3475"/>
                </a:cxn>
                <a:cxn ang="0">
                  <a:pos x="connsiteX3476" y="connsiteY3476"/>
                </a:cxn>
                <a:cxn ang="0">
                  <a:pos x="connsiteX3477" y="connsiteY3477"/>
                </a:cxn>
                <a:cxn ang="0">
                  <a:pos x="connsiteX3478" y="connsiteY3478"/>
                </a:cxn>
                <a:cxn ang="0">
                  <a:pos x="connsiteX3479" y="connsiteY3479"/>
                </a:cxn>
                <a:cxn ang="0">
                  <a:pos x="connsiteX3480" y="connsiteY3480"/>
                </a:cxn>
                <a:cxn ang="0">
                  <a:pos x="connsiteX3481" y="connsiteY3481"/>
                </a:cxn>
                <a:cxn ang="0">
                  <a:pos x="connsiteX3482" y="connsiteY3482"/>
                </a:cxn>
                <a:cxn ang="0">
                  <a:pos x="connsiteX3483" y="connsiteY3483"/>
                </a:cxn>
                <a:cxn ang="0">
                  <a:pos x="connsiteX3484" y="connsiteY3484"/>
                </a:cxn>
                <a:cxn ang="0">
                  <a:pos x="connsiteX3485" y="connsiteY3485"/>
                </a:cxn>
                <a:cxn ang="0">
                  <a:pos x="connsiteX3486" y="connsiteY3486"/>
                </a:cxn>
                <a:cxn ang="0">
                  <a:pos x="connsiteX3487" y="connsiteY3487"/>
                </a:cxn>
                <a:cxn ang="0">
                  <a:pos x="connsiteX3488" y="connsiteY3488"/>
                </a:cxn>
                <a:cxn ang="0">
                  <a:pos x="connsiteX3489" y="connsiteY3489"/>
                </a:cxn>
                <a:cxn ang="0">
                  <a:pos x="connsiteX3490" y="connsiteY3490"/>
                </a:cxn>
                <a:cxn ang="0">
                  <a:pos x="connsiteX3491" y="connsiteY3491"/>
                </a:cxn>
                <a:cxn ang="0">
                  <a:pos x="connsiteX3492" y="connsiteY3492"/>
                </a:cxn>
                <a:cxn ang="0">
                  <a:pos x="connsiteX3493" y="connsiteY3493"/>
                </a:cxn>
                <a:cxn ang="0">
                  <a:pos x="connsiteX3494" y="connsiteY3494"/>
                </a:cxn>
                <a:cxn ang="0">
                  <a:pos x="connsiteX3495" y="connsiteY3495"/>
                </a:cxn>
                <a:cxn ang="0">
                  <a:pos x="connsiteX3496" y="connsiteY3496"/>
                </a:cxn>
                <a:cxn ang="0">
                  <a:pos x="connsiteX3497" y="connsiteY3497"/>
                </a:cxn>
                <a:cxn ang="0">
                  <a:pos x="connsiteX3498" y="connsiteY3498"/>
                </a:cxn>
                <a:cxn ang="0">
                  <a:pos x="connsiteX3499" y="connsiteY3499"/>
                </a:cxn>
                <a:cxn ang="0">
                  <a:pos x="connsiteX3500" y="connsiteY3500"/>
                </a:cxn>
                <a:cxn ang="0">
                  <a:pos x="connsiteX3501" y="connsiteY3501"/>
                </a:cxn>
                <a:cxn ang="0">
                  <a:pos x="connsiteX3502" y="connsiteY3502"/>
                </a:cxn>
                <a:cxn ang="0">
                  <a:pos x="connsiteX3503" y="connsiteY3503"/>
                </a:cxn>
                <a:cxn ang="0">
                  <a:pos x="connsiteX3504" y="connsiteY3504"/>
                </a:cxn>
                <a:cxn ang="0">
                  <a:pos x="connsiteX3505" y="connsiteY3505"/>
                </a:cxn>
                <a:cxn ang="0">
                  <a:pos x="connsiteX3506" y="connsiteY3506"/>
                </a:cxn>
                <a:cxn ang="0">
                  <a:pos x="connsiteX3507" y="connsiteY3507"/>
                </a:cxn>
                <a:cxn ang="0">
                  <a:pos x="connsiteX3508" y="connsiteY3508"/>
                </a:cxn>
                <a:cxn ang="0">
                  <a:pos x="connsiteX3509" y="connsiteY3509"/>
                </a:cxn>
                <a:cxn ang="0">
                  <a:pos x="connsiteX3510" y="connsiteY3510"/>
                </a:cxn>
                <a:cxn ang="0">
                  <a:pos x="connsiteX3511" y="connsiteY3511"/>
                </a:cxn>
                <a:cxn ang="0">
                  <a:pos x="connsiteX3512" y="connsiteY3512"/>
                </a:cxn>
                <a:cxn ang="0">
                  <a:pos x="connsiteX3513" y="connsiteY3513"/>
                </a:cxn>
                <a:cxn ang="0">
                  <a:pos x="connsiteX3514" y="connsiteY3514"/>
                </a:cxn>
                <a:cxn ang="0">
                  <a:pos x="connsiteX3515" y="connsiteY3515"/>
                </a:cxn>
                <a:cxn ang="0">
                  <a:pos x="connsiteX3516" y="connsiteY3516"/>
                </a:cxn>
                <a:cxn ang="0">
                  <a:pos x="connsiteX3517" y="connsiteY3517"/>
                </a:cxn>
                <a:cxn ang="0">
                  <a:pos x="connsiteX3518" y="connsiteY3518"/>
                </a:cxn>
                <a:cxn ang="0">
                  <a:pos x="connsiteX3519" y="connsiteY3519"/>
                </a:cxn>
                <a:cxn ang="0">
                  <a:pos x="connsiteX3520" y="connsiteY3520"/>
                </a:cxn>
                <a:cxn ang="0">
                  <a:pos x="connsiteX3521" y="connsiteY3521"/>
                </a:cxn>
                <a:cxn ang="0">
                  <a:pos x="connsiteX3522" y="connsiteY3522"/>
                </a:cxn>
                <a:cxn ang="0">
                  <a:pos x="connsiteX3523" y="connsiteY3523"/>
                </a:cxn>
                <a:cxn ang="0">
                  <a:pos x="connsiteX3524" y="connsiteY3524"/>
                </a:cxn>
                <a:cxn ang="0">
                  <a:pos x="connsiteX3525" y="connsiteY3525"/>
                </a:cxn>
                <a:cxn ang="0">
                  <a:pos x="connsiteX3526" y="connsiteY3526"/>
                </a:cxn>
                <a:cxn ang="0">
                  <a:pos x="connsiteX3527" y="connsiteY3527"/>
                </a:cxn>
                <a:cxn ang="0">
                  <a:pos x="connsiteX3528" y="connsiteY3528"/>
                </a:cxn>
                <a:cxn ang="0">
                  <a:pos x="connsiteX3529" y="connsiteY3529"/>
                </a:cxn>
                <a:cxn ang="0">
                  <a:pos x="connsiteX3530" y="connsiteY3530"/>
                </a:cxn>
                <a:cxn ang="0">
                  <a:pos x="connsiteX3531" y="connsiteY3531"/>
                </a:cxn>
                <a:cxn ang="0">
                  <a:pos x="connsiteX3532" y="connsiteY3532"/>
                </a:cxn>
                <a:cxn ang="0">
                  <a:pos x="connsiteX3533" y="connsiteY3533"/>
                </a:cxn>
                <a:cxn ang="0">
                  <a:pos x="connsiteX3534" y="connsiteY3534"/>
                </a:cxn>
                <a:cxn ang="0">
                  <a:pos x="connsiteX3535" y="connsiteY3535"/>
                </a:cxn>
                <a:cxn ang="0">
                  <a:pos x="connsiteX3536" y="connsiteY3536"/>
                </a:cxn>
                <a:cxn ang="0">
                  <a:pos x="connsiteX3537" y="connsiteY3537"/>
                </a:cxn>
                <a:cxn ang="0">
                  <a:pos x="connsiteX3538" y="connsiteY3538"/>
                </a:cxn>
                <a:cxn ang="0">
                  <a:pos x="connsiteX3539" y="connsiteY3539"/>
                </a:cxn>
                <a:cxn ang="0">
                  <a:pos x="connsiteX3540" y="connsiteY3540"/>
                </a:cxn>
                <a:cxn ang="0">
                  <a:pos x="connsiteX3541" y="connsiteY3541"/>
                </a:cxn>
                <a:cxn ang="0">
                  <a:pos x="connsiteX3542" y="connsiteY3542"/>
                </a:cxn>
                <a:cxn ang="0">
                  <a:pos x="connsiteX3543" y="connsiteY3543"/>
                </a:cxn>
                <a:cxn ang="0">
                  <a:pos x="connsiteX3544" y="connsiteY3544"/>
                </a:cxn>
                <a:cxn ang="0">
                  <a:pos x="connsiteX3545" y="connsiteY3545"/>
                </a:cxn>
                <a:cxn ang="0">
                  <a:pos x="connsiteX3546" y="connsiteY3546"/>
                </a:cxn>
                <a:cxn ang="0">
                  <a:pos x="connsiteX3547" y="connsiteY3547"/>
                </a:cxn>
                <a:cxn ang="0">
                  <a:pos x="connsiteX3548" y="connsiteY3548"/>
                </a:cxn>
                <a:cxn ang="0">
                  <a:pos x="connsiteX3549" y="connsiteY3549"/>
                </a:cxn>
                <a:cxn ang="0">
                  <a:pos x="connsiteX3550" y="connsiteY3550"/>
                </a:cxn>
                <a:cxn ang="0">
                  <a:pos x="connsiteX3551" y="connsiteY3551"/>
                </a:cxn>
                <a:cxn ang="0">
                  <a:pos x="connsiteX3552" y="connsiteY3552"/>
                </a:cxn>
                <a:cxn ang="0">
                  <a:pos x="connsiteX3553" y="connsiteY3553"/>
                </a:cxn>
                <a:cxn ang="0">
                  <a:pos x="connsiteX3554" y="connsiteY3554"/>
                </a:cxn>
                <a:cxn ang="0">
                  <a:pos x="connsiteX3555" y="connsiteY3555"/>
                </a:cxn>
                <a:cxn ang="0">
                  <a:pos x="connsiteX3556" y="connsiteY3556"/>
                </a:cxn>
                <a:cxn ang="0">
                  <a:pos x="connsiteX3557" y="connsiteY3557"/>
                </a:cxn>
                <a:cxn ang="0">
                  <a:pos x="connsiteX3558" y="connsiteY3558"/>
                </a:cxn>
                <a:cxn ang="0">
                  <a:pos x="connsiteX3559" y="connsiteY3559"/>
                </a:cxn>
                <a:cxn ang="0">
                  <a:pos x="connsiteX3560" y="connsiteY3560"/>
                </a:cxn>
                <a:cxn ang="0">
                  <a:pos x="connsiteX3561" y="connsiteY3561"/>
                </a:cxn>
                <a:cxn ang="0">
                  <a:pos x="connsiteX3562" y="connsiteY3562"/>
                </a:cxn>
                <a:cxn ang="0">
                  <a:pos x="connsiteX3563" y="connsiteY3563"/>
                </a:cxn>
                <a:cxn ang="0">
                  <a:pos x="connsiteX3564" y="connsiteY3564"/>
                </a:cxn>
                <a:cxn ang="0">
                  <a:pos x="connsiteX3565" y="connsiteY3565"/>
                </a:cxn>
                <a:cxn ang="0">
                  <a:pos x="connsiteX3566" y="connsiteY3566"/>
                </a:cxn>
                <a:cxn ang="0">
                  <a:pos x="connsiteX3567" y="connsiteY3567"/>
                </a:cxn>
                <a:cxn ang="0">
                  <a:pos x="connsiteX3568" y="connsiteY3568"/>
                </a:cxn>
                <a:cxn ang="0">
                  <a:pos x="connsiteX3569" y="connsiteY3569"/>
                </a:cxn>
                <a:cxn ang="0">
                  <a:pos x="connsiteX3570" y="connsiteY3570"/>
                </a:cxn>
                <a:cxn ang="0">
                  <a:pos x="connsiteX3571" y="connsiteY3571"/>
                </a:cxn>
                <a:cxn ang="0">
                  <a:pos x="connsiteX3572" y="connsiteY3572"/>
                </a:cxn>
                <a:cxn ang="0">
                  <a:pos x="connsiteX3573" y="connsiteY3573"/>
                </a:cxn>
                <a:cxn ang="0">
                  <a:pos x="connsiteX3574" y="connsiteY3574"/>
                </a:cxn>
                <a:cxn ang="0">
                  <a:pos x="connsiteX3575" y="connsiteY3575"/>
                </a:cxn>
                <a:cxn ang="0">
                  <a:pos x="connsiteX3576" y="connsiteY3576"/>
                </a:cxn>
                <a:cxn ang="0">
                  <a:pos x="connsiteX3577" y="connsiteY3577"/>
                </a:cxn>
                <a:cxn ang="0">
                  <a:pos x="connsiteX3578" y="connsiteY3578"/>
                </a:cxn>
                <a:cxn ang="0">
                  <a:pos x="connsiteX3579" y="connsiteY3579"/>
                </a:cxn>
                <a:cxn ang="0">
                  <a:pos x="connsiteX3580" y="connsiteY3580"/>
                </a:cxn>
                <a:cxn ang="0">
                  <a:pos x="connsiteX3581" y="connsiteY3581"/>
                </a:cxn>
                <a:cxn ang="0">
                  <a:pos x="connsiteX3582" y="connsiteY3582"/>
                </a:cxn>
                <a:cxn ang="0">
                  <a:pos x="connsiteX3583" y="connsiteY3583"/>
                </a:cxn>
                <a:cxn ang="0">
                  <a:pos x="connsiteX3584" y="connsiteY3584"/>
                </a:cxn>
                <a:cxn ang="0">
                  <a:pos x="connsiteX3585" y="connsiteY3585"/>
                </a:cxn>
                <a:cxn ang="0">
                  <a:pos x="connsiteX3586" y="connsiteY3586"/>
                </a:cxn>
                <a:cxn ang="0">
                  <a:pos x="connsiteX3587" y="connsiteY3587"/>
                </a:cxn>
                <a:cxn ang="0">
                  <a:pos x="connsiteX3588" y="connsiteY3588"/>
                </a:cxn>
                <a:cxn ang="0">
                  <a:pos x="connsiteX3589" y="connsiteY3589"/>
                </a:cxn>
                <a:cxn ang="0">
                  <a:pos x="connsiteX3590" y="connsiteY3590"/>
                </a:cxn>
                <a:cxn ang="0">
                  <a:pos x="connsiteX3591" y="connsiteY3591"/>
                </a:cxn>
                <a:cxn ang="0">
                  <a:pos x="connsiteX3592" y="connsiteY3592"/>
                </a:cxn>
                <a:cxn ang="0">
                  <a:pos x="connsiteX3593" y="connsiteY3593"/>
                </a:cxn>
                <a:cxn ang="0">
                  <a:pos x="connsiteX3594" y="connsiteY3594"/>
                </a:cxn>
                <a:cxn ang="0">
                  <a:pos x="connsiteX3595" y="connsiteY3595"/>
                </a:cxn>
                <a:cxn ang="0">
                  <a:pos x="connsiteX3596" y="connsiteY3596"/>
                </a:cxn>
                <a:cxn ang="0">
                  <a:pos x="connsiteX3597" y="connsiteY3597"/>
                </a:cxn>
                <a:cxn ang="0">
                  <a:pos x="connsiteX3598" y="connsiteY3598"/>
                </a:cxn>
                <a:cxn ang="0">
                  <a:pos x="connsiteX3599" y="connsiteY3599"/>
                </a:cxn>
                <a:cxn ang="0">
                  <a:pos x="connsiteX3600" y="connsiteY3600"/>
                </a:cxn>
                <a:cxn ang="0">
                  <a:pos x="connsiteX3601" y="connsiteY3601"/>
                </a:cxn>
                <a:cxn ang="0">
                  <a:pos x="connsiteX3602" y="connsiteY3602"/>
                </a:cxn>
                <a:cxn ang="0">
                  <a:pos x="connsiteX3603" y="connsiteY3603"/>
                </a:cxn>
                <a:cxn ang="0">
                  <a:pos x="connsiteX3604" y="connsiteY3604"/>
                </a:cxn>
                <a:cxn ang="0">
                  <a:pos x="connsiteX3605" y="connsiteY3605"/>
                </a:cxn>
                <a:cxn ang="0">
                  <a:pos x="connsiteX3606" y="connsiteY3606"/>
                </a:cxn>
                <a:cxn ang="0">
                  <a:pos x="connsiteX3607" y="connsiteY3607"/>
                </a:cxn>
                <a:cxn ang="0">
                  <a:pos x="connsiteX3608" y="connsiteY3608"/>
                </a:cxn>
                <a:cxn ang="0">
                  <a:pos x="connsiteX3609" y="connsiteY3609"/>
                </a:cxn>
                <a:cxn ang="0">
                  <a:pos x="connsiteX3610" y="connsiteY3610"/>
                </a:cxn>
                <a:cxn ang="0">
                  <a:pos x="connsiteX3611" y="connsiteY3611"/>
                </a:cxn>
                <a:cxn ang="0">
                  <a:pos x="connsiteX3612" y="connsiteY3612"/>
                </a:cxn>
                <a:cxn ang="0">
                  <a:pos x="connsiteX3613" y="connsiteY3613"/>
                </a:cxn>
                <a:cxn ang="0">
                  <a:pos x="connsiteX3614" y="connsiteY3614"/>
                </a:cxn>
                <a:cxn ang="0">
                  <a:pos x="connsiteX3615" y="connsiteY3615"/>
                </a:cxn>
                <a:cxn ang="0">
                  <a:pos x="connsiteX3616" y="connsiteY3616"/>
                </a:cxn>
                <a:cxn ang="0">
                  <a:pos x="connsiteX3617" y="connsiteY3617"/>
                </a:cxn>
                <a:cxn ang="0">
                  <a:pos x="connsiteX3618" y="connsiteY3618"/>
                </a:cxn>
                <a:cxn ang="0">
                  <a:pos x="connsiteX3619" y="connsiteY3619"/>
                </a:cxn>
                <a:cxn ang="0">
                  <a:pos x="connsiteX3620" y="connsiteY3620"/>
                </a:cxn>
                <a:cxn ang="0">
                  <a:pos x="connsiteX3621" y="connsiteY3621"/>
                </a:cxn>
                <a:cxn ang="0">
                  <a:pos x="connsiteX3622" y="connsiteY3622"/>
                </a:cxn>
                <a:cxn ang="0">
                  <a:pos x="connsiteX3623" y="connsiteY3623"/>
                </a:cxn>
                <a:cxn ang="0">
                  <a:pos x="connsiteX3624" y="connsiteY3624"/>
                </a:cxn>
                <a:cxn ang="0">
                  <a:pos x="connsiteX3625" y="connsiteY3625"/>
                </a:cxn>
                <a:cxn ang="0">
                  <a:pos x="connsiteX3626" y="connsiteY3626"/>
                </a:cxn>
                <a:cxn ang="0">
                  <a:pos x="connsiteX3627" y="connsiteY3627"/>
                </a:cxn>
                <a:cxn ang="0">
                  <a:pos x="connsiteX3628" y="connsiteY3628"/>
                </a:cxn>
                <a:cxn ang="0">
                  <a:pos x="connsiteX3629" y="connsiteY3629"/>
                </a:cxn>
                <a:cxn ang="0">
                  <a:pos x="connsiteX3630" y="connsiteY3630"/>
                </a:cxn>
                <a:cxn ang="0">
                  <a:pos x="connsiteX3631" y="connsiteY3631"/>
                </a:cxn>
                <a:cxn ang="0">
                  <a:pos x="connsiteX3632" y="connsiteY3632"/>
                </a:cxn>
                <a:cxn ang="0">
                  <a:pos x="connsiteX3633" y="connsiteY3633"/>
                </a:cxn>
                <a:cxn ang="0">
                  <a:pos x="connsiteX3634" y="connsiteY3634"/>
                </a:cxn>
                <a:cxn ang="0">
                  <a:pos x="connsiteX3635" y="connsiteY3635"/>
                </a:cxn>
                <a:cxn ang="0">
                  <a:pos x="connsiteX3636" y="connsiteY3636"/>
                </a:cxn>
                <a:cxn ang="0">
                  <a:pos x="connsiteX3637" y="connsiteY3637"/>
                </a:cxn>
                <a:cxn ang="0">
                  <a:pos x="connsiteX3638" y="connsiteY3638"/>
                </a:cxn>
                <a:cxn ang="0">
                  <a:pos x="connsiteX3639" y="connsiteY3639"/>
                </a:cxn>
                <a:cxn ang="0">
                  <a:pos x="connsiteX3640" y="connsiteY3640"/>
                </a:cxn>
                <a:cxn ang="0">
                  <a:pos x="connsiteX3641" y="connsiteY3641"/>
                </a:cxn>
                <a:cxn ang="0">
                  <a:pos x="connsiteX3642" y="connsiteY3642"/>
                </a:cxn>
                <a:cxn ang="0">
                  <a:pos x="connsiteX3643" y="connsiteY3643"/>
                </a:cxn>
                <a:cxn ang="0">
                  <a:pos x="connsiteX3644" y="connsiteY3644"/>
                </a:cxn>
                <a:cxn ang="0">
                  <a:pos x="connsiteX3645" y="connsiteY3645"/>
                </a:cxn>
                <a:cxn ang="0">
                  <a:pos x="connsiteX3646" y="connsiteY3646"/>
                </a:cxn>
                <a:cxn ang="0">
                  <a:pos x="connsiteX3647" y="connsiteY3647"/>
                </a:cxn>
                <a:cxn ang="0">
                  <a:pos x="connsiteX3648" y="connsiteY3648"/>
                </a:cxn>
                <a:cxn ang="0">
                  <a:pos x="connsiteX3649" y="connsiteY3649"/>
                </a:cxn>
                <a:cxn ang="0">
                  <a:pos x="connsiteX3650" y="connsiteY3650"/>
                </a:cxn>
                <a:cxn ang="0">
                  <a:pos x="connsiteX3651" y="connsiteY3651"/>
                </a:cxn>
                <a:cxn ang="0">
                  <a:pos x="connsiteX3652" y="connsiteY3652"/>
                </a:cxn>
                <a:cxn ang="0">
                  <a:pos x="connsiteX3653" y="connsiteY3653"/>
                </a:cxn>
                <a:cxn ang="0">
                  <a:pos x="connsiteX3654" y="connsiteY3654"/>
                </a:cxn>
                <a:cxn ang="0">
                  <a:pos x="connsiteX3655" y="connsiteY3655"/>
                </a:cxn>
                <a:cxn ang="0">
                  <a:pos x="connsiteX3656" y="connsiteY3656"/>
                </a:cxn>
                <a:cxn ang="0">
                  <a:pos x="connsiteX3657" y="connsiteY3657"/>
                </a:cxn>
                <a:cxn ang="0">
                  <a:pos x="connsiteX3658" y="connsiteY3658"/>
                </a:cxn>
                <a:cxn ang="0">
                  <a:pos x="connsiteX3659" y="connsiteY3659"/>
                </a:cxn>
                <a:cxn ang="0">
                  <a:pos x="connsiteX3660" y="connsiteY3660"/>
                </a:cxn>
                <a:cxn ang="0">
                  <a:pos x="connsiteX3661" y="connsiteY3661"/>
                </a:cxn>
                <a:cxn ang="0">
                  <a:pos x="connsiteX3662" y="connsiteY3662"/>
                </a:cxn>
                <a:cxn ang="0">
                  <a:pos x="connsiteX3663" y="connsiteY3663"/>
                </a:cxn>
                <a:cxn ang="0">
                  <a:pos x="connsiteX3664" y="connsiteY3664"/>
                </a:cxn>
                <a:cxn ang="0">
                  <a:pos x="connsiteX3665" y="connsiteY3665"/>
                </a:cxn>
                <a:cxn ang="0">
                  <a:pos x="connsiteX3666" y="connsiteY3666"/>
                </a:cxn>
                <a:cxn ang="0">
                  <a:pos x="connsiteX3667" y="connsiteY3667"/>
                </a:cxn>
                <a:cxn ang="0">
                  <a:pos x="connsiteX3668" y="connsiteY3668"/>
                </a:cxn>
                <a:cxn ang="0">
                  <a:pos x="connsiteX3669" y="connsiteY3669"/>
                </a:cxn>
                <a:cxn ang="0">
                  <a:pos x="connsiteX3670" y="connsiteY3670"/>
                </a:cxn>
                <a:cxn ang="0">
                  <a:pos x="connsiteX3671" y="connsiteY3671"/>
                </a:cxn>
                <a:cxn ang="0">
                  <a:pos x="connsiteX3672" y="connsiteY3672"/>
                </a:cxn>
                <a:cxn ang="0">
                  <a:pos x="connsiteX3673" y="connsiteY3673"/>
                </a:cxn>
                <a:cxn ang="0">
                  <a:pos x="connsiteX3674" y="connsiteY3674"/>
                </a:cxn>
                <a:cxn ang="0">
                  <a:pos x="connsiteX3675" y="connsiteY3675"/>
                </a:cxn>
                <a:cxn ang="0">
                  <a:pos x="connsiteX3676" y="connsiteY3676"/>
                </a:cxn>
                <a:cxn ang="0">
                  <a:pos x="connsiteX3677" y="connsiteY3677"/>
                </a:cxn>
                <a:cxn ang="0">
                  <a:pos x="connsiteX3678" y="connsiteY3678"/>
                </a:cxn>
                <a:cxn ang="0">
                  <a:pos x="connsiteX3679" y="connsiteY3679"/>
                </a:cxn>
                <a:cxn ang="0">
                  <a:pos x="connsiteX3680" y="connsiteY3680"/>
                </a:cxn>
                <a:cxn ang="0">
                  <a:pos x="connsiteX3681" y="connsiteY3681"/>
                </a:cxn>
                <a:cxn ang="0">
                  <a:pos x="connsiteX3682" y="connsiteY3682"/>
                </a:cxn>
                <a:cxn ang="0">
                  <a:pos x="connsiteX3683" y="connsiteY3683"/>
                </a:cxn>
                <a:cxn ang="0">
                  <a:pos x="connsiteX3684" y="connsiteY3684"/>
                </a:cxn>
                <a:cxn ang="0">
                  <a:pos x="connsiteX3685" y="connsiteY3685"/>
                </a:cxn>
                <a:cxn ang="0">
                  <a:pos x="connsiteX3686" y="connsiteY3686"/>
                </a:cxn>
                <a:cxn ang="0">
                  <a:pos x="connsiteX3687" y="connsiteY3687"/>
                </a:cxn>
                <a:cxn ang="0">
                  <a:pos x="connsiteX3688" y="connsiteY3688"/>
                </a:cxn>
                <a:cxn ang="0">
                  <a:pos x="connsiteX3689" y="connsiteY3689"/>
                </a:cxn>
                <a:cxn ang="0">
                  <a:pos x="connsiteX3690" y="connsiteY3690"/>
                </a:cxn>
                <a:cxn ang="0">
                  <a:pos x="connsiteX3691" y="connsiteY3691"/>
                </a:cxn>
                <a:cxn ang="0">
                  <a:pos x="connsiteX3692" y="connsiteY3692"/>
                </a:cxn>
                <a:cxn ang="0">
                  <a:pos x="connsiteX3693" y="connsiteY3693"/>
                </a:cxn>
                <a:cxn ang="0">
                  <a:pos x="connsiteX3694" y="connsiteY3694"/>
                </a:cxn>
                <a:cxn ang="0">
                  <a:pos x="connsiteX3695" y="connsiteY3695"/>
                </a:cxn>
                <a:cxn ang="0">
                  <a:pos x="connsiteX3696" y="connsiteY3696"/>
                </a:cxn>
                <a:cxn ang="0">
                  <a:pos x="connsiteX3697" y="connsiteY3697"/>
                </a:cxn>
                <a:cxn ang="0">
                  <a:pos x="connsiteX3698" y="connsiteY3698"/>
                </a:cxn>
                <a:cxn ang="0">
                  <a:pos x="connsiteX3699" y="connsiteY3699"/>
                </a:cxn>
                <a:cxn ang="0">
                  <a:pos x="connsiteX3700" y="connsiteY3700"/>
                </a:cxn>
                <a:cxn ang="0">
                  <a:pos x="connsiteX3701" y="connsiteY3701"/>
                </a:cxn>
                <a:cxn ang="0">
                  <a:pos x="connsiteX3702" y="connsiteY3702"/>
                </a:cxn>
                <a:cxn ang="0">
                  <a:pos x="connsiteX3703" y="connsiteY3703"/>
                </a:cxn>
                <a:cxn ang="0">
                  <a:pos x="connsiteX3704" y="connsiteY3704"/>
                </a:cxn>
                <a:cxn ang="0">
                  <a:pos x="connsiteX3705" y="connsiteY3705"/>
                </a:cxn>
                <a:cxn ang="0">
                  <a:pos x="connsiteX3706" y="connsiteY3706"/>
                </a:cxn>
                <a:cxn ang="0">
                  <a:pos x="connsiteX3707" y="connsiteY3707"/>
                </a:cxn>
                <a:cxn ang="0">
                  <a:pos x="connsiteX3708" y="connsiteY3708"/>
                </a:cxn>
                <a:cxn ang="0">
                  <a:pos x="connsiteX3709" y="connsiteY3709"/>
                </a:cxn>
                <a:cxn ang="0">
                  <a:pos x="connsiteX3710" y="connsiteY3710"/>
                </a:cxn>
                <a:cxn ang="0">
                  <a:pos x="connsiteX3711" y="connsiteY3711"/>
                </a:cxn>
                <a:cxn ang="0">
                  <a:pos x="connsiteX3712" y="connsiteY3712"/>
                </a:cxn>
                <a:cxn ang="0">
                  <a:pos x="connsiteX3713" y="connsiteY3713"/>
                </a:cxn>
                <a:cxn ang="0">
                  <a:pos x="connsiteX3714" y="connsiteY3714"/>
                </a:cxn>
                <a:cxn ang="0">
                  <a:pos x="connsiteX3715" y="connsiteY3715"/>
                </a:cxn>
                <a:cxn ang="0">
                  <a:pos x="connsiteX3716" y="connsiteY3716"/>
                </a:cxn>
                <a:cxn ang="0">
                  <a:pos x="connsiteX3717" y="connsiteY3717"/>
                </a:cxn>
                <a:cxn ang="0">
                  <a:pos x="connsiteX3718" y="connsiteY3718"/>
                </a:cxn>
                <a:cxn ang="0">
                  <a:pos x="connsiteX3719" y="connsiteY3719"/>
                </a:cxn>
                <a:cxn ang="0">
                  <a:pos x="connsiteX3720" y="connsiteY3720"/>
                </a:cxn>
                <a:cxn ang="0">
                  <a:pos x="connsiteX3721" y="connsiteY3721"/>
                </a:cxn>
                <a:cxn ang="0">
                  <a:pos x="connsiteX3722" y="connsiteY3722"/>
                </a:cxn>
                <a:cxn ang="0">
                  <a:pos x="connsiteX3723" y="connsiteY3723"/>
                </a:cxn>
                <a:cxn ang="0">
                  <a:pos x="connsiteX3724" y="connsiteY3724"/>
                </a:cxn>
                <a:cxn ang="0">
                  <a:pos x="connsiteX3725" y="connsiteY3725"/>
                </a:cxn>
                <a:cxn ang="0">
                  <a:pos x="connsiteX3726" y="connsiteY3726"/>
                </a:cxn>
                <a:cxn ang="0">
                  <a:pos x="connsiteX3727" y="connsiteY3727"/>
                </a:cxn>
                <a:cxn ang="0">
                  <a:pos x="connsiteX3728" y="connsiteY3728"/>
                </a:cxn>
                <a:cxn ang="0">
                  <a:pos x="connsiteX3729" y="connsiteY3729"/>
                </a:cxn>
                <a:cxn ang="0">
                  <a:pos x="connsiteX3730" y="connsiteY3730"/>
                </a:cxn>
                <a:cxn ang="0">
                  <a:pos x="connsiteX3731" y="connsiteY3731"/>
                </a:cxn>
                <a:cxn ang="0">
                  <a:pos x="connsiteX3732" y="connsiteY3732"/>
                </a:cxn>
                <a:cxn ang="0">
                  <a:pos x="connsiteX3733" y="connsiteY3733"/>
                </a:cxn>
                <a:cxn ang="0">
                  <a:pos x="connsiteX3734" y="connsiteY3734"/>
                </a:cxn>
                <a:cxn ang="0">
                  <a:pos x="connsiteX3735" y="connsiteY3735"/>
                </a:cxn>
                <a:cxn ang="0">
                  <a:pos x="connsiteX3736" y="connsiteY3736"/>
                </a:cxn>
                <a:cxn ang="0">
                  <a:pos x="connsiteX3737" y="connsiteY3737"/>
                </a:cxn>
                <a:cxn ang="0">
                  <a:pos x="connsiteX3738" y="connsiteY3738"/>
                </a:cxn>
                <a:cxn ang="0">
                  <a:pos x="connsiteX3739" y="connsiteY3739"/>
                </a:cxn>
                <a:cxn ang="0">
                  <a:pos x="connsiteX3740" y="connsiteY3740"/>
                </a:cxn>
                <a:cxn ang="0">
                  <a:pos x="connsiteX3741" y="connsiteY3741"/>
                </a:cxn>
                <a:cxn ang="0">
                  <a:pos x="connsiteX3742" y="connsiteY3742"/>
                </a:cxn>
                <a:cxn ang="0">
                  <a:pos x="connsiteX3743" y="connsiteY3743"/>
                </a:cxn>
                <a:cxn ang="0">
                  <a:pos x="connsiteX3744" y="connsiteY3744"/>
                </a:cxn>
                <a:cxn ang="0">
                  <a:pos x="connsiteX3745" y="connsiteY3745"/>
                </a:cxn>
                <a:cxn ang="0">
                  <a:pos x="connsiteX3746" y="connsiteY3746"/>
                </a:cxn>
                <a:cxn ang="0">
                  <a:pos x="connsiteX3747" y="connsiteY3747"/>
                </a:cxn>
                <a:cxn ang="0">
                  <a:pos x="connsiteX3748" y="connsiteY3748"/>
                </a:cxn>
                <a:cxn ang="0">
                  <a:pos x="connsiteX3749" y="connsiteY3749"/>
                </a:cxn>
                <a:cxn ang="0">
                  <a:pos x="connsiteX3750" y="connsiteY3750"/>
                </a:cxn>
                <a:cxn ang="0">
                  <a:pos x="connsiteX3751" y="connsiteY3751"/>
                </a:cxn>
                <a:cxn ang="0">
                  <a:pos x="connsiteX3752" y="connsiteY3752"/>
                </a:cxn>
                <a:cxn ang="0">
                  <a:pos x="connsiteX3753" y="connsiteY3753"/>
                </a:cxn>
                <a:cxn ang="0">
                  <a:pos x="connsiteX3754" y="connsiteY3754"/>
                </a:cxn>
                <a:cxn ang="0">
                  <a:pos x="connsiteX3755" y="connsiteY3755"/>
                </a:cxn>
                <a:cxn ang="0">
                  <a:pos x="connsiteX3756" y="connsiteY3756"/>
                </a:cxn>
                <a:cxn ang="0">
                  <a:pos x="connsiteX3757" y="connsiteY3757"/>
                </a:cxn>
                <a:cxn ang="0">
                  <a:pos x="connsiteX3758" y="connsiteY3758"/>
                </a:cxn>
                <a:cxn ang="0">
                  <a:pos x="connsiteX3759" y="connsiteY3759"/>
                </a:cxn>
                <a:cxn ang="0">
                  <a:pos x="connsiteX3760" y="connsiteY3760"/>
                </a:cxn>
                <a:cxn ang="0">
                  <a:pos x="connsiteX3761" y="connsiteY3761"/>
                </a:cxn>
                <a:cxn ang="0">
                  <a:pos x="connsiteX3762" y="connsiteY3762"/>
                </a:cxn>
                <a:cxn ang="0">
                  <a:pos x="connsiteX3763" y="connsiteY3763"/>
                </a:cxn>
                <a:cxn ang="0">
                  <a:pos x="connsiteX3764" y="connsiteY3764"/>
                </a:cxn>
                <a:cxn ang="0">
                  <a:pos x="connsiteX3765" y="connsiteY3765"/>
                </a:cxn>
                <a:cxn ang="0">
                  <a:pos x="connsiteX3766" y="connsiteY3766"/>
                </a:cxn>
                <a:cxn ang="0">
                  <a:pos x="connsiteX3767" y="connsiteY3767"/>
                </a:cxn>
                <a:cxn ang="0">
                  <a:pos x="connsiteX3768" y="connsiteY3768"/>
                </a:cxn>
                <a:cxn ang="0">
                  <a:pos x="connsiteX3769" y="connsiteY3769"/>
                </a:cxn>
                <a:cxn ang="0">
                  <a:pos x="connsiteX3770" y="connsiteY3770"/>
                </a:cxn>
                <a:cxn ang="0">
                  <a:pos x="connsiteX3771" y="connsiteY3771"/>
                </a:cxn>
                <a:cxn ang="0">
                  <a:pos x="connsiteX3772" y="connsiteY3772"/>
                </a:cxn>
                <a:cxn ang="0">
                  <a:pos x="connsiteX3773" y="connsiteY3773"/>
                </a:cxn>
                <a:cxn ang="0">
                  <a:pos x="connsiteX3774" y="connsiteY3774"/>
                </a:cxn>
                <a:cxn ang="0">
                  <a:pos x="connsiteX3775" y="connsiteY3775"/>
                </a:cxn>
                <a:cxn ang="0">
                  <a:pos x="connsiteX3776" y="connsiteY3776"/>
                </a:cxn>
                <a:cxn ang="0">
                  <a:pos x="connsiteX3777" y="connsiteY3777"/>
                </a:cxn>
                <a:cxn ang="0">
                  <a:pos x="connsiteX3778" y="connsiteY3778"/>
                </a:cxn>
                <a:cxn ang="0">
                  <a:pos x="connsiteX3779" y="connsiteY3779"/>
                </a:cxn>
                <a:cxn ang="0">
                  <a:pos x="connsiteX3780" y="connsiteY3780"/>
                </a:cxn>
                <a:cxn ang="0">
                  <a:pos x="connsiteX3781" y="connsiteY3781"/>
                </a:cxn>
                <a:cxn ang="0">
                  <a:pos x="connsiteX3782" y="connsiteY3782"/>
                </a:cxn>
                <a:cxn ang="0">
                  <a:pos x="connsiteX3783" y="connsiteY3783"/>
                </a:cxn>
                <a:cxn ang="0">
                  <a:pos x="connsiteX3784" y="connsiteY3784"/>
                </a:cxn>
                <a:cxn ang="0">
                  <a:pos x="connsiteX3785" y="connsiteY3785"/>
                </a:cxn>
                <a:cxn ang="0">
                  <a:pos x="connsiteX3786" y="connsiteY3786"/>
                </a:cxn>
                <a:cxn ang="0">
                  <a:pos x="connsiteX3787" y="connsiteY3787"/>
                </a:cxn>
                <a:cxn ang="0">
                  <a:pos x="connsiteX3788" y="connsiteY3788"/>
                </a:cxn>
                <a:cxn ang="0">
                  <a:pos x="connsiteX3789" y="connsiteY3789"/>
                </a:cxn>
                <a:cxn ang="0">
                  <a:pos x="connsiteX3790" y="connsiteY3790"/>
                </a:cxn>
                <a:cxn ang="0">
                  <a:pos x="connsiteX3791" y="connsiteY3791"/>
                </a:cxn>
                <a:cxn ang="0">
                  <a:pos x="connsiteX3792" y="connsiteY3792"/>
                </a:cxn>
                <a:cxn ang="0">
                  <a:pos x="connsiteX3793" y="connsiteY3793"/>
                </a:cxn>
                <a:cxn ang="0">
                  <a:pos x="connsiteX3794" y="connsiteY3794"/>
                </a:cxn>
                <a:cxn ang="0">
                  <a:pos x="connsiteX3795" y="connsiteY3795"/>
                </a:cxn>
                <a:cxn ang="0">
                  <a:pos x="connsiteX3796" y="connsiteY3796"/>
                </a:cxn>
                <a:cxn ang="0">
                  <a:pos x="connsiteX3797" y="connsiteY3797"/>
                </a:cxn>
                <a:cxn ang="0">
                  <a:pos x="connsiteX3798" y="connsiteY3798"/>
                </a:cxn>
                <a:cxn ang="0">
                  <a:pos x="connsiteX3799" y="connsiteY3799"/>
                </a:cxn>
                <a:cxn ang="0">
                  <a:pos x="connsiteX3800" y="connsiteY3800"/>
                </a:cxn>
                <a:cxn ang="0">
                  <a:pos x="connsiteX3801" y="connsiteY3801"/>
                </a:cxn>
                <a:cxn ang="0">
                  <a:pos x="connsiteX3802" y="connsiteY3802"/>
                </a:cxn>
                <a:cxn ang="0">
                  <a:pos x="connsiteX3803" y="connsiteY3803"/>
                </a:cxn>
                <a:cxn ang="0">
                  <a:pos x="connsiteX3804" y="connsiteY3804"/>
                </a:cxn>
                <a:cxn ang="0">
                  <a:pos x="connsiteX3805" y="connsiteY3805"/>
                </a:cxn>
                <a:cxn ang="0">
                  <a:pos x="connsiteX3806" y="connsiteY3806"/>
                </a:cxn>
                <a:cxn ang="0">
                  <a:pos x="connsiteX3807" y="connsiteY3807"/>
                </a:cxn>
                <a:cxn ang="0">
                  <a:pos x="connsiteX3808" y="connsiteY3808"/>
                </a:cxn>
                <a:cxn ang="0">
                  <a:pos x="connsiteX3809" y="connsiteY3809"/>
                </a:cxn>
                <a:cxn ang="0">
                  <a:pos x="connsiteX3810" y="connsiteY3810"/>
                </a:cxn>
                <a:cxn ang="0">
                  <a:pos x="connsiteX3811" y="connsiteY3811"/>
                </a:cxn>
                <a:cxn ang="0">
                  <a:pos x="connsiteX3812" y="connsiteY3812"/>
                </a:cxn>
                <a:cxn ang="0">
                  <a:pos x="connsiteX3813" y="connsiteY3813"/>
                </a:cxn>
                <a:cxn ang="0">
                  <a:pos x="connsiteX3814" y="connsiteY3814"/>
                </a:cxn>
                <a:cxn ang="0">
                  <a:pos x="connsiteX3815" y="connsiteY3815"/>
                </a:cxn>
                <a:cxn ang="0">
                  <a:pos x="connsiteX3816" y="connsiteY3816"/>
                </a:cxn>
                <a:cxn ang="0">
                  <a:pos x="connsiteX3817" y="connsiteY3817"/>
                </a:cxn>
                <a:cxn ang="0">
                  <a:pos x="connsiteX3818" y="connsiteY3818"/>
                </a:cxn>
                <a:cxn ang="0">
                  <a:pos x="connsiteX3819" y="connsiteY3819"/>
                </a:cxn>
                <a:cxn ang="0">
                  <a:pos x="connsiteX3820" y="connsiteY3820"/>
                </a:cxn>
                <a:cxn ang="0">
                  <a:pos x="connsiteX3821" y="connsiteY3821"/>
                </a:cxn>
                <a:cxn ang="0">
                  <a:pos x="connsiteX3822" y="connsiteY3822"/>
                </a:cxn>
                <a:cxn ang="0">
                  <a:pos x="connsiteX3823" y="connsiteY3823"/>
                </a:cxn>
                <a:cxn ang="0">
                  <a:pos x="connsiteX3824" y="connsiteY3824"/>
                </a:cxn>
                <a:cxn ang="0">
                  <a:pos x="connsiteX3825" y="connsiteY3825"/>
                </a:cxn>
                <a:cxn ang="0">
                  <a:pos x="connsiteX3826" y="connsiteY3826"/>
                </a:cxn>
                <a:cxn ang="0">
                  <a:pos x="connsiteX3827" y="connsiteY3827"/>
                </a:cxn>
                <a:cxn ang="0">
                  <a:pos x="connsiteX3828" y="connsiteY3828"/>
                </a:cxn>
                <a:cxn ang="0">
                  <a:pos x="connsiteX3829" y="connsiteY3829"/>
                </a:cxn>
                <a:cxn ang="0">
                  <a:pos x="connsiteX3830" y="connsiteY3830"/>
                </a:cxn>
                <a:cxn ang="0">
                  <a:pos x="connsiteX3831" y="connsiteY3831"/>
                </a:cxn>
                <a:cxn ang="0">
                  <a:pos x="connsiteX3832" y="connsiteY3832"/>
                </a:cxn>
                <a:cxn ang="0">
                  <a:pos x="connsiteX3833" y="connsiteY3833"/>
                </a:cxn>
                <a:cxn ang="0">
                  <a:pos x="connsiteX3834" y="connsiteY3834"/>
                </a:cxn>
                <a:cxn ang="0">
                  <a:pos x="connsiteX3835" y="connsiteY3835"/>
                </a:cxn>
                <a:cxn ang="0">
                  <a:pos x="connsiteX3836" y="connsiteY3836"/>
                </a:cxn>
                <a:cxn ang="0">
                  <a:pos x="connsiteX3837" y="connsiteY3837"/>
                </a:cxn>
                <a:cxn ang="0">
                  <a:pos x="connsiteX3838" y="connsiteY3838"/>
                </a:cxn>
                <a:cxn ang="0">
                  <a:pos x="connsiteX3839" y="connsiteY3839"/>
                </a:cxn>
                <a:cxn ang="0">
                  <a:pos x="connsiteX3840" y="connsiteY3840"/>
                </a:cxn>
                <a:cxn ang="0">
                  <a:pos x="connsiteX3841" y="connsiteY3841"/>
                </a:cxn>
                <a:cxn ang="0">
                  <a:pos x="connsiteX3842" y="connsiteY3842"/>
                </a:cxn>
                <a:cxn ang="0">
                  <a:pos x="connsiteX3843" y="connsiteY3843"/>
                </a:cxn>
                <a:cxn ang="0">
                  <a:pos x="connsiteX3844" y="connsiteY3844"/>
                </a:cxn>
                <a:cxn ang="0">
                  <a:pos x="connsiteX3845" y="connsiteY3845"/>
                </a:cxn>
                <a:cxn ang="0">
                  <a:pos x="connsiteX3846" y="connsiteY3846"/>
                </a:cxn>
                <a:cxn ang="0">
                  <a:pos x="connsiteX3847" y="connsiteY3847"/>
                </a:cxn>
                <a:cxn ang="0">
                  <a:pos x="connsiteX3848" y="connsiteY3848"/>
                </a:cxn>
                <a:cxn ang="0">
                  <a:pos x="connsiteX3849" y="connsiteY3849"/>
                </a:cxn>
                <a:cxn ang="0">
                  <a:pos x="connsiteX3850" y="connsiteY3850"/>
                </a:cxn>
                <a:cxn ang="0">
                  <a:pos x="connsiteX3851" y="connsiteY3851"/>
                </a:cxn>
                <a:cxn ang="0">
                  <a:pos x="connsiteX3852" y="connsiteY3852"/>
                </a:cxn>
                <a:cxn ang="0">
                  <a:pos x="connsiteX3853" y="connsiteY3853"/>
                </a:cxn>
                <a:cxn ang="0">
                  <a:pos x="connsiteX3854" y="connsiteY3854"/>
                </a:cxn>
                <a:cxn ang="0">
                  <a:pos x="connsiteX3855" y="connsiteY3855"/>
                </a:cxn>
                <a:cxn ang="0">
                  <a:pos x="connsiteX3856" y="connsiteY3856"/>
                </a:cxn>
                <a:cxn ang="0">
                  <a:pos x="connsiteX3857" y="connsiteY3857"/>
                </a:cxn>
                <a:cxn ang="0">
                  <a:pos x="connsiteX3858" y="connsiteY3858"/>
                </a:cxn>
                <a:cxn ang="0">
                  <a:pos x="connsiteX3859" y="connsiteY3859"/>
                </a:cxn>
                <a:cxn ang="0">
                  <a:pos x="connsiteX3860" y="connsiteY3860"/>
                </a:cxn>
                <a:cxn ang="0">
                  <a:pos x="connsiteX3861" y="connsiteY3861"/>
                </a:cxn>
                <a:cxn ang="0">
                  <a:pos x="connsiteX3862" y="connsiteY3862"/>
                </a:cxn>
                <a:cxn ang="0">
                  <a:pos x="connsiteX3863" y="connsiteY3863"/>
                </a:cxn>
                <a:cxn ang="0">
                  <a:pos x="connsiteX3864" y="connsiteY3864"/>
                </a:cxn>
                <a:cxn ang="0">
                  <a:pos x="connsiteX3865" y="connsiteY3865"/>
                </a:cxn>
                <a:cxn ang="0">
                  <a:pos x="connsiteX3866" y="connsiteY3866"/>
                </a:cxn>
                <a:cxn ang="0">
                  <a:pos x="connsiteX3867" y="connsiteY3867"/>
                </a:cxn>
                <a:cxn ang="0">
                  <a:pos x="connsiteX3868" y="connsiteY3868"/>
                </a:cxn>
                <a:cxn ang="0">
                  <a:pos x="connsiteX3869" y="connsiteY3869"/>
                </a:cxn>
                <a:cxn ang="0">
                  <a:pos x="connsiteX3870" y="connsiteY3870"/>
                </a:cxn>
                <a:cxn ang="0">
                  <a:pos x="connsiteX3871" y="connsiteY3871"/>
                </a:cxn>
                <a:cxn ang="0">
                  <a:pos x="connsiteX3872" y="connsiteY3872"/>
                </a:cxn>
                <a:cxn ang="0">
                  <a:pos x="connsiteX3873" y="connsiteY3873"/>
                </a:cxn>
                <a:cxn ang="0">
                  <a:pos x="connsiteX3874" y="connsiteY3874"/>
                </a:cxn>
                <a:cxn ang="0">
                  <a:pos x="connsiteX3875" y="connsiteY3875"/>
                </a:cxn>
                <a:cxn ang="0">
                  <a:pos x="connsiteX3876" y="connsiteY3876"/>
                </a:cxn>
                <a:cxn ang="0">
                  <a:pos x="connsiteX3877" y="connsiteY3877"/>
                </a:cxn>
                <a:cxn ang="0">
                  <a:pos x="connsiteX3878" y="connsiteY3878"/>
                </a:cxn>
                <a:cxn ang="0">
                  <a:pos x="connsiteX3879" y="connsiteY3879"/>
                </a:cxn>
                <a:cxn ang="0">
                  <a:pos x="connsiteX3880" y="connsiteY3880"/>
                </a:cxn>
                <a:cxn ang="0">
                  <a:pos x="connsiteX3881" y="connsiteY3881"/>
                </a:cxn>
                <a:cxn ang="0">
                  <a:pos x="connsiteX3882" y="connsiteY3882"/>
                </a:cxn>
                <a:cxn ang="0">
                  <a:pos x="connsiteX3883" y="connsiteY3883"/>
                </a:cxn>
                <a:cxn ang="0">
                  <a:pos x="connsiteX3884" y="connsiteY3884"/>
                </a:cxn>
                <a:cxn ang="0">
                  <a:pos x="connsiteX3885" y="connsiteY3885"/>
                </a:cxn>
                <a:cxn ang="0">
                  <a:pos x="connsiteX3886" y="connsiteY3886"/>
                </a:cxn>
                <a:cxn ang="0">
                  <a:pos x="connsiteX3887" y="connsiteY3887"/>
                </a:cxn>
                <a:cxn ang="0">
                  <a:pos x="connsiteX3888" y="connsiteY3888"/>
                </a:cxn>
                <a:cxn ang="0">
                  <a:pos x="connsiteX3889" y="connsiteY3889"/>
                </a:cxn>
                <a:cxn ang="0">
                  <a:pos x="connsiteX3890" y="connsiteY3890"/>
                </a:cxn>
                <a:cxn ang="0">
                  <a:pos x="connsiteX3891" y="connsiteY3891"/>
                </a:cxn>
                <a:cxn ang="0">
                  <a:pos x="connsiteX3892" y="connsiteY3892"/>
                </a:cxn>
                <a:cxn ang="0">
                  <a:pos x="connsiteX3893" y="connsiteY3893"/>
                </a:cxn>
                <a:cxn ang="0">
                  <a:pos x="connsiteX3894" y="connsiteY3894"/>
                </a:cxn>
                <a:cxn ang="0">
                  <a:pos x="connsiteX3895" y="connsiteY3895"/>
                </a:cxn>
                <a:cxn ang="0">
                  <a:pos x="connsiteX3896" y="connsiteY3896"/>
                </a:cxn>
                <a:cxn ang="0">
                  <a:pos x="connsiteX3897" y="connsiteY3897"/>
                </a:cxn>
                <a:cxn ang="0">
                  <a:pos x="connsiteX3898" y="connsiteY3898"/>
                </a:cxn>
                <a:cxn ang="0">
                  <a:pos x="connsiteX3899" y="connsiteY3899"/>
                </a:cxn>
                <a:cxn ang="0">
                  <a:pos x="connsiteX3900" y="connsiteY3900"/>
                </a:cxn>
                <a:cxn ang="0">
                  <a:pos x="connsiteX3901" y="connsiteY3901"/>
                </a:cxn>
                <a:cxn ang="0">
                  <a:pos x="connsiteX3902" y="connsiteY3902"/>
                </a:cxn>
                <a:cxn ang="0">
                  <a:pos x="connsiteX3903" y="connsiteY3903"/>
                </a:cxn>
                <a:cxn ang="0">
                  <a:pos x="connsiteX3904" y="connsiteY3904"/>
                </a:cxn>
                <a:cxn ang="0">
                  <a:pos x="connsiteX3905" y="connsiteY3905"/>
                </a:cxn>
                <a:cxn ang="0">
                  <a:pos x="connsiteX3906" y="connsiteY3906"/>
                </a:cxn>
                <a:cxn ang="0">
                  <a:pos x="connsiteX3907" y="connsiteY3907"/>
                </a:cxn>
                <a:cxn ang="0">
                  <a:pos x="connsiteX3908" y="connsiteY3908"/>
                </a:cxn>
                <a:cxn ang="0">
                  <a:pos x="connsiteX3909" y="connsiteY3909"/>
                </a:cxn>
                <a:cxn ang="0">
                  <a:pos x="connsiteX3910" y="connsiteY3910"/>
                </a:cxn>
                <a:cxn ang="0">
                  <a:pos x="connsiteX3911" y="connsiteY3911"/>
                </a:cxn>
                <a:cxn ang="0">
                  <a:pos x="connsiteX3912" y="connsiteY3912"/>
                </a:cxn>
                <a:cxn ang="0">
                  <a:pos x="connsiteX3913" y="connsiteY3913"/>
                </a:cxn>
                <a:cxn ang="0">
                  <a:pos x="connsiteX3914" y="connsiteY3914"/>
                </a:cxn>
                <a:cxn ang="0">
                  <a:pos x="connsiteX3915" y="connsiteY3915"/>
                </a:cxn>
                <a:cxn ang="0">
                  <a:pos x="connsiteX3916" y="connsiteY3916"/>
                </a:cxn>
                <a:cxn ang="0">
                  <a:pos x="connsiteX3917" y="connsiteY3917"/>
                </a:cxn>
                <a:cxn ang="0">
                  <a:pos x="connsiteX3918" y="connsiteY3918"/>
                </a:cxn>
                <a:cxn ang="0">
                  <a:pos x="connsiteX3919" y="connsiteY3919"/>
                </a:cxn>
                <a:cxn ang="0">
                  <a:pos x="connsiteX3920" y="connsiteY3920"/>
                </a:cxn>
                <a:cxn ang="0">
                  <a:pos x="connsiteX3921" y="connsiteY3921"/>
                </a:cxn>
                <a:cxn ang="0">
                  <a:pos x="connsiteX3922" y="connsiteY3922"/>
                </a:cxn>
                <a:cxn ang="0">
                  <a:pos x="connsiteX3923" y="connsiteY3923"/>
                </a:cxn>
                <a:cxn ang="0">
                  <a:pos x="connsiteX3924" y="connsiteY3924"/>
                </a:cxn>
                <a:cxn ang="0">
                  <a:pos x="connsiteX3925" y="connsiteY3925"/>
                </a:cxn>
                <a:cxn ang="0">
                  <a:pos x="connsiteX3926" y="connsiteY3926"/>
                </a:cxn>
                <a:cxn ang="0">
                  <a:pos x="connsiteX3927" y="connsiteY3927"/>
                </a:cxn>
                <a:cxn ang="0">
                  <a:pos x="connsiteX3928" y="connsiteY3928"/>
                </a:cxn>
                <a:cxn ang="0">
                  <a:pos x="connsiteX3929" y="connsiteY3929"/>
                </a:cxn>
                <a:cxn ang="0">
                  <a:pos x="connsiteX3930" y="connsiteY3930"/>
                </a:cxn>
                <a:cxn ang="0">
                  <a:pos x="connsiteX3931" y="connsiteY3931"/>
                </a:cxn>
                <a:cxn ang="0">
                  <a:pos x="connsiteX3932" y="connsiteY3932"/>
                </a:cxn>
                <a:cxn ang="0">
                  <a:pos x="connsiteX3933" y="connsiteY3933"/>
                </a:cxn>
                <a:cxn ang="0">
                  <a:pos x="connsiteX3934" y="connsiteY3934"/>
                </a:cxn>
                <a:cxn ang="0">
                  <a:pos x="connsiteX3935" y="connsiteY3935"/>
                </a:cxn>
                <a:cxn ang="0">
                  <a:pos x="connsiteX3936" y="connsiteY3936"/>
                </a:cxn>
                <a:cxn ang="0">
                  <a:pos x="connsiteX3937" y="connsiteY3937"/>
                </a:cxn>
                <a:cxn ang="0">
                  <a:pos x="connsiteX3938" y="connsiteY3938"/>
                </a:cxn>
                <a:cxn ang="0">
                  <a:pos x="connsiteX3939" y="connsiteY3939"/>
                </a:cxn>
                <a:cxn ang="0">
                  <a:pos x="connsiteX3940" y="connsiteY3940"/>
                </a:cxn>
                <a:cxn ang="0">
                  <a:pos x="connsiteX3941" y="connsiteY3941"/>
                </a:cxn>
                <a:cxn ang="0">
                  <a:pos x="connsiteX3942" y="connsiteY3942"/>
                </a:cxn>
                <a:cxn ang="0">
                  <a:pos x="connsiteX3943" y="connsiteY3943"/>
                </a:cxn>
                <a:cxn ang="0">
                  <a:pos x="connsiteX3944" y="connsiteY3944"/>
                </a:cxn>
                <a:cxn ang="0">
                  <a:pos x="connsiteX3945" y="connsiteY3945"/>
                </a:cxn>
                <a:cxn ang="0">
                  <a:pos x="connsiteX3946" y="connsiteY3946"/>
                </a:cxn>
                <a:cxn ang="0">
                  <a:pos x="connsiteX3947" y="connsiteY3947"/>
                </a:cxn>
                <a:cxn ang="0">
                  <a:pos x="connsiteX3948" y="connsiteY3948"/>
                </a:cxn>
                <a:cxn ang="0">
                  <a:pos x="connsiteX3949" y="connsiteY3949"/>
                </a:cxn>
                <a:cxn ang="0">
                  <a:pos x="connsiteX3950" y="connsiteY3950"/>
                </a:cxn>
                <a:cxn ang="0">
                  <a:pos x="connsiteX3951" y="connsiteY3951"/>
                </a:cxn>
                <a:cxn ang="0">
                  <a:pos x="connsiteX3952" y="connsiteY3952"/>
                </a:cxn>
                <a:cxn ang="0">
                  <a:pos x="connsiteX3953" y="connsiteY3953"/>
                </a:cxn>
                <a:cxn ang="0">
                  <a:pos x="connsiteX3954" y="connsiteY3954"/>
                </a:cxn>
                <a:cxn ang="0">
                  <a:pos x="connsiteX3955" y="connsiteY3955"/>
                </a:cxn>
                <a:cxn ang="0">
                  <a:pos x="connsiteX3956" y="connsiteY3956"/>
                </a:cxn>
                <a:cxn ang="0">
                  <a:pos x="connsiteX3957" y="connsiteY3957"/>
                </a:cxn>
                <a:cxn ang="0">
                  <a:pos x="connsiteX3958" y="connsiteY3958"/>
                </a:cxn>
                <a:cxn ang="0">
                  <a:pos x="connsiteX3959" y="connsiteY3959"/>
                </a:cxn>
                <a:cxn ang="0">
                  <a:pos x="connsiteX3960" y="connsiteY3960"/>
                </a:cxn>
                <a:cxn ang="0">
                  <a:pos x="connsiteX3961" y="connsiteY3961"/>
                </a:cxn>
                <a:cxn ang="0">
                  <a:pos x="connsiteX3962" y="connsiteY3962"/>
                </a:cxn>
                <a:cxn ang="0">
                  <a:pos x="connsiteX3963" y="connsiteY3963"/>
                </a:cxn>
                <a:cxn ang="0">
                  <a:pos x="connsiteX3964" y="connsiteY3964"/>
                </a:cxn>
                <a:cxn ang="0">
                  <a:pos x="connsiteX3965" y="connsiteY3965"/>
                </a:cxn>
                <a:cxn ang="0">
                  <a:pos x="connsiteX3966" y="connsiteY3966"/>
                </a:cxn>
                <a:cxn ang="0">
                  <a:pos x="connsiteX3967" y="connsiteY3967"/>
                </a:cxn>
                <a:cxn ang="0">
                  <a:pos x="connsiteX3968" y="connsiteY3968"/>
                </a:cxn>
                <a:cxn ang="0">
                  <a:pos x="connsiteX3969" y="connsiteY3969"/>
                </a:cxn>
                <a:cxn ang="0">
                  <a:pos x="connsiteX3970" y="connsiteY3970"/>
                </a:cxn>
                <a:cxn ang="0">
                  <a:pos x="connsiteX3971" y="connsiteY3971"/>
                </a:cxn>
                <a:cxn ang="0">
                  <a:pos x="connsiteX3972" y="connsiteY3972"/>
                </a:cxn>
                <a:cxn ang="0">
                  <a:pos x="connsiteX3973" y="connsiteY3973"/>
                </a:cxn>
                <a:cxn ang="0">
                  <a:pos x="connsiteX3974" y="connsiteY3974"/>
                </a:cxn>
                <a:cxn ang="0">
                  <a:pos x="connsiteX3975" y="connsiteY3975"/>
                </a:cxn>
                <a:cxn ang="0">
                  <a:pos x="connsiteX3976" y="connsiteY3976"/>
                </a:cxn>
                <a:cxn ang="0">
                  <a:pos x="connsiteX3977" y="connsiteY3977"/>
                </a:cxn>
                <a:cxn ang="0">
                  <a:pos x="connsiteX3978" y="connsiteY3978"/>
                </a:cxn>
                <a:cxn ang="0">
                  <a:pos x="connsiteX3979" y="connsiteY3979"/>
                </a:cxn>
                <a:cxn ang="0">
                  <a:pos x="connsiteX3980" y="connsiteY3980"/>
                </a:cxn>
                <a:cxn ang="0">
                  <a:pos x="connsiteX3981" y="connsiteY3981"/>
                </a:cxn>
                <a:cxn ang="0">
                  <a:pos x="connsiteX3982" y="connsiteY3982"/>
                </a:cxn>
                <a:cxn ang="0">
                  <a:pos x="connsiteX3983" y="connsiteY3983"/>
                </a:cxn>
                <a:cxn ang="0">
                  <a:pos x="connsiteX3984" y="connsiteY3984"/>
                </a:cxn>
                <a:cxn ang="0">
                  <a:pos x="connsiteX3985" y="connsiteY3985"/>
                </a:cxn>
                <a:cxn ang="0">
                  <a:pos x="connsiteX3986" y="connsiteY3986"/>
                </a:cxn>
                <a:cxn ang="0">
                  <a:pos x="connsiteX3987" y="connsiteY3987"/>
                </a:cxn>
                <a:cxn ang="0">
                  <a:pos x="connsiteX3988" y="connsiteY3988"/>
                </a:cxn>
                <a:cxn ang="0">
                  <a:pos x="connsiteX3989" y="connsiteY3989"/>
                </a:cxn>
                <a:cxn ang="0">
                  <a:pos x="connsiteX3990" y="connsiteY3990"/>
                </a:cxn>
                <a:cxn ang="0">
                  <a:pos x="connsiteX3991" y="connsiteY3991"/>
                </a:cxn>
                <a:cxn ang="0">
                  <a:pos x="connsiteX3992" y="connsiteY3992"/>
                </a:cxn>
                <a:cxn ang="0">
                  <a:pos x="connsiteX3993" y="connsiteY3993"/>
                </a:cxn>
                <a:cxn ang="0">
                  <a:pos x="connsiteX3994" y="connsiteY3994"/>
                </a:cxn>
                <a:cxn ang="0">
                  <a:pos x="connsiteX3995" y="connsiteY3995"/>
                </a:cxn>
                <a:cxn ang="0">
                  <a:pos x="connsiteX3996" y="connsiteY3996"/>
                </a:cxn>
                <a:cxn ang="0">
                  <a:pos x="connsiteX3997" y="connsiteY3997"/>
                </a:cxn>
                <a:cxn ang="0">
                  <a:pos x="connsiteX3998" y="connsiteY3998"/>
                </a:cxn>
                <a:cxn ang="0">
                  <a:pos x="connsiteX3999" y="connsiteY3999"/>
                </a:cxn>
                <a:cxn ang="0">
                  <a:pos x="connsiteX4000" y="connsiteY4000"/>
                </a:cxn>
                <a:cxn ang="0">
                  <a:pos x="connsiteX4001" y="connsiteY4001"/>
                </a:cxn>
                <a:cxn ang="0">
                  <a:pos x="connsiteX4002" y="connsiteY4002"/>
                </a:cxn>
                <a:cxn ang="0">
                  <a:pos x="connsiteX4003" y="connsiteY4003"/>
                </a:cxn>
                <a:cxn ang="0">
                  <a:pos x="connsiteX4004" y="connsiteY4004"/>
                </a:cxn>
                <a:cxn ang="0">
                  <a:pos x="connsiteX4005" y="connsiteY4005"/>
                </a:cxn>
                <a:cxn ang="0">
                  <a:pos x="connsiteX4006" y="connsiteY4006"/>
                </a:cxn>
                <a:cxn ang="0">
                  <a:pos x="connsiteX4007" y="connsiteY4007"/>
                </a:cxn>
                <a:cxn ang="0">
                  <a:pos x="connsiteX4008" y="connsiteY4008"/>
                </a:cxn>
                <a:cxn ang="0">
                  <a:pos x="connsiteX4009" y="connsiteY4009"/>
                </a:cxn>
                <a:cxn ang="0">
                  <a:pos x="connsiteX4010" y="connsiteY4010"/>
                </a:cxn>
                <a:cxn ang="0">
                  <a:pos x="connsiteX4011" y="connsiteY4011"/>
                </a:cxn>
                <a:cxn ang="0">
                  <a:pos x="connsiteX4012" y="connsiteY4012"/>
                </a:cxn>
                <a:cxn ang="0">
                  <a:pos x="connsiteX4013" y="connsiteY4013"/>
                </a:cxn>
                <a:cxn ang="0">
                  <a:pos x="connsiteX4014" y="connsiteY4014"/>
                </a:cxn>
                <a:cxn ang="0">
                  <a:pos x="connsiteX4015" y="connsiteY4015"/>
                </a:cxn>
                <a:cxn ang="0">
                  <a:pos x="connsiteX4016" y="connsiteY4016"/>
                </a:cxn>
                <a:cxn ang="0">
                  <a:pos x="connsiteX4017" y="connsiteY4017"/>
                </a:cxn>
                <a:cxn ang="0">
                  <a:pos x="connsiteX4018" y="connsiteY4018"/>
                </a:cxn>
                <a:cxn ang="0">
                  <a:pos x="connsiteX4019" y="connsiteY4019"/>
                </a:cxn>
                <a:cxn ang="0">
                  <a:pos x="connsiteX4020" y="connsiteY4020"/>
                </a:cxn>
                <a:cxn ang="0">
                  <a:pos x="connsiteX4021" y="connsiteY4021"/>
                </a:cxn>
                <a:cxn ang="0">
                  <a:pos x="connsiteX4022" y="connsiteY4022"/>
                </a:cxn>
                <a:cxn ang="0">
                  <a:pos x="connsiteX4023" y="connsiteY4023"/>
                </a:cxn>
                <a:cxn ang="0">
                  <a:pos x="connsiteX4024" y="connsiteY4024"/>
                </a:cxn>
                <a:cxn ang="0">
                  <a:pos x="connsiteX4025" y="connsiteY4025"/>
                </a:cxn>
                <a:cxn ang="0">
                  <a:pos x="connsiteX4026" y="connsiteY4026"/>
                </a:cxn>
                <a:cxn ang="0">
                  <a:pos x="connsiteX4027" y="connsiteY4027"/>
                </a:cxn>
                <a:cxn ang="0">
                  <a:pos x="connsiteX4028" y="connsiteY4028"/>
                </a:cxn>
                <a:cxn ang="0">
                  <a:pos x="connsiteX4029" y="connsiteY4029"/>
                </a:cxn>
                <a:cxn ang="0">
                  <a:pos x="connsiteX4030" y="connsiteY4030"/>
                </a:cxn>
                <a:cxn ang="0">
                  <a:pos x="connsiteX4031" y="connsiteY4031"/>
                </a:cxn>
                <a:cxn ang="0">
                  <a:pos x="connsiteX4032" y="connsiteY4032"/>
                </a:cxn>
                <a:cxn ang="0">
                  <a:pos x="connsiteX4033" y="connsiteY4033"/>
                </a:cxn>
                <a:cxn ang="0">
                  <a:pos x="connsiteX4034" y="connsiteY4034"/>
                </a:cxn>
                <a:cxn ang="0">
                  <a:pos x="connsiteX4035" y="connsiteY4035"/>
                </a:cxn>
                <a:cxn ang="0">
                  <a:pos x="connsiteX4036" y="connsiteY4036"/>
                </a:cxn>
                <a:cxn ang="0">
                  <a:pos x="connsiteX4037" y="connsiteY4037"/>
                </a:cxn>
                <a:cxn ang="0">
                  <a:pos x="connsiteX4038" y="connsiteY4038"/>
                </a:cxn>
                <a:cxn ang="0">
                  <a:pos x="connsiteX4039" y="connsiteY4039"/>
                </a:cxn>
                <a:cxn ang="0">
                  <a:pos x="connsiteX4040" y="connsiteY4040"/>
                </a:cxn>
                <a:cxn ang="0">
                  <a:pos x="connsiteX4041" y="connsiteY4041"/>
                </a:cxn>
                <a:cxn ang="0">
                  <a:pos x="connsiteX4042" y="connsiteY4042"/>
                </a:cxn>
                <a:cxn ang="0">
                  <a:pos x="connsiteX4043" y="connsiteY4043"/>
                </a:cxn>
                <a:cxn ang="0">
                  <a:pos x="connsiteX4044" y="connsiteY4044"/>
                </a:cxn>
                <a:cxn ang="0">
                  <a:pos x="connsiteX4045" y="connsiteY4045"/>
                </a:cxn>
                <a:cxn ang="0">
                  <a:pos x="connsiteX4046" y="connsiteY4046"/>
                </a:cxn>
                <a:cxn ang="0">
                  <a:pos x="connsiteX4047" y="connsiteY4047"/>
                </a:cxn>
                <a:cxn ang="0">
                  <a:pos x="connsiteX4048" y="connsiteY4048"/>
                </a:cxn>
                <a:cxn ang="0">
                  <a:pos x="connsiteX4049" y="connsiteY4049"/>
                </a:cxn>
                <a:cxn ang="0">
                  <a:pos x="connsiteX4050" y="connsiteY4050"/>
                </a:cxn>
                <a:cxn ang="0">
                  <a:pos x="connsiteX4051" y="connsiteY4051"/>
                </a:cxn>
                <a:cxn ang="0">
                  <a:pos x="connsiteX4052" y="connsiteY4052"/>
                </a:cxn>
                <a:cxn ang="0">
                  <a:pos x="connsiteX4053" y="connsiteY4053"/>
                </a:cxn>
                <a:cxn ang="0">
                  <a:pos x="connsiteX4054" y="connsiteY4054"/>
                </a:cxn>
                <a:cxn ang="0">
                  <a:pos x="connsiteX4055" y="connsiteY4055"/>
                </a:cxn>
                <a:cxn ang="0">
                  <a:pos x="connsiteX4056" y="connsiteY4056"/>
                </a:cxn>
                <a:cxn ang="0">
                  <a:pos x="connsiteX4057" y="connsiteY4057"/>
                </a:cxn>
                <a:cxn ang="0">
                  <a:pos x="connsiteX4058" y="connsiteY4058"/>
                </a:cxn>
                <a:cxn ang="0">
                  <a:pos x="connsiteX4059" y="connsiteY4059"/>
                </a:cxn>
                <a:cxn ang="0">
                  <a:pos x="connsiteX4060" y="connsiteY4060"/>
                </a:cxn>
                <a:cxn ang="0">
                  <a:pos x="connsiteX4061" y="connsiteY4061"/>
                </a:cxn>
                <a:cxn ang="0">
                  <a:pos x="connsiteX4062" y="connsiteY4062"/>
                </a:cxn>
                <a:cxn ang="0">
                  <a:pos x="connsiteX4063" y="connsiteY4063"/>
                </a:cxn>
                <a:cxn ang="0">
                  <a:pos x="connsiteX4064" y="connsiteY4064"/>
                </a:cxn>
                <a:cxn ang="0">
                  <a:pos x="connsiteX4065" y="connsiteY4065"/>
                </a:cxn>
                <a:cxn ang="0">
                  <a:pos x="connsiteX4066" y="connsiteY4066"/>
                </a:cxn>
                <a:cxn ang="0">
                  <a:pos x="connsiteX4067" y="connsiteY4067"/>
                </a:cxn>
                <a:cxn ang="0">
                  <a:pos x="connsiteX4068" y="connsiteY4068"/>
                </a:cxn>
                <a:cxn ang="0">
                  <a:pos x="connsiteX4069" y="connsiteY4069"/>
                </a:cxn>
                <a:cxn ang="0">
                  <a:pos x="connsiteX4070" y="connsiteY4070"/>
                </a:cxn>
                <a:cxn ang="0">
                  <a:pos x="connsiteX4071" y="connsiteY4071"/>
                </a:cxn>
                <a:cxn ang="0">
                  <a:pos x="connsiteX4072" y="connsiteY4072"/>
                </a:cxn>
                <a:cxn ang="0">
                  <a:pos x="connsiteX4073" y="connsiteY4073"/>
                </a:cxn>
                <a:cxn ang="0">
                  <a:pos x="connsiteX4074" y="connsiteY4074"/>
                </a:cxn>
                <a:cxn ang="0">
                  <a:pos x="connsiteX4075" y="connsiteY4075"/>
                </a:cxn>
                <a:cxn ang="0">
                  <a:pos x="connsiteX4076" y="connsiteY4076"/>
                </a:cxn>
                <a:cxn ang="0">
                  <a:pos x="connsiteX4077" y="connsiteY4077"/>
                </a:cxn>
                <a:cxn ang="0">
                  <a:pos x="connsiteX4078" y="connsiteY4078"/>
                </a:cxn>
                <a:cxn ang="0">
                  <a:pos x="connsiteX4079" y="connsiteY4079"/>
                </a:cxn>
                <a:cxn ang="0">
                  <a:pos x="connsiteX4080" y="connsiteY4080"/>
                </a:cxn>
                <a:cxn ang="0">
                  <a:pos x="connsiteX4081" y="connsiteY4081"/>
                </a:cxn>
                <a:cxn ang="0">
                  <a:pos x="connsiteX4082" y="connsiteY4082"/>
                </a:cxn>
                <a:cxn ang="0">
                  <a:pos x="connsiteX4083" y="connsiteY4083"/>
                </a:cxn>
                <a:cxn ang="0">
                  <a:pos x="connsiteX4084" y="connsiteY4084"/>
                </a:cxn>
                <a:cxn ang="0">
                  <a:pos x="connsiteX4085" y="connsiteY4085"/>
                </a:cxn>
                <a:cxn ang="0">
                  <a:pos x="connsiteX4086" y="connsiteY4086"/>
                </a:cxn>
                <a:cxn ang="0">
                  <a:pos x="connsiteX4087" y="connsiteY4087"/>
                </a:cxn>
                <a:cxn ang="0">
                  <a:pos x="connsiteX4088" y="connsiteY4088"/>
                </a:cxn>
                <a:cxn ang="0">
                  <a:pos x="connsiteX4089" y="connsiteY4089"/>
                </a:cxn>
                <a:cxn ang="0">
                  <a:pos x="connsiteX4090" y="connsiteY4090"/>
                </a:cxn>
                <a:cxn ang="0">
                  <a:pos x="connsiteX4091" y="connsiteY4091"/>
                </a:cxn>
                <a:cxn ang="0">
                  <a:pos x="connsiteX4092" y="connsiteY4092"/>
                </a:cxn>
                <a:cxn ang="0">
                  <a:pos x="connsiteX4093" y="connsiteY4093"/>
                </a:cxn>
                <a:cxn ang="0">
                  <a:pos x="connsiteX4094" y="connsiteY4094"/>
                </a:cxn>
                <a:cxn ang="0">
                  <a:pos x="connsiteX4095" y="connsiteY4095"/>
                </a:cxn>
                <a:cxn ang="0">
                  <a:pos x="connsiteX4096" y="connsiteY4096"/>
                </a:cxn>
                <a:cxn ang="0">
                  <a:pos x="connsiteX4097" y="connsiteY4097"/>
                </a:cxn>
                <a:cxn ang="0">
                  <a:pos x="connsiteX4098" y="connsiteY4098"/>
                </a:cxn>
                <a:cxn ang="0">
                  <a:pos x="connsiteX4099" y="connsiteY4099"/>
                </a:cxn>
                <a:cxn ang="0">
                  <a:pos x="connsiteX4100" y="connsiteY4100"/>
                </a:cxn>
                <a:cxn ang="0">
                  <a:pos x="connsiteX4101" y="connsiteY4101"/>
                </a:cxn>
                <a:cxn ang="0">
                  <a:pos x="connsiteX4102" y="connsiteY4102"/>
                </a:cxn>
                <a:cxn ang="0">
                  <a:pos x="connsiteX4103" y="connsiteY4103"/>
                </a:cxn>
                <a:cxn ang="0">
                  <a:pos x="connsiteX4104" y="connsiteY4104"/>
                </a:cxn>
                <a:cxn ang="0">
                  <a:pos x="connsiteX4105" y="connsiteY4105"/>
                </a:cxn>
                <a:cxn ang="0">
                  <a:pos x="connsiteX4106" y="connsiteY4106"/>
                </a:cxn>
                <a:cxn ang="0">
                  <a:pos x="connsiteX4107" y="connsiteY4107"/>
                </a:cxn>
                <a:cxn ang="0">
                  <a:pos x="connsiteX4108" y="connsiteY4108"/>
                </a:cxn>
                <a:cxn ang="0">
                  <a:pos x="connsiteX4109" y="connsiteY4109"/>
                </a:cxn>
                <a:cxn ang="0">
                  <a:pos x="connsiteX4110" y="connsiteY4110"/>
                </a:cxn>
                <a:cxn ang="0">
                  <a:pos x="connsiteX4111" y="connsiteY4111"/>
                </a:cxn>
                <a:cxn ang="0">
                  <a:pos x="connsiteX4112" y="connsiteY4112"/>
                </a:cxn>
                <a:cxn ang="0">
                  <a:pos x="connsiteX4113" y="connsiteY4113"/>
                </a:cxn>
                <a:cxn ang="0">
                  <a:pos x="connsiteX4114" y="connsiteY4114"/>
                </a:cxn>
                <a:cxn ang="0">
                  <a:pos x="connsiteX4115" y="connsiteY4115"/>
                </a:cxn>
                <a:cxn ang="0">
                  <a:pos x="connsiteX4116" y="connsiteY4116"/>
                </a:cxn>
                <a:cxn ang="0">
                  <a:pos x="connsiteX4117" y="connsiteY4117"/>
                </a:cxn>
                <a:cxn ang="0">
                  <a:pos x="connsiteX4118" y="connsiteY4118"/>
                </a:cxn>
                <a:cxn ang="0">
                  <a:pos x="connsiteX4119" y="connsiteY4119"/>
                </a:cxn>
                <a:cxn ang="0">
                  <a:pos x="connsiteX4120" y="connsiteY4120"/>
                </a:cxn>
                <a:cxn ang="0">
                  <a:pos x="connsiteX4121" y="connsiteY4121"/>
                </a:cxn>
                <a:cxn ang="0">
                  <a:pos x="connsiteX4122" y="connsiteY4122"/>
                </a:cxn>
                <a:cxn ang="0">
                  <a:pos x="connsiteX4123" y="connsiteY4123"/>
                </a:cxn>
                <a:cxn ang="0">
                  <a:pos x="connsiteX4124" y="connsiteY4124"/>
                </a:cxn>
                <a:cxn ang="0">
                  <a:pos x="connsiteX4125" y="connsiteY4125"/>
                </a:cxn>
                <a:cxn ang="0">
                  <a:pos x="connsiteX4126" y="connsiteY4126"/>
                </a:cxn>
                <a:cxn ang="0">
                  <a:pos x="connsiteX4127" y="connsiteY4127"/>
                </a:cxn>
                <a:cxn ang="0">
                  <a:pos x="connsiteX4128" y="connsiteY4128"/>
                </a:cxn>
                <a:cxn ang="0">
                  <a:pos x="connsiteX4129" y="connsiteY4129"/>
                </a:cxn>
                <a:cxn ang="0">
                  <a:pos x="connsiteX4130" y="connsiteY4130"/>
                </a:cxn>
                <a:cxn ang="0">
                  <a:pos x="connsiteX4131" y="connsiteY4131"/>
                </a:cxn>
                <a:cxn ang="0">
                  <a:pos x="connsiteX4132" y="connsiteY4132"/>
                </a:cxn>
                <a:cxn ang="0">
                  <a:pos x="connsiteX4133" y="connsiteY4133"/>
                </a:cxn>
                <a:cxn ang="0">
                  <a:pos x="connsiteX4134" y="connsiteY4134"/>
                </a:cxn>
                <a:cxn ang="0">
                  <a:pos x="connsiteX4135" y="connsiteY4135"/>
                </a:cxn>
                <a:cxn ang="0">
                  <a:pos x="connsiteX4136" y="connsiteY4136"/>
                </a:cxn>
                <a:cxn ang="0">
                  <a:pos x="connsiteX4137" y="connsiteY4137"/>
                </a:cxn>
                <a:cxn ang="0">
                  <a:pos x="connsiteX4138" y="connsiteY4138"/>
                </a:cxn>
                <a:cxn ang="0">
                  <a:pos x="connsiteX4139" y="connsiteY4139"/>
                </a:cxn>
                <a:cxn ang="0">
                  <a:pos x="connsiteX4140" y="connsiteY4140"/>
                </a:cxn>
                <a:cxn ang="0">
                  <a:pos x="connsiteX4141" y="connsiteY4141"/>
                </a:cxn>
                <a:cxn ang="0">
                  <a:pos x="connsiteX4142" y="connsiteY4142"/>
                </a:cxn>
                <a:cxn ang="0">
                  <a:pos x="connsiteX4143" y="connsiteY4143"/>
                </a:cxn>
                <a:cxn ang="0">
                  <a:pos x="connsiteX4144" y="connsiteY4144"/>
                </a:cxn>
                <a:cxn ang="0">
                  <a:pos x="connsiteX4145" y="connsiteY4145"/>
                </a:cxn>
                <a:cxn ang="0">
                  <a:pos x="connsiteX4146" y="connsiteY4146"/>
                </a:cxn>
                <a:cxn ang="0">
                  <a:pos x="connsiteX4147" y="connsiteY4147"/>
                </a:cxn>
                <a:cxn ang="0">
                  <a:pos x="connsiteX4148" y="connsiteY4148"/>
                </a:cxn>
                <a:cxn ang="0">
                  <a:pos x="connsiteX4149" y="connsiteY4149"/>
                </a:cxn>
                <a:cxn ang="0">
                  <a:pos x="connsiteX4150" y="connsiteY4150"/>
                </a:cxn>
                <a:cxn ang="0">
                  <a:pos x="connsiteX4151" y="connsiteY4151"/>
                </a:cxn>
                <a:cxn ang="0">
                  <a:pos x="connsiteX4152" y="connsiteY4152"/>
                </a:cxn>
                <a:cxn ang="0">
                  <a:pos x="connsiteX4153" y="connsiteY4153"/>
                </a:cxn>
                <a:cxn ang="0">
                  <a:pos x="connsiteX4154" y="connsiteY4154"/>
                </a:cxn>
                <a:cxn ang="0">
                  <a:pos x="connsiteX4155" y="connsiteY4155"/>
                </a:cxn>
                <a:cxn ang="0">
                  <a:pos x="connsiteX4156" y="connsiteY4156"/>
                </a:cxn>
                <a:cxn ang="0">
                  <a:pos x="connsiteX4157" y="connsiteY4157"/>
                </a:cxn>
                <a:cxn ang="0">
                  <a:pos x="connsiteX4158" y="connsiteY4158"/>
                </a:cxn>
                <a:cxn ang="0">
                  <a:pos x="connsiteX4159" y="connsiteY4159"/>
                </a:cxn>
                <a:cxn ang="0">
                  <a:pos x="connsiteX4160" y="connsiteY4160"/>
                </a:cxn>
                <a:cxn ang="0">
                  <a:pos x="connsiteX4161" y="connsiteY4161"/>
                </a:cxn>
                <a:cxn ang="0">
                  <a:pos x="connsiteX4162" y="connsiteY4162"/>
                </a:cxn>
                <a:cxn ang="0">
                  <a:pos x="connsiteX4163" y="connsiteY4163"/>
                </a:cxn>
                <a:cxn ang="0">
                  <a:pos x="connsiteX4164" y="connsiteY4164"/>
                </a:cxn>
                <a:cxn ang="0">
                  <a:pos x="connsiteX4165" y="connsiteY4165"/>
                </a:cxn>
                <a:cxn ang="0">
                  <a:pos x="connsiteX4166" y="connsiteY4166"/>
                </a:cxn>
                <a:cxn ang="0">
                  <a:pos x="connsiteX4167" y="connsiteY4167"/>
                </a:cxn>
                <a:cxn ang="0">
                  <a:pos x="connsiteX4168" y="connsiteY4168"/>
                </a:cxn>
                <a:cxn ang="0">
                  <a:pos x="connsiteX4169" y="connsiteY4169"/>
                </a:cxn>
                <a:cxn ang="0">
                  <a:pos x="connsiteX4170" y="connsiteY4170"/>
                </a:cxn>
                <a:cxn ang="0">
                  <a:pos x="connsiteX4171" y="connsiteY4171"/>
                </a:cxn>
                <a:cxn ang="0">
                  <a:pos x="connsiteX4172" y="connsiteY4172"/>
                </a:cxn>
                <a:cxn ang="0">
                  <a:pos x="connsiteX4173" y="connsiteY4173"/>
                </a:cxn>
                <a:cxn ang="0">
                  <a:pos x="connsiteX4174" y="connsiteY4174"/>
                </a:cxn>
                <a:cxn ang="0">
                  <a:pos x="connsiteX4175" y="connsiteY4175"/>
                </a:cxn>
                <a:cxn ang="0">
                  <a:pos x="connsiteX4176" y="connsiteY4176"/>
                </a:cxn>
                <a:cxn ang="0">
                  <a:pos x="connsiteX4177" y="connsiteY4177"/>
                </a:cxn>
                <a:cxn ang="0">
                  <a:pos x="connsiteX4178" y="connsiteY4178"/>
                </a:cxn>
                <a:cxn ang="0">
                  <a:pos x="connsiteX4179" y="connsiteY4179"/>
                </a:cxn>
                <a:cxn ang="0">
                  <a:pos x="connsiteX4180" y="connsiteY4180"/>
                </a:cxn>
                <a:cxn ang="0">
                  <a:pos x="connsiteX4181" y="connsiteY4181"/>
                </a:cxn>
                <a:cxn ang="0">
                  <a:pos x="connsiteX4182" y="connsiteY4182"/>
                </a:cxn>
                <a:cxn ang="0">
                  <a:pos x="connsiteX4183" y="connsiteY4183"/>
                </a:cxn>
                <a:cxn ang="0">
                  <a:pos x="connsiteX4184" y="connsiteY4184"/>
                </a:cxn>
                <a:cxn ang="0">
                  <a:pos x="connsiteX4185" y="connsiteY4185"/>
                </a:cxn>
                <a:cxn ang="0">
                  <a:pos x="connsiteX4186" y="connsiteY4186"/>
                </a:cxn>
                <a:cxn ang="0">
                  <a:pos x="connsiteX4187" y="connsiteY4187"/>
                </a:cxn>
                <a:cxn ang="0">
                  <a:pos x="connsiteX4188" y="connsiteY4188"/>
                </a:cxn>
                <a:cxn ang="0">
                  <a:pos x="connsiteX4189" y="connsiteY4189"/>
                </a:cxn>
                <a:cxn ang="0">
                  <a:pos x="connsiteX4190" y="connsiteY4190"/>
                </a:cxn>
                <a:cxn ang="0">
                  <a:pos x="connsiteX4191" y="connsiteY4191"/>
                </a:cxn>
                <a:cxn ang="0">
                  <a:pos x="connsiteX4192" y="connsiteY4192"/>
                </a:cxn>
                <a:cxn ang="0">
                  <a:pos x="connsiteX4193" y="connsiteY4193"/>
                </a:cxn>
                <a:cxn ang="0">
                  <a:pos x="connsiteX4194" y="connsiteY4194"/>
                </a:cxn>
                <a:cxn ang="0">
                  <a:pos x="connsiteX4195" y="connsiteY4195"/>
                </a:cxn>
                <a:cxn ang="0">
                  <a:pos x="connsiteX4196" y="connsiteY4196"/>
                </a:cxn>
                <a:cxn ang="0">
                  <a:pos x="connsiteX4197" y="connsiteY4197"/>
                </a:cxn>
                <a:cxn ang="0">
                  <a:pos x="connsiteX4198" y="connsiteY4198"/>
                </a:cxn>
                <a:cxn ang="0">
                  <a:pos x="connsiteX4199" y="connsiteY4199"/>
                </a:cxn>
                <a:cxn ang="0">
                  <a:pos x="connsiteX4200" y="connsiteY4200"/>
                </a:cxn>
                <a:cxn ang="0">
                  <a:pos x="connsiteX4201" y="connsiteY4201"/>
                </a:cxn>
                <a:cxn ang="0">
                  <a:pos x="connsiteX4202" y="connsiteY4202"/>
                </a:cxn>
                <a:cxn ang="0">
                  <a:pos x="connsiteX4203" y="connsiteY4203"/>
                </a:cxn>
                <a:cxn ang="0">
                  <a:pos x="connsiteX4204" y="connsiteY4204"/>
                </a:cxn>
                <a:cxn ang="0">
                  <a:pos x="connsiteX4205" y="connsiteY4205"/>
                </a:cxn>
                <a:cxn ang="0">
                  <a:pos x="connsiteX4206" y="connsiteY4206"/>
                </a:cxn>
                <a:cxn ang="0">
                  <a:pos x="connsiteX4207" y="connsiteY4207"/>
                </a:cxn>
                <a:cxn ang="0">
                  <a:pos x="connsiteX4208" y="connsiteY4208"/>
                </a:cxn>
                <a:cxn ang="0">
                  <a:pos x="connsiteX4209" y="connsiteY4209"/>
                </a:cxn>
                <a:cxn ang="0">
                  <a:pos x="connsiteX4210" y="connsiteY4210"/>
                </a:cxn>
                <a:cxn ang="0">
                  <a:pos x="connsiteX4211" y="connsiteY4211"/>
                </a:cxn>
                <a:cxn ang="0">
                  <a:pos x="connsiteX4212" y="connsiteY4212"/>
                </a:cxn>
                <a:cxn ang="0">
                  <a:pos x="connsiteX4213" y="connsiteY4213"/>
                </a:cxn>
                <a:cxn ang="0">
                  <a:pos x="connsiteX4214" y="connsiteY4214"/>
                </a:cxn>
                <a:cxn ang="0">
                  <a:pos x="connsiteX4215" y="connsiteY4215"/>
                </a:cxn>
                <a:cxn ang="0">
                  <a:pos x="connsiteX4216" y="connsiteY4216"/>
                </a:cxn>
                <a:cxn ang="0">
                  <a:pos x="connsiteX4217" y="connsiteY4217"/>
                </a:cxn>
                <a:cxn ang="0">
                  <a:pos x="connsiteX4218" y="connsiteY4218"/>
                </a:cxn>
                <a:cxn ang="0">
                  <a:pos x="connsiteX4219" y="connsiteY4219"/>
                </a:cxn>
                <a:cxn ang="0">
                  <a:pos x="connsiteX4220" y="connsiteY4220"/>
                </a:cxn>
                <a:cxn ang="0">
                  <a:pos x="connsiteX4221" y="connsiteY4221"/>
                </a:cxn>
                <a:cxn ang="0">
                  <a:pos x="connsiteX4222" y="connsiteY4222"/>
                </a:cxn>
                <a:cxn ang="0">
                  <a:pos x="connsiteX4223" y="connsiteY4223"/>
                </a:cxn>
                <a:cxn ang="0">
                  <a:pos x="connsiteX4224" y="connsiteY4224"/>
                </a:cxn>
                <a:cxn ang="0">
                  <a:pos x="connsiteX4225" y="connsiteY4225"/>
                </a:cxn>
                <a:cxn ang="0">
                  <a:pos x="connsiteX4226" y="connsiteY4226"/>
                </a:cxn>
                <a:cxn ang="0">
                  <a:pos x="connsiteX4227" y="connsiteY4227"/>
                </a:cxn>
                <a:cxn ang="0">
                  <a:pos x="connsiteX4228" y="connsiteY4228"/>
                </a:cxn>
                <a:cxn ang="0">
                  <a:pos x="connsiteX4229" y="connsiteY4229"/>
                </a:cxn>
                <a:cxn ang="0">
                  <a:pos x="connsiteX4230" y="connsiteY4230"/>
                </a:cxn>
                <a:cxn ang="0">
                  <a:pos x="connsiteX4231" y="connsiteY4231"/>
                </a:cxn>
                <a:cxn ang="0">
                  <a:pos x="connsiteX4232" y="connsiteY4232"/>
                </a:cxn>
                <a:cxn ang="0">
                  <a:pos x="connsiteX4233" y="connsiteY4233"/>
                </a:cxn>
                <a:cxn ang="0">
                  <a:pos x="connsiteX4234" y="connsiteY4234"/>
                </a:cxn>
                <a:cxn ang="0">
                  <a:pos x="connsiteX4235" y="connsiteY4235"/>
                </a:cxn>
                <a:cxn ang="0">
                  <a:pos x="connsiteX4236" y="connsiteY4236"/>
                </a:cxn>
                <a:cxn ang="0">
                  <a:pos x="connsiteX4237" y="connsiteY4237"/>
                </a:cxn>
                <a:cxn ang="0">
                  <a:pos x="connsiteX4238" y="connsiteY4238"/>
                </a:cxn>
                <a:cxn ang="0">
                  <a:pos x="connsiteX4239" y="connsiteY4239"/>
                </a:cxn>
                <a:cxn ang="0">
                  <a:pos x="connsiteX4240" y="connsiteY4240"/>
                </a:cxn>
                <a:cxn ang="0">
                  <a:pos x="connsiteX4241" y="connsiteY4241"/>
                </a:cxn>
                <a:cxn ang="0">
                  <a:pos x="connsiteX4242" y="connsiteY4242"/>
                </a:cxn>
                <a:cxn ang="0">
                  <a:pos x="connsiteX4243" y="connsiteY4243"/>
                </a:cxn>
                <a:cxn ang="0">
                  <a:pos x="connsiteX4244" y="connsiteY4244"/>
                </a:cxn>
                <a:cxn ang="0">
                  <a:pos x="connsiteX4245" y="connsiteY4245"/>
                </a:cxn>
                <a:cxn ang="0">
                  <a:pos x="connsiteX4246" y="connsiteY4246"/>
                </a:cxn>
                <a:cxn ang="0">
                  <a:pos x="connsiteX4247" y="connsiteY4247"/>
                </a:cxn>
                <a:cxn ang="0">
                  <a:pos x="connsiteX4248" y="connsiteY4248"/>
                </a:cxn>
                <a:cxn ang="0">
                  <a:pos x="connsiteX4249" y="connsiteY4249"/>
                </a:cxn>
                <a:cxn ang="0">
                  <a:pos x="connsiteX4250" y="connsiteY4250"/>
                </a:cxn>
                <a:cxn ang="0">
                  <a:pos x="connsiteX4251" y="connsiteY4251"/>
                </a:cxn>
                <a:cxn ang="0">
                  <a:pos x="connsiteX4252" y="connsiteY4252"/>
                </a:cxn>
                <a:cxn ang="0">
                  <a:pos x="connsiteX4253" y="connsiteY4253"/>
                </a:cxn>
                <a:cxn ang="0">
                  <a:pos x="connsiteX4254" y="connsiteY4254"/>
                </a:cxn>
                <a:cxn ang="0">
                  <a:pos x="connsiteX4255" y="connsiteY4255"/>
                </a:cxn>
                <a:cxn ang="0">
                  <a:pos x="connsiteX4256" y="connsiteY4256"/>
                </a:cxn>
                <a:cxn ang="0">
                  <a:pos x="connsiteX4257" y="connsiteY4257"/>
                </a:cxn>
                <a:cxn ang="0">
                  <a:pos x="connsiteX4258" y="connsiteY4258"/>
                </a:cxn>
                <a:cxn ang="0">
                  <a:pos x="connsiteX4259" y="connsiteY4259"/>
                </a:cxn>
                <a:cxn ang="0">
                  <a:pos x="connsiteX4260" y="connsiteY4260"/>
                </a:cxn>
                <a:cxn ang="0">
                  <a:pos x="connsiteX4261" y="connsiteY4261"/>
                </a:cxn>
                <a:cxn ang="0">
                  <a:pos x="connsiteX4262" y="connsiteY4262"/>
                </a:cxn>
                <a:cxn ang="0">
                  <a:pos x="connsiteX4263" y="connsiteY4263"/>
                </a:cxn>
                <a:cxn ang="0">
                  <a:pos x="connsiteX4264" y="connsiteY4264"/>
                </a:cxn>
                <a:cxn ang="0">
                  <a:pos x="connsiteX4265" y="connsiteY4265"/>
                </a:cxn>
                <a:cxn ang="0">
                  <a:pos x="connsiteX4266" y="connsiteY4266"/>
                </a:cxn>
                <a:cxn ang="0">
                  <a:pos x="connsiteX4267" y="connsiteY4267"/>
                </a:cxn>
                <a:cxn ang="0">
                  <a:pos x="connsiteX4268" y="connsiteY4268"/>
                </a:cxn>
                <a:cxn ang="0">
                  <a:pos x="connsiteX4269" y="connsiteY4269"/>
                </a:cxn>
                <a:cxn ang="0">
                  <a:pos x="connsiteX4270" y="connsiteY4270"/>
                </a:cxn>
                <a:cxn ang="0">
                  <a:pos x="connsiteX4271" y="connsiteY4271"/>
                </a:cxn>
                <a:cxn ang="0">
                  <a:pos x="connsiteX4272" y="connsiteY4272"/>
                </a:cxn>
                <a:cxn ang="0">
                  <a:pos x="connsiteX4273" y="connsiteY4273"/>
                </a:cxn>
                <a:cxn ang="0">
                  <a:pos x="connsiteX4274" y="connsiteY4274"/>
                </a:cxn>
                <a:cxn ang="0">
                  <a:pos x="connsiteX4275" y="connsiteY4275"/>
                </a:cxn>
                <a:cxn ang="0">
                  <a:pos x="connsiteX4276" y="connsiteY4276"/>
                </a:cxn>
                <a:cxn ang="0">
                  <a:pos x="connsiteX4277" y="connsiteY4277"/>
                </a:cxn>
                <a:cxn ang="0">
                  <a:pos x="connsiteX4278" y="connsiteY4278"/>
                </a:cxn>
                <a:cxn ang="0">
                  <a:pos x="connsiteX4279" y="connsiteY4279"/>
                </a:cxn>
                <a:cxn ang="0">
                  <a:pos x="connsiteX4280" y="connsiteY4280"/>
                </a:cxn>
                <a:cxn ang="0">
                  <a:pos x="connsiteX4281" y="connsiteY4281"/>
                </a:cxn>
                <a:cxn ang="0">
                  <a:pos x="connsiteX4282" y="connsiteY4282"/>
                </a:cxn>
                <a:cxn ang="0">
                  <a:pos x="connsiteX4283" y="connsiteY4283"/>
                </a:cxn>
                <a:cxn ang="0">
                  <a:pos x="connsiteX4284" y="connsiteY4284"/>
                </a:cxn>
                <a:cxn ang="0">
                  <a:pos x="connsiteX4285" y="connsiteY4285"/>
                </a:cxn>
                <a:cxn ang="0">
                  <a:pos x="connsiteX4286" y="connsiteY4286"/>
                </a:cxn>
                <a:cxn ang="0">
                  <a:pos x="connsiteX4287" y="connsiteY4287"/>
                </a:cxn>
                <a:cxn ang="0">
                  <a:pos x="connsiteX4288" y="connsiteY4288"/>
                </a:cxn>
                <a:cxn ang="0">
                  <a:pos x="connsiteX4289" y="connsiteY4289"/>
                </a:cxn>
                <a:cxn ang="0">
                  <a:pos x="connsiteX4290" y="connsiteY4290"/>
                </a:cxn>
                <a:cxn ang="0">
                  <a:pos x="connsiteX4291" y="connsiteY4291"/>
                </a:cxn>
                <a:cxn ang="0">
                  <a:pos x="connsiteX4292" y="connsiteY4292"/>
                </a:cxn>
                <a:cxn ang="0">
                  <a:pos x="connsiteX4293" y="connsiteY4293"/>
                </a:cxn>
                <a:cxn ang="0">
                  <a:pos x="connsiteX4294" y="connsiteY4294"/>
                </a:cxn>
                <a:cxn ang="0">
                  <a:pos x="connsiteX4295" y="connsiteY4295"/>
                </a:cxn>
                <a:cxn ang="0">
                  <a:pos x="connsiteX4296" y="connsiteY4296"/>
                </a:cxn>
                <a:cxn ang="0">
                  <a:pos x="connsiteX4297" y="connsiteY4297"/>
                </a:cxn>
                <a:cxn ang="0">
                  <a:pos x="connsiteX4298" y="connsiteY4298"/>
                </a:cxn>
                <a:cxn ang="0">
                  <a:pos x="connsiteX4299" y="connsiteY4299"/>
                </a:cxn>
                <a:cxn ang="0">
                  <a:pos x="connsiteX4300" y="connsiteY4300"/>
                </a:cxn>
                <a:cxn ang="0">
                  <a:pos x="connsiteX4301" y="connsiteY4301"/>
                </a:cxn>
                <a:cxn ang="0">
                  <a:pos x="connsiteX4302" y="connsiteY4302"/>
                </a:cxn>
                <a:cxn ang="0">
                  <a:pos x="connsiteX4303" y="connsiteY4303"/>
                </a:cxn>
                <a:cxn ang="0">
                  <a:pos x="connsiteX4304" y="connsiteY4304"/>
                </a:cxn>
                <a:cxn ang="0">
                  <a:pos x="connsiteX4305" y="connsiteY4305"/>
                </a:cxn>
                <a:cxn ang="0">
                  <a:pos x="connsiteX4306" y="connsiteY4306"/>
                </a:cxn>
                <a:cxn ang="0">
                  <a:pos x="connsiteX4307" y="connsiteY4307"/>
                </a:cxn>
                <a:cxn ang="0">
                  <a:pos x="connsiteX4308" y="connsiteY4308"/>
                </a:cxn>
                <a:cxn ang="0">
                  <a:pos x="connsiteX4309" y="connsiteY4309"/>
                </a:cxn>
                <a:cxn ang="0">
                  <a:pos x="connsiteX4310" y="connsiteY4310"/>
                </a:cxn>
                <a:cxn ang="0">
                  <a:pos x="connsiteX4311" y="connsiteY4311"/>
                </a:cxn>
                <a:cxn ang="0">
                  <a:pos x="connsiteX4312" y="connsiteY4312"/>
                </a:cxn>
                <a:cxn ang="0">
                  <a:pos x="connsiteX4313" y="connsiteY4313"/>
                </a:cxn>
                <a:cxn ang="0">
                  <a:pos x="connsiteX4314" y="connsiteY4314"/>
                </a:cxn>
                <a:cxn ang="0">
                  <a:pos x="connsiteX4315" y="connsiteY4315"/>
                </a:cxn>
                <a:cxn ang="0">
                  <a:pos x="connsiteX4316" y="connsiteY4316"/>
                </a:cxn>
                <a:cxn ang="0">
                  <a:pos x="connsiteX4317" y="connsiteY4317"/>
                </a:cxn>
                <a:cxn ang="0">
                  <a:pos x="connsiteX4318" y="connsiteY4318"/>
                </a:cxn>
                <a:cxn ang="0">
                  <a:pos x="connsiteX4319" y="connsiteY4319"/>
                </a:cxn>
                <a:cxn ang="0">
                  <a:pos x="connsiteX4320" y="connsiteY4320"/>
                </a:cxn>
                <a:cxn ang="0">
                  <a:pos x="connsiteX4321" y="connsiteY4321"/>
                </a:cxn>
                <a:cxn ang="0">
                  <a:pos x="connsiteX4322" y="connsiteY4322"/>
                </a:cxn>
                <a:cxn ang="0">
                  <a:pos x="connsiteX4323" y="connsiteY4323"/>
                </a:cxn>
                <a:cxn ang="0">
                  <a:pos x="connsiteX4324" y="connsiteY4324"/>
                </a:cxn>
                <a:cxn ang="0">
                  <a:pos x="connsiteX4325" y="connsiteY4325"/>
                </a:cxn>
                <a:cxn ang="0">
                  <a:pos x="connsiteX4326" y="connsiteY4326"/>
                </a:cxn>
                <a:cxn ang="0">
                  <a:pos x="connsiteX4327" y="connsiteY4327"/>
                </a:cxn>
                <a:cxn ang="0">
                  <a:pos x="connsiteX4328" y="connsiteY4328"/>
                </a:cxn>
                <a:cxn ang="0">
                  <a:pos x="connsiteX4329" y="connsiteY4329"/>
                </a:cxn>
                <a:cxn ang="0">
                  <a:pos x="connsiteX4330" y="connsiteY4330"/>
                </a:cxn>
                <a:cxn ang="0">
                  <a:pos x="connsiteX4331" y="connsiteY4331"/>
                </a:cxn>
                <a:cxn ang="0">
                  <a:pos x="connsiteX4332" y="connsiteY4332"/>
                </a:cxn>
                <a:cxn ang="0">
                  <a:pos x="connsiteX4333" y="connsiteY4333"/>
                </a:cxn>
                <a:cxn ang="0">
                  <a:pos x="connsiteX4334" y="connsiteY4334"/>
                </a:cxn>
                <a:cxn ang="0">
                  <a:pos x="connsiteX4335" y="connsiteY4335"/>
                </a:cxn>
                <a:cxn ang="0">
                  <a:pos x="connsiteX4336" y="connsiteY4336"/>
                </a:cxn>
                <a:cxn ang="0">
                  <a:pos x="connsiteX4337" y="connsiteY4337"/>
                </a:cxn>
                <a:cxn ang="0">
                  <a:pos x="connsiteX4338" y="connsiteY4338"/>
                </a:cxn>
                <a:cxn ang="0">
                  <a:pos x="connsiteX4339" y="connsiteY4339"/>
                </a:cxn>
                <a:cxn ang="0">
                  <a:pos x="connsiteX4340" y="connsiteY4340"/>
                </a:cxn>
                <a:cxn ang="0">
                  <a:pos x="connsiteX4341" y="connsiteY4341"/>
                </a:cxn>
                <a:cxn ang="0">
                  <a:pos x="connsiteX4342" y="connsiteY4342"/>
                </a:cxn>
                <a:cxn ang="0">
                  <a:pos x="connsiteX4343" y="connsiteY4343"/>
                </a:cxn>
                <a:cxn ang="0">
                  <a:pos x="connsiteX4344" y="connsiteY4344"/>
                </a:cxn>
                <a:cxn ang="0">
                  <a:pos x="connsiteX4345" y="connsiteY4345"/>
                </a:cxn>
                <a:cxn ang="0">
                  <a:pos x="connsiteX4346" y="connsiteY4346"/>
                </a:cxn>
                <a:cxn ang="0">
                  <a:pos x="connsiteX4347" y="connsiteY4347"/>
                </a:cxn>
                <a:cxn ang="0">
                  <a:pos x="connsiteX4348" y="connsiteY4348"/>
                </a:cxn>
                <a:cxn ang="0">
                  <a:pos x="connsiteX4349" y="connsiteY4349"/>
                </a:cxn>
                <a:cxn ang="0">
                  <a:pos x="connsiteX4350" y="connsiteY4350"/>
                </a:cxn>
                <a:cxn ang="0">
                  <a:pos x="connsiteX4351" y="connsiteY4351"/>
                </a:cxn>
                <a:cxn ang="0">
                  <a:pos x="connsiteX4352" y="connsiteY4352"/>
                </a:cxn>
                <a:cxn ang="0">
                  <a:pos x="connsiteX4353" y="connsiteY4353"/>
                </a:cxn>
                <a:cxn ang="0">
                  <a:pos x="connsiteX4354" y="connsiteY4354"/>
                </a:cxn>
                <a:cxn ang="0">
                  <a:pos x="connsiteX4355" y="connsiteY4355"/>
                </a:cxn>
                <a:cxn ang="0">
                  <a:pos x="connsiteX4356" y="connsiteY4356"/>
                </a:cxn>
                <a:cxn ang="0">
                  <a:pos x="connsiteX4357" y="connsiteY4357"/>
                </a:cxn>
                <a:cxn ang="0">
                  <a:pos x="connsiteX4358" y="connsiteY4358"/>
                </a:cxn>
                <a:cxn ang="0">
                  <a:pos x="connsiteX4359" y="connsiteY4359"/>
                </a:cxn>
                <a:cxn ang="0">
                  <a:pos x="connsiteX4360" y="connsiteY4360"/>
                </a:cxn>
                <a:cxn ang="0">
                  <a:pos x="connsiteX4361" y="connsiteY4361"/>
                </a:cxn>
                <a:cxn ang="0">
                  <a:pos x="connsiteX4362" y="connsiteY4362"/>
                </a:cxn>
                <a:cxn ang="0">
                  <a:pos x="connsiteX4363" y="connsiteY4363"/>
                </a:cxn>
                <a:cxn ang="0">
                  <a:pos x="connsiteX4364" y="connsiteY4364"/>
                </a:cxn>
                <a:cxn ang="0">
                  <a:pos x="connsiteX4365" y="connsiteY4365"/>
                </a:cxn>
                <a:cxn ang="0">
                  <a:pos x="connsiteX4366" y="connsiteY4366"/>
                </a:cxn>
                <a:cxn ang="0">
                  <a:pos x="connsiteX4367" y="connsiteY4367"/>
                </a:cxn>
                <a:cxn ang="0">
                  <a:pos x="connsiteX4368" y="connsiteY4368"/>
                </a:cxn>
                <a:cxn ang="0">
                  <a:pos x="connsiteX4369" y="connsiteY4369"/>
                </a:cxn>
                <a:cxn ang="0">
                  <a:pos x="connsiteX4370" y="connsiteY4370"/>
                </a:cxn>
                <a:cxn ang="0">
                  <a:pos x="connsiteX4371" y="connsiteY4371"/>
                </a:cxn>
                <a:cxn ang="0">
                  <a:pos x="connsiteX4372" y="connsiteY4372"/>
                </a:cxn>
                <a:cxn ang="0">
                  <a:pos x="connsiteX4373" y="connsiteY4373"/>
                </a:cxn>
                <a:cxn ang="0">
                  <a:pos x="connsiteX4374" y="connsiteY4374"/>
                </a:cxn>
                <a:cxn ang="0">
                  <a:pos x="connsiteX4375" y="connsiteY4375"/>
                </a:cxn>
                <a:cxn ang="0">
                  <a:pos x="connsiteX4376" y="connsiteY4376"/>
                </a:cxn>
                <a:cxn ang="0">
                  <a:pos x="connsiteX4377" y="connsiteY4377"/>
                </a:cxn>
                <a:cxn ang="0">
                  <a:pos x="connsiteX4378" y="connsiteY4378"/>
                </a:cxn>
                <a:cxn ang="0">
                  <a:pos x="connsiteX4379" y="connsiteY4379"/>
                </a:cxn>
                <a:cxn ang="0">
                  <a:pos x="connsiteX4380" y="connsiteY4380"/>
                </a:cxn>
                <a:cxn ang="0">
                  <a:pos x="connsiteX4381" y="connsiteY4381"/>
                </a:cxn>
                <a:cxn ang="0">
                  <a:pos x="connsiteX4382" y="connsiteY4382"/>
                </a:cxn>
                <a:cxn ang="0">
                  <a:pos x="connsiteX4383" y="connsiteY4383"/>
                </a:cxn>
                <a:cxn ang="0">
                  <a:pos x="connsiteX4384" y="connsiteY4384"/>
                </a:cxn>
                <a:cxn ang="0">
                  <a:pos x="connsiteX4385" y="connsiteY4385"/>
                </a:cxn>
                <a:cxn ang="0">
                  <a:pos x="connsiteX4386" y="connsiteY4386"/>
                </a:cxn>
                <a:cxn ang="0">
                  <a:pos x="connsiteX4387" y="connsiteY4387"/>
                </a:cxn>
                <a:cxn ang="0">
                  <a:pos x="connsiteX4388" y="connsiteY4388"/>
                </a:cxn>
                <a:cxn ang="0">
                  <a:pos x="connsiteX4389" y="connsiteY4389"/>
                </a:cxn>
                <a:cxn ang="0">
                  <a:pos x="connsiteX4390" y="connsiteY4390"/>
                </a:cxn>
                <a:cxn ang="0">
                  <a:pos x="connsiteX4391" y="connsiteY4391"/>
                </a:cxn>
                <a:cxn ang="0">
                  <a:pos x="connsiteX4392" y="connsiteY4392"/>
                </a:cxn>
                <a:cxn ang="0">
                  <a:pos x="connsiteX4393" y="connsiteY4393"/>
                </a:cxn>
                <a:cxn ang="0">
                  <a:pos x="connsiteX4394" y="connsiteY4394"/>
                </a:cxn>
                <a:cxn ang="0">
                  <a:pos x="connsiteX4395" y="connsiteY4395"/>
                </a:cxn>
                <a:cxn ang="0">
                  <a:pos x="connsiteX4396" y="connsiteY4396"/>
                </a:cxn>
                <a:cxn ang="0">
                  <a:pos x="connsiteX4397" y="connsiteY4397"/>
                </a:cxn>
                <a:cxn ang="0">
                  <a:pos x="connsiteX4398" y="connsiteY4398"/>
                </a:cxn>
                <a:cxn ang="0">
                  <a:pos x="connsiteX4399" y="connsiteY4399"/>
                </a:cxn>
                <a:cxn ang="0">
                  <a:pos x="connsiteX4400" y="connsiteY4400"/>
                </a:cxn>
                <a:cxn ang="0">
                  <a:pos x="connsiteX4401" y="connsiteY4401"/>
                </a:cxn>
                <a:cxn ang="0">
                  <a:pos x="connsiteX4402" y="connsiteY4402"/>
                </a:cxn>
                <a:cxn ang="0">
                  <a:pos x="connsiteX4403" y="connsiteY4403"/>
                </a:cxn>
                <a:cxn ang="0">
                  <a:pos x="connsiteX4404" y="connsiteY4404"/>
                </a:cxn>
                <a:cxn ang="0">
                  <a:pos x="connsiteX4405" y="connsiteY4405"/>
                </a:cxn>
                <a:cxn ang="0">
                  <a:pos x="connsiteX4406" y="connsiteY4406"/>
                </a:cxn>
                <a:cxn ang="0">
                  <a:pos x="connsiteX4407" y="connsiteY4407"/>
                </a:cxn>
                <a:cxn ang="0">
                  <a:pos x="connsiteX4408" y="connsiteY4408"/>
                </a:cxn>
                <a:cxn ang="0">
                  <a:pos x="connsiteX4409" y="connsiteY4409"/>
                </a:cxn>
                <a:cxn ang="0">
                  <a:pos x="connsiteX4410" y="connsiteY4410"/>
                </a:cxn>
                <a:cxn ang="0">
                  <a:pos x="connsiteX4411" y="connsiteY4411"/>
                </a:cxn>
                <a:cxn ang="0">
                  <a:pos x="connsiteX4412" y="connsiteY4412"/>
                </a:cxn>
                <a:cxn ang="0">
                  <a:pos x="connsiteX4413" y="connsiteY4413"/>
                </a:cxn>
                <a:cxn ang="0">
                  <a:pos x="connsiteX4414" y="connsiteY4414"/>
                </a:cxn>
                <a:cxn ang="0">
                  <a:pos x="connsiteX4415" y="connsiteY4415"/>
                </a:cxn>
                <a:cxn ang="0">
                  <a:pos x="connsiteX4416" y="connsiteY4416"/>
                </a:cxn>
                <a:cxn ang="0">
                  <a:pos x="connsiteX4417" y="connsiteY4417"/>
                </a:cxn>
                <a:cxn ang="0">
                  <a:pos x="connsiteX4418" y="connsiteY4418"/>
                </a:cxn>
                <a:cxn ang="0">
                  <a:pos x="connsiteX4419" y="connsiteY4419"/>
                </a:cxn>
                <a:cxn ang="0">
                  <a:pos x="connsiteX4420" y="connsiteY4420"/>
                </a:cxn>
                <a:cxn ang="0">
                  <a:pos x="connsiteX4421" y="connsiteY4421"/>
                </a:cxn>
                <a:cxn ang="0">
                  <a:pos x="connsiteX4422" y="connsiteY4422"/>
                </a:cxn>
                <a:cxn ang="0">
                  <a:pos x="connsiteX4423" y="connsiteY4423"/>
                </a:cxn>
                <a:cxn ang="0">
                  <a:pos x="connsiteX4424" y="connsiteY4424"/>
                </a:cxn>
                <a:cxn ang="0">
                  <a:pos x="connsiteX4425" y="connsiteY4425"/>
                </a:cxn>
                <a:cxn ang="0">
                  <a:pos x="connsiteX4426" y="connsiteY4426"/>
                </a:cxn>
                <a:cxn ang="0">
                  <a:pos x="connsiteX4427" y="connsiteY4427"/>
                </a:cxn>
                <a:cxn ang="0">
                  <a:pos x="connsiteX4428" y="connsiteY4428"/>
                </a:cxn>
                <a:cxn ang="0">
                  <a:pos x="connsiteX4429" y="connsiteY4429"/>
                </a:cxn>
                <a:cxn ang="0">
                  <a:pos x="connsiteX4430" y="connsiteY4430"/>
                </a:cxn>
                <a:cxn ang="0">
                  <a:pos x="connsiteX4431" y="connsiteY4431"/>
                </a:cxn>
                <a:cxn ang="0">
                  <a:pos x="connsiteX4432" y="connsiteY4432"/>
                </a:cxn>
                <a:cxn ang="0">
                  <a:pos x="connsiteX4433" y="connsiteY4433"/>
                </a:cxn>
                <a:cxn ang="0">
                  <a:pos x="connsiteX4434" y="connsiteY4434"/>
                </a:cxn>
                <a:cxn ang="0">
                  <a:pos x="connsiteX4435" y="connsiteY4435"/>
                </a:cxn>
                <a:cxn ang="0">
                  <a:pos x="connsiteX4436" y="connsiteY4436"/>
                </a:cxn>
                <a:cxn ang="0">
                  <a:pos x="connsiteX4437" y="connsiteY4437"/>
                </a:cxn>
                <a:cxn ang="0">
                  <a:pos x="connsiteX4438" y="connsiteY4438"/>
                </a:cxn>
                <a:cxn ang="0">
                  <a:pos x="connsiteX4439" y="connsiteY4439"/>
                </a:cxn>
                <a:cxn ang="0">
                  <a:pos x="connsiteX4440" y="connsiteY4440"/>
                </a:cxn>
                <a:cxn ang="0">
                  <a:pos x="connsiteX4441" y="connsiteY4441"/>
                </a:cxn>
                <a:cxn ang="0">
                  <a:pos x="connsiteX4442" y="connsiteY4442"/>
                </a:cxn>
                <a:cxn ang="0">
                  <a:pos x="connsiteX4443" y="connsiteY4443"/>
                </a:cxn>
                <a:cxn ang="0">
                  <a:pos x="connsiteX4444" y="connsiteY4444"/>
                </a:cxn>
                <a:cxn ang="0">
                  <a:pos x="connsiteX4445" y="connsiteY4445"/>
                </a:cxn>
                <a:cxn ang="0">
                  <a:pos x="connsiteX4446" y="connsiteY4446"/>
                </a:cxn>
                <a:cxn ang="0">
                  <a:pos x="connsiteX4447" y="connsiteY4447"/>
                </a:cxn>
                <a:cxn ang="0">
                  <a:pos x="connsiteX4448" y="connsiteY4448"/>
                </a:cxn>
                <a:cxn ang="0">
                  <a:pos x="connsiteX4449" y="connsiteY4449"/>
                </a:cxn>
                <a:cxn ang="0">
                  <a:pos x="connsiteX4450" y="connsiteY4450"/>
                </a:cxn>
                <a:cxn ang="0">
                  <a:pos x="connsiteX4451" y="connsiteY4451"/>
                </a:cxn>
                <a:cxn ang="0">
                  <a:pos x="connsiteX4452" y="connsiteY4452"/>
                </a:cxn>
                <a:cxn ang="0">
                  <a:pos x="connsiteX4453" y="connsiteY4453"/>
                </a:cxn>
                <a:cxn ang="0">
                  <a:pos x="connsiteX4454" y="connsiteY4454"/>
                </a:cxn>
                <a:cxn ang="0">
                  <a:pos x="connsiteX4455" y="connsiteY4455"/>
                </a:cxn>
                <a:cxn ang="0">
                  <a:pos x="connsiteX4456" y="connsiteY4456"/>
                </a:cxn>
                <a:cxn ang="0">
                  <a:pos x="connsiteX4457" y="connsiteY4457"/>
                </a:cxn>
                <a:cxn ang="0">
                  <a:pos x="connsiteX4458" y="connsiteY4458"/>
                </a:cxn>
                <a:cxn ang="0">
                  <a:pos x="connsiteX4459" y="connsiteY4459"/>
                </a:cxn>
                <a:cxn ang="0">
                  <a:pos x="connsiteX4460" y="connsiteY4460"/>
                </a:cxn>
                <a:cxn ang="0">
                  <a:pos x="connsiteX4461" y="connsiteY4461"/>
                </a:cxn>
                <a:cxn ang="0">
                  <a:pos x="connsiteX4462" y="connsiteY4462"/>
                </a:cxn>
                <a:cxn ang="0">
                  <a:pos x="connsiteX4463" y="connsiteY4463"/>
                </a:cxn>
                <a:cxn ang="0">
                  <a:pos x="connsiteX4464" y="connsiteY4464"/>
                </a:cxn>
                <a:cxn ang="0">
                  <a:pos x="connsiteX4465" y="connsiteY4465"/>
                </a:cxn>
                <a:cxn ang="0">
                  <a:pos x="connsiteX4466" y="connsiteY4466"/>
                </a:cxn>
                <a:cxn ang="0">
                  <a:pos x="connsiteX4467" y="connsiteY4467"/>
                </a:cxn>
                <a:cxn ang="0">
                  <a:pos x="connsiteX4468" y="connsiteY4468"/>
                </a:cxn>
                <a:cxn ang="0">
                  <a:pos x="connsiteX4469" y="connsiteY4469"/>
                </a:cxn>
                <a:cxn ang="0">
                  <a:pos x="connsiteX4470" y="connsiteY4470"/>
                </a:cxn>
                <a:cxn ang="0">
                  <a:pos x="connsiteX4471" y="connsiteY4471"/>
                </a:cxn>
                <a:cxn ang="0">
                  <a:pos x="connsiteX4472" y="connsiteY4472"/>
                </a:cxn>
                <a:cxn ang="0">
                  <a:pos x="connsiteX4473" y="connsiteY4473"/>
                </a:cxn>
                <a:cxn ang="0">
                  <a:pos x="connsiteX4474" y="connsiteY4474"/>
                </a:cxn>
                <a:cxn ang="0">
                  <a:pos x="connsiteX4475" y="connsiteY4475"/>
                </a:cxn>
                <a:cxn ang="0">
                  <a:pos x="connsiteX4476" y="connsiteY4476"/>
                </a:cxn>
                <a:cxn ang="0">
                  <a:pos x="connsiteX4477" y="connsiteY4477"/>
                </a:cxn>
                <a:cxn ang="0">
                  <a:pos x="connsiteX4478" y="connsiteY4478"/>
                </a:cxn>
                <a:cxn ang="0">
                  <a:pos x="connsiteX4479" y="connsiteY4479"/>
                </a:cxn>
                <a:cxn ang="0">
                  <a:pos x="connsiteX4480" y="connsiteY4480"/>
                </a:cxn>
                <a:cxn ang="0">
                  <a:pos x="connsiteX4481" y="connsiteY4481"/>
                </a:cxn>
                <a:cxn ang="0">
                  <a:pos x="connsiteX4482" y="connsiteY4482"/>
                </a:cxn>
                <a:cxn ang="0">
                  <a:pos x="connsiteX4483" y="connsiteY4483"/>
                </a:cxn>
                <a:cxn ang="0">
                  <a:pos x="connsiteX4484" y="connsiteY4484"/>
                </a:cxn>
                <a:cxn ang="0">
                  <a:pos x="connsiteX4485" y="connsiteY4485"/>
                </a:cxn>
                <a:cxn ang="0">
                  <a:pos x="connsiteX4486" y="connsiteY4486"/>
                </a:cxn>
                <a:cxn ang="0">
                  <a:pos x="connsiteX4487" y="connsiteY4487"/>
                </a:cxn>
                <a:cxn ang="0">
                  <a:pos x="connsiteX4488" y="connsiteY4488"/>
                </a:cxn>
                <a:cxn ang="0">
                  <a:pos x="connsiteX4489" y="connsiteY4489"/>
                </a:cxn>
                <a:cxn ang="0">
                  <a:pos x="connsiteX4490" y="connsiteY4490"/>
                </a:cxn>
                <a:cxn ang="0">
                  <a:pos x="connsiteX4491" y="connsiteY4491"/>
                </a:cxn>
                <a:cxn ang="0">
                  <a:pos x="connsiteX4492" y="connsiteY4492"/>
                </a:cxn>
                <a:cxn ang="0">
                  <a:pos x="connsiteX4493" y="connsiteY4493"/>
                </a:cxn>
                <a:cxn ang="0">
                  <a:pos x="connsiteX4494" y="connsiteY4494"/>
                </a:cxn>
                <a:cxn ang="0">
                  <a:pos x="connsiteX4495" y="connsiteY4495"/>
                </a:cxn>
                <a:cxn ang="0">
                  <a:pos x="connsiteX4496" y="connsiteY4496"/>
                </a:cxn>
                <a:cxn ang="0">
                  <a:pos x="connsiteX4497" y="connsiteY4497"/>
                </a:cxn>
                <a:cxn ang="0">
                  <a:pos x="connsiteX4498" y="connsiteY4498"/>
                </a:cxn>
                <a:cxn ang="0">
                  <a:pos x="connsiteX4499" y="connsiteY4499"/>
                </a:cxn>
                <a:cxn ang="0">
                  <a:pos x="connsiteX4500" y="connsiteY4500"/>
                </a:cxn>
                <a:cxn ang="0">
                  <a:pos x="connsiteX4501" y="connsiteY4501"/>
                </a:cxn>
                <a:cxn ang="0">
                  <a:pos x="connsiteX4502" y="connsiteY4502"/>
                </a:cxn>
                <a:cxn ang="0">
                  <a:pos x="connsiteX4503" y="connsiteY4503"/>
                </a:cxn>
                <a:cxn ang="0">
                  <a:pos x="connsiteX4504" y="connsiteY4504"/>
                </a:cxn>
                <a:cxn ang="0">
                  <a:pos x="connsiteX4505" y="connsiteY4505"/>
                </a:cxn>
                <a:cxn ang="0">
                  <a:pos x="connsiteX4506" y="connsiteY4506"/>
                </a:cxn>
                <a:cxn ang="0">
                  <a:pos x="connsiteX4507" y="connsiteY4507"/>
                </a:cxn>
                <a:cxn ang="0">
                  <a:pos x="connsiteX4508" y="connsiteY4508"/>
                </a:cxn>
                <a:cxn ang="0">
                  <a:pos x="connsiteX4509" y="connsiteY4509"/>
                </a:cxn>
                <a:cxn ang="0">
                  <a:pos x="connsiteX4510" y="connsiteY4510"/>
                </a:cxn>
                <a:cxn ang="0">
                  <a:pos x="connsiteX4511" y="connsiteY4511"/>
                </a:cxn>
                <a:cxn ang="0">
                  <a:pos x="connsiteX4512" y="connsiteY4512"/>
                </a:cxn>
                <a:cxn ang="0">
                  <a:pos x="connsiteX4513" y="connsiteY4513"/>
                </a:cxn>
                <a:cxn ang="0">
                  <a:pos x="connsiteX4514" y="connsiteY4514"/>
                </a:cxn>
                <a:cxn ang="0">
                  <a:pos x="connsiteX4515" y="connsiteY4515"/>
                </a:cxn>
                <a:cxn ang="0">
                  <a:pos x="connsiteX4516" y="connsiteY4516"/>
                </a:cxn>
                <a:cxn ang="0">
                  <a:pos x="connsiteX4517" y="connsiteY4517"/>
                </a:cxn>
                <a:cxn ang="0">
                  <a:pos x="connsiteX4518" y="connsiteY4518"/>
                </a:cxn>
                <a:cxn ang="0">
                  <a:pos x="connsiteX4519" y="connsiteY4519"/>
                </a:cxn>
                <a:cxn ang="0">
                  <a:pos x="connsiteX4520" y="connsiteY4520"/>
                </a:cxn>
                <a:cxn ang="0">
                  <a:pos x="connsiteX4521" y="connsiteY4521"/>
                </a:cxn>
                <a:cxn ang="0">
                  <a:pos x="connsiteX4522" y="connsiteY4522"/>
                </a:cxn>
                <a:cxn ang="0">
                  <a:pos x="connsiteX4523" y="connsiteY4523"/>
                </a:cxn>
                <a:cxn ang="0">
                  <a:pos x="connsiteX4524" y="connsiteY4524"/>
                </a:cxn>
                <a:cxn ang="0">
                  <a:pos x="connsiteX4525" y="connsiteY4525"/>
                </a:cxn>
                <a:cxn ang="0">
                  <a:pos x="connsiteX4526" y="connsiteY4526"/>
                </a:cxn>
                <a:cxn ang="0">
                  <a:pos x="connsiteX4527" y="connsiteY4527"/>
                </a:cxn>
                <a:cxn ang="0">
                  <a:pos x="connsiteX4528" y="connsiteY4528"/>
                </a:cxn>
                <a:cxn ang="0">
                  <a:pos x="connsiteX4529" y="connsiteY4529"/>
                </a:cxn>
                <a:cxn ang="0">
                  <a:pos x="connsiteX4530" y="connsiteY4530"/>
                </a:cxn>
                <a:cxn ang="0">
                  <a:pos x="connsiteX4531" y="connsiteY4531"/>
                </a:cxn>
                <a:cxn ang="0">
                  <a:pos x="connsiteX4532" y="connsiteY4532"/>
                </a:cxn>
                <a:cxn ang="0">
                  <a:pos x="connsiteX4533" y="connsiteY4533"/>
                </a:cxn>
                <a:cxn ang="0">
                  <a:pos x="connsiteX4534" y="connsiteY4534"/>
                </a:cxn>
                <a:cxn ang="0">
                  <a:pos x="connsiteX4535" y="connsiteY4535"/>
                </a:cxn>
                <a:cxn ang="0">
                  <a:pos x="connsiteX4536" y="connsiteY4536"/>
                </a:cxn>
                <a:cxn ang="0">
                  <a:pos x="connsiteX4537" y="connsiteY4537"/>
                </a:cxn>
                <a:cxn ang="0">
                  <a:pos x="connsiteX4538" y="connsiteY4538"/>
                </a:cxn>
                <a:cxn ang="0">
                  <a:pos x="connsiteX4539" y="connsiteY4539"/>
                </a:cxn>
                <a:cxn ang="0">
                  <a:pos x="connsiteX4540" y="connsiteY4540"/>
                </a:cxn>
                <a:cxn ang="0">
                  <a:pos x="connsiteX4541" y="connsiteY4541"/>
                </a:cxn>
                <a:cxn ang="0">
                  <a:pos x="connsiteX4542" y="connsiteY4542"/>
                </a:cxn>
                <a:cxn ang="0">
                  <a:pos x="connsiteX4543" y="connsiteY4543"/>
                </a:cxn>
                <a:cxn ang="0">
                  <a:pos x="connsiteX4544" y="connsiteY4544"/>
                </a:cxn>
                <a:cxn ang="0">
                  <a:pos x="connsiteX4545" y="connsiteY4545"/>
                </a:cxn>
                <a:cxn ang="0">
                  <a:pos x="connsiteX4546" y="connsiteY4546"/>
                </a:cxn>
                <a:cxn ang="0">
                  <a:pos x="connsiteX4547" y="connsiteY4547"/>
                </a:cxn>
                <a:cxn ang="0">
                  <a:pos x="connsiteX4548" y="connsiteY4548"/>
                </a:cxn>
                <a:cxn ang="0">
                  <a:pos x="connsiteX4549" y="connsiteY4549"/>
                </a:cxn>
                <a:cxn ang="0">
                  <a:pos x="connsiteX4550" y="connsiteY4550"/>
                </a:cxn>
                <a:cxn ang="0">
                  <a:pos x="connsiteX4551" y="connsiteY4551"/>
                </a:cxn>
                <a:cxn ang="0">
                  <a:pos x="connsiteX4552" y="connsiteY4552"/>
                </a:cxn>
                <a:cxn ang="0">
                  <a:pos x="connsiteX4553" y="connsiteY4553"/>
                </a:cxn>
                <a:cxn ang="0">
                  <a:pos x="connsiteX4554" y="connsiteY4554"/>
                </a:cxn>
                <a:cxn ang="0">
                  <a:pos x="connsiteX4555" y="connsiteY4555"/>
                </a:cxn>
                <a:cxn ang="0">
                  <a:pos x="connsiteX4556" y="connsiteY4556"/>
                </a:cxn>
                <a:cxn ang="0">
                  <a:pos x="connsiteX4557" y="connsiteY4557"/>
                </a:cxn>
                <a:cxn ang="0">
                  <a:pos x="connsiteX4558" y="connsiteY4558"/>
                </a:cxn>
                <a:cxn ang="0">
                  <a:pos x="connsiteX4559" y="connsiteY4559"/>
                </a:cxn>
                <a:cxn ang="0">
                  <a:pos x="connsiteX4560" y="connsiteY4560"/>
                </a:cxn>
                <a:cxn ang="0">
                  <a:pos x="connsiteX4561" y="connsiteY4561"/>
                </a:cxn>
                <a:cxn ang="0">
                  <a:pos x="connsiteX4562" y="connsiteY4562"/>
                </a:cxn>
                <a:cxn ang="0">
                  <a:pos x="connsiteX4563" y="connsiteY4563"/>
                </a:cxn>
                <a:cxn ang="0">
                  <a:pos x="connsiteX4564" y="connsiteY4564"/>
                </a:cxn>
                <a:cxn ang="0">
                  <a:pos x="connsiteX4565" y="connsiteY4565"/>
                </a:cxn>
                <a:cxn ang="0">
                  <a:pos x="connsiteX4566" y="connsiteY4566"/>
                </a:cxn>
                <a:cxn ang="0">
                  <a:pos x="connsiteX4567" y="connsiteY4567"/>
                </a:cxn>
                <a:cxn ang="0">
                  <a:pos x="connsiteX4568" y="connsiteY4568"/>
                </a:cxn>
                <a:cxn ang="0">
                  <a:pos x="connsiteX4569" y="connsiteY4569"/>
                </a:cxn>
                <a:cxn ang="0">
                  <a:pos x="connsiteX4570" y="connsiteY4570"/>
                </a:cxn>
                <a:cxn ang="0">
                  <a:pos x="connsiteX4571" y="connsiteY4571"/>
                </a:cxn>
                <a:cxn ang="0">
                  <a:pos x="connsiteX4572" y="connsiteY4572"/>
                </a:cxn>
                <a:cxn ang="0">
                  <a:pos x="connsiteX4573" y="connsiteY4573"/>
                </a:cxn>
                <a:cxn ang="0">
                  <a:pos x="connsiteX4574" y="connsiteY4574"/>
                </a:cxn>
                <a:cxn ang="0">
                  <a:pos x="connsiteX4575" y="connsiteY4575"/>
                </a:cxn>
                <a:cxn ang="0">
                  <a:pos x="connsiteX4576" y="connsiteY4576"/>
                </a:cxn>
                <a:cxn ang="0">
                  <a:pos x="connsiteX4577" y="connsiteY4577"/>
                </a:cxn>
                <a:cxn ang="0">
                  <a:pos x="connsiteX4578" y="connsiteY4578"/>
                </a:cxn>
                <a:cxn ang="0">
                  <a:pos x="connsiteX4579" y="connsiteY4579"/>
                </a:cxn>
                <a:cxn ang="0">
                  <a:pos x="connsiteX4580" y="connsiteY4580"/>
                </a:cxn>
                <a:cxn ang="0">
                  <a:pos x="connsiteX4581" y="connsiteY4581"/>
                </a:cxn>
                <a:cxn ang="0">
                  <a:pos x="connsiteX4582" y="connsiteY4582"/>
                </a:cxn>
                <a:cxn ang="0">
                  <a:pos x="connsiteX4583" y="connsiteY4583"/>
                </a:cxn>
                <a:cxn ang="0">
                  <a:pos x="connsiteX4584" y="connsiteY4584"/>
                </a:cxn>
                <a:cxn ang="0">
                  <a:pos x="connsiteX4585" y="connsiteY4585"/>
                </a:cxn>
                <a:cxn ang="0">
                  <a:pos x="connsiteX4586" y="connsiteY4586"/>
                </a:cxn>
                <a:cxn ang="0">
                  <a:pos x="connsiteX4587" y="connsiteY4587"/>
                </a:cxn>
                <a:cxn ang="0">
                  <a:pos x="connsiteX4588" y="connsiteY4588"/>
                </a:cxn>
                <a:cxn ang="0">
                  <a:pos x="connsiteX4589" y="connsiteY4589"/>
                </a:cxn>
                <a:cxn ang="0">
                  <a:pos x="connsiteX4590" y="connsiteY4590"/>
                </a:cxn>
                <a:cxn ang="0">
                  <a:pos x="connsiteX4591" y="connsiteY4591"/>
                </a:cxn>
                <a:cxn ang="0">
                  <a:pos x="connsiteX4592" y="connsiteY4592"/>
                </a:cxn>
                <a:cxn ang="0">
                  <a:pos x="connsiteX4593" y="connsiteY4593"/>
                </a:cxn>
                <a:cxn ang="0">
                  <a:pos x="connsiteX4594" y="connsiteY4594"/>
                </a:cxn>
                <a:cxn ang="0">
                  <a:pos x="connsiteX4595" y="connsiteY4595"/>
                </a:cxn>
                <a:cxn ang="0">
                  <a:pos x="connsiteX4596" y="connsiteY4596"/>
                </a:cxn>
                <a:cxn ang="0">
                  <a:pos x="connsiteX4597" y="connsiteY4597"/>
                </a:cxn>
                <a:cxn ang="0">
                  <a:pos x="connsiteX4598" y="connsiteY4598"/>
                </a:cxn>
                <a:cxn ang="0">
                  <a:pos x="connsiteX4599" y="connsiteY4599"/>
                </a:cxn>
                <a:cxn ang="0">
                  <a:pos x="connsiteX4600" y="connsiteY4600"/>
                </a:cxn>
                <a:cxn ang="0">
                  <a:pos x="connsiteX4601" y="connsiteY4601"/>
                </a:cxn>
                <a:cxn ang="0">
                  <a:pos x="connsiteX4602" y="connsiteY4602"/>
                </a:cxn>
                <a:cxn ang="0">
                  <a:pos x="connsiteX4603" y="connsiteY4603"/>
                </a:cxn>
                <a:cxn ang="0">
                  <a:pos x="connsiteX4604" y="connsiteY4604"/>
                </a:cxn>
                <a:cxn ang="0">
                  <a:pos x="connsiteX4605" y="connsiteY4605"/>
                </a:cxn>
                <a:cxn ang="0">
                  <a:pos x="connsiteX4606" y="connsiteY4606"/>
                </a:cxn>
                <a:cxn ang="0">
                  <a:pos x="connsiteX4607" y="connsiteY4607"/>
                </a:cxn>
                <a:cxn ang="0">
                  <a:pos x="connsiteX4608" y="connsiteY4608"/>
                </a:cxn>
                <a:cxn ang="0">
                  <a:pos x="connsiteX4609" y="connsiteY4609"/>
                </a:cxn>
                <a:cxn ang="0">
                  <a:pos x="connsiteX4610" y="connsiteY4610"/>
                </a:cxn>
                <a:cxn ang="0">
                  <a:pos x="connsiteX4611" y="connsiteY4611"/>
                </a:cxn>
                <a:cxn ang="0">
                  <a:pos x="connsiteX4612" y="connsiteY4612"/>
                </a:cxn>
                <a:cxn ang="0">
                  <a:pos x="connsiteX4613" y="connsiteY4613"/>
                </a:cxn>
                <a:cxn ang="0">
                  <a:pos x="connsiteX4614" y="connsiteY4614"/>
                </a:cxn>
                <a:cxn ang="0">
                  <a:pos x="connsiteX4615" y="connsiteY4615"/>
                </a:cxn>
                <a:cxn ang="0">
                  <a:pos x="connsiteX4616" y="connsiteY4616"/>
                </a:cxn>
                <a:cxn ang="0">
                  <a:pos x="connsiteX4617" y="connsiteY4617"/>
                </a:cxn>
                <a:cxn ang="0">
                  <a:pos x="connsiteX4618" y="connsiteY4618"/>
                </a:cxn>
                <a:cxn ang="0">
                  <a:pos x="connsiteX4619" y="connsiteY4619"/>
                </a:cxn>
                <a:cxn ang="0">
                  <a:pos x="connsiteX4620" y="connsiteY4620"/>
                </a:cxn>
                <a:cxn ang="0">
                  <a:pos x="connsiteX4621" y="connsiteY4621"/>
                </a:cxn>
                <a:cxn ang="0">
                  <a:pos x="connsiteX4622" y="connsiteY4622"/>
                </a:cxn>
                <a:cxn ang="0">
                  <a:pos x="connsiteX4623" y="connsiteY4623"/>
                </a:cxn>
                <a:cxn ang="0">
                  <a:pos x="connsiteX4624" y="connsiteY4624"/>
                </a:cxn>
                <a:cxn ang="0">
                  <a:pos x="connsiteX4625" y="connsiteY4625"/>
                </a:cxn>
                <a:cxn ang="0">
                  <a:pos x="connsiteX4626" y="connsiteY4626"/>
                </a:cxn>
                <a:cxn ang="0">
                  <a:pos x="connsiteX4627" y="connsiteY4627"/>
                </a:cxn>
                <a:cxn ang="0">
                  <a:pos x="connsiteX4628" y="connsiteY4628"/>
                </a:cxn>
                <a:cxn ang="0">
                  <a:pos x="connsiteX4629" y="connsiteY4629"/>
                </a:cxn>
                <a:cxn ang="0">
                  <a:pos x="connsiteX4630" y="connsiteY4630"/>
                </a:cxn>
                <a:cxn ang="0">
                  <a:pos x="connsiteX4631" y="connsiteY4631"/>
                </a:cxn>
                <a:cxn ang="0">
                  <a:pos x="connsiteX4632" y="connsiteY4632"/>
                </a:cxn>
                <a:cxn ang="0">
                  <a:pos x="connsiteX4633" y="connsiteY4633"/>
                </a:cxn>
                <a:cxn ang="0">
                  <a:pos x="connsiteX4634" y="connsiteY4634"/>
                </a:cxn>
                <a:cxn ang="0">
                  <a:pos x="connsiteX4635" y="connsiteY4635"/>
                </a:cxn>
                <a:cxn ang="0">
                  <a:pos x="connsiteX4636" y="connsiteY4636"/>
                </a:cxn>
                <a:cxn ang="0">
                  <a:pos x="connsiteX4637" y="connsiteY4637"/>
                </a:cxn>
                <a:cxn ang="0">
                  <a:pos x="connsiteX4638" y="connsiteY4638"/>
                </a:cxn>
                <a:cxn ang="0">
                  <a:pos x="connsiteX4639" y="connsiteY4639"/>
                </a:cxn>
                <a:cxn ang="0">
                  <a:pos x="connsiteX4640" y="connsiteY4640"/>
                </a:cxn>
                <a:cxn ang="0">
                  <a:pos x="connsiteX4641" y="connsiteY4641"/>
                </a:cxn>
                <a:cxn ang="0">
                  <a:pos x="connsiteX4642" y="connsiteY4642"/>
                </a:cxn>
                <a:cxn ang="0">
                  <a:pos x="connsiteX4643" y="connsiteY4643"/>
                </a:cxn>
                <a:cxn ang="0">
                  <a:pos x="connsiteX4644" y="connsiteY4644"/>
                </a:cxn>
                <a:cxn ang="0">
                  <a:pos x="connsiteX4645" y="connsiteY4645"/>
                </a:cxn>
                <a:cxn ang="0">
                  <a:pos x="connsiteX4646" y="connsiteY4646"/>
                </a:cxn>
                <a:cxn ang="0">
                  <a:pos x="connsiteX4647" y="connsiteY4647"/>
                </a:cxn>
                <a:cxn ang="0">
                  <a:pos x="connsiteX4648" y="connsiteY4648"/>
                </a:cxn>
                <a:cxn ang="0">
                  <a:pos x="connsiteX4649" y="connsiteY4649"/>
                </a:cxn>
                <a:cxn ang="0">
                  <a:pos x="connsiteX4650" y="connsiteY4650"/>
                </a:cxn>
                <a:cxn ang="0">
                  <a:pos x="connsiteX4651" y="connsiteY4651"/>
                </a:cxn>
                <a:cxn ang="0">
                  <a:pos x="connsiteX4652" y="connsiteY4652"/>
                </a:cxn>
                <a:cxn ang="0">
                  <a:pos x="connsiteX4653" y="connsiteY4653"/>
                </a:cxn>
                <a:cxn ang="0">
                  <a:pos x="connsiteX4654" y="connsiteY4654"/>
                </a:cxn>
                <a:cxn ang="0">
                  <a:pos x="connsiteX4655" y="connsiteY4655"/>
                </a:cxn>
                <a:cxn ang="0">
                  <a:pos x="connsiteX4656" y="connsiteY4656"/>
                </a:cxn>
                <a:cxn ang="0">
                  <a:pos x="connsiteX4657" y="connsiteY4657"/>
                </a:cxn>
                <a:cxn ang="0">
                  <a:pos x="connsiteX4658" y="connsiteY4658"/>
                </a:cxn>
                <a:cxn ang="0">
                  <a:pos x="connsiteX4659" y="connsiteY4659"/>
                </a:cxn>
                <a:cxn ang="0">
                  <a:pos x="connsiteX4660" y="connsiteY4660"/>
                </a:cxn>
                <a:cxn ang="0">
                  <a:pos x="connsiteX4661" y="connsiteY4661"/>
                </a:cxn>
                <a:cxn ang="0">
                  <a:pos x="connsiteX4662" y="connsiteY4662"/>
                </a:cxn>
                <a:cxn ang="0">
                  <a:pos x="connsiteX4663" y="connsiteY4663"/>
                </a:cxn>
                <a:cxn ang="0">
                  <a:pos x="connsiteX4664" y="connsiteY4664"/>
                </a:cxn>
                <a:cxn ang="0">
                  <a:pos x="connsiteX4665" y="connsiteY4665"/>
                </a:cxn>
                <a:cxn ang="0">
                  <a:pos x="connsiteX4666" y="connsiteY4666"/>
                </a:cxn>
                <a:cxn ang="0">
                  <a:pos x="connsiteX4667" y="connsiteY4667"/>
                </a:cxn>
                <a:cxn ang="0">
                  <a:pos x="connsiteX4668" y="connsiteY4668"/>
                </a:cxn>
                <a:cxn ang="0">
                  <a:pos x="connsiteX4669" y="connsiteY4669"/>
                </a:cxn>
                <a:cxn ang="0">
                  <a:pos x="connsiteX4670" y="connsiteY4670"/>
                </a:cxn>
                <a:cxn ang="0">
                  <a:pos x="connsiteX4671" y="connsiteY4671"/>
                </a:cxn>
                <a:cxn ang="0">
                  <a:pos x="connsiteX4672" y="connsiteY4672"/>
                </a:cxn>
                <a:cxn ang="0">
                  <a:pos x="connsiteX4673" y="connsiteY4673"/>
                </a:cxn>
                <a:cxn ang="0">
                  <a:pos x="connsiteX4674" y="connsiteY4674"/>
                </a:cxn>
                <a:cxn ang="0">
                  <a:pos x="connsiteX4675" y="connsiteY4675"/>
                </a:cxn>
                <a:cxn ang="0">
                  <a:pos x="connsiteX4676" y="connsiteY4676"/>
                </a:cxn>
                <a:cxn ang="0">
                  <a:pos x="connsiteX4677" y="connsiteY4677"/>
                </a:cxn>
                <a:cxn ang="0">
                  <a:pos x="connsiteX4678" y="connsiteY4678"/>
                </a:cxn>
                <a:cxn ang="0">
                  <a:pos x="connsiteX4679" y="connsiteY4679"/>
                </a:cxn>
                <a:cxn ang="0">
                  <a:pos x="connsiteX4680" y="connsiteY4680"/>
                </a:cxn>
                <a:cxn ang="0">
                  <a:pos x="connsiteX4681" y="connsiteY4681"/>
                </a:cxn>
                <a:cxn ang="0">
                  <a:pos x="connsiteX4682" y="connsiteY4682"/>
                </a:cxn>
                <a:cxn ang="0">
                  <a:pos x="connsiteX4683" y="connsiteY4683"/>
                </a:cxn>
                <a:cxn ang="0">
                  <a:pos x="connsiteX4684" y="connsiteY4684"/>
                </a:cxn>
                <a:cxn ang="0">
                  <a:pos x="connsiteX4685" y="connsiteY4685"/>
                </a:cxn>
                <a:cxn ang="0">
                  <a:pos x="connsiteX4686" y="connsiteY4686"/>
                </a:cxn>
                <a:cxn ang="0">
                  <a:pos x="connsiteX4687" y="connsiteY4687"/>
                </a:cxn>
                <a:cxn ang="0">
                  <a:pos x="connsiteX4688" y="connsiteY4688"/>
                </a:cxn>
                <a:cxn ang="0">
                  <a:pos x="connsiteX4689" y="connsiteY4689"/>
                </a:cxn>
                <a:cxn ang="0">
                  <a:pos x="connsiteX4690" y="connsiteY4690"/>
                </a:cxn>
                <a:cxn ang="0">
                  <a:pos x="connsiteX4691" y="connsiteY4691"/>
                </a:cxn>
                <a:cxn ang="0">
                  <a:pos x="connsiteX4692" y="connsiteY4692"/>
                </a:cxn>
                <a:cxn ang="0">
                  <a:pos x="connsiteX4693" y="connsiteY4693"/>
                </a:cxn>
                <a:cxn ang="0">
                  <a:pos x="connsiteX4694" y="connsiteY4694"/>
                </a:cxn>
                <a:cxn ang="0">
                  <a:pos x="connsiteX4695" y="connsiteY4695"/>
                </a:cxn>
                <a:cxn ang="0">
                  <a:pos x="connsiteX4696" y="connsiteY4696"/>
                </a:cxn>
                <a:cxn ang="0">
                  <a:pos x="connsiteX4697" y="connsiteY4697"/>
                </a:cxn>
                <a:cxn ang="0">
                  <a:pos x="connsiteX4698" y="connsiteY4698"/>
                </a:cxn>
                <a:cxn ang="0">
                  <a:pos x="connsiteX4699" y="connsiteY4699"/>
                </a:cxn>
                <a:cxn ang="0">
                  <a:pos x="connsiteX4700" y="connsiteY4700"/>
                </a:cxn>
                <a:cxn ang="0">
                  <a:pos x="connsiteX4701" y="connsiteY4701"/>
                </a:cxn>
                <a:cxn ang="0">
                  <a:pos x="connsiteX4702" y="connsiteY4702"/>
                </a:cxn>
                <a:cxn ang="0">
                  <a:pos x="connsiteX4703" y="connsiteY4703"/>
                </a:cxn>
                <a:cxn ang="0">
                  <a:pos x="connsiteX4704" y="connsiteY4704"/>
                </a:cxn>
                <a:cxn ang="0">
                  <a:pos x="connsiteX4705" y="connsiteY4705"/>
                </a:cxn>
                <a:cxn ang="0">
                  <a:pos x="connsiteX4706" y="connsiteY4706"/>
                </a:cxn>
                <a:cxn ang="0">
                  <a:pos x="connsiteX4707" y="connsiteY4707"/>
                </a:cxn>
                <a:cxn ang="0">
                  <a:pos x="connsiteX4708" y="connsiteY4708"/>
                </a:cxn>
                <a:cxn ang="0">
                  <a:pos x="connsiteX4709" y="connsiteY4709"/>
                </a:cxn>
                <a:cxn ang="0">
                  <a:pos x="connsiteX4710" y="connsiteY4710"/>
                </a:cxn>
                <a:cxn ang="0">
                  <a:pos x="connsiteX4711" y="connsiteY4711"/>
                </a:cxn>
                <a:cxn ang="0">
                  <a:pos x="connsiteX4712" y="connsiteY4712"/>
                </a:cxn>
                <a:cxn ang="0">
                  <a:pos x="connsiteX4713" y="connsiteY4713"/>
                </a:cxn>
                <a:cxn ang="0">
                  <a:pos x="connsiteX4714" y="connsiteY4714"/>
                </a:cxn>
                <a:cxn ang="0">
                  <a:pos x="connsiteX4715" y="connsiteY4715"/>
                </a:cxn>
                <a:cxn ang="0">
                  <a:pos x="connsiteX4716" y="connsiteY4716"/>
                </a:cxn>
                <a:cxn ang="0">
                  <a:pos x="connsiteX4717" y="connsiteY4717"/>
                </a:cxn>
                <a:cxn ang="0">
                  <a:pos x="connsiteX4718" y="connsiteY4718"/>
                </a:cxn>
                <a:cxn ang="0">
                  <a:pos x="connsiteX4719" y="connsiteY4719"/>
                </a:cxn>
                <a:cxn ang="0">
                  <a:pos x="connsiteX4720" y="connsiteY4720"/>
                </a:cxn>
                <a:cxn ang="0">
                  <a:pos x="connsiteX4721" y="connsiteY4721"/>
                </a:cxn>
                <a:cxn ang="0">
                  <a:pos x="connsiteX4722" y="connsiteY4722"/>
                </a:cxn>
                <a:cxn ang="0">
                  <a:pos x="connsiteX4723" y="connsiteY4723"/>
                </a:cxn>
                <a:cxn ang="0">
                  <a:pos x="connsiteX4724" y="connsiteY4724"/>
                </a:cxn>
                <a:cxn ang="0">
                  <a:pos x="connsiteX4725" y="connsiteY4725"/>
                </a:cxn>
                <a:cxn ang="0">
                  <a:pos x="connsiteX4726" y="connsiteY4726"/>
                </a:cxn>
                <a:cxn ang="0">
                  <a:pos x="connsiteX4727" y="connsiteY4727"/>
                </a:cxn>
                <a:cxn ang="0">
                  <a:pos x="connsiteX4728" y="connsiteY4728"/>
                </a:cxn>
                <a:cxn ang="0">
                  <a:pos x="connsiteX4729" y="connsiteY4729"/>
                </a:cxn>
                <a:cxn ang="0">
                  <a:pos x="connsiteX4730" y="connsiteY4730"/>
                </a:cxn>
                <a:cxn ang="0">
                  <a:pos x="connsiteX4731" y="connsiteY4731"/>
                </a:cxn>
                <a:cxn ang="0">
                  <a:pos x="connsiteX4732" y="connsiteY4732"/>
                </a:cxn>
                <a:cxn ang="0">
                  <a:pos x="connsiteX4733" y="connsiteY4733"/>
                </a:cxn>
                <a:cxn ang="0">
                  <a:pos x="connsiteX4734" y="connsiteY4734"/>
                </a:cxn>
                <a:cxn ang="0">
                  <a:pos x="connsiteX4735" y="connsiteY4735"/>
                </a:cxn>
                <a:cxn ang="0">
                  <a:pos x="connsiteX4736" y="connsiteY4736"/>
                </a:cxn>
                <a:cxn ang="0">
                  <a:pos x="connsiteX4737" y="connsiteY4737"/>
                </a:cxn>
                <a:cxn ang="0">
                  <a:pos x="connsiteX4738" y="connsiteY4738"/>
                </a:cxn>
                <a:cxn ang="0">
                  <a:pos x="connsiteX4739" y="connsiteY4739"/>
                </a:cxn>
                <a:cxn ang="0">
                  <a:pos x="connsiteX4740" y="connsiteY4740"/>
                </a:cxn>
                <a:cxn ang="0">
                  <a:pos x="connsiteX4741" y="connsiteY4741"/>
                </a:cxn>
                <a:cxn ang="0">
                  <a:pos x="connsiteX4742" y="connsiteY4742"/>
                </a:cxn>
                <a:cxn ang="0">
                  <a:pos x="connsiteX4743" y="connsiteY4743"/>
                </a:cxn>
                <a:cxn ang="0">
                  <a:pos x="connsiteX4744" y="connsiteY4744"/>
                </a:cxn>
                <a:cxn ang="0">
                  <a:pos x="connsiteX4745" y="connsiteY4745"/>
                </a:cxn>
                <a:cxn ang="0">
                  <a:pos x="connsiteX4746" y="connsiteY4746"/>
                </a:cxn>
                <a:cxn ang="0">
                  <a:pos x="connsiteX4747" y="connsiteY4747"/>
                </a:cxn>
                <a:cxn ang="0">
                  <a:pos x="connsiteX4748" y="connsiteY4748"/>
                </a:cxn>
                <a:cxn ang="0">
                  <a:pos x="connsiteX4749" y="connsiteY4749"/>
                </a:cxn>
                <a:cxn ang="0">
                  <a:pos x="connsiteX4750" y="connsiteY4750"/>
                </a:cxn>
                <a:cxn ang="0">
                  <a:pos x="connsiteX4751" y="connsiteY4751"/>
                </a:cxn>
                <a:cxn ang="0">
                  <a:pos x="connsiteX4752" y="connsiteY4752"/>
                </a:cxn>
                <a:cxn ang="0">
                  <a:pos x="connsiteX4753" y="connsiteY4753"/>
                </a:cxn>
                <a:cxn ang="0">
                  <a:pos x="connsiteX4754" y="connsiteY4754"/>
                </a:cxn>
                <a:cxn ang="0">
                  <a:pos x="connsiteX4755" y="connsiteY4755"/>
                </a:cxn>
                <a:cxn ang="0">
                  <a:pos x="connsiteX4756" y="connsiteY4756"/>
                </a:cxn>
                <a:cxn ang="0">
                  <a:pos x="connsiteX4757" y="connsiteY4757"/>
                </a:cxn>
                <a:cxn ang="0">
                  <a:pos x="connsiteX4758" y="connsiteY4758"/>
                </a:cxn>
                <a:cxn ang="0">
                  <a:pos x="connsiteX4759" y="connsiteY4759"/>
                </a:cxn>
                <a:cxn ang="0">
                  <a:pos x="connsiteX4760" y="connsiteY4760"/>
                </a:cxn>
                <a:cxn ang="0">
                  <a:pos x="connsiteX4761" y="connsiteY4761"/>
                </a:cxn>
                <a:cxn ang="0">
                  <a:pos x="connsiteX4762" y="connsiteY4762"/>
                </a:cxn>
                <a:cxn ang="0">
                  <a:pos x="connsiteX4763" y="connsiteY4763"/>
                </a:cxn>
                <a:cxn ang="0">
                  <a:pos x="connsiteX4764" y="connsiteY4764"/>
                </a:cxn>
                <a:cxn ang="0">
                  <a:pos x="connsiteX4765" y="connsiteY4765"/>
                </a:cxn>
                <a:cxn ang="0">
                  <a:pos x="connsiteX4766" y="connsiteY4766"/>
                </a:cxn>
                <a:cxn ang="0">
                  <a:pos x="connsiteX4767" y="connsiteY4767"/>
                </a:cxn>
                <a:cxn ang="0">
                  <a:pos x="connsiteX4768" y="connsiteY4768"/>
                </a:cxn>
                <a:cxn ang="0">
                  <a:pos x="connsiteX4769" y="connsiteY4769"/>
                </a:cxn>
                <a:cxn ang="0">
                  <a:pos x="connsiteX4770" y="connsiteY4770"/>
                </a:cxn>
                <a:cxn ang="0">
                  <a:pos x="connsiteX4771" y="connsiteY4771"/>
                </a:cxn>
                <a:cxn ang="0">
                  <a:pos x="connsiteX4772" y="connsiteY4772"/>
                </a:cxn>
                <a:cxn ang="0">
                  <a:pos x="connsiteX4773" y="connsiteY4773"/>
                </a:cxn>
                <a:cxn ang="0">
                  <a:pos x="connsiteX4774" y="connsiteY4774"/>
                </a:cxn>
                <a:cxn ang="0">
                  <a:pos x="connsiteX4775" y="connsiteY4775"/>
                </a:cxn>
                <a:cxn ang="0">
                  <a:pos x="connsiteX4776" y="connsiteY4776"/>
                </a:cxn>
                <a:cxn ang="0">
                  <a:pos x="connsiteX4777" y="connsiteY4777"/>
                </a:cxn>
                <a:cxn ang="0">
                  <a:pos x="connsiteX4778" y="connsiteY4778"/>
                </a:cxn>
                <a:cxn ang="0">
                  <a:pos x="connsiteX4779" y="connsiteY4779"/>
                </a:cxn>
                <a:cxn ang="0">
                  <a:pos x="connsiteX4780" y="connsiteY4780"/>
                </a:cxn>
                <a:cxn ang="0">
                  <a:pos x="connsiteX4781" y="connsiteY4781"/>
                </a:cxn>
                <a:cxn ang="0">
                  <a:pos x="connsiteX4782" y="connsiteY4782"/>
                </a:cxn>
                <a:cxn ang="0">
                  <a:pos x="connsiteX4783" y="connsiteY4783"/>
                </a:cxn>
                <a:cxn ang="0">
                  <a:pos x="connsiteX4784" y="connsiteY4784"/>
                </a:cxn>
                <a:cxn ang="0">
                  <a:pos x="connsiteX4785" y="connsiteY4785"/>
                </a:cxn>
                <a:cxn ang="0">
                  <a:pos x="connsiteX4786" y="connsiteY4786"/>
                </a:cxn>
                <a:cxn ang="0">
                  <a:pos x="connsiteX4787" y="connsiteY4787"/>
                </a:cxn>
                <a:cxn ang="0">
                  <a:pos x="connsiteX4788" y="connsiteY4788"/>
                </a:cxn>
                <a:cxn ang="0">
                  <a:pos x="connsiteX4789" y="connsiteY4789"/>
                </a:cxn>
                <a:cxn ang="0">
                  <a:pos x="connsiteX4790" y="connsiteY4790"/>
                </a:cxn>
                <a:cxn ang="0">
                  <a:pos x="connsiteX4791" y="connsiteY4791"/>
                </a:cxn>
                <a:cxn ang="0">
                  <a:pos x="connsiteX4792" y="connsiteY4792"/>
                </a:cxn>
                <a:cxn ang="0">
                  <a:pos x="connsiteX4793" y="connsiteY4793"/>
                </a:cxn>
                <a:cxn ang="0">
                  <a:pos x="connsiteX4794" y="connsiteY4794"/>
                </a:cxn>
                <a:cxn ang="0">
                  <a:pos x="connsiteX4795" y="connsiteY4795"/>
                </a:cxn>
                <a:cxn ang="0">
                  <a:pos x="connsiteX4796" y="connsiteY4796"/>
                </a:cxn>
                <a:cxn ang="0">
                  <a:pos x="connsiteX4797" y="connsiteY4797"/>
                </a:cxn>
                <a:cxn ang="0">
                  <a:pos x="connsiteX4798" y="connsiteY4798"/>
                </a:cxn>
                <a:cxn ang="0">
                  <a:pos x="connsiteX4799" y="connsiteY4799"/>
                </a:cxn>
                <a:cxn ang="0">
                  <a:pos x="connsiteX4800" y="connsiteY4800"/>
                </a:cxn>
                <a:cxn ang="0">
                  <a:pos x="connsiteX4801" y="connsiteY4801"/>
                </a:cxn>
                <a:cxn ang="0">
                  <a:pos x="connsiteX4802" y="connsiteY4802"/>
                </a:cxn>
                <a:cxn ang="0">
                  <a:pos x="connsiteX4803" y="connsiteY4803"/>
                </a:cxn>
                <a:cxn ang="0">
                  <a:pos x="connsiteX4804" y="connsiteY4804"/>
                </a:cxn>
                <a:cxn ang="0">
                  <a:pos x="connsiteX4805" y="connsiteY4805"/>
                </a:cxn>
                <a:cxn ang="0">
                  <a:pos x="connsiteX4806" y="connsiteY4806"/>
                </a:cxn>
                <a:cxn ang="0">
                  <a:pos x="connsiteX4807" y="connsiteY4807"/>
                </a:cxn>
                <a:cxn ang="0">
                  <a:pos x="connsiteX4808" y="connsiteY4808"/>
                </a:cxn>
                <a:cxn ang="0">
                  <a:pos x="connsiteX4809" y="connsiteY4809"/>
                </a:cxn>
                <a:cxn ang="0">
                  <a:pos x="connsiteX4810" y="connsiteY4810"/>
                </a:cxn>
                <a:cxn ang="0">
                  <a:pos x="connsiteX4811" y="connsiteY4811"/>
                </a:cxn>
                <a:cxn ang="0">
                  <a:pos x="connsiteX4812" y="connsiteY4812"/>
                </a:cxn>
                <a:cxn ang="0">
                  <a:pos x="connsiteX4813" y="connsiteY4813"/>
                </a:cxn>
                <a:cxn ang="0">
                  <a:pos x="connsiteX4814" y="connsiteY4814"/>
                </a:cxn>
                <a:cxn ang="0">
                  <a:pos x="connsiteX4815" y="connsiteY4815"/>
                </a:cxn>
                <a:cxn ang="0">
                  <a:pos x="connsiteX4816" y="connsiteY4816"/>
                </a:cxn>
                <a:cxn ang="0">
                  <a:pos x="connsiteX4817" y="connsiteY4817"/>
                </a:cxn>
                <a:cxn ang="0">
                  <a:pos x="connsiteX4818" y="connsiteY4818"/>
                </a:cxn>
                <a:cxn ang="0">
                  <a:pos x="connsiteX4819" y="connsiteY4819"/>
                </a:cxn>
                <a:cxn ang="0">
                  <a:pos x="connsiteX4820" y="connsiteY4820"/>
                </a:cxn>
                <a:cxn ang="0">
                  <a:pos x="connsiteX4821" y="connsiteY4821"/>
                </a:cxn>
                <a:cxn ang="0">
                  <a:pos x="connsiteX4822" y="connsiteY4822"/>
                </a:cxn>
                <a:cxn ang="0">
                  <a:pos x="connsiteX4823" y="connsiteY4823"/>
                </a:cxn>
                <a:cxn ang="0">
                  <a:pos x="connsiteX4824" y="connsiteY4824"/>
                </a:cxn>
                <a:cxn ang="0">
                  <a:pos x="connsiteX4825" y="connsiteY4825"/>
                </a:cxn>
                <a:cxn ang="0">
                  <a:pos x="connsiteX4826" y="connsiteY4826"/>
                </a:cxn>
                <a:cxn ang="0">
                  <a:pos x="connsiteX4827" y="connsiteY4827"/>
                </a:cxn>
                <a:cxn ang="0">
                  <a:pos x="connsiteX4828" y="connsiteY4828"/>
                </a:cxn>
                <a:cxn ang="0">
                  <a:pos x="connsiteX4829" y="connsiteY4829"/>
                </a:cxn>
                <a:cxn ang="0">
                  <a:pos x="connsiteX4830" y="connsiteY4830"/>
                </a:cxn>
                <a:cxn ang="0">
                  <a:pos x="connsiteX4831" y="connsiteY4831"/>
                </a:cxn>
                <a:cxn ang="0">
                  <a:pos x="connsiteX4832" y="connsiteY4832"/>
                </a:cxn>
                <a:cxn ang="0">
                  <a:pos x="connsiteX4833" y="connsiteY4833"/>
                </a:cxn>
                <a:cxn ang="0">
                  <a:pos x="connsiteX4834" y="connsiteY4834"/>
                </a:cxn>
                <a:cxn ang="0">
                  <a:pos x="connsiteX4835" y="connsiteY4835"/>
                </a:cxn>
                <a:cxn ang="0">
                  <a:pos x="connsiteX4836" y="connsiteY4836"/>
                </a:cxn>
                <a:cxn ang="0">
                  <a:pos x="connsiteX4837" y="connsiteY4837"/>
                </a:cxn>
                <a:cxn ang="0">
                  <a:pos x="connsiteX4838" y="connsiteY4838"/>
                </a:cxn>
                <a:cxn ang="0">
                  <a:pos x="connsiteX4839" y="connsiteY4839"/>
                </a:cxn>
                <a:cxn ang="0">
                  <a:pos x="connsiteX4840" y="connsiteY4840"/>
                </a:cxn>
                <a:cxn ang="0">
                  <a:pos x="connsiteX4841" y="connsiteY4841"/>
                </a:cxn>
                <a:cxn ang="0">
                  <a:pos x="connsiteX4842" y="connsiteY4842"/>
                </a:cxn>
                <a:cxn ang="0">
                  <a:pos x="connsiteX4843" y="connsiteY4843"/>
                </a:cxn>
                <a:cxn ang="0">
                  <a:pos x="connsiteX4844" y="connsiteY4844"/>
                </a:cxn>
                <a:cxn ang="0">
                  <a:pos x="connsiteX4845" y="connsiteY4845"/>
                </a:cxn>
                <a:cxn ang="0">
                  <a:pos x="connsiteX4846" y="connsiteY4846"/>
                </a:cxn>
                <a:cxn ang="0">
                  <a:pos x="connsiteX4847" y="connsiteY4847"/>
                </a:cxn>
                <a:cxn ang="0">
                  <a:pos x="connsiteX4848" y="connsiteY4848"/>
                </a:cxn>
                <a:cxn ang="0">
                  <a:pos x="connsiteX4849" y="connsiteY4849"/>
                </a:cxn>
                <a:cxn ang="0">
                  <a:pos x="connsiteX4850" y="connsiteY4850"/>
                </a:cxn>
                <a:cxn ang="0">
                  <a:pos x="connsiteX4851" y="connsiteY4851"/>
                </a:cxn>
                <a:cxn ang="0">
                  <a:pos x="connsiteX4852" y="connsiteY4852"/>
                </a:cxn>
                <a:cxn ang="0">
                  <a:pos x="connsiteX4853" y="connsiteY4853"/>
                </a:cxn>
                <a:cxn ang="0">
                  <a:pos x="connsiteX4854" y="connsiteY4854"/>
                </a:cxn>
                <a:cxn ang="0">
                  <a:pos x="connsiteX4855" y="connsiteY4855"/>
                </a:cxn>
                <a:cxn ang="0">
                  <a:pos x="connsiteX4856" y="connsiteY4856"/>
                </a:cxn>
                <a:cxn ang="0">
                  <a:pos x="connsiteX4857" y="connsiteY4857"/>
                </a:cxn>
                <a:cxn ang="0">
                  <a:pos x="connsiteX4858" y="connsiteY4858"/>
                </a:cxn>
                <a:cxn ang="0">
                  <a:pos x="connsiteX4859" y="connsiteY4859"/>
                </a:cxn>
                <a:cxn ang="0">
                  <a:pos x="connsiteX4860" y="connsiteY4860"/>
                </a:cxn>
                <a:cxn ang="0">
                  <a:pos x="connsiteX4861" y="connsiteY4861"/>
                </a:cxn>
                <a:cxn ang="0">
                  <a:pos x="connsiteX4862" y="connsiteY4862"/>
                </a:cxn>
                <a:cxn ang="0">
                  <a:pos x="connsiteX4863" y="connsiteY4863"/>
                </a:cxn>
                <a:cxn ang="0">
                  <a:pos x="connsiteX4864" y="connsiteY4864"/>
                </a:cxn>
                <a:cxn ang="0">
                  <a:pos x="connsiteX4865" y="connsiteY4865"/>
                </a:cxn>
                <a:cxn ang="0">
                  <a:pos x="connsiteX4866" y="connsiteY4866"/>
                </a:cxn>
                <a:cxn ang="0">
                  <a:pos x="connsiteX4867" y="connsiteY4867"/>
                </a:cxn>
                <a:cxn ang="0">
                  <a:pos x="connsiteX4868" y="connsiteY4868"/>
                </a:cxn>
                <a:cxn ang="0">
                  <a:pos x="connsiteX4869" y="connsiteY4869"/>
                </a:cxn>
                <a:cxn ang="0">
                  <a:pos x="connsiteX4870" y="connsiteY4870"/>
                </a:cxn>
                <a:cxn ang="0">
                  <a:pos x="connsiteX4871" y="connsiteY4871"/>
                </a:cxn>
                <a:cxn ang="0">
                  <a:pos x="connsiteX4872" y="connsiteY4872"/>
                </a:cxn>
                <a:cxn ang="0">
                  <a:pos x="connsiteX4873" y="connsiteY4873"/>
                </a:cxn>
                <a:cxn ang="0">
                  <a:pos x="connsiteX4874" y="connsiteY4874"/>
                </a:cxn>
                <a:cxn ang="0">
                  <a:pos x="connsiteX4875" y="connsiteY4875"/>
                </a:cxn>
                <a:cxn ang="0">
                  <a:pos x="connsiteX4876" y="connsiteY4876"/>
                </a:cxn>
                <a:cxn ang="0">
                  <a:pos x="connsiteX4877" y="connsiteY4877"/>
                </a:cxn>
                <a:cxn ang="0">
                  <a:pos x="connsiteX4878" y="connsiteY4878"/>
                </a:cxn>
                <a:cxn ang="0">
                  <a:pos x="connsiteX4879" y="connsiteY4879"/>
                </a:cxn>
                <a:cxn ang="0">
                  <a:pos x="connsiteX4880" y="connsiteY4880"/>
                </a:cxn>
                <a:cxn ang="0">
                  <a:pos x="connsiteX4881" y="connsiteY4881"/>
                </a:cxn>
                <a:cxn ang="0">
                  <a:pos x="connsiteX4882" y="connsiteY4882"/>
                </a:cxn>
                <a:cxn ang="0">
                  <a:pos x="connsiteX4883" y="connsiteY4883"/>
                </a:cxn>
                <a:cxn ang="0">
                  <a:pos x="connsiteX4884" y="connsiteY4884"/>
                </a:cxn>
                <a:cxn ang="0">
                  <a:pos x="connsiteX4885" y="connsiteY4885"/>
                </a:cxn>
                <a:cxn ang="0">
                  <a:pos x="connsiteX4886" y="connsiteY4886"/>
                </a:cxn>
                <a:cxn ang="0">
                  <a:pos x="connsiteX4887" y="connsiteY4887"/>
                </a:cxn>
                <a:cxn ang="0">
                  <a:pos x="connsiteX4888" y="connsiteY4888"/>
                </a:cxn>
                <a:cxn ang="0">
                  <a:pos x="connsiteX4889" y="connsiteY4889"/>
                </a:cxn>
                <a:cxn ang="0">
                  <a:pos x="connsiteX4890" y="connsiteY4890"/>
                </a:cxn>
                <a:cxn ang="0">
                  <a:pos x="connsiteX4891" y="connsiteY4891"/>
                </a:cxn>
                <a:cxn ang="0">
                  <a:pos x="connsiteX4892" y="connsiteY4892"/>
                </a:cxn>
                <a:cxn ang="0">
                  <a:pos x="connsiteX4893" y="connsiteY4893"/>
                </a:cxn>
                <a:cxn ang="0">
                  <a:pos x="connsiteX4894" y="connsiteY4894"/>
                </a:cxn>
                <a:cxn ang="0">
                  <a:pos x="connsiteX4895" y="connsiteY4895"/>
                </a:cxn>
                <a:cxn ang="0">
                  <a:pos x="connsiteX4896" y="connsiteY4896"/>
                </a:cxn>
                <a:cxn ang="0">
                  <a:pos x="connsiteX4897" y="connsiteY4897"/>
                </a:cxn>
                <a:cxn ang="0">
                  <a:pos x="connsiteX4898" y="connsiteY4898"/>
                </a:cxn>
                <a:cxn ang="0">
                  <a:pos x="connsiteX4899" y="connsiteY4899"/>
                </a:cxn>
                <a:cxn ang="0">
                  <a:pos x="connsiteX4900" y="connsiteY4900"/>
                </a:cxn>
                <a:cxn ang="0">
                  <a:pos x="connsiteX4901" y="connsiteY4901"/>
                </a:cxn>
                <a:cxn ang="0">
                  <a:pos x="connsiteX4902" y="connsiteY4902"/>
                </a:cxn>
                <a:cxn ang="0">
                  <a:pos x="connsiteX4903" y="connsiteY4903"/>
                </a:cxn>
                <a:cxn ang="0">
                  <a:pos x="connsiteX4904" y="connsiteY4904"/>
                </a:cxn>
                <a:cxn ang="0">
                  <a:pos x="connsiteX4905" y="connsiteY4905"/>
                </a:cxn>
                <a:cxn ang="0">
                  <a:pos x="connsiteX4906" y="connsiteY4906"/>
                </a:cxn>
                <a:cxn ang="0">
                  <a:pos x="connsiteX4907" y="connsiteY4907"/>
                </a:cxn>
                <a:cxn ang="0">
                  <a:pos x="connsiteX4908" y="connsiteY4908"/>
                </a:cxn>
                <a:cxn ang="0">
                  <a:pos x="connsiteX4909" y="connsiteY4909"/>
                </a:cxn>
                <a:cxn ang="0">
                  <a:pos x="connsiteX4910" y="connsiteY4910"/>
                </a:cxn>
                <a:cxn ang="0">
                  <a:pos x="connsiteX4911" y="connsiteY4911"/>
                </a:cxn>
                <a:cxn ang="0">
                  <a:pos x="connsiteX4912" y="connsiteY4912"/>
                </a:cxn>
                <a:cxn ang="0">
                  <a:pos x="connsiteX4913" y="connsiteY4913"/>
                </a:cxn>
                <a:cxn ang="0">
                  <a:pos x="connsiteX4914" y="connsiteY4914"/>
                </a:cxn>
                <a:cxn ang="0">
                  <a:pos x="connsiteX4915" y="connsiteY4915"/>
                </a:cxn>
                <a:cxn ang="0">
                  <a:pos x="connsiteX4916" y="connsiteY4916"/>
                </a:cxn>
                <a:cxn ang="0">
                  <a:pos x="connsiteX4917" y="connsiteY4917"/>
                </a:cxn>
                <a:cxn ang="0">
                  <a:pos x="connsiteX4918" y="connsiteY4918"/>
                </a:cxn>
                <a:cxn ang="0">
                  <a:pos x="connsiteX4919" y="connsiteY4919"/>
                </a:cxn>
                <a:cxn ang="0">
                  <a:pos x="connsiteX4920" y="connsiteY4920"/>
                </a:cxn>
                <a:cxn ang="0">
                  <a:pos x="connsiteX4921" y="connsiteY4921"/>
                </a:cxn>
                <a:cxn ang="0">
                  <a:pos x="connsiteX4922" y="connsiteY4922"/>
                </a:cxn>
                <a:cxn ang="0">
                  <a:pos x="connsiteX4923" y="connsiteY4923"/>
                </a:cxn>
                <a:cxn ang="0">
                  <a:pos x="connsiteX4924" y="connsiteY4924"/>
                </a:cxn>
                <a:cxn ang="0">
                  <a:pos x="connsiteX4925" y="connsiteY4925"/>
                </a:cxn>
                <a:cxn ang="0">
                  <a:pos x="connsiteX4926" y="connsiteY4926"/>
                </a:cxn>
                <a:cxn ang="0">
                  <a:pos x="connsiteX4927" y="connsiteY4927"/>
                </a:cxn>
                <a:cxn ang="0">
                  <a:pos x="connsiteX4928" y="connsiteY4928"/>
                </a:cxn>
                <a:cxn ang="0">
                  <a:pos x="connsiteX4929" y="connsiteY4929"/>
                </a:cxn>
                <a:cxn ang="0">
                  <a:pos x="connsiteX4930" y="connsiteY4930"/>
                </a:cxn>
                <a:cxn ang="0">
                  <a:pos x="connsiteX4931" y="connsiteY4931"/>
                </a:cxn>
                <a:cxn ang="0">
                  <a:pos x="connsiteX4932" y="connsiteY4932"/>
                </a:cxn>
                <a:cxn ang="0">
                  <a:pos x="connsiteX4933" y="connsiteY4933"/>
                </a:cxn>
                <a:cxn ang="0">
                  <a:pos x="connsiteX4934" y="connsiteY4934"/>
                </a:cxn>
                <a:cxn ang="0">
                  <a:pos x="connsiteX4935" y="connsiteY4935"/>
                </a:cxn>
                <a:cxn ang="0">
                  <a:pos x="connsiteX4936" y="connsiteY4936"/>
                </a:cxn>
                <a:cxn ang="0">
                  <a:pos x="connsiteX4937" y="connsiteY4937"/>
                </a:cxn>
                <a:cxn ang="0">
                  <a:pos x="connsiteX4938" y="connsiteY4938"/>
                </a:cxn>
                <a:cxn ang="0">
                  <a:pos x="connsiteX4939" y="connsiteY4939"/>
                </a:cxn>
                <a:cxn ang="0">
                  <a:pos x="connsiteX4940" y="connsiteY4940"/>
                </a:cxn>
                <a:cxn ang="0">
                  <a:pos x="connsiteX4941" y="connsiteY4941"/>
                </a:cxn>
                <a:cxn ang="0">
                  <a:pos x="connsiteX4942" y="connsiteY4942"/>
                </a:cxn>
                <a:cxn ang="0">
                  <a:pos x="connsiteX4943" y="connsiteY4943"/>
                </a:cxn>
                <a:cxn ang="0">
                  <a:pos x="connsiteX4944" y="connsiteY4944"/>
                </a:cxn>
                <a:cxn ang="0">
                  <a:pos x="connsiteX4945" y="connsiteY4945"/>
                </a:cxn>
                <a:cxn ang="0">
                  <a:pos x="connsiteX4946" y="connsiteY4946"/>
                </a:cxn>
                <a:cxn ang="0">
                  <a:pos x="connsiteX4947" y="connsiteY4947"/>
                </a:cxn>
                <a:cxn ang="0">
                  <a:pos x="connsiteX4948" y="connsiteY4948"/>
                </a:cxn>
                <a:cxn ang="0">
                  <a:pos x="connsiteX4949" y="connsiteY4949"/>
                </a:cxn>
                <a:cxn ang="0">
                  <a:pos x="connsiteX4950" y="connsiteY4950"/>
                </a:cxn>
                <a:cxn ang="0">
                  <a:pos x="connsiteX4951" y="connsiteY4951"/>
                </a:cxn>
                <a:cxn ang="0">
                  <a:pos x="connsiteX4952" y="connsiteY4952"/>
                </a:cxn>
                <a:cxn ang="0">
                  <a:pos x="connsiteX4953" y="connsiteY4953"/>
                </a:cxn>
                <a:cxn ang="0">
                  <a:pos x="connsiteX4954" y="connsiteY4954"/>
                </a:cxn>
                <a:cxn ang="0">
                  <a:pos x="connsiteX4955" y="connsiteY4955"/>
                </a:cxn>
                <a:cxn ang="0">
                  <a:pos x="connsiteX4956" y="connsiteY4956"/>
                </a:cxn>
                <a:cxn ang="0">
                  <a:pos x="connsiteX4957" y="connsiteY4957"/>
                </a:cxn>
                <a:cxn ang="0">
                  <a:pos x="connsiteX4958" y="connsiteY4958"/>
                </a:cxn>
                <a:cxn ang="0">
                  <a:pos x="connsiteX4959" y="connsiteY4959"/>
                </a:cxn>
                <a:cxn ang="0">
                  <a:pos x="connsiteX4960" y="connsiteY4960"/>
                </a:cxn>
                <a:cxn ang="0">
                  <a:pos x="connsiteX4961" y="connsiteY4961"/>
                </a:cxn>
                <a:cxn ang="0">
                  <a:pos x="connsiteX4962" y="connsiteY4962"/>
                </a:cxn>
                <a:cxn ang="0">
                  <a:pos x="connsiteX4963" y="connsiteY4963"/>
                </a:cxn>
                <a:cxn ang="0">
                  <a:pos x="connsiteX4964" y="connsiteY4964"/>
                </a:cxn>
                <a:cxn ang="0">
                  <a:pos x="connsiteX4965" y="connsiteY4965"/>
                </a:cxn>
                <a:cxn ang="0">
                  <a:pos x="connsiteX4966" y="connsiteY4966"/>
                </a:cxn>
                <a:cxn ang="0">
                  <a:pos x="connsiteX4967" y="connsiteY4967"/>
                </a:cxn>
                <a:cxn ang="0">
                  <a:pos x="connsiteX4968" y="connsiteY4968"/>
                </a:cxn>
                <a:cxn ang="0">
                  <a:pos x="connsiteX4969" y="connsiteY4969"/>
                </a:cxn>
                <a:cxn ang="0">
                  <a:pos x="connsiteX4970" y="connsiteY4970"/>
                </a:cxn>
                <a:cxn ang="0">
                  <a:pos x="connsiteX4971" y="connsiteY4971"/>
                </a:cxn>
                <a:cxn ang="0">
                  <a:pos x="connsiteX4972" y="connsiteY4972"/>
                </a:cxn>
                <a:cxn ang="0">
                  <a:pos x="connsiteX4973" y="connsiteY4973"/>
                </a:cxn>
                <a:cxn ang="0">
                  <a:pos x="connsiteX4974" y="connsiteY4974"/>
                </a:cxn>
                <a:cxn ang="0">
                  <a:pos x="connsiteX4975" y="connsiteY4975"/>
                </a:cxn>
                <a:cxn ang="0">
                  <a:pos x="connsiteX4976" y="connsiteY4976"/>
                </a:cxn>
                <a:cxn ang="0">
                  <a:pos x="connsiteX4977" y="connsiteY4977"/>
                </a:cxn>
                <a:cxn ang="0">
                  <a:pos x="connsiteX4978" y="connsiteY4978"/>
                </a:cxn>
                <a:cxn ang="0">
                  <a:pos x="connsiteX4979" y="connsiteY4979"/>
                </a:cxn>
                <a:cxn ang="0">
                  <a:pos x="connsiteX4980" y="connsiteY4980"/>
                </a:cxn>
                <a:cxn ang="0">
                  <a:pos x="connsiteX4981" y="connsiteY4981"/>
                </a:cxn>
                <a:cxn ang="0">
                  <a:pos x="connsiteX4982" y="connsiteY4982"/>
                </a:cxn>
                <a:cxn ang="0">
                  <a:pos x="connsiteX4983" y="connsiteY4983"/>
                </a:cxn>
                <a:cxn ang="0">
                  <a:pos x="connsiteX4984" y="connsiteY4984"/>
                </a:cxn>
                <a:cxn ang="0">
                  <a:pos x="connsiteX4985" y="connsiteY4985"/>
                </a:cxn>
                <a:cxn ang="0">
                  <a:pos x="connsiteX4986" y="connsiteY4986"/>
                </a:cxn>
                <a:cxn ang="0">
                  <a:pos x="connsiteX4987" y="connsiteY4987"/>
                </a:cxn>
                <a:cxn ang="0">
                  <a:pos x="connsiteX4988" y="connsiteY4988"/>
                </a:cxn>
                <a:cxn ang="0">
                  <a:pos x="connsiteX4989" y="connsiteY4989"/>
                </a:cxn>
                <a:cxn ang="0">
                  <a:pos x="connsiteX4990" y="connsiteY4990"/>
                </a:cxn>
                <a:cxn ang="0">
                  <a:pos x="connsiteX4991" y="connsiteY4991"/>
                </a:cxn>
                <a:cxn ang="0">
                  <a:pos x="connsiteX4992" y="connsiteY4992"/>
                </a:cxn>
                <a:cxn ang="0">
                  <a:pos x="connsiteX4993" y="connsiteY4993"/>
                </a:cxn>
                <a:cxn ang="0">
                  <a:pos x="connsiteX4994" y="connsiteY4994"/>
                </a:cxn>
                <a:cxn ang="0">
                  <a:pos x="connsiteX4995" y="connsiteY4995"/>
                </a:cxn>
                <a:cxn ang="0">
                  <a:pos x="connsiteX4996" y="connsiteY4996"/>
                </a:cxn>
                <a:cxn ang="0">
                  <a:pos x="connsiteX4997" y="connsiteY4997"/>
                </a:cxn>
                <a:cxn ang="0">
                  <a:pos x="connsiteX4998" y="connsiteY4998"/>
                </a:cxn>
                <a:cxn ang="0">
                  <a:pos x="connsiteX4999" y="connsiteY4999"/>
                </a:cxn>
                <a:cxn ang="0">
                  <a:pos x="connsiteX5000" y="connsiteY5000"/>
                </a:cxn>
                <a:cxn ang="0">
                  <a:pos x="connsiteX5001" y="connsiteY5001"/>
                </a:cxn>
                <a:cxn ang="0">
                  <a:pos x="connsiteX5002" y="connsiteY5002"/>
                </a:cxn>
                <a:cxn ang="0">
                  <a:pos x="connsiteX5003" y="connsiteY5003"/>
                </a:cxn>
                <a:cxn ang="0">
                  <a:pos x="connsiteX5004" y="connsiteY5004"/>
                </a:cxn>
                <a:cxn ang="0">
                  <a:pos x="connsiteX5005" y="connsiteY5005"/>
                </a:cxn>
                <a:cxn ang="0">
                  <a:pos x="connsiteX5006" y="connsiteY5006"/>
                </a:cxn>
                <a:cxn ang="0">
                  <a:pos x="connsiteX5007" y="connsiteY5007"/>
                </a:cxn>
                <a:cxn ang="0">
                  <a:pos x="connsiteX5008" y="connsiteY5008"/>
                </a:cxn>
                <a:cxn ang="0">
                  <a:pos x="connsiteX5009" y="connsiteY5009"/>
                </a:cxn>
                <a:cxn ang="0">
                  <a:pos x="connsiteX5010" y="connsiteY5010"/>
                </a:cxn>
                <a:cxn ang="0">
                  <a:pos x="connsiteX5011" y="connsiteY5011"/>
                </a:cxn>
                <a:cxn ang="0">
                  <a:pos x="connsiteX5012" y="connsiteY5012"/>
                </a:cxn>
                <a:cxn ang="0">
                  <a:pos x="connsiteX5013" y="connsiteY5013"/>
                </a:cxn>
                <a:cxn ang="0">
                  <a:pos x="connsiteX5014" y="connsiteY5014"/>
                </a:cxn>
                <a:cxn ang="0">
                  <a:pos x="connsiteX5015" y="connsiteY5015"/>
                </a:cxn>
                <a:cxn ang="0">
                  <a:pos x="connsiteX5016" y="connsiteY5016"/>
                </a:cxn>
                <a:cxn ang="0">
                  <a:pos x="connsiteX5017" y="connsiteY5017"/>
                </a:cxn>
                <a:cxn ang="0">
                  <a:pos x="connsiteX5018" y="connsiteY5018"/>
                </a:cxn>
                <a:cxn ang="0">
                  <a:pos x="connsiteX5019" y="connsiteY5019"/>
                </a:cxn>
                <a:cxn ang="0">
                  <a:pos x="connsiteX5020" y="connsiteY5020"/>
                </a:cxn>
                <a:cxn ang="0">
                  <a:pos x="connsiteX5021" y="connsiteY5021"/>
                </a:cxn>
                <a:cxn ang="0">
                  <a:pos x="connsiteX5022" y="connsiteY5022"/>
                </a:cxn>
                <a:cxn ang="0">
                  <a:pos x="connsiteX5023" y="connsiteY5023"/>
                </a:cxn>
                <a:cxn ang="0">
                  <a:pos x="connsiteX5024" y="connsiteY5024"/>
                </a:cxn>
                <a:cxn ang="0">
                  <a:pos x="connsiteX5025" y="connsiteY5025"/>
                </a:cxn>
                <a:cxn ang="0">
                  <a:pos x="connsiteX5026" y="connsiteY5026"/>
                </a:cxn>
                <a:cxn ang="0">
                  <a:pos x="connsiteX5027" y="connsiteY5027"/>
                </a:cxn>
                <a:cxn ang="0">
                  <a:pos x="connsiteX5028" y="connsiteY5028"/>
                </a:cxn>
                <a:cxn ang="0">
                  <a:pos x="connsiteX5029" y="connsiteY5029"/>
                </a:cxn>
                <a:cxn ang="0">
                  <a:pos x="connsiteX5030" y="connsiteY5030"/>
                </a:cxn>
                <a:cxn ang="0">
                  <a:pos x="connsiteX5031" y="connsiteY5031"/>
                </a:cxn>
                <a:cxn ang="0">
                  <a:pos x="connsiteX5032" y="connsiteY5032"/>
                </a:cxn>
                <a:cxn ang="0">
                  <a:pos x="connsiteX5033" y="connsiteY5033"/>
                </a:cxn>
                <a:cxn ang="0">
                  <a:pos x="connsiteX5034" y="connsiteY5034"/>
                </a:cxn>
                <a:cxn ang="0">
                  <a:pos x="connsiteX5035" y="connsiteY5035"/>
                </a:cxn>
                <a:cxn ang="0">
                  <a:pos x="connsiteX5036" y="connsiteY5036"/>
                </a:cxn>
                <a:cxn ang="0">
                  <a:pos x="connsiteX5037" y="connsiteY5037"/>
                </a:cxn>
                <a:cxn ang="0">
                  <a:pos x="connsiteX5038" y="connsiteY5038"/>
                </a:cxn>
                <a:cxn ang="0">
                  <a:pos x="connsiteX5039" y="connsiteY5039"/>
                </a:cxn>
                <a:cxn ang="0">
                  <a:pos x="connsiteX5040" y="connsiteY5040"/>
                </a:cxn>
                <a:cxn ang="0">
                  <a:pos x="connsiteX5041" y="connsiteY5041"/>
                </a:cxn>
                <a:cxn ang="0">
                  <a:pos x="connsiteX5042" y="connsiteY5042"/>
                </a:cxn>
                <a:cxn ang="0">
                  <a:pos x="connsiteX5043" y="connsiteY5043"/>
                </a:cxn>
                <a:cxn ang="0">
                  <a:pos x="connsiteX5044" y="connsiteY5044"/>
                </a:cxn>
                <a:cxn ang="0">
                  <a:pos x="connsiteX5045" y="connsiteY5045"/>
                </a:cxn>
                <a:cxn ang="0">
                  <a:pos x="connsiteX5046" y="connsiteY5046"/>
                </a:cxn>
                <a:cxn ang="0">
                  <a:pos x="connsiteX5047" y="connsiteY5047"/>
                </a:cxn>
                <a:cxn ang="0">
                  <a:pos x="connsiteX5048" y="connsiteY5048"/>
                </a:cxn>
                <a:cxn ang="0">
                  <a:pos x="connsiteX5049" y="connsiteY5049"/>
                </a:cxn>
                <a:cxn ang="0">
                  <a:pos x="connsiteX5050" y="connsiteY5050"/>
                </a:cxn>
                <a:cxn ang="0">
                  <a:pos x="connsiteX5051" y="connsiteY5051"/>
                </a:cxn>
                <a:cxn ang="0">
                  <a:pos x="connsiteX5052" y="connsiteY5052"/>
                </a:cxn>
                <a:cxn ang="0">
                  <a:pos x="connsiteX5053" y="connsiteY5053"/>
                </a:cxn>
                <a:cxn ang="0">
                  <a:pos x="connsiteX5054" y="connsiteY5054"/>
                </a:cxn>
                <a:cxn ang="0">
                  <a:pos x="connsiteX5055" y="connsiteY5055"/>
                </a:cxn>
                <a:cxn ang="0">
                  <a:pos x="connsiteX5056" y="connsiteY5056"/>
                </a:cxn>
                <a:cxn ang="0">
                  <a:pos x="connsiteX5057" y="connsiteY5057"/>
                </a:cxn>
                <a:cxn ang="0">
                  <a:pos x="connsiteX5058" y="connsiteY5058"/>
                </a:cxn>
                <a:cxn ang="0">
                  <a:pos x="connsiteX5059" y="connsiteY5059"/>
                </a:cxn>
                <a:cxn ang="0">
                  <a:pos x="connsiteX5060" y="connsiteY5060"/>
                </a:cxn>
                <a:cxn ang="0">
                  <a:pos x="connsiteX5061" y="connsiteY5061"/>
                </a:cxn>
                <a:cxn ang="0">
                  <a:pos x="connsiteX5062" y="connsiteY5062"/>
                </a:cxn>
                <a:cxn ang="0">
                  <a:pos x="connsiteX5063" y="connsiteY5063"/>
                </a:cxn>
                <a:cxn ang="0">
                  <a:pos x="connsiteX5064" y="connsiteY5064"/>
                </a:cxn>
                <a:cxn ang="0">
                  <a:pos x="connsiteX5065" y="connsiteY5065"/>
                </a:cxn>
                <a:cxn ang="0">
                  <a:pos x="connsiteX5066" y="connsiteY5066"/>
                </a:cxn>
                <a:cxn ang="0">
                  <a:pos x="connsiteX5067" y="connsiteY5067"/>
                </a:cxn>
                <a:cxn ang="0">
                  <a:pos x="connsiteX5068" y="connsiteY5068"/>
                </a:cxn>
                <a:cxn ang="0">
                  <a:pos x="connsiteX5069" y="connsiteY5069"/>
                </a:cxn>
                <a:cxn ang="0">
                  <a:pos x="connsiteX5070" y="connsiteY5070"/>
                </a:cxn>
                <a:cxn ang="0">
                  <a:pos x="connsiteX5071" y="connsiteY5071"/>
                </a:cxn>
                <a:cxn ang="0">
                  <a:pos x="connsiteX5072" y="connsiteY5072"/>
                </a:cxn>
                <a:cxn ang="0">
                  <a:pos x="connsiteX5073" y="connsiteY5073"/>
                </a:cxn>
                <a:cxn ang="0">
                  <a:pos x="connsiteX5074" y="connsiteY5074"/>
                </a:cxn>
                <a:cxn ang="0">
                  <a:pos x="connsiteX5075" y="connsiteY5075"/>
                </a:cxn>
                <a:cxn ang="0">
                  <a:pos x="connsiteX5076" y="connsiteY5076"/>
                </a:cxn>
                <a:cxn ang="0">
                  <a:pos x="connsiteX5077" y="connsiteY5077"/>
                </a:cxn>
                <a:cxn ang="0">
                  <a:pos x="connsiteX5078" y="connsiteY5078"/>
                </a:cxn>
                <a:cxn ang="0">
                  <a:pos x="connsiteX5079" y="connsiteY5079"/>
                </a:cxn>
                <a:cxn ang="0">
                  <a:pos x="connsiteX5080" y="connsiteY5080"/>
                </a:cxn>
                <a:cxn ang="0">
                  <a:pos x="connsiteX5081" y="connsiteY5081"/>
                </a:cxn>
                <a:cxn ang="0">
                  <a:pos x="connsiteX5082" y="connsiteY5082"/>
                </a:cxn>
                <a:cxn ang="0">
                  <a:pos x="connsiteX5083" y="connsiteY5083"/>
                </a:cxn>
                <a:cxn ang="0">
                  <a:pos x="connsiteX5084" y="connsiteY5084"/>
                </a:cxn>
                <a:cxn ang="0">
                  <a:pos x="connsiteX5085" y="connsiteY5085"/>
                </a:cxn>
                <a:cxn ang="0">
                  <a:pos x="connsiteX5086" y="connsiteY5086"/>
                </a:cxn>
                <a:cxn ang="0">
                  <a:pos x="connsiteX5087" y="connsiteY5087"/>
                </a:cxn>
                <a:cxn ang="0">
                  <a:pos x="connsiteX5088" y="connsiteY5088"/>
                </a:cxn>
                <a:cxn ang="0">
                  <a:pos x="connsiteX5089" y="connsiteY5089"/>
                </a:cxn>
                <a:cxn ang="0">
                  <a:pos x="connsiteX5090" y="connsiteY5090"/>
                </a:cxn>
                <a:cxn ang="0">
                  <a:pos x="connsiteX5091" y="connsiteY5091"/>
                </a:cxn>
                <a:cxn ang="0">
                  <a:pos x="connsiteX5092" y="connsiteY5092"/>
                </a:cxn>
                <a:cxn ang="0">
                  <a:pos x="connsiteX5093" y="connsiteY5093"/>
                </a:cxn>
                <a:cxn ang="0">
                  <a:pos x="connsiteX5094" y="connsiteY5094"/>
                </a:cxn>
                <a:cxn ang="0">
                  <a:pos x="connsiteX5095" y="connsiteY5095"/>
                </a:cxn>
                <a:cxn ang="0">
                  <a:pos x="connsiteX5096" y="connsiteY5096"/>
                </a:cxn>
                <a:cxn ang="0">
                  <a:pos x="connsiteX5097" y="connsiteY5097"/>
                </a:cxn>
                <a:cxn ang="0">
                  <a:pos x="connsiteX5098" y="connsiteY5098"/>
                </a:cxn>
                <a:cxn ang="0">
                  <a:pos x="connsiteX5099" y="connsiteY5099"/>
                </a:cxn>
                <a:cxn ang="0">
                  <a:pos x="connsiteX5100" y="connsiteY5100"/>
                </a:cxn>
                <a:cxn ang="0">
                  <a:pos x="connsiteX5101" y="connsiteY5101"/>
                </a:cxn>
                <a:cxn ang="0">
                  <a:pos x="connsiteX5102" y="connsiteY5102"/>
                </a:cxn>
                <a:cxn ang="0">
                  <a:pos x="connsiteX5103" y="connsiteY5103"/>
                </a:cxn>
                <a:cxn ang="0">
                  <a:pos x="connsiteX5104" y="connsiteY5104"/>
                </a:cxn>
                <a:cxn ang="0">
                  <a:pos x="connsiteX5105" y="connsiteY5105"/>
                </a:cxn>
                <a:cxn ang="0">
                  <a:pos x="connsiteX5106" y="connsiteY5106"/>
                </a:cxn>
                <a:cxn ang="0">
                  <a:pos x="connsiteX5107" y="connsiteY5107"/>
                </a:cxn>
                <a:cxn ang="0">
                  <a:pos x="connsiteX5108" y="connsiteY5108"/>
                </a:cxn>
                <a:cxn ang="0">
                  <a:pos x="connsiteX5109" y="connsiteY5109"/>
                </a:cxn>
                <a:cxn ang="0">
                  <a:pos x="connsiteX5110" y="connsiteY5110"/>
                </a:cxn>
                <a:cxn ang="0">
                  <a:pos x="connsiteX5111" y="connsiteY5111"/>
                </a:cxn>
                <a:cxn ang="0">
                  <a:pos x="connsiteX5112" y="connsiteY5112"/>
                </a:cxn>
                <a:cxn ang="0">
                  <a:pos x="connsiteX5113" y="connsiteY5113"/>
                </a:cxn>
                <a:cxn ang="0">
                  <a:pos x="connsiteX5114" y="connsiteY5114"/>
                </a:cxn>
                <a:cxn ang="0">
                  <a:pos x="connsiteX5115" y="connsiteY5115"/>
                </a:cxn>
                <a:cxn ang="0">
                  <a:pos x="connsiteX5116" y="connsiteY5116"/>
                </a:cxn>
                <a:cxn ang="0">
                  <a:pos x="connsiteX5117" y="connsiteY5117"/>
                </a:cxn>
                <a:cxn ang="0">
                  <a:pos x="connsiteX5118" y="connsiteY5118"/>
                </a:cxn>
                <a:cxn ang="0">
                  <a:pos x="connsiteX5119" y="connsiteY5119"/>
                </a:cxn>
                <a:cxn ang="0">
                  <a:pos x="connsiteX5120" y="connsiteY5120"/>
                </a:cxn>
                <a:cxn ang="0">
                  <a:pos x="connsiteX5121" y="connsiteY5121"/>
                </a:cxn>
                <a:cxn ang="0">
                  <a:pos x="connsiteX5122" y="connsiteY5122"/>
                </a:cxn>
                <a:cxn ang="0">
                  <a:pos x="connsiteX5123" y="connsiteY5123"/>
                </a:cxn>
                <a:cxn ang="0">
                  <a:pos x="connsiteX5124" y="connsiteY5124"/>
                </a:cxn>
                <a:cxn ang="0">
                  <a:pos x="connsiteX5125" y="connsiteY5125"/>
                </a:cxn>
                <a:cxn ang="0">
                  <a:pos x="connsiteX5126" y="connsiteY5126"/>
                </a:cxn>
                <a:cxn ang="0">
                  <a:pos x="connsiteX5127" y="connsiteY5127"/>
                </a:cxn>
                <a:cxn ang="0">
                  <a:pos x="connsiteX5128" y="connsiteY5128"/>
                </a:cxn>
                <a:cxn ang="0">
                  <a:pos x="connsiteX5129" y="connsiteY5129"/>
                </a:cxn>
                <a:cxn ang="0">
                  <a:pos x="connsiteX5130" y="connsiteY5130"/>
                </a:cxn>
                <a:cxn ang="0">
                  <a:pos x="connsiteX5131" y="connsiteY5131"/>
                </a:cxn>
                <a:cxn ang="0">
                  <a:pos x="connsiteX5132" y="connsiteY5132"/>
                </a:cxn>
                <a:cxn ang="0">
                  <a:pos x="connsiteX5133" y="connsiteY5133"/>
                </a:cxn>
                <a:cxn ang="0">
                  <a:pos x="connsiteX5134" y="connsiteY5134"/>
                </a:cxn>
                <a:cxn ang="0">
                  <a:pos x="connsiteX5135" y="connsiteY5135"/>
                </a:cxn>
                <a:cxn ang="0">
                  <a:pos x="connsiteX5136" y="connsiteY5136"/>
                </a:cxn>
                <a:cxn ang="0">
                  <a:pos x="connsiteX5137" y="connsiteY5137"/>
                </a:cxn>
                <a:cxn ang="0">
                  <a:pos x="connsiteX5138" y="connsiteY5138"/>
                </a:cxn>
                <a:cxn ang="0">
                  <a:pos x="connsiteX5139" y="connsiteY5139"/>
                </a:cxn>
                <a:cxn ang="0">
                  <a:pos x="connsiteX5140" y="connsiteY5140"/>
                </a:cxn>
                <a:cxn ang="0">
                  <a:pos x="connsiteX5141" y="connsiteY5141"/>
                </a:cxn>
                <a:cxn ang="0">
                  <a:pos x="connsiteX5142" y="connsiteY5142"/>
                </a:cxn>
                <a:cxn ang="0">
                  <a:pos x="connsiteX5143" y="connsiteY5143"/>
                </a:cxn>
                <a:cxn ang="0">
                  <a:pos x="connsiteX5144" y="connsiteY5144"/>
                </a:cxn>
                <a:cxn ang="0">
                  <a:pos x="connsiteX5145" y="connsiteY5145"/>
                </a:cxn>
                <a:cxn ang="0">
                  <a:pos x="connsiteX5146" y="connsiteY5146"/>
                </a:cxn>
                <a:cxn ang="0">
                  <a:pos x="connsiteX5147" y="connsiteY5147"/>
                </a:cxn>
                <a:cxn ang="0">
                  <a:pos x="connsiteX5148" y="connsiteY5148"/>
                </a:cxn>
                <a:cxn ang="0">
                  <a:pos x="connsiteX5149" y="connsiteY5149"/>
                </a:cxn>
                <a:cxn ang="0">
                  <a:pos x="connsiteX5150" y="connsiteY5150"/>
                </a:cxn>
                <a:cxn ang="0">
                  <a:pos x="connsiteX5151" y="connsiteY5151"/>
                </a:cxn>
                <a:cxn ang="0">
                  <a:pos x="connsiteX5152" y="connsiteY5152"/>
                </a:cxn>
                <a:cxn ang="0">
                  <a:pos x="connsiteX5153" y="connsiteY5153"/>
                </a:cxn>
                <a:cxn ang="0">
                  <a:pos x="connsiteX5154" y="connsiteY5154"/>
                </a:cxn>
                <a:cxn ang="0">
                  <a:pos x="connsiteX5155" y="connsiteY5155"/>
                </a:cxn>
                <a:cxn ang="0">
                  <a:pos x="connsiteX5156" y="connsiteY5156"/>
                </a:cxn>
                <a:cxn ang="0">
                  <a:pos x="connsiteX5157" y="connsiteY5157"/>
                </a:cxn>
                <a:cxn ang="0">
                  <a:pos x="connsiteX5158" y="connsiteY5158"/>
                </a:cxn>
                <a:cxn ang="0">
                  <a:pos x="connsiteX5159" y="connsiteY5159"/>
                </a:cxn>
                <a:cxn ang="0">
                  <a:pos x="connsiteX5160" y="connsiteY5160"/>
                </a:cxn>
                <a:cxn ang="0">
                  <a:pos x="connsiteX5161" y="connsiteY5161"/>
                </a:cxn>
                <a:cxn ang="0">
                  <a:pos x="connsiteX5162" y="connsiteY5162"/>
                </a:cxn>
                <a:cxn ang="0">
                  <a:pos x="connsiteX5163" y="connsiteY5163"/>
                </a:cxn>
                <a:cxn ang="0">
                  <a:pos x="connsiteX5164" y="connsiteY5164"/>
                </a:cxn>
                <a:cxn ang="0">
                  <a:pos x="connsiteX5165" y="connsiteY5165"/>
                </a:cxn>
                <a:cxn ang="0">
                  <a:pos x="connsiteX5166" y="connsiteY5166"/>
                </a:cxn>
                <a:cxn ang="0">
                  <a:pos x="connsiteX5167" y="connsiteY5167"/>
                </a:cxn>
                <a:cxn ang="0">
                  <a:pos x="connsiteX5168" y="connsiteY5168"/>
                </a:cxn>
                <a:cxn ang="0">
                  <a:pos x="connsiteX5169" y="connsiteY5169"/>
                </a:cxn>
                <a:cxn ang="0">
                  <a:pos x="connsiteX5170" y="connsiteY5170"/>
                </a:cxn>
                <a:cxn ang="0">
                  <a:pos x="connsiteX5171" y="connsiteY5171"/>
                </a:cxn>
                <a:cxn ang="0">
                  <a:pos x="connsiteX5172" y="connsiteY5172"/>
                </a:cxn>
                <a:cxn ang="0">
                  <a:pos x="connsiteX5173" y="connsiteY5173"/>
                </a:cxn>
                <a:cxn ang="0">
                  <a:pos x="connsiteX5174" y="connsiteY5174"/>
                </a:cxn>
                <a:cxn ang="0">
                  <a:pos x="connsiteX5175" y="connsiteY5175"/>
                </a:cxn>
                <a:cxn ang="0">
                  <a:pos x="connsiteX5176" y="connsiteY5176"/>
                </a:cxn>
                <a:cxn ang="0">
                  <a:pos x="connsiteX5177" y="connsiteY5177"/>
                </a:cxn>
                <a:cxn ang="0">
                  <a:pos x="connsiteX5178" y="connsiteY5178"/>
                </a:cxn>
                <a:cxn ang="0">
                  <a:pos x="connsiteX5179" y="connsiteY5179"/>
                </a:cxn>
                <a:cxn ang="0">
                  <a:pos x="connsiteX5180" y="connsiteY5180"/>
                </a:cxn>
                <a:cxn ang="0">
                  <a:pos x="connsiteX5181" y="connsiteY5181"/>
                </a:cxn>
                <a:cxn ang="0">
                  <a:pos x="connsiteX5182" y="connsiteY5182"/>
                </a:cxn>
                <a:cxn ang="0">
                  <a:pos x="connsiteX5183" y="connsiteY5183"/>
                </a:cxn>
                <a:cxn ang="0">
                  <a:pos x="connsiteX5184" y="connsiteY5184"/>
                </a:cxn>
                <a:cxn ang="0">
                  <a:pos x="connsiteX5185" y="connsiteY5185"/>
                </a:cxn>
                <a:cxn ang="0">
                  <a:pos x="connsiteX5186" y="connsiteY5186"/>
                </a:cxn>
                <a:cxn ang="0">
                  <a:pos x="connsiteX5187" y="connsiteY5187"/>
                </a:cxn>
                <a:cxn ang="0">
                  <a:pos x="connsiteX5188" y="connsiteY5188"/>
                </a:cxn>
                <a:cxn ang="0">
                  <a:pos x="connsiteX5189" y="connsiteY5189"/>
                </a:cxn>
                <a:cxn ang="0">
                  <a:pos x="connsiteX5190" y="connsiteY5190"/>
                </a:cxn>
                <a:cxn ang="0">
                  <a:pos x="connsiteX5191" y="connsiteY5191"/>
                </a:cxn>
                <a:cxn ang="0">
                  <a:pos x="connsiteX5192" y="connsiteY5192"/>
                </a:cxn>
                <a:cxn ang="0">
                  <a:pos x="connsiteX5193" y="connsiteY5193"/>
                </a:cxn>
                <a:cxn ang="0">
                  <a:pos x="connsiteX5194" y="connsiteY5194"/>
                </a:cxn>
                <a:cxn ang="0">
                  <a:pos x="connsiteX5195" y="connsiteY5195"/>
                </a:cxn>
                <a:cxn ang="0">
                  <a:pos x="connsiteX5196" y="connsiteY5196"/>
                </a:cxn>
                <a:cxn ang="0">
                  <a:pos x="connsiteX5197" y="connsiteY5197"/>
                </a:cxn>
                <a:cxn ang="0">
                  <a:pos x="connsiteX5198" y="connsiteY5198"/>
                </a:cxn>
                <a:cxn ang="0">
                  <a:pos x="connsiteX5199" y="connsiteY5199"/>
                </a:cxn>
                <a:cxn ang="0">
                  <a:pos x="connsiteX5200" y="connsiteY5200"/>
                </a:cxn>
                <a:cxn ang="0">
                  <a:pos x="connsiteX5201" y="connsiteY5201"/>
                </a:cxn>
                <a:cxn ang="0">
                  <a:pos x="connsiteX5202" y="connsiteY5202"/>
                </a:cxn>
                <a:cxn ang="0">
                  <a:pos x="connsiteX5203" y="connsiteY5203"/>
                </a:cxn>
                <a:cxn ang="0">
                  <a:pos x="connsiteX5204" y="connsiteY5204"/>
                </a:cxn>
                <a:cxn ang="0">
                  <a:pos x="connsiteX5205" y="connsiteY5205"/>
                </a:cxn>
                <a:cxn ang="0">
                  <a:pos x="connsiteX5206" y="connsiteY5206"/>
                </a:cxn>
                <a:cxn ang="0">
                  <a:pos x="connsiteX5207" y="connsiteY5207"/>
                </a:cxn>
                <a:cxn ang="0">
                  <a:pos x="connsiteX5208" y="connsiteY5208"/>
                </a:cxn>
                <a:cxn ang="0">
                  <a:pos x="connsiteX5209" y="connsiteY5209"/>
                </a:cxn>
                <a:cxn ang="0">
                  <a:pos x="connsiteX5210" y="connsiteY5210"/>
                </a:cxn>
                <a:cxn ang="0">
                  <a:pos x="connsiteX5211" y="connsiteY5211"/>
                </a:cxn>
                <a:cxn ang="0">
                  <a:pos x="connsiteX5212" y="connsiteY5212"/>
                </a:cxn>
                <a:cxn ang="0">
                  <a:pos x="connsiteX5213" y="connsiteY5213"/>
                </a:cxn>
                <a:cxn ang="0">
                  <a:pos x="connsiteX5214" y="connsiteY5214"/>
                </a:cxn>
                <a:cxn ang="0">
                  <a:pos x="connsiteX5215" y="connsiteY5215"/>
                </a:cxn>
                <a:cxn ang="0">
                  <a:pos x="connsiteX5216" y="connsiteY5216"/>
                </a:cxn>
                <a:cxn ang="0">
                  <a:pos x="connsiteX5217" y="connsiteY5217"/>
                </a:cxn>
                <a:cxn ang="0">
                  <a:pos x="connsiteX5218" y="connsiteY5218"/>
                </a:cxn>
                <a:cxn ang="0">
                  <a:pos x="connsiteX5219" y="connsiteY5219"/>
                </a:cxn>
                <a:cxn ang="0">
                  <a:pos x="connsiteX5220" y="connsiteY5220"/>
                </a:cxn>
                <a:cxn ang="0">
                  <a:pos x="connsiteX5221" y="connsiteY5221"/>
                </a:cxn>
                <a:cxn ang="0">
                  <a:pos x="connsiteX5222" y="connsiteY5222"/>
                </a:cxn>
                <a:cxn ang="0">
                  <a:pos x="connsiteX5223" y="connsiteY5223"/>
                </a:cxn>
                <a:cxn ang="0">
                  <a:pos x="connsiteX5224" y="connsiteY5224"/>
                </a:cxn>
                <a:cxn ang="0">
                  <a:pos x="connsiteX5225" y="connsiteY5225"/>
                </a:cxn>
                <a:cxn ang="0">
                  <a:pos x="connsiteX5226" y="connsiteY5226"/>
                </a:cxn>
                <a:cxn ang="0">
                  <a:pos x="connsiteX5227" y="connsiteY5227"/>
                </a:cxn>
                <a:cxn ang="0">
                  <a:pos x="connsiteX5228" y="connsiteY5228"/>
                </a:cxn>
                <a:cxn ang="0">
                  <a:pos x="connsiteX5229" y="connsiteY5229"/>
                </a:cxn>
                <a:cxn ang="0">
                  <a:pos x="connsiteX5230" y="connsiteY5230"/>
                </a:cxn>
                <a:cxn ang="0">
                  <a:pos x="connsiteX5231" y="connsiteY5231"/>
                </a:cxn>
                <a:cxn ang="0">
                  <a:pos x="connsiteX5232" y="connsiteY5232"/>
                </a:cxn>
                <a:cxn ang="0">
                  <a:pos x="connsiteX5233" y="connsiteY5233"/>
                </a:cxn>
                <a:cxn ang="0">
                  <a:pos x="connsiteX5234" y="connsiteY5234"/>
                </a:cxn>
                <a:cxn ang="0">
                  <a:pos x="connsiteX5235" y="connsiteY5235"/>
                </a:cxn>
                <a:cxn ang="0">
                  <a:pos x="connsiteX5236" y="connsiteY5236"/>
                </a:cxn>
                <a:cxn ang="0">
                  <a:pos x="connsiteX5237" y="connsiteY5237"/>
                </a:cxn>
                <a:cxn ang="0">
                  <a:pos x="connsiteX5238" y="connsiteY5238"/>
                </a:cxn>
                <a:cxn ang="0">
                  <a:pos x="connsiteX5239" y="connsiteY5239"/>
                </a:cxn>
                <a:cxn ang="0">
                  <a:pos x="connsiteX5240" y="connsiteY5240"/>
                </a:cxn>
                <a:cxn ang="0">
                  <a:pos x="connsiteX5241" y="connsiteY5241"/>
                </a:cxn>
                <a:cxn ang="0">
                  <a:pos x="connsiteX5242" y="connsiteY5242"/>
                </a:cxn>
                <a:cxn ang="0">
                  <a:pos x="connsiteX5243" y="connsiteY5243"/>
                </a:cxn>
                <a:cxn ang="0">
                  <a:pos x="connsiteX5244" y="connsiteY5244"/>
                </a:cxn>
                <a:cxn ang="0">
                  <a:pos x="connsiteX5245" y="connsiteY5245"/>
                </a:cxn>
                <a:cxn ang="0">
                  <a:pos x="connsiteX5246" y="connsiteY5246"/>
                </a:cxn>
                <a:cxn ang="0">
                  <a:pos x="connsiteX5247" y="connsiteY5247"/>
                </a:cxn>
                <a:cxn ang="0">
                  <a:pos x="connsiteX5248" y="connsiteY5248"/>
                </a:cxn>
                <a:cxn ang="0">
                  <a:pos x="connsiteX5249" y="connsiteY5249"/>
                </a:cxn>
                <a:cxn ang="0">
                  <a:pos x="connsiteX5250" y="connsiteY5250"/>
                </a:cxn>
                <a:cxn ang="0">
                  <a:pos x="connsiteX5251" y="connsiteY5251"/>
                </a:cxn>
                <a:cxn ang="0">
                  <a:pos x="connsiteX5252" y="connsiteY5252"/>
                </a:cxn>
                <a:cxn ang="0">
                  <a:pos x="connsiteX5253" y="connsiteY5253"/>
                </a:cxn>
                <a:cxn ang="0">
                  <a:pos x="connsiteX5254" y="connsiteY5254"/>
                </a:cxn>
                <a:cxn ang="0">
                  <a:pos x="connsiteX5255" y="connsiteY5255"/>
                </a:cxn>
                <a:cxn ang="0">
                  <a:pos x="connsiteX5256" y="connsiteY5256"/>
                </a:cxn>
                <a:cxn ang="0">
                  <a:pos x="connsiteX5257" y="connsiteY5257"/>
                </a:cxn>
                <a:cxn ang="0">
                  <a:pos x="connsiteX5258" y="connsiteY5258"/>
                </a:cxn>
                <a:cxn ang="0">
                  <a:pos x="connsiteX5259" y="connsiteY5259"/>
                </a:cxn>
                <a:cxn ang="0">
                  <a:pos x="connsiteX5260" y="connsiteY5260"/>
                </a:cxn>
                <a:cxn ang="0">
                  <a:pos x="connsiteX5261" y="connsiteY5261"/>
                </a:cxn>
                <a:cxn ang="0">
                  <a:pos x="connsiteX5262" y="connsiteY5262"/>
                </a:cxn>
                <a:cxn ang="0">
                  <a:pos x="connsiteX5263" y="connsiteY5263"/>
                </a:cxn>
                <a:cxn ang="0">
                  <a:pos x="connsiteX5264" y="connsiteY5264"/>
                </a:cxn>
                <a:cxn ang="0">
                  <a:pos x="connsiteX5265" y="connsiteY5265"/>
                </a:cxn>
                <a:cxn ang="0">
                  <a:pos x="connsiteX5266" y="connsiteY5266"/>
                </a:cxn>
                <a:cxn ang="0">
                  <a:pos x="connsiteX5267" y="connsiteY5267"/>
                </a:cxn>
                <a:cxn ang="0">
                  <a:pos x="connsiteX5268" y="connsiteY5268"/>
                </a:cxn>
                <a:cxn ang="0">
                  <a:pos x="connsiteX5269" y="connsiteY5269"/>
                </a:cxn>
                <a:cxn ang="0">
                  <a:pos x="connsiteX5270" y="connsiteY5270"/>
                </a:cxn>
                <a:cxn ang="0">
                  <a:pos x="connsiteX5271" y="connsiteY5271"/>
                </a:cxn>
                <a:cxn ang="0">
                  <a:pos x="connsiteX5272" y="connsiteY5272"/>
                </a:cxn>
                <a:cxn ang="0">
                  <a:pos x="connsiteX5273" y="connsiteY5273"/>
                </a:cxn>
                <a:cxn ang="0">
                  <a:pos x="connsiteX5274" y="connsiteY5274"/>
                </a:cxn>
                <a:cxn ang="0">
                  <a:pos x="connsiteX5275" y="connsiteY5275"/>
                </a:cxn>
                <a:cxn ang="0">
                  <a:pos x="connsiteX5276" y="connsiteY5276"/>
                </a:cxn>
                <a:cxn ang="0">
                  <a:pos x="connsiteX5277" y="connsiteY5277"/>
                </a:cxn>
                <a:cxn ang="0">
                  <a:pos x="connsiteX5278" y="connsiteY5278"/>
                </a:cxn>
                <a:cxn ang="0">
                  <a:pos x="connsiteX5279" y="connsiteY5279"/>
                </a:cxn>
                <a:cxn ang="0">
                  <a:pos x="connsiteX5280" y="connsiteY5280"/>
                </a:cxn>
                <a:cxn ang="0">
                  <a:pos x="connsiteX5281" y="connsiteY5281"/>
                </a:cxn>
                <a:cxn ang="0">
                  <a:pos x="connsiteX5282" y="connsiteY5282"/>
                </a:cxn>
                <a:cxn ang="0">
                  <a:pos x="connsiteX5283" y="connsiteY5283"/>
                </a:cxn>
                <a:cxn ang="0">
                  <a:pos x="connsiteX5284" y="connsiteY5284"/>
                </a:cxn>
                <a:cxn ang="0">
                  <a:pos x="connsiteX5285" y="connsiteY5285"/>
                </a:cxn>
                <a:cxn ang="0">
                  <a:pos x="connsiteX5286" y="connsiteY5286"/>
                </a:cxn>
                <a:cxn ang="0">
                  <a:pos x="connsiteX5287" y="connsiteY5287"/>
                </a:cxn>
                <a:cxn ang="0">
                  <a:pos x="connsiteX5288" y="connsiteY5288"/>
                </a:cxn>
                <a:cxn ang="0">
                  <a:pos x="connsiteX5289" y="connsiteY5289"/>
                </a:cxn>
                <a:cxn ang="0">
                  <a:pos x="connsiteX5290" y="connsiteY5290"/>
                </a:cxn>
                <a:cxn ang="0">
                  <a:pos x="connsiteX5291" y="connsiteY5291"/>
                </a:cxn>
                <a:cxn ang="0">
                  <a:pos x="connsiteX5292" y="connsiteY5292"/>
                </a:cxn>
                <a:cxn ang="0">
                  <a:pos x="connsiteX5293" y="connsiteY5293"/>
                </a:cxn>
                <a:cxn ang="0">
                  <a:pos x="connsiteX5294" y="connsiteY5294"/>
                </a:cxn>
                <a:cxn ang="0">
                  <a:pos x="connsiteX5295" y="connsiteY5295"/>
                </a:cxn>
                <a:cxn ang="0">
                  <a:pos x="connsiteX5296" y="connsiteY5296"/>
                </a:cxn>
                <a:cxn ang="0">
                  <a:pos x="connsiteX5297" y="connsiteY5297"/>
                </a:cxn>
                <a:cxn ang="0">
                  <a:pos x="connsiteX5298" y="connsiteY5298"/>
                </a:cxn>
                <a:cxn ang="0">
                  <a:pos x="connsiteX5299" y="connsiteY5299"/>
                </a:cxn>
                <a:cxn ang="0">
                  <a:pos x="connsiteX5300" y="connsiteY5300"/>
                </a:cxn>
                <a:cxn ang="0">
                  <a:pos x="connsiteX5301" y="connsiteY5301"/>
                </a:cxn>
                <a:cxn ang="0">
                  <a:pos x="connsiteX5302" y="connsiteY5302"/>
                </a:cxn>
                <a:cxn ang="0">
                  <a:pos x="connsiteX5303" y="connsiteY5303"/>
                </a:cxn>
                <a:cxn ang="0">
                  <a:pos x="connsiteX5304" y="connsiteY5304"/>
                </a:cxn>
                <a:cxn ang="0">
                  <a:pos x="connsiteX5305" y="connsiteY5305"/>
                </a:cxn>
                <a:cxn ang="0">
                  <a:pos x="connsiteX5306" y="connsiteY5306"/>
                </a:cxn>
                <a:cxn ang="0">
                  <a:pos x="connsiteX5307" y="connsiteY5307"/>
                </a:cxn>
                <a:cxn ang="0">
                  <a:pos x="connsiteX5308" y="connsiteY5308"/>
                </a:cxn>
                <a:cxn ang="0">
                  <a:pos x="connsiteX5309" y="connsiteY5309"/>
                </a:cxn>
                <a:cxn ang="0">
                  <a:pos x="connsiteX5310" y="connsiteY5310"/>
                </a:cxn>
                <a:cxn ang="0">
                  <a:pos x="connsiteX5311" y="connsiteY5311"/>
                </a:cxn>
                <a:cxn ang="0">
                  <a:pos x="connsiteX5312" y="connsiteY5312"/>
                </a:cxn>
                <a:cxn ang="0">
                  <a:pos x="connsiteX5313" y="connsiteY5313"/>
                </a:cxn>
                <a:cxn ang="0">
                  <a:pos x="connsiteX5314" y="connsiteY5314"/>
                </a:cxn>
                <a:cxn ang="0">
                  <a:pos x="connsiteX5315" y="connsiteY5315"/>
                </a:cxn>
                <a:cxn ang="0">
                  <a:pos x="connsiteX5316" y="connsiteY5316"/>
                </a:cxn>
                <a:cxn ang="0">
                  <a:pos x="connsiteX5317" y="connsiteY5317"/>
                </a:cxn>
                <a:cxn ang="0">
                  <a:pos x="connsiteX5318" y="connsiteY5318"/>
                </a:cxn>
                <a:cxn ang="0">
                  <a:pos x="connsiteX5319" y="connsiteY5319"/>
                </a:cxn>
                <a:cxn ang="0">
                  <a:pos x="connsiteX5320" y="connsiteY5320"/>
                </a:cxn>
                <a:cxn ang="0">
                  <a:pos x="connsiteX5321" y="connsiteY5321"/>
                </a:cxn>
                <a:cxn ang="0">
                  <a:pos x="connsiteX5322" y="connsiteY5322"/>
                </a:cxn>
                <a:cxn ang="0">
                  <a:pos x="connsiteX5323" y="connsiteY5323"/>
                </a:cxn>
                <a:cxn ang="0">
                  <a:pos x="connsiteX5324" y="connsiteY5324"/>
                </a:cxn>
                <a:cxn ang="0">
                  <a:pos x="connsiteX5325" y="connsiteY5325"/>
                </a:cxn>
                <a:cxn ang="0">
                  <a:pos x="connsiteX5326" y="connsiteY5326"/>
                </a:cxn>
                <a:cxn ang="0">
                  <a:pos x="connsiteX5327" y="connsiteY5327"/>
                </a:cxn>
                <a:cxn ang="0">
                  <a:pos x="connsiteX5328" y="connsiteY5328"/>
                </a:cxn>
                <a:cxn ang="0">
                  <a:pos x="connsiteX5329" y="connsiteY5329"/>
                </a:cxn>
                <a:cxn ang="0">
                  <a:pos x="connsiteX5330" y="connsiteY5330"/>
                </a:cxn>
                <a:cxn ang="0">
                  <a:pos x="connsiteX5331" y="connsiteY5331"/>
                </a:cxn>
                <a:cxn ang="0">
                  <a:pos x="connsiteX5332" y="connsiteY5332"/>
                </a:cxn>
                <a:cxn ang="0">
                  <a:pos x="connsiteX5333" y="connsiteY5333"/>
                </a:cxn>
                <a:cxn ang="0">
                  <a:pos x="connsiteX5334" y="connsiteY5334"/>
                </a:cxn>
                <a:cxn ang="0">
                  <a:pos x="connsiteX5335" y="connsiteY5335"/>
                </a:cxn>
                <a:cxn ang="0">
                  <a:pos x="connsiteX5336" y="connsiteY5336"/>
                </a:cxn>
                <a:cxn ang="0">
                  <a:pos x="connsiteX5337" y="connsiteY5337"/>
                </a:cxn>
                <a:cxn ang="0">
                  <a:pos x="connsiteX5338" y="connsiteY5338"/>
                </a:cxn>
                <a:cxn ang="0">
                  <a:pos x="connsiteX5339" y="connsiteY5339"/>
                </a:cxn>
                <a:cxn ang="0">
                  <a:pos x="connsiteX5340" y="connsiteY5340"/>
                </a:cxn>
                <a:cxn ang="0">
                  <a:pos x="connsiteX5341" y="connsiteY5341"/>
                </a:cxn>
                <a:cxn ang="0">
                  <a:pos x="connsiteX5342" y="connsiteY5342"/>
                </a:cxn>
                <a:cxn ang="0">
                  <a:pos x="connsiteX5343" y="connsiteY5343"/>
                </a:cxn>
                <a:cxn ang="0">
                  <a:pos x="connsiteX5344" y="connsiteY5344"/>
                </a:cxn>
                <a:cxn ang="0">
                  <a:pos x="connsiteX5345" y="connsiteY5345"/>
                </a:cxn>
                <a:cxn ang="0">
                  <a:pos x="connsiteX5346" y="connsiteY5346"/>
                </a:cxn>
                <a:cxn ang="0">
                  <a:pos x="connsiteX5347" y="connsiteY5347"/>
                </a:cxn>
                <a:cxn ang="0">
                  <a:pos x="connsiteX5348" y="connsiteY5348"/>
                </a:cxn>
                <a:cxn ang="0">
                  <a:pos x="connsiteX5349" y="connsiteY5349"/>
                </a:cxn>
                <a:cxn ang="0">
                  <a:pos x="connsiteX5350" y="connsiteY5350"/>
                </a:cxn>
                <a:cxn ang="0">
                  <a:pos x="connsiteX5351" y="connsiteY5351"/>
                </a:cxn>
                <a:cxn ang="0">
                  <a:pos x="connsiteX5352" y="connsiteY5352"/>
                </a:cxn>
                <a:cxn ang="0">
                  <a:pos x="connsiteX5353" y="connsiteY5353"/>
                </a:cxn>
                <a:cxn ang="0">
                  <a:pos x="connsiteX5354" y="connsiteY5354"/>
                </a:cxn>
                <a:cxn ang="0">
                  <a:pos x="connsiteX5355" y="connsiteY5355"/>
                </a:cxn>
                <a:cxn ang="0">
                  <a:pos x="connsiteX5356" y="connsiteY5356"/>
                </a:cxn>
                <a:cxn ang="0">
                  <a:pos x="connsiteX5357" y="connsiteY5357"/>
                </a:cxn>
                <a:cxn ang="0">
                  <a:pos x="connsiteX5358" y="connsiteY5358"/>
                </a:cxn>
                <a:cxn ang="0">
                  <a:pos x="connsiteX5359" y="connsiteY5359"/>
                </a:cxn>
                <a:cxn ang="0">
                  <a:pos x="connsiteX5360" y="connsiteY5360"/>
                </a:cxn>
                <a:cxn ang="0">
                  <a:pos x="connsiteX5361" y="connsiteY5361"/>
                </a:cxn>
                <a:cxn ang="0">
                  <a:pos x="connsiteX5362" y="connsiteY5362"/>
                </a:cxn>
                <a:cxn ang="0">
                  <a:pos x="connsiteX5363" y="connsiteY5363"/>
                </a:cxn>
                <a:cxn ang="0">
                  <a:pos x="connsiteX5364" y="connsiteY5364"/>
                </a:cxn>
                <a:cxn ang="0">
                  <a:pos x="connsiteX5365" y="connsiteY5365"/>
                </a:cxn>
                <a:cxn ang="0">
                  <a:pos x="connsiteX5366" y="connsiteY5366"/>
                </a:cxn>
                <a:cxn ang="0">
                  <a:pos x="connsiteX5367" y="connsiteY5367"/>
                </a:cxn>
                <a:cxn ang="0">
                  <a:pos x="connsiteX5368" y="connsiteY5368"/>
                </a:cxn>
                <a:cxn ang="0">
                  <a:pos x="connsiteX5369" y="connsiteY5369"/>
                </a:cxn>
                <a:cxn ang="0">
                  <a:pos x="connsiteX5370" y="connsiteY5370"/>
                </a:cxn>
                <a:cxn ang="0">
                  <a:pos x="connsiteX5371" y="connsiteY5371"/>
                </a:cxn>
                <a:cxn ang="0">
                  <a:pos x="connsiteX5372" y="connsiteY5372"/>
                </a:cxn>
                <a:cxn ang="0">
                  <a:pos x="connsiteX5373" y="connsiteY5373"/>
                </a:cxn>
                <a:cxn ang="0">
                  <a:pos x="connsiteX5374" y="connsiteY5374"/>
                </a:cxn>
                <a:cxn ang="0">
                  <a:pos x="connsiteX5375" y="connsiteY5375"/>
                </a:cxn>
                <a:cxn ang="0">
                  <a:pos x="connsiteX5376" y="connsiteY5376"/>
                </a:cxn>
                <a:cxn ang="0">
                  <a:pos x="connsiteX5377" y="connsiteY5377"/>
                </a:cxn>
                <a:cxn ang="0">
                  <a:pos x="connsiteX5378" y="connsiteY5378"/>
                </a:cxn>
                <a:cxn ang="0">
                  <a:pos x="connsiteX5379" y="connsiteY5379"/>
                </a:cxn>
                <a:cxn ang="0">
                  <a:pos x="connsiteX5380" y="connsiteY5380"/>
                </a:cxn>
                <a:cxn ang="0">
                  <a:pos x="connsiteX5381" y="connsiteY5381"/>
                </a:cxn>
                <a:cxn ang="0">
                  <a:pos x="connsiteX5382" y="connsiteY5382"/>
                </a:cxn>
                <a:cxn ang="0">
                  <a:pos x="connsiteX5383" y="connsiteY5383"/>
                </a:cxn>
                <a:cxn ang="0">
                  <a:pos x="connsiteX5384" y="connsiteY5384"/>
                </a:cxn>
                <a:cxn ang="0">
                  <a:pos x="connsiteX5385" y="connsiteY5385"/>
                </a:cxn>
                <a:cxn ang="0">
                  <a:pos x="connsiteX5386" y="connsiteY5386"/>
                </a:cxn>
                <a:cxn ang="0">
                  <a:pos x="connsiteX5387" y="connsiteY5387"/>
                </a:cxn>
                <a:cxn ang="0">
                  <a:pos x="connsiteX5388" y="connsiteY5388"/>
                </a:cxn>
                <a:cxn ang="0">
                  <a:pos x="connsiteX5389" y="connsiteY5389"/>
                </a:cxn>
                <a:cxn ang="0">
                  <a:pos x="connsiteX5390" y="connsiteY5390"/>
                </a:cxn>
                <a:cxn ang="0">
                  <a:pos x="connsiteX5391" y="connsiteY5391"/>
                </a:cxn>
                <a:cxn ang="0">
                  <a:pos x="connsiteX5392" y="connsiteY5392"/>
                </a:cxn>
                <a:cxn ang="0">
                  <a:pos x="connsiteX5393" y="connsiteY5393"/>
                </a:cxn>
                <a:cxn ang="0">
                  <a:pos x="connsiteX5394" y="connsiteY5394"/>
                </a:cxn>
                <a:cxn ang="0">
                  <a:pos x="connsiteX5395" y="connsiteY5395"/>
                </a:cxn>
                <a:cxn ang="0">
                  <a:pos x="connsiteX5396" y="connsiteY5396"/>
                </a:cxn>
                <a:cxn ang="0">
                  <a:pos x="connsiteX5397" y="connsiteY5397"/>
                </a:cxn>
                <a:cxn ang="0">
                  <a:pos x="connsiteX5398" y="connsiteY5398"/>
                </a:cxn>
                <a:cxn ang="0">
                  <a:pos x="connsiteX5399" y="connsiteY5399"/>
                </a:cxn>
                <a:cxn ang="0">
                  <a:pos x="connsiteX5400" y="connsiteY5400"/>
                </a:cxn>
                <a:cxn ang="0">
                  <a:pos x="connsiteX5401" y="connsiteY5401"/>
                </a:cxn>
                <a:cxn ang="0">
                  <a:pos x="connsiteX5402" y="connsiteY5402"/>
                </a:cxn>
                <a:cxn ang="0">
                  <a:pos x="connsiteX5403" y="connsiteY5403"/>
                </a:cxn>
                <a:cxn ang="0">
                  <a:pos x="connsiteX5404" y="connsiteY5404"/>
                </a:cxn>
                <a:cxn ang="0">
                  <a:pos x="connsiteX5405" y="connsiteY5405"/>
                </a:cxn>
                <a:cxn ang="0">
                  <a:pos x="connsiteX5406" y="connsiteY5406"/>
                </a:cxn>
                <a:cxn ang="0">
                  <a:pos x="connsiteX5407" y="connsiteY5407"/>
                </a:cxn>
                <a:cxn ang="0">
                  <a:pos x="connsiteX5408" y="connsiteY5408"/>
                </a:cxn>
                <a:cxn ang="0">
                  <a:pos x="connsiteX5409" y="connsiteY5409"/>
                </a:cxn>
                <a:cxn ang="0">
                  <a:pos x="connsiteX5410" y="connsiteY5410"/>
                </a:cxn>
                <a:cxn ang="0">
                  <a:pos x="connsiteX5411" y="connsiteY5411"/>
                </a:cxn>
                <a:cxn ang="0">
                  <a:pos x="connsiteX5412" y="connsiteY5412"/>
                </a:cxn>
                <a:cxn ang="0">
                  <a:pos x="connsiteX5413" y="connsiteY5413"/>
                </a:cxn>
                <a:cxn ang="0">
                  <a:pos x="connsiteX5414" y="connsiteY5414"/>
                </a:cxn>
                <a:cxn ang="0">
                  <a:pos x="connsiteX5415" y="connsiteY5415"/>
                </a:cxn>
                <a:cxn ang="0">
                  <a:pos x="connsiteX5416" y="connsiteY5416"/>
                </a:cxn>
                <a:cxn ang="0">
                  <a:pos x="connsiteX5417" y="connsiteY5417"/>
                </a:cxn>
                <a:cxn ang="0">
                  <a:pos x="connsiteX5418" y="connsiteY5418"/>
                </a:cxn>
                <a:cxn ang="0">
                  <a:pos x="connsiteX5419" y="connsiteY5419"/>
                </a:cxn>
                <a:cxn ang="0">
                  <a:pos x="connsiteX5420" y="connsiteY5420"/>
                </a:cxn>
                <a:cxn ang="0">
                  <a:pos x="connsiteX5421" y="connsiteY5421"/>
                </a:cxn>
                <a:cxn ang="0">
                  <a:pos x="connsiteX5422" y="connsiteY5422"/>
                </a:cxn>
                <a:cxn ang="0">
                  <a:pos x="connsiteX5423" y="connsiteY5423"/>
                </a:cxn>
                <a:cxn ang="0">
                  <a:pos x="connsiteX5424" y="connsiteY5424"/>
                </a:cxn>
                <a:cxn ang="0">
                  <a:pos x="connsiteX5425" y="connsiteY5425"/>
                </a:cxn>
                <a:cxn ang="0">
                  <a:pos x="connsiteX5426" y="connsiteY5426"/>
                </a:cxn>
                <a:cxn ang="0">
                  <a:pos x="connsiteX5427" y="connsiteY5427"/>
                </a:cxn>
                <a:cxn ang="0">
                  <a:pos x="connsiteX5428" y="connsiteY5428"/>
                </a:cxn>
                <a:cxn ang="0">
                  <a:pos x="connsiteX5429" y="connsiteY5429"/>
                </a:cxn>
                <a:cxn ang="0">
                  <a:pos x="connsiteX5430" y="connsiteY5430"/>
                </a:cxn>
                <a:cxn ang="0">
                  <a:pos x="connsiteX5431" y="connsiteY5431"/>
                </a:cxn>
                <a:cxn ang="0">
                  <a:pos x="connsiteX5432" y="connsiteY5432"/>
                </a:cxn>
                <a:cxn ang="0">
                  <a:pos x="connsiteX5433" y="connsiteY5433"/>
                </a:cxn>
                <a:cxn ang="0">
                  <a:pos x="connsiteX5434" y="connsiteY5434"/>
                </a:cxn>
                <a:cxn ang="0">
                  <a:pos x="connsiteX5435" y="connsiteY5435"/>
                </a:cxn>
                <a:cxn ang="0">
                  <a:pos x="connsiteX5436" y="connsiteY5436"/>
                </a:cxn>
                <a:cxn ang="0">
                  <a:pos x="connsiteX5437" y="connsiteY5437"/>
                </a:cxn>
                <a:cxn ang="0">
                  <a:pos x="connsiteX5438" y="connsiteY5438"/>
                </a:cxn>
                <a:cxn ang="0">
                  <a:pos x="connsiteX5439" y="connsiteY5439"/>
                </a:cxn>
                <a:cxn ang="0">
                  <a:pos x="connsiteX5440" y="connsiteY5440"/>
                </a:cxn>
                <a:cxn ang="0">
                  <a:pos x="connsiteX5441" y="connsiteY5441"/>
                </a:cxn>
                <a:cxn ang="0">
                  <a:pos x="connsiteX5442" y="connsiteY5442"/>
                </a:cxn>
                <a:cxn ang="0">
                  <a:pos x="connsiteX5443" y="connsiteY5443"/>
                </a:cxn>
                <a:cxn ang="0">
                  <a:pos x="connsiteX5444" y="connsiteY5444"/>
                </a:cxn>
                <a:cxn ang="0">
                  <a:pos x="connsiteX5445" y="connsiteY5445"/>
                </a:cxn>
                <a:cxn ang="0">
                  <a:pos x="connsiteX5446" y="connsiteY5446"/>
                </a:cxn>
                <a:cxn ang="0">
                  <a:pos x="connsiteX5447" y="connsiteY5447"/>
                </a:cxn>
                <a:cxn ang="0">
                  <a:pos x="connsiteX5448" y="connsiteY5448"/>
                </a:cxn>
                <a:cxn ang="0">
                  <a:pos x="connsiteX5449" y="connsiteY5449"/>
                </a:cxn>
                <a:cxn ang="0">
                  <a:pos x="connsiteX5450" y="connsiteY5450"/>
                </a:cxn>
                <a:cxn ang="0">
                  <a:pos x="connsiteX5451" y="connsiteY5451"/>
                </a:cxn>
                <a:cxn ang="0">
                  <a:pos x="connsiteX5452" y="connsiteY5452"/>
                </a:cxn>
                <a:cxn ang="0">
                  <a:pos x="connsiteX5453" y="connsiteY5453"/>
                </a:cxn>
                <a:cxn ang="0">
                  <a:pos x="connsiteX5454" y="connsiteY5454"/>
                </a:cxn>
                <a:cxn ang="0">
                  <a:pos x="connsiteX5455" y="connsiteY5455"/>
                </a:cxn>
                <a:cxn ang="0">
                  <a:pos x="connsiteX5456" y="connsiteY5456"/>
                </a:cxn>
                <a:cxn ang="0">
                  <a:pos x="connsiteX5457" y="connsiteY5457"/>
                </a:cxn>
                <a:cxn ang="0">
                  <a:pos x="connsiteX5458" y="connsiteY5458"/>
                </a:cxn>
                <a:cxn ang="0">
                  <a:pos x="connsiteX5459" y="connsiteY5459"/>
                </a:cxn>
                <a:cxn ang="0">
                  <a:pos x="connsiteX5460" y="connsiteY5460"/>
                </a:cxn>
                <a:cxn ang="0">
                  <a:pos x="connsiteX5461" y="connsiteY5461"/>
                </a:cxn>
                <a:cxn ang="0">
                  <a:pos x="connsiteX5462" y="connsiteY5462"/>
                </a:cxn>
                <a:cxn ang="0">
                  <a:pos x="connsiteX5463" y="connsiteY5463"/>
                </a:cxn>
                <a:cxn ang="0">
                  <a:pos x="connsiteX5464" y="connsiteY5464"/>
                </a:cxn>
                <a:cxn ang="0">
                  <a:pos x="connsiteX5465" y="connsiteY5465"/>
                </a:cxn>
                <a:cxn ang="0">
                  <a:pos x="connsiteX5466" y="connsiteY5466"/>
                </a:cxn>
                <a:cxn ang="0">
                  <a:pos x="connsiteX5467" y="connsiteY5467"/>
                </a:cxn>
                <a:cxn ang="0">
                  <a:pos x="connsiteX5468" y="connsiteY5468"/>
                </a:cxn>
                <a:cxn ang="0">
                  <a:pos x="connsiteX5469" y="connsiteY5469"/>
                </a:cxn>
                <a:cxn ang="0">
                  <a:pos x="connsiteX5470" y="connsiteY5470"/>
                </a:cxn>
                <a:cxn ang="0">
                  <a:pos x="connsiteX5471" y="connsiteY5471"/>
                </a:cxn>
                <a:cxn ang="0">
                  <a:pos x="connsiteX5472" y="connsiteY5472"/>
                </a:cxn>
                <a:cxn ang="0">
                  <a:pos x="connsiteX5473" y="connsiteY5473"/>
                </a:cxn>
                <a:cxn ang="0">
                  <a:pos x="connsiteX5474" y="connsiteY5474"/>
                </a:cxn>
                <a:cxn ang="0">
                  <a:pos x="connsiteX5475" y="connsiteY5475"/>
                </a:cxn>
                <a:cxn ang="0">
                  <a:pos x="connsiteX5476" y="connsiteY5476"/>
                </a:cxn>
                <a:cxn ang="0">
                  <a:pos x="connsiteX5477" y="connsiteY5477"/>
                </a:cxn>
                <a:cxn ang="0">
                  <a:pos x="connsiteX5478" y="connsiteY5478"/>
                </a:cxn>
                <a:cxn ang="0">
                  <a:pos x="connsiteX5479" y="connsiteY5479"/>
                </a:cxn>
                <a:cxn ang="0">
                  <a:pos x="connsiteX5480" y="connsiteY5480"/>
                </a:cxn>
                <a:cxn ang="0">
                  <a:pos x="connsiteX5481" y="connsiteY5481"/>
                </a:cxn>
                <a:cxn ang="0">
                  <a:pos x="connsiteX5482" y="connsiteY5482"/>
                </a:cxn>
                <a:cxn ang="0">
                  <a:pos x="connsiteX5483" y="connsiteY5483"/>
                </a:cxn>
                <a:cxn ang="0">
                  <a:pos x="connsiteX5484" y="connsiteY5484"/>
                </a:cxn>
                <a:cxn ang="0">
                  <a:pos x="connsiteX5485" y="connsiteY5485"/>
                </a:cxn>
                <a:cxn ang="0">
                  <a:pos x="connsiteX5486" y="connsiteY5486"/>
                </a:cxn>
                <a:cxn ang="0">
                  <a:pos x="connsiteX5487" y="connsiteY5487"/>
                </a:cxn>
                <a:cxn ang="0">
                  <a:pos x="connsiteX5488" y="connsiteY5488"/>
                </a:cxn>
                <a:cxn ang="0">
                  <a:pos x="connsiteX5489" y="connsiteY5489"/>
                </a:cxn>
                <a:cxn ang="0">
                  <a:pos x="connsiteX5490" y="connsiteY5490"/>
                </a:cxn>
                <a:cxn ang="0">
                  <a:pos x="connsiteX5491" y="connsiteY5491"/>
                </a:cxn>
                <a:cxn ang="0">
                  <a:pos x="connsiteX5492" y="connsiteY5492"/>
                </a:cxn>
                <a:cxn ang="0">
                  <a:pos x="connsiteX5493" y="connsiteY5493"/>
                </a:cxn>
                <a:cxn ang="0">
                  <a:pos x="connsiteX5494" y="connsiteY5494"/>
                </a:cxn>
                <a:cxn ang="0">
                  <a:pos x="connsiteX5495" y="connsiteY5495"/>
                </a:cxn>
                <a:cxn ang="0">
                  <a:pos x="connsiteX5496" y="connsiteY5496"/>
                </a:cxn>
                <a:cxn ang="0">
                  <a:pos x="connsiteX5497" y="connsiteY5497"/>
                </a:cxn>
                <a:cxn ang="0">
                  <a:pos x="connsiteX5498" y="connsiteY5498"/>
                </a:cxn>
                <a:cxn ang="0">
                  <a:pos x="connsiteX5499" y="connsiteY5499"/>
                </a:cxn>
                <a:cxn ang="0">
                  <a:pos x="connsiteX5500" y="connsiteY5500"/>
                </a:cxn>
                <a:cxn ang="0">
                  <a:pos x="connsiteX5501" y="connsiteY5501"/>
                </a:cxn>
                <a:cxn ang="0">
                  <a:pos x="connsiteX5502" y="connsiteY5502"/>
                </a:cxn>
                <a:cxn ang="0">
                  <a:pos x="connsiteX5503" y="connsiteY5503"/>
                </a:cxn>
                <a:cxn ang="0">
                  <a:pos x="connsiteX5504" y="connsiteY5504"/>
                </a:cxn>
                <a:cxn ang="0">
                  <a:pos x="connsiteX5505" y="connsiteY5505"/>
                </a:cxn>
                <a:cxn ang="0">
                  <a:pos x="connsiteX5506" y="connsiteY5506"/>
                </a:cxn>
                <a:cxn ang="0">
                  <a:pos x="connsiteX5507" y="connsiteY5507"/>
                </a:cxn>
                <a:cxn ang="0">
                  <a:pos x="connsiteX5508" y="connsiteY5508"/>
                </a:cxn>
                <a:cxn ang="0">
                  <a:pos x="connsiteX5509" y="connsiteY5509"/>
                </a:cxn>
                <a:cxn ang="0">
                  <a:pos x="connsiteX5510" y="connsiteY5510"/>
                </a:cxn>
                <a:cxn ang="0">
                  <a:pos x="connsiteX5511" y="connsiteY5511"/>
                </a:cxn>
                <a:cxn ang="0">
                  <a:pos x="connsiteX5512" y="connsiteY5512"/>
                </a:cxn>
                <a:cxn ang="0">
                  <a:pos x="connsiteX5513" y="connsiteY5513"/>
                </a:cxn>
                <a:cxn ang="0">
                  <a:pos x="connsiteX5514" y="connsiteY5514"/>
                </a:cxn>
                <a:cxn ang="0">
                  <a:pos x="connsiteX5515" y="connsiteY5515"/>
                </a:cxn>
                <a:cxn ang="0">
                  <a:pos x="connsiteX5516" y="connsiteY5516"/>
                </a:cxn>
                <a:cxn ang="0">
                  <a:pos x="connsiteX5517" y="connsiteY5517"/>
                </a:cxn>
                <a:cxn ang="0">
                  <a:pos x="connsiteX5518" y="connsiteY5518"/>
                </a:cxn>
                <a:cxn ang="0">
                  <a:pos x="connsiteX5519" y="connsiteY5519"/>
                </a:cxn>
                <a:cxn ang="0">
                  <a:pos x="connsiteX5520" y="connsiteY5520"/>
                </a:cxn>
                <a:cxn ang="0">
                  <a:pos x="connsiteX5521" y="connsiteY5521"/>
                </a:cxn>
                <a:cxn ang="0">
                  <a:pos x="connsiteX5522" y="connsiteY5522"/>
                </a:cxn>
                <a:cxn ang="0">
                  <a:pos x="connsiteX5523" y="connsiteY5523"/>
                </a:cxn>
                <a:cxn ang="0">
                  <a:pos x="connsiteX5524" y="connsiteY5524"/>
                </a:cxn>
                <a:cxn ang="0">
                  <a:pos x="connsiteX5525" y="connsiteY5525"/>
                </a:cxn>
                <a:cxn ang="0">
                  <a:pos x="connsiteX5526" y="connsiteY5526"/>
                </a:cxn>
                <a:cxn ang="0">
                  <a:pos x="connsiteX5527" y="connsiteY5527"/>
                </a:cxn>
                <a:cxn ang="0">
                  <a:pos x="connsiteX5528" y="connsiteY5528"/>
                </a:cxn>
                <a:cxn ang="0">
                  <a:pos x="connsiteX5529" y="connsiteY5529"/>
                </a:cxn>
                <a:cxn ang="0">
                  <a:pos x="connsiteX5530" y="connsiteY5530"/>
                </a:cxn>
                <a:cxn ang="0">
                  <a:pos x="connsiteX5531" y="connsiteY5531"/>
                </a:cxn>
                <a:cxn ang="0">
                  <a:pos x="connsiteX5532" y="connsiteY5532"/>
                </a:cxn>
                <a:cxn ang="0">
                  <a:pos x="connsiteX5533" y="connsiteY5533"/>
                </a:cxn>
                <a:cxn ang="0">
                  <a:pos x="connsiteX5534" y="connsiteY5534"/>
                </a:cxn>
                <a:cxn ang="0">
                  <a:pos x="connsiteX5535" y="connsiteY5535"/>
                </a:cxn>
                <a:cxn ang="0">
                  <a:pos x="connsiteX5536" y="connsiteY5536"/>
                </a:cxn>
                <a:cxn ang="0">
                  <a:pos x="connsiteX5537" y="connsiteY5537"/>
                </a:cxn>
                <a:cxn ang="0">
                  <a:pos x="connsiteX5538" y="connsiteY5538"/>
                </a:cxn>
                <a:cxn ang="0">
                  <a:pos x="connsiteX5539" y="connsiteY5539"/>
                </a:cxn>
                <a:cxn ang="0">
                  <a:pos x="connsiteX5540" y="connsiteY5540"/>
                </a:cxn>
                <a:cxn ang="0">
                  <a:pos x="connsiteX5541" y="connsiteY5541"/>
                </a:cxn>
                <a:cxn ang="0">
                  <a:pos x="connsiteX5542" y="connsiteY5542"/>
                </a:cxn>
                <a:cxn ang="0">
                  <a:pos x="connsiteX5543" y="connsiteY5543"/>
                </a:cxn>
                <a:cxn ang="0">
                  <a:pos x="connsiteX5544" y="connsiteY5544"/>
                </a:cxn>
                <a:cxn ang="0">
                  <a:pos x="connsiteX5545" y="connsiteY5545"/>
                </a:cxn>
                <a:cxn ang="0">
                  <a:pos x="connsiteX5546" y="connsiteY5546"/>
                </a:cxn>
                <a:cxn ang="0">
                  <a:pos x="connsiteX5547" y="connsiteY5547"/>
                </a:cxn>
                <a:cxn ang="0">
                  <a:pos x="connsiteX5548" y="connsiteY5548"/>
                </a:cxn>
                <a:cxn ang="0">
                  <a:pos x="connsiteX5549" y="connsiteY5549"/>
                </a:cxn>
                <a:cxn ang="0">
                  <a:pos x="connsiteX5550" y="connsiteY5550"/>
                </a:cxn>
                <a:cxn ang="0">
                  <a:pos x="connsiteX5551" y="connsiteY5551"/>
                </a:cxn>
                <a:cxn ang="0">
                  <a:pos x="connsiteX5552" y="connsiteY5552"/>
                </a:cxn>
                <a:cxn ang="0">
                  <a:pos x="connsiteX5553" y="connsiteY5553"/>
                </a:cxn>
                <a:cxn ang="0">
                  <a:pos x="connsiteX5554" y="connsiteY5554"/>
                </a:cxn>
                <a:cxn ang="0">
                  <a:pos x="connsiteX5555" y="connsiteY5555"/>
                </a:cxn>
                <a:cxn ang="0">
                  <a:pos x="connsiteX5556" y="connsiteY5556"/>
                </a:cxn>
                <a:cxn ang="0">
                  <a:pos x="connsiteX5557" y="connsiteY5557"/>
                </a:cxn>
                <a:cxn ang="0">
                  <a:pos x="connsiteX5558" y="connsiteY5558"/>
                </a:cxn>
                <a:cxn ang="0">
                  <a:pos x="connsiteX5559" y="connsiteY5559"/>
                </a:cxn>
                <a:cxn ang="0">
                  <a:pos x="connsiteX5560" y="connsiteY5560"/>
                </a:cxn>
                <a:cxn ang="0">
                  <a:pos x="connsiteX5561" y="connsiteY5561"/>
                </a:cxn>
                <a:cxn ang="0">
                  <a:pos x="connsiteX5562" y="connsiteY5562"/>
                </a:cxn>
                <a:cxn ang="0">
                  <a:pos x="connsiteX5563" y="connsiteY5563"/>
                </a:cxn>
                <a:cxn ang="0">
                  <a:pos x="connsiteX5564" y="connsiteY5564"/>
                </a:cxn>
                <a:cxn ang="0">
                  <a:pos x="connsiteX5565" y="connsiteY5565"/>
                </a:cxn>
                <a:cxn ang="0">
                  <a:pos x="connsiteX5566" y="connsiteY5566"/>
                </a:cxn>
                <a:cxn ang="0">
                  <a:pos x="connsiteX5567" y="connsiteY5567"/>
                </a:cxn>
                <a:cxn ang="0">
                  <a:pos x="connsiteX5568" y="connsiteY5568"/>
                </a:cxn>
                <a:cxn ang="0">
                  <a:pos x="connsiteX5569" y="connsiteY5569"/>
                </a:cxn>
                <a:cxn ang="0">
                  <a:pos x="connsiteX5570" y="connsiteY5570"/>
                </a:cxn>
                <a:cxn ang="0">
                  <a:pos x="connsiteX5571" y="connsiteY5571"/>
                </a:cxn>
                <a:cxn ang="0">
                  <a:pos x="connsiteX5572" y="connsiteY5572"/>
                </a:cxn>
                <a:cxn ang="0">
                  <a:pos x="connsiteX5573" y="connsiteY5573"/>
                </a:cxn>
                <a:cxn ang="0">
                  <a:pos x="connsiteX5574" y="connsiteY5574"/>
                </a:cxn>
                <a:cxn ang="0">
                  <a:pos x="connsiteX5575" y="connsiteY5575"/>
                </a:cxn>
                <a:cxn ang="0">
                  <a:pos x="connsiteX5576" y="connsiteY5576"/>
                </a:cxn>
                <a:cxn ang="0">
                  <a:pos x="connsiteX5577" y="connsiteY5577"/>
                </a:cxn>
                <a:cxn ang="0">
                  <a:pos x="connsiteX5578" y="connsiteY5578"/>
                </a:cxn>
                <a:cxn ang="0">
                  <a:pos x="connsiteX5579" y="connsiteY5579"/>
                </a:cxn>
                <a:cxn ang="0">
                  <a:pos x="connsiteX5580" y="connsiteY5580"/>
                </a:cxn>
                <a:cxn ang="0">
                  <a:pos x="connsiteX5581" y="connsiteY5581"/>
                </a:cxn>
                <a:cxn ang="0">
                  <a:pos x="connsiteX5582" y="connsiteY5582"/>
                </a:cxn>
                <a:cxn ang="0">
                  <a:pos x="connsiteX5583" y="connsiteY5583"/>
                </a:cxn>
                <a:cxn ang="0">
                  <a:pos x="connsiteX5584" y="connsiteY5584"/>
                </a:cxn>
                <a:cxn ang="0">
                  <a:pos x="connsiteX5585" y="connsiteY5585"/>
                </a:cxn>
                <a:cxn ang="0">
                  <a:pos x="connsiteX5586" y="connsiteY5586"/>
                </a:cxn>
                <a:cxn ang="0">
                  <a:pos x="connsiteX5587" y="connsiteY5587"/>
                </a:cxn>
                <a:cxn ang="0">
                  <a:pos x="connsiteX5588" y="connsiteY5588"/>
                </a:cxn>
                <a:cxn ang="0">
                  <a:pos x="connsiteX5589" y="connsiteY5589"/>
                </a:cxn>
                <a:cxn ang="0">
                  <a:pos x="connsiteX5590" y="connsiteY5590"/>
                </a:cxn>
                <a:cxn ang="0">
                  <a:pos x="connsiteX5591" y="connsiteY5591"/>
                </a:cxn>
                <a:cxn ang="0">
                  <a:pos x="connsiteX5592" y="connsiteY5592"/>
                </a:cxn>
                <a:cxn ang="0">
                  <a:pos x="connsiteX5593" y="connsiteY5593"/>
                </a:cxn>
                <a:cxn ang="0">
                  <a:pos x="connsiteX5594" y="connsiteY5594"/>
                </a:cxn>
                <a:cxn ang="0">
                  <a:pos x="connsiteX5595" y="connsiteY5595"/>
                </a:cxn>
                <a:cxn ang="0">
                  <a:pos x="connsiteX5596" y="connsiteY5596"/>
                </a:cxn>
                <a:cxn ang="0">
                  <a:pos x="connsiteX5597" y="connsiteY5597"/>
                </a:cxn>
                <a:cxn ang="0">
                  <a:pos x="connsiteX5598" y="connsiteY5598"/>
                </a:cxn>
                <a:cxn ang="0">
                  <a:pos x="connsiteX5599" y="connsiteY5599"/>
                </a:cxn>
                <a:cxn ang="0">
                  <a:pos x="connsiteX5600" y="connsiteY5600"/>
                </a:cxn>
                <a:cxn ang="0">
                  <a:pos x="connsiteX5601" y="connsiteY5601"/>
                </a:cxn>
                <a:cxn ang="0">
                  <a:pos x="connsiteX5602" y="connsiteY5602"/>
                </a:cxn>
                <a:cxn ang="0">
                  <a:pos x="connsiteX5603" y="connsiteY5603"/>
                </a:cxn>
                <a:cxn ang="0">
                  <a:pos x="connsiteX5604" y="connsiteY5604"/>
                </a:cxn>
                <a:cxn ang="0">
                  <a:pos x="connsiteX5605" y="connsiteY5605"/>
                </a:cxn>
                <a:cxn ang="0">
                  <a:pos x="connsiteX5606" y="connsiteY5606"/>
                </a:cxn>
                <a:cxn ang="0">
                  <a:pos x="connsiteX5607" y="connsiteY5607"/>
                </a:cxn>
                <a:cxn ang="0">
                  <a:pos x="connsiteX5608" y="connsiteY5608"/>
                </a:cxn>
                <a:cxn ang="0">
                  <a:pos x="connsiteX5609" y="connsiteY5609"/>
                </a:cxn>
                <a:cxn ang="0">
                  <a:pos x="connsiteX5610" y="connsiteY5610"/>
                </a:cxn>
                <a:cxn ang="0">
                  <a:pos x="connsiteX5611" y="connsiteY5611"/>
                </a:cxn>
                <a:cxn ang="0">
                  <a:pos x="connsiteX5612" y="connsiteY5612"/>
                </a:cxn>
                <a:cxn ang="0">
                  <a:pos x="connsiteX5613" y="connsiteY5613"/>
                </a:cxn>
                <a:cxn ang="0">
                  <a:pos x="connsiteX5614" y="connsiteY5614"/>
                </a:cxn>
                <a:cxn ang="0">
                  <a:pos x="connsiteX5615" y="connsiteY5615"/>
                </a:cxn>
                <a:cxn ang="0">
                  <a:pos x="connsiteX5616" y="connsiteY5616"/>
                </a:cxn>
                <a:cxn ang="0">
                  <a:pos x="connsiteX5617" y="connsiteY5617"/>
                </a:cxn>
                <a:cxn ang="0">
                  <a:pos x="connsiteX5618" y="connsiteY5618"/>
                </a:cxn>
                <a:cxn ang="0">
                  <a:pos x="connsiteX5619" y="connsiteY5619"/>
                </a:cxn>
                <a:cxn ang="0">
                  <a:pos x="connsiteX5620" y="connsiteY5620"/>
                </a:cxn>
                <a:cxn ang="0">
                  <a:pos x="connsiteX5621" y="connsiteY5621"/>
                </a:cxn>
                <a:cxn ang="0">
                  <a:pos x="connsiteX5622" y="connsiteY5622"/>
                </a:cxn>
                <a:cxn ang="0">
                  <a:pos x="connsiteX5623" y="connsiteY5623"/>
                </a:cxn>
                <a:cxn ang="0">
                  <a:pos x="connsiteX5624" y="connsiteY5624"/>
                </a:cxn>
                <a:cxn ang="0">
                  <a:pos x="connsiteX5625" y="connsiteY5625"/>
                </a:cxn>
                <a:cxn ang="0">
                  <a:pos x="connsiteX5626" y="connsiteY5626"/>
                </a:cxn>
                <a:cxn ang="0">
                  <a:pos x="connsiteX5627" y="connsiteY5627"/>
                </a:cxn>
                <a:cxn ang="0">
                  <a:pos x="connsiteX5628" y="connsiteY5628"/>
                </a:cxn>
                <a:cxn ang="0">
                  <a:pos x="connsiteX5629" y="connsiteY5629"/>
                </a:cxn>
                <a:cxn ang="0">
                  <a:pos x="connsiteX5630" y="connsiteY5630"/>
                </a:cxn>
                <a:cxn ang="0">
                  <a:pos x="connsiteX5631" y="connsiteY5631"/>
                </a:cxn>
                <a:cxn ang="0">
                  <a:pos x="connsiteX5632" y="connsiteY5632"/>
                </a:cxn>
                <a:cxn ang="0">
                  <a:pos x="connsiteX5633" y="connsiteY5633"/>
                </a:cxn>
                <a:cxn ang="0">
                  <a:pos x="connsiteX5634" y="connsiteY5634"/>
                </a:cxn>
                <a:cxn ang="0">
                  <a:pos x="connsiteX5635" y="connsiteY5635"/>
                </a:cxn>
                <a:cxn ang="0">
                  <a:pos x="connsiteX5636" y="connsiteY5636"/>
                </a:cxn>
                <a:cxn ang="0">
                  <a:pos x="connsiteX5637" y="connsiteY5637"/>
                </a:cxn>
                <a:cxn ang="0">
                  <a:pos x="connsiteX5638" y="connsiteY5638"/>
                </a:cxn>
                <a:cxn ang="0">
                  <a:pos x="connsiteX5639" y="connsiteY5639"/>
                </a:cxn>
                <a:cxn ang="0">
                  <a:pos x="connsiteX5640" y="connsiteY5640"/>
                </a:cxn>
                <a:cxn ang="0">
                  <a:pos x="connsiteX5641" y="connsiteY5641"/>
                </a:cxn>
                <a:cxn ang="0">
                  <a:pos x="connsiteX5642" y="connsiteY5642"/>
                </a:cxn>
                <a:cxn ang="0">
                  <a:pos x="connsiteX5643" y="connsiteY5643"/>
                </a:cxn>
                <a:cxn ang="0">
                  <a:pos x="connsiteX5644" y="connsiteY5644"/>
                </a:cxn>
                <a:cxn ang="0">
                  <a:pos x="connsiteX5645" y="connsiteY5645"/>
                </a:cxn>
                <a:cxn ang="0">
                  <a:pos x="connsiteX5646" y="connsiteY5646"/>
                </a:cxn>
                <a:cxn ang="0">
                  <a:pos x="connsiteX5647" y="connsiteY5647"/>
                </a:cxn>
                <a:cxn ang="0">
                  <a:pos x="connsiteX5648" y="connsiteY5648"/>
                </a:cxn>
                <a:cxn ang="0">
                  <a:pos x="connsiteX5649" y="connsiteY5649"/>
                </a:cxn>
                <a:cxn ang="0">
                  <a:pos x="connsiteX5650" y="connsiteY5650"/>
                </a:cxn>
                <a:cxn ang="0">
                  <a:pos x="connsiteX5651" y="connsiteY5651"/>
                </a:cxn>
                <a:cxn ang="0">
                  <a:pos x="connsiteX5652" y="connsiteY5652"/>
                </a:cxn>
                <a:cxn ang="0">
                  <a:pos x="connsiteX5653" y="connsiteY5653"/>
                </a:cxn>
                <a:cxn ang="0">
                  <a:pos x="connsiteX5654" y="connsiteY5654"/>
                </a:cxn>
                <a:cxn ang="0">
                  <a:pos x="connsiteX5655" y="connsiteY5655"/>
                </a:cxn>
                <a:cxn ang="0">
                  <a:pos x="connsiteX5656" y="connsiteY5656"/>
                </a:cxn>
                <a:cxn ang="0">
                  <a:pos x="connsiteX5657" y="connsiteY5657"/>
                </a:cxn>
                <a:cxn ang="0">
                  <a:pos x="connsiteX5658" y="connsiteY5658"/>
                </a:cxn>
                <a:cxn ang="0">
                  <a:pos x="connsiteX5659" y="connsiteY5659"/>
                </a:cxn>
                <a:cxn ang="0">
                  <a:pos x="connsiteX5660" y="connsiteY5660"/>
                </a:cxn>
                <a:cxn ang="0">
                  <a:pos x="connsiteX5661" y="connsiteY5661"/>
                </a:cxn>
                <a:cxn ang="0">
                  <a:pos x="connsiteX5662" y="connsiteY5662"/>
                </a:cxn>
                <a:cxn ang="0">
                  <a:pos x="connsiteX5663" y="connsiteY5663"/>
                </a:cxn>
                <a:cxn ang="0">
                  <a:pos x="connsiteX5664" y="connsiteY5664"/>
                </a:cxn>
                <a:cxn ang="0">
                  <a:pos x="connsiteX5665" y="connsiteY5665"/>
                </a:cxn>
                <a:cxn ang="0">
                  <a:pos x="connsiteX5666" y="connsiteY5666"/>
                </a:cxn>
                <a:cxn ang="0">
                  <a:pos x="connsiteX5667" y="connsiteY5667"/>
                </a:cxn>
                <a:cxn ang="0">
                  <a:pos x="connsiteX5668" y="connsiteY5668"/>
                </a:cxn>
                <a:cxn ang="0">
                  <a:pos x="connsiteX5669" y="connsiteY5669"/>
                </a:cxn>
                <a:cxn ang="0">
                  <a:pos x="connsiteX5670" y="connsiteY5670"/>
                </a:cxn>
                <a:cxn ang="0">
                  <a:pos x="connsiteX5671" y="connsiteY5671"/>
                </a:cxn>
                <a:cxn ang="0">
                  <a:pos x="connsiteX5672" y="connsiteY5672"/>
                </a:cxn>
                <a:cxn ang="0">
                  <a:pos x="connsiteX5673" y="connsiteY5673"/>
                </a:cxn>
                <a:cxn ang="0">
                  <a:pos x="connsiteX5674" y="connsiteY5674"/>
                </a:cxn>
                <a:cxn ang="0">
                  <a:pos x="connsiteX5675" y="connsiteY5675"/>
                </a:cxn>
                <a:cxn ang="0">
                  <a:pos x="connsiteX5676" y="connsiteY5676"/>
                </a:cxn>
                <a:cxn ang="0">
                  <a:pos x="connsiteX5677" y="connsiteY5677"/>
                </a:cxn>
                <a:cxn ang="0">
                  <a:pos x="connsiteX5678" y="connsiteY5678"/>
                </a:cxn>
                <a:cxn ang="0">
                  <a:pos x="connsiteX5679" y="connsiteY5679"/>
                </a:cxn>
                <a:cxn ang="0">
                  <a:pos x="connsiteX5680" y="connsiteY5680"/>
                </a:cxn>
                <a:cxn ang="0">
                  <a:pos x="connsiteX5681" y="connsiteY5681"/>
                </a:cxn>
                <a:cxn ang="0">
                  <a:pos x="connsiteX5682" y="connsiteY5682"/>
                </a:cxn>
                <a:cxn ang="0">
                  <a:pos x="connsiteX5683" y="connsiteY5683"/>
                </a:cxn>
                <a:cxn ang="0">
                  <a:pos x="connsiteX5684" y="connsiteY5684"/>
                </a:cxn>
                <a:cxn ang="0">
                  <a:pos x="connsiteX5685" y="connsiteY5685"/>
                </a:cxn>
                <a:cxn ang="0">
                  <a:pos x="connsiteX5686" y="connsiteY5686"/>
                </a:cxn>
                <a:cxn ang="0">
                  <a:pos x="connsiteX5687" y="connsiteY5687"/>
                </a:cxn>
                <a:cxn ang="0">
                  <a:pos x="connsiteX5688" y="connsiteY5688"/>
                </a:cxn>
                <a:cxn ang="0">
                  <a:pos x="connsiteX5689" y="connsiteY5689"/>
                </a:cxn>
                <a:cxn ang="0">
                  <a:pos x="connsiteX5690" y="connsiteY5690"/>
                </a:cxn>
                <a:cxn ang="0">
                  <a:pos x="connsiteX5691" y="connsiteY5691"/>
                </a:cxn>
                <a:cxn ang="0">
                  <a:pos x="connsiteX5692" y="connsiteY5692"/>
                </a:cxn>
                <a:cxn ang="0">
                  <a:pos x="connsiteX5693" y="connsiteY5693"/>
                </a:cxn>
                <a:cxn ang="0">
                  <a:pos x="connsiteX5694" y="connsiteY5694"/>
                </a:cxn>
                <a:cxn ang="0">
                  <a:pos x="connsiteX5695" y="connsiteY5695"/>
                </a:cxn>
                <a:cxn ang="0">
                  <a:pos x="connsiteX5696" y="connsiteY5696"/>
                </a:cxn>
                <a:cxn ang="0">
                  <a:pos x="connsiteX5697" y="connsiteY5697"/>
                </a:cxn>
                <a:cxn ang="0">
                  <a:pos x="connsiteX5698" y="connsiteY5698"/>
                </a:cxn>
                <a:cxn ang="0">
                  <a:pos x="connsiteX5699" y="connsiteY5699"/>
                </a:cxn>
                <a:cxn ang="0">
                  <a:pos x="connsiteX5700" y="connsiteY5700"/>
                </a:cxn>
                <a:cxn ang="0">
                  <a:pos x="connsiteX5701" y="connsiteY5701"/>
                </a:cxn>
                <a:cxn ang="0">
                  <a:pos x="connsiteX5702" y="connsiteY5702"/>
                </a:cxn>
                <a:cxn ang="0">
                  <a:pos x="connsiteX5703" y="connsiteY5703"/>
                </a:cxn>
                <a:cxn ang="0">
                  <a:pos x="connsiteX5704" y="connsiteY5704"/>
                </a:cxn>
                <a:cxn ang="0">
                  <a:pos x="connsiteX5705" y="connsiteY5705"/>
                </a:cxn>
                <a:cxn ang="0">
                  <a:pos x="connsiteX5706" y="connsiteY5706"/>
                </a:cxn>
                <a:cxn ang="0">
                  <a:pos x="connsiteX5707" y="connsiteY5707"/>
                </a:cxn>
                <a:cxn ang="0">
                  <a:pos x="connsiteX5708" y="connsiteY5708"/>
                </a:cxn>
                <a:cxn ang="0">
                  <a:pos x="connsiteX5709" y="connsiteY5709"/>
                </a:cxn>
                <a:cxn ang="0">
                  <a:pos x="connsiteX5710" y="connsiteY5710"/>
                </a:cxn>
                <a:cxn ang="0">
                  <a:pos x="connsiteX5711" y="connsiteY5711"/>
                </a:cxn>
                <a:cxn ang="0">
                  <a:pos x="connsiteX5712" y="connsiteY5712"/>
                </a:cxn>
                <a:cxn ang="0">
                  <a:pos x="connsiteX5713" y="connsiteY5713"/>
                </a:cxn>
                <a:cxn ang="0">
                  <a:pos x="connsiteX5714" y="connsiteY5714"/>
                </a:cxn>
                <a:cxn ang="0">
                  <a:pos x="connsiteX5715" y="connsiteY5715"/>
                </a:cxn>
                <a:cxn ang="0">
                  <a:pos x="connsiteX5716" y="connsiteY5716"/>
                </a:cxn>
                <a:cxn ang="0">
                  <a:pos x="connsiteX5717" y="connsiteY5717"/>
                </a:cxn>
                <a:cxn ang="0">
                  <a:pos x="connsiteX5718" y="connsiteY5718"/>
                </a:cxn>
                <a:cxn ang="0">
                  <a:pos x="connsiteX5719" y="connsiteY5719"/>
                </a:cxn>
                <a:cxn ang="0">
                  <a:pos x="connsiteX5720" y="connsiteY5720"/>
                </a:cxn>
                <a:cxn ang="0">
                  <a:pos x="connsiteX5721" y="connsiteY5721"/>
                </a:cxn>
                <a:cxn ang="0">
                  <a:pos x="connsiteX5722" y="connsiteY5722"/>
                </a:cxn>
                <a:cxn ang="0">
                  <a:pos x="connsiteX5723" y="connsiteY5723"/>
                </a:cxn>
                <a:cxn ang="0">
                  <a:pos x="connsiteX5724" y="connsiteY5724"/>
                </a:cxn>
                <a:cxn ang="0">
                  <a:pos x="connsiteX5725" y="connsiteY5725"/>
                </a:cxn>
                <a:cxn ang="0">
                  <a:pos x="connsiteX5726" y="connsiteY5726"/>
                </a:cxn>
                <a:cxn ang="0">
                  <a:pos x="connsiteX5727" y="connsiteY5727"/>
                </a:cxn>
                <a:cxn ang="0">
                  <a:pos x="connsiteX5728" y="connsiteY5728"/>
                </a:cxn>
                <a:cxn ang="0">
                  <a:pos x="connsiteX5729" y="connsiteY5729"/>
                </a:cxn>
                <a:cxn ang="0">
                  <a:pos x="connsiteX5730" y="connsiteY5730"/>
                </a:cxn>
                <a:cxn ang="0">
                  <a:pos x="connsiteX5731" y="connsiteY5731"/>
                </a:cxn>
                <a:cxn ang="0">
                  <a:pos x="connsiteX5732" y="connsiteY5732"/>
                </a:cxn>
                <a:cxn ang="0">
                  <a:pos x="connsiteX5733" y="connsiteY5733"/>
                </a:cxn>
                <a:cxn ang="0">
                  <a:pos x="connsiteX5734" y="connsiteY5734"/>
                </a:cxn>
                <a:cxn ang="0">
                  <a:pos x="connsiteX5735" y="connsiteY5735"/>
                </a:cxn>
                <a:cxn ang="0">
                  <a:pos x="connsiteX5736" y="connsiteY5736"/>
                </a:cxn>
                <a:cxn ang="0">
                  <a:pos x="connsiteX5737" y="connsiteY5737"/>
                </a:cxn>
                <a:cxn ang="0">
                  <a:pos x="connsiteX5738" y="connsiteY5738"/>
                </a:cxn>
                <a:cxn ang="0">
                  <a:pos x="connsiteX5739" y="connsiteY5739"/>
                </a:cxn>
                <a:cxn ang="0">
                  <a:pos x="connsiteX5740" y="connsiteY5740"/>
                </a:cxn>
                <a:cxn ang="0">
                  <a:pos x="connsiteX5741" y="connsiteY5741"/>
                </a:cxn>
                <a:cxn ang="0">
                  <a:pos x="connsiteX5742" y="connsiteY5742"/>
                </a:cxn>
                <a:cxn ang="0">
                  <a:pos x="connsiteX5743" y="connsiteY5743"/>
                </a:cxn>
                <a:cxn ang="0">
                  <a:pos x="connsiteX5744" y="connsiteY5744"/>
                </a:cxn>
                <a:cxn ang="0">
                  <a:pos x="connsiteX5745" y="connsiteY5745"/>
                </a:cxn>
                <a:cxn ang="0">
                  <a:pos x="connsiteX5746" y="connsiteY5746"/>
                </a:cxn>
                <a:cxn ang="0">
                  <a:pos x="connsiteX5747" y="connsiteY5747"/>
                </a:cxn>
                <a:cxn ang="0">
                  <a:pos x="connsiteX5748" y="connsiteY5748"/>
                </a:cxn>
                <a:cxn ang="0">
                  <a:pos x="connsiteX5749" y="connsiteY5749"/>
                </a:cxn>
                <a:cxn ang="0">
                  <a:pos x="connsiteX5750" y="connsiteY5750"/>
                </a:cxn>
                <a:cxn ang="0">
                  <a:pos x="connsiteX5751" y="connsiteY5751"/>
                </a:cxn>
                <a:cxn ang="0">
                  <a:pos x="connsiteX5752" y="connsiteY5752"/>
                </a:cxn>
                <a:cxn ang="0">
                  <a:pos x="connsiteX5753" y="connsiteY5753"/>
                </a:cxn>
                <a:cxn ang="0">
                  <a:pos x="connsiteX5754" y="connsiteY5754"/>
                </a:cxn>
                <a:cxn ang="0">
                  <a:pos x="connsiteX5755" y="connsiteY5755"/>
                </a:cxn>
                <a:cxn ang="0">
                  <a:pos x="connsiteX5756" y="connsiteY5756"/>
                </a:cxn>
                <a:cxn ang="0">
                  <a:pos x="connsiteX5757" y="connsiteY5757"/>
                </a:cxn>
                <a:cxn ang="0">
                  <a:pos x="connsiteX5758" y="connsiteY5758"/>
                </a:cxn>
                <a:cxn ang="0">
                  <a:pos x="connsiteX5759" y="connsiteY5759"/>
                </a:cxn>
                <a:cxn ang="0">
                  <a:pos x="connsiteX5760" y="connsiteY5760"/>
                </a:cxn>
                <a:cxn ang="0">
                  <a:pos x="connsiteX5761" y="connsiteY5761"/>
                </a:cxn>
                <a:cxn ang="0">
                  <a:pos x="connsiteX5762" y="connsiteY5762"/>
                </a:cxn>
                <a:cxn ang="0">
                  <a:pos x="connsiteX5763" y="connsiteY5763"/>
                </a:cxn>
                <a:cxn ang="0">
                  <a:pos x="connsiteX5764" y="connsiteY5764"/>
                </a:cxn>
                <a:cxn ang="0">
                  <a:pos x="connsiteX5765" y="connsiteY5765"/>
                </a:cxn>
                <a:cxn ang="0">
                  <a:pos x="connsiteX5766" y="connsiteY5766"/>
                </a:cxn>
                <a:cxn ang="0">
                  <a:pos x="connsiteX5767" y="connsiteY5767"/>
                </a:cxn>
                <a:cxn ang="0">
                  <a:pos x="connsiteX5768" y="connsiteY5768"/>
                </a:cxn>
                <a:cxn ang="0">
                  <a:pos x="connsiteX5769" y="connsiteY5769"/>
                </a:cxn>
                <a:cxn ang="0">
                  <a:pos x="connsiteX5770" y="connsiteY5770"/>
                </a:cxn>
                <a:cxn ang="0">
                  <a:pos x="connsiteX5771" y="connsiteY5771"/>
                </a:cxn>
                <a:cxn ang="0">
                  <a:pos x="connsiteX5772" y="connsiteY5772"/>
                </a:cxn>
                <a:cxn ang="0">
                  <a:pos x="connsiteX5773" y="connsiteY5773"/>
                </a:cxn>
                <a:cxn ang="0">
                  <a:pos x="connsiteX5774" y="connsiteY5774"/>
                </a:cxn>
                <a:cxn ang="0">
                  <a:pos x="connsiteX5775" y="connsiteY5775"/>
                </a:cxn>
                <a:cxn ang="0">
                  <a:pos x="connsiteX5776" y="connsiteY5776"/>
                </a:cxn>
                <a:cxn ang="0">
                  <a:pos x="connsiteX5777" y="connsiteY5777"/>
                </a:cxn>
                <a:cxn ang="0">
                  <a:pos x="connsiteX5778" y="connsiteY5778"/>
                </a:cxn>
                <a:cxn ang="0">
                  <a:pos x="connsiteX5779" y="connsiteY5779"/>
                </a:cxn>
                <a:cxn ang="0">
                  <a:pos x="connsiteX5780" y="connsiteY5780"/>
                </a:cxn>
                <a:cxn ang="0">
                  <a:pos x="connsiteX5781" y="connsiteY5781"/>
                </a:cxn>
                <a:cxn ang="0">
                  <a:pos x="connsiteX5782" y="connsiteY5782"/>
                </a:cxn>
                <a:cxn ang="0">
                  <a:pos x="connsiteX5783" y="connsiteY5783"/>
                </a:cxn>
                <a:cxn ang="0">
                  <a:pos x="connsiteX5784" y="connsiteY5784"/>
                </a:cxn>
                <a:cxn ang="0">
                  <a:pos x="connsiteX5785" y="connsiteY5785"/>
                </a:cxn>
                <a:cxn ang="0">
                  <a:pos x="connsiteX5786" y="connsiteY5786"/>
                </a:cxn>
                <a:cxn ang="0">
                  <a:pos x="connsiteX5787" y="connsiteY5787"/>
                </a:cxn>
                <a:cxn ang="0">
                  <a:pos x="connsiteX5788" y="connsiteY5788"/>
                </a:cxn>
                <a:cxn ang="0">
                  <a:pos x="connsiteX5789" y="connsiteY5789"/>
                </a:cxn>
                <a:cxn ang="0">
                  <a:pos x="connsiteX5790" y="connsiteY5790"/>
                </a:cxn>
                <a:cxn ang="0">
                  <a:pos x="connsiteX5791" y="connsiteY5791"/>
                </a:cxn>
                <a:cxn ang="0">
                  <a:pos x="connsiteX5792" y="connsiteY5792"/>
                </a:cxn>
                <a:cxn ang="0">
                  <a:pos x="connsiteX5793" y="connsiteY5793"/>
                </a:cxn>
                <a:cxn ang="0">
                  <a:pos x="connsiteX5794" y="connsiteY5794"/>
                </a:cxn>
                <a:cxn ang="0">
                  <a:pos x="connsiteX5795" y="connsiteY5795"/>
                </a:cxn>
                <a:cxn ang="0">
                  <a:pos x="connsiteX5796" y="connsiteY5796"/>
                </a:cxn>
                <a:cxn ang="0">
                  <a:pos x="connsiteX5797" y="connsiteY5797"/>
                </a:cxn>
                <a:cxn ang="0">
                  <a:pos x="connsiteX5798" y="connsiteY5798"/>
                </a:cxn>
                <a:cxn ang="0">
                  <a:pos x="connsiteX5799" y="connsiteY5799"/>
                </a:cxn>
                <a:cxn ang="0">
                  <a:pos x="connsiteX5800" y="connsiteY5800"/>
                </a:cxn>
                <a:cxn ang="0">
                  <a:pos x="connsiteX5801" y="connsiteY5801"/>
                </a:cxn>
                <a:cxn ang="0">
                  <a:pos x="connsiteX5802" y="connsiteY5802"/>
                </a:cxn>
                <a:cxn ang="0">
                  <a:pos x="connsiteX5803" y="connsiteY5803"/>
                </a:cxn>
                <a:cxn ang="0">
                  <a:pos x="connsiteX5804" y="connsiteY5804"/>
                </a:cxn>
                <a:cxn ang="0">
                  <a:pos x="connsiteX5805" y="connsiteY5805"/>
                </a:cxn>
                <a:cxn ang="0">
                  <a:pos x="connsiteX5806" y="connsiteY5806"/>
                </a:cxn>
                <a:cxn ang="0">
                  <a:pos x="connsiteX5807" y="connsiteY5807"/>
                </a:cxn>
                <a:cxn ang="0">
                  <a:pos x="connsiteX5808" y="connsiteY5808"/>
                </a:cxn>
                <a:cxn ang="0">
                  <a:pos x="connsiteX5809" y="connsiteY5809"/>
                </a:cxn>
                <a:cxn ang="0">
                  <a:pos x="connsiteX5810" y="connsiteY5810"/>
                </a:cxn>
                <a:cxn ang="0">
                  <a:pos x="connsiteX5811" y="connsiteY5811"/>
                </a:cxn>
                <a:cxn ang="0">
                  <a:pos x="connsiteX5812" y="connsiteY5812"/>
                </a:cxn>
                <a:cxn ang="0">
                  <a:pos x="connsiteX5813" y="connsiteY5813"/>
                </a:cxn>
                <a:cxn ang="0">
                  <a:pos x="connsiteX5814" y="connsiteY5814"/>
                </a:cxn>
                <a:cxn ang="0">
                  <a:pos x="connsiteX5815" y="connsiteY5815"/>
                </a:cxn>
                <a:cxn ang="0">
                  <a:pos x="connsiteX5816" y="connsiteY5816"/>
                </a:cxn>
                <a:cxn ang="0">
                  <a:pos x="connsiteX5817" y="connsiteY5817"/>
                </a:cxn>
                <a:cxn ang="0">
                  <a:pos x="connsiteX5818" y="connsiteY5818"/>
                </a:cxn>
                <a:cxn ang="0">
                  <a:pos x="connsiteX5819" y="connsiteY5819"/>
                </a:cxn>
                <a:cxn ang="0">
                  <a:pos x="connsiteX5820" y="connsiteY5820"/>
                </a:cxn>
                <a:cxn ang="0">
                  <a:pos x="connsiteX5821" y="connsiteY5821"/>
                </a:cxn>
                <a:cxn ang="0">
                  <a:pos x="connsiteX5822" y="connsiteY5822"/>
                </a:cxn>
                <a:cxn ang="0">
                  <a:pos x="connsiteX5823" y="connsiteY5823"/>
                </a:cxn>
                <a:cxn ang="0">
                  <a:pos x="connsiteX5824" y="connsiteY5824"/>
                </a:cxn>
                <a:cxn ang="0">
                  <a:pos x="connsiteX5825" y="connsiteY5825"/>
                </a:cxn>
                <a:cxn ang="0">
                  <a:pos x="connsiteX5826" y="connsiteY5826"/>
                </a:cxn>
                <a:cxn ang="0">
                  <a:pos x="connsiteX5827" y="connsiteY5827"/>
                </a:cxn>
                <a:cxn ang="0">
                  <a:pos x="connsiteX5828" y="connsiteY5828"/>
                </a:cxn>
                <a:cxn ang="0">
                  <a:pos x="connsiteX5829" y="connsiteY5829"/>
                </a:cxn>
                <a:cxn ang="0">
                  <a:pos x="connsiteX5830" y="connsiteY5830"/>
                </a:cxn>
                <a:cxn ang="0">
                  <a:pos x="connsiteX5831" y="connsiteY5831"/>
                </a:cxn>
                <a:cxn ang="0">
                  <a:pos x="connsiteX5832" y="connsiteY5832"/>
                </a:cxn>
                <a:cxn ang="0">
                  <a:pos x="connsiteX5833" y="connsiteY5833"/>
                </a:cxn>
                <a:cxn ang="0">
                  <a:pos x="connsiteX5834" y="connsiteY5834"/>
                </a:cxn>
                <a:cxn ang="0">
                  <a:pos x="connsiteX5835" y="connsiteY5835"/>
                </a:cxn>
                <a:cxn ang="0">
                  <a:pos x="connsiteX5836" y="connsiteY5836"/>
                </a:cxn>
                <a:cxn ang="0">
                  <a:pos x="connsiteX5837" y="connsiteY5837"/>
                </a:cxn>
                <a:cxn ang="0">
                  <a:pos x="connsiteX5838" y="connsiteY5838"/>
                </a:cxn>
                <a:cxn ang="0">
                  <a:pos x="connsiteX5839" y="connsiteY5839"/>
                </a:cxn>
                <a:cxn ang="0">
                  <a:pos x="connsiteX5840" y="connsiteY5840"/>
                </a:cxn>
                <a:cxn ang="0">
                  <a:pos x="connsiteX5841" y="connsiteY5841"/>
                </a:cxn>
                <a:cxn ang="0">
                  <a:pos x="connsiteX5842" y="connsiteY5842"/>
                </a:cxn>
                <a:cxn ang="0">
                  <a:pos x="connsiteX5843" y="connsiteY5843"/>
                </a:cxn>
                <a:cxn ang="0">
                  <a:pos x="connsiteX5844" y="connsiteY5844"/>
                </a:cxn>
                <a:cxn ang="0">
                  <a:pos x="connsiteX5845" y="connsiteY5845"/>
                </a:cxn>
                <a:cxn ang="0">
                  <a:pos x="connsiteX5846" y="connsiteY5846"/>
                </a:cxn>
                <a:cxn ang="0">
                  <a:pos x="connsiteX5847" y="connsiteY5847"/>
                </a:cxn>
                <a:cxn ang="0">
                  <a:pos x="connsiteX5848" y="connsiteY5848"/>
                </a:cxn>
                <a:cxn ang="0">
                  <a:pos x="connsiteX5849" y="connsiteY5849"/>
                </a:cxn>
                <a:cxn ang="0">
                  <a:pos x="connsiteX5850" y="connsiteY5850"/>
                </a:cxn>
                <a:cxn ang="0">
                  <a:pos x="connsiteX5851" y="connsiteY5851"/>
                </a:cxn>
                <a:cxn ang="0">
                  <a:pos x="connsiteX5852" y="connsiteY5852"/>
                </a:cxn>
                <a:cxn ang="0">
                  <a:pos x="connsiteX5853" y="connsiteY5853"/>
                </a:cxn>
                <a:cxn ang="0">
                  <a:pos x="connsiteX5854" y="connsiteY5854"/>
                </a:cxn>
                <a:cxn ang="0">
                  <a:pos x="connsiteX5855" y="connsiteY5855"/>
                </a:cxn>
                <a:cxn ang="0">
                  <a:pos x="connsiteX5856" y="connsiteY5856"/>
                </a:cxn>
                <a:cxn ang="0">
                  <a:pos x="connsiteX5857" y="connsiteY5857"/>
                </a:cxn>
                <a:cxn ang="0">
                  <a:pos x="connsiteX5858" y="connsiteY5858"/>
                </a:cxn>
                <a:cxn ang="0">
                  <a:pos x="connsiteX5859" y="connsiteY5859"/>
                </a:cxn>
                <a:cxn ang="0">
                  <a:pos x="connsiteX5860" y="connsiteY5860"/>
                </a:cxn>
                <a:cxn ang="0">
                  <a:pos x="connsiteX5861" y="connsiteY5861"/>
                </a:cxn>
                <a:cxn ang="0">
                  <a:pos x="connsiteX5862" y="connsiteY5862"/>
                </a:cxn>
                <a:cxn ang="0">
                  <a:pos x="connsiteX5863" y="connsiteY5863"/>
                </a:cxn>
                <a:cxn ang="0">
                  <a:pos x="connsiteX5864" y="connsiteY5864"/>
                </a:cxn>
                <a:cxn ang="0">
                  <a:pos x="connsiteX5865" y="connsiteY5865"/>
                </a:cxn>
                <a:cxn ang="0">
                  <a:pos x="connsiteX5866" y="connsiteY5866"/>
                </a:cxn>
                <a:cxn ang="0">
                  <a:pos x="connsiteX5867" y="connsiteY5867"/>
                </a:cxn>
                <a:cxn ang="0">
                  <a:pos x="connsiteX5868" y="connsiteY5868"/>
                </a:cxn>
                <a:cxn ang="0">
                  <a:pos x="connsiteX5869" y="connsiteY5869"/>
                </a:cxn>
                <a:cxn ang="0">
                  <a:pos x="connsiteX5870" y="connsiteY5870"/>
                </a:cxn>
                <a:cxn ang="0">
                  <a:pos x="connsiteX5871" y="connsiteY5871"/>
                </a:cxn>
                <a:cxn ang="0">
                  <a:pos x="connsiteX5872" y="connsiteY5872"/>
                </a:cxn>
                <a:cxn ang="0">
                  <a:pos x="connsiteX5873" y="connsiteY5873"/>
                </a:cxn>
                <a:cxn ang="0">
                  <a:pos x="connsiteX5874" y="connsiteY5874"/>
                </a:cxn>
                <a:cxn ang="0">
                  <a:pos x="connsiteX5875" y="connsiteY5875"/>
                </a:cxn>
                <a:cxn ang="0">
                  <a:pos x="connsiteX5876" y="connsiteY5876"/>
                </a:cxn>
                <a:cxn ang="0">
                  <a:pos x="connsiteX5877" y="connsiteY5877"/>
                </a:cxn>
                <a:cxn ang="0">
                  <a:pos x="connsiteX5878" y="connsiteY5878"/>
                </a:cxn>
                <a:cxn ang="0">
                  <a:pos x="connsiteX5879" y="connsiteY5879"/>
                </a:cxn>
                <a:cxn ang="0">
                  <a:pos x="connsiteX5880" y="connsiteY5880"/>
                </a:cxn>
                <a:cxn ang="0">
                  <a:pos x="connsiteX5881" y="connsiteY5881"/>
                </a:cxn>
                <a:cxn ang="0">
                  <a:pos x="connsiteX5882" y="connsiteY5882"/>
                </a:cxn>
                <a:cxn ang="0">
                  <a:pos x="connsiteX5883" y="connsiteY5883"/>
                </a:cxn>
                <a:cxn ang="0">
                  <a:pos x="connsiteX5884" y="connsiteY5884"/>
                </a:cxn>
                <a:cxn ang="0">
                  <a:pos x="connsiteX5885" y="connsiteY5885"/>
                </a:cxn>
                <a:cxn ang="0">
                  <a:pos x="connsiteX5886" y="connsiteY5886"/>
                </a:cxn>
                <a:cxn ang="0">
                  <a:pos x="connsiteX5887" y="connsiteY5887"/>
                </a:cxn>
                <a:cxn ang="0">
                  <a:pos x="connsiteX5888" y="connsiteY5888"/>
                </a:cxn>
                <a:cxn ang="0">
                  <a:pos x="connsiteX5889" y="connsiteY5889"/>
                </a:cxn>
                <a:cxn ang="0">
                  <a:pos x="connsiteX5890" y="connsiteY5890"/>
                </a:cxn>
                <a:cxn ang="0">
                  <a:pos x="connsiteX5891" y="connsiteY5891"/>
                </a:cxn>
                <a:cxn ang="0">
                  <a:pos x="connsiteX5892" y="connsiteY5892"/>
                </a:cxn>
                <a:cxn ang="0">
                  <a:pos x="connsiteX5893" y="connsiteY5893"/>
                </a:cxn>
                <a:cxn ang="0">
                  <a:pos x="connsiteX5894" y="connsiteY5894"/>
                </a:cxn>
                <a:cxn ang="0">
                  <a:pos x="connsiteX5895" y="connsiteY5895"/>
                </a:cxn>
                <a:cxn ang="0">
                  <a:pos x="connsiteX5896" y="connsiteY5896"/>
                </a:cxn>
                <a:cxn ang="0">
                  <a:pos x="connsiteX5897" y="connsiteY5897"/>
                </a:cxn>
                <a:cxn ang="0">
                  <a:pos x="connsiteX5898" y="connsiteY5898"/>
                </a:cxn>
                <a:cxn ang="0">
                  <a:pos x="connsiteX5899" y="connsiteY5899"/>
                </a:cxn>
                <a:cxn ang="0">
                  <a:pos x="connsiteX5900" y="connsiteY5900"/>
                </a:cxn>
                <a:cxn ang="0">
                  <a:pos x="connsiteX5901" y="connsiteY5901"/>
                </a:cxn>
                <a:cxn ang="0">
                  <a:pos x="connsiteX5902" y="connsiteY5902"/>
                </a:cxn>
                <a:cxn ang="0">
                  <a:pos x="connsiteX5903" y="connsiteY5903"/>
                </a:cxn>
                <a:cxn ang="0">
                  <a:pos x="connsiteX5904" y="connsiteY5904"/>
                </a:cxn>
                <a:cxn ang="0">
                  <a:pos x="connsiteX5905" y="connsiteY5905"/>
                </a:cxn>
                <a:cxn ang="0">
                  <a:pos x="connsiteX5906" y="connsiteY5906"/>
                </a:cxn>
                <a:cxn ang="0">
                  <a:pos x="connsiteX5907" y="connsiteY5907"/>
                </a:cxn>
                <a:cxn ang="0">
                  <a:pos x="connsiteX5908" y="connsiteY5908"/>
                </a:cxn>
                <a:cxn ang="0">
                  <a:pos x="connsiteX5909" y="connsiteY5909"/>
                </a:cxn>
                <a:cxn ang="0">
                  <a:pos x="connsiteX5910" y="connsiteY5910"/>
                </a:cxn>
                <a:cxn ang="0">
                  <a:pos x="connsiteX5911" y="connsiteY5911"/>
                </a:cxn>
                <a:cxn ang="0">
                  <a:pos x="connsiteX5912" y="connsiteY5912"/>
                </a:cxn>
                <a:cxn ang="0">
                  <a:pos x="connsiteX5913" y="connsiteY5913"/>
                </a:cxn>
                <a:cxn ang="0">
                  <a:pos x="connsiteX5914" y="connsiteY5914"/>
                </a:cxn>
                <a:cxn ang="0">
                  <a:pos x="connsiteX5915" y="connsiteY5915"/>
                </a:cxn>
                <a:cxn ang="0">
                  <a:pos x="connsiteX5916" y="connsiteY5916"/>
                </a:cxn>
                <a:cxn ang="0">
                  <a:pos x="connsiteX5917" y="connsiteY5917"/>
                </a:cxn>
                <a:cxn ang="0">
                  <a:pos x="connsiteX5918" y="connsiteY5918"/>
                </a:cxn>
                <a:cxn ang="0">
                  <a:pos x="connsiteX5919" y="connsiteY5919"/>
                </a:cxn>
                <a:cxn ang="0">
                  <a:pos x="connsiteX5920" y="connsiteY5920"/>
                </a:cxn>
                <a:cxn ang="0">
                  <a:pos x="connsiteX5921" y="connsiteY5921"/>
                </a:cxn>
                <a:cxn ang="0">
                  <a:pos x="connsiteX5922" y="connsiteY5922"/>
                </a:cxn>
                <a:cxn ang="0">
                  <a:pos x="connsiteX5923" y="connsiteY5923"/>
                </a:cxn>
                <a:cxn ang="0">
                  <a:pos x="connsiteX5924" y="connsiteY5924"/>
                </a:cxn>
                <a:cxn ang="0">
                  <a:pos x="connsiteX5925" y="connsiteY5925"/>
                </a:cxn>
                <a:cxn ang="0">
                  <a:pos x="connsiteX5926" y="connsiteY5926"/>
                </a:cxn>
                <a:cxn ang="0">
                  <a:pos x="connsiteX5927" y="connsiteY5927"/>
                </a:cxn>
                <a:cxn ang="0">
                  <a:pos x="connsiteX5928" y="connsiteY5928"/>
                </a:cxn>
                <a:cxn ang="0">
                  <a:pos x="connsiteX5929" y="connsiteY5929"/>
                </a:cxn>
                <a:cxn ang="0">
                  <a:pos x="connsiteX5930" y="connsiteY5930"/>
                </a:cxn>
                <a:cxn ang="0">
                  <a:pos x="connsiteX5931" y="connsiteY5931"/>
                </a:cxn>
                <a:cxn ang="0">
                  <a:pos x="connsiteX5932" y="connsiteY5932"/>
                </a:cxn>
                <a:cxn ang="0">
                  <a:pos x="connsiteX5933" y="connsiteY5933"/>
                </a:cxn>
                <a:cxn ang="0">
                  <a:pos x="connsiteX5934" y="connsiteY5934"/>
                </a:cxn>
                <a:cxn ang="0">
                  <a:pos x="connsiteX5935" y="connsiteY5935"/>
                </a:cxn>
                <a:cxn ang="0">
                  <a:pos x="connsiteX5936" y="connsiteY5936"/>
                </a:cxn>
                <a:cxn ang="0">
                  <a:pos x="connsiteX5937" y="connsiteY5937"/>
                </a:cxn>
                <a:cxn ang="0">
                  <a:pos x="connsiteX5938" y="connsiteY5938"/>
                </a:cxn>
                <a:cxn ang="0">
                  <a:pos x="connsiteX5939" y="connsiteY5939"/>
                </a:cxn>
                <a:cxn ang="0">
                  <a:pos x="connsiteX5940" y="connsiteY5940"/>
                </a:cxn>
                <a:cxn ang="0">
                  <a:pos x="connsiteX5941" y="connsiteY5941"/>
                </a:cxn>
                <a:cxn ang="0">
                  <a:pos x="connsiteX5942" y="connsiteY5942"/>
                </a:cxn>
                <a:cxn ang="0">
                  <a:pos x="connsiteX5943" y="connsiteY5943"/>
                </a:cxn>
                <a:cxn ang="0">
                  <a:pos x="connsiteX5944" y="connsiteY5944"/>
                </a:cxn>
                <a:cxn ang="0">
                  <a:pos x="connsiteX5945" y="connsiteY5945"/>
                </a:cxn>
                <a:cxn ang="0">
                  <a:pos x="connsiteX5946" y="connsiteY5946"/>
                </a:cxn>
                <a:cxn ang="0">
                  <a:pos x="connsiteX5947" y="connsiteY5947"/>
                </a:cxn>
                <a:cxn ang="0">
                  <a:pos x="connsiteX5948" y="connsiteY5948"/>
                </a:cxn>
                <a:cxn ang="0">
                  <a:pos x="connsiteX5949" y="connsiteY5949"/>
                </a:cxn>
                <a:cxn ang="0">
                  <a:pos x="connsiteX5950" y="connsiteY5950"/>
                </a:cxn>
                <a:cxn ang="0">
                  <a:pos x="connsiteX5951" y="connsiteY5951"/>
                </a:cxn>
                <a:cxn ang="0">
                  <a:pos x="connsiteX5952" y="connsiteY5952"/>
                </a:cxn>
                <a:cxn ang="0">
                  <a:pos x="connsiteX5953" y="connsiteY5953"/>
                </a:cxn>
                <a:cxn ang="0">
                  <a:pos x="connsiteX5954" y="connsiteY5954"/>
                </a:cxn>
                <a:cxn ang="0">
                  <a:pos x="connsiteX5955" y="connsiteY5955"/>
                </a:cxn>
                <a:cxn ang="0">
                  <a:pos x="connsiteX5956" y="connsiteY5956"/>
                </a:cxn>
                <a:cxn ang="0">
                  <a:pos x="connsiteX5957" y="connsiteY5957"/>
                </a:cxn>
                <a:cxn ang="0">
                  <a:pos x="connsiteX5958" y="connsiteY5958"/>
                </a:cxn>
                <a:cxn ang="0">
                  <a:pos x="connsiteX5959" y="connsiteY5959"/>
                </a:cxn>
                <a:cxn ang="0">
                  <a:pos x="connsiteX5960" y="connsiteY5960"/>
                </a:cxn>
                <a:cxn ang="0">
                  <a:pos x="connsiteX5961" y="connsiteY5961"/>
                </a:cxn>
                <a:cxn ang="0">
                  <a:pos x="connsiteX5962" y="connsiteY5962"/>
                </a:cxn>
                <a:cxn ang="0">
                  <a:pos x="connsiteX5963" y="connsiteY5963"/>
                </a:cxn>
                <a:cxn ang="0">
                  <a:pos x="connsiteX5964" y="connsiteY5964"/>
                </a:cxn>
                <a:cxn ang="0">
                  <a:pos x="connsiteX5965" y="connsiteY5965"/>
                </a:cxn>
                <a:cxn ang="0">
                  <a:pos x="connsiteX5966" y="connsiteY5966"/>
                </a:cxn>
                <a:cxn ang="0">
                  <a:pos x="connsiteX5967" y="connsiteY5967"/>
                </a:cxn>
                <a:cxn ang="0">
                  <a:pos x="connsiteX5968" y="connsiteY5968"/>
                </a:cxn>
                <a:cxn ang="0">
                  <a:pos x="connsiteX5969" y="connsiteY5969"/>
                </a:cxn>
                <a:cxn ang="0">
                  <a:pos x="connsiteX5970" y="connsiteY5970"/>
                </a:cxn>
                <a:cxn ang="0">
                  <a:pos x="connsiteX5971" y="connsiteY5971"/>
                </a:cxn>
                <a:cxn ang="0">
                  <a:pos x="connsiteX5972" y="connsiteY5972"/>
                </a:cxn>
                <a:cxn ang="0">
                  <a:pos x="connsiteX5973" y="connsiteY5973"/>
                </a:cxn>
                <a:cxn ang="0">
                  <a:pos x="connsiteX5974" y="connsiteY5974"/>
                </a:cxn>
                <a:cxn ang="0">
                  <a:pos x="connsiteX5975" y="connsiteY5975"/>
                </a:cxn>
                <a:cxn ang="0">
                  <a:pos x="connsiteX5976" y="connsiteY5976"/>
                </a:cxn>
                <a:cxn ang="0">
                  <a:pos x="connsiteX5977" y="connsiteY5977"/>
                </a:cxn>
                <a:cxn ang="0">
                  <a:pos x="connsiteX5978" y="connsiteY5978"/>
                </a:cxn>
                <a:cxn ang="0">
                  <a:pos x="connsiteX5979" y="connsiteY5979"/>
                </a:cxn>
                <a:cxn ang="0">
                  <a:pos x="connsiteX5980" y="connsiteY5980"/>
                </a:cxn>
                <a:cxn ang="0">
                  <a:pos x="connsiteX5981" y="connsiteY5981"/>
                </a:cxn>
                <a:cxn ang="0">
                  <a:pos x="connsiteX5982" y="connsiteY5982"/>
                </a:cxn>
                <a:cxn ang="0">
                  <a:pos x="connsiteX5983" y="connsiteY5983"/>
                </a:cxn>
                <a:cxn ang="0">
                  <a:pos x="connsiteX5984" y="connsiteY5984"/>
                </a:cxn>
                <a:cxn ang="0">
                  <a:pos x="connsiteX5985" y="connsiteY5985"/>
                </a:cxn>
                <a:cxn ang="0">
                  <a:pos x="connsiteX5986" y="connsiteY5986"/>
                </a:cxn>
                <a:cxn ang="0">
                  <a:pos x="connsiteX5987" y="connsiteY5987"/>
                </a:cxn>
                <a:cxn ang="0">
                  <a:pos x="connsiteX5988" y="connsiteY5988"/>
                </a:cxn>
                <a:cxn ang="0">
                  <a:pos x="connsiteX5989" y="connsiteY5989"/>
                </a:cxn>
                <a:cxn ang="0">
                  <a:pos x="connsiteX5990" y="connsiteY5990"/>
                </a:cxn>
                <a:cxn ang="0">
                  <a:pos x="connsiteX5991" y="connsiteY5991"/>
                </a:cxn>
                <a:cxn ang="0">
                  <a:pos x="connsiteX5992" y="connsiteY5992"/>
                </a:cxn>
                <a:cxn ang="0">
                  <a:pos x="connsiteX5993" y="connsiteY5993"/>
                </a:cxn>
                <a:cxn ang="0">
                  <a:pos x="connsiteX5994" y="connsiteY5994"/>
                </a:cxn>
                <a:cxn ang="0">
                  <a:pos x="connsiteX5995" y="connsiteY5995"/>
                </a:cxn>
                <a:cxn ang="0">
                  <a:pos x="connsiteX5996" y="connsiteY5996"/>
                </a:cxn>
                <a:cxn ang="0">
                  <a:pos x="connsiteX5997" y="connsiteY5997"/>
                </a:cxn>
                <a:cxn ang="0">
                  <a:pos x="connsiteX5998" y="connsiteY5998"/>
                </a:cxn>
                <a:cxn ang="0">
                  <a:pos x="connsiteX5999" y="connsiteY5999"/>
                </a:cxn>
                <a:cxn ang="0">
                  <a:pos x="connsiteX6000" y="connsiteY6000"/>
                </a:cxn>
                <a:cxn ang="0">
                  <a:pos x="connsiteX6001" y="connsiteY6001"/>
                </a:cxn>
                <a:cxn ang="0">
                  <a:pos x="connsiteX6002" y="connsiteY6002"/>
                </a:cxn>
                <a:cxn ang="0">
                  <a:pos x="connsiteX6003" y="connsiteY6003"/>
                </a:cxn>
                <a:cxn ang="0">
                  <a:pos x="connsiteX6004" y="connsiteY6004"/>
                </a:cxn>
                <a:cxn ang="0">
                  <a:pos x="connsiteX6005" y="connsiteY6005"/>
                </a:cxn>
                <a:cxn ang="0">
                  <a:pos x="connsiteX6006" y="connsiteY6006"/>
                </a:cxn>
                <a:cxn ang="0">
                  <a:pos x="connsiteX6007" y="connsiteY6007"/>
                </a:cxn>
                <a:cxn ang="0">
                  <a:pos x="connsiteX6008" y="connsiteY6008"/>
                </a:cxn>
                <a:cxn ang="0">
                  <a:pos x="connsiteX6009" y="connsiteY6009"/>
                </a:cxn>
                <a:cxn ang="0">
                  <a:pos x="connsiteX6010" y="connsiteY6010"/>
                </a:cxn>
                <a:cxn ang="0">
                  <a:pos x="connsiteX6011" y="connsiteY6011"/>
                </a:cxn>
                <a:cxn ang="0">
                  <a:pos x="connsiteX6012" y="connsiteY6012"/>
                </a:cxn>
                <a:cxn ang="0">
                  <a:pos x="connsiteX6013" y="connsiteY6013"/>
                </a:cxn>
                <a:cxn ang="0">
                  <a:pos x="connsiteX6014" y="connsiteY6014"/>
                </a:cxn>
                <a:cxn ang="0">
                  <a:pos x="connsiteX6015" y="connsiteY6015"/>
                </a:cxn>
                <a:cxn ang="0">
                  <a:pos x="connsiteX6016" y="connsiteY6016"/>
                </a:cxn>
                <a:cxn ang="0">
                  <a:pos x="connsiteX6017" y="connsiteY6017"/>
                </a:cxn>
                <a:cxn ang="0">
                  <a:pos x="connsiteX6018" y="connsiteY6018"/>
                </a:cxn>
                <a:cxn ang="0">
                  <a:pos x="connsiteX6019" y="connsiteY6019"/>
                </a:cxn>
                <a:cxn ang="0">
                  <a:pos x="connsiteX6020" y="connsiteY6020"/>
                </a:cxn>
                <a:cxn ang="0">
                  <a:pos x="connsiteX6021" y="connsiteY6021"/>
                </a:cxn>
                <a:cxn ang="0">
                  <a:pos x="connsiteX6022" y="connsiteY6022"/>
                </a:cxn>
                <a:cxn ang="0">
                  <a:pos x="connsiteX6023" y="connsiteY6023"/>
                </a:cxn>
                <a:cxn ang="0">
                  <a:pos x="connsiteX6024" y="connsiteY6024"/>
                </a:cxn>
                <a:cxn ang="0">
                  <a:pos x="connsiteX6025" y="connsiteY6025"/>
                </a:cxn>
                <a:cxn ang="0">
                  <a:pos x="connsiteX6026" y="connsiteY6026"/>
                </a:cxn>
                <a:cxn ang="0">
                  <a:pos x="connsiteX6027" y="connsiteY6027"/>
                </a:cxn>
                <a:cxn ang="0">
                  <a:pos x="connsiteX6028" y="connsiteY6028"/>
                </a:cxn>
                <a:cxn ang="0">
                  <a:pos x="connsiteX6029" y="connsiteY6029"/>
                </a:cxn>
                <a:cxn ang="0">
                  <a:pos x="connsiteX6030" y="connsiteY6030"/>
                </a:cxn>
                <a:cxn ang="0">
                  <a:pos x="connsiteX6031" y="connsiteY6031"/>
                </a:cxn>
                <a:cxn ang="0">
                  <a:pos x="connsiteX6032" y="connsiteY6032"/>
                </a:cxn>
                <a:cxn ang="0">
                  <a:pos x="connsiteX6033" y="connsiteY6033"/>
                </a:cxn>
                <a:cxn ang="0">
                  <a:pos x="connsiteX6034" y="connsiteY6034"/>
                </a:cxn>
                <a:cxn ang="0">
                  <a:pos x="connsiteX6035" y="connsiteY6035"/>
                </a:cxn>
                <a:cxn ang="0">
                  <a:pos x="connsiteX6036" y="connsiteY6036"/>
                </a:cxn>
                <a:cxn ang="0">
                  <a:pos x="connsiteX6037" y="connsiteY6037"/>
                </a:cxn>
                <a:cxn ang="0">
                  <a:pos x="connsiteX6038" y="connsiteY6038"/>
                </a:cxn>
                <a:cxn ang="0">
                  <a:pos x="connsiteX6039" y="connsiteY6039"/>
                </a:cxn>
                <a:cxn ang="0">
                  <a:pos x="connsiteX6040" y="connsiteY6040"/>
                </a:cxn>
                <a:cxn ang="0">
                  <a:pos x="connsiteX6041" y="connsiteY6041"/>
                </a:cxn>
                <a:cxn ang="0">
                  <a:pos x="connsiteX6042" y="connsiteY6042"/>
                </a:cxn>
                <a:cxn ang="0">
                  <a:pos x="connsiteX6043" y="connsiteY6043"/>
                </a:cxn>
                <a:cxn ang="0">
                  <a:pos x="connsiteX6044" y="connsiteY6044"/>
                </a:cxn>
                <a:cxn ang="0">
                  <a:pos x="connsiteX6045" y="connsiteY6045"/>
                </a:cxn>
                <a:cxn ang="0">
                  <a:pos x="connsiteX6046" y="connsiteY6046"/>
                </a:cxn>
                <a:cxn ang="0">
                  <a:pos x="connsiteX6047" y="connsiteY6047"/>
                </a:cxn>
                <a:cxn ang="0">
                  <a:pos x="connsiteX6048" y="connsiteY6048"/>
                </a:cxn>
                <a:cxn ang="0">
                  <a:pos x="connsiteX6049" y="connsiteY6049"/>
                </a:cxn>
                <a:cxn ang="0">
                  <a:pos x="connsiteX6050" y="connsiteY6050"/>
                </a:cxn>
                <a:cxn ang="0">
                  <a:pos x="connsiteX6051" y="connsiteY6051"/>
                </a:cxn>
                <a:cxn ang="0">
                  <a:pos x="connsiteX6052" y="connsiteY6052"/>
                </a:cxn>
                <a:cxn ang="0">
                  <a:pos x="connsiteX6053" y="connsiteY6053"/>
                </a:cxn>
                <a:cxn ang="0">
                  <a:pos x="connsiteX6054" y="connsiteY6054"/>
                </a:cxn>
                <a:cxn ang="0">
                  <a:pos x="connsiteX6055" y="connsiteY6055"/>
                </a:cxn>
                <a:cxn ang="0">
                  <a:pos x="connsiteX6056" y="connsiteY6056"/>
                </a:cxn>
                <a:cxn ang="0">
                  <a:pos x="connsiteX6057" y="connsiteY6057"/>
                </a:cxn>
                <a:cxn ang="0">
                  <a:pos x="connsiteX6058" y="connsiteY6058"/>
                </a:cxn>
                <a:cxn ang="0">
                  <a:pos x="connsiteX6059" y="connsiteY6059"/>
                </a:cxn>
                <a:cxn ang="0">
                  <a:pos x="connsiteX6060" y="connsiteY6060"/>
                </a:cxn>
                <a:cxn ang="0">
                  <a:pos x="connsiteX6061" y="connsiteY6061"/>
                </a:cxn>
                <a:cxn ang="0">
                  <a:pos x="connsiteX6062" y="connsiteY6062"/>
                </a:cxn>
                <a:cxn ang="0">
                  <a:pos x="connsiteX6063" y="connsiteY6063"/>
                </a:cxn>
                <a:cxn ang="0">
                  <a:pos x="connsiteX6064" y="connsiteY6064"/>
                </a:cxn>
                <a:cxn ang="0">
                  <a:pos x="connsiteX6065" y="connsiteY6065"/>
                </a:cxn>
                <a:cxn ang="0">
                  <a:pos x="connsiteX6066" y="connsiteY6066"/>
                </a:cxn>
                <a:cxn ang="0">
                  <a:pos x="connsiteX6067" y="connsiteY6067"/>
                </a:cxn>
                <a:cxn ang="0">
                  <a:pos x="connsiteX6068" y="connsiteY6068"/>
                </a:cxn>
                <a:cxn ang="0">
                  <a:pos x="connsiteX6069" y="connsiteY6069"/>
                </a:cxn>
                <a:cxn ang="0">
                  <a:pos x="connsiteX6070" y="connsiteY6070"/>
                </a:cxn>
                <a:cxn ang="0">
                  <a:pos x="connsiteX6071" y="connsiteY6071"/>
                </a:cxn>
                <a:cxn ang="0">
                  <a:pos x="connsiteX6072" y="connsiteY6072"/>
                </a:cxn>
                <a:cxn ang="0">
                  <a:pos x="connsiteX6073" y="connsiteY6073"/>
                </a:cxn>
                <a:cxn ang="0">
                  <a:pos x="connsiteX6074" y="connsiteY6074"/>
                </a:cxn>
                <a:cxn ang="0">
                  <a:pos x="connsiteX6075" y="connsiteY6075"/>
                </a:cxn>
                <a:cxn ang="0">
                  <a:pos x="connsiteX6076" y="connsiteY6076"/>
                </a:cxn>
                <a:cxn ang="0">
                  <a:pos x="connsiteX6077" y="connsiteY6077"/>
                </a:cxn>
                <a:cxn ang="0">
                  <a:pos x="connsiteX6078" y="connsiteY6078"/>
                </a:cxn>
                <a:cxn ang="0">
                  <a:pos x="connsiteX6079" y="connsiteY6079"/>
                </a:cxn>
                <a:cxn ang="0">
                  <a:pos x="connsiteX6080" y="connsiteY6080"/>
                </a:cxn>
                <a:cxn ang="0">
                  <a:pos x="connsiteX6081" y="connsiteY6081"/>
                </a:cxn>
                <a:cxn ang="0">
                  <a:pos x="connsiteX6082" y="connsiteY6082"/>
                </a:cxn>
                <a:cxn ang="0">
                  <a:pos x="connsiteX6083" y="connsiteY6083"/>
                </a:cxn>
                <a:cxn ang="0">
                  <a:pos x="connsiteX6084" y="connsiteY6084"/>
                </a:cxn>
                <a:cxn ang="0">
                  <a:pos x="connsiteX6085" y="connsiteY6085"/>
                </a:cxn>
                <a:cxn ang="0">
                  <a:pos x="connsiteX6086" y="connsiteY6086"/>
                </a:cxn>
                <a:cxn ang="0">
                  <a:pos x="connsiteX6087" y="connsiteY6087"/>
                </a:cxn>
                <a:cxn ang="0">
                  <a:pos x="connsiteX6088" y="connsiteY6088"/>
                </a:cxn>
                <a:cxn ang="0">
                  <a:pos x="connsiteX6089" y="connsiteY6089"/>
                </a:cxn>
                <a:cxn ang="0">
                  <a:pos x="connsiteX6090" y="connsiteY6090"/>
                </a:cxn>
                <a:cxn ang="0">
                  <a:pos x="connsiteX6091" y="connsiteY6091"/>
                </a:cxn>
                <a:cxn ang="0">
                  <a:pos x="connsiteX6092" y="connsiteY6092"/>
                </a:cxn>
                <a:cxn ang="0">
                  <a:pos x="connsiteX6093" y="connsiteY6093"/>
                </a:cxn>
                <a:cxn ang="0">
                  <a:pos x="connsiteX6094" y="connsiteY6094"/>
                </a:cxn>
                <a:cxn ang="0">
                  <a:pos x="connsiteX6095" y="connsiteY6095"/>
                </a:cxn>
                <a:cxn ang="0">
                  <a:pos x="connsiteX6096" y="connsiteY6096"/>
                </a:cxn>
                <a:cxn ang="0">
                  <a:pos x="connsiteX6097" y="connsiteY6097"/>
                </a:cxn>
                <a:cxn ang="0">
                  <a:pos x="connsiteX6098" y="connsiteY6098"/>
                </a:cxn>
                <a:cxn ang="0">
                  <a:pos x="connsiteX6099" y="connsiteY6099"/>
                </a:cxn>
                <a:cxn ang="0">
                  <a:pos x="connsiteX6100" y="connsiteY6100"/>
                </a:cxn>
                <a:cxn ang="0">
                  <a:pos x="connsiteX6101" y="connsiteY6101"/>
                </a:cxn>
                <a:cxn ang="0">
                  <a:pos x="connsiteX6102" y="connsiteY6102"/>
                </a:cxn>
                <a:cxn ang="0">
                  <a:pos x="connsiteX6103" y="connsiteY6103"/>
                </a:cxn>
                <a:cxn ang="0">
                  <a:pos x="connsiteX6104" y="connsiteY6104"/>
                </a:cxn>
                <a:cxn ang="0">
                  <a:pos x="connsiteX6105" y="connsiteY6105"/>
                </a:cxn>
                <a:cxn ang="0">
                  <a:pos x="connsiteX6106" y="connsiteY6106"/>
                </a:cxn>
                <a:cxn ang="0">
                  <a:pos x="connsiteX6107" y="connsiteY6107"/>
                </a:cxn>
                <a:cxn ang="0">
                  <a:pos x="connsiteX6108" y="connsiteY6108"/>
                </a:cxn>
                <a:cxn ang="0">
                  <a:pos x="connsiteX6109" y="connsiteY6109"/>
                </a:cxn>
                <a:cxn ang="0">
                  <a:pos x="connsiteX6110" y="connsiteY6110"/>
                </a:cxn>
                <a:cxn ang="0">
                  <a:pos x="connsiteX6111" y="connsiteY6111"/>
                </a:cxn>
                <a:cxn ang="0">
                  <a:pos x="connsiteX6112" y="connsiteY6112"/>
                </a:cxn>
                <a:cxn ang="0">
                  <a:pos x="connsiteX6113" y="connsiteY6113"/>
                </a:cxn>
                <a:cxn ang="0">
                  <a:pos x="connsiteX6114" y="connsiteY6114"/>
                </a:cxn>
                <a:cxn ang="0">
                  <a:pos x="connsiteX6115" y="connsiteY6115"/>
                </a:cxn>
                <a:cxn ang="0">
                  <a:pos x="connsiteX6116" y="connsiteY6116"/>
                </a:cxn>
                <a:cxn ang="0">
                  <a:pos x="connsiteX6117" y="connsiteY6117"/>
                </a:cxn>
                <a:cxn ang="0">
                  <a:pos x="connsiteX6118" y="connsiteY6118"/>
                </a:cxn>
                <a:cxn ang="0">
                  <a:pos x="connsiteX6119" y="connsiteY6119"/>
                </a:cxn>
                <a:cxn ang="0">
                  <a:pos x="connsiteX6120" y="connsiteY6120"/>
                </a:cxn>
                <a:cxn ang="0">
                  <a:pos x="connsiteX6121" y="connsiteY6121"/>
                </a:cxn>
                <a:cxn ang="0">
                  <a:pos x="connsiteX6122" y="connsiteY6122"/>
                </a:cxn>
                <a:cxn ang="0">
                  <a:pos x="connsiteX6123" y="connsiteY6123"/>
                </a:cxn>
                <a:cxn ang="0">
                  <a:pos x="connsiteX6124" y="connsiteY6124"/>
                </a:cxn>
                <a:cxn ang="0">
                  <a:pos x="connsiteX6125" y="connsiteY6125"/>
                </a:cxn>
                <a:cxn ang="0">
                  <a:pos x="connsiteX6126" y="connsiteY6126"/>
                </a:cxn>
                <a:cxn ang="0">
                  <a:pos x="connsiteX6127" y="connsiteY6127"/>
                </a:cxn>
                <a:cxn ang="0">
                  <a:pos x="connsiteX6128" y="connsiteY6128"/>
                </a:cxn>
                <a:cxn ang="0">
                  <a:pos x="connsiteX6129" y="connsiteY6129"/>
                </a:cxn>
                <a:cxn ang="0">
                  <a:pos x="connsiteX6130" y="connsiteY6130"/>
                </a:cxn>
                <a:cxn ang="0">
                  <a:pos x="connsiteX6131" y="connsiteY6131"/>
                </a:cxn>
                <a:cxn ang="0">
                  <a:pos x="connsiteX6132" y="connsiteY6132"/>
                </a:cxn>
                <a:cxn ang="0">
                  <a:pos x="connsiteX6133" y="connsiteY6133"/>
                </a:cxn>
                <a:cxn ang="0">
                  <a:pos x="connsiteX6134" y="connsiteY6134"/>
                </a:cxn>
                <a:cxn ang="0">
                  <a:pos x="connsiteX6135" y="connsiteY6135"/>
                </a:cxn>
                <a:cxn ang="0">
                  <a:pos x="connsiteX6136" y="connsiteY6136"/>
                </a:cxn>
                <a:cxn ang="0">
                  <a:pos x="connsiteX6137" y="connsiteY6137"/>
                </a:cxn>
                <a:cxn ang="0">
                  <a:pos x="connsiteX6138" y="connsiteY6138"/>
                </a:cxn>
                <a:cxn ang="0">
                  <a:pos x="connsiteX6139" y="connsiteY6139"/>
                </a:cxn>
                <a:cxn ang="0">
                  <a:pos x="connsiteX6140" y="connsiteY6140"/>
                </a:cxn>
                <a:cxn ang="0">
                  <a:pos x="connsiteX6141" y="connsiteY6141"/>
                </a:cxn>
                <a:cxn ang="0">
                  <a:pos x="connsiteX6142" y="connsiteY6142"/>
                </a:cxn>
                <a:cxn ang="0">
                  <a:pos x="connsiteX6143" y="connsiteY6143"/>
                </a:cxn>
                <a:cxn ang="0">
                  <a:pos x="connsiteX6144" y="connsiteY6144"/>
                </a:cxn>
                <a:cxn ang="0">
                  <a:pos x="connsiteX6145" y="connsiteY6145"/>
                </a:cxn>
                <a:cxn ang="0">
                  <a:pos x="connsiteX6146" y="connsiteY6146"/>
                </a:cxn>
                <a:cxn ang="0">
                  <a:pos x="connsiteX6147" y="connsiteY6147"/>
                </a:cxn>
                <a:cxn ang="0">
                  <a:pos x="connsiteX6148" y="connsiteY6148"/>
                </a:cxn>
                <a:cxn ang="0">
                  <a:pos x="connsiteX6149" y="connsiteY6149"/>
                </a:cxn>
                <a:cxn ang="0">
                  <a:pos x="connsiteX6150" y="connsiteY6150"/>
                </a:cxn>
                <a:cxn ang="0">
                  <a:pos x="connsiteX6151" y="connsiteY6151"/>
                </a:cxn>
                <a:cxn ang="0">
                  <a:pos x="connsiteX6152" y="connsiteY6152"/>
                </a:cxn>
                <a:cxn ang="0">
                  <a:pos x="connsiteX6153" y="connsiteY6153"/>
                </a:cxn>
                <a:cxn ang="0">
                  <a:pos x="connsiteX6154" y="connsiteY6154"/>
                </a:cxn>
                <a:cxn ang="0">
                  <a:pos x="connsiteX6155" y="connsiteY6155"/>
                </a:cxn>
                <a:cxn ang="0">
                  <a:pos x="connsiteX6156" y="connsiteY6156"/>
                </a:cxn>
                <a:cxn ang="0">
                  <a:pos x="connsiteX6157" y="connsiteY6157"/>
                </a:cxn>
                <a:cxn ang="0">
                  <a:pos x="connsiteX6158" y="connsiteY6158"/>
                </a:cxn>
                <a:cxn ang="0">
                  <a:pos x="connsiteX6159" y="connsiteY6159"/>
                </a:cxn>
                <a:cxn ang="0">
                  <a:pos x="connsiteX6160" y="connsiteY6160"/>
                </a:cxn>
                <a:cxn ang="0">
                  <a:pos x="connsiteX6161" y="connsiteY6161"/>
                </a:cxn>
                <a:cxn ang="0">
                  <a:pos x="connsiteX6162" y="connsiteY6162"/>
                </a:cxn>
                <a:cxn ang="0">
                  <a:pos x="connsiteX6163" y="connsiteY6163"/>
                </a:cxn>
                <a:cxn ang="0">
                  <a:pos x="connsiteX6164" y="connsiteY6164"/>
                </a:cxn>
                <a:cxn ang="0">
                  <a:pos x="connsiteX6165" y="connsiteY6165"/>
                </a:cxn>
                <a:cxn ang="0">
                  <a:pos x="connsiteX6166" y="connsiteY6166"/>
                </a:cxn>
                <a:cxn ang="0">
                  <a:pos x="connsiteX6167" y="connsiteY6167"/>
                </a:cxn>
                <a:cxn ang="0">
                  <a:pos x="connsiteX6168" y="connsiteY6168"/>
                </a:cxn>
                <a:cxn ang="0">
                  <a:pos x="connsiteX6169" y="connsiteY6169"/>
                </a:cxn>
                <a:cxn ang="0">
                  <a:pos x="connsiteX6170" y="connsiteY6170"/>
                </a:cxn>
                <a:cxn ang="0">
                  <a:pos x="connsiteX6171" y="connsiteY6171"/>
                </a:cxn>
                <a:cxn ang="0">
                  <a:pos x="connsiteX6172" y="connsiteY6172"/>
                </a:cxn>
                <a:cxn ang="0">
                  <a:pos x="connsiteX6173" y="connsiteY6173"/>
                </a:cxn>
                <a:cxn ang="0">
                  <a:pos x="connsiteX6174" y="connsiteY6174"/>
                </a:cxn>
                <a:cxn ang="0">
                  <a:pos x="connsiteX6175" y="connsiteY6175"/>
                </a:cxn>
                <a:cxn ang="0">
                  <a:pos x="connsiteX6176" y="connsiteY6176"/>
                </a:cxn>
                <a:cxn ang="0">
                  <a:pos x="connsiteX6177" y="connsiteY6177"/>
                </a:cxn>
                <a:cxn ang="0">
                  <a:pos x="connsiteX6178" y="connsiteY6178"/>
                </a:cxn>
                <a:cxn ang="0">
                  <a:pos x="connsiteX6179" y="connsiteY6179"/>
                </a:cxn>
                <a:cxn ang="0">
                  <a:pos x="connsiteX6180" y="connsiteY6180"/>
                </a:cxn>
                <a:cxn ang="0">
                  <a:pos x="connsiteX6181" y="connsiteY6181"/>
                </a:cxn>
                <a:cxn ang="0">
                  <a:pos x="connsiteX6182" y="connsiteY6182"/>
                </a:cxn>
                <a:cxn ang="0">
                  <a:pos x="connsiteX6183" y="connsiteY6183"/>
                </a:cxn>
                <a:cxn ang="0">
                  <a:pos x="connsiteX6184" y="connsiteY6184"/>
                </a:cxn>
                <a:cxn ang="0">
                  <a:pos x="connsiteX6185" y="connsiteY6185"/>
                </a:cxn>
                <a:cxn ang="0">
                  <a:pos x="connsiteX6186" y="connsiteY6186"/>
                </a:cxn>
                <a:cxn ang="0">
                  <a:pos x="connsiteX6187" y="connsiteY6187"/>
                </a:cxn>
                <a:cxn ang="0">
                  <a:pos x="connsiteX6188" y="connsiteY6188"/>
                </a:cxn>
                <a:cxn ang="0">
                  <a:pos x="connsiteX6189" y="connsiteY6189"/>
                </a:cxn>
                <a:cxn ang="0">
                  <a:pos x="connsiteX6190" y="connsiteY6190"/>
                </a:cxn>
                <a:cxn ang="0">
                  <a:pos x="connsiteX6191" y="connsiteY6191"/>
                </a:cxn>
                <a:cxn ang="0">
                  <a:pos x="connsiteX6192" y="connsiteY6192"/>
                </a:cxn>
                <a:cxn ang="0">
                  <a:pos x="connsiteX6193" y="connsiteY6193"/>
                </a:cxn>
                <a:cxn ang="0">
                  <a:pos x="connsiteX6194" y="connsiteY6194"/>
                </a:cxn>
                <a:cxn ang="0">
                  <a:pos x="connsiteX6195" y="connsiteY6195"/>
                </a:cxn>
                <a:cxn ang="0">
                  <a:pos x="connsiteX6196" y="connsiteY6196"/>
                </a:cxn>
                <a:cxn ang="0">
                  <a:pos x="connsiteX6197" y="connsiteY6197"/>
                </a:cxn>
                <a:cxn ang="0">
                  <a:pos x="connsiteX6198" y="connsiteY6198"/>
                </a:cxn>
                <a:cxn ang="0">
                  <a:pos x="connsiteX6199" y="connsiteY6199"/>
                </a:cxn>
                <a:cxn ang="0">
                  <a:pos x="connsiteX6200" y="connsiteY6200"/>
                </a:cxn>
                <a:cxn ang="0">
                  <a:pos x="connsiteX6201" y="connsiteY6201"/>
                </a:cxn>
                <a:cxn ang="0">
                  <a:pos x="connsiteX6202" y="connsiteY6202"/>
                </a:cxn>
                <a:cxn ang="0">
                  <a:pos x="connsiteX6203" y="connsiteY6203"/>
                </a:cxn>
                <a:cxn ang="0">
                  <a:pos x="connsiteX6204" y="connsiteY6204"/>
                </a:cxn>
                <a:cxn ang="0">
                  <a:pos x="connsiteX6205" y="connsiteY6205"/>
                </a:cxn>
                <a:cxn ang="0">
                  <a:pos x="connsiteX6206" y="connsiteY6206"/>
                </a:cxn>
                <a:cxn ang="0">
                  <a:pos x="connsiteX6207" y="connsiteY6207"/>
                </a:cxn>
                <a:cxn ang="0">
                  <a:pos x="connsiteX6208" y="connsiteY6208"/>
                </a:cxn>
                <a:cxn ang="0">
                  <a:pos x="connsiteX6209" y="connsiteY6209"/>
                </a:cxn>
                <a:cxn ang="0">
                  <a:pos x="connsiteX6210" y="connsiteY6210"/>
                </a:cxn>
                <a:cxn ang="0">
                  <a:pos x="connsiteX6211" y="connsiteY6211"/>
                </a:cxn>
                <a:cxn ang="0">
                  <a:pos x="connsiteX6212" y="connsiteY6212"/>
                </a:cxn>
                <a:cxn ang="0">
                  <a:pos x="connsiteX6213" y="connsiteY6213"/>
                </a:cxn>
                <a:cxn ang="0">
                  <a:pos x="connsiteX6214" y="connsiteY6214"/>
                </a:cxn>
                <a:cxn ang="0">
                  <a:pos x="connsiteX6215" y="connsiteY6215"/>
                </a:cxn>
                <a:cxn ang="0">
                  <a:pos x="connsiteX6216" y="connsiteY6216"/>
                </a:cxn>
                <a:cxn ang="0">
                  <a:pos x="connsiteX6217" y="connsiteY6217"/>
                </a:cxn>
                <a:cxn ang="0">
                  <a:pos x="connsiteX6218" y="connsiteY6218"/>
                </a:cxn>
                <a:cxn ang="0">
                  <a:pos x="connsiteX6219" y="connsiteY6219"/>
                </a:cxn>
                <a:cxn ang="0">
                  <a:pos x="connsiteX6220" y="connsiteY6220"/>
                </a:cxn>
                <a:cxn ang="0">
                  <a:pos x="connsiteX6221" y="connsiteY6221"/>
                </a:cxn>
                <a:cxn ang="0">
                  <a:pos x="connsiteX6222" y="connsiteY6222"/>
                </a:cxn>
                <a:cxn ang="0">
                  <a:pos x="connsiteX6223" y="connsiteY6223"/>
                </a:cxn>
                <a:cxn ang="0">
                  <a:pos x="connsiteX6224" y="connsiteY6224"/>
                </a:cxn>
                <a:cxn ang="0">
                  <a:pos x="connsiteX6225" y="connsiteY6225"/>
                </a:cxn>
                <a:cxn ang="0">
                  <a:pos x="connsiteX6226" y="connsiteY6226"/>
                </a:cxn>
                <a:cxn ang="0">
                  <a:pos x="connsiteX6227" y="connsiteY6227"/>
                </a:cxn>
                <a:cxn ang="0">
                  <a:pos x="connsiteX6228" y="connsiteY6228"/>
                </a:cxn>
                <a:cxn ang="0">
                  <a:pos x="connsiteX6229" y="connsiteY6229"/>
                </a:cxn>
                <a:cxn ang="0">
                  <a:pos x="connsiteX6230" y="connsiteY6230"/>
                </a:cxn>
                <a:cxn ang="0">
                  <a:pos x="connsiteX6231" y="connsiteY6231"/>
                </a:cxn>
                <a:cxn ang="0">
                  <a:pos x="connsiteX6232" y="connsiteY6232"/>
                </a:cxn>
                <a:cxn ang="0">
                  <a:pos x="connsiteX6233" y="connsiteY6233"/>
                </a:cxn>
                <a:cxn ang="0">
                  <a:pos x="connsiteX6234" y="connsiteY6234"/>
                </a:cxn>
                <a:cxn ang="0">
                  <a:pos x="connsiteX6235" y="connsiteY6235"/>
                </a:cxn>
                <a:cxn ang="0">
                  <a:pos x="connsiteX6236" y="connsiteY6236"/>
                </a:cxn>
                <a:cxn ang="0">
                  <a:pos x="connsiteX6237" y="connsiteY6237"/>
                </a:cxn>
                <a:cxn ang="0">
                  <a:pos x="connsiteX6238" y="connsiteY6238"/>
                </a:cxn>
                <a:cxn ang="0">
                  <a:pos x="connsiteX6239" y="connsiteY6239"/>
                </a:cxn>
                <a:cxn ang="0">
                  <a:pos x="connsiteX6240" y="connsiteY6240"/>
                </a:cxn>
                <a:cxn ang="0">
                  <a:pos x="connsiteX6241" y="connsiteY6241"/>
                </a:cxn>
                <a:cxn ang="0">
                  <a:pos x="connsiteX6242" y="connsiteY6242"/>
                </a:cxn>
                <a:cxn ang="0">
                  <a:pos x="connsiteX6243" y="connsiteY6243"/>
                </a:cxn>
                <a:cxn ang="0">
                  <a:pos x="connsiteX6244" y="connsiteY6244"/>
                </a:cxn>
                <a:cxn ang="0">
                  <a:pos x="connsiteX6245" y="connsiteY6245"/>
                </a:cxn>
                <a:cxn ang="0">
                  <a:pos x="connsiteX6246" y="connsiteY6246"/>
                </a:cxn>
                <a:cxn ang="0">
                  <a:pos x="connsiteX6247" y="connsiteY6247"/>
                </a:cxn>
                <a:cxn ang="0">
                  <a:pos x="connsiteX6248" y="connsiteY6248"/>
                </a:cxn>
                <a:cxn ang="0">
                  <a:pos x="connsiteX6249" y="connsiteY6249"/>
                </a:cxn>
                <a:cxn ang="0">
                  <a:pos x="connsiteX6250" y="connsiteY6250"/>
                </a:cxn>
                <a:cxn ang="0">
                  <a:pos x="connsiteX6251" y="connsiteY6251"/>
                </a:cxn>
                <a:cxn ang="0">
                  <a:pos x="connsiteX6252" y="connsiteY6252"/>
                </a:cxn>
                <a:cxn ang="0">
                  <a:pos x="connsiteX6253" y="connsiteY6253"/>
                </a:cxn>
                <a:cxn ang="0">
                  <a:pos x="connsiteX6254" y="connsiteY6254"/>
                </a:cxn>
                <a:cxn ang="0">
                  <a:pos x="connsiteX6255" y="connsiteY6255"/>
                </a:cxn>
                <a:cxn ang="0">
                  <a:pos x="connsiteX6256" y="connsiteY6256"/>
                </a:cxn>
                <a:cxn ang="0">
                  <a:pos x="connsiteX6257" y="connsiteY6257"/>
                </a:cxn>
                <a:cxn ang="0">
                  <a:pos x="connsiteX6258" y="connsiteY6258"/>
                </a:cxn>
                <a:cxn ang="0">
                  <a:pos x="connsiteX6259" y="connsiteY6259"/>
                </a:cxn>
                <a:cxn ang="0">
                  <a:pos x="connsiteX6260" y="connsiteY6260"/>
                </a:cxn>
                <a:cxn ang="0">
                  <a:pos x="connsiteX6261" y="connsiteY6261"/>
                </a:cxn>
                <a:cxn ang="0">
                  <a:pos x="connsiteX6262" y="connsiteY6262"/>
                </a:cxn>
                <a:cxn ang="0">
                  <a:pos x="connsiteX6263" y="connsiteY6263"/>
                </a:cxn>
                <a:cxn ang="0">
                  <a:pos x="connsiteX6264" y="connsiteY6264"/>
                </a:cxn>
                <a:cxn ang="0">
                  <a:pos x="connsiteX6265" y="connsiteY6265"/>
                </a:cxn>
                <a:cxn ang="0">
                  <a:pos x="connsiteX6266" y="connsiteY6266"/>
                </a:cxn>
                <a:cxn ang="0">
                  <a:pos x="connsiteX6267" y="connsiteY6267"/>
                </a:cxn>
                <a:cxn ang="0">
                  <a:pos x="connsiteX6268" y="connsiteY6268"/>
                </a:cxn>
                <a:cxn ang="0">
                  <a:pos x="connsiteX6269" y="connsiteY6269"/>
                </a:cxn>
                <a:cxn ang="0">
                  <a:pos x="connsiteX6270" y="connsiteY6270"/>
                </a:cxn>
                <a:cxn ang="0">
                  <a:pos x="connsiteX6271" y="connsiteY6271"/>
                </a:cxn>
                <a:cxn ang="0">
                  <a:pos x="connsiteX6272" y="connsiteY6272"/>
                </a:cxn>
                <a:cxn ang="0">
                  <a:pos x="connsiteX6273" y="connsiteY6273"/>
                </a:cxn>
                <a:cxn ang="0">
                  <a:pos x="connsiteX6274" y="connsiteY6274"/>
                </a:cxn>
                <a:cxn ang="0">
                  <a:pos x="connsiteX6275" y="connsiteY6275"/>
                </a:cxn>
                <a:cxn ang="0">
                  <a:pos x="connsiteX6276" y="connsiteY6276"/>
                </a:cxn>
                <a:cxn ang="0">
                  <a:pos x="connsiteX6277" y="connsiteY6277"/>
                </a:cxn>
                <a:cxn ang="0">
                  <a:pos x="connsiteX6278" y="connsiteY6278"/>
                </a:cxn>
                <a:cxn ang="0">
                  <a:pos x="connsiteX6279" y="connsiteY6279"/>
                </a:cxn>
                <a:cxn ang="0">
                  <a:pos x="connsiteX6280" y="connsiteY6280"/>
                </a:cxn>
                <a:cxn ang="0">
                  <a:pos x="connsiteX6281" y="connsiteY6281"/>
                </a:cxn>
                <a:cxn ang="0">
                  <a:pos x="connsiteX6282" y="connsiteY6282"/>
                </a:cxn>
                <a:cxn ang="0">
                  <a:pos x="connsiteX6283" y="connsiteY6283"/>
                </a:cxn>
                <a:cxn ang="0">
                  <a:pos x="connsiteX6284" y="connsiteY6284"/>
                </a:cxn>
                <a:cxn ang="0">
                  <a:pos x="connsiteX6285" y="connsiteY6285"/>
                </a:cxn>
                <a:cxn ang="0">
                  <a:pos x="connsiteX6286" y="connsiteY6286"/>
                </a:cxn>
                <a:cxn ang="0">
                  <a:pos x="connsiteX6287" y="connsiteY6287"/>
                </a:cxn>
                <a:cxn ang="0">
                  <a:pos x="connsiteX6288" y="connsiteY6288"/>
                </a:cxn>
                <a:cxn ang="0">
                  <a:pos x="connsiteX6289" y="connsiteY6289"/>
                </a:cxn>
                <a:cxn ang="0">
                  <a:pos x="connsiteX6290" y="connsiteY6290"/>
                </a:cxn>
                <a:cxn ang="0">
                  <a:pos x="connsiteX6291" y="connsiteY6291"/>
                </a:cxn>
                <a:cxn ang="0">
                  <a:pos x="connsiteX6292" y="connsiteY6292"/>
                </a:cxn>
                <a:cxn ang="0">
                  <a:pos x="connsiteX6293" y="connsiteY6293"/>
                </a:cxn>
                <a:cxn ang="0">
                  <a:pos x="connsiteX6294" y="connsiteY6294"/>
                </a:cxn>
                <a:cxn ang="0">
                  <a:pos x="connsiteX6295" y="connsiteY6295"/>
                </a:cxn>
                <a:cxn ang="0">
                  <a:pos x="connsiteX6296" y="connsiteY6296"/>
                </a:cxn>
                <a:cxn ang="0">
                  <a:pos x="connsiteX6297" y="connsiteY6297"/>
                </a:cxn>
                <a:cxn ang="0">
                  <a:pos x="connsiteX6298" y="connsiteY6298"/>
                </a:cxn>
                <a:cxn ang="0">
                  <a:pos x="connsiteX6299" y="connsiteY6299"/>
                </a:cxn>
                <a:cxn ang="0">
                  <a:pos x="connsiteX6300" y="connsiteY6300"/>
                </a:cxn>
                <a:cxn ang="0">
                  <a:pos x="connsiteX6301" y="connsiteY6301"/>
                </a:cxn>
                <a:cxn ang="0">
                  <a:pos x="connsiteX6302" y="connsiteY6302"/>
                </a:cxn>
                <a:cxn ang="0">
                  <a:pos x="connsiteX6303" y="connsiteY6303"/>
                </a:cxn>
                <a:cxn ang="0">
                  <a:pos x="connsiteX6304" y="connsiteY6304"/>
                </a:cxn>
                <a:cxn ang="0">
                  <a:pos x="connsiteX6305" y="connsiteY6305"/>
                </a:cxn>
                <a:cxn ang="0">
                  <a:pos x="connsiteX6306" y="connsiteY6306"/>
                </a:cxn>
                <a:cxn ang="0">
                  <a:pos x="connsiteX6307" y="connsiteY6307"/>
                </a:cxn>
                <a:cxn ang="0">
                  <a:pos x="connsiteX6308" y="connsiteY6308"/>
                </a:cxn>
                <a:cxn ang="0">
                  <a:pos x="connsiteX6309" y="connsiteY6309"/>
                </a:cxn>
                <a:cxn ang="0">
                  <a:pos x="connsiteX6310" y="connsiteY6310"/>
                </a:cxn>
                <a:cxn ang="0">
                  <a:pos x="connsiteX6311" y="connsiteY6311"/>
                </a:cxn>
                <a:cxn ang="0">
                  <a:pos x="connsiteX6312" y="connsiteY6312"/>
                </a:cxn>
                <a:cxn ang="0">
                  <a:pos x="connsiteX6313" y="connsiteY6313"/>
                </a:cxn>
                <a:cxn ang="0">
                  <a:pos x="connsiteX6314" y="connsiteY6314"/>
                </a:cxn>
                <a:cxn ang="0">
                  <a:pos x="connsiteX6315" y="connsiteY6315"/>
                </a:cxn>
                <a:cxn ang="0">
                  <a:pos x="connsiteX6316" y="connsiteY6316"/>
                </a:cxn>
                <a:cxn ang="0">
                  <a:pos x="connsiteX6317" y="connsiteY6317"/>
                </a:cxn>
                <a:cxn ang="0">
                  <a:pos x="connsiteX6318" y="connsiteY6318"/>
                </a:cxn>
                <a:cxn ang="0">
                  <a:pos x="connsiteX6319" y="connsiteY6319"/>
                </a:cxn>
                <a:cxn ang="0">
                  <a:pos x="connsiteX6320" y="connsiteY6320"/>
                </a:cxn>
                <a:cxn ang="0">
                  <a:pos x="connsiteX6321" y="connsiteY6321"/>
                </a:cxn>
                <a:cxn ang="0">
                  <a:pos x="connsiteX6322" y="connsiteY6322"/>
                </a:cxn>
                <a:cxn ang="0">
                  <a:pos x="connsiteX6323" y="connsiteY6323"/>
                </a:cxn>
                <a:cxn ang="0">
                  <a:pos x="connsiteX6324" y="connsiteY6324"/>
                </a:cxn>
                <a:cxn ang="0">
                  <a:pos x="connsiteX6325" y="connsiteY6325"/>
                </a:cxn>
                <a:cxn ang="0">
                  <a:pos x="connsiteX6326" y="connsiteY6326"/>
                </a:cxn>
                <a:cxn ang="0">
                  <a:pos x="connsiteX6327" y="connsiteY6327"/>
                </a:cxn>
                <a:cxn ang="0">
                  <a:pos x="connsiteX6328" y="connsiteY6328"/>
                </a:cxn>
                <a:cxn ang="0">
                  <a:pos x="connsiteX6329" y="connsiteY6329"/>
                </a:cxn>
                <a:cxn ang="0">
                  <a:pos x="connsiteX6330" y="connsiteY6330"/>
                </a:cxn>
                <a:cxn ang="0">
                  <a:pos x="connsiteX6331" y="connsiteY6331"/>
                </a:cxn>
                <a:cxn ang="0">
                  <a:pos x="connsiteX6332" y="connsiteY6332"/>
                </a:cxn>
                <a:cxn ang="0">
                  <a:pos x="connsiteX6333" y="connsiteY6333"/>
                </a:cxn>
                <a:cxn ang="0">
                  <a:pos x="connsiteX6334" y="connsiteY6334"/>
                </a:cxn>
                <a:cxn ang="0">
                  <a:pos x="connsiteX6335" y="connsiteY6335"/>
                </a:cxn>
                <a:cxn ang="0">
                  <a:pos x="connsiteX6336" y="connsiteY6336"/>
                </a:cxn>
                <a:cxn ang="0">
                  <a:pos x="connsiteX6337" y="connsiteY6337"/>
                </a:cxn>
                <a:cxn ang="0">
                  <a:pos x="connsiteX6338" y="connsiteY6338"/>
                </a:cxn>
                <a:cxn ang="0">
                  <a:pos x="connsiteX6339" y="connsiteY6339"/>
                </a:cxn>
                <a:cxn ang="0">
                  <a:pos x="connsiteX6340" y="connsiteY6340"/>
                </a:cxn>
                <a:cxn ang="0">
                  <a:pos x="connsiteX6341" y="connsiteY6341"/>
                </a:cxn>
                <a:cxn ang="0">
                  <a:pos x="connsiteX6342" y="connsiteY6342"/>
                </a:cxn>
                <a:cxn ang="0">
                  <a:pos x="connsiteX6343" y="connsiteY6343"/>
                </a:cxn>
                <a:cxn ang="0">
                  <a:pos x="connsiteX6344" y="connsiteY6344"/>
                </a:cxn>
                <a:cxn ang="0">
                  <a:pos x="connsiteX6345" y="connsiteY6345"/>
                </a:cxn>
                <a:cxn ang="0">
                  <a:pos x="connsiteX6346" y="connsiteY6346"/>
                </a:cxn>
                <a:cxn ang="0">
                  <a:pos x="connsiteX6347" y="connsiteY6347"/>
                </a:cxn>
                <a:cxn ang="0">
                  <a:pos x="connsiteX6348" y="connsiteY6348"/>
                </a:cxn>
                <a:cxn ang="0">
                  <a:pos x="connsiteX6349" y="connsiteY6349"/>
                </a:cxn>
                <a:cxn ang="0">
                  <a:pos x="connsiteX6350" y="connsiteY6350"/>
                </a:cxn>
                <a:cxn ang="0">
                  <a:pos x="connsiteX6351" y="connsiteY6351"/>
                </a:cxn>
                <a:cxn ang="0">
                  <a:pos x="connsiteX6352" y="connsiteY6352"/>
                </a:cxn>
                <a:cxn ang="0">
                  <a:pos x="connsiteX6353" y="connsiteY6353"/>
                </a:cxn>
                <a:cxn ang="0">
                  <a:pos x="connsiteX6354" y="connsiteY6354"/>
                </a:cxn>
                <a:cxn ang="0">
                  <a:pos x="connsiteX6355" y="connsiteY6355"/>
                </a:cxn>
                <a:cxn ang="0">
                  <a:pos x="connsiteX6356" y="connsiteY6356"/>
                </a:cxn>
                <a:cxn ang="0">
                  <a:pos x="connsiteX6357" y="connsiteY6357"/>
                </a:cxn>
                <a:cxn ang="0">
                  <a:pos x="connsiteX6358" y="connsiteY6358"/>
                </a:cxn>
                <a:cxn ang="0">
                  <a:pos x="connsiteX6359" y="connsiteY6359"/>
                </a:cxn>
                <a:cxn ang="0">
                  <a:pos x="connsiteX6360" y="connsiteY6360"/>
                </a:cxn>
                <a:cxn ang="0">
                  <a:pos x="connsiteX6361" y="connsiteY6361"/>
                </a:cxn>
                <a:cxn ang="0">
                  <a:pos x="connsiteX6362" y="connsiteY6362"/>
                </a:cxn>
                <a:cxn ang="0">
                  <a:pos x="connsiteX6363" y="connsiteY6363"/>
                </a:cxn>
                <a:cxn ang="0">
                  <a:pos x="connsiteX6364" y="connsiteY6364"/>
                </a:cxn>
                <a:cxn ang="0">
                  <a:pos x="connsiteX6365" y="connsiteY6365"/>
                </a:cxn>
                <a:cxn ang="0">
                  <a:pos x="connsiteX6366" y="connsiteY6366"/>
                </a:cxn>
                <a:cxn ang="0">
                  <a:pos x="connsiteX6367" y="connsiteY6367"/>
                </a:cxn>
                <a:cxn ang="0">
                  <a:pos x="connsiteX6368" y="connsiteY6368"/>
                </a:cxn>
                <a:cxn ang="0">
                  <a:pos x="connsiteX6369" y="connsiteY6369"/>
                </a:cxn>
                <a:cxn ang="0">
                  <a:pos x="connsiteX6370" y="connsiteY6370"/>
                </a:cxn>
                <a:cxn ang="0">
                  <a:pos x="connsiteX6371" y="connsiteY6371"/>
                </a:cxn>
                <a:cxn ang="0">
                  <a:pos x="connsiteX6372" y="connsiteY6372"/>
                </a:cxn>
                <a:cxn ang="0">
                  <a:pos x="connsiteX6373" y="connsiteY6373"/>
                </a:cxn>
                <a:cxn ang="0">
                  <a:pos x="connsiteX6374" y="connsiteY6374"/>
                </a:cxn>
                <a:cxn ang="0">
                  <a:pos x="connsiteX6375" y="connsiteY6375"/>
                </a:cxn>
                <a:cxn ang="0">
                  <a:pos x="connsiteX6376" y="connsiteY6376"/>
                </a:cxn>
                <a:cxn ang="0">
                  <a:pos x="connsiteX6377" y="connsiteY6377"/>
                </a:cxn>
                <a:cxn ang="0">
                  <a:pos x="connsiteX6378" y="connsiteY6378"/>
                </a:cxn>
                <a:cxn ang="0">
                  <a:pos x="connsiteX6379" y="connsiteY6379"/>
                </a:cxn>
                <a:cxn ang="0">
                  <a:pos x="connsiteX6380" y="connsiteY6380"/>
                </a:cxn>
                <a:cxn ang="0">
                  <a:pos x="connsiteX6381" y="connsiteY6381"/>
                </a:cxn>
                <a:cxn ang="0">
                  <a:pos x="connsiteX6382" y="connsiteY6382"/>
                </a:cxn>
                <a:cxn ang="0">
                  <a:pos x="connsiteX6383" y="connsiteY6383"/>
                </a:cxn>
                <a:cxn ang="0">
                  <a:pos x="connsiteX6384" y="connsiteY6384"/>
                </a:cxn>
                <a:cxn ang="0">
                  <a:pos x="connsiteX6385" y="connsiteY6385"/>
                </a:cxn>
                <a:cxn ang="0">
                  <a:pos x="connsiteX6386" y="connsiteY6386"/>
                </a:cxn>
                <a:cxn ang="0">
                  <a:pos x="connsiteX6387" y="connsiteY6387"/>
                </a:cxn>
                <a:cxn ang="0">
                  <a:pos x="connsiteX6388" y="connsiteY6388"/>
                </a:cxn>
                <a:cxn ang="0">
                  <a:pos x="connsiteX6389" y="connsiteY6389"/>
                </a:cxn>
                <a:cxn ang="0">
                  <a:pos x="connsiteX6390" y="connsiteY6390"/>
                </a:cxn>
                <a:cxn ang="0">
                  <a:pos x="connsiteX6391" y="connsiteY6391"/>
                </a:cxn>
                <a:cxn ang="0">
                  <a:pos x="connsiteX6392" y="connsiteY6392"/>
                </a:cxn>
                <a:cxn ang="0">
                  <a:pos x="connsiteX6393" y="connsiteY6393"/>
                </a:cxn>
                <a:cxn ang="0">
                  <a:pos x="connsiteX6394" y="connsiteY6394"/>
                </a:cxn>
                <a:cxn ang="0">
                  <a:pos x="connsiteX6395" y="connsiteY6395"/>
                </a:cxn>
                <a:cxn ang="0">
                  <a:pos x="connsiteX6396" y="connsiteY6396"/>
                </a:cxn>
                <a:cxn ang="0">
                  <a:pos x="connsiteX6397" y="connsiteY6397"/>
                </a:cxn>
                <a:cxn ang="0">
                  <a:pos x="connsiteX6398" y="connsiteY6398"/>
                </a:cxn>
                <a:cxn ang="0">
                  <a:pos x="connsiteX6399" y="connsiteY6399"/>
                </a:cxn>
                <a:cxn ang="0">
                  <a:pos x="connsiteX6400" y="connsiteY6400"/>
                </a:cxn>
                <a:cxn ang="0">
                  <a:pos x="connsiteX6401" y="connsiteY6401"/>
                </a:cxn>
                <a:cxn ang="0">
                  <a:pos x="connsiteX6402" y="connsiteY6402"/>
                </a:cxn>
                <a:cxn ang="0">
                  <a:pos x="connsiteX6403" y="connsiteY6403"/>
                </a:cxn>
                <a:cxn ang="0">
                  <a:pos x="connsiteX6404" y="connsiteY6404"/>
                </a:cxn>
                <a:cxn ang="0">
                  <a:pos x="connsiteX6405" y="connsiteY6405"/>
                </a:cxn>
                <a:cxn ang="0">
                  <a:pos x="connsiteX6406" y="connsiteY6406"/>
                </a:cxn>
                <a:cxn ang="0">
                  <a:pos x="connsiteX6407" y="connsiteY6407"/>
                </a:cxn>
                <a:cxn ang="0">
                  <a:pos x="connsiteX6408" y="connsiteY6408"/>
                </a:cxn>
                <a:cxn ang="0">
                  <a:pos x="connsiteX6409" y="connsiteY6409"/>
                </a:cxn>
                <a:cxn ang="0">
                  <a:pos x="connsiteX6410" y="connsiteY6410"/>
                </a:cxn>
                <a:cxn ang="0">
                  <a:pos x="connsiteX6411" y="connsiteY6411"/>
                </a:cxn>
                <a:cxn ang="0">
                  <a:pos x="connsiteX6412" y="connsiteY6412"/>
                </a:cxn>
                <a:cxn ang="0">
                  <a:pos x="connsiteX6413" y="connsiteY6413"/>
                </a:cxn>
                <a:cxn ang="0">
                  <a:pos x="connsiteX6414" y="connsiteY6414"/>
                </a:cxn>
                <a:cxn ang="0">
                  <a:pos x="connsiteX6415" y="connsiteY6415"/>
                </a:cxn>
                <a:cxn ang="0">
                  <a:pos x="connsiteX6416" y="connsiteY6416"/>
                </a:cxn>
                <a:cxn ang="0">
                  <a:pos x="connsiteX6417" y="connsiteY6417"/>
                </a:cxn>
                <a:cxn ang="0">
                  <a:pos x="connsiteX6418" y="connsiteY6418"/>
                </a:cxn>
                <a:cxn ang="0">
                  <a:pos x="connsiteX6419" y="connsiteY6419"/>
                </a:cxn>
                <a:cxn ang="0">
                  <a:pos x="connsiteX6420" y="connsiteY6420"/>
                </a:cxn>
                <a:cxn ang="0">
                  <a:pos x="connsiteX6421" y="connsiteY6421"/>
                </a:cxn>
                <a:cxn ang="0">
                  <a:pos x="connsiteX6422" y="connsiteY6422"/>
                </a:cxn>
                <a:cxn ang="0">
                  <a:pos x="connsiteX6423" y="connsiteY6423"/>
                </a:cxn>
                <a:cxn ang="0">
                  <a:pos x="connsiteX6424" y="connsiteY6424"/>
                </a:cxn>
                <a:cxn ang="0">
                  <a:pos x="connsiteX6425" y="connsiteY6425"/>
                </a:cxn>
                <a:cxn ang="0">
                  <a:pos x="connsiteX6426" y="connsiteY6426"/>
                </a:cxn>
                <a:cxn ang="0">
                  <a:pos x="connsiteX6427" y="connsiteY6427"/>
                </a:cxn>
                <a:cxn ang="0">
                  <a:pos x="connsiteX6428" y="connsiteY6428"/>
                </a:cxn>
                <a:cxn ang="0">
                  <a:pos x="connsiteX6429" y="connsiteY6429"/>
                </a:cxn>
                <a:cxn ang="0">
                  <a:pos x="connsiteX6430" y="connsiteY6430"/>
                </a:cxn>
                <a:cxn ang="0">
                  <a:pos x="connsiteX6431" y="connsiteY6431"/>
                </a:cxn>
                <a:cxn ang="0">
                  <a:pos x="connsiteX6432" y="connsiteY6432"/>
                </a:cxn>
                <a:cxn ang="0">
                  <a:pos x="connsiteX6433" y="connsiteY6433"/>
                </a:cxn>
                <a:cxn ang="0">
                  <a:pos x="connsiteX6434" y="connsiteY6434"/>
                </a:cxn>
                <a:cxn ang="0">
                  <a:pos x="connsiteX6435" y="connsiteY6435"/>
                </a:cxn>
                <a:cxn ang="0">
                  <a:pos x="connsiteX6436" y="connsiteY6436"/>
                </a:cxn>
                <a:cxn ang="0">
                  <a:pos x="connsiteX6437" y="connsiteY6437"/>
                </a:cxn>
                <a:cxn ang="0">
                  <a:pos x="connsiteX6438" y="connsiteY6438"/>
                </a:cxn>
                <a:cxn ang="0">
                  <a:pos x="connsiteX6439" y="connsiteY6439"/>
                </a:cxn>
                <a:cxn ang="0">
                  <a:pos x="connsiteX6440" y="connsiteY6440"/>
                </a:cxn>
                <a:cxn ang="0">
                  <a:pos x="connsiteX6441" y="connsiteY6441"/>
                </a:cxn>
                <a:cxn ang="0">
                  <a:pos x="connsiteX6442" y="connsiteY6442"/>
                </a:cxn>
                <a:cxn ang="0">
                  <a:pos x="connsiteX6443" y="connsiteY6443"/>
                </a:cxn>
                <a:cxn ang="0">
                  <a:pos x="connsiteX6444" y="connsiteY6444"/>
                </a:cxn>
                <a:cxn ang="0">
                  <a:pos x="connsiteX6445" y="connsiteY6445"/>
                </a:cxn>
                <a:cxn ang="0">
                  <a:pos x="connsiteX6446" y="connsiteY6446"/>
                </a:cxn>
                <a:cxn ang="0">
                  <a:pos x="connsiteX6447" y="connsiteY6447"/>
                </a:cxn>
                <a:cxn ang="0">
                  <a:pos x="connsiteX6448" y="connsiteY6448"/>
                </a:cxn>
                <a:cxn ang="0">
                  <a:pos x="connsiteX6449" y="connsiteY6449"/>
                </a:cxn>
                <a:cxn ang="0">
                  <a:pos x="connsiteX6450" y="connsiteY6450"/>
                </a:cxn>
                <a:cxn ang="0">
                  <a:pos x="connsiteX6451" y="connsiteY6451"/>
                </a:cxn>
                <a:cxn ang="0">
                  <a:pos x="connsiteX6452" y="connsiteY6452"/>
                </a:cxn>
                <a:cxn ang="0">
                  <a:pos x="connsiteX6453" y="connsiteY6453"/>
                </a:cxn>
                <a:cxn ang="0">
                  <a:pos x="connsiteX6454" y="connsiteY6454"/>
                </a:cxn>
                <a:cxn ang="0">
                  <a:pos x="connsiteX6455" y="connsiteY6455"/>
                </a:cxn>
                <a:cxn ang="0">
                  <a:pos x="connsiteX6456" y="connsiteY6456"/>
                </a:cxn>
                <a:cxn ang="0">
                  <a:pos x="connsiteX6457" y="connsiteY6457"/>
                </a:cxn>
                <a:cxn ang="0">
                  <a:pos x="connsiteX6458" y="connsiteY6458"/>
                </a:cxn>
                <a:cxn ang="0">
                  <a:pos x="connsiteX6459" y="connsiteY6459"/>
                </a:cxn>
                <a:cxn ang="0">
                  <a:pos x="connsiteX6460" y="connsiteY6460"/>
                </a:cxn>
                <a:cxn ang="0">
                  <a:pos x="connsiteX6461" y="connsiteY6461"/>
                </a:cxn>
                <a:cxn ang="0">
                  <a:pos x="connsiteX6462" y="connsiteY6462"/>
                </a:cxn>
                <a:cxn ang="0">
                  <a:pos x="connsiteX6463" y="connsiteY6463"/>
                </a:cxn>
                <a:cxn ang="0">
                  <a:pos x="connsiteX6464" y="connsiteY6464"/>
                </a:cxn>
                <a:cxn ang="0">
                  <a:pos x="connsiteX6465" y="connsiteY6465"/>
                </a:cxn>
                <a:cxn ang="0">
                  <a:pos x="connsiteX6466" y="connsiteY6466"/>
                </a:cxn>
                <a:cxn ang="0">
                  <a:pos x="connsiteX6467" y="connsiteY6467"/>
                </a:cxn>
                <a:cxn ang="0">
                  <a:pos x="connsiteX6468" y="connsiteY6468"/>
                </a:cxn>
                <a:cxn ang="0">
                  <a:pos x="connsiteX6469" y="connsiteY6469"/>
                </a:cxn>
                <a:cxn ang="0">
                  <a:pos x="connsiteX6470" y="connsiteY6470"/>
                </a:cxn>
                <a:cxn ang="0">
                  <a:pos x="connsiteX6471" y="connsiteY6471"/>
                </a:cxn>
                <a:cxn ang="0">
                  <a:pos x="connsiteX6472" y="connsiteY6472"/>
                </a:cxn>
                <a:cxn ang="0">
                  <a:pos x="connsiteX6473" y="connsiteY6473"/>
                </a:cxn>
                <a:cxn ang="0">
                  <a:pos x="connsiteX6474" y="connsiteY6474"/>
                </a:cxn>
                <a:cxn ang="0">
                  <a:pos x="connsiteX6475" y="connsiteY6475"/>
                </a:cxn>
                <a:cxn ang="0">
                  <a:pos x="connsiteX6476" y="connsiteY6476"/>
                </a:cxn>
                <a:cxn ang="0">
                  <a:pos x="connsiteX6477" y="connsiteY6477"/>
                </a:cxn>
                <a:cxn ang="0">
                  <a:pos x="connsiteX6478" y="connsiteY6478"/>
                </a:cxn>
                <a:cxn ang="0">
                  <a:pos x="connsiteX6479" y="connsiteY6479"/>
                </a:cxn>
                <a:cxn ang="0">
                  <a:pos x="connsiteX6480" y="connsiteY6480"/>
                </a:cxn>
                <a:cxn ang="0">
                  <a:pos x="connsiteX6481" y="connsiteY6481"/>
                </a:cxn>
                <a:cxn ang="0">
                  <a:pos x="connsiteX6482" y="connsiteY6482"/>
                </a:cxn>
                <a:cxn ang="0">
                  <a:pos x="connsiteX6483" y="connsiteY6483"/>
                </a:cxn>
                <a:cxn ang="0">
                  <a:pos x="connsiteX6484" y="connsiteY6484"/>
                </a:cxn>
                <a:cxn ang="0">
                  <a:pos x="connsiteX6485" y="connsiteY6485"/>
                </a:cxn>
                <a:cxn ang="0">
                  <a:pos x="connsiteX6486" y="connsiteY6486"/>
                </a:cxn>
                <a:cxn ang="0">
                  <a:pos x="connsiteX6487" y="connsiteY6487"/>
                </a:cxn>
                <a:cxn ang="0">
                  <a:pos x="connsiteX6488" y="connsiteY6488"/>
                </a:cxn>
                <a:cxn ang="0">
                  <a:pos x="connsiteX6489" y="connsiteY6489"/>
                </a:cxn>
                <a:cxn ang="0">
                  <a:pos x="connsiteX6490" y="connsiteY6490"/>
                </a:cxn>
                <a:cxn ang="0">
                  <a:pos x="connsiteX6491" y="connsiteY6491"/>
                </a:cxn>
                <a:cxn ang="0">
                  <a:pos x="connsiteX6492" y="connsiteY6492"/>
                </a:cxn>
                <a:cxn ang="0">
                  <a:pos x="connsiteX6493" y="connsiteY6493"/>
                </a:cxn>
                <a:cxn ang="0">
                  <a:pos x="connsiteX6494" y="connsiteY6494"/>
                </a:cxn>
                <a:cxn ang="0">
                  <a:pos x="connsiteX6495" y="connsiteY6495"/>
                </a:cxn>
                <a:cxn ang="0">
                  <a:pos x="connsiteX6496" y="connsiteY6496"/>
                </a:cxn>
                <a:cxn ang="0">
                  <a:pos x="connsiteX6497" y="connsiteY6497"/>
                </a:cxn>
                <a:cxn ang="0">
                  <a:pos x="connsiteX6498" y="connsiteY6498"/>
                </a:cxn>
                <a:cxn ang="0">
                  <a:pos x="connsiteX6499" y="connsiteY6499"/>
                </a:cxn>
                <a:cxn ang="0">
                  <a:pos x="connsiteX6500" y="connsiteY6500"/>
                </a:cxn>
                <a:cxn ang="0">
                  <a:pos x="connsiteX6501" y="connsiteY6501"/>
                </a:cxn>
                <a:cxn ang="0">
                  <a:pos x="connsiteX6502" y="connsiteY6502"/>
                </a:cxn>
                <a:cxn ang="0">
                  <a:pos x="connsiteX6503" y="connsiteY6503"/>
                </a:cxn>
                <a:cxn ang="0">
                  <a:pos x="connsiteX6504" y="connsiteY6504"/>
                </a:cxn>
                <a:cxn ang="0">
                  <a:pos x="connsiteX6505" y="connsiteY6505"/>
                </a:cxn>
                <a:cxn ang="0">
                  <a:pos x="connsiteX6506" y="connsiteY6506"/>
                </a:cxn>
                <a:cxn ang="0">
                  <a:pos x="connsiteX6507" y="connsiteY6507"/>
                </a:cxn>
                <a:cxn ang="0">
                  <a:pos x="connsiteX6508" y="connsiteY6508"/>
                </a:cxn>
                <a:cxn ang="0">
                  <a:pos x="connsiteX6509" y="connsiteY6509"/>
                </a:cxn>
                <a:cxn ang="0">
                  <a:pos x="connsiteX6510" y="connsiteY6510"/>
                </a:cxn>
                <a:cxn ang="0">
                  <a:pos x="connsiteX6511" y="connsiteY6511"/>
                </a:cxn>
                <a:cxn ang="0">
                  <a:pos x="connsiteX6512" y="connsiteY6512"/>
                </a:cxn>
                <a:cxn ang="0">
                  <a:pos x="connsiteX6513" y="connsiteY6513"/>
                </a:cxn>
                <a:cxn ang="0">
                  <a:pos x="connsiteX6514" y="connsiteY6514"/>
                </a:cxn>
                <a:cxn ang="0">
                  <a:pos x="connsiteX6515" y="connsiteY6515"/>
                </a:cxn>
                <a:cxn ang="0">
                  <a:pos x="connsiteX6516" y="connsiteY6516"/>
                </a:cxn>
                <a:cxn ang="0">
                  <a:pos x="connsiteX6517" y="connsiteY6517"/>
                </a:cxn>
                <a:cxn ang="0">
                  <a:pos x="connsiteX6518" y="connsiteY6518"/>
                </a:cxn>
                <a:cxn ang="0">
                  <a:pos x="connsiteX6519" y="connsiteY6519"/>
                </a:cxn>
                <a:cxn ang="0">
                  <a:pos x="connsiteX6520" y="connsiteY6520"/>
                </a:cxn>
                <a:cxn ang="0">
                  <a:pos x="connsiteX6521" y="connsiteY6521"/>
                </a:cxn>
                <a:cxn ang="0">
                  <a:pos x="connsiteX6522" y="connsiteY6522"/>
                </a:cxn>
                <a:cxn ang="0">
                  <a:pos x="connsiteX6523" y="connsiteY6523"/>
                </a:cxn>
                <a:cxn ang="0">
                  <a:pos x="connsiteX6524" y="connsiteY6524"/>
                </a:cxn>
                <a:cxn ang="0">
                  <a:pos x="connsiteX6525" y="connsiteY6525"/>
                </a:cxn>
                <a:cxn ang="0">
                  <a:pos x="connsiteX6526" y="connsiteY6526"/>
                </a:cxn>
                <a:cxn ang="0">
                  <a:pos x="connsiteX6527" y="connsiteY6527"/>
                </a:cxn>
                <a:cxn ang="0">
                  <a:pos x="connsiteX6528" y="connsiteY6528"/>
                </a:cxn>
                <a:cxn ang="0">
                  <a:pos x="connsiteX6529" y="connsiteY6529"/>
                </a:cxn>
                <a:cxn ang="0">
                  <a:pos x="connsiteX6530" y="connsiteY6530"/>
                </a:cxn>
                <a:cxn ang="0">
                  <a:pos x="connsiteX6531" y="connsiteY6531"/>
                </a:cxn>
                <a:cxn ang="0">
                  <a:pos x="connsiteX6532" y="connsiteY6532"/>
                </a:cxn>
                <a:cxn ang="0">
                  <a:pos x="connsiteX6533" y="connsiteY6533"/>
                </a:cxn>
                <a:cxn ang="0">
                  <a:pos x="connsiteX6534" y="connsiteY6534"/>
                </a:cxn>
                <a:cxn ang="0">
                  <a:pos x="connsiteX6535" y="connsiteY6535"/>
                </a:cxn>
                <a:cxn ang="0">
                  <a:pos x="connsiteX6536" y="connsiteY6536"/>
                </a:cxn>
                <a:cxn ang="0">
                  <a:pos x="connsiteX6537" y="connsiteY6537"/>
                </a:cxn>
                <a:cxn ang="0">
                  <a:pos x="connsiteX6538" y="connsiteY6538"/>
                </a:cxn>
                <a:cxn ang="0">
                  <a:pos x="connsiteX6539" y="connsiteY6539"/>
                </a:cxn>
                <a:cxn ang="0">
                  <a:pos x="connsiteX6540" y="connsiteY6540"/>
                </a:cxn>
                <a:cxn ang="0">
                  <a:pos x="connsiteX6541" y="connsiteY6541"/>
                </a:cxn>
                <a:cxn ang="0">
                  <a:pos x="connsiteX6542" y="connsiteY6542"/>
                </a:cxn>
                <a:cxn ang="0">
                  <a:pos x="connsiteX6543" y="connsiteY6543"/>
                </a:cxn>
                <a:cxn ang="0">
                  <a:pos x="connsiteX6544" y="connsiteY6544"/>
                </a:cxn>
                <a:cxn ang="0">
                  <a:pos x="connsiteX6545" y="connsiteY6545"/>
                </a:cxn>
                <a:cxn ang="0">
                  <a:pos x="connsiteX6546" y="connsiteY6546"/>
                </a:cxn>
                <a:cxn ang="0">
                  <a:pos x="connsiteX6547" y="connsiteY6547"/>
                </a:cxn>
                <a:cxn ang="0">
                  <a:pos x="connsiteX6548" y="connsiteY6548"/>
                </a:cxn>
                <a:cxn ang="0">
                  <a:pos x="connsiteX6549" y="connsiteY6549"/>
                </a:cxn>
                <a:cxn ang="0">
                  <a:pos x="connsiteX6550" y="connsiteY6550"/>
                </a:cxn>
                <a:cxn ang="0">
                  <a:pos x="connsiteX6551" y="connsiteY6551"/>
                </a:cxn>
                <a:cxn ang="0">
                  <a:pos x="connsiteX6552" y="connsiteY6552"/>
                </a:cxn>
                <a:cxn ang="0">
                  <a:pos x="connsiteX6553" y="connsiteY6553"/>
                </a:cxn>
                <a:cxn ang="0">
                  <a:pos x="connsiteX6554" y="connsiteY6554"/>
                </a:cxn>
                <a:cxn ang="0">
                  <a:pos x="connsiteX6555" y="connsiteY6555"/>
                </a:cxn>
                <a:cxn ang="0">
                  <a:pos x="connsiteX6556" y="connsiteY6556"/>
                </a:cxn>
                <a:cxn ang="0">
                  <a:pos x="connsiteX6557" y="connsiteY6557"/>
                </a:cxn>
                <a:cxn ang="0">
                  <a:pos x="connsiteX6558" y="connsiteY6558"/>
                </a:cxn>
                <a:cxn ang="0">
                  <a:pos x="connsiteX6559" y="connsiteY6559"/>
                </a:cxn>
                <a:cxn ang="0">
                  <a:pos x="connsiteX6560" y="connsiteY6560"/>
                </a:cxn>
                <a:cxn ang="0">
                  <a:pos x="connsiteX6561" y="connsiteY6561"/>
                </a:cxn>
                <a:cxn ang="0">
                  <a:pos x="connsiteX6562" y="connsiteY6562"/>
                </a:cxn>
                <a:cxn ang="0">
                  <a:pos x="connsiteX6563" y="connsiteY6563"/>
                </a:cxn>
                <a:cxn ang="0">
                  <a:pos x="connsiteX6564" y="connsiteY6564"/>
                </a:cxn>
                <a:cxn ang="0">
                  <a:pos x="connsiteX6565" y="connsiteY6565"/>
                </a:cxn>
                <a:cxn ang="0">
                  <a:pos x="connsiteX6566" y="connsiteY6566"/>
                </a:cxn>
                <a:cxn ang="0">
                  <a:pos x="connsiteX6567" y="connsiteY6567"/>
                </a:cxn>
                <a:cxn ang="0">
                  <a:pos x="connsiteX6568" y="connsiteY6568"/>
                </a:cxn>
                <a:cxn ang="0">
                  <a:pos x="connsiteX6569" y="connsiteY6569"/>
                </a:cxn>
                <a:cxn ang="0">
                  <a:pos x="connsiteX6570" y="connsiteY6570"/>
                </a:cxn>
                <a:cxn ang="0">
                  <a:pos x="connsiteX6571" y="connsiteY6571"/>
                </a:cxn>
                <a:cxn ang="0">
                  <a:pos x="connsiteX6572" y="connsiteY6572"/>
                </a:cxn>
                <a:cxn ang="0">
                  <a:pos x="connsiteX6573" y="connsiteY6573"/>
                </a:cxn>
                <a:cxn ang="0">
                  <a:pos x="connsiteX6574" y="connsiteY6574"/>
                </a:cxn>
                <a:cxn ang="0">
                  <a:pos x="connsiteX6575" y="connsiteY6575"/>
                </a:cxn>
                <a:cxn ang="0">
                  <a:pos x="connsiteX6576" y="connsiteY6576"/>
                </a:cxn>
                <a:cxn ang="0">
                  <a:pos x="connsiteX6577" y="connsiteY6577"/>
                </a:cxn>
                <a:cxn ang="0">
                  <a:pos x="connsiteX6578" y="connsiteY6578"/>
                </a:cxn>
                <a:cxn ang="0">
                  <a:pos x="connsiteX6579" y="connsiteY6579"/>
                </a:cxn>
                <a:cxn ang="0">
                  <a:pos x="connsiteX6580" y="connsiteY6580"/>
                </a:cxn>
                <a:cxn ang="0">
                  <a:pos x="connsiteX6581" y="connsiteY6581"/>
                </a:cxn>
                <a:cxn ang="0">
                  <a:pos x="connsiteX6582" y="connsiteY6582"/>
                </a:cxn>
                <a:cxn ang="0">
                  <a:pos x="connsiteX6583" y="connsiteY6583"/>
                </a:cxn>
                <a:cxn ang="0">
                  <a:pos x="connsiteX6584" y="connsiteY6584"/>
                </a:cxn>
                <a:cxn ang="0">
                  <a:pos x="connsiteX6585" y="connsiteY6585"/>
                </a:cxn>
                <a:cxn ang="0">
                  <a:pos x="connsiteX6586" y="connsiteY6586"/>
                </a:cxn>
                <a:cxn ang="0">
                  <a:pos x="connsiteX6587" y="connsiteY6587"/>
                </a:cxn>
                <a:cxn ang="0">
                  <a:pos x="connsiteX6588" y="connsiteY6588"/>
                </a:cxn>
                <a:cxn ang="0">
                  <a:pos x="connsiteX6589" y="connsiteY6589"/>
                </a:cxn>
                <a:cxn ang="0">
                  <a:pos x="connsiteX6590" y="connsiteY6590"/>
                </a:cxn>
                <a:cxn ang="0">
                  <a:pos x="connsiteX6591" y="connsiteY6591"/>
                </a:cxn>
                <a:cxn ang="0">
                  <a:pos x="connsiteX6592" y="connsiteY6592"/>
                </a:cxn>
                <a:cxn ang="0">
                  <a:pos x="connsiteX6593" y="connsiteY6593"/>
                </a:cxn>
                <a:cxn ang="0">
                  <a:pos x="connsiteX6594" y="connsiteY6594"/>
                </a:cxn>
                <a:cxn ang="0">
                  <a:pos x="connsiteX6595" y="connsiteY6595"/>
                </a:cxn>
                <a:cxn ang="0">
                  <a:pos x="connsiteX6596" y="connsiteY6596"/>
                </a:cxn>
                <a:cxn ang="0">
                  <a:pos x="connsiteX6597" y="connsiteY6597"/>
                </a:cxn>
                <a:cxn ang="0">
                  <a:pos x="connsiteX6598" y="connsiteY6598"/>
                </a:cxn>
                <a:cxn ang="0">
                  <a:pos x="connsiteX6599" y="connsiteY6599"/>
                </a:cxn>
                <a:cxn ang="0">
                  <a:pos x="connsiteX6600" y="connsiteY6600"/>
                </a:cxn>
                <a:cxn ang="0">
                  <a:pos x="connsiteX6601" y="connsiteY6601"/>
                </a:cxn>
                <a:cxn ang="0">
                  <a:pos x="connsiteX6602" y="connsiteY6602"/>
                </a:cxn>
                <a:cxn ang="0">
                  <a:pos x="connsiteX6603" y="connsiteY6603"/>
                </a:cxn>
                <a:cxn ang="0">
                  <a:pos x="connsiteX6604" y="connsiteY6604"/>
                </a:cxn>
                <a:cxn ang="0">
                  <a:pos x="connsiteX6605" y="connsiteY6605"/>
                </a:cxn>
                <a:cxn ang="0">
                  <a:pos x="connsiteX6606" y="connsiteY6606"/>
                </a:cxn>
                <a:cxn ang="0">
                  <a:pos x="connsiteX6607" y="connsiteY6607"/>
                </a:cxn>
                <a:cxn ang="0">
                  <a:pos x="connsiteX6608" y="connsiteY6608"/>
                </a:cxn>
                <a:cxn ang="0">
                  <a:pos x="connsiteX6609" y="connsiteY6609"/>
                </a:cxn>
                <a:cxn ang="0">
                  <a:pos x="connsiteX6610" y="connsiteY6610"/>
                </a:cxn>
                <a:cxn ang="0">
                  <a:pos x="connsiteX6611" y="connsiteY6611"/>
                </a:cxn>
                <a:cxn ang="0">
                  <a:pos x="connsiteX6612" y="connsiteY6612"/>
                </a:cxn>
                <a:cxn ang="0">
                  <a:pos x="connsiteX6613" y="connsiteY6613"/>
                </a:cxn>
                <a:cxn ang="0">
                  <a:pos x="connsiteX6614" y="connsiteY6614"/>
                </a:cxn>
                <a:cxn ang="0">
                  <a:pos x="connsiteX6615" y="connsiteY6615"/>
                </a:cxn>
                <a:cxn ang="0">
                  <a:pos x="connsiteX6616" y="connsiteY6616"/>
                </a:cxn>
                <a:cxn ang="0">
                  <a:pos x="connsiteX6617" y="connsiteY6617"/>
                </a:cxn>
                <a:cxn ang="0">
                  <a:pos x="connsiteX6618" y="connsiteY6618"/>
                </a:cxn>
                <a:cxn ang="0">
                  <a:pos x="connsiteX6619" y="connsiteY6619"/>
                </a:cxn>
                <a:cxn ang="0">
                  <a:pos x="connsiteX6620" y="connsiteY6620"/>
                </a:cxn>
                <a:cxn ang="0">
                  <a:pos x="connsiteX6621" y="connsiteY6621"/>
                </a:cxn>
                <a:cxn ang="0">
                  <a:pos x="connsiteX6622" y="connsiteY6622"/>
                </a:cxn>
                <a:cxn ang="0">
                  <a:pos x="connsiteX6623" y="connsiteY6623"/>
                </a:cxn>
                <a:cxn ang="0">
                  <a:pos x="connsiteX6624" y="connsiteY6624"/>
                </a:cxn>
                <a:cxn ang="0">
                  <a:pos x="connsiteX6625" y="connsiteY6625"/>
                </a:cxn>
                <a:cxn ang="0">
                  <a:pos x="connsiteX6626" y="connsiteY6626"/>
                </a:cxn>
                <a:cxn ang="0">
                  <a:pos x="connsiteX6627" y="connsiteY6627"/>
                </a:cxn>
                <a:cxn ang="0">
                  <a:pos x="connsiteX6628" y="connsiteY6628"/>
                </a:cxn>
                <a:cxn ang="0">
                  <a:pos x="connsiteX6629" y="connsiteY6629"/>
                </a:cxn>
                <a:cxn ang="0">
                  <a:pos x="connsiteX6630" y="connsiteY6630"/>
                </a:cxn>
                <a:cxn ang="0">
                  <a:pos x="connsiteX6631" y="connsiteY6631"/>
                </a:cxn>
                <a:cxn ang="0">
                  <a:pos x="connsiteX6632" y="connsiteY6632"/>
                </a:cxn>
                <a:cxn ang="0">
                  <a:pos x="connsiteX6633" y="connsiteY6633"/>
                </a:cxn>
                <a:cxn ang="0">
                  <a:pos x="connsiteX6634" y="connsiteY6634"/>
                </a:cxn>
                <a:cxn ang="0">
                  <a:pos x="connsiteX6635" y="connsiteY6635"/>
                </a:cxn>
                <a:cxn ang="0">
                  <a:pos x="connsiteX6636" y="connsiteY6636"/>
                </a:cxn>
                <a:cxn ang="0">
                  <a:pos x="connsiteX6637" y="connsiteY6637"/>
                </a:cxn>
                <a:cxn ang="0">
                  <a:pos x="connsiteX6638" y="connsiteY6638"/>
                </a:cxn>
                <a:cxn ang="0">
                  <a:pos x="connsiteX6639" y="connsiteY6639"/>
                </a:cxn>
                <a:cxn ang="0">
                  <a:pos x="connsiteX6640" y="connsiteY6640"/>
                </a:cxn>
                <a:cxn ang="0">
                  <a:pos x="connsiteX6641" y="connsiteY6641"/>
                </a:cxn>
                <a:cxn ang="0">
                  <a:pos x="connsiteX6642" y="connsiteY6642"/>
                </a:cxn>
                <a:cxn ang="0">
                  <a:pos x="connsiteX6643" y="connsiteY6643"/>
                </a:cxn>
                <a:cxn ang="0">
                  <a:pos x="connsiteX6644" y="connsiteY6644"/>
                </a:cxn>
                <a:cxn ang="0">
                  <a:pos x="connsiteX6645" y="connsiteY6645"/>
                </a:cxn>
                <a:cxn ang="0">
                  <a:pos x="connsiteX6646" y="connsiteY6646"/>
                </a:cxn>
                <a:cxn ang="0">
                  <a:pos x="connsiteX6647" y="connsiteY6647"/>
                </a:cxn>
                <a:cxn ang="0">
                  <a:pos x="connsiteX6648" y="connsiteY6648"/>
                </a:cxn>
                <a:cxn ang="0">
                  <a:pos x="connsiteX6649" y="connsiteY6649"/>
                </a:cxn>
                <a:cxn ang="0">
                  <a:pos x="connsiteX6650" y="connsiteY6650"/>
                </a:cxn>
                <a:cxn ang="0">
                  <a:pos x="connsiteX6651" y="connsiteY6651"/>
                </a:cxn>
                <a:cxn ang="0">
                  <a:pos x="connsiteX6652" y="connsiteY6652"/>
                </a:cxn>
                <a:cxn ang="0">
                  <a:pos x="connsiteX6653" y="connsiteY6653"/>
                </a:cxn>
                <a:cxn ang="0">
                  <a:pos x="connsiteX6654" y="connsiteY6654"/>
                </a:cxn>
                <a:cxn ang="0">
                  <a:pos x="connsiteX6655" y="connsiteY6655"/>
                </a:cxn>
                <a:cxn ang="0">
                  <a:pos x="connsiteX6656" y="connsiteY6656"/>
                </a:cxn>
                <a:cxn ang="0">
                  <a:pos x="connsiteX6657" y="connsiteY6657"/>
                </a:cxn>
                <a:cxn ang="0">
                  <a:pos x="connsiteX6658" y="connsiteY6658"/>
                </a:cxn>
                <a:cxn ang="0">
                  <a:pos x="connsiteX6659" y="connsiteY6659"/>
                </a:cxn>
                <a:cxn ang="0">
                  <a:pos x="connsiteX6660" y="connsiteY6660"/>
                </a:cxn>
                <a:cxn ang="0">
                  <a:pos x="connsiteX6661" y="connsiteY6661"/>
                </a:cxn>
                <a:cxn ang="0">
                  <a:pos x="connsiteX6662" y="connsiteY6662"/>
                </a:cxn>
                <a:cxn ang="0">
                  <a:pos x="connsiteX6663" y="connsiteY6663"/>
                </a:cxn>
                <a:cxn ang="0">
                  <a:pos x="connsiteX6664" y="connsiteY6664"/>
                </a:cxn>
                <a:cxn ang="0">
                  <a:pos x="connsiteX6665" y="connsiteY6665"/>
                </a:cxn>
                <a:cxn ang="0">
                  <a:pos x="connsiteX6666" y="connsiteY6666"/>
                </a:cxn>
                <a:cxn ang="0">
                  <a:pos x="connsiteX6667" y="connsiteY6667"/>
                </a:cxn>
                <a:cxn ang="0">
                  <a:pos x="connsiteX6668" y="connsiteY6668"/>
                </a:cxn>
                <a:cxn ang="0">
                  <a:pos x="connsiteX6669" y="connsiteY6669"/>
                </a:cxn>
                <a:cxn ang="0">
                  <a:pos x="connsiteX6670" y="connsiteY6670"/>
                </a:cxn>
                <a:cxn ang="0">
                  <a:pos x="connsiteX6671" y="connsiteY6671"/>
                </a:cxn>
                <a:cxn ang="0">
                  <a:pos x="connsiteX6672" y="connsiteY6672"/>
                </a:cxn>
                <a:cxn ang="0">
                  <a:pos x="connsiteX6673" y="connsiteY6673"/>
                </a:cxn>
                <a:cxn ang="0">
                  <a:pos x="connsiteX6674" y="connsiteY6674"/>
                </a:cxn>
                <a:cxn ang="0">
                  <a:pos x="connsiteX6675" y="connsiteY6675"/>
                </a:cxn>
                <a:cxn ang="0">
                  <a:pos x="connsiteX6676" y="connsiteY6676"/>
                </a:cxn>
                <a:cxn ang="0">
                  <a:pos x="connsiteX6677" y="connsiteY6677"/>
                </a:cxn>
                <a:cxn ang="0">
                  <a:pos x="connsiteX6678" y="connsiteY6678"/>
                </a:cxn>
                <a:cxn ang="0">
                  <a:pos x="connsiteX6679" y="connsiteY6679"/>
                </a:cxn>
                <a:cxn ang="0">
                  <a:pos x="connsiteX6680" y="connsiteY6680"/>
                </a:cxn>
                <a:cxn ang="0">
                  <a:pos x="connsiteX6681" y="connsiteY6681"/>
                </a:cxn>
                <a:cxn ang="0">
                  <a:pos x="connsiteX6682" y="connsiteY6682"/>
                </a:cxn>
                <a:cxn ang="0">
                  <a:pos x="connsiteX6683" y="connsiteY6683"/>
                </a:cxn>
                <a:cxn ang="0">
                  <a:pos x="connsiteX6684" y="connsiteY6684"/>
                </a:cxn>
                <a:cxn ang="0">
                  <a:pos x="connsiteX6685" y="connsiteY6685"/>
                </a:cxn>
                <a:cxn ang="0">
                  <a:pos x="connsiteX6686" y="connsiteY6686"/>
                </a:cxn>
                <a:cxn ang="0">
                  <a:pos x="connsiteX6687" y="connsiteY6687"/>
                </a:cxn>
                <a:cxn ang="0">
                  <a:pos x="connsiteX6688" y="connsiteY6688"/>
                </a:cxn>
                <a:cxn ang="0">
                  <a:pos x="connsiteX6689" y="connsiteY6689"/>
                </a:cxn>
                <a:cxn ang="0">
                  <a:pos x="connsiteX6690" y="connsiteY6690"/>
                </a:cxn>
                <a:cxn ang="0">
                  <a:pos x="connsiteX6691" y="connsiteY6691"/>
                </a:cxn>
                <a:cxn ang="0">
                  <a:pos x="connsiteX6692" y="connsiteY6692"/>
                </a:cxn>
                <a:cxn ang="0">
                  <a:pos x="connsiteX6693" y="connsiteY6693"/>
                </a:cxn>
                <a:cxn ang="0">
                  <a:pos x="connsiteX6694" y="connsiteY6694"/>
                </a:cxn>
                <a:cxn ang="0">
                  <a:pos x="connsiteX6695" y="connsiteY6695"/>
                </a:cxn>
                <a:cxn ang="0">
                  <a:pos x="connsiteX6696" y="connsiteY6696"/>
                </a:cxn>
                <a:cxn ang="0">
                  <a:pos x="connsiteX6697" y="connsiteY6697"/>
                </a:cxn>
                <a:cxn ang="0">
                  <a:pos x="connsiteX6698" y="connsiteY6698"/>
                </a:cxn>
                <a:cxn ang="0">
                  <a:pos x="connsiteX6699" y="connsiteY6699"/>
                </a:cxn>
                <a:cxn ang="0">
                  <a:pos x="connsiteX6700" y="connsiteY6700"/>
                </a:cxn>
                <a:cxn ang="0">
                  <a:pos x="connsiteX6701" y="connsiteY6701"/>
                </a:cxn>
                <a:cxn ang="0">
                  <a:pos x="connsiteX6702" y="connsiteY6702"/>
                </a:cxn>
                <a:cxn ang="0">
                  <a:pos x="connsiteX6703" y="connsiteY6703"/>
                </a:cxn>
                <a:cxn ang="0">
                  <a:pos x="connsiteX6704" y="connsiteY6704"/>
                </a:cxn>
                <a:cxn ang="0">
                  <a:pos x="connsiteX6705" y="connsiteY6705"/>
                </a:cxn>
                <a:cxn ang="0">
                  <a:pos x="connsiteX6706" y="connsiteY6706"/>
                </a:cxn>
                <a:cxn ang="0">
                  <a:pos x="connsiteX6707" y="connsiteY6707"/>
                </a:cxn>
                <a:cxn ang="0">
                  <a:pos x="connsiteX6708" y="connsiteY6708"/>
                </a:cxn>
                <a:cxn ang="0">
                  <a:pos x="connsiteX6709" y="connsiteY6709"/>
                </a:cxn>
                <a:cxn ang="0">
                  <a:pos x="connsiteX6710" y="connsiteY6710"/>
                </a:cxn>
                <a:cxn ang="0">
                  <a:pos x="connsiteX6711" y="connsiteY6711"/>
                </a:cxn>
                <a:cxn ang="0">
                  <a:pos x="connsiteX6712" y="connsiteY6712"/>
                </a:cxn>
                <a:cxn ang="0">
                  <a:pos x="connsiteX6713" y="connsiteY6713"/>
                </a:cxn>
                <a:cxn ang="0">
                  <a:pos x="connsiteX6714" y="connsiteY6714"/>
                </a:cxn>
                <a:cxn ang="0">
                  <a:pos x="connsiteX6715" y="connsiteY6715"/>
                </a:cxn>
                <a:cxn ang="0">
                  <a:pos x="connsiteX6716" y="connsiteY6716"/>
                </a:cxn>
                <a:cxn ang="0">
                  <a:pos x="connsiteX6717" y="connsiteY6717"/>
                </a:cxn>
                <a:cxn ang="0">
                  <a:pos x="connsiteX6718" y="connsiteY6718"/>
                </a:cxn>
                <a:cxn ang="0">
                  <a:pos x="connsiteX6719" y="connsiteY6719"/>
                </a:cxn>
                <a:cxn ang="0">
                  <a:pos x="connsiteX6720" y="connsiteY6720"/>
                </a:cxn>
                <a:cxn ang="0">
                  <a:pos x="connsiteX6721" y="connsiteY6721"/>
                </a:cxn>
                <a:cxn ang="0">
                  <a:pos x="connsiteX6722" y="connsiteY6722"/>
                </a:cxn>
                <a:cxn ang="0">
                  <a:pos x="connsiteX6723" y="connsiteY6723"/>
                </a:cxn>
                <a:cxn ang="0">
                  <a:pos x="connsiteX6724" y="connsiteY6724"/>
                </a:cxn>
                <a:cxn ang="0">
                  <a:pos x="connsiteX6725" y="connsiteY6725"/>
                </a:cxn>
                <a:cxn ang="0">
                  <a:pos x="connsiteX6726" y="connsiteY6726"/>
                </a:cxn>
                <a:cxn ang="0">
                  <a:pos x="connsiteX6727" y="connsiteY6727"/>
                </a:cxn>
                <a:cxn ang="0">
                  <a:pos x="connsiteX6728" y="connsiteY6728"/>
                </a:cxn>
                <a:cxn ang="0">
                  <a:pos x="connsiteX6729" y="connsiteY6729"/>
                </a:cxn>
                <a:cxn ang="0">
                  <a:pos x="connsiteX6730" y="connsiteY6730"/>
                </a:cxn>
                <a:cxn ang="0">
                  <a:pos x="connsiteX6731" y="connsiteY6731"/>
                </a:cxn>
                <a:cxn ang="0">
                  <a:pos x="connsiteX6732" y="connsiteY6732"/>
                </a:cxn>
                <a:cxn ang="0">
                  <a:pos x="connsiteX6733" y="connsiteY6733"/>
                </a:cxn>
                <a:cxn ang="0">
                  <a:pos x="connsiteX6734" y="connsiteY6734"/>
                </a:cxn>
                <a:cxn ang="0">
                  <a:pos x="connsiteX6735" y="connsiteY6735"/>
                </a:cxn>
                <a:cxn ang="0">
                  <a:pos x="connsiteX6736" y="connsiteY6736"/>
                </a:cxn>
                <a:cxn ang="0">
                  <a:pos x="connsiteX6737" y="connsiteY6737"/>
                </a:cxn>
                <a:cxn ang="0">
                  <a:pos x="connsiteX6738" y="connsiteY6738"/>
                </a:cxn>
                <a:cxn ang="0">
                  <a:pos x="connsiteX6739" y="connsiteY6739"/>
                </a:cxn>
                <a:cxn ang="0">
                  <a:pos x="connsiteX6740" y="connsiteY6740"/>
                </a:cxn>
                <a:cxn ang="0">
                  <a:pos x="connsiteX6741" y="connsiteY6741"/>
                </a:cxn>
                <a:cxn ang="0">
                  <a:pos x="connsiteX6742" y="connsiteY6742"/>
                </a:cxn>
                <a:cxn ang="0">
                  <a:pos x="connsiteX6743" y="connsiteY6743"/>
                </a:cxn>
                <a:cxn ang="0">
                  <a:pos x="connsiteX6744" y="connsiteY6744"/>
                </a:cxn>
                <a:cxn ang="0">
                  <a:pos x="connsiteX6745" y="connsiteY6745"/>
                </a:cxn>
                <a:cxn ang="0">
                  <a:pos x="connsiteX6746" y="connsiteY6746"/>
                </a:cxn>
                <a:cxn ang="0">
                  <a:pos x="connsiteX6747" y="connsiteY6747"/>
                </a:cxn>
                <a:cxn ang="0">
                  <a:pos x="connsiteX6748" y="connsiteY6748"/>
                </a:cxn>
                <a:cxn ang="0">
                  <a:pos x="connsiteX6749" y="connsiteY6749"/>
                </a:cxn>
                <a:cxn ang="0">
                  <a:pos x="connsiteX6750" y="connsiteY6750"/>
                </a:cxn>
                <a:cxn ang="0">
                  <a:pos x="connsiteX6751" y="connsiteY6751"/>
                </a:cxn>
                <a:cxn ang="0">
                  <a:pos x="connsiteX6752" y="connsiteY6752"/>
                </a:cxn>
                <a:cxn ang="0">
                  <a:pos x="connsiteX6753" y="connsiteY6753"/>
                </a:cxn>
                <a:cxn ang="0">
                  <a:pos x="connsiteX6754" y="connsiteY6754"/>
                </a:cxn>
                <a:cxn ang="0">
                  <a:pos x="connsiteX6755" y="connsiteY6755"/>
                </a:cxn>
                <a:cxn ang="0">
                  <a:pos x="connsiteX6756" y="connsiteY6756"/>
                </a:cxn>
                <a:cxn ang="0">
                  <a:pos x="connsiteX6757" y="connsiteY6757"/>
                </a:cxn>
                <a:cxn ang="0">
                  <a:pos x="connsiteX6758" y="connsiteY6758"/>
                </a:cxn>
                <a:cxn ang="0">
                  <a:pos x="connsiteX6759" y="connsiteY6759"/>
                </a:cxn>
                <a:cxn ang="0">
                  <a:pos x="connsiteX6760" y="connsiteY6760"/>
                </a:cxn>
                <a:cxn ang="0">
                  <a:pos x="connsiteX6761" y="connsiteY6761"/>
                </a:cxn>
                <a:cxn ang="0">
                  <a:pos x="connsiteX6762" y="connsiteY6762"/>
                </a:cxn>
                <a:cxn ang="0">
                  <a:pos x="connsiteX6763" y="connsiteY6763"/>
                </a:cxn>
                <a:cxn ang="0">
                  <a:pos x="connsiteX6764" y="connsiteY6764"/>
                </a:cxn>
                <a:cxn ang="0">
                  <a:pos x="connsiteX6765" y="connsiteY6765"/>
                </a:cxn>
                <a:cxn ang="0">
                  <a:pos x="connsiteX6766" y="connsiteY6766"/>
                </a:cxn>
                <a:cxn ang="0">
                  <a:pos x="connsiteX6767" y="connsiteY6767"/>
                </a:cxn>
                <a:cxn ang="0">
                  <a:pos x="connsiteX6768" y="connsiteY6768"/>
                </a:cxn>
                <a:cxn ang="0">
                  <a:pos x="connsiteX6769" y="connsiteY6769"/>
                </a:cxn>
                <a:cxn ang="0">
                  <a:pos x="connsiteX6770" y="connsiteY6770"/>
                </a:cxn>
                <a:cxn ang="0">
                  <a:pos x="connsiteX6771" y="connsiteY6771"/>
                </a:cxn>
                <a:cxn ang="0">
                  <a:pos x="connsiteX6772" y="connsiteY6772"/>
                </a:cxn>
                <a:cxn ang="0">
                  <a:pos x="connsiteX6773" y="connsiteY6773"/>
                </a:cxn>
                <a:cxn ang="0">
                  <a:pos x="connsiteX6774" y="connsiteY6774"/>
                </a:cxn>
                <a:cxn ang="0">
                  <a:pos x="connsiteX6775" y="connsiteY6775"/>
                </a:cxn>
                <a:cxn ang="0">
                  <a:pos x="connsiteX6776" y="connsiteY6776"/>
                </a:cxn>
                <a:cxn ang="0">
                  <a:pos x="connsiteX6777" y="connsiteY6777"/>
                </a:cxn>
                <a:cxn ang="0">
                  <a:pos x="connsiteX6778" y="connsiteY6778"/>
                </a:cxn>
                <a:cxn ang="0">
                  <a:pos x="connsiteX6779" y="connsiteY6779"/>
                </a:cxn>
                <a:cxn ang="0">
                  <a:pos x="connsiteX6780" y="connsiteY6780"/>
                </a:cxn>
                <a:cxn ang="0">
                  <a:pos x="connsiteX6781" y="connsiteY6781"/>
                </a:cxn>
                <a:cxn ang="0">
                  <a:pos x="connsiteX6782" y="connsiteY6782"/>
                </a:cxn>
                <a:cxn ang="0">
                  <a:pos x="connsiteX6783" y="connsiteY6783"/>
                </a:cxn>
                <a:cxn ang="0">
                  <a:pos x="connsiteX6784" y="connsiteY6784"/>
                </a:cxn>
                <a:cxn ang="0">
                  <a:pos x="connsiteX6785" y="connsiteY6785"/>
                </a:cxn>
                <a:cxn ang="0">
                  <a:pos x="connsiteX6786" y="connsiteY6786"/>
                </a:cxn>
                <a:cxn ang="0">
                  <a:pos x="connsiteX6787" y="connsiteY6787"/>
                </a:cxn>
                <a:cxn ang="0">
                  <a:pos x="connsiteX6788" y="connsiteY6788"/>
                </a:cxn>
                <a:cxn ang="0">
                  <a:pos x="connsiteX6789" y="connsiteY6789"/>
                </a:cxn>
                <a:cxn ang="0">
                  <a:pos x="connsiteX6790" y="connsiteY6790"/>
                </a:cxn>
                <a:cxn ang="0">
                  <a:pos x="connsiteX6791" y="connsiteY6791"/>
                </a:cxn>
                <a:cxn ang="0">
                  <a:pos x="connsiteX6792" y="connsiteY6792"/>
                </a:cxn>
                <a:cxn ang="0">
                  <a:pos x="connsiteX6793" y="connsiteY6793"/>
                </a:cxn>
                <a:cxn ang="0">
                  <a:pos x="connsiteX6794" y="connsiteY6794"/>
                </a:cxn>
                <a:cxn ang="0">
                  <a:pos x="connsiteX6795" y="connsiteY6795"/>
                </a:cxn>
                <a:cxn ang="0">
                  <a:pos x="connsiteX6796" y="connsiteY6796"/>
                </a:cxn>
                <a:cxn ang="0">
                  <a:pos x="connsiteX6797" y="connsiteY6797"/>
                </a:cxn>
                <a:cxn ang="0">
                  <a:pos x="connsiteX6798" y="connsiteY6798"/>
                </a:cxn>
                <a:cxn ang="0">
                  <a:pos x="connsiteX6799" y="connsiteY6799"/>
                </a:cxn>
                <a:cxn ang="0">
                  <a:pos x="connsiteX6800" y="connsiteY6800"/>
                </a:cxn>
                <a:cxn ang="0">
                  <a:pos x="connsiteX6801" y="connsiteY6801"/>
                </a:cxn>
                <a:cxn ang="0">
                  <a:pos x="connsiteX6802" y="connsiteY6802"/>
                </a:cxn>
                <a:cxn ang="0">
                  <a:pos x="connsiteX6803" y="connsiteY6803"/>
                </a:cxn>
                <a:cxn ang="0">
                  <a:pos x="connsiteX6804" y="connsiteY6804"/>
                </a:cxn>
                <a:cxn ang="0">
                  <a:pos x="connsiteX6805" y="connsiteY6805"/>
                </a:cxn>
                <a:cxn ang="0">
                  <a:pos x="connsiteX6806" y="connsiteY6806"/>
                </a:cxn>
                <a:cxn ang="0">
                  <a:pos x="connsiteX6807" y="connsiteY6807"/>
                </a:cxn>
                <a:cxn ang="0">
                  <a:pos x="connsiteX6808" y="connsiteY6808"/>
                </a:cxn>
                <a:cxn ang="0">
                  <a:pos x="connsiteX6809" y="connsiteY6809"/>
                </a:cxn>
                <a:cxn ang="0">
                  <a:pos x="connsiteX6810" y="connsiteY6810"/>
                </a:cxn>
                <a:cxn ang="0">
                  <a:pos x="connsiteX6811" y="connsiteY6811"/>
                </a:cxn>
                <a:cxn ang="0">
                  <a:pos x="connsiteX6812" y="connsiteY6812"/>
                </a:cxn>
                <a:cxn ang="0">
                  <a:pos x="connsiteX6813" y="connsiteY6813"/>
                </a:cxn>
                <a:cxn ang="0">
                  <a:pos x="connsiteX6814" y="connsiteY6814"/>
                </a:cxn>
                <a:cxn ang="0">
                  <a:pos x="connsiteX6815" y="connsiteY6815"/>
                </a:cxn>
                <a:cxn ang="0">
                  <a:pos x="connsiteX6816" y="connsiteY6816"/>
                </a:cxn>
                <a:cxn ang="0">
                  <a:pos x="connsiteX6817" y="connsiteY6817"/>
                </a:cxn>
                <a:cxn ang="0">
                  <a:pos x="connsiteX6818" y="connsiteY6818"/>
                </a:cxn>
                <a:cxn ang="0">
                  <a:pos x="connsiteX6819" y="connsiteY6819"/>
                </a:cxn>
                <a:cxn ang="0">
                  <a:pos x="connsiteX6820" y="connsiteY6820"/>
                </a:cxn>
                <a:cxn ang="0">
                  <a:pos x="connsiteX6821" y="connsiteY6821"/>
                </a:cxn>
                <a:cxn ang="0">
                  <a:pos x="connsiteX6822" y="connsiteY6822"/>
                </a:cxn>
                <a:cxn ang="0">
                  <a:pos x="connsiteX6823" y="connsiteY6823"/>
                </a:cxn>
                <a:cxn ang="0">
                  <a:pos x="connsiteX6824" y="connsiteY6824"/>
                </a:cxn>
                <a:cxn ang="0">
                  <a:pos x="connsiteX6825" y="connsiteY6825"/>
                </a:cxn>
                <a:cxn ang="0">
                  <a:pos x="connsiteX6826" y="connsiteY6826"/>
                </a:cxn>
                <a:cxn ang="0">
                  <a:pos x="connsiteX6827" y="connsiteY6827"/>
                </a:cxn>
                <a:cxn ang="0">
                  <a:pos x="connsiteX6828" y="connsiteY6828"/>
                </a:cxn>
                <a:cxn ang="0">
                  <a:pos x="connsiteX6829" y="connsiteY6829"/>
                </a:cxn>
                <a:cxn ang="0">
                  <a:pos x="connsiteX6830" y="connsiteY6830"/>
                </a:cxn>
                <a:cxn ang="0">
                  <a:pos x="connsiteX6831" y="connsiteY6831"/>
                </a:cxn>
                <a:cxn ang="0">
                  <a:pos x="connsiteX6832" y="connsiteY6832"/>
                </a:cxn>
                <a:cxn ang="0">
                  <a:pos x="connsiteX6833" y="connsiteY6833"/>
                </a:cxn>
                <a:cxn ang="0">
                  <a:pos x="connsiteX6834" y="connsiteY6834"/>
                </a:cxn>
                <a:cxn ang="0">
                  <a:pos x="connsiteX6835" y="connsiteY6835"/>
                </a:cxn>
                <a:cxn ang="0">
                  <a:pos x="connsiteX6836" y="connsiteY6836"/>
                </a:cxn>
                <a:cxn ang="0">
                  <a:pos x="connsiteX6837" y="connsiteY6837"/>
                </a:cxn>
                <a:cxn ang="0">
                  <a:pos x="connsiteX6838" y="connsiteY6838"/>
                </a:cxn>
                <a:cxn ang="0">
                  <a:pos x="connsiteX6839" y="connsiteY6839"/>
                </a:cxn>
                <a:cxn ang="0">
                  <a:pos x="connsiteX6840" y="connsiteY6840"/>
                </a:cxn>
                <a:cxn ang="0">
                  <a:pos x="connsiteX6841" y="connsiteY6841"/>
                </a:cxn>
                <a:cxn ang="0">
                  <a:pos x="connsiteX6842" y="connsiteY6842"/>
                </a:cxn>
                <a:cxn ang="0">
                  <a:pos x="connsiteX6843" y="connsiteY6843"/>
                </a:cxn>
                <a:cxn ang="0">
                  <a:pos x="connsiteX6844" y="connsiteY6844"/>
                </a:cxn>
                <a:cxn ang="0">
                  <a:pos x="connsiteX6845" y="connsiteY6845"/>
                </a:cxn>
                <a:cxn ang="0">
                  <a:pos x="connsiteX6846" y="connsiteY6846"/>
                </a:cxn>
                <a:cxn ang="0">
                  <a:pos x="connsiteX6847" y="connsiteY6847"/>
                </a:cxn>
                <a:cxn ang="0">
                  <a:pos x="connsiteX6848" y="connsiteY6848"/>
                </a:cxn>
                <a:cxn ang="0">
                  <a:pos x="connsiteX6849" y="connsiteY6849"/>
                </a:cxn>
                <a:cxn ang="0">
                  <a:pos x="connsiteX6850" y="connsiteY6850"/>
                </a:cxn>
                <a:cxn ang="0">
                  <a:pos x="connsiteX6851" y="connsiteY6851"/>
                </a:cxn>
                <a:cxn ang="0">
                  <a:pos x="connsiteX6852" y="connsiteY6852"/>
                </a:cxn>
                <a:cxn ang="0">
                  <a:pos x="connsiteX6853" y="connsiteY6853"/>
                </a:cxn>
                <a:cxn ang="0">
                  <a:pos x="connsiteX6854" y="connsiteY6854"/>
                </a:cxn>
                <a:cxn ang="0">
                  <a:pos x="connsiteX6855" y="connsiteY6855"/>
                </a:cxn>
                <a:cxn ang="0">
                  <a:pos x="connsiteX6856" y="connsiteY6856"/>
                </a:cxn>
                <a:cxn ang="0">
                  <a:pos x="connsiteX6857" y="connsiteY6857"/>
                </a:cxn>
                <a:cxn ang="0">
                  <a:pos x="connsiteX6858" y="connsiteY6858"/>
                </a:cxn>
                <a:cxn ang="0">
                  <a:pos x="connsiteX6859" y="connsiteY6859"/>
                </a:cxn>
                <a:cxn ang="0">
                  <a:pos x="connsiteX6860" y="connsiteY6860"/>
                </a:cxn>
                <a:cxn ang="0">
                  <a:pos x="connsiteX6861" y="connsiteY6861"/>
                </a:cxn>
                <a:cxn ang="0">
                  <a:pos x="connsiteX6862" y="connsiteY6862"/>
                </a:cxn>
                <a:cxn ang="0">
                  <a:pos x="connsiteX6863" y="connsiteY6863"/>
                </a:cxn>
                <a:cxn ang="0">
                  <a:pos x="connsiteX6864" y="connsiteY6864"/>
                </a:cxn>
                <a:cxn ang="0">
                  <a:pos x="connsiteX6865" y="connsiteY6865"/>
                </a:cxn>
                <a:cxn ang="0">
                  <a:pos x="connsiteX6866" y="connsiteY6866"/>
                </a:cxn>
                <a:cxn ang="0">
                  <a:pos x="connsiteX6867" y="connsiteY6867"/>
                </a:cxn>
                <a:cxn ang="0">
                  <a:pos x="connsiteX6868" y="connsiteY6868"/>
                </a:cxn>
                <a:cxn ang="0">
                  <a:pos x="connsiteX6869" y="connsiteY6869"/>
                </a:cxn>
                <a:cxn ang="0">
                  <a:pos x="connsiteX6870" y="connsiteY6870"/>
                </a:cxn>
                <a:cxn ang="0">
                  <a:pos x="connsiteX6871" y="connsiteY6871"/>
                </a:cxn>
                <a:cxn ang="0">
                  <a:pos x="connsiteX6872" y="connsiteY6872"/>
                </a:cxn>
                <a:cxn ang="0">
                  <a:pos x="connsiteX6873" y="connsiteY6873"/>
                </a:cxn>
                <a:cxn ang="0">
                  <a:pos x="connsiteX6874" y="connsiteY6874"/>
                </a:cxn>
                <a:cxn ang="0">
                  <a:pos x="connsiteX6875" y="connsiteY6875"/>
                </a:cxn>
                <a:cxn ang="0">
                  <a:pos x="connsiteX6876" y="connsiteY6876"/>
                </a:cxn>
                <a:cxn ang="0">
                  <a:pos x="connsiteX6877" y="connsiteY6877"/>
                </a:cxn>
                <a:cxn ang="0">
                  <a:pos x="connsiteX6878" y="connsiteY6878"/>
                </a:cxn>
                <a:cxn ang="0">
                  <a:pos x="connsiteX6879" y="connsiteY6879"/>
                </a:cxn>
                <a:cxn ang="0">
                  <a:pos x="connsiteX6880" y="connsiteY6880"/>
                </a:cxn>
                <a:cxn ang="0">
                  <a:pos x="connsiteX6881" y="connsiteY6881"/>
                </a:cxn>
                <a:cxn ang="0">
                  <a:pos x="connsiteX6882" y="connsiteY6882"/>
                </a:cxn>
                <a:cxn ang="0">
                  <a:pos x="connsiteX6883" y="connsiteY6883"/>
                </a:cxn>
                <a:cxn ang="0">
                  <a:pos x="connsiteX6884" y="connsiteY6884"/>
                </a:cxn>
                <a:cxn ang="0">
                  <a:pos x="connsiteX6885" y="connsiteY6885"/>
                </a:cxn>
                <a:cxn ang="0">
                  <a:pos x="connsiteX6886" y="connsiteY6886"/>
                </a:cxn>
                <a:cxn ang="0">
                  <a:pos x="connsiteX6887" y="connsiteY6887"/>
                </a:cxn>
                <a:cxn ang="0">
                  <a:pos x="connsiteX6888" y="connsiteY6888"/>
                </a:cxn>
                <a:cxn ang="0">
                  <a:pos x="connsiteX6889" y="connsiteY6889"/>
                </a:cxn>
                <a:cxn ang="0">
                  <a:pos x="connsiteX6890" y="connsiteY6890"/>
                </a:cxn>
                <a:cxn ang="0">
                  <a:pos x="connsiteX6891" y="connsiteY6891"/>
                </a:cxn>
                <a:cxn ang="0">
                  <a:pos x="connsiteX6892" y="connsiteY6892"/>
                </a:cxn>
                <a:cxn ang="0">
                  <a:pos x="connsiteX6893" y="connsiteY6893"/>
                </a:cxn>
                <a:cxn ang="0">
                  <a:pos x="connsiteX6894" y="connsiteY6894"/>
                </a:cxn>
                <a:cxn ang="0">
                  <a:pos x="connsiteX6895" y="connsiteY6895"/>
                </a:cxn>
                <a:cxn ang="0">
                  <a:pos x="connsiteX6896" y="connsiteY6896"/>
                </a:cxn>
                <a:cxn ang="0">
                  <a:pos x="connsiteX6897" y="connsiteY6897"/>
                </a:cxn>
                <a:cxn ang="0">
                  <a:pos x="connsiteX6898" y="connsiteY6898"/>
                </a:cxn>
                <a:cxn ang="0">
                  <a:pos x="connsiteX6899" y="connsiteY6899"/>
                </a:cxn>
                <a:cxn ang="0">
                  <a:pos x="connsiteX6900" y="connsiteY6900"/>
                </a:cxn>
                <a:cxn ang="0">
                  <a:pos x="connsiteX6901" y="connsiteY6901"/>
                </a:cxn>
                <a:cxn ang="0">
                  <a:pos x="connsiteX6902" y="connsiteY6902"/>
                </a:cxn>
                <a:cxn ang="0">
                  <a:pos x="connsiteX6903" y="connsiteY6903"/>
                </a:cxn>
                <a:cxn ang="0">
                  <a:pos x="connsiteX6904" y="connsiteY6904"/>
                </a:cxn>
                <a:cxn ang="0">
                  <a:pos x="connsiteX6905" y="connsiteY6905"/>
                </a:cxn>
                <a:cxn ang="0">
                  <a:pos x="connsiteX6906" y="connsiteY6906"/>
                </a:cxn>
                <a:cxn ang="0">
                  <a:pos x="connsiteX6907" y="connsiteY6907"/>
                </a:cxn>
                <a:cxn ang="0">
                  <a:pos x="connsiteX6908" y="connsiteY6908"/>
                </a:cxn>
                <a:cxn ang="0">
                  <a:pos x="connsiteX6909" y="connsiteY6909"/>
                </a:cxn>
                <a:cxn ang="0">
                  <a:pos x="connsiteX6910" y="connsiteY6910"/>
                </a:cxn>
                <a:cxn ang="0">
                  <a:pos x="connsiteX6911" y="connsiteY6911"/>
                </a:cxn>
                <a:cxn ang="0">
                  <a:pos x="connsiteX6912" y="connsiteY6912"/>
                </a:cxn>
                <a:cxn ang="0">
                  <a:pos x="connsiteX6913" y="connsiteY6913"/>
                </a:cxn>
                <a:cxn ang="0">
                  <a:pos x="connsiteX6914" y="connsiteY6914"/>
                </a:cxn>
                <a:cxn ang="0">
                  <a:pos x="connsiteX6915" y="connsiteY6915"/>
                </a:cxn>
                <a:cxn ang="0">
                  <a:pos x="connsiteX6916" y="connsiteY6916"/>
                </a:cxn>
                <a:cxn ang="0">
                  <a:pos x="connsiteX6917" y="connsiteY6917"/>
                </a:cxn>
                <a:cxn ang="0">
                  <a:pos x="connsiteX6918" y="connsiteY6918"/>
                </a:cxn>
                <a:cxn ang="0">
                  <a:pos x="connsiteX6919" y="connsiteY6919"/>
                </a:cxn>
                <a:cxn ang="0">
                  <a:pos x="connsiteX6920" y="connsiteY6920"/>
                </a:cxn>
                <a:cxn ang="0">
                  <a:pos x="connsiteX6921" y="connsiteY6921"/>
                </a:cxn>
                <a:cxn ang="0">
                  <a:pos x="connsiteX6922" y="connsiteY6922"/>
                </a:cxn>
                <a:cxn ang="0">
                  <a:pos x="connsiteX6923" y="connsiteY6923"/>
                </a:cxn>
                <a:cxn ang="0">
                  <a:pos x="connsiteX6924" y="connsiteY6924"/>
                </a:cxn>
                <a:cxn ang="0">
                  <a:pos x="connsiteX6925" y="connsiteY6925"/>
                </a:cxn>
                <a:cxn ang="0">
                  <a:pos x="connsiteX6926" y="connsiteY6926"/>
                </a:cxn>
                <a:cxn ang="0">
                  <a:pos x="connsiteX6927" y="connsiteY6927"/>
                </a:cxn>
                <a:cxn ang="0">
                  <a:pos x="connsiteX6928" y="connsiteY6928"/>
                </a:cxn>
                <a:cxn ang="0">
                  <a:pos x="connsiteX6929" y="connsiteY6929"/>
                </a:cxn>
                <a:cxn ang="0">
                  <a:pos x="connsiteX6930" y="connsiteY6930"/>
                </a:cxn>
                <a:cxn ang="0">
                  <a:pos x="connsiteX6931" y="connsiteY6931"/>
                </a:cxn>
                <a:cxn ang="0">
                  <a:pos x="connsiteX6932" y="connsiteY6932"/>
                </a:cxn>
                <a:cxn ang="0">
                  <a:pos x="connsiteX6933" y="connsiteY6933"/>
                </a:cxn>
                <a:cxn ang="0">
                  <a:pos x="connsiteX6934" y="connsiteY6934"/>
                </a:cxn>
                <a:cxn ang="0">
                  <a:pos x="connsiteX6935" y="connsiteY6935"/>
                </a:cxn>
                <a:cxn ang="0">
                  <a:pos x="connsiteX6936" y="connsiteY6936"/>
                </a:cxn>
                <a:cxn ang="0">
                  <a:pos x="connsiteX6937" y="connsiteY6937"/>
                </a:cxn>
                <a:cxn ang="0">
                  <a:pos x="connsiteX6938" y="connsiteY6938"/>
                </a:cxn>
                <a:cxn ang="0">
                  <a:pos x="connsiteX6939" y="connsiteY6939"/>
                </a:cxn>
                <a:cxn ang="0">
                  <a:pos x="connsiteX6940" y="connsiteY6940"/>
                </a:cxn>
                <a:cxn ang="0">
                  <a:pos x="connsiteX6941" y="connsiteY6941"/>
                </a:cxn>
                <a:cxn ang="0">
                  <a:pos x="connsiteX6942" y="connsiteY6942"/>
                </a:cxn>
                <a:cxn ang="0">
                  <a:pos x="connsiteX6943" y="connsiteY6943"/>
                </a:cxn>
                <a:cxn ang="0">
                  <a:pos x="connsiteX6944" y="connsiteY6944"/>
                </a:cxn>
                <a:cxn ang="0">
                  <a:pos x="connsiteX6945" y="connsiteY6945"/>
                </a:cxn>
                <a:cxn ang="0">
                  <a:pos x="connsiteX6946" y="connsiteY6946"/>
                </a:cxn>
                <a:cxn ang="0">
                  <a:pos x="connsiteX6947" y="connsiteY6947"/>
                </a:cxn>
                <a:cxn ang="0">
                  <a:pos x="connsiteX6948" y="connsiteY6948"/>
                </a:cxn>
                <a:cxn ang="0">
                  <a:pos x="connsiteX6949" y="connsiteY6949"/>
                </a:cxn>
                <a:cxn ang="0">
                  <a:pos x="connsiteX6950" y="connsiteY6950"/>
                </a:cxn>
                <a:cxn ang="0">
                  <a:pos x="connsiteX6951" y="connsiteY6951"/>
                </a:cxn>
                <a:cxn ang="0">
                  <a:pos x="connsiteX6952" y="connsiteY6952"/>
                </a:cxn>
                <a:cxn ang="0">
                  <a:pos x="connsiteX6953" y="connsiteY6953"/>
                </a:cxn>
                <a:cxn ang="0">
                  <a:pos x="connsiteX6954" y="connsiteY6954"/>
                </a:cxn>
                <a:cxn ang="0">
                  <a:pos x="connsiteX6955" y="connsiteY6955"/>
                </a:cxn>
                <a:cxn ang="0">
                  <a:pos x="connsiteX6956" y="connsiteY6956"/>
                </a:cxn>
                <a:cxn ang="0">
                  <a:pos x="connsiteX6957" y="connsiteY6957"/>
                </a:cxn>
                <a:cxn ang="0">
                  <a:pos x="connsiteX6958" y="connsiteY6958"/>
                </a:cxn>
                <a:cxn ang="0">
                  <a:pos x="connsiteX6959" y="connsiteY6959"/>
                </a:cxn>
                <a:cxn ang="0">
                  <a:pos x="connsiteX6960" y="connsiteY6960"/>
                </a:cxn>
                <a:cxn ang="0">
                  <a:pos x="connsiteX6961" y="connsiteY6961"/>
                </a:cxn>
                <a:cxn ang="0">
                  <a:pos x="connsiteX6962" y="connsiteY6962"/>
                </a:cxn>
                <a:cxn ang="0">
                  <a:pos x="connsiteX6963" y="connsiteY6963"/>
                </a:cxn>
                <a:cxn ang="0">
                  <a:pos x="connsiteX6964" y="connsiteY6964"/>
                </a:cxn>
                <a:cxn ang="0">
                  <a:pos x="connsiteX6965" y="connsiteY6965"/>
                </a:cxn>
                <a:cxn ang="0">
                  <a:pos x="connsiteX6966" y="connsiteY6966"/>
                </a:cxn>
                <a:cxn ang="0">
                  <a:pos x="connsiteX6967" y="connsiteY6967"/>
                </a:cxn>
                <a:cxn ang="0">
                  <a:pos x="connsiteX6968" y="connsiteY6968"/>
                </a:cxn>
                <a:cxn ang="0">
                  <a:pos x="connsiteX6969" y="connsiteY6969"/>
                </a:cxn>
                <a:cxn ang="0">
                  <a:pos x="connsiteX6970" y="connsiteY6970"/>
                </a:cxn>
                <a:cxn ang="0">
                  <a:pos x="connsiteX6971" y="connsiteY6971"/>
                </a:cxn>
                <a:cxn ang="0">
                  <a:pos x="connsiteX6972" y="connsiteY6972"/>
                </a:cxn>
                <a:cxn ang="0">
                  <a:pos x="connsiteX6973" y="connsiteY6973"/>
                </a:cxn>
                <a:cxn ang="0">
                  <a:pos x="connsiteX6974" y="connsiteY6974"/>
                </a:cxn>
                <a:cxn ang="0">
                  <a:pos x="connsiteX6975" y="connsiteY6975"/>
                </a:cxn>
                <a:cxn ang="0">
                  <a:pos x="connsiteX6976" y="connsiteY6976"/>
                </a:cxn>
                <a:cxn ang="0">
                  <a:pos x="connsiteX6977" y="connsiteY6977"/>
                </a:cxn>
                <a:cxn ang="0">
                  <a:pos x="connsiteX6978" y="connsiteY6978"/>
                </a:cxn>
                <a:cxn ang="0">
                  <a:pos x="connsiteX6979" y="connsiteY6979"/>
                </a:cxn>
                <a:cxn ang="0">
                  <a:pos x="connsiteX6980" y="connsiteY6980"/>
                </a:cxn>
                <a:cxn ang="0">
                  <a:pos x="connsiteX6981" y="connsiteY6981"/>
                </a:cxn>
                <a:cxn ang="0">
                  <a:pos x="connsiteX6982" y="connsiteY6982"/>
                </a:cxn>
                <a:cxn ang="0">
                  <a:pos x="connsiteX6983" y="connsiteY6983"/>
                </a:cxn>
                <a:cxn ang="0">
                  <a:pos x="connsiteX6984" y="connsiteY6984"/>
                </a:cxn>
                <a:cxn ang="0">
                  <a:pos x="connsiteX6985" y="connsiteY6985"/>
                </a:cxn>
                <a:cxn ang="0">
                  <a:pos x="connsiteX6986" y="connsiteY6986"/>
                </a:cxn>
                <a:cxn ang="0">
                  <a:pos x="connsiteX6987" y="connsiteY6987"/>
                </a:cxn>
                <a:cxn ang="0">
                  <a:pos x="connsiteX6988" y="connsiteY6988"/>
                </a:cxn>
                <a:cxn ang="0">
                  <a:pos x="connsiteX6989" y="connsiteY6989"/>
                </a:cxn>
                <a:cxn ang="0">
                  <a:pos x="connsiteX6990" y="connsiteY6990"/>
                </a:cxn>
                <a:cxn ang="0">
                  <a:pos x="connsiteX6991" y="connsiteY6991"/>
                </a:cxn>
                <a:cxn ang="0">
                  <a:pos x="connsiteX6992" y="connsiteY6992"/>
                </a:cxn>
                <a:cxn ang="0">
                  <a:pos x="connsiteX6993" y="connsiteY6993"/>
                </a:cxn>
                <a:cxn ang="0">
                  <a:pos x="connsiteX6994" y="connsiteY6994"/>
                </a:cxn>
                <a:cxn ang="0">
                  <a:pos x="connsiteX6995" y="connsiteY6995"/>
                </a:cxn>
                <a:cxn ang="0">
                  <a:pos x="connsiteX6996" y="connsiteY6996"/>
                </a:cxn>
                <a:cxn ang="0">
                  <a:pos x="connsiteX6997" y="connsiteY6997"/>
                </a:cxn>
                <a:cxn ang="0">
                  <a:pos x="connsiteX6998" y="connsiteY6998"/>
                </a:cxn>
                <a:cxn ang="0">
                  <a:pos x="connsiteX6999" y="connsiteY6999"/>
                </a:cxn>
                <a:cxn ang="0">
                  <a:pos x="connsiteX7000" y="connsiteY7000"/>
                </a:cxn>
                <a:cxn ang="0">
                  <a:pos x="connsiteX7001" y="connsiteY7001"/>
                </a:cxn>
                <a:cxn ang="0">
                  <a:pos x="connsiteX7002" y="connsiteY7002"/>
                </a:cxn>
                <a:cxn ang="0">
                  <a:pos x="connsiteX7003" y="connsiteY7003"/>
                </a:cxn>
                <a:cxn ang="0">
                  <a:pos x="connsiteX7004" y="connsiteY7004"/>
                </a:cxn>
                <a:cxn ang="0">
                  <a:pos x="connsiteX7005" y="connsiteY7005"/>
                </a:cxn>
                <a:cxn ang="0">
                  <a:pos x="connsiteX7006" y="connsiteY7006"/>
                </a:cxn>
                <a:cxn ang="0">
                  <a:pos x="connsiteX7007" y="connsiteY7007"/>
                </a:cxn>
                <a:cxn ang="0">
                  <a:pos x="connsiteX7008" y="connsiteY7008"/>
                </a:cxn>
                <a:cxn ang="0">
                  <a:pos x="connsiteX7009" y="connsiteY7009"/>
                </a:cxn>
                <a:cxn ang="0">
                  <a:pos x="connsiteX7010" y="connsiteY7010"/>
                </a:cxn>
                <a:cxn ang="0">
                  <a:pos x="connsiteX7011" y="connsiteY7011"/>
                </a:cxn>
                <a:cxn ang="0">
                  <a:pos x="connsiteX7012" y="connsiteY7012"/>
                </a:cxn>
                <a:cxn ang="0">
                  <a:pos x="connsiteX7013" y="connsiteY7013"/>
                </a:cxn>
                <a:cxn ang="0">
                  <a:pos x="connsiteX7014" y="connsiteY7014"/>
                </a:cxn>
                <a:cxn ang="0">
                  <a:pos x="connsiteX7015" y="connsiteY7015"/>
                </a:cxn>
                <a:cxn ang="0">
                  <a:pos x="connsiteX7016" y="connsiteY7016"/>
                </a:cxn>
                <a:cxn ang="0">
                  <a:pos x="connsiteX7017" y="connsiteY7017"/>
                </a:cxn>
                <a:cxn ang="0">
                  <a:pos x="connsiteX7018" y="connsiteY7018"/>
                </a:cxn>
                <a:cxn ang="0">
                  <a:pos x="connsiteX7019" y="connsiteY7019"/>
                </a:cxn>
                <a:cxn ang="0">
                  <a:pos x="connsiteX7020" y="connsiteY7020"/>
                </a:cxn>
                <a:cxn ang="0">
                  <a:pos x="connsiteX7021" y="connsiteY7021"/>
                </a:cxn>
                <a:cxn ang="0">
                  <a:pos x="connsiteX7022" y="connsiteY7022"/>
                </a:cxn>
                <a:cxn ang="0">
                  <a:pos x="connsiteX7023" y="connsiteY7023"/>
                </a:cxn>
                <a:cxn ang="0">
                  <a:pos x="connsiteX7024" y="connsiteY7024"/>
                </a:cxn>
                <a:cxn ang="0">
                  <a:pos x="connsiteX7025" y="connsiteY7025"/>
                </a:cxn>
                <a:cxn ang="0">
                  <a:pos x="connsiteX7026" y="connsiteY7026"/>
                </a:cxn>
                <a:cxn ang="0">
                  <a:pos x="connsiteX7027" y="connsiteY7027"/>
                </a:cxn>
                <a:cxn ang="0">
                  <a:pos x="connsiteX7028" y="connsiteY7028"/>
                </a:cxn>
                <a:cxn ang="0">
                  <a:pos x="connsiteX7029" y="connsiteY7029"/>
                </a:cxn>
                <a:cxn ang="0">
                  <a:pos x="connsiteX7030" y="connsiteY7030"/>
                </a:cxn>
                <a:cxn ang="0">
                  <a:pos x="connsiteX7031" y="connsiteY7031"/>
                </a:cxn>
                <a:cxn ang="0">
                  <a:pos x="connsiteX7032" y="connsiteY7032"/>
                </a:cxn>
                <a:cxn ang="0">
                  <a:pos x="connsiteX7033" y="connsiteY7033"/>
                </a:cxn>
                <a:cxn ang="0">
                  <a:pos x="connsiteX7034" y="connsiteY7034"/>
                </a:cxn>
                <a:cxn ang="0">
                  <a:pos x="connsiteX7035" y="connsiteY7035"/>
                </a:cxn>
                <a:cxn ang="0">
                  <a:pos x="connsiteX7036" y="connsiteY7036"/>
                </a:cxn>
                <a:cxn ang="0">
                  <a:pos x="connsiteX7037" y="connsiteY7037"/>
                </a:cxn>
                <a:cxn ang="0">
                  <a:pos x="connsiteX7038" y="connsiteY7038"/>
                </a:cxn>
                <a:cxn ang="0">
                  <a:pos x="connsiteX7039" y="connsiteY7039"/>
                </a:cxn>
                <a:cxn ang="0">
                  <a:pos x="connsiteX7040" y="connsiteY7040"/>
                </a:cxn>
                <a:cxn ang="0">
                  <a:pos x="connsiteX7041" y="connsiteY7041"/>
                </a:cxn>
                <a:cxn ang="0">
                  <a:pos x="connsiteX7042" y="connsiteY7042"/>
                </a:cxn>
                <a:cxn ang="0">
                  <a:pos x="connsiteX7043" y="connsiteY7043"/>
                </a:cxn>
                <a:cxn ang="0">
                  <a:pos x="connsiteX7044" y="connsiteY7044"/>
                </a:cxn>
                <a:cxn ang="0">
                  <a:pos x="connsiteX7045" y="connsiteY7045"/>
                </a:cxn>
                <a:cxn ang="0">
                  <a:pos x="connsiteX7046" y="connsiteY7046"/>
                </a:cxn>
                <a:cxn ang="0">
                  <a:pos x="connsiteX7047" y="connsiteY7047"/>
                </a:cxn>
                <a:cxn ang="0">
                  <a:pos x="connsiteX7048" y="connsiteY7048"/>
                </a:cxn>
                <a:cxn ang="0">
                  <a:pos x="connsiteX7049" y="connsiteY7049"/>
                </a:cxn>
                <a:cxn ang="0">
                  <a:pos x="connsiteX7050" y="connsiteY7050"/>
                </a:cxn>
                <a:cxn ang="0">
                  <a:pos x="connsiteX7051" y="connsiteY7051"/>
                </a:cxn>
                <a:cxn ang="0">
                  <a:pos x="connsiteX7052" y="connsiteY7052"/>
                </a:cxn>
                <a:cxn ang="0">
                  <a:pos x="connsiteX7053" y="connsiteY7053"/>
                </a:cxn>
                <a:cxn ang="0">
                  <a:pos x="connsiteX7054" y="connsiteY7054"/>
                </a:cxn>
                <a:cxn ang="0">
                  <a:pos x="connsiteX7055" y="connsiteY7055"/>
                </a:cxn>
                <a:cxn ang="0">
                  <a:pos x="connsiteX7056" y="connsiteY7056"/>
                </a:cxn>
                <a:cxn ang="0">
                  <a:pos x="connsiteX7057" y="connsiteY7057"/>
                </a:cxn>
                <a:cxn ang="0">
                  <a:pos x="connsiteX7058" y="connsiteY7058"/>
                </a:cxn>
                <a:cxn ang="0">
                  <a:pos x="connsiteX7059" y="connsiteY7059"/>
                </a:cxn>
                <a:cxn ang="0">
                  <a:pos x="connsiteX7060" y="connsiteY7060"/>
                </a:cxn>
                <a:cxn ang="0">
                  <a:pos x="connsiteX7061" y="connsiteY7061"/>
                </a:cxn>
                <a:cxn ang="0">
                  <a:pos x="connsiteX7062" y="connsiteY7062"/>
                </a:cxn>
                <a:cxn ang="0">
                  <a:pos x="connsiteX7063" y="connsiteY7063"/>
                </a:cxn>
                <a:cxn ang="0">
                  <a:pos x="connsiteX7064" y="connsiteY7064"/>
                </a:cxn>
                <a:cxn ang="0">
                  <a:pos x="connsiteX7065" y="connsiteY7065"/>
                </a:cxn>
                <a:cxn ang="0">
                  <a:pos x="connsiteX7066" y="connsiteY7066"/>
                </a:cxn>
                <a:cxn ang="0">
                  <a:pos x="connsiteX7067" y="connsiteY7067"/>
                </a:cxn>
                <a:cxn ang="0">
                  <a:pos x="connsiteX7068" y="connsiteY7068"/>
                </a:cxn>
                <a:cxn ang="0">
                  <a:pos x="connsiteX7069" y="connsiteY7069"/>
                </a:cxn>
                <a:cxn ang="0">
                  <a:pos x="connsiteX7070" y="connsiteY7070"/>
                </a:cxn>
                <a:cxn ang="0">
                  <a:pos x="connsiteX7071" y="connsiteY7071"/>
                </a:cxn>
                <a:cxn ang="0">
                  <a:pos x="connsiteX7072" y="connsiteY7072"/>
                </a:cxn>
                <a:cxn ang="0">
                  <a:pos x="connsiteX7073" y="connsiteY7073"/>
                </a:cxn>
                <a:cxn ang="0">
                  <a:pos x="connsiteX7074" y="connsiteY7074"/>
                </a:cxn>
                <a:cxn ang="0">
                  <a:pos x="connsiteX7075" y="connsiteY7075"/>
                </a:cxn>
                <a:cxn ang="0">
                  <a:pos x="connsiteX7076" y="connsiteY7076"/>
                </a:cxn>
                <a:cxn ang="0">
                  <a:pos x="connsiteX7077" y="connsiteY7077"/>
                </a:cxn>
                <a:cxn ang="0">
                  <a:pos x="connsiteX7078" y="connsiteY7078"/>
                </a:cxn>
                <a:cxn ang="0">
                  <a:pos x="connsiteX7079" y="connsiteY7079"/>
                </a:cxn>
                <a:cxn ang="0">
                  <a:pos x="connsiteX7080" y="connsiteY7080"/>
                </a:cxn>
                <a:cxn ang="0">
                  <a:pos x="connsiteX7081" y="connsiteY7081"/>
                </a:cxn>
                <a:cxn ang="0">
                  <a:pos x="connsiteX7082" y="connsiteY7082"/>
                </a:cxn>
                <a:cxn ang="0">
                  <a:pos x="connsiteX7083" y="connsiteY7083"/>
                </a:cxn>
                <a:cxn ang="0">
                  <a:pos x="connsiteX7084" y="connsiteY7084"/>
                </a:cxn>
                <a:cxn ang="0">
                  <a:pos x="connsiteX7085" y="connsiteY7085"/>
                </a:cxn>
                <a:cxn ang="0">
                  <a:pos x="connsiteX7086" y="connsiteY7086"/>
                </a:cxn>
                <a:cxn ang="0">
                  <a:pos x="connsiteX7087" y="connsiteY7087"/>
                </a:cxn>
                <a:cxn ang="0">
                  <a:pos x="connsiteX7088" y="connsiteY7088"/>
                </a:cxn>
                <a:cxn ang="0">
                  <a:pos x="connsiteX7089" y="connsiteY7089"/>
                </a:cxn>
                <a:cxn ang="0">
                  <a:pos x="connsiteX7090" y="connsiteY7090"/>
                </a:cxn>
                <a:cxn ang="0">
                  <a:pos x="connsiteX7091" y="connsiteY7091"/>
                </a:cxn>
                <a:cxn ang="0">
                  <a:pos x="connsiteX7092" y="connsiteY7092"/>
                </a:cxn>
                <a:cxn ang="0">
                  <a:pos x="connsiteX7093" y="connsiteY7093"/>
                </a:cxn>
                <a:cxn ang="0">
                  <a:pos x="connsiteX7094" y="connsiteY7094"/>
                </a:cxn>
                <a:cxn ang="0">
                  <a:pos x="connsiteX7095" y="connsiteY7095"/>
                </a:cxn>
                <a:cxn ang="0">
                  <a:pos x="connsiteX7096" y="connsiteY7096"/>
                </a:cxn>
                <a:cxn ang="0">
                  <a:pos x="connsiteX7097" y="connsiteY7097"/>
                </a:cxn>
                <a:cxn ang="0">
                  <a:pos x="connsiteX7098" y="connsiteY7098"/>
                </a:cxn>
                <a:cxn ang="0">
                  <a:pos x="connsiteX7099" y="connsiteY7099"/>
                </a:cxn>
                <a:cxn ang="0">
                  <a:pos x="connsiteX7100" y="connsiteY7100"/>
                </a:cxn>
                <a:cxn ang="0">
                  <a:pos x="connsiteX7101" y="connsiteY7101"/>
                </a:cxn>
                <a:cxn ang="0">
                  <a:pos x="connsiteX7102" y="connsiteY7102"/>
                </a:cxn>
                <a:cxn ang="0">
                  <a:pos x="connsiteX7103" y="connsiteY7103"/>
                </a:cxn>
                <a:cxn ang="0">
                  <a:pos x="connsiteX7104" y="connsiteY7104"/>
                </a:cxn>
                <a:cxn ang="0">
                  <a:pos x="connsiteX7105" y="connsiteY7105"/>
                </a:cxn>
                <a:cxn ang="0">
                  <a:pos x="connsiteX7106" y="connsiteY7106"/>
                </a:cxn>
                <a:cxn ang="0">
                  <a:pos x="connsiteX7107" y="connsiteY7107"/>
                </a:cxn>
                <a:cxn ang="0">
                  <a:pos x="connsiteX7108" y="connsiteY7108"/>
                </a:cxn>
                <a:cxn ang="0">
                  <a:pos x="connsiteX7109" y="connsiteY7109"/>
                </a:cxn>
                <a:cxn ang="0">
                  <a:pos x="connsiteX7110" y="connsiteY7110"/>
                </a:cxn>
                <a:cxn ang="0">
                  <a:pos x="connsiteX7111" y="connsiteY7111"/>
                </a:cxn>
                <a:cxn ang="0">
                  <a:pos x="connsiteX7112" y="connsiteY7112"/>
                </a:cxn>
                <a:cxn ang="0">
                  <a:pos x="connsiteX7113" y="connsiteY7113"/>
                </a:cxn>
                <a:cxn ang="0">
                  <a:pos x="connsiteX7114" y="connsiteY7114"/>
                </a:cxn>
                <a:cxn ang="0">
                  <a:pos x="connsiteX7115" y="connsiteY7115"/>
                </a:cxn>
                <a:cxn ang="0">
                  <a:pos x="connsiteX7116" y="connsiteY7116"/>
                </a:cxn>
                <a:cxn ang="0">
                  <a:pos x="connsiteX7117" y="connsiteY7117"/>
                </a:cxn>
                <a:cxn ang="0">
                  <a:pos x="connsiteX7118" y="connsiteY7118"/>
                </a:cxn>
                <a:cxn ang="0">
                  <a:pos x="connsiteX7119" y="connsiteY7119"/>
                </a:cxn>
                <a:cxn ang="0">
                  <a:pos x="connsiteX7120" y="connsiteY7120"/>
                </a:cxn>
                <a:cxn ang="0">
                  <a:pos x="connsiteX7121" y="connsiteY7121"/>
                </a:cxn>
                <a:cxn ang="0">
                  <a:pos x="connsiteX7122" y="connsiteY7122"/>
                </a:cxn>
                <a:cxn ang="0">
                  <a:pos x="connsiteX7123" y="connsiteY7123"/>
                </a:cxn>
                <a:cxn ang="0">
                  <a:pos x="connsiteX7124" y="connsiteY7124"/>
                </a:cxn>
                <a:cxn ang="0">
                  <a:pos x="connsiteX7125" y="connsiteY7125"/>
                </a:cxn>
                <a:cxn ang="0">
                  <a:pos x="connsiteX7126" y="connsiteY7126"/>
                </a:cxn>
                <a:cxn ang="0">
                  <a:pos x="connsiteX7127" y="connsiteY7127"/>
                </a:cxn>
                <a:cxn ang="0">
                  <a:pos x="connsiteX7128" y="connsiteY7128"/>
                </a:cxn>
                <a:cxn ang="0">
                  <a:pos x="connsiteX7129" y="connsiteY7129"/>
                </a:cxn>
                <a:cxn ang="0">
                  <a:pos x="connsiteX7130" y="connsiteY7130"/>
                </a:cxn>
                <a:cxn ang="0">
                  <a:pos x="connsiteX7131" y="connsiteY7131"/>
                </a:cxn>
                <a:cxn ang="0">
                  <a:pos x="connsiteX7132" y="connsiteY7132"/>
                </a:cxn>
                <a:cxn ang="0">
                  <a:pos x="connsiteX7133" y="connsiteY7133"/>
                </a:cxn>
                <a:cxn ang="0">
                  <a:pos x="connsiteX7134" y="connsiteY7134"/>
                </a:cxn>
                <a:cxn ang="0">
                  <a:pos x="connsiteX7135" y="connsiteY7135"/>
                </a:cxn>
                <a:cxn ang="0">
                  <a:pos x="connsiteX7136" y="connsiteY7136"/>
                </a:cxn>
                <a:cxn ang="0">
                  <a:pos x="connsiteX7137" y="connsiteY7137"/>
                </a:cxn>
                <a:cxn ang="0">
                  <a:pos x="connsiteX7138" y="connsiteY7138"/>
                </a:cxn>
                <a:cxn ang="0">
                  <a:pos x="connsiteX7139" y="connsiteY7139"/>
                </a:cxn>
                <a:cxn ang="0">
                  <a:pos x="connsiteX7140" y="connsiteY7140"/>
                </a:cxn>
                <a:cxn ang="0">
                  <a:pos x="connsiteX7141" y="connsiteY7141"/>
                </a:cxn>
                <a:cxn ang="0">
                  <a:pos x="connsiteX7142" y="connsiteY7142"/>
                </a:cxn>
                <a:cxn ang="0">
                  <a:pos x="connsiteX7143" y="connsiteY7143"/>
                </a:cxn>
                <a:cxn ang="0">
                  <a:pos x="connsiteX7144" y="connsiteY7144"/>
                </a:cxn>
                <a:cxn ang="0">
                  <a:pos x="connsiteX7145" y="connsiteY7145"/>
                </a:cxn>
                <a:cxn ang="0">
                  <a:pos x="connsiteX7146" y="connsiteY7146"/>
                </a:cxn>
                <a:cxn ang="0">
                  <a:pos x="connsiteX7147" y="connsiteY7147"/>
                </a:cxn>
                <a:cxn ang="0">
                  <a:pos x="connsiteX7148" y="connsiteY7148"/>
                </a:cxn>
                <a:cxn ang="0">
                  <a:pos x="connsiteX7149" y="connsiteY7149"/>
                </a:cxn>
                <a:cxn ang="0">
                  <a:pos x="connsiteX7150" y="connsiteY7150"/>
                </a:cxn>
                <a:cxn ang="0">
                  <a:pos x="connsiteX7151" y="connsiteY7151"/>
                </a:cxn>
                <a:cxn ang="0">
                  <a:pos x="connsiteX7152" y="connsiteY7152"/>
                </a:cxn>
                <a:cxn ang="0">
                  <a:pos x="connsiteX7153" y="connsiteY7153"/>
                </a:cxn>
                <a:cxn ang="0">
                  <a:pos x="connsiteX7154" y="connsiteY7154"/>
                </a:cxn>
                <a:cxn ang="0">
                  <a:pos x="connsiteX7155" y="connsiteY7155"/>
                </a:cxn>
                <a:cxn ang="0">
                  <a:pos x="connsiteX7156" y="connsiteY7156"/>
                </a:cxn>
                <a:cxn ang="0">
                  <a:pos x="connsiteX7157" y="connsiteY7157"/>
                </a:cxn>
                <a:cxn ang="0">
                  <a:pos x="connsiteX7158" y="connsiteY7158"/>
                </a:cxn>
                <a:cxn ang="0">
                  <a:pos x="connsiteX7159" y="connsiteY7159"/>
                </a:cxn>
                <a:cxn ang="0">
                  <a:pos x="connsiteX7160" y="connsiteY7160"/>
                </a:cxn>
                <a:cxn ang="0">
                  <a:pos x="connsiteX7161" y="connsiteY7161"/>
                </a:cxn>
                <a:cxn ang="0">
                  <a:pos x="connsiteX7162" y="connsiteY7162"/>
                </a:cxn>
                <a:cxn ang="0">
                  <a:pos x="connsiteX7163" y="connsiteY7163"/>
                </a:cxn>
                <a:cxn ang="0">
                  <a:pos x="connsiteX7164" y="connsiteY7164"/>
                </a:cxn>
                <a:cxn ang="0">
                  <a:pos x="connsiteX7165" y="connsiteY7165"/>
                </a:cxn>
                <a:cxn ang="0">
                  <a:pos x="connsiteX7166" y="connsiteY7166"/>
                </a:cxn>
                <a:cxn ang="0">
                  <a:pos x="connsiteX7167" y="connsiteY7167"/>
                </a:cxn>
                <a:cxn ang="0">
                  <a:pos x="connsiteX7168" y="connsiteY7168"/>
                </a:cxn>
                <a:cxn ang="0">
                  <a:pos x="connsiteX7169" y="connsiteY7169"/>
                </a:cxn>
                <a:cxn ang="0">
                  <a:pos x="connsiteX7170" y="connsiteY7170"/>
                </a:cxn>
                <a:cxn ang="0">
                  <a:pos x="connsiteX7171" y="connsiteY7171"/>
                </a:cxn>
                <a:cxn ang="0">
                  <a:pos x="connsiteX7172" y="connsiteY7172"/>
                </a:cxn>
                <a:cxn ang="0">
                  <a:pos x="connsiteX7173" y="connsiteY7173"/>
                </a:cxn>
                <a:cxn ang="0">
                  <a:pos x="connsiteX7174" y="connsiteY7174"/>
                </a:cxn>
                <a:cxn ang="0">
                  <a:pos x="connsiteX7175" y="connsiteY7175"/>
                </a:cxn>
                <a:cxn ang="0">
                  <a:pos x="connsiteX7176" y="connsiteY7176"/>
                </a:cxn>
                <a:cxn ang="0">
                  <a:pos x="connsiteX7177" y="connsiteY7177"/>
                </a:cxn>
                <a:cxn ang="0">
                  <a:pos x="connsiteX7178" y="connsiteY7178"/>
                </a:cxn>
                <a:cxn ang="0">
                  <a:pos x="connsiteX7179" y="connsiteY7179"/>
                </a:cxn>
                <a:cxn ang="0">
                  <a:pos x="connsiteX7180" y="connsiteY7180"/>
                </a:cxn>
                <a:cxn ang="0">
                  <a:pos x="connsiteX7181" y="connsiteY7181"/>
                </a:cxn>
                <a:cxn ang="0">
                  <a:pos x="connsiteX7182" y="connsiteY7182"/>
                </a:cxn>
                <a:cxn ang="0">
                  <a:pos x="connsiteX7183" y="connsiteY7183"/>
                </a:cxn>
                <a:cxn ang="0">
                  <a:pos x="connsiteX7184" y="connsiteY7184"/>
                </a:cxn>
                <a:cxn ang="0">
                  <a:pos x="connsiteX7185" y="connsiteY7185"/>
                </a:cxn>
                <a:cxn ang="0">
                  <a:pos x="connsiteX7186" y="connsiteY7186"/>
                </a:cxn>
                <a:cxn ang="0">
                  <a:pos x="connsiteX7187" y="connsiteY7187"/>
                </a:cxn>
                <a:cxn ang="0">
                  <a:pos x="connsiteX7188" y="connsiteY7188"/>
                </a:cxn>
                <a:cxn ang="0">
                  <a:pos x="connsiteX7189" y="connsiteY7189"/>
                </a:cxn>
                <a:cxn ang="0">
                  <a:pos x="connsiteX7190" y="connsiteY7190"/>
                </a:cxn>
                <a:cxn ang="0">
                  <a:pos x="connsiteX7191" y="connsiteY7191"/>
                </a:cxn>
                <a:cxn ang="0">
                  <a:pos x="connsiteX7192" y="connsiteY7192"/>
                </a:cxn>
                <a:cxn ang="0">
                  <a:pos x="connsiteX7193" y="connsiteY7193"/>
                </a:cxn>
                <a:cxn ang="0">
                  <a:pos x="connsiteX7194" y="connsiteY7194"/>
                </a:cxn>
                <a:cxn ang="0">
                  <a:pos x="connsiteX7195" y="connsiteY7195"/>
                </a:cxn>
                <a:cxn ang="0">
                  <a:pos x="connsiteX7196" y="connsiteY7196"/>
                </a:cxn>
                <a:cxn ang="0">
                  <a:pos x="connsiteX7197" y="connsiteY7197"/>
                </a:cxn>
                <a:cxn ang="0">
                  <a:pos x="connsiteX7198" y="connsiteY7198"/>
                </a:cxn>
                <a:cxn ang="0">
                  <a:pos x="connsiteX7199" y="connsiteY7199"/>
                </a:cxn>
                <a:cxn ang="0">
                  <a:pos x="connsiteX7200" y="connsiteY7200"/>
                </a:cxn>
                <a:cxn ang="0">
                  <a:pos x="connsiteX7201" y="connsiteY7201"/>
                </a:cxn>
                <a:cxn ang="0">
                  <a:pos x="connsiteX7202" y="connsiteY7202"/>
                </a:cxn>
                <a:cxn ang="0">
                  <a:pos x="connsiteX7203" y="connsiteY7203"/>
                </a:cxn>
                <a:cxn ang="0">
                  <a:pos x="connsiteX7204" y="connsiteY7204"/>
                </a:cxn>
                <a:cxn ang="0">
                  <a:pos x="connsiteX7205" y="connsiteY7205"/>
                </a:cxn>
                <a:cxn ang="0">
                  <a:pos x="connsiteX7206" y="connsiteY7206"/>
                </a:cxn>
                <a:cxn ang="0">
                  <a:pos x="connsiteX7207" y="connsiteY7207"/>
                </a:cxn>
                <a:cxn ang="0">
                  <a:pos x="connsiteX7208" y="connsiteY7208"/>
                </a:cxn>
                <a:cxn ang="0">
                  <a:pos x="connsiteX7209" y="connsiteY7209"/>
                </a:cxn>
                <a:cxn ang="0">
                  <a:pos x="connsiteX7210" y="connsiteY7210"/>
                </a:cxn>
                <a:cxn ang="0">
                  <a:pos x="connsiteX7211" y="connsiteY7211"/>
                </a:cxn>
                <a:cxn ang="0">
                  <a:pos x="connsiteX7212" y="connsiteY7212"/>
                </a:cxn>
                <a:cxn ang="0">
                  <a:pos x="connsiteX7213" y="connsiteY7213"/>
                </a:cxn>
                <a:cxn ang="0">
                  <a:pos x="connsiteX7214" y="connsiteY7214"/>
                </a:cxn>
                <a:cxn ang="0">
                  <a:pos x="connsiteX7215" y="connsiteY7215"/>
                </a:cxn>
                <a:cxn ang="0">
                  <a:pos x="connsiteX7216" y="connsiteY7216"/>
                </a:cxn>
                <a:cxn ang="0">
                  <a:pos x="connsiteX7217" y="connsiteY7217"/>
                </a:cxn>
                <a:cxn ang="0">
                  <a:pos x="connsiteX7218" y="connsiteY7218"/>
                </a:cxn>
                <a:cxn ang="0">
                  <a:pos x="connsiteX7219" y="connsiteY7219"/>
                </a:cxn>
                <a:cxn ang="0">
                  <a:pos x="connsiteX7220" y="connsiteY7220"/>
                </a:cxn>
                <a:cxn ang="0">
                  <a:pos x="connsiteX7221" y="connsiteY7221"/>
                </a:cxn>
                <a:cxn ang="0">
                  <a:pos x="connsiteX7222" y="connsiteY7222"/>
                </a:cxn>
                <a:cxn ang="0">
                  <a:pos x="connsiteX7223" y="connsiteY7223"/>
                </a:cxn>
                <a:cxn ang="0">
                  <a:pos x="connsiteX7224" y="connsiteY7224"/>
                </a:cxn>
                <a:cxn ang="0">
                  <a:pos x="connsiteX7225" y="connsiteY7225"/>
                </a:cxn>
                <a:cxn ang="0">
                  <a:pos x="connsiteX7226" y="connsiteY7226"/>
                </a:cxn>
                <a:cxn ang="0">
                  <a:pos x="connsiteX7227" y="connsiteY7227"/>
                </a:cxn>
                <a:cxn ang="0">
                  <a:pos x="connsiteX7228" y="connsiteY7228"/>
                </a:cxn>
                <a:cxn ang="0">
                  <a:pos x="connsiteX7229" y="connsiteY7229"/>
                </a:cxn>
                <a:cxn ang="0">
                  <a:pos x="connsiteX7230" y="connsiteY7230"/>
                </a:cxn>
                <a:cxn ang="0">
                  <a:pos x="connsiteX7231" y="connsiteY7231"/>
                </a:cxn>
                <a:cxn ang="0">
                  <a:pos x="connsiteX7232" y="connsiteY7232"/>
                </a:cxn>
                <a:cxn ang="0">
                  <a:pos x="connsiteX7233" y="connsiteY7233"/>
                </a:cxn>
                <a:cxn ang="0">
                  <a:pos x="connsiteX7234" y="connsiteY7234"/>
                </a:cxn>
                <a:cxn ang="0">
                  <a:pos x="connsiteX7235" y="connsiteY7235"/>
                </a:cxn>
                <a:cxn ang="0">
                  <a:pos x="connsiteX7236" y="connsiteY7236"/>
                </a:cxn>
                <a:cxn ang="0">
                  <a:pos x="connsiteX7237" y="connsiteY7237"/>
                </a:cxn>
                <a:cxn ang="0">
                  <a:pos x="connsiteX7238" y="connsiteY7238"/>
                </a:cxn>
                <a:cxn ang="0">
                  <a:pos x="connsiteX7239" y="connsiteY7239"/>
                </a:cxn>
                <a:cxn ang="0">
                  <a:pos x="connsiteX7240" y="connsiteY7240"/>
                </a:cxn>
                <a:cxn ang="0">
                  <a:pos x="connsiteX7241" y="connsiteY7241"/>
                </a:cxn>
                <a:cxn ang="0">
                  <a:pos x="connsiteX7242" y="connsiteY7242"/>
                </a:cxn>
                <a:cxn ang="0">
                  <a:pos x="connsiteX7243" y="connsiteY7243"/>
                </a:cxn>
                <a:cxn ang="0">
                  <a:pos x="connsiteX7244" y="connsiteY7244"/>
                </a:cxn>
                <a:cxn ang="0">
                  <a:pos x="connsiteX7245" y="connsiteY7245"/>
                </a:cxn>
                <a:cxn ang="0">
                  <a:pos x="connsiteX7246" y="connsiteY7246"/>
                </a:cxn>
                <a:cxn ang="0">
                  <a:pos x="connsiteX7247" y="connsiteY7247"/>
                </a:cxn>
                <a:cxn ang="0">
                  <a:pos x="connsiteX7248" y="connsiteY7248"/>
                </a:cxn>
                <a:cxn ang="0">
                  <a:pos x="connsiteX7249" y="connsiteY7249"/>
                </a:cxn>
                <a:cxn ang="0">
                  <a:pos x="connsiteX7250" y="connsiteY7250"/>
                </a:cxn>
                <a:cxn ang="0">
                  <a:pos x="connsiteX7251" y="connsiteY7251"/>
                </a:cxn>
                <a:cxn ang="0">
                  <a:pos x="connsiteX7252" y="connsiteY7252"/>
                </a:cxn>
                <a:cxn ang="0">
                  <a:pos x="connsiteX7253" y="connsiteY7253"/>
                </a:cxn>
                <a:cxn ang="0">
                  <a:pos x="connsiteX7254" y="connsiteY7254"/>
                </a:cxn>
                <a:cxn ang="0">
                  <a:pos x="connsiteX7255" y="connsiteY7255"/>
                </a:cxn>
                <a:cxn ang="0">
                  <a:pos x="connsiteX7256" y="connsiteY7256"/>
                </a:cxn>
              </a:cxnLst>
              <a:rect l="l" t="t" r="r" b="b"/>
              <a:pathLst>
                <a:path w="3773795" h="1451770">
                  <a:moveTo>
                    <a:pt x="2796832" y="1391858"/>
                  </a:moveTo>
                  <a:lnTo>
                    <a:pt x="2797101" y="1392096"/>
                  </a:lnTo>
                  <a:lnTo>
                    <a:pt x="2796782" y="1392392"/>
                  </a:lnTo>
                  <a:lnTo>
                    <a:pt x="2796419" y="1392600"/>
                  </a:lnTo>
                  <a:lnTo>
                    <a:pt x="2795881" y="1392927"/>
                  </a:lnTo>
                  <a:lnTo>
                    <a:pt x="2795588" y="1392986"/>
                  </a:lnTo>
                  <a:lnTo>
                    <a:pt x="2795493" y="1392630"/>
                  </a:lnTo>
                  <a:lnTo>
                    <a:pt x="2795955" y="1392274"/>
                  </a:lnTo>
                  <a:close/>
                  <a:moveTo>
                    <a:pt x="2792254" y="1391576"/>
                  </a:moveTo>
                  <a:lnTo>
                    <a:pt x="2792564" y="1391710"/>
                  </a:lnTo>
                  <a:lnTo>
                    <a:pt x="2792968" y="1391688"/>
                  </a:lnTo>
                  <a:lnTo>
                    <a:pt x="2793351" y="1391643"/>
                  </a:lnTo>
                  <a:lnTo>
                    <a:pt x="2793571" y="1391955"/>
                  </a:lnTo>
                  <a:lnTo>
                    <a:pt x="2793625" y="1392466"/>
                  </a:lnTo>
                  <a:lnTo>
                    <a:pt x="2793351" y="1392488"/>
                  </a:lnTo>
                  <a:lnTo>
                    <a:pt x="2792822" y="1392577"/>
                  </a:lnTo>
                  <a:lnTo>
                    <a:pt x="2792528" y="1392644"/>
                  </a:lnTo>
                  <a:lnTo>
                    <a:pt x="2792364" y="1392288"/>
                  </a:lnTo>
                  <a:lnTo>
                    <a:pt x="2792254" y="1391999"/>
                  </a:lnTo>
                  <a:lnTo>
                    <a:pt x="2791979" y="1391820"/>
                  </a:lnTo>
                  <a:lnTo>
                    <a:pt x="2791979" y="1391620"/>
                  </a:lnTo>
                  <a:close/>
                  <a:moveTo>
                    <a:pt x="2801731" y="1386394"/>
                  </a:moveTo>
                  <a:lnTo>
                    <a:pt x="2802243" y="1386512"/>
                  </a:lnTo>
                  <a:lnTo>
                    <a:pt x="2802608" y="1386602"/>
                  </a:lnTo>
                  <a:lnTo>
                    <a:pt x="2802807" y="1387108"/>
                  </a:lnTo>
                  <a:lnTo>
                    <a:pt x="2802221" y="1387255"/>
                  </a:lnTo>
                  <a:lnTo>
                    <a:pt x="2801245" y="1387108"/>
                  </a:lnTo>
                  <a:lnTo>
                    <a:pt x="2800928" y="1386988"/>
                  </a:lnTo>
                  <a:lnTo>
                    <a:pt x="2801146" y="1386751"/>
                  </a:lnTo>
                  <a:close/>
                  <a:moveTo>
                    <a:pt x="2813107" y="1380761"/>
                  </a:moveTo>
                  <a:lnTo>
                    <a:pt x="2814422" y="1381609"/>
                  </a:lnTo>
                  <a:lnTo>
                    <a:pt x="2814752" y="1382284"/>
                  </a:lnTo>
                  <a:lnTo>
                    <a:pt x="2810660" y="1383913"/>
                  </a:lnTo>
                  <a:lnTo>
                    <a:pt x="2809976" y="1384654"/>
                  </a:lnTo>
                  <a:lnTo>
                    <a:pt x="2808331" y="1384003"/>
                  </a:lnTo>
                  <a:lnTo>
                    <a:pt x="2808439" y="1382476"/>
                  </a:lnTo>
                  <a:lnTo>
                    <a:pt x="2808626" y="1382045"/>
                  </a:lnTo>
                  <a:close/>
                  <a:moveTo>
                    <a:pt x="2797352" y="1363421"/>
                  </a:moveTo>
                  <a:lnTo>
                    <a:pt x="2799464" y="1363489"/>
                  </a:lnTo>
                  <a:lnTo>
                    <a:pt x="2802744" y="1365475"/>
                  </a:lnTo>
                  <a:lnTo>
                    <a:pt x="2807428" y="1365045"/>
                  </a:lnTo>
                  <a:lnTo>
                    <a:pt x="2806288" y="1366832"/>
                  </a:lnTo>
                  <a:lnTo>
                    <a:pt x="2804526" y="1366804"/>
                  </a:lnTo>
                  <a:lnTo>
                    <a:pt x="2801423" y="1369376"/>
                  </a:lnTo>
                  <a:lnTo>
                    <a:pt x="2798697" y="1369710"/>
                  </a:lnTo>
                  <a:lnTo>
                    <a:pt x="2797356" y="1370326"/>
                  </a:lnTo>
                  <a:lnTo>
                    <a:pt x="2792973" y="1374181"/>
                  </a:lnTo>
                  <a:lnTo>
                    <a:pt x="2792381" y="1375697"/>
                  </a:lnTo>
                  <a:lnTo>
                    <a:pt x="2789721" y="1378593"/>
                  </a:lnTo>
                  <a:lnTo>
                    <a:pt x="2785737" y="1381177"/>
                  </a:lnTo>
                  <a:lnTo>
                    <a:pt x="2785053" y="1386050"/>
                  </a:lnTo>
                  <a:lnTo>
                    <a:pt x="2782474" y="1384095"/>
                  </a:lnTo>
                  <a:lnTo>
                    <a:pt x="2782184" y="1382116"/>
                  </a:lnTo>
                  <a:lnTo>
                    <a:pt x="2782970" y="1380480"/>
                  </a:lnTo>
                  <a:lnTo>
                    <a:pt x="2787494" y="1377014"/>
                  </a:lnTo>
                  <a:lnTo>
                    <a:pt x="2789308" y="1375053"/>
                  </a:lnTo>
                  <a:lnTo>
                    <a:pt x="2789862" y="1373496"/>
                  </a:lnTo>
                  <a:lnTo>
                    <a:pt x="2791599" y="1371761"/>
                  </a:lnTo>
                  <a:lnTo>
                    <a:pt x="2792446" y="1370254"/>
                  </a:lnTo>
                  <a:lnTo>
                    <a:pt x="2793556" y="1369601"/>
                  </a:lnTo>
                  <a:close/>
                  <a:moveTo>
                    <a:pt x="2856182" y="1335366"/>
                  </a:moveTo>
                  <a:lnTo>
                    <a:pt x="2857057" y="1335818"/>
                  </a:lnTo>
                  <a:lnTo>
                    <a:pt x="2857366" y="1336475"/>
                  </a:lnTo>
                  <a:lnTo>
                    <a:pt x="2857349" y="1337304"/>
                  </a:lnTo>
                  <a:lnTo>
                    <a:pt x="2856854" y="1338468"/>
                  </a:lnTo>
                  <a:lnTo>
                    <a:pt x="2857608" y="1339862"/>
                  </a:lnTo>
                  <a:lnTo>
                    <a:pt x="2856582" y="1340924"/>
                  </a:lnTo>
                  <a:lnTo>
                    <a:pt x="2852354" y="1341098"/>
                  </a:lnTo>
                  <a:lnTo>
                    <a:pt x="2848266" y="1343030"/>
                  </a:lnTo>
                  <a:lnTo>
                    <a:pt x="2844898" y="1343861"/>
                  </a:lnTo>
                  <a:lnTo>
                    <a:pt x="2839214" y="1347875"/>
                  </a:lnTo>
                  <a:lnTo>
                    <a:pt x="2837190" y="1350057"/>
                  </a:lnTo>
                  <a:lnTo>
                    <a:pt x="2834323" y="1350925"/>
                  </a:lnTo>
                  <a:lnTo>
                    <a:pt x="2831530" y="1350418"/>
                  </a:lnTo>
                  <a:lnTo>
                    <a:pt x="2830737" y="1351304"/>
                  </a:lnTo>
                  <a:lnTo>
                    <a:pt x="2830464" y="1352892"/>
                  </a:lnTo>
                  <a:lnTo>
                    <a:pt x="2829436" y="1354285"/>
                  </a:lnTo>
                  <a:lnTo>
                    <a:pt x="2823843" y="1358590"/>
                  </a:lnTo>
                  <a:lnTo>
                    <a:pt x="2821572" y="1361968"/>
                  </a:lnTo>
                  <a:lnTo>
                    <a:pt x="2819162" y="1362576"/>
                  </a:lnTo>
                  <a:lnTo>
                    <a:pt x="2814718" y="1366027"/>
                  </a:lnTo>
                  <a:lnTo>
                    <a:pt x="2815515" y="1363070"/>
                  </a:lnTo>
                  <a:lnTo>
                    <a:pt x="2816415" y="1361637"/>
                  </a:lnTo>
                  <a:lnTo>
                    <a:pt x="2820102" y="1358980"/>
                  </a:lnTo>
                  <a:lnTo>
                    <a:pt x="2820408" y="1356176"/>
                  </a:lnTo>
                  <a:lnTo>
                    <a:pt x="2822438" y="1353726"/>
                  </a:lnTo>
                  <a:lnTo>
                    <a:pt x="2826503" y="1351291"/>
                  </a:lnTo>
                  <a:lnTo>
                    <a:pt x="2829320" y="1348087"/>
                  </a:lnTo>
                  <a:lnTo>
                    <a:pt x="2831533" y="1347250"/>
                  </a:lnTo>
                  <a:lnTo>
                    <a:pt x="2833999" y="1344576"/>
                  </a:lnTo>
                  <a:lnTo>
                    <a:pt x="2836566" y="1343620"/>
                  </a:lnTo>
                  <a:lnTo>
                    <a:pt x="2836281" y="1341574"/>
                  </a:lnTo>
                  <a:lnTo>
                    <a:pt x="2837418" y="1339297"/>
                  </a:lnTo>
                  <a:lnTo>
                    <a:pt x="2838314" y="1339450"/>
                  </a:lnTo>
                  <a:lnTo>
                    <a:pt x="2840337" y="1342620"/>
                  </a:lnTo>
                  <a:lnTo>
                    <a:pt x="2841974" y="1342727"/>
                  </a:lnTo>
                  <a:lnTo>
                    <a:pt x="2846267" y="1342064"/>
                  </a:lnTo>
                  <a:lnTo>
                    <a:pt x="2852637" y="1336514"/>
                  </a:lnTo>
                  <a:lnTo>
                    <a:pt x="2854723" y="1335525"/>
                  </a:lnTo>
                  <a:close/>
                  <a:moveTo>
                    <a:pt x="626718" y="1332050"/>
                  </a:moveTo>
                  <a:lnTo>
                    <a:pt x="627601" y="1334608"/>
                  </a:lnTo>
                  <a:lnTo>
                    <a:pt x="627511" y="1336416"/>
                  </a:lnTo>
                  <a:lnTo>
                    <a:pt x="627171" y="1336918"/>
                  </a:lnTo>
                  <a:lnTo>
                    <a:pt x="626124" y="1334388"/>
                  </a:lnTo>
                  <a:lnTo>
                    <a:pt x="626064" y="1332845"/>
                  </a:lnTo>
                  <a:close/>
                  <a:moveTo>
                    <a:pt x="2891031" y="1316421"/>
                  </a:moveTo>
                  <a:lnTo>
                    <a:pt x="2895553" y="1316556"/>
                  </a:lnTo>
                  <a:lnTo>
                    <a:pt x="2888508" y="1321982"/>
                  </a:lnTo>
                  <a:lnTo>
                    <a:pt x="2887634" y="1324165"/>
                  </a:lnTo>
                  <a:lnTo>
                    <a:pt x="2884574" y="1326478"/>
                  </a:lnTo>
                  <a:lnTo>
                    <a:pt x="2882306" y="1327220"/>
                  </a:lnTo>
                  <a:lnTo>
                    <a:pt x="2880743" y="1328303"/>
                  </a:lnTo>
                  <a:lnTo>
                    <a:pt x="2876416" y="1332188"/>
                  </a:lnTo>
                  <a:lnTo>
                    <a:pt x="2873125" y="1333582"/>
                  </a:lnTo>
                  <a:lnTo>
                    <a:pt x="2871095" y="1333527"/>
                  </a:lnTo>
                  <a:lnTo>
                    <a:pt x="2875935" y="1326742"/>
                  </a:lnTo>
                  <a:lnTo>
                    <a:pt x="2878817" y="1325741"/>
                  </a:lnTo>
                  <a:lnTo>
                    <a:pt x="2882488" y="1321716"/>
                  </a:lnTo>
                  <a:lnTo>
                    <a:pt x="2890149" y="1316783"/>
                  </a:lnTo>
                  <a:close/>
                  <a:moveTo>
                    <a:pt x="2932735" y="1290555"/>
                  </a:moveTo>
                  <a:lnTo>
                    <a:pt x="2933933" y="1290589"/>
                  </a:lnTo>
                  <a:lnTo>
                    <a:pt x="2927591" y="1297429"/>
                  </a:lnTo>
                  <a:lnTo>
                    <a:pt x="2923469" y="1300495"/>
                  </a:lnTo>
                  <a:lnTo>
                    <a:pt x="2922109" y="1300461"/>
                  </a:lnTo>
                  <a:lnTo>
                    <a:pt x="2921430" y="1299334"/>
                  </a:lnTo>
                  <a:lnTo>
                    <a:pt x="2921251" y="1298668"/>
                  </a:lnTo>
                  <a:lnTo>
                    <a:pt x="2924546" y="1298214"/>
                  </a:lnTo>
                  <a:lnTo>
                    <a:pt x="2928427" y="1294142"/>
                  </a:lnTo>
                  <a:lnTo>
                    <a:pt x="2931213" y="1291476"/>
                  </a:lnTo>
                  <a:close/>
                  <a:moveTo>
                    <a:pt x="2951409" y="1271890"/>
                  </a:moveTo>
                  <a:lnTo>
                    <a:pt x="2951893" y="1273179"/>
                  </a:lnTo>
                  <a:lnTo>
                    <a:pt x="2950848" y="1274778"/>
                  </a:lnTo>
                  <a:lnTo>
                    <a:pt x="2949749" y="1274571"/>
                  </a:lnTo>
                  <a:lnTo>
                    <a:pt x="2949311" y="1274164"/>
                  </a:lnTo>
                  <a:lnTo>
                    <a:pt x="2950744" y="1272220"/>
                  </a:lnTo>
                  <a:close/>
                  <a:moveTo>
                    <a:pt x="2976171" y="1240837"/>
                  </a:moveTo>
                  <a:lnTo>
                    <a:pt x="2976821" y="1241203"/>
                  </a:lnTo>
                  <a:lnTo>
                    <a:pt x="2976296" y="1242198"/>
                  </a:lnTo>
                  <a:lnTo>
                    <a:pt x="2973567" y="1244103"/>
                  </a:lnTo>
                  <a:lnTo>
                    <a:pt x="2972720" y="1245569"/>
                  </a:lnTo>
                  <a:lnTo>
                    <a:pt x="2971785" y="1245086"/>
                  </a:lnTo>
                  <a:lnTo>
                    <a:pt x="2971599" y="1244609"/>
                  </a:lnTo>
                  <a:lnTo>
                    <a:pt x="2973798" y="1242911"/>
                  </a:lnTo>
                  <a:lnTo>
                    <a:pt x="2974564" y="1240851"/>
                  </a:lnTo>
                  <a:close/>
                  <a:moveTo>
                    <a:pt x="2990011" y="1219598"/>
                  </a:moveTo>
                  <a:lnTo>
                    <a:pt x="2991662" y="1220074"/>
                  </a:lnTo>
                  <a:lnTo>
                    <a:pt x="2991301" y="1221911"/>
                  </a:lnTo>
                  <a:lnTo>
                    <a:pt x="2989511" y="1224729"/>
                  </a:lnTo>
                  <a:lnTo>
                    <a:pt x="2990121" y="1228179"/>
                  </a:lnTo>
                  <a:lnTo>
                    <a:pt x="2989691" y="1229207"/>
                  </a:lnTo>
                  <a:lnTo>
                    <a:pt x="2987577" y="1230476"/>
                  </a:lnTo>
                  <a:lnTo>
                    <a:pt x="2985279" y="1229721"/>
                  </a:lnTo>
                  <a:lnTo>
                    <a:pt x="2985325" y="1227242"/>
                  </a:lnTo>
                  <a:close/>
                  <a:moveTo>
                    <a:pt x="3018137" y="1187045"/>
                  </a:moveTo>
                  <a:lnTo>
                    <a:pt x="3018711" y="1189974"/>
                  </a:lnTo>
                  <a:lnTo>
                    <a:pt x="3018218" y="1193230"/>
                  </a:lnTo>
                  <a:lnTo>
                    <a:pt x="3016976" y="1196352"/>
                  </a:lnTo>
                  <a:lnTo>
                    <a:pt x="3014249" y="1200689"/>
                  </a:lnTo>
                  <a:lnTo>
                    <a:pt x="3011404" y="1203588"/>
                  </a:lnTo>
                  <a:lnTo>
                    <a:pt x="3007316" y="1204306"/>
                  </a:lnTo>
                  <a:lnTo>
                    <a:pt x="3005301" y="1205221"/>
                  </a:lnTo>
                  <a:lnTo>
                    <a:pt x="3003809" y="1207181"/>
                  </a:lnTo>
                  <a:lnTo>
                    <a:pt x="3002665" y="1208236"/>
                  </a:lnTo>
                  <a:lnTo>
                    <a:pt x="3000265" y="1207661"/>
                  </a:lnTo>
                  <a:lnTo>
                    <a:pt x="2999257" y="1206694"/>
                  </a:lnTo>
                  <a:lnTo>
                    <a:pt x="2999257" y="1203277"/>
                  </a:lnTo>
                  <a:lnTo>
                    <a:pt x="2998196" y="1201779"/>
                  </a:lnTo>
                  <a:lnTo>
                    <a:pt x="2998711" y="1200815"/>
                  </a:lnTo>
                  <a:lnTo>
                    <a:pt x="3001108" y="1200947"/>
                  </a:lnTo>
                  <a:lnTo>
                    <a:pt x="3003476" y="1198754"/>
                  </a:lnTo>
                  <a:lnTo>
                    <a:pt x="3008923" y="1197833"/>
                  </a:lnTo>
                  <a:lnTo>
                    <a:pt x="3010969" y="1195462"/>
                  </a:lnTo>
                  <a:lnTo>
                    <a:pt x="3013446" y="1189600"/>
                  </a:lnTo>
                  <a:lnTo>
                    <a:pt x="3016031" y="1187480"/>
                  </a:lnTo>
                  <a:close/>
                  <a:moveTo>
                    <a:pt x="3024319" y="1184415"/>
                  </a:moveTo>
                  <a:lnTo>
                    <a:pt x="3026074" y="1184489"/>
                  </a:lnTo>
                  <a:lnTo>
                    <a:pt x="3026774" y="1184973"/>
                  </a:lnTo>
                  <a:lnTo>
                    <a:pt x="3026677" y="1187647"/>
                  </a:lnTo>
                  <a:lnTo>
                    <a:pt x="3024951" y="1190371"/>
                  </a:lnTo>
                  <a:lnTo>
                    <a:pt x="3024074" y="1191064"/>
                  </a:lnTo>
                  <a:lnTo>
                    <a:pt x="3023198" y="1190911"/>
                  </a:lnTo>
                  <a:lnTo>
                    <a:pt x="3020334" y="1189075"/>
                  </a:lnTo>
                  <a:lnTo>
                    <a:pt x="3019709" y="1188210"/>
                  </a:lnTo>
                  <a:lnTo>
                    <a:pt x="3020706" y="1186671"/>
                  </a:lnTo>
                  <a:close/>
                  <a:moveTo>
                    <a:pt x="3006454" y="1182304"/>
                  </a:moveTo>
                  <a:lnTo>
                    <a:pt x="3008026" y="1183004"/>
                  </a:lnTo>
                  <a:lnTo>
                    <a:pt x="3008335" y="1184903"/>
                  </a:lnTo>
                  <a:lnTo>
                    <a:pt x="3008140" y="1185587"/>
                  </a:lnTo>
                  <a:lnTo>
                    <a:pt x="3006121" y="1185917"/>
                  </a:lnTo>
                  <a:lnTo>
                    <a:pt x="3005221" y="1185138"/>
                  </a:lnTo>
                  <a:lnTo>
                    <a:pt x="3004573" y="1184196"/>
                  </a:lnTo>
                  <a:lnTo>
                    <a:pt x="3004217" y="1182914"/>
                  </a:lnTo>
                  <a:close/>
                  <a:moveTo>
                    <a:pt x="2721743" y="1078452"/>
                  </a:moveTo>
                  <a:lnTo>
                    <a:pt x="2723252" y="1079128"/>
                  </a:lnTo>
                  <a:lnTo>
                    <a:pt x="2728010" y="1086829"/>
                  </a:lnTo>
                  <a:lnTo>
                    <a:pt x="2728226" y="1088508"/>
                  </a:lnTo>
                  <a:lnTo>
                    <a:pt x="2727809" y="1090235"/>
                  </a:lnTo>
                  <a:lnTo>
                    <a:pt x="2726913" y="1092455"/>
                  </a:lnTo>
                  <a:lnTo>
                    <a:pt x="2726578" y="1094796"/>
                  </a:lnTo>
                  <a:lnTo>
                    <a:pt x="2727131" y="1096837"/>
                  </a:lnTo>
                  <a:lnTo>
                    <a:pt x="2726723" y="1097342"/>
                  </a:lnTo>
                  <a:lnTo>
                    <a:pt x="2730649" y="1106568"/>
                  </a:lnTo>
                  <a:lnTo>
                    <a:pt x="2733482" y="1112365"/>
                  </a:lnTo>
                  <a:lnTo>
                    <a:pt x="2734285" y="1114731"/>
                  </a:lnTo>
                  <a:lnTo>
                    <a:pt x="2734903" y="1117219"/>
                  </a:lnTo>
                  <a:lnTo>
                    <a:pt x="2735717" y="1122351"/>
                  </a:lnTo>
                  <a:lnTo>
                    <a:pt x="2735892" y="1130211"/>
                  </a:lnTo>
                  <a:lnTo>
                    <a:pt x="2735693" y="1132789"/>
                  </a:lnTo>
                  <a:lnTo>
                    <a:pt x="2735063" y="1135303"/>
                  </a:lnTo>
                  <a:lnTo>
                    <a:pt x="2734380" y="1136806"/>
                  </a:lnTo>
                  <a:lnTo>
                    <a:pt x="2732981" y="1137869"/>
                  </a:lnTo>
                  <a:lnTo>
                    <a:pt x="2732346" y="1140649"/>
                  </a:lnTo>
                  <a:lnTo>
                    <a:pt x="2731977" y="1148524"/>
                  </a:lnTo>
                  <a:lnTo>
                    <a:pt x="2732752" y="1152643"/>
                  </a:lnTo>
                  <a:lnTo>
                    <a:pt x="2734077" y="1155495"/>
                  </a:lnTo>
                  <a:lnTo>
                    <a:pt x="2735054" y="1158550"/>
                  </a:lnTo>
                  <a:lnTo>
                    <a:pt x="2735159" y="1161848"/>
                  </a:lnTo>
                  <a:lnTo>
                    <a:pt x="2735624" y="1163293"/>
                  </a:lnTo>
                  <a:lnTo>
                    <a:pt x="2737775" y="1165135"/>
                  </a:lnTo>
                  <a:lnTo>
                    <a:pt x="2738608" y="1166579"/>
                  </a:lnTo>
                  <a:lnTo>
                    <a:pt x="2738872" y="1168622"/>
                  </a:lnTo>
                  <a:lnTo>
                    <a:pt x="2738995" y="1171635"/>
                  </a:lnTo>
                  <a:lnTo>
                    <a:pt x="2739344" y="1172284"/>
                  </a:lnTo>
                  <a:lnTo>
                    <a:pt x="2740349" y="1173186"/>
                  </a:lnTo>
                  <a:lnTo>
                    <a:pt x="2744812" y="1194757"/>
                  </a:lnTo>
                  <a:lnTo>
                    <a:pt x="2746580" y="1201256"/>
                  </a:lnTo>
                  <a:lnTo>
                    <a:pt x="2751709" y="1212435"/>
                  </a:lnTo>
                  <a:lnTo>
                    <a:pt x="2753774" y="1219179"/>
                  </a:lnTo>
                  <a:lnTo>
                    <a:pt x="2755063" y="1222390"/>
                  </a:lnTo>
                  <a:lnTo>
                    <a:pt x="2755955" y="1225768"/>
                  </a:lnTo>
                  <a:lnTo>
                    <a:pt x="2756665" y="1229227"/>
                  </a:lnTo>
                  <a:lnTo>
                    <a:pt x="2758194" y="1232969"/>
                  </a:lnTo>
                  <a:lnTo>
                    <a:pt x="2760195" y="1236668"/>
                  </a:lnTo>
                  <a:lnTo>
                    <a:pt x="2764068" y="1239956"/>
                  </a:lnTo>
                  <a:lnTo>
                    <a:pt x="2765808" y="1241797"/>
                  </a:lnTo>
                  <a:lnTo>
                    <a:pt x="2766274" y="1243270"/>
                  </a:lnTo>
                  <a:lnTo>
                    <a:pt x="2766432" y="1248369"/>
                  </a:lnTo>
                  <a:lnTo>
                    <a:pt x="2765523" y="1247281"/>
                  </a:lnTo>
                  <a:lnTo>
                    <a:pt x="2764381" y="1243404"/>
                  </a:lnTo>
                  <a:lnTo>
                    <a:pt x="2762508" y="1241161"/>
                  </a:lnTo>
                  <a:lnTo>
                    <a:pt x="2759755" y="1238514"/>
                  </a:lnTo>
                  <a:lnTo>
                    <a:pt x="2756924" y="1236134"/>
                  </a:lnTo>
                  <a:lnTo>
                    <a:pt x="2753423" y="1232168"/>
                  </a:lnTo>
                  <a:lnTo>
                    <a:pt x="2751727" y="1231006"/>
                  </a:lnTo>
                  <a:lnTo>
                    <a:pt x="2749936" y="1230229"/>
                  </a:lnTo>
                  <a:lnTo>
                    <a:pt x="2746649" y="1229305"/>
                  </a:lnTo>
                  <a:lnTo>
                    <a:pt x="2744730" y="1229207"/>
                  </a:lnTo>
                  <a:lnTo>
                    <a:pt x="2736989" y="1229818"/>
                  </a:lnTo>
                  <a:lnTo>
                    <a:pt x="2733763" y="1230615"/>
                  </a:lnTo>
                  <a:lnTo>
                    <a:pt x="2730858" y="1232446"/>
                  </a:lnTo>
                  <a:lnTo>
                    <a:pt x="2729130" y="1235116"/>
                  </a:lnTo>
                  <a:lnTo>
                    <a:pt x="2727910" y="1240471"/>
                  </a:lnTo>
                  <a:lnTo>
                    <a:pt x="2720819" y="1259524"/>
                  </a:lnTo>
                  <a:lnTo>
                    <a:pt x="2719122" y="1264462"/>
                  </a:lnTo>
                  <a:lnTo>
                    <a:pt x="2718495" y="1269744"/>
                  </a:lnTo>
                  <a:lnTo>
                    <a:pt x="2718740" y="1273884"/>
                  </a:lnTo>
                  <a:lnTo>
                    <a:pt x="2719228" y="1275400"/>
                  </a:lnTo>
                  <a:lnTo>
                    <a:pt x="2721242" y="1279532"/>
                  </a:lnTo>
                  <a:lnTo>
                    <a:pt x="2722907" y="1281904"/>
                  </a:lnTo>
                  <a:lnTo>
                    <a:pt x="2724131" y="1282919"/>
                  </a:lnTo>
                  <a:lnTo>
                    <a:pt x="2725529" y="1283603"/>
                  </a:lnTo>
                  <a:lnTo>
                    <a:pt x="2726447" y="1284441"/>
                  </a:lnTo>
                  <a:lnTo>
                    <a:pt x="2727217" y="1285537"/>
                  </a:lnTo>
                  <a:lnTo>
                    <a:pt x="2728660" y="1288337"/>
                  </a:lnTo>
                  <a:lnTo>
                    <a:pt x="2730511" y="1294538"/>
                  </a:lnTo>
                  <a:lnTo>
                    <a:pt x="2732471" y="1298909"/>
                  </a:lnTo>
                  <a:lnTo>
                    <a:pt x="2733350" y="1300279"/>
                  </a:lnTo>
                  <a:lnTo>
                    <a:pt x="2735583" y="1299931"/>
                  </a:lnTo>
                  <a:lnTo>
                    <a:pt x="2737036" y="1299978"/>
                  </a:lnTo>
                  <a:lnTo>
                    <a:pt x="2738427" y="1300359"/>
                  </a:lnTo>
                  <a:lnTo>
                    <a:pt x="2739275" y="1301471"/>
                  </a:lnTo>
                  <a:lnTo>
                    <a:pt x="2740485" y="1306392"/>
                  </a:lnTo>
                  <a:lnTo>
                    <a:pt x="2741333" y="1311084"/>
                  </a:lnTo>
                  <a:lnTo>
                    <a:pt x="2741376" y="1312342"/>
                  </a:lnTo>
                  <a:lnTo>
                    <a:pt x="2739782" y="1315958"/>
                  </a:lnTo>
                  <a:lnTo>
                    <a:pt x="2739386" y="1317495"/>
                  </a:lnTo>
                  <a:lnTo>
                    <a:pt x="2739202" y="1319121"/>
                  </a:lnTo>
                  <a:lnTo>
                    <a:pt x="2738785" y="1320402"/>
                  </a:lnTo>
                  <a:lnTo>
                    <a:pt x="2738081" y="1321530"/>
                  </a:lnTo>
                  <a:lnTo>
                    <a:pt x="2737794" y="1316183"/>
                  </a:lnTo>
                  <a:lnTo>
                    <a:pt x="2736725" y="1312403"/>
                  </a:lnTo>
                  <a:lnTo>
                    <a:pt x="2736324" y="1309138"/>
                  </a:lnTo>
                  <a:lnTo>
                    <a:pt x="2734780" y="1306840"/>
                  </a:lnTo>
                  <a:lnTo>
                    <a:pt x="2729595" y="1305905"/>
                  </a:lnTo>
                  <a:lnTo>
                    <a:pt x="2724762" y="1305554"/>
                  </a:lnTo>
                  <a:lnTo>
                    <a:pt x="2724015" y="1305138"/>
                  </a:lnTo>
                  <a:lnTo>
                    <a:pt x="2722950" y="1303736"/>
                  </a:lnTo>
                  <a:lnTo>
                    <a:pt x="2721724" y="1302618"/>
                  </a:lnTo>
                  <a:lnTo>
                    <a:pt x="2720482" y="1302469"/>
                  </a:lnTo>
                  <a:lnTo>
                    <a:pt x="2719206" y="1302898"/>
                  </a:lnTo>
                  <a:lnTo>
                    <a:pt x="2717012" y="1304470"/>
                  </a:lnTo>
                  <a:lnTo>
                    <a:pt x="2715413" y="1306959"/>
                  </a:lnTo>
                  <a:lnTo>
                    <a:pt x="2714164" y="1309624"/>
                  </a:lnTo>
                  <a:lnTo>
                    <a:pt x="2713147" y="1312429"/>
                  </a:lnTo>
                  <a:lnTo>
                    <a:pt x="2711037" y="1319866"/>
                  </a:lnTo>
                  <a:lnTo>
                    <a:pt x="2709735" y="1322342"/>
                  </a:lnTo>
                  <a:lnTo>
                    <a:pt x="2708130" y="1324611"/>
                  </a:lnTo>
                  <a:lnTo>
                    <a:pt x="2706770" y="1323381"/>
                  </a:lnTo>
                  <a:lnTo>
                    <a:pt x="2705576" y="1321949"/>
                  </a:lnTo>
                  <a:lnTo>
                    <a:pt x="2704876" y="1319883"/>
                  </a:lnTo>
                  <a:lnTo>
                    <a:pt x="2704574" y="1317602"/>
                  </a:lnTo>
                  <a:lnTo>
                    <a:pt x="2702674" y="1309836"/>
                  </a:lnTo>
                  <a:lnTo>
                    <a:pt x="2703473" y="1303081"/>
                  </a:lnTo>
                  <a:lnTo>
                    <a:pt x="2706668" y="1293714"/>
                  </a:lnTo>
                  <a:lnTo>
                    <a:pt x="2707280" y="1290642"/>
                  </a:lnTo>
                  <a:lnTo>
                    <a:pt x="2706798" y="1287723"/>
                  </a:lnTo>
                  <a:lnTo>
                    <a:pt x="2706075" y="1284838"/>
                  </a:lnTo>
                  <a:lnTo>
                    <a:pt x="2705595" y="1279339"/>
                  </a:lnTo>
                  <a:lnTo>
                    <a:pt x="2705630" y="1278113"/>
                  </a:lnTo>
                  <a:lnTo>
                    <a:pt x="2706770" y="1274932"/>
                  </a:lnTo>
                  <a:lnTo>
                    <a:pt x="2708105" y="1271901"/>
                  </a:lnTo>
                  <a:lnTo>
                    <a:pt x="2709724" y="1269259"/>
                  </a:lnTo>
                  <a:lnTo>
                    <a:pt x="2710443" y="1266122"/>
                  </a:lnTo>
                  <a:lnTo>
                    <a:pt x="2709418" y="1258301"/>
                  </a:lnTo>
                  <a:lnTo>
                    <a:pt x="2707060" y="1253002"/>
                  </a:lnTo>
                  <a:lnTo>
                    <a:pt x="2704153" y="1247959"/>
                  </a:lnTo>
                  <a:lnTo>
                    <a:pt x="2703617" y="1246616"/>
                  </a:lnTo>
                  <a:lnTo>
                    <a:pt x="2703468" y="1245246"/>
                  </a:lnTo>
                  <a:lnTo>
                    <a:pt x="2705973" y="1238920"/>
                  </a:lnTo>
                  <a:lnTo>
                    <a:pt x="2706870" y="1235886"/>
                  </a:lnTo>
                  <a:lnTo>
                    <a:pt x="2707895" y="1229206"/>
                  </a:lnTo>
                  <a:lnTo>
                    <a:pt x="2708828" y="1225549"/>
                  </a:lnTo>
                  <a:lnTo>
                    <a:pt x="2709571" y="1221833"/>
                  </a:lnTo>
                  <a:lnTo>
                    <a:pt x="2709811" y="1203163"/>
                  </a:lnTo>
                  <a:lnTo>
                    <a:pt x="2709588" y="1200402"/>
                  </a:lnTo>
                  <a:lnTo>
                    <a:pt x="2707997" y="1194517"/>
                  </a:lnTo>
                  <a:lnTo>
                    <a:pt x="2707884" y="1191161"/>
                  </a:lnTo>
                  <a:lnTo>
                    <a:pt x="2708647" y="1186911"/>
                  </a:lnTo>
                  <a:lnTo>
                    <a:pt x="2709681" y="1183596"/>
                  </a:lnTo>
                  <a:lnTo>
                    <a:pt x="2711022" y="1180435"/>
                  </a:lnTo>
                  <a:lnTo>
                    <a:pt x="2710996" y="1173881"/>
                  </a:lnTo>
                  <a:lnTo>
                    <a:pt x="2708431" y="1167815"/>
                  </a:lnTo>
                  <a:lnTo>
                    <a:pt x="2706557" y="1165138"/>
                  </a:lnTo>
                  <a:lnTo>
                    <a:pt x="2703616" y="1161917"/>
                  </a:lnTo>
                  <a:lnTo>
                    <a:pt x="2701381" y="1160145"/>
                  </a:lnTo>
                  <a:lnTo>
                    <a:pt x="2700286" y="1158786"/>
                  </a:lnTo>
                  <a:lnTo>
                    <a:pt x="2701381" y="1158330"/>
                  </a:lnTo>
                  <a:lnTo>
                    <a:pt x="2702182" y="1157227"/>
                  </a:lnTo>
                  <a:lnTo>
                    <a:pt x="2700255" y="1155528"/>
                  </a:lnTo>
                  <a:lnTo>
                    <a:pt x="2699093" y="1152972"/>
                  </a:lnTo>
                  <a:lnTo>
                    <a:pt x="2698925" y="1142917"/>
                  </a:lnTo>
                  <a:lnTo>
                    <a:pt x="2699403" y="1140359"/>
                  </a:lnTo>
                  <a:lnTo>
                    <a:pt x="2700843" y="1137514"/>
                  </a:lnTo>
                  <a:lnTo>
                    <a:pt x="2702075" y="1134515"/>
                  </a:lnTo>
                  <a:lnTo>
                    <a:pt x="2703230" y="1127422"/>
                  </a:lnTo>
                  <a:lnTo>
                    <a:pt x="2703630" y="1120081"/>
                  </a:lnTo>
                  <a:lnTo>
                    <a:pt x="2702861" y="1117096"/>
                  </a:lnTo>
                  <a:lnTo>
                    <a:pt x="2702523" y="1111058"/>
                  </a:lnTo>
                  <a:lnTo>
                    <a:pt x="2703162" y="1109556"/>
                  </a:lnTo>
                  <a:lnTo>
                    <a:pt x="2705639" y="1107540"/>
                  </a:lnTo>
                  <a:lnTo>
                    <a:pt x="2709565" y="1106359"/>
                  </a:lnTo>
                  <a:lnTo>
                    <a:pt x="2710402" y="1106708"/>
                  </a:lnTo>
                  <a:lnTo>
                    <a:pt x="2713477" y="1109074"/>
                  </a:lnTo>
                  <a:lnTo>
                    <a:pt x="2714617" y="1109162"/>
                  </a:lnTo>
                  <a:lnTo>
                    <a:pt x="2715801" y="1108915"/>
                  </a:lnTo>
                  <a:lnTo>
                    <a:pt x="2718060" y="1107809"/>
                  </a:lnTo>
                  <a:lnTo>
                    <a:pt x="2719327" y="1105118"/>
                  </a:lnTo>
                  <a:lnTo>
                    <a:pt x="2717684" y="1103585"/>
                  </a:lnTo>
                  <a:lnTo>
                    <a:pt x="2718643" y="1101622"/>
                  </a:lnTo>
                  <a:lnTo>
                    <a:pt x="2721452" y="1100966"/>
                  </a:lnTo>
                  <a:lnTo>
                    <a:pt x="2721657" y="1099279"/>
                  </a:lnTo>
                  <a:lnTo>
                    <a:pt x="2720640" y="1099080"/>
                  </a:lnTo>
                  <a:lnTo>
                    <a:pt x="2721528" y="1096683"/>
                  </a:lnTo>
                  <a:lnTo>
                    <a:pt x="2722035" y="1094271"/>
                  </a:lnTo>
                  <a:lnTo>
                    <a:pt x="2721244" y="1092067"/>
                  </a:lnTo>
                  <a:lnTo>
                    <a:pt x="2716742" y="1086599"/>
                  </a:lnTo>
                  <a:lnTo>
                    <a:pt x="2713831" y="1082578"/>
                  </a:lnTo>
                  <a:lnTo>
                    <a:pt x="2718623" y="1082632"/>
                  </a:lnTo>
                  <a:lnTo>
                    <a:pt x="2720038" y="1081881"/>
                  </a:lnTo>
                  <a:lnTo>
                    <a:pt x="2721156" y="1080218"/>
                  </a:lnTo>
                  <a:close/>
                  <a:moveTo>
                    <a:pt x="3270542" y="1064968"/>
                  </a:moveTo>
                  <a:lnTo>
                    <a:pt x="3272329" y="1066783"/>
                  </a:lnTo>
                  <a:lnTo>
                    <a:pt x="3274941" y="1067628"/>
                  </a:lnTo>
                  <a:lnTo>
                    <a:pt x="3278744" y="1070069"/>
                  </a:lnTo>
                  <a:lnTo>
                    <a:pt x="3282204" y="1073907"/>
                  </a:lnTo>
                  <a:lnTo>
                    <a:pt x="3283138" y="1075503"/>
                  </a:lnTo>
                  <a:lnTo>
                    <a:pt x="3274205" y="1069849"/>
                  </a:lnTo>
                  <a:lnTo>
                    <a:pt x="3270020" y="1066868"/>
                  </a:lnTo>
                  <a:lnTo>
                    <a:pt x="3268990" y="1065001"/>
                  </a:lnTo>
                  <a:close/>
                  <a:moveTo>
                    <a:pt x="2599314" y="1057258"/>
                  </a:moveTo>
                  <a:lnTo>
                    <a:pt x="2599814" y="1057484"/>
                  </a:lnTo>
                  <a:lnTo>
                    <a:pt x="2597086" y="1062824"/>
                  </a:lnTo>
                  <a:lnTo>
                    <a:pt x="2595188" y="1062910"/>
                  </a:lnTo>
                  <a:lnTo>
                    <a:pt x="2593714" y="1061783"/>
                  </a:lnTo>
                  <a:lnTo>
                    <a:pt x="2590671" y="1062232"/>
                  </a:lnTo>
                  <a:lnTo>
                    <a:pt x="2589554" y="1061921"/>
                  </a:lnTo>
                  <a:lnTo>
                    <a:pt x="2591338" y="1060286"/>
                  </a:lnTo>
                  <a:lnTo>
                    <a:pt x="2595769" y="1057722"/>
                  </a:lnTo>
                  <a:lnTo>
                    <a:pt x="2597579" y="1057752"/>
                  </a:lnTo>
                  <a:close/>
                  <a:moveTo>
                    <a:pt x="2608631" y="1054510"/>
                  </a:moveTo>
                  <a:lnTo>
                    <a:pt x="2615996" y="1057188"/>
                  </a:lnTo>
                  <a:lnTo>
                    <a:pt x="2616661" y="1057725"/>
                  </a:lnTo>
                  <a:lnTo>
                    <a:pt x="2618667" y="1058934"/>
                  </a:lnTo>
                  <a:lnTo>
                    <a:pt x="2621781" y="1058727"/>
                  </a:lnTo>
                  <a:lnTo>
                    <a:pt x="2622535" y="1059543"/>
                  </a:lnTo>
                  <a:lnTo>
                    <a:pt x="2620110" y="1060853"/>
                  </a:lnTo>
                  <a:lnTo>
                    <a:pt x="2618343" y="1063619"/>
                  </a:lnTo>
                  <a:lnTo>
                    <a:pt x="2617782" y="1066079"/>
                  </a:lnTo>
                  <a:lnTo>
                    <a:pt x="2617080" y="1067051"/>
                  </a:lnTo>
                  <a:lnTo>
                    <a:pt x="2615104" y="1068260"/>
                  </a:lnTo>
                  <a:lnTo>
                    <a:pt x="2613338" y="1069872"/>
                  </a:lnTo>
                  <a:lnTo>
                    <a:pt x="2611817" y="1070903"/>
                  </a:lnTo>
                  <a:lnTo>
                    <a:pt x="2610483" y="1071207"/>
                  </a:lnTo>
                  <a:lnTo>
                    <a:pt x="2607486" y="1065922"/>
                  </a:lnTo>
                  <a:lnTo>
                    <a:pt x="2606095" y="1064463"/>
                  </a:lnTo>
                  <a:lnTo>
                    <a:pt x="2601969" y="1066947"/>
                  </a:lnTo>
                  <a:lnTo>
                    <a:pt x="2601014" y="1067003"/>
                  </a:lnTo>
                  <a:lnTo>
                    <a:pt x="2601949" y="1063922"/>
                  </a:lnTo>
                  <a:lnTo>
                    <a:pt x="2604364" y="1060553"/>
                  </a:lnTo>
                  <a:lnTo>
                    <a:pt x="2605495" y="1060082"/>
                  </a:lnTo>
                  <a:lnTo>
                    <a:pt x="2607886" y="1055555"/>
                  </a:lnTo>
                  <a:close/>
                  <a:moveTo>
                    <a:pt x="28644" y="1051745"/>
                  </a:moveTo>
                  <a:lnTo>
                    <a:pt x="29927" y="1051984"/>
                  </a:lnTo>
                  <a:lnTo>
                    <a:pt x="27750" y="1054922"/>
                  </a:lnTo>
                  <a:lnTo>
                    <a:pt x="21900" y="1061116"/>
                  </a:lnTo>
                  <a:lnTo>
                    <a:pt x="23733" y="1061937"/>
                  </a:lnTo>
                  <a:lnTo>
                    <a:pt x="25862" y="1062202"/>
                  </a:lnTo>
                  <a:lnTo>
                    <a:pt x="28372" y="1063355"/>
                  </a:lnTo>
                  <a:lnTo>
                    <a:pt x="30769" y="1063563"/>
                  </a:lnTo>
                  <a:lnTo>
                    <a:pt x="35036" y="1062565"/>
                  </a:lnTo>
                  <a:lnTo>
                    <a:pt x="35787" y="1057259"/>
                  </a:lnTo>
                  <a:lnTo>
                    <a:pt x="36072" y="1052441"/>
                  </a:lnTo>
                  <a:lnTo>
                    <a:pt x="37439" y="1052430"/>
                  </a:lnTo>
                  <a:lnTo>
                    <a:pt x="39467" y="1052089"/>
                  </a:lnTo>
                  <a:lnTo>
                    <a:pt x="40745" y="1053356"/>
                  </a:lnTo>
                  <a:lnTo>
                    <a:pt x="43125" y="1054562"/>
                  </a:lnTo>
                  <a:lnTo>
                    <a:pt x="45955" y="1055640"/>
                  </a:lnTo>
                  <a:lnTo>
                    <a:pt x="50184" y="1057476"/>
                  </a:lnTo>
                  <a:lnTo>
                    <a:pt x="54572" y="1058616"/>
                  </a:lnTo>
                  <a:lnTo>
                    <a:pt x="56020" y="1058748"/>
                  </a:lnTo>
                  <a:lnTo>
                    <a:pt x="60631" y="1058598"/>
                  </a:lnTo>
                  <a:lnTo>
                    <a:pt x="65515" y="1058756"/>
                  </a:lnTo>
                  <a:lnTo>
                    <a:pt x="66846" y="1061475"/>
                  </a:lnTo>
                  <a:lnTo>
                    <a:pt x="69257" y="1062760"/>
                  </a:lnTo>
                  <a:lnTo>
                    <a:pt x="71207" y="1064527"/>
                  </a:lnTo>
                  <a:lnTo>
                    <a:pt x="71352" y="1065534"/>
                  </a:lnTo>
                  <a:lnTo>
                    <a:pt x="68664" y="1071839"/>
                  </a:lnTo>
                  <a:lnTo>
                    <a:pt x="68107" y="1073970"/>
                  </a:lnTo>
                  <a:lnTo>
                    <a:pt x="68005" y="1076105"/>
                  </a:lnTo>
                  <a:lnTo>
                    <a:pt x="68988" y="1078772"/>
                  </a:lnTo>
                  <a:lnTo>
                    <a:pt x="69914" y="1080261"/>
                  </a:lnTo>
                  <a:lnTo>
                    <a:pt x="69154" y="1080465"/>
                  </a:lnTo>
                  <a:lnTo>
                    <a:pt x="56696" y="1080167"/>
                  </a:lnTo>
                  <a:lnTo>
                    <a:pt x="44883" y="1079661"/>
                  </a:lnTo>
                  <a:lnTo>
                    <a:pt x="33967" y="1079194"/>
                  </a:lnTo>
                  <a:lnTo>
                    <a:pt x="23446" y="1078741"/>
                  </a:lnTo>
                  <a:lnTo>
                    <a:pt x="13351" y="1078311"/>
                  </a:lnTo>
                  <a:lnTo>
                    <a:pt x="7074" y="1077907"/>
                  </a:lnTo>
                  <a:lnTo>
                    <a:pt x="881" y="1077508"/>
                  </a:lnTo>
                  <a:lnTo>
                    <a:pt x="0" y="1077139"/>
                  </a:lnTo>
                  <a:lnTo>
                    <a:pt x="3407" y="1074523"/>
                  </a:lnTo>
                  <a:lnTo>
                    <a:pt x="5627" y="1071802"/>
                  </a:lnTo>
                  <a:lnTo>
                    <a:pt x="7512" y="1068246"/>
                  </a:lnTo>
                  <a:lnTo>
                    <a:pt x="7713" y="1065780"/>
                  </a:lnTo>
                  <a:lnTo>
                    <a:pt x="8184" y="1062995"/>
                  </a:lnTo>
                  <a:lnTo>
                    <a:pt x="11127" y="1061911"/>
                  </a:lnTo>
                  <a:lnTo>
                    <a:pt x="17519" y="1062072"/>
                  </a:lnTo>
                  <a:lnTo>
                    <a:pt x="20252" y="1060732"/>
                  </a:lnTo>
                  <a:lnTo>
                    <a:pt x="23759" y="1057417"/>
                  </a:lnTo>
                  <a:lnTo>
                    <a:pt x="27448" y="1053430"/>
                  </a:lnTo>
                  <a:close/>
                  <a:moveTo>
                    <a:pt x="3235595" y="1049745"/>
                  </a:moveTo>
                  <a:lnTo>
                    <a:pt x="3241801" y="1050593"/>
                  </a:lnTo>
                  <a:lnTo>
                    <a:pt x="3243214" y="1050964"/>
                  </a:lnTo>
                  <a:lnTo>
                    <a:pt x="3242201" y="1053113"/>
                  </a:lnTo>
                  <a:lnTo>
                    <a:pt x="3242601" y="1055483"/>
                  </a:lnTo>
                  <a:lnTo>
                    <a:pt x="3246055" y="1060401"/>
                  </a:lnTo>
                  <a:lnTo>
                    <a:pt x="3247718" y="1062113"/>
                  </a:lnTo>
                  <a:lnTo>
                    <a:pt x="3249882" y="1063409"/>
                  </a:lnTo>
                  <a:lnTo>
                    <a:pt x="3251495" y="1065516"/>
                  </a:lnTo>
                  <a:lnTo>
                    <a:pt x="3251380" y="1069958"/>
                  </a:lnTo>
                  <a:lnTo>
                    <a:pt x="3248642" y="1067706"/>
                  </a:lnTo>
                  <a:lnTo>
                    <a:pt x="3247368" y="1065890"/>
                  </a:lnTo>
                  <a:lnTo>
                    <a:pt x="3245556" y="1065546"/>
                  </a:lnTo>
                  <a:lnTo>
                    <a:pt x="3244297" y="1064734"/>
                  </a:lnTo>
                  <a:lnTo>
                    <a:pt x="3242199" y="1062525"/>
                  </a:lnTo>
                  <a:lnTo>
                    <a:pt x="3239763" y="1059640"/>
                  </a:lnTo>
                  <a:lnTo>
                    <a:pt x="3238936" y="1058219"/>
                  </a:lnTo>
                  <a:lnTo>
                    <a:pt x="3238581" y="1056399"/>
                  </a:lnTo>
                  <a:lnTo>
                    <a:pt x="3236937" y="1054711"/>
                  </a:lnTo>
                  <a:lnTo>
                    <a:pt x="3231611" y="1051502"/>
                  </a:lnTo>
                  <a:lnTo>
                    <a:pt x="3233367" y="1051119"/>
                  </a:lnTo>
                  <a:close/>
                  <a:moveTo>
                    <a:pt x="2898053" y="928889"/>
                  </a:moveTo>
                  <a:lnTo>
                    <a:pt x="2899080" y="930119"/>
                  </a:lnTo>
                  <a:lnTo>
                    <a:pt x="2899414" y="931007"/>
                  </a:lnTo>
                  <a:lnTo>
                    <a:pt x="2896367" y="933497"/>
                  </a:lnTo>
                  <a:lnTo>
                    <a:pt x="2894624" y="933866"/>
                  </a:lnTo>
                  <a:lnTo>
                    <a:pt x="2893754" y="932976"/>
                  </a:lnTo>
                  <a:lnTo>
                    <a:pt x="2893719" y="932348"/>
                  </a:lnTo>
                  <a:lnTo>
                    <a:pt x="2896422" y="930941"/>
                  </a:lnTo>
                  <a:close/>
                  <a:moveTo>
                    <a:pt x="3204332" y="926715"/>
                  </a:moveTo>
                  <a:lnTo>
                    <a:pt x="3205554" y="926899"/>
                  </a:lnTo>
                  <a:lnTo>
                    <a:pt x="3206807" y="930453"/>
                  </a:lnTo>
                  <a:lnTo>
                    <a:pt x="3207521" y="935059"/>
                  </a:lnTo>
                  <a:lnTo>
                    <a:pt x="3206506" y="937828"/>
                  </a:lnTo>
                  <a:lnTo>
                    <a:pt x="3199056" y="939371"/>
                  </a:lnTo>
                  <a:lnTo>
                    <a:pt x="3192008" y="942431"/>
                  </a:lnTo>
                  <a:lnTo>
                    <a:pt x="3184823" y="946977"/>
                  </a:lnTo>
                  <a:lnTo>
                    <a:pt x="3181202" y="950016"/>
                  </a:lnTo>
                  <a:lnTo>
                    <a:pt x="3180669" y="949522"/>
                  </a:lnTo>
                  <a:lnTo>
                    <a:pt x="3180328" y="948828"/>
                  </a:lnTo>
                  <a:lnTo>
                    <a:pt x="3180226" y="947767"/>
                  </a:lnTo>
                  <a:lnTo>
                    <a:pt x="3183532" y="945764"/>
                  </a:lnTo>
                  <a:lnTo>
                    <a:pt x="3186845" y="940654"/>
                  </a:lnTo>
                  <a:lnTo>
                    <a:pt x="3188126" y="936393"/>
                  </a:lnTo>
                  <a:lnTo>
                    <a:pt x="3187730" y="935007"/>
                  </a:lnTo>
                  <a:lnTo>
                    <a:pt x="3187605" y="933618"/>
                  </a:lnTo>
                  <a:lnTo>
                    <a:pt x="3197361" y="930975"/>
                  </a:lnTo>
                  <a:close/>
                  <a:moveTo>
                    <a:pt x="356551" y="722070"/>
                  </a:moveTo>
                  <a:lnTo>
                    <a:pt x="358475" y="722628"/>
                  </a:lnTo>
                  <a:lnTo>
                    <a:pt x="359190" y="724047"/>
                  </a:lnTo>
                  <a:lnTo>
                    <a:pt x="359410" y="726377"/>
                  </a:lnTo>
                  <a:lnTo>
                    <a:pt x="358723" y="727868"/>
                  </a:lnTo>
                  <a:lnTo>
                    <a:pt x="359054" y="729125"/>
                  </a:lnTo>
                  <a:lnTo>
                    <a:pt x="357648" y="730016"/>
                  </a:lnTo>
                  <a:lnTo>
                    <a:pt x="355467" y="727108"/>
                  </a:lnTo>
                  <a:lnTo>
                    <a:pt x="354169" y="727066"/>
                  </a:lnTo>
                  <a:lnTo>
                    <a:pt x="352780" y="725813"/>
                  </a:lnTo>
                  <a:lnTo>
                    <a:pt x="352124" y="723745"/>
                  </a:lnTo>
                  <a:lnTo>
                    <a:pt x="353381" y="723168"/>
                  </a:lnTo>
                  <a:lnTo>
                    <a:pt x="353889" y="723527"/>
                  </a:lnTo>
                  <a:close/>
                  <a:moveTo>
                    <a:pt x="1103357" y="665275"/>
                  </a:moveTo>
                  <a:lnTo>
                    <a:pt x="1105871" y="665722"/>
                  </a:lnTo>
                  <a:lnTo>
                    <a:pt x="1109939" y="665816"/>
                  </a:lnTo>
                  <a:lnTo>
                    <a:pt x="1112530" y="666736"/>
                  </a:lnTo>
                  <a:lnTo>
                    <a:pt x="1116048" y="667320"/>
                  </a:lnTo>
                  <a:lnTo>
                    <a:pt x="1115627" y="669864"/>
                  </a:lnTo>
                  <a:lnTo>
                    <a:pt x="1115618" y="670890"/>
                  </a:lnTo>
                  <a:lnTo>
                    <a:pt x="1116787" y="672013"/>
                  </a:lnTo>
                  <a:lnTo>
                    <a:pt x="1115661" y="673916"/>
                  </a:lnTo>
                  <a:lnTo>
                    <a:pt x="1114811" y="674484"/>
                  </a:lnTo>
                  <a:lnTo>
                    <a:pt x="1110919" y="674943"/>
                  </a:lnTo>
                  <a:lnTo>
                    <a:pt x="1106644" y="672152"/>
                  </a:lnTo>
                  <a:lnTo>
                    <a:pt x="1102619" y="666577"/>
                  </a:lnTo>
                  <a:close/>
                  <a:moveTo>
                    <a:pt x="507319" y="663626"/>
                  </a:moveTo>
                  <a:lnTo>
                    <a:pt x="509176" y="664119"/>
                  </a:lnTo>
                  <a:lnTo>
                    <a:pt x="510487" y="665860"/>
                  </a:lnTo>
                  <a:lnTo>
                    <a:pt x="510994" y="667105"/>
                  </a:lnTo>
                  <a:lnTo>
                    <a:pt x="510152" y="667609"/>
                  </a:lnTo>
                  <a:lnTo>
                    <a:pt x="505769" y="665869"/>
                  </a:lnTo>
                  <a:lnTo>
                    <a:pt x="505387" y="664559"/>
                  </a:lnTo>
                  <a:lnTo>
                    <a:pt x="505574" y="663996"/>
                  </a:lnTo>
                  <a:close/>
                  <a:moveTo>
                    <a:pt x="654978" y="560128"/>
                  </a:moveTo>
                  <a:lnTo>
                    <a:pt x="672028" y="568012"/>
                  </a:lnTo>
                  <a:lnTo>
                    <a:pt x="675810" y="570052"/>
                  </a:lnTo>
                  <a:lnTo>
                    <a:pt x="677975" y="572834"/>
                  </a:lnTo>
                  <a:lnTo>
                    <a:pt x="678368" y="576592"/>
                  </a:lnTo>
                  <a:lnTo>
                    <a:pt x="676989" y="578147"/>
                  </a:lnTo>
                  <a:lnTo>
                    <a:pt x="675747" y="578583"/>
                  </a:lnTo>
                  <a:lnTo>
                    <a:pt x="675227" y="576232"/>
                  </a:lnTo>
                  <a:lnTo>
                    <a:pt x="674188" y="575169"/>
                  </a:lnTo>
                  <a:lnTo>
                    <a:pt x="670359" y="577973"/>
                  </a:lnTo>
                  <a:lnTo>
                    <a:pt x="668569" y="581054"/>
                  </a:lnTo>
                  <a:lnTo>
                    <a:pt x="663847" y="585466"/>
                  </a:lnTo>
                  <a:lnTo>
                    <a:pt x="653989" y="588604"/>
                  </a:lnTo>
                  <a:lnTo>
                    <a:pt x="648016" y="589968"/>
                  </a:lnTo>
                  <a:lnTo>
                    <a:pt x="642635" y="590350"/>
                  </a:lnTo>
                  <a:lnTo>
                    <a:pt x="637595" y="587583"/>
                  </a:lnTo>
                  <a:lnTo>
                    <a:pt x="634872" y="582270"/>
                  </a:lnTo>
                  <a:lnTo>
                    <a:pt x="634397" y="580649"/>
                  </a:lnTo>
                  <a:lnTo>
                    <a:pt x="634051" y="578475"/>
                  </a:lnTo>
                  <a:lnTo>
                    <a:pt x="634084" y="576291"/>
                  </a:lnTo>
                  <a:lnTo>
                    <a:pt x="634438" y="572901"/>
                  </a:lnTo>
                  <a:lnTo>
                    <a:pt x="634961" y="569578"/>
                  </a:lnTo>
                  <a:lnTo>
                    <a:pt x="637038" y="566599"/>
                  </a:lnTo>
                  <a:lnTo>
                    <a:pt x="641847" y="563070"/>
                  </a:lnTo>
                  <a:lnTo>
                    <a:pt x="646569" y="560774"/>
                  </a:lnTo>
                  <a:lnTo>
                    <a:pt x="648966" y="560205"/>
                  </a:lnTo>
                  <a:close/>
                  <a:moveTo>
                    <a:pt x="1052795" y="557615"/>
                  </a:moveTo>
                  <a:lnTo>
                    <a:pt x="1055289" y="557743"/>
                  </a:lnTo>
                  <a:lnTo>
                    <a:pt x="1055643" y="559400"/>
                  </a:lnTo>
                  <a:lnTo>
                    <a:pt x="1053853" y="562816"/>
                  </a:lnTo>
                  <a:lnTo>
                    <a:pt x="1050180" y="562635"/>
                  </a:lnTo>
                  <a:lnTo>
                    <a:pt x="1049062" y="561858"/>
                  </a:lnTo>
                  <a:lnTo>
                    <a:pt x="1048589" y="561225"/>
                  </a:lnTo>
                  <a:close/>
                  <a:moveTo>
                    <a:pt x="3137726" y="555102"/>
                  </a:moveTo>
                  <a:lnTo>
                    <a:pt x="3138069" y="555315"/>
                  </a:lnTo>
                  <a:lnTo>
                    <a:pt x="3140215" y="556947"/>
                  </a:lnTo>
                  <a:lnTo>
                    <a:pt x="3140027" y="560532"/>
                  </a:lnTo>
                  <a:lnTo>
                    <a:pt x="3138502" y="563051"/>
                  </a:lnTo>
                  <a:lnTo>
                    <a:pt x="3134834" y="563944"/>
                  </a:lnTo>
                  <a:lnTo>
                    <a:pt x="3134313" y="565675"/>
                  </a:lnTo>
                  <a:lnTo>
                    <a:pt x="3134795" y="568660"/>
                  </a:lnTo>
                  <a:lnTo>
                    <a:pt x="3134903" y="572490"/>
                  </a:lnTo>
                  <a:lnTo>
                    <a:pt x="3135272" y="575910"/>
                  </a:lnTo>
                  <a:lnTo>
                    <a:pt x="3137494" y="579418"/>
                  </a:lnTo>
                  <a:lnTo>
                    <a:pt x="3137987" y="581217"/>
                  </a:lnTo>
                  <a:lnTo>
                    <a:pt x="3137760" y="582842"/>
                  </a:lnTo>
                  <a:lnTo>
                    <a:pt x="3136883" y="583871"/>
                  </a:lnTo>
                  <a:lnTo>
                    <a:pt x="3135896" y="583922"/>
                  </a:lnTo>
                  <a:lnTo>
                    <a:pt x="3136643" y="581355"/>
                  </a:lnTo>
                  <a:lnTo>
                    <a:pt x="3136751" y="580209"/>
                  </a:lnTo>
                  <a:lnTo>
                    <a:pt x="3134605" y="578316"/>
                  </a:lnTo>
                  <a:lnTo>
                    <a:pt x="3130590" y="576875"/>
                  </a:lnTo>
                  <a:lnTo>
                    <a:pt x="3129573" y="575762"/>
                  </a:lnTo>
                  <a:lnTo>
                    <a:pt x="3129330" y="572390"/>
                  </a:lnTo>
                  <a:lnTo>
                    <a:pt x="3130193" y="567070"/>
                  </a:lnTo>
                  <a:lnTo>
                    <a:pt x="3128386" y="564257"/>
                  </a:lnTo>
                  <a:lnTo>
                    <a:pt x="3129004" y="561749"/>
                  </a:lnTo>
                  <a:lnTo>
                    <a:pt x="3133704" y="558966"/>
                  </a:lnTo>
                  <a:lnTo>
                    <a:pt x="3135616" y="556819"/>
                  </a:lnTo>
                  <a:close/>
                  <a:moveTo>
                    <a:pt x="3289254" y="540278"/>
                  </a:moveTo>
                  <a:lnTo>
                    <a:pt x="3311739" y="545534"/>
                  </a:lnTo>
                  <a:lnTo>
                    <a:pt x="3312754" y="546581"/>
                  </a:lnTo>
                  <a:lnTo>
                    <a:pt x="3313040" y="547523"/>
                  </a:lnTo>
                  <a:lnTo>
                    <a:pt x="3312699" y="549609"/>
                  </a:lnTo>
                  <a:lnTo>
                    <a:pt x="3310803" y="549988"/>
                  </a:lnTo>
                  <a:lnTo>
                    <a:pt x="3310066" y="551358"/>
                  </a:lnTo>
                  <a:lnTo>
                    <a:pt x="3309276" y="555524"/>
                  </a:lnTo>
                  <a:lnTo>
                    <a:pt x="3308887" y="556606"/>
                  </a:lnTo>
                  <a:lnTo>
                    <a:pt x="3307891" y="557416"/>
                  </a:lnTo>
                  <a:lnTo>
                    <a:pt x="3301588" y="557770"/>
                  </a:lnTo>
                  <a:lnTo>
                    <a:pt x="3289036" y="554125"/>
                  </a:lnTo>
                  <a:lnTo>
                    <a:pt x="3284531" y="552200"/>
                  </a:lnTo>
                  <a:lnTo>
                    <a:pt x="3281177" y="549742"/>
                  </a:lnTo>
                  <a:lnTo>
                    <a:pt x="3277388" y="548017"/>
                  </a:lnTo>
                  <a:lnTo>
                    <a:pt x="3276671" y="547338"/>
                  </a:lnTo>
                  <a:lnTo>
                    <a:pt x="3277226" y="545911"/>
                  </a:lnTo>
                  <a:lnTo>
                    <a:pt x="3278349" y="544806"/>
                  </a:lnTo>
                  <a:lnTo>
                    <a:pt x="3282657" y="541890"/>
                  </a:lnTo>
                  <a:lnTo>
                    <a:pt x="3285680" y="540566"/>
                  </a:lnTo>
                  <a:close/>
                  <a:moveTo>
                    <a:pt x="871236" y="522414"/>
                  </a:moveTo>
                  <a:lnTo>
                    <a:pt x="872182" y="522601"/>
                  </a:lnTo>
                  <a:lnTo>
                    <a:pt x="873072" y="523535"/>
                  </a:lnTo>
                  <a:lnTo>
                    <a:pt x="877971" y="526543"/>
                  </a:lnTo>
                  <a:lnTo>
                    <a:pt x="880539" y="528563"/>
                  </a:lnTo>
                  <a:lnTo>
                    <a:pt x="882819" y="531027"/>
                  </a:lnTo>
                  <a:lnTo>
                    <a:pt x="885190" y="533091"/>
                  </a:lnTo>
                  <a:lnTo>
                    <a:pt x="892256" y="536609"/>
                  </a:lnTo>
                  <a:lnTo>
                    <a:pt x="897041" y="539994"/>
                  </a:lnTo>
                  <a:lnTo>
                    <a:pt x="901912" y="542384"/>
                  </a:lnTo>
                  <a:lnTo>
                    <a:pt x="903193" y="543472"/>
                  </a:lnTo>
                  <a:lnTo>
                    <a:pt x="903860" y="545420"/>
                  </a:lnTo>
                  <a:lnTo>
                    <a:pt x="903784" y="549038"/>
                  </a:lnTo>
                  <a:lnTo>
                    <a:pt x="902966" y="551705"/>
                  </a:lnTo>
                  <a:lnTo>
                    <a:pt x="900466" y="552123"/>
                  </a:lnTo>
                  <a:lnTo>
                    <a:pt x="898006" y="553208"/>
                  </a:lnTo>
                  <a:lnTo>
                    <a:pt x="893811" y="552054"/>
                  </a:lnTo>
                  <a:lnTo>
                    <a:pt x="891452" y="552843"/>
                  </a:lnTo>
                  <a:lnTo>
                    <a:pt x="889092" y="552895"/>
                  </a:lnTo>
                  <a:lnTo>
                    <a:pt x="887142" y="552480"/>
                  </a:lnTo>
                  <a:lnTo>
                    <a:pt x="885205" y="551897"/>
                  </a:lnTo>
                  <a:lnTo>
                    <a:pt x="883905" y="551206"/>
                  </a:lnTo>
                  <a:lnTo>
                    <a:pt x="883972" y="549150"/>
                  </a:lnTo>
                  <a:lnTo>
                    <a:pt x="882234" y="546181"/>
                  </a:lnTo>
                  <a:lnTo>
                    <a:pt x="879556" y="545226"/>
                  </a:lnTo>
                  <a:lnTo>
                    <a:pt x="877053" y="544910"/>
                  </a:lnTo>
                  <a:lnTo>
                    <a:pt x="874309" y="543983"/>
                  </a:lnTo>
                  <a:lnTo>
                    <a:pt x="872944" y="544422"/>
                  </a:lnTo>
                  <a:lnTo>
                    <a:pt x="871208" y="545507"/>
                  </a:lnTo>
                  <a:lnTo>
                    <a:pt x="870074" y="545133"/>
                  </a:lnTo>
                  <a:lnTo>
                    <a:pt x="864045" y="538879"/>
                  </a:lnTo>
                  <a:lnTo>
                    <a:pt x="863030" y="537414"/>
                  </a:lnTo>
                  <a:lnTo>
                    <a:pt x="862398" y="535782"/>
                  </a:lnTo>
                  <a:lnTo>
                    <a:pt x="861568" y="534733"/>
                  </a:lnTo>
                  <a:lnTo>
                    <a:pt x="859467" y="530317"/>
                  </a:lnTo>
                  <a:lnTo>
                    <a:pt x="860504" y="528269"/>
                  </a:lnTo>
                  <a:lnTo>
                    <a:pt x="862614" y="526974"/>
                  </a:lnTo>
                  <a:lnTo>
                    <a:pt x="864000" y="526626"/>
                  </a:lnTo>
                  <a:lnTo>
                    <a:pt x="866570" y="523700"/>
                  </a:lnTo>
                  <a:close/>
                  <a:moveTo>
                    <a:pt x="1035639" y="510097"/>
                  </a:moveTo>
                  <a:lnTo>
                    <a:pt x="1036140" y="510231"/>
                  </a:lnTo>
                  <a:lnTo>
                    <a:pt x="1036026" y="513064"/>
                  </a:lnTo>
                  <a:lnTo>
                    <a:pt x="1038308" y="519355"/>
                  </a:lnTo>
                  <a:lnTo>
                    <a:pt x="1038476" y="520965"/>
                  </a:lnTo>
                  <a:lnTo>
                    <a:pt x="1037310" y="520428"/>
                  </a:lnTo>
                  <a:lnTo>
                    <a:pt x="1035824" y="518583"/>
                  </a:lnTo>
                  <a:lnTo>
                    <a:pt x="1034917" y="516392"/>
                  </a:lnTo>
                  <a:lnTo>
                    <a:pt x="1034635" y="511920"/>
                  </a:lnTo>
                  <a:lnTo>
                    <a:pt x="1035151" y="510721"/>
                  </a:lnTo>
                  <a:close/>
                  <a:moveTo>
                    <a:pt x="3114361" y="503601"/>
                  </a:moveTo>
                  <a:lnTo>
                    <a:pt x="3116954" y="504014"/>
                  </a:lnTo>
                  <a:lnTo>
                    <a:pt x="3118703" y="505636"/>
                  </a:lnTo>
                  <a:lnTo>
                    <a:pt x="3120341" y="508085"/>
                  </a:lnTo>
                  <a:lnTo>
                    <a:pt x="3118845" y="508762"/>
                  </a:lnTo>
                  <a:lnTo>
                    <a:pt x="3115604" y="508205"/>
                  </a:lnTo>
                  <a:lnTo>
                    <a:pt x="3114104" y="506945"/>
                  </a:lnTo>
                  <a:lnTo>
                    <a:pt x="3114181" y="504060"/>
                  </a:lnTo>
                  <a:close/>
                  <a:moveTo>
                    <a:pt x="732526" y="484565"/>
                  </a:moveTo>
                  <a:lnTo>
                    <a:pt x="733510" y="484724"/>
                  </a:lnTo>
                  <a:lnTo>
                    <a:pt x="736309" y="486142"/>
                  </a:lnTo>
                  <a:lnTo>
                    <a:pt x="738317" y="489140"/>
                  </a:lnTo>
                  <a:lnTo>
                    <a:pt x="740084" y="491306"/>
                  </a:lnTo>
                  <a:lnTo>
                    <a:pt x="741574" y="491145"/>
                  </a:lnTo>
                  <a:lnTo>
                    <a:pt x="742705" y="492225"/>
                  </a:lnTo>
                  <a:lnTo>
                    <a:pt x="742984" y="494478"/>
                  </a:lnTo>
                  <a:lnTo>
                    <a:pt x="740027" y="498310"/>
                  </a:lnTo>
                  <a:lnTo>
                    <a:pt x="739511" y="499688"/>
                  </a:lnTo>
                  <a:lnTo>
                    <a:pt x="740785" y="500968"/>
                  </a:lnTo>
                  <a:lnTo>
                    <a:pt x="741122" y="501664"/>
                  </a:lnTo>
                  <a:lnTo>
                    <a:pt x="738948" y="502202"/>
                  </a:lnTo>
                  <a:lnTo>
                    <a:pt x="738546" y="500469"/>
                  </a:lnTo>
                  <a:lnTo>
                    <a:pt x="737333" y="498772"/>
                  </a:lnTo>
                  <a:lnTo>
                    <a:pt x="734806" y="497469"/>
                  </a:lnTo>
                  <a:lnTo>
                    <a:pt x="733780" y="496291"/>
                  </a:lnTo>
                  <a:lnTo>
                    <a:pt x="732662" y="493629"/>
                  </a:lnTo>
                  <a:lnTo>
                    <a:pt x="728421" y="490798"/>
                  </a:lnTo>
                  <a:lnTo>
                    <a:pt x="725743" y="491252"/>
                  </a:lnTo>
                  <a:lnTo>
                    <a:pt x="722735" y="489989"/>
                  </a:lnTo>
                  <a:lnTo>
                    <a:pt x="721854" y="489398"/>
                  </a:lnTo>
                  <a:lnTo>
                    <a:pt x="721638" y="487767"/>
                  </a:lnTo>
                  <a:lnTo>
                    <a:pt x="722893" y="486474"/>
                  </a:lnTo>
                  <a:lnTo>
                    <a:pt x="727669" y="485325"/>
                  </a:lnTo>
                  <a:lnTo>
                    <a:pt x="729986" y="485394"/>
                  </a:lnTo>
                  <a:lnTo>
                    <a:pt x="732470" y="486543"/>
                  </a:lnTo>
                  <a:lnTo>
                    <a:pt x="732262" y="485132"/>
                  </a:lnTo>
                  <a:close/>
                  <a:moveTo>
                    <a:pt x="2613925" y="477048"/>
                  </a:moveTo>
                  <a:lnTo>
                    <a:pt x="2614828" y="477245"/>
                  </a:lnTo>
                  <a:lnTo>
                    <a:pt x="2616512" y="478892"/>
                  </a:lnTo>
                  <a:lnTo>
                    <a:pt x="2617088" y="480326"/>
                  </a:lnTo>
                  <a:lnTo>
                    <a:pt x="2611604" y="483770"/>
                  </a:lnTo>
                  <a:lnTo>
                    <a:pt x="2609417" y="483333"/>
                  </a:lnTo>
                  <a:lnTo>
                    <a:pt x="2607181" y="481675"/>
                  </a:lnTo>
                  <a:lnTo>
                    <a:pt x="2605987" y="481312"/>
                  </a:lnTo>
                  <a:lnTo>
                    <a:pt x="2604781" y="481565"/>
                  </a:lnTo>
                  <a:lnTo>
                    <a:pt x="2603476" y="482248"/>
                  </a:lnTo>
                  <a:lnTo>
                    <a:pt x="2601736" y="482438"/>
                  </a:lnTo>
                  <a:lnTo>
                    <a:pt x="2597604" y="480549"/>
                  </a:lnTo>
                  <a:lnTo>
                    <a:pt x="2597280" y="479418"/>
                  </a:lnTo>
                  <a:lnTo>
                    <a:pt x="2597673" y="478894"/>
                  </a:lnTo>
                  <a:lnTo>
                    <a:pt x="2598727" y="478345"/>
                  </a:lnTo>
                  <a:lnTo>
                    <a:pt x="2599582" y="478305"/>
                  </a:lnTo>
                  <a:lnTo>
                    <a:pt x="2602096" y="477373"/>
                  </a:lnTo>
                  <a:close/>
                  <a:moveTo>
                    <a:pt x="3566330" y="476708"/>
                  </a:moveTo>
                  <a:lnTo>
                    <a:pt x="3568929" y="476830"/>
                  </a:lnTo>
                  <a:lnTo>
                    <a:pt x="3571529" y="477491"/>
                  </a:lnTo>
                  <a:lnTo>
                    <a:pt x="3581202" y="478958"/>
                  </a:lnTo>
                  <a:lnTo>
                    <a:pt x="3583091" y="479447"/>
                  </a:lnTo>
                  <a:lnTo>
                    <a:pt x="3586162" y="481388"/>
                  </a:lnTo>
                  <a:lnTo>
                    <a:pt x="3587948" y="482047"/>
                  </a:lnTo>
                  <a:lnTo>
                    <a:pt x="3589657" y="483184"/>
                  </a:lnTo>
                  <a:lnTo>
                    <a:pt x="3591466" y="485102"/>
                  </a:lnTo>
                  <a:lnTo>
                    <a:pt x="3594956" y="487159"/>
                  </a:lnTo>
                  <a:lnTo>
                    <a:pt x="3600104" y="489529"/>
                  </a:lnTo>
                  <a:lnTo>
                    <a:pt x="3601254" y="490285"/>
                  </a:lnTo>
                  <a:lnTo>
                    <a:pt x="3601999" y="492069"/>
                  </a:lnTo>
                  <a:lnTo>
                    <a:pt x="3601444" y="494187"/>
                  </a:lnTo>
                  <a:lnTo>
                    <a:pt x="3594850" y="498208"/>
                  </a:lnTo>
                  <a:lnTo>
                    <a:pt x="3589523" y="499244"/>
                  </a:lnTo>
                  <a:lnTo>
                    <a:pt x="3579234" y="500341"/>
                  </a:lnTo>
                  <a:lnTo>
                    <a:pt x="3565328" y="503367"/>
                  </a:lnTo>
                  <a:lnTo>
                    <a:pt x="3559605" y="504207"/>
                  </a:lnTo>
                  <a:lnTo>
                    <a:pt x="3557593" y="504028"/>
                  </a:lnTo>
                  <a:lnTo>
                    <a:pt x="3552566" y="502082"/>
                  </a:lnTo>
                  <a:lnTo>
                    <a:pt x="3546685" y="501221"/>
                  </a:lnTo>
                  <a:lnTo>
                    <a:pt x="3544061" y="501920"/>
                  </a:lnTo>
                  <a:lnTo>
                    <a:pt x="3538894" y="505016"/>
                  </a:lnTo>
                  <a:lnTo>
                    <a:pt x="3527946" y="505768"/>
                  </a:lnTo>
                  <a:lnTo>
                    <a:pt x="3521511" y="507936"/>
                  </a:lnTo>
                  <a:lnTo>
                    <a:pt x="3519986" y="508111"/>
                  </a:lnTo>
                  <a:lnTo>
                    <a:pt x="3516795" y="500915"/>
                  </a:lnTo>
                  <a:lnTo>
                    <a:pt x="3516354" y="499025"/>
                  </a:lnTo>
                  <a:lnTo>
                    <a:pt x="3517583" y="496667"/>
                  </a:lnTo>
                  <a:lnTo>
                    <a:pt x="3520792" y="493742"/>
                  </a:lnTo>
                  <a:lnTo>
                    <a:pt x="3522165" y="491583"/>
                  </a:lnTo>
                  <a:lnTo>
                    <a:pt x="3529771" y="487789"/>
                  </a:lnTo>
                  <a:lnTo>
                    <a:pt x="3536683" y="482774"/>
                  </a:lnTo>
                  <a:lnTo>
                    <a:pt x="3540403" y="482017"/>
                  </a:lnTo>
                  <a:lnTo>
                    <a:pt x="3544174" y="479686"/>
                  </a:lnTo>
                  <a:lnTo>
                    <a:pt x="3546685" y="479098"/>
                  </a:lnTo>
                  <a:lnTo>
                    <a:pt x="3550115" y="478557"/>
                  </a:lnTo>
                  <a:lnTo>
                    <a:pt x="3553517" y="477453"/>
                  </a:lnTo>
                  <a:lnTo>
                    <a:pt x="3556716" y="477271"/>
                  </a:lnTo>
                  <a:lnTo>
                    <a:pt x="3559907" y="477916"/>
                  </a:lnTo>
                  <a:lnTo>
                    <a:pt x="3563125" y="477711"/>
                  </a:lnTo>
                  <a:close/>
                  <a:moveTo>
                    <a:pt x="1285689" y="433887"/>
                  </a:moveTo>
                  <a:lnTo>
                    <a:pt x="1297421" y="437147"/>
                  </a:lnTo>
                  <a:lnTo>
                    <a:pt x="1299054" y="439190"/>
                  </a:lnTo>
                  <a:lnTo>
                    <a:pt x="1299323" y="440103"/>
                  </a:lnTo>
                  <a:lnTo>
                    <a:pt x="1294666" y="442830"/>
                  </a:lnTo>
                  <a:lnTo>
                    <a:pt x="1291409" y="443851"/>
                  </a:lnTo>
                  <a:lnTo>
                    <a:pt x="1286404" y="447341"/>
                  </a:lnTo>
                  <a:lnTo>
                    <a:pt x="1283124" y="448059"/>
                  </a:lnTo>
                  <a:lnTo>
                    <a:pt x="1272357" y="448449"/>
                  </a:lnTo>
                  <a:lnTo>
                    <a:pt x="1267058" y="447794"/>
                  </a:lnTo>
                  <a:lnTo>
                    <a:pt x="1266287" y="446988"/>
                  </a:lnTo>
                  <a:lnTo>
                    <a:pt x="1266995" y="444970"/>
                  </a:lnTo>
                  <a:lnTo>
                    <a:pt x="1272444" y="441904"/>
                  </a:lnTo>
                  <a:lnTo>
                    <a:pt x="1274897" y="439948"/>
                  </a:lnTo>
                  <a:lnTo>
                    <a:pt x="1277492" y="436643"/>
                  </a:lnTo>
                  <a:lnTo>
                    <a:pt x="1281934" y="433901"/>
                  </a:lnTo>
                  <a:close/>
                  <a:moveTo>
                    <a:pt x="1316994" y="414403"/>
                  </a:moveTo>
                  <a:lnTo>
                    <a:pt x="1321246" y="416758"/>
                  </a:lnTo>
                  <a:lnTo>
                    <a:pt x="1322483" y="419101"/>
                  </a:lnTo>
                  <a:lnTo>
                    <a:pt x="1325331" y="421818"/>
                  </a:lnTo>
                  <a:lnTo>
                    <a:pt x="1325256" y="428097"/>
                  </a:lnTo>
                  <a:lnTo>
                    <a:pt x="1324450" y="430086"/>
                  </a:lnTo>
                  <a:lnTo>
                    <a:pt x="1322885" y="430557"/>
                  </a:lnTo>
                  <a:lnTo>
                    <a:pt x="1310721" y="428841"/>
                  </a:lnTo>
                  <a:lnTo>
                    <a:pt x="1306512" y="426665"/>
                  </a:lnTo>
                  <a:lnTo>
                    <a:pt x="1305251" y="424677"/>
                  </a:lnTo>
                  <a:lnTo>
                    <a:pt x="1305773" y="422928"/>
                  </a:lnTo>
                  <a:close/>
                  <a:moveTo>
                    <a:pt x="1211840" y="412874"/>
                  </a:moveTo>
                  <a:lnTo>
                    <a:pt x="1216066" y="413242"/>
                  </a:lnTo>
                  <a:lnTo>
                    <a:pt x="1218839" y="413818"/>
                  </a:lnTo>
                  <a:lnTo>
                    <a:pt x="1224063" y="415749"/>
                  </a:lnTo>
                  <a:lnTo>
                    <a:pt x="1219221" y="417007"/>
                  </a:lnTo>
                  <a:lnTo>
                    <a:pt x="1217113" y="419694"/>
                  </a:lnTo>
                  <a:lnTo>
                    <a:pt x="1217399" y="421369"/>
                  </a:lnTo>
                  <a:lnTo>
                    <a:pt x="1218217" y="422279"/>
                  </a:lnTo>
                  <a:lnTo>
                    <a:pt x="1217407" y="423721"/>
                  </a:lnTo>
                  <a:lnTo>
                    <a:pt x="1216917" y="424128"/>
                  </a:lnTo>
                  <a:lnTo>
                    <a:pt x="1215805" y="423397"/>
                  </a:lnTo>
                  <a:lnTo>
                    <a:pt x="1212415" y="422280"/>
                  </a:lnTo>
                  <a:lnTo>
                    <a:pt x="1206796" y="419428"/>
                  </a:lnTo>
                  <a:lnTo>
                    <a:pt x="1205017" y="417479"/>
                  </a:lnTo>
                  <a:lnTo>
                    <a:pt x="1205950" y="415248"/>
                  </a:lnTo>
                  <a:lnTo>
                    <a:pt x="1207191" y="413779"/>
                  </a:lnTo>
                  <a:close/>
                  <a:moveTo>
                    <a:pt x="2219172" y="411299"/>
                  </a:moveTo>
                  <a:lnTo>
                    <a:pt x="2221695" y="411762"/>
                  </a:lnTo>
                  <a:lnTo>
                    <a:pt x="2225195" y="413856"/>
                  </a:lnTo>
                  <a:lnTo>
                    <a:pt x="2225737" y="414593"/>
                  </a:lnTo>
                  <a:lnTo>
                    <a:pt x="2220134" y="416494"/>
                  </a:lnTo>
                  <a:lnTo>
                    <a:pt x="2215361" y="416471"/>
                  </a:lnTo>
                  <a:lnTo>
                    <a:pt x="2212007" y="413135"/>
                  </a:lnTo>
                  <a:lnTo>
                    <a:pt x="2214694" y="411816"/>
                  </a:lnTo>
                  <a:close/>
                  <a:moveTo>
                    <a:pt x="778335" y="401957"/>
                  </a:moveTo>
                  <a:lnTo>
                    <a:pt x="781358" y="402144"/>
                  </a:lnTo>
                  <a:lnTo>
                    <a:pt x="785355" y="403269"/>
                  </a:lnTo>
                  <a:lnTo>
                    <a:pt x="789743" y="405332"/>
                  </a:lnTo>
                  <a:lnTo>
                    <a:pt x="800080" y="407019"/>
                  </a:lnTo>
                  <a:lnTo>
                    <a:pt x="807828" y="407547"/>
                  </a:lnTo>
                  <a:lnTo>
                    <a:pt x="812533" y="408846"/>
                  </a:lnTo>
                  <a:lnTo>
                    <a:pt x="814282" y="409879"/>
                  </a:lnTo>
                  <a:lnTo>
                    <a:pt x="813572" y="412506"/>
                  </a:lnTo>
                  <a:lnTo>
                    <a:pt x="812183" y="413585"/>
                  </a:lnTo>
                  <a:lnTo>
                    <a:pt x="808962" y="416995"/>
                  </a:lnTo>
                  <a:lnTo>
                    <a:pt x="808476" y="419097"/>
                  </a:lnTo>
                  <a:lnTo>
                    <a:pt x="809048" y="422394"/>
                  </a:lnTo>
                  <a:lnTo>
                    <a:pt x="808553" y="424787"/>
                  </a:lnTo>
                  <a:lnTo>
                    <a:pt x="807474" y="426532"/>
                  </a:lnTo>
                  <a:lnTo>
                    <a:pt x="806636" y="427254"/>
                  </a:lnTo>
                  <a:lnTo>
                    <a:pt x="800797" y="427250"/>
                  </a:lnTo>
                  <a:lnTo>
                    <a:pt x="798668" y="428220"/>
                  </a:lnTo>
                  <a:lnTo>
                    <a:pt x="798558" y="430102"/>
                  </a:lnTo>
                  <a:lnTo>
                    <a:pt x="798171" y="432190"/>
                  </a:lnTo>
                  <a:lnTo>
                    <a:pt x="796301" y="435231"/>
                  </a:lnTo>
                  <a:lnTo>
                    <a:pt x="792429" y="436221"/>
                  </a:lnTo>
                  <a:lnTo>
                    <a:pt x="791589" y="437321"/>
                  </a:lnTo>
                  <a:lnTo>
                    <a:pt x="791889" y="439314"/>
                  </a:lnTo>
                  <a:lnTo>
                    <a:pt x="790542" y="440826"/>
                  </a:lnTo>
                  <a:lnTo>
                    <a:pt x="790622" y="443176"/>
                  </a:lnTo>
                  <a:lnTo>
                    <a:pt x="791304" y="444460"/>
                  </a:lnTo>
                  <a:lnTo>
                    <a:pt x="791496" y="447130"/>
                  </a:lnTo>
                  <a:lnTo>
                    <a:pt x="794127" y="450990"/>
                  </a:lnTo>
                  <a:lnTo>
                    <a:pt x="793615" y="452578"/>
                  </a:lnTo>
                  <a:lnTo>
                    <a:pt x="791589" y="455701"/>
                  </a:lnTo>
                  <a:lnTo>
                    <a:pt x="790963" y="459503"/>
                  </a:lnTo>
                  <a:lnTo>
                    <a:pt x="789257" y="462784"/>
                  </a:lnTo>
                  <a:lnTo>
                    <a:pt x="793088" y="465506"/>
                  </a:lnTo>
                  <a:lnTo>
                    <a:pt x="794759" y="469037"/>
                  </a:lnTo>
                  <a:lnTo>
                    <a:pt x="796241" y="472871"/>
                  </a:lnTo>
                  <a:lnTo>
                    <a:pt x="800788" y="480330"/>
                  </a:lnTo>
                  <a:lnTo>
                    <a:pt x="805738" y="486931"/>
                  </a:lnTo>
                  <a:lnTo>
                    <a:pt x="814831" y="496598"/>
                  </a:lnTo>
                  <a:lnTo>
                    <a:pt x="824569" y="503884"/>
                  </a:lnTo>
                  <a:lnTo>
                    <a:pt x="828346" y="505939"/>
                  </a:lnTo>
                  <a:lnTo>
                    <a:pt x="837588" y="509308"/>
                  </a:lnTo>
                  <a:lnTo>
                    <a:pt x="839200" y="510372"/>
                  </a:lnTo>
                  <a:lnTo>
                    <a:pt x="840724" y="511859"/>
                  </a:lnTo>
                  <a:lnTo>
                    <a:pt x="836783" y="514578"/>
                  </a:lnTo>
                  <a:lnTo>
                    <a:pt x="832726" y="515580"/>
                  </a:lnTo>
                  <a:lnTo>
                    <a:pt x="832356" y="516818"/>
                  </a:lnTo>
                  <a:lnTo>
                    <a:pt x="830121" y="517459"/>
                  </a:lnTo>
                  <a:lnTo>
                    <a:pt x="819130" y="515159"/>
                  </a:lnTo>
                  <a:lnTo>
                    <a:pt x="818530" y="514805"/>
                  </a:lnTo>
                  <a:lnTo>
                    <a:pt x="817358" y="513117"/>
                  </a:lnTo>
                  <a:lnTo>
                    <a:pt x="816061" y="511859"/>
                  </a:lnTo>
                  <a:lnTo>
                    <a:pt x="813313" y="511645"/>
                  </a:lnTo>
                  <a:lnTo>
                    <a:pt x="810534" y="512423"/>
                  </a:lnTo>
                  <a:lnTo>
                    <a:pt x="812186" y="513949"/>
                  </a:lnTo>
                  <a:lnTo>
                    <a:pt x="814008" y="514421"/>
                  </a:lnTo>
                  <a:lnTo>
                    <a:pt x="817196" y="517282"/>
                  </a:lnTo>
                  <a:lnTo>
                    <a:pt x="815833" y="518368"/>
                  </a:lnTo>
                  <a:lnTo>
                    <a:pt x="814393" y="518505"/>
                  </a:lnTo>
                  <a:lnTo>
                    <a:pt x="807934" y="514705"/>
                  </a:lnTo>
                  <a:lnTo>
                    <a:pt x="807321" y="515175"/>
                  </a:lnTo>
                  <a:lnTo>
                    <a:pt x="806709" y="516288"/>
                  </a:lnTo>
                  <a:lnTo>
                    <a:pt x="803492" y="515050"/>
                  </a:lnTo>
                  <a:lnTo>
                    <a:pt x="802732" y="515969"/>
                  </a:lnTo>
                  <a:lnTo>
                    <a:pt x="800292" y="516400"/>
                  </a:lnTo>
                  <a:lnTo>
                    <a:pt x="798299" y="515345"/>
                  </a:lnTo>
                  <a:lnTo>
                    <a:pt x="798292" y="514008"/>
                  </a:lnTo>
                  <a:lnTo>
                    <a:pt x="797869" y="513329"/>
                  </a:lnTo>
                  <a:lnTo>
                    <a:pt x="787910" y="514378"/>
                  </a:lnTo>
                  <a:lnTo>
                    <a:pt x="783813" y="514349"/>
                  </a:lnTo>
                  <a:lnTo>
                    <a:pt x="779732" y="513893"/>
                  </a:lnTo>
                  <a:lnTo>
                    <a:pt x="774824" y="511335"/>
                  </a:lnTo>
                  <a:lnTo>
                    <a:pt x="774007" y="512484"/>
                  </a:lnTo>
                  <a:lnTo>
                    <a:pt x="773852" y="513814"/>
                  </a:lnTo>
                  <a:lnTo>
                    <a:pt x="771999" y="513283"/>
                  </a:lnTo>
                  <a:lnTo>
                    <a:pt x="767914" y="511222"/>
                  </a:lnTo>
                  <a:lnTo>
                    <a:pt x="764968" y="510409"/>
                  </a:lnTo>
                  <a:lnTo>
                    <a:pt x="754420" y="508417"/>
                  </a:lnTo>
                  <a:lnTo>
                    <a:pt x="746929" y="506039"/>
                  </a:lnTo>
                  <a:lnTo>
                    <a:pt x="748790" y="504949"/>
                  </a:lnTo>
                  <a:lnTo>
                    <a:pt x="752014" y="504382"/>
                  </a:lnTo>
                  <a:lnTo>
                    <a:pt x="752060" y="502923"/>
                  </a:lnTo>
                  <a:lnTo>
                    <a:pt x="751550" y="500911"/>
                  </a:lnTo>
                  <a:lnTo>
                    <a:pt x="751444" y="498826"/>
                  </a:lnTo>
                  <a:lnTo>
                    <a:pt x="753273" y="497426"/>
                  </a:lnTo>
                  <a:lnTo>
                    <a:pt x="757398" y="498093"/>
                  </a:lnTo>
                  <a:lnTo>
                    <a:pt x="756895" y="495815"/>
                  </a:lnTo>
                  <a:lnTo>
                    <a:pt x="758840" y="495374"/>
                  </a:lnTo>
                  <a:lnTo>
                    <a:pt x="762636" y="496685"/>
                  </a:lnTo>
                  <a:lnTo>
                    <a:pt x="764001" y="495864"/>
                  </a:lnTo>
                  <a:lnTo>
                    <a:pt x="758041" y="492996"/>
                  </a:lnTo>
                  <a:lnTo>
                    <a:pt x="751511" y="488920"/>
                  </a:lnTo>
                  <a:lnTo>
                    <a:pt x="752205" y="487453"/>
                  </a:lnTo>
                  <a:lnTo>
                    <a:pt x="749840" y="487056"/>
                  </a:lnTo>
                  <a:lnTo>
                    <a:pt x="747512" y="487153"/>
                  </a:lnTo>
                  <a:lnTo>
                    <a:pt x="745501" y="484750"/>
                  </a:lnTo>
                  <a:lnTo>
                    <a:pt x="745799" y="481567"/>
                  </a:lnTo>
                  <a:lnTo>
                    <a:pt x="747549" y="479409"/>
                  </a:lnTo>
                  <a:lnTo>
                    <a:pt x="746493" y="478938"/>
                  </a:lnTo>
                  <a:lnTo>
                    <a:pt x="736434" y="480842"/>
                  </a:lnTo>
                  <a:lnTo>
                    <a:pt x="731343" y="480408"/>
                  </a:lnTo>
                  <a:lnTo>
                    <a:pt x="725596" y="479133"/>
                  </a:lnTo>
                  <a:lnTo>
                    <a:pt x="720315" y="481037"/>
                  </a:lnTo>
                  <a:lnTo>
                    <a:pt x="714961" y="481671"/>
                  </a:lnTo>
                  <a:lnTo>
                    <a:pt x="712191" y="480993"/>
                  </a:lnTo>
                  <a:lnTo>
                    <a:pt x="709515" y="479612"/>
                  </a:lnTo>
                  <a:lnTo>
                    <a:pt x="707278" y="477732"/>
                  </a:lnTo>
                  <a:lnTo>
                    <a:pt x="705529" y="474584"/>
                  </a:lnTo>
                  <a:lnTo>
                    <a:pt x="703923" y="469305"/>
                  </a:lnTo>
                  <a:lnTo>
                    <a:pt x="703700" y="467303"/>
                  </a:lnTo>
                  <a:lnTo>
                    <a:pt x="704031" y="462824"/>
                  </a:lnTo>
                  <a:lnTo>
                    <a:pt x="704886" y="460952"/>
                  </a:lnTo>
                  <a:lnTo>
                    <a:pt x="707103" y="457178"/>
                  </a:lnTo>
                  <a:lnTo>
                    <a:pt x="708665" y="456012"/>
                  </a:lnTo>
                  <a:lnTo>
                    <a:pt x="712033" y="454243"/>
                  </a:lnTo>
                  <a:lnTo>
                    <a:pt x="713802" y="453784"/>
                  </a:lnTo>
                  <a:lnTo>
                    <a:pt x="717853" y="454698"/>
                  </a:lnTo>
                  <a:lnTo>
                    <a:pt x="721908" y="454756"/>
                  </a:lnTo>
                  <a:lnTo>
                    <a:pt x="723683" y="453754"/>
                  </a:lnTo>
                  <a:lnTo>
                    <a:pt x="725329" y="451982"/>
                  </a:lnTo>
                  <a:lnTo>
                    <a:pt x="726549" y="449675"/>
                  </a:lnTo>
                  <a:lnTo>
                    <a:pt x="729295" y="448359"/>
                  </a:lnTo>
                  <a:lnTo>
                    <a:pt x="730090" y="447656"/>
                  </a:lnTo>
                  <a:lnTo>
                    <a:pt x="730971" y="446164"/>
                  </a:lnTo>
                  <a:lnTo>
                    <a:pt x="731941" y="443914"/>
                  </a:lnTo>
                  <a:lnTo>
                    <a:pt x="732120" y="441998"/>
                  </a:lnTo>
                  <a:lnTo>
                    <a:pt x="732891" y="440081"/>
                  </a:lnTo>
                  <a:lnTo>
                    <a:pt x="735432" y="437288"/>
                  </a:lnTo>
                  <a:lnTo>
                    <a:pt x="734539" y="435557"/>
                  </a:lnTo>
                  <a:lnTo>
                    <a:pt x="734888" y="434385"/>
                  </a:lnTo>
                  <a:lnTo>
                    <a:pt x="736603" y="432309"/>
                  </a:lnTo>
                  <a:lnTo>
                    <a:pt x="731440" y="431746"/>
                  </a:lnTo>
                  <a:lnTo>
                    <a:pt x="729712" y="430835"/>
                  </a:lnTo>
                  <a:lnTo>
                    <a:pt x="728021" y="429439"/>
                  </a:lnTo>
                  <a:lnTo>
                    <a:pt x="728509" y="428130"/>
                  </a:lnTo>
                  <a:lnTo>
                    <a:pt x="729144" y="427172"/>
                  </a:lnTo>
                  <a:lnTo>
                    <a:pt x="734294" y="423645"/>
                  </a:lnTo>
                  <a:lnTo>
                    <a:pt x="736527" y="422606"/>
                  </a:lnTo>
                  <a:lnTo>
                    <a:pt x="738982" y="422032"/>
                  </a:lnTo>
                  <a:lnTo>
                    <a:pt x="741431" y="422046"/>
                  </a:lnTo>
                  <a:lnTo>
                    <a:pt x="744053" y="422445"/>
                  </a:lnTo>
                  <a:lnTo>
                    <a:pt x="746625" y="421898"/>
                  </a:lnTo>
                  <a:lnTo>
                    <a:pt x="743914" y="419521"/>
                  </a:lnTo>
                  <a:lnTo>
                    <a:pt x="743690" y="417916"/>
                  </a:lnTo>
                  <a:lnTo>
                    <a:pt x="742625" y="413994"/>
                  </a:lnTo>
                  <a:lnTo>
                    <a:pt x="742824" y="412151"/>
                  </a:lnTo>
                  <a:lnTo>
                    <a:pt x="744001" y="410651"/>
                  </a:lnTo>
                  <a:lnTo>
                    <a:pt x="746354" y="408887"/>
                  </a:lnTo>
                  <a:lnTo>
                    <a:pt x="749773" y="408301"/>
                  </a:lnTo>
                  <a:lnTo>
                    <a:pt x="752459" y="407373"/>
                  </a:lnTo>
                  <a:lnTo>
                    <a:pt x="755102" y="405971"/>
                  </a:lnTo>
                  <a:lnTo>
                    <a:pt x="757588" y="405729"/>
                  </a:lnTo>
                  <a:lnTo>
                    <a:pt x="762571" y="406684"/>
                  </a:lnTo>
                  <a:lnTo>
                    <a:pt x="765033" y="406477"/>
                  </a:lnTo>
                  <a:lnTo>
                    <a:pt x="767804" y="405708"/>
                  </a:lnTo>
                  <a:lnTo>
                    <a:pt x="775509" y="402707"/>
                  </a:lnTo>
                  <a:close/>
                  <a:moveTo>
                    <a:pt x="1135143" y="396553"/>
                  </a:moveTo>
                  <a:lnTo>
                    <a:pt x="1136979" y="396988"/>
                  </a:lnTo>
                  <a:lnTo>
                    <a:pt x="1139587" y="398107"/>
                  </a:lnTo>
                  <a:lnTo>
                    <a:pt x="1141587" y="399396"/>
                  </a:lnTo>
                  <a:lnTo>
                    <a:pt x="1144230" y="402614"/>
                  </a:lnTo>
                  <a:lnTo>
                    <a:pt x="1146303" y="403896"/>
                  </a:lnTo>
                  <a:lnTo>
                    <a:pt x="1149501" y="406400"/>
                  </a:lnTo>
                  <a:lnTo>
                    <a:pt x="1150406" y="408877"/>
                  </a:lnTo>
                  <a:lnTo>
                    <a:pt x="1150311" y="411032"/>
                  </a:lnTo>
                  <a:lnTo>
                    <a:pt x="1144329" y="411520"/>
                  </a:lnTo>
                  <a:lnTo>
                    <a:pt x="1133960" y="413333"/>
                  </a:lnTo>
                  <a:lnTo>
                    <a:pt x="1129255" y="414374"/>
                  </a:lnTo>
                  <a:lnTo>
                    <a:pt x="1122764" y="416357"/>
                  </a:lnTo>
                  <a:lnTo>
                    <a:pt x="1120950" y="416510"/>
                  </a:lnTo>
                  <a:lnTo>
                    <a:pt x="1116976" y="416011"/>
                  </a:lnTo>
                  <a:lnTo>
                    <a:pt x="1115253" y="416820"/>
                  </a:lnTo>
                  <a:lnTo>
                    <a:pt x="1112586" y="414818"/>
                  </a:lnTo>
                  <a:lnTo>
                    <a:pt x="1112813" y="413038"/>
                  </a:lnTo>
                  <a:lnTo>
                    <a:pt x="1114035" y="411233"/>
                  </a:lnTo>
                  <a:lnTo>
                    <a:pt x="1114767" y="408898"/>
                  </a:lnTo>
                  <a:lnTo>
                    <a:pt x="1114262" y="403160"/>
                  </a:lnTo>
                  <a:lnTo>
                    <a:pt x="1117661" y="399525"/>
                  </a:lnTo>
                  <a:lnTo>
                    <a:pt x="1122092" y="398122"/>
                  </a:lnTo>
                  <a:close/>
                  <a:moveTo>
                    <a:pt x="1252569" y="394807"/>
                  </a:moveTo>
                  <a:lnTo>
                    <a:pt x="1263743" y="399480"/>
                  </a:lnTo>
                  <a:lnTo>
                    <a:pt x="1261606" y="399748"/>
                  </a:lnTo>
                  <a:lnTo>
                    <a:pt x="1252210" y="398182"/>
                  </a:lnTo>
                  <a:lnTo>
                    <a:pt x="1248863" y="396165"/>
                  </a:lnTo>
                  <a:lnTo>
                    <a:pt x="1250111" y="394848"/>
                  </a:lnTo>
                  <a:close/>
                  <a:moveTo>
                    <a:pt x="1245481" y="394022"/>
                  </a:moveTo>
                  <a:lnTo>
                    <a:pt x="1247898" y="394608"/>
                  </a:lnTo>
                  <a:lnTo>
                    <a:pt x="1248166" y="395063"/>
                  </a:lnTo>
                  <a:lnTo>
                    <a:pt x="1244836" y="397958"/>
                  </a:lnTo>
                  <a:lnTo>
                    <a:pt x="1243203" y="398911"/>
                  </a:lnTo>
                  <a:lnTo>
                    <a:pt x="1236051" y="399017"/>
                  </a:lnTo>
                  <a:lnTo>
                    <a:pt x="1232527" y="400056"/>
                  </a:lnTo>
                  <a:lnTo>
                    <a:pt x="1233205" y="398132"/>
                  </a:lnTo>
                  <a:lnTo>
                    <a:pt x="1237511" y="395432"/>
                  </a:lnTo>
                  <a:close/>
                  <a:moveTo>
                    <a:pt x="2704917" y="379370"/>
                  </a:moveTo>
                  <a:lnTo>
                    <a:pt x="2710512" y="380191"/>
                  </a:lnTo>
                  <a:lnTo>
                    <a:pt x="2716045" y="382100"/>
                  </a:lnTo>
                  <a:lnTo>
                    <a:pt x="2720558" y="384185"/>
                  </a:lnTo>
                  <a:lnTo>
                    <a:pt x="2736138" y="394231"/>
                  </a:lnTo>
                  <a:lnTo>
                    <a:pt x="2737619" y="396277"/>
                  </a:lnTo>
                  <a:lnTo>
                    <a:pt x="2738796" y="398922"/>
                  </a:lnTo>
                  <a:lnTo>
                    <a:pt x="2739400" y="407959"/>
                  </a:lnTo>
                  <a:lnTo>
                    <a:pt x="2738520" y="408602"/>
                  </a:lnTo>
                  <a:lnTo>
                    <a:pt x="2732810" y="409049"/>
                  </a:lnTo>
                  <a:lnTo>
                    <a:pt x="2725034" y="408028"/>
                  </a:lnTo>
                  <a:lnTo>
                    <a:pt x="2719403" y="407667"/>
                  </a:lnTo>
                  <a:lnTo>
                    <a:pt x="2713991" y="407686"/>
                  </a:lnTo>
                  <a:lnTo>
                    <a:pt x="2709219" y="406463"/>
                  </a:lnTo>
                  <a:lnTo>
                    <a:pt x="2697507" y="405224"/>
                  </a:lnTo>
                  <a:lnTo>
                    <a:pt x="2688353" y="401891"/>
                  </a:lnTo>
                  <a:lnTo>
                    <a:pt x="2678873" y="399469"/>
                  </a:lnTo>
                  <a:lnTo>
                    <a:pt x="2676856" y="399215"/>
                  </a:lnTo>
                  <a:lnTo>
                    <a:pt x="2670879" y="399925"/>
                  </a:lnTo>
                  <a:lnTo>
                    <a:pt x="2662796" y="403073"/>
                  </a:lnTo>
                  <a:lnTo>
                    <a:pt x="2660545" y="403337"/>
                  </a:lnTo>
                  <a:lnTo>
                    <a:pt x="2657459" y="403337"/>
                  </a:lnTo>
                  <a:lnTo>
                    <a:pt x="2655247" y="400335"/>
                  </a:lnTo>
                  <a:lnTo>
                    <a:pt x="2660434" y="399361"/>
                  </a:lnTo>
                  <a:lnTo>
                    <a:pt x="2665632" y="398980"/>
                  </a:lnTo>
                  <a:lnTo>
                    <a:pt x="2670618" y="397893"/>
                  </a:lnTo>
                  <a:lnTo>
                    <a:pt x="2675325" y="394410"/>
                  </a:lnTo>
                  <a:lnTo>
                    <a:pt x="2677623" y="391646"/>
                  </a:lnTo>
                  <a:lnTo>
                    <a:pt x="2681743" y="385283"/>
                  </a:lnTo>
                  <a:lnTo>
                    <a:pt x="2683950" y="382961"/>
                  </a:lnTo>
                  <a:lnTo>
                    <a:pt x="2686186" y="381484"/>
                  </a:lnTo>
                  <a:lnTo>
                    <a:pt x="2688513" y="381028"/>
                  </a:lnTo>
                  <a:lnTo>
                    <a:pt x="2691209" y="381226"/>
                  </a:lnTo>
                  <a:lnTo>
                    <a:pt x="2699392" y="379833"/>
                  </a:lnTo>
                  <a:close/>
                  <a:moveTo>
                    <a:pt x="2317908" y="378160"/>
                  </a:moveTo>
                  <a:lnTo>
                    <a:pt x="2320517" y="378556"/>
                  </a:lnTo>
                  <a:lnTo>
                    <a:pt x="2322490" y="379997"/>
                  </a:lnTo>
                  <a:lnTo>
                    <a:pt x="2322844" y="380529"/>
                  </a:lnTo>
                  <a:lnTo>
                    <a:pt x="2320413" y="382163"/>
                  </a:lnTo>
                  <a:lnTo>
                    <a:pt x="2319059" y="382257"/>
                  </a:lnTo>
                  <a:lnTo>
                    <a:pt x="2316509" y="381108"/>
                  </a:lnTo>
                  <a:lnTo>
                    <a:pt x="2315831" y="379570"/>
                  </a:lnTo>
                  <a:lnTo>
                    <a:pt x="2315848" y="378792"/>
                  </a:lnTo>
                  <a:close/>
                  <a:moveTo>
                    <a:pt x="1405122" y="369142"/>
                  </a:moveTo>
                  <a:lnTo>
                    <a:pt x="1413164" y="370409"/>
                  </a:lnTo>
                  <a:lnTo>
                    <a:pt x="1415483" y="371834"/>
                  </a:lnTo>
                  <a:lnTo>
                    <a:pt x="1413950" y="372598"/>
                  </a:lnTo>
                  <a:lnTo>
                    <a:pt x="1412773" y="373608"/>
                  </a:lnTo>
                  <a:lnTo>
                    <a:pt x="1411760" y="373468"/>
                  </a:lnTo>
                  <a:lnTo>
                    <a:pt x="1410890" y="373992"/>
                  </a:lnTo>
                  <a:lnTo>
                    <a:pt x="1405326" y="372444"/>
                  </a:lnTo>
                  <a:lnTo>
                    <a:pt x="1397781" y="371741"/>
                  </a:lnTo>
                  <a:lnTo>
                    <a:pt x="1399664" y="370126"/>
                  </a:lnTo>
                  <a:close/>
                  <a:moveTo>
                    <a:pt x="1391320" y="368717"/>
                  </a:moveTo>
                  <a:lnTo>
                    <a:pt x="1393209" y="369275"/>
                  </a:lnTo>
                  <a:lnTo>
                    <a:pt x="1394933" y="370891"/>
                  </a:lnTo>
                  <a:lnTo>
                    <a:pt x="1395397" y="371773"/>
                  </a:lnTo>
                  <a:lnTo>
                    <a:pt x="1393248" y="373262"/>
                  </a:lnTo>
                  <a:lnTo>
                    <a:pt x="1390271" y="372425"/>
                  </a:lnTo>
                  <a:lnTo>
                    <a:pt x="1388135" y="371411"/>
                  </a:lnTo>
                  <a:lnTo>
                    <a:pt x="1386982" y="370031"/>
                  </a:lnTo>
                  <a:lnTo>
                    <a:pt x="1388154" y="369243"/>
                  </a:lnTo>
                  <a:close/>
                  <a:moveTo>
                    <a:pt x="2560197" y="364726"/>
                  </a:moveTo>
                  <a:lnTo>
                    <a:pt x="2565533" y="366179"/>
                  </a:lnTo>
                  <a:lnTo>
                    <a:pt x="2574566" y="371796"/>
                  </a:lnTo>
                  <a:lnTo>
                    <a:pt x="2579483" y="376350"/>
                  </a:lnTo>
                  <a:lnTo>
                    <a:pt x="2578119" y="379427"/>
                  </a:lnTo>
                  <a:lnTo>
                    <a:pt x="2576442" y="380660"/>
                  </a:lnTo>
                  <a:lnTo>
                    <a:pt x="2574890" y="378760"/>
                  </a:lnTo>
                  <a:lnTo>
                    <a:pt x="2567440" y="373128"/>
                  </a:lnTo>
                  <a:lnTo>
                    <a:pt x="2565646" y="370449"/>
                  </a:lnTo>
                  <a:lnTo>
                    <a:pt x="2561560" y="367925"/>
                  </a:lnTo>
                  <a:lnTo>
                    <a:pt x="2560538" y="366970"/>
                  </a:lnTo>
                  <a:close/>
                  <a:moveTo>
                    <a:pt x="2680978" y="363840"/>
                  </a:moveTo>
                  <a:lnTo>
                    <a:pt x="2683082" y="364237"/>
                  </a:lnTo>
                  <a:lnTo>
                    <a:pt x="2685166" y="365189"/>
                  </a:lnTo>
                  <a:lnTo>
                    <a:pt x="2686070" y="366639"/>
                  </a:lnTo>
                  <a:lnTo>
                    <a:pt x="2686468" y="368439"/>
                  </a:lnTo>
                  <a:lnTo>
                    <a:pt x="2685349" y="373523"/>
                  </a:lnTo>
                  <a:lnTo>
                    <a:pt x="2684539" y="375724"/>
                  </a:lnTo>
                  <a:lnTo>
                    <a:pt x="2673417" y="379210"/>
                  </a:lnTo>
                  <a:lnTo>
                    <a:pt x="2671255" y="379080"/>
                  </a:lnTo>
                  <a:lnTo>
                    <a:pt x="2666251" y="375502"/>
                  </a:lnTo>
                  <a:lnTo>
                    <a:pt x="2664446" y="367725"/>
                  </a:lnTo>
                  <a:lnTo>
                    <a:pt x="2666481" y="365450"/>
                  </a:lnTo>
                  <a:lnTo>
                    <a:pt x="2668841" y="364559"/>
                  </a:lnTo>
                  <a:lnTo>
                    <a:pt x="2671209" y="364158"/>
                  </a:lnTo>
                  <a:close/>
                  <a:moveTo>
                    <a:pt x="1443223" y="353303"/>
                  </a:moveTo>
                  <a:lnTo>
                    <a:pt x="1440705" y="355753"/>
                  </a:lnTo>
                  <a:lnTo>
                    <a:pt x="1439632" y="358354"/>
                  </a:lnTo>
                  <a:lnTo>
                    <a:pt x="1433406" y="357023"/>
                  </a:lnTo>
                  <a:lnTo>
                    <a:pt x="1432534" y="355971"/>
                  </a:lnTo>
                  <a:lnTo>
                    <a:pt x="1435870" y="354399"/>
                  </a:lnTo>
                  <a:lnTo>
                    <a:pt x="1438956" y="353441"/>
                  </a:lnTo>
                  <a:close/>
                  <a:moveTo>
                    <a:pt x="2044929" y="351840"/>
                  </a:moveTo>
                  <a:lnTo>
                    <a:pt x="2064107" y="354873"/>
                  </a:lnTo>
                  <a:lnTo>
                    <a:pt x="2071503" y="356557"/>
                  </a:lnTo>
                  <a:lnTo>
                    <a:pt x="2073735" y="358327"/>
                  </a:lnTo>
                  <a:lnTo>
                    <a:pt x="2072982" y="360394"/>
                  </a:lnTo>
                  <a:lnTo>
                    <a:pt x="2071790" y="361954"/>
                  </a:lnTo>
                  <a:lnTo>
                    <a:pt x="2070898" y="363887"/>
                  </a:lnTo>
                  <a:lnTo>
                    <a:pt x="2069380" y="365338"/>
                  </a:lnTo>
                  <a:lnTo>
                    <a:pt x="2064679" y="367181"/>
                  </a:lnTo>
                  <a:lnTo>
                    <a:pt x="2061001" y="371251"/>
                  </a:lnTo>
                  <a:lnTo>
                    <a:pt x="2060363" y="371591"/>
                  </a:lnTo>
                  <a:lnTo>
                    <a:pt x="2047391" y="369375"/>
                  </a:lnTo>
                  <a:lnTo>
                    <a:pt x="2045384" y="368638"/>
                  </a:lnTo>
                  <a:lnTo>
                    <a:pt x="2041118" y="366209"/>
                  </a:lnTo>
                  <a:lnTo>
                    <a:pt x="2035167" y="363876"/>
                  </a:lnTo>
                  <a:lnTo>
                    <a:pt x="2032081" y="360390"/>
                  </a:lnTo>
                  <a:lnTo>
                    <a:pt x="2033556" y="359727"/>
                  </a:lnTo>
                  <a:lnTo>
                    <a:pt x="2035046" y="359465"/>
                  </a:lnTo>
                  <a:lnTo>
                    <a:pt x="2040403" y="359922"/>
                  </a:lnTo>
                  <a:lnTo>
                    <a:pt x="2041938" y="358835"/>
                  </a:lnTo>
                  <a:lnTo>
                    <a:pt x="2042682" y="355890"/>
                  </a:lnTo>
                  <a:lnTo>
                    <a:pt x="2042826" y="354145"/>
                  </a:lnTo>
                  <a:lnTo>
                    <a:pt x="2043230" y="352812"/>
                  </a:lnTo>
                  <a:close/>
                  <a:moveTo>
                    <a:pt x="1481535" y="332319"/>
                  </a:moveTo>
                  <a:lnTo>
                    <a:pt x="1482588" y="332828"/>
                  </a:lnTo>
                  <a:lnTo>
                    <a:pt x="1484445" y="333637"/>
                  </a:lnTo>
                  <a:lnTo>
                    <a:pt x="1490271" y="332358"/>
                  </a:lnTo>
                  <a:lnTo>
                    <a:pt x="1491412" y="332772"/>
                  </a:lnTo>
                  <a:lnTo>
                    <a:pt x="1493007" y="334657"/>
                  </a:lnTo>
                  <a:lnTo>
                    <a:pt x="1490518" y="338098"/>
                  </a:lnTo>
                  <a:lnTo>
                    <a:pt x="1488648" y="339471"/>
                  </a:lnTo>
                  <a:lnTo>
                    <a:pt x="1483448" y="338699"/>
                  </a:lnTo>
                  <a:lnTo>
                    <a:pt x="1476782" y="338584"/>
                  </a:lnTo>
                  <a:lnTo>
                    <a:pt x="1473864" y="336705"/>
                  </a:lnTo>
                  <a:lnTo>
                    <a:pt x="1475458" y="334699"/>
                  </a:lnTo>
                  <a:lnTo>
                    <a:pt x="1479302" y="333506"/>
                  </a:lnTo>
                  <a:close/>
                  <a:moveTo>
                    <a:pt x="1383361" y="309055"/>
                  </a:moveTo>
                  <a:lnTo>
                    <a:pt x="1383509" y="313360"/>
                  </a:lnTo>
                  <a:lnTo>
                    <a:pt x="1384315" y="314808"/>
                  </a:lnTo>
                  <a:lnTo>
                    <a:pt x="1384598" y="316433"/>
                  </a:lnTo>
                  <a:lnTo>
                    <a:pt x="1383663" y="316949"/>
                  </a:lnTo>
                  <a:lnTo>
                    <a:pt x="1380806" y="316860"/>
                  </a:lnTo>
                  <a:lnTo>
                    <a:pt x="1379223" y="321040"/>
                  </a:lnTo>
                  <a:lnTo>
                    <a:pt x="1377599" y="320342"/>
                  </a:lnTo>
                  <a:lnTo>
                    <a:pt x="1376614" y="317950"/>
                  </a:lnTo>
                  <a:lnTo>
                    <a:pt x="1373013" y="319553"/>
                  </a:lnTo>
                  <a:lnTo>
                    <a:pt x="1372065" y="319179"/>
                  </a:lnTo>
                  <a:lnTo>
                    <a:pt x="1370395" y="317306"/>
                  </a:lnTo>
                  <a:lnTo>
                    <a:pt x="1369353" y="316923"/>
                  </a:lnTo>
                  <a:lnTo>
                    <a:pt x="1368655" y="315657"/>
                  </a:lnTo>
                  <a:lnTo>
                    <a:pt x="1373332" y="311928"/>
                  </a:lnTo>
                  <a:lnTo>
                    <a:pt x="1376209" y="313911"/>
                  </a:lnTo>
                  <a:lnTo>
                    <a:pt x="1378074" y="313781"/>
                  </a:lnTo>
                  <a:lnTo>
                    <a:pt x="1377703" y="311544"/>
                  </a:lnTo>
                  <a:lnTo>
                    <a:pt x="1377770" y="309857"/>
                  </a:lnTo>
                  <a:lnTo>
                    <a:pt x="1380182" y="309151"/>
                  </a:lnTo>
                  <a:close/>
                  <a:moveTo>
                    <a:pt x="2806758" y="306089"/>
                  </a:moveTo>
                  <a:lnTo>
                    <a:pt x="2811479" y="309286"/>
                  </a:lnTo>
                  <a:lnTo>
                    <a:pt x="2811418" y="312945"/>
                  </a:lnTo>
                  <a:lnTo>
                    <a:pt x="2812457" y="315531"/>
                  </a:lnTo>
                  <a:lnTo>
                    <a:pt x="2818319" y="315819"/>
                  </a:lnTo>
                  <a:lnTo>
                    <a:pt x="2826793" y="312528"/>
                  </a:lnTo>
                  <a:lnTo>
                    <a:pt x="2827975" y="312415"/>
                  </a:lnTo>
                  <a:lnTo>
                    <a:pt x="2848659" y="313621"/>
                  </a:lnTo>
                  <a:lnTo>
                    <a:pt x="2850350" y="314786"/>
                  </a:lnTo>
                  <a:lnTo>
                    <a:pt x="2850570" y="317060"/>
                  </a:lnTo>
                  <a:lnTo>
                    <a:pt x="2849914" y="318268"/>
                  </a:lnTo>
                  <a:lnTo>
                    <a:pt x="2849601" y="319914"/>
                  </a:lnTo>
                  <a:lnTo>
                    <a:pt x="2852147" y="321518"/>
                  </a:lnTo>
                  <a:lnTo>
                    <a:pt x="2858826" y="321885"/>
                  </a:lnTo>
                  <a:lnTo>
                    <a:pt x="2863049" y="320375"/>
                  </a:lnTo>
                  <a:lnTo>
                    <a:pt x="2875479" y="321153"/>
                  </a:lnTo>
                  <a:lnTo>
                    <a:pt x="2885619" y="322280"/>
                  </a:lnTo>
                  <a:lnTo>
                    <a:pt x="2889528" y="324733"/>
                  </a:lnTo>
                  <a:lnTo>
                    <a:pt x="2892547" y="326051"/>
                  </a:lnTo>
                  <a:lnTo>
                    <a:pt x="2895054" y="327580"/>
                  </a:lnTo>
                  <a:lnTo>
                    <a:pt x="2896874" y="326679"/>
                  </a:lnTo>
                  <a:lnTo>
                    <a:pt x="2898587" y="325120"/>
                  </a:lnTo>
                  <a:lnTo>
                    <a:pt x="2900059" y="324805"/>
                  </a:lnTo>
                  <a:lnTo>
                    <a:pt x="2901506" y="325065"/>
                  </a:lnTo>
                  <a:lnTo>
                    <a:pt x="2897612" y="334451"/>
                  </a:lnTo>
                  <a:lnTo>
                    <a:pt x="2896153" y="335583"/>
                  </a:lnTo>
                  <a:lnTo>
                    <a:pt x="2890646" y="337883"/>
                  </a:lnTo>
                  <a:lnTo>
                    <a:pt x="2879741" y="341031"/>
                  </a:lnTo>
                  <a:lnTo>
                    <a:pt x="2874408" y="342030"/>
                  </a:lnTo>
                  <a:lnTo>
                    <a:pt x="2862320" y="342037"/>
                  </a:lnTo>
                  <a:lnTo>
                    <a:pt x="2845662" y="340806"/>
                  </a:lnTo>
                  <a:lnTo>
                    <a:pt x="2841140" y="339694"/>
                  </a:lnTo>
                  <a:lnTo>
                    <a:pt x="2838476" y="338300"/>
                  </a:lnTo>
                  <a:lnTo>
                    <a:pt x="2833369" y="335007"/>
                  </a:lnTo>
                  <a:lnTo>
                    <a:pt x="2830847" y="333816"/>
                  </a:lnTo>
                  <a:lnTo>
                    <a:pt x="2822669" y="332697"/>
                  </a:lnTo>
                  <a:lnTo>
                    <a:pt x="2820171" y="332071"/>
                  </a:lnTo>
                  <a:lnTo>
                    <a:pt x="2815324" y="329235"/>
                  </a:lnTo>
                  <a:lnTo>
                    <a:pt x="2810425" y="326943"/>
                  </a:lnTo>
                  <a:lnTo>
                    <a:pt x="2798158" y="323211"/>
                  </a:lnTo>
                  <a:lnTo>
                    <a:pt x="2798989" y="318884"/>
                  </a:lnTo>
                  <a:lnTo>
                    <a:pt x="2800569" y="314504"/>
                  </a:lnTo>
                  <a:lnTo>
                    <a:pt x="2802457" y="310609"/>
                  </a:lnTo>
                  <a:lnTo>
                    <a:pt x="2804569" y="307147"/>
                  </a:lnTo>
                  <a:close/>
                  <a:moveTo>
                    <a:pt x="2567088" y="294232"/>
                  </a:moveTo>
                  <a:lnTo>
                    <a:pt x="2569070" y="296343"/>
                  </a:lnTo>
                  <a:lnTo>
                    <a:pt x="2570418" y="299463"/>
                  </a:lnTo>
                  <a:lnTo>
                    <a:pt x="2571647" y="301032"/>
                  </a:lnTo>
                  <a:lnTo>
                    <a:pt x="2576568" y="304124"/>
                  </a:lnTo>
                  <a:lnTo>
                    <a:pt x="2577488" y="305022"/>
                  </a:lnTo>
                  <a:lnTo>
                    <a:pt x="2573385" y="308772"/>
                  </a:lnTo>
                  <a:lnTo>
                    <a:pt x="2572981" y="310375"/>
                  </a:lnTo>
                  <a:lnTo>
                    <a:pt x="2574206" y="312511"/>
                  </a:lnTo>
                  <a:lnTo>
                    <a:pt x="2572617" y="313798"/>
                  </a:lnTo>
                  <a:lnTo>
                    <a:pt x="2568133" y="315030"/>
                  </a:lnTo>
                  <a:lnTo>
                    <a:pt x="2561634" y="314692"/>
                  </a:lnTo>
                  <a:lnTo>
                    <a:pt x="2562100" y="311399"/>
                  </a:lnTo>
                  <a:lnTo>
                    <a:pt x="2563214" y="309940"/>
                  </a:lnTo>
                  <a:lnTo>
                    <a:pt x="2564745" y="306328"/>
                  </a:lnTo>
                  <a:lnTo>
                    <a:pt x="2564050" y="303635"/>
                  </a:lnTo>
                  <a:lnTo>
                    <a:pt x="2564430" y="300331"/>
                  </a:lnTo>
                  <a:lnTo>
                    <a:pt x="2565213" y="297793"/>
                  </a:lnTo>
                  <a:close/>
                  <a:moveTo>
                    <a:pt x="2945223" y="278380"/>
                  </a:moveTo>
                  <a:lnTo>
                    <a:pt x="2946011" y="278821"/>
                  </a:lnTo>
                  <a:lnTo>
                    <a:pt x="2946646" y="279810"/>
                  </a:lnTo>
                  <a:lnTo>
                    <a:pt x="2947136" y="281706"/>
                  </a:lnTo>
                  <a:lnTo>
                    <a:pt x="2944933" y="283340"/>
                  </a:lnTo>
                  <a:lnTo>
                    <a:pt x="2939897" y="280712"/>
                  </a:lnTo>
                  <a:lnTo>
                    <a:pt x="2941759" y="279292"/>
                  </a:lnTo>
                  <a:close/>
                  <a:moveTo>
                    <a:pt x="2635975" y="278158"/>
                  </a:moveTo>
                  <a:lnTo>
                    <a:pt x="2638309" y="278293"/>
                  </a:lnTo>
                  <a:lnTo>
                    <a:pt x="2640477" y="279961"/>
                  </a:lnTo>
                  <a:lnTo>
                    <a:pt x="2642502" y="282314"/>
                  </a:lnTo>
                  <a:lnTo>
                    <a:pt x="2644761" y="283570"/>
                  </a:lnTo>
                  <a:lnTo>
                    <a:pt x="2651775" y="286623"/>
                  </a:lnTo>
                  <a:lnTo>
                    <a:pt x="2656525" y="289358"/>
                  </a:lnTo>
                  <a:lnTo>
                    <a:pt x="2663279" y="294968"/>
                  </a:lnTo>
                  <a:lnTo>
                    <a:pt x="2665564" y="295832"/>
                  </a:lnTo>
                  <a:lnTo>
                    <a:pt x="2668268" y="295264"/>
                  </a:lnTo>
                  <a:lnTo>
                    <a:pt x="2670804" y="296462"/>
                  </a:lnTo>
                  <a:lnTo>
                    <a:pt x="2673175" y="301238"/>
                  </a:lnTo>
                  <a:lnTo>
                    <a:pt x="2674289" y="302434"/>
                  </a:lnTo>
                  <a:lnTo>
                    <a:pt x="2675515" y="303299"/>
                  </a:lnTo>
                  <a:lnTo>
                    <a:pt x="2676722" y="303740"/>
                  </a:lnTo>
                  <a:lnTo>
                    <a:pt x="2680242" y="303893"/>
                  </a:lnTo>
                  <a:lnTo>
                    <a:pt x="2681863" y="302937"/>
                  </a:lnTo>
                  <a:lnTo>
                    <a:pt x="2683077" y="300757"/>
                  </a:lnTo>
                  <a:lnTo>
                    <a:pt x="2682995" y="298550"/>
                  </a:lnTo>
                  <a:lnTo>
                    <a:pt x="2682688" y="296323"/>
                  </a:lnTo>
                  <a:lnTo>
                    <a:pt x="2682671" y="293258"/>
                  </a:lnTo>
                  <a:lnTo>
                    <a:pt x="2683213" y="290522"/>
                  </a:lnTo>
                  <a:lnTo>
                    <a:pt x="2683989" y="288841"/>
                  </a:lnTo>
                  <a:lnTo>
                    <a:pt x="2685034" y="287732"/>
                  </a:lnTo>
                  <a:lnTo>
                    <a:pt x="2690931" y="284340"/>
                  </a:lnTo>
                  <a:lnTo>
                    <a:pt x="2695046" y="281005"/>
                  </a:lnTo>
                  <a:lnTo>
                    <a:pt x="2700726" y="282328"/>
                  </a:lnTo>
                  <a:lnTo>
                    <a:pt x="2706457" y="285257"/>
                  </a:lnTo>
                  <a:lnTo>
                    <a:pt x="2716604" y="291596"/>
                  </a:lnTo>
                  <a:lnTo>
                    <a:pt x="2721229" y="293412"/>
                  </a:lnTo>
                  <a:lnTo>
                    <a:pt x="2726917" y="295061"/>
                  </a:lnTo>
                  <a:lnTo>
                    <a:pt x="2732631" y="295660"/>
                  </a:lnTo>
                  <a:lnTo>
                    <a:pt x="2735417" y="295268"/>
                  </a:lnTo>
                  <a:lnTo>
                    <a:pt x="2740919" y="293549"/>
                  </a:lnTo>
                  <a:lnTo>
                    <a:pt x="2743702" y="293401"/>
                  </a:lnTo>
                  <a:lnTo>
                    <a:pt x="2778406" y="305919"/>
                  </a:lnTo>
                  <a:lnTo>
                    <a:pt x="2779611" y="306884"/>
                  </a:lnTo>
                  <a:lnTo>
                    <a:pt x="2780720" y="308390"/>
                  </a:lnTo>
                  <a:lnTo>
                    <a:pt x="2773280" y="310213"/>
                  </a:lnTo>
                  <a:lnTo>
                    <a:pt x="2768408" y="313508"/>
                  </a:lnTo>
                  <a:lnTo>
                    <a:pt x="2766720" y="315762"/>
                  </a:lnTo>
                  <a:lnTo>
                    <a:pt x="2768654" y="317594"/>
                  </a:lnTo>
                  <a:lnTo>
                    <a:pt x="2770185" y="320069"/>
                  </a:lnTo>
                  <a:lnTo>
                    <a:pt x="2759666" y="327472"/>
                  </a:lnTo>
                  <a:lnTo>
                    <a:pt x="2755426" y="329382"/>
                  </a:lnTo>
                  <a:lnTo>
                    <a:pt x="2751085" y="330024"/>
                  </a:lnTo>
                  <a:lnTo>
                    <a:pt x="2742377" y="328283"/>
                  </a:lnTo>
                  <a:lnTo>
                    <a:pt x="2737295" y="328333"/>
                  </a:lnTo>
                  <a:lnTo>
                    <a:pt x="2732303" y="326824"/>
                  </a:lnTo>
                  <a:lnTo>
                    <a:pt x="2726813" y="322360"/>
                  </a:lnTo>
                  <a:lnTo>
                    <a:pt x="2724559" y="320119"/>
                  </a:lnTo>
                  <a:lnTo>
                    <a:pt x="2722556" y="317008"/>
                  </a:lnTo>
                  <a:lnTo>
                    <a:pt x="2721894" y="312041"/>
                  </a:lnTo>
                  <a:lnTo>
                    <a:pt x="2722666" y="307758"/>
                  </a:lnTo>
                  <a:lnTo>
                    <a:pt x="2725609" y="306538"/>
                  </a:lnTo>
                  <a:lnTo>
                    <a:pt x="2728228" y="303779"/>
                  </a:lnTo>
                  <a:lnTo>
                    <a:pt x="2728591" y="302583"/>
                  </a:lnTo>
                  <a:lnTo>
                    <a:pt x="2727250" y="300181"/>
                  </a:lnTo>
                  <a:lnTo>
                    <a:pt x="2718621" y="299838"/>
                  </a:lnTo>
                  <a:lnTo>
                    <a:pt x="2713233" y="301152"/>
                  </a:lnTo>
                  <a:lnTo>
                    <a:pt x="2708332" y="302549"/>
                  </a:lnTo>
                  <a:lnTo>
                    <a:pt x="2709765" y="311653"/>
                  </a:lnTo>
                  <a:lnTo>
                    <a:pt x="2710821" y="314553"/>
                  </a:lnTo>
                  <a:lnTo>
                    <a:pt x="2712279" y="316629"/>
                  </a:lnTo>
                  <a:lnTo>
                    <a:pt x="2720063" y="326099"/>
                  </a:lnTo>
                  <a:lnTo>
                    <a:pt x="2721836" y="327437"/>
                  </a:lnTo>
                  <a:lnTo>
                    <a:pt x="2726982" y="329240"/>
                  </a:lnTo>
                  <a:lnTo>
                    <a:pt x="2731366" y="333314"/>
                  </a:lnTo>
                  <a:lnTo>
                    <a:pt x="2723633" y="337840"/>
                  </a:lnTo>
                  <a:lnTo>
                    <a:pt x="2720268" y="339178"/>
                  </a:lnTo>
                  <a:lnTo>
                    <a:pt x="2716878" y="339926"/>
                  </a:lnTo>
                  <a:lnTo>
                    <a:pt x="2714792" y="339567"/>
                  </a:lnTo>
                  <a:lnTo>
                    <a:pt x="2712779" y="338627"/>
                  </a:lnTo>
                  <a:lnTo>
                    <a:pt x="2710497" y="336435"/>
                  </a:lnTo>
                  <a:lnTo>
                    <a:pt x="2708636" y="334168"/>
                  </a:lnTo>
                  <a:lnTo>
                    <a:pt x="2706144" y="332388"/>
                  </a:lnTo>
                  <a:lnTo>
                    <a:pt x="2700862" y="332772"/>
                  </a:lnTo>
                  <a:lnTo>
                    <a:pt x="2696032" y="334336"/>
                  </a:lnTo>
                  <a:lnTo>
                    <a:pt x="2691178" y="335395"/>
                  </a:lnTo>
                  <a:lnTo>
                    <a:pt x="2676811" y="337220"/>
                  </a:lnTo>
                  <a:lnTo>
                    <a:pt x="2672458" y="338356"/>
                  </a:lnTo>
                  <a:lnTo>
                    <a:pt x="2668123" y="338759"/>
                  </a:lnTo>
                  <a:lnTo>
                    <a:pt x="2662445" y="336649"/>
                  </a:lnTo>
                  <a:lnTo>
                    <a:pt x="2656854" y="333603"/>
                  </a:lnTo>
                  <a:lnTo>
                    <a:pt x="2655152" y="333590"/>
                  </a:lnTo>
                  <a:lnTo>
                    <a:pt x="2653485" y="334406"/>
                  </a:lnTo>
                  <a:lnTo>
                    <a:pt x="2652207" y="336240"/>
                  </a:lnTo>
                  <a:lnTo>
                    <a:pt x="2651416" y="339161"/>
                  </a:lnTo>
                  <a:lnTo>
                    <a:pt x="2649599" y="343058"/>
                  </a:lnTo>
                  <a:lnTo>
                    <a:pt x="2647288" y="345800"/>
                  </a:lnTo>
                  <a:lnTo>
                    <a:pt x="2644850" y="346991"/>
                  </a:lnTo>
                  <a:lnTo>
                    <a:pt x="2642280" y="347128"/>
                  </a:lnTo>
                  <a:lnTo>
                    <a:pt x="2639685" y="346376"/>
                  </a:lnTo>
                  <a:lnTo>
                    <a:pt x="2637117" y="345180"/>
                  </a:lnTo>
                  <a:lnTo>
                    <a:pt x="2620017" y="340937"/>
                  </a:lnTo>
                  <a:lnTo>
                    <a:pt x="2618007" y="339636"/>
                  </a:lnTo>
                  <a:lnTo>
                    <a:pt x="2616098" y="337704"/>
                  </a:lnTo>
                  <a:lnTo>
                    <a:pt x="2610967" y="331623"/>
                  </a:lnTo>
                  <a:lnTo>
                    <a:pt x="2608425" y="330206"/>
                  </a:lnTo>
                  <a:lnTo>
                    <a:pt x="2605748" y="329603"/>
                  </a:lnTo>
                  <a:lnTo>
                    <a:pt x="2600684" y="326521"/>
                  </a:lnTo>
                  <a:lnTo>
                    <a:pt x="2596003" y="321579"/>
                  </a:lnTo>
                  <a:lnTo>
                    <a:pt x="2595031" y="320005"/>
                  </a:lnTo>
                  <a:lnTo>
                    <a:pt x="2594707" y="317548"/>
                  </a:lnTo>
                  <a:lnTo>
                    <a:pt x="2595476" y="315773"/>
                  </a:lnTo>
                  <a:lnTo>
                    <a:pt x="2599535" y="316610"/>
                  </a:lnTo>
                  <a:lnTo>
                    <a:pt x="2602271" y="316518"/>
                  </a:lnTo>
                  <a:lnTo>
                    <a:pt x="2600623" y="307317"/>
                  </a:lnTo>
                  <a:lnTo>
                    <a:pt x="2601809" y="298554"/>
                  </a:lnTo>
                  <a:lnTo>
                    <a:pt x="2603791" y="297102"/>
                  </a:lnTo>
                  <a:lnTo>
                    <a:pt x="2611487" y="298097"/>
                  </a:lnTo>
                  <a:lnTo>
                    <a:pt x="2608989" y="295220"/>
                  </a:lnTo>
                  <a:lnTo>
                    <a:pt x="2606946" y="291322"/>
                  </a:lnTo>
                  <a:lnTo>
                    <a:pt x="2608259" y="289260"/>
                  </a:lnTo>
                  <a:lnTo>
                    <a:pt x="2609693" y="287768"/>
                  </a:lnTo>
                  <a:lnTo>
                    <a:pt x="2612988" y="286522"/>
                  </a:lnTo>
                  <a:lnTo>
                    <a:pt x="2617469" y="285972"/>
                  </a:lnTo>
                  <a:lnTo>
                    <a:pt x="2618832" y="285089"/>
                  </a:lnTo>
                  <a:lnTo>
                    <a:pt x="2620099" y="283579"/>
                  </a:lnTo>
                  <a:lnTo>
                    <a:pt x="2622567" y="282015"/>
                  </a:lnTo>
                  <a:lnTo>
                    <a:pt x="2627499" y="281327"/>
                  </a:lnTo>
                  <a:close/>
                  <a:moveTo>
                    <a:pt x="1695253" y="273338"/>
                  </a:moveTo>
                  <a:lnTo>
                    <a:pt x="1701040" y="274582"/>
                  </a:lnTo>
                  <a:lnTo>
                    <a:pt x="1702843" y="275235"/>
                  </a:lnTo>
                  <a:lnTo>
                    <a:pt x="1702306" y="277177"/>
                  </a:lnTo>
                  <a:lnTo>
                    <a:pt x="1700030" y="276607"/>
                  </a:lnTo>
                  <a:lnTo>
                    <a:pt x="1697024" y="277591"/>
                  </a:lnTo>
                  <a:lnTo>
                    <a:pt x="1697083" y="279170"/>
                  </a:lnTo>
                  <a:lnTo>
                    <a:pt x="1695914" y="281706"/>
                  </a:lnTo>
                  <a:lnTo>
                    <a:pt x="1691673" y="280172"/>
                  </a:lnTo>
                  <a:lnTo>
                    <a:pt x="1685830" y="279954"/>
                  </a:lnTo>
                  <a:lnTo>
                    <a:pt x="1682161" y="278434"/>
                  </a:lnTo>
                  <a:lnTo>
                    <a:pt x="1674035" y="277473"/>
                  </a:lnTo>
                  <a:lnTo>
                    <a:pt x="1674277" y="275335"/>
                  </a:lnTo>
                  <a:lnTo>
                    <a:pt x="1675555" y="274083"/>
                  </a:lnTo>
                  <a:lnTo>
                    <a:pt x="1680300" y="275883"/>
                  </a:lnTo>
                  <a:lnTo>
                    <a:pt x="1684541" y="273862"/>
                  </a:lnTo>
                  <a:lnTo>
                    <a:pt x="1692606" y="274868"/>
                  </a:lnTo>
                  <a:close/>
                  <a:moveTo>
                    <a:pt x="1708680" y="271060"/>
                  </a:moveTo>
                  <a:lnTo>
                    <a:pt x="1711164" y="271600"/>
                  </a:lnTo>
                  <a:lnTo>
                    <a:pt x="1712382" y="272881"/>
                  </a:lnTo>
                  <a:lnTo>
                    <a:pt x="1712552" y="273465"/>
                  </a:lnTo>
                  <a:lnTo>
                    <a:pt x="1710810" y="276480"/>
                  </a:lnTo>
                  <a:lnTo>
                    <a:pt x="1708149" y="278182"/>
                  </a:lnTo>
                  <a:lnTo>
                    <a:pt x="1706910" y="278671"/>
                  </a:lnTo>
                  <a:lnTo>
                    <a:pt x="1705951" y="278338"/>
                  </a:lnTo>
                  <a:lnTo>
                    <a:pt x="1705616" y="277829"/>
                  </a:lnTo>
                  <a:lnTo>
                    <a:pt x="1705635" y="275507"/>
                  </a:lnTo>
                  <a:lnTo>
                    <a:pt x="1707685" y="272479"/>
                  </a:lnTo>
                  <a:lnTo>
                    <a:pt x="1707737" y="271535"/>
                  </a:lnTo>
                  <a:close/>
                  <a:moveTo>
                    <a:pt x="2051776" y="257815"/>
                  </a:moveTo>
                  <a:lnTo>
                    <a:pt x="2053631" y="258869"/>
                  </a:lnTo>
                  <a:lnTo>
                    <a:pt x="2057048" y="261994"/>
                  </a:lnTo>
                  <a:lnTo>
                    <a:pt x="2057674" y="263988"/>
                  </a:lnTo>
                  <a:lnTo>
                    <a:pt x="2056642" y="264460"/>
                  </a:lnTo>
                  <a:lnTo>
                    <a:pt x="2056030" y="265209"/>
                  </a:lnTo>
                  <a:lnTo>
                    <a:pt x="2055771" y="266611"/>
                  </a:lnTo>
                  <a:lnTo>
                    <a:pt x="2054817" y="266718"/>
                  </a:lnTo>
                  <a:lnTo>
                    <a:pt x="2051792" y="265171"/>
                  </a:lnTo>
                  <a:lnTo>
                    <a:pt x="2049626" y="262683"/>
                  </a:lnTo>
                  <a:lnTo>
                    <a:pt x="2046463" y="262162"/>
                  </a:lnTo>
                  <a:lnTo>
                    <a:pt x="2043122" y="259694"/>
                  </a:lnTo>
                  <a:lnTo>
                    <a:pt x="2042375" y="258626"/>
                  </a:lnTo>
                  <a:lnTo>
                    <a:pt x="2043308" y="258319"/>
                  </a:lnTo>
                  <a:lnTo>
                    <a:pt x="2049285" y="258986"/>
                  </a:lnTo>
                  <a:close/>
                  <a:moveTo>
                    <a:pt x="1719818" y="254915"/>
                  </a:moveTo>
                  <a:lnTo>
                    <a:pt x="1724390" y="259860"/>
                  </a:lnTo>
                  <a:lnTo>
                    <a:pt x="1723216" y="260547"/>
                  </a:lnTo>
                  <a:lnTo>
                    <a:pt x="1720897" y="260258"/>
                  </a:lnTo>
                  <a:lnTo>
                    <a:pt x="1718935" y="258503"/>
                  </a:lnTo>
                  <a:lnTo>
                    <a:pt x="1718242" y="255703"/>
                  </a:lnTo>
                  <a:close/>
                  <a:moveTo>
                    <a:pt x="2870197" y="251433"/>
                  </a:moveTo>
                  <a:lnTo>
                    <a:pt x="2867144" y="253044"/>
                  </a:lnTo>
                  <a:lnTo>
                    <a:pt x="2865738" y="256284"/>
                  </a:lnTo>
                  <a:lnTo>
                    <a:pt x="2864531" y="257072"/>
                  </a:lnTo>
                  <a:lnTo>
                    <a:pt x="2847912" y="257610"/>
                  </a:lnTo>
                  <a:lnTo>
                    <a:pt x="2849007" y="256287"/>
                  </a:lnTo>
                  <a:lnTo>
                    <a:pt x="2855010" y="253073"/>
                  </a:lnTo>
                  <a:close/>
                  <a:moveTo>
                    <a:pt x="1062430" y="240792"/>
                  </a:moveTo>
                  <a:lnTo>
                    <a:pt x="1070511" y="241766"/>
                  </a:lnTo>
                  <a:lnTo>
                    <a:pt x="1080869" y="244410"/>
                  </a:lnTo>
                  <a:lnTo>
                    <a:pt x="1085588" y="247334"/>
                  </a:lnTo>
                  <a:lnTo>
                    <a:pt x="1089440" y="251085"/>
                  </a:lnTo>
                  <a:lnTo>
                    <a:pt x="1090289" y="252428"/>
                  </a:lnTo>
                  <a:lnTo>
                    <a:pt x="1090951" y="254870"/>
                  </a:lnTo>
                  <a:lnTo>
                    <a:pt x="1089820" y="257081"/>
                  </a:lnTo>
                  <a:lnTo>
                    <a:pt x="1089101" y="259348"/>
                  </a:lnTo>
                  <a:lnTo>
                    <a:pt x="1090025" y="261075"/>
                  </a:lnTo>
                  <a:lnTo>
                    <a:pt x="1082480" y="266747"/>
                  </a:lnTo>
                  <a:lnTo>
                    <a:pt x="1075046" y="272968"/>
                  </a:lnTo>
                  <a:lnTo>
                    <a:pt x="1073786" y="274275"/>
                  </a:lnTo>
                  <a:lnTo>
                    <a:pt x="1064940" y="276431"/>
                  </a:lnTo>
                  <a:lnTo>
                    <a:pt x="1056093" y="279908"/>
                  </a:lnTo>
                  <a:lnTo>
                    <a:pt x="1050823" y="282323"/>
                  </a:lnTo>
                  <a:lnTo>
                    <a:pt x="1045654" y="283954"/>
                  </a:lnTo>
                  <a:lnTo>
                    <a:pt x="1040442" y="285100"/>
                  </a:lnTo>
                  <a:lnTo>
                    <a:pt x="1032149" y="287971"/>
                  </a:lnTo>
                  <a:lnTo>
                    <a:pt x="1017483" y="291549"/>
                  </a:lnTo>
                  <a:lnTo>
                    <a:pt x="1008249" y="294494"/>
                  </a:lnTo>
                  <a:lnTo>
                    <a:pt x="998143" y="296805"/>
                  </a:lnTo>
                  <a:lnTo>
                    <a:pt x="987487" y="299893"/>
                  </a:lnTo>
                  <a:lnTo>
                    <a:pt x="976800" y="302011"/>
                  </a:lnTo>
                  <a:lnTo>
                    <a:pt x="974150" y="302184"/>
                  </a:lnTo>
                  <a:lnTo>
                    <a:pt x="966571" y="305134"/>
                  </a:lnTo>
                  <a:lnTo>
                    <a:pt x="960585" y="306361"/>
                  </a:lnTo>
                  <a:lnTo>
                    <a:pt x="938918" y="312987"/>
                  </a:lnTo>
                  <a:lnTo>
                    <a:pt x="928969" y="317811"/>
                  </a:lnTo>
                  <a:lnTo>
                    <a:pt x="926102" y="318203"/>
                  </a:lnTo>
                  <a:lnTo>
                    <a:pt x="923215" y="318024"/>
                  </a:lnTo>
                  <a:lnTo>
                    <a:pt x="920846" y="319532"/>
                  </a:lnTo>
                  <a:lnTo>
                    <a:pt x="918600" y="322132"/>
                  </a:lnTo>
                  <a:lnTo>
                    <a:pt x="913921" y="324749"/>
                  </a:lnTo>
                  <a:lnTo>
                    <a:pt x="911567" y="327093"/>
                  </a:lnTo>
                  <a:lnTo>
                    <a:pt x="909136" y="328965"/>
                  </a:lnTo>
                  <a:lnTo>
                    <a:pt x="907723" y="329566"/>
                  </a:lnTo>
                  <a:lnTo>
                    <a:pt x="905035" y="329378"/>
                  </a:lnTo>
                  <a:lnTo>
                    <a:pt x="903748" y="329579"/>
                  </a:lnTo>
                  <a:lnTo>
                    <a:pt x="899354" y="331667"/>
                  </a:lnTo>
                  <a:lnTo>
                    <a:pt x="898563" y="333295"/>
                  </a:lnTo>
                  <a:lnTo>
                    <a:pt x="903290" y="334382"/>
                  </a:lnTo>
                  <a:lnTo>
                    <a:pt x="904318" y="336214"/>
                  </a:lnTo>
                  <a:lnTo>
                    <a:pt x="902943" y="337506"/>
                  </a:lnTo>
                  <a:lnTo>
                    <a:pt x="899883" y="339195"/>
                  </a:lnTo>
                  <a:lnTo>
                    <a:pt x="898151" y="340975"/>
                  </a:lnTo>
                  <a:lnTo>
                    <a:pt x="895002" y="342766"/>
                  </a:lnTo>
                  <a:lnTo>
                    <a:pt x="892841" y="343260"/>
                  </a:lnTo>
                  <a:lnTo>
                    <a:pt x="887643" y="343205"/>
                  </a:lnTo>
                  <a:lnTo>
                    <a:pt x="887364" y="345420"/>
                  </a:lnTo>
                  <a:lnTo>
                    <a:pt x="888179" y="346781"/>
                  </a:lnTo>
                  <a:lnTo>
                    <a:pt x="887764" y="347984"/>
                  </a:lnTo>
                  <a:lnTo>
                    <a:pt x="886023" y="349161"/>
                  </a:lnTo>
                  <a:lnTo>
                    <a:pt x="884298" y="349005"/>
                  </a:lnTo>
                  <a:lnTo>
                    <a:pt x="876429" y="345529"/>
                  </a:lnTo>
                  <a:lnTo>
                    <a:pt x="875145" y="346723"/>
                  </a:lnTo>
                  <a:lnTo>
                    <a:pt x="874592" y="349131"/>
                  </a:lnTo>
                  <a:lnTo>
                    <a:pt x="874350" y="351712"/>
                  </a:lnTo>
                  <a:lnTo>
                    <a:pt x="873353" y="353652"/>
                  </a:lnTo>
                  <a:lnTo>
                    <a:pt x="872013" y="354612"/>
                  </a:lnTo>
                  <a:lnTo>
                    <a:pt x="869532" y="355611"/>
                  </a:lnTo>
                  <a:lnTo>
                    <a:pt x="860830" y="354028"/>
                  </a:lnTo>
                  <a:lnTo>
                    <a:pt x="860111" y="355544"/>
                  </a:lnTo>
                  <a:lnTo>
                    <a:pt x="861435" y="357394"/>
                  </a:lnTo>
                  <a:lnTo>
                    <a:pt x="863285" y="361480"/>
                  </a:lnTo>
                  <a:lnTo>
                    <a:pt x="863713" y="363167"/>
                  </a:lnTo>
                  <a:lnTo>
                    <a:pt x="862670" y="365855"/>
                  </a:lnTo>
                  <a:lnTo>
                    <a:pt x="858768" y="370128"/>
                  </a:lnTo>
                  <a:lnTo>
                    <a:pt x="843864" y="375104"/>
                  </a:lnTo>
                  <a:lnTo>
                    <a:pt x="844108" y="376827"/>
                  </a:lnTo>
                  <a:lnTo>
                    <a:pt x="845766" y="380107"/>
                  </a:lnTo>
                  <a:lnTo>
                    <a:pt x="846183" y="382148"/>
                  </a:lnTo>
                  <a:lnTo>
                    <a:pt x="845578" y="384099"/>
                  </a:lnTo>
                  <a:lnTo>
                    <a:pt x="843611" y="385641"/>
                  </a:lnTo>
                  <a:lnTo>
                    <a:pt x="841432" y="385685"/>
                  </a:lnTo>
                  <a:lnTo>
                    <a:pt x="840244" y="385371"/>
                  </a:lnTo>
                  <a:lnTo>
                    <a:pt x="836813" y="383215"/>
                  </a:lnTo>
                  <a:lnTo>
                    <a:pt x="833818" y="382682"/>
                  </a:lnTo>
                  <a:lnTo>
                    <a:pt x="833328" y="383692"/>
                  </a:lnTo>
                  <a:lnTo>
                    <a:pt x="837161" y="386635"/>
                  </a:lnTo>
                  <a:lnTo>
                    <a:pt x="838893" y="390402"/>
                  </a:lnTo>
                  <a:lnTo>
                    <a:pt x="837062" y="392453"/>
                  </a:lnTo>
                  <a:lnTo>
                    <a:pt x="829866" y="396980"/>
                  </a:lnTo>
                  <a:lnTo>
                    <a:pt x="826096" y="402855"/>
                  </a:lnTo>
                  <a:lnTo>
                    <a:pt x="818806" y="405502"/>
                  </a:lnTo>
                  <a:lnTo>
                    <a:pt x="814300" y="405803"/>
                  </a:lnTo>
                  <a:lnTo>
                    <a:pt x="809832" y="405085"/>
                  </a:lnTo>
                  <a:lnTo>
                    <a:pt x="805547" y="403734"/>
                  </a:lnTo>
                  <a:lnTo>
                    <a:pt x="794815" y="403269"/>
                  </a:lnTo>
                  <a:lnTo>
                    <a:pt x="788866" y="401770"/>
                  </a:lnTo>
                  <a:lnTo>
                    <a:pt x="782822" y="399136"/>
                  </a:lnTo>
                  <a:lnTo>
                    <a:pt x="777556" y="399325"/>
                  </a:lnTo>
                  <a:lnTo>
                    <a:pt x="773070" y="400643"/>
                  </a:lnTo>
                  <a:lnTo>
                    <a:pt x="767190" y="403518"/>
                  </a:lnTo>
                  <a:lnTo>
                    <a:pt x="763468" y="397978"/>
                  </a:lnTo>
                  <a:lnTo>
                    <a:pt x="765083" y="395372"/>
                  </a:lnTo>
                  <a:lnTo>
                    <a:pt x="756992" y="388734"/>
                  </a:lnTo>
                  <a:lnTo>
                    <a:pt x="755316" y="385771"/>
                  </a:lnTo>
                  <a:lnTo>
                    <a:pt x="757272" y="384294"/>
                  </a:lnTo>
                  <a:lnTo>
                    <a:pt x="759751" y="383358"/>
                  </a:lnTo>
                  <a:lnTo>
                    <a:pt x="764407" y="380628"/>
                  </a:lnTo>
                  <a:lnTo>
                    <a:pt x="769102" y="378478"/>
                  </a:lnTo>
                  <a:lnTo>
                    <a:pt x="773951" y="377802"/>
                  </a:lnTo>
                  <a:lnTo>
                    <a:pt x="774770" y="377446"/>
                  </a:lnTo>
                  <a:lnTo>
                    <a:pt x="776776" y="374233"/>
                  </a:lnTo>
                  <a:lnTo>
                    <a:pt x="778940" y="371561"/>
                  </a:lnTo>
                  <a:lnTo>
                    <a:pt x="780909" y="370117"/>
                  </a:lnTo>
                  <a:lnTo>
                    <a:pt x="783176" y="367624"/>
                  </a:lnTo>
                  <a:lnTo>
                    <a:pt x="790210" y="357490"/>
                  </a:lnTo>
                  <a:lnTo>
                    <a:pt x="791879" y="356770"/>
                  </a:lnTo>
                  <a:lnTo>
                    <a:pt x="806515" y="354798"/>
                  </a:lnTo>
                  <a:lnTo>
                    <a:pt x="807815" y="354152"/>
                  </a:lnTo>
                  <a:lnTo>
                    <a:pt x="803622" y="352136"/>
                  </a:lnTo>
                  <a:lnTo>
                    <a:pt x="799294" y="352179"/>
                  </a:lnTo>
                  <a:lnTo>
                    <a:pt x="797299" y="351528"/>
                  </a:lnTo>
                  <a:lnTo>
                    <a:pt x="796167" y="350021"/>
                  </a:lnTo>
                  <a:lnTo>
                    <a:pt x="795545" y="348393"/>
                  </a:lnTo>
                  <a:lnTo>
                    <a:pt x="797258" y="347139"/>
                  </a:lnTo>
                  <a:lnTo>
                    <a:pt x="802874" y="340997"/>
                  </a:lnTo>
                  <a:lnTo>
                    <a:pt x="809601" y="336529"/>
                  </a:lnTo>
                  <a:lnTo>
                    <a:pt x="815811" y="333899"/>
                  </a:lnTo>
                  <a:lnTo>
                    <a:pt x="814258" y="333198"/>
                  </a:lnTo>
                  <a:lnTo>
                    <a:pt x="812302" y="331406"/>
                  </a:lnTo>
                  <a:lnTo>
                    <a:pt x="804740" y="331852"/>
                  </a:lnTo>
                  <a:lnTo>
                    <a:pt x="801758" y="329402"/>
                  </a:lnTo>
                  <a:lnTo>
                    <a:pt x="800829" y="327989"/>
                  </a:lnTo>
                  <a:lnTo>
                    <a:pt x="800583" y="326469"/>
                  </a:lnTo>
                  <a:lnTo>
                    <a:pt x="803030" y="324541"/>
                  </a:lnTo>
                  <a:lnTo>
                    <a:pt x="805569" y="323391"/>
                  </a:lnTo>
                  <a:lnTo>
                    <a:pt x="808370" y="323732"/>
                  </a:lnTo>
                  <a:lnTo>
                    <a:pt x="811166" y="324721"/>
                  </a:lnTo>
                  <a:lnTo>
                    <a:pt x="813386" y="325880"/>
                  </a:lnTo>
                  <a:lnTo>
                    <a:pt x="815513" y="327747"/>
                  </a:lnTo>
                  <a:lnTo>
                    <a:pt x="817394" y="327673"/>
                  </a:lnTo>
                  <a:lnTo>
                    <a:pt x="824159" y="321162"/>
                  </a:lnTo>
                  <a:lnTo>
                    <a:pt x="823121" y="319677"/>
                  </a:lnTo>
                  <a:lnTo>
                    <a:pt x="822682" y="317420"/>
                  </a:lnTo>
                  <a:lnTo>
                    <a:pt x="823456" y="316394"/>
                  </a:lnTo>
                  <a:lnTo>
                    <a:pt x="826662" y="315337"/>
                  </a:lnTo>
                  <a:lnTo>
                    <a:pt x="828830" y="314947"/>
                  </a:lnTo>
                  <a:lnTo>
                    <a:pt x="833568" y="315420"/>
                  </a:lnTo>
                  <a:lnTo>
                    <a:pt x="840313" y="316847"/>
                  </a:lnTo>
                  <a:lnTo>
                    <a:pt x="840860" y="316169"/>
                  </a:lnTo>
                  <a:lnTo>
                    <a:pt x="842555" y="311790"/>
                  </a:lnTo>
                  <a:lnTo>
                    <a:pt x="844218" y="309455"/>
                  </a:lnTo>
                  <a:lnTo>
                    <a:pt x="851078" y="305607"/>
                  </a:lnTo>
                  <a:lnTo>
                    <a:pt x="850612" y="304419"/>
                  </a:lnTo>
                  <a:lnTo>
                    <a:pt x="850297" y="302439"/>
                  </a:lnTo>
                  <a:lnTo>
                    <a:pt x="858258" y="299889"/>
                  </a:lnTo>
                  <a:lnTo>
                    <a:pt x="863441" y="297320"/>
                  </a:lnTo>
                  <a:lnTo>
                    <a:pt x="868494" y="293802"/>
                  </a:lnTo>
                  <a:lnTo>
                    <a:pt x="871003" y="293037"/>
                  </a:lnTo>
                  <a:lnTo>
                    <a:pt x="873562" y="292946"/>
                  </a:lnTo>
                  <a:lnTo>
                    <a:pt x="878783" y="291441"/>
                  </a:lnTo>
                  <a:lnTo>
                    <a:pt x="888410" y="289685"/>
                  </a:lnTo>
                  <a:lnTo>
                    <a:pt x="894031" y="287964"/>
                  </a:lnTo>
                  <a:lnTo>
                    <a:pt x="895845" y="284213"/>
                  </a:lnTo>
                  <a:lnTo>
                    <a:pt x="899408" y="282865"/>
                  </a:lnTo>
                  <a:lnTo>
                    <a:pt x="906635" y="282301"/>
                  </a:lnTo>
                  <a:lnTo>
                    <a:pt x="909386" y="282510"/>
                  </a:lnTo>
                  <a:lnTo>
                    <a:pt x="910947" y="284111"/>
                  </a:lnTo>
                  <a:lnTo>
                    <a:pt x="914065" y="283998"/>
                  </a:lnTo>
                  <a:lnTo>
                    <a:pt x="915294" y="283182"/>
                  </a:lnTo>
                  <a:lnTo>
                    <a:pt x="916536" y="281791"/>
                  </a:lnTo>
                  <a:lnTo>
                    <a:pt x="916160" y="279554"/>
                  </a:lnTo>
                  <a:lnTo>
                    <a:pt x="916104" y="276643"/>
                  </a:lnTo>
                  <a:lnTo>
                    <a:pt x="918814" y="274792"/>
                  </a:lnTo>
                  <a:lnTo>
                    <a:pt x="919803" y="274404"/>
                  </a:lnTo>
                  <a:lnTo>
                    <a:pt x="927935" y="273653"/>
                  </a:lnTo>
                  <a:lnTo>
                    <a:pt x="932748" y="273994"/>
                  </a:lnTo>
                  <a:lnTo>
                    <a:pt x="942703" y="276248"/>
                  </a:lnTo>
                  <a:lnTo>
                    <a:pt x="947873" y="276756"/>
                  </a:lnTo>
                  <a:lnTo>
                    <a:pt x="954748" y="276084"/>
                  </a:lnTo>
                  <a:lnTo>
                    <a:pt x="958937" y="276473"/>
                  </a:lnTo>
                  <a:lnTo>
                    <a:pt x="971203" y="273148"/>
                  </a:lnTo>
                  <a:lnTo>
                    <a:pt x="991929" y="270010"/>
                  </a:lnTo>
                  <a:lnTo>
                    <a:pt x="997327" y="267819"/>
                  </a:lnTo>
                  <a:lnTo>
                    <a:pt x="1002687" y="265146"/>
                  </a:lnTo>
                  <a:lnTo>
                    <a:pt x="1005403" y="264577"/>
                  </a:lnTo>
                  <a:lnTo>
                    <a:pt x="1008152" y="264443"/>
                  </a:lnTo>
                  <a:lnTo>
                    <a:pt x="1010642" y="263604"/>
                  </a:lnTo>
                  <a:lnTo>
                    <a:pt x="1015477" y="261311"/>
                  </a:lnTo>
                  <a:lnTo>
                    <a:pt x="1017876" y="260813"/>
                  </a:lnTo>
                  <a:lnTo>
                    <a:pt x="1020491" y="260783"/>
                  </a:lnTo>
                  <a:lnTo>
                    <a:pt x="1022872" y="259218"/>
                  </a:lnTo>
                  <a:lnTo>
                    <a:pt x="1024995" y="255780"/>
                  </a:lnTo>
                  <a:lnTo>
                    <a:pt x="1027297" y="253096"/>
                  </a:lnTo>
                  <a:lnTo>
                    <a:pt x="1033538" y="249631"/>
                  </a:lnTo>
                  <a:lnTo>
                    <a:pt x="1044231" y="244868"/>
                  </a:lnTo>
                  <a:lnTo>
                    <a:pt x="1053847" y="243014"/>
                  </a:lnTo>
                  <a:lnTo>
                    <a:pt x="1059845" y="240969"/>
                  </a:lnTo>
                  <a:close/>
                  <a:moveTo>
                    <a:pt x="1700952" y="231750"/>
                  </a:moveTo>
                  <a:lnTo>
                    <a:pt x="1701693" y="234154"/>
                  </a:lnTo>
                  <a:lnTo>
                    <a:pt x="1701680" y="235295"/>
                  </a:lnTo>
                  <a:lnTo>
                    <a:pt x="1698650" y="238017"/>
                  </a:lnTo>
                  <a:lnTo>
                    <a:pt x="1695579" y="240090"/>
                  </a:lnTo>
                  <a:lnTo>
                    <a:pt x="1694873" y="240992"/>
                  </a:lnTo>
                  <a:lnTo>
                    <a:pt x="1693908" y="241695"/>
                  </a:lnTo>
                  <a:lnTo>
                    <a:pt x="1691289" y="241212"/>
                  </a:lnTo>
                  <a:lnTo>
                    <a:pt x="1686054" y="242494"/>
                  </a:lnTo>
                  <a:lnTo>
                    <a:pt x="1684089" y="241766"/>
                  </a:lnTo>
                  <a:lnTo>
                    <a:pt x="1682211" y="240338"/>
                  </a:lnTo>
                  <a:lnTo>
                    <a:pt x="1675206" y="240795"/>
                  </a:lnTo>
                  <a:lnTo>
                    <a:pt x="1673133" y="240454"/>
                  </a:lnTo>
                  <a:lnTo>
                    <a:pt x="1676458" y="238702"/>
                  </a:lnTo>
                  <a:lnTo>
                    <a:pt x="1686041" y="236789"/>
                  </a:lnTo>
                  <a:close/>
                  <a:moveTo>
                    <a:pt x="1548109" y="226811"/>
                  </a:moveTo>
                  <a:lnTo>
                    <a:pt x="1549510" y="228250"/>
                  </a:lnTo>
                  <a:lnTo>
                    <a:pt x="1549205" y="229459"/>
                  </a:lnTo>
                  <a:lnTo>
                    <a:pt x="1545855" y="232530"/>
                  </a:lnTo>
                  <a:lnTo>
                    <a:pt x="1541106" y="232756"/>
                  </a:lnTo>
                  <a:lnTo>
                    <a:pt x="1538447" y="231544"/>
                  </a:lnTo>
                  <a:lnTo>
                    <a:pt x="1537616" y="230755"/>
                  </a:lnTo>
                  <a:lnTo>
                    <a:pt x="1538916" y="228641"/>
                  </a:lnTo>
                  <a:lnTo>
                    <a:pt x="1540708" y="227260"/>
                  </a:lnTo>
                  <a:close/>
                  <a:moveTo>
                    <a:pt x="1943257" y="225119"/>
                  </a:moveTo>
                  <a:lnTo>
                    <a:pt x="1945628" y="225921"/>
                  </a:lnTo>
                  <a:lnTo>
                    <a:pt x="1946416" y="226406"/>
                  </a:lnTo>
                  <a:lnTo>
                    <a:pt x="1947195" y="227338"/>
                  </a:lnTo>
                  <a:lnTo>
                    <a:pt x="1947526" y="228815"/>
                  </a:lnTo>
                  <a:lnTo>
                    <a:pt x="1941672" y="230013"/>
                  </a:lnTo>
                  <a:lnTo>
                    <a:pt x="1939184" y="230068"/>
                  </a:lnTo>
                  <a:lnTo>
                    <a:pt x="1938461" y="227843"/>
                  </a:lnTo>
                  <a:lnTo>
                    <a:pt x="1940603" y="225142"/>
                  </a:lnTo>
                  <a:close/>
                  <a:moveTo>
                    <a:pt x="1870252" y="207045"/>
                  </a:moveTo>
                  <a:lnTo>
                    <a:pt x="1884170" y="210755"/>
                  </a:lnTo>
                  <a:lnTo>
                    <a:pt x="1887508" y="213466"/>
                  </a:lnTo>
                  <a:lnTo>
                    <a:pt x="1895109" y="215614"/>
                  </a:lnTo>
                  <a:lnTo>
                    <a:pt x="1903981" y="216744"/>
                  </a:lnTo>
                  <a:lnTo>
                    <a:pt x="1908056" y="218457"/>
                  </a:lnTo>
                  <a:lnTo>
                    <a:pt x="1910021" y="220399"/>
                  </a:lnTo>
                  <a:lnTo>
                    <a:pt x="1911706" y="223082"/>
                  </a:lnTo>
                  <a:lnTo>
                    <a:pt x="1904511" y="224890"/>
                  </a:lnTo>
                  <a:lnTo>
                    <a:pt x="1896780" y="230239"/>
                  </a:lnTo>
                  <a:lnTo>
                    <a:pt x="1886329" y="233190"/>
                  </a:lnTo>
                  <a:lnTo>
                    <a:pt x="1873321" y="235152"/>
                  </a:lnTo>
                  <a:lnTo>
                    <a:pt x="1870641" y="236591"/>
                  </a:lnTo>
                  <a:lnTo>
                    <a:pt x="1895357" y="237032"/>
                  </a:lnTo>
                  <a:lnTo>
                    <a:pt x="1902559" y="236643"/>
                  </a:lnTo>
                  <a:lnTo>
                    <a:pt x="1904021" y="241262"/>
                  </a:lnTo>
                  <a:lnTo>
                    <a:pt x="1906457" y="241446"/>
                  </a:lnTo>
                  <a:lnTo>
                    <a:pt x="1913604" y="239222"/>
                  </a:lnTo>
                  <a:lnTo>
                    <a:pt x="1917878" y="239104"/>
                  </a:lnTo>
                  <a:lnTo>
                    <a:pt x="1925979" y="240690"/>
                  </a:lnTo>
                  <a:lnTo>
                    <a:pt x="1927718" y="239852"/>
                  </a:lnTo>
                  <a:lnTo>
                    <a:pt x="1931209" y="239731"/>
                  </a:lnTo>
                  <a:lnTo>
                    <a:pt x="1938668" y="241750"/>
                  </a:lnTo>
                  <a:lnTo>
                    <a:pt x="1942004" y="244741"/>
                  </a:lnTo>
                  <a:lnTo>
                    <a:pt x="1936707" y="249586"/>
                  </a:lnTo>
                  <a:lnTo>
                    <a:pt x="1931195" y="253817"/>
                  </a:lnTo>
                  <a:lnTo>
                    <a:pt x="1924514" y="261055"/>
                  </a:lnTo>
                  <a:lnTo>
                    <a:pt x="1922451" y="260462"/>
                  </a:lnTo>
                  <a:lnTo>
                    <a:pt x="1918895" y="260316"/>
                  </a:lnTo>
                  <a:lnTo>
                    <a:pt x="1919534" y="263864"/>
                  </a:lnTo>
                  <a:lnTo>
                    <a:pt x="1925496" y="263752"/>
                  </a:lnTo>
                  <a:lnTo>
                    <a:pt x="1928640" y="265341"/>
                  </a:lnTo>
                  <a:lnTo>
                    <a:pt x="1935988" y="263322"/>
                  </a:lnTo>
                  <a:lnTo>
                    <a:pt x="1946304" y="263963"/>
                  </a:lnTo>
                  <a:lnTo>
                    <a:pt x="1948469" y="263402"/>
                  </a:lnTo>
                  <a:lnTo>
                    <a:pt x="1952451" y="261226"/>
                  </a:lnTo>
                  <a:lnTo>
                    <a:pt x="1953505" y="257038"/>
                  </a:lnTo>
                  <a:lnTo>
                    <a:pt x="1955230" y="254372"/>
                  </a:lnTo>
                  <a:lnTo>
                    <a:pt x="1958629" y="253477"/>
                  </a:lnTo>
                  <a:lnTo>
                    <a:pt x="1962397" y="254323"/>
                  </a:lnTo>
                  <a:lnTo>
                    <a:pt x="1968729" y="254295"/>
                  </a:lnTo>
                  <a:lnTo>
                    <a:pt x="1984892" y="252951"/>
                  </a:lnTo>
                  <a:lnTo>
                    <a:pt x="1998421" y="254676"/>
                  </a:lnTo>
                  <a:lnTo>
                    <a:pt x="2009263" y="252527"/>
                  </a:lnTo>
                  <a:lnTo>
                    <a:pt x="2023489" y="254160"/>
                  </a:lnTo>
                  <a:lnTo>
                    <a:pt x="2029628" y="255839"/>
                  </a:lnTo>
                  <a:lnTo>
                    <a:pt x="2034229" y="258804"/>
                  </a:lnTo>
                  <a:lnTo>
                    <a:pt x="2038332" y="259667"/>
                  </a:lnTo>
                  <a:lnTo>
                    <a:pt x="2041706" y="261973"/>
                  </a:lnTo>
                  <a:lnTo>
                    <a:pt x="2045139" y="265330"/>
                  </a:lnTo>
                  <a:lnTo>
                    <a:pt x="2043433" y="268070"/>
                  </a:lnTo>
                  <a:lnTo>
                    <a:pt x="2041794" y="269905"/>
                  </a:lnTo>
                  <a:lnTo>
                    <a:pt x="2046219" y="267913"/>
                  </a:lnTo>
                  <a:lnTo>
                    <a:pt x="2049630" y="267423"/>
                  </a:lnTo>
                  <a:lnTo>
                    <a:pt x="2052200" y="268631"/>
                  </a:lnTo>
                  <a:lnTo>
                    <a:pt x="2056761" y="269764"/>
                  </a:lnTo>
                  <a:lnTo>
                    <a:pt x="2058190" y="277286"/>
                  </a:lnTo>
                  <a:lnTo>
                    <a:pt x="2059481" y="278741"/>
                  </a:lnTo>
                  <a:lnTo>
                    <a:pt x="2060716" y="281347"/>
                  </a:lnTo>
                  <a:lnTo>
                    <a:pt x="2059024" y="283730"/>
                  </a:lnTo>
                  <a:lnTo>
                    <a:pt x="2057572" y="284803"/>
                  </a:lnTo>
                  <a:lnTo>
                    <a:pt x="2061170" y="284575"/>
                  </a:lnTo>
                  <a:lnTo>
                    <a:pt x="2066206" y="282053"/>
                  </a:lnTo>
                  <a:lnTo>
                    <a:pt x="2067253" y="281198"/>
                  </a:lnTo>
                  <a:lnTo>
                    <a:pt x="2068499" y="279305"/>
                  </a:lnTo>
                  <a:lnTo>
                    <a:pt x="2066634" y="277450"/>
                  </a:lnTo>
                  <a:lnTo>
                    <a:pt x="2064908" y="276333"/>
                  </a:lnTo>
                  <a:lnTo>
                    <a:pt x="2067076" y="275496"/>
                  </a:lnTo>
                  <a:lnTo>
                    <a:pt x="2071202" y="275790"/>
                  </a:lnTo>
                  <a:lnTo>
                    <a:pt x="2073256" y="279107"/>
                  </a:lnTo>
                  <a:lnTo>
                    <a:pt x="2074632" y="282144"/>
                  </a:lnTo>
                  <a:lnTo>
                    <a:pt x="2077641" y="292136"/>
                  </a:lnTo>
                  <a:lnTo>
                    <a:pt x="2084129" y="290796"/>
                  </a:lnTo>
                  <a:lnTo>
                    <a:pt x="2084433" y="293747"/>
                  </a:lnTo>
                  <a:lnTo>
                    <a:pt x="2081730" y="300563"/>
                  </a:lnTo>
                  <a:lnTo>
                    <a:pt x="2078881" y="305601"/>
                  </a:lnTo>
                  <a:lnTo>
                    <a:pt x="2077724" y="306689"/>
                  </a:lnTo>
                  <a:lnTo>
                    <a:pt x="2075918" y="306888"/>
                  </a:lnTo>
                  <a:lnTo>
                    <a:pt x="2076610" y="304290"/>
                  </a:lnTo>
                  <a:lnTo>
                    <a:pt x="2075545" y="302726"/>
                  </a:lnTo>
                  <a:lnTo>
                    <a:pt x="2073832" y="301774"/>
                  </a:lnTo>
                  <a:lnTo>
                    <a:pt x="2067968" y="300838"/>
                  </a:lnTo>
                  <a:lnTo>
                    <a:pt x="2056974" y="294677"/>
                  </a:lnTo>
                  <a:lnTo>
                    <a:pt x="2054044" y="294023"/>
                  </a:lnTo>
                  <a:lnTo>
                    <a:pt x="2053369" y="294305"/>
                  </a:lnTo>
                  <a:lnTo>
                    <a:pt x="2053079" y="294913"/>
                  </a:lnTo>
                  <a:lnTo>
                    <a:pt x="2059194" y="299084"/>
                  </a:lnTo>
                  <a:lnTo>
                    <a:pt x="2064193" y="306532"/>
                  </a:lnTo>
                  <a:lnTo>
                    <a:pt x="2068745" y="304352"/>
                  </a:lnTo>
                  <a:lnTo>
                    <a:pt x="2070546" y="304759"/>
                  </a:lnTo>
                  <a:lnTo>
                    <a:pt x="2073051" y="308219"/>
                  </a:lnTo>
                  <a:lnTo>
                    <a:pt x="2077531" y="309663"/>
                  </a:lnTo>
                  <a:lnTo>
                    <a:pt x="2081230" y="311963"/>
                  </a:lnTo>
                  <a:lnTo>
                    <a:pt x="2078741" y="318999"/>
                  </a:lnTo>
                  <a:lnTo>
                    <a:pt x="2063513" y="331336"/>
                  </a:lnTo>
                  <a:lnTo>
                    <a:pt x="2047307" y="338483"/>
                  </a:lnTo>
                  <a:lnTo>
                    <a:pt x="2040148" y="343462"/>
                  </a:lnTo>
                  <a:lnTo>
                    <a:pt x="2027562" y="347044"/>
                  </a:lnTo>
                  <a:lnTo>
                    <a:pt x="2018578" y="351878"/>
                  </a:lnTo>
                  <a:lnTo>
                    <a:pt x="2007097" y="355463"/>
                  </a:lnTo>
                  <a:lnTo>
                    <a:pt x="2003832" y="359276"/>
                  </a:lnTo>
                  <a:lnTo>
                    <a:pt x="1995306" y="361744"/>
                  </a:lnTo>
                  <a:lnTo>
                    <a:pt x="1995883" y="363001"/>
                  </a:lnTo>
                  <a:lnTo>
                    <a:pt x="1996877" y="364381"/>
                  </a:lnTo>
                  <a:lnTo>
                    <a:pt x="1995827" y="366658"/>
                  </a:lnTo>
                  <a:lnTo>
                    <a:pt x="1994642" y="368380"/>
                  </a:lnTo>
                  <a:lnTo>
                    <a:pt x="1988021" y="371861"/>
                  </a:lnTo>
                  <a:lnTo>
                    <a:pt x="1978383" y="374304"/>
                  </a:lnTo>
                  <a:lnTo>
                    <a:pt x="1959025" y="388864"/>
                  </a:lnTo>
                  <a:lnTo>
                    <a:pt x="1949426" y="391824"/>
                  </a:lnTo>
                  <a:lnTo>
                    <a:pt x="1938495" y="391993"/>
                  </a:lnTo>
                  <a:lnTo>
                    <a:pt x="1936193" y="393347"/>
                  </a:lnTo>
                  <a:lnTo>
                    <a:pt x="1927951" y="402425"/>
                  </a:lnTo>
                  <a:lnTo>
                    <a:pt x="1925412" y="404382"/>
                  </a:lnTo>
                  <a:lnTo>
                    <a:pt x="1914561" y="405345"/>
                  </a:lnTo>
                  <a:lnTo>
                    <a:pt x="1903250" y="420106"/>
                  </a:lnTo>
                  <a:lnTo>
                    <a:pt x="1896962" y="425085"/>
                  </a:lnTo>
                  <a:lnTo>
                    <a:pt x="1891460" y="427773"/>
                  </a:lnTo>
                  <a:lnTo>
                    <a:pt x="1897182" y="427232"/>
                  </a:lnTo>
                  <a:lnTo>
                    <a:pt x="1903937" y="425268"/>
                  </a:lnTo>
                  <a:lnTo>
                    <a:pt x="1911863" y="420503"/>
                  </a:lnTo>
                  <a:lnTo>
                    <a:pt x="1913917" y="418304"/>
                  </a:lnTo>
                  <a:lnTo>
                    <a:pt x="1915006" y="415831"/>
                  </a:lnTo>
                  <a:lnTo>
                    <a:pt x="1917355" y="413893"/>
                  </a:lnTo>
                  <a:lnTo>
                    <a:pt x="1920956" y="412496"/>
                  </a:lnTo>
                  <a:lnTo>
                    <a:pt x="1934906" y="410891"/>
                  </a:lnTo>
                  <a:lnTo>
                    <a:pt x="1940654" y="411491"/>
                  </a:lnTo>
                  <a:lnTo>
                    <a:pt x="1949093" y="411067"/>
                  </a:lnTo>
                  <a:lnTo>
                    <a:pt x="1954641" y="408419"/>
                  </a:lnTo>
                  <a:lnTo>
                    <a:pt x="1957951" y="407472"/>
                  </a:lnTo>
                  <a:lnTo>
                    <a:pt x="1960923" y="407135"/>
                  </a:lnTo>
                  <a:lnTo>
                    <a:pt x="1962385" y="405251"/>
                  </a:lnTo>
                  <a:lnTo>
                    <a:pt x="1967336" y="404875"/>
                  </a:lnTo>
                  <a:lnTo>
                    <a:pt x="1978714" y="402350"/>
                  </a:lnTo>
                  <a:lnTo>
                    <a:pt x="1980388" y="401448"/>
                  </a:lnTo>
                  <a:lnTo>
                    <a:pt x="1984046" y="397703"/>
                  </a:lnTo>
                  <a:lnTo>
                    <a:pt x="1990813" y="399130"/>
                  </a:lnTo>
                  <a:lnTo>
                    <a:pt x="1995637" y="398343"/>
                  </a:lnTo>
                  <a:lnTo>
                    <a:pt x="2008317" y="391657"/>
                  </a:lnTo>
                  <a:lnTo>
                    <a:pt x="2015937" y="389075"/>
                  </a:lnTo>
                  <a:lnTo>
                    <a:pt x="2018034" y="387293"/>
                  </a:lnTo>
                  <a:lnTo>
                    <a:pt x="2016510" y="386046"/>
                  </a:lnTo>
                  <a:lnTo>
                    <a:pt x="2014810" y="385180"/>
                  </a:lnTo>
                  <a:lnTo>
                    <a:pt x="2007423" y="387494"/>
                  </a:lnTo>
                  <a:lnTo>
                    <a:pt x="2000854" y="388244"/>
                  </a:lnTo>
                  <a:lnTo>
                    <a:pt x="1993370" y="387643"/>
                  </a:lnTo>
                  <a:lnTo>
                    <a:pt x="1992353" y="386734"/>
                  </a:lnTo>
                  <a:lnTo>
                    <a:pt x="1991444" y="384307"/>
                  </a:lnTo>
                  <a:lnTo>
                    <a:pt x="1993843" y="380822"/>
                  </a:lnTo>
                  <a:lnTo>
                    <a:pt x="1995943" y="378695"/>
                  </a:lnTo>
                  <a:lnTo>
                    <a:pt x="2000692" y="375943"/>
                  </a:lnTo>
                  <a:lnTo>
                    <a:pt x="2004618" y="374948"/>
                  </a:lnTo>
                  <a:lnTo>
                    <a:pt x="2019183" y="377949"/>
                  </a:lnTo>
                  <a:lnTo>
                    <a:pt x="2022193" y="378318"/>
                  </a:lnTo>
                  <a:lnTo>
                    <a:pt x="2023843" y="373418"/>
                  </a:lnTo>
                  <a:lnTo>
                    <a:pt x="2028499" y="373654"/>
                  </a:lnTo>
                  <a:lnTo>
                    <a:pt x="2033124" y="374469"/>
                  </a:lnTo>
                  <a:lnTo>
                    <a:pt x="2031120" y="375492"/>
                  </a:lnTo>
                  <a:lnTo>
                    <a:pt x="2025993" y="377058"/>
                  </a:lnTo>
                  <a:lnTo>
                    <a:pt x="2027572" y="380666"/>
                  </a:lnTo>
                  <a:lnTo>
                    <a:pt x="2029803" y="383125"/>
                  </a:lnTo>
                  <a:lnTo>
                    <a:pt x="2038721" y="386669"/>
                  </a:lnTo>
                  <a:lnTo>
                    <a:pt x="2046318" y="388227"/>
                  </a:lnTo>
                  <a:lnTo>
                    <a:pt x="2051907" y="388133"/>
                  </a:lnTo>
                  <a:lnTo>
                    <a:pt x="2060649" y="386633"/>
                  </a:lnTo>
                  <a:lnTo>
                    <a:pt x="2061988" y="385557"/>
                  </a:lnTo>
                  <a:lnTo>
                    <a:pt x="2063839" y="382785"/>
                  </a:lnTo>
                  <a:lnTo>
                    <a:pt x="2061546" y="377338"/>
                  </a:lnTo>
                  <a:lnTo>
                    <a:pt x="2063735" y="378044"/>
                  </a:lnTo>
                  <a:lnTo>
                    <a:pt x="2065899" y="379417"/>
                  </a:lnTo>
                  <a:lnTo>
                    <a:pt x="2069188" y="382709"/>
                  </a:lnTo>
                  <a:lnTo>
                    <a:pt x="2072401" y="388292"/>
                  </a:lnTo>
                  <a:lnTo>
                    <a:pt x="2074377" y="390856"/>
                  </a:lnTo>
                  <a:lnTo>
                    <a:pt x="2073232" y="393631"/>
                  </a:lnTo>
                  <a:lnTo>
                    <a:pt x="2068644" y="398892"/>
                  </a:lnTo>
                  <a:lnTo>
                    <a:pt x="2071298" y="401793"/>
                  </a:lnTo>
                  <a:lnTo>
                    <a:pt x="2076029" y="403725"/>
                  </a:lnTo>
                  <a:lnTo>
                    <a:pt x="2075955" y="412254"/>
                  </a:lnTo>
                  <a:lnTo>
                    <a:pt x="2075668" y="416368"/>
                  </a:lnTo>
                  <a:lnTo>
                    <a:pt x="2073340" y="420839"/>
                  </a:lnTo>
                  <a:lnTo>
                    <a:pt x="2070643" y="422721"/>
                  </a:lnTo>
                  <a:lnTo>
                    <a:pt x="2068000" y="425520"/>
                  </a:lnTo>
                  <a:lnTo>
                    <a:pt x="2068671" y="428091"/>
                  </a:lnTo>
                  <a:lnTo>
                    <a:pt x="2069289" y="429740"/>
                  </a:lnTo>
                  <a:lnTo>
                    <a:pt x="2072077" y="432791"/>
                  </a:lnTo>
                  <a:lnTo>
                    <a:pt x="2079868" y="433748"/>
                  </a:lnTo>
                  <a:lnTo>
                    <a:pt x="2080916" y="432926"/>
                  </a:lnTo>
                  <a:lnTo>
                    <a:pt x="2079106" y="431965"/>
                  </a:lnTo>
                  <a:lnTo>
                    <a:pt x="2073828" y="430543"/>
                  </a:lnTo>
                  <a:lnTo>
                    <a:pt x="2071766" y="429375"/>
                  </a:lnTo>
                  <a:lnTo>
                    <a:pt x="2069940" y="426563"/>
                  </a:lnTo>
                  <a:lnTo>
                    <a:pt x="2072062" y="423516"/>
                  </a:lnTo>
                  <a:lnTo>
                    <a:pt x="2074405" y="421248"/>
                  </a:lnTo>
                  <a:lnTo>
                    <a:pt x="2077176" y="416094"/>
                  </a:lnTo>
                  <a:lnTo>
                    <a:pt x="2078031" y="412376"/>
                  </a:lnTo>
                  <a:lnTo>
                    <a:pt x="2077531" y="408546"/>
                  </a:lnTo>
                  <a:lnTo>
                    <a:pt x="2079306" y="406807"/>
                  </a:lnTo>
                  <a:lnTo>
                    <a:pt x="2082095" y="404921"/>
                  </a:lnTo>
                  <a:lnTo>
                    <a:pt x="2083511" y="404556"/>
                  </a:lnTo>
                  <a:lnTo>
                    <a:pt x="2084770" y="403738"/>
                  </a:lnTo>
                  <a:lnTo>
                    <a:pt x="2082755" y="402818"/>
                  </a:lnTo>
                  <a:lnTo>
                    <a:pt x="2080902" y="402344"/>
                  </a:lnTo>
                  <a:lnTo>
                    <a:pt x="2077102" y="399998"/>
                  </a:lnTo>
                  <a:lnTo>
                    <a:pt x="2076459" y="396955"/>
                  </a:lnTo>
                  <a:lnTo>
                    <a:pt x="2084122" y="395741"/>
                  </a:lnTo>
                  <a:lnTo>
                    <a:pt x="2088624" y="393550"/>
                  </a:lnTo>
                  <a:lnTo>
                    <a:pt x="2105330" y="392587"/>
                  </a:lnTo>
                  <a:lnTo>
                    <a:pt x="2116865" y="388500"/>
                  </a:lnTo>
                  <a:lnTo>
                    <a:pt x="2142466" y="389637"/>
                  </a:lnTo>
                  <a:lnTo>
                    <a:pt x="2160446" y="392930"/>
                  </a:lnTo>
                  <a:lnTo>
                    <a:pt x="2185689" y="393330"/>
                  </a:lnTo>
                  <a:lnTo>
                    <a:pt x="2194992" y="395550"/>
                  </a:lnTo>
                  <a:lnTo>
                    <a:pt x="2195883" y="396384"/>
                  </a:lnTo>
                  <a:lnTo>
                    <a:pt x="2196440" y="397970"/>
                  </a:lnTo>
                  <a:lnTo>
                    <a:pt x="2192417" y="398682"/>
                  </a:lnTo>
                  <a:lnTo>
                    <a:pt x="2185840" y="398687"/>
                  </a:lnTo>
                  <a:lnTo>
                    <a:pt x="2184061" y="402826"/>
                  </a:lnTo>
                  <a:lnTo>
                    <a:pt x="2185248" y="407955"/>
                  </a:lnTo>
                  <a:lnTo>
                    <a:pt x="2196970" y="413432"/>
                  </a:lnTo>
                  <a:lnTo>
                    <a:pt x="2207251" y="415687"/>
                  </a:lnTo>
                  <a:lnTo>
                    <a:pt x="2214439" y="419270"/>
                  </a:lnTo>
                  <a:lnTo>
                    <a:pt x="2218227" y="419597"/>
                  </a:lnTo>
                  <a:lnTo>
                    <a:pt x="2233180" y="419186"/>
                  </a:lnTo>
                  <a:lnTo>
                    <a:pt x="2242008" y="421056"/>
                  </a:lnTo>
                  <a:lnTo>
                    <a:pt x="2249905" y="419618"/>
                  </a:lnTo>
                  <a:lnTo>
                    <a:pt x="2258607" y="419667"/>
                  </a:lnTo>
                  <a:lnTo>
                    <a:pt x="2261663" y="420038"/>
                  </a:lnTo>
                  <a:lnTo>
                    <a:pt x="2264841" y="422721"/>
                  </a:lnTo>
                  <a:lnTo>
                    <a:pt x="2269935" y="423421"/>
                  </a:lnTo>
                  <a:lnTo>
                    <a:pt x="2276068" y="423539"/>
                  </a:lnTo>
                  <a:lnTo>
                    <a:pt x="2279486" y="422990"/>
                  </a:lnTo>
                  <a:lnTo>
                    <a:pt x="2280810" y="422330"/>
                  </a:lnTo>
                  <a:lnTo>
                    <a:pt x="2280344" y="421285"/>
                  </a:lnTo>
                  <a:lnTo>
                    <a:pt x="2275282" y="419626"/>
                  </a:lnTo>
                  <a:lnTo>
                    <a:pt x="2275830" y="417683"/>
                  </a:lnTo>
                  <a:lnTo>
                    <a:pt x="2277787" y="417209"/>
                  </a:lnTo>
                  <a:lnTo>
                    <a:pt x="2286280" y="419880"/>
                  </a:lnTo>
                  <a:lnTo>
                    <a:pt x="2289840" y="420291"/>
                  </a:lnTo>
                  <a:lnTo>
                    <a:pt x="2292954" y="418312"/>
                  </a:lnTo>
                  <a:lnTo>
                    <a:pt x="2295241" y="414770"/>
                  </a:lnTo>
                  <a:lnTo>
                    <a:pt x="2296502" y="412293"/>
                  </a:lnTo>
                  <a:lnTo>
                    <a:pt x="2297834" y="411078"/>
                  </a:lnTo>
                  <a:lnTo>
                    <a:pt x="2298953" y="410889"/>
                  </a:lnTo>
                  <a:lnTo>
                    <a:pt x="2300054" y="410215"/>
                  </a:lnTo>
                  <a:lnTo>
                    <a:pt x="2297372" y="407315"/>
                  </a:lnTo>
                  <a:lnTo>
                    <a:pt x="2294783" y="403674"/>
                  </a:lnTo>
                  <a:lnTo>
                    <a:pt x="2294150" y="401325"/>
                  </a:lnTo>
                  <a:lnTo>
                    <a:pt x="2293429" y="400119"/>
                  </a:lnTo>
                  <a:lnTo>
                    <a:pt x="2293041" y="395762"/>
                  </a:lnTo>
                  <a:lnTo>
                    <a:pt x="2295498" y="391316"/>
                  </a:lnTo>
                  <a:lnTo>
                    <a:pt x="2297154" y="390053"/>
                  </a:lnTo>
                  <a:lnTo>
                    <a:pt x="2303915" y="391749"/>
                  </a:lnTo>
                  <a:lnTo>
                    <a:pt x="2306945" y="389069"/>
                  </a:lnTo>
                  <a:lnTo>
                    <a:pt x="2308827" y="388083"/>
                  </a:lnTo>
                  <a:lnTo>
                    <a:pt x="2316988" y="386258"/>
                  </a:lnTo>
                  <a:lnTo>
                    <a:pt x="2320374" y="386411"/>
                  </a:lnTo>
                  <a:lnTo>
                    <a:pt x="2326014" y="388106"/>
                  </a:lnTo>
                  <a:lnTo>
                    <a:pt x="2344164" y="396288"/>
                  </a:lnTo>
                  <a:lnTo>
                    <a:pt x="2343754" y="399411"/>
                  </a:lnTo>
                  <a:lnTo>
                    <a:pt x="2348085" y="398513"/>
                  </a:lnTo>
                  <a:lnTo>
                    <a:pt x="2350152" y="397249"/>
                  </a:lnTo>
                  <a:lnTo>
                    <a:pt x="2355006" y="396421"/>
                  </a:lnTo>
                  <a:lnTo>
                    <a:pt x="2358258" y="395109"/>
                  </a:lnTo>
                  <a:lnTo>
                    <a:pt x="2359176" y="395602"/>
                  </a:lnTo>
                  <a:lnTo>
                    <a:pt x="2360258" y="396898"/>
                  </a:lnTo>
                  <a:lnTo>
                    <a:pt x="2359461" y="398718"/>
                  </a:lnTo>
                  <a:lnTo>
                    <a:pt x="2358324" y="400589"/>
                  </a:lnTo>
                  <a:lnTo>
                    <a:pt x="2359098" y="401679"/>
                  </a:lnTo>
                  <a:lnTo>
                    <a:pt x="2360048" y="401909"/>
                  </a:lnTo>
                  <a:lnTo>
                    <a:pt x="2364849" y="404201"/>
                  </a:lnTo>
                  <a:lnTo>
                    <a:pt x="2371172" y="399975"/>
                  </a:lnTo>
                  <a:lnTo>
                    <a:pt x="2373752" y="395962"/>
                  </a:lnTo>
                  <a:lnTo>
                    <a:pt x="2375436" y="395140"/>
                  </a:lnTo>
                  <a:lnTo>
                    <a:pt x="2391113" y="397955"/>
                  </a:lnTo>
                  <a:lnTo>
                    <a:pt x="2395862" y="399490"/>
                  </a:lnTo>
                  <a:lnTo>
                    <a:pt x="2396786" y="400339"/>
                  </a:lnTo>
                  <a:lnTo>
                    <a:pt x="2397423" y="401824"/>
                  </a:lnTo>
                  <a:lnTo>
                    <a:pt x="2399988" y="403457"/>
                  </a:lnTo>
                  <a:lnTo>
                    <a:pt x="2403078" y="404386"/>
                  </a:lnTo>
                  <a:lnTo>
                    <a:pt x="2402696" y="405654"/>
                  </a:lnTo>
                  <a:lnTo>
                    <a:pt x="2402556" y="407066"/>
                  </a:lnTo>
                  <a:lnTo>
                    <a:pt x="2409835" y="407282"/>
                  </a:lnTo>
                  <a:lnTo>
                    <a:pt x="2413008" y="408513"/>
                  </a:lnTo>
                  <a:lnTo>
                    <a:pt x="2416505" y="410343"/>
                  </a:lnTo>
                  <a:lnTo>
                    <a:pt x="2416129" y="412498"/>
                  </a:lnTo>
                  <a:lnTo>
                    <a:pt x="2417052" y="413715"/>
                  </a:lnTo>
                  <a:lnTo>
                    <a:pt x="2420276" y="413845"/>
                  </a:lnTo>
                  <a:lnTo>
                    <a:pt x="2421192" y="413641"/>
                  </a:lnTo>
                  <a:lnTo>
                    <a:pt x="2420155" y="416471"/>
                  </a:lnTo>
                  <a:lnTo>
                    <a:pt x="2415728" y="419544"/>
                  </a:lnTo>
                  <a:lnTo>
                    <a:pt x="2413113" y="420781"/>
                  </a:lnTo>
                  <a:lnTo>
                    <a:pt x="2410101" y="422807"/>
                  </a:lnTo>
                  <a:lnTo>
                    <a:pt x="2411759" y="423198"/>
                  </a:lnTo>
                  <a:lnTo>
                    <a:pt x="2419349" y="423763"/>
                  </a:lnTo>
                  <a:lnTo>
                    <a:pt x="2424033" y="427828"/>
                  </a:lnTo>
                  <a:lnTo>
                    <a:pt x="2424504" y="430788"/>
                  </a:lnTo>
                  <a:lnTo>
                    <a:pt x="2421567" y="431971"/>
                  </a:lnTo>
                  <a:lnTo>
                    <a:pt x="2414884" y="435782"/>
                  </a:lnTo>
                  <a:lnTo>
                    <a:pt x="2410861" y="437276"/>
                  </a:lnTo>
                  <a:lnTo>
                    <a:pt x="2408099" y="437394"/>
                  </a:lnTo>
                  <a:lnTo>
                    <a:pt x="2406104" y="437902"/>
                  </a:lnTo>
                  <a:lnTo>
                    <a:pt x="2409003" y="439543"/>
                  </a:lnTo>
                  <a:lnTo>
                    <a:pt x="2421546" y="439964"/>
                  </a:lnTo>
                  <a:lnTo>
                    <a:pt x="2425188" y="441967"/>
                  </a:lnTo>
                  <a:lnTo>
                    <a:pt x="2428071" y="447053"/>
                  </a:lnTo>
                  <a:lnTo>
                    <a:pt x="2428047" y="453242"/>
                  </a:lnTo>
                  <a:lnTo>
                    <a:pt x="2425236" y="456316"/>
                  </a:lnTo>
                  <a:lnTo>
                    <a:pt x="2417529" y="456834"/>
                  </a:lnTo>
                  <a:lnTo>
                    <a:pt x="2407362" y="449957"/>
                  </a:lnTo>
                  <a:lnTo>
                    <a:pt x="2401211" y="447297"/>
                  </a:lnTo>
                  <a:lnTo>
                    <a:pt x="2392508" y="442120"/>
                  </a:lnTo>
                  <a:lnTo>
                    <a:pt x="2390798" y="442988"/>
                  </a:lnTo>
                  <a:lnTo>
                    <a:pt x="2393349" y="447354"/>
                  </a:lnTo>
                  <a:lnTo>
                    <a:pt x="2397443" y="449772"/>
                  </a:lnTo>
                  <a:lnTo>
                    <a:pt x="2404789" y="456469"/>
                  </a:lnTo>
                  <a:lnTo>
                    <a:pt x="2417008" y="470188"/>
                  </a:lnTo>
                  <a:lnTo>
                    <a:pt x="2419855" y="469075"/>
                  </a:lnTo>
                  <a:lnTo>
                    <a:pt x="2421546" y="467342"/>
                  </a:lnTo>
                  <a:lnTo>
                    <a:pt x="2422377" y="465118"/>
                  </a:lnTo>
                  <a:lnTo>
                    <a:pt x="2421656" y="462047"/>
                  </a:lnTo>
                  <a:lnTo>
                    <a:pt x="2423616" y="463542"/>
                  </a:lnTo>
                  <a:lnTo>
                    <a:pt x="2425419" y="466289"/>
                  </a:lnTo>
                  <a:lnTo>
                    <a:pt x="2429157" y="470845"/>
                  </a:lnTo>
                  <a:lnTo>
                    <a:pt x="2424145" y="470619"/>
                  </a:lnTo>
                  <a:lnTo>
                    <a:pt x="2417840" y="472147"/>
                  </a:lnTo>
                  <a:lnTo>
                    <a:pt x="2415501" y="473954"/>
                  </a:lnTo>
                  <a:lnTo>
                    <a:pt x="2417257" y="476480"/>
                  </a:lnTo>
                  <a:lnTo>
                    <a:pt x="2421937" y="476844"/>
                  </a:lnTo>
                  <a:lnTo>
                    <a:pt x="2423932" y="480278"/>
                  </a:lnTo>
                  <a:lnTo>
                    <a:pt x="2427588" y="484517"/>
                  </a:lnTo>
                  <a:lnTo>
                    <a:pt x="2435815" y="496106"/>
                  </a:lnTo>
                  <a:lnTo>
                    <a:pt x="2441653" y="498297"/>
                  </a:lnTo>
                  <a:lnTo>
                    <a:pt x="2447299" y="503065"/>
                  </a:lnTo>
                  <a:lnTo>
                    <a:pt x="2452956" y="505274"/>
                  </a:lnTo>
                  <a:lnTo>
                    <a:pt x="2455860" y="505443"/>
                  </a:lnTo>
                  <a:lnTo>
                    <a:pt x="2457821" y="502458"/>
                  </a:lnTo>
                  <a:lnTo>
                    <a:pt x="2459475" y="503526"/>
                  </a:lnTo>
                  <a:lnTo>
                    <a:pt x="2460937" y="508855"/>
                  </a:lnTo>
                  <a:lnTo>
                    <a:pt x="2463668" y="511165"/>
                  </a:lnTo>
                  <a:lnTo>
                    <a:pt x="2466673" y="511321"/>
                  </a:lnTo>
                  <a:lnTo>
                    <a:pt x="2469123" y="510384"/>
                  </a:lnTo>
                  <a:lnTo>
                    <a:pt x="2472751" y="507861"/>
                  </a:lnTo>
                  <a:lnTo>
                    <a:pt x="2475619" y="504931"/>
                  </a:lnTo>
                  <a:lnTo>
                    <a:pt x="2480197" y="496839"/>
                  </a:lnTo>
                  <a:lnTo>
                    <a:pt x="2483235" y="492738"/>
                  </a:lnTo>
                  <a:lnTo>
                    <a:pt x="2486086" y="491058"/>
                  </a:lnTo>
                  <a:lnTo>
                    <a:pt x="2485100" y="489061"/>
                  </a:lnTo>
                  <a:lnTo>
                    <a:pt x="2485386" y="486744"/>
                  </a:lnTo>
                  <a:lnTo>
                    <a:pt x="2487489" y="481292"/>
                  </a:lnTo>
                  <a:lnTo>
                    <a:pt x="2490337" y="474802"/>
                  </a:lnTo>
                  <a:lnTo>
                    <a:pt x="2492507" y="471382"/>
                  </a:lnTo>
                  <a:lnTo>
                    <a:pt x="2497738" y="464433"/>
                  </a:lnTo>
                  <a:lnTo>
                    <a:pt x="2499763" y="463170"/>
                  </a:lnTo>
                  <a:lnTo>
                    <a:pt x="2501132" y="465414"/>
                  </a:lnTo>
                  <a:lnTo>
                    <a:pt x="2502298" y="468405"/>
                  </a:lnTo>
                  <a:lnTo>
                    <a:pt x="2503074" y="469685"/>
                  </a:lnTo>
                  <a:lnTo>
                    <a:pt x="2503862" y="470194"/>
                  </a:lnTo>
                  <a:lnTo>
                    <a:pt x="2510310" y="476279"/>
                  </a:lnTo>
                  <a:lnTo>
                    <a:pt x="2516839" y="481007"/>
                  </a:lnTo>
                  <a:lnTo>
                    <a:pt x="2522648" y="483322"/>
                  </a:lnTo>
                  <a:lnTo>
                    <a:pt x="2531801" y="485573"/>
                  </a:lnTo>
                  <a:lnTo>
                    <a:pt x="2545066" y="485253"/>
                  </a:lnTo>
                  <a:lnTo>
                    <a:pt x="2547524" y="482247"/>
                  </a:lnTo>
                  <a:lnTo>
                    <a:pt x="2552135" y="480025"/>
                  </a:lnTo>
                  <a:lnTo>
                    <a:pt x="2559586" y="478862"/>
                  </a:lnTo>
                  <a:lnTo>
                    <a:pt x="2564005" y="476129"/>
                  </a:lnTo>
                  <a:lnTo>
                    <a:pt x="2571204" y="475301"/>
                  </a:lnTo>
                  <a:lnTo>
                    <a:pt x="2575750" y="475751"/>
                  </a:lnTo>
                  <a:lnTo>
                    <a:pt x="2582733" y="477748"/>
                  </a:lnTo>
                  <a:lnTo>
                    <a:pt x="2598425" y="484078"/>
                  </a:lnTo>
                  <a:lnTo>
                    <a:pt x="2602839" y="486368"/>
                  </a:lnTo>
                  <a:lnTo>
                    <a:pt x="2605095" y="488825"/>
                  </a:lnTo>
                  <a:lnTo>
                    <a:pt x="2610250" y="492514"/>
                  </a:lnTo>
                  <a:lnTo>
                    <a:pt x="2613506" y="494308"/>
                  </a:lnTo>
                  <a:lnTo>
                    <a:pt x="2616642" y="495544"/>
                  </a:lnTo>
                  <a:lnTo>
                    <a:pt x="2617793" y="495166"/>
                  </a:lnTo>
                  <a:lnTo>
                    <a:pt x="2617395" y="494116"/>
                  </a:lnTo>
                  <a:lnTo>
                    <a:pt x="2615808" y="493086"/>
                  </a:lnTo>
                  <a:lnTo>
                    <a:pt x="2614527" y="491757"/>
                  </a:lnTo>
                  <a:lnTo>
                    <a:pt x="2618257" y="490376"/>
                  </a:lnTo>
                  <a:lnTo>
                    <a:pt x="2618695" y="489360"/>
                  </a:lnTo>
                  <a:lnTo>
                    <a:pt x="2619980" y="488483"/>
                  </a:lnTo>
                  <a:lnTo>
                    <a:pt x="2624921" y="487747"/>
                  </a:lnTo>
                  <a:lnTo>
                    <a:pt x="2620125" y="486402"/>
                  </a:lnTo>
                  <a:lnTo>
                    <a:pt x="2618467" y="486205"/>
                  </a:lnTo>
                  <a:lnTo>
                    <a:pt x="2616171" y="485365"/>
                  </a:lnTo>
                  <a:lnTo>
                    <a:pt x="2616370" y="483503"/>
                  </a:lnTo>
                  <a:lnTo>
                    <a:pt x="2617881" y="482127"/>
                  </a:lnTo>
                  <a:lnTo>
                    <a:pt x="2619045" y="479578"/>
                  </a:lnTo>
                  <a:lnTo>
                    <a:pt x="2620596" y="477936"/>
                  </a:lnTo>
                  <a:lnTo>
                    <a:pt x="2623155" y="476702"/>
                  </a:lnTo>
                  <a:lnTo>
                    <a:pt x="2625010" y="476437"/>
                  </a:lnTo>
                  <a:lnTo>
                    <a:pt x="2629589" y="478076"/>
                  </a:lnTo>
                  <a:lnTo>
                    <a:pt x="2632791" y="475128"/>
                  </a:lnTo>
                  <a:lnTo>
                    <a:pt x="2635228" y="475365"/>
                  </a:lnTo>
                  <a:lnTo>
                    <a:pt x="2640196" y="478349"/>
                  </a:lnTo>
                  <a:lnTo>
                    <a:pt x="2644718" y="482891"/>
                  </a:lnTo>
                  <a:lnTo>
                    <a:pt x="2647169" y="482894"/>
                  </a:lnTo>
                  <a:lnTo>
                    <a:pt x="2654066" y="481077"/>
                  </a:lnTo>
                  <a:lnTo>
                    <a:pt x="2661851" y="480986"/>
                  </a:lnTo>
                  <a:lnTo>
                    <a:pt x="2660846" y="478283"/>
                  </a:lnTo>
                  <a:lnTo>
                    <a:pt x="2655459" y="472439"/>
                  </a:lnTo>
                  <a:lnTo>
                    <a:pt x="2656074" y="464859"/>
                  </a:lnTo>
                  <a:lnTo>
                    <a:pt x="2652302" y="463140"/>
                  </a:lnTo>
                  <a:lnTo>
                    <a:pt x="2648033" y="462123"/>
                  </a:lnTo>
                  <a:lnTo>
                    <a:pt x="2654245" y="460186"/>
                  </a:lnTo>
                  <a:lnTo>
                    <a:pt x="2658819" y="453976"/>
                  </a:lnTo>
                  <a:lnTo>
                    <a:pt x="2662512" y="453416"/>
                  </a:lnTo>
                  <a:lnTo>
                    <a:pt x="2666350" y="452206"/>
                  </a:lnTo>
                  <a:lnTo>
                    <a:pt x="2665171" y="451447"/>
                  </a:lnTo>
                  <a:lnTo>
                    <a:pt x="2653731" y="450781"/>
                  </a:lnTo>
                  <a:lnTo>
                    <a:pt x="2651261" y="451528"/>
                  </a:lnTo>
                  <a:lnTo>
                    <a:pt x="2649607" y="453359"/>
                  </a:lnTo>
                  <a:lnTo>
                    <a:pt x="2643988" y="453359"/>
                  </a:lnTo>
                  <a:lnTo>
                    <a:pt x="2643295" y="449175"/>
                  </a:lnTo>
                  <a:lnTo>
                    <a:pt x="2643202" y="446461"/>
                  </a:lnTo>
                  <a:lnTo>
                    <a:pt x="2650562" y="440767"/>
                  </a:lnTo>
                  <a:lnTo>
                    <a:pt x="2653381" y="439532"/>
                  </a:lnTo>
                  <a:lnTo>
                    <a:pt x="2672164" y="439657"/>
                  </a:lnTo>
                  <a:lnTo>
                    <a:pt x="2677792" y="438579"/>
                  </a:lnTo>
                  <a:lnTo>
                    <a:pt x="2686066" y="435739"/>
                  </a:lnTo>
                  <a:lnTo>
                    <a:pt x="2683941" y="433936"/>
                  </a:lnTo>
                  <a:lnTo>
                    <a:pt x="2683712" y="430293"/>
                  </a:lnTo>
                  <a:lnTo>
                    <a:pt x="2676625" y="425010"/>
                  </a:lnTo>
                  <a:lnTo>
                    <a:pt x="2677148" y="423798"/>
                  </a:lnTo>
                  <a:lnTo>
                    <a:pt x="2677858" y="423023"/>
                  </a:lnTo>
                  <a:lnTo>
                    <a:pt x="2680071" y="422984"/>
                  </a:lnTo>
                  <a:lnTo>
                    <a:pt x="2691162" y="424383"/>
                  </a:lnTo>
                  <a:lnTo>
                    <a:pt x="2695774" y="427285"/>
                  </a:lnTo>
                  <a:lnTo>
                    <a:pt x="2707783" y="430133"/>
                  </a:lnTo>
                  <a:lnTo>
                    <a:pt x="2739943" y="431079"/>
                  </a:lnTo>
                  <a:lnTo>
                    <a:pt x="2743594" y="432128"/>
                  </a:lnTo>
                  <a:lnTo>
                    <a:pt x="2757369" y="433392"/>
                  </a:lnTo>
                  <a:lnTo>
                    <a:pt x="2763223" y="434778"/>
                  </a:lnTo>
                  <a:lnTo>
                    <a:pt x="2777169" y="436437"/>
                  </a:lnTo>
                  <a:lnTo>
                    <a:pt x="2783502" y="437612"/>
                  </a:lnTo>
                  <a:lnTo>
                    <a:pt x="2788552" y="439480"/>
                  </a:lnTo>
                  <a:lnTo>
                    <a:pt x="2796715" y="440563"/>
                  </a:lnTo>
                  <a:lnTo>
                    <a:pt x="2800466" y="441778"/>
                  </a:lnTo>
                  <a:lnTo>
                    <a:pt x="2800065" y="445630"/>
                  </a:lnTo>
                  <a:lnTo>
                    <a:pt x="2783089" y="445116"/>
                  </a:lnTo>
                  <a:lnTo>
                    <a:pt x="2777468" y="443842"/>
                  </a:lnTo>
                  <a:lnTo>
                    <a:pt x="2770494" y="443694"/>
                  </a:lnTo>
                  <a:lnTo>
                    <a:pt x="2767816" y="444275"/>
                  </a:lnTo>
                  <a:lnTo>
                    <a:pt x="2763642" y="447467"/>
                  </a:lnTo>
                  <a:lnTo>
                    <a:pt x="2758630" y="449136"/>
                  </a:lnTo>
                  <a:lnTo>
                    <a:pt x="2754391" y="449408"/>
                  </a:lnTo>
                  <a:lnTo>
                    <a:pt x="2757171" y="452151"/>
                  </a:lnTo>
                  <a:lnTo>
                    <a:pt x="2761057" y="452892"/>
                  </a:lnTo>
                  <a:lnTo>
                    <a:pt x="2773627" y="449363"/>
                  </a:lnTo>
                  <a:lnTo>
                    <a:pt x="2808011" y="447595"/>
                  </a:lnTo>
                  <a:lnTo>
                    <a:pt x="2813266" y="447887"/>
                  </a:lnTo>
                  <a:lnTo>
                    <a:pt x="2812718" y="450330"/>
                  </a:lnTo>
                  <a:lnTo>
                    <a:pt x="2808123" y="455013"/>
                  </a:lnTo>
                  <a:lnTo>
                    <a:pt x="2803754" y="458652"/>
                  </a:lnTo>
                  <a:lnTo>
                    <a:pt x="2797378" y="462387"/>
                  </a:lnTo>
                  <a:lnTo>
                    <a:pt x="2795002" y="462367"/>
                  </a:lnTo>
                  <a:lnTo>
                    <a:pt x="2799965" y="454435"/>
                  </a:lnTo>
                  <a:lnTo>
                    <a:pt x="2797909" y="454063"/>
                  </a:lnTo>
                  <a:lnTo>
                    <a:pt x="2796011" y="454237"/>
                  </a:lnTo>
                  <a:lnTo>
                    <a:pt x="2790437" y="450939"/>
                  </a:lnTo>
                  <a:lnTo>
                    <a:pt x="2789535" y="450773"/>
                  </a:lnTo>
                  <a:lnTo>
                    <a:pt x="2788453" y="451583"/>
                  </a:lnTo>
                  <a:lnTo>
                    <a:pt x="2788464" y="452775"/>
                  </a:lnTo>
                  <a:lnTo>
                    <a:pt x="2787445" y="457351"/>
                  </a:lnTo>
                  <a:lnTo>
                    <a:pt x="2789494" y="459265"/>
                  </a:lnTo>
                  <a:lnTo>
                    <a:pt x="2789494" y="462538"/>
                  </a:lnTo>
                  <a:lnTo>
                    <a:pt x="2781766" y="464646"/>
                  </a:lnTo>
                  <a:lnTo>
                    <a:pt x="2778758" y="464461"/>
                  </a:lnTo>
                  <a:lnTo>
                    <a:pt x="2775542" y="463122"/>
                  </a:lnTo>
                  <a:lnTo>
                    <a:pt x="2774176" y="463166"/>
                  </a:lnTo>
                  <a:lnTo>
                    <a:pt x="2773797" y="464198"/>
                  </a:lnTo>
                  <a:lnTo>
                    <a:pt x="2774480" y="466107"/>
                  </a:lnTo>
                  <a:lnTo>
                    <a:pt x="2774391" y="467085"/>
                  </a:lnTo>
                  <a:lnTo>
                    <a:pt x="2773156" y="468612"/>
                  </a:lnTo>
                  <a:lnTo>
                    <a:pt x="2772532" y="470268"/>
                  </a:lnTo>
                  <a:lnTo>
                    <a:pt x="2774432" y="472155"/>
                  </a:lnTo>
                  <a:lnTo>
                    <a:pt x="2776931" y="472629"/>
                  </a:lnTo>
                  <a:lnTo>
                    <a:pt x="2790557" y="470551"/>
                  </a:lnTo>
                  <a:lnTo>
                    <a:pt x="2796493" y="468010"/>
                  </a:lnTo>
                  <a:lnTo>
                    <a:pt x="2803010" y="463331"/>
                  </a:lnTo>
                  <a:lnTo>
                    <a:pt x="2814658" y="451949"/>
                  </a:lnTo>
                  <a:lnTo>
                    <a:pt x="2819795" y="448027"/>
                  </a:lnTo>
                  <a:lnTo>
                    <a:pt x="2822774" y="446538"/>
                  </a:lnTo>
                  <a:lnTo>
                    <a:pt x="2826582" y="445996"/>
                  </a:lnTo>
                  <a:lnTo>
                    <a:pt x="2847987" y="447199"/>
                  </a:lnTo>
                  <a:lnTo>
                    <a:pt x="2860432" y="449675"/>
                  </a:lnTo>
                  <a:lnTo>
                    <a:pt x="2872300" y="453325"/>
                  </a:lnTo>
                  <a:lnTo>
                    <a:pt x="2878151" y="456348"/>
                  </a:lnTo>
                  <a:lnTo>
                    <a:pt x="2882505" y="460440"/>
                  </a:lnTo>
                  <a:lnTo>
                    <a:pt x="2883281" y="462160"/>
                  </a:lnTo>
                  <a:lnTo>
                    <a:pt x="2883695" y="464419"/>
                  </a:lnTo>
                  <a:lnTo>
                    <a:pt x="2880692" y="466585"/>
                  </a:lnTo>
                  <a:lnTo>
                    <a:pt x="2867394" y="467303"/>
                  </a:lnTo>
                  <a:lnTo>
                    <a:pt x="2862287" y="468527"/>
                  </a:lnTo>
                  <a:lnTo>
                    <a:pt x="2860443" y="469881"/>
                  </a:lnTo>
                  <a:lnTo>
                    <a:pt x="2860212" y="470647"/>
                  </a:lnTo>
                  <a:lnTo>
                    <a:pt x="2859515" y="471857"/>
                  </a:lnTo>
                  <a:lnTo>
                    <a:pt x="2860506" y="472848"/>
                  </a:lnTo>
                  <a:lnTo>
                    <a:pt x="2866469" y="472951"/>
                  </a:lnTo>
                  <a:lnTo>
                    <a:pt x="2872222" y="473932"/>
                  </a:lnTo>
                  <a:lnTo>
                    <a:pt x="2880162" y="476492"/>
                  </a:lnTo>
                  <a:lnTo>
                    <a:pt x="2881391" y="477341"/>
                  </a:lnTo>
                  <a:lnTo>
                    <a:pt x="2883907" y="479767"/>
                  </a:lnTo>
                  <a:lnTo>
                    <a:pt x="2884667" y="480196"/>
                  </a:lnTo>
                  <a:lnTo>
                    <a:pt x="2896584" y="479817"/>
                  </a:lnTo>
                  <a:lnTo>
                    <a:pt x="2897360" y="480684"/>
                  </a:lnTo>
                  <a:lnTo>
                    <a:pt x="2898087" y="482466"/>
                  </a:lnTo>
                  <a:lnTo>
                    <a:pt x="2894933" y="485293"/>
                  </a:lnTo>
                  <a:lnTo>
                    <a:pt x="2891830" y="487207"/>
                  </a:lnTo>
                  <a:lnTo>
                    <a:pt x="2885481" y="491767"/>
                  </a:lnTo>
                  <a:lnTo>
                    <a:pt x="2888694" y="490118"/>
                  </a:lnTo>
                  <a:lnTo>
                    <a:pt x="2901490" y="486227"/>
                  </a:lnTo>
                  <a:lnTo>
                    <a:pt x="2904721" y="485512"/>
                  </a:lnTo>
                  <a:lnTo>
                    <a:pt x="2908647" y="485786"/>
                  </a:lnTo>
                  <a:lnTo>
                    <a:pt x="2918313" y="489315"/>
                  </a:lnTo>
                  <a:lnTo>
                    <a:pt x="2922234" y="492122"/>
                  </a:lnTo>
                  <a:lnTo>
                    <a:pt x="2929597" y="499998"/>
                  </a:lnTo>
                  <a:lnTo>
                    <a:pt x="2927542" y="500838"/>
                  </a:lnTo>
                  <a:lnTo>
                    <a:pt x="2922284" y="501647"/>
                  </a:lnTo>
                  <a:lnTo>
                    <a:pt x="2938797" y="507611"/>
                  </a:lnTo>
                  <a:lnTo>
                    <a:pt x="2945199" y="507564"/>
                  </a:lnTo>
                  <a:lnTo>
                    <a:pt x="2959844" y="505834"/>
                  </a:lnTo>
                  <a:lnTo>
                    <a:pt x="2967218" y="505779"/>
                  </a:lnTo>
                  <a:lnTo>
                    <a:pt x="2980924" y="501970"/>
                  </a:lnTo>
                  <a:lnTo>
                    <a:pt x="2994534" y="499556"/>
                  </a:lnTo>
                  <a:lnTo>
                    <a:pt x="3007059" y="499379"/>
                  </a:lnTo>
                  <a:lnTo>
                    <a:pt x="3013677" y="497078"/>
                  </a:lnTo>
                  <a:lnTo>
                    <a:pt x="3031131" y="497149"/>
                  </a:lnTo>
                  <a:lnTo>
                    <a:pt x="3047998" y="497927"/>
                  </a:lnTo>
                  <a:lnTo>
                    <a:pt x="3061037" y="499352"/>
                  </a:lnTo>
                  <a:lnTo>
                    <a:pt x="3075745" y="503561"/>
                  </a:lnTo>
                  <a:lnTo>
                    <a:pt x="3090085" y="509371"/>
                  </a:lnTo>
                  <a:lnTo>
                    <a:pt x="3098426" y="515034"/>
                  </a:lnTo>
                  <a:lnTo>
                    <a:pt x="3100124" y="516826"/>
                  </a:lnTo>
                  <a:lnTo>
                    <a:pt x="3102493" y="520779"/>
                  </a:lnTo>
                  <a:lnTo>
                    <a:pt x="3103527" y="524072"/>
                  </a:lnTo>
                  <a:lnTo>
                    <a:pt x="3104585" y="528613"/>
                  </a:lnTo>
                  <a:lnTo>
                    <a:pt x="3104076" y="532124"/>
                  </a:lnTo>
                  <a:lnTo>
                    <a:pt x="3102002" y="534609"/>
                  </a:lnTo>
                  <a:lnTo>
                    <a:pt x="3100715" y="537675"/>
                  </a:lnTo>
                  <a:lnTo>
                    <a:pt x="3100886" y="541294"/>
                  </a:lnTo>
                  <a:lnTo>
                    <a:pt x="3098459" y="546023"/>
                  </a:lnTo>
                  <a:lnTo>
                    <a:pt x="3100739" y="549383"/>
                  </a:lnTo>
                  <a:lnTo>
                    <a:pt x="3107077" y="551554"/>
                  </a:lnTo>
                  <a:lnTo>
                    <a:pt x="3120794" y="554485"/>
                  </a:lnTo>
                  <a:lnTo>
                    <a:pt x="3124581" y="556401"/>
                  </a:lnTo>
                  <a:lnTo>
                    <a:pt x="3124983" y="562190"/>
                  </a:lnTo>
                  <a:lnTo>
                    <a:pt x="3126157" y="567036"/>
                  </a:lnTo>
                  <a:lnTo>
                    <a:pt x="3127341" y="576230"/>
                  </a:lnTo>
                  <a:lnTo>
                    <a:pt x="3129669" y="578532"/>
                  </a:lnTo>
                  <a:lnTo>
                    <a:pt x="3133406" y="580725"/>
                  </a:lnTo>
                  <a:lnTo>
                    <a:pt x="3134087" y="583709"/>
                  </a:lnTo>
                  <a:lnTo>
                    <a:pt x="3129407" y="593403"/>
                  </a:lnTo>
                  <a:lnTo>
                    <a:pt x="3126481" y="595185"/>
                  </a:lnTo>
                  <a:lnTo>
                    <a:pt x="3123371" y="597843"/>
                  </a:lnTo>
                  <a:lnTo>
                    <a:pt x="3128866" y="596915"/>
                  </a:lnTo>
                  <a:lnTo>
                    <a:pt x="3131645" y="593401"/>
                  </a:lnTo>
                  <a:lnTo>
                    <a:pt x="3134629" y="586884"/>
                  </a:lnTo>
                  <a:lnTo>
                    <a:pt x="3137507" y="585847"/>
                  </a:lnTo>
                  <a:lnTo>
                    <a:pt x="3139062" y="583709"/>
                  </a:lnTo>
                  <a:lnTo>
                    <a:pt x="3139062" y="577559"/>
                  </a:lnTo>
                  <a:lnTo>
                    <a:pt x="3137170" y="572208"/>
                  </a:lnTo>
                  <a:lnTo>
                    <a:pt x="3137170" y="568376"/>
                  </a:lnTo>
                  <a:lnTo>
                    <a:pt x="3138427" y="565277"/>
                  </a:lnTo>
                  <a:lnTo>
                    <a:pt x="3147453" y="558801"/>
                  </a:lnTo>
                  <a:lnTo>
                    <a:pt x="3152338" y="556196"/>
                  </a:lnTo>
                  <a:lnTo>
                    <a:pt x="3156974" y="554725"/>
                  </a:lnTo>
                  <a:lnTo>
                    <a:pt x="3169555" y="553402"/>
                  </a:lnTo>
                  <a:lnTo>
                    <a:pt x="3175232" y="552145"/>
                  </a:lnTo>
                  <a:lnTo>
                    <a:pt x="3181792" y="552989"/>
                  </a:lnTo>
                  <a:lnTo>
                    <a:pt x="3186375" y="552653"/>
                  </a:lnTo>
                  <a:lnTo>
                    <a:pt x="3191697" y="551342"/>
                  </a:lnTo>
                  <a:lnTo>
                    <a:pt x="3196420" y="551966"/>
                  </a:lnTo>
                  <a:lnTo>
                    <a:pt x="3204241" y="556292"/>
                  </a:lnTo>
                  <a:lnTo>
                    <a:pt x="3231824" y="557261"/>
                  </a:lnTo>
                  <a:lnTo>
                    <a:pt x="3236683" y="558767"/>
                  </a:lnTo>
                  <a:lnTo>
                    <a:pt x="3255254" y="560585"/>
                  </a:lnTo>
                  <a:lnTo>
                    <a:pt x="3256671" y="560572"/>
                  </a:lnTo>
                  <a:lnTo>
                    <a:pt x="3260845" y="558436"/>
                  </a:lnTo>
                  <a:lnTo>
                    <a:pt x="3273117" y="551138"/>
                  </a:lnTo>
                  <a:lnTo>
                    <a:pt x="3278174" y="551615"/>
                  </a:lnTo>
                  <a:lnTo>
                    <a:pt x="3280236" y="552757"/>
                  </a:lnTo>
                  <a:lnTo>
                    <a:pt x="3282393" y="555645"/>
                  </a:lnTo>
                  <a:lnTo>
                    <a:pt x="3284656" y="557537"/>
                  </a:lnTo>
                  <a:lnTo>
                    <a:pt x="3286425" y="562640"/>
                  </a:lnTo>
                  <a:lnTo>
                    <a:pt x="3288040" y="569491"/>
                  </a:lnTo>
                  <a:lnTo>
                    <a:pt x="3290695" y="570736"/>
                  </a:lnTo>
                  <a:lnTo>
                    <a:pt x="3294333" y="571170"/>
                  </a:lnTo>
                  <a:lnTo>
                    <a:pt x="3302262" y="573700"/>
                  </a:lnTo>
                  <a:lnTo>
                    <a:pt x="3310320" y="576954"/>
                  </a:lnTo>
                  <a:lnTo>
                    <a:pt x="3312620" y="583150"/>
                  </a:lnTo>
                  <a:lnTo>
                    <a:pt x="3316937" y="588311"/>
                  </a:lnTo>
                  <a:lnTo>
                    <a:pt x="3327015" y="587823"/>
                  </a:lnTo>
                  <a:lnTo>
                    <a:pt x="3337451" y="586792"/>
                  </a:lnTo>
                  <a:lnTo>
                    <a:pt x="3347575" y="578282"/>
                  </a:lnTo>
                  <a:lnTo>
                    <a:pt x="3347602" y="574812"/>
                  </a:lnTo>
                  <a:lnTo>
                    <a:pt x="3345106" y="569797"/>
                  </a:lnTo>
                  <a:lnTo>
                    <a:pt x="3341355" y="564938"/>
                  </a:lnTo>
                  <a:lnTo>
                    <a:pt x="3338438" y="557303"/>
                  </a:lnTo>
                  <a:lnTo>
                    <a:pt x="3329122" y="555608"/>
                  </a:lnTo>
                  <a:lnTo>
                    <a:pt x="3330012" y="553384"/>
                  </a:lnTo>
                  <a:lnTo>
                    <a:pt x="3333514" y="550720"/>
                  </a:lnTo>
                  <a:lnTo>
                    <a:pt x="3336689" y="546562"/>
                  </a:lnTo>
                  <a:lnTo>
                    <a:pt x="3337181" y="543353"/>
                  </a:lnTo>
                  <a:lnTo>
                    <a:pt x="3336328" y="536640"/>
                  </a:lnTo>
                  <a:lnTo>
                    <a:pt x="3344756" y="537096"/>
                  </a:lnTo>
                  <a:lnTo>
                    <a:pt x="3353130" y="537885"/>
                  </a:lnTo>
                  <a:lnTo>
                    <a:pt x="3369135" y="540884"/>
                  </a:lnTo>
                  <a:lnTo>
                    <a:pt x="3382161" y="542149"/>
                  </a:lnTo>
                  <a:lnTo>
                    <a:pt x="3389009" y="544068"/>
                  </a:lnTo>
                  <a:lnTo>
                    <a:pt x="3393146" y="546231"/>
                  </a:lnTo>
                  <a:lnTo>
                    <a:pt x="3398034" y="547852"/>
                  </a:lnTo>
                  <a:lnTo>
                    <a:pt x="3399713" y="543900"/>
                  </a:lnTo>
                  <a:lnTo>
                    <a:pt x="3401600" y="543000"/>
                  </a:lnTo>
                  <a:lnTo>
                    <a:pt x="3408117" y="545199"/>
                  </a:lnTo>
                  <a:lnTo>
                    <a:pt x="3412864" y="545869"/>
                  </a:lnTo>
                  <a:lnTo>
                    <a:pt x="3421076" y="545573"/>
                  </a:lnTo>
                  <a:lnTo>
                    <a:pt x="3431382" y="546597"/>
                  </a:lnTo>
                  <a:lnTo>
                    <a:pt x="3442660" y="546424"/>
                  </a:lnTo>
                  <a:lnTo>
                    <a:pt x="3452734" y="544684"/>
                  </a:lnTo>
                  <a:lnTo>
                    <a:pt x="3456500" y="545033"/>
                  </a:lnTo>
                  <a:lnTo>
                    <a:pt x="3460614" y="546414"/>
                  </a:lnTo>
                  <a:lnTo>
                    <a:pt x="3467312" y="550030"/>
                  </a:lnTo>
                  <a:lnTo>
                    <a:pt x="3478677" y="554845"/>
                  </a:lnTo>
                  <a:lnTo>
                    <a:pt x="3489072" y="556195"/>
                  </a:lnTo>
                  <a:lnTo>
                    <a:pt x="3500994" y="560740"/>
                  </a:lnTo>
                  <a:lnTo>
                    <a:pt x="3512252" y="562407"/>
                  </a:lnTo>
                  <a:lnTo>
                    <a:pt x="3521219" y="564978"/>
                  </a:lnTo>
                  <a:lnTo>
                    <a:pt x="3522515" y="565957"/>
                  </a:lnTo>
                  <a:lnTo>
                    <a:pt x="3522914" y="567367"/>
                  </a:lnTo>
                  <a:lnTo>
                    <a:pt x="3523483" y="568544"/>
                  </a:lnTo>
                  <a:lnTo>
                    <a:pt x="3530602" y="569951"/>
                  </a:lnTo>
                  <a:lnTo>
                    <a:pt x="3543771" y="579547"/>
                  </a:lnTo>
                  <a:lnTo>
                    <a:pt x="3546685" y="580680"/>
                  </a:lnTo>
                  <a:lnTo>
                    <a:pt x="3546686" y="580680"/>
                  </a:lnTo>
                  <a:lnTo>
                    <a:pt x="3551140" y="582345"/>
                  </a:lnTo>
                  <a:lnTo>
                    <a:pt x="3555631" y="583658"/>
                  </a:lnTo>
                  <a:lnTo>
                    <a:pt x="3557421" y="583246"/>
                  </a:lnTo>
                  <a:lnTo>
                    <a:pt x="3558385" y="583430"/>
                  </a:lnTo>
                  <a:lnTo>
                    <a:pt x="3560926" y="585726"/>
                  </a:lnTo>
                  <a:lnTo>
                    <a:pt x="3562621" y="586799"/>
                  </a:lnTo>
                  <a:lnTo>
                    <a:pt x="3571586" y="589542"/>
                  </a:lnTo>
                  <a:lnTo>
                    <a:pt x="3575667" y="592584"/>
                  </a:lnTo>
                  <a:lnTo>
                    <a:pt x="3579001" y="596026"/>
                  </a:lnTo>
                  <a:lnTo>
                    <a:pt x="3577340" y="595356"/>
                  </a:lnTo>
                  <a:lnTo>
                    <a:pt x="3574293" y="593150"/>
                  </a:lnTo>
                  <a:lnTo>
                    <a:pt x="3574623" y="595743"/>
                  </a:lnTo>
                  <a:lnTo>
                    <a:pt x="3575593" y="597549"/>
                  </a:lnTo>
                  <a:lnTo>
                    <a:pt x="3580430" y="599247"/>
                  </a:lnTo>
                  <a:lnTo>
                    <a:pt x="3585504" y="600593"/>
                  </a:lnTo>
                  <a:lnTo>
                    <a:pt x="3588754" y="602197"/>
                  </a:lnTo>
                  <a:lnTo>
                    <a:pt x="3589833" y="603590"/>
                  </a:lnTo>
                  <a:lnTo>
                    <a:pt x="3590496" y="606102"/>
                  </a:lnTo>
                  <a:lnTo>
                    <a:pt x="3589675" y="608312"/>
                  </a:lnTo>
                  <a:lnTo>
                    <a:pt x="3592625" y="607486"/>
                  </a:lnTo>
                  <a:lnTo>
                    <a:pt x="3595403" y="605519"/>
                  </a:lnTo>
                  <a:lnTo>
                    <a:pt x="3593964" y="603980"/>
                  </a:lnTo>
                  <a:lnTo>
                    <a:pt x="3584618" y="598602"/>
                  </a:lnTo>
                  <a:lnTo>
                    <a:pt x="3582660" y="596793"/>
                  </a:lnTo>
                  <a:lnTo>
                    <a:pt x="3585384" y="597725"/>
                  </a:lnTo>
                  <a:lnTo>
                    <a:pt x="3597915" y="604570"/>
                  </a:lnTo>
                  <a:lnTo>
                    <a:pt x="3601362" y="607186"/>
                  </a:lnTo>
                  <a:lnTo>
                    <a:pt x="3599904" y="607691"/>
                  </a:lnTo>
                  <a:lnTo>
                    <a:pt x="3598883" y="609216"/>
                  </a:lnTo>
                  <a:lnTo>
                    <a:pt x="3599993" y="609865"/>
                  </a:lnTo>
                  <a:lnTo>
                    <a:pt x="3601503" y="609382"/>
                  </a:lnTo>
                  <a:lnTo>
                    <a:pt x="3604010" y="609065"/>
                  </a:lnTo>
                  <a:lnTo>
                    <a:pt x="3606445" y="609930"/>
                  </a:lnTo>
                  <a:lnTo>
                    <a:pt x="3609222" y="611755"/>
                  </a:lnTo>
                  <a:lnTo>
                    <a:pt x="3615072" y="613870"/>
                  </a:lnTo>
                  <a:lnTo>
                    <a:pt x="3649612" y="630590"/>
                  </a:lnTo>
                  <a:lnTo>
                    <a:pt x="3650394" y="633458"/>
                  </a:lnTo>
                  <a:lnTo>
                    <a:pt x="3651366" y="634798"/>
                  </a:lnTo>
                  <a:lnTo>
                    <a:pt x="3651948" y="636507"/>
                  </a:lnTo>
                  <a:lnTo>
                    <a:pt x="3652104" y="639306"/>
                  </a:lnTo>
                  <a:lnTo>
                    <a:pt x="3648959" y="642659"/>
                  </a:lnTo>
                  <a:lnTo>
                    <a:pt x="3653817" y="642359"/>
                  </a:lnTo>
                  <a:lnTo>
                    <a:pt x="3654530" y="641925"/>
                  </a:lnTo>
                  <a:lnTo>
                    <a:pt x="3655794" y="640555"/>
                  </a:lnTo>
                  <a:lnTo>
                    <a:pt x="3657186" y="639651"/>
                  </a:lnTo>
                  <a:lnTo>
                    <a:pt x="3659057" y="640775"/>
                  </a:lnTo>
                  <a:lnTo>
                    <a:pt x="3660566" y="642978"/>
                  </a:lnTo>
                  <a:lnTo>
                    <a:pt x="3660122" y="645990"/>
                  </a:lnTo>
                  <a:lnTo>
                    <a:pt x="3658784" y="648425"/>
                  </a:lnTo>
                  <a:lnTo>
                    <a:pt x="3658613" y="652552"/>
                  </a:lnTo>
                  <a:lnTo>
                    <a:pt x="3659787" y="656012"/>
                  </a:lnTo>
                  <a:lnTo>
                    <a:pt x="3661033" y="657460"/>
                  </a:lnTo>
                  <a:lnTo>
                    <a:pt x="3662029" y="659119"/>
                  </a:lnTo>
                  <a:lnTo>
                    <a:pt x="3662304" y="664041"/>
                  </a:lnTo>
                  <a:lnTo>
                    <a:pt x="3660118" y="666245"/>
                  </a:lnTo>
                  <a:lnTo>
                    <a:pt x="3658906" y="670014"/>
                  </a:lnTo>
                  <a:lnTo>
                    <a:pt x="3660247" y="670384"/>
                  </a:lnTo>
                  <a:lnTo>
                    <a:pt x="3664440" y="670744"/>
                  </a:lnTo>
                  <a:lnTo>
                    <a:pt x="3665815" y="671410"/>
                  </a:lnTo>
                  <a:lnTo>
                    <a:pt x="3668219" y="673164"/>
                  </a:lnTo>
                  <a:lnTo>
                    <a:pt x="3668794" y="674853"/>
                  </a:lnTo>
                  <a:lnTo>
                    <a:pt x="3669323" y="677151"/>
                  </a:lnTo>
                  <a:lnTo>
                    <a:pt x="3670099" y="679285"/>
                  </a:lnTo>
                  <a:lnTo>
                    <a:pt x="3670643" y="680306"/>
                  </a:lnTo>
                  <a:lnTo>
                    <a:pt x="3671264" y="680155"/>
                  </a:lnTo>
                  <a:lnTo>
                    <a:pt x="3673675" y="677204"/>
                  </a:lnTo>
                  <a:lnTo>
                    <a:pt x="3674802" y="676323"/>
                  </a:lnTo>
                  <a:lnTo>
                    <a:pt x="3677483" y="675557"/>
                  </a:lnTo>
                  <a:lnTo>
                    <a:pt x="3678965" y="678897"/>
                  </a:lnTo>
                  <a:lnTo>
                    <a:pt x="3677920" y="684521"/>
                  </a:lnTo>
                  <a:lnTo>
                    <a:pt x="3678795" y="684518"/>
                  </a:lnTo>
                  <a:lnTo>
                    <a:pt x="3679479" y="683926"/>
                  </a:lnTo>
                  <a:lnTo>
                    <a:pt x="3680342" y="682420"/>
                  </a:lnTo>
                  <a:lnTo>
                    <a:pt x="3681570" y="681548"/>
                  </a:lnTo>
                  <a:lnTo>
                    <a:pt x="3683071" y="679503"/>
                  </a:lnTo>
                  <a:lnTo>
                    <a:pt x="3684356" y="676975"/>
                  </a:lnTo>
                  <a:lnTo>
                    <a:pt x="3682840" y="674997"/>
                  </a:lnTo>
                  <a:lnTo>
                    <a:pt x="3681106" y="673761"/>
                  </a:lnTo>
                  <a:lnTo>
                    <a:pt x="3677105" y="673064"/>
                  </a:lnTo>
                  <a:lnTo>
                    <a:pt x="3675016" y="671583"/>
                  </a:lnTo>
                  <a:lnTo>
                    <a:pt x="3674236" y="669691"/>
                  </a:lnTo>
                  <a:lnTo>
                    <a:pt x="3676271" y="668922"/>
                  </a:lnTo>
                  <a:lnTo>
                    <a:pt x="3678017" y="667546"/>
                  </a:lnTo>
                  <a:lnTo>
                    <a:pt x="3679235" y="664253"/>
                  </a:lnTo>
                  <a:lnTo>
                    <a:pt x="3678941" y="662442"/>
                  </a:lnTo>
                  <a:lnTo>
                    <a:pt x="3678451" y="660655"/>
                  </a:lnTo>
                  <a:lnTo>
                    <a:pt x="3677446" y="658149"/>
                  </a:lnTo>
                  <a:lnTo>
                    <a:pt x="3675945" y="656691"/>
                  </a:lnTo>
                  <a:lnTo>
                    <a:pt x="3673088" y="655963"/>
                  </a:lnTo>
                  <a:lnTo>
                    <a:pt x="3671798" y="654539"/>
                  </a:lnTo>
                  <a:lnTo>
                    <a:pt x="3669830" y="654618"/>
                  </a:lnTo>
                  <a:lnTo>
                    <a:pt x="3667882" y="654192"/>
                  </a:lnTo>
                  <a:lnTo>
                    <a:pt x="3667096" y="653671"/>
                  </a:lnTo>
                  <a:lnTo>
                    <a:pt x="3667194" y="652641"/>
                  </a:lnTo>
                  <a:lnTo>
                    <a:pt x="3669461" y="652175"/>
                  </a:lnTo>
                  <a:lnTo>
                    <a:pt x="3681922" y="652051"/>
                  </a:lnTo>
                  <a:lnTo>
                    <a:pt x="3686440" y="650619"/>
                  </a:lnTo>
                  <a:lnTo>
                    <a:pt x="3688499" y="651068"/>
                  </a:lnTo>
                  <a:lnTo>
                    <a:pt x="3690546" y="652098"/>
                  </a:lnTo>
                  <a:lnTo>
                    <a:pt x="3697980" y="653445"/>
                  </a:lnTo>
                  <a:lnTo>
                    <a:pt x="3697763" y="654073"/>
                  </a:lnTo>
                  <a:lnTo>
                    <a:pt x="3696513" y="654712"/>
                  </a:lnTo>
                  <a:lnTo>
                    <a:pt x="3694316" y="657703"/>
                  </a:lnTo>
                  <a:lnTo>
                    <a:pt x="3693884" y="659401"/>
                  </a:lnTo>
                  <a:lnTo>
                    <a:pt x="3693789" y="661552"/>
                  </a:lnTo>
                  <a:lnTo>
                    <a:pt x="3695744" y="661971"/>
                  </a:lnTo>
                  <a:lnTo>
                    <a:pt x="3697591" y="661060"/>
                  </a:lnTo>
                  <a:lnTo>
                    <a:pt x="3696690" y="659326"/>
                  </a:lnTo>
                  <a:lnTo>
                    <a:pt x="3696422" y="657193"/>
                  </a:lnTo>
                  <a:lnTo>
                    <a:pt x="3697202" y="656259"/>
                  </a:lnTo>
                  <a:lnTo>
                    <a:pt x="3698223" y="656059"/>
                  </a:lnTo>
                  <a:lnTo>
                    <a:pt x="3700176" y="657665"/>
                  </a:lnTo>
                  <a:lnTo>
                    <a:pt x="3702297" y="658176"/>
                  </a:lnTo>
                  <a:lnTo>
                    <a:pt x="3709417" y="658814"/>
                  </a:lnTo>
                  <a:lnTo>
                    <a:pt x="3711434" y="658608"/>
                  </a:lnTo>
                  <a:lnTo>
                    <a:pt x="3712081" y="657791"/>
                  </a:lnTo>
                  <a:lnTo>
                    <a:pt x="3710691" y="656847"/>
                  </a:lnTo>
                  <a:lnTo>
                    <a:pt x="3701428" y="654754"/>
                  </a:lnTo>
                  <a:lnTo>
                    <a:pt x="3701304" y="653602"/>
                  </a:lnTo>
                  <a:lnTo>
                    <a:pt x="3709849" y="655022"/>
                  </a:lnTo>
                  <a:lnTo>
                    <a:pt x="3713691" y="656329"/>
                  </a:lnTo>
                  <a:lnTo>
                    <a:pt x="3717524" y="657303"/>
                  </a:lnTo>
                  <a:lnTo>
                    <a:pt x="3722885" y="657016"/>
                  </a:lnTo>
                  <a:lnTo>
                    <a:pt x="3728103" y="658563"/>
                  </a:lnTo>
                  <a:lnTo>
                    <a:pt x="3733099" y="662765"/>
                  </a:lnTo>
                  <a:lnTo>
                    <a:pt x="3737722" y="668029"/>
                  </a:lnTo>
                  <a:lnTo>
                    <a:pt x="3742393" y="671139"/>
                  </a:lnTo>
                  <a:lnTo>
                    <a:pt x="3747315" y="673467"/>
                  </a:lnTo>
                  <a:lnTo>
                    <a:pt x="3755519" y="679828"/>
                  </a:lnTo>
                  <a:lnTo>
                    <a:pt x="3756540" y="680328"/>
                  </a:lnTo>
                  <a:lnTo>
                    <a:pt x="3757345" y="681188"/>
                  </a:lnTo>
                  <a:lnTo>
                    <a:pt x="3755803" y="682262"/>
                  </a:lnTo>
                  <a:lnTo>
                    <a:pt x="3754441" y="683811"/>
                  </a:lnTo>
                  <a:lnTo>
                    <a:pt x="3757120" y="682740"/>
                  </a:lnTo>
                  <a:lnTo>
                    <a:pt x="3759820" y="682011"/>
                  </a:lnTo>
                  <a:lnTo>
                    <a:pt x="3761146" y="682153"/>
                  </a:lnTo>
                  <a:lnTo>
                    <a:pt x="3762345" y="682968"/>
                  </a:lnTo>
                  <a:lnTo>
                    <a:pt x="3763127" y="684270"/>
                  </a:lnTo>
                  <a:lnTo>
                    <a:pt x="3763562" y="685561"/>
                  </a:lnTo>
                  <a:lnTo>
                    <a:pt x="3762412" y="686735"/>
                  </a:lnTo>
                  <a:lnTo>
                    <a:pt x="3770264" y="686948"/>
                  </a:lnTo>
                  <a:lnTo>
                    <a:pt x="3772718" y="687695"/>
                  </a:lnTo>
                  <a:lnTo>
                    <a:pt x="3773795" y="690810"/>
                  </a:lnTo>
                  <a:lnTo>
                    <a:pt x="3771527" y="692976"/>
                  </a:lnTo>
                  <a:lnTo>
                    <a:pt x="3770201" y="692713"/>
                  </a:lnTo>
                  <a:lnTo>
                    <a:pt x="3768927" y="691802"/>
                  </a:lnTo>
                  <a:lnTo>
                    <a:pt x="3767722" y="691711"/>
                  </a:lnTo>
                  <a:lnTo>
                    <a:pt x="3764280" y="692641"/>
                  </a:lnTo>
                  <a:lnTo>
                    <a:pt x="3758939" y="695549"/>
                  </a:lnTo>
                  <a:lnTo>
                    <a:pt x="3755851" y="697852"/>
                  </a:lnTo>
                  <a:lnTo>
                    <a:pt x="3755356" y="699378"/>
                  </a:lnTo>
                  <a:lnTo>
                    <a:pt x="3755834" y="703505"/>
                  </a:lnTo>
                  <a:lnTo>
                    <a:pt x="3755401" y="705469"/>
                  </a:lnTo>
                  <a:lnTo>
                    <a:pt x="3753073" y="706730"/>
                  </a:lnTo>
                  <a:lnTo>
                    <a:pt x="3747974" y="705964"/>
                  </a:lnTo>
                  <a:lnTo>
                    <a:pt x="3745661" y="705154"/>
                  </a:lnTo>
                  <a:lnTo>
                    <a:pt x="3743063" y="704059"/>
                  </a:lnTo>
                  <a:lnTo>
                    <a:pt x="3740563" y="702537"/>
                  </a:lnTo>
                  <a:lnTo>
                    <a:pt x="3737360" y="700093"/>
                  </a:lnTo>
                  <a:lnTo>
                    <a:pt x="3736373" y="699860"/>
                  </a:lnTo>
                  <a:lnTo>
                    <a:pt x="3735718" y="700447"/>
                  </a:lnTo>
                  <a:lnTo>
                    <a:pt x="3736811" y="701995"/>
                  </a:lnTo>
                  <a:lnTo>
                    <a:pt x="3738989" y="703933"/>
                  </a:lnTo>
                  <a:lnTo>
                    <a:pt x="3742721" y="706492"/>
                  </a:lnTo>
                  <a:lnTo>
                    <a:pt x="3744494" y="709328"/>
                  </a:lnTo>
                  <a:lnTo>
                    <a:pt x="3743353" y="710739"/>
                  </a:lnTo>
                  <a:lnTo>
                    <a:pt x="3741935" y="711063"/>
                  </a:lnTo>
                  <a:lnTo>
                    <a:pt x="3740917" y="711038"/>
                  </a:lnTo>
                  <a:lnTo>
                    <a:pt x="3737650" y="710153"/>
                  </a:lnTo>
                  <a:lnTo>
                    <a:pt x="3735384" y="709939"/>
                  </a:lnTo>
                  <a:lnTo>
                    <a:pt x="3728217" y="710761"/>
                  </a:lnTo>
                  <a:lnTo>
                    <a:pt x="3725635" y="711286"/>
                  </a:lnTo>
                  <a:lnTo>
                    <a:pt x="3724750" y="710851"/>
                  </a:lnTo>
                  <a:lnTo>
                    <a:pt x="3724529" y="709613"/>
                  </a:lnTo>
                  <a:lnTo>
                    <a:pt x="3720674" y="708712"/>
                  </a:lnTo>
                  <a:lnTo>
                    <a:pt x="3718410" y="708584"/>
                  </a:lnTo>
                  <a:lnTo>
                    <a:pt x="3717340" y="708154"/>
                  </a:lnTo>
                  <a:lnTo>
                    <a:pt x="3716456" y="706875"/>
                  </a:lnTo>
                  <a:lnTo>
                    <a:pt x="3713948" y="704982"/>
                  </a:lnTo>
                  <a:lnTo>
                    <a:pt x="3710144" y="704240"/>
                  </a:lnTo>
                  <a:lnTo>
                    <a:pt x="3707679" y="704153"/>
                  </a:lnTo>
                  <a:lnTo>
                    <a:pt x="3706261" y="704567"/>
                  </a:lnTo>
                  <a:lnTo>
                    <a:pt x="3711275" y="707076"/>
                  </a:lnTo>
                  <a:lnTo>
                    <a:pt x="3715755" y="711284"/>
                  </a:lnTo>
                  <a:lnTo>
                    <a:pt x="3714914" y="712061"/>
                  </a:lnTo>
                  <a:lnTo>
                    <a:pt x="3714344" y="712966"/>
                  </a:lnTo>
                  <a:lnTo>
                    <a:pt x="3716822" y="713030"/>
                  </a:lnTo>
                  <a:lnTo>
                    <a:pt x="3718434" y="712744"/>
                  </a:lnTo>
                  <a:lnTo>
                    <a:pt x="3718903" y="713848"/>
                  </a:lnTo>
                  <a:lnTo>
                    <a:pt x="3717614" y="718276"/>
                  </a:lnTo>
                  <a:lnTo>
                    <a:pt x="3716743" y="719254"/>
                  </a:lnTo>
                  <a:lnTo>
                    <a:pt x="3708946" y="720232"/>
                  </a:lnTo>
                  <a:lnTo>
                    <a:pt x="3710908" y="720964"/>
                  </a:lnTo>
                  <a:lnTo>
                    <a:pt x="3712921" y="721193"/>
                  </a:lnTo>
                  <a:lnTo>
                    <a:pt x="3715208" y="721019"/>
                  </a:lnTo>
                  <a:lnTo>
                    <a:pt x="3717257" y="721776"/>
                  </a:lnTo>
                  <a:lnTo>
                    <a:pt x="3718636" y="724550"/>
                  </a:lnTo>
                  <a:lnTo>
                    <a:pt x="3718868" y="727448"/>
                  </a:lnTo>
                  <a:lnTo>
                    <a:pt x="3716852" y="729101"/>
                  </a:lnTo>
                  <a:lnTo>
                    <a:pt x="3714765" y="730444"/>
                  </a:lnTo>
                  <a:lnTo>
                    <a:pt x="3710474" y="732481"/>
                  </a:lnTo>
                  <a:lnTo>
                    <a:pt x="3706058" y="733379"/>
                  </a:lnTo>
                  <a:lnTo>
                    <a:pt x="3703739" y="733154"/>
                  </a:lnTo>
                  <a:lnTo>
                    <a:pt x="3701489" y="733605"/>
                  </a:lnTo>
                  <a:lnTo>
                    <a:pt x="3700006" y="734660"/>
                  </a:lnTo>
                  <a:lnTo>
                    <a:pt x="3699573" y="735728"/>
                  </a:lnTo>
                  <a:lnTo>
                    <a:pt x="3701513" y="735020"/>
                  </a:lnTo>
                  <a:lnTo>
                    <a:pt x="3703750" y="735415"/>
                  </a:lnTo>
                  <a:lnTo>
                    <a:pt x="3705868" y="736687"/>
                  </a:lnTo>
                  <a:lnTo>
                    <a:pt x="3705637" y="737737"/>
                  </a:lnTo>
                  <a:lnTo>
                    <a:pt x="3703624" y="738881"/>
                  </a:lnTo>
                  <a:lnTo>
                    <a:pt x="3703149" y="739748"/>
                  </a:lnTo>
                  <a:lnTo>
                    <a:pt x="3703923" y="741209"/>
                  </a:lnTo>
                  <a:lnTo>
                    <a:pt x="3703662" y="742464"/>
                  </a:lnTo>
                  <a:lnTo>
                    <a:pt x="3704695" y="743140"/>
                  </a:lnTo>
                  <a:lnTo>
                    <a:pt x="3707067" y="743377"/>
                  </a:lnTo>
                  <a:lnTo>
                    <a:pt x="3709958" y="744282"/>
                  </a:lnTo>
                  <a:lnTo>
                    <a:pt x="3712804" y="745483"/>
                  </a:lnTo>
                  <a:lnTo>
                    <a:pt x="3713928" y="746511"/>
                  </a:lnTo>
                  <a:lnTo>
                    <a:pt x="3714873" y="747958"/>
                  </a:lnTo>
                  <a:lnTo>
                    <a:pt x="3715207" y="749492"/>
                  </a:lnTo>
                  <a:lnTo>
                    <a:pt x="3714704" y="750119"/>
                  </a:lnTo>
                  <a:lnTo>
                    <a:pt x="3708221" y="750362"/>
                  </a:lnTo>
                  <a:lnTo>
                    <a:pt x="3707237" y="750178"/>
                  </a:lnTo>
                  <a:lnTo>
                    <a:pt x="3706866" y="748481"/>
                  </a:lnTo>
                  <a:lnTo>
                    <a:pt x="3706080" y="747095"/>
                  </a:lnTo>
                  <a:lnTo>
                    <a:pt x="3703611" y="746128"/>
                  </a:lnTo>
                  <a:lnTo>
                    <a:pt x="3702597" y="746794"/>
                  </a:lnTo>
                  <a:lnTo>
                    <a:pt x="3703331" y="751699"/>
                  </a:lnTo>
                  <a:lnTo>
                    <a:pt x="3702353" y="753182"/>
                  </a:lnTo>
                  <a:lnTo>
                    <a:pt x="3701268" y="754254"/>
                  </a:lnTo>
                  <a:lnTo>
                    <a:pt x="3697988" y="754882"/>
                  </a:lnTo>
                  <a:lnTo>
                    <a:pt x="3695378" y="754531"/>
                  </a:lnTo>
                  <a:lnTo>
                    <a:pt x="3693162" y="752216"/>
                  </a:lnTo>
                  <a:lnTo>
                    <a:pt x="3693166" y="750244"/>
                  </a:lnTo>
                  <a:lnTo>
                    <a:pt x="3694632" y="749096"/>
                  </a:lnTo>
                  <a:lnTo>
                    <a:pt x="3694630" y="747503"/>
                  </a:lnTo>
                  <a:lnTo>
                    <a:pt x="3694228" y="745648"/>
                  </a:lnTo>
                  <a:lnTo>
                    <a:pt x="3692720" y="747804"/>
                  </a:lnTo>
                  <a:lnTo>
                    <a:pt x="3690968" y="749596"/>
                  </a:lnTo>
                  <a:lnTo>
                    <a:pt x="3688123" y="751840"/>
                  </a:lnTo>
                  <a:lnTo>
                    <a:pt x="3686744" y="752129"/>
                  </a:lnTo>
                  <a:lnTo>
                    <a:pt x="3685334" y="751874"/>
                  </a:lnTo>
                  <a:lnTo>
                    <a:pt x="3681616" y="750268"/>
                  </a:lnTo>
                  <a:lnTo>
                    <a:pt x="3679327" y="748872"/>
                  </a:lnTo>
                  <a:lnTo>
                    <a:pt x="3674828" y="744286"/>
                  </a:lnTo>
                  <a:lnTo>
                    <a:pt x="3672325" y="742150"/>
                  </a:lnTo>
                  <a:lnTo>
                    <a:pt x="3666741" y="739289"/>
                  </a:lnTo>
                  <a:lnTo>
                    <a:pt x="3660994" y="737208"/>
                  </a:lnTo>
                  <a:lnTo>
                    <a:pt x="3656448" y="735859"/>
                  </a:lnTo>
                  <a:lnTo>
                    <a:pt x="3654020" y="736016"/>
                  </a:lnTo>
                  <a:lnTo>
                    <a:pt x="3651586" y="736564"/>
                  </a:lnTo>
                  <a:lnTo>
                    <a:pt x="3648509" y="736263"/>
                  </a:lnTo>
                  <a:lnTo>
                    <a:pt x="3647469" y="735751"/>
                  </a:lnTo>
                  <a:lnTo>
                    <a:pt x="3646560" y="734609"/>
                  </a:lnTo>
                  <a:lnTo>
                    <a:pt x="3645733" y="733946"/>
                  </a:lnTo>
                  <a:lnTo>
                    <a:pt x="3641416" y="731113"/>
                  </a:lnTo>
                  <a:lnTo>
                    <a:pt x="3638365" y="728789"/>
                  </a:lnTo>
                  <a:lnTo>
                    <a:pt x="3638241" y="727231"/>
                  </a:lnTo>
                  <a:lnTo>
                    <a:pt x="3638887" y="725385"/>
                  </a:lnTo>
                  <a:lnTo>
                    <a:pt x="3638314" y="720799"/>
                  </a:lnTo>
                  <a:lnTo>
                    <a:pt x="3636837" y="716478"/>
                  </a:lnTo>
                  <a:lnTo>
                    <a:pt x="3633071" y="712188"/>
                  </a:lnTo>
                  <a:lnTo>
                    <a:pt x="3623028" y="709415"/>
                  </a:lnTo>
                  <a:lnTo>
                    <a:pt x="3614743" y="707462"/>
                  </a:lnTo>
                  <a:lnTo>
                    <a:pt x="3611778" y="707017"/>
                  </a:lnTo>
                  <a:lnTo>
                    <a:pt x="3609146" y="707452"/>
                  </a:lnTo>
                  <a:lnTo>
                    <a:pt x="3602214" y="711005"/>
                  </a:lnTo>
                  <a:lnTo>
                    <a:pt x="3597573" y="711512"/>
                  </a:lnTo>
                  <a:lnTo>
                    <a:pt x="3584049" y="711688"/>
                  </a:lnTo>
                  <a:lnTo>
                    <a:pt x="3581788" y="711300"/>
                  </a:lnTo>
                  <a:lnTo>
                    <a:pt x="3579751" y="709790"/>
                  </a:lnTo>
                  <a:lnTo>
                    <a:pt x="3579280" y="707765"/>
                  </a:lnTo>
                  <a:lnTo>
                    <a:pt x="3579868" y="704000"/>
                  </a:lnTo>
                  <a:lnTo>
                    <a:pt x="3579801" y="702407"/>
                  </a:lnTo>
                  <a:lnTo>
                    <a:pt x="3579273" y="701868"/>
                  </a:lnTo>
                  <a:lnTo>
                    <a:pt x="3578558" y="701913"/>
                  </a:lnTo>
                  <a:lnTo>
                    <a:pt x="3575892" y="700406"/>
                  </a:lnTo>
                  <a:lnTo>
                    <a:pt x="3573417" y="697877"/>
                  </a:lnTo>
                  <a:lnTo>
                    <a:pt x="3571465" y="695258"/>
                  </a:lnTo>
                  <a:lnTo>
                    <a:pt x="3570144" y="691738"/>
                  </a:lnTo>
                  <a:lnTo>
                    <a:pt x="3571932" y="691562"/>
                  </a:lnTo>
                  <a:lnTo>
                    <a:pt x="3574397" y="692436"/>
                  </a:lnTo>
                  <a:lnTo>
                    <a:pt x="3574755" y="691573"/>
                  </a:lnTo>
                  <a:lnTo>
                    <a:pt x="3575568" y="688388"/>
                  </a:lnTo>
                  <a:lnTo>
                    <a:pt x="3577282" y="686855"/>
                  </a:lnTo>
                  <a:lnTo>
                    <a:pt x="3577940" y="685665"/>
                  </a:lnTo>
                  <a:lnTo>
                    <a:pt x="3579099" y="681325"/>
                  </a:lnTo>
                  <a:lnTo>
                    <a:pt x="3579266" y="678195"/>
                  </a:lnTo>
                  <a:lnTo>
                    <a:pt x="3577293" y="679903"/>
                  </a:lnTo>
                  <a:lnTo>
                    <a:pt x="3574264" y="684240"/>
                  </a:lnTo>
                  <a:lnTo>
                    <a:pt x="3572759" y="685510"/>
                  </a:lnTo>
                  <a:lnTo>
                    <a:pt x="3571713" y="686083"/>
                  </a:lnTo>
                  <a:lnTo>
                    <a:pt x="3570665" y="686345"/>
                  </a:lnTo>
                  <a:lnTo>
                    <a:pt x="3568219" y="685479"/>
                  </a:lnTo>
                  <a:lnTo>
                    <a:pt x="3566474" y="684435"/>
                  </a:lnTo>
                  <a:lnTo>
                    <a:pt x="3566434" y="680238"/>
                  </a:lnTo>
                  <a:lnTo>
                    <a:pt x="3565626" y="679172"/>
                  </a:lnTo>
                  <a:lnTo>
                    <a:pt x="3564853" y="679972"/>
                  </a:lnTo>
                  <a:lnTo>
                    <a:pt x="3564537" y="681472"/>
                  </a:lnTo>
                  <a:lnTo>
                    <a:pt x="3562314" y="681747"/>
                  </a:lnTo>
                  <a:lnTo>
                    <a:pt x="3561276" y="682393"/>
                  </a:lnTo>
                  <a:lnTo>
                    <a:pt x="3561805" y="684880"/>
                  </a:lnTo>
                  <a:lnTo>
                    <a:pt x="3561562" y="686981"/>
                  </a:lnTo>
                  <a:lnTo>
                    <a:pt x="3559451" y="687770"/>
                  </a:lnTo>
                  <a:lnTo>
                    <a:pt x="3555172" y="688254"/>
                  </a:lnTo>
                  <a:lnTo>
                    <a:pt x="3553688" y="686190"/>
                  </a:lnTo>
                  <a:lnTo>
                    <a:pt x="3552415" y="689064"/>
                  </a:lnTo>
                  <a:lnTo>
                    <a:pt x="3551469" y="692279"/>
                  </a:lnTo>
                  <a:lnTo>
                    <a:pt x="3551335" y="696558"/>
                  </a:lnTo>
                  <a:lnTo>
                    <a:pt x="3552692" y="700099"/>
                  </a:lnTo>
                  <a:lnTo>
                    <a:pt x="3554631" y="701783"/>
                  </a:lnTo>
                  <a:lnTo>
                    <a:pt x="3558867" y="704320"/>
                  </a:lnTo>
                  <a:lnTo>
                    <a:pt x="3560705" y="706109"/>
                  </a:lnTo>
                  <a:lnTo>
                    <a:pt x="3561182" y="708411"/>
                  </a:lnTo>
                  <a:lnTo>
                    <a:pt x="3561011" y="710532"/>
                  </a:lnTo>
                  <a:lnTo>
                    <a:pt x="3558810" y="713120"/>
                  </a:lnTo>
                  <a:lnTo>
                    <a:pt x="3557314" y="715257"/>
                  </a:lnTo>
                  <a:lnTo>
                    <a:pt x="3554752" y="720390"/>
                  </a:lnTo>
                  <a:lnTo>
                    <a:pt x="3553217" y="722443"/>
                  </a:lnTo>
                  <a:lnTo>
                    <a:pt x="3546685" y="726762"/>
                  </a:lnTo>
                  <a:lnTo>
                    <a:pt x="3542868" y="727950"/>
                  </a:lnTo>
                  <a:lnTo>
                    <a:pt x="3538975" y="732015"/>
                  </a:lnTo>
                  <a:lnTo>
                    <a:pt x="3534484" y="735560"/>
                  </a:lnTo>
                  <a:lnTo>
                    <a:pt x="3527889" y="737007"/>
                  </a:lnTo>
                  <a:lnTo>
                    <a:pt x="3517905" y="742384"/>
                  </a:lnTo>
                  <a:lnTo>
                    <a:pt x="3513948" y="743387"/>
                  </a:lnTo>
                  <a:lnTo>
                    <a:pt x="3508770" y="740915"/>
                  </a:lnTo>
                  <a:lnTo>
                    <a:pt x="3496902" y="739315"/>
                  </a:lnTo>
                  <a:lnTo>
                    <a:pt x="3493210" y="737140"/>
                  </a:lnTo>
                  <a:lnTo>
                    <a:pt x="3487800" y="731642"/>
                  </a:lnTo>
                  <a:lnTo>
                    <a:pt x="3485917" y="730844"/>
                  </a:lnTo>
                  <a:lnTo>
                    <a:pt x="3484311" y="728671"/>
                  </a:lnTo>
                  <a:lnTo>
                    <a:pt x="3477714" y="726233"/>
                  </a:lnTo>
                  <a:lnTo>
                    <a:pt x="3472052" y="727827"/>
                  </a:lnTo>
                  <a:lnTo>
                    <a:pt x="3467371" y="726618"/>
                  </a:lnTo>
                  <a:lnTo>
                    <a:pt x="3465777" y="727478"/>
                  </a:lnTo>
                  <a:lnTo>
                    <a:pt x="3468234" y="728271"/>
                  </a:lnTo>
                  <a:lnTo>
                    <a:pt x="3472510" y="728920"/>
                  </a:lnTo>
                  <a:lnTo>
                    <a:pt x="3479023" y="728603"/>
                  </a:lnTo>
                  <a:lnTo>
                    <a:pt x="3481174" y="729190"/>
                  </a:lnTo>
                  <a:lnTo>
                    <a:pt x="3483078" y="731080"/>
                  </a:lnTo>
                  <a:lnTo>
                    <a:pt x="3485276" y="734140"/>
                  </a:lnTo>
                  <a:lnTo>
                    <a:pt x="3483626" y="736176"/>
                  </a:lnTo>
                  <a:lnTo>
                    <a:pt x="3481869" y="736826"/>
                  </a:lnTo>
                  <a:lnTo>
                    <a:pt x="3476613" y="734586"/>
                  </a:lnTo>
                  <a:lnTo>
                    <a:pt x="3470545" y="734917"/>
                  </a:lnTo>
                  <a:lnTo>
                    <a:pt x="3467733" y="734373"/>
                  </a:lnTo>
                  <a:lnTo>
                    <a:pt x="3459588" y="730582"/>
                  </a:lnTo>
                  <a:lnTo>
                    <a:pt x="3453398" y="734772"/>
                  </a:lnTo>
                  <a:lnTo>
                    <a:pt x="3444891" y="736932"/>
                  </a:lnTo>
                  <a:lnTo>
                    <a:pt x="3438286" y="737177"/>
                  </a:lnTo>
                  <a:lnTo>
                    <a:pt x="3426148" y="740500"/>
                  </a:lnTo>
                  <a:lnTo>
                    <a:pt x="3429460" y="740587"/>
                  </a:lnTo>
                  <a:lnTo>
                    <a:pt x="3438271" y="738258"/>
                  </a:lnTo>
                  <a:lnTo>
                    <a:pt x="3443436" y="738258"/>
                  </a:lnTo>
                  <a:lnTo>
                    <a:pt x="3451115" y="736976"/>
                  </a:lnTo>
                  <a:lnTo>
                    <a:pt x="3455110" y="735443"/>
                  </a:lnTo>
                  <a:lnTo>
                    <a:pt x="3457040" y="734014"/>
                  </a:lnTo>
                  <a:lnTo>
                    <a:pt x="3459487" y="732597"/>
                  </a:lnTo>
                  <a:lnTo>
                    <a:pt x="3461979" y="733313"/>
                  </a:lnTo>
                  <a:lnTo>
                    <a:pt x="3463698" y="734808"/>
                  </a:lnTo>
                  <a:lnTo>
                    <a:pt x="3464889" y="736927"/>
                  </a:lnTo>
                  <a:lnTo>
                    <a:pt x="3465997" y="739741"/>
                  </a:lnTo>
                  <a:lnTo>
                    <a:pt x="3464499" y="741216"/>
                  </a:lnTo>
                  <a:lnTo>
                    <a:pt x="3463089" y="741997"/>
                  </a:lnTo>
                  <a:lnTo>
                    <a:pt x="3461352" y="743999"/>
                  </a:lnTo>
                  <a:lnTo>
                    <a:pt x="3469461" y="740552"/>
                  </a:lnTo>
                  <a:lnTo>
                    <a:pt x="3474400" y="742607"/>
                  </a:lnTo>
                  <a:lnTo>
                    <a:pt x="3476874" y="742288"/>
                  </a:lnTo>
                  <a:lnTo>
                    <a:pt x="3481450" y="739237"/>
                  </a:lnTo>
                  <a:lnTo>
                    <a:pt x="3488917" y="737278"/>
                  </a:lnTo>
                  <a:lnTo>
                    <a:pt x="3489800" y="737658"/>
                  </a:lnTo>
                  <a:lnTo>
                    <a:pt x="3490679" y="738609"/>
                  </a:lnTo>
                  <a:lnTo>
                    <a:pt x="3489411" y="744463"/>
                  </a:lnTo>
                  <a:lnTo>
                    <a:pt x="3489921" y="749032"/>
                  </a:lnTo>
                  <a:lnTo>
                    <a:pt x="3495550" y="753996"/>
                  </a:lnTo>
                  <a:lnTo>
                    <a:pt x="3501429" y="756920"/>
                  </a:lnTo>
                  <a:lnTo>
                    <a:pt x="3503450" y="757015"/>
                  </a:lnTo>
                  <a:lnTo>
                    <a:pt x="3505348" y="756459"/>
                  </a:lnTo>
                  <a:lnTo>
                    <a:pt x="3506086" y="753842"/>
                  </a:lnTo>
                  <a:lnTo>
                    <a:pt x="3507536" y="751878"/>
                  </a:lnTo>
                  <a:lnTo>
                    <a:pt x="3509381" y="753653"/>
                  </a:lnTo>
                  <a:lnTo>
                    <a:pt x="3510895" y="755551"/>
                  </a:lnTo>
                  <a:lnTo>
                    <a:pt x="3513011" y="760260"/>
                  </a:lnTo>
                  <a:lnTo>
                    <a:pt x="3512960" y="761635"/>
                  </a:lnTo>
                  <a:lnTo>
                    <a:pt x="3512441" y="764377"/>
                  </a:lnTo>
                  <a:lnTo>
                    <a:pt x="3514313" y="765638"/>
                  </a:lnTo>
                  <a:lnTo>
                    <a:pt x="3516840" y="766003"/>
                  </a:lnTo>
                  <a:lnTo>
                    <a:pt x="3517773" y="770334"/>
                  </a:lnTo>
                  <a:lnTo>
                    <a:pt x="3518635" y="776492"/>
                  </a:lnTo>
                  <a:lnTo>
                    <a:pt x="3517527" y="777066"/>
                  </a:lnTo>
                  <a:lnTo>
                    <a:pt x="3516302" y="777066"/>
                  </a:lnTo>
                  <a:lnTo>
                    <a:pt x="3512200" y="778650"/>
                  </a:lnTo>
                  <a:lnTo>
                    <a:pt x="3512767" y="779753"/>
                  </a:lnTo>
                  <a:lnTo>
                    <a:pt x="3516916" y="780364"/>
                  </a:lnTo>
                  <a:lnTo>
                    <a:pt x="3518081" y="781593"/>
                  </a:lnTo>
                  <a:lnTo>
                    <a:pt x="3517250" y="784447"/>
                  </a:lnTo>
                  <a:lnTo>
                    <a:pt x="3517468" y="785762"/>
                  </a:lnTo>
                  <a:lnTo>
                    <a:pt x="3518913" y="786025"/>
                  </a:lnTo>
                  <a:lnTo>
                    <a:pt x="3519857" y="784360"/>
                  </a:lnTo>
                  <a:lnTo>
                    <a:pt x="3519606" y="781988"/>
                  </a:lnTo>
                  <a:lnTo>
                    <a:pt x="3519995" y="780935"/>
                  </a:lnTo>
                  <a:lnTo>
                    <a:pt x="3522772" y="785833"/>
                  </a:lnTo>
                  <a:lnTo>
                    <a:pt x="3522836" y="787761"/>
                  </a:lnTo>
                  <a:lnTo>
                    <a:pt x="3525195" y="789944"/>
                  </a:lnTo>
                  <a:lnTo>
                    <a:pt x="3531921" y="793157"/>
                  </a:lnTo>
                  <a:lnTo>
                    <a:pt x="3533165" y="794652"/>
                  </a:lnTo>
                  <a:lnTo>
                    <a:pt x="3533530" y="797067"/>
                  </a:lnTo>
                  <a:lnTo>
                    <a:pt x="3531848" y="797755"/>
                  </a:lnTo>
                  <a:lnTo>
                    <a:pt x="3530312" y="799477"/>
                  </a:lnTo>
                  <a:lnTo>
                    <a:pt x="3531254" y="801851"/>
                  </a:lnTo>
                  <a:lnTo>
                    <a:pt x="3532998" y="803796"/>
                  </a:lnTo>
                  <a:lnTo>
                    <a:pt x="3535871" y="804519"/>
                  </a:lnTo>
                  <a:lnTo>
                    <a:pt x="3537188" y="807608"/>
                  </a:lnTo>
                  <a:lnTo>
                    <a:pt x="3537188" y="810577"/>
                  </a:lnTo>
                  <a:lnTo>
                    <a:pt x="3535126" y="813143"/>
                  </a:lnTo>
                  <a:lnTo>
                    <a:pt x="3530956" y="816681"/>
                  </a:lnTo>
                  <a:lnTo>
                    <a:pt x="3528485" y="818097"/>
                  </a:lnTo>
                  <a:lnTo>
                    <a:pt x="3527534" y="820597"/>
                  </a:lnTo>
                  <a:lnTo>
                    <a:pt x="3527242" y="823208"/>
                  </a:lnTo>
                  <a:lnTo>
                    <a:pt x="3525559" y="823094"/>
                  </a:lnTo>
                  <a:lnTo>
                    <a:pt x="3523774" y="822010"/>
                  </a:lnTo>
                  <a:lnTo>
                    <a:pt x="3502886" y="815421"/>
                  </a:lnTo>
                  <a:lnTo>
                    <a:pt x="3495011" y="814187"/>
                  </a:lnTo>
                  <a:lnTo>
                    <a:pt x="3488116" y="814027"/>
                  </a:lnTo>
                  <a:lnTo>
                    <a:pt x="3486818" y="813628"/>
                  </a:lnTo>
                  <a:lnTo>
                    <a:pt x="3486891" y="812061"/>
                  </a:lnTo>
                  <a:lnTo>
                    <a:pt x="3487332" y="810655"/>
                  </a:lnTo>
                  <a:lnTo>
                    <a:pt x="3488301" y="808870"/>
                  </a:lnTo>
                  <a:lnTo>
                    <a:pt x="3487844" y="807336"/>
                  </a:lnTo>
                  <a:lnTo>
                    <a:pt x="3486945" y="807237"/>
                  </a:lnTo>
                  <a:lnTo>
                    <a:pt x="3486069" y="808404"/>
                  </a:lnTo>
                  <a:lnTo>
                    <a:pt x="3484166" y="808407"/>
                  </a:lnTo>
                  <a:lnTo>
                    <a:pt x="3482366" y="807053"/>
                  </a:lnTo>
                  <a:lnTo>
                    <a:pt x="3480869" y="807478"/>
                  </a:lnTo>
                  <a:lnTo>
                    <a:pt x="3480128" y="809379"/>
                  </a:lnTo>
                  <a:lnTo>
                    <a:pt x="3479540" y="810378"/>
                  </a:lnTo>
                  <a:lnTo>
                    <a:pt x="3479569" y="811573"/>
                  </a:lnTo>
                  <a:lnTo>
                    <a:pt x="3480526" y="812679"/>
                  </a:lnTo>
                  <a:lnTo>
                    <a:pt x="3484542" y="813884"/>
                  </a:lnTo>
                  <a:lnTo>
                    <a:pt x="3483875" y="814938"/>
                  </a:lnTo>
                  <a:lnTo>
                    <a:pt x="3478302" y="815796"/>
                  </a:lnTo>
                  <a:lnTo>
                    <a:pt x="3473771" y="816839"/>
                  </a:lnTo>
                  <a:lnTo>
                    <a:pt x="3467889" y="820102"/>
                  </a:lnTo>
                  <a:lnTo>
                    <a:pt x="3465499" y="822327"/>
                  </a:lnTo>
                  <a:lnTo>
                    <a:pt x="3449698" y="827867"/>
                  </a:lnTo>
                  <a:lnTo>
                    <a:pt x="3445897" y="829797"/>
                  </a:lnTo>
                  <a:lnTo>
                    <a:pt x="3444213" y="830023"/>
                  </a:lnTo>
                  <a:lnTo>
                    <a:pt x="3442047" y="830670"/>
                  </a:lnTo>
                  <a:lnTo>
                    <a:pt x="3440378" y="832992"/>
                  </a:lnTo>
                  <a:lnTo>
                    <a:pt x="3431648" y="836251"/>
                  </a:lnTo>
                  <a:lnTo>
                    <a:pt x="3429823" y="835943"/>
                  </a:lnTo>
                  <a:lnTo>
                    <a:pt x="3427513" y="838678"/>
                  </a:lnTo>
                  <a:lnTo>
                    <a:pt x="3425386" y="840175"/>
                  </a:lnTo>
                  <a:lnTo>
                    <a:pt x="3420313" y="840383"/>
                  </a:lnTo>
                  <a:lnTo>
                    <a:pt x="3417083" y="841143"/>
                  </a:lnTo>
                  <a:lnTo>
                    <a:pt x="3410084" y="845076"/>
                  </a:lnTo>
                  <a:lnTo>
                    <a:pt x="3405686" y="843831"/>
                  </a:lnTo>
                  <a:lnTo>
                    <a:pt x="3400540" y="849235"/>
                  </a:lnTo>
                  <a:lnTo>
                    <a:pt x="3394815" y="854313"/>
                  </a:lnTo>
                  <a:lnTo>
                    <a:pt x="3393107" y="854328"/>
                  </a:lnTo>
                  <a:lnTo>
                    <a:pt x="3388728" y="852198"/>
                  </a:lnTo>
                  <a:lnTo>
                    <a:pt x="3387629" y="853316"/>
                  </a:lnTo>
                  <a:lnTo>
                    <a:pt x="3388316" y="855362"/>
                  </a:lnTo>
                  <a:lnTo>
                    <a:pt x="3389866" y="857521"/>
                  </a:lnTo>
                  <a:lnTo>
                    <a:pt x="3388976" y="858147"/>
                  </a:lnTo>
                  <a:lnTo>
                    <a:pt x="3387236" y="857552"/>
                  </a:lnTo>
                  <a:lnTo>
                    <a:pt x="3385945" y="857427"/>
                  </a:lnTo>
                  <a:lnTo>
                    <a:pt x="3385046" y="858076"/>
                  </a:lnTo>
                  <a:lnTo>
                    <a:pt x="3385200" y="859622"/>
                  </a:lnTo>
                  <a:lnTo>
                    <a:pt x="3382718" y="861606"/>
                  </a:lnTo>
                  <a:lnTo>
                    <a:pt x="3380779" y="861758"/>
                  </a:lnTo>
                  <a:lnTo>
                    <a:pt x="3378547" y="862382"/>
                  </a:lnTo>
                  <a:lnTo>
                    <a:pt x="3377802" y="864090"/>
                  </a:lnTo>
                  <a:lnTo>
                    <a:pt x="3378473" y="865934"/>
                  </a:lnTo>
                  <a:lnTo>
                    <a:pt x="3374504" y="868080"/>
                  </a:lnTo>
                  <a:lnTo>
                    <a:pt x="3371276" y="870837"/>
                  </a:lnTo>
                  <a:lnTo>
                    <a:pt x="3369736" y="871339"/>
                  </a:lnTo>
                  <a:lnTo>
                    <a:pt x="3367974" y="872565"/>
                  </a:lnTo>
                  <a:lnTo>
                    <a:pt x="3366041" y="873461"/>
                  </a:lnTo>
                  <a:lnTo>
                    <a:pt x="3363806" y="873268"/>
                  </a:lnTo>
                  <a:lnTo>
                    <a:pt x="3358505" y="877195"/>
                  </a:lnTo>
                  <a:lnTo>
                    <a:pt x="3346555" y="883962"/>
                  </a:lnTo>
                  <a:lnTo>
                    <a:pt x="3343239" y="884844"/>
                  </a:lnTo>
                  <a:lnTo>
                    <a:pt x="3339013" y="886893"/>
                  </a:lnTo>
                  <a:lnTo>
                    <a:pt x="3338605" y="888264"/>
                  </a:lnTo>
                  <a:lnTo>
                    <a:pt x="3338578" y="889953"/>
                  </a:lnTo>
                  <a:lnTo>
                    <a:pt x="3336892" y="892721"/>
                  </a:lnTo>
                  <a:lnTo>
                    <a:pt x="3334927" y="899734"/>
                  </a:lnTo>
                  <a:lnTo>
                    <a:pt x="3334331" y="900991"/>
                  </a:lnTo>
                  <a:lnTo>
                    <a:pt x="3333324" y="902453"/>
                  </a:lnTo>
                  <a:lnTo>
                    <a:pt x="3328971" y="901774"/>
                  </a:lnTo>
                  <a:lnTo>
                    <a:pt x="3325179" y="899096"/>
                  </a:lnTo>
                  <a:lnTo>
                    <a:pt x="3323955" y="897866"/>
                  </a:lnTo>
                  <a:lnTo>
                    <a:pt x="3323299" y="896423"/>
                  </a:lnTo>
                  <a:lnTo>
                    <a:pt x="3323065" y="894101"/>
                  </a:lnTo>
                  <a:lnTo>
                    <a:pt x="3322342" y="893028"/>
                  </a:lnTo>
                  <a:lnTo>
                    <a:pt x="3321467" y="892526"/>
                  </a:lnTo>
                  <a:lnTo>
                    <a:pt x="3317125" y="886789"/>
                  </a:lnTo>
                  <a:lnTo>
                    <a:pt x="3309548" y="882839"/>
                  </a:lnTo>
                  <a:lnTo>
                    <a:pt x="3308466" y="881529"/>
                  </a:lnTo>
                  <a:lnTo>
                    <a:pt x="3298770" y="882600"/>
                  </a:lnTo>
                  <a:lnTo>
                    <a:pt x="3296162" y="882631"/>
                  </a:lnTo>
                  <a:lnTo>
                    <a:pt x="3291574" y="881652"/>
                  </a:lnTo>
                  <a:lnTo>
                    <a:pt x="3284380" y="882263"/>
                  </a:lnTo>
                  <a:lnTo>
                    <a:pt x="3275723" y="884416"/>
                  </a:lnTo>
                  <a:lnTo>
                    <a:pt x="3273071" y="885761"/>
                  </a:lnTo>
                  <a:lnTo>
                    <a:pt x="3264242" y="887845"/>
                  </a:lnTo>
                  <a:lnTo>
                    <a:pt x="3258433" y="891144"/>
                  </a:lnTo>
                  <a:lnTo>
                    <a:pt x="3247122" y="903064"/>
                  </a:lnTo>
                  <a:lnTo>
                    <a:pt x="3244452" y="905526"/>
                  </a:lnTo>
                  <a:lnTo>
                    <a:pt x="3243153" y="906059"/>
                  </a:lnTo>
                  <a:lnTo>
                    <a:pt x="3241239" y="906283"/>
                  </a:lnTo>
                  <a:lnTo>
                    <a:pt x="3240408" y="903888"/>
                  </a:lnTo>
                  <a:lnTo>
                    <a:pt x="3240123" y="901997"/>
                  </a:lnTo>
                  <a:lnTo>
                    <a:pt x="3240839" y="898377"/>
                  </a:lnTo>
                  <a:lnTo>
                    <a:pt x="3242197" y="895413"/>
                  </a:lnTo>
                  <a:lnTo>
                    <a:pt x="3243583" y="889846"/>
                  </a:lnTo>
                  <a:lnTo>
                    <a:pt x="3243928" y="887580"/>
                  </a:lnTo>
                  <a:lnTo>
                    <a:pt x="3244902" y="885232"/>
                  </a:lnTo>
                  <a:lnTo>
                    <a:pt x="3241099" y="885380"/>
                  </a:lnTo>
                  <a:lnTo>
                    <a:pt x="3235833" y="889488"/>
                  </a:lnTo>
                  <a:lnTo>
                    <a:pt x="3227894" y="893485"/>
                  </a:lnTo>
                  <a:lnTo>
                    <a:pt x="3224198" y="894523"/>
                  </a:lnTo>
                  <a:lnTo>
                    <a:pt x="3221310" y="896851"/>
                  </a:lnTo>
                  <a:lnTo>
                    <a:pt x="3219262" y="897187"/>
                  </a:lnTo>
                  <a:lnTo>
                    <a:pt x="3216873" y="898054"/>
                  </a:lnTo>
                  <a:lnTo>
                    <a:pt x="3216632" y="903111"/>
                  </a:lnTo>
                  <a:lnTo>
                    <a:pt x="3215422" y="905911"/>
                  </a:lnTo>
                  <a:lnTo>
                    <a:pt x="3213979" y="906476"/>
                  </a:lnTo>
                  <a:lnTo>
                    <a:pt x="3211782" y="906563"/>
                  </a:lnTo>
                  <a:lnTo>
                    <a:pt x="3210125" y="905467"/>
                  </a:lnTo>
                  <a:lnTo>
                    <a:pt x="3207700" y="901398"/>
                  </a:lnTo>
                  <a:lnTo>
                    <a:pt x="3204507" y="899288"/>
                  </a:lnTo>
                  <a:lnTo>
                    <a:pt x="3202621" y="898910"/>
                  </a:lnTo>
                  <a:lnTo>
                    <a:pt x="3201224" y="899395"/>
                  </a:lnTo>
                  <a:lnTo>
                    <a:pt x="3198454" y="902181"/>
                  </a:lnTo>
                  <a:lnTo>
                    <a:pt x="3195396" y="904697"/>
                  </a:lnTo>
                  <a:lnTo>
                    <a:pt x="3195878" y="901830"/>
                  </a:lnTo>
                  <a:lnTo>
                    <a:pt x="3193280" y="900741"/>
                  </a:lnTo>
                  <a:lnTo>
                    <a:pt x="3190965" y="900089"/>
                  </a:lnTo>
                  <a:lnTo>
                    <a:pt x="3188028" y="899955"/>
                  </a:lnTo>
                  <a:lnTo>
                    <a:pt x="3187227" y="900388"/>
                  </a:lnTo>
                  <a:lnTo>
                    <a:pt x="3186037" y="902027"/>
                  </a:lnTo>
                  <a:lnTo>
                    <a:pt x="3183479" y="904152"/>
                  </a:lnTo>
                  <a:lnTo>
                    <a:pt x="3181697" y="905053"/>
                  </a:lnTo>
                  <a:lnTo>
                    <a:pt x="3179844" y="906761"/>
                  </a:lnTo>
                  <a:lnTo>
                    <a:pt x="3178846" y="908524"/>
                  </a:lnTo>
                  <a:lnTo>
                    <a:pt x="3177881" y="911027"/>
                  </a:lnTo>
                  <a:lnTo>
                    <a:pt x="3176728" y="917117"/>
                  </a:lnTo>
                  <a:lnTo>
                    <a:pt x="3176812" y="924237"/>
                  </a:lnTo>
                  <a:lnTo>
                    <a:pt x="3172655" y="929827"/>
                  </a:lnTo>
                  <a:lnTo>
                    <a:pt x="3171004" y="929276"/>
                  </a:lnTo>
                  <a:lnTo>
                    <a:pt x="3170224" y="929642"/>
                  </a:lnTo>
                  <a:lnTo>
                    <a:pt x="3169453" y="930384"/>
                  </a:lnTo>
                  <a:lnTo>
                    <a:pt x="3170874" y="933451"/>
                  </a:lnTo>
                  <a:lnTo>
                    <a:pt x="3170112" y="934548"/>
                  </a:lnTo>
                  <a:lnTo>
                    <a:pt x="3169332" y="935280"/>
                  </a:lnTo>
                  <a:lnTo>
                    <a:pt x="3167401" y="936083"/>
                  </a:lnTo>
                  <a:lnTo>
                    <a:pt x="3162893" y="940610"/>
                  </a:lnTo>
                  <a:lnTo>
                    <a:pt x="3158685" y="943571"/>
                  </a:lnTo>
                  <a:lnTo>
                    <a:pt x="3151798" y="952017"/>
                  </a:lnTo>
                  <a:lnTo>
                    <a:pt x="3149756" y="957644"/>
                  </a:lnTo>
                  <a:lnTo>
                    <a:pt x="3147784" y="963943"/>
                  </a:lnTo>
                  <a:lnTo>
                    <a:pt x="3148710" y="967021"/>
                  </a:lnTo>
                  <a:lnTo>
                    <a:pt x="3149543" y="969030"/>
                  </a:lnTo>
                  <a:lnTo>
                    <a:pt x="3150833" y="970426"/>
                  </a:lnTo>
                  <a:lnTo>
                    <a:pt x="3153033" y="971882"/>
                  </a:lnTo>
                  <a:lnTo>
                    <a:pt x="3157765" y="973505"/>
                  </a:lnTo>
                  <a:lnTo>
                    <a:pt x="3157339" y="974571"/>
                  </a:lnTo>
                  <a:lnTo>
                    <a:pt x="3157322" y="975458"/>
                  </a:lnTo>
                  <a:lnTo>
                    <a:pt x="3158993" y="973894"/>
                  </a:lnTo>
                  <a:lnTo>
                    <a:pt x="3160209" y="969483"/>
                  </a:lnTo>
                  <a:lnTo>
                    <a:pt x="3163135" y="968069"/>
                  </a:lnTo>
                  <a:lnTo>
                    <a:pt x="3164551" y="968138"/>
                  </a:lnTo>
                  <a:lnTo>
                    <a:pt x="3173986" y="971621"/>
                  </a:lnTo>
                  <a:lnTo>
                    <a:pt x="3175771" y="973121"/>
                  </a:lnTo>
                  <a:lnTo>
                    <a:pt x="3175509" y="976429"/>
                  </a:lnTo>
                  <a:lnTo>
                    <a:pt x="3174933" y="978006"/>
                  </a:lnTo>
                  <a:lnTo>
                    <a:pt x="3173185" y="980319"/>
                  </a:lnTo>
                  <a:lnTo>
                    <a:pt x="3169829" y="983100"/>
                  </a:lnTo>
                  <a:lnTo>
                    <a:pt x="3165899" y="986912"/>
                  </a:lnTo>
                  <a:lnTo>
                    <a:pt x="3165523" y="989246"/>
                  </a:lnTo>
                  <a:lnTo>
                    <a:pt x="3165506" y="990520"/>
                  </a:lnTo>
                  <a:lnTo>
                    <a:pt x="3166535" y="994992"/>
                  </a:lnTo>
                  <a:lnTo>
                    <a:pt x="3166685" y="997503"/>
                  </a:lnTo>
                  <a:lnTo>
                    <a:pt x="3166160" y="1002177"/>
                  </a:lnTo>
                  <a:lnTo>
                    <a:pt x="3166415" y="1004193"/>
                  </a:lnTo>
                  <a:lnTo>
                    <a:pt x="3167460" y="1005914"/>
                  </a:lnTo>
                  <a:lnTo>
                    <a:pt x="3169056" y="1006991"/>
                  </a:lnTo>
                  <a:lnTo>
                    <a:pt x="3171805" y="1006403"/>
                  </a:lnTo>
                  <a:lnTo>
                    <a:pt x="3174437" y="1006902"/>
                  </a:lnTo>
                  <a:lnTo>
                    <a:pt x="3176452" y="1008080"/>
                  </a:lnTo>
                  <a:lnTo>
                    <a:pt x="3176158" y="1011962"/>
                  </a:lnTo>
                  <a:lnTo>
                    <a:pt x="3177281" y="1015629"/>
                  </a:lnTo>
                  <a:lnTo>
                    <a:pt x="3178198" y="1022367"/>
                  </a:lnTo>
                  <a:lnTo>
                    <a:pt x="3176557" y="1024204"/>
                  </a:lnTo>
                  <a:lnTo>
                    <a:pt x="3174964" y="1025351"/>
                  </a:lnTo>
                  <a:lnTo>
                    <a:pt x="3171827" y="1028232"/>
                  </a:lnTo>
                  <a:lnTo>
                    <a:pt x="3170153" y="1028571"/>
                  </a:lnTo>
                  <a:lnTo>
                    <a:pt x="3167249" y="1027579"/>
                  </a:lnTo>
                  <a:lnTo>
                    <a:pt x="3162556" y="1022374"/>
                  </a:lnTo>
                  <a:lnTo>
                    <a:pt x="3164437" y="1019290"/>
                  </a:lnTo>
                  <a:lnTo>
                    <a:pt x="3168419" y="1017141"/>
                  </a:lnTo>
                  <a:lnTo>
                    <a:pt x="3170231" y="1015588"/>
                  </a:lnTo>
                  <a:lnTo>
                    <a:pt x="3171627" y="1013302"/>
                  </a:lnTo>
                  <a:lnTo>
                    <a:pt x="3169544" y="1013736"/>
                  </a:lnTo>
                  <a:lnTo>
                    <a:pt x="3168073" y="1014730"/>
                  </a:lnTo>
                  <a:lnTo>
                    <a:pt x="3163515" y="1014300"/>
                  </a:lnTo>
                  <a:lnTo>
                    <a:pt x="3161692" y="1015403"/>
                  </a:lnTo>
                  <a:lnTo>
                    <a:pt x="3159473" y="1017152"/>
                  </a:lnTo>
                  <a:lnTo>
                    <a:pt x="3160347" y="1021486"/>
                  </a:lnTo>
                  <a:lnTo>
                    <a:pt x="3158864" y="1022274"/>
                  </a:lnTo>
                  <a:lnTo>
                    <a:pt x="3156054" y="1023766"/>
                  </a:lnTo>
                  <a:lnTo>
                    <a:pt x="3151897" y="1025624"/>
                  </a:lnTo>
                  <a:lnTo>
                    <a:pt x="3150546" y="1026829"/>
                  </a:lnTo>
                  <a:lnTo>
                    <a:pt x="3146987" y="1034593"/>
                  </a:lnTo>
                  <a:lnTo>
                    <a:pt x="3143704" y="1040355"/>
                  </a:lnTo>
                  <a:lnTo>
                    <a:pt x="3142562" y="1045272"/>
                  </a:lnTo>
                  <a:lnTo>
                    <a:pt x="3142683" y="1049542"/>
                  </a:lnTo>
                  <a:lnTo>
                    <a:pt x="3143912" y="1054254"/>
                  </a:lnTo>
                  <a:lnTo>
                    <a:pt x="3144780" y="1056300"/>
                  </a:lnTo>
                  <a:lnTo>
                    <a:pt x="3148581" y="1060636"/>
                  </a:lnTo>
                  <a:lnTo>
                    <a:pt x="3150442" y="1064072"/>
                  </a:lnTo>
                  <a:lnTo>
                    <a:pt x="3151002" y="1068180"/>
                  </a:lnTo>
                  <a:lnTo>
                    <a:pt x="3147935" y="1070124"/>
                  </a:lnTo>
                  <a:lnTo>
                    <a:pt x="3142601" y="1074886"/>
                  </a:lnTo>
                  <a:lnTo>
                    <a:pt x="3140370" y="1075396"/>
                  </a:lnTo>
                  <a:lnTo>
                    <a:pt x="3133057" y="1075265"/>
                  </a:lnTo>
                  <a:lnTo>
                    <a:pt x="3129427" y="1072891"/>
                  </a:lnTo>
                  <a:lnTo>
                    <a:pt x="3125129" y="1073498"/>
                  </a:lnTo>
                  <a:lnTo>
                    <a:pt x="3121527" y="1074629"/>
                  </a:lnTo>
                  <a:lnTo>
                    <a:pt x="3115879" y="1078003"/>
                  </a:lnTo>
                  <a:lnTo>
                    <a:pt x="3110830" y="1082350"/>
                  </a:lnTo>
                  <a:lnTo>
                    <a:pt x="3106088" y="1085364"/>
                  </a:lnTo>
                  <a:lnTo>
                    <a:pt x="3104667" y="1087136"/>
                  </a:lnTo>
                  <a:lnTo>
                    <a:pt x="3102713" y="1090854"/>
                  </a:lnTo>
                  <a:lnTo>
                    <a:pt x="3100988" y="1097663"/>
                  </a:lnTo>
                  <a:lnTo>
                    <a:pt x="3101587" y="1101017"/>
                  </a:lnTo>
                  <a:lnTo>
                    <a:pt x="3102547" y="1102582"/>
                  </a:lnTo>
                  <a:lnTo>
                    <a:pt x="3103466" y="1104653"/>
                  </a:lnTo>
                  <a:lnTo>
                    <a:pt x="3102212" y="1107802"/>
                  </a:lnTo>
                  <a:lnTo>
                    <a:pt x="3102180" y="1109817"/>
                  </a:lnTo>
                  <a:lnTo>
                    <a:pt x="3104490" y="1113000"/>
                  </a:lnTo>
                  <a:lnTo>
                    <a:pt x="3104998" y="1117363"/>
                  </a:lnTo>
                  <a:lnTo>
                    <a:pt x="3103281" y="1117498"/>
                  </a:lnTo>
                  <a:lnTo>
                    <a:pt x="3099391" y="1114359"/>
                  </a:lnTo>
                  <a:lnTo>
                    <a:pt x="3095287" y="1114118"/>
                  </a:lnTo>
                  <a:lnTo>
                    <a:pt x="3085341" y="1117736"/>
                  </a:lnTo>
                  <a:lnTo>
                    <a:pt x="3081270" y="1119822"/>
                  </a:lnTo>
                  <a:lnTo>
                    <a:pt x="3076701" y="1123972"/>
                  </a:lnTo>
                  <a:lnTo>
                    <a:pt x="3075336" y="1123180"/>
                  </a:lnTo>
                  <a:lnTo>
                    <a:pt x="3074360" y="1120803"/>
                  </a:lnTo>
                  <a:lnTo>
                    <a:pt x="3072704" y="1119749"/>
                  </a:lnTo>
                  <a:lnTo>
                    <a:pt x="3070658" y="1120277"/>
                  </a:lnTo>
                  <a:lnTo>
                    <a:pt x="3069779" y="1122521"/>
                  </a:lnTo>
                  <a:lnTo>
                    <a:pt x="3072605" y="1123576"/>
                  </a:lnTo>
                  <a:lnTo>
                    <a:pt x="3073680" y="1125027"/>
                  </a:lnTo>
                  <a:lnTo>
                    <a:pt x="3072020" y="1130558"/>
                  </a:lnTo>
                  <a:lnTo>
                    <a:pt x="3070849" y="1132399"/>
                  </a:lnTo>
                  <a:lnTo>
                    <a:pt x="3071283" y="1137352"/>
                  </a:lnTo>
                  <a:lnTo>
                    <a:pt x="3071123" y="1139645"/>
                  </a:lnTo>
                  <a:lnTo>
                    <a:pt x="3070467" y="1141967"/>
                  </a:lnTo>
                  <a:lnTo>
                    <a:pt x="3067552" y="1148313"/>
                  </a:lnTo>
                  <a:lnTo>
                    <a:pt x="3062508" y="1156625"/>
                  </a:lnTo>
                  <a:lnTo>
                    <a:pt x="3056310" y="1162644"/>
                  </a:lnTo>
                  <a:lnTo>
                    <a:pt x="3052013" y="1164725"/>
                  </a:lnTo>
                  <a:lnTo>
                    <a:pt x="3049847" y="1166332"/>
                  </a:lnTo>
                  <a:lnTo>
                    <a:pt x="3048938" y="1168416"/>
                  </a:lnTo>
                  <a:lnTo>
                    <a:pt x="3042579" y="1174168"/>
                  </a:lnTo>
                  <a:lnTo>
                    <a:pt x="3034733" y="1180198"/>
                  </a:lnTo>
                  <a:lnTo>
                    <a:pt x="3032529" y="1181288"/>
                  </a:lnTo>
                  <a:lnTo>
                    <a:pt x="3032010" y="1179015"/>
                  </a:lnTo>
                  <a:lnTo>
                    <a:pt x="3031771" y="1176762"/>
                  </a:lnTo>
                  <a:lnTo>
                    <a:pt x="3030827" y="1173755"/>
                  </a:lnTo>
                  <a:lnTo>
                    <a:pt x="3028011" y="1171271"/>
                  </a:lnTo>
                  <a:lnTo>
                    <a:pt x="3027519" y="1169257"/>
                  </a:lnTo>
                  <a:lnTo>
                    <a:pt x="3027059" y="1166473"/>
                  </a:lnTo>
                  <a:lnTo>
                    <a:pt x="3026825" y="1153572"/>
                  </a:lnTo>
                  <a:lnTo>
                    <a:pt x="3024338" y="1140138"/>
                  </a:lnTo>
                  <a:lnTo>
                    <a:pt x="3024060" y="1135892"/>
                  </a:lnTo>
                  <a:lnTo>
                    <a:pt x="3021049" y="1132411"/>
                  </a:lnTo>
                  <a:lnTo>
                    <a:pt x="3019408" y="1128802"/>
                  </a:lnTo>
                  <a:lnTo>
                    <a:pt x="3018434" y="1125251"/>
                  </a:lnTo>
                  <a:lnTo>
                    <a:pt x="3018179" y="1121052"/>
                  </a:lnTo>
                  <a:lnTo>
                    <a:pt x="3014893" y="1098853"/>
                  </a:lnTo>
                  <a:lnTo>
                    <a:pt x="3013890" y="1093288"/>
                  </a:lnTo>
                  <a:lnTo>
                    <a:pt x="3009503" y="1075236"/>
                  </a:lnTo>
                  <a:lnTo>
                    <a:pt x="3007599" y="1064734"/>
                  </a:lnTo>
                  <a:lnTo>
                    <a:pt x="3006351" y="1054445"/>
                  </a:lnTo>
                  <a:lnTo>
                    <a:pt x="3006151" y="1049837"/>
                  </a:lnTo>
                  <a:lnTo>
                    <a:pt x="3008110" y="1036049"/>
                  </a:lnTo>
                  <a:lnTo>
                    <a:pt x="3009727" y="1027373"/>
                  </a:lnTo>
                  <a:lnTo>
                    <a:pt x="3015607" y="1007854"/>
                  </a:lnTo>
                  <a:lnTo>
                    <a:pt x="3016555" y="1006067"/>
                  </a:lnTo>
                  <a:lnTo>
                    <a:pt x="3017486" y="1005134"/>
                  </a:lnTo>
                  <a:lnTo>
                    <a:pt x="3027698" y="997573"/>
                  </a:lnTo>
                  <a:lnTo>
                    <a:pt x="3032101" y="993426"/>
                  </a:lnTo>
                  <a:lnTo>
                    <a:pt x="3034764" y="989053"/>
                  </a:lnTo>
                  <a:lnTo>
                    <a:pt x="3037592" y="983456"/>
                  </a:lnTo>
                  <a:lnTo>
                    <a:pt x="3037301" y="980443"/>
                  </a:lnTo>
                  <a:lnTo>
                    <a:pt x="3036962" y="978696"/>
                  </a:lnTo>
                  <a:lnTo>
                    <a:pt x="3035893" y="976746"/>
                  </a:lnTo>
                  <a:lnTo>
                    <a:pt x="3033498" y="974477"/>
                  </a:lnTo>
                  <a:lnTo>
                    <a:pt x="3034345" y="973465"/>
                  </a:lnTo>
                  <a:lnTo>
                    <a:pt x="3035275" y="972697"/>
                  </a:lnTo>
                  <a:lnTo>
                    <a:pt x="3037791" y="971849"/>
                  </a:lnTo>
                  <a:lnTo>
                    <a:pt x="3042900" y="973555"/>
                  </a:lnTo>
                  <a:lnTo>
                    <a:pt x="3048066" y="972837"/>
                  </a:lnTo>
                  <a:lnTo>
                    <a:pt x="3052842" y="965776"/>
                  </a:lnTo>
                  <a:lnTo>
                    <a:pt x="3059657" y="966861"/>
                  </a:lnTo>
                  <a:lnTo>
                    <a:pt x="3064872" y="965599"/>
                  </a:lnTo>
                  <a:lnTo>
                    <a:pt x="3066304" y="966122"/>
                  </a:lnTo>
                  <a:lnTo>
                    <a:pt x="3067318" y="963733"/>
                  </a:lnTo>
                  <a:lnTo>
                    <a:pt x="3070156" y="961183"/>
                  </a:lnTo>
                  <a:lnTo>
                    <a:pt x="3075410" y="957370"/>
                  </a:lnTo>
                  <a:lnTo>
                    <a:pt x="3083147" y="952775"/>
                  </a:lnTo>
                  <a:lnTo>
                    <a:pt x="3086988" y="949691"/>
                  </a:lnTo>
                  <a:lnTo>
                    <a:pt x="3089150" y="946745"/>
                  </a:lnTo>
                  <a:lnTo>
                    <a:pt x="3092339" y="943980"/>
                  </a:lnTo>
                  <a:lnTo>
                    <a:pt x="3095410" y="940488"/>
                  </a:lnTo>
                  <a:lnTo>
                    <a:pt x="3101067" y="929966"/>
                  </a:lnTo>
                  <a:lnTo>
                    <a:pt x="3112191" y="921245"/>
                  </a:lnTo>
                  <a:lnTo>
                    <a:pt x="3116548" y="916220"/>
                  </a:lnTo>
                  <a:lnTo>
                    <a:pt x="3120174" y="914437"/>
                  </a:lnTo>
                  <a:lnTo>
                    <a:pt x="3123354" y="913610"/>
                  </a:lnTo>
                  <a:lnTo>
                    <a:pt x="3131397" y="906410"/>
                  </a:lnTo>
                  <a:lnTo>
                    <a:pt x="3136490" y="900410"/>
                  </a:lnTo>
                  <a:lnTo>
                    <a:pt x="3143217" y="896276"/>
                  </a:lnTo>
                  <a:lnTo>
                    <a:pt x="3145262" y="893626"/>
                  </a:lnTo>
                  <a:lnTo>
                    <a:pt x="3148747" y="887384"/>
                  </a:lnTo>
                  <a:lnTo>
                    <a:pt x="3150174" y="885845"/>
                  </a:lnTo>
                  <a:lnTo>
                    <a:pt x="3154556" y="883503"/>
                  </a:lnTo>
                  <a:lnTo>
                    <a:pt x="3164437" y="879409"/>
                  </a:lnTo>
                  <a:lnTo>
                    <a:pt x="3170186" y="875283"/>
                  </a:lnTo>
                  <a:lnTo>
                    <a:pt x="3178570" y="874697"/>
                  </a:lnTo>
                  <a:lnTo>
                    <a:pt x="3181092" y="873046"/>
                  </a:lnTo>
                  <a:lnTo>
                    <a:pt x="3183718" y="872128"/>
                  </a:lnTo>
                  <a:lnTo>
                    <a:pt x="3186478" y="870799"/>
                  </a:lnTo>
                  <a:lnTo>
                    <a:pt x="3183018" y="867147"/>
                  </a:lnTo>
                  <a:lnTo>
                    <a:pt x="3183809" y="865174"/>
                  </a:lnTo>
                  <a:lnTo>
                    <a:pt x="3184480" y="864268"/>
                  </a:lnTo>
                  <a:lnTo>
                    <a:pt x="3190533" y="859920"/>
                  </a:lnTo>
                  <a:lnTo>
                    <a:pt x="3193012" y="856435"/>
                  </a:lnTo>
                  <a:lnTo>
                    <a:pt x="3192716" y="854935"/>
                  </a:lnTo>
                  <a:lnTo>
                    <a:pt x="3192289" y="853866"/>
                  </a:lnTo>
                  <a:lnTo>
                    <a:pt x="3188566" y="852463"/>
                  </a:lnTo>
                  <a:lnTo>
                    <a:pt x="3189289" y="849184"/>
                  </a:lnTo>
                  <a:lnTo>
                    <a:pt x="3190298" y="846408"/>
                  </a:lnTo>
                  <a:lnTo>
                    <a:pt x="3193323" y="844014"/>
                  </a:lnTo>
                  <a:lnTo>
                    <a:pt x="3194394" y="838465"/>
                  </a:lnTo>
                  <a:lnTo>
                    <a:pt x="3194532" y="832630"/>
                  </a:lnTo>
                  <a:lnTo>
                    <a:pt x="3197473" y="824172"/>
                  </a:lnTo>
                  <a:lnTo>
                    <a:pt x="3199249" y="822307"/>
                  </a:lnTo>
                  <a:lnTo>
                    <a:pt x="3206121" y="818050"/>
                  </a:lnTo>
                  <a:lnTo>
                    <a:pt x="3207721" y="817939"/>
                  </a:lnTo>
                  <a:lnTo>
                    <a:pt x="3212520" y="819379"/>
                  </a:lnTo>
                  <a:lnTo>
                    <a:pt x="3217748" y="820079"/>
                  </a:lnTo>
                  <a:lnTo>
                    <a:pt x="3219605" y="821368"/>
                  </a:lnTo>
                  <a:lnTo>
                    <a:pt x="3219993" y="820277"/>
                  </a:lnTo>
                  <a:lnTo>
                    <a:pt x="3219732" y="818819"/>
                  </a:lnTo>
                  <a:lnTo>
                    <a:pt x="3221203" y="818310"/>
                  </a:lnTo>
                  <a:lnTo>
                    <a:pt x="3224233" y="818857"/>
                  </a:lnTo>
                  <a:lnTo>
                    <a:pt x="3223772" y="817247"/>
                  </a:lnTo>
                  <a:lnTo>
                    <a:pt x="3215977" y="816453"/>
                  </a:lnTo>
                  <a:lnTo>
                    <a:pt x="3210413" y="814590"/>
                  </a:lnTo>
                  <a:lnTo>
                    <a:pt x="3205428" y="810992"/>
                  </a:lnTo>
                  <a:lnTo>
                    <a:pt x="3202142" y="809986"/>
                  </a:lnTo>
                  <a:lnTo>
                    <a:pt x="3198544" y="810264"/>
                  </a:lnTo>
                  <a:lnTo>
                    <a:pt x="3178115" y="815285"/>
                  </a:lnTo>
                  <a:lnTo>
                    <a:pt x="3177128" y="816644"/>
                  </a:lnTo>
                  <a:lnTo>
                    <a:pt x="3176179" y="818572"/>
                  </a:lnTo>
                  <a:lnTo>
                    <a:pt x="3177460" y="821402"/>
                  </a:lnTo>
                  <a:lnTo>
                    <a:pt x="3176484" y="822640"/>
                  </a:lnTo>
                  <a:lnTo>
                    <a:pt x="3175495" y="823446"/>
                  </a:lnTo>
                  <a:lnTo>
                    <a:pt x="3174394" y="825292"/>
                  </a:lnTo>
                  <a:lnTo>
                    <a:pt x="3173399" y="828942"/>
                  </a:lnTo>
                  <a:lnTo>
                    <a:pt x="3173677" y="832463"/>
                  </a:lnTo>
                  <a:lnTo>
                    <a:pt x="3171170" y="837880"/>
                  </a:lnTo>
                  <a:lnTo>
                    <a:pt x="3170984" y="841268"/>
                  </a:lnTo>
                  <a:lnTo>
                    <a:pt x="3175370" y="843135"/>
                  </a:lnTo>
                  <a:lnTo>
                    <a:pt x="3176480" y="844395"/>
                  </a:lnTo>
                  <a:lnTo>
                    <a:pt x="3175154" y="846251"/>
                  </a:lnTo>
                  <a:lnTo>
                    <a:pt x="3173850" y="847382"/>
                  </a:lnTo>
                  <a:lnTo>
                    <a:pt x="3172664" y="848767"/>
                  </a:lnTo>
                  <a:lnTo>
                    <a:pt x="3171824" y="849326"/>
                  </a:lnTo>
                  <a:lnTo>
                    <a:pt x="3170645" y="849660"/>
                  </a:lnTo>
                  <a:lnTo>
                    <a:pt x="3169047" y="847847"/>
                  </a:lnTo>
                  <a:lnTo>
                    <a:pt x="3167594" y="844206"/>
                  </a:lnTo>
                  <a:lnTo>
                    <a:pt x="3165303" y="843994"/>
                  </a:lnTo>
                  <a:lnTo>
                    <a:pt x="3164540" y="844542"/>
                  </a:lnTo>
                  <a:lnTo>
                    <a:pt x="3164124" y="845986"/>
                  </a:lnTo>
                  <a:lnTo>
                    <a:pt x="3162103" y="846072"/>
                  </a:lnTo>
                  <a:lnTo>
                    <a:pt x="3159865" y="845391"/>
                  </a:lnTo>
                  <a:lnTo>
                    <a:pt x="3157348" y="845663"/>
                  </a:lnTo>
                  <a:lnTo>
                    <a:pt x="3152832" y="849779"/>
                  </a:lnTo>
                  <a:lnTo>
                    <a:pt x="3127375" y="869254"/>
                  </a:lnTo>
                  <a:lnTo>
                    <a:pt x="3124676" y="871608"/>
                  </a:lnTo>
                  <a:lnTo>
                    <a:pt x="3121394" y="876273"/>
                  </a:lnTo>
                  <a:lnTo>
                    <a:pt x="3115101" y="876723"/>
                  </a:lnTo>
                  <a:lnTo>
                    <a:pt x="3112584" y="877770"/>
                  </a:lnTo>
                  <a:lnTo>
                    <a:pt x="3110795" y="879156"/>
                  </a:lnTo>
                  <a:lnTo>
                    <a:pt x="3108282" y="880111"/>
                  </a:lnTo>
                  <a:lnTo>
                    <a:pt x="3108364" y="878365"/>
                  </a:lnTo>
                  <a:lnTo>
                    <a:pt x="3108889" y="877065"/>
                  </a:lnTo>
                  <a:lnTo>
                    <a:pt x="3109435" y="873656"/>
                  </a:lnTo>
                  <a:lnTo>
                    <a:pt x="3112821" y="867152"/>
                  </a:lnTo>
                  <a:lnTo>
                    <a:pt x="3110661" y="866504"/>
                  </a:lnTo>
                  <a:lnTo>
                    <a:pt x="3108517" y="866408"/>
                  </a:lnTo>
                  <a:lnTo>
                    <a:pt x="3104531" y="867759"/>
                  </a:lnTo>
                  <a:lnTo>
                    <a:pt x="3101858" y="869907"/>
                  </a:lnTo>
                  <a:lnTo>
                    <a:pt x="3099809" y="869463"/>
                  </a:lnTo>
                  <a:lnTo>
                    <a:pt x="3100784" y="867539"/>
                  </a:lnTo>
                  <a:lnTo>
                    <a:pt x="3103320" y="863686"/>
                  </a:lnTo>
                  <a:lnTo>
                    <a:pt x="3102541" y="860122"/>
                  </a:lnTo>
                  <a:lnTo>
                    <a:pt x="3101858" y="858190"/>
                  </a:lnTo>
                  <a:lnTo>
                    <a:pt x="3102914" y="857106"/>
                  </a:lnTo>
                  <a:lnTo>
                    <a:pt x="3108040" y="849887"/>
                  </a:lnTo>
                  <a:lnTo>
                    <a:pt x="3109902" y="846155"/>
                  </a:lnTo>
                  <a:lnTo>
                    <a:pt x="3111461" y="841205"/>
                  </a:lnTo>
                  <a:lnTo>
                    <a:pt x="3111551" y="839667"/>
                  </a:lnTo>
                  <a:lnTo>
                    <a:pt x="3111284" y="837767"/>
                  </a:lnTo>
                  <a:lnTo>
                    <a:pt x="3109701" y="837444"/>
                  </a:lnTo>
                  <a:lnTo>
                    <a:pt x="3108479" y="837479"/>
                  </a:lnTo>
                  <a:lnTo>
                    <a:pt x="3098299" y="842393"/>
                  </a:lnTo>
                  <a:lnTo>
                    <a:pt x="3094544" y="843715"/>
                  </a:lnTo>
                  <a:lnTo>
                    <a:pt x="3093305" y="841610"/>
                  </a:lnTo>
                  <a:lnTo>
                    <a:pt x="3091685" y="840705"/>
                  </a:lnTo>
                  <a:lnTo>
                    <a:pt x="3088854" y="837093"/>
                  </a:lnTo>
                  <a:lnTo>
                    <a:pt x="3086516" y="836574"/>
                  </a:lnTo>
                  <a:lnTo>
                    <a:pt x="3084026" y="836817"/>
                  </a:lnTo>
                  <a:lnTo>
                    <a:pt x="3078445" y="839270"/>
                  </a:lnTo>
                  <a:lnTo>
                    <a:pt x="3072317" y="840609"/>
                  </a:lnTo>
                  <a:lnTo>
                    <a:pt x="3067597" y="840105"/>
                  </a:lnTo>
                  <a:lnTo>
                    <a:pt x="3063570" y="842174"/>
                  </a:lnTo>
                  <a:lnTo>
                    <a:pt x="3061769" y="842556"/>
                  </a:lnTo>
                  <a:lnTo>
                    <a:pt x="3055781" y="841140"/>
                  </a:lnTo>
                  <a:lnTo>
                    <a:pt x="3048485" y="841015"/>
                  </a:lnTo>
                  <a:lnTo>
                    <a:pt x="3046303" y="842778"/>
                  </a:lnTo>
                  <a:lnTo>
                    <a:pt x="3039968" y="845202"/>
                  </a:lnTo>
                  <a:lnTo>
                    <a:pt x="3035714" y="848949"/>
                  </a:lnTo>
                  <a:lnTo>
                    <a:pt x="3033476" y="850152"/>
                  </a:lnTo>
                  <a:lnTo>
                    <a:pt x="3031036" y="851812"/>
                  </a:lnTo>
                  <a:lnTo>
                    <a:pt x="3029917" y="858842"/>
                  </a:lnTo>
                  <a:lnTo>
                    <a:pt x="3026666" y="861081"/>
                  </a:lnTo>
                  <a:lnTo>
                    <a:pt x="3023604" y="862796"/>
                  </a:lnTo>
                  <a:lnTo>
                    <a:pt x="3017231" y="868156"/>
                  </a:lnTo>
                  <a:lnTo>
                    <a:pt x="3012751" y="875476"/>
                  </a:lnTo>
                  <a:lnTo>
                    <a:pt x="3009717" y="878644"/>
                  </a:lnTo>
                  <a:lnTo>
                    <a:pt x="3003342" y="883066"/>
                  </a:lnTo>
                  <a:lnTo>
                    <a:pt x="2993236" y="888830"/>
                  </a:lnTo>
                  <a:lnTo>
                    <a:pt x="2984556" y="898172"/>
                  </a:lnTo>
                  <a:lnTo>
                    <a:pt x="2981515" y="905151"/>
                  </a:lnTo>
                  <a:lnTo>
                    <a:pt x="2980390" y="905383"/>
                  </a:lnTo>
                  <a:lnTo>
                    <a:pt x="2978250" y="906814"/>
                  </a:lnTo>
                  <a:lnTo>
                    <a:pt x="2977665" y="910206"/>
                  </a:lnTo>
                  <a:lnTo>
                    <a:pt x="2977714" y="912573"/>
                  </a:lnTo>
                  <a:lnTo>
                    <a:pt x="2976396" y="914481"/>
                  </a:lnTo>
                  <a:lnTo>
                    <a:pt x="2975083" y="916838"/>
                  </a:lnTo>
                  <a:lnTo>
                    <a:pt x="2976477" y="918318"/>
                  </a:lnTo>
                  <a:lnTo>
                    <a:pt x="2977788" y="918589"/>
                  </a:lnTo>
                  <a:lnTo>
                    <a:pt x="2979678" y="918382"/>
                  </a:lnTo>
                  <a:lnTo>
                    <a:pt x="2984651" y="916458"/>
                  </a:lnTo>
                  <a:lnTo>
                    <a:pt x="2993247" y="919425"/>
                  </a:lnTo>
                  <a:lnTo>
                    <a:pt x="2997568" y="922355"/>
                  </a:lnTo>
                  <a:lnTo>
                    <a:pt x="2997266" y="925296"/>
                  </a:lnTo>
                  <a:lnTo>
                    <a:pt x="2997430" y="927911"/>
                  </a:lnTo>
                  <a:lnTo>
                    <a:pt x="2994251" y="927732"/>
                  </a:lnTo>
                  <a:lnTo>
                    <a:pt x="2989984" y="927995"/>
                  </a:lnTo>
                  <a:lnTo>
                    <a:pt x="2987326" y="929504"/>
                  </a:lnTo>
                  <a:lnTo>
                    <a:pt x="2981898" y="927048"/>
                  </a:lnTo>
                  <a:lnTo>
                    <a:pt x="2980084" y="927986"/>
                  </a:lnTo>
                  <a:lnTo>
                    <a:pt x="2977225" y="930571"/>
                  </a:lnTo>
                  <a:lnTo>
                    <a:pt x="2972012" y="931648"/>
                  </a:lnTo>
                  <a:lnTo>
                    <a:pt x="2969375" y="930389"/>
                  </a:lnTo>
                  <a:lnTo>
                    <a:pt x="2965031" y="926781"/>
                  </a:lnTo>
                  <a:lnTo>
                    <a:pt x="2957644" y="927106"/>
                  </a:lnTo>
                  <a:lnTo>
                    <a:pt x="2955693" y="931134"/>
                  </a:lnTo>
                  <a:lnTo>
                    <a:pt x="2953994" y="931032"/>
                  </a:lnTo>
                  <a:lnTo>
                    <a:pt x="2951376" y="931441"/>
                  </a:lnTo>
                  <a:lnTo>
                    <a:pt x="2947053" y="936090"/>
                  </a:lnTo>
                  <a:lnTo>
                    <a:pt x="2945631" y="936506"/>
                  </a:lnTo>
                  <a:lnTo>
                    <a:pt x="2940273" y="935601"/>
                  </a:lnTo>
                  <a:lnTo>
                    <a:pt x="2936406" y="933248"/>
                  </a:lnTo>
                  <a:lnTo>
                    <a:pt x="2934613" y="933106"/>
                  </a:lnTo>
                  <a:lnTo>
                    <a:pt x="2931199" y="934205"/>
                  </a:lnTo>
                  <a:lnTo>
                    <a:pt x="2929489" y="937020"/>
                  </a:lnTo>
                  <a:lnTo>
                    <a:pt x="2921014" y="938442"/>
                  </a:lnTo>
                  <a:lnTo>
                    <a:pt x="2912659" y="938169"/>
                  </a:lnTo>
                  <a:lnTo>
                    <a:pt x="2908111" y="931420"/>
                  </a:lnTo>
                  <a:lnTo>
                    <a:pt x="2916600" y="928763"/>
                  </a:lnTo>
                  <a:lnTo>
                    <a:pt x="2921653" y="929329"/>
                  </a:lnTo>
                  <a:lnTo>
                    <a:pt x="2927325" y="928892"/>
                  </a:lnTo>
                  <a:lnTo>
                    <a:pt x="2933309" y="926819"/>
                  </a:lnTo>
                  <a:lnTo>
                    <a:pt x="2931294" y="925044"/>
                  </a:lnTo>
                  <a:lnTo>
                    <a:pt x="2929856" y="924630"/>
                  </a:lnTo>
                  <a:lnTo>
                    <a:pt x="2926272" y="924842"/>
                  </a:lnTo>
                  <a:lnTo>
                    <a:pt x="2923081" y="923562"/>
                  </a:lnTo>
                  <a:lnTo>
                    <a:pt x="2916175" y="916982"/>
                  </a:lnTo>
                  <a:lnTo>
                    <a:pt x="2913134" y="915768"/>
                  </a:lnTo>
                  <a:lnTo>
                    <a:pt x="2909200" y="915042"/>
                  </a:lnTo>
                  <a:lnTo>
                    <a:pt x="2906177" y="914963"/>
                  </a:lnTo>
                  <a:lnTo>
                    <a:pt x="2905048" y="915433"/>
                  </a:lnTo>
                  <a:lnTo>
                    <a:pt x="2903486" y="917018"/>
                  </a:lnTo>
                  <a:lnTo>
                    <a:pt x="2902410" y="918579"/>
                  </a:lnTo>
                  <a:lnTo>
                    <a:pt x="2901530" y="919061"/>
                  </a:lnTo>
                  <a:lnTo>
                    <a:pt x="2899452" y="918785"/>
                  </a:lnTo>
                  <a:lnTo>
                    <a:pt x="2896926" y="917559"/>
                  </a:lnTo>
                  <a:lnTo>
                    <a:pt x="2894015" y="917958"/>
                  </a:lnTo>
                  <a:lnTo>
                    <a:pt x="2895259" y="916955"/>
                  </a:lnTo>
                  <a:lnTo>
                    <a:pt x="2898077" y="915925"/>
                  </a:lnTo>
                  <a:lnTo>
                    <a:pt x="2893432" y="914797"/>
                  </a:lnTo>
                  <a:lnTo>
                    <a:pt x="2890521" y="913215"/>
                  </a:lnTo>
                  <a:lnTo>
                    <a:pt x="2887801" y="912807"/>
                  </a:lnTo>
                  <a:lnTo>
                    <a:pt x="2875418" y="908888"/>
                  </a:lnTo>
                  <a:lnTo>
                    <a:pt x="2870596" y="909198"/>
                  </a:lnTo>
                  <a:lnTo>
                    <a:pt x="2867632" y="910268"/>
                  </a:lnTo>
                  <a:lnTo>
                    <a:pt x="2862652" y="913489"/>
                  </a:lnTo>
                  <a:lnTo>
                    <a:pt x="2864034" y="915845"/>
                  </a:lnTo>
                  <a:lnTo>
                    <a:pt x="2865088" y="916896"/>
                  </a:lnTo>
                  <a:lnTo>
                    <a:pt x="2865742" y="918161"/>
                  </a:lnTo>
                  <a:lnTo>
                    <a:pt x="2864151" y="918412"/>
                  </a:lnTo>
                  <a:lnTo>
                    <a:pt x="2859551" y="918593"/>
                  </a:lnTo>
                  <a:lnTo>
                    <a:pt x="2856723" y="916713"/>
                  </a:lnTo>
                  <a:lnTo>
                    <a:pt x="2854772" y="919461"/>
                  </a:lnTo>
                  <a:lnTo>
                    <a:pt x="2855552" y="921917"/>
                  </a:lnTo>
                  <a:lnTo>
                    <a:pt x="2858770" y="921050"/>
                  </a:lnTo>
                  <a:lnTo>
                    <a:pt x="2860428" y="922060"/>
                  </a:lnTo>
                  <a:lnTo>
                    <a:pt x="2859309" y="924887"/>
                  </a:lnTo>
                  <a:lnTo>
                    <a:pt x="2855165" y="925698"/>
                  </a:lnTo>
                  <a:lnTo>
                    <a:pt x="2849959" y="925554"/>
                  </a:lnTo>
                  <a:lnTo>
                    <a:pt x="2844789" y="920585"/>
                  </a:lnTo>
                  <a:lnTo>
                    <a:pt x="2836325" y="921442"/>
                  </a:lnTo>
                  <a:lnTo>
                    <a:pt x="2832196" y="924627"/>
                  </a:lnTo>
                  <a:lnTo>
                    <a:pt x="2828361" y="925350"/>
                  </a:lnTo>
                  <a:lnTo>
                    <a:pt x="2817871" y="922172"/>
                  </a:lnTo>
                  <a:lnTo>
                    <a:pt x="2812645" y="921936"/>
                  </a:lnTo>
                  <a:lnTo>
                    <a:pt x="2806752" y="919184"/>
                  </a:lnTo>
                  <a:lnTo>
                    <a:pt x="2804699" y="920052"/>
                  </a:lnTo>
                  <a:lnTo>
                    <a:pt x="2800919" y="926887"/>
                  </a:lnTo>
                  <a:lnTo>
                    <a:pt x="2795968" y="928550"/>
                  </a:lnTo>
                  <a:lnTo>
                    <a:pt x="2793361" y="927641"/>
                  </a:lnTo>
                  <a:lnTo>
                    <a:pt x="2791094" y="923330"/>
                  </a:lnTo>
                  <a:lnTo>
                    <a:pt x="2789488" y="921910"/>
                  </a:lnTo>
                  <a:lnTo>
                    <a:pt x="2785025" y="920607"/>
                  </a:lnTo>
                  <a:lnTo>
                    <a:pt x="2761338" y="921827"/>
                  </a:lnTo>
                  <a:lnTo>
                    <a:pt x="2753378" y="920779"/>
                  </a:lnTo>
                  <a:lnTo>
                    <a:pt x="2747746" y="920678"/>
                  </a:lnTo>
                  <a:lnTo>
                    <a:pt x="2740120" y="922895"/>
                  </a:lnTo>
                  <a:lnTo>
                    <a:pt x="2732787" y="922028"/>
                  </a:lnTo>
                  <a:lnTo>
                    <a:pt x="2719256" y="926278"/>
                  </a:lnTo>
                  <a:lnTo>
                    <a:pt x="2713730" y="929134"/>
                  </a:lnTo>
                  <a:lnTo>
                    <a:pt x="2706986" y="934119"/>
                  </a:lnTo>
                  <a:lnTo>
                    <a:pt x="2701000" y="942382"/>
                  </a:lnTo>
                  <a:lnTo>
                    <a:pt x="2697645" y="945500"/>
                  </a:lnTo>
                  <a:lnTo>
                    <a:pt x="2691987" y="949412"/>
                  </a:lnTo>
                  <a:lnTo>
                    <a:pt x="2684041" y="953003"/>
                  </a:lnTo>
                  <a:lnTo>
                    <a:pt x="2679674" y="956658"/>
                  </a:lnTo>
                  <a:lnTo>
                    <a:pt x="2677347" y="959597"/>
                  </a:lnTo>
                  <a:lnTo>
                    <a:pt x="2673149" y="970721"/>
                  </a:lnTo>
                  <a:lnTo>
                    <a:pt x="2672082" y="972377"/>
                  </a:lnTo>
                  <a:lnTo>
                    <a:pt x="2662252" y="976407"/>
                  </a:lnTo>
                  <a:lnTo>
                    <a:pt x="2659139" y="980814"/>
                  </a:lnTo>
                  <a:lnTo>
                    <a:pt x="2657852" y="981933"/>
                  </a:lnTo>
                  <a:lnTo>
                    <a:pt x="2653781" y="983793"/>
                  </a:lnTo>
                  <a:lnTo>
                    <a:pt x="2651291" y="986890"/>
                  </a:lnTo>
                  <a:lnTo>
                    <a:pt x="2649903" y="987799"/>
                  </a:lnTo>
                  <a:lnTo>
                    <a:pt x="2644105" y="989962"/>
                  </a:lnTo>
                  <a:lnTo>
                    <a:pt x="2639330" y="995456"/>
                  </a:lnTo>
                  <a:lnTo>
                    <a:pt x="2632617" y="999332"/>
                  </a:lnTo>
                  <a:lnTo>
                    <a:pt x="2622792" y="1009937"/>
                  </a:lnTo>
                  <a:lnTo>
                    <a:pt x="2621959" y="1011209"/>
                  </a:lnTo>
                  <a:lnTo>
                    <a:pt x="2621086" y="1014030"/>
                  </a:lnTo>
                  <a:lnTo>
                    <a:pt x="2619608" y="1016087"/>
                  </a:lnTo>
                  <a:lnTo>
                    <a:pt x="2611155" y="1025278"/>
                  </a:lnTo>
                  <a:lnTo>
                    <a:pt x="2608533" y="1026128"/>
                  </a:lnTo>
                  <a:lnTo>
                    <a:pt x="2604357" y="1030411"/>
                  </a:lnTo>
                  <a:lnTo>
                    <a:pt x="2600062" y="1032979"/>
                  </a:lnTo>
                  <a:lnTo>
                    <a:pt x="2596132" y="1035995"/>
                  </a:lnTo>
                  <a:lnTo>
                    <a:pt x="2591299" y="1039134"/>
                  </a:lnTo>
                  <a:lnTo>
                    <a:pt x="2583929" y="1042777"/>
                  </a:lnTo>
                  <a:lnTo>
                    <a:pt x="2581517" y="1044842"/>
                  </a:lnTo>
                  <a:lnTo>
                    <a:pt x="2577626" y="1049720"/>
                  </a:lnTo>
                  <a:lnTo>
                    <a:pt x="2568241" y="1055631"/>
                  </a:lnTo>
                  <a:lnTo>
                    <a:pt x="2563594" y="1057074"/>
                  </a:lnTo>
                  <a:lnTo>
                    <a:pt x="2557444" y="1062316"/>
                  </a:lnTo>
                  <a:lnTo>
                    <a:pt x="2556831" y="1063547"/>
                  </a:lnTo>
                  <a:lnTo>
                    <a:pt x="2556317" y="1065462"/>
                  </a:lnTo>
                  <a:lnTo>
                    <a:pt x="2557339" y="1068813"/>
                  </a:lnTo>
                  <a:lnTo>
                    <a:pt x="2558835" y="1069550"/>
                  </a:lnTo>
                  <a:lnTo>
                    <a:pt x="2561320" y="1070008"/>
                  </a:lnTo>
                  <a:lnTo>
                    <a:pt x="2570470" y="1073328"/>
                  </a:lnTo>
                  <a:lnTo>
                    <a:pt x="2579015" y="1072407"/>
                  </a:lnTo>
                  <a:lnTo>
                    <a:pt x="2586583" y="1072420"/>
                  </a:lnTo>
                  <a:lnTo>
                    <a:pt x="2589552" y="1072093"/>
                  </a:lnTo>
                  <a:lnTo>
                    <a:pt x="2591381" y="1072195"/>
                  </a:lnTo>
                  <a:lnTo>
                    <a:pt x="2591967" y="1074014"/>
                  </a:lnTo>
                  <a:lnTo>
                    <a:pt x="2591893" y="1077347"/>
                  </a:lnTo>
                  <a:lnTo>
                    <a:pt x="2590788" y="1080367"/>
                  </a:lnTo>
                  <a:lnTo>
                    <a:pt x="2589881" y="1089269"/>
                  </a:lnTo>
                  <a:lnTo>
                    <a:pt x="2588855" y="1093192"/>
                  </a:lnTo>
                  <a:lnTo>
                    <a:pt x="2589647" y="1097044"/>
                  </a:lnTo>
                  <a:lnTo>
                    <a:pt x="2591500" y="1097713"/>
                  </a:lnTo>
                  <a:lnTo>
                    <a:pt x="2593353" y="1095977"/>
                  </a:lnTo>
                  <a:lnTo>
                    <a:pt x="2596279" y="1095711"/>
                  </a:lnTo>
                  <a:lnTo>
                    <a:pt x="2599300" y="1096512"/>
                  </a:lnTo>
                  <a:lnTo>
                    <a:pt x="2601569" y="1090343"/>
                  </a:lnTo>
                  <a:lnTo>
                    <a:pt x="2599678" y="1089383"/>
                  </a:lnTo>
                  <a:lnTo>
                    <a:pt x="2597991" y="1087206"/>
                  </a:lnTo>
                  <a:lnTo>
                    <a:pt x="2598996" y="1085575"/>
                  </a:lnTo>
                  <a:lnTo>
                    <a:pt x="2604216" y="1082529"/>
                  </a:lnTo>
                  <a:lnTo>
                    <a:pt x="2607475" y="1082259"/>
                  </a:lnTo>
                  <a:lnTo>
                    <a:pt x="2610591" y="1082500"/>
                  </a:lnTo>
                  <a:lnTo>
                    <a:pt x="2607211" y="1086360"/>
                  </a:lnTo>
                  <a:lnTo>
                    <a:pt x="2605843" y="1087148"/>
                  </a:lnTo>
                  <a:lnTo>
                    <a:pt x="2604784" y="1087359"/>
                  </a:lnTo>
                  <a:lnTo>
                    <a:pt x="2603366" y="1088057"/>
                  </a:lnTo>
                  <a:lnTo>
                    <a:pt x="2606400" y="1090272"/>
                  </a:lnTo>
                  <a:lnTo>
                    <a:pt x="2609635" y="1092005"/>
                  </a:lnTo>
                  <a:lnTo>
                    <a:pt x="2614323" y="1092724"/>
                  </a:lnTo>
                  <a:lnTo>
                    <a:pt x="2613248" y="1094040"/>
                  </a:lnTo>
                  <a:lnTo>
                    <a:pt x="2610123" y="1095176"/>
                  </a:lnTo>
                  <a:lnTo>
                    <a:pt x="2607296" y="1099977"/>
                  </a:lnTo>
                  <a:lnTo>
                    <a:pt x="2602800" y="1102257"/>
                  </a:lnTo>
                  <a:lnTo>
                    <a:pt x="2600761" y="1103838"/>
                  </a:lnTo>
                  <a:lnTo>
                    <a:pt x="2601474" y="1104835"/>
                  </a:lnTo>
                  <a:lnTo>
                    <a:pt x="2603124" y="1105052"/>
                  </a:lnTo>
                  <a:lnTo>
                    <a:pt x="2612187" y="1104408"/>
                  </a:lnTo>
                  <a:lnTo>
                    <a:pt x="2616881" y="1103103"/>
                  </a:lnTo>
                  <a:lnTo>
                    <a:pt x="2623569" y="1099393"/>
                  </a:lnTo>
                  <a:lnTo>
                    <a:pt x="2626354" y="1093859"/>
                  </a:lnTo>
                  <a:lnTo>
                    <a:pt x="2628890" y="1092332"/>
                  </a:lnTo>
                  <a:lnTo>
                    <a:pt x="2629650" y="1092326"/>
                  </a:lnTo>
                  <a:lnTo>
                    <a:pt x="2630539" y="1092711"/>
                  </a:lnTo>
                  <a:lnTo>
                    <a:pt x="2630561" y="1096599"/>
                  </a:lnTo>
                  <a:lnTo>
                    <a:pt x="2626976" y="1100972"/>
                  </a:lnTo>
                  <a:lnTo>
                    <a:pt x="2624438" y="1103439"/>
                  </a:lnTo>
                  <a:lnTo>
                    <a:pt x="2623498" y="1105502"/>
                  </a:lnTo>
                  <a:lnTo>
                    <a:pt x="2625059" y="1105536"/>
                  </a:lnTo>
                  <a:lnTo>
                    <a:pt x="2627942" y="1105111"/>
                  </a:lnTo>
                  <a:lnTo>
                    <a:pt x="2629274" y="1104115"/>
                  </a:lnTo>
                  <a:lnTo>
                    <a:pt x="2632587" y="1098838"/>
                  </a:lnTo>
                  <a:lnTo>
                    <a:pt x="2633442" y="1095057"/>
                  </a:lnTo>
                  <a:lnTo>
                    <a:pt x="2633934" y="1089782"/>
                  </a:lnTo>
                  <a:lnTo>
                    <a:pt x="2633558" y="1086626"/>
                  </a:lnTo>
                  <a:lnTo>
                    <a:pt x="2633807" y="1084345"/>
                  </a:lnTo>
                  <a:lnTo>
                    <a:pt x="2632509" y="1082042"/>
                  </a:lnTo>
                  <a:lnTo>
                    <a:pt x="2633359" y="1081381"/>
                  </a:lnTo>
                  <a:lnTo>
                    <a:pt x="2642412" y="1084492"/>
                  </a:lnTo>
                  <a:lnTo>
                    <a:pt x="2647158" y="1085248"/>
                  </a:lnTo>
                  <a:lnTo>
                    <a:pt x="2655731" y="1082687"/>
                  </a:lnTo>
                  <a:lnTo>
                    <a:pt x="2657679" y="1083317"/>
                  </a:lnTo>
                  <a:lnTo>
                    <a:pt x="2659070" y="1084873"/>
                  </a:lnTo>
                  <a:lnTo>
                    <a:pt x="2666152" y="1089545"/>
                  </a:lnTo>
                  <a:lnTo>
                    <a:pt x="2667545" y="1091078"/>
                  </a:lnTo>
                  <a:lnTo>
                    <a:pt x="2669875" y="1096787"/>
                  </a:lnTo>
                  <a:lnTo>
                    <a:pt x="2677405" y="1103318"/>
                  </a:lnTo>
                  <a:lnTo>
                    <a:pt x="2684438" y="1106390"/>
                  </a:lnTo>
                  <a:lnTo>
                    <a:pt x="2684645" y="1107605"/>
                  </a:lnTo>
                  <a:lnTo>
                    <a:pt x="2689126" y="1111210"/>
                  </a:lnTo>
                  <a:lnTo>
                    <a:pt x="2692577" y="1112463"/>
                  </a:lnTo>
                  <a:lnTo>
                    <a:pt x="2693203" y="1115731"/>
                  </a:lnTo>
                  <a:lnTo>
                    <a:pt x="2691564" y="1118332"/>
                  </a:lnTo>
                  <a:lnTo>
                    <a:pt x="2688320" y="1120789"/>
                  </a:lnTo>
                  <a:lnTo>
                    <a:pt x="2681821" y="1118505"/>
                  </a:lnTo>
                  <a:lnTo>
                    <a:pt x="2680767" y="1118613"/>
                  </a:lnTo>
                  <a:lnTo>
                    <a:pt x="2681538" y="1120053"/>
                  </a:lnTo>
                  <a:lnTo>
                    <a:pt x="2686232" y="1124312"/>
                  </a:lnTo>
                  <a:lnTo>
                    <a:pt x="2689970" y="1126028"/>
                  </a:lnTo>
                  <a:lnTo>
                    <a:pt x="2690192" y="1131626"/>
                  </a:lnTo>
                  <a:lnTo>
                    <a:pt x="2689730" y="1134678"/>
                  </a:lnTo>
                  <a:lnTo>
                    <a:pt x="2687241" y="1138083"/>
                  </a:lnTo>
                  <a:lnTo>
                    <a:pt x="2688068" y="1140083"/>
                  </a:lnTo>
                  <a:lnTo>
                    <a:pt x="2691602" y="1142971"/>
                  </a:lnTo>
                  <a:lnTo>
                    <a:pt x="2693359" y="1144063"/>
                  </a:lnTo>
                  <a:lnTo>
                    <a:pt x="2695043" y="1145717"/>
                  </a:lnTo>
                  <a:lnTo>
                    <a:pt x="2692838" y="1149309"/>
                  </a:lnTo>
                  <a:lnTo>
                    <a:pt x="2692426" y="1153347"/>
                  </a:lnTo>
                  <a:lnTo>
                    <a:pt x="2690027" y="1155117"/>
                  </a:lnTo>
                  <a:lnTo>
                    <a:pt x="2687174" y="1159038"/>
                  </a:lnTo>
                  <a:lnTo>
                    <a:pt x="2682822" y="1162214"/>
                  </a:lnTo>
                  <a:lnTo>
                    <a:pt x="2680743" y="1168262"/>
                  </a:lnTo>
                  <a:lnTo>
                    <a:pt x="2677407" y="1173596"/>
                  </a:lnTo>
                  <a:lnTo>
                    <a:pt x="2677031" y="1178891"/>
                  </a:lnTo>
                  <a:lnTo>
                    <a:pt x="2676476" y="1180777"/>
                  </a:lnTo>
                  <a:lnTo>
                    <a:pt x="2673719" y="1186220"/>
                  </a:lnTo>
                  <a:lnTo>
                    <a:pt x="2672734" y="1193616"/>
                  </a:lnTo>
                  <a:lnTo>
                    <a:pt x="2674040" y="1205650"/>
                  </a:lnTo>
                  <a:lnTo>
                    <a:pt x="2674672" y="1206346"/>
                  </a:lnTo>
                  <a:lnTo>
                    <a:pt x="2676010" y="1207047"/>
                  </a:lnTo>
                  <a:lnTo>
                    <a:pt x="2675762" y="1207876"/>
                  </a:lnTo>
                  <a:lnTo>
                    <a:pt x="2675127" y="1208464"/>
                  </a:lnTo>
                  <a:lnTo>
                    <a:pt x="2672431" y="1211981"/>
                  </a:lnTo>
                  <a:lnTo>
                    <a:pt x="2672473" y="1214457"/>
                  </a:lnTo>
                  <a:lnTo>
                    <a:pt x="2673507" y="1216297"/>
                  </a:lnTo>
                  <a:lnTo>
                    <a:pt x="2673636" y="1221057"/>
                  </a:lnTo>
                  <a:lnTo>
                    <a:pt x="2671732" y="1228649"/>
                  </a:lnTo>
                  <a:lnTo>
                    <a:pt x="2671026" y="1229843"/>
                  </a:lnTo>
                  <a:lnTo>
                    <a:pt x="2670257" y="1231816"/>
                  </a:lnTo>
                  <a:lnTo>
                    <a:pt x="2669910" y="1233580"/>
                  </a:lnTo>
                  <a:lnTo>
                    <a:pt x="2669400" y="1234699"/>
                  </a:lnTo>
                  <a:lnTo>
                    <a:pt x="2669033" y="1236587"/>
                  </a:lnTo>
                  <a:lnTo>
                    <a:pt x="2669579" y="1238273"/>
                  </a:lnTo>
                  <a:lnTo>
                    <a:pt x="2670566" y="1239150"/>
                  </a:lnTo>
                  <a:lnTo>
                    <a:pt x="2667158" y="1244599"/>
                  </a:lnTo>
                  <a:lnTo>
                    <a:pt x="2665973" y="1251680"/>
                  </a:lnTo>
                  <a:lnTo>
                    <a:pt x="2664706" y="1254546"/>
                  </a:lnTo>
                  <a:lnTo>
                    <a:pt x="2662166" y="1257347"/>
                  </a:lnTo>
                  <a:lnTo>
                    <a:pt x="2656910" y="1261399"/>
                  </a:lnTo>
                  <a:lnTo>
                    <a:pt x="2655043" y="1263962"/>
                  </a:lnTo>
                  <a:lnTo>
                    <a:pt x="2651598" y="1267196"/>
                  </a:lnTo>
                  <a:lnTo>
                    <a:pt x="2648328" y="1269676"/>
                  </a:lnTo>
                  <a:lnTo>
                    <a:pt x="2643781" y="1276781"/>
                  </a:lnTo>
                  <a:lnTo>
                    <a:pt x="2640119" y="1283841"/>
                  </a:lnTo>
                  <a:lnTo>
                    <a:pt x="2630952" y="1292963"/>
                  </a:lnTo>
                  <a:lnTo>
                    <a:pt x="2629689" y="1295224"/>
                  </a:lnTo>
                  <a:lnTo>
                    <a:pt x="2629043" y="1297633"/>
                  </a:lnTo>
                  <a:lnTo>
                    <a:pt x="2626640" y="1301666"/>
                  </a:lnTo>
                  <a:lnTo>
                    <a:pt x="2625426" y="1307273"/>
                  </a:lnTo>
                  <a:lnTo>
                    <a:pt x="2622624" y="1309506"/>
                  </a:lnTo>
                  <a:lnTo>
                    <a:pt x="2620328" y="1315388"/>
                  </a:lnTo>
                  <a:lnTo>
                    <a:pt x="2612872" y="1324295"/>
                  </a:lnTo>
                  <a:lnTo>
                    <a:pt x="2611021" y="1327333"/>
                  </a:lnTo>
                  <a:lnTo>
                    <a:pt x="2605266" y="1332244"/>
                  </a:lnTo>
                  <a:lnTo>
                    <a:pt x="2599114" y="1339017"/>
                  </a:lnTo>
                  <a:lnTo>
                    <a:pt x="2591519" y="1345112"/>
                  </a:lnTo>
                  <a:lnTo>
                    <a:pt x="2590054" y="1347606"/>
                  </a:lnTo>
                  <a:lnTo>
                    <a:pt x="2587110" y="1350390"/>
                  </a:lnTo>
                  <a:lnTo>
                    <a:pt x="2583934" y="1354651"/>
                  </a:lnTo>
                  <a:lnTo>
                    <a:pt x="2579306" y="1358886"/>
                  </a:lnTo>
                  <a:lnTo>
                    <a:pt x="2578367" y="1361739"/>
                  </a:lnTo>
                  <a:lnTo>
                    <a:pt x="2576899" y="1363721"/>
                  </a:lnTo>
                  <a:lnTo>
                    <a:pt x="2573465" y="1365061"/>
                  </a:lnTo>
                  <a:lnTo>
                    <a:pt x="2570980" y="1366863"/>
                  </a:lnTo>
                  <a:lnTo>
                    <a:pt x="2563430" y="1377761"/>
                  </a:lnTo>
                  <a:lnTo>
                    <a:pt x="2562454" y="1379725"/>
                  </a:lnTo>
                  <a:lnTo>
                    <a:pt x="2562329" y="1381450"/>
                  </a:lnTo>
                  <a:lnTo>
                    <a:pt x="2557393" y="1385510"/>
                  </a:lnTo>
                  <a:lnTo>
                    <a:pt x="2554538" y="1389793"/>
                  </a:lnTo>
                  <a:lnTo>
                    <a:pt x="2549804" y="1392463"/>
                  </a:lnTo>
                  <a:lnTo>
                    <a:pt x="2544825" y="1396120"/>
                  </a:lnTo>
                  <a:lnTo>
                    <a:pt x="2532987" y="1402788"/>
                  </a:lnTo>
                  <a:lnTo>
                    <a:pt x="2529759" y="1405325"/>
                  </a:lnTo>
                  <a:lnTo>
                    <a:pt x="2523102" y="1408472"/>
                  </a:lnTo>
                  <a:lnTo>
                    <a:pt x="2520389" y="1408518"/>
                  </a:lnTo>
                  <a:lnTo>
                    <a:pt x="2514702" y="1410239"/>
                  </a:lnTo>
                  <a:lnTo>
                    <a:pt x="2510953" y="1412027"/>
                  </a:lnTo>
                  <a:lnTo>
                    <a:pt x="2508728" y="1411337"/>
                  </a:lnTo>
                  <a:lnTo>
                    <a:pt x="2507340" y="1409058"/>
                  </a:lnTo>
                  <a:lnTo>
                    <a:pt x="2505733" y="1409131"/>
                  </a:lnTo>
                  <a:lnTo>
                    <a:pt x="2504399" y="1409440"/>
                  </a:lnTo>
                  <a:lnTo>
                    <a:pt x="2500981" y="1407244"/>
                  </a:lnTo>
                  <a:lnTo>
                    <a:pt x="2498051" y="1407357"/>
                  </a:lnTo>
                  <a:lnTo>
                    <a:pt x="2495948" y="1406335"/>
                  </a:lnTo>
                  <a:lnTo>
                    <a:pt x="2492021" y="1407044"/>
                  </a:lnTo>
                  <a:lnTo>
                    <a:pt x="2492698" y="1397514"/>
                  </a:lnTo>
                  <a:lnTo>
                    <a:pt x="2492149" y="1395503"/>
                  </a:lnTo>
                  <a:lnTo>
                    <a:pt x="2490460" y="1397343"/>
                  </a:lnTo>
                  <a:lnTo>
                    <a:pt x="2485938" y="1400728"/>
                  </a:lnTo>
                  <a:lnTo>
                    <a:pt x="2484138" y="1401360"/>
                  </a:lnTo>
                  <a:lnTo>
                    <a:pt x="2482354" y="1401366"/>
                  </a:lnTo>
                  <a:lnTo>
                    <a:pt x="2483055" y="1399338"/>
                  </a:lnTo>
                  <a:lnTo>
                    <a:pt x="2485593" y="1396403"/>
                  </a:lnTo>
                  <a:lnTo>
                    <a:pt x="2484779" y="1395973"/>
                  </a:lnTo>
                  <a:lnTo>
                    <a:pt x="2483954" y="1395814"/>
                  </a:lnTo>
                  <a:lnTo>
                    <a:pt x="2480765" y="1397069"/>
                  </a:lnTo>
                  <a:lnTo>
                    <a:pt x="2479158" y="1398482"/>
                  </a:lnTo>
                  <a:lnTo>
                    <a:pt x="2474610" y="1404014"/>
                  </a:lnTo>
                  <a:lnTo>
                    <a:pt x="2471887" y="1408676"/>
                  </a:lnTo>
                  <a:lnTo>
                    <a:pt x="2469659" y="1410018"/>
                  </a:lnTo>
                  <a:lnTo>
                    <a:pt x="2468616" y="1412015"/>
                  </a:lnTo>
                  <a:lnTo>
                    <a:pt x="2466691" y="1413922"/>
                  </a:lnTo>
                  <a:lnTo>
                    <a:pt x="2463740" y="1413411"/>
                  </a:lnTo>
                  <a:lnTo>
                    <a:pt x="2461991" y="1413711"/>
                  </a:lnTo>
                  <a:lnTo>
                    <a:pt x="2457800" y="1412660"/>
                  </a:lnTo>
                  <a:lnTo>
                    <a:pt x="2456766" y="1413111"/>
                  </a:lnTo>
                  <a:lnTo>
                    <a:pt x="2459525" y="1416673"/>
                  </a:lnTo>
                  <a:lnTo>
                    <a:pt x="2457219" y="1421928"/>
                  </a:lnTo>
                  <a:lnTo>
                    <a:pt x="2456277" y="1422547"/>
                  </a:lnTo>
                  <a:lnTo>
                    <a:pt x="2455629" y="1421875"/>
                  </a:lnTo>
                  <a:lnTo>
                    <a:pt x="2455487" y="1420684"/>
                  </a:lnTo>
                  <a:lnTo>
                    <a:pt x="2454744" y="1419535"/>
                  </a:lnTo>
                  <a:lnTo>
                    <a:pt x="2453332" y="1417960"/>
                  </a:lnTo>
                  <a:lnTo>
                    <a:pt x="2452732" y="1416341"/>
                  </a:lnTo>
                  <a:lnTo>
                    <a:pt x="2454003" y="1415489"/>
                  </a:lnTo>
                  <a:lnTo>
                    <a:pt x="2453829" y="1413997"/>
                  </a:lnTo>
                  <a:lnTo>
                    <a:pt x="2452591" y="1412632"/>
                  </a:lnTo>
                  <a:lnTo>
                    <a:pt x="2450792" y="1412332"/>
                  </a:lnTo>
                  <a:lnTo>
                    <a:pt x="2450364" y="1411950"/>
                  </a:lnTo>
                  <a:lnTo>
                    <a:pt x="2450472" y="1411223"/>
                  </a:lnTo>
                  <a:lnTo>
                    <a:pt x="2451090" y="1410465"/>
                  </a:lnTo>
                  <a:lnTo>
                    <a:pt x="2451980" y="1409831"/>
                  </a:lnTo>
                  <a:lnTo>
                    <a:pt x="2453843" y="1408962"/>
                  </a:lnTo>
                  <a:lnTo>
                    <a:pt x="2457055" y="1408314"/>
                  </a:lnTo>
                  <a:lnTo>
                    <a:pt x="2458842" y="1407752"/>
                  </a:lnTo>
                  <a:lnTo>
                    <a:pt x="2460285" y="1407578"/>
                  </a:lnTo>
                  <a:lnTo>
                    <a:pt x="2461928" y="1407888"/>
                  </a:lnTo>
                  <a:lnTo>
                    <a:pt x="2463315" y="1407049"/>
                  </a:lnTo>
                  <a:lnTo>
                    <a:pt x="2464708" y="1406536"/>
                  </a:lnTo>
                  <a:lnTo>
                    <a:pt x="2465038" y="1405089"/>
                  </a:lnTo>
                  <a:lnTo>
                    <a:pt x="2465096" y="1402897"/>
                  </a:lnTo>
                  <a:lnTo>
                    <a:pt x="2465601" y="1402244"/>
                  </a:lnTo>
                  <a:lnTo>
                    <a:pt x="2466189" y="1401301"/>
                  </a:lnTo>
                  <a:lnTo>
                    <a:pt x="2467074" y="1400105"/>
                  </a:lnTo>
                  <a:lnTo>
                    <a:pt x="2467877" y="1397002"/>
                  </a:lnTo>
                  <a:lnTo>
                    <a:pt x="2468484" y="1394855"/>
                  </a:lnTo>
                  <a:lnTo>
                    <a:pt x="2468882" y="1393768"/>
                  </a:lnTo>
                  <a:lnTo>
                    <a:pt x="2468980" y="1392288"/>
                  </a:lnTo>
                  <a:lnTo>
                    <a:pt x="2468586" y="1391320"/>
                  </a:lnTo>
                  <a:lnTo>
                    <a:pt x="2467817" y="1390744"/>
                  </a:lnTo>
                  <a:lnTo>
                    <a:pt x="2467225" y="1390336"/>
                  </a:lnTo>
                  <a:lnTo>
                    <a:pt x="2467173" y="1388679"/>
                  </a:lnTo>
                  <a:lnTo>
                    <a:pt x="2467251" y="1386420"/>
                  </a:lnTo>
                  <a:lnTo>
                    <a:pt x="2467044" y="1384967"/>
                  </a:lnTo>
                  <a:lnTo>
                    <a:pt x="2467908" y="1376910"/>
                  </a:lnTo>
                  <a:lnTo>
                    <a:pt x="2468836" y="1375051"/>
                  </a:lnTo>
                  <a:lnTo>
                    <a:pt x="2465973" y="1364263"/>
                  </a:lnTo>
                  <a:lnTo>
                    <a:pt x="2465113" y="1360823"/>
                  </a:lnTo>
                  <a:lnTo>
                    <a:pt x="2464533" y="1359080"/>
                  </a:lnTo>
                  <a:lnTo>
                    <a:pt x="2463278" y="1356530"/>
                  </a:lnTo>
                  <a:lnTo>
                    <a:pt x="2462479" y="1355256"/>
                  </a:lnTo>
                  <a:lnTo>
                    <a:pt x="2462785" y="1354045"/>
                  </a:lnTo>
                  <a:lnTo>
                    <a:pt x="2463921" y="1352830"/>
                  </a:lnTo>
                  <a:lnTo>
                    <a:pt x="2465012" y="1352252"/>
                  </a:lnTo>
                  <a:lnTo>
                    <a:pt x="2468232" y="1351975"/>
                  </a:lnTo>
                  <a:lnTo>
                    <a:pt x="2469123" y="1351539"/>
                  </a:lnTo>
                  <a:lnTo>
                    <a:pt x="2473072" y="1350230"/>
                  </a:lnTo>
                  <a:lnTo>
                    <a:pt x="2473972" y="1349435"/>
                  </a:lnTo>
                  <a:lnTo>
                    <a:pt x="2475988" y="1347507"/>
                  </a:lnTo>
                  <a:lnTo>
                    <a:pt x="2476767" y="1346059"/>
                  </a:lnTo>
                  <a:lnTo>
                    <a:pt x="2477653" y="1344175"/>
                  </a:lnTo>
                  <a:lnTo>
                    <a:pt x="2479601" y="1343154"/>
                  </a:lnTo>
                  <a:lnTo>
                    <a:pt x="2480769" y="1341437"/>
                  </a:lnTo>
                  <a:lnTo>
                    <a:pt x="2482028" y="1340845"/>
                  </a:lnTo>
                  <a:lnTo>
                    <a:pt x="2483297" y="1342302"/>
                  </a:lnTo>
                  <a:lnTo>
                    <a:pt x="2484807" y="1343117"/>
                  </a:lnTo>
                  <a:lnTo>
                    <a:pt x="2486793" y="1343611"/>
                  </a:lnTo>
                  <a:lnTo>
                    <a:pt x="2489313" y="1344232"/>
                  </a:lnTo>
                  <a:lnTo>
                    <a:pt x="2493330" y="1345418"/>
                  </a:lnTo>
                  <a:lnTo>
                    <a:pt x="2497444" y="1346435"/>
                  </a:lnTo>
                  <a:lnTo>
                    <a:pt x="2500022" y="1347232"/>
                  </a:lnTo>
                  <a:lnTo>
                    <a:pt x="2501294" y="1347591"/>
                  </a:lnTo>
                  <a:lnTo>
                    <a:pt x="2503848" y="1348122"/>
                  </a:lnTo>
                  <a:lnTo>
                    <a:pt x="2504956" y="1348535"/>
                  </a:lnTo>
                  <a:lnTo>
                    <a:pt x="2506001" y="1348976"/>
                  </a:lnTo>
                  <a:lnTo>
                    <a:pt x="2507675" y="1347755"/>
                  </a:lnTo>
                  <a:lnTo>
                    <a:pt x="2509925" y="1346219"/>
                  </a:lnTo>
                  <a:lnTo>
                    <a:pt x="2509558" y="1343761"/>
                  </a:lnTo>
                  <a:lnTo>
                    <a:pt x="2509923" y="1340994"/>
                  </a:lnTo>
                  <a:lnTo>
                    <a:pt x="2511530" y="1336235"/>
                  </a:lnTo>
                  <a:lnTo>
                    <a:pt x="2513320" y="1334849"/>
                  </a:lnTo>
                  <a:lnTo>
                    <a:pt x="2514261" y="1334634"/>
                  </a:lnTo>
                  <a:lnTo>
                    <a:pt x="2515276" y="1334109"/>
                  </a:lnTo>
                  <a:lnTo>
                    <a:pt x="2517066" y="1333216"/>
                  </a:lnTo>
                  <a:lnTo>
                    <a:pt x="2517711" y="1331935"/>
                  </a:lnTo>
                  <a:lnTo>
                    <a:pt x="2517347" y="1330453"/>
                  </a:lnTo>
                  <a:lnTo>
                    <a:pt x="2517936" y="1329005"/>
                  </a:lnTo>
                  <a:lnTo>
                    <a:pt x="2518132" y="1327551"/>
                  </a:lnTo>
                  <a:lnTo>
                    <a:pt x="2518761" y="1325666"/>
                  </a:lnTo>
                  <a:lnTo>
                    <a:pt x="2519604" y="1325142"/>
                  </a:lnTo>
                  <a:lnTo>
                    <a:pt x="2520860" y="1324521"/>
                  </a:lnTo>
                  <a:lnTo>
                    <a:pt x="2521741" y="1323558"/>
                  </a:lnTo>
                  <a:lnTo>
                    <a:pt x="2522579" y="1322075"/>
                  </a:lnTo>
                  <a:lnTo>
                    <a:pt x="2523141" y="1320398"/>
                  </a:lnTo>
                  <a:lnTo>
                    <a:pt x="2522909" y="1318459"/>
                  </a:lnTo>
                  <a:lnTo>
                    <a:pt x="2524004" y="1317182"/>
                  </a:lnTo>
                  <a:lnTo>
                    <a:pt x="2525830" y="1316121"/>
                  </a:lnTo>
                  <a:lnTo>
                    <a:pt x="2526461" y="1315471"/>
                  </a:lnTo>
                  <a:lnTo>
                    <a:pt x="2526759" y="1313772"/>
                  </a:lnTo>
                  <a:lnTo>
                    <a:pt x="2526881" y="1313025"/>
                  </a:lnTo>
                  <a:lnTo>
                    <a:pt x="2527378" y="1312169"/>
                  </a:lnTo>
                  <a:lnTo>
                    <a:pt x="2527023" y="1310405"/>
                  </a:lnTo>
                  <a:lnTo>
                    <a:pt x="2526578" y="1308502"/>
                  </a:lnTo>
                  <a:lnTo>
                    <a:pt x="2528588" y="1305304"/>
                  </a:lnTo>
                  <a:lnTo>
                    <a:pt x="2530029" y="1302553"/>
                  </a:lnTo>
                  <a:lnTo>
                    <a:pt x="2530380" y="1298516"/>
                  </a:lnTo>
                  <a:lnTo>
                    <a:pt x="2530545" y="1297852"/>
                  </a:lnTo>
                  <a:lnTo>
                    <a:pt x="2531106" y="1295934"/>
                  </a:lnTo>
                  <a:lnTo>
                    <a:pt x="2531439" y="1295171"/>
                  </a:lnTo>
                  <a:lnTo>
                    <a:pt x="2532556" y="1292634"/>
                  </a:lnTo>
                  <a:lnTo>
                    <a:pt x="2533998" y="1290983"/>
                  </a:lnTo>
                  <a:lnTo>
                    <a:pt x="2533713" y="1289134"/>
                  </a:lnTo>
                  <a:lnTo>
                    <a:pt x="2533131" y="1287329"/>
                  </a:lnTo>
                  <a:lnTo>
                    <a:pt x="2533235" y="1286113"/>
                  </a:lnTo>
                  <a:lnTo>
                    <a:pt x="2534507" y="1284700"/>
                  </a:lnTo>
                  <a:lnTo>
                    <a:pt x="2535279" y="1283996"/>
                  </a:lnTo>
                  <a:lnTo>
                    <a:pt x="2535958" y="1282992"/>
                  </a:lnTo>
                  <a:lnTo>
                    <a:pt x="2537034" y="1282546"/>
                  </a:lnTo>
                  <a:lnTo>
                    <a:pt x="2537986" y="1282301"/>
                  </a:lnTo>
                  <a:lnTo>
                    <a:pt x="2540219" y="1282045"/>
                  </a:lnTo>
                  <a:lnTo>
                    <a:pt x="2541510" y="1280985"/>
                  </a:lnTo>
                  <a:lnTo>
                    <a:pt x="2542711" y="1279898"/>
                  </a:lnTo>
                  <a:lnTo>
                    <a:pt x="2544914" y="1277062"/>
                  </a:lnTo>
                  <a:lnTo>
                    <a:pt x="2545628" y="1275387"/>
                  </a:lnTo>
                  <a:lnTo>
                    <a:pt x="2546164" y="1274516"/>
                  </a:lnTo>
                  <a:lnTo>
                    <a:pt x="2544976" y="1272096"/>
                  </a:lnTo>
                  <a:lnTo>
                    <a:pt x="2543908" y="1270044"/>
                  </a:lnTo>
                  <a:lnTo>
                    <a:pt x="2542603" y="1267199"/>
                  </a:lnTo>
                  <a:lnTo>
                    <a:pt x="2542043" y="1265864"/>
                  </a:lnTo>
                  <a:lnTo>
                    <a:pt x="2542914" y="1264159"/>
                  </a:lnTo>
                  <a:lnTo>
                    <a:pt x="2543840" y="1263106"/>
                  </a:lnTo>
                  <a:lnTo>
                    <a:pt x="2544328" y="1262169"/>
                  </a:lnTo>
                  <a:lnTo>
                    <a:pt x="2544583" y="1260554"/>
                  </a:lnTo>
                  <a:lnTo>
                    <a:pt x="2544238" y="1259325"/>
                  </a:lnTo>
                  <a:lnTo>
                    <a:pt x="2541989" y="1257405"/>
                  </a:lnTo>
                  <a:lnTo>
                    <a:pt x="2539614" y="1256454"/>
                  </a:lnTo>
                  <a:lnTo>
                    <a:pt x="2536934" y="1256071"/>
                  </a:lnTo>
                  <a:lnTo>
                    <a:pt x="2536015" y="1255941"/>
                  </a:lnTo>
                  <a:lnTo>
                    <a:pt x="2534079" y="1256324"/>
                  </a:lnTo>
                  <a:lnTo>
                    <a:pt x="2526038" y="1258764"/>
                  </a:lnTo>
                  <a:lnTo>
                    <a:pt x="2522270" y="1260632"/>
                  </a:lnTo>
                  <a:lnTo>
                    <a:pt x="2520091" y="1262743"/>
                  </a:lnTo>
                  <a:lnTo>
                    <a:pt x="2517772" y="1263756"/>
                  </a:lnTo>
                  <a:lnTo>
                    <a:pt x="2514075" y="1263633"/>
                  </a:lnTo>
                  <a:lnTo>
                    <a:pt x="2510601" y="1263516"/>
                  </a:lnTo>
                  <a:lnTo>
                    <a:pt x="2507860" y="1264681"/>
                  </a:lnTo>
                  <a:lnTo>
                    <a:pt x="2504699" y="1267089"/>
                  </a:lnTo>
                  <a:lnTo>
                    <a:pt x="2502393" y="1268189"/>
                  </a:lnTo>
                  <a:lnTo>
                    <a:pt x="2500942" y="1267987"/>
                  </a:lnTo>
                  <a:lnTo>
                    <a:pt x="2499387" y="1269598"/>
                  </a:lnTo>
                  <a:lnTo>
                    <a:pt x="2497729" y="1273023"/>
                  </a:lnTo>
                  <a:lnTo>
                    <a:pt x="2495835" y="1274528"/>
                  </a:lnTo>
                  <a:lnTo>
                    <a:pt x="2493710" y="1274120"/>
                  </a:lnTo>
                  <a:lnTo>
                    <a:pt x="2488616" y="1274444"/>
                  </a:lnTo>
                  <a:lnTo>
                    <a:pt x="2480555" y="1275498"/>
                  </a:lnTo>
                  <a:lnTo>
                    <a:pt x="2475502" y="1275455"/>
                  </a:lnTo>
                  <a:lnTo>
                    <a:pt x="2473457" y="1274314"/>
                  </a:lnTo>
                  <a:lnTo>
                    <a:pt x="2470252" y="1274167"/>
                  </a:lnTo>
                  <a:lnTo>
                    <a:pt x="2465887" y="1275016"/>
                  </a:lnTo>
                  <a:lnTo>
                    <a:pt x="2463252" y="1275190"/>
                  </a:lnTo>
                  <a:lnTo>
                    <a:pt x="2462349" y="1274687"/>
                  </a:lnTo>
                  <a:lnTo>
                    <a:pt x="2461706" y="1273267"/>
                  </a:lnTo>
                  <a:lnTo>
                    <a:pt x="2461322" y="1270927"/>
                  </a:lnTo>
                  <a:lnTo>
                    <a:pt x="2459844" y="1268489"/>
                  </a:lnTo>
                  <a:lnTo>
                    <a:pt x="2457280" y="1265956"/>
                  </a:lnTo>
                  <a:lnTo>
                    <a:pt x="2456826" y="1262895"/>
                  </a:lnTo>
                  <a:lnTo>
                    <a:pt x="2458486" y="1259306"/>
                  </a:lnTo>
                  <a:lnTo>
                    <a:pt x="2458864" y="1256845"/>
                  </a:lnTo>
                  <a:lnTo>
                    <a:pt x="2457962" y="1255516"/>
                  </a:lnTo>
                  <a:lnTo>
                    <a:pt x="2457594" y="1254327"/>
                  </a:lnTo>
                  <a:lnTo>
                    <a:pt x="2455656" y="1252823"/>
                  </a:lnTo>
                  <a:lnTo>
                    <a:pt x="2454286" y="1250233"/>
                  </a:lnTo>
                  <a:lnTo>
                    <a:pt x="2453288" y="1249443"/>
                  </a:lnTo>
                  <a:lnTo>
                    <a:pt x="2453587" y="1247236"/>
                  </a:lnTo>
                  <a:lnTo>
                    <a:pt x="2454727" y="1244589"/>
                  </a:lnTo>
                  <a:lnTo>
                    <a:pt x="2453311" y="1242084"/>
                  </a:lnTo>
                  <a:lnTo>
                    <a:pt x="2448935" y="1241936"/>
                  </a:lnTo>
                  <a:lnTo>
                    <a:pt x="2445414" y="1241215"/>
                  </a:lnTo>
                  <a:lnTo>
                    <a:pt x="2441900" y="1238917"/>
                  </a:lnTo>
                  <a:lnTo>
                    <a:pt x="2436492" y="1232445"/>
                  </a:lnTo>
                  <a:lnTo>
                    <a:pt x="2433807" y="1230166"/>
                  </a:lnTo>
                  <a:lnTo>
                    <a:pt x="2432045" y="1229933"/>
                  </a:lnTo>
                  <a:lnTo>
                    <a:pt x="2430768" y="1228880"/>
                  </a:lnTo>
                  <a:lnTo>
                    <a:pt x="2429982" y="1227007"/>
                  </a:lnTo>
                  <a:lnTo>
                    <a:pt x="2428712" y="1226988"/>
                  </a:lnTo>
                  <a:lnTo>
                    <a:pt x="2427473" y="1226988"/>
                  </a:lnTo>
                  <a:lnTo>
                    <a:pt x="2426709" y="1227765"/>
                  </a:lnTo>
                  <a:lnTo>
                    <a:pt x="2425819" y="1228008"/>
                  </a:lnTo>
                  <a:lnTo>
                    <a:pt x="2424461" y="1227298"/>
                  </a:lnTo>
                  <a:lnTo>
                    <a:pt x="2423061" y="1227219"/>
                  </a:lnTo>
                  <a:lnTo>
                    <a:pt x="2421624" y="1227773"/>
                  </a:lnTo>
                  <a:lnTo>
                    <a:pt x="2420407" y="1227412"/>
                  </a:lnTo>
                  <a:lnTo>
                    <a:pt x="2419416" y="1226134"/>
                  </a:lnTo>
                  <a:lnTo>
                    <a:pt x="2417602" y="1225283"/>
                  </a:lnTo>
                  <a:lnTo>
                    <a:pt x="2414972" y="1224857"/>
                  </a:lnTo>
                  <a:lnTo>
                    <a:pt x="2413888" y="1223969"/>
                  </a:lnTo>
                  <a:lnTo>
                    <a:pt x="2414346" y="1222617"/>
                  </a:lnTo>
                  <a:lnTo>
                    <a:pt x="2413860" y="1221608"/>
                  </a:lnTo>
                  <a:lnTo>
                    <a:pt x="2412423" y="1220942"/>
                  </a:lnTo>
                  <a:lnTo>
                    <a:pt x="2408503" y="1221112"/>
                  </a:lnTo>
                  <a:lnTo>
                    <a:pt x="2402098" y="1222116"/>
                  </a:lnTo>
                  <a:lnTo>
                    <a:pt x="2396847" y="1221848"/>
                  </a:lnTo>
                  <a:lnTo>
                    <a:pt x="2392748" y="1220311"/>
                  </a:lnTo>
                  <a:lnTo>
                    <a:pt x="2390468" y="1218890"/>
                  </a:lnTo>
                  <a:lnTo>
                    <a:pt x="2390004" y="1217590"/>
                  </a:lnTo>
                  <a:lnTo>
                    <a:pt x="2388822" y="1216339"/>
                  </a:lnTo>
                  <a:lnTo>
                    <a:pt x="2386922" y="1215142"/>
                  </a:lnTo>
                  <a:lnTo>
                    <a:pt x="2385853" y="1213078"/>
                  </a:lnTo>
                  <a:lnTo>
                    <a:pt x="2385617" y="1210147"/>
                  </a:lnTo>
                  <a:lnTo>
                    <a:pt x="2386071" y="1207357"/>
                  </a:lnTo>
                  <a:lnTo>
                    <a:pt x="2387795" y="1203387"/>
                  </a:lnTo>
                  <a:lnTo>
                    <a:pt x="2383484" y="1200793"/>
                  </a:lnTo>
                  <a:lnTo>
                    <a:pt x="2382199" y="1199299"/>
                  </a:lnTo>
                  <a:lnTo>
                    <a:pt x="2382508" y="1198039"/>
                  </a:lnTo>
                  <a:lnTo>
                    <a:pt x="2382279" y="1197040"/>
                  </a:lnTo>
                  <a:lnTo>
                    <a:pt x="2381510" y="1196301"/>
                  </a:lnTo>
                  <a:lnTo>
                    <a:pt x="2381559" y="1195121"/>
                  </a:lnTo>
                  <a:lnTo>
                    <a:pt x="2382420" y="1193497"/>
                  </a:lnTo>
                  <a:lnTo>
                    <a:pt x="2382414" y="1191426"/>
                  </a:lnTo>
                  <a:lnTo>
                    <a:pt x="2381532" y="1188906"/>
                  </a:lnTo>
                  <a:lnTo>
                    <a:pt x="2379127" y="1185367"/>
                  </a:lnTo>
                  <a:lnTo>
                    <a:pt x="2375195" y="1180803"/>
                  </a:lnTo>
                  <a:lnTo>
                    <a:pt x="2373080" y="1177463"/>
                  </a:lnTo>
                  <a:lnTo>
                    <a:pt x="2372787" y="1175352"/>
                  </a:lnTo>
                  <a:lnTo>
                    <a:pt x="2372260" y="1173659"/>
                  </a:lnTo>
                  <a:lnTo>
                    <a:pt x="2371524" y="1172744"/>
                  </a:lnTo>
                  <a:lnTo>
                    <a:pt x="2371068" y="1171175"/>
                  </a:lnTo>
                  <a:lnTo>
                    <a:pt x="2371377" y="1169436"/>
                  </a:lnTo>
                  <a:lnTo>
                    <a:pt x="2370925" y="1168318"/>
                  </a:lnTo>
                  <a:lnTo>
                    <a:pt x="2370359" y="1167267"/>
                  </a:lnTo>
                  <a:lnTo>
                    <a:pt x="2370441" y="1165575"/>
                  </a:lnTo>
                  <a:lnTo>
                    <a:pt x="2369757" y="1164416"/>
                  </a:lnTo>
                  <a:lnTo>
                    <a:pt x="2368313" y="1163792"/>
                  </a:lnTo>
                  <a:lnTo>
                    <a:pt x="2367859" y="1162509"/>
                  </a:lnTo>
                  <a:lnTo>
                    <a:pt x="2368127" y="1159767"/>
                  </a:lnTo>
                  <a:lnTo>
                    <a:pt x="2367086" y="1157460"/>
                  </a:lnTo>
                  <a:lnTo>
                    <a:pt x="2363920" y="1153194"/>
                  </a:lnTo>
                  <a:lnTo>
                    <a:pt x="2362981" y="1150076"/>
                  </a:lnTo>
                  <a:lnTo>
                    <a:pt x="2362705" y="1147259"/>
                  </a:lnTo>
                  <a:lnTo>
                    <a:pt x="2361361" y="1145881"/>
                  </a:lnTo>
                  <a:lnTo>
                    <a:pt x="2361288" y="1144651"/>
                  </a:lnTo>
                  <a:lnTo>
                    <a:pt x="2361111" y="1142514"/>
                  </a:lnTo>
                  <a:lnTo>
                    <a:pt x="2360288" y="1141929"/>
                  </a:lnTo>
                  <a:lnTo>
                    <a:pt x="2359800" y="1141175"/>
                  </a:lnTo>
                  <a:lnTo>
                    <a:pt x="2360186" y="1140273"/>
                  </a:lnTo>
                  <a:lnTo>
                    <a:pt x="2359550" y="1139152"/>
                  </a:lnTo>
                  <a:lnTo>
                    <a:pt x="2357885" y="1137812"/>
                  </a:lnTo>
                  <a:lnTo>
                    <a:pt x="2357118" y="1136652"/>
                  </a:lnTo>
                  <a:lnTo>
                    <a:pt x="2356931" y="1135601"/>
                  </a:lnTo>
                  <a:lnTo>
                    <a:pt x="2356094" y="1134783"/>
                  </a:lnTo>
                  <a:lnTo>
                    <a:pt x="2353646" y="1133988"/>
                  </a:lnTo>
                  <a:lnTo>
                    <a:pt x="2352985" y="1132889"/>
                  </a:lnTo>
                  <a:lnTo>
                    <a:pt x="2353145" y="1131912"/>
                  </a:lnTo>
                  <a:lnTo>
                    <a:pt x="2353672" y="1131003"/>
                  </a:lnTo>
                  <a:lnTo>
                    <a:pt x="2353961" y="1130451"/>
                  </a:lnTo>
                  <a:lnTo>
                    <a:pt x="2353870" y="1129739"/>
                  </a:lnTo>
                  <a:lnTo>
                    <a:pt x="2353695" y="1129035"/>
                  </a:lnTo>
                  <a:lnTo>
                    <a:pt x="2352726" y="1128187"/>
                  </a:lnTo>
                  <a:lnTo>
                    <a:pt x="2351339" y="1127207"/>
                  </a:lnTo>
                  <a:lnTo>
                    <a:pt x="2349798" y="1125090"/>
                  </a:lnTo>
                  <a:lnTo>
                    <a:pt x="2347828" y="1124516"/>
                  </a:lnTo>
                  <a:lnTo>
                    <a:pt x="2346620" y="1124516"/>
                  </a:lnTo>
                  <a:lnTo>
                    <a:pt x="2345572" y="1123317"/>
                  </a:lnTo>
                  <a:lnTo>
                    <a:pt x="2345894" y="1122555"/>
                  </a:lnTo>
                  <a:lnTo>
                    <a:pt x="2345813" y="1121135"/>
                  </a:lnTo>
                  <a:lnTo>
                    <a:pt x="2344870" y="1119980"/>
                  </a:lnTo>
                  <a:lnTo>
                    <a:pt x="2343697" y="1119525"/>
                  </a:lnTo>
                  <a:lnTo>
                    <a:pt x="2342592" y="1119820"/>
                  </a:lnTo>
                  <a:lnTo>
                    <a:pt x="2339860" y="1118738"/>
                  </a:lnTo>
                  <a:lnTo>
                    <a:pt x="2335507" y="1116276"/>
                  </a:lnTo>
                  <a:lnTo>
                    <a:pt x="2332177" y="1115140"/>
                  </a:lnTo>
                  <a:lnTo>
                    <a:pt x="2329876" y="1115331"/>
                  </a:lnTo>
                  <a:lnTo>
                    <a:pt x="2328454" y="1116071"/>
                  </a:lnTo>
                  <a:lnTo>
                    <a:pt x="2327912" y="1117358"/>
                  </a:lnTo>
                  <a:lnTo>
                    <a:pt x="2326368" y="1117235"/>
                  </a:lnTo>
                  <a:lnTo>
                    <a:pt x="2322555" y="1114930"/>
                  </a:lnTo>
                  <a:lnTo>
                    <a:pt x="2318709" y="1114360"/>
                  </a:lnTo>
                  <a:lnTo>
                    <a:pt x="2316569" y="1113119"/>
                  </a:lnTo>
                  <a:lnTo>
                    <a:pt x="2314850" y="1111017"/>
                  </a:lnTo>
                  <a:lnTo>
                    <a:pt x="2313270" y="1110137"/>
                  </a:lnTo>
                  <a:lnTo>
                    <a:pt x="2311819" y="1110481"/>
                  </a:lnTo>
                  <a:lnTo>
                    <a:pt x="2308290" y="1109069"/>
                  </a:lnTo>
                  <a:lnTo>
                    <a:pt x="2302678" y="1105895"/>
                  </a:lnTo>
                  <a:lnTo>
                    <a:pt x="2299734" y="1104824"/>
                  </a:lnTo>
                  <a:lnTo>
                    <a:pt x="2298672" y="1105423"/>
                  </a:lnTo>
                  <a:lnTo>
                    <a:pt x="2298119" y="1105429"/>
                  </a:lnTo>
                  <a:lnTo>
                    <a:pt x="2297117" y="1105339"/>
                  </a:lnTo>
                  <a:lnTo>
                    <a:pt x="2295671" y="1105299"/>
                  </a:lnTo>
                  <a:lnTo>
                    <a:pt x="2293140" y="1104550"/>
                  </a:lnTo>
                  <a:lnTo>
                    <a:pt x="2289702" y="1104883"/>
                  </a:lnTo>
                  <a:lnTo>
                    <a:pt x="2285357" y="1106296"/>
                  </a:lnTo>
                  <a:lnTo>
                    <a:pt x="2280650" y="1107175"/>
                  </a:lnTo>
                  <a:lnTo>
                    <a:pt x="2275588" y="1107523"/>
                  </a:lnTo>
                  <a:lnTo>
                    <a:pt x="2272589" y="1107356"/>
                  </a:lnTo>
                  <a:lnTo>
                    <a:pt x="2271651" y="1106678"/>
                  </a:lnTo>
                  <a:lnTo>
                    <a:pt x="2266148" y="1107689"/>
                  </a:lnTo>
                  <a:lnTo>
                    <a:pt x="2258520" y="1109732"/>
                  </a:lnTo>
                  <a:lnTo>
                    <a:pt x="2251036" y="1111734"/>
                  </a:lnTo>
                  <a:lnTo>
                    <a:pt x="2241748" y="1112710"/>
                  </a:lnTo>
                  <a:lnTo>
                    <a:pt x="2235527" y="1116096"/>
                  </a:lnTo>
                  <a:lnTo>
                    <a:pt x="2229274" y="1122202"/>
                  </a:lnTo>
                  <a:lnTo>
                    <a:pt x="2224782" y="1126036"/>
                  </a:lnTo>
                  <a:lnTo>
                    <a:pt x="2222049" y="1127609"/>
                  </a:lnTo>
                  <a:lnTo>
                    <a:pt x="2220939" y="1129669"/>
                  </a:lnTo>
                  <a:lnTo>
                    <a:pt x="2221453" y="1132213"/>
                  </a:lnTo>
                  <a:lnTo>
                    <a:pt x="2223778" y="1133119"/>
                  </a:lnTo>
                  <a:lnTo>
                    <a:pt x="2227920" y="1132389"/>
                  </a:lnTo>
                  <a:lnTo>
                    <a:pt x="2231481" y="1132745"/>
                  </a:lnTo>
                  <a:lnTo>
                    <a:pt x="2234468" y="1134187"/>
                  </a:lnTo>
                  <a:lnTo>
                    <a:pt x="2235419" y="1136361"/>
                  </a:lnTo>
                  <a:lnTo>
                    <a:pt x="2234340" y="1139266"/>
                  </a:lnTo>
                  <a:lnTo>
                    <a:pt x="2234672" y="1142117"/>
                  </a:lnTo>
                  <a:lnTo>
                    <a:pt x="2236422" y="1144918"/>
                  </a:lnTo>
                  <a:lnTo>
                    <a:pt x="2236538" y="1148146"/>
                  </a:lnTo>
                  <a:lnTo>
                    <a:pt x="2235026" y="1151799"/>
                  </a:lnTo>
                  <a:lnTo>
                    <a:pt x="2231248" y="1155476"/>
                  </a:lnTo>
                  <a:lnTo>
                    <a:pt x="2225199" y="1159178"/>
                  </a:lnTo>
                  <a:lnTo>
                    <a:pt x="2221437" y="1162780"/>
                  </a:lnTo>
                  <a:lnTo>
                    <a:pt x="2219229" y="1168029"/>
                  </a:lnTo>
                  <a:lnTo>
                    <a:pt x="2215828" y="1172578"/>
                  </a:lnTo>
                  <a:lnTo>
                    <a:pt x="2214577" y="1175142"/>
                  </a:lnTo>
                  <a:lnTo>
                    <a:pt x="2214342" y="1177242"/>
                  </a:lnTo>
                  <a:lnTo>
                    <a:pt x="2212992" y="1179510"/>
                  </a:lnTo>
                  <a:lnTo>
                    <a:pt x="2210526" y="1181945"/>
                  </a:lnTo>
                  <a:lnTo>
                    <a:pt x="2209174" y="1184385"/>
                  </a:lnTo>
                  <a:lnTo>
                    <a:pt x="2208941" y="1186830"/>
                  </a:lnTo>
                  <a:lnTo>
                    <a:pt x="2207702" y="1189056"/>
                  </a:lnTo>
                  <a:lnTo>
                    <a:pt x="2205454" y="1191061"/>
                  </a:lnTo>
                  <a:lnTo>
                    <a:pt x="2204052" y="1193181"/>
                  </a:lnTo>
                  <a:lnTo>
                    <a:pt x="2203504" y="1195411"/>
                  </a:lnTo>
                  <a:lnTo>
                    <a:pt x="2202638" y="1196911"/>
                  </a:lnTo>
                  <a:lnTo>
                    <a:pt x="2201466" y="1197680"/>
                  </a:lnTo>
                  <a:lnTo>
                    <a:pt x="2202090" y="1198439"/>
                  </a:lnTo>
                  <a:lnTo>
                    <a:pt x="2204514" y="1199190"/>
                  </a:lnTo>
                  <a:lnTo>
                    <a:pt x="2205503" y="1201362"/>
                  </a:lnTo>
                  <a:lnTo>
                    <a:pt x="2205056" y="1204951"/>
                  </a:lnTo>
                  <a:lnTo>
                    <a:pt x="2203593" y="1207510"/>
                  </a:lnTo>
                  <a:lnTo>
                    <a:pt x="2201107" y="1209041"/>
                  </a:lnTo>
                  <a:lnTo>
                    <a:pt x="2197393" y="1210037"/>
                  </a:lnTo>
                  <a:lnTo>
                    <a:pt x="2192450" y="1210500"/>
                  </a:lnTo>
                  <a:lnTo>
                    <a:pt x="2185719" y="1213912"/>
                  </a:lnTo>
                  <a:lnTo>
                    <a:pt x="2179861" y="1218280"/>
                  </a:lnTo>
                  <a:lnTo>
                    <a:pt x="2172936" y="1223431"/>
                  </a:lnTo>
                  <a:lnTo>
                    <a:pt x="2171590" y="1223430"/>
                  </a:lnTo>
                  <a:lnTo>
                    <a:pt x="2169066" y="1222789"/>
                  </a:lnTo>
                  <a:lnTo>
                    <a:pt x="2164173" y="1220676"/>
                  </a:lnTo>
                  <a:lnTo>
                    <a:pt x="2159053" y="1220232"/>
                  </a:lnTo>
                  <a:lnTo>
                    <a:pt x="2154101" y="1218274"/>
                  </a:lnTo>
                  <a:lnTo>
                    <a:pt x="2151166" y="1216984"/>
                  </a:lnTo>
                  <a:lnTo>
                    <a:pt x="2146619" y="1214509"/>
                  </a:lnTo>
                  <a:lnTo>
                    <a:pt x="2145475" y="1212974"/>
                  </a:lnTo>
                  <a:lnTo>
                    <a:pt x="2143697" y="1211726"/>
                  </a:lnTo>
                  <a:lnTo>
                    <a:pt x="2139275" y="1210060"/>
                  </a:lnTo>
                  <a:lnTo>
                    <a:pt x="2136304" y="1209160"/>
                  </a:lnTo>
                  <a:lnTo>
                    <a:pt x="2134485" y="1209116"/>
                  </a:lnTo>
                  <a:lnTo>
                    <a:pt x="2129873" y="1210808"/>
                  </a:lnTo>
                  <a:lnTo>
                    <a:pt x="2126982" y="1212142"/>
                  </a:lnTo>
                  <a:lnTo>
                    <a:pt x="2125270" y="1212871"/>
                  </a:lnTo>
                  <a:lnTo>
                    <a:pt x="2122399" y="1212715"/>
                  </a:lnTo>
                  <a:lnTo>
                    <a:pt x="2118889" y="1212413"/>
                  </a:lnTo>
                  <a:lnTo>
                    <a:pt x="2117469" y="1211973"/>
                  </a:lnTo>
                  <a:lnTo>
                    <a:pt x="2115468" y="1210902"/>
                  </a:lnTo>
                  <a:lnTo>
                    <a:pt x="2111566" y="1207711"/>
                  </a:lnTo>
                  <a:lnTo>
                    <a:pt x="2109471" y="1205424"/>
                  </a:lnTo>
                  <a:lnTo>
                    <a:pt x="2106735" y="1204138"/>
                  </a:lnTo>
                  <a:lnTo>
                    <a:pt x="2103718" y="1202672"/>
                  </a:lnTo>
                  <a:lnTo>
                    <a:pt x="2102209" y="1202325"/>
                  </a:lnTo>
                  <a:lnTo>
                    <a:pt x="2099535" y="1202448"/>
                  </a:lnTo>
                  <a:lnTo>
                    <a:pt x="2095828" y="1202042"/>
                  </a:lnTo>
                  <a:lnTo>
                    <a:pt x="2093854" y="1201494"/>
                  </a:lnTo>
                  <a:lnTo>
                    <a:pt x="2092189" y="1201990"/>
                  </a:lnTo>
                  <a:lnTo>
                    <a:pt x="2088849" y="1203510"/>
                  </a:lnTo>
                  <a:lnTo>
                    <a:pt x="2084657" y="1206507"/>
                  </a:lnTo>
                  <a:lnTo>
                    <a:pt x="2081369" y="1207651"/>
                  </a:lnTo>
                  <a:lnTo>
                    <a:pt x="2077871" y="1209224"/>
                  </a:lnTo>
                  <a:lnTo>
                    <a:pt x="2075025" y="1211112"/>
                  </a:lnTo>
                  <a:lnTo>
                    <a:pt x="2072229" y="1213052"/>
                  </a:lnTo>
                  <a:lnTo>
                    <a:pt x="2068803" y="1215275"/>
                  </a:lnTo>
                  <a:lnTo>
                    <a:pt x="2067210" y="1218287"/>
                  </a:lnTo>
                  <a:lnTo>
                    <a:pt x="2066402" y="1220479"/>
                  </a:lnTo>
                  <a:lnTo>
                    <a:pt x="2063290" y="1221830"/>
                  </a:lnTo>
                  <a:lnTo>
                    <a:pt x="2060894" y="1223141"/>
                  </a:lnTo>
                  <a:lnTo>
                    <a:pt x="2058481" y="1223609"/>
                  </a:lnTo>
                  <a:lnTo>
                    <a:pt x="2054005" y="1222890"/>
                  </a:lnTo>
                  <a:lnTo>
                    <a:pt x="2051358" y="1223399"/>
                  </a:lnTo>
                  <a:lnTo>
                    <a:pt x="2044823" y="1225992"/>
                  </a:lnTo>
                  <a:lnTo>
                    <a:pt x="2041613" y="1226227"/>
                  </a:lnTo>
                  <a:lnTo>
                    <a:pt x="2039377" y="1226583"/>
                  </a:lnTo>
                  <a:lnTo>
                    <a:pt x="2037214" y="1226750"/>
                  </a:lnTo>
                  <a:lnTo>
                    <a:pt x="2033660" y="1227362"/>
                  </a:lnTo>
                  <a:lnTo>
                    <a:pt x="2032269" y="1227805"/>
                  </a:lnTo>
                  <a:lnTo>
                    <a:pt x="2030442" y="1228330"/>
                  </a:lnTo>
                  <a:lnTo>
                    <a:pt x="2028393" y="1227951"/>
                  </a:lnTo>
                  <a:lnTo>
                    <a:pt x="2025465" y="1229428"/>
                  </a:lnTo>
                  <a:lnTo>
                    <a:pt x="2017144" y="1233380"/>
                  </a:lnTo>
                  <a:lnTo>
                    <a:pt x="2014531" y="1234043"/>
                  </a:lnTo>
                  <a:lnTo>
                    <a:pt x="2012791" y="1234196"/>
                  </a:lnTo>
                  <a:lnTo>
                    <a:pt x="2010547" y="1232783"/>
                  </a:lnTo>
                  <a:lnTo>
                    <a:pt x="2008298" y="1231841"/>
                  </a:lnTo>
                  <a:lnTo>
                    <a:pt x="2005943" y="1231959"/>
                  </a:lnTo>
                  <a:lnTo>
                    <a:pt x="2003258" y="1233258"/>
                  </a:lnTo>
                  <a:lnTo>
                    <a:pt x="1998716" y="1232252"/>
                  </a:lnTo>
                  <a:lnTo>
                    <a:pt x="1993318" y="1231288"/>
                  </a:lnTo>
                  <a:lnTo>
                    <a:pt x="1988416" y="1230413"/>
                  </a:lnTo>
                  <a:lnTo>
                    <a:pt x="1986758" y="1229656"/>
                  </a:lnTo>
                  <a:lnTo>
                    <a:pt x="1981960" y="1228551"/>
                  </a:lnTo>
                  <a:lnTo>
                    <a:pt x="1974955" y="1228539"/>
                  </a:lnTo>
                  <a:lnTo>
                    <a:pt x="1970822" y="1228530"/>
                  </a:lnTo>
                  <a:lnTo>
                    <a:pt x="1968182" y="1228898"/>
                  </a:lnTo>
                  <a:lnTo>
                    <a:pt x="1966165" y="1228362"/>
                  </a:lnTo>
                  <a:lnTo>
                    <a:pt x="1963611" y="1226789"/>
                  </a:lnTo>
                  <a:lnTo>
                    <a:pt x="1959325" y="1223106"/>
                  </a:lnTo>
                  <a:lnTo>
                    <a:pt x="1956781" y="1222020"/>
                  </a:lnTo>
                  <a:lnTo>
                    <a:pt x="1955361" y="1221119"/>
                  </a:lnTo>
                  <a:lnTo>
                    <a:pt x="1954824" y="1219599"/>
                  </a:lnTo>
                  <a:lnTo>
                    <a:pt x="1953848" y="1219409"/>
                  </a:lnTo>
                  <a:lnTo>
                    <a:pt x="1953213" y="1218330"/>
                  </a:lnTo>
                  <a:lnTo>
                    <a:pt x="1953259" y="1216900"/>
                  </a:lnTo>
                  <a:lnTo>
                    <a:pt x="1953172" y="1213781"/>
                  </a:lnTo>
                  <a:lnTo>
                    <a:pt x="1953460" y="1211600"/>
                  </a:lnTo>
                  <a:lnTo>
                    <a:pt x="1952769" y="1210933"/>
                  </a:lnTo>
                  <a:lnTo>
                    <a:pt x="1949899" y="1210581"/>
                  </a:lnTo>
                  <a:lnTo>
                    <a:pt x="1946453" y="1209915"/>
                  </a:lnTo>
                  <a:lnTo>
                    <a:pt x="1940175" y="1209812"/>
                  </a:lnTo>
                  <a:lnTo>
                    <a:pt x="1937659" y="1209733"/>
                  </a:lnTo>
                  <a:lnTo>
                    <a:pt x="1935664" y="1208474"/>
                  </a:lnTo>
                  <a:lnTo>
                    <a:pt x="1933391" y="1206930"/>
                  </a:lnTo>
                  <a:lnTo>
                    <a:pt x="1931203" y="1203744"/>
                  </a:lnTo>
                  <a:lnTo>
                    <a:pt x="1929266" y="1202250"/>
                  </a:lnTo>
                  <a:lnTo>
                    <a:pt x="1926113" y="1200387"/>
                  </a:lnTo>
                  <a:lnTo>
                    <a:pt x="1923090" y="1199918"/>
                  </a:lnTo>
                  <a:lnTo>
                    <a:pt x="1918536" y="1200243"/>
                  </a:lnTo>
                  <a:lnTo>
                    <a:pt x="1915206" y="1200620"/>
                  </a:lnTo>
                  <a:lnTo>
                    <a:pt x="1912214" y="1199809"/>
                  </a:lnTo>
                  <a:lnTo>
                    <a:pt x="1910311" y="1198784"/>
                  </a:lnTo>
                  <a:lnTo>
                    <a:pt x="1907629" y="1197698"/>
                  </a:lnTo>
                  <a:lnTo>
                    <a:pt x="1903591" y="1197443"/>
                  </a:lnTo>
                  <a:lnTo>
                    <a:pt x="1900253" y="1196657"/>
                  </a:lnTo>
                  <a:lnTo>
                    <a:pt x="1896759" y="1195715"/>
                  </a:lnTo>
                  <a:lnTo>
                    <a:pt x="1894174" y="1196099"/>
                  </a:lnTo>
                  <a:lnTo>
                    <a:pt x="1892388" y="1196996"/>
                  </a:lnTo>
                  <a:lnTo>
                    <a:pt x="1890371" y="1198146"/>
                  </a:lnTo>
                  <a:lnTo>
                    <a:pt x="1887767" y="1198350"/>
                  </a:lnTo>
                  <a:lnTo>
                    <a:pt x="1881319" y="1199540"/>
                  </a:lnTo>
                  <a:lnTo>
                    <a:pt x="1879352" y="1200254"/>
                  </a:lnTo>
                  <a:lnTo>
                    <a:pt x="1876475" y="1200574"/>
                  </a:lnTo>
                  <a:lnTo>
                    <a:pt x="1873990" y="1201468"/>
                  </a:lnTo>
                  <a:lnTo>
                    <a:pt x="1871913" y="1203229"/>
                  </a:lnTo>
                  <a:lnTo>
                    <a:pt x="1870138" y="1204532"/>
                  </a:lnTo>
                  <a:lnTo>
                    <a:pt x="1867905" y="1204971"/>
                  </a:lnTo>
                  <a:lnTo>
                    <a:pt x="1865247" y="1204883"/>
                  </a:lnTo>
                  <a:lnTo>
                    <a:pt x="1862984" y="1204463"/>
                  </a:lnTo>
                  <a:lnTo>
                    <a:pt x="1861800" y="1204339"/>
                  </a:lnTo>
                  <a:lnTo>
                    <a:pt x="1860045" y="1204982"/>
                  </a:lnTo>
                  <a:lnTo>
                    <a:pt x="1858047" y="1205424"/>
                  </a:lnTo>
                  <a:lnTo>
                    <a:pt x="1855026" y="1204662"/>
                  </a:lnTo>
                  <a:lnTo>
                    <a:pt x="1853366" y="1204022"/>
                  </a:lnTo>
                  <a:lnTo>
                    <a:pt x="1850783" y="1203639"/>
                  </a:lnTo>
                  <a:lnTo>
                    <a:pt x="1849222" y="1201788"/>
                  </a:lnTo>
                  <a:lnTo>
                    <a:pt x="1847628" y="1201021"/>
                  </a:lnTo>
                  <a:lnTo>
                    <a:pt x="1844925" y="1200734"/>
                  </a:lnTo>
                  <a:lnTo>
                    <a:pt x="1840949" y="1199789"/>
                  </a:lnTo>
                  <a:lnTo>
                    <a:pt x="1838865" y="1198824"/>
                  </a:lnTo>
                  <a:lnTo>
                    <a:pt x="1837049" y="1198226"/>
                  </a:lnTo>
                  <a:lnTo>
                    <a:pt x="1834020" y="1196075"/>
                  </a:lnTo>
                  <a:lnTo>
                    <a:pt x="1832321" y="1194206"/>
                  </a:lnTo>
                  <a:lnTo>
                    <a:pt x="1830936" y="1193901"/>
                  </a:lnTo>
                  <a:lnTo>
                    <a:pt x="1829379" y="1193667"/>
                  </a:lnTo>
                  <a:lnTo>
                    <a:pt x="1828317" y="1192480"/>
                  </a:lnTo>
                  <a:lnTo>
                    <a:pt x="1828259" y="1191039"/>
                  </a:lnTo>
                  <a:lnTo>
                    <a:pt x="1828647" y="1190141"/>
                  </a:lnTo>
                  <a:lnTo>
                    <a:pt x="1828941" y="1188601"/>
                  </a:lnTo>
                  <a:lnTo>
                    <a:pt x="1828056" y="1187138"/>
                  </a:lnTo>
                  <a:lnTo>
                    <a:pt x="1827138" y="1186482"/>
                  </a:lnTo>
                  <a:lnTo>
                    <a:pt x="1826696" y="1185367"/>
                  </a:lnTo>
                  <a:lnTo>
                    <a:pt x="1826941" y="1183267"/>
                  </a:lnTo>
                  <a:lnTo>
                    <a:pt x="1826589" y="1181141"/>
                  </a:lnTo>
                  <a:lnTo>
                    <a:pt x="1826242" y="1178910"/>
                  </a:lnTo>
                  <a:lnTo>
                    <a:pt x="1825300" y="1177248"/>
                  </a:lnTo>
                  <a:lnTo>
                    <a:pt x="1825089" y="1174071"/>
                  </a:lnTo>
                  <a:lnTo>
                    <a:pt x="1825479" y="1172759"/>
                  </a:lnTo>
                  <a:lnTo>
                    <a:pt x="1825382" y="1171208"/>
                  </a:lnTo>
                  <a:lnTo>
                    <a:pt x="1824407" y="1170044"/>
                  </a:lnTo>
                  <a:lnTo>
                    <a:pt x="1821480" y="1169200"/>
                  </a:lnTo>
                  <a:lnTo>
                    <a:pt x="1817987" y="1168060"/>
                  </a:lnTo>
                  <a:lnTo>
                    <a:pt x="1812452" y="1166705"/>
                  </a:lnTo>
                  <a:lnTo>
                    <a:pt x="1810096" y="1166579"/>
                  </a:lnTo>
                  <a:lnTo>
                    <a:pt x="1808259" y="1167133"/>
                  </a:lnTo>
                  <a:lnTo>
                    <a:pt x="1806561" y="1166483"/>
                  </a:lnTo>
                  <a:lnTo>
                    <a:pt x="1804764" y="1165351"/>
                  </a:lnTo>
                  <a:lnTo>
                    <a:pt x="1801716" y="1164182"/>
                  </a:lnTo>
                  <a:lnTo>
                    <a:pt x="1797697" y="1162675"/>
                  </a:lnTo>
                  <a:lnTo>
                    <a:pt x="1793432" y="1160988"/>
                  </a:lnTo>
                  <a:lnTo>
                    <a:pt x="1789573" y="1159459"/>
                  </a:lnTo>
                  <a:lnTo>
                    <a:pt x="1788085" y="1159088"/>
                  </a:lnTo>
                  <a:lnTo>
                    <a:pt x="1782810" y="1158977"/>
                  </a:lnTo>
                  <a:lnTo>
                    <a:pt x="1778481" y="1158763"/>
                  </a:lnTo>
                  <a:lnTo>
                    <a:pt x="1775984" y="1158220"/>
                  </a:lnTo>
                  <a:lnTo>
                    <a:pt x="1773026" y="1156096"/>
                  </a:lnTo>
                  <a:lnTo>
                    <a:pt x="1771508" y="1154794"/>
                  </a:lnTo>
                  <a:lnTo>
                    <a:pt x="1769156" y="1154178"/>
                  </a:lnTo>
                  <a:lnTo>
                    <a:pt x="1767375" y="1153960"/>
                  </a:lnTo>
                  <a:lnTo>
                    <a:pt x="1764604" y="1153262"/>
                  </a:lnTo>
                  <a:lnTo>
                    <a:pt x="1759500" y="1151035"/>
                  </a:lnTo>
                  <a:lnTo>
                    <a:pt x="1757625" y="1149971"/>
                  </a:lnTo>
                  <a:lnTo>
                    <a:pt x="1756362" y="1149955"/>
                  </a:lnTo>
                  <a:lnTo>
                    <a:pt x="1754677" y="1147993"/>
                  </a:lnTo>
                  <a:lnTo>
                    <a:pt x="1753242" y="1147531"/>
                  </a:lnTo>
                  <a:lnTo>
                    <a:pt x="1752257" y="1148929"/>
                  </a:lnTo>
                  <a:lnTo>
                    <a:pt x="1751237" y="1152259"/>
                  </a:lnTo>
                  <a:lnTo>
                    <a:pt x="1750300" y="1153807"/>
                  </a:lnTo>
                  <a:lnTo>
                    <a:pt x="1747655" y="1156874"/>
                  </a:lnTo>
                  <a:lnTo>
                    <a:pt x="1741291" y="1159337"/>
                  </a:lnTo>
                  <a:lnTo>
                    <a:pt x="1740195" y="1160614"/>
                  </a:lnTo>
                  <a:lnTo>
                    <a:pt x="1739614" y="1161783"/>
                  </a:lnTo>
                  <a:lnTo>
                    <a:pt x="1738744" y="1163435"/>
                  </a:lnTo>
                  <a:lnTo>
                    <a:pt x="1738355" y="1165576"/>
                  </a:lnTo>
                  <a:lnTo>
                    <a:pt x="1737575" y="1166160"/>
                  </a:lnTo>
                  <a:lnTo>
                    <a:pt x="1735772" y="1166225"/>
                  </a:lnTo>
                  <a:lnTo>
                    <a:pt x="1734323" y="1167212"/>
                  </a:lnTo>
                  <a:lnTo>
                    <a:pt x="1733252" y="1169352"/>
                  </a:lnTo>
                  <a:lnTo>
                    <a:pt x="1732318" y="1170191"/>
                  </a:lnTo>
                  <a:lnTo>
                    <a:pt x="1731794" y="1172184"/>
                  </a:lnTo>
                  <a:lnTo>
                    <a:pt x="1731885" y="1173056"/>
                  </a:lnTo>
                  <a:lnTo>
                    <a:pt x="1731676" y="1174018"/>
                  </a:lnTo>
                  <a:lnTo>
                    <a:pt x="1731521" y="1175561"/>
                  </a:lnTo>
                  <a:lnTo>
                    <a:pt x="1729860" y="1178881"/>
                  </a:lnTo>
                  <a:lnTo>
                    <a:pt x="1729629" y="1180821"/>
                  </a:lnTo>
                  <a:lnTo>
                    <a:pt x="1730311" y="1182045"/>
                  </a:lnTo>
                  <a:lnTo>
                    <a:pt x="1731719" y="1183685"/>
                  </a:lnTo>
                  <a:lnTo>
                    <a:pt x="1732456" y="1184617"/>
                  </a:lnTo>
                  <a:lnTo>
                    <a:pt x="1732700" y="1185711"/>
                  </a:lnTo>
                  <a:lnTo>
                    <a:pt x="1732649" y="1187125"/>
                  </a:lnTo>
                  <a:lnTo>
                    <a:pt x="1733517" y="1189078"/>
                  </a:lnTo>
                  <a:lnTo>
                    <a:pt x="1734151" y="1190749"/>
                  </a:lnTo>
                  <a:lnTo>
                    <a:pt x="1735237" y="1191936"/>
                  </a:lnTo>
                  <a:lnTo>
                    <a:pt x="1736699" y="1192961"/>
                  </a:lnTo>
                  <a:lnTo>
                    <a:pt x="1738368" y="1193291"/>
                  </a:lnTo>
                  <a:lnTo>
                    <a:pt x="1739672" y="1193986"/>
                  </a:lnTo>
                  <a:lnTo>
                    <a:pt x="1739964" y="1195331"/>
                  </a:lnTo>
                  <a:lnTo>
                    <a:pt x="1739625" y="1197187"/>
                  </a:lnTo>
                  <a:lnTo>
                    <a:pt x="1739026" y="1200682"/>
                  </a:lnTo>
                  <a:lnTo>
                    <a:pt x="1737914" y="1202846"/>
                  </a:lnTo>
                  <a:lnTo>
                    <a:pt x="1737254" y="1204210"/>
                  </a:lnTo>
                  <a:lnTo>
                    <a:pt x="1736189" y="1206349"/>
                  </a:lnTo>
                  <a:lnTo>
                    <a:pt x="1735779" y="1207180"/>
                  </a:lnTo>
                  <a:lnTo>
                    <a:pt x="1733578" y="1209016"/>
                  </a:lnTo>
                  <a:lnTo>
                    <a:pt x="1732090" y="1209520"/>
                  </a:lnTo>
                  <a:lnTo>
                    <a:pt x="1730261" y="1210963"/>
                  </a:lnTo>
                  <a:lnTo>
                    <a:pt x="1728750" y="1211028"/>
                  </a:lnTo>
                  <a:lnTo>
                    <a:pt x="1727316" y="1211025"/>
                  </a:lnTo>
                  <a:lnTo>
                    <a:pt x="1725775" y="1211343"/>
                  </a:lnTo>
                  <a:lnTo>
                    <a:pt x="1724412" y="1211981"/>
                  </a:lnTo>
                  <a:lnTo>
                    <a:pt x="1723338" y="1213951"/>
                  </a:lnTo>
                  <a:lnTo>
                    <a:pt x="1720631" y="1215970"/>
                  </a:lnTo>
                  <a:lnTo>
                    <a:pt x="1719335" y="1216879"/>
                  </a:lnTo>
                  <a:lnTo>
                    <a:pt x="1715992" y="1217185"/>
                  </a:lnTo>
                  <a:lnTo>
                    <a:pt x="1714407" y="1216296"/>
                  </a:lnTo>
                  <a:lnTo>
                    <a:pt x="1713539" y="1215049"/>
                  </a:lnTo>
                  <a:lnTo>
                    <a:pt x="1712466" y="1214333"/>
                  </a:lnTo>
                  <a:lnTo>
                    <a:pt x="1711065" y="1212808"/>
                  </a:lnTo>
                  <a:lnTo>
                    <a:pt x="1705005" y="1211979"/>
                  </a:lnTo>
                  <a:lnTo>
                    <a:pt x="1703425" y="1212374"/>
                  </a:lnTo>
                  <a:lnTo>
                    <a:pt x="1702500" y="1212934"/>
                  </a:lnTo>
                  <a:lnTo>
                    <a:pt x="1701280" y="1212528"/>
                  </a:lnTo>
                  <a:lnTo>
                    <a:pt x="1700451" y="1211773"/>
                  </a:lnTo>
                  <a:lnTo>
                    <a:pt x="1699581" y="1211980"/>
                  </a:lnTo>
                  <a:lnTo>
                    <a:pt x="1697696" y="1212426"/>
                  </a:lnTo>
                  <a:lnTo>
                    <a:pt x="1696234" y="1212280"/>
                  </a:lnTo>
                  <a:lnTo>
                    <a:pt x="1694346" y="1210752"/>
                  </a:lnTo>
                  <a:lnTo>
                    <a:pt x="1691738" y="1209933"/>
                  </a:lnTo>
                  <a:lnTo>
                    <a:pt x="1690717" y="1209464"/>
                  </a:lnTo>
                  <a:lnTo>
                    <a:pt x="1689678" y="1209463"/>
                  </a:lnTo>
                  <a:lnTo>
                    <a:pt x="1689036" y="1210190"/>
                  </a:lnTo>
                  <a:lnTo>
                    <a:pt x="1687847" y="1210581"/>
                  </a:lnTo>
                  <a:lnTo>
                    <a:pt x="1687044" y="1209699"/>
                  </a:lnTo>
                  <a:lnTo>
                    <a:pt x="1685994" y="1209054"/>
                  </a:lnTo>
                  <a:lnTo>
                    <a:pt x="1684610" y="1209066"/>
                  </a:lnTo>
                  <a:lnTo>
                    <a:pt x="1682807" y="1210408"/>
                  </a:lnTo>
                  <a:lnTo>
                    <a:pt x="1679698" y="1211048"/>
                  </a:lnTo>
                  <a:lnTo>
                    <a:pt x="1678712" y="1211988"/>
                  </a:lnTo>
                  <a:lnTo>
                    <a:pt x="1676925" y="1211864"/>
                  </a:lnTo>
                  <a:lnTo>
                    <a:pt x="1675683" y="1211124"/>
                  </a:lnTo>
                  <a:lnTo>
                    <a:pt x="1674441" y="1211039"/>
                  </a:lnTo>
                  <a:lnTo>
                    <a:pt x="1670831" y="1211048"/>
                  </a:lnTo>
                  <a:lnTo>
                    <a:pt x="1669619" y="1211290"/>
                  </a:lnTo>
                  <a:lnTo>
                    <a:pt x="1668136" y="1210536"/>
                  </a:lnTo>
                  <a:lnTo>
                    <a:pt x="1667441" y="1209189"/>
                  </a:lnTo>
                  <a:lnTo>
                    <a:pt x="1665614" y="1208164"/>
                  </a:lnTo>
                  <a:lnTo>
                    <a:pt x="1662981" y="1208036"/>
                  </a:lnTo>
                  <a:lnTo>
                    <a:pt x="1660921" y="1208178"/>
                  </a:lnTo>
                  <a:lnTo>
                    <a:pt x="1659980" y="1208617"/>
                  </a:lnTo>
                  <a:lnTo>
                    <a:pt x="1658637" y="1208742"/>
                  </a:lnTo>
                  <a:lnTo>
                    <a:pt x="1657529" y="1206888"/>
                  </a:lnTo>
                  <a:lnTo>
                    <a:pt x="1656030" y="1205591"/>
                  </a:lnTo>
                  <a:lnTo>
                    <a:pt x="1655182" y="1204639"/>
                  </a:lnTo>
                  <a:lnTo>
                    <a:pt x="1653893" y="1204237"/>
                  </a:lnTo>
                  <a:lnTo>
                    <a:pt x="1652887" y="1203016"/>
                  </a:lnTo>
                  <a:lnTo>
                    <a:pt x="1652714" y="1200653"/>
                  </a:lnTo>
                  <a:lnTo>
                    <a:pt x="1652105" y="1197712"/>
                  </a:lnTo>
                  <a:lnTo>
                    <a:pt x="1651390" y="1194622"/>
                  </a:lnTo>
                  <a:lnTo>
                    <a:pt x="1650595" y="1193314"/>
                  </a:lnTo>
                  <a:lnTo>
                    <a:pt x="1646719" y="1192836"/>
                  </a:lnTo>
                  <a:lnTo>
                    <a:pt x="1644819" y="1192952"/>
                  </a:lnTo>
                  <a:lnTo>
                    <a:pt x="1640519" y="1192697"/>
                  </a:lnTo>
                  <a:lnTo>
                    <a:pt x="1637570" y="1192521"/>
                  </a:lnTo>
                  <a:lnTo>
                    <a:pt x="1636764" y="1192467"/>
                  </a:lnTo>
                  <a:lnTo>
                    <a:pt x="1634011" y="1192120"/>
                  </a:lnTo>
                  <a:lnTo>
                    <a:pt x="1631485" y="1191800"/>
                  </a:lnTo>
                  <a:lnTo>
                    <a:pt x="1628913" y="1191594"/>
                  </a:lnTo>
                  <a:lnTo>
                    <a:pt x="1627853" y="1191857"/>
                  </a:lnTo>
                  <a:lnTo>
                    <a:pt x="1625212" y="1191933"/>
                  </a:lnTo>
                  <a:lnTo>
                    <a:pt x="1623149" y="1190461"/>
                  </a:lnTo>
                  <a:lnTo>
                    <a:pt x="1622283" y="1188774"/>
                  </a:lnTo>
                  <a:lnTo>
                    <a:pt x="1622126" y="1187830"/>
                  </a:lnTo>
                  <a:lnTo>
                    <a:pt x="1621634" y="1186860"/>
                  </a:lnTo>
                  <a:lnTo>
                    <a:pt x="1619757" y="1186543"/>
                  </a:lnTo>
                  <a:lnTo>
                    <a:pt x="1618051" y="1186847"/>
                  </a:lnTo>
                  <a:lnTo>
                    <a:pt x="1617152" y="1188820"/>
                  </a:lnTo>
                  <a:lnTo>
                    <a:pt x="1615885" y="1189627"/>
                  </a:lnTo>
                  <a:lnTo>
                    <a:pt x="1614676" y="1189479"/>
                  </a:lnTo>
                  <a:lnTo>
                    <a:pt x="1613620" y="1188397"/>
                  </a:lnTo>
                  <a:lnTo>
                    <a:pt x="1611575" y="1187243"/>
                  </a:lnTo>
                  <a:lnTo>
                    <a:pt x="1610247" y="1186136"/>
                  </a:lnTo>
                  <a:lnTo>
                    <a:pt x="1608664" y="1184355"/>
                  </a:lnTo>
                  <a:lnTo>
                    <a:pt x="1607360" y="1184774"/>
                  </a:lnTo>
                  <a:lnTo>
                    <a:pt x="1606989" y="1185870"/>
                  </a:lnTo>
                  <a:lnTo>
                    <a:pt x="1606686" y="1186948"/>
                  </a:lnTo>
                  <a:lnTo>
                    <a:pt x="1605073" y="1189121"/>
                  </a:lnTo>
                  <a:lnTo>
                    <a:pt x="1603119" y="1189371"/>
                  </a:lnTo>
                  <a:lnTo>
                    <a:pt x="1599858" y="1189207"/>
                  </a:lnTo>
                  <a:lnTo>
                    <a:pt x="1596492" y="1189324"/>
                  </a:lnTo>
                  <a:lnTo>
                    <a:pt x="1594326" y="1190141"/>
                  </a:lnTo>
                  <a:lnTo>
                    <a:pt x="1592730" y="1191607"/>
                  </a:lnTo>
                  <a:lnTo>
                    <a:pt x="1591905" y="1192758"/>
                  </a:lnTo>
                  <a:lnTo>
                    <a:pt x="1590243" y="1193151"/>
                  </a:lnTo>
                  <a:lnTo>
                    <a:pt x="1588580" y="1194308"/>
                  </a:lnTo>
                  <a:lnTo>
                    <a:pt x="1587885" y="1195881"/>
                  </a:lnTo>
                  <a:lnTo>
                    <a:pt x="1586244" y="1195821"/>
                  </a:lnTo>
                  <a:lnTo>
                    <a:pt x="1585354" y="1196015"/>
                  </a:lnTo>
                  <a:lnTo>
                    <a:pt x="1583876" y="1196334"/>
                  </a:lnTo>
                  <a:lnTo>
                    <a:pt x="1580095" y="1197198"/>
                  </a:lnTo>
                  <a:lnTo>
                    <a:pt x="1579184" y="1197405"/>
                  </a:lnTo>
                  <a:lnTo>
                    <a:pt x="1576876" y="1198893"/>
                  </a:lnTo>
                  <a:lnTo>
                    <a:pt x="1575127" y="1200065"/>
                  </a:lnTo>
                  <a:lnTo>
                    <a:pt x="1573416" y="1200580"/>
                  </a:lnTo>
                  <a:lnTo>
                    <a:pt x="1572391" y="1201928"/>
                  </a:lnTo>
                  <a:lnTo>
                    <a:pt x="1571080" y="1203000"/>
                  </a:lnTo>
                  <a:lnTo>
                    <a:pt x="1568024" y="1203262"/>
                  </a:lnTo>
                  <a:lnTo>
                    <a:pt x="1564663" y="1204605"/>
                  </a:lnTo>
                  <a:lnTo>
                    <a:pt x="1563479" y="1205060"/>
                  </a:lnTo>
                  <a:lnTo>
                    <a:pt x="1561559" y="1206056"/>
                  </a:lnTo>
                  <a:lnTo>
                    <a:pt x="1558889" y="1206443"/>
                  </a:lnTo>
                  <a:lnTo>
                    <a:pt x="1557782" y="1206720"/>
                  </a:lnTo>
                  <a:lnTo>
                    <a:pt x="1556705" y="1207427"/>
                  </a:lnTo>
                  <a:lnTo>
                    <a:pt x="1556094" y="1209880"/>
                  </a:lnTo>
                  <a:lnTo>
                    <a:pt x="1553898" y="1210769"/>
                  </a:lnTo>
                  <a:lnTo>
                    <a:pt x="1550939" y="1210925"/>
                  </a:lnTo>
                  <a:lnTo>
                    <a:pt x="1548719" y="1212225"/>
                  </a:lnTo>
                  <a:lnTo>
                    <a:pt x="1548508" y="1214523"/>
                  </a:lnTo>
                  <a:lnTo>
                    <a:pt x="1549288" y="1216619"/>
                  </a:lnTo>
                  <a:lnTo>
                    <a:pt x="1548947" y="1217569"/>
                  </a:lnTo>
                  <a:lnTo>
                    <a:pt x="1547290" y="1218080"/>
                  </a:lnTo>
                  <a:lnTo>
                    <a:pt x="1544986" y="1219206"/>
                  </a:lnTo>
                  <a:lnTo>
                    <a:pt x="1543231" y="1220615"/>
                  </a:lnTo>
                  <a:lnTo>
                    <a:pt x="1541099" y="1220627"/>
                  </a:lnTo>
                  <a:lnTo>
                    <a:pt x="1539877" y="1220169"/>
                  </a:lnTo>
                  <a:lnTo>
                    <a:pt x="1538970" y="1221070"/>
                  </a:lnTo>
                  <a:lnTo>
                    <a:pt x="1538463" y="1222893"/>
                  </a:lnTo>
                  <a:lnTo>
                    <a:pt x="1536904" y="1223779"/>
                  </a:lnTo>
                  <a:lnTo>
                    <a:pt x="1534668" y="1224599"/>
                  </a:lnTo>
                  <a:lnTo>
                    <a:pt x="1533833" y="1224285"/>
                  </a:lnTo>
                  <a:lnTo>
                    <a:pt x="1533276" y="1223598"/>
                  </a:lnTo>
                  <a:lnTo>
                    <a:pt x="1532276" y="1222678"/>
                  </a:lnTo>
                  <a:lnTo>
                    <a:pt x="1531472" y="1223025"/>
                  </a:lnTo>
                  <a:lnTo>
                    <a:pt x="1531395" y="1224347"/>
                  </a:lnTo>
                  <a:lnTo>
                    <a:pt x="1530760" y="1225297"/>
                  </a:lnTo>
                  <a:lnTo>
                    <a:pt x="1528907" y="1225360"/>
                  </a:lnTo>
                  <a:lnTo>
                    <a:pt x="1527467" y="1224835"/>
                  </a:lnTo>
                  <a:lnTo>
                    <a:pt x="1526372" y="1224216"/>
                  </a:lnTo>
                  <a:lnTo>
                    <a:pt x="1524407" y="1224318"/>
                  </a:lnTo>
                  <a:lnTo>
                    <a:pt x="1522375" y="1224601"/>
                  </a:lnTo>
                  <a:lnTo>
                    <a:pt x="1521069" y="1224310"/>
                  </a:lnTo>
                  <a:lnTo>
                    <a:pt x="1519840" y="1224605"/>
                  </a:lnTo>
                  <a:lnTo>
                    <a:pt x="1516629" y="1225204"/>
                  </a:lnTo>
                  <a:lnTo>
                    <a:pt x="1515368" y="1227217"/>
                  </a:lnTo>
                  <a:lnTo>
                    <a:pt x="1515340" y="1229596"/>
                  </a:lnTo>
                  <a:lnTo>
                    <a:pt x="1514930" y="1230802"/>
                  </a:lnTo>
                  <a:lnTo>
                    <a:pt x="1513001" y="1231847"/>
                  </a:lnTo>
                  <a:lnTo>
                    <a:pt x="1512107" y="1232787"/>
                  </a:lnTo>
                  <a:lnTo>
                    <a:pt x="1510928" y="1233426"/>
                  </a:lnTo>
                  <a:lnTo>
                    <a:pt x="1508352" y="1233496"/>
                  </a:lnTo>
                  <a:lnTo>
                    <a:pt x="1508263" y="1233490"/>
                  </a:lnTo>
                  <a:lnTo>
                    <a:pt x="1507119" y="1233390"/>
                  </a:lnTo>
                  <a:lnTo>
                    <a:pt x="1505038" y="1233922"/>
                  </a:lnTo>
                  <a:lnTo>
                    <a:pt x="1503008" y="1234346"/>
                  </a:lnTo>
                  <a:lnTo>
                    <a:pt x="1501665" y="1234630"/>
                  </a:lnTo>
                  <a:lnTo>
                    <a:pt x="1500788" y="1235515"/>
                  </a:lnTo>
                  <a:lnTo>
                    <a:pt x="1499473" y="1235939"/>
                  </a:lnTo>
                  <a:lnTo>
                    <a:pt x="1497398" y="1235677"/>
                  </a:lnTo>
                  <a:lnTo>
                    <a:pt x="1496823" y="1233909"/>
                  </a:lnTo>
                  <a:lnTo>
                    <a:pt x="1495426" y="1231950"/>
                  </a:lnTo>
                  <a:lnTo>
                    <a:pt x="1493532" y="1231274"/>
                  </a:lnTo>
                  <a:lnTo>
                    <a:pt x="1491820" y="1230851"/>
                  </a:lnTo>
                  <a:lnTo>
                    <a:pt x="1490280" y="1229914"/>
                  </a:lnTo>
                  <a:lnTo>
                    <a:pt x="1489218" y="1228919"/>
                  </a:lnTo>
                  <a:lnTo>
                    <a:pt x="1486104" y="1224165"/>
                  </a:lnTo>
                  <a:lnTo>
                    <a:pt x="1483942" y="1222136"/>
                  </a:lnTo>
                  <a:lnTo>
                    <a:pt x="1481999" y="1222018"/>
                  </a:lnTo>
                  <a:lnTo>
                    <a:pt x="1481729" y="1220667"/>
                  </a:lnTo>
                  <a:lnTo>
                    <a:pt x="1482858" y="1219317"/>
                  </a:lnTo>
                  <a:lnTo>
                    <a:pt x="1484303" y="1218200"/>
                  </a:lnTo>
                  <a:lnTo>
                    <a:pt x="1484260" y="1216671"/>
                  </a:lnTo>
                  <a:lnTo>
                    <a:pt x="1483083" y="1215848"/>
                  </a:lnTo>
                  <a:lnTo>
                    <a:pt x="1481638" y="1216082"/>
                  </a:lnTo>
                  <a:lnTo>
                    <a:pt x="1479695" y="1217849"/>
                  </a:lnTo>
                  <a:lnTo>
                    <a:pt x="1477389" y="1219841"/>
                  </a:lnTo>
                  <a:lnTo>
                    <a:pt x="1474612" y="1221306"/>
                  </a:lnTo>
                  <a:lnTo>
                    <a:pt x="1473502" y="1222488"/>
                  </a:lnTo>
                  <a:lnTo>
                    <a:pt x="1472146" y="1223838"/>
                  </a:lnTo>
                  <a:lnTo>
                    <a:pt x="1470202" y="1223661"/>
                  </a:lnTo>
                  <a:lnTo>
                    <a:pt x="1468801" y="1223720"/>
                  </a:lnTo>
                  <a:lnTo>
                    <a:pt x="1467581" y="1223838"/>
                  </a:lnTo>
                  <a:lnTo>
                    <a:pt x="1466678" y="1222370"/>
                  </a:lnTo>
                  <a:lnTo>
                    <a:pt x="1465504" y="1222195"/>
                  </a:lnTo>
                  <a:lnTo>
                    <a:pt x="1457056" y="1220792"/>
                  </a:lnTo>
                  <a:lnTo>
                    <a:pt x="1454251" y="1220259"/>
                  </a:lnTo>
                  <a:lnTo>
                    <a:pt x="1452489" y="1220962"/>
                  </a:lnTo>
                  <a:lnTo>
                    <a:pt x="1451178" y="1220492"/>
                  </a:lnTo>
                  <a:lnTo>
                    <a:pt x="1450682" y="1219083"/>
                  </a:lnTo>
                  <a:lnTo>
                    <a:pt x="1449053" y="1216612"/>
                  </a:lnTo>
                  <a:lnTo>
                    <a:pt x="1447725" y="1214570"/>
                  </a:lnTo>
                  <a:lnTo>
                    <a:pt x="1446052" y="1212481"/>
                  </a:lnTo>
                  <a:lnTo>
                    <a:pt x="1445486" y="1210839"/>
                  </a:lnTo>
                  <a:lnTo>
                    <a:pt x="1446028" y="1209130"/>
                  </a:lnTo>
                  <a:lnTo>
                    <a:pt x="1445801" y="1207654"/>
                  </a:lnTo>
                  <a:lnTo>
                    <a:pt x="1444355" y="1206886"/>
                  </a:lnTo>
                  <a:lnTo>
                    <a:pt x="1442474" y="1206790"/>
                  </a:lnTo>
                  <a:lnTo>
                    <a:pt x="1437351" y="1203578"/>
                  </a:lnTo>
                  <a:lnTo>
                    <a:pt x="1434957" y="1203105"/>
                  </a:lnTo>
                  <a:lnTo>
                    <a:pt x="1432789" y="1202514"/>
                  </a:lnTo>
                  <a:lnTo>
                    <a:pt x="1431070" y="1202514"/>
                  </a:lnTo>
                  <a:lnTo>
                    <a:pt x="1429623" y="1201093"/>
                  </a:lnTo>
                  <a:lnTo>
                    <a:pt x="1428224" y="1196767"/>
                  </a:lnTo>
                  <a:lnTo>
                    <a:pt x="1427814" y="1194355"/>
                  </a:lnTo>
                  <a:lnTo>
                    <a:pt x="1426118" y="1191909"/>
                  </a:lnTo>
                  <a:lnTo>
                    <a:pt x="1423974" y="1189811"/>
                  </a:lnTo>
                  <a:lnTo>
                    <a:pt x="1422709" y="1186964"/>
                  </a:lnTo>
                  <a:lnTo>
                    <a:pt x="1420821" y="1185701"/>
                  </a:lnTo>
                  <a:lnTo>
                    <a:pt x="1417682" y="1183685"/>
                  </a:lnTo>
                  <a:lnTo>
                    <a:pt x="1414667" y="1182267"/>
                  </a:lnTo>
                  <a:lnTo>
                    <a:pt x="1409711" y="1180549"/>
                  </a:lnTo>
                  <a:lnTo>
                    <a:pt x="1407863" y="1180549"/>
                  </a:lnTo>
                  <a:lnTo>
                    <a:pt x="1405354" y="1180706"/>
                  </a:lnTo>
                  <a:lnTo>
                    <a:pt x="1403862" y="1181541"/>
                  </a:lnTo>
                  <a:lnTo>
                    <a:pt x="1402236" y="1183390"/>
                  </a:lnTo>
                  <a:lnTo>
                    <a:pt x="1400020" y="1183511"/>
                  </a:lnTo>
                  <a:lnTo>
                    <a:pt x="1396522" y="1183504"/>
                  </a:lnTo>
                  <a:lnTo>
                    <a:pt x="1395587" y="1184200"/>
                  </a:lnTo>
                  <a:lnTo>
                    <a:pt x="1395021" y="1185459"/>
                  </a:lnTo>
                  <a:lnTo>
                    <a:pt x="1393224" y="1187056"/>
                  </a:lnTo>
                  <a:lnTo>
                    <a:pt x="1390620" y="1188335"/>
                  </a:lnTo>
                  <a:lnTo>
                    <a:pt x="1386915" y="1187918"/>
                  </a:lnTo>
                  <a:lnTo>
                    <a:pt x="1384384" y="1188572"/>
                  </a:lnTo>
                  <a:lnTo>
                    <a:pt x="1381866" y="1188822"/>
                  </a:lnTo>
                  <a:lnTo>
                    <a:pt x="1378232" y="1187206"/>
                  </a:lnTo>
                  <a:lnTo>
                    <a:pt x="1374215" y="1187263"/>
                  </a:lnTo>
                  <a:lnTo>
                    <a:pt x="1371602" y="1187999"/>
                  </a:lnTo>
                  <a:lnTo>
                    <a:pt x="1367888" y="1187978"/>
                  </a:lnTo>
                  <a:lnTo>
                    <a:pt x="1367126" y="1187067"/>
                  </a:lnTo>
                  <a:lnTo>
                    <a:pt x="1367571" y="1185535"/>
                  </a:lnTo>
                  <a:lnTo>
                    <a:pt x="1367264" y="1184154"/>
                  </a:lnTo>
                  <a:lnTo>
                    <a:pt x="1366655" y="1183025"/>
                  </a:lnTo>
                  <a:lnTo>
                    <a:pt x="1366172" y="1181661"/>
                  </a:lnTo>
                  <a:lnTo>
                    <a:pt x="1364643" y="1181372"/>
                  </a:lnTo>
                  <a:lnTo>
                    <a:pt x="1360341" y="1181959"/>
                  </a:lnTo>
                  <a:lnTo>
                    <a:pt x="1359167" y="1181303"/>
                  </a:lnTo>
                  <a:lnTo>
                    <a:pt x="1359300" y="1179954"/>
                  </a:lnTo>
                  <a:lnTo>
                    <a:pt x="1360071" y="1178276"/>
                  </a:lnTo>
                  <a:lnTo>
                    <a:pt x="1360704" y="1176105"/>
                  </a:lnTo>
                  <a:lnTo>
                    <a:pt x="1360400" y="1174803"/>
                  </a:lnTo>
                  <a:lnTo>
                    <a:pt x="1358178" y="1174960"/>
                  </a:lnTo>
                  <a:lnTo>
                    <a:pt x="1356826" y="1174840"/>
                  </a:lnTo>
                  <a:lnTo>
                    <a:pt x="1356129" y="1173289"/>
                  </a:lnTo>
                  <a:lnTo>
                    <a:pt x="1354874" y="1172156"/>
                  </a:lnTo>
                  <a:lnTo>
                    <a:pt x="1353453" y="1172095"/>
                  </a:lnTo>
                  <a:lnTo>
                    <a:pt x="1351732" y="1171805"/>
                  </a:lnTo>
                  <a:lnTo>
                    <a:pt x="1349858" y="1172276"/>
                  </a:lnTo>
                  <a:lnTo>
                    <a:pt x="1348862" y="1173832"/>
                  </a:lnTo>
                  <a:lnTo>
                    <a:pt x="1347651" y="1174055"/>
                  </a:lnTo>
                  <a:lnTo>
                    <a:pt x="1346331" y="1174490"/>
                  </a:lnTo>
                  <a:lnTo>
                    <a:pt x="1345381" y="1175029"/>
                  </a:lnTo>
                  <a:lnTo>
                    <a:pt x="1344794" y="1176404"/>
                  </a:lnTo>
                  <a:lnTo>
                    <a:pt x="1345061" y="1177683"/>
                  </a:lnTo>
                  <a:lnTo>
                    <a:pt x="1345474" y="1180460"/>
                  </a:lnTo>
                  <a:lnTo>
                    <a:pt x="1344841" y="1181959"/>
                  </a:lnTo>
                  <a:lnTo>
                    <a:pt x="1343107" y="1182753"/>
                  </a:lnTo>
                  <a:lnTo>
                    <a:pt x="1341453" y="1182592"/>
                  </a:lnTo>
                  <a:lnTo>
                    <a:pt x="1340343" y="1182967"/>
                  </a:lnTo>
                  <a:lnTo>
                    <a:pt x="1338287" y="1184525"/>
                  </a:lnTo>
                  <a:lnTo>
                    <a:pt x="1337383" y="1185060"/>
                  </a:lnTo>
                  <a:lnTo>
                    <a:pt x="1337067" y="1186014"/>
                  </a:lnTo>
                  <a:lnTo>
                    <a:pt x="1336931" y="1187443"/>
                  </a:lnTo>
                  <a:lnTo>
                    <a:pt x="1335169" y="1186967"/>
                  </a:lnTo>
                  <a:lnTo>
                    <a:pt x="1332371" y="1181691"/>
                  </a:lnTo>
                  <a:lnTo>
                    <a:pt x="1329203" y="1175712"/>
                  </a:lnTo>
                  <a:lnTo>
                    <a:pt x="1325618" y="1169324"/>
                  </a:lnTo>
                  <a:lnTo>
                    <a:pt x="1323729" y="1165943"/>
                  </a:lnTo>
                  <a:lnTo>
                    <a:pt x="1316650" y="1154898"/>
                  </a:lnTo>
                  <a:lnTo>
                    <a:pt x="1313187" y="1149599"/>
                  </a:lnTo>
                  <a:lnTo>
                    <a:pt x="1307203" y="1140421"/>
                  </a:lnTo>
                  <a:lnTo>
                    <a:pt x="1301764" y="1132048"/>
                  </a:lnTo>
                  <a:lnTo>
                    <a:pt x="1295629" y="1123351"/>
                  </a:lnTo>
                  <a:lnTo>
                    <a:pt x="1291990" y="1118401"/>
                  </a:lnTo>
                  <a:lnTo>
                    <a:pt x="1288153" y="1113172"/>
                  </a:lnTo>
                  <a:lnTo>
                    <a:pt x="1286814" y="1111722"/>
                  </a:lnTo>
                  <a:lnTo>
                    <a:pt x="1284713" y="1109866"/>
                  </a:lnTo>
                  <a:lnTo>
                    <a:pt x="1279513" y="1106263"/>
                  </a:lnTo>
                  <a:lnTo>
                    <a:pt x="1272066" y="1101094"/>
                  </a:lnTo>
                  <a:lnTo>
                    <a:pt x="1265173" y="1096482"/>
                  </a:lnTo>
                  <a:lnTo>
                    <a:pt x="1259755" y="1092852"/>
                  </a:lnTo>
                  <a:lnTo>
                    <a:pt x="1258371" y="1091315"/>
                  </a:lnTo>
                  <a:lnTo>
                    <a:pt x="1257745" y="1090425"/>
                  </a:lnTo>
                  <a:lnTo>
                    <a:pt x="1257166" y="1089432"/>
                  </a:lnTo>
                  <a:lnTo>
                    <a:pt x="1256358" y="1087663"/>
                  </a:lnTo>
                  <a:lnTo>
                    <a:pt x="1256350" y="1086509"/>
                  </a:lnTo>
                  <a:lnTo>
                    <a:pt x="1261500" y="1086699"/>
                  </a:lnTo>
                  <a:lnTo>
                    <a:pt x="1262571" y="1085567"/>
                  </a:lnTo>
                  <a:lnTo>
                    <a:pt x="1264471" y="1081325"/>
                  </a:lnTo>
                  <a:lnTo>
                    <a:pt x="1265540" y="1077651"/>
                  </a:lnTo>
                  <a:lnTo>
                    <a:pt x="1263817" y="1077819"/>
                  </a:lnTo>
                  <a:lnTo>
                    <a:pt x="1260636" y="1079337"/>
                  </a:lnTo>
                  <a:lnTo>
                    <a:pt x="1258947" y="1080435"/>
                  </a:lnTo>
                  <a:lnTo>
                    <a:pt x="1258003" y="1080904"/>
                  </a:lnTo>
                  <a:lnTo>
                    <a:pt x="1252920" y="1081627"/>
                  </a:lnTo>
                  <a:lnTo>
                    <a:pt x="1250133" y="1083253"/>
                  </a:lnTo>
                  <a:lnTo>
                    <a:pt x="1244386" y="1086008"/>
                  </a:lnTo>
                  <a:lnTo>
                    <a:pt x="1240234" y="1087624"/>
                  </a:lnTo>
                  <a:lnTo>
                    <a:pt x="1239437" y="1087891"/>
                  </a:lnTo>
                  <a:lnTo>
                    <a:pt x="1234581" y="1088388"/>
                  </a:lnTo>
                  <a:lnTo>
                    <a:pt x="1233717" y="1089030"/>
                  </a:lnTo>
                  <a:lnTo>
                    <a:pt x="1233589" y="1090450"/>
                  </a:lnTo>
                  <a:lnTo>
                    <a:pt x="1233251" y="1092016"/>
                  </a:lnTo>
                  <a:lnTo>
                    <a:pt x="1229783" y="1094328"/>
                  </a:lnTo>
                  <a:lnTo>
                    <a:pt x="1226066" y="1096360"/>
                  </a:lnTo>
                  <a:lnTo>
                    <a:pt x="1224669" y="1096586"/>
                  </a:lnTo>
                  <a:lnTo>
                    <a:pt x="1222411" y="1096138"/>
                  </a:lnTo>
                  <a:lnTo>
                    <a:pt x="1221247" y="1096391"/>
                  </a:lnTo>
                  <a:lnTo>
                    <a:pt x="1217870" y="1098547"/>
                  </a:lnTo>
                  <a:lnTo>
                    <a:pt x="1212795" y="1101784"/>
                  </a:lnTo>
                  <a:lnTo>
                    <a:pt x="1212319" y="1103099"/>
                  </a:lnTo>
                  <a:lnTo>
                    <a:pt x="1212294" y="1104697"/>
                  </a:lnTo>
                  <a:lnTo>
                    <a:pt x="1211706" y="1106093"/>
                  </a:lnTo>
                  <a:lnTo>
                    <a:pt x="1210575" y="1106599"/>
                  </a:lnTo>
                  <a:lnTo>
                    <a:pt x="1208934" y="1105390"/>
                  </a:lnTo>
                  <a:lnTo>
                    <a:pt x="1207444" y="1103921"/>
                  </a:lnTo>
                  <a:lnTo>
                    <a:pt x="1204319" y="1102866"/>
                  </a:lnTo>
                  <a:lnTo>
                    <a:pt x="1199683" y="1102615"/>
                  </a:lnTo>
                  <a:lnTo>
                    <a:pt x="1196856" y="1103127"/>
                  </a:lnTo>
                  <a:lnTo>
                    <a:pt x="1194907" y="1103927"/>
                  </a:lnTo>
                  <a:lnTo>
                    <a:pt x="1191080" y="1107164"/>
                  </a:lnTo>
                  <a:lnTo>
                    <a:pt x="1189688" y="1107806"/>
                  </a:lnTo>
                  <a:lnTo>
                    <a:pt x="1188912" y="1107600"/>
                  </a:lnTo>
                  <a:lnTo>
                    <a:pt x="1188692" y="1106039"/>
                  </a:lnTo>
                  <a:lnTo>
                    <a:pt x="1187917" y="1104925"/>
                  </a:lnTo>
                  <a:lnTo>
                    <a:pt x="1187007" y="1103260"/>
                  </a:lnTo>
                  <a:lnTo>
                    <a:pt x="1187448" y="1099973"/>
                  </a:lnTo>
                  <a:lnTo>
                    <a:pt x="1189521" y="1096821"/>
                  </a:lnTo>
                  <a:lnTo>
                    <a:pt x="1192944" y="1095100"/>
                  </a:lnTo>
                  <a:lnTo>
                    <a:pt x="1195701" y="1093248"/>
                  </a:lnTo>
                  <a:lnTo>
                    <a:pt x="1196511" y="1091224"/>
                  </a:lnTo>
                  <a:lnTo>
                    <a:pt x="1196442" y="1089823"/>
                  </a:lnTo>
                  <a:lnTo>
                    <a:pt x="1195425" y="1089183"/>
                  </a:lnTo>
                  <a:lnTo>
                    <a:pt x="1194353" y="1089064"/>
                  </a:lnTo>
                  <a:lnTo>
                    <a:pt x="1193734" y="1089745"/>
                  </a:lnTo>
                  <a:lnTo>
                    <a:pt x="1191870" y="1091130"/>
                  </a:lnTo>
                  <a:lnTo>
                    <a:pt x="1189107" y="1092236"/>
                  </a:lnTo>
                  <a:lnTo>
                    <a:pt x="1186804" y="1092455"/>
                  </a:lnTo>
                  <a:lnTo>
                    <a:pt x="1185772" y="1092388"/>
                  </a:lnTo>
                  <a:lnTo>
                    <a:pt x="1183328" y="1091693"/>
                  </a:lnTo>
                  <a:lnTo>
                    <a:pt x="1178789" y="1087851"/>
                  </a:lnTo>
                  <a:lnTo>
                    <a:pt x="1174962" y="1087329"/>
                  </a:lnTo>
                  <a:lnTo>
                    <a:pt x="1172337" y="1087031"/>
                  </a:lnTo>
                  <a:lnTo>
                    <a:pt x="1171462" y="1087418"/>
                  </a:lnTo>
                  <a:lnTo>
                    <a:pt x="1171054" y="1088364"/>
                  </a:lnTo>
                  <a:lnTo>
                    <a:pt x="1171304" y="1089395"/>
                  </a:lnTo>
                  <a:lnTo>
                    <a:pt x="1171827" y="1090410"/>
                  </a:lnTo>
                  <a:lnTo>
                    <a:pt x="1171533" y="1091232"/>
                  </a:lnTo>
                  <a:lnTo>
                    <a:pt x="1170302" y="1091844"/>
                  </a:lnTo>
                  <a:lnTo>
                    <a:pt x="1168456" y="1092872"/>
                  </a:lnTo>
                  <a:lnTo>
                    <a:pt x="1167517" y="1092187"/>
                  </a:lnTo>
                  <a:lnTo>
                    <a:pt x="1167046" y="1089481"/>
                  </a:lnTo>
                  <a:lnTo>
                    <a:pt x="1167141" y="1087374"/>
                  </a:lnTo>
                  <a:lnTo>
                    <a:pt x="1165863" y="1085599"/>
                  </a:lnTo>
                  <a:lnTo>
                    <a:pt x="1164528" y="1082840"/>
                  </a:lnTo>
                  <a:lnTo>
                    <a:pt x="1162691" y="1081210"/>
                  </a:lnTo>
                  <a:lnTo>
                    <a:pt x="1160907" y="1081734"/>
                  </a:lnTo>
                  <a:lnTo>
                    <a:pt x="1160028" y="1084072"/>
                  </a:lnTo>
                  <a:lnTo>
                    <a:pt x="1158676" y="1084862"/>
                  </a:lnTo>
                  <a:lnTo>
                    <a:pt x="1156087" y="1084381"/>
                  </a:lnTo>
                  <a:lnTo>
                    <a:pt x="1151438" y="1085703"/>
                  </a:lnTo>
                  <a:lnTo>
                    <a:pt x="1143904" y="1086301"/>
                  </a:lnTo>
                  <a:lnTo>
                    <a:pt x="1138525" y="1084663"/>
                  </a:lnTo>
                  <a:lnTo>
                    <a:pt x="1137631" y="1083194"/>
                  </a:lnTo>
                  <a:lnTo>
                    <a:pt x="1139829" y="1080040"/>
                  </a:lnTo>
                  <a:lnTo>
                    <a:pt x="1139998" y="1077253"/>
                  </a:lnTo>
                  <a:lnTo>
                    <a:pt x="1139985" y="1074713"/>
                  </a:lnTo>
                  <a:lnTo>
                    <a:pt x="1140568" y="1072858"/>
                  </a:lnTo>
                  <a:lnTo>
                    <a:pt x="1139257" y="1069317"/>
                  </a:lnTo>
                  <a:lnTo>
                    <a:pt x="1136283" y="1062096"/>
                  </a:lnTo>
                  <a:lnTo>
                    <a:pt x="1134478" y="1056637"/>
                  </a:lnTo>
                  <a:lnTo>
                    <a:pt x="1131829" y="1052533"/>
                  </a:lnTo>
                  <a:lnTo>
                    <a:pt x="1130673" y="1051174"/>
                  </a:lnTo>
                  <a:lnTo>
                    <a:pt x="1125107" y="1051877"/>
                  </a:lnTo>
                  <a:lnTo>
                    <a:pt x="1123578" y="1052778"/>
                  </a:lnTo>
                  <a:lnTo>
                    <a:pt x="1122567" y="1054040"/>
                  </a:lnTo>
                  <a:lnTo>
                    <a:pt x="1120839" y="1054923"/>
                  </a:lnTo>
                  <a:lnTo>
                    <a:pt x="1118386" y="1055575"/>
                  </a:lnTo>
                  <a:lnTo>
                    <a:pt x="1116285" y="1055134"/>
                  </a:lnTo>
                  <a:lnTo>
                    <a:pt x="1113949" y="1054447"/>
                  </a:lnTo>
                  <a:lnTo>
                    <a:pt x="1111483" y="1053010"/>
                  </a:lnTo>
                  <a:lnTo>
                    <a:pt x="1108609" y="1051106"/>
                  </a:lnTo>
                  <a:lnTo>
                    <a:pt x="1103148" y="1049577"/>
                  </a:lnTo>
                  <a:lnTo>
                    <a:pt x="1097702" y="1049095"/>
                  </a:lnTo>
                  <a:lnTo>
                    <a:pt x="1091738" y="1048566"/>
                  </a:lnTo>
                  <a:lnTo>
                    <a:pt x="1088768" y="1049532"/>
                  </a:lnTo>
                  <a:lnTo>
                    <a:pt x="1085892" y="1051071"/>
                  </a:lnTo>
                  <a:lnTo>
                    <a:pt x="1081733" y="1054269"/>
                  </a:lnTo>
                  <a:lnTo>
                    <a:pt x="1079824" y="1054589"/>
                  </a:lnTo>
                  <a:lnTo>
                    <a:pt x="1076805" y="1054833"/>
                  </a:lnTo>
                  <a:lnTo>
                    <a:pt x="1074689" y="1055621"/>
                  </a:lnTo>
                  <a:lnTo>
                    <a:pt x="1075110" y="1057029"/>
                  </a:lnTo>
                  <a:lnTo>
                    <a:pt x="1075525" y="1058962"/>
                  </a:lnTo>
                  <a:lnTo>
                    <a:pt x="1074758" y="1060481"/>
                  </a:lnTo>
                  <a:lnTo>
                    <a:pt x="1073575" y="1061290"/>
                  </a:lnTo>
                  <a:lnTo>
                    <a:pt x="1071761" y="1061816"/>
                  </a:lnTo>
                  <a:lnTo>
                    <a:pt x="1068800" y="1061996"/>
                  </a:lnTo>
                  <a:lnTo>
                    <a:pt x="1066367" y="1062308"/>
                  </a:lnTo>
                  <a:lnTo>
                    <a:pt x="1063348" y="1064493"/>
                  </a:lnTo>
                  <a:lnTo>
                    <a:pt x="1058733" y="1065043"/>
                  </a:lnTo>
                  <a:lnTo>
                    <a:pt x="1053706" y="1065830"/>
                  </a:lnTo>
                  <a:lnTo>
                    <a:pt x="1050191" y="1067076"/>
                  </a:lnTo>
                  <a:lnTo>
                    <a:pt x="1042588" y="1068617"/>
                  </a:lnTo>
                  <a:lnTo>
                    <a:pt x="1038185" y="1069305"/>
                  </a:lnTo>
                  <a:lnTo>
                    <a:pt x="1030828" y="1070776"/>
                  </a:lnTo>
                  <a:lnTo>
                    <a:pt x="1024902" y="1071016"/>
                  </a:lnTo>
                  <a:lnTo>
                    <a:pt x="1024008" y="1069982"/>
                  </a:lnTo>
                  <a:lnTo>
                    <a:pt x="1019443" y="1072265"/>
                  </a:lnTo>
                  <a:lnTo>
                    <a:pt x="1014339" y="1072125"/>
                  </a:lnTo>
                  <a:lnTo>
                    <a:pt x="1013397" y="1073041"/>
                  </a:lnTo>
                  <a:lnTo>
                    <a:pt x="1012153" y="1073923"/>
                  </a:lnTo>
                  <a:lnTo>
                    <a:pt x="1010778" y="1074317"/>
                  </a:lnTo>
                  <a:lnTo>
                    <a:pt x="1009042" y="1075402"/>
                  </a:lnTo>
                  <a:lnTo>
                    <a:pt x="1008042" y="1077690"/>
                  </a:lnTo>
                  <a:lnTo>
                    <a:pt x="1007282" y="1080029"/>
                  </a:lnTo>
                  <a:lnTo>
                    <a:pt x="1005746" y="1080767"/>
                  </a:lnTo>
                  <a:lnTo>
                    <a:pt x="1003691" y="1079896"/>
                  </a:lnTo>
                  <a:lnTo>
                    <a:pt x="1002173" y="1079047"/>
                  </a:lnTo>
                  <a:lnTo>
                    <a:pt x="999575" y="1079903"/>
                  </a:lnTo>
                  <a:lnTo>
                    <a:pt x="996051" y="1080400"/>
                  </a:lnTo>
                  <a:lnTo>
                    <a:pt x="993291" y="1080097"/>
                  </a:lnTo>
                  <a:lnTo>
                    <a:pt x="991879" y="1079426"/>
                  </a:lnTo>
                  <a:lnTo>
                    <a:pt x="986089" y="1080547"/>
                  </a:lnTo>
                  <a:lnTo>
                    <a:pt x="983071" y="1081902"/>
                  </a:lnTo>
                  <a:lnTo>
                    <a:pt x="982507" y="1082608"/>
                  </a:lnTo>
                  <a:lnTo>
                    <a:pt x="981766" y="1082993"/>
                  </a:lnTo>
                  <a:lnTo>
                    <a:pt x="978298" y="1083925"/>
                  </a:lnTo>
                  <a:lnTo>
                    <a:pt x="975515" y="1083665"/>
                  </a:lnTo>
                  <a:lnTo>
                    <a:pt x="975077" y="1083720"/>
                  </a:lnTo>
                  <a:lnTo>
                    <a:pt x="972438" y="1084368"/>
                  </a:lnTo>
                  <a:lnTo>
                    <a:pt x="968715" y="1085545"/>
                  </a:lnTo>
                  <a:lnTo>
                    <a:pt x="966040" y="1085933"/>
                  </a:lnTo>
                  <a:lnTo>
                    <a:pt x="963798" y="1085915"/>
                  </a:lnTo>
                  <a:lnTo>
                    <a:pt x="962366" y="1086881"/>
                  </a:lnTo>
                  <a:lnTo>
                    <a:pt x="961203" y="1087915"/>
                  </a:lnTo>
                  <a:lnTo>
                    <a:pt x="951447" y="1089007"/>
                  </a:lnTo>
                  <a:lnTo>
                    <a:pt x="950464" y="1089761"/>
                  </a:lnTo>
                  <a:lnTo>
                    <a:pt x="948490" y="1090709"/>
                  </a:lnTo>
                  <a:lnTo>
                    <a:pt x="938345" y="1091029"/>
                  </a:lnTo>
                  <a:lnTo>
                    <a:pt x="937508" y="1091718"/>
                  </a:lnTo>
                  <a:lnTo>
                    <a:pt x="937139" y="1092492"/>
                  </a:lnTo>
                  <a:lnTo>
                    <a:pt x="935879" y="1092732"/>
                  </a:lnTo>
                  <a:lnTo>
                    <a:pt x="928570" y="1091263"/>
                  </a:lnTo>
                  <a:lnTo>
                    <a:pt x="922722" y="1089614"/>
                  </a:lnTo>
                  <a:lnTo>
                    <a:pt x="920453" y="1090518"/>
                  </a:lnTo>
                  <a:lnTo>
                    <a:pt x="918522" y="1092206"/>
                  </a:lnTo>
                  <a:lnTo>
                    <a:pt x="917846" y="1094672"/>
                  </a:lnTo>
                  <a:lnTo>
                    <a:pt x="917846" y="1096775"/>
                  </a:lnTo>
                  <a:lnTo>
                    <a:pt x="917846" y="1098575"/>
                  </a:lnTo>
                  <a:lnTo>
                    <a:pt x="916970" y="1099876"/>
                  </a:lnTo>
                  <a:lnTo>
                    <a:pt x="915024" y="1101478"/>
                  </a:lnTo>
                  <a:lnTo>
                    <a:pt x="914890" y="1102555"/>
                  </a:lnTo>
                  <a:lnTo>
                    <a:pt x="917523" y="1103721"/>
                  </a:lnTo>
                  <a:lnTo>
                    <a:pt x="920826" y="1104690"/>
                  </a:lnTo>
                  <a:lnTo>
                    <a:pt x="922776" y="1104261"/>
                  </a:lnTo>
                  <a:lnTo>
                    <a:pt x="924409" y="1103601"/>
                  </a:lnTo>
                  <a:lnTo>
                    <a:pt x="925828" y="1103806"/>
                  </a:lnTo>
                  <a:lnTo>
                    <a:pt x="926823" y="1104584"/>
                  </a:lnTo>
                  <a:lnTo>
                    <a:pt x="927173" y="1105524"/>
                  </a:lnTo>
                  <a:lnTo>
                    <a:pt x="926987" y="1106179"/>
                  </a:lnTo>
                  <a:lnTo>
                    <a:pt x="926368" y="1106688"/>
                  </a:lnTo>
                  <a:lnTo>
                    <a:pt x="924210" y="1107558"/>
                  </a:lnTo>
                  <a:lnTo>
                    <a:pt x="922234" y="1107259"/>
                  </a:lnTo>
                  <a:lnTo>
                    <a:pt x="920405" y="1107856"/>
                  </a:lnTo>
                  <a:lnTo>
                    <a:pt x="919455" y="1109052"/>
                  </a:lnTo>
                  <a:lnTo>
                    <a:pt x="918944" y="1111141"/>
                  </a:lnTo>
                  <a:lnTo>
                    <a:pt x="919749" y="1112632"/>
                  </a:lnTo>
                  <a:lnTo>
                    <a:pt x="922219" y="1112991"/>
                  </a:lnTo>
                  <a:lnTo>
                    <a:pt x="925002" y="1114067"/>
                  </a:lnTo>
                  <a:lnTo>
                    <a:pt x="928084" y="1114576"/>
                  </a:lnTo>
                  <a:lnTo>
                    <a:pt x="929935" y="1114395"/>
                  </a:lnTo>
                  <a:lnTo>
                    <a:pt x="932286" y="1116032"/>
                  </a:lnTo>
                  <a:lnTo>
                    <a:pt x="937780" y="1118014"/>
                  </a:lnTo>
                  <a:lnTo>
                    <a:pt x="939248" y="1119526"/>
                  </a:lnTo>
                  <a:lnTo>
                    <a:pt x="939285" y="1121084"/>
                  </a:lnTo>
                  <a:lnTo>
                    <a:pt x="938276" y="1122261"/>
                  </a:lnTo>
                  <a:lnTo>
                    <a:pt x="936886" y="1122930"/>
                  </a:lnTo>
                  <a:lnTo>
                    <a:pt x="934992" y="1122566"/>
                  </a:lnTo>
                  <a:lnTo>
                    <a:pt x="931250" y="1122163"/>
                  </a:lnTo>
                  <a:lnTo>
                    <a:pt x="927143" y="1121890"/>
                  </a:lnTo>
                  <a:lnTo>
                    <a:pt x="924206" y="1121366"/>
                  </a:lnTo>
                  <a:lnTo>
                    <a:pt x="919919" y="1121574"/>
                  </a:lnTo>
                  <a:lnTo>
                    <a:pt x="916393" y="1122071"/>
                  </a:lnTo>
                  <a:lnTo>
                    <a:pt x="915488" y="1123241"/>
                  </a:lnTo>
                  <a:lnTo>
                    <a:pt x="914121" y="1125430"/>
                  </a:lnTo>
                  <a:lnTo>
                    <a:pt x="912983" y="1126647"/>
                  </a:lnTo>
                  <a:lnTo>
                    <a:pt x="910973" y="1128878"/>
                  </a:lnTo>
                  <a:lnTo>
                    <a:pt x="910356" y="1130935"/>
                  </a:lnTo>
                  <a:lnTo>
                    <a:pt x="911392" y="1134092"/>
                  </a:lnTo>
                  <a:lnTo>
                    <a:pt x="914890" y="1139300"/>
                  </a:lnTo>
                  <a:lnTo>
                    <a:pt x="915223" y="1141020"/>
                  </a:lnTo>
                  <a:lnTo>
                    <a:pt x="913964" y="1142691"/>
                  </a:lnTo>
                  <a:lnTo>
                    <a:pt x="911550" y="1144090"/>
                  </a:lnTo>
                  <a:lnTo>
                    <a:pt x="908054" y="1146538"/>
                  </a:lnTo>
                  <a:lnTo>
                    <a:pt x="904272" y="1146671"/>
                  </a:lnTo>
                  <a:lnTo>
                    <a:pt x="902640" y="1147285"/>
                  </a:lnTo>
                  <a:lnTo>
                    <a:pt x="898399" y="1150277"/>
                  </a:lnTo>
                  <a:lnTo>
                    <a:pt x="894681" y="1151698"/>
                  </a:lnTo>
                  <a:lnTo>
                    <a:pt x="893901" y="1152975"/>
                  </a:lnTo>
                  <a:lnTo>
                    <a:pt x="894724" y="1154234"/>
                  </a:lnTo>
                  <a:lnTo>
                    <a:pt x="899431" y="1155887"/>
                  </a:lnTo>
                  <a:lnTo>
                    <a:pt x="901800" y="1157705"/>
                  </a:lnTo>
                  <a:lnTo>
                    <a:pt x="902483" y="1159741"/>
                  </a:lnTo>
                  <a:lnTo>
                    <a:pt x="903508" y="1161294"/>
                  </a:lnTo>
                  <a:lnTo>
                    <a:pt x="907171" y="1162302"/>
                  </a:lnTo>
                  <a:lnTo>
                    <a:pt x="914759" y="1164652"/>
                  </a:lnTo>
                  <a:lnTo>
                    <a:pt x="915197" y="1164897"/>
                  </a:lnTo>
                  <a:lnTo>
                    <a:pt x="915672" y="1165965"/>
                  </a:lnTo>
                  <a:lnTo>
                    <a:pt x="923372" y="1167448"/>
                  </a:lnTo>
                  <a:lnTo>
                    <a:pt x="924439" y="1168245"/>
                  </a:lnTo>
                  <a:lnTo>
                    <a:pt x="927609" y="1170890"/>
                  </a:lnTo>
                  <a:lnTo>
                    <a:pt x="928281" y="1173672"/>
                  </a:lnTo>
                  <a:lnTo>
                    <a:pt x="926670" y="1176385"/>
                  </a:lnTo>
                  <a:lnTo>
                    <a:pt x="925626" y="1180676"/>
                  </a:lnTo>
                  <a:lnTo>
                    <a:pt x="923955" y="1184446"/>
                  </a:lnTo>
                  <a:lnTo>
                    <a:pt x="920360" y="1186960"/>
                  </a:lnTo>
                  <a:lnTo>
                    <a:pt x="914068" y="1189269"/>
                  </a:lnTo>
                  <a:lnTo>
                    <a:pt x="907339" y="1190194"/>
                  </a:lnTo>
                  <a:lnTo>
                    <a:pt x="904475" y="1190035"/>
                  </a:lnTo>
                  <a:lnTo>
                    <a:pt x="902625" y="1189745"/>
                  </a:lnTo>
                  <a:lnTo>
                    <a:pt x="899602" y="1189017"/>
                  </a:lnTo>
                  <a:lnTo>
                    <a:pt x="897360" y="1187106"/>
                  </a:lnTo>
                  <a:lnTo>
                    <a:pt x="895710" y="1185229"/>
                  </a:lnTo>
                  <a:lnTo>
                    <a:pt x="894527" y="1184760"/>
                  </a:lnTo>
                  <a:lnTo>
                    <a:pt x="893348" y="1185069"/>
                  </a:lnTo>
                  <a:lnTo>
                    <a:pt x="892241" y="1186247"/>
                  </a:lnTo>
                  <a:lnTo>
                    <a:pt x="890751" y="1189424"/>
                  </a:lnTo>
                  <a:lnTo>
                    <a:pt x="889083" y="1192569"/>
                  </a:lnTo>
                  <a:lnTo>
                    <a:pt x="887730" y="1193676"/>
                  </a:lnTo>
                  <a:lnTo>
                    <a:pt x="882685" y="1195159"/>
                  </a:lnTo>
                  <a:lnTo>
                    <a:pt x="882128" y="1194630"/>
                  </a:lnTo>
                  <a:lnTo>
                    <a:pt x="882705" y="1192546"/>
                  </a:lnTo>
                  <a:lnTo>
                    <a:pt x="882068" y="1191922"/>
                  </a:lnTo>
                  <a:lnTo>
                    <a:pt x="881122" y="1191453"/>
                  </a:lnTo>
                  <a:lnTo>
                    <a:pt x="874899" y="1190654"/>
                  </a:lnTo>
                  <a:lnTo>
                    <a:pt x="872543" y="1190063"/>
                  </a:lnTo>
                  <a:lnTo>
                    <a:pt x="870785" y="1189833"/>
                  </a:lnTo>
                  <a:lnTo>
                    <a:pt x="868548" y="1189300"/>
                  </a:lnTo>
                  <a:lnTo>
                    <a:pt x="867008" y="1188055"/>
                  </a:lnTo>
                  <a:lnTo>
                    <a:pt x="863702" y="1184234"/>
                  </a:lnTo>
                  <a:lnTo>
                    <a:pt x="861113" y="1181236"/>
                  </a:lnTo>
                  <a:lnTo>
                    <a:pt x="856950" y="1178526"/>
                  </a:lnTo>
                  <a:lnTo>
                    <a:pt x="853175" y="1178002"/>
                  </a:lnTo>
                  <a:lnTo>
                    <a:pt x="852870" y="1178279"/>
                  </a:lnTo>
                  <a:lnTo>
                    <a:pt x="850005" y="1178379"/>
                  </a:lnTo>
                  <a:lnTo>
                    <a:pt x="845445" y="1177712"/>
                  </a:lnTo>
                  <a:lnTo>
                    <a:pt x="845224" y="1177789"/>
                  </a:lnTo>
                  <a:lnTo>
                    <a:pt x="843807" y="1179021"/>
                  </a:lnTo>
                  <a:lnTo>
                    <a:pt x="842749" y="1180947"/>
                  </a:lnTo>
                  <a:lnTo>
                    <a:pt x="841353" y="1182576"/>
                  </a:lnTo>
                  <a:lnTo>
                    <a:pt x="839230" y="1183439"/>
                  </a:lnTo>
                  <a:lnTo>
                    <a:pt x="836673" y="1183635"/>
                  </a:lnTo>
                  <a:lnTo>
                    <a:pt x="833805" y="1181952"/>
                  </a:lnTo>
                  <a:lnTo>
                    <a:pt x="830854" y="1179338"/>
                  </a:lnTo>
                  <a:lnTo>
                    <a:pt x="827155" y="1178486"/>
                  </a:lnTo>
                  <a:lnTo>
                    <a:pt x="823570" y="1179059"/>
                  </a:lnTo>
                  <a:lnTo>
                    <a:pt x="822259" y="1179468"/>
                  </a:lnTo>
                  <a:lnTo>
                    <a:pt x="818497" y="1180950"/>
                  </a:lnTo>
                  <a:lnTo>
                    <a:pt x="817318" y="1180259"/>
                  </a:lnTo>
                  <a:lnTo>
                    <a:pt x="815649" y="1179820"/>
                  </a:lnTo>
                  <a:lnTo>
                    <a:pt x="811983" y="1182257"/>
                  </a:lnTo>
                  <a:lnTo>
                    <a:pt x="807966" y="1184925"/>
                  </a:lnTo>
                  <a:lnTo>
                    <a:pt x="807094" y="1186917"/>
                  </a:lnTo>
                  <a:lnTo>
                    <a:pt x="805882" y="1188744"/>
                  </a:lnTo>
                  <a:lnTo>
                    <a:pt x="803218" y="1190483"/>
                  </a:lnTo>
                  <a:lnTo>
                    <a:pt x="800309" y="1191987"/>
                  </a:lnTo>
                  <a:lnTo>
                    <a:pt x="797845" y="1192545"/>
                  </a:lnTo>
                  <a:lnTo>
                    <a:pt x="794662" y="1191994"/>
                  </a:lnTo>
                  <a:lnTo>
                    <a:pt x="790656" y="1190148"/>
                  </a:lnTo>
                  <a:lnTo>
                    <a:pt x="786988" y="1187836"/>
                  </a:lnTo>
                  <a:lnTo>
                    <a:pt x="782999" y="1184191"/>
                  </a:lnTo>
                  <a:lnTo>
                    <a:pt x="779752" y="1182103"/>
                  </a:lnTo>
                  <a:lnTo>
                    <a:pt x="776638" y="1180446"/>
                  </a:lnTo>
                  <a:lnTo>
                    <a:pt x="774746" y="1180052"/>
                  </a:lnTo>
                  <a:lnTo>
                    <a:pt x="773228" y="1180676"/>
                  </a:lnTo>
                  <a:lnTo>
                    <a:pt x="772634" y="1181966"/>
                  </a:lnTo>
                  <a:lnTo>
                    <a:pt x="773066" y="1182981"/>
                  </a:lnTo>
                  <a:lnTo>
                    <a:pt x="773964" y="1183897"/>
                  </a:lnTo>
                  <a:lnTo>
                    <a:pt x="774664" y="1186778"/>
                  </a:lnTo>
                  <a:lnTo>
                    <a:pt x="774932" y="1190297"/>
                  </a:lnTo>
                  <a:lnTo>
                    <a:pt x="774625" y="1192291"/>
                  </a:lnTo>
                  <a:lnTo>
                    <a:pt x="773742" y="1193480"/>
                  </a:lnTo>
                  <a:lnTo>
                    <a:pt x="772837" y="1193913"/>
                  </a:lnTo>
                  <a:lnTo>
                    <a:pt x="771999" y="1193757"/>
                  </a:lnTo>
                  <a:lnTo>
                    <a:pt x="770984" y="1192518"/>
                  </a:lnTo>
                  <a:lnTo>
                    <a:pt x="770363" y="1189897"/>
                  </a:lnTo>
                  <a:lnTo>
                    <a:pt x="769879" y="1186799"/>
                  </a:lnTo>
                  <a:lnTo>
                    <a:pt x="767145" y="1182900"/>
                  </a:lnTo>
                  <a:lnTo>
                    <a:pt x="764785" y="1180516"/>
                  </a:lnTo>
                  <a:lnTo>
                    <a:pt x="763649" y="1179199"/>
                  </a:lnTo>
                  <a:lnTo>
                    <a:pt x="761477" y="1177024"/>
                  </a:lnTo>
                  <a:lnTo>
                    <a:pt x="759604" y="1175678"/>
                  </a:lnTo>
                  <a:lnTo>
                    <a:pt x="755616" y="1174140"/>
                  </a:lnTo>
                  <a:lnTo>
                    <a:pt x="753662" y="1173024"/>
                  </a:lnTo>
                  <a:lnTo>
                    <a:pt x="750269" y="1168691"/>
                  </a:lnTo>
                  <a:lnTo>
                    <a:pt x="748367" y="1167371"/>
                  </a:lnTo>
                  <a:lnTo>
                    <a:pt x="745923" y="1166259"/>
                  </a:lnTo>
                  <a:lnTo>
                    <a:pt x="743914" y="1165929"/>
                  </a:lnTo>
                  <a:lnTo>
                    <a:pt x="743474" y="1166183"/>
                  </a:lnTo>
                  <a:lnTo>
                    <a:pt x="739296" y="1166807"/>
                  </a:lnTo>
                  <a:lnTo>
                    <a:pt x="736294" y="1166712"/>
                  </a:lnTo>
                  <a:lnTo>
                    <a:pt x="734478" y="1165900"/>
                  </a:lnTo>
                  <a:lnTo>
                    <a:pt x="732588" y="1165803"/>
                  </a:lnTo>
                  <a:lnTo>
                    <a:pt x="732435" y="1165796"/>
                  </a:lnTo>
                  <a:lnTo>
                    <a:pt x="730379" y="1166342"/>
                  </a:lnTo>
                  <a:lnTo>
                    <a:pt x="729995" y="1166306"/>
                  </a:lnTo>
                  <a:lnTo>
                    <a:pt x="728965" y="1166281"/>
                  </a:lnTo>
                  <a:lnTo>
                    <a:pt x="727306" y="1165384"/>
                  </a:lnTo>
                  <a:lnTo>
                    <a:pt x="725689" y="1162970"/>
                  </a:lnTo>
                  <a:lnTo>
                    <a:pt x="723655" y="1160407"/>
                  </a:lnTo>
                  <a:lnTo>
                    <a:pt x="721180" y="1159580"/>
                  </a:lnTo>
                  <a:lnTo>
                    <a:pt x="716492" y="1160660"/>
                  </a:lnTo>
                  <a:lnTo>
                    <a:pt x="711368" y="1164146"/>
                  </a:lnTo>
                  <a:lnTo>
                    <a:pt x="707691" y="1166212"/>
                  </a:lnTo>
                  <a:lnTo>
                    <a:pt x="704692" y="1166269"/>
                  </a:lnTo>
                  <a:lnTo>
                    <a:pt x="702979" y="1166585"/>
                  </a:lnTo>
                  <a:lnTo>
                    <a:pt x="701841" y="1166466"/>
                  </a:lnTo>
                  <a:lnTo>
                    <a:pt x="700880" y="1165817"/>
                  </a:lnTo>
                  <a:lnTo>
                    <a:pt x="700651" y="1164560"/>
                  </a:lnTo>
                  <a:lnTo>
                    <a:pt x="700191" y="1162963"/>
                  </a:lnTo>
                  <a:lnTo>
                    <a:pt x="697837" y="1161404"/>
                  </a:lnTo>
                  <a:lnTo>
                    <a:pt x="694618" y="1160397"/>
                  </a:lnTo>
                  <a:lnTo>
                    <a:pt x="691623" y="1159291"/>
                  </a:lnTo>
                  <a:lnTo>
                    <a:pt x="689666" y="1158996"/>
                  </a:lnTo>
                  <a:lnTo>
                    <a:pt x="688831" y="1160588"/>
                  </a:lnTo>
                  <a:lnTo>
                    <a:pt x="686350" y="1163119"/>
                  </a:lnTo>
                  <a:lnTo>
                    <a:pt x="683527" y="1165576"/>
                  </a:lnTo>
                  <a:lnTo>
                    <a:pt x="679932" y="1169566"/>
                  </a:lnTo>
                  <a:lnTo>
                    <a:pt x="678949" y="1170979"/>
                  </a:lnTo>
                  <a:lnTo>
                    <a:pt x="677570" y="1171919"/>
                  </a:lnTo>
                  <a:lnTo>
                    <a:pt x="674430" y="1172943"/>
                  </a:lnTo>
                  <a:lnTo>
                    <a:pt x="670614" y="1174624"/>
                  </a:lnTo>
                  <a:lnTo>
                    <a:pt x="668181" y="1176535"/>
                  </a:lnTo>
                  <a:lnTo>
                    <a:pt x="664732" y="1177401"/>
                  </a:lnTo>
                  <a:lnTo>
                    <a:pt x="661011" y="1177947"/>
                  </a:lnTo>
                  <a:lnTo>
                    <a:pt x="659387" y="1179602"/>
                  </a:lnTo>
                  <a:lnTo>
                    <a:pt x="658390" y="1182298"/>
                  </a:lnTo>
                  <a:lnTo>
                    <a:pt x="657150" y="1184718"/>
                  </a:lnTo>
                  <a:lnTo>
                    <a:pt x="651296" y="1188379"/>
                  </a:lnTo>
                  <a:lnTo>
                    <a:pt x="648091" y="1190750"/>
                  </a:lnTo>
                  <a:lnTo>
                    <a:pt x="645762" y="1192008"/>
                  </a:lnTo>
                  <a:lnTo>
                    <a:pt x="644134" y="1191847"/>
                  </a:lnTo>
                  <a:lnTo>
                    <a:pt x="642374" y="1191469"/>
                  </a:lnTo>
                  <a:lnTo>
                    <a:pt x="641709" y="1191678"/>
                  </a:lnTo>
                  <a:lnTo>
                    <a:pt x="642613" y="1193490"/>
                  </a:lnTo>
                  <a:lnTo>
                    <a:pt x="643375" y="1199195"/>
                  </a:lnTo>
                  <a:lnTo>
                    <a:pt x="644457" y="1202824"/>
                  </a:lnTo>
                  <a:lnTo>
                    <a:pt x="645239" y="1204907"/>
                  </a:lnTo>
                  <a:lnTo>
                    <a:pt x="645973" y="1206543"/>
                  </a:lnTo>
                  <a:lnTo>
                    <a:pt x="646533" y="1209048"/>
                  </a:lnTo>
                  <a:lnTo>
                    <a:pt x="645803" y="1210512"/>
                  </a:lnTo>
                  <a:lnTo>
                    <a:pt x="644669" y="1211495"/>
                  </a:lnTo>
                  <a:lnTo>
                    <a:pt x="641154" y="1213041"/>
                  </a:lnTo>
                  <a:lnTo>
                    <a:pt x="637489" y="1214372"/>
                  </a:lnTo>
                  <a:lnTo>
                    <a:pt x="635293" y="1213515"/>
                  </a:lnTo>
                  <a:lnTo>
                    <a:pt x="632857" y="1211391"/>
                  </a:lnTo>
                  <a:lnTo>
                    <a:pt x="631896" y="1210293"/>
                  </a:lnTo>
                  <a:lnTo>
                    <a:pt x="629229" y="1206724"/>
                  </a:lnTo>
                  <a:lnTo>
                    <a:pt x="624561" y="1201264"/>
                  </a:lnTo>
                  <a:lnTo>
                    <a:pt x="621380" y="1198493"/>
                  </a:lnTo>
                  <a:lnTo>
                    <a:pt x="619033" y="1197460"/>
                  </a:lnTo>
                  <a:lnTo>
                    <a:pt x="616910" y="1197775"/>
                  </a:lnTo>
                  <a:lnTo>
                    <a:pt x="615265" y="1199073"/>
                  </a:lnTo>
                  <a:lnTo>
                    <a:pt x="614096" y="1200228"/>
                  </a:lnTo>
                  <a:lnTo>
                    <a:pt x="612993" y="1201519"/>
                  </a:lnTo>
                  <a:lnTo>
                    <a:pt x="612291" y="1203142"/>
                  </a:lnTo>
                  <a:lnTo>
                    <a:pt x="612356" y="1205376"/>
                  </a:lnTo>
                  <a:lnTo>
                    <a:pt x="612302" y="1207738"/>
                  </a:lnTo>
                  <a:lnTo>
                    <a:pt x="611265" y="1209402"/>
                  </a:lnTo>
                  <a:lnTo>
                    <a:pt x="608640" y="1211186"/>
                  </a:lnTo>
                  <a:lnTo>
                    <a:pt x="605597" y="1213674"/>
                  </a:lnTo>
                  <a:lnTo>
                    <a:pt x="603332" y="1218159"/>
                  </a:lnTo>
                  <a:lnTo>
                    <a:pt x="601864" y="1223754"/>
                  </a:lnTo>
                  <a:lnTo>
                    <a:pt x="601397" y="1227629"/>
                  </a:lnTo>
                  <a:lnTo>
                    <a:pt x="602522" y="1229440"/>
                  </a:lnTo>
                  <a:lnTo>
                    <a:pt x="604744" y="1230908"/>
                  </a:lnTo>
                  <a:lnTo>
                    <a:pt x="606176" y="1232415"/>
                  </a:lnTo>
                  <a:lnTo>
                    <a:pt x="606467" y="1233834"/>
                  </a:lnTo>
                  <a:lnTo>
                    <a:pt x="606089" y="1235318"/>
                  </a:lnTo>
                  <a:lnTo>
                    <a:pt x="604939" y="1237032"/>
                  </a:lnTo>
                  <a:lnTo>
                    <a:pt x="602522" y="1238992"/>
                  </a:lnTo>
                  <a:lnTo>
                    <a:pt x="599199" y="1243668"/>
                  </a:lnTo>
                  <a:lnTo>
                    <a:pt x="597132" y="1250255"/>
                  </a:lnTo>
                  <a:lnTo>
                    <a:pt x="598277" y="1254841"/>
                  </a:lnTo>
                  <a:lnTo>
                    <a:pt x="602526" y="1257353"/>
                  </a:lnTo>
                  <a:lnTo>
                    <a:pt x="605869" y="1258460"/>
                  </a:lnTo>
                  <a:lnTo>
                    <a:pt x="607204" y="1259932"/>
                  </a:lnTo>
                  <a:lnTo>
                    <a:pt x="608406" y="1262913"/>
                  </a:lnTo>
                  <a:lnTo>
                    <a:pt x="608240" y="1265932"/>
                  </a:lnTo>
                  <a:lnTo>
                    <a:pt x="607837" y="1267974"/>
                  </a:lnTo>
                  <a:lnTo>
                    <a:pt x="608666" y="1269974"/>
                  </a:lnTo>
                  <a:lnTo>
                    <a:pt x="610242" y="1272348"/>
                  </a:lnTo>
                  <a:lnTo>
                    <a:pt x="612239" y="1273799"/>
                  </a:lnTo>
                  <a:lnTo>
                    <a:pt x="614339" y="1273018"/>
                  </a:lnTo>
                  <a:lnTo>
                    <a:pt x="616431" y="1272026"/>
                  </a:lnTo>
                  <a:lnTo>
                    <a:pt x="619046" y="1272418"/>
                  </a:lnTo>
                  <a:lnTo>
                    <a:pt x="626442" y="1273242"/>
                  </a:lnTo>
                  <a:lnTo>
                    <a:pt x="630318" y="1273672"/>
                  </a:lnTo>
                  <a:lnTo>
                    <a:pt x="631579" y="1274702"/>
                  </a:lnTo>
                  <a:lnTo>
                    <a:pt x="633982" y="1278043"/>
                  </a:lnTo>
                  <a:lnTo>
                    <a:pt x="637020" y="1281788"/>
                  </a:lnTo>
                  <a:lnTo>
                    <a:pt x="640104" y="1285586"/>
                  </a:lnTo>
                  <a:lnTo>
                    <a:pt x="641169" y="1287229"/>
                  </a:lnTo>
                  <a:lnTo>
                    <a:pt x="643682" y="1291755"/>
                  </a:lnTo>
                  <a:lnTo>
                    <a:pt x="646280" y="1295818"/>
                  </a:lnTo>
                  <a:lnTo>
                    <a:pt x="649100" y="1300843"/>
                  </a:lnTo>
                  <a:lnTo>
                    <a:pt x="648899" y="1302202"/>
                  </a:lnTo>
                  <a:lnTo>
                    <a:pt x="647424" y="1302769"/>
                  </a:lnTo>
                  <a:lnTo>
                    <a:pt x="645053" y="1302632"/>
                  </a:lnTo>
                  <a:lnTo>
                    <a:pt x="643222" y="1301895"/>
                  </a:lnTo>
                  <a:lnTo>
                    <a:pt x="642195" y="1301286"/>
                  </a:lnTo>
                  <a:lnTo>
                    <a:pt x="641270" y="1301085"/>
                  </a:lnTo>
                  <a:lnTo>
                    <a:pt x="640234" y="1301330"/>
                  </a:lnTo>
                  <a:lnTo>
                    <a:pt x="639352" y="1301965"/>
                  </a:lnTo>
                  <a:lnTo>
                    <a:pt x="638994" y="1302958"/>
                  </a:lnTo>
                  <a:lnTo>
                    <a:pt x="639145" y="1304311"/>
                  </a:lnTo>
                  <a:lnTo>
                    <a:pt x="639854" y="1305544"/>
                  </a:lnTo>
                  <a:lnTo>
                    <a:pt x="640845" y="1306337"/>
                  </a:lnTo>
                  <a:lnTo>
                    <a:pt x="641378" y="1306632"/>
                  </a:lnTo>
                  <a:lnTo>
                    <a:pt x="645008" y="1308257"/>
                  </a:lnTo>
                  <a:lnTo>
                    <a:pt x="649091" y="1310083"/>
                  </a:lnTo>
                  <a:lnTo>
                    <a:pt x="654073" y="1312671"/>
                  </a:lnTo>
                  <a:lnTo>
                    <a:pt x="655133" y="1312994"/>
                  </a:lnTo>
                  <a:lnTo>
                    <a:pt x="655436" y="1314257"/>
                  </a:lnTo>
                  <a:lnTo>
                    <a:pt x="652773" y="1314530"/>
                  </a:lnTo>
                  <a:lnTo>
                    <a:pt x="652445" y="1316005"/>
                  </a:lnTo>
                  <a:lnTo>
                    <a:pt x="651758" y="1317091"/>
                  </a:lnTo>
                  <a:lnTo>
                    <a:pt x="645796" y="1319545"/>
                  </a:lnTo>
                  <a:lnTo>
                    <a:pt x="644306" y="1319538"/>
                  </a:lnTo>
                  <a:lnTo>
                    <a:pt x="643004" y="1319940"/>
                  </a:lnTo>
                  <a:lnTo>
                    <a:pt x="643084" y="1321527"/>
                  </a:lnTo>
                  <a:lnTo>
                    <a:pt x="643440" y="1322978"/>
                  </a:lnTo>
                  <a:lnTo>
                    <a:pt x="644462" y="1324515"/>
                  </a:lnTo>
                  <a:lnTo>
                    <a:pt x="644019" y="1325169"/>
                  </a:lnTo>
                  <a:lnTo>
                    <a:pt x="643136" y="1325388"/>
                  </a:lnTo>
                  <a:lnTo>
                    <a:pt x="641981" y="1324923"/>
                  </a:lnTo>
                  <a:lnTo>
                    <a:pt x="640912" y="1324120"/>
                  </a:lnTo>
                  <a:lnTo>
                    <a:pt x="639767" y="1323919"/>
                  </a:lnTo>
                  <a:lnTo>
                    <a:pt x="638655" y="1324120"/>
                  </a:lnTo>
                  <a:lnTo>
                    <a:pt x="633583" y="1328451"/>
                  </a:lnTo>
                  <a:lnTo>
                    <a:pt x="631406" y="1329574"/>
                  </a:lnTo>
                  <a:lnTo>
                    <a:pt x="629055" y="1330015"/>
                  </a:lnTo>
                  <a:lnTo>
                    <a:pt x="624131" y="1331610"/>
                  </a:lnTo>
                  <a:lnTo>
                    <a:pt x="622667" y="1331530"/>
                  </a:lnTo>
                  <a:lnTo>
                    <a:pt x="621276" y="1330973"/>
                  </a:lnTo>
                  <a:lnTo>
                    <a:pt x="620143" y="1331783"/>
                  </a:lnTo>
                  <a:lnTo>
                    <a:pt x="619778" y="1333783"/>
                  </a:lnTo>
                  <a:lnTo>
                    <a:pt x="618467" y="1332402"/>
                  </a:lnTo>
                  <a:lnTo>
                    <a:pt x="617016" y="1331304"/>
                  </a:lnTo>
                  <a:lnTo>
                    <a:pt x="616374" y="1330934"/>
                  </a:lnTo>
                  <a:lnTo>
                    <a:pt x="616018" y="1331152"/>
                  </a:lnTo>
                  <a:lnTo>
                    <a:pt x="617366" y="1333297"/>
                  </a:lnTo>
                  <a:lnTo>
                    <a:pt x="617483" y="1335263"/>
                  </a:lnTo>
                  <a:lnTo>
                    <a:pt x="617152" y="1336342"/>
                  </a:lnTo>
                  <a:lnTo>
                    <a:pt x="616580" y="1337327"/>
                  </a:lnTo>
                  <a:lnTo>
                    <a:pt x="615824" y="1337932"/>
                  </a:lnTo>
                  <a:lnTo>
                    <a:pt x="614908" y="1338261"/>
                  </a:lnTo>
                  <a:lnTo>
                    <a:pt x="614423" y="1341725"/>
                  </a:lnTo>
                  <a:lnTo>
                    <a:pt x="613542" y="1343837"/>
                  </a:lnTo>
                  <a:lnTo>
                    <a:pt x="612324" y="1345706"/>
                  </a:lnTo>
                  <a:lnTo>
                    <a:pt x="610672" y="1349130"/>
                  </a:lnTo>
                  <a:lnTo>
                    <a:pt x="609346" y="1350624"/>
                  </a:lnTo>
                  <a:lnTo>
                    <a:pt x="608311" y="1352363"/>
                  </a:lnTo>
                  <a:lnTo>
                    <a:pt x="607627" y="1354791"/>
                  </a:lnTo>
                  <a:lnTo>
                    <a:pt x="606642" y="1354221"/>
                  </a:lnTo>
                  <a:lnTo>
                    <a:pt x="605839" y="1353179"/>
                  </a:lnTo>
                  <a:lnTo>
                    <a:pt x="605413" y="1354557"/>
                  </a:lnTo>
                  <a:lnTo>
                    <a:pt x="604833" y="1355730"/>
                  </a:lnTo>
                  <a:lnTo>
                    <a:pt x="602263" y="1357483"/>
                  </a:lnTo>
                  <a:lnTo>
                    <a:pt x="600363" y="1359165"/>
                  </a:lnTo>
                  <a:lnTo>
                    <a:pt x="599497" y="1361775"/>
                  </a:lnTo>
                  <a:lnTo>
                    <a:pt x="599300" y="1363335"/>
                  </a:lnTo>
                  <a:lnTo>
                    <a:pt x="599603" y="1364740"/>
                  </a:lnTo>
                  <a:lnTo>
                    <a:pt x="600313" y="1365583"/>
                  </a:lnTo>
                  <a:lnTo>
                    <a:pt x="603910" y="1366493"/>
                  </a:lnTo>
                  <a:lnTo>
                    <a:pt x="606297" y="1367685"/>
                  </a:lnTo>
                  <a:lnTo>
                    <a:pt x="608487" y="1369899"/>
                  </a:lnTo>
                  <a:lnTo>
                    <a:pt x="610857" y="1371778"/>
                  </a:lnTo>
                  <a:lnTo>
                    <a:pt x="612563" y="1374197"/>
                  </a:lnTo>
                  <a:lnTo>
                    <a:pt x="613768" y="1377169"/>
                  </a:lnTo>
                  <a:lnTo>
                    <a:pt x="615265" y="1382939"/>
                  </a:lnTo>
                  <a:lnTo>
                    <a:pt x="616007" y="1389004"/>
                  </a:lnTo>
                  <a:lnTo>
                    <a:pt x="618215" y="1381459"/>
                  </a:lnTo>
                  <a:lnTo>
                    <a:pt x="620069" y="1380110"/>
                  </a:lnTo>
                  <a:lnTo>
                    <a:pt x="619657" y="1382235"/>
                  </a:lnTo>
                  <a:lnTo>
                    <a:pt x="618333" y="1385501"/>
                  </a:lnTo>
                  <a:lnTo>
                    <a:pt x="617029" y="1390224"/>
                  </a:lnTo>
                  <a:lnTo>
                    <a:pt x="616606" y="1393670"/>
                  </a:lnTo>
                  <a:lnTo>
                    <a:pt x="617087" y="1396653"/>
                  </a:lnTo>
                  <a:lnTo>
                    <a:pt x="617115" y="1398050"/>
                  </a:lnTo>
                  <a:lnTo>
                    <a:pt x="616016" y="1402978"/>
                  </a:lnTo>
                  <a:lnTo>
                    <a:pt x="616584" y="1403924"/>
                  </a:lnTo>
                  <a:lnTo>
                    <a:pt x="617472" y="1404798"/>
                  </a:lnTo>
                  <a:lnTo>
                    <a:pt x="619813" y="1406504"/>
                  </a:lnTo>
                  <a:lnTo>
                    <a:pt x="621454" y="1408980"/>
                  </a:lnTo>
                  <a:lnTo>
                    <a:pt x="621866" y="1412461"/>
                  </a:lnTo>
                  <a:lnTo>
                    <a:pt x="622795" y="1413421"/>
                  </a:lnTo>
                  <a:lnTo>
                    <a:pt x="623958" y="1414257"/>
                  </a:lnTo>
                  <a:lnTo>
                    <a:pt x="629659" y="1421185"/>
                  </a:lnTo>
                  <a:lnTo>
                    <a:pt x="632942" y="1425782"/>
                  </a:lnTo>
                  <a:lnTo>
                    <a:pt x="634587" y="1428460"/>
                  </a:lnTo>
                  <a:lnTo>
                    <a:pt x="636373" y="1431827"/>
                  </a:lnTo>
                  <a:lnTo>
                    <a:pt x="637314" y="1432608"/>
                  </a:lnTo>
                  <a:lnTo>
                    <a:pt x="638429" y="1433108"/>
                  </a:lnTo>
                  <a:lnTo>
                    <a:pt x="640553" y="1434716"/>
                  </a:lnTo>
                  <a:lnTo>
                    <a:pt x="639355" y="1436442"/>
                  </a:lnTo>
                  <a:lnTo>
                    <a:pt x="637409" y="1439514"/>
                  </a:lnTo>
                  <a:lnTo>
                    <a:pt x="636541" y="1441140"/>
                  </a:lnTo>
                  <a:lnTo>
                    <a:pt x="634479" y="1442644"/>
                  </a:lnTo>
                  <a:lnTo>
                    <a:pt x="631032" y="1444236"/>
                  </a:lnTo>
                  <a:lnTo>
                    <a:pt x="629126" y="1444925"/>
                  </a:lnTo>
                  <a:lnTo>
                    <a:pt x="627083" y="1448217"/>
                  </a:lnTo>
                  <a:lnTo>
                    <a:pt x="624816" y="1451415"/>
                  </a:lnTo>
                  <a:lnTo>
                    <a:pt x="623265" y="1451770"/>
                  </a:lnTo>
                  <a:lnTo>
                    <a:pt x="618860" y="1451273"/>
                  </a:lnTo>
                  <a:lnTo>
                    <a:pt x="617286" y="1450985"/>
                  </a:lnTo>
                  <a:lnTo>
                    <a:pt x="612799" y="1449577"/>
                  </a:lnTo>
                  <a:lnTo>
                    <a:pt x="611548" y="1448716"/>
                  </a:lnTo>
                  <a:lnTo>
                    <a:pt x="610313" y="1445006"/>
                  </a:lnTo>
                  <a:lnTo>
                    <a:pt x="608927" y="1443409"/>
                  </a:lnTo>
                  <a:lnTo>
                    <a:pt x="607189" y="1442388"/>
                  </a:lnTo>
                  <a:lnTo>
                    <a:pt x="605999" y="1441520"/>
                  </a:lnTo>
                  <a:lnTo>
                    <a:pt x="605504" y="1440624"/>
                  </a:lnTo>
                  <a:lnTo>
                    <a:pt x="604245" y="1439327"/>
                  </a:lnTo>
                  <a:lnTo>
                    <a:pt x="601918" y="1437394"/>
                  </a:lnTo>
                  <a:lnTo>
                    <a:pt x="600231" y="1435561"/>
                  </a:lnTo>
                  <a:lnTo>
                    <a:pt x="598927" y="1435064"/>
                  </a:lnTo>
                  <a:lnTo>
                    <a:pt x="597283" y="1435711"/>
                  </a:lnTo>
                  <a:lnTo>
                    <a:pt x="596295" y="1435892"/>
                  </a:lnTo>
                  <a:lnTo>
                    <a:pt x="595871" y="1435569"/>
                  </a:lnTo>
                  <a:lnTo>
                    <a:pt x="595552" y="1434028"/>
                  </a:lnTo>
                  <a:lnTo>
                    <a:pt x="593168" y="1433483"/>
                  </a:lnTo>
                  <a:lnTo>
                    <a:pt x="592762" y="1433121"/>
                  </a:lnTo>
                  <a:lnTo>
                    <a:pt x="589583" y="1431643"/>
                  </a:lnTo>
                  <a:lnTo>
                    <a:pt x="588365" y="1430859"/>
                  </a:lnTo>
                  <a:lnTo>
                    <a:pt x="587195" y="1430801"/>
                  </a:lnTo>
                  <a:lnTo>
                    <a:pt x="584733" y="1430358"/>
                  </a:lnTo>
                  <a:lnTo>
                    <a:pt x="582645" y="1429650"/>
                  </a:lnTo>
                  <a:lnTo>
                    <a:pt x="581680" y="1428713"/>
                  </a:lnTo>
                  <a:lnTo>
                    <a:pt x="580257" y="1427669"/>
                  </a:lnTo>
                  <a:lnTo>
                    <a:pt x="577616" y="1426369"/>
                  </a:lnTo>
                  <a:lnTo>
                    <a:pt x="575670" y="1425141"/>
                  </a:lnTo>
                  <a:lnTo>
                    <a:pt x="575575" y="1424352"/>
                  </a:lnTo>
                  <a:lnTo>
                    <a:pt x="576771" y="1421087"/>
                  </a:lnTo>
                  <a:lnTo>
                    <a:pt x="577637" y="1417951"/>
                  </a:lnTo>
                  <a:lnTo>
                    <a:pt x="577145" y="1417336"/>
                  </a:lnTo>
                  <a:lnTo>
                    <a:pt x="576046" y="1416814"/>
                  </a:lnTo>
                  <a:lnTo>
                    <a:pt x="573997" y="1416332"/>
                  </a:lnTo>
                  <a:lnTo>
                    <a:pt x="569151" y="1416491"/>
                  </a:lnTo>
                  <a:lnTo>
                    <a:pt x="566154" y="1413329"/>
                  </a:lnTo>
                  <a:lnTo>
                    <a:pt x="565093" y="1412614"/>
                  </a:lnTo>
                  <a:lnTo>
                    <a:pt x="563133" y="1412103"/>
                  </a:lnTo>
                  <a:lnTo>
                    <a:pt x="560298" y="1411137"/>
                  </a:lnTo>
                  <a:lnTo>
                    <a:pt x="558697" y="1410439"/>
                  </a:lnTo>
                  <a:lnTo>
                    <a:pt x="558244" y="1410695"/>
                  </a:lnTo>
                  <a:lnTo>
                    <a:pt x="556489" y="1414168"/>
                  </a:lnTo>
                  <a:lnTo>
                    <a:pt x="554735" y="1411689"/>
                  </a:lnTo>
                  <a:lnTo>
                    <a:pt x="553686" y="1411018"/>
                  </a:lnTo>
                  <a:lnTo>
                    <a:pt x="552185" y="1410650"/>
                  </a:lnTo>
                  <a:lnTo>
                    <a:pt x="550623" y="1410646"/>
                  </a:lnTo>
                  <a:lnTo>
                    <a:pt x="546724" y="1411852"/>
                  </a:lnTo>
                  <a:lnTo>
                    <a:pt x="543854" y="1413185"/>
                  </a:lnTo>
                  <a:lnTo>
                    <a:pt x="541710" y="1414180"/>
                  </a:lnTo>
                  <a:lnTo>
                    <a:pt x="539542" y="1414734"/>
                  </a:lnTo>
                  <a:lnTo>
                    <a:pt x="538496" y="1415510"/>
                  </a:lnTo>
                  <a:lnTo>
                    <a:pt x="535590" y="1415377"/>
                  </a:lnTo>
                  <a:lnTo>
                    <a:pt x="534128" y="1414781"/>
                  </a:lnTo>
                  <a:lnTo>
                    <a:pt x="533653" y="1414163"/>
                  </a:lnTo>
                  <a:lnTo>
                    <a:pt x="533908" y="1413081"/>
                  </a:lnTo>
                  <a:lnTo>
                    <a:pt x="534914" y="1411867"/>
                  </a:lnTo>
                  <a:lnTo>
                    <a:pt x="534987" y="1411203"/>
                  </a:lnTo>
                  <a:lnTo>
                    <a:pt x="534631" y="1410689"/>
                  </a:lnTo>
                  <a:lnTo>
                    <a:pt x="531103" y="1409066"/>
                  </a:lnTo>
                  <a:lnTo>
                    <a:pt x="529660" y="1408083"/>
                  </a:lnTo>
                  <a:lnTo>
                    <a:pt x="525020" y="1406685"/>
                  </a:lnTo>
                  <a:lnTo>
                    <a:pt x="519297" y="1404211"/>
                  </a:lnTo>
                  <a:lnTo>
                    <a:pt x="517330" y="1402587"/>
                  </a:lnTo>
                  <a:lnTo>
                    <a:pt x="517140" y="1401464"/>
                  </a:lnTo>
                  <a:lnTo>
                    <a:pt x="514894" y="1400361"/>
                  </a:lnTo>
                  <a:lnTo>
                    <a:pt x="512033" y="1399370"/>
                  </a:lnTo>
                  <a:lnTo>
                    <a:pt x="509813" y="1399651"/>
                  </a:lnTo>
                  <a:lnTo>
                    <a:pt x="507730" y="1399758"/>
                  </a:lnTo>
                  <a:lnTo>
                    <a:pt x="504480" y="1397903"/>
                  </a:lnTo>
                  <a:lnTo>
                    <a:pt x="501398" y="1397799"/>
                  </a:lnTo>
                  <a:lnTo>
                    <a:pt x="497917" y="1398356"/>
                  </a:lnTo>
                  <a:lnTo>
                    <a:pt x="497155" y="1398577"/>
                  </a:lnTo>
                  <a:lnTo>
                    <a:pt x="496319" y="1398818"/>
                  </a:lnTo>
                  <a:lnTo>
                    <a:pt x="485939" y="1398036"/>
                  </a:lnTo>
                  <a:lnTo>
                    <a:pt x="483290" y="1396503"/>
                  </a:lnTo>
                  <a:lnTo>
                    <a:pt x="481022" y="1394969"/>
                  </a:lnTo>
                  <a:lnTo>
                    <a:pt x="474939" y="1393865"/>
                  </a:lnTo>
                  <a:lnTo>
                    <a:pt x="471819" y="1392692"/>
                  </a:lnTo>
                  <a:lnTo>
                    <a:pt x="468716" y="1391027"/>
                  </a:lnTo>
                  <a:lnTo>
                    <a:pt x="465319" y="1389574"/>
                  </a:lnTo>
                  <a:lnTo>
                    <a:pt x="462464" y="1390163"/>
                  </a:lnTo>
                  <a:lnTo>
                    <a:pt x="458558" y="1389335"/>
                  </a:lnTo>
                  <a:lnTo>
                    <a:pt x="454311" y="1388607"/>
                  </a:lnTo>
                  <a:lnTo>
                    <a:pt x="452860" y="1389055"/>
                  </a:lnTo>
                  <a:lnTo>
                    <a:pt x="451514" y="1390894"/>
                  </a:lnTo>
                  <a:lnTo>
                    <a:pt x="450510" y="1392644"/>
                  </a:lnTo>
                  <a:lnTo>
                    <a:pt x="448195" y="1391219"/>
                  </a:lnTo>
                  <a:lnTo>
                    <a:pt x="440303" y="1384343"/>
                  </a:lnTo>
                  <a:lnTo>
                    <a:pt x="436161" y="1379768"/>
                  </a:lnTo>
                  <a:lnTo>
                    <a:pt x="422626" y="1369182"/>
                  </a:lnTo>
                  <a:lnTo>
                    <a:pt x="420825" y="1368370"/>
                  </a:lnTo>
                  <a:lnTo>
                    <a:pt x="413660" y="1366838"/>
                  </a:lnTo>
                  <a:lnTo>
                    <a:pt x="410773" y="1365609"/>
                  </a:lnTo>
                  <a:lnTo>
                    <a:pt x="403481" y="1358013"/>
                  </a:lnTo>
                  <a:lnTo>
                    <a:pt x="400240" y="1359033"/>
                  </a:lnTo>
                  <a:lnTo>
                    <a:pt x="397311" y="1358775"/>
                  </a:lnTo>
                  <a:lnTo>
                    <a:pt x="395601" y="1358110"/>
                  </a:lnTo>
                  <a:lnTo>
                    <a:pt x="393748" y="1357018"/>
                  </a:lnTo>
                  <a:lnTo>
                    <a:pt x="392444" y="1355572"/>
                  </a:lnTo>
                  <a:lnTo>
                    <a:pt x="390935" y="1352388"/>
                  </a:lnTo>
                  <a:lnTo>
                    <a:pt x="389181" y="1350560"/>
                  </a:lnTo>
                  <a:lnTo>
                    <a:pt x="383424" y="1347891"/>
                  </a:lnTo>
                  <a:lnTo>
                    <a:pt x="376931" y="1346335"/>
                  </a:lnTo>
                  <a:lnTo>
                    <a:pt x="376419" y="1345655"/>
                  </a:lnTo>
                  <a:lnTo>
                    <a:pt x="376231" y="1344719"/>
                  </a:lnTo>
                  <a:lnTo>
                    <a:pt x="381846" y="1342904"/>
                  </a:lnTo>
                  <a:lnTo>
                    <a:pt x="383353" y="1341864"/>
                  </a:lnTo>
                  <a:lnTo>
                    <a:pt x="380474" y="1340484"/>
                  </a:lnTo>
                  <a:lnTo>
                    <a:pt x="379382" y="1340256"/>
                  </a:lnTo>
                  <a:lnTo>
                    <a:pt x="378471" y="1339610"/>
                  </a:lnTo>
                  <a:lnTo>
                    <a:pt x="380092" y="1338572"/>
                  </a:lnTo>
                  <a:lnTo>
                    <a:pt x="381688" y="1338096"/>
                  </a:lnTo>
                  <a:lnTo>
                    <a:pt x="384163" y="1339289"/>
                  </a:lnTo>
                  <a:lnTo>
                    <a:pt x="386942" y="1341503"/>
                  </a:lnTo>
                  <a:lnTo>
                    <a:pt x="389375" y="1342341"/>
                  </a:lnTo>
                  <a:lnTo>
                    <a:pt x="390496" y="1341282"/>
                  </a:lnTo>
                  <a:lnTo>
                    <a:pt x="398963" y="1339464"/>
                  </a:lnTo>
                  <a:lnTo>
                    <a:pt x="399533" y="1338023"/>
                  </a:lnTo>
                  <a:lnTo>
                    <a:pt x="399510" y="1336412"/>
                  </a:lnTo>
                  <a:lnTo>
                    <a:pt x="398680" y="1336469"/>
                  </a:lnTo>
                  <a:lnTo>
                    <a:pt x="398140" y="1336106"/>
                  </a:lnTo>
                  <a:lnTo>
                    <a:pt x="398195" y="1334315"/>
                  </a:lnTo>
                  <a:lnTo>
                    <a:pt x="399451" y="1331857"/>
                  </a:lnTo>
                  <a:lnTo>
                    <a:pt x="403248" y="1327851"/>
                  </a:lnTo>
                  <a:lnTo>
                    <a:pt x="405286" y="1322274"/>
                  </a:lnTo>
                  <a:lnTo>
                    <a:pt x="407081" y="1321002"/>
                  </a:lnTo>
                  <a:lnTo>
                    <a:pt x="408398" y="1321850"/>
                  </a:lnTo>
                  <a:lnTo>
                    <a:pt x="408307" y="1323153"/>
                  </a:lnTo>
                  <a:lnTo>
                    <a:pt x="408525" y="1324121"/>
                  </a:lnTo>
                  <a:lnTo>
                    <a:pt x="409702" y="1322243"/>
                  </a:lnTo>
                  <a:lnTo>
                    <a:pt x="410825" y="1319702"/>
                  </a:lnTo>
                  <a:lnTo>
                    <a:pt x="413660" y="1319687"/>
                  </a:lnTo>
                  <a:lnTo>
                    <a:pt x="415618" y="1320111"/>
                  </a:lnTo>
                  <a:lnTo>
                    <a:pt x="417651" y="1319820"/>
                  </a:lnTo>
                  <a:lnTo>
                    <a:pt x="413736" y="1315632"/>
                  </a:lnTo>
                  <a:lnTo>
                    <a:pt x="408484" y="1311409"/>
                  </a:lnTo>
                  <a:lnTo>
                    <a:pt x="406269" y="1311727"/>
                  </a:lnTo>
                  <a:lnTo>
                    <a:pt x="404861" y="1311072"/>
                  </a:lnTo>
                  <a:lnTo>
                    <a:pt x="402555" y="1307587"/>
                  </a:lnTo>
                  <a:lnTo>
                    <a:pt x="401602" y="1304696"/>
                  </a:lnTo>
                  <a:lnTo>
                    <a:pt x="403833" y="1304761"/>
                  </a:lnTo>
                  <a:lnTo>
                    <a:pt x="406057" y="1305199"/>
                  </a:lnTo>
                  <a:lnTo>
                    <a:pt x="410292" y="1303179"/>
                  </a:lnTo>
                  <a:lnTo>
                    <a:pt x="411850" y="1302884"/>
                  </a:lnTo>
                  <a:lnTo>
                    <a:pt x="414360" y="1303523"/>
                  </a:lnTo>
                  <a:lnTo>
                    <a:pt x="417843" y="1303930"/>
                  </a:lnTo>
                  <a:lnTo>
                    <a:pt x="417556" y="1302024"/>
                  </a:lnTo>
                  <a:lnTo>
                    <a:pt x="416465" y="1299772"/>
                  </a:lnTo>
                  <a:lnTo>
                    <a:pt x="420713" y="1298101"/>
                  </a:lnTo>
                  <a:lnTo>
                    <a:pt x="424479" y="1297178"/>
                  </a:lnTo>
                  <a:lnTo>
                    <a:pt x="431680" y="1293906"/>
                  </a:lnTo>
                  <a:lnTo>
                    <a:pt x="434863" y="1293328"/>
                  </a:lnTo>
                  <a:lnTo>
                    <a:pt x="435269" y="1292581"/>
                  </a:lnTo>
                  <a:lnTo>
                    <a:pt x="435366" y="1291607"/>
                  </a:lnTo>
                  <a:lnTo>
                    <a:pt x="434284" y="1288986"/>
                  </a:lnTo>
                  <a:lnTo>
                    <a:pt x="433205" y="1287046"/>
                  </a:lnTo>
                  <a:lnTo>
                    <a:pt x="429402" y="1286952"/>
                  </a:lnTo>
                  <a:lnTo>
                    <a:pt x="427292" y="1289653"/>
                  </a:lnTo>
                  <a:lnTo>
                    <a:pt x="421540" y="1290540"/>
                  </a:lnTo>
                  <a:lnTo>
                    <a:pt x="418981" y="1290361"/>
                  </a:lnTo>
                  <a:lnTo>
                    <a:pt x="421013" y="1288631"/>
                  </a:lnTo>
                  <a:lnTo>
                    <a:pt x="423040" y="1287970"/>
                  </a:lnTo>
                  <a:lnTo>
                    <a:pt x="423613" y="1287249"/>
                  </a:lnTo>
                  <a:lnTo>
                    <a:pt x="419529" y="1287878"/>
                  </a:lnTo>
                  <a:lnTo>
                    <a:pt x="417484" y="1289657"/>
                  </a:lnTo>
                  <a:lnTo>
                    <a:pt x="411505" y="1292007"/>
                  </a:lnTo>
                  <a:lnTo>
                    <a:pt x="411317" y="1290773"/>
                  </a:lnTo>
                  <a:lnTo>
                    <a:pt x="411218" y="1289665"/>
                  </a:lnTo>
                  <a:lnTo>
                    <a:pt x="411656" y="1288616"/>
                  </a:lnTo>
                  <a:lnTo>
                    <a:pt x="412632" y="1287938"/>
                  </a:lnTo>
                  <a:lnTo>
                    <a:pt x="412973" y="1287321"/>
                  </a:lnTo>
                  <a:lnTo>
                    <a:pt x="412973" y="1286827"/>
                  </a:lnTo>
                  <a:lnTo>
                    <a:pt x="412095" y="1286518"/>
                  </a:lnTo>
                  <a:lnTo>
                    <a:pt x="411364" y="1286271"/>
                  </a:lnTo>
                  <a:lnTo>
                    <a:pt x="411218" y="1285592"/>
                  </a:lnTo>
                  <a:lnTo>
                    <a:pt x="411462" y="1284976"/>
                  </a:lnTo>
                  <a:lnTo>
                    <a:pt x="412144" y="1284110"/>
                  </a:lnTo>
                  <a:lnTo>
                    <a:pt x="412438" y="1283122"/>
                  </a:lnTo>
                  <a:lnTo>
                    <a:pt x="412488" y="1281142"/>
                  </a:lnTo>
                  <a:lnTo>
                    <a:pt x="413120" y="1278907"/>
                  </a:lnTo>
                  <a:lnTo>
                    <a:pt x="414921" y="1277481"/>
                  </a:lnTo>
                  <a:lnTo>
                    <a:pt x="418063" y="1277131"/>
                  </a:lnTo>
                  <a:lnTo>
                    <a:pt x="420931" y="1275908"/>
                  </a:lnTo>
                  <a:lnTo>
                    <a:pt x="422663" y="1274553"/>
                  </a:lnTo>
                  <a:lnTo>
                    <a:pt x="424947" y="1271094"/>
                  </a:lnTo>
                  <a:lnTo>
                    <a:pt x="426672" y="1270584"/>
                  </a:lnTo>
                  <a:lnTo>
                    <a:pt x="430156" y="1270771"/>
                  </a:lnTo>
                  <a:lnTo>
                    <a:pt x="432382" y="1271083"/>
                  </a:lnTo>
                  <a:lnTo>
                    <a:pt x="437523" y="1271186"/>
                  </a:lnTo>
                  <a:lnTo>
                    <a:pt x="443438" y="1270976"/>
                  </a:lnTo>
                  <a:lnTo>
                    <a:pt x="445150" y="1270874"/>
                  </a:lnTo>
                  <a:lnTo>
                    <a:pt x="446096" y="1269670"/>
                  </a:lnTo>
                  <a:lnTo>
                    <a:pt x="446031" y="1267502"/>
                  </a:lnTo>
                  <a:lnTo>
                    <a:pt x="446876" y="1265503"/>
                  </a:lnTo>
                  <a:lnTo>
                    <a:pt x="448448" y="1261744"/>
                  </a:lnTo>
                  <a:lnTo>
                    <a:pt x="450128" y="1259777"/>
                  </a:lnTo>
                  <a:lnTo>
                    <a:pt x="450059" y="1258901"/>
                  </a:lnTo>
                  <a:lnTo>
                    <a:pt x="449180" y="1258532"/>
                  </a:lnTo>
                  <a:lnTo>
                    <a:pt x="448033" y="1258348"/>
                  </a:lnTo>
                  <a:lnTo>
                    <a:pt x="447617" y="1257942"/>
                  </a:lnTo>
                  <a:lnTo>
                    <a:pt x="447670" y="1257116"/>
                  </a:lnTo>
                  <a:lnTo>
                    <a:pt x="448554" y="1256309"/>
                  </a:lnTo>
                  <a:lnTo>
                    <a:pt x="448394" y="1254647"/>
                  </a:lnTo>
                  <a:lnTo>
                    <a:pt x="447839" y="1252800"/>
                  </a:lnTo>
                  <a:lnTo>
                    <a:pt x="447355" y="1251138"/>
                  </a:lnTo>
                  <a:lnTo>
                    <a:pt x="445803" y="1250312"/>
                  </a:lnTo>
                  <a:lnTo>
                    <a:pt x="443133" y="1249763"/>
                  </a:lnTo>
                  <a:lnTo>
                    <a:pt x="443702" y="1247739"/>
                  </a:lnTo>
                  <a:lnTo>
                    <a:pt x="444457" y="1245552"/>
                  </a:lnTo>
                  <a:lnTo>
                    <a:pt x="445591" y="1244336"/>
                  </a:lnTo>
                  <a:lnTo>
                    <a:pt x="446409" y="1243606"/>
                  </a:lnTo>
                  <a:lnTo>
                    <a:pt x="448869" y="1244004"/>
                  </a:lnTo>
                  <a:lnTo>
                    <a:pt x="450646" y="1243616"/>
                  </a:lnTo>
                  <a:lnTo>
                    <a:pt x="451069" y="1243197"/>
                  </a:lnTo>
                  <a:lnTo>
                    <a:pt x="450750" y="1242362"/>
                  </a:lnTo>
                  <a:lnTo>
                    <a:pt x="447977" y="1241605"/>
                  </a:lnTo>
                  <a:lnTo>
                    <a:pt x="445535" y="1240565"/>
                  </a:lnTo>
                  <a:lnTo>
                    <a:pt x="444481" y="1239279"/>
                  </a:lnTo>
                  <a:lnTo>
                    <a:pt x="444058" y="1237900"/>
                  </a:lnTo>
                  <a:lnTo>
                    <a:pt x="445671" y="1237082"/>
                  </a:lnTo>
                  <a:lnTo>
                    <a:pt x="448551" y="1236297"/>
                  </a:lnTo>
                  <a:lnTo>
                    <a:pt x="450467" y="1234418"/>
                  </a:lnTo>
                  <a:lnTo>
                    <a:pt x="452538" y="1232404"/>
                  </a:lnTo>
                  <a:lnTo>
                    <a:pt x="453395" y="1230937"/>
                  </a:lnTo>
                  <a:lnTo>
                    <a:pt x="453827" y="1229344"/>
                  </a:lnTo>
                  <a:lnTo>
                    <a:pt x="453779" y="1227579"/>
                  </a:lnTo>
                  <a:lnTo>
                    <a:pt x="452268" y="1225782"/>
                  </a:lnTo>
                  <a:lnTo>
                    <a:pt x="452268" y="1223902"/>
                  </a:lnTo>
                  <a:lnTo>
                    <a:pt x="453088" y="1222593"/>
                  </a:lnTo>
                  <a:lnTo>
                    <a:pt x="452773" y="1221611"/>
                  </a:lnTo>
                  <a:lnTo>
                    <a:pt x="451667" y="1221041"/>
                  </a:lnTo>
                  <a:lnTo>
                    <a:pt x="450072" y="1221212"/>
                  </a:lnTo>
                  <a:lnTo>
                    <a:pt x="448266" y="1221875"/>
                  </a:lnTo>
                  <a:lnTo>
                    <a:pt x="446137" y="1221750"/>
                  </a:lnTo>
                  <a:lnTo>
                    <a:pt x="442732" y="1219490"/>
                  </a:lnTo>
                  <a:lnTo>
                    <a:pt x="439110" y="1217265"/>
                  </a:lnTo>
                  <a:lnTo>
                    <a:pt x="437025" y="1217190"/>
                  </a:lnTo>
                  <a:lnTo>
                    <a:pt x="435576" y="1216862"/>
                  </a:lnTo>
                  <a:lnTo>
                    <a:pt x="434317" y="1215714"/>
                  </a:lnTo>
                  <a:lnTo>
                    <a:pt x="433561" y="1214237"/>
                  </a:lnTo>
                  <a:lnTo>
                    <a:pt x="432743" y="1213582"/>
                  </a:lnTo>
                  <a:lnTo>
                    <a:pt x="431419" y="1213991"/>
                  </a:lnTo>
                  <a:lnTo>
                    <a:pt x="429490" y="1214663"/>
                  </a:lnTo>
                  <a:lnTo>
                    <a:pt x="427072" y="1214482"/>
                  </a:lnTo>
                  <a:lnTo>
                    <a:pt x="423939" y="1212764"/>
                  </a:lnTo>
                  <a:lnTo>
                    <a:pt x="421088" y="1210787"/>
                  </a:lnTo>
                  <a:lnTo>
                    <a:pt x="418970" y="1210738"/>
                  </a:lnTo>
                  <a:lnTo>
                    <a:pt x="416742" y="1210464"/>
                  </a:lnTo>
                  <a:lnTo>
                    <a:pt x="412483" y="1207916"/>
                  </a:lnTo>
                  <a:lnTo>
                    <a:pt x="411380" y="1207941"/>
                  </a:lnTo>
                  <a:lnTo>
                    <a:pt x="410691" y="1208694"/>
                  </a:lnTo>
                  <a:lnTo>
                    <a:pt x="410363" y="1210739"/>
                  </a:lnTo>
                  <a:lnTo>
                    <a:pt x="410011" y="1211176"/>
                  </a:lnTo>
                  <a:lnTo>
                    <a:pt x="409253" y="1211510"/>
                  </a:lnTo>
                  <a:lnTo>
                    <a:pt x="407802" y="1211735"/>
                  </a:lnTo>
                  <a:lnTo>
                    <a:pt x="405666" y="1210460"/>
                  </a:lnTo>
                  <a:lnTo>
                    <a:pt x="400224" y="1206277"/>
                  </a:lnTo>
                  <a:lnTo>
                    <a:pt x="398033" y="1203215"/>
                  </a:lnTo>
                  <a:lnTo>
                    <a:pt x="397530" y="1200989"/>
                  </a:lnTo>
                  <a:lnTo>
                    <a:pt x="395739" y="1199573"/>
                  </a:lnTo>
                  <a:lnTo>
                    <a:pt x="394003" y="1197521"/>
                  </a:lnTo>
                  <a:lnTo>
                    <a:pt x="392241" y="1197343"/>
                  </a:lnTo>
                  <a:lnTo>
                    <a:pt x="390289" y="1198000"/>
                  </a:lnTo>
                  <a:lnTo>
                    <a:pt x="388436" y="1198988"/>
                  </a:lnTo>
                  <a:lnTo>
                    <a:pt x="387555" y="1199260"/>
                  </a:lnTo>
                  <a:lnTo>
                    <a:pt x="384398" y="1199606"/>
                  </a:lnTo>
                  <a:lnTo>
                    <a:pt x="379326" y="1200989"/>
                  </a:lnTo>
                  <a:lnTo>
                    <a:pt x="377939" y="1202309"/>
                  </a:lnTo>
                  <a:lnTo>
                    <a:pt x="376238" y="1203380"/>
                  </a:lnTo>
                  <a:lnTo>
                    <a:pt x="374916" y="1202638"/>
                  </a:lnTo>
                  <a:lnTo>
                    <a:pt x="373593" y="1201318"/>
                  </a:lnTo>
                  <a:lnTo>
                    <a:pt x="370697" y="1200844"/>
                  </a:lnTo>
                  <a:lnTo>
                    <a:pt x="369309" y="1201318"/>
                  </a:lnTo>
                  <a:lnTo>
                    <a:pt x="367922" y="1200411"/>
                  </a:lnTo>
                  <a:lnTo>
                    <a:pt x="366730" y="1198787"/>
                  </a:lnTo>
                  <a:lnTo>
                    <a:pt x="365115" y="1197606"/>
                  </a:lnTo>
                  <a:lnTo>
                    <a:pt x="362714" y="1197283"/>
                  </a:lnTo>
                  <a:lnTo>
                    <a:pt x="360114" y="1196778"/>
                  </a:lnTo>
                  <a:lnTo>
                    <a:pt x="358034" y="1197687"/>
                  </a:lnTo>
                  <a:lnTo>
                    <a:pt x="355326" y="1199420"/>
                  </a:lnTo>
                  <a:lnTo>
                    <a:pt x="353500" y="1198760"/>
                  </a:lnTo>
                  <a:lnTo>
                    <a:pt x="352491" y="1196694"/>
                  </a:lnTo>
                  <a:lnTo>
                    <a:pt x="351230" y="1196116"/>
                  </a:lnTo>
                  <a:lnTo>
                    <a:pt x="349531" y="1193799"/>
                  </a:lnTo>
                  <a:lnTo>
                    <a:pt x="349090" y="1191729"/>
                  </a:lnTo>
                  <a:lnTo>
                    <a:pt x="349531" y="1190819"/>
                  </a:lnTo>
                  <a:lnTo>
                    <a:pt x="350161" y="1189659"/>
                  </a:lnTo>
                  <a:lnTo>
                    <a:pt x="350161" y="1188332"/>
                  </a:lnTo>
                  <a:lnTo>
                    <a:pt x="349658" y="1187170"/>
                  </a:lnTo>
                  <a:lnTo>
                    <a:pt x="348902" y="1186257"/>
                  </a:lnTo>
                  <a:lnTo>
                    <a:pt x="348082" y="1183184"/>
                  </a:lnTo>
                  <a:lnTo>
                    <a:pt x="347389" y="1181853"/>
                  </a:lnTo>
                  <a:lnTo>
                    <a:pt x="347263" y="1180773"/>
                  </a:lnTo>
                  <a:lnTo>
                    <a:pt x="347831" y="1179773"/>
                  </a:lnTo>
                  <a:lnTo>
                    <a:pt x="347326" y="1179108"/>
                  </a:lnTo>
                  <a:lnTo>
                    <a:pt x="346380" y="1179024"/>
                  </a:lnTo>
                  <a:lnTo>
                    <a:pt x="344808" y="1179108"/>
                  </a:lnTo>
                  <a:lnTo>
                    <a:pt x="343925" y="1178608"/>
                  </a:lnTo>
                  <a:lnTo>
                    <a:pt x="342979" y="1176858"/>
                  </a:lnTo>
                  <a:lnTo>
                    <a:pt x="342476" y="1175108"/>
                  </a:lnTo>
                  <a:lnTo>
                    <a:pt x="341845" y="1174441"/>
                  </a:lnTo>
                  <a:lnTo>
                    <a:pt x="340213" y="1174490"/>
                  </a:lnTo>
                  <a:lnTo>
                    <a:pt x="337522" y="1174857"/>
                  </a:lnTo>
                  <a:lnTo>
                    <a:pt x="335130" y="1175439"/>
                  </a:lnTo>
                  <a:lnTo>
                    <a:pt x="334067" y="1175355"/>
                  </a:lnTo>
                  <a:lnTo>
                    <a:pt x="331955" y="1174450"/>
                  </a:lnTo>
                  <a:lnTo>
                    <a:pt x="329174" y="1173456"/>
                  </a:lnTo>
                  <a:lnTo>
                    <a:pt x="323495" y="1173259"/>
                  </a:lnTo>
                  <a:lnTo>
                    <a:pt x="323046" y="1172920"/>
                  </a:lnTo>
                  <a:lnTo>
                    <a:pt x="323368" y="1172290"/>
                  </a:lnTo>
                  <a:lnTo>
                    <a:pt x="324523" y="1171269"/>
                  </a:lnTo>
                  <a:lnTo>
                    <a:pt x="324398" y="1170433"/>
                  </a:lnTo>
                  <a:lnTo>
                    <a:pt x="323400" y="1169757"/>
                  </a:lnTo>
                  <a:lnTo>
                    <a:pt x="322884" y="1168093"/>
                  </a:lnTo>
                  <a:lnTo>
                    <a:pt x="322944" y="1166209"/>
                  </a:lnTo>
                  <a:lnTo>
                    <a:pt x="322759" y="1164159"/>
                  </a:lnTo>
                  <a:lnTo>
                    <a:pt x="321562" y="1162566"/>
                  </a:lnTo>
                  <a:lnTo>
                    <a:pt x="320869" y="1161477"/>
                  </a:lnTo>
                  <a:lnTo>
                    <a:pt x="320994" y="1160470"/>
                  </a:lnTo>
                  <a:lnTo>
                    <a:pt x="323605" y="1160085"/>
                  </a:lnTo>
                  <a:lnTo>
                    <a:pt x="326704" y="1159370"/>
                  </a:lnTo>
                  <a:lnTo>
                    <a:pt x="327222" y="1158633"/>
                  </a:lnTo>
                  <a:lnTo>
                    <a:pt x="327114" y="1157486"/>
                  </a:lnTo>
                  <a:lnTo>
                    <a:pt x="320817" y="1151604"/>
                  </a:lnTo>
                  <a:lnTo>
                    <a:pt x="318656" y="1146386"/>
                  </a:lnTo>
                  <a:lnTo>
                    <a:pt x="316594" y="1143554"/>
                  </a:lnTo>
                  <a:lnTo>
                    <a:pt x="314311" y="1141650"/>
                  </a:lnTo>
                  <a:lnTo>
                    <a:pt x="312463" y="1140785"/>
                  </a:lnTo>
                  <a:lnTo>
                    <a:pt x="309768" y="1141146"/>
                  </a:lnTo>
                  <a:lnTo>
                    <a:pt x="306196" y="1141111"/>
                  </a:lnTo>
                  <a:lnTo>
                    <a:pt x="302553" y="1140524"/>
                  </a:lnTo>
                  <a:lnTo>
                    <a:pt x="299487" y="1140914"/>
                  </a:lnTo>
                  <a:lnTo>
                    <a:pt x="293987" y="1143410"/>
                  </a:lnTo>
                  <a:lnTo>
                    <a:pt x="291925" y="1143520"/>
                  </a:lnTo>
                  <a:lnTo>
                    <a:pt x="288364" y="1142735"/>
                  </a:lnTo>
                  <a:lnTo>
                    <a:pt x="285324" y="1141861"/>
                  </a:lnTo>
                  <a:lnTo>
                    <a:pt x="283721" y="1141900"/>
                  </a:lnTo>
                  <a:lnTo>
                    <a:pt x="282745" y="1142268"/>
                  </a:lnTo>
                  <a:lnTo>
                    <a:pt x="282119" y="1142942"/>
                  </a:lnTo>
                  <a:lnTo>
                    <a:pt x="280346" y="1147628"/>
                  </a:lnTo>
                  <a:lnTo>
                    <a:pt x="278887" y="1148548"/>
                  </a:lnTo>
                  <a:lnTo>
                    <a:pt x="276796" y="1149505"/>
                  </a:lnTo>
                  <a:lnTo>
                    <a:pt x="275012" y="1149670"/>
                  </a:lnTo>
                  <a:lnTo>
                    <a:pt x="273514" y="1149622"/>
                  </a:lnTo>
                  <a:lnTo>
                    <a:pt x="271342" y="1148904"/>
                  </a:lnTo>
                  <a:lnTo>
                    <a:pt x="269281" y="1148060"/>
                  </a:lnTo>
                  <a:lnTo>
                    <a:pt x="268860" y="1148011"/>
                  </a:lnTo>
                  <a:lnTo>
                    <a:pt x="268755" y="1147278"/>
                  </a:lnTo>
                  <a:lnTo>
                    <a:pt x="267252" y="1144468"/>
                  </a:lnTo>
                  <a:lnTo>
                    <a:pt x="266351" y="1143236"/>
                  </a:lnTo>
                  <a:lnTo>
                    <a:pt x="265282" y="1142565"/>
                  </a:lnTo>
                  <a:lnTo>
                    <a:pt x="264747" y="1141749"/>
                  </a:lnTo>
                  <a:lnTo>
                    <a:pt x="264730" y="1138371"/>
                  </a:lnTo>
                  <a:lnTo>
                    <a:pt x="264928" y="1135204"/>
                  </a:lnTo>
                  <a:lnTo>
                    <a:pt x="265600" y="1134796"/>
                  </a:lnTo>
                  <a:lnTo>
                    <a:pt x="263615" y="1132210"/>
                  </a:lnTo>
                  <a:lnTo>
                    <a:pt x="263466" y="1130250"/>
                  </a:lnTo>
                  <a:lnTo>
                    <a:pt x="264440" y="1129274"/>
                  </a:lnTo>
                  <a:lnTo>
                    <a:pt x="264470" y="1128445"/>
                  </a:lnTo>
                  <a:lnTo>
                    <a:pt x="263814" y="1127280"/>
                  </a:lnTo>
                  <a:lnTo>
                    <a:pt x="261771" y="1125380"/>
                  </a:lnTo>
                  <a:lnTo>
                    <a:pt x="259787" y="1123238"/>
                  </a:lnTo>
                  <a:lnTo>
                    <a:pt x="258506" y="1121552"/>
                  </a:lnTo>
                  <a:lnTo>
                    <a:pt x="257703" y="1120746"/>
                  </a:lnTo>
                  <a:lnTo>
                    <a:pt x="258679" y="1119422"/>
                  </a:lnTo>
                  <a:lnTo>
                    <a:pt x="260042" y="1117081"/>
                  </a:lnTo>
                  <a:lnTo>
                    <a:pt x="260568" y="1115706"/>
                  </a:lnTo>
                  <a:lnTo>
                    <a:pt x="261221" y="1115369"/>
                  </a:lnTo>
                  <a:lnTo>
                    <a:pt x="264429" y="1115175"/>
                  </a:lnTo>
                  <a:lnTo>
                    <a:pt x="266757" y="1115222"/>
                  </a:lnTo>
                  <a:lnTo>
                    <a:pt x="268508" y="1115725"/>
                  </a:lnTo>
                  <a:lnTo>
                    <a:pt x="269171" y="1116844"/>
                  </a:lnTo>
                  <a:lnTo>
                    <a:pt x="270769" y="1118064"/>
                  </a:lnTo>
                  <a:lnTo>
                    <a:pt x="275319" y="1118566"/>
                  </a:lnTo>
                  <a:lnTo>
                    <a:pt x="277232" y="1118515"/>
                  </a:lnTo>
                  <a:lnTo>
                    <a:pt x="279636" y="1117399"/>
                  </a:lnTo>
                  <a:lnTo>
                    <a:pt x="283518" y="1114932"/>
                  </a:lnTo>
                  <a:lnTo>
                    <a:pt x="284471" y="1113138"/>
                  </a:lnTo>
                  <a:lnTo>
                    <a:pt x="286874" y="1111873"/>
                  </a:lnTo>
                  <a:lnTo>
                    <a:pt x="288342" y="1111377"/>
                  </a:lnTo>
                  <a:lnTo>
                    <a:pt x="289666" y="1111154"/>
                  </a:lnTo>
                  <a:lnTo>
                    <a:pt x="289798" y="1110098"/>
                  </a:lnTo>
                  <a:lnTo>
                    <a:pt x="289713" y="1108653"/>
                  </a:lnTo>
                  <a:lnTo>
                    <a:pt x="289256" y="1107789"/>
                  </a:lnTo>
                  <a:lnTo>
                    <a:pt x="284477" y="1104810"/>
                  </a:lnTo>
                  <a:lnTo>
                    <a:pt x="283875" y="1103837"/>
                  </a:lnTo>
                  <a:lnTo>
                    <a:pt x="283494" y="1102689"/>
                  </a:lnTo>
                  <a:lnTo>
                    <a:pt x="284064" y="1101601"/>
                  </a:lnTo>
                  <a:lnTo>
                    <a:pt x="284047" y="1100405"/>
                  </a:lnTo>
                  <a:lnTo>
                    <a:pt x="278524" y="1097735"/>
                  </a:lnTo>
                  <a:lnTo>
                    <a:pt x="273920" y="1097262"/>
                  </a:lnTo>
                  <a:lnTo>
                    <a:pt x="270130" y="1097412"/>
                  </a:lnTo>
                  <a:lnTo>
                    <a:pt x="268657" y="1096852"/>
                  </a:lnTo>
                  <a:lnTo>
                    <a:pt x="269294" y="1095504"/>
                  </a:lnTo>
                  <a:lnTo>
                    <a:pt x="270229" y="1093080"/>
                  </a:lnTo>
                  <a:lnTo>
                    <a:pt x="270506" y="1091085"/>
                  </a:lnTo>
                  <a:lnTo>
                    <a:pt x="270244" y="1090177"/>
                  </a:lnTo>
                  <a:lnTo>
                    <a:pt x="269493" y="1089413"/>
                  </a:lnTo>
                  <a:lnTo>
                    <a:pt x="265876" y="1087734"/>
                  </a:lnTo>
                  <a:lnTo>
                    <a:pt x="260905" y="1085158"/>
                  </a:lnTo>
                  <a:lnTo>
                    <a:pt x="258595" y="1082244"/>
                  </a:lnTo>
                  <a:lnTo>
                    <a:pt x="257409" y="1079198"/>
                  </a:lnTo>
                  <a:lnTo>
                    <a:pt x="256066" y="1077328"/>
                  </a:lnTo>
                  <a:lnTo>
                    <a:pt x="253635" y="1076143"/>
                  </a:lnTo>
                  <a:lnTo>
                    <a:pt x="253792" y="1075370"/>
                  </a:lnTo>
                  <a:lnTo>
                    <a:pt x="255405" y="1072502"/>
                  </a:lnTo>
                  <a:lnTo>
                    <a:pt x="255345" y="1072062"/>
                  </a:lnTo>
                  <a:lnTo>
                    <a:pt x="254662" y="1071354"/>
                  </a:lnTo>
                  <a:lnTo>
                    <a:pt x="251630" y="1069903"/>
                  </a:lnTo>
                  <a:lnTo>
                    <a:pt x="247532" y="1067227"/>
                  </a:lnTo>
                  <a:lnTo>
                    <a:pt x="247359" y="1066529"/>
                  </a:lnTo>
                  <a:lnTo>
                    <a:pt x="247657" y="1064845"/>
                  </a:lnTo>
                  <a:lnTo>
                    <a:pt x="248219" y="1063186"/>
                  </a:lnTo>
                  <a:lnTo>
                    <a:pt x="249035" y="1062395"/>
                  </a:lnTo>
                  <a:lnTo>
                    <a:pt x="251488" y="1059022"/>
                  </a:lnTo>
                  <a:lnTo>
                    <a:pt x="251488" y="1057874"/>
                  </a:lnTo>
                  <a:lnTo>
                    <a:pt x="251071" y="1056341"/>
                  </a:lnTo>
                  <a:lnTo>
                    <a:pt x="249270" y="1053695"/>
                  </a:lnTo>
                  <a:lnTo>
                    <a:pt x="247878" y="1051991"/>
                  </a:lnTo>
                  <a:lnTo>
                    <a:pt x="247791" y="1051118"/>
                  </a:lnTo>
                  <a:lnTo>
                    <a:pt x="248022" y="1050399"/>
                  </a:lnTo>
                  <a:lnTo>
                    <a:pt x="248925" y="1049469"/>
                  </a:lnTo>
                  <a:lnTo>
                    <a:pt x="249782" y="1048325"/>
                  </a:lnTo>
                  <a:lnTo>
                    <a:pt x="249963" y="1044368"/>
                  </a:lnTo>
                  <a:lnTo>
                    <a:pt x="249920" y="1042984"/>
                  </a:lnTo>
                  <a:lnTo>
                    <a:pt x="249376" y="1042167"/>
                  </a:lnTo>
                  <a:lnTo>
                    <a:pt x="248795" y="1041822"/>
                  </a:lnTo>
                  <a:lnTo>
                    <a:pt x="247575" y="1042020"/>
                  </a:lnTo>
                  <a:lnTo>
                    <a:pt x="245826" y="1041370"/>
                  </a:lnTo>
                  <a:lnTo>
                    <a:pt x="244513" y="1040336"/>
                  </a:lnTo>
                  <a:lnTo>
                    <a:pt x="243701" y="1040001"/>
                  </a:lnTo>
                  <a:lnTo>
                    <a:pt x="242842" y="1038945"/>
                  </a:lnTo>
                  <a:lnTo>
                    <a:pt x="240380" y="1036818"/>
                  </a:lnTo>
                  <a:lnTo>
                    <a:pt x="239957" y="1036258"/>
                  </a:lnTo>
                  <a:lnTo>
                    <a:pt x="235033" y="1034443"/>
                  </a:lnTo>
                  <a:lnTo>
                    <a:pt x="230812" y="1034716"/>
                  </a:lnTo>
                  <a:lnTo>
                    <a:pt x="228476" y="1034441"/>
                  </a:lnTo>
                  <a:lnTo>
                    <a:pt x="227251" y="1034844"/>
                  </a:lnTo>
                  <a:lnTo>
                    <a:pt x="225975" y="1036000"/>
                  </a:lnTo>
                  <a:lnTo>
                    <a:pt x="224211" y="1036768"/>
                  </a:lnTo>
                  <a:lnTo>
                    <a:pt x="222893" y="1036789"/>
                  </a:lnTo>
                  <a:lnTo>
                    <a:pt x="221688" y="1037365"/>
                  </a:lnTo>
                  <a:lnTo>
                    <a:pt x="218419" y="1039433"/>
                  </a:lnTo>
                  <a:lnTo>
                    <a:pt x="216888" y="1038183"/>
                  </a:lnTo>
                  <a:lnTo>
                    <a:pt x="215571" y="1036334"/>
                  </a:lnTo>
                  <a:lnTo>
                    <a:pt x="216007" y="1034769"/>
                  </a:lnTo>
                  <a:lnTo>
                    <a:pt x="216556" y="1033328"/>
                  </a:lnTo>
                  <a:lnTo>
                    <a:pt x="216515" y="1032359"/>
                  </a:lnTo>
                  <a:lnTo>
                    <a:pt x="216048" y="1031533"/>
                  </a:lnTo>
                  <a:lnTo>
                    <a:pt x="214014" y="1030625"/>
                  </a:lnTo>
                  <a:lnTo>
                    <a:pt x="209689" y="1028966"/>
                  </a:lnTo>
                  <a:lnTo>
                    <a:pt x="208458" y="1028946"/>
                  </a:lnTo>
                  <a:lnTo>
                    <a:pt x="206594" y="1029559"/>
                  </a:lnTo>
                  <a:lnTo>
                    <a:pt x="203217" y="1031413"/>
                  </a:lnTo>
                  <a:lnTo>
                    <a:pt x="202025" y="1031015"/>
                  </a:lnTo>
                  <a:lnTo>
                    <a:pt x="200920" y="1029542"/>
                  </a:lnTo>
                  <a:lnTo>
                    <a:pt x="199728" y="1027699"/>
                  </a:lnTo>
                  <a:lnTo>
                    <a:pt x="198115" y="1026756"/>
                  </a:lnTo>
                  <a:lnTo>
                    <a:pt x="194644" y="1026849"/>
                  </a:lnTo>
                  <a:lnTo>
                    <a:pt x="194314" y="1026920"/>
                  </a:lnTo>
                  <a:lnTo>
                    <a:pt x="192638" y="1027987"/>
                  </a:lnTo>
                  <a:lnTo>
                    <a:pt x="191930" y="1027881"/>
                  </a:lnTo>
                  <a:lnTo>
                    <a:pt x="188916" y="1025166"/>
                  </a:lnTo>
                  <a:lnTo>
                    <a:pt x="189477" y="1023685"/>
                  </a:lnTo>
                  <a:lnTo>
                    <a:pt x="190112" y="1021495"/>
                  </a:lnTo>
                  <a:lnTo>
                    <a:pt x="189883" y="1019769"/>
                  </a:lnTo>
                  <a:lnTo>
                    <a:pt x="189386" y="1017536"/>
                  </a:lnTo>
                  <a:lnTo>
                    <a:pt x="188095" y="1013653"/>
                  </a:lnTo>
                  <a:lnTo>
                    <a:pt x="187924" y="1012554"/>
                  </a:lnTo>
                  <a:lnTo>
                    <a:pt x="185810" y="1010853"/>
                  </a:lnTo>
                  <a:lnTo>
                    <a:pt x="185458" y="1009424"/>
                  </a:lnTo>
                  <a:lnTo>
                    <a:pt x="184348" y="1007587"/>
                  </a:lnTo>
                  <a:lnTo>
                    <a:pt x="183258" y="1006411"/>
                  </a:lnTo>
                  <a:lnTo>
                    <a:pt x="183025" y="1003793"/>
                  </a:lnTo>
                  <a:lnTo>
                    <a:pt x="182297" y="1002871"/>
                  </a:lnTo>
                  <a:lnTo>
                    <a:pt x="181356" y="1002439"/>
                  </a:lnTo>
                  <a:lnTo>
                    <a:pt x="178030" y="1003192"/>
                  </a:lnTo>
                  <a:lnTo>
                    <a:pt x="177672" y="1003115"/>
                  </a:lnTo>
                  <a:lnTo>
                    <a:pt x="179257" y="998936"/>
                  </a:lnTo>
                  <a:lnTo>
                    <a:pt x="179395" y="996515"/>
                  </a:lnTo>
                  <a:lnTo>
                    <a:pt x="180399" y="993969"/>
                  </a:lnTo>
                  <a:lnTo>
                    <a:pt x="181543" y="992962"/>
                  </a:lnTo>
                  <a:lnTo>
                    <a:pt x="181891" y="992088"/>
                  </a:lnTo>
                  <a:lnTo>
                    <a:pt x="182068" y="990400"/>
                  </a:lnTo>
                  <a:lnTo>
                    <a:pt x="181854" y="988953"/>
                  </a:lnTo>
                  <a:lnTo>
                    <a:pt x="181153" y="988203"/>
                  </a:lnTo>
                  <a:lnTo>
                    <a:pt x="178408" y="986578"/>
                  </a:lnTo>
                  <a:lnTo>
                    <a:pt x="175443" y="984618"/>
                  </a:lnTo>
                  <a:lnTo>
                    <a:pt x="174834" y="982125"/>
                  </a:lnTo>
                  <a:lnTo>
                    <a:pt x="173918" y="981619"/>
                  </a:lnTo>
                  <a:lnTo>
                    <a:pt x="171314" y="981489"/>
                  </a:lnTo>
                  <a:lnTo>
                    <a:pt x="171366" y="980783"/>
                  </a:lnTo>
                  <a:lnTo>
                    <a:pt x="171753" y="978798"/>
                  </a:lnTo>
                  <a:lnTo>
                    <a:pt x="172377" y="977068"/>
                  </a:lnTo>
                  <a:lnTo>
                    <a:pt x="174411" y="975212"/>
                  </a:lnTo>
                  <a:lnTo>
                    <a:pt x="174914" y="973958"/>
                  </a:lnTo>
                  <a:lnTo>
                    <a:pt x="175519" y="972832"/>
                  </a:lnTo>
                  <a:lnTo>
                    <a:pt x="180179" y="971502"/>
                  </a:lnTo>
                  <a:lnTo>
                    <a:pt x="180712" y="970999"/>
                  </a:lnTo>
                  <a:lnTo>
                    <a:pt x="180747" y="970552"/>
                  </a:lnTo>
                  <a:lnTo>
                    <a:pt x="180530" y="970122"/>
                  </a:lnTo>
                  <a:lnTo>
                    <a:pt x="179496" y="969439"/>
                  </a:lnTo>
                  <a:lnTo>
                    <a:pt x="178423" y="968506"/>
                  </a:lnTo>
                  <a:lnTo>
                    <a:pt x="177775" y="965964"/>
                  </a:lnTo>
                  <a:lnTo>
                    <a:pt x="176160" y="961978"/>
                  </a:lnTo>
                  <a:lnTo>
                    <a:pt x="174642" y="959302"/>
                  </a:lnTo>
                  <a:lnTo>
                    <a:pt x="174318" y="957734"/>
                  </a:lnTo>
                  <a:lnTo>
                    <a:pt x="174711" y="955923"/>
                  </a:lnTo>
                  <a:lnTo>
                    <a:pt x="175253" y="954144"/>
                  </a:lnTo>
                  <a:lnTo>
                    <a:pt x="175281" y="952410"/>
                  </a:lnTo>
                  <a:lnTo>
                    <a:pt x="172975" y="942778"/>
                  </a:lnTo>
                  <a:lnTo>
                    <a:pt x="173132" y="941020"/>
                  </a:lnTo>
                  <a:lnTo>
                    <a:pt x="173802" y="939266"/>
                  </a:lnTo>
                  <a:lnTo>
                    <a:pt x="174877" y="937805"/>
                  </a:lnTo>
                  <a:lnTo>
                    <a:pt x="177281" y="935898"/>
                  </a:lnTo>
                  <a:lnTo>
                    <a:pt x="180284" y="932415"/>
                  </a:lnTo>
                  <a:lnTo>
                    <a:pt x="182316" y="927828"/>
                  </a:lnTo>
                  <a:lnTo>
                    <a:pt x="183381" y="925053"/>
                  </a:lnTo>
                  <a:lnTo>
                    <a:pt x="184277" y="924420"/>
                  </a:lnTo>
                  <a:lnTo>
                    <a:pt x="186007" y="924266"/>
                  </a:lnTo>
                  <a:lnTo>
                    <a:pt x="186663" y="923412"/>
                  </a:lnTo>
                  <a:lnTo>
                    <a:pt x="187000" y="922907"/>
                  </a:lnTo>
                  <a:lnTo>
                    <a:pt x="188482" y="922439"/>
                  </a:lnTo>
                  <a:lnTo>
                    <a:pt x="188985" y="921888"/>
                  </a:lnTo>
                  <a:lnTo>
                    <a:pt x="188585" y="920950"/>
                  </a:lnTo>
                  <a:lnTo>
                    <a:pt x="187099" y="919309"/>
                  </a:lnTo>
                  <a:lnTo>
                    <a:pt x="185920" y="918289"/>
                  </a:lnTo>
                  <a:lnTo>
                    <a:pt x="187058" y="916002"/>
                  </a:lnTo>
                  <a:lnTo>
                    <a:pt x="186668" y="912942"/>
                  </a:lnTo>
                  <a:lnTo>
                    <a:pt x="185953" y="910391"/>
                  </a:lnTo>
                  <a:lnTo>
                    <a:pt x="186927" y="908521"/>
                  </a:lnTo>
                  <a:lnTo>
                    <a:pt x="188544" y="908357"/>
                  </a:lnTo>
                  <a:lnTo>
                    <a:pt x="190343" y="910394"/>
                  </a:lnTo>
                  <a:lnTo>
                    <a:pt x="193042" y="911451"/>
                  </a:lnTo>
                  <a:lnTo>
                    <a:pt x="195014" y="910084"/>
                  </a:lnTo>
                  <a:lnTo>
                    <a:pt x="195681" y="907443"/>
                  </a:lnTo>
                  <a:lnTo>
                    <a:pt x="197102" y="906280"/>
                  </a:lnTo>
                  <a:lnTo>
                    <a:pt x="198998" y="907318"/>
                  </a:lnTo>
                  <a:lnTo>
                    <a:pt x="202176" y="907693"/>
                  </a:lnTo>
                  <a:lnTo>
                    <a:pt x="204813" y="907521"/>
                  </a:lnTo>
                  <a:lnTo>
                    <a:pt x="206590" y="906966"/>
                  </a:lnTo>
                  <a:lnTo>
                    <a:pt x="207348" y="906107"/>
                  </a:lnTo>
                  <a:lnTo>
                    <a:pt x="208052" y="904565"/>
                  </a:lnTo>
                  <a:lnTo>
                    <a:pt x="209505" y="902603"/>
                  </a:lnTo>
                  <a:lnTo>
                    <a:pt x="211013" y="901322"/>
                  </a:lnTo>
                  <a:lnTo>
                    <a:pt x="222565" y="902779"/>
                  </a:lnTo>
                  <a:lnTo>
                    <a:pt x="232578" y="905488"/>
                  </a:lnTo>
                  <a:lnTo>
                    <a:pt x="233336" y="904474"/>
                  </a:lnTo>
                  <a:lnTo>
                    <a:pt x="233686" y="902730"/>
                  </a:lnTo>
                  <a:lnTo>
                    <a:pt x="231194" y="901229"/>
                  </a:lnTo>
                  <a:lnTo>
                    <a:pt x="229354" y="900443"/>
                  </a:lnTo>
                  <a:lnTo>
                    <a:pt x="227044" y="897317"/>
                  </a:lnTo>
                  <a:lnTo>
                    <a:pt x="223703" y="894850"/>
                  </a:lnTo>
                  <a:lnTo>
                    <a:pt x="220346" y="894633"/>
                  </a:lnTo>
                  <a:lnTo>
                    <a:pt x="215947" y="895492"/>
                  </a:lnTo>
                  <a:lnTo>
                    <a:pt x="209285" y="894978"/>
                  </a:lnTo>
                  <a:lnTo>
                    <a:pt x="203614" y="890330"/>
                  </a:lnTo>
                  <a:lnTo>
                    <a:pt x="199866" y="888876"/>
                  </a:lnTo>
                  <a:lnTo>
                    <a:pt x="197193" y="885294"/>
                  </a:lnTo>
                  <a:lnTo>
                    <a:pt x="196514" y="883390"/>
                  </a:lnTo>
                  <a:lnTo>
                    <a:pt x="199408" y="885006"/>
                  </a:lnTo>
                  <a:lnTo>
                    <a:pt x="199803" y="883298"/>
                  </a:lnTo>
                  <a:lnTo>
                    <a:pt x="200030" y="881027"/>
                  </a:lnTo>
                  <a:lnTo>
                    <a:pt x="198421" y="879640"/>
                  </a:lnTo>
                  <a:lnTo>
                    <a:pt x="196983" y="878814"/>
                  </a:lnTo>
                  <a:lnTo>
                    <a:pt x="189609" y="882361"/>
                  </a:lnTo>
                  <a:lnTo>
                    <a:pt x="181170" y="883523"/>
                  </a:lnTo>
                  <a:lnTo>
                    <a:pt x="189004" y="876523"/>
                  </a:lnTo>
                  <a:lnTo>
                    <a:pt x="194653" y="871466"/>
                  </a:lnTo>
                  <a:lnTo>
                    <a:pt x="195707" y="870704"/>
                  </a:lnTo>
                  <a:lnTo>
                    <a:pt x="198207" y="869344"/>
                  </a:lnTo>
                  <a:lnTo>
                    <a:pt x="200302" y="867913"/>
                  </a:lnTo>
                  <a:lnTo>
                    <a:pt x="201986" y="866035"/>
                  </a:lnTo>
                  <a:lnTo>
                    <a:pt x="207601" y="862326"/>
                  </a:lnTo>
                  <a:lnTo>
                    <a:pt x="213321" y="858325"/>
                  </a:lnTo>
                  <a:lnTo>
                    <a:pt x="218644" y="853042"/>
                  </a:lnTo>
                  <a:lnTo>
                    <a:pt x="220568" y="851377"/>
                  </a:lnTo>
                  <a:lnTo>
                    <a:pt x="223017" y="849595"/>
                  </a:lnTo>
                  <a:lnTo>
                    <a:pt x="228391" y="843984"/>
                  </a:lnTo>
                  <a:lnTo>
                    <a:pt x="230089" y="842428"/>
                  </a:lnTo>
                  <a:lnTo>
                    <a:pt x="236645" y="835366"/>
                  </a:lnTo>
                  <a:lnTo>
                    <a:pt x="240475" y="831838"/>
                  </a:lnTo>
                  <a:lnTo>
                    <a:pt x="242376" y="829809"/>
                  </a:lnTo>
                  <a:lnTo>
                    <a:pt x="250560" y="823091"/>
                  </a:lnTo>
                  <a:lnTo>
                    <a:pt x="256109" y="817677"/>
                  </a:lnTo>
                  <a:lnTo>
                    <a:pt x="258297" y="814703"/>
                  </a:lnTo>
                  <a:lnTo>
                    <a:pt x="260436" y="810434"/>
                  </a:lnTo>
                  <a:lnTo>
                    <a:pt x="261650" y="807517"/>
                  </a:lnTo>
                  <a:lnTo>
                    <a:pt x="263788" y="803737"/>
                  </a:lnTo>
                  <a:lnTo>
                    <a:pt x="263844" y="802482"/>
                  </a:lnTo>
                  <a:lnTo>
                    <a:pt x="263242" y="801314"/>
                  </a:lnTo>
                  <a:lnTo>
                    <a:pt x="261644" y="799498"/>
                  </a:lnTo>
                  <a:lnTo>
                    <a:pt x="259426" y="797403"/>
                  </a:lnTo>
                  <a:lnTo>
                    <a:pt x="257452" y="794837"/>
                  </a:lnTo>
                  <a:lnTo>
                    <a:pt x="255980" y="792526"/>
                  </a:lnTo>
                  <a:lnTo>
                    <a:pt x="251423" y="789310"/>
                  </a:lnTo>
                  <a:lnTo>
                    <a:pt x="244358" y="785232"/>
                  </a:lnTo>
                  <a:lnTo>
                    <a:pt x="239123" y="782205"/>
                  </a:lnTo>
                  <a:lnTo>
                    <a:pt x="231093" y="775723"/>
                  </a:lnTo>
                  <a:lnTo>
                    <a:pt x="229681" y="774103"/>
                  </a:lnTo>
                  <a:lnTo>
                    <a:pt x="229959" y="773676"/>
                  </a:lnTo>
                  <a:lnTo>
                    <a:pt x="234518" y="771707"/>
                  </a:lnTo>
                  <a:lnTo>
                    <a:pt x="239052" y="766630"/>
                  </a:lnTo>
                  <a:lnTo>
                    <a:pt x="241011" y="764051"/>
                  </a:lnTo>
                  <a:lnTo>
                    <a:pt x="241501" y="762049"/>
                  </a:lnTo>
                  <a:lnTo>
                    <a:pt x="241542" y="759792"/>
                  </a:lnTo>
                  <a:lnTo>
                    <a:pt x="241229" y="757708"/>
                  </a:lnTo>
                  <a:lnTo>
                    <a:pt x="240657" y="756414"/>
                  </a:lnTo>
                  <a:lnTo>
                    <a:pt x="238506" y="754787"/>
                  </a:lnTo>
                  <a:lnTo>
                    <a:pt x="232259" y="751817"/>
                  </a:lnTo>
                  <a:lnTo>
                    <a:pt x="230794" y="749072"/>
                  </a:lnTo>
                  <a:lnTo>
                    <a:pt x="229572" y="746192"/>
                  </a:lnTo>
                  <a:lnTo>
                    <a:pt x="229549" y="745001"/>
                  </a:lnTo>
                  <a:lnTo>
                    <a:pt x="232524" y="741901"/>
                  </a:lnTo>
                  <a:lnTo>
                    <a:pt x="232658" y="740350"/>
                  </a:lnTo>
                  <a:lnTo>
                    <a:pt x="232306" y="738760"/>
                  </a:lnTo>
                  <a:lnTo>
                    <a:pt x="231479" y="737599"/>
                  </a:lnTo>
                  <a:lnTo>
                    <a:pt x="225075" y="736195"/>
                  </a:lnTo>
                  <a:lnTo>
                    <a:pt x="223271" y="734711"/>
                  </a:lnTo>
                  <a:lnTo>
                    <a:pt x="221853" y="732345"/>
                  </a:lnTo>
                  <a:lnTo>
                    <a:pt x="221116" y="730312"/>
                  </a:lnTo>
                  <a:lnTo>
                    <a:pt x="221043" y="729108"/>
                  </a:lnTo>
                  <a:lnTo>
                    <a:pt x="221520" y="727759"/>
                  </a:lnTo>
                  <a:lnTo>
                    <a:pt x="223677" y="726291"/>
                  </a:lnTo>
                  <a:lnTo>
                    <a:pt x="225685" y="725299"/>
                  </a:lnTo>
                  <a:lnTo>
                    <a:pt x="226042" y="723961"/>
                  </a:lnTo>
                  <a:lnTo>
                    <a:pt x="226025" y="722512"/>
                  </a:lnTo>
                  <a:lnTo>
                    <a:pt x="225679" y="721811"/>
                  </a:lnTo>
                  <a:lnTo>
                    <a:pt x="221680" y="721121"/>
                  </a:lnTo>
                  <a:lnTo>
                    <a:pt x="221298" y="720729"/>
                  </a:lnTo>
                  <a:lnTo>
                    <a:pt x="221200" y="720227"/>
                  </a:lnTo>
                  <a:lnTo>
                    <a:pt x="221404" y="719626"/>
                  </a:lnTo>
                  <a:lnTo>
                    <a:pt x="223563" y="717039"/>
                  </a:lnTo>
                  <a:lnTo>
                    <a:pt x="223854" y="712102"/>
                  </a:lnTo>
                  <a:lnTo>
                    <a:pt x="225876" y="708646"/>
                  </a:lnTo>
                  <a:lnTo>
                    <a:pt x="223587" y="706620"/>
                  </a:lnTo>
                  <a:lnTo>
                    <a:pt x="223764" y="706263"/>
                  </a:lnTo>
                  <a:lnTo>
                    <a:pt x="227273" y="705201"/>
                  </a:lnTo>
                  <a:lnTo>
                    <a:pt x="230510" y="704943"/>
                  </a:lnTo>
                  <a:lnTo>
                    <a:pt x="231976" y="704544"/>
                  </a:lnTo>
                  <a:lnTo>
                    <a:pt x="232140" y="702922"/>
                  </a:lnTo>
                  <a:lnTo>
                    <a:pt x="231803" y="700728"/>
                  </a:lnTo>
                  <a:lnTo>
                    <a:pt x="228467" y="692097"/>
                  </a:lnTo>
                  <a:lnTo>
                    <a:pt x="227733" y="689603"/>
                  </a:lnTo>
                  <a:lnTo>
                    <a:pt x="225523" y="686450"/>
                  </a:lnTo>
                  <a:lnTo>
                    <a:pt x="223693" y="684328"/>
                  </a:lnTo>
                  <a:lnTo>
                    <a:pt x="222591" y="682812"/>
                  </a:lnTo>
                  <a:lnTo>
                    <a:pt x="220818" y="679842"/>
                  </a:lnTo>
                  <a:lnTo>
                    <a:pt x="219792" y="676790"/>
                  </a:lnTo>
                  <a:lnTo>
                    <a:pt x="218024" y="673377"/>
                  </a:lnTo>
                  <a:lnTo>
                    <a:pt x="215964" y="670240"/>
                  </a:lnTo>
                  <a:lnTo>
                    <a:pt x="214241" y="667334"/>
                  </a:lnTo>
                  <a:lnTo>
                    <a:pt x="209814" y="661632"/>
                  </a:lnTo>
                  <a:lnTo>
                    <a:pt x="209220" y="660051"/>
                  </a:lnTo>
                  <a:lnTo>
                    <a:pt x="209283" y="658620"/>
                  </a:lnTo>
                  <a:lnTo>
                    <a:pt x="209680" y="657104"/>
                  </a:lnTo>
                  <a:lnTo>
                    <a:pt x="213137" y="652419"/>
                  </a:lnTo>
                  <a:lnTo>
                    <a:pt x="216329" y="648502"/>
                  </a:lnTo>
                  <a:lnTo>
                    <a:pt x="220410" y="643897"/>
                  </a:lnTo>
                  <a:lnTo>
                    <a:pt x="224353" y="640067"/>
                  </a:lnTo>
                  <a:lnTo>
                    <a:pt x="228568" y="635515"/>
                  </a:lnTo>
                  <a:lnTo>
                    <a:pt x="229605" y="630961"/>
                  </a:lnTo>
                  <a:lnTo>
                    <a:pt x="229409" y="630194"/>
                  </a:lnTo>
                  <a:lnTo>
                    <a:pt x="225923" y="627722"/>
                  </a:lnTo>
                  <a:lnTo>
                    <a:pt x="219348" y="621092"/>
                  </a:lnTo>
                  <a:lnTo>
                    <a:pt x="215359" y="616049"/>
                  </a:lnTo>
                  <a:lnTo>
                    <a:pt x="209149" y="613914"/>
                  </a:lnTo>
                  <a:lnTo>
                    <a:pt x="200794" y="611177"/>
                  </a:lnTo>
                  <a:lnTo>
                    <a:pt x="198030" y="605008"/>
                  </a:lnTo>
                  <a:lnTo>
                    <a:pt x="196052" y="599760"/>
                  </a:lnTo>
                  <a:lnTo>
                    <a:pt x="196242" y="597870"/>
                  </a:lnTo>
                  <a:lnTo>
                    <a:pt x="202273" y="588874"/>
                  </a:lnTo>
                  <a:lnTo>
                    <a:pt x="202839" y="587239"/>
                  </a:lnTo>
                  <a:lnTo>
                    <a:pt x="202733" y="586226"/>
                  </a:lnTo>
                  <a:lnTo>
                    <a:pt x="202114" y="585592"/>
                  </a:lnTo>
                  <a:lnTo>
                    <a:pt x="201254" y="585242"/>
                  </a:lnTo>
                  <a:lnTo>
                    <a:pt x="195672" y="584981"/>
                  </a:lnTo>
                  <a:lnTo>
                    <a:pt x="194800" y="583748"/>
                  </a:lnTo>
                  <a:lnTo>
                    <a:pt x="198160" y="582817"/>
                  </a:lnTo>
                  <a:lnTo>
                    <a:pt x="200950" y="581547"/>
                  </a:lnTo>
                  <a:lnTo>
                    <a:pt x="205521" y="579664"/>
                  </a:lnTo>
                  <a:lnTo>
                    <a:pt x="207001" y="579187"/>
                  </a:lnTo>
                  <a:lnTo>
                    <a:pt x="210378" y="578102"/>
                  </a:lnTo>
                  <a:lnTo>
                    <a:pt x="211535" y="577265"/>
                  </a:lnTo>
                  <a:lnTo>
                    <a:pt x="212399" y="576276"/>
                  </a:lnTo>
                  <a:lnTo>
                    <a:pt x="215562" y="569525"/>
                  </a:lnTo>
                  <a:lnTo>
                    <a:pt x="216342" y="568452"/>
                  </a:lnTo>
                  <a:lnTo>
                    <a:pt x="226169" y="566022"/>
                  </a:lnTo>
                  <a:lnTo>
                    <a:pt x="229737" y="564772"/>
                  </a:lnTo>
                  <a:lnTo>
                    <a:pt x="231799" y="563194"/>
                  </a:lnTo>
                  <a:lnTo>
                    <a:pt x="232784" y="561966"/>
                  </a:lnTo>
                  <a:lnTo>
                    <a:pt x="233490" y="560505"/>
                  </a:lnTo>
                  <a:lnTo>
                    <a:pt x="233997" y="558893"/>
                  </a:lnTo>
                  <a:lnTo>
                    <a:pt x="234213" y="557412"/>
                  </a:lnTo>
                  <a:lnTo>
                    <a:pt x="233401" y="555478"/>
                  </a:lnTo>
                  <a:lnTo>
                    <a:pt x="233852" y="555244"/>
                  </a:lnTo>
                  <a:lnTo>
                    <a:pt x="234900" y="555325"/>
                  </a:lnTo>
                  <a:lnTo>
                    <a:pt x="238264" y="557250"/>
                  </a:lnTo>
                  <a:lnTo>
                    <a:pt x="243477" y="559293"/>
                  </a:lnTo>
                  <a:lnTo>
                    <a:pt x="247312" y="559452"/>
                  </a:lnTo>
                  <a:lnTo>
                    <a:pt x="248901" y="559063"/>
                  </a:lnTo>
                  <a:lnTo>
                    <a:pt x="249696" y="558170"/>
                  </a:lnTo>
                  <a:lnTo>
                    <a:pt x="250266" y="556422"/>
                  </a:lnTo>
                  <a:lnTo>
                    <a:pt x="250303" y="554619"/>
                  </a:lnTo>
                  <a:lnTo>
                    <a:pt x="249100" y="549442"/>
                  </a:lnTo>
                  <a:lnTo>
                    <a:pt x="253075" y="550001"/>
                  </a:lnTo>
                  <a:lnTo>
                    <a:pt x="261991" y="553133"/>
                  </a:lnTo>
                  <a:lnTo>
                    <a:pt x="264075" y="552845"/>
                  </a:lnTo>
                  <a:lnTo>
                    <a:pt x="266712" y="551899"/>
                  </a:lnTo>
                  <a:lnTo>
                    <a:pt x="269417" y="548169"/>
                  </a:lnTo>
                  <a:lnTo>
                    <a:pt x="271426" y="547530"/>
                  </a:lnTo>
                  <a:lnTo>
                    <a:pt x="274047" y="548400"/>
                  </a:lnTo>
                  <a:lnTo>
                    <a:pt x="274769" y="547399"/>
                  </a:lnTo>
                  <a:lnTo>
                    <a:pt x="273414" y="544299"/>
                  </a:lnTo>
                  <a:lnTo>
                    <a:pt x="273751" y="542729"/>
                  </a:lnTo>
                  <a:lnTo>
                    <a:pt x="282752" y="546083"/>
                  </a:lnTo>
                  <a:lnTo>
                    <a:pt x="286595" y="548534"/>
                  </a:lnTo>
                  <a:lnTo>
                    <a:pt x="294915" y="550685"/>
                  </a:lnTo>
                  <a:lnTo>
                    <a:pt x="296377" y="551855"/>
                  </a:lnTo>
                  <a:lnTo>
                    <a:pt x="296483" y="553883"/>
                  </a:lnTo>
                  <a:lnTo>
                    <a:pt x="296086" y="555623"/>
                  </a:lnTo>
                  <a:lnTo>
                    <a:pt x="294326" y="556583"/>
                  </a:lnTo>
                  <a:lnTo>
                    <a:pt x="290771" y="556426"/>
                  </a:lnTo>
                  <a:lnTo>
                    <a:pt x="278001" y="553745"/>
                  </a:lnTo>
                  <a:lnTo>
                    <a:pt x="276116" y="555373"/>
                  </a:lnTo>
                  <a:lnTo>
                    <a:pt x="277660" y="556782"/>
                  </a:lnTo>
                  <a:lnTo>
                    <a:pt x="281402" y="558444"/>
                  </a:lnTo>
                  <a:lnTo>
                    <a:pt x="282445" y="561386"/>
                  </a:lnTo>
                  <a:lnTo>
                    <a:pt x="288174" y="560981"/>
                  </a:lnTo>
                  <a:lnTo>
                    <a:pt x="293635" y="562100"/>
                  </a:lnTo>
                  <a:lnTo>
                    <a:pt x="296200" y="561737"/>
                  </a:lnTo>
                  <a:lnTo>
                    <a:pt x="296669" y="562696"/>
                  </a:lnTo>
                  <a:lnTo>
                    <a:pt x="294913" y="565128"/>
                  </a:lnTo>
                  <a:lnTo>
                    <a:pt x="295738" y="565753"/>
                  </a:lnTo>
                  <a:lnTo>
                    <a:pt x="301862" y="563394"/>
                  </a:lnTo>
                  <a:lnTo>
                    <a:pt x="304715" y="562747"/>
                  </a:lnTo>
                  <a:lnTo>
                    <a:pt x="306250" y="563377"/>
                  </a:lnTo>
                  <a:lnTo>
                    <a:pt x="306457" y="565330"/>
                  </a:lnTo>
                  <a:lnTo>
                    <a:pt x="305447" y="567784"/>
                  </a:lnTo>
                  <a:lnTo>
                    <a:pt x="305337" y="569649"/>
                  </a:lnTo>
                  <a:lnTo>
                    <a:pt x="303452" y="574146"/>
                  </a:lnTo>
                  <a:lnTo>
                    <a:pt x="300547" y="575506"/>
                  </a:lnTo>
                  <a:lnTo>
                    <a:pt x="299327" y="577375"/>
                  </a:lnTo>
                  <a:lnTo>
                    <a:pt x="303577" y="576230"/>
                  </a:lnTo>
                  <a:lnTo>
                    <a:pt x="305838" y="574981"/>
                  </a:lnTo>
                  <a:lnTo>
                    <a:pt x="310070" y="568802"/>
                  </a:lnTo>
                  <a:lnTo>
                    <a:pt x="311338" y="567980"/>
                  </a:lnTo>
                  <a:lnTo>
                    <a:pt x="323389" y="567868"/>
                  </a:lnTo>
                  <a:lnTo>
                    <a:pt x="326117" y="568266"/>
                  </a:lnTo>
                  <a:lnTo>
                    <a:pt x="337421" y="571181"/>
                  </a:lnTo>
                  <a:lnTo>
                    <a:pt x="340640" y="571448"/>
                  </a:lnTo>
                  <a:lnTo>
                    <a:pt x="344318" y="571075"/>
                  </a:lnTo>
                  <a:lnTo>
                    <a:pt x="345586" y="569721"/>
                  </a:lnTo>
                  <a:lnTo>
                    <a:pt x="346838" y="569337"/>
                  </a:lnTo>
                  <a:lnTo>
                    <a:pt x="359399" y="572595"/>
                  </a:lnTo>
                  <a:lnTo>
                    <a:pt x="376212" y="579904"/>
                  </a:lnTo>
                  <a:lnTo>
                    <a:pt x="400807" y="591930"/>
                  </a:lnTo>
                  <a:lnTo>
                    <a:pt x="414673" y="602567"/>
                  </a:lnTo>
                  <a:lnTo>
                    <a:pt x="416277" y="604845"/>
                  </a:lnTo>
                  <a:lnTo>
                    <a:pt x="421289" y="606135"/>
                  </a:lnTo>
                  <a:lnTo>
                    <a:pt x="422367" y="605262"/>
                  </a:lnTo>
                  <a:lnTo>
                    <a:pt x="425152" y="606019"/>
                  </a:lnTo>
                  <a:lnTo>
                    <a:pt x="441458" y="615674"/>
                  </a:lnTo>
                  <a:lnTo>
                    <a:pt x="447083" y="616173"/>
                  </a:lnTo>
                  <a:lnTo>
                    <a:pt x="446340" y="614135"/>
                  </a:lnTo>
                  <a:lnTo>
                    <a:pt x="445379" y="612229"/>
                  </a:lnTo>
                  <a:lnTo>
                    <a:pt x="446772" y="612662"/>
                  </a:lnTo>
                  <a:lnTo>
                    <a:pt x="448681" y="614046"/>
                  </a:lnTo>
                  <a:lnTo>
                    <a:pt x="451780" y="617816"/>
                  </a:lnTo>
                  <a:lnTo>
                    <a:pt x="455559" y="620606"/>
                  </a:lnTo>
                  <a:lnTo>
                    <a:pt x="459407" y="624776"/>
                  </a:lnTo>
                  <a:lnTo>
                    <a:pt x="462616" y="626372"/>
                  </a:lnTo>
                  <a:lnTo>
                    <a:pt x="465507" y="626963"/>
                  </a:lnTo>
                  <a:lnTo>
                    <a:pt x="467934" y="628137"/>
                  </a:lnTo>
                  <a:lnTo>
                    <a:pt x="472359" y="629254"/>
                  </a:lnTo>
                  <a:lnTo>
                    <a:pt x="474449" y="639399"/>
                  </a:lnTo>
                  <a:lnTo>
                    <a:pt x="476062" y="641584"/>
                  </a:lnTo>
                  <a:lnTo>
                    <a:pt x="476062" y="646049"/>
                  </a:lnTo>
                  <a:lnTo>
                    <a:pt x="478889" y="647864"/>
                  </a:lnTo>
                  <a:lnTo>
                    <a:pt x="481035" y="648193"/>
                  </a:lnTo>
                  <a:lnTo>
                    <a:pt x="480936" y="651491"/>
                  </a:lnTo>
                  <a:lnTo>
                    <a:pt x="479195" y="659212"/>
                  </a:lnTo>
                  <a:lnTo>
                    <a:pt x="477280" y="662488"/>
                  </a:lnTo>
                  <a:lnTo>
                    <a:pt x="462523" y="676534"/>
                  </a:lnTo>
                  <a:lnTo>
                    <a:pt x="453274" y="681936"/>
                  </a:lnTo>
                  <a:lnTo>
                    <a:pt x="435269" y="688101"/>
                  </a:lnTo>
                  <a:lnTo>
                    <a:pt x="421224" y="690409"/>
                  </a:lnTo>
                  <a:lnTo>
                    <a:pt x="415556" y="690577"/>
                  </a:lnTo>
                  <a:lnTo>
                    <a:pt x="404569" y="689437"/>
                  </a:lnTo>
                  <a:lnTo>
                    <a:pt x="398544" y="688191"/>
                  </a:lnTo>
                  <a:lnTo>
                    <a:pt x="391172" y="684688"/>
                  </a:lnTo>
                  <a:lnTo>
                    <a:pt x="384292" y="682943"/>
                  </a:lnTo>
                  <a:lnTo>
                    <a:pt x="379566" y="682171"/>
                  </a:lnTo>
                  <a:lnTo>
                    <a:pt x="370798" y="681849"/>
                  </a:lnTo>
                  <a:lnTo>
                    <a:pt x="351783" y="678407"/>
                  </a:lnTo>
                  <a:lnTo>
                    <a:pt x="348477" y="677196"/>
                  </a:lnTo>
                  <a:lnTo>
                    <a:pt x="336550" y="670458"/>
                  </a:lnTo>
                  <a:lnTo>
                    <a:pt x="331811" y="672363"/>
                  </a:lnTo>
                  <a:lnTo>
                    <a:pt x="328988" y="672706"/>
                  </a:lnTo>
                  <a:lnTo>
                    <a:pt x="327075" y="670382"/>
                  </a:lnTo>
                  <a:lnTo>
                    <a:pt x="327844" y="669768"/>
                  </a:lnTo>
                  <a:lnTo>
                    <a:pt x="328302" y="668975"/>
                  </a:lnTo>
                  <a:lnTo>
                    <a:pt x="321547" y="667047"/>
                  </a:lnTo>
                  <a:lnTo>
                    <a:pt x="315965" y="666918"/>
                  </a:lnTo>
                  <a:lnTo>
                    <a:pt x="313000" y="665279"/>
                  </a:lnTo>
                  <a:lnTo>
                    <a:pt x="309370" y="664030"/>
                  </a:lnTo>
                  <a:lnTo>
                    <a:pt x="307768" y="664782"/>
                  </a:lnTo>
                  <a:lnTo>
                    <a:pt x="306863" y="664775"/>
                  </a:lnTo>
                  <a:lnTo>
                    <a:pt x="299526" y="661827"/>
                  </a:lnTo>
                  <a:lnTo>
                    <a:pt x="296248" y="659435"/>
                  </a:lnTo>
                  <a:lnTo>
                    <a:pt x="292834" y="655219"/>
                  </a:lnTo>
                  <a:lnTo>
                    <a:pt x="293667" y="653742"/>
                  </a:lnTo>
                  <a:lnTo>
                    <a:pt x="294667" y="652784"/>
                  </a:lnTo>
                  <a:lnTo>
                    <a:pt x="282935" y="650323"/>
                  </a:lnTo>
                  <a:lnTo>
                    <a:pt x="271778" y="649997"/>
                  </a:lnTo>
                  <a:lnTo>
                    <a:pt x="273717" y="651177"/>
                  </a:lnTo>
                  <a:lnTo>
                    <a:pt x="278549" y="651797"/>
                  </a:lnTo>
                  <a:lnTo>
                    <a:pt x="281624" y="653491"/>
                  </a:lnTo>
                  <a:lnTo>
                    <a:pt x="285170" y="655877"/>
                  </a:lnTo>
                  <a:lnTo>
                    <a:pt x="284345" y="659137"/>
                  </a:lnTo>
                  <a:lnTo>
                    <a:pt x="289271" y="662362"/>
                  </a:lnTo>
                  <a:lnTo>
                    <a:pt x="293050" y="665429"/>
                  </a:lnTo>
                  <a:lnTo>
                    <a:pt x="293162" y="666375"/>
                  </a:lnTo>
                  <a:lnTo>
                    <a:pt x="294628" y="667016"/>
                  </a:lnTo>
                  <a:lnTo>
                    <a:pt x="300197" y="667912"/>
                  </a:lnTo>
                  <a:lnTo>
                    <a:pt x="301167" y="670727"/>
                  </a:lnTo>
                  <a:lnTo>
                    <a:pt x="300249" y="671836"/>
                  </a:lnTo>
                  <a:lnTo>
                    <a:pt x="301012" y="673397"/>
                  </a:lnTo>
                  <a:lnTo>
                    <a:pt x="305166" y="675145"/>
                  </a:lnTo>
                  <a:lnTo>
                    <a:pt x="307651" y="675621"/>
                  </a:lnTo>
                  <a:lnTo>
                    <a:pt x="310709" y="676681"/>
                  </a:lnTo>
                  <a:lnTo>
                    <a:pt x="309323" y="678821"/>
                  </a:lnTo>
                  <a:lnTo>
                    <a:pt x="306751" y="680209"/>
                  </a:lnTo>
                  <a:lnTo>
                    <a:pt x="304177" y="680847"/>
                  </a:lnTo>
                  <a:lnTo>
                    <a:pt x="305399" y="681359"/>
                  </a:lnTo>
                  <a:lnTo>
                    <a:pt x="308735" y="681161"/>
                  </a:lnTo>
                  <a:lnTo>
                    <a:pt x="320809" y="684681"/>
                  </a:lnTo>
                  <a:lnTo>
                    <a:pt x="327157" y="688234"/>
                  </a:lnTo>
                  <a:lnTo>
                    <a:pt x="333614" y="694696"/>
                  </a:lnTo>
                  <a:lnTo>
                    <a:pt x="335704" y="697884"/>
                  </a:lnTo>
                  <a:lnTo>
                    <a:pt x="335855" y="699641"/>
                  </a:lnTo>
                  <a:lnTo>
                    <a:pt x="335497" y="701393"/>
                  </a:lnTo>
                  <a:lnTo>
                    <a:pt x="334564" y="703285"/>
                  </a:lnTo>
                  <a:lnTo>
                    <a:pt x="334139" y="705184"/>
                  </a:lnTo>
                  <a:lnTo>
                    <a:pt x="331932" y="710780"/>
                  </a:lnTo>
                  <a:lnTo>
                    <a:pt x="330349" y="712708"/>
                  </a:lnTo>
                  <a:lnTo>
                    <a:pt x="327304" y="714914"/>
                  </a:lnTo>
                  <a:lnTo>
                    <a:pt x="330167" y="719171"/>
                  </a:lnTo>
                  <a:lnTo>
                    <a:pt x="333156" y="723131"/>
                  </a:lnTo>
                  <a:lnTo>
                    <a:pt x="336084" y="729681"/>
                  </a:lnTo>
                  <a:lnTo>
                    <a:pt x="336607" y="732311"/>
                  </a:lnTo>
                  <a:lnTo>
                    <a:pt x="336728" y="736342"/>
                  </a:lnTo>
                  <a:lnTo>
                    <a:pt x="339373" y="737924"/>
                  </a:lnTo>
                  <a:lnTo>
                    <a:pt x="338339" y="738542"/>
                  </a:lnTo>
                  <a:lnTo>
                    <a:pt x="337296" y="739685"/>
                  </a:lnTo>
                  <a:lnTo>
                    <a:pt x="337544" y="744919"/>
                  </a:lnTo>
                  <a:lnTo>
                    <a:pt x="341211" y="749183"/>
                  </a:lnTo>
                  <a:lnTo>
                    <a:pt x="346711" y="751944"/>
                  </a:lnTo>
                  <a:lnTo>
                    <a:pt x="349982" y="752504"/>
                  </a:lnTo>
                  <a:lnTo>
                    <a:pt x="354737" y="751384"/>
                  </a:lnTo>
                  <a:lnTo>
                    <a:pt x="358164" y="752909"/>
                  </a:lnTo>
                  <a:lnTo>
                    <a:pt x="365780" y="758097"/>
                  </a:lnTo>
                  <a:lnTo>
                    <a:pt x="369218" y="763565"/>
                  </a:lnTo>
                  <a:lnTo>
                    <a:pt x="370611" y="764678"/>
                  </a:lnTo>
                  <a:lnTo>
                    <a:pt x="378324" y="766716"/>
                  </a:lnTo>
                  <a:lnTo>
                    <a:pt x="384105" y="767968"/>
                  </a:lnTo>
                  <a:lnTo>
                    <a:pt x="392895" y="771235"/>
                  </a:lnTo>
                  <a:lnTo>
                    <a:pt x="394431" y="771353"/>
                  </a:lnTo>
                  <a:lnTo>
                    <a:pt x="398702" y="768536"/>
                  </a:lnTo>
                  <a:lnTo>
                    <a:pt x="406057" y="766573"/>
                  </a:lnTo>
                  <a:lnTo>
                    <a:pt x="408331" y="763866"/>
                  </a:lnTo>
                  <a:lnTo>
                    <a:pt x="408141" y="761564"/>
                  </a:lnTo>
                  <a:lnTo>
                    <a:pt x="406260" y="757459"/>
                  </a:lnTo>
                  <a:lnTo>
                    <a:pt x="405742" y="753450"/>
                  </a:lnTo>
                  <a:lnTo>
                    <a:pt x="403306" y="751810"/>
                  </a:lnTo>
                  <a:lnTo>
                    <a:pt x="401030" y="750721"/>
                  </a:lnTo>
                  <a:lnTo>
                    <a:pt x="394152" y="751552"/>
                  </a:lnTo>
                  <a:lnTo>
                    <a:pt x="391056" y="751397"/>
                  </a:lnTo>
                  <a:lnTo>
                    <a:pt x="388715" y="750311"/>
                  </a:lnTo>
                  <a:lnTo>
                    <a:pt x="385547" y="747442"/>
                  </a:lnTo>
                  <a:lnTo>
                    <a:pt x="379552" y="740451"/>
                  </a:lnTo>
                  <a:lnTo>
                    <a:pt x="376344" y="738118"/>
                  </a:lnTo>
                  <a:lnTo>
                    <a:pt x="375338" y="736672"/>
                  </a:lnTo>
                  <a:lnTo>
                    <a:pt x="374221" y="734653"/>
                  </a:lnTo>
                  <a:lnTo>
                    <a:pt x="374361" y="731381"/>
                  </a:lnTo>
                  <a:lnTo>
                    <a:pt x="376979" y="731495"/>
                  </a:lnTo>
                  <a:lnTo>
                    <a:pt x="379920" y="729639"/>
                  </a:lnTo>
                  <a:lnTo>
                    <a:pt x="382062" y="722978"/>
                  </a:lnTo>
                  <a:lnTo>
                    <a:pt x="385763" y="722130"/>
                  </a:lnTo>
                  <a:lnTo>
                    <a:pt x="387767" y="722188"/>
                  </a:lnTo>
                  <a:lnTo>
                    <a:pt x="396331" y="725286"/>
                  </a:lnTo>
                  <a:lnTo>
                    <a:pt x="406972" y="733528"/>
                  </a:lnTo>
                  <a:lnTo>
                    <a:pt x="409324" y="734394"/>
                  </a:lnTo>
                  <a:lnTo>
                    <a:pt x="411812" y="734515"/>
                  </a:lnTo>
                  <a:lnTo>
                    <a:pt x="415878" y="734305"/>
                  </a:lnTo>
                  <a:lnTo>
                    <a:pt x="416539" y="735377"/>
                  </a:lnTo>
                  <a:lnTo>
                    <a:pt x="418726" y="736661"/>
                  </a:lnTo>
                  <a:lnTo>
                    <a:pt x="420322" y="736826"/>
                  </a:lnTo>
                  <a:lnTo>
                    <a:pt x="430061" y="739427"/>
                  </a:lnTo>
                  <a:lnTo>
                    <a:pt x="441423" y="744543"/>
                  </a:lnTo>
                  <a:lnTo>
                    <a:pt x="445638" y="744312"/>
                  </a:lnTo>
                  <a:lnTo>
                    <a:pt x="447297" y="741481"/>
                  </a:lnTo>
                  <a:lnTo>
                    <a:pt x="447642" y="740262"/>
                  </a:lnTo>
                  <a:lnTo>
                    <a:pt x="452268" y="737395"/>
                  </a:lnTo>
                  <a:lnTo>
                    <a:pt x="455494" y="736920"/>
                  </a:lnTo>
                  <a:lnTo>
                    <a:pt x="460007" y="737963"/>
                  </a:lnTo>
                  <a:lnTo>
                    <a:pt x="460828" y="737110"/>
                  </a:lnTo>
                  <a:lnTo>
                    <a:pt x="459290" y="732900"/>
                  </a:lnTo>
                  <a:lnTo>
                    <a:pt x="457209" y="729247"/>
                  </a:lnTo>
                  <a:lnTo>
                    <a:pt x="454144" y="726904"/>
                  </a:lnTo>
                  <a:lnTo>
                    <a:pt x="448701" y="720006"/>
                  </a:lnTo>
                  <a:lnTo>
                    <a:pt x="446524" y="716573"/>
                  </a:lnTo>
                  <a:lnTo>
                    <a:pt x="445442" y="713025"/>
                  </a:lnTo>
                  <a:lnTo>
                    <a:pt x="446150" y="709881"/>
                  </a:lnTo>
                  <a:lnTo>
                    <a:pt x="446932" y="707586"/>
                  </a:lnTo>
                  <a:lnTo>
                    <a:pt x="458238" y="701996"/>
                  </a:lnTo>
                  <a:lnTo>
                    <a:pt x="462328" y="698641"/>
                  </a:lnTo>
                  <a:lnTo>
                    <a:pt x="466282" y="694273"/>
                  </a:lnTo>
                  <a:lnTo>
                    <a:pt x="468113" y="693379"/>
                  </a:lnTo>
                  <a:lnTo>
                    <a:pt x="474783" y="692164"/>
                  </a:lnTo>
                  <a:lnTo>
                    <a:pt x="483622" y="688417"/>
                  </a:lnTo>
                  <a:lnTo>
                    <a:pt x="490368" y="683429"/>
                  </a:lnTo>
                  <a:lnTo>
                    <a:pt x="497062" y="675822"/>
                  </a:lnTo>
                  <a:lnTo>
                    <a:pt x="499869" y="673838"/>
                  </a:lnTo>
                  <a:lnTo>
                    <a:pt x="502150" y="674020"/>
                  </a:lnTo>
                  <a:lnTo>
                    <a:pt x="505181" y="675213"/>
                  </a:lnTo>
                  <a:lnTo>
                    <a:pt x="508528" y="677423"/>
                  </a:lnTo>
                  <a:lnTo>
                    <a:pt x="513048" y="677835"/>
                  </a:lnTo>
                  <a:lnTo>
                    <a:pt x="517458" y="677481"/>
                  </a:lnTo>
                  <a:lnTo>
                    <a:pt x="522482" y="677681"/>
                  </a:lnTo>
                  <a:lnTo>
                    <a:pt x="529507" y="681150"/>
                  </a:lnTo>
                  <a:lnTo>
                    <a:pt x="530666" y="682257"/>
                  </a:lnTo>
                  <a:lnTo>
                    <a:pt x="531768" y="683736"/>
                  </a:lnTo>
                  <a:lnTo>
                    <a:pt x="529496" y="686585"/>
                  </a:lnTo>
                  <a:lnTo>
                    <a:pt x="529308" y="688418"/>
                  </a:lnTo>
                  <a:lnTo>
                    <a:pt x="531122" y="687563"/>
                  </a:lnTo>
                  <a:lnTo>
                    <a:pt x="533623" y="687134"/>
                  </a:lnTo>
                  <a:lnTo>
                    <a:pt x="535983" y="687722"/>
                  </a:lnTo>
                  <a:lnTo>
                    <a:pt x="538203" y="689324"/>
                  </a:lnTo>
                  <a:lnTo>
                    <a:pt x="539807" y="691115"/>
                  </a:lnTo>
                  <a:lnTo>
                    <a:pt x="541746" y="692622"/>
                  </a:lnTo>
                  <a:lnTo>
                    <a:pt x="542366" y="690574"/>
                  </a:lnTo>
                  <a:lnTo>
                    <a:pt x="542651" y="688808"/>
                  </a:lnTo>
                  <a:lnTo>
                    <a:pt x="541586" y="684321"/>
                  </a:lnTo>
                  <a:lnTo>
                    <a:pt x="544318" y="677992"/>
                  </a:lnTo>
                  <a:lnTo>
                    <a:pt x="546434" y="675240"/>
                  </a:lnTo>
                  <a:lnTo>
                    <a:pt x="550243" y="668214"/>
                  </a:lnTo>
                  <a:lnTo>
                    <a:pt x="549103" y="663659"/>
                  </a:lnTo>
                  <a:lnTo>
                    <a:pt x="548930" y="658340"/>
                  </a:lnTo>
                  <a:lnTo>
                    <a:pt x="548369" y="655865"/>
                  </a:lnTo>
                  <a:lnTo>
                    <a:pt x="545890" y="652304"/>
                  </a:lnTo>
                  <a:lnTo>
                    <a:pt x="541083" y="649776"/>
                  </a:lnTo>
                  <a:lnTo>
                    <a:pt x="536240" y="648980"/>
                  </a:lnTo>
                  <a:lnTo>
                    <a:pt x="534627" y="646515"/>
                  </a:lnTo>
                  <a:lnTo>
                    <a:pt x="534920" y="643701"/>
                  </a:lnTo>
                  <a:lnTo>
                    <a:pt x="536261" y="639583"/>
                  </a:lnTo>
                  <a:lnTo>
                    <a:pt x="540243" y="630871"/>
                  </a:lnTo>
                  <a:lnTo>
                    <a:pt x="544422" y="618567"/>
                  </a:lnTo>
                  <a:lnTo>
                    <a:pt x="544558" y="615692"/>
                  </a:lnTo>
                  <a:lnTo>
                    <a:pt x="544167" y="614119"/>
                  </a:lnTo>
                  <a:lnTo>
                    <a:pt x="544445" y="612525"/>
                  </a:lnTo>
                  <a:lnTo>
                    <a:pt x="543964" y="608737"/>
                  </a:lnTo>
                  <a:lnTo>
                    <a:pt x="543178" y="605936"/>
                  </a:lnTo>
                  <a:lnTo>
                    <a:pt x="526259" y="595146"/>
                  </a:lnTo>
                  <a:lnTo>
                    <a:pt x="525242" y="594098"/>
                  </a:lnTo>
                  <a:lnTo>
                    <a:pt x="524694" y="592652"/>
                  </a:lnTo>
                  <a:lnTo>
                    <a:pt x="526464" y="592330"/>
                  </a:lnTo>
                  <a:lnTo>
                    <a:pt x="527762" y="592404"/>
                  </a:lnTo>
                  <a:lnTo>
                    <a:pt x="540500" y="597440"/>
                  </a:lnTo>
                  <a:lnTo>
                    <a:pt x="543314" y="597712"/>
                  </a:lnTo>
                  <a:lnTo>
                    <a:pt x="563277" y="596313"/>
                  </a:lnTo>
                  <a:lnTo>
                    <a:pt x="573036" y="597528"/>
                  </a:lnTo>
                  <a:lnTo>
                    <a:pt x="581274" y="600093"/>
                  </a:lnTo>
                  <a:lnTo>
                    <a:pt x="587165" y="607301"/>
                  </a:lnTo>
                  <a:lnTo>
                    <a:pt x="593163" y="613881"/>
                  </a:lnTo>
                  <a:lnTo>
                    <a:pt x="598778" y="619522"/>
                  </a:lnTo>
                  <a:lnTo>
                    <a:pt x="598929" y="624134"/>
                  </a:lnTo>
                  <a:lnTo>
                    <a:pt x="593146" y="625086"/>
                  </a:lnTo>
                  <a:lnTo>
                    <a:pt x="587515" y="625295"/>
                  </a:lnTo>
                  <a:lnTo>
                    <a:pt x="573241" y="627587"/>
                  </a:lnTo>
                  <a:lnTo>
                    <a:pt x="569823" y="630183"/>
                  </a:lnTo>
                  <a:lnTo>
                    <a:pt x="560211" y="638150"/>
                  </a:lnTo>
                  <a:lnTo>
                    <a:pt x="559386" y="640566"/>
                  </a:lnTo>
                  <a:lnTo>
                    <a:pt x="560211" y="642907"/>
                  </a:lnTo>
                  <a:lnTo>
                    <a:pt x="564621" y="645383"/>
                  </a:lnTo>
                  <a:lnTo>
                    <a:pt x="573982" y="649093"/>
                  </a:lnTo>
                  <a:lnTo>
                    <a:pt x="578190" y="656425"/>
                  </a:lnTo>
                  <a:lnTo>
                    <a:pt x="581127" y="660076"/>
                  </a:lnTo>
                  <a:lnTo>
                    <a:pt x="583353" y="661486"/>
                  </a:lnTo>
                  <a:lnTo>
                    <a:pt x="585519" y="661844"/>
                  </a:lnTo>
                  <a:lnTo>
                    <a:pt x="590246" y="661869"/>
                  </a:lnTo>
                  <a:lnTo>
                    <a:pt x="593580" y="662754"/>
                  </a:lnTo>
                  <a:lnTo>
                    <a:pt x="594550" y="663452"/>
                  </a:lnTo>
                  <a:lnTo>
                    <a:pt x="595876" y="662754"/>
                  </a:lnTo>
                  <a:lnTo>
                    <a:pt x="598938" y="662511"/>
                  </a:lnTo>
                  <a:lnTo>
                    <a:pt x="616752" y="658634"/>
                  </a:lnTo>
                  <a:lnTo>
                    <a:pt x="620277" y="656918"/>
                  </a:lnTo>
                  <a:lnTo>
                    <a:pt x="621454" y="654343"/>
                  </a:lnTo>
                  <a:lnTo>
                    <a:pt x="622758" y="645724"/>
                  </a:lnTo>
                  <a:lnTo>
                    <a:pt x="624332" y="642722"/>
                  </a:lnTo>
                  <a:lnTo>
                    <a:pt x="625856" y="639005"/>
                  </a:lnTo>
                  <a:lnTo>
                    <a:pt x="625291" y="636724"/>
                  </a:lnTo>
                  <a:lnTo>
                    <a:pt x="625116" y="634132"/>
                  </a:lnTo>
                  <a:lnTo>
                    <a:pt x="634049" y="631635"/>
                  </a:lnTo>
                  <a:lnTo>
                    <a:pt x="642343" y="629941"/>
                  </a:lnTo>
                  <a:lnTo>
                    <a:pt x="646310" y="630461"/>
                  </a:lnTo>
                  <a:lnTo>
                    <a:pt x="647299" y="628579"/>
                  </a:lnTo>
                  <a:lnTo>
                    <a:pt x="644751" y="624961"/>
                  </a:lnTo>
                  <a:lnTo>
                    <a:pt x="643270" y="623172"/>
                  </a:lnTo>
                  <a:lnTo>
                    <a:pt x="644565" y="622349"/>
                  </a:lnTo>
                  <a:lnTo>
                    <a:pt x="646474" y="623342"/>
                  </a:lnTo>
                  <a:lnTo>
                    <a:pt x="648979" y="623946"/>
                  </a:lnTo>
                  <a:lnTo>
                    <a:pt x="653432" y="623317"/>
                  </a:lnTo>
                  <a:lnTo>
                    <a:pt x="670591" y="615924"/>
                  </a:lnTo>
                  <a:lnTo>
                    <a:pt x="677267" y="611729"/>
                  </a:lnTo>
                  <a:lnTo>
                    <a:pt x="681266" y="610088"/>
                  </a:lnTo>
                  <a:lnTo>
                    <a:pt x="687576" y="606294"/>
                  </a:lnTo>
                  <a:lnTo>
                    <a:pt x="690660" y="605062"/>
                  </a:lnTo>
                  <a:lnTo>
                    <a:pt x="695959" y="604550"/>
                  </a:lnTo>
                  <a:lnTo>
                    <a:pt x="701655" y="603053"/>
                  </a:lnTo>
                  <a:lnTo>
                    <a:pt x="707859" y="600222"/>
                  </a:lnTo>
                  <a:lnTo>
                    <a:pt x="716218" y="597826"/>
                  </a:lnTo>
                  <a:lnTo>
                    <a:pt x="717566" y="597729"/>
                  </a:lnTo>
                  <a:lnTo>
                    <a:pt x="719183" y="598085"/>
                  </a:lnTo>
                  <a:lnTo>
                    <a:pt x="722644" y="600872"/>
                  </a:lnTo>
                  <a:lnTo>
                    <a:pt x="721364" y="602434"/>
                  </a:lnTo>
                  <a:lnTo>
                    <a:pt x="720392" y="604131"/>
                  </a:lnTo>
                  <a:lnTo>
                    <a:pt x="722066" y="605024"/>
                  </a:lnTo>
                  <a:lnTo>
                    <a:pt x="723461" y="605454"/>
                  </a:lnTo>
                  <a:lnTo>
                    <a:pt x="725106" y="604994"/>
                  </a:lnTo>
                  <a:lnTo>
                    <a:pt x="726838" y="603831"/>
                  </a:lnTo>
                  <a:lnTo>
                    <a:pt x="731144" y="602122"/>
                  </a:lnTo>
                  <a:lnTo>
                    <a:pt x="732314" y="599927"/>
                  </a:lnTo>
                  <a:lnTo>
                    <a:pt x="730656" y="599078"/>
                  </a:lnTo>
                  <a:lnTo>
                    <a:pt x="728499" y="595765"/>
                  </a:lnTo>
                  <a:lnTo>
                    <a:pt x="725955" y="595082"/>
                  </a:lnTo>
                  <a:lnTo>
                    <a:pt x="723942" y="595161"/>
                  </a:lnTo>
                  <a:lnTo>
                    <a:pt x="731450" y="590425"/>
                  </a:lnTo>
                  <a:lnTo>
                    <a:pt x="747577" y="583424"/>
                  </a:lnTo>
                  <a:lnTo>
                    <a:pt x="756180" y="580198"/>
                  </a:lnTo>
                  <a:lnTo>
                    <a:pt x="764668" y="579910"/>
                  </a:lnTo>
                  <a:lnTo>
                    <a:pt x="771421" y="580336"/>
                  </a:lnTo>
                  <a:lnTo>
                    <a:pt x="768879" y="581404"/>
                  </a:lnTo>
                  <a:lnTo>
                    <a:pt x="757782" y="582880"/>
                  </a:lnTo>
                  <a:lnTo>
                    <a:pt x="756085" y="583620"/>
                  </a:lnTo>
                  <a:lnTo>
                    <a:pt x="756098" y="584502"/>
                  </a:lnTo>
                  <a:lnTo>
                    <a:pt x="758780" y="585021"/>
                  </a:lnTo>
                  <a:lnTo>
                    <a:pt x="759909" y="586062"/>
                  </a:lnTo>
                  <a:lnTo>
                    <a:pt x="758996" y="587314"/>
                  </a:lnTo>
                  <a:lnTo>
                    <a:pt x="758153" y="587714"/>
                  </a:lnTo>
                  <a:lnTo>
                    <a:pt x="756886" y="591283"/>
                  </a:lnTo>
                  <a:lnTo>
                    <a:pt x="755228" y="594168"/>
                  </a:lnTo>
                  <a:lnTo>
                    <a:pt x="758739" y="597896"/>
                  </a:lnTo>
                  <a:lnTo>
                    <a:pt x="759030" y="601785"/>
                  </a:lnTo>
                  <a:lnTo>
                    <a:pt x="756789" y="603810"/>
                  </a:lnTo>
                  <a:lnTo>
                    <a:pt x="753705" y="603049"/>
                  </a:lnTo>
                  <a:lnTo>
                    <a:pt x="750978" y="604406"/>
                  </a:lnTo>
                  <a:lnTo>
                    <a:pt x="746022" y="605319"/>
                  </a:lnTo>
                  <a:lnTo>
                    <a:pt x="744934" y="606525"/>
                  </a:lnTo>
                  <a:lnTo>
                    <a:pt x="744208" y="608213"/>
                  </a:lnTo>
                  <a:lnTo>
                    <a:pt x="747361" y="608620"/>
                  </a:lnTo>
                  <a:lnTo>
                    <a:pt x="749838" y="608512"/>
                  </a:lnTo>
                  <a:lnTo>
                    <a:pt x="758650" y="609598"/>
                  </a:lnTo>
                  <a:lnTo>
                    <a:pt x="759849" y="609746"/>
                  </a:lnTo>
                  <a:lnTo>
                    <a:pt x="762753" y="608536"/>
                  </a:lnTo>
                  <a:lnTo>
                    <a:pt x="765709" y="608258"/>
                  </a:lnTo>
                  <a:lnTo>
                    <a:pt x="769270" y="607922"/>
                  </a:lnTo>
                  <a:lnTo>
                    <a:pt x="771088" y="607195"/>
                  </a:lnTo>
                  <a:lnTo>
                    <a:pt x="772969" y="608001"/>
                  </a:lnTo>
                  <a:lnTo>
                    <a:pt x="776435" y="611392"/>
                  </a:lnTo>
                  <a:lnTo>
                    <a:pt x="779605" y="610718"/>
                  </a:lnTo>
                  <a:lnTo>
                    <a:pt x="780969" y="604148"/>
                  </a:lnTo>
                  <a:lnTo>
                    <a:pt x="786007" y="600080"/>
                  </a:lnTo>
                  <a:lnTo>
                    <a:pt x="791915" y="596711"/>
                  </a:lnTo>
                  <a:lnTo>
                    <a:pt x="797603" y="596401"/>
                  </a:lnTo>
                  <a:lnTo>
                    <a:pt x="803116" y="594040"/>
                  </a:lnTo>
                  <a:lnTo>
                    <a:pt x="805749" y="593595"/>
                  </a:lnTo>
                  <a:lnTo>
                    <a:pt x="810879" y="594549"/>
                  </a:lnTo>
                  <a:lnTo>
                    <a:pt x="818497" y="594742"/>
                  </a:lnTo>
                  <a:lnTo>
                    <a:pt x="824892" y="596754"/>
                  </a:lnTo>
                  <a:lnTo>
                    <a:pt x="829700" y="597242"/>
                  </a:lnTo>
                  <a:lnTo>
                    <a:pt x="836721" y="593878"/>
                  </a:lnTo>
                  <a:lnTo>
                    <a:pt x="852834" y="584305"/>
                  </a:lnTo>
                  <a:lnTo>
                    <a:pt x="854248" y="586462"/>
                  </a:lnTo>
                  <a:lnTo>
                    <a:pt x="856833" y="583282"/>
                  </a:lnTo>
                  <a:lnTo>
                    <a:pt x="869327" y="579891"/>
                  </a:lnTo>
                  <a:lnTo>
                    <a:pt x="872387" y="579804"/>
                  </a:lnTo>
                  <a:lnTo>
                    <a:pt x="872443" y="581101"/>
                  </a:lnTo>
                  <a:lnTo>
                    <a:pt x="873555" y="584053"/>
                  </a:lnTo>
                  <a:lnTo>
                    <a:pt x="875993" y="585857"/>
                  </a:lnTo>
                  <a:lnTo>
                    <a:pt x="879312" y="590148"/>
                  </a:lnTo>
                  <a:lnTo>
                    <a:pt x="877717" y="591302"/>
                  </a:lnTo>
                  <a:lnTo>
                    <a:pt x="876041" y="591962"/>
                  </a:lnTo>
                  <a:lnTo>
                    <a:pt x="873603" y="594847"/>
                  </a:lnTo>
                  <a:lnTo>
                    <a:pt x="873309" y="601448"/>
                  </a:lnTo>
                  <a:lnTo>
                    <a:pt x="877991" y="603135"/>
                  </a:lnTo>
                  <a:lnTo>
                    <a:pt x="884482" y="605017"/>
                  </a:lnTo>
                  <a:lnTo>
                    <a:pt x="887166" y="604998"/>
                  </a:lnTo>
                  <a:lnTo>
                    <a:pt x="889418" y="603900"/>
                  </a:lnTo>
                  <a:lnTo>
                    <a:pt x="890109" y="603298"/>
                  </a:lnTo>
                  <a:lnTo>
                    <a:pt x="890962" y="602307"/>
                  </a:lnTo>
                  <a:lnTo>
                    <a:pt x="891526" y="600414"/>
                  </a:lnTo>
                  <a:lnTo>
                    <a:pt x="891936" y="598912"/>
                  </a:lnTo>
                  <a:lnTo>
                    <a:pt x="890250" y="595285"/>
                  </a:lnTo>
                  <a:lnTo>
                    <a:pt x="890932" y="591383"/>
                  </a:lnTo>
                  <a:lnTo>
                    <a:pt x="896775" y="591646"/>
                  </a:lnTo>
                  <a:lnTo>
                    <a:pt x="904048" y="590511"/>
                  </a:lnTo>
                  <a:lnTo>
                    <a:pt x="907332" y="588273"/>
                  </a:lnTo>
                  <a:lnTo>
                    <a:pt x="911256" y="584094"/>
                  </a:lnTo>
                  <a:lnTo>
                    <a:pt x="913875" y="580551"/>
                  </a:lnTo>
                  <a:lnTo>
                    <a:pt x="912217" y="574392"/>
                  </a:lnTo>
                  <a:lnTo>
                    <a:pt x="907926" y="575762"/>
                  </a:lnTo>
                  <a:lnTo>
                    <a:pt x="900690" y="562249"/>
                  </a:lnTo>
                  <a:lnTo>
                    <a:pt x="897004" y="557006"/>
                  </a:lnTo>
                  <a:lnTo>
                    <a:pt x="899345" y="554585"/>
                  </a:lnTo>
                  <a:lnTo>
                    <a:pt x="905585" y="553025"/>
                  </a:lnTo>
                  <a:lnTo>
                    <a:pt x="911208" y="547957"/>
                  </a:lnTo>
                  <a:lnTo>
                    <a:pt x="913333" y="546934"/>
                  </a:lnTo>
                  <a:lnTo>
                    <a:pt x="915696" y="546763"/>
                  </a:lnTo>
                  <a:lnTo>
                    <a:pt x="932382" y="550245"/>
                  </a:lnTo>
                  <a:lnTo>
                    <a:pt x="951414" y="551029"/>
                  </a:lnTo>
                  <a:lnTo>
                    <a:pt x="967560" y="553695"/>
                  </a:lnTo>
                  <a:lnTo>
                    <a:pt x="985891" y="559211"/>
                  </a:lnTo>
                  <a:lnTo>
                    <a:pt x="994775" y="563085"/>
                  </a:lnTo>
                  <a:lnTo>
                    <a:pt x="1002211" y="567390"/>
                  </a:lnTo>
                  <a:lnTo>
                    <a:pt x="1001499" y="570413"/>
                  </a:lnTo>
                  <a:lnTo>
                    <a:pt x="1004490" y="569556"/>
                  </a:lnTo>
                  <a:lnTo>
                    <a:pt x="1011017" y="572221"/>
                  </a:lnTo>
                  <a:lnTo>
                    <a:pt x="1015466" y="573307"/>
                  </a:lnTo>
                  <a:lnTo>
                    <a:pt x="1020061" y="574905"/>
                  </a:lnTo>
                  <a:lnTo>
                    <a:pt x="1021762" y="577053"/>
                  </a:lnTo>
                  <a:lnTo>
                    <a:pt x="1027779" y="578630"/>
                  </a:lnTo>
                  <a:lnTo>
                    <a:pt x="1033989" y="581536"/>
                  </a:lnTo>
                  <a:lnTo>
                    <a:pt x="1035105" y="582058"/>
                  </a:lnTo>
                  <a:lnTo>
                    <a:pt x="1042631" y="584219"/>
                  </a:lnTo>
                  <a:lnTo>
                    <a:pt x="1048071" y="584930"/>
                  </a:lnTo>
                  <a:lnTo>
                    <a:pt x="1051316" y="589548"/>
                  </a:lnTo>
                  <a:lnTo>
                    <a:pt x="1062160" y="596270"/>
                  </a:lnTo>
                  <a:lnTo>
                    <a:pt x="1064175" y="598790"/>
                  </a:lnTo>
                  <a:lnTo>
                    <a:pt x="1073599" y="603006"/>
                  </a:lnTo>
                  <a:lnTo>
                    <a:pt x="1078336" y="606426"/>
                  </a:lnTo>
                  <a:lnTo>
                    <a:pt x="1081277" y="605120"/>
                  </a:lnTo>
                  <a:lnTo>
                    <a:pt x="1088470" y="596726"/>
                  </a:lnTo>
                  <a:lnTo>
                    <a:pt x="1092778" y="587078"/>
                  </a:lnTo>
                  <a:lnTo>
                    <a:pt x="1095348" y="581950"/>
                  </a:lnTo>
                  <a:lnTo>
                    <a:pt x="1090569" y="581735"/>
                  </a:lnTo>
                  <a:lnTo>
                    <a:pt x="1086998" y="583237"/>
                  </a:lnTo>
                  <a:lnTo>
                    <a:pt x="1084713" y="582850"/>
                  </a:lnTo>
                  <a:lnTo>
                    <a:pt x="1082131" y="581313"/>
                  </a:lnTo>
                  <a:lnTo>
                    <a:pt x="1077980" y="577418"/>
                  </a:lnTo>
                  <a:lnTo>
                    <a:pt x="1072724" y="570864"/>
                  </a:lnTo>
                  <a:lnTo>
                    <a:pt x="1071744" y="563665"/>
                  </a:lnTo>
                  <a:lnTo>
                    <a:pt x="1070258" y="561350"/>
                  </a:lnTo>
                  <a:lnTo>
                    <a:pt x="1065138" y="559394"/>
                  </a:lnTo>
                  <a:lnTo>
                    <a:pt x="1061817" y="557261"/>
                  </a:lnTo>
                  <a:lnTo>
                    <a:pt x="1049441" y="552972"/>
                  </a:lnTo>
                  <a:lnTo>
                    <a:pt x="1047222" y="554470"/>
                  </a:lnTo>
                  <a:lnTo>
                    <a:pt x="1046561" y="556780"/>
                  </a:lnTo>
                  <a:lnTo>
                    <a:pt x="1045732" y="558461"/>
                  </a:lnTo>
                  <a:lnTo>
                    <a:pt x="1044484" y="556290"/>
                  </a:lnTo>
                  <a:lnTo>
                    <a:pt x="1043682" y="554326"/>
                  </a:lnTo>
                  <a:lnTo>
                    <a:pt x="1043659" y="551146"/>
                  </a:lnTo>
                  <a:lnTo>
                    <a:pt x="1044306" y="547128"/>
                  </a:lnTo>
                  <a:lnTo>
                    <a:pt x="1046388" y="540334"/>
                  </a:lnTo>
                  <a:lnTo>
                    <a:pt x="1049543" y="540676"/>
                  </a:lnTo>
                  <a:lnTo>
                    <a:pt x="1051210" y="539687"/>
                  </a:lnTo>
                  <a:lnTo>
                    <a:pt x="1053307" y="536620"/>
                  </a:lnTo>
                  <a:lnTo>
                    <a:pt x="1052383" y="534099"/>
                  </a:lnTo>
                  <a:lnTo>
                    <a:pt x="1051256" y="532182"/>
                  </a:lnTo>
                  <a:lnTo>
                    <a:pt x="1051484" y="529192"/>
                  </a:lnTo>
                  <a:lnTo>
                    <a:pt x="1053475" y="521020"/>
                  </a:lnTo>
                  <a:lnTo>
                    <a:pt x="1054313" y="511460"/>
                  </a:lnTo>
                  <a:lnTo>
                    <a:pt x="1052694" y="509061"/>
                  </a:lnTo>
                  <a:lnTo>
                    <a:pt x="1051186" y="507488"/>
                  </a:lnTo>
                  <a:lnTo>
                    <a:pt x="1044091" y="509104"/>
                  </a:lnTo>
                  <a:lnTo>
                    <a:pt x="1041433" y="508254"/>
                  </a:lnTo>
                  <a:lnTo>
                    <a:pt x="1040834" y="506395"/>
                  </a:lnTo>
                  <a:lnTo>
                    <a:pt x="1040633" y="504949"/>
                  </a:lnTo>
                  <a:lnTo>
                    <a:pt x="1042683" y="502458"/>
                  </a:lnTo>
                  <a:lnTo>
                    <a:pt x="1044635" y="498364"/>
                  </a:lnTo>
                  <a:lnTo>
                    <a:pt x="1041219" y="499254"/>
                  </a:lnTo>
                  <a:lnTo>
                    <a:pt x="1040048" y="497649"/>
                  </a:lnTo>
                  <a:lnTo>
                    <a:pt x="1042888" y="495281"/>
                  </a:lnTo>
                  <a:lnTo>
                    <a:pt x="1046194" y="489501"/>
                  </a:lnTo>
                  <a:lnTo>
                    <a:pt x="1054080" y="486839"/>
                  </a:lnTo>
                  <a:lnTo>
                    <a:pt x="1059997" y="484227"/>
                  </a:lnTo>
                  <a:lnTo>
                    <a:pt x="1069230" y="478663"/>
                  </a:lnTo>
                  <a:lnTo>
                    <a:pt x="1076082" y="473162"/>
                  </a:lnTo>
                  <a:lnTo>
                    <a:pt x="1080509" y="466189"/>
                  </a:lnTo>
                  <a:lnTo>
                    <a:pt x="1083560" y="459592"/>
                  </a:lnTo>
                  <a:lnTo>
                    <a:pt x="1088475" y="443889"/>
                  </a:lnTo>
                  <a:lnTo>
                    <a:pt x="1093104" y="432265"/>
                  </a:lnTo>
                  <a:lnTo>
                    <a:pt x="1100895" y="420264"/>
                  </a:lnTo>
                  <a:lnTo>
                    <a:pt x="1105769" y="419150"/>
                  </a:lnTo>
                  <a:lnTo>
                    <a:pt x="1107594" y="419336"/>
                  </a:lnTo>
                  <a:lnTo>
                    <a:pt x="1107918" y="420227"/>
                  </a:lnTo>
                  <a:lnTo>
                    <a:pt x="1106808" y="421262"/>
                  </a:lnTo>
                  <a:lnTo>
                    <a:pt x="1106505" y="422706"/>
                  </a:lnTo>
                  <a:lnTo>
                    <a:pt x="1108566" y="423236"/>
                  </a:lnTo>
                  <a:lnTo>
                    <a:pt x="1111865" y="423337"/>
                  </a:lnTo>
                  <a:lnTo>
                    <a:pt x="1118160" y="422554"/>
                  </a:lnTo>
                  <a:lnTo>
                    <a:pt x="1128844" y="423008"/>
                  </a:lnTo>
                  <a:lnTo>
                    <a:pt x="1147525" y="422028"/>
                  </a:lnTo>
                  <a:lnTo>
                    <a:pt x="1150108" y="422515"/>
                  </a:lnTo>
                  <a:lnTo>
                    <a:pt x="1157020" y="425982"/>
                  </a:lnTo>
                  <a:lnTo>
                    <a:pt x="1160810" y="425590"/>
                  </a:lnTo>
                  <a:lnTo>
                    <a:pt x="1168448" y="427215"/>
                  </a:lnTo>
                  <a:lnTo>
                    <a:pt x="1172591" y="429140"/>
                  </a:lnTo>
                  <a:lnTo>
                    <a:pt x="1176534" y="431365"/>
                  </a:lnTo>
                  <a:lnTo>
                    <a:pt x="1175988" y="440081"/>
                  </a:lnTo>
                  <a:lnTo>
                    <a:pt x="1175226" y="445902"/>
                  </a:lnTo>
                  <a:lnTo>
                    <a:pt x="1172384" y="456836"/>
                  </a:lnTo>
                  <a:lnTo>
                    <a:pt x="1171272" y="459600"/>
                  </a:lnTo>
                  <a:lnTo>
                    <a:pt x="1166869" y="467464"/>
                  </a:lnTo>
                  <a:lnTo>
                    <a:pt x="1164757" y="472641"/>
                  </a:lnTo>
                  <a:lnTo>
                    <a:pt x="1161445" y="476177"/>
                  </a:lnTo>
                  <a:lnTo>
                    <a:pt x="1156631" y="478680"/>
                  </a:lnTo>
                  <a:lnTo>
                    <a:pt x="1156020" y="480174"/>
                  </a:lnTo>
                  <a:lnTo>
                    <a:pt x="1155642" y="482378"/>
                  </a:lnTo>
                  <a:lnTo>
                    <a:pt x="1160330" y="488513"/>
                  </a:lnTo>
                  <a:lnTo>
                    <a:pt x="1171432" y="494826"/>
                  </a:lnTo>
                  <a:lnTo>
                    <a:pt x="1174155" y="502423"/>
                  </a:lnTo>
                  <a:lnTo>
                    <a:pt x="1174755" y="508079"/>
                  </a:lnTo>
                  <a:lnTo>
                    <a:pt x="1174055" y="522728"/>
                  </a:lnTo>
                  <a:lnTo>
                    <a:pt x="1173023" y="524879"/>
                  </a:lnTo>
                  <a:lnTo>
                    <a:pt x="1171002" y="527185"/>
                  </a:lnTo>
                  <a:lnTo>
                    <a:pt x="1168957" y="529995"/>
                  </a:lnTo>
                  <a:lnTo>
                    <a:pt x="1170289" y="534064"/>
                  </a:lnTo>
                  <a:lnTo>
                    <a:pt x="1171831" y="549058"/>
                  </a:lnTo>
                  <a:lnTo>
                    <a:pt x="1172190" y="561193"/>
                  </a:lnTo>
                  <a:lnTo>
                    <a:pt x="1170901" y="565321"/>
                  </a:lnTo>
                  <a:lnTo>
                    <a:pt x="1170231" y="574053"/>
                  </a:lnTo>
                  <a:lnTo>
                    <a:pt x="1170238" y="576916"/>
                  </a:lnTo>
                  <a:lnTo>
                    <a:pt x="1171330" y="581251"/>
                  </a:lnTo>
                  <a:lnTo>
                    <a:pt x="1173576" y="584881"/>
                  </a:lnTo>
                  <a:lnTo>
                    <a:pt x="1176530" y="587184"/>
                  </a:lnTo>
                  <a:lnTo>
                    <a:pt x="1184906" y="591366"/>
                  </a:lnTo>
                  <a:lnTo>
                    <a:pt x="1192807" y="596454"/>
                  </a:lnTo>
                  <a:lnTo>
                    <a:pt x="1193369" y="598063"/>
                  </a:lnTo>
                  <a:lnTo>
                    <a:pt x="1193773" y="600009"/>
                  </a:lnTo>
                  <a:lnTo>
                    <a:pt x="1190977" y="601969"/>
                  </a:lnTo>
                  <a:lnTo>
                    <a:pt x="1186580" y="607182"/>
                  </a:lnTo>
                  <a:lnTo>
                    <a:pt x="1183773" y="611499"/>
                  </a:lnTo>
                  <a:lnTo>
                    <a:pt x="1183550" y="614944"/>
                  </a:lnTo>
                  <a:lnTo>
                    <a:pt x="1184516" y="619424"/>
                  </a:lnTo>
                  <a:lnTo>
                    <a:pt x="1184053" y="623520"/>
                  </a:lnTo>
                  <a:lnTo>
                    <a:pt x="1182166" y="627233"/>
                  </a:lnTo>
                  <a:lnTo>
                    <a:pt x="1179555" y="629905"/>
                  </a:lnTo>
                  <a:lnTo>
                    <a:pt x="1171719" y="634027"/>
                  </a:lnTo>
                  <a:lnTo>
                    <a:pt x="1155204" y="655737"/>
                  </a:lnTo>
                  <a:lnTo>
                    <a:pt x="1151239" y="658267"/>
                  </a:lnTo>
                  <a:lnTo>
                    <a:pt x="1144541" y="657454"/>
                  </a:lnTo>
                  <a:lnTo>
                    <a:pt x="1146392" y="660527"/>
                  </a:lnTo>
                  <a:lnTo>
                    <a:pt x="1148652" y="664927"/>
                  </a:lnTo>
                  <a:lnTo>
                    <a:pt x="1148395" y="667794"/>
                  </a:lnTo>
                  <a:lnTo>
                    <a:pt x="1144027" y="667660"/>
                  </a:lnTo>
                  <a:lnTo>
                    <a:pt x="1137916" y="670704"/>
                  </a:lnTo>
                  <a:lnTo>
                    <a:pt x="1135126" y="672787"/>
                  </a:lnTo>
                  <a:lnTo>
                    <a:pt x="1130382" y="673847"/>
                  </a:lnTo>
                  <a:lnTo>
                    <a:pt x="1126767" y="672767"/>
                  </a:lnTo>
                  <a:lnTo>
                    <a:pt x="1122818" y="670778"/>
                  </a:lnTo>
                  <a:lnTo>
                    <a:pt x="1123394" y="669109"/>
                  </a:lnTo>
                  <a:lnTo>
                    <a:pt x="1124139" y="668344"/>
                  </a:lnTo>
                  <a:lnTo>
                    <a:pt x="1126912" y="667135"/>
                  </a:lnTo>
                  <a:lnTo>
                    <a:pt x="1129626" y="665488"/>
                  </a:lnTo>
                  <a:lnTo>
                    <a:pt x="1128300" y="665159"/>
                  </a:lnTo>
                  <a:lnTo>
                    <a:pt x="1127158" y="665175"/>
                  </a:lnTo>
                  <a:lnTo>
                    <a:pt x="1124169" y="667268"/>
                  </a:lnTo>
                  <a:lnTo>
                    <a:pt x="1120619" y="667695"/>
                  </a:lnTo>
                  <a:lnTo>
                    <a:pt x="1116426" y="665153"/>
                  </a:lnTo>
                  <a:lnTo>
                    <a:pt x="1113217" y="662346"/>
                  </a:lnTo>
                  <a:lnTo>
                    <a:pt x="1111636" y="661771"/>
                  </a:lnTo>
                  <a:lnTo>
                    <a:pt x="1108613" y="662917"/>
                  </a:lnTo>
                  <a:lnTo>
                    <a:pt x="1097056" y="662397"/>
                  </a:lnTo>
                  <a:lnTo>
                    <a:pt x="1093981" y="662869"/>
                  </a:lnTo>
                  <a:lnTo>
                    <a:pt x="1092538" y="663893"/>
                  </a:lnTo>
                  <a:lnTo>
                    <a:pt x="1093372" y="664708"/>
                  </a:lnTo>
                  <a:lnTo>
                    <a:pt x="1094255" y="666294"/>
                  </a:lnTo>
                  <a:lnTo>
                    <a:pt x="1095423" y="669363"/>
                  </a:lnTo>
                  <a:lnTo>
                    <a:pt x="1096538" y="671659"/>
                  </a:lnTo>
                  <a:lnTo>
                    <a:pt x="1101351" y="674168"/>
                  </a:lnTo>
                  <a:lnTo>
                    <a:pt x="1107741" y="675134"/>
                  </a:lnTo>
                  <a:lnTo>
                    <a:pt x="1113964" y="678201"/>
                  </a:lnTo>
                  <a:lnTo>
                    <a:pt x="1121859" y="680374"/>
                  </a:lnTo>
                  <a:lnTo>
                    <a:pt x="1139682" y="679481"/>
                  </a:lnTo>
                  <a:lnTo>
                    <a:pt x="1144381" y="679747"/>
                  </a:lnTo>
                  <a:lnTo>
                    <a:pt x="1148972" y="680693"/>
                  </a:lnTo>
                  <a:lnTo>
                    <a:pt x="1156741" y="683892"/>
                  </a:lnTo>
                  <a:lnTo>
                    <a:pt x="1160071" y="683650"/>
                  </a:lnTo>
                  <a:lnTo>
                    <a:pt x="1165688" y="680752"/>
                  </a:lnTo>
                  <a:lnTo>
                    <a:pt x="1167068" y="674323"/>
                  </a:lnTo>
                  <a:lnTo>
                    <a:pt x="1167806" y="672319"/>
                  </a:lnTo>
                  <a:lnTo>
                    <a:pt x="1188243" y="663206"/>
                  </a:lnTo>
                  <a:lnTo>
                    <a:pt x="1192045" y="661191"/>
                  </a:lnTo>
                  <a:lnTo>
                    <a:pt x="1198204" y="656196"/>
                  </a:lnTo>
                  <a:lnTo>
                    <a:pt x="1200221" y="652853"/>
                  </a:lnTo>
                  <a:lnTo>
                    <a:pt x="1202497" y="643773"/>
                  </a:lnTo>
                  <a:lnTo>
                    <a:pt x="1204449" y="640530"/>
                  </a:lnTo>
                  <a:lnTo>
                    <a:pt x="1217751" y="629966"/>
                  </a:lnTo>
                  <a:lnTo>
                    <a:pt x="1219817" y="627255"/>
                  </a:lnTo>
                  <a:lnTo>
                    <a:pt x="1220210" y="622290"/>
                  </a:lnTo>
                  <a:lnTo>
                    <a:pt x="1220009" y="618934"/>
                  </a:lnTo>
                  <a:lnTo>
                    <a:pt x="1219223" y="615605"/>
                  </a:lnTo>
                  <a:lnTo>
                    <a:pt x="1216785" y="610090"/>
                  </a:lnTo>
                  <a:lnTo>
                    <a:pt x="1214105" y="606853"/>
                  </a:lnTo>
                  <a:lnTo>
                    <a:pt x="1211456" y="602357"/>
                  </a:lnTo>
                  <a:lnTo>
                    <a:pt x="1213436" y="593210"/>
                  </a:lnTo>
                  <a:lnTo>
                    <a:pt x="1215617" y="589653"/>
                  </a:lnTo>
                  <a:lnTo>
                    <a:pt x="1227669" y="585389"/>
                  </a:lnTo>
                  <a:lnTo>
                    <a:pt x="1237950" y="583864"/>
                  </a:lnTo>
                  <a:lnTo>
                    <a:pt x="1249403" y="580979"/>
                  </a:lnTo>
                  <a:lnTo>
                    <a:pt x="1254013" y="580368"/>
                  </a:lnTo>
                  <a:lnTo>
                    <a:pt x="1257179" y="580880"/>
                  </a:lnTo>
                  <a:lnTo>
                    <a:pt x="1260420" y="584002"/>
                  </a:lnTo>
                  <a:lnTo>
                    <a:pt x="1263279" y="588663"/>
                  </a:lnTo>
                  <a:lnTo>
                    <a:pt x="1271608" y="595621"/>
                  </a:lnTo>
                  <a:lnTo>
                    <a:pt x="1274411" y="600481"/>
                  </a:lnTo>
                  <a:lnTo>
                    <a:pt x="1274909" y="606376"/>
                  </a:lnTo>
                  <a:lnTo>
                    <a:pt x="1274631" y="620639"/>
                  </a:lnTo>
                  <a:lnTo>
                    <a:pt x="1272994" y="626795"/>
                  </a:lnTo>
                  <a:lnTo>
                    <a:pt x="1276326" y="628416"/>
                  </a:lnTo>
                  <a:lnTo>
                    <a:pt x="1277885" y="629812"/>
                  </a:lnTo>
                  <a:lnTo>
                    <a:pt x="1281945" y="631878"/>
                  </a:lnTo>
                  <a:lnTo>
                    <a:pt x="1284065" y="633927"/>
                  </a:lnTo>
                  <a:lnTo>
                    <a:pt x="1286199" y="634656"/>
                  </a:lnTo>
                  <a:lnTo>
                    <a:pt x="1290930" y="635073"/>
                  </a:lnTo>
                  <a:lnTo>
                    <a:pt x="1304286" y="634347"/>
                  </a:lnTo>
                  <a:lnTo>
                    <a:pt x="1311647" y="633946"/>
                  </a:lnTo>
                  <a:lnTo>
                    <a:pt x="1310876" y="633040"/>
                  </a:lnTo>
                  <a:lnTo>
                    <a:pt x="1309803" y="632359"/>
                  </a:lnTo>
                  <a:lnTo>
                    <a:pt x="1303612" y="632061"/>
                  </a:lnTo>
                  <a:lnTo>
                    <a:pt x="1294815" y="630579"/>
                  </a:lnTo>
                  <a:lnTo>
                    <a:pt x="1282145" y="627802"/>
                  </a:lnTo>
                  <a:lnTo>
                    <a:pt x="1280639" y="621830"/>
                  </a:lnTo>
                  <a:lnTo>
                    <a:pt x="1280988" y="618109"/>
                  </a:lnTo>
                  <a:lnTo>
                    <a:pt x="1283838" y="611155"/>
                  </a:lnTo>
                  <a:lnTo>
                    <a:pt x="1285873" y="609935"/>
                  </a:lnTo>
                  <a:lnTo>
                    <a:pt x="1288337" y="609464"/>
                  </a:lnTo>
                  <a:lnTo>
                    <a:pt x="1291142" y="608519"/>
                  </a:lnTo>
                  <a:lnTo>
                    <a:pt x="1290336" y="604025"/>
                  </a:lnTo>
                  <a:lnTo>
                    <a:pt x="1289190" y="599994"/>
                  </a:lnTo>
                  <a:lnTo>
                    <a:pt x="1286501" y="594303"/>
                  </a:lnTo>
                  <a:lnTo>
                    <a:pt x="1283526" y="583792"/>
                  </a:lnTo>
                  <a:lnTo>
                    <a:pt x="1279449" y="583711"/>
                  </a:lnTo>
                  <a:lnTo>
                    <a:pt x="1276397" y="581640"/>
                  </a:lnTo>
                  <a:lnTo>
                    <a:pt x="1261286" y="575485"/>
                  </a:lnTo>
                  <a:lnTo>
                    <a:pt x="1247047" y="570910"/>
                  </a:lnTo>
                  <a:lnTo>
                    <a:pt x="1237321" y="570257"/>
                  </a:lnTo>
                  <a:lnTo>
                    <a:pt x="1234201" y="570771"/>
                  </a:lnTo>
                  <a:lnTo>
                    <a:pt x="1226097" y="575527"/>
                  </a:lnTo>
                  <a:lnTo>
                    <a:pt x="1220819" y="576526"/>
                  </a:lnTo>
                  <a:lnTo>
                    <a:pt x="1210819" y="574429"/>
                  </a:lnTo>
                  <a:lnTo>
                    <a:pt x="1202302" y="575591"/>
                  </a:lnTo>
                  <a:lnTo>
                    <a:pt x="1199176" y="574482"/>
                  </a:lnTo>
                  <a:lnTo>
                    <a:pt x="1197841" y="572342"/>
                  </a:lnTo>
                  <a:lnTo>
                    <a:pt x="1200389" y="563776"/>
                  </a:lnTo>
                  <a:lnTo>
                    <a:pt x="1199102" y="560415"/>
                  </a:lnTo>
                  <a:lnTo>
                    <a:pt x="1195356" y="555980"/>
                  </a:lnTo>
                  <a:lnTo>
                    <a:pt x="1193075" y="552440"/>
                  </a:lnTo>
                  <a:lnTo>
                    <a:pt x="1193473" y="548673"/>
                  </a:lnTo>
                  <a:lnTo>
                    <a:pt x="1199046" y="533938"/>
                  </a:lnTo>
                  <a:lnTo>
                    <a:pt x="1201417" y="530078"/>
                  </a:lnTo>
                  <a:lnTo>
                    <a:pt x="1207372" y="523202"/>
                  </a:lnTo>
                  <a:lnTo>
                    <a:pt x="1210394" y="517876"/>
                  </a:lnTo>
                  <a:lnTo>
                    <a:pt x="1209677" y="514876"/>
                  </a:lnTo>
                  <a:lnTo>
                    <a:pt x="1196865" y="498162"/>
                  </a:lnTo>
                  <a:lnTo>
                    <a:pt x="1193438" y="492175"/>
                  </a:lnTo>
                  <a:lnTo>
                    <a:pt x="1191905" y="490267"/>
                  </a:lnTo>
                  <a:lnTo>
                    <a:pt x="1188765" y="487981"/>
                  </a:lnTo>
                  <a:lnTo>
                    <a:pt x="1184017" y="485319"/>
                  </a:lnTo>
                  <a:lnTo>
                    <a:pt x="1182596" y="482886"/>
                  </a:lnTo>
                  <a:lnTo>
                    <a:pt x="1195543" y="466500"/>
                  </a:lnTo>
                  <a:lnTo>
                    <a:pt x="1201462" y="463632"/>
                  </a:lnTo>
                  <a:lnTo>
                    <a:pt x="1209683" y="461858"/>
                  </a:lnTo>
                  <a:lnTo>
                    <a:pt x="1213615" y="460240"/>
                  </a:lnTo>
                  <a:lnTo>
                    <a:pt x="1220582" y="456921"/>
                  </a:lnTo>
                  <a:lnTo>
                    <a:pt x="1224740" y="454132"/>
                  </a:lnTo>
                  <a:lnTo>
                    <a:pt x="1226090" y="451878"/>
                  </a:lnTo>
                  <a:lnTo>
                    <a:pt x="1226902" y="449227"/>
                  </a:lnTo>
                  <a:lnTo>
                    <a:pt x="1227060" y="442677"/>
                  </a:lnTo>
                  <a:lnTo>
                    <a:pt x="1226248" y="437333"/>
                  </a:lnTo>
                  <a:lnTo>
                    <a:pt x="1225090" y="434379"/>
                  </a:lnTo>
                  <a:lnTo>
                    <a:pt x="1222633" y="430582"/>
                  </a:lnTo>
                  <a:lnTo>
                    <a:pt x="1220200" y="426311"/>
                  </a:lnTo>
                  <a:lnTo>
                    <a:pt x="1221927" y="425194"/>
                  </a:lnTo>
                  <a:lnTo>
                    <a:pt x="1223635" y="424548"/>
                  </a:lnTo>
                  <a:lnTo>
                    <a:pt x="1228284" y="424592"/>
                  </a:lnTo>
                  <a:lnTo>
                    <a:pt x="1233080" y="426951"/>
                  </a:lnTo>
                  <a:lnTo>
                    <a:pt x="1235415" y="431633"/>
                  </a:lnTo>
                  <a:lnTo>
                    <a:pt x="1238258" y="435984"/>
                  </a:lnTo>
                  <a:lnTo>
                    <a:pt x="1238250" y="438862"/>
                  </a:lnTo>
                  <a:lnTo>
                    <a:pt x="1237991" y="441153"/>
                  </a:lnTo>
                  <a:lnTo>
                    <a:pt x="1239161" y="444275"/>
                  </a:lnTo>
                  <a:lnTo>
                    <a:pt x="1240195" y="445618"/>
                  </a:lnTo>
                  <a:lnTo>
                    <a:pt x="1241307" y="447853"/>
                  </a:lnTo>
                  <a:lnTo>
                    <a:pt x="1240269" y="449626"/>
                  </a:lnTo>
                  <a:lnTo>
                    <a:pt x="1239161" y="450506"/>
                  </a:lnTo>
                  <a:lnTo>
                    <a:pt x="1237079" y="453056"/>
                  </a:lnTo>
                  <a:lnTo>
                    <a:pt x="1233637" y="460811"/>
                  </a:lnTo>
                  <a:lnTo>
                    <a:pt x="1230968" y="461811"/>
                  </a:lnTo>
                  <a:lnTo>
                    <a:pt x="1230385" y="467803"/>
                  </a:lnTo>
                  <a:lnTo>
                    <a:pt x="1236040" y="474316"/>
                  </a:lnTo>
                  <a:lnTo>
                    <a:pt x="1235274" y="479235"/>
                  </a:lnTo>
                  <a:lnTo>
                    <a:pt x="1234138" y="480856"/>
                  </a:lnTo>
                  <a:lnTo>
                    <a:pt x="1231111" y="483491"/>
                  </a:lnTo>
                  <a:lnTo>
                    <a:pt x="1231504" y="485593"/>
                  </a:lnTo>
                  <a:lnTo>
                    <a:pt x="1232255" y="487087"/>
                  </a:lnTo>
                  <a:lnTo>
                    <a:pt x="1241135" y="490170"/>
                  </a:lnTo>
                  <a:lnTo>
                    <a:pt x="1249468" y="492092"/>
                  </a:lnTo>
                  <a:lnTo>
                    <a:pt x="1263432" y="492762"/>
                  </a:lnTo>
                  <a:lnTo>
                    <a:pt x="1267568" y="495767"/>
                  </a:lnTo>
                  <a:lnTo>
                    <a:pt x="1269031" y="493613"/>
                  </a:lnTo>
                  <a:lnTo>
                    <a:pt x="1282176" y="494145"/>
                  </a:lnTo>
                  <a:lnTo>
                    <a:pt x="1292759" y="501491"/>
                  </a:lnTo>
                  <a:lnTo>
                    <a:pt x="1298339" y="503746"/>
                  </a:lnTo>
                  <a:lnTo>
                    <a:pt x="1302876" y="504496"/>
                  </a:lnTo>
                  <a:lnTo>
                    <a:pt x="1312084" y="503611"/>
                  </a:lnTo>
                  <a:lnTo>
                    <a:pt x="1313703" y="502949"/>
                  </a:lnTo>
                  <a:lnTo>
                    <a:pt x="1315217" y="500858"/>
                  </a:lnTo>
                  <a:lnTo>
                    <a:pt x="1310900" y="501053"/>
                  </a:lnTo>
                  <a:lnTo>
                    <a:pt x="1309017" y="502007"/>
                  </a:lnTo>
                  <a:lnTo>
                    <a:pt x="1307257" y="501909"/>
                  </a:lnTo>
                  <a:lnTo>
                    <a:pt x="1304245" y="501185"/>
                  </a:lnTo>
                  <a:lnTo>
                    <a:pt x="1302116" y="499913"/>
                  </a:lnTo>
                  <a:lnTo>
                    <a:pt x="1299796" y="497418"/>
                  </a:lnTo>
                  <a:lnTo>
                    <a:pt x="1295951" y="490154"/>
                  </a:lnTo>
                  <a:lnTo>
                    <a:pt x="1289224" y="487806"/>
                  </a:lnTo>
                  <a:lnTo>
                    <a:pt x="1284763" y="488761"/>
                  </a:lnTo>
                  <a:lnTo>
                    <a:pt x="1279775" y="488315"/>
                  </a:lnTo>
                  <a:lnTo>
                    <a:pt x="1271651" y="484334"/>
                  </a:lnTo>
                  <a:lnTo>
                    <a:pt x="1266289" y="482818"/>
                  </a:lnTo>
                  <a:lnTo>
                    <a:pt x="1256609" y="478495"/>
                  </a:lnTo>
                  <a:lnTo>
                    <a:pt x="1253927" y="476738"/>
                  </a:lnTo>
                  <a:lnTo>
                    <a:pt x="1251795" y="473160"/>
                  </a:lnTo>
                  <a:lnTo>
                    <a:pt x="1249316" y="467161"/>
                  </a:lnTo>
                  <a:lnTo>
                    <a:pt x="1247742" y="463811"/>
                  </a:lnTo>
                  <a:lnTo>
                    <a:pt x="1249768" y="463144"/>
                  </a:lnTo>
                  <a:lnTo>
                    <a:pt x="1256350" y="459870"/>
                  </a:lnTo>
                  <a:lnTo>
                    <a:pt x="1266294" y="458755"/>
                  </a:lnTo>
                  <a:lnTo>
                    <a:pt x="1270493" y="459944"/>
                  </a:lnTo>
                  <a:lnTo>
                    <a:pt x="1281316" y="466623"/>
                  </a:lnTo>
                  <a:lnTo>
                    <a:pt x="1286330" y="466856"/>
                  </a:lnTo>
                  <a:lnTo>
                    <a:pt x="1295383" y="463948"/>
                  </a:lnTo>
                  <a:lnTo>
                    <a:pt x="1296389" y="462085"/>
                  </a:lnTo>
                  <a:lnTo>
                    <a:pt x="1294363" y="458273"/>
                  </a:lnTo>
                  <a:lnTo>
                    <a:pt x="1291612" y="456316"/>
                  </a:lnTo>
                  <a:lnTo>
                    <a:pt x="1286400" y="455395"/>
                  </a:lnTo>
                  <a:lnTo>
                    <a:pt x="1280036" y="457155"/>
                  </a:lnTo>
                  <a:lnTo>
                    <a:pt x="1278222" y="455665"/>
                  </a:lnTo>
                  <a:lnTo>
                    <a:pt x="1278861" y="453647"/>
                  </a:lnTo>
                  <a:lnTo>
                    <a:pt x="1279565" y="452172"/>
                  </a:lnTo>
                  <a:lnTo>
                    <a:pt x="1282964" y="451787"/>
                  </a:lnTo>
                  <a:lnTo>
                    <a:pt x="1285350" y="450635"/>
                  </a:lnTo>
                  <a:lnTo>
                    <a:pt x="1290546" y="446503"/>
                  </a:lnTo>
                  <a:lnTo>
                    <a:pt x="1296233" y="444476"/>
                  </a:lnTo>
                  <a:lnTo>
                    <a:pt x="1301921" y="443747"/>
                  </a:lnTo>
                  <a:lnTo>
                    <a:pt x="1322695" y="444338"/>
                  </a:lnTo>
                  <a:lnTo>
                    <a:pt x="1334455" y="450890"/>
                  </a:lnTo>
                  <a:lnTo>
                    <a:pt x="1345955" y="453788"/>
                  </a:lnTo>
                  <a:lnTo>
                    <a:pt x="1350935" y="456057"/>
                  </a:lnTo>
                  <a:lnTo>
                    <a:pt x="1352334" y="456435"/>
                  </a:lnTo>
                  <a:lnTo>
                    <a:pt x="1353490" y="457876"/>
                  </a:lnTo>
                  <a:lnTo>
                    <a:pt x="1354403" y="461346"/>
                  </a:lnTo>
                  <a:lnTo>
                    <a:pt x="1368891" y="470565"/>
                  </a:lnTo>
                  <a:lnTo>
                    <a:pt x="1372216" y="471802"/>
                  </a:lnTo>
                  <a:lnTo>
                    <a:pt x="1381464" y="472177"/>
                  </a:lnTo>
                  <a:lnTo>
                    <a:pt x="1391799" y="470053"/>
                  </a:lnTo>
                  <a:lnTo>
                    <a:pt x="1396455" y="469827"/>
                  </a:lnTo>
                  <a:lnTo>
                    <a:pt x="1401504" y="470460"/>
                  </a:lnTo>
                  <a:lnTo>
                    <a:pt x="1404168" y="471616"/>
                  </a:lnTo>
                  <a:lnTo>
                    <a:pt x="1406975" y="473762"/>
                  </a:lnTo>
                  <a:lnTo>
                    <a:pt x="1405470" y="476463"/>
                  </a:lnTo>
                  <a:lnTo>
                    <a:pt x="1404147" y="478088"/>
                  </a:lnTo>
                  <a:lnTo>
                    <a:pt x="1401303" y="482623"/>
                  </a:lnTo>
                  <a:lnTo>
                    <a:pt x="1399996" y="483905"/>
                  </a:lnTo>
                  <a:lnTo>
                    <a:pt x="1390603" y="489075"/>
                  </a:lnTo>
                  <a:lnTo>
                    <a:pt x="1386837" y="490410"/>
                  </a:lnTo>
                  <a:lnTo>
                    <a:pt x="1385822" y="497161"/>
                  </a:lnTo>
                  <a:lnTo>
                    <a:pt x="1385321" y="498668"/>
                  </a:lnTo>
                  <a:lnTo>
                    <a:pt x="1384986" y="501032"/>
                  </a:lnTo>
                  <a:lnTo>
                    <a:pt x="1386686" y="505801"/>
                  </a:lnTo>
                  <a:lnTo>
                    <a:pt x="1387126" y="508702"/>
                  </a:lnTo>
                  <a:lnTo>
                    <a:pt x="1385684" y="512744"/>
                  </a:lnTo>
                  <a:lnTo>
                    <a:pt x="1383306" y="517098"/>
                  </a:lnTo>
                  <a:lnTo>
                    <a:pt x="1383732" y="520565"/>
                  </a:lnTo>
                  <a:lnTo>
                    <a:pt x="1384589" y="525186"/>
                  </a:lnTo>
                  <a:lnTo>
                    <a:pt x="1384913" y="523807"/>
                  </a:lnTo>
                  <a:lnTo>
                    <a:pt x="1384816" y="521706"/>
                  </a:lnTo>
                  <a:lnTo>
                    <a:pt x="1385412" y="519280"/>
                  </a:lnTo>
                  <a:lnTo>
                    <a:pt x="1389685" y="513413"/>
                  </a:lnTo>
                  <a:lnTo>
                    <a:pt x="1392799" y="505378"/>
                  </a:lnTo>
                  <a:lnTo>
                    <a:pt x="1396012" y="503276"/>
                  </a:lnTo>
                  <a:lnTo>
                    <a:pt x="1398917" y="502762"/>
                  </a:lnTo>
                  <a:lnTo>
                    <a:pt x="1402035" y="505158"/>
                  </a:lnTo>
                  <a:lnTo>
                    <a:pt x="1402940" y="508385"/>
                  </a:lnTo>
                  <a:lnTo>
                    <a:pt x="1403101" y="513227"/>
                  </a:lnTo>
                  <a:lnTo>
                    <a:pt x="1402478" y="517803"/>
                  </a:lnTo>
                  <a:lnTo>
                    <a:pt x="1400037" y="524719"/>
                  </a:lnTo>
                  <a:lnTo>
                    <a:pt x="1396116" y="529536"/>
                  </a:lnTo>
                  <a:lnTo>
                    <a:pt x="1394786" y="532269"/>
                  </a:lnTo>
                  <a:lnTo>
                    <a:pt x="1396664" y="534797"/>
                  </a:lnTo>
                  <a:lnTo>
                    <a:pt x="1398638" y="536760"/>
                  </a:lnTo>
                  <a:lnTo>
                    <a:pt x="1400949" y="537404"/>
                  </a:lnTo>
                  <a:lnTo>
                    <a:pt x="1403596" y="537216"/>
                  </a:lnTo>
                  <a:lnTo>
                    <a:pt x="1404233" y="536560"/>
                  </a:lnTo>
                  <a:lnTo>
                    <a:pt x="1404730" y="534672"/>
                  </a:lnTo>
                  <a:lnTo>
                    <a:pt x="1403892" y="532135"/>
                  </a:lnTo>
                  <a:lnTo>
                    <a:pt x="1403443" y="529925"/>
                  </a:lnTo>
                  <a:lnTo>
                    <a:pt x="1408299" y="528149"/>
                  </a:lnTo>
                  <a:lnTo>
                    <a:pt x="1412801" y="527196"/>
                  </a:lnTo>
                  <a:lnTo>
                    <a:pt x="1416401" y="524283"/>
                  </a:lnTo>
                  <a:lnTo>
                    <a:pt x="1417299" y="522365"/>
                  </a:lnTo>
                  <a:lnTo>
                    <a:pt x="1418083" y="519165"/>
                  </a:lnTo>
                  <a:lnTo>
                    <a:pt x="1416211" y="514129"/>
                  </a:lnTo>
                  <a:lnTo>
                    <a:pt x="1414611" y="510368"/>
                  </a:lnTo>
                  <a:lnTo>
                    <a:pt x="1409193" y="501402"/>
                  </a:lnTo>
                  <a:lnTo>
                    <a:pt x="1405155" y="496750"/>
                  </a:lnTo>
                  <a:lnTo>
                    <a:pt x="1407692" y="489765"/>
                  </a:lnTo>
                  <a:lnTo>
                    <a:pt x="1411929" y="481964"/>
                  </a:lnTo>
                  <a:lnTo>
                    <a:pt x="1413553" y="480057"/>
                  </a:lnTo>
                  <a:lnTo>
                    <a:pt x="1413983" y="478856"/>
                  </a:lnTo>
                  <a:lnTo>
                    <a:pt x="1414443" y="476782"/>
                  </a:lnTo>
                  <a:lnTo>
                    <a:pt x="1414049" y="474514"/>
                  </a:lnTo>
                  <a:lnTo>
                    <a:pt x="1413626" y="473116"/>
                  </a:lnTo>
                  <a:lnTo>
                    <a:pt x="1409338" y="467221"/>
                  </a:lnTo>
                  <a:lnTo>
                    <a:pt x="1406239" y="465281"/>
                  </a:lnTo>
                  <a:lnTo>
                    <a:pt x="1396395" y="464123"/>
                  </a:lnTo>
                  <a:lnTo>
                    <a:pt x="1393970" y="463200"/>
                  </a:lnTo>
                  <a:lnTo>
                    <a:pt x="1386755" y="457151"/>
                  </a:lnTo>
                  <a:lnTo>
                    <a:pt x="1385904" y="455774"/>
                  </a:lnTo>
                  <a:lnTo>
                    <a:pt x="1384326" y="451383"/>
                  </a:lnTo>
                  <a:lnTo>
                    <a:pt x="1383758" y="450289"/>
                  </a:lnTo>
                  <a:lnTo>
                    <a:pt x="1381769" y="449132"/>
                  </a:lnTo>
                  <a:lnTo>
                    <a:pt x="1375118" y="446590"/>
                  </a:lnTo>
                  <a:lnTo>
                    <a:pt x="1370549" y="445547"/>
                  </a:lnTo>
                  <a:lnTo>
                    <a:pt x="1363837" y="445250"/>
                  </a:lnTo>
                  <a:lnTo>
                    <a:pt x="1359756" y="443964"/>
                  </a:lnTo>
                  <a:lnTo>
                    <a:pt x="1353762" y="439858"/>
                  </a:lnTo>
                  <a:lnTo>
                    <a:pt x="1353114" y="438536"/>
                  </a:lnTo>
                  <a:lnTo>
                    <a:pt x="1351386" y="433188"/>
                  </a:lnTo>
                  <a:lnTo>
                    <a:pt x="1349985" y="430502"/>
                  </a:lnTo>
                  <a:lnTo>
                    <a:pt x="1350408" y="428523"/>
                  </a:lnTo>
                  <a:lnTo>
                    <a:pt x="1352583" y="424253"/>
                  </a:lnTo>
                  <a:lnTo>
                    <a:pt x="1354083" y="420532"/>
                  </a:lnTo>
                  <a:lnTo>
                    <a:pt x="1352222" y="417322"/>
                  </a:lnTo>
                  <a:lnTo>
                    <a:pt x="1349596" y="416312"/>
                  </a:lnTo>
                  <a:lnTo>
                    <a:pt x="1346744" y="414752"/>
                  </a:lnTo>
                  <a:lnTo>
                    <a:pt x="1345545" y="411826"/>
                  </a:lnTo>
                  <a:lnTo>
                    <a:pt x="1344861" y="408608"/>
                  </a:lnTo>
                  <a:lnTo>
                    <a:pt x="1344738" y="406125"/>
                  </a:lnTo>
                  <a:lnTo>
                    <a:pt x="1344275" y="403269"/>
                  </a:lnTo>
                  <a:lnTo>
                    <a:pt x="1345608" y="400847"/>
                  </a:lnTo>
                  <a:lnTo>
                    <a:pt x="1348651" y="398276"/>
                  </a:lnTo>
                  <a:lnTo>
                    <a:pt x="1347899" y="396528"/>
                  </a:lnTo>
                  <a:lnTo>
                    <a:pt x="1348370" y="394243"/>
                  </a:lnTo>
                  <a:lnTo>
                    <a:pt x="1367953" y="391164"/>
                  </a:lnTo>
                  <a:lnTo>
                    <a:pt x="1375651" y="390375"/>
                  </a:lnTo>
                  <a:lnTo>
                    <a:pt x="1413855" y="390047"/>
                  </a:lnTo>
                  <a:lnTo>
                    <a:pt x="1416559" y="389190"/>
                  </a:lnTo>
                  <a:lnTo>
                    <a:pt x="1433151" y="387666"/>
                  </a:lnTo>
                  <a:lnTo>
                    <a:pt x="1440239" y="385914"/>
                  </a:lnTo>
                  <a:lnTo>
                    <a:pt x="1447747" y="387773"/>
                  </a:lnTo>
                  <a:lnTo>
                    <a:pt x="1450470" y="387687"/>
                  </a:lnTo>
                  <a:lnTo>
                    <a:pt x="1455948" y="387126"/>
                  </a:lnTo>
                  <a:lnTo>
                    <a:pt x="1459554" y="383390"/>
                  </a:lnTo>
                  <a:lnTo>
                    <a:pt x="1467689" y="381869"/>
                  </a:lnTo>
                  <a:lnTo>
                    <a:pt x="1481224" y="380260"/>
                  </a:lnTo>
                  <a:lnTo>
                    <a:pt x="1487892" y="380570"/>
                  </a:lnTo>
                  <a:lnTo>
                    <a:pt x="1489403" y="381705"/>
                  </a:lnTo>
                  <a:lnTo>
                    <a:pt x="1490911" y="383278"/>
                  </a:lnTo>
                  <a:lnTo>
                    <a:pt x="1483573" y="387888"/>
                  </a:lnTo>
                  <a:lnTo>
                    <a:pt x="1476238" y="392048"/>
                  </a:lnTo>
                  <a:lnTo>
                    <a:pt x="1470228" y="393821"/>
                  </a:lnTo>
                  <a:lnTo>
                    <a:pt x="1464322" y="397476"/>
                  </a:lnTo>
                  <a:lnTo>
                    <a:pt x="1463735" y="398919"/>
                  </a:lnTo>
                  <a:lnTo>
                    <a:pt x="1463560" y="399798"/>
                  </a:lnTo>
                  <a:lnTo>
                    <a:pt x="1463778" y="402637"/>
                  </a:lnTo>
                  <a:lnTo>
                    <a:pt x="1464125" y="404539"/>
                  </a:lnTo>
                  <a:lnTo>
                    <a:pt x="1470317" y="406849"/>
                  </a:lnTo>
                  <a:lnTo>
                    <a:pt x="1474955" y="410109"/>
                  </a:lnTo>
                  <a:lnTo>
                    <a:pt x="1479520" y="412451"/>
                  </a:lnTo>
                  <a:lnTo>
                    <a:pt x="1483117" y="413876"/>
                  </a:lnTo>
                  <a:lnTo>
                    <a:pt x="1483958" y="413071"/>
                  </a:lnTo>
                  <a:lnTo>
                    <a:pt x="1470837" y="405399"/>
                  </a:lnTo>
                  <a:lnTo>
                    <a:pt x="1467501" y="403684"/>
                  </a:lnTo>
                  <a:lnTo>
                    <a:pt x="1466158" y="401839"/>
                  </a:lnTo>
                  <a:lnTo>
                    <a:pt x="1466797" y="399024"/>
                  </a:lnTo>
                  <a:lnTo>
                    <a:pt x="1468123" y="397772"/>
                  </a:lnTo>
                  <a:lnTo>
                    <a:pt x="1470189" y="396350"/>
                  </a:lnTo>
                  <a:lnTo>
                    <a:pt x="1471576" y="395687"/>
                  </a:lnTo>
                  <a:lnTo>
                    <a:pt x="1476467" y="394226"/>
                  </a:lnTo>
                  <a:lnTo>
                    <a:pt x="1492915" y="392251"/>
                  </a:lnTo>
                  <a:lnTo>
                    <a:pt x="1496769" y="388410"/>
                  </a:lnTo>
                  <a:lnTo>
                    <a:pt x="1498430" y="386212"/>
                  </a:lnTo>
                  <a:lnTo>
                    <a:pt x="1502889" y="383855"/>
                  </a:lnTo>
                  <a:lnTo>
                    <a:pt x="1501386" y="382921"/>
                  </a:lnTo>
                  <a:lnTo>
                    <a:pt x="1497721" y="382337"/>
                  </a:lnTo>
                  <a:lnTo>
                    <a:pt x="1494895" y="380933"/>
                  </a:lnTo>
                  <a:lnTo>
                    <a:pt x="1483560" y="367247"/>
                  </a:lnTo>
                  <a:lnTo>
                    <a:pt x="1480774" y="365144"/>
                  </a:lnTo>
                  <a:lnTo>
                    <a:pt x="1472079" y="363596"/>
                  </a:lnTo>
                  <a:lnTo>
                    <a:pt x="1468177" y="362003"/>
                  </a:lnTo>
                  <a:lnTo>
                    <a:pt x="1472191" y="357341"/>
                  </a:lnTo>
                  <a:lnTo>
                    <a:pt x="1476899" y="356160"/>
                  </a:lnTo>
                  <a:lnTo>
                    <a:pt x="1480053" y="356416"/>
                  </a:lnTo>
                  <a:lnTo>
                    <a:pt x="1482846" y="357724"/>
                  </a:lnTo>
                  <a:lnTo>
                    <a:pt x="1488002" y="361597"/>
                  </a:lnTo>
                  <a:lnTo>
                    <a:pt x="1495337" y="359920"/>
                  </a:lnTo>
                  <a:lnTo>
                    <a:pt x="1492606" y="358190"/>
                  </a:lnTo>
                  <a:lnTo>
                    <a:pt x="1487920" y="356177"/>
                  </a:lnTo>
                  <a:lnTo>
                    <a:pt x="1483627" y="352999"/>
                  </a:lnTo>
                  <a:lnTo>
                    <a:pt x="1477559" y="350241"/>
                  </a:lnTo>
                  <a:lnTo>
                    <a:pt x="1470714" y="348355"/>
                  </a:lnTo>
                  <a:lnTo>
                    <a:pt x="1463525" y="347629"/>
                  </a:lnTo>
                  <a:lnTo>
                    <a:pt x="1465510" y="343453"/>
                  </a:lnTo>
                  <a:lnTo>
                    <a:pt x="1469448" y="343981"/>
                  </a:lnTo>
                  <a:lnTo>
                    <a:pt x="1470790" y="342698"/>
                  </a:lnTo>
                  <a:lnTo>
                    <a:pt x="1472597" y="340111"/>
                  </a:lnTo>
                  <a:lnTo>
                    <a:pt x="1482552" y="345993"/>
                  </a:lnTo>
                  <a:lnTo>
                    <a:pt x="1487227" y="344436"/>
                  </a:lnTo>
                  <a:lnTo>
                    <a:pt x="1491183" y="341755"/>
                  </a:lnTo>
                  <a:lnTo>
                    <a:pt x="1499531" y="334612"/>
                  </a:lnTo>
                  <a:lnTo>
                    <a:pt x="1500598" y="331416"/>
                  </a:lnTo>
                  <a:lnTo>
                    <a:pt x="1496614" y="329677"/>
                  </a:lnTo>
                  <a:lnTo>
                    <a:pt x="1493370" y="328803"/>
                  </a:lnTo>
                  <a:lnTo>
                    <a:pt x="1488911" y="328987"/>
                  </a:lnTo>
                  <a:lnTo>
                    <a:pt x="1488527" y="327006"/>
                  </a:lnTo>
                  <a:lnTo>
                    <a:pt x="1490390" y="324476"/>
                  </a:lnTo>
                  <a:lnTo>
                    <a:pt x="1494036" y="323502"/>
                  </a:lnTo>
                  <a:lnTo>
                    <a:pt x="1505104" y="326261"/>
                  </a:lnTo>
                  <a:lnTo>
                    <a:pt x="1523509" y="319110"/>
                  </a:lnTo>
                  <a:lnTo>
                    <a:pt x="1528581" y="315601"/>
                  </a:lnTo>
                  <a:lnTo>
                    <a:pt x="1541343" y="311092"/>
                  </a:lnTo>
                  <a:lnTo>
                    <a:pt x="1547642" y="311622"/>
                  </a:lnTo>
                  <a:lnTo>
                    <a:pt x="1560685" y="305673"/>
                  </a:lnTo>
                  <a:lnTo>
                    <a:pt x="1578811" y="303047"/>
                  </a:lnTo>
                  <a:lnTo>
                    <a:pt x="1589309" y="303042"/>
                  </a:lnTo>
                  <a:lnTo>
                    <a:pt x="1597401" y="299713"/>
                  </a:lnTo>
                  <a:lnTo>
                    <a:pt x="1609830" y="298544"/>
                  </a:lnTo>
                  <a:lnTo>
                    <a:pt x="1614143" y="297217"/>
                  </a:lnTo>
                  <a:lnTo>
                    <a:pt x="1635089" y="293833"/>
                  </a:lnTo>
                  <a:lnTo>
                    <a:pt x="1646706" y="291176"/>
                  </a:lnTo>
                  <a:lnTo>
                    <a:pt x="1648501" y="289079"/>
                  </a:lnTo>
                  <a:lnTo>
                    <a:pt x="1638123" y="290783"/>
                  </a:lnTo>
                  <a:lnTo>
                    <a:pt x="1635624" y="289212"/>
                  </a:lnTo>
                  <a:lnTo>
                    <a:pt x="1633445" y="290273"/>
                  </a:lnTo>
                  <a:lnTo>
                    <a:pt x="1631910" y="291702"/>
                  </a:lnTo>
                  <a:lnTo>
                    <a:pt x="1626870" y="289090"/>
                  </a:lnTo>
                  <a:lnTo>
                    <a:pt x="1625503" y="289740"/>
                  </a:lnTo>
                  <a:lnTo>
                    <a:pt x="1624449" y="291178"/>
                  </a:lnTo>
                  <a:lnTo>
                    <a:pt x="1622635" y="291637"/>
                  </a:lnTo>
                  <a:lnTo>
                    <a:pt x="1620508" y="291309"/>
                  </a:lnTo>
                  <a:lnTo>
                    <a:pt x="1619804" y="288161"/>
                  </a:lnTo>
                  <a:lnTo>
                    <a:pt x="1622303" y="283825"/>
                  </a:lnTo>
                  <a:lnTo>
                    <a:pt x="1625250" y="286061"/>
                  </a:lnTo>
                  <a:lnTo>
                    <a:pt x="1628664" y="282750"/>
                  </a:lnTo>
                  <a:lnTo>
                    <a:pt x="1630882" y="282661"/>
                  </a:lnTo>
                  <a:lnTo>
                    <a:pt x="1637270" y="284776"/>
                  </a:lnTo>
                  <a:lnTo>
                    <a:pt x="1641569" y="282634"/>
                  </a:lnTo>
                  <a:lnTo>
                    <a:pt x="1647306" y="281622"/>
                  </a:lnTo>
                  <a:lnTo>
                    <a:pt x="1653629" y="282568"/>
                  </a:lnTo>
                  <a:lnTo>
                    <a:pt x="1656249" y="282332"/>
                  </a:lnTo>
                  <a:lnTo>
                    <a:pt x="1657771" y="280341"/>
                  </a:lnTo>
                  <a:lnTo>
                    <a:pt x="1668006" y="282079"/>
                  </a:lnTo>
                  <a:lnTo>
                    <a:pt x="1675100" y="280894"/>
                  </a:lnTo>
                  <a:lnTo>
                    <a:pt x="1679952" y="280998"/>
                  </a:lnTo>
                  <a:lnTo>
                    <a:pt x="1687497" y="282097"/>
                  </a:lnTo>
                  <a:lnTo>
                    <a:pt x="1690936" y="283512"/>
                  </a:lnTo>
                  <a:lnTo>
                    <a:pt x="1688959" y="286794"/>
                  </a:lnTo>
                  <a:lnTo>
                    <a:pt x="1681602" y="292112"/>
                  </a:lnTo>
                  <a:lnTo>
                    <a:pt x="1683603" y="293010"/>
                  </a:lnTo>
                  <a:lnTo>
                    <a:pt x="1687825" y="290582"/>
                  </a:lnTo>
                  <a:lnTo>
                    <a:pt x="1700513" y="286980"/>
                  </a:lnTo>
                  <a:lnTo>
                    <a:pt x="1702548" y="287690"/>
                  </a:lnTo>
                  <a:lnTo>
                    <a:pt x="1701157" y="290781"/>
                  </a:lnTo>
                  <a:lnTo>
                    <a:pt x="1700259" y="292156"/>
                  </a:lnTo>
                  <a:lnTo>
                    <a:pt x="1708709" y="290355"/>
                  </a:lnTo>
                  <a:lnTo>
                    <a:pt x="1715923" y="286384"/>
                  </a:lnTo>
                  <a:lnTo>
                    <a:pt x="1719134" y="285718"/>
                  </a:lnTo>
                  <a:lnTo>
                    <a:pt x="1722419" y="288128"/>
                  </a:lnTo>
                  <a:lnTo>
                    <a:pt x="1725481" y="285915"/>
                  </a:lnTo>
                  <a:lnTo>
                    <a:pt x="1726191" y="283692"/>
                  </a:lnTo>
                  <a:lnTo>
                    <a:pt x="1731687" y="283209"/>
                  </a:lnTo>
                  <a:lnTo>
                    <a:pt x="1733935" y="281163"/>
                  </a:lnTo>
                  <a:lnTo>
                    <a:pt x="1737796" y="279674"/>
                  </a:lnTo>
                  <a:lnTo>
                    <a:pt x="1741054" y="279029"/>
                  </a:lnTo>
                  <a:lnTo>
                    <a:pt x="1748131" y="276199"/>
                  </a:lnTo>
                  <a:lnTo>
                    <a:pt x="1750547" y="277050"/>
                  </a:lnTo>
                  <a:lnTo>
                    <a:pt x="1755265" y="277800"/>
                  </a:lnTo>
                  <a:lnTo>
                    <a:pt x="1759745" y="279163"/>
                  </a:lnTo>
                  <a:lnTo>
                    <a:pt x="1768046" y="282270"/>
                  </a:lnTo>
                  <a:lnTo>
                    <a:pt x="1769217" y="283497"/>
                  </a:lnTo>
                  <a:lnTo>
                    <a:pt x="1770268" y="283692"/>
                  </a:lnTo>
                  <a:lnTo>
                    <a:pt x="1772639" y="285928"/>
                  </a:lnTo>
                  <a:lnTo>
                    <a:pt x="1770845" y="289210"/>
                  </a:lnTo>
                  <a:lnTo>
                    <a:pt x="1768923" y="293926"/>
                  </a:lnTo>
                  <a:lnTo>
                    <a:pt x="1765381" y="296131"/>
                  </a:lnTo>
                  <a:lnTo>
                    <a:pt x="1767560" y="296339"/>
                  </a:lnTo>
                  <a:lnTo>
                    <a:pt x="1769079" y="295766"/>
                  </a:lnTo>
                  <a:lnTo>
                    <a:pt x="1771912" y="292633"/>
                  </a:lnTo>
                  <a:lnTo>
                    <a:pt x="1774430" y="290390"/>
                  </a:lnTo>
                  <a:lnTo>
                    <a:pt x="1773855" y="281060"/>
                  </a:lnTo>
                  <a:lnTo>
                    <a:pt x="1769242" y="276313"/>
                  </a:lnTo>
                  <a:lnTo>
                    <a:pt x="1765790" y="274720"/>
                  </a:lnTo>
                  <a:lnTo>
                    <a:pt x="1757679" y="269729"/>
                  </a:lnTo>
                  <a:lnTo>
                    <a:pt x="1754930" y="267600"/>
                  </a:lnTo>
                  <a:lnTo>
                    <a:pt x="1751307" y="265314"/>
                  </a:lnTo>
                  <a:lnTo>
                    <a:pt x="1752717" y="263988"/>
                  </a:lnTo>
                  <a:lnTo>
                    <a:pt x="1768346" y="265737"/>
                  </a:lnTo>
                  <a:lnTo>
                    <a:pt x="1776295" y="264891"/>
                  </a:lnTo>
                  <a:lnTo>
                    <a:pt x="1784845" y="265384"/>
                  </a:lnTo>
                  <a:lnTo>
                    <a:pt x="1796373" y="263270"/>
                  </a:lnTo>
                  <a:lnTo>
                    <a:pt x="1801171" y="265471"/>
                  </a:lnTo>
                  <a:lnTo>
                    <a:pt x="1806700" y="265395"/>
                  </a:lnTo>
                  <a:lnTo>
                    <a:pt x="1813046" y="267215"/>
                  </a:lnTo>
                  <a:lnTo>
                    <a:pt x="1814948" y="265093"/>
                  </a:lnTo>
                  <a:lnTo>
                    <a:pt x="1804538" y="262788"/>
                  </a:lnTo>
                  <a:lnTo>
                    <a:pt x="1799886" y="263026"/>
                  </a:lnTo>
                  <a:lnTo>
                    <a:pt x="1798237" y="261821"/>
                  </a:lnTo>
                  <a:lnTo>
                    <a:pt x="1799966" y="259137"/>
                  </a:lnTo>
                  <a:lnTo>
                    <a:pt x="1802024" y="255039"/>
                  </a:lnTo>
                  <a:lnTo>
                    <a:pt x="1800010" y="251467"/>
                  </a:lnTo>
                  <a:lnTo>
                    <a:pt x="1798069" y="249563"/>
                  </a:lnTo>
                  <a:lnTo>
                    <a:pt x="1797747" y="245942"/>
                  </a:lnTo>
                  <a:lnTo>
                    <a:pt x="1799606" y="241773"/>
                  </a:lnTo>
                  <a:lnTo>
                    <a:pt x="1803936" y="240002"/>
                  </a:lnTo>
                  <a:lnTo>
                    <a:pt x="1806304" y="236602"/>
                  </a:lnTo>
                  <a:lnTo>
                    <a:pt x="1811275" y="232097"/>
                  </a:lnTo>
                  <a:lnTo>
                    <a:pt x="1835432" y="217531"/>
                  </a:lnTo>
                  <a:lnTo>
                    <a:pt x="1846959" y="211967"/>
                  </a:lnTo>
                  <a:lnTo>
                    <a:pt x="1851377" y="211277"/>
                  </a:lnTo>
                  <a:lnTo>
                    <a:pt x="1856452" y="211708"/>
                  </a:lnTo>
                  <a:lnTo>
                    <a:pt x="1866486" y="207047"/>
                  </a:lnTo>
                  <a:close/>
                  <a:moveTo>
                    <a:pt x="1943740" y="185164"/>
                  </a:moveTo>
                  <a:lnTo>
                    <a:pt x="1945177" y="185349"/>
                  </a:lnTo>
                  <a:lnTo>
                    <a:pt x="1947880" y="187968"/>
                  </a:lnTo>
                  <a:lnTo>
                    <a:pt x="1945906" y="190282"/>
                  </a:lnTo>
                  <a:lnTo>
                    <a:pt x="1943151" y="191468"/>
                  </a:lnTo>
                  <a:lnTo>
                    <a:pt x="1940104" y="189516"/>
                  </a:lnTo>
                  <a:lnTo>
                    <a:pt x="1932538" y="189656"/>
                  </a:lnTo>
                  <a:lnTo>
                    <a:pt x="1919577" y="187540"/>
                  </a:lnTo>
                  <a:lnTo>
                    <a:pt x="1923287" y="186211"/>
                  </a:lnTo>
                  <a:close/>
                  <a:moveTo>
                    <a:pt x="1920491" y="177923"/>
                  </a:moveTo>
                  <a:lnTo>
                    <a:pt x="1924550" y="178107"/>
                  </a:lnTo>
                  <a:lnTo>
                    <a:pt x="1925672" y="179050"/>
                  </a:lnTo>
                  <a:lnTo>
                    <a:pt x="1926301" y="180130"/>
                  </a:lnTo>
                  <a:lnTo>
                    <a:pt x="1926286" y="181535"/>
                  </a:lnTo>
                  <a:lnTo>
                    <a:pt x="1925405" y="181535"/>
                  </a:lnTo>
                  <a:lnTo>
                    <a:pt x="1921549" y="181694"/>
                  </a:lnTo>
                  <a:lnTo>
                    <a:pt x="1920836" y="182494"/>
                  </a:lnTo>
                  <a:lnTo>
                    <a:pt x="1916368" y="184358"/>
                  </a:lnTo>
                  <a:lnTo>
                    <a:pt x="1913730" y="184721"/>
                  </a:lnTo>
                  <a:lnTo>
                    <a:pt x="1910911" y="183690"/>
                  </a:lnTo>
                  <a:lnTo>
                    <a:pt x="1911680" y="181551"/>
                  </a:lnTo>
                  <a:lnTo>
                    <a:pt x="1918141" y="181169"/>
                  </a:lnTo>
                  <a:close/>
                  <a:moveTo>
                    <a:pt x="1830893" y="124475"/>
                  </a:moveTo>
                  <a:lnTo>
                    <a:pt x="1839406" y="126512"/>
                  </a:lnTo>
                  <a:lnTo>
                    <a:pt x="1844972" y="129514"/>
                  </a:lnTo>
                  <a:lnTo>
                    <a:pt x="1846218" y="131118"/>
                  </a:lnTo>
                  <a:lnTo>
                    <a:pt x="1845212" y="131939"/>
                  </a:lnTo>
                  <a:lnTo>
                    <a:pt x="1842718" y="132499"/>
                  </a:lnTo>
                  <a:lnTo>
                    <a:pt x="1841504" y="133350"/>
                  </a:lnTo>
                  <a:lnTo>
                    <a:pt x="1839349" y="137176"/>
                  </a:lnTo>
                  <a:lnTo>
                    <a:pt x="1838431" y="140640"/>
                  </a:lnTo>
                  <a:lnTo>
                    <a:pt x="1831843" y="151887"/>
                  </a:lnTo>
                  <a:lnTo>
                    <a:pt x="1831057" y="153900"/>
                  </a:lnTo>
                  <a:lnTo>
                    <a:pt x="1834927" y="152150"/>
                  </a:lnTo>
                  <a:lnTo>
                    <a:pt x="1838472" y="148321"/>
                  </a:lnTo>
                  <a:lnTo>
                    <a:pt x="1840621" y="145144"/>
                  </a:lnTo>
                  <a:lnTo>
                    <a:pt x="1842956" y="143112"/>
                  </a:lnTo>
                  <a:lnTo>
                    <a:pt x="1845726" y="143076"/>
                  </a:lnTo>
                  <a:lnTo>
                    <a:pt x="1848455" y="142349"/>
                  </a:lnTo>
                  <a:lnTo>
                    <a:pt x="1853636" y="139653"/>
                  </a:lnTo>
                  <a:lnTo>
                    <a:pt x="1858931" y="138477"/>
                  </a:lnTo>
                  <a:lnTo>
                    <a:pt x="1861759" y="138513"/>
                  </a:lnTo>
                  <a:lnTo>
                    <a:pt x="1864521" y="139794"/>
                  </a:lnTo>
                  <a:lnTo>
                    <a:pt x="1866253" y="142779"/>
                  </a:lnTo>
                  <a:lnTo>
                    <a:pt x="1868179" y="145202"/>
                  </a:lnTo>
                  <a:lnTo>
                    <a:pt x="1875102" y="146972"/>
                  </a:lnTo>
                  <a:lnTo>
                    <a:pt x="1876098" y="147618"/>
                  </a:lnTo>
                  <a:lnTo>
                    <a:pt x="1876711" y="149604"/>
                  </a:lnTo>
                  <a:lnTo>
                    <a:pt x="1876160" y="151723"/>
                  </a:lnTo>
                  <a:lnTo>
                    <a:pt x="1880166" y="153914"/>
                  </a:lnTo>
                  <a:lnTo>
                    <a:pt x="1885646" y="152952"/>
                  </a:lnTo>
                  <a:lnTo>
                    <a:pt x="1888600" y="153517"/>
                  </a:lnTo>
                  <a:lnTo>
                    <a:pt x="1891505" y="154711"/>
                  </a:lnTo>
                  <a:lnTo>
                    <a:pt x="1892801" y="156609"/>
                  </a:lnTo>
                  <a:lnTo>
                    <a:pt x="1893939" y="158894"/>
                  </a:lnTo>
                  <a:lnTo>
                    <a:pt x="1895135" y="162146"/>
                  </a:lnTo>
                  <a:lnTo>
                    <a:pt x="1895854" y="165652"/>
                  </a:lnTo>
                  <a:lnTo>
                    <a:pt x="1895189" y="170207"/>
                  </a:lnTo>
                  <a:lnTo>
                    <a:pt x="1884576" y="177312"/>
                  </a:lnTo>
                  <a:lnTo>
                    <a:pt x="1882567" y="177938"/>
                  </a:lnTo>
                  <a:lnTo>
                    <a:pt x="1877651" y="177481"/>
                  </a:lnTo>
                  <a:lnTo>
                    <a:pt x="1872742" y="178163"/>
                  </a:lnTo>
                  <a:lnTo>
                    <a:pt x="1859959" y="181858"/>
                  </a:lnTo>
                  <a:lnTo>
                    <a:pt x="1844122" y="181974"/>
                  </a:lnTo>
                  <a:lnTo>
                    <a:pt x="1839557" y="185237"/>
                  </a:lnTo>
                  <a:lnTo>
                    <a:pt x="1838179" y="185141"/>
                  </a:lnTo>
                  <a:lnTo>
                    <a:pt x="1836825" y="184574"/>
                  </a:lnTo>
                  <a:lnTo>
                    <a:pt x="1835587" y="183475"/>
                  </a:lnTo>
                  <a:lnTo>
                    <a:pt x="1825930" y="184400"/>
                  </a:lnTo>
                  <a:lnTo>
                    <a:pt x="1815138" y="184928"/>
                  </a:lnTo>
                  <a:lnTo>
                    <a:pt x="1804341" y="185043"/>
                  </a:lnTo>
                  <a:lnTo>
                    <a:pt x="1800711" y="187391"/>
                  </a:lnTo>
                  <a:lnTo>
                    <a:pt x="1789683" y="191958"/>
                  </a:lnTo>
                  <a:lnTo>
                    <a:pt x="1779534" y="195420"/>
                  </a:lnTo>
                  <a:lnTo>
                    <a:pt x="1774289" y="196286"/>
                  </a:lnTo>
                  <a:lnTo>
                    <a:pt x="1766667" y="195369"/>
                  </a:lnTo>
                  <a:lnTo>
                    <a:pt x="1764265" y="194194"/>
                  </a:lnTo>
                  <a:lnTo>
                    <a:pt x="1761952" y="192408"/>
                  </a:lnTo>
                  <a:lnTo>
                    <a:pt x="1765304" y="190216"/>
                  </a:lnTo>
                  <a:lnTo>
                    <a:pt x="1767668" y="185684"/>
                  </a:lnTo>
                  <a:lnTo>
                    <a:pt x="1770594" y="183048"/>
                  </a:lnTo>
                  <a:lnTo>
                    <a:pt x="1778135" y="177978"/>
                  </a:lnTo>
                  <a:lnTo>
                    <a:pt x="1778988" y="175980"/>
                  </a:lnTo>
                  <a:lnTo>
                    <a:pt x="1780448" y="171631"/>
                  </a:lnTo>
                  <a:lnTo>
                    <a:pt x="1781320" y="170011"/>
                  </a:lnTo>
                  <a:lnTo>
                    <a:pt x="1782471" y="168470"/>
                  </a:lnTo>
                  <a:lnTo>
                    <a:pt x="1783404" y="166627"/>
                  </a:lnTo>
                  <a:lnTo>
                    <a:pt x="1783525" y="163830"/>
                  </a:lnTo>
                  <a:lnTo>
                    <a:pt x="1783996" y="161512"/>
                  </a:lnTo>
                  <a:lnTo>
                    <a:pt x="1786924" y="157912"/>
                  </a:lnTo>
                  <a:lnTo>
                    <a:pt x="1789118" y="156225"/>
                  </a:lnTo>
                  <a:lnTo>
                    <a:pt x="1791417" y="155757"/>
                  </a:lnTo>
                  <a:lnTo>
                    <a:pt x="1797077" y="156430"/>
                  </a:lnTo>
                  <a:lnTo>
                    <a:pt x="1798850" y="156192"/>
                  </a:lnTo>
                  <a:lnTo>
                    <a:pt x="1797572" y="155023"/>
                  </a:lnTo>
                  <a:lnTo>
                    <a:pt x="1796649" y="150856"/>
                  </a:lnTo>
                  <a:lnTo>
                    <a:pt x="1796833" y="149483"/>
                  </a:lnTo>
                  <a:lnTo>
                    <a:pt x="1797647" y="146825"/>
                  </a:lnTo>
                  <a:lnTo>
                    <a:pt x="1799064" y="145528"/>
                  </a:lnTo>
                  <a:lnTo>
                    <a:pt x="1800510" y="144706"/>
                  </a:lnTo>
                  <a:lnTo>
                    <a:pt x="1801335" y="141123"/>
                  </a:lnTo>
                  <a:lnTo>
                    <a:pt x="1800983" y="139794"/>
                  </a:lnTo>
                  <a:lnTo>
                    <a:pt x="1803119" y="138138"/>
                  </a:lnTo>
                  <a:lnTo>
                    <a:pt x="1804164" y="135794"/>
                  </a:lnTo>
                  <a:lnTo>
                    <a:pt x="1806693" y="134404"/>
                  </a:lnTo>
                  <a:lnTo>
                    <a:pt x="1811837" y="133326"/>
                  </a:lnTo>
                  <a:lnTo>
                    <a:pt x="1812106" y="130449"/>
                  </a:lnTo>
                  <a:lnTo>
                    <a:pt x="1812888" y="128578"/>
                  </a:lnTo>
                  <a:lnTo>
                    <a:pt x="1814054" y="128037"/>
                  </a:lnTo>
                  <a:lnTo>
                    <a:pt x="1816663" y="127512"/>
                  </a:lnTo>
                  <a:lnTo>
                    <a:pt x="1818053" y="127599"/>
                  </a:lnTo>
                  <a:lnTo>
                    <a:pt x="1819997" y="130500"/>
                  </a:lnTo>
                  <a:lnTo>
                    <a:pt x="1822057" y="132870"/>
                  </a:lnTo>
                  <a:lnTo>
                    <a:pt x="1824782" y="133423"/>
                  </a:lnTo>
                  <a:lnTo>
                    <a:pt x="1827496" y="133246"/>
                  </a:lnTo>
                  <a:lnTo>
                    <a:pt x="1825860" y="130451"/>
                  </a:lnTo>
                  <a:lnTo>
                    <a:pt x="1825935" y="127441"/>
                  </a:lnTo>
                  <a:lnTo>
                    <a:pt x="1826918" y="125481"/>
                  </a:lnTo>
                  <a:lnTo>
                    <a:pt x="1828185" y="124630"/>
                  </a:lnTo>
                  <a:close/>
                  <a:moveTo>
                    <a:pt x="1250308" y="112959"/>
                  </a:moveTo>
                  <a:lnTo>
                    <a:pt x="1252530" y="113627"/>
                  </a:lnTo>
                  <a:lnTo>
                    <a:pt x="1255263" y="115416"/>
                  </a:lnTo>
                  <a:lnTo>
                    <a:pt x="1257360" y="114022"/>
                  </a:lnTo>
                  <a:lnTo>
                    <a:pt x="1277101" y="118327"/>
                  </a:lnTo>
                  <a:lnTo>
                    <a:pt x="1281284" y="119942"/>
                  </a:lnTo>
                  <a:lnTo>
                    <a:pt x="1282161" y="121061"/>
                  </a:lnTo>
                  <a:lnTo>
                    <a:pt x="1264939" y="121678"/>
                  </a:lnTo>
                  <a:lnTo>
                    <a:pt x="1261387" y="121484"/>
                  </a:lnTo>
                  <a:lnTo>
                    <a:pt x="1261100" y="118945"/>
                  </a:lnTo>
                  <a:lnTo>
                    <a:pt x="1257144" y="118894"/>
                  </a:lnTo>
                  <a:lnTo>
                    <a:pt x="1250424" y="117235"/>
                  </a:lnTo>
                  <a:lnTo>
                    <a:pt x="1248615" y="114897"/>
                  </a:lnTo>
                  <a:lnTo>
                    <a:pt x="1248166" y="113944"/>
                  </a:lnTo>
                  <a:close/>
                  <a:moveTo>
                    <a:pt x="1779228" y="111131"/>
                  </a:moveTo>
                  <a:lnTo>
                    <a:pt x="1780845" y="111997"/>
                  </a:lnTo>
                  <a:lnTo>
                    <a:pt x="1784356" y="112669"/>
                  </a:lnTo>
                  <a:lnTo>
                    <a:pt x="1780722" y="115467"/>
                  </a:lnTo>
                  <a:lnTo>
                    <a:pt x="1775846" y="116096"/>
                  </a:lnTo>
                  <a:lnTo>
                    <a:pt x="1776440" y="112610"/>
                  </a:lnTo>
                  <a:lnTo>
                    <a:pt x="1776738" y="111665"/>
                  </a:lnTo>
                  <a:close/>
                  <a:moveTo>
                    <a:pt x="1595334" y="93474"/>
                  </a:moveTo>
                  <a:lnTo>
                    <a:pt x="1604654" y="93820"/>
                  </a:lnTo>
                  <a:lnTo>
                    <a:pt x="1613926" y="96289"/>
                  </a:lnTo>
                  <a:lnTo>
                    <a:pt x="1633579" y="99082"/>
                  </a:lnTo>
                  <a:lnTo>
                    <a:pt x="1640690" y="100923"/>
                  </a:lnTo>
                  <a:lnTo>
                    <a:pt x="1636276" y="105333"/>
                  </a:lnTo>
                  <a:lnTo>
                    <a:pt x="1631379" y="106981"/>
                  </a:lnTo>
                  <a:lnTo>
                    <a:pt x="1626360" y="109301"/>
                  </a:lnTo>
                  <a:lnTo>
                    <a:pt x="1621301" y="110957"/>
                  </a:lnTo>
                  <a:lnTo>
                    <a:pt x="1615932" y="111922"/>
                  </a:lnTo>
                  <a:lnTo>
                    <a:pt x="1610562" y="112407"/>
                  </a:lnTo>
                  <a:lnTo>
                    <a:pt x="1604218" y="111948"/>
                  </a:lnTo>
                  <a:lnTo>
                    <a:pt x="1593823" y="106646"/>
                  </a:lnTo>
                  <a:lnTo>
                    <a:pt x="1587027" y="104392"/>
                  </a:lnTo>
                  <a:lnTo>
                    <a:pt x="1581495" y="100903"/>
                  </a:lnTo>
                  <a:lnTo>
                    <a:pt x="1580262" y="97047"/>
                  </a:lnTo>
                  <a:lnTo>
                    <a:pt x="1583777" y="94564"/>
                  </a:lnTo>
                  <a:lnTo>
                    <a:pt x="1588126" y="93630"/>
                  </a:lnTo>
                  <a:close/>
                  <a:moveTo>
                    <a:pt x="692815" y="91354"/>
                  </a:moveTo>
                  <a:lnTo>
                    <a:pt x="699848" y="93659"/>
                  </a:lnTo>
                  <a:lnTo>
                    <a:pt x="699483" y="95592"/>
                  </a:lnTo>
                  <a:lnTo>
                    <a:pt x="699591" y="96555"/>
                  </a:lnTo>
                  <a:lnTo>
                    <a:pt x="701452" y="97510"/>
                  </a:lnTo>
                  <a:lnTo>
                    <a:pt x="703273" y="98925"/>
                  </a:lnTo>
                  <a:lnTo>
                    <a:pt x="703845" y="99544"/>
                  </a:lnTo>
                  <a:lnTo>
                    <a:pt x="703759" y="100119"/>
                  </a:lnTo>
                  <a:lnTo>
                    <a:pt x="695909" y="99542"/>
                  </a:lnTo>
                  <a:lnTo>
                    <a:pt x="682152" y="99923"/>
                  </a:lnTo>
                  <a:lnTo>
                    <a:pt x="674132" y="97094"/>
                  </a:lnTo>
                  <a:lnTo>
                    <a:pt x="682562" y="94325"/>
                  </a:lnTo>
                  <a:lnTo>
                    <a:pt x="687053" y="93664"/>
                  </a:lnTo>
                  <a:close/>
                  <a:moveTo>
                    <a:pt x="883160" y="90109"/>
                  </a:moveTo>
                  <a:lnTo>
                    <a:pt x="888846" y="91939"/>
                  </a:lnTo>
                  <a:lnTo>
                    <a:pt x="891264" y="96402"/>
                  </a:lnTo>
                  <a:lnTo>
                    <a:pt x="886352" y="98342"/>
                  </a:lnTo>
                  <a:lnTo>
                    <a:pt x="878431" y="99991"/>
                  </a:lnTo>
                  <a:lnTo>
                    <a:pt x="875600" y="99492"/>
                  </a:lnTo>
                  <a:lnTo>
                    <a:pt x="874862" y="98721"/>
                  </a:lnTo>
                  <a:lnTo>
                    <a:pt x="873339" y="97921"/>
                  </a:lnTo>
                  <a:lnTo>
                    <a:pt x="869334" y="96890"/>
                  </a:lnTo>
                  <a:lnTo>
                    <a:pt x="869928" y="93977"/>
                  </a:lnTo>
                  <a:lnTo>
                    <a:pt x="871152" y="93393"/>
                  </a:lnTo>
                  <a:close/>
                  <a:moveTo>
                    <a:pt x="1724355" y="87606"/>
                  </a:moveTo>
                  <a:lnTo>
                    <a:pt x="1726295" y="88114"/>
                  </a:lnTo>
                  <a:lnTo>
                    <a:pt x="1731360" y="91315"/>
                  </a:lnTo>
                  <a:lnTo>
                    <a:pt x="1733885" y="94961"/>
                  </a:lnTo>
                  <a:lnTo>
                    <a:pt x="1731430" y="95924"/>
                  </a:lnTo>
                  <a:lnTo>
                    <a:pt x="1729244" y="98317"/>
                  </a:lnTo>
                  <a:lnTo>
                    <a:pt x="1728184" y="101360"/>
                  </a:lnTo>
                  <a:lnTo>
                    <a:pt x="1725243" y="103642"/>
                  </a:lnTo>
                  <a:lnTo>
                    <a:pt x="1724454" y="107430"/>
                  </a:lnTo>
                  <a:lnTo>
                    <a:pt x="1725789" y="108147"/>
                  </a:lnTo>
                  <a:lnTo>
                    <a:pt x="1727400" y="107106"/>
                  </a:lnTo>
                  <a:lnTo>
                    <a:pt x="1730633" y="103532"/>
                  </a:lnTo>
                  <a:lnTo>
                    <a:pt x="1734919" y="101097"/>
                  </a:lnTo>
                  <a:lnTo>
                    <a:pt x="1739533" y="102452"/>
                  </a:lnTo>
                  <a:lnTo>
                    <a:pt x="1741300" y="101939"/>
                  </a:lnTo>
                  <a:lnTo>
                    <a:pt x="1744526" y="98477"/>
                  </a:lnTo>
                  <a:lnTo>
                    <a:pt x="1743926" y="95653"/>
                  </a:lnTo>
                  <a:lnTo>
                    <a:pt x="1745252" y="93913"/>
                  </a:lnTo>
                  <a:lnTo>
                    <a:pt x="1746681" y="93479"/>
                  </a:lnTo>
                  <a:lnTo>
                    <a:pt x="1752640" y="93822"/>
                  </a:lnTo>
                  <a:lnTo>
                    <a:pt x="1762125" y="95289"/>
                  </a:lnTo>
                  <a:lnTo>
                    <a:pt x="1763801" y="96801"/>
                  </a:lnTo>
                  <a:lnTo>
                    <a:pt x="1766064" y="97618"/>
                  </a:lnTo>
                  <a:lnTo>
                    <a:pt x="1767459" y="99072"/>
                  </a:lnTo>
                  <a:lnTo>
                    <a:pt x="1771669" y="100149"/>
                  </a:lnTo>
                  <a:lnTo>
                    <a:pt x="1773700" y="101242"/>
                  </a:lnTo>
                  <a:lnTo>
                    <a:pt x="1776535" y="103716"/>
                  </a:lnTo>
                  <a:lnTo>
                    <a:pt x="1779070" y="107322"/>
                  </a:lnTo>
                  <a:lnTo>
                    <a:pt x="1775854" y="109264"/>
                  </a:lnTo>
                  <a:lnTo>
                    <a:pt x="1774162" y="112734"/>
                  </a:lnTo>
                  <a:lnTo>
                    <a:pt x="1773414" y="113527"/>
                  </a:lnTo>
                  <a:lnTo>
                    <a:pt x="1772888" y="114765"/>
                  </a:lnTo>
                  <a:lnTo>
                    <a:pt x="1772655" y="117785"/>
                  </a:lnTo>
                  <a:lnTo>
                    <a:pt x="1772162" y="120401"/>
                  </a:lnTo>
                  <a:lnTo>
                    <a:pt x="1771551" y="121562"/>
                  </a:lnTo>
                  <a:lnTo>
                    <a:pt x="1771221" y="122972"/>
                  </a:lnTo>
                  <a:lnTo>
                    <a:pt x="1771559" y="126861"/>
                  </a:lnTo>
                  <a:lnTo>
                    <a:pt x="1770655" y="129920"/>
                  </a:lnTo>
                  <a:lnTo>
                    <a:pt x="1767485" y="132233"/>
                  </a:lnTo>
                  <a:lnTo>
                    <a:pt x="1764179" y="132322"/>
                  </a:lnTo>
                  <a:lnTo>
                    <a:pt x="1759299" y="130763"/>
                  </a:lnTo>
                  <a:lnTo>
                    <a:pt x="1757912" y="130809"/>
                  </a:lnTo>
                  <a:lnTo>
                    <a:pt x="1756528" y="131420"/>
                  </a:lnTo>
                  <a:lnTo>
                    <a:pt x="1762622" y="134671"/>
                  </a:lnTo>
                  <a:lnTo>
                    <a:pt x="1767043" y="139453"/>
                  </a:lnTo>
                  <a:lnTo>
                    <a:pt x="1772205" y="140561"/>
                  </a:lnTo>
                  <a:lnTo>
                    <a:pt x="1773617" y="141142"/>
                  </a:lnTo>
                  <a:lnTo>
                    <a:pt x="1775496" y="145535"/>
                  </a:lnTo>
                  <a:lnTo>
                    <a:pt x="1776153" y="147739"/>
                  </a:lnTo>
                  <a:lnTo>
                    <a:pt x="1767563" y="153056"/>
                  </a:lnTo>
                  <a:lnTo>
                    <a:pt x="1765323" y="153960"/>
                  </a:lnTo>
                  <a:lnTo>
                    <a:pt x="1751613" y="154739"/>
                  </a:lnTo>
                  <a:lnTo>
                    <a:pt x="1742583" y="156225"/>
                  </a:lnTo>
                  <a:lnTo>
                    <a:pt x="1739739" y="155873"/>
                  </a:lnTo>
                  <a:lnTo>
                    <a:pt x="1734690" y="154606"/>
                  </a:lnTo>
                  <a:lnTo>
                    <a:pt x="1731395" y="155132"/>
                  </a:lnTo>
                  <a:lnTo>
                    <a:pt x="1726606" y="154296"/>
                  </a:lnTo>
                  <a:lnTo>
                    <a:pt x="1723662" y="154334"/>
                  </a:lnTo>
                  <a:lnTo>
                    <a:pt x="1716867" y="152310"/>
                  </a:lnTo>
                  <a:lnTo>
                    <a:pt x="1709896" y="149085"/>
                  </a:lnTo>
                  <a:lnTo>
                    <a:pt x="1708531" y="147622"/>
                  </a:lnTo>
                  <a:lnTo>
                    <a:pt x="1707130" y="146586"/>
                  </a:lnTo>
                  <a:lnTo>
                    <a:pt x="1698775" y="145700"/>
                  </a:lnTo>
                  <a:lnTo>
                    <a:pt x="1696948" y="145070"/>
                  </a:lnTo>
                  <a:lnTo>
                    <a:pt x="1684768" y="145779"/>
                  </a:lnTo>
                  <a:lnTo>
                    <a:pt x="1682697" y="145260"/>
                  </a:lnTo>
                  <a:lnTo>
                    <a:pt x="1678898" y="141031"/>
                  </a:lnTo>
                  <a:lnTo>
                    <a:pt x="1676816" y="140971"/>
                  </a:lnTo>
                  <a:lnTo>
                    <a:pt x="1670101" y="143414"/>
                  </a:lnTo>
                  <a:lnTo>
                    <a:pt x="1667607" y="143263"/>
                  </a:lnTo>
                  <a:lnTo>
                    <a:pt x="1662534" y="141595"/>
                  </a:lnTo>
                  <a:lnTo>
                    <a:pt x="1659468" y="139585"/>
                  </a:lnTo>
                  <a:lnTo>
                    <a:pt x="1659010" y="138927"/>
                  </a:lnTo>
                  <a:lnTo>
                    <a:pt x="1658747" y="136389"/>
                  </a:lnTo>
                  <a:lnTo>
                    <a:pt x="1655704" y="135095"/>
                  </a:lnTo>
                  <a:lnTo>
                    <a:pt x="1651981" y="130703"/>
                  </a:lnTo>
                  <a:lnTo>
                    <a:pt x="1649881" y="126006"/>
                  </a:lnTo>
                  <a:lnTo>
                    <a:pt x="1639705" y="123571"/>
                  </a:lnTo>
                  <a:lnTo>
                    <a:pt x="1633517" y="123008"/>
                  </a:lnTo>
                  <a:lnTo>
                    <a:pt x="1628952" y="123224"/>
                  </a:lnTo>
                  <a:lnTo>
                    <a:pt x="1624497" y="121389"/>
                  </a:lnTo>
                  <a:lnTo>
                    <a:pt x="1631880" y="114600"/>
                  </a:lnTo>
                  <a:lnTo>
                    <a:pt x="1641667" y="111099"/>
                  </a:lnTo>
                  <a:lnTo>
                    <a:pt x="1645888" y="108379"/>
                  </a:lnTo>
                  <a:lnTo>
                    <a:pt x="1650729" y="104682"/>
                  </a:lnTo>
                  <a:lnTo>
                    <a:pt x="1652722" y="99040"/>
                  </a:lnTo>
                  <a:lnTo>
                    <a:pt x="1660951" y="95547"/>
                  </a:lnTo>
                  <a:lnTo>
                    <a:pt x="1663066" y="94357"/>
                  </a:lnTo>
                  <a:lnTo>
                    <a:pt x="1665979" y="91606"/>
                  </a:lnTo>
                  <a:lnTo>
                    <a:pt x="1666875" y="91223"/>
                  </a:lnTo>
                  <a:lnTo>
                    <a:pt x="1673377" y="94574"/>
                  </a:lnTo>
                  <a:lnTo>
                    <a:pt x="1674629" y="93987"/>
                  </a:lnTo>
                  <a:lnTo>
                    <a:pt x="1675795" y="92438"/>
                  </a:lnTo>
                  <a:lnTo>
                    <a:pt x="1678157" y="90779"/>
                  </a:lnTo>
                  <a:lnTo>
                    <a:pt x="1686123" y="90556"/>
                  </a:lnTo>
                  <a:lnTo>
                    <a:pt x="1692861" y="91223"/>
                  </a:lnTo>
                  <a:lnTo>
                    <a:pt x="1695400" y="90554"/>
                  </a:lnTo>
                  <a:lnTo>
                    <a:pt x="1698479" y="90843"/>
                  </a:lnTo>
                  <a:lnTo>
                    <a:pt x="1714044" y="88378"/>
                  </a:lnTo>
                  <a:close/>
                  <a:moveTo>
                    <a:pt x="669539" y="84463"/>
                  </a:moveTo>
                  <a:lnTo>
                    <a:pt x="677660" y="85008"/>
                  </a:lnTo>
                  <a:lnTo>
                    <a:pt x="678964" y="86725"/>
                  </a:lnTo>
                  <a:lnTo>
                    <a:pt x="679168" y="87398"/>
                  </a:lnTo>
                  <a:lnTo>
                    <a:pt x="673709" y="90583"/>
                  </a:lnTo>
                  <a:lnTo>
                    <a:pt x="673255" y="92361"/>
                  </a:lnTo>
                  <a:lnTo>
                    <a:pt x="671467" y="93047"/>
                  </a:lnTo>
                  <a:lnTo>
                    <a:pt x="663006" y="89234"/>
                  </a:lnTo>
                  <a:lnTo>
                    <a:pt x="662294" y="88079"/>
                  </a:lnTo>
                  <a:close/>
                  <a:moveTo>
                    <a:pt x="787979" y="79624"/>
                  </a:moveTo>
                  <a:lnTo>
                    <a:pt x="790482" y="80017"/>
                  </a:lnTo>
                  <a:lnTo>
                    <a:pt x="792285" y="80802"/>
                  </a:lnTo>
                  <a:lnTo>
                    <a:pt x="793278" y="82247"/>
                  </a:lnTo>
                  <a:lnTo>
                    <a:pt x="786986" y="84636"/>
                  </a:lnTo>
                  <a:lnTo>
                    <a:pt x="783742" y="84557"/>
                  </a:lnTo>
                  <a:lnTo>
                    <a:pt x="782222" y="83131"/>
                  </a:lnTo>
                  <a:lnTo>
                    <a:pt x="784697" y="81142"/>
                  </a:lnTo>
                  <a:close/>
                  <a:moveTo>
                    <a:pt x="825669" y="77547"/>
                  </a:moveTo>
                  <a:lnTo>
                    <a:pt x="828636" y="78323"/>
                  </a:lnTo>
                  <a:lnTo>
                    <a:pt x="829608" y="80052"/>
                  </a:lnTo>
                  <a:lnTo>
                    <a:pt x="829525" y="86304"/>
                  </a:lnTo>
                  <a:lnTo>
                    <a:pt x="828504" y="89068"/>
                  </a:lnTo>
                  <a:lnTo>
                    <a:pt x="828668" y="91332"/>
                  </a:lnTo>
                  <a:lnTo>
                    <a:pt x="826606" y="92504"/>
                  </a:lnTo>
                  <a:lnTo>
                    <a:pt x="809218" y="92253"/>
                  </a:lnTo>
                  <a:lnTo>
                    <a:pt x="800618" y="91712"/>
                  </a:lnTo>
                  <a:lnTo>
                    <a:pt x="798681" y="90823"/>
                  </a:lnTo>
                  <a:lnTo>
                    <a:pt x="803507" y="87858"/>
                  </a:lnTo>
                  <a:lnTo>
                    <a:pt x="805053" y="85799"/>
                  </a:lnTo>
                  <a:lnTo>
                    <a:pt x="804559" y="79895"/>
                  </a:lnTo>
                  <a:lnTo>
                    <a:pt x="805323" y="78813"/>
                  </a:lnTo>
                  <a:lnTo>
                    <a:pt x="819268" y="79373"/>
                  </a:lnTo>
                  <a:lnTo>
                    <a:pt x="820421" y="77694"/>
                  </a:lnTo>
                  <a:close/>
                  <a:moveTo>
                    <a:pt x="742552" y="75176"/>
                  </a:moveTo>
                  <a:lnTo>
                    <a:pt x="745726" y="75699"/>
                  </a:lnTo>
                  <a:lnTo>
                    <a:pt x="746096" y="77539"/>
                  </a:lnTo>
                  <a:lnTo>
                    <a:pt x="749196" y="79726"/>
                  </a:lnTo>
                  <a:lnTo>
                    <a:pt x="757279" y="82525"/>
                  </a:lnTo>
                  <a:lnTo>
                    <a:pt x="755648" y="84560"/>
                  </a:lnTo>
                  <a:lnTo>
                    <a:pt x="752885" y="84852"/>
                  </a:lnTo>
                  <a:lnTo>
                    <a:pt x="749976" y="86747"/>
                  </a:lnTo>
                  <a:lnTo>
                    <a:pt x="735270" y="87354"/>
                  </a:lnTo>
                  <a:lnTo>
                    <a:pt x="730397" y="87069"/>
                  </a:lnTo>
                  <a:lnTo>
                    <a:pt x="729757" y="86445"/>
                  </a:lnTo>
                  <a:lnTo>
                    <a:pt x="728507" y="85903"/>
                  </a:lnTo>
                  <a:lnTo>
                    <a:pt x="723931" y="85325"/>
                  </a:lnTo>
                  <a:lnTo>
                    <a:pt x="721053" y="82761"/>
                  </a:lnTo>
                  <a:lnTo>
                    <a:pt x="722310" y="82121"/>
                  </a:lnTo>
                  <a:lnTo>
                    <a:pt x="729086" y="81073"/>
                  </a:lnTo>
                  <a:lnTo>
                    <a:pt x="731383" y="79974"/>
                  </a:lnTo>
                  <a:lnTo>
                    <a:pt x="732167" y="78495"/>
                  </a:lnTo>
                  <a:lnTo>
                    <a:pt x="735216" y="75699"/>
                  </a:lnTo>
                  <a:close/>
                  <a:moveTo>
                    <a:pt x="828554" y="71021"/>
                  </a:moveTo>
                  <a:lnTo>
                    <a:pt x="838437" y="71970"/>
                  </a:lnTo>
                  <a:lnTo>
                    <a:pt x="859632" y="72514"/>
                  </a:lnTo>
                  <a:lnTo>
                    <a:pt x="870493" y="75011"/>
                  </a:lnTo>
                  <a:lnTo>
                    <a:pt x="873683" y="76411"/>
                  </a:lnTo>
                  <a:lnTo>
                    <a:pt x="876769" y="78716"/>
                  </a:lnTo>
                  <a:lnTo>
                    <a:pt x="857807" y="79962"/>
                  </a:lnTo>
                  <a:lnTo>
                    <a:pt x="855285" y="81028"/>
                  </a:lnTo>
                  <a:lnTo>
                    <a:pt x="855326" y="83552"/>
                  </a:lnTo>
                  <a:lnTo>
                    <a:pt x="854656" y="85905"/>
                  </a:lnTo>
                  <a:lnTo>
                    <a:pt x="852616" y="86173"/>
                  </a:lnTo>
                  <a:lnTo>
                    <a:pt x="848040" y="89886"/>
                  </a:lnTo>
                  <a:lnTo>
                    <a:pt x="844587" y="90858"/>
                  </a:lnTo>
                  <a:lnTo>
                    <a:pt x="835570" y="89081"/>
                  </a:lnTo>
                  <a:lnTo>
                    <a:pt x="834244" y="88121"/>
                  </a:lnTo>
                  <a:lnTo>
                    <a:pt x="833119" y="86307"/>
                  </a:lnTo>
                  <a:lnTo>
                    <a:pt x="831629" y="79477"/>
                  </a:lnTo>
                  <a:lnTo>
                    <a:pt x="831577" y="77430"/>
                  </a:lnTo>
                  <a:lnTo>
                    <a:pt x="831013" y="76013"/>
                  </a:lnTo>
                  <a:lnTo>
                    <a:pt x="828739" y="73512"/>
                  </a:lnTo>
                  <a:lnTo>
                    <a:pt x="827141" y="72332"/>
                  </a:lnTo>
                  <a:close/>
                  <a:moveTo>
                    <a:pt x="757844" y="65315"/>
                  </a:moveTo>
                  <a:lnTo>
                    <a:pt x="764467" y="66901"/>
                  </a:lnTo>
                  <a:lnTo>
                    <a:pt x="765100" y="67547"/>
                  </a:lnTo>
                  <a:lnTo>
                    <a:pt x="769562" y="68656"/>
                  </a:lnTo>
                  <a:lnTo>
                    <a:pt x="770229" y="70778"/>
                  </a:lnTo>
                  <a:lnTo>
                    <a:pt x="769743" y="72102"/>
                  </a:lnTo>
                  <a:lnTo>
                    <a:pt x="766659" y="74732"/>
                  </a:lnTo>
                  <a:lnTo>
                    <a:pt x="756400" y="71927"/>
                  </a:lnTo>
                  <a:lnTo>
                    <a:pt x="757242" y="70513"/>
                  </a:lnTo>
                  <a:lnTo>
                    <a:pt x="758352" y="69921"/>
                  </a:lnTo>
                  <a:lnTo>
                    <a:pt x="758382" y="68536"/>
                  </a:lnTo>
                  <a:lnTo>
                    <a:pt x="757439" y="67482"/>
                  </a:lnTo>
                  <a:close/>
                  <a:moveTo>
                    <a:pt x="615548" y="52518"/>
                  </a:moveTo>
                  <a:lnTo>
                    <a:pt x="625664" y="54635"/>
                  </a:lnTo>
                  <a:lnTo>
                    <a:pt x="633265" y="54078"/>
                  </a:lnTo>
                  <a:lnTo>
                    <a:pt x="635520" y="54310"/>
                  </a:lnTo>
                  <a:lnTo>
                    <a:pt x="637742" y="54981"/>
                  </a:lnTo>
                  <a:lnTo>
                    <a:pt x="639990" y="56372"/>
                  </a:lnTo>
                  <a:lnTo>
                    <a:pt x="643067" y="59531"/>
                  </a:lnTo>
                  <a:lnTo>
                    <a:pt x="643002" y="63878"/>
                  </a:lnTo>
                  <a:lnTo>
                    <a:pt x="641717" y="64082"/>
                  </a:lnTo>
                  <a:lnTo>
                    <a:pt x="628867" y="62084"/>
                  </a:lnTo>
                  <a:lnTo>
                    <a:pt x="622963" y="57548"/>
                  </a:lnTo>
                  <a:lnTo>
                    <a:pt x="621369" y="57087"/>
                  </a:lnTo>
                  <a:lnTo>
                    <a:pt x="619044" y="58285"/>
                  </a:lnTo>
                  <a:lnTo>
                    <a:pt x="617102" y="61066"/>
                  </a:lnTo>
                  <a:lnTo>
                    <a:pt x="614932" y="61757"/>
                  </a:lnTo>
                  <a:lnTo>
                    <a:pt x="612494" y="65268"/>
                  </a:lnTo>
                  <a:lnTo>
                    <a:pt x="610158" y="64819"/>
                  </a:lnTo>
                  <a:lnTo>
                    <a:pt x="608979" y="65122"/>
                  </a:lnTo>
                  <a:lnTo>
                    <a:pt x="606018" y="67529"/>
                  </a:lnTo>
                  <a:lnTo>
                    <a:pt x="598644" y="67570"/>
                  </a:lnTo>
                  <a:lnTo>
                    <a:pt x="597458" y="68628"/>
                  </a:lnTo>
                  <a:lnTo>
                    <a:pt x="595020" y="71962"/>
                  </a:lnTo>
                  <a:lnTo>
                    <a:pt x="592023" y="72921"/>
                  </a:lnTo>
                  <a:lnTo>
                    <a:pt x="586789" y="73435"/>
                  </a:lnTo>
                  <a:lnTo>
                    <a:pt x="584986" y="71540"/>
                  </a:lnTo>
                  <a:lnTo>
                    <a:pt x="584185" y="68618"/>
                  </a:lnTo>
                  <a:lnTo>
                    <a:pt x="582978" y="67152"/>
                  </a:lnTo>
                  <a:lnTo>
                    <a:pt x="575720" y="68818"/>
                  </a:lnTo>
                  <a:lnTo>
                    <a:pt x="570157" y="67622"/>
                  </a:lnTo>
                  <a:lnTo>
                    <a:pt x="564850" y="65651"/>
                  </a:lnTo>
                  <a:lnTo>
                    <a:pt x="559449" y="65007"/>
                  </a:lnTo>
                  <a:lnTo>
                    <a:pt x="564303" y="62902"/>
                  </a:lnTo>
                  <a:lnTo>
                    <a:pt x="590902" y="58635"/>
                  </a:lnTo>
                  <a:lnTo>
                    <a:pt x="601332" y="57601"/>
                  </a:lnTo>
                  <a:lnTo>
                    <a:pt x="606230" y="54547"/>
                  </a:lnTo>
                  <a:lnTo>
                    <a:pt x="613565" y="52556"/>
                  </a:lnTo>
                  <a:close/>
                  <a:moveTo>
                    <a:pt x="928555" y="50487"/>
                  </a:moveTo>
                  <a:lnTo>
                    <a:pt x="934152" y="50848"/>
                  </a:lnTo>
                  <a:lnTo>
                    <a:pt x="939732" y="51849"/>
                  </a:lnTo>
                  <a:lnTo>
                    <a:pt x="941166" y="53495"/>
                  </a:lnTo>
                  <a:lnTo>
                    <a:pt x="942492" y="55581"/>
                  </a:lnTo>
                  <a:lnTo>
                    <a:pt x="941697" y="58889"/>
                  </a:lnTo>
                  <a:lnTo>
                    <a:pt x="939989" y="61285"/>
                  </a:lnTo>
                  <a:lnTo>
                    <a:pt x="939131" y="64716"/>
                  </a:lnTo>
                  <a:lnTo>
                    <a:pt x="932351" y="65533"/>
                  </a:lnTo>
                  <a:lnTo>
                    <a:pt x="930408" y="66287"/>
                  </a:lnTo>
                  <a:lnTo>
                    <a:pt x="928555" y="68921"/>
                  </a:lnTo>
                  <a:lnTo>
                    <a:pt x="921649" y="70468"/>
                  </a:lnTo>
                  <a:lnTo>
                    <a:pt x="916477" y="74872"/>
                  </a:lnTo>
                  <a:lnTo>
                    <a:pt x="909202" y="74051"/>
                  </a:lnTo>
                  <a:lnTo>
                    <a:pt x="899386" y="70996"/>
                  </a:lnTo>
                  <a:lnTo>
                    <a:pt x="891025" y="73468"/>
                  </a:lnTo>
                  <a:lnTo>
                    <a:pt x="885488" y="74226"/>
                  </a:lnTo>
                  <a:lnTo>
                    <a:pt x="878779" y="70453"/>
                  </a:lnTo>
                  <a:lnTo>
                    <a:pt x="877850" y="69609"/>
                  </a:lnTo>
                  <a:lnTo>
                    <a:pt x="877492" y="66989"/>
                  </a:lnTo>
                  <a:lnTo>
                    <a:pt x="877891" y="64673"/>
                  </a:lnTo>
                  <a:lnTo>
                    <a:pt x="879667" y="59800"/>
                  </a:lnTo>
                  <a:lnTo>
                    <a:pt x="882068" y="57019"/>
                  </a:lnTo>
                  <a:lnTo>
                    <a:pt x="883268" y="56138"/>
                  </a:lnTo>
                  <a:lnTo>
                    <a:pt x="884216" y="54438"/>
                  </a:lnTo>
                  <a:lnTo>
                    <a:pt x="886948" y="53411"/>
                  </a:lnTo>
                  <a:lnTo>
                    <a:pt x="895322" y="52781"/>
                  </a:lnTo>
                  <a:lnTo>
                    <a:pt x="898427" y="53341"/>
                  </a:lnTo>
                  <a:lnTo>
                    <a:pt x="899379" y="55215"/>
                  </a:lnTo>
                  <a:lnTo>
                    <a:pt x="903880" y="55071"/>
                  </a:lnTo>
                  <a:lnTo>
                    <a:pt x="911368" y="53919"/>
                  </a:lnTo>
                  <a:lnTo>
                    <a:pt x="922269" y="52053"/>
                  </a:lnTo>
                  <a:close/>
                  <a:moveTo>
                    <a:pt x="678261" y="48709"/>
                  </a:moveTo>
                  <a:lnTo>
                    <a:pt x="681651" y="49556"/>
                  </a:lnTo>
                  <a:lnTo>
                    <a:pt x="689824" y="49387"/>
                  </a:lnTo>
                  <a:lnTo>
                    <a:pt x="692402" y="50616"/>
                  </a:lnTo>
                  <a:lnTo>
                    <a:pt x="704279" y="58145"/>
                  </a:lnTo>
                  <a:lnTo>
                    <a:pt x="707291" y="58346"/>
                  </a:lnTo>
                  <a:lnTo>
                    <a:pt x="709781" y="61082"/>
                  </a:lnTo>
                  <a:lnTo>
                    <a:pt x="697455" y="65383"/>
                  </a:lnTo>
                  <a:lnTo>
                    <a:pt x="693357" y="68638"/>
                  </a:lnTo>
                  <a:lnTo>
                    <a:pt x="678295" y="69311"/>
                  </a:lnTo>
                  <a:lnTo>
                    <a:pt x="668705" y="70831"/>
                  </a:lnTo>
                  <a:lnTo>
                    <a:pt x="666578" y="72140"/>
                  </a:lnTo>
                  <a:lnTo>
                    <a:pt x="667559" y="74527"/>
                  </a:lnTo>
                  <a:lnTo>
                    <a:pt x="662955" y="77016"/>
                  </a:lnTo>
                  <a:lnTo>
                    <a:pt x="647701" y="77393"/>
                  </a:lnTo>
                  <a:lnTo>
                    <a:pt x="645820" y="78181"/>
                  </a:lnTo>
                  <a:lnTo>
                    <a:pt x="642857" y="80914"/>
                  </a:lnTo>
                  <a:lnTo>
                    <a:pt x="643121" y="81411"/>
                  </a:lnTo>
                  <a:lnTo>
                    <a:pt x="648273" y="82096"/>
                  </a:lnTo>
                  <a:lnTo>
                    <a:pt x="649105" y="82662"/>
                  </a:lnTo>
                  <a:lnTo>
                    <a:pt x="649796" y="83845"/>
                  </a:lnTo>
                  <a:lnTo>
                    <a:pt x="650236" y="85620"/>
                  </a:lnTo>
                  <a:lnTo>
                    <a:pt x="649502" y="87893"/>
                  </a:lnTo>
                  <a:lnTo>
                    <a:pt x="647608" y="88262"/>
                  </a:lnTo>
                  <a:lnTo>
                    <a:pt x="645518" y="87968"/>
                  </a:lnTo>
                  <a:lnTo>
                    <a:pt x="640750" y="86232"/>
                  </a:lnTo>
                  <a:lnTo>
                    <a:pt x="640149" y="86844"/>
                  </a:lnTo>
                  <a:lnTo>
                    <a:pt x="639664" y="88114"/>
                  </a:lnTo>
                  <a:lnTo>
                    <a:pt x="638208" y="90551"/>
                  </a:lnTo>
                  <a:lnTo>
                    <a:pt x="636427" y="91275"/>
                  </a:lnTo>
                  <a:lnTo>
                    <a:pt x="631583" y="89404"/>
                  </a:lnTo>
                  <a:lnTo>
                    <a:pt x="630007" y="89933"/>
                  </a:lnTo>
                  <a:lnTo>
                    <a:pt x="628456" y="91090"/>
                  </a:lnTo>
                  <a:lnTo>
                    <a:pt x="626558" y="91638"/>
                  </a:lnTo>
                  <a:lnTo>
                    <a:pt x="622078" y="91989"/>
                  </a:lnTo>
                  <a:lnTo>
                    <a:pt x="619758" y="90457"/>
                  </a:lnTo>
                  <a:lnTo>
                    <a:pt x="621764" y="88462"/>
                  </a:lnTo>
                  <a:lnTo>
                    <a:pt x="627390" y="85360"/>
                  </a:lnTo>
                  <a:lnTo>
                    <a:pt x="625520" y="84004"/>
                  </a:lnTo>
                  <a:lnTo>
                    <a:pt x="619978" y="83696"/>
                  </a:lnTo>
                  <a:lnTo>
                    <a:pt x="615599" y="84468"/>
                  </a:lnTo>
                  <a:lnTo>
                    <a:pt x="613360" y="86579"/>
                  </a:lnTo>
                  <a:lnTo>
                    <a:pt x="611272" y="87000"/>
                  </a:lnTo>
                  <a:lnTo>
                    <a:pt x="605575" y="86871"/>
                  </a:lnTo>
                  <a:lnTo>
                    <a:pt x="602367" y="84108"/>
                  </a:lnTo>
                  <a:lnTo>
                    <a:pt x="599985" y="83069"/>
                  </a:lnTo>
                  <a:lnTo>
                    <a:pt x="597912" y="80899"/>
                  </a:lnTo>
                  <a:lnTo>
                    <a:pt x="614684" y="73534"/>
                  </a:lnTo>
                  <a:lnTo>
                    <a:pt x="620281" y="70683"/>
                  </a:lnTo>
                  <a:lnTo>
                    <a:pt x="625582" y="69224"/>
                  </a:lnTo>
                  <a:lnTo>
                    <a:pt x="632490" y="68463"/>
                  </a:lnTo>
                  <a:lnTo>
                    <a:pt x="634656" y="67557"/>
                  </a:lnTo>
                  <a:lnTo>
                    <a:pt x="636789" y="67186"/>
                  </a:lnTo>
                  <a:lnTo>
                    <a:pt x="638163" y="67737"/>
                  </a:lnTo>
                  <a:lnTo>
                    <a:pt x="641709" y="70286"/>
                  </a:lnTo>
                  <a:lnTo>
                    <a:pt x="651940" y="69903"/>
                  </a:lnTo>
                  <a:lnTo>
                    <a:pt x="654095" y="67708"/>
                  </a:lnTo>
                  <a:lnTo>
                    <a:pt x="654259" y="62709"/>
                  </a:lnTo>
                  <a:lnTo>
                    <a:pt x="653259" y="59822"/>
                  </a:lnTo>
                  <a:lnTo>
                    <a:pt x="655401" y="54186"/>
                  </a:lnTo>
                  <a:lnTo>
                    <a:pt x="661227" y="51914"/>
                  </a:lnTo>
                  <a:lnTo>
                    <a:pt x="674859" y="48884"/>
                  </a:lnTo>
                  <a:close/>
                  <a:moveTo>
                    <a:pt x="1331198" y="46213"/>
                  </a:moveTo>
                  <a:lnTo>
                    <a:pt x="1341656" y="47540"/>
                  </a:lnTo>
                  <a:lnTo>
                    <a:pt x="1344936" y="48686"/>
                  </a:lnTo>
                  <a:lnTo>
                    <a:pt x="1343729" y="51021"/>
                  </a:lnTo>
                  <a:lnTo>
                    <a:pt x="1343099" y="51781"/>
                  </a:lnTo>
                  <a:lnTo>
                    <a:pt x="1336063" y="52803"/>
                  </a:lnTo>
                  <a:lnTo>
                    <a:pt x="1315541" y="54668"/>
                  </a:lnTo>
                  <a:lnTo>
                    <a:pt x="1313513" y="53492"/>
                  </a:lnTo>
                  <a:lnTo>
                    <a:pt x="1312867" y="52798"/>
                  </a:lnTo>
                  <a:lnTo>
                    <a:pt x="1315791" y="48899"/>
                  </a:lnTo>
                  <a:lnTo>
                    <a:pt x="1318168" y="46993"/>
                  </a:lnTo>
                  <a:close/>
                  <a:moveTo>
                    <a:pt x="925458" y="39528"/>
                  </a:moveTo>
                  <a:lnTo>
                    <a:pt x="927890" y="42321"/>
                  </a:lnTo>
                  <a:lnTo>
                    <a:pt x="925780" y="44362"/>
                  </a:lnTo>
                  <a:lnTo>
                    <a:pt x="918458" y="47512"/>
                  </a:lnTo>
                  <a:lnTo>
                    <a:pt x="911513" y="48583"/>
                  </a:lnTo>
                  <a:lnTo>
                    <a:pt x="900332" y="47243"/>
                  </a:lnTo>
                  <a:lnTo>
                    <a:pt x="894519" y="45733"/>
                  </a:lnTo>
                  <a:lnTo>
                    <a:pt x="894963" y="44978"/>
                  </a:lnTo>
                  <a:lnTo>
                    <a:pt x="896495" y="44070"/>
                  </a:lnTo>
                  <a:lnTo>
                    <a:pt x="906203" y="40375"/>
                  </a:lnTo>
                  <a:close/>
                  <a:moveTo>
                    <a:pt x="776457" y="38902"/>
                  </a:moveTo>
                  <a:lnTo>
                    <a:pt x="793079" y="43902"/>
                  </a:lnTo>
                  <a:lnTo>
                    <a:pt x="808545" y="43420"/>
                  </a:lnTo>
                  <a:lnTo>
                    <a:pt x="815226" y="45026"/>
                  </a:lnTo>
                  <a:lnTo>
                    <a:pt x="824898" y="49453"/>
                  </a:lnTo>
                  <a:lnTo>
                    <a:pt x="839450" y="54272"/>
                  </a:lnTo>
                  <a:lnTo>
                    <a:pt x="842244" y="55689"/>
                  </a:lnTo>
                  <a:lnTo>
                    <a:pt x="839729" y="57588"/>
                  </a:lnTo>
                  <a:lnTo>
                    <a:pt x="822799" y="62318"/>
                  </a:lnTo>
                  <a:lnTo>
                    <a:pt x="811760" y="63899"/>
                  </a:lnTo>
                  <a:lnTo>
                    <a:pt x="802205" y="64127"/>
                  </a:lnTo>
                  <a:lnTo>
                    <a:pt x="798426" y="63670"/>
                  </a:lnTo>
                  <a:lnTo>
                    <a:pt x="794626" y="60275"/>
                  </a:lnTo>
                  <a:lnTo>
                    <a:pt x="785262" y="57772"/>
                  </a:lnTo>
                  <a:lnTo>
                    <a:pt x="775333" y="58454"/>
                  </a:lnTo>
                  <a:lnTo>
                    <a:pt x="774342" y="57085"/>
                  </a:lnTo>
                  <a:lnTo>
                    <a:pt x="772340" y="56168"/>
                  </a:lnTo>
                  <a:lnTo>
                    <a:pt x="768875" y="55963"/>
                  </a:lnTo>
                  <a:lnTo>
                    <a:pt x="762031" y="54587"/>
                  </a:lnTo>
                  <a:lnTo>
                    <a:pt x="761563" y="51571"/>
                  </a:lnTo>
                  <a:lnTo>
                    <a:pt x="765878" y="50024"/>
                  </a:lnTo>
                  <a:lnTo>
                    <a:pt x="768681" y="49923"/>
                  </a:lnTo>
                  <a:lnTo>
                    <a:pt x="769775" y="45634"/>
                  </a:lnTo>
                  <a:lnTo>
                    <a:pt x="774578" y="39047"/>
                  </a:lnTo>
                  <a:close/>
                  <a:moveTo>
                    <a:pt x="850102" y="38772"/>
                  </a:moveTo>
                  <a:lnTo>
                    <a:pt x="851271" y="38991"/>
                  </a:lnTo>
                  <a:lnTo>
                    <a:pt x="853207" y="40016"/>
                  </a:lnTo>
                  <a:lnTo>
                    <a:pt x="860232" y="41724"/>
                  </a:lnTo>
                  <a:lnTo>
                    <a:pt x="862769" y="42770"/>
                  </a:lnTo>
                  <a:lnTo>
                    <a:pt x="865846" y="45404"/>
                  </a:lnTo>
                  <a:lnTo>
                    <a:pt x="867036" y="48380"/>
                  </a:lnTo>
                  <a:lnTo>
                    <a:pt x="868964" y="50242"/>
                  </a:lnTo>
                  <a:lnTo>
                    <a:pt x="869584" y="53654"/>
                  </a:lnTo>
                  <a:lnTo>
                    <a:pt x="868023" y="56354"/>
                  </a:lnTo>
                  <a:lnTo>
                    <a:pt x="863201" y="56944"/>
                  </a:lnTo>
                  <a:lnTo>
                    <a:pt x="855324" y="57102"/>
                  </a:lnTo>
                  <a:lnTo>
                    <a:pt x="847634" y="55634"/>
                  </a:lnTo>
                  <a:lnTo>
                    <a:pt x="843475" y="50687"/>
                  </a:lnTo>
                  <a:lnTo>
                    <a:pt x="835854" y="49336"/>
                  </a:lnTo>
                  <a:lnTo>
                    <a:pt x="831560" y="44047"/>
                  </a:lnTo>
                  <a:lnTo>
                    <a:pt x="835967" y="42504"/>
                  </a:lnTo>
                  <a:lnTo>
                    <a:pt x="841406" y="43296"/>
                  </a:lnTo>
                  <a:close/>
                  <a:moveTo>
                    <a:pt x="687941" y="36050"/>
                  </a:moveTo>
                  <a:lnTo>
                    <a:pt x="691538" y="37081"/>
                  </a:lnTo>
                  <a:lnTo>
                    <a:pt x="693033" y="39309"/>
                  </a:lnTo>
                  <a:lnTo>
                    <a:pt x="689552" y="41201"/>
                  </a:lnTo>
                  <a:lnTo>
                    <a:pt x="688777" y="42471"/>
                  </a:lnTo>
                  <a:lnTo>
                    <a:pt x="685732" y="42791"/>
                  </a:lnTo>
                  <a:lnTo>
                    <a:pt x="683568" y="42567"/>
                  </a:lnTo>
                  <a:lnTo>
                    <a:pt x="681219" y="40548"/>
                  </a:lnTo>
                  <a:lnTo>
                    <a:pt x="680457" y="39591"/>
                  </a:lnTo>
                  <a:lnTo>
                    <a:pt x="680258" y="38561"/>
                  </a:lnTo>
                  <a:lnTo>
                    <a:pt x="682391" y="38367"/>
                  </a:lnTo>
                  <a:lnTo>
                    <a:pt x="683298" y="37428"/>
                  </a:lnTo>
                  <a:lnTo>
                    <a:pt x="683644" y="36699"/>
                  </a:lnTo>
                  <a:lnTo>
                    <a:pt x="685197" y="36113"/>
                  </a:lnTo>
                  <a:close/>
                  <a:moveTo>
                    <a:pt x="994403" y="34596"/>
                  </a:moveTo>
                  <a:lnTo>
                    <a:pt x="999415" y="34660"/>
                  </a:lnTo>
                  <a:lnTo>
                    <a:pt x="1004405" y="36111"/>
                  </a:lnTo>
                  <a:lnTo>
                    <a:pt x="1007595" y="37438"/>
                  </a:lnTo>
                  <a:lnTo>
                    <a:pt x="1010642" y="39919"/>
                  </a:lnTo>
                  <a:lnTo>
                    <a:pt x="1012240" y="41986"/>
                  </a:lnTo>
                  <a:lnTo>
                    <a:pt x="1011754" y="44509"/>
                  </a:lnTo>
                  <a:lnTo>
                    <a:pt x="1012019" y="46595"/>
                  </a:lnTo>
                  <a:lnTo>
                    <a:pt x="1013464" y="48530"/>
                  </a:lnTo>
                  <a:lnTo>
                    <a:pt x="1003736" y="54315"/>
                  </a:lnTo>
                  <a:lnTo>
                    <a:pt x="993805" y="57591"/>
                  </a:lnTo>
                  <a:lnTo>
                    <a:pt x="967834" y="60441"/>
                  </a:lnTo>
                  <a:lnTo>
                    <a:pt x="963716" y="60569"/>
                  </a:lnTo>
                  <a:lnTo>
                    <a:pt x="959615" y="59785"/>
                  </a:lnTo>
                  <a:lnTo>
                    <a:pt x="954271" y="57216"/>
                  </a:lnTo>
                  <a:lnTo>
                    <a:pt x="948961" y="54161"/>
                  </a:lnTo>
                  <a:lnTo>
                    <a:pt x="950559" y="52551"/>
                  </a:lnTo>
                  <a:lnTo>
                    <a:pt x="955573" y="50442"/>
                  </a:lnTo>
                  <a:lnTo>
                    <a:pt x="962129" y="46658"/>
                  </a:lnTo>
                  <a:lnTo>
                    <a:pt x="973161" y="45926"/>
                  </a:lnTo>
                  <a:lnTo>
                    <a:pt x="978495" y="45913"/>
                  </a:lnTo>
                  <a:lnTo>
                    <a:pt x="983796" y="45021"/>
                  </a:lnTo>
                  <a:lnTo>
                    <a:pt x="985349" y="43077"/>
                  </a:lnTo>
                  <a:lnTo>
                    <a:pt x="986334" y="39403"/>
                  </a:lnTo>
                  <a:lnTo>
                    <a:pt x="987337" y="37418"/>
                  </a:lnTo>
                  <a:lnTo>
                    <a:pt x="988538" y="35813"/>
                  </a:lnTo>
                  <a:close/>
                  <a:moveTo>
                    <a:pt x="1558141" y="33800"/>
                  </a:moveTo>
                  <a:lnTo>
                    <a:pt x="1581117" y="34563"/>
                  </a:lnTo>
                  <a:lnTo>
                    <a:pt x="1589273" y="35356"/>
                  </a:lnTo>
                  <a:lnTo>
                    <a:pt x="1591249" y="37586"/>
                  </a:lnTo>
                  <a:lnTo>
                    <a:pt x="1583635" y="41617"/>
                  </a:lnTo>
                  <a:lnTo>
                    <a:pt x="1556059" y="39049"/>
                  </a:lnTo>
                  <a:lnTo>
                    <a:pt x="1554814" y="37194"/>
                  </a:lnTo>
                  <a:lnTo>
                    <a:pt x="1554410" y="36047"/>
                  </a:lnTo>
                  <a:close/>
                  <a:moveTo>
                    <a:pt x="1684860" y="30308"/>
                  </a:moveTo>
                  <a:lnTo>
                    <a:pt x="1687099" y="31348"/>
                  </a:lnTo>
                  <a:lnTo>
                    <a:pt x="1688913" y="33920"/>
                  </a:lnTo>
                  <a:lnTo>
                    <a:pt x="1690930" y="34895"/>
                  </a:lnTo>
                  <a:lnTo>
                    <a:pt x="1693401" y="35356"/>
                  </a:lnTo>
                  <a:lnTo>
                    <a:pt x="1699685" y="39772"/>
                  </a:lnTo>
                  <a:lnTo>
                    <a:pt x="1700911" y="41005"/>
                  </a:lnTo>
                  <a:lnTo>
                    <a:pt x="1701719" y="43372"/>
                  </a:lnTo>
                  <a:lnTo>
                    <a:pt x="1704597" y="45237"/>
                  </a:lnTo>
                  <a:lnTo>
                    <a:pt x="1705962" y="47122"/>
                  </a:lnTo>
                  <a:lnTo>
                    <a:pt x="1720527" y="53129"/>
                  </a:lnTo>
                  <a:lnTo>
                    <a:pt x="1726925" y="53911"/>
                  </a:lnTo>
                  <a:lnTo>
                    <a:pt x="1729774" y="55379"/>
                  </a:lnTo>
                  <a:lnTo>
                    <a:pt x="1730615" y="57185"/>
                  </a:lnTo>
                  <a:lnTo>
                    <a:pt x="1730318" y="60544"/>
                  </a:lnTo>
                  <a:lnTo>
                    <a:pt x="1727902" y="60514"/>
                  </a:lnTo>
                  <a:lnTo>
                    <a:pt x="1726094" y="61574"/>
                  </a:lnTo>
                  <a:lnTo>
                    <a:pt x="1716275" y="62892"/>
                  </a:lnTo>
                  <a:lnTo>
                    <a:pt x="1713880" y="64864"/>
                  </a:lnTo>
                  <a:lnTo>
                    <a:pt x="1711941" y="68891"/>
                  </a:lnTo>
                  <a:lnTo>
                    <a:pt x="1712984" y="69693"/>
                  </a:lnTo>
                  <a:lnTo>
                    <a:pt x="1713923" y="70886"/>
                  </a:lnTo>
                  <a:lnTo>
                    <a:pt x="1716912" y="77708"/>
                  </a:lnTo>
                  <a:lnTo>
                    <a:pt x="1717722" y="78751"/>
                  </a:lnTo>
                  <a:lnTo>
                    <a:pt x="1720600" y="79738"/>
                  </a:lnTo>
                  <a:lnTo>
                    <a:pt x="1717979" y="82302"/>
                  </a:lnTo>
                  <a:lnTo>
                    <a:pt x="1715253" y="83915"/>
                  </a:lnTo>
                  <a:lnTo>
                    <a:pt x="1686078" y="87165"/>
                  </a:lnTo>
                  <a:lnTo>
                    <a:pt x="1666301" y="88512"/>
                  </a:lnTo>
                  <a:lnTo>
                    <a:pt x="1659665" y="89909"/>
                  </a:lnTo>
                  <a:lnTo>
                    <a:pt x="1657538" y="89743"/>
                  </a:lnTo>
                  <a:lnTo>
                    <a:pt x="1652305" y="92275"/>
                  </a:lnTo>
                  <a:lnTo>
                    <a:pt x="1642221" y="95604"/>
                  </a:lnTo>
                  <a:lnTo>
                    <a:pt x="1637408" y="95629"/>
                  </a:lnTo>
                  <a:lnTo>
                    <a:pt x="1622983" y="90957"/>
                  </a:lnTo>
                  <a:lnTo>
                    <a:pt x="1605276" y="87047"/>
                  </a:lnTo>
                  <a:lnTo>
                    <a:pt x="1602857" y="84812"/>
                  </a:lnTo>
                  <a:lnTo>
                    <a:pt x="1598423" y="83495"/>
                  </a:lnTo>
                  <a:lnTo>
                    <a:pt x="1592801" y="82446"/>
                  </a:lnTo>
                  <a:lnTo>
                    <a:pt x="1590290" y="77935"/>
                  </a:lnTo>
                  <a:lnTo>
                    <a:pt x="1593916" y="74877"/>
                  </a:lnTo>
                  <a:lnTo>
                    <a:pt x="1598535" y="71860"/>
                  </a:lnTo>
                  <a:lnTo>
                    <a:pt x="1606274" y="70756"/>
                  </a:lnTo>
                  <a:lnTo>
                    <a:pt x="1613598" y="69009"/>
                  </a:lnTo>
                  <a:lnTo>
                    <a:pt x="1619100" y="64633"/>
                  </a:lnTo>
                  <a:lnTo>
                    <a:pt x="1622513" y="60292"/>
                  </a:lnTo>
                  <a:lnTo>
                    <a:pt x="1628736" y="55742"/>
                  </a:lnTo>
                  <a:lnTo>
                    <a:pt x="1617911" y="56908"/>
                  </a:lnTo>
                  <a:lnTo>
                    <a:pt x="1613922" y="56279"/>
                  </a:lnTo>
                  <a:lnTo>
                    <a:pt x="1614311" y="54774"/>
                  </a:lnTo>
                  <a:lnTo>
                    <a:pt x="1616526" y="51561"/>
                  </a:lnTo>
                  <a:lnTo>
                    <a:pt x="1617727" y="50479"/>
                  </a:lnTo>
                  <a:lnTo>
                    <a:pt x="1621575" y="48783"/>
                  </a:lnTo>
                  <a:lnTo>
                    <a:pt x="1624371" y="45533"/>
                  </a:lnTo>
                  <a:lnTo>
                    <a:pt x="1630863" y="43288"/>
                  </a:lnTo>
                  <a:lnTo>
                    <a:pt x="1633929" y="42897"/>
                  </a:lnTo>
                  <a:lnTo>
                    <a:pt x="1637010" y="42953"/>
                  </a:lnTo>
                  <a:lnTo>
                    <a:pt x="1642586" y="41899"/>
                  </a:lnTo>
                  <a:lnTo>
                    <a:pt x="1648142" y="40283"/>
                  </a:lnTo>
                  <a:lnTo>
                    <a:pt x="1653346" y="39350"/>
                  </a:lnTo>
                  <a:lnTo>
                    <a:pt x="1658568" y="38971"/>
                  </a:lnTo>
                  <a:lnTo>
                    <a:pt x="1663571" y="37680"/>
                  </a:lnTo>
                  <a:lnTo>
                    <a:pt x="1668503" y="35139"/>
                  </a:lnTo>
                  <a:lnTo>
                    <a:pt x="1670684" y="30804"/>
                  </a:lnTo>
                  <a:close/>
                  <a:moveTo>
                    <a:pt x="872778" y="24158"/>
                  </a:moveTo>
                  <a:lnTo>
                    <a:pt x="877330" y="25817"/>
                  </a:lnTo>
                  <a:lnTo>
                    <a:pt x="879403" y="27972"/>
                  </a:lnTo>
                  <a:lnTo>
                    <a:pt x="878043" y="29011"/>
                  </a:lnTo>
                  <a:lnTo>
                    <a:pt x="873264" y="29689"/>
                  </a:lnTo>
                  <a:lnTo>
                    <a:pt x="864907" y="28576"/>
                  </a:lnTo>
                  <a:lnTo>
                    <a:pt x="862499" y="27332"/>
                  </a:lnTo>
                  <a:lnTo>
                    <a:pt x="863037" y="26120"/>
                  </a:lnTo>
                  <a:lnTo>
                    <a:pt x="868479" y="24466"/>
                  </a:lnTo>
                  <a:close/>
                  <a:moveTo>
                    <a:pt x="842741" y="15362"/>
                  </a:moveTo>
                  <a:lnTo>
                    <a:pt x="844812" y="16344"/>
                  </a:lnTo>
                  <a:lnTo>
                    <a:pt x="845971" y="18434"/>
                  </a:lnTo>
                  <a:lnTo>
                    <a:pt x="849375" y="19628"/>
                  </a:lnTo>
                  <a:lnTo>
                    <a:pt x="858649" y="20662"/>
                  </a:lnTo>
                  <a:lnTo>
                    <a:pt x="861476" y="23069"/>
                  </a:lnTo>
                  <a:lnTo>
                    <a:pt x="857230" y="24722"/>
                  </a:lnTo>
                  <a:lnTo>
                    <a:pt x="845883" y="25715"/>
                  </a:lnTo>
                  <a:lnTo>
                    <a:pt x="847060" y="29114"/>
                  </a:lnTo>
                  <a:lnTo>
                    <a:pt x="849347" y="31650"/>
                  </a:lnTo>
                  <a:lnTo>
                    <a:pt x="847081" y="34647"/>
                  </a:lnTo>
                  <a:lnTo>
                    <a:pt x="843916" y="36098"/>
                  </a:lnTo>
                  <a:lnTo>
                    <a:pt x="836867" y="37881"/>
                  </a:lnTo>
                  <a:lnTo>
                    <a:pt x="830421" y="35642"/>
                  </a:lnTo>
                  <a:lnTo>
                    <a:pt x="822957" y="32534"/>
                  </a:lnTo>
                  <a:lnTo>
                    <a:pt x="819581" y="34607"/>
                  </a:lnTo>
                  <a:lnTo>
                    <a:pt x="816116" y="35810"/>
                  </a:lnTo>
                  <a:lnTo>
                    <a:pt x="812831" y="35634"/>
                  </a:lnTo>
                  <a:lnTo>
                    <a:pt x="809029" y="33264"/>
                  </a:lnTo>
                  <a:lnTo>
                    <a:pt x="798519" y="35119"/>
                  </a:lnTo>
                  <a:lnTo>
                    <a:pt x="795334" y="33050"/>
                  </a:lnTo>
                  <a:lnTo>
                    <a:pt x="792976" y="28699"/>
                  </a:lnTo>
                  <a:lnTo>
                    <a:pt x="799961" y="27741"/>
                  </a:lnTo>
                  <a:lnTo>
                    <a:pt x="808251" y="29124"/>
                  </a:lnTo>
                  <a:lnTo>
                    <a:pt x="813732" y="24720"/>
                  </a:lnTo>
                  <a:lnTo>
                    <a:pt x="820676" y="22808"/>
                  </a:lnTo>
                  <a:lnTo>
                    <a:pt x="826299" y="18217"/>
                  </a:lnTo>
                  <a:lnTo>
                    <a:pt x="828918" y="16599"/>
                  </a:lnTo>
                  <a:lnTo>
                    <a:pt x="834967" y="16914"/>
                  </a:lnTo>
                  <a:lnTo>
                    <a:pt x="836988" y="16512"/>
                  </a:lnTo>
                  <a:close/>
                  <a:moveTo>
                    <a:pt x="955033" y="7193"/>
                  </a:moveTo>
                  <a:lnTo>
                    <a:pt x="975258" y="8871"/>
                  </a:lnTo>
                  <a:lnTo>
                    <a:pt x="976537" y="10098"/>
                  </a:lnTo>
                  <a:lnTo>
                    <a:pt x="976869" y="10858"/>
                  </a:lnTo>
                  <a:lnTo>
                    <a:pt x="973962" y="13000"/>
                  </a:lnTo>
                  <a:lnTo>
                    <a:pt x="971254" y="13675"/>
                  </a:lnTo>
                  <a:lnTo>
                    <a:pt x="957024" y="13024"/>
                  </a:lnTo>
                  <a:lnTo>
                    <a:pt x="950127" y="11745"/>
                  </a:lnTo>
                  <a:lnTo>
                    <a:pt x="949203" y="11006"/>
                  </a:lnTo>
                  <a:lnTo>
                    <a:pt x="948849" y="10364"/>
                  </a:lnTo>
                  <a:lnTo>
                    <a:pt x="939810" y="9293"/>
                  </a:lnTo>
                  <a:lnTo>
                    <a:pt x="943735" y="7851"/>
                  </a:lnTo>
                  <a:close/>
                  <a:moveTo>
                    <a:pt x="876909" y="0"/>
                  </a:moveTo>
                  <a:lnTo>
                    <a:pt x="880152" y="1532"/>
                  </a:lnTo>
                  <a:lnTo>
                    <a:pt x="879010" y="3899"/>
                  </a:lnTo>
                  <a:lnTo>
                    <a:pt x="879001" y="5067"/>
                  </a:lnTo>
                  <a:lnTo>
                    <a:pt x="855540" y="7392"/>
                  </a:lnTo>
                  <a:lnTo>
                    <a:pt x="848230" y="8428"/>
                  </a:lnTo>
                  <a:lnTo>
                    <a:pt x="847252" y="7641"/>
                  </a:lnTo>
                  <a:lnTo>
                    <a:pt x="847001" y="7035"/>
                  </a:lnTo>
                  <a:lnTo>
                    <a:pt x="847794" y="5659"/>
                  </a:lnTo>
                  <a:lnTo>
                    <a:pt x="848675" y="3045"/>
                  </a:lnTo>
                  <a:lnTo>
                    <a:pt x="851983" y="1397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11" name="ee4p_AL_1_37365">
              <a:extLst>
                <a:ext uri="{FF2B5EF4-FFF2-40B4-BE49-F238E27FC236}">
                  <a16:creationId xmlns:a16="http://schemas.microsoft.com/office/drawing/2014/main" id="{A61FA6BF-0DF7-6C40-1CB8-DBDD734841EC}"/>
                </a:ext>
              </a:extLst>
            </p:cNvPr>
            <p:cNvSpPr>
              <a:spLocks noChangeAspect="1"/>
            </p:cNvSpPr>
            <p:nvPr>
              <p:custDataLst>
                <p:tags r:id="rId265"/>
              </p:custDataLst>
            </p:nvPr>
          </p:nvSpPr>
          <p:spPr>
            <a:xfrm>
              <a:off x="7050112" y="3380220"/>
              <a:ext cx="48609" cy="101771"/>
            </a:xfrm>
            <a:custGeom>
              <a:avLst/>
              <a:gdLst/>
              <a:ahLst/>
              <a:cxnLst/>
              <a:rect l="0" t="0" r="0" b="0"/>
              <a:pathLst>
                <a:path w="38706" h="78890">
                  <a:moveTo>
                    <a:pt x="17320" y="2687"/>
                  </a:moveTo>
                  <a:lnTo>
                    <a:pt x="18195" y="3291"/>
                  </a:lnTo>
                  <a:lnTo>
                    <a:pt x="20013" y="5925"/>
                  </a:lnTo>
                  <a:lnTo>
                    <a:pt x="21225" y="8240"/>
                  </a:lnTo>
                  <a:lnTo>
                    <a:pt x="23606" y="9044"/>
                  </a:lnTo>
                  <a:lnTo>
                    <a:pt x="24935" y="9945"/>
                  </a:lnTo>
                  <a:lnTo>
                    <a:pt x="26640" y="11317"/>
                  </a:lnTo>
                  <a:lnTo>
                    <a:pt x="27467" y="12697"/>
                  </a:lnTo>
                  <a:lnTo>
                    <a:pt x="28629" y="16906"/>
                  </a:lnTo>
                  <a:lnTo>
                    <a:pt x="28763" y="19445"/>
                  </a:lnTo>
                  <a:lnTo>
                    <a:pt x="28426" y="20605"/>
                  </a:lnTo>
                  <a:lnTo>
                    <a:pt x="28137" y="20905"/>
                  </a:lnTo>
                  <a:lnTo>
                    <a:pt x="27077" y="25035"/>
                  </a:lnTo>
                  <a:lnTo>
                    <a:pt x="27330" y="27137"/>
                  </a:lnTo>
                  <a:lnTo>
                    <a:pt x="27321" y="28520"/>
                  </a:lnTo>
                  <a:lnTo>
                    <a:pt x="26423" y="29066"/>
                  </a:lnTo>
                  <a:lnTo>
                    <a:pt x="25827" y="29934"/>
                  </a:lnTo>
                  <a:lnTo>
                    <a:pt x="26794" y="33365"/>
                  </a:lnTo>
                  <a:lnTo>
                    <a:pt x="26675" y="34825"/>
                  </a:lnTo>
                  <a:lnTo>
                    <a:pt x="26718" y="36499"/>
                  </a:lnTo>
                  <a:lnTo>
                    <a:pt x="28463" y="40315"/>
                  </a:lnTo>
                  <a:lnTo>
                    <a:pt x="29493" y="41494"/>
                  </a:lnTo>
                  <a:lnTo>
                    <a:pt x="30413" y="42057"/>
                  </a:lnTo>
                  <a:lnTo>
                    <a:pt x="31590" y="45563"/>
                  </a:lnTo>
                  <a:lnTo>
                    <a:pt x="32287" y="46170"/>
                  </a:lnTo>
                  <a:lnTo>
                    <a:pt x="35148" y="45838"/>
                  </a:lnTo>
                  <a:lnTo>
                    <a:pt x="36548" y="46227"/>
                  </a:lnTo>
                  <a:lnTo>
                    <a:pt x="37103" y="47057"/>
                  </a:lnTo>
                  <a:lnTo>
                    <a:pt x="37228" y="47625"/>
                  </a:lnTo>
                  <a:lnTo>
                    <a:pt x="37040" y="49585"/>
                  </a:lnTo>
                  <a:lnTo>
                    <a:pt x="37751" y="51094"/>
                  </a:lnTo>
                  <a:lnTo>
                    <a:pt x="38705" y="52646"/>
                  </a:lnTo>
                  <a:lnTo>
                    <a:pt x="38701" y="53594"/>
                  </a:lnTo>
                  <a:lnTo>
                    <a:pt x="38061" y="55143"/>
                  </a:lnTo>
                  <a:lnTo>
                    <a:pt x="36917" y="56950"/>
                  </a:lnTo>
                  <a:lnTo>
                    <a:pt x="35401" y="57643"/>
                  </a:lnTo>
                  <a:lnTo>
                    <a:pt x="33730" y="58231"/>
                  </a:lnTo>
                  <a:lnTo>
                    <a:pt x="32933" y="59633"/>
                  </a:lnTo>
                  <a:lnTo>
                    <a:pt x="32527" y="61123"/>
                  </a:lnTo>
                  <a:lnTo>
                    <a:pt x="31780" y="62228"/>
                  </a:lnTo>
                  <a:lnTo>
                    <a:pt x="31318" y="63438"/>
                  </a:lnTo>
                  <a:lnTo>
                    <a:pt x="30610" y="65909"/>
                  </a:lnTo>
                  <a:lnTo>
                    <a:pt x="30443" y="66807"/>
                  </a:lnTo>
                  <a:lnTo>
                    <a:pt x="29312" y="67713"/>
                  </a:lnTo>
                  <a:lnTo>
                    <a:pt x="27561" y="68082"/>
                  </a:lnTo>
                  <a:lnTo>
                    <a:pt x="25990" y="68159"/>
                  </a:lnTo>
                  <a:lnTo>
                    <a:pt x="24928" y="68579"/>
                  </a:lnTo>
                  <a:lnTo>
                    <a:pt x="24391" y="69421"/>
                  </a:lnTo>
                  <a:lnTo>
                    <a:pt x="23391" y="70102"/>
                  </a:lnTo>
                  <a:lnTo>
                    <a:pt x="22786" y="70405"/>
                  </a:lnTo>
                  <a:lnTo>
                    <a:pt x="22790" y="71152"/>
                  </a:lnTo>
                  <a:lnTo>
                    <a:pt x="23518" y="72719"/>
                  </a:lnTo>
                  <a:lnTo>
                    <a:pt x="24345" y="73991"/>
                  </a:lnTo>
                  <a:lnTo>
                    <a:pt x="24362" y="75011"/>
                  </a:lnTo>
                  <a:lnTo>
                    <a:pt x="23956" y="75294"/>
                  </a:lnTo>
                  <a:lnTo>
                    <a:pt x="22676" y="75166"/>
                  </a:lnTo>
                  <a:lnTo>
                    <a:pt x="22404" y="75542"/>
                  </a:lnTo>
                  <a:lnTo>
                    <a:pt x="22265" y="76677"/>
                  </a:lnTo>
                  <a:lnTo>
                    <a:pt x="21922" y="77650"/>
                  </a:lnTo>
                  <a:lnTo>
                    <a:pt x="21395" y="78243"/>
                  </a:lnTo>
                  <a:lnTo>
                    <a:pt x="20480" y="78889"/>
                  </a:lnTo>
                  <a:lnTo>
                    <a:pt x="18804" y="78679"/>
                  </a:lnTo>
                  <a:lnTo>
                    <a:pt x="17228" y="77704"/>
                  </a:lnTo>
                  <a:lnTo>
                    <a:pt x="16405" y="77403"/>
                  </a:lnTo>
                  <a:lnTo>
                    <a:pt x="15934" y="77436"/>
                  </a:lnTo>
                  <a:lnTo>
                    <a:pt x="15809" y="75052"/>
                  </a:lnTo>
                  <a:lnTo>
                    <a:pt x="15129" y="73197"/>
                  </a:lnTo>
                  <a:lnTo>
                    <a:pt x="12630" y="68733"/>
                  </a:lnTo>
                  <a:lnTo>
                    <a:pt x="4509" y="64389"/>
                  </a:lnTo>
                  <a:lnTo>
                    <a:pt x="2598" y="62432"/>
                  </a:lnTo>
                  <a:lnTo>
                    <a:pt x="1758" y="60789"/>
                  </a:lnTo>
                  <a:lnTo>
                    <a:pt x="920" y="59236"/>
                  </a:lnTo>
                  <a:lnTo>
                    <a:pt x="1723" y="59192"/>
                  </a:lnTo>
                  <a:lnTo>
                    <a:pt x="2518" y="59586"/>
                  </a:lnTo>
                  <a:lnTo>
                    <a:pt x="3535" y="60057"/>
                  </a:lnTo>
                  <a:lnTo>
                    <a:pt x="3948" y="59280"/>
                  </a:lnTo>
                  <a:lnTo>
                    <a:pt x="3507" y="57582"/>
                  </a:lnTo>
                  <a:lnTo>
                    <a:pt x="1414" y="53604"/>
                  </a:lnTo>
                  <a:lnTo>
                    <a:pt x="1257" y="52510"/>
                  </a:lnTo>
                  <a:lnTo>
                    <a:pt x="2283" y="49180"/>
                  </a:lnTo>
                  <a:lnTo>
                    <a:pt x="3993" y="45434"/>
                  </a:lnTo>
                  <a:lnTo>
                    <a:pt x="3879" y="40888"/>
                  </a:lnTo>
                  <a:lnTo>
                    <a:pt x="4410" y="37455"/>
                  </a:lnTo>
                  <a:lnTo>
                    <a:pt x="3820" y="35223"/>
                  </a:lnTo>
                  <a:lnTo>
                    <a:pt x="3537" y="32484"/>
                  </a:lnTo>
                  <a:lnTo>
                    <a:pt x="4792" y="28839"/>
                  </a:lnTo>
                  <a:lnTo>
                    <a:pt x="5863" y="27937"/>
                  </a:lnTo>
                  <a:lnTo>
                    <a:pt x="6524" y="26783"/>
                  </a:lnTo>
                  <a:lnTo>
                    <a:pt x="6565" y="22889"/>
                  </a:lnTo>
                  <a:lnTo>
                    <a:pt x="4148" y="21070"/>
                  </a:lnTo>
                  <a:lnTo>
                    <a:pt x="1365" y="20727"/>
                  </a:lnTo>
                  <a:lnTo>
                    <a:pt x="1434" y="19407"/>
                  </a:lnTo>
                  <a:lnTo>
                    <a:pt x="1780" y="17313"/>
                  </a:lnTo>
                  <a:lnTo>
                    <a:pt x="1581" y="16615"/>
                  </a:lnTo>
                  <a:lnTo>
                    <a:pt x="1786" y="15418"/>
                  </a:lnTo>
                  <a:lnTo>
                    <a:pt x="1110" y="13819"/>
                  </a:lnTo>
                  <a:lnTo>
                    <a:pt x="0" y="12669"/>
                  </a:lnTo>
                  <a:lnTo>
                    <a:pt x="1069" y="10628"/>
                  </a:lnTo>
                  <a:lnTo>
                    <a:pt x="2630" y="8162"/>
                  </a:lnTo>
                  <a:lnTo>
                    <a:pt x="4079" y="6205"/>
                  </a:lnTo>
                  <a:lnTo>
                    <a:pt x="5835" y="4163"/>
                  </a:lnTo>
                  <a:lnTo>
                    <a:pt x="7005" y="2203"/>
                  </a:lnTo>
                  <a:lnTo>
                    <a:pt x="8266" y="517"/>
                  </a:lnTo>
                  <a:lnTo>
                    <a:pt x="9348" y="0"/>
                  </a:lnTo>
                  <a:lnTo>
                    <a:pt x="9888" y="358"/>
                  </a:lnTo>
                  <a:lnTo>
                    <a:pt x="10173" y="1095"/>
                  </a:lnTo>
                  <a:lnTo>
                    <a:pt x="10108" y="3278"/>
                  </a:lnTo>
                  <a:lnTo>
                    <a:pt x="10477" y="4030"/>
                  </a:lnTo>
                  <a:lnTo>
                    <a:pt x="11225" y="4584"/>
                  </a:lnTo>
                  <a:lnTo>
                    <a:pt x="12805" y="4313"/>
                  </a:lnTo>
                  <a:lnTo>
                    <a:pt x="14559" y="3770"/>
                  </a:lnTo>
                  <a:lnTo>
                    <a:pt x="16917" y="2617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12" name="ee4p_AD_1_37365">
              <a:extLst>
                <a:ext uri="{FF2B5EF4-FFF2-40B4-BE49-F238E27FC236}">
                  <a16:creationId xmlns:a16="http://schemas.microsoft.com/office/drawing/2014/main" id="{0E02C219-B684-C59F-2C8E-CE122A870749}"/>
                </a:ext>
              </a:extLst>
            </p:cNvPr>
            <p:cNvSpPr>
              <a:spLocks noChangeAspect="1"/>
            </p:cNvSpPr>
            <p:nvPr>
              <p:custDataLst>
                <p:tags r:id="rId266"/>
              </p:custDataLst>
            </p:nvPr>
          </p:nvSpPr>
          <p:spPr>
            <a:xfrm>
              <a:off x="6553990" y="3380399"/>
              <a:ext cx="9037" cy="7170"/>
            </a:xfrm>
            <a:custGeom>
              <a:avLst/>
              <a:gdLst/>
              <a:ahLst/>
              <a:cxnLst/>
              <a:rect l="0" t="0" r="0" b="0"/>
              <a:pathLst>
                <a:path w="7196" h="5558">
                  <a:moveTo>
                    <a:pt x="6440" y="3721"/>
                  </a:moveTo>
                  <a:lnTo>
                    <a:pt x="5830" y="3898"/>
                  </a:lnTo>
                  <a:lnTo>
                    <a:pt x="3794" y="4984"/>
                  </a:lnTo>
                  <a:lnTo>
                    <a:pt x="2637" y="5364"/>
                  </a:lnTo>
                  <a:lnTo>
                    <a:pt x="1579" y="5557"/>
                  </a:lnTo>
                  <a:lnTo>
                    <a:pt x="752" y="5477"/>
                  </a:lnTo>
                  <a:lnTo>
                    <a:pt x="294" y="4841"/>
                  </a:lnTo>
                  <a:lnTo>
                    <a:pt x="342" y="3867"/>
                  </a:lnTo>
                  <a:lnTo>
                    <a:pt x="158" y="2988"/>
                  </a:lnTo>
                  <a:lnTo>
                    <a:pt x="0" y="2519"/>
                  </a:lnTo>
                  <a:lnTo>
                    <a:pt x="298" y="1250"/>
                  </a:lnTo>
                  <a:lnTo>
                    <a:pt x="974" y="562"/>
                  </a:lnTo>
                  <a:lnTo>
                    <a:pt x="1914" y="0"/>
                  </a:lnTo>
                  <a:lnTo>
                    <a:pt x="3391" y="206"/>
                  </a:lnTo>
                  <a:lnTo>
                    <a:pt x="6524" y="1023"/>
                  </a:lnTo>
                  <a:lnTo>
                    <a:pt x="7178" y="1784"/>
                  </a:lnTo>
                  <a:lnTo>
                    <a:pt x="7195" y="2296"/>
                  </a:lnTo>
                  <a:lnTo>
                    <a:pt x="6614" y="3126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13" name="ee4p_AT_1_37365">
              <a:extLst>
                <a:ext uri="{FF2B5EF4-FFF2-40B4-BE49-F238E27FC236}">
                  <a16:creationId xmlns:a16="http://schemas.microsoft.com/office/drawing/2014/main" id="{CCBA70F8-0906-2A08-D6A1-F4B72C650AF6}"/>
                </a:ext>
              </a:extLst>
            </p:cNvPr>
            <p:cNvSpPr>
              <a:spLocks noChangeAspect="1"/>
            </p:cNvSpPr>
            <p:nvPr>
              <p:custDataLst>
                <p:tags r:id="rId267"/>
              </p:custDataLst>
            </p:nvPr>
          </p:nvSpPr>
          <p:spPr>
            <a:xfrm>
              <a:off x="6779176" y="3154150"/>
              <a:ext cx="211696" cy="94388"/>
            </a:xfrm>
            <a:custGeom>
              <a:avLst/>
              <a:gdLst/>
              <a:ahLst/>
              <a:cxnLst/>
              <a:rect l="0" t="0" r="0" b="0"/>
              <a:pathLst>
                <a:path w="168569" h="73167">
                  <a:moveTo>
                    <a:pt x="164274" y="11453"/>
                  </a:moveTo>
                  <a:lnTo>
                    <a:pt x="164178" y="11744"/>
                  </a:lnTo>
                  <a:lnTo>
                    <a:pt x="164057" y="12813"/>
                  </a:lnTo>
                  <a:lnTo>
                    <a:pt x="163198" y="14159"/>
                  </a:lnTo>
                  <a:lnTo>
                    <a:pt x="162274" y="15920"/>
                  </a:lnTo>
                  <a:lnTo>
                    <a:pt x="162334" y="17465"/>
                  </a:lnTo>
                  <a:lnTo>
                    <a:pt x="164705" y="22810"/>
                  </a:lnTo>
                  <a:lnTo>
                    <a:pt x="166811" y="26055"/>
                  </a:lnTo>
                  <a:lnTo>
                    <a:pt x="167210" y="27289"/>
                  </a:lnTo>
                  <a:lnTo>
                    <a:pt x="168568" y="28237"/>
                  </a:lnTo>
                  <a:lnTo>
                    <a:pt x="167279" y="29431"/>
                  </a:lnTo>
                  <a:lnTo>
                    <a:pt x="167029" y="31200"/>
                  </a:lnTo>
                  <a:lnTo>
                    <a:pt x="166193" y="31987"/>
                  </a:lnTo>
                  <a:lnTo>
                    <a:pt x="165975" y="32997"/>
                  </a:lnTo>
                  <a:lnTo>
                    <a:pt x="166325" y="33914"/>
                  </a:lnTo>
                  <a:lnTo>
                    <a:pt x="166318" y="35062"/>
                  </a:lnTo>
                  <a:lnTo>
                    <a:pt x="166783" y="36643"/>
                  </a:lnTo>
                  <a:lnTo>
                    <a:pt x="164722" y="36987"/>
                  </a:lnTo>
                  <a:lnTo>
                    <a:pt x="162274" y="36933"/>
                  </a:lnTo>
                  <a:lnTo>
                    <a:pt x="161397" y="37025"/>
                  </a:lnTo>
                  <a:lnTo>
                    <a:pt x="160576" y="37456"/>
                  </a:lnTo>
                  <a:lnTo>
                    <a:pt x="159728" y="37242"/>
                  </a:lnTo>
                  <a:lnTo>
                    <a:pt x="157515" y="35758"/>
                  </a:lnTo>
                  <a:lnTo>
                    <a:pt x="156264" y="35434"/>
                  </a:lnTo>
                  <a:lnTo>
                    <a:pt x="155381" y="35524"/>
                  </a:lnTo>
                  <a:lnTo>
                    <a:pt x="154720" y="36168"/>
                  </a:lnTo>
                  <a:lnTo>
                    <a:pt x="153582" y="36994"/>
                  </a:lnTo>
                  <a:lnTo>
                    <a:pt x="152513" y="37574"/>
                  </a:lnTo>
                  <a:lnTo>
                    <a:pt x="152753" y="38084"/>
                  </a:lnTo>
                  <a:lnTo>
                    <a:pt x="157344" y="39417"/>
                  </a:lnTo>
                  <a:lnTo>
                    <a:pt x="158158" y="41463"/>
                  </a:lnTo>
                  <a:lnTo>
                    <a:pt x="157275" y="43130"/>
                  </a:lnTo>
                  <a:lnTo>
                    <a:pt x="156975" y="43945"/>
                  </a:lnTo>
                  <a:lnTo>
                    <a:pt x="155899" y="44587"/>
                  </a:lnTo>
                  <a:lnTo>
                    <a:pt x="154580" y="45151"/>
                  </a:lnTo>
                  <a:lnTo>
                    <a:pt x="152991" y="45292"/>
                  </a:lnTo>
                  <a:lnTo>
                    <a:pt x="152803" y="46191"/>
                  </a:lnTo>
                  <a:lnTo>
                    <a:pt x="153427" y="48832"/>
                  </a:lnTo>
                  <a:lnTo>
                    <a:pt x="152922" y="49403"/>
                  </a:lnTo>
                  <a:lnTo>
                    <a:pt x="152416" y="50223"/>
                  </a:lnTo>
                  <a:lnTo>
                    <a:pt x="152891" y="52391"/>
                  </a:lnTo>
                  <a:lnTo>
                    <a:pt x="153874" y="52545"/>
                  </a:lnTo>
                  <a:lnTo>
                    <a:pt x="154092" y="53041"/>
                  </a:lnTo>
                  <a:lnTo>
                    <a:pt x="153917" y="53918"/>
                  </a:lnTo>
                  <a:lnTo>
                    <a:pt x="153744" y="54851"/>
                  </a:lnTo>
                  <a:lnTo>
                    <a:pt x="153397" y="55839"/>
                  </a:lnTo>
                  <a:lnTo>
                    <a:pt x="153224" y="56277"/>
                  </a:lnTo>
                  <a:lnTo>
                    <a:pt x="152572" y="56551"/>
                  </a:lnTo>
                  <a:lnTo>
                    <a:pt x="150535" y="56405"/>
                  </a:lnTo>
                  <a:lnTo>
                    <a:pt x="148782" y="57250"/>
                  </a:lnTo>
                  <a:lnTo>
                    <a:pt x="145256" y="60279"/>
                  </a:lnTo>
                  <a:lnTo>
                    <a:pt x="144021" y="60793"/>
                  </a:lnTo>
                  <a:lnTo>
                    <a:pt x="142686" y="62004"/>
                  </a:lnTo>
                  <a:lnTo>
                    <a:pt x="142766" y="64663"/>
                  </a:lnTo>
                  <a:lnTo>
                    <a:pt x="142585" y="64903"/>
                  </a:lnTo>
                  <a:lnTo>
                    <a:pt x="142261" y="65448"/>
                  </a:lnTo>
                  <a:lnTo>
                    <a:pt x="138043" y="64512"/>
                  </a:lnTo>
                  <a:lnTo>
                    <a:pt x="137896" y="64527"/>
                  </a:lnTo>
                  <a:lnTo>
                    <a:pt x="135074" y="64869"/>
                  </a:lnTo>
                  <a:lnTo>
                    <a:pt x="133144" y="66087"/>
                  </a:lnTo>
                  <a:lnTo>
                    <a:pt x="130798" y="66782"/>
                  </a:lnTo>
                  <a:lnTo>
                    <a:pt x="125884" y="66412"/>
                  </a:lnTo>
                  <a:lnTo>
                    <a:pt x="121101" y="66884"/>
                  </a:lnTo>
                  <a:lnTo>
                    <a:pt x="119967" y="67238"/>
                  </a:lnTo>
                  <a:lnTo>
                    <a:pt x="118726" y="67442"/>
                  </a:lnTo>
                  <a:lnTo>
                    <a:pt x="117562" y="68149"/>
                  </a:lnTo>
                  <a:lnTo>
                    <a:pt x="116897" y="69146"/>
                  </a:lnTo>
                  <a:lnTo>
                    <a:pt x="115707" y="70408"/>
                  </a:lnTo>
                  <a:lnTo>
                    <a:pt x="114014" y="71399"/>
                  </a:lnTo>
                  <a:lnTo>
                    <a:pt x="112174" y="72157"/>
                  </a:lnTo>
                  <a:lnTo>
                    <a:pt x="111736" y="72799"/>
                  </a:lnTo>
                  <a:lnTo>
                    <a:pt x="111131" y="73166"/>
                  </a:lnTo>
                  <a:lnTo>
                    <a:pt x="110107" y="72686"/>
                  </a:lnTo>
                  <a:lnTo>
                    <a:pt x="109276" y="72711"/>
                  </a:lnTo>
                  <a:lnTo>
                    <a:pt x="108259" y="72384"/>
                  </a:lnTo>
                  <a:lnTo>
                    <a:pt x="104884" y="72029"/>
                  </a:lnTo>
                  <a:lnTo>
                    <a:pt x="101174" y="71441"/>
                  </a:lnTo>
                  <a:lnTo>
                    <a:pt x="99408" y="70878"/>
                  </a:lnTo>
                  <a:lnTo>
                    <a:pt x="97399" y="70434"/>
                  </a:lnTo>
                  <a:lnTo>
                    <a:pt x="95244" y="70072"/>
                  </a:lnTo>
                  <a:lnTo>
                    <a:pt x="93312" y="69987"/>
                  </a:lnTo>
                  <a:lnTo>
                    <a:pt x="92340" y="69821"/>
                  </a:lnTo>
                  <a:lnTo>
                    <a:pt x="87697" y="68841"/>
                  </a:lnTo>
                  <a:lnTo>
                    <a:pt x="84635" y="68775"/>
                  </a:lnTo>
                  <a:lnTo>
                    <a:pt x="80593" y="68366"/>
                  </a:lnTo>
                  <a:lnTo>
                    <a:pt x="72562" y="66887"/>
                  </a:lnTo>
                  <a:lnTo>
                    <a:pt x="70223" y="66287"/>
                  </a:lnTo>
                  <a:lnTo>
                    <a:pt x="67986" y="66102"/>
                  </a:lnTo>
                  <a:lnTo>
                    <a:pt x="65345" y="65590"/>
                  </a:lnTo>
                  <a:lnTo>
                    <a:pt x="63335" y="64752"/>
                  </a:lnTo>
                  <a:lnTo>
                    <a:pt x="62048" y="63161"/>
                  </a:lnTo>
                  <a:lnTo>
                    <a:pt x="60675" y="61043"/>
                  </a:lnTo>
                  <a:lnTo>
                    <a:pt x="58157" y="58273"/>
                  </a:lnTo>
                  <a:lnTo>
                    <a:pt x="57641" y="56892"/>
                  </a:lnTo>
                  <a:lnTo>
                    <a:pt x="58409" y="55680"/>
                  </a:lnTo>
                  <a:lnTo>
                    <a:pt x="59200" y="54766"/>
                  </a:lnTo>
                  <a:lnTo>
                    <a:pt x="59109" y="54372"/>
                  </a:lnTo>
                  <a:lnTo>
                    <a:pt x="58496" y="54173"/>
                  </a:lnTo>
                  <a:lnTo>
                    <a:pt x="54076" y="55358"/>
                  </a:lnTo>
                  <a:lnTo>
                    <a:pt x="49789" y="56855"/>
                  </a:lnTo>
                  <a:lnTo>
                    <a:pt x="48103" y="56894"/>
                  </a:lnTo>
                  <a:lnTo>
                    <a:pt x="46468" y="56562"/>
                  </a:lnTo>
                  <a:lnTo>
                    <a:pt x="44302" y="56539"/>
                  </a:lnTo>
                  <a:lnTo>
                    <a:pt x="42216" y="56939"/>
                  </a:lnTo>
                  <a:lnTo>
                    <a:pt x="38042" y="57145"/>
                  </a:lnTo>
                  <a:lnTo>
                    <a:pt x="35598" y="58247"/>
                  </a:lnTo>
                  <a:lnTo>
                    <a:pt x="34041" y="60395"/>
                  </a:lnTo>
                  <a:lnTo>
                    <a:pt x="33192" y="62127"/>
                  </a:lnTo>
                  <a:lnTo>
                    <a:pt x="32488" y="62683"/>
                  </a:lnTo>
                  <a:lnTo>
                    <a:pt x="31031" y="62892"/>
                  </a:lnTo>
                  <a:lnTo>
                    <a:pt x="28854" y="62732"/>
                  </a:lnTo>
                  <a:lnTo>
                    <a:pt x="27325" y="62229"/>
                  </a:lnTo>
                  <a:lnTo>
                    <a:pt x="25766" y="60750"/>
                  </a:lnTo>
                  <a:lnTo>
                    <a:pt x="23345" y="60546"/>
                  </a:lnTo>
                  <a:lnTo>
                    <a:pt x="21126" y="60507"/>
                  </a:lnTo>
                  <a:lnTo>
                    <a:pt x="20538" y="60233"/>
                  </a:lnTo>
                  <a:lnTo>
                    <a:pt x="20577" y="59272"/>
                  </a:lnTo>
                  <a:lnTo>
                    <a:pt x="19700" y="57459"/>
                  </a:lnTo>
                  <a:lnTo>
                    <a:pt x="18251" y="56892"/>
                  </a:lnTo>
                  <a:lnTo>
                    <a:pt x="14501" y="60305"/>
                  </a:lnTo>
                  <a:lnTo>
                    <a:pt x="13477" y="60607"/>
                  </a:lnTo>
                  <a:lnTo>
                    <a:pt x="10456" y="59664"/>
                  </a:lnTo>
                  <a:lnTo>
                    <a:pt x="7821" y="58205"/>
                  </a:lnTo>
                  <a:lnTo>
                    <a:pt x="7532" y="57137"/>
                  </a:lnTo>
                  <a:lnTo>
                    <a:pt x="7104" y="56261"/>
                  </a:lnTo>
                  <a:lnTo>
                    <a:pt x="4887" y="55431"/>
                  </a:lnTo>
                  <a:lnTo>
                    <a:pt x="2121" y="54862"/>
                  </a:lnTo>
                  <a:lnTo>
                    <a:pt x="1244" y="54865"/>
                  </a:lnTo>
                  <a:lnTo>
                    <a:pt x="1585" y="54349"/>
                  </a:lnTo>
                  <a:lnTo>
                    <a:pt x="1913" y="53475"/>
                  </a:lnTo>
                  <a:lnTo>
                    <a:pt x="1706" y="52778"/>
                  </a:lnTo>
                  <a:lnTo>
                    <a:pt x="1058" y="52056"/>
                  </a:lnTo>
                  <a:lnTo>
                    <a:pt x="702" y="51284"/>
                  </a:lnTo>
                  <a:lnTo>
                    <a:pt x="598" y="50535"/>
                  </a:lnTo>
                  <a:lnTo>
                    <a:pt x="402" y="49924"/>
                  </a:lnTo>
                  <a:lnTo>
                    <a:pt x="283" y="49350"/>
                  </a:lnTo>
                  <a:lnTo>
                    <a:pt x="78" y="48899"/>
                  </a:lnTo>
                  <a:lnTo>
                    <a:pt x="1881" y="45509"/>
                  </a:lnTo>
                  <a:lnTo>
                    <a:pt x="2252" y="43399"/>
                  </a:lnTo>
                  <a:lnTo>
                    <a:pt x="672" y="42162"/>
                  </a:lnTo>
                  <a:lnTo>
                    <a:pt x="0" y="41794"/>
                  </a:lnTo>
                  <a:lnTo>
                    <a:pt x="551" y="41519"/>
                  </a:lnTo>
                  <a:lnTo>
                    <a:pt x="2799" y="41748"/>
                  </a:lnTo>
                  <a:lnTo>
                    <a:pt x="4226" y="41048"/>
                  </a:lnTo>
                  <a:lnTo>
                    <a:pt x="4973" y="40354"/>
                  </a:lnTo>
                  <a:lnTo>
                    <a:pt x="6968" y="41006"/>
                  </a:lnTo>
                  <a:lnTo>
                    <a:pt x="9897" y="42325"/>
                  </a:lnTo>
                  <a:lnTo>
                    <a:pt x="11279" y="43215"/>
                  </a:lnTo>
                  <a:lnTo>
                    <a:pt x="11849" y="43903"/>
                  </a:lnTo>
                  <a:lnTo>
                    <a:pt x="12166" y="44479"/>
                  </a:lnTo>
                  <a:lnTo>
                    <a:pt x="11991" y="45465"/>
                  </a:lnTo>
                  <a:lnTo>
                    <a:pt x="12658" y="45851"/>
                  </a:lnTo>
                  <a:lnTo>
                    <a:pt x="14036" y="46000"/>
                  </a:lnTo>
                  <a:lnTo>
                    <a:pt x="14954" y="46304"/>
                  </a:lnTo>
                  <a:lnTo>
                    <a:pt x="14632" y="47599"/>
                  </a:lnTo>
                  <a:lnTo>
                    <a:pt x="14572" y="48673"/>
                  </a:lnTo>
                  <a:lnTo>
                    <a:pt x="15846" y="48524"/>
                  </a:lnTo>
                  <a:lnTo>
                    <a:pt x="17441" y="47704"/>
                  </a:lnTo>
                  <a:lnTo>
                    <a:pt x="18687" y="46230"/>
                  </a:lnTo>
                  <a:lnTo>
                    <a:pt x="19456" y="44802"/>
                  </a:lnTo>
                  <a:lnTo>
                    <a:pt x="20042" y="41321"/>
                  </a:lnTo>
                  <a:lnTo>
                    <a:pt x="20242" y="41027"/>
                  </a:lnTo>
                  <a:lnTo>
                    <a:pt x="21201" y="41301"/>
                  </a:lnTo>
                  <a:lnTo>
                    <a:pt x="25090" y="41149"/>
                  </a:lnTo>
                  <a:lnTo>
                    <a:pt x="26923" y="41797"/>
                  </a:lnTo>
                  <a:lnTo>
                    <a:pt x="29830" y="41907"/>
                  </a:lnTo>
                  <a:lnTo>
                    <a:pt x="29776" y="42452"/>
                  </a:lnTo>
                  <a:lnTo>
                    <a:pt x="30292" y="43303"/>
                  </a:lnTo>
                  <a:lnTo>
                    <a:pt x="31579" y="44530"/>
                  </a:lnTo>
                  <a:lnTo>
                    <a:pt x="32214" y="45331"/>
                  </a:lnTo>
                  <a:lnTo>
                    <a:pt x="33566" y="45471"/>
                  </a:lnTo>
                  <a:lnTo>
                    <a:pt x="35645" y="45030"/>
                  </a:lnTo>
                  <a:lnTo>
                    <a:pt x="36865" y="44572"/>
                  </a:lnTo>
                  <a:lnTo>
                    <a:pt x="37323" y="44897"/>
                  </a:lnTo>
                  <a:lnTo>
                    <a:pt x="39225" y="44580"/>
                  </a:lnTo>
                  <a:lnTo>
                    <a:pt x="40910" y="43589"/>
                  </a:lnTo>
                  <a:lnTo>
                    <a:pt x="41326" y="42834"/>
                  </a:lnTo>
                  <a:lnTo>
                    <a:pt x="43028" y="42303"/>
                  </a:lnTo>
                  <a:lnTo>
                    <a:pt x="45328" y="41078"/>
                  </a:lnTo>
                  <a:lnTo>
                    <a:pt x="48487" y="40130"/>
                  </a:lnTo>
                  <a:lnTo>
                    <a:pt x="58854" y="39118"/>
                  </a:lnTo>
                  <a:lnTo>
                    <a:pt x="59256" y="38353"/>
                  </a:lnTo>
                  <a:lnTo>
                    <a:pt x="59102" y="36600"/>
                  </a:lnTo>
                  <a:lnTo>
                    <a:pt x="59377" y="36342"/>
                  </a:lnTo>
                  <a:lnTo>
                    <a:pt x="60683" y="36779"/>
                  </a:lnTo>
                  <a:lnTo>
                    <a:pt x="62780" y="37188"/>
                  </a:lnTo>
                  <a:lnTo>
                    <a:pt x="64385" y="37808"/>
                  </a:lnTo>
                  <a:lnTo>
                    <a:pt x="65428" y="38618"/>
                  </a:lnTo>
                  <a:lnTo>
                    <a:pt x="66393" y="38651"/>
                  </a:lnTo>
                  <a:lnTo>
                    <a:pt x="67889" y="38084"/>
                  </a:lnTo>
                  <a:lnTo>
                    <a:pt x="69915" y="37718"/>
                  </a:lnTo>
                  <a:lnTo>
                    <a:pt x="71806" y="38559"/>
                  </a:lnTo>
                  <a:lnTo>
                    <a:pt x="72355" y="39469"/>
                  </a:lnTo>
                  <a:lnTo>
                    <a:pt x="72022" y="39935"/>
                  </a:lnTo>
                  <a:lnTo>
                    <a:pt x="72059" y="40673"/>
                  </a:lnTo>
                  <a:lnTo>
                    <a:pt x="72646" y="41290"/>
                  </a:lnTo>
                  <a:lnTo>
                    <a:pt x="74184" y="42293"/>
                  </a:lnTo>
                  <a:lnTo>
                    <a:pt x="76155" y="43156"/>
                  </a:lnTo>
                  <a:lnTo>
                    <a:pt x="77179" y="43089"/>
                  </a:lnTo>
                  <a:lnTo>
                    <a:pt x="77559" y="42249"/>
                  </a:lnTo>
                  <a:lnTo>
                    <a:pt x="77922" y="40252"/>
                  </a:lnTo>
                  <a:lnTo>
                    <a:pt x="78058" y="38117"/>
                  </a:lnTo>
                  <a:lnTo>
                    <a:pt x="77604" y="36891"/>
                  </a:lnTo>
                  <a:lnTo>
                    <a:pt x="76542" y="36591"/>
                  </a:lnTo>
                  <a:lnTo>
                    <a:pt x="75272" y="36494"/>
                  </a:lnTo>
                  <a:lnTo>
                    <a:pt x="74598" y="36241"/>
                  </a:lnTo>
                  <a:lnTo>
                    <a:pt x="74834" y="35567"/>
                  </a:lnTo>
                  <a:lnTo>
                    <a:pt x="75849" y="33823"/>
                  </a:lnTo>
                  <a:lnTo>
                    <a:pt x="75834" y="31489"/>
                  </a:lnTo>
                  <a:lnTo>
                    <a:pt x="73542" y="28834"/>
                  </a:lnTo>
                  <a:lnTo>
                    <a:pt x="71556" y="26261"/>
                  </a:lnTo>
                  <a:lnTo>
                    <a:pt x="71562" y="25385"/>
                  </a:lnTo>
                  <a:lnTo>
                    <a:pt x="72754" y="23863"/>
                  </a:lnTo>
                  <a:lnTo>
                    <a:pt x="74594" y="22651"/>
                  </a:lnTo>
                  <a:lnTo>
                    <a:pt x="78678" y="20632"/>
                  </a:lnTo>
                  <a:lnTo>
                    <a:pt x="79967" y="20211"/>
                  </a:lnTo>
                  <a:lnTo>
                    <a:pt x="81621" y="19873"/>
                  </a:lnTo>
                  <a:lnTo>
                    <a:pt x="84000" y="19042"/>
                  </a:lnTo>
                  <a:lnTo>
                    <a:pt x="85145" y="18188"/>
                  </a:lnTo>
                  <a:lnTo>
                    <a:pt x="85914" y="17260"/>
                  </a:lnTo>
                  <a:lnTo>
                    <a:pt x="87030" y="12426"/>
                  </a:lnTo>
                  <a:lnTo>
                    <a:pt x="87291" y="12220"/>
                  </a:lnTo>
                  <a:lnTo>
                    <a:pt x="87622" y="11935"/>
                  </a:lnTo>
                  <a:lnTo>
                    <a:pt x="91792" y="13604"/>
                  </a:lnTo>
                  <a:lnTo>
                    <a:pt x="92167" y="13328"/>
                  </a:lnTo>
                  <a:lnTo>
                    <a:pt x="92869" y="13056"/>
                  </a:lnTo>
                  <a:lnTo>
                    <a:pt x="94227" y="11776"/>
                  </a:lnTo>
                  <a:lnTo>
                    <a:pt x="94525" y="10803"/>
                  </a:lnTo>
                  <a:lnTo>
                    <a:pt x="94495" y="8963"/>
                  </a:lnTo>
                  <a:lnTo>
                    <a:pt x="94616" y="7226"/>
                  </a:lnTo>
                  <a:lnTo>
                    <a:pt x="94877" y="6673"/>
                  </a:lnTo>
                  <a:lnTo>
                    <a:pt x="95506" y="6874"/>
                  </a:lnTo>
                  <a:lnTo>
                    <a:pt x="97300" y="7780"/>
                  </a:lnTo>
                  <a:lnTo>
                    <a:pt x="98725" y="8792"/>
                  </a:lnTo>
                  <a:lnTo>
                    <a:pt x="100060" y="11349"/>
                  </a:lnTo>
                  <a:lnTo>
                    <a:pt x="103171" y="12028"/>
                  </a:lnTo>
                  <a:lnTo>
                    <a:pt x="107101" y="12095"/>
                  </a:lnTo>
                  <a:lnTo>
                    <a:pt x="108505" y="10957"/>
                  </a:lnTo>
                  <a:lnTo>
                    <a:pt x="109779" y="10694"/>
                  </a:lnTo>
                  <a:lnTo>
                    <a:pt x="111222" y="11041"/>
                  </a:lnTo>
                  <a:lnTo>
                    <a:pt x="114260" y="11441"/>
                  </a:lnTo>
                  <a:lnTo>
                    <a:pt x="114599" y="9376"/>
                  </a:lnTo>
                  <a:lnTo>
                    <a:pt x="116352" y="7230"/>
                  </a:lnTo>
                  <a:lnTo>
                    <a:pt x="117147" y="6472"/>
                  </a:lnTo>
                  <a:lnTo>
                    <a:pt x="119373" y="6546"/>
                  </a:lnTo>
                  <a:lnTo>
                    <a:pt x="119922" y="4942"/>
                  </a:lnTo>
                  <a:lnTo>
                    <a:pt x="120470" y="490"/>
                  </a:lnTo>
                  <a:lnTo>
                    <a:pt x="120941" y="0"/>
                  </a:lnTo>
                  <a:lnTo>
                    <a:pt x="122563" y="93"/>
                  </a:lnTo>
                  <a:lnTo>
                    <a:pt x="124176" y="906"/>
                  </a:lnTo>
                  <a:lnTo>
                    <a:pt x="124662" y="1564"/>
                  </a:lnTo>
                  <a:lnTo>
                    <a:pt x="125500" y="1511"/>
                  </a:lnTo>
                  <a:lnTo>
                    <a:pt x="126674" y="1063"/>
                  </a:lnTo>
                  <a:lnTo>
                    <a:pt x="127961" y="773"/>
                  </a:lnTo>
                  <a:lnTo>
                    <a:pt x="129995" y="1248"/>
                  </a:lnTo>
                  <a:lnTo>
                    <a:pt x="134340" y="3272"/>
                  </a:lnTo>
                  <a:lnTo>
                    <a:pt x="136581" y="4010"/>
                  </a:lnTo>
                  <a:lnTo>
                    <a:pt x="138002" y="3869"/>
                  </a:lnTo>
                  <a:lnTo>
                    <a:pt x="139332" y="3896"/>
                  </a:lnTo>
                  <a:lnTo>
                    <a:pt x="144463" y="7019"/>
                  </a:lnTo>
                  <a:lnTo>
                    <a:pt x="148048" y="7456"/>
                  </a:lnTo>
                  <a:lnTo>
                    <a:pt x="151319" y="7469"/>
                  </a:lnTo>
                  <a:lnTo>
                    <a:pt x="152371" y="6527"/>
                  </a:lnTo>
                  <a:lnTo>
                    <a:pt x="153766" y="5729"/>
                  </a:lnTo>
                  <a:lnTo>
                    <a:pt x="155217" y="5839"/>
                  </a:lnTo>
                  <a:lnTo>
                    <a:pt x="156486" y="6248"/>
                  </a:lnTo>
                  <a:lnTo>
                    <a:pt x="158957" y="7604"/>
                  </a:lnTo>
                  <a:lnTo>
                    <a:pt x="160101" y="7951"/>
                  </a:lnTo>
                  <a:lnTo>
                    <a:pt x="161622" y="8170"/>
                  </a:lnTo>
                  <a:lnTo>
                    <a:pt x="162738" y="8472"/>
                  </a:lnTo>
                  <a:lnTo>
                    <a:pt x="163725" y="10826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14" name="ee4p_BE_1_37365">
              <a:extLst>
                <a:ext uri="{FF2B5EF4-FFF2-40B4-BE49-F238E27FC236}">
                  <a16:creationId xmlns:a16="http://schemas.microsoft.com/office/drawing/2014/main" id="{870DDCE2-2156-AB61-7E7E-CD44E56CE3BA}"/>
                </a:ext>
              </a:extLst>
            </p:cNvPr>
            <p:cNvSpPr>
              <a:spLocks noChangeAspect="1"/>
            </p:cNvSpPr>
            <p:nvPr>
              <p:custDataLst>
                <p:tags r:id="rId268"/>
              </p:custDataLst>
            </p:nvPr>
          </p:nvSpPr>
          <p:spPr>
            <a:xfrm>
              <a:off x="6584815" y="3061149"/>
              <a:ext cx="106624" cy="74184"/>
            </a:xfrm>
            <a:custGeom>
              <a:avLst/>
              <a:gdLst/>
              <a:ahLst/>
              <a:cxnLst/>
              <a:rect l="0" t="0" r="0" b="0"/>
              <a:pathLst>
                <a:path w="84902" h="57505">
                  <a:moveTo>
                    <a:pt x="50661" y="1713"/>
                  </a:moveTo>
                  <a:lnTo>
                    <a:pt x="50765" y="2322"/>
                  </a:lnTo>
                  <a:lnTo>
                    <a:pt x="51370" y="2580"/>
                  </a:lnTo>
                  <a:lnTo>
                    <a:pt x="53490" y="2448"/>
                  </a:lnTo>
                  <a:lnTo>
                    <a:pt x="54566" y="1344"/>
                  </a:lnTo>
                  <a:lnTo>
                    <a:pt x="55414" y="647"/>
                  </a:lnTo>
                  <a:lnTo>
                    <a:pt x="56045" y="1116"/>
                  </a:lnTo>
                  <a:lnTo>
                    <a:pt x="56353" y="2475"/>
                  </a:lnTo>
                  <a:lnTo>
                    <a:pt x="56939" y="4246"/>
                  </a:lnTo>
                  <a:lnTo>
                    <a:pt x="59465" y="6226"/>
                  </a:lnTo>
                  <a:lnTo>
                    <a:pt x="61603" y="6790"/>
                  </a:lnTo>
                  <a:lnTo>
                    <a:pt x="64233" y="6401"/>
                  </a:lnTo>
                  <a:lnTo>
                    <a:pt x="65274" y="6048"/>
                  </a:lnTo>
                  <a:lnTo>
                    <a:pt x="65980" y="6342"/>
                  </a:lnTo>
                  <a:lnTo>
                    <a:pt x="66680" y="7388"/>
                  </a:lnTo>
                  <a:lnTo>
                    <a:pt x="68191" y="8585"/>
                  </a:lnTo>
                  <a:lnTo>
                    <a:pt x="71365" y="9433"/>
                  </a:lnTo>
                  <a:lnTo>
                    <a:pt x="72342" y="9913"/>
                  </a:lnTo>
                  <a:lnTo>
                    <a:pt x="73019" y="10716"/>
                  </a:lnTo>
                  <a:lnTo>
                    <a:pt x="72823" y="11863"/>
                  </a:lnTo>
                  <a:lnTo>
                    <a:pt x="71309" y="14717"/>
                  </a:lnTo>
                  <a:lnTo>
                    <a:pt x="71111" y="15559"/>
                  </a:lnTo>
                  <a:lnTo>
                    <a:pt x="71314" y="15842"/>
                  </a:lnTo>
                  <a:lnTo>
                    <a:pt x="71018" y="16370"/>
                  </a:lnTo>
                  <a:lnTo>
                    <a:pt x="69048" y="18281"/>
                  </a:lnTo>
                  <a:lnTo>
                    <a:pt x="68869" y="18953"/>
                  </a:lnTo>
                  <a:lnTo>
                    <a:pt x="69525" y="20050"/>
                  </a:lnTo>
                  <a:lnTo>
                    <a:pt x="70065" y="20959"/>
                  </a:lnTo>
                  <a:lnTo>
                    <a:pt x="70087" y="20776"/>
                  </a:lnTo>
                  <a:lnTo>
                    <a:pt x="73104" y="19957"/>
                  </a:lnTo>
                  <a:lnTo>
                    <a:pt x="74464" y="21606"/>
                  </a:lnTo>
                  <a:lnTo>
                    <a:pt x="76708" y="21667"/>
                  </a:lnTo>
                  <a:lnTo>
                    <a:pt x="76973" y="22198"/>
                  </a:lnTo>
                  <a:lnTo>
                    <a:pt x="79483" y="23740"/>
                  </a:lnTo>
                  <a:lnTo>
                    <a:pt x="80258" y="24961"/>
                  </a:lnTo>
                  <a:lnTo>
                    <a:pt x="82059" y="26141"/>
                  </a:lnTo>
                  <a:lnTo>
                    <a:pt x="80567" y="27633"/>
                  </a:lnTo>
                  <a:lnTo>
                    <a:pt x="80793" y="28296"/>
                  </a:lnTo>
                  <a:lnTo>
                    <a:pt x="81331" y="28975"/>
                  </a:lnTo>
                  <a:lnTo>
                    <a:pt x="83363" y="29371"/>
                  </a:lnTo>
                  <a:lnTo>
                    <a:pt x="84380" y="30350"/>
                  </a:lnTo>
                  <a:lnTo>
                    <a:pt x="84440" y="31845"/>
                  </a:lnTo>
                  <a:lnTo>
                    <a:pt x="84901" y="34282"/>
                  </a:lnTo>
                  <a:lnTo>
                    <a:pt x="80714" y="36700"/>
                  </a:lnTo>
                  <a:lnTo>
                    <a:pt x="79524" y="39399"/>
                  </a:lnTo>
                  <a:lnTo>
                    <a:pt x="79418" y="39930"/>
                  </a:lnTo>
                  <a:lnTo>
                    <a:pt x="79275" y="39850"/>
                  </a:lnTo>
                  <a:lnTo>
                    <a:pt x="78811" y="38959"/>
                  </a:lnTo>
                  <a:lnTo>
                    <a:pt x="78053" y="38967"/>
                  </a:lnTo>
                  <a:lnTo>
                    <a:pt x="76317" y="38595"/>
                  </a:lnTo>
                  <a:lnTo>
                    <a:pt x="73898" y="41034"/>
                  </a:lnTo>
                  <a:lnTo>
                    <a:pt x="72804" y="43059"/>
                  </a:lnTo>
                  <a:lnTo>
                    <a:pt x="72156" y="44544"/>
                  </a:lnTo>
                  <a:lnTo>
                    <a:pt x="71182" y="45744"/>
                  </a:lnTo>
                  <a:lnTo>
                    <a:pt x="70987" y="47012"/>
                  </a:lnTo>
                  <a:lnTo>
                    <a:pt x="71111" y="47544"/>
                  </a:lnTo>
                  <a:lnTo>
                    <a:pt x="70778" y="48231"/>
                  </a:lnTo>
                  <a:lnTo>
                    <a:pt x="70761" y="48953"/>
                  </a:lnTo>
                  <a:lnTo>
                    <a:pt x="72154" y="50375"/>
                  </a:lnTo>
                  <a:lnTo>
                    <a:pt x="72501" y="51144"/>
                  </a:lnTo>
                  <a:lnTo>
                    <a:pt x="74197" y="53658"/>
                  </a:lnTo>
                  <a:lnTo>
                    <a:pt x="73669" y="54575"/>
                  </a:lnTo>
                  <a:lnTo>
                    <a:pt x="73250" y="55567"/>
                  </a:lnTo>
                  <a:lnTo>
                    <a:pt x="72761" y="56271"/>
                  </a:lnTo>
                  <a:lnTo>
                    <a:pt x="72192" y="56717"/>
                  </a:lnTo>
                  <a:lnTo>
                    <a:pt x="70439" y="56690"/>
                  </a:lnTo>
                  <a:lnTo>
                    <a:pt x="68219" y="57006"/>
                  </a:lnTo>
                  <a:lnTo>
                    <a:pt x="66723" y="57499"/>
                  </a:lnTo>
                  <a:lnTo>
                    <a:pt x="65947" y="57504"/>
                  </a:lnTo>
                  <a:lnTo>
                    <a:pt x="64341" y="56252"/>
                  </a:lnTo>
                  <a:lnTo>
                    <a:pt x="62546" y="54375"/>
                  </a:lnTo>
                  <a:lnTo>
                    <a:pt x="61406" y="53479"/>
                  </a:lnTo>
                  <a:lnTo>
                    <a:pt x="60895" y="52705"/>
                  </a:lnTo>
                  <a:lnTo>
                    <a:pt x="59485" y="52379"/>
                  </a:lnTo>
                  <a:lnTo>
                    <a:pt x="57474" y="51452"/>
                  </a:lnTo>
                  <a:lnTo>
                    <a:pt x="56079" y="50443"/>
                  </a:lnTo>
                  <a:lnTo>
                    <a:pt x="54883" y="49815"/>
                  </a:lnTo>
                  <a:lnTo>
                    <a:pt x="53194" y="49501"/>
                  </a:lnTo>
                  <a:lnTo>
                    <a:pt x="51801" y="49533"/>
                  </a:lnTo>
                  <a:lnTo>
                    <a:pt x="51393" y="47834"/>
                  </a:lnTo>
                  <a:lnTo>
                    <a:pt x="51225" y="45892"/>
                  </a:lnTo>
                  <a:lnTo>
                    <a:pt x="50087" y="44592"/>
                  </a:lnTo>
                  <a:lnTo>
                    <a:pt x="51646" y="39500"/>
                  </a:lnTo>
                  <a:lnTo>
                    <a:pt x="50720" y="39000"/>
                  </a:lnTo>
                  <a:lnTo>
                    <a:pt x="49707" y="39408"/>
                  </a:lnTo>
                  <a:lnTo>
                    <a:pt x="48243" y="40622"/>
                  </a:lnTo>
                  <a:lnTo>
                    <a:pt x="47545" y="42072"/>
                  </a:lnTo>
                  <a:lnTo>
                    <a:pt x="47126" y="43355"/>
                  </a:lnTo>
                  <a:lnTo>
                    <a:pt x="44669" y="44572"/>
                  </a:lnTo>
                  <a:lnTo>
                    <a:pt x="40771" y="45013"/>
                  </a:lnTo>
                  <a:lnTo>
                    <a:pt x="36511" y="44572"/>
                  </a:lnTo>
                  <a:lnTo>
                    <a:pt x="35919" y="44245"/>
                  </a:lnTo>
                  <a:lnTo>
                    <a:pt x="35647" y="43873"/>
                  </a:lnTo>
                  <a:lnTo>
                    <a:pt x="35643" y="43425"/>
                  </a:lnTo>
                  <a:lnTo>
                    <a:pt x="35941" y="42736"/>
                  </a:lnTo>
                  <a:lnTo>
                    <a:pt x="36684" y="41900"/>
                  </a:lnTo>
                  <a:lnTo>
                    <a:pt x="36867" y="40706"/>
                  </a:lnTo>
                  <a:lnTo>
                    <a:pt x="36105" y="39673"/>
                  </a:lnTo>
                  <a:lnTo>
                    <a:pt x="35608" y="39271"/>
                  </a:lnTo>
                  <a:lnTo>
                    <a:pt x="35805" y="38270"/>
                  </a:lnTo>
                  <a:lnTo>
                    <a:pt x="36368" y="37015"/>
                  </a:lnTo>
                  <a:lnTo>
                    <a:pt x="36478" y="36300"/>
                  </a:lnTo>
                  <a:lnTo>
                    <a:pt x="33594" y="34132"/>
                  </a:lnTo>
                  <a:lnTo>
                    <a:pt x="31505" y="33709"/>
                  </a:lnTo>
                  <a:lnTo>
                    <a:pt x="29480" y="33633"/>
                  </a:lnTo>
                  <a:lnTo>
                    <a:pt x="27942" y="33389"/>
                  </a:lnTo>
                  <a:lnTo>
                    <a:pt x="27046" y="33490"/>
                  </a:lnTo>
                  <a:lnTo>
                    <a:pt x="26401" y="34122"/>
                  </a:lnTo>
                  <a:lnTo>
                    <a:pt x="25748" y="34575"/>
                  </a:lnTo>
                  <a:lnTo>
                    <a:pt x="25260" y="34032"/>
                  </a:lnTo>
                  <a:lnTo>
                    <a:pt x="24364" y="30189"/>
                  </a:lnTo>
                  <a:lnTo>
                    <a:pt x="23671" y="29608"/>
                  </a:lnTo>
                  <a:lnTo>
                    <a:pt x="21052" y="28966"/>
                  </a:lnTo>
                  <a:lnTo>
                    <a:pt x="17497" y="28736"/>
                  </a:lnTo>
                  <a:lnTo>
                    <a:pt x="16549" y="28034"/>
                  </a:lnTo>
                  <a:lnTo>
                    <a:pt x="16029" y="26302"/>
                  </a:lnTo>
                  <a:lnTo>
                    <a:pt x="15701" y="24214"/>
                  </a:lnTo>
                  <a:lnTo>
                    <a:pt x="14530" y="22213"/>
                  </a:lnTo>
                  <a:lnTo>
                    <a:pt x="13930" y="21712"/>
                  </a:lnTo>
                  <a:lnTo>
                    <a:pt x="12868" y="20823"/>
                  </a:lnTo>
                  <a:lnTo>
                    <a:pt x="11010" y="21188"/>
                  </a:lnTo>
                  <a:lnTo>
                    <a:pt x="8780" y="22348"/>
                  </a:lnTo>
                  <a:lnTo>
                    <a:pt x="7463" y="22670"/>
                  </a:lnTo>
                  <a:lnTo>
                    <a:pt x="6962" y="22793"/>
                  </a:lnTo>
                  <a:lnTo>
                    <a:pt x="5184" y="21662"/>
                  </a:lnTo>
                  <a:lnTo>
                    <a:pt x="3189" y="19891"/>
                  </a:lnTo>
                  <a:lnTo>
                    <a:pt x="1589" y="18010"/>
                  </a:lnTo>
                  <a:lnTo>
                    <a:pt x="1203" y="16965"/>
                  </a:lnTo>
                  <a:lnTo>
                    <a:pt x="1693" y="15695"/>
                  </a:lnTo>
                  <a:lnTo>
                    <a:pt x="1103" y="14722"/>
                  </a:lnTo>
                  <a:lnTo>
                    <a:pt x="246" y="12942"/>
                  </a:lnTo>
                  <a:lnTo>
                    <a:pt x="0" y="11550"/>
                  </a:lnTo>
                  <a:lnTo>
                    <a:pt x="9624" y="6623"/>
                  </a:lnTo>
                  <a:lnTo>
                    <a:pt x="15485" y="4096"/>
                  </a:lnTo>
                  <a:lnTo>
                    <a:pt x="18247" y="3331"/>
                  </a:lnTo>
                  <a:lnTo>
                    <a:pt x="18910" y="5870"/>
                  </a:lnTo>
                  <a:lnTo>
                    <a:pt x="19413" y="6676"/>
                  </a:lnTo>
                  <a:lnTo>
                    <a:pt x="20069" y="7199"/>
                  </a:lnTo>
                  <a:lnTo>
                    <a:pt x="20942" y="7302"/>
                  </a:lnTo>
                  <a:lnTo>
                    <a:pt x="21939" y="6676"/>
                  </a:lnTo>
                  <a:lnTo>
                    <a:pt x="23336" y="6015"/>
                  </a:lnTo>
                  <a:lnTo>
                    <a:pt x="25582" y="6322"/>
                  </a:lnTo>
                  <a:lnTo>
                    <a:pt x="27215" y="6933"/>
                  </a:lnTo>
                  <a:lnTo>
                    <a:pt x="27795" y="7567"/>
                  </a:lnTo>
                  <a:lnTo>
                    <a:pt x="28875" y="8171"/>
                  </a:lnTo>
                  <a:lnTo>
                    <a:pt x="30452" y="8315"/>
                  </a:lnTo>
                  <a:lnTo>
                    <a:pt x="33503" y="7161"/>
                  </a:lnTo>
                  <a:lnTo>
                    <a:pt x="36433" y="5402"/>
                  </a:lnTo>
                  <a:lnTo>
                    <a:pt x="37293" y="4180"/>
                  </a:lnTo>
                  <a:lnTo>
                    <a:pt x="37619" y="3073"/>
                  </a:lnTo>
                  <a:lnTo>
                    <a:pt x="39351" y="3805"/>
                  </a:lnTo>
                  <a:lnTo>
                    <a:pt x="40881" y="3967"/>
                  </a:lnTo>
                  <a:lnTo>
                    <a:pt x="41551" y="3642"/>
                  </a:lnTo>
                  <a:lnTo>
                    <a:pt x="41125" y="1866"/>
                  </a:lnTo>
                  <a:lnTo>
                    <a:pt x="42367" y="920"/>
                  </a:lnTo>
                  <a:lnTo>
                    <a:pt x="43749" y="482"/>
                  </a:lnTo>
                  <a:lnTo>
                    <a:pt x="44373" y="1250"/>
                  </a:lnTo>
                  <a:lnTo>
                    <a:pt x="45636" y="2033"/>
                  </a:lnTo>
                  <a:lnTo>
                    <a:pt x="46636" y="2038"/>
                  </a:lnTo>
                  <a:lnTo>
                    <a:pt x="49327" y="0"/>
                  </a:lnTo>
                  <a:lnTo>
                    <a:pt x="49957" y="403"/>
                  </a:lnTo>
                  <a:lnTo>
                    <a:pt x="50540" y="1128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15" name="ee4p_BG_1_37365">
              <a:extLst>
                <a:ext uri="{FF2B5EF4-FFF2-40B4-BE49-F238E27FC236}">
                  <a16:creationId xmlns:a16="http://schemas.microsoft.com/office/drawing/2014/main" id="{9BA8017E-FC50-F0B9-66E9-E9D397CF6C52}"/>
                </a:ext>
              </a:extLst>
            </p:cNvPr>
            <p:cNvSpPr>
              <a:spLocks noChangeAspect="1"/>
            </p:cNvSpPr>
            <p:nvPr>
              <p:custDataLst>
                <p:tags r:id="rId269"/>
              </p:custDataLst>
            </p:nvPr>
          </p:nvSpPr>
          <p:spPr>
            <a:xfrm>
              <a:off x="7135180" y="3325019"/>
              <a:ext cx="173319" cy="103277"/>
            </a:xfrm>
            <a:custGeom>
              <a:avLst/>
              <a:gdLst/>
              <a:ahLst/>
              <a:cxnLst/>
              <a:rect l="0" t="0" r="0" b="0"/>
              <a:pathLst>
                <a:path w="138010" h="80057">
                  <a:moveTo>
                    <a:pt x="138009" y="13408"/>
                  </a:moveTo>
                  <a:lnTo>
                    <a:pt x="137488" y="19904"/>
                  </a:lnTo>
                  <a:lnTo>
                    <a:pt x="135357" y="22918"/>
                  </a:lnTo>
                  <a:lnTo>
                    <a:pt x="132133" y="21908"/>
                  </a:lnTo>
                  <a:lnTo>
                    <a:pt x="128021" y="22749"/>
                  </a:lnTo>
                  <a:lnTo>
                    <a:pt x="125843" y="26172"/>
                  </a:lnTo>
                  <a:lnTo>
                    <a:pt x="124607" y="27186"/>
                  </a:lnTo>
                  <a:lnTo>
                    <a:pt x="123493" y="28378"/>
                  </a:lnTo>
                  <a:lnTo>
                    <a:pt x="122776" y="32816"/>
                  </a:lnTo>
                  <a:lnTo>
                    <a:pt x="122608" y="40070"/>
                  </a:lnTo>
                  <a:lnTo>
                    <a:pt x="121049" y="40954"/>
                  </a:lnTo>
                  <a:lnTo>
                    <a:pt x="119619" y="41224"/>
                  </a:lnTo>
                  <a:lnTo>
                    <a:pt x="113672" y="47590"/>
                  </a:lnTo>
                  <a:lnTo>
                    <a:pt x="117095" y="49378"/>
                  </a:lnTo>
                  <a:lnTo>
                    <a:pt x="118613" y="50738"/>
                  </a:lnTo>
                  <a:lnTo>
                    <a:pt x="121115" y="54516"/>
                  </a:lnTo>
                  <a:lnTo>
                    <a:pt x="124683" y="58784"/>
                  </a:lnTo>
                  <a:lnTo>
                    <a:pt x="125385" y="60865"/>
                  </a:lnTo>
                  <a:lnTo>
                    <a:pt x="122394" y="60399"/>
                  </a:lnTo>
                  <a:lnTo>
                    <a:pt x="121349" y="60540"/>
                  </a:lnTo>
                  <a:lnTo>
                    <a:pt x="120679" y="61197"/>
                  </a:lnTo>
                  <a:lnTo>
                    <a:pt x="119291" y="61064"/>
                  </a:lnTo>
                  <a:lnTo>
                    <a:pt x="117572" y="61070"/>
                  </a:lnTo>
                  <a:lnTo>
                    <a:pt x="115775" y="61824"/>
                  </a:lnTo>
                  <a:lnTo>
                    <a:pt x="114780" y="62145"/>
                  </a:lnTo>
                  <a:lnTo>
                    <a:pt x="113452" y="61453"/>
                  </a:lnTo>
                  <a:lnTo>
                    <a:pt x="110977" y="59378"/>
                  </a:lnTo>
                  <a:lnTo>
                    <a:pt x="109474" y="57931"/>
                  </a:lnTo>
                  <a:lnTo>
                    <a:pt x="108356" y="57566"/>
                  </a:lnTo>
                  <a:lnTo>
                    <a:pt x="107229" y="57996"/>
                  </a:lnTo>
                  <a:lnTo>
                    <a:pt x="103212" y="58486"/>
                  </a:lnTo>
                  <a:lnTo>
                    <a:pt x="102262" y="59330"/>
                  </a:lnTo>
                  <a:lnTo>
                    <a:pt x="100407" y="60260"/>
                  </a:lnTo>
                  <a:lnTo>
                    <a:pt x="98539" y="60703"/>
                  </a:lnTo>
                  <a:lnTo>
                    <a:pt x="95860" y="61017"/>
                  </a:lnTo>
                  <a:lnTo>
                    <a:pt x="94447" y="60975"/>
                  </a:lnTo>
                  <a:lnTo>
                    <a:pt x="93659" y="61425"/>
                  </a:lnTo>
                  <a:lnTo>
                    <a:pt x="92996" y="62784"/>
                  </a:lnTo>
                  <a:lnTo>
                    <a:pt x="92545" y="64111"/>
                  </a:lnTo>
                  <a:lnTo>
                    <a:pt x="92150" y="64649"/>
                  </a:lnTo>
                  <a:lnTo>
                    <a:pt x="88809" y="65306"/>
                  </a:lnTo>
                  <a:lnTo>
                    <a:pt x="88077" y="66068"/>
                  </a:lnTo>
                  <a:lnTo>
                    <a:pt x="87872" y="66813"/>
                  </a:lnTo>
                  <a:lnTo>
                    <a:pt x="87936" y="67558"/>
                  </a:lnTo>
                  <a:lnTo>
                    <a:pt x="85276" y="66837"/>
                  </a:lnTo>
                  <a:lnTo>
                    <a:pt x="83216" y="67316"/>
                  </a:lnTo>
                  <a:lnTo>
                    <a:pt x="82732" y="67887"/>
                  </a:lnTo>
                  <a:lnTo>
                    <a:pt x="82301" y="68705"/>
                  </a:lnTo>
                  <a:lnTo>
                    <a:pt x="82543" y="69580"/>
                  </a:lnTo>
                  <a:lnTo>
                    <a:pt x="83300" y="70426"/>
                  </a:lnTo>
                  <a:lnTo>
                    <a:pt x="84015" y="72718"/>
                  </a:lnTo>
                  <a:lnTo>
                    <a:pt x="84272" y="75007"/>
                  </a:lnTo>
                  <a:lnTo>
                    <a:pt x="83834" y="76304"/>
                  </a:lnTo>
                  <a:lnTo>
                    <a:pt x="82309" y="77230"/>
                  </a:lnTo>
                  <a:lnTo>
                    <a:pt x="79146" y="78253"/>
                  </a:lnTo>
                  <a:lnTo>
                    <a:pt x="76086" y="77764"/>
                  </a:lnTo>
                  <a:lnTo>
                    <a:pt x="74736" y="78170"/>
                  </a:lnTo>
                  <a:lnTo>
                    <a:pt x="72471" y="78300"/>
                  </a:lnTo>
                  <a:lnTo>
                    <a:pt x="70383" y="78572"/>
                  </a:lnTo>
                  <a:lnTo>
                    <a:pt x="67174" y="79507"/>
                  </a:lnTo>
                  <a:lnTo>
                    <a:pt x="64283" y="80056"/>
                  </a:lnTo>
                  <a:lnTo>
                    <a:pt x="61678" y="78151"/>
                  </a:lnTo>
                  <a:lnTo>
                    <a:pt x="58586" y="76852"/>
                  </a:lnTo>
                  <a:lnTo>
                    <a:pt x="55343" y="76080"/>
                  </a:lnTo>
                  <a:lnTo>
                    <a:pt x="54214" y="76643"/>
                  </a:lnTo>
                  <a:lnTo>
                    <a:pt x="53725" y="77087"/>
                  </a:lnTo>
                  <a:lnTo>
                    <a:pt x="51013" y="75401"/>
                  </a:lnTo>
                  <a:lnTo>
                    <a:pt x="49795" y="74800"/>
                  </a:lnTo>
                  <a:lnTo>
                    <a:pt x="49206" y="74148"/>
                  </a:lnTo>
                  <a:lnTo>
                    <a:pt x="48076" y="71898"/>
                  </a:lnTo>
                  <a:lnTo>
                    <a:pt x="47405" y="71827"/>
                  </a:lnTo>
                  <a:lnTo>
                    <a:pt x="45168" y="72665"/>
                  </a:lnTo>
                  <a:lnTo>
                    <a:pt x="43017" y="72625"/>
                  </a:lnTo>
                  <a:lnTo>
                    <a:pt x="41711" y="72472"/>
                  </a:lnTo>
                  <a:lnTo>
                    <a:pt x="37856" y="72566"/>
                  </a:lnTo>
                  <a:lnTo>
                    <a:pt x="37345" y="74103"/>
                  </a:lnTo>
                  <a:lnTo>
                    <a:pt x="36867" y="74342"/>
                  </a:lnTo>
                  <a:lnTo>
                    <a:pt x="36031" y="74547"/>
                  </a:lnTo>
                  <a:lnTo>
                    <a:pt x="33982" y="74450"/>
                  </a:lnTo>
                  <a:lnTo>
                    <a:pt x="31361" y="75585"/>
                  </a:lnTo>
                  <a:lnTo>
                    <a:pt x="28549" y="76277"/>
                  </a:lnTo>
                  <a:lnTo>
                    <a:pt x="26353" y="76296"/>
                  </a:lnTo>
                  <a:lnTo>
                    <a:pt x="24088" y="75961"/>
                  </a:lnTo>
                  <a:lnTo>
                    <a:pt x="22732" y="76201"/>
                  </a:lnTo>
                  <a:lnTo>
                    <a:pt x="19808" y="76325"/>
                  </a:lnTo>
                  <a:lnTo>
                    <a:pt x="17953" y="77985"/>
                  </a:lnTo>
                  <a:lnTo>
                    <a:pt x="15070" y="77891"/>
                  </a:lnTo>
                  <a:lnTo>
                    <a:pt x="12648" y="77610"/>
                  </a:lnTo>
                  <a:lnTo>
                    <a:pt x="12950" y="77087"/>
                  </a:lnTo>
                  <a:lnTo>
                    <a:pt x="13431" y="70494"/>
                  </a:lnTo>
                  <a:lnTo>
                    <a:pt x="14630" y="67548"/>
                  </a:lnTo>
                  <a:lnTo>
                    <a:pt x="14584" y="66942"/>
                  </a:lnTo>
                  <a:lnTo>
                    <a:pt x="14327" y="66482"/>
                  </a:lnTo>
                  <a:lnTo>
                    <a:pt x="13265" y="66008"/>
                  </a:lnTo>
                  <a:lnTo>
                    <a:pt x="12496" y="64415"/>
                  </a:lnTo>
                  <a:lnTo>
                    <a:pt x="10896" y="60213"/>
                  </a:lnTo>
                  <a:lnTo>
                    <a:pt x="9996" y="59361"/>
                  </a:lnTo>
                  <a:lnTo>
                    <a:pt x="7480" y="58473"/>
                  </a:lnTo>
                  <a:lnTo>
                    <a:pt x="5277" y="57259"/>
                  </a:lnTo>
                  <a:lnTo>
                    <a:pt x="3410" y="55657"/>
                  </a:lnTo>
                  <a:lnTo>
                    <a:pt x="0" y="51696"/>
                  </a:lnTo>
                  <a:lnTo>
                    <a:pt x="1725" y="51300"/>
                  </a:lnTo>
                  <a:lnTo>
                    <a:pt x="2248" y="50493"/>
                  </a:lnTo>
                  <a:lnTo>
                    <a:pt x="3969" y="48313"/>
                  </a:lnTo>
                  <a:lnTo>
                    <a:pt x="4166" y="47240"/>
                  </a:lnTo>
                  <a:lnTo>
                    <a:pt x="3984" y="46634"/>
                  </a:lnTo>
                  <a:lnTo>
                    <a:pt x="2831" y="45583"/>
                  </a:lnTo>
                  <a:lnTo>
                    <a:pt x="2039" y="43293"/>
                  </a:lnTo>
                  <a:lnTo>
                    <a:pt x="2637" y="41146"/>
                  </a:lnTo>
                  <a:lnTo>
                    <a:pt x="2688" y="40042"/>
                  </a:lnTo>
                  <a:lnTo>
                    <a:pt x="2105" y="38949"/>
                  </a:lnTo>
                  <a:lnTo>
                    <a:pt x="2714" y="37589"/>
                  </a:lnTo>
                  <a:lnTo>
                    <a:pt x="3952" y="36844"/>
                  </a:lnTo>
                  <a:lnTo>
                    <a:pt x="4733" y="36626"/>
                  </a:lnTo>
                  <a:lnTo>
                    <a:pt x="8007" y="36480"/>
                  </a:lnTo>
                  <a:lnTo>
                    <a:pt x="10080" y="33753"/>
                  </a:lnTo>
                  <a:lnTo>
                    <a:pt x="11339" y="32881"/>
                  </a:lnTo>
                  <a:lnTo>
                    <a:pt x="12630" y="31334"/>
                  </a:lnTo>
                  <a:lnTo>
                    <a:pt x="13229" y="30768"/>
                  </a:lnTo>
                  <a:lnTo>
                    <a:pt x="13796" y="29562"/>
                  </a:lnTo>
                  <a:lnTo>
                    <a:pt x="13993" y="28328"/>
                  </a:lnTo>
                  <a:lnTo>
                    <a:pt x="11399" y="26600"/>
                  </a:lnTo>
                  <a:lnTo>
                    <a:pt x="10518" y="25300"/>
                  </a:lnTo>
                  <a:lnTo>
                    <a:pt x="9365" y="23864"/>
                  </a:lnTo>
                  <a:lnTo>
                    <a:pt x="7804" y="22871"/>
                  </a:lnTo>
                  <a:lnTo>
                    <a:pt x="4655" y="21165"/>
                  </a:lnTo>
                  <a:lnTo>
                    <a:pt x="3429" y="19432"/>
                  </a:lnTo>
                  <a:lnTo>
                    <a:pt x="2876" y="17185"/>
                  </a:lnTo>
                  <a:lnTo>
                    <a:pt x="2040" y="15480"/>
                  </a:lnTo>
                  <a:lnTo>
                    <a:pt x="1123" y="14369"/>
                  </a:lnTo>
                  <a:lnTo>
                    <a:pt x="948" y="13465"/>
                  </a:lnTo>
                  <a:lnTo>
                    <a:pt x="566" y="12354"/>
                  </a:lnTo>
                  <a:lnTo>
                    <a:pt x="473" y="10171"/>
                  </a:lnTo>
                  <a:lnTo>
                    <a:pt x="1216" y="7267"/>
                  </a:lnTo>
                  <a:lnTo>
                    <a:pt x="1697" y="6241"/>
                  </a:lnTo>
                  <a:lnTo>
                    <a:pt x="2764" y="5955"/>
                  </a:lnTo>
                  <a:lnTo>
                    <a:pt x="5603" y="4404"/>
                  </a:lnTo>
                  <a:lnTo>
                    <a:pt x="5735" y="2418"/>
                  </a:lnTo>
                  <a:lnTo>
                    <a:pt x="6247" y="1185"/>
                  </a:lnTo>
                  <a:lnTo>
                    <a:pt x="7152" y="477"/>
                  </a:lnTo>
                  <a:lnTo>
                    <a:pt x="7983" y="0"/>
                  </a:lnTo>
                  <a:lnTo>
                    <a:pt x="9534" y="1155"/>
                  </a:lnTo>
                  <a:lnTo>
                    <a:pt x="13298" y="2996"/>
                  </a:lnTo>
                  <a:lnTo>
                    <a:pt x="15135" y="4331"/>
                  </a:lnTo>
                  <a:lnTo>
                    <a:pt x="15044" y="5164"/>
                  </a:lnTo>
                  <a:lnTo>
                    <a:pt x="14181" y="5983"/>
                  </a:lnTo>
                  <a:lnTo>
                    <a:pt x="12544" y="6788"/>
                  </a:lnTo>
                  <a:lnTo>
                    <a:pt x="11591" y="7852"/>
                  </a:lnTo>
                  <a:lnTo>
                    <a:pt x="11330" y="9173"/>
                  </a:lnTo>
                  <a:lnTo>
                    <a:pt x="11579" y="10105"/>
                  </a:lnTo>
                  <a:lnTo>
                    <a:pt x="12714" y="10918"/>
                  </a:lnTo>
                  <a:lnTo>
                    <a:pt x="19471" y="9853"/>
                  </a:lnTo>
                  <a:lnTo>
                    <a:pt x="26325" y="10402"/>
                  </a:lnTo>
                  <a:lnTo>
                    <a:pt x="35528" y="12209"/>
                  </a:lnTo>
                  <a:lnTo>
                    <a:pt x="41631" y="12835"/>
                  </a:lnTo>
                  <a:lnTo>
                    <a:pt x="46137" y="12000"/>
                  </a:lnTo>
                  <a:lnTo>
                    <a:pt x="54488" y="13512"/>
                  </a:lnTo>
                  <a:lnTo>
                    <a:pt x="62259" y="14917"/>
                  </a:lnTo>
                  <a:lnTo>
                    <a:pt x="69720" y="15336"/>
                  </a:lnTo>
                  <a:lnTo>
                    <a:pt x="73900" y="14231"/>
                  </a:lnTo>
                  <a:lnTo>
                    <a:pt x="76835" y="12744"/>
                  </a:lnTo>
                  <a:lnTo>
                    <a:pt x="79368" y="9943"/>
                  </a:lnTo>
                  <a:lnTo>
                    <a:pt x="85613" y="6245"/>
                  </a:lnTo>
                  <a:lnTo>
                    <a:pt x="91659" y="4169"/>
                  </a:lnTo>
                  <a:lnTo>
                    <a:pt x="99586" y="2484"/>
                  </a:lnTo>
                  <a:lnTo>
                    <a:pt x="104875" y="1909"/>
                  </a:lnTo>
                  <a:lnTo>
                    <a:pt x="105622" y="2485"/>
                  </a:lnTo>
                  <a:lnTo>
                    <a:pt x="112359" y="5887"/>
                  </a:lnTo>
                  <a:lnTo>
                    <a:pt x="115359" y="5899"/>
                  </a:lnTo>
                  <a:lnTo>
                    <a:pt x="117788" y="6502"/>
                  </a:lnTo>
                  <a:lnTo>
                    <a:pt x="118669" y="7400"/>
                  </a:lnTo>
                  <a:lnTo>
                    <a:pt x="119284" y="7625"/>
                  </a:lnTo>
                  <a:lnTo>
                    <a:pt x="122506" y="6784"/>
                  </a:lnTo>
                  <a:lnTo>
                    <a:pt x="123936" y="8644"/>
                  </a:lnTo>
                  <a:lnTo>
                    <a:pt x="126170" y="11243"/>
                  </a:lnTo>
                  <a:lnTo>
                    <a:pt x="129973" y="12582"/>
                  </a:lnTo>
                  <a:lnTo>
                    <a:pt x="133362" y="13340"/>
                  </a:lnTo>
                  <a:lnTo>
                    <a:pt x="134428" y="13456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16" name="ee4p_BA_1_37365">
              <a:extLst>
                <a:ext uri="{FF2B5EF4-FFF2-40B4-BE49-F238E27FC236}">
                  <a16:creationId xmlns:a16="http://schemas.microsoft.com/office/drawing/2014/main" id="{037E791B-E3FA-C7FA-B7DB-7649C1F95216}"/>
                </a:ext>
              </a:extLst>
            </p:cNvPr>
            <p:cNvSpPr>
              <a:spLocks noChangeAspect="1"/>
            </p:cNvSpPr>
            <p:nvPr>
              <p:custDataLst>
                <p:tags r:id="rId270"/>
              </p:custDataLst>
            </p:nvPr>
          </p:nvSpPr>
          <p:spPr>
            <a:xfrm>
              <a:off x="6951696" y="3288482"/>
              <a:ext cx="106835" cy="94778"/>
            </a:xfrm>
            <a:custGeom>
              <a:avLst/>
              <a:gdLst/>
              <a:ahLst/>
              <a:cxnLst/>
              <a:rect l="0" t="0" r="0" b="0"/>
              <a:pathLst>
                <a:path w="85070" h="73469">
                  <a:moveTo>
                    <a:pt x="26137" y="0"/>
                  </a:moveTo>
                  <a:lnTo>
                    <a:pt x="30709" y="2871"/>
                  </a:lnTo>
                  <a:lnTo>
                    <a:pt x="32594" y="3301"/>
                  </a:lnTo>
                  <a:lnTo>
                    <a:pt x="33656" y="2904"/>
                  </a:lnTo>
                  <a:lnTo>
                    <a:pt x="35103" y="3085"/>
                  </a:lnTo>
                  <a:lnTo>
                    <a:pt x="38310" y="3924"/>
                  </a:lnTo>
                  <a:lnTo>
                    <a:pt x="39050" y="4278"/>
                  </a:lnTo>
                  <a:lnTo>
                    <a:pt x="40015" y="4218"/>
                  </a:lnTo>
                  <a:lnTo>
                    <a:pt x="42387" y="3098"/>
                  </a:lnTo>
                  <a:lnTo>
                    <a:pt x="43196" y="3237"/>
                  </a:lnTo>
                  <a:lnTo>
                    <a:pt x="45908" y="5434"/>
                  </a:lnTo>
                  <a:lnTo>
                    <a:pt x="47271" y="5458"/>
                  </a:lnTo>
                  <a:lnTo>
                    <a:pt x="48912" y="4510"/>
                  </a:lnTo>
                  <a:lnTo>
                    <a:pt x="49966" y="3692"/>
                  </a:lnTo>
                  <a:lnTo>
                    <a:pt x="53082" y="4305"/>
                  </a:lnTo>
                  <a:lnTo>
                    <a:pt x="54868" y="3935"/>
                  </a:lnTo>
                  <a:lnTo>
                    <a:pt x="56349" y="3897"/>
                  </a:lnTo>
                  <a:lnTo>
                    <a:pt x="57956" y="4273"/>
                  </a:lnTo>
                  <a:lnTo>
                    <a:pt x="59422" y="4781"/>
                  </a:lnTo>
                  <a:lnTo>
                    <a:pt x="60845" y="5223"/>
                  </a:lnTo>
                  <a:lnTo>
                    <a:pt x="64700" y="5453"/>
                  </a:lnTo>
                  <a:lnTo>
                    <a:pt x="66546" y="6845"/>
                  </a:lnTo>
                  <a:lnTo>
                    <a:pt x="67282" y="8192"/>
                  </a:lnTo>
                  <a:lnTo>
                    <a:pt x="67299" y="9012"/>
                  </a:lnTo>
                  <a:lnTo>
                    <a:pt x="67481" y="9895"/>
                  </a:lnTo>
                  <a:lnTo>
                    <a:pt x="68543" y="10759"/>
                  </a:lnTo>
                  <a:lnTo>
                    <a:pt x="70862" y="11252"/>
                  </a:lnTo>
                  <a:lnTo>
                    <a:pt x="72318" y="11143"/>
                  </a:lnTo>
                  <a:lnTo>
                    <a:pt x="73091" y="11084"/>
                  </a:lnTo>
                  <a:lnTo>
                    <a:pt x="75069" y="10312"/>
                  </a:lnTo>
                  <a:lnTo>
                    <a:pt x="77396" y="9912"/>
                  </a:lnTo>
                  <a:lnTo>
                    <a:pt x="79074" y="10371"/>
                  </a:lnTo>
                  <a:lnTo>
                    <a:pt x="79869" y="10823"/>
                  </a:lnTo>
                  <a:lnTo>
                    <a:pt x="80051" y="11433"/>
                  </a:lnTo>
                  <a:lnTo>
                    <a:pt x="79556" y="13558"/>
                  </a:lnTo>
                  <a:lnTo>
                    <a:pt x="78615" y="15845"/>
                  </a:lnTo>
                  <a:lnTo>
                    <a:pt x="77094" y="18220"/>
                  </a:lnTo>
                  <a:lnTo>
                    <a:pt x="75507" y="20458"/>
                  </a:lnTo>
                  <a:lnTo>
                    <a:pt x="75088" y="21642"/>
                  </a:lnTo>
                  <a:lnTo>
                    <a:pt x="74976" y="23524"/>
                  </a:lnTo>
                  <a:lnTo>
                    <a:pt x="74780" y="25007"/>
                  </a:lnTo>
                  <a:lnTo>
                    <a:pt x="74997" y="25813"/>
                  </a:lnTo>
                  <a:lnTo>
                    <a:pt x="75518" y="26566"/>
                  </a:lnTo>
                  <a:lnTo>
                    <a:pt x="77280" y="27163"/>
                  </a:lnTo>
                  <a:lnTo>
                    <a:pt x="79653" y="28647"/>
                  </a:lnTo>
                  <a:lnTo>
                    <a:pt x="81672" y="30581"/>
                  </a:lnTo>
                  <a:lnTo>
                    <a:pt x="84259" y="32776"/>
                  </a:lnTo>
                  <a:lnTo>
                    <a:pt x="85069" y="33589"/>
                  </a:lnTo>
                  <a:lnTo>
                    <a:pt x="85067" y="34465"/>
                  </a:lnTo>
                  <a:lnTo>
                    <a:pt x="84311" y="35114"/>
                  </a:lnTo>
                  <a:lnTo>
                    <a:pt x="82098" y="35360"/>
                  </a:lnTo>
                  <a:lnTo>
                    <a:pt x="79794" y="35168"/>
                  </a:lnTo>
                  <a:lnTo>
                    <a:pt x="78910" y="34945"/>
                  </a:lnTo>
                  <a:lnTo>
                    <a:pt x="78088" y="35213"/>
                  </a:lnTo>
                  <a:lnTo>
                    <a:pt x="77578" y="35711"/>
                  </a:lnTo>
                  <a:lnTo>
                    <a:pt x="77848" y="36299"/>
                  </a:lnTo>
                  <a:lnTo>
                    <a:pt x="80210" y="38962"/>
                  </a:lnTo>
                  <a:lnTo>
                    <a:pt x="82955" y="42775"/>
                  </a:lnTo>
                  <a:lnTo>
                    <a:pt x="83108" y="44412"/>
                  </a:lnTo>
                  <a:lnTo>
                    <a:pt x="82774" y="45698"/>
                  </a:lnTo>
                  <a:lnTo>
                    <a:pt x="82138" y="46590"/>
                  </a:lnTo>
                  <a:lnTo>
                    <a:pt x="80996" y="46442"/>
                  </a:lnTo>
                  <a:lnTo>
                    <a:pt x="80128" y="45744"/>
                  </a:lnTo>
                  <a:lnTo>
                    <a:pt x="78811" y="45789"/>
                  </a:lnTo>
                  <a:lnTo>
                    <a:pt x="77788" y="45989"/>
                  </a:lnTo>
                  <a:lnTo>
                    <a:pt x="76457" y="47365"/>
                  </a:lnTo>
                  <a:lnTo>
                    <a:pt x="75794" y="47307"/>
                  </a:lnTo>
                  <a:lnTo>
                    <a:pt x="74654" y="47515"/>
                  </a:lnTo>
                  <a:lnTo>
                    <a:pt x="73931" y="47785"/>
                  </a:lnTo>
                  <a:lnTo>
                    <a:pt x="72786" y="47386"/>
                  </a:lnTo>
                  <a:lnTo>
                    <a:pt x="71590" y="47122"/>
                  </a:lnTo>
                  <a:lnTo>
                    <a:pt x="71070" y="47544"/>
                  </a:lnTo>
                  <a:lnTo>
                    <a:pt x="70839" y="48350"/>
                  </a:lnTo>
                  <a:lnTo>
                    <a:pt x="71581" y="49813"/>
                  </a:lnTo>
                  <a:lnTo>
                    <a:pt x="72972" y="52102"/>
                  </a:lnTo>
                  <a:lnTo>
                    <a:pt x="72749" y="53846"/>
                  </a:lnTo>
                  <a:lnTo>
                    <a:pt x="71689" y="54035"/>
                  </a:lnTo>
                  <a:lnTo>
                    <a:pt x="70715" y="52582"/>
                  </a:lnTo>
                  <a:lnTo>
                    <a:pt x="69852" y="52347"/>
                  </a:lnTo>
                  <a:lnTo>
                    <a:pt x="68867" y="52397"/>
                  </a:lnTo>
                  <a:lnTo>
                    <a:pt x="66615" y="54085"/>
                  </a:lnTo>
                  <a:lnTo>
                    <a:pt x="64957" y="55502"/>
                  </a:lnTo>
                  <a:lnTo>
                    <a:pt x="64572" y="56491"/>
                  </a:lnTo>
                  <a:lnTo>
                    <a:pt x="63978" y="57573"/>
                  </a:lnTo>
                  <a:lnTo>
                    <a:pt x="63799" y="58353"/>
                  </a:lnTo>
                  <a:lnTo>
                    <a:pt x="63838" y="60952"/>
                  </a:lnTo>
                  <a:lnTo>
                    <a:pt x="60849" y="61368"/>
                  </a:lnTo>
                  <a:lnTo>
                    <a:pt x="60223" y="61750"/>
                  </a:lnTo>
                  <a:lnTo>
                    <a:pt x="59862" y="62539"/>
                  </a:lnTo>
                  <a:lnTo>
                    <a:pt x="60111" y="65869"/>
                  </a:lnTo>
                  <a:lnTo>
                    <a:pt x="60353" y="67657"/>
                  </a:lnTo>
                  <a:lnTo>
                    <a:pt x="62061" y="70412"/>
                  </a:lnTo>
                  <a:lnTo>
                    <a:pt x="62119" y="71282"/>
                  </a:lnTo>
                  <a:lnTo>
                    <a:pt x="61877" y="71856"/>
                  </a:lnTo>
                  <a:lnTo>
                    <a:pt x="60663" y="72948"/>
                  </a:lnTo>
                  <a:lnTo>
                    <a:pt x="60085" y="73340"/>
                  </a:lnTo>
                  <a:lnTo>
                    <a:pt x="59696" y="73468"/>
                  </a:lnTo>
                  <a:lnTo>
                    <a:pt x="57712" y="72749"/>
                  </a:lnTo>
                  <a:lnTo>
                    <a:pt x="56770" y="72409"/>
                  </a:lnTo>
                  <a:lnTo>
                    <a:pt x="52788" y="69974"/>
                  </a:lnTo>
                  <a:lnTo>
                    <a:pt x="51033" y="68619"/>
                  </a:lnTo>
                  <a:lnTo>
                    <a:pt x="48254" y="66850"/>
                  </a:lnTo>
                  <a:lnTo>
                    <a:pt x="46539" y="65843"/>
                  </a:lnTo>
                  <a:lnTo>
                    <a:pt x="45669" y="64312"/>
                  </a:lnTo>
                  <a:lnTo>
                    <a:pt x="44304" y="63958"/>
                  </a:lnTo>
                  <a:lnTo>
                    <a:pt x="42697" y="64450"/>
                  </a:lnTo>
                  <a:lnTo>
                    <a:pt x="40875" y="63345"/>
                  </a:lnTo>
                  <a:lnTo>
                    <a:pt x="42164" y="62772"/>
                  </a:lnTo>
                  <a:lnTo>
                    <a:pt x="42482" y="62227"/>
                  </a:lnTo>
                  <a:lnTo>
                    <a:pt x="42320" y="61517"/>
                  </a:lnTo>
                  <a:lnTo>
                    <a:pt x="41752" y="60547"/>
                  </a:lnTo>
                  <a:lnTo>
                    <a:pt x="36830" y="56358"/>
                  </a:lnTo>
                  <a:lnTo>
                    <a:pt x="34416" y="53492"/>
                  </a:lnTo>
                  <a:lnTo>
                    <a:pt x="34023" y="52464"/>
                  </a:lnTo>
                  <a:lnTo>
                    <a:pt x="33991" y="49723"/>
                  </a:lnTo>
                  <a:lnTo>
                    <a:pt x="33421" y="49064"/>
                  </a:lnTo>
                  <a:lnTo>
                    <a:pt x="29806" y="47816"/>
                  </a:lnTo>
                  <a:lnTo>
                    <a:pt x="25766" y="44246"/>
                  </a:lnTo>
                  <a:lnTo>
                    <a:pt x="21600" y="40744"/>
                  </a:lnTo>
                  <a:lnTo>
                    <a:pt x="21030" y="39766"/>
                  </a:lnTo>
                  <a:lnTo>
                    <a:pt x="18881" y="37114"/>
                  </a:lnTo>
                  <a:lnTo>
                    <a:pt x="16262" y="34695"/>
                  </a:lnTo>
                  <a:lnTo>
                    <a:pt x="14172" y="33151"/>
                  </a:lnTo>
                  <a:lnTo>
                    <a:pt x="12460" y="31394"/>
                  </a:lnTo>
                  <a:lnTo>
                    <a:pt x="10561" y="28937"/>
                  </a:lnTo>
                  <a:lnTo>
                    <a:pt x="9579" y="25223"/>
                  </a:lnTo>
                  <a:lnTo>
                    <a:pt x="8705" y="21916"/>
                  </a:lnTo>
                  <a:lnTo>
                    <a:pt x="8111" y="20630"/>
                  </a:lnTo>
                  <a:lnTo>
                    <a:pt x="6908" y="20179"/>
                  </a:lnTo>
                  <a:lnTo>
                    <a:pt x="3172" y="16249"/>
                  </a:lnTo>
                  <a:lnTo>
                    <a:pt x="0" y="13963"/>
                  </a:lnTo>
                  <a:lnTo>
                    <a:pt x="30" y="11492"/>
                  </a:lnTo>
                  <a:lnTo>
                    <a:pt x="550" y="7365"/>
                  </a:lnTo>
                  <a:lnTo>
                    <a:pt x="1138" y="2674"/>
                  </a:lnTo>
                  <a:lnTo>
                    <a:pt x="1907" y="2022"/>
                  </a:lnTo>
                  <a:lnTo>
                    <a:pt x="3353" y="1667"/>
                  </a:lnTo>
                  <a:lnTo>
                    <a:pt x="5010" y="1803"/>
                  </a:lnTo>
                  <a:lnTo>
                    <a:pt x="6450" y="2383"/>
                  </a:lnTo>
                  <a:lnTo>
                    <a:pt x="9303" y="5595"/>
                  </a:lnTo>
                  <a:lnTo>
                    <a:pt x="10933" y="6843"/>
                  </a:lnTo>
                  <a:lnTo>
                    <a:pt x="12311" y="7329"/>
                  </a:lnTo>
                  <a:lnTo>
                    <a:pt x="13896" y="5975"/>
                  </a:lnTo>
                  <a:lnTo>
                    <a:pt x="15852" y="3138"/>
                  </a:lnTo>
                  <a:lnTo>
                    <a:pt x="17558" y="1640"/>
                  </a:lnTo>
                  <a:lnTo>
                    <a:pt x="23311" y="2183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17" name="ee4p_BY_1_37365">
              <a:extLst>
                <a:ext uri="{FF2B5EF4-FFF2-40B4-BE49-F238E27FC236}">
                  <a16:creationId xmlns:a16="http://schemas.microsoft.com/office/drawing/2014/main" id="{545F40B4-6B5B-A7FE-7013-F45A97B54B50}"/>
                </a:ext>
              </a:extLst>
            </p:cNvPr>
            <p:cNvSpPr>
              <a:spLocks noChangeAspect="1"/>
            </p:cNvSpPr>
            <p:nvPr>
              <p:custDataLst>
                <p:tags r:id="rId271"/>
              </p:custDataLst>
            </p:nvPr>
          </p:nvSpPr>
          <p:spPr>
            <a:xfrm>
              <a:off x="7158257" y="2879349"/>
              <a:ext cx="264787" cy="190359"/>
            </a:xfrm>
            <a:custGeom>
              <a:avLst/>
              <a:gdLst/>
              <a:ahLst/>
              <a:cxnLst/>
              <a:rect l="0" t="0" r="0" b="0"/>
              <a:pathLst>
                <a:path w="210844" h="147561">
                  <a:moveTo>
                    <a:pt x="109961" y="90"/>
                  </a:moveTo>
                  <a:lnTo>
                    <a:pt x="112975" y="2805"/>
                  </a:lnTo>
                  <a:lnTo>
                    <a:pt x="113683" y="2911"/>
                  </a:lnTo>
                  <a:lnTo>
                    <a:pt x="115359" y="1844"/>
                  </a:lnTo>
                  <a:lnTo>
                    <a:pt x="115689" y="1773"/>
                  </a:lnTo>
                  <a:lnTo>
                    <a:pt x="119160" y="1680"/>
                  </a:lnTo>
                  <a:lnTo>
                    <a:pt x="120773" y="2623"/>
                  </a:lnTo>
                  <a:lnTo>
                    <a:pt x="121965" y="4466"/>
                  </a:lnTo>
                  <a:lnTo>
                    <a:pt x="123070" y="5939"/>
                  </a:lnTo>
                  <a:lnTo>
                    <a:pt x="124262" y="6337"/>
                  </a:lnTo>
                  <a:lnTo>
                    <a:pt x="127639" y="4483"/>
                  </a:lnTo>
                  <a:lnTo>
                    <a:pt x="129503" y="3870"/>
                  </a:lnTo>
                  <a:lnTo>
                    <a:pt x="130734" y="3890"/>
                  </a:lnTo>
                  <a:lnTo>
                    <a:pt x="135059" y="5549"/>
                  </a:lnTo>
                  <a:lnTo>
                    <a:pt x="137093" y="6457"/>
                  </a:lnTo>
                  <a:lnTo>
                    <a:pt x="137560" y="7283"/>
                  </a:lnTo>
                  <a:lnTo>
                    <a:pt x="137601" y="8252"/>
                  </a:lnTo>
                  <a:lnTo>
                    <a:pt x="137052" y="9693"/>
                  </a:lnTo>
                  <a:lnTo>
                    <a:pt x="136616" y="11258"/>
                  </a:lnTo>
                  <a:lnTo>
                    <a:pt x="137933" y="13107"/>
                  </a:lnTo>
                  <a:lnTo>
                    <a:pt x="139464" y="14357"/>
                  </a:lnTo>
                  <a:lnTo>
                    <a:pt x="142733" y="12289"/>
                  </a:lnTo>
                  <a:lnTo>
                    <a:pt x="143938" y="11713"/>
                  </a:lnTo>
                  <a:lnTo>
                    <a:pt x="145256" y="11692"/>
                  </a:lnTo>
                  <a:lnTo>
                    <a:pt x="147020" y="10924"/>
                  </a:lnTo>
                  <a:lnTo>
                    <a:pt x="148296" y="9768"/>
                  </a:lnTo>
                  <a:lnTo>
                    <a:pt x="149521" y="9365"/>
                  </a:lnTo>
                  <a:lnTo>
                    <a:pt x="151857" y="9640"/>
                  </a:lnTo>
                  <a:lnTo>
                    <a:pt x="156078" y="9367"/>
                  </a:lnTo>
                  <a:lnTo>
                    <a:pt x="161002" y="11182"/>
                  </a:lnTo>
                  <a:lnTo>
                    <a:pt x="161425" y="11742"/>
                  </a:lnTo>
                  <a:lnTo>
                    <a:pt x="163887" y="13869"/>
                  </a:lnTo>
                  <a:lnTo>
                    <a:pt x="164746" y="14925"/>
                  </a:lnTo>
                  <a:lnTo>
                    <a:pt x="165558" y="15260"/>
                  </a:lnTo>
                  <a:lnTo>
                    <a:pt x="166871" y="16294"/>
                  </a:lnTo>
                  <a:lnTo>
                    <a:pt x="168620" y="16944"/>
                  </a:lnTo>
                  <a:lnTo>
                    <a:pt x="169840" y="16746"/>
                  </a:lnTo>
                  <a:lnTo>
                    <a:pt x="170421" y="17091"/>
                  </a:lnTo>
                  <a:lnTo>
                    <a:pt x="170965" y="17908"/>
                  </a:lnTo>
                  <a:lnTo>
                    <a:pt x="171008" y="19292"/>
                  </a:lnTo>
                  <a:lnTo>
                    <a:pt x="170827" y="23249"/>
                  </a:lnTo>
                  <a:lnTo>
                    <a:pt x="169970" y="24393"/>
                  </a:lnTo>
                  <a:lnTo>
                    <a:pt x="169067" y="25323"/>
                  </a:lnTo>
                  <a:lnTo>
                    <a:pt x="168836" y="26042"/>
                  </a:lnTo>
                  <a:lnTo>
                    <a:pt x="168923" y="26915"/>
                  </a:lnTo>
                  <a:lnTo>
                    <a:pt x="170315" y="28619"/>
                  </a:lnTo>
                  <a:lnTo>
                    <a:pt x="172116" y="31265"/>
                  </a:lnTo>
                  <a:lnTo>
                    <a:pt x="172533" y="32798"/>
                  </a:lnTo>
                  <a:lnTo>
                    <a:pt x="172533" y="33946"/>
                  </a:lnTo>
                  <a:lnTo>
                    <a:pt x="170080" y="37319"/>
                  </a:lnTo>
                  <a:lnTo>
                    <a:pt x="169264" y="38110"/>
                  </a:lnTo>
                  <a:lnTo>
                    <a:pt x="168702" y="39769"/>
                  </a:lnTo>
                  <a:lnTo>
                    <a:pt x="168404" y="41453"/>
                  </a:lnTo>
                  <a:lnTo>
                    <a:pt x="168577" y="42151"/>
                  </a:lnTo>
                  <a:lnTo>
                    <a:pt x="172675" y="44827"/>
                  </a:lnTo>
                  <a:lnTo>
                    <a:pt x="175707" y="46278"/>
                  </a:lnTo>
                  <a:lnTo>
                    <a:pt x="176390" y="46986"/>
                  </a:lnTo>
                  <a:lnTo>
                    <a:pt x="176450" y="47426"/>
                  </a:lnTo>
                  <a:lnTo>
                    <a:pt x="174837" y="50294"/>
                  </a:lnTo>
                  <a:lnTo>
                    <a:pt x="174680" y="51067"/>
                  </a:lnTo>
                  <a:lnTo>
                    <a:pt x="177111" y="52252"/>
                  </a:lnTo>
                  <a:lnTo>
                    <a:pt x="178454" y="54122"/>
                  </a:lnTo>
                  <a:lnTo>
                    <a:pt x="179640" y="57168"/>
                  </a:lnTo>
                  <a:lnTo>
                    <a:pt x="181950" y="60082"/>
                  </a:lnTo>
                  <a:lnTo>
                    <a:pt x="186921" y="62658"/>
                  </a:lnTo>
                  <a:lnTo>
                    <a:pt x="190538" y="64337"/>
                  </a:lnTo>
                  <a:lnTo>
                    <a:pt x="191289" y="65101"/>
                  </a:lnTo>
                  <a:lnTo>
                    <a:pt x="191551" y="66009"/>
                  </a:lnTo>
                  <a:lnTo>
                    <a:pt x="191274" y="68004"/>
                  </a:lnTo>
                  <a:lnTo>
                    <a:pt x="190339" y="70428"/>
                  </a:lnTo>
                  <a:lnTo>
                    <a:pt x="189702" y="71776"/>
                  </a:lnTo>
                  <a:lnTo>
                    <a:pt x="191175" y="72336"/>
                  </a:lnTo>
                  <a:lnTo>
                    <a:pt x="194965" y="72186"/>
                  </a:lnTo>
                  <a:lnTo>
                    <a:pt x="199569" y="72659"/>
                  </a:lnTo>
                  <a:lnTo>
                    <a:pt x="205092" y="75329"/>
                  </a:lnTo>
                  <a:lnTo>
                    <a:pt x="205109" y="76525"/>
                  </a:lnTo>
                  <a:lnTo>
                    <a:pt x="204539" y="77613"/>
                  </a:lnTo>
                  <a:lnTo>
                    <a:pt x="204920" y="78761"/>
                  </a:lnTo>
                  <a:lnTo>
                    <a:pt x="205522" y="79734"/>
                  </a:lnTo>
                  <a:lnTo>
                    <a:pt x="210301" y="82713"/>
                  </a:lnTo>
                  <a:lnTo>
                    <a:pt x="210758" y="83577"/>
                  </a:lnTo>
                  <a:lnTo>
                    <a:pt x="210843" y="85022"/>
                  </a:lnTo>
                  <a:lnTo>
                    <a:pt x="210711" y="86078"/>
                  </a:lnTo>
                  <a:lnTo>
                    <a:pt x="209387" y="86301"/>
                  </a:lnTo>
                  <a:lnTo>
                    <a:pt x="207919" y="86797"/>
                  </a:lnTo>
                  <a:lnTo>
                    <a:pt x="205516" y="88062"/>
                  </a:lnTo>
                  <a:lnTo>
                    <a:pt x="204563" y="89856"/>
                  </a:lnTo>
                  <a:lnTo>
                    <a:pt x="200681" y="92323"/>
                  </a:lnTo>
                  <a:lnTo>
                    <a:pt x="198277" y="93439"/>
                  </a:lnTo>
                  <a:lnTo>
                    <a:pt x="196364" y="93490"/>
                  </a:lnTo>
                  <a:lnTo>
                    <a:pt x="191814" y="92988"/>
                  </a:lnTo>
                  <a:lnTo>
                    <a:pt x="190216" y="91768"/>
                  </a:lnTo>
                  <a:lnTo>
                    <a:pt x="189553" y="90649"/>
                  </a:lnTo>
                  <a:lnTo>
                    <a:pt x="187802" y="90146"/>
                  </a:lnTo>
                  <a:lnTo>
                    <a:pt x="185474" y="90099"/>
                  </a:lnTo>
                  <a:lnTo>
                    <a:pt x="182266" y="90293"/>
                  </a:lnTo>
                  <a:lnTo>
                    <a:pt x="181613" y="90630"/>
                  </a:lnTo>
                  <a:lnTo>
                    <a:pt x="181087" y="92005"/>
                  </a:lnTo>
                  <a:lnTo>
                    <a:pt x="179724" y="94346"/>
                  </a:lnTo>
                  <a:lnTo>
                    <a:pt x="178748" y="95670"/>
                  </a:lnTo>
                  <a:lnTo>
                    <a:pt x="179551" y="96476"/>
                  </a:lnTo>
                  <a:lnTo>
                    <a:pt x="180832" y="98162"/>
                  </a:lnTo>
                  <a:lnTo>
                    <a:pt x="182816" y="100304"/>
                  </a:lnTo>
                  <a:lnTo>
                    <a:pt x="184859" y="102204"/>
                  </a:lnTo>
                  <a:lnTo>
                    <a:pt x="185515" y="103369"/>
                  </a:lnTo>
                  <a:lnTo>
                    <a:pt x="185485" y="104198"/>
                  </a:lnTo>
                  <a:lnTo>
                    <a:pt x="184511" y="105174"/>
                  </a:lnTo>
                  <a:lnTo>
                    <a:pt x="184660" y="107134"/>
                  </a:lnTo>
                  <a:lnTo>
                    <a:pt x="186645" y="109720"/>
                  </a:lnTo>
                  <a:lnTo>
                    <a:pt x="185973" y="110128"/>
                  </a:lnTo>
                  <a:lnTo>
                    <a:pt x="185775" y="113295"/>
                  </a:lnTo>
                  <a:lnTo>
                    <a:pt x="185792" y="116673"/>
                  </a:lnTo>
                  <a:lnTo>
                    <a:pt x="186327" y="117489"/>
                  </a:lnTo>
                  <a:lnTo>
                    <a:pt x="187396" y="118160"/>
                  </a:lnTo>
                  <a:lnTo>
                    <a:pt x="188297" y="119392"/>
                  </a:lnTo>
                  <a:lnTo>
                    <a:pt x="189800" y="122202"/>
                  </a:lnTo>
                  <a:lnTo>
                    <a:pt x="189905" y="122935"/>
                  </a:lnTo>
                  <a:lnTo>
                    <a:pt x="185712" y="122727"/>
                  </a:lnTo>
                  <a:lnTo>
                    <a:pt x="180676" y="122808"/>
                  </a:lnTo>
                  <a:lnTo>
                    <a:pt x="177845" y="124440"/>
                  </a:lnTo>
                  <a:lnTo>
                    <a:pt x="176750" y="124064"/>
                  </a:lnTo>
                  <a:lnTo>
                    <a:pt x="174779" y="123649"/>
                  </a:lnTo>
                  <a:lnTo>
                    <a:pt x="172598" y="124559"/>
                  </a:lnTo>
                  <a:lnTo>
                    <a:pt x="169614" y="127313"/>
                  </a:lnTo>
                  <a:lnTo>
                    <a:pt x="167614" y="129024"/>
                  </a:lnTo>
                  <a:lnTo>
                    <a:pt x="165668" y="131416"/>
                  </a:lnTo>
                  <a:lnTo>
                    <a:pt x="165053" y="132715"/>
                  </a:lnTo>
                  <a:lnTo>
                    <a:pt x="163824" y="135105"/>
                  </a:lnTo>
                  <a:lnTo>
                    <a:pt x="162699" y="137832"/>
                  </a:lnTo>
                  <a:lnTo>
                    <a:pt x="163312" y="139739"/>
                  </a:lnTo>
                  <a:lnTo>
                    <a:pt x="164233" y="141510"/>
                  </a:lnTo>
                  <a:lnTo>
                    <a:pt x="164440" y="143416"/>
                  </a:lnTo>
                  <a:lnTo>
                    <a:pt x="164900" y="144910"/>
                  </a:lnTo>
                  <a:lnTo>
                    <a:pt x="163671" y="145997"/>
                  </a:lnTo>
                  <a:lnTo>
                    <a:pt x="162954" y="147560"/>
                  </a:lnTo>
                  <a:lnTo>
                    <a:pt x="160853" y="147289"/>
                  </a:lnTo>
                  <a:lnTo>
                    <a:pt x="158286" y="145787"/>
                  </a:lnTo>
                  <a:lnTo>
                    <a:pt x="157746" y="143614"/>
                  </a:lnTo>
                  <a:lnTo>
                    <a:pt x="155768" y="142098"/>
                  </a:lnTo>
                  <a:lnTo>
                    <a:pt x="154468" y="141315"/>
                  </a:lnTo>
                  <a:lnTo>
                    <a:pt x="152324" y="141193"/>
                  </a:lnTo>
                  <a:lnTo>
                    <a:pt x="148896" y="141899"/>
                  </a:lnTo>
                  <a:lnTo>
                    <a:pt x="144414" y="142441"/>
                  </a:lnTo>
                  <a:lnTo>
                    <a:pt x="141032" y="142587"/>
                  </a:lnTo>
                  <a:lnTo>
                    <a:pt x="139186" y="143357"/>
                  </a:lnTo>
                  <a:lnTo>
                    <a:pt x="136463" y="144114"/>
                  </a:lnTo>
                  <a:lnTo>
                    <a:pt x="135409" y="143219"/>
                  </a:lnTo>
                  <a:lnTo>
                    <a:pt x="133897" y="140753"/>
                  </a:lnTo>
                  <a:lnTo>
                    <a:pt x="132653" y="138295"/>
                  </a:lnTo>
                  <a:lnTo>
                    <a:pt x="131800" y="137216"/>
                  </a:lnTo>
                  <a:lnTo>
                    <a:pt x="131058" y="136914"/>
                  </a:lnTo>
                  <a:lnTo>
                    <a:pt x="130144" y="136976"/>
                  </a:lnTo>
                  <a:lnTo>
                    <a:pt x="129090" y="137756"/>
                  </a:lnTo>
                  <a:lnTo>
                    <a:pt x="128309" y="138555"/>
                  </a:lnTo>
                  <a:lnTo>
                    <a:pt x="127199" y="138838"/>
                  </a:lnTo>
                  <a:lnTo>
                    <a:pt x="125474" y="139484"/>
                  </a:lnTo>
                  <a:lnTo>
                    <a:pt x="124230" y="140361"/>
                  </a:lnTo>
                  <a:lnTo>
                    <a:pt x="122859" y="142622"/>
                  </a:lnTo>
                  <a:lnTo>
                    <a:pt x="121952" y="142461"/>
                  </a:lnTo>
                  <a:lnTo>
                    <a:pt x="121012" y="141942"/>
                  </a:lnTo>
                  <a:lnTo>
                    <a:pt x="119935" y="139412"/>
                  </a:lnTo>
                  <a:lnTo>
                    <a:pt x="118454" y="138829"/>
                  </a:lnTo>
                  <a:lnTo>
                    <a:pt x="116078" y="138795"/>
                  </a:lnTo>
                  <a:lnTo>
                    <a:pt x="113137" y="138259"/>
                  </a:lnTo>
                  <a:lnTo>
                    <a:pt x="110753" y="137493"/>
                  </a:lnTo>
                  <a:lnTo>
                    <a:pt x="109883" y="137676"/>
                  </a:lnTo>
                  <a:lnTo>
                    <a:pt x="108464" y="138753"/>
                  </a:lnTo>
                  <a:lnTo>
                    <a:pt x="106927" y="138908"/>
                  </a:lnTo>
                  <a:lnTo>
                    <a:pt x="103562" y="137949"/>
                  </a:lnTo>
                  <a:lnTo>
                    <a:pt x="102904" y="138388"/>
                  </a:lnTo>
                  <a:lnTo>
                    <a:pt x="102020" y="139808"/>
                  </a:lnTo>
                  <a:lnTo>
                    <a:pt x="100969" y="141177"/>
                  </a:lnTo>
                  <a:lnTo>
                    <a:pt x="100055" y="141312"/>
                  </a:lnTo>
                  <a:lnTo>
                    <a:pt x="99542" y="140961"/>
                  </a:lnTo>
                  <a:lnTo>
                    <a:pt x="99829" y="138536"/>
                  </a:lnTo>
                  <a:lnTo>
                    <a:pt x="97875" y="137677"/>
                  </a:lnTo>
                  <a:lnTo>
                    <a:pt x="94579" y="137545"/>
                  </a:lnTo>
                  <a:lnTo>
                    <a:pt x="92264" y="137897"/>
                  </a:lnTo>
                  <a:lnTo>
                    <a:pt x="91128" y="137801"/>
                  </a:lnTo>
                  <a:lnTo>
                    <a:pt x="90550" y="137325"/>
                  </a:lnTo>
                  <a:lnTo>
                    <a:pt x="87717" y="133246"/>
                  </a:lnTo>
                  <a:lnTo>
                    <a:pt x="86216" y="132987"/>
                  </a:lnTo>
                  <a:lnTo>
                    <a:pt x="83534" y="133189"/>
                  </a:lnTo>
                  <a:lnTo>
                    <a:pt x="79567" y="132696"/>
                  </a:lnTo>
                  <a:lnTo>
                    <a:pt x="75000" y="131776"/>
                  </a:lnTo>
                  <a:lnTo>
                    <a:pt x="72491" y="131436"/>
                  </a:lnTo>
                  <a:lnTo>
                    <a:pt x="71184" y="130522"/>
                  </a:lnTo>
                  <a:lnTo>
                    <a:pt x="68371" y="130209"/>
                  </a:lnTo>
                  <a:lnTo>
                    <a:pt x="60813" y="128482"/>
                  </a:lnTo>
                  <a:lnTo>
                    <a:pt x="57727" y="128177"/>
                  </a:lnTo>
                  <a:lnTo>
                    <a:pt x="53184" y="128150"/>
                  </a:lnTo>
                  <a:lnTo>
                    <a:pt x="46261" y="127766"/>
                  </a:lnTo>
                  <a:lnTo>
                    <a:pt x="41828" y="127979"/>
                  </a:lnTo>
                  <a:lnTo>
                    <a:pt x="39774" y="128552"/>
                  </a:lnTo>
                  <a:lnTo>
                    <a:pt x="37399" y="128907"/>
                  </a:lnTo>
                  <a:lnTo>
                    <a:pt x="33391" y="129227"/>
                  </a:lnTo>
                  <a:lnTo>
                    <a:pt x="31758" y="129191"/>
                  </a:lnTo>
                  <a:lnTo>
                    <a:pt x="29191" y="129381"/>
                  </a:lnTo>
                  <a:lnTo>
                    <a:pt x="26243" y="129840"/>
                  </a:lnTo>
                  <a:lnTo>
                    <a:pt x="25399" y="130699"/>
                  </a:lnTo>
                  <a:lnTo>
                    <a:pt x="24434" y="132578"/>
                  </a:lnTo>
                  <a:lnTo>
                    <a:pt x="21046" y="135821"/>
                  </a:lnTo>
                  <a:lnTo>
                    <a:pt x="17761" y="137980"/>
                  </a:lnTo>
                  <a:lnTo>
                    <a:pt x="17161" y="138164"/>
                  </a:lnTo>
                  <a:lnTo>
                    <a:pt x="15239" y="137019"/>
                  </a:lnTo>
                  <a:lnTo>
                    <a:pt x="13635" y="136632"/>
                  </a:lnTo>
                  <a:lnTo>
                    <a:pt x="11758" y="136509"/>
                  </a:lnTo>
                  <a:lnTo>
                    <a:pt x="10428" y="136875"/>
                  </a:lnTo>
                  <a:lnTo>
                    <a:pt x="9586" y="137416"/>
                  </a:lnTo>
                  <a:lnTo>
                    <a:pt x="9700" y="139919"/>
                  </a:lnTo>
                  <a:lnTo>
                    <a:pt x="9513" y="140138"/>
                  </a:lnTo>
                  <a:lnTo>
                    <a:pt x="8061" y="137168"/>
                  </a:lnTo>
                  <a:lnTo>
                    <a:pt x="8176" y="134478"/>
                  </a:lnTo>
                  <a:lnTo>
                    <a:pt x="8983" y="132941"/>
                  </a:lnTo>
                  <a:lnTo>
                    <a:pt x="9964" y="131557"/>
                  </a:lnTo>
                  <a:lnTo>
                    <a:pt x="9560" y="129478"/>
                  </a:lnTo>
                  <a:lnTo>
                    <a:pt x="10525" y="126724"/>
                  </a:lnTo>
                  <a:lnTo>
                    <a:pt x="10555" y="124731"/>
                  </a:lnTo>
                  <a:lnTo>
                    <a:pt x="10132" y="123867"/>
                  </a:lnTo>
                  <a:lnTo>
                    <a:pt x="9351" y="122876"/>
                  </a:lnTo>
                  <a:lnTo>
                    <a:pt x="7210" y="121771"/>
                  </a:lnTo>
                  <a:lnTo>
                    <a:pt x="6265" y="120908"/>
                  </a:lnTo>
                  <a:lnTo>
                    <a:pt x="3362" y="119754"/>
                  </a:lnTo>
                  <a:lnTo>
                    <a:pt x="484" y="118316"/>
                  </a:lnTo>
                  <a:lnTo>
                    <a:pt x="0" y="117435"/>
                  </a:lnTo>
                  <a:lnTo>
                    <a:pt x="136" y="116831"/>
                  </a:lnTo>
                  <a:lnTo>
                    <a:pt x="642" y="115913"/>
                  </a:lnTo>
                  <a:lnTo>
                    <a:pt x="2835" y="113225"/>
                  </a:lnTo>
                  <a:lnTo>
                    <a:pt x="5215" y="110612"/>
                  </a:lnTo>
                  <a:lnTo>
                    <a:pt x="6733" y="109560"/>
                  </a:lnTo>
                  <a:lnTo>
                    <a:pt x="14807" y="106204"/>
                  </a:lnTo>
                  <a:lnTo>
                    <a:pt x="16057" y="105029"/>
                  </a:lnTo>
                  <a:lnTo>
                    <a:pt x="16371" y="103040"/>
                  </a:lnTo>
                  <a:lnTo>
                    <a:pt x="16390" y="101591"/>
                  </a:lnTo>
                  <a:lnTo>
                    <a:pt x="16237" y="99017"/>
                  </a:lnTo>
                  <a:lnTo>
                    <a:pt x="15744" y="95346"/>
                  </a:lnTo>
                  <a:lnTo>
                    <a:pt x="15127" y="92811"/>
                  </a:lnTo>
                  <a:lnTo>
                    <a:pt x="13581" y="88043"/>
                  </a:lnTo>
                  <a:lnTo>
                    <a:pt x="9372" y="78158"/>
                  </a:lnTo>
                  <a:lnTo>
                    <a:pt x="6846" y="67858"/>
                  </a:lnTo>
                  <a:lnTo>
                    <a:pt x="8491" y="68464"/>
                  </a:lnTo>
                  <a:lnTo>
                    <a:pt x="12352" y="68693"/>
                  </a:lnTo>
                  <a:lnTo>
                    <a:pt x="15423" y="67983"/>
                  </a:lnTo>
                  <a:lnTo>
                    <a:pt x="17012" y="67884"/>
                  </a:lnTo>
                  <a:lnTo>
                    <a:pt x="18429" y="68106"/>
                  </a:lnTo>
                  <a:lnTo>
                    <a:pt x="20538" y="67700"/>
                  </a:lnTo>
                  <a:lnTo>
                    <a:pt x="22471" y="67536"/>
                  </a:lnTo>
                  <a:lnTo>
                    <a:pt x="23473" y="68459"/>
                  </a:lnTo>
                  <a:lnTo>
                    <a:pt x="25272" y="69278"/>
                  </a:lnTo>
                  <a:lnTo>
                    <a:pt x="28822" y="68100"/>
                  </a:lnTo>
                  <a:lnTo>
                    <a:pt x="31966" y="66645"/>
                  </a:lnTo>
                  <a:lnTo>
                    <a:pt x="35226" y="66802"/>
                  </a:lnTo>
                  <a:lnTo>
                    <a:pt x="35693" y="66086"/>
                  </a:lnTo>
                  <a:lnTo>
                    <a:pt x="36498" y="62421"/>
                  </a:lnTo>
                  <a:lnTo>
                    <a:pt x="37468" y="61626"/>
                  </a:lnTo>
                  <a:lnTo>
                    <a:pt x="41372" y="61994"/>
                  </a:lnTo>
                  <a:lnTo>
                    <a:pt x="42817" y="61329"/>
                  </a:lnTo>
                  <a:lnTo>
                    <a:pt x="44322" y="59525"/>
                  </a:lnTo>
                  <a:lnTo>
                    <a:pt x="46626" y="58399"/>
                  </a:lnTo>
                  <a:lnTo>
                    <a:pt x="48548" y="58400"/>
                  </a:lnTo>
                  <a:lnTo>
                    <a:pt x="50550" y="57135"/>
                  </a:lnTo>
                  <a:lnTo>
                    <a:pt x="51534" y="57983"/>
                  </a:lnTo>
                  <a:lnTo>
                    <a:pt x="52013" y="59498"/>
                  </a:lnTo>
                  <a:lnTo>
                    <a:pt x="51351" y="60711"/>
                  </a:lnTo>
                  <a:lnTo>
                    <a:pt x="51638" y="61186"/>
                  </a:lnTo>
                  <a:lnTo>
                    <a:pt x="53024" y="61786"/>
                  </a:lnTo>
                  <a:lnTo>
                    <a:pt x="55402" y="61768"/>
                  </a:lnTo>
                  <a:lnTo>
                    <a:pt x="56920" y="61266"/>
                  </a:lnTo>
                  <a:lnTo>
                    <a:pt x="57274" y="60573"/>
                  </a:lnTo>
                  <a:lnTo>
                    <a:pt x="57269" y="59314"/>
                  </a:lnTo>
                  <a:lnTo>
                    <a:pt x="56896" y="58143"/>
                  </a:lnTo>
                  <a:lnTo>
                    <a:pt x="55888" y="57129"/>
                  </a:lnTo>
                  <a:lnTo>
                    <a:pt x="53994" y="56607"/>
                  </a:lnTo>
                  <a:lnTo>
                    <a:pt x="52681" y="56590"/>
                  </a:lnTo>
                  <a:lnTo>
                    <a:pt x="52456" y="55945"/>
                  </a:lnTo>
                  <a:lnTo>
                    <a:pt x="52903" y="54567"/>
                  </a:lnTo>
                  <a:lnTo>
                    <a:pt x="54069" y="52025"/>
                  </a:lnTo>
                  <a:lnTo>
                    <a:pt x="55503" y="49723"/>
                  </a:lnTo>
                  <a:lnTo>
                    <a:pt x="56380" y="48853"/>
                  </a:lnTo>
                  <a:lnTo>
                    <a:pt x="56531" y="48055"/>
                  </a:lnTo>
                  <a:lnTo>
                    <a:pt x="56360" y="46659"/>
                  </a:lnTo>
                  <a:lnTo>
                    <a:pt x="56328" y="44154"/>
                  </a:lnTo>
                  <a:lnTo>
                    <a:pt x="57619" y="40618"/>
                  </a:lnTo>
                  <a:lnTo>
                    <a:pt x="59353" y="37978"/>
                  </a:lnTo>
                  <a:lnTo>
                    <a:pt x="61679" y="37122"/>
                  </a:lnTo>
                  <a:lnTo>
                    <a:pt x="64521" y="36657"/>
                  </a:lnTo>
                  <a:lnTo>
                    <a:pt x="66339" y="35397"/>
                  </a:lnTo>
                  <a:lnTo>
                    <a:pt x="67237" y="33949"/>
                  </a:lnTo>
                  <a:lnTo>
                    <a:pt x="67578" y="32726"/>
                  </a:lnTo>
                  <a:lnTo>
                    <a:pt x="68010" y="31667"/>
                  </a:lnTo>
                  <a:lnTo>
                    <a:pt x="68917" y="31203"/>
                  </a:lnTo>
                  <a:lnTo>
                    <a:pt x="75758" y="31493"/>
                  </a:lnTo>
                  <a:lnTo>
                    <a:pt x="76803" y="29212"/>
                  </a:lnTo>
                  <a:lnTo>
                    <a:pt x="77391" y="28574"/>
                  </a:lnTo>
                  <a:lnTo>
                    <a:pt x="78704" y="27900"/>
                  </a:lnTo>
                  <a:lnTo>
                    <a:pt x="79617" y="27088"/>
                  </a:lnTo>
                  <a:lnTo>
                    <a:pt x="79273" y="26463"/>
                  </a:lnTo>
                  <a:lnTo>
                    <a:pt x="77529" y="26058"/>
                  </a:lnTo>
                  <a:lnTo>
                    <a:pt x="73417" y="25701"/>
                  </a:lnTo>
                  <a:lnTo>
                    <a:pt x="72584" y="24946"/>
                  </a:lnTo>
                  <a:lnTo>
                    <a:pt x="72847" y="24036"/>
                  </a:lnTo>
                  <a:lnTo>
                    <a:pt x="73946" y="21680"/>
                  </a:lnTo>
                  <a:lnTo>
                    <a:pt x="74994" y="18637"/>
                  </a:lnTo>
                  <a:lnTo>
                    <a:pt x="75529" y="16277"/>
                  </a:lnTo>
                  <a:lnTo>
                    <a:pt x="75589" y="14885"/>
                  </a:lnTo>
                  <a:lnTo>
                    <a:pt x="76179" y="14510"/>
                  </a:lnTo>
                  <a:lnTo>
                    <a:pt x="79533" y="14064"/>
                  </a:lnTo>
                  <a:lnTo>
                    <a:pt x="80651" y="13591"/>
                  </a:lnTo>
                  <a:lnTo>
                    <a:pt x="83538" y="10370"/>
                  </a:lnTo>
                  <a:lnTo>
                    <a:pt x="85739" y="9822"/>
                  </a:lnTo>
                  <a:lnTo>
                    <a:pt x="91414" y="10651"/>
                  </a:lnTo>
                  <a:lnTo>
                    <a:pt x="94022" y="10587"/>
                  </a:lnTo>
                  <a:lnTo>
                    <a:pt x="94731" y="10663"/>
                  </a:lnTo>
                  <a:lnTo>
                    <a:pt x="97330" y="10810"/>
                  </a:lnTo>
                  <a:lnTo>
                    <a:pt x="97611" y="10487"/>
                  </a:lnTo>
                  <a:lnTo>
                    <a:pt x="98779" y="7298"/>
                  </a:lnTo>
                  <a:lnTo>
                    <a:pt x="99928" y="6369"/>
                  </a:lnTo>
                  <a:lnTo>
                    <a:pt x="104396" y="2174"/>
                  </a:lnTo>
                  <a:lnTo>
                    <a:pt x="107397" y="390"/>
                  </a:lnTo>
                  <a:lnTo>
                    <a:pt x="109296" y="0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18" name="ee4p_CH_1_37365">
              <a:extLst>
                <a:ext uri="{FF2B5EF4-FFF2-40B4-BE49-F238E27FC236}">
                  <a16:creationId xmlns:a16="http://schemas.microsoft.com/office/drawing/2014/main" id="{EB204FE6-F88E-65D7-0A3B-DE38728EBD99}"/>
                </a:ext>
              </a:extLst>
            </p:cNvPr>
            <p:cNvSpPr>
              <a:spLocks noChangeAspect="1"/>
            </p:cNvSpPr>
            <p:nvPr>
              <p:custDataLst>
                <p:tags r:id="rId272"/>
              </p:custDataLst>
            </p:nvPr>
          </p:nvSpPr>
          <p:spPr>
            <a:xfrm>
              <a:off x="6680484" y="3198950"/>
              <a:ext cx="124534" cy="69907"/>
            </a:xfrm>
            <a:custGeom>
              <a:avLst/>
              <a:gdLst/>
              <a:ahLst/>
              <a:cxnLst/>
              <a:rect l="0" t="0" r="0" b="0"/>
              <a:pathLst>
                <a:path w="99164" h="54190">
                  <a:moveTo>
                    <a:pt x="78586" y="7066"/>
                  </a:moveTo>
                  <a:lnTo>
                    <a:pt x="79258" y="7434"/>
                  </a:lnTo>
                  <a:lnTo>
                    <a:pt x="80838" y="8671"/>
                  </a:lnTo>
                  <a:lnTo>
                    <a:pt x="80467" y="10781"/>
                  </a:lnTo>
                  <a:lnTo>
                    <a:pt x="78664" y="14171"/>
                  </a:lnTo>
                  <a:lnTo>
                    <a:pt x="77707" y="16915"/>
                  </a:lnTo>
                  <a:lnTo>
                    <a:pt x="77601" y="19015"/>
                  </a:lnTo>
                  <a:lnTo>
                    <a:pt x="77783" y="20000"/>
                  </a:lnTo>
                  <a:lnTo>
                    <a:pt x="78107" y="19987"/>
                  </a:lnTo>
                  <a:lnTo>
                    <a:pt x="79830" y="20137"/>
                  </a:lnTo>
                  <a:lnTo>
                    <a:pt x="80707" y="20134"/>
                  </a:lnTo>
                  <a:lnTo>
                    <a:pt x="83473" y="20703"/>
                  </a:lnTo>
                  <a:lnTo>
                    <a:pt x="85690" y="21533"/>
                  </a:lnTo>
                  <a:lnTo>
                    <a:pt x="86118" y="22409"/>
                  </a:lnTo>
                  <a:lnTo>
                    <a:pt x="86407" y="23477"/>
                  </a:lnTo>
                  <a:lnTo>
                    <a:pt x="89042" y="24936"/>
                  </a:lnTo>
                  <a:lnTo>
                    <a:pt x="92063" y="25879"/>
                  </a:lnTo>
                  <a:lnTo>
                    <a:pt x="93087" y="25577"/>
                  </a:lnTo>
                  <a:lnTo>
                    <a:pt x="96837" y="22164"/>
                  </a:lnTo>
                  <a:lnTo>
                    <a:pt x="98286" y="22731"/>
                  </a:lnTo>
                  <a:lnTo>
                    <a:pt x="99163" y="24544"/>
                  </a:lnTo>
                  <a:lnTo>
                    <a:pt x="99124" y="25505"/>
                  </a:lnTo>
                  <a:lnTo>
                    <a:pt x="98090" y="29128"/>
                  </a:lnTo>
                  <a:lnTo>
                    <a:pt x="97911" y="31070"/>
                  </a:lnTo>
                  <a:lnTo>
                    <a:pt x="98802" y="32354"/>
                  </a:lnTo>
                  <a:lnTo>
                    <a:pt x="98895" y="33354"/>
                  </a:lnTo>
                  <a:lnTo>
                    <a:pt x="98634" y="34266"/>
                  </a:lnTo>
                  <a:lnTo>
                    <a:pt x="97140" y="34349"/>
                  </a:lnTo>
                  <a:lnTo>
                    <a:pt x="95131" y="33855"/>
                  </a:lnTo>
                  <a:lnTo>
                    <a:pt x="93434" y="32292"/>
                  </a:lnTo>
                  <a:lnTo>
                    <a:pt x="92152" y="32479"/>
                  </a:lnTo>
                  <a:lnTo>
                    <a:pt x="91035" y="32881"/>
                  </a:lnTo>
                  <a:lnTo>
                    <a:pt x="90465" y="34357"/>
                  </a:lnTo>
                  <a:lnTo>
                    <a:pt x="89958" y="36122"/>
                  </a:lnTo>
                  <a:lnTo>
                    <a:pt x="90120" y="37102"/>
                  </a:lnTo>
                  <a:lnTo>
                    <a:pt x="90923" y="37855"/>
                  </a:lnTo>
                  <a:lnTo>
                    <a:pt x="91536" y="39460"/>
                  </a:lnTo>
                  <a:lnTo>
                    <a:pt x="91983" y="41535"/>
                  </a:lnTo>
                  <a:lnTo>
                    <a:pt x="92322" y="42489"/>
                  </a:lnTo>
                  <a:lnTo>
                    <a:pt x="91949" y="42912"/>
                  </a:lnTo>
                  <a:lnTo>
                    <a:pt x="90892" y="43196"/>
                  </a:lnTo>
                  <a:lnTo>
                    <a:pt x="90018" y="42916"/>
                  </a:lnTo>
                  <a:lnTo>
                    <a:pt x="88485" y="40435"/>
                  </a:lnTo>
                  <a:lnTo>
                    <a:pt x="87768" y="39489"/>
                  </a:lnTo>
                  <a:lnTo>
                    <a:pt x="86557" y="39324"/>
                  </a:lnTo>
                  <a:lnTo>
                    <a:pt x="84419" y="39926"/>
                  </a:lnTo>
                  <a:lnTo>
                    <a:pt x="81139" y="41316"/>
                  </a:lnTo>
                  <a:lnTo>
                    <a:pt x="79815" y="41310"/>
                  </a:lnTo>
                  <a:lnTo>
                    <a:pt x="78690" y="41030"/>
                  </a:lnTo>
                  <a:lnTo>
                    <a:pt x="77636" y="39850"/>
                  </a:lnTo>
                  <a:lnTo>
                    <a:pt x="76742" y="37576"/>
                  </a:lnTo>
                  <a:lnTo>
                    <a:pt x="76455" y="36146"/>
                  </a:lnTo>
                  <a:lnTo>
                    <a:pt x="75829" y="36192"/>
                  </a:lnTo>
                  <a:lnTo>
                    <a:pt x="73730" y="35779"/>
                  </a:lnTo>
                  <a:lnTo>
                    <a:pt x="72752" y="36344"/>
                  </a:lnTo>
                  <a:lnTo>
                    <a:pt x="72743" y="38673"/>
                  </a:lnTo>
                  <a:lnTo>
                    <a:pt x="72551" y="41568"/>
                  </a:lnTo>
                  <a:lnTo>
                    <a:pt x="71497" y="43438"/>
                  </a:lnTo>
                  <a:lnTo>
                    <a:pt x="68569" y="46669"/>
                  </a:lnTo>
                  <a:lnTo>
                    <a:pt x="67494" y="48078"/>
                  </a:lnTo>
                  <a:lnTo>
                    <a:pt x="67066" y="49088"/>
                  </a:lnTo>
                  <a:lnTo>
                    <a:pt x="66975" y="49966"/>
                  </a:lnTo>
                  <a:lnTo>
                    <a:pt x="67422" y="51484"/>
                  </a:lnTo>
                  <a:lnTo>
                    <a:pt x="68031" y="52933"/>
                  </a:lnTo>
                  <a:lnTo>
                    <a:pt x="67524" y="53757"/>
                  </a:lnTo>
                  <a:lnTo>
                    <a:pt x="65975" y="54189"/>
                  </a:lnTo>
                  <a:lnTo>
                    <a:pt x="64883" y="53309"/>
                  </a:lnTo>
                  <a:lnTo>
                    <a:pt x="64460" y="51744"/>
                  </a:lnTo>
                  <a:lnTo>
                    <a:pt x="62091" y="49605"/>
                  </a:lnTo>
                  <a:lnTo>
                    <a:pt x="63168" y="47813"/>
                  </a:lnTo>
                  <a:lnTo>
                    <a:pt x="62987" y="47368"/>
                  </a:lnTo>
                  <a:lnTo>
                    <a:pt x="59076" y="46438"/>
                  </a:lnTo>
                  <a:lnTo>
                    <a:pt x="57390" y="45082"/>
                  </a:lnTo>
                  <a:lnTo>
                    <a:pt x="55023" y="42700"/>
                  </a:lnTo>
                  <a:lnTo>
                    <a:pt x="54583" y="41677"/>
                  </a:lnTo>
                  <a:lnTo>
                    <a:pt x="54682" y="38353"/>
                  </a:lnTo>
                  <a:lnTo>
                    <a:pt x="54546" y="37546"/>
                  </a:lnTo>
                  <a:lnTo>
                    <a:pt x="54230" y="37153"/>
                  </a:lnTo>
                  <a:lnTo>
                    <a:pt x="53084" y="37179"/>
                  </a:lnTo>
                  <a:lnTo>
                    <a:pt x="51488" y="38335"/>
                  </a:lnTo>
                  <a:lnTo>
                    <a:pt x="50016" y="40060"/>
                  </a:lnTo>
                  <a:lnTo>
                    <a:pt x="47003" y="42004"/>
                  </a:lnTo>
                  <a:lnTo>
                    <a:pt x="46690" y="42420"/>
                  </a:lnTo>
                  <a:lnTo>
                    <a:pt x="47701" y="44314"/>
                  </a:lnTo>
                  <a:lnTo>
                    <a:pt x="47655" y="45051"/>
                  </a:lnTo>
                  <a:lnTo>
                    <a:pt x="45202" y="48066"/>
                  </a:lnTo>
                  <a:lnTo>
                    <a:pt x="44736" y="49060"/>
                  </a:lnTo>
                  <a:lnTo>
                    <a:pt x="41622" y="50950"/>
                  </a:lnTo>
                  <a:lnTo>
                    <a:pt x="40197" y="51657"/>
                  </a:lnTo>
                  <a:lnTo>
                    <a:pt x="35878" y="50267"/>
                  </a:lnTo>
                  <a:lnTo>
                    <a:pt x="34684" y="50102"/>
                  </a:lnTo>
                  <a:lnTo>
                    <a:pt x="32760" y="51033"/>
                  </a:lnTo>
                  <a:lnTo>
                    <a:pt x="30026" y="51918"/>
                  </a:lnTo>
                  <a:lnTo>
                    <a:pt x="25627" y="52799"/>
                  </a:lnTo>
                  <a:lnTo>
                    <a:pt x="24008" y="52155"/>
                  </a:lnTo>
                  <a:lnTo>
                    <a:pt x="23241" y="51548"/>
                  </a:lnTo>
                  <a:lnTo>
                    <a:pt x="22861" y="50636"/>
                  </a:lnTo>
                  <a:lnTo>
                    <a:pt x="21751" y="49026"/>
                  </a:lnTo>
                  <a:lnTo>
                    <a:pt x="20503" y="48070"/>
                  </a:lnTo>
                  <a:lnTo>
                    <a:pt x="19635" y="47029"/>
                  </a:lnTo>
                  <a:lnTo>
                    <a:pt x="18478" y="45889"/>
                  </a:lnTo>
                  <a:lnTo>
                    <a:pt x="17735" y="44935"/>
                  </a:lnTo>
                  <a:lnTo>
                    <a:pt x="18724" y="41889"/>
                  </a:lnTo>
                  <a:lnTo>
                    <a:pt x="18002" y="40815"/>
                  </a:lnTo>
                  <a:lnTo>
                    <a:pt x="17631" y="39284"/>
                  </a:lnTo>
                  <a:lnTo>
                    <a:pt x="17823" y="38246"/>
                  </a:lnTo>
                  <a:lnTo>
                    <a:pt x="17426" y="37993"/>
                  </a:lnTo>
                  <a:lnTo>
                    <a:pt x="13448" y="37394"/>
                  </a:lnTo>
                  <a:lnTo>
                    <a:pt x="10147" y="37584"/>
                  </a:lnTo>
                  <a:lnTo>
                    <a:pt x="7780" y="38605"/>
                  </a:lnTo>
                  <a:lnTo>
                    <a:pt x="5852" y="40298"/>
                  </a:lnTo>
                  <a:lnTo>
                    <a:pt x="5621" y="40663"/>
                  </a:lnTo>
                  <a:lnTo>
                    <a:pt x="5740" y="40968"/>
                  </a:lnTo>
                  <a:lnTo>
                    <a:pt x="6698" y="42524"/>
                  </a:lnTo>
                  <a:lnTo>
                    <a:pt x="5072" y="44162"/>
                  </a:lnTo>
                  <a:lnTo>
                    <a:pt x="2578" y="45436"/>
                  </a:lnTo>
                  <a:lnTo>
                    <a:pt x="810" y="45566"/>
                  </a:lnTo>
                  <a:lnTo>
                    <a:pt x="32" y="45320"/>
                  </a:lnTo>
                  <a:lnTo>
                    <a:pt x="0" y="43564"/>
                  </a:lnTo>
                  <a:lnTo>
                    <a:pt x="1461" y="42916"/>
                  </a:lnTo>
                  <a:lnTo>
                    <a:pt x="2783" y="41773"/>
                  </a:lnTo>
                  <a:lnTo>
                    <a:pt x="3226" y="40159"/>
                  </a:lnTo>
                  <a:lnTo>
                    <a:pt x="3388" y="39023"/>
                  </a:lnTo>
                  <a:lnTo>
                    <a:pt x="1995" y="37649"/>
                  </a:lnTo>
                  <a:lnTo>
                    <a:pt x="2166" y="36806"/>
                  </a:lnTo>
                  <a:lnTo>
                    <a:pt x="3029" y="35210"/>
                  </a:lnTo>
                  <a:lnTo>
                    <a:pt x="3530" y="33795"/>
                  </a:lnTo>
                  <a:lnTo>
                    <a:pt x="4217" y="32572"/>
                  </a:lnTo>
                  <a:lnTo>
                    <a:pt x="6968" y="30569"/>
                  </a:lnTo>
                  <a:lnTo>
                    <a:pt x="9732" y="28556"/>
                  </a:lnTo>
                  <a:lnTo>
                    <a:pt x="10149" y="26415"/>
                  </a:lnTo>
                  <a:lnTo>
                    <a:pt x="10361" y="23806"/>
                  </a:lnTo>
                  <a:lnTo>
                    <a:pt x="10751" y="23180"/>
                  </a:lnTo>
                  <a:lnTo>
                    <a:pt x="14479" y="21617"/>
                  </a:lnTo>
                  <a:lnTo>
                    <a:pt x="15409" y="20998"/>
                  </a:lnTo>
                  <a:lnTo>
                    <a:pt x="15878" y="20112"/>
                  </a:lnTo>
                  <a:lnTo>
                    <a:pt x="18810" y="17180"/>
                  </a:lnTo>
                  <a:lnTo>
                    <a:pt x="21715" y="14271"/>
                  </a:lnTo>
                  <a:lnTo>
                    <a:pt x="22300" y="13294"/>
                  </a:lnTo>
                  <a:lnTo>
                    <a:pt x="22788" y="12722"/>
                  </a:lnTo>
                  <a:lnTo>
                    <a:pt x="22788" y="12247"/>
                  </a:lnTo>
                  <a:lnTo>
                    <a:pt x="22423" y="11881"/>
                  </a:lnTo>
                  <a:lnTo>
                    <a:pt x="21039" y="11637"/>
                  </a:lnTo>
                  <a:lnTo>
                    <a:pt x="20572" y="10712"/>
                  </a:lnTo>
                  <a:lnTo>
                    <a:pt x="22075" y="9058"/>
                  </a:lnTo>
                  <a:lnTo>
                    <a:pt x="23956" y="8045"/>
                  </a:lnTo>
                  <a:lnTo>
                    <a:pt x="25783" y="8031"/>
                  </a:lnTo>
                  <a:lnTo>
                    <a:pt x="26517" y="8497"/>
                  </a:lnTo>
                  <a:lnTo>
                    <a:pt x="26478" y="9045"/>
                  </a:lnTo>
                  <a:lnTo>
                    <a:pt x="27266" y="9633"/>
                  </a:lnTo>
                  <a:lnTo>
                    <a:pt x="28651" y="9828"/>
                  </a:lnTo>
                  <a:lnTo>
                    <a:pt x="30363" y="9623"/>
                  </a:lnTo>
                  <a:lnTo>
                    <a:pt x="32062" y="9004"/>
                  </a:lnTo>
                  <a:lnTo>
                    <a:pt x="33110" y="7531"/>
                  </a:lnTo>
                  <a:lnTo>
                    <a:pt x="33718" y="6417"/>
                  </a:lnTo>
                  <a:lnTo>
                    <a:pt x="36388" y="5143"/>
                  </a:lnTo>
                  <a:lnTo>
                    <a:pt x="38210" y="5784"/>
                  </a:lnTo>
                  <a:lnTo>
                    <a:pt x="43274" y="5953"/>
                  </a:lnTo>
                  <a:lnTo>
                    <a:pt x="46960" y="5608"/>
                  </a:lnTo>
                  <a:lnTo>
                    <a:pt x="49271" y="4744"/>
                  </a:lnTo>
                  <a:lnTo>
                    <a:pt x="52136" y="4744"/>
                  </a:lnTo>
                  <a:lnTo>
                    <a:pt x="54058" y="5231"/>
                  </a:lnTo>
                  <a:lnTo>
                    <a:pt x="54397" y="5159"/>
                  </a:lnTo>
                  <a:lnTo>
                    <a:pt x="54926" y="5045"/>
                  </a:lnTo>
                  <a:lnTo>
                    <a:pt x="55449" y="4582"/>
                  </a:lnTo>
                  <a:lnTo>
                    <a:pt x="57258" y="4264"/>
                  </a:lnTo>
                  <a:lnTo>
                    <a:pt x="57502" y="3876"/>
                  </a:lnTo>
                  <a:lnTo>
                    <a:pt x="57426" y="3480"/>
                  </a:lnTo>
                  <a:lnTo>
                    <a:pt x="57100" y="3277"/>
                  </a:lnTo>
                  <a:lnTo>
                    <a:pt x="54876" y="3483"/>
                  </a:lnTo>
                  <a:lnTo>
                    <a:pt x="54025" y="3176"/>
                  </a:lnTo>
                  <a:lnTo>
                    <a:pt x="53807" y="2471"/>
                  </a:lnTo>
                  <a:lnTo>
                    <a:pt x="54522" y="1246"/>
                  </a:lnTo>
                  <a:lnTo>
                    <a:pt x="56161" y="246"/>
                  </a:lnTo>
                  <a:lnTo>
                    <a:pt x="57550" y="0"/>
                  </a:lnTo>
                  <a:lnTo>
                    <a:pt x="58549" y="268"/>
                  </a:lnTo>
                  <a:lnTo>
                    <a:pt x="60992" y="2126"/>
                  </a:lnTo>
                  <a:lnTo>
                    <a:pt x="61577" y="2183"/>
                  </a:lnTo>
                  <a:lnTo>
                    <a:pt x="61916" y="1849"/>
                  </a:lnTo>
                  <a:lnTo>
                    <a:pt x="62423" y="1662"/>
                  </a:lnTo>
                  <a:lnTo>
                    <a:pt x="63265" y="2026"/>
                  </a:lnTo>
                  <a:lnTo>
                    <a:pt x="64213" y="3176"/>
                  </a:lnTo>
                  <a:lnTo>
                    <a:pt x="64371" y="3354"/>
                  </a:lnTo>
                  <a:lnTo>
                    <a:pt x="69819" y="2951"/>
                  </a:lnTo>
                  <a:lnTo>
                    <a:pt x="71041" y="2951"/>
                  </a:lnTo>
                  <a:lnTo>
                    <a:pt x="74738" y="4969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19" name="ee4p_CZ_1_37365">
              <a:extLst>
                <a:ext uri="{FF2B5EF4-FFF2-40B4-BE49-F238E27FC236}">
                  <a16:creationId xmlns:a16="http://schemas.microsoft.com/office/drawing/2014/main" id="{E946D1EC-BE01-6FD3-6D86-372CB9730B78}"/>
                </a:ext>
              </a:extLst>
            </p:cNvPr>
            <p:cNvSpPr>
              <a:spLocks noChangeAspect="1"/>
            </p:cNvSpPr>
            <p:nvPr>
              <p:custDataLst>
                <p:tags r:id="rId273"/>
              </p:custDataLst>
            </p:nvPr>
          </p:nvSpPr>
          <p:spPr>
            <a:xfrm>
              <a:off x="6850425" y="3078285"/>
              <a:ext cx="187235" cy="91469"/>
            </a:xfrm>
            <a:custGeom>
              <a:avLst/>
              <a:gdLst/>
              <a:ahLst/>
              <a:cxnLst/>
              <a:rect l="0" t="0" r="0" b="0"/>
              <a:pathLst>
                <a:path w="149091" h="70904">
                  <a:moveTo>
                    <a:pt x="60137" y="5220"/>
                  </a:moveTo>
                  <a:lnTo>
                    <a:pt x="62048" y="5150"/>
                  </a:lnTo>
                  <a:lnTo>
                    <a:pt x="63974" y="4416"/>
                  </a:lnTo>
                  <a:lnTo>
                    <a:pt x="64129" y="3229"/>
                  </a:lnTo>
                  <a:lnTo>
                    <a:pt x="64008" y="1005"/>
                  </a:lnTo>
                  <a:lnTo>
                    <a:pt x="64214" y="685"/>
                  </a:lnTo>
                  <a:lnTo>
                    <a:pt x="67137" y="1313"/>
                  </a:lnTo>
                  <a:lnTo>
                    <a:pt x="70070" y="2315"/>
                  </a:lnTo>
                  <a:lnTo>
                    <a:pt x="70478" y="4520"/>
                  </a:lnTo>
                  <a:lnTo>
                    <a:pt x="71264" y="5606"/>
                  </a:lnTo>
                  <a:lnTo>
                    <a:pt x="72188" y="6597"/>
                  </a:lnTo>
                  <a:lnTo>
                    <a:pt x="73078" y="7048"/>
                  </a:lnTo>
                  <a:lnTo>
                    <a:pt x="74611" y="7119"/>
                  </a:lnTo>
                  <a:lnTo>
                    <a:pt x="78591" y="8429"/>
                  </a:lnTo>
                  <a:lnTo>
                    <a:pt x="80506" y="8696"/>
                  </a:lnTo>
                  <a:lnTo>
                    <a:pt x="82467" y="9599"/>
                  </a:lnTo>
                  <a:lnTo>
                    <a:pt x="84118" y="10524"/>
                  </a:lnTo>
                  <a:lnTo>
                    <a:pt x="85326" y="10717"/>
                  </a:lnTo>
                  <a:lnTo>
                    <a:pt x="85885" y="11730"/>
                  </a:lnTo>
                  <a:lnTo>
                    <a:pt x="86623" y="12423"/>
                  </a:lnTo>
                  <a:lnTo>
                    <a:pt x="87932" y="11891"/>
                  </a:lnTo>
                  <a:lnTo>
                    <a:pt x="92704" y="11143"/>
                  </a:lnTo>
                  <a:lnTo>
                    <a:pt x="94423" y="12139"/>
                  </a:lnTo>
                  <a:lnTo>
                    <a:pt x="95585" y="13192"/>
                  </a:lnTo>
                  <a:lnTo>
                    <a:pt x="95745" y="13527"/>
                  </a:lnTo>
                  <a:lnTo>
                    <a:pt x="95138" y="14456"/>
                  </a:lnTo>
                  <a:lnTo>
                    <a:pt x="94847" y="15175"/>
                  </a:lnTo>
                  <a:lnTo>
                    <a:pt x="94350" y="15652"/>
                  </a:lnTo>
                  <a:lnTo>
                    <a:pt x="92711" y="16159"/>
                  </a:lnTo>
                  <a:lnTo>
                    <a:pt x="91787" y="16981"/>
                  </a:lnTo>
                  <a:lnTo>
                    <a:pt x="91115" y="17880"/>
                  </a:lnTo>
                  <a:lnTo>
                    <a:pt x="91566" y="18739"/>
                  </a:lnTo>
                  <a:lnTo>
                    <a:pt x="92905" y="19383"/>
                  </a:lnTo>
                  <a:lnTo>
                    <a:pt x="93853" y="19528"/>
                  </a:lnTo>
                  <a:lnTo>
                    <a:pt x="94214" y="20156"/>
                  </a:lnTo>
                  <a:lnTo>
                    <a:pt x="97246" y="22961"/>
                  </a:lnTo>
                  <a:lnTo>
                    <a:pt x="99657" y="26619"/>
                  </a:lnTo>
                  <a:lnTo>
                    <a:pt x="100597" y="27191"/>
                  </a:lnTo>
                  <a:lnTo>
                    <a:pt x="101480" y="27326"/>
                  </a:lnTo>
                  <a:lnTo>
                    <a:pt x="102501" y="26789"/>
                  </a:lnTo>
                  <a:lnTo>
                    <a:pt x="103680" y="25604"/>
                  </a:lnTo>
                  <a:lnTo>
                    <a:pt x="105078" y="24746"/>
                  </a:lnTo>
                  <a:lnTo>
                    <a:pt x="106261" y="24305"/>
                  </a:lnTo>
                  <a:lnTo>
                    <a:pt x="108347" y="23293"/>
                  </a:lnTo>
                  <a:lnTo>
                    <a:pt x="108429" y="22633"/>
                  </a:lnTo>
                  <a:lnTo>
                    <a:pt x="106691" y="20156"/>
                  </a:lnTo>
                  <a:lnTo>
                    <a:pt x="105682" y="18147"/>
                  </a:lnTo>
                  <a:lnTo>
                    <a:pt x="105924" y="17783"/>
                  </a:lnTo>
                  <a:lnTo>
                    <a:pt x="108150" y="18101"/>
                  </a:lnTo>
                  <a:lnTo>
                    <a:pt x="111936" y="19197"/>
                  </a:lnTo>
                  <a:lnTo>
                    <a:pt x="117758" y="22776"/>
                  </a:lnTo>
                  <a:lnTo>
                    <a:pt x="118799" y="22776"/>
                  </a:lnTo>
                  <a:lnTo>
                    <a:pt x="120839" y="22507"/>
                  </a:lnTo>
                  <a:lnTo>
                    <a:pt x="123053" y="21923"/>
                  </a:lnTo>
                  <a:lnTo>
                    <a:pt x="124104" y="21258"/>
                  </a:lnTo>
                  <a:lnTo>
                    <a:pt x="124499" y="21506"/>
                  </a:lnTo>
                  <a:lnTo>
                    <a:pt x="124838" y="23471"/>
                  </a:lnTo>
                  <a:lnTo>
                    <a:pt x="124259" y="24548"/>
                  </a:lnTo>
                  <a:lnTo>
                    <a:pt x="121608" y="25592"/>
                  </a:lnTo>
                  <a:lnTo>
                    <a:pt x="121761" y="26111"/>
                  </a:lnTo>
                  <a:lnTo>
                    <a:pt x="122441" y="26779"/>
                  </a:lnTo>
                  <a:lnTo>
                    <a:pt x="123635" y="27230"/>
                  </a:lnTo>
                  <a:lnTo>
                    <a:pt x="125084" y="28502"/>
                  </a:lnTo>
                  <a:lnTo>
                    <a:pt x="126082" y="29951"/>
                  </a:lnTo>
                  <a:lnTo>
                    <a:pt x="126957" y="30623"/>
                  </a:lnTo>
                  <a:lnTo>
                    <a:pt x="127920" y="30942"/>
                  </a:lnTo>
                  <a:lnTo>
                    <a:pt x="130330" y="30168"/>
                  </a:lnTo>
                  <a:lnTo>
                    <a:pt x="131012" y="29556"/>
                  </a:lnTo>
                  <a:lnTo>
                    <a:pt x="131314" y="29123"/>
                  </a:lnTo>
                  <a:lnTo>
                    <a:pt x="131783" y="29219"/>
                  </a:lnTo>
                  <a:lnTo>
                    <a:pt x="132627" y="29931"/>
                  </a:lnTo>
                  <a:lnTo>
                    <a:pt x="132882" y="30350"/>
                  </a:lnTo>
                  <a:lnTo>
                    <a:pt x="135227" y="31159"/>
                  </a:lnTo>
                  <a:lnTo>
                    <a:pt x="136577" y="32153"/>
                  </a:lnTo>
                  <a:lnTo>
                    <a:pt x="137438" y="32621"/>
                  </a:lnTo>
                  <a:lnTo>
                    <a:pt x="138393" y="32166"/>
                  </a:lnTo>
                  <a:lnTo>
                    <a:pt x="142103" y="32957"/>
                  </a:lnTo>
                  <a:lnTo>
                    <a:pt x="143124" y="33621"/>
                  </a:lnTo>
                  <a:lnTo>
                    <a:pt x="143450" y="34723"/>
                  </a:lnTo>
                  <a:lnTo>
                    <a:pt x="143266" y="35391"/>
                  </a:lnTo>
                  <a:lnTo>
                    <a:pt x="143837" y="37122"/>
                  </a:lnTo>
                  <a:lnTo>
                    <a:pt x="148531" y="41266"/>
                  </a:lnTo>
                  <a:lnTo>
                    <a:pt x="149025" y="43380"/>
                  </a:lnTo>
                  <a:lnTo>
                    <a:pt x="149090" y="44222"/>
                  </a:lnTo>
                  <a:lnTo>
                    <a:pt x="148533" y="44267"/>
                  </a:lnTo>
                  <a:lnTo>
                    <a:pt x="147265" y="44704"/>
                  </a:lnTo>
                  <a:lnTo>
                    <a:pt x="145640" y="44863"/>
                  </a:lnTo>
                  <a:lnTo>
                    <a:pt x="143878" y="44777"/>
                  </a:lnTo>
                  <a:lnTo>
                    <a:pt x="142508" y="45545"/>
                  </a:lnTo>
                  <a:lnTo>
                    <a:pt x="141215" y="46795"/>
                  </a:lnTo>
                  <a:lnTo>
                    <a:pt x="139883" y="47660"/>
                  </a:lnTo>
                  <a:lnTo>
                    <a:pt x="139159" y="48434"/>
                  </a:lnTo>
                  <a:lnTo>
                    <a:pt x="138755" y="49227"/>
                  </a:lnTo>
                  <a:lnTo>
                    <a:pt x="134247" y="51485"/>
                  </a:lnTo>
                  <a:lnTo>
                    <a:pt x="133621" y="52424"/>
                  </a:lnTo>
                  <a:lnTo>
                    <a:pt x="133119" y="53704"/>
                  </a:lnTo>
                  <a:lnTo>
                    <a:pt x="132908" y="55432"/>
                  </a:lnTo>
                  <a:lnTo>
                    <a:pt x="132588" y="56980"/>
                  </a:lnTo>
                  <a:lnTo>
                    <a:pt x="131813" y="57797"/>
                  </a:lnTo>
                  <a:lnTo>
                    <a:pt x="129377" y="58498"/>
                  </a:lnTo>
                  <a:lnTo>
                    <a:pt x="128770" y="58876"/>
                  </a:lnTo>
                  <a:lnTo>
                    <a:pt x="128315" y="59663"/>
                  </a:lnTo>
                  <a:lnTo>
                    <a:pt x="126948" y="60876"/>
                  </a:lnTo>
                  <a:lnTo>
                    <a:pt x="125348" y="62030"/>
                  </a:lnTo>
                  <a:lnTo>
                    <a:pt x="122405" y="63348"/>
                  </a:lnTo>
                  <a:lnTo>
                    <a:pt x="119248" y="63749"/>
                  </a:lnTo>
                  <a:lnTo>
                    <a:pt x="115140" y="63321"/>
                  </a:lnTo>
                  <a:lnTo>
                    <a:pt x="112743" y="62804"/>
                  </a:lnTo>
                  <a:lnTo>
                    <a:pt x="111575" y="63371"/>
                  </a:lnTo>
                  <a:lnTo>
                    <a:pt x="109975" y="65088"/>
                  </a:lnTo>
                  <a:lnTo>
                    <a:pt x="108250" y="68042"/>
                  </a:lnTo>
                  <a:lnTo>
                    <a:pt x="107540" y="70261"/>
                  </a:lnTo>
                  <a:lnTo>
                    <a:pt x="106991" y="69634"/>
                  </a:lnTo>
                  <a:lnTo>
                    <a:pt x="106004" y="67280"/>
                  </a:lnTo>
                  <a:lnTo>
                    <a:pt x="104888" y="66978"/>
                  </a:lnTo>
                  <a:lnTo>
                    <a:pt x="103367" y="66759"/>
                  </a:lnTo>
                  <a:lnTo>
                    <a:pt x="102223" y="66412"/>
                  </a:lnTo>
                  <a:lnTo>
                    <a:pt x="99752" y="65056"/>
                  </a:lnTo>
                  <a:lnTo>
                    <a:pt x="98483" y="64647"/>
                  </a:lnTo>
                  <a:lnTo>
                    <a:pt x="97032" y="64537"/>
                  </a:lnTo>
                  <a:lnTo>
                    <a:pt x="95637" y="65335"/>
                  </a:lnTo>
                  <a:lnTo>
                    <a:pt x="94585" y="66277"/>
                  </a:lnTo>
                  <a:lnTo>
                    <a:pt x="91314" y="66264"/>
                  </a:lnTo>
                  <a:lnTo>
                    <a:pt x="87729" y="65827"/>
                  </a:lnTo>
                  <a:lnTo>
                    <a:pt x="82598" y="62704"/>
                  </a:lnTo>
                  <a:lnTo>
                    <a:pt x="81268" y="62677"/>
                  </a:lnTo>
                  <a:lnTo>
                    <a:pt x="79847" y="62818"/>
                  </a:lnTo>
                  <a:lnTo>
                    <a:pt x="77606" y="62080"/>
                  </a:lnTo>
                  <a:lnTo>
                    <a:pt x="73261" y="60056"/>
                  </a:lnTo>
                  <a:lnTo>
                    <a:pt x="71227" y="59581"/>
                  </a:lnTo>
                  <a:lnTo>
                    <a:pt x="69940" y="59871"/>
                  </a:lnTo>
                  <a:lnTo>
                    <a:pt x="68766" y="60319"/>
                  </a:lnTo>
                  <a:lnTo>
                    <a:pt x="67928" y="60372"/>
                  </a:lnTo>
                  <a:lnTo>
                    <a:pt x="67442" y="59714"/>
                  </a:lnTo>
                  <a:lnTo>
                    <a:pt x="65829" y="58901"/>
                  </a:lnTo>
                  <a:lnTo>
                    <a:pt x="64207" y="58808"/>
                  </a:lnTo>
                  <a:lnTo>
                    <a:pt x="63736" y="59298"/>
                  </a:lnTo>
                  <a:lnTo>
                    <a:pt x="63188" y="63750"/>
                  </a:lnTo>
                  <a:lnTo>
                    <a:pt x="62639" y="65354"/>
                  </a:lnTo>
                  <a:lnTo>
                    <a:pt x="60413" y="65280"/>
                  </a:lnTo>
                  <a:lnTo>
                    <a:pt x="59618" y="66038"/>
                  </a:lnTo>
                  <a:lnTo>
                    <a:pt x="57865" y="68184"/>
                  </a:lnTo>
                  <a:lnTo>
                    <a:pt x="57526" y="70249"/>
                  </a:lnTo>
                  <a:lnTo>
                    <a:pt x="54488" y="69849"/>
                  </a:lnTo>
                  <a:lnTo>
                    <a:pt x="53045" y="69502"/>
                  </a:lnTo>
                  <a:lnTo>
                    <a:pt x="51771" y="69765"/>
                  </a:lnTo>
                  <a:lnTo>
                    <a:pt x="50367" y="70903"/>
                  </a:lnTo>
                  <a:lnTo>
                    <a:pt x="46437" y="70836"/>
                  </a:lnTo>
                  <a:lnTo>
                    <a:pt x="43326" y="70157"/>
                  </a:lnTo>
                  <a:lnTo>
                    <a:pt x="41991" y="67600"/>
                  </a:lnTo>
                  <a:lnTo>
                    <a:pt x="40566" y="66588"/>
                  </a:lnTo>
                  <a:lnTo>
                    <a:pt x="38772" y="65682"/>
                  </a:lnTo>
                  <a:lnTo>
                    <a:pt x="38143" y="65481"/>
                  </a:lnTo>
                  <a:lnTo>
                    <a:pt x="37152" y="64085"/>
                  </a:lnTo>
                  <a:lnTo>
                    <a:pt x="35273" y="62355"/>
                  </a:lnTo>
                  <a:lnTo>
                    <a:pt x="32237" y="59990"/>
                  </a:lnTo>
                  <a:lnTo>
                    <a:pt x="29873" y="60107"/>
                  </a:lnTo>
                  <a:lnTo>
                    <a:pt x="28998" y="59479"/>
                  </a:lnTo>
                  <a:lnTo>
                    <a:pt x="28612" y="58609"/>
                  </a:lnTo>
                  <a:lnTo>
                    <a:pt x="27625" y="57104"/>
                  </a:lnTo>
                  <a:lnTo>
                    <a:pt x="26513" y="56057"/>
                  </a:lnTo>
                  <a:lnTo>
                    <a:pt x="25165" y="55651"/>
                  </a:lnTo>
                  <a:lnTo>
                    <a:pt x="23235" y="54317"/>
                  </a:lnTo>
                  <a:lnTo>
                    <a:pt x="20652" y="51407"/>
                  </a:lnTo>
                  <a:lnTo>
                    <a:pt x="18285" y="49393"/>
                  </a:lnTo>
                  <a:lnTo>
                    <a:pt x="16001" y="49425"/>
                  </a:lnTo>
                  <a:lnTo>
                    <a:pt x="14552" y="48369"/>
                  </a:lnTo>
                  <a:lnTo>
                    <a:pt x="13077" y="46985"/>
                  </a:lnTo>
                  <a:lnTo>
                    <a:pt x="11991" y="45644"/>
                  </a:lnTo>
                  <a:lnTo>
                    <a:pt x="10304" y="42383"/>
                  </a:lnTo>
                  <a:lnTo>
                    <a:pt x="9078" y="40520"/>
                  </a:lnTo>
                  <a:lnTo>
                    <a:pt x="8121" y="39367"/>
                  </a:lnTo>
                  <a:lnTo>
                    <a:pt x="7041" y="38406"/>
                  </a:lnTo>
                  <a:lnTo>
                    <a:pt x="6651" y="37645"/>
                  </a:lnTo>
                  <a:lnTo>
                    <a:pt x="7970" y="35903"/>
                  </a:lnTo>
                  <a:lnTo>
                    <a:pt x="8449" y="35041"/>
                  </a:lnTo>
                  <a:lnTo>
                    <a:pt x="9017" y="34379"/>
                  </a:lnTo>
                  <a:lnTo>
                    <a:pt x="9348" y="33676"/>
                  </a:lnTo>
                  <a:lnTo>
                    <a:pt x="9337" y="33147"/>
                  </a:lnTo>
                  <a:lnTo>
                    <a:pt x="8134" y="31425"/>
                  </a:lnTo>
                  <a:lnTo>
                    <a:pt x="6510" y="30182"/>
                  </a:lnTo>
                  <a:lnTo>
                    <a:pt x="4128" y="28919"/>
                  </a:lnTo>
                  <a:lnTo>
                    <a:pt x="2610" y="27325"/>
                  </a:lnTo>
                  <a:lnTo>
                    <a:pt x="2051" y="25864"/>
                  </a:lnTo>
                  <a:lnTo>
                    <a:pt x="1885" y="25061"/>
                  </a:lnTo>
                  <a:lnTo>
                    <a:pt x="842" y="23973"/>
                  </a:lnTo>
                  <a:lnTo>
                    <a:pt x="0" y="22377"/>
                  </a:lnTo>
                  <a:lnTo>
                    <a:pt x="2" y="21416"/>
                  </a:lnTo>
                  <a:lnTo>
                    <a:pt x="209" y="21148"/>
                  </a:lnTo>
                  <a:lnTo>
                    <a:pt x="998" y="21149"/>
                  </a:lnTo>
                  <a:lnTo>
                    <a:pt x="1880" y="21803"/>
                  </a:lnTo>
                  <a:lnTo>
                    <a:pt x="3127" y="23063"/>
                  </a:lnTo>
                  <a:lnTo>
                    <a:pt x="4148" y="24898"/>
                  </a:lnTo>
                  <a:lnTo>
                    <a:pt x="4774" y="24196"/>
                  </a:lnTo>
                  <a:lnTo>
                    <a:pt x="5945" y="22241"/>
                  </a:lnTo>
                  <a:lnTo>
                    <a:pt x="8024" y="20023"/>
                  </a:lnTo>
                  <a:lnTo>
                    <a:pt x="10156" y="18759"/>
                  </a:lnTo>
                  <a:lnTo>
                    <a:pt x="12069" y="18653"/>
                  </a:lnTo>
                  <a:lnTo>
                    <a:pt x="13636" y="18303"/>
                  </a:lnTo>
                  <a:lnTo>
                    <a:pt x="14941" y="17670"/>
                  </a:lnTo>
                  <a:lnTo>
                    <a:pt x="17214" y="17923"/>
                  </a:lnTo>
                  <a:lnTo>
                    <a:pt x="18860" y="18381"/>
                  </a:lnTo>
                  <a:lnTo>
                    <a:pt x="19393" y="18098"/>
                  </a:lnTo>
                  <a:lnTo>
                    <a:pt x="20063" y="16942"/>
                  </a:lnTo>
                  <a:lnTo>
                    <a:pt x="20490" y="15945"/>
                  </a:lnTo>
                  <a:lnTo>
                    <a:pt x="24133" y="15361"/>
                  </a:lnTo>
                  <a:lnTo>
                    <a:pt x="25383" y="13436"/>
                  </a:lnTo>
                  <a:lnTo>
                    <a:pt x="26087" y="13446"/>
                  </a:lnTo>
                  <a:lnTo>
                    <a:pt x="26895" y="13158"/>
                  </a:lnTo>
                  <a:lnTo>
                    <a:pt x="27668" y="12428"/>
                  </a:lnTo>
                  <a:lnTo>
                    <a:pt x="28411" y="12129"/>
                  </a:lnTo>
                  <a:lnTo>
                    <a:pt x="28998" y="12490"/>
                  </a:lnTo>
                  <a:lnTo>
                    <a:pt x="29771" y="12729"/>
                  </a:lnTo>
                  <a:lnTo>
                    <a:pt x="30577" y="12268"/>
                  </a:lnTo>
                  <a:lnTo>
                    <a:pt x="31771" y="10061"/>
                  </a:lnTo>
                  <a:lnTo>
                    <a:pt x="32438" y="9717"/>
                  </a:lnTo>
                  <a:lnTo>
                    <a:pt x="35636" y="9371"/>
                  </a:lnTo>
                  <a:lnTo>
                    <a:pt x="39996" y="8068"/>
                  </a:lnTo>
                  <a:lnTo>
                    <a:pt x="42205" y="6907"/>
                  </a:lnTo>
                  <a:lnTo>
                    <a:pt x="44373" y="6277"/>
                  </a:lnTo>
                  <a:lnTo>
                    <a:pt x="46701" y="5155"/>
                  </a:lnTo>
                  <a:lnTo>
                    <a:pt x="50400" y="4061"/>
                  </a:lnTo>
                  <a:lnTo>
                    <a:pt x="50577" y="3614"/>
                  </a:lnTo>
                  <a:lnTo>
                    <a:pt x="48860" y="2489"/>
                  </a:lnTo>
                  <a:lnTo>
                    <a:pt x="48283" y="1779"/>
                  </a:lnTo>
                  <a:lnTo>
                    <a:pt x="47897" y="1050"/>
                  </a:lnTo>
                  <a:lnTo>
                    <a:pt x="48502" y="243"/>
                  </a:lnTo>
                  <a:lnTo>
                    <a:pt x="49309" y="0"/>
                  </a:lnTo>
                  <a:lnTo>
                    <a:pt x="50361" y="337"/>
                  </a:lnTo>
                  <a:lnTo>
                    <a:pt x="53458" y="816"/>
                  </a:lnTo>
                  <a:lnTo>
                    <a:pt x="54306" y="1281"/>
                  </a:lnTo>
                  <a:lnTo>
                    <a:pt x="54615" y="2421"/>
                  </a:lnTo>
                  <a:lnTo>
                    <a:pt x="55401" y="3481"/>
                  </a:lnTo>
                  <a:lnTo>
                    <a:pt x="56034" y="3594"/>
                  </a:lnTo>
                  <a:lnTo>
                    <a:pt x="55807" y="5320"/>
                  </a:lnTo>
                  <a:lnTo>
                    <a:pt x="56794" y="5989"/>
                  </a:lnTo>
                  <a:lnTo>
                    <a:pt x="58234" y="6511"/>
                  </a:lnTo>
                  <a:lnTo>
                    <a:pt x="59189" y="6406"/>
                  </a:lnTo>
                  <a:lnTo>
                    <a:pt x="59873" y="5706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20" name="ee4p_DE_1_37365">
              <a:extLst>
                <a:ext uri="{FF2B5EF4-FFF2-40B4-BE49-F238E27FC236}">
                  <a16:creationId xmlns:a16="http://schemas.microsoft.com/office/drawing/2014/main" id="{D79AF2F7-3853-D1EB-2242-15A13FCE6615}"/>
                </a:ext>
              </a:extLst>
            </p:cNvPr>
            <p:cNvSpPr>
              <a:spLocks noChangeAspect="1"/>
            </p:cNvSpPr>
            <p:nvPr>
              <p:custDataLst>
                <p:tags r:id="rId274"/>
              </p:custDataLst>
            </p:nvPr>
          </p:nvSpPr>
          <p:spPr>
            <a:xfrm>
              <a:off x="6677361" y="2922813"/>
              <a:ext cx="254342" cy="294127"/>
            </a:xfrm>
            <a:custGeom>
              <a:avLst/>
              <a:gdLst>
                <a:gd name="connsiteX0" fmla="*/ 176238 w 202527"/>
                <a:gd name="connsiteY0" fmla="*/ 28478 h 227999"/>
                <a:gd name="connsiteX1" fmla="*/ 180907 w 202527"/>
                <a:gd name="connsiteY1" fmla="*/ 31292 h 227999"/>
                <a:gd name="connsiteX2" fmla="*/ 184723 w 202527"/>
                <a:gd name="connsiteY2" fmla="*/ 33847 h 227999"/>
                <a:gd name="connsiteX3" fmla="*/ 184431 w 202527"/>
                <a:gd name="connsiteY3" fmla="*/ 34795 h 227999"/>
                <a:gd name="connsiteX4" fmla="*/ 184772 w 202527"/>
                <a:gd name="connsiteY4" fmla="*/ 36258 h 227999"/>
                <a:gd name="connsiteX5" fmla="*/ 183854 w 202527"/>
                <a:gd name="connsiteY5" fmla="*/ 36149 h 227999"/>
                <a:gd name="connsiteX6" fmla="*/ 181117 w 202527"/>
                <a:gd name="connsiteY6" fmla="*/ 36490 h 227999"/>
                <a:gd name="connsiteX7" fmla="*/ 178406 w 202527"/>
                <a:gd name="connsiteY7" fmla="*/ 36007 h 227999"/>
                <a:gd name="connsiteX8" fmla="*/ 177884 w 202527"/>
                <a:gd name="connsiteY8" fmla="*/ 34192 h 227999"/>
                <a:gd name="connsiteX9" fmla="*/ 178316 w 202527"/>
                <a:gd name="connsiteY9" fmla="*/ 32443 h 227999"/>
                <a:gd name="connsiteX10" fmla="*/ 177227 w 202527"/>
                <a:gd name="connsiteY10" fmla="*/ 31240 h 227999"/>
                <a:gd name="connsiteX11" fmla="*/ 176225 w 202527"/>
                <a:gd name="connsiteY11" fmla="*/ 30534 h 227999"/>
                <a:gd name="connsiteX12" fmla="*/ 176077 w 202527"/>
                <a:gd name="connsiteY12" fmla="*/ 29524 h 227999"/>
                <a:gd name="connsiteX13" fmla="*/ 115590 w 202527"/>
                <a:gd name="connsiteY13" fmla="*/ 16104 h 227999"/>
                <a:gd name="connsiteX14" fmla="*/ 118877 w 202527"/>
                <a:gd name="connsiteY14" fmla="*/ 17086 h 227999"/>
                <a:gd name="connsiteX15" fmla="*/ 119909 w 202527"/>
                <a:gd name="connsiteY15" fmla="*/ 19005 h 227999"/>
                <a:gd name="connsiteX16" fmla="*/ 119965 w 202527"/>
                <a:gd name="connsiteY16" fmla="*/ 19628 h 227999"/>
                <a:gd name="connsiteX17" fmla="*/ 116570 w 202527"/>
                <a:gd name="connsiteY17" fmla="*/ 19687 h 227999"/>
                <a:gd name="connsiteX18" fmla="*/ 115274 w 202527"/>
                <a:gd name="connsiteY18" fmla="*/ 18467 h 227999"/>
                <a:gd name="connsiteX19" fmla="*/ 113970 w 202527"/>
                <a:gd name="connsiteY19" fmla="*/ 18157 h 227999"/>
                <a:gd name="connsiteX20" fmla="*/ 114672 w 202527"/>
                <a:gd name="connsiteY20" fmla="*/ 16652 h 227999"/>
                <a:gd name="connsiteX21" fmla="*/ 167283 w 202527"/>
                <a:gd name="connsiteY21" fmla="*/ 11030 h 227999"/>
                <a:gd name="connsiteX22" fmla="*/ 167888 w 202527"/>
                <a:gd name="connsiteY22" fmla="*/ 12552 h 227999"/>
                <a:gd name="connsiteX23" fmla="*/ 168797 w 202527"/>
                <a:gd name="connsiteY23" fmla="*/ 13599 h 227999"/>
                <a:gd name="connsiteX24" fmla="*/ 171999 w 202527"/>
                <a:gd name="connsiteY24" fmla="*/ 14772 h 227999"/>
                <a:gd name="connsiteX25" fmla="*/ 172477 w 202527"/>
                <a:gd name="connsiteY25" fmla="*/ 15305 h 227999"/>
                <a:gd name="connsiteX26" fmla="*/ 172766 w 202527"/>
                <a:gd name="connsiteY26" fmla="*/ 16042 h 227999"/>
                <a:gd name="connsiteX27" fmla="*/ 171276 w 202527"/>
                <a:gd name="connsiteY27" fmla="*/ 17485 h 227999"/>
                <a:gd name="connsiteX28" fmla="*/ 170771 w 202527"/>
                <a:gd name="connsiteY28" fmla="*/ 18224 h 227999"/>
                <a:gd name="connsiteX29" fmla="*/ 171244 w 202527"/>
                <a:gd name="connsiteY29" fmla="*/ 19409 h 227999"/>
                <a:gd name="connsiteX30" fmla="*/ 173617 w 202527"/>
                <a:gd name="connsiteY30" fmla="*/ 20703 h 227999"/>
                <a:gd name="connsiteX31" fmla="*/ 174170 w 202527"/>
                <a:gd name="connsiteY31" fmla="*/ 22753 h 227999"/>
                <a:gd name="connsiteX32" fmla="*/ 173576 w 202527"/>
                <a:gd name="connsiteY32" fmla="*/ 23797 h 227999"/>
                <a:gd name="connsiteX33" fmla="*/ 171090 w 202527"/>
                <a:gd name="connsiteY33" fmla="*/ 22060 h 227999"/>
                <a:gd name="connsiteX34" fmla="*/ 168594 w 202527"/>
                <a:gd name="connsiteY34" fmla="*/ 22084 h 227999"/>
                <a:gd name="connsiteX35" fmla="*/ 167102 w 202527"/>
                <a:gd name="connsiteY35" fmla="*/ 24759 h 227999"/>
                <a:gd name="connsiteX36" fmla="*/ 165992 w 202527"/>
                <a:gd name="connsiteY36" fmla="*/ 24872 h 227999"/>
                <a:gd name="connsiteX37" fmla="*/ 162138 w 202527"/>
                <a:gd name="connsiteY37" fmla="*/ 22442 h 227999"/>
                <a:gd name="connsiteX38" fmla="*/ 161520 w 202527"/>
                <a:gd name="connsiteY38" fmla="*/ 21256 h 227999"/>
                <a:gd name="connsiteX39" fmla="*/ 161393 w 202527"/>
                <a:gd name="connsiteY39" fmla="*/ 20270 h 227999"/>
                <a:gd name="connsiteX40" fmla="*/ 161943 w 202527"/>
                <a:gd name="connsiteY40" fmla="*/ 16850 h 227999"/>
                <a:gd name="connsiteX41" fmla="*/ 161842 w 202527"/>
                <a:gd name="connsiteY41" fmla="*/ 15773 h 227999"/>
                <a:gd name="connsiteX42" fmla="*/ 163053 w 202527"/>
                <a:gd name="connsiteY42" fmla="*/ 14596 h 227999"/>
                <a:gd name="connsiteX43" fmla="*/ 163241 w 202527"/>
                <a:gd name="connsiteY43" fmla="*/ 12894 h 227999"/>
                <a:gd name="connsiteX44" fmla="*/ 165383 w 202527"/>
                <a:gd name="connsiteY44" fmla="*/ 11098 h 227999"/>
                <a:gd name="connsiteX45" fmla="*/ 58651 w 202527"/>
                <a:gd name="connsiteY45" fmla="*/ 9162 h 227999"/>
                <a:gd name="connsiteX46" fmla="*/ 60055 w 202527"/>
                <a:gd name="connsiteY46" fmla="*/ 9517 h 227999"/>
                <a:gd name="connsiteX47" fmla="*/ 60374 w 202527"/>
                <a:gd name="connsiteY47" fmla="*/ 10621 h 227999"/>
                <a:gd name="connsiteX48" fmla="*/ 59513 w 202527"/>
                <a:gd name="connsiteY48" fmla="*/ 11371 h 227999"/>
                <a:gd name="connsiteX49" fmla="*/ 57409 w 202527"/>
                <a:gd name="connsiteY49" fmla="*/ 11283 h 227999"/>
                <a:gd name="connsiteX50" fmla="*/ 56228 w 202527"/>
                <a:gd name="connsiteY50" fmla="*/ 10577 h 227999"/>
                <a:gd name="connsiteX51" fmla="*/ 56611 w 202527"/>
                <a:gd name="connsiteY51" fmla="*/ 9825 h 227999"/>
                <a:gd name="connsiteX52" fmla="*/ 57727 w 202527"/>
                <a:gd name="connsiteY52" fmla="*/ 9251 h 227999"/>
                <a:gd name="connsiteX53" fmla="*/ 62197 w 202527"/>
                <a:gd name="connsiteY53" fmla="*/ 4773 h 227999"/>
                <a:gd name="connsiteX54" fmla="*/ 62206 w 202527"/>
                <a:gd name="connsiteY54" fmla="*/ 4776 h 227999"/>
                <a:gd name="connsiteX55" fmla="*/ 66330 w 202527"/>
                <a:gd name="connsiteY55" fmla="*/ 4843 h 227999"/>
                <a:gd name="connsiteX56" fmla="*/ 67341 w 202527"/>
                <a:gd name="connsiteY56" fmla="*/ 4973 h 227999"/>
                <a:gd name="connsiteX57" fmla="*/ 73596 w 202527"/>
                <a:gd name="connsiteY57" fmla="*/ 6576 h 227999"/>
                <a:gd name="connsiteX58" fmla="*/ 75125 w 202527"/>
                <a:gd name="connsiteY58" fmla="*/ 7700 h 227999"/>
                <a:gd name="connsiteX59" fmla="*/ 77049 w 202527"/>
                <a:gd name="connsiteY59" fmla="*/ 7753 h 227999"/>
                <a:gd name="connsiteX60" fmla="*/ 80515 w 202527"/>
                <a:gd name="connsiteY60" fmla="*/ 6706 h 227999"/>
                <a:gd name="connsiteX61" fmla="*/ 83104 w 202527"/>
                <a:gd name="connsiteY61" fmla="*/ 6246 h 227999"/>
                <a:gd name="connsiteX62" fmla="*/ 84108 w 202527"/>
                <a:gd name="connsiteY62" fmla="*/ 6892 h 227999"/>
                <a:gd name="connsiteX63" fmla="*/ 85518 w 202527"/>
                <a:gd name="connsiteY63" fmla="*/ 7163 h 227999"/>
                <a:gd name="connsiteX64" fmla="*/ 85844 w 202527"/>
                <a:gd name="connsiteY64" fmla="*/ 7163 h 227999"/>
                <a:gd name="connsiteX65" fmla="*/ 85981 w 202527"/>
                <a:gd name="connsiteY65" fmla="*/ 7726 h 227999"/>
                <a:gd name="connsiteX66" fmla="*/ 89217 w 202527"/>
                <a:gd name="connsiteY66" fmla="*/ 8540 h 227999"/>
                <a:gd name="connsiteX67" fmla="*/ 90578 w 202527"/>
                <a:gd name="connsiteY67" fmla="*/ 9837 h 227999"/>
                <a:gd name="connsiteX68" fmla="*/ 92089 w 202527"/>
                <a:gd name="connsiteY68" fmla="*/ 11807 h 227999"/>
                <a:gd name="connsiteX69" fmla="*/ 92236 w 202527"/>
                <a:gd name="connsiteY69" fmla="*/ 14641 h 227999"/>
                <a:gd name="connsiteX70" fmla="*/ 90301 w 202527"/>
                <a:gd name="connsiteY70" fmla="*/ 16677 h 227999"/>
                <a:gd name="connsiteX71" fmla="*/ 88695 w 202527"/>
                <a:gd name="connsiteY71" fmla="*/ 17965 h 227999"/>
                <a:gd name="connsiteX72" fmla="*/ 94771 w 202527"/>
                <a:gd name="connsiteY72" fmla="*/ 17478 h 227999"/>
                <a:gd name="connsiteX73" fmla="*/ 95376 w 202527"/>
                <a:gd name="connsiteY73" fmla="*/ 18645 h 227999"/>
                <a:gd name="connsiteX74" fmla="*/ 96296 w 202527"/>
                <a:gd name="connsiteY74" fmla="*/ 19903 h 227999"/>
                <a:gd name="connsiteX75" fmla="*/ 99569 w 202527"/>
                <a:gd name="connsiteY75" fmla="*/ 19007 h 227999"/>
                <a:gd name="connsiteX76" fmla="*/ 107775 w 202527"/>
                <a:gd name="connsiteY76" fmla="*/ 22728 h 227999"/>
                <a:gd name="connsiteX77" fmla="*/ 112737 w 202527"/>
                <a:gd name="connsiteY77" fmla="*/ 20917 h 227999"/>
                <a:gd name="connsiteX78" fmla="*/ 114007 w 202527"/>
                <a:gd name="connsiteY78" fmla="*/ 20811 h 227999"/>
                <a:gd name="connsiteX79" fmla="*/ 115134 w 202527"/>
                <a:gd name="connsiteY79" fmla="*/ 23817 h 227999"/>
                <a:gd name="connsiteX80" fmla="*/ 113901 w 202527"/>
                <a:gd name="connsiteY80" fmla="*/ 26840 h 227999"/>
                <a:gd name="connsiteX81" fmla="*/ 109526 w 202527"/>
                <a:gd name="connsiteY81" fmla="*/ 30061 h 227999"/>
                <a:gd name="connsiteX82" fmla="*/ 110496 w 202527"/>
                <a:gd name="connsiteY82" fmla="*/ 32043 h 227999"/>
                <a:gd name="connsiteX83" fmla="*/ 111893 w 202527"/>
                <a:gd name="connsiteY83" fmla="*/ 32483 h 227999"/>
                <a:gd name="connsiteX84" fmla="*/ 116017 w 202527"/>
                <a:gd name="connsiteY84" fmla="*/ 32063 h 227999"/>
                <a:gd name="connsiteX85" fmla="*/ 122547 w 202527"/>
                <a:gd name="connsiteY85" fmla="*/ 34020 h 227999"/>
                <a:gd name="connsiteX86" fmla="*/ 123908 w 202527"/>
                <a:gd name="connsiteY86" fmla="*/ 33410 h 227999"/>
                <a:gd name="connsiteX87" fmla="*/ 129203 w 202527"/>
                <a:gd name="connsiteY87" fmla="*/ 28895 h 227999"/>
                <a:gd name="connsiteX88" fmla="*/ 131319 w 202527"/>
                <a:gd name="connsiteY88" fmla="*/ 27925 h 227999"/>
                <a:gd name="connsiteX89" fmla="*/ 138285 w 202527"/>
                <a:gd name="connsiteY89" fmla="*/ 27230 h 227999"/>
                <a:gd name="connsiteX90" fmla="*/ 139552 w 202527"/>
                <a:gd name="connsiteY90" fmla="*/ 25479 h 227999"/>
                <a:gd name="connsiteX91" fmla="*/ 142375 w 202527"/>
                <a:gd name="connsiteY91" fmla="*/ 23717 h 227999"/>
                <a:gd name="connsiteX92" fmla="*/ 144193 w 202527"/>
                <a:gd name="connsiteY92" fmla="*/ 21791 h 227999"/>
                <a:gd name="connsiteX93" fmla="*/ 148546 w 202527"/>
                <a:gd name="connsiteY93" fmla="*/ 18120 h 227999"/>
                <a:gd name="connsiteX94" fmla="*/ 153051 w 202527"/>
                <a:gd name="connsiteY94" fmla="*/ 18782 h 227999"/>
                <a:gd name="connsiteX95" fmla="*/ 155681 w 202527"/>
                <a:gd name="connsiteY95" fmla="*/ 19485 h 227999"/>
                <a:gd name="connsiteX96" fmla="*/ 158568 w 202527"/>
                <a:gd name="connsiteY96" fmla="*/ 19839 h 227999"/>
                <a:gd name="connsiteX97" fmla="*/ 161196 w 202527"/>
                <a:gd name="connsiteY97" fmla="*/ 23749 h 227999"/>
                <a:gd name="connsiteX98" fmla="*/ 167843 w 202527"/>
                <a:gd name="connsiteY98" fmla="*/ 28064 h 227999"/>
                <a:gd name="connsiteX99" fmla="*/ 173950 w 202527"/>
                <a:gd name="connsiteY99" fmla="*/ 27689 h 227999"/>
                <a:gd name="connsiteX100" fmla="*/ 176117 w 202527"/>
                <a:gd name="connsiteY100" fmla="*/ 31764 h 227999"/>
                <a:gd name="connsiteX101" fmla="*/ 177074 w 202527"/>
                <a:gd name="connsiteY101" fmla="*/ 36785 h 227999"/>
                <a:gd name="connsiteX102" fmla="*/ 178950 w 202527"/>
                <a:gd name="connsiteY102" fmla="*/ 38358 h 227999"/>
                <a:gd name="connsiteX103" fmla="*/ 180600 w 202527"/>
                <a:gd name="connsiteY103" fmla="*/ 39385 h 227999"/>
                <a:gd name="connsiteX104" fmla="*/ 185576 w 202527"/>
                <a:gd name="connsiteY104" fmla="*/ 40460 h 227999"/>
                <a:gd name="connsiteX105" fmla="*/ 185772 w 202527"/>
                <a:gd name="connsiteY105" fmla="*/ 40528 h 227999"/>
                <a:gd name="connsiteX106" fmla="*/ 185932 w 202527"/>
                <a:gd name="connsiteY106" fmla="*/ 41208 h 227999"/>
                <a:gd name="connsiteX107" fmla="*/ 186236 w 202527"/>
                <a:gd name="connsiteY107" fmla="*/ 43696 h 227999"/>
                <a:gd name="connsiteX108" fmla="*/ 186653 w 202527"/>
                <a:gd name="connsiteY108" fmla="*/ 45757 h 227999"/>
                <a:gd name="connsiteX109" fmla="*/ 189214 w 202527"/>
                <a:gd name="connsiteY109" fmla="*/ 53974 h 227999"/>
                <a:gd name="connsiteX110" fmla="*/ 189165 w 202527"/>
                <a:gd name="connsiteY110" fmla="*/ 55979 h 227999"/>
                <a:gd name="connsiteX111" fmla="*/ 189134 w 202527"/>
                <a:gd name="connsiteY111" fmla="*/ 56511 h 227999"/>
                <a:gd name="connsiteX112" fmla="*/ 188197 w 202527"/>
                <a:gd name="connsiteY112" fmla="*/ 59315 h 227999"/>
                <a:gd name="connsiteX113" fmla="*/ 186530 w 202527"/>
                <a:gd name="connsiteY113" fmla="*/ 61677 h 227999"/>
                <a:gd name="connsiteX114" fmla="*/ 184330 w 202527"/>
                <a:gd name="connsiteY114" fmla="*/ 63008 h 227999"/>
                <a:gd name="connsiteX115" fmla="*/ 183118 w 202527"/>
                <a:gd name="connsiteY115" fmla="*/ 64488 h 227999"/>
                <a:gd name="connsiteX116" fmla="*/ 182891 w 202527"/>
                <a:gd name="connsiteY116" fmla="*/ 66122 h 227999"/>
                <a:gd name="connsiteX117" fmla="*/ 185658 w 202527"/>
                <a:gd name="connsiteY117" fmla="*/ 68981 h 227999"/>
                <a:gd name="connsiteX118" fmla="*/ 191414 w 202527"/>
                <a:gd name="connsiteY118" fmla="*/ 73066 h 227999"/>
                <a:gd name="connsiteX119" fmla="*/ 193744 w 202527"/>
                <a:gd name="connsiteY119" fmla="*/ 76554 h 227999"/>
                <a:gd name="connsiteX120" fmla="*/ 192645 w 202527"/>
                <a:gd name="connsiteY120" fmla="*/ 79452 h 227999"/>
                <a:gd name="connsiteX121" fmla="*/ 192311 w 202527"/>
                <a:gd name="connsiteY121" fmla="*/ 81575 h 227999"/>
                <a:gd name="connsiteX122" fmla="*/ 192738 w 202527"/>
                <a:gd name="connsiteY122" fmla="*/ 82926 h 227999"/>
                <a:gd name="connsiteX123" fmla="*/ 193660 w 202527"/>
                <a:gd name="connsiteY123" fmla="*/ 84010 h 227999"/>
                <a:gd name="connsiteX124" fmla="*/ 195081 w 202527"/>
                <a:gd name="connsiteY124" fmla="*/ 84830 h 227999"/>
                <a:gd name="connsiteX125" fmla="*/ 195645 w 202527"/>
                <a:gd name="connsiteY125" fmla="*/ 86091 h 227999"/>
                <a:gd name="connsiteX126" fmla="*/ 195358 w 202527"/>
                <a:gd name="connsiteY126" fmla="*/ 87793 h 227999"/>
                <a:gd name="connsiteX127" fmla="*/ 195627 w 202527"/>
                <a:gd name="connsiteY127" fmla="*/ 88973 h 227999"/>
                <a:gd name="connsiteX128" fmla="*/ 196688 w 202527"/>
                <a:gd name="connsiteY128" fmla="*/ 89813 h 227999"/>
                <a:gd name="connsiteX129" fmla="*/ 196590 w 202527"/>
                <a:gd name="connsiteY129" fmla="*/ 90139 h 227999"/>
                <a:gd name="connsiteX130" fmla="*/ 196075 w 202527"/>
                <a:gd name="connsiteY130" fmla="*/ 91321 h 227999"/>
                <a:gd name="connsiteX131" fmla="*/ 195370 w 202527"/>
                <a:gd name="connsiteY131" fmla="*/ 93475 h 227999"/>
                <a:gd name="connsiteX132" fmla="*/ 194971 w 202527"/>
                <a:gd name="connsiteY132" fmla="*/ 95046 h 227999"/>
                <a:gd name="connsiteX133" fmla="*/ 193351 w 202527"/>
                <a:gd name="connsiteY133" fmla="*/ 97185 h 227999"/>
                <a:gd name="connsiteX134" fmla="*/ 193844 w 202527"/>
                <a:gd name="connsiteY134" fmla="*/ 99001 h 227999"/>
                <a:gd name="connsiteX135" fmla="*/ 195113 w 202527"/>
                <a:gd name="connsiteY135" fmla="*/ 101141 h 227999"/>
                <a:gd name="connsiteX136" fmla="*/ 196077 w 202527"/>
                <a:gd name="connsiteY136" fmla="*/ 102216 h 227999"/>
                <a:gd name="connsiteX137" fmla="*/ 196381 w 202527"/>
                <a:gd name="connsiteY137" fmla="*/ 103234 h 227999"/>
                <a:gd name="connsiteX138" fmla="*/ 195768 w 202527"/>
                <a:gd name="connsiteY138" fmla="*/ 105653 h 227999"/>
                <a:gd name="connsiteX139" fmla="*/ 196072 w 202527"/>
                <a:gd name="connsiteY139" fmla="*/ 106271 h 227999"/>
                <a:gd name="connsiteX140" fmla="*/ 200080 w 202527"/>
                <a:gd name="connsiteY140" fmla="*/ 108051 h 227999"/>
                <a:gd name="connsiteX141" fmla="*/ 200734 w 202527"/>
                <a:gd name="connsiteY141" fmla="*/ 108872 h 227999"/>
                <a:gd name="connsiteX142" fmla="*/ 201123 w 202527"/>
                <a:gd name="connsiteY142" fmla="*/ 110581 h 227999"/>
                <a:gd name="connsiteX143" fmla="*/ 202527 w 202527"/>
                <a:gd name="connsiteY143" fmla="*/ 114229 h 227999"/>
                <a:gd name="connsiteX144" fmla="*/ 201361 w 202527"/>
                <a:gd name="connsiteY144" fmla="*/ 118843 h 227999"/>
                <a:gd name="connsiteX145" fmla="*/ 200335 w 202527"/>
                <a:gd name="connsiteY145" fmla="*/ 121367 h 227999"/>
                <a:gd name="connsiteX146" fmla="*/ 198052 w 202527"/>
                <a:gd name="connsiteY146" fmla="*/ 125369 h 227999"/>
                <a:gd name="connsiteX147" fmla="*/ 197945 w 202527"/>
                <a:gd name="connsiteY147" fmla="*/ 125738 h 227999"/>
                <a:gd name="connsiteX148" fmla="*/ 197681 w 202527"/>
                <a:gd name="connsiteY148" fmla="*/ 126224 h 227999"/>
                <a:gd name="connsiteX149" fmla="*/ 196997 w 202527"/>
                <a:gd name="connsiteY149" fmla="*/ 126924 h 227999"/>
                <a:gd name="connsiteX150" fmla="*/ 196042 w 202527"/>
                <a:gd name="connsiteY150" fmla="*/ 127029 h 227999"/>
                <a:gd name="connsiteX151" fmla="*/ 194602 w 202527"/>
                <a:gd name="connsiteY151" fmla="*/ 126507 h 227999"/>
                <a:gd name="connsiteX152" fmla="*/ 193615 w 202527"/>
                <a:gd name="connsiteY152" fmla="*/ 125838 h 227999"/>
                <a:gd name="connsiteX153" fmla="*/ 193842 w 202527"/>
                <a:gd name="connsiteY153" fmla="*/ 124112 h 227999"/>
                <a:gd name="connsiteX154" fmla="*/ 193209 w 202527"/>
                <a:gd name="connsiteY154" fmla="*/ 123999 h 227999"/>
                <a:gd name="connsiteX155" fmla="*/ 192423 w 202527"/>
                <a:gd name="connsiteY155" fmla="*/ 122939 h 227999"/>
                <a:gd name="connsiteX156" fmla="*/ 192114 w 202527"/>
                <a:gd name="connsiteY156" fmla="*/ 121799 h 227999"/>
                <a:gd name="connsiteX157" fmla="*/ 191266 w 202527"/>
                <a:gd name="connsiteY157" fmla="*/ 121334 h 227999"/>
                <a:gd name="connsiteX158" fmla="*/ 188169 w 202527"/>
                <a:gd name="connsiteY158" fmla="*/ 120855 h 227999"/>
                <a:gd name="connsiteX159" fmla="*/ 187117 w 202527"/>
                <a:gd name="connsiteY159" fmla="*/ 120518 h 227999"/>
                <a:gd name="connsiteX160" fmla="*/ 186310 w 202527"/>
                <a:gd name="connsiteY160" fmla="*/ 120761 h 227999"/>
                <a:gd name="connsiteX161" fmla="*/ 185705 w 202527"/>
                <a:gd name="connsiteY161" fmla="*/ 121568 h 227999"/>
                <a:gd name="connsiteX162" fmla="*/ 186091 w 202527"/>
                <a:gd name="connsiteY162" fmla="*/ 122297 h 227999"/>
                <a:gd name="connsiteX163" fmla="*/ 186668 w 202527"/>
                <a:gd name="connsiteY163" fmla="*/ 123007 h 227999"/>
                <a:gd name="connsiteX164" fmla="*/ 188385 w 202527"/>
                <a:gd name="connsiteY164" fmla="*/ 124132 h 227999"/>
                <a:gd name="connsiteX165" fmla="*/ 188208 w 202527"/>
                <a:gd name="connsiteY165" fmla="*/ 124579 h 227999"/>
                <a:gd name="connsiteX166" fmla="*/ 184509 w 202527"/>
                <a:gd name="connsiteY166" fmla="*/ 125673 h 227999"/>
                <a:gd name="connsiteX167" fmla="*/ 182181 w 202527"/>
                <a:gd name="connsiteY167" fmla="*/ 126795 h 227999"/>
                <a:gd name="connsiteX168" fmla="*/ 180013 w 202527"/>
                <a:gd name="connsiteY168" fmla="*/ 127425 h 227999"/>
                <a:gd name="connsiteX169" fmla="*/ 177804 w 202527"/>
                <a:gd name="connsiteY169" fmla="*/ 128586 h 227999"/>
                <a:gd name="connsiteX170" fmla="*/ 173444 w 202527"/>
                <a:gd name="connsiteY170" fmla="*/ 129889 h 227999"/>
                <a:gd name="connsiteX171" fmla="*/ 170246 w 202527"/>
                <a:gd name="connsiteY171" fmla="*/ 130235 h 227999"/>
                <a:gd name="connsiteX172" fmla="*/ 169579 w 202527"/>
                <a:gd name="connsiteY172" fmla="*/ 130579 h 227999"/>
                <a:gd name="connsiteX173" fmla="*/ 168385 w 202527"/>
                <a:gd name="connsiteY173" fmla="*/ 132786 h 227999"/>
                <a:gd name="connsiteX174" fmla="*/ 167579 w 202527"/>
                <a:gd name="connsiteY174" fmla="*/ 133247 h 227999"/>
                <a:gd name="connsiteX175" fmla="*/ 166806 w 202527"/>
                <a:gd name="connsiteY175" fmla="*/ 133008 h 227999"/>
                <a:gd name="connsiteX176" fmla="*/ 166219 w 202527"/>
                <a:gd name="connsiteY176" fmla="*/ 132647 h 227999"/>
                <a:gd name="connsiteX177" fmla="*/ 165476 w 202527"/>
                <a:gd name="connsiteY177" fmla="*/ 132946 h 227999"/>
                <a:gd name="connsiteX178" fmla="*/ 164703 w 202527"/>
                <a:gd name="connsiteY178" fmla="*/ 133676 h 227999"/>
                <a:gd name="connsiteX179" fmla="*/ 163895 w 202527"/>
                <a:gd name="connsiteY179" fmla="*/ 133964 h 227999"/>
                <a:gd name="connsiteX180" fmla="*/ 163191 w 202527"/>
                <a:gd name="connsiteY180" fmla="*/ 133954 h 227999"/>
                <a:gd name="connsiteX181" fmla="*/ 161941 w 202527"/>
                <a:gd name="connsiteY181" fmla="*/ 135879 h 227999"/>
                <a:gd name="connsiteX182" fmla="*/ 158298 w 202527"/>
                <a:gd name="connsiteY182" fmla="*/ 136463 h 227999"/>
                <a:gd name="connsiteX183" fmla="*/ 157871 w 202527"/>
                <a:gd name="connsiteY183" fmla="*/ 137460 h 227999"/>
                <a:gd name="connsiteX184" fmla="*/ 157201 w 202527"/>
                <a:gd name="connsiteY184" fmla="*/ 138616 h 227999"/>
                <a:gd name="connsiteX185" fmla="*/ 156668 w 202527"/>
                <a:gd name="connsiteY185" fmla="*/ 138899 h 227999"/>
                <a:gd name="connsiteX186" fmla="*/ 155022 w 202527"/>
                <a:gd name="connsiteY186" fmla="*/ 138441 h 227999"/>
                <a:gd name="connsiteX187" fmla="*/ 152749 w 202527"/>
                <a:gd name="connsiteY187" fmla="*/ 138188 h 227999"/>
                <a:gd name="connsiteX188" fmla="*/ 151444 w 202527"/>
                <a:gd name="connsiteY188" fmla="*/ 138821 h 227999"/>
                <a:gd name="connsiteX189" fmla="*/ 149877 w 202527"/>
                <a:gd name="connsiteY189" fmla="*/ 139171 h 227999"/>
                <a:gd name="connsiteX190" fmla="*/ 147964 w 202527"/>
                <a:gd name="connsiteY190" fmla="*/ 139277 h 227999"/>
                <a:gd name="connsiteX191" fmla="*/ 145832 w 202527"/>
                <a:gd name="connsiteY191" fmla="*/ 140541 h 227999"/>
                <a:gd name="connsiteX192" fmla="*/ 143753 w 202527"/>
                <a:gd name="connsiteY192" fmla="*/ 142759 h 227999"/>
                <a:gd name="connsiteX193" fmla="*/ 142582 w 202527"/>
                <a:gd name="connsiteY193" fmla="*/ 144714 h 227999"/>
                <a:gd name="connsiteX194" fmla="*/ 141956 w 202527"/>
                <a:gd name="connsiteY194" fmla="*/ 145416 h 227999"/>
                <a:gd name="connsiteX195" fmla="*/ 140935 w 202527"/>
                <a:gd name="connsiteY195" fmla="*/ 143581 h 227999"/>
                <a:gd name="connsiteX196" fmla="*/ 139688 w 202527"/>
                <a:gd name="connsiteY196" fmla="*/ 142321 h 227999"/>
                <a:gd name="connsiteX197" fmla="*/ 138806 w 202527"/>
                <a:gd name="connsiteY197" fmla="*/ 141667 h 227999"/>
                <a:gd name="connsiteX198" fmla="*/ 138017 w 202527"/>
                <a:gd name="connsiteY198" fmla="*/ 141666 h 227999"/>
                <a:gd name="connsiteX199" fmla="*/ 137810 w 202527"/>
                <a:gd name="connsiteY199" fmla="*/ 141934 h 227999"/>
                <a:gd name="connsiteX200" fmla="*/ 137808 w 202527"/>
                <a:gd name="connsiteY200" fmla="*/ 142895 h 227999"/>
                <a:gd name="connsiteX201" fmla="*/ 138650 w 202527"/>
                <a:gd name="connsiteY201" fmla="*/ 144491 h 227999"/>
                <a:gd name="connsiteX202" fmla="*/ 139693 w 202527"/>
                <a:gd name="connsiteY202" fmla="*/ 145579 h 227999"/>
                <a:gd name="connsiteX203" fmla="*/ 139859 w 202527"/>
                <a:gd name="connsiteY203" fmla="*/ 146382 h 227999"/>
                <a:gd name="connsiteX204" fmla="*/ 140418 w 202527"/>
                <a:gd name="connsiteY204" fmla="*/ 147843 h 227999"/>
                <a:gd name="connsiteX205" fmla="*/ 141936 w 202527"/>
                <a:gd name="connsiteY205" fmla="*/ 149437 h 227999"/>
                <a:gd name="connsiteX206" fmla="*/ 144318 w 202527"/>
                <a:gd name="connsiteY206" fmla="*/ 150700 h 227999"/>
                <a:gd name="connsiteX207" fmla="*/ 145942 w 202527"/>
                <a:gd name="connsiteY207" fmla="*/ 151943 h 227999"/>
                <a:gd name="connsiteX208" fmla="*/ 147145 w 202527"/>
                <a:gd name="connsiteY208" fmla="*/ 153665 h 227999"/>
                <a:gd name="connsiteX209" fmla="*/ 147156 w 202527"/>
                <a:gd name="connsiteY209" fmla="*/ 154194 h 227999"/>
                <a:gd name="connsiteX210" fmla="*/ 146825 w 202527"/>
                <a:gd name="connsiteY210" fmla="*/ 154897 h 227999"/>
                <a:gd name="connsiteX211" fmla="*/ 146257 w 202527"/>
                <a:gd name="connsiteY211" fmla="*/ 155559 h 227999"/>
                <a:gd name="connsiteX212" fmla="*/ 145778 w 202527"/>
                <a:gd name="connsiteY212" fmla="*/ 156421 h 227999"/>
                <a:gd name="connsiteX213" fmla="*/ 144459 w 202527"/>
                <a:gd name="connsiteY213" fmla="*/ 158163 h 227999"/>
                <a:gd name="connsiteX214" fmla="*/ 144849 w 202527"/>
                <a:gd name="connsiteY214" fmla="*/ 158924 h 227999"/>
                <a:gd name="connsiteX215" fmla="*/ 145929 w 202527"/>
                <a:gd name="connsiteY215" fmla="*/ 159885 h 227999"/>
                <a:gd name="connsiteX216" fmla="*/ 146886 w 202527"/>
                <a:gd name="connsiteY216" fmla="*/ 161038 h 227999"/>
                <a:gd name="connsiteX217" fmla="*/ 148112 w 202527"/>
                <a:gd name="connsiteY217" fmla="*/ 162901 h 227999"/>
                <a:gd name="connsiteX218" fmla="*/ 149799 w 202527"/>
                <a:gd name="connsiteY218" fmla="*/ 166162 h 227999"/>
                <a:gd name="connsiteX219" fmla="*/ 150885 w 202527"/>
                <a:gd name="connsiteY219" fmla="*/ 167503 h 227999"/>
                <a:gd name="connsiteX220" fmla="*/ 152360 w 202527"/>
                <a:gd name="connsiteY220" fmla="*/ 168887 h 227999"/>
                <a:gd name="connsiteX221" fmla="*/ 153809 w 202527"/>
                <a:gd name="connsiteY221" fmla="*/ 169943 h 227999"/>
                <a:gd name="connsiteX222" fmla="*/ 156093 w 202527"/>
                <a:gd name="connsiteY222" fmla="*/ 169911 h 227999"/>
                <a:gd name="connsiteX223" fmla="*/ 158460 w 202527"/>
                <a:gd name="connsiteY223" fmla="*/ 171925 h 227999"/>
                <a:gd name="connsiteX224" fmla="*/ 161043 w 202527"/>
                <a:gd name="connsiteY224" fmla="*/ 174835 h 227999"/>
                <a:gd name="connsiteX225" fmla="*/ 162973 w 202527"/>
                <a:gd name="connsiteY225" fmla="*/ 176169 h 227999"/>
                <a:gd name="connsiteX226" fmla="*/ 164321 w 202527"/>
                <a:gd name="connsiteY226" fmla="*/ 176575 h 227999"/>
                <a:gd name="connsiteX227" fmla="*/ 165433 w 202527"/>
                <a:gd name="connsiteY227" fmla="*/ 177622 h 227999"/>
                <a:gd name="connsiteX228" fmla="*/ 166420 w 202527"/>
                <a:gd name="connsiteY228" fmla="*/ 179127 h 227999"/>
                <a:gd name="connsiteX229" fmla="*/ 166806 w 202527"/>
                <a:gd name="connsiteY229" fmla="*/ 179997 h 227999"/>
                <a:gd name="connsiteX230" fmla="*/ 167681 w 202527"/>
                <a:gd name="connsiteY230" fmla="*/ 180625 h 227999"/>
                <a:gd name="connsiteX231" fmla="*/ 170045 w 202527"/>
                <a:gd name="connsiteY231" fmla="*/ 180508 h 227999"/>
                <a:gd name="connsiteX232" fmla="*/ 173081 w 202527"/>
                <a:gd name="connsiteY232" fmla="*/ 182873 h 227999"/>
                <a:gd name="connsiteX233" fmla="*/ 174960 w 202527"/>
                <a:gd name="connsiteY233" fmla="*/ 184603 h 227999"/>
                <a:gd name="connsiteX234" fmla="*/ 175951 w 202527"/>
                <a:gd name="connsiteY234" fmla="*/ 185999 h 227999"/>
                <a:gd name="connsiteX235" fmla="*/ 175690 w 202527"/>
                <a:gd name="connsiteY235" fmla="*/ 186552 h 227999"/>
                <a:gd name="connsiteX236" fmla="*/ 175569 w 202527"/>
                <a:gd name="connsiteY236" fmla="*/ 188289 h 227999"/>
                <a:gd name="connsiteX237" fmla="*/ 175599 w 202527"/>
                <a:gd name="connsiteY237" fmla="*/ 190129 h 227999"/>
                <a:gd name="connsiteX238" fmla="*/ 175301 w 202527"/>
                <a:gd name="connsiteY238" fmla="*/ 191102 h 227999"/>
                <a:gd name="connsiteX239" fmla="*/ 173943 w 202527"/>
                <a:gd name="connsiteY239" fmla="*/ 192382 h 227999"/>
                <a:gd name="connsiteX240" fmla="*/ 173241 w 202527"/>
                <a:gd name="connsiteY240" fmla="*/ 192654 h 227999"/>
                <a:gd name="connsiteX241" fmla="*/ 172866 w 202527"/>
                <a:gd name="connsiteY241" fmla="*/ 192930 h 227999"/>
                <a:gd name="connsiteX242" fmla="*/ 168696 w 202527"/>
                <a:gd name="connsiteY242" fmla="*/ 191261 h 227999"/>
                <a:gd name="connsiteX243" fmla="*/ 168365 w 202527"/>
                <a:gd name="connsiteY243" fmla="*/ 191546 h 227999"/>
                <a:gd name="connsiteX244" fmla="*/ 168104 w 202527"/>
                <a:gd name="connsiteY244" fmla="*/ 191752 h 227999"/>
                <a:gd name="connsiteX245" fmla="*/ 166988 w 202527"/>
                <a:gd name="connsiteY245" fmla="*/ 196586 h 227999"/>
                <a:gd name="connsiteX246" fmla="*/ 166219 w 202527"/>
                <a:gd name="connsiteY246" fmla="*/ 197514 h 227999"/>
                <a:gd name="connsiteX247" fmla="*/ 165074 w 202527"/>
                <a:gd name="connsiteY247" fmla="*/ 198368 h 227999"/>
                <a:gd name="connsiteX248" fmla="*/ 162695 w 202527"/>
                <a:gd name="connsiteY248" fmla="*/ 199199 h 227999"/>
                <a:gd name="connsiteX249" fmla="*/ 161041 w 202527"/>
                <a:gd name="connsiteY249" fmla="*/ 199537 h 227999"/>
                <a:gd name="connsiteX250" fmla="*/ 159752 w 202527"/>
                <a:gd name="connsiteY250" fmla="*/ 199958 h 227999"/>
                <a:gd name="connsiteX251" fmla="*/ 155668 w 202527"/>
                <a:gd name="connsiteY251" fmla="*/ 201977 h 227999"/>
                <a:gd name="connsiteX252" fmla="*/ 153828 w 202527"/>
                <a:gd name="connsiteY252" fmla="*/ 203189 h 227999"/>
                <a:gd name="connsiteX253" fmla="*/ 152636 w 202527"/>
                <a:gd name="connsiteY253" fmla="*/ 204711 h 227999"/>
                <a:gd name="connsiteX254" fmla="*/ 152630 w 202527"/>
                <a:gd name="connsiteY254" fmla="*/ 205587 h 227999"/>
                <a:gd name="connsiteX255" fmla="*/ 154616 w 202527"/>
                <a:gd name="connsiteY255" fmla="*/ 208160 h 227999"/>
                <a:gd name="connsiteX256" fmla="*/ 156908 w 202527"/>
                <a:gd name="connsiteY256" fmla="*/ 210815 h 227999"/>
                <a:gd name="connsiteX257" fmla="*/ 156923 w 202527"/>
                <a:gd name="connsiteY257" fmla="*/ 213149 h 227999"/>
                <a:gd name="connsiteX258" fmla="*/ 155908 w 202527"/>
                <a:gd name="connsiteY258" fmla="*/ 214893 h 227999"/>
                <a:gd name="connsiteX259" fmla="*/ 155672 w 202527"/>
                <a:gd name="connsiteY259" fmla="*/ 215567 h 227999"/>
                <a:gd name="connsiteX260" fmla="*/ 156346 w 202527"/>
                <a:gd name="connsiteY260" fmla="*/ 215820 h 227999"/>
                <a:gd name="connsiteX261" fmla="*/ 157616 w 202527"/>
                <a:gd name="connsiteY261" fmla="*/ 215917 h 227999"/>
                <a:gd name="connsiteX262" fmla="*/ 158678 w 202527"/>
                <a:gd name="connsiteY262" fmla="*/ 216217 h 227999"/>
                <a:gd name="connsiteX263" fmla="*/ 159132 w 202527"/>
                <a:gd name="connsiteY263" fmla="*/ 217443 h 227999"/>
                <a:gd name="connsiteX264" fmla="*/ 158996 w 202527"/>
                <a:gd name="connsiteY264" fmla="*/ 219578 h 227999"/>
                <a:gd name="connsiteX265" fmla="*/ 158633 w 202527"/>
                <a:gd name="connsiteY265" fmla="*/ 221575 h 227999"/>
                <a:gd name="connsiteX266" fmla="*/ 158253 w 202527"/>
                <a:gd name="connsiteY266" fmla="*/ 222415 h 227999"/>
                <a:gd name="connsiteX267" fmla="*/ 157229 w 202527"/>
                <a:gd name="connsiteY267" fmla="*/ 222482 h 227999"/>
                <a:gd name="connsiteX268" fmla="*/ 155258 w 202527"/>
                <a:gd name="connsiteY268" fmla="*/ 221619 h 227999"/>
                <a:gd name="connsiteX269" fmla="*/ 153720 w 202527"/>
                <a:gd name="connsiteY269" fmla="*/ 220616 h 227999"/>
                <a:gd name="connsiteX270" fmla="*/ 153133 w 202527"/>
                <a:gd name="connsiteY270" fmla="*/ 219999 h 227999"/>
                <a:gd name="connsiteX271" fmla="*/ 153096 w 202527"/>
                <a:gd name="connsiteY271" fmla="*/ 219261 h 227999"/>
                <a:gd name="connsiteX272" fmla="*/ 153429 w 202527"/>
                <a:gd name="connsiteY272" fmla="*/ 218795 h 227999"/>
                <a:gd name="connsiteX273" fmla="*/ 152880 w 202527"/>
                <a:gd name="connsiteY273" fmla="*/ 217885 h 227999"/>
                <a:gd name="connsiteX274" fmla="*/ 150989 w 202527"/>
                <a:gd name="connsiteY274" fmla="*/ 217044 h 227999"/>
                <a:gd name="connsiteX275" fmla="*/ 148963 w 202527"/>
                <a:gd name="connsiteY275" fmla="*/ 217410 h 227999"/>
                <a:gd name="connsiteX276" fmla="*/ 147467 w 202527"/>
                <a:gd name="connsiteY276" fmla="*/ 217977 h 227999"/>
                <a:gd name="connsiteX277" fmla="*/ 146502 w 202527"/>
                <a:gd name="connsiteY277" fmla="*/ 217944 h 227999"/>
                <a:gd name="connsiteX278" fmla="*/ 145459 w 202527"/>
                <a:gd name="connsiteY278" fmla="*/ 217134 h 227999"/>
                <a:gd name="connsiteX279" fmla="*/ 143854 w 202527"/>
                <a:gd name="connsiteY279" fmla="*/ 216514 h 227999"/>
                <a:gd name="connsiteX280" fmla="*/ 141757 w 202527"/>
                <a:gd name="connsiteY280" fmla="*/ 216105 h 227999"/>
                <a:gd name="connsiteX281" fmla="*/ 140451 w 202527"/>
                <a:gd name="connsiteY281" fmla="*/ 215668 h 227999"/>
                <a:gd name="connsiteX282" fmla="*/ 140176 w 202527"/>
                <a:gd name="connsiteY282" fmla="*/ 215926 h 227999"/>
                <a:gd name="connsiteX283" fmla="*/ 140330 w 202527"/>
                <a:gd name="connsiteY283" fmla="*/ 217679 h 227999"/>
                <a:gd name="connsiteX284" fmla="*/ 139928 w 202527"/>
                <a:gd name="connsiteY284" fmla="*/ 218444 h 227999"/>
                <a:gd name="connsiteX285" fmla="*/ 129561 w 202527"/>
                <a:gd name="connsiteY285" fmla="*/ 219456 h 227999"/>
                <a:gd name="connsiteX286" fmla="*/ 126402 w 202527"/>
                <a:gd name="connsiteY286" fmla="*/ 220404 h 227999"/>
                <a:gd name="connsiteX287" fmla="*/ 124102 w 202527"/>
                <a:gd name="connsiteY287" fmla="*/ 221629 h 227999"/>
                <a:gd name="connsiteX288" fmla="*/ 122400 w 202527"/>
                <a:gd name="connsiteY288" fmla="*/ 222160 h 227999"/>
                <a:gd name="connsiteX289" fmla="*/ 121984 w 202527"/>
                <a:gd name="connsiteY289" fmla="*/ 222915 h 227999"/>
                <a:gd name="connsiteX290" fmla="*/ 120299 w 202527"/>
                <a:gd name="connsiteY290" fmla="*/ 223906 h 227999"/>
                <a:gd name="connsiteX291" fmla="*/ 118397 w 202527"/>
                <a:gd name="connsiteY291" fmla="*/ 224223 h 227999"/>
                <a:gd name="connsiteX292" fmla="*/ 117939 w 202527"/>
                <a:gd name="connsiteY292" fmla="*/ 223898 h 227999"/>
                <a:gd name="connsiteX293" fmla="*/ 116719 w 202527"/>
                <a:gd name="connsiteY293" fmla="*/ 224356 h 227999"/>
                <a:gd name="connsiteX294" fmla="*/ 114640 w 202527"/>
                <a:gd name="connsiteY294" fmla="*/ 224797 h 227999"/>
                <a:gd name="connsiteX295" fmla="*/ 113288 w 202527"/>
                <a:gd name="connsiteY295" fmla="*/ 224657 h 227999"/>
                <a:gd name="connsiteX296" fmla="*/ 112653 w 202527"/>
                <a:gd name="connsiteY296" fmla="*/ 223856 h 227999"/>
                <a:gd name="connsiteX297" fmla="*/ 111366 w 202527"/>
                <a:gd name="connsiteY297" fmla="*/ 222629 h 227999"/>
                <a:gd name="connsiteX298" fmla="*/ 110850 w 202527"/>
                <a:gd name="connsiteY298" fmla="*/ 221778 h 227999"/>
                <a:gd name="connsiteX299" fmla="*/ 110904 w 202527"/>
                <a:gd name="connsiteY299" fmla="*/ 221233 h 227999"/>
                <a:gd name="connsiteX300" fmla="*/ 107997 w 202527"/>
                <a:gd name="connsiteY300" fmla="*/ 221123 h 227999"/>
                <a:gd name="connsiteX301" fmla="*/ 106164 w 202527"/>
                <a:gd name="connsiteY301" fmla="*/ 220475 h 227999"/>
                <a:gd name="connsiteX302" fmla="*/ 102275 w 202527"/>
                <a:gd name="connsiteY302" fmla="*/ 220627 h 227999"/>
                <a:gd name="connsiteX303" fmla="*/ 101316 w 202527"/>
                <a:gd name="connsiteY303" fmla="*/ 220353 h 227999"/>
                <a:gd name="connsiteX304" fmla="*/ 101116 w 202527"/>
                <a:gd name="connsiteY304" fmla="*/ 220647 h 227999"/>
                <a:gd name="connsiteX305" fmla="*/ 100530 w 202527"/>
                <a:gd name="connsiteY305" fmla="*/ 224128 h 227999"/>
                <a:gd name="connsiteX306" fmla="*/ 99761 w 202527"/>
                <a:gd name="connsiteY306" fmla="*/ 225556 h 227999"/>
                <a:gd name="connsiteX307" fmla="*/ 98515 w 202527"/>
                <a:gd name="connsiteY307" fmla="*/ 227030 h 227999"/>
                <a:gd name="connsiteX308" fmla="*/ 96920 w 202527"/>
                <a:gd name="connsiteY308" fmla="*/ 227850 h 227999"/>
                <a:gd name="connsiteX309" fmla="*/ 95646 w 202527"/>
                <a:gd name="connsiteY309" fmla="*/ 227999 h 227999"/>
                <a:gd name="connsiteX310" fmla="*/ 95706 w 202527"/>
                <a:gd name="connsiteY310" fmla="*/ 226925 h 227999"/>
                <a:gd name="connsiteX311" fmla="*/ 96028 w 202527"/>
                <a:gd name="connsiteY311" fmla="*/ 225630 h 227999"/>
                <a:gd name="connsiteX312" fmla="*/ 95110 w 202527"/>
                <a:gd name="connsiteY312" fmla="*/ 225326 h 227999"/>
                <a:gd name="connsiteX313" fmla="*/ 93732 w 202527"/>
                <a:gd name="connsiteY313" fmla="*/ 225177 h 227999"/>
                <a:gd name="connsiteX314" fmla="*/ 93065 w 202527"/>
                <a:gd name="connsiteY314" fmla="*/ 224791 h 227999"/>
                <a:gd name="connsiteX315" fmla="*/ 93240 w 202527"/>
                <a:gd name="connsiteY315" fmla="*/ 223805 h 227999"/>
                <a:gd name="connsiteX316" fmla="*/ 92923 w 202527"/>
                <a:gd name="connsiteY316" fmla="*/ 223229 h 227999"/>
                <a:gd name="connsiteX317" fmla="*/ 92353 w 202527"/>
                <a:gd name="connsiteY317" fmla="*/ 222541 h 227999"/>
                <a:gd name="connsiteX318" fmla="*/ 90971 w 202527"/>
                <a:gd name="connsiteY318" fmla="*/ 221651 h 227999"/>
                <a:gd name="connsiteX319" fmla="*/ 88042 w 202527"/>
                <a:gd name="connsiteY319" fmla="*/ 220332 h 227999"/>
                <a:gd name="connsiteX320" fmla="*/ 86047 w 202527"/>
                <a:gd name="connsiteY320" fmla="*/ 219680 h 227999"/>
                <a:gd name="connsiteX321" fmla="*/ 85300 w 202527"/>
                <a:gd name="connsiteY321" fmla="*/ 220374 h 227999"/>
                <a:gd name="connsiteX322" fmla="*/ 83873 w 202527"/>
                <a:gd name="connsiteY322" fmla="*/ 221074 h 227999"/>
                <a:gd name="connsiteX323" fmla="*/ 81625 w 202527"/>
                <a:gd name="connsiteY323" fmla="*/ 220845 h 227999"/>
                <a:gd name="connsiteX324" fmla="*/ 81074 w 202527"/>
                <a:gd name="connsiteY324" fmla="*/ 221120 h 227999"/>
                <a:gd name="connsiteX325" fmla="*/ 77226 w 202527"/>
                <a:gd name="connsiteY325" fmla="*/ 219023 h 227999"/>
                <a:gd name="connsiteX326" fmla="*/ 73529 w 202527"/>
                <a:gd name="connsiteY326" fmla="*/ 217005 h 227999"/>
                <a:gd name="connsiteX327" fmla="*/ 72307 w 202527"/>
                <a:gd name="connsiteY327" fmla="*/ 217005 h 227999"/>
                <a:gd name="connsiteX328" fmla="*/ 66859 w 202527"/>
                <a:gd name="connsiteY328" fmla="*/ 217408 h 227999"/>
                <a:gd name="connsiteX329" fmla="*/ 66701 w 202527"/>
                <a:gd name="connsiteY329" fmla="*/ 217230 h 227999"/>
                <a:gd name="connsiteX330" fmla="*/ 65753 w 202527"/>
                <a:gd name="connsiteY330" fmla="*/ 216080 h 227999"/>
                <a:gd name="connsiteX331" fmla="*/ 64911 w 202527"/>
                <a:gd name="connsiteY331" fmla="*/ 215716 h 227999"/>
                <a:gd name="connsiteX332" fmla="*/ 64404 w 202527"/>
                <a:gd name="connsiteY332" fmla="*/ 215903 h 227999"/>
                <a:gd name="connsiteX333" fmla="*/ 64065 w 202527"/>
                <a:gd name="connsiteY333" fmla="*/ 216237 h 227999"/>
                <a:gd name="connsiteX334" fmla="*/ 63480 w 202527"/>
                <a:gd name="connsiteY334" fmla="*/ 216180 h 227999"/>
                <a:gd name="connsiteX335" fmla="*/ 61037 w 202527"/>
                <a:gd name="connsiteY335" fmla="*/ 214322 h 227999"/>
                <a:gd name="connsiteX336" fmla="*/ 60038 w 202527"/>
                <a:gd name="connsiteY336" fmla="*/ 214054 h 227999"/>
                <a:gd name="connsiteX337" fmla="*/ 58649 w 202527"/>
                <a:gd name="connsiteY337" fmla="*/ 214300 h 227999"/>
                <a:gd name="connsiteX338" fmla="*/ 57010 w 202527"/>
                <a:gd name="connsiteY338" fmla="*/ 215300 h 227999"/>
                <a:gd name="connsiteX339" fmla="*/ 56295 w 202527"/>
                <a:gd name="connsiteY339" fmla="*/ 216525 h 227999"/>
                <a:gd name="connsiteX340" fmla="*/ 56513 w 202527"/>
                <a:gd name="connsiteY340" fmla="*/ 217230 h 227999"/>
                <a:gd name="connsiteX341" fmla="*/ 57364 w 202527"/>
                <a:gd name="connsiteY341" fmla="*/ 217537 h 227999"/>
                <a:gd name="connsiteX342" fmla="*/ 59588 w 202527"/>
                <a:gd name="connsiteY342" fmla="*/ 217331 h 227999"/>
                <a:gd name="connsiteX343" fmla="*/ 59914 w 202527"/>
                <a:gd name="connsiteY343" fmla="*/ 217534 h 227999"/>
                <a:gd name="connsiteX344" fmla="*/ 59990 w 202527"/>
                <a:gd name="connsiteY344" fmla="*/ 217930 h 227999"/>
                <a:gd name="connsiteX345" fmla="*/ 59746 w 202527"/>
                <a:gd name="connsiteY345" fmla="*/ 218318 h 227999"/>
                <a:gd name="connsiteX346" fmla="*/ 57937 w 202527"/>
                <a:gd name="connsiteY346" fmla="*/ 218636 h 227999"/>
                <a:gd name="connsiteX347" fmla="*/ 57414 w 202527"/>
                <a:gd name="connsiteY347" fmla="*/ 219099 h 227999"/>
                <a:gd name="connsiteX348" fmla="*/ 56885 w 202527"/>
                <a:gd name="connsiteY348" fmla="*/ 219213 h 227999"/>
                <a:gd name="connsiteX349" fmla="*/ 56546 w 202527"/>
                <a:gd name="connsiteY349" fmla="*/ 219285 h 227999"/>
                <a:gd name="connsiteX350" fmla="*/ 54624 w 202527"/>
                <a:gd name="connsiteY350" fmla="*/ 218798 h 227999"/>
                <a:gd name="connsiteX351" fmla="*/ 51759 w 202527"/>
                <a:gd name="connsiteY351" fmla="*/ 218798 h 227999"/>
                <a:gd name="connsiteX352" fmla="*/ 49448 w 202527"/>
                <a:gd name="connsiteY352" fmla="*/ 219662 h 227999"/>
                <a:gd name="connsiteX353" fmla="*/ 45762 w 202527"/>
                <a:gd name="connsiteY353" fmla="*/ 220007 h 227999"/>
                <a:gd name="connsiteX354" fmla="*/ 40698 w 202527"/>
                <a:gd name="connsiteY354" fmla="*/ 219838 h 227999"/>
                <a:gd name="connsiteX355" fmla="*/ 38876 w 202527"/>
                <a:gd name="connsiteY355" fmla="*/ 219197 h 227999"/>
                <a:gd name="connsiteX356" fmla="*/ 37766 w 202527"/>
                <a:gd name="connsiteY356" fmla="*/ 218809 h 227999"/>
                <a:gd name="connsiteX357" fmla="*/ 36969 w 202527"/>
                <a:gd name="connsiteY357" fmla="*/ 216916 h 227999"/>
                <a:gd name="connsiteX358" fmla="*/ 37172 w 202527"/>
                <a:gd name="connsiteY358" fmla="*/ 214110 h 227999"/>
                <a:gd name="connsiteX359" fmla="*/ 38381 w 202527"/>
                <a:gd name="connsiteY359" fmla="*/ 210391 h 227999"/>
                <a:gd name="connsiteX360" fmla="*/ 38718 w 202527"/>
                <a:gd name="connsiteY360" fmla="*/ 207658 h 227999"/>
                <a:gd name="connsiteX361" fmla="*/ 38180 w 202527"/>
                <a:gd name="connsiteY361" fmla="*/ 205916 h 227999"/>
                <a:gd name="connsiteX362" fmla="*/ 38897 w 202527"/>
                <a:gd name="connsiteY362" fmla="*/ 203303 h 227999"/>
                <a:gd name="connsiteX363" fmla="*/ 40867 w 202527"/>
                <a:gd name="connsiteY363" fmla="*/ 199818 h 227999"/>
                <a:gd name="connsiteX364" fmla="*/ 42182 w 202527"/>
                <a:gd name="connsiteY364" fmla="*/ 196136 h 227999"/>
                <a:gd name="connsiteX365" fmla="*/ 42838 w 202527"/>
                <a:gd name="connsiteY365" fmla="*/ 192255 h 227999"/>
                <a:gd name="connsiteX366" fmla="*/ 43792 w 202527"/>
                <a:gd name="connsiteY366" fmla="*/ 189722 h 227999"/>
                <a:gd name="connsiteX367" fmla="*/ 45667 w 202527"/>
                <a:gd name="connsiteY367" fmla="*/ 187945 h 227999"/>
                <a:gd name="connsiteX368" fmla="*/ 50117 w 202527"/>
                <a:gd name="connsiteY368" fmla="*/ 182971 h 227999"/>
                <a:gd name="connsiteX369" fmla="*/ 50478 w 202527"/>
                <a:gd name="connsiteY369" fmla="*/ 182596 h 227999"/>
                <a:gd name="connsiteX370" fmla="*/ 50357 w 202527"/>
                <a:gd name="connsiteY370" fmla="*/ 180111 h 227999"/>
                <a:gd name="connsiteX371" fmla="*/ 49158 w 202527"/>
                <a:gd name="connsiteY371" fmla="*/ 179760 h 227999"/>
                <a:gd name="connsiteX372" fmla="*/ 47403 w 202527"/>
                <a:gd name="connsiteY372" fmla="*/ 179046 h 227999"/>
                <a:gd name="connsiteX373" fmla="*/ 42935 w 202527"/>
                <a:gd name="connsiteY373" fmla="*/ 178162 h 227999"/>
                <a:gd name="connsiteX374" fmla="*/ 38772 w 202527"/>
                <a:gd name="connsiteY374" fmla="*/ 177595 h 227999"/>
                <a:gd name="connsiteX375" fmla="*/ 36882 w 202527"/>
                <a:gd name="connsiteY375" fmla="*/ 176892 h 227999"/>
                <a:gd name="connsiteX376" fmla="*/ 35226 w 202527"/>
                <a:gd name="connsiteY376" fmla="*/ 175011 h 227999"/>
                <a:gd name="connsiteX377" fmla="*/ 34200 w 202527"/>
                <a:gd name="connsiteY377" fmla="*/ 174986 h 227999"/>
                <a:gd name="connsiteX378" fmla="*/ 32192 w 202527"/>
                <a:gd name="connsiteY378" fmla="*/ 175659 h 227999"/>
                <a:gd name="connsiteX379" fmla="*/ 29683 w 202527"/>
                <a:gd name="connsiteY379" fmla="*/ 176114 h 227999"/>
                <a:gd name="connsiteX380" fmla="*/ 27859 w 202527"/>
                <a:gd name="connsiteY380" fmla="*/ 175716 h 227999"/>
                <a:gd name="connsiteX381" fmla="*/ 26716 w 202527"/>
                <a:gd name="connsiteY381" fmla="*/ 175793 h 227999"/>
                <a:gd name="connsiteX382" fmla="*/ 26075 w 202527"/>
                <a:gd name="connsiteY382" fmla="*/ 176140 h 227999"/>
                <a:gd name="connsiteX383" fmla="*/ 25753 w 202527"/>
                <a:gd name="connsiteY383" fmla="*/ 175833 h 227999"/>
                <a:gd name="connsiteX384" fmla="*/ 25295 w 202527"/>
                <a:gd name="connsiteY384" fmla="*/ 174220 h 227999"/>
                <a:gd name="connsiteX385" fmla="*/ 24341 w 202527"/>
                <a:gd name="connsiteY385" fmla="*/ 173798 h 227999"/>
                <a:gd name="connsiteX386" fmla="*/ 22857 w 202527"/>
                <a:gd name="connsiteY386" fmla="*/ 173429 h 227999"/>
                <a:gd name="connsiteX387" fmla="*/ 21935 w 202527"/>
                <a:gd name="connsiteY387" fmla="*/ 173589 h 227999"/>
                <a:gd name="connsiteX388" fmla="*/ 21298 w 202527"/>
                <a:gd name="connsiteY388" fmla="*/ 174390 h 227999"/>
                <a:gd name="connsiteX389" fmla="*/ 20316 w 202527"/>
                <a:gd name="connsiteY389" fmla="*/ 174955 h 227999"/>
                <a:gd name="connsiteX390" fmla="*/ 19413 w 202527"/>
                <a:gd name="connsiteY390" fmla="*/ 174771 h 227999"/>
                <a:gd name="connsiteX391" fmla="*/ 16586 w 202527"/>
                <a:gd name="connsiteY391" fmla="*/ 171044 h 227999"/>
                <a:gd name="connsiteX392" fmla="*/ 15858 w 202527"/>
                <a:gd name="connsiteY392" fmla="*/ 170219 h 227999"/>
                <a:gd name="connsiteX393" fmla="*/ 15673 w 202527"/>
                <a:gd name="connsiteY393" fmla="*/ 169460 h 227999"/>
                <a:gd name="connsiteX394" fmla="*/ 14965 w 202527"/>
                <a:gd name="connsiteY394" fmla="*/ 168071 h 227999"/>
                <a:gd name="connsiteX395" fmla="*/ 13280 w 202527"/>
                <a:gd name="connsiteY395" fmla="*/ 166689 h 227999"/>
                <a:gd name="connsiteX396" fmla="*/ 11603 w 202527"/>
                <a:gd name="connsiteY396" fmla="*/ 166251 h 227999"/>
                <a:gd name="connsiteX397" fmla="*/ 10765 w 202527"/>
                <a:gd name="connsiteY397" fmla="*/ 166406 h 227999"/>
                <a:gd name="connsiteX398" fmla="*/ 10855 w 202527"/>
                <a:gd name="connsiteY398" fmla="*/ 164686 h 227999"/>
                <a:gd name="connsiteX399" fmla="*/ 11516 w 202527"/>
                <a:gd name="connsiteY399" fmla="*/ 162190 h 227999"/>
                <a:gd name="connsiteX400" fmla="*/ 12144 w 202527"/>
                <a:gd name="connsiteY400" fmla="*/ 160886 h 227999"/>
                <a:gd name="connsiteX401" fmla="*/ 12982 w 202527"/>
                <a:gd name="connsiteY401" fmla="*/ 159820 h 227999"/>
                <a:gd name="connsiteX402" fmla="*/ 13870 w 202527"/>
                <a:gd name="connsiteY402" fmla="*/ 159079 h 227999"/>
                <a:gd name="connsiteX403" fmla="*/ 14069 w 202527"/>
                <a:gd name="connsiteY403" fmla="*/ 157738 h 227999"/>
                <a:gd name="connsiteX404" fmla="*/ 13926 w 202527"/>
                <a:gd name="connsiteY404" fmla="*/ 156469 h 227999"/>
                <a:gd name="connsiteX405" fmla="*/ 12900 w 202527"/>
                <a:gd name="connsiteY405" fmla="*/ 156272 h 227999"/>
                <a:gd name="connsiteX406" fmla="*/ 10329 w 202527"/>
                <a:gd name="connsiteY406" fmla="*/ 155334 h 227999"/>
                <a:gd name="connsiteX407" fmla="*/ 8813 w 202527"/>
                <a:gd name="connsiteY407" fmla="*/ 154346 h 227999"/>
                <a:gd name="connsiteX408" fmla="*/ 7681 w 202527"/>
                <a:gd name="connsiteY408" fmla="*/ 153108 h 227999"/>
                <a:gd name="connsiteX409" fmla="*/ 6206 w 202527"/>
                <a:gd name="connsiteY409" fmla="*/ 151401 h 227999"/>
                <a:gd name="connsiteX410" fmla="*/ 5578 w 202527"/>
                <a:gd name="connsiteY410" fmla="*/ 149667 h 227999"/>
                <a:gd name="connsiteX411" fmla="*/ 5546 w 202527"/>
                <a:gd name="connsiteY411" fmla="*/ 147938 h 227999"/>
                <a:gd name="connsiteX412" fmla="*/ 5727 w 202527"/>
                <a:gd name="connsiteY412" fmla="*/ 147164 h 227999"/>
                <a:gd name="connsiteX413" fmla="*/ 5833 w 202527"/>
                <a:gd name="connsiteY413" fmla="*/ 146633 h 227999"/>
                <a:gd name="connsiteX414" fmla="*/ 7023 w 202527"/>
                <a:gd name="connsiteY414" fmla="*/ 143934 h 227999"/>
                <a:gd name="connsiteX415" fmla="*/ 11210 w 202527"/>
                <a:gd name="connsiteY415" fmla="*/ 141516 h 227999"/>
                <a:gd name="connsiteX416" fmla="*/ 10749 w 202527"/>
                <a:gd name="connsiteY416" fmla="*/ 139079 h 227999"/>
                <a:gd name="connsiteX417" fmla="*/ 10689 w 202527"/>
                <a:gd name="connsiteY417" fmla="*/ 137584 h 227999"/>
                <a:gd name="connsiteX418" fmla="*/ 9672 w 202527"/>
                <a:gd name="connsiteY418" fmla="*/ 136605 h 227999"/>
                <a:gd name="connsiteX419" fmla="*/ 7640 w 202527"/>
                <a:gd name="connsiteY419" fmla="*/ 136209 h 227999"/>
                <a:gd name="connsiteX420" fmla="*/ 7102 w 202527"/>
                <a:gd name="connsiteY420" fmla="*/ 135530 h 227999"/>
                <a:gd name="connsiteX421" fmla="*/ 6876 w 202527"/>
                <a:gd name="connsiteY421" fmla="*/ 134867 h 227999"/>
                <a:gd name="connsiteX422" fmla="*/ 8368 w 202527"/>
                <a:gd name="connsiteY422" fmla="*/ 133375 h 227999"/>
                <a:gd name="connsiteX423" fmla="*/ 6567 w 202527"/>
                <a:gd name="connsiteY423" fmla="*/ 132195 h 227999"/>
                <a:gd name="connsiteX424" fmla="*/ 5792 w 202527"/>
                <a:gd name="connsiteY424" fmla="*/ 130974 h 227999"/>
                <a:gd name="connsiteX425" fmla="*/ 3282 w 202527"/>
                <a:gd name="connsiteY425" fmla="*/ 129432 h 227999"/>
                <a:gd name="connsiteX426" fmla="*/ 3017 w 202527"/>
                <a:gd name="connsiteY426" fmla="*/ 128901 h 227999"/>
                <a:gd name="connsiteX427" fmla="*/ 4222 w 202527"/>
                <a:gd name="connsiteY427" fmla="*/ 124399 h 227999"/>
                <a:gd name="connsiteX428" fmla="*/ 3302 w 202527"/>
                <a:gd name="connsiteY428" fmla="*/ 123084 h 227999"/>
                <a:gd name="connsiteX429" fmla="*/ 2157 w 202527"/>
                <a:gd name="connsiteY429" fmla="*/ 122413 h 227999"/>
                <a:gd name="connsiteX430" fmla="*/ 823 w 202527"/>
                <a:gd name="connsiteY430" fmla="*/ 122083 h 227999"/>
                <a:gd name="connsiteX431" fmla="*/ 214 w 202527"/>
                <a:gd name="connsiteY431" fmla="*/ 121457 h 227999"/>
                <a:gd name="connsiteX432" fmla="*/ 0 w 202527"/>
                <a:gd name="connsiteY432" fmla="*/ 120742 h 227999"/>
                <a:gd name="connsiteX433" fmla="*/ 240 w 202527"/>
                <a:gd name="connsiteY433" fmla="*/ 120299 h 227999"/>
                <a:gd name="connsiteX434" fmla="*/ 1807 w 202527"/>
                <a:gd name="connsiteY434" fmla="*/ 120430 h 227999"/>
                <a:gd name="connsiteX435" fmla="*/ 2289 w 202527"/>
                <a:gd name="connsiteY435" fmla="*/ 119966 h 227999"/>
                <a:gd name="connsiteX436" fmla="*/ 6025 w 202527"/>
                <a:gd name="connsiteY436" fmla="*/ 117313 h 227999"/>
                <a:gd name="connsiteX437" fmla="*/ 6178 w 202527"/>
                <a:gd name="connsiteY437" fmla="*/ 116803 h 227999"/>
                <a:gd name="connsiteX438" fmla="*/ 5658 w 202527"/>
                <a:gd name="connsiteY438" fmla="*/ 116514 h 227999"/>
                <a:gd name="connsiteX439" fmla="*/ 4973 w 202527"/>
                <a:gd name="connsiteY439" fmla="*/ 116360 h 227999"/>
                <a:gd name="connsiteX440" fmla="*/ 4805 w 202527"/>
                <a:gd name="connsiteY440" fmla="*/ 115802 h 227999"/>
                <a:gd name="connsiteX441" fmla="*/ 4829 w 202527"/>
                <a:gd name="connsiteY441" fmla="*/ 115067 h 227999"/>
                <a:gd name="connsiteX442" fmla="*/ 6826 w 202527"/>
                <a:gd name="connsiteY442" fmla="*/ 111235 h 227999"/>
                <a:gd name="connsiteX443" fmla="*/ 7416 w 202527"/>
                <a:gd name="connsiteY443" fmla="*/ 109599 h 227999"/>
                <a:gd name="connsiteX444" fmla="*/ 7547 w 202527"/>
                <a:gd name="connsiteY444" fmla="*/ 108442 h 227999"/>
                <a:gd name="connsiteX445" fmla="*/ 7424 w 202527"/>
                <a:gd name="connsiteY445" fmla="*/ 107299 h 227999"/>
                <a:gd name="connsiteX446" fmla="*/ 6282 w 202527"/>
                <a:gd name="connsiteY446" fmla="*/ 105500 h 227999"/>
                <a:gd name="connsiteX447" fmla="*/ 5165 w 202527"/>
                <a:gd name="connsiteY447" fmla="*/ 104064 h 227999"/>
                <a:gd name="connsiteX448" fmla="*/ 5127 w 202527"/>
                <a:gd name="connsiteY448" fmla="*/ 102920 h 227999"/>
                <a:gd name="connsiteX449" fmla="*/ 4317 w 202527"/>
                <a:gd name="connsiteY449" fmla="*/ 102318 h 227999"/>
                <a:gd name="connsiteX450" fmla="*/ 2013 w 202527"/>
                <a:gd name="connsiteY450" fmla="*/ 99249 h 227999"/>
                <a:gd name="connsiteX451" fmla="*/ 2017 w 202527"/>
                <a:gd name="connsiteY451" fmla="*/ 98061 h 227999"/>
                <a:gd name="connsiteX452" fmla="*/ 3319 w 202527"/>
                <a:gd name="connsiteY452" fmla="*/ 97138 h 227999"/>
                <a:gd name="connsiteX453" fmla="*/ 5137 w 202527"/>
                <a:gd name="connsiteY453" fmla="*/ 96549 h 227999"/>
                <a:gd name="connsiteX454" fmla="*/ 5742 w 202527"/>
                <a:gd name="connsiteY454" fmla="*/ 96063 h 227999"/>
                <a:gd name="connsiteX455" fmla="*/ 6832 w 202527"/>
                <a:gd name="connsiteY455" fmla="*/ 95757 h 227999"/>
                <a:gd name="connsiteX456" fmla="*/ 9720 w 202527"/>
                <a:gd name="connsiteY456" fmla="*/ 96644 h 227999"/>
                <a:gd name="connsiteX457" fmla="*/ 11015 w 202527"/>
                <a:gd name="connsiteY457" fmla="*/ 97413 h 227999"/>
                <a:gd name="connsiteX458" fmla="*/ 11380 w 202527"/>
                <a:gd name="connsiteY458" fmla="*/ 97254 h 227999"/>
                <a:gd name="connsiteX459" fmla="*/ 12548 w 202527"/>
                <a:gd name="connsiteY459" fmla="*/ 96417 h 227999"/>
                <a:gd name="connsiteX460" fmla="*/ 14595 w 202527"/>
                <a:gd name="connsiteY460" fmla="*/ 96549 h 227999"/>
                <a:gd name="connsiteX461" fmla="*/ 19553 w 202527"/>
                <a:gd name="connsiteY461" fmla="*/ 94867 h 227999"/>
                <a:gd name="connsiteX462" fmla="*/ 20292 w 202527"/>
                <a:gd name="connsiteY462" fmla="*/ 94058 h 227999"/>
                <a:gd name="connsiteX463" fmla="*/ 20849 w 202527"/>
                <a:gd name="connsiteY463" fmla="*/ 93198 h 227999"/>
                <a:gd name="connsiteX464" fmla="*/ 20894 w 202527"/>
                <a:gd name="connsiteY464" fmla="*/ 92820 h 227999"/>
                <a:gd name="connsiteX465" fmla="*/ 18975 w 202527"/>
                <a:gd name="connsiteY465" fmla="*/ 91164 h 227999"/>
                <a:gd name="connsiteX466" fmla="*/ 18916 w 202527"/>
                <a:gd name="connsiteY466" fmla="*/ 90551 h 227999"/>
                <a:gd name="connsiteX467" fmla="*/ 19171 w 202527"/>
                <a:gd name="connsiteY467" fmla="*/ 89860 h 227999"/>
                <a:gd name="connsiteX468" fmla="*/ 19713 w 202527"/>
                <a:gd name="connsiteY468" fmla="*/ 89314 h 227999"/>
                <a:gd name="connsiteX469" fmla="*/ 20849 w 202527"/>
                <a:gd name="connsiteY469" fmla="*/ 88943 h 227999"/>
                <a:gd name="connsiteX470" fmla="*/ 22058 w 202527"/>
                <a:gd name="connsiteY470" fmla="*/ 88215 h 227999"/>
                <a:gd name="connsiteX471" fmla="*/ 24759 w 202527"/>
                <a:gd name="connsiteY471" fmla="*/ 86149 h 227999"/>
                <a:gd name="connsiteX472" fmla="*/ 25697 w 202527"/>
                <a:gd name="connsiteY472" fmla="*/ 84355 h 227999"/>
                <a:gd name="connsiteX473" fmla="*/ 25984 w 202527"/>
                <a:gd name="connsiteY473" fmla="*/ 82411 h 227999"/>
                <a:gd name="connsiteX474" fmla="*/ 26040 w 202527"/>
                <a:gd name="connsiteY474" fmla="*/ 80964 h 227999"/>
                <a:gd name="connsiteX475" fmla="*/ 25304 w 202527"/>
                <a:gd name="connsiteY475" fmla="*/ 79812 h 227999"/>
                <a:gd name="connsiteX476" fmla="*/ 24559 w 202527"/>
                <a:gd name="connsiteY476" fmla="*/ 79066 h 227999"/>
                <a:gd name="connsiteX477" fmla="*/ 23540 w 202527"/>
                <a:gd name="connsiteY477" fmla="*/ 79179 h 227999"/>
                <a:gd name="connsiteX478" fmla="*/ 21559 w 202527"/>
                <a:gd name="connsiteY478" fmla="*/ 79120 h 227999"/>
                <a:gd name="connsiteX479" fmla="*/ 19709 w 202527"/>
                <a:gd name="connsiteY479" fmla="*/ 78473 h 227999"/>
                <a:gd name="connsiteX480" fmla="*/ 18694 w 202527"/>
                <a:gd name="connsiteY480" fmla="*/ 77426 h 227999"/>
                <a:gd name="connsiteX481" fmla="*/ 18444 w 202527"/>
                <a:gd name="connsiteY481" fmla="*/ 76505 h 227999"/>
                <a:gd name="connsiteX482" fmla="*/ 18903 w 202527"/>
                <a:gd name="connsiteY482" fmla="*/ 75925 h 227999"/>
                <a:gd name="connsiteX483" fmla="*/ 19044 w 202527"/>
                <a:gd name="connsiteY483" fmla="*/ 75212 h 227999"/>
                <a:gd name="connsiteX484" fmla="*/ 18748 w 202527"/>
                <a:gd name="connsiteY484" fmla="*/ 74495 h 227999"/>
                <a:gd name="connsiteX485" fmla="*/ 18867 w 202527"/>
                <a:gd name="connsiteY485" fmla="*/ 73893 h 227999"/>
                <a:gd name="connsiteX486" fmla="*/ 19700 w 202527"/>
                <a:gd name="connsiteY486" fmla="*/ 73410 h 227999"/>
                <a:gd name="connsiteX487" fmla="*/ 25554 w 202527"/>
                <a:gd name="connsiteY487" fmla="*/ 73426 h 227999"/>
                <a:gd name="connsiteX488" fmla="*/ 25993 w 202527"/>
                <a:gd name="connsiteY488" fmla="*/ 72895 h 227999"/>
                <a:gd name="connsiteX489" fmla="*/ 26388 w 202527"/>
                <a:gd name="connsiteY489" fmla="*/ 70108 h 227999"/>
                <a:gd name="connsiteX490" fmla="*/ 27852 w 202527"/>
                <a:gd name="connsiteY490" fmla="*/ 65859 h 227999"/>
                <a:gd name="connsiteX491" fmla="*/ 29232 w 202527"/>
                <a:gd name="connsiteY491" fmla="*/ 63490 h 227999"/>
                <a:gd name="connsiteX492" fmla="*/ 29463 w 202527"/>
                <a:gd name="connsiteY492" fmla="*/ 62493 h 227999"/>
                <a:gd name="connsiteX493" fmla="*/ 29441 w 202527"/>
                <a:gd name="connsiteY493" fmla="*/ 56866 h 227999"/>
                <a:gd name="connsiteX494" fmla="*/ 29625 w 202527"/>
                <a:gd name="connsiteY494" fmla="*/ 54011 h 227999"/>
                <a:gd name="connsiteX495" fmla="*/ 28625 w 202527"/>
                <a:gd name="connsiteY495" fmla="*/ 52668 h 227999"/>
                <a:gd name="connsiteX496" fmla="*/ 26442 w 202527"/>
                <a:gd name="connsiteY496" fmla="*/ 51197 h 227999"/>
                <a:gd name="connsiteX497" fmla="*/ 26906 w 202527"/>
                <a:gd name="connsiteY497" fmla="*/ 48132 h 227999"/>
                <a:gd name="connsiteX498" fmla="*/ 27632 w 202527"/>
                <a:gd name="connsiteY498" fmla="*/ 45741 h 227999"/>
                <a:gd name="connsiteX499" fmla="*/ 29828 w 202527"/>
                <a:gd name="connsiteY499" fmla="*/ 42797 h 227999"/>
                <a:gd name="connsiteX500" fmla="*/ 31570 w 202527"/>
                <a:gd name="connsiteY500" fmla="*/ 41987 h 227999"/>
                <a:gd name="connsiteX501" fmla="*/ 39176 w 202527"/>
                <a:gd name="connsiteY501" fmla="*/ 41506 h 227999"/>
                <a:gd name="connsiteX502" fmla="*/ 47580 w 202527"/>
                <a:gd name="connsiteY502" fmla="*/ 41704 h 227999"/>
                <a:gd name="connsiteX503" fmla="*/ 51069 w 202527"/>
                <a:gd name="connsiteY503" fmla="*/ 46150 h 227999"/>
                <a:gd name="connsiteX504" fmla="*/ 49774 w 202527"/>
                <a:gd name="connsiteY504" fmla="*/ 48432 h 227999"/>
                <a:gd name="connsiteX505" fmla="*/ 51814 w 202527"/>
                <a:gd name="connsiteY505" fmla="*/ 49494 h 227999"/>
                <a:gd name="connsiteX506" fmla="*/ 52797 w 202527"/>
                <a:gd name="connsiteY506" fmla="*/ 49106 h 227999"/>
                <a:gd name="connsiteX507" fmla="*/ 53544 w 202527"/>
                <a:gd name="connsiteY507" fmla="*/ 47121 h 227999"/>
                <a:gd name="connsiteX508" fmla="*/ 54043 w 202527"/>
                <a:gd name="connsiteY508" fmla="*/ 44922 h 227999"/>
                <a:gd name="connsiteX509" fmla="*/ 54758 w 202527"/>
                <a:gd name="connsiteY509" fmla="*/ 44256 h 227999"/>
                <a:gd name="connsiteX510" fmla="*/ 57356 w 202527"/>
                <a:gd name="connsiteY510" fmla="*/ 45900 h 227999"/>
                <a:gd name="connsiteX511" fmla="*/ 58269 w 202527"/>
                <a:gd name="connsiteY511" fmla="*/ 47026 h 227999"/>
                <a:gd name="connsiteX512" fmla="*/ 58325 w 202527"/>
                <a:gd name="connsiteY512" fmla="*/ 50644 h 227999"/>
                <a:gd name="connsiteX513" fmla="*/ 59282 w 202527"/>
                <a:gd name="connsiteY513" fmla="*/ 45743 h 227999"/>
                <a:gd name="connsiteX514" fmla="*/ 58569 w 202527"/>
                <a:gd name="connsiteY514" fmla="*/ 42307 h 227999"/>
                <a:gd name="connsiteX515" fmla="*/ 59059 w 202527"/>
                <a:gd name="connsiteY515" fmla="*/ 38972 h 227999"/>
                <a:gd name="connsiteX516" fmla="*/ 60102 w 202527"/>
                <a:gd name="connsiteY516" fmla="*/ 37235 h 227999"/>
                <a:gd name="connsiteX517" fmla="*/ 61061 w 202527"/>
                <a:gd name="connsiteY517" fmla="*/ 36130 h 227999"/>
                <a:gd name="connsiteX518" fmla="*/ 67226 w 202527"/>
                <a:gd name="connsiteY518" fmla="*/ 37320 h 227999"/>
                <a:gd name="connsiteX519" fmla="*/ 74032 w 202527"/>
                <a:gd name="connsiteY519" fmla="*/ 36706 h 227999"/>
                <a:gd name="connsiteX520" fmla="*/ 76606 w 202527"/>
                <a:gd name="connsiteY520" fmla="*/ 37992 h 227999"/>
                <a:gd name="connsiteX521" fmla="*/ 82430 w 202527"/>
                <a:gd name="connsiteY521" fmla="*/ 44428 h 227999"/>
                <a:gd name="connsiteX522" fmla="*/ 84372 w 202527"/>
                <a:gd name="connsiteY522" fmla="*/ 45480 h 227999"/>
                <a:gd name="connsiteX523" fmla="*/ 86822 w 202527"/>
                <a:gd name="connsiteY523" fmla="*/ 45811 h 227999"/>
                <a:gd name="connsiteX524" fmla="*/ 83445 w 202527"/>
                <a:gd name="connsiteY524" fmla="*/ 44437 h 227999"/>
                <a:gd name="connsiteX525" fmla="*/ 76386 w 202527"/>
                <a:gd name="connsiteY525" fmla="*/ 36610 h 227999"/>
                <a:gd name="connsiteX526" fmla="*/ 74272 w 202527"/>
                <a:gd name="connsiteY526" fmla="*/ 35639 h 227999"/>
                <a:gd name="connsiteX527" fmla="*/ 71027 w 202527"/>
                <a:gd name="connsiteY527" fmla="*/ 35344 h 227999"/>
                <a:gd name="connsiteX528" fmla="*/ 69003 w 202527"/>
                <a:gd name="connsiteY528" fmla="*/ 34578 h 227999"/>
                <a:gd name="connsiteX529" fmla="*/ 67727 w 202527"/>
                <a:gd name="connsiteY529" fmla="*/ 33392 h 227999"/>
                <a:gd name="connsiteX530" fmla="*/ 67353 w 202527"/>
                <a:gd name="connsiteY530" fmla="*/ 32332 h 227999"/>
                <a:gd name="connsiteX531" fmla="*/ 67423 w 202527"/>
                <a:gd name="connsiteY531" fmla="*/ 24417 h 227999"/>
                <a:gd name="connsiteX532" fmla="*/ 66205 w 202527"/>
                <a:gd name="connsiteY532" fmla="*/ 23237 h 227999"/>
                <a:gd name="connsiteX533" fmla="*/ 64631 w 202527"/>
                <a:gd name="connsiteY533" fmla="*/ 22826 h 227999"/>
                <a:gd name="connsiteX534" fmla="*/ 63650 w 202527"/>
                <a:gd name="connsiteY534" fmla="*/ 23369 h 227999"/>
                <a:gd name="connsiteX535" fmla="*/ 61636 w 202527"/>
                <a:gd name="connsiteY535" fmla="*/ 23376 h 227999"/>
                <a:gd name="connsiteX536" fmla="*/ 61212 w 202527"/>
                <a:gd name="connsiteY536" fmla="*/ 21579 h 227999"/>
                <a:gd name="connsiteX537" fmla="*/ 61704 w 202527"/>
                <a:gd name="connsiteY537" fmla="*/ 20247 h 227999"/>
                <a:gd name="connsiteX538" fmla="*/ 65753 w 202527"/>
                <a:gd name="connsiteY538" fmla="*/ 19336 h 227999"/>
                <a:gd name="connsiteX539" fmla="*/ 68422 w 202527"/>
                <a:gd name="connsiteY539" fmla="*/ 18114 h 227999"/>
                <a:gd name="connsiteX540" fmla="*/ 68541 w 202527"/>
                <a:gd name="connsiteY540" fmla="*/ 15954 h 227999"/>
                <a:gd name="connsiteX541" fmla="*/ 66855 w 202527"/>
                <a:gd name="connsiteY541" fmla="*/ 14254 h 227999"/>
                <a:gd name="connsiteX542" fmla="*/ 64836 w 202527"/>
                <a:gd name="connsiteY542" fmla="*/ 11133 h 227999"/>
                <a:gd name="connsiteX543" fmla="*/ 62463 w 202527"/>
                <a:gd name="connsiteY543" fmla="*/ 8196 h 227999"/>
                <a:gd name="connsiteX544" fmla="*/ 56334 w 202527"/>
                <a:gd name="connsiteY544" fmla="*/ 0 h 227999"/>
                <a:gd name="connsiteX545" fmla="*/ 57358 w 202527"/>
                <a:gd name="connsiteY545" fmla="*/ 103 h 227999"/>
                <a:gd name="connsiteX546" fmla="*/ 56310 w 202527"/>
                <a:gd name="connsiteY546" fmla="*/ 1353 h 227999"/>
                <a:gd name="connsiteX547" fmla="*/ 56008 w 202527"/>
                <a:gd name="connsiteY547" fmla="*/ 2228 h 227999"/>
                <a:gd name="connsiteX548" fmla="*/ 55583 w 202527"/>
                <a:gd name="connsiteY548" fmla="*/ 3975 h 227999"/>
                <a:gd name="connsiteX549" fmla="*/ 55775 w 202527"/>
                <a:gd name="connsiteY549" fmla="*/ 4882 h 227999"/>
                <a:gd name="connsiteX550" fmla="*/ 61296 w 202527"/>
                <a:gd name="connsiteY550" fmla="*/ 5131 h 227999"/>
                <a:gd name="connsiteX551" fmla="*/ 60655 w 202527"/>
                <a:gd name="connsiteY551" fmla="*/ 5940 h 227999"/>
                <a:gd name="connsiteX552" fmla="*/ 55056 w 202527"/>
                <a:gd name="connsiteY552" fmla="*/ 6486 h 227999"/>
                <a:gd name="connsiteX553" fmla="*/ 54179 w 202527"/>
                <a:gd name="connsiteY553" fmla="*/ 8345 h 227999"/>
                <a:gd name="connsiteX554" fmla="*/ 53669 w 202527"/>
                <a:gd name="connsiteY554" fmla="*/ 8954 h 227999"/>
                <a:gd name="connsiteX555" fmla="*/ 53913 w 202527"/>
                <a:gd name="connsiteY555" fmla="*/ 4623 h 227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</a:cxnLst>
              <a:rect l="l" t="t" r="r" b="b"/>
              <a:pathLst>
                <a:path w="202527" h="227999">
                  <a:moveTo>
                    <a:pt x="176238" y="28478"/>
                  </a:moveTo>
                  <a:lnTo>
                    <a:pt x="180907" y="31292"/>
                  </a:lnTo>
                  <a:lnTo>
                    <a:pt x="184723" y="33847"/>
                  </a:lnTo>
                  <a:lnTo>
                    <a:pt x="184431" y="34795"/>
                  </a:lnTo>
                  <a:lnTo>
                    <a:pt x="184772" y="36258"/>
                  </a:lnTo>
                  <a:lnTo>
                    <a:pt x="183854" y="36149"/>
                  </a:lnTo>
                  <a:lnTo>
                    <a:pt x="181117" y="36490"/>
                  </a:lnTo>
                  <a:lnTo>
                    <a:pt x="178406" y="36007"/>
                  </a:lnTo>
                  <a:lnTo>
                    <a:pt x="177884" y="34192"/>
                  </a:lnTo>
                  <a:lnTo>
                    <a:pt x="178316" y="32443"/>
                  </a:lnTo>
                  <a:lnTo>
                    <a:pt x="177227" y="31240"/>
                  </a:lnTo>
                  <a:lnTo>
                    <a:pt x="176225" y="30534"/>
                  </a:lnTo>
                  <a:lnTo>
                    <a:pt x="176077" y="29524"/>
                  </a:lnTo>
                  <a:close/>
                  <a:moveTo>
                    <a:pt x="115590" y="16104"/>
                  </a:moveTo>
                  <a:lnTo>
                    <a:pt x="118877" y="17086"/>
                  </a:lnTo>
                  <a:lnTo>
                    <a:pt x="119909" y="19005"/>
                  </a:lnTo>
                  <a:lnTo>
                    <a:pt x="119965" y="19628"/>
                  </a:lnTo>
                  <a:lnTo>
                    <a:pt x="116570" y="19687"/>
                  </a:lnTo>
                  <a:lnTo>
                    <a:pt x="115274" y="18467"/>
                  </a:lnTo>
                  <a:lnTo>
                    <a:pt x="113970" y="18157"/>
                  </a:lnTo>
                  <a:lnTo>
                    <a:pt x="114672" y="16652"/>
                  </a:lnTo>
                  <a:close/>
                  <a:moveTo>
                    <a:pt x="167283" y="11030"/>
                  </a:moveTo>
                  <a:lnTo>
                    <a:pt x="167888" y="12552"/>
                  </a:lnTo>
                  <a:lnTo>
                    <a:pt x="168797" y="13599"/>
                  </a:lnTo>
                  <a:lnTo>
                    <a:pt x="171999" y="14772"/>
                  </a:lnTo>
                  <a:lnTo>
                    <a:pt x="172477" y="15305"/>
                  </a:lnTo>
                  <a:lnTo>
                    <a:pt x="172766" y="16042"/>
                  </a:lnTo>
                  <a:lnTo>
                    <a:pt x="171276" y="17485"/>
                  </a:lnTo>
                  <a:lnTo>
                    <a:pt x="170771" y="18224"/>
                  </a:lnTo>
                  <a:lnTo>
                    <a:pt x="171244" y="19409"/>
                  </a:lnTo>
                  <a:lnTo>
                    <a:pt x="173617" y="20703"/>
                  </a:lnTo>
                  <a:lnTo>
                    <a:pt x="174170" y="22753"/>
                  </a:lnTo>
                  <a:lnTo>
                    <a:pt x="173576" y="23797"/>
                  </a:lnTo>
                  <a:lnTo>
                    <a:pt x="171090" y="22060"/>
                  </a:lnTo>
                  <a:lnTo>
                    <a:pt x="168594" y="22084"/>
                  </a:lnTo>
                  <a:lnTo>
                    <a:pt x="167102" y="24759"/>
                  </a:lnTo>
                  <a:lnTo>
                    <a:pt x="165992" y="24872"/>
                  </a:lnTo>
                  <a:lnTo>
                    <a:pt x="162138" y="22442"/>
                  </a:lnTo>
                  <a:lnTo>
                    <a:pt x="161520" y="21256"/>
                  </a:lnTo>
                  <a:lnTo>
                    <a:pt x="161393" y="20270"/>
                  </a:lnTo>
                  <a:lnTo>
                    <a:pt x="161943" y="16850"/>
                  </a:lnTo>
                  <a:lnTo>
                    <a:pt x="161842" y="15773"/>
                  </a:lnTo>
                  <a:lnTo>
                    <a:pt x="163053" y="14596"/>
                  </a:lnTo>
                  <a:lnTo>
                    <a:pt x="163241" y="12894"/>
                  </a:lnTo>
                  <a:lnTo>
                    <a:pt x="165383" y="11098"/>
                  </a:lnTo>
                  <a:close/>
                  <a:moveTo>
                    <a:pt x="58651" y="9162"/>
                  </a:moveTo>
                  <a:lnTo>
                    <a:pt x="60055" y="9517"/>
                  </a:lnTo>
                  <a:lnTo>
                    <a:pt x="60374" y="10621"/>
                  </a:lnTo>
                  <a:lnTo>
                    <a:pt x="59513" y="11371"/>
                  </a:lnTo>
                  <a:lnTo>
                    <a:pt x="57409" y="11283"/>
                  </a:lnTo>
                  <a:lnTo>
                    <a:pt x="56228" y="10577"/>
                  </a:lnTo>
                  <a:lnTo>
                    <a:pt x="56611" y="9825"/>
                  </a:lnTo>
                  <a:lnTo>
                    <a:pt x="57727" y="9251"/>
                  </a:lnTo>
                  <a:close/>
                  <a:moveTo>
                    <a:pt x="62197" y="4773"/>
                  </a:moveTo>
                  <a:lnTo>
                    <a:pt x="62206" y="4776"/>
                  </a:lnTo>
                  <a:lnTo>
                    <a:pt x="66330" y="4843"/>
                  </a:lnTo>
                  <a:lnTo>
                    <a:pt x="67341" y="4973"/>
                  </a:lnTo>
                  <a:lnTo>
                    <a:pt x="73596" y="6576"/>
                  </a:lnTo>
                  <a:lnTo>
                    <a:pt x="75125" y="7700"/>
                  </a:lnTo>
                  <a:lnTo>
                    <a:pt x="77049" y="7753"/>
                  </a:lnTo>
                  <a:lnTo>
                    <a:pt x="80515" y="6706"/>
                  </a:lnTo>
                  <a:lnTo>
                    <a:pt x="83104" y="6246"/>
                  </a:lnTo>
                  <a:lnTo>
                    <a:pt x="84108" y="6892"/>
                  </a:lnTo>
                  <a:lnTo>
                    <a:pt x="85518" y="7163"/>
                  </a:lnTo>
                  <a:lnTo>
                    <a:pt x="85844" y="7163"/>
                  </a:lnTo>
                  <a:lnTo>
                    <a:pt x="85981" y="7726"/>
                  </a:lnTo>
                  <a:lnTo>
                    <a:pt x="89217" y="8540"/>
                  </a:lnTo>
                  <a:lnTo>
                    <a:pt x="90578" y="9837"/>
                  </a:lnTo>
                  <a:lnTo>
                    <a:pt x="92089" y="11807"/>
                  </a:lnTo>
                  <a:lnTo>
                    <a:pt x="92236" y="14641"/>
                  </a:lnTo>
                  <a:lnTo>
                    <a:pt x="90301" y="16677"/>
                  </a:lnTo>
                  <a:lnTo>
                    <a:pt x="88695" y="17965"/>
                  </a:lnTo>
                  <a:lnTo>
                    <a:pt x="94771" y="17478"/>
                  </a:lnTo>
                  <a:lnTo>
                    <a:pt x="95376" y="18645"/>
                  </a:lnTo>
                  <a:lnTo>
                    <a:pt x="96296" y="19903"/>
                  </a:lnTo>
                  <a:lnTo>
                    <a:pt x="99569" y="19007"/>
                  </a:lnTo>
                  <a:lnTo>
                    <a:pt x="107775" y="22728"/>
                  </a:lnTo>
                  <a:lnTo>
                    <a:pt x="112737" y="20917"/>
                  </a:lnTo>
                  <a:lnTo>
                    <a:pt x="114007" y="20811"/>
                  </a:lnTo>
                  <a:lnTo>
                    <a:pt x="115134" y="23817"/>
                  </a:lnTo>
                  <a:lnTo>
                    <a:pt x="113901" y="26840"/>
                  </a:lnTo>
                  <a:lnTo>
                    <a:pt x="109526" y="30061"/>
                  </a:lnTo>
                  <a:lnTo>
                    <a:pt x="110496" y="32043"/>
                  </a:lnTo>
                  <a:lnTo>
                    <a:pt x="111893" y="32483"/>
                  </a:lnTo>
                  <a:lnTo>
                    <a:pt x="116017" y="32063"/>
                  </a:lnTo>
                  <a:lnTo>
                    <a:pt x="122547" y="34020"/>
                  </a:lnTo>
                  <a:lnTo>
                    <a:pt x="123908" y="33410"/>
                  </a:lnTo>
                  <a:lnTo>
                    <a:pt x="129203" y="28895"/>
                  </a:lnTo>
                  <a:lnTo>
                    <a:pt x="131319" y="27925"/>
                  </a:lnTo>
                  <a:lnTo>
                    <a:pt x="138285" y="27230"/>
                  </a:lnTo>
                  <a:lnTo>
                    <a:pt x="139552" y="25479"/>
                  </a:lnTo>
                  <a:lnTo>
                    <a:pt x="142375" y="23717"/>
                  </a:lnTo>
                  <a:lnTo>
                    <a:pt x="144193" y="21791"/>
                  </a:lnTo>
                  <a:lnTo>
                    <a:pt x="148546" y="18120"/>
                  </a:lnTo>
                  <a:lnTo>
                    <a:pt x="153051" y="18782"/>
                  </a:lnTo>
                  <a:lnTo>
                    <a:pt x="155681" y="19485"/>
                  </a:lnTo>
                  <a:lnTo>
                    <a:pt x="158568" y="19839"/>
                  </a:lnTo>
                  <a:lnTo>
                    <a:pt x="161196" y="23749"/>
                  </a:lnTo>
                  <a:lnTo>
                    <a:pt x="167843" y="28064"/>
                  </a:lnTo>
                  <a:lnTo>
                    <a:pt x="173950" y="27689"/>
                  </a:lnTo>
                  <a:lnTo>
                    <a:pt x="176117" y="31764"/>
                  </a:lnTo>
                  <a:lnTo>
                    <a:pt x="177074" y="36785"/>
                  </a:lnTo>
                  <a:lnTo>
                    <a:pt x="178950" y="38358"/>
                  </a:lnTo>
                  <a:lnTo>
                    <a:pt x="180600" y="39385"/>
                  </a:lnTo>
                  <a:lnTo>
                    <a:pt x="185576" y="40460"/>
                  </a:lnTo>
                  <a:lnTo>
                    <a:pt x="185772" y="40528"/>
                  </a:lnTo>
                  <a:lnTo>
                    <a:pt x="185932" y="41208"/>
                  </a:lnTo>
                  <a:lnTo>
                    <a:pt x="186236" y="43696"/>
                  </a:lnTo>
                  <a:lnTo>
                    <a:pt x="186653" y="45757"/>
                  </a:lnTo>
                  <a:lnTo>
                    <a:pt x="189214" y="53974"/>
                  </a:lnTo>
                  <a:lnTo>
                    <a:pt x="189165" y="55979"/>
                  </a:lnTo>
                  <a:lnTo>
                    <a:pt x="189134" y="56511"/>
                  </a:lnTo>
                  <a:lnTo>
                    <a:pt x="188197" y="59315"/>
                  </a:lnTo>
                  <a:lnTo>
                    <a:pt x="186530" y="61677"/>
                  </a:lnTo>
                  <a:lnTo>
                    <a:pt x="184330" y="63008"/>
                  </a:lnTo>
                  <a:lnTo>
                    <a:pt x="183118" y="64488"/>
                  </a:lnTo>
                  <a:lnTo>
                    <a:pt x="182891" y="66122"/>
                  </a:lnTo>
                  <a:lnTo>
                    <a:pt x="185658" y="68981"/>
                  </a:lnTo>
                  <a:lnTo>
                    <a:pt x="191414" y="73066"/>
                  </a:lnTo>
                  <a:lnTo>
                    <a:pt x="193744" y="76554"/>
                  </a:lnTo>
                  <a:lnTo>
                    <a:pt x="192645" y="79452"/>
                  </a:lnTo>
                  <a:lnTo>
                    <a:pt x="192311" y="81575"/>
                  </a:lnTo>
                  <a:lnTo>
                    <a:pt x="192738" y="82926"/>
                  </a:lnTo>
                  <a:lnTo>
                    <a:pt x="193660" y="84010"/>
                  </a:lnTo>
                  <a:lnTo>
                    <a:pt x="195081" y="84830"/>
                  </a:lnTo>
                  <a:lnTo>
                    <a:pt x="195645" y="86091"/>
                  </a:lnTo>
                  <a:lnTo>
                    <a:pt x="195358" y="87793"/>
                  </a:lnTo>
                  <a:lnTo>
                    <a:pt x="195627" y="88973"/>
                  </a:lnTo>
                  <a:lnTo>
                    <a:pt x="196688" y="89813"/>
                  </a:lnTo>
                  <a:lnTo>
                    <a:pt x="196590" y="90139"/>
                  </a:lnTo>
                  <a:lnTo>
                    <a:pt x="196075" y="91321"/>
                  </a:lnTo>
                  <a:lnTo>
                    <a:pt x="195370" y="93475"/>
                  </a:lnTo>
                  <a:lnTo>
                    <a:pt x="194971" y="95046"/>
                  </a:lnTo>
                  <a:lnTo>
                    <a:pt x="193351" y="97185"/>
                  </a:lnTo>
                  <a:lnTo>
                    <a:pt x="193844" y="99001"/>
                  </a:lnTo>
                  <a:lnTo>
                    <a:pt x="195113" y="101141"/>
                  </a:lnTo>
                  <a:lnTo>
                    <a:pt x="196077" y="102216"/>
                  </a:lnTo>
                  <a:lnTo>
                    <a:pt x="196381" y="103234"/>
                  </a:lnTo>
                  <a:lnTo>
                    <a:pt x="195768" y="105653"/>
                  </a:lnTo>
                  <a:lnTo>
                    <a:pt x="196072" y="106271"/>
                  </a:lnTo>
                  <a:lnTo>
                    <a:pt x="200080" y="108051"/>
                  </a:lnTo>
                  <a:lnTo>
                    <a:pt x="200734" y="108872"/>
                  </a:lnTo>
                  <a:lnTo>
                    <a:pt x="201123" y="110581"/>
                  </a:lnTo>
                  <a:lnTo>
                    <a:pt x="202527" y="114229"/>
                  </a:lnTo>
                  <a:lnTo>
                    <a:pt x="201361" y="118843"/>
                  </a:lnTo>
                  <a:lnTo>
                    <a:pt x="200335" y="121367"/>
                  </a:lnTo>
                  <a:lnTo>
                    <a:pt x="198052" y="125369"/>
                  </a:lnTo>
                  <a:lnTo>
                    <a:pt x="197945" y="125738"/>
                  </a:lnTo>
                  <a:lnTo>
                    <a:pt x="197681" y="126224"/>
                  </a:lnTo>
                  <a:lnTo>
                    <a:pt x="196997" y="126924"/>
                  </a:lnTo>
                  <a:lnTo>
                    <a:pt x="196042" y="127029"/>
                  </a:lnTo>
                  <a:lnTo>
                    <a:pt x="194602" y="126507"/>
                  </a:lnTo>
                  <a:lnTo>
                    <a:pt x="193615" y="125838"/>
                  </a:lnTo>
                  <a:lnTo>
                    <a:pt x="193842" y="124112"/>
                  </a:lnTo>
                  <a:lnTo>
                    <a:pt x="193209" y="123999"/>
                  </a:lnTo>
                  <a:lnTo>
                    <a:pt x="192423" y="122939"/>
                  </a:lnTo>
                  <a:lnTo>
                    <a:pt x="192114" y="121799"/>
                  </a:lnTo>
                  <a:lnTo>
                    <a:pt x="191266" y="121334"/>
                  </a:lnTo>
                  <a:lnTo>
                    <a:pt x="188169" y="120855"/>
                  </a:lnTo>
                  <a:lnTo>
                    <a:pt x="187117" y="120518"/>
                  </a:lnTo>
                  <a:lnTo>
                    <a:pt x="186310" y="120761"/>
                  </a:lnTo>
                  <a:lnTo>
                    <a:pt x="185705" y="121568"/>
                  </a:lnTo>
                  <a:lnTo>
                    <a:pt x="186091" y="122297"/>
                  </a:lnTo>
                  <a:lnTo>
                    <a:pt x="186668" y="123007"/>
                  </a:lnTo>
                  <a:lnTo>
                    <a:pt x="188385" y="124132"/>
                  </a:lnTo>
                  <a:lnTo>
                    <a:pt x="188208" y="124579"/>
                  </a:lnTo>
                  <a:lnTo>
                    <a:pt x="184509" y="125673"/>
                  </a:lnTo>
                  <a:lnTo>
                    <a:pt x="182181" y="126795"/>
                  </a:lnTo>
                  <a:lnTo>
                    <a:pt x="180013" y="127425"/>
                  </a:lnTo>
                  <a:lnTo>
                    <a:pt x="177804" y="128586"/>
                  </a:lnTo>
                  <a:lnTo>
                    <a:pt x="173444" y="129889"/>
                  </a:lnTo>
                  <a:lnTo>
                    <a:pt x="170246" y="130235"/>
                  </a:lnTo>
                  <a:lnTo>
                    <a:pt x="169579" y="130579"/>
                  </a:lnTo>
                  <a:lnTo>
                    <a:pt x="168385" y="132786"/>
                  </a:lnTo>
                  <a:lnTo>
                    <a:pt x="167579" y="133247"/>
                  </a:lnTo>
                  <a:lnTo>
                    <a:pt x="166806" y="133008"/>
                  </a:lnTo>
                  <a:lnTo>
                    <a:pt x="166219" y="132647"/>
                  </a:lnTo>
                  <a:lnTo>
                    <a:pt x="165476" y="132946"/>
                  </a:lnTo>
                  <a:lnTo>
                    <a:pt x="164703" y="133676"/>
                  </a:lnTo>
                  <a:lnTo>
                    <a:pt x="163895" y="133964"/>
                  </a:lnTo>
                  <a:lnTo>
                    <a:pt x="163191" y="133954"/>
                  </a:lnTo>
                  <a:lnTo>
                    <a:pt x="161941" y="135879"/>
                  </a:lnTo>
                  <a:lnTo>
                    <a:pt x="158298" y="136463"/>
                  </a:lnTo>
                  <a:lnTo>
                    <a:pt x="157871" y="137460"/>
                  </a:lnTo>
                  <a:lnTo>
                    <a:pt x="157201" y="138616"/>
                  </a:lnTo>
                  <a:lnTo>
                    <a:pt x="156668" y="138899"/>
                  </a:lnTo>
                  <a:lnTo>
                    <a:pt x="155022" y="138441"/>
                  </a:lnTo>
                  <a:lnTo>
                    <a:pt x="152749" y="138188"/>
                  </a:lnTo>
                  <a:lnTo>
                    <a:pt x="151444" y="138821"/>
                  </a:lnTo>
                  <a:lnTo>
                    <a:pt x="149877" y="139171"/>
                  </a:lnTo>
                  <a:lnTo>
                    <a:pt x="147964" y="139277"/>
                  </a:lnTo>
                  <a:lnTo>
                    <a:pt x="145832" y="140541"/>
                  </a:lnTo>
                  <a:lnTo>
                    <a:pt x="143753" y="142759"/>
                  </a:lnTo>
                  <a:lnTo>
                    <a:pt x="142582" y="144714"/>
                  </a:lnTo>
                  <a:lnTo>
                    <a:pt x="141956" y="145416"/>
                  </a:lnTo>
                  <a:lnTo>
                    <a:pt x="140935" y="143581"/>
                  </a:lnTo>
                  <a:lnTo>
                    <a:pt x="139688" y="142321"/>
                  </a:lnTo>
                  <a:lnTo>
                    <a:pt x="138806" y="141667"/>
                  </a:lnTo>
                  <a:lnTo>
                    <a:pt x="138017" y="141666"/>
                  </a:lnTo>
                  <a:lnTo>
                    <a:pt x="137810" y="141934"/>
                  </a:lnTo>
                  <a:lnTo>
                    <a:pt x="137808" y="142895"/>
                  </a:lnTo>
                  <a:lnTo>
                    <a:pt x="138650" y="144491"/>
                  </a:lnTo>
                  <a:lnTo>
                    <a:pt x="139693" y="145579"/>
                  </a:lnTo>
                  <a:lnTo>
                    <a:pt x="139859" y="146382"/>
                  </a:lnTo>
                  <a:lnTo>
                    <a:pt x="140418" y="147843"/>
                  </a:lnTo>
                  <a:lnTo>
                    <a:pt x="141936" y="149437"/>
                  </a:lnTo>
                  <a:lnTo>
                    <a:pt x="144318" y="150700"/>
                  </a:lnTo>
                  <a:lnTo>
                    <a:pt x="145942" y="151943"/>
                  </a:lnTo>
                  <a:lnTo>
                    <a:pt x="147145" y="153665"/>
                  </a:lnTo>
                  <a:lnTo>
                    <a:pt x="147156" y="154194"/>
                  </a:lnTo>
                  <a:lnTo>
                    <a:pt x="146825" y="154897"/>
                  </a:lnTo>
                  <a:lnTo>
                    <a:pt x="146257" y="155559"/>
                  </a:lnTo>
                  <a:lnTo>
                    <a:pt x="145778" y="156421"/>
                  </a:lnTo>
                  <a:lnTo>
                    <a:pt x="144459" y="158163"/>
                  </a:lnTo>
                  <a:lnTo>
                    <a:pt x="144849" y="158924"/>
                  </a:lnTo>
                  <a:lnTo>
                    <a:pt x="145929" y="159885"/>
                  </a:lnTo>
                  <a:lnTo>
                    <a:pt x="146886" y="161038"/>
                  </a:lnTo>
                  <a:lnTo>
                    <a:pt x="148112" y="162901"/>
                  </a:lnTo>
                  <a:lnTo>
                    <a:pt x="149799" y="166162"/>
                  </a:lnTo>
                  <a:lnTo>
                    <a:pt x="150885" y="167503"/>
                  </a:lnTo>
                  <a:lnTo>
                    <a:pt x="152360" y="168887"/>
                  </a:lnTo>
                  <a:lnTo>
                    <a:pt x="153809" y="169943"/>
                  </a:lnTo>
                  <a:lnTo>
                    <a:pt x="156093" y="169911"/>
                  </a:lnTo>
                  <a:lnTo>
                    <a:pt x="158460" y="171925"/>
                  </a:lnTo>
                  <a:lnTo>
                    <a:pt x="161043" y="174835"/>
                  </a:lnTo>
                  <a:lnTo>
                    <a:pt x="162973" y="176169"/>
                  </a:lnTo>
                  <a:lnTo>
                    <a:pt x="164321" y="176575"/>
                  </a:lnTo>
                  <a:lnTo>
                    <a:pt x="165433" y="177622"/>
                  </a:lnTo>
                  <a:lnTo>
                    <a:pt x="166420" y="179127"/>
                  </a:lnTo>
                  <a:lnTo>
                    <a:pt x="166806" y="179997"/>
                  </a:lnTo>
                  <a:lnTo>
                    <a:pt x="167681" y="180625"/>
                  </a:lnTo>
                  <a:lnTo>
                    <a:pt x="170045" y="180508"/>
                  </a:lnTo>
                  <a:lnTo>
                    <a:pt x="173081" y="182873"/>
                  </a:lnTo>
                  <a:lnTo>
                    <a:pt x="174960" y="184603"/>
                  </a:lnTo>
                  <a:lnTo>
                    <a:pt x="175951" y="185999"/>
                  </a:lnTo>
                  <a:lnTo>
                    <a:pt x="175690" y="186552"/>
                  </a:lnTo>
                  <a:lnTo>
                    <a:pt x="175569" y="188289"/>
                  </a:lnTo>
                  <a:lnTo>
                    <a:pt x="175599" y="190129"/>
                  </a:lnTo>
                  <a:lnTo>
                    <a:pt x="175301" y="191102"/>
                  </a:lnTo>
                  <a:lnTo>
                    <a:pt x="173943" y="192382"/>
                  </a:lnTo>
                  <a:lnTo>
                    <a:pt x="173241" y="192654"/>
                  </a:lnTo>
                  <a:lnTo>
                    <a:pt x="172866" y="192930"/>
                  </a:lnTo>
                  <a:lnTo>
                    <a:pt x="168696" y="191261"/>
                  </a:lnTo>
                  <a:lnTo>
                    <a:pt x="168365" y="191546"/>
                  </a:lnTo>
                  <a:lnTo>
                    <a:pt x="168104" y="191752"/>
                  </a:lnTo>
                  <a:lnTo>
                    <a:pt x="166988" y="196586"/>
                  </a:lnTo>
                  <a:lnTo>
                    <a:pt x="166219" y="197514"/>
                  </a:lnTo>
                  <a:lnTo>
                    <a:pt x="165074" y="198368"/>
                  </a:lnTo>
                  <a:lnTo>
                    <a:pt x="162695" y="199199"/>
                  </a:lnTo>
                  <a:lnTo>
                    <a:pt x="161041" y="199537"/>
                  </a:lnTo>
                  <a:lnTo>
                    <a:pt x="159752" y="199958"/>
                  </a:lnTo>
                  <a:lnTo>
                    <a:pt x="155668" y="201977"/>
                  </a:lnTo>
                  <a:lnTo>
                    <a:pt x="153828" y="203189"/>
                  </a:lnTo>
                  <a:lnTo>
                    <a:pt x="152636" y="204711"/>
                  </a:lnTo>
                  <a:lnTo>
                    <a:pt x="152630" y="205587"/>
                  </a:lnTo>
                  <a:lnTo>
                    <a:pt x="154616" y="208160"/>
                  </a:lnTo>
                  <a:lnTo>
                    <a:pt x="156908" y="210815"/>
                  </a:lnTo>
                  <a:lnTo>
                    <a:pt x="156923" y="213149"/>
                  </a:lnTo>
                  <a:lnTo>
                    <a:pt x="155908" y="214893"/>
                  </a:lnTo>
                  <a:lnTo>
                    <a:pt x="155672" y="215567"/>
                  </a:lnTo>
                  <a:lnTo>
                    <a:pt x="156346" y="215820"/>
                  </a:lnTo>
                  <a:lnTo>
                    <a:pt x="157616" y="215917"/>
                  </a:lnTo>
                  <a:lnTo>
                    <a:pt x="158678" y="216217"/>
                  </a:lnTo>
                  <a:lnTo>
                    <a:pt x="159132" y="217443"/>
                  </a:lnTo>
                  <a:lnTo>
                    <a:pt x="158996" y="219578"/>
                  </a:lnTo>
                  <a:lnTo>
                    <a:pt x="158633" y="221575"/>
                  </a:lnTo>
                  <a:lnTo>
                    <a:pt x="158253" y="222415"/>
                  </a:lnTo>
                  <a:lnTo>
                    <a:pt x="157229" y="222482"/>
                  </a:lnTo>
                  <a:lnTo>
                    <a:pt x="155258" y="221619"/>
                  </a:lnTo>
                  <a:lnTo>
                    <a:pt x="153720" y="220616"/>
                  </a:lnTo>
                  <a:lnTo>
                    <a:pt x="153133" y="219999"/>
                  </a:lnTo>
                  <a:lnTo>
                    <a:pt x="153096" y="219261"/>
                  </a:lnTo>
                  <a:lnTo>
                    <a:pt x="153429" y="218795"/>
                  </a:lnTo>
                  <a:lnTo>
                    <a:pt x="152880" y="217885"/>
                  </a:lnTo>
                  <a:lnTo>
                    <a:pt x="150989" y="217044"/>
                  </a:lnTo>
                  <a:lnTo>
                    <a:pt x="148963" y="217410"/>
                  </a:lnTo>
                  <a:lnTo>
                    <a:pt x="147467" y="217977"/>
                  </a:lnTo>
                  <a:lnTo>
                    <a:pt x="146502" y="217944"/>
                  </a:lnTo>
                  <a:lnTo>
                    <a:pt x="145459" y="217134"/>
                  </a:lnTo>
                  <a:lnTo>
                    <a:pt x="143854" y="216514"/>
                  </a:lnTo>
                  <a:lnTo>
                    <a:pt x="141757" y="216105"/>
                  </a:lnTo>
                  <a:lnTo>
                    <a:pt x="140451" y="215668"/>
                  </a:lnTo>
                  <a:lnTo>
                    <a:pt x="140176" y="215926"/>
                  </a:lnTo>
                  <a:lnTo>
                    <a:pt x="140330" y="217679"/>
                  </a:lnTo>
                  <a:lnTo>
                    <a:pt x="139928" y="218444"/>
                  </a:lnTo>
                  <a:lnTo>
                    <a:pt x="129561" y="219456"/>
                  </a:lnTo>
                  <a:lnTo>
                    <a:pt x="126402" y="220404"/>
                  </a:lnTo>
                  <a:lnTo>
                    <a:pt x="124102" y="221629"/>
                  </a:lnTo>
                  <a:lnTo>
                    <a:pt x="122400" y="222160"/>
                  </a:lnTo>
                  <a:lnTo>
                    <a:pt x="121984" y="222915"/>
                  </a:lnTo>
                  <a:lnTo>
                    <a:pt x="120299" y="223906"/>
                  </a:lnTo>
                  <a:lnTo>
                    <a:pt x="118397" y="224223"/>
                  </a:lnTo>
                  <a:lnTo>
                    <a:pt x="117939" y="223898"/>
                  </a:lnTo>
                  <a:lnTo>
                    <a:pt x="116719" y="224356"/>
                  </a:lnTo>
                  <a:lnTo>
                    <a:pt x="114640" y="224797"/>
                  </a:lnTo>
                  <a:lnTo>
                    <a:pt x="113288" y="224657"/>
                  </a:lnTo>
                  <a:lnTo>
                    <a:pt x="112653" y="223856"/>
                  </a:lnTo>
                  <a:lnTo>
                    <a:pt x="111366" y="222629"/>
                  </a:lnTo>
                  <a:lnTo>
                    <a:pt x="110850" y="221778"/>
                  </a:lnTo>
                  <a:lnTo>
                    <a:pt x="110904" y="221233"/>
                  </a:lnTo>
                  <a:lnTo>
                    <a:pt x="107997" y="221123"/>
                  </a:lnTo>
                  <a:lnTo>
                    <a:pt x="106164" y="220475"/>
                  </a:lnTo>
                  <a:lnTo>
                    <a:pt x="102275" y="220627"/>
                  </a:lnTo>
                  <a:lnTo>
                    <a:pt x="101316" y="220353"/>
                  </a:lnTo>
                  <a:lnTo>
                    <a:pt x="101116" y="220647"/>
                  </a:lnTo>
                  <a:lnTo>
                    <a:pt x="100530" y="224128"/>
                  </a:lnTo>
                  <a:lnTo>
                    <a:pt x="99761" y="225556"/>
                  </a:lnTo>
                  <a:lnTo>
                    <a:pt x="98515" y="227030"/>
                  </a:lnTo>
                  <a:lnTo>
                    <a:pt x="96920" y="227850"/>
                  </a:lnTo>
                  <a:lnTo>
                    <a:pt x="95646" y="227999"/>
                  </a:lnTo>
                  <a:lnTo>
                    <a:pt x="95706" y="226925"/>
                  </a:lnTo>
                  <a:lnTo>
                    <a:pt x="96028" y="225630"/>
                  </a:lnTo>
                  <a:lnTo>
                    <a:pt x="95110" y="225326"/>
                  </a:lnTo>
                  <a:lnTo>
                    <a:pt x="93732" y="225177"/>
                  </a:lnTo>
                  <a:lnTo>
                    <a:pt x="93065" y="224791"/>
                  </a:lnTo>
                  <a:lnTo>
                    <a:pt x="93240" y="223805"/>
                  </a:lnTo>
                  <a:lnTo>
                    <a:pt x="92923" y="223229"/>
                  </a:lnTo>
                  <a:lnTo>
                    <a:pt x="92353" y="222541"/>
                  </a:lnTo>
                  <a:lnTo>
                    <a:pt x="90971" y="221651"/>
                  </a:lnTo>
                  <a:lnTo>
                    <a:pt x="88042" y="220332"/>
                  </a:lnTo>
                  <a:lnTo>
                    <a:pt x="86047" y="219680"/>
                  </a:lnTo>
                  <a:lnTo>
                    <a:pt x="85300" y="220374"/>
                  </a:lnTo>
                  <a:lnTo>
                    <a:pt x="83873" y="221074"/>
                  </a:lnTo>
                  <a:lnTo>
                    <a:pt x="81625" y="220845"/>
                  </a:lnTo>
                  <a:lnTo>
                    <a:pt x="81074" y="221120"/>
                  </a:lnTo>
                  <a:lnTo>
                    <a:pt x="77226" y="219023"/>
                  </a:lnTo>
                  <a:lnTo>
                    <a:pt x="73529" y="217005"/>
                  </a:lnTo>
                  <a:lnTo>
                    <a:pt x="72307" y="217005"/>
                  </a:lnTo>
                  <a:lnTo>
                    <a:pt x="66859" y="217408"/>
                  </a:lnTo>
                  <a:lnTo>
                    <a:pt x="66701" y="217230"/>
                  </a:lnTo>
                  <a:lnTo>
                    <a:pt x="65753" y="216080"/>
                  </a:lnTo>
                  <a:lnTo>
                    <a:pt x="64911" y="215716"/>
                  </a:lnTo>
                  <a:lnTo>
                    <a:pt x="64404" y="215903"/>
                  </a:lnTo>
                  <a:lnTo>
                    <a:pt x="64065" y="216237"/>
                  </a:lnTo>
                  <a:lnTo>
                    <a:pt x="63480" y="216180"/>
                  </a:lnTo>
                  <a:lnTo>
                    <a:pt x="61037" y="214322"/>
                  </a:lnTo>
                  <a:lnTo>
                    <a:pt x="60038" y="214054"/>
                  </a:lnTo>
                  <a:lnTo>
                    <a:pt x="58649" y="214300"/>
                  </a:lnTo>
                  <a:lnTo>
                    <a:pt x="57010" y="215300"/>
                  </a:lnTo>
                  <a:lnTo>
                    <a:pt x="56295" y="216525"/>
                  </a:lnTo>
                  <a:lnTo>
                    <a:pt x="56513" y="217230"/>
                  </a:lnTo>
                  <a:lnTo>
                    <a:pt x="57364" y="217537"/>
                  </a:lnTo>
                  <a:lnTo>
                    <a:pt x="59588" y="217331"/>
                  </a:lnTo>
                  <a:lnTo>
                    <a:pt x="59914" y="217534"/>
                  </a:lnTo>
                  <a:lnTo>
                    <a:pt x="59990" y="217930"/>
                  </a:lnTo>
                  <a:lnTo>
                    <a:pt x="59746" y="218318"/>
                  </a:lnTo>
                  <a:lnTo>
                    <a:pt x="57937" y="218636"/>
                  </a:lnTo>
                  <a:lnTo>
                    <a:pt x="57414" y="219099"/>
                  </a:lnTo>
                  <a:lnTo>
                    <a:pt x="56885" y="219213"/>
                  </a:lnTo>
                  <a:lnTo>
                    <a:pt x="56546" y="219285"/>
                  </a:lnTo>
                  <a:lnTo>
                    <a:pt x="54624" y="218798"/>
                  </a:lnTo>
                  <a:lnTo>
                    <a:pt x="51759" y="218798"/>
                  </a:lnTo>
                  <a:lnTo>
                    <a:pt x="49448" y="219662"/>
                  </a:lnTo>
                  <a:lnTo>
                    <a:pt x="45762" y="220007"/>
                  </a:lnTo>
                  <a:lnTo>
                    <a:pt x="40698" y="219838"/>
                  </a:lnTo>
                  <a:lnTo>
                    <a:pt x="38876" y="219197"/>
                  </a:lnTo>
                  <a:lnTo>
                    <a:pt x="37766" y="218809"/>
                  </a:lnTo>
                  <a:lnTo>
                    <a:pt x="36969" y="216916"/>
                  </a:lnTo>
                  <a:lnTo>
                    <a:pt x="37172" y="214110"/>
                  </a:lnTo>
                  <a:lnTo>
                    <a:pt x="38381" y="210391"/>
                  </a:lnTo>
                  <a:lnTo>
                    <a:pt x="38718" y="207658"/>
                  </a:lnTo>
                  <a:lnTo>
                    <a:pt x="38180" y="205916"/>
                  </a:lnTo>
                  <a:lnTo>
                    <a:pt x="38897" y="203303"/>
                  </a:lnTo>
                  <a:lnTo>
                    <a:pt x="40867" y="199818"/>
                  </a:lnTo>
                  <a:lnTo>
                    <a:pt x="42182" y="196136"/>
                  </a:lnTo>
                  <a:lnTo>
                    <a:pt x="42838" y="192255"/>
                  </a:lnTo>
                  <a:lnTo>
                    <a:pt x="43792" y="189722"/>
                  </a:lnTo>
                  <a:lnTo>
                    <a:pt x="45667" y="187945"/>
                  </a:lnTo>
                  <a:lnTo>
                    <a:pt x="50117" y="182971"/>
                  </a:lnTo>
                  <a:lnTo>
                    <a:pt x="50478" y="182596"/>
                  </a:lnTo>
                  <a:lnTo>
                    <a:pt x="50357" y="180111"/>
                  </a:lnTo>
                  <a:lnTo>
                    <a:pt x="49158" y="179760"/>
                  </a:lnTo>
                  <a:lnTo>
                    <a:pt x="47403" y="179046"/>
                  </a:lnTo>
                  <a:lnTo>
                    <a:pt x="42935" y="178162"/>
                  </a:lnTo>
                  <a:lnTo>
                    <a:pt x="38772" y="177595"/>
                  </a:lnTo>
                  <a:lnTo>
                    <a:pt x="36882" y="176892"/>
                  </a:lnTo>
                  <a:lnTo>
                    <a:pt x="35226" y="175011"/>
                  </a:lnTo>
                  <a:lnTo>
                    <a:pt x="34200" y="174986"/>
                  </a:lnTo>
                  <a:lnTo>
                    <a:pt x="32192" y="175659"/>
                  </a:lnTo>
                  <a:lnTo>
                    <a:pt x="29683" y="176114"/>
                  </a:lnTo>
                  <a:lnTo>
                    <a:pt x="27859" y="175716"/>
                  </a:lnTo>
                  <a:lnTo>
                    <a:pt x="26716" y="175793"/>
                  </a:lnTo>
                  <a:lnTo>
                    <a:pt x="26075" y="176140"/>
                  </a:lnTo>
                  <a:lnTo>
                    <a:pt x="25753" y="175833"/>
                  </a:lnTo>
                  <a:lnTo>
                    <a:pt x="25295" y="174220"/>
                  </a:lnTo>
                  <a:lnTo>
                    <a:pt x="24341" y="173798"/>
                  </a:lnTo>
                  <a:lnTo>
                    <a:pt x="22857" y="173429"/>
                  </a:lnTo>
                  <a:lnTo>
                    <a:pt x="21935" y="173589"/>
                  </a:lnTo>
                  <a:lnTo>
                    <a:pt x="21298" y="174390"/>
                  </a:lnTo>
                  <a:lnTo>
                    <a:pt x="20316" y="174955"/>
                  </a:lnTo>
                  <a:lnTo>
                    <a:pt x="19413" y="174771"/>
                  </a:lnTo>
                  <a:lnTo>
                    <a:pt x="16586" y="171044"/>
                  </a:lnTo>
                  <a:lnTo>
                    <a:pt x="15858" y="170219"/>
                  </a:lnTo>
                  <a:lnTo>
                    <a:pt x="15673" y="169460"/>
                  </a:lnTo>
                  <a:lnTo>
                    <a:pt x="14965" y="168071"/>
                  </a:lnTo>
                  <a:lnTo>
                    <a:pt x="13280" y="166689"/>
                  </a:lnTo>
                  <a:lnTo>
                    <a:pt x="11603" y="166251"/>
                  </a:lnTo>
                  <a:lnTo>
                    <a:pt x="10765" y="166406"/>
                  </a:lnTo>
                  <a:lnTo>
                    <a:pt x="10855" y="164686"/>
                  </a:lnTo>
                  <a:lnTo>
                    <a:pt x="11516" y="162190"/>
                  </a:lnTo>
                  <a:lnTo>
                    <a:pt x="12144" y="160886"/>
                  </a:lnTo>
                  <a:lnTo>
                    <a:pt x="12982" y="159820"/>
                  </a:lnTo>
                  <a:lnTo>
                    <a:pt x="13870" y="159079"/>
                  </a:lnTo>
                  <a:lnTo>
                    <a:pt x="14069" y="157738"/>
                  </a:lnTo>
                  <a:lnTo>
                    <a:pt x="13926" y="156469"/>
                  </a:lnTo>
                  <a:lnTo>
                    <a:pt x="12900" y="156272"/>
                  </a:lnTo>
                  <a:lnTo>
                    <a:pt x="10329" y="155334"/>
                  </a:lnTo>
                  <a:lnTo>
                    <a:pt x="8813" y="154346"/>
                  </a:lnTo>
                  <a:lnTo>
                    <a:pt x="7681" y="153108"/>
                  </a:lnTo>
                  <a:lnTo>
                    <a:pt x="6206" y="151401"/>
                  </a:lnTo>
                  <a:lnTo>
                    <a:pt x="5578" y="149667"/>
                  </a:lnTo>
                  <a:lnTo>
                    <a:pt x="5546" y="147938"/>
                  </a:lnTo>
                  <a:lnTo>
                    <a:pt x="5727" y="147164"/>
                  </a:lnTo>
                  <a:lnTo>
                    <a:pt x="5833" y="146633"/>
                  </a:lnTo>
                  <a:lnTo>
                    <a:pt x="7023" y="143934"/>
                  </a:lnTo>
                  <a:lnTo>
                    <a:pt x="11210" y="141516"/>
                  </a:lnTo>
                  <a:lnTo>
                    <a:pt x="10749" y="139079"/>
                  </a:lnTo>
                  <a:lnTo>
                    <a:pt x="10689" y="137584"/>
                  </a:lnTo>
                  <a:lnTo>
                    <a:pt x="9672" y="136605"/>
                  </a:lnTo>
                  <a:lnTo>
                    <a:pt x="7640" y="136209"/>
                  </a:lnTo>
                  <a:lnTo>
                    <a:pt x="7102" y="135530"/>
                  </a:lnTo>
                  <a:lnTo>
                    <a:pt x="6876" y="134867"/>
                  </a:lnTo>
                  <a:lnTo>
                    <a:pt x="8368" y="133375"/>
                  </a:lnTo>
                  <a:lnTo>
                    <a:pt x="6567" y="132195"/>
                  </a:lnTo>
                  <a:lnTo>
                    <a:pt x="5792" y="130974"/>
                  </a:lnTo>
                  <a:lnTo>
                    <a:pt x="3282" y="129432"/>
                  </a:lnTo>
                  <a:lnTo>
                    <a:pt x="3017" y="128901"/>
                  </a:lnTo>
                  <a:lnTo>
                    <a:pt x="4222" y="124399"/>
                  </a:lnTo>
                  <a:lnTo>
                    <a:pt x="3302" y="123084"/>
                  </a:lnTo>
                  <a:lnTo>
                    <a:pt x="2157" y="122413"/>
                  </a:lnTo>
                  <a:lnTo>
                    <a:pt x="823" y="122083"/>
                  </a:lnTo>
                  <a:lnTo>
                    <a:pt x="214" y="121457"/>
                  </a:lnTo>
                  <a:lnTo>
                    <a:pt x="0" y="120742"/>
                  </a:lnTo>
                  <a:lnTo>
                    <a:pt x="240" y="120299"/>
                  </a:lnTo>
                  <a:lnTo>
                    <a:pt x="1807" y="120430"/>
                  </a:lnTo>
                  <a:lnTo>
                    <a:pt x="2289" y="119966"/>
                  </a:lnTo>
                  <a:lnTo>
                    <a:pt x="6025" y="117313"/>
                  </a:lnTo>
                  <a:lnTo>
                    <a:pt x="6178" y="116803"/>
                  </a:lnTo>
                  <a:lnTo>
                    <a:pt x="5658" y="116514"/>
                  </a:lnTo>
                  <a:lnTo>
                    <a:pt x="4973" y="116360"/>
                  </a:lnTo>
                  <a:lnTo>
                    <a:pt x="4805" y="115802"/>
                  </a:lnTo>
                  <a:lnTo>
                    <a:pt x="4829" y="115067"/>
                  </a:lnTo>
                  <a:lnTo>
                    <a:pt x="6826" y="111235"/>
                  </a:lnTo>
                  <a:lnTo>
                    <a:pt x="7416" y="109599"/>
                  </a:lnTo>
                  <a:lnTo>
                    <a:pt x="7547" y="108442"/>
                  </a:lnTo>
                  <a:lnTo>
                    <a:pt x="7424" y="107299"/>
                  </a:lnTo>
                  <a:lnTo>
                    <a:pt x="6282" y="105500"/>
                  </a:lnTo>
                  <a:lnTo>
                    <a:pt x="5165" y="104064"/>
                  </a:lnTo>
                  <a:lnTo>
                    <a:pt x="5127" y="102920"/>
                  </a:lnTo>
                  <a:lnTo>
                    <a:pt x="4317" y="102318"/>
                  </a:lnTo>
                  <a:lnTo>
                    <a:pt x="2013" y="99249"/>
                  </a:lnTo>
                  <a:lnTo>
                    <a:pt x="2017" y="98061"/>
                  </a:lnTo>
                  <a:lnTo>
                    <a:pt x="3319" y="97138"/>
                  </a:lnTo>
                  <a:lnTo>
                    <a:pt x="5137" y="96549"/>
                  </a:lnTo>
                  <a:lnTo>
                    <a:pt x="5742" y="96063"/>
                  </a:lnTo>
                  <a:lnTo>
                    <a:pt x="6832" y="95757"/>
                  </a:lnTo>
                  <a:lnTo>
                    <a:pt x="9720" y="96644"/>
                  </a:lnTo>
                  <a:lnTo>
                    <a:pt x="11015" y="97413"/>
                  </a:lnTo>
                  <a:lnTo>
                    <a:pt x="11380" y="97254"/>
                  </a:lnTo>
                  <a:lnTo>
                    <a:pt x="12548" y="96417"/>
                  </a:lnTo>
                  <a:lnTo>
                    <a:pt x="14595" y="96549"/>
                  </a:lnTo>
                  <a:lnTo>
                    <a:pt x="19553" y="94867"/>
                  </a:lnTo>
                  <a:lnTo>
                    <a:pt x="20292" y="94058"/>
                  </a:lnTo>
                  <a:lnTo>
                    <a:pt x="20849" y="93198"/>
                  </a:lnTo>
                  <a:lnTo>
                    <a:pt x="20894" y="92820"/>
                  </a:lnTo>
                  <a:lnTo>
                    <a:pt x="18975" y="91164"/>
                  </a:lnTo>
                  <a:lnTo>
                    <a:pt x="18916" y="90551"/>
                  </a:lnTo>
                  <a:lnTo>
                    <a:pt x="19171" y="89860"/>
                  </a:lnTo>
                  <a:lnTo>
                    <a:pt x="19713" y="89314"/>
                  </a:lnTo>
                  <a:lnTo>
                    <a:pt x="20849" y="88943"/>
                  </a:lnTo>
                  <a:lnTo>
                    <a:pt x="22058" y="88215"/>
                  </a:lnTo>
                  <a:lnTo>
                    <a:pt x="24759" y="86149"/>
                  </a:lnTo>
                  <a:lnTo>
                    <a:pt x="25697" y="84355"/>
                  </a:lnTo>
                  <a:lnTo>
                    <a:pt x="25984" y="82411"/>
                  </a:lnTo>
                  <a:lnTo>
                    <a:pt x="26040" y="80964"/>
                  </a:lnTo>
                  <a:lnTo>
                    <a:pt x="25304" y="79812"/>
                  </a:lnTo>
                  <a:lnTo>
                    <a:pt x="24559" y="79066"/>
                  </a:lnTo>
                  <a:lnTo>
                    <a:pt x="23540" y="79179"/>
                  </a:lnTo>
                  <a:lnTo>
                    <a:pt x="21559" y="79120"/>
                  </a:lnTo>
                  <a:lnTo>
                    <a:pt x="19709" y="78473"/>
                  </a:lnTo>
                  <a:lnTo>
                    <a:pt x="18694" y="77426"/>
                  </a:lnTo>
                  <a:lnTo>
                    <a:pt x="18444" y="76505"/>
                  </a:lnTo>
                  <a:lnTo>
                    <a:pt x="18903" y="75925"/>
                  </a:lnTo>
                  <a:lnTo>
                    <a:pt x="19044" y="75212"/>
                  </a:lnTo>
                  <a:lnTo>
                    <a:pt x="18748" y="74495"/>
                  </a:lnTo>
                  <a:lnTo>
                    <a:pt x="18867" y="73893"/>
                  </a:lnTo>
                  <a:lnTo>
                    <a:pt x="19700" y="73410"/>
                  </a:lnTo>
                  <a:lnTo>
                    <a:pt x="25554" y="73426"/>
                  </a:lnTo>
                  <a:lnTo>
                    <a:pt x="25993" y="72895"/>
                  </a:lnTo>
                  <a:lnTo>
                    <a:pt x="26388" y="70108"/>
                  </a:lnTo>
                  <a:lnTo>
                    <a:pt x="27852" y="65859"/>
                  </a:lnTo>
                  <a:lnTo>
                    <a:pt x="29232" y="63490"/>
                  </a:lnTo>
                  <a:lnTo>
                    <a:pt x="29463" y="62493"/>
                  </a:lnTo>
                  <a:lnTo>
                    <a:pt x="29441" y="56866"/>
                  </a:lnTo>
                  <a:lnTo>
                    <a:pt x="29625" y="54011"/>
                  </a:lnTo>
                  <a:lnTo>
                    <a:pt x="28625" y="52668"/>
                  </a:lnTo>
                  <a:lnTo>
                    <a:pt x="26442" y="51197"/>
                  </a:lnTo>
                  <a:lnTo>
                    <a:pt x="26906" y="48132"/>
                  </a:lnTo>
                  <a:lnTo>
                    <a:pt x="27632" y="45741"/>
                  </a:lnTo>
                  <a:lnTo>
                    <a:pt x="29828" y="42797"/>
                  </a:lnTo>
                  <a:lnTo>
                    <a:pt x="31570" y="41987"/>
                  </a:lnTo>
                  <a:lnTo>
                    <a:pt x="39176" y="41506"/>
                  </a:lnTo>
                  <a:lnTo>
                    <a:pt x="47580" y="41704"/>
                  </a:lnTo>
                  <a:lnTo>
                    <a:pt x="51069" y="46150"/>
                  </a:lnTo>
                  <a:lnTo>
                    <a:pt x="49774" y="48432"/>
                  </a:lnTo>
                  <a:lnTo>
                    <a:pt x="51814" y="49494"/>
                  </a:lnTo>
                  <a:lnTo>
                    <a:pt x="52797" y="49106"/>
                  </a:lnTo>
                  <a:lnTo>
                    <a:pt x="53544" y="47121"/>
                  </a:lnTo>
                  <a:lnTo>
                    <a:pt x="54043" y="44922"/>
                  </a:lnTo>
                  <a:lnTo>
                    <a:pt x="54758" y="44256"/>
                  </a:lnTo>
                  <a:lnTo>
                    <a:pt x="57356" y="45900"/>
                  </a:lnTo>
                  <a:lnTo>
                    <a:pt x="58269" y="47026"/>
                  </a:lnTo>
                  <a:lnTo>
                    <a:pt x="58325" y="50644"/>
                  </a:lnTo>
                  <a:lnTo>
                    <a:pt x="59282" y="45743"/>
                  </a:lnTo>
                  <a:lnTo>
                    <a:pt x="58569" y="42307"/>
                  </a:lnTo>
                  <a:lnTo>
                    <a:pt x="59059" y="38972"/>
                  </a:lnTo>
                  <a:lnTo>
                    <a:pt x="60102" y="37235"/>
                  </a:lnTo>
                  <a:lnTo>
                    <a:pt x="61061" y="36130"/>
                  </a:lnTo>
                  <a:lnTo>
                    <a:pt x="67226" y="37320"/>
                  </a:lnTo>
                  <a:lnTo>
                    <a:pt x="74032" y="36706"/>
                  </a:lnTo>
                  <a:lnTo>
                    <a:pt x="76606" y="37992"/>
                  </a:lnTo>
                  <a:lnTo>
                    <a:pt x="82430" y="44428"/>
                  </a:lnTo>
                  <a:lnTo>
                    <a:pt x="84372" y="45480"/>
                  </a:lnTo>
                  <a:lnTo>
                    <a:pt x="86822" y="45811"/>
                  </a:lnTo>
                  <a:lnTo>
                    <a:pt x="83445" y="44437"/>
                  </a:lnTo>
                  <a:lnTo>
                    <a:pt x="76386" y="36610"/>
                  </a:lnTo>
                  <a:lnTo>
                    <a:pt x="74272" y="35639"/>
                  </a:lnTo>
                  <a:lnTo>
                    <a:pt x="71027" y="35344"/>
                  </a:lnTo>
                  <a:lnTo>
                    <a:pt x="69003" y="34578"/>
                  </a:lnTo>
                  <a:lnTo>
                    <a:pt x="67727" y="33392"/>
                  </a:lnTo>
                  <a:lnTo>
                    <a:pt x="67353" y="32332"/>
                  </a:lnTo>
                  <a:lnTo>
                    <a:pt x="67423" y="24417"/>
                  </a:lnTo>
                  <a:lnTo>
                    <a:pt x="66205" y="23237"/>
                  </a:lnTo>
                  <a:lnTo>
                    <a:pt x="64631" y="22826"/>
                  </a:lnTo>
                  <a:lnTo>
                    <a:pt x="63650" y="23369"/>
                  </a:lnTo>
                  <a:lnTo>
                    <a:pt x="61636" y="23376"/>
                  </a:lnTo>
                  <a:lnTo>
                    <a:pt x="61212" y="21579"/>
                  </a:lnTo>
                  <a:lnTo>
                    <a:pt x="61704" y="20247"/>
                  </a:lnTo>
                  <a:lnTo>
                    <a:pt x="65753" y="19336"/>
                  </a:lnTo>
                  <a:lnTo>
                    <a:pt x="68422" y="18114"/>
                  </a:lnTo>
                  <a:lnTo>
                    <a:pt x="68541" y="15954"/>
                  </a:lnTo>
                  <a:lnTo>
                    <a:pt x="66855" y="14254"/>
                  </a:lnTo>
                  <a:lnTo>
                    <a:pt x="64836" y="11133"/>
                  </a:lnTo>
                  <a:lnTo>
                    <a:pt x="62463" y="8196"/>
                  </a:lnTo>
                  <a:close/>
                  <a:moveTo>
                    <a:pt x="56334" y="0"/>
                  </a:moveTo>
                  <a:lnTo>
                    <a:pt x="57358" y="103"/>
                  </a:lnTo>
                  <a:lnTo>
                    <a:pt x="56310" y="1353"/>
                  </a:lnTo>
                  <a:lnTo>
                    <a:pt x="56008" y="2228"/>
                  </a:lnTo>
                  <a:lnTo>
                    <a:pt x="55583" y="3975"/>
                  </a:lnTo>
                  <a:lnTo>
                    <a:pt x="55775" y="4882"/>
                  </a:lnTo>
                  <a:lnTo>
                    <a:pt x="61296" y="5131"/>
                  </a:lnTo>
                  <a:lnTo>
                    <a:pt x="60655" y="5940"/>
                  </a:lnTo>
                  <a:lnTo>
                    <a:pt x="55056" y="6486"/>
                  </a:lnTo>
                  <a:lnTo>
                    <a:pt x="54179" y="8345"/>
                  </a:lnTo>
                  <a:lnTo>
                    <a:pt x="53669" y="8954"/>
                  </a:lnTo>
                  <a:lnTo>
                    <a:pt x="53913" y="4623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21" name="ee4p_DK_1_37365">
              <a:extLst>
                <a:ext uri="{FF2B5EF4-FFF2-40B4-BE49-F238E27FC236}">
                  <a16:creationId xmlns:a16="http://schemas.microsoft.com/office/drawing/2014/main" id="{94B28E6D-AC8F-0359-7368-0AE566F4BFCE}"/>
                </a:ext>
              </a:extLst>
            </p:cNvPr>
            <p:cNvSpPr>
              <a:spLocks noChangeAspect="1"/>
            </p:cNvSpPr>
            <p:nvPr>
              <p:custDataLst>
                <p:tags r:id="rId275"/>
              </p:custDataLst>
            </p:nvPr>
          </p:nvSpPr>
          <p:spPr>
            <a:xfrm>
              <a:off x="6740227" y="2814529"/>
              <a:ext cx="194819" cy="125295"/>
            </a:xfrm>
            <a:custGeom>
              <a:avLst/>
              <a:gdLst>
                <a:gd name="connsiteX0" fmla="*/ 69366 w 155130"/>
                <a:gd name="connsiteY0" fmla="*/ 87225 h 97125"/>
                <a:gd name="connsiteX1" fmla="*/ 71642 w 155130"/>
                <a:gd name="connsiteY1" fmla="*/ 89072 h 97125"/>
                <a:gd name="connsiteX2" fmla="*/ 75555 w 155130"/>
                <a:gd name="connsiteY2" fmla="*/ 90976 h 97125"/>
                <a:gd name="connsiteX3" fmla="*/ 78202 w 155130"/>
                <a:gd name="connsiteY3" fmla="*/ 90867 h 97125"/>
                <a:gd name="connsiteX4" fmla="*/ 80003 w 155130"/>
                <a:gd name="connsiteY4" fmla="*/ 91656 h 97125"/>
                <a:gd name="connsiteX5" fmla="*/ 80433 w 155130"/>
                <a:gd name="connsiteY5" fmla="*/ 92874 h 97125"/>
                <a:gd name="connsiteX6" fmla="*/ 80586 w 155130"/>
                <a:gd name="connsiteY6" fmla="*/ 95577 h 97125"/>
                <a:gd name="connsiteX7" fmla="*/ 78695 w 155130"/>
                <a:gd name="connsiteY7" fmla="*/ 96364 h 97125"/>
                <a:gd name="connsiteX8" fmla="*/ 76607 w 155130"/>
                <a:gd name="connsiteY8" fmla="*/ 96097 h 97125"/>
                <a:gd name="connsiteX9" fmla="*/ 73765 w 155130"/>
                <a:gd name="connsiteY9" fmla="*/ 97125 h 97125"/>
                <a:gd name="connsiteX10" fmla="*/ 64436 w 155130"/>
                <a:gd name="connsiteY10" fmla="*/ 92708 h 97125"/>
                <a:gd name="connsiteX11" fmla="*/ 64572 w 155130"/>
                <a:gd name="connsiteY11" fmla="*/ 89020 h 97125"/>
                <a:gd name="connsiteX12" fmla="*/ 64946 w 155130"/>
                <a:gd name="connsiteY12" fmla="*/ 87570 h 97125"/>
                <a:gd name="connsiteX13" fmla="*/ 45958 w 155130"/>
                <a:gd name="connsiteY13" fmla="*/ 86889 h 97125"/>
                <a:gd name="connsiteX14" fmla="*/ 47410 w 155130"/>
                <a:gd name="connsiteY14" fmla="*/ 87316 h 97125"/>
                <a:gd name="connsiteX15" fmla="*/ 49211 w 155130"/>
                <a:gd name="connsiteY15" fmla="*/ 88633 h 97125"/>
                <a:gd name="connsiteX16" fmla="*/ 50685 w 155130"/>
                <a:gd name="connsiteY16" fmla="*/ 88913 h 97125"/>
                <a:gd name="connsiteX17" fmla="*/ 52702 w 155130"/>
                <a:gd name="connsiteY17" fmla="*/ 90027 h 97125"/>
                <a:gd name="connsiteX18" fmla="*/ 52249 w 155130"/>
                <a:gd name="connsiteY18" fmla="*/ 90425 h 97125"/>
                <a:gd name="connsiteX19" fmla="*/ 50765 w 155130"/>
                <a:gd name="connsiteY19" fmla="*/ 90744 h 97125"/>
                <a:gd name="connsiteX20" fmla="*/ 49068 w 155130"/>
                <a:gd name="connsiteY20" fmla="*/ 90076 h 97125"/>
                <a:gd name="connsiteX21" fmla="*/ 46306 w 155130"/>
                <a:gd name="connsiteY21" fmla="*/ 87558 h 97125"/>
                <a:gd name="connsiteX22" fmla="*/ 91822 w 155130"/>
                <a:gd name="connsiteY22" fmla="*/ 83772 h 97125"/>
                <a:gd name="connsiteX23" fmla="*/ 92618 w 155130"/>
                <a:gd name="connsiteY23" fmla="*/ 84486 h 97125"/>
                <a:gd name="connsiteX24" fmla="*/ 94987 w 155130"/>
                <a:gd name="connsiteY24" fmla="*/ 84785 h 97125"/>
                <a:gd name="connsiteX25" fmla="*/ 96145 w 155130"/>
                <a:gd name="connsiteY25" fmla="*/ 85207 h 97125"/>
                <a:gd name="connsiteX26" fmla="*/ 97112 w 155130"/>
                <a:gd name="connsiteY26" fmla="*/ 85827 h 97125"/>
                <a:gd name="connsiteX27" fmla="*/ 97907 w 155130"/>
                <a:gd name="connsiteY27" fmla="*/ 86796 h 97125"/>
                <a:gd name="connsiteX28" fmla="*/ 97062 w 155130"/>
                <a:gd name="connsiteY28" fmla="*/ 87254 h 97125"/>
                <a:gd name="connsiteX29" fmla="*/ 93668 w 155130"/>
                <a:gd name="connsiteY29" fmla="*/ 86918 h 97125"/>
                <a:gd name="connsiteX30" fmla="*/ 89841 w 155130"/>
                <a:gd name="connsiteY30" fmla="*/ 89047 h 97125"/>
                <a:gd name="connsiteX31" fmla="*/ 88390 w 155130"/>
                <a:gd name="connsiteY31" fmla="*/ 88374 h 97125"/>
                <a:gd name="connsiteX32" fmla="*/ 88939 w 155130"/>
                <a:gd name="connsiteY32" fmla="*/ 87014 h 97125"/>
                <a:gd name="connsiteX33" fmla="*/ 89338 w 155130"/>
                <a:gd name="connsiteY33" fmla="*/ 86518 h 97125"/>
                <a:gd name="connsiteX34" fmla="*/ 90625 w 155130"/>
                <a:gd name="connsiteY34" fmla="*/ 85941 h 97125"/>
                <a:gd name="connsiteX35" fmla="*/ 91485 w 155130"/>
                <a:gd name="connsiteY35" fmla="*/ 85096 h 97125"/>
                <a:gd name="connsiteX36" fmla="*/ 36701 w 155130"/>
                <a:gd name="connsiteY36" fmla="*/ 83621 h 97125"/>
                <a:gd name="connsiteX37" fmla="*/ 37787 w 155130"/>
                <a:gd name="connsiteY37" fmla="*/ 83953 h 97125"/>
                <a:gd name="connsiteX38" fmla="*/ 41512 w 155130"/>
                <a:gd name="connsiteY38" fmla="*/ 86160 h 97125"/>
                <a:gd name="connsiteX39" fmla="*/ 42814 w 155130"/>
                <a:gd name="connsiteY39" fmla="*/ 88573 h 97125"/>
                <a:gd name="connsiteX40" fmla="*/ 42892 w 155130"/>
                <a:gd name="connsiteY40" fmla="*/ 89234 h 97125"/>
                <a:gd name="connsiteX41" fmla="*/ 40590 w 155130"/>
                <a:gd name="connsiteY41" fmla="*/ 89661 h 97125"/>
                <a:gd name="connsiteX42" fmla="*/ 39413 w 155130"/>
                <a:gd name="connsiteY42" fmla="*/ 88919 h 97125"/>
                <a:gd name="connsiteX43" fmla="*/ 37254 w 155130"/>
                <a:gd name="connsiteY43" fmla="*/ 88632 h 97125"/>
                <a:gd name="connsiteX44" fmla="*/ 36479 w 155130"/>
                <a:gd name="connsiteY44" fmla="*/ 83902 h 97125"/>
                <a:gd name="connsiteX45" fmla="*/ 61992 w 155130"/>
                <a:gd name="connsiteY45" fmla="*/ 80886 h 97125"/>
                <a:gd name="connsiteX46" fmla="*/ 62568 w 155130"/>
                <a:gd name="connsiteY46" fmla="*/ 80938 h 97125"/>
                <a:gd name="connsiteX47" fmla="*/ 61899 w 155130"/>
                <a:gd name="connsiteY47" fmla="*/ 83834 h 97125"/>
                <a:gd name="connsiteX48" fmla="*/ 58459 w 155130"/>
                <a:gd name="connsiteY48" fmla="*/ 91894 h 97125"/>
                <a:gd name="connsiteX49" fmla="*/ 57770 w 155130"/>
                <a:gd name="connsiteY49" fmla="*/ 93394 h 97125"/>
                <a:gd name="connsiteX50" fmla="*/ 56790 w 155130"/>
                <a:gd name="connsiteY50" fmla="*/ 93567 h 97125"/>
                <a:gd name="connsiteX51" fmla="*/ 55457 w 155130"/>
                <a:gd name="connsiteY51" fmla="*/ 91084 h 97125"/>
                <a:gd name="connsiteX52" fmla="*/ 55285 w 155130"/>
                <a:gd name="connsiteY52" fmla="*/ 90307 h 97125"/>
                <a:gd name="connsiteX53" fmla="*/ 56850 w 155130"/>
                <a:gd name="connsiteY53" fmla="*/ 88716 h 97125"/>
                <a:gd name="connsiteX54" fmla="*/ 57863 w 155130"/>
                <a:gd name="connsiteY54" fmla="*/ 86912 h 97125"/>
                <a:gd name="connsiteX55" fmla="*/ 60482 w 155130"/>
                <a:gd name="connsiteY55" fmla="*/ 84139 h 97125"/>
                <a:gd name="connsiteX56" fmla="*/ 146910 w 155130"/>
                <a:gd name="connsiteY56" fmla="*/ 76604 h 97125"/>
                <a:gd name="connsiteX57" fmla="*/ 155031 w 155130"/>
                <a:gd name="connsiteY57" fmla="*/ 81297 h 97125"/>
                <a:gd name="connsiteX58" fmla="*/ 155130 w 155130"/>
                <a:gd name="connsiteY58" fmla="*/ 83063 h 97125"/>
                <a:gd name="connsiteX59" fmla="*/ 154038 w 155130"/>
                <a:gd name="connsiteY59" fmla="*/ 85072 h 97125"/>
                <a:gd name="connsiteX60" fmla="*/ 153222 w 155130"/>
                <a:gd name="connsiteY60" fmla="*/ 85592 h 97125"/>
                <a:gd name="connsiteX61" fmla="*/ 149568 w 155130"/>
                <a:gd name="connsiteY61" fmla="*/ 84731 h 97125"/>
                <a:gd name="connsiteX62" fmla="*/ 145115 w 155130"/>
                <a:gd name="connsiteY62" fmla="*/ 82599 h 97125"/>
                <a:gd name="connsiteX63" fmla="*/ 145767 w 155130"/>
                <a:gd name="connsiteY63" fmla="*/ 78415 h 97125"/>
                <a:gd name="connsiteX64" fmla="*/ 55309 w 155130"/>
                <a:gd name="connsiteY64" fmla="*/ 66827 h 97125"/>
                <a:gd name="connsiteX65" fmla="*/ 55803 w 155130"/>
                <a:gd name="connsiteY65" fmla="*/ 66921 h 97125"/>
                <a:gd name="connsiteX66" fmla="*/ 56725 w 155130"/>
                <a:gd name="connsiteY66" fmla="*/ 68538 h 97125"/>
                <a:gd name="connsiteX67" fmla="*/ 57859 w 155130"/>
                <a:gd name="connsiteY67" fmla="*/ 71982 h 97125"/>
                <a:gd name="connsiteX68" fmla="*/ 59653 w 155130"/>
                <a:gd name="connsiteY68" fmla="*/ 75828 h 97125"/>
                <a:gd name="connsiteX69" fmla="*/ 58904 w 155130"/>
                <a:gd name="connsiteY69" fmla="*/ 77436 h 97125"/>
                <a:gd name="connsiteX70" fmla="*/ 59413 w 155130"/>
                <a:gd name="connsiteY70" fmla="*/ 79495 h 97125"/>
                <a:gd name="connsiteX71" fmla="*/ 58902 w 155130"/>
                <a:gd name="connsiteY71" fmla="*/ 81640 h 97125"/>
                <a:gd name="connsiteX72" fmla="*/ 55332 w 155130"/>
                <a:gd name="connsiteY72" fmla="*/ 84132 h 97125"/>
                <a:gd name="connsiteX73" fmla="*/ 51329 w 155130"/>
                <a:gd name="connsiteY73" fmla="*/ 84244 h 97125"/>
                <a:gd name="connsiteX74" fmla="*/ 47168 w 155130"/>
                <a:gd name="connsiteY74" fmla="*/ 83041 h 97125"/>
                <a:gd name="connsiteX75" fmla="*/ 41290 w 155130"/>
                <a:gd name="connsiteY75" fmla="*/ 80722 h 97125"/>
                <a:gd name="connsiteX76" fmla="*/ 40817 w 155130"/>
                <a:gd name="connsiteY76" fmla="*/ 79419 h 97125"/>
                <a:gd name="connsiteX77" fmla="*/ 39992 w 155130"/>
                <a:gd name="connsiteY77" fmla="*/ 78697 h 97125"/>
                <a:gd name="connsiteX78" fmla="*/ 38420 w 155130"/>
                <a:gd name="connsiteY78" fmla="*/ 74737 h 97125"/>
                <a:gd name="connsiteX79" fmla="*/ 38457 w 155130"/>
                <a:gd name="connsiteY79" fmla="*/ 69843 h 97125"/>
                <a:gd name="connsiteX80" fmla="*/ 41411 w 155130"/>
                <a:gd name="connsiteY80" fmla="*/ 69229 h 97125"/>
                <a:gd name="connsiteX81" fmla="*/ 47865 w 155130"/>
                <a:gd name="connsiteY81" fmla="*/ 66889 h 97125"/>
                <a:gd name="connsiteX82" fmla="*/ 49357 w 155130"/>
                <a:gd name="connsiteY82" fmla="*/ 67257 h 97125"/>
                <a:gd name="connsiteX83" fmla="*/ 50914 w 155130"/>
                <a:gd name="connsiteY83" fmla="*/ 68454 h 97125"/>
                <a:gd name="connsiteX84" fmla="*/ 52706 w 155130"/>
                <a:gd name="connsiteY84" fmla="*/ 68525 h 97125"/>
                <a:gd name="connsiteX85" fmla="*/ 99012 w 155130"/>
                <a:gd name="connsiteY85" fmla="*/ 64738 h 97125"/>
                <a:gd name="connsiteX86" fmla="*/ 99472 w 155130"/>
                <a:gd name="connsiteY86" fmla="*/ 64765 h 97125"/>
                <a:gd name="connsiteX87" fmla="*/ 100101 w 155130"/>
                <a:gd name="connsiteY87" fmla="*/ 65775 h 97125"/>
                <a:gd name="connsiteX88" fmla="*/ 100483 w 155130"/>
                <a:gd name="connsiteY88" fmla="*/ 67333 h 97125"/>
                <a:gd name="connsiteX89" fmla="*/ 98401 w 155130"/>
                <a:gd name="connsiteY89" fmla="*/ 68650 h 97125"/>
                <a:gd name="connsiteX90" fmla="*/ 97943 w 155130"/>
                <a:gd name="connsiteY90" fmla="*/ 68581 h 97125"/>
                <a:gd name="connsiteX91" fmla="*/ 97267 w 155130"/>
                <a:gd name="connsiteY91" fmla="*/ 66773 h 97125"/>
                <a:gd name="connsiteX92" fmla="*/ 98365 w 155130"/>
                <a:gd name="connsiteY92" fmla="*/ 65672 h 97125"/>
                <a:gd name="connsiteX93" fmla="*/ 53637 w 155130"/>
                <a:gd name="connsiteY93" fmla="*/ 55046 h 97125"/>
                <a:gd name="connsiteX94" fmla="*/ 55609 w 155130"/>
                <a:gd name="connsiteY94" fmla="*/ 57468 h 97125"/>
                <a:gd name="connsiteX95" fmla="*/ 56170 w 155130"/>
                <a:gd name="connsiteY95" fmla="*/ 58606 h 97125"/>
                <a:gd name="connsiteX96" fmla="*/ 55410 w 155130"/>
                <a:gd name="connsiteY96" fmla="*/ 59965 h 97125"/>
                <a:gd name="connsiteX97" fmla="*/ 54967 w 155130"/>
                <a:gd name="connsiteY97" fmla="*/ 61545 h 97125"/>
                <a:gd name="connsiteX98" fmla="*/ 54592 w 155130"/>
                <a:gd name="connsiteY98" fmla="*/ 62103 h 97125"/>
                <a:gd name="connsiteX99" fmla="*/ 53190 w 155130"/>
                <a:gd name="connsiteY99" fmla="*/ 61522 h 97125"/>
                <a:gd name="connsiteX100" fmla="*/ 53043 w 155130"/>
                <a:gd name="connsiteY100" fmla="*/ 59511 h 97125"/>
                <a:gd name="connsiteX101" fmla="*/ 53575 w 155130"/>
                <a:gd name="connsiteY101" fmla="*/ 57704 h 97125"/>
                <a:gd name="connsiteX102" fmla="*/ 52950 w 155130"/>
                <a:gd name="connsiteY102" fmla="*/ 56086 h 97125"/>
                <a:gd name="connsiteX103" fmla="*/ 92910 w 155130"/>
                <a:gd name="connsiteY103" fmla="*/ 50986 h 97125"/>
                <a:gd name="connsiteX104" fmla="*/ 95231 w 155130"/>
                <a:gd name="connsiteY104" fmla="*/ 51493 h 97125"/>
                <a:gd name="connsiteX105" fmla="*/ 97389 w 155130"/>
                <a:gd name="connsiteY105" fmla="*/ 52194 h 97125"/>
                <a:gd name="connsiteX106" fmla="*/ 98559 w 155130"/>
                <a:gd name="connsiteY106" fmla="*/ 52797 h 97125"/>
                <a:gd name="connsiteX107" fmla="*/ 99215 w 155130"/>
                <a:gd name="connsiteY107" fmla="*/ 53766 h 97125"/>
                <a:gd name="connsiteX108" fmla="*/ 97768 w 155130"/>
                <a:gd name="connsiteY108" fmla="*/ 56072 h 97125"/>
                <a:gd name="connsiteX109" fmla="*/ 97367 w 155130"/>
                <a:gd name="connsiteY109" fmla="*/ 57334 h 97125"/>
                <a:gd name="connsiteX110" fmla="*/ 98339 w 155130"/>
                <a:gd name="connsiteY110" fmla="*/ 61483 h 97125"/>
                <a:gd name="connsiteX111" fmla="*/ 98392 w 155130"/>
                <a:gd name="connsiteY111" fmla="*/ 64591 h 97125"/>
                <a:gd name="connsiteX112" fmla="*/ 97818 w 155130"/>
                <a:gd name="connsiteY112" fmla="*/ 65495 h 97125"/>
                <a:gd name="connsiteX113" fmla="*/ 96974 w 155130"/>
                <a:gd name="connsiteY113" fmla="*/ 66090 h 97125"/>
                <a:gd name="connsiteX114" fmla="*/ 94765 w 155130"/>
                <a:gd name="connsiteY114" fmla="*/ 66721 h 97125"/>
                <a:gd name="connsiteX115" fmla="*/ 92852 w 155130"/>
                <a:gd name="connsiteY115" fmla="*/ 67602 h 97125"/>
                <a:gd name="connsiteX116" fmla="*/ 91146 w 155130"/>
                <a:gd name="connsiteY116" fmla="*/ 69149 h 97125"/>
                <a:gd name="connsiteX117" fmla="*/ 90517 w 155130"/>
                <a:gd name="connsiteY117" fmla="*/ 71359 h 97125"/>
                <a:gd name="connsiteX118" fmla="*/ 91852 w 155130"/>
                <a:gd name="connsiteY118" fmla="*/ 72974 h 97125"/>
                <a:gd name="connsiteX119" fmla="*/ 94279 w 155130"/>
                <a:gd name="connsiteY119" fmla="*/ 73859 h 97125"/>
                <a:gd name="connsiteX120" fmla="*/ 94897 w 155130"/>
                <a:gd name="connsiteY120" fmla="*/ 76930 h 97125"/>
                <a:gd name="connsiteX121" fmla="*/ 92893 w 155130"/>
                <a:gd name="connsiteY121" fmla="*/ 78444 h 97125"/>
                <a:gd name="connsiteX122" fmla="*/ 87751 w 155130"/>
                <a:gd name="connsiteY122" fmla="*/ 79954 h 97125"/>
                <a:gd name="connsiteX123" fmla="*/ 87211 w 155130"/>
                <a:gd name="connsiteY123" fmla="*/ 83594 h 97125"/>
                <a:gd name="connsiteX124" fmla="*/ 87378 w 155130"/>
                <a:gd name="connsiteY124" fmla="*/ 86459 h 97125"/>
                <a:gd name="connsiteX125" fmla="*/ 87285 w 155130"/>
                <a:gd name="connsiteY125" fmla="*/ 88539 h 97125"/>
                <a:gd name="connsiteX126" fmla="*/ 86877 w 155130"/>
                <a:gd name="connsiteY126" fmla="*/ 91414 h 97125"/>
                <a:gd name="connsiteX127" fmla="*/ 82717 w 155130"/>
                <a:gd name="connsiteY127" fmla="*/ 92723 h 97125"/>
                <a:gd name="connsiteX128" fmla="*/ 80034 w 155130"/>
                <a:gd name="connsiteY128" fmla="*/ 88345 h 97125"/>
                <a:gd name="connsiteX129" fmla="*/ 80010 w 155130"/>
                <a:gd name="connsiteY129" fmla="*/ 86590 h 97125"/>
                <a:gd name="connsiteX130" fmla="*/ 79209 w 155130"/>
                <a:gd name="connsiteY130" fmla="*/ 84540 h 97125"/>
                <a:gd name="connsiteX131" fmla="*/ 79058 w 155130"/>
                <a:gd name="connsiteY131" fmla="*/ 82791 h 97125"/>
                <a:gd name="connsiteX132" fmla="*/ 78107 w 155130"/>
                <a:gd name="connsiteY132" fmla="*/ 79991 h 97125"/>
                <a:gd name="connsiteX133" fmla="*/ 74173 w 155130"/>
                <a:gd name="connsiteY133" fmla="*/ 79233 h 97125"/>
                <a:gd name="connsiteX134" fmla="*/ 72646 w 155130"/>
                <a:gd name="connsiteY134" fmla="*/ 79133 h 97125"/>
                <a:gd name="connsiteX135" fmla="*/ 70510 w 155130"/>
                <a:gd name="connsiteY135" fmla="*/ 79654 h 97125"/>
                <a:gd name="connsiteX136" fmla="*/ 69981 w 155130"/>
                <a:gd name="connsiteY136" fmla="*/ 79451 h 97125"/>
                <a:gd name="connsiteX137" fmla="*/ 67425 w 155130"/>
                <a:gd name="connsiteY137" fmla="*/ 75620 h 97125"/>
                <a:gd name="connsiteX138" fmla="*/ 67846 w 155130"/>
                <a:gd name="connsiteY138" fmla="*/ 71386 h 97125"/>
                <a:gd name="connsiteX139" fmla="*/ 66481 w 155130"/>
                <a:gd name="connsiteY139" fmla="*/ 69246 h 97125"/>
                <a:gd name="connsiteX140" fmla="*/ 66293 w 155130"/>
                <a:gd name="connsiteY140" fmla="*/ 68277 h 97125"/>
                <a:gd name="connsiteX141" fmla="*/ 66326 w 155130"/>
                <a:gd name="connsiteY141" fmla="*/ 67203 h 97125"/>
                <a:gd name="connsiteX142" fmla="*/ 65205 w 155130"/>
                <a:gd name="connsiteY142" fmla="*/ 66317 h 97125"/>
                <a:gd name="connsiteX143" fmla="*/ 63845 w 155130"/>
                <a:gd name="connsiteY143" fmla="*/ 65848 h 97125"/>
                <a:gd name="connsiteX144" fmla="*/ 63184 w 155130"/>
                <a:gd name="connsiteY144" fmla="*/ 63455 h 97125"/>
                <a:gd name="connsiteX145" fmla="*/ 64747 w 155130"/>
                <a:gd name="connsiteY145" fmla="*/ 62875 h 97125"/>
                <a:gd name="connsiteX146" fmla="*/ 68612 w 155130"/>
                <a:gd name="connsiteY146" fmla="*/ 63155 h 97125"/>
                <a:gd name="connsiteX147" fmla="*/ 69742 w 155130"/>
                <a:gd name="connsiteY147" fmla="*/ 62992 h 97125"/>
                <a:gd name="connsiteX148" fmla="*/ 70776 w 155130"/>
                <a:gd name="connsiteY148" fmla="*/ 62493 h 97125"/>
                <a:gd name="connsiteX149" fmla="*/ 73903 w 155130"/>
                <a:gd name="connsiteY149" fmla="*/ 58553 h 97125"/>
                <a:gd name="connsiteX150" fmla="*/ 73812 w 155130"/>
                <a:gd name="connsiteY150" fmla="*/ 57684 h 97125"/>
                <a:gd name="connsiteX151" fmla="*/ 74147 w 155130"/>
                <a:gd name="connsiteY151" fmla="*/ 56556 h 97125"/>
                <a:gd name="connsiteX152" fmla="*/ 77531 w 155130"/>
                <a:gd name="connsiteY152" fmla="*/ 56138 h 97125"/>
                <a:gd name="connsiteX153" fmla="*/ 79038 w 155130"/>
                <a:gd name="connsiteY153" fmla="*/ 57662 h 97125"/>
                <a:gd name="connsiteX154" fmla="*/ 78736 w 155130"/>
                <a:gd name="connsiteY154" fmla="*/ 60102 h 97125"/>
                <a:gd name="connsiteX155" fmla="*/ 78928 w 155130"/>
                <a:gd name="connsiteY155" fmla="*/ 63224 h 97125"/>
                <a:gd name="connsiteX156" fmla="*/ 80977 w 155130"/>
                <a:gd name="connsiteY156" fmla="*/ 64072 h 97125"/>
                <a:gd name="connsiteX157" fmla="*/ 81776 w 155130"/>
                <a:gd name="connsiteY157" fmla="*/ 64197 h 97125"/>
                <a:gd name="connsiteX158" fmla="*/ 82629 w 155130"/>
                <a:gd name="connsiteY158" fmla="*/ 61892 h 97125"/>
                <a:gd name="connsiteX159" fmla="*/ 83227 w 155130"/>
                <a:gd name="connsiteY159" fmla="*/ 60771 h 97125"/>
                <a:gd name="connsiteX160" fmla="*/ 84039 w 155130"/>
                <a:gd name="connsiteY160" fmla="*/ 60146 h 97125"/>
                <a:gd name="connsiteX161" fmla="*/ 84315 w 155130"/>
                <a:gd name="connsiteY161" fmla="*/ 58036 h 97125"/>
                <a:gd name="connsiteX162" fmla="*/ 83834 w 155130"/>
                <a:gd name="connsiteY162" fmla="*/ 56747 h 97125"/>
                <a:gd name="connsiteX163" fmla="*/ 82808 w 155130"/>
                <a:gd name="connsiteY163" fmla="*/ 55786 h 97125"/>
                <a:gd name="connsiteX164" fmla="*/ 86639 w 155130"/>
                <a:gd name="connsiteY164" fmla="*/ 53169 h 97125"/>
                <a:gd name="connsiteX165" fmla="*/ 90604 w 155130"/>
                <a:gd name="connsiteY165" fmla="*/ 51094 h 97125"/>
                <a:gd name="connsiteX166" fmla="*/ 65546 w 155130"/>
                <a:gd name="connsiteY166" fmla="*/ 12961 h 97125"/>
                <a:gd name="connsiteX167" fmla="*/ 67509 w 155130"/>
                <a:gd name="connsiteY167" fmla="*/ 13184 h 97125"/>
                <a:gd name="connsiteX168" fmla="*/ 65350 w 155130"/>
                <a:gd name="connsiteY168" fmla="*/ 14644 h 97125"/>
                <a:gd name="connsiteX169" fmla="*/ 64803 w 155130"/>
                <a:gd name="connsiteY169" fmla="*/ 15417 h 97125"/>
                <a:gd name="connsiteX170" fmla="*/ 63903 w 155130"/>
                <a:gd name="connsiteY170" fmla="*/ 16160 h 97125"/>
                <a:gd name="connsiteX171" fmla="*/ 60860 w 155130"/>
                <a:gd name="connsiteY171" fmla="*/ 15109 h 97125"/>
                <a:gd name="connsiteX172" fmla="*/ 62204 w 155130"/>
                <a:gd name="connsiteY172" fmla="*/ 13639 h 97125"/>
                <a:gd name="connsiteX173" fmla="*/ 55026 w 155130"/>
                <a:gd name="connsiteY173" fmla="*/ 0 h 97125"/>
                <a:gd name="connsiteX174" fmla="*/ 52173 w 155130"/>
                <a:gd name="connsiteY174" fmla="*/ 2816 h 97125"/>
                <a:gd name="connsiteX175" fmla="*/ 51715 w 155130"/>
                <a:gd name="connsiteY175" fmla="*/ 3905 h 97125"/>
                <a:gd name="connsiteX176" fmla="*/ 51370 w 155130"/>
                <a:gd name="connsiteY176" fmla="*/ 5573 h 97125"/>
                <a:gd name="connsiteX177" fmla="*/ 53415 w 155130"/>
                <a:gd name="connsiteY177" fmla="*/ 9192 h 97125"/>
                <a:gd name="connsiteX178" fmla="*/ 52983 w 155130"/>
                <a:gd name="connsiteY178" fmla="*/ 11391 h 97125"/>
                <a:gd name="connsiteX179" fmla="*/ 53127 w 155130"/>
                <a:gd name="connsiteY179" fmla="*/ 15713 h 97125"/>
                <a:gd name="connsiteX180" fmla="*/ 51199 w 155130"/>
                <a:gd name="connsiteY180" fmla="*/ 17962 h 97125"/>
                <a:gd name="connsiteX181" fmla="*/ 49023 w 155130"/>
                <a:gd name="connsiteY181" fmla="*/ 22738 h 97125"/>
                <a:gd name="connsiteX182" fmla="*/ 48085 w 155130"/>
                <a:gd name="connsiteY182" fmla="*/ 23440 h 97125"/>
                <a:gd name="connsiteX183" fmla="*/ 47885 w 155130"/>
                <a:gd name="connsiteY183" fmla="*/ 29001 h 97125"/>
                <a:gd name="connsiteX184" fmla="*/ 48098 w 155130"/>
                <a:gd name="connsiteY184" fmla="*/ 30326 h 97125"/>
                <a:gd name="connsiteX185" fmla="*/ 47789 w 155130"/>
                <a:gd name="connsiteY185" fmla="*/ 35374 h 97125"/>
                <a:gd name="connsiteX186" fmla="*/ 50020 w 155130"/>
                <a:gd name="connsiteY186" fmla="*/ 37437 h 97125"/>
                <a:gd name="connsiteX187" fmla="*/ 52378 w 155130"/>
                <a:gd name="connsiteY187" fmla="*/ 38515 h 97125"/>
                <a:gd name="connsiteX188" fmla="*/ 60243 w 155130"/>
                <a:gd name="connsiteY188" fmla="*/ 38477 h 97125"/>
                <a:gd name="connsiteX189" fmla="*/ 61059 w 155130"/>
                <a:gd name="connsiteY189" fmla="*/ 39383 h 97125"/>
                <a:gd name="connsiteX190" fmla="*/ 62018 w 155130"/>
                <a:gd name="connsiteY190" fmla="*/ 40939 h 97125"/>
                <a:gd name="connsiteX191" fmla="*/ 61316 w 155130"/>
                <a:gd name="connsiteY191" fmla="*/ 43578 h 97125"/>
                <a:gd name="connsiteX192" fmla="*/ 60476 w 155130"/>
                <a:gd name="connsiteY192" fmla="*/ 45567 h 97125"/>
                <a:gd name="connsiteX193" fmla="*/ 58198 w 155130"/>
                <a:gd name="connsiteY193" fmla="*/ 47241 h 97125"/>
                <a:gd name="connsiteX194" fmla="*/ 55274 w 155130"/>
                <a:gd name="connsiteY194" fmla="*/ 48488 h 97125"/>
                <a:gd name="connsiteX195" fmla="*/ 53456 w 155130"/>
                <a:gd name="connsiteY195" fmla="*/ 48543 h 97125"/>
                <a:gd name="connsiteX196" fmla="*/ 50979 w 155130"/>
                <a:gd name="connsiteY196" fmla="*/ 46172 h 97125"/>
                <a:gd name="connsiteX197" fmla="*/ 49802 w 155130"/>
                <a:gd name="connsiteY197" fmla="*/ 46941 h 97125"/>
                <a:gd name="connsiteX198" fmla="*/ 48586 w 155130"/>
                <a:gd name="connsiteY198" fmla="*/ 48150 h 97125"/>
                <a:gd name="connsiteX199" fmla="*/ 46550 w 155130"/>
                <a:gd name="connsiteY199" fmla="*/ 54627 h 97125"/>
                <a:gd name="connsiteX200" fmla="*/ 45585 w 155130"/>
                <a:gd name="connsiteY200" fmla="*/ 58992 h 97125"/>
                <a:gd name="connsiteX201" fmla="*/ 45062 w 155130"/>
                <a:gd name="connsiteY201" fmla="*/ 59346 h 97125"/>
                <a:gd name="connsiteX202" fmla="*/ 43911 w 155130"/>
                <a:gd name="connsiteY202" fmla="*/ 58703 h 97125"/>
                <a:gd name="connsiteX203" fmla="*/ 41923 w 155130"/>
                <a:gd name="connsiteY203" fmla="*/ 58653 h 97125"/>
                <a:gd name="connsiteX204" fmla="*/ 39409 w 155130"/>
                <a:gd name="connsiteY204" fmla="*/ 59687 h 97125"/>
                <a:gd name="connsiteX205" fmla="*/ 40698 w 155130"/>
                <a:gd name="connsiteY205" fmla="*/ 60612 h 97125"/>
                <a:gd name="connsiteX206" fmla="*/ 42061 w 155130"/>
                <a:gd name="connsiteY206" fmla="*/ 62217 h 97125"/>
                <a:gd name="connsiteX207" fmla="*/ 41516 w 155130"/>
                <a:gd name="connsiteY207" fmla="*/ 63021 h 97125"/>
                <a:gd name="connsiteX208" fmla="*/ 39305 w 155130"/>
                <a:gd name="connsiteY208" fmla="*/ 63889 h 97125"/>
                <a:gd name="connsiteX209" fmla="*/ 37345 w 155130"/>
                <a:gd name="connsiteY209" fmla="*/ 65645 h 97125"/>
                <a:gd name="connsiteX210" fmla="*/ 36524 w 155130"/>
                <a:gd name="connsiteY210" fmla="*/ 66973 h 97125"/>
                <a:gd name="connsiteX211" fmla="*/ 34051 w 155130"/>
                <a:gd name="connsiteY211" fmla="*/ 68543 h 97125"/>
                <a:gd name="connsiteX212" fmla="*/ 32497 w 155130"/>
                <a:gd name="connsiteY212" fmla="*/ 70532 h 97125"/>
                <a:gd name="connsiteX213" fmla="*/ 33259 w 155130"/>
                <a:gd name="connsiteY213" fmla="*/ 72995 h 97125"/>
                <a:gd name="connsiteX214" fmla="*/ 33583 w 155130"/>
                <a:gd name="connsiteY214" fmla="*/ 75156 h 97125"/>
                <a:gd name="connsiteX215" fmla="*/ 34263 w 155130"/>
                <a:gd name="connsiteY215" fmla="*/ 77540 h 97125"/>
                <a:gd name="connsiteX216" fmla="*/ 33650 w 155130"/>
                <a:gd name="connsiteY216" fmla="*/ 79442 h 97125"/>
                <a:gd name="connsiteX217" fmla="*/ 30588 w 155130"/>
                <a:gd name="connsiteY217" fmla="*/ 82168 h 97125"/>
                <a:gd name="connsiteX218" fmla="*/ 29459 w 155130"/>
                <a:gd name="connsiteY218" fmla="*/ 84528 h 97125"/>
                <a:gd name="connsiteX219" fmla="*/ 32082 w 155130"/>
                <a:gd name="connsiteY219" fmla="*/ 84498 h 97125"/>
                <a:gd name="connsiteX220" fmla="*/ 33697 w 155130"/>
                <a:gd name="connsiteY220" fmla="*/ 85043 h 97125"/>
                <a:gd name="connsiteX221" fmla="*/ 34643 w 155130"/>
                <a:gd name="connsiteY221" fmla="*/ 85740 h 97125"/>
                <a:gd name="connsiteX222" fmla="*/ 35619 w 155130"/>
                <a:gd name="connsiteY222" fmla="*/ 86727 h 97125"/>
                <a:gd name="connsiteX223" fmla="*/ 35021 w 155130"/>
                <a:gd name="connsiteY223" fmla="*/ 87946 h 97125"/>
                <a:gd name="connsiteX224" fmla="*/ 35783 w 155130"/>
                <a:gd name="connsiteY224" fmla="*/ 91101 h 97125"/>
                <a:gd name="connsiteX225" fmla="*/ 35457 w 155130"/>
                <a:gd name="connsiteY225" fmla="*/ 91101 h 97125"/>
                <a:gd name="connsiteX226" fmla="*/ 34047 w 155130"/>
                <a:gd name="connsiteY226" fmla="*/ 90830 h 97125"/>
                <a:gd name="connsiteX227" fmla="*/ 33043 w 155130"/>
                <a:gd name="connsiteY227" fmla="*/ 90184 h 97125"/>
                <a:gd name="connsiteX228" fmla="*/ 30454 w 155130"/>
                <a:gd name="connsiteY228" fmla="*/ 90644 h 97125"/>
                <a:gd name="connsiteX229" fmla="*/ 26988 w 155130"/>
                <a:gd name="connsiteY229" fmla="*/ 91691 h 97125"/>
                <a:gd name="connsiteX230" fmla="*/ 25064 w 155130"/>
                <a:gd name="connsiteY230" fmla="*/ 91638 h 97125"/>
                <a:gd name="connsiteX231" fmla="*/ 23535 w 155130"/>
                <a:gd name="connsiteY231" fmla="*/ 90514 h 97125"/>
                <a:gd name="connsiteX232" fmla="*/ 17280 w 155130"/>
                <a:gd name="connsiteY232" fmla="*/ 88911 h 97125"/>
                <a:gd name="connsiteX233" fmla="*/ 16269 w 155130"/>
                <a:gd name="connsiteY233" fmla="*/ 88781 h 97125"/>
                <a:gd name="connsiteX234" fmla="*/ 12145 w 155130"/>
                <a:gd name="connsiteY234" fmla="*/ 88714 h 97125"/>
                <a:gd name="connsiteX235" fmla="*/ 12136 w 155130"/>
                <a:gd name="connsiteY235" fmla="*/ 88711 h 97125"/>
                <a:gd name="connsiteX236" fmla="*/ 11939 w 155130"/>
                <a:gd name="connsiteY236" fmla="*/ 86176 h 97125"/>
                <a:gd name="connsiteX237" fmla="*/ 11428 w 155130"/>
                <a:gd name="connsiteY237" fmla="*/ 84343 h 97125"/>
                <a:gd name="connsiteX238" fmla="*/ 9983 w 155130"/>
                <a:gd name="connsiteY238" fmla="*/ 81613 h 97125"/>
                <a:gd name="connsiteX239" fmla="*/ 12125 w 155130"/>
                <a:gd name="connsiteY239" fmla="*/ 80954 h 97125"/>
                <a:gd name="connsiteX240" fmla="*/ 11711 w 155130"/>
                <a:gd name="connsiteY240" fmla="*/ 75622 h 97125"/>
                <a:gd name="connsiteX241" fmla="*/ 10933 w 155130"/>
                <a:gd name="connsiteY241" fmla="*/ 72852 h 97125"/>
                <a:gd name="connsiteX242" fmla="*/ 4949 w 155130"/>
                <a:gd name="connsiteY242" fmla="*/ 70003 h 97125"/>
                <a:gd name="connsiteX243" fmla="*/ 236 w 155130"/>
                <a:gd name="connsiteY243" fmla="*/ 67231 h 97125"/>
                <a:gd name="connsiteX244" fmla="*/ 1324 w 155130"/>
                <a:gd name="connsiteY244" fmla="*/ 57872 h 97125"/>
                <a:gd name="connsiteX245" fmla="*/ 1788 w 155130"/>
                <a:gd name="connsiteY245" fmla="*/ 55344 h 97125"/>
                <a:gd name="connsiteX246" fmla="*/ 0 w 155130"/>
                <a:gd name="connsiteY246" fmla="*/ 50431 h 97125"/>
                <a:gd name="connsiteX247" fmla="*/ 186 w 155130"/>
                <a:gd name="connsiteY247" fmla="*/ 44763 h 97125"/>
                <a:gd name="connsiteX248" fmla="*/ 939 w 155130"/>
                <a:gd name="connsiteY248" fmla="*/ 35802 h 97125"/>
                <a:gd name="connsiteX249" fmla="*/ 2438 w 155130"/>
                <a:gd name="connsiteY249" fmla="*/ 35451 h 97125"/>
                <a:gd name="connsiteX250" fmla="*/ 3537 w 155130"/>
                <a:gd name="connsiteY250" fmla="*/ 35494 h 97125"/>
                <a:gd name="connsiteX251" fmla="*/ 7776 w 155130"/>
                <a:gd name="connsiteY251" fmla="*/ 37105 h 97125"/>
                <a:gd name="connsiteX252" fmla="*/ 9541 w 155130"/>
                <a:gd name="connsiteY252" fmla="*/ 37266 h 97125"/>
                <a:gd name="connsiteX253" fmla="*/ 10750 w 155130"/>
                <a:gd name="connsiteY253" fmla="*/ 38703 h 97125"/>
                <a:gd name="connsiteX254" fmla="*/ 12166 w 155130"/>
                <a:gd name="connsiteY254" fmla="*/ 39295 h 97125"/>
                <a:gd name="connsiteX255" fmla="*/ 13192 w 155130"/>
                <a:gd name="connsiteY255" fmla="*/ 37768 h 97125"/>
                <a:gd name="connsiteX256" fmla="*/ 13591 w 155130"/>
                <a:gd name="connsiteY256" fmla="*/ 35156 h 97125"/>
                <a:gd name="connsiteX257" fmla="*/ 16951 w 155130"/>
                <a:gd name="connsiteY257" fmla="*/ 31770 h 97125"/>
                <a:gd name="connsiteX258" fmla="*/ 19305 w 155130"/>
                <a:gd name="connsiteY258" fmla="*/ 30519 h 97125"/>
                <a:gd name="connsiteX259" fmla="*/ 20910 w 155130"/>
                <a:gd name="connsiteY259" fmla="*/ 29918 h 97125"/>
                <a:gd name="connsiteX260" fmla="*/ 22529 w 155130"/>
                <a:gd name="connsiteY260" fmla="*/ 31286 h 97125"/>
                <a:gd name="connsiteX261" fmla="*/ 23768 w 155130"/>
                <a:gd name="connsiteY261" fmla="*/ 32821 h 97125"/>
                <a:gd name="connsiteX262" fmla="*/ 24062 w 155130"/>
                <a:gd name="connsiteY262" fmla="*/ 29460 h 97125"/>
                <a:gd name="connsiteX263" fmla="*/ 25062 w 155130"/>
                <a:gd name="connsiteY263" fmla="*/ 23042 h 97125"/>
                <a:gd name="connsiteX264" fmla="*/ 21868 w 155130"/>
                <a:gd name="connsiteY264" fmla="*/ 22033 h 97125"/>
                <a:gd name="connsiteX265" fmla="*/ 19266 w 155130"/>
                <a:gd name="connsiteY265" fmla="*/ 22903 h 97125"/>
                <a:gd name="connsiteX266" fmla="*/ 16686 w 155130"/>
                <a:gd name="connsiteY266" fmla="*/ 26973 h 97125"/>
                <a:gd name="connsiteX267" fmla="*/ 14384 w 155130"/>
                <a:gd name="connsiteY267" fmla="*/ 32078 h 97125"/>
                <a:gd name="connsiteX268" fmla="*/ 10650 w 155130"/>
                <a:gd name="connsiteY268" fmla="*/ 32546 h 97125"/>
                <a:gd name="connsiteX269" fmla="*/ 7670 w 155130"/>
                <a:gd name="connsiteY269" fmla="*/ 33989 h 97125"/>
                <a:gd name="connsiteX270" fmla="*/ 4980 w 155130"/>
                <a:gd name="connsiteY270" fmla="*/ 32493 h 97125"/>
                <a:gd name="connsiteX271" fmla="*/ 3246 w 155130"/>
                <a:gd name="connsiteY271" fmla="*/ 31174 h 97125"/>
                <a:gd name="connsiteX272" fmla="*/ 3203 w 155130"/>
                <a:gd name="connsiteY272" fmla="*/ 29241 h 97125"/>
                <a:gd name="connsiteX273" fmla="*/ 3596 w 155130"/>
                <a:gd name="connsiteY273" fmla="*/ 28074 h 97125"/>
                <a:gd name="connsiteX274" fmla="*/ 6757 w 155130"/>
                <a:gd name="connsiteY274" fmla="*/ 23905 h 97125"/>
                <a:gd name="connsiteX275" fmla="*/ 10992 w 155130"/>
                <a:gd name="connsiteY275" fmla="*/ 19893 h 97125"/>
                <a:gd name="connsiteX276" fmla="*/ 15258 w 155130"/>
                <a:gd name="connsiteY276" fmla="*/ 19932 h 97125"/>
                <a:gd name="connsiteX277" fmla="*/ 18370 w 155130"/>
                <a:gd name="connsiteY277" fmla="*/ 18649 h 97125"/>
                <a:gd name="connsiteX278" fmla="*/ 20229 w 155130"/>
                <a:gd name="connsiteY278" fmla="*/ 18495 h 97125"/>
                <a:gd name="connsiteX279" fmla="*/ 26034 w 155130"/>
                <a:gd name="connsiteY279" fmla="*/ 18777 h 97125"/>
                <a:gd name="connsiteX280" fmla="*/ 29014 w 155130"/>
                <a:gd name="connsiteY280" fmla="*/ 17897 h 97125"/>
                <a:gd name="connsiteX281" fmla="*/ 31683 w 155130"/>
                <a:gd name="connsiteY281" fmla="*/ 16054 h 97125"/>
                <a:gd name="connsiteX282" fmla="*/ 37450 w 155130"/>
                <a:gd name="connsiteY282" fmla="*/ 8241 h 97125"/>
                <a:gd name="connsiteX283" fmla="*/ 40705 w 155130"/>
                <a:gd name="connsiteY283" fmla="*/ 4976 h 97125"/>
                <a:gd name="connsiteX284" fmla="*/ 47267 w 155130"/>
                <a:gd name="connsiteY284" fmla="*/ 3825 h 97125"/>
                <a:gd name="connsiteX285" fmla="*/ 53330 w 155130"/>
                <a:gd name="connsiteY285" fmla="*/ 48 h 97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</a:cxnLst>
              <a:rect l="l" t="t" r="r" b="b"/>
              <a:pathLst>
                <a:path w="155130" h="97125">
                  <a:moveTo>
                    <a:pt x="69366" y="87225"/>
                  </a:moveTo>
                  <a:lnTo>
                    <a:pt x="71642" y="89072"/>
                  </a:lnTo>
                  <a:lnTo>
                    <a:pt x="75555" y="90976"/>
                  </a:lnTo>
                  <a:lnTo>
                    <a:pt x="78202" y="90867"/>
                  </a:lnTo>
                  <a:lnTo>
                    <a:pt x="80003" y="91656"/>
                  </a:lnTo>
                  <a:lnTo>
                    <a:pt x="80433" y="92874"/>
                  </a:lnTo>
                  <a:lnTo>
                    <a:pt x="80586" y="95577"/>
                  </a:lnTo>
                  <a:lnTo>
                    <a:pt x="78695" y="96364"/>
                  </a:lnTo>
                  <a:lnTo>
                    <a:pt x="76607" y="96097"/>
                  </a:lnTo>
                  <a:lnTo>
                    <a:pt x="73765" y="97125"/>
                  </a:lnTo>
                  <a:lnTo>
                    <a:pt x="64436" y="92708"/>
                  </a:lnTo>
                  <a:lnTo>
                    <a:pt x="64572" y="89020"/>
                  </a:lnTo>
                  <a:lnTo>
                    <a:pt x="64946" y="87570"/>
                  </a:lnTo>
                  <a:close/>
                  <a:moveTo>
                    <a:pt x="45958" y="86889"/>
                  </a:moveTo>
                  <a:lnTo>
                    <a:pt x="47410" y="87316"/>
                  </a:lnTo>
                  <a:lnTo>
                    <a:pt x="49211" y="88633"/>
                  </a:lnTo>
                  <a:lnTo>
                    <a:pt x="50685" y="88913"/>
                  </a:lnTo>
                  <a:lnTo>
                    <a:pt x="52702" y="90027"/>
                  </a:lnTo>
                  <a:lnTo>
                    <a:pt x="52249" y="90425"/>
                  </a:lnTo>
                  <a:lnTo>
                    <a:pt x="50765" y="90744"/>
                  </a:lnTo>
                  <a:lnTo>
                    <a:pt x="49068" y="90076"/>
                  </a:lnTo>
                  <a:lnTo>
                    <a:pt x="46306" y="87558"/>
                  </a:lnTo>
                  <a:close/>
                  <a:moveTo>
                    <a:pt x="91822" y="83772"/>
                  </a:moveTo>
                  <a:lnTo>
                    <a:pt x="92618" y="84486"/>
                  </a:lnTo>
                  <a:lnTo>
                    <a:pt x="94987" y="84785"/>
                  </a:lnTo>
                  <a:lnTo>
                    <a:pt x="96145" y="85207"/>
                  </a:lnTo>
                  <a:lnTo>
                    <a:pt x="97112" y="85827"/>
                  </a:lnTo>
                  <a:lnTo>
                    <a:pt x="97907" y="86796"/>
                  </a:lnTo>
                  <a:lnTo>
                    <a:pt x="97062" y="87254"/>
                  </a:lnTo>
                  <a:lnTo>
                    <a:pt x="93668" y="86918"/>
                  </a:lnTo>
                  <a:lnTo>
                    <a:pt x="89841" y="89047"/>
                  </a:lnTo>
                  <a:lnTo>
                    <a:pt x="88390" y="88374"/>
                  </a:lnTo>
                  <a:lnTo>
                    <a:pt x="88939" y="87014"/>
                  </a:lnTo>
                  <a:lnTo>
                    <a:pt x="89338" y="86518"/>
                  </a:lnTo>
                  <a:lnTo>
                    <a:pt x="90625" y="85941"/>
                  </a:lnTo>
                  <a:lnTo>
                    <a:pt x="91485" y="85096"/>
                  </a:lnTo>
                  <a:close/>
                  <a:moveTo>
                    <a:pt x="36701" y="83621"/>
                  </a:moveTo>
                  <a:lnTo>
                    <a:pt x="37787" y="83953"/>
                  </a:lnTo>
                  <a:lnTo>
                    <a:pt x="41512" y="86160"/>
                  </a:lnTo>
                  <a:lnTo>
                    <a:pt x="42814" y="88573"/>
                  </a:lnTo>
                  <a:lnTo>
                    <a:pt x="42892" y="89234"/>
                  </a:lnTo>
                  <a:lnTo>
                    <a:pt x="40590" y="89661"/>
                  </a:lnTo>
                  <a:lnTo>
                    <a:pt x="39413" y="88919"/>
                  </a:lnTo>
                  <a:lnTo>
                    <a:pt x="37254" y="88632"/>
                  </a:lnTo>
                  <a:lnTo>
                    <a:pt x="36479" y="83902"/>
                  </a:lnTo>
                  <a:close/>
                  <a:moveTo>
                    <a:pt x="61992" y="80886"/>
                  </a:moveTo>
                  <a:lnTo>
                    <a:pt x="62568" y="80938"/>
                  </a:lnTo>
                  <a:lnTo>
                    <a:pt x="61899" y="83834"/>
                  </a:lnTo>
                  <a:lnTo>
                    <a:pt x="58459" y="91894"/>
                  </a:lnTo>
                  <a:lnTo>
                    <a:pt x="57770" y="93394"/>
                  </a:lnTo>
                  <a:lnTo>
                    <a:pt x="56790" y="93567"/>
                  </a:lnTo>
                  <a:lnTo>
                    <a:pt x="55457" y="91084"/>
                  </a:lnTo>
                  <a:lnTo>
                    <a:pt x="55285" y="90307"/>
                  </a:lnTo>
                  <a:lnTo>
                    <a:pt x="56850" y="88716"/>
                  </a:lnTo>
                  <a:lnTo>
                    <a:pt x="57863" y="86912"/>
                  </a:lnTo>
                  <a:lnTo>
                    <a:pt x="60482" y="84139"/>
                  </a:lnTo>
                  <a:close/>
                  <a:moveTo>
                    <a:pt x="146910" y="76604"/>
                  </a:moveTo>
                  <a:lnTo>
                    <a:pt x="155031" y="81297"/>
                  </a:lnTo>
                  <a:lnTo>
                    <a:pt x="155130" y="83063"/>
                  </a:lnTo>
                  <a:lnTo>
                    <a:pt x="154038" y="85072"/>
                  </a:lnTo>
                  <a:lnTo>
                    <a:pt x="153222" y="85592"/>
                  </a:lnTo>
                  <a:lnTo>
                    <a:pt x="149568" y="84731"/>
                  </a:lnTo>
                  <a:lnTo>
                    <a:pt x="145115" y="82599"/>
                  </a:lnTo>
                  <a:lnTo>
                    <a:pt x="145767" y="78415"/>
                  </a:lnTo>
                  <a:close/>
                  <a:moveTo>
                    <a:pt x="55309" y="66827"/>
                  </a:moveTo>
                  <a:lnTo>
                    <a:pt x="55803" y="66921"/>
                  </a:lnTo>
                  <a:lnTo>
                    <a:pt x="56725" y="68538"/>
                  </a:lnTo>
                  <a:lnTo>
                    <a:pt x="57859" y="71982"/>
                  </a:lnTo>
                  <a:lnTo>
                    <a:pt x="59653" y="75828"/>
                  </a:lnTo>
                  <a:lnTo>
                    <a:pt x="58904" y="77436"/>
                  </a:lnTo>
                  <a:lnTo>
                    <a:pt x="59413" y="79495"/>
                  </a:lnTo>
                  <a:lnTo>
                    <a:pt x="58902" y="81640"/>
                  </a:lnTo>
                  <a:lnTo>
                    <a:pt x="55332" y="84132"/>
                  </a:lnTo>
                  <a:lnTo>
                    <a:pt x="51329" y="84244"/>
                  </a:lnTo>
                  <a:lnTo>
                    <a:pt x="47168" y="83041"/>
                  </a:lnTo>
                  <a:lnTo>
                    <a:pt x="41290" y="80722"/>
                  </a:lnTo>
                  <a:lnTo>
                    <a:pt x="40817" y="79419"/>
                  </a:lnTo>
                  <a:lnTo>
                    <a:pt x="39992" y="78697"/>
                  </a:lnTo>
                  <a:lnTo>
                    <a:pt x="38420" y="74737"/>
                  </a:lnTo>
                  <a:lnTo>
                    <a:pt x="38457" y="69843"/>
                  </a:lnTo>
                  <a:lnTo>
                    <a:pt x="41411" y="69229"/>
                  </a:lnTo>
                  <a:lnTo>
                    <a:pt x="47865" y="66889"/>
                  </a:lnTo>
                  <a:lnTo>
                    <a:pt x="49357" y="67257"/>
                  </a:lnTo>
                  <a:lnTo>
                    <a:pt x="50914" y="68454"/>
                  </a:lnTo>
                  <a:lnTo>
                    <a:pt x="52706" y="68525"/>
                  </a:lnTo>
                  <a:close/>
                  <a:moveTo>
                    <a:pt x="99012" y="64738"/>
                  </a:moveTo>
                  <a:lnTo>
                    <a:pt x="99472" y="64765"/>
                  </a:lnTo>
                  <a:lnTo>
                    <a:pt x="100101" y="65775"/>
                  </a:lnTo>
                  <a:lnTo>
                    <a:pt x="100483" y="67333"/>
                  </a:lnTo>
                  <a:lnTo>
                    <a:pt x="98401" y="68650"/>
                  </a:lnTo>
                  <a:lnTo>
                    <a:pt x="97943" y="68581"/>
                  </a:lnTo>
                  <a:lnTo>
                    <a:pt x="97267" y="66773"/>
                  </a:lnTo>
                  <a:lnTo>
                    <a:pt x="98365" y="65672"/>
                  </a:lnTo>
                  <a:close/>
                  <a:moveTo>
                    <a:pt x="53637" y="55046"/>
                  </a:moveTo>
                  <a:lnTo>
                    <a:pt x="55609" y="57468"/>
                  </a:lnTo>
                  <a:lnTo>
                    <a:pt x="56170" y="58606"/>
                  </a:lnTo>
                  <a:lnTo>
                    <a:pt x="55410" y="59965"/>
                  </a:lnTo>
                  <a:lnTo>
                    <a:pt x="54967" y="61545"/>
                  </a:lnTo>
                  <a:lnTo>
                    <a:pt x="54592" y="62103"/>
                  </a:lnTo>
                  <a:lnTo>
                    <a:pt x="53190" y="61522"/>
                  </a:lnTo>
                  <a:lnTo>
                    <a:pt x="53043" y="59511"/>
                  </a:lnTo>
                  <a:lnTo>
                    <a:pt x="53575" y="57704"/>
                  </a:lnTo>
                  <a:lnTo>
                    <a:pt x="52950" y="56086"/>
                  </a:lnTo>
                  <a:close/>
                  <a:moveTo>
                    <a:pt x="92910" y="50986"/>
                  </a:moveTo>
                  <a:lnTo>
                    <a:pt x="95231" y="51493"/>
                  </a:lnTo>
                  <a:lnTo>
                    <a:pt x="97389" y="52194"/>
                  </a:lnTo>
                  <a:lnTo>
                    <a:pt x="98559" y="52797"/>
                  </a:lnTo>
                  <a:lnTo>
                    <a:pt x="99215" y="53766"/>
                  </a:lnTo>
                  <a:lnTo>
                    <a:pt x="97768" y="56072"/>
                  </a:lnTo>
                  <a:lnTo>
                    <a:pt x="97367" y="57334"/>
                  </a:lnTo>
                  <a:lnTo>
                    <a:pt x="98339" y="61483"/>
                  </a:lnTo>
                  <a:lnTo>
                    <a:pt x="98392" y="64591"/>
                  </a:lnTo>
                  <a:lnTo>
                    <a:pt x="97818" y="65495"/>
                  </a:lnTo>
                  <a:lnTo>
                    <a:pt x="96974" y="66090"/>
                  </a:lnTo>
                  <a:lnTo>
                    <a:pt x="94765" y="66721"/>
                  </a:lnTo>
                  <a:lnTo>
                    <a:pt x="92852" y="67602"/>
                  </a:lnTo>
                  <a:lnTo>
                    <a:pt x="91146" y="69149"/>
                  </a:lnTo>
                  <a:lnTo>
                    <a:pt x="90517" y="71359"/>
                  </a:lnTo>
                  <a:lnTo>
                    <a:pt x="91852" y="72974"/>
                  </a:lnTo>
                  <a:lnTo>
                    <a:pt x="94279" y="73859"/>
                  </a:lnTo>
                  <a:lnTo>
                    <a:pt x="94897" y="76930"/>
                  </a:lnTo>
                  <a:lnTo>
                    <a:pt x="92893" y="78444"/>
                  </a:lnTo>
                  <a:lnTo>
                    <a:pt x="87751" y="79954"/>
                  </a:lnTo>
                  <a:lnTo>
                    <a:pt x="87211" y="83594"/>
                  </a:lnTo>
                  <a:lnTo>
                    <a:pt x="87378" y="86459"/>
                  </a:lnTo>
                  <a:lnTo>
                    <a:pt x="87285" y="88539"/>
                  </a:lnTo>
                  <a:lnTo>
                    <a:pt x="86877" y="91414"/>
                  </a:lnTo>
                  <a:lnTo>
                    <a:pt x="82717" y="92723"/>
                  </a:lnTo>
                  <a:lnTo>
                    <a:pt x="80034" y="88345"/>
                  </a:lnTo>
                  <a:lnTo>
                    <a:pt x="80010" y="86590"/>
                  </a:lnTo>
                  <a:lnTo>
                    <a:pt x="79209" y="84540"/>
                  </a:lnTo>
                  <a:lnTo>
                    <a:pt x="79058" y="82791"/>
                  </a:lnTo>
                  <a:lnTo>
                    <a:pt x="78107" y="79991"/>
                  </a:lnTo>
                  <a:lnTo>
                    <a:pt x="74173" y="79233"/>
                  </a:lnTo>
                  <a:lnTo>
                    <a:pt x="72646" y="79133"/>
                  </a:lnTo>
                  <a:lnTo>
                    <a:pt x="70510" y="79654"/>
                  </a:lnTo>
                  <a:lnTo>
                    <a:pt x="69981" y="79451"/>
                  </a:lnTo>
                  <a:lnTo>
                    <a:pt x="67425" y="75620"/>
                  </a:lnTo>
                  <a:lnTo>
                    <a:pt x="67846" y="71386"/>
                  </a:lnTo>
                  <a:lnTo>
                    <a:pt x="66481" y="69246"/>
                  </a:lnTo>
                  <a:lnTo>
                    <a:pt x="66293" y="68277"/>
                  </a:lnTo>
                  <a:lnTo>
                    <a:pt x="66326" y="67203"/>
                  </a:lnTo>
                  <a:lnTo>
                    <a:pt x="65205" y="66317"/>
                  </a:lnTo>
                  <a:lnTo>
                    <a:pt x="63845" y="65848"/>
                  </a:lnTo>
                  <a:lnTo>
                    <a:pt x="63184" y="63455"/>
                  </a:lnTo>
                  <a:lnTo>
                    <a:pt x="64747" y="62875"/>
                  </a:lnTo>
                  <a:lnTo>
                    <a:pt x="68612" y="63155"/>
                  </a:lnTo>
                  <a:lnTo>
                    <a:pt x="69742" y="62992"/>
                  </a:lnTo>
                  <a:lnTo>
                    <a:pt x="70776" y="62493"/>
                  </a:lnTo>
                  <a:lnTo>
                    <a:pt x="73903" y="58553"/>
                  </a:lnTo>
                  <a:lnTo>
                    <a:pt x="73812" y="57684"/>
                  </a:lnTo>
                  <a:lnTo>
                    <a:pt x="74147" y="56556"/>
                  </a:lnTo>
                  <a:lnTo>
                    <a:pt x="77531" y="56138"/>
                  </a:lnTo>
                  <a:lnTo>
                    <a:pt x="79038" y="57662"/>
                  </a:lnTo>
                  <a:lnTo>
                    <a:pt x="78736" y="60102"/>
                  </a:lnTo>
                  <a:lnTo>
                    <a:pt x="78928" y="63224"/>
                  </a:lnTo>
                  <a:lnTo>
                    <a:pt x="80977" y="64072"/>
                  </a:lnTo>
                  <a:lnTo>
                    <a:pt x="81776" y="64197"/>
                  </a:lnTo>
                  <a:lnTo>
                    <a:pt x="82629" y="61892"/>
                  </a:lnTo>
                  <a:lnTo>
                    <a:pt x="83227" y="60771"/>
                  </a:lnTo>
                  <a:lnTo>
                    <a:pt x="84039" y="60146"/>
                  </a:lnTo>
                  <a:lnTo>
                    <a:pt x="84315" y="58036"/>
                  </a:lnTo>
                  <a:lnTo>
                    <a:pt x="83834" y="56747"/>
                  </a:lnTo>
                  <a:lnTo>
                    <a:pt x="82808" y="55786"/>
                  </a:lnTo>
                  <a:lnTo>
                    <a:pt x="86639" y="53169"/>
                  </a:lnTo>
                  <a:lnTo>
                    <a:pt x="90604" y="51094"/>
                  </a:lnTo>
                  <a:close/>
                  <a:moveTo>
                    <a:pt x="65546" y="12961"/>
                  </a:moveTo>
                  <a:lnTo>
                    <a:pt x="67509" y="13184"/>
                  </a:lnTo>
                  <a:lnTo>
                    <a:pt x="65350" y="14644"/>
                  </a:lnTo>
                  <a:lnTo>
                    <a:pt x="64803" y="15417"/>
                  </a:lnTo>
                  <a:lnTo>
                    <a:pt x="63903" y="16160"/>
                  </a:lnTo>
                  <a:lnTo>
                    <a:pt x="60860" y="15109"/>
                  </a:lnTo>
                  <a:lnTo>
                    <a:pt x="62204" y="13639"/>
                  </a:lnTo>
                  <a:close/>
                  <a:moveTo>
                    <a:pt x="55026" y="0"/>
                  </a:moveTo>
                  <a:lnTo>
                    <a:pt x="52173" y="2816"/>
                  </a:lnTo>
                  <a:lnTo>
                    <a:pt x="51715" y="3905"/>
                  </a:lnTo>
                  <a:lnTo>
                    <a:pt x="51370" y="5573"/>
                  </a:lnTo>
                  <a:lnTo>
                    <a:pt x="53415" y="9192"/>
                  </a:lnTo>
                  <a:lnTo>
                    <a:pt x="52983" y="11391"/>
                  </a:lnTo>
                  <a:lnTo>
                    <a:pt x="53127" y="15713"/>
                  </a:lnTo>
                  <a:lnTo>
                    <a:pt x="51199" y="17962"/>
                  </a:lnTo>
                  <a:lnTo>
                    <a:pt x="49023" y="22738"/>
                  </a:lnTo>
                  <a:lnTo>
                    <a:pt x="48085" y="23440"/>
                  </a:lnTo>
                  <a:lnTo>
                    <a:pt x="47885" y="29001"/>
                  </a:lnTo>
                  <a:lnTo>
                    <a:pt x="48098" y="30326"/>
                  </a:lnTo>
                  <a:lnTo>
                    <a:pt x="47789" y="35374"/>
                  </a:lnTo>
                  <a:lnTo>
                    <a:pt x="50020" y="37437"/>
                  </a:lnTo>
                  <a:lnTo>
                    <a:pt x="52378" y="38515"/>
                  </a:lnTo>
                  <a:lnTo>
                    <a:pt x="60243" y="38477"/>
                  </a:lnTo>
                  <a:lnTo>
                    <a:pt x="61059" y="39383"/>
                  </a:lnTo>
                  <a:lnTo>
                    <a:pt x="62018" y="40939"/>
                  </a:lnTo>
                  <a:lnTo>
                    <a:pt x="61316" y="43578"/>
                  </a:lnTo>
                  <a:lnTo>
                    <a:pt x="60476" y="45567"/>
                  </a:lnTo>
                  <a:lnTo>
                    <a:pt x="58198" y="47241"/>
                  </a:lnTo>
                  <a:lnTo>
                    <a:pt x="55274" y="48488"/>
                  </a:lnTo>
                  <a:lnTo>
                    <a:pt x="53456" y="48543"/>
                  </a:lnTo>
                  <a:lnTo>
                    <a:pt x="50979" y="46172"/>
                  </a:lnTo>
                  <a:lnTo>
                    <a:pt x="49802" y="46941"/>
                  </a:lnTo>
                  <a:lnTo>
                    <a:pt x="48586" y="48150"/>
                  </a:lnTo>
                  <a:lnTo>
                    <a:pt x="46550" y="54627"/>
                  </a:lnTo>
                  <a:lnTo>
                    <a:pt x="45585" y="58992"/>
                  </a:lnTo>
                  <a:lnTo>
                    <a:pt x="45062" y="59346"/>
                  </a:lnTo>
                  <a:lnTo>
                    <a:pt x="43911" y="58703"/>
                  </a:lnTo>
                  <a:lnTo>
                    <a:pt x="41923" y="58653"/>
                  </a:lnTo>
                  <a:lnTo>
                    <a:pt x="39409" y="59687"/>
                  </a:lnTo>
                  <a:lnTo>
                    <a:pt x="40698" y="60612"/>
                  </a:lnTo>
                  <a:lnTo>
                    <a:pt x="42061" y="62217"/>
                  </a:lnTo>
                  <a:lnTo>
                    <a:pt x="41516" y="63021"/>
                  </a:lnTo>
                  <a:lnTo>
                    <a:pt x="39305" y="63889"/>
                  </a:lnTo>
                  <a:lnTo>
                    <a:pt x="37345" y="65645"/>
                  </a:lnTo>
                  <a:lnTo>
                    <a:pt x="36524" y="66973"/>
                  </a:lnTo>
                  <a:lnTo>
                    <a:pt x="34051" y="68543"/>
                  </a:lnTo>
                  <a:lnTo>
                    <a:pt x="32497" y="70532"/>
                  </a:lnTo>
                  <a:lnTo>
                    <a:pt x="33259" y="72995"/>
                  </a:lnTo>
                  <a:lnTo>
                    <a:pt x="33583" y="75156"/>
                  </a:lnTo>
                  <a:lnTo>
                    <a:pt x="34263" y="77540"/>
                  </a:lnTo>
                  <a:lnTo>
                    <a:pt x="33650" y="79442"/>
                  </a:lnTo>
                  <a:lnTo>
                    <a:pt x="30588" y="82168"/>
                  </a:lnTo>
                  <a:lnTo>
                    <a:pt x="29459" y="84528"/>
                  </a:lnTo>
                  <a:lnTo>
                    <a:pt x="32082" y="84498"/>
                  </a:lnTo>
                  <a:lnTo>
                    <a:pt x="33697" y="85043"/>
                  </a:lnTo>
                  <a:lnTo>
                    <a:pt x="34643" y="85740"/>
                  </a:lnTo>
                  <a:lnTo>
                    <a:pt x="35619" y="86727"/>
                  </a:lnTo>
                  <a:lnTo>
                    <a:pt x="35021" y="87946"/>
                  </a:lnTo>
                  <a:lnTo>
                    <a:pt x="35783" y="91101"/>
                  </a:lnTo>
                  <a:lnTo>
                    <a:pt x="35457" y="91101"/>
                  </a:lnTo>
                  <a:lnTo>
                    <a:pt x="34047" y="90830"/>
                  </a:lnTo>
                  <a:lnTo>
                    <a:pt x="33043" y="90184"/>
                  </a:lnTo>
                  <a:lnTo>
                    <a:pt x="30454" y="90644"/>
                  </a:lnTo>
                  <a:lnTo>
                    <a:pt x="26988" y="91691"/>
                  </a:lnTo>
                  <a:lnTo>
                    <a:pt x="25064" y="91638"/>
                  </a:lnTo>
                  <a:lnTo>
                    <a:pt x="23535" y="90514"/>
                  </a:lnTo>
                  <a:lnTo>
                    <a:pt x="17280" y="88911"/>
                  </a:lnTo>
                  <a:lnTo>
                    <a:pt x="16269" y="88781"/>
                  </a:lnTo>
                  <a:lnTo>
                    <a:pt x="12145" y="88714"/>
                  </a:lnTo>
                  <a:lnTo>
                    <a:pt x="12136" y="88711"/>
                  </a:lnTo>
                  <a:lnTo>
                    <a:pt x="11939" y="86176"/>
                  </a:lnTo>
                  <a:lnTo>
                    <a:pt x="11428" y="84343"/>
                  </a:lnTo>
                  <a:lnTo>
                    <a:pt x="9983" y="81613"/>
                  </a:lnTo>
                  <a:lnTo>
                    <a:pt x="12125" y="80954"/>
                  </a:lnTo>
                  <a:lnTo>
                    <a:pt x="11711" y="75622"/>
                  </a:lnTo>
                  <a:lnTo>
                    <a:pt x="10933" y="72852"/>
                  </a:lnTo>
                  <a:lnTo>
                    <a:pt x="4949" y="70003"/>
                  </a:lnTo>
                  <a:lnTo>
                    <a:pt x="236" y="67231"/>
                  </a:lnTo>
                  <a:lnTo>
                    <a:pt x="1324" y="57872"/>
                  </a:lnTo>
                  <a:lnTo>
                    <a:pt x="1788" y="55344"/>
                  </a:lnTo>
                  <a:lnTo>
                    <a:pt x="0" y="50431"/>
                  </a:lnTo>
                  <a:lnTo>
                    <a:pt x="186" y="44763"/>
                  </a:lnTo>
                  <a:lnTo>
                    <a:pt x="939" y="35802"/>
                  </a:lnTo>
                  <a:lnTo>
                    <a:pt x="2438" y="35451"/>
                  </a:lnTo>
                  <a:lnTo>
                    <a:pt x="3537" y="35494"/>
                  </a:lnTo>
                  <a:lnTo>
                    <a:pt x="7776" y="37105"/>
                  </a:lnTo>
                  <a:lnTo>
                    <a:pt x="9541" y="37266"/>
                  </a:lnTo>
                  <a:lnTo>
                    <a:pt x="10750" y="38703"/>
                  </a:lnTo>
                  <a:lnTo>
                    <a:pt x="12166" y="39295"/>
                  </a:lnTo>
                  <a:lnTo>
                    <a:pt x="13192" y="37768"/>
                  </a:lnTo>
                  <a:lnTo>
                    <a:pt x="13591" y="35156"/>
                  </a:lnTo>
                  <a:lnTo>
                    <a:pt x="16951" y="31770"/>
                  </a:lnTo>
                  <a:lnTo>
                    <a:pt x="19305" y="30519"/>
                  </a:lnTo>
                  <a:lnTo>
                    <a:pt x="20910" y="29918"/>
                  </a:lnTo>
                  <a:lnTo>
                    <a:pt x="22529" y="31286"/>
                  </a:lnTo>
                  <a:lnTo>
                    <a:pt x="23768" y="32821"/>
                  </a:lnTo>
                  <a:lnTo>
                    <a:pt x="24062" y="29460"/>
                  </a:lnTo>
                  <a:lnTo>
                    <a:pt x="25062" y="23042"/>
                  </a:lnTo>
                  <a:lnTo>
                    <a:pt x="21868" y="22033"/>
                  </a:lnTo>
                  <a:lnTo>
                    <a:pt x="19266" y="22903"/>
                  </a:lnTo>
                  <a:lnTo>
                    <a:pt x="16686" y="26973"/>
                  </a:lnTo>
                  <a:lnTo>
                    <a:pt x="14384" y="32078"/>
                  </a:lnTo>
                  <a:lnTo>
                    <a:pt x="10650" y="32546"/>
                  </a:lnTo>
                  <a:lnTo>
                    <a:pt x="7670" y="33989"/>
                  </a:lnTo>
                  <a:lnTo>
                    <a:pt x="4980" y="32493"/>
                  </a:lnTo>
                  <a:lnTo>
                    <a:pt x="3246" y="31174"/>
                  </a:lnTo>
                  <a:lnTo>
                    <a:pt x="3203" y="29241"/>
                  </a:lnTo>
                  <a:lnTo>
                    <a:pt x="3596" y="28074"/>
                  </a:lnTo>
                  <a:lnTo>
                    <a:pt x="6757" y="23905"/>
                  </a:lnTo>
                  <a:lnTo>
                    <a:pt x="10992" y="19893"/>
                  </a:lnTo>
                  <a:lnTo>
                    <a:pt x="15258" y="19932"/>
                  </a:lnTo>
                  <a:lnTo>
                    <a:pt x="18370" y="18649"/>
                  </a:lnTo>
                  <a:lnTo>
                    <a:pt x="20229" y="18495"/>
                  </a:lnTo>
                  <a:lnTo>
                    <a:pt x="26034" y="18777"/>
                  </a:lnTo>
                  <a:lnTo>
                    <a:pt x="29014" y="17897"/>
                  </a:lnTo>
                  <a:lnTo>
                    <a:pt x="31683" y="16054"/>
                  </a:lnTo>
                  <a:lnTo>
                    <a:pt x="37450" y="8241"/>
                  </a:lnTo>
                  <a:lnTo>
                    <a:pt x="40705" y="4976"/>
                  </a:lnTo>
                  <a:lnTo>
                    <a:pt x="47267" y="3825"/>
                  </a:lnTo>
                  <a:lnTo>
                    <a:pt x="53330" y="48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22" name="ee4p_DK_2_37365">
              <a:extLst>
                <a:ext uri="{FF2B5EF4-FFF2-40B4-BE49-F238E27FC236}">
                  <a16:creationId xmlns:a16="http://schemas.microsoft.com/office/drawing/2014/main" id="{AE30A77F-5A2A-0A49-348C-E5BE472F6C4C}"/>
                </a:ext>
              </a:extLst>
            </p:cNvPr>
            <p:cNvSpPr>
              <a:spLocks noChangeAspect="1"/>
            </p:cNvSpPr>
            <p:nvPr>
              <p:custDataLst>
                <p:tags r:id="rId276"/>
              </p:custDataLst>
            </p:nvPr>
          </p:nvSpPr>
          <p:spPr>
            <a:xfrm>
              <a:off x="4492589" y="1433639"/>
              <a:ext cx="1704830" cy="1293907"/>
            </a:xfrm>
            <a:custGeom>
              <a:avLst/>
              <a:gdLst>
                <a:gd name="connsiteX0" fmla="*/ 588466 w 1357518"/>
                <a:gd name="connsiteY0" fmla="*/ 965500 h 1002999"/>
                <a:gd name="connsiteX1" fmla="*/ 588170 w 1357518"/>
                <a:gd name="connsiteY1" fmla="*/ 967322 h 1002999"/>
                <a:gd name="connsiteX2" fmla="*/ 587376 w 1357518"/>
                <a:gd name="connsiteY2" fmla="*/ 968916 h 1002999"/>
                <a:gd name="connsiteX3" fmla="*/ 587107 w 1357518"/>
                <a:gd name="connsiteY3" fmla="*/ 970930 h 1002999"/>
                <a:gd name="connsiteX4" fmla="*/ 584567 w 1357518"/>
                <a:gd name="connsiteY4" fmla="*/ 974977 h 1002999"/>
                <a:gd name="connsiteX5" fmla="*/ 582029 w 1357518"/>
                <a:gd name="connsiteY5" fmla="*/ 974096 h 1002999"/>
                <a:gd name="connsiteX6" fmla="*/ 580773 w 1357518"/>
                <a:gd name="connsiteY6" fmla="*/ 972288 h 1002999"/>
                <a:gd name="connsiteX7" fmla="*/ 578273 w 1357518"/>
                <a:gd name="connsiteY7" fmla="*/ 971448 h 1002999"/>
                <a:gd name="connsiteX8" fmla="*/ 575578 w 1357518"/>
                <a:gd name="connsiteY8" fmla="*/ 971699 h 1002999"/>
                <a:gd name="connsiteX9" fmla="*/ 575536 w 1357518"/>
                <a:gd name="connsiteY9" fmla="*/ 970982 h 1002999"/>
                <a:gd name="connsiteX10" fmla="*/ 584294 w 1357518"/>
                <a:gd name="connsiteY10" fmla="*/ 966664 h 1002999"/>
                <a:gd name="connsiteX11" fmla="*/ 790962 w 1357518"/>
                <a:gd name="connsiteY11" fmla="*/ 798664 h 1002999"/>
                <a:gd name="connsiteX12" fmla="*/ 793051 w 1357518"/>
                <a:gd name="connsiteY12" fmla="*/ 800807 h 1002999"/>
                <a:gd name="connsiteX13" fmla="*/ 792302 w 1357518"/>
                <a:gd name="connsiteY13" fmla="*/ 803994 h 1002999"/>
                <a:gd name="connsiteX14" fmla="*/ 791322 w 1357518"/>
                <a:gd name="connsiteY14" fmla="*/ 805576 h 1002999"/>
                <a:gd name="connsiteX15" fmla="*/ 787882 w 1357518"/>
                <a:gd name="connsiteY15" fmla="*/ 805599 h 1002999"/>
                <a:gd name="connsiteX16" fmla="*/ 786741 w 1357518"/>
                <a:gd name="connsiteY16" fmla="*/ 802750 h 1002999"/>
                <a:gd name="connsiteX17" fmla="*/ 787084 w 1357518"/>
                <a:gd name="connsiteY17" fmla="*/ 799639 h 1002999"/>
                <a:gd name="connsiteX18" fmla="*/ 480352 w 1357518"/>
                <a:gd name="connsiteY18" fmla="*/ 639490 h 1002999"/>
                <a:gd name="connsiteX19" fmla="*/ 483765 w 1357518"/>
                <a:gd name="connsiteY19" fmla="*/ 640101 h 1002999"/>
                <a:gd name="connsiteX20" fmla="*/ 489541 w 1357518"/>
                <a:gd name="connsiteY20" fmla="*/ 642474 h 1002999"/>
                <a:gd name="connsiteX21" fmla="*/ 489123 w 1357518"/>
                <a:gd name="connsiteY21" fmla="*/ 643242 h 1002999"/>
                <a:gd name="connsiteX22" fmla="*/ 487874 w 1357518"/>
                <a:gd name="connsiteY22" fmla="*/ 644479 h 1002999"/>
                <a:gd name="connsiteX23" fmla="*/ 484395 w 1357518"/>
                <a:gd name="connsiteY23" fmla="*/ 646091 h 1002999"/>
                <a:gd name="connsiteX24" fmla="*/ 483168 w 1357518"/>
                <a:gd name="connsiteY24" fmla="*/ 649724 h 1002999"/>
                <a:gd name="connsiteX25" fmla="*/ 482932 w 1357518"/>
                <a:gd name="connsiteY25" fmla="*/ 651547 h 1002999"/>
                <a:gd name="connsiteX26" fmla="*/ 483098 w 1357518"/>
                <a:gd name="connsiteY26" fmla="*/ 652913 h 1002999"/>
                <a:gd name="connsiteX27" fmla="*/ 482141 w 1357518"/>
                <a:gd name="connsiteY27" fmla="*/ 654108 h 1002999"/>
                <a:gd name="connsiteX28" fmla="*/ 478675 w 1357518"/>
                <a:gd name="connsiteY28" fmla="*/ 655493 h 1002999"/>
                <a:gd name="connsiteX29" fmla="*/ 477976 w 1357518"/>
                <a:gd name="connsiteY29" fmla="*/ 655185 h 1002999"/>
                <a:gd name="connsiteX30" fmla="*/ 477269 w 1357518"/>
                <a:gd name="connsiteY30" fmla="*/ 654133 h 1002999"/>
                <a:gd name="connsiteX31" fmla="*/ 475480 w 1357518"/>
                <a:gd name="connsiteY31" fmla="*/ 649339 h 1002999"/>
                <a:gd name="connsiteX32" fmla="*/ 474950 w 1357518"/>
                <a:gd name="connsiteY32" fmla="*/ 647061 h 1002999"/>
                <a:gd name="connsiteX33" fmla="*/ 475391 w 1357518"/>
                <a:gd name="connsiteY33" fmla="*/ 644227 h 1002999"/>
                <a:gd name="connsiteX34" fmla="*/ 474698 w 1357518"/>
                <a:gd name="connsiteY34" fmla="*/ 642228 h 1002999"/>
                <a:gd name="connsiteX35" fmla="*/ 477824 w 1357518"/>
                <a:gd name="connsiteY35" fmla="*/ 639895 h 1002999"/>
                <a:gd name="connsiteX36" fmla="*/ 407890 w 1357518"/>
                <a:gd name="connsiteY36" fmla="*/ 623906 h 1002999"/>
                <a:gd name="connsiteX37" fmla="*/ 415947 w 1357518"/>
                <a:gd name="connsiteY37" fmla="*/ 624736 h 1002999"/>
                <a:gd name="connsiteX38" fmla="*/ 429924 w 1357518"/>
                <a:gd name="connsiteY38" fmla="*/ 627723 h 1002999"/>
                <a:gd name="connsiteX39" fmla="*/ 431658 w 1357518"/>
                <a:gd name="connsiteY39" fmla="*/ 628356 h 1002999"/>
                <a:gd name="connsiteX40" fmla="*/ 435943 w 1357518"/>
                <a:gd name="connsiteY40" fmla="*/ 630915 h 1002999"/>
                <a:gd name="connsiteX41" fmla="*/ 444164 w 1357518"/>
                <a:gd name="connsiteY41" fmla="*/ 638679 h 1002999"/>
                <a:gd name="connsiteX42" fmla="*/ 451525 w 1357518"/>
                <a:gd name="connsiteY42" fmla="*/ 641887 h 1002999"/>
                <a:gd name="connsiteX43" fmla="*/ 459329 w 1357518"/>
                <a:gd name="connsiteY43" fmla="*/ 644101 h 1002999"/>
                <a:gd name="connsiteX44" fmla="*/ 460093 w 1357518"/>
                <a:gd name="connsiteY44" fmla="*/ 645113 h 1002999"/>
                <a:gd name="connsiteX45" fmla="*/ 460698 w 1357518"/>
                <a:gd name="connsiteY45" fmla="*/ 646642 h 1002999"/>
                <a:gd name="connsiteX46" fmla="*/ 460839 w 1357518"/>
                <a:gd name="connsiteY46" fmla="*/ 647439 h 1002999"/>
                <a:gd name="connsiteX47" fmla="*/ 460660 w 1357518"/>
                <a:gd name="connsiteY47" fmla="*/ 648178 h 1002999"/>
                <a:gd name="connsiteX48" fmla="*/ 460166 w 1357518"/>
                <a:gd name="connsiteY48" fmla="*/ 648859 h 1002999"/>
                <a:gd name="connsiteX49" fmla="*/ 460736 w 1357518"/>
                <a:gd name="connsiteY49" fmla="*/ 649736 h 1002999"/>
                <a:gd name="connsiteX50" fmla="*/ 462371 w 1357518"/>
                <a:gd name="connsiteY50" fmla="*/ 650807 h 1002999"/>
                <a:gd name="connsiteX51" fmla="*/ 462538 w 1357518"/>
                <a:gd name="connsiteY51" fmla="*/ 652059 h 1002999"/>
                <a:gd name="connsiteX52" fmla="*/ 460587 w 1357518"/>
                <a:gd name="connsiteY52" fmla="*/ 654206 h 1002999"/>
                <a:gd name="connsiteX53" fmla="*/ 457842 w 1357518"/>
                <a:gd name="connsiteY53" fmla="*/ 656590 h 1002999"/>
                <a:gd name="connsiteX54" fmla="*/ 443295 w 1357518"/>
                <a:gd name="connsiteY54" fmla="*/ 661483 h 1002999"/>
                <a:gd name="connsiteX55" fmla="*/ 438150 w 1357518"/>
                <a:gd name="connsiteY55" fmla="*/ 662314 h 1002999"/>
                <a:gd name="connsiteX56" fmla="*/ 425429 w 1357518"/>
                <a:gd name="connsiteY56" fmla="*/ 665665 h 1002999"/>
                <a:gd name="connsiteX57" fmla="*/ 421539 w 1357518"/>
                <a:gd name="connsiteY57" fmla="*/ 665528 h 1002999"/>
                <a:gd name="connsiteX58" fmla="*/ 420681 w 1357518"/>
                <a:gd name="connsiteY58" fmla="*/ 665371 h 1002999"/>
                <a:gd name="connsiteX59" fmla="*/ 418273 w 1357518"/>
                <a:gd name="connsiteY59" fmla="*/ 663898 h 1002999"/>
                <a:gd name="connsiteX60" fmla="*/ 414976 w 1357518"/>
                <a:gd name="connsiteY60" fmla="*/ 662527 h 1002999"/>
                <a:gd name="connsiteX61" fmla="*/ 413430 w 1357518"/>
                <a:gd name="connsiteY61" fmla="*/ 661464 h 1002999"/>
                <a:gd name="connsiteX62" fmla="*/ 412067 w 1357518"/>
                <a:gd name="connsiteY62" fmla="*/ 659936 h 1002999"/>
                <a:gd name="connsiteX63" fmla="*/ 412610 w 1357518"/>
                <a:gd name="connsiteY63" fmla="*/ 658989 h 1002999"/>
                <a:gd name="connsiteX64" fmla="*/ 415060 w 1357518"/>
                <a:gd name="connsiteY64" fmla="*/ 658616 h 1002999"/>
                <a:gd name="connsiteX65" fmla="*/ 418548 w 1357518"/>
                <a:gd name="connsiteY65" fmla="*/ 658641 h 1002999"/>
                <a:gd name="connsiteX66" fmla="*/ 423663 w 1357518"/>
                <a:gd name="connsiteY66" fmla="*/ 657528 h 1002999"/>
                <a:gd name="connsiteX67" fmla="*/ 422248 w 1357518"/>
                <a:gd name="connsiteY67" fmla="*/ 656527 h 1002999"/>
                <a:gd name="connsiteX68" fmla="*/ 420904 w 1357518"/>
                <a:gd name="connsiteY68" fmla="*/ 655917 h 1002999"/>
                <a:gd name="connsiteX69" fmla="*/ 419976 w 1357518"/>
                <a:gd name="connsiteY69" fmla="*/ 654585 h 1002999"/>
                <a:gd name="connsiteX70" fmla="*/ 417843 w 1357518"/>
                <a:gd name="connsiteY70" fmla="*/ 654845 h 1002999"/>
                <a:gd name="connsiteX71" fmla="*/ 416245 w 1357518"/>
                <a:gd name="connsiteY71" fmla="*/ 654082 h 1002999"/>
                <a:gd name="connsiteX72" fmla="*/ 413162 w 1357518"/>
                <a:gd name="connsiteY72" fmla="*/ 653601 h 1002999"/>
                <a:gd name="connsiteX73" fmla="*/ 405118 w 1357518"/>
                <a:gd name="connsiteY73" fmla="*/ 653140 h 1002999"/>
                <a:gd name="connsiteX74" fmla="*/ 399874 w 1357518"/>
                <a:gd name="connsiteY74" fmla="*/ 651832 h 1002999"/>
                <a:gd name="connsiteX75" fmla="*/ 398327 w 1357518"/>
                <a:gd name="connsiteY75" fmla="*/ 651049 h 1002999"/>
                <a:gd name="connsiteX76" fmla="*/ 396963 w 1357518"/>
                <a:gd name="connsiteY76" fmla="*/ 649694 h 1002999"/>
                <a:gd name="connsiteX77" fmla="*/ 395783 w 1357518"/>
                <a:gd name="connsiteY77" fmla="*/ 647785 h 1002999"/>
                <a:gd name="connsiteX78" fmla="*/ 397505 w 1357518"/>
                <a:gd name="connsiteY78" fmla="*/ 640369 h 1002999"/>
                <a:gd name="connsiteX79" fmla="*/ 398685 w 1357518"/>
                <a:gd name="connsiteY79" fmla="*/ 638476 h 1002999"/>
                <a:gd name="connsiteX80" fmla="*/ 401411 w 1357518"/>
                <a:gd name="connsiteY80" fmla="*/ 637851 h 1002999"/>
                <a:gd name="connsiteX81" fmla="*/ 408078 w 1357518"/>
                <a:gd name="connsiteY81" fmla="*/ 639504 h 1002999"/>
                <a:gd name="connsiteX82" fmla="*/ 408974 w 1357518"/>
                <a:gd name="connsiteY82" fmla="*/ 638790 h 1002999"/>
                <a:gd name="connsiteX83" fmla="*/ 401680 w 1357518"/>
                <a:gd name="connsiteY83" fmla="*/ 636052 h 1002999"/>
                <a:gd name="connsiteX84" fmla="*/ 399000 w 1357518"/>
                <a:gd name="connsiteY84" fmla="*/ 634415 h 1002999"/>
                <a:gd name="connsiteX85" fmla="*/ 398211 w 1357518"/>
                <a:gd name="connsiteY85" fmla="*/ 633126 h 1002999"/>
                <a:gd name="connsiteX86" fmla="*/ 397737 w 1357518"/>
                <a:gd name="connsiteY86" fmla="*/ 631229 h 1002999"/>
                <a:gd name="connsiteX87" fmla="*/ 397744 w 1357518"/>
                <a:gd name="connsiteY87" fmla="*/ 630113 h 1002999"/>
                <a:gd name="connsiteX88" fmla="*/ 398073 w 1357518"/>
                <a:gd name="connsiteY88" fmla="*/ 628989 h 1002999"/>
                <a:gd name="connsiteX89" fmla="*/ 398722 w 1357518"/>
                <a:gd name="connsiteY89" fmla="*/ 627863 h 1002999"/>
                <a:gd name="connsiteX90" fmla="*/ 400497 w 1357518"/>
                <a:gd name="connsiteY90" fmla="*/ 626338 h 1002999"/>
                <a:gd name="connsiteX91" fmla="*/ 460998 w 1357518"/>
                <a:gd name="connsiteY91" fmla="*/ 597485 h 1002999"/>
                <a:gd name="connsiteX92" fmla="*/ 464600 w 1357518"/>
                <a:gd name="connsiteY92" fmla="*/ 598890 h 1002999"/>
                <a:gd name="connsiteX93" fmla="*/ 468483 w 1357518"/>
                <a:gd name="connsiteY93" fmla="*/ 600886 h 1002999"/>
                <a:gd name="connsiteX94" fmla="*/ 469023 w 1357518"/>
                <a:gd name="connsiteY94" fmla="*/ 601824 h 1002999"/>
                <a:gd name="connsiteX95" fmla="*/ 467514 w 1357518"/>
                <a:gd name="connsiteY95" fmla="*/ 602372 h 1002999"/>
                <a:gd name="connsiteX96" fmla="*/ 464561 w 1357518"/>
                <a:gd name="connsiteY96" fmla="*/ 602480 h 1002999"/>
                <a:gd name="connsiteX97" fmla="*/ 457691 w 1357518"/>
                <a:gd name="connsiteY97" fmla="*/ 601751 h 1002999"/>
                <a:gd name="connsiteX98" fmla="*/ 457143 w 1357518"/>
                <a:gd name="connsiteY98" fmla="*/ 601283 h 1002999"/>
                <a:gd name="connsiteX99" fmla="*/ 457058 w 1357518"/>
                <a:gd name="connsiteY99" fmla="*/ 600392 h 1002999"/>
                <a:gd name="connsiteX100" fmla="*/ 457971 w 1357518"/>
                <a:gd name="connsiteY100" fmla="*/ 597826 h 1002999"/>
                <a:gd name="connsiteX101" fmla="*/ 1039251 w 1357518"/>
                <a:gd name="connsiteY101" fmla="*/ 594771 h 1002999"/>
                <a:gd name="connsiteX102" fmla="*/ 1041287 w 1357518"/>
                <a:gd name="connsiteY102" fmla="*/ 594836 h 1002999"/>
                <a:gd name="connsiteX103" fmla="*/ 1042746 w 1357518"/>
                <a:gd name="connsiteY103" fmla="*/ 596618 h 1002999"/>
                <a:gd name="connsiteX104" fmla="*/ 1043819 w 1357518"/>
                <a:gd name="connsiteY104" fmla="*/ 597491 h 1002999"/>
                <a:gd name="connsiteX105" fmla="*/ 1047225 w 1357518"/>
                <a:gd name="connsiteY105" fmla="*/ 598854 h 1002999"/>
                <a:gd name="connsiteX106" fmla="*/ 1047799 w 1357518"/>
                <a:gd name="connsiteY106" fmla="*/ 599709 h 1002999"/>
                <a:gd name="connsiteX107" fmla="*/ 1048575 w 1357518"/>
                <a:gd name="connsiteY107" fmla="*/ 602081 h 1002999"/>
                <a:gd name="connsiteX108" fmla="*/ 1048654 w 1357518"/>
                <a:gd name="connsiteY108" fmla="*/ 603200 h 1002999"/>
                <a:gd name="connsiteX109" fmla="*/ 1048483 w 1357518"/>
                <a:gd name="connsiteY109" fmla="*/ 604141 h 1002999"/>
                <a:gd name="connsiteX110" fmla="*/ 1048053 w 1357518"/>
                <a:gd name="connsiteY110" fmla="*/ 604812 h 1002999"/>
                <a:gd name="connsiteX111" fmla="*/ 1047015 w 1357518"/>
                <a:gd name="connsiteY111" fmla="*/ 605411 h 1002999"/>
                <a:gd name="connsiteX112" fmla="*/ 1048953 w 1357518"/>
                <a:gd name="connsiteY112" fmla="*/ 606982 h 1002999"/>
                <a:gd name="connsiteX113" fmla="*/ 1049582 w 1357518"/>
                <a:gd name="connsiteY113" fmla="*/ 608037 h 1002999"/>
                <a:gd name="connsiteX114" fmla="*/ 1049700 w 1357518"/>
                <a:gd name="connsiteY114" fmla="*/ 608879 h 1002999"/>
                <a:gd name="connsiteX115" fmla="*/ 1048464 w 1357518"/>
                <a:gd name="connsiteY115" fmla="*/ 610509 h 1002999"/>
                <a:gd name="connsiteX116" fmla="*/ 1039656 w 1357518"/>
                <a:gd name="connsiteY116" fmla="*/ 612663 h 1002999"/>
                <a:gd name="connsiteX117" fmla="*/ 1037207 w 1357518"/>
                <a:gd name="connsiteY117" fmla="*/ 613698 h 1002999"/>
                <a:gd name="connsiteX118" fmla="*/ 1034147 w 1357518"/>
                <a:gd name="connsiteY118" fmla="*/ 616254 h 1002999"/>
                <a:gd name="connsiteX119" fmla="*/ 1030428 w 1357518"/>
                <a:gd name="connsiteY119" fmla="*/ 618454 h 1002999"/>
                <a:gd name="connsiteX120" fmla="*/ 1029190 w 1357518"/>
                <a:gd name="connsiteY120" fmla="*/ 618443 h 1002999"/>
                <a:gd name="connsiteX121" fmla="*/ 1027747 w 1357518"/>
                <a:gd name="connsiteY121" fmla="*/ 616163 h 1002999"/>
                <a:gd name="connsiteX122" fmla="*/ 1021875 w 1357518"/>
                <a:gd name="connsiteY122" fmla="*/ 614486 h 1002999"/>
                <a:gd name="connsiteX123" fmla="*/ 1010817 w 1357518"/>
                <a:gd name="connsiteY123" fmla="*/ 615361 h 1002999"/>
                <a:gd name="connsiteX124" fmla="*/ 997876 w 1357518"/>
                <a:gd name="connsiteY124" fmla="*/ 617472 h 1002999"/>
                <a:gd name="connsiteX125" fmla="*/ 993278 w 1357518"/>
                <a:gd name="connsiteY125" fmla="*/ 618456 h 1002999"/>
                <a:gd name="connsiteX126" fmla="*/ 990955 w 1357518"/>
                <a:gd name="connsiteY126" fmla="*/ 617932 h 1002999"/>
                <a:gd name="connsiteX127" fmla="*/ 990242 w 1357518"/>
                <a:gd name="connsiteY127" fmla="*/ 617146 h 1002999"/>
                <a:gd name="connsiteX128" fmla="*/ 990208 w 1357518"/>
                <a:gd name="connsiteY128" fmla="*/ 616045 h 1002999"/>
                <a:gd name="connsiteX129" fmla="*/ 991740 w 1357518"/>
                <a:gd name="connsiteY129" fmla="*/ 612827 h 1002999"/>
                <a:gd name="connsiteX130" fmla="*/ 992359 w 1357518"/>
                <a:gd name="connsiteY130" fmla="*/ 612007 h 1002999"/>
                <a:gd name="connsiteX131" fmla="*/ 995328 w 1357518"/>
                <a:gd name="connsiteY131" fmla="*/ 610935 h 1002999"/>
                <a:gd name="connsiteX132" fmla="*/ 997341 w 1357518"/>
                <a:gd name="connsiteY132" fmla="*/ 608098 h 1002999"/>
                <a:gd name="connsiteX133" fmla="*/ 996683 w 1357518"/>
                <a:gd name="connsiteY133" fmla="*/ 605006 h 1002999"/>
                <a:gd name="connsiteX134" fmla="*/ 997458 w 1357518"/>
                <a:gd name="connsiteY134" fmla="*/ 600685 h 1002999"/>
                <a:gd name="connsiteX135" fmla="*/ 999486 w 1357518"/>
                <a:gd name="connsiteY135" fmla="*/ 600014 h 1002999"/>
                <a:gd name="connsiteX136" fmla="*/ 1004566 w 1357518"/>
                <a:gd name="connsiteY136" fmla="*/ 601550 h 1002999"/>
                <a:gd name="connsiteX137" fmla="*/ 1007852 w 1357518"/>
                <a:gd name="connsiteY137" fmla="*/ 601875 h 1002999"/>
                <a:gd name="connsiteX138" fmla="*/ 1013674 w 1357518"/>
                <a:gd name="connsiteY138" fmla="*/ 602071 h 1002999"/>
                <a:gd name="connsiteX139" fmla="*/ 1021498 w 1357518"/>
                <a:gd name="connsiteY139" fmla="*/ 601550 h 1002999"/>
                <a:gd name="connsiteX140" fmla="*/ 1027784 w 1357518"/>
                <a:gd name="connsiteY140" fmla="*/ 599794 h 1002999"/>
                <a:gd name="connsiteX141" fmla="*/ 425295 w 1357518"/>
                <a:gd name="connsiteY141" fmla="*/ 584500 h 1002999"/>
                <a:gd name="connsiteX142" fmla="*/ 426890 w 1357518"/>
                <a:gd name="connsiteY142" fmla="*/ 586428 h 1002999"/>
                <a:gd name="connsiteX143" fmla="*/ 428459 w 1357518"/>
                <a:gd name="connsiteY143" fmla="*/ 589015 h 1002999"/>
                <a:gd name="connsiteX144" fmla="*/ 428664 w 1357518"/>
                <a:gd name="connsiteY144" fmla="*/ 590329 h 1002999"/>
                <a:gd name="connsiteX145" fmla="*/ 428558 w 1357518"/>
                <a:gd name="connsiteY145" fmla="*/ 591876 h 1002999"/>
                <a:gd name="connsiteX146" fmla="*/ 428148 w 1357518"/>
                <a:gd name="connsiteY146" fmla="*/ 593184 h 1002999"/>
                <a:gd name="connsiteX147" fmla="*/ 427433 w 1357518"/>
                <a:gd name="connsiteY147" fmla="*/ 594260 h 1002999"/>
                <a:gd name="connsiteX148" fmla="*/ 426385 w 1357518"/>
                <a:gd name="connsiteY148" fmla="*/ 594886 h 1002999"/>
                <a:gd name="connsiteX149" fmla="*/ 424315 w 1357518"/>
                <a:gd name="connsiteY149" fmla="*/ 595150 h 1002999"/>
                <a:gd name="connsiteX150" fmla="*/ 418372 w 1357518"/>
                <a:gd name="connsiteY150" fmla="*/ 593093 h 1002999"/>
                <a:gd name="connsiteX151" fmla="*/ 417408 w 1357518"/>
                <a:gd name="connsiteY151" fmla="*/ 592318 h 1002999"/>
                <a:gd name="connsiteX152" fmla="*/ 417040 w 1357518"/>
                <a:gd name="connsiteY152" fmla="*/ 591370 h 1002999"/>
                <a:gd name="connsiteX153" fmla="*/ 417269 w 1357518"/>
                <a:gd name="connsiteY153" fmla="*/ 590244 h 1002999"/>
                <a:gd name="connsiteX154" fmla="*/ 419161 w 1357518"/>
                <a:gd name="connsiteY154" fmla="*/ 588148 h 1002999"/>
                <a:gd name="connsiteX155" fmla="*/ 422719 w 1357518"/>
                <a:gd name="connsiteY155" fmla="*/ 585072 h 1002999"/>
                <a:gd name="connsiteX156" fmla="*/ 389444 w 1357518"/>
                <a:gd name="connsiteY156" fmla="*/ 520655 h 1002999"/>
                <a:gd name="connsiteX157" fmla="*/ 393265 w 1357518"/>
                <a:gd name="connsiteY157" fmla="*/ 521543 h 1002999"/>
                <a:gd name="connsiteX158" fmla="*/ 393621 w 1357518"/>
                <a:gd name="connsiteY158" fmla="*/ 522778 h 1002999"/>
                <a:gd name="connsiteX159" fmla="*/ 390497 w 1357518"/>
                <a:gd name="connsiteY159" fmla="*/ 525625 h 1002999"/>
                <a:gd name="connsiteX160" fmla="*/ 387945 w 1357518"/>
                <a:gd name="connsiteY160" fmla="*/ 527258 h 1002999"/>
                <a:gd name="connsiteX161" fmla="*/ 382416 w 1357518"/>
                <a:gd name="connsiteY161" fmla="*/ 532109 h 1002999"/>
                <a:gd name="connsiteX162" fmla="*/ 381466 w 1357518"/>
                <a:gd name="connsiteY162" fmla="*/ 532278 h 1002999"/>
                <a:gd name="connsiteX163" fmla="*/ 379973 w 1357518"/>
                <a:gd name="connsiteY163" fmla="*/ 531647 h 1002999"/>
                <a:gd name="connsiteX164" fmla="*/ 378815 w 1357518"/>
                <a:gd name="connsiteY164" fmla="*/ 530374 h 1002999"/>
                <a:gd name="connsiteX165" fmla="*/ 376725 w 1357518"/>
                <a:gd name="connsiteY165" fmla="*/ 530067 h 1002999"/>
                <a:gd name="connsiteX166" fmla="*/ 375997 w 1357518"/>
                <a:gd name="connsiteY166" fmla="*/ 529262 h 1002999"/>
                <a:gd name="connsiteX167" fmla="*/ 375705 w 1357518"/>
                <a:gd name="connsiteY167" fmla="*/ 528606 h 1002999"/>
                <a:gd name="connsiteX168" fmla="*/ 374778 w 1357518"/>
                <a:gd name="connsiteY168" fmla="*/ 528189 h 1002999"/>
                <a:gd name="connsiteX169" fmla="*/ 373305 w 1357518"/>
                <a:gd name="connsiteY169" fmla="*/ 527927 h 1002999"/>
                <a:gd name="connsiteX170" fmla="*/ 370939 w 1357518"/>
                <a:gd name="connsiteY170" fmla="*/ 528426 h 1002999"/>
                <a:gd name="connsiteX171" fmla="*/ 368768 w 1357518"/>
                <a:gd name="connsiteY171" fmla="*/ 527923 h 1002999"/>
                <a:gd name="connsiteX172" fmla="*/ 367133 w 1357518"/>
                <a:gd name="connsiteY172" fmla="*/ 525797 h 1002999"/>
                <a:gd name="connsiteX173" fmla="*/ 370156 w 1357518"/>
                <a:gd name="connsiteY173" fmla="*/ 524369 h 1002999"/>
                <a:gd name="connsiteX174" fmla="*/ 372026 w 1357518"/>
                <a:gd name="connsiteY174" fmla="*/ 523150 h 1002999"/>
                <a:gd name="connsiteX175" fmla="*/ 379258 w 1357518"/>
                <a:gd name="connsiteY175" fmla="*/ 522670 h 1002999"/>
                <a:gd name="connsiteX176" fmla="*/ 381298 w 1357518"/>
                <a:gd name="connsiteY176" fmla="*/ 523229 h 1002999"/>
                <a:gd name="connsiteX177" fmla="*/ 382580 w 1357518"/>
                <a:gd name="connsiteY177" fmla="*/ 523215 h 1002999"/>
                <a:gd name="connsiteX178" fmla="*/ 384533 w 1357518"/>
                <a:gd name="connsiteY178" fmla="*/ 522883 h 1002999"/>
                <a:gd name="connsiteX179" fmla="*/ 388806 w 1357518"/>
                <a:gd name="connsiteY179" fmla="*/ 521363 h 1002999"/>
                <a:gd name="connsiteX180" fmla="*/ 1212131 w 1357518"/>
                <a:gd name="connsiteY180" fmla="*/ 409494 h 1002999"/>
                <a:gd name="connsiteX181" fmla="*/ 1213886 w 1357518"/>
                <a:gd name="connsiteY181" fmla="*/ 414214 h 1002999"/>
                <a:gd name="connsiteX182" fmla="*/ 1214666 w 1357518"/>
                <a:gd name="connsiteY182" fmla="*/ 418533 h 1002999"/>
                <a:gd name="connsiteX183" fmla="*/ 1217397 w 1357518"/>
                <a:gd name="connsiteY183" fmla="*/ 421272 h 1002999"/>
                <a:gd name="connsiteX184" fmla="*/ 1223246 w 1357518"/>
                <a:gd name="connsiteY184" fmla="*/ 420885 h 1002999"/>
                <a:gd name="connsiteX185" fmla="*/ 1225587 w 1357518"/>
                <a:gd name="connsiteY185" fmla="*/ 425964 h 1002999"/>
                <a:gd name="connsiteX186" fmla="*/ 1221297 w 1357518"/>
                <a:gd name="connsiteY186" fmla="*/ 427917 h 1002999"/>
                <a:gd name="connsiteX187" fmla="*/ 1204330 w 1357518"/>
                <a:gd name="connsiteY187" fmla="*/ 427135 h 1002999"/>
                <a:gd name="connsiteX188" fmla="*/ 1197310 w 1357518"/>
                <a:gd name="connsiteY188" fmla="*/ 427524 h 1002999"/>
                <a:gd name="connsiteX189" fmla="*/ 1192434 w 1357518"/>
                <a:gd name="connsiteY189" fmla="*/ 424403 h 1002999"/>
                <a:gd name="connsiteX190" fmla="*/ 1192630 w 1357518"/>
                <a:gd name="connsiteY190" fmla="*/ 418924 h 1002999"/>
                <a:gd name="connsiteX191" fmla="*/ 1193214 w 1357518"/>
                <a:gd name="connsiteY191" fmla="*/ 413429 h 1002999"/>
                <a:gd name="connsiteX192" fmla="*/ 1198090 w 1357518"/>
                <a:gd name="connsiteY192" fmla="*/ 410284 h 1002999"/>
                <a:gd name="connsiteX193" fmla="*/ 1202185 w 1357518"/>
                <a:gd name="connsiteY193" fmla="*/ 413035 h 1002999"/>
                <a:gd name="connsiteX194" fmla="*/ 1207060 w 1357518"/>
                <a:gd name="connsiteY194" fmla="*/ 411068 h 1002999"/>
                <a:gd name="connsiteX195" fmla="*/ 1192630 w 1357518"/>
                <a:gd name="connsiteY195" fmla="*/ 350644 h 1002999"/>
                <a:gd name="connsiteX196" fmla="*/ 1195943 w 1357518"/>
                <a:gd name="connsiteY196" fmla="*/ 353491 h 1002999"/>
                <a:gd name="connsiteX197" fmla="*/ 1197505 w 1357518"/>
                <a:gd name="connsiteY197" fmla="*/ 364428 h 1002999"/>
                <a:gd name="connsiteX198" fmla="*/ 1199260 w 1357518"/>
                <a:gd name="connsiteY198" fmla="*/ 380908 h 1002999"/>
                <a:gd name="connsiteX199" fmla="*/ 1196725 w 1357518"/>
                <a:gd name="connsiteY199" fmla="*/ 382109 h 1002999"/>
                <a:gd name="connsiteX200" fmla="*/ 1188144 w 1357518"/>
                <a:gd name="connsiteY200" fmla="*/ 363216 h 1002999"/>
                <a:gd name="connsiteX201" fmla="*/ 1188144 w 1357518"/>
                <a:gd name="connsiteY201" fmla="*/ 356335 h 1002999"/>
                <a:gd name="connsiteX202" fmla="*/ 1188729 w 1357518"/>
                <a:gd name="connsiteY202" fmla="*/ 351052 h 1002999"/>
                <a:gd name="connsiteX203" fmla="*/ 16120 w 1357518"/>
                <a:gd name="connsiteY203" fmla="*/ 315079 h 1002999"/>
                <a:gd name="connsiteX204" fmla="*/ 18470 w 1357518"/>
                <a:gd name="connsiteY204" fmla="*/ 315414 h 1002999"/>
                <a:gd name="connsiteX205" fmla="*/ 23995 w 1357518"/>
                <a:gd name="connsiteY205" fmla="*/ 316746 h 1002999"/>
                <a:gd name="connsiteX206" fmla="*/ 27992 w 1357518"/>
                <a:gd name="connsiteY206" fmla="*/ 318079 h 1002999"/>
                <a:gd name="connsiteX207" fmla="*/ 30617 w 1357518"/>
                <a:gd name="connsiteY207" fmla="*/ 318497 h 1002999"/>
                <a:gd name="connsiteX208" fmla="*/ 29873 w 1357518"/>
                <a:gd name="connsiteY208" fmla="*/ 320408 h 1002999"/>
                <a:gd name="connsiteX209" fmla="*/ 25445 w 1357518"/>
                <a:gd name="connsiteY209" fmla="*/ 321739 h 1002999"/>
                <a:gd name="connsiteX210" fmla="*/ 17568 w 1357518"/>
                <a:gd name="connsiteY210" fmla="*/ 322154 h 1002999"/>
                <a:gd name="connsiteX211" fmla="*/ 9810 w 1357518"/>
                <a:gd name="connsiteY211" fmla="*/ 320326 h 1002999"/>
                <a:gd name="connsiteX212" fmla="*/ 7145 w 1357518"/>
                <a:gd name="connsiteY212" fmla="*/ 318912 h 1002999"/>
                <a:gd name="connsiteX213" fmla="*/ 7264 w 1357518"/>
                <a:gd name="connsiteY213" fmla="*/ 316746 h 1002999"/>
                <a:gd name="connsiteX214" fmla="*/ 8439 w 1357518"/>
                <a:gd name="connsiteY214" fmla="*/ 315998 h 1002999"/>
                <a:gd name="connsiteX215" fmla="*/ 12632 w 1357518"/>
                <a:gd name="connsiteY215" fmla="*/ 315246 h 1002999"/>
                <a:gd name="connsiteX216" fmla="*/ 1216265 w 1357518"/>
                <a:gd name="connsiteY216" fmla="*/ 295798 h 1002999"/>
                <a:gd name="connsiteX217" fmla="*/ 1219187 w 1357518"/>
                <a:gd name="connsiteY217" fmla="*/ 296559 h 1002999"/>
                <a:gd name="connsiteX218" fmla="*/ 1220073 w 1357518"/>
                <a:gd name="connsiteY218" fmla="*/ 300175 h 1002999"/>
                <a:gd name="connsiteX219" fmla="*/ 1218125 w 1357518"/>
                <a:gd name="connsiteY219" fmla="*/ 303781 h 1002999"/>
                <a:gd name="connsiteX220" fmla="*/ 1213166 w 1357518"/>
                <a:gd name="connsiteY220" fmla="*/ 306813 h 1002999"/>
                <a:gd name="connsiteX221" fmla="*/ 1208871 w 1357518"/>
                <a:gd name="connsiteY221" fmla="*/ 306813 h 1002999"/>
                <a:gd name="connsiteX222" fmla="*/ 1207278 w 1357518"/>
                <a:gd name="connsiteY222" fmla="*/ 305582 h 1002999"/>
                <a:gd name="connsiteX223" fmla="*/ 1208295 w 1357518"/>
                <a:gd name="connsiteY223" fmla="*/ 303404 h 1002999"/>
                <a:gd name="connsiteX224" fmla="*/ 1214272 w 1357518"/>
                <a:gd name="connsiteY224" fmla="*/ 296369 h 1002999"/>
                <a:gd name="connsiteX225" fmla="*/ 1189899 w 1357518"/>
                <a:gd name="connsiteY225" fmla="*/ 268640 h 1002999"/>
                <a:gd name="connsiteX226" fmla="*/ 1191459 w 1357518"/>
                <a:gd name="connsiteY226" fmla="*/ 269491 h 1002999"/>
                <a:gd name="connsiteX227" fmla="*/ 1191070 w 1357518"/>
                <a:gd name="connsiteY227" fmla="*/ 272896 h 1002999"/>
                <a:gd name="connsiteX228" fmla="*/ 1191070 w 1357518"/>
                <a:gd name="connsiteY228" fmla="*/ 279680 h 1002999"/>
                <a:gd name="connsiteX229" fmla="*/ 1192630 w 1357518"/>
                <a:gd name="connsiteY229" fmla="*/ 284331 h 1002999"/>
                <a:gd name="connsiteX230" fmla="*/ 1190093 w 1357518"/>
                <a:gd name="connsiteY230" fmla="*/ 291074 h 1002999"/>
                <a:gd name="connsiteX231" fmla="*/ 1187168 w 1357518"/>
                <a:gd name="connsiteY231" fmla="*/ 292755 h 1002999"/>
                <a:gd name="connsiteX232" fmla="*/ 1185219 w 1357518"/>
                <a:gd name="connsiteY232" fmla="*/ 287706 h 1002999"/>
                <a:gd name="connsiteX233" fmla="*/ 1183463 w 1357518"/>
                <a:gd name="connsiteY233" fmla="*/ 280950 h 1002999"/>
                <a:gd name="connsiteX234" fmla="*/ 1183072 w 1357518"/>
                <a:gd name="connsiteY234" fmla="*/ 273319 h 1002999"/>
                <a:gd name="connsiteX235" fmla="*/ 1187558 w 1357518"/>
                <a:gd name="connsiteY235" fmla="*/ 269491 h 1002999"/>
                <a:gd name="connsiteX236" fmla="*/ 1212521 w 1357518"/>
                <a:gd name="connsiteY236" fmla="*/ 188925 h 1002999"/>
                <a:gd name="connsiteX237" fmla="*/ 1223832 w 1357518"/>
                <a:gd name="connsiteY237" fmla="*/ 190261 h 1002999"/>
                <a:gd name="connsiteX238" fmla="*/ 1225392 w 1357518"/>
                <a:gd name="connsiteY238" fmla="*/ 194710 h 1002999"/>
                <a:gd name="connsiteX239" fmla="*/ 1220711 w 1357518"/>
                <a:gd name="connsiteY239" fmla="*/ 200471 h 1002999"/>
                <a:gd name="connsiteX240" fmla="*/ 1211351 w 1357518"/>
                <a:gd name="connsiteY240" fmla="*/ 206216 h 1002999"/>
                <a:gd name="connsiteX241" fmla="*/ 1197505 w 1357518"/>
                <a:gd name="connsiteY241" fmla="*/ 205776 h 1002999"/>
                <a:gd name="connsiteX242" fmla="*/ 1189314 w 1357518"/>
                <a:gd name="connsiteY242" fmla="*/ 203126 h 1002999"/>
                <a:gd name="connsiteX243" fmla="*/ 1186973 w 1357518"/>
                <a:gd name="connsiteY243" fmla="*/ 199143 h 1002999"/>
                <a:gd name="connsiteX244" fmla="*/ 1190093 w 1357518"/>
                <a:gd name="connsiteY244" fmla="*/ 194710 h 1002999"/>
                <a:gd name="connsiteX245" fmla="*/ 1200040 w 1357518"/>
                <a:gd name="connsiteY245" fmla="*/ 191151 h 1002999"/>
                <a:gd name="connsiteX246" fmla="*/ 1183076 w 1357518"/>
                <a:gd name="connsiteY246" fmla="*/ 81203 h 1002999"/>
                <a:gd name="connsiteX247" fmla="*/ 1188552 w 1357518"/>
                <a:gd name="connsiteY247" fmla="*/ 85176 h 1002999"/>
                <a:gd name="connsiteX248" fmla="*/ 1194173 w 1357518"/>
                <a:gd name="connsiteY248" fmla="*/ 90513 h 1002999"/>
                <a:gd name="connsiteX249" fmla="*/ 1197444 w 1357518"/>
                <a:gd name="connsiteY249" fmla="*/ 96008 h 1002999"/>
                <a:gd name="connsiteX250" fmla="*/ 1195168 w 1357518"/>
                <a:gd name="connsiteY250" fmla="*/ 97721 h 1002999"/>
                <a:gd name="connsiteX251" fmla="*/ 1189336 w 1357518"/>
                <a:gd name="connsiteY251" fmla="*/ 97035 h 1002999"/>
                <a:gd name="connsiteX252" fmla="*/ 1181865 w 1357518"/>
                <a:gd name="connsiteY252" fmla="*/ 92232 h 1002999"/>
                <a:gd name="connsiteX253" fmla="*/ 1176886 w 1357518"/>
                <a:gd name="connsiteY253" fmla="*/ 88277 h 1002999"/>
                <a:gd name="connsiteX254" fmla="*/ 1176530 w 1357518"/>
                <a:gd name="connsiteY254" fmla="*/ 83623 h 1002999"/>
                <a:gd name="connsiteX255" fmla="*/ 1179091 w 1357518"/>
                <a:gd name="connsiteY255" fmla="*/ 81552 h 1002999"/>
                <a:gd name="connsiteX256" fmla="*/ 584177 w 1357518"/>
                <a:gd name="connsiteY256" fmla="*/ 50361 h 1002999"/>
                <a:gd name="connsiteX257" fmla="*/ 606020 w 1357518"/>
                <a:gd name="connsiteY257" fmla="*/ 56618 h 1002999"/>
                <a:gd name="connsiteX258" fmla="*/ 616941 w 1357518"/>
                <a:gd name="connsiteY258" fmla="*/ 61897 h 1002999"/>
                <a:gd name="connsiteX259" fmla="*/ 620646 w 1357518"/>
                <a:gd name="connsiteY259" fmla="*/ 66205 h 1002999"/>
                <a:gd name="connsiteX260" fmla="*/ 620061 w 1357518"/>
                <a:gd name="connsiteY260" fmla="*/ 74787 h 1002999"/>
                <a:gd name="connsiteX261" fmla="*/ 618111 w 1357518"/>
                <a:gd name="connsiteY261" fmla="*/ 83327 h 1002999"/>
                <a:gd name="connsiteX262" fmla="*/ 613625 w 1357518"/>
                <a:gd name="connsiteY262" fmla="*/ 84272 h 1002999"/>
                <a:gd name="connsiteX263" fmla="*/ 604264 w 1357518"/>
                <a:gd name="connsiteY263" fmla="*/ 78588 h 1002999"/>
                <a:gd name="connsiteX264" fmla="*/ 589443 w 1357518"/>
                <a:gd name="connsiteY264" fmla="*/ 72882 h 1002999"/>
                <a:gd name="connsiteX265" fmla="*/ 576378 w 1357518"/>
                <a:gd name="connsiteY265" fmla="*/ 69071 h 1002999"/>
                <a:gd name="connsiteX266" fmla="*/ 564092 w 1357518"/>
                <a:gd name="connsiteY266" fmla="*/ 59021 h 1002999"/>
                <a:gd name="connsiteX267" fmla="*/ 563125 w 1357518"/>
                <a:gd name="connsiteY267" fmla="*/ 55435 h 1002999"/>
                <a:gd name="connsiteX268" fmla="*/ 564871 w 1357518"/>
                <a:gd name="connsiteY268" fmla="*/ 52285 h 1002999"/>
                <a:gd name="connsiteX269" fmla="*/ 575597 w 1357518"/>
                <a:gd name="connsiteY269" fmla="*/ 51805 h 1002999"/>
                <a:gd name="connsiteX270" fmla="*/ 880806 w 1357518"/>
                <a:gd name="connsiteY270" fmla="*/ 0 h 1002999"/>
                <a:gd name="connsiteX271" fmla="*/ 931255 w 1357518"/>
                <a:gd name="connsiteY271" fmla="*/ 350 h 1002999"/>
                <a:gd name="connsiteX272" fmla="*/ 947840 w 1357518"/>
                <a:gd name="connsiteY272" fmla="*/ 1957 h 1002999"/>
                <a:gd name="connsiteX273" fmla="*/ 969087 w 1357518"/>
                <a:gd name="connsiteY273" fmla="*/ 5332 h 1002999"/>
                <a:gd name="connsiteX274" fmla="*/ 980324 w 1357518"/>
                <a:gd name="connsiteY274" fmla="*/ 9250 h 1002999"/>
                <a:gd name="connsiteX275" fmla="*/ 982684 w 1357518"/>
                <a:gd name="connsiteY275" fmla="*/ 9122 h 1002999"/>
                <a:gd name="connsiteX276" fmla="*/ 997913 w 1357518"/>
                <a:gd name="connsiteY276" fmla="*/ 10623 h 1002999"/>
                <a:gd name="connsiteX277" fmla="*/ 1012373 w 1357518"/>
                <a:gd name="connsiteY277" fmla="*/ 12496 h 1002999"/>
                <a:gd name="connsiteX278" fmla="*/ 1036409 w 1357518"/>
                <a:gd name="connsiteY278" fmla="*/ 17367 h 1002999"/>
                <a:gd name="connsiteX279" fmla="*/ 1039778 w 1357518"/>
                <a:gd name="connsiteY279" fmla="*/ 18965 h 1002999"/>
                <a:gd name="connsiteX280" fmla="*/ 1037182 w 1357518"/>
                <a:gd name="connsiteY280" fmla="*/ 20272 h 1002999"/>
                <a:gd name="connsiteX281" fmla="*/ 1031206 w 1357518"/>
                <a:gd name="connsiteY281" fmla="*/ 21169 h 1002999"/>
                <a:gd name="connsiteX282" fmla="*/ 1000489 w 1357518"/>
                <a:gd name="connsiteY282" fmla="*/ 22768 h 1002999"/>
                <a:gd name="connsiteX283" fmla="*/ 944763 w 1357518"/>
                <a:gd name="connsiteY283" fmla="*/ 24723 h 1002999"/>
                <a:gd name="connsiteX284" fmla="*/ 912878 w 1357518"/>
                <a:gd name="connsiteY284" fmla="*/ 28522 h 1002999"/>
                <a:gd name="connsiteX285" fmla="*/ 902735 w 1357518"/>
                <a:gd name="connsiteY285" fmla="*/ 28719 h 1002999"/>
                <a:gd name="connsiteX286" fmla="*/ 901850 w 1357518"/>
                <a:gd name="connsiteY286" fmla="*/ 34354 h 1002999"/>
                <a:gd name="connsiteX287" fmla="*/ 906183 w 1357518"/>
                <a:gd name="connsiteY287" fmla="*/ 34661 h 1002999"/>
                <a:gd name="connsiteX288" fmla="*/ 913285 w 1357518"/>
                <a:gd name="connsiteY288" fmla="*/ 33901 h 1002999"/>
                <a:gd name="connsiteX289" fmla="*/ 938261 w 1357518"/>
                <a:gd name="connsiteY289" fmla="*/ 28257 h 1002999"/>
                <a:gd name="connsiteX290" fmla="*/ 947603 w 1357518"/>
                <a:gd name="connsiteY290" fmla="*/ 27326 h 1002999"/>
                <a:gd name="connsiteX291" fmla="*/ 965040 w 1357518"/>
                <a:gd name="connsiteY291" fmla="*/ 27797 h 1002999"/>
                <a:gd name="connsiteX292" fmla="*/ 987673 w 1357518"/>
                <a:gd name="connsiteY292" fmla="*/ 29917 h 1002999"/>
                <a:gd name="connsiteX293" fmla="*/ 996804 w 1357518"/>
                <a:gd name="connsiteY293" fmla="*/ 29171 h 1002999"/>
                <a:gd name="connsiteX294" fmla="*/ 1013089 w 1357518"/>
                <a:gd name="connsiteY294" fmla="*/ 29725 h 1002999"/>
                <a:gd name="connsiteX295" fmla="*/ 1032132 w 1357518"/>
                <a:gd name="connsiteY295" fmla="*/ 28106 h 1002999"/>
                <a:gd name="connsiteX296" fmla="*/ 1054630 w 1357518"/>
                <a:gd name="connsiteY296" fmla="*/ 24601 h 1002999"/>
                <a:gd name="connsiteX297" fmla="*/ 1060782 w 1357518"/>
                <a:gd name="connsiteY297" fmla="*/ 32415 h 1002999"/>
                <a:gd name="connsiteX298" fmla="*/ 1069071 w 1357518"/>
                <a:gd name="connsiteY298" fmla="*/ 40199 h 1002999"/>
                <a:gd name="connsiteX299" fmla="*/ 1075631 w 1357518"/>
                <a:gd name="connsiteY299" fmla="*/ 39339 h 1002999"/>
                <a:gd name="connsiteX300" fmla="*/ 1081250 w 1357518"/>
                <a:gd name="connsiteY300" fmla="*/ 39774 h 1002999"/>
                <a:gd name="connsiteX301" fmla="*/ 1083151 w 1357518"/>
                <a:gd name="connsiteY301" fmla="*/ 42323 h 1002999"/>
                <a:gd name="connsiteX302" fmla="*/ 1086223 w 1357518"/>
                <a:gd name="connsiteY302" fmla="*/ 43401 h 1002999"/>
                <a:gd name="connsiteX303" fmla="*/ 1092584 w 1357518"/>
                <a:gd name="connsiteY303" fmla="*/ 42821 h 1002999"/>
                <a:gd name="connsiteX304" fmla="*/ 1112088 w 1357518"/>
                <a:gd name="connsiteY304" fmla="*/ 45046 h 1002999"/>
                <a:gd name="connsiteX305" fmla="*/ 1125471 w 1357518"/>
                <a:gd name="connsiteY305" fmla="*/ 49033 h 1002999"/>
                <a:gd name="connsiteX306" fmla="*/ 1130509 w 1357518"/>
                <a:gd name="connsiteY306" fmla="*/ 50887 h 1002999"/>
                <a:gd name="connsiteX307" fmla="*/ 1132926 w 1357518"/>
                <a:gd name="connsiteY307" fmla="*/ 53528 h 1002999"/>
                <a:gd name="connsiteX308" fmla="*/ 1134294 w 1357518"/>
                <a:gd name="connsiteY308" fmla="*/ 55643 h 1002999"/>
                <a:gd name="connsiteX309" fmla="*/ 1132191 w 1357518"/>
                <a:gd name="connsiteY309" fmla="*/ 58242 h 1002999"/>
                <a:gd name="connsiteX310" fmla="*/ 1123828 w 1357518"/>
                <a:gd name="connsiteY310" fmla="*/ 62860 h 1002999"/>
                <a:gd name="connsiteX311" fmla="*/ 1113245 w 1357518"/>
                <a:gd name="connsiteY311" fmla="*/ 67094 h 1002999"/>
                <a:gd name="connsiteX312" fmla="*/ 1098972 w 1357518"/>
                <a:gd name="connsiteY312" fmla="*/ 70342 h 1002999"/>
                <a:gd name="connsiteX313" fmla="*/ 1082517 w 1357518"/>
                <a:gd name="connsiteY313" fmla="*/ 72376 h 1002999"/>
                <a:gd name="connsiteX314" fmla="*/ 956098 w 1357518"/>
                <a:gd name="connsiteY314" fmla="*/ 79161 h 1002999"/>
                <a:gd name="connsiteX315" fmla="*/ 951823 w 1357518"/>
                <a:gd name="connsiteY315" fmla="*/ 80770 h 1002999"/>
                <a:gd name="connsiteX316" fmla="*/ 949288 w 1357518"/>
                <a:gd name="connsiteY316" fmla="*/ 84872 h 1002999"/>
                <a:gd name="connsiteX317" fmla="*/ 950977 w 1357518"/>
                <a:gd name="connsiteY317" fmla="*/ 90192 h 1002999"/>
                <a:gd name="connsiteX318" fmla="*/ 956884 w 1357518"/>
                <a:gd name="connsiteY318" fmla="*/ 91021 h 1002999"/>
                <a:gd name="connsiteX319" fmla="*/ 970691 w 1357518"/>
                <a:gd name="connsiteY319" fmla="*/ 88029 h 1002999"/>
                <a:gd name="connsiteX320" fmla="*/ 994571 w 1357518"/>
                <a:gd name="connsiteY320" fmla="*/ 85192 h 1002999"/>
                <a:gd name="connsiteX321" fmla="*/ 1012118 w 1357518"/>
                <a:gd name="connsiteY321" fmla="*/ 85327 h 1002999"/>
                <a:gd name="connsiteX322" fmla="*/ 1054067 w 1357518"/>
                <a:gd name="connsiteY322" fmla="*/ 87750 h 1002999"/>
                <a:gd name="connsiteX323" fmla="*/ 1066443 w 1357518"/>
                <a:gd name="connsiteY323" fmla="*/ 94071 h 1002999"/>
                <a:gd name="connsiteX324" fmla="*/ 1072990 w 1357518"/>
                <a:gd name="connsiteY324" fmla="*/ 103742 h 1002999"/>
                <a:gd name="connsiteX325" fmla="*/ 1087507 w 1357518"/>
                <a:gd name="connsiteY325" fmla="*/ 101573 h 1002999"/>
                <a:gd name="connsiteX326" fmla="*/ 1090612 w 1357518"/>
                <a:gd name="connsiteY326" fmla="*/ 99916 h 1002999"/>
                <a:gd name="connsiteX327" fmla="*/ 1092893 w 1357518"/>
                <a:gd name="connsiteY327" fmla="*/ 97035 h 1002999"/>
                <a:gd name="connsiteX328" fmla="*/ 1094716 w 1357518"/>
                <a:gd name="connsiteY328" fmla="*/ 93938 h 1002999"/>
                <a:gd name="connsiteX329" fmla="*/ 1096081 w 1357518"/>
                <a:gd name="connsiteY329" fmla="*/ 90630 h 1002999"/>
                <a:gd name="connsiteX330" fmla="*/ 1097606 w 1357518"/>
                <a:gd name="connsiteY330" fmla="*/ 88374 h 1002999"/>
                <a:gd name="connsiteX331" fmla="*/ 1099289 w 1357518"/>
                <a:gd name="connsiteY331" fmla="*/ 87177 h 1002999"/>
                <a:gd name="connsiteX332" fmla="*/ 1102907 w 1357518"/>
                <a:gd name="connsiteY332" fmla="*/ 86175 h 1002999"/>
                <a:gd name="connsiteX333" fmla="*/ 1111237 w 1357518"/>
                <a:gd name="connsiteY333" fmla="*/ 84969 h 1002999"/>
                <a:gd name="connsiteX334" fmla="*/ 1133080 w 1357518"/>
                <a:gd name="connsiteY334" fmla="*/ 83793 h 1002999"/>
                <a:gd name="connsiteX335" fmla="*/ 1138333 w 1357518"/>
                <a:gd name="connsiteY335" fmla="*/ 84128 h 1002999"/>
                <a:gd name="connsiteX336" fmla="*/ 1142106 w 1357518"/>
                <a:gd name="connsiteY336" fmla="*/ 88675 h 1002999"/>
                <a:gd name="connsiteX337" fmla="*/ 1142925 w 1357518"/>
                <a:gd name="connsiteY337" fmla="*/ 91327 h 1002999"/>
                <a:gd name="connsiteX338" fmla="*/ 1143198 w 1357518"/>
                <a:gd name="connsiteY338" fmla="*/ 94774 h 1002999"/>
                <a:gd name="connsiteX339" fmla="*/ 1143077 w 1357518"/>
                <a:gd name="connsiteY339" fmla="*/ 99017 h 1002999"/>
                <a:gd name="connsiteX340" fmla="*/ 1142565 w 1357518"/>
                <a:gd name="connsiteY340" fmla="*/ 104050 h 1002999"/>
                <a:gd name="connsiteX341" fmla="*/ 1140710 w 1357518"/>
                <a:gd name="connsiteY341" fmla="*/ 109017 h 1002999"/>
                <a:gd name="connsiteX342" fmla="*/ 1134664 w 1357518"/>
                <a:gd name="connsiteY342" fmla="*/ 117661 h 1002999"/>
                <a:gd name="connsiteX343" fmla="*/ 1129806 w 1357518"/>
                <a:gd name="connsiteY343" fmla="*/ 122351 h 1002999"/>
                <a:gd name="connsiteX344" fmla="*/ 1124563 w 1357518"/>
                <a:gd name="connsiteY344" fmla="*/ 125722 h 1002999"/>
                <a:gd name="connsiteX345" fmla="*/ 1114512 w 1357518"/>
                <a:gd name="connsiteY345" fmla="*/ 133396 h 1002999"/>
                <a:gd name="connsiteX346" fmla="*/ 1111030 w 1357518"/>
                <a:gd name="connsiteY346" fmla="*/ 135439 h 1002999"/>
                <a:gd name="connsiteX347" fmla="*/ 1099980 w 1357518"/>
                <a:gd name="connsiteY347" fmla="*/ 144333 h 1002999"/>
                <a:gd name="connsiteX348" fmla="*/ 1097240 w 1357518"/>
                <a:gd name="connsiteY348" fmla="*/ 148440 h 1002999"/>
                <a:gd name="connsiteX349" fmla="*/ 1097079 w 1357518"/>
                <a:gd name="connsiteY349" fmla="*/ 151441 h 1002999"/>
                <a:gd name="connsiteX350" fmla="*/ 1098979 w 1357518"/>
                <a:gd name="connsiteY350" fmla="*/ 152013 h 1002999"/>
                <a:gd name="connsiteX351" fmla="*/ 1102183 w 1357518"/>
                <a:gd name="connsiteY351" fmla="*/ 149192 h 1002999"/>
                <a:gd name="connsiteX352" fmla="*/ 1103375 w 1357518"/>
                <a:gd name="connsiteY352" fmla="*/ 147175 h 1002999"/>
                <a:gd name="connsiteX353" fmla="*/ 1105437 w 1357518"/>
                <a:gd name="connsiteY353" fmla="*/ 145062 h 1002999"/>
                <a:gd name="connsiteX354" fmla="*/ 1121718 w 1357518"/>
                <a:gd name="connsiteY354" fmla="*/ 139481 h 1002999"/>
                <a:gd name="connsiteX355" fmla="*/ 1125212 w 1357518"/>
                <a:gd name="connsiteY355" fmla="*/ 137922 h 1002999"/>
                <a:gd name="connsiteX356" fmla="*/ 1135861 w 1357518"/>
                <a:gd name="connsiteY356" fmla="*/ 131253 h 1002999"/>
                <a:gd name="connsiteX357" fmla="*/ 1142657 w 1357518"/>
                <a:gd name="connsiteY357" fmla="*/ 128745 h 1002999"/>
                <a:gd name="connsiteX358" fmla="*/ 1148245 w 1357518"/>
                <a:gd name="connsiteY358" fmla="*/ 126119 h 1002999"/>
                <a:gd name="connsiteX359" fmla="*/ 1151205 w 1357518"/>
                <a:gd name="connsiteY359" fmla="*/ 124251 h 1002999"/>
                <a:gd name="connsiteX360" fmla="*/ 1167571 w 1357518"/>
                <a:gd name="connsiteY360" fmla="*/ 110974 h 1002999"/>
                <a:gd name="connsiteX361" fmla="*/ 1176102 w 1357518"/>
                <a:gd name="connsiteY361" fmla="*/ 106979 h 1002999"/>
                <a:gd name="connsiteX362" fmla="*/ 1185061 w 1357518"/>
                <a:gd name="connsiteY362" fmla="*/ 106971 h 1002999"/>
                <a:gd name="connsiteX363" fmla="*/ 1186648 w 1357518"/>
                <a:gd name="connsiteY363" fmla="*/ 113726 h 1002999"/>
                <a:gd name="connsiteX364" fmla="*/ 1197386 w 1357518"/>
                <a:gd name="connsiteY364" fmla="*/ 114768 h 1002999"/>
                <a:gd name="connsiteX365" fmla="*/ 1202048 w 1357518"/>
                <a:gd name="connsiteY365" fmla="*/ 114478 h 1002999"/>
                <a:gd name="connsiteX366" fmla="*/ 1209537 w 1357518"/>
                <a:gd name="connsiteY366" fmla="*/ 116116 h 1002999"/>
                <a:gd name="connsiteX367" fmla="*/ 1212820 w 1357518"/>
                <a:gd name="connsiteY367" fmla="*/ 117468 h 1002999"/>
                <a:gd name="connsiteX368" fmla="*/ 1218408 w 1357518"/>
                <a:gd name="connsiteY368" fmla="*/ 118152 h 1002999"/>
                <a:gd name="connsiteX369" fmla="*/ 1224171 w 1357518"/>
                <a:gd name="connsiteY369" fmla="*/ 119754 h 1002999"/>
                <a:gd name="connsiteX370" fmla="*/ 1229253 w 1357518"/>
                <a:gd name="connsiteY370" fmla="*/ 118034 h 1002999"/>
                <a:gd name="connsiteX371" fmla="*/ 1230739 w 1357518"/>
                <a:gd name="connsiteY371" fmla="*/ 116954 h 1002999"/>
                <a:gd name="connsiteX372" fmla="*/ 1235647 w 1357518"/>
                <a:gd name="connsiteY372" fmla="*/ 112054 h 1002999"/>
                <a:gd name="connsiteX373" fmla="*/ 1242279 w 1357518"/>
                <a:gd name="connsiteY373" fmla="*/ 107703 h 1002999"/>
                <a:gd name="connsiteX374" fmla="*/ 1248429 w 1357518"/>
                <a:gd name="connsiteY374" fmla="*/ 102253 h 1002999"/>
                <a:gd name="connsiteX375" fmla="*/ 1250468 w 1357518"/>
                <a:gd name="connsiteY375" fmla="*/ 100930 h 1002999"/>
                <a:gd name="connsiteX376" fmla="*/ 1253698 w 1357518"/>
                <a:gd name="connsiteY376" fmla="*/ 99726 h 1002999"/>
                <a:gd name="connsiteX377" fmla="*/ 1257055 w 1357518"/>
                <a:gd name="connsiteY377" fmla="*/ 99254 h 1002999"/>
                <a:gd name="connsiteX378" fmla="*/ 1266196 w 1357518"/>
                <a:gd name="connsiteY378" fmla="*/ 96694 h 1002999"/>
                <a:gd name="connsiteX379" fmla="*/ 1268515 w 1357518"/>
                <a:gd name="connsiteY379" fmla="*/ 96515 h 1002999"/>
                <a:gd name="connsiteX380" fmla="*/ 1273449 w 1357518"/>
                <a:gd name="connsiteY380" fmla="*/ 97323 h 1002999"/>
                <a:gd name="connsiteX381" fmla="*/ 1295240 w 1357518"/>
                <a:gd name="connsiteY381" fmla="*/ 97744 h 1002999"/>
                <a:gd name="connsiteX382" fmla="*/ 1307126 w 1357518"/>
                <a:gd name="connsiteY382" fmla="*/ 99064 h 1002999"/>
                <a:gd name="connsiteX383" fmla="*/ 1323676 w 1357518"/>
                <a:gd name="connsiteY383" fmla="*/ 102722 h 1002999"/>
                <a:gd name="connsiteX384" fmla="*/ 1335210 w 1357518"/>
                <a:gd name="connsiteY384" fmla="*/ 104721 h 1002999"/>
                <a:gd name="connsiteX385" fmla="*/ 1340551 w 1357518"/>
                <a:gd name="connsiteY385" fmla="*/ 106490 h 1002999"/>
                <a:gd name="connsiteX386" fmla="*/ 1348329 w 1357518"/>
                <a:gd name="connsiteY386" fmla="*/ 110277 h 1002999"/>
                <a:gd name="connsiteX387" fmla="*/ 1354601 w 1357518"/>
                <a:gd name="connsiteY387" fmla="*/ 114230 h 1002999"/>
                <a:gd name="connsiteX388" fmla="*/ 1357518 w 1357518"/>
                <a:gd name="connsiteY388" fmla="*/ 115391 h 1002999"/>
                <a:gd name="connsiteX389" fmla="*/ 1357405 w 1357518"/>
                <a:gd name="connsiteY389" fmla="*/ 116644 h 1002999"/>
                <a:gd name="connsiteX390" fmla="*/ 1355235 w 1357518"/>
                <a:gd name="connsiteY390" fmla="*/ 118370 h 1002999"/>
                <a:gd name="connsiteX391" fmla="*/ 1339700 w 1357518"/>
                <a:gd name="connsiteY391" fmla="*/ 124397 h 1002999"/>
                <a:gd name="connsiteX392" fmla="*/ 1334617 w 1357518"/>
                <a:gd name="connsiteY392" fmla="*/ 128413 h 1002999"/>
                <a:gd name="connsiteX393" fmla="*/ 1319913 w 1357518"/>
                <a:gd name="connsiteY393" fmla="*/ 135965 h 1002999"/>
                <a:gd name="connsiteX394" fmla="*/ 1312727 w 1357518"/>
                <a:gd name="connsiteY394" fmla="*/ 138552 h 1002999"/>
                <a:gd name="connsiteX395" fmla="*/ 1304919 w 1357518"/>
                <a:gd name="connsiteY395" fmla="*/ 139564 h 1002999"/>
                <a:gd name="connsiteX396" fmla="*/ 1296227 w 1357518"/>
                <a:gd name="connsiteY396" fmla="*/ 139808 h 1002999"/>
                <a:gd name="connsiteX397" fmla="*/ 1290589 w 1357518"/>
                <a:gd name="connsiteY397" fmla="*/ 140888 h 1002999"/>
                <a:gd name="connsiteX398" fmla="*/ 1289754 w 1357518"/>
                <a:gd name="connsiteY398" fmla="*/ 141917 h 1002999"/>
                <a:gd name="connsiteX399" fmla="*/ 1293770 w 1357518"/>
                <a:gd name="connsiteY399" fmla="*/ 145031 h 1002999"/>
                <a:gd name="connsiteX400" fmla="*/ 1295537 w 1357518"/>
                <a:gd name="connsiteY400" fmla="*/ 147245 h 1002999"/>
                <a:gd name="connsiteX401" fmla="*/ 1295280 w 1357518"/>
                <a:gd name="connsiteY401" fmla="*/ 149212 h 1002999"/>
                <a:gd name="connsiteX402" fmla="*/ 1291055 w 1357518"/>
                <a:gd name="connsiteY402" fmla="*/ 152121 h 1002999"/>
                <a:gd name="connsiteX403" fmla="*/ 1289457 w 1357518"/>
                <a:gd name="connsiteY403" fmla="*/ 152781 h 1002999"/>
                <a:gd name="connsiteX404" fmla="*/ 1274184 w 1357518"/>
                <a:gd name="connsiteY404" fmla="*/ 154938 h 1002999"/>
                <a:gd name="connsiteX405" fmla="*/ 1266479 w 1357518"/>
                <a:gd name="connsiteY405" fmla="*/ 158594 h 1002999"/>
                <a:gd name="connsiteX406" fmla="*/ 1256422 w 1357518"/>
                <a:gd name="connsiteY406" fmla="*/ 159040 h 1002999"/>
                <a:gd name="connsiteX407" fmla="*/ 1249315 w 1357518"/>
                <a:gd name="connsiteY407" fmla="*/ 158624 h 1002999"/>
                <a:gd name="connsiteX408" fmla="*/ 1239549 w 1357518"/>
                <a:gd name="connsiteY408" fmla="*/ 162547 h 1002999"/>
                <a:gd name="connsiteX409" fmla="*/ 1243370 w 1357518"/>
                <a:gd name="connsiteY409" fmla="*/ 165732 h 1002999"/>
                <a:gd name="connsiteX410" fmla="*/ 1246871 w 1357518"/>
                <a:gd name="connsiteY410" fmla="*/ 167114 h 1002999"/>
                <a:gd name="connsiteX411" fmla="*/ 1257755 w 1357518"/>
                <a:gd name="connsiteY411" fmla="*/ 170006 h 1002999"/>
                <a:gd name="connsiteX412" fmla="*/ 1257857 w 1357518"/>
                <a:gd name="connsiteY412" fmla="*/ 171666 h 1002999"/>
                <a:gd name="connsiteX413" fmla="*/ 1252657 w 1357518"/>
                <a:gd name="connsiteY413" fmla="*/ 175016 h 1002999"/>
                <a:gd name="connsiteX414" fmla="*/ 1245559 w 1357518"/>
                <a:gd name="connsiteY414" fmla="*/ 178955 h 1002999"/>
                <a:gd name="connsiteX415" fmla="*/ 1237165 w 1357518"/>
                <a:gd name="connsiteY415" fmla="*/ 181682 h 1002999"/>
                <a:gd name="connsiteX416" fmla="*/ 1234009 w 1357518"/>
                <a:gd name="connsiteY416" fmla="*/ 182091 h 1002999"/>
                <a:gd name="connsiteX417" fmla="*/ 1230028 w 1357518"/>
                <a:gd name="connsiteY417" fmla="*/ 181407 h 1002999"/>
                <a:gd name="connsiteX418" fmla="*/ 1226356 w 1357518"/>
                <a:gd name="connsiteY418" fmla="*/ 181553 h 1002999"/>
                <a:gd name="connsiteX419" fmla="*/ 1218272 w 1357518"/>
                <a:gd name="connsiteY419" fmla="*/ 182809 h 1002999"/>
                <a:gd name="connsiteX420" fmla="*/ 1210574 w 1357518"/>
                <a:gd name="connsiteY420" fmla="*/ 183009 h 1002999"/>
                <a:gd name="connsiteX421" fmla="*/ 1196829 w 1357518"/>
                <a:gd name="connsiteY421" fmla="*/ 181234 h 1002999"/>
                <a:gd name="connsiteX422" fmla="*/ 1189390 w 1357518"/>
                <a:gd name="connsiteY422" fmla="*/ 179176 h 1002999"/>
                <a:gd name="connsiteX423" fmla="*/ 1185476 w 1357518"/>
                <a:gd name="connsiteY423" fmla="*/ 178464 h 1002999"/>
                <a:gd name="connsiteX424" fmla="*/ 1180541 w 1357518"/>
                <a:gd name="connsiteY424" fmla="*/ 178662 h 1002999"/>
                <a:gd name="connsiteX425" fmla="*/ 1178642 w 1357518"/>
                <a:gd name="connsiteY425" fmla="*/ 179491 h 1002999"/>
                <a:gd name="connsiteX426" fmla="*/ 1170864 w 1357518"/>
                <a:gd name="connsiteY426" fmla="*/ 184394 h 1002999"/>
                <a:gd name="connsiteX427" fmla="*/ 1167045 w 1357518"/>
                <a:gd name="connsiteY427" fmla="*/ 187735 h 1002999"/>
                <a:gd name="connsiteX428" fmla="*/ 1164599 w 1357518"/>
                <a:gd name="connsiteY428" fmla="*/ 191143 h 1002999"/>
                <a:gd name="connsiteX429" fmla="*/ 1163554 w 1357518"/>
                <a:gd name="connsiteY429" fmla="*/ 194853 h 1002999"/>
                <a:gd name="connsiteX430" fmla="*/ 1163909 w 1357518"/>
                <a:gd name="connsiteY430" fmla="*/ 198860 h 1002999"/>
                <a:gd name="connsiteX431" fmla="*/ 1164857 w 1357518"/>
                <a:gd name="connsiteY431" fmla="*/ 201601 h 1002999"/>
                <a:gd name="connsiteX432" fmla="*/ 1166396 w 1357518"/>
                <a:gd name="connsiteY432" fmla="*/ 203084 h 1002999"/>
                <a:gd name="connsiteX433" fmla="*/ 1168242 w 1357518"/>
                <a:gd name="connsiteY433" fmla="*/ 203982 h 1002999"/>
                <a:gd name="connsiteX434" fmla="*/ 1171472 w 1357518"/>
                <a:gd name="connsiteY434" fmla="*/ 204452 h 1002999"/>
                <a:gd name="connsiteX435" fmla="*/ 1178580 w 1357518"/>
                <a:gd name="connsiteY435" fmla="*/ 204007 h 1002999"/>
                <a:gd name="connsiteX436" fmla="*/ 1181374 w 1357518"/>
                <a:gd name="connsiteY436" fmla="*/ 204258 h 1002999"/>
                <a:gd name="connsiteX437" fmla="*/ 1182225 w 1357518"/>
                <a:gd name="connsiteY437" fmla="*/ 205068 h 1002999"/>
                <a:gd name="connsiteX438" fmla="*/ 1183760 w 1357518"/>
                <a:gd name="connsiteY438" fmla="*/ 207620 h 1002999"/>
                <a:gd name="connsiteX439" fmla="*/ 1183486 w 1357518"/>
                <a:gd name="connsiteY439" fmla="*/ 210025 h 1002999"/>
                <a:gd name="connsiteX440" fmla="*/ 1182199 w 1357518"/>
                <a:gd name="connsiteY440" fmla="*/ 213400 h 1002999"/>
                <a:gd name="connsiteX441" fmla="*/ 1181201 w 1357518"/>
                <a:gd name="connsiteY441" fmla="*/ 217330 h 1002999"/>
                <a:gd name="connsiteX442" fmla="*/ 1180496 w 1357518"/>
                <a:gd name="connsiteY442" fmla="*/ 221810 h 1002999"/>
                <a:gd name="connsiteX443" fmla="*/ 1180876 w 1357518"/>
                <a:gd name="connsiteY443" fmla="*/ 224254 h 1002999"/>
                <a:gd name="connsiteX444" fmla="*/ 1183752 w 1357518"/>
                <a:gd name="connsiteY444" fmla="*/ 224789 h 1002999"/>
                <a:gd name="connsiteX445" fmla="*/ 1185101 w 1357518"/>
                <a:gd name="connsiteY445" fmla="*/ 224612 h 1002999"/>
                <a:gd name="connsiteX446" fmla="*/ 1186665 w 1357518"/>
                <a:gd name="connsiteY446" fmla="*/ 225414 h 1002999"/>
                <a:gd name="connsiteX447" fmla="*/ 1188444 w 1357518"/>
                <a:gd name="connsiteY447" fmla="*/ 227192 h 1002999"/>
                <a:gd name="connsiteX448" fmla="*/ 1189780 w 1357518"/>
                <a:gd name="connsiteY448" fmla="*/ 229069 h 1002999"/>
                <a:gd name="connsiteX449" fmla="*/ 1190677 w 1357518"/>
                <a:gd name="connsiteY449" fmla="*/ 231048 h 1002999"/>
                <a:gd name="connsiteX450" fmla="*/ 1190208 w 1357518"/>
                <a:gd name="connsiteY450" fmla="*/ 232675 h 1002999"/>
                <a:gd name="connsiteX451" fmla="*/ 1188374 w 1357518"/>
                <a:gd name="connsiteY451" fmla="*/ 233958 h 1002999"/>
                <a:gd name="connsiteX452" fmla="*/ 1184233 w 1357518"/>
                <a:gd name="connsiteY452" fmla="*/ 235402 h 1002999"/>
                <a:gd name="connsiteX453" fmla="*/ 1174043 w 1357518"/>
                <a:gd name="connsiteY453" fmla="*/ 238252 h 1002999"/>
                <a:gd name="connsiteX454" fmla="*/ 1173008 w 1357518"/>
                <a:gd name="connsiteY454" fmla="*/ 239120 h 1002999"/>
                <a:gd name="connsiteX455" fmla="*/ 1172207 w 1357518"/>
                <a:gd name="connsiteY455" fmla="*/ 240851 h 1002999"/>
                <a:gd name="connsiteX456" fmla="*/ 1171643 w 1357518"/>
                <a:gd name="connsiteY456" fmla="*/ 243448 h 1002999"/>
                <a:gd name="connsiteX457" fmla="*/ 1170413 w 1357518"/>
                <a:gd name="connsiteY457" fmla="*/ 245807 h 1002999"/>
                <a:gd name="connsiteX458" fmla="*/ 1168518 w 1357518"/>
                <a:gd name="connsiteY458" fmla="*/ 247925 h 1002999"/>
                <a:gd name="connsiteX459" fmla="*/ 1166802 w 1357518"/>
                <a:gd name="connsiteY459" fmla="*/ 249186 h 1002999"/>
                <a:gd name="connsiteX460" fmla="*/ 1163499 w 1357518"/>
                <a:gd name="connsiteY460" fmla="*/ 249747 h 1002999"/>
                <a:gd name="connsiteX461" fmla="*/ 1159169 w 1357518"/>
                <a:gd name="connsiteY461" fmla="*/ 249820 h 1002999"/>
                <a:gd name="connsiteX462" fmla="*/ 1154307 w 1357518"/>
                <a:gd name="connsiteY462" fmla="*/ 251036 h 1002999"/>
                <a:gd name="connsiteX463" fmla="*/ 1142849 w 1357518"/>
                <a:gd name="connsiteY463" fmla="*/ 258107 h 1002999"/>
                <a:gd name="connsiteX464" fmla="*/ 1142679 w 1357518"/>
                <a:gd name="connsiteY464" fmla="*/ 258890 h 1002999"/>
                <a:gd name="connsiteX465" fmla="*/ 1146969 w 1357518"/>
                <a:gd name="connsiteY465" fmla="*/ 261153 h 1002999"/>
                <a:gd name="connsiteX466" fmla="*/ 1146787 w 1357518"/>
                <a:gd name="connsiteY466" fmla="*/ 263134 h 1002999"/>
                <a:gd name="connsiteX467" fmla="*/ 1141500 w 1357518"/>
                <a:gd name="connsiteY467" fmla="*/ 271602 h 1002999"/>
                <a:gd name="connsiteX468" fmla="*/ 1140053 w 1357518"/>
                <a:gd name="connsiteY468" fmla="*/ 275783 h 1002999"/>
                <a:gd name="connsiteX469" fmla="*/ 1138907 w 1357518"/>
                <a:gd name="connsiteY469" fmla="*/ 281500 h 1002999"/>
                <a:gd name="connsiteX470" fmla="*/ 1137022 w 1357518"/>
                <a:gd name="connsiteY470" fmla="*/ 286307 h 1002999"/>
                <a:gd name="connsiteX471" fmla="*/ 1134398 w 1357518"/>
                <a:gd name="connsiteY471" fmla="*/ 290212 h 1002999"/>
                <a:gd name="connsiteX472" fmla="*/ 1131817 w 1357518"/>
                <a:gd name="connsiteY472" fmla="*/ 294710 h 1002999"/>
                <a:gd name="connsiteX473" fmla="*/ 1129277 w 1357518"/>
                <a:gd name="connsiteY473" fmla="*/ 299788 h 1002999"/>
                <a:gd name="connsiteX474" fmla="*/ 1129674 w 1357518"/>
                <a:gd name="connsiteY474" fmla="*/ 303680 h 1002999"/>
                <a:gd name="connsiteX475" fmla="*/ 1133006 w 1357518"/>
                <a:gd name="connsiteY475" fmla="*/ 306385 h 1002999"/>
                <a:gd name="connsiteX476" fmla="*/ 1137411 w 1357518"/>
                <a:gd name="connsiteY476" fmla="*/ 304200 h 1002999"/>
                <a:gd name="connsiteX477" fmla="*/ 1142890 w 1357518"/>
                <a:gd name="connsiteY477" fmla="*/ 297100 h 1002999"/>
                <a:gd name="connsiteX478" fmla="*/ 1148845 w 1357518"/>
                <a:gd name="connsiteY478" fmla="*/ 294025 h 1002999"/>
                <a:gd name="connsiteX479" fmla="*/ 1155275 w 1357518"/>
                <a:gd name="connsiteY479" fmla="*/ 294991 h 1002999"/>
                <a:gd name="connsiteX480" fmla="*/ 1160874 w 1357518"/>
                <a:gd name="connsiteY480" fmla="*/ 296399 h 1002999"/>
                <a:gd name="connsiteX481" fmla="*/ 1168027 w 1357518"/>
                <a:gd name="connsiteY481" fmla="*/ 299181 h 1002999"/>
                <a:gd name="connsiteX482" fmla="*/ 1174015 w 1357518"/>
                <a:gd name="connsiteY482" fmla="*/ 300912 h 1002999"/>
                <a:gd name="connsiteX483" fmla="*/ 1179186 w 1357518"/>
                <a:gd name="connsiteY483" fmla="*/ 303190 h 1002999"/>
                <a:gd name="connsiteX484" fmla="*/ 1181319 w 1357518"/>
                <a:gd name="connsiteY484" fmla="*/ 305108 h 1002999"/>
                <a:gd name="connsiteX485" fmla="*/ 1183466 w 1357518"/>
                <a:gd name="connsiteY485" fmla="*/ 307807 h 1002999"/>
                <a:gd name="connsiteX486" fmla="*/ 1183484 w 1357518"/>
                <a:gd name="connsiteY486" fmla="*/ 309509 h 1002999"/>
                <a:gd name="connsiteX487" fmla="*/ 1179693 w 1357518"/>
                <a:gd name="connsiteY487" fmla="*/ 310427 h 1002999"/>
                <a:gd name="connsiteX488" fmla="*/ 1178441 w 1357518"/>
                <a:gd name="connsiteY488" fmla="*/ 310136 h 1002999"/>
                <a:gd name="connsiteX489" fmla="*/ 1168953 w 1357518"/>
                <a:gd name="connsiteY489" fmla="*/ 305676 h 1002999"/>
                <a:gd name="connsiteX490" fmla="*/ 1164335 w 1357518"/>
                <a:gd name="connsiteY490" fmla="*/ 304565 h 1002999"/>
                <a:gd name="connsiteX491" fmla="*/ 1158207 w 1357518"/>
                <a:gd name="connsiteY491" fmla="*/ 305901 h 1002999"/>
                <a:gd name="connsiteX492" fmla="*/ 1152865 w 1357518"/>
                <a:gd name="connsiteY492" fmla="*/ 307916 h 1002999"/>
                <a:gd name="connsiteX493" fmla="*/ 1157664 w 1357518"/>
                <a:gd name="connsiteY493" fmla="*/ 316009 h 1002999"/>
                <a:gd name="connsiteX494" fmla="*/ 1162790 w 1357518"/>
                <a:gd name="connsiteY494" fmla="*/ 319716 h 1002999"/>
                <a:gd name="connsiteX495" fmla="*/ 1172150 w 1357518"/>
                <a:gd name="connsiteY495" fmla="*/ 321407 h 1002999"/>
                <a:gd name="connsiteX496" fmla="*/ 1177038 w 1357518"/>
                <a:gd name="connsiteY496" fmla="*/ 323185 h 1002999"/>
                <a:gd name="connsiteX497" fmla="*/ 1180602 w 1357518"/>
                <a:gd name="connsiteY497" fmla="*/ 325453 h 1002999"/>
                <a:gd name="connsiteX498" fmla="*/ 1183391 w 1357518"/>
                <a:gd name="connsiteY498" fmla="*/ 326558 h 1002999"/>
                <a:gd name="connsiteX499" fmla="*/ 1187134 w 1357518"/>
                <a:gd name="connsiteY499" fmla="*/ 326072 h 1002999"/>
                <a:gd name="connsiteX500" fmla="*/ 1192167 w 1357518"/>
                <a:gd name="connsiteY500" fmla="*/ 323839 h 1002999"/>
                <a:gd name="connsiteX501" fmla="*/ 1199188 w 1357518"/>
                <a:gd name="connsiteY501" fmla="*/ 323718 h 1002999"/>
                <a:gd name="connsiteX502" fmla="*/ 1202355 w 1357518"/>
                <a:gd name="connsiteY502" fmla="*/ 324827 h 1002999"/>
                <a:gd name="connsiteX503" fmla="*/ 1204647 w 1357518"/>
                <a:gd name="connsiteY503" fmla="*/ 326889 h 1002999"/>
                <a:gd name="connsiteX504" fmla="*/ 1205678 w 1357518"/>
                <a:gd name="connsiteY504" fmla="*/ 330739 h 1002999"/>
                <a:gd name="connsiteX505" fmla="*/ 1205449 w 1357518"/>
                <a:gd name="connsiteY505" fmla="*/ 336363 h 1002999"/>
                <a:gd name="connsiteX506" fmla="*/ 1204686 w 1357518"/>
                <a:gd name="connsiteY506" fmla="*/ 340586 h 1002999"/>
                <a:gd name="connsiteX507" fmla="*/ 1203386 w 1357518"/>
                <a:gd name="connsiteY507" fmla="*/ 343420 h 1002999"/>
                <a:gd name="connsiteX508" fmla="*/ 1200859 w 1357518"/>
                <a:gd name="connsiteY508" fmla="*/ 347210 h 1002999"/>
                <a:gd name="connsiteX509" fmla="*/ 1198748 w 1357518"/>
                <a:gd name="connsiteY509" fmla="*/ 347898 h 1002999"/>
                <a:gd name="connsiteX510" fmla="*/ 1195774 w 1357518"/>
                <a:gd name="connsiteY510" fmla="*/ 347692 h 1002999"/>
                <a:gd name="connsiteX511" fmla="*/ 1193009 w 1357518"/>
                <a:gd name="connsiteY511" fmla="*/ 346916 h 1002999"/>
                <a:gd name="connsiteX512" fmla="*/ 1190451 w 1357518"/>
                <a:gd name="connsiteY512" fmla="*/ 345564 h 1002999"/>
                <a:gd name="connsiteX513" fmla="*/ 1186574 w 1357518"/>
                <a:gd name="connsiteY513" fmla="*/ 344508 h 1002999"/>
                <a:gd name="connsiteX514" fmla="*/ 1178781 w 1357518"/>
                <a:gd name="connsiteY514" fmla="*/ 343373 h 1002999"/>
                <a:gd name="connsiteX515" fmla="*/ 1170905 w 1357518"/>
                <a:gd name="connsiteY515" fmla="*/ 340901 h 1002999"/>
                <a:gd name="connsiteX516" fmla="*/ 1166496 w 1357518"/>
                <a:gd name="connsiteY516" fmla="*/ 340289 h 1002999"/>
                <a:gd name="connsiteX517" fmla="*/ 1157156 w 1357518"/>
                <a:gd name="connsiteY517" fmla="*/ 340604 h 1002999"/>
                <a:gd name="connsiteX518" fmla="*/ 1147087 w 1357518"/>
                <a:gd name="connsiteY518" fmla="*/ 342171 h 1002999"/>
                <a:gd name="connsiteX519" fmla="*/ 1146693 w 1357518"/>
                <a:gd name="connsiteY519" fmla="*/ 344225 h 1002999"/>
                <a:gd name="connsiteX520" fmla="*/ 1132214 w 1357518"/>
                <a:gd name="connsiteY520" fmla="*/ 351378 h 1002999"/>
                <a:gd name="connsiteX521" fmla="*/ 1129244 w 1357518"/>
                <a:gd name="connsiteY521" fmla="*/ 351281 h 1002999"/>
                <a:gd name="connsiteX522" fmla="*/ 1125225 w 1357518"/>
                <a:gd name="connsiteY522" fmla="*/ 348827 h 1002999"/>
                <a:gd name="connsiteX523" fmla="*/ 1119598 w 1357518"/>
                <a:gd name="connsiteY523" fmla="*/ 346474 h 1002999"/>
                <a:gd name="connsiteX524" fmla="*/ 1116302 w 1357518"/>
                <a:gd name="connsiteY524" fmla="*/ 346492 h 1002999"/>
                <a:gd name="connsiteX525" fmla="*/ 1111432 w 1357518"/>
                <a:gd name="connsiteY525" fmla="*/ 349470 h 1002999"/>
                <a:gd name="connsiteX526" fmla="*/ 1110221 w 1357518"/>
                <a:gd name="connsiteY526" fmla="*/ 350621 h 1002999"/>
                <a:gd name="connsiteX527" fmla="*/ 1110280 w 1357518"/>
                <a:gd name="connsiteY527" fmla="*/ 351707 h 1002999"/>
                <a:gd name="connsiteX528" fmla="*/ 1113867 w 1357518"/>
                <a:gd name="connsiteY528" fmla="*/ 354274 h 1002999"/>
                <a:gd name="connsiteX529" fmla="*/ 1115323 w 1357518"/>
                <a:gd name="connsiteY529" fmla="*/ 354865 h 1002999"/>
                <a:gd name="connsiteX530" fmla="*/ 1117174 w 1357518"/>
                <a:gd name="connsiteY530" fmla="*/ 355360 h 1002999"/>
                <a:gd name="connsiteX531" fmla="*/ 1123613 w 1357518"/>
                <a:gd name="connsiteY531" fmla="*/ 355975 h 1002999"/>
                <a:gd name="connsiteX532" fmla="*/ 1126407 w 1357518"/>
                <a:gd name="connsiteY532" fmla="*/ 356647 h 1002999"/>
                <a:gd name="connsiteX533" fmla="*/ 1129043 w 1357518"/>
                <a:gd name="connsiteY533" fmla="*/ 364583 h 1002999"/>
                <a:gd name="connsiteX534" fmla="*/ 1133223 w 1357518"/>
                <a:gd name="connsiteY534" fmla="*/ 369467 h 1002999"/>
                <a:gd name="connsiteX535" fmla="*/ 1135011 w 1357518"/>
                <a:gd name="connsiteY535" fmla="*/ 370464 h 1002999"/>
                <a:gd name="connsiteX536" fmla="*/ 1136589 w 1357518"/>
                <a:gd name="connsiteY536" fmla="*/ 370822 h 1002999"/>
                <a:gd name="connsiteX537" fmla="*/ 1141706 w 1357518"/>
                <a:gd name="connsiteY537" fmla="*/ 370642 h 1002999"/>
                <a:gd name="connsiteX538" fmla="*/ 1148296 w 1357518"/>
                <a:gd name="connsiteY538" fmla="*/ 368997 h 1002999"/>
                <a:gd name="connsiteX539" fmla="*/ 1150599 w 1357518"/>
                <a:gd name="connsiteY539" fmla="*/ 370314 h 1002999"/>
                <a:gd name="connsiteX540" fmla="*/ 1155452 w 1357518"/>
                <a:gd name="connsiteY540" fmla="*/ 371924 h 1002999"/>
                <a:gd name="connsiteX541" fmla="*/ 1158291 w 1357518"/>
                <a:gd name="connsiteY541" fmla="*/ 372325 h 1002999"/>
                <a:gd name="connsiteX542" fmla="*/ 1161743 w 1357518"/>
                <a:gd name="connsiteY542" fmla="*/ 372261 h 1002999"/>
                <a:gd name="connsiteX543" fmla="*/ 1165628 w 1357518"/>
                <a:gd name="connsiteY543" fmla="*/ 372871 h 1002999"/>
                <a:gd name="connsiteX544" fmla="*/ 1170950 w 1357518"/>
                <a:gd name="connsiteY544" fmla="*/ 377351 h 1002999"/>
                <a:gd name="connsiteX545" fmla="*/ 1168854 w 1357518"/>
                <a:gd name="connsiteY545" fmla="*/ 382978 h 1002999"/>
                <a:gd name="connsiteX546" fmla="*/ 1172189 w 1357518"/>
                <a:gd name="connsiteY546" fmla="*/ 387474 h 1002999"/>
                <a:gd name="connsiteX547" fmla="*/ 1177515 w 1357518"/>
                <a:gd name="connsiteY547" fmla="*/ 392097 h 1002999"/>
                <a:gd name="connsiteX548" fmla="*/ 1178776 w 1357518"/>
                <a:gd name="connsiteY548" fmla="*/ 393785 h 1002999"/>
                <a:gd name="connsiteX549" fmla="*/ 1179291 w 1357518"/>
                <a:gd name="connsiteY549" fmla="*/ 396843 h 1002999"/>
                <a:gd name="connsiteX550" fmla="*/ 1179411 w 1357518"/>
                <a:gd name="connsiteY550" fmla="*/ 398858 h 1002999"/>
                <a:gd name="connsiteX551" fmla="*/ 1179811 w 1357518"/>
                <a:gd name="connsiteY551" fmla="*/ 400695 h 1002999"/>
                <a:gd name="connsiteX552" fmla="*/ 1180491 w 1357518"/>
                <a:gd name="connsiteY552" fmla="*/ 402353 h 1002999"/>
                <a:gd name="connsiteX553" fmla="*/ 1181197 w 1357518"/>
                <a:gd name="connsiteY553" fmla="*/ 405600 h 1002999"/>
                <a:gd name="connsiteX554" fmla="*/ 1181928 w 1357518"/>
                <a:gd name="connsiteY554" fmla="*/ 410428 h 1002999"/>
                <a:gd name="connsiteX555" fmla="*/ 1181732 w 1357518"/>
                <a:gd name="connsiteY555" fmla="*/ 414362 h 1002999"/>
                <a:gd name="connsiteX556" fmla="*/ 1180612 w 1357518"/>
                <a:gd name="connsiteY556" fmla="*/ 417405 h 1002999"/>
                <a:gd name="connsiteX557" fmla="*/ 1178392 w 1357518"/>
                <a:gd name="connsiteY557" fmla="*/ 419610 h 1002999"/>
                <a:gd name="connsiteX558" fmla="*/ 1175077 w 1357518"/>
                <a:gd name="connsiteY558" fmla="*/ 420980 h 1002999"/>
                <a:gd name="connsiteX559" fmla="*/ 1172375 w 1357518"/>
                <a:gd name="connsiteY559" fmla="*/ 420620 h 1002999"/>
                <a:gd name="connsiteX560" fmla="*/ 1170281 w 1357518"/>
                <a:gd name="connsiteY560" fmla="*/ 418529 h 1002999"/>
                <a:gd name="connsiteX561" fmla="*/ 1167332 w 1357518"/>
                <a:gd name="connsiteY561" fmla="*/ 416299 h 1002999"/>
                <a:gd name="connsiteX562" fmla="*/ 1163526 w 1357518"/>
                <a:gd name="connsiteY562" fmla="*/ 413927 h 1002999"/>
                <a:gd name="connsiteX563" fmla="*/ 1157195 w 1357518"/>
                <a:gd name="connsiteY563" fmla="*/ 413647 h 1002999"/>
                <a:gd name="connsiteX564" fmla="*/ 1147888 w 1357518"/>
                <a:gd name="connsiteY564" fmla="*/ 420644 h 1002999"/>
                <a:gd name="connsiteX565" fmla="*/ 1143732 w 1357518"/>
                <a:gd name="connsiteY565" fmla="*/ 420993 h 1002999"/>
                <a:gd name="connsiteX566" fmla="*/ 1140355 w 1357518"/>
                <a:gd name="connsiteY566" fmla="*/ 421689 h 1002999"/>
                <a:gd name="connsiteX567" fmla="*/ 1136753 w 1357518"/>
                <a:gd name="connsiteY567" fmla="*/ 424730 h 1002999"/>
                <a:gd name="connsiteX568" fmla="*/ 1131449 w 1357518"/>
                <a:gd name="connsiteY568" fmla="*/ 426561 h 1002999"/>
                <a:gd name="connsiteX569" fmla="*/ 1126767 w 1357518"/>
                <a:gd name="connsiteY569" fmla="*/ 425835 h 1002999"/>
                <a:gd name="connsiteX570" fmla="*/ 1118545 w 1357518"/>
                <a:gd name="connsiteY570" fmla="*/ 422295 h 1002999"/>
                <a:gd name="connsiteX571" fmla="*/ 1121533 w 1357518"/>
                <a:gd name="connsiteY571" fmla="*/ 424660 h 1002999"/>
                <a:gd name="connsiteX572" fmla="*/ 1125810 w 1357518"/>
                <a:gd name="connsiteY572" fmla="*/ 427425 h 1002999"/>
                <a:gd name="connsiteX573" fmla="*/ 1128472 w 1357518"/>
                <a:gd name="connsiteY573" fmla="*/ 428858 h 1002999"/>
                <a:gd name="connsiteX574" fmla="*/ 1130436 w 1357518"/>
                <a:gd name="connsiteY574" fmla="*/ 429169 h 1002999"/>
                <a:gd name="connsiteX575" fmla="*/ 1132591 w 1357518"/>
                <a:gd name="connsiteY575" fmla="*/ 428837 h 1002999"/>
                <a:gd name="connsiteX576" fmla="*/ 1135694 w 1357518"/>
                <a:gd name="connsiteY576" fmla="*/ 427705 h 1002999"/>
                <a:gd name="connsiteX577" fmla="*/ 1142698 w 1357518"/>
                <a:gd name="connsiteY577" fmla="*/ 424563 h 1002999"/>
                <a:gd name="connsiteX578" fmla="*/ 1144553 w 1357518"/>
                <a:gd name="connsiteY578" fmla="*/ 424083 h 1002999"/>
                <a:gd name="connsiteX579" fmla="*/ 1146121 w 1357518"/>
                <a:gd name="connsiteY579" fmla="*/ 424306 h 1002999"/>
                <a:gd name="connsiteX580" fmla="*/ 1147403 w 1357518"/>
                <a:gd name="connsiteY580" fmla="*/ 425233 h 1002999"/>
                <a:gd name="connsiteX581" fmla="*/ 1148878 w 1357518"/>
                <a:gd name="connsiteY581" fmla="*/ 427926 h 1002999"/>
                <a:gd name="connsiteX582" fmla="*/ 1150545 w 1357518"/>
                <a:gd name="connsiteY582" fmla="*/ 432379 h 1002999"/>
                <a:gd name="connsiteX583" fmla="*/ 1150333 w 1357518"/>
                <a:gd name="connsiteY583" fmla="*/ 436159 h 1002999"/>
                <a:gd name="connsiteX584" fmla="*/ 1148239 w 1357518"/>
                <a:gd name="connsiteY584" fmla="*/ 439270 h 1002999"/>
                <a:gd name="connsiteX585" fmla="*/ 1146448 w 1357518"/>
                <a:gd name="connsiteY585" fmla="*/ 441263 h 1002999"/>
                <a:gd name="connsiteX586" fmla="*/ 1144960 w 1357518"/>
                <a:gd name="connsiteY586" fmla="*/ 442139 h 1002999"/>
                <a:gd name="connsiteX587" fmla="*/ 1144956 w 1357518"/>
                <a:gd name="connsiteY587" fmla="*/ 442829 h 1002999"/>
                <a:gd name="connsiteX588" fmla="*/ 1148868 w 1357518"/>
                <a:gd name="connsiteY588" fmla="*/ 443627 h 1002999"/>
                <a:gd name="connsiteX589" fmla="*/ 1154405 w 1357518"/>
                <a:gd name="connsiteY589" fmla="*/ 439577 h 1002999"/>
                <a:gd name="connsiteX590" fmla="*/ 1156161 w 1357518"/>
                <a:gd name="connsiteY590" fmla="*/ 434531 h 1002999"/>
                <a:gd name="connsiteX591" fmla="*/ 1158696 w 1357518"/>
                <a:gd name="connsiteY591" fmla="*/ 428694 h 1002999"/>
                <a:gd name="connsiteX592" fmla="*/ 1163181 w 1357518"/>
                <a:gd name="connsiteY592" fmla="*/ 426746 h 1002999"/>
                <a:gd name="connsiteX593" fmla="*/ 1168252 w 1357518"/>
                <a:gd name="connsiteY593" fmla="*/ 428694 h 1002999"/>
                <a:gd name="connsiteX594" fmla="*/ 1172348 w 1357518"/>
                <a:gd name="connsiteY594" fmla="*/ 434144 h 1002999"/>
                <a:gd name="connsiteX595" fmla="*/ 1178139 w 1357518"/>
                <a:gd name="connsiteY595" fmla="*/ 444126 h 1002999"/>
                <a:gd name="connsiteX596" fmla="*/ 1180582 w 1357518"/>
                <a:gd name="connsiteY596" fmla="*/ 445161 h 1002999"/>
                <a:gd name="connsiteX597" fmla="*/ 1183685 w 1357518"/>
                <a:gd name="connsiteY597" fmla="*/ 447549 h 1002999"/>
                <a:gd name="connsiteX598" fmla="*/ 1185053 w 1357518"/>
                <a:gd name="connsiteY598" fmla="*/ 450473 h 1002999"/>
                <a:gd name="connsiteX599" fmla="*/ 1184688 w 1357518"/>
                <a:gd name="connsiteY599" fmla="*/ 453933 h 1002999"/>
                <a:gd name="connsiteX600" fmla="*/ 1184026 w 1357518"/>
                <a:gd name="connsiteY600" fmla="*/ 456441 h 1002999"/>
                <a:gd name="connsiteX601" fmla="*/ 1183067 w 1357518"/>
                <a:gd name="connsiteY601" fmla="*/ 458001 h 1002999"/>
                <a:gd name="connsiteX602" fmla="*/ 1181868 w 1357518"/>
                <a:gd name="connsiteY602" fmla="*/ 458990 h 1002999"/>
                <a:gd name="connsiteX603" fmla="*/ 1179710 w 1357518"/>
                <a:gd name="connsiteY603" fmla="*/ 459622 h 1002999"/>
                <a:gd name="connsiteX604" fmla="*/ 1175741 w 1357518"/>
                <a:gd name="connsiteY604" fmla="*/ 460123 h 1002999"/>
                <a:gd name="connsiteX605" fmla="*/ 1166867 w 1357518"/>
                <a:gd name="connsiteY605" fmla="*/ 459066 h 1002999"/>
                <a:gd name="connsiteX606" fmla="*/ 1162248 w 1357518"/>
                <a:gd name="connsiteY606" fmla="*/ 459043 h 1002999"/>
                <a:gd name="connsiteX607" fmla="*/ 1162821 w 1357518"/>
                <a:gd name="connsiteY607" fmla="*/ 462438 h 1002999"/>
                <a:gd name="connsiteX608" fmla="*/ 1153477 w 1357518"/>
                <a:gd name="connsiteY608" fmla="*/ 465356 h 1002999"/>
                <a:gd name="connsiteX609" fmla="*/ 1142944 w 1357518"/>
                <a:gd name="connsiteY609" fmla="*/ 466502 h 1002999"/>
                <a:gd name="connsiteX610" fmla="*/ 1132969 w 1357518"/>
                <a:gd name="connsiteY610" fmla="*/ 464224 h 1002999"/>
                <a:gd name="connsiteX611" fmla="*/ 1124691 w 1357518"/>
                <a:gd name="connsiteY611" fmla="*/ 460717 h 1002999"/>
                <a:gd name="connsiteX612" fmla="*/ 1127409 w 1357518"/>
                <a:gd name="connsiteY612" fmla="*/ 455803 h 1002999"/>
                <a:gd name="connsiteX613" fmla="*/ 1128958 w 1357518"/>
                <a:gd name="connsiteY613" fmla="*/ 450330 h 1002999"/>
                <a:gd name="connsiteX614" fmla="*/ 1124957 w 1357518"/>
                <a:gd name="connsiteY614" fmla="*/ 446703 h 1002999"/>
                <a:gd name="connsiteX615" fmla="*/ 1124079 w 1357518"/>
                <a:gd name="connsiteY615" fmla="*/ 446626 h 1002999"/>
                <a:gd name="connsiteX616" fmla="*/ 1125460 w 1357518"/>
                <a:gd name="connsiteY616" fmla="*/ 452231 h 1002999"/>
                <a:gd name="connsiteX617" fmla="*/ 1124298 w 1357518"/>
                <a:gd name="connsiteY617" fmla="*/ 454376 h 1002999"/>
                <a:gd name="connsiteX618" fmla="*/ 1119776 w 1357518"/>
                <a:gd name="connsiteY618" fmla="*/ 456983 h 1002999"/>
                <a:gd name="connsiteX619" fmla="*/ 1116584 w 1357518"/>
                <a:gd name="connsiteY619" fmla="*/ 458185 h 1002999"/>
                <a:gd name="connsiteX620" fmla="*/ 1116302 w 1357518"/>
                <a:gd name="connsiteY620" fmla="*/ 458888 h 1002999"/>
                <a:gd name="connsiteX621" fmla="*/ 1117868 w 1357518"/>
                <a:gd name="connsiteY621" fmla="*/ 459495 h 1002999"/>
                <a:gd name="connsiteX622" fmla="*/ 1118889 w 1357518"/>
                <a:gd name="connsiteY622" fmla="*/ 460664 h 1002999"/>
                <a:gd name="connsiteX623" fmla="*/ 1119368 w 1357518"/>
                <a:gd name="connsiteY623" fmla="*/ 462392 h 1002999"/>
                <a:gd name="connsiteX624" fmla="*/ 1118830 w 1357518"/>
                <a:gd name="connsiteY624" fmla="*/ 464135 h 1002999"/>
                <a:gd name="connsiteX625" fmla="*/ 1117269 w 1357518"/>
                <a:gd name="connsiteY625" fmla="*/ 465891 h 1002999"/>
                <a:gd name="connsiteX626" fmla="*/ 1116421 w 1357518"/>
                <a:gd name="connsiteY626" fmla="*/ 467364 h 1002999"/>
                <a:gd name="connsiteX627" fmla="*/ 1116281 w 1357518"/>
                <a:gd name="connsiteY627" fmla="*/ 468555 h 1002999"/>
                <a:gd name="connsiteX628" fmla="*/ 1117712 w 1357518"/>
                <a:gd name="connsiteY628" fmla="*/ 470006 h 1002999"/>
                <a:gd name="connsiteX629" fmla="*/ 1120714 w 1357518"/>
                <a:gd name="connsiteY629" fmla="*/ 471708 h 1002999"/>
                <a:gd name="connsiteX630" fmla="*/ 1123967 w 1357518"/>
                <a:gd name="connsiteY630" fmla="*/ 472549 h 1002999"/>
                <a:gd name="connsiteX631" fmla="*/ 1139211 w 1357518"/>
                <a:gd name="connsiteY631" fmla="*/ 472918 h 1002999"/>
                <a:gd name="connsiteX632" fmla="*/ 1145316 w 1357518"/>
                <a:gd name="connsiteY632" fmla="*/ 473831 h 1002999"/>
                <a:gd name="connsiteX633" fmla="*/ 1159797 w 1357518"/>
                <a:gd name="connsiteY633" fmla="*/ 477839 h 1002999"/>
                <a:gd name="connsiteX634" fmla="*/ 1160445 w 1357518"/>
                <a:gd name="connsiteY634" fmla="*/ 479067 h 1002999"/>
                <a:gd name="connsiteX635" fmla="*/ 1157992 w 1357518"/>
                <a:gd name="connsiteY635" fmla="*/ 486220 h 1002999"/>
                <a:gd name="connsiteX636" fmla="*/ 1156649 w 1357518"/>
                <a:gd name="connsiteY636" fmla="*/ 493067 h 1002999"/>
                <a:gd name="connsiteX637" fmla="*/ 1153839 w 1357518"/>
                <a:gd name="connsiteY637" fmla="*/ 494317 h 1002999"/>
                <a:gd name="connsiteX638" fmla="*/ 1138601 w 1357518"/>
                <a:gd name="connsiteY638" fmla="*/ 494613 h 1002999"/>
                <a:gd name="connsiteX639" fmla="*/ 1133689 w 1357518"/>
                <a:gd name="connsiteY639" fmla="*/ 495677 h 1002999"/>
                <a:gd name="connsiteX640" fmla="*/ 1126506 w 1357518"/>
                <a:gd name="connsiteY640" fmla="*/ 498810 h 1002999"/>
                <a:gd name="connsiteX641" fmla="*/ 1119602 w 1357518"/>
                <a:gd name="connsiteY641" fmla="*/ 502561 h 1002999"/>
                <a:gd name="connsiteX642" fmla="*/ 1116024 w 1357518"/>
                <a:gd name="connsiteY642" fmla="*/ 502587 h 1002999"/>
                <a:gd name="connsiteX643" fmla="*/ 1101859 w 1357518"/>
                <a:gd name="connsiteY643" fmla="*/ 499315 h 1002999"/>
                <a:gd name="connsiteX644" fmla="*/ 1096426 w 1357518"/>
                <a:gd name="connsiteY644" fmla="*/ 497125 h 1002999"/>
                <a:gd name="connsiteX645" fmla="*/ 1084764 w 1357518"/>
                <a:gd name="connsiteY645" fmla="*/ 490922 h 1002999"/>
                <a:gd name="connsiteX646" fmla="*/ 1075983 w 1357518"/>
                <a:gd name="connsiteY646" fmla="*/ 481441 h 1002999"/>
                <a:gd name="connsiteX647" fmla="*/ 1071955 w 1357518"/>
                <a:gd name="connsiteY647" fmla="*/ 485389 h 1002999"/>
                <a:gd name="connsiteX648" fmla="*/ 1069492 w 1357518"/>
                <a:gd name="connsiteY648" fmla="*/ 487270 h 1002999"/>
                <a:gd name="connsiteX649" fmla="*/ 1066948 w 1357518"/>
                <a:gd name="connsiteY649" fmla="*/ 488244 h 1002999"/>
                <a:gd name="connsiteX650" fmla="*/ 1064495 w 1357518"/>
                <a:gd name="connsiteY650" fmla="*/ 488396 h 1002999"/>
                <a:gd name="connsiteX651" fmla="*/ 1062130 w 1357518"/>
                <a:gd name="connsiteY651" fmla="*/ 487723 h 1002999"/>
                <a:gd name="connsiteX652" fmla="*/ 1059449 w 1357518"/>
                <a:gd name="connsiteY652" fmla="*/ 486230 h 1002999"/>
                <a:gd name="connsiteX653" fmla="*/ 1054952 w 1357518"/>
                <a:gd name="connsiteY653" fmla="*/ 482762 h 1002999"/>
                <a:gd name="connsiteX654" fmla="*/ 1049586 w 1357518"/>
                <a:gd name="connsiteY654" fmla="*/ 479328 h 1002999"/>
                <a:gd name="connsiteX655" fmla="*/ 1045831 w 1357518"/>
                <a:gd name="connsiteY655" fmla="*/ 477694 h 1002999"/>
                <a:gd name="connsiteX656" fmla="*/ 1045689 w 1357518"/>
                <a:gd name="connsiteY656" fmla="*/ 478158 h 1002999"/>
                <a:gd name="connsiteX657" fmla="*/ 1047907 w 1357518"/>
                <a:gd name="connsiteY657" fmla="*/ 480180 h 1002999"/>
                <a:gd name="connsiteX658" fmla="*/ 1051155 w 1357518"/>
                <a:gd name="connsiteY658" fmla="*/ 482508 h 1002999"/>
                <a:gd name="connsiteX659" fmla="*/ 1059373 w 1357518"/>
                <a:gd name="connsiteY659" fmla="*/ 489338 h 1002999"/>
                <a:gd name="connsiteX660" fmla="*/ 1062260 w 1357518"/>
                <a:gd name="connsiteY660" fmla="*/ 491060 h 1002999"/>
                <a:gd name="connsiteX661" fmla="*/ 1061974 w 1357518"/>
                <a:gd name="connsiteY661" fmla="*/ 492282 h 1002999"/>
                <a:gd name="connsiteX662" fmla="*/ 1056786 w 1357518"/>
                <a:gd name="connsiteY662" fmla="*/ 493370 h 1002999"/>
                <a:gd name="connsiteX663" fmla="*/ 1050487 w 1357518"/>
                <a:gd name="connsiteY663" fmla="*/ 495706 h 1002999"/>
                <a:gd name="connsiteX664" fmla="*/ 1047406 w 1357518"/>
                <a:gd name="connsiteY664" fmla="*/ 497424 h 1002999"/>
                <a:gd name="connsiteX665" fmla="*/ 1042644 w 1357518"/>
                <a:gd name="connsiteY665" fmla="*/ 501586 h 1002999"/>
                <a:gd name="connsiteX666" fmla="*/ 1040991 w 1357518"/>
                <a:gd name="connsiteY666" fmla="*/ 502231 h 1002999"/>
                <a:gd name="connsiteX667" fmla="*/ 1033868 w 1357518"/>
                <a:gd name="connsiteY667" fmla="*/ 503276 h 1002999"/>
                <a:gd name="connsiteX668" fmla="*/ 1031519 w 1357518"/>
                <a:gd name="connsiteY668" fmla="*/ 503021 h 1002999"/>
                <a:gd name="connsiteX669" fmla="*/ 1026252 w 1357518"/>
                <a:gd name="connsiteY669" fmla="*/ 500731 h 1002999"/>
                <a:gd name="connsiteX670" fmla="*/ 1018320 w 1357518"/>
                <a:gd name="connsiteY670" fmla="*/ 499232 h 1002999"/>
                <a:gd name="connsiteX671" fmla="*/ 1013649 w 1357518"/>
                <a:gd name="connsiteY671" fmla="*/ 497898 h 1002999"/>
                <a:gd name="connsiteX672" fmla="*/ 1007155 w 1357518"/>
                <a:gd name="connsiteY672" fmla="*/ 495481 h 1002999"/>
                <a:gd name="connsiteX673" fmla="*/ 1009389 w 1357518"/>
                <a:gd name="connsiteY673" fmla="*/ 498127 h 1002999"/>
                <a:gd name="connsiteX674" fmla="*/ 1021899 w 1357518"/>
                <a:gd name="connsiteY674" fmla="*/ 502152 h 1002999"/>
                <a:gd name="connsiteX675" fmla="*/ 1023265 w 1357518"/>
                <a:gd name="connsiteY675" fmla="*/ 503447 h 1002999"/>
                <a:gd name="connsiteX676" fmla="*/ 1020705 w 1357518"/>
                <a:gd name="connsiteY676" fmla="*/ 505858 h 1002999"/>
                <a:gd name="connsiteX677" fmla="*/ 1019135 w 1357518"/>
                <a:gd name="connsiteY677" fmla="*/ 506738 h 1002999"/>
                <a:gd name="connsiteX678" fmla="*/ 1016156 w 1357518"/>
                <a:gd name="connsiteY678" fmla="*/ 506924 h 1002999"/>
                <a:gd name="connsiteX679" fmla="*/ 1011766 w 1357518"/>
                <a:gd name="connsiteY679" fmla="*/ 506419 h 1002999"/>
                <a:gd name="connsiteX680" fmla="*/ 1007277 w 1357518"/>
                <a:gd name="connsiteY680" fmla="*/ 506522 h 1002999"/>
                <a:gd name="connsiteX681" fmla="*/ 1002689 w 1357518"/>
                <a:gd name="connsiteY681" fmla="*/ 507228 h 1002999"/>
                <a:gd name="connsiteX682" fmla="*/ 1000715 w 1357518"/>
                <a:gd name="connsiteY682" fmla="*/ 508131 h 1002999"/>
                <a:gd name="connsiteX683" fmla="*/ 1001358 w 1357518"/>
                <a:gd name="connsiteY683" fmla="*/ 509229 h 1002999"/>
                <a:gd name="connsiteX684" fmla="*/ 1002451 w 1357518"/>
                <a:gd name="connsiteY684" fmla="*/ 510228 h 1002999"/>
                <a:gd name="connsiteX685" fmla="*/ 1003994 w 1357518"/>
                <a:gd name="connsiteY685" fmla="*/ 511128 h 1002999"/>
                <a:gd name="connsiteX686" fmla="*/ 1005438 w 1357518"/>
                <a:gd name="connsiteY686" fmla="*/ 511120 h 1002999"/>
                <a:gd name="connsiteX687" fmla="*/ 1008935 w 1357518"/>
                <a:gd name="connsiteY687" fmla="*/ 508388 h 1002999"/>
                <a:gd name="connsiteX688" fmla="*/ 1011586 w 1357518"/>
                <a:gd name="connsiteY688" fmla="*/ 508194 h 1002999"/>
                <a:gd name="connsiteX689" fmla="*/ 1018591 w 1357518"/>
                <a:gd name="connsiteY689" fmla="*/ 508867 h 1002999"/>
                <a:gd name="connsiteX690" fmla="*/ 1025675 w 1357518"/>
                <a:gd name="connsiteY690" fmla="*/ 506733 h 1002999"/>
                <a:gd name="connsiteX691" fmla="*/ 1030779 w 1357518"/>
                <a:gd name="connsiteY691" fmla="*/ 505813 h 1002999"/>
                <a:gd name="connsiteX692" fmla="*/ 1034610 w 1357518"/>
                <a:gd name="connsiteY692" fmla="*/ 505577 h 1002999"/>
                <a:gd name="connsiteX693" fmla="*/ 1048535 w 1357518"/>
                <a:gd name="connsiteY693" fmla="*/ 502310 h 1002999"/>
                <a:gd name="connsiteX694" fmla="*/ 1051425 w 1357518"/>
                <a:gd name="connsiteY694" fmla="*/ 498646 h 1002999"/>
                <a:gd name="connsiteX695" fmla="*/ 1056097 w 1357518"/>
                <a:gd name="connsiteY695" fmla="*/ 497177 h 1002999"/>
                <a:gd name="connsiteX696" fmla="*/ 1066486 w 1357518"/>
                <a:gd name="connsiteY696" fmla="*/ 496049 h 1002999"/>
                <a:gd name="connsiteX697" fmla="*/ 1076537 w 1357518"/>
                <a:gd name="connsiteY697" fmla="*/ 496628 h 1002999"/>
                <a:gd name="connsiteX698" fmla="*/ 1081704 w 1357518"/>
                <a:gd name="connsiteY698" fmla="*/ 497100 h 1002999"/>
                <a:gd name="connsiteX699" fmla="*/ 1085891 w 1357518"/>
                <a:gd name="connsiteY699" fmla="*/ 500567 h 1002999"/>
                <a:gd name="connsiteX700" fmla="*/ 1091504 w 1357518"/>
                <a:gd name="connsiteY700" fmla="*/ 503019 h 1002999"/>
                <a:gd name="connsiteX701" fmla="*/ 1096185 w 1357518"/>
                <a:gd name="connsiteY701" fmla="*/ 505811 h 1002999"/>
                <a:gd name="connsiteX702" fmla="*/ 1101670 w 1357518"/>
                <a:gd name="connsiteY702" fmla="*/ 506729 h 1002999"/>
                <a:gd name="connsiteX703" fmla="*/ 1104849 w 1357518"/>
                <a:gd name="connsiteY703" fmla="*/ 510437 h 1002999"/>
                <a:gd name="connsiteX704" fmla="*/ 1113740 w 1357518"/>
                <a:gd name="connsiteY704" fmla="*/ 514571 h 1002999"/>
                <a:gd name="connsiteX705" fmla="*/ 1119400 w 1357518"/>
                <a:gd name="connsiteY705" fmla="*/ 515459 h 1002999"/>
                <a:gd name="connsiteX706" fmla="*/ 1122891 w 1357518"/>
                <a:gd name="connsiteY706" fmla="*/ 517422 h 1002999"/>
                <a:gd name="connsiteX707" fmla="*/ 1123175 w 1357518"/>
                <a:gd name="connsiteY707" fmla="*/ 525729 h 1002999"/>
                <a:gd name="connsiteX708" fmla="*/ 1123546 w 1357518"/>
                <a:gd name="connsiteY708" fmla="*/ 529305 h 1002999"/>
                <a:gd name="connsiteX709" fmla="*/ 1122041 w 1357518"/>
                <a:gd name="connsiteY709" fmla="*/ 539166 h 1002999"/>
                <a:gd name="connsiteX710" fmla="*/ 1117498 w 1357518"/>
                <a:gd name="connsiteY710" fmla="*/ 541432 h 1002999"/>
                <a:gd name="connsiteX711" fmla="*/ 1118404 w 1357518"/>
                <a:gd name="connsiteY711" fmla="*/ 546602 h 1002999"/>
                <a:gd name="connsiteX712" fmla="*/ 1117211 w 1357518"/>
                <a:gd name="connsiteY712" fmla="*/ 550774 h 1002999"/>
                <a:gd name="connsiteX713" fmla="*/ 1112693 w 1357518"/>
                <a:gd name="connsiteY713" fmla="*/ 549192 h 1002999"/>
                <a:gd name="connsiteX714" fmla="*/ 1108065 w 1357518"/>
                <a:gd name="connsiteY714" fmla="*/ 546450 h 1002999"/>
                <a:gd name="connsiteX715" fmla="*/ 1096983 w 1357518"/>
                <a:gd name="connsiteY715" fmla="*/ 542189 h 1002999"/>
                <a:gd name="connsiteX716" fmla="*/ 1086671 w 1357518"/>
                <a:gd name="connsiteY716" fmla="*/ 539443 h 1002999"/>
                <a:gd name="connsiteX717" fmla="*/ 1082664 w 1357518"/>
                <a:gd name="connsiteY717" fmla="*/ 536949 h 1002999"/>
                <a:gd name="connsiteX718" fmla="*/ 1077944 w 1357518"/>
                <a:gd name="connsiteY718" fmla="*/ 535018 h 1002999"/>
                <a:gd name="connsiteX719" fmla="*/ 1071541 w 1357518"/>
                <a:gd name="connsiteY719" fmla="*/ 527133 h 1002999"/>
                <a:gd name="connsiteX720" fmla="*/ 1067370 w 1357518"/>
                <a:gd name="connsiteY720" fmla="*/ 517284 h 1002999"/>
                <a:gd name="connsiteX721" fmla="*/ 1065540 w 1357518"/>
                <a:gd name="connsiteY721" fmla="*/ 512395 h 1002999"/>
                <a:gd name="connsiteX722" fmla="*/ 1062033 w 1357518"/>
                <a:gd name="connsiteY722" fmla="*/ 512120 h 1002999"/>
                <a:gd name="connsiteX723" fmla="*/ 1057524 w 1357518"/>
                <a:gd name="connsiteY723" fmla="*/ 513432 h 1002999"/>
                <a:gd name="connsiteX724" fmla="*/ 1053587 w 1357518"/>
                <a:gd name="connsiteY724" fmla="*/ 514817 h 1002999"/>
                <a:gd name="connsiteX725" fmla="*/ 1051701 w 1357518"/>
                <a:gd name="connsiteY725" fmla="*/ 517184 h 1002999"/>
                <a:gd name="connsiteX726" fmla="*/ 1038323 w 1357518"/>
                <a:gd name="connsiteY726" fmla="*/ 520435 h 1002999"/>
                <a:gd name="connsiteX727" fmla="*/ 1033467 w 1357518"/>
                <a:gd name="connsiteY727" fmla="*/ 522658 h 1002999"/>
                <a:gd name="connsiteX728" fmla="*/ 1030696 w 1357518"/>
                <a:gd name="connsiteY728" fmla="*/ 522592 h 1002999"/>
                <a:gd name="connsiteX729" fmla="*/ 1020705 w 1357518"/>
                <a:gd name="connsiteY729" fmla="*/ 525938 h 1002999"/>
                <a:gd name="connsiteX730" fmla="*/ 1024708 w 1357518"/>
                <a:gd name="connsiteY730" fmla="*/ 527538 h 1002999"/>
                <a:gd name="connsiteX731" fmla="*/ 1026576 w 1357518"/>
                <a:gd name="connsiteY731" fmla="*/ 527741 h 1002999"/>
                <a:gd name="connsiteX732" fmla="*/ 1030614 w 1357518"/>
                <a:gd name="connsiteY732" fmla="*/ 526837 h 1002999"/>
                <a:gd name="connsiteX733" fmla="*/ 1033039 w 1357518"/>
                <a:gd name="connsiteY733" fmla="*/ 525682 h 1002999"/>
                <a:gd name="connsiteX734" fmla="*/ 1042145 w 1357518"/>
                <a:gd name="connsiteY734" fmla="*/ 522516 h 1002999"/>
                <a:gd name="connsiteX735" fmla="*/ 1049455 w 1357518"/>
                <a:gd name="connsiteY735" fmla="*/ 521974 h 1002999"/>
                <a:gd name="connsiteX736" fmla="*/ 1052106 w 1357518"/>
                <a:gd name="connsiteY736" fmla="*/ 520607 h 1002999"/>
                <a:gd name="connsiteX737" fmla="*/ 1057694 w 1357518"/>
                <a:gd name="connsiteY737" fmla="*/ 518654 h 1002999"/>
                <a:gd name="connsiteX738" fmla="*/ 1061486 w 1357518"/>
                <a:gd name="connsiteY738" fmla="*/ 518136 h 1002999"/>
                <a:gd name="connsiteX739" fmla="*/ 1062014 w 1357518"/>
                <a:gd name="connsiteY739" fmla="*/ 518631 h 1002999"/>
                <a:gd name="connsiteX740" fmla="*/ 1062421 w 1357518"/>
                <a:gd name="connsiteY740" fmla="*/ 519519 h 1002999"/>
                <a:gd name="connsiteX741" fmla="*/ 1065098 w 1357518"/>
                <a:gd name="connsiteY741" fmla="*/ 531519 h 1002999"/>
                <a:gd name="connsiteX742" fmla="*/ 1063977 w 1357518"/>
                <a:gd name="connsiteY742" fmla="*/ 534701 h 1002999"/>
                <a:gd name="connsiteX743" fmla="*/ 1060964 w 1357518"/>
                <a:gd name="connsiteY743" fmla="*/ 536077 h 1002999"/>
                <a:gd name="connsiteX744" fmla="*/ 1054527 w 1357518"/>
                <a:gd name="connsiteY744" fmla="*/ 538334 h 1002999"/>
                <a:gd name="connsiteX745" fmla="*/ 1052854 w 1357518"/>
                <a:gd name="connsiteY745" fmla="*/ 539426 h 1002999"/>
                <a:gd name="connsiteX746" fmla="*/ 1054752 w 1357518"/>
                <a:gd name="connsiteY746" fmla="*/ 541340 h 1002999"/>
                <a:gd name="connsiteX747" fmla="*/ 1060804 w 1357518"/>
                <a:gd name="connsiteY747" fmla="*/ 539536 h 1002999"/>
                <a:gd name="connsiteX748" fmla="*/ 1064725 w 1357518"/>
                <a:gd name="connsiteY748" fmla="*/ 537578 h 1002999"/>
                <a:gd name="connsiteX749" fmla="*/ 1066814 w 1357518"/>
                <a:gd name="connsiteY749" fmla="*/ 538292 h 1002999"/>
                <a:gd name="connsiteX750" fmla="*/ 1070245 w 1357518"/>
                <a:gd name="connsiteY750" fmla="*/ 541287 h 1002999"/>
                <a:gd name="connsiteX751" fmla="*/ 1074113 w 1357518"/>
                <a:gd name="connsiteY751" fmla="*/ 542822 h 1002999"/>
                <a:gd name="connsiteX752" fmla="*/ 1083944 w 1357518"/>
                <a:gd name="connsiteY752" fmla="*/ 547412 h 1002999"/>
                <a:gd name="connsiteX753" fmla="*/ 1088600 w 1357518"/>
                <a:gd name="connsiteY753" fmla="*/ 549936 h 1002999"/>
                <a:gd name="connsiteX754" fmla="*/ 1095150 w 1357518"/>
                <a:gd name="connsiteY754" fmla="*/ 552368 h 1002999"/>
                <a:gd name="connsiteX755" fmla="*/ 1102561 w 1357518"/>
                <a:gd name="connsiteY755" fmla="*/ 555738 h 1002999"/>
                <a:gd name="connsiteX756" fmla="*/ 1104490 w 1357518"/>
                <a:gd name="connsiteY756" fmla="*/ 556924 h 1002999"/>
                <a:gd name="connsiteX757" fmla="*/ 1111264 w 1357518"/>
                <a:gd name="connsiteY757" fmla="*/ 558671 h 1002999"/>
                <a:gd name="connsiteX758" fmla="*/ 1112707 w 1357518"/>
                <a:gd name="connsiteY758" fmla="*/ 559267 h 1002999"/>
                <a:gd name="connsiteX759" fmla="*/ 1115508 w 1357518"/>
                <a:gd name="connsiteY759" fmla="*/ 565189 h 1002999"/>
                <a:gd name="connsiteX760" fmla="*/ 1117846 w 1357518"/>
                <a:gd name="connsiteY760" fmla="*/ 565846 h 1002999"/>
                <a:gd name="connsiteX761" fmla="*/ 1124587 w 1357518"/>
                <a:gd name="connsiteY761" fmla="*/ 566221 h 1002999"/>
                <a:gd name="connsiteX762" fmla="*/ 1123400 w 1357518"/>
                <a:gd name="connsiteY762" fmla="*/ 568511 h 1002999"/>
                <a:gd name="connsiteX763" fmla="*/ 1116817 w 1357518"/>
                <a:gd name="connsiteY763" fmla="*/ 573598 h 1002999"/>
                <a:gd name="connsiteX764" fmla="*/ 1113413 w 1357518"/>
                <a:gd name="connsiteY764" fmla="*/ 575218 h 1002999"/>
                <a:gd name="connsiteX765" fmla="*/ 1112567 w 1357518"/>
                <a:gd name="connsiteY765" fmla="*/ 576217 h 1002999"/>
                <a:gd name="connsiteX766" fmla="*/ 1112891 w 1357518"/>
                <a:gd name="connsiteY766" fmla="*/ 578002 h 1002999"/>
                <a:gd name="connsiteX767" fmla="*/ 1113089 w 1357518"/>
                <a:gd name="connsiteY767" fmla="*/ 580987 h 1002999"/>
                <a:gd name="connsiteX768" fmla="*/ 1114461 w 1357518"/>
                <a:gd name="connsiteY768" fmla="*/ 586466 h 1002999"/>
                <a:gd name="connsiteX769" fmla="*/ 1116005 w 1357518"/>
                <a:gd name="connsiteY769" fmla="*/ 581392 h 1002999"/>
                <a:gd name="connsiteX770" fmla="*/ 1117082 w 1357518"/>
                <a:gd name="connsiteY770" fmla="*/ 578995 h 1002999"/>
                <a:gd name="connsiteX771" fmla="*/ 1118525 w 1357518"/>
                <a:gd name="connsiteY771" fmla="*/ 578277 h 1002999"/>
                <a:gd name="connsiteX772" fmla="*/ 1119945 w 1357518"/>
                <a:gd name="connsiteY772" fmla="*/ 578171 h 1002999"/>
                <a:gd name="connsiteX773" fmla="*/ 1124547 w 1357518"/>
                <a:gd name="connsiteY773" fmla="*/ 575900 h 1002999"/>
                <a:gd name="connsiteX774" fmla="*/ 1129173 w 1357518"/>
                <a:gd name="connsiteY774" fmla="*/ 577120 h 1002999"/>
                <a:gd name="connsiteX775" fmla="*/ 1130373 w 1357518"/>
                <a:gd name="connsiteY775" fmla="*/ 582858 h 1002999"/>
                <a:gd name="connsiteX776" fmla="*/ 1130965 w 1357518"/>
                <a:gd name="connsiteY776" fmla="*/ 588199 h 1002999"/>
                <a:gd name="connsiteX777" fmla="*/ 1130557 w 1357518"/>
                <a:gd name="connsiteY777" fmla="*/ 592800 h 1002999"/>
                <a:gd name="connsiteX778" fmla="*/ 1131067 w 1357518"/>
                <a:gd name="connsiteY778" fmla="*/ 599929 h 1002999"/>
                <a:gd name="connsiteX779" fmla="*/ 1130892 w 1357518"/>
                <a:gd name="connsiteY779" fmla="*/ 602329 h 1002999"/>
                <a:gd name="connsiteX780" fmla="*/ 1131983 w 1357518"/>
                <a:gd name="connsiteY780" fmla="*/ 604407 h 1002999"/>
                <a:gd name="connsiteX781" fmla="*/ 1133116 w 1357518"/>
                <a:gd name="connsiteY781" fmla="*/ 613001 h 1002999"/>
                <a:gd name="connsiteX782" fmla="*/ 1134250 w 1357518"/>
                <a:gd name="connsiteY782" fmla="*/ 615571 h 1002999"/>
                <a:gd name="connsiteX783" fmla="*/ 1131975 w 1357518"/>
                <a:gd name="connsiteY783" fmla="*/ 617876 h 1002999"/>
                <a:gd name="connsiteX784" fmla="*/ 1124944 w 1357518"/>
                <a:gd name="connsiteY784" fmla="*/ 618877 h 1002999"/>
                <a:gd name="connsiteX785" fmla="*/ 1122162 w 1357518"/>
                <a:gd name="connsiteY785" fmla="*/ 617743 h 1002999"/>
                <a:gd name="connsiteX786" fmla="*/ 1115201 w 1357518"/>
                <a:gd name="connsiteY786" fmla="*/ 618121 h 1002999"/>
                <a:gd name="connsiteX787" fmla="*/ 1115192 w 1357518"/>
                <a:gd name="connsiteY787" fmla="*/ 616094 h 1002999"/>
                <a:gd name="connsiteX788" fmla="*/ 1114853 w 1357518"/>
                <a:gd name="connsiteY788" fmla="*/ 613769 h 1002999"/>
                <a:gd name="connsiteX789" fmla="*/ 1114825 w 1357518"/>
                <a:gd name="connsiteY789" fmla="*/ 612142 h 1002999"/>
                <a:gd name="connsiteX790" fmla="*/ 1114360 w 1357518"/>
                <a:gd name="connsiteY790" fmla="*/ 610669 h 1002999"/>
                <a:gd name="connsiteX791" fmla="*/ 1114031 w 1357518"/>
                <a:gd name="connsiteY791" fmla="*/ 602180 h 1002999"/>
                <a:gd name="connsiteX792" fmla="*/ 1112062 w 1357518"/>
                <a:gd name="connsiteY792" fmla="*/ 604280 h 1002999"/>
                <a:gd name="connsiteX793" fmla="*/ 1111945 w 1357518"/>
                <a:gd name="connsiteY793" fmla="*/ 606001 h 1002999"/>
                <a:gd name="connsiteX794" fmla="*/ 1111422 w 1357518"/>
                <a:gd name="connsiteY794" fmla="*/ 607751 h 1002999"/>
                <a:gd name="connsiteX795" fmla="*/ 1110213 w 1357518"/>
                <a:gd name="connsiteY795" fmla="*/ 616887 h 1002999"/>
                <a:gd name="connsiteX796" fmla="*/ 1108422 w 1357518"/>
                <a:gd name="connsiteY796" fmla="*/ 619123 h 1002999"/>
                <a:gd name="connsiteX797" fmla="*/ 1102852 w 1357518"/>
                <a:gd name="connsiteY797" fmla="*/ 618585 h 1002999"/>
                <a:gd name="connsiteX798" fmla="*/ 1097367 w 1357518"/>
                <a:gd name="connsiteY798" fmla="*/ 618916 h 1002999"/>
                <a:gd name="connsiteX799" fmla="*/ 1094333 w 1357518"/>
                <a:gd name="connsiteY799" fmla="*/ 618577 h 1002999"/>
                <a:gd name="connsiteX800" fmla="*/ 1084074 w 1357518"/>
                <a:gd name="connsiteY800" fmla="*/ 614413 h 1002999"/>
                <a:gd name="connsiteX801" fmla="*/ 1080103 w 1357518"/>
                <a:gd name="connsiteY801" fmla="*/ 610638 h 1002999"/>
                <a:gd name="connsiteX802" fmla="*/ 1076588 w 1357518"/>
                <a:gd name="connsiteY802" fmla="*/ 604953 h 1002999"/>
                <a:gd name="connsiteX803" fmla="*/ 1074418 w 1357518"/>
                <a:gd name="connsiteY803" fmla="*/ 599626 h 1002999"/>
                <a:gd name="connsiteX804" fmla="*/ 1073595 w 1357518"/>
                <a:gd name="connsiteY804" fmla="*/ 594662 h 1002999"/>
                <a:gd name="connsiteX805" fmla="*/ 1071134 w 1357518"/>
                <a:gd name="connsiteY805" fmla="*/ 590614 h 1002999"/>
                <a:gd name="connsiteX806" fmla="*/ 1067039 w 1357518"/>
                <a:gd name="connsiteY806" fmla="*/ 587486 h 1002999"/>
                <a:gd name="connsiteX807" fmla="*/ 1062201 w 1357518"/>
                <a:gd name="connsiteY807" fmla="*/ 584946 h 1002999"/>
                <a:gd name="connsiteX808" fmla="*/ 1056620 w 1357518"/>
                <a:gd name="connsiteY808" fmla="*/ 583001 h 1002999"/>
                <a:gd name="connsiteX809" fmla="*/ 1051720 w 1357518"/>
                <a:gd name="connsiteY809" fmla="*/ 580487 h 1002999"/>
                <a:gd name="connsiteX810" fmla="*/ 1047501 w 1357518"/>
                <a:gd name="connsiteY810" fmla="*/ 577408 h 1002999"/>
                <a:gd name="connsiteX811" fmla="*/ 1042856 w 1357518"/>
                <a:gd name="connsiteY811" fmla="*/ 575009 h 1002999"/>
                <a:gd name="connsiteX812" fmla="*/ 1037786 w 1357518"/>
                <a:gd name="connsiteY812" fmla="*/ 573297 h 1002999"/>
                <a:gd name="connsiteX813" fmla="*/ 1030571 w 1357518"/>
                <a:gd name="connsiteY813" fmla="*/ 572560 h 1002999"/>
                <a:gd name="connsiteX814" fmla="*/ 1020021 w 1357518"/>
                <a:gd name="connsiteY814" fmla="*/ 572829 h 1002999"/>
                <a:gd name="connsiteX815" fmla="*/ 1012899 w 1357518"/>
                <a:gd name="connsiteY815" fmla="*/ 570897 h 1002999"/>
                <a:gd name="connsiteX816" fmla="*/ 1011205 w 1357518"/>
                <a:gd name="connsiteY816" fmla="*/ 571061 h 1002999"/>
                <a:gd name="connsiteX817" fmla="*/ 1009545 w 1357518"/>
                <a:gd name="connsiteY817" fmla="*/ 572059 h 1002999"/>
                <a:gd name="connsiteX818" fmla="*/ 1010767 w 1357518"/>
                <a:gd name="connsiteY818" fmla="*/ 574901 h 1002999"/>
                <a:gd name="connsiteX819" fmla="*/ 1018945 w 1357518"/>
                <a:gd name="connsiteY819" fmla="*/ 576203 h 1002999"/>
                <a:gd name="connsiteX820" fmla="*/ 1025252 w 1357518"/>
                <a:gd name="connsiteY820" fmla="*/ 576500 h 1002999"/>
                <a:gd name="connsiteX821" fmla="*/ 1033608 w 1357518"/>
                <a:gd name="connsiteY821" fmla="*/ 576315 h 1002999"/>
                <a:gd name="connsiteX822" fmla="*/ 1038724 w 1357518"/>
                <a:gd name="connsiteY822" fmla="*/ 577044 h 1002999"/>
                <a:gd name="connsiteX823" fmla="*/ 1040601 w 1357518"/>
                <a:gd name="connsiteY823" fmla="*/ 578685 h 1002999"/>
                <a:gd name="connsiteX824" fmla="*/ 1041893 w 1357518"/>
                <a:gd name="connsiteY824" fmla="*/ 581603 h 1002999"/>
                <a:gd name="connsiteX825" fmla="*/ 1042597 w 1357518"/>
                <a:gd name="connsiteY825" fmla="*/ 585789 h 1002999"/>
                <a:gd name="connsiteX826" fmla="*/ 1040946 w 1357518"/>
                <a:gd name="connsiteY826" fmla="*/ 589106 h 1002999"/>
                <a:gd name="connsiteX827" fmla="*/ 1034934 w 1357518"/>
                <a:gd name="connsiteY827" fmla="*/ 592783 h 1002999"/>
                <a:gd name="connsiteX828" fmla="*/ 1031763 w 1357518"/>
                <a:gd name="connsiteY828" fmla="*/ 594503 h 1002999"/>
                <a:gd name="connsiteX829" fmla="*/ 1022510 w 1357518"/>
                <a:gd name="connsiteY829" fmla="*/ 597798 h 1002999"/>
                <a:gd name="connsiteX830" fmla="*/ 1019371 w 1357518"/>
                <a:gd name="connsiteY830" fmla="*/ 598533 h 1002999"/>
                <a:gd name="connsiteX831" fmla="*/ 1011645 w 1357518"/>
                <a:gd name="connsiteY831" fmla="*/ 598758 h 1002999"/>
                <a:gd name="connsiteX832" fmla="*/ 1005711 w 1357518"/>
                <a:gd name="connsiteY832" fmla="*/ 598441 h 1002999"/>
                <a:gd name="connsiteX833" fmla="*/ 997904 w 1357518"/>
                <a:gd name="connsiteY833" fmla="*/ 596799 h 1002999"/>
                <a:gd name="connsiteX834" fmla="*/ 993478 w 1357518"/>
                <a:gd name="connsiteY834" fmla="*/ 596466 h 1002999"/>
                <a:gd name="connsiteX835" fmla="*/ 984319 w 1357518"/>
                <a:gd name="connsiteY835" fmla="*/ 596245 h 1002999"/>
                <a:gd name="connsiteX836" fmla="*/ 982212 w 1357518"/>
                <a:gd name="connsiteY836" fmla="*/ 596821 h 1002999"/>
                <a:gd name="connsiteX837" fmla="*/ 984575 w 1357518"/>
                <a:gd name="connsiteY837" fmla="*/ 598580 h 1002999"/>
                <a:gd name="connsiteX838" fmla="*/ 988460 w 1357518"/>
                <a:gd name="connsiteY838" fmla="*/ 599577 h 1002999"/>
                <a:gd name="connsiteX839" fmla="*/ 991195 w 1357518"/>
                <a:gd name="connsiteY839" fmla="*/ 600761 h 1002999"/>
                <a:gd name="connsiteX840" fmla="*/ 991480 w 1357518"/>
                <a:gd name="connsiteY840" fmla="*/ 603005 h 1002999"/>
                <a:gd name="connsiteX841" fmla="*/ 990494 w 1357518"/>
                <a:gd name="connsiteY841" fmla="*/ 606331 h 1002999"/>
                <a:gd name="connsiteX842" fmla="*/ 989477 w 1357518"/>
                <a:gd name="connsiteY842" fmla="*/ 608650 h 1002999"/>
                <a:gd name="connsiteX843" fmla="*/ 987801 w 1357518"/>
                <a:gd name="connsiteY843" fmla="*/ 610389 h 1002999"/>
                <a:gd name="connsiteX844" fmla="*/ 981791 w 1357518"/>
                <a:gd name="connsiteY844" fmla="*/ 613679 h 1002999"/>
                <a:gd name="connsiteX845" fmla="*/ 979301 w 1357518"/>
                <a:gd name="connsiteY845" fmla="*/ 614718 h 1002999"/>
                <a:gd name="connsiteX846" fmla="*/ 968096 w 1357518"/>
                <a:gd name="connsiteY846" fmla="*/ 618156 h 1002999"/>
                <a:gd name="connsiteX847" fmla="*/ 967316 w 1357518"/>
                <a:gd name="connsiteY847" fmla="*/ 618817 h 1002999"/>
                <a:gd name="connsiteX848" fmla="*/ 969939 w 1357518"/>
                <a:gd name="connsiteY848" fmla="*/ 618727 h 1002999"/>
                <a:gd name="connsiteX849" fmla="*/ 977023 w 1357518"/>
                <a:gd name="connsiteY849" fmla="*/ 617507 h 1002999"/>
                <a:gd name="connsiteX850" fmla="*/ 979061 w 1357518"/>
                <a:gd name="connsiteY850" fmla="*/ 617542 h 1002999"/>
                <a:gd name="connsiteX851" fmla="*/ 990689 w 1357518"/>
                <a:gd name="connsiteY851" fmla="*/ 620521 h 1002999"/>
                <a:gd name="connsiteX852" fmla="*/ 999953 w 1357518"/>
                <a:gd name="connsiteY852" fmla="*/ 620344 h 1002999"/>
                <a:gd name="connsiteX853" fmla="*/ 1018722 w 1357518"/>
                <a:gd name="connsiteY853" fmla="*/ 617596 h 1002999"/>
                <a:gd name="connsiteX854" fmla="*/ 1020265 w 1357518"/>
                <a:gd name="connsiteY854" fmla="*/ 617649 h 1002999"/>
                <a:gd name="connsiteX855" fmla="*/ 1021498 w 1357518"/>
                <a:gd name="connsiteY855" fmla="*/ 618082 h 1002999"/>
                <a:gd name="connsiteX856" fmla="*/ 1022743 w 1357518"/>
                <a:gd name="connsiteY856" fmla="*/ 619113 h 1002999"/>
                <a:gd name="connsiteX857" fmla="*/ 1024004 w 1357518"/>
                <a:gd name="connsiteY857" fmla="*/ 620745 h 1002999"/>
                <a:gd name="connsiteX858" fmla="*/ 1022492 w 1357518"/>
                <a:gd name="connsiteY858" fmla="*/ 622322 h 1002999"/>
                <a:gd name="connsiteX859" fmla="*/ 1018205 w 1357518"/>
                <a:gd name="connsiteY859" fmla="*/ 623842 h 1002999"/>
                <a:gd name="connsiteX860" fmla="*/ 1011531 w 1357518"/>
                <a:gd name="connsiteY860" fmla="*/ 625342 h 1002999"/>
                <a:gd name="connsiteX861" fmla="*/ 1008640 w 1357518"/>
                <a:gd name="connsiteY861" fmla="*/ 626355 h 1002999"/>
                <a:gd name="connsiteX862" fmla="*/ 1005878 w 1357518"/>
                <a:gd name="connsiteY862" fmla="*/ 627888 h 1002999"/>
                <a:gd name="connsiteX863" fmla="*/ 1000732 w 1357518"/>
                <a:gd name="connsiteY863" fmla="*/ 631566 h 1002999"/>
                <a:gd name="connsiteX864" fmla="*/ 999229 w 1357518"/>
                <a:gd name="connsiteY864" fmla="*/ 635378 h 1002999"/>
                <a:gd name="connsiteX865" fmla="*/ 1004639 w 1357518"/>
                <a:gd name="connsiteY865" fmla="*/ 636826 h 1002999"/>
                <a:gd name="connsiteX866" fmla="*/ 1007070 w 1357518"/>
                <a:gd name="connsiteY866" fmla="*/ 634993 h 1002999"/>
                <a:gd name="connsiteX867" fmla="*/ 1009939 w 1357518"/>
                <a:gd name="connsiteY867" fmla="*/ 630917 h 1002999"/>
                <a:gd name="connsiteX868" fmla="*/ 1012521 w 1357518"/>
                <a:gd name="connsiteY868" fmla="*/ 628521 h 1002999"/>
                <a:gd name="connsiteX869" fmla="*/ 1018615 w 1357518"/>
                <a:gd name="connsiteY869" fmla="*/ 626893 h 1002999"/>
                <a:gd name="connsiteX870" fmla="*/ 1026055 w 1357518"/>
                <a:gd name="connsiteY870" fmla="*/ 627722 h 1002999"/>
                <a:gd name="connsiteX871" fmla="*/ 1031803 w 1357518"/>
                <a:gd name="connsiteY871" fmla="*/ 626757 h 1002999"/>
                <a:gd name="connsiteX872" fmla="*/ 1043542 w 1357518"/>
                <a:gd name="connsiteY872" fmla="*/ 622724 h 1002999"/>
                <a:gd name="connsiteX873" fmla="*/ 1045641 w 1357518"/>
                <a:gd name="connsiteY873" fmla="*/ 622477 h 1002999"/>
                <a:gd name="connsiteX874" fmla="*/ 1062912 w 1357518"/>
                <a:gd name="connsiteY874" fmla="*/ 624790 h 1002999"/>
                <a:gd name="connsiteX875" fmla="*/ 1078563 w 1357518"/>
                <a:gd name="connsiteY875" fmla="*/ 629315 h 1002999"/>
                <a:gd name="connsiteX876" fmla="*/ 1086826 w 1357518"/>
                <a:gd name="connsiteY876" fmla="*/ 630977 h 1002999"/>
                <a:gd name="connsiteX877" fmla="*/ 1097752 w 1357518"/>
                <a:gd name="connsiteY877" fmla="*/ 631957 h 1002999"/>
                <a:gd name="connsiteX878" fmla="*/ 1117404 w 1357518"/>
                <a:gd name="connsiteY878" fmla="*/ 631512 h 1002999"/>
                <a:gd name="connsiteX879" fmla="*/ 1119126 w 1357518"/>
                <a:gd name="connsiteY879" fmla="*/ 632222 h 1002999"/>
                <a:gd name="connsiteX880" fmla="*/ 1118488 w 1357518"/>
                <a:gd name="connsiteY880" fmla="*/ 633820 h 1002999"/>
                <a:gd name="connsiteX881" fmla="*/ 1117347 w 1357518"/>
                <a:gd name="connsiteY881" fmla="*/ 635173 h 1002999"/>
                <a:gd name="connsiteX882" fmla="*/ 1114073 w 1357518"/>
                <a:gd name="connsiteY882" fmla="*/ 637058 h 1002999"/>
                <a:gd name="connsiteX883" fmla="*/ 1110097 w 1357518"/>
                <a:gd name="connsiteY883" fmla="*/ 638302 h 1002999"/>
                <a:gd name="connsiteX884" fmla="*/ 1107636 w 1357518"/>
                <a:gd name="connsiteY884" fmla="*/ 638653 h 1002999"/>
                <a:gd name="connsiteX885" fmla="*/ 1105543 w 1357518"/>
                <a:gd name="connsiteY885" fmla="*/ 639542 h 1002999"/>
                <a:gd name="connsiteX886" fmla="*/ 1100838 w 1357518"/>
                <a:gd name="connsiteY886" fmla="*/ 640411 h 1002999"/>
                <a:gd name="connsiteX887" fmla="*/ 1099631 w 1357518"/>
                <a:gd name="connsiteY887" fmla="*/ 641117 h 1002999"/>
                <a:gd name="connsiteX888" fmla="*/ 1101261 w 1357518"/>
                <a:gd name="connsiteY888" fmla="*/ 644196 h 1002999"/>
                <a:gd name="connsiteX889" fmla="*/ 1100486 w 1357518"/>
                <a:gd name="connsiteY889" fmla="*/ 644673 h 1002999"/>
                <a:gd name="connsiteX890" fmla="*/ 1096343 w 1357518"/>
                <a:gd name="connsiteY890" fmla="*/ 644723 h 1002999"/>
                <a:gd name="connsiteX891" fmla="*/ 1089365 w 1357518"/>
                <a:gd name="connsiteY891" fmla="*/ 646727 h 1002999"/>
                <a:gd name="connsiteX892" fmla="*/ 1083636 w 1357518"/>
                <a:gd name="connsiteY892" fmla="*/ 646583 h 1002999"/>
                <a:gd name="connsiteX893" fmla="*/ 1082440 w 1357518"/>
                <a:gd name="connsiteY893" fmla="*/ 646877 h 1002999"/>
                <a:gd name="connsiteX894" fmla="*/ 1083527 w 1357518"/>
                <a:gd name="connsiteY894" fmla="*/ 647620 h 1002999"/>
                <a:gd name="connsiteX895" fmla="*/ 1084683 w 1357518"/>
                <a:gd name="connsiteY895" fmla="*/ 649053 h 1002999"/>
                <a:gd name="connsiteX896" fmla="*/ 1085905 w 1357518"/>
                <a:gd name="connsiteY896" fmla="*/ 651177 h 1002999"/>
                <a:gd name="connsiteX897" fmla="*/ 1085233 w 1357518"/>
                <a:gd name="connsiteY897" fmla="*/ 652692 h 1002999"/>
                <a:gd name="connsiteX898" fmla="*/ 1082664 w 1357518"/>
                <a:gd name="connsiteY898" fmla="*/ 653596 h 1002999"/>
                <a:gd name="connsiteX899" fmla="*/ 1080716 w 1357518"/>
                <a:gd name="connsiteY899" fmla="*/ 653890 h 1002999"/>
                <a:gd name="connsiteX900" fmla="*/ 1073997 w 1357518"/>
                <a:gd name="connsiteY900" fmla="*/ 652623 h 1002999"/>
                <a:gd name="connsiteX901" fmla="*/ 1072910 w 1357518"/>
                <a:gd name="connsiteY901" fmla="*/ 652813 h 1002999"/>
                <a:gd name="connsiteX902" fmla="*/ 1073892 w 1357518"/>
                <a:gd name="connsiteY902" fmla="*/ 653722 h 1002999"/>
                <a:gd name="connsiteX903" fmla="*/ 1074450 w 1357518"/>
                <a:gd name="connsiteY903" fmla="*/ 655109 h 1002999"/>
                <a:gd name="connsiteX904" fmla="*/ 1074586 w 1357518"/>
                <a:gd name="connsiteY904" fmla="*/ 656974 h 1002999"/>
                <a:gd name="connsiteX905" fmla="*/ 1072935 w 1357518"/>
                <a:gd name="connsiteY905" fmla="*/ 658538 h 1002999"/>
                <a:gd name="connsiteX906" fmla="*/ 1069496 w 1357518"/>
                <a:gd name="connsiteY906" fmla="*/ 659797 h 1002999"/>
                <a:gd name="connsiteX907" fmla="*/ 1063095 w 1357518"/>
                <a:gd name="connsiteY907" fmla="*/ 663258 h 1002999"/>
                <a:gd name="connsiteX908" fmla="*/ 1060308 w 1357518"/>
                <a:gd name="connsiteY908" fmla="*/ 664246 h 1002999"/>
                <a:gd name="connsiteX909" fmla="*/ 1054428 w 1357518"/>
                <a:gd name="connsiteY909" fmla="*/ 665062 h 1002999"/>
                <a:gd name="connsiteX910" fmla="*/ 1053189 w 1357518"/>
                <a:gd name="connsiteY910" fmla="*/ 665513 h 1002999"/>
                <a:gd name="connsiteX911" fmla="*/ 1055579 w 1357518"/>
                <a:gd name="connsiteY911" fmla="*/ 668162 h 1002999"/>
                <a:gd name="connsiteX912" fmla="*/ 1055314 w 1357518"/>
                <a:gd name="connsiteY912" fmla="*/ 669224 h 1002999"/>
                <a:gd name="connsiteX913" fmla="*/ 1051339 w 1357518"/>
                <a:gd name="connsiteY913" fmla="*/ 672082 h 1002999"/>
                <a:gd name="connsiteX914" fmla="*/ 1045328 w 1357518"/>
                <a:gd name="connsiteY914" fmla="*/ 673863 h 1002999"/>
                <a:gd name="connsiteX915" fmla="*/ 1044508 w 1357518"/>
                <a:gd name="connsiteY915" fmla="*/ 674822 h 1002999"/>
                <a:gd name="connsiteX916" fmla="*/ 1043950 w 1357518"/>
                <a:gd name="connsiteY916" fmla="*/ 677399 h 1002999"/>
                <a:gd name="connsiteX917" fmla="*/ 1043513 w 1357518"/>
                <a:gd name="connsiteY917" fmla="*/ 678423 h 1002999"/>
                <a:gd name="connsiteX918" fmla="*/ 1041924 w 1357518"/>
                <a:gd name="connsiteY918" fmla="*/ 679896 h 1002999"/>
                <a:gd name="connsiteX919" fmla="*/ 1036222 w 1357518"/>
                <a:gd name="connsiteY919" fmla="*/ 682701 h 1002999"/>
                <a:gd name="connsiteX920" fmla="*/ 1032181 w 1357518"/>
                <a:gd name="connsiteY920" fmla="*/ 684095 h 1002999"/>
                <a:gd name="connsiteX921" fmla="*/ 1030177 w 1357518"/>
                <a:gd name="connsiteY921" fmla="*/ 685236 h 1002999"/>
                <a:gd name="connsiteX922" fmla="*/ 1027697 w 1357518"/>
                <a:gd name="connsiteY922" fmla="*/ 687140 h 1002999"/>
                <a:gd name="connsiteX923" fmla="*/ 1024568 w 1357518"/>
                <a:gd name="connsiteY923" fmla="*/ 688150 h 1002999"/>
                <a:gd name="connsiteX924" fmla="*/ 1020791 w 1357518"/>
                <a:gd name="connsiteY924" fmla="*/ 688268 h 1002999"/>
                <a:gd name="connsiteX925" fmla="*/ 1017218 w 1357518"/>
                <a:gd name="connsiteY925" fmla="*/ 688981 h 1002999"/>
                <a:gd name="connsiteX926" fmla="*/ 1011340 w 1357518"/>
                <a:gd name="connsiteY926" fmla="*/ 691001 h 1002999"/>
                <a:gd name="connsiteX927" fmla="*/ 1007246 w 1357518"/>
                <a:gd name="connsiteY927" fmla="*/ 691673 h 1002999"/>
                <a:gd name="connsiteX928" fmla="*/ 994312 w 1357518"/>
                <a:gd name="connsiteY928" fmla="*/ 695159 h 1002999"/>
                <a:gd name="connsiteX929" fmla="*/ 988226 w 1357518"/>
                <a:gd name="connsiteY929" fmla="*/ 695716 h 1002999"/>
                <a:gd name="connsiteX930" fmla="*/ 982961 w 1357518"/>
                <a:gd name="connsiteY930" fmla="*/ 696960 h 1002999"/>
                <a:gd name="connsiteX931" fmla="*/ 972130 w 1357518"/>
                <a:gd name="connsiteY931" fmla="*/ 700280 h 1002999"/>
                <a:gd name="connsiteX932" fmla="*/ 966971 w 1357518"/>
                <a:gd name="connsiteY932" fmla="*/ 701347 h 1002999"/>
                <a:gd name="connsiteX933" fmla="*/ 963393 w 1357518"/>
                <a:gd name="connsiteY933" fmla="*/ 702614 h 1002999"/>
                <a:gd name="connsiteX934" fmla="*/ 959485 w 1357518"/>
                <a:gd name="connsiteY934" fmla="*/ 702976 h 1002999"/>
                <a:gd name="connsiteX935" fmla="*/ 953131 w 1357518"/>
                <a:gd name="connsiteY935" fmla="*/ 702153 h 1002999"/>
                <a:gd name="connsiteX936" fmla="*/ 949705 w 1357518"/>
                <a:gd name="connsiteY936" fmla="*/ 702125 h 1002999"/>
                <a:gd name="connsiteX937" fmla="*/ 947599 w 1357518"/>
                <a:gd name="connsiteY937" fmla="*/ 702623 h 1002999"/>
                <a:gd name="connsiteX938" fmla="*/ 945667 w 1357518"/>
                <a:gd name="connsiteY938" fmla="*/ 703640 h 1002999"/>
                <a:gd name="connsiteX939" fmla="*/ 942474 w 1357518"/>
                <a:gd name="connsiteY939" fmla="*/ 706423 h 1002999"/>
                <a:gd name="connsiteX940" fmla="*/ 939763 w 1357518"/>
                <a:gd name="connsiteY940" fmla="*/ 706639 h 1002999"/>
                <a:gd name="connsiteX941" fmla="*/ 930877 w 1357518"/>
                <a:gd name="connsiteY941" fmla="*/ 704432 h 1002999"/>
                <a:gd name="connsiteX942" fmla="*/ 931057 w 1357518"/>
                <a:gd name="connsiteY942" fmla="*/ 705433 h 1002999"/>
                <a:gd name="connsiteX943" fmla="*/ 933405 w 1357518"/>
                <a:gd name="connsiteY943" fmla="*/ 707819 h 1002999"/>
                <a:gd name="connsiteX944" fmla="*/ 933293 w 1357518"/>
                <a:gd name="connsiteY944" fmla="*/ 709512 h 1002999"/>
                <a:gd name="connsiteX945" fmla="*/ 928008 w 1357518"/>
                <a:gd name="connsiteY945" fmla="*/ 711227 h 1002999"/>
                <a:gd name="connsiteX946" fmla="*/ 925160 w 1357518"/>
                <a:gd name="connsiteY946" fmla="*/ 711665 h 1002999"/>
                <a:gd name="connsiteX947" fmla="*/ 920961 w 1357518"/>
                <a:gd name="connsiteY947" fmla="*/ 710961 h 1002999"/>
                <a:gd name="connsiteX948" fmla="*/ 915410 w 1357518"/>
                <a:gd name="connsiteY948" fmla="*/ 709111 h 1002999"/>
                <a:gd name="connsiteX949" fmla="*/ 908278 w 1357518"/>
                <a:gd name="connsiteY949" fmla="*/ 705241 h 1002999"/>
                <a:gd name="connsiteX950" fmla="*/ 899538 w 1357518"/>
                <a:gd name="connsiteY950" fmla="*/ 699320 h 1002999"/>
                <a:gd name="connsiteX951" fmla="*/ 895333 w 1357518"/>
                <a:gd name="connsiteY951" fmla="*/ 697314 h 1002999"/>
                <a:gd name="connsiteX952" fmla="*/ 895637 w 1357518"/>
                <a:gd name="connsiteY952" fmla="*/ 699217 h 1002999"/>
                <a:gd name="connsiteX953" fmla="*/ 896611 w 1357518"/>
                <a:gd name="connsiteY953" fmla="*/ 701076 h 1002999"/>
                <a:gd name="connsiteX954" fmla="*/ 898257 w 1357518"/>
                <a:gd name="connsiteY954" fmla="*/ 702886 h 1002999"/>
                <a:gd name="connsiteX955" fmla="*/ 898591 w 1357518"/>
                <a:gd name="connsiteY955" fmla="*/ 704199 h 1002999"/>
                <a:gd name="connsiteX956" fmla="*/ 897616 w 1357518"/>
                <a:gd name="connsiteY956" fmla="*/ 705012 h 1002999"/>
                <a:gd name="connsiteX957" fmla="*/ 896330 w 1357518"/>
                <a:gd name="connsiteY957" fmla="*/ 705422 h 1002999"/>
                <a:gd name="connsiteX958" fmla="*/ 894733 w 1357518"/>
                <a:gd name="connsiteY958" fmla="*/ 705427 h 1002999"/>
                <a:gd name="connsiteX959" fmla="*/ 894462 w 1357518"/>
                <a:gd name="connsiteY959" fmla="*/ 705887 h 1002999"/>
                <a:gd name="connsiteX960" fmla="*/ 897069 w 1357518"/>
                <a:gd name="connsiteY960" fmla="*/ 708705 h 1002999"/>
                <a:gd name="connsiteX961" fmla="*/ 899125 w 1357518"/>
                <a:gd name="connsiteY961" fmla="*/ 711595 h 1002999"/>
                <a:gd name="connsiteX962" fmla="*/ 898935 w 1357518"/>
                <a:gd name="connsiteY962" fmla="*/ 714334 h 1002999"/>
                <a:gd name="connsiteX963" fmla="*/ 896497 w 1357518"/>
                <a:gd name="connsiteY963" fmla="*/ 716925 h 1002999"/>
                <a:gd name="connsiteX964" fmla="*/ 894403 w 1357518"/>
                <a:gd name="connsiteY964" fmla="*/ 718444 h 1002999"/>
                <a:gd name="connsiteX965" fmla="*/ 892651 w 1357518"/>
                <a:gd name="connsiteY965" fmla="*/ 718892 h 1002999"/>
                <a:gd name="connsiteX966" fmla="*/ 882274 w 1357518"/>
                <a:gd name="connsiteY966" fmla="*/ 725333 h 1002999"/>
                <a:gd name="connsiteX967" fmla="*/ 879384 w 1357518"/>
                <a:gd name="connsiteY967" fmla="*/ 726142 h 1002999"/>
                <a:gd name="connsiteX968" fmla="*/ 878070 w 1357518"/>
                <a:gd name="connsiteY968" fmla="*/ 726937 h 1002999"/>
                <a:gd name="connsiteX969" fmla="*/ 876990 w 1357518"/>
                <a:gd name="connsiteY969" fmla="*/ 728125 h 1002999"/>
                <a:gd name="connsiteX970" fmla="*/ 873969 w 1357518"/>
                <a:gd name="connsiteY970" fmla="*/ 733433 h 1002999"/>
                <a:gd name="connsiteX971" fmla="*/ 872747 w 1357518"/>
                <a:gd name="connsiteY971" fmla="*/ 735051 h 1002999"/>
                <a:gd name="connsiteX972" fmla="*/ 870323 w 1357518"/>
                <a:gd name="connsiteY972" fmla="*/ 737154 h 1002999"/>
                <a:gd name="connsiteX973" fmla="*/ 869307 w 1357518"/>
                <a:gd name="connsiteY973" fmla="*/ 737519 h 1002999"/>
                <a:gd name="connsiteX974" fmla="*/ 869017 w 1357518"/>
                <a:gd name="connsiteY974" fmla="*/ 738374 h 1002999"/>
                <a:gd name="connsiteX975" fmla="*/ 869455 w 1357518"/>
                <a:gd name="connsiteY975" fmla="*/ 739726 h 1002999"/>
                <a:gd name="connsiteX976" fmla="*/ 868787 w 1357518"/>
                <a:gd name="connsiteY976" fmla="*/ 741974 h 1002999"/>
                <a:gd name="connsiteX977" fmla="*/ 867013 w 1357518"/>
                <a:gd name="connsiteY977" fmla="*/ 745115 h 1002999"/>
                <a:gd name="connsiteX978" fmla="*/ 860973 w 1357518"/>
                <a:gd name="connsiteY978" fmla="*/ 753767 h 1002999"/>
                <a:gd name="connsiteX979" fmla="*/ 856101 w 1357518"/>
                <a:gd name="connsiteY979" fmla="*/ 761803 h 1002999"/>
                <a:gd name="connsiteX980" fmla="*/ 853966 w 1357518"/>
                <a:gd name="connsiteY980" fmla="*/ 764428 h 1002999"/>
                <a:gd name="connsiteX981" fmla="*/ 852404 w 1357518"/>
                <a:gd name="connsiteY981" fmla="*/ 765539 h 1002999"/>
                <a:gd name="connsiteX982" fmla="*/ 851414 w 1357518"/>
                <a:gd name="connsiteY982" fmla="*/ 765142 h 1002999"/>
                <a:gd name="connsiteX983" fmla="*/ 848999 w 1357518"/>
                <a:gd name="connsiteY983" fmla="*/ 765350 h 1002999"/>
                <a:gd name="connsiteX984" fmla="*/ 847827 w 1357518"/>
                <a:gd name="connsiteY984" fmla="*/ 766757 h 1002999"/>
                <a:gd name="connsiteX985" fmla="*/ 846764 w 1357518"/>
                <a:gd name="connsiteY985" fmla="*/ 769299 h 1002999"/>
                <a:gd name="connsiteX986" fmla="*/ 845607 w 1357518"/>
                <a:gd name="connsiteY986" fmla="*/ 771235 h 1002999"/>
                <a:gd name="connsiteX987" fmla="*/ 844356 w 1357518"/>
                <a:gd name="connsiteY987" fmla="*/ 772567 h 1002999"/>
                <a:gd name="connsiteX988" fmla="*/ 834586 w 1357518"/>
                <a:gd name="connsiteY988" fmla="*/ 778296 h 1002999"/>
                <a:gd name="connsiteX989" fmla="*/ 832067 w 1357518"/>
                <a:gd name="connsiteY989" fmla="*/ 779357 h 1002999"/>
                <a:gd name="connsiteX990" fmla="*/ 829805 w 1357518"/>
                <a:gd name="connsiteY990" fmla="*/ 778686 h 1002999"/>
                <a:gd name="connsiteX991" fmla="*/ 827133 w 1357518"/>
                <a:gd name="connsiteY991" fmla="*/ 778944 h 1002999"/>
                <a:gd name="connsiteX992" fmla="*/ 821598 w 1357518"/>
                <a:gd name="connsiteY992" fmla="*/ 775920 h 1002999"/>
                <a:gd name="connsiteX993" fmla="*/ 820638 w 1357518"/>
                <a:gd name="connsiteY993" fmla="*/ 774807 h 1002999"/>
                <a:gd name="connsiteX994" fmla="*/ 817061 w 1357518"/>
                <a:gd name="connsiteY994" fmla="*/ 772323 h 1002999"/>
                <a:gd name="connsiteX995" fmla="*/ 817179 w 1357518"/>
                <a:gd name="connsiteY995" fmla="*/ 773618 h 1002999"/>
                <a:gd name="connsiteX996" fmla="*/ 817780 w 1357518"/>
                <a:gd name="connsiteY996" fmla="*/ 774333 h 1002999"/>
                <a:gd name="connsiteX997" fmla="*/ 818280 w 1357518"/>
                <a:gd name="connsiteY997" fmla="*/ 775381 h 1002999"/>
                <a:gd name="connsiteX998" fmla="*/ 819531 w 1357518"/>
                <a:gd name="connsiteY998" fmla="*/ 776664 h 1002999"/>
                <a:gd name="connsiteX999" fmla="*/ 822305 w 1357518"/>
                <a:gd name="connsiteY999" fmla="*/ 783408 h 1002999"/>
                <a:gd name="connsiteX1000" fmla="*/ 820111 w 1357518"/>
                <a:gd name="connsiteY1000" fmla="*/ 784789 h 1002999"/>
                <a:gd name="connsiteX1001" fmla="*/ 818151 w 1357518"/>
                <a:gd name="connsiteY1001" fmla="*/ 786365 h 1002999"/>
                <a:gd name="connsiteX1002" fmla="*/ 813148 w 1357518"/>
                <a:gd name="connsiteY1002" fmla="*/ 789021 h 1002999"/>
                <a:gd name="connsiteX1003" fmla="*/ 807741 w 1357518"/>
                <a:gd name="connsiteY1003" fmla="*/ 793469 h 1002999"/>
                <a:gd name="connsiteX1004" fmla="*/ 805740 w 1357518"/>
                <a:gd name="connsiteY1004" fmla="*/ 794710 h 1002999"/>
                <a:gd name="connsiteX1005" fmla="*/ 805298 w 1357518"/>
                <a:gd name="connsiteY1005" fmla="*/ 791088 h 1002999"/>
                <a:gd name="connsiteX1006" fmla="*/ 805524 w 1357518"/>
                <a:gd name="connsiteY1006" fmla="*/ 790005 h 1002999"/>
                <a:gd name="connsiteX1007" fmla="*/ 802467 w 1357518"/>
                <a:gd name="connsiteY1007" fmla="*/ 788250 h 1002999"/>
                <a:gd name="connsiteX1008" fmla="*/ 802566 w 1357518"/>
                <a:gd name="connsiteY1008" fmla="*/ 789514 h 1002999"/>
                <a:gd name="connsiteX1009" fmla="*/ 802250 w 1357518"/>
                <a:gd name="connsiteY1009" fmla="*/ 790694 h 1002999"/>
                <a:gd name="connsiteX1010" fmla="*/ 800034 w 1357518"/>
                <a:gd name="connsiteY1010" fmla="*/ 795385 h 1002999"/>
                <a:gd name="connsiteX1011" fmla="*/ 799416 w 1357518"/>
                <a:gd name="connsiteY1011" fmla="*/ 796195 h 1002999"/>
                <a:gd name="connsiteX1012" fmla="*/ 798326 w 1357518"/>
                <a:gd name="connsiteY1012" fmla="*/ 796013 h 1002999"/>
                <a:gd name="connsiteX1013" fmla="*/ 795945 w 1357518"/>
                <a:gd name="connsiteY1013" fmla="*/ 796877 h 1002999"/>
                <a:gd name="connsiteX1014" fmla="*/ 793507 w 1357518"/>
                <a:gd name="connsiteY1014" fmla="*/ 796468 h 1002999"/>
                <a:gd name="connsiteX1015" fmla="*/ 791441 w 1357518"/>
                <a:gd name="connsiteY1015" fmla="*/ 794335 h 1002999"/>
                <a:gd name="connsiteX1016" fmla="*/ 790624 w 1357518"/>
                <a:gd name="connsiteY1016" fmla="*/ 793228 h 1002999"/>
                <a:gd name="connsiteX1017" fmla="*/ 786856 w 1357518"/>
                <a:gd name="connsiteY1017" fmla="*/ 796267 h 1002999"/>
                <a:gd name="connsiteX1018" fmla="*/ 785025 w 1357518"/>
                <a:gd name="connsiteY1018" fmla="*/ 796189 h 1002999"/>
                <a:gd name="connsiteX1019" fmla="*/ 784720 w 1357518"/>
                <a:gd name="connsiteY1019" fmla="*/ 798740 h 1002999"/>
                <a:gd name="connsiteX1020" fmla="*/ 782946 w 1357518"/>
                <a:gd name="connsiteY1020" fmla="*/ 801061 h 1002999"/>
                <a:gd name="connsiteX1021" fmla="*/ 780602 w 1357518"/>
                <a:gd name="connsiteY1021" fmla="*/ 802065 h 1002999"/>
                <a:gd name="connsiteX1022" fmla="*/ 777336 w 1357518"/>
                <a:gd name="connsiteY1022" fmla="*/ 801987 h 1002999"/>
                <a:gd name="connsiteX1023" fmla="*/ 775336 w 1357518"/>
                <a:gd name="connsiteY1023" fmla="*/ 803360 h 1002999"/>
                <a:gd name="connsiteX1024" fmla="*/ 770901 w 1357518"/>
                <a:gd name="connsiteY1024" fmla="*/ 801888 h 1002999"/>
                <a:gd name="connsiteX1025" fmla="*/ 769873 w 1357518"/>
                <a:gd name="connsiteY1025" fmla="*/ 799124 h 1002999"/>
                <a:gd name="connsiteX1026" fmla="*/ 773388 w 1357518"/>
                <a:gd name="connsiteY1026" fmla="*/ 795330 h 1002999"/>
                <a:gd name="connsiteX1027" fmla="*/ 774382 w 1357518"/>
                <a:gd name="connsiteY1027" fmla="*/ 793763 h 1002999"/>
                <a:gd name="connsiteX1028" fmla="*/ 773737 w 1357518"/>
                <a:gd name="connsiteY1028" fmla="*/ 791833 h 1002999"/>
                <a:gd name="connsiteX1029" fmla="*/ 774592 w 1357518"/>
                <a:gd name="connsiteY1029" fmla="*/ 789337 h 1002999"/>
                <a:gd name="connsiteX1030" fmla="*/ 781300 w 1357518"/>
                <a:gd name="connsiteY1030" fmla="*/ 781401 h 1002999"/>
                <a:gd name="connsiteX1031" fmla="*/ 785850 w 1357518"/>
                <a:gd name="connsiteY1031" fmla="*/ 777368 h 1002999"/>
                <a:gd name="connsiteX1032" fmla="*/ 785586 w 1357518"/>
                <a:gd name="connsiteY1032" fmla="*/ 776649 h 1002999"/>
                <a:gd name="connsiteX1033" fmla="*/ 779411 w 1357518"/>
                <a:gd name="connsiteY1033" fmla="*/ 775769 h 1002999"/>
                <a:gd name="connsiteX1034" fmla="*/ 774016 w 1357518"/>
                <a:gd name="connsiteY1034" fmla="*/ 774383 h 1002999"/>
                <a:gd name="connsiteX1035" fmla="*/ 768759 w 1357518"/>
                <a:gd name="connsiteY1035" fmla="*/ 773906 h 1002999"/>
                <a:gd name="connsiteX1036" fmla="*/ 766437 w 1357518"/>
                <a:gd name="connsiteY1036" fmla="*/ 774379 h 1002999"/>
                <a:gd name="connsiteX1037" fmla="*/ 770140 w 1357518"/>
                <a:gd name="connsiteY1037" fmla="*/ 776696 h 1002999"/>
                <a:gd name="connsiteX1038" fmla="*/ 775377 w 1357518"/>
                <a:gd name="connsiteY1038" fmla="*/ 778944 h 1002999"/>
                <a:gd name="connsiteX1039" fmla="*/ 772800 w 1357518"/>
                <a:gd name="connsiteY1039" fmla="*/ 781089 h 1002999"/>
                <a:gd name="connsiteX1040" fmla="*/ 770577 w 1357518"/>
                <a:gd name="connsiteY1040" fmla="*/ 783364 h 1002999"/>
                <a:gd name="connsiteX1041" fmla="*/ 768277 w 1357518"/>
                <a:gd name="connsiteY1041" fmla="*/ 789535 h 1002999"/>
                <a:gd name="connsiteX1042" fmla="*/ 766806 w 1357518"/>
                <a:gd name="connsiteY1042" fmla="*/ 792058 h 1002999"/>
                <a:gd name="connsiteX1043" fmla="*/ 761097 w 1357518"/>
                <a:gd name="connsiteY1043" fmla="*/ 789159 h 1002999"/>
                <a:gd name="connsiteX1044" fmla="*/ 758395 w 1357518"/>
                <a:gd name="connsiteY1044" fmla="*/ 788179 h 1002999"/>
                <a:gd name="connsiteX1045" fmla="*/ 760112 w 1357518"/>
                <a:gd name="connsiteY1045" fmla="*/ 791394 h 1002999"/>
                <a:gd name="connsiteX1046" fmla="*/ 765117 w 1357518"/>
                <a:gd name="connsiteY1046" fmla="*/ 794436 h 1002999"/>
                <a:gd name="connsiteX1047" fmla="*/ 765437 w 1357518"/>
                <a:gd name="connsiteY1047" fmla="*/ 795436 h 1002999"/>
                <a:gd name="connsiteX1048" fmla="*/ 765404 w 1357518"/>
                <a:gd name="connsiteY1048" fmla="*/ 799048 h 1002999"/>
                <a:gd name="connsiteX1049" fmla="*/ 755821 w 1357518"/>
                <a:gd name="connsiteY1049" fmla="*/ 802223 h 1002999"/>
                <a:gd name="connsiteX1050" fmla="*/ 745821 w 1357518"/>
                <a:gd name="connsiteY1050" fmla="*/ 802704 h 1002999"/>
                <a:gd name="connsiteX1051" fmla="*/ 738648 w 1357518"/>
                <a:gd name="connsiteY1051" fmla="*/ 803606 h 1002999"/>
                <a:gd name="connsiteX1052" fmla="*/ 726540 w 1357518"/>
                <a:gd name="connsiteY1052" fmla="*/ 804697 h 1002999"/>
                <a:gd name="connsiteX1053" fmla="*/ 721839 w 1357518"/>
                <a:gd name="connsiteY1053" fmla="*/ 804699 h 1002999"/>
                <a:gd name="connsiteX1054" fmla="*/ 721441 w 1357518"/>
                <a:gd name="connsiteY1054" fmla="*/ 805919 h 1002999"/>
                <a:gd name="connsiteX1055" fmla="*/ 733284 w 1357518"/>
                <a:gd name="connsiteY1055" fmla="*/ 811481 h 1002999"/>
                <a:gd name="connsiteX1056" fmla="*/ 735010 w 1357518"/>
                <a:gd name="connsiteY1056" fmla="*/ 812497 h 1002999"/>
                <a:gd name="connsiteX1057" fmla="*/ 733360 w 1357518"/>
                <a:gd name="connsiteY1057" fmla="*/ 814409 h 1002999"/>
                <a:gd name="connsiteX1058" fmla="*/ 730913 w 1357518"/>
                <a:gd name="connsiteY1058" fmla="*/ 815597 h 1002999"/>
                <a:gd name="connsiteX1059" fmla="*/ 727064 w 1357518"/>
                <a:gd name="connsiteY1059" fmla="*/ 819682 h 1002999"/>
                <a:gd name="connsiteX1060" fmla="*/ 725057 w 1357518"/>
                <a:gd name="connsiteY1060" fmla="*/ 821088 h 1002999"/>
                <a:gd name="connsiteX1061" fmla="*/ 720079 w 1357518"/>
                <a:gd name="connsiteY1061" fmla="*/ 823018 h 1002999"/>
                <a:gd name="connsiteX1062" fmla="*/ 710915 w 1357518"/>
                <a:gd name="connsiteY1062" fmla="*/ 820865 h 1002999"/>
                <a:gd name="connsiteX1063" fmla="*/ 706206 w 1357518"/>
                <a:gd name="connsiteY1063" fmla="*/ 821827 h 1002999"/>
                <a:gd name="connsiteX1064" fmla="*/ 701698 w 1357518"/>
                <a:gd name="connsiteY1064" fmla="*/ 821149 h 1002999"/>
                <a:gd name="connsiteX1065" fmla="*/ 701604 w 1357518"/>
                <a:gd name="connsiteY1065" fmla="*/ 823504 h 1002999"/>
                <a:gd name="connsiteX1066" fmla="*/ 702951 w 1357518"/>
                <a:gd name="connsiteY1066" fmla="*/ 825221 h 1002999"/>
                <a:gd name="connsiteX1067" fmla="*/ 704316 w 1357518"/>
                <a:gd name="connsiteY1067" fmla="*/ 829479 h 1002999"/>
                <a:gd name="connsiteX1068" fmla="*/ 707339 w 1357518"/>
                <a:gd name="connsiteY1068" fmla="*/ 829148 h 1002999"/>
                <a:gd name="connsiteX1069" fmla="*/ 711183 w 1357518"/>
                <a:gd name="connsiteY1069" fmla="*/ 827813 h 1002999"/>
                <a:gd name="connsiteX1070" fmla="*/ 714154 w 1357518"/>
                <a:gd name="connsiteY1070" fmla="*/ 831032 h 1002999"/>
                <a:gd name="connsiteX1071" fmla="*/ 716108 w 1357518"/>
                <a:gd name="connsiteY1071" fmla="*/ 836478 h 1002999"/>
                <a:gd name="connsiteX1072" fmla="*/ 719520 w 1357518"/>
                <a:gd name="connsiteY1072" fmla="*/ 839234 h 1002999"/>
                <a:gd name="connsiteX1073" fmla="*/ 721036 w 1357518"/>
                <a:gd name="connsiteY1073" fmla="*/ 841361 h 1002999"/>
                <a:gd name="connsiteX1074" fmla="*/ 721647 w 1357518"/>
                <a:gd name="connsiteY1074" fmla="*/ 843367 h 1002999"/>
                <a:gd name="connsiteX1075" fmla="*/ 719519 w 1357518"/>
                <a:gd name="connsiteY1075" fmla="*/ 845362 h 1002999"/>
                <a:gd name="connsiteX1076" fmla="*/ 715115 w 1357518"/>
                <a:gd name="connsiteY1076" fmla="*/ 848183 h 1002999"/>
                <a:gd name="connsiteX1077" fmla="*/ 710230 w 1357518"/>
                <a:gd name="connsiteY1077" fmla="*/ 848705 h 1002999"/>
                <a:gd name="connsiteX1078" fmla="*/ 710498 w 1357518"/>
                <a:gd name="connsiteY1078" fmla="*/ 850932 h 1002999"/>
                <a:gd name="connsiteX1079" fmla="*/ 708391 w 1357518"/>
                <a:gd name="connsiteY1079" fmla="*/ 852533 h 1002999"/>
                <a:gd name="connsiteX1080" fmla="*/ 703906 w 1357518"/>
                <a:gd name="connsiteY1080" fmla="*/ 852064 h 1002999"/>
                <a:gd name="connsiteX1081" fmla="*/ 701809 w 1357518"/>
                <a:gd name="connsiteY1081" fmla="*/ 850948 h 1002999"/>
                <a:gd name="connsiteX1082" fmla="*/ 699634 w 1357518"/>
                <a:gd name="connsiteY1082" fmla="*/ 850418 h 1002999"/>
                <a:gd name="connsiteX1083" fmla="*/ 690717 w 1357518"/>
                <a:gd name="connsiteY1083" fmla="*/ 849819 h 1002999"/>
                <a:gd name="connsiteX1084" fmla="*/ 699695 w 1357518"/>
                <a:gd name="connsiteY1084" fmla="*/ 854105 h 1002999"/>
                <a:gd name="connsiteX1085" fmla="*/ 702889 w 1357518"/>
                <a:gd name="connsiteY1085" fmla="*/ 856098 h 1002999"/>
                <a:gd name="connsiteX1086" fmla="*/ 704309 w 1357518"/>
                <a:gd name="connsiteY1086" fmla="*/ 854917 h 1002999"/>
                <a:gd name="connsiteX1087" fmla="*/ 707419 w 1357518"/>
                <a:gd name="connsiteY1087" fmla="*/ 854630 h 1002999"/>
                <a:gd name="connsiteX1088" fmla="*/ 712016 w 1357518"/>
                <a:gd name="connsiteY1088" fmla="*/ 855720 h 1002999"/>
                <a:gd name="connsiteX1089" fmla="*/ 711252 w 1357518"/>
                <a:gd name="connsiteY1089" fmla="*/ 862923 h 1002999"/>
                <a:gd name="connsiteX1090" fmla="*/ 713266 w 1357518"/>
                <a:gd name="connsiteY1090" fmla="*/ 868743 h 1002999"/>
                <a:gd name="connsiteX1091" fmla="*/ 713506 w 1357518"/>
                <a:gd name="connsiteY1091" fmla="*/ 870047 h 1002999"/>
                <a:gd name="connsiteX1092" fmla="*/ 708616 w 1357518"/>
                <a:gd name="connsiteY1092" fmla="*/ 873524 h 1002999"/>
                <a:gd name="connsiteX1093" fmla="*/ 708535 w 1357518"/>
                <a:gd name="connsiteY1093" fmla="*/ 876765 h 1002999"/>
                <a:gd name="connsiteX1094" fmla="*/ 705625 w 1357518"/>
                <a:gd name="connsiteY1094" fmla="*/ 877667 h 1002999"/>
                <a:gd name="connsiteX1095" fmla="*/ 702487 w 1357518"/>
                <a:gd name="connsiteY1095" fmla="*/ 877459 h 1002999"/>
                <a:gd name="connsiteX1096" fmla="*/ 702323 w 1357518"/>
                <a:gd name="connsiteY1096" fmla="*/ 881010 h 1002999"/>
                <a:gd name="connsiteX1097" fmla="*/ 700198 w 1357518"/>
                <a:gd name="connsiteY1097" fmla="*/ 883221 h 1002999"/>
                <a:gd name="connsiteX1098" fmla="*/ 700575 w 1357518"/>
                <a:gd name="connsiteY1098" fmla="*/ 884604 h 1002999"/>
                <a:gd name="connsiteX1099" fmla="*/ 701183 w 1357518"/>
                <a:gd name="connsiteY1099" fmla="*/ 885842 h 1002999"/>
                <a:gd name="connsiteX1100" fmla="*/ 699242 w 1357518"/>
                <a:gd name="connsiteY1100" fmla="*/ 888090 h 1002999"/>
                <a:gd name="connsiteX1101" fmla="*/ 697490 w 1357518"/>
                <a:gd name="connsiteY1101" fmla="*/ 890823 h 1002999"/>
                <a:gd name="connsiteX1102" fmla="*/ 694988 w 1357518"/>
                <a:gd name="connsiteY1102" fmla="*/ 893214 h 1002999"/>
                <a:gd name="connsiteX1103" fmla="*/ 693661 w 1357518"/>
                <a:gd name="connsiteY1103" fmla="*/ 892968 h 1002999"/>
                <a:gd name="connsiteX1104" fmla="*/ 689680 w 1357518"/>
                <a:gd name="connsiteY1104" fmla="*/ 893122 h 1002999"/>
                <a:gd name="connsiteX1105" fmla="*/ 684891 w 1357518"/>
                <a:gd name="connsiteY1105" fmla="*/ 892922 h 1002999"/>
                <a:gd name="connsiteX1106" fmla="*/ 681016 w 1357518"/>
                <a:gd name="connsiteY1106" fmla="*/ 889817 h 1002999"/>
                <a:gd name="connsiteX1107" fmla="*/ 679409 w 1357518"/>
                <a:gd name="connsiteY1107" fmla="*/ 888782 h 1002999"/>
                <a:gd name="connsiteX1108" fmla="*/ 677594 w 1357518"/>
                <a:gd name="connsiteY1108" fmla="*/ 888105 h 1002999"/>
                <a:gd name="connsiteX1109" fmla="*/ 678291 w 1357518"/>
                <a:gd name="connsiteY1109" fmla="*/ 890105 h 1002999"/>
                <a:gd name="connsiteX1110" fmla="*/ 679374 w 1357518"/>
                <a:gd name="connsiteY1110" fmla="*/ 891307 h 1002999"/>
                <a:gd name="connsiteX1111" fmla="*/ 682950 w 1357518"/>
                <a:gd name="connsiteY1111" fmla="*/ 893548 h 1002999"/>
                <a:gd name="connsiteX1112" fmla="*/ 689535 w 1357518"/>
                <a:gd name="connsiteY1112" fmla="*/ 896316 h 1002999"/>
                <a:gd name="connsiteX1113" fmla="*/ 689333 w 1357518"/>
                <a:gd name="connsiteY1113" fmla="*/ 898277 h 1002999"/>
                <a:gd name="connsiteX1114" fmla="*/ 687572 w 1357518"/>
                <a:gd name="connsiteY1114" fmla="*/ 899130 h 1002999"/>
                <a:gd name="connsiteX1115" fmla="*/ 683465 w 1357518"/>
                <a:gd name="connsiteY1115" fmla="*/ 904461 h 1002999"/>
                <a:gd name="connsiteX1116" fmla="*/ 682007 w 1357518"/>
                <a:gd name="connsiteY1116" fmla="*/ 904576 h 1002999"/>
                <a:gd name="connsiteX1117" fmla="*/ 680164 w 1357518"/>
                <a:gd name="connsiteY1117" fmla="*/ 905949 h 1002999"/>
                <a:gd name="connsiteX1118" fmla="*/ 674473 w 1357518"/>
                <a:gd name="connsiteY1118" fmla="*/ 905489 h 1002999"/>
                <a:gd name="connsiteX1119" fmla="*/ 672083 w 1357518"/>
                <a:gd name="connsiteY1119" fmla="*/ 904943 h 1002999"/>
                <a:gd name="connsiteX1120" fmla="*/ 665065 w 1357518"/>
                <a:gd name="connsiteY1120" fmla="*/ 905292 h 1002999"/>
                <a:gd name="connsiteX1121" fmla="*/ 662678 w 1357518"/>
                <a:gd name="connsiteY1121" fmla="*/ 904821 h 1002999"/>
                <a:gd name="connsiteX1122" fmla="*/ 660630 w 1357518"/>
                <a:gd name="connsiteY1122" fmla="*/ 905044 h 1002999"/>
                <a:gd name="connsiteX1123" fmla="*/ 662540 w 1357518"/>
                <a:gd name="connsiteY1123" fmla="*/ 906546 h 1002999"/>
                <a:gd name="connsiteX1124" fmla="*/ 666556 w 1357518"/>
                <a:gd name="connsiteY1124" fmla="*/ 907898 h 1002999"/>
                <a:gd name="connsiteX1125" fmla="*/ 671123 w 1357518"/>
                <a:gd name="connsiteY1125" fmla="*/ 909253 h 1002999"/>
                <a:gd name="connsiteX1126" fmla="*/ 678070 w 1357518"/>
                <a:gd name="connsiteY1126" fmla="*/ 910277 h 1002999"/>
                <a:gd name="connsiteX1127" fmla="*/ 677818 w 1357518"/>
                <a:gd name="connsiteY1127" fmla="*/ 912213 h 1002999"/>
                <a:gd name="connsiteX1128" fmla="*/ 676076 w 1357518"/>
                <a:gd name="connsiteY1128" fmla="*/ 913801 h 1002999"/>
                <a:gd name="connsiteX1129" fmla="*/ 677076 w 1357518"/>
                <a:gd name="connsiteY1129" fmla="*/ 916170 h 1002999"/>
                <a:gd name="connsiteX1130" fmla="*/ 676298 w 1357518"/>
                <a:gd name="connsiteY1130" fmla="*/ 917866 h 1002999"/>
                <a:gd name="connsiteX1131" fmla="*/ 675965 w 1357518"/>
                <a:gd name="connsiteY1131" fmla="*/ 919877 h 1002999"/>
                <a:gd name="connsiteX1132" fmla="*/ 674343 w 1357518"/>
                <a:gd name="connsiteY1132" fmla="*/ 924545 h 1002999"/>
                <a:gd name="connsiteX1133" fmla="*/ 676231 w 1357518"/>
                <a:gd name="connsiteY1133" fmla="*/ 927743 h 1002999"/>
                <a:gd name="connsiteX1134" fmla="*/ 678289 w 1357518"/>
                <a:gd name="connsiteY1134" fmla="*/ 929301 h 1002999"/>
                <a:gd name="connsiteX1135" fmla="*/ 678050 w 1357518"/>
                <a:gd name="connsiteY1135" fmla="*/ 931351 h 1002999"/>
                <a:gd name="connsiteX1136" fmla="*/ 679015 w 1357518"/>
                <a:gd name="connsiteY1136" fmla="*/ 934628 h 1002999"/>
                <a:gd name="connsiteX1137" fmla="*/ 675931 w 1357518"/>
                <a:gd name="connsiteY1137" fmla="*/ 937548 h 1002999"/>
                <a:gd name="connsiteX1138" fmla="*/ 673372 w 1357518"/>
                <a:gd name="connsiteY1138" fmla="*/ 937438 h 1002999"/>
                <a:gd name="connsiteX1139" fmla="*/ 669724 w 1357518"/>
                <a:gd name="connsiteY1139" fmla="*/ 938094 h 1002999"/>
                <a:gd name="connsiteX1140" fmla="*/ 668510 w 1357518"/>
                <a:gd name="connsiteY1140" fmla="*/ 939379 h 1002999"/>
                <a:gd name="connsiteX1141" fmla="*/ 674296 w 1357518"/>
                <a:gd name="connsiteY1141" fmla="*/ 940592 h 1002999"/>
                <a:gd name="connsiteX1142" fmla="*/ 673771 w 1357518"/>
                <a:gd name="connsiteY1142" fmla="*/ 942774 h 1002999"/>
                <a:gd name="connsiteX1143" fmla="*/ 672193 w 1357518"/>
                <a:gd name="connsiteY1143" fmla="*/ 945499 h 1002999"/>
                <a:gd name="connsiteX1144" fmla="*/ 670534 w 1357518"/>
                <a:gd name="connsiteY1144" fmla="*/ 951390 h 1002999"/>
                <a:gd name="connsiteX1145" fmla="*/ 667168 w 1357518"/>
                <a:gd name="connsiteY1145" fmla="*/ 961451 h 1002999"/>
                <a:gd name="connsiteX1146" fmla="*/ 665597 w 1357518"/>
                <a:gd name="connsiteY1146" fmla="*/ 971395 h 1002999"/>
                <a:gd name="connsiteX1147" fmla="*/ 658365 w 1357518"/>
                <a:gd name="connsiteY1147" fmla="*/ 979534 h 1002999"/>
                <a:gd name="connsiteX1148" fmla="*/ 655803 w 1357518"/>
                <a:gd name="connsiteY1148" fmla="*/ 979758 h 1002999"/>
                <a:gd name="connsiteX1149" fmla="*/ 655160 w 1357518"/>
                <a:gd name="connsiteY1149" fmla="*/ 980080 h 1002999"/>
                <a:gd name="connsiteX1150" fmla="*/ 651638 w 1357518"/>
                <a:gd name="connsiteY1150" fmla="*/ 979664 h 1002999"/>
                <a:gd name="connsiteX1151" fmla="*/ 646110 w 1357518"/>
                <a:gd name="connsiteY1151" fmla="*/ 977789 h 1002999"/>
                <a:gd name="connsiteX1152" fmla="*/ 641828 w 1357518"/>
                <a:gd name="connsiteY1152" fmla="*/ 977170 h 1002999"/>
                <a:gd name="connsiteX1153" fmla="*/ 638937 w 1357518"/>
                <a:gd name="connsiteY1153" fmla="*/ 977144 h 1002999"/>
                <a:gd name="connsiteX1154" fmla="*/ 638565 w 1357518"/>
                <a:gd name="connsiteY1154" fmla="*/ 978077 h 1002999"/>
                <a:gd name="connsiteX1155" fmla="*/ 640962 w 1357518"/>
                <a:gd name="connsiteY1155" fmla="*/ 979591 h 1002999"/>
                <a:gd name="connsiteX1156" fmla="*/ 644625 w 1357518"/>
                <a:gd name="connsiteY1156" fmla="*/ 980223 h 1002999"/>
                <a:gd name="connsiteX1157" fmla="*/ 647553 w 1357518"/>
                <a:gd name="connsiteY1157" fmla="*/ 981222 h 1002999"/>
                <a:gd name="connsiteX1158" fmla="*/ 652803 w 1357518"/>
                <a:gd name="connsiteY1158" fmla="*/ 982155 h 1002999"/>
                <a:gd name="connsiteX1159" fmla="*/ 654631 w 1357518"/>
                <a:gd name="connsiteY1159" fmla="*/ 983961 h 1002999"/>
                <a:gd name="connsiteX1160" fmla="*/ 655880 w 1357518"/>
                <a:gd name="connsiteY1160" fmla="*/ 985882 h 1002999"/>
                <a:gd name="connsiteX1161" fmla="*/ 655695 w 1357518"/>
                <a:gd name="connsiteY1161" fmla="*/ 986939 h 1002999"/>
                <a:gd name="connsiteX1162" fmla="*/ 655684 w 1357518"/>
                <a:gd name="connsiteY1162" fmla="*/ 988187 h 1002999"/>
                <a:gd name="connsiteX1163" fmla="*/ 656622 w 1357518"/>
                <a:gd name="connsiteY1163" fmla="*/ 994886 h 1002999"/>
                <a:gd name="connsiteX1164" fmla="*/ 654148 w 1357518"/>
                <a:gd name="connsiteY1164" fmla="*/ 997197 h 1002999"/>
                <a:gd name="connsiteX1165" fmla="*/ 652262 w 1357518"/>
                <a:gd name="connsiteY1165" fmla="*/ 999284 h 1002999"/>
                <a:gd name="connsiteX1166" fmla="*/ 645700 w 1357518"/>
                <a:gd name="connsiteY1166" fmla="*/ 998994 h 1002999"/>
                <a:gd name="connsiteX1167" fmla="*/ 644558 w 1357518"/>
                <a:gd name="connsiteY1167" fmla="*/ 998267 h 1002999"/>
                <a:gd name="connsiteX1168" fmla="*/ 638222 w 1357518"/>
                <a:gd name="connsiteY1168" fmla="*/ 996068 h 1002999"/>
                <a:gd name="connsiteX1169" fmla="*/ 638612 w 1357518"/>
                <a:gd name="connsiteY1169" fmla="*/ 997100 h 1002999"/>
                <a:gd name="connsiteX1170" fmla="*/ 643196 w 1357518"/>
                <a:gd name="connsiteY1170" fmla="*/ 1000088 h 1002999"/>
                <a:gd name="connsiteX1171" fmla="*/ 644793 w 1357518"/>
                <a:gd name="connsiteY1171" fmla="*/ 1001576 h 1002999"/>
                <a:gd name="connsiteX1172" fmla="*/ 643725 w 1357518"/>
                <a:gd name="connsiteY1172" fmla="*/ 1001884 h 1002999"/>
                <a:gd name="connsiteX1173" fmla="*/ 641875 w 1357518"/>
                <a:gd name="connsiteY1173" fmla="*/ 1001995 h 1002999"/>
                <a:gd name="connsiteX1174" fmla="*/ 639294 w 1357518"/>
                <a:gd name="connsiteY1174" fmla="*/ 1002999 h 1002999"/>
                <a:gd name="connsiteX1175" fmla="*/ 634641 w 1357518"/>
                <a:gd name="connsiteY1175" fmla="*/ 1002457 h 1002999"/>
                <a:gd name="connsiteX1176" fmla="*/ 634897 w 1357518"/>
                <a:gd name="connsiteY1176" fmla="*/ 1000947 h 1002999"/>
                <a:gd name="connsiteX1177" fmla="*/ 635780 w 1357518"/>
                <a:gd name="connsiteY1177" fmla="*/ 999394 h 1002999"/>
                <a:gd name="connsiteX1178" fmla="*/ 633652 w 1357518"/>
                <a:gd name="connsiteY1178" fmla="*/ 999658 h 1002999"/>
                <a:gd name="connsiteX1179" fmla="*/ 631281 w 1357518"/>
                <a:gd name="connsiteY1179" fmla="*/ 1000446 h 1002999"/>
                <a:gd name="connsiteX1180" fmla="*/ 629904 w 1357518"/>
                <a:gd name="connsiteY1180" fmla="*/ 1000156 h 1002999"/>
                <a:gd name="connsiteX1181" fmla="*/ 628746 w 1357518"/>
                <a:gd name="connsiteY1181" fmla="*/ 1000243 h 1002999"/>
                <a:gd name="connsiteX1182" fmla="*/ 628097 w 1357518"/>
                <a:gd name="connsiteY1182" fmla="*/ 999466 h 1002999"/>
                <a:gd name="connsiteX1183" fmla="*/ 627201 w 1357518"/>
                <a:gd name="connsiteY1183" fmla="*/ 996429 h 1002999"/>
                <a:gd name="connsiteX1184" fmla="*/ 628274 w 1357518"/>
                <a:gd name="connsiteY1184" fmla="*/ 994900 h 1002999"/>
                <a:gd name="connsiteX1185" fmla="*/ 632113 w 1357518"/>
                <a:gd name="connsiteY1185" fmla="*/ 990944 h 1002999"/>
                <a:gd name="connsiteX1186" fmla="*/ 633334 w 1357518"/>
                <a:gd name="connsiteY1186" fmla="*/ 988819 h 1002999"/>
                <a:gd name="connsiteX1187" fmla="*/ 632267 w 1357518"/>
                <a:gd name="connsiteY1187" fmla="*/ 987852 h 1002999"/>
                <a:gd name="connsiteX1188" fmla="*/ 629526 w 1357518"/>
                <a:gd name="connsiteY1188" fmla="*/ 990132 h 1002999"/>
                <a:gd name="connsiteX1189" fmla="*/ 626694 w 1357518"/>
                <a:gd name="connsiteY1189" fmla="*/ 993752 h 1002999"/>
                <a:gd name="connsiteX1190" fmla="*/ 625439 w 1357518"/>
                <a:gd name="connsiteY1190" fmla="*/ 995935 h 1002999"/>
                <a:gd name="connsiteX1191" fmla="*/ 623667 w 1357518"/>
                <a:gd name="connsiteY1191" fmla="*/ 996360 h 1002999"/>
                <a:gd name="connsiteX1192" fmla="*/ 619269 w 1357518"/>
                <a:gd name="connsiteY1192" fmla="*/ 995260 h 1002999"/>
                <a:gd name="connsiteX1193" fmla="*/ 606730 w 1357518"/>
                <a:gd name="connsiteY1193" fmla="*/ 990194 h 1002999"/>
                <a:gd name="connsiteX1194" fmla="*/ 607104 w 1357518"/>
                <a:gd name="connsiteY1194" fmla="*/ 987108 h 1002999"/>
                <a:gd name="connsiteX1195" fmla="*/ 606984 w 1357518"/>
                <a:gd name="connsiteY1195" fmla="*/ 984550 h 1002999"/>
                <a:gd name="connsiteX1196" fmla="*/ 610638 w 1357518"/>
                <a:gd name="connsiteY1196" fmla="*/ 984225 h 1002999"/>
                <a:gd name="connsiteX1197" fmla="*/ 613297 w 1357518"/>
                <a:gd name="connsiteY1197" fmla="*/ 983111 h 1002999"/>
                <a:gd name="connsiteX1198" fmla="*/ 615675 w 1357518"/>
                <a:gd name="connsiteY1198" fmla="*/ 981747 h 1002999"/>
                <a:gd name="connsiteX1199" fmla="*/ 618355 w 1357518"/>
                <a:gd name="connsiteY1199" fmla="*/ 979259 h 1002999"/>
                <a:gd name="connsiteX1200" fmla="*/ 620811 w 1357518"/>
                <a:gd name="connsiteY1200" fmla="*/ 975145 h 1002999"/>
                <a:gd name="connsiteX1201" fmla="*/ 620495 w 1357518"/>
                <a:gd name="connsiteY1201" fmla="*/ 974833 h 1002999"/>
                <a:gd name="connsiteX1202" fmla="*/ 613287 w 1357518"/>
                <a:gd name="connsiteY1202" fmla="*/ 980083 h 1002999"/>
                <a:gd name="connsiteX1203" fmla="*/ 608852 w 1357518"/>
                <a:gd name="connsiteY1203" fmla="*/ 981836 h 1002999"/>
                <a:gd name="connsiteX1204" fmla="*/ 606702 w 1357518"/>
                <a:gd name="connsiteY1204" fmla="*/ 982156 h 1002999"/>
                <a:gd name="connsiteX1205" fmla="*/ 605633 w 1357518"/>
                <a:gd name="connsiteY1205" fmla="*/ 981379 h 1002999"/>
                <a:gd name="connsiteX1206" fmla="*/ 602064 w 1357518"/>
                <a:gd name="connsiteY1206" fmla="*/ 979695 h 1002999"/>
                <a:gd name="connsiteX1207" fmla="*/ 599743 w 1357518"/>
                <a:gd name="connsiteY1207" fmla="*/ 978929 h 1002999"/>
                <a:gd name="connsiteX1208" fmla="*/ 594456 w 1357518"/>
                <a:gd name="connsiteY1208" fmla="*/ 977675 h 1002999"/>
                <a:gd name="connsiteX1209" fmla="*/ 593523 w 1357518"/>
                <a:gd name="connsiteY1209" fmla="*/ 976999 h 1002999"/>
                <a:gd name="connsiteX1210" fmla="*/ 591973 w 1357518"/>
                <a:gd name="connsiteY1210" fmla="*/ 976465 h 1002999"/>
                <a:gd name="connsiteX1211" fmla="*/ 589865 w 1357518"/>
                <a:gd name="connsiteY1211" fmla="*/ 971093 h 1002999"/>
                <a:gd name="connsiteX1212" fmla="*/ 592592 w 1357518"/>
                <a:gd name="connsiteY1212" fmla="*/ 964551 h 1002999"/>
                <a:gd name="connsiteX1213" fmla="*/ 594469 w 1357518"/>
                <a:gd name="connsiteY1213" fmla="*/ 962650 h 1002999"/>
                <a:gd name="connsiteX1214" fmla="*/ 595660 w 1357518"/>
                <a:gd name="connsiteY1214" fmla="*/ 960441 h 1002999"/>
                <a:gd name="connsiteX1215" fmla="*/ 596334 w 1357518"/>
                <a:gd name="connsiteY1215" fmla="*/ 957514 h 1002999"/>
                <a:gd name="connsiteX1216" fmla="*/ 595874 w 1357518"/>
                <a:gd name="connsiteY1216" fmla="*/ 956263 h 1002999"/>
                <a:gd name="connsiteX1217" fmla="*/ 594280 w 1357518"/>
                <a:gd name="connsiteY1217" fmla="*/ 956692 h 1002999"/>
                <a:gd name="connsiteX1218" fmla="*/ 593541 w 1357518"/>
                <a:gd name="connsiteY1218" fmla="*/ 957695 h 1002999"/>
                <a:gd name="connsiteX1219" fmla="*/ 593658 w 1357518"/>
                <a:gd name="connsiteY1219" fmla="*/ 959262 h 1002999"/>
                <a:gd name="connsiteX1220" fmla="*/ 592745 w 1357518"/>
                <a:gd name="connsiteY1220" fmla="*/ 960351 h 1002999"/>
                <a:gd name="connsiteX1221" fmla="*/ 586444 w 1357518"/>
                <a:gd name="connsiteY1221" fmla="*/ 962853 h 1002999"/>
                <a:gd name="connsiteX1222" fmla="*/ 580125 w 1357518"/>
                <a:gd name="connsiteY1222" fmla="*/ 964877 h 1002999"/>
                <a:gd name="connsiteX1223" fmla="*/ 577132 w 1357518"/>
                <a:gd name="connsiteY1223" fmla="*/ 966793 h 1002999"/>
                <a:gd name="connsiteX1224" fmla="*/ 575189 w 1357518"/>
                <a:gd name="connsiteY1224" fmla="*/ 968289 h 1002999"/>
                <a:gd name="connsiteX1225" fmla="*/ 573668 w 1357518"/>
                <a:gd name="connsiteY1225" fmla="*/ 969758 h 1002999"/>
                <a:gd name="connsiteX1226" fmla="*/ 571341 w 1357518"/>
                <a:gd name="connsiteY1226" fmla="*/ 969626 h 1002999"/>
                <a:gd name="connsiteX1227" fmla="*/ 568131 w 1357518"/>
                <a:gd name="connsiteY1227" fmla="*/ 969928 h 1002999"/>
                <a:gd name="connsiteX1228" fmla="*/ 565930 w 1357518"/>
                <a:gd name="connsiteY1228" fmla="*/ 970881 h 1002999"/>
                <a:gd name="connsiteX1229" fmla="*/ 562716 w 1357518"/>
                <a:gd name="connsiteY1229" fmla="*/ 970296 h 1002999"/>
                <a:gd name="connsiteX1230" fmla="*/ 560617 w 1357518"/>
                <a:gd name="connsiteY1230" fmla="*/ 968881 h 1002999"/>
                <a:gd name="connsiteX1231" fmla="*/ 558088 w 1357518"/>
                <a:gd name="connsiteY1231" fmla="*/ 968718 h 1002999"/>
                <a:gd name="connsiteX1232" fmla="*/ 555248 w 1357518"/>
                <a:gd name="connsiteY1232" fmla="*/ 969400 h 1002999"/>
                <a:gd name="connsiteX1233" fmla="*/ 553285 w 1357518"/>
                <a:gd name="connsiteY1233" fmla="*/ 969342 h 1002999"/>
                <a:gd name="connsiteX1234" fmla="*/ 553448 w 1357518"/>
                <a:gd name="connsiteY1234" fmla="*/ 970303 h 1002999"/>
                <a:gd name="connsiteX1235" fmla="*/ 554752 w 1357518"/>
                <a:gd name="connsiteY1235" fmla="*/ 972666 h 1002999"/>
                <a:gd name="connsiteX1236" fmla="*/ 552585 w 1357518"/>
                <a:gd name="connsiteY1236" fmla="*/ 972824 h 1002999"/>
                <a:gd name="connsiteX1237" fmla="*/ 548471 w 1357518"/>
                <a:gd name="connsiteY1237" fmla="*/ 972917 h 1002999"/>
                <a:gd name="connsiteX1238" fmla="*/ 546402 w 1357518"/>
                <a:gd name="connsiteY1238" fmla="*/ 972233 h 1002999"/>
                <a:gd name="connsiteX1239" fmla="*/ 544782 w 1357518"/>
                <a:gd name="connsiteY1239" fmla="*/ 971337 h 1002999"/>
                <a:gd name="connsiteX1240" fmla="*/ 543430 w 1357518"/>
                <a:gd name="connsiteY1240" fmla="*/ 970079 h 1002999"/>
                <a:gd name="connsiteX1241" fmla="*/ 544243 w 1357518"/>
                <a:gd name="connsiteY1241" fmla="*/ 968436 h 1002999"/>
                <a:gd name="connsiteX1242" fmla="*/ 550859 w 1357518"/>
                <a:gd name="connsiteY1242" fmla="*/ 965425 h 1002999"/>
                <a:gd name="connsiteX1243" fmla="*/ 553859 w 1357518"/>
                <a:gd name="connsiteY1243" fmla="*/ 963680 h 1002999"/>
                <a:gd name="connsiteX1244" fmla="*/ 551902 w 1357518"/>
                <a:gd name="connsiteY1244" fmla="*/ 963078 h 1002999"/>
                <a:gd name="connsiteX1245" fmla="*/ 545548 w 1357518"/>
                <a:gd name="connsiteY1245" fmla="*/ 963622 h 1002999"/>
                <a:gd name="connsiteX1246" fmla="*/ 544491 w 1357518"/>
                <a:gd name="connsiteY1246" fmla="*/ 963170 h 1002999"/>
                <a:gd name="connsiteX1247" fmla="*/ 540235 w 1357518"/>
                <a:gd name="connsiteY1247" fmla="*/ 963445 h 1002999"/>
                <a:gd name="connsiteX1248" fmla="*/ 540419 w 1357518"/>
                <a:gd name="connsiteY1248" fmla="*/ 958950 h 1002999"/>
                <a:gd name="connsiteX1249" fmla="*/ 539383 w 1357518"/>
                <a:gd name="connsiteY1249" fmla="*/ 957833 h 1002999"/>
                <a:gd name="connsiteX1250" fmla="*/ 539312 w 1357518"/>
                <a:gd name="connsiteY1250" fmla="*/ 957304 h 1002999"/>
                <a:gd name="connsiteX1251" fmla="*/ 537838 w 1357518"/>
                <a:gd name="connsiteY1251" fmla="*/ 956047 h 1002999"/>
                <a:gd name="connsiteX1252" fmla="*/ 536443 w 1357518"/>
                <a:gd name="connsiteY1252" fmla="*/ 955735 h 1002999"/>
                <a:gd name="connsiteX1253" fmla="*/ 535575 w 1357518"/>
                <a:gd name="connsiteY1253" fmla="*/ 955282 h 1002999"/>
                <a:gd name="connsiteX1254" fmla="*/ 528391 w 1357518"/>
                <a:gd name="connsiteY1254" fmla="*/ 954270 h 1002999"/>
                <a:gd name="connsiteX1255" fmla="*/ 527452 w 1357518"/>
                <a:gd name="connsiteY1255" fmla="*/ 951754 h 1002999"/>
                <a:gd name="connsiteX1256" fmla="*/ 526951 w 1357518"/>
                <a:gd name="connsiteY1256" fmla="*/ 949163 h 1002999"/>
                <a:gd name="connsiteX1257" fmla="*/ 525579 w 1357518"/>
                <a:gd name="connsiteY1257" fmla="*/ 945944 h 1002999"/>
                <a:gd name="connsiteX1258" fmla="*/ 522140 w 1357518"/>
                <a:gd name="connsiteY1258" fmla="*/ 945104 h 1002999"/>
                <a:gd name="connsiteX1259" fmla="*/ 520276 w 1357518"/>
                <a:gd name="connsiteY1259" fmla="*/ 943706 h 1002999"/>
                <a:gd name="connsiteX1260" fmla="*/ 521753 w 1357518"/>
                <a:gd name="connsiteY1260" fmla="*/ 942276 h 1002999"/>
                <a:gd name="connsiteX1261" fmla="*/ 522397 w 1357518"/>
                <a:gd name="connsiteY1261" fmla="*/ 940460 h 1002999"/>
                <a:gd name="connsiteX1262" fmla="*/ 520802 w 1357518"/>
                <a:gd name="connsiteY1262" fmla="*/ 939631 h 1002999"/>
                <a:gd name="connsiteX1263" fmla="*/ 519785 w 1357518"/>
                <a:gd name="connsiteY1263" fmla="*/ 938349 h 1002999"/>
                <a:gd name="connsiteX1264" fmla="*/ 519935 w 1357518"/>
                <a:gd name="connsiteY1264" fmla="*/ 937516 h 1002999"/>
                <a:gd name="connsiteX1265" fmla="*/ 518643 w 1357518"/>
                <a:gd name="connsiteY1265" fmla="*/ 935264 h 1002999"/>
                <a:gd name="connsiteX1266" fmla="*/ 518259 w 1357518"/>
                <a:gd name="connsiteY1266" fmla="*/ 933506 h 1002999"/>
                <a:gd name="connsiteX1267" fmla="*/ 519736 w 1357518"/>
                <a:gd name="connsiteY1267" fmla="*/ 931856 h 1002999"/>
                <a:gd name="connsiteX1268" fmla="*/ 523798 w 1357518"/>
                <a:gd name="connsiteY1268" fmla="*/ 929987 h 1002999"/>
                <a:gd name="connsiteX1269" fmla="*/ 525108 w 1357518"/>
                <a:gd name="connsiteY1269" fmla="*/ 929234 h 1002999"/>
                <a:gd name="connsiteX1270" fmla="*/ 525791 w 1357518"/>
                <a:gd name="connsiteY1270" fmla="*/ 928419 h 1002999"/>
                <a:gd name="connsiteX1271" fmla="*/ 530455 w 1357518"/>
                <a:gd name="connsiteY1271" fmla="*/ 927042 h 1002999"/>
                <a:gd name="connsiteX1272" fmla="*/ 526487 w 1357518"/>
                <a:gd name="connsiteY1272" fmla="*/ 926068 h 1002999"/>
                <a:gd name="connsiteX1273" fmla="*/ 524004 w 1357518"/>
                <a:gd name="connsiteY1273" fmla="*/ 925917 h 1002999"/>
                <a:gd name="connsiteX1274" fmla="*/ 522195 w 1357518"/>
                <a:gd name="connsiteY1274" fmla="*/ 926371 h 1002999"/>
                <a:gd name="connsiteX1275" fmla="*/ 520522 w 1357518"/>
                <a:gd name="connsiteY1275" fmla="*/ 928201 h 1002999"/>
                <a:gd name="connsiteX1276" fmla="*/ 518961 w 1357518"/>
                <a:gd name="connsiteY1276" fmla="*/ 929414 h 1002999"/>
                <a:gd name="connsiteX1277" fmla="*/ 512875 w 1357518"/>
                <a:gd name="connsiteY1277" fmla="*/ 929811 h 1002999"/>
                <a:gd name="connsiteX1278" fmla="*/ 511979 w 1357518"/>
                <a:gd name="connsiteY1278" fmla="*/ 929184 h 1002999"/>
                <a:gd name="connsiteX1279" fmla="*/ 511556 w 1357518"/>
                <a:gd name="connsiteY1279" fmla="*/ 926602 h 1002999"/>
                <a:gd name="connsiteX1280" fmla="*/ 511903 w 1357518"/>
                <a:gd name="connsiteY1280" fmla="*/ 924609 h 1002999"/>
                <a:gd name="connsiteX1281" fmla="*/ 514429 w 1357518"/>
                <a:gd name="connsiteY1281" fmla="*/ 921808 h 1002999"/>
                <a:gd name="connsiteX1282" fmla="*/ 511515 w 1357518"/>
                <a:gd name="connsiteY1282" fmla="*/ 920416 h 1002999"/>
                <a:gd name="connsiteX1283" fmla="*/ 508844 w 1357518"/>
                <a:gd name="connsiteY1283" fmla="*/ 919964 h 1002999"/>
                <a:gd name="connsiteX1284" fmla="*/ 505808 w 1357518"/>
                <a:gd name="connsiteY1284" fmla="*/ 918663 h 1002999"/>
                <a:gd name="connsiteX1285" fmla="*/ 503003 w 1357518"/>
                <a:gd name="connsiteY1285" fmla="*/ 917289 h 1002999"/>
                <a:gd name="connsiteX1286" fmla="*/ 500594 w 1357518"/>
                <a:gd name="connsiteY1286" fmla="*/ 915688 h 1002999"/>
                <a:gd name="connsiteX1287" fmla="*/ 498249 w 1357518"/>
                <a:gd name="connsiteY1287" fmla="*/ 913795 h 1002999"/>
                <a:gd name="connsiteX1288" fmla="*/ 497497 w 1357518"/>
                <a:gd name="connsiteY1288" fmla="*/ 913555 h 1002999"/>
                <a:gd name="connsiteX1289" fmla="*/ 498344 w 1357518"/>
                <a:gd name="connsiteY1289" fmla="*/ 911575 h 1002999"/>
                <a:gd name="connsiteX1290" fmla="*/ 498821 w 1357518"/>
                <a:gd name="connsiteY1290" fmla="*/ 909946 h 1002999"/>
                <a:gd name="connsiteX1291" fmla="*/ 498895 w 1357518"/>
                <a:gd name="connsiteY1291" fmla="*/ 906439 h 1002999"/>
                <a:gd name="connsiteX1292" fmla="*/ 497950 w 1357518"/>
                <a:gd name="connsiteY1292" fmla="*/ 904983 h 1002999"/>
                <a:gd name="connsiteX1293" fmla="*/ 500050 w 1357518"/>
                <a:gd name="connsiteY1293" fmla="*/ 901984 h 1002999"/>
                <a:gd name="connsiteX1294" fmla="*/ 502875 w 1357518"/>
                <a:gd name="connsiteY1294" fmla="*/ 898697 h 1002999"/>
                <a:gd name="connsiteX1295" fmla="*/ 509130 w 1357518"/>
                <a:gd name="connsiteY1295" fmla="*/ 893812 h 1002999"/>
                <a:gd name="connsiteX1296" fmla="*/ 502516 w 1357518"/>
                <a:gd name="connsiteY1296" fmla="*/ 896167 h 1002999"/>
                <a:gd name="connsiteX1297" fmla="*/ 497074 w 1357518"/>
                <a:gd name="connsiteY1297" fmla="*/ 901293 h 1002999"/>
                <a:gd name="connsiteX1298" fmla="*/ 495930 w 1357518"/>
                <a:gd name="connsiteY1298" fmla="*/ 901526 h 1002999"/>
                <a:gd name="connsiteX1299" fmla="*/ 495529 w 1357518"/>
                <a:gd name="connsiteY1299" fmla="*/ 900599 h 1002999"/>
                <a:gd name="connsiteX1300" fmla="*/ 493465 w 1357518"/>
                <a:gd name="connsiteY1300" fmla="*/ 897271 h 1002999"/>
                <a:gd name="connsiteX1301" fmla="*/ 491907 w 1357518"/>
                <a:gd name="connsiteY1301" fmla="*/ 896362 h 1002999"/>
                <a:gd name="connsiteX1302" fmla="*/ 491210 w 1357518"/>
                <a:gd name="connsiteY1302" fmla="*/ 895359 h 1002999"/>
                <a:gd name="connsiteX1303" fmla="*/ 488115 w 1357518"/>
                <a:gd name="connsiteY1303" fmla="*/ 893582 h 1002999"/>
                <a:gd name="connsiteX1304" fmla="*/ 486771 w 1357518"/>
                <a:gd name="connsiteY1304" fmla="*/ 892210 h 1002999"/>
                <a:gd name="connsiteX1305" fmla="*/ 484865 w 1357518"/>
                <a:gd name="connsiteY1305" fmla="*/ 889562 h 1002999"/>
                <a:gd name="connsiteX1306" fmla="*/ 482154 w 1357518"/>
                <a:gd name="connsiteY1306" fmla="*/ 886407 h 1002999"/>
                <a:gd name="connsiteX1307" fmla="*/ 478295 w 1357518"/>
                <a:gd name="connsiteY1307" fmla="*/ 880166 h 1002999"/>
                <a:gd name="connsiteX1308" fmla="*/ 472076 w 1357518"/>
                <a:gd name="connsiteY1308" fmla="*/ 872958 h 1002999"/>
                <a:gd name="connsiteX1309" fmla="*/ 470543 w 1357518"/>
                <a:gd name="connsiteY1309" fmla="*/ 868896 h 1002999"/>
                <a:gd name="connsiteX1310" fmla="*/ 472469 w 1357518"/>
                <a:gd name="connsiteY1310" fmla="*/ 863731 h 1002999"/>
                <a:gd name="connsiteX1311" fmla="*/ 470337 w 1357518"/>
                <a:gd name="connsiteY1311" fmla="*/ 860159 h 1002999"/>
                <a:gd name="connsiteX1312" fmla="*/ 476250 w 1357518"/>
                <a:gd name="connsiteY1312" fmla="*/ 858504 h 1002999"/>
                <a:gd name="connsiteX1313" fmla="*/ 484709 w 1357518"/>
                <a:gd name="connsiteY1313" fmla="*/ 856645 h 1002999"/>
                <a:gd name="connsiteX1314" fmla="*/ 489091 w 1357518"/>
                <a:gd name="connsiteY1314" fmla="*/ 855100 h 1002999"/>
                <a:gd name="connsiteX1315" fmla="*/ 491620 w 1357518"/>
                <a:gd name="connsiteY1315" fmla="*/ 854637 h 1002999"/>
                <a:gd name="connsiteX1316" fmla="*/ 496995 w 1357518"/>
                <a:gd name="connsiteY1316" fmla="*/ 854353 h 1002999"/>
                <a:gd name="connsiteX1317" fmla="*/ 498791 w 1357518"/>
                <a:gd name="connsiteY1317" fmla="*/ 852799 h 1002999"/>
                <a:gd name="connsiteX1318" fmla="*/ 495800 w 1357518"/>
                <a:gd name="connsiteY1318" fmla="*/ 853192 h 1002999"/>
                <a:gd name="connsiteX1319" fmla="*/ 493795 w 1357518"/>
                <a:gd name="connsiteY1319" fmla="*/ 852989 h 1002999"/>
                <a:gd name="connsiteX1320" fmla="*/ 493670 w 1357518"/>
                <a:gd name="connsiteY1320" fmla="*/ 852265 h 1002999"/>
                <a:gd name="connsiteX1321" fmla="*/ 494412 w 1357518"/>
                <a:gd name="connsiteY1321" fmla="*/ 850972 h 1002999"/>
                <a:gd name="connsiteX1322" fmla="*/ 494891 w 1357518"/>
                <a:gd name="connsiteY1322" fmla="*/ 849304 h 1002999"/>
                <a:gd name="connsiteX1323" fmla="*/ 493867 w 1357518"/>
                <a:gd name="connsiteY1323" fmla="*/ 849606 h 1002999"/>
                <a:gd name="connsiteX1324" fmla="*/ 488611 w 1357518"/>
                <a:gd name="connsiteY1324" fmla="*/ 852477 h 1002999"/>
                <a:gd name="connsiteX1325" fmla="*/ 480844 w 1357518"/>
                <a:gd name="connsiteY1325" fmla="*/ 854754 h 1002999"/>
                <a:gd name="connsiteX1326" fmla="*/ 474777 w 1357518"/>
                <a:gd name="connsiteY1326" fmla="*/ 856026 h 1002999"/>
                <a:gd name="connsiteX1327" fmla="*/ 473795 w 1357518"/>
                <a:gd name="connsiteY1327" fmla="*/ 855958 h 1002999"/>
                <a:gd name="connsiteX1328" fmla="*/ 471672 w 1357518"/>
                <a:gd name="connsiteY1328" fmla="*/ 856726 h 1002999"/>
                <a:gd name="connsiteX1329" fmla="*/ 470452 w 1357518"/>
                <a:gd name="connsiteY1329" fmla="*/ 856947 h 1002999"/>
                <a:gd name="connsiteX1330" fmla="*/ 469510 w 1357518"/>
                <a:gd name="connsiteY1330" fmla="*/ 856730 h 1002999"/>
                <a:gd name="connsiteX1331" fmla="*/ 467362 w 1357518"/>
                <a:gd name="connsiteY1331" fmla="*/ 854552 h 1002999"/>
                <a:gd name="connsiteX1332" fmla="*/ 466791 w 1357518"/>
                <a:gd name="connsiteY1332" fmla="*/ 853124 h 1002999"/>
                <a:gd name="connsiteX1333" fmla="*/ 470640 w 1357518"/>
                <a:gd name="connsiteY1333" fmla="*/ 849256 h 1002999"/>
                <a:gd name="connsiteX1334" fmla="*/ 473515 w 1357518"/>
                <a:gd name="connsiteY1334" fmla="*/ 843963 h 1002999"/>
                <a:gd name="connsiteX1335" fmla="*/ 477323 w 1357518"/>
                <a:gd name="connsiteY1335" fmla="*/ 840494 h 1002999"/>
                <a:gd name="connsiteX1336" fmla="*/ 480013 w 1357518"/>
                <a:gd name="connsiteY1336" fmla="*/ 840059 h 1002999"/>
                <a:gd name="connsiteX1337" fmla="*/ 484510 w 1357518"/>
                <a:gd name="connsiteY1337" fmla="*/ 840245 h 1002999"/>
                <a:gd name="connsiteX1338" fmla="*/ 486094 w 1357518"/>
                <a:gd name="connsiteY1338" fmla="*/ 840552 h 1002999"/>
                <a:gd name="connsiteX1339" fmla="*/ 485590 w 1357518"/>
                <a:gd name="connsiteY1339" fmla="*/ 838490 h 1002999"/>
                <a:gd name="connsiteX1340" fmla="*/ 485777 w 1357518"/>
                <a:gd name="connsiteY1340" fmla="*/ 837496 h 1002999"/>
                <a:gd name="connsiteX1341" fmla="*/ 489423 w 1357518"/>
                <a:gd name="connsiteY1341" fmla="*/ 836300 h 1002999"/>
                <a:gd name="connsiteX1342" fmla="*/ 493674 w 1357518"/>
                <a:gd name="connsiteY1342" fmla="*/ 835765 h 1002999"/>
                <a:gd name="connsiteX1343" fmla="*/ 496703 w 1357518"/>
                <a:gd name="connsiteY1343" fmla="*/ 836143 h 1002999"/>
                <a:gd name="connsiteX1344" fmla="*/ 498608 w 1357518"/>
                <a:gd name="connsiteY1344" fmla="*/ 838564 h 1002999"/>
                <a:gd name="connsiteX1345" fmla="*/ 501057 w 1357518"/>
                <a:gd name="connsiteY1345" fmla="*/ 843025 h 1002999"/>
                <a:gd name="connsiteX1346" fmla="*/ 504357 w 1357518"/>
                <a:gd name="connsiteY1346" fmla="*/ 844529 h 1002999"/>
                <a:gd name="connsiteX1347" fmla="*/ 504212 w 1357518"/>
                <a:gd name="connsiteY1347" fmla="*/ 842388 h 1002999"/>
                <a:gd name="connsiteX1348" fmla="*/ 502500 w 1357518"/>
                <a:gd name="connsiteY1348" fmla="*/ 839627 h 1002999"/>
                <a:gd name="connsiteX1349" fmla="*/ 501866 w 1357518"/>
                <a:gd name="connsiteY1349" fmla="*/ 835386 h 1002999"/>
                <a:gd name="connsiteX1350" fmla="*/ 499693 w 1357518"/>
                <a:gd name="connsiteY1350" fmla="*/ 833595 h 1002999"/>
                <a:gd name="connsiteX1351" fmla="*/ 497947 w 1357518"/>
                <a:gd name="connsiteY1351" fmla="*/ 832711 h 1002999"/>
                <a:gd name="connsiteX1352" fmla="*/ 493124 w 1357518"/>
                <a:gd name="connsiteY1352" fmla="*/ 833143 h 1002999"/>
                <a:gd name="connsiteX1353" fmla="*/ 490224 w 1357518"/>
                <a:gd name="connsiteY1353" fmla="*/ 830035 h 1002999"/>
                <a:gd name="connsiteX1354" fmla="*/ 489566 w 1357518"/>
                <a:gd name="connsiteY1354" fmla="*/ 828893 h 1002999"/>
                <a:gd name="connsiteX1355" fmla="*/ 489490 w 1357518"/>
                <a:gd name="connsiteY1355" fmla="*/ 827375 h 1002999"/>
                <a:gd name="connsiteX1356" fmla="*/ 486597 w 1357518"/>
                <a:gd name="connsiteY1356" fmla="*/ 822911 h 1002999"/>
                <a:gd name="connsiteX1357" fmla="*/ 485666 w 1357518"/>
                <a:gd name="connsiteY1357" fmla="*/ 820677 h 1002999"/>
                <a:gd name="connsiteX1358" fmla="*/ 484130 w 1357518"/>
                <a:gd name="connsiteY1358" fmla="*/ 817696 h 1002999"/>
                <a:gd name="connsiteX1359" fmla="*/ 483314 w 1357518"/>
                <a:gd name="connsiteY1359" fmla="*/ 817537 h 1002999"/>
                <a:gd name="connsiteX1360" fmla="*/ 484351 w 1357518"/>
                <a:gd name="connsiteY1360" fmla="*/ 821288 h 1002999"/>
                <a:gd name="connsiteX1361" fmla="*/ 485709 w 1357518"/>
                <a:gd name="connsiteY1361" fmla="*/ 823923 h 1002999"/>
                <a:gd name="connsiteX1362" fmla="*/ 487643 w 1357518"/>
                <a:gd name="connsiteY1362" fmla="*/ 829705 h 1002999"/>
                <a:gd name="connsiteX1363" fmla="*/ 488600 w 1357518"/>
                <a:gd name="connsiteY1363" fmla="*/ 832030 h 1002999"/>
                <a:gd name="connsiteX1364" fmla="*/ 487304 w 1357518"/>
                <a:gd name="connsiteY1364" fmla="*/ 833871 h 1002999"/>
                <a:gd name="connsiteX1365" fmla="*/ 484852 w 1357518"/>
                <a:gd name="connsiteY1365" fmla="*/ 835691 h 1002999"/>
                <a:gd name="connsiteX1366" fmla="*/ 482685 w 1357518"/>
                <a:gd name="connsiteY1366" fmla="*/ 836776 h 1002999"/>
                <a:gd name="connsiteX1367" fmla="*/ 477565 w 1357518"/>
                <a:gd name="connsiteY1367" fmla="*/ 838074 h 1002999"/>
                <a:gd name="connsiteX1368" fmla="*/ 478666 w 1357518"/>
                <a:gd name="connsiteY1368" fmla="*/ 835243 h 1002999"/>
                <a:gd name="connsiteX1369" fmla="*/ 479371 w 1357518"/>
                <a:gd name="connsiteY1369" fmla="*/ 832455 h 1002999"/>
                <a:gd name="connsiteX1370" fmla="*/ 476797 w 1357518"/>
                <a:gd name="connsiteY1370" fmla="*/ 833443 h 1002999"/>
                <a:gd name="connsiteX1371" fmla="*/ 474403 w 1357518"/>
                <a:gd name="connsiteY1371" fmla="*/ 835464 h 1002999"/>
                <a:gd name="connsiteX1372" fmla="*/ 473578 w 1357518"/>
                <a:gd name="connsiteY1372" fmla="*/ 838266 h 1002999"/>
                <a:gd name="connsiteX1373" fmla="*/ 472040 w 1357518"/>
                <a:gd name="connsiteY1373" fmla="*/ 840808 h 1002999"/>
                <a:gd name="connsiteX1374" fmla="*/ 467479 w 1357518"/>
                <a:gd name="connsiteY1374" fmla="*/ 847025 h 1002999"/>
                <a:gd name="connsiteX1375" fmla="*/ 465680 w 1357518"/>
                <a:gd name="connsiteY1375" fmla="*/ 850472 h 1002999"/>
                <a:gd name="connsiteX1376" fmla="*/ 463981 w 1357518"/>
                <a:gd name="connsiteY1376" fmla="*/ 852171 h 1002999"/>
                <a:gd name="connsiteX1377" fmla="*/ 462043 w 1357518"/>
                <a:gd name="connsiteY1377" fmla="*/ 852640 h 1002999"/>
                <a:gd name="connsiteX1378" fmla="*/ 460360 w 1357518"/>
                <a:gd name="connsiteY1378" fmla="*/ 851292 h 1002999"/>
                <a:gd name="connsiteX1379" fmla="*/ 458934 w 1357518"/>
                <a:gd name="connsiteY1379" fmla="*/ 848124 h 1002999"/>
                <a:gd name="connsiteX1380" fmla="*/ 458266 w 1357518"/>
                <a:gd name="connsiteY1380" fmla="*/ 845644 h 1002999"/>
                <a:gd name="connsiteX1381" fmla="*/ 458186 w 1357518"/>
                <a:gd name="connsiteY1381" fmla="*/ 839194 h 1002999"/>
                <a:gd name="connsiteX1382" fmla="*/ 458366 w 1357518"/>
                <a:gd name="connsiteY1382" fmla="*/ 836179 h 1002999"/>
                <a:gd name="connsiteX1383" fmla="*/ 457589 w 1357518"/>
                <a:gd name="connsiteY1383" fmla="*/ 832109 h 1002999"/>
                <a:gd name="connsiteX1384" fmla="*/ 455125 w 1357518"/>
                <a:gd name="connsiteY1384" fmla="*/ 822598 h 1002999"/>
                <a:gd name="connsiteX1385" fmla="*/ 454603 w 1357518"/>
                <a:gd name="connsiteY1385" fmla="*/ 819202 h 1002999"/>
                <a:gd name="connsiteX1386" fmla="*/ 450434 w 1357518"/>
                <a:gd name="connsiteY1386" fmla="*/ 817393 h 1002999"/>
                <a:gd name="connsiteX1387" fmla="*/ 450373 w 1357518"/>
                <a:gd name="connsiteY1387" fmla="*/ 816809 h 1002999"/>
                <a:gd name="connsiteX1388" fmla="*/ 449282 w 1357518"/>
                <a:gd name="connsiteY1388" fmla="*/ 814871 h 1002999"/>
                <a:gd name="connsiteX1389" fmla="*/ 448442 w 1357518"/>
                <a:gd name="connsiteY1389" fmla="*/ 812930 h 1002999"/>
                <a:gd name="connsiteX1390" fmla="*/ 449137 w 1357518"/>
                <a:gd name="connsiteY1390" fmla="*/ 812219 h 1002999"/>
                <a:gd name="connsiteX1391" fmla="*/ 450128 w 1357518"/>
                <a:gd name="connsiteY1391" fmla="*/ 811705 h 1002999"/>
                <a:gd name="connsiteX1392" fmla="*/ 456360 w 1357518"/>
                <a:gd name="connsiteY1392" fmla="*/ 808838 h 1002999"/>
                <a:gd name="connsiteX1393" fmla="*/ 460979 w 1357518"/>
                <a:gd name="connsiteY1393" fmla="*/ 805622 h 1002999"/>
                <a:gd name="connsiteX1394" fmla="*/ 466498 w 1357518"/>
                <a:gd name="connsiteY1394" fmla="*/ 800568 h 1002999"/>
                <a:gd name="connsiteX1395" fmla="*/ 468753 w 1357518"/>
                <a:gd name="connsiteY1395" fmla="*/ 798995 h 1002999"/>
                <a:gd name="connsiteX1396" fmla="*/ 476851 w 1357518"/>
                <a:gd name="connsiteY1396" fmla="*/ 797782 h 1002999"/>
                <a:gd name="connsiteX1397" fmla="*/ 480445 w 1357518"/>
                <a:gd name="connsiteY1397" fmla="*/ 797617 h 1002999"/>
                <a:gd name="connsiteX1398" fmla="*/ 480412 w 1357518"/>
                <a:gd name="connsiteY1398" fmla="*/ 796716 h 1002999"/>
                <a:gd name="connsiteX1399" fmla="*/ 479207 w 1357518"/>
                <a:gd name="connsiteY1399" fmla="*/ 796356 h 1002999"/>
                <a:gd name="connsiteX1400" fmla="*/ 473736 w 1357518"/>
                <a:gd name="connsiteY1400" fmla="*/ 796593 h 1002999"/>
                <a:gd name="connsiteX1401" fmla="*/ 466446 w 1357518"/>
                <a:gd name="connsiteY1401" fmla="*/ 798620 h 1002999"/>
                <a:gd name="connsiteX1402" fmla="*/ 465199 w 1357518"/>
                <a:gd name="connsiteY1402" fmla="*/ 799350 h 1002999"/>
                <a:gd name="connsiteX1403" fmla="*/ 462009 w 1357518"/>
                <a:gd name="connsiteY1403" fmla="*/ 802498 h 1002999"/>
                <a:gd name="connsiteX1404" fmla="*/ 459550 w 1357518"/>
                <a:gd name="connsiteY1404" fmla="*/ 804216 h 1002999"/>
                <a:gd name="connsiteX1405" fmla="*/ 452631 w 1357518"/>
                <a:gd name="connsiteY1405" fmla="*/ 808136 h 1002999"/>
                <a:gd name="connsiteX1406" fmla="*/ 448141 w 1357518"/>
                <a:gd name="connsiteY1406" fmla="*/ 808134 h 1002999"/>
                <a:gd name="connsiteX1407" fmla="*/ 443505 w 1357518"/>
                <a:gd name="connsiteY1407" fmla="*/ 803441 h 1002999"/>
                <a:gd name="connsiteX1408" fmla="*/ 438332 w 1357518"/>
                <a:gd name="connsiteY1408" fmla="*/ 804341 h 1002999"/>
                <a:gd name="connsiteX1409" fmla="*/ 434838 w 1357518"/>
                <a:gd name="connsiteY1409" fmla="*/ 804031 h 1002999"/>
                <a:gd name="connsiteX1410" fmla="*/ 433819 w 1357518"/>
                <a:gd name="connsiteY1410" fmla="*/ 803324 h 1002999"/>
                <a:gd name="connsiteX1411" fmla="*/ 433050 w 1357518"/>
                <a:gd name="connsiteY1411" fmla="*/ 796895 h 1002999"/>
                <a:gd name="connsiteX1412" fmla="*/ 435868 w 1357518"/>
                <a:gd name="connsiteY1412" fmla="*/ 789368 h 1002999"/>
                <a:gd name="connsiteX1413" fmla="*/ 432829 w 1357518"/>
                <a:gd name="connsiteY1413" fmla="*/ 789298 h 1002999"/>
                <a:gd name="connsiteX1414" fmla="*/ 432200 w 1357518"/>
                <a:gd name="connsiteY1414" fmla="*/ 788993 h 1002999"/>
                <a:gd name="connsiteX1415" fmla="*/ 430596 w 1357518"/>
                <a:gd name="connsiteY1415" fmla="*/ 787274 h 1002999"/>
                <a:gd name="connsiteX1416" fmla="*/ 429550 w 1357518"/>
                <a:gd name="connsiteY1416" fmla="*/ 786763 h 1002999"/>
                <a:gd name="connsiteX1417" fmla="*/ 430327 w 1357518"/>
                <a:gd name="connsiteY1417" fmla="*/ 785850 h 1002999"/>
                <a:gd name="connsiteX1418" fmla="*/ 437824 w 1357518"/>
                <a:gd name="connsiteY1418" fmla="*/ 782272 h 1002999"/>
                <a:gd name="connsiteX1419" fmla="*/ 449034 w 1357518"/>
                <a:gd name="connsiteY1419" fmla="*/ 775233 h 1002999"/>
                <a:gd name="connsiteX1420" fmla="*/ 453861 w 1357518"/>
                <a:gd name="connsiteY1420" fmla="*/ 772461 h 1002999"/>
                <a:gd name="connsiteX1421" fmla="*/ 456839 w 1357518"/>
                <a:gd name="connsiteY1421" fmla="*/ 771264 h 1002999"/>
                <a:gd name="connsiteX1422" fmla="*/ 459091 w 1357518"/>
                <a:gd name="connsiteY1422" fmla="*/ 769891 h 1002999"/>
                <a:gd name="connsiteX1423" fmla="*/ 461831 w 1357518"/>
                <a:gd name="connsiteY1423" fmla="*/ 766914 h 1002999"/>
                <a:gd name="connsiteX1424" fmla="*/ 462737 w 1357518"/>
                <a:gd name="connsiteY1424" fmla="*/ 765610 h 1002999"/>
                <a:gd name="connsiteX1425" fmla="*/ 464264 w 1357518"/>
                <a:gd name="connsiteY1425" fmla="*/ 764558 h 1002999"/>
                <a:gd name="connsiteX1426" fmla="*/ 467488 w 1357518"/>
                <a:gd name="connsiteY1426" fmla="*/ 763372 h 1002999"/>
                <a:gd name="connsiteX1427" fmla="*/ 471009 w 1357518"/>
                <a:gd name="connsiteY1427" fmla="*/ 761577 h 1002999"/>
                <a:gd name="connsiteX1428" fmla="*/ 476725 w 1357518"/>
                <a:gd name="connsiteY1428" fmla="*/ 757525 h 1002999"/>
                <a:gd name="connsiteX1429" fmla="*/ 477468 w 1357518"/>
                <a:gd name="connsiteY1429" fmla="*/ 756026 h 1002999"/>
                <a:gd name="connsiteX1430" fmla="*/ 476228 w 1357518"/>
                <a:gd name="connsiteY1430" fmla="*/ 755676 h 1002999"/>
                <a:gd name="connsiteX1431" fmla="*/ 473555 w 1357518"/>
                <a:gd name="connsiteY1431" fmla="*/ 757059 h 1002999"/>
                <a:gd name="connsiteX1432" fmla="*/ 468121 w 1357518"/>
                <a:gd name="connsiteY1432" fmla="*/ 760762 h 1002999"/>
                <a:gd name="connsiteX1433" fmla="*/ 464244 w 1357518"/>
                <a:gd name="connsiteY1433" fmla="*/ 762844 h 1002999"/>
                <a:gd name="connsiteX1434" fmla="*/ 451017 w 1357518"/>
                <a:gd name="connsiteY1434" fmla="*/ 772128 h 1002999"/>
                <a:gd name="connsiteX1435" fmla="*/ 445386 w 1357518"/>
                <a:gd name="connsiteY1435" fmla="*/ 775498 h 1002999"/>
                <a:gd name="connsiteX1436" fmla="*/ 442322 w 1357518"/>
                <a:gd name="connsiteY1436" fmla="*/ 777645 h 1002999"/>
                <a:gd name="connsiteX1437" fmla="*/ 439945 w 1357518"/>
                <a:gd name="connsiteY1437" fmla="*/ 779694 h 1002999"/>
                <a:gd name="connsiteX1438" fmla="*/ 437428 w 1357518"/>
                <a:gd name="connsiteY1438" fmla="*/ 781152 h 1002999"/>
                <a:gd name="connsiteX1439" fmla="*/ 434769 w 1357518"/>
                <a:gd name="connsiteY1439" fmla="*/ 782021 h 1002999"/>
                <a:gd name="connsiteX1440" fmla="*/ 429093 w 1357518"/>
                <a:gd name="connsiteY1440" fmla="*/ 782673 h 1002999"/>
                <a:gd name="connsiteX1441" fmla="*/ 426306 w 1357518"/>
                <a:gd name="connsiteY1441" fmla="*/ 783429 h 1002999"/>
                <a:gd name="connsiteX1442" fmla="*/ 424627 w 1357518"/>
                <a:gd name="connsiteY1442" fmla="*/ 782874 h 1002999"/>
                <a:gd name="connsiteX1443" fmla="*/ 423888 w 1357518"/>
                <a:gd name="connsiteY1443" fmla="*/ 778503 h 1002999"/>
                <a:gd name="connsiteX1444" fmla="*/ 424452 w 1357518"/>
                <a:gd name="connsiteY1444" fmla="*/ 775909 h 1002999"/>
                <a:gd name="connsiteX1445" fmla="*/ 424184 w 1357518"/>
                <a:gd name="connsiteY1445" fmla="*/ 773345 h 1002999"/>
                <a:gd name="connsiteX1446" fmla="*/ 425600 w 1357518"/>
                <a:gd name="connsiteY1446" fmla="*/ 769670 h 1002999"/>
                <a:gd name="connsiteX1447" fmla="*/ 427701 w 1357518"/>
                <a:gd name="connsiteY1447" fmla="*/ 767063 h 1002999"/>
                <a:gd name="connsiteX1448" fmla="*/ 428583 w 1357518"/>
                <a:gd name="connsiteY1448" fmla="*/ 765646 h 1002999"/>
                <a:gd name="connsiteX1449" fmla="*/ 428960 w 1357518"/>
                <a:gd name="connsiteY1449" fmla="*/ 764670 h 1002999"/>
                <a:gd name="connsiteX1450" fmla="*/ 433295 w 1357518"/>
                <a:gd name="connsiteY1450" fmla="*/ 761970 h 1002999"/>
                <a:gd name="connsiteX1451" fmla="*/ 435684 w 1357518"/>
                <a:gd name="connsiteY1451" fmla="*/ 760770 h 1002999"/>
                <a:gd name="connsiteX1452" fmla="*/ 437373 w 1357518"/>
                <a:gd name="connsiteY1452" fmla="*/ 758060 h 1002999"/>
                <a:gd name="connsiteX1453" fmla="*/ 446995 w 1357518"/>
                <a:gd name="connsiteY1453" fmla="*/ 757097 h 1002999"/>
                <a:gd name="connsiteX1454" fmla="*/ 449473 w 1357518"/>
                <a:gd name="connsiteY1454" fmla="*/ 757193 h 1002999"/>
                <a:gd name="connsiteX1455" fmla="*/ 450791 w 1357518"/>
                <a:gd name="connsiteY1455" fmla="*/ 756830 h 1002999"/>
                <a:gd name="connsiteX1456" fmla="*/ 451777 w 1357518"/>
                <a:gd name="connsiteY1456" fmla="*/ 756041 h 1002999"/>
                <a:gd name="connsiteX1457" fmla="*/ 450829 w 1357518"/>
                <a:gd name="connsiteY1457" fmla="*/ 755431 h 1002999"/>
                <a:gd name="connsiteX1458" fmla="*/ 447946 w 1357518"/>
                <a:gd name="connsiteY1458" fmla="*/ 755002 h 1002999"/>
                <a:gd name="connsiteX1459" fmla="*/ 440283 w 1357518"/>
                <a:gd name="connsiteY1459" fmla="*/ 755084 h 1002999"/>
                <a:gd name="connsiteX1460" fmla="*/ 433201 w 1357518"/>
                <a:gd name="connsiteY1460" fmla="*/ 754619 h 1002999"/>
                <a:gd name="connsiteX1461" fmla="*/ 429969 w 1357518"/>
                <a:gd name="connsiteY1461" fmla="*/ 754152 h 1002999"/>
                <a:gd name="connsiteX1462" fmla="*/ 428410 w 1357518"/>
                <a:gd name="connsiteY1462" fmla="*/ 754422 h 1002999"/>
                <a:gd name="connsiteX1463" fmla="*/ 425836 w 1357518"/>
                <a:gd name="connsiteY1463" fmla="*/ 753630 h 1002999"/>
                <a:gd name="connsiteX1464" fmla="*/ 423025 w 1357518"/>
                <a:gd name="connsiteY1464" fmla="*/ 752121 h 1002999"/>
                <a:gd name="connsiteX1465" fmla="*/ 418663 w 1357518"/>
                <a:gd name="connsiteY1465" fmla="*/ 746560 h 1002999"/>
                <a:gd name="connsiteX1466" fmla="*/ 420409 w 1357518"/>
                <a:gd name="connsiteY1466" fmla="*/ 739398 h 1002999"/>
                <a:gd name="connsiteX1467" fmla="*/ 420561 w 1357518"/>
                <a:gd name="connsiteY1467" fmla="*/ 735973 h 1002999"/>
                <a:gd name="connsiteX1468" fmla="*/ 426104 w 1357518"/>
                <a:gd name="connsiteY1468" fmla="*/ 732965 h 1002999"/>
                <a:gd name="connsiteX1469" fmla="*/ 429068 w 1357518"/>
                <a:gd name="connsiteY1469" fmla="*/ 731968 h 1002999"/>
                <a:gd name="connsiteX1470" fmla="*/ 433275 w 1357518"/>
                <a:gd name="connsiteY1470" fmla="*/ 729698 h 1002999"/>
                <a:gd name="connsiteX1471" fmla="*/ 438893 w 1357518"/>
                <a:gd name="connsiteY1471" fmla="*/ 725840 h 1002999"/>
                <a:gd name="connsiteX1472" fmla="*/ 445595 w 1357518"/>
                <a:gd name="connsiteY1472" fmla="*/ 723480 h 1002999"/>
                <a:gd name="connsiteX1473" fmla="*/ 449010 w 1357518"/>
                <a:gd name="connsiteY1473" fmla="*/ 723043 h 1002999"/>
                <a:gd name="connsiteX1474" fmla="*/ 451849 w 1357518"/>
                <a:gd name="connsiteY1474" fmla="*/ 723381 h 1002999"/>
                <a:gd name="connsiteX1475" fmla="*/ 462342 w 1357518"/>
                <a:gd name="connsiteY1475" fmla="*/ 726728 h 1002999"/>
                <a:gd name="connsiteX1476" fmla="*/ 467738 w 1357518"/>
                <a:gd name="connsiteY1476" fmla="*/ 727382 h 1002999"/>
                <a:gd name="connsiteX1477" fmla="*/ 472480 w 1357518"/>
                <a:gd name="connsiteY1477" fmla="*/ 726577 h 1002999"/>
                <a:gd name="connsiteX1478" fmla="*/ 478431 w 1357518"/>
                <a:gd name="connsiteY1478" fmla="*/ 727755 h 1002999"/>
                <a:gd name="connsiteX1479" fmla="*/ 488958 w 1357518"/>
                <a:gd name="connsiteY1479" fmla="*/ 732563 h 1002999"/>
                <a:gd name="connsiteX1480" fmla="*/ 490990 w 1357518"/>
                <a:gd name="connsiteY1480" fmla="*/ 731846 h 1002999"/>
                <a:gd name="connsiteX1481" fmla="*/ 490401 w 1357518"/>
                <a:gd name="connsiteY1481" fmla="*/ 730682 h 1002999"/>
                <a:gd name="connsiteX1482" fmla="*/ 478661 w 1357518"/>
                <a:gd name="connsiteY1482" fmla="*/ 725600 h 1002999"/>
                <a:gd name="connsiteX1483" fmla="*/ 478729 w 1357518"/>
                <a:gd name="connsiteY1483" fmla="*/ 724080 h 1002999"/>
                <a:gd name="connsiteX1484" fmla="*/ 481734 w 1357518"/>
                <a:gd name="connsiteY1484" fmla="*/ 723682 h 1002999"/>
                <a:gd name="connsiteX1485" fmla="*/ 484942 w 1357518"/>
                <a:gd name="connsiteY1485" fmla="*/ 722201 h 1002999"/>
                <a:gd name="connsiteX1486" fmla="*/ 483132 w 1357518"/>
                <a:gd name="connsiteY1486" fmla="*/ 721327 h 1002999"/>
                <a:gd name="connsiteX1487" fmla="*/ 475335 w 1357518"/>
                <a:gd name="connsiteY1487" fmla="*/ 722086 h 1002999"/>
                <a:gd name="connsiteX1488" fmla="*/ 473084 w 1357518"/>
                <a:gd name="connsiteY1488" fmla="*/ 723300 h 1002999"/>
                <a:gd name="connsiteX1489" fmla="*/ 465523 w 1357518"/>
                <a:gd name="connsiteY1489" fmla="*/ 723929 h 1002999"/>
                <a:gd name="connsiteX1490" fmla="*/ 461573 w 1357518"/>
                <a:gd name="connsiteY1490" fmla="*/ 722896 h 1002999"/>
                <a:gd name="connsiteX1491" fmla="*/ 458027 w 1357518"/>
                <a:gd name="connsiteY1491" fmla="*/ 722384 h 1002999"/>
                <a:gd name="connsiteX1492" fmla="*/ 452706 w 1357518"/>
                <a:gd name="connsiteY1492" fmla="*/ 720181 h 1002999"/>
                <a:gd name="connsiteX1493" fmla="*/ 448254 w 1357518"/>
                <a:gd name="connsiteY1493" fmla="*/ 720900 h 1002999"/>
                <a:gd name="connsiteX1494" fmla="*/ 445444 w 1357518"/>
                <a:gd name="connsiteY1494" fmla="*/ 721769 h 1002999"/>
                <a:gd name="connsiteX1495" fmla="*/ 440467 w 1357518"/>
                <a:gd name="connsiteY1495" fmla="*/ 722591 h 1002999"/>
                <a:gd name="connsiteX1496" fmla="*/ 438670 w 1357518"/>
                <a:gd name="connsiteY1496" fmla="*/ 723176 h 1002999"/>
                <a:gd name="connsiteX1497" fmla="*/ 428958 w 1357518"/>
                <a:gd name="connsiteY1497" fmla="*/ 730090 h 1002999"/>
                <a:gd name="connsiteX1498" fmla="*/ 424872 w 1357518"/>
                <a:gd name="connsiteY1498" fmla="*/ 731524 h 1002999"/>
                <a:gd name="connsiteX1499" fmla="*/ 421962 w 1357518"/>
                <a:gd name="connsiteY1499" fmla="*/ 731052 h 1002999"/>
                <a:gd name="connsiteX1500" fmla="*/ 424005 w 1357518"/>
                <a:gd name="connsiteY1500" fmla="*/ 726557 h 1002999"/>
                <a:gd name="connsiteX1501" fmla="*/ 424594 w 1357518"/>
                <a:gd name="connsiteY1501" fmla="*/ 724780 h 1002999"/>
                <a:gd name="connsiteX1502" fmla="*/ 424590 w 1357518"/>
                <a:gd name="connsiteY1502" fmla="*/ 722842 h 1002999"/>
                <a:gd name="connsiteX1503" fmla="*/ 425439 w 1357518"/>
                <a:gd name="connsiteY1503" fmla="*/ 720185 h 1002999"/>
                <a:gd name="connsiteX1504" fmla="*/ 430415 w 1357518"/>
                <a:gd name="connsiteY1504" fmla="*/ 715116 h 1002999"/>
                <a:gd name="connsiteX1505" fmla="*/ 433545 w 1357518"/>
                <a:gd name="connsiteY1505" fmla="*/ 709549 h 1002999"/>
                <a:gd name="connsiteX1506" fmla="*/ 434868 w 1357518"/>
                <a:gd name="connsiteY1506" fmla="*/ 706088 h 1002999"/>
                <a:gd name="connsiteX1507" fmla="*/ 437313 w 1357518"/>
                <a:gd name="connsiteY1507" fmla="*/ 705701 h 1002999"/>
                <a:gd name="connsiteX1508" fmla="*/ 440655 w 1357518"/>
                <a:gd name="connsiteY1508" fmla="*/ 706211 h 1002999"/>
                <a:gd name="connsiteX1509" fmla="*/ 450689 w 1357518"/>
                <a:gd name="connsiteY1509" fmla="*/ 708456 h 1002999"/>
                <a:gd name="connsiteX1510" fmla="*/ 459038 w 1357518"/>
                <a:gd name="connsiteY1510" fmla="*/ 711127 h 1002999"/>
                <a:gd name="connsiteX1511" fmla="*/ 465197 w 1357518"/>
                <a:gd name="connsiteY1511" fmla="*/ 711840 h 1002999"/>
                <a:gd name="connsiteX1512" fmla="*/ 469245 w 1357518"/>
                <a:gd name="connsiteY1512" fmla="*/ 711914 h 1002999"/>
                <a:gd name="connsiteX1513" fmla="*/ 470981 w 1357518"/>
                <a:gd name="connsiteY1513" fmla="*/ 711063 h 1002999"/>
                <a:gd name="connsiteX1514" fmla="*/ 472349 w 1357518"/>
                <a:gd name="connsiteY1514" fmla="*/ 709583 h 1002999"/>
                <a:gd name="connsiteX1515" fmla="*/ 472876 w 1357518"/>
                <a:gd name="connsiteY1515" fmla="*/ 708556 h 1002999"/>
                <a:gd name="connsiteX1516" fmla="*/ 473274 w 1357518"/>
                <a:gd name="connsiteY1516" fmla="*/ 706453 h 1002999"/>
                <a:gd name="connsiteX1517" fmla="*/ 473738 w 1357518"/>
                <a:gd name="connsiteY1517" fmla="*/ 705706 h 1002999"/>
                <a:gd name="connsiteX1518" fmla="*/ 475091 w 1357518"/>
                <a:gd name="connsiteY1518" fmla="*/ 704788 h 1002999"/>
                <a:gd name="connsiteX1519" fmla="*/ 477860 w 1357518"/>
                <a:gd name="connsiteY1519" fmla="*/ 701591 h 1002999"/>
                <a:gd name="connsiteX1520" fmla="*/ 478703 w 1357518"/>
                <a:gd name="connsiteY1520" fmla="*/ 699309 h 1002999"/>
                <a:gd name="connsiteX1521" fmla="*/ 477796 w 1357518"/>
                <a:gd name="connsiteY1521" fmla="*/ 697980 h 1002999"/>
                <a:gd name="connsiteX1522" fmla="*/ 475954 w 1357518"/>
                <a:gd name="connsiteY1522" fmla="*/ 698116 h 1002999"/>
                <a:gd name="connsiteX1523" fmla="*/ 472358 w 1357518"/>
                <a:gd name="connsiteY1523" fmla="*/ 698991 h 1002999"/>
                <a:gd name="connsiteX1524" fmla="*/ 471873 w 1357518"/>
                <a:gd name="connsiteY1524" fmla="*/ 699355 h 1002999"/>
                <a:gd name="connsiteX1525" fmla="*/ 471939 w 1357518"/>
                <a:gd name="connsiteY1525" fmla="*/ 700067 h 1002999"/>
                <a:gd name="connsiteX1526" fmla="*/ 468459 w 1357518"/>
                <a:gd name="connsiteY1526" fmla="*/ 703597 h 1002999"/>
                <a:gd name="connsiteX1527" fmla="*/ 464665 w 1357518"/>
                <a:gd name="connsiteY1527" fmla="*/ 704408 h 1002999"/>
                <a:gd name="connsiteX1528" fmla="*/ 455941 w 1357518"/>
                <a:gd name="connsiteY1528" fmla="*/ 705591 h 1002999"/>
                <a:gd name="connsiteX1529" fmla="*/ 451961 w 1357518"/>
                <a:gd name="connsiteY1529" fmla="*/ 705675 h 1002999"/>
                <a:gd name="connsiteX1530" fmla="*/ 444889 w 1357518"/>
                <a:gd name="connsiteY1530" fmla="*/ 704037 h 1002999"/>
                <a:gd name="connsiteX1531" fmla="*/ 443818 w 1357518"/>
                <a:gd name="connsiteY1531" fmla="*/ 703394 h 1002999"/>
                <a:gd name="connsiteX1532" fmla="*/ 443083 w 1357518"/>
                <a:gd name="connsiteY1532" fmla="*/ 702190 h 1002999"/>
                <a:gd name="connsiteX1533" fmla="*/ 434405 w 1357518"/>
                <a:gd name="connsiteY1533" fmla="*/ 702463 h 1002999"/>
                <a:gd name="connsiteX1534" fmla="*/ 431810 w 1357518"/>
                <a:gd name="connsiteY1534" fmla="*/ 702825 h 1002999"/>
                <a:gd name="connsiteX1535" fmla="*/ 429747 w 1357518"/>
                <a:gd name="connsiteY1535" fmla="*/ 702668 h 1002999"/>
                <a:gd name="connsiteX1536" fmla="*/ 430758 w 1357518"/>
                <a:gd name="connsiteY1536" fmla="*/ 700574 h 1002999"/>
                <a:gd name="connsiteX1537" fmla="*/ 433503 w 1357518"/>
                <a:gd name="connsiteY1537" fmla="*/ 698245 h 1002999"/>
                <a:gd name="connsiteX1538" fmla="*/ 437347 w 1357518"/>
                <a:gd name="connsiteY1538" fmla="*/ 690652 h 1002999"/>
                <a:gd name="connsiteX1539" fmla="*/ 440566 w 1357518"/>
                <a:gd name="connsiteY1539" fmla="*/ 688704 h 1002999"/>
                <a:gd name="connsiteX1540" fmla="*/ 446962 w 1357518"/>
                <a:gd name="connsiteY1540" fmla="*/ 686886 h 1002999"/>
                <a:gd name="connsiteX1541" fmla="*/ 453636 w 1357518"/>
                <a:gd name="connsiteY1541" fmla="*/ 687180 h 1002999"/>
                <a:gd name="connsiteX1542" fmla="*/ 465181 w 1357518"/>
                <a:gd name="connsiteY1542" fmla="*/ 693061 h 1002999"/>
                <a:gd name="connsiteX1543" fmla="*/ 468664 w 1357518"/>
                <a:gd name="connsiteY1543" fmla="*/ 693574 h 1002999"/>
                <a:gd name="connsiteX1544" fmla="*/ 471858 w 1357518"/>
                <a:gd name="connsiteY1544" fmla="*/ 693100 h 1002999"/>
                <a:gd name="connsiteX1545" fmla="*/ 479496 w 1357518"/>
                <a:gd name="connsiteY1545" fmla="*/ 691131 h 1002999"/>
                <a:gd name="connsiteX1546" fmla="*/ 480897 w 1357518"/>
                <a:gd name="connsiteY1546" fmla="*/ 690333 h 1002999"/>
                <a:gd name="connsiteX1547" fmla="*/ 483644 w 1357518"/>
                <a:gd name="connsiteY1547" fmla="*/ 687890 h 1002999"/>
                <a:gd name="connsiteX1548" fmla="*/ 486852 w 1357518"/>
                <a:gd name="connsiteY1548" fmla="*/ 683705 h 1002999"/>
                <a:gd name="connsiteX1549" fmla="*/ 486695 w 1357518"/>
                <a:gd name="connsiteY1549" fmla="*/ 682712 h 1002999"/>
                <a:gd name="connsiteX1550" fmla="*/ 481775 w 1357518"/>
                <a:gd name="connsiteY1550" fmla="*/ 685053 h 1002999"/>
                <a:gd name="connsiteX1551" fmla="*/ 479152 w 1357518"/>
                <a:gd name="connsiteY1551" fmla="*/ 685684 h 1002999"/>
                <a:gd name="connsiteX1552" fmla="*/ 476928 w 1357518"/>
                <a:gd name="connsiteY1552" fmla="*/ 685684 h 1002999"/>
                <a:gd name="connsiteX1553" fmla="*/ 478993 w 1357518"/>
                <a:gd name="connsiteY1553" fmla="*/ 678018 h 1002999"/>
                <a:gd name="connsiteX1554" fmla="*/ 479796 w 1357518"/>
                <a:gd name="connsiteY1554" fmla="*/ 672124 h 1002999"/>
                <a:gd name="connsiteX1555" fmla="*/ 480567 w 1357518"/>
                <a:gd name="connsiteY1555" fmla="*/ 670658 h 1002999"/>
                <a:gd name="connsiteX1556" fmla="*/ 487036 w 1357518"/>
                <a:gd name="connsiteY1556" fmla="*/ 671102 h 1002999"/>
                <a:gd name="connsiteX1557" fmla="*/ 495873 w 1357518"/>
                <a:gd name="connsiteY1557" fmla="*/ 670303 h 1002999"/>
                <a:gd name="connsiteX1558" fmla="*/ 497980 w 1357518"/>
                <a:gd name="connsiteY1558" fmla="*/ 669013 h 1002999"/>
                <a:gd name="connsiteX1559" fmla="*/ 497947 w 1357518"/>
                <a:gd name="connsiteY1559" fmla="*/ 668440 h 1002999"/>
                <a:gd name="connsiteX1560" fmla="*/ 494398 w 1357518"/>
                <a:gd name="connsiteY1560" fmla="*/ 667655 h 1002999"/>
                <a:gd name="connsiteX1561" fmla="*/ 492689 w 1357518"/>
                <a:gd name="connsiteY1561" fmla="*/ 666008 h 1002999"/>
                <a:gd name="connsiteX1562" fmla="*/ 489717 w 1357518"/>
                <a:gd name="connsiteY1562" fmla="*/ 666528 h 1002999"/>
                <a:gd name="connsiteX1563" fmla="*/ 485736 w 1357518"/>
                <a:gd name="connsiteY1563" fmla="*/ 667627 h 1002999"/>
                <a:gd name="connsiteX1564" fmla="*/ 480742 w 1357518"/>
                <a:gd name="connsiteY1564" fmla="*/ 667501 h 1002999"/>
                <a:gd name="connsiteX1565" fmla="*/ 481165 w 1357518"/>
                <a:gd name="connsiteY1565" fmla="*/ 664958 h 1002999"/>
                <a:gd name="connsiteX1566" fmla="*/ 484826 w 1357518"/>
                <a:gd name="connsiteY1566" fmla="*/ 659614 h 1002999"/>
                <a:gd name="connsiteX1567" fmla="*/ 485203 w 1357518"/>
                <a:gd name="connsiteY1567" fmla="*/ 657173 h 1002999"/>
                <a:gd name="connsiteX1568" fmla="*/ 486631 w 1357518"/>
                <a:gd name="connsiteY1568" fmla="*/ 652285 h 1002999"/>
                <a:gd name="connsiteX1569" fmla="*/ 486775 w 1357518"/>
                <a:gd name="connsiteY1569" fmla="*/ 649772 h 1002999"/>
                <a:gd name="connsiteX1570" fmla="*/ 488629 w 1357518"/>
                <a:gd name="connsiteY1570" fmla="*/ 647324 h 1002999"/>
                <a:gd name="connsiteX1571" fmla="*/ 494404 w 1357518"/>
                <a:gd name="connsiteY1571" fmla="*/ 645578 h 1002999"/>
                <a:gd name="connsiteX1572" fmla="*/ 496828 w 1357518"/>
                <a:gd name="connsiteY1572" fmla="*/ 644534 h 1002999"/>
                <a:gd name="connsiteX1573" fmla="*/ 496961 w 1357518"/>
                <a:gd name="connsiteY1573" fmla="*/ 643392 h 1002999"/>
                <a:gd name="connsiteX1574" fmla="*/ 493499 w 1357518"/>
                <a:gd name="connsiteY1574" fmla="*/ 639031 h 1002999"/>
                <a:gd name="connsiteX1575" fmla="*/ 494378 w 1357518"/>
                <a:gd name="connsiteY1575" fmla="*/ 637826 h 1002999"/>
                <a:gd name="connsiteX1576" fmla="*/ 497093 w 1357518"/>
                <a:gd name="connsiteY1576" fmla="*/ 636726 h 1002999"/>
                <a:gd name="connsiteX1577" fmla="*/ 498105 w 1357518"/>
                <a:gd name="connsiteY1577" fmla="*/ 635923 h 1002999"/>
                <a:gd name="connsiteX1578" fmla="*/ 497414 w 1357518"/>
                <a:gd name="connsiteY1578" fmla="*/ 635420 h 1002999"/>
                <a:gd name="connsiteX1579" fmla="*/ 494913 w 1357518"/>
                <a:gd name="connsiteY1579" fmla="*/ 634937 h 1002999"/>
                <a:gd name="connsiteX1580" fmla="*/ 491070 w 1357518"/>
                <a:gd name="connsiteY1580" fmla="*/ 635903 h 1002999"/>
                <a:gd name="connsiteX1581" fmla="*/ 486814 w 1357518"/>
                <a:gd name="connsiteY1581" fmla="*/ 636367 h 1002999"/>
                <a:gd name="connsiteX1582" fmla="*/ 483047 w 1357518"/>
                <a:gd name="connsiteY1582" fmla="*/ 634916 h 1002999"/>
                <a:gd name="connsiteX1583" fmla="*/ 480106 w 1357518"/>
                <a:gd name="connsiteY1583" fmla="*/ 634222 h 1002999"/>
                <a:gd name="connsiteX1584" fmla="*/ 478243 w 1357518"/>
                <a:gd name="connsiteY1584" fmla="*/ 634440 h 1002999"/>
                <a:gd name="connsiteX1585" fmla="*/ 473182 w 1357518"/>
                <a:gd name="connsiteY1585" fmla="*/ 636921 h 1002999"/>
                <a:gd name="connsiteX1586" fmla="*/ 471408 w 1357518"/>
                <a:gd name="connsiteY1586" fmla="*/ 637002 h 1002999"/>
                <a:gd name="connsiteX1587" fmla="*/ 469218 w 1357518"/>
                <a:gd name="connsiteY1587" fmla="*/ 636314 h 1002999"/>
                <a:gd name="connsiteX1588" fmla="*/ 454701 w 1357518"/>
                <a:gd name="connsiteY1588" fmla="*/ 634162 h 1002999"/>
                <a:gd name="connsiteX1589" fmla="*/ 452901 w 1357518"/>
                <a:gd name="connsiteY1589" fmla="*/ 633402 h 1002999"/>
                <a:gd name="connsiteX1590" fmla="*/ 447700 w 1357518"/>
                <a:gd name="connsiteY1590" fmla="*/ 629676 h 1002999"/>
                <a:gd name="connsiteX1591" fmla="*/ 443415 w 1357518"/>
                <a:gd name="connsiteY1591" fmla="*/ 627213 h 1002999"/>
                <a:gd name="connsiteX1592" fmla="*/ 437709 w 1357518"/>
                <a:gd name="connsiteY1592" fmla="*/ 624518 h 1002999"/>
                <a:gd name="connsiteX1593" fmla="*/ 430313 w 1357518"/>
                <a:gd name="connsiteY1593" fmla="*/ 622471 h 1002999"/>
                <a:gd name="connsiteX1594" fmla="*/ 421226 w 1357518"/>
                <a:gd name="connsiteY1594" fmla="*/ 621068 h 1002999"/>
                <a:gd name="connsiteX1595" fmla="*/ 415788 w 1357518"/>
                <a:gd name="connsiteY1595" fmla="*/ 619746 h 1002999"/>
                <a:gd name="connsiteX1596" fmla="*/ 413108 w 1357518"/>
                <a:gd name="connsiteY1596" fmla="*/ 617881 h 1002999"/>
                <a:gd name="connsiteX1597" fmla="*/ 408516 w 1357518"/>
                <a:gd name="connsiteY1597" fmla="*/ 613773 h 1002999"/>
                <a:gd name="connsiteX1598" fmla="*/ 405025 w 1357518"/>
                <a:gd name="connsiteY1598" fmla="*/ 610340 h 1002999"/>
                <a:gd name="connsiteX1599" fmla="*/ 404371 w 1357518"/>
                <a:gd name="connsiteY1599" fmla="*/ 608640 h 1002999"/>
                <a:gd name="connsiteX1600" fmla="*/ 406422 w 1357518"/>
                <a:gd name="connsiteY1600" fmla="*/ 606539 h 1002999"/>
                <a:gd name="connsiteX1601" fmla="*/ 408510 w 1357518"/>
                <a:gd name="connsiteY1601" fmla="*/ 605028 h 1002999"/>
                <a:gd name="connsiteX1602" fmla="*/ 412440 w 1357518"/>
                <a:gd name="connsiteY1602" fmla="*/ 603785 h 1002999"/>
                <a:gd name="connsiteX1603" fmla="*/ 419221 w 1357518"/>
                <a:gd name="connsiteY1603" fmla="*/ 604196 h 1002999"/>
                <a:gd name="connsiteX1604" fmla="*/ 422864 w 1357518"/>
                <a:gd name="connsiteY1604" fmla="*/ 604751 h 1002999"/>
                <a:gd name="connsiteX1605" fmla="*/ 426874 w 1357518"/>
                <a:gd name="connsiteY1605" fmla="*/ 605937 h 1002999"/>
                <a:gd name="connsiteX1606" fmla="*/ 429905 w 1357518"/>
                <a:gd name="connsiteY1606" fmla="*/ 606160 h 1002999"/>
                <a:gd name="connsiteX1607" fmla="*/ 436200 w 1357518"/>
                <a:gd name="connsiteY1607" fmla="*/ 605825 h 1002999"/>
                <a:gd name="connsiteX1608" fmla="*/ 442598 w 1357518"/>
                <a:gd name="connsiteY1608" fmla="*/ 606580 h 1002999"/>
                <a:gd name="connsiteX1609" fmla="*/ 446391 w 1357518"/>
                <a:gd name="connsiteY1609" fmla="*/ 607410 h 1002999"/>
                <a:gd name="connsiteX1610" fmla="*/ 451371 w 1357518"/>
                <a:gd name="connsiteY1610" fmla="*/ 609142 h 1002999"/>
                <a:gd name="connsiteX1611" fmla="*/ 465112 w 1357518"/>
                <a:gd name="connsiteY1611" fmla="*/ 616491 h 1002999"/>
                <a:gd name="connsiteX1612" fmla="*/ 470846 w 1357518"/>
                <a:gd name="connsiteY1612" fmla="*/ 619037 h 1002999"/>
                <a:gd name="connsiteX1613" fmla="*/ 473339 w 1357518"/>
                <a:gd name="connsiteY1613" fmla="*/ 619343 h 1002999"/>
                <a:gd name="connsiteX1614" fmla="*/ 483618 w 1357518"/>
                <a:gd name="connsiteY1614" fmla="*/ 622061 h 1002999"/>
                <a:gd name="connsiteX1615" fmla="*/ 485266 w 1357518"/>
                <a:gd name="connsiteY1615" fmla="*/ 622010 h 1002999"/>
                <a:gd name="connsiteX1616" fmla="*/ 489472 w 1357518"/>
                <a:gd name="connsiteY1616" fmla="*/ 620736 h 1002999"/>
                <a:gd name="connsiteX1617" fmla="*/ 489889 w 1357518"/>
                <a:gd name="connsiteY1617" fmla="*/ 619910 h 1002999"/>
                <a:gd name="connsiteX1618" fmla="*/ 488468 w 1357518"/>
                <a:gd name="connsiteY1618" fmla="*/ 619095 h 1002999"/>
                <a:gd name="connsiteX1619" fmla="*/ 483932 w 1357518"/>
                <a:gd name="connsiteY1619" fmla="*/ 618462 h 1002999"/>
                <a:gd name="connsiteX1620" fmla="*/ 478610 w 1357518"/>
                <a:gd name="connsiteY1620" fmla="*/ 615456 h 1002999"/>
                <a:gd name="connsiteX1621" fmla="*/ 475304 w 1357518"/>
                <a:gd name="connsiteY1621" fmla="*/ 613069 h 1002999"/>
                <a:gd name="connsiteX1622" fmla="*/ 474928 w 1357518"/>
                <a:gd name="connsiteY1622" fmla="*/ 609111 h 1002999"/>
                <a:gd name="connsiteX1623" fmla="*/ 475358 w 1357518"/>
                <a:gd name="connsiteY1623" fmla="*/ 606890 h 1002999"/>
                <a:gd name="connsiteX1624" fmla="*/ 476190 w 1357518"/>
                <a:gd name="connsiteY1624" fmla="*/ 605880 h 1002999"/>
                <a:gd name="connsiteX1625" fmla="*/ 476770 w 1357518"/>
                <a:gd name="connsiteY1625" fmla="*/ 602475 h 1002999"/>
                <a:gd name="connsiteX1626" fmla="*/ 473685 w 1357518"/>
                <a:gd name="connsiteY1626" fmla="*/ 600447 h 1002999"/>
                <a:gd name="connsiteX1627" fmla="*/ 471530 w 1357518"/>
                <a:gd name="connsiteY1627" fmla="*/ 599807 h 1002999"/>
                <a:gd name="connsiteX1628" fmla="*/ 465800 w 1357518"/>
                <a:gd name="connsiteY1628" fmla="*/ 596848 h 1002999"/>
                <a:gd name="connsiteX1629" fmla="*/ 465322 w 1357518"/>
                <a:gd name="connsiteY1629" fmla="*/ 596113 h 1002999"/>
                <a:gd name="connsiteX1630" fmla="*/ 468068 w 1357518"/>
                <a:gd name="connsiteY1630" fmla="*/ 595766 h 1002999"/>
                <a:gd name="connsiteX1631" fmla="*/ 470759 w 1357518"/>
                <a:gd name="connsiteY1631" fmla="*/ 595969 h 1002999"/>
                <a:gd name="connsiteX1632" fmla="*/ 476537 w 1357518"/>
                <a:gd name="connsiteY1632" fmla="*/ 597469 h 1002999"/>
                <a:gd name="connsiteX1633" fmla="*/ 479567 w 1357518"/>
                <a:gd name="connsiteY1633" fmla="*/ 597676 h 1002999"/>
                <a:gd name="connsiteX1634" fmla="*/ 481771 w 1357518"/>
                <a:gd name="connsiteY1634" fmla="*/ 597089 h 1002999"/>
                <a:gd name="connsiteX1635" fmla="*/ 482025 w 1357518"/>
                <a:gd name="connsiteY1635" fmla="*/ 596482 h 1002999"/>
                <a:gd name="connsiteX1636" fmla="*/ 478512 w 1357518"/>
                <a:gd name="connsiteY1636" fmla="*/ 594779 h 1002999"/>
                <a:gd name="connsiteX1637" fmla="*/ 474115 w 1357518"/>
                <a:gd name="connsiteY1637" fmla="*/ 591721 h 1002999"/>
                <a:gd name="connsiteX1638" fmla="*/ 464933 w 1357518"/>
                <a:gd name="connsiteY1638" fmla="*/ 591273 h 1002999"/>
                <a:gd name="connsiteX1639" fmla="*/ 458974 w 1357518"/>
                <a:gd name="connsiteY1639" fmla="*/ 591617 h 1002999"/>
                <a:gd name="connsiteX1640" fmla="*/ 455166 w 1357518"/>
                <a:gd name="connsiteY1640" fmla="*/ 590566 h 1002999"/>
                <a:gd name="connsiteX1641" fmla="*/ 451113 w 1357518"/>
                <a:gd name="connsiteY1641" fmla="*/ 588859 h 1002999"/>
                <a:gd name="connsiteX1642" fmla="*/ 448511 w 1357518"/>
                <a:gd name="connsiteY1642" fmla="*/ 588423 h 1002999"/>
                <a:gd name="connsiteX1643" fmla="*/ 443194 w 1357518"/>
                <a:gd name="connsiteY1643" fmla="*/ 589494 h 1002999"/>
                <a:gd name="connsiteX1644" fmla="*/ 440504 w 1357518"/>
                <a:gd name="connsiteY1644" fmla="*/ 589629 h 1002999"/>
                <a:gd name="connsiteX1645" fmla="*/ 438052 w 1357518"/>
                <a:gd name="connsiteY1645" fmla="*/ 589253 h 1002999"/>
                <a:gd name="connsiteX1646" fmla="*/ 435631 w 1357518"/>
                <a:gd name="connsiteY1646" fmla="*/ 583857 h 1002999"/>
                <a:gd name="connsiteX1647" fmla="*/ 436276 w 1357518"/>
                <a:gd name="connsiteY1647" fmla="*/ 582236 h 1002999"/>
                <a:gd name="connsiteX1648" fmla="*/ 438173 w 1357518"/>
                <a:gd name="connsiteY1648" fmla="*/ 581535 h 1002999"/>
                <a:gd name="connsiteX1649" fmla="*/ 439606 w 1357518"/>
                <a:gd name="connsiteY1649" fmla="*/ 579789 h 1002999"/>
                <a:gd name="connsiteX1650" fmla="*/ 440611 w 1357518"/>
                <a:gd name="connsiteY1650" fmla="*/ 577962 h 1002999"/>
                <a:gd name="connsiteX1651" fmla="*/ 443760 w 1357518"/>
                <a:gd name="connsiteY1651" fmla="*/ 576173 h 1002999"/>
                <a:gd name="connsiteX1652" fmla="*/ 461055 w 1357518"/>
                <a:gd name="connsiteY1652" fmla="*/ 572184 h 1002999"/>
                <a:gd name="connsiteX1653" fmla="*/ 465419 w 1357518"/>
                <a:gd name="connsiteY1653" fmla="*/ 569212 h 1002999"/>
                <a:gd name="connsiteX1654" fmla="*/ 465226 w 1357518"/>
                <a:gd name="connsiteY1654" fmla="*/ 568754 h 1002999"/>
                <a:gd name="connsiteX1655" fmla="*/ 462283 w 1357518"/>
                <a:gd name="connsiteY1655" fmla="*/ 569306 h 1002999"/>
                <a:gd name="connsiteX1656" fmla="*/ 458519 w 1357518"/>
                <a:gd name="connsiteY1656" fmla="*/ 570646 h 1002999"/>
                <a:gd name="connsiteX1657" fmla="*/ 456002 w 1357518"/>
                <a:gd name="connsiteY1657" fmla="*/ 570921 h 1002999"/>
                <a:gd name="connsiteX1658" fmla="*/ 445819 w 1357518"/>
                <a:gd name="connsiteY1658" fmla="*/ 569190 h 1002999"/>
                <a:gd name="connsiteX1659" fmla="*/ 444232 w 1357518"/>
                <a:gd name="connsiteY1659" fmla="*/ 569584 h 1002999"/>
                <a:gd name="connsiteX1660" fmla="*/ 440109 w 1357518"/>
                <a:gd name="connsiteY1660" fmla="*/ 572070 h 1002999"/>
                <a:gd name="connsiteX1661" fmla="*/ 434515 w 1357518"/>
                <a:gd name="connsiteY1661" fmla="*/ 574767 h 1002999"/>
                <a:gd name="connsiteX1662" fmla="*/ 431937 w 1357518"/>
                <a:gd name="connsiteY1662" fmla="*/ 574604 h 1002999"/>
                <a:gd name="connsiteX1663" fmla="*/ 428488 w 1357518"/>
                <a:gd name="connsiteY1663" fmla="*/ 573007 h 1002999"/>
                <a:gd name="connsiteX1664" fmla="*/ 427940 w 1357518"/>
                <a:gd name="connsiteY1664" fmla="*/ 571871 h 1002999"/>
                <a:gd name="connsiteX1665" fmla="*/ 427693 w 1357518"/>
                <a:gd name="connsiteY1665" fmla="*/ 570504 h 1002999"/>
                <a:gd name="connsiteX1666" fmla="*/ 431481 w 1357518"/>
                <a:gd name="connsiteY1666" fmla="*/ 568631 h 1002999"/>
                <a:gd name="connsiteX1667" fmla="*/ 432698 w 1357518"/>
                <a:gd name="connsiteY1667" fmla="*/ 567637 h 1002999"/>
                <a:gd name="connsiteX1668" fmla="*/ 435148 w 1357518"/>
                <a:gd name="connsiteY1668" fmla="*/ 564968 h 1002999"/>
                <a:gd name="connsiteX1669" fmla="*/ 435023 w 1357518"/>
                <a:gd name="connsiteY1669" fmla="*/ 563644 h 1002999"/>
                <a:gd name="connsiteX1670" fmla="*/ 430841 w 1357518"/>
                <a:gd name="connsiteY1670" fmla="*/ 564370 h 1002999"/>
                <a:gd name="connsiteX1671" fmla="*/ 430295 w 1357518"/>
                <a:gd name="connsiteY1671" fmla="*/ 563142 h 1002999"/>
                <a:gd name="connsiteX1672" fmla="*/ 430363 w 1357518"/>
                <a:gd name="connsiteY1672" fmla="*/ 561034 h 1002999"/>
                <a:gd name="connsiteX1673" fmla="*/ 429957 w 1357518"/>
                <a:gd name="connsiteY1673" fmla="*/ 558363 h 1002999"/>
                <a:gd name="connsiteX1674" fmla="*/ 428929 w 1357518"/>
                <a:gd name="connsiteY1674" fmla="*/ 555724 h 1002999"/>
                <a:gd name="connsiteX1675" fmla="*/ 425496 w 1357518"/>
                <a:gd name="connsiteY1675" fmla="*/ 551663 h 1002999"/>
                <a:gd name="connsiteX1676" fmla="*/ 424072 w 1357518"/>
                <a:gd name="connsiteY1676" fmla="*/ 550617 h 1002999"/>
                <a:gd name="connsiteX1677" fmla="*/ 422898 w 1357518"/>
                <a:gd name="connsiteY1677" fmla="*/ 549113 h 1002999"/>
                <a:gd name="connsiteX1678" fmla="*/ 420311 w 1357518"/>
                <a:gd name="connsiteY1678" fmla="*/ 543600 h 1002999"/>
                <a:gd name="connsiteX1679" fmla="*/ 421061 w 1357518"/>
                <a:gd name="connsiteY1679" fmla="*/ 542219 h 1002999"/>
                <a:gd name="connsiteX1680" fmla="*/ 423359 w 1357518"/>
                <a:gd name="connsiteY1680" fmla="*/ 541171 h 1002999"/>
                <a:gd name="connsiteX1681" fmla="*/ 423799 w 1357518"/>
                <a:gd name="connsiteY1681" fmla="*/ 540688 h 1002999"/>
                <a:gd name="connsiteX1682" fmla="*/ 418306 w 1357518"/>
                <a:gd name="connsiteY1682" fmla="*/ 541557 h 1002999"/>
                <a:gd name="connsiteX1683" fmla="*/ 417705 w 1357518"/>
                <a:gd name="connsiteY1683" fmla="*/ 542511 h 1002999"/>
                <a:gd name="connsiteX1684" fmla="*/ 418740 w 1357518"/>
                <a:gd name="connsiteY1684" fmla="*/ 543917 h 1002999"/>
                <a:gd name="connsiteX1685" fmla="*/ 419480 w 1357518"/>
                <a:gd name="connsiteY1685" fmla="*/ 545790 h 1002999"/>
                <a:gd name="connsiteX1686" fmla="*/ 419921 w 1357518"/>
                <a:gd name="connsiteY1686" fmla="*/ 548128 h 1002999"/>
                <a:gd name="connsiteX1687" fmla="*/ 420687 w 1357518"/>
                <a:gd name="connsiteY1687" fmla="*/ 550173 h 1002999"/>
                <a:gd name="connsiteX1688" fmla="*/ 422676 w 1357518"/>
                <a:gd name="connsiteY1688" fmla="*/ 552408 h 1002999"/>
                <a:gd name="connsiteX1689" fmla="*/ 424267 w 1357518"/>
                <a:gd name="connsiteY1689" fmla="*/ 553587 h 1002999"/>
                <a:gd name="connsiteX1690" fmla="*/ 426861 w 1357518"/>
                <a:gd name="connsiteY1690" fmla="*/ 556692 h 1002999"/>
                <a:gd name="connsiteX1691" fmla="*/ 427992 w 1357518"/>
                <a:gd name="connsiteY1691" fmla="*/ 560101 h 1002999"/>
                <a:gd name="connsiteX1692" fmla="*/ 427659 w 1357518"/>
                <a:gd name="connsiteY1692" fmla="*/ 561895 h 1002999"/>
                <a:gd name="connsiteX1693" fmla="*/ 425645 w 1357518"/>
                <a:gd name="connsiteY1693" fmla="*/ 563720 h 1002999"/>
                <a:gd name="connsiteX1694" fmla="*/ 422400 w 1357518"/>
                <a:gd name="connsiteY1694" fmla="*/ 565687 h 1002999"/>
                <a:gd name="connsiteX1695" fmla="*/ 421417 w 1357518"/>
                <a:gd name="connsiteY1695" fmla="*/ 567314 h 1002999"/>
                <a:gd name="connsiteX1696" fmla="*/ 420979 w 1357518"/>
                <a:gd name="connsiteY1696" fmla="*/ 568934 h 1002999"/>
                <a:gd name="connsiteX1697" fmla="*/ 418449 w 1357518"/>
                <a:gd name="connsiteY1697" fmla="*/ 570430 h 1002999"/>
                <a:gd name="connsiteX1698" fmla="*/ 416895 w 1357518"/>
                <a:gd name="connsiteY1698" fmla="*/ 569870 h 1002999"/>
                <a:gd name="connsiteX1699" fmla="*/ 415667 w 1357518"/>
                <a:gd name="connsiteY1699" fmla="*/ 569780 h 1002999"/>
                <a:gd name="connsiteX1700" fmla="*/ 417118 w 1357518"/>
                <a:gd name="connsiteY1700" fmla="*/ 572448 h 1002999"/>
                <a:gd name="connsiteX1701" fmla="*/ 418051 w 1357518"/>
                <a:gd name="connsiteY1701" fmla="*/ 575176 h 1002999"/>
                <a:gd name="connsiteX1702" fmla="*/ 416925 w 1357518"/>
                <a:gd name="connsiteY1702" fmla="*/ 577908 h 1002999"/>
                <a:gd name="connsiteX1703" fmla="*/ 413919 w 1357518"/>
                <a:gd name="connsiteY1703" fmla="*/ 579559 h 1002999"/>
                <a:gd name="connsiteX1704" fmla="*/ 412288 w 1357518"/>
                <a:gd name="connsiteY1704" fmla="*/ 579608 h 1002999"/>
                <a:gd name="connsiteX1705" fmla="*/ 409081 w 1357518"/>
                <a:gd name="connsiteY1705" fmla="*/ 580944 h 1002999"/>
                <a:gd name="connsiteX1706" fmla="*/ 400870 w 1357518"/>
                <a:gd name="connsiteY1706" fmla="*/ 581646 h 1002999"/>
                <a:gd name="connsiteX1707" fmla="*/ 398012 w 1357518"/>
                <a:gd name="connsiteY1707" fmla="*/ 581318 h 1002999"/>
                <a:gd name="connsiteX1708" fmla="*/ 392770 w 1357518"/>
                <a:gd name="connsiteY1708" fmla="*/ 579962 h 1002999"/>
                <a:gd name="connsiteX1709" fmla="*/ 386556 w 1357518"/>
                <a:gd name="connsiteY1709" fmla="*/ 579222 h 1002999"/>
                <a:gd name="connsiteX1710" fmla="*/ 384091 w 1357518"/>
                <a:gd name="connsiteY1710" fmla="*/ 577386 h 1002999"/>
                <a:gd name="connsiteX1711" fmla="*/ 380859 w 1357518"/>
                <a:gd name="connsiteY1711" fmla="*/ 574049 h 1002999"/>
                <a:gd name="connsiteX1712" fmla="*/ 379228 w 1357518"/>
                <a:gd name="connsiteY1712" fmla="*/ 571054 h 1002999"/>
                <a:gd name="connsiteX1713" fmla="*/ 379194 w 1357518"/>
                <a:gd name="connsiteY1713" fmla="*/ 568401 h 1002999"/>
                <a:gd name="connsiteX1714" fmla="*/ 380069 w 1357518"/>
                <a:gd name="connsiteY1714" fmla="*/ 566469 h 1002999"/>
                <a:gd name="connsiteX1715" fmla="*/ 381851 w 1357518"/>
                <a:gd name="connsiteY1715" fmla="*/ 565252 h 1002999"/>
                <a:gd name="connsiteX1716" fmla="*/ 383990 w 1357518"/>
                <a:gd name="connsiteY1716" fmla="*/ 557460 h 1002999"/>
                <a:gd name="connsiteX1717" fmla="*/ 387017 w 1357518"/>
                <a:gd name="connsiteY1717" fmla="*/ 551140 h 1002999"/>
                <a:gd name="connsiteX1718" fmla="*/ 394638 w 1357518"/>
                <a:gd name="connsiteY1718" fmla="*/ 544604 h 1002999"/>
                <a:gd name="connsiteX1719" fmla="*/ 396812 w 1357518"/>
                <a:gd name="connsiteY1719" fmla="*/ 542235 h 1002999"/>
                <a:gd name="connsiteX1720" fmla="*/ 397530 w 1357518"/>
                <a:gd name="connsiteY1720" fmla="*/ 540960 h 1002999"/>
                <a:gd name="connsiteX1721" fmla="*/ 397519 w 1357518"/>
                <a:gd name="connsiteY1721" fmla="*/ 539991 h 1002999"/>
                <a:gd name="connsiteX1722" fmla="*/ 396287 w 1357518"/>
                <a:gd name="connsiteY1722" fmla="*/ 539376 h 1002999"/>
                <a:gd name="connsiteX1723" fmla="*/ 386916 w 1357518"/>
                <a:gd name="connsiteY1723" fmla="*/ 547460 h 1002999"/>
                <a:gd name="connsiteX1724" fmla="*/ 381138 w 1357518"/>
                <a:gd name="connsiteY1724" fmla="*/ 548318 h 1002999"/>
                <a:gd name="connsiteX1725" fmla="*/ 379413 w 1357518"/>
                <a:gd name="connsiteY1725" fmla="*/ 546505 h 1002999"/>
                <a:gd name="connsiteX1726" fmla="*/ 379935 w 1357518"/>
                <a:gd name="connsiteY1726" fmla="*/ 543274 h 1002999"/>
                <a:gd name="connsiteX1727" fmla="*/ 380964 w 1357518"/>
                <a:gd name="connsiteY1727" fmla="*/ 542524 h 1002999"/>
                <a:gd name="connsiteX1728" fmla="*/ 385638 w 1357518"/>
                <a:gd name="connsiteY1728" fmla="*/ 542830 h 1002999"/>
                <a:gd name="connsiteX1729" fmla="*/ 387456 w 1357518"/>
                <a:gd name="connsiteY1729" fmla="*/ 541031 h 1002999"/>
                <a:gd name="connsiteX1730" fmla="*/ 384531 w 1357518"/>
                <a:gd name="connsiteY1730" fmla="*/ 538306 h 1002999"/>
                <a:gd name="connsiteX1731" fmla="*/ 381419 w 1357518"/>
                <a:gd name="connsiteY1731" fmla="*/ 537592 h 1002999"/>
                <a:gd name="connsiteX1732" fmla="*/ 380690 w 1357518"/>
                <a:gd name="connsiteY1732" fmla="*/ 536906 h 1002999"/>
                <a:gd name="connsiteX1733" fmla="*/ 383894 w 1357518"/>
                <a:gd name="connsiteY1733" fmla="*/ 534829 h 1002999"/>
                <a:gd name="connsiteX1734" fmla="*/ 391300 w 1357518"/>
                <a:gd name="connsiteY1734" fmla="*/ 534982 h 1002999"/>
                <a:gd name="connsiteX1735" fmla="*/ 392972 w 1357518"/>
                <a:gd name="connsiteY1735" fmla="*/ 533529 h 1002999"/>
                <a:gd name="connsiteX1736" fmla="*/ 395654 w 1357518"/>
                <a:gd name="connsiteY1736" fmla="*/ 531960 h 1002999"/>
                <a:gd name="connsiteX1737" fmla="*/ 398630 w 1357518"/>
                <a:gd name="connsiteY1737" fmla="*/ 529047 h 1002999"/>
                <a:gd name="connsiteX1738" fmla="*/ 399743 w 1357518"/>
                <a:gd name="connsiteY1738" fmla="*/ 526593 h 1002999"/>
                <a:gd name="connsiteX1739" fmla="*/ 399994 w 1357518"/>
                <a:gd name="connsiteY1739" fmla="*/ 524484 h 1002999"/>
                <a:gd name="connsiteX1740" fmla="*/ 399353 w 1357518"/>
                <a:gd name="connsiteY1740" fmla="*/ 522781 h 1002999"/>
                <a:gd name="connsiteX1741" fmla="*/ 399283 w 1357518"/>
                <a:gd name="connsiteY1741" fmla="*/ 521071 h 1002999"/>
                <a:gd name="connsiteX1742" fmla="*/ 399790 w 1357518"/>
                <a:gd name="connsiteY1742" fmla="*/ 519356 h 1002999"/>
                <a:gd name="connsiteX1743" fmla="*/ 399012 w 1357518"/>
                <a:gd name="connsiteY1743" fmla="*/ 517459 h 1002999"/>
                <a:gd name="connsiteX1744" fmla="*/ 396953 w 1357518"/>
                <a:gd name="connsiteY1744" fmla="*/ 515383 h 1002999"/>
                <a:gd name="connsiteX1745" fmla="*/ 392379 w 1357518"/>
                <a:gd name="connsiteY1745" fmla="*/ 513345 h 1002999"/>
                <a:gd name="connsiteX1746" fmla="*/ 391032 w 1357518"/>
                <a:gd name="connsiteY1746" fmla="*/ 515644 h 1002999"/>
                <a:gd name="connsiteX1747" fmla="*/ 389607 w 1357518"/>
                <a:gd name="connsiteY1747" fmla="*/ 516589 h 1002999"/>
                <a:gd name="connsiteX1748" fmla="*/ 387606 w 1357518"/>
                <a:gd name="connsiteY1748" fmla="*/ 516801 h 1002999"/>
                <a:gd name="connsiteX1749" fmla="*/ 385760 w 1357518"/>
                <a:gd name="connsiteY1749" fmla="*/ 515834 h 1002999"/>
                <a:gd name="connsiteX1750" fmla="*/ 383834 w 1357518"/>
                <a:gd name="connsiteY1750" fmla="*/ 515486 h 1002999"/>
                <a:gd name="connsiteX1751" fmla="*/ 381941 w 1357518"/>
                <a:gd name="connsiteY1751" fmla="*/ 514621 h 1002999"/>
                <a:gd name="connsiteX1752" fmla="*/ 379976 w 1357518"/>
                <a:gd name="connsiteY1752" fmla="*/ 514347 h 1002999"/>
                <a:gd name="connsiteX1753" fmla="*/ 379212 w 1357518"/>
                <a:gd name="connsiteY1753" fmla="*/ 513650 h 1002999"/>
                <a:gd name="connsiteX1754" fmla="*/ 378719 w 1357518"/>
                <a:gd name="connsiteY1754" fmla="*/ 511700 h 1002999"/>
                <a:gd name="connsiteX1755" fmla="*/ 378676 w 1357518"/>
                <a:gd name="connsiteY1755" fmla="*/ 509216 h 1002999"/>
                <a:gd name="connsiteX1756" fmla="*/ 380898 w 1357518"/>
                <a:gd name="connsiteY1756" fmla="*/ 508055 h 1002999"/>
                <a:gd name="connsiteX1757" fmla="*/ 383993 w 1357518"/>
                <a:gd name="connsiteY1757" fmla="*/ 507139 h 1002999"/>
                <a:gd name="connsiteX1758" fmla="*/ 386063 w 1357518"/>
                <a:gd name="connsiteY1758" fmla="*/ 505401 h 1002999"/>
                <a:gd name="connsiteX1759" fmla="*/ 387424 w 1357518"/>
                <a:gd name="connsiteY1759" fmla="*/ 502882 h 1002999"/>
                <a:gd name="connsiteX1760" fmla="*/ 387620 w 1357518"/>
                <a:gd name="connsiteY1760" fmla="*/ 500129 h 1002999"/>
                <a:gd name="connsiteX1761" fmla="*/ 386653 w 1357518"/>
                <a:gd name="connsiteY1761" fmla="*/ 497140 h 1002999"/>
                <a:gd name="connsiteX1762" fmla="*/ 384140 w 1357518"/>
                <a:gd name="connsiteY1762" fmla="*/ 494449 h 1002999"/>
                <a:gd name="connsiteX1763" fmla="*/ 379485 w 1357518"/>
                <a:gd name="connsiteY1763" fmla="*/ 497067 h 1002999"/>
                <a:gd name="connsiteX1764" fmla="*/ 377657 w 1357518"/>
                <a:gd name="connsiteY1764" fmla="*/ 497709 h 1002999"/>
                <a:gd name="connsiteX1765" fmla="*/ 377236 w 1357518"/>
                <a:gd name="connsiteY1765" fmla="*/ 495837 h 1002999"/>
                <a:gd name="connsiteX1766" fmla="*/ 376592 w 1357518"/>
                <a:gd name="connsiteY1766" fmla="*/ 494449 h 1002999"/>
                <a:gd name="connsiteX1767" fmla="*/ 374635 w 1357518"/>
                <a:gd name="connsiteY1767" fmla="*/ 492566 h 1002999"/>
                <a:gd name="connsiteX1768" fmla="*/ 372060 w 1357518"/>
                <a:gd name="connsiteY1768" fmla="*/ 491191 h 1002999"/>
                <a:gd name="connsiteX1769" fmla="*/ 369582 w 1357518"/>
                <a:gd name="connsiteY1769" fmla="*/ 490279 h 1002999"/>
                <a:gd name="connsiteX1770" fmla="*/ 369469 w 1357518"/>
                <a:gd name="connsiteY1770" fmla="*/ 488885 h 1002999"/>
                <a:gd name="connsiteX1771" fmla="*/ 370056 w 1357518"/>
                <a:gd name="connsiteY1771" fmla="*/ 487314 h 1002999"/>
                <a:gd name="connsiteX1772" fmla="*/ 371153 w 1357518"/>
                <a:gd name="connsiteY1772" fmla="*/ 485479 h 1002999"/>
                <a:gd name="connsiteX1773" fmla="*/ 372581 w 1357518"/>
                <a:gd name="connsiteY1773" fmla="*/ 481651 h 1002999"/>
                <a:gd name="connsiteX1774" fmla="*/ 374153 w 1357518"/>
                <a:gd name="connsiteY1774" fmla="*/ 481992 h 1002999"/>
                <a:gd name="connsiteX1775" fmla="*/ 375459 w 1357518"/>
                <a:gd name="connsiteY1775" fmla="*/ 481644 h 1002999"/>
                <a:gd name="connsiteX1776" fmla="*/ 374704 w 1357518"/>
                <a:gd name="connsiteY1776" fmla="*/ 478475 h 1002999"/>
                <a:gd name="connsiteX1777" fmla="*/ 373442 w 1357518"/>
                <a:gd name="connsiteY1777" fmla="*/ 475808 h 1002999"/>
                <a:gd name="connsiteX1778" fmla="*/ 371960 w 1357518"/>
                <a:gd name="connsiteY1778" fmla="*/ 474291 h 1002999"/>
                <a:gd name="connsiteX1779" fmla="*/ 371907 w 1357518"/>
                <a:gd name="connsiteY1779" fmla="*/ 473630 h 1002999"/>
                <a:gd name="connsiteX1780" fmla="*/ 371563 w 1357518"/>
                <a:gd name="connsiteY1780" fmla="*/ 472857 h 1002999"/>
                <a:gd name="connsiteX1781" fmla="*/ 370419 w 1357518"/>
                <a:gd name="connsiteY1781" fmla="*/ 470982 h 1002999"/>
                <a:gd name="connsiteX1782" fmla="*/ 369136 w 1357518"/>
                <a:gd name="connsiteY1782" fmla="*/ 469609 h 1002999"/>
                <a:gd name="connsiteX1783" fmla="*/ 366899 w 1357518"/>
                <a:gd name="connsiteY1783" fmla="*/ 465713 h 1002999"/>
                <a:gd name="connsiteX1784" fmla="*/ 365283 w 1357518"/>
                <a:gd name="connsiteY1784" fmla="*/ 464226 h 1002999"/>
                <a:gd name="connsiteX1785" fmla="*/ 363211 w 1357518"/>
                <a:gd name="connsiteY1785" fmla="*/ 463455 h 1002999"/>
                <a:gd name="connsiteX1786" fmla="*/ 360978 w 1357518"/>
                <a:gd name="connsiteY1786" fmla="*/ 463413 h 1002999"/>
                <a:gd name="connsiteX1787" fmla="*/ 357395 w 1357518"/>
                <a:gd name="connsiteY1787" fmla="*/ 464437 h 1002999"/>
                <a:gd name="connsiteX1788" fmla="*/ 350781 w 1357518"/>
                <a:gd name="connsiteY1788" fmla="*/ 465622 h 1002999"/>
                <a:gd name="connsiteX1789" fmla="*/ 345545 w 1357518"/>
                <a:gd name="connsiteY1789" fmla="*/ 466185 h 1002999"/>
                <a:gd name="connsiteX1790" fmla="*/ 344672 w 1357518"/>
                <a:gd name="connsiteY1790" fmla="*/ 465878 h 1002999"/>
                <a:gd name="connsiteX1791" fmla="*/ 347292 w 1357518"/>
                <a:gd name="connsiteY1791" fmla="*/ 464397 h 1002999"/>
                <a:gd name="connsiteX1792" fmla="*/ 351153 w 1357518"/>
                <a:gd name="connsiteY1792" fmla="*/ 462854 h 1002999"/>
                <a:gd name="connsiteX1793" fmla="*/ 356264 w 1357518"/>
                <a:gd name="connsiteY1793" fmla="*/ 461807 h 1002999"/>
                <a:gd name="connsiteX1794" fmla="*/ 357754 w 1357518"/>
                <a:gd name="connsiteY1794" fmla="*/ 459236 h 1002999"/>
                <a:gd name="connsiteX1795" fmla="*/ 357202 w 1357518"/>
                <a:gd name="connsiteY1795" fmla="*/ 457008 h 1002999"/>
                <a:gd name="connsiteX1796" fmla="*/ 357415 w 1357518"/>
                <a:gd name="connsiteY1796" fmla="*/ 454895 h 1002999"/>
                <a:gd name="connsiteX1797" fmla="*/ 356013 w 1357518"/>
                <a:gd name="connsiteY1797" fmla="*/ 452666 h 1002999"/>
                <a:gd name="connsiteX1798" fmla="*/ 357377 w 1357518"/>
                <a:gd name="connsiteY1798" fmla="*/ 451430 h 1002999"/>
                <a:gd name="connsiteX1799" fmla="*/ 362030 w 1357518"/>
                <a:gd name="connsiteY1799" fmla="*/ 450185 h 1002999"/>
                <a:gd name="connsiteX1800" fmla="*/ 364137 w 1357518"/>
                <a:gd name="connsiteY1800" fmla="*/ 449993 h 1002999"/>
                <a:gd name="connsiteX1801" fmla="*/ 366234 w 1357518"/>
                <a:gd name="connsiteY1801" fmla="*/ 448405 h 1002999"/>
                <a:gd name="connsiteX1802" fmla="*/ 360339 w 1357518"/>
                <a:gd name="connsiteY1802" fmla="*/ 444575 h 1002999"/>
                <a:gd name="connsiteX1803" fmla="*/ 354164 w 1357518"/>
                <a:gd name="connsiteY1803" fmla="*/ 442060 h 1002999"/>
                <a:gd name="connsiteX1804" fmla="*/ 352620 w 1357518"/>
                <a:gd name="connsiteY1804" fmla="*/ 441038 h 1002999"/>
                <a:gd name="connsiteX1805" fmla="*/ 351262 w 1357518"/>
                <a:gd name="connsiteY1805" fmla="*/ 439352 h 1002999"/>
                <a:gd name="connsiteX1806" fmla="*/ 350090 w 1357518"/>
                <a:gd name="connsiteY1806" fmla="*/ 437003 h 1002999"/>
                <a:gd name="connsiteX1807" fmla="*/ 348186 w 1357518"/>
                <a:gd name="connsiteY1807" fmla="*/ 434649 h 1002999"/>
                <a:gd name="connsiteX1808" fmla="*/ 345550 w 1357518"/>
                <a:gd name="connsiteY1808" fmla="*/ 432290 h 1002999"/>
                <a:gd name="connsiteX1809" fmla="*/ 341704 w 1357518"/>
                <a:gd name="connsiteY1809" fmla="*/ 430008 h 1002999"/>
                <a:gd name="connsiteX1810" fmla="*/ 331790 w 1357518"/>
                <a:gd name="connsiteY1810" fmla="*/ 425828 h 1002999"/>
                <a:gd name="connsiteX1811" fmla="*/ 328386 w 1357518"/>
                <a:gd name="connsiteY1811" fmla="*/ 422940 h 1002999"/>
                <a:gd name="connsiteX1812" fmla="*/ 325252 w 1357518"/>
                <a:gd name="connsiteY1812" fmla="*/ 418512 h 1002999"/>
                <a:gd name="connsiteX1813" fmla="*/ 323685 w 1357518"/>
                <a:gd name="connsiteY1813" fmla="*/ 416621 h 1002999"/>
                <a:gd name="connsiteX1814" fmla="*/ 322057 w 1357518"/>
                <a:gd name="connsiteY1814" fmla="*/ 415219 h 1002999"/>
                <a:gd name="connsiteX1815" fmla="*/ 315153 w 1357518"/>
                <a:gd name="connsiteY1815" fmla="*/ 411931 h 1002999"/>
                <a:gd name="connsiteX1816" fmla="*/ 314315 w 1357518"/>
                <a:gd name="connsiteY1816" fmla="*/ 410478 h 1002999"/>
                <a:gd name="connsiteX1817" fmla="*/ 321441 w 1357518"/>
                <a:gd name="connsiteY1817" fmla="*/ 406600 h 1002999"/>
                <a:gd name="connsiteX1818" fmla="*/ 322138 w 1357518"/>
                <a:gd name="connsiteY1818" fmla="*/ 405051 h 1002999"/>
                <a:gd name="connsiteX1819" fmla="*/ 319227 w 1357518"/>
                <a:gd name="connsiteY1819" fmla="*/ 400329 h 1002999"/>
                <a:gd name="connsiteX1820" fmla="*/ 316244 w 1357518"/>
                <a:gd name="connsiteY1820" fmla="*/ 396867 h 1002999"/>
                <a:gd name="connsiteX1821" fmla="*/ 312996 w 1357518"/>
                <a:gd name="connsiteY1821" fmla="*/ 395637 h 1002999"/>
                <a:gd name="connsiteX1822" fmla="*/ 308168 w 1357518"/>
                <a:gd name="connsiteY1822" fmla="*/ 395004 h 1002999"/>
                <a:gd name="connsiteX1823" fmla="*/ 303742 w 1357518"/>
                <a:gd name="connsiteY1823" fmla="*/ 393462 h 1002999"/>
                <a:gd name="connsiteX1824" fmla="*/ 299717 w 1357518"/>
                <a:gd name="connsiteY1824" fmla="*/ 391018 h 1002999"/>
                <a:gd name="connsiteX1825" fmla="*/ 295700 w 1357518"/>
                <a:gd name="connsiteY1825" fmla="*/ 389226 h 1002999"/>
                <a:gd name="connsiteX1826" fmla="*/ 289683 w 1357518"/>
                <a:gd name="connsiteY1826" fmla="*/ 387523 h 1002999"/>
                <a:gd name="connsiteX1827" fmla="*/ 279614 w 1357518"/>
                <a:gd name="connsiteY1827" fmla="*/ 383131 h 1002999"/>
                <a:gd name="connsiteX1828" fmla="*/ 264095 w 1357518"/>
                <a:gd name="connsiteY1828" fmla="*/ 378419 h 1002999"/>
                <a:gd name="connsiteX1829" fmla="*/ 257160 w 1357518"/>
                <a:gd name="connsiteY1829" fmla="*/ 375659 h 1002999"/>
                <a:gd name="connsiteX1830" fmla="*/ 253035 w 1357518"/>
                <a:gd name="connsiteY1830" fmla="*/ 374652 h 1002999"/>
                <a:gd name="connsiteX1831" fmla="*/ 247594 w 1357518"/>
                <a:gd name="connsiteY1831" fmla="*/ 374394 h 1002999"/>
                <a:gd name="connsiteX1832" fmla="*/ 237072 w 1357518"/>
                <a:gd name="connsiteY1832" fmla="*/ 371811 h 1002999"/>
                <a:gd name="connsiteX1833" fmla="*/ 228238 w 1357518"/>
                <a:gd name="connsiteY1833" fmla="*/ 370985 h 1002999"/>
                <a:gd name="connsiteX1834" fmla="*/ 222784 w 1357518"/>
                <a:gd name="connsiteY1834" fmla="*/ 371363 h 1002999"/>
                <a:gd name="connsiteX1835" fmla="*/ 221002 w 1357518"/>
                <a:gd name="connsiteY1835" fmla="*/ 370936 h 1002999"/>
                <a:gd name="connsiteX1836" fmla="*/ 216969 w 1357518"/>
                <a:gd name="connsiteY1836" fmla="*/ 368307 h 1002999"/>
                <a:gd name="connsiteX1837" fmla="*/ 210656 w 1357518"/>
                <a:gd name="connsiteY1837" fmla="*/ 366801 h 1002999"/>
                <a:gd name="connsiteX1838" fmla="*/ 207394 w 1357518"/>
                <a:gd name="connsiteY1838" fmla="*/ 367377 h 1002999"/>
                <a:gd name="connsiteX1839" fmla="*/ 203345 w 1357518"/>
                <a:gd name="connsiteY1839" fmla="*/ 370190 h 1002999"/>
                <a:gd name="connsiteX1840" fmla="*/ 198456 w 1357518"/>
                <a:gd name="connsiteY1840" fmla="*/ 372960 h 1002999"/>
                <a:gd name="connsiteX1841" fmla="*/ 195863 w 1357518"/>
                <a:gd name="connsiteY1841" fmla="*/ 373333 h 1002999"/>
                <a:gd name="connsiteX1842" fmla="*/ 191996 w 1357518"/>
                <a:gd name="connsiteY1842" fmla="*/ 370800 h 1002999"/>
                <a:gd name="connsiteX1843" fmla="*/ 190051 w 1357518"/>
                <a:gd name="connsiteY1843" fmla="*/ 369028 h 1002999"/>
                <a:gd name="connsiteX1844" fmla="*/ 188191 w 1357518"/>
                <a:gd name="connsiteY1844" fmla="*/ 368426 h 1002999"/>
                <a:gd name="connsiteX1845" fmla="*/ 186422 w 1357518"/>
                <a:gd name="connsiteY1845" fmla="*/ 368997 h 1002999"/>
                <a:gd name="connsiteX1846" fmla="*/ 182970 w 1357518"/>
                <a:gd name="connsiteY1846" fmla="*/ 371321 h 1002999"/>
                <a:gd name="connsiteX1847" fmla="*/ 179682 w 1357518"/>
                <a:gd name="connsiteY1847" fmla="*/ 373000 h 1002999"/>
                <a:gd name="connsiteX1848" fmla="*/ 174821 w 1357518"/>
                <a:gd name="connsiteY1848" fmla="*/ 374992 h 1002999"/>
                <a:gd name="connsiteX1849" fmla="*/ 170936 w 1357518"/>
                <a:gd name="connsiteY1849" fmla="*/ 375948 h 1002999"/>
                <a:gd name="connsiteX1850" fmla="*/ 165948 w 1357518"/>
                <a:gd name="connsiteY1850" fmla="*/ 376181 h 1002999"/>
                <a:gd name="connsiteX1851" fmla="*/ 164694 w 1357518"/>
                <a:gd name="connsiteY1851" fmla="*/ 376901 h 1002999"/>
                <a:gd name="connsiteX1852" fmla="*/ 162773 w 1357518"/>
                <a:gd name="connsiteY1852" fmla="*/ 376934 h 1002999"/>
                <a:gd name="connsiteX1853" fmla="*/ 160187 w 1357518"/>
                <a:gd name="connsiteY1853" fmla="*/ 376279 h 1002999"/>
                <a:gd name="connsiteX1854" fmla="*/ 157764 w 1357518"/>
                <a:gd name="connsiteY1854" fmla="*/ 374983 h 1002999"/>
                <a:gd name="connsiteX1855" fmla="*/ 155506 w 1357518"/>
                <a:gd name="connsiteY1855" fmla="*/ 373042 h 1002999"/>
                <a:gd name="connsiteX1856" fmla="*/ 153509 w 1357518"/>
                <a:gd name="connsiteY1856" fmla="*/ 371994 h 1002999"/>
                <a:gd name="connsiteX1857" fmla="*/ 151778 w 1357518"/>
                <a:gd name="connsiteY1857" fmla="*/ 371840 h 1002999"/>
                <a:gd name="connsiteX1858" fmla="*/ 147798 w 1357518"/>
                <a:gd name="connsiteY1858" fmla="*/ 372846 h 1002999"/>
                <a:gd name="connsiteX1859" fmla="*/ 142762 w 1357518"/>
                <a:gd name="connsiteY1859" fmla="*/ 375799 h 1002999"/>
                <a:gd name="connsiteX1860" fmla="*/ 140463 w 1357518"/>
                <a:gd name="connsiteY1860" fmla="*/ 376510 h 1002999"/>
                <a:gd name="connsiteX1861" fmla="*/ 138529 w 1357518"/>
                <a:gd name="connsiteY1861" fmla="*/ 376201 h 1002999"/>
                <a:gd name="connsiteX1862" fmla="*/ 136169 w 1357518"/>
                <a:gd name="connsiteY1862" fmla="*/ 375281 h 1002999"/>
                <a:gd name="connsiteX1863" fmla="*/ 131435 w 1357518"/>
                <a:gd name="connsiteY1863" fmla="*/ 372926 h 1002999"/>
                <a:gd name="connsiteX1864" fmla="*/ 128814 w 1357518"/>
                <a:gd name="connsiteY1864" fmla="*/ 373151 h 1002999"/>
                <a:gd name="connsiteX1865" fmla="*/ 126909 w 1357518"/>
                <a:gd name="connsiteY1865" fmla="*/ 373976 h 1002999"/>
                <a:gd name="connsiteX1866" fmla="*/ 127438 w 1357518"/>
                <a:gd name="connsiteY1866" fmla="*/ 375932 h 1002999"/>
                <a:gd name="connsiteX1867" fmla="*/ 131880 w 1357518"/>
                <a:gd name="connsiteY1867" fmla="*/ 380560 h 1002999"/>
                <a:gd name="connsiteX1868" fmla="*/ 135840 w 1357518"/>
                <a:gd name="connsiteY1868" fmla="*/ 383852 h 1002999"/>
                <a:gd name="connsiteX1869" fmla="*/ 132493 w 1357518"/>
                <a:gd name="connsiteY1869" fmla="*/ 384242 h 1002999"/>
                <a:gd name="connsiteX1870" fmla="*/ 103249 w 1357518"/>
                <a:gd name="connsiteY1870" fmla="*/ 379787 h 1002999"/>
                <a:gd name="connsiteX1871" fmla="*/ 99522 w 1357518"/>
                <a:gd name="connsiteY1871" fmla="*/ 378709 h 1002999"/>
                <a:gd name="connsiteX1872" fmla="*/ 94140 w 1357518"/>
                <a:gd name="connsiteY1872" fmla="*/ 376008 h 1002999"/>
                <a:gd name="connsiteX1873" fmla="*/ 89664 w 1357518"/>
                <a:gd name="connsiteY1873" fmla="*/ 374350 h 1002999"/>
                <a:gd name="connsiteX1874" fmla="*/ 82047 w 1357518"/>
                <a:gd name="connsiteY1874" fmla="*/ 370053 h 1002999"/>
                <a:gd name="connsiteX1875" fmla="*/ 76180 w 1357518"/>
                <a:gd name="connsiteY1875" fmla="*/ 367723 h 1002999"/>
                <a:gd name="connsiteX1876" fmla="*/ 74234 w 1357518"/>
                <a:gd name="connsiteY1876" fmla="*/ 365901 h 1002999"/>
                <a:gd name="connsiteX1877" fmla="*/ 73721 w 1357518"/>
                <a:gd name="connsiteY1877" fmla="*/ 364645 h 1002999"/>
                <a:gd name="connsiteX1878" fmla="*/ 75588 w 1357518"/>
                <a:gd name="connsiteY1878" fmla="*/ 362945 h 1002999"/>
                <a:gd name="connsiteX1879" fmla="*/ 87411 w 1357518"/>
                <a:gd name="connsiteY1879" fmla="*/ 357203 h 1002999"/>
                <a:gd name="connsiteX1880" fmla="*/ 91927 w 1357518"/>
                <a:gd name="connsiteY1880" fmla="*/ 356043 h 1002999"/>
                <a:gd name="connsiteX1881" fmla="*/ 101111 w 1357518"/>
                <a:gd name="connsiteY1881" fmla="*/ 354656 h 1002999"/>
                <a:gd name="connsiteX1882" fmla="*/ 103282 w 1357518"/>
                <a:gd name="connsiteY1882" fmla="*/ 353786 h 1002999"/>
                <a:gd name="connsiteX1883" fmla="*/ 104011 w 1357518"/>
                <a:gd name="connsiteY1883" fmla="*/ 353096 h 1002999"/>
                <a:gd name="connsiteX1884" fmla="*/ 101598 w 1357518"/>
                <a:gd name="connsiteY1884" fmla="*/ 351849 h 1002999"/>
                <a:gd name="connsiteX1885" fmla="*/ 89569 w 1357518"/>
                <a:gd name="connsiteY1885" fmla="*/ 352294 h 1002999"/>
                <a:gd name="connsiteX1886" fmla="*/ 78852 w 1357518"/>
                <a:gd name="connsiteY1886" fmla="*/ 351459 h 1002999"/>
                <a:gd name="connsiteX1887" fmla="*/ 69526 w 1357518"/>
                <a:gd name="connsiteY1887" fmla="*/ 349163 h 1002999"/>
                <a:gd name="connsiteX1888" fmla="*/ 67903 w 1357518"/>
                <a:gd name="connsiteY1888" fmla="*/ 348401 h 1002999"/>
                <a:gd name="connsiteX1889" fmla="*/ 66323 w 1357518"/>
                <a:gd name="connsiteY1889" fmla="*/ 346998 h 1002999"/>
                <a:gd name="connsiteX1890" fmla="*/ 64788 w 1357518"/>
                <a:gd name="connsiteY1890" fmla="*/ 344949 h 1002999"/>
                <a:gd name="connsiteX1891" fmla="*/ 65139 w 1357518"/>
                <a:gd name="connsiteY1891" fmla="*/ 342653 h 1002999"/>
                <a:gd name="connsiteX1892" fmla="*/ 67376 w 1357518"/>
                <a:gd name="connsiteY1892" fmla="*/ 340111 h 1002999"/>
                <a:gd name="connsiteX1893" fmla="*/ 68688 w 1357518"/>
                <a:gd name="connsiteY1893" fmla="*/ 338365 h 1002999"/>
                <a:gd name="connsiteX1894" fmla="*/ 69074 w 1357518"/>
                <a:gd name="connsiteY1894" fmla="*/ 337416 h 1002999"/>
                <a:gd name="connsiteX1895" fmla="*/ 57350 w 1357518"/>
                <a:gd name="connsiteY1895" fmla="*/ 343674 h 1002999"/>
                <a:gd name="connsiteX1896" fmla="*/ 52555 w 1357518"/>
                <a:gd name="connsiteY1896" fmla="*/ 345859 h 1002999"/>
                <a:gd name="connsiteX1897" fmla="*/ 48756 w 1357518"/>
                <a:gd name="connsiteY1897" fmla="*/ 345191 h 1002999"/>
                <a:gd name="connsiteX1898" fmla="*/ 46090 w 1357518"/>
                <a:gd name="connsiteY1898" fmla="*/ 344155 h 1002999"/>
                <a:gd name="connsiteX1899" fmla="*/ 44782 w 1357518"/>
                <a:gd name="connsiteY1899" fmla="*/ 343002 h 1002999"/>
                <a:gd name="connsiteX1900" fmla="*/ 44831 w 1357518"/>
                <a:gd name="connsiteY1900" fmla="*/ 341732 h 1002999"/>
                <a:gd name="connsiteX1901" fmla="*/ 45260 w 1357518"/>
                <a:gd name="connsiteY1901" fmla="*/ 340804 h 1002999"/>
                <a:gd name="connsiteX1902" fmla="*/ 46068 w 1357518"/>
                <a:gd name="connsiteY1902" fmla="*/ 340224 h 1002999"/>
                <a:gd name="connsiteX1903" fmla="*/ 39868 w 1357518"/>
                <a:gd name="connsiteY1903" fmla="*/ 337630 h 1002999"/>
                <a:gd name="connsiteX1904" fmla="*/ 37073 w 1357518"/>
                <a:gd name="connsiteY1904" fmla="*/ 335593 h 1002999"/>
                <a:gd name="connsiteX1905" fmla="*/ 36776 w 1357518"/>
                <a:gd name="connsiteY1905" fmla="*/ 333488 h 1002999"/>
                <a:gd name="connsiteX1906" fmla="*/ 38975 w 1357518"/>
                <a:gd name="connsiteY1906" fmla="*/ 331315 h 1002999"/>
                <a:gd name="connsiteX1907" fmla="*/ 41127 w 1357518"/>
                <a:gd name="connsiteY1907" fmla="*/ 329736 h 1002999"/>
                <a:gd name="connsiteX1908" fmla="*/ 43234 w 1357518"/>
                <a:gd name="connsiteY1908" fmla="*/ 328751 h 1002999"/>
                <a:gd name="connsiteX1909" fmla="*/ 48964 w 1357518"/>
                <a:gd name="connsiteY1909" fmla="*/ 327891 h 1002999"/>
                <a:gd name="connsiteX1910" fmla="*/ 69908 w 1357518"/>
                <a:gd name="connsiteY1910" fmla="*/ 326248 h 1002999"/>
                <a:gd name="connsiteX1911" fmla="*/ 84905 w 1357518"/>
                <a:gd name="connsiteY1911" fmla="*/ 327823 h 1002999"/>
                <a:gd name="connsiteX1912" fmla="*/ 90010 w 1357518"/>
                <a:gd name="connsiteY1912" fmla="*/ 322600 h 1002999"/>
                <a:gd name="connsiteX1913" fmla="*/ 93456 w 1357518"/>
                <a:gd name="connsiteY1913" fmla="*/ 320931 h 1002999"/>
                <a:gd name="connsiteX1914" fmla="*/ 103540 w 1357518"/>
                <a:gd name="connsiteY1914" fmla="*/ 319191 h 1002999"/>
                <a:gd name="connsiteX1915" fmla="*/ 119057 w 1357518"/>
                <a:gd name="connsiteY1915" fmla="*/ 318953 h 1002999"/>
                <a:gd name="connsiteX1916" fmla="*/ 130021 w 1357518"/>
                <a:gd name="connsiteY1916" fmla="*/ 319914 h 1002999"/>
                <a:gd name="connsiteX1917" fmla="*/ 135156 w 1357518"/>
                <a:gd name="connsiteY1917" fmla="*/ 321142 h 1002999"/>
                <a:gd name="connsiteX1918" fmla="*/ 142150 w 1357518"/>
                <a:gd name="connsiteY1918" fmla="*/ 323849 h 1002999"/>
                <a:gd name="connsiteX1919" fmla="*/ 142552 w 1357518"/>
                <a:gd name="connsiteY1919" fmla="*/ 323032 h 1002999"/>
                <a:gd name="connsiteX1920" fmla="*/ 140863 w 1357518"/>
                <a:gd name="connsiteY1920" fmla="*/ 320589 h 1002999"/>
                <a:gd name="connsiteX1921" fmla="*/ 140743 w 1357518"/>
                <a:gd name="connsiteY1921" fmla="*/ 318559 h 1002999"/>
                <a:gd name="connsiteX1922" fmla="*/ 143569 w 1357518"/>
                <a:gd name="connsiteY1922" fmla="*/ 315025 h 1002999"/>
                <a:gd name="connsiteX1923" fmla="*/ 144870 w 1357518"/>
                <a:gd name="connsiteY1923" fmla="*/ 312805 h 1002999"/>
                <a:gd name="connsiteX1924" fmla="*/ 143986 w 1357518"/>
                <a:gd name="connsiteY1924" fmla="*/ 310489 h 1002999"/>
                <a:gd name="connsiteX1925" fmla="*/ 140914 w 1357518"/>
                <a:gd name="connsiteY1925" fmla="*/ 308073 h 1002999"/>
                <a:gd name="connsiteX1926" fmla="*/ 135478 w 1357518"/>
                <a:gd name="connsiteY1926" fmla="*/ 304974 h 1002999"/>
                <a:gd name="connsiteX1927" fmla="*/ 132552 w 1357518"/>
                <a:gd name="connsiteY1927" fmla="*/ 304718 h 1002999"/>
                <a:gd name="connsiteX1928" fmla="*/ 129298 w 1357518"/>
                <a:gd name="connsiteY1928" fmla="*/ 305464 h 1002999"/>
                <a:gd name="connsiteX1929" fmla="*/ 125391 w 1357518"/>
                <a:gd name="connsiteY1929" fmla="*/ 307182 h 1002999"/>
                <a:gd name="connsiteX1930" fmla="*/ 117270 w 1357518"/>
                <a:gd name="connsiteY1930" fmla="*/ 311506 h 1002999"/>
                <a:gd name="connsiteX1931" fmla="*/ 113435 w 1357518"/>
                <a:gd name="connsiteY1931" fmla="*/ 312409 h 1002999"/>
                <a:gd name="connsiteX1932" fmla="*/ 107039 w 1357518"/>
                <a:gd name="connsiteY1932" fmla="*/ 312639 h 1002999"/>
                <a:gd name="connsiteX1933" fmla="*/ 103501 w 1357518"/>
                <a:gd name="connsiteY1933" fmla="*/ 312093 h 1002999"/>
                <a:gd name="connsiteX1934" fmla="*/ 100083 w 1357518"/>
                <a:gd name="connsiteY1934" fmla="*/ 311447 h 1002999"/>
                <a:gd name="connsiteX1935" fmla="*/ 94741 w 1357518"/>
                <a:gd name="connsiteY1935" fmla="*/ 309154 h 1002999"/>
                <a:gd name="connsiteX1936" fmla="*/ 92794 w 1357518"/>
                <a:gd name="connsiteY1936" fmla="*/ 308725 h 1002999"/>
                <a:gd name="connsiteX1937" fmla="*/ 90435 w 1357518"/>
                <a:gd name="connsiteY1937" fmla="*/ 309731 h 1002999"/>
                <a:gd name="connsiteX1938" fmla="*/ 87661 w 1357518"/>
                <a:gd name="connsiteY1938" fmla="*/ 312170 h 1002999"/>
                <a:gd name="connsiteX1939" fmla="*/ 84988 w 1357518"/>
                <a:gd name="connsiteY1939" fmla="*/ 313876 h 1002999"/>
                <a:gd name="connsiteX1940" fmla="*/ 82415 w 1357518"/>
                <a:gd name="connsiteY1940" fmla="*/ 314851 h 1002999"/>
                <a:gd name="connsiteX1941" fmla="*/ 80010 w 1357518"/>
                <a:gd name="connsiteY1941" fmla="*/ 315274 h 1002999"/>
                <a:gd name="connsiteX1942" fmla="*/ 76656 w 1357518"/>
                <a:gd name="connsiteY1942" fmla="*/ 315076 h 1002999"/>
                <a:gd name="connsiteX1943" fmla="*/ 62827 w 1357518"/>
                <a:gd name="connsiteY1943" fmla="*/ 311283 h 1002999"/>
                <a:gd name="connsiteX1944" fmla="*/ 59700 w 1357518"/>
                <a:gd name="connsiteY1944" fmla="*/ 309592 h 1002999"/>
                <a:gd name="connsiteX1945" fmla="*/ 59519 w 1357518"/>
                <a:gd name="connsiteY1945" fmla="*/ 307027 h 1002999"/>
                <a:gd name="connsiteX1946" fmla="*/ 55275 w 1357518"/>
                <a:gd name="connsiteY1946" fmla="*/ 304540 h 1002999"/>
                <a:gd name="connsiteX1947" fmla="*/ 50474 w 1357518"/>
                <a:gd name="connsiteY1947" fmla="*/ 304105 h 1002999"/>
                <a:gd name="connsiteX1948" fmla="*/ 49888 w 1357518"/>
                <a:gd name="connsiteY1948" fmla="*/ 303270 h 1002999"/>
                <a:gd name="connsiteX1949" fmla="*/ 55975 w 1357518"/>
                <a:gd name="connsiteY1949" fmla="*/ 299427 h 1002999"/>
                <a:gd name="connsiteX1950" fmla="*/ 60511 w 1357518"/>
                <a:gd name="connsiteY1950" fmla="*/ 297852 h 1002999"/>
                <a:gd name="connsiteX1951" fmla="*/ 59782 w 1357518"/>
                <a:gd name="connsiteY1951" fmla="*/ 297379 h 1002999"/>
                <a:gd name="connsiteX1952" fmla="*/ 53194 w 1357518"/>
                <a:gd name="connsiteY1952" fmla="*/ 297295 h 1002999"/>
                <a:gd name="connsiteX1953" fmla="*/ 48747 w 1357518"/>
                <a:gd name="connsiteY1953" fmla="*/ 299343 h 1002999"/>
                <a:gd name="connsiteX1954" fmla="*/ 46200 w 1357518"/>
                <a:gd name="connsiteY1954" fmla="*/ 299689 h 1002999"/>
                <a:gd name="connsiteX1955" fmla="*/ 40342 w 1357518"/>
                <a:gd name="connsiteY1955" fmla="*/ 299744 h 1002999"/>
                <a:gd name="connsiteX1956" fmla="*/ 34195 w 1357518"/>
                <a:gd name="connsiteY1956" fmla="*/ 298720 h 1002999"/>
                <a:gd name="connsiteX1957" fmla="*/ 31581 w 1357518"/>
                <a:gd name="connsiteY1957" fmla="*/ 297822 h 1002999"/>
                <a:gd name="connsiteX1958" fmla="*/ 28871 w 1357518"/>
                <a:gd name="connsiteY1958" fmla="*/ 295761 h 1002999"/>
                <a:gd name="connsiteX1959" fmla="*/ 25831 w 1357518"/>
                <a:gd name="connsiteY1959" fmla="*/ 294599 h 1002999"/>
                <a:gd name="connsiteX1960" fmla="*/ 16653 w 1357518"/>
                <a:gd name="connsiteY1960" fmla="*/ 292836 h 1002999"/>
                <a:gd name="connsiteX1961" fmla="*/ 14583 w 1357518"/>
                <a:gd name="connsiteY1961" fmla="*/ 291877 h 1002999"/>
                <a:gd name="connsiteX1962" fmla="*/ 12621 w 1357518"/>
                <a:gd name="connsiteY1962" fmla="*/ 290280 h 1002999"/>
                <a:gd name="connsiteX1963" fmla="*/ 5124 w 1357518"/>
                <a:gd name="connsiteY1963" fmla="*/ 285752 h 1002999"/>
                <a:gd name="connsiteX1964" fmla="*/ 587 w 1357518"/>
                <a:gd name="connsiteY1964" fmla="*/ 282415 h 1002999"/>
                <a:gd name="connsiteX1965" fmla="*/ 0 w 1357518"/>
                <a:gd name="connsiteY1965" fmla="*/ 280524 h 1002999"/>
                <a:gd name="connsiteX1966" fmla="*/ 5235 w 1357518"/>
                <a:gd name="connsiteY1966" fmla="*/ 276452 h 1002999"/>
                <a:gd name="connsiteX1967" fmla="*/ 5464 w 1357518"/>
                <a:gd name="connsiteY1967" fmla="*/ 275508 h 1002999"/>
                <a:gd name="connsiteX1968" fmla="*/ 3220 w 1357518"/>
                <a:gd name="connsiteY1968" fmla="*/ 273748 h 1002999"/>
                <a:gd name="connsiteX1969" fmla="*/ 2283 w 1357518"/>
                <a:gd name="connsiteY1969" fmla="*/ 272447 h 1002999"/>
                <a:gd name="connsiteX1970" fmla="*/ 3059 w 1357518"/>
                <a:gd name="connsiteY1970" fmla="*/ 270650 h 1002999"/>
                <a:gd name="connsiteX1971" fmla="*/ 7641 w 1357518"/>
                <a:gd name="connsiteY1971" fmla="*/ 266667 h 1002999"/>
                <a:gd name="connsiteX1972" fmla="*/ 9341 w 1357518"/>
                <a:gd name="connsiteY1972" fmla="*/ 265588 h 1002999"/>
                <a:gd name="connsiteX1973" fmla="*/ 17565 w 1357518"/>
                <a:gd name="connsiteY1973" fmla="*/ 263243 h 1002999"/>
                <a:gd name="connsiteX1974" fmla="*/ 25799 w 1357518"/>
                <a:gd name="connsiteY1974" fmla="*/ 259831 h 1002999"/>
                <a:gd name="connsiteX1975" fmla="*/ 28800 w 1357518"/>
                <a:gd name="connsiteY1975" fmla="*/ 259063 h 1002999"/>
                <a:gd name="connsiteX1976" fmla="*/ 31472 w 1357518"/>
                <a:gd name="connsiteY1976" fmla="*/ 258885 h 1002999"/>
                <a:gd name="connsiteX1977" fmla="*/ 42285 w 1357518"/>
                <a:gd name="connsiteY1977" fmla="*/ 259087 h 1002999"/>
                <a:gd name="connsiteX1978" fmla="*/ 45638 w 1357518"/>
                <a:gd name="connsiteY1978" fmla="*/ 258245 h 1002999"/>
                <a:gd name="connsiteX1979" fmla="*/ 48484 w 1357518"/>
                <a:gd name="connsiteY1979" fmla="*/ 256576 h 1002999"/>
                <a:gd name="connsiteX1980" fmla="*/ 53154 w 1357518"/>
                <a:gd name="connsiteY1980" fmla="*/ 254885 h 1002999"/>
                <a:gd name="connsiteX1981" fmla="*/ 62898 w 1357518"/>
                <a:gd name="connsiteY1981" fmla="*/ 252314 h 1002999"/>
                <a:gd name="connsiteX1982" fmla="*/ 84570 w 1357518"/>
                <a:gd name="connsiteY1982" fmla="*/ 248423 h 1002999"/>
                <a:gd name="connsiteX1983" fmla="*/ 85981 w 1357518"/>
                <a:gd name="connsiteY1983" fmla="*/ 247965 h 1002999"/>
                <a:gd name="connsiteX1984" fmla="*/ 86108 w 1357518"/>
                <a:gd name="connsiteY1984" fmla="*/ 247226 h 1002999"/>
                <a:gd name="connsiteX1985" fmla="*/ 84161 w 1357518"/>
                <a:gd name="connsiteY1985" fmla="*/ 245215 h 1002999"/>
                <a:gd name="connsiteX1986" fmla="*/ 83751 w 1357518"/>
                <a:gd name="connsiteY1986" fmla="*/ 244244 h 1002999"/>
                <a:gd name="connsiteX1987" fmla="*/ 88188 w 1357518"/>
                <a:gd name="connsiteY1987" fmla="*/ 242438 h 1002999"/>
                <a:gd name="connsiteX1988" fmla="*/ 98200 w 1357518"/>
                <a:gd name="connsiteY1988" fmla="*/ 239588 h 1002999"/>
                <a:gd name="connsiteX1989" fmla="*/ 105044 w 1357518"/>
                <a:gd name="connsiteY1989" fmla="*/ 238214 h 1002999"/>
                <a:gd name="connsiteX1990" fmla="*/ 109448 w 1357518"/>
                <a:gd name="connsiteY1990" fmla="*/ 238113 h 1002999"/>
                <a:gd name="connsiteX1991" fmla="*/ 112999 w 1357518"/>
                <a:gd name="connsiteY1991" fmla="*/ 237499 h 1002999"/>
                <a:gd name="connsiteX1992" fmla="*/ 117987 w 1357518"/>
                <a:gd name="connsiteY1992" fmla="*/ 235703 h 1002999"/>
                <a:gd name="connsiteX1993" fmla="*/ 120810 w 1357518"/>
                <a:gd name="connsiteY1993" fmla="*/ 235386 h 1002999"/>
                <a:gd name="connsiteX1994" fmla="*/ 137854 w 1357518"/>
                <a:gd name="connsiteY1994" fmla="*/ 234679 h 1002999"/>
                <a:gd name="connsiteX1995" fmla="*/ 145393 w 1357518"/>
                <a:gd name="connsiteY1995" fmla="*/ 235657 h 1002999"/>
                <a:gd name="connsiteX1996" fmla="*/ 149096 w 1357518"/>
                <a:gd name="connsiteY1996" fmla="*/ 235638 h 1002999"/>
                <a:gd name="connsiteX1997" fmla="*/ 151472 w 1357518"/>
                <a:gd name="connsiteY1997" fmla="*/ 234941 h 1002999"/>
                <a:gd name="connsiteX1998" fmla="*/ 154619 w 1357518"/>
                <a:gd name="connsiteY1998" fmla="*/ 232904 h 1002999"/>
                <a:gd name="connsiteX1999" fmla="*/ 160496 w 1357518"/>
                <a:gd name="connsiteY1999" fmla="*/ 227834 h 1002999"/>
                <a:gd name="connsiteX2000" fmla="*/ 163590 w 1357518"/>
                <a:gd name="connsiteY2000" fmla="*/ 224680 h 1002999"/>
                <a:gd name="connsiteX2001" fmla="*/ 166510 w 1357518"/>
                <a:gd name="connsiteY2001" fmla="*/ 219867 h 1002999"/>
                <a:gd name="connsiteX2002" fmla="*/ 170288 w 1357518"/>
                <a:gd name="connsiteY2002" fmla="*/ 212320 h 1002999"/>
                <a:gd name="connsiteX2003" fmla="*/ 173111 w 1357518"/>
                <a:gd name="connsiteY2003" fmla="*/ 204928 h 1002999"/>
                <a:gd name="connsiteX2004" fmla="*/ 174983 w 1357518"/>
                <a:gd name="connsiteY2004" fmla="*/ 197690 h 1002999"/>
                <a:gd name="connsiteX2005" fmla="*/ 176435 w 1357518"/>
                <a:gd name="connsiteY2005" fmla="*/ 193264 h 1002999"/>
                <a:gd name="connsiteX2006" fmla="*/ 177467 w 1357518"/>
                <a:gd name="connsiteY2006" fmla="*/ 191678 h 1002999"/>
                <a:gd name="connsiteX2007" fmla="*/ 181002 w 1357518"/>
                <a:gd name="connsiteY2007" fmla="*/ 189662 h 1002999"/>
                <a:gd name="connsiteX2008" fmla="*/ 184688 w 1357518"/>
                <a:gd name="connsiteY2008" fmla="*/ 188091 h 1002999"/>
                <a:gd name="connsiteX2009" fmla="*/ 191024 w 1357518"/>
                <a:gd name="connsiteY2009" fmla="*/ 186696 h 1002999"/>
                <a:gd name="connsiteX2010" fmla="*/ 190447 w 1357518"/>
                <a:gd name="connsiteY2010" fmla="*/ 186046 h 1002999"/>
                <a:gd name="connsiteX2011" fmla="*/ 187760 w 1357518"/>
                <a:gd name="connsiteY2011" fmla="*/ 184959 h 1002999"/>
                <a:gd name="connsiteX2012" fmla="*/ 185258 w 1357518"/>
                <a:gd name="connsiteY2012" fmla="*/ 184541 h 1002999"/>
                <a:gd name="connsiteX2013" fmla="*/ 182943 w 1357518"/>
                <a:gd name="connsiteY2013" fmla="*/ 184790 h 1002999"/>
                <a:gd name="connsiteX2014" fmla="*/ 178728 w 1357518"/>
                <a:gd name="connsiteY2014" fmla="*/ 186434 h 1002999"/>
                <a:gd name="connsiteX2015" fmla="*/ 173267 w 1357518"/>
                <a:gd name="connsiteY2015" fmla="*/ 187545 h 1002999"/>
                <a:gd name="connsiteX2016" fmla="*/ 167962 w 1357518"/>
                <a:gd name="connsiteY2016" fmla="*/ 187370 h 1002999"/>
                <a:gd name="connsiteX2017" fmla="*/ 164141 w 1357518"/>
                <a:gd name="connsiteY2017" fmla="*/ 187785 h 1002999"/>
                <a:gd name="connsiteX2018" fmla="*/ 160636 w 1357518"/>
                <a:gd name="connsiteY2018" fmla="*/ 189287 h 1002999"/>
                <a:gd name="connsiteX2019" fmla="*/ 154953 w 1357518"/>
                <a:gd name="connsiteY2019" fmla="*/ 190495 h 1002999"/>
                <a:gd name="connsiteX2020" fmla="*/ 151161 w 1357518"/>
                <a:gd name="connsiteY2020" fmla="*/ 190222 h 1002999"/>
                <a:gd name="connsiteX2021" fmla="*/ 144316 w 1357518"/>
                <a:gd name="connsiteY2021" fmla="*/ 188061 h 1002999"/>
                <a:gd name="connsiteX2022" fmla="*/ 140862 w 1357518"/>
                <a:gd name="connsiteY2022" fmla="*/ 187656 h 1002999"/>
                <a:gd name="connsiteX2023" fmla="*/ 132107 w 1357518"/>
                <a:gd name="connsiteY2023" fmla="*/ 187861 h 1002999"/>
                <a:gd name="connsiteX2024" fmla="*/ 129546 w 1357518"/>
                <a:gd name="connsiteY2024" fmla="*/ 187061 h 1002999"/>
                <a:gd name="connsiteX2025" fmla="*/ 127308 w 1357518"/>
                <a:gd name="connsiteY2025" fmla="*/ 185487 h 1002999"/>
                <a:gd name="connsiteX2026" fmla="*/ 125525 w 1357518"/>
                <a:gd name="connsiteY2026" fmla="*/ 183294 h 1002999"/>
                <a:gd name="connsiteX2027" fmla="*/ 124195 w 1357518"/>
                <a:gd name="connsiteY2027" fmla="*/ 180468 h 1002999"/>
                <a:gd name="connsiteX2028" fmla="*/ 124378 w 1357518"/>
                <a:gd name="connsiteY2028" fmla="*/ 177526 h 1002999"/>
                <a:gd name="connsiteX2029" fmla="*/ 127530 w 1357518"/>
                <a:gd name="connsiteY2029" fmla="*/ 172206 h 1002999"/>
                <a:gd name="connsiteX2030" fmla="*/ 128740 w 1357518"/>
                <a:gd name="connsiteY2030" fmla="*/ 170754 h 1002999"/>
                <a:gd name="connsiteX2031" fmla="*/ 137272 w 1357518"/>
                <a:gd name="connsiteY2031" fmla="*/ 164792 h 1002999"/>
                <a:gd name="connsiteX2032" fmla="*/ 142529 w 1357518"/>
                <a:gd name="connsiteY2032" fmla="*/ 161994 h 1002999"/>
                <a:gd name="connsiteX2033" fmla="*/ 147761 w 1357518"/>
                <a:gd name="connsiteY2033" fmla="*/ 159898 h 1002999"/>
                <a:gd name="connsiteX2034" fmla="*/ 151574 w 1357518"/>
                <a:gd name="connsiteY2034" fmla="*/ 158667 h 1002999"/>
                <a:gd name="connsiteX2035" fmla="*/ 155163 w 1357518"/>
                <a:gd name="connsiteY2035" fmla="*/ 158114 h 1002999"/>
                <a:gd name="connsiteX2036" fmla="*/ 158607 w 1357518"/>
                <a:gd name="connsiteY2036" fmla="*/ 156811 h 1002999"/>
                <a:gd name="connsiteX2037" fmla="*/ 164953 w 1357518"/>
                <a:gd name="connsiteY2037" fmla="*/ 152615 h 1002999"/>
                <a:gd name="connsiteX2038" fmla="*/ 171499 w 1357518"/>
                <a:gd name="connsiteY2038" fmla="*/ 149010 h 1002999"/>
                <a:gd name="connsiteX2039" fmla="*/ 179644 w 1357518"/>
                <a:gd name="connsiteY2039" fmla="*/ 142295 h 1002999"/>
                <a:gd name="connsiteX2040" fmla="*/ 183586 w 1357518"/>
                <a:gd name="connsiteY2040" fmla="*/ 140531 h 1002999"/>
                <a:gd name="connsiteX2041" fmla="*/ 197384 w 1357518"/>
                <a:gd name="connsiteY2041" fmla="*/ 137597 h 1002999"/>
                <a:gd name="connsiteX2042" fmla="*/ 201134 w 1357518"/>
                <a:gd name="connsiteY2042" fmla="*/ 137551 h 1002999"/>
                <a:gd name="connsiteX2043" fmla="*/ 204317 w 1357518"/>
                <a:gd name="connsiteY2043" fmla="*/ 138283 h 1002999"/>
                <a:gd name="connsiteX2044" fmla="*/ 207331 w 1357518"/>
                <a:gd name="connsiteY2044" fmla="*/ 139810 h 1002999"/>
                <a:gd name="connsiteX2045" fmla="*/ 215802 w 1357518"/>
                <a:gd name="connsiteY2045" fmla="*/ 146462 h 1002999"/>
                <a:gd name="connsiteX2046" fmla="*/ 216464 w 1357518"/>
                <a:gd name="connsiteY2046" fmla="*/ 146257 h 1002999"/>
                <a:gd name="connsiteX2047" fmla="*/ 214987 w 1357518"/>
                <a:gd name="connsiteY2047" fmla="*/ 143743 h 1002999"/>
                <a:gd name="connsiteX2048" fmla="*/ 211897 w 1357518"/>
                <a:gd name="connsiteY2048" fmla="*/ 136197 h 1002999"/>
                <a:gd name="connsiteX2049" fmla="*/ 212399 w 1357518"/>
                <a:gd name="connsiteY2049" fmla="*/ 133083 h 1002999"/>
                <a:gd name="connsiteX2050" fmla="*/ 217247 w 1357518"/>
                <a:gd name="connsiteY2050" fmla="*/ 129748 h 1002999"/>
                <a:gd name="connsiteX2051" fmla="*/ 219235 w 1357518"/>
                <a:gd name="connsiteY2051" fmla="*/ 129154 h 1002999"/>
                <a:gd name="connsiteX2052" fmla="*/ 224353 w 1357518"/>
                <a:gd name="connsiteY2052" fmla="*/ 129376 h 1002999"/>
                <a:gd name="connsiteX2053" fmla="*/ 232601 w 1357518"/>
                <a:gd name="connsiteY2053" fmla="*/ 130406 h 1002999"/>
                <a:gd name="connsiteX2054" fmla="*/ 238117 w 1357518"/>
                <a:gd name="connsiteY2054" fmla="*/ 131536 h 1002999"/>
                <a:gd name="connsiteX2055" fmla="*/ 242298 w 1357518"/>
                <a:gd name="connsiteY2055" fmla="*/ 133370 h 1002999"/>
                <a:gd name="connsiteX2056" fmla="*/ 247268 w 1357518"/>
                <a:gd name="connsiteY2056" fmla="*/ 134510 h 1002999"/>
                <a:gd name="connsiteX2057" fmla="*/ 249844 w 1357518"/>
                <a:gd name="connsiteY2057" fmla="*/ 134454 h 1002999"/>
                <a:gd name="connsiteX2058" fmla="*/ 251682 w 1357518"/>
                <a:gd name="connsiteY2058" fmla="*/ 133579 h 1002999"/>
                <a:gd name="connsiteX2059" fmla="*/ 254313 w 1357518"/>
                <a:gd name="connsiteY2059" fmla="*/ 130715 h 1002999"/>
                <a:gd name="connsiteX2060" fmla="*/ 257739 w 1357518"/>
                <a:gd name="connsiteY2060" fmla="*/ 125850 h 1002999"/>
                <a:gd name="connsiteX2061" fmla="*/ 259111 w 1357518"/>
                <a:gd name="connsiteY2061" fmla="*/ 119838 h 1002999"/>
                <a:gd name="connsiteX2062" fmla="*/ 258431 w 1357518"/>
                <a:gd name="connsiteY2062" fmla="*/ 112665 h 1002999"/>
                <a:gd name="connsiteX2063" fmla="*/ 257431 w 1357518"/>
                <a:gd name="connsiteY2063" fmla="*/ 107403 h 1002999"/>
                <a:gd name="connsiteX2064" fmla="*/ 256111 w 1357518"/>
                <a:gd name="connsiteY2064" fmla="*/ 104082 h 1002999"/>
                <a:gd name="connsiteX2065" fmla="*/ 256835 w 1357518"/>
                <a:gd name="connsiteY2065" fmla="*/ 101306 h 1002999"/>
                <a:gd name="connsiteX2066" fmla="*/ 260990 w 1357518"/>
                <a:gd name="connsiteY2066" fmla="*/ 97973 h 1002999"/>
                <a:gd name="connsiteX2067" fmla="*/ 264797 w 1357518"/>
                <a:gd name="connsiteY2067" fmla="*/ 95534 h 1002999"/>
                <a:gd name="connsiteX2068" fmla="*/ 273874 w 1357518"/>
                <a:gd name="connsiteY2068" fmla="*/ 92078 h 1002999"/>
                <a:gd name="connsiteX2069" fmla="*/ 281235 w 1357518"/>
                <a:gd name="connsiteY2069" fmla="*/ 91160 h 1002999"/>
                <a:gd name="connsiteX2070" fmla="*/ 285603 w 1357518"/>
                <a:gd name="connsiteY2070" fmla="*/ 91392 h 1002999"/>
                <a:gd name="connsiteX2071" fmla="*/ 291344 w 1357518"/>
                <a:gd name="connsiteY2071" fmla="*/ 93014 h 1002999"/>
                <a:gd name="connsiteX2072" fmla="*/ 299312 w 1357518"/>
                <a:gd name="connsiteY2072" fmla="*/ 94006 h 1002999"/>
                <a:gd name="connsiteX2073" fmla="*/ 306502 w 1357518"/>
                <a:gd name="connsiteY2073" fmla="*/ 97141 h 1002999"/>
                <a:gd name="connsiteX2074" fmla="*/ 318155 w 1357518"/>
                <a:gd name="connsiteY2074" fmla="*/ 104322 h 1002999"/>
                <a:gd name="connsiteX2075" fmla="*/ 325891 w 1357518"/>
                <a:gd name="connsiteY2075" fmla="*/ 107915 h 1002999"/>
                <a:gd name="connsiteX2076" fmla="*/ 332295 w 1357518"/>
                <a:gd name="connsiteY2076" fmla="*/ 109526 h 1002999"/>
                <a:gd name="connsiteX2077" fmla="*/ 338607 w 1357518"/>
                <a:gd name="connsiteY2077" fmla="*/ 112265 h 1002999"/>
                <a:gd name="connsiteX2078" fmla="*/ 347939 w 1357518"/>
                <a:gd name="connsiteY2078" fmla="*/ 118059 h 1002999"/>
                <a:gd name="connsiteX2079" fmla="*/ 352821 w 1357518"/>
                <a:gd name="connsiteY2079" fmla="*/ 120541 h 1002999"/>
                <a:gd name="connsiteX2080" fmla="*/ 355726 w 1357518"/>
                <a:gd name="connsiteY2080" fmla="*/ 121439 h 1002999"/>
                <a:gd name="connsiteX2081" fmla="*/ 358281 w 1357518"/>
                <a:gd name="connsiteY2081" fmla="*/ 121582 h 1002999"/>
                <a:gd name="connsiteX2082" fmla="*/ 357330 w 1357518"/>
                <a:gd name="connsiteY2082" fmla="*/ 119933 h 1002999"/>
                <a:gd name="connsiteX2083" fmla="*/ 352874 w 1357518"/>
                <a:gd name="connsiteY2083" fmla="*/ 116479 h 1002999"/>
                <a:gd name="connsiteX2084" fmla="*/ 346047 w 1357518"/>
                <a:gd name="connsiteY2084" fmla="*/ 112672 h 1002999"/>
                <a:gd name="connsiteX2085" fmla="*/ 330909 w 1357518"/>
                <a:gd name="connsiteY2085" fmla="*/ 105808 h 1002999"/>
                <a:gd name="connsiteX2086" fmla="*/ 322571 w 1357518"/>
                <a:gd name="connsiteY2086" fmla="*/ 100946 h 1002999"/>
                <a:gd name="connsiteX2087" fmla="*/ 315094 w 1357518"/>
                <a:gd name="connsiteY2087" fmla="*/ 95383 h 1002999"/>
                <a:gd name="connsiteX2088" fmla="*/ 309599 w 1357518"/>
                <a:gd name="connsiteY2088" fmla="*/ 92065 h 1002999"/>
                <a:gd name="connsiteX2089" fmla="*/ 299620 w 1357518"/>
                <a:gd name="connsiteY2089" fmla="*/ 88769 h 1002999"/>
                <a:gd name="connsiteX2090" fmla="*/ 299757 w 1357518"/>
                <a:gd name="connsiteY2090" fmla="*/ 87454 h 1002999"/>
                <a:gd name="connsiteX2091" fmla="*/ 311796 w 1357518"/>
                <a:gd name="connsiteY2091" fmla="*/ 82821 h 1002999"/>
                <a:gd name="connsiteX2092" fmla="*/ 333919 w 1357518"/>
                <a:gd name="connsiteY2092" fmla="*/ 78777 h 1002999"/>
                <a:gd name="connsiteX2093" fmla="*/ 358851 w 1357518"/>
                <a:gd name="connsiteY2093" fmla="*/ 75608 h 1002999"/>
                <a:gd name="connsiteX2094" fmla="*/ 367196 w 1357518"/>
                <a:gd name="connsiteY2094" fmla="*/ 75932 h 1002999"/>
                <a:gd name="connsiteX2095" fmla="*/ 381863 w 1357518"/>
                <a:gd name="connsiteY2095" fmla="*/ 74605 h 1002999"/>
                <a:gd name="connsiteX2096" fmla="*/ 383243 w 1357518"/>
                <a:gd name="connsiteY2096" fmla="*/ 72603 h 1002999"/>
                <a:gd name="connsiteX2097" fmla="*/ 386397 w 1357518"/>
                <a:gd name="connsiteY2097" fmla="*/ 71701 h 1002999"/>
                <a:gd name="connsiteX2098" fmla="*/ 400056 w 1357518"/>
                <a:gd name="connsiteY2098" fmla="*/ 68900 h 1002999"/>
                <a:gd name="connsiteX2099" fmla="*/ 403970 w 1357518"/>
                <a:gd name="connsiteY2099" fmla="*/ 68939 h 1002999"/>
                <a:gd name="connsiteX2100" fmla="*/ 409981 w 1357518"/>
                <a:gd name="connsiteY2100" fmla="*/ 70268 h 1002999"/>
                <a:gd name="connsiteX2101" fmla="*/ 416388 w 1357518"/>
                <a:gd name="connsiteY2101" fmla="*/ 72798 h 1002999"/>
                <a:gd name="connsiteX2102" fmla="*/ 419352 w 1357518"/>
                <a:gd name="connsiteY2102" fmla="*/ 75085 h 1002999"/>
                <a:gd name="connsiteX2103" fmla="*/ 423374 w 1357518"/>
                <a:gd name="connsiteY2103" fmla="*/ 79006 h 1002999"/>
                <a:gd name="connsiteX2104" fmla="*/ 425349 w 1357518"/>
                <a:gd name="connsiteY2104" fmla="*/ 84511 h 1002999"/>
                <a:gd name="connsiteX2105" fmla="*/ 425051 w 1357518"/>
                <a:gd name="connsiteY2105" fmla="*/ 101775 h 1002999"/>
                <a:gd name="connsiteX2106" fmla="*/ 425156 w 1357518"/>
                <a:gd name="connsiteY2106" fmla="*/ 105021 h 1002999"/>
                <a:gd name="connsiteX2107" fmla="*/ 425932 w 1357518"/>
                <a:gd name="connsiteY2107" fmla="*/ 106271 h 1002999"/>
                <a:gd name="connsiteX2108" fmla="*/ 428708 w 1357518"/>
                <a:gd name="connsiteY2108" fmla="*/ 104410 h 1002999"/>
                <a:gd name="connsiteX2109" fmla="*/ 432028 w 1357518"/>
                <a:gd name="connsiteY2109" fmla="*/ 100948 h 1002999"/>
                <a:gd name="connsiteX2110" fmla="*/ 435012 w 1357518"/>
                <a:gd name="connsiteY2110" fmla="*/ 98495 h 1002999"/>
                <a:gd name="connsiteX2111" fmla="*/ 437308 w 1357518"/>
                <a:gd name="connsiteY2111" fmla="*/ 94701 h 1002999"/>
                <a:gd name="connsiteX2112" fmla="*/ 438916 w 1357518"/>
                <a:gd name="connsiteY2112" fmla="*/ 89568 h 1002999"/>
                <a:gd name="connsiteX2113" fmla="*/ 439866 w 1357518"/>
                <a:gd name="connsiteY2113" fmla="*/ 85754 h 1002999"/>
                <a:gd name="connsiteX2114" fmla="*/ 435965 w 1357518"/>
                <a:gd name="connsiteY2114" fmla="*/ 81431 h 1002999"/>
                <a:gd name="connsiteX2115" fmla="*/ 435770 w 1357518"/>
                <a:gd name="connsiteY2115" fmla="*/ 74310 h 1002999"/>
                <a:gd name="connsiteX2116" fmla="*/ 437720 w 1357518"/>
                <a:gd name="connsiteY2116" fmla="*/ 70503 h 1002999"/>
                <a:gd name="connsiteX2117" fmla="*/ 443181 w 1357518"/>
                <a:gd name="connsiteY2117" fmla="*/ 70503 h 1002999"/>
                <a:gd name="connsiteX2118" fmla="*/ 465771 w 1357518"/>
                <a:gd name="connsiteY2118" fmla="*/ 83617 h 1002999"/>
                <a:gd name="connsiteX2119" fmla="*/ 474663 w 1357518"/>
                <a:gd name="connsiteY2119" fmla="*/ 86437 h 1002999"/>
                <a:gd name="connsiteX2120" fmla="*/ 484778 w 1357518"/>
                <a:gd name="connsiteY2120" fmla="*/ 93409 h 1002999"/>
                <a:gd name="connsiteX2121" fmla="*/ 496594 w 1357518"/>
                <a:gd name="connsiteY2121" fmla="*/ 92669 h 1002999"/>
                <a:gd name="connsiteX2122" fmla="*/ 507496 w 1357518"/>
                <a:gd name="connsiteY2122" fmla="*/ 93526 h 1002999"/>
                <a:gd name="connsiteX2123" fmla="*/ 512321 w 1357518"/>
                <a:gd name="connsiteY2123" fmla="*/ 93271 h 1002999"/>
                <a:gd name="connsiteX2124" fmla="*/ 514704 w 1357518"/>
                <a:gd name="connsiteY2124" fmla="*/ 92190 h 1002999"/>
                <a:gd name="connsiteX2125" fmla="*/ 511315 w 1357518"/>
                <a:gd name="connsiteY2125" fmla="*/ 89301 h 1002999"/>
                <a:gd name="connsiteX2126" fmla="*/ 495825 w 1357518"/>
                <a:gd name="connsiteY2126" fmla="*/ 81337 h 1002999"/>
                <a:gd name="connsiteX2127" fmla="*/ 488787 w 1357518"/>
                <a:gd name="connsiteY2127" fmla="*/ 75058 h 1002999"/>
                <a:gd name="connsiteX2128" fmla="*/ 483869 w 1357518"/>
                <a:gd name="connsiteY2128" fmla="*/ 67197 h 1002999"/>
                <a:gd name="connsiteX2129" fmla="*/ 482666 w 1357518"/>
                <a:gd name="connsiteY2129" fmla="*/ 63002 h 1002999"/>
                <a:gd name="connsiteX2130" fmla="*/ 486434 w 1357518"/>
                <a:gd name="connsiteY2130" fmla="*/ 62247 h 1002999"/>
                <a:gd name="connsiteX2131" fmla="*/ 503735 w 1357518"/>
                <a:gd name="connsiteY2131" fmla="*/ 62337 h 1002999"/>
                <a:gd name="connsiteX2132" fmla="*/ 529737 w 1357518"/>
                <a:gd name="connsiteY2132" fmla="*/ 65972 h 1002999"/>
                <a:gd name="connsiteX2133" fmla="*/ 562988 w 1357518"/>
                <a:gd name="connsiteY2133" fmla="*/ 78491 h 1002999"/>
                <a:gd name="connsiteX2134" fmla="*/ 579354 w 1357518"/>
                <a:gd name="connsiteY2134" fmla="*/ 82612 h 1002999"/>
                <a:gd name="connsiteX2135" fmla="*/ 608680 w 1357518"/>
                <a:gd name="connsiteY2135" fmla="*/ 96949 h 1002999"/>
                <a:gd name="connsiteX2136" fmla="*/ 617527 w 1357518"/>
                <a:gd name="connsiteY2136" fmla="*/ 99105 h 1002999"/>
                <a:gd name="connsiteX2137" fmla="*/ 621098 w 1357518"/>
                <a:gd name="connsiteY2137" fmla="*/ 99555 h 1002999"/>
                <a:gd name="connsiteX2138" fmla="*/ 623792 w 1357518"/>
                <a:gd name="connsiteY2138" fmla="*/ 97794 h 1002999"/>
                <a:gd name="connsiteX2139" fmla="*/ 625455 w 1357518"/>
                <a:gd name="connsiteY2139" fmla="*/ 95878 h 1002999"/>
                <a:gd name="connsiteX2140" fmla="*/ 625577 w 1357518"/>
                <a:gd name="connsiteY2140" fmla="*/ 93323 h 1002999"/>
                <a:gd name="connsiteX2141" fmla="*/ 624159 w 1357518"/>
                <a:gd name="connsiteY2141" fmla="*/ 90126 h 1002999"/>
                <a:gd name="connsiteX2142" fmla="*/ 623347 w 1357518"/>
                <a:gd name="connsiteY2142" fmla="*/ 86424 h 1002999"/>
                <a:gd name="connsiteX2143" fmla="*/ 623140 w 1357518"/>
                <a:gd name="connsiteY2143" fmla="*/ 82210 h 1002999"/>
                <a:gd name="connsiteX2144" fmla="*/ 625131 w 1357518"/>
                <a:gd name="connsiteY2144" fmla="*/ 73834 h 1002999"/>
                <a:gd name="connsiteX2145" fmla="*/ 629860 w 1357518"/>
                <a:gd name="connsiteY2145" fmla="*/ 71094 h 1002999"/>
                <a:gd name="connsiteX2146" fmla="*/ 631946 w 1357518"/>
                <a:gd name="connsiteY2146" fmla="*/ 67991 h 1002999"/>
                <a:gd name="connsiteX2147" fmla="*/ 630007 w 1357518"/>
                <a:gd name="connsiteY2147" fmla="*/ 62374 h 1002999"/>
                <a:gd name="connsiteX2148" fmla="*/ 624464 w 1357518"/>
                <a:gd name="connsiteY2148" fmla="*/ 58519 h 1002999"/>
                <a:gd name="connsiteX2149" fmla="*/ 602901 w 1357518"/>
                <a:gd name="connsiteY2149" fmla="*/ 48549 h 1002999"/>
                <a:gd name="connsiteX2150" fmla="*/ 602810 w 1357518"/>
                <a:gd name="connsiteY2150" fmla="*/ 47356 h 1002999"/>
                <a:gd name="connsiteX2151" fmla="*/ 607164 w 1357518"/>
                <a:gd name="connsiteY2151" fmla="*/ 46045 h 1002999"/>
                <a:gd name="connsiteX2152" fmla="*/ 613625 w 1357518"/>
                <a:gd name="connsiteY2152" fmla="*/ 45277 h 1002999"/>
                <a:gd name="connsiteX2153" fmla="*/ 667063 w 1357518"/>
                <a:gd name="connsiteY2153" fmla="*/ 47661 h 1002999"/>
                <a:gd name="connsiteX2154" fmla="*/ 676301 w 1357518"/>
                <a:gd name="connsiteY2154" fmla="*/ 48536 h 1002999"/>
                <a:gd name="connsiteX2155" fmla="*/ 680244 w 1357518"/>
                <a:gd name="connsiteY2155" fmla="*/ 49394 h 1002999"/>
                <a:gd name="connsiteX2156" fmla="*/ 681971 w 1357518"/>
                <a:gd name="connsiteY2156" fmla="*/ 50524 h 1002999"/>
                <a:gd name="connsiteX2157" fmla="*/ 684184 w 1357518"/>
                <a:gd name="connsiteY2157" fmla="*/ 51007 h 1002999"/>
                <a:gd name="connsiteX2158" fmla="*/ 695664 w 1357518"/>
                <a:gd name="connsiteY2158" fmla="*/ 49659 h 1002999"/>
                <a:gd name="connsiteX2159" fmla="*/ 695391 w 1357518"/>
                <a:gd name="connsiteY2159" fmla="*/ 47193 h 1002999"/>
                <a:gd name="connsiteX2160" fmla="*/ 693959 w 1357518"/>
                <a:gd name="connsiteY2160" fmla="*/ 45625 h 1002999"/>
                <a:gd name="connsiteX2161" fmla="*/ 631939 w 1357518"/>
                <a:gd name="connsiteY2161" fmla="*/ 41332 h 1002999"/>
                <a:gd name="connsiteX2162" fmla="*/ 620379 w 1357518"/>
                <a:gd name="connsiteY2162" fmla="*/ 39860 h 1002999"/>
                <a:gd name="connsiteX2163" fmla="*/ 614498 w 1357518"/>
                <a:gd name="connsiteY2163" fmla="*/ 39747 h 1002999"/>
                <a:gd name="connsiteX2164" fmla="*/ 608417 w 1357518"/>
                <a:gd name="connsiteY2164" fmla="*/ 40876 h 1002999"/>
                <a:gd name="connsiteX2165" fmla="*/ 595804 w 1357518"/>
                <a:gd name="connsiteY2165" fmla="*/ 41437 h 1002999"/>
                <a:gd name="connsiteX2166" fmla="*/ 589978 w 1357518"/>
                <a:gd name="connsiteY2166" fmla="*/ 41219 h 1002999"/>
                <a:gd name="connsiteX2167" fmla="*/ 582431 w 1357518"/>
                <a:gd name="connsiteY2167" fmla="*/ 36094 h 1002999"/>
                <a:gd name="connsiteX2168" fmla="*/ 589266 w 1357518"/>
                <a:gd name="connsiteY2168" fmla="*/ 29909 h 1002999"/>
                <a:gd name="connsiteX2169" fmla="*/ 595018 w 1357518"/>
                <a:gd name="connsiteY2169" fmla="*/ 30050 h 1002999"/>
                <a:gd name="connsiteX2170" fmla="*/ 605948 w 1357518"/>
                <a:gd name="connsiteY2170" fmla="*/ 32463 h 1002999"/>
                <a:gd name="connsiteX2171" fmla="*/ 612423 w 1357518"/>
                <a:gd name="connsiteY2171" fmla="*/ 29090 h 1002999"/>
                <a:gd name="connsiteX2172" fmla="*/ 622702 w 1357518"/>
                <a:gd name="connsiteY2172" fmla="*/ 26298 h 1002999"/>
                <a:gd name="connsiteX2173" fmla="*/ 632865 w 1357518"/>
                <a:gd name="connsiteY2173" fmla="*/ 25311 h 1002999"/>
                <a:gd name="connsiteX2174" fmla="*/ 655038 w 1357518"/>
                <a:gd name="connsiteY2174" fmla="*/ 19291 h 1002999"/>
                <a:gd name="connsiteX2175" fmla="*/ 659135 w 1357518"/>
                <a:gd name="connsiteY2175" fmla="*/ 18763 h 1002999"/>
                <a:gd name="connsiteX2176" fmla="*/ 664304 w 1357518"/>
                <a:gd name="connsiteY2176" fmla="*/ 19087 h 1002999"/>
                <a:gd name="connsiteX2177" fmla="*/ 675714 w 1357518"/>
                <a:gd name="connsiteY2177" fmla="*/ 20580 h 1002999"/>
                <a:gd name="connsiteX2178" fmla="*/ 680245 w 1357518"/>
                <a:gd name="connsiteY2178" fmla="*/ 22070 h 1002999"/>
                <a:gd name="connsiteX2179" fmla="*/ 685437 w 1357518"/>
                <a:gd name="connsiteY2179" fmla="*/ 25260 h 1002999"/>
                <a:gd name="connsiteX2180" fmla="*/ 688451 w 1357518"/>
                <a:gd name="connsiteY2180" fmla="*/ 26243 h 1002999"/>
                <a:gd name="connsiteX2181" fmla="*/ 692023 w 1357518"/>
                <a:gd name="connsiteY2181" fmla="*/ 26425 h 1002999"/>
                <a:gd name="connsiteX2182" fmla="*/ 696927 w 1357518"/>
                <a:gd name="connsiteY2182" fmla="*/ 27864 h 1002999"/>
                <a:gd name="connsiteX2183" fmla="*/ 704020 w 1357518"/>
                <a:gd name="connsiteY2183" fmla="*/ 23199 h 1002999"/>
                <a:gd name="connsiteX2184" fmla="*/ 710431 w 1357518"/>
                <a:gd name="connsiteY2184" fmla="*/ 18173 h 1002999"/>
                <a:gd name="connsiteX2185" fmla="*/ 717786 w 1357518"/>
                <a:gd name="connsiteY2185" fmla="*/ 14995 h 1002999"/>
                <a:gd name="connsiteX2186" fmla="*/ 728190 w 1357518"/>
                <a:gd name="connsiteY2186" fmla="*/ 16850 h 1002999"/>
                <a:gd name="connsiteX2187" fmla="*/ 734777 w 1357518"/>
                <a:gd name="connsiteY2187" fmla="*/ 19266 h 1002999"/>
                <a:gd name="connsiteX2188" fmla="*/ 740801 w 1357518"/>
                <a:gd name="connsiteY2188" fmla="*/ 22141 h 1002999"/>
                <a:gd name="connsiteX2189" fmla="*/ 749312 w 1357518"/>
                <a:gd name="connsiteY2189" fmla="*/ 23729 h 1002999"/>
                <a:gd name="connsiteX2190" fmla="*/ 763745 w 1357518"/>
                <a:gd name="connsiteY2190" fmla="*/ 33502 h 1002999"/>
                <a:gd name="connsiteX2191" fmla="*/ 766446 w 1357518"/>
                <a:gd name="connsiteY2191" fmla="*/ 33516 h 1002999"/>
                <a:gd name="connsiteX2192" fmla="*/ 767721 w 1357518"/>
                <a:gd name="connsiteY2192" fmla="*/ 32690 h 1002999"/>
                <a:gd name="connsiteX2193" fmla="*/ 769082 w 1357518"/>
                <a:gd name="connsiteY2193" fmla="*/ 30882 h 1002999"/>
                <a:gd name="connsiteX2194" fmla="*/ 769571 w 1357518"/>
                <a:gd name="connsiteY2194" fmla="*/ 28195 h 1002999"/>
                <a:gd name="connsiteX2195" fmla="*/ 771343 w 1357518"/>
                <a:gd name="connsiteY2195" fmla="*/ 24539 h 1002999"/>
                <a:gd name="connsiteX2196" fmla="*/ 770061 w 1357518"/>
                <a:gd name="connsiteY2196" fmla="*/ 23186 h 1002999"/>
                <a:gd name="connsiteX2197" fmla="*/ 757970 w 1357518"/>
                <a:gd name="connsiteY2197" fmla="*/ 19122 h 1002999"/>
                <a:gd name="connsiteX2198" fmla="*/ 755684 w 1357518"/>
                <a:gd name="connsiteY2198" fmla="*/ 17556 h 1002999"/>
                <a:gd name="connsiteX2199" fmla="*/ 753365 w 1357518"/>
                <a:gd name="connsiteY2199" fmla="*/ 14973 h 1002999"/>
                <a:gd name="connsiteX2200" fmla="*/ 753326 w 1357518"/>
                <a:gd name="connsiteY2200" fmla="*/ 12835 h 1002999"/>
                <a:gd name="connsiteX2201" fmla="*/ 755567 w 1357518"/>
                <a:gd name="connsiteY2201" fmla="*/ 11147 h 1002999"/>
                <a:gd name="connsiteX2202" fmla="*/ 757928 w 1357518"/>
                <a:gd name="connsiteY2202" fmla="*/ 10377 h 1002999"/>
                <a:gd name="connsiteX2203" fmla="*/ 765745 w 1357518"/>
                <a:gd name="connsiteY2203" fmla="*/ 11076 h 1002999"/>
                <a:gd name="connsiteX2204" fmla="*/ 768329 w 1357518"/>
                <a:gd name="connsiteY2204" fmla="*/ 10527 h 1002999"/>
                <a:gd name="connsiteX2205" fmla="*/ 770767 w 1357518"/>
                <a:gd name="connsiteY2205" fmla="*/ 9097 h 1002999"/>
                <a:gd name="connsiteX2206" fmla="*/ 773703 w 1357518"/>
                <a:gd name="connsiteY2206" fmla="*/ 6412 h 1002999"/>
                <a:gd name="connsiteX2207" fmla="*/ 776018 w 1357518"/>
                <a:gd name="connsiteY2207" fmla="*/ 5727 h 1002999"/>
                <a:gd name="connsiteX2208" fmla="*/ 781246 w 1357518"/>
                <a:gd name="connsiteY2208" fmla="*/ 5650 h 1002999"/>
                <a:gd name="connsiteX2209" fmla="*/ 789293 w 1357518"/>
                <a:gd name="connsiteY2209" fmla="*/ 7373 h 1002999"/>
                <a:gd name="connsiteX2210" fmla="*/ 796336 w 1357518"/>
                <a:gd name="connsiteY2210" fmla="*/ 7518 h 1002999"/>
                <a:gd name="connsiteX2211" fmla="*/ 798877 w 1357518"/>
                <a:gd name="connsiteY2211" fmla="*/ 6727 h 1002999"/>
                <a:gd name="connsiteX2212" fmla="*/ 799263 w 1357518"/>
                <a:gd name="connsiteY2212" fmla="*/ 5044 h 1002999"/>
                <a:gd name="connsiteX2213" fmla="*/ 799875 w 1357518"/>
                <a:gd name="connsiteY2213" fmla="*/ 3975 h 1002999"/>
                <a:gd name="connsiteX2214" fmla="*/ 800714 w 1357518"/>
                <a:gd name="connsiteY2214" fmla="*/ 3525 h 1002999"/>
                <a:gd name="connsiteX2215" fmla="*/ 826246 w 1357518"/>
                <a:gd name="connsiteY2215" fmla="*/ 3432 h 1002999"/>
                <a:gd name="connsiteX2216" fmla="*/ 832577 w 1357518"/>
                <a:gd name="connsiteY2216" fmla="*/ 3031 h 1002999"/>
                <a:gd name="connsiteX2217" fmla="*/ 837527 w 1357518"/>
                <a:gd name="connsiteY2217" fmla="*/ 1754 h 1002999"/>
                <a:gd name="connsiteX2218" fmla="*/ 843584 w 1357518"/>
                <a:gd name="connsiteY2218" fmla="*/ 1603 h 1002999"/>
                <a:gd name="connsiteX2219" fmla="*/ 848878 w 1357518"/>
                <a:gd name="connsiteY2219" fmla="*/ 2366 h 1002999"/>
                <a:gd name="connsiteX2220" fmla="*/ 855432 w 1357518"/>
                <a:gd name="connsiteY2220" fmla="*/ 3991 h 1002999"/>
                <a:gd name="connsiteX2221" fmla="*/ 861946 w 1357518"/>
                <a:gd name="connsiteY2221" fmla="*/ 3917 h 1002999"/>
                <a:gd name="connsiteX2222" fmla="*/ 871653 w 1357518"/>
                <a:gd name="connsiteY2222" fmla="*/ 1259 h 1002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</a:cxnLst>
              <a:rect l="l" t="t" r="r" b="b"/>
              <a:pathLst>
                <a:path w="1357518" h="1002999">
                  <a:moveTo>
                    <a:pt x="588466" y="965500"/>
                  </a:moveTo>
                  <a:lnTo>
                    <a:pt x="588170" y="967322"/>
                  </a:lnTo>
                  <a:lnTo>
                    <a:pt x="587376" y="968916"/>
                  </a:lnTo>
                  <a:lnTo>
                    <a:pt x="587107" y="970930"/>
                  </a:lnTo>
                  <a:lnTo>
                    <a:pt x="584567" y="974977"/>
                  </a:lnTo>
                  <a:lnTo>
                    <a:pt x="582029" y="974096"/>
                  </a:lnTo>
                  <a:lnTo>
                    <a:pt x="580773" y="972288"/>
                  </a:lnTo>
                  <a:lnTo>
                    <a:pt x="578273" y="971448"/>
                  </a:lnTo>
                  <a:lnTo>
                    <a:pt x="575578" y="971699"/>
                  </a:lnTo>
                  <a:lnTo>
                    <a:pt x="575536" y="970982"/>
                  </a:lnTo>
                  <a:lnTo>
                    <a:pt x="584294" y="966664"/>
                  </a:lnTo>
                  <a:close/>
                  <a:moveTo>
                    <a:pt x="790962" y="798664"/>
                  </a:moveTo>
                  <a:lnTo>
                    <a:pt x="793051" y="800807"/>
                  </a:lnTo>
                  <a:lnTo>
                    <a:pt x="792302" y="803994"/>
                  </a:lnTo>
                  <a:lnTo>
                    <a:pt x="791322" y="805576"/>
                  </a:lnTo>
                  <a:lnTo>
                    <a:pt x="787882" y="805599"/>
                  </a:lnTo>
                  <a:lnTo>
                    <a:pt x="786741" y="802750"/>
                  </a:lnTo>
                  <a:lnTo>
                    <a:pt x="787084" y="799639"/>
                  </a:lnTo>
                  <a:close/>
                  <a:moveTo>
                    <a:pt x="480352" y="639490"/>
                  </a:moveTo>
                  <a:lnTo>
                    <a:pt x="483765" y="640101"/>
                  </a:lnTo>
                  <a:lnTo>
                    <a:pt x="489541" y="642474"/>
                  </a:lnTo>
                  <a:lnTo>
                    <a:pt x="489123" y="643242"/>
                  </a:lnTo>
                  <a:lnTo>
                    <a:pt x="487874" y="644479"/>
                  </a:lnTo>
                  <a:lnTo>
                    <a:pt x="484395" y="646091"/>
                  </a:lnTo>
                  <a:lnTo>
                    <a:pt x="483168" y="649724"/>
                  </a:lnTo>
                  <a:lnTo>
                    <a:pt x="482932" y="651547"/>
                  </a:lnTo>
                  <a:lnTo>
                    <a:pt x="483098" y="652913"/>
                  </a:lnTo>
                  <a:lnTo>
                    <a:pt x="482141" y="654108"/>
                  </a:lnTo>
                  <a:lnTo>
                    <a:pt x="478675" y="655493"/>
                  </a:lnTo>
                  <a:lnTo>
                    <a:pt x="477976" y="655185"/>
                  </a:lnTo>
                  <a:lnTo>
                    <a:pt x="477269" y="654133"/>
                  </a:lnTo>
                  <a:lnTo>
                    <a:pt x="475480" y="649339"/>
                  </a:lnTo>
                  <a:lnTo>
                    <a:pt x="474950" y="647061"/>
                  </a:lnTo>
                  <a:lnTo>
                    <a:pt x="475391" y="644227"/>
                  </a:lnTo>
                  <a:lnTo>
                    <a:pt x="474698" y="642228"/>
                  </a:lnTo>
                  <a:lnTo>
                    <a:pt x="477824" y="639895"/>
                  </a:lnTo>
                  <a:close/>
                  <a:moveTo>
                    <a:pt x="407890" y="623906"/>
                  </a:moveTo>
                  <a:lnTo>
                    <a:pt x="415947" y="624736"/>
                  </a:lnTo>
                  <a:lnTo>
                    <a:pt x="429924" y="627723"/>
                  </a:lnTo>
                  <a:lnTo>
                    <a:pt x="431658" y="628356"/>
                  </a:lnTo>
                  <a:lnTo>
                    <a:pt x="435943" y="630915"/>
                  </a:lnTo>
                  <a:lnTo>
                    <a:pt x="444164" y="638679"/>
                  </a:lnTo>
                  <a:lnTo>
                    <a:pt x="451525" y="641887"/>
                  </a:lnTo>
                  <a:lnTo>
                    <a:pt x="459329" y="644101"/>
                  </a:lnTo>
                  <a:lnTo>
                    <a:pt x="460093" y="645113"/>
                  </a:lnTo>
                  <a:lnTo>
                    <a:pt x="460698" y="646642"/>
                  </a:lnTo>
                  <a:lnTo>
                    <a:pt x="460839" y="647439"/>
                  </a:lnTo>
                  <a:lnTo>
                    <a:pt x="460660" y="648178"/>
                  </a:lnTo>
                  <a:lnTo>
                    <a:pt x="460166" y="648859"/>
                  </a:lnTo>
                  <a:lnTo>
                    <a:pt x="460736" y="649736"/>
                  </a:lnTo>
                  <a:lnTo>
                    <a:pt x="462371" y="650807"/>
                  </a:lnTo>
                  <a:lnTo>
                    <a:pt x="462538" y="652059"/>
                  </a:lnTo>
                  <a:lnTo>
                    <a:pt x="460587" y="654206"/>
                  </a:lnTo>
                  <a:lnTo>
                    <a:pt x="457842" y="656590"/>
                  </a:lnTo>
                  <a:lnTo>
                    <a:pt x="443295" y="661483"/>
                  </a:lnTo>
                  <a:lnTo>
                    <a:pt x="438150" y="662314"/>
                  </a:lnTo>
                  <a:lnTo>
                    <a:pt x="425429" y="665665"/>
                  </a:lnTo>
                  <a:lnTo>
                    <a:pt x="421539" y="665528"/>
                  </a:lnTo>
                  <a:lnTo>
                    <a:pt x="420681" y="665371"/>
                  </a:lnTo>
                  <a:lnTo>
                    <a:pt x="418273" y="663898"/>
                  </a:lnTo>
                  <a:lnTo>
                    <a:pt x="414976" y="662527"/>
                  </a:lnTo>
                  <a:lnTo>
                    <a:pt x="413430" y="661464"/>
                  </a:lnTo>
                  <a:lnTo>
                    <a:pt x="412067" y="659936"/>
                  </a:lnTo>
                  <a:lnTo>
                    <a:pt x="412610" y="658989"/>
                  </a:lnTo>
                  <a:lnTo>
                    <a:pt x="415060" y="658616"/>
                  </a:lnTo>
                  <a:lnTo>
                    <a:pt x="418548" y="658641"/>
                  </a:lnTo>
                  <a:lnTo>
                    <a:pt x="423663" y="657528"/>
                  </a:lnTo>
                  <a:lnTo>
                    <a:pt x="422248" y="656527"/>
                  </a:lnTo>
                  <a:lnTo>
                    <a:pt x="420904" y="655917"/>
                  </a:lnTo>
                  <a:lnTo>
                    <a:pt x="419976" y="654585"/>
                  </a:lnTo>
                  <a:lnTo>
                    <a:pt x="417843" y="654845"/>
                  </a:lnTo>
                  <a:lnTo>
                    <a:pt x="416245" y="654082"/>
                  </a:lnTo>
                  <a:lnTo>
                    <a:pt x="413162" y="653601"/>
                  </a:lnTo>
                  <a:lnTo>
                    <a:pt x="405118" y="653140"/>
                  </a:lnTo>
                  <a:lnTo>
                    <a:pt x="399874" y="651832"/>
                  </a:lnTo>
                  <a:lnTo>
                    <a:pt x="398327" y="651049"/>
                  </a:lnTo>
                  <a:lnTo>
                    <a:pt x="396963" y="649694"/>
                  </a:lnTo>
                  <a:lnTo>
                    <a:pt x="395783" y="647785"/>
                  </a:lnTo>
                  <a:lnTo>
                    <a:pt x="397505" y="640369"/>
                  </a:lnTo>
                  <a:lnTo>
                    <a:pt x="398685" y="638476"/>
                  </a:lnTo>
                  <a:lnTo>
                    <a:pt x="401411" y="637851"/>
                  </a:lnTo>
                  <a:lnTo>
                    <a:pt x="408078" y="639504"/>
                  </a:lnTo>
                  <a:lnTo>
                    <a:pt x="408974" y="638790"/>
                  </a:lnTo>
                  <a:lnTo>
                    <a:pt x="401680" y="636052"/>
                  </a:lnTo>
                  <a:lnTo>
                    <a:pt x="399000" y="634415"/>
                  </a:lnTo>
                  <a:lnTo>
                    <a:pt x="398211" y="633126"/>
                  </a:lnTo>
                  <a:lnTo>
                    <a:pt x="397737" y="631229"/>
                  </a:lnTo>
                  <a:lnTo>
                    <a:pt x="397744" y="630113"/>
                  </a:lnTo>
                  <a:lnTo>
                    <a:pt x="398073" y="628989"/>
                  </a:lnTo>
                  <a:lnTo>
                    <a:pt x="398722" y="627863"/>
                  </a:lnTo>
                  <a:lnTo>
                    <a:pt x="400497" y="626338"/>
                  </a:lnTo>
                  <a:close/>
                  <a:moveTo>
                    <a:pt x="460998" y="597485"/>
                  </a:moveTo>
                  <a:lnTo>
                    <a:pt x="464600" y="598890"/>
                  </a:lnTo>
                  <a:lnTo>
                    <a:pt x="468483" y="600886"/>
                  </a:lnTo>
                  <a:lnTo>
                    <a:pt x="469023" y="601824"/>
                  </a:lnTo>
                  <a:lnTo>
                    <a:pt x="467514" y="602372"/>
                  </a:lnTo>
                  <a:lnTo>
                    <a:pt x="464561" y="602480"/>
                  </a:lnTo>
                  <a:lnTo>
                    <a:pt x="457691" y="601751"/>
                  </a:lnTo>
                  <a:lnTo>
                    <a:pt x="457143" y="601283"/>
                  </a:lnTo>
                  <a:lnTo>
                    <a:pt x="457058" y="600392"/>
                  </a:lnTo>
                  <a:lnTo>
                    <a:pt x="457971" y="597826"/>
                  </a:lnTo>
                  <a:close/>
                  <a:moveTo>
                    <a:pt x="1039251" y="594771"/>
                  </a:moveTo>
                  <a:lnTo>
                    <a:pt x="1041287" y="594836"/>
                  </a:lnTo>
                  <a:lnTo>
                    <a:pt x="1042746" y="596618"/>
                  </a:lnTo>
                  <a:lnTo>
                    <a:pt x="1043819" y="597491"/>
                  </a:lnTo>
                  <a:lnTo>
                    <a:pt x="1047225" y="598854"/>
                  </a:lnTo>
                  <a:lnTo>
                    <a:pt x="1047799" y="599709"/>
                  </a:lnTo>
                  <a:lnTo>
                    <a:pt x="1048575" y="602081"/>
                  </a:lnTo>
                  <a:lnTo>
                    <a:pt x="1048654" y="603200"/>
                  </a:lnTo>
                  <a:lnTo>
                    <a:pt x="1048483" y="604141"/>
                  </a:lnTo>
                  <a:lnTo>
                    <a:pt x="1048053" y="604812"/>
                  </a:lnTo>
                  <a:lnTo>
                    <a:pt x="1047015" y="605411"/>
                  </a:lnTo>
                  <a:lnTo>
                    <a:pt x="1048953" y="606982"/>
                  </a:lnTo>
                  <a:lnTo>
                    <a:pt x="1049582" y="608037"/>
                  </a:lnTo>
                  <a:lnTo>
                    <a:pt x="1049700" y="608879"/>
                  </a:lnTo>
                  <a:lnTo>
                    <a:pt x="1048464" y="610509"/>
                  </a:lnTo>
                  <a:lnTo>
                    <a:pt x="1039656" y="612663"/>
                  </a:lnTo>
                  <a:lnTo>
                    <a:pt x="1037207" y="613698"/>
                  </a:lnTo>
                  <a:lnTo>
                    <a:pt x="1034147" y="616254"/>
                  </a:lnTo>
                  <a:lnTo>
                    <a:pt x="1030428" y="618454"/>
                  </a:lnTo>
                  <a:lnTo>
                    <a:pt x="1029190" y="618443"/>
                  </a:lnTo>
                  <a:lnTo>
                    <a:pt x="1027747" y="616163"/>
                  </a:lnTo>
                  <a:lnTo>
                    <a:pt x="1021875" y="614486"/>
                  </a:lnTo>
                  <a:lnTo>
                    <a:pt x="1010817" y="615361"/>
                  </a:lnTo>
                  <a:lnTo>
                    <a:pt x="997876" y="617472"/>
                  </a:lnTo>
                  <a:lnTo>
                    <a:pt x="993278" y="618456"/>
                  </a:lnTo>
                  <a:lnTo>
                    <a:pt x="990955" y="617932"/>
                  </a:lnTo>
                  <a:lnTo>
                    <a:pt x="990242" y="617146"/>
                  </a:lnTo>
                  <a:lnTo>
                    <a:pt x="990208" y="616045"/>
                  </a:lnTo>
                  <a:lnTo>
                    <a:pt x="991740" y="612827"/>
                  </a:lnTo>
                  <a:lnTo>
                    <a:pt x="992359" y="612007"/>
                  </a:lnTo>
                  <a:lnTo>
                    <a:pt x="995328" y="610935"/>
                  </a:lnTo>
                  <a:lnTo>
                    <a:pt x="997341" y="608098"/>
                  </a:lnTo>
                  <a:lnTo>
                    <a:pt x="996683" y="605006"/>
                  </a:lnTo>
                  <a:lnTo>
                    <a:pt x="997458" y="600685"/>
                  </a:lnTo>
                  <a:lnTo>
                    <a:pt x="999486" y="600014"/>
                  </a:lnTo>
                  <a:lnTo>
                    <a:pt x="1004566" y="601550"/>
                  </a:lnTo>
                  <a:lnTo>
                    <a:pt x="1007852" y="601875"/>
                  </a:lnTo>
                  <a:lnTo>
                    <a:pt x="1013674" y="602071"/>
                  </a:lnTo>
                  <a:lnTo>
                    <a:pt x="1021498" y="601550"/>
                  </a:lnTo>
                  <a:lnTo>
                    <a:pt x="1027784" y="599794"/>
                  </a:lnTo>
                  <a:close/>
                  <a:moveTo>
                    <a:pt x="425295" y="584500"/>
                  </a:moveTo>
                  <a:lnTo>
                    <a:pt x="426890" y="586428"/>
                  </a:lnTo>
                  <a:lnTo>
                    <a:pt x="428459" y="589015"/>
                  </a:lnTo>
                  <a:lnTo>
                    <a:pt x="428664" y="590329"/>
                  </a:lnTo>
                  <a:lnTo>
                    <a:pt x="428558" y="591876"/>
                  </a:lnTo>
                  <a:lnTo>
                    <a:pt x="428148" y="593184"/>
                  </a:lnTo>
                  <a:lnTo>
                    <a:pt x="427433" y="594260"/>
                  </a:lnTo>
                  <a:lnTo>
                    <a:pt x="426385" y="594886"/>
                  </a:lnTo>
                  <a:lnTo>
                    <a:pt x="424315" y="595150"/>
                  </a:lnTo>
                  <a:lnTo>
                    <a:pt x="418372" y="593093"/>
                  </a:lnTo>
                  <a:lnTo>
                    <a:pt x="417408" y="592318"/>
                  </a:lnTo>
                  <a:lnTo>
                    <a:pt x="417040" y="591370"/>
                  </a:lnTo>
                  <a:lnTo>
                    <a:pt x="417269" y="590244"/>
                  </a:lnTo>
                  <a:lnTo>
                    <a:pt x="419161" y="588148"/>
                  </a:lnTo>
                  <a:lnTo>
                    <a:pt x="422719" y="585072"/>
                  </a:lnTo>
                  <a:close/>
                  <a:moveTo>
                    <a:pt x="389444" y="520655"/>
                  </a:moveTo>
                  <a:lnTo>
                    <a:pt x="393265" y="521543"/>
                  </a:lnTo>
                  <a:lnTo>
                    <a:pt x="393621" y="522778"/>
                  </a:lnTo>
                  <a:lnTo>
                    <a:pt x="390497" y="525625"/>
                  </a:lnTo>
                  <a:lnTo>
                    <a:pt x="387945" y="527258"/>
                  </a:lnTo>
                  <a:lnTo>
                    <a:pt x="382416" y="532109"/>
                  </a:lnTo>
                  <a:lnTo>
                    <a:pt x="381466" y="532278"/>
                  </a:lnTo>
                  <a:lnTo>
                    <a:pt x="379973" y="531647"/>
                  </a:lnTo>
                  <a:lnTo>
                    <a:pt x="378815" y="530374"/>
                  </a:lnTo>
                  <a:lnTo>
                    <a:pt x="376725" y="530067"/>
                  </a:lnTo>
                  <a:lnTo>
                    <a:pt x="375997" y="529262"/>
                  </a:lnTo>
                  <a:lnTo>
                    <a:pt x="375705" y="528606"/>
                  </a:lnTo>
                  <a:lnTo>
                    <a:pt x="374778" y="528189"/>
                  </a:lnTo>
                  <a:lnTo>
                    <a:pt x="373305" y="527927"/>
                  </a:lnTo>
                  <a:lnTo>
                    <a:pt x="370939" y="528426"/>
                  </a:lnTo>
                  <a:lnTo>
                    <a:pt x="368768" y="527923"/>
                  </a:lnTo>
                  <a:lnTo>
                    <a:pt x="367133" y="525797"/>
                  </a:lnTo>
                  <a:lnTo>
                    <a:pt x="370156" y="524369"/>
                  </a:lnTo>
                  <a:lnTo>
                    <a:pt x="372026" y="523150"/>
                  </a:lnTo>
                  <a:lnTo>
                    <a:pt x="379258" y="522670"/>
                  </a:lnTo>
                  <a:lnTo>
                    <a:pt x="381298" y="523229"/>
                  </a:lnTo>
                  <a:lnTo>
                    <a:pt x="382580" y="523215"/>
                  </a:lnTo>
                  <a:lnTo>
                    <a:pt x="384533" y="522883"/>
                  </a:lnTo>
                  <a:lnTo>
                    <a:pt x="388806" y="521363"/>
                  </a:lnTo>
                  <a:close/>
                  <a:moveTo>
                    <a:pt x="1212131" y="409494"/>
                  </a:moveTo>
                  <a:lnTo>
                    <a:pt x="1213886" y="414214"/>
                  </a:lnTo>
                  <a:lnTo>
                    <a:pt x="1214666" y="418533"/>
                  </a:lnTo>
                  <a:lnTo>
                    <a:pt x="1217397" y="421272"/>
                  </a:lnTo>
                  <a:lnTo>
                    <a:pt x="1223246" y="420885"/>
                  </a:lnTo>
                  <a:lnTo>
                    <a:pt x="1225587" y="425964"/>
                  </a:lnTo>
                  <a:lnTo>
                    <a:pt x="1221297" y="427917"/>
                  </a:lnTo>
                  <a:lnTo>
                    <a:pt x="1204330" y="427135"/>
                  </a:lnTo>
                  <a:lnTo>
                    <a:pt x="1197310" y="427524"/>
                  </a:lnTo>
                  <a:lnTo>
                    <a:pt x="1192434" y="424403"/>
                  </a:lnTo>
                  <a:lnTo>
                    <a:pt x="1192630" y="418924"/>
                  </a:lnTo>
                  <a:lnTo>
                    <a:pt x="1193214" y="413429"/>
                  </a:lnTo>
                  <a:lnTo>
                    <a:pt x="1198090" y="410284"/>
                  </a:lnTo>
                  <a:lnTo>
                    <a:pt x="1202185" y="413035"/>
                  </a:lnTo>
                  <a:lnTo>
                    <a:pt x="1207060" y="411068"/>
                  </a:lnTo>
                  <a:close/>
                  <a:moveTo>
                    <a:pt x="1192630" y="350644"/>
                  </a:moveTo>
                  <a:lnTo>
                    <a:pt x="1195943" y="353491"/>
                  </a:lnTo>
                  <a:lnTo>
                    <a:pt x="1197505" y="364428"/>
                  </a:lnTo>
                  <a:lnTo>
                    <a:pt x="1199260" y="380908"/>
                  </a:lnTo>
                  <a:lnTo>
                    <a:pt x="1196725" y="382109"/>
                  </a:lnTo>
                  <a:lnTo>
                    <a:pt x="1188144" y="363216"/>
                  </a:lnTo>
                  <a:lnTo>
                    <a:pt x="1188144" y="356335"/>
                  </a:lnTo>
                  <a:lnTo>
                    <a:pt x="1188729" y="351052"/>
                  </a:lnTo>
                  <a:close/>
                  <a:moveTo>
                    <a:pt x="16120" y="315079"/>
                  </a:moveTo>
                  <a:lnTo>
                    <a:pt x="18470" y="315414"/>
                  </a:lnTo>
                  <a:lnTo>
                    <a:pt x="23995" y="316746"/>
                  </a:lnTo>
                  <a:lnTo>
                    <a:pt x="27992" y="318079"/>
                  </a:lnTo>
                  <a:lnTo>
                    <a:pt x="30617" y="318497"/>
                  </a:lnTo>
                  <a:lnTo>
                    <a:pt x="29873" y="320408"/>
                  </a:lnTo>
                  <a:lnTo>
                    <a:pt x="25445" y="321739"/>
                  </a:lnTo>
                  <a:lnTo>
                    <a:pt x="17568" y="322154"/>
                  </a:lnTo>
                  <a:lnTo>
                    <a:pt x="9810" y="320326"/>
                  </a:lnTo>
                  <a:lnTo>
                    <a:pt x="7145" y="318912"/>
                  </a:lnTo>
                  <a:lnTo>
                    <a:pt x="7264" y="316746"/>
                  </a:lnTo>
                  <a:lnTo>
                    <a:pt x="8439" y="315998"/>
                  </a:lnTo>
                  <a:lnTo>
                    <a:pt x="12632" y="315246"/>
                  </a:lnTo>
                  <a:close/>
                  <a:moveTo>
                    <a:pt x="1216265" y="295798"/>
                  </a:moveTo>
                  <a:lnTo>
                    <a:pt x="1219187" y="296559"/>
                  </a:lnTo>
                  <a:lnTo>
                    <a:pt x="1220073" y="300175"/>
                  </a:lnTo>
                  <a:lnTo>
                    <a:pt x="1218125" y="303781"/>
                  </a:lnTo>
                  <a:lnTo>
                    <a:pt x="1213166" y="306813"/>
                  </a:lnTo>
                  <a:lnTo>
                    <a:pt x="1208871" y="306813"/>
                  </a:lnTo>
                  <a:lnTo>
                    <a:pt x="1207278" y="305582"/>
                  </a:lnTo>
                  <a:lnTo>
                    <a:pt x="1208295" y="303404"/>
                  </a:lnTo>
                  <a:lnTo>
                    <a:pt x="1214272" y="296369"/>
                  </a:lnTo>
                  <a:close/>
                  <a:moveTo>
                    <a:pt x="1189899" y="268640"/>
                  </a:moveTo>
                  <a:lnTo>
                    <a:pt x="1191459" y="269491"/>
                  </a:lnTo>
                  <a:lnTo>
                    <a:pt x="1191070" y="272896"/>
                  </a:lnTo>
                  <a:lnTo>
                    <a:pt x="1191070" y="279680"/>
                  </a:lnTo>
                  <a:lnTo>
                    <a:pt x="1192630" y="284331"/>
                  </a:lnTo>
                  <a:lnTo>
                    <a:pt x="1190093" y="291074"/>
                  </a:lnTo>
                  <a:lnTo>
                    <a:pt x="1187168" y="292755"/>
                  </a:lnTo>
                  <a:lnTo>
                    <a:pt x="1185219" y="287706"/>
                  </a:lnTo>
                  <a:lnTo>
                    <a:pt x="1183463" y="280950"/>
                  </a:lnTo>
                  <a:lnTo>
                    <a:pt x="1183072" y="273319"/>
                  </a:lnTo>
                  <a:lnTo>
                    <a:pt x="1187558" y="269491"/>
                  </a:lnTo>
                  <a:close/>
                  <a:moveTo>
                    <a:pt x="1212521" y="188925"/>
                  </a:moveTo>
                  <a:lnTo>
                    <a:pt x="1223832" y="190261"/>
                  </a:lnTo>
                  <a:lnTo>
                    <a:pt x="1225392" y="194710"/>
                  </a:lnTo>
                  <a:lnTo>
                    <a:pt x="1220711" y="200471"/>
                  </a:lnTo>
                  <a:lnTo>
                    <a:pt x="1211351" y="206216"/>
                  </a:lnTo>
                  <a:lnTo>
                    <a:pt x="1197505" y="205776"/>
                  </a:lnTo>
                  <a:lnTo>
                    <a:pt x="1189314" y="203126"/>
                  </a:lnTo>
                  <a:lnTo>
                    <a:pt x="1186973" y="199143"/>
                  </a:lnTo>
                  <a:lnTo>
                    <a:pt x="1190093" y="194710"/>
                  </a:lnTo>
                  <a:lnTo>
                    <a:pt x="1200040" y="191151"/>
                  </a:lnTo>
                  <a:close/>
                  <a:moveTo>
                    <a:pt x="1183076" y="81203"/>
                  </a:moveTo>
                  <a:lnTo>
                    <a:pt x="1188552" y="85176"/>
                  </a:lnTo>
                  <a:lnTo>
                    <a:pt x="1194173" y="90513"/>
                  </a:lnTo>
                  <a:lnTo>
                    <a:pt x="1197444" y="96008"/>
                  </a:lnTo>
                  <a:lnTo>
                    <a:pt x="1195168" y="97721"/>
                  </a:lnTo>
                  <a:lnTo>
                    <a:pt x="1189336" y="97035"/>
                  </a:lnTo>
                  <a:lnTo>
                    <a:pt x="1181865" y="92232"/>
                  </a:lnTo>
                  <a:lnTo>
                    <a:pt x="1176886" y="88277"/>
                  </a:lnTo>
                  <a:lnTo>
                    <a:pt x="1176530" y="83623"/>
                  </a:lnTo>
                  <a:lnTo>
                    <a:pt x="1179091" y="81552"/>
                  </a:lnTo>
                  <a:close/>
                  <a:moveTo>
                    <a:pt x="584177" y="50361"/>
                  </a:moveTo>
                  <a:lnTo>
                    <a:pt x="606020" y="56618"/>
                  </a:lnTo>
                  <a:lnTo>
                    <a:pt x="616941" y="61897"/>
                  </a:lnTo>
                  <a:lnTo>
                    <a:pt x="620646" y="66205"/>
                  </a:lnTo>
                  <a:lnTo>
                    <a:pt x="620061" y="74787"/>
                  </a:lnTo>
                  <a:lnTo>
                    <a:pt x="618111" y="83327"/>
                  </a:lnTo>
                  <a:lnTo>
                    <a:pt x="613625" y="84272"/>
                  </a:lnTo>
                  <a:lnTo>
                    <a:pt x="604264" y="78588"/>
                  </a:lnTo>
                  <a:lnTo>
                    <a:pt x="589443" y="72882"/>
                  </a:lnTo>
                  <a:lnTo>
                    <a:pt x="576378" y="69071"/>
                  </a:lnTo>
                  <a:lnTo>
                    <a:pt x="564092" y="59021"/>
                  </a:lnTo>
                  <a:lnTo>
                    <a:pt x="563125" y="55435"/>
                  </a:lnTo>
                  <a:lnTo>
                    <a:pt x="564871" y="52285"/>
                  </a:lnTo>
                  <a:lnTo>
                    <a:pt x="575597" y="51805"/>
                  </a:lnTo>
                  <a:close/>
                  <a:moveTo>
                    <a:pt x="880806" y="0"/>
                  </a:moveTo>
                  <a:lnTo>
                    <a:pt x="931255" y="350"/>
                  </a:lnTo>
                  <a:lnTo>
                    <a:pt x="947840" y="1957"/>
                  </a:lnTo>
                  <a:lnTo>
                    <a:pt x="969087" y="5332"/>
                  </a:lnTo>
                  <a:lnTo>
                    <a:pt x="980324" y="9250"/>
                  </a:lnTo>
                  <a:lnTo>
                    <a:pt x="982684" y="9122"/>
                  </a:lnTo>
                  <a:lnTo>
                    <a:pt x="997913" y="10623"/>
                  </a:lnTo>
                  <a:lnTo>
                    <a:pt x="1012373" y="12496"/>
                  </a:lnTo>
                  <a:lnTo>
                    <a:pt x="1036409" y="17367"/>
                  </a:lnTo>
                  <a:lnTo>
                    <a:pt x="1039778" y="18965"/>
                  </a:lnTo>
                  <a:lnTo>
                    <a:pt x="1037182" y="20272"/>
                  </a:lnTo>
                  <a:lnTo>
                    <a:pt x="1031206" y="21169"/>
                  </a:lnTo>
                  <a:lnTo>
                    <a:pt x="1000489" y="22768"/>
                  </a:lnTo>
                  <a:lnTo>
                    <a:pt x="944763" y="24723"/>
                  </a:lnTo>
                  <a:lnTo>
                    <a:pt x="912878" y="28522"/>
                  </a:lnTo>
                  <a:lnTo>
                    <a:pt x="902735" y="28719"/>
                  </a:lnTo>
                  <a:lnTo>
                    <a:pt x="901850" y="34354"/>
                  </a:lnTo>
                  <a:lnTo>
                    <a:pt x="906183" y="34661"/>
                  </a:lnTo>
                  <a:lnTo>
                    <a:pt x="913285" y="33901"/>
                  </a:lnTo>
                  <a:lnTo>
                    <a:pt x="938261" y="28257"/>
                  </a:lnTo>
                  <a:lnTo>
                    <a:pt x="947603" y="27326"/>
                  </a:lnTo>
                  <a:lnTo>
                    <a:pt x="965040" y="27797"/>
                  </a:lnTo>
                  <a:lnTo>
                    <a:pt x="987673" y="29917"/>
                  </a:lnTo>
                  <a:lnTo>
                    <a:pt x="996804" y="29171"/>
                  </a:lnTo>
                  <a:lnTo>
                    <a:pt x="1013089" y="29725"/>
                  </a:lnTo>
                  <a:lnTo>
                    <a:pt x="1032132" y="28106"/>
                  </a:lnTo>
                  <a:lnTo>
                    <a:pt x="1054630" y="24601"/>
                  </a:lnTo>
                  <a:lnTo>
                    <a:pt x="1060782" y="32415"/>
                  </a:lnTo>
                  <a:lnTo>
                    <a:pt x="1069071" y="40199"/>
                  </a:lnTo>
                  <a:lnTo>
                    <a:pt x="1075631" y="39339"/>
                  </a:lnTo>
                  <a:lnTo>
                    <a:pt x="1081250" y="39774"/>
                  </a:lnTo>
                  <a:lnTo>
                    <a:pt x="1083151" y="42323"/>
                  </a:lnTo>
                  <a:lnTo>
                    <a:pt x="1086223" y="43401"/>
                  </a:lnTo>
                  <a:lnTo>
                    <a:pt x="1092584" y="42821"/>
                  </a:lnTo>
                  <a:lnTo>
                    <a:pt x="1112088" y="45046"/>
                  </a:lnTo>
                  <a:lnTo>
                    <a:pt x="1125471" y="49033"/>
                  </a:lnTo>
                  <a:lnTo>
                    <a:pt x="1130509" y="50887"/>
                  </a:lnTo>
                  <a:lnTo>
                    <a:pt x="1132926" y="53528"/>
                  </a:lnTo>
                  <a:lnTo>
                    <a:pt x="1134294" y="55643"/>
                  </a:lnTo>
                  <a:lnTo>
                    <a:pt x="1132191" y="58242"/>
                  </a:lnTo>
                  <a:lnTo>
                    <a:pt x="1123828" y="62860"/>
                  </a:lnTo>
                  <a:lnTo>
                    <a:pt x="1113245" y="67094"/>
                  </a:lnTo>
                  <a:lnTo>
                    <a:pt x="1098972" y="70342"/>
                  </a:lnTo>
                  <a:lnTo>
                    <a:pt x="1082517" y="72376"/>
                  </a:lnTo>
                  <a:lnTo>
                    <a:pt x="956098" y="79161"/>
                  </a:lnTo>
                  <a:lnTo>
                    <a:pt x="951823" y="80770"/>
                  </a:lnTo>
                  <a:lnTo>
                    <a:pt x="949288" y="84872"/>
                  </a:lnTo>
                  <a:lnTo>
                    <a:pt x="950977" y="90192"/>
                  </a:lnTo>
                  <a:lnTo>
                    <a:pt x="956884" y="91021"/>
                  </a:lnTo>
                  <a:lnTo>
                    <a:pt x="970691" y="88029"/>
                  </a:lnTo>
                  <a:lnTo>
                    <a:pt x="994571" y="85192"/>
                  </a:lnTo>
                  <a:lnTo>
                    <a:pt x="1012118" y="85327"/>
                  </a:lnTo>
                  <a:lnTo>
                    <a:pt x="1054067" y="87750"/>
                  </a:lnTo>
                  <a:lnTo>
                    <a:pt x="1066443" y="94071"/>
                  </a:lnTo>
                  <a:lnTo>
                    <a:pt x="1072990" y="103742"/>
                  </a:lnTo>
                  <a:lnTo>
                    <a:pt x="1087507" y="101573"/>
                  </a:lnTo>
                  <a:lnTo>
                    <a:pt x="1090612" y="99916"/>
                  </a:lnTo>
                  <a:lnTo>
                    <a:pt x="1092893" y="97035"/>
                  </a:lnTo>
                  <a:lnTo>
                    <a:pt x="1094716" y="93938"/>
                  </a:lnTo>
                  <a:lnTo>
                    <a:pt x="1096081" y="90630"/>
                  </a:lnTo>
                  <a:lnTo>
                    <a:pt x="1097606" y="88374"/>
                  </a:lnTo>
                  <a:lnTo>
                    <a:pt x="1099289" y="87177"/>
                  </a:lnTo>
                  <a:lnTo>
                    <a:pt x="1102907" y="86175"/>
                  </a:lnTo>
                  <a:lnTo>
                    <a:pt x="1111237" y="84969"/>
                  </a:lnTo>
                  <a:lnTo>
                    <a:pt x="1133080" y="83793"/>
                  </a:lnTo>
                  <a:lnTo>
                    <a:pt x="1138333" y="84128"/>
                  </a:lnTo>
                  <a:lnTo>
                    <a:pt x="1142106" y="88675"/>
                  </a:lnTo>
                  <a:lnTo>
                    <a:pt x="1142925" y="91327"/>
                  </a:lnTo>
                  <a:lnTo>
                    <a:pt x="1143198" y="94774"/>
                  </a:lnTo>
                  <a:lnTo>
                    <a:pt x="1143077" y="99017"/>
                  </a:lnTo>
                  <a:lnTo>
                    <a:pt x="1142565" y="104050"/>
                  </a:lnTo>
                  <a:lnTo>
                    <a:pt x="1140710" y="109017"/>
                  </a:lnTo>
                  <a:lnTo>
                    <a:pt x="1134664" y="117661"/>
                  </a:lnTo>
                  <a:lnTo>
                    <a:pt x="1129806" y="122351"/>
                  </a:lnTo>
                  <a:lnTo>
                    <a:pt x="1124563" y="125722"/>
                  </a:lnTo>
                  <a:lnTo>
                    <a:pt x="1114512" y="133396"/>
                  </a:lnTo>
                  <a:lnTo>
                    <a:pt x="1111030" y="135439"/>
                  </a:lnTo>
                  <a:lnTo>
                    <a:pt x="1099980" y="144333"/>
                  </a:lnTo>
                  <a:lnTo>
                    <a:pt x="1097240" y="148440"/>
                  </a:lnTo>
                  <a:lnTo>
                    <a:pt x="1097079" y="151441"/>
                  </a:lnTo>
                  <a:lnTo>
                    <a:pt x="1098979" y="152013"/>
                  </a:lnTo>
                  <a:lnTo>
                    <a:pt x="1102183" y="149192"/>
                  </a:lnTo>
                  <a:lnTo>
                    <a:pt x="1103375" y="147175"/>
                  </a:lnTo>
                  <a:lnTo>
                    <a:pt x="1105437" y="145062"/>
                  </a:lnTo>
                  <a:lnTo>
                    <a:pt x="1121718" y="139481"/>
                  </a:lnTo>
                  <a:lnTo>
                    <a:pt x="1125212" y="137922"/>
                  </a:lnTo>
                  <a:lnTo>
                    <a:pt x="1135861" y="131253"/>
                  </a:lnTo>
                  <a:lnTo>
                    <a:pt x="1142657" y="128745"/>
                  </a:lnTo>
                  <a:lnTo>
                    <a:pt x="1148245" y="126119"/>
                  </a:lnTo>
                  <a:lnTo>
                    <a:pt x="1151205" y="124251"/>
                  </a:lnTo>
                  <a:lnTo>
                    <a:pt x="1167571" y="110974"/>
                  </a:lnTo>
                  <a:lnTo>
                    <a:pt x="1176102" y="106979"/>
                  </a:lnTo>
                  <a:lnTo>
                    <a:pt x="1185061" y="106971"/>
                  </a:lnTo>
                  <a:lnTo>
                    <a:pt x="1186648" y="113726"/>
                  </a:lnTo>
                  <a:lnTo>
                    <a:pt x="1197386" y="114768"/>
                  </a:lnTo>
                  <a:lnTo>
                    <a:pt x="1202048" y="114478"/>
                  </a:lnTo>
                  <a:lnTo>
                    <a:pt x="1209537" y="116116"/>
                  </a:lnTo>
                  <a:lnTo>
                    <a:pt x="1212820" y="117468"/>
                  </a:lnTo>
                  <a:lnTo>
                    <a:pt x="1218408" y="118152"/>
                  </a:lnTo>
                  <a:lnTo>
                    <a:pt x="1224171" y="119754"/>
                  </a:lnTo>
                  <a:lnTo>
                    <a:pt x="1229253" y="118034"/>
                  </a:lnTo>
                  <a:lnTo>
                    <a:pt x="1230739" y="116954"/>
                  </a:lnTo>
                  <a:lnTo>
                    <a:pt x="1235647" y="112054"/>
                  </a:lnTo>
                  <a:lnTo>
                    <a:pt x="1242279" y="107703"/>
                  </a:lnTo>
                  <a:lnTo>
                    <a:pt x="1248429" y="102253"/>
                  </a:lnTo>
                  <a:lnTo>
                    <a:pt x="1250468" y="100930"/>
                  </a:lnTo>
                  <a:lnTo>
                    <a:pt x="1253698" y="99726"/>
                  </a:lnTo>
                  <a:lnTo>
                    <a:pt x="1257055" y="99254"/>
                  </a:lnTo>
                  <a:lnTo>
                    <a:pt x="1266196" y="96694"/>
                  </a:lnTo>
                  <a:lnTo>
                    <a:pt x="1268515" y="96515"/>
                  </a:lnTo>
                  <a:lnTo>
                    <a:pt x="1273449" y="97323"/>
                  </a:lnTo>
                  <a:lnTo>
                    <a:pt x="1295240" y="97744"/>
                  </a:lnTo>
                  <a:lnTo>
                    <a:pt x="1307126" y="99064"/>
                  </a:lnTo>
                  <a:lnTo>
                    <a:pt x="1323676" y="102722"/>
                  </a:lnTo>
                  <a:lnTo>
                    <a:pt x="1335210" y="104721"/>
                  </a:lnTo>
                  <a:lnTo>
                    <a:pt x="1340551" y="106490"/>
                  </a:lnTo>
                  <a:lnTo>
                    <a:pt x="1348329" y="110277"/>
                  </a:lnTo>
                  <a:lnTo>
                    <a:pt x="1354601" y="114230"/>
                  </a:lnTo>
                  <a:lnTo>
                    <a:pt x="1357518" y="115391"/>
                  </a:lnTo>
                  <a:lnTo>
                    <a:pt x="1357405" y="116644"/>
                  </a:lnTo>
                  <a:lnTo>
                    <a:pt x="1355235" y="118370"/>
                  </a:lnTo>
                  <a:lnTo>
                    <a:pt x="1339700" y="124397"/>
                  </a:lnTo>
                  <a:lnTo>
                    <a:pt x="1334617" y="128413"/>
                  </a:lnTo>
                  <a:lnTo>
                    <a:pt x="1319913" y="135965"/>
                  </a:lnTo>
                  <a:lnTo>
                    <a:pt x="1312727" y="138552"/>
                  </a:lnTo>
                  <a:lnTo>
                    <a:pt x="1304919" y="139564"/>
                  </a:lnTo>
                  <a:lnTo>
                    <a:pt x="1296227" y="139808"/>
                  </a:lnTo>
                  <a:lnTo>
                    <a:pt x="1290589" y="140888"/>
                  </a:lnTo>
                  <a:lnTo>
                    <a:pt x="1289754" y="141917"/>
                  </a:lnTo>
                  <a:lnTo>
                    <a:pt x="1293770" y="145031"/>
                  </a:lnTo>
                  <a:lnTo>
                    <a:pt x="1295537" y="147245"/>
                  </a:lnTo>
                  <a:lnTo>
                    <a:pt x="1295280" y="149212"/>
                  </a:lnTo>
                  <a:lnTo>
                    <a:pt x="1291055" y="152121"/>
                  </a:lnTo>
                  <a:lnTo>
                    <a:pt x="1289457" y="152781"/>
                  </a:lnTo>
                  <a:lnTo>
                    <a:pt x="1274184" y="154938"/>
                  </a:lnTo>
                  <a:lnTo>
                    <a:pt x="1266479" y="158594"/>
                  </a:lnTo>
                  <a:lnTo>
                    <a:pt x="1256422" y="159040"/>
                  </a:lnTo>
                  <a:lnTo>
                    <a:pt x="1249315" y="158624"/>
                  </a:lnTo>
                  <a:lnTo>
                    <a:pt x="1239549" y="162547"/>
                  </a:lnTo>
                  <a:lnTo>
                    <a:pt x="1243370" y="165732"/>
                  </a:lnTo>
                  <a:lnTo>
                    <a:pt x="1246871" y="167114"/>
                  </a:lnTo>
                  <a:lnTo>
                    <a:pt x="1257755" y="170006"/>
                  </a:lnTo>
                  <a:lnTo>
                    <a:pt x="1257857" y="171666"/>
                  </a:lnTo>
                  <a:lnTo>
                    <a:pt x="1252657" y="175016"/>
                  </a:lnTo>
                  <a:lnTo>
                    <a:pt x="1245559" y="178955"/>
                  </a:lnTo>
                  <a:lnTo>
                    <a:pt x="1237165" y="181682"/>
                  </a:lnTo>
                  <a:lnTo>
                    <a:pt x="1234009" y="182091"/>
                  </a:lnTo>
                  <a:lnTo>
                    <a:pt x="1230028" y="181407"/>
                  </a:lnTo>
                  <a:lnTo>
                    <a:pt x="1226356" y="181553"/>
                  </a:lnTo>
                  <a:lnTo>
                    <a:pt x="1218272" y="182809"/>
                  </a:lnTo>
                  <a:lnTo>
                    <a:pt x="1210574" y="183009"/>
                  </a:lnTo>
                  <a:lnTo>
                    <a:pt x="1196829" y="181234"/>
                  </a:lnTo>
                  <a:lnTo>
                    <a:pt x="1189390" y="179176"/>
                  </a:lnTo>
                  <a:lnTo>
                    <a:pt x="1185476" y="178464"/>
                  </a:lnTo>
                  <a:lnTo>
                    <a:pt x="1180541" y="178662"/>
                  </a:lnTo>
                  <a:lnTo>
                    <a:pt x="1178642" y="179491"/>
                  </a:lnTo>
                  <a:lnTo>
                    <a:pt x="1170864" y="184394"/>
                  </a:lnTo>
                  <a:lnTo>
                    <a:pt x="1167045" y="187735"/>
                  </a:lnTo>
                  <a:lnTo>
                    <a:pt x="1164599" y="191143"/>
                  </a:lnTo>
                  <a:lnTo>
                    <a:pt x="1163554" y="194853"/>
                  </a:lnTo>
                  <a:lnTo>
                    <a:pt x="1163909" y="198860"/>
                  </a:lnTo>
                  <a:lnTo>
                    <a:pt x="1164857" y="201601"/>
                  </a:lnTo>
                  <a:lnTo>
                    <a:pt x="1166396" y="203084"/>
                  </a:lnTo>
                  <a:lnTo>
                    <a:pt x="1168242" y="203982"/>
                  </a:lnTo>
                  <a:lnTo>
                    <a:pt x="1171472" y="204452"/>
                  </a:lnTo>
                  <a:lnTo>
                    <a:pt x="1178580" y="204007"/>
                  </a:lnTo>
                  <a:lnTo>
                    <a:pt x="1181374" y="204258"/>
                  </a:lnTo>
                  <a:lnTo>
                    <a:pt x="1182225" y="205068"/>
                  </a:lnTo>
                  <a:lnTo>
                    <a:pt x="1183760" y="207620"/>
                  </a:lnTo>
                  <a:lnTo>
                    <a:pt x="1183486" y="210025"/>
                  </a:lnTo>
                  <a:lnTo>
                    <a:pt x="1182199" y="213400"/>
                  </a:lnTo>
                  <a:lnTo>
                    <a:pt x="1181201" y="217330"/>
                  </a:lnTo>
                  <a:lnTo>
                    <a:pt x="1180496" y="221810"/>
                  </a:lnTo>
                  <a:lnTo>
                    <a:pt x="1180876" y="224254"/>
                  </a:lnTo>
                  <a:lnTo>
                    <a:pt x="1183752" y="224789"/>
                  </a:lnTo>
                  <a:lnTo>
                    <a:pt x="1185101" y="224612"/>
                  </a:lnTo>
                  <a:lnTo>
                    <a:pt x="1186665" y="225414"/>
                  </a:lnTo>
                  <a:lnTo>
                    <a:pt x="1188444" y="227192"/>
                  </a:lnTo>
                  <a:lnTo>
                    <a:pt x="1189780" y="229069"/>
                  </a:lnTo>
                  <a:lnTo>
                    <a:pt x="1190677" y="231048"/>
                  </a:lnTo>
                  <a:lnTo>
                    <a:pt x="1190208" y="232675"/>
                  </a:lnTo>
                  <a:lnTo>
                    <a:pt x="1188374" y="233958"/>
                  </a:lnTo>
                  <a:lnTo>
                    <a:pt x="1184233" y="235402"/>
                  </a:lnTo>
                  <a:lnTo>
                    <a:pt x="1174043" y="238252"/>
                  </a:lnTo>
                  <a:lnTo>
                    <a:pt x="1173008" y="239120"/>
                  </a:lnTo>
                  <a:lnTo>
                    <a:pt x="1172207" y="240851"/>
                  </a:lnTo>
                  <a:lnTo>
                    <a:pt x="1171643" y="243448"/>
                  </a:lnTo>
                  <a:lnTo>
                    <a:pt x="1170413" y="245807"/>
                  </a:lnTo>
                  <a:lnTo>
                    <a:pt x="1168518" y="247925"/>
                  </a:lnTo>
                  <a:lnTo>
                    <a:pt x="1166802" y="249186"/>
                  </a:lnTo>
                  <a:lnTo>
                    <a:pt x="1163499" y="249747"/>
                  </a:lnTo>
                  <a:lnTo>
                    <a:pt x="1159169" y="249820"/>
                  </a:lnTo>
                  <a:lnTo>
                    <a:pt x="1154307" y="251036"/>
                  </a:lnTo>
                  <a:lnTo>
                    <a:pt x="1142849" y="258107"/>
                  </a:lnTo>
                  <a:lnTo>
                    <a:pt x="1142679" y="258890"/>
                  </a:lnTo>
                  <a:lnTo>
                    <a:pt x="1146969" y="261153"/>
                  </a:lnTo>
                  <a:lnTo>
                    <a:pt x="1146787" y="263134"/>
                  </a:lnTo>
                  <a:lnTo>
                    <a:pt x="1141500" y="271602"/>
                  </a:lnTo>
                  <a:lnTo>
                    <a:pt x="1140053" y="275783"/>
                  </a:lnTo>
                  <a:lnTo>
                    <a:pt x="1138907" y="281500"/>
                  </a:lnTo>
                  <a:lnTo>
                    <a:pt x="1137022" y="286307"/>
                  </a:lnTo>
                  <a:lnTo>
                    <a:pt x="1134398" y="290212"/>
                  </a:lnTo>
                  <a:lnTo>
                    <a:pt x="1131817" y="294710"/>
                  </a:lnTo>
                  <a:lnTo>
                    <a:pt x="1129277" y="299788"/>
                  </a:lnTo>
                  <a:lnTo>
                    <a:pt x="1129674" y="303680"/>
                  </a:lnTo>
                  <a:lnTo>
                    <a:pt x="1133006" y="306385"/>
                  </a:lnTo>
                  <a:lnTo>
                    <a:pt x="1137411" y="304200"/>
                  </a:lnTo>
                  <a:lnTo>
                    <a:pt x="1142890" y="297100"/>
                  </a:lnTo>
                  <a:lnTo>
                    <a:pt x="1148845" y="294025"/>
                  </a:lnTo>
                  <a:lnTo>
                    <a:pt x="1155275" y="294991"/>
                  </a:lnTo>
                  <a:lnTo>
                    <a:pt x="1160874" y="296399"/>
                  </a:lnTo>
                  <a:lnTo>
                    <a:pt x="1168027" y="299181"/>
                  </a:lnTo>
                  <a:lnTo>
                    <a:pt x="1174015" y="300912"/>
                  </a:lnTo>
                  <a:lnTo>
                    <a:pt x="1179186" y="303190"/>
                  </a:lnTo>
                  <a:lnTo>
                    <a:pt x="1181319" y="305108"/>
                  </a:lnTo>
                  <a:lnTo>
                    <a:pt x="1183466" y="307807"/>
                  </a:lnTo>
                  <a:lnTo>
                    <a:pt x="1183484" y="309509"/>
                  </a:lnTo>
                  <a:lnTo>
                    <a:pt x="1179693" y="310427"/>
                  </a:lnTo>
                  <a:lnTo>
                    <a:pt x="1178441" y="310136"/>
                  </a:lnTo>
                  <a:lnTo>
                    <a:pt x="1168953" y="305676"/>
                  </a:lnTo>
                  <a:lnTo>
                    <a:pt x="1164335" y="304565"/>
                  </a:lnTo>
                  <a:lnTo>
                    <a:pt x="1158207" y="305901"/>
                  </a:lnTo>
                  <a:lnTo>
                    <a:pt x="1152865" y="307916"/>
                  </a:lnTo>
                  <a:lnTo>
                    <a:pt x="1157664" y="316009"/>
                  </a:lnTo>
                  <a:lnTo>
                    <a:pt x="1162790" y="319716"/>
                  </a:lnTo>
                  <a:lnTo>
                    <a:pt x="1172150" y="321407"/>
                  </a:lnTo>
                  <a:lnTo>
                    <a:pt x="1177038" y="323185"/>
                  </a:lnTo>
                  <a:lnTo>
                    <a:pt x="1180602" y="325453"/>
                  </a:lnTo>
                  <a:lnTo>
                    <a:pt x="1183391" y="326558"/>
                  </a:lnTo>
                  <a:lnTo>
                    <a:pt x="1187134" y="326072"/>
                  </a:lnTo>
                  <a:lnTo>
                    <a:pt x="1192167" y="323839"/>
                  </a:lnTo>
                  <a:lnTo>
                    <a:pt x="1199188" y="323718"/>
                  </a:lnTo>
                  <a:lnTo>
                    <a:pt x="1202355" y="324827"/>
                  </a:lnTo>
                  <a:lnTo>
                    <a:pt x="1204647" y="326889"/>
                  </a:lnTo>
                  <a:lnTo>
                    <a:pt x="1205678" y="330739"/>
                  </a:lnTo>
                  <a:lnTo>
                    <a:pt x="1205449" y="336363"/>
                  </a:lnTo>
                  <a:lnTo>
                    <a:pt x="1204686" y="340586"/>
                  </a:lnTo>
                  <a:lnTo>
                    <a:pt x="1203386" y="343420"/>
                  </a:lnTo>
                  <a:lnTo>
                    <a:pt x="1200859" y="347210"/>
                  </a:lnTo>
                  <a:lnTo>
                    <a:pt x="1198748" y="347898"/>
                  </a:lnTo>
                  <a:lnTo>
                    <a:pt x="1195774" y="347692"/>
                  </a:lnTo>
                  <a:lnTo>
                    <a:pt x="1193009" y="346916"/>
                  </a:lnTo>
                  <a:lnTo>
                    <a:pt x="1190451" y="345564"/>
                  </a:lnTo>
                  <a:lnTo>
                    <a:pt x="1186574" y="344508"/>
                  </a:lnTo>
                  <a:lnTo>
                    <a:pt x="1178781" y="343373"/>
                  </a:lnTo>
                  <a:lnTo>
                    <a:pt x="1170905" y="340901"/>
                  </a:lnTo>
                  <a:lnTo>
                    <a:pt x="1166496" y="340289"/>
                  </a:lnTo>
                  <a:lnTo>
                    <a:pt x="1157156" y="340604"/>
                  </a:lnTo>
                  <a:lnTo>
                    <a:pt x="1147087" y="342171"/>
                  </a:lnTo>
                  <a:lnTo>
                    <a:pt x="1146693" y="344225"/>
                  </a:lnTo>
                  <a:lnTo>
                    <a:pt x="1132214" y="351378"/>
                  </a:lnTo>
                  <a:lnTo>
                    <a:pt x="1129244" y="351281"/>
                  </a:lnTo>
                  <a:lnTo>
                    <a:pt x="1125225" y="348827"/>
                  </a:lnTo>
                  <a:lnTo>
                    <a:pt x="1119598" y="346474"/>
                  </a:lnTo>
                  <a:lnTo>
                    <a:pt x="1116302" y="346492"/>
                  </a:lnTo>
                  <a:lnTo>
                    <a:pt x="1111432" y="349470"/>
                  </a:lnTo>
                  <a:lnTo>
                    <a:pt x="1110221" y="350621"/>
                  </a:lnTo>
                  <a:lnTo>
                    <a:pt x="1110280" y="351707"/>
                  </a:lnTo>
                  <a:lnTo>
                    <a:pt x="1113867" y="354274"/>
                  </a:lnTo>
                  <a:lnTo>
                    <a:pt x="1115323" y="354865"/>
                  </a:lnTo>
                  <a:lnTo>
                    <a:pt x="1117174" y="355360"/>
                  </a:lnTo>
                  <a:lnTo>
                    <a:pt x="1123613" y="355975"/>
                  </a:lnTo>
                  <a:lnTo>
                    <a:pt x="1126407" y="356647"/>
                  </a:lnTo>
                  <a:lnTo>
                    <a:pt x="1129043" y="364583"/>
                  </a:lnTo>
                  <a:lnTo>
                    <a:pt x="1133223" y="369467"/>
                  </a:lnTo>
                  <a:lnTo>
                    <a:pt x="1135011" y="370464"/>
                  </a:lnTo>
                  <a:lnTo>
                    <a:pt x="1136589" y="370822"/>
                  </a:lnTo>
                  <a:lnTo>
                    <a:pt x="1141706" y="370642"/>
                  </a:lnTo>
                  <a:lnTo>
                    <a:pt x="1148296" y="368997"/>
                  </a:lnTo>
                  <a:lnTo>
                    <a:pt x="1150599" y="370314"/>
                  </a:lnTo>
                  <a:lnTo>
                    <a:pt x="1155452" y="371924"/>
                  </a:lnTo>
                  <a:lnTo>
                    <a:pt x="1158291" y="372325"/>
                  </a:lnTo>
                  <a:lnTo>
                    <a:pt x="1161743" y="372261"/>
                  </a:lnTo>
                  <a:lnTo>
                    <a:pt x="1165628" y="372871"/>
                  </a:lnTo>
                  <a:lnTo>
                    <a:pt x="1170950" y="377351"/>
                  </a:lnTo>
                  <a:lnTo>
                    <a:pt x="1168854" y="382978"/>
                  </a:lnTo>
                  <a:lnTo>
                    <a:pt x="1172189" y="387474"/>
                  </a:lnTo>
                  <a:lnTo>
                    <a:pt x="1177515" y="392097"/>
                  </a:lnTo>
                  <a:lnTo>
                    <a:pt x="1178776" y="393785"/>
                  </a:lnTo>
                  <a:lnTo>
                    <a:pt x="1179291" y="396843"/>
                  </a:lnTo>
                  <a:lnTo>
                    <a:pt x="1179411" y="398858"/>
                  </a:lnTo>
                  <a:lnTo>
                    <a:pt x="1179811" y="400695"/>
                  </a:lnTo>
                  <a:lnTo>
                    <a:pt x="1180491" y="402353"/>
                  </a:lnTo>
                  <a:lnTo>
                    <a:pt x="1181197" y="405600"/>
                  </a:lnTo>
                  <a:lnTo>
                    <a:pt x="1181928" y="410428"/>
                  </a:lnTo>
                  <a:lnTo>
                    <a:pt x="1181732" y="414362"/>
                  </a:lnTo>
                  <a:lnTo>
                    <a:pt x="1180612" y="417405"/>
                  </a:lnTo>
                  <a:lnTo>
                    <a:pt x="1178392" y="419610"/>
                  </a:lnTo>
                  <a:lnTo>
                    <a:pt x="1175077" y="420980"/>
                  </a:lnTo>
                  <a:lnTo>
                    <a:pt x="1172375" y="420620"/>
                  </a:lnTo>
                  <a:lnTo>
                    <a:pt x="1170281" y="418529"/>
                  </a:lnTo>
                  <a:lnTo>
                    <a:pt x="1167332" y="416299"/>
                  </a:lnTo>
                  <a:lnTo>
                    <a:pt x="1163526" y="413927"/>
                  </a:lnTo>
                  <a:lnTo>
                    <a:pt x="1157195" y="413647"/>
                  </a:lnTo>
                  <a:lnTo>
                    <a:pt x="1147888" y="420644"/>
                  </a:lnTo>
                  <a:lnTo>
                    <a:pt x="1143732" y="420993"/>
                  </a:lnTo>
                  <a:lnTo>
                    <a:pt x="1140355" y="421689"/>
                  </a:lnTo>
                  <a:lnTo>
                    <a:pt x="1136753" y="424730"/>
                  </a:lnTo>
                  <a:lnTo>
                    <a:pt x="1131449" y="426561"/>
                  </a:lnTo>
                  <a:lnTo>
                    <a:pt x="1126767" y="425835"/>
                  </a:lnTo>
                  <a:lnTo>
                    <a:pt x="1118545" y="422295"/>
                  </a:lnTo>
                  <a:lnTo>
                    <a:pt x="1121533" y="424660"/>
                  </a:lnTo>
                  <a:lnTo>
                    <a:pt x="1125810" y="427425"/>
                  </a:lnTo>
                  <a:lnTo>
                    <a:pt x="1128472" y="428858"/>
                  </a:lnTo>
                  <a:lnTo>
                    <a:pt x="1130436" y="429169"/>
                  </a:lnTo>
                  <a:lnTo>
                    <a:pt x="1132591" y="428837"/>
                  </a:lnTo>
                  <a:lnTo>
                    <a:pt x="1135694" y="427705"/>
                  </a:lnTo>
                  <a:lnTo>
                    <a:pt x="1142698" y="424563"/>
                  </a:lnTo>
                  <a:lnTo>
                    <a:pt x="1144553" y="424083"/>
                  </a:lnTo>
                  <a:lnTo>
                    <a:pt x="1146121" y="424306"/>
                  </a:lnTo>
                  <a:lnTo>
                    <a:pt x="1147403" y="425233"/>
                  </a:lnTo>
                  <a:lnTo>
                    <a:pt x="1148878" y="427926"/>
                  </a:lnTo>
                  <a:lnTo>
                    <a:pt x="1150545" y="432379"/>
                  </a:lnTo>
                  <a:lnTo>
                    <a:pt x="1150333" y="436159"/>
                  </a:lnTo>
                  <a:lnTo>
                    <a:pt x="1148239" y="439270"/>
                  </a:lnTo>
                  <a:lnTo>
                    <a:pt x="1146448" y="441263"/>
                  </a:lnTo>
                  <a:lnTo>
                    <a:pt x="1144960" y="442139"/>
                  </a:lnTo>
                  <a:lnTo>
                    <a:pt x="1144956" y="442829"/>
                  </a:lnTo>
                  <a:lnTo>
                    <a:pt x="1148868" y="443627"/>
                  </a:lnTo>
                  <a:lnTo>
                    <a:pt x="1154405" y="439577"/>
                  </a:lnTo>
                  <a:lnTo>
                    <a:pt x="1156161" y="434531"/>
                  </a:lnTo>
                  <a:lnTo>
                    <a:pt x="1158696" y="428694"/>
                  </a:lnTo>
                  <a:lnTo>
                    <a:pt x="1163181" y="426746"/>
                  </a:lnTo>
                  <a:lnTo>
                    <a:pt x="1168252" y="428694"/>
                  </a:lnTo>
                  <a:lnTo>
                    <a:pt x="1172348" y="434144"/>
                  </a:lnTo>
                  <a:lnTo>
                    <a:pt x="1178139" y="444126"/>
                  </a:lnTo>
                  <a:lnTo>
                    <a:pt x="1180582" y="445161"/>
                  </a:lnTo>
                  <a:lnTo>
                    <a:pt x="1183685" y="447549"/>
                  </a:lnTo>
                  <a:lnTo>
                    <a:pt x="1185053" y="450473"/>
                  </a:lnTo>
                  <a:lnTo>
                    <a:pt x="1184688" y="453933"/>
                  </a:lnTo>
                  <a:lnTo>
                    <a:pt x="1184026" y="456441"/>
                  </a:lnTo>
                  <a:lnTo>
                    <a:pt x="1183067" y="458001"/>
                  </a:lnTo>
                  <a:lnTo>
                    <a:pt x="1181868" y="458990"/>
                  </a:lnTo>
                  <a:lnTo>
                    <a:pt x="1179710" y="459622"/>
                  </a:lnTo>
                  <a:lnTo>
                    <a:pt x="1175741" y="460123"/>
                  </a:lnTo>
                  <a:lnTo>
                    <a:pt x="1166867" y="459066"/>
                  </a:lnTo>
                  <a:lnTo>
                    <a:pt x="1162248" y="459043"/>
                  </a:lnTo>
                  <a:lnTo>
                    <a:pt x="1162821" y="462438"/>
                  </a:lnTo>
                  <a:lnTo>
                    <a:pt x="1153477" y="465356"/>
                  </a:lnTo>
                  <a:lnTo>
                    <a:pt x="1142944" y="466502"/>
                  </a:lnTo>
                  <a:lnTo>
                    <a:pt x="1132969" y="464224"/>
                  </a:lnTo>
                  <a:lnTo>
                    <a:pt x="1124691" y="460717"/>
                  </a:lnTo>
                  <a:lnTo>
                    <a:pt x="1127409" y="455803"/>
                  </a:lnTo>
                  <a:lnTo>
                    <a:pt x="1128958" y="450330"/>
                  </a:lnTo>
                  <a:lnTo>
                    <a:pt x="1124957" y="446703"/>
                  </a:lnTo>
                  <a:lnTo>
                    <a:pt x="1124079" y="446626"/>
                  </a:lnTo>
                  <a:lnTo>
                    <a:pt x="1125460" y="452231"/>
                  </a:lnTo>
                  <a:lnTo>
                    <a:pt x="1124298" y="454376"/>
                  </a:lnTo>
                  <a:lnTo>
                    <a:pt x="1119776" y="456983"/>
                  </a:lnTo>
                  <a:lnTo>
                    <a:pt x="1116584" y="458185"/>
                  </a:lnTo>
                  <a:lnTo>
                    <a:pt x="1116302" y="458888"/>
                  </a:lnTo>
                  <a:lnTo>
                    <a:pt x="1117868" y="459495"/>
                  </a:lnTo>
                  <a:lnTo>
                    <a:pt x="1118889" y="460664"/>
                  </a:lnTo>
                  <a:lnTo>
                    <a:pt x="1119368" y="462392"/>
                  </a:lnTo>
                  <a:lnTo>
                    <a:pt x="1118830" y="464135"/>
                  </a:lnTo>
                  <a:lnTo>
                    <a:pt x="1117269" y="465891"/>
                  </a:lnTo>
                  <a:lnTo>
                    <a:pt x="1116421" y="467364"/>
                  </a:lnTo>
                  <a:lnTo>
                    <a:pt x="1116281" y="468555"/>
                  </a:lnTo>
                  <a:lnTo>
                    <a:pt x="1117712" y="470006"/>
                  </a:lnTo>
                  <a:lnTo>
                    <a:pt x="1120714" y="471708"/>
                  </a:lnTo>
                  <a:lnTo>
                    <a:pt x="1123967" y="472549"/>
                  </a:lnTo>
                  <a:lnTo>
                    <a:pt x="1139211" y="472918"/>
                  </a:lnTo>
                  <a:lnTo>
                    <a:pt x="1145316" y="473831"/>
                  </a:lnTo>
                  <a:lnTo>
                    <a:pt x="1159797" y="477839"/>
                  </a:lnTo>
                  <a:lnTo>
                    <a:pt x="1160445" y="479067"/>
                  </a:lnTo>
                  <a:lnTo>
                    <a:pt x="1157992" y="486220"/>
                  </a:lnTo>
                  <a:lnTo>
                    <a:pt x="1156649" y="493067"/>
                  </a:lnTo>
                  <a:lnTo>
                    <a:pt x="1153839" y="494317"/>
                  </a:lnTo>
                  <a:lnTo>
                    <a:pt x="1138601" y="494613"/>
                  </a:lnTo>
                  <a:lnTo>
                    <a:pt x="1133689" y="495677"/>
                  </a:lnTo>
                  <a:lnTo>
                    <a:pt x="1126506" y="498810"/>
                  </a:lnTo>
                  <a:lnTo>
                    <a:pt x="1119602" y="502561"/>
                  </a:lnTo>
                  <a:lnTo>
                    <a:pt x="1116024" y="502587"/>
                  </a:lnTo>
                  <a:lnTo>
                    <a:pt x="1101859" y="499315"/>
                  </a:lnTo>
                  <a:lnTo>
                    <a:pt x="1096426" y="497125"/>
                  </a:lnTo>
                  <a:lnTo>
                    <a:pt x="1084764" y="490922"/>
                  </a:lnTo>
                  <a:lnTo>
                    <a:pt x="1075983" y="481441"/>
                  </a:lnTo>
                  <a:lnTo>
                    <a:pt x="1071955" y="485389"/>
                  </a:lnTo>
                  <a:lnTo>
                    <a:pt x="1069492" y="487270"/>
                  </a:lnTo>
                  <a:lnTo>
                    <a:pt x="1066948" y="488244"/>
                  </a:lnTo>
                  <a:lnTo>
                    <a:pt x="1064495" y="488396"/>
                  </a:lnTo>
                  <a:lnTo>
                    <a:pt x="1062130" y="487723"/>
                  </a:lnTo>
                  <a:lnTo>
                    <a:pt x="1059449" y="486230"/>
                  </a:lnTo>
                  <a:lnTo>
                    <a:pt x="1054952" y="482762"/>
                  </a:lnTo>
                  <a:lnTo>
                    <a:pt x="1049586" y="479328"/>
                  </a:lnTo>
                  <a:lnTo>
                    <a:pt x="1045831" y="477694"/>
                  </a:lnTo>
                  <a:lnTo>
                    <a:pt x="1045689" y="478158"/>
                  </a:lnTo>
                  <a:lnTo>
                    <a:pt x="1047907" y="480180"/>
                  </a:lnTo>
                  <a:lnTo>
                    <a:pt x="1051155" y="482508"/>
                  </a:lnTo>
                  <a:lnTo>
                    <a:pt x="1059373" y="489338"/>
                  </a:lnTo>
                  <a:lnTo>
                    <a:pt x="1062260" y="491060"/>
                  </a:lnTo>
                  <a:lnTo>
                    <a:pt x="1061974" y="492282"/>
                  </a:lnTo>
                  <a:lnTo>
                    <a:pt x="1056786" y="493370"/>
                  </a:lnTo>
                  <a:lnTo>
                    <a:pt x="1050487" y="495706"/>
                  </a:lnTo>
                  <a:lnTo>
                    <a:pt x="1047406" y="497424"/>
                  </a:lnTo>
                  <a:lnTo>
                    <a:pt x="1042644" y="501586"/>
                  </a:lnTo>
                  <a:lnTo>
                    <a:pt x="1040991" y="502231"/>
                  </a:lnTo>
                  <a:lnTo>
                    <a:pt x="1033868" y="503276"/>
                  </a:lnTo>
                  <a:lnTo>
                    <a:pt x="1031519" y="503021"/>
                  </a:lnTo>
                  <a:lnTo>
                    <a:pt x="1026252" y="500731"/>
                  </a:lnTo>
                  <a:lnTo>
                    <a:pt x="1018320" y="499232"/>
                  </a:lnTo>
                  <a:lnTo>
                    <a:pt x="1013649" y="497898"/>
                  </a:lnTo>
                  <a:lnTo>
                    <a:pt x="1007155" y="495481"/>
                  </a:lnTo>
                  <a:lnTo>
                    <a:pt x="1009389" y="498127"/>
                  </a:lnTo>
                  <a:lnTo>
                    <a:pt x="1021899" y="502152"/>
                  </a:lnTo>
                  <a:lnTo>
                    <a:pt x="1023265" y="503447"/>
                  </a:lnTo>
                  <a:lnTo>
                    <a:pt x="1020705" y="505858"/>
                  </a:lnTo>
                  <a:lnTo>
                    <a:pt x="1019135" y="506738"/>
                  </a:lnTo>
                  <a:lnTo>
                    <a:pt x="1016156" y="506924"/>
                  </a:lnTo>
                  <a:lnTo>
                    <a:pt x="1011766" y="506419"/>
                  </a:lnTo>
                  <a:lnTo>
                    <a:pt x="1007277" y="506522"/>
                  </a:lnTo>
                  <a:lnTo>
                    <a:pt x="1002689" y="507228"/>
                  </a:lnTo>
                  <a:lnTo>
                    <a:pt x="1000715" y="508131"/>
                  </a:lnTo>
                  <a:lnTo>
                    <a:pt x="1001358" y="509229"/>
                  </a:lnTo>
                  <a:lnTo>
                    <a:pt x="1002451" y="510228"/>
                  </a:lnTo>
                  <a:lnTo>
                    <a:pt x="1003994" y="511128"/>
                  </a:lnTo>
                  <a:lnTo>
                    <a:pt x="1005438" y="511120"/>
                  </a:lnTo>
                  <a:lnTo>
                    <a:pt x="1008935" y="508388"/>
                  </a:lnTo>
                  <a:lnTo>
                    <a:pt x="1011586" y="508194"/>
                  </a:lnTo>
                  <a:lnTo>
                    <a:pt x="1018591" y="508867"/>
                  </a:lnTo>
                  <a:lnTo>
                    <a:pt x="1025675" y="506733"/>
                  </a:lnTo>
                  <a:lnTo>
                    <a:pt x="1030779" y="505813"/>
                  </a:lnTo>
                  <a:lnTo>
                    <a:pt x="1034610" y="505577"/>
                  </a:lnTo>
                  <a:lnTo>
                    <a:pt x="1048535" y="502310"/>
                  </a:lnTo>
                  <a:lnTo>
                    <a:pt x="1051425" y="498646"/>
                  </a:lnTo>
                  <a:lnTo>
                    <a:pt x="1056097" y="497177"/>
                  </a:lnTo>
                  <a:lnTo>
                    <a:pt x="1066486" y="496049"/>
                  </a:lnTo>
                  <a:lnTo>
                    <a:pt x="1076537" y="496628"/>
                  </a:lnTo>
                  <a:lnTo>
                    <a:pt x="1081704" y="497100"/>
                  </a:lnTo>
                  <a:lnTo>
                    <a:pt x="1085891" y="500567"/>
                  </a:lnTo>
                  <a:lnTo>
                    <a:pt x="1091504" y="503019"/>
                  </a:lnTo>
                  <a:lnTo>
                    <a:pt x="1096185" y="505811"/>
                  </a:lnTo>
                  <a:lnTo>
                    <a:pt x="1101670" y="506729"/>
                  </a:lnTo>
                  <a:lnTo>
                    <a:pt x="1104849" y="510437"/>
                  </a:lnTo>
                  <a:lnTo>
                    <a:pt x="1113740" y="514571"/>
                  </a:lnTo>
                  <a:lnTo>
                    <a:pt x="1119400" y="515459"/>
                  </a:lnTo>
                  <a:lnTo>
                    <a:pt x="1122891" y="517422"/>
                  </a:lnTo>
                  <a:lnTo>
                    <a:pt x="1123175" y="525729"/>
                  </a:lnTo>
                  <a:lnTo>
                    <a:pt x="1123546" y="529305"/>
                  </a:lnTo>
                  <a:lnTo>
                    <a:pt x="1122041" y="539166"/>
                  </a:lnTo>
                  <a:lnTo>
                    <a:pt x="1117498" y="541432"/>
                  </a:lnTo>
                  <a:lnTo>
                    <a:pt x="1118404" y="546602"/>
                  </a:lnTo>
                  <a:lnTo>
                    <a:pt x="1117211" y="550774"/>
                  </a:lnTo>
                  <a:lnTo>
                    <a:pt x="1112693" y="549192"/>
                  </a:lnTo>
                  <a:lnTo>
                    <a:pt x="1108065" y="546450"/>
                  </a:lnTo>
                  <a:lnTo>
                    <a:pt x="1096983" y="542189"/>
                  </a:lnTo>
                  <a:lnTo>
                    <a:pt x="1086671" y="539443"/>
                  </a:lnTo>
                  <a:lnTo>
                    <a:pt x="1082664" y="536949"/>
                  </a:lnTo>
                  <a:lnTo>
                    <a:pt x="1077944" y="535018"/>
                  </a:lnTo>
                  <a:lnTo>
                    <a:pt x="1071541" y="527133"/>
                  </a:lnTo>
                  <a:lnTo>
                    <a:pt x="1067370" y="517284"/>
                  </a:lnTo>
                  <a:lnTo>
                    <a:pt x="1065540" y="512395"/>
                  </a:lnTo>
                  <a:lnTo>
                    <a:pt x="1062033" y="512120"/>
                  </a:lnTo>
                  <a:lnTo>
                    <a:pt x="1057524" y="513432"/>
                  </a:lnTo>
                  <a:lnTo>
                    <a:pt x="1053587" y="514817"/>
                  </a:lnTo>
                  <a:lnTo>
                    <a:pt x="1051701" y="517184"/>
                  </a:lnTo>
                  <a:lnTo>
                    <a:pt x="1038323" y="520435"/>
                  </a:lnTo>
                  <a:lnTo>
                    <a:pt x="1033467" y="522658"/>
                  </a:lnTo>
                  <a:lnTo>
                    <a:pt x="1030696" y="522592"/>
                  </a:lnTo>
                  <a:lnTo>
                    <a:pt x="1020705" y="525938"/>
                  </a:lnTo>
                  <a:lnTo>
                    <a:pt x="1024708" y="527538"/>
                  </a:lnTo>
                  <a:lnTo>
                    <a:pt x="1026576" y="527741"/>
                  </a:lnTo>
                  <a:lnTo>
                    <a:pt x="1030614" y="526837"/>
                  </a:lnTo>
                  <a:lnTo>
                    <a:pt x="1033039" y="525682"/>
                  </a:lnTo>
                  <a:lnTo>
                    <a:pt x="1042145" y="522516"/>
                  </a:lnTo>
                  <a:lnTo>
                    <a:pt x="1049455" y="521974"/>
                  </a:lnTo>
                  <a:lnTo>
                    <a:pt x="1052106" y="520607"/>
                  </a:lnTo>
                  <a:lnTo>
                    <a:pt x="1057694" y="518654"/>
                  </a:lnTo>
                  <a:lnTo>
                    <a:pt x="1061486" y="518136"/>
                  </a:lnTo>
                  <a:lnTo>
                    <a:pt x="1062014" y="518631"/>
                  </a:lnTo>
                  <a:lnTo>
                    <a:pt x="1062421" y="519519"/>
                  </a:lnTo>
                  <a:lnTo>
                    <a:pt x="1065098" y="531519"/>
                  </a:lnTo>
                  <a:lnTo>
                    <a:pt x="1063977" y="534701"/>
                  </a:lnTo>
                  <a:lnTo>
                    <a:pt x="1060964" y="536077"/>
                  </a:lnTo>
                  <a:lnTo>
                    <a:pt x="1054527" y="538334"/>
                  </a:lnTo>
                  <a:lnTo>
                    <a:pt x="1052854" y="539426"/>
                  </a:lnTo>
                  <a:lnTo>
                    <a:pt x="1054752" y="541340"/>
                  </a:lnTo>
                  <a:lnTo>
                    <a:pt x="1060804" y="539536"/>
                  </a:lnTo>
                  <a:lnTo>
                    <a:pt x="1064725" y="537578"/>
                  </a:lnTo>
                  <a:lnTo>
                    <a:pt x="1066814" y="538292"/>
                  </a:lnTo>
                  <a:lnTo>
                    <a:pt x="1070245" y="541287"/>
                  </a:lnTo>
                  <a:lnTo>
                    <a:pt x="1074113" y="542822"/>
                  </a:lnTo>
                  <a:lnTo>
                    <a:pt x="1083944" y="547412"/>
                  </a:lnTo>
                  <a:lnTo>
                    <a:pt x="1088600" y="549936"/>
                  </a:lnTo>
                  <a:lnTo>
                    <a:pt x="1095150" y="552368"/>
                  </a:lnTo>
                  <a:lnTo>
                    <a:pt x="1102561" y="555738"/>
                  </a:lnTo>
                  <a:lnTo>
                    <a:pt x="1104490" y="556924"/>
                  </a:lnTo>
                  <a:lnTo>
                    <a:pt x="1111264" y="558671"/>
                  </a:lnTo>
                  <a:lnTo>
                    <a:pt x="1112707" y="559267"/>
                  </a:lnTo>
                  <a:lnTo>
                    <a:pt x="1115508" y="565189"/>
                  </a:lnTo>
                  <a:lnTo>
                    <a:pt x="1117846" y="565846"/>
                  </a:lnTo>
                  <a:lnTo>
                    <a:pt x="1124587" y="566221"/>
                  </a:lnTo>
                  <a:lnTo>
                    <a:pt x="1123400" y="568511"/>
                  </a:lnTo>
                  <a:lnTo>
                    <a:pt x="1116817" y="573598"/>
                  </a:lnTo>
                  <a:lnTo>
                    <a:pt x="1113413" y="575218"/>
                  </a:lnTo>
                  <a:lnTo>
                    <a:pt x="1112567" y="576217"/>
                  </a:lnTo>
                  <a:lnTo>
                    <a:pt x="1112891" y="578002"/>
                  </a:lnTo>
                  <a:lnTo>
                    <a:pt x="1113089" y="580987"/>
                  </a:lnTo>
                  <a:lnTo>
                    <a:pt x="1114461" y="586466"/>
                  </a:lnTo>
                  <a:lnTo>
                    <a:pt x="1116005" y="581392"/>
                  </a:lnTo>
                  <a:lnTo>
                    <a:pt x="1117082" y="578995"/>
                  </a:lnTo>
                  <a:lnTo>
                    <a:pt x="1118525" y="578277"/>
                  </a:lnTo>
                  <a:lnTo>
                    <a:pt x="1119945" y="578171"/>
                  </a:lnTo>
                  <a:lnTo>
                    <a:pt x="1124547" y="575900"/>
                  </a:lnTo>
                  <a:lnTo>
                    <a:pt x="1129173" y="577120"/>
                  </a:lnTo>
                  <a:lnTo>
                    <a:pt x="1130373" y="582858"/>
                  </a:lnTo>
                  <a:lnTo>
                    <a:pt x="1130965" y="588199"/>
                  </a:lnTo>
                  <a:lnTo>
                    <a:pt x="1130557" y="592800"/>
                  </a:lnTo>
                  <a:lnTo>
                    <a:pt x="1131067" y="599929"/>
                  </a:lnTo>
                  <a:lnTo>
                    <a:pt x="1130892" y="602329"/>
                  </a:lnTo>
                  <a:lnTo>
                    <a:pt x="1131983" y="604407"/>
                  </a:lnTo>
                  <a:lnTo>
                    <a:pt x="1133116" y="613001"/>
                  </a:lnTo>
                  <a:lnTo>
                    <a:pt x="1134250" y="615571"/>
                  </a:lnTo>
                  <a:lnTo>
                    <a:pt x="1131975" y="617876"/>
                  </a:lnTo>
                  <a:lnTo>
                    <a:pt x="1124944" y="618877"/>
                  </a:lnTo>
                  <a:lnTo>
                    <a:pt x="1122162" y="617743"/>
                  </a:lnTo>
                  <a:lnTo>
                    <a:pt x="1115201" y="618121"/>
                  </a:lnTo>
                  <a:lnTo>
                    <a:pt x="1115192" y="616094"/>
                  </a:lnTo>
                  <a:lnTo>
                    <a:pt x="1114853" y="613769"/>
                  </a:lnTo>
                  <a:lnTo>
                    <a:pt x="1114825" y="612142"/>
                  </a:lnTo>
                  <a:lnTo>
                    <a:pt x="1114360" y="610669"/>
                  </a:lnTo>
                  <a:lnTo>
                    <a:pt x="1114031" y="602180"/>
                  </a:lnTo>
                  <a:lnTo>
                    <a:pt x="1112062" y="604280"/>
                  </a:lnTo>
                  <a:lnTo>
                    <a:pt x="1111945" y="606001"/>
                  </a:lnTo>
                  <a:lnTo>
                    <a:pt x="1111422" y="607751"/>
                  </a:lnTo>
                  <a:lnTo>
                    <a:pt x="1110213" y="616887"/>
                  </a:lnTo>
                  <a:lnTo>
                    <a:pt x="1108422" y="619123"/>
                  </a:lnTo>
                  <a:lnTo>
                    <a:pt x="1102852" y="618585"/>
                  </a:lnTo>
                  <a:lnTo>
                    <a:pt x="1097367" y="618916"/>
                  </a:lnTo>
                  <a:lnTo>
                    <a:pt x="1094333" y="618577"/>
                  </a:lnTo>
                  <a:lnTo>
                    <a:pt x="1084074" y="614413"/>
                  </a:lnTo>
                  <a:lnTo>
                    <a:pt x="1080103" y="610638"/>
                  </a:lnTo>
                  <a:lnTo>
                    <a:pt x="1076588" y="604953"/>
                  </a:lnTo>
                  <a:lnTo>
                    <a:pt x="1074418" y="599626"/>
                  </a:lnTo>
                  <a:lnTo>
                    <a:pt x="1073595" y="594662"/>
                  </a:lnTo>
                  <a:lnTo>
                    <a:pt x="1071134" y="590614"/>
                  </a:lnTo>
                  <a:lnTo>
                    <a:pt x="1067039" y="587486"/>
                  </a:lnTo>
                  <a:lnTo>
                    <a:pt x="1062201" y="584946"/>
                  </a:lnTo>
                  <a:lnTo>
                    <a:pt x="1056620" y="583001"/>
                  </a:lnTo>
                  <a:lnTo>
                    <a:pt x="1051720" y="580487"/>
                  </a:lnTo>
                  <a:lnTo>
                    <a:pt x="1047501" y="577408"/>
                  </a:lnTo>
                  <a:lnTo>
                    <a:pt x="1042856" y="575009"/>
                  </a:lnTo>
                  <a:lnTo>
                    <a:pt x="1037786" y="573297"/>
                  </a:lnTo>
                  <a:lnTo>
                    <a:pt x="1030571" y="572560"/>
                  </a:lnTo>
                  <a:lnTo>
                    <a:pt x="1020021" y="572829"/>
                  </a:lnTo>
                  <a:lnTo>
                    <a:pt x="1012899" y="570897"/>
                  </a:lnTo>
                  <a:lnTo>
                    <a:pt x="1011205" y="571061"/>
                  </a:lnTo>
                  <a:lnTo>
                    <a:pt x="1009545" y="572059"/>
                  </a:lnTo>
                  <a:lnTo>
                    <a:pt x="1010767" y="574901"/>
                  </a:lnTo>
                  <a:lnTo>
                    <a:pt x="1018945" y="576203"/>
                  </a:lnTo>
                  <a:lnTo>
                    <a:pt x="1025252" y="576500"/>
                  </a:lnTo>
                  <a:lnTo>
                    <a:pt x="1033608" y="576315"/>
                  </a:lnTo>
                  <a:lnTo>
                    <a:pt x="1038724" y="577044"/>
                  </a:lnTo>
                  <a:lnTo>
                    <a:pt x="1040601" y="578685"/>
                  </a:lnTo>
                  <a:lnTo>
                    <a:pt x="1041893" y="581603"/>
                  </a:lnTo>
                  <a:lnTo>
                    <a:pt x="1042597" y="585789"/>
                  </a:lnTo>
                  <a:lnTo>
                    <a:pt x="1040946" y="589106"/>
                  </a:lnTo>
                  <a:lnTo>
                    <a:pt x="1034934" y="592783"/>
                  </a:lnTo>
                  <a:lnTo>
                    <a:pt x="1031763" y="594503"/>
                  </a:lnTo>
                  <a:lnTo>
                    <a:pt x="1022510" y="597798"/>
                  </a:lnTo>
                  <a:lnTo>
                    <a:pt x="1019371" y="598533"/>
                  </a:lnTo>
                  <a:lnTo>
                    <a:pt x="1011645" y="598758"/>
                  </a:lnTo>
                  <a:lnTo>
                    <a:pt x="1005711" y="598441"/>
                  </a:lnTo>
                  <a:lnTo>
                    <a:pt x="997904" y="596799"/>
                  </a:lnTo>
                  <a:lnTo>
                    <a:pt x="993478" y="596466"/>
                  </a:lnTo>
                  <a:lnTo>
                    <a:pt x="984319" y="596245"/>
                  </a:lnTo>
                  <a:lnTo>
                    <a:pt x="982212" y="596821"/>
                  </a:lnTo>
                  <a:lnTo>
                    <a:pt x="984575" y="598580"/>
                  </a:lnTo>
                  <a:lnTo>
                    <a:pt x="988460" y="599577"/>
                  </a:lnTo>
                  <a:lnTo>
                    <a:pt x="991195" y="600761"/>
                  </a:lnTo>
                  <a:lnTo>
                    <a:pt x="991480" y="603005"/>
                  </a:lnTo>
                  <a:lnTo>
                    <a:pt x="990494" y="606331"/>
                  </a:lnTo>
                  <a:lnTo>
                    <a:pt x="989477" y="608650"/>
                  </a:lnTo>
                  <a:lnTo>
                    <a:pt x="987801" y="610389"/>
                  </a:lnTo>
                  <a:lnTo>
                    <a:pt x="981791" y="613679"/>
                  </a:lnTo>
                  <a:lnTo>
                    <a:pt x="979301" y="614718"/>
                  </a:lnTo>
                  <a:lnTo>
                    <a:pt x="968096" y="618156"/>
                  </a:lnTo>
                  <a:lnTo>
                    <a:pt x="967316" y="618817"/>
                  </a:lnTo>
                  <a:lnTo>
                    <a:pt x="969939" y="618727"/>
                  </a:lnTo>
                  <a:lnTo>
                    <a:pt x="977023" y="617507"/>
                  </a:lnTo>
                  <a:lnTo>
                    <a:pt x="979061" y="617542"/>
                  </a:lnTo>
                  <a:lnTo>
                    <a:pt x="990689" y="620521"/>
                  </a:lnTo>
                  <a:lnTo>
                    <a:pt x="999953" y="620344"/>
                  </a:lnTo>
                  <a:lnTo>
                    <a:pt x="1018722" y="617596"/>
                  </a:lnTo>
                  <a:lnTo>
                    <a:pt x="1020265" y="617649"/>
                  </a:lnTo>
                  <a:lnTo>
                    <a:pt x="1021498" y="618082"/>
                  </a:lnTo>
                  <a:lnTo>
                    <a:pt x="1022743" y="619113"/>
                  </a:lnTo>
                  <a:lnTo>
                    <a:pt x="1024004" y="620745"/>
                  </a:lnTo>
                  <a:lnTo>
                    <a:pt x="1022492" y="622322"/>
                  </a:lnTo>
                  <a:lnTo>
                    <a:pt x="1018205" y="623842"/>
                  </a:lnTo>
                  <a:lnTo>
                    <a:pt x="1011531" y="625342"/>
                  </a:lnTo>
                  <a:lnTo>
                    <a:pt x="1008640" y="626355"/>
                  </a:lnTo>
                  <a:lnTo>
                    <a:pt x="1005878" y="627888"/>
                  </a:lnTo>
                  <a:lnTo>
                    <a:pt x="1000732" y="631566"/>
                  </a:lnTo>
                  <a:lnTo>
                    <a:pt x="999229" y="635378"/>
                  </a:lnTo>
                  <a:lnTo>
                    <a:pt x="1004639" y="636826"/>
                  </a:lnTo>
                  <a:lnTo>
                    <a:pt x="1007070" y="634993"/>
                  </a:lnTo>
                  <a:lnTo>
                    <a:pt x="1009939" y="630917"/>
                  </a:lnTo>
                  <a:lnTo>
                    <a:pt x="1012521" y="628521"/>
                  </a:lnTo>
                  <a:lnTo>
                    <a:pt x="1018615" y="626893"/>
                  </a:lnTo>
                  <a:lnTo>
                    <a:pt x="1026055" y="627722"/>
                  </a:lnTo>
                  <a:lnTo>
                    <a:pt x="1031803" y="626757"/>
                  </a:lnTo>
                  <a:lnTo>
                    <a:pt x="1043542" y="622724"/>
                  </a:lnTo>
                  <a:lnTo>
                    <a:pt x="1045641" y="622477"/>
                  </a:lnTo>
                  <a:lnTo>
                    <a:pt x="1062912" y="624790"/>
                  </a:lnTo>
                  <a:lnTo>
                    <a:pt x="1078563" y="629315"/>
                  </a:lnTo>
                  <a:lnTo>
                    <a:pt x="1086826" y="630977"/>
                  </a:lnTo>
                  <a:lnTo>
                    <a:pt x="1097752" y="631957"/>
                  </a:lnTo>
                  <a:lnTo>
                    <a:pt x="1117404" y="631512"/>
                  </a:lnTo>
                  <a:lnTo>
                    <a:pt x="1119126" y="632222"/>
                  </a:lnTo>
                  <a:lnTo>
                    <a:pt x="1118488" y="633820"/>
                  </a:lnTo>
                  <a:lnTo>
                    <a:pt x="1117347" y="635173"/>
                  </a:lnTo>
                  <a:lnTo>
                    <a:pt x="1114073" y="637058"/>
                  </a:lnTo>
                  <a:lnTo>
                    <a:pt x="1110097" y="638302"/>
                  </a:lnTo>
                  <a:lnTo>
                    <a:pt x="1107636" y="638653"/>
                  </a:lnTo>
                  <a:lnTo>
                    <a:pt x="1105543" y="639542"/>
                  </a:lnTo>
                  <a:lnTo>
                    <a:pt x="1100838" y="640411"/>
                  </a:lnTo>
                  <a:lnTo>
                    <a:pt x="1099631" y="641117"/>
                  </a:lnTo>
                  <a:lnTo>
                    <a:pt x="1101261" y="644196"/>
                  </a:lnTo>
                  <a:lnTo>
                    <a:pt x="1100486" y="644673"/>
                  </a:lnTo>
                  <a:lnTo>
                    <a:pt x="1096343" y="644723"/>
                  </a:lnTo>
                  <a:lnTo>
                    <a:pt x="1089365" y="646727"/>
                  </a:lnTo>
                  <a:lnTo>
                    <a:pt x="1083636" y="646583"/>
                  </a:lnTo>
                  <a:lnTo>
                    <a:pt x="1082440" y="646877"/>
                  </a:lnTo>
                  <a:lnTo>
                    <a:pt x="1083527" y="647620"/>
                  </a:lnTo>
                  <a:lnTo>
                    <a:pt x="1084683" y="649053"/>
                  </a:lnTo>
                  <a:lnTo>
                    <a:pt x="1085905" y="651177"/>
                  </a:lnTo>
                  <a:lnTo>
                    <a:pt x="1085233" y="652692"/>
                  </a:lnTo>
                  <a:lnTo>
                    <a:pt x="1082664" y="653596"/>
                  </a:lnTo>
                  <a:lnTo>
                    <a:pt x="1080716" y="653890"/>
                  </a:lnTo>
                  <a:lnTo>
                    <a:pt x="1073997" y="652623"/>
                  </a:lnTo>
                  <a:lnTo>
                    <a:pt x="1072910" y="652813"/>
                  </a:lnTo>
                  <a:lnTo>
                    <a:pt x="1073892" y="653722"/>
                  </a:lnTo>
                  <a:lnTo>
                    <a:pt x="1074450" y="655109"/>
                  </a:lnTo>
                  <a:lnTo>
                    <a:pt x="1074586" y="656974"/>
                  </a:lnTo>
                  <a:lnTo>
                    <a:pt x="1072935" y="658538"/>
                  </a:lnTo>
                  <a:lnTo>
                    <a:pt x="1069496" y="659797"/>
                  </a:lnTo>
                  <a:lnTo>
                    <a:pt x="1063095" y="663258"/>
                  </a:lnTo>
                  <a:lnTo>
                    <a:pt x="1060308" y="664246"/>
                  </a:lnTo>
                  <a:lnTo>
                    <a:pt x="1054428" y="665062"/>
                  </a:lnTo>
                  <a:lnTo>
                    <a:pt x="1053189" y="665513"/>
                  </a:lnTo>
                  <a:lnTo>
                    <a:pt x="1055579" y="668162"/>
                  </a:lnTo>
                  <a:lnTo>
                    <a:pt x="1055314" y="669224"/>
                  </a:lnTo>
                  <a:lnTo>
                    <a:pt x="1051339" y="672082"/>
                  </a:lnTo>
                  <a:lnTo>
                    <a:pt x="1045328" y="673863"/>
                  </a:lnTo>
                  <a:lnTo>
                    <a:pt x="1044508" y="674822"/>
                  </a:lnTo>
                  <a:lnTo>
                    <a:pt x="1043950" y="677399"/>
                  </a:lnTo>
                  <a:lnTo>
                    <a:pt x="1043513" y="678423"/>
                  </a:lnTo>
                  <a:lnTo>
                    <a:pt x="1041924" y="679896"/>
                  </a:lnTo>
                  <a:lnTo>
                    <a:pt x="1036222" y="682701"/>
                  </a:lnTo>
                  <a:lnTo>
                    <a:pt x="1032181" y="684095"/>
                  </a:lnTo>
                  <a:lnTo>
                    <a:pt x="1030177" y="685236"/>
                  </a:lnTo>
                  <a:lnTo>
                    <a:pt x="1027697" y="687140"/>
                  </a:lnTo>
                  <a:lnTo>
                    <a:pt x="1024568" y="688150"/>
                  </a:lnTo>
                  <a:lnTo>
                    <a:pt x="1020791" y="688268"/>
                  </a:lnTo>
                  <a:lnTo>
                    <a:pt x="1017218" y="688981"/>
                  </a:lnTo>
                  <a:lnTo>
                    <a:pt x="1011340" y="691001"/>
                  </a:lnTo>
                  <a:lnTo>
                    <a:pt x="1007246" y="691673"/>
                  </a:lnTo>
                  <a:lnTo>
                    <a:pt x="994312" y="695159"/>
                  </a:lnTo>
                  <a:lnTo>
                    <a:pt x="988226" y="695716"/>
                  </a:lnTo>
                  <a:lnTo>
                    <a:pt x="982961" y="696960"/>
                  </a:lnTo>
                  <a:lnTo>
                    <a:pt x="972130" y="700280"/>
                  </a:lnTo>
                  <a:lnTo>
                    <a:pt x="966971" y="701347"/>
                  </a:lnTo>
                  <a:lnTo>
                    <a:pt x="963393" y="702614"/>
                  </a:lnTo>
                  <a:lnTo>
                    <a:pt x="959485" y="702976"/>
                  </a:lnTo>
                  <a:lnTo>
                    <a:pt x="953131" y="702153"/>
                  </a:lnTo>
                  <a:lnTo>
                    <a:pt x="949705" y="702125"/>
                  </a:lnTo>
                  <a:lnTo>
                    <a:pt x="947599" y="702623"/>
                  </a:lnTo>
                  <a:lnTo>
                    <a:pt x="945667" y="703640"/>
                  </a:lnTo>
                  <a:lnTo>
                    <a:pt x="942474" y="706423"/>
                  </a:lnTo>
                  <a:lnTo>
                    <a:pt x="939763" y="706639"/>
                  </a:lnTo>
                  <a:lnTo>
                    <a:pt x="930877" y="704432"/>
                  </a:lnTo>
                  <a:lnTo>
                    <a:pt x="931057" y="705433"/>
                  </a:lnTo>
                  <a:lnTo>
                    <a:pt x="933405" y="707819"/>
                  </a:lnTo>
                  <a:lnTo>
                    <a:pt x="933293" y="709512"/>
                  </a:lnTo>
                  <a:lnTo>
                    <a:pt x="928008" y="711227"/>
                  </a:lnTo>
                  <a:lnTo>
                    <a:pt x="925160" y="711665"/>
                  </a:lnTo>
                  <a:lnTo>
                    <a:pt x="920961" y="710961"/>
                  </a:lnTo>
                  <a:lnTo>
                    <a:pt x="915410" y="709111"/>
                  </a:lnTo>
                  <a:lnTo>
                    <a:pt x="908278" y="705241"/>
                  </a:lnTo>
                  <a:lnTo>
                    <a:pt x="899538" y="699320"/>
                  </a:lnTo>
                  <a:lnTo>
                    <a:pt x="895333" y="697314"/>
                  </a:lnTo>
                  <a:lnTo>
                    <a:pt x="895637" y="699217"/>
                  </a:lnTo>
                  <a:lnTo>
                    <a:pt x="896611" y="701076"/>
                  </a:lnTo>
                  <a:lnTo>
                    <a:pt x="898257" y="702886"/>
                  </a:lnTo>
                  <a:lnTo>
                    <a:pt x="898591" y="704199"/>
                  </a:lnTo>
                  <a:lnTo>
                    <a:pt x="897616" y="705012"/>
                  </a:lnTo>
                  <a:lnTo>
                    <a:pt x="896330" y="705422"/>
                  </a:lnTo>
                  <a:lnTo>
                    <a:pt x="894733" y="705427"/>
                  </a:lnTo>
                  <a:lnTo>
                    <a:pt x="894462" y="705887"/>
                  </a:lnTo>
                  <a:lnTo>
                    <a:pt x="897069" y="708705"/>
                  </a:lnTo>
                  <a:lnTo>
                    <a:pt x="899125" y="711595"/>
                  </a:lnTo>
                  <a:lnTo>
                    <a:pt x="898935" y="714334"/>
                  </a:lnTo>
                  <a:lnTo>
                    <a:pt x="896497" y="716925"/>
                  </a:lnTo>
                  <a:lnTo>
                    <a:pt x="894403" y="718444"/>
                  </a:lnTo>
                  <a:lnTo>
                    <a:pt x="892651" y="718892"/>
                  </a:lnTo>
                  <a:lnTo>
                    <a:pt x="882274" y="725333"/>
                  </a:lnTo>
                  <a:lnTo>
                    <a:pt x="879384" y="726142"/>
                  </a:lnTo>
                  <a:lnTo>
                    <a:pt x="878070" y="726937"/>
                  </a:lnTo>
                  <a:lnTo>
                    <a:pt x="876990" y="728125"/>
                  </a:lnTo>
                  <a:lnTo>
                    <a:pt x="873969" y="733433"/>
                  </a:lnTo>
                  <a:lnTo>
                    <a:pt x="872747" y="735051"/>
                  </a:lnTo>
                  <a:lnTo>
                    <a:pt x="870323" y="737154"/>
                  </a:lnTo>
                  <a:lnTo>
                    <a:pt x="869307" y="737519"/>
                  </a:lnTo>
                  <a:lnTo>
                    <a:pt x="869017" y="738374"/>
                  </a:lnTo>
                  <a:lnTo>
                    <a:pt x="869455" y="739726"/>
                  </a:lnTo>
                  <a:lnTo>
                    <a:pt x="868787" y="741974"/>
                  </a:lnTo>
                  <a:lnTo>
                    <a:pt x="867013" y="745115"/>
                  </a:lnTo>
                  <a:lnTo>
                    <a:pt x="860973" y="753767"/>
                  </a:lnTo>
                  <a:lnTo>
                    <a:pt x="856101" y="761803"/>
                  </a:lnTo>
                  <a:lnTo>
                    <a:pt x="853966" y="764428"/>
                  </a:lnTo>
                  <a:lnTo>
                    <a:pt x="852404" y="765539"/>
                  </a:lnTo>
                  <a:lnTo>
                    <a:pt x="851414" y="765142"/>
                  </a:lnTo>
                  <a:lnTo>
                    <a:pt x="848999" y="765350"/>
                  </a:lnTo>
                  <a:lnTo>
                    <a:pt x="847827" y="766757"/>
                  </a:lnTo>
                  <a:lnTo>
                    <a:pt x="846764" y="769299"/>
                  </a:lnTo>
                  <a:lnTo>
                    <a:pt x="845607" y="771235"/>
                  </a:lnTo>
                  <a:lnTo>
                    <a:pt x="844356" y="772567"/>
                  </a:lnTo>
                  <a:lnTo>
                    <a:pt x="834586" y="778296"/>
                  </a:lnTo>
                  <a:lnTo>
                    <a:pt x="832067" y="779357"/>
                  </a:lnTo>
                  <a:lnTo>
                    <a:pt x="829805" y="778686"/>
                  </a:lnTo>
                  <a:lnTo>
                    <a:pt x="827133" y="778944"/>
                  </a:lnTo>
                  <a:lnTo>
                    <a:pt x="821598" y="775920"/>
                  </a:lnTo>
                  <a:lnTo>
                    <a:pt x="820638" y="774807"/>
                  </a:lnTo>
                  <a:lnTo>
                    <a:pt x="817061" y="772323"/>
                  </a:lnTo>
                  <a:lnTo>
                    <a:pt x="817179" y="773618"/>
                  </a:lnTo>
                  <a:lnTo>
                    <a:pt x="817780" y="774333"/>
                  </a:lnTo>
                  <a:lnTo>
                    <a:pt x="818280" y="775381"/>
                  </a:lnTo>
                  <a:lnTo>
                    <a:pt x="819531" y="776664"/>
                  </a:lnTo>
                  <a:lnTo>
                    <a:pt x="822305" y="783408"/>
                  </a:lnTo>
                  <a:lnTo>
                    <a:pt x="820111" y="784789"/>
                  </a:lnTo>
                  <a:lnTo>
                    <a:pt x="818151" y="786365"/>
                  </a:lnTo>
                  <a:lnTo>
                    <a:pt x="813148" y="789021"/>
                  </a:lnTo>
                  <a:lnTo>
                    <a:pt x="807741" y="793469"/>
                  </a:lnTo>
                  <a:lnTo>
                    <a:pt x="805740" y="794710"/>
                  </a:lnTo>
                  <a:lnTo>
                    <a:pt x="805298" y="791088"/>
                  </a:lnTo>
                  <a:lnTo>
                    <a:pt x="805524" y="790005"/>
                  </a:lnTo>
                  <a:lnTo>
                    <a:pt x="802467" y="788250"/>
                  </a:lnTo>
                  <a:lnTo>
                    <a:pt x="802566" y="789514"/>
                  </a:lnTo>
                  <a:lnTo>
                    <a:pt x="802250" y="790694"/>
                  </a:lnTo>
                  <a:lnTo>
                    <a:pt x="800034" y="795385"/>
                  </a:lnTo>
                  <a:lnTo>
                    <a:pt x="799416" y="796195"/>
                  </a:lnTo>
                  <a:lnTo>
                    <a:pt x="798326" y="796013"/>
                  </a:lnTo>
                  <a:lnTo>
                    <a:pt x="795945" y="796877"/>
                  </a:lnTo>
                  <a:lnTo>
                    <a:pt x="793507" y="796468"/>
                  </a:lnTo>
                  <a:lnTo>
                    <a:pt x="791441" y="794335"/>
                  </a:lnTo>
                  <a:lnTo>
                    <a:pt x="790624" y="793228"/>
                  </a:lnTo>
                  <a:lnTo>
                    <a:pt x="786856" y="796267"/>
                  </a:lnTo>
                  <a:lnTo>
                    <a:pt x="785025" y="796189"/>
                  </a:lnTo>
                  <a:lnTo>
                    <a:pt x="784720" y="798740"/>
                  </a:lnTo>
                  <a:lnTo>
                    <a:pt x="782946" y="801061"/>
                  </a:lnTo>
                  <a:lnTo>
                    <a:pt x="780602" y="802065"/>
                  </a:lnTo>
                  <a:lnTo>
                    <a:pt x="777336" y="801987"/>
                  </a:lnTo>
                  <a:lnTo>
                    <a:pt x="775336" y="803360"/>
                  </a:lnTo>
                  <a:lnTo>
                    <a:pt x="770901" y="801888"/>
                  </a:lnTo>
                  <a:lnTo>
                    <a:pt x="769873" y="799124"/>
                  </a:lnTo>
                  <a:lnTo>
                    <a:pt x="773388" y="795330"/>
                  </a:lnTo>
                  <a:lnTo>
                    <a:pt x="774382" y="793763"/>
                  </a:lnTo>
                  <a:lnTo>
                    <a:pt x="773737" y="791833"/>
                  </a:lnTo>
                  <a:lnTo>
                    <a:pt x="774592" y="789337"/>
                  </a:lnTo>
                  <a:lnTo>
                    <a:pt x="781300" y="781401"/>
                  </a:lnTo>
                  <a:lnTo>
                    <a:pt x="785850" y="777368"/>
                  </a:lnTo>
                  <a:lnTo>
                    <a:pt x="785586" y="776649"/>
                  </a:lnTo>
                  <a:lnTo>
                    <a:pt x="779411" y="775769"/>
                  </a:lnTo>
                  <a:lnTo>
                    <a:pt x="774016" y="774383"/>
                  </a:lnTo>
                  <a:lnTo>
                    <a:pt x="768759" y="773906"/>
                  </a:lnTo>
                  <a:lnTo>
                    <a:pt x="766437" y="774379"/>
                  </a:lnTo>
                  <a:lnTo>
                    <a:pt x="770140" y="776696"/>
                  </a:lnTo>
                  <a:lnTo>
                    <a:pt x="775377" y="778944"/>
                  </a:lnTo>
                  <a:lnTo>
                    <a:pt x="772800" y="781089"/>
                  </a:lnTo>
                  <a:lnTo>
                    <a:pt x="770577" y="783364"/>
                  </a:lnTo>
                  <a:lnTo>
                    <a:pt x="768277" y="789535"/>
                  </a:lnTo>
                  <a:lnTo>
                    <a:pt x="766806" y="792058"/>
                  </a:lnTo>
                  <a:lnTo>
                    <a:pt x="761097" y="789159"/>
                  </a:lnTo>
                  <a:lnTo>
                    <a:pt x="758395" y="788179"/>
                  </a:lnTo>
                  <a:lnTo>
                    <a:pt x="760112" y="791394"/>
                  </a:lnTo>
                  <a:lnTo>
                    <a:pt x="765117" y="794436"/>
                  </a:lnTo>
                  <a:lnTo>
                    <a:pt x="765437" y="795436"/>
                  </a:lnTo>
                  <a:lnTo>
                    <a:pt x="765404" y="799048"/>
                  </a:lnTo>
                  <a:lnTo>
                    <a:pt x="755821" y="802223"/>
                  </a:lnTo>
                  <a:lnTo>
                    <a:pt x="745821" y="802704"/>
                  </a:lnTo>
                  <a:lnTo>
                    <a:pt x="738648" y="803606"/>
                  </a:lnTo>
                  <a:lnTo>
                    <a:pt x="726540" y="804697"/>
                  </a:lnTo>
                  <a:lnTo>
                    <a:pt x="721839" y="804699"/>
                  </a:lnTo>
                  <a:lnTo>
                    <a:pt x="721441" y="805919"/>
                  </a:lnTo>
                  <a:lnTo>
                    <a:pt x="733284" y="811481"/>
                  </a:lnTo>
                  <a:lnTo>
                    <a:pt x="735010" y="812497"/>
                  </a:lnTo>
                  <a:lnTo>
                    <a:pt x="733360" y="814409"/>
                  </a:lnTo>
                  <a:lnTo>
                    <a:pt x="730913" y="815597"/>
                  </a:lnTo>
                  <a:lnTo>
                    <a:pt x="727064" y="819682"/>
                  </a:lnTo>
                  <a:lnTo>
                    <a:pt x="725057" y="821088"/>
                  </a:lnTo>
                  <a:lnTo>
                    <a:pt x="720079" y="823018"/>
                  </a:lnTo>
                  <a:lnTo>
                    <a:pt x="710915" y="820865"/>
                  </a:lnTo>
                  <a:lnTo>
                    <a:pt x="706206" y="821827"/>
                  </a:lnTo>
                  <a:lnTo>
                    <a:pt x="701698" y="821149"/>
                  </a:lnTo>
                  <a:lnTo>
                    <a:pt x="701604" y="823504"/>
                  </a:lnTo>
                  <a:lnTo>
                    <a:pt x="702951" y="825221"/>
                  </a:lnTo>
                  <a:lnTo>
                    <a:pt x="704316" y="829479"/>
                  </a:lnTo>
                  <a:lnTo>
                    <a:pt x="707339" y="829148"/>
                  </a:lnTo>
                  <a:lnTo>
                    <a:pt x="711183" y="827813"/>
                  </a:lnTo>
                  <a:lnTo>
                    <a:pt x="714154" y="831032"/>
                  </a:lnTo>
                  <a:lnTo>
                    <a:pt x="716108" y="836478"/>
                  </a:lnTo>
                  <a:lnTo>
                    <a:pt x="719520" y="839234"/>
                  </a:lnTo>
                  <a:lnTo>
                    <a:pt x="721036" y="841361"/>
                  </a:lnTo>
                  <a:lnTo>
                    <a:pt x="721647" y="843367"/>
                  </a:lnTo>
                  <a:lnTo>
                    <a:pt x="719519" y="845362"/>
                  </a:lnTo>
                  <a:lnTo>
                    <a:pt x="715115" y="848183"/>
                  </a:lnTo>
                  <a:lnTo>
                    <a:pt x="710230" y="848705"/>
                  </a:lnTo>
                  <a:lnTo>
                    <a:pt x="710498" y="850932"/>
                  </a:lnTo>
                  <a:lnTo>
                    <a:pt x="708391" y="852533"/>
                  </a:lnTo>
                  <a:lnTo>
                    <a:pt x="703906" y="852064"/>
                  </a:lnTo>
                  <a:lnTo>
                    <a:pt x="701809" y="850948"/>
                  </a:lnTo>
                  <a:lnTo>
                    <a:pt x="699634" y="850418"/>
                  </a:lnTo>
                  <a:lnTo>
                    <a:pt x="690717" y="849819"/>
                  </a:lnTo>
                  <a:lnTo>
                    <a:pt x="699695" y="854105"/>
                  </a:lnTo>
                  <a:lnTo>
                    <a:pt x="702889" y="856098"/>
                  </a:lnTo>
                  <a:lnTo>
                    <a:pt x="704309" y="854917"/>
                  </a:lnTo>
                  <a:lnTo>
                    <a:pt x="707419" y="854630"/>
                  </a:lnTo>
                  <a:lnTo>
                    <a:pt x="712016" y="855720"/>
                  </a:lnTo>
                  <a:lnTo>
                    <a:pt x="711252" y="862923"/>
                  </a:lnTo>
                  <a:lnTo>
                    <a:pt x="713266" y="868743"/>
                  </a:lnTo>
                  <a:lnTo>
                    <a:pt x="713506" y="870047"/>
                  </a:lnTo>
                  <a:lnTo>
                    <a:pt x="708616" y="873524"/>
                  </a:lnTo>
                  <a:lnTo>
                    <a:pt x="708535" y="876765"/>
                  </a:lnTo>
                  <a:lnTo>
                    <a:pt x="705625" y="877667"/>
                  </a:lnTo>
                  <a:lnTo>
                    <a:pt x="702487" y="877459"/>
                  </a:lnTo>
                  <a:lnTo>
                    <a:pt x="702323" y="881010"/>
                  </a:lnTo>
                  <a:lnTo>
                    <a:pt x="700198" y="883221"/>
                  </a:lnTo>
                  <a:lnTo>
                    <a:pt x="700575" y="884604"/>
                  </a:lnTo>
                  <a:lnTo>
                    <a:pt x="701183" y="885842"/>
                  </a:lnTo>
                  <a:lnTo>
                    <a:pt x="699242" y="888090"/>
                  </a:lnTo>
                  <a:lnTo>
                    <a:pt x="697490" y="890823"/>
                  </a:lnTo>
                  <a:lnTo>
                    <a:pt x="694988" y="893214"/>
                  </a:lnTo>
                  <a:lnTo>
                    <a:pt x="693661" y="892968"/>
                  </a:lnTo>
                  <a:lnTo>
                    <a:pt x="689680" y="893122"/>
                  </a:lnTo>
                  <a:lnTo>
                    <a:pt x="684891" y="892922"/>
                  </a:lnTo>
                  <a:lnTo>
                    <a:pt x="681016" y="889817"/>
                  </a:lnTo>
                  <a:lnTo>
                    <a:pt x="679409" y="888782"/>
                  </a:lnTo>
                  <a:lnTo>
                    <a:pt x="677594" y="888105"/>
                  </a:lnTo>
                  <a:lnTo>
                    <a:pt x="678291" y="890105"/>
                  </a:lnTo>
                  <a:lnTo>
                    <a:pt x="679374" y="891307"/>
                  </a:lnTo>
                  <a:lnTo>
                    <a:pt x="682950" y="893548"/>
                  </a:lnTo>
                  <a:lnTo>
                    <a:pt x="689535" y="896316"/>
                  </a:lnTo>
                  <a:lnTo>
                    <a:pt x="689333" y="898277"/>
                  </a:lnTo>
                  <a:lnTo>
                    <a:pt x="687572" y="899130"/>
                  </a:lnTo>
                  <a:lnTo>
                    <a:pt x="683465" y="904461"/>
                  </a:lnTo>
                  <a:lnTo>
                    <a:pt x="682007" y="904576"/>
                  </a:lnTo>
                  <a:lnTo>
                    <a:pt x="680164" y="905949"/>
                  </a:lnTo>
                  <a:lnTo>
                    <a:pt x="674473" y="905489"/>
                  </a:lnTo>
                  <a:lnTo>
                    <a:pt x="672083" y="904943"/>
                  </a:lnTo>
                  <a:lnTo>
                    <a:pt x="665065" y="905292"/>
                  </a:lnTo>
                  <a:lnTo>
                    <a:pt x="662678" y="904821"/>
                  </a:lnTo>
                  <a:lnTo>
                    <a:pt x="660630" y="905044"/>
                  </a:lnTo>
                  <a:lnTo>
                    <a:pt x="662540" y="906546"/>
                  </a:lnTo>
                  <a:lnTo>
                    <a:pt x="666556" y="907898"/>
                  </a:lnTo>
                  <a:lnTo>
                    <a:pt x="671123" y="909253"/>
                  </a:lnTo>
                  <a:lnTo>
                    <a:pt x="678070" y="910277"/>
                  </a:lnTo>
                  <a:lnTo>
                    <a:pt x="677818" y="912213"/>
                  </a:lnTo>
                  <a:lnTo>
                    <a:pt x="676076" y="913801"/>
                  </a:lnTo>
                  <a:lnTo>
                    <a:pt x="677076" y="916170"/>
                  </a:lnTo>
                  <a:lnTo>
                    <a:pt x="676298" y="917866"/>
                  </a:lnTo>
                  <a:lnTo>
                    <a:pt x="675965" y="919877"/>
                  </a:lnTo>
                  <a:lnTo>
                    <a:pt x="674343" y="924545"/>
                  </a:lnTo>
                  <a:lnTo>
                    <a:pt x="676231" y="927743"/>
                  </a:lnTo>
                  <a:lnTo>
                    <a:pt x="678289" y="929301"/>
                  </a:lnTo>
                  <a:lnTo>
                    <a:pt x="678050" y="931351"/>
                  </a:lnTo>
                  <a:lnTo>
                    <a:pt x="679015" y="934628"/>
                  </a:lnTo>
                  <a:lnTo>
                    <a:pt x="675931" y="937548"/>
                  </a:lnTo>
                  <a:lnTo>
                    <a:pt x="673372" y="937438"/>
                  </a:lnTo>
                  <a:lnTo>
                    <a:pt x="669724" y="938094"/>
                  </a:lnTo>
                  <a:lnTo>
                    <a:pt x="668510" y="939379"/>
                  </a:lnTo>
                  <a:lnTo>
                    <a:pt x="674296" y="940592"/>
                  </a:lnTo>
                  <a:lnTo>
                    <a:pt x="673771" y="942774"/>
                  </a:lnTo>
                  <a:lnTo>
                    <a:pt x="672193" y="945499"/>
                  </a:lnTo>
                  <a:lnTo>
                    <a:pt x="670534" y="951390"/>
                  </a:lnTo>
                  <a:lnTo>
                    <a:pt x="667168" y="961451"/>
                  </a:lnTo>
                  <a:lnTo>
                    <a:pt x="665597" y="971395"/>
                  </a:lnTo>
                  <a:lnTo>
                    <a:pt x="658365" y="979534"/>
                  </a:lnTo>
                  <a:lnTo>
                    <a:pt x="655803" y="979758"/>
                  </a:lnTo>
                  <a:lnTo>
                    <a:pt x="655160" y="980080"/>
                  </a:lnTo>
                  <a:lnTo>
                    <a:pt x="651638" y="979664"/>
                  </a:lnTo>
                  <a:lnTo>
                    <a:pt x="646110" y="977789"/>
                  </a:lnTo>
                  <a:lnTo>
                    <a:pt x="641828" y="977170"/>
                  </a:lnTo>
                  <a:lnTo>
                    <a:pt x="638937" y="977144"/>
                  </a:lnTo>
                  <a:lnTo>
                    <a:pt x="638565" y="978077"/>
                  </a:lnTo>
                  <a:lnTo>
                    <a:pt x="640962" y="979591"/>
                  </a:lnTo>
                  <a:lnTo>
                    <a:pt x="644625" y="980223"/>
                  </a:lnTo>
                  <a:lnTo>
                    <a:pt x="647553" y="981222"/>
                  </a:lnTo>
                  <a:lnTo>
                    <a:pt x="652803" y="982155"/>
                  </a:lnTo>
                  <a:lnTo>
                    <a:pt x="654631" y="983961"/>
                  </a:lnTo>
                  <a:lnTo>
                    <a:pt x="655880" y="985882"/>
                  </a:lnTo>
                  <a:lnTo>
                    <a:pt x="655695" y="986939"/>
                  </a:lnTo>
                  <a:lnTo>
                    <a:pt x="655684" y="988187"/>
                  </a:lnTo>
                  <a:lnTo>
                    <a:pt x="656622" y="994886"/>
                  </a:lnTo>
                  <a:lnTo>
                    <a:pt x="654148" y="997197"/>
                  </a:lnTo>
                  <a:lnTo>
                    <a:pt x="652262" y="999284"/>
                  </a:lnTo>
                  <a:lnTo>
                    <a:pt x="645700" y="998994"/>
                  </a:lnTo>
                  <a:lnTo>
                    <a:pt x="644558" y="998267"/>
                  </a:lnTo>
                  <a:lnTo>
                    <a:pt x="638222" y="996068"/>
                  </a:lnTo>
                  <a:lnTo>
                    <a:pt x="638612" y="997100"/>
                  </a:lnTo>
                  <a:lnTo>
                    <a:pt x="643196" y="1000088"/>
                  </a:lnTo>
                  <a:lnTo>
                    <a:pt x="644793" y="1001576"/>
                  </a:lnTo>
                  <a:lnTo>
                    <a:pt x="643725" y="1001884"/>
                  </a:lnTo>
                  <a:lnTo>
                    <a:pt x="641875" y="1001995"/>
                  </a:lnTo>
                  <a:lnTo>
                    <a:pt x="639294" y="1002999"/>
                  </a:lnTo>
                  <a:lnTo>
                    <a:pt x="634641" y="1002457"/>
                  </a:lnTo>
                  <a:lnTo>
                    <a:pt x="634897" y="1000947"/>
                  </a:lnTo>
                  <a:lnTo>
                    <a:pt x="635780" y="999394"/>
                  </a:lnTo>
                  <a:lnTo>
                    <a:pt x="633652" y="999658"/>
                  </a:lnTo>
                  <a:lnTo>
                    <a:pt x="631281" y="1000446"/>
                  </a:lnTo>
                  <a:lnTo>
                    <a:pt x="629904" y="1000156"/>
                  </a:lnTo>
                  <a:lnTo>
                    <a:pt x="628746" y="1000243"/>
                  </a:lnTo>
                  <a:lnTo>
                    <a:pt x="628097" y="999466"/>
                  </a:lnTo>
                  <a:lnTo>
                    <a:pt x="627201" y="996429"/>
                  </a:lnTo>
                  <a:lnTo>
                    <a:pt x="628274" y="994900"/>
                  </a:lnTo>
                  <a:lnTo>
                    <a:pt x="632113" y="990944"/>
                  </a:lnTo>
                  <a:lnTo>
                    <a:pt x="633334" y="988819"/>
                  </a:lnTo>
                  <a:lnTo>
                    <a:pt x="632267" y="987852"/>
                  </a:lnTo>
                  <a:lnTo>
                    <a:pt x="629526" y="990132"/>
                  </a:lnTo>
                  <a:lnTo>
                    <a:pt x="626694" y="993752"/>
                  </a:lnTo>
                  <a:lnTo>
                    <a:pt x="625439" y="995935"/>
                  </a:lnTo>
                  <a:lnTo>
                    <a:pt x="623667" y="996360"/>
                  </a:lnTo>
                  <a:lnTo>
                    <a:pt x="619269" y="995260"/>
                  </a:lnTo>
                  <a:lnTo>
                    <a:pt x="606730" y="990194"/>
                  </a:lnTo>
                  <a:lnTo>
                    <a:pt x="607104" y="987108"/>
                  </a:lnTo>
                  <a:lnTo>
                    <a:pt x="606984" y="984550"/>
                  </a:lnTo>
                  <a:lnTo>
                    <a:pt x="610638" y="984225"/>
                  </a:lnTo>
                  <a:lnTo>
                    <a:pt x="613297" y="983111"/>
                  </a:lnTo>
                  <a:lnTo>
                    <a:pt x="615675" y="981747"/>
                  </a:lnTo>
                  <a:lnTo>
                    <a:pt x="618355" y="979259"/>
                  </a:lnTo>
                  <a:lnTo>
                    <a:pt x="620811" y="975145"/>
                  </a:lnTo>
                  <a:lnTo>
                    <a:pt x="620495" y="974833"/>
                  </a:lnTo>
                  <a:lnTo>
                    <a:pt x="613287" y="980083"/>
                  </a:lnTo>
                  <a:lnTo>
                    <a:pt x="608852" y="981836"/>
                  </a:lnTo>
                  <a:lnTo>
                    <a:pt x="606702" y="982156"/>
                  </a:lnTo>
                  <a:lnTo>
                    <a:pt x="605633" y="981379"/>
                  </a:lnTo>
                  <a:lnTo>
                    <a:pt x="602064" y="979695"/>
                  </a:lnTo>
                  <a:lnTo>
                    <a:pt x="599743" y="978929"/>
                  </a:lnTo>
                  <a:lnTo>
                    <a:pt x="594456" y="977675"/>
                  </a:lnTo>
                  <a:lnTo>
                    <a:pt x="593523" y="976999"/>
                  </a:lnTo>
                  <a:lnTo>
                    <a:pt x="591973" y="976465"/>
                  </a:lnTo>
                  <a:lnTo>
                    <a:pt x="589865" y="971093"/>
                  </a:lnTo>
                  <a:lnTo>
                    <a:pt x="592592" y="964551"/>
                  </a:lnTo>
                  <a:lnTo>
                    <a:pt x="594469" y="962650"/>
                  </a:lnTo>
                  <a:lnTo>
                    <a:pt x="595660" y="960441"/>
                  </a:lnTo>
                  <a:lnTo>
                    <a:pt x="596334" y="957514"/>
                  </a:lnTo>
                  <a:lnTo>
                    <a:pt x="595874" y="956263"/>
                  </a:lnTo>
                  <a:lnTo>
                    <a:pt x="594280" y="956692"/>
                  </a:lnTo>
                  <a:lnTo>
                    <a:pt x="593541" y="957695"/>
                  </a:lnTo>
                  <a:lnTo>
                    <a:pt x="593658" y="959262"/>
                  </a:lnTo>
                  <a:lnTo>
                    <a:pt x="592745" y="960351"/>
                  </a:lnTo>
                  <a:lnTo>
                    <a:pt x="586444" y="962853"/>
                  </a:lnTo>
                  <a:lnTo>
                    <a:pt x="580125" y="964877"/>
                  </a:lnTo>
                  <a:lnTo>
                    <a:pt x="577132" y="966793"/>
                  </a:lnTo>
                  <a:lnTo>
                    <a:pt x="575189" y="968289"/>
                  </a:lnTo>
                  <a:lnTo>
                    <a:pt x="573668" y="969758"/>
                  </a:lnTo>
                  <a:lnTo>
                    <a:pt x="571341" y="969626"/>
                  </a:lnTo>
                  <a:lnTo>
                    <a:pt x="568131" y="969928"/>
                  </a:lnTo>
                  <a:lnTo>
                    <a:pt x="565930" y="970881"/>
                  </a:lnTo>
                  <a:lnTo>
                    <a:pt x="562716" y="970296"/>
                  </a:lnTo>
                  <a:lnTo>
                    <a:pt x="560617" y="968881"/>
                  </a:lnTo>
                  <a:lnTo>
                    <a:pt x="558088" y="968718"/>
                  </a:lnTo>
                  <a:lnTo>
                    <a:pt x="555248" y="969400"/>
                  </a:lnTo>
                  <a:lnTo>
                    <a:pt x="553285" y="969342"/>
                  </a:lnTo>
                  <a:lnTo>
                    <a:pt x="553448" y="970303"/>
                  </a:lnTo>
                  <a:lnTo>
                    <a:pt x="554752" y="972666"/>
                  </a:lnTo>
                  <a:lnTo>
                    <a:pt x="552585" y="972824"/>
                  </a:lnTo>
                  <a:lnTo>
                    <a:pt x="548471" y="972917"/>
                  </a:lnTo>
                  <a:lnTo>
                    <a:pt x="546402" y="972233"/>
                  </a:lnTo>
                  <a:lnTo>
                    <a:pt x="544782" y="971337"/>
                  </a:lnTo>
                  <a:lnTo>
                    <a:pt x="543430" y="970079"/>
                  </a:lnTo>
                  <a:lnTo>
                    <a:pt x="544243" y="968436"/>
                  </a:lnTo>
                  <a:lnTo>
                    <a:pt x="550859" y="965425"/>
                  </a:lnTo>
                  <a:lnTo>
                    <a:pt x="553859" y="963680"/>
                  </a:lnTo>
                  <a:lnTo>
                    <a:pt x="551902" y="963078"/>
                  </a:lnTo>
                  <a:lnTo>
                    <a:pt x="545548" y="963622"/>
                  </a:lnTo>
                  <a:lnTo>
                    <a:pt x="544491" y="963170"/>
                  </a:lnTo>
                  <a:lnTo>
                    <a:pt x="540235" y="963445"/>
                  </a:lnTo>
                  <a:lnTo>
                    <a:pt x="540419" y="958950"/>
                  </a:lnTo>
                  <a:lnTo>
                    <a:pt x="539383" y="957833"/>
                  </a:lnTo>
                  <a:lnTo>
                    <a:pt x="539312" y="957304"/>
                  </a:lnTo>
                  <a:lnTo>
                    <a:pt x="537838" y="956047"/>
                  </a:lnTo>
                  <a:lnTo>
                    <a:pt x="536443" y="955735"/>
                  </a:lnTo>
                  <a:lnTo>
                    <a:pt x="535575" y="955282"/>
                  </a:lnTo>
                  <a:lnTo>
                    <a:pt x="528391" y="954270"/>
                  </a:lnTo>
                  <a:lnTo>
                    <a:pt x="527452" y="951754"/>
                  </a:lnTo>
                  <a:lnTo>
                    <a:pt x="526951" y="949163"/>
                  </a:lnTo>
                  <a:lnTo>
                    <a:pt x="525579" y="945944"/>
                  </a:lnTo>
                  <a:lnTo>
                    <a:pt x="522140" y="945104"/>
                  </a:lnTo>
                  <a:lnTo>
                    <a:pt x="520276" y="943706"/>
                  </a:lnTo>
                  <a:lnTo>
                    <a:pt x="521753" y="942276"/>
                  </a:lnTo>
                  <a:lnTo>
                    <a:pt x="522397" y="940460"/>
                  </a:lnTo>
                  <a:lnTo>
                    <a:pt x="520802" y="939631"/>
                  </a:lnTo>
                  <a:lnTo>
                    <a:pt x="519785" y="938349"/>
                  </a:lnTo>
                  <a:lnTo>
                    <a:pt x="519935" y="937516"/>
                  </a:lnTo>
                  <a:lnTo>
                    <a:pt x="518643" y="935264"/>
                  </a:lnTo>
                  <a:lnTo>
                    <a:pt x="518259" y="933506"/>
                  </a:lnTo>
                  <a:lnTo>
                    <a:pt x="519736" y="931856"/>
                  </a:lnTo>
                  <a:lnTo>
                    <a:pt x="523798" y="929987"/>
                  </a:lnTo>
                  <a:lnTo>
                    <a:pt x="525108" y="929234"/>
                  </a:lnTo>
                  <a:lnTo>
                    <a:pt x="525791" y="928419"/>
                  </a:lnTo>
                  <a:lnTo>
                    <a:pt x="530455" y="927042"/>
                  </a:lnTo>
                  <a:lnTo>
                    <a:pt x="526487" y="926068"/>
                  </a:lnTo>
                  <a:lnTo>
                    <a:pt x="524004" y="925917"/>
                  </a:lnTo>
                  <a:lnTo>
                    <a:pt x="522195" y="926371"/>
                  </a:lnTo>
                  <a:lnTo>
                    <a:pt x="520522" y="928201"/>
                  </a:lnTo>
                  <a:lnTo>
                    <a:pt x="518961" y="929414"/>
                  </a:lnTo>
                  <a:lnTo>
                    <a:pt x="512875" y="929811"/>
                  </a:lnTo>
                  <a:lnTo>
                    <a:pt x="511979" y="929184"/>
                  </a:lnTo>
                  <a:lnTo>
                    <a:pt x="511556" y="926602"/>
                  </a:lnTo>
                  <a:lnTo>
                    <a:pt x="511903" y="924609"/>
                  </a:lnTo>
                  <a:lnTo>
                    <a:pt x="514429" y="921808"/>
                  </a:lnTo>
                  <a:lnTo>
                    <a:pt x="511515" y="920416"/>
                  </a:lnTo>
                  <a:lnTo>
                    <a:pt x="508844" y="919964"/>
                  </a:lnTo>
                  <a:lnTo>
                    <a:pt x="505808" y="918663"/>
                  </a:lnTo>
                  <a:lnTo>
                    <a:pt x="503003" y="917289"/>
                  </a:lnTo>
                  <a:lnTo>
                    <a:pt x="500594" y="915688"/>
                  </a:lnTo>
                  <a:lnTo>
                    <a:pt x="498249" y="913795"/>
                  </a:lnTo>
                  <a:lnTo>
                    <a:pt x="497497" y="913555"/>
                  </a:lnTo>
                  <a:lnTo>
                    <a:pt x="498344" y="911575"/>
                  </a:lnTo>
                  <a:lnTo>
                    <a:pt x="498821" y="909946"/>
                  </a:lnTo>
                  <a:lnTo>
                    <a:pt x="498895" y="906439"/>
                  </a:lnTo>
                  <a:lnTo>
                    <a:pt x="497950" y="904983"/>
                  </a:lnTo>
                  <a:lnTo>
                    <a:pt x="500050" y="901984"/>
                  </a:lnTo>
                  <a:lnTo>
                    <a:pt x="502875" y="898697"/>
                  </a:lnTo>
                  <a:lnTo>
                    <a:pt x="509130" y="893812"/>
                  </a:lnTo>
                  <a:lnTo>
                    <a:pt x="502516" y="896167"/>
                  </a:lnTo>
                  <a:lnTo>
                    <a:pt x="497074" y="901293"/>
                  </a:lnTo>
                  <a:lnTo>
                    <a:pt x="495930" y="901526"/>
                  </a:lnTo>
                  <a:lnTo>
                    <a:pt x="495529" y="900599"/>
                  </a:lnTo>
                  <a:lnTo>
                    <a:pt x="493465" y="897271"/>
                  </a:lnTo>
                  <a:lnTo>
                    <a:pt x="491907" y="896362"/>
                  </a:lnTo>
                  <a:lnTo>
                    <a:pt x="491210" y="895359"/>
                  </a:lnTo>
                  <a:lnTo>
                    <a:pt x="488115" y="893582"/>
                  </a:lnTo>
                  <a:lnTo>
                    <a:pt x="486771" y="892210"/>
                  </a:lnTo>
                  <a:lnTo>
                    <a:pt x="484865" y="889562"/>
                  </a:lnTo>
                  <a:lnTo>
                    <a:pt x="482154" y="886407"/>
                  </a:lnTo>
                  <a:lnTo>
                    <a:pt x="478295" y="880166"/>
                  </a:lnTo>
                  <a:lnTo>
                    <a:pt x="472076" y="872958"/>
                  </a:lnTo>
                  <a:lnTo>
                    <a:pt x="470543" y="868896"/>
                  </a:lnTo>
                  <a:lnTo>
                    <a:pt x="472469" y="863731"/>
                  </a:lnTo>
                  <a:lnTo>
                    <a:pt x="470337" y="860159"/>
                  </a:lnTo>
                  <a:lnTo>
                    <a:pt x="476250" y="858504"/>
                  </a:lnTo>
                  <a:lnTo>
                    <a:pt x="484709" y="856645"/>
                  </a:lnTo>
                  <a:lnTo>
                    <a:pt x="489091" y="855100"/>
                  </a:lnTo>
                  <a:lnTo>
                    <a:pt x="491620" y="854637"/>
                  </a:lnTo>
                  <a:lnTo>
                    <a:pt x="496995" y="854353"/>
                  </a:lnTo>
                  <a:lnTo>
                    <a:pt x="498791" y="852799"/>
                  </a:lnTo>
                  <a:lnTo>
                    <a:pt x="495800" y="853192"/>
                  </a:lnTo>
                  <a:lnTo>
                    <a:pt x="493795" y="852989"/>
                  </a:lnTo>
                  <a:lnTo>
                    <a:pt x="493670" y="852265"/>
                  </a:lnTo>
                  <a:lnTo>
                    <a:pt x="494412" y="850972"/>
                  </a:lnTo>
                  <a:lnTo>
                    <a:pt x="494891" y="849304"/>
                  </a:lnTo>
                  <a:lnTo>
                    <a:pt x="493867" y="849606"/>
                  </a:lnTo>
                  <a:lnTo>
                    <a:pt x="488611" y="852477"/>
                  </a:lnTo>
                  <a:lnTo>
                    <a:pt x="480844" y="854754"/>
                  </a:lnTo>
                  <a:lnTo>
                    <a:pt x="474777" y="856026"/>
                  </a:lnTo>
                  <a:lnTo>
                    <a:pt x="473795" y="855958"/>
                  </a:lnTo>
                  <a:lnTo>
                    <a:pt x="471672" y="856726"/>
                  </a:lnTo>
                  <a:lnTo>
                    <a:pt x="470452" y="856947"/>
                  </a:lnTo>
                  <a:lnTo>
                    <a:pt x="469510" y="856730"/>
                  </a:lnTo>
                  <a:lnTo>
                    <a:pt x="467362" y="854552"/>
                  </a:lnTo>
                  <a:lnTo>
                    <a:pt x="466791" y="853124"/>
                  </a:lnTo>
                  <a:lnTo>
                    <a:pt x="470640" y="849256"/>
                  </a:lnTo>
                  <a:lnTo>
                    <a:pt x="473515" y="843963"/>
                  </a:lnTo>
                  <a:lnTo>
                    <a:pt x="477323" y="840494"/>
                  </a:lnTo>
                  <a:lnTo>
                    <a:pt x="480013" y="840059"/>
                  </a:lnTo>
                  <a:lnTo>
                    <a:pt x="484510" y="840245"/>
                  </a:lnTo>
                  <a:lnTo>
                    <a:pt x="486094" y="840552"/>
                  </a:lnTo>
                  <a:lnTo>
                    <a:pt x="485590" y="838490"/>
                  </a:lnTo>
                  <a:lnTo>
                    <a:pt x="485777" y="837496"/>
                  </a:lnTo>
                  <a:lnTo>
                    <a:pt x="489423" y="836300"/>
                  </a:lnTo>
                  <a:lnTo>
                    <a:pt x="493674" y="835765"/>
                  </a:lnTo>
                  <a:lnTo>
                    <a:pt x="496703" y="836143"/>
                  </a:lnTo>
                  <a:lnTo>
                    <a:pt x="498608" y="838564"/>
                  </a:lnTo>
                  <a:lnTo>
                    <a:pt x="501057" y="843025"/>
                  </a:lnTo>
                  <a:lnTo>
                    <a:pt x="504357" y="844529"/>
                  </a:lnTo>
                  <a:lnTo>
                    <a:pt x="504212" y="842388"/>
                  </a:lnTo>
                  <a:lnTo>
                    <a:pt x="502500" y="839627"/>
                  </a:lnTo>
                  <a:lnTo>
                    <a:pt x="501866" y="835386"/>
                  </a:lnTo>
                  <a:lnTo>
                    <a:pt x="499693" y="833595"/>
                  </a:lnTo>
                  <a:lnTo>
                    <a:pt x="497947" y="832711"/>
                  </a:lnTo>
                  <a:lnTo>
                    <a:pt x="493124" y="833143"/>
                  </a:lnTo>
                  <a:lnTo>
                    <a:pt x="490224" y="830035"/>
                  </a:lnTo>
                  <a:lnTo>
                    <a:pt x="489566" y="828893"/>
                  </a:lnTo>
                  <a:lnTo>
                    <a:pt x="489490" y="827375"/>
                  </a:lnTo>
                  <a:lnTo>
                    <a:pt x="486597" y="822911"/>
                  </a:lnTo>
                  <a:lnTo>
                    <a:pt x="485666" y="820677"/>
                  </a:lnTo>
                  <a:lnTo>
                    <a:pt x="484130" y="817696"/>
                  </a:lnTo>
                  <a:lnTo>
                    <a:pt x="483314" y="817537"/>
                  </a:lnTo>
                  <a:lnTo>
                    <a:pt x="484351" y="821288"/>
                  </a:lnTo>
                  <a:lnTo>
                    <a:pt x="485709" y="823923"/>
                  </a:lnTo>
                  <a:lnTo>
                    <a:pt x="487643" y="829705"/>
                  </a:lnTo>
                  <a:lnTo>
                    <a:pt x="488600" y="832030"/>
                  </a:lnTo>
                  <a:lnTo>
                    <a:pt x="487304" y="833871"/>
                  </a:lnTo>
                  <a:lnTo>
                    <a:pt x="484852" y="835691"/>
                  </a:lnTo>
                  <a:lnTo>
                    <a:pt x="482685" y="836776"/>
                  </a:lnTo>
                  <a:lnTo>
                    <a:pt x="477565" y="838074"/>
                  </a:lnTo>
                  <a:lnTo>
                    <a:pt x="478666" y="835243"/>
                  </a:lnTo>
                  <a:lnTo>
                    <a:pt x="479371" y="832455"/>
                  </a:lnTo>
                  <a:lnTo>
                    <a:pt x="476797" y="833443"/>
                  </a:lnTo>
                  <a:lnTo>
                    <a:pt x="474403" y="835464"/>
                  </a:lnTo>
                  <a:lnTo>
                    <a:pt x="473578" y="838266"/>
                  </a:lnTo>
                  <a:lnTo>
                    <a:pt x="472040" y="840808"/>
                  </a:lnTo>
                  <a:lnTo>
                    <a:pt x="467479" y="847025"/>
                  </a:lnTo>
                  <a:lnTo>
                    <a:pt x="465680" y="850472"/>
                  </a:lnTo>
                  <a:lnTo>
                    <a:pt x="463981" y="852171"/>
                  </a:lnTo>
                  <a:lnTo>
                    <a:pt x="462043" y="852640"/>
                  </a:lnTo>
                  <a:lnTo>
                    <a:pt x="460360" y="851292"/>
                  </a:lnTo>
                  <a:lnTo>
                    <a:pt x="458934" y="848124"/>
                  </a:lnTo>
                  <a:lnTo>
                    <a:pt x="458266" y="845644"/>
                  </a:lnTo>
                  <a:lnTo>
                    <a:pt x="458186" y="839194"/>
                  </a:lnTo>
                  <a:lnTo>
                    <a:pt x="458366" y="836179"/>
                  </a:lnTo>
                  <a:lnTo>
                    <a:pt x="457589" y="832109"/>
                  </a:lnTo>
                  <a:lnTo>
                    <a:pt x="455125" y="822598"/>
                  </a:lnTo>
                  <a:lnTo>
                    <a:pt x="454603" y="819202"/>
                  </a:lnTo>
                  <a:lnTo>
                    <a:pt x="450434" y="817393"/>
                  </a:lnTo>
                  <a:lnTo>
                    <a:pt x="450373" y="816809"/>
                  </a:lnTo>
                  <a:lnTo>
                    <a:pt x="449282" y="814871"/>
                  </a:lnTo>
                  <a:lnTo>
                    <a:pt x="448442" y="812930"/>
                  </a:lnTo>
                  <a:lnTo>
                    <a:pt x="449137" y="812219"/>
                  </a:lnTo>
                  <a:lnTo>
                    <a:pt x="450128" y="811705"/>
                  </a:lnTo>
                  <a:lnTo>
                    <a:pt x="456360" y="808838"/>
                  </a:lnTo>
                  <a:lnTo>
                    <a:pt x="460979" y="805622"/>
                  </a:lnTo>
                  <a:lnTo>
                    <a:pt x="466498" y="800568"/>
                  </a:lnTo>
                  <a:lnTo>
                    <a:pt x="468753" y="798995"/>
                  </a:lnTo>
                  <a:lnTo>
                    <a:pt x="476851" y="797782"/>
                  </a:lnTo>
                  <a:lnTo>
                    <a:pt x="480445" y="797617"/>
                  </a:lnTo>
                  <a:lnTo>
                    <a:pt x="480412" y="796716"/>
                  </a:lnTo>
                  <a:lnTo>
                    <a:pt x="479207" y="796356"/>
                  </a:lnTo>
                  <a:lnTo>
                    <a:pt x="473736" y="796593"/>
                  </a:lnTo>
                  <a:lnTo>
                    <a:pt x="466446" y="798620"/>
                  </a:lnTo>
                  <a:lnTo>
                    <a:pt x="465199" y="799350"/>
                  </a:lnTo>
                  <a:lnTo>
                    <a:pt x="462009" y="802498"/>
                  </a:lnTo>
                  <a:lnTo>
                    <a:pt x="459550" y="804216"/>
                  </a:lnTo>
                  <a:lnTo>
                    <a:pt x="452631" y="808136"/>
                  </a:lnTo>
                  <a:lnTo>
                    <a:pt x="448141" y="808134"/>
                  </a:lnTo>
                  <a:lnTo>
                    <a:pt x="443505" y="803441"/>
                  </a:lnTo>
                  <a:lnTo>
                    <a:pt x="438332" y="804341"/>
                  </a:lnTo>
                  <a:lnTo>
                    <a:pt x="434838" y="804031"/>
                  </a:lnTo>
                  <a:lnTo>
                    <a:pt x="433819" y="803324"/>
                  </a:lnTo>
                  <a:lnTo>
                    <a:pt x="433050" y="796895"/>
                  </a:lnTo>
                  <a:lnTo>
                    <a:pt x="435868" y="789368"/>
                  </a:lnTo>
                  <a:lnTo>
                    <a:pt x="432829" y="789298"/>
                  </a:lnTo>
                  <a:lnTo>
                    <a:pt x="432200" y="788993"/>
                  </a:lnTo>
                  <a:lnTo>
                    <a:pt x="430596" y="787274"/>
                  </a:lnTo>
                  <a:lnTo>
                    <a:pt x="429550" y="786763"/>
                  </a:lnTo>
                  <a:lnTo>
                    <a:pt x="430327" y="785850"/>
                  </a:lnTo>
                  <a:lnTo>
                    <a:pt x="437824" y="782272"/>
                  </a:lnTo>
                  <a:lnTo>
                    <a:pt x="449034" y="775233"/>
                  </a:lnTo>
                  <a:lnTo>
                    <a:pt x="453861" y="772461"/>
                  </a:lnTo>
                  <a:lnTo>
                    <a:pt x="456839" y="771264"/>
                  </a:lnTo>
                  <a:lnTo>
                    <a:pt x="459091" y="769891"/>
                  </a:lnTo>
                  <a:lnTo>
                    <a:pt x="461831" y="766914"/>
                  </a:lnTo>
                  <a:lnTo>
                    <a:pt x="462737" y="765610"/>
                  </a:lnTo>
                  <a:lnTo>
                    <a:pt x="464264" y="764558"/>
                  </a:lnTo>
                  <a:lnTo>
                    <a:pt x="467488" y="763372"/>
                  </a:lnTo>
                  <a:lnTo>
                    <a:pt x="471009" y="761577"/>
                  </a:lnTo>
                  <a:lnTo>
                    <a:pt x="476725" y="757525"/>
                  </a:lnTo>
                  <a:lnTo>
                    <a:pt x="477468" y="756026"/>
                  </a:lnTo>
                  <a:lnTo>
                    <a:pt x="476228" y="755676"/>
                  </a:lnTo>
                  <a:lnTo>
                    <a:pt x="473555" y="757059"/>
                  </a:lnTo>
                  <a:lnTo>
                    <a:pt x="468121" y="760762"/>
                  </a:lnTo>
                  <a:lnTo>
                    <a:pt x="464244" y="762844"/>
                  </a:lnTo>
                  <a:lnTo>
                    <a:pt x="451017" y="772128"/>
                  </a:lnTo>
                  <a:lnTo>
                    <a:pt x="445386" y="775498"/>
                  </a:lnTo>
                  <a:lnTo>
                    <a:pt x="442322" y="777645"/>
                  </a:lnTo>
                  <a:lnTo>
                    <a:pt x="439945" y="779694"/>
                  </a:lnTo>
                  <a:lnTo>
                    <a:pt x="437428" y="781152"/>
                  </a:lnTo>
                  <a:lnTo>
                    <a:pt x="434769" y="782021"/>
                  </a:lnTo>
                  <a:lnTo>
                    <a:pt x="429093" y="782673"/>
                  </a:lnTo>
                  <a:lnTo>
                    <a:pt x="426306" y="783429"/>
                  </a:lnTo>
                  <a:lnTo>
                    <a:pt x="424627" y="782874"/>
                  </a:lnTo>
                  <a:lnTo>
                    <a:pt x="423888" y="778503"/>
                  </a:lnTo>
                  <a:lnTo>
                    <a:pt x="424452" y="775909"/>
                  </a:lnTo>
                  <a:lnTo>
                    <a:pt x="424184" y="773345"/>
                  </a:lnTo>
                  <a:lnTo>
                    <a:pt x="425600" y="769670"/>
                  </a:lnTo>
                  <a:lnTo>
                    <a:pt x="427701" y="767063"/>
                  </a:lnTo>
                  <a:lnTo>
                    <a:pt x="428583" y="765646"/>
                  </a:lnTo>
                  <a:lnTo>
                    <a:pt x="428960" y="764670"/>
                  </a:lnTo>
                  <a:lnTo>
                    <a:pt x="433295" y="761970"/>
                  </a:lnTo>
                  <a:lnTo>
                    <a:pt x="435684" y="760770"/>
                  </a:lnTo>
                  <a:lnTo>
                    <a:pt x="437373" y="758060"/>
                  </a:lnTo>
                  <a:lnTo>
                    <a:pt x="446995" y="757097"/>
                  </a:lnTo>
                  <a:lnTo>
                    <a:pt x="449473" y="757193"/>
                  </a:lnTo>
                  <a:lnTo>
                    <a:pt x="450791" y="756830"/>
                  </a:lnTo>
                  <a:lnTo>
                    <a:pt x="451777" y="756041"/>
                  </a:lnTo>
                  <a:lnTo>
                    <a:pt x="450829" y="755431"/>
                  </a:lnTo>
                  <a:lnTo>
                    <a:pt x="447946" y="755002"/>
                  </a:lnTo>
                  <a:lnTo>
                    <a:pt x="440283" y="755084"/>
                  </a:lnTo>
                  <a:lnTo>
                    <a:pt x="433201" y="754619"/>
                  </a:lnTo>
                  <a:lnTo>
                    <a:pt x="429969" y="754152"/>
                  </a:lnTo>
                  <a:lnTo>
                    <a:pt x="428410" y="754422"/>
                  </a:lnTo>
                  <a:lnTo>
                    <a:pt x="425836" y="753630"/>
                  </a:lnTo>
                  <a:lnTo>
                    <a:pt x="423025" y="752121"/>
                  </a:lnTo>
                  <a:lnTo>
                    <a:pt x="418663" y="746560"/>
                  </a:lnTo>
                  <a:lnTo>
                    <a:pt x="420409" y="739398"/>
                  </a:lnTo>
                  <a:lnTo>
                    <a:pt x="420561" y="735973"/>
                  </a:lnTo>
                  <a:lnTo>
                    <a:pt x="426104" y="732965"/>
                  </a:lnTo>
                  <a:lnTo>
                    <a:pt x="429068" y="731968"/>
                  </a:lnTo>
                  <a:lnTo>
                    <a:pt x="433275" y="729698"/>
                  </a:lnTo>
                  <a:lnTo>
                    <a:pt x="438893" y="725840"/>
                  </a:lnTo>
                  <a:lnTo>
                    <a:pt x="445595" y="723480"/>
                  </a:lnTo>
                  <a:lnTo>
                    <a:pt x="449010" y="723043"/>
                  </a:lnTo>
                  <a:lnTo>
                    <a:pt x="451849" y="723381"/>
                  </a:lnTo>
                  <a:lnTo>
                    <a:pt x="462342" y="726728"/>
                  </a:lnTo>
                  <a:lnTo>
                    <a:pt x="467738" y="727382"/>
                  </a:lnTo>
                  <a:lnTo>
                    <a:pt x="472480" y="726577"/>
                  </a:lnTo>
                  <a:lnTo>
                    <a:pt x="478431" y="727755"/>
                  </a:lnTo>
                  <a:lnTo>
                    <a:pt x="488958" y="732563"/>
                  </a:lnTo>
                  <a:lnTo>
                    <a:pt x="490990" y="731846"/>
                  </a:lnTo>
                  <a:lnTo>
                    <a:pt x="490401" y="730682"/>
                  </a:lnTo>
                  <a:lnTo>
                    <a:pt x="478661" y="725600"/>
                  </a:lnTo>
                  <a:lnTo>
                    <a:pt x="478729" y="724080"/>
                  </a:lnTo>
                  <a:lnTo>
                    <a:pt x="481734" y="723682"/>
                  </a:lnTo>
                  <a:lnTo>
                    <a:pt x="484942" y="722201"/>
                  </a:lnTo>
                  <a:lnTo>
                    <a:pt x="483132" y="721327"/>
                  </a:lnTo>
                  <a:lnTo>
                    <a:pt x="475335" y="722086"/>
                  </a:lnTo>
                  <a:lnTo>
                    <a:pt x="473084" y="723300"/>
                  </a:lnTo>
                  <a:lnTo>
                    <a:pt x="465523" y="723929"/>
                  </a:lnTo>
                  <a:lnTo>
                    <a:pt x="461573" y="722896"/>
                  </a:lnTo>
                  <a:lnTo>
                    <a:pt x="458027" y="722384"/>
                  </a:lnTo>
                  <a:lnTo>
                    <a:pt x="452706" y="720181"/>
                  </a:lnTo>
                  <a:lnTo>
                    <a:pt x="448254" y="720900"/>
                  </a:lnTo>
                  <a:lnTo>
                    <a:pt x="445444" y="721769"/>
                  </a:lnTo>
                  <a:lnTo>
                    <a:pt x="440467" y="722591"/>
                  </a:lnTo>
                  <a:lnTo>
                    <a:pt x="438670" y="723176"/>
                  </a:lnTo>
                  <a:lnTo>
                    <a:pt x="428958" y="730090"/>
                  </a:lnTo>
                  <a:lnTo>
                    <a:pt x="424872" y="731524"/>
                  </a:lnTo>
                  <a:lnTo>
                    <a:pt x="421962" y="731052"/>
                  </a:lnTo>
                  <a:lnTo>
                    <a:pt x="424005" y="726557"/>
                  </a:lnTo>
                  <a:lnTo>
                    <a:pt x="424594" y="724780"/>
                  </a:lnTo>
                  <a:lnTo>
                    <a:pt x="424590" y="722842"/>
                  </a:lnTo>
                  <a:lnTo>
                    <a:pt x="425439" y="720185"/>
                  </a:lnTo>
                  <a:lnTo>
                    <a:pt x="430415" y="715116"/>
                  </a:lnTo>
                  <a:lnTo>
                    <a:pt x="433545" y="709549"/>
                  </a:lnTo>
                  <a:lnTo>
                    <a:pt x="434868" y="706088"/>
                  </a:lnTo>
                  <a:lnTo>
                    <a:pt x="437313" y="705701"/>
                  </a:lnTo>
                  <a:lnTo>
                    <a:pt x="440655" y="706211"/>
                  </a:lnTo>
                  <a:lnTo>
                    <a:pt x="450689" y="708456"/>
                  </a:lnTo>
                  <a:lnTo>
                    <a:pt x="459038" y="711127"/>
                  </a:lnTo>
                  <a:lnTo>
                    <a:pt x="465197" y="711840"/>
                  </a:lnTo>
                  <a:lnTo>
                    <a:pt x="469245" y="711914"/>
                  </a:lnTo>
                  <a:lnTo>
                    <a:pt x="470981" y="711063"/>
                  </a:lnTo>
                  <a:lnTo>
                    <a:pt x="472349" y="709583"/>
                  </a:lnTo>
                  <a:lnTo>
                    <a:pt x="472876" y="708556"/>
                  </a:lnTo>
                  <a:lnTo>
                    <a:pt x="473274" y="706453"/>
                  </a:lnTo>
                  <a:lnTo>
                    <a:pt x="473738" y="705706"/>
                  </a:lnTo>
                  <a:lnTo>
                    <a:pt x="475091" y="704788"/>
                  </a:lnTo>
                  <a:lnTo>
                    <a:pt x="477860" y="701591"/>
                  </a:lnTo>
                  <a:lnTo>
                    <a:pt x="478703" y="699309"/>
                  </a:lnTo>
                  <a:lnTo>
                    <a:pt x="477796" y="697980"/>
                  </a:lnTo>
                  <a:lnTo>
                    <a:pt x="475954" y="698116"/>
                  </a:lnTo>
                  <a:lnTo>
                    <a:pt x="472358" y="698991"/>
                  </a:lnTo>
                  <a:lnTo>
                    <a:pt x="471873" y="699355"/>
                  </a:lnTo>
                  <a:lnTo>
                    <a:pt x="471939" y="700067"/>
                  </a:lnTo>
                  <a:lnTo>
                    <a:pt x="468459" y="703597"/>
                  </a:lnTo>
                  <a:lnTo>
                    <a:pt x="464665" y="704408"/>
                  </a:lnTo>
                  <a:lnTo>
                    <a:pt x="455941" y="705591"/>
                  </a:lnTo>
                  <a:lnTo>
                    <a:pt x="451961" y="705675"/>
                  </a:lnTo>
                  <a:lnTo>
                    <a:pt x="444889" y="704037"/>
                  </a:lnTo>
                  <a:lnTo>
                    <a:pt x="443818" y="703394"/>
                  </a:lnTo>
                  <a:lnTo>
                    <a:pt x="443083" y="702190"/>
                  </a:lnTo>
                  <a:lnTo>
                    <a:pt x="434405" y="702463"/>
                  </a:lnTo>
                  <a:lnTo>
                    <a:pt x="431810" y="702825"/>
                  </a:lnTo>
                  <a:lnTo>
                    <a:pt x="429747" y="702668"/>
                  </a:lnTo>
                  <a:lnTo>
                    <a:pt x="430758" y="700574"/>
                  </a:lnTo>
                  <a:lnTo>
                    <a:pt x="433503" y="698245"/>
                  </a:lnTo>
                  <a:lnTo>
                    <a:pt x="437347" y="690652"/>
                  </a:lnTo>
                  <a:lnTo>
                    <a:pt x="440566" y="688704"/>
                  </a:lnTo>
                  <a:lnTo>
                    <a:pt x="446962" y="686886"/>
                  </a:lnTo>
                  <a:lnTo>
                    <a:pt x="453636" y="687180"/>
                  </a:lnTo>
                  <a:lnTo>
                    <a:pt x="465181" y="693061"/>
                  </a:lnTo>
                  <a:lnTo>
                    <a:pt x="468664" y="693574"/>
                  </a:lnTo>
                  <a:lnTo>
                    <a:pt x="471858" y="693100"/>
                  </a:lnTo>
                  <a:lnTo>
                    <a:pt x="479496" y="691131"/>
                  </a:lnTo>
                  <a:lnTo>
                    <a:pt x="480897" y="690333"/>
                  </a:lnTo>
                  <a:lnTo>
                    <a:pt x="483644" y="687890"/>
                  </a:lnTo>
                  <a:lnTo>
                    <a:pt x="486852" y="683705"/>
                  </a:lnTo>
                  <a:lnTo>
                    <a:pt x="486695" y="682712"/>
                  </a:lnTo>
                  <a:lnTo>
                    <a:pt x="481775" y="685053"/>
                  </a:lnTo>
                  <a:lnTo>
                    <a:pt x="479152" y="685684"/>
                  </a:lnTo>
                  <a:lnTo>
                    <a:pt x="476928" y="685684"/>
                  </a:lnTo>
                  <a:lnTo>
                    <a:pt x="478993" y="678018"/>
                  </a:lnTo>
                  <a:lnTo>
                    <a:pt x="479796" y="672124"/>
                  </a:lnTo>
                  <a:lnTo>
                    <a:pt x="480567" y="670658"/>
                  </a:lnTo>
                  <a:lnTo>
                    <a:pt x="487036" y="671102"/>
                  </a:lnTo>
                  <a:lnTo>
                    <a:pt x="495873" y="670303"/>
                  </a:lnTo>
                  <a:lnTo>
                    <a:pt x="497980" y="669013"/>
                  </a:lnTo>
                  <a:lnTo>
                    <a:pt x="497947" y="668440"/>
                  </a:lnTo>
                  <a:lnTo>
                    <a:pt x="494398" y="667655"/>
                  </a:lnTo>
                  <a:lnTo>
                    <a:pt x="492689" y="666008"/>
                  </a:lnTo>
                  <a:lnTo>
                    <a:pt x="489717" y="666528"/>
                  </a:lnTo>
                  <a:lnTo>
                    <a:pt x="485736" y="667627"/>
                  </a:lnTo>
                  <a:lnTo>
                    <a:pt x="480742" y="667501"/>
                  </a:lnTo>
                  <a:lnTo>
                    <a:pt x="481165" y="664958"/>
                  </a:lnTo>
                  <a:lnTo>
                    <a:pt x="484826" y="659614"/>
                  </a:lnTo>
                  <a:lnTo>
                    <a:pt x="485203" y="657173"/>
                  </a:lnTo>
                  <a:lnTo>
                    <a:pt x="486631" y="652285"/>
                  </a:lnTo>
                  <a:lnTo>
                    <a:pt x="486775" y="649772"/>
                  </a:lnTo>
                  <a:lnTo>
                    <a:pt x="488629" y="647324"/>
                  </a:lnTo>
                  <a:lnTo>
                    <a:pt x="494404" y="645578"/>
                  </a:lnTo>
                  <a:lnTo>
                    <a:pt x="496828" y="644534"/>
                  </a:lnTo>
                  <a:lnTo>
                    <a:pt x="496961" y="643392"/>
                  </a:lnTo>
                  <a:lnTo>
                    <a:pt x="493499" y="639031"/>
                  </a:lnTo>
                  <a:lnTo>
                    <a:pt x="494378" y="637826"/>
                  </a:lnTo>
                  <a:lnTo>
                    <a:pt x="497093" y="636726"/>
                  </a:lnTo>
                  <a:lnTo>
                    <a:pt x="498105" y="635923"/>
                  </a:lnTo>
                  <a:lnTo>
                    <a:pt x="497414" y="635420"/>
                  </a:lnTo>
                  <a:lnTo>
                    <a:pt x="494913" y="634937"/>
                  </a:lnTo>
                  <a:lnTo>
                    <a:pt x="491070" y="635903"/>
                  </a:lnTo>
                  <a:lnTo>
                    <a:pt x="486814" y="636367"/>
                  </a:lnTo>
                  <a:lnTo>
                    <a:pt x="483047" y="634916"/>
                  </a:lnTo>
                  <a:lnTo>
                    <a:pt x="480106" y="634222"/>
                  </a:lnTo>
                  <a:lnTo>
                    <a:pt x="478243" y="634440"/>
                  </a:lnTo>
                  <a:lnTo>
                    <a:pt x="473182" y="636921"/>
                  </a:lnTo>
                  <a:lnTo>
                    <a:pt x="471408" y="637002"/>
                  </a:lnTo>
                  <a:lnTo>
                    <a:pt x="469218" y="636314"/>
                  </a:lnTo>
                  <a:lnTo>
                    <a:pt x="454701" y="634162"/>
                  </a:lnTo>
                  <a:lnTo>
                    <a:pt x="452901" y="633402"/>
                  </a:lnTo>
                  <a:lnTo>
                    <a:pt x="447700" y="629676"/>
                  </a:lnTo>
                  <a:lnTo>
                    <a:pt x="443415" y="627213"/>
                  </a:lnTo>
                  <a:lnTo>
                    <a:pt x="437709" y="624518"/>
                  </a:lnTo>
                  <a:lnTo>
                    <a:pt x="430313" y="622471"/>
                  </a:lnTo>
                  <a:lnTo>
                    <a:pt x="421226" y="621068"/>
                  </a:lnTo>
                  <a:lnTo>
                    <a:pt x="415788" y="619746"/>
                  </a:lnTo>
                  <a:lnTo>
                    <a:pt x="413108" y="617881"/>
                  </a:lnTo>
                  <a:lnTo>
                    <a:pt x="408516" y="613773"/>
                  </a:lnTo>
                  <a:lnTo>
                    <a:pt x="405025" y="610340"/>
                  </a:lnTo>
                  <a:lnTo>
                    <a:pt x="404371" y="608640"/>
                  </a:lnTo>
                  <a:lnTo>
                    <a:pt x="406422" y="606539"/>
                  </a:lnTo>
                  <a:lnTo>
                    <a:pt x="408510" y="605028"/>
                  </a:lnTo>
                  <a:lnTo>
                    <a:pt x="412440" y="603785"/>
                  </a:lnTo>
                  <a:lnTo>
                    <a:pt x="419221" y="604196"/>
                  </a:lnTo>
                  <a:lnTo>
                    <a:pt x="422864" y="604751"/>
                  </a:lnTo>
                  <a:lnTo>
                    <a:pt x="426874" y="605937"/>
                  </a:lnTo>
                  <a:lnTo>
                    <a:pt x="429905" y="606160"/>
                  </a:lnTo>
                  <a:lnTo>
                    <a:pt x="436200" y="605825"/>
                  </a:lnTo>
                  <a:lnTo>
                    <a:pt x="442598" y="606580"/>
                  </a:lnTo>
                  <a:lnTo>
                    <a:pt x="446391" y="607410"/>
                  </a:lnTo>
                  <a:lnTo>
                    <a:pt x="451371" y="609142"/>
                  </a:lnTo>
                  <a:lnTo>
                    <a:pt x="465112" y="616491"/>
                  </a:lnTo>
                  <a:lnTo>
                    <a:pt x="470846" y="619037"/>
                  </a:lnTo>
                  <a:lnTo>
                    <a:pt x="473339" y="619343"/>
                  </a:lnTo>
                  <a:lnTo>
                    <a:pt x="483618" y="622061"/>
                  </a:lnTo>
                  <a:lnTo>
                    <a:pt x="485266" y="622010"/>
                  </a:lnTo>
                  <a:lnTo>
                    <a:pt x="489472" y="620736"/>
                  </a:lnTo>
                  <a:lnTo>
                    <a:pt x="489889" y="619910"/>
                  </a:lnTo>
                  <a:lnTo>
                    <a:pt x="488468" y="619095"/>
                  </a:lnTo>
                  <a:lnTo>
                    <a:pt x="483932" y="618462"/>
                  </a:lnTo>
                  <a:lnTo>
                    <a:pt x="478610" y="615456"/>
                  </a:lnTo>
                  <a:lnTo>
                    <a:pt x="475304" y="613069"/>
                  </a:lnTo>
                  <a:lnTo>
                    <a:pt x="474928" y="609111"/>
                  </a:lnTo>
                  <a:lnTo>
                    <a:pt x="475358" y="606890"/>
                  </a:lnTo>
                  <a:lnTo>
                    <a:pt x="476190" y="605880"/>
                  </a:lnTo>
                  <a:lnTo>
                    <a:pt x="476770" y="602475"/>
                  </a:lnTo>
                  <a:lnTo>
                    <a:pt x="473685" y="600447"/>
                  </a:lnTo>
                  <a:lnTo>
                    <a:pt x="471530" y="599807"/>
                  </a:lnTo>
                  <a:lnTo>
                    <a:pt x="465800" y="596848"/>
                  </a:lnTo>
                  <a:lnTo>
                    <a:pt x="465322" y="596113"/>
                  </a:lnTo>
                  <a:lnTo>
                    <a:pt x="468068" y="595766"/>
                  </a:lnTo>
                  <a:lnTo>
                    <a:pt x="470759" y="595969"/>
                  </a:lnTo>
                  <a:lnTo>
                    <a:pt x="476537" y="597469"/>
                  </a:lnTo>
                  <a:lnTo>
                    <a:pt x="479567" y="597676"/>
                  </a:lnTo>
                  <a:lnTo>
                    <a:pt x="481771" y="597089"/>
                  </a:lnTo>
                  <a:lnTo>
                    <a:pt x="482025" y="596482"/>
                  </a:lnTo>
                  <a:lnTo>
                    <a:pt x="478512" y="594779"/>
                  </a:lnTo>
                  <a:lnTo>
                    <a:pt x="474115" y="591721"/>
                  </a:lnTo>
                  <a:lnTo>
                    <a:pt x="464933" y="591273"/>
                  </a:lnTo>
                  <a:lnTo>
                    <a:pt x="458974" y="591617"/>
                  </a:lnTo>
                  <a:lnTo>
                    <a:pt x="455166" y="590566"/>
                  </a:lnTo>
                  <a:lnTo>
                    <a:pt x="451113" y="588859"/>
                  </a:lnTo>
                  <a:lnTo>
                    <a:pt x="448511" y="588423"/>
                  </a:lnTo>
                  <a:lnTo>
                    <a:pt x="443194" y="589494"/>
                  </a:lnTo>
                  <a:lnTo>
                    <a:pt x="440504" y="589629"/>
                  </a:lnTo>
                  <a:lnTo>
                    <a:pt x="438052" y="589253"/>
                  </a:lnTo>
                  <a:lnTo>
                    <a:pt x="435631" y="583857"/>
                  </a:lnTo>
                  <a:lnTo>
                    <a:pt x="436276" y="582236"/>
                  </a:lnTo>
                  <a:lnTo>
                    <a:pt x="438173" y="581535"/>
                  </a:lnTo>
                  <a:lnTo>
                    <a:pt x="439606" y="579789"/>
                  </a:lnTo>
                  <a:lnTo>
                    <a:pt x="440611" y="577962"/>
                  </a:lnTo>
                  <a:lnTo>
                    <a:pt x="443760" y="576173"/>
                  </a:lnTo>
                  <a:lnTo>
                    <a:pt x="461055" y="572184"/>
                  </a:lnTo>
                  <a:lnTo>
                    <a:pt x="465419" y="569212"/>
                  </a:lnTo>
                  <a:lnTo>
                    <a:pt x="465226" y="568754"/>
                  </a:lnTo>
                  <a:lnTo>
                    <a:pt x="462283" y="569306"/>
                  </a:lnTo>
                  <a:lnTo>
                    <a:pt x="458519" y="570646"/>
                  </a:lnTo>
                  <a:lnTo>
                    <a:pt x="456002" y="570921"/>
                  </a:lnTo>
                  <a:lnTo>
                    <a:pt x="445819" y="569190"/>
                  </a:lnTo>
                  <a:lnTo>
                    <a:pt x="444232" y="569584"/>
                  </a:lnTo>
                  <a:lnTo>
                    <a:pt x="440109" y="572070"/>
                  </a:lnTo>
                  <a:lnTo>
                    <a:pt x="434515" y="574767"/>
                  </a:lnTo>
                  <a:lnTo>
                    <a:pt x="431937" y="574604"/>
                  </a:lnTo>
                  <a:lnTo>
                    <a:pt x="428488" y="573007"/>
                  </a:lnTo>
                  <a:lnTo>
                    <a:pt x="427940" y="571871"/>
                  </a:lnTo>
                  <a:lnTo>
                    <a:pt x="427693" y="570504"/>
                  </a:lnTo>
                  <a:lnTo>
                    <a:pt x="431481" y="568631"/>
                  </a:lnTo>
                  <a:lnTo>
                    <a:pt x="432698" y="567637"/>
                  </a:lnTo>
                  <a:lnTo>
                    <a:pt x="435148" y="564968"/>
                  </a:lnTo>
                  <a:lnTo>
                    <a:pt x="435023" y="563644"/>
                  </a:lnTo>
                  <a:lnTo>
                    <a:pt x="430841" y="564370"/>
                  </a:lnTo>
                  <a:lnTo>
                    <a:pt x="430295" y="563142"/>
                  </a:lnTo>
                  <a:lnTo>
                    <a:pt x="430363" y="561034"/>
                  </a:lnTo>
                  <a:lnTo>
                    <a:pt x="429957" y="558363"/>
                  </a:lnTo>
                  <a:lnTo>
                    <a:pt x="428929" y="555724"/>
                  </a:lnTo>
                  <a:lnTo>
                    <a:pt x="425496" y="551663"/>
                  </a:lnTo>
                  <a:lnTo>
                    <a:pt x="424072" y="550617"/>
                  </a:lnTo>
                  <a:lnTo>
                    <a:pt x="422898" y="549113"/>
                  </a:lnTo>
                  <a:lnTo>
                    <a:pt x="420311" y="543600"/>
                  </a:lnTo>
                  <a:lnTo>
                    <a:pt x="421061" y="542219"/>
                  </a:lnTo>
                  <a:lnTo>
                    <a:pt x="423359" y="541171"/>
                  </a:lnTo>
                  <a:lnTo>
                    <a:pt x="423799" y="540688"/>
                  </a:lnTo>
                  <a:lnTo>
                    <a:pt x="418306" y="541557"/>
                  </a:lnTo>
                  <a:lnTo>
                    <a:pt x="417705" y="542511"/>
                  </a:lnTo>
                  <a:lnTo>
                    <a:pt x="418740" y="543917"/>
                  </a:lnTo>
                  <a:lnTo>
                    <a:pt x="419480" y="545790"/>
                  </a:lnTo>
                  <a:lnTo>
                    <a:pt x="419921" y="548128"/>
                  </a:lnTo>
                  <a:lnTo>
                    <a:pt x="420687" y="550173"/>
                  </a:lnTo>
                  <a:lnTo>
                    <a:pt x="422676" y="552408"/>
                  </a:lnTo>
                  <a:lnTo>
                    <a:pt x="424267" y="553587"/>
                  </a:lnTo>
                  <a:lnTo>
                    <a:pt x="426861" y="556692"/>
                  </a:lnTo>
                  <a:lnTo>
                    <a:pt x="427992" y="560101"/>
                  </a:lnTo>
                  <a:lnTo>
                    <a:pt x="427659" y="561895"/>
                  </a:lnTo>
                  <a:lnTo>
                    <a:pt x="425645" y="563720"/>
                  </a:lnTo>
                  <a:lnTo>
                    <a:pt x="422400" y="565687"/>
                  </a:lnTo>
                  <a:lnTo>
                    <a:pt x="421417" y="567314"/>
                  </a:lnTo>
                  <a:lnTo>
                    <a:pt x="420979" y="568934"/>
                  </a:lnTo>
                  <a:lnTo>
                    <a:pt x="418449" y="570430"/>
                  </a:lnTo>
                  <a:lnTo>
                    <a:pt x="416895" y="569870"/>
                  </a:lnTo>
                  <a:lnTo>
                    <a:pt x="415667" y="569780"/>
                  </a:lnTo>
                  <a:lnTo>
                    <a:pt x="417118" y="572448"/>
                  </a:lnTo>
                  <a:lnTo>
                    <a:pt x="418051" y="575176"/>
                  </a:lnTo>
                  <a:lnTo>
                    <a:pt x="416925" y="577908"/>
                  </a:lnTo>
                  <a:lnTo>
                    <a:pt x="413919" y="579559"/>
                  </a:lnTo>
                  <a:lnTo>
                    <a:pt x="412288" y="579608"/>
                  </a:lnTo>
                  <a:lnTo>
                    <a:pt x="409081" y="580944"/>
                  </a:lnTo>
                  <a:lnTo>
                    <a:pt x="400870" y="581646"/>
                  </a:lnTo>
                  <a:lnTo>
                    <a:pt x="398012" y="581318"/>
                  </a:lnTo>
                  <a:lnTo>
                    <a:pt x="392770" y="579962"/>
                  </a:lnTo>
                  <a:lnTo>
                    <a:pt x="386556" y="579222"/>
                  </a:lnTo>
                  <a:lnTo>
                    <a:pt x="384091" y="577386"/>
                  </a:lnTo>
                  <a:lnTo>
                    <a:pt x="380859" y="574049"/>
                  </a:lnTo>
                  <a:lnTo>
                    <a:pt x="379228" y="571054"/>
                  </a:lnTo>
                  <a:lnTo>
                    <a:pt x="379194" y="568401"/>
                  </a:lnTo>
                  <a:lnTo>
                    <a:pt x="380069" y="566469"/>
                  </a:lnTo>
                  <a:lnTo>
                    <a:pt x="381851" y="565252"/>
                  </a:lnTo>
                  <a:lnTo>
                    <a:pt x="383990" y="557460"/>
                  </a:lnTo>
                  <a:lnTo>
                    <a:pt x="387017" y="551140"/>
                  </a:lnTo>
                  <a:lnTo>
                    <a:pt x="394638" y="544604"/>
                  </a:lnTo>
                  <a:lnTo>
                    <a:pt x="396812" y="542235"/>
                  </a:lnTo>
                  <a:lnTo>
                    <a:pt x="397530" y="540960"/>
                  </a:lnTo>
                  <a:lnTo>
                    <a:pt x="397519" y="539991"/>
                  </a:lnTo>
                  <a:lnTo>
                    <a:pt x="396287" y="539376"/>
                  </a:lnTo>
                  <a:lnTo>
                    <a:pt x="386916" y="547460"/>
                  </a:lnTo>
                  <a:lnTo>
                    <a:pt x="381138" y="548318"/>
                  </a:lnTo>
                  <a:lnTo>
                    <a:pt x="379413" y="546505"/>
                  </a:lnTo>
                  <a:lnTo>
                    <a:pt x="379935" y="543274"/>
                  </a:lnTo>
                  <a:lnTo>
                    <a:pt x="380964" y="542524"/>
                  </a:lnTo>
                  <a:lnTo>
                    <a:pt x="385638" y="542830"/>
                  </a:lnTo>
                  <a:lnTo>
                    <a:pt x="387456" y="541031"/>
                  </a:lnTo>
                  <a:lnTo>
                    <a:pt x="384531" y="538306"/>
                  </a:lnTo>
                  <a:lnTo>
                    <a:pt x="381419" y="537592"/>
                  </a:lnTo>
                  <a:lnTo>
                    <a:pt x="380690" y="536906"/>
                  </a:lnTo>
                  <a:lnTo>
                    <a:pt x="383894" y="534829"/>
                  </a:lnTo>
                  <a:lnTo>
                    <a:pt x="391300" y="534982"/>
                  </a:lnTo>
                  <a:lnTo>
                    <a:pt x="392972" y="533529"/>
                  </a:lnTo>
                  <a:lnTo>
                    <a:pt x="395654" y="531960"/>
                  </a:lnTo>
                  <a:lnTo>
                    <a:pt x="398630" y="529047"/>
                  </a:lnTo>
                  <a:lnTo>
                    <a:pt x="399743" y="526593"/>
                  </a:lnTo>
                  <a:lnTo>
                    <a:pt x="399994" y="524484"/>
                  </a:lnTo>
                  <a:lnTo>
                    <a:pt x="399353" y="522781"/>
                  </a:lnTo>
                  <a:lnTo>
                    <a:pt x="399283" y="521071"/>
                  </a:lnTo>
                  <a:lnTo>
                    <a:pt x="399790" y="519356"/>
                  </a:lnTo>
                  <a:lnTo>
                    <a:pt x="399012" y="517459"/>
                  </a:lnTo>
                  <a:lnTo>
                    <a:pt x="396953" y="515383"/>
                  </a:lnTo>
                  <a:lnTo>
                    <a:pt x="392379" y="513345"/>
                  </a:lnTo>
                  <a:lnTo>
                    <a:pt x="391032" y="515644"/>
                  </a:lnTo>
                  <a:lnTo>
                    <a:pt x="389607" y="516589"/>
                  </a:lnTo>
                  <a:lnTo>
                    <a:pt x="387606" y="516801"/>
                  </a:lnTo>
                  <a:lnTo>
                    <a:pt x="385760" y="515834"/>
                  </a:lnTo>
                  <a:lnTo>
                    <a:pt x="383834" y="515486"/>
                  </a:lnTo>
                  <a:lnTo>
                    <a:pt x="381941" y="514621"/>
                  </a:lnTo>
                  <a:lnTo>
                    <a:pt x="379976" y="514347"/>
                  </a:lnTo>
                  <a:lnTo>
                    <a:pt x="379212" y="513650"/>
                  </a:lnTo>
                  <a:lnTo>
                    <a:pt x="378719" y="511700"/>
                  </a:lnTo>
                  <a:lnTo>
                    <a:pt x="378676" y="509216"/>
                  </a:lnTo>
                  <a:lnTo>
                    <a:pt x="380898" y="508055"/>
                  </a:lnTo>
                  <a:lnTo>
                    <a:pt x="383993" y="507139"/>
                  </a:lnTo>
                  <a:lnTo>
                    <a:pt x="386063" y="505401"/>
                  </a:lnTo>
                  <a:lnTo>
                    <a:pt x="387424" y="502882"/>
                  </a:lnTo>
                  <a:lnTo>
                    <a:pt x="387620" y="500129"/>
                  </a:lnTo>
                  <a:lnTo>
                    <a:pt x="386653" y="497140"/>
                  </a:lnTo>
                  <a:lnTo>
                    <a:pt x="384140" y="494449"/>
                  </a:lnTo>
                  <a:lnTo>
                    <a:pt x="379485" y="497067"/>
                  </a:lnTo>
                  <a:lnTo>
                    <a:pt x="377657" y="497709"/>
                  </a:lnTo>
                  <a:lnTo>
                    <a:pt x="377236" y="495837"/>
                  </a:lnTo>
                  <a:lnTo>
                    <a:pt x="376592" y="494449"/>
                  </a:lnTo>
                  <a:lnTo>
                    <a:pt x="374635" y="492566"/>
                  </a:lnTo>
                  <a:lnTo>
                    <a:pt x="372060" y="491191"/>
                  </a:lnTo>
                  <a:lnTo>
                    <a:pt x="369582" y="490279"/>
                  </a:lnTo>
                  <a:lnTo>
                    <a:pt x="369469" y="488885"/>
                  </a:lnTo>
                  <a:lnTo>
                    <a:pt x="370056" y="487314"/>
                  </a:lnTo>
                  <a:lnTo>
                    <a:pt x="371153" y="485479"/>
                  </a:lnTo>
                  <a:lnTo>
                    <a:pt x="372581" y="481651"/>
                  </a:lnTo>
                  <a:lnTo>
                    <a:pt x="374153" y="481992"/>
                  </a:lnTo>
                  <a:lnTo>
                    <a:pt x="375459" y="481644"/>
                  </a:lnTo>
                  <a:lnTo>
                    <a:pt x="374704" y="478475"/>
                  </a:lnTo>
                  <a:lnTo>
                    <a:pt x="373442" y="475808"/>
                  </a:lnTo>
                  <a:lnTo>
                    <a:pt x="371960" y="474291"/>
                  </a:lnTo>
                  <a:lnTo>
                    <a:pt x="371907" y="473630"/>
                  </a:lnTo>
                  <a:lnTo>
                    <a:pt x="371563" y="472857"/>
                  </a:lnTo>
                  <a:lnTo>
                    <a:pt x="370419" y="470982"/>
                  </a:lnTo>
                  <a:lnTo>
                    <a:pt x="369136" y="469609"/>
                  </a:lnTo>
                  <a:lnTo>
                    <a:pt x="366899" y="465713"/>
                  </a:lnTo>
                  <a:lnTo>
                    <a:pt x="365283" y="464226"/>
                  </a:lnTo>
                  <a:lnTo>
                    <a:pt x="363211" y="463455"/>
                  </a:lnTo>
                  <a:lnTo>
                    <a:pt x="360978" y="463413"/>
                  </a:lnTo>
                  <a:lnTo>
                    <a:pt x="357395" y="464437"/>
                  </a:lnTo>
                  <a:lnTo>
                    <a:pt x="350781" y="465622"/>
                  </a:lnTo>
                  <a:lnTo>
                    <a:pt x="345545" y="466185"/>
                  </a:lnTo>
                  <a:lnTo>
                    <a:pt x="344672" y="465878"/>
                  </a:lnTo>
                  <a:lnTo>
                    <a:pt x="347292" y="464397"/>
                  </a:lnTo>
                  <a:lnTo>
                    <a:pt x="351153" y="462854"/>
                  </a:lnTo>
                  <a:lnTo>
                    <a:pt x="356264" y="461807"/>
                  </a:lnTo>
                  <a:lnTo>
                    <a:pt x="357754" y="459236"/>
                  </a:lnTo>
                  <a:lnTo>
                    <a:pt x="357202" y="457008"/>
                  </a:lnTo>
                  <a:lnTo>
                    <a:pt x="357415" y="454895"/>
                  </a:lnTo>
                  <a:lnTo>
                    <a:pt x="356013" y="452666"/>
                  </a:lnTo>
                  <a:lnTo>
                    <a:pt x="357377" y="451430"/>
                  </a:lnTo>
                  <a:lnTo>
                    <a:pt x="362030" y="450185"/>
                  </a:lnTo>
                  <a:lnTo>
                    <a:pt x="364137" y="449993"/>
                  </a:lnTo>
                  <a:lnTo>
                    <a:pt x="366234" y="448405"/>
                  </a:lnTo>
                  <a:lnTo>
                    <a:pt x="360339" y="444575"/>
                  </a:lnTo>
                  <a:lnTo>
                    <a:pt x="354164" y="442060"/>
                  </a:lnTo>
                  <a:lnTo>
                    <a:pt x="352620" y="441038"/>
                  </a:lnTo>
                  <a:lnTo>
                    <a:pt x="351262" y="439352"/>
                  </a:lnTo>
                  <a:lnTo>
                    <a:pt x="350090" y="437003"/>
                  </a:lnTo>
                  <a:lnTo>
                    <a:pt x="348186" y="434649"/>
                  </a:lnTo>
                  <a:lnTo>
                    <a:pt x="345550" y="432290"/>
                  </a:lnTo>
                  <a:lnTo>
                    <a:pt x="341704" y="430008"/>
                  </a:lnTo>
                  <a:lnTo>
                    <a:pt x="331790" y="425828"/>
                  </a:lnTo>
                  <a:lnTo>
                    <a:pt x="328386" y="422940"/>
                  </a:lnTo>
                  <a:lnTo>
                    <a:pt x="325252" y="418512"/>
                  </a:lnTo>
                  <a:lnTo>
                    <a:pt x="323685" y="416621"/>
                  </a:lnTo>
                  <a:lnTo>
                    <a:pt x="322057" y="415219"/>
                  </a:lnTo>
                  <a:lnTo>
                    <a:pt x="315153" y="411931"/>
                  </a:lnTo>
                  <a:lnTo>
                    <a:pt x="314315" y="410478"/>
                  </a:lnTo>
                  <a:lnTo>
                    <a:pt x="321441" y="406600"/>
                  </a:lnTo>
                  <a:lnTo>
                    <a:pt x="322138" y="405051"/>
                  </a:lnTo>
                  <a:lnTo>
                    <a:pt x="319227" y="400329"/>
                  </a:lnTo>
                  <a:lnTo>
                    <a:pt x="316244" y="396867"/>
                  </a:lnTo>
                  <a:lnTo>
                    <a:pt x="312996" y="395637"/>
                  </a:lnTo>
                  <a:lnTo>
                    <a:pt x="308168" y="395004"/>
                  </a:lnTo>
                  <a:lnTo>
                    <a:pt x="303742" y="393462"/>
                  </a:lnTo>
                  <a:lnTo>
                    <a:pt x="299717" y="391018"/>
                  </a:lnTo>
                  <a:lnTo>
                    <a:pt x="295700" y="389226"/>
                  </a:lnTo>
                  <a:lnTo>
                    <a:pt x="289683" y="387523"/>
                  </a:lnTo>
                  <a:lnTo>
                    <a:pt x="279614" y="383131"/>
                  </a:lnTo>
                  <a:lnTo>
                    <a:pt x="264095" y="378419"/>
                  </a:lnTo>
                  <a:lnTo>
                    <a:pt x="257160" y="375659"/>
                  </a:lnTo>
                  <a:lnTo>
                    <a:pt x="253035" y="374652"/>
                  </a:lnTo>
                  <a:lnTo>
                    <a:pt x="247594" y="374394"/>
                  </a:lnTo>
                  <a:lnTo>
                    <a:pt x="237072" y="371811"/>
                  </a:lnTo>
                  <a:lnTo>
                    <a:pt x="228238" y="370985"/>
                  </a:lnTo>
                  <a:lnTo>
                    <a:pt x="222784" y="371363"/>
                  </a:lnTo>
                  <a:lnTo>
                    <a:pt x="221002" y="370936"/>
                  </a:lnTo>
                  <a:lnTo>
                    <a:pt x="216969" y="368307"/>
                  </a:lnTo>
                  <a:lnTo>
                    <a:pt x="210656" y="366801"/>
                  </a:lnTo>
                  <a:lnTo>
                    <a:pt x="207394" y="367377"/>
                  </a:lnTo>
                  <a:lnTo>
                    <a:pt x="203345" y="370190"/>
                  </a:lnTo>
                  <a:lnTo>
                    <a:pt x="198456" y="372960"/>
                  </a:lnTo>
                  <a:lnTo>
                    <a:pt x="195863" y="373333"/>
                  </a:lnTo>
                  <a:lnTo>
                    <a:pt x="191996" y="370800"/>
                  </a:lnTo>
                  <a:lnTo>
                    <a:pt x="190051" y="369028"/>
                  </a:lnTo>
                  <a:lnTo>
                    <a:pt x="188191" y="368426"/>
                  </a:lnTo>
                  <a:lnTo>
                    <a:pt x="186422" y="368997"/>
                  </a:lnTo>
                  <a:lnTo>
                    <a:pt x="182970" y="371321"/>
                  </a:lnTo>
                  <a:lnTo>
                    <a:pt x="179682" y="373000"/>
                  </a:lnTo>
                  <a:lnTo>
                    <a:pt x="174821" y="374992"/>
                  </a:lnTo>
                  <a:lnTo>
                    <a:pt x="170936" y="375948"/>
                  </a:lnTo>
                  <a:lnTo>
                    <a:pt x="165948" y="376181"/>
                  </a:lnTo>
                  <a:lnTo>
                    <a:pt x="164694" y="376901"/>
                  </a:lnTo>
                  <a:lnTo>
                    <a:pt x="162773" y="376934"/>
                  </a:lnTo>
                  <a:lnTo>
                    <a:pt x="160187" y="376279"/>
                  </a:lnTo>
                  <a:lnTo>
                    <a:pt x="157764" y="374983"/>
                  </a:lnTo>
                  <a:lnTo>
                    <a:pt x="155506" y="373042"/>
                  </a:lnTo>
                  <a:lnTo>
                    <a:pt x="153509" y="371994"/>
                  </a:lnTo>
                  <a:lnTo>
                    <a:pt x="151778" y="371840"/>
                  </a:lnTo>
                  <a:lnTo>
                    <a:pt x="147798" y="372846"/>
                  </a:lnTo>
                  <a:lnTo>
                    <a:pt x="142762" y="375799"/>
                  </a:lnTo>
                  <a:lnTo>
                    <a:pt x="140463" y="376510"/>
                  </a:lnTo>
                  <a:lnTo>
                    <a:pt x="138529" y="376201"/>
                  </a:lnTo>
                  <a:lnTo>
                    <a:pt x="136169" y="375281"/>
                  </a:lnTo>
                  <a:lnTo>
                    <a:pt x="131435" y="372926"/>
                  </a:lnTo>
                  <a:lnTo>
                    <a:pt x="128814" y="373151"/>
                  </a:lnTo>
                  <a:lnTo>
                    <a:pt x="126909" y="373976"/>
                  </a:lnTo>
                  <a:lnTo>
                    <a:pt x="127438" y="375932"/>
                  </a:lnTo>
                  <a:lnTo>
                    <a:pt x="131880" y="380560"/>
                  </a:lnTo>
                  <a:lnTo>
                    <a:pt x="135840" y="383852"/>
                  </a:lnTo>
                  <a:lnTo>
                    <a:pt x="132493" y="384242"/>
                  </a:lnTo>
                  <a:lnTo>
                    <a:pt x="103249" y="379787"/>
                  </a:lnTo>
                  <a:lnTo>
                    <a:pt x="99522" y="378709"/>
                  </a:lnTo>
                  <a:lnTo>
                    <a:pt x="94140" y="376008"/>
                  </a:lnTo>
                  <a:lnTo>
                    <a:pt x="89664" y="374350"/>
                  </a:lnTo>
                  <a:lnTo>
                    <a:pt x="82047" y="370053"/>
                  </a:lnTo>
                  <a:lnTo>
                    <a:pt x="76180" y="367723"/>
                  </a:lnTo>
                  <a:lnTo>
                    <a:pt x="74234" y="365901"/>
                  </a:lnTo>
                  <a:lnTo>
                    <a:pt x="73721" y="364645"/>
                  </a:lnTo>
                  <a:lnTo>
                    <a:pt x="75588" y="362945"/>
                  </a:lnTo>
                  <a:lnTo>
                    <a:pt x="87411" y="357203"/>
                  </a:lnTo>
                  <a:lnTo>
                    <a:pt x="91927" y="356043"/>
                  </a:lnTo>
                  <a:lnTo>
                    <a:pt x="101111" y="354656"/>
                  </a:lnTo>
                  <a:lnTo>
                    <a:pt x="103282" y="353786"/>
                  </a:lnTo>
                  <a:lnTo>
                    <a:pt x="104011" y="353096"/>
                  </a:lnTo>
                  <a:lnTo>
                    <a:pt x="101598" y="351849"/>
                  </a:lnTo>
                  <a:lnTo>
                    <a:pt x="89569" y="352294"/>
                  </a:lnTo>
                  <a:lnTo>
                    <a:pt x="78852" y="351459"/>
                  </a:lnTo>
                  <a:lnTo>
                    <a:pt x="69526" y="349163"/>
                  </a:lnTo>
                  <a:lnTo>
                    <a:pt x="67903" y="348401"/>
                  </a:lnTo>
                  <a:lnTo>
                    <a:pt x="66323" y="346998"/>
                  </a:lnTo>
                  <a:lnTo>
                    <a:pt x="64788" y="344949"/>
                  </a:lnTo>
                  <a:lnTo>
                    <a:pt x="65139" y="342653"/>
                  </a:lnTo>
                  <a:lnTo>
                    <a:pt x="67376" y="340111"/>
                  </a:lnTo>
                  <a:lnTo>
                    <a:pt x="68688" y="338365"/>
                  </a:lnTo>
                  <a:lnTo>
                    <a:pt x="69074" y="337416"/>
                  </a:lnTo>
                  <a:lnTo>
                    <a:pt x="57350" y="343674"/>
                  </a:lnTo>
                  <a:lnTo>
                    <a:pt x="52555" y="345859"/>
                  </a:lnTo>
                  <a:lnTo>
                    <a:pt x="48756" y="345191"/>
                  </a:lnTo>
                  <a:lnTo>
                    <a:pt x="46090" y="344155"/>
                  </a:lnTo>
                  <a:lnTo>
                    <a:pt x="44782" y="343002"/>
                  </a:lnTo>
                  <a:lnTo>
                    <a:pt x="44831" y="341732"/>
                  </a:lnTo>
                  <a:lnTo>
                    <a:pt x="45260" y="340804"/>
                  </a:lnTo>
                  <a:lnTo>
                    <a:pt x="46068" y="340224"/>
                  </a:lnTo>
                  <a:lnTo>
                    <a:pt x="39868" y="337630"/>
                  </a:lnTo>
                  <a:lnTo>
                    <a:pt x="37073" y="335593"/>
                  </a:lnTo>
                  <a:lnTo>
                    <a:pt x="36776" y="333488"/>
                  </a:lnTo>
                  <a:lnTo>
                    <a:pt x="38975" y="331315"/>
                  </a:lnTo>
                  <a:lnTo>
                    <a:pt x="41127" y="329736"/>
                  </a:lnTo>
                  <a:lnTo>
                    <a:pt x="43234" y="328751"/>
                  </a:lnTo>
                  <a:lnTo>
                    <a:pt x="48964" y="327891"/>
                  </a:lnTo>
                  <a:lnTo>
                    <a:pt x="69908" y="326248"/>
                  </a:lnTo>
                  <a:lnTo>
                    <a:pt x="84905" y="327823"/>
                  </a:lnTo>
                  <a:lnTo>
                    <a:pt x="90010" y="322600"/>
                  </a:lnTo>
                  <a:lnTo>
                    <a:pt x="93456" y="320931"/>
                  </a:lnTo>
                  <a:lnTo>
                    <a:pt x="103540" y="319191"/>
                  </a:lnTo>
                  <a:lnTo>
                    <a:pt x="119057" y="318953"/>
                  </a:lnTo>
                  <a:lnTo>
                    <a:pt x="130021" y="319914"/>
                  </a:lnTo>
                  <a:lnTo>
                    <a:pt x="135156" y="321142"/>
                  </a:lnTo>
                  <a:lnTo>
                    <a:pt x="142150" y="323849"/>
                  </a:lnTo>
                  <a:lnTo>
                    <a:pt x="142552" y="323032"/>
                  </a:lnTo>
                  <a:lnTo>
                    <a:pt x="140863" y="320589"/>
                  </a:lnTo>
                  <a:lnTo>
                    <a:pt x="140743" y="318559"/>
                  </a:lnTo>
                  <a:lnTo>
                    <a:pt x="143569" y="315025"/>
                  </a:lnTo>
                  <a:lnTo>
                    <a:pt x="144870" y="312805"/>
                  </a:lnTo>
                  <a:lnTo>
                    <a:pt x="143986" y="310489"/>
                  </a:lnTo>
                  <a:lnTo>
                    <a:pt x="140914" y="308073"/>
                  </a:lnTo>
                  <a:lnTo>
                    <a:pt x="135478" y="304974"/>
                  </a:lnTo>
                  <a:lnTo>
                    <a:pt x="132552" y="304718"/>
                  </a:lnTo>
                  <a:lnTo>
                    <a:pt x="129298" y="305464"/>
                  </a:lnTo>
                  <a:lnTo>
                    <a:pt x="125391" y="307182"/>
                  </a:lnTo>
                  <a:lnTo>
                    <a:pt x="117270" y="311506"/>
                  </a:lnTo>
                  <a:lnTo>
                    <a:pt x="113435" y="312409"/>
                  </a:lnTo>
                  <a:lnTo>
                    <a:pt x="107039" y="312639"/>
                  </a:lnTo>
                  <a:lnTo>
                    <a:pt x="103501" y="312093"/>
                  </a:lnTo>
                  <a:lnTo>
                    <a:pt x="100083" y="311447"/>
                  </a:lnTo>
                  <a:lnTo>
                    <a:pt x="94741" y="309154"/>
                  </a:lnTo>
                  <a:lnTo>
                    <a:pt x="92794" y="308725"/>
                  </a:lnTo>
                  <a:lnTo>
                    <a:pt x="90435" y="309731"/>
                  </a:lnTo>
                  <a:lnTo>
                    <a:pt x="87661" y="312170"/>
                  </a:lnTo>
                  <a:lnTo>
                    <a:pt x="84988" y="313876"/>
                  </a:lnTo>
                  <a:lnTo>
                    <a:pt x="82415" y="314851"/>
                  </a:lnTo>
                  <a:lnTo>
                    <a:pt x="80010" y="315274"/>
                  </a:lnTo>
                  <a:lnTo>
                    <a:pt x="76656" y="315076"/>
                  </a:lnTo>
                  <a:lnTo>
                    <a:pt x="62827" y="311283"/>
                  </a:lnTo>
                  <a:lnTo>
                    <a:pt x="59700" y="309592"/>
                  </a:lnTo>
                  <a:lnTo>
                    <a:pt x="59519" y="307027"/>
                  </a:lnTo>
                  <a:lnTo>
                    <a:pt x="55275" y="304540"/>
                  </a:lnTo>
                  <a:lnTo>
                    <a:pt x="50474" y="304105"/>
                  </a:lnTo>
                  <a:lnTo>
                    <a:pt x="49888" y="303270"/>
                  </a:lnTo>
                  <a:lnTo>
                    <a:pt x="55975" y="299427"/>
                  </a:lnTo>
                  <a:lnTo>
                    <a:pt x="60511" y="297852"/>
                  </a:lnTo>
                  <a:lnTo>
                    <a:pt x="59782" y="297379"/>
                  </a:lnTo>
                  <a:lnTo>
                    <a:pt x="53194" y="297295"/>
                  </a:lnTo>
                  <a:lnTo>
                    <a:pt x="48747" y="299343"/>
                  </a:lnTo>
                  <a:lnTo>
                    <a:pt x="46200" y="299689"/>
                  </a:lnTo>
                  <a:lnTo>
                    <a:pt x="40342" y="299744"/>
                  </a:lnTo>
                  <a:lnTo>
                    <a:pt x="34195" y="298720"/>
                  </a:lnTo>
                  <a:lnTo>
                    <a:pt x="31581" y="297822"/>
                  </a:lnTo>
                  <a:lnTo>
                    <a:pt x="28871" y="295761"/>
                  </a:lnTo>
                  <a:lnTo>
                    <a:pt x="25831" y="294599"/>
                  </a:lnTo>
                  <a:lnTo>
                    <a:pt x="16653" y="292836"/>
                  </a:lnTo>
                  <a:lnTo>
                    <a:pt x="14583" y="291877"/>
                  </a:lnTo>
                  <a:lnTo>
                    <a:pt x="12621" y="290280"/>
                  </a:lnTo>
                  <a:lnTo>
                    <a:pt x="5124" y="285752"/>
                  </a:lnTo>
                  <a:lnTo>
                    <a:pt x="587" y="282415"/>
                  </a:lnTo>
                  <a:lnTo>
                    <a:pt x="0" y="280524"/>
                  </a:lnTo>
                  <a:lnTo>
                    <a:pt x="5235" y="276452"/>
                  </a:lnTo>
                  <a:lnTo>
                    <a:pt x="5464" y="275508"/>
                  </a:lnTo>
                  <a:lnTo>
                    <a:pt x="3220" y="273748"/>
                  </a:lnTo>
                  <a:lnTo>
                    <a:pt x="2283" y="272447"/>
                  </a:lnTo>
                  <a:lnTo>
                    <a:pt x="3059" y="270650"/>
                  </a:lnTo>
                  <a:lnTo>
                    <a:pt x="7641" y="266667"/>
                  </a:lnTo>
                  <a:lnTo>
                    <a:pt x="9341" y="265588"/>
                  </a:lnTo>
                  <a:lnTo>
                    <a:pt x="17565" y="263243"/>
                  </a:lnTo>
                  <a:lnTo>
                    <a:pt x="25799" y="259831"/>
                  </a:lnTo>
                  <a:lnTo>
                    <a:pt x="28800" y="259063"/>
                  </a:lnTo>
                  <a:lnTo>
                    <a:pt x="31472" y="258885"/>
                  </a:lnTo>
                  <a:lnTo>
                    <a:pt x="42285" y="259087"/>
                  </a:lnTo>
                  <a:lnTo>
                    <a:pt x="45638" y="258245"/>
                  </a:lnTo>
                  <a:lnTo>
                    <a:pt x="48484" y="256576"/>
                  </a:lnTo>
                  <a:lnTo>
                    <a:pt x="53154" y="254885"/>
                  </a:lnTo>
                  <a:lnTo>
                    <a:pt x="62898" y="252314"/>
                  </a:lnTo>
                  <a:lnTo>
                    <a:pt x="84570" y="248423"/>
                  </a:lnTo>
                  <a:lnTo>
                    <a:pt x="85981" y="247965"/>
                  </a:lnTo>
                  <a:lnTo>
                    <a:pt x="86108" y="247226"/>
                  </a:lnTo>
                  <a:lnTo>
                    <a:pt x="84161" y="245215"/>
                  </a:lnTo>
                  <a:lnTo>
                    <a:pt x="83751" y="244244"/>
                  </a:lnTo>
                  <a:lnTo>
                    <a:pt x="88188" y="242438"/>
                  </a:lnTo>
                  <a:lnTo>
                    <a:pt x="98200" y="239588"/>
                  </a:lnTo>
                  <a:lnTo>
                    <a:pt x="105044" y="238214"/>
                  </a:lnTo>
                  <a:lnTo>
                    <a:pt x="109448" y="238113"/>
                  </a:lnTo>
                  <a:lnTo>
                    <a:pt x="112999" y="237499"/>
                  </a:lnTo>
                  <a:lnTo>
                    <a:pt x="117987" y="235703"/>
                  </a:lnTo>
                  <a:lnTo>
                    <a:pt x="120810" y="235386"/>
                  </a:lnTo>
                  <a:lnTo>
                    <a:pt x="137854" y="234679"/>
                  </a:lnTo>
                  <a:lnTo>
                    <a:pt x="145393" y="235657"/>
                  </a:lnTo>
                  <a:lnTo>
                    <a:pt x="149096" y="235638"/>
                  </a:lnTo>
                  <a:lnTo>
                    <a:pt x="151472" y="234941"/>
                  </a:lnTo>
                  <a:lnTo>
                    <a:pt x="154619" y="232904"/>
                  </a:lnTo>
                  <a:lnTo>
                    <a:pt x="160496" y="227834"/>
                  </a:lnTo>
                  <a:lnTo>
                    <a:pt x="163590" y="224680"/>
                  </a:lnTo>
                  <a:lnTo>
                    <a:pt x="166510" y="219867"/>
                  </a:lnTo>
                  <a:lnTo>
                    <a:pt x="170288" y="212320"/>
                  </a:lnTo>
                  <a:lnTo>
                    <a:pt x="173111" y="204928"/>
                  </a:lnTo>
                  <a:lnTo>
                    <a:pt x="174983" y="197690"/>
                  </a:lnTo>
                  <a:lnTo>
                    <a:pt x="176435" y="193264"/>
                  </a:lnTo>
                  <a:lnTo>
                    <a:pt x="177467" y="191678"/>
                  </a:lnTo>
                  <a:lnTo>
                    <a:pt x="181002" y="189662"/>
                  </a:lnTo>
                  <a:lnTo>
                    <a:pt x="184688" y="188091"/>
                  </a:lnTo>
                  <a:lnTo>
                    <a:pt x="191024" y="186696"/>
                  </a:lnTo>
                  <a:lnTo>
                    <a:pt x="190447" y="186046"/>
                  </a:lnTo>
                  <a:lnTo>
                    <a:pt x="187760" y="184959"/>
                  </a:lnTo>
                  <a:lnTo>
                    <a:pt x="185258" y="184541"/>
                  </a:lnTo>
                  <a:lnTo>
                    <a:pt x="182943" y="184790"/>
                  </a:lnTo>
                  <a:lnTo>
                    <a:pt x="178728" y="186434"/>
                  </a:lnTo>
                  <a:lnTo>
                    <a:pt x="173267" y="187545"/>
                  </a:lnTo>
                  <a:lnTo>
                    <a:pt x="167962" y="187370"/>
                  </a:lnTo>
                  <a:lnTo>
                    <a:pt x="164141" y="187785"/>
                  </a:lnTo>
                  <a:lnTo>
                    <a:pt x="160636" y="189287"/>
                  </a:lnTo>
                  <a:lnTo>
                    <a:pt x="154953" y="190495"/>
                  </a:lnTo>
                  <a:lnTo>
                    <a:pt x="151161" y="190222"/>
                  </a:lnTo>
                  <a:lnTo>
                    <a:pt x="144316" y="188061"/>
                  </a:lnTo>
                  <a:lnTo>
                    <a:pt x="140862" y="187656"/>
                  </a:lnTo>
                  <a:lnTo>
                    <a:pt x="132107" y="187861"/>
                  </a:lnTo>
                  <a:lnTo>
                    <a:pt x="129546" y="187061"/>
                  </a:lnTo>
                  <a:lnTo>
                    <a:pt x="127308" y="185487"/>
                  </a:lnTo>
                  <a:lnTo>
                    <a:pt x="125525" y="183294"/>
                  </a:lnTo>
                  <a:lnTo>
                    <a:pt x="124195" y="180468"/>
                  </a:lnTo>
                  <a:lnTo>
                    <a:pt x="124378" y="177526"/>
                  </a:lnTo>
                  <a:lnTo>
                    <a:pt x="127530" y="172206"/>
                  </a:lnTo>
                  <a:lnTo>
                    <a:pt x="128740" y="170754"/>
                  </a:lnTo>
                  <a:lnTo>
                    <a:pt x="137272" y="164792"/>
                  </a:lnTo>
                  <a:lnTo>
                    <a:pt x="142529" y="161994"/>
                  </a:lnTo>
                  <a:lnTo>
                    <a:pt x="147761" y="159898"/>
                  </a:lnTo>
                  <a:lnTo>
                    <a:pt x="151574" y="158667"/>
                  </a:lnTo>
                  <a:lnTo>
                    <a:pt x="155163" y="158114"/>
                  </a:lnTo>
                  <a:lnTo>
                    <a:pt x="158607" y="156811"/>
                  </a:lnTo>
                  <a:lnTo>
                    <a:pt x="164953" y="152615"/>
                  </a:lnTo>
                  <a:lnTo>
                    <a:pt x="171499" y="149010"/>
                  </a:lnTo>
                  <a:lnTo>
                    <a:pt x="179644" y="142295"/>
                  </a:lnTo>
                  <a:lnTo>
                    <a:pt x="183586" y="140531"/>
                  </a:lnTo>
                  <a:lnTo>
                    <a:pt x="197384" y="137597"/>
                  </a:lnTo>
                  <a:lnTo>
                    <a:pt x="201134" y="137551"/>
                  </a:lnTo>
                  <a:lnTo>
                    <a:pt x="204317" y="138283"/>
                  </a:lnTo>
                  <a:lnTo>
                    <a:pt x="207331" y="139810"/>
                  </a:lnTo>
                  <a:lnTo>
                    <a:pt x="215802" y="146462"/>
                  </a:lnTo>
                  <a:lnTo>
                    <a:pt x="216464" y="146257"/>
                  </a:lnTo>
                  <a:lnTo>
                    <a:pt x="214987" y="143743"/>
                  </a:lnTo>
                  <a:lnTo>
                    <a:pt x="211897" y="136197"/>
                  </a:lnTo>
                  <a:lnTo>
                    <a:pt x="212399" y="133083"/>
                  </a:lnTo>
                  <a:lnTo>
                    <a:pt x="217247" y="129748"/>
                  </a:lnTo>
                  <a:lnTo>
                    <a:pt x="219235" y="129154"/>
                  </a:lnTo>
                  <a:lnTo>
                    <a:pt x="224353" y="129376"/>
                  </a:lnTo>
                  <a:lnTo>
                    <a:pt x="232601" y="130406"/>
                  </a:lnTo>
                  <a:lnTo>
                    <a:pt x="238117" y="131536"/>
                  </a:lnTo>
                  <a:lnTo>
                    <a:pt x="242298" y="133370"/>
                  </a:lnTo>
                  <a:lnTo>
                    <a:pt x="247268" y="134510"/>
                  </a:lnTo>
                  <a:lnTo>
                    <a:pt x="249844" y="134454"/>
                  </a:lnTo>
                  <a:lnTo>
                    <a:pt x="251682" y="133579"/>
                  </a:lnTo>
                  <a:lnTo>
                    <a:pt x="254313" y="130715"/>
                  </a:lnTo>
                  <a:lnTo>
                    <a:pt x="257739" y="125850"/>
                  </a:lnTo>
                  <a:lnTo>
                    <a:pt x="259111" y="119838"/>
                  </a:lnTo>
                  <a:lnTo>
                    <a:pt x="258431" y="112665"/>
                  </a:lnTo>
                  <a:lnTo>
                    <a:pt x="257431" y="107403"/>
                  </a:lnTo>
                  <a:lnTo>
                    <a:pt x="256111" y="104082"/>
                  </a:lnTo>
                  <a:lnTo>
                    <a:pt x="256835" y="101306"/>
                  </a:lnTo>
                  <a:lnTo>
                    <a:pt x="260990" y="97973"/>
                  </a:lnTo>
                  <a:lnTo>
                    <a:pt x="264797" y="95534"/>
                  </a:lnTo>
                  <a:lnTo>
                    <a:pt x="273874" y="92078"/>
                  </a:lnTo>
                  <a:lnTo>
                    <a:pt x="281235" y="91160"/>
                  </a:lnTo>
                  <a:lnTo>
                    <a:pt x="285603" y="91392"/>
                  </a:lnTo>
                  <a:lnTo>
                    <a:pt x="291344" y="93014"/>
                  </a:lnTo>
                  <a:lnTo>
                    <a:pt x="299312" y="94006"/>
                  </a:lnTo>
                  <a:lnTo>
                    <a:pt x="306502" y="97141"/>
                  </a:lnTo>
                  <a:lnTo>
                    <a:pt x="318155" y="104322"/>
                  </a:lnTo>
                  <a:lnTo>
                    <a:pt x="325891" y="107915"/>
                  </a:lnTo>
                  <a:lnTo>
                    <a:pt x="332295" y="109526"/>
                  </a:lnTo>
                  <a:lnTo>
                    <a:pt x="338607" y="112265"/>
                  </a:lnTo>
                  <a:lnTo>
                    <a:pt x="347939" y="118059"/>
                  </a:lnTo>
                  <a:lnTo>
                    <a:pt x="352821" y="120541"/>
                  </a:lnTo>
                  <a:lnTo>
                    <a:pt x="355726" y="121439"/>
                  </a:lnTo>
                  <a:lnTo>
                    <a:pt x="358281" y="121582"/>
                  </a:lnTo>
                  <a:lnTo>
                    <a:pt x="357330" y="119933"/>
                  </a:lnTo>
                  <a:lnTo>
                    <a:pt x="352874" y="116479"/>
                  </a:lnTo>
                  <a:lnTo>
                    <a:pt x="346047" y="112672"/>
                  </a:lnTo>
                  <a:lnTo>
                    <a:pt x="330909" y="105808"/>
                  </a:lnTo>
                  <a:lnTo>
                    <a:pt x="322571" y="100946"/>
                  </a:lnTo>
                  <a:lnTo>
                    <a:pt x="315094" y="95383"/>
                  </a:lnTo>
                  <a:lnTo>
                    <a:pt x="309599" y="92065"/>
                  </a:lnTo>
                  <a:lnTo>
                    <a:pt x="299620" y="88769"/>
                  </a:lnTo>
                  <a:lnTo>
                    <a:pt x="299757" y="87454"/>
                  </a:lnTo>
                  <a:lnTo>
                    <a:pt x="311796" y="82821"/>
                  </a:lnTo>
                  <a:lnTo>
                    <a:pt x="333919" y="78777"/>
                  </a:lnTo>
                  <a:lnTo>
                    <a:pt x="358851" y="75608"/>
                  </a:lnTo>
                  <a:lnTo>
                    <a:pt x="367196" y="75932"/>
                  </a:lnTo>
                  <a:lnTo>
                    <a:pt x="381863" y="74605"/>
                  </a:lnTo>
                  <a:lnTo>
                    <a:pt x="383243" y="72603"/>
                  </a:lnTo>
                  <a:lnTo>
                    <a:pt x="386397" y="71701"/>
                  </a:lnTo>
                  <a:lnTo>
                    <a:pt x="400056" y="68900"/>
                  </a:lnTo>
                  <a:lnTo>
                    <a:pt x="403970" y="68939"/>
                  </a:lnTo>
                  <a:lnTo>
                    <a:pt x="409981" y="70268"/>
                  </a:lnTo>
                  <a:lnTo>
                    <a:pt x="416388" y="72798"/>
                  </a:lnTo>
                  <a:lnTo>
                    <a:pt x="419352" y="75085"/>
                  </a:lnTo>
                  <a:lnTo>
                    <a:pt x="423374" y="79006"/>
                  </a:lnTo>
                  <a:lnTo>
                    <a:pt x="425349" y="84511"/>
                  </a:lnTo>
                  <a:lnTo>
                    <a:pt x="425051" y="101775"/>
                  </a:lnTo>
                  <a:lnTo>
                    <a:pt x="425156" y="105021"/>
                  </a:lnTo>
                  <a:lnTo>
                    <a:pt x="425932" y="106271"/>
                  </a:lnTo>
                  <a:lnTo>
                    <a:pt x="428708" y="104410"/>
                  </a:lnTo>
                  <a:lnTo>
                    <a:pt x="432028" y="100948"/>
                  </a:lnTo>
                  <a:lnTo>
                    <a:pt x="435012" y="98495"/>
                  </a:lnTo>
                  <a:lnTo>
                    <a:pt x="437308" y="94701"/>
                  </a:lnTo>
                  <a:lnTo>
                    <a:pt x="438916" y="89568"/>
                  </a:lnTo>
                  <a:lnTo>
                    <a:pt x="439866" y="85754"/>
                  </a:lnTo>
                  <a:lnTo>
                    <a:pt x="435965" y="81431"/>
                  </a:lnTo>
                  <a:lnTo>
                    <a:pt x="435770" y="74310"/>
                  </a:lnTo>
                  <a:lnTo>
                    <a:pt x="437720" y="70503"/>
                  </a:lnTo>
                  <a:lnTo>
                    <a:pt x="443181" y="70503"/>
                  </a:lnTo>
                  <a:lnTo>
                    <a:pt x="465771" y="83617"/>
                  </a:lnTo>
                  <a:lnTo>
                    <a:pt x="474663" y="86437"/>
                  </a:lnTo>
                  <a:lnTo>
                    <a:pt x="484778" y="93409"/>
                  </a:lnTo>
                  <a:lnTo>
                    <a:pt x="496594" y="92669"/>
                  </a:lnTo>
                  <a:lnTo>
                    <a:pt x="507496" y="93526"/>
                  </a:lnTo>
                  <a:lnTo>
                    <a:pt x="512321" y="93271"/>
                  </a:lnTo>
                  <a:lnTo>
                    <a:pt x="514704" y="92190"/>
                  </a:lnTo>
                  <a:lnTo>
                    <a:pt x="511315" y="89301"/>
                  </a:lnTo>
                  <a:lnTo>
                    <a:pt x="495825" y="81337"/>
                  </a:lnTo>
                  <a:lnTo>
                    <a:pt x="488787" y="75058"/>
                  </a:lnTo>
                  <a:lnTo>
                    <a:pt x="483869" y="67197"/>
                  </a:lnTo>
                  <a:lnTo>
                    <a:pt x="482666" y="63002"/>
                  </a:lnTo>
                  <a:lnTo>
                    <a:pt x="486434" y="62247"/>
                  </a:lnTo>
                  <a:lnTo>
                    <a:pt x="503735" y="62337"/>
                  </a:lnTo>
                  <a:lnTo>
                    <a:pt x="529737" y="65972"/>
                  </a:lnTo>
                  <a:lnTo>
                    <a:pt x="562988" y="78491"/>
                  </a:lnTo>
                  <a:lnTo>
                    <a:pt x="579354" y="82612"/>
                  </a:lnTo>
                  <a:lnTo>
                    <a:pt x="608680" y="96949"/>
                  </a:lnTo>
                  <a:lnTo>
                    <a:pt x="617527" y="99105"/>
                  </a:lnTo>
                  <a:lnTo>
                    <a:pt x="621098" y="99555"/>
                  </a:lnTo>
                  <a:lnTo>
                    <a:pt x="623792" y="97794"/>
                  </a:lnTo>
                  <a:lnTo>
                    <a:pt x="625455" y="95878"/>
                  </a:lnTo>
                  <a:lnTo>
                    <a:pt x="625577" y="93323"/>
                  </a:lnTo>
                  <a:lnTo>
                    <a:pt x="624159" y="90126"/>
                  </a:lnTo>
                  <a:lnTo>
                    <a:pt x="623347" y="86424"/>
                  </a:lnTo>
                  <a:lnTo>
                    <a:pt x="623140" y="82210"/>
                  </a:lnTo>
                  <a:lnTo>
                    <a:pt x="625131" y="73834"/>
                  </a:lnTo>
                  <a:lnTo>
                    <a:pt x="629860" y="71094"/>
                  </a:lnTo>
                  <a:lnTo>
                    <a:pt x="631946" y="67991"/>
                  </a:lnTo>
                  <a:lnTo>
                    <a:pt x="630007" y="62374"/>
                  </a:lnTo>
                  <a:lnTo>
                    <a:pt x="624464" y="58519"/>
                  </a:lnTo>
                  <a:lnTo>
                    <a:pt x="602901" y="48549"/>
                  </a:lnTo>
                  <a:lnTo>
                    <a:pt x="602810" y="47356"/>
                  </a:lnTo>
                  <a:lnTo>
                    <a:pt x="607164" y="46045"/>
                  </a:lnTo>
                  <a:lnTo>
                    <a:pt x="613625" y="45277"/>
                  </a:lnTo>
                  <a:lnTo>
                    <a:pt x="667063" y="47661"/>
                  </a:lnTo>
                  <a:lnTo>
                    <a:pt x="676301" y="48536"/>
                  </a:lnTo>
                  <a:lnTo>
                    <a:pt x="680244" y="49394"/>
                  </a:lnTo>
                  <a:lnTo>
                    <a:pt x="681971" y="50524"/>
                  </a:lnTo>
                  <a:lnTo>
                    <a:pt x="684184" y="51007"/>
                  </a:lnTo>
                  <a:lnTo>
                    <a:pt x="695664" y="49659"/>
                  </a:lnTo>
                  <a:lnTo>
                    <a:pt x="695391" y="47193"/>
                  </a:lnTo>
                  <a:lnTo>
                    <a:pt x="693959" y="45625"/>
                  </a:lnTo>
                  <a:lnTo>
                    <a:pt x="631939" y="41332"/>
                  </a:lnTo>
                  <a:lnTo>
                    <a:pt x="620379" y="39860"/>
                  </a:lnTo>
                  <a:lnTo>
                    <a:pt x="614498" y="39747"/>
                  </a:lnTo>
                  <a:lnTo>
                    <a:pt x="608417" y="40876"/>
                  </a:lnTo>
                  <a:lnTo>
                    <a:pt x="595804" y="41437"/>
                  </a:lnTo>
                  <a:lnTo>
                    <a:pt x="589978" y="41219"/>
                  </a:lnTo>
                  <a:lnTo>
                    <a:pt x="582431" y="36094"/>
                  </a:lnTo>
                  <a:lnTo>
                    <a:pt x="589266" y="29909"/>
                  </a:lnTo>
                  <a:lnTo>
                    <a:pt x="595018" y="30050"/>
                  </a:lnTo>
                  <a:lnTo>
                    <a:pt x="605948" y="32463"/>
                  </a:lnTo>
                  <a:lnTo>
                    <a:pt x="612423" y="29090"/>
                  </a:lnTo>
                  <a:lnTo>
                    <a:pt x="622702" y="26298"/>
                  </a:lnTo>
                  <a:lnTo>
                    <a:pt x="632865" y="25311"/>
                  </a:lnTo>
                  <a:lnTo>
                    <a:pt x="655038" y="19291"/>
                  </a:lnTo>
                  <a:lnTo>
                    <a:pt x="659135" y="18763"/>
                  </a:lnTo>
                  <a:lnTo>
                    <a:pt x="664304" y="19087"/>
                  </a:lnTo>
                  <a:lnTo>
                    <a:pt x="675714" y="20580"/>
                  </a:lnTo>
                  <a:lnTo>
                    <a:pt x="680245" y="22070"/>
                  </a:lnTo>
                  <a:lnTo>
                    <a:pt x="685437" y="25260"/>
                  </a:lnTo>
                  <a:lnTo>
                    <a:pt x="688451" y="26243"/>
                  </a:lnTo>
                  <a:lnTo>
                    <a:pt x="692023" y="26425"/>
                  </a:lnTo>
                  <a:lnTo>
                    <a:pt x="696927" y="27864"/>
                  </a:lnTo>
                  <a:lnTo>
                    <a:pt x="704020" y="23199"/>
                  </a:lnTo>
                  <a:lnTo>
                    <a:pt x="710431" y="18173"/>
                  </a:lnTo>
                  <a:lnTo>
                    <a:pt x="717786" y="14995"/>
                  </a:lnTo>
                  <a:lnTo>
                    <a:pt x="728190" y="16850"/>
                  </a:lnTo>
                  <a:lnTo>
                    <a:pt x="734777" y="19266"/>
                  </a:lnTo>
                  <a:lnTo>
                    <a:pt x="740801" y="22141"/>
                  </a:lnTo>
                  <a:lnTo>
                    <a:pt x="749312" y="23729"/>
                  </a:lnTo>
                  <a:lnTo>
                    <a:pt x="763745" y="33502"/>
                  </a:lnTo>
                  <a:lnTo>
                    <a:pt x="766446" y="33516"/>
                  </a:lnTo>
                  <a:lnTo>
                    <a:pt x="767721" y="32690"/>
                  </a:lnTo>
                  <a:lnTo>
                    <a:pt x="769082" y="30882"/>
                  </a:lnTo>
                  <a:lnTo>
                    <a:pt x="769571" y="28195"/>
                  </a:lnTo>
                  <a:lnTo>
                    <a:pt x="771343" y="24539"/>
                  </a:lnTo>
                  <a:lnTo>
                    <a:pt x="770061" y="23186"/>
                  </a:lnTo>
                  <a:lnTo>
                    <a:pt x="757970" y="19122"/>
                  </a:lnTo>
                  <a:lnTo>
                    <a:pt x="755684" y="17556"/>
                  </a:lnTo>
                  <a:lnTo>
                    <a:pt x="753365" y="14973"/>
                  </a:lnTo>
                  <a:lnTo>
                    <a:pt x="753326" y="12835"/>
                  </a:lnTo>
                  <a:lnTo>
                    <a:pt x="755567" y="11147"/>
                  </a:lnTo>
                  <a:lnTo>
                    <a:pt x="757928" y="10377"/>
                  </a:lnTo>
                  <a:lnTo>
                    <a:pt x="765745" y="11076"/>
                  </a:lnTo>
                  <a:lnTo>
                    <a:pt x="768329" y="10527"/>
                  </a:lnTo>
                  <a:lnTo>
                    <a:pt x="770767" y="9097"/>
                  </a:lnTo>
                  <a:lnTo>
                    <a:pt x="773703" y="6412"/>
                  </a:lnTo>
                  <a:lnTo>
                    <a:pt x="776018" y="5727"/>
                  </a:lnTo>
                  <a:lnTo>
                    <a:pt x="781246" y="5650"/>
                  </a:lnTo>
                  <a:lnTo>
                    <a:pt x="789293" y="7373"/>
                  </a:lnTo>
                  <a:lnTo>
                    <a:pt x="796336" y="7518"/>
                  </a:lnTo>
                  <a:lnTo>
                    <a:pt x="798877" y="6727"/>
                  </a:lnTo>
                  <a:lnTo>
                    <a:pt x="799263" y="5044"/>
                  </a:lnTo>
                  <a:lnTo>
                    <a:pt x="799875" y="3975"/>
                  </a:lnTo>
                  <a:lnTo>
                    <a:pt x="800714" y="3525"/>
                  </a:lnTo>
                  <a:lnTo>
                    <a:pt x="826246" y="3432"/>
                  </a:lnTo>
                  <a:lnTo>
                    <a:pt x="832577" y="3031"/>
                  </a:lnTo>
                  <a:lnTo>
                    <a:pt x="837527" y="1754"/>
                  </a:lnTo>
                  <a:lnTo>
                    <a:pt x="843584" y="1603"/>
                  </a:lnTo>
                  <a:lnTo>
                    <a:pt x="848878" y="2366"/>
                  </a:lnTo>
                  <a:lnTo>
                    <a:pt x="855432" y="3991"/>
                  </a:lnTo>
                  <a:lnTo>
                    <a:pt x="861946" y="3917"/>
                  </a:lnTo>
                  <a:lnTo>
                    <a:pt x="871653" y="1259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23" name="ee4p_DK_3_37365">
              <a:extLst>
                <a:ext uri="{FF2B5EF4-FFF2-40B4-BE49-F238E27FC236}">
                  <a16:creationId xmlns:a16="http://schemas.microsoft.com/office/drawing/2014/main" id="{5A365584-CAEB-4C45-7654-EAF7F3940DC8}"/>
                </a:ext>
              </a:extLst>
            </p:cNvPr>
            <p:cNvSpPr>
              <a:spLocks noChangeAspect="1"/>
            </p:cNvSpPr>
            <p:nvPr>
              <p:custDataLst>
                <p:tags r:id="rId277"/>
              </p:custDataLst>
            </p:nvPr>
          </p:nvSpPr>
          <p:spPr>
            <a:xfrm>
              <a:off x="6308580" y="2617369"/>
              <a:ext cx="28229" cy="41355"/>
            </a:xfrm>
            <a:custGeom>
              <a:avLst/>
              <a:gdLst>
                <a:gd name="connsiteX0" fmla="*/ 10785 w 22478"/>
                <a:gd name="connsiteY0" fmla="*/ 24608 h 32057"/>
                <a:gd name="connsiteX1" fmla="*/ 11425 w 22478"/>
                <a:gd name="connsiteY1" fmla="*/ 24727 h 32057"/>
                <a:gd name="connsiteX2" fmla="*/ 11961 w 22478"/>
                <a:gd name="connsiteY2" fmla="*/ 25678 h 32057"/>
                <a:gd name="connsiteX3" fmla="*/ 14429 w 22478"/>
                <a:gd name="connsiteY3" fmla="*/ 26302 h 32057"/>
                <a:gd name="connsiteX4" fmla="*/ 15079 w 22478"/>
                <a:gd name="connsiteY4" fmla="*/ 26771 h 32057"/>
                <a:gd name="connsiteX5" fmla="*/ 15070 w 22478"/>
                <a:gd name="connsiteY5" fmla="*/ 27927 h 32057"/>
                <a:gd name="connsiteX6" fmla="*/ 15900 w 22478"/>
                <a:gd name="connsiteY6" fmla="*/ 29296 h 32057"/>
                <a:gd name="connsiteX7" fmla="*/ 15990 w 22478"/>
                <a:gd name="connsiteY7" fmla="*/ 31032 h 32057"/>
                <a:gd name="connsiteX8" fmla="*/ 16427 w 22478"/>
                <a:gd name="connsiteY8" fmla="*/ 32057 h 32057"/>
                <a:gd name="connsiteX9" fmla="*/ 15911 w 22478"/>
                <a:gd name="connsiteY9" fmla="*/ 31943 h 32057"/>
                <a:gd name="connsiteX10" fmla="*/ 14419 w 22478"/>
                <a:gd name="connsiteY10" fmla="*/ 30774 h 32057"/>
                <a:gd name="connsiteX11" fmla="*/ 11818 w 22478"/>
                <a:gd name="connsiteY11" fmla="*/ 27982 h 32057"/>
                <a:gd name="connsiteX12" fmla="*/ 10909 w 22478"/>
                <a:gd name="connsiteY12" fmla="*/ 25673 h 32057"/>
                <a:gd name="connsiteX13" fmla="*/ 12842 w 22478"/>
                <a:gd name="connsiteY13" fmla="*/ 15452 h 32057"/>
                <a:gd name="connsiteX14" fmla="*/ 13971 w 22478"/>
                <a:gd name="connsiteY14" fmla="*/ 15736 h 32057"/>
                <a:gd name="connsiteX15" fmla="*/ 16816 w 22478"/>
                <a:gd name="connsiteY15" fmla="*/ 16880 h 32057"/>
                <a:gd name="connsiteX16" fmla="*/ 17618 w 22478"/>
                <a:gd name="connsiteY16" fmla="*/ 18073 h 32057"/>
                <a:gd name="connsiteX17" fmla="*/ 17676 w 22478"/>
                <a:gd name="connsiteY17" fmla="*/ 18779 h 32057"/>
                <a:gd name="connsiteX18" fmla="*/ 17243 w 22478"/>
                <a:gd name="connsiteY18" fmla="*/ 20059 h 32057"/>
                <a:gd name="connsiteX19" fmla="*/ 16637 w 22478"/>
                <a:gd name="connsiteY19" fmla="*/ 20048 h 32057"/>
                <a:gd name="connsiteX20" fmla="*/ 14557 w 22478"/>
                <a:gd name="connsiteY20" fmla="*/ 18460 h 32057"/>
                <a:gd name="connsiteX21" fmla="*/ 12901 w 22478"/>
                <a:gd name="connsiteY21" fmla="*/ 17595 h 32057"/>
                <a:gd name="connsiteX22" fmla="*/ 12352 w 22478"/>
                <a:gd name="connsiteY22" fmla="*/ 16864 h 32057"/>
                <a:gd name="connsiteX23" fmla="*/ 11892 w 22478"/>
                <a:gd name="connsiteY23" fmla="*/ 15608 h 32057"/>
                <a:gd name="connsiteX24" fmla="*/ 4141 w 22478"/>
                <a:gd name="connsiteY24" fmla="*/ 7004 h 32057"/>
                <a:gd name="connsiteX25" fmla="*/ 5212 w 22478"/>
                <a:gd name="connsiteY25" fmla="*/ 7411 h 32057"/>
                <a:gd name="connsiteX26" fmla="*/ 7197 w 22478"/>
                <a:gd name="connsiteY26" fmla="*/ 8737 h 32057"/>
                <a:gd name="connsiteX27" fmla="*/ 7903 w 22478"/>
                <a:gd name="connsiteY27" fmla="*/ 9669 h 32057"/>
                <a:gd name="connsiteX28" fmla="*/ 6762 w 22478"/>
                <a:gd name="connsiteY28" fmla="*/ 10571 h 32057"/>
                <a:gd name="connsiteX29" fmla="*/ 5377 w 22478"/>
                <a:gd name="connsiteY29" fmla="*/ 10803 h 32057"/>
                <a:gd name="connsiteX30" fmla="*/ 3707 w 22478"/>
                <a:gd name="connsiteY30" fmla="*/ 10595 h 32057"/>
                <a:gd name="connsiteX31" fmla="*/ 962 w 22478"/>
                <a:gd name="connsiteY31" fmla="*/ 9616 h 32057"/>
                <a:gd name="connsiteX32" fmla="*/ 0 w 22478"/>
                <a:gd name="connsiteY32" fmla="*/ 7378 h 32057"/>
                <a:gd name="connsiteX33" fmla="*/ 1898 w 22478"/>
                <a:gd name="connsiteY33" fmla="*/ 7433 h 32057"/>
                <a:gd name="connsiteX34" fmla="*/ 10259 w 22478"/>
                <a:gd name="connsiteY34" fmla="*/ 1351 h 32057"/>
                <a:gd name="connsiteX35" fmla="*/ 13686 w 22478"/>
                <a:gd name="connsiteY35" fmla="*/ 3076 h 32057"/>
                <a:gd name="connsiteX36" fmla="*/ 17502 w 22478"/>
                <a:gd name="connsiteY36" fmla="*/ 4380 h 32057"/>
                <a:gd name="connsiteX37" fmla="*/ 16955 w 22478"/>
                <a:gd name="connsiteY37" fmla="*/ 8974 h 32057"/>
                <a:gd name="connsiteX38" fmla="*/ 16057 w 22478"/>
                <a:gd name="connsiteY38" fmla="*/ 8948 h 32057"/>
                <a:gd name="connsiteX39" fmla="*/ 14454 w 22478"/>
                <a:gd name="connsiteY39" fmla="*/ 7679 h 32057"/>
                <a:gd name="connsiteX40" fmla="*/ 13248 w 22478"/>
                <a:gd name="connsiteY40" fmla="*/ 7418 h 32057"/>
                <a:gd name="connsiteX41" fmla="*/ 12871 w 22478"/>
                <a:gd name="connsiteY41" fmla="*/ 8096 h 32057"/>
                <a:gd name="connsiteX42" fmla="*/ 12933 w 22478"/>
                <a:gd name="connsiteY42" fmla="*/ 8912 h 32057"/>
                <a:gd name="connsiteX43" fmla="*/ 13557 w 22478"/>
                <a:gd name="connsiteY43" fmla="*/ 9424 h 32057"/>
                <a:gd name="connsiteX44" fmla="*/ 15479 w 22478"/>
                <a:gd name="connsiteY44" fmla="*/ 12498 h 32057"/>
                <a:gd name="connsiteX45" fmla="*/ 15659 w 22478"/>
                <a:gd name="connsiteY45" fmla="*/ 13392 h 32057"/>
                <a:gd name="connsiteX46" fmla="*/ 15421 w 22478"/>
                <a:gd name="connsiteY46" fmla="*/ 13825 h 32057"/>
                <a:gd name="connsiteX47" fmla="*/ 13552 w 22478"/>
                <a:gd name="connsiteY47" fmla="*/ 12939 h 32057"/>
                <a:gd name="connsiteX48" fmla="*/ 9044 w 22478"/>
                <a:gd name="connsiteY48" fmla="*/ 8960 h 32057"/>
                <a:gd name="connsiteX49" fmla="*/ 5537 w 22478"/>
                <a:gd name="connsiteY49" fmla="*/ 2403 h 32057"/>
                <a:gd name="connsiteX50" fmla="*/ 19193 w 22478"/>
                <a:gd name="connsiteY50" fmla="*/ 0 h 32057"/>
                <a:gd name="connsiteX51" fmla="*/ 20996 w 22478"/>
                <a:gd name="connsiteY51" fmla="*/ 2187 h 32057"/>
                <a:gd name="connsiteX52" fmla="*/ 22478 w 22478"/>
                <a:gd name="connsiteY52" fmla="*/ 3327 h 32057"/>
                <a:gd name="connsiteX53" fmla="*/ 21420 w 22478"/>
                <a:gd name="connsiteY53" fmla="*/ 5796 h 32057"/>
                <a:gd name="connsiteX54" fmla="*/ 19854 w 22478"/>
                <a:gd name="connsiteY54" fmla="*/ 5408 h 32057"/>
                <a:gd name="connsiteX55" fmla="*/ 19424 w 22478"/>
                <a:gd name="connsiteY55" fmla="*/ 5143 h 32057"/>
                <a:gd name="connsiteX56" fmla="*/ 19085 w 22478"/>
                <a:gd name="connsiteY56" fmla="*/ 4496 h 32057"/>
                <a:gd name="connsiteX57" fmla="*/ 19249 w 22478"/>
                <a:gd name="connsiteY57" fmla="*/ 2659 h 32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22478" h="32057">
                  <a:moveTo>
                    <a:pt x="10785" y="24608"/>
                  </a:moveTo>
                  <a:lnTo>
                    <a:pt x="11425" y="24727"/>
                  </a:lnTo>
                  <a:lnTo>
                    <a:pt x="11961" y="25678"/>
                  </a:lnTo>
                  <a:lnTo>
                    <a:pt x="14429" y="26302"/>
                  </a:lnTo>
                  <a:lnTo>
                    <a:pt x="15079" y="26771"/>
                  </a:lnTo>
                  <a:lnTo>
                    <a:pt x="15070" y="27927"/>
                  </a:lnTo>
                  <a:lnTo>
                    <a:pt x="15900" y="29296"/>
                  </a:lnTo>
                  <a:lnTo>
                    <a:pt x="15990" y="31032"/>
                  </a:lnTo>
                  <a:lnTo>
                    <a:pt x="16427" y="32057"/>
                  </a:lnTo>
                  <a:lnTo>
                    <a:pt x="15911" y="31943"/>
                  </a:lnTo>
                  <a:lnTo>
                    <a:pt x="14419" y="30774"/>
                  </a:lnTo>
                  <a:lnTo>
                    <a:pt x="11818" y="27982"/>
                  </a:lnTo>
                  <a:lnTo>
                    <a:pt x="10909" y="25673"/>
                  </a:lnTo>
                  <a:close/>
                  <a:moveTo>
                    <a:pt x="12842" y="15452"/>
                  </a:moveTo>
                  <a:lnTo>
                    <a:pt x="13971" y="15736"/>
                  </a:lnTo>
                  <a:lnTo>
                    <a:pt x="16816" y="16880"/>
                  </a:lnTo>
                  <a:lnTo>
                    <a:pt x="17618" y="18073"/>
                  </a:lnTo>
                  <a:lnTo>
                    <a:pt x="17676" y="18779"/>
                  </a:lnTo>
                  <a:lnTo>
                    <a:pt x="17243" y="20059"/>
                  </a:lnTo>
                  <a:lnTo>
                    <a:pt x="16637" y="20048"/>
                  </a:lnTo>
                  <a:lnTo>
                    <a:pt x="14557" y="18460"/>
                  </a:lnTo>
                  <a:lnTo>
                    <a:pt x="12901" y="17595"/>
                  </a:lnTo>
                  <a:lnTo>
                    <a:pt x="12352" y="16864"/>
                  </a:lnTo>
                  <a:lnTo>
                    <a:pt x="11892" y="15608"/>
                  </a:lnTo>
                  <a:close/>
                  <a:moveTo>
                    <a:pt x="4141" y="7004"/>
                  </a:moveTo>
                  <a:lnTo>
                    <a:pt x="5212" y="7411"/>
                  </a:lnTo>
                  <a:lnTo>
                    <a:pt x="7197" y="8737"/>
                  </a:lnTo>
                  <a:lnTo>
                    <a:pt x="7903" y="9669"/>
                  </a:lnTo>
                  <a:lnTo>
                    <a:pt x="6762" y="10571"/>
                  </a:lnTo>
                  <a:lnTo>
                    <a:pt x="5377" y="10803"/>
                  </a:lnTo>
                  <a:lnTo>
                    <a:pt x="3707" y="10595"/>
                  </a:lnTo>
                  <a:lnTo>
                    <a:pt x="962" y="9616"/>
                  </a:lnTo>
                  <a:lnTo>
                    <a:pt x="0" y="7378"/>
                  </a:lnTo>
                  <a:lnTo>
                    <a:pt x="1898" y="7433"/>
                  </a:lnTo>
                  <a:close/>
                  <a:moveTo>
                    <a:pt x="10259" y="1351"/>
                  </a:moveTo>
                  <a:lnTo>
                    <a:pt x="13686" y="3076"/>
                  </a:lnTo>
                  <a:lnTo>
                    <a:pt x="17502" y="4380"/>
                  </a:lnTo>
                  <a:lnTo>
                    <a:pt x="16955" y="8974"/>
                  </a:lnTo>
                  <a:lnTo>
                    <a:pt x="16057" y="8948"/>
                  </a:lnTo>
                  <a:lnTo>
                    <a:pt x="14454" y="7679"/>
                  </a:lnTo>
                  <a:lnTo>
                    <a:pt x="13248" y="7418"/>
                  </a:lnTo>
                  <a:lnTo>
                    <a:pt x="12871" y="8096"/>
                  </a:lnTo>
                  <a:lnTo>
                    <a:pt x="12933" y="8912"/>
                  </a:lnTo>
                  <a:lnTo>
                    <a:pt x="13557" y="9424"/>
                  </a:lnTo>
                  <a:lnTo>
                    <a:pt x="15479" y="12498"/>
                  </a:lnTo>
                  <a:lnTo>
                    <a:pt x="15659" y="13392"/>
                  </a:lnTo>
                  <a:lnTo>
                    <a:pt x="15421" y="13825"/>
                  </a:lnTo>
                  <a:lnTo>
                    <a:pt x="13552" y="12939"/>
                  </a:lnTo>
                  <a:lnTo>
                    <a:pt x="9044" y="8960"/>
                  </a:lnTo>
                  <a:lnTo>
                    <a:pt x="5537" y="2403"/>
                  </a:lnTo>
                  <a:close/>
                  <a:moveTo>
                    <a:pt x="19193" y="0"/>
                  </a:moveTo>
                  <a:lnTo>
                    <a:pt x="20996" y="2187"/>
                  </a:lnTo>
                  <a:lnTo>
                    <a:pt x="22478" y="3327"/>
                  </a:lnTo>
                  <a:lnTo>
                    <a:pt x="21420" y="5796"/>
                  </a:lnTo>
                  <a:lnTo>
                    <a:pt x="19854" y="5408"/>
                  </a:lnTo>
                  <a:lnTo>
                    <a:pt x="19424" y="5143"/>
                  </a:lnTo>
                  <a:lnTo>
                    <a:pt x="19085" y="4496"/>
                  </a:lnTo>
                  <a:lnTo>
                    <a:pt x="19249" y="2659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24" name="ee4p_ES_1_37365">
              <a:extLst>
                <a:ext uri="{FF2B5EF4-FFF2-40B4-BE49-F238E27FC236}">
                  <a16:creationId xmlns:a16="http://schemas.microsoft.com/office/drawing/2014/main" id="{DB813C4D-0366-D57A-C14B-68F53974F527}"/>
                </a:ext>
              </a:extLst>
            </p:cNvPr>
            <p:cNvSpPr>
              <a:spLocks noChangeAspect="1"/>
            </p:cNvSpPr>
            <p:nvPr>
              <p:custDataLst>
                <p:tags r:id="rId278"/>
              </p:custDataLst>
            </p:nvPr>
          </p:nvSpPr>
          <p:spPr>
            <a:xfrm>
              <a:off x="6548670" y="3467827"/>
              <a:ext cx="86050" cy="47379"/>
            </a:xfrm>
            <a:custGeom>
              <a:avLst/>
              <a:gdLst>
                <a:gd name="connsiteX0" fmla="*/ 4710 w 68520"/>
                <a:gd name="connsiteY0" fmla="*/ 33907 h 36727"/>
                <a:gd name="connsiteX1" fmla="*/ 6049 w 68520"/>
                <a:gd name="connsiteY1" fmla="*/ 35359 h 36727"/>
                <a:gd name="connsiteX2" fmla="*/ 8167 w 68520"/>
                <a:gd name="connsiteY2" fmla="*/ 35628 h 36727"/>
                <a:gd name="connsiteX3" fmla="*/ 8195 w 68520"/>
                <a:gd name="connsiteY3" fmla="*/ 36386 h 36727"/>
                <a:gd name="connsiteX4" fmla="*/ 7692 w 68520"/>
                <a:gd name="connsiteY4" fmla="*/ 36727 h 36727"/>
                <a:gd name="connsiteX5" fmla="*/ 6228 w 68520"/>
                <a:gd name="connsiteY5" fmla="*/ 36414 h 36727"/>
                <a:gd name="connsiteX6" fmla="*/ 4034 w 68520"/>
                <a:gd name="connsiteY6" fmla="*/ 36414 h 36727"/>
                <a:gd name="connsiteX7" fmla="*/ 3950 w 68520"/>
                <a:gd name="connsiteY7" fmla="*/ 35372 h 36727"/>
                <a:gd name="connsiteX8" fmla="*/ 4287 w 68520"/>
                <a:gd name="connsiteY8" fmla="*/ 34644 h 36727"/>
                <a:gd name="connsiteX9" fmla="*/ 7543 w 68520"/>
                <a:gd name="connsiteY9" fmla="*/ 24790 h 36727"/>
                <a:gd name="connsiteX10" fmla="*/ 8621 w 68520"/>
                <a:gd name="connsiteY10" fmla="*/ 25661 h 36727"/>
                <a:gd name="connsiteX11" fmla="*/ 8852 w 68520"/>
                <a:gd name="connsiteY11" fmla="*/ 26917 h 36727"/>
                <a:gd name="connsiteX12" fmla="*/ 5997 w 68520"/>
                <a:gd name="connsiteY12" fmla="*/ 29665 h 36727"/>
                <a:gd name="connsiteX13" fmla="*/ 4907 w 68520"/>
                <a:gd name="connsiteY13" fmla="*/ 30022 h 36727"/>
                <a:gd name="connsiteX14" fmla="*/ 4106 w 68520"/>
                <a:gd name="connsiteY14" fmla="*/ 31608 h 36727"/>
                <a:gd name="connsiteX15" fmla="*/ 743 w 68520"/>
                <a:gd name="connsiteY15" fmla="*/ 31047 h 36727"/>
                <a:gd name="connsiteX16" fmla="*/ 0 w 68520"/>
                <a:gd name="connsiteY16" fmla="*/ 30405 h 36727"/>
                <a:gd name="connsiteX17" fmla="*/ 728 w 68520"/>
                <a:gd name="connsiteY17" fmla="*/ 28609 h 36727"/>
                <a:gd name="connsiteX18" fmla="*/ 1691 w 68520"/>
                <a:gd name="connsiteY18" fmla="*/ 28393 h 36727"/>
                <a:gd name="connsiteX19" fmla="*/ 1752 w 68520"/>
                <a:gd name="connsiteY19" fmla="*/ 27115 h 36727"/>
                <a:gd name="connsiteX20" fmla="*/ 2771 w 68520"/>
                <a:gd name="connsiteY20" fmla="*/ 25831 h 36727"/>
                <a:gd name="connsiteX21" fmla="*/ 42795 w 68520"/>
                <a:gd name="connsiteY21" fmla="*/ 2728 h 36727"/>
                <a:gd name="connsiteX22" fmla="*/ 43655 w 68520"/>
                <a:gd name="connsiteY22" fmla="*/ 2973 h 36727"/>
                <a:gd name="connsiteX23" fmla="*/ 42923 w 68520"/>
                <a:gd name="connsiteY23" fmla="*/ 3934 h 36727"/>
                <a:gd name="connsiteX24" fmla="*/ 42979 w 68520"/>
                <a:gd name="connsiteY24" fmla="*/ 4364 h 36727"/>
                <a:gd name="connsiteX25" fmla="*/ 43678 w 68520"/>
                <a:gd name="connsiteY25" fmla="*/ 4830 h 36727"/>
                <a:gd name="connsiteX26" fmla="*/ 43508 w 68520"/>
                <a:gd name="connsiteY26" fmla="*/ 5571 h 36727"/>
                <a:gd name="connsiteX27" fmla="*/ 42795 w 68520"/>
                <a:gd name="connsiteY27" fmla="*/ 6217 h 36727"/>
                <a:gd name="connsiteX28" fmla="*/ 42499 w 68520"/>
                <a:gd name="connsiteY28" fmla="*/ 7427 h 36727"/>
                <a:gd name="connsiteX29" fmla="*/ 44618 w 68520"/>
                <a:gd name="connsiteY29" fmla="*/ 8296 h 36727"/>
                <a:gd name="connsiteX30" fmla="*/ 46853 w 68520"/>
                <a:gd name="connsiteY30" fmla="*/ 7515 h 36727"/>
                <a:gd name="connsiteX31" fmla="*/ 48041 w 68520"/>
                <a:gd name="connsiteY31" fmla="*/ 7760 h 36727"/>
                <a:gd name="connsiteX32" fmla="*/ 49213 w 68520"/>
                <a:gd name="connsiteY32" fmla="*/ 8178 h 36727"/>
                <a:gd name="connsiteX33" fmla="*/ 49498 w 68520"/>
                <a:gd name="connsiteY33" fmla="*/ 9829 h 36727"/>
                <a:gd name="connsiteX34" fmla="*/ 48455 w 68520"/>
                <a:gd name="connsiteY34" fmla="*/ 11665 h 36727"/>
                <a:gd name="connsiteX35" fmla="*/ 46998 w 68520"/>
                <a:gd name="connsiteY35" fmla="*/ 13522 h 36727"/>
                <a:gd name="connsiteX36" fmla="*/ 45764 w 68520"/>
                <a:gd name="connsiteY36" fmla="*/ 15563 h 36727"/>
                <a:gd name="connsiteX37" fmla="*/ 44698 w 68520"/>
                <a:gd name="connsiteY37" fmla="*/ 17910 h 36727"/>
                <a:gd name="connsiteX38" fmla="*/ 42704 w 68520"/>
                <a:gd name="connsiteY38" fmla="*/ 19294 h 36727"/>
                <a:gd name="connsiteX39" fmla="*/ 40897 w 68520"/>
                <a:gd name="connsiteY39" fmla="*/ 20123 h 36727"/>
                <a:gd name="connsiteX40" fmla="*/ 37077 w 68520"/>
                <a:gd name="connsiteY40" fmla="*/ 18383 h 36727"/>
                <a:gd name="connsiteX41" fmla="*/ 34860 w 68520"/>
                <a:gd name="connsiteY41" fmla="*/ 17950 h 36727"/>
                <a:gd name="connsiteX42" fmla="*/ 34197 w 68520"/>
                <a:gd name="connsiteY42" fmla="*/ 17297 h 36727"/>
                <a:gd name="connsiteX43" fmla="*/ 33670 w 68520"/>
                <a:gd name="connsiteY43" fmla="*/ 14701 h 36727"/>
                <a:gd name="connsiteX44" fmla="*/ 32666 w 68520"/>
                <a:gd name="connsiteY44" fmla="*/ 13873 h 36727"/>
                <a:gd name="connsiteX45" fmla="*/ 31195 w 68520"/>
                <a:gd name="connsiteY45" fmla="*/ 13508 h 36727"/>
                <a:gd name="connsiteX46" fmla="*/ 29908 w 68520"/>
                <a:gd name="connsiteY46" fmla="*/ 14171 h 36727"/>
                <a:gd name="connsiteX47" fmla="*/ 28219 w 68520"/>
                <a:gd name="connsiteY47" fmla="*/ 15542 h 36727"/>
                <a:gd name="connsiteX48" fmla="*/ 27319 w 68520"/>
                <a:gd name="connsiteY48" fmla="*/ 14176 h 36727"/>
                <a:gd name="connsiteX49" fmla="*/ 25894 w 68520"/>
                <a:gd name="connsiteY49" fmla="*/ 13919 h 36727"/>
                <a:gd name="connsiteX50" fmla="*/ 25356 w 68520"/>
                <a:gd name="connsiteY50" fmla="*/ 13096 h 36727"/>
                <a:gd name="connsiteX51" fmla="*/ 25384 w 68520"/>
                <a:gd name="connsiteY51" fmla="*/ 12030 h 36727"/>
                <a:gd name="connsiteX52" fmla="*/ 34531 w 68520"/>
                <a:gd name="connsiteY52" fmla="*/ 5741 h 36727"/>
                <a:gd name="connsiteX53" fmla="*/ 37181 w 68520"/>
                <a:gd name="connsiteY53" fmla="*/ 4349 h 36727"/>
                <a:gd name="connsiteX54" fmla="*/ 62707 w 68520"/>
                <a:gd name="connsiteY54" fmla="*/ 0 h 36727"/>
                <a:gd name="connsiteX55" fmla="*/ 66391 w 68520"/>
                <a:gd name="connsiteY55" fmla="*/ 1114 h 36727"/>
                <a:gd name="connsiteX56" fmla="*/ 68367 w 68520"/>
                <a:gd name="connsiteY56" fmla="*/ 4116 h 36727"/>
                <a:gd name="connsiteX57" fmla="*/ 68520 w 68520"/>
                <a:gd name="connsiteY57" fmla="*/ 4630 h 36727"/>
                <a:gd name="connsiteX58" fmla="*/ 67892 w 68520"/>
                <a:gd name="connsiteY58" fmla="*/ 6080 h 36727"/>
                <a:gd name="connsiteX59" fmla="*/ 67486 w 68520"/>
                <a:gd name="connsiteY59" fmla="*/ 6381 h 36727"/>
                <a:gd name="connsiteX60" fmla="*/ 60684 w 68520"/>
                <a:gd name="connsiteY60" fmla="*/ 3371 h 36727"/>
                <a:gd name="connsiteX61" fmla="*/ 58462 w 68520"/>
                <a:gd name="connsiteY61" fmla="*/ 3035 h 36727"/>
                <a:gd name="connsiteX62" fmla="*/ 57920 w 68520"/>
                <a:gd name="connsiteY62" fmla="*/ 2575 h 36727"/>
                <a:gd name="connsiteX63" fmla="*/ 57980 w 68520"/>
                <a:gd name="connsiteY63" fmla="*/ 1008 h 36727"/>
                <a:gd name="connsiteX64" fmla="*/ 58157 w 68520"/>
                <a:gd name="connsiteY64" fmla="*/ 315 h 36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68520" h="36727">
                  <a:moveTo>
                    <a:pt x="4710" y="33907"/>
                  </a:moveTo>
                  <a:lnTo>
                    <a:pt x="6049" y="35359"/>
                  </a:lnTo>
                  <a:lnTo>
                    <a:pt x="8167" y="35628"/>
                  </a:lnTo>
                  <a:lnTo>
                    <a:pt x="8195" y="36386"/>
                  </a:lnTo>
                  <a:lnTo>
                    <a:pt x="7692" y="36727"/>
                  </a:lnTo>
                  <a:lnTo>
                    <a:pt x="6228" y="36414"/>
                  </a:lnTo>
                  <a:lnTo>
                    <a:pt x="4034" y="36414"/>
                  </a:lnTo>
                  <a:lnTo>
                    <a:pt x="3950" y="35372"/>
                  </a:lnTo>
                  <a:lnTo>
                    <a:pt x="4287" y="34644"/>
                  </a:lnTo>
                  <a:close/>
                  <a:moveTo>
                    <a:pt x="7543" y="24790"/>
                  </a:moveTo>
                  <a:lnTo>
                    <a:pt x="8621" y="25661"/>
                  </a:lnTo>
                  <a:lnTo>
                    <a:pt x="8852" y="26917"/>
                  </a:lnTo>
                  <a:lnTo>
                    <a:pt x="5997" y="29665"/>
                  </a:lnTo>
                  <a:lnTo>
                    <a:pt x="4907" y="30022"/>
                  </a:lnTo>
                  <a:lnTo>
                    <a:pt x="4106" y="31608"/>
                  </a:lnTo>
                  <a:lnTo>
                    <a:pt x="743" y="31047"/>
                  </a:lnTo>
                  <a:lnTo>
                    <a:pt x="0" y="30405"/>
                  </a:lnTo>
                  <a:lnTo>
                    <a:pt x="728" y="28609"/>
                  </a:lnTo>
                  <a:lnTo>
                    <a:pt x="1691" y="28393"/>
                  </a:lnTo>
                  <a:lnTo>
                    <a:pt x="1752" y="27115"/>
                  </a:lnTo>
                  <a:lnTo>
                    <a:pt x="2771" y="25831"/>
                  </a:lnTo>
                  <a:close/>
                  <a:moveTo>
                    <a:pt x="42795" y="2728"/>
                  </a:moveTo>
                  <a:lnTo>
                    <a:pt x="43655" y="2973"/>
                  </a:lnTo>
                  <a:lnTo>
                    <a:pt x="42923" y="3934"/>
                  </a:lnTo>
                  <a:lnTo>
                    <a:pt x="42979" y="4364"/>
                  </a:lnTo>
                  <a:lnTo>
                    <a:pt x="43678" y="4830"/>
                  </a:lnTo>
                  <a:lnTo>
                    <a:pt x="43508" y="5571"/>
                  </a:lnTo>
                  <a:lnTo>
                    <a:pt x="42795" y="6217"/>
                  </a:lnTo>
                  <a:lnTo>
                    <a:pt x="42499" y="7427"/>
                  </a:lnTo>
                  <a:lnTo>
                    <a:pt x="44618" y="8296"/>
                  </a:lnTo>
                  <a:lnTo>
                    <a:pt x="46853" y="7515"/>
                  </a:lnTo>
                  <a:lnTo>
                    <a:pt x="48041" y="7760"/>
                  </a:lnTo>
                  <a:lnTo>
                    <a:pt x="49213" y="8178"/>
                  </a:lnTo>
                  <a:lnTo>
                    <a:pt x="49498" y="9829"/>
                  </a:lnTo>
                  <a:lnTo>
                    <a:pt x="48455" y="11665"/>
                  </a:lnTo>
                  <a:lnTo>
                    <a:pt x="46998" y="13522"/>
                  </a:lnTo>
                  <a:lnTo>
                    <a:pt x="45764" y="15563"/>
                  </a:lnTo>
                  <a:lnTo>
                    <a:pt x="44698" y="17910"/>
                  </a:lnTo>
                  <a:lnTo>
                    <a:pt x="42704" y="19294"/>
                  </a:lnTo>
                  <a:lnTo>
                    <a:pt x="40897" y="20123"/>
                  </a:lnTo>
                  <a:lnTo>
                    <a:pt x="37077" y="18383"/>
                  </a:lnTo>
                  <a:lnTo>
                    <a:pt x="34860" y="17950"/>
                  </a:lnTo>
                  <a:lnTo>
                    <a:pt x="34197" y="17297"/>
                  </a:lnTo>
                  <a:lnTo>
                    <a:pt x="33670" y="14701"/>
                  </a:lnTo>
                  <a:lnTo>
                    <a:pt x="32666" y="13873"/>
                  </a:lnTo>
                  <a:lnTo>
                    <a:pt x="31195" y="13508"/>
                  </a:lnTo>
                  <a:lnTo>
                    <a:pt x="29908" y="14171"/>
                  </a:lnTo>
                  <a:lnTo>
                    <a:pt x="28219" y="15542"/>
                  </a:lnTo>
                  <a:lnTo>
                    <a:pt x="27319" y="14176"/>
                  </a:lnTo>
                  <a:lnTo>
                    <a:pt x="25894" y="13919"/>
                  </a:lnTo>
                  <a:lnTo>
                    <a:pt x="25356" y="13096"/>
                  </a:lnTo>
                  <a:lnTo>
                    <a:pt x="25384" y="12030"/>
                  </a:lnTo>
                  <a:lnTo>
                    <a:pt x="34531" y="5741"/>
                  </a:lnTo>
                  <a:lnTo>
                    <a:pt x="37181" y="4349"/>
                  </a:lnTo>
                  <a:close/>
                  <a:moveTo>
                    <a:pt x="62707" y="0"/>
                  </a:moveTo>
                  <a:lnTo>
                    <a:pt x="66391" y="1114"/>
                  </a:lnTo>
                  <a:lnTo>
                    <a:pt x="68367" y="4116"/>
                  </a:lnTo>
                  <a:lnTo>
                    <a:pt x="68520" y="4630"/>
                  </a:lnTo>
                  <a:lnTo>
                    <a:pt x="67892" y="6080"/>
                  </a:lnTo>
                  <a:lnTo>
                    <a:pt x="67486" y="6381"/>
                  </a:lnTo>
                  <a:lnTo>
                    <a:pt x="60684" y="3371"/>
                  </a:lnTo>
                  <a:lnTo>
                    <a:pt x="58462" y="3035"/>
                  </a:lnTo>
                  <a:lnTo>
                    <a:pt x="57920" y="2575"/>
                  </a:lnTo>
                  <a:lnTo>
                    <a:pt x="57980" y="1008"/>
                  </a:lnTo>
                  <a:lnTo>
                    <a:pt x="58157" y="315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25" name="ee4p_ES_2_37365">
              <a:extLst>
                <a:ext uri="{FF2B5EF4-FFF2-40B4-BE49-F238E27FC236}">
                  <a16:creationId xmlns:a16="http://schemas.microsoft.com/office/drawing/2014/main" id="{D8F61D41-83F4-1D1B-D9C3-A821460E3450}"/>
                </a:ext>
              </a:extLst>
            </p:cNvPr>
            <p:cNvSpPr>
              <a:spLocks noChangeAspect="1"/>
            </p:cNvSpPr>
            <p:nvPr>
              <p:custDataLst>
                <p:tags r:id="rId279"/>
              </p:custDataLst>
            </p:nvPr>
          </p:nvSpPr>
          <p:spPr>
            <a:xfrm>
              <a:off x="6258232" y="3341540"/>
              <a:ext cx="348296" cy="260290"/>
            </a:xfrm>
            <a:custGeom>
              <a:avLst/>
              <a:gdLst/>
              <a:ahLst/>
              <a:cxnLst/>
              <a:rect l="0" t="0" r="0" b="0"/>
              <a:pathLst>
                <a:path w="277340" h="201769">
                  <a:moveTo>
                    <a:pt x="33998" y="0"/>
                  </a:moveTo>
                  <a:lnTo>
                    <a:pt x="36288" y="1004"/>
                  </a:lnTo>
                  <a:lnTo>
                    <a:pt x="38299" y="664"/>
                  </a:lnTo>
                  <a:lnTo>
                    <a:pt x="40605" y="1855"/>
                  </a:lnTo>
                  <a:lnTo>
                    <a:pt x="43643" y="4584"/>
                  </a:lnTo>
                  <a:lnTo>
                    <a:pt x="48087" y="5680"/>
                  </a:lnTo>
                  <a:lnTo>
                    <a:pt x="51631" y="4826"/>
                  </a:lnTo>
                  <a:lnTo>
                    <a:pt x="57898" y="4644"/>
                  </a:lnTo>
                  <a:lnTo>
                    <a:pt x="61029" y="5008"/>
                  </a:lnTo>
                  <a:lnTo>
                    <a:pt x="66591" y="4335"/>
                  </a:lnTo>
                  <a:lnTo>
                    <a:pt x="69776" y="4576"/>
                  </a:lnTo>
                  <a:lnTo>
                    <a:pt x="74938" y="3224"/>
                  </a:lnTo>
                  <a:lnTo>
                    <a:pt x="78937" y="4912"/>
                  </a:lnTo>
                  <a:lnTo>
                    <a:pt x="86678" y="5701"/>
                  </a:lnTo>
                  <a:lnTo>
                    <a:pt x="91332" y="7083"/>
                  </a:lnTo>
                  <a:lnTo>
                    <a:pt x="104206" y="9402"/>
                  </a:lnTo>
                  <a:lnTo>
                    <a:pt x="108855" y="9428"/>
                  </a:lnTo>
                  <a:lnTo>
                    <a:pt x="115433" y="8127"/>
                  </a:lnTo>
                  <a:lnTo>
                    <a:pt x="118218" y="7149"/>
                  </a:lnTo>
                  <a:lnTo>
                    <a:pt x="120768" y="7729"/>
                  </a:lnTo>
                  <a:lnTo>
                    <a:pt x="124514" y="6609"/>
                  </a:lnTo>
                  <a:lnTo>
                    <a:pt x="126305" y="6836"/>
                  </a:lnTo>
                  <a:lnTo>
                    <a:pt x="128644" y="8433"/>
                  </a:lnTo>
                  <a:lnTo>
                    <a:pt x="136875" y="10589"/>
                  </a:lnTo>
                  <a:lnTo>
                    <a:pt x="139040" y="8757"/>
                  </a:lnTo>
                  <a:lnTo>
                    <a:pt x="140647" y="8360"/>
                  </a:lnTo>
                  <a:lnTo>
                    <a:pt x="146572" y="9482"/>
                  </a:lnTo>
                  <a:lnTo>
                    <a:pt x="152542" y="11760"/>
                  </a:lnTo>
                  <a:lnTo>
                    <a:pt x="155647" y="11924"/>
                  </a:lnTo>
                  <a:lnTo>
                    <a:pt x="160188" y="11302"/>
                  </a:lnTo>
                  <a:lnTo>
                    <a:pt x="163788" y="9802"/>
                  </a:lnTo>
                  <a:lnTo>
                    <a:pt x="164550" y="9627"/>
                  </a:lnTo>
                  <a:lnTo>
                    <a:pt x="164579" y="10563"/>
                  </a:lnTo>
                  <a:lnTo>
                    <a:pt x="165452" y="11849"/>
                  </a:lnTo>
                  <a:lnTo>
                    <a:pt x="166345" y="12325"/>
                  </a:lnTo>
                  <a:lnTo>
                    <a:pt x="168240" y="12985"/>
                  </a:lnTo>
                  <a:lnTo>
                    <a:pt x="169692" y="13073"/>
                  </a:lnTo>
                  <a:lnTo>
                    <a:pt x="171677" y="13382"/>
                  </a:lnTo>
                  <a:lnTo>
                    <a:pt x="173027" y="14123"/>
                  </a:lnTo>
                  <a:lnTo>
                    <a:pt x="173101" y="15277"/>
                  </a:lnTo>
                  <a:lnTo>
                    <a:pt x="172763" y="16566"/>
                  </a:lnTo>
                  <a:lnTo>
                    <a:pt x="171949" y="17750"/>
                  </a:lnTo>
                  <a:lnTo>
                    <a:pt x="171484" y="18658"/>
                  </a:lnTo>
                  <a:lnTo>
                    <a:pt x="171918" y="19177"/>
                  </a:lnTo>
                  <a:lnTo>
                    <a:pt x="172627" y="19580"/>
                  </a:lnTo>
                  <a:lnTo>
                    <a:pt x="173395" y="19691"/>
                  </a:lnTo>
                  <a:lnTo>
                    <a:pt x="173915" y="19557"/>
                  </a:lnTo>
                  <a:lnTo>
                    <a:pt x="174308" y="18842"/>
                  </a:lnTo>
                  <a:lnTo>
                    <a:pt x="175058" y="17965"/>
                  </a:lnTo>
                  <a:lnTo>
                    <a:pt x="175473" y="17858"/>
                  </a:lnTo>
                  <a:lnTo>
                    <a:pt x="175440" y="18354"/>
                  </a:lnTo>
                  <a:lnTo>
                    <a:pt x="175796" y="18967"/>
                  </a:lnTo>
                  <a:lnTo>
                    <a:pt x="178228" y="19998"/>
                  </a:lnTo>
                  <a:lnTo>
                    <a:pt x="183571" y="21917"/>
                  </a:lnTo>
                  <a:lnTo>
                    <a:pt x="185663" y="21953"/>
                  </a:lnTo>
                  <a:lnTo>
                    <a:pt x="187356" y="22178"/>
                  </a:lnTo>
                  <a:lnTo>
                    <a:pt x="187853" y="22988"/>
                  </a:lnTo>
                  <a:lnTo>
                    <a:pt x="191253" y="25947"/>
                  </a:lnTo>
                  <a:lnTo>
                    <a:pt x="192063" y="25866"/>
                  </a:lnTo>
                  <a:lnTo>
                    <a:pt x="193581" y="25938"/>
                  </a:lnTo>
                  <a:lnTo>
                    <a:pt x="195410" y="25703"/>
                  </a:lnTo>
                  <a:lnTo>
                    <a:pt x="196733" y="25149"/>
                  </a:lnTo>
                  <a:lnTo>
                    <a:pt x="197602" y="25242"/>
                  </a:lnTo>
                  <a:lnTo>
                    <a:pt x="198558" y="25814"/>
                  </a:lnTo>
                  <a:lnTo>
                    <a:pt x="199680" y="26313"/>
                  </a:lnTo>
                  <a:lnTo>
                    <a:pt x="201123" y="27285"/>
                  </a:lnTo>
                  <a:lnTo>
                    <a:pt x="202418" y="28490"/>
                  </a:lnTo>
                  <a:lnTo>
                    <a:pt x="203310" y="28884"/>
                  </a:lnTo>
                  <a:lnTo>
                    <a:pt x="208673" y="28076"/>
                  </a:lnTo>
                  <a:lnTo>
                    <a:pt x="209869" y="28782"/>
                  </a:lnTo>
                  <a:lnTo>
                    <a:pt x="211139" y="28773"/>
                  </a:lnTo>
                  <a:lnTo>
                    <a:pt x="212562" y="28589"/>
                  </a:lnTo>
                  <a:lnTo>
                    <a:pt x="215667" y="28960"/>
                  </a:lnTo>
                  <a:lnTo>
                    <a:pt x="218187" y="28871"/>
                  </a:lnTo>
                  <a:lnTo>
                    <a:pt x="218416" y="28576"/>
                  </a:lnTo>
                  <a:lnTo>
                    <a:pt x="218632" y="25908"/>
                  </a:lnTo>
                  <a:lnTo>
                    <a:pt x="219031" y="24963"/>
                  </a:lnTo>
                  <a:lnTo>
                    <a:pt x="219629" y="24713"/>
                  </a:lnTo>
                  <a:lnTo>
                    <a:pt x="221124" y="24902"/>
                  </a:lnTo>
                  <a:lnTo>
                    <a:pt x="226554" y="26482"/>
                  </a:lnTo>
                  <a:lnTo>
                    <a:pt x="228790" y="27469"/>
                  </a:lnTo>
                  <a:lnTo>
                    <a:pt x="230938" y="28242"/>
                  </a:lnTo>
                  <a:lnTo>
                    <a:pt x="232817" y="28327"/>
                  </a:lnTo>
                  <a:lnTo>
                    <a:pt x="234058" y="28842"/>
                  </a:lnTo>
                  <a:lnTo>
                    <a:pt x="235803" y="31373"/>
                  </a:lnTo>
                  <a:lnTo>
                    <a:pt x="235505" y="32642"/>
                  </a:lnTo>
                  <a:lnTo>
                    <a:pt x="235663" y="33111"/>
                  </a:lnTo>
                  <a:lnTo>
                    <a:pt x="235847" y="33990"/>
                  </a:lnTo>
                  <a:lnTo>
                    <a:pt x="235799" y="34964"/>
                  </a:lnTo>
                  <a:lnTo>
                    <a:pt x="236257" y="35600"/>
                  </a:lnTo>
                  <a:lnTo>
                    <a:pt x="237084" y="35680"/>
                  </a:lnTo>
                  <a:lnTo>
                    <a:pt x="238142" y="35487"/>
                  </a:lnTo>
                  <a:lnTo>
                    <a:pt x="239299" y="35107"/>
                  </a:lnTo>
                  <a:lnTo>
                    <a:pt x="241335" y="34021"/>
                  </a:lnTo>
                  <a:lnTo>
                    <a:pt x="241945" y="33844"/>
                  </a:lnTo>
                  <a:lnTo>
                    <a:pt x="245343" y="35077"/>
                  </a:lnTo>
                  <a:lnTo>
                    <a:pt x="246851" y="35897"/>
                  </a:lnTo>
                  <a:lnTo>
                    <a:pt x="247371" y="36791"/>
                  </a:lnTo>
                  <a:lnTo>
                    <a:pt x="248146" y="37704"/>
                  </a:lnTo>
                  <a:lnTo>
                    <a:pt x="249167" y="37837"/>
                  </a:lnTo>
                  <a:lnTo>
                    <a:pt x="250619" y="36969"/>
                  </a:lnTo>
                  <a:lnTo>
                    <a:pt x="252875" y="36040"/>
                  </a:lnTo>
                  <a:lnTo>
                    <a:pt x="256723" y="36857"/>
                  </a:lnTo>
                  <a:lnTo>
                    <a:pt x="261003" y="38042"/>
                  </a:lnTo>
                  <a:lnTo>
                    <a:pt x="262854" y="38184"/>
                  </a:lnTo>
                  <a:lnTo>
                    <a:pt x="262923" y="37608"/>
                  </a:lnTo>
                  <a:lnTo>
                    <a:pt x="263260" y="36784"/>
                  </a:lnTo>
                  <a:lnTo>
                    <a:pt x="263964" y="36372"/>
                  </a:lnTo>
                  <a:lnTo>
                    <a:pt x="265015" y="36251"/>
                  </a:lnTo>
                  <a:lnTo>
                    <a:pt x="266480" y="35819"/>
                  </a:lnTo>
                  <a:lnTo>
                    <a:pt x="268155" y="35104"/>
                  </a:lnTo>
                  <a:lnTo>
                    <a:pt x="269893" y="34806"/>
                  </a:lnTo>
                  <a:lnTo>
                    <a:pt x="271720" y="35340"/>
                  </a:lnTo>
                  <a:lnTo>
                    <a:pt x="273921" y="35772"/>
                  </a:lnTo>
                  <a:lnTo>
                    <a:pt x="275231" y="35768"/>
                  </a:lnTo>
                  <a:lnTo>
                    <a:pt x="275860" y="37454"/>
                  </a:lnTo>
                  <a:lnTo>
                    <a:pt x="276922" y="38098"/>
                  </a:lnTo>
                  <a:lnTo>
                    <a:pt x="277339" y="39556"/>
                  </a:lnTo>
                  <a:lnTo>
                    <a:pt x="275391" y="40317"/>
                  </a:lnTo>
                  <a:lnTo>
                    <a:pt x="274236" y="40420"/>
                  </a:lnTo>
                  <a:lnTo>
                    <a:pt x="273882" y="42921"/>
                  </a:lnTo>
                  <a:lnTo>
                    <a:pt x="274430" y="43625"/>
                  </a:lnTo>
                  <a:lnTo>
                    <a:pt x="275523" y="44285"/>
                  </a:lnTo>
                  <a:lnTo>
                    <a:pt x="275821" y="45054"/>
                  </a:lnTo>
                  <a:lnTo>
                    <a:pt x="276041" y="48717"/>
                  </a:lnTo>
                  <a:lnTo>
                    <a:pt x="273804" y="50924"/>
                  </a:lnTo>
                  <a:lnTo>
                    <a:pt x="270664" y="53405"/>
                  </a:lnTo>
                  <a:lnTo>
                    <a:pt x="255320" y="61366"/>
                  </a:lnTo>
                  <a:lnTo>
                    <a:pt x="251664" y="65214"/>
                  </a:lnTo>
                  <a:lnTo>
                    <a:pt x="250271" y="66093"/>
                  </a:lnTo>
                  <a:lnTo>
                    <a:pt x="238861" y="68513"/>
                  </a:lnTo>
                  <a:lnTo>
                    <a:pt x="230884" y="71096"/>
                  </a:lnTo>
                  <a:lnTo>
                    <a:pt x="227060" y="72030"/>
                  </a:lnTo>
                  <a:lnTo>
                    <a:pt x="222283" y="76514"/>
                  </a:lnTo>
                  <a:lnTo>
                    <a:pt x="220022" y="78320"/>
                  </a:lnTo>
                  <a:lnTo>
                    <a:pt x="221823" y="78820"/>
                  </a:lnTo>
                  <a:lnTo>
                    <a:pt x="223924" y="80958"/>
                  </a:lnTo>
                  <a:lnTo>
                    <a:pt x="223218" y="81906"/>
                  </a:lnTo>
                  <a:lnTo>
                    <a:pt x="220154" y="83368"/>
                  </a:lnTo>
                  <a:lnTo>
                    <a:pt x="218815" y="83818"/>
                  </a:lnTo>
                  <a:lnTo>
                    <a:pt x="218088" y="83585"/>
                  </a:lnTo>
                  <a:lnTo>
                    <a:pt x="217401" y="83787"/>
                  </a:lnTo>
                  <a:lnTo>
                    <a:pt x="212262" y="91522"/>
                  </a:lnTo>
                  <a:lnTo>
                    <a:pt x="207723" y="97072"/>
                  </a:lnTo>
                  <a:lnTo>
                    <a:pt x="205172" y="99489"/>
                  </a:lnTo>
                  <a:lnTo>
                    <a:pt x="202558" y="103086"/>
                  </a:lnTo>
                  <a:lnTo>
                    <a:pt x="196989" y="112346"/>
                  </a:lnTo>
                  <a:lnTo>
                    <a:pt x="196946" y="115013"/>
                  </a:lnTo>
                  <a:lnTo>
                    <a:pt x="199689" y="124196"/>
                  </a:lnTo>
                  <a:lnTo>
                    <a:pt x="201261" y="126604"/>
                  </a:lnTo>
                  <a:lnTo>
                    <a:pt x="203465" y="128626"/>
                  </a:lnTo>
                  <a:lnTo>
                    <a:pt x="207645" y="130344"/>
                  </a:lnTo>
                  <a:lnTo>
                    <a:pt x="208677" y="132034"/>
                  </a:lnTo>
                  <a:lnTo>
                    <a:pt x="207234" y="133643"/>
                  </a:lnTo>
                  <a:lnTo>
                    <a:pt x="203054" y="136506"/>
                  </a:lnTo>
                  <a:lnTo>
                    <a:pt x="195790" y="140369"/>
                  </a:lnTo>
                  <a:lnTo>
                    <a:pt x="192704" y="143413"/>
                  </a:lnTo>
                  <a:lnTo>
                    <a:pt x="192043" y="146346"/>
                  </a:lnTo>
                  <a:lnTo>
                    <a:pt x="189918" y="147662"/>
                  </a:lnTo>
                  <a:lnTo>
                    <a:pt x="189113" y="151762"/>
                  </a:lnTo>
                  <a:lnTo>
                    <a:pt x="187823" y="154476"/>
                  </a:lnTo>
                  <a:lnTo>
                    <a:pt x="187575" y="155395"/>
                  </a:lnTo>
                  <a:lnTo>
                    <a:pt x="186207" y="157451"/>
                  </a:lnTo>
                  <a:lnTo>
                    <a:pt x="186020" y="158942"/>
                  </a:lnTo>
                  <a:lnTo>
                    <a:pt x="188264" y="161002"/>
                  </a:lnTo>
                  <a:lnTo>
                    <a:pt x="187152" y="161892"/>
                  </a:lnTo>
                  <a:lnTo>
                    <a:pt x="186040" y="162288"/>
                  </a:lnTo>
                  <a:lnTo>
                    <a:pt x="183477" y="162528"/>
                  </a:lnTo>
                  <a:lnTo>
                    <a:pt x="174865" y="162789"/>
                  </a:lnTo>
                  <a:lnTo>
                    <a:pt x="167935" y="167235"/>
                  </a:lnTo>
                  <a:lnTo>
                    <a:pt x="164471" y="171164"/>
                  </a:lnTo>
                  <a:lnTo>
                    <a:pt x="161338" y="178468"/>
                  </a:lnTo>
                  <a:lnTo>
                    <a:pt x="157530" y="182766"/>
                  </a:lnTo>
                  <a:lnTo>
                    <a:pt x="155846" y="183558"/>
                  </a:lnTo>
                  <a:lnTo>
                    <a:pt x="153239" y="181670"/>
                  </a:lnTo>
                  <a:lnTo>
                    <a:pt x="149983" y="181382"/>
                  </a:lnTo>
                  <a:lnTo>
                    <a:pt x="146824" y="182008"/>
                  </a:lnTo>
                  <a:lnTo>
                    <a:pt x="145167" y="183504"/>
                  </a:lnTo>
                  <a:lnTo>
                    <a:pt x="142581" y="184337"/>
                  </a:lnTo>
                  <a:lnTo>
                    <a:pt x="140054" y="183616"/>
                  </a:lnTo>
                  <a:lnTo>
                    <a:pt x="134585" y="183227"/>
                  </a:lnTo>
                  <a:lnTo>
                    <a:pt x="132154" y="183296"/>
                  </a:lnTo>
                  <a:lnTo>
                    <a:pt x="128348" y="184511"/>
                  </a:lnTo>
                  <a:lnTo>
                    <a:pt x="125085" y="183700"/>
                  </a:lnTo>
                  <a:lnTo>
                    <a:pt x="119580" y="183289"/>
                  </a:lnTo>
                  <a:lnTo>
                    <a:pt x="107660" y="184252"/>
                  </a:lnTo>
                  <a:lnTo>
                    <a:pt x="106156" y="184705"/>
                  </a:lnTo>
                  <a:lnTo>
                    <a:pt x="104666" y="186509"/>
                  </a:lnTo>
                  <a:lnTo>
                    <a:pt x="100865" y="189618"/>
                  </a:lnTo>
                  <a:lnTo>
                    <a:pt x="95090" y="189730"/>
                  </a:lnTo>
                  <a:lnTo>
                    <a:pt x="89867" y="191712"/>
                  </a:lnTo>
                  <a:lnTo>
                    <a:pt x="88562" y="192981"/>
                  </a:lnTo>
                  <a:lnTo>
                    <a:pt x="86369" y="196469"/>
                  </a:lnTo>
                  <a:lnTo>
                    <a:pt x="85678" y="199017"/>
                  </a:lnTo>
                  <a:lnTo>
                    <a:pt x="85222" y="199038"/>
                  </a:lnTo>
                  <a:lnTo>
                    <a:pt x="84655" y="198411"/>
                  </a:lnTo>
                  <a:lnTo>
                    <a:pt x="83850" y="198621"/>
                  </a:lnTo>
                  <a:lnTo>
                    <a:pt x="83433" y="200560"/>
                  </a:lnTo>
                  <a:lnTo>
                    <a:pt x="81470" y="201443"/>
                  </a:lnTo>
                  <a:lnTo>
                    <a:pt x="79829" y="201768"/>
                  </a:lnTo>
                  <a:lnTo>
                    <a:pt x="75784" y="200193"/>
                  </a:lnTo>
                  <a:lnTo>
                    <a:pt x="72417" y="197833"/>
                  </a:lnTo>
                  <a:lnTo>
                    <a:pt x="70648" y="197664"/>
                  </a:lnTo>
                  <a:lnTo>
                    <a:pt x="67778" y="193989"/>
                  </a:lnTo>
                  <a:lnTo>
                    <a:pt x="66544" y="191644"/>
                  </a:lnTo>
                  <a:lnTo>
                    <a:pt x="65667" y="189110"/>
                  </a:lnTo>
                  <a:lnTo>
                    <a:pt x="65849" y="188139"/>
                  </a:lnTo>
                  <a:lnTo>
                    <a:pt x="65600" y="187331"/>
                  </a:lnTo>
                  <a:lnTo>
                    <a:pt x="63053" y="186309"/>
                  </a:lnTo>
                  <a:lnTo>
                    <a:pt x="62432" y="183979"/>
                  </a:lnTo>
                  <a:lnTo>
                    <a:pt x="64288" y="180951"/>
                  </a:lnTo>
                  <a:lnTo>
                    <a:pt x="65811" y="179659"/>
                  </a:lnTo>
                  <a:lnTo>
                    <a:pt x="66753" y="179288"/>
                  </a:lnTo>
                  <a:lnTo>
                    <a:pt x="64450" y="179418"/>
                  </a:lnTo>
                  <a:lnTo>
                    <a:pt x="62787" y="181370"/>
                  </a:lnTo>
                  <a:lnTo>
                    <a:pt x="60659" y="178244"/>
                  </a:lnTo>
                  <a:lnTo>
                    <a:pt x="51986" y="172148"/>
                  </a:lnTo>
                  <a:lnTo>
                    <a:pt x="52545" y="170748"/>
                  </a:lnTo>
                  <a:lnTo>
                    <a:pt x="52448" y="169991"/>
                  </a:lnTo>
                  <a:lnTo>
                    <a:pt x="50994" y="171620"/>
                  </a:lnTo>
                  <a:lnTo>
                    <a:pt x="49995" y="172041"/>
                  </a:lnTo>
                  <a:lnTo>
                    <a:pt x="45567" y="171777"/>
                  </a:lnTo>
                  <a:lnTo>
                    <a:pt x="40454" y="172525"/>
                  </a:lnTo>
                  <a:lnTo>
                    <a:pt x="39105" y="166187"/>
                  </a:lnTo>
                  <a:lnTo>
                    <a:pt x="38467" y="163748"/>
                  </a:lnTo>
                  <a:lnTo>
                    <a:pt x="38301" y="162167"/>
                  </a:lnTo>
                  <a:lnTo>
                    <a:pt x="39619" y="158516"/>
                  </a:lnTo>
                  <a:lnTo>
                    <a:pt x="41057" y="157030"/>
                  </a:lnTo>
                  <a:lnTo>
                    <a:pt x="42973" y="153956"/>
                  </a:lnTo>
                  <a:lnTo>
                    <a:pt x="45335" y="151395"/>
                  </a:lnTo>
                  <a:lnTo>
                    <a:pt x="47832" y="150788"/>
                  </a:lnTo>
                  <a:lnTo>
                    <a:pt x="48930" y="150411"/>
                  </a:lnTo>
                  <a:lnTo>
                    <a:pt x="49853" y="148429"/>
                  </a:lnTo>
                  <a:lnTo>
                    <a:pt x="50373" y="146737"/>
                  </a:lnTo>
                  <a:lnTo>
                    <a:pt x="49992" y="146569"/>
                  </a:lnTo>
                  <a:lnTo>
                    <a:pt x="47082" y="146914"/>
                  </a:lnTo>
                  <a:lnTo>
                    <a:pt x="41850" y="139809"/>
                  </a:lnTo>
                  <a:lnTo>
                    <a:pt x="42010" y="138675"/>
                  </a:lnTo>
                  <a:lnTo>
                    <a:pt x="42670" y="136992"/>
                  </a:lnTo>
                  <a:lnTo>
                    <a:pt x="43103" y="134866"/>
                  </a:lnTo>
                  <a:lnTo>
                    <a:pt x="43210" y="133185"/>
                  </a:lnTo>
                  <a:lnTo>
                    <a:pt x="44572" y="131742"/>
                  </a:lnTo>
                  <a:lnTo>
                    <a:pt x="46660" y="130285"/>
                  </a:lnTo>
                  <a:lnTo>
                    <a:pt x="48417" y="128217"/>
                  </a:lnTo>
                  <a:lnTo>
                    <a:pt x="49297" y="126196"/>
                  </a:lnTo>
                  <a:lnTo>
                    <a:pt x="49480" y="124355"/>
                  </a:lnTo>
                  <a:lnTo>
                    <a:pt x="48485" y="123045"/>
                  </a:lnTo>
                  <a:lnTo>
                    <a:pt x="45623" y="122318"/>
                  </a:lnTo>
                  <a:lnTo>
                    <a:pt x="42674" y="117061"/>
                  </a:lnTo>
                  <a:lnTo>
                    <a:pt x="42018" y="113766"/>
                  </a:lnTo>
                  <a:lnTo>
                    <a:pt x="41415" y="113424"/>
                  </a:lnTo>
                  <a:lnTo>
                    <a:pt x="39593" y="111922"/>
                  </a:lnTo>
                  <a:lnTo>
                    <a:pt x="37844" y="109102"/>
                  </a:lnTo>
                  <a:lnTo>
                    <a:pt x="37590" y="108664"/>
                  </a:lnTo>
                  <a:lnTo>
                    <a:pt x="39394" y="108168"/>
                  </a:lnTo>
                  <a:lnTo>
                    <a:pt x="46833" y="108141"/>
                  </a:lnTo>
                  <a:lnTo>
                    <a:pt x="48387" y="107520"/>
                  </a:lnTo>
                  <a:lnTo>
                    <a:pt x="48623" y="107302"/>
                  </a:lnTo>
                  <a:lnTo>
                    <a:pt x="49979" y="105105"/>
                  </a:lnTo>
                  <a:lnTo>
                    <a:pt x="51399" y="101492"/>
                  </a:lnTo>
                  <a:lnTo>
                    <a:pt x="51733" y="99284"/>
                  </a:lnTo>
                  <a:lnTo>
                    <a:pt x="51284" y="98371"/>
                  </a:lnTo>
                  <a:lnTo>
                    <a:pt x="48820" y="96132"/>
                  </a:lnTo>
                  <a:lnTo>
                    <a:pt x="48714" y="95471"/>
                  </a:lnTo>
                  <a:lnTo>
                    <a:pt x="49110" y="94415"/>
                  </a:lnTo>
                  <a:lnTo>
                    <a:pt x="50575" y="93285"/>
                  </a:lnTo>
                  <a:lnTo>
                    <a:pt x="52555" y="92001"/>
                  </a:lnTo>
                  <a:lnTo>
                    <a:pt x="53633" y="90893"/>
                  </a:lnTo>
                  <a:lnTo>
                    <a:pt x="53376" y="90026"/>
                  </a:lnTo>
                  <a:lnTo>
                    <a:pt x="52797" y="89117"/>
                  </a:lnTo>
                  <a:lnTo>
                    <a:pt x="52707" y="88273"/>
                  </a:lnTo>
                  <a:lnTo>
                    <a:pt x="53069" y="87228"/>
                  </a:lnTo>
                  <a:lnTo>
                    <a:pt x="53198" y="83667"/>
                  </a:lnTo>
                  <a:lnTo>
                    <a:pt x="53452" y="82750"/>
                  </a:lnTo>
                  <a:lnTo>
                    <a:pt x="53064" y="79511"/>
                  </a:lnTo>
                  <a:lnTo>
                    <a:pt x="52581" y="76863"/>
                  </a:lnTo>
                  <a:lnTo>
                    <a:pt x="51017" y="73423"/>
                  </a:lnTo>
                  <a:lnTo>
                    <a:pt x="51303" y="72663"/>
                  </a:lnTo>
                  <a:lnTo>
                    <a:pt x="52026" y="72021"/>
                  </a:lnTo>
                  <a:lnTo>
                    <a:pt x="54393" y="70828"/>
                  </a:lnTo>
                  <a:lnTo>
                    <a:pt x="56287" y="68015"/>
                  </a:lnTo>
                  <a:lnTo>
                    <a:pt x="59034" y="65663"/>
                  </a:lnTo>
                  <a:lnTo>
                    <a:pt x="62633" y="63771"/>
                  </a:lnTo>
                  <a:lnTo>
                    <a:pt x="65149" y="61669"/>
                  </a:lnTo>
                  <a:lnTo>
                    <a:pt x="66145" y="60060"/>
                  </a:lnTo>
                  <a:lnTo>
                    <a:pt x="66848" y="59634"/>
                  </a:lnTo>
                  <a:lnTo>
                    <a:pt x="66646" y="58883"/>
                  </a:lnTo>
                  <a:lnTo>
                    <a:pt x="66172" y="57789"/>
                  </a:lnTo>
                  <a:lnTo>
                    <a:pt x="64736" y="56721"/>
                  </a:lnTo>
                  <a:lnTo>
                    <a:pt x="62886" y="56107"/>
                  </a:lnTo>
                  <a:lnTo>
                    <a:pt x="60830" y="56133"/>
                  </a:lnTo>
                  <a:lnTo>
                    <a:pt x="59558" y="55918"/>
                  </a:lnTo>
                  <a:lnTo>
                    <a:pt x="59187" y="55083"/>
                  </a:lnTo>
                  <a:lnTo>
                    <a:pt x="59328" y="52819"/>
                  </a:lnTo>
                  <a:lnTo>
                    <a:pt x="59219" y="50577"/>
                  </a:lnTo>
                  <a:lnTo>
                    <a:pt x="58825" y="49544"/>
                  </a:lnTo>
                  <a:lnTo>
                    <a:pt x="57876" y="48767"/>
                  </a:lnTo>
                  <a:lnTo>
                    <a:pt x="55989" y="48974"/>
                  </a:lnTo>
                  <a:lnTo>
                    <a:pt x="54360" y="48339"/>
                  </a:lnTo>
                  <a:lnTo>
                    <a:pt x="53124" y="48189"/>
                  </a:lnTo>
                  <a:lnTo>
                    <a:pt x="52409" y="48690"/>
                  </a:lnTo>
                  <a:lnTo>
                    <a:pt x="48761" y="48548"/>
                  </a:lnTo>
                  <a:lnTo>
                    <a:pt x="47243" y="48187"/>
                  </a:lnTo>
                  <a:lnTo>
                    <a:pt x="46182" y="47738"/>
                  </a:lnTo>
                  <a:lnTo>
                    <a:pt x="45501" y="47989"/>
                  </a:lnTo>
                  <a:lnTo>
                    <a:pt x="45116" y="48426"/>
                  </a:lnTo>
                  <a:lnTo>
                    <a:pt x="45050" y="49111"/>
                  </a:lnTo>
                  <a:lnTo>
                    <a:pt x="44800" y="50017"/>
                  </a:lnTo>
                  <a:lnTo>
                    <a:pt x="43497" y="50835"/>
                  </a:lnTo>
                  <a:lnTo>
                    <a:pt x="40510" y="51649"/>
                  </a:lnTo>
                  <a:lnTo>
                    <a:pt x="38100" y="51588"/>
                  </a:lnTo>
                  <a:lnTo>
                    <a:pt x="35889" y="51006"/>
                  </a:lnTo>
                  <a:lnTo>
                    <a:pt x="35180" y="50581"/>
                  </a:lnTo>
                  <a:lnTo>
                    <a:pt x="34110" y="50196"/>
                  </a:lnTo>
                  <a:lnTo>
                    <a:pt x="29614" y="50671"/>
                  </a:lnTo>
                  <a:lnTo>
                    <a:pt x="29073" y="50325"/>
                  </a:lnTo>
                  <a:lnTo>
                    <a:pt x="27523" y="51166"/>
                  </a:lnTo>
                  <a:lnTo>
                    <a:pt x="25235" y="52166"/>
                  </a:lnTo>
                  <a:lnTo>
                    <a:pt x="23951" y="52225"/>
                  </a:lnTo>
                  <a:lnTo>
                    <a:pt x="23486" y="52013"/>
                  </a:lnTo>
                  <a:lnTo>
                    <a:pt x="23315" y="51562"/>
                  </a:lnTo>
                  <a:lnTo>
                    <a:pt x="22353" y="50001"/>
                  </a:lnTo>
                  <a:lnTo>
                    <a:pt x="22606" y="49172"/>
                  </a:lnTo>
                  <a:lnTo>
                    <a:pt x="24449" y="46755"/>
                  </a:lnTo>
                  <a:lnTo>
                    <a:pt x="24243" y="46177"/>
                  </a:lnTo>
                  <a:lnTo>
                    <a:pt x="23485" y="45395"/>
                  </a:lnTo>
                  <a:lnTo>
                    <a:pt x="22808" y="44266"/>
                  </a:lnTo>
                  <a:lnTo>
                    <a:pt x="22612" y="43686"/>
                  </a:lnTo>
                  <a:lnTo>
                    <a:pt x="21440" y="43587"/>
                  </a:lnTo>
                  <a:lnTo>
                    <a:pt x="20191" y="44180"/>
                  </a:lnTo>
                  <a:lnTo>
                    <a:pt x="15425" y="45396"/>
                  </a:lnTo>
                  <a:lnTo>
                    <a:pt x="14285" y="45837"/>
                  </a:lnTo>
                  <a:lnTo>
                    <a:pt x="12221" y="47012"/>
                  </a:lnTo>
                  <a:lnTo>
                    <a:pt x="10139" y="48801"/>
                  </a:lnTo>
                  <a:lnTo>
                    <a:pt x="8476" y="49177"/>
                  </a:lnTo>
                  <a:lnTo>
                    <a:pt x="7902" y="48647"/>
                  </a:lnTo>
                  <a:lnTo>
                    <a:pt x="7705" y="44441"/>
                  </a:lnTo>
                  <a:lnTo>
                    <a:pt x="10242" y="41641"/>
                  </a:lnTo>
                  <a:lnTo>
                    <a:pt x="12045" y="39949"/>
                  </a:lnTo>
                  <a:lnTo>
                    <a:pt x="11199" y="39608"/>
                  </a:lnTo>
                  <a:lnTo>
                    <a:pt x="9284" y="39654"/>
                  </a:lnTo>
                  <a:lnTo>
                    <a:pt x="9413" y="38344"/>
                  </a:lnTo>
                  <a:lnTo>
                    <a:pt x="10310" y="37713"/>
                  </a:lnTo>
                  <a:lnTo>
                    <a:pt x="11181" y="36286"/>
                  </a:lnTo>
                  <a:lnTo>
                    <a:pt x="10160" y="35670"/>
                  </a:lnTo>
                  <a:lnTo>
                    <a:pt x="9366" y="34731"/>
                  </a:lnTo>
                  <a:lnTo>
                    <a:pt x="9414" y="32269"/>
                  </a:lnTo>
                  <a:lnTo>
                    <a:pt x="9636" y="31266"/>
                  </a:lnTo>
                  <a:lnTo>
                    <a:pt x="9379" y="30187"/>
                  </a:lnTo>
                  <a:lnTo>
                    <a:pt x="5481" y="31647"/>
                  </a:lnTo>
                  <a:lnTo>
                    <a:pt x="4479" y="31428"/>
                  </a:lnTo>
                  <a:lnTo>
                    <a:pt x="4436" y="29599"/>
                  </a:lnTo>
                  <a:lnTo>
                    <a:pt x="6599" y="26810"/>
                  </a:lnTo>
                  <a:lnTo>
                    <a:pt x="6821" y="25958"/>
                  </a:lnTo>
                  <a:lnTo>
                    <a:pt x="4291" y="25545"/>
                  </a:lnTo>
                  <a:lnTo>
                    <a:pt x="2398" y="24174"/>
                  </a:lnTo>
                  <a:lnTo>
                    <a:pt x="1243" y="22949"/>
                  </a:lnTo>
                  <a:lnTo>
                    <a:pt x="10" y="21184"/>
                  </a:lnTo>
                  <a:lnTo>
                    <a:pt x="0" y="19606"/>
                  </a:lnTo>
                  <a:lnTo>
                    <a:pt x="1273" y="15897"/>
                  </a:lnTo>
                  <a:lnTo>
                    <a:pt x="3098" y="14818"/>
                  </a:lnTo>
                  <a:lnTo>
                    <a:pt x="4669" y="14154"/>
                  </a:lnTo>
                  <a:lnTo>
                    <a:pt x="8004" y="11588"/>
                  </a:lnTo>
                  <a:lnTo>
                    <a:pt x="12605" y="12067"/>
                  </a:lnTo>
                  <a:lnTo>
                    <a:pt x="15448" y="11517"/>
                  </a:lnTo>
                  <a:lnTo>
                    <a:pt x="18001" y="10206"/>
                  </a:lnTo>
                  <a:lnTo>
                    <a:pt x="19463" y="9910"/>
                  </a:lnTo>
                  <a:lnTo>
                    <a:pt x="21819" y="8764"/>
                  </a:lnTo>
                  <a:lnTo>
                    <a:pt x="21745" y="7216"/>
                  </a:lnTo>
                  <a:lnTo>
                    <a:pt x="20936" y="6066"/>
                  </a:lnTo>
                  <a:lnTo>
                    <a:pt x="21646" y="4981"/>
                  </a:lnTo>
                  <a:lnTo>
                    <a:pt x="24290" y="3656"/>
                  </a:lnTo>
                  <a:lnTo>
                    <a:pt x="27219" y="1894"/>
                  </a:lnTo>
                  <a:lnTo>
                    <a:pt x="30580" y="1554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26" name="ee4p_EE_1_37365">
              <a:extLst>
                <a:ext uri="{FF2B5EF4-FFF2-40B4-BE49-F238E27FC236}">
                  <a16:creationId xmlns:a16="http://schemas.microsoft.com/office/drawing/2014/main" id="{767808AB-B87F-B863-F545-103EB7B6E665}"/>
                </a:ext>
              </a:extLst>
            </p:cNvPr>
            <p:cNvSpPr>
              <a:spLocks noChangeAspect="1"/>
            </p:cNvSpPr>
            <p:nvPr>
              <p:custDataLst>
                <p:tags r:id="rId280"/>
              </p:custDataLst>
            </p:nvPr>
          </p:nvSpPr>
          <p:spPr>
            <a:xfrm>
              <a:off x="7121585" y="2735037"/>
              <a:ext cx="174852" cy="88190"/>
            </a:xfrm>
            <a:custGeom>
              <a:avLst/>
              <a:gdLst>
                <a:gd name="connsiteX0" fmla="*/ 15312 w 139231"/>
                <a:gd name="connsiteY0" fmla="*/ 32990 h 68362"/>
                <a:gd name="connsiteX1" fmla="*/ 16869 w 139231"/>
                <a:gd name="connsiteY1" fmla="*/ 33189 h 68362"/>
                <a:gd name="connsiteX2" fmla="*/ 18439 w 139231"/>
                <a:gd name="connsiteY2" fmla="*/ 33973 h 68362"/>
                <a:gd name="connsiteX3" fmla="*/ 19886 w 139231"/>
                <a:gd name="connsiteY3" fmla="*/ 33725 h 68362"/>
                <a:gd name="connsiteX4" fmla="*/ 21352 w 139231"/>
                <a:gd name="connsiteY4" fmla="*/ 33180 h 68362"/>
                <a:gd name="connsiteX5" fmla="*/ 24539 w 139231"/>
                <a:gd name="connsiteY5" fmla="*/ 33692 h 68362"/>
                <a:gd name="connsiteX6" fmla="*/ 31805 w 139231"/>
                <a:gd name="connsiteY6" fmla="*/ 37642 h 68362"/>
                <a:gd name="connsiteX7" fmla="*/ 32477 w 139231"/>
                <a:gd name="connsiteY7" fmla="*/ 38697 h 68362"/>
                <a:gd name="connsiteX8" fmla="*/ 28141 w 139231"/>
                <a:gd name="connsiteY8" fmla="*/ 39176 h 68362"/>
                <a:gd name="connsiteX9" fmla="*/ 27156 w 139231"/>
                <a:gd name="connsiteY9" fmla="*/ 40385 h 68362"/>
                <a:gd name="connsiteX10" fmla="*/ 26114 w 139231"/>
                <a:gd name="connsiteY10" fmla="*/ 41230 h 68362"/>
                <a:gd name="connsiteX11" fmla="*/ 24885 w 139231"/>
                <a:gd name="connsiteY11" fmla="*/ 41502 h 68362"/>
                <a:gd name="connsiteX12" fmla="*/ 22790 w 139231"/>
                <a:gd name="connsiteY12" fmla="*/ 43197 h 68362"/>
                <a:gd name="connsiteX13" fmla="*/ 19957 w 139231"/>
                <a:gd name="connsiteY13" fmla="*/ 44819 h 68362"/>
                <a:gd name="connsiteX14" fmla="*/ 19365 w 139231"/>
                <a:gd name="connsiteY14" fmla="*/ 45792 h 68362"/>
                <a:gd name="connsiteX15" fmla="*/ 14239 w 139231"/>
                <a:gd name="connsiteY15" fmla="*/ 45613 h 68362"/>
                <a:gd name="connsiteX16" fmla="*/ 11436 w 139231"/>
                <a:gd name="connsiteY16" fmla="*/ 46227 h 68362"/>
                <a:gd name="connsiteX17" fmla="*/ 9173 w 139231"/>
                <a:gd name="connsiteY17" fmla="*/ 48040 h 68362"/>
                <a:gd name="connsiteX18" fmla="*/ 8244 w 139231"/>
                <a:gd name="connsiteY18" fmla="*/ 51538 h 68362"/>
                <a:gd name="connsiteX19" fmla="*/ 6588 w 139231"/>
                <a:gd name="connsiteY19" fmla="*/ 54265 h 68362"/>
                <a:gd name="connsiteX20" fmla="*/ 4904 w 139231"/>
                <a:gd name="connsiteY20" fmla="*/ 55250 h 68362"/>
                <a:gd name="connsiteX21" fmla="*/ 3148 w 139231"/>
                <a:gd name="connsiteY21" fmla="*/ 55400 h 68362"/>
                <a:gd name="connsiteX22" fmla="*/ 2732 w 139231"/>
                <a:gd name="connsiteY22" fmla="*/ 54377 h 68362"/>
                <a:gd name="connsiteX23" fmla="*/ 2898 w 139231"/>
                <a:gd name="connsiteY23" fmla="*/ 53355 h 68362"/>
                <a:gd name="connsiteX24" fmla="*/ 6599 w 139231"/>
                <a:gd name="connsiteY24" fmla="*/ 49499 h 68362"/>
                <a:gd name="connsiteX25" fmla="*/ 7368 w 139231"/>
                <a:gd name="connsiteY25" fmla="*/ 48246 h 68362"/>
                <a:gd name="connsiteX26" fmla="*/ 5526 w 139231"/>
                <a:gd name="connsiteY26" fmla="*/ 47689 h 68362"/>
                <a:gd name="connsiteX27" fmla="*/ 3982 w 139231"/>
                <a:gd name="connsiteY27" fmla="*/ 46348 h 68362"/>
                <a:gd name="connsiteX28" fmla="*/ 611 w 139231"/>
                <a:gd name="connsiteY28" fmla="*/ 44772 h 68362"/>
                <a:gd name="connsiteX29" fmla="*/ 0 w 139231"/>
                <a:gd name="connsiteY29" fmla="*/ 43506 h 68362"/>
                <a:gd name="connsiteX30" fmla="*/ 808 w 139231"/>
                <a:gd name="connsiteY30" fmla="*/ 43412 h 68362"/>
                <a:gd name="connsiteX31" fmla="*/ 1546 w 139231"/>
                <a:gd name="connsiteY31" fmla="*/ 43049 h 68362"/>
                <a:gd name="connsiteX32" fmla="*/ 2444 w 139231"/>
                <a:gd name="connsiteY32" fmla="*/ 41987 h 68362"/>
                <a:gd name="connsiteX33" fmla="*/ 2865 w 139231"/>
                <a:gd name="connsiteY33" fmla="*/ 40767 h 68362"/>
                <a:gd name="connsiteX34" fmla="*/ 173 w 139231"/>
                <a:gd name="connsiteY34" fmla="*/ 37200 h 68362"/>
                <a:gd name="connsiteX35" fmla="*/ 1546 w 139231"/>
                <a:gd name="connsiteY35" fmla="*/ 36648 h 68362"/>
                <a:gd name="connsiteX36" fmla="*/ 3258 w 139231"/>
                <a:gd name="connsiteY36" fmla="*/ 36778 h 68362"/>
                <a:gd name="connsiteX37" fmla="*/ 5016 w 139231"/>
                <a:gd name="connsiteY37" fmla="*/ 37815 h 68362"/>
                <a:gd name="connsiteX38" fmla="*/ 6945 w 139231"/>
                <a:gd name="connsiteY38" fmla="*/ 36598 h 68362"/>
                <a:gd name="connsiteX39" fmla="*/ 7763 w 139231"/>
                <a:gd name="connsiteY39" fmla="*/ 36418 h 68362"/>
                <a:gd name="connsiteX40" fmla="*/ 9113 w 139231"/>
                <a:gd name="connsiteY40" fmla="*/ 36852 h 68362"/>
                <a:gd name="connsiteX41" fmla="*/ 10473 w 139231"/>
                <a:gd name="connsiteY41" fmla="*/ 34496 h 68362"/>
                <a:gd name="connsiteX42" fmla="*/ 13708 w 139231"/>
                <a:gd name="connsiteY42" fmla="*/ 33718 h 68362"/>
                <a:gd name="connsiteX43" fmla="*/ 28987 w 139231"/>
                <a:gd name="connsiteY43" fmla="*/ 31348 h 68362"/>
                <a:gd name="connsiteX44" fmla="*/ 32689 w 139231"/>
                <a:gd name="connsiteY44" fmla="*/ 32304 h 68362"/>
                <a:gd name="connsiteX45" fmla="*/ 33211 w 139231"/>
                <a:gd name="connsiteY45" fmla="*/ 34668 h 68362"/>
                <a:gd name="connsiteX46" fmla="*/ 32926 w 139231"/>
                <a:gd name="connsiteY46" fmla="*/ 35482 h 68362"/>
                <a:gd name="connsiteX47" fmla="*/ 31086 w 139231"/>
                <a:gd name="connsiteY47" fmla="*/ 35817 h 68362"/>
                <a:gd name="connsiteX48" fmla="*/ 26733 w 139231"/>
                <a:gd name="connsiteY48" fmla="*/ 33518 h 68362"/>
                <a:gd name="connsiteX49" fmla="*/ 27742 w 139231"/>
                <a:gd name="connsiteY49" fmla="*/ 31960 h 68362"/>
                <a:gd name="connsiteX50" fmla="*/ 17577 w 139231"/>
                <a:gd name="connsiteY50" fmla="*/ 18061 h 68362"/>
                <a:gd name="connsiteX51" fmla="*/ 18746 w 139231"/>
                <a:gd name="connsiteY51" fmla="*/ 18475 h 68362"/>
                <a:gd name="connsiteX52" fmla="*/ 18966 w 139231"/>
                <a:gd name="connsiteY52" fmla="*/ 19857 h 68362"/>
                <a:gd name="connsiteX53" fmla="*/ 19260 w 139231"/>
                <a:gd name="connsiteY53" fmla="*/ 20406 h 68362"/>
                <a:gd name="connsiteX54" fmla="*/ 23337 w 139231"/>
                <a:gd name="connsiteY54" fmla="*/ 21184 h 68362"/>
                <a:gd name="connsiteX55" fmla="*/ 24924 w 139231"/>
                <a:gd name="connsiteY55" fmla="*/ 23505 h 68362"/>
                <a:gd name="connsiteX56" fmla="*/ 25522 w 139231"/>
                <a:gd name="connsiteY56" fmla="*/ 26295 h 68362"/>
                <a:gd name="connsiteX57" fmla="*/ 23643 w 139231"/>
                <a:gd name="connsiteY57" fmla="*/ 26524 h 68362"/>
                <a:gd name="connsiteX58" fmla="*/ 21829 w 139231"/>
                <a:gd name="connsiteY58" fmla="*/ 28128 h 68362"/>
                <a:gd name="connsiteX59" fmla="*/ 20749 w 139231"/>
                <a:gd name="connsiteY59" fmla="*/ 27487 h 68362"/>
                <a:gd name="connsiteX60" fmla="*/ 20184 w 139231"/>
                <a:gd name="connsiteY60" fmla="*/ 26718 h 68362"/>
                <a:gd name="connsiteX61" fmla="*/ 17843 w 139231"/>
                <a:gd name="connsiteY61" fmla="*/ 30342 h 68362"/>
                <a:gd name="connsiteX62" fmla="*/ 15206 w 139231"/>
                <a:gd name="connsiteY62" fmla="*/ 30963 h 68362"/>
                <a:gd name="connsiteX63" fmla="*/ 13669 w 139231"/>
                <a:gd name="connsiteY63" fmla="*/ 30248 h 68362"/>
                <a:gd name="connsiteX64" fmla="*/ 13807 w 139231"/>
                <a:gd name="connsiteY64" fmla="*/ 28895 h 68362"/>
                <a:gd name="connsiteX65" fmla="*/ 12306 w 139231"/>
                <a:gd name="connsiteY65" fmla="*/ 25339 h 68362"/>
                <a:gd name="connsiteX66" fmla="*/ 10015 w 139231"/>
                <a:gd name="connsiteY66" fmla="*/ 24297 h 68362"/>
                <a:gd name="connsiteX67" fmla="*/ 6798 w 139231"/>
                <a:gd name="connsiteY67" fmla="*/ 24199 h 68362"/>
                <a:gd name="connsiteX68" fmla="*/ 4461 w 139231"/>
                <a:gd name="connsiteY68" fmla="*/ 22732 h 68362"/>
                <a:gd name="connsiteX69" fmla="*/ 13446 w 139231"/>
                <a:gd name="connsiteY69" fmla="*/ 21733 h 68362"/>
                <a:gd name="connsiteX70" fmla="*/ 14375 w 139231"/>
                <a:gd name="connsiteY70" fmla="*/ 20036 h 68362"/>
                <a:gd name="connsiteX71" fmla="*/ 16202 w 139231"/>
                <a:gd name="connsiteY71" fmla="*/ 18254 h 68362"/>
                <a:gd name="connsiteX72" fmla="*/ 80815 w 139231"/>
                <a:gd name="connsiteY72" fmla="*/ 0 h 68362"/>
                <a:gd name="connsiteX73" fmla="*/ 83169 w 139231"/>
                <a:gd name="connsiteY73" fmla="*/ 377 h 68362"/>
                <a:gd name="connsiteX74" fmla="*/ 87105 w 139231"/>
                <a:gd name="connsiteY74" fmla="*/ 143 h 68362"/>
                <a:gd name="connsiteX75" fmla="*/ 101856 w 139231"/>
                <a:gd name="connsiteY75" fmla="*/ 2795 h 68362"/>
                <a:gd name="connsiteX76" fmla="*/ 105486 w 139231"/>
                <a:gd name="connsiteY76" fmla="*/ 2795 h 68362"/>
                <a:gd name="connsiteX77" fmla="*/ 110506 w 139231"/>
                <a:gd name="connsiteY77" fmla="*/ 5489 h 68362"/>
                <a:gd name="connsiteX78" fmla="*/ 113219 w 139231"/>
                <a:gd name="connsiteY78" fmla="*/ 6182 h 68362"/>
                <a:gd name="connsiteX79" fmla="*/ 121204 w 139231"/>
                <a:gd name="connsiteY79" fmla="*/ 6187 h 68362"/>
                <a:gd name="connsiteX80" fmla="*/ 133515 w 139231"/>
                <a:gd name="connsiteY80" fmla="*/ 7375 h 68362"/>
                <a:gd name="connsiteX81" fmla="*/ 135931 w 139231"/>
                <a:gd name="connsiteY81" fmla="*/ 5553 h 68362"/>
                <a:gd name="connsiteX82" fmla="*/ 136166 w 139231"/>
                <a:gd name="connsiteY82" fmla="*/ 5079 h 68362"/>
                <a:gd name="connsiteX83" fmla="*/ 137345 w 139231"/>
                <a:gd name="connsiteY83" fmla="*/ 6099 h 68362"/>
                <a:gd name="connsiteX84" fmla="*/ 138831 w 139231"/>
                <a:gd name="connsiteY84" fmla="*/ 7740 h 68362"/>
                <a:gd name="connsiteX85" fmla="*/ 139231 w 139231"/>
                <a:gd name="connsiteY85" fmla="*/ 8678 h 68362"/>
                <a:gd name="connsiteX86" fmla="*/ 138728 w 139231"/>
                <a:gd name="connsiteY86" fmla="*/ 9229 h 68362"/>
                <a:gd name="connsiteX87" fmla="*/ 137246 w 139231"/>
                <a:gd name="connsiteY87" fmla="*/ 9697 h 68362"/>
                <a:gd name="connsiteX88" fmla="*/ 136909 w 139231"/>
                <a:gd name="connsiteY88" fmla="*/ 10202 h 68362"/>
                <a:gd name="connsiteX89" fmla="*/ 136253 w 139231"/>
                <a:gd name="connsiteY89" fmla="*/ 11056 h 68362"/>
                <a:gd name="connsiteX90" fmla="*/ 134523 w 139231"/>
                <a:gd name="connsiteY90" fmla="*/ 11210 h 68362"/>
                <a:gd name="connsiteX91" fmla="*/ 133627 w 139231"/>
                <a:gd name="connsiteY91" fmla="*/ 11843 h 68362"/>
                <a:gd name="connsiteX92" fmla="*/ 132562 w 139231"/>
                <a:gd name="connsiteY92" fmla="*/ 14618 h 68362"/>
                <a:gd name="connsiteX93" fmla="*/ 130530 w 139231"/>
                <a:gd name="connsiteY93" fmla="*/ 19205 h 68362"/>
                <a:gd name="connsiteX94" fmla="*/ 127527 w 139231"/>
                <a:gd name="connsiteY94" fmla="*/ 22688 h 68362"/>
                <a:gd name="connsiteX95" fmla="*/ 125123 w 139231"/>
                <a:gd name="connsiteY95" fmla="*/ 24595 h 68362"/>
                <a:gd name="connsiteX96" fmla="*/ 124048 w 139231"/>
                <a:gd name="connsiteY96" fmla="*/ 26056 h 68362"/>
                <a:gd name="connsiteX97" fmla="*/ 123378 w 139231"/>
                <a:gd name="connsiteY97" fmla="*/ 27810 h 68362"/>
                <a:gd name="connsiteX98" fmla="*/ 123221 w 139231"/>
                <a:gd name="connsiteY98" fmla="*/ 29568 h 68362"/>
                <a:gd name="connsiteX99" fmla="*/ 125527 w 139231"/>
                <a:gd name="connsiteY99" fmla="*/ 39200 h 68362"/>
                <a:gd name="connsiteX100" fmla="*/ 125499 w 139231"/>
                <a:gd name="connsiteY100" fmla="*/ 40934 h 68362"/>
                <a:gd name="connsiteX101" fmla="*/ 124957 w 139231"/>
                <a:gd name="connsiteY101" fmla="*/ 42713 h 68362"/>
                <a:gd name="connsiteX102" fmla="*/ 124564 w 139231"/>
                <a:gd name="connsiteY102" fmla="*/ 44524 h 68362"/>
                <a:gd name="connsiteX103" fmla="*/ 124888 w 139231"/>
                <a:gd name="connsiteY103" fmla="*/ 46092 h 68362"/>
                <a:gd name="connsiteX104" fmla="*/ 126406 w 139231"/>
                <a:gd name="connsiteY104" fmla="*/ 48768 h 68362"/>
                <a:gd name="connsiteX105" fmla="*/ 128021 w 139231"/>
                <a:gd name="connsiteY105" fmla="*/ 52754 h 68362"/>
                <a:gd name="connsiteX106" fmla="*/ 128669 w 139231"/>
                <a:gd name="connsiteY106" fmla="*/ 55296 h 68362"/>
                <a:gd name="connsiteX107" fmla="*/ 129742 w 139231"/>
                <a:gd name="connsiteY107" fmla="*/ 56229 h 68362"/>
                <a:gd name="connsiteX108" fmla="*/ 130776 w 139231"/>
                <a:gd name="connsiteY108" fmla="*/ 56912 h 68362"/>
                <a:gd name="connsiteX109" fmla="*/ 130993 w 139231"/>
                <a:gd name="connsiteY109" fmla="*/ 57342 h 68362"/>
                <a:gd name="connsiteX110" fmla="*/ 130958 w 139231"/>
                <a:gd name="connsiteY110" fmla="*/ 57789 h 68362"/>
                <a:gd name="connsiteX111" fmla="*/ 130425 w 139231"/>
                <a:gd name="connsiteY111" fmla="*/ 58292 h 68362"/>
                <a:gd name="connsiteX112" fmla="*/ 125765 w 139231"/>
                <a:gd name="connsiteY112" fmla="*/ 59622 h 68362"/>
                <a:gd name="connsiteX113" fmla="*/ 125160 w 139231"/>
                <a:gd name="connsiteY113" fmla="*/ 60748 h 68362"/>
                <a:gd name="connsiteX114" fmla="*/ 124657 w 139231"/>
                <a:gd name="connsiteY114" fmla="*/ 62002 h 68362"/>
                <a:gd name="connsiteX115" fmla="*/ 122623 w 139231"/>
                <a:gd name="connsiteY115" fmla="*/ 63858 h 68362"/>
                <a:gd name="connsiteX116" fmla="*/ 121999 w 139231"/>
                <a:gd name="connsiteY116" fmla="*/ 65588 h 68362"/>
                <a:gd name="connsiteX117" fmla="*/ 121612 w 139231"/>
                <a:gd name="connsiteY117" fmla="*/ 67573 h 68362"/>
                <a:gd name="connsiteX118" fmla="*/ 121560 w 139231"/>
                <a:gd name="connsiteY118" fmla="*/ 68279 h 68362"/>
                <a:gd name="connsiteX119" fmla="*/ 120999 w 139231"/>
                <a:gd name="connsiteY119" fmla="*/ 68362 h 68362"/>
                <a:gd name="connsiteX120" fmla="*/ 117915 w 139231"/>
                <a:gd name="connsiteY120" fmla="*/ 67954 h 68362"/>
                <a:gd name="connsiteX121" fmla="*/ 114517 w 139231"/>
                <a:gd name="connsiteY121" fmla="*/ 66666 h 68362"/>
                <a:gd name="connsiteX122" fmla="*/ 113026 w 139231"/>
                <a:gd name="connsiteY122" fmla="*/ 65698 h 68362"/>
                <a:gd name="connsiteX123" fmla="*/ 111563 w 139231"/>
                <a:gd name="connsiteY123" fmla="*/ 65708 h 68362"/>
                <a:gd name="connsiteX124" fmla="*/ 109792 w 139231"/>
                <a:gd name="connsiteY124" fmla="*/ 66348 h 68362"/>
                <a:gd name="connsiteX125" fmla="*/ 103443 w 139231"/>
                <a:gd name="connsiteY125" fmla="*/ 68187 h 68362"/>
                <a:gd name="connsiteX126" fmla="*/ 101884 w 139231"/>
                <a:gd name="connsiteY126" fmla="*/ 67758 h 68362"/>
                <a:gd name="connsiteX127" fmla="*/ 98256 w 139231"/>
                <a:gd name="connsiteY127" fmla="*/ 65954 h 68362"/>
                <a:gd name="connsiteX128" fmla="*/ 96421 w 139231"/>
                <a:gd name="connsiteY128" fmla="*/ 63988 h 68362"/>
                <a:gd name="connsiteX129" fmla="*/ 92337 w 139231"/>
                <a:gd name="connsiteY129" fmla="*/ 60066 h 68362"/>
                <a:gd name="connsiteX130" fmla="*/ 92003 w 139231"/>
                <a:gd name="connsiteY130" fmla="*/ 59132 h 68362"/>
                <a:gd name="connsiteX131" fmla="*/ 91469 w 139231"/>
                <a:gd name="connsiteY131" fmla="*/ 58383 h 68362"/>
                <a:gd name="connsiteX132" fmla="*/ 87105 w 139231"/>
                <a:gd name="connsiteY132" fmla="*/ 57411 h 68362"/>
                <a:gd name="connsiteX133" fmla="*/ 85494 w 139231"/>
                <a:gd name="connsiteY133" fmla="*/ 55962 h 68362"/>
                <a:gd name="connsiteX134" fmla="*/ 84151 w 139231"/>
                <a:gd name="connsiteY134" fmla="*/ 55759 h 68362"/>
                <a:gd name="connsiteX135" fmla="*/ 82186 w 139231"/>
                <a:gd name="connsiteY135" fmla="*/ 55035 h 68362"/>
                <a:gd name="connsiteX136" fmla="*/ 77073 w 139231"/>
                <a:gd name="connsiteY136" fmla="*/ 51935 h 68362"/>
                <a:gd name="connsiteX137" fmla="*/ 75803 w 139231"/>
                <a:gd name="connsiteY137" fmla="*/ 51645 h 68362"/>
                <a:gd name="connsiteX138" fmla="*/ 75494 w 139231"/>
                <a:gd name="connsiteY138" fmla="*/ 52167 h 68362"/>
                <a:gd name="connsiteX139" fmla="*/ 75583 w 139231"/>
                <a:gd name="connsiteY139" fmla="*/ 52900 h 68362"/>
                <a:gd name="connsiteX140" fmla="*/ 75265 w 139231"/>
                <a:gd name="connsiteY140" fmla="*/ 53324 h 68362"/>
                <a:gd name="connsiteX141" fmla="*/ 74611 w 139231"/>
                <a:gd name="connsiteY141" fmla="*/ 53310 h 68362"/>
                <a:gd name="connsiteX142" fmla="*/ 73428 w 139231"/>
                <a:gd name="connsiteY142" fmla="*/ 52170 h 68362"/>
                <a:gd name="connsiteX143" fmla="*/ 72009 w 139231"/>
                <a:gd name="connsiteY143" fmla="*/ 51166 h 68362"/>
                <a:gd name="connsiteX144" fmla="*/ 67593 w 139231"/>
                <a:gd name="connsiteY144" fmla="*/ 53053 h 68362"/>
                <a:gd name="connsiteX145" fmla="*/ 65995 w 139231"/>
                <a:gd name="connsiteY145" fmla="*/ 53562 h 68362"/>
                <a:gd name="connsiteX146" fmla="*/ 64596 w 139231"/>
                <a:gd name="connsiteY146" fmla="*/ 53673 h 68362"/>
                <a:gd name="connsiteX147" fmla="*/ 57589 w 139231"/>
                <a:gd name="connsiteY147" fmla="*/ 56153 h 68362"/>
                <a:gd name="connsiteX148" fmla="*/ 55457 w 139231"/>
                <a:gd name="connsiteY148" fmla="*/ 57488 h 68362"/>
                <a:gd name="connsiteX149" fmla="*/ 54574 w 139231"/>
                <a:gd name="connsiteY149" fmla="*/ 57345 h 68362"/>
                <a:gd name="connsiteX150" fmla="*/ 54783 w 139231"/>
                <a:gd name="connsiteY150" fmla="*/ 56092 h 68362"/>
                <a:gd name="connsiteX151" fmla="*/ 57699 w 139231"/>
                <a:gd name="connsiteY151" fmla="*/ 49800 h 68362"/>
                <a:gd name="connsiteX152" fmla="*/ 58221 w 139231"/>
                <a:gd name="connsiteY152" fmla="*/ 44795 h 68362"/>
                <a:gd name="connsiteX153" fmla="*/ 59288 w 139231"/>
                <a:gd name="connsiteY153" fmla="*/ 44107 h 68362"/>
                <a:gd name="connsiteX154" fmla="*/ 59597 w 139231"/>
                <a:gd name="connsiteY154" fmla="*/ 43412 h 68362"/>
                <a:gd name="connsiteX155" fmla="*/ 59141 w 139231"/>
                <a:gd name="connsiteY155" fmla="*/ 41812 h 68362"/>
                <a:gd name="connsiteX156" fmla="*/ 56114 w 139231"/>
                <a:gd name="connsiteY156" fmla="*/ 40786 h 68362"/>
                <a:gd name="connsiteX157" fmla="*/ 54892 w 139231"/>
                <a:gd name="connsiteY157" fmla="*/ 40937 h 68362"/>
                <a:gd name="connsiteX158" fmla="*/ 53792 w 139231"/>
                <a:gd name="connsiteY158" fmla="*/ 42657 h 68362"/>
                <a:gd name="connsiteX159" fmla="*/ 52652 w 139231"/>
                <a:gd name="connsiteY159" fmla="*/ 43896 h 68362"/>
                <a:gd name="connsiteX160" fmla="*/ 49981 w 139231"/>
                <a:gd name="connsiteY160" fmla="*/ 44651 h 68362"/>
                <a:gd name="connsiteX161" fmla="*/ 47684 w 139231"/>
                <a:gd name="connsiteY161" fmla="*/ 43346 h 68362"/>
                <a:gd name="connsiteX162" fmla="*/ 42302 w 139231"/>
                <a:gd name="connsiteY162" fmla="*/ 41600 h 68362"/>
                <a:gd name="connsiteX163" fmla="*/ 40942 w 139231"/>
                <a:gd name="connsiteY163" fmla="*/ 39272 h 68362"/>
                <a:gd name="connsiteX164" fmla="*/ 40620 w 139231"/>
                <a:gd name="connsiteY164" fmla="*/ 36928 h 68362"/>
                <a:gd name="connsiteX165" fmla="*/ 37774 w 139231"/>
                <a:gd name="connsiteY165" fmla="*/ 34658 h 68362"/>
                <a:gd name="connsiteX166" fmla="*/ 36591 w 139231"/>
                <a:gd name="connsiteY166" fmla="*/ 31982 h 68362"/>
                <a:gd name="connsiteX167" fmla="*/ 37064 w 139231"/>
                <a:gd name="connsiteY167" fmla="*/ 30112 h 68362"/>
                <a:gd name="connsiteX168" fmla="*/ 39646 w 139231"/>
                <a:gd name="connsiteY168" fmla="*/ 28884 h 68362"/>
                <a:gd name="connsiteX169" fmla="*/ 40383 w 139231"/>
                <a:gd name="connsiteY169" fmla="*/ 27813 h 68362"/>
                <a:gd name="connsiteX170" fmla="*/ 37128 w 139231"/>
                <a:gd name="connsiteY170" fmla="*/ 27983 h 68362"/>
                <a:gd name="connsiteX171" fmla="*/ 36466 w 139231"/>
                <a:gd name="connsiteY171" fmla="*/ 27726 h 68362"/>
                <a:gd name="connsiteX172" fmla="*/ 36323 w 139231"/>
                <a:gd name="connsiteY172" fmla="*/ 26763 h 68362"/>
                <a:gd name="connsiteX173" fmla="*/ 34883 w 139231"/>
                <a:gd name="connsiteY173" fmla="*/ 23478 h 68362"/>
                <a:gd name="connsiteX174" fmla="*/ 36157 w 139231"/>
                <a:gd name="connsiteY174" fmla="*/ 22183 h 68362"/>
                <a:gd name="connsiteX175" fmla="*/ 36718 w 139231"/>
                <a:gd name="connsiteY175" fmla="*/ 20923 h 68362"/>
                <a:gd name="connsiteX176" fmla="*/ 35673 w 139231"/>
                <a:gd name="connsiteY176" fmla="*/ 19850 h 68362"/>
                <a:gd name="connsiteX177" fmla="*/ 35947 w 139231"/>
                <a:gd name="connsiteY177" fmla="*/ 18629 h 68362"/>
                <a:gd name="connsiteX178" fmla="*/ 36761 w 139231"/>
                <a:gd name="connsiteY178" fmla="*/ 17394 h 68362"/>
                <a:gd name="connsiteX179" fmla="*/ 36262 w 139231"/>
                <a:gd name="connsiteY179" fmla="*/ 14521 h 68362"/>
                <a:gd name="connsiteX180" fmla="*/ 39493 w 139231"/>
                <a:gd name="connsiteY180" fmla="*/ 12997 h 68362"/>
                <a:gd name="connsiteX181" fmla="*/ 42633 w 139231"/>
                <a:gd name="connsiteY181" fmla="*/ 11924 h 68362"/>
                <a:gd name="connsiteX182" fmla="*/ 49286 w 139231"/>
                <a:gd name="connsiteY182" fmla="*/ 11377 h 68362"/>
                <a:gd name="connsiteX183" fmla="*/ 48627 w 139231"/>
                <a:gd name="connsiteY183" fmla="*/ 8747 h 68362"/>
                <a:gd name="connsiteX184" fmla="*/ 51320 w 139231"/>
                <a:gd name="connsiteY184" fmla="*/ 8628 h 68362"/>
                <a:gd name="connsiteX185" fmla="*/ 55852 w 139231"/>
                <a:gd name="connsiteY185" fmla="*/ 5460 h 68362"/>
                <a:gd name="connsiteX186" fmla="*/ 60346 w 139231"/>
                <a:gd name="connsiteY186" fmla="*/ 6017 h 68362"/>
                <a:gd name="connsiteX187" fmla="*/ 66846 w 139231"/>
                <a:gd name="connsiteY187" fmla="*/ 3840 h 68362"/>
                <a:gd name="connsiteX188" fmla="*/ 79366 w 139231"/>
                <a:gd name="connsiteY188" fmla="*/ 3870 h 68362"/>
                <a:gd name="connsiteX189" fmla="*/ 81072 w 139231"/>
                <a:gd name="connsiteY189" fmla="*/ 2612 h 68362"/>
                <a:gd name="connsiteX190" fmla="*/ 80774 w 139231"/>
                <a:gd name="connsiteY190" fmla="*/ 1348 h 68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</a:cxnLst>
              <a:rect l="l" t="t" r="r" b="b"/>
              <a:pathLst>
                <a:path w="139231" h="68362">
                  <a:moveTo>
                    <a:pt x="15312" y="32990"/>
                  </a:moveTo>
                  <a:lnTo>
                    <a:pt x="16869" y="33189"/>
                  </a:lnTo>
                  <a:lnTo>
                    <a:pt x="18439" y="33973"/>
                  </a:lnTo>
                  <a:lnTo>
                    <a:pt x="19886" y="33725"/>
                  </a:lnTo>
                  <a:lnTo>
                    <a:pt x="21352" y="33180"/>
                  </a:lnTo>
                  <a:lnTo>
                    <a:pt x="24539" y="33692"/>
                  </a:lnTo>
                  <a:lnTo>
                    <a:pt x="31805" y="37642"/>
                  </a:lnTo>
                  <a:lnTo>
                    <a:pt x="32477" y="38697"/>
                  </a:lnTo>
                  <a:lnTo>
                    <a:pt x="28141" y="39176"/>
                  </a:lnTo>
                  <a:lnTo>
                    <a:pt x="27156" y="40385"/>
                  </a:lnTo>
                  <a:lnTo>
                    <a:pt x="26114" y="41230"/>
                  </a:lnTo>
                  <a:lnTo>
                    <a:pt x="24885" y="41502"/>
                  </a:lnTo>
                  <a:lnTo>
                    <a:pt x="22790" y="43197"/>
                  </a:lnTo>
                  <a:lnTo>
                    <a:pt x="19957" y="44819"/>
                  </a:lnTo>
                  <a:lnTo>
                    <a:pt x="19365" y="45792"/>
                  </a:lnTo>
                  <a:lnTo>
                    <a:pt x="14239" y="45613"/>
                  </a:lnTo>
                  <a:lnTo>
                    <a:pt x="11436" y="46227"/>
                  </a:lnTo>
                  <a:lnTo>
                    <a:pt x="9173" y="48040"/>
                  </a:lnTo>
                  <a:lnTo>
                    <a:pt x="8244" y="51538"/>
                  </a:lnTo>
                  <a:lnTo>
                    <a:pt x="6588" y="54265"/>
                  </a:lnTo>
                  <a:lnTo>
                    <a:pt x="4904" y="55250"/>
                  </a:lnTo>
                  <a:lnTo>
                    <a:pt x="3148" y="55400"/>
                  </a:lnTo>
                  <a:lnTo>
                    <a:pt x="2732" y="54377"/>
                  </a:lnTo>
                  <a:lnTo>
                    <a:pt x="2898" y="53355"/>
                  </a:lnTo>
                  <a:lnTo>
                    <a:pt x="6599" y="49499"/>
                  </a:lnTo>
                  <a:lnTo>
                    <a:pt x="7368" y="48246"/>
                  </a:lnTo>
                  <a:lnTo>
                    <a:pt x="5526" y="47689"/>
                  </a:lnTo>
                  <a:lnTo>
                    <a:pt x="3982" y="46348"/>
                  </a:lnTo>
                  <a:lnTo>
                    <a:pt x="611" y="44772"/>
                  </a:lnTo>
                  <a:lnTo>
                    <a:pt x="0" y="43506"/>
                  </a:lnTo>
                  <a:lnTo>
                    <a:pt x="808" y="43412"/>
                  </a:lnTo>
                  <a:lnTo>
                    <a:pt x="1546" y="43049"/>
                  </a:lnTo>
                  <a:lnTo>
                    <a:pt x="2444" y="41987"/>
                  </a:lnTo>
                  <a:lnTo>
                    <a:pt x="2865" y="40767"/>
                  </a:lnTo>
                  <a:lnTo>
                    <a:pt x="173" y="37200"/>
                  </a:lnTo>
                  <a:lnTo>
                    <a:pt x="1546" y="36648"/>
                  </a:lnTo>
                  <a:lnTo>
                    <a:pt x="3258" y="36778"/>
                  </a:lnTo>
                  <a:lnTo>
                    <a:pt x="5016" y="37815"/>
                  </a:lnTo>
                  <a:lnTo>
                    <a:pt x="6945" y="36598"/>
                  </a:lnTo>
                  <a:lnTo>
                    <a:pt x="7763" y="36418"/>
                  </a:lnTo>
                  <a:lnTo>
                    <a:pt x="9113" y="36852"/>
                  </a:lnTo>
                  <a:lnTo>
                    <a:pt x="10473" y="34496"/>
                  </a:lnTo>
                  <a:lnTo>
                    <a:pt x="13708" y="33718"/>
                  </a:lnTo>
                  <a:close/>
                  <a:moveTo>
                    <a:pt x="28987" y="31348"/>
                  </a:moveTo>
                  <a:lnTo>
                    <a:pt x="32689" y="32304"/>
                  </a:lnTo>
                  <a:lnTo>
                    <a:pt x="33211" y="34668"/>
                  </a:lnTo>
                  <a:lnTo>
                    <a:pt x="32926" y="35482"/>
                  </a:lnTo>
                  <a:lnTo>
                    <a:pt x="31086" y="35817"/>
                  </a:lnTo>
                  <a:lnTo>
                    <a:pt x="26733" y="33518"/>
                  </a:lnTo>
                  <a:lnTo>
                    <a:pt x="27742" y="31960"/>
                  </a:lnTo>
                  <a:close/>
                  <a:moveTo>
                    <a:pt x="17577" y="18061"/>
                  </a:moveTo>
                  <a:lnTo>
                    <a:pt x="18746" y="18475"/>
                  </a:lnTo>
                  <a:lnTo>
                    <a:pt x="18966" y="19857"/>
                  </a:lnTo>
                  <a:lnTo>
                    <a:pt x="19260" y="20406"/>
                  </a:lnTo>
                  <a:lnTo>
                    <a:pt x="23337" y="21184"/>
                  </a:lnTo>
                  <a:lnTo>
                    <a:pt x="24924" y="23505"/>
                  </a:lnTo>
                  <a:lnTo>
                    <a:pt x="25522" y="26295"/>
                  </a:lnTo>
                  <a:lnTo>
                    <a:pt x="23643" y="26524"/>
                  </a:lnTo>
                  <a:lnTo>
                    <a:pt x="21829" y="28128"/>
                  </a:lnTo>
                  <a:lnTo>
                    <a:pt x="20749" y="27487"/>
                  </a:lnTo>
                  <a:lnTo>
                    <a:pt x="20184" y="26718"/>
                  </a:lnTo>
                  <a:lnTo>
                    <a:pt x="17843" y="30342"/>
                  </a:lnTo>
                  <a:lnTo>
                    <a:pt x="15206" y="30963"/>
                  </a:lnTo>
                  <a:lnTo>
                    <a:pt x="13669" y="30248"/>
                  </a:lnTo>
                  <a:lnTo>
                    <a:pt x="13807" y="28895"/>
                  </a:lnTo>
                  <a:lnTo>
                    <a:pt x="12306" y="25339"/>
                  </a:lnTo>
                  <a:lnTo>
                    <a:pt x="10015" y="24297"/>
                  </a:lnTo>
                  <a:lnTo>
                    <a:pt x="6798" y="24199"/>
                  </a:lnTo>
                  <a:lnTo>
                    <a:pt x="4461" y="22732"/>
                  </a:lnTo>
                  <a:lnTo>
                    <a:pt x="13446" y="21733"/>
                  </a:lnTo>
                  <a:lnTo>
                    <a:pt x="14375" y="20036"/>
                  </a:lnTo>
                  <a:lnTo>
                    <a:pt x="16202" y="18254"/>
                  </a:lnTo>
                  <a:close/>
                  <a:moveTo>
                    <a:pt x="80815" y="0"/>
                  </a:moveTo>
                  <a:lnTo>
                    <a:pt x="83169" y="377"/>
                  </a:lnTo>
                  <a:lnTo>
                    <a:pt x="87105" y="143"/>
                  </a:lnTo>
                  <a:lnTo>
                    <a:pt x="101856" y="2795"/>
                  </a:lnTo>
                  <a:lnTo>
                    <a:pt x="105486" y="2795"/>
                  </a:lnTo>
                  <a:lnTo>
                    <a:pt x="110506" y="5489"/>
                  </a:lnTo>
                  <a:lnTo>
                    <a:pt x="113219" y="6182"/>
                  </a:lnTo>
                  <a:lnTo>
                    <a:pt x="121204" y="6187"/>
                  </a:lnTo>
                  <a:lnTo>
                    <a:pt x="133515" y="7375"/>
                  </a:lnTo>
                  <a:lnTo>
                    <a:pt x="135931" y="5553"/>
                  </a:lnTo>
                  <a:lnTo>
                    <a:pt x="136166" y="5079"/>
                  </a:lnTo>
                  <a:lnTo>
                    <a:pt x="137345" y="6099"/>
                  </a:lnTo>
                  <a:lnTo>
                    <a:pt x="138831" y="7740"/>
                  </a:lnTo>
                  <a:lnTo>
                    <a:pt x="139231" y="8678"/>
                  </a:lnTo>
                  <a:lnTo>
                    <a:pt x="138728" y="9229"/>
                  </a:lnTo>
                  <a:lnTo>
                    <a:pt x="137246" y="9697"/>
                  </a:lnTo>
                  <a:lnTo>
                    <a:pt x="136909" y="10202"/>
                  </a:lnTo>
                  <a:lnTo>
                    <a:pt x="136253" y="11056"/>
                  </a:lnTo>
                  <a:lnTo>
                    <a:pt x="134523" y="11210"/>
                  </a:lnTo>
                  <a:lnTo>
                    <a:pt x="133627" y="11843"/>
                  </a:lnTo>
                  <a:lnTo>
                    <a:pt x="132562" y="14618"/>
                  </a:lnTo>
                  <a:lnTo>
                    <a:pt x="130530" y="19205"/>
                  </a:lnTo>
                  <a:lnTo>
                    <a:pt x="127527" y="22688"/>
                  </a:lnTo>
                  <a:lnTo>
                    <a:pt x="125123" y="24595"/>
                  </a:lnTo>
                  <a:lnTo>
                    <a:pt x="124048" y="26056"/>
                  </a:lnTo>
                  <a:lnTo>
                    <a:pt x="123378" y="27810"/>
                  </a:lnTo>
                  <a:lnTo>
                    <a:pt x="123221" y="29568"/>
                  </a:lnTo>
                  <a:lnTo>
                    <a:pt x="125527" y="39200"/>
                  </a:lnTo>
                  <a:lnTo>
                    <a:pt x="125499" y="40934"/>
                  </a:lnTo>
                  <a:lnTo>
                    <a:pt x="124957" y="42713"/>
                  </a:lnTo>
                  <a:lnTo>
                    <a:pt x="124564" y="44524"/>
                  </a:lnTo>
                  <a:lnTo>
                    <a:pt x="124888" y="46092"/>
                  </a:lnTo>
                  <a:lnTo>
                    <a:pt x="126406" y="48768"/>
                  </a:lnTo>
                  <a:lnTo>
                    <a:pt x="128021" y="52754"/>
                  </a:lnTo>
                  <a:lnTo>
                    <a:pt x="128669" y="55296"/>
                  </a:lnTo>
                  <a:lnTo>
                    <a:pt x="129742" y="56229"/>
                  </a:lnTo>
                  <a:lnTo>
                    <a:pt x="130776" y="56912"/>
                  </a:lnTo>
                  <a:lnTo>
                    <a:pt x="130993" y="57342"/>
                  </a:lnTo>
                  <a:lnTo>
                    <a:pt x="130958" y="57789"/>
                  </a:lnTo>
                  <a:lnTo>
                    <a:pt x="130425" y="58292"/>
                  </a:lnTo>
                  <a:lnTo>
                    <a:pt x="125765" y="59622"/>
                  </a:lnTo>
                  <a:lnTo>
                    <a:pt x="125160" y="60748"/>
                  </a:lnTo>
                  <a:lnTo>
                    <a:pt x="124657" y="62002"/>
                  </a:lnTo>
                  <a:lnTo>
                    <a:pt x="122623" y="63858"/>
                  </a:lnTo>
                  <a:lnTo>
                    <a:pt x="121999" y="65588"/>
                  </a:lnTo>
                  <a:lnTo>
                    <a:pt x="121612" y="67573"/>
                  </a:lnTo>
                  <a:lnTo>
                    <a:pt x="121560" y="68279"/>
                  </a:lnTo>
                  <a:lnTo>
                    <a:pt x="120999" y="68362"/>
                  </a:lnTo>
                  <a:lnTo>
                    <a:pt x="117915" y="67954"/>
                  </a:lnTo>
                  <a:lnTo>
                    <a:pt x="114517" y="66666"/>
                  </a:lnTo>
                  <a:lnTo>
                    <a:pt x="113026" y="65698"/>
                  </a:lnTo>
                  <a:lnTo>
                    <a:pt x="111563" y="65708"/>
                  </a:lnTo>
                  <a:lnTo>
                    <a:pt x="109792" y="66348"/>
                  </a:lnTo>
                  <a:lnTo>
                    <a:pt x="103443" y="68187"/>
                  </a:lnTo>
                  <a:lnTo>
                    <a:pt x="101884" y="67758"/>
                  </a:lnTo>
                  <a:lnTo>
                    <a:pt x="98256" y="65954"/>
                  </a:lnTo>
                  <a:lnTo>
                    <a:pt x="96421" y="63988"/>
                  </a:lnTo>
                  <a:lnTo>
                    <a:pt x="92337" y="60066"/>
                  </a:lnTo>
                  <a:lnTo>
                    <a:pt x="92003" y="59132"/>
                  </a:lnTo>
                  <a:lnTo>
                    <a:pt x="91469" y="58383"/>
                  </a:lnTo>
                  <a:lnTo>
                    <a:pt x="87105" y="57411"/>
                  </a:lnTo>
                  <a:lnTo>
                    <a:pt x="85494" y="55962"/>
                  </a:lnTo>
                  <a:lnTo>
                    <a:pt x="84151" y="55759"/>
                  </a:lnTo>
                  <a:lnTo>
                    <a:pt x="82186" y="55035"/>
                  </a:lnTo>
                  <a:lnTo>
                    <a:pt x="77073" y="51935"/>
                  </a:lnTo>
                  <a:lnTo>
                    <a:pt x="75803" y="51645"/>
                  </a:lnTo>
                  <a:lnTo>
                    <a:pt x="75494" y="52167"/>
                  </a:lnTo>
                  <a:lnTo>
                    <a:pt x="75583" y="52900"/>
                  </a:lnTo>
                  <a:lnTo>
                    <a:pt x="75265" y="53324"/>
                  </a:lnTo>
                  <a:lnTo>
                    <a:pt x="74611" y="53310"/>
                  </a:lnTo>
                  <a:lnTo>
                    <a:pt x="73428" y="52170"/>
                  </a:lnTo>
                  <a:lnTo>
                    <a:pt x="72009" y="51166"/>
                  </a:lnTo>
                  <a:lnTo>
                    <a:pt x="67593" y="53053"/>
                  </a:lnTo>
                  <a:lnTo>
                    <a:pt x="65995" y="53562"/>
                  </a:lnTo>
                  <a:lnTo>
                    <a:pt x="64596" y="53673"/>
                  </a:lnTo>
                  <a:lnTo>
                    <a:pt x="57589" y="56153"/>
                  </a:lnTo>
                  <a:lnTo>
                    <a:pt x="55457" y="57488"/>
                  </a:lnTo>
                  <a:lnTo>
                    <a:pt x="54574" y="57345"/>
                  </a:lnTo>
                  <a:lnTo>
                    <a:pt x="54783" y="56092"/>
                  </a:lnTo>
                  <a:lnTo>
                    <a:pt x="57699" y="49800"/>
                  </a:lnTo>
                  <a:lnTo>
                    <a:pt x="58221" y="44795"/>
                  </a:lnTo>
                  <a:lnTo>
                    <a:pt x="59288" y="44107"/>
                  </a:lnTo>
                  <a:lnTo>
                    <a:pt x="59597" y="43412"/>
                  </a:lnTo>
                  <a:lnTo>
                    <a:pt x="59141" y="41812"/>
                  </a:lnTo>
                  <a:lnTo>
                    <a:pt x="56114" y="40786"/>
                  </a:lnTo>
                  <a:lnTo>
                    <a:pt x="54892" y="40937"/>
                  </a:lnTo>
                  <a:lnTo>
                    <a:pt x="53792" y="42657"/>
                  </a:lnTo>
                  <a:lnTo>
                    <a:pt x="52652" y="43896"/>
                  </a:lnTo>
                  <a:lnTo>
                    <a:pt x="49981" y="44651"/>
                  </a:lnTo>
                  <a:lnTo>
                    <a:pt x="47684" y="43346"/>
                  </a:lnTo>
                  <a:lnTo>
                    <a:pt x="42302" y="41600"/>
                  </a:lnTo>
                  <a:lnTo>
                    <a:pt x="40942" y="39272"/>
                  </a:lnTo>
                  <a:lnTo>
                    <a:pt x="40620" y="36928"/>
                  </a:lnTo>
                  <a:lnTo>
                    <a:pt x="37774" y="34658"/>
                  </a:lnTo>
                  <a:lnTo>
                    <a:pt x="36591" y="31982"/>
                  </a:lnTo>
                  <a:lnTo>
                    <a:pt x="37064" y="30112"/>
                  </a:lnTo>
                  <a:lnTo>
                    <a:pt x="39646" y="28884"/>
                  </a:lnTo>
                  <a:lnTo>
                    <a:pt x="40383" y="27813"/>
                  </a:lnTo>
                  <a:lnTo>
                    <a:pt x="37128" y="27983"/>
                  </a:lnTo>
                  <a:lnTo>
                    <a:pt x="36466" y="27726"/>
                  </a:lnTo>
                  <a:lnTo>
                    <a:pt x="36323" y="26763"/>
                  </a:lnTo>
                  <a:lnTo>
                    <a:pt x="34883" y="23478"/>
                  </a:lnTo>
                  <a:lnTo>
                    <a:pt x="36157" y="22183"/>
                  </a:lnTo>
                  <a:lnTo>
                    <a:pt x="36718" y="20923"/>
                  </a:lnTo>
                  <a:lnTo>
                    <a:pt x="35673" y="19850"/>
                  </a:lnTo>
                  <a:lnTo>
                    <a:pt x="35947" y="18629"/>
                  </a:lnTo>
                  <a:lnTo>
                    <a:pt x="36761" y="17394"/>
                  </a:lnTo>
                  <a:lnTo>
                    <a:pt x="36262" y="14521"/>
                  </a:lnTo>
                  <a:lnTo>
                    <a:pt x="39493" y="12997"/>
                  </a:lnTo>
                  <a:lnTo>
                    <a:pt x="42633" y="11924"/>
                  </a:lnTo>
                  <a:lnTo>
                    <a:pt x="49286" y="11377"/>
                  </a:lnTo>
                  <a:lnTo>
                    <a:pt x="48627" y="8747"/>
                  </a:lnTo>
                  <a:lnTo>
                    <a:pt x="51320" y="8628"/>
                  </a:lnTo>
                  <a:lnTo>
                    <a:pt x="55852" y="5460"/>
                  </a:lnTo>
                  <a:lnTo>
                    <a:pt x="60346" y="6017"/>
                  </a:lnTo>
                  <a:lnTo>
                    <a:pt x="66846" y="3840"/>
                  </a:lnTo>
                  <a:lnTo>
                    <a:pt x="79366" y="3870"/>
                  </a:lnTo>
                  <a:lnTo>
                    <a:pt x="81072" y="2612"/>
                  </a:lnTo>
                  <a:lnTo>
                    <a:pt x="80774" y="1348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27" name="ee4p_FI_1_37365">
              <a:extLst>
                <a:ext uri="{FF2B5EF4-FFF2-40B4-BE49-F238E27FC236}">
                  <a16:creationId xmlns:a16="http://schemas.microsoft.com/office/drawing/2014/main" id="{3B98935F-2FC6-88B4-1275-1CAE5998FF6E}"/>
                </a:ext>
              </a:extLst>
            </p:cNvPr>
            <p:cNvSpPr>
              <a:spLocks noChangeAspect="1"/>
            </p:cNvSpPr>
            <p:nvPr>
              <p:custDataLst>
                <p:tags r:id="rId281"/>
              </p:custDataLst>
            </p:nvPr>
          </p:nvSpPr>
          <p:spPr>
            <a:xfrm>
              <a:off x="7056730" y="2251432"/>
              <a:ext cx="333718" cy="476092"/>
            </a:xfrm>
            <a:custGeom>
              <a:avLst/>
              <a:gdLst>
                <a:gd name="connsiteX0" fmla="*/ 21473 w 265732"/>
                <a:gd name="connsiteY0" fmla="*/ 360506 h 369053"/>
                <a:gd name="connsiteX1" fmla="*/ 23220 w 265732"/>
                <a:gd name="connsiteY1" fmla="*/ 360680 h 369053"/>
                <a:gd name="connsiteX2" fmla="*/ 24153 w 265732"/>
                <a:gd name="connsiteY2" fmla="*/ 361638 h 369053"/>
                <a:gd name="connsiteX3" fmla="*/ 23978 w 265732"/>
                <a:gd name="connsiteY3" fmla="*/ 362422 h 369053"/>
                <a:gd name="connsiteX4" fmla="*/ 22173 w 265732"/>
                <a:gd name="connsiteY4" fmla="*/ 362597 h 369053"/>
                <a:gd name="connsiteX5" fmla="*/ 21415 w 265732"/>
                <a:gd name="connsiteY5" fmla="*/ 361899 h 369053"/>
                <a:gd name="connsiteX6" fmla="*/ 19728 w 265732"/>
                <a:gd name="connsiteY6" fmla="*/ 361986 h 369053"/>
                <a:gd name="connsiteX7" fmla="*/ 19435 w 265732"/>
                <a:gd name="connsiteY7" fmla="*/ 361638 h 369053"/>
                <a:gd name="connsiteX8" fmla="*/ 20134 w 265732"/>
                <a:gd name="connsiteY8" fmla="*/ 360942 h 369053"/>
                <a:gd name="connsiteX9" fmla="*/ 45306 w 265732"/>
                <a:gd name="connsiteY9" fmla="*/ 357280 h 369053"/>
                <a:gd name="connsiteX10" fmla="*/ 46768 w 265732"/>
                <a:gd name="connsiteY10" fmla="*/ 357390 h 369053"/>
                <a:gd name="connsiteX11" fmla="*/ 47079 w 265732"/>
                <a:gd name="connsiteY11" fmla="*/ 358322 h 369053"/>
                <a:gd name="connsiteX12" fmla="*/ 46641 w 265732"/>
                <a:gd name="connsiteY12" fmla="*/ 359417 h 369053"/>
                <a:gd name="connsiteX13" fmla="*/ 44702 w 265732"/>
                <a:gd name="connsiteY13" fmla="*/ 359744 h 369053"/>
                <a:gd name="connsiteX14" fmla="*/ 43494 w 265732"/>
                <a:gd name="connsiteY14" fmla="*/ 358787 h 369053"/>
                <a:gd name="connsiteX15" fmla="*/ 43953 w 265732"/>
                <a:gd name="connsiteY15" fmla="*/ 358075 h 369053"/>
                <a:gd name="connsiteX16" fmla="*/ 51860 w 265732"/>
                <a:gd name="connsiteY16" fmla="*/ 356303 h 369053"/>
                <a:gd name="connsiteX17" fmla="*/ 51171 w 265732"/>
                <a:gd name="connsiteY17" fmla="*/ 358333 h 369053"/>
                <a:gd name="connsiteX18" fmla="*/ 48958 w 265732"/>
                <a:gd name="connsiteY18" fmla="*/ 359471 h 369053"/>
                <a:gd name="connsiteX19" fmla="*/ 48115 w 265732"/>
                <a:gd name="connsiteY19" fmla="*/ 359200 h 369053"/>
                <a:gd name="connsiteX20" fmla="*/ 48332 w 265732"/>
                <a:gd name="connsiteY20" fmla="*/ 357280 h 369053"/>
                <a:gd name="connsiteX21" fmla="*/ 49647 w 265732"/>
                <a:gd name="connsiteY21" fmla="*/ 356401 h 369053"/>
                <a:gd name="connsiteX22" fmla="*/ 2428 w 265732"/>
                <a:gd name="connsiteY22" fmla="*/ 354834 h 369053"/>
                <a:gd name="connsiteX23" fmla="*/ 3168 w 265732"/>
                <a:gd name="connsiteY23" fmla="*/ 356788 h 369053"/>
                <a:gd name="connsiteX24" fmla="*/ 3283 w 265732"/>
                <a:gd name="connsiteY24" fmla="*/ 357531 h 369053"/>
                <a:gd name="connsiteX25" fmla="*/ 2436 w 265732"/>
                <a:gd name="connsiteY25" fmla="*/ 357345 h 369053"/>
                <a:gd name="connsiteX26" fmla="*/ 1786 w 265732"/>
                <a:gd name="connsiteY26" fmla="*/ 357599 h 369053"/>
                <a:gd name="connsiteX27" fmla="*/ 1345 w 265732"/>
                <a:gd name="connsiteY27" fmla="*/ 358514 h 369053"/>
                <a:gd name="connsiteX28" fmla="*/ 387 w 265732"/>
                <a:gd name="connsiteY28" fmla="*/ 358186 h 369053"/>
                <a:gd name="connsiteX29" fmla="*/ 0 w 265732"/>
                <a:gd name="connsiteY29" fmla="*/ 356874 h 369053"/>
                <a:gd name="connsiteX30" fmla="*/ 715 w 265732"/>
                <a:gd name="connsiteY30" fmla="*/ 354909 h 369053"/>
                <a:gd name="connsiteX31" fmla="*/ 58731 w 265732"/>
                <a:gd name="connsiteY31" fmla="*/ 350695 h 369053"/>
                <a:gd name="connsiteX32" fmla="*/ 61532 w 265732"/>
                <a:gd name="connsiteY32" fmla="*/ 351466 h 369053"/>
                <a:gd name="connsiteX33" fmla="*/ 62709 w 265732"/>
                <a:gd name="connsiteY33" fmla="*/ 351190 h 369053"/>
                <a:gd name="connsiteX34" fmla="*/ 64047 w 265732"/>
                <a:gd name="connsiteY34" fmla="*/ 352933 h 369053"/>
                <a:gd name="connsiteX35" fmla="*/ 61778 w 265732"/>
                <a:gd name="connsiteY35" fmla="*/ 354042 h 369053"/>
                <a:gd name="connsiteX36" fmla="*/ 61620 w 265732"/>
                <a:gd name="connsiteY36" fmla="*/ 355416 h 369053"/>
                <a:gd name="connsiteX37" fmla="*/ 62517 w 265732"/>
                <a:gd name="connsiteY37" fmla="*/ 356269 h 369053"/>
                <a:gd name="connsiteX38" fmla="*/ 62832 w 265732"/>
                <a:gd name="connsiteY38" fmla="*/ 357503 h 369053"/>
                <a:gd name="connsiteX39" fmla="*/ 60571 w 265732"/>
                <a:gd name="connsiteY39" fmla="*/ 357502 h 369053"/>
                <a:gd name="connsiteX40" fmla="*/ 59489 w 265732"/>
                <a:gd name="connsiteY40" fmla="*/ 356463 h 369053"/>
                <a:gd name="connsiteX41" fmla="*/ 59018 w 265732"/>
                <a:gd name="connsiteY41" fmla="*/ 355144 h 369053"/>
                <a:gd name="connsiteX42" fmla="*/ 57967 w 265732"/>
                <a:gd name="connsiteY42" fmla="*/ 354210 h 369053"/>
                <a:gd name="connsiteX43" fmla="*/ 56565 w 265732"/>
                <a:gd name="connsiteY43" fmla="*/ 353499 h 369053"/>
                <a:gd name="connsiteX44" fmla="*/ 57252 w 265732"/>
                <a:gd name="connsiteY44" fmla="*/ 352551 h 369053"/>
                <a:gd name="connsiteX45" fmla="*/ 57643 w 265732"/>
                <a:gd name="connsiteY45" fmla="*/ 351190 h 369053"/>
                <a:gd name="connsiteX46" fmla="*/ 8165 w 265732"/>
                <a:gd name="connsiteY46" fmla="*/ 349529 h 369053"/>
                <a:gd name="connsiteX47" fmla="*/ 9409 w 265732"/>
                <a:gd name="connsiteY47" fmla="*/ 351135 h 369053"/>
                <a:gd name="connsiteX48" fmla="*/ 10404 w 265732"/>
                <a:gd name="connsiteY48" fmla="*/ 351345 h 369053"/>
                <a:gd name="connsiteX49" fmla="*/ 11082 w 265732"/>
                <a:gd name="connsiteY49" fmla="*/ 351355 h 369053"/>
                <a:gd name="connsiteX50" fmla="*/ 11384 w 265732"/>
                <a:gd name="connsiteY50" fmla="*/ 351075 h 369053"/>
                <a:gd name="connsiteX51" fmla="*/ 12568 w 265732"/>
                <a:gd name="connsiteY51" fmla="*/ 351271 h 369053"/>
                <a:gd name="connsiteX52" fmla="*/ 14347 w 265732"/>
                <a:gd name="connsiteY52" fmla="*/ 352557 h 369053"/>
                <a:gd name="connsiteX53" fmla="*/ 14705 w 265732"/>
                <a:gd name="connsiteY53" fmla="*/ 353253 h 369053"/>
                <a:gd name="connsiteX54" fmla="*/ 15932 w 265732"/>
                <a:gd name="connsiteY54" fmla="*/ 353609 h 369053"/>
                <a:gd name="connsiteX55" fmla="*/ 16360 w 265732"/>
                <a:gd name="connsiteY55" fmla="*/ 354330 h 369053"/>
                <a:gd name="connsiteX56" fmla="*/ 14941 w 265732"/>
                <a:gd name="connsiteY56" fmla="*/ 356576 h 369053"/>
                <a:gd name="connsiteX57" fmla="*/ 14064 w 265732"/>
                <a:gd name="connsiteY57" fmla="*/ 356618 h 369053"/>
                <a:gd name="connsiteX58" fmla="*/ 13410 w 265732"/>
                <a:gd name="connsiteY58" fmla="*/ 356334 h 369053"/>
                <a:gd name="connsiteX59" fmla="*/ 12255 w 265732"/>
                <a:gd name="connsiteY59" fmla="*/ 356579 h 369053"/>
                <a:gd name="connsiteX60" fmla="*/ 11577 w 265732"/>
                <a:gd name="connsiteY60" fmla="*/ 357004 h 369053"/>
                <a:gd name="connsiteX61" fmla="*/ 11350 w 265732"/>
                <a:gd name="connsiteY61" fmla="*/ 357937 h 369053"/>
                <a:gd name="connsiteX62" fmla="*/ 11387 w 265732"/>
                <a:gd name="connsiteY62" fmla="*/ 359888 h 369053"/>
                <a:gd name="connsiteX63" fmla="*/ 6208 w 265732"/>
                <a:gd name="connsiteY63" fmla="*/ 360279 h 369053"/>
                <a:gd name="connsiteX64" fmla="*/ 5018 w 265732"/>
                <a:gd name="connsiteY64" fmla="*/ 359709 h 369053"/>
                <a:gd name="connsiteX65" fmla="*/ 3388 w 265732"/>
                <a:gd name="connsiteY65" fmla="*/ 355268 h 369053"/>
                <a:gd name="connsiteX66" fmla="*/ 3712 w 265732"/>
                <a:gd name="connsiteY66" fmla="*/ 354120 h 369053"/>
                <a:gd name="connsiteX67" fmla="*/ 4809 w 265732"/>
                <a:gd name="connsiteY67" fmla="*/ 353630 h 369053"/>
                <a:gd name="connsiteX68" fmla="*/ 5749 w 265732"/>
                <a:gd name="connsiteY68" fmla="*/ 353525 h 369053"/>
                <a:gd name="connsiteX69" fmla="*/ 5887 w 265732"/>
                <a:gd name="connsiteY69" fmla="*/ 355919 h 369053"/>
                <a:gd name="connsiteX70" fmla="*/ 7266 w 265732"/>
                <a:gd name="connsiteY70" fmla="*/ 355681 h 369053"/>
                <a:gd name="connsiteX71" fmla="*/ 7699 w 265732"/>
                <a:gd name="connsiteY71" fmla="*/ 354103 h 369053"/>
                <a:gd name="connsiteX72" fmla="*/ 7795 w 265732"/>
                <a:gd name="connsiteY72" fmla="*/ 352992 h 369053"/>
                <a:gd name="connsiteX73" fmla="*/ 7422 w 265732"/>
                <a:gd name="connsiteY73" fmla="*/ 352431 h 369053"/>
                <a:gd name="connsiteX74" fmla="*/ 6485 w 265732"/>
                <a:gd name="connsiteY74" fmla="*/ 351996 h 369053"/>
                <a:gd name="connsiteX75" fmla="*/ 5943 w 265732"/>
                <a:gd name="connsiteY75" fmla="*/ 351250 h 369053"/>
                <a:gd name="connsiteX76" fmla="*/ 6722 w 265732"/>
                <a:gd name="connsiteY76" fmla="*/ 350049 h 369053"/>
                <a:gd name="connsiteX77" fmla="*/ 51039 w 265732"/>
                <a:gd name="connsiteY77" fmla="*/ 347396 h 369053"/>
                <a:gd name="connsiteX78" fmla="*/ 52799 w 265732"/>
                <a:gd name="connsiteY78" fmla="*/ 348443 h 369053"/>
                <a:gd name="connsiteX79" fmla="*/ 53760 w 265732"/>
                <a:gd name="connsiteY79" fmla="*/ 349666 h 369053"/>
                <a:gd name="connsiteX80" fmla="*/ 52821 w 265732"/>
                <a:gd name="connsiteY80" fmla="*/ 349950 h 369053"/>
                <a:gd name="connsiteX81" fmla="*/ 54412 w 265732"/>
                <a:gd name="connsiteY81" fmla="*/ 351211 h 369053"/>
                <a:gd name="connsiteX82" fmla="*/ 54732 w 265732"/>
                <a:gd name="connsiteY82" fmla="*/ 351827 h 369053"/>
                <a:gd name="connsiteX83" fmla="*/ 53123 w 265732"/>
                <a:gd name="connsiteY83" fmla="*/ 351973 h 369053"/>
                <a:gd name="connsiteX84" fmla="*/ 50849 w 265732"/>
                <a:gd name="connsiteY84" fmla="*/ 350326 h 369053"/>
                <a:gd name="connsiteX85" fmla="*/ 50562 w 265732"/>
                <a:gd name="connsiteY85" fmla="*/ 349682 h 369053"/>
                <a:gd name="connsiteX86" fmla="*/ 51454 w 265732"/>
                <a:gd name="connsiteY86" fmla="*/ 349308 h 369053"/>
                <a:gd name="connsiteX87" fmla="*/ 50865 w 265732"/>
                <a:gd name="connsiteY87" fmla="*/ 347983 h 369053"/>
                <a:gd name="connsiteX88" fmla="*/ 38675 w 265732"/>
                <a:gd name="connsiteY88" fmla="*/ 341784 h 369053"/>
                <a:gd name="connsiteX89" fmla="*/ 39409 w 265732"/>
                <a:gd name="connsiteY89" fmla="*/ 343210 h 369053"/>
                <a:gd name="connsiteX90" fmla="*/ 42717 w 265732"/>
                <a:gd name="connsiteY90" fmla="*/ 345409 h 369053"/>
                <a:gd name="connsiteX91" fmla="*/ 42408 w 265732"/>
                <a:gd name="connsiteY91" fmla="*/ 346959 h 369053"/>
                <a:gd name="connsiteX92" fmla="*/ 40908 w 265732"/>
                <a:gd name="connsiteY92" fmla="*/ 346787 h 369053"/>
                <a:gd name="connsiteX93" fmla="*/ 39381 w 265732"/>
                <a:gd name="connsiteY93" fmla="*/ 347068 h 369053"/>
                <a:gd name="connsiteX94" fmla="*/ 38150 w 265732"/>
                <a:gd name="connsiteY94" fmla="*/ 345529 h 369053"/>
                <a:gd name="connsiteX95" fmla="*/ 37491 w 265732"/>
                <a:gd name="connsiteY95" fmla="*/ 342933 h 369053"/>
                <a:gd name="connsiteX96" fmla="*/ 37716 w 265732"/>
                <a:gd name="connsiteY96" fmla="*/ 342374 h 369053"/>
                <a:gd name="connsiteX97" fmla="*/ 37973 w 265732"/>
                <a:gd name="connsiteY97" fmla="*/ 251776 h 369053"/>
                <a:gd name="connsiteX98" fmla="*/ 37651 w 265732"/>
                <a:gd name="connsiteY98" fmla="*/ 252424 h 369053"/>
                <a:gd name="connsiteX99" fmla="*/ 37563 w 265732"/>
                <a:gd name="connsiteY99" fmla="*/ 253045 h 369053"/>
                <a:gd name="connsiteX100" fmla="*/ 37800 w 265732"/>
                <a:gd name="connsiteY100" fmla="*/ 253695 h 369053"/>
                <a:gd name="connsiteX101" fmla="*/ 39096 w 265732"/>
                <a:gd name="connsiteY101" fmla="*/ 253516 h 369053"/>
                <a:gd name="connsiteX102" fmla="*/ 40841 w 265732"/>
                <a:gd name="connsiteY102" fmla="*/ 252332 h 369053"/>
                <a:gd name="connsiteX103" fmla="*/ 42078 w 265732"/>
                <a:gd name="connsiteY103" fmla="*/ 252885 h 369053"/>
                <a:gd name="connsiteX104" fmla="*/ 41938 w 265732"/>
                <a:gd name="connsiteY104" fmla="*/ 254575 h 369053"/>
                <a:gd name="connsiteX105" fmla="*/ 41098 w 265732"/>
                <a:gd name="connsiteY105" fmla="*/ 254511 h 369053"/>
                <a:gd name="connsiteX106" fmla="*/ 40867 w 265732"/>
                <a:gd name="connsiteY106" fmla="*/ 254232 h 369053"/>
                <a:gd name="connsiteX107" fmla="*/ 39789 w 265732"/>
                <a:gd name="connsiteY107" fmla="*/ 255197 h 369053"/>
                <a:gd name="connsiteX108" fmla="*/ 39597 w 265732"/>
                <a:gd name="connsiteY108" fmla="*/ 255781 h 369053"/>
                <a:gd name="connsiteX109" fmla="*/ 38351 w 265732"/>
                <a:gd name="connsiteY109" fmla="*/ 256154 h 369053"/>
                <a:gd name="connsiteX110" fmla="*/ 36049 w 265732"/>
                <a:gd name="connsiteY110" fmla="*/ 254502 h 369053"/>
                <a:gd name="connsiteX111" fmla="*/ 34602 w 265732"/>
                <a:gd name="connsiteY111" fmla="*/ 251783 h 369053"/>
                <a:gd name="connsiteX112" fmla="*/ 116464 w 265732"/>
                <a:gd name="connsiteY112" fmla="*/ 187740 h 369053"/>
                <a:gd name="connsiteX113" fmla="*/ 120546 w 265732"/>
                <a:gd name="connsiteY113" fmla="*/ 188858 h 369053"/>
                <a:gd name="connsiteX114" fmla="*/ 121142 w 265732"/>
                <a:gd name="connsiteY114" fmla="*/ 189455 h 369053"/>
                <a:gd name="connsiteX115" fmla="*/ 118803 w 265732"/>
                <a:gd name="connsiteY115" fmla="*/ 189902 h 369053"/>
                <a:gd name="connsiteX116" fmla="*/ 117840 w 265732"/>
                <a:gd name="connsiteY116" fmla="*/ 191169 h 369053"/>
                <a:gd name="connsiteX117" fmla="*/ 114539 w 265732"/>
                <a:gd name="connsiteY117" fmla="*/ 192361 h 369053"/>
                <a:gd name="connsiteX118" fmla="*/ 111878 w 265732"/>
                <a:gd name="connsiteY118" fmla="*/ 191616 h 369053"/>
                <a:gd name="connsiteX119" fmla="*/ 111832 w 265732"/>
                <a:gd name="connsiteY119" fmla="*/ 189306 h 369053"/>
                <a:gd name="connsiteX120" fmla="*/ 113482 w 265732"/>
                <a:gd name="connsiteY120" fmla="*/ 188187 h 369053"/>
                <a:gd name="connsiteX121" fmla="*/ 181957 w 265732"/>
                <a:gd name="connsiteY121" fmla="*/ 0 h 369053"/>
                <a:gd name="connsiteX122" fmla="*/ 185099 w 265732"/>
                <a:gd name="connsiteY122" fmla="*/ 126 h 369053"/>
                <a:gd name="connsiteX123" fmla="*/ 188577 w 265732"/>
                <a:gd name="connsiteY123" fmla="*/ 3686 h 369053"/>
                <a:gd name="connsiteX124" fmla="*/ 193483 w 265732"/>
                <a:gd name="connsiteY124" fmla="*/ 7643 h 369053"/>
                <a:gd name="connsiteX125" fmla="*/ 196636 w 265732"/>
                <a:gd name="connsiteY125" fmla="*/ 9562 h 369053"/>
                <a:gd name="connsiteX126" fmla="*/ 205230 w 265732"/>
                <a:gd name="connsiteY126" fmla="*/ 13154 h 369053"/>
                <a:gd name="connsiteX127" fmla="*/ 212775 w 265732"/>
                <a:gd name="connsiteY127" fmla="*/ 15515 h 369053"/>
                <a:gd name="connsiteX128" fmla="*/ 217016 w 265732"/>
                <a:gd name="connsiteY128" fmla="*/ 23292 h 369053"/>
                <a:gd name="connsiteX129" fmla="*/ 214926 w 265732"/>
                <a:gd name="connsiteY129" fmla="*/ 26382 h 369053"/>
                <a:gd name="connsiteX130" fmla="*/ 213885 w 265732"/>
                <a:gd name="connsiteY130" fmla="*/ 27446 h 369053"/>
                <a:gd name="connsiteX131" fmla="*/ 210195 w 265732"/>
                <a:gd name="connsiteY131" fmla="*/ 30516 h 369053"/>
                <a:gd name="connsiteX132" fmla="*/ 206245 w 265732"/>
                <a:gd name="connsiteY132" fmla="*/ 34840 h 369053"/>
                <a:gd name="connsiteX133" fmla="*/ 205943 w 265732"/>
                <a:gd name="connsiteY133" fmla="*/ 37090 h 369053"/>
                <a:gd name="connsiteX134" fmla="*/ 207254 w 265732"/>
                <a:gd name="connsiteY134" fmla="*/ 39357 h 369053"/>
                <a:gd name="connsiteX135" fmla="*/ 208889 w 265732"/>
                <a:gd name="connsiteY135" fmla="*/ 40855 h 369053"/>
                <a:gd name="connsiteX136" fmla="*/ 207409 w 265732"/>
                <a:gd name="connsiteY136" fmla="*/ 41332 h 369053"/>
                <a:gd name="connsiteX137" fmla="*/ 202838 w 265732"/>
                <a:gd name="connsiteY137" fmla="*/ 43215 h 369053"/>
                <a:gd name="connsiteX138" fmla="*/ 200048 w 265732"/>
                <a:gd name="connsiteY138" fmla="*/ 44485 h 369053"/>
                <a:gd name="connsiteX139" fmla="*/ 196688 w 265732"/>
                <a:gd name="connsiteY139" fmla="*/ 45416 h 369053"/>
                <a:gd name="connsiteX140" fmla="*/ 197560 w 265732"/>
                <a:gd name="connsiteY140" fmla="*/ 46649 h 369053"/>
                <a:gd name="connsiteX141" fmla="*/ 203142 w 265732"/>
                <a:gd name="connsiteY141" fmla="*/ 46910 h 369053"/>
                <a:gd name="connsiteX142" fmla="*/ 204002 w 265732"/>
                <a:gd name="connsiteY142" fmla="*/ 47260 h 369053"/>
                <a:gd name="connsiteX143" fmla="*/ 204621 w 265732"/>
                <a:gd name="connsiteY143" fmla="*/ 47894 h 369053"/>
                <a:gd name="connsiteX144" fmla="*/ 204727 w 265732"/>
                <a:gd name="connsiteY144" fmla="*/ 48907 h 369053"/>
                <a:gd name="connsiteX145" fmla="*/ 204161 w 265732"/>
                <a:gd name="connsiteY145" fmla="*/ 50542 h 369053"/>
                <a:gd name="connsiteX146" fmla="*/ 198130 w 265732"/>
                <a:gd name="connsiteY146" fmla="*/ 59538 h 369053"/>
                <a:gd name="connsiteX147" fmla="*/ 197940 w 265732"/>
                <a:gd name="connsiteY147" fmla="*/ 61428 h 369053"/>
                <a:gd name="connsiteX148" fmla="*/ 199918 w 265732"/>
                <a:gd name="connsiteY148" fmla="*/ 66676 h 369053"/>
                <a:gd name="connsiteX149" fmla="*/ 202682 w 265732"/>
                <a:gd name="connsiteY149" fmla="*/ 72845 h 369053"/>
                <a:gd name="connsiteX150" fmla="*/ 211037 w 265732"/>
                <a:gd name="connsiteY150" fmla="*/ 75582 h 369053"/>
                <a:gd name="connsiteX151" fmla="*/ 217247 w 265732"/>
                <a:gd name="connsiteY151" fmla="*/ 77717 h 369053"/>
                <a:gd name="connsiteX152" fmla="*/ 221236 w 265732"/>
                <a:gd name="connsiteY152" fmla="*/ 82760 h 369053"/>
                <a:gd name="connsiteX153" fmla="*/ 227811 w 265732"/>
                <a:gd name="connsiteY153" fmla="*/ 89390 h 369053"/>
                <a:gd name="connsiteX154" fmla="*/ 231297 w 265732"/>
                <a:gd name="connsiteY154" fmla="*/ 91862 h 369053"/>
                <a:gd name="connsiteX155" fmla="*/ 231493 w 265732"/>
                <a:gd name="connsiteY155" fmla="*/ 92629 h 369053"/>
                <a:gd name="connsiteX156" fmla="*/ 230456 w 265732"/>
                <a:gd name="connsiteY156" fmla="*/ 97183 h 369053"/>
                <a:gd name="connsiteX157" fmla="*/ 226241 w 265732"/>
                <a:gd name="connsiteY157" fmla="*/ 101735 h 369053"/>
                <a:gd name="connsiteX158" fmla="*/ 222298 w 265732"/>
                <a:gd name="connsiteY158" fmla="*/ 105565 h 369053"/>
                <a:gd name="connsiteX159" fmla="*/ 218217 w 265732"/>
                <a:gd name="connsiteY159" fmla="*/ 110170 h 369053"/>
                <a:gd name="connsiteX160" fmla="*/ 215025 w 265732"/>
                <a:gd name="connsiteY160" fmla="*/ 114087 h 369053"/>
                <a:gd name="connsiteX161" fmla="*/ 211568 w 265732"/>
                <a:gd name="connsiteY161" fmla="*/ 118772 h 369053"/>
                <a:gd name="connsiteX162" fmla="*/ 211171 w 265732"/>
                <a:gd name="connsiteY162" fmla="*/ 120288 h 369053"/>
                <a:gd name="connsiteX163" fmla="*/ 211108 w 265732"/>
                <a:gd name="connsiteY163" fmla="*/ 121719 h 369053"/>
                <a:gd name="connsiteX164" fmla="*/ 211702 w 265732"/>
                <a:gd name="connsiteY164" fmla="*/ 123300 h 369053"/>
                <a:gd name="connsiteX165" fmla="*/ 216129 w 265732"/>
                <a:gd name="connsiteY165" fmla="*/ 129002 h 369053"/>
                <a:gd name="connsiteX166" fmla="*/ 217852 w 265732"/>
                <a:gd name="connsiteY166" fmla="*/ 131908 h 369053"/>
                <a:gd name="connsiteX167" fmla="*/ 219912 w 265732"/>
                <a:gd name="connsiteY167" fmla="*/ 135045 h 369053"/>
                <a:gd name="connsiteX168" fmla="*/ 221680 w 265732"/>
                <a:gd name="connsiteY168" fmla="*/ 138458 h 369053"/>
                <a:gd name="connsiteX169" fmla="*/ 222706 w 265732"/>
                <a:gd name="connsiteY169" fmla="*/ 141510 h 369053"/>
                <a:gd name="connsiteX170" fmla="*/ 224479 w 265732"/>
                <a:gd name="connsiteY170" fmla="*/ 144480 h 369053"/>
                <a:gd name="connsiteX171" fmla="*/ 225581 w 265732"/>
                <a:gd name="connsiteY171" fmla="*/ 145996 h 369053"/>
                <a:gd name="connsiteX172" fmla="*/ 227411 w 265732"/>
                <a:gd name="connsiteY172" fmla="*/ 148118 h 369053"/>
                <a:gd name="connsiteX173" fmla="*/ 229621 w 265732"/>
                <a:gd name="connsiteY173" fmla="*/ 151271 h 369053"/>
                <a:gd name="connsiteX174" fmla="*/ 230355 w 265732"/>
                <a:gd name="connsiteY174" fmla="*/ 153765 h 369053"/>
                <a:gd name="connsiteX175" fmla="*/ 233691 w 265732"/>
                <a:gd name="connsiteY175" fmla="*/ 162396 h 369053"/>
                <a:gd name="connsiteX176" fmla="*/ 234028 w 265732"/>
                <a:gd name="connsiteY176" fmla="*/ 164590 h 369053"/>
                <a:gd name="connsiteX177" fmla="*/ 233864 w 265732"/>
                <a:gd name="connsiteY177" fmla="*/ 166212 h 369053"/>
                <a:gd name="connsiteX178" fmla="*/ 232398 w 265732"/>
                <a:gd name="connsiteY178" fmla="*/ 166611 h 369053"/>
                <a:gd name="connsiteX179" fmla="*/ 229161 w 265732"/>
                <a:gd name="connsiteY179" fmla="*/ 166869 h 369053"/>
                <a:gd name="connsiteX180" fmla="*/ 225652 w 265732"/>
                <a:gd name="connsiteY180" fmla="*/ 167931 h 369053"/>
                <a:gd name="connsiteX181" fmla="*/ 225475 w 265732"/>
                <a:gd name="connsiteY181" fmla="*/ 168288 h 369053"/>
                <a:gd name="connsiteX182" fmla="*/ 227764 w 265732"/>
                <a:gd name="connsiteY182" fmla="*/ 170314 h 369053"/>
                <a:gd name="connsiteX183" fmla="*/ 225742 w 265732"/>
                <a:gd name="connsiteY183" fmla="*/ 173770 h 369053"/>
                <a:gd name="connsiteX184" fmla="*/ 225451 w 265732"/>
                <a:gd name="connsiteY184" fmla="*/ 178707 h 369053"/>
                <a:gd name="connsiteX185" fmla="*/ 223292 w 265732"/>
                <a:gd name="connsiteY185" fmla="*/ 181294 h 369053"/>
                <a:gd name="connsiteX186" fmla="*/ 223088 w 265732"/>
                <a:gd name="connsiteY186" fmla="*/ 181895 h 369053"/>
                <a:gd name="connsiteX187" fmla="*/ 223186 w 265732"/>
                <a:gd name="connsiteY187" fmla="*/ 182397 h 369053"/>
                <a:gd name="connsiteX188" fmla="*/ 223568 w 265732"/>
                <a:gd name="connsiteY188" fmla="*/ 182789 h 369053"/>
                <a:gd name="connsiteX189" fmla="*/ 227567 w 265732"/>
                <a:gd name="connsiteY189" fmla="*/ 183479 h 369053"/>
                <a:gd name="connsiteX190" fmla="*/ 227913 w 265732"/>
                <a:gd name="connsiteY190" fmla="*/ 184180 h 369053"/>
                <a:gd name="connsiteX191" fmla="*/ 227930 w 265732"/>
                <a:gd name="connsiteY191" fmla="*/ 185629 h 369053"/>
                <a:gd name="connsiteX192" fmla="*/ 227573 w 265732"/>
                <a:gd name="connsiteY192" fmla="*/ 186967 h 369053"/>
                <a:gd name="connsiteX193" fmla="*/ 225565 w 265732"/>
                <a:gd name="connsiteY193" fmla="*/ 187959 h 369053"/>
                <a:gd name="connsiteX194" fmla="*/ 223408 w 265732"/>
                <a:gd name="connsiteY194" fmla="*/ 189427 h 369053"/>
                <a:gd name="connsiteX195" fmla="*/ 222931 w 265732"/>
                <a:gd name="connsiteY195" fmla="*/ 190776 h 369053"/>
                <a:gd name="connsiteX196" fmla="*/ 223004 w 265732"/>
                <a:gd name="connsiteY196" fmla="*/ 191980 h 369053"/>
                <a:gd name="connsiteX197" fmla="*/ 223741 w 265732"/>
                <a:gd name="connsiteY197" fmla="*/ 194013 h 369053"/>
                <a:gd name="connsiteX198" fmla="*/ 225159 w 265732"/>
                <a:gd name="connsiteY198" fmla="*/ 196379 h 369053"/>
                <a:gd name="connsiteX199" fmla="*/ 226963 w 265732"/>
                <a:gd name="connsiteY199" fmla="*/ 197863 h 369053"/>
                <a:gd name="connsiteX200" fmla="*/ 233367 w 265732"/>
                <a:gd name="connsiteY200" fmla="*/ 199267 h 369053"/>
                <a:gd name="connsiteX201" fmla="*/ 234194 w 265732"/>
                <a:gd name="connsiteY201" fmla="*/ 200428 h 369053"/>
                <a:gd name="connsiteX202" fmla="*/ 234546 w 265732"/>
                <a:gd name="connsiteY202" fmla="*/ 202018 h 369053"/>
                <a:gd name="connsiteX203" fmla="*/ 234412 w 265732"/>
                <a:gd name="connsiteY203" fmla="*/ 203569 h 369053"/>
                <a:gd name="connsiteX204" fmla="*/ 231437 w 265732"/>
                <a:gd name="connsiteY204" fmla="*/ 206669 h 369053"/>
                <a:gd name="connsiteX205" fmla="*/ 231460 w 265732"/>
                <a:gd name="connsiteY205" fmla="*/ 207860 h 369053"/>
                <a:gd name="connsiteX206" fmla="*/ 232682 w 265732"/>
                <a:gd name="connsiteY206" fmla="*/ 210740 h 369053"/>
                <a:gd name="connsiteX207" fmla="*/ 234147 w 265732"/>
                <a:gd name="connsiteY207" fmla="*/ 213485 h 369053"/>
                <a:gd name="connsiteX208" fmla="*/ 240394 w 265732"/>
                <a:gd name="connsiteY208" fmla="*/ 216455 h 369053"/>
                <a:gd name="connsiteX209" fmla="*/ 242545 w 265732"/>
                <a:gd name="connsiteY209" fmla="*/ 218082 h 369053"/>
                <a:gd name="connsiteX210" fmla="*/ 243117 w 265732"/>
                <a:gd name="connsiteY210" fmla="*/ 219376 h 369053"/>
                <a:gd name="connsiteX211" fmla="*/ 243430 w 265732"/>
                <a:gd name="connsiteY211" fmla="*/ 221460 h 369053"/>
                <a:gd name="connsiteX212" fmla="*/ 243389 w 265732"/>
                <a:gd name="connsiteY212" fmla="*/ 223717 h 369053"/>
                <a:gd name="connsiteX213" fmla="*/ 242899 w 265732"/>
                <a:gd name="connsiteY213" fmla="*/ 225719 h 369053"/>
                <a:gd name="connsiteX214" fmla="*/ 240940 w 265732"/>
                <a:gd name="connsiteY214" fmla="*/ 228298 h 369053"/>
                <a:gd name="connsiteX215" fmla="*/ 236406 w 265732"/>
                <a:gd name="connsiteY215" fmla="*/ 233375 h 369053"/>
                <a:gd name="connsiteX216" fmla="*/ 231847 w 265732"/>
                <a:gd name="connsiteY216" fmla="*/ 235344 h 369053"/>
                <a:gd name="connsiteX217" fmla="*/ 231569 w 265732"/>
                <a:gd name="connsiteY217" fmla="*/ 235771 h 369053"/>
                <a:gd name="connsiteX218" fmla="*/ 232981 w 265732"/>
                <a:gd name="connsiteY218" fmla="*/ 237391 h 369053"/>
                <a:gd name="connsiteX219" fmla="*/ 241011 w 265732"/>
                <a:gd name="connsiteY219" fmla="*/ 243873 h 369053"/>
                <a:gd name="connsiteX220" fmla="*/ 246246 w 265732"/>
                <a:gd name="connsiteY220" fmla="*/ 246900 h 369053"/>
                <a:gd name="connsiteX221" fmla="*/ 253311 w 265732"/>
                <a:gd name="connsiteY221" fmla="*/ 250978 h 369053"/>
                <a:gd name="connsiteX222" fmla="*/ 257868 w 265732"/>
                <a:gd name="connsiteY222" fmla="*/ 254194 h 369053"/>
                <a:gd name="connsiteX223" fmla="*/ 259340 w 265732"/>
                <a:gd name="connsiteY223" fmla="*/ 256505 h 369053"/>
                <a:gd name="connsiteX224" fmla="*/ 261314 w 265732"/>
                <a:gd name="connsiteY224" fmla="*/ 259071 h 369053"/>
                <a:gd name="connsiteX225" fmla="*/ 263532 w 265732"/>
                <a:gd name="connsiteY225" fmla="*/ 261166 h 369053"/>
                <a:gd name="connsiteX226" fmla="*/ 265130 w 265732"/>
                <a:gd name="connsiteY226" fmla="*/ 262982 h 369053"/>
                <a:gd name="connsiteX227" fmla="*/ 265732 w 265732"/>
                <a:gd name="connsiteY227" fmla="*/ 264150 h 369053"/>
                <a:gd name="connsiteX228" fmla="*/ 265676 w 265732"/>
                <a:gd name="connsiteY228" fmla="*/ 265405 h 369053"/>
                <a:gd name="connsiteX229" fmla="*/ 263538 w 265732"/>
                <a:gd name="connsiteY229" fmla="*/ 269185 h 369053"/>
                <a:gd name="connsiteX230" fmla="*/ 262324 w 265732"/>
                <a:gd name="connsiteY230" fmla="*/ 272102 h 369053"/>
                <a:gd name="connsiteX231" fmla="*/ 260185 w 265732"/>
                <a:gd name="connsiteY231" fmla="*/ 276371 h 369053"/>
                <a:gd name="connsiteX232" fmla="*/ 257997 w 265732"/>
                <a:gd name="connsiteY232" fmla="*/ 279345 h 369053"/>
                <a:gd name="connsiteX233" fmla="*/ 252448 w 265732"/>
                <a:gd name="connsiteY233" fmla="*/ 284759 h 369053"/>
                <a:gd name="connsiteX234" fmla="*/ 244264 w 265732"/>
                <a:gd name="connsiteY234" fmla="*/ 291477 h 369053"/>
                <a:gd name="connsiteX235" fmla="*/ 242363 w 265732"/>
                <a:gd name="connsiteY235" fmla="*/ 293506 h 369053"/>
                <a:gd name="connsiteX236" fmla="*/ 238533 w 265732"/>
                <a:gd name="connsiteY236" fmla="*/ 297034 h 369053"/>
                <a:gd name="connsiteX237" fmla="*/ 231977 w 265732"/>
                <a:gd name="connsiteY237" fmla="*/ 304096 h 369053"/>
                <a:gd name="connsiteX238" fmla="*/ 230279 w 265732"/>
                <a:gd name="connsiteY238" fmla="*/ 305652 h 369053"/>
                <a:gd name="connsiteX239" fmla="*/ 224905 w 265732"/>
                <a:gd name="connsiteY239" fmla="*/ 311263 h 369053"/>
                <a:gd name="connsiteX240" fmla="*/ 222456 w 265732"/>
                <a:gd name="connsiteY240" fmla="*/ 313045 h 369053"/>
                <a:gd name="connsiteX241" fmla="*/ 220532 w 265732"/>
                <a:gd name="connsiteY241" fmla="*/ 314710 h 369053"/>
                <a:gd name="connsiteX242" fmla="*/ 215209 w 265732"/>
                <a:gd name="connsiteY242" fmla="*/ 319993 h 369053"/>
                <a:gd name="connsiteX243" fmla="*/ 209489 w 265732"/>
                <a:gd name="connsiteY243" fmla="*/ 323994 h 369053"/>
                <a:gd name="connsiteX244" fmla="*/ 203874 w 265732"/>
                <a:gd name="connsiteY244" fmla="*/ 327703 h 369053"/>
                <a:gd name="connsiteX245" fmla="*/ 202190 w 265732"/>
                <a:gd name="connsiteY245" fmla="*/ 329581 h 369053"/>
                <a:gd name="connsiteX246" fmla="*/ 200095 w 265732"/>
                <a:gd name="connsiteY246" fmla="*/ 331012 h 369053"/>
                <a:gd name="connsiteX247" fmla="*/ 197595 w 265732"/>
                <a:gd name="connsiteY247" fmla="*/ 332372 h 369053"/>
                <a:gd name="connsiteX248" fmla="*/ 196541 w 265732"/>
                <a:gd name="connsiteY248" fmla="*/ 333134 h 369053"/>
                <a:gd name="connsiteX249" fmla="*/ 190892 w 265732"/>
                <a:gd name="connsiteY249" fmla="*/ 338191 h 369053"/>
                <a:gd name="connsiteX250" fmla="*/ 183058 w 265732"/>
                <a:gd name="connsiteY250" fmla="*/ 345191 h 369053"/>
                <a:gd name="connsiteX251" fmla="*/ 182261 w 265732"/>
                <a:gd name="connsiteY251" fmla="*/ 345300 h 369053"/>
                <a:gd name="connsiteX252" fmla="*/ 180221 w 265732"/>
                <a:gd name="connsiteY252" fmla="*/ 346429 h 369053"/>
                <a:gd name="connsiteX253" fmla="*/ 177031 w 265732"/>
                <a:gd name="connsiteY253" fmla="*/ 346702 h 369053"/>
                <a:gd name="connsiteX254" fmla="*/ 175645 w 265732"/>
                <a:gd name="connsiteY254" fmla="*/ 347565 h 369053"/>
                <a:gd name="connsiteX255" fmla="*/ 170769 w 265732"/>
                <a:gd name="connsiteY255" fmla="*/ 345106 h 369053"/>
                <a:gd name="connsiteX256" fmla="*/ 169959 w 265732"/>
                <a:gd name="connsiteY256" fmla="*/ 344947 h 369053"/>
                <a:gd name="connsiteX257" fmla="*/ 167092 w 265732"/>
                <a:gd name="connsiteY257" fmla="*/ 345557 h 369053"/>
                <a:gd name="connsiteX258" fmla="*/ 164340 w 265732"/>
                <a:gd name="connsiteY258" fmla="*/ 347344 h 369053"/>
                <a:gd name="connsiteX259" fmla="*/ 159261 w 265732"/>
                <a:gd name="connsiteY259" fmla="*/ 347890 h 369053"/>
                <a:gd name="connsiteX260" fmla="*/ 156739 w 265732"/>
                <a:gd name="connsiteY260" fmla="*/ 348469 h 369053"/>
                <a:gd name="connsiteX261" fmla="*/ 155131 w 265732"/>
                <a:gd name="connsiteY261" fmla="*/ 349294 h 369053"/>
                <a:gd name="connsiteX262" fmla="*/ 154800 w 265732"/>
                <a:gd name="connsiteY262" fmla="*/ 347341 h 369053"/>
                <a:gd name="connsiteX263" fmla="*/ 155495 w 265732"/>
                <a:gd name="connsiteY263" fmla="*/ 344862 h 369053"/>
                <a:gd name="connsiteX264" fmla="*/ 156614 w 265732"/>
                <a:gd name="connsiteY264" fmla="*/ 343208 h 369053"/>
                <a:gd name="connsiteX265" fmla="*/ 156718 w 265732"/>
                <a:gd name="connsiteY265" fmla="*/ 342130 h 369053"/>
                <a:gd name="connsiteX266" fmla="*/ 155897 w 265732"/>
                <a:gd name="connsiteY266" fmla="*/ 342242 h 369053"/>
                <a:gd name="connsiteX267" fmla="*/ 154271 w 265732"/>
                <a:gd name="connsiteY267" fmla="*/ 344669 h 369053"/>
                <a:gd name="connsiteX268" fmla="*/ 153401 w 265732"/>
                <a:gd name="connsiteY268" fmla="*/ 347500 h 369053"/>
                <a:gd name="connsiteX269" fmla="*/ 151660 w 265732"/>
                <a:gd name="connsiteY269" fmla="*/ 348922 h 369053"/>
                <a:gd name="connsiteX270" fmla="*/ 147834 w 265732"/>
                <a:gd name="connsiteY270" fmla="*/ 349503 h 369053"/>
                <a:gd name="connsiteX271" fmla="*/ 144105 w 265732"/>
                <a:gd name="connsiteY271" fmla="*/ 347230 h 369053"/>
                <a:gd name="connsiteX272" fmla="*/ 142334 w 265732"/>
                <a:gd name="connsiteY272" fmla="*/ 347253 h 369053"/>
                <a:gd name="connsiteX273" fmla="*/ 143446 w 265732"/>
                <a:gd name="connsiteY273" fmla="*/ 348881 h 369053"/>
                <a:gd name="connsiteX274" fmla="*/ 144198 w 265732"/>
                <a:gd name="connsiteY274" fmla="*/ 350667 h 369053"/>
                <a:gd name="connsiteX275" fmla="*/ 144100 w 265732"/>
                <a:gd name="connsiteY275" fmla="*/ 351667 h 369053"/>
                <a:gd name="connsiteX276" fmla="*/ 142112 w 265732"/>
                <a:gd name="connsiteY276" fmla="*/ 351491 h 369053"/>
                <a:gd name="connsiteX277" fmla="*/ 139898 w 265732"/>
                <a:gd name="connsiteY277" fmla="*/ 352561 h 369053"/>
                <a:gd name="connsiteX278" fmla="*/ 137957 w 265732"/>
                <a:gd name="connsiteY278" fmla="*/ 354123 h 369053"/>
                <a:gd name="connsiteX279" fmla="*/ 137015 w 265732"/>
                <a:gd name="connsiteY279" fmla="*/ 354126 h 369053"/>
                <a:gd name="connsiteX280" fmla="*/ 135711 w 265732"/>
                <a:gd name="connsiteY280" fmla="*/ 351943 h 369053"/>
                <a:gd name="connsiteX281" fmla="*/ 133318 w 265732"/>
                <a:gd name="connsiteY281" fmla="*/ 352962 h 369053"/>
                <a:gd name="connsiteX282" fmla="*/ 131274 w 265732"/>
                <a:gd name="connsiteY282" fmla="*/ 354332 h 369053"/>
                <a:gd name="connsiteX283" fmla="*/ 127119 w 265732"/>
                <a:gd name="connsiteY283" fmla="*/ 354760 h 369053"/>
                <a:gd name="connsiteX284" fmla="*/ 124642 w 265732"/>
                <a:gd name="connsiteY284" fmla="*/ 356559 h 369053"/>
                <a:gd name="connsiteX285" fmla="*/ 120259 w 265732"/>
                <a:gd name="connsiteY285" fmla="*/ 357772 h 369053"/>
                <a:gd name="connsiteX286" fmla="*/ 117851 w 265732"/>
                <a:gd name="connsiteY286" fmla="*/ 357743 h 369053"/>
                <a:gd name="connsiteX287" fmla="*/ 112362 w 265732"/>
                <a:gd name="connsiteY287" fmla="*/ 359203 h 369053"/>
                <a:gd name="connsiteX288" fmla="*/ 110537 w 265732"/>
                <a:gd name="connsiteY288" fmla="*/ 361452 h 369053"/>
                <a:gd name="connsiteX289" fmla="*/ 108937 w 265732"/>
                <a:gd name="connsiteY289" fmla="*/ 362279 h 369053"/>
                <a:gd name="connsiteX290" fmla="*/ 106659 w 265732"/>
                <a:gd name="connsiteY290" fmla="*/ 361583 h 369053"/>
                <a:gd name="connsiteX291" fmla="*/ 99641 w 265732"/>
                <a:gd name="connsiteY291" fmla="*/ 362679 h 369053"/>
                <a:gd name="connsiteX292" fmla="*/ 92932 w 265732"/>
                <a:gd name="connsiteY292" fmla="*/ 364116 h 369053"/>
                <a:gd name="connsiteX293" fmla="*/ 90077 w 265732"/>
                <a:gd name="connsiteY293" fmla="*/ 364034 h 369053"/>
                <a:gd name="connsiteX294" fmla="*/ 87222 w 265732"/>
                <a:gd name="connsiteY294" fmla="*/ 363437 h 369053"/>
                <a:gd name="connsiteX295" fmla="*/ 84197 w 265732"/>
                <a:gd name="connsiteY295" fmla="*/ 365433 h 369053"/>
                <a:gd name="connsiteX296" fmla="*/ 80984 w 265732"/>
                <a:gd name="connsiteY296" fmla="*/ 368101 h 369053"/>
                <a:gd name="connsiteX297" fmla="*/ 77442 w 265732"/>
                <a:gd name="connsiteY297" fmla="*/ 369053 h 369053"/>
                <a:gd name="connsiteX298" fmla="*/ 76173 w 265732"/>
                <a:gd name="connsiteY298" fmla="*/ 368712 h 369053"/>
                <a:gd name="connsiteX299" fmla="*/ 77187 w 265732"/>
                <a:gd name="connsiteY299" fmla="*/ 367314 h 369053"/>
                <a:gd name="connsiteX300" fmla="*/ 79531 w 265732"/>
                <a:gd name="connsiteY300" fmla="*/ 365865 h 369053"/>
                <a:gd name="connsiteX301" fmla="*/ 81139 w 265732"/>
                <a:gd name="connsiteY301" fmla="*/ 363900 h 369053"/>
                <a:gd name="connsiteX302" fmla="*/ 81360 w 265732"/>
                <a:gd name="connsiteY302" fmla="*/ 362261 h 369053"/>
                <a:gd name="connsiteX303" fmla="*/ 80254 w 265732"/>
                <a:gd name="connsiteY303" fmla="*/ 361617 h 369053"/>
                <a:gd name="connsiteX304" fmla="*/ 78744 w 265732"/>
                <a:gd name="connsiteY304" fmla="*/ 361420 h 369053"/>
                <a:gd name="connsiteX305" fmla="*/ 76842 w 265732"/>
                <a:gd name="connsiteY305" fmla="*/ 359723 h 369053"/>
                <a:gd name="connsiteX306" fmla="*/ 75019 w 265732"/>
                <a:gd name="connsiteY306" fmla="*/ 356041 h 369053"/>
                <a:gd name="connsiteX307" fmla="*/ 74032 w 265732"/>
                <a:gd name="connsiteY307" fmla="*/ 355838 h 369053"/>
                <a:gd name="connsiteX308" fmla="*/ 73532 w 265732"/>
                <a:gd name="connsiteY308" fmla="*/ 356806 h 369053"/>
                <a:gd name="connsiteX309" fmla="*/ 72972 w 265732"/>
                <a:gd name="connsiteY309" fmla="*/ 359630 h 369053"/>
                <a:gd name="connsiteX310" fmla="*/ 72404 w 265732"/>
                <a:gd name="connsiteY310" fmla="*/ 360443 h 369053"/>
                <a:gd name="connsiteX311" fmla="*/ 71439 w 265732"/>
                <a:gd name="connsiteY311" fmla="*/ 361089 h 369053"/>
                <a:gd name="connsiteX312" fmla="*/ 70280 w 265732"/>
                <a:gd name="connsiteY312" fmla="*/ 361739 h 369053"/>
                <a:gd name="connsiteX313" fmla="*/ 69148 w 265732"/>
                <a:gd name="connsiteY313" fmla="*/ 362056 h 369053"/>
                <a:gd name="connsiteX314" fmla="*/ 65091 w 265732"/>
                <a:gd name="connsiteY314" fmla="*/ 362017 h 369053"/>
                <a:gd name="connsiteX315" fmla="*/ 64557 w 265732"/>
                <a:gd name="connsiteY315" fmla="*/ 360593 h 369053"/>
                <a:gd name="connsiteX316" fmla="*/ 64557 w 265732"/>
                <a:gd name="connsiteY316" fmla="*/ 359997 h 369053"/>
                <a:gd name="connsiteX317" fmla="*/ 65276 w 265732"/>
                <a:gd name="connsiteY317" fmla="*/ 358120 h 369053"/>
                <a:gd name="connsiteX318" fmla="*/ 64648 w 265732"/>
                <a:gd name="connsiteY318" fmla="*/ 357792 h 369053"/>
                <a:gd name="connsiteX319" fmla="*/ 65246 w 265732"/>
                <a:gd name="connsiteY319" fmla="*/ 356319 h 369053"/>
                <a:gd name="connsiteX320" fmla="*/ 66203 w 265732"/>
                <a:gd name="connsiteY320" fmla="*/ 356398 h 369053"/>
                <a:gd name="connsiteX321" fmla="*/ 67336 w 265732"/>
                <a:gd name="connsiteY321" fmla="*/ 356180 h 369053"/>
                <a:gd name="connsiteX322" fmla="*/ 67904 w 265732"/>
                <a:gd name="connsiteY322" fmla="*/ 355422 h 369053"/>
                <a:gd name="connsiteX323" fmla="*/ 67861 w 265732"/>
                <a:gd name="connsiteY323" fmla="*/ 354517 h 369053"/>
                <a:gd name="connsiteX324" fmla="*/ 66285 w 265732"/>
                <a:gd name="connsiteY324" fmla="*/ 354282 h 369053"/>
                <a:gd name="connsiteX325" fmla="*/ 66188 w 265732"/>
                <a:gd name="connsiteY325" fmla="*/ 353664 h 369053"/>
                <a:gd name="connsiteX326" fmla="*/ 67593 w 265732"/>
                <a:gd name="connsiteY326" fmla="*/ 351083 h 369053"/>
                <a:gd name="connsiteX327" fmla="*/ 67794 w 265732"/>
                <a:gd name="connsiteY327" fmla="*/ 350369 h 369053"/>
                <a:gd name="connsiteX328" fmla="*/ 67250 w 265732"/>
                <a:gd name="connsiteY328" fmla="*/ 350221 h 369053"/>
                <a:gd name="connsiteX329" fmla="*/ 66369 w 265732"/>
                <a:gd name="connsiteY329" fmla="*/ 350502 h 369053"/>
                <a:gd name="connsiteX330" fmla="*/ 60562 w 265732"/>
                <a:gd name="connsiteY330" fmla="*/ 349692 h 369053"/>
                <a:gd name="connsiteX331" fmla="*/ 53400 w 265732"/>
                <a:gd name="connsiteY331" fmla="*/ 346385 h 369053"/>
                <a:gd name="connsiteX332" fmla="*/ 51638 w 265732"/>
                <a:gd name="connsiteY332" fmla="*/ 346214 h 369053"/>
                <a:gd name="connsiteX333" fmla="*/ 50554 w 265732"/>
                <a:gd name="connsiteY333" fmla="*/ 343257 h 369053"/>
                <a:gd name="connsiteX334" fmla="*/ 48826 w 265732"/>
                <a:gd name="connsiteY334" fmla="*/ 343632 h 369053"/>
                <a:gd name="connsiteX335" fmla="*/ 46308 w 265732"/>
                <a:gd name="connsiteY335" fmla="*/ 345363 h 369053"/>
                <a:gd name="connsiteX336" fmla="*/ 44419 w 265732"/>
                <a:gd name="connsiteY336" fmla="*/ 344048 h 369053"/>
                <a:gd name="connsiteX337" fmla="*/ 42389 w 265732"/>
                <a:gd name="connsiteY337" fmla="*/ 343182 h 369053"/>
                <a:gd name="connsiteX338" fmla="*/ 41827 w 265732"/>
                <a:gd name="connsiteY338" fmla="*/ 341828 h 369053"/>
                <a:gd name="connsiteX339" fmla="*/ 41856 w 265732"/>
                <a:gd name="connsiteY339" fmla="*/ 339829 h 369053"/>
                <a:gd name="connsiteX340" fmla="*/ 41681 w 265732"/>
                <a:gd name="connsiteY340" fmla="*/ 337469 h 369053"/>
                <a:gd name="connsiteX341" fmla="*/ 41126 w 265732"/>
                <a:gd name="connsiteY341" fmla="*/ 334704 h 369053"/>
                <a:gd name="connsiteX342" fmla="*/ 40720 w 265732"/>
                <a:gd name="connsiteY342" fmla="*/ 330768 h 369053"/>
                <a:gd name="connsiteX343" fmla="*/ 41100 w 265732"/>
                <a:gd name="connsiteY343" fmla="*/ 327687 h 369053"/>
                <a:gd name="connsiteX344" fmla="*/ 42719 w 265732"/>
                <a:gd name="connsiteY344" fmla="*/ 325403 h 369053"/>
                <a:gd name="connsiteX345" fmla="*/ 43341 w 265732"/>
                <a:gd name="connsiteY345" fmla="*/ 323944 h 369053"/>
                <a:gd name="connsiteX346" fmla="*/ 44101 w 265732"/>
                <a:gd name="connsiteY346" fmla="*/ 320215 h 369053"/>
                <a:gd name="connsiteX347" fmla="*/ 44272 w 265732"/>
                <a:gd name="connsiteY347" fmla="*/ 315839 h 369053"/>
                <a:gd name="connsiteX348" fmla="*/ 43842 w 265732"/>
                <a:gd name="connsiteY348" fmla="*/ 314347 h 369053"/>
                <a:gd name="connsiteX349" fmla="*/ 43950 w 265732"/>
                <a:gd name="connsiteY349" fmla="*/ 313354 h 369053"/>
                <a:gd name="connsiteX350" fmla="*/ 45242 w 265732"/>
                <a:gd name="connsiteY350" fmla="*/ 313354 h 369053"/>
                <a:gd name="connsiteX351" fmla="*/ 44961 w 265732"/>
                <a:gd name="connsiteY351" fmla="*/ 312502 h 369053"/>
                <a:gd name="connsiteX352" fmla="*/ 44393 w 265732"/>
                <a:gd name="connsiteY352" fmla="*/ 312035 h 369053"/>
                <a:gd name="connsiteX353" fmla="*/ 43765 w 265732"/>
                <a:gd name="connsiteY353" fmla="*/ 311065 h 369053"/>
                <a:gd name="connsiteX354" fmla="*/ 44300 w 265732"/>
                <a:gd name="connsiteY354" fmla="*/ 310551 h 369053"/>
                <a:gd name="connsiteX355" fmla="*/ 45846 w 265732"/>
                <a:gd name="connsiteY355" fmla="*/ 310514 h 369053"/>
                <a:gd name="connsiteX356" fmla="*/ 45971 w 265732"/>
                <a:gd name="connsiteY356" fmla="*/ 310187 h 369053"/>
                <a:gd name="connsiteX357" fmla="*/ 46146 w 265732"/>
                <a:gd name="connsiteY357" fmla="*/ 309723 h 369053"/>
                <a:gd name="connsiteX358" fmla="*/ 44950 w 265732"/>
                <a:gd name="connsiteY358" fmla="*/ 307170 h 369053"/>
                <a:gd name="connsiteX359" fmla="*/ 44812 w 265732"/>
                <a:gd name="connsiteY359" fmla="*/ 305952 h 369053"/>
                <a:gd name="connsiteX360" fmla="*/ 43151 w 265732"/>
                <a:gd name="connsiteY360" fmla="*/ 302250 h 369053"/>
                <a:gd name="connsiteX361" fmla="*/ 41257 w 265732"/>
                <a:gd name="connsiteY361" fmla="*/ 298735 h 369053"/>
                <a:gd name="connsiteX362" fmla="*/ 38407 w 265732"/>
                <a:gd name="connsiteY362" fmla="*/ 296188 h 369053"/>
                <a:gd name="connsiteX363" fmla="*/ 39418 w 265732"/>
                <a:gd name="connsiteY363" fmla="*/ 291988 h 369053"/>
                <a:gd name="connsiteX364" fmla="*/ 40569 w 265732"/>
                <a:gd name="connsiteY364" fmla="*/ 288184 h 369053"/>
                <a:gd name="connsiteX365" fmla="*/ 40340 w 265732"/>
                <a:gd name="connsiteY365" fmla="*/ 286349 h 369053"/>
                <a:gd name="connsiteX366" fmla="*/ 39899 w 265732"/>
                <a:gd name="connsiteY366" fmla="*/ 284114 h 369053"/>
                <a:gd name="connsiteX367" fmla="*/ 36410 w 265732"/>
                <a:gd name="connsiteY367" fmla="*/ 281660 h 369053"/>
                <a:gd name="connsiteX368" fmla="*/ 35891 w 265732"/>
                <a:gd name="connsiteY368" fmla="*/ 278196 h 369053"/>
                <a:gd name="connsiteX369" fmla="*/ 35038 w 265732"/>
                <a:gd name="connsiteY369" fmla="*/ 274472 h 369053"/>
                <a:gd name="connsiteX370" fmla="*/ 35360 w 265732"/>
                <a:gd name="connsiteY370" fmla="*/ 272185 h 369053"/>
                <a:gd name="connsiteX371" fmla="*/ 35928 w 265732"/>
                <a:gd name="connsiteY371" fmla="*/ 270433 h 369053"/>
                <a:gd name="connsiteX372" fmla="*/ 37075 w 265732"/>
                <a:gd name="connsiteY372" fmla="*/ 268687 h 369053"/>
                <a:gd name="connsiteX373" fmla="*/ 42864 w 265732"/>
                <a:gd name="connsiteY373" fmla="*/ 263167 h 369053"/>
                <a:gd name="connsiteX374" fmla="*/ 43218 w 265732"/>
                <a:gd name="connsiteY374" fmla="*/ 260279 h 369053"/>
                <a:gd name="connsiteX375" fmla="*/ 47142 w 265732"/>
                <a:gd name="connsiteY375" fmla="*/ 260069 h 369053"/>
                <a:gd name="connsiteX376" fmla="*/ 45321 w 265732"/>
                <a:gd name="connsiteY376" fmla="*/ 257484 h 369053"/>
                <a:gd name="connsiteX377" fmla="*/ 44892 w 265732"/>
                <a:gd name="connsiteY377" fmla="*/ 256031 h 369053"/>
                <a:gd name="connsiteX378" fmla="*/ 44801 w 265732"/>
                <a:gd name="connsiteY378" fmla="*/ 254334 h 369053"/>
                <a:gd name="connsiteX379" fmla="*/ 50446 w 265732"/>
                <a:gd name="connsiteY379" fmla="*/ 253171 h 369053"/>
                <a:gd name="connsiteX380" fmla="*/ 52553 w 265732"/>
                <a:gd name="connsiteY380" fmla="*/ 254126 h 369053"/>
                <a:gd name="connsiteX381" fmla="*/ 57520 w 265732"/>
                <a:gd name="connsiteY381" fmla="*/ 252946 h 369053"/>
                <a:gd name="connsiteX382" fmla="*/ 61929 w 265732"/>
                <a:gd name="connsiteY382" fmla="*/ 250636 h 369053"/>
                <a:gd name="connsiteX383" fmla="*/ 61851 w 265732"/>
                <a:gd name="connsiteY383" fmla="*/ 249407 h 369053"/>
                <a:gd name="connsiteX384" fmla="*/ 61174 w 265732"/>
                <a:gd name="connsiteY384" fmla="*/ 248306 h 369053"/>
                <a:gd name="connsiteX385" fmla="*/ 60238 w 265732"/>
                <a:gd name="connsiteY385" fmla="*/ 246185 h 369053"/>
                <a:gd name="connsiteX386" fmla="*/ 60901 w 265732"/>
                <a:gd name="connsiteY386" fmla="*/ 245596 h 369053"/>
                <a:gd name="connsiteX387" fmla="*/ 62510 w 265732"/>
                <a:gd name="connsiteY387" fmla="*/ 246029 h 369053"/>
                <a:gd name="connsiteX388" fmla="*/ 61772 w 265732"/>
                <a:gd name="connsiteY388" fmla="*/ 244974 h 369053"/>
                <a:gd name="connsiteX389" fmla="*/ 61906 w 265732"/>
                <a:gd name="connsiteY389" fmla="*/ 243861 h 369053"/>
                <a:gd name="connsiteX390" fmla="*/ 63661 w 265732"/>
                <a:gd name="connsiteY390" fmla="*/ 244324 h 369053"/>
                <a:gd name="connsiteX391" fmla="*/ 66527 w 265732"/>
                <a:gd name="connsiteY391" fmla="*/ 241214 h 369053"/>
                <a:gd name="connsiteX392" fmla="*/ 66630 w 265732"/>
                <a:gd name="connsiteY392" fmla="*/ 238835 h 369053"/>
                <a:gd name="connsiteX393" fmla="*/ 71582 w 265732"/>
                <a:gd name="connsiteY393" fmla="*/ 237590 h 369053"/>
                <a:gd name="connsiteX394" fmla="*/ 77291 w 265732"/>
                <a:gd name="connsiteY394" fmla="*/ 232724 h 369053"/>
                <a:gd name="connsiteX395" fmla="*/ 79926 w 265732"/>
                <a:gd name="connsiteY395" fmla="*/ 231207 h 369053"/>
                <a:gd name="connsiteX396" fmla="*/ 82471 w 265732"/>
                <a:gd name="connsiteY396" fmla="*/ 230108 h 369053"/>
                <a:gd name="connsiteX397" fmla="*/ 87894 w 265732"/>
                <a:gd name="connsiteY397" fmla="*/ 225229 h 369053"/>
                <a:gd name="connsiteX398" fmla="*/ 90215 w 265732"/>
                <a:gd name="connsiteY398" fmla="*/ 225002 h 369053"/>
                <a:gd name="connsiteX399" fmla="*/ 91409 w 265732"/>
                <a:gd name="connsiteY399" fmla="*/ 221706 h 369053"/>
                <a:gd name="connsiteX400" fmla="*/ 96020 w 265732"/>
                <a:gd name="connsiteY400" fmla="*/ 217312 h 369053"/>
                <a:gd name="connsiteX401" fmla="*/ 97421 w 265732"/>
                <a:gd name="connsiteY401" fmla="*/ 216749 h 369053"/>
                <a:gd name="connsiteX402" fmla="*/ 99576 w 265732"/>
                <a:gd name="connsiteY402" fmla="*/ 212779 h 369053"/>
                <a:gd name="connsiteX403" fmla="*/ 105238 w 265732"/>
                <a:gd name="connsiteY403" fmla="*/ 208180 h 369053"/>
                <a:gd name="connsiteX404" fmla="*/ 108827 w 265732"/>
                <a:gd name="connsiteY404" fmla="*/ 202302 h 369053"/>
                <a:gd name="connsiteX405" fmla="*/ 110807 w 265732"/>
                <a:gd name="connsiteY405" fmla="*/ 200210 h 369053"/>
                <a:gd name="connsiteX406" fmla="*/ 111420 w 265732"/>
                <a:gd name="connsiteY406" fmla="*/ 197980 h 369053"/>
                <a:gd name="connsiteX407" fmla="*/ 113625 w 265732"/>
                <a:gd name="connsiteY407" fmla="*/ 197791 h 369053"/>
                <a:gd name="connsiteX408" fmla="*/ 115614 w 265732"/>
                <a:gd name="connsiteY408" fmla="*/ 196151 h 369053"/>
                <a:gd name="connsiteX409" fmla="*/ 119917 w 265732"/>
                <a:gd name="connsiteY409" fmla="*/ 195007 h 369053"/>
                <a:gd name="connsiteX410" fmla="*/ 124165 w 265732"/>
                <a:gd name="connsiteY410" fmla="*/ 195324 h 369053"/>
                <a:gd name="connsiteX411" fmla="*/ 125934 w 265732"/>
                <a:gd name="connsiteY411" fmla="*/ 196102 h 369053"/>
                <a:gd name="connsiteX412" fmla="*/ 127568 w 265732"/>
                <a:gd name="connsiteY412" fmla="*/ 195855 h 369053"/>
                <a:gd name="connsiteX413" fmla="*/ 127404 w 265732"/>
                <a:gd name="connsiteY413" fmla="*/ 193846 h 369053"/>
                <a:gd name="connsiteX414" fmla="*/ 126238 w 265732"/>
                <a:gd name="connsiteY414" fmla="*/ 192604 h 369053"/>
                <a:gd name="connsiteX415" fmla="*/ 127190 w 265732"/>
                <a:gd name="connsiteY415" fmla="*/ 191411 h 369053"/>
                <a:gd name="connsiteX416" fmla="*/ 129436 w 265732"/>
                <a:gd name="connsiteY416" fmla="*/ 190506 h 369053"/>
                <a:gd name="connsiteX417" fmla="*/ 129207 w 265732"/>
                <a:gd name="connsiteY417" fmla="*/ 188505 h 369053"/>
                <a:gd name="connsiteX418" fmla="*/ 128719 w 265732"/>
                <a:gd name="connsiteY418" fmla="*/ 187300 h 369053"/>
                <a:gd name="connsiteX419" fmla="*/ 126853 w 265732"/>
                <a:gd name="connsiteY419" fmla="*/ 185694 h 369053"/>
                <a:gd name="connsiteX420" fmla="*/ 127782 w 265732"/>
                <a:gd name="connsiteY420" fmla="*/ 182092 h 369053"/>
                <a:gd name="connsiteX421" fmla="*/ 128004 w 265732"/>
                <a:gd name="connsiteY421" fmla="*/ 178137 h 369053"/>
                <a:gd name="connsiteX422" fmla="*/ 128888 w 265732"/>
                <a:gd name="connsiteY422" fmla="*/ 173559 h 369053"/>
                <a:gd name="connsiteX423" fmla="*/ 126542 w 265732"/>
                <a:gd name="connsiteY423" fmla="*/ 171129 h 369053"/>
                <a:gd name="connsiteX424" fmla="*/ 117644 w 265732"/>
                <a:gd name="connsiteY424" fmla="*/ 166987 h 369053"/>
                <a:gd name="connsiteX425" fmla="*/ 115983 w 265732"/>
                <a:gd name="connsiteY425" fmla="*/ 167131 h 369053"/>
                <a:gd name="connsiteX426" fmla="*/ 114007 w 265732"/>
                <a:gd name="connsiteY426" fmla="*/ 166611 h 369053"/>
                <a:gd name="connsiteX427" fmla="*/ 111943 w 265732"/>
                <a:gd name="connsiteY427" fmla="*/ 163467 h 369053"/>
                <a:gd name="connsiteX428" fmla="*/ 112865 w 265732"/>
                <a:gd name="connsiteY428" fmla="*/ 160750 h 369053"/>
                <a:gd name="connsiteX429" fmla="*/ 112971 w 265732"/>
                <a:gd name="connsiteY429" fmla="*/ 159748 h 369053"/>
                <a:gd name="connsiteX430" fmla="*/ 112165 w 265732"/>
                <a:gd name="connsiteY430" fmla="*/ 159778 h 369053"/>
                <a:gd name="connsiteX431" fmla="*/ 110861 w 265732"/>
                <a:gd name="connsiteY431" fmla="*/ 161103 h 369053"/>
                <a:gd name="connsiteX432" fmla="*/ 108023 w 265732"/>
                <a:gd name="connsiteY432" fmla="*/ 162617 h 369053"/>
                <a:gd name="connsiteX433" fmla="*/ 104335 w 265732"/>
                <a:gd name="connsiteY433" fmla="*/ 161455 h 369053"/>
                <a:gd name="connsiteX434" fmla="*/ 102521 w 265732"/>
                <a:gd name="connsiteY434" fmla="*/ 161713 h 369053"/>
                <a:gd name="connsiteX435" fmla="*/ 100168 w 265732"/>
                <a:gd name="connsiteY435" fmla="*/ 154976 h 369053"/>
                <a:gd name="connsiteX436" fmla="*/ 98965 w 265732"/>
                <a:gd name="connsiteY436" fmla="*/ 152396 h 369053"/>
                <a:gd name="connsiteX437" fmla="*/ 97035 w 265732"/>
                <a:gd name="connsiteY437" fmla="*/ 149175 h 369053"/>
                <a:gd name="connsiteX438" fmla="*/ 93588 w 265732"/>
                <a:gd name="connsiteY438" fmla="*/ 147600 h 369053"/>
                <a:gd name="connsiteX439" fmla="*/ 92914 w 265732"/>
                <a:gd name="connsiteY439" fmla="*/ 146709 h 369053"/>
                <a:gd name="connsiteX440" fmla="*/ 92457 w 265732"/>
                <a:gd name="connsiteY440" fmla="*/ 145343 h 369053"/>
                <a:gd name="connsiteX441" fmla="*/ 92307 w 265732"/>
                <a:gd name="connsiteY441" fmla="*/ 143444 h 369053"/>
                <a:gd name="connsiteX442" fmla="*/ 91871 w 265732"/>
                <a:gd name="connsiteY442" fmla="*/ 140631 h 369053"/>
                <a:gd name="connsiteX443" fmla="*/ 92053 w 265732"/>
                <a:gd name="connsiteY443" fmla="*/ 138321 h 369053"/>
                <a:gd name="connsiteX444" fmla="*/ 92476 w 265732"/>
                <a:gd name="connsiteY444" fmla="*/ 136943 h 369053"/>
                <a:gd name="connsiteX445" fmla="*/ 93961 w 265732"/>
                <a:gd name="connsiteY445" fmla="*/ 136017 h 369053"/>
                <a:gd name="connsiteX446" fmla="*/ 96110 w 265732"/>
                <a:gd name="connsiteY446" fmla="*/ 133403 h 369053"/>
                <a:gd name="connsiteX447" fmla="*/ 96559 w 265732"/>
                <a:gd name="connsiteY447" fmla="*/ 131501 h 369053"/>
                <a:gd name="connsiteX448" fmla="*/ 96743 w 265732"/>
                <a:gd name="connsiteY448" fmla="*/ 128581 h 369053"/>
                <a:gd name="connsiteX449" fmla="*/ 97732 w 265732"/>
                <a:gd name="connsiteY449" fmla="*/ 126028 h 369053"/>
                <a:gd name="connsiteX450" fmla="*/ 98831 w 265732"/>
                <a:gd name="connsiteY450" fmla="*/ 124736 h 369053"/>
                <a:gd name="connsiteX451" fmla="*/ 98555 w 265732"/>
                <a:gd name="connsiteY451" fmla="*/ 123708 h 369053"/>
                <a:gd name="connsiteX452" fmla="*/ 97797 w 265732"/>
                <a:gd name="connsiteY452" fmla="*/ 122236 h 369053"/>
                <a:gd name="connsiteX453" fmla="*/ 96194 w 265732"/>
                <a:gd name="connsiteY453" fmla="*/ 120145 h 369053"/>
                <a:gd name="connsiteX454" fmla="*/ 93754 w 265732"/>
                <a:gd name="connsiteY454" fmla="*/ 117593 h 369053"/>
                <a:gd name="connsiteX455" fmla="*/ 91949 w 265732"/>
                <a:gd name="connsiteY455" fmla="*/ 115149 h 369053"/>
                <a:gd name="connsiteX456" fmla="*/ 91157 w 265732"/>
                <a:gd name="connsiteY456" fmla="*/ 112862 h 369053"/>
                <a:gd name="connsiteX457" fmla="*/ 90749 w 265732"/>
                <a:gd name="connsiteY457" fmla="*/ 110816 h 369053"/>
                <a:gd name="connsiteX458" fmla="*/ 90815 w 265732"/>
                <a:gd name="connsiteY458" fmla="*/ 108953 h 369053"/>
                <a:gd name="connsiteX459" fmla="*/ 91491 w 265732"/>
                <a:gd name="connsiteY459" fmla="*/ 107684 h 369053"/>
                <a:gd name="connsiteX460" fmla="*/ 93798 w 265732"/>
                <a:gd name="connsiteY460" fmla="*/ 106085 h 369053"/>
                <a:gd name="connsiteX461" fmla="*/ 94106 w 265732"/>
                <a:gd name="connsiteY461" fmla="*/ 105406 h 369053"/>
                <a:gd name="connsiteX462" fmla="*/ 93193 w 265732"/>
                <a:gd name="connsiteY462" fmla="*/ 101868 h 369053"/>
                <a:gd name="connsiteX463" fmla="*/ 91584 w 265732"/>
                <a:gd name="connsiteY463" fmla="*/ 101223 h 369053"/>
                <a:gd name="connsiteX464" fmla="*/ 88848 w 265732"/>
                <a:gd name="connsiteY464" fmla="*/ 100880 h 369053"/>
                <a:gd name="connsiteX465" fmla="*/ 87322 w 265732"/>
                <a:gd name="connsiteY465" fmla="*/ 100851 h 369053"/>
                <a:gd name="connsiteX466" fmla="*/ 87030 w 265732"/>
                <a:gd name="connsiteY466" fmla="*/ 100464 h 369053"/>
                <a:gd name="connsiteX467" fmla="*/ 86955 w 265732"/>
                <a:gd name="connsiteY467" fmla="*/ 99751 h 369053"/>
                <a:gd name="connsiteX468" fmla="*/ 87263 w 265732"/>
                <a:gd name="connsiteY468" fmla="*/ 98297 h 369053"/>
                <a:gd name="connsiteX469" fmla="*/ 88127 w 265732"/>
                <a:gd name="connsiteY469" fmla="*/ 96629 h 369053"/>
                <a:gd name="connsiteX470" fmla="*/ 88846 w 265732"/>
                <a:gd name="connsiteY470" fmla="*/ 95566 h 369053"/>
                <a:gd name="connsiteX471" fmla="*/ 88941 w 265732"/>
                <a:gd name="connsiteY471" fmla="*/ 94664 h 369053"/>
                <a:gd name="connsiteX472" fmla="*/ 88032 w 265732"/>
                <a:gd name="connsiteY472" fmla="*/ 91575 h 369053"/>
                <a:gd name="connsiteX473" fmla="*/ 87758 w 265732"/>
                <a:gd name="connsiteY473" fmla="*/ 87780 h 369053"/>
                <a:gd name="connsiteX474" fmla="*/ 88069 w 265732"/>
                <a:gd name="connsiteY474" fmla="*/ 84803 h 369053"/>
                <a:gd name="connsiteX475" fmla="*/ 90967 w 265732"/>
                <a:gd name="connsiteY475" fmla="*/ 82604 h 369053"/>
                <a:gd name="connsiteX476" fmla="*/ 91098 w 265732"/>
                <a:gd name="connsiteY476" fmla="*/ 81800 h 369053"/>
                <a:gd name="connsiteX477" fmla="*/ 87458 w 265732"/>
                <a:gd name="connsiteY477" fmla="*/ 79410 h 369053"/>
                <a:gd name="connsiteX478" fmla="*/ 84832 w 265732"/>
                <a:gd name="connsiteY478" fmla="*/ 76697 h 369053"/>
                <a:gd name="connsiteX479" fmla="*/ 84016 w 265732"/>
                <a:gd name="connsiteY479" fmla="*/ 75112 h 369053"/>
                <a:gd name="connsiteX480" fmla="*/ 81007 w 265732"/>
                <a:gd name="connsiteY480" fmla="*/ 74872 h 369053"/>
                <a:gd name="connsiteX481" fmla="*/ 79135 w 265732"/>
                <a:gd name="connsiteY481" fmla="*/ 70260 h 369053"/>
                <a:gd name="connsiteX482" fmla="*/ 76427 w 265732"/>
                <a:gd name="connsiteY482" fmla="*/ 68010 h 369053"/>
                <a:gd name="connsiteX483" fmla="*/ 73745 w 265732"/>
                <a:gd name="connsiteY483" fmla="*/ 66065 h 369053"/>
                <a:gd name="connsiteX484" fmla="*/ 72160 w 265732"/>
                <a:gd name="connsiteY484" fmla="*/ 65159 h 369053"/>
                <a:gd name="connsiteX485" fmla="*/ 62866 w 265732"/>
                <a:gd name="connsiteY485" fmla="*/ 62360 h 369053"/>
                <a:gd name="connsiteX486" fmla="*/ 59174 w 265732"/>
                <a:gd name="connsiteY486" fmla="*/ 61827 h 369053"/>
                <a:gd name="connsiteX487" fmla="*/ 54803 w 265732"/>
                <a:gd name="connsiteY487" fmla="*/ 60192 h 369053"/>
                <a:gd name="connsiteX488" fmla="*/ 51547 w 265732"/>
                <a:gd name="connsiteY488" fmla="*/ 58137 h 369053"/>
                <a:gd name="connsiteX489" fmla="*/ 48757 w 265732"/>
                <a:gd name="connsiteY489" fmla="*/ 56814 h 369053"/>
                <a:gd name="connsiteX490" fmla="*/ 46369 w 265732"/>
                <a:gd name="connsiteY490" fmla="*/ 55182 h 369053"/>
                <a:gd name="connsiteX491" fmla="*/ 43039 w 265732"/>
                <a:gd name="connsiteY491" fmla="*/ 53654 h 369053"/>
                <a:gd name="connsiteX492" fmla="*/ 42087 w 265732"/>
                <a:gd name="connsiteY492" fmla="*/ 52347 h 369053"/>
                <a:gd name="connsiteX493" fmla="*/ 38491 w 265732"/>
                <a:gd name="connsiteY493" fmla="*/ 49924 h 369053"/>
                <a:gd name="connsiteX494" fmla="*/ 36803 w 265732"/>
                <a:gd name="connsiteY494" fmla="*/ 48328 h 369053"/>
                <a:gd name="connsiteX495" fmla="*/ 30946 w 265732"/>
                <a:gd name="connsiteY495" fmla="*/ 45309 h 369053"/>
                <a:gd name="connsiteX496" fmla="*/ 30735 w 265732"/>
                <a:gd name="connsiteY496" fmla="*/ 44117 h 369053"/>
                <a:gd name="connsiteX497" fmla="*/ 30692 w 265732"/>
                <a:gd name="connsiteY497" fmla="*/ 42966 h 369053"/>
                <a:gd name="connsiteX498" fmla="*/ 30428 w 265732"/>
                <a:gd name="connsiteY498" fmla="*/ 42488 h 369053"/>
                <a:gd name="connsiteX499" fmla="*/ 24392 w 265732"/>
                <a:gd name="connsiteY499" fmla="*/ 40278 h 369053"/>
                <a:gd name="connsiteX500" fmla="*/ 25580 w 265732"/>
                <a:gd name="connsiteY500" fmla="*/ 39013 h 369053"/>
                <a:gd name="connsiteX501" fmla="*/ 30299 w 265732"/>
                <a:gd name="connsiteY501" fmla="*/ 38937 h 369053"/>
                <a:gd name="connsiteX502" fmla="*/ 34201 w 265732"/>
                <a:gd name="connsiteY502" fmla="*/ 40088 h 369053"/>
                <a:gd name="connsiteX503" fmla="*/ 35058 w 265732"/>
                <a:gd name="connsiteY503" fmla="*/ 39596 h 369053"/>
                <a:gd name="connsiteX504" fmla="*/ 35574 w 265732"/>
                <a:gd name="connsiteY504" fmla="*/ 38573 h 369053"/>
                <a:gd name="connsiteX505" fmla="*/ 33911 w 265732"/>
                <a:gd name="connsiteY505" fmla="*/ 34464 h 369053"/>
                <a:gd name="connsiteX506" fmla="*/ 34209 w 265732"/>
                <a:gd name="connsiteY506" fmla="*/ 33393 h 369053"/>
                <a:gd name="connsiteX507" fmla="*/ 35926 w 265732"/>
                <a:gd name="connsiteY507" fmla="*/ 32102 h 369053"/>
                <a:gd name="connsiteX508" fmla="*/ 38647 w 265732"/>
                <a:gd name="connsiteY508" fmla="*/ 31074 h 369053"/>
                <a:gd name="connsiteX509" fmla="*/ 42946 w 265732"/>
                <a:gd name="connsiteY509" fmla="*/ 30925 h 369053"/>
                <a:gd name="connsiteX510" fmla="*/ 45876 w 265732"/>
                <a:gd name="connsiteY510" fmla="*/ 31077 h 369053"/>
                <a:gd name="connsiteX511" fmla="*/ 46496 w 265732"/>
                <a:gd name="connsiteY511" fmla="*/ 31189 h 369053"/>
                <a:gd name="connsiteX512" fmla="*/ 50873 w 265732"/>
                <a:gd name="connsiteY512" fmla="*/ 35711 h 369053"/>
                <a:gd name="connsiteX513" fmla="*/ 54626 w 265732"/>
                <a:gd name="connsiteY513" fmla="*/ 40113 h 369053"/>
                <a:gd name="connsiteX514" fmla="*/ 56622 w 265732"/>
                <a:gd name="connsiteY514" fmla="*/ 41986 h 369053"/>
                <a:gd name="connsiteX515" fmla="*/ 61502 w 265732"/>
                <a:gd name="connsiteY515" fmla="*/ 47283 h 369053"/>
                <a:gd name="connsiteX516" fmla="*/ 63327 w 265732"/>
                <a:gd name="connsiteY516" fmla="*/ 50342 h 369053"/>
                <a:gd name="connsiteX517" fmla="*/ 63946 w 265732"/>
                <a:gd name="connsiteY517" fmla="*/ 52530 h 369053"/>
                <a:gd name="connsiteX518" fmla="*/ 65931 w 265732"/>
                <a:gd name="connsiteY518" fmla="*/ 52516 h 369053"/>
                <a:gd name="connsiteX519" fmla="*/ 72793 w 265732"/>
                <a:gd name="connsiteY519" fmla="*/ 53475 h 369053"/>
                <a:gd name="connsiteX520" fmla="*/ 78557 w 265732"/>
                <a:gd name="connsiteY520" fmla="*/ 54282 h 369053"/>
                <a:gd name="connsiteX521" fmla="*/ 80163 w 265732"/>
                <a:gd name="connsiteY521" fmla="*/ 55505 h 369053"/>
                <a:gd name="connsiteX522" fmla="*/ 84137 w 265732"/>
                <a:gd name="connsiteY522" fmla="*/ 55259 h 369053"/>
                <a:gd name="connsiteX523" fmla="*/ 87198 w 265732"/>
                <a:gd name="connsiteY523" fmla="*/ 54156 h 369053"/>
                <a:gd name="connsiteX524" fmla="*/ 92605 w 265732"/>
                <a:gd name="connsiteY524" fmla="*/ 52761 h 369053"/>
                <a:gd name="connsiteX525" fmla="*/ 94055 w 265732"/>
                <a:gd name="connsiteY525" fmla="*/ 51044 h 369053"/>
                <a:gd name="connsiteX526" fmla="*/ 95855 w 265732"/>
                <a:gd name="connsiteY526" fmla="*/ 49212 h 369053"/>
                <a:gd name="connsiteX527" fmla="*/ 99026 w 265732"/>
                <a:gd name="connsiteY527" fmla="*/ 49500 h 369053"/>
                <a:gd name="connsiteX528" fmla="*/ 102491 w 265732"/>
                <a:gd name="connsiteY528" fmla="*/ 50949 h 369053"/>
                <a:gd name="connsiteX529" fmla="*/ 106425 w 265732"/>
                <a:gd name="connsiteY529" fmla="*/ 52851 h 369053"/>
                <a:gd name="connsiteX530" fmla="*/ 109930 w 265732"/>
                <a:gd name="connsiteY530" fmla="*/ 53731 h 369053"/>
                <a:gd name="connsiteX531" fmla="*/ 114633 w 265732"/>
                <a:gd name="connsiteY531" fmla="*/ 55111 h 369053"/>
                <a:gd name="connsiteX532" fmla="*/ 116827 w 265732"/>
                <a:gd name="connsiteY532" fmla="*/ 56893 h 369053"/>
                <a:gd name="connsiteX533" fmla="*/ 119900 w 265732"/>
                <a:gd name="connsiteY533" fmla="*/ 57401 h 369053"/>
                <a:gd name="connsiteX534" fmla="*/ 123117 w 265732"/>
                <a:gd name="connsiteY534" fmla="*/ 55620 h 369053"/>
                <a:gd name="connsiteX535" fmla="*/ 125018 w 265732"/>
                <a:gd name="connsiteY535" fmla="*/ 50779 h 369053"/>
                <a:gd name="connsiteX536" fmla="*/ 126704 w 265732"/>
                <a:gd name="connsiteY536" fmla="*/ 48616 h 369053"/>
                <a:gd name="connsiteX537" fmla="*/ 129093 w 265732"/>
                <a:gd name="connsiteY537" fmla="*/ 47028 h 369053"/>
                <a:gd name="connsiteX538" fmla="*/ 131829 w 265732"/>
                <a:gd name="connsiteY538" fmla="*/ 46327 h 369053"/>
                <a:gd name="connsiteX539" fmla="*/ 133917 w 265732"/>
                <a:gd name="connsiteY539" fmla="*/ 46073 h 369053"/>
                <a:gd name="connsiteX540" fmla="*/ 135495 w 265732"/>
                <a:gd name="connsiteY540" fmla="*/ 44837 h 369053"/>
                <a:gd name="connsiteX541" fmla="*/ 137743 w 265732"/>
                <a:gd name="connsiteY541" fmla="*/ 42089 h 369053"/>
                <a:gd name="connsiteX542" fmla="*/ 138182 w 265732"/>
                <a:gd name="connsiteY542" fmla="*/ 38755 h 369053"/>
                <a:gd name="connsiteX543" fmla="*/ 137750 w 265732"/>
                <a:gd name="connsiteY543" fmla="*/ 32718 h 369053"/>
                <a:gd name="connsiteX544" fmla="*/ 138160 w 265732"/>
                <a:gd name="connsiteY544" fmla="*/ 30723 h 369053"/>
                <a:gd name="connsiteX545" fmla="*/ 139996 w 265732"/>
                <a:gd name="connsiteY545" fmla="*/ 27454 h 369053"/>
                <a:gd name="connsiteX546" fmla="*/ 142457 w 265732"/>
                <a:gd name="connsiteY546" fmla="*/ 18764 h 369053"/>
                <a:gd name="connsiteX547" fmla="*/ 143563 w 265732"/>
                <a:gd name="connsiteY547" fmla="*/ 16253 h 369053"/>
                <a:gd name="connsiteX548" fmla="*/ 144910 w 265732"/>
                <a:gd name="connsiteY548" fmla="*/ 14724 h 369053"/>
                <a:gd name="connsiteX549" fmla="*/ 146761 w 265732"/>
                <a:gd name="connsiteY549" fmla="*/ 13814 h 369053"/>
                <a:gd name="connsiteX550" fmla="*/ 150123 w 265732"/>
                <a:gd name="connsiteY550" fmla="*/ 11169 h 369053"/>
                <a:gd name="connsiteX551" fmla="*/ 154925 w 265732"/>
                <a:gd name="connsiteY551" fmla="*/ 5923 h 369053"/>
                <a:gd name="connsiteX552" fmla="*/ 156227 w 265732"/>
                <a:gd name="connsiteY552" fmla="*/ 5477 h 369053"/>
                <a:gd name="connsiteX553" fmla="*/ 159676 w 265732"/>
                <a:gd name="connsiteY553" fmla="*/ 5211 h 369053"/>
                <a:gd name="connsiteX554" fmla="*/ 163967 w 265732"/>
                <a:gd name="connsiteY554" fmla="*/ 5406 h 369053"/>
                <a:gd name="connsiteX555" fmla="*/ 167823 w 265732"/>
                <a:gd name="connsiteY555" fmla="*/ 6331 h 369053"/>
                <a:gd name="connsiteX556" fmla="*/ 168240 w 265732"/>
                <a:gd name="connsiteY556" fmla="*/ 6260 h 369053"/>
                <a:gd name="connsiteX557" fmla="*/ 169968 w 265732"/>
                <a:gd name="connsiteY557" fmla="*/ 5778 h 369053"/>
                <a:gd name="connsiteX558" fmla="*/ 173116 w 265732"/>
                <a:gd name="connsiteY558" fmla="*/ 4145 h 369053"/>
                <a:gd name="connsiteX559" fmla="*/ 178504 w 265732"/>
                <a:gd name="connsiteY559" fmla="*/ 895 h 3690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</a:cxnLst>
              <a:rect l="l" t="t" r="r" b="b"/>
              <a:pathLst>
                <a:path w="265732" h="369053">
                  <a:moveTo>
                    <a:pt x="21473" y="360506"/>
                  </a:moveTo>
                  <a:lnTo>
                    <a:pt x="23220" y="360680"/>
                  </a:lnTo>
                  <a:lnTo>
                    <a:pt x="24153" y="361638"/>
                  </a:lnTo>
                  <a:lnTo>
                    <a:pt x="23978" y="362422"/>
                  </a:lnTo>
                  <a:lnTo>
                    <a:pt x="22173" y="362597"/>
                  </a:lnTo>
                  <a:lnTo>
                    <a:pt x="21415" y="361899"/>
                  </a:lnTo>
                  <a:lnTo>
                    <a:pt x="19728" y="361986"/>
                  </a:lnTo>
                  <a:lnTo>
                    <a:pt x="19435" y="361638"/>
                  </a:lnTo>
                  <a:lnTo>
                    <a:pt x="20134" y="360942"/>
                  </a:lnTo>
                  <a:close/>
                  <a:moveTo>
                    <a:pt x="45306" y="357280"/>
                  </a:moveTo>
                  <a:lnTo>
                    <a:pt x="46768" y="357390"/>
                  </a:lnTo>
                  <a:lnTo>
                    <a:pt x="47079" y="358322"/>
                  </a:lnTo>
                  <a:lnTo>
                    <a:pt x="46641" y="359417"/>
                  </a:lnTo>
                  <a:lnTo>
                    <a:pt x="44702" y="359744"/>
                  </a:lnTo>
                  <a:lnTo>
                    <a:pt x="43494" y="358787"/>
                  </a:lnTo>
                  <a:lnTo>
                    <a:pt x="43953" y="358075"/>
                  </a:lnTo>
                  <a:close/>
                  <a:moveTo>
                    <a:pt x="51860" y="356303"/>
                  </a:moveTo>
                  <a:lnTo>
                    <a:pt x="51171" y="358333"/>
                  </a:lnTo>
                  <a:lnTo>
                    <a:pt x="48958" y="359471"/>
                  </a:lnTo>
                  <a:lnTo>
                    <a:pt x="48115" y="359200"/>
                  </a:lnTo>
                  <a:lnTo>
                    <a:pt x="48332" y="357280"/>
                  </a:lnTo>
                  <a:lnTo>
                    <a:pt x="49647" y="356401"/>
                  </a:lnTo>
                  <a:close/>
                  <a:moveTo>
                    <a:pt x="2428" y="354834"/>
                  </a:moveTo>
                  <a:lnTo>
                    <a:pt x="3168" y="356788"/>
                  </a:lnTo>
                  <a:lnTo>
                    <a:pt x="3283" y="357531"/>
                  </a:lnTo>
                  <a:lnTo>
                    <a:pt x="2436" y="357345"/>
                  </a:lnTo>
                  <a:lnTo>
                    <a:pt x="1786" y="357599"/>
                  </a:lnTo>
                  <a:lnTo>
                    <a:pt x="1345" y="358514"/>
                  </a:lnTo>
                  <a:lnTo>
                    <a:pt x="387" y="358186"/>
                  </a:lnTo>
                  <a:lnTo>
                    <a:pt x="0" y="356874"/>
                  </a:lnTo>
                  <a:lnTo>
                    <a:pt x="715" y="354909"/>
                  </a:lnTo>
                  <a:close/>
                  <a:moveTo>
                    <a:pt x="58731" y="350695"/>
                  </a:moveTo>
                  <a:lnTo>
                    <a:pt x="61532" y="351466"/>
                  </a:lnTo>
                  <a:lnTo>
                    <a:pt x="62709" y="351190"/>
                  </a:lnTo>
                  <a:lnTo>
                    <a:pt x="64047" y="352933"/>
                  </a:lnTo>
                  <a:lnTo>
                    <a:pt x="61778" y="354042"/>
                  </a:lnTo>
                  <a:lnTo>
                    <a:pt x="61620" y="355416"/>
                  </a:lnTo>
                  <a:lnTo>
                    <a:pt x="62517" y="356269"/>
                  </a:lnTo>
                  <a:lnTo>
                    <a:pt x="62832" y="357503"/>
                  </a:lnTo>
                  <a:lnTo>
                    <a:pt x="60571" y="357502"/>
                  </a:lnTo>
                  <a:lnTo>
                    <a:pt x="59489" y="356463"/>
                  </a:lnTo>
                  <a:lnTo>
                    <a:pt x="59018" y="355144"/>
                  </a:lnTo>
                  <a:lnTo>
                    <a:pt x="57967" y="354210"/>
                  </a:lnTo>
                  <a:lnTo>
                    <a:pt x="56565" y="353499"/>
                  </a:lnTo>
                  <a:lnTo>
                    <a:pt x="57252" y="352551"/>
                  </a:lnTo>
                  <a:lnTo>
                    <a:pt x="57643" y="351190"/>
                  </a:lnTo>
                  <a:close/>
                  <a:moveTo>
                    <a:pt x="8165" y="349529"/>
                  </a:moveTo>
                  <a:lnTo>
                    <a:pt x="9409" y="351135"/>
                  </a:lnTo>
                  <a:lnTo>
                    <a:pt x="10404" y="351345"/>
                  </a:lnTo>
                  <a:lnTo>
                    <a:pt x="11082" y="351355"/>
                  </a:lnTo>
                  <a:lnTo>
                    <a:pt x="11384" y="351075"/>
                  </a:lnTo>
                  <a:lnTo>
                    <a:pt x="12568" y="351271"/>
                  </a:lnTo>
                  <a:lnTo>
                    <a:pt x="14347" y="352557"/>
                  </a:lnTo>
                  <a:lnTo>
                    <a:pt x="14705" y="353253"/>
                  </a:lnTo>
                  <a:lnTo>
                    <a:pt x="15932" y="353609"/>
                  </a:lnTo>
                  <a:lnTo>
                    <a:pt x="16360" y="354330"/>
                  </a:lnTo>
                  <a:lnTo>
                    <a:pt x="14941" y="356576"/>
                  </a:lnTo>
                  <a:lnTo>
                    <a:pt x="14064" y="356618"/>
                  </a:lnTo>
                  <a:lnTo>
                    <a:pt x="13410" y="356334"/>
                  </a:lnTo>
                  <a:lnTo>
                    <a:pt x="12255" y="356579"/>
                  </a:lnTo>
                  <a:lnTo>
                    <a:pt x="11577" y="357004"/>
                  </a:lnTo>
                  <a:lnTo>
                    <a:pt x="11350" y="357937"/>
                  </a:lnTo>
                  <a:lnTo>
                    <a:pt x="11387" y="359888"/>
                  </a:lnTo>
                  <a:lnTo>
                    <a:pt x="6208" y="360279"/>
                  </a:lnTo>
                  <a:lnTo>
                    <a:pt x="5018" y="359709"/>
                  </a:lnTo>
                  <a:lnTo>
                    <a:pt x="3388" y="355268"/>
                  </a:lnTo>
                  <a:lnTo>
                    <a:pt x="3712" y="354120"/>
                  </a:lnTo>
                  <a:lnTo>
                    <a:pt x="4809" y="353630"/>
                  </a:lnTo>
                  <a:lnTo>
                    <a:pt x="5749" y="353525"/>
                  </a:lnTo>
                  <a:lnTo>
                    <a:pt x="5887" y="355919"/>
                  </a:lnTo>
                  <a:lnTo>
                    <a:pt x="7266" y="355681"/>
                  </a:lnTo>
                  <a:lnTo>
                    <a:pt x="7699" y="354103"/>
                  </a:lnTo>
                  <a:lnTo>
                    <a:pt x="7795" y="352992"/>
                  </a:lnTo>
                  <a:lnTo>
                    <a:pt x="7422" y="352431"/>
                  </a:lnTo>
                  <a:lnTo>
                    <a:pt x="6485" y="351996"/>
                  </a:lnTo>
                  <a:lnTo>
                    <a:pt x="5943" y="351250"/>
                  </a:lnTo>
                  <a:lnTo>
                    <a:pt x="6722" y="350049"/>
                  </a:lnTo>
                  <a:close/>
                  <a:moveTo>
                    <a:pt x="51039" y="347396"/>
                  </a:moveTo>
                  <a:lnTo>
                    <a:pt x="52799" y="348443"/>
                  </a:lnTo>
                  <a:lnTo>
                    <a:pt x="53760" y="349666"/>
                  </a:lnTo>
                  <a:lnTo>
                    <a:pt x="52821" y="349950"/>
                  </a:lnTo>
                  <a:lnTo>
                    <a:pt x="54412" y="351211"/>
                  </a:lnTo>
                  <a:lnTo>
                    <a:pt x="54732" y="351827"/>
                  </a:lnTo>
                  <a:lnTo>
                    <a:pt x="53123" y="351973"/>
                  </a:lnTo>
                  <a:lnTo>
                    <a:pt x="50849" y="350326"/>
                  </a:lnTo>
                  <a:lnTo>
                    <a:pt x="50562" y="349682"/>
                  </a:lnTo>
                  <a:lnTo>
                    <a:pt x="51454" y="349308"/>
                  </a:lnTo>
                  <a:lnTo>
                    <a:pt x="50865" y="347983"/>
                  </a:lnTo>
                  <a:close/>
                  <a:moveTo>
                    <a:pt x="38675" y="341784"/>
                  </a:moveTo>
                  <a:lnTo>
                    <a:pt x="39409" y="343210"/>
                  </a:lnTo>
                  <a:lnTo>
                    <a:pt x="42717" y="345409"/>
                  </a:lnTo>
                  <a:lnTo>
                    <a:pt x="42408" y="346959"/>
                  </a:lnTo>
                  <a:lnTo>
                    <a:pt x="40908" y="346787"/>
                  </a:lnTo>
                  <a:lnTo>
                    <a:pt x="39381" y="347068"/>
                  </a:lnTo>
                  <a:lnTo>
                    <a:pt x="38150" y="345529"/>
                  </a:lnTo>
                  <a:lnTo>
                    <a:pt x="37491" y="342933"/>
                  </a:lnTo>
                  <a:lnTo>
                    <a:pt x="37716" y="342374"/>
                  </a:lnTo>
                  <a:close/>
                  <a:moveTo>
                    <a:pt x="37973" y="251776"/>
                  </a:moveTo>
                  <a:lnTo>
                    <a:pt x="37651" y="252424"/>
                  </a:lnTo>
                  <a:lnTo>
                    <a:pt x="37563" y="253045"/>
                  </a:lnTo>
                  <a:lnTo>
                    <a:pt x="37800" y="253695"/>
                  </a:lnTo>
                  <a:lnTo>
                    <a:pt x="39096" y="253516"/>
                  </a:lnTo>
                  <a:lnTo>
                    <a:pt x="40841" y="252332"/>
                  </a:lnTo>
                  <a:lnTo>
                    <a:pt x="42078" y="252885"/>
                  </a:lnTo>
                  <a:lnTo>
                    <a:pt x="41938" y="254575"/>
                  </a:lnTo>
                  <a:lnTo>
                    <a:pt x="41098" y="254511"/>
                  </a:lnTo>
                  <a:lnTo>
                    <a:pt x="40867" y="254232"/>
                  </a:lnTo>
                  <a:lnTo>
                    <a:pt x="39789" y="255197"/>
                  </a:lnTo>
                  <a:lnTo>
                    <a:pt x="39597" y="255781"/>
                  </a:lnTo>
                  <a:lnTo>
                    <a:pt x="38351" y="256154"/>
                  </a:lnTo>
                  <a:lnTo>
                    <a:pt x="36049" y="254502"/>
                  </a:lnTo>
                  <a:lnTo>
                    <a:pt x="34602" y="251783"/>
                  </a:lnTo>
                  <a:close/>
                  <a:moveTo>
                    <a:pt x="116464" y="187740"/>
                  </a:moveTo>
                  <a:lnTo>
                    <a:pt x="120546" y="188858"/>
                  </a:lnTo>
                  <a:lnTo>
                    <a:pt x="121142" y="189455"/>
                  </a:lnTo>
                  <a:lnTo>
                    <a:pt x="118803" y="189902"/>
                  </a:lnTo>
                  <a:lnTo>
                    <a:pt x="117840" y="191169"/>
                  </a:lnTo>
                  <a:lnTo>
                    <a:pt x="114539" y="192361"/>
                  </a:lnTo>
                  <a:lnTo>
                    <a:pt x="111878" y="191616"/>
                  </a:lnTo>
                  <a:lnTo>
                    <a:pt x="111832" y="189306"/>
                  </a:lnTo>
                  <a:lnTo>
                    <a:pt x="113482" y="188187"/>
                  </a:lnTo>
                  <a:close/>
                  <a:moveTo>
                    <a:pt x="181957" y="0"/>
                  </a:moveTo>
                  <a:lnTo>
                    <a:pt x="185099" y="126"/>
                  </a:lnTo>
                  <a:lnTo>
                    <a:pt x="188577" y="3686"/>
                  </a:lnTo>
                  <a:lnTo>
                    <a:pt x="193483" y="7643"/>
                  </a:lnTo>
                  <a:lnTo>
                    <a:pt x="196636" y="9562"/>
                  </a:lnTo>
                  <a:lnTo>
                    <a:pt x="205230" y="13154"/>
                  </a:lnTo>
                  <a:lnTo>
                    <a:pt x="212775" y="15515"/>
                  </a:lnTo>
                  <a:lnTo>
                    <a:pt x="217016" y="23292"/>
                  </a:lnTo>
                  <a:lnTo>
                    <a:pt x="214926" y="26382"/>
                  </a:lnTo>
                  <a:lnTo>
                    <a:pt x="213885" y="27446"/>
                  </a:lnTo>
                  <a:lnTo>
                    <a:pt x="210195" y="30516"/>
                  </a:lnTo>
                  <a:lnTo>
                    <a:pt x="206245" y="34840"/>
                  </a:lnTo>
                  <a:lnTo>
                    <a:pt x="205943" y="37090"/>
                  </a:lnTo>
                  <a:lnTo>
                    <a:pt x="207254" y="39357"/>
                  </a:lnTo>
                  <a:lnTo>
                    <a:pt x="208889" y="40855"/>
                  </a:lnTo>
                  <a:lnTo>
                    <a:pt x="207409" y="41332"/>
                  </a:lnTo>
                  <a:lnTo>
                    <a:pt x="202838" y="43215"/>
                  </a:lnTo>
                  <a:lnTo>
                    <a:pt x="200048" y="44485"/>
                  </a:lnTo>
                  <a:lnTo>
                    <a:pt x="196688" y="45416"/>
                  </a:lnTo>
                  <a:lnTo>
                    <a:pt x="197560" y="46649"/>
                  </a:lnTo>
                  <a:lnTo>
                    <a:pt x="203142" y="46910"/>
                  </a:lnTo>
                  <a:lnTo>
                    <a:pt x="204002" y="47260"/>
                  </a:lnTo>
                  <a:lnTo>
                    <a:pt x="204621" y="47894"/>
                  </a:lnTo>
                  <a:lnTo>
                    <a:pt x="204727" y="48907"/>
                  </a:lnTo>
                  <a:lnTo>
                    <a:pt x="204161" y="50542"/>
                  </a:lnTo>
                  <a:lnTo>
                    <a:pt x="198130" y="59538"/>
                  </a:lnTo>
                  <a:lnTo>
                    <a:pt x="197940" y="61428"/>
                  </a:lnTo>
                  <a:lnTo>
                    <a:pt x="199918" y="66676"/>
                  </a:lnTo>
                  <a:lnTo>
                    <a:pt x="202682" y="72845"/>
                  </a:lnTo>
                  <a:lnTo>
                    <a:pt x="211037" y="75582"/>
                  </a:lnTo>
                  <a:lnTo>
                    <a:pt x="217247" y="77717"/>
                  </a:lnTo>
                  <a:lnTo>
                    <a:pt x="221236" y="82760"/>
                  </a:lnTo>
                  <a:lnTo>
                    <a:pt x="227811" y="89390"/>
                  </a:lnTo>
                  <a:lnTo>
                    <a:pt x="231297" y="91862"/>
                  </a:lnTo>
                  <a:lnTo>
                    <a:pt x="231493" y="92629"/>
                  </a:lnTo>
                  <a:lnTo>
                    <a:pt x="230456" y="97183"/>
                  </a:lnTo>
                  <a:lnTo>
                    <a:pt x="226241" y="101735"/>
                  </a:lnTo>
                  <a:lnTo>
                    <a:pt x="222298" y="105565"/>
                  </a:lnTo>
                  <a:lnTo>
                    <a:pt x="218217" y="110170"/>
                  </a:lnTo>
                  <a:lnTo>
                    <a:pt x="215025" y="114087"/>
                  </a:lnTo>
                  <a:lnTo>
                    <a:pt x="211568" y="118772"/>
                  </a:lnTo>
                  <a:lnTo>
                    <a:pt x="211171" y="120288"/>
                  </a:lnTo>
                  <a:lnTo>
                    <a:pt x="211108" y="121719"/>
                  </a:lnTo>
                  <a:lnTo>
                    <a:pt x="211702" y="123300"/>
                  </a:lnTo>
                  <a:lnTo>
                    <a:pt x="216129" y="129002"/>
                  </a:lnTo>
                  <a:lnTo>
                    <a:pt x="217852" y="131908"/>
                  </a:lnTo>
                  <a:lnTo>
                    <a:pt x="219912" y="135045"/>
                  </a:lnTo>
                  <a:lnTo>
                    <a:pt x="221680" y="138458"/>
                  </a:lnTo>
                  <a:lnTo>
                    <a:pt x="222706" y="141510"/>
                  </a:lnTo>
                  <a:lnTo>
                    <a:pt x="224479" y="144480"/>
                  </a:lnTo>
                  <a:lnTo>
                    <a:pt x="225581" y="145996"/>
                  </a:lnTo>
                  <a:lnTo>
                    <a:pt x="227411" y="148118"/>
                  </a:lnTo>
                  <a:lnTo>
                    <a:pt x="229621" y="151271"/>
                  </a:lnTo>
                  <a:lnTo>
                    <a:pt x="230355" y="153765"/>
                  </a:lnTo>
                  <a:lnTo>
                    <a:pt x="233691" y="162396"/>
                  </a:lnTo>
                  <a:lnTo>
                    <a:pt x="234028" y="164590"/>
                  </a:lnTo>
                  <a:lnTo>
                    <a:pt x="233864" y="166212"/>
                  </a:lnTo>
                  <a:lnTo>
                    <a:pt x="232398" y="166611"/>
                  </a:lnTo>
                  <a:lnTo>
                    <a:pt x="229161" y="166869"/>
                  </a:lnTo>
                  <a:lnTo>
                    <a:pt x="225652" y="167931"/>
                  </a:lnTo>
                  <a:lnTo>
                    <a:pt x="225475" y="168288"/>
                  </a:lnTo>
                  <a:lnTo>
                    <a:pt x="227764" y="170314"/>
                  </a:lnTo>
                  <a:lnTo>
                    <a:pt x="225742" y="173770"/>
                  </a:lnTo>
                  <a:lnTo>
                    <a:pt x="225451" y="178707"/>
                  </a:lnTo>
                  <a:lnTo>
                    <a:pt x="223292" y="181294"/>
                  </a:lnTo>
                  <a:lnTo>
                    <a:pt x="223088" y="181895"/>
                  </a:lnTo>
                  <a:lnTo>
                    <a:pt x="223186" y="182397"/>
                  </a:lnTo>
                  <a:lnTo>
                    <a:pt x="223568" y="182789"/>
                  </a:lnTo>
                  <a:lnTo>
                    <a:pt x="227567" y="183479"/>
                  </a:lnTo>
                  <a:lnTo>
                    <a:pt x="227913" y="184180"/>
                  </a:lnTo>
                  <a:lnTo>
                    <a:pt x="227930" y="185629"/>
                  </a:lnTo>
                  <a:lnTo>
                    <a:pt x="227573" y="186967"/>
                  </a:lnTo>
                  <a:lnTo>
                    <a:pt x="225565" y="187959"/>
                  </a:lnTo>
                  <a:lnTo>
                    <a:pt x="223408" y="189427"/>
                  </a:lnTo>
                  <a:lnTo>
                    <a:pt x="222931" y="190776"/>
                  </a:lnTo>
                  <a:lnTo>
                    <a:pt x="223004" y="191980"/>
                  </a:lnTo>
                  <a:lnTo>
                    <a:pt x="223741" y="194013"/>
                  </a:lnTo>
                  <a:lnTo>
                    <a:pt x="225159" y="196379"/>
                  </a:lnTo>
                  <a:lnTo>
                    <a:pt x="226963" y="197863"/>
                  </a:lnTo>
                  <a:lnTo>
                    <a:pt x="233367" y="199267"/>
                  </a:lnTo>
                  <a:lnTo>
                    <a:pt x="234194" y="200428"/>
                  </a:lnTo>
                  <a:lnTo>
                    <a:pt x="234546" y="202018"/>
                  </a:lnTo>
                  <a:lnTo>
                    <a:pt x="234412" y="203569"/>
                  </a:lnTo>
                  <a:lnTo>
                    <a:pt x="231437" y="206669"/>
                  </a:lnTo>
                  <a:lnTo>
                    <a:pt x="231460" y="207860"/>
                  </a:lnTo>
                  <a:lnTo>
                    <a:pt x="232682" y="210740"/>
                  </a:lnTo>
                  <a:lnTo>
                    <a:pt x="234147" y="213485"/>
                  </a:lnTo>
                  <a:lnTo>
                    <a:pt x="240394" y="216455"/>
                  </a:lnTo>
                  <a:lnTo>
                    <a:pt x="242545" y="218082"/>
                  </a:lnTo>
                  <a:lnTo>
                    <a:pt x="243117" y="219376"/>
                  </a:lnTo>
                  <a:lnTo>
                    <a:pt x="243430" y="221460"/>
                  </a:lnTo>
                  <a:lnTo>
                    <a:pt x="243389" y="223717"/>
                  </a:lnTo>
                  <a:lnTo>
                    <a:pt x="242899" y="225719"/>
                  </a:lnTo>
                  <a:lnTo>
                    <a:pt x="240940" y="228298"/>
                  </a:lnTo>
                  <a:lnTo>
                    <a:pt x="236406" y="233375"/>
                  </a:lnTo>
                  <a:lnTo>
                    <a:pt x="231847" y="235344"/>
                  </a:lnTo>
                  <a:lnTo>
                    <a:pt x="231569" y="235771"/>
                  </a:lnTo>
                  <a:lnTo>
                    <a:pt x="232981" y="237391"/>
                  </a:lnTo>
                  <a:lnTo>
                    <a:pt x="241011" y="243873"/>
                  </a:lnTo>
                  <a:lnTo>
                    <a:pt x="246246" y="246900"/>
                  </a:lnTo>
                  <a:lnTo>
                    <a:pt x="253311" y="250978"/>
                  </a:lnTo>
                  <a:lnTo>
                    <a:pt x="257868" y="254194"/>
                  </a:lnTo>
                  <a:lnTo>
                    <a:pt x="259340" y="256505"/>
                  </a:lnTo>
                  <a:lnTo>
                    <a:pt x="261314" y="259071"/>
                  </a:lnTo>
                  <a:lnTo>
                    <a:pt x="263532" y="261166"/>
                  </a:lnTo>
                  <a:lnTo>
                    <a:pt x="265130" y="262982"/>
                  </a:lnTo>
                  <a:lnTo>
                    <a:pt x="265732" y="264150"/>
                  </a:lnTo>
                  <a:lnTo>
                    <a:pt x="265676" y="265405"/>
                  </a:lnTo>
                  <a:lnTo>
                    <a:pt x="263538" y="269185"/>
                  </a:lnTo>
                  <a:lnTo>
                    <a:pt x="262324" y="272102"/>
                  </a:lnTo>
                  <a:lnTo>
                    <a:pt x="260185" y="276371"/>
                  </a:lnTo>
                  <a:lnTo>
                    <a:pt x="257997" y="279345"/>
                  </a:lnTo>
                  <a:lnTo>
                    <a:pt x="252448" y="284759"/>
                  </a:lnTo>
                  <a:lnTo>
                    <a:pt x="244264" y="291477"/>
                  </a:lnTo>
                  <a:lnTo>
                    <a:pt x="242363" y="293506"/>
                  </a:lnTo>
                  <a:lnTo>
                    <a:pt x="238533" y="297034"/>
                  </a:lnTo>
                  <a:lnTo>
                    <a:pt x="231977" y="304096"/>
                  </a:lnTo>
                  <a:lnTo>
                    <a:pt x="230279" y="305652"/>
                  </a:lnTo>
                  <a:lnTo>
                    <a:pt x="224905" y="311263"/>
                  </a:lnTo>
                  <a:lnTo>
                    <a:pt x="222456" y="313045"/>
                  </a:lnTo>
                  <a:lnTo>
                    <a:pt x="220532" y="314710"/>
                  </a:lnTo>
                  <a:lnTo>
                    <a:pt x="215209" y="319993"/>
                  </a:lnTo>
                  <a:lnTo>
                    <a:pt x="209489" y="323994"/>
                  </a:lnTo>
                  <a:lnTo>
                    <a:pt x="203874" y="327703"/>
                  </a:lnTo>
                  <a:lnTo>
                    <a:pt x="202190" y="329581"/>
                  </a:lnTo>
                  <a:lnTo>
                    <a:pt x="200095" y="331012"/>
                  </a:lnTo>
                  <a:lnTo>
                    <a:pt x="197595" y="332372"/>
                  </a:lnTo>
                  <a:lnTo>
                    <a:pt x="196541" y="333134"/>
                  </a:lnTo>
                  <a:lnTo>
                    <a:pt x="190892" y="338191"/>
                  </a:lnTo>
                  <a:lnTo>
                    <a:pt x="183058" y="345191"/>
                  </a:lnTo>
                  <a:lnTo>
                    <a:pt x="182261" y="345300"/>
                  </a:lnTo>
                  <a:lnTo>
                    <a:pt x="180221" y="346429"/>
                  </a:lnTo>
                  <a:lnTo>
                    <a:pt x="177031" y="346702"/>
                  </a:lnTo>
                  <a:lnTo>
                    <a:pt x="175645" y="347565"/>
                  </a:lnTo>
                  <a:lnTo>
                    <a:pt x="170769" y="345106"/>
                  </a:lnTo>
                  <a:lnTo>
                    <a:pt x="169959" y="344947"/>
                  </a:lnTo>
                  <a:lnTo>
                    <a:pt x="167092" y="345557"/>
                  </a:lnTo>
                  <a:lnTo>
                    <a:pt x="164340" y="347344"/>
                  </a:lnTo>
                  <a:lnTo>
                    <a:pt x="159261" y="347890"/>
                  </a:lnTo>
                  <a:lnTo>
                    <a:pt x="156739" y="348469"/>
                  </a:lnTo>
                  <a:lnTo>
                    <a:pt x="155131" y="349294"/>
                  </a:lnTo>
                  <a:lnTo>
                    <a:pt x="154800" y="347341"/>
                  </a:lnTo>
                  <a:lnTo>
                    <a:pt x="155495" y="344862"/>
                  </a:lnTo>
                  <a:lnTo>
                    <a:pt x="156614" y="343208"/>
                  </a:lnTo>
                  <a:lnTo>
                    <a:pt x="156718" y="342130"/>
                  </a:lnTo>
                  <a:lnTo>
                    <a:pt x="155897" y="342242"/>
                  </a:lnTo>
                  <a:lnTo>
                    <a:pt x="154271" y="344669"/>
                  </a:lnTo>
                  <a:lnTo>
                    <a:pt x="153401" y="347500"/>
                  </a:lnTo>
                  <a:lnTo>
                    <a:pt x="151660" y="348922"/>
                  </a:lnTo>
                  <a:lnTo>
                    <a:pt x="147834" y="349503"/>
                  </a:lnTo>
                  <a:lnTo>
                    <a:pt x="144105" y="347230"/>
                  </a:lnTo>
                  <a:lnTo>
                    <a:pt x="142334" y="347253"/>
                  </a:lnTo>
                  <a:lnTo>
                    <a:pt x="143446" y="348881"/>
                  </a:lnTo>
                  <a:lnTo>
                    <a:pt x="144198" y="350667"/>
                  </a:lnTo>
                  <a:lnTo>
                    <a:pt x="144100" y="351667"/>
                  </a:lnTo>
                  <a:lnTo>
                    <a:pt x="142112" y="351491"/>
                  </a:lnTo>
                  <a:lnTo>
                    <a:pt x="139898" y="352561"/>
                  </a:lnTo>
                  <a:lnTo>
                    <a:pt x="137957" y="354123"/>
                  </a:lnTo>
                  <a:lnTo>
                    <a:pt x="137015" y="354126"/>
                  </a:lnTo>
                  <a:lnTo>
                    <a:pt x="135711" y="351943"/>
                  </a:lnTo>
                  <a:lnTo>
                    <a:pt x="133318" y="352962"/>
                  </a:lnTo>
                  <a:lnTo>
                    <a:pt x="131274" y="354332"/>
                  </a:lnTo>
                  <a:lnTo>
                    <a:pt x="127119" y="354760"/>
                  </a:lnTo>
                  <a:lnTo>
                    <a:pt x="124642" y="356559"/>
                  </a:lnTo>
                  <a:lnTo>
                    <a:pt x="120259" y="357772"/>
                  </a:lnTo>
                  <a:lnTo>
                    <a:pt x="117851" y="357743"/>
                  </a:lnTo>
                  <a:lnTo>
                    <a:pt x="112362" y="359203"/>
                  </a:lnTo>
                  <a:lnTo>
                    <a:pt x="110537" y="361452"/>
                  </a:lnTo>
                  <a:lnTo>
                    <a:pt x="108937" y="362279"/>
                  </a:lnTo>
                  <a:lnTo>
                    <a:pt x="106659" y="361583"/>
                  </a:lnTo>
                  <a:lnTo>
                    <a:pt x="99641" y="362679"/>
                  </a:lnTo>
                  <a:lnTo>
                    <a:pt x="92932" y="364116"/>
                  </a:lnTo>
                  <a:lnTo>
                    <a:pt x="90077" y="364034"/>
                  </a:lnTo>
                  <a:lnTo>
                    <a:pt x="87222" y="363437"/>
                  </a:lnTo>
                  <a:lnTo>
                    <a:pt x="84197" y="365433"/>
                  </a:lnTo>
                  <a:lnTo>
                    <a:pt x="80984" y="368101"/>
                  </a:lnTo>
                  <a:lnTo>
                    <a:pt x="77442" y="369053"/>
                  </a:lnTo>
                  <a:lnTo>
                    <a:pt x="76173" y="368712"/>
                  </a:lnTo>
                  <a:lnTo>
                    <a:pt x="77187" y="367314"/>
                  </a:lnTo>
                  <a:lnTo>
                    <a:pt x="79531" y="365865"/>
                  </a:lnTo>
                  <a:lnTo>
                    <a:pt x="81139" y="363900"/>
                  </a:lnTo>
                  <a:lnTo>
                    <a:pt x="81360" y="362261"/>
                  </a:lnTo>
                  <a:lnTo>
                    <a:pt x="80254" y="361617"/>
                  </a:lnTo>
                  <a:lnTo>
                    <a:pt x="78744" y="361420"/>
                  </a:lnTo>
                  <a:lnTo>
                    <a:pt x="76842" y="359723"/>
                  </a:lnTo>
                  <a:lnTo>
                    <a:pt x="75019" y="356041"/>
                  </a:lnTo>
                  <a:lnTo>
                    <a:pt x="74032" y="355838"/>
                  </a:lnTo>
                  <a:lnTo>
                    <a:pt x="73532" y="356806"/>
                  </a:lnTo>
                  <a:lnTo>
                    <a:pt x="72972" y="359630"/>
                  </a:lnTo>
                  <a:lnTo>
                    <a:pt x="72404" y="360443"/>
                  </a:lnTo>
                  <a:lnTo>
                    <a:pt x="71439" y="361089"/>
                  </a:lnTo>
                  <a:lnTo>
                    <a:pt x="70280" y="361739"/>
                  </a:lnTo>
                  <a:lnTo>
                    <a:pt x="69148" y="362056"/>
                  </a:lnTo>
                  <a:lnTo>
                    <a:pt x="65091" y="362017"/>
                  </a:lnTo>
                  <a:lnTo>
                    <a:pt x="64557" y="360593"/>
                  </a:lnTo>
                  <a:lnTo>
                    <a:pt x="64557" y="359997"/>
                  </a:lnTo>
                  <a:lnTo>
                    <a:pt x="65276" y="358120"/>
                  </a:lnTo>
                  <a:lnTo>
                    <a:pt x="64648" y="357792"/>
                  </a:lnTo>
                  <a:lnTo>
                    <a:pt x="65246" y="356319"/>
                  </a:lnTo>
                  <a:lnTo>
                    <a:pt x="66203" y="356398"/>
                  </a:lnTo>
                  <a:lnTo>
                    <a:pt x="67336" y="356180"/>
                  </a:lnTo>
                  <a:lnTo>
                    <a:pt x="67904" y="355422"/>
                  </a:lnTo>
                  <a:lnTo>
                    <a:pt x="67861" y="354517"/>
                  </a:lnTo>
                  <a:lnTo>
                    <a:pt x="66285" y="354282"/>
                  </a:lnTo>
                  <a:lnTo>
                    <a:pt x="66188" y="353664"/>
                  </a:lnTo>
                  <a:lnTo>
                    <a:pt x="67593" y="351083"/>
                  </a:lnTo>
                  <a:lnTo>
                    <a:pt x="67794" y="350369"/>
                  </a:lnTo>
                  <a:lnTo>
                    <a:pt x="67250" y="350221"/>
                  </a:lnTo>
                  <a:lnTo>
                    <a:pt x="66369" y="350502"/>
                  </a:lnTo>
                  <a:lnTo>
                    <a:pt x="60562" y="349692"/>
                  </a:lnTo>
                  <a:lnTo>
                    <a:pt x="53400" y="346385"/>
                  </a:lnTo>
                  <a:lnTo>
                    <a:pt x="51638" y="346214"/>
                  </a:lnTo>
                  <a:lnTo>
                    <a:pt x="50554" y="343257"/>
                  </a:lnTo>
                  <a:lnTo>
                    <a:pt x="48826" y="343632"/>
                  </a:lnTo>
                  <a:lnTo>
                    <a:pt x="46308" y="345363"/>
                  </a:lnTo>
                  <a:lnTo>
                    <a:pt x="44419" y="344048"/>
                  </a:lnTo>
                  <a:lnTo>
                    <a:pt x="42389" y="343182"/>
                  </a:lnTo>
                  <a:lnTo>
                    <a:pt x="41827" y="341828"/>
                  </a:lnTo>
                  <a:lnTo>
                    <a:pt x="41856" y="339829"/>
                  </a:lnTo>
                  <a:lnTo>
                    <a:pt x="41681" y="337469"/>
                  </a:lnTo>
                  <a:lnTo>
                    <a:pt x="41126" y="334704"/>
                  </a:lnTo>
                  <a:lnTo>
                    <a:pt x="40720" y="330768"/>
                  </a:lnTo>
                  <a:lnTo>
                    <a:pt x="41100" y="327687"/>
                  </a:lnTo>
                  <a:lnTo>
                    <a:pt x="42719" y="325403"/>
                  </a:lnTo>
                  <a:lnTo>
                    <a:pt x="43341" y="323944"/>
                  </a:lnTo>
                  <a:lnTo>
                    <a:pt x="44101" y="320215"/>
                  </a:lnTo>
                  <a:lnTo>
                    <a:pt x="44272" y="315839"/>
                  </a:lnTo>
                  <a:lnTo>
                    <a:pt x="43842" y="314347"/>
                  </a:lnTo>
                  <a:lnTo>
                    <a:pt x="43950" y="313354"/>
                  </a:lnTo>
                  <a:lnTo>
                    <a:pt x="45242" y="313354"/>
                  </a:lnTo>
                  <a:lnTo>
                    <a:pt x="44961" y="312502"/>
                  </a:lnTo>
                  <a:lnTo>
                    <a:pt x="44393" y="312035"/>
                  </a:lnTo>
                  <a:lnTo>
                    <a:pt x="43765" y="311065"/>
                  </a:lnTo>
                  <a:lnTo>
                    <a:pt x="44300" y="310551"/>
                  </a:lnTo>
                  <a:lnTo>
                    <a:pt x="45846" y="310514"/>
                  </a:lnTo>
                  <a:lnTo>
                    <a:pt x="45971" y="310187"/>
                  </a:lnTo>
                  <a:lnTo>
                    <a:pt x="46146" y="309723"/>
                  </a:lnTo>
                  <a:lnTo>
                    <a:pt x="44950" y="307170"/>
                  </a:lnTo>
                  <a:lnTo>
                    <a:pt x="44812" y="305952"/>
                  </a:lnTo>
                  <a:lnTo>
                    <a:pt x="43151" y="302250"/>
                  </a:lnTo>
                  <a:lnTo>
                    <a:pt x="41257" y="298735"/>
                  </a:lnTo>
                  <a:lnTo>
                    <a:pt x="38407" y="296188"/>
                  </a:lnTo>
                  <a:lnTo>
                    <a:pt x="39418" y="291988"/>
                  </a:lnTo>
                  <a:lnTo>
                    <a:pt x="40569" y="288184"/>
                  </a:lnTo>
                  <a:lnTo>
                    <a:pt x="40340" y="286349"/>
                  </a:lnTo>
                  <a:lnTo>
                    <a:pt x="39899" y="284114"/>
                  </a:lnTo>
                  <a:lnTo>
                    <a:pt x="36410" y="281660"/>
                  </a:lnTo>
                  <a:lnTo>
                    <a:pt x="35891" y="278196"/>
                  </a:lnTo>
                  <a:lnTo>
                    <a:pt x="35038" y="274472"/>
                  </a:lnTo>
                  <a:lnTo>
                    <a:pt x="35360" y="272185"/>
                  </a:lnTo>
                  <a:lnTo>
                    <a:pt x="35928" y="270433"/>
                  </a:lnTo>
                  <a:lnTo>
                    <a:pt x="37075" y="268687"/>
                  </a:lnTo>
                  <a:lnTo>
                    <a:pt x="42864" y="263167"/>
                  </a:lnTo>
                  <a:lnTo>
                    <a:pt x="43218" y="260279"/>
                  </a:lnTo>
                  <a:lnTo>
                    <a:pt x="47142" y="260069"/>
                  </a:lnTo>
                  <a:lnTo>
                    <a:pt x="45321" y="257484"/>
                  </a:lnTo>
                  <a:lnTo>
                    <a:pt x="44892" y="256031"/>
                  </a:lnTo>
                  <a:lnTo>
                    <a:pt x="44801" y="254334"/>
                  </a:lnTo>
                  <a:lnTo>
                    <a:pt x="50446" y="253171"/>
                  </a:lnTo>
                  <a:lnTo>
                    <a:pt x="52553" y="254126"/>
                  </a:lnTo>
                  <a:lnTo>
                    <a:pt x="57520" y="252946"/>
                  </a:lnTo>
                  <a:lnTo>
                    <a:pt x="61929" y="250636"/>
                  </a:lnTo>
                  <a:lnTo>
                    <a:pt x="61851" y="249407"/>
                  </a:lnTo>
                  <a:lnTo>
                    <a:pt x="61174" y="248306"/>
                  </a:lnTo>
                  <a:lnTo>
                    <a:pt x="60238" y="246185"/>
                  </a:lnTo>
                  <a:lnTo>
                    <a:pt x="60901" y="245596"/>
                  </a:lnTo>
                  <a:lnTo>
                    <a:pt x="62510" y="246029"/>
                  </a:lnTo>
                  <a:lnTo>
                    <a:pt x="61772" y="244974"/>
                  </a:lnTo>
                  <a:lnTo>
                    <a:pt x="61906" y="243861"/>
                  </a:lnTo>
                  <a:lnTo>
                    <a:pt x="63661" y="244324"/>
                  </a:lnTo>
                  <a:lnTo>
                    <a:pt x="66527" y="241214"/>
                  </a:lnTo>
                  <a:lnTo>
                    <a:pt x="66630" y="238835"/>
                  </a:lnTo>
                  <a:lnTo>
                    <a:pt x="71582" y="237590"/>
                  </a:lnTo>
                  <a:lnTo>
                    <a:pt x="77291" y="232724"/>
                  </a:lnTo>
                  <a:lnTo>
                    <a:pt x="79926" y="231207"/>
                  </a:lnTo>
                  <a:lnTo>
                    <a:pt x="82471" y="230108"/>
                  </a:lnTo>
                  <a:lnTo>
                    <a:pt x="87894" y="225229"/>
                  </a:lnTo>
                  <a:lnTo>
                    <a:pt x="90215" y="225002"/>
                  </a:lnTo>
                  <a:lnTo>
                    <a:pt x="91409" y="221706"/>
                  </a:lnTo>
                  <a:lnTo>
                    <a:pt x="96020" y="217312"/>
                  </a:lnTo>
                  <a:lnTo>
                    <a:pt x="97421" y="216749"/>
                  </a:lnTo>
                  <a:lnTo>
                    <a:pt x="99576" y="212779"/>
                  </a:lnTo>
                  <a:lnTo>
                    <a:pt x="105238" y="208180"/>
                  </a:lnTo>
                  <a:lnTo>
                    <a:pt x="108827" y="202302"/>
                  </a:lnTo>
                  <a:lnTo>
                    <a:pt x="110807" y="200210"/>
                  </a:lnTo>
                  <a:lnTo>
                    <a:pt x="111420" y="197980"/>
                  </a:lnTo>
                  <a:lnTo>
                    <a:pt x="113625" y="197791"/>
                  </a:lnTo>
                  <a:lnTo>
                    <a:pt x="115614" y="196151"/>
                  </a:lnTo>
                  <a:lnTo>
                    <a:pt x="119917" y="195007"/>
                  </a:lnTo>
                  <a:lnTo>
                    <a:pt x="124165" y="195324"/>
                  </a:lnTo>
                  <a:lnTo>
                    <a:pt x="125934" y="196102"/>
                  </a:lnTo>
                  <a:lnTo>
                    <a:pt x="127568" y="195855"/>
                  </a:lnTo>
                  <a:lnTo>
                    <a:pt x="127404" y="193846"/>
                  </a:lnTo>
                  <a:lnTo>
                    <a:pt x="126238" y="192604"/>
                  </a:lnTo>
                  <a:lnTo>
                    <a:pt x="127190" y="191411"/>
                  </a:lnTo>
                  <a:lnTo>
                    <a:pt x="129436" y="190506"/>
                  </a:lnTo>
                  <a:lnTo>
                    <a:pt x="129207" y="188505"/>
                  </a:lnTo>
                  <a:lnTo>
                    <a:pt x="128719" y="187300"/>
                  </a:lnTo>
                  <a:lnTo>
                    <a:pt x="126853" y="185694"/>
                  </a:lnTo>
                  <a:lnTo>
                    <a:pt x="127782" y="182092"/>
                  </a:lnTo>
                  <a:lnTo>
                    <a:pt x="128004" y="178137"/>
                  </a:lnTo>
                  <a:lnTo>
                    <a:pt x="128888" y="173559"/>
                  </a:lnTo>
                  <a:lnTo>
                    <a:pt x="126542" y="171129"/>
                  </a:lnTo>
                  <a:lnTo>
                    <a:pt x="117644" y="166987"/>
                  </a:lnTo>
                  <a:lnTo>
                    <a:pt x="115983" y="167131"/>
                  </a:lnTo>
                  <a:lnTo>
                    <a:pt x="114007" y="166611"/>
                  </a:lnTo>
                  <a:lnTo>
                    <a:pt x="111943" y="163467"/>
                  </a:lnTo>
                  <a:lnTo>
                    <a:pt x="112865" y="160750"/>
                  </a:lnTo>
                  <a:lnTo>
                    <a:pt x="112971" y="159748"/>
                  </a:lnTo>
                  <a:lnTo>
                    <a:pt x="112165" y="159778"/>
                  </a:lnTo>
                  <a:lnTo>
                    <a:pt x="110861" y="161103"/>
                  </a:lnTo>
                  <a:lnTo>
                    <a:pt x="108023" y="162617"/>
                  </a:lnTo>
                  <a:lnTo>
                    <a:pt x="104335" y="161455"/>
                  </a:lnTo>
                  <a:lnTo>
                    <a:pt x="102521" y="161713"/>
                  </a:lnTo>
                  <a:lnTo>
                    <a:pt x="100168" y="154976"/>
                  </a:lnTo>
                  <a:lnTo>
                    <a:pt x="98965" y="152396"/>
                  </a:lnTo>
                  <a:lnTo>
                    <a:pt x="97035" y="149175"/>
                  </a:lnTo>
                  <a:lnTo>
                    <a:pt x="93588" y="147600"/>
                  </a:lnTo>
                  <a:lnTo>
                    <a:pt x="92914" y="146709"/>
                  </a:lnTo>
                  <a:lnTo>
                    <a:pt x="92457" y="145343"/>
                  </a:lnTo>
                  <a:lnTo>
                    <a:pt x="92307" y="143444"/>
                  </a:lnTo>
                  <a:lnTo>
                    <a:pt x="91871" y="140631"/>
                  </a:lnTo>
                  <a:lnTo>
                    <a:pt x="92053" y="138321"/>
                  </a:lnTo>
                  <a:lnTo>
                    <a:pt x="92476" y="136943"/>
                  </a:lnTo>
                  <a:lnTo>
                    <a:pt x="93961" y="136017"/>
                  </a:lnTo>
                  <a:lnTo>
                    <a:pt x="96110" y="133403"/>
                  </a:lnTo>
                  <a:lnTo>
                    <a:pt x="96559" y="131501"/>
                  </a:lnTo>
                  <a:lnTo>
                    <a:pt x="96743" y="128581"/>
                  </a:lnTo>
                  <a:lnTo>
                    <a:pt x="97732" y="126028"/>
                  </a:lnTo>
                  <a:lnTo>
                    <a:pt x="98831" y="124736"/>
                  </a:lnTo>
                  <a:lnTo>
                    <a:pt x="98555" y="123708"/>
                  </a:lnTo>
                  <a:lnTo>
                    <a:pt x="97797" y="122236"/>
                  </a:lnTo>
                  <a:lnTo>
                    <a:pt x="96194" y="120145"/>
                  </a:lnTo>
                  <a:lnTo>
                    <a:pt x="93754" y="117593"/>
                  </a:lnTo>
                  <a:lnTo>
                    <a:pt x="91949" y="115149"/>
                  </a:lnTo>
                  <a:lnTo>
                    <a:pt x="91157" y="112862"/>
                  </a:lnTo>
                  <a:lnTo>
                    <a:pt x="90749" y="110816"/>
                  </a:lnTo>
                  <a:lnTo>
                    <a:pt x="90815" y="108953"/>
                  </a:lnTo>
                  <a:lnTo>
                    <a:pt x="91491" y="107684"/>
                  </a:lnTo>
                  <a:lnTo>
                    <a:pt x="93798" y="106085"/>
                  </a:lnTo>
                  <a:lnTo>
                    <a:pt x="94106" y="105406"/>
                  </a:lnTo>
                  <a:lnTo>
                    <a:pt x="93193" y="101868"/>
                  </a:lnTo>
                  <a:lnTo>
                    <a:pt x="91584" y="101223"/>
                  </a:lnTo>
                  <a:lnTo>
                    <a:pt x="88848" y="100880"/>
                  </a:lnTo>
                  <a:lnTo>
                    <a:pt x="87322" y="100851"/>
                  </a:lnTo>
                  <a:lnTo>
                    <a:pt x="87030" y="100464"/>
                  </a:lnTo>
                  <a:lnTo>
                    <a:pt x="86955" y="99751"/>
                  </a:lnTo>
                  <a:lnTo>
                    <a:pt x="87263" y="98297"/>
                  </a:lnTo>
                  <a:lnTo>
                    <a:pt x="88127" y="96629"/>
                  </a:lnTo>
                  <a:lnTo>
                    <a:pt x="88846" y="95566"/>
                  </a:lnTo>
                  <a:lnTo>
                    <a:pt x="88941" y="94664"/>
                  </a:lnTo>
                  <a:lnTo>
                    <a:pt x="88032" y="91575"/>
                  </a:lnTo>
                  <a:lnTo>
                    <a:pt x="87758" y="87780"/>
                  </a:lnTo>
                  <a:lnTo>
                    <a:pt x="88069" y="84803"/>
                  </a:lnTo>
                  <a:lnTo>
                    <a:pt x="90967" y="82604"/>
                  </a:lnTo>
                  <a:lnTo>
                    <a:pt x="91098" y="81800"/>
                  </a:lnTo>
                  <a:lnTo>
                    <a:pt x="87458" y="79410"/>
                  </a:lnTo>
                  <a:lnTo>
                    <a:pt x="84832" y="76697"/>
                  </a:lnTo>
                  <a:lnTo>
                    <a:pt x="84016" y="75112"/>
                  </a:lnTo>
                  <a:lnTo>
                    <a:pt x="81007" y="74872"/>
                  </a:lnTo>
                  <a:lnTo>
                    <a:pt x="79135" y="70260"/>
                  </a:lnTo>
                  <a:lnTo>
                    <a:pt x="76427" y="68010"/>
                  </a:lnTo>
                  <a:lnTo>
                    <a:pt x="73745" y="66065"/>
                  </a:lnTo>
                  <a:lnTo>
                    <a:pt x="72160" y="65159"/>
                  </a:lnTo>
                  <a:lnTo>
                    <a:pt x="62866" y="62360"/>
                  </a:lnTo>
                  <a:lnTo>
                    <a:pt x="59174" y="61827"/>
                  </a:lnTo>
                  <a:lnTo>
                    <a:pt x="54803" y="60192"/>
                  </a:lnTo>
                  <a:lnTo>
                    <a:pt x="51547" y="58137"/>
                  </a:lnTo>
                  <a:lnTo>
                    <a:pt x="48757" y="56814"/>
                  </a:lnTo>
                  <a:lnTo>
                    <a:pt x="46369" y="55182"/>
                  </a:lnTo>
                  <a:lnTo>
                    <a:pt x="43039" y="53654"/>
                  </a:lnTo>
                  <a:lnTo>
                    <a:pt x="42087" y="52347"/>
                  </a:lnTo>
                  <a:lnTo>
                    <a:pt x="38491" y="49924"/>
                  </a:lnTo>
                  <a:lnTo>
                    <a:pt x="36803" y="48328"/>
                  </a:lnTo>
                  <a:lnTo>
                    <a:pt x="30946" y="45309"/>
                  </a:lnTo>
                  <a:lnTo>
                    <a:pt x="30735" y="44117"/>
                  </a:lnTo>
                  <a:lnTo>
                    <a:pt x="30692" y="42966"/>
                  </a:lnTo>
                  <a:lnTo>
                    <a:pt x="30428" y="42488"/>
                  </a:lnTo>
                  <a:lnTo>
                    <a:pt x="24392" y="40278"/>
                  </a:lnTo>
                  <a:lnTo>
                    <a:pt x="25580" y="39013"/>
                  </a:lnTo>
                  <a:lnTo>
                    <a:pt x="30299" y="38937"/>
                  </a:lnTo>
                  <a:lnTo>
                    <a:pt x="34201" y="40088"/>
                  </a:lnTo>
                  <a:lnTo>
                    <a:pt x="35058" y="39596"/>
                  </a:lnTo>
                  <a:lnTo>
                    <a:pt x="35574" y="38573"/>
                  </a:lnTo>
                  <a:lnTo>
                    <a:pt x="33911" y="34464"/>
                  </a:lnTo>
                  <a:lnTo>
                    <a:pt x="34209" y="33393"/>
                  </a:lnTo>
                  <a:lnTo>
                    <a:pt x="35926" y="32102"/>
                  </a:lnTo>
                  <a:lnTo>
                    <a:pt x="38647" y="31074"/>
                  </a:lnTo>
                  <a:lnTo>
                    <a:pt x="42946" y="30925"/>
                  </a:lnTo>
                  <a:lnTo>
                    <a:pt x="45876" y="31077"/>
                  </a:lnTo>
                  <a:lnTo>
                    <a:pt x="46496" y="31189"/>
                  </a:lnTo>
                  <a:lnTo>
                    <a:pt x="50873" y="35711"/>
                  </a:lnTo>
                  <a:lnTo>
                    <a:pt x="54626" y="40113"/>
                  </a:lnTo>
                  <a:lnTo>
                    <a:pt x="56622" y="41986"/>
                  </a:lnTo>
                  <a:lnTo>
                    <a:pt x="61502" y="47283"/>
                  </a:lnTo>
                  <a:lnTo>
                    <a:pt x="63327" y="50342"/>
                  </a:lnTo>
                  <a:lnTo>
                    <a:pt x="63946" y="52530"/>
                  </a:lnTo>
                  <a:lnTo>
                    <a:pt x="65931" y="52516"/>
                  </a:lnTo>
                  <a:lnTo>
                    <a:pt x="72793" y="53475"/>
                  </a:lnTo>
                  <a:lnTo>
                    <a:pt x="78557" y="54282"/>
                  </a:lnTo>
                  <a:lnTo>
                    <a:pt x="80163" y="55505"/>
                  </a:lnTo>
                  <a:lnTo>
                    <a:pt x="84137" y="55259"/>
                  </a:lnTo>
                  <a:lnTo>
                    <a:pt x="87198" y="54156"/>
                  </a:lnTo>
                  <a:lnTo>
                    <a:pt x="92605" y="52761"/>
                  </a:lnTo>
                  <a:lnTo>
                    <a:pt x="94055" y="51044"/>
                  </a:lnTo>
                  <a:lnTo>
                    <a:pt x="95855" y="49212"/>
                  </a:lnTo>
                  <a:lnTo>
                    <a:pt x="99026" y="49500"/>
                  </a:lnTo>
                  <a:lnTo>
                    <a:pt x="102491" y="50949"/>
                  </a:lnTo>
                  <a:lnTo>
                    <a:pt x="106425" y="52851"/>
                  </a:lnTo>
                  <a:lnTo>
                    <a:pt x="109930" y="53731"/>
                  </a:lnTo>
                  <a:lnTo>
                    <a:pt x="114633" y="55111"/>
                  </a:lnTo>
                  <a:lnTo>
                    <a:pt x="116827" y="56893"/>
                  </a:lnTo>
                  <a:lnTo>
                    <a:pt x="119900" y="57401"/>
                  </a:lnTo>
                  <a:lnTo>
                    <a:pt x="123117" y="55620"/>
                  </a:lnTo>
                  <a:lnTo>
                    <a:pt x="125018" y="50779"/>
                  </a:lnTo>
                  <a:lnTo>
                    <a:pt x="126704" y="48616"/>
                  </a:lnTo>
                  <a:lnTo>
                    <a:pt x="129093" y="47028"/>
                  </a:lnTo>
                  <a:lnTo>
                    <a:pt x="131829" y="46327"/>
                  </a:lnTo>
                  <a:lnTo>
                    <a:pt x="133917" y="46073"/>
                  </a:lnTo>
                  <a:lnTo>
                    <a:pt x="135495" y="44837"/>
                  </a:lnTo>
                  <a:lnTo>
                    <a:pt x="137743" y="42089"/>
                  </a:lnTo>
                  <a:lnTo>
                    <a:pt x="138182" y="38755"/>
                  </a:lnTo>
                  <a:lnTo>
                    <a:pt x="137750" y="32718"/>
                  </a:lnTo>
                  <a:lnTo>
                    <a:pt x="138160" y="30723"/>
                  </a:lnTo>
                  <a:lnTo>
                    <a:pt x="139996" y="27454"/>
                  </a:lnTo>
                  <a:lnTo>
                    <a:pt x="142457" y="18764"/>
                  </a:lnTo>
                  <a:lnTo>
                    <a:pt x="143563" y="16253"/>
                  </a:lnTo>
                  <a:lnTo>
                    <a:pt x="144910" y="14724"/>
                  </a:lnTo>
                  <a:lnTo>
                    <a:pt x="146761" y="13814"/>
                  </a:lnTo>
                  <a:lnTo>
                    <a:pt x="150123" y="11169"/>
                  </a:lnTo>
                  <a:lnTo>
                    <a:pt x="154925" y="5923"/>
                  </a:lnTo>
                  <a:lnTo>
                    <a:pt x="156227" y="5477"/>
                  </a:lnTo>
                  <a:lnTo>
                    <a:pt x="159676" y="5211"/>
                  </a:lnTo>
                  <a:lnTo>
                    <a:pt x="163967" y="5406"/>
                  </a:lnTo>
                  <a:lnTo>
                    <a:pt x="167823" y="6331"/>
                  </a:lnTo>
                  <a:lnTo>
                    <a:pt x="168240" y="6260"/>
                  </a:lnTo>
                  <a:lnTo>
                    <a:pt x="169968" y="5778"/>
                  </a:lnTo>
                  <a:lnTo>
                    <a:pt x="173116" y="4145"/>
                  </a:lnTo>
                  <a:lnTo>
                    <a:pt x="178504" y="895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28" name="ee4p_FR_1_37365">
              <a:extLst>
                <a:ext uri="{FF2B5EF4-FFF2-40B4-BE49-F238E27FC236}">
                  <a16:creationId xmlns:a16="http://schemas.microsoft.com/office/drawing/2014/main" id="{E7C8B634-8E78-BFCD-2315-029D7611F0DC}"/>
                </a:ext>
              </a:extLst>
            </p:cNvPr>
            <p:cNvSpPr>
              <a:spLocks noChangeAspect="1"/>
            </p:cNvSpPr>
            <p:nvPr>
              <p:custDataLst>
                <p:tags r:id="rId282"/>
              </p:custDataLst>
            </p:nvPr>
          </p:nvSpPr>
          <p:spPr>
            <a:xfrm>
              <a:off x="6382449" y="3076048"/>
              <a:ext cx="397628" cy="347434"/>
            </a:xfrm>
            <a:custGeom>
              <a:avLst/>
              <a:gdLst>
                <a:gd name="connsiteX0" fmla="*/ 313500 w 316622"/>
                <a:gd name="connsiteY0" fmla="*/ 225790 h 269321"/>
                <a:gd name="connsiteX1" fmla="*/ 314562 w 316622"/>
                <a:gd name="connsiteY1" fmla="*/ 226875 h 269321"/>
                <a:gd name="connsiteX2" fmla="*/ 314508 w 316622"/>
                <a:gd name="connsiteY2" fmla="*/ 227834 h 269321"/>
                <a:gd name="connsiteX3" fmla="*/ 314901 w 316622"/>
                <a:gd name="connsiteY3" fmla="*/ 230102 h 269321"/>
                <a:gd name="connsiteX4" fmla="*/ 314940 w 316622"/>
                <a:gd name="connsiteY4" fmla="*/ 231576 h 269321"/>
                <a:gd name="connsiteX5" fmla="*/ 314361 w 316622"/>
                <a:gd name="connsiteY5" fmla="*/ 235501 h 269321"/>
                <a:gd name="connsiteX6" fmla="*/ 314782 w 316622"/>
                <a:gd name="connsiteY6" fmla="*/ 236649 h 269321"/>
                <a:gd name="connsiteX7" fmla="*/ 315581 w 316622"/>
                <a:gd name="connsiteY7" fmla="*/ 237450 h 269321"/>
                <a:gd name="connsiteX8" fmla="*/ 315953 w 316622"/>
                <a:gd name="connsiteY8" fmla="*/ 238329 h 269321"/>
                <a:gd name="connsiteX9" fmla="*/ 316622 w 316622"/>
                <a:gd name="connsiteY9" fmla="*/ 248763 h 269321"/>
                <a:gd name="connsiteX10" fmla="*/ 316495 w 316622"/>
                <a:gd name="connsiteY10" fmla="*/ 249592 h 269321"/>
                <a:gd name="connsiteX11" fmla="*/ 313791 w 316622"/>
                <a:gd name="connsiteY11" fmla="*/ 253771 h 269321"/>
                <a:gd name="connsiteX12" fmla="*/ 313182 w 316622"/>
                <a:gd name="connsiteY12" fmla="*/ 254996 h 269321"/>
                <a:gd name="connsiteX13" fmla="*/ 313048 w 316622"/>
                <a:gd name="connsiteY13" fmla="*/ 260165 h 269321"/>
                <a:gd name="connsiteX14" fmla="*/ 312593 w 316622"/>
                <a:gd name="connsiteY14" fmla="*/ 261552 h 269321"/>
                <a:gd name="connsiteX15" fmla="*/ 311634 w 316622"/>
                <a:gd name="connsiteY15" fmla="*/ 262920 h 269321"/>
                <a:gd name="connsiteX16" fmla="*/ 309922 w 316622"/>
                <a:gd name="connsiteY16" fmla="*/ 267337 h 269321"/>
                <a:gd name="connsiteX17" fmla="*/ 308434 w 316622"/>
                <a:gd name="connsiteY17" fmla="*/ 269321 h 269321"/>
                <a:gd name="connsiteX18" fmla="*/ 304385 w 316622"/>
                <a:gd name="connsiteY18" fmla="*/ 266901 h 269321"/>
                <a:gd name="connsiteX19" fmla="*/ 301997 w 316622"/>
                <a:gd name="connsiteY19" fmla="*/ 265854 h 269321"/>
                <a:gd name="connsiteX20" fmla="*/ 300826 w 316622"/>
                <a:gd name="connsiteY20" fmla="*/ 264725 h 269321"/>
                <a:gd name="connsiteX21" fmla="*/ 300062 w 316622"/>
                <a:gd name="connsiteY21" fmla="*/ 263945 h 269321"/>
                <a:gd name="connsiteX22" fmla="*/ 300554 w 316622"/>
                <a:gd name="connsiteY22" fmla="*/ 262905 h 269321"/>
                <a:gd name="connsiteX23" fmla="*/ 301643 w 316622"/>
                <a:gd name="connsiteY23" fmla="*/ 261824 h 269321"/>
                <a:gd name="connsiteX24" fmla="*/ 301815 w 316622"/>
                <a:gd name="connsiteY24" fmla="*/ 260973 h 269321"/>
                <a:gd name="connsiteX25" fmla="*/ 299254 w 316622"/>
                <a:gd name="connsiteY25" fmla="*/ 260009 h 269321"/>
                <a:gd name="connsiteX26" fmla="*/ 298082 w 316622"/>
                <a:gd name="connsiteY26" fmla="*/ 259365 h 269321"/>
                <a:gd name="connsiteX27" fmla="*/ 298097 w 316622"/>
                <a:gd name="connsiteY27" fmla="*/ 258237 h 269321"/>
                <a:gd name="connsiteX28" fmla="*/ 298982 w 316622"/>
                <a:gd name="connsiteY28" fmla="*/ 256476 h 269321"/>
                <a:gd name="connsiteX29" fmla="*/ 298578 w 316622"/>
                <a:gd name="connsiteY29" fmla="*/ 255025 h 269321"/>
                <a:gd name="connsiteX30" fmla="*/ 297101 w 316622"/>
                <a:gd name="connsiteY30" fmla="*/ 255099 h 269321"/>
                <a:gd name="connsiteX31" fmla="*/ 295957 w 316622"/>
                <a:gd name="connsiteY31" fmla="*/ 254877 h 269321"/>
                <a:gd name="connsiteX32" fmla="*/ 295808 w 316622"/>
                <a:gd name="connsiteY32" fmla="*/ 254123 h 269321"/>
                <a:gd name="connsiteX33" fmla="*/ 296654 w 316622"/>
                <a:gd name="connsiteY33" fmla="*/ 253156 h 269321"/>
                <a:gd name="connsiteX34" fmla="*/ 297740 w 316622"/>
                <a:gd name="connsiteY34" fmla="*/ 251893 h 269321"/>
                <a:gd name="connsiteX35" fmla="*/ 297706 w 316622"/>
                <a:gd name="connsiteY35" fmla="*/ 250499 h 269321"/>
                <a:gd name="connsiteX36" fmla="*/ 296393 w 316622"/>
                <a:gd name="connsiteY36" fmla="*/ 249898 h 269321"/>
                <a:gd name="connsiteX37" fmla="*/ 295203 w 316622"/>
                <a:gd name="connsiteY37" fmla="*/ 248765 h 269321"/>
                <a:gd name="connsiteX38" fmla="*/ 294726 w 316622"/>
                <a:gd name="connsiteY38" fmla="*/ 247224 h 269321"/>
                <a:gd name="connsiteX39" fmla="*/ 295648 w 316622"/>
                <a:gd name="connsiteY39" fmla="*/ 246169 h 269321"/>
                <a:gd name="connsiteX40" fmla="*/ 297142 w 316622"/>
                <a:gd name="connsiteY40" fmla="*/ 245488 h 269321"/>
                <a:gd name="connsiteX41" fmla="*/ 296045 w 316622"/>
                <a:gd name="connsiteY41" fmla="*/ 243907 h 269321"/>
                <a:gd name="connsiteX42" fmla="*/ 295305 w 316622"/>
                <a:gd name="connsiteY42" fmla="*/ 243872 h 269321"/>
                <a:gd name="connsiteX43" fmla="*/ 294713 w 316622"/>
                <a:gd name="connsiteY43" fmla="*/ 243526 h 269321"/>
                <a:gd name="connsiteX44" fmla="*/ 295197 w 316622"/>
                <a:gd name="connsiteY44" fmla="*/ 242791 h 269321"/>
                <a:gd name="connsiteX45" fmla="*/ 296358 w 316622"/>
                <a:gd name="connsiteY45" fmla="*/ 241692 h 269321"/>
                <a:gd name="connsiteX46" fmla="*/ 297974 w 316622"/>
                <a:gd name="connsiteY46" fmla="*/ 238406 h 269321"/>
                <a:gd name="connsiteX47" fmla="*/ 300224 w 316622"/>
                <a:gd name="connsiteY47" fmla="*/ 236854 h 269321"/>
                <a:gd name="connsiteX48" fmla="*/ 304206 w 316622"/>
                <a:gd name="connsiteY48" fmla="*/ 235855 h 269321"/>
                <a:gd name="connsiteX49" fmla="*/ 305283 w 316622"/>
                <a:gd name="connsiteY49" fmla="*/ 235418 h 269321"/>
                <a:gd name="connsiteX50" fmla="*/ 306272 w 316622"/>
                <a:gd name="connsiteY50" fmla="*/ 234261 h 269321"/>
                <a:gd name="connsiteX51" fmla="*/ 307367 w 316622"/>
                <a:gd name="connsiteY51" fmla="*/ 233515 h 269321"/>
                <a:gd name="connsiteX52" fmla="*/ 308697 w 316622"/>
                <a:gd name="connsiteY52" fmla="*/ 233614 h 269321"/>
                <a:gd name="connsiteX53" fmla="*/ 309924 w 316622"/>
                <a:gd name="connsiteY53" fmla="*/ 234061 h 269321"/>
                <a:gd name="connsiteX54" fmla="*/ 310680 w 316622"/>
                <a:gd name="connsiteY54" fmla="*/ 234537 h 269321"/>
                <a:gd name="connsiteX55" fmla="*/ 311247 w 316622"/>
                <a:gd name="connsiteY55" fmla="*/ 234042 h 269321"/>
                <a:gd name="connsiteX56" fmla="*/ 311800 w 316622"/>
                <a:gd name="connsiteY56" fmla="*/ 232606 h 269321"/>
                <a:gd name="connsiteX57" fmla="*/ 311461 w 316622"/>
                <a:gd name="connsiteY57" fmla="*/ 231344 h 269321"/>
                <a:gd name="connsiteX58" fmla="*/ 311636 w 316622"/>
                <a:gd name="connsiteY58" fmla="*/ 227872 h 269321"/>
                <a:gd name="connsiteX59" fmla="*/ 312349 w 316622"/>
                <a:gd name="connsiteY59" fmla="*/ 225900 h 269321"/>
                <a:gd name="connsiteX60" fmla="*/ 74603 w 316622"/>
                <a:gd name="connsiteY60" fmla="*/ 143377 h 269321"/>
                <a:gd name="connsiteX61" fmla="*/ 76893 w 316622"/>
                <a:gd name="connsiteY61" fmla="*/ 144695 h 269321"/>
                <a:gd name="connsiteX62" fmla="*/ 79254 w 316622"/>
                <a:gd name="connsiteY62" fmla="*/ 147418 h 269321"/>
                <a:gd name="connsiteX63" fmla="*/ 78474 w 316622"/>
                <a:gd name="connsiteY63" fmla="*/ 149829 h 269321"/>
                <a:gd name="connsiteX64" fmla="*/ 76999 w 316622"/>
                <a:gd name="connsiteY64" fmla="*/ 147609 h 269321"/>
                <a:gd name="connsiteX65" fmla="*/ 75044 w 316622"/>
                <a:gd name="connsiteY65" fmla="*/ 145662 h 269321"/>
                <a:gd name="connsiteX66" fmla="*/ 74598 w 316622"/>
                <a:gd name="connsiteY66" fmla="*/ 143859 h 269321"/>
                <a:gd name="connsiteX67" fmla="*/ 161140 w 316622"/>
                <a:gd name="connsiteY67" fmla="*/ 0 h 269321"/>
                <a:gd name="connsiteX68" fmla="*/ 161386 w 316622"/>
                <a:gd name="connsiteY68" fmla="*/ 1392 h 269321"/>
                <a:gd name="connsiteX69" fmla="*/ 162243 w 316622"/>
                <a:gd name="connsiteY69" fmla="*/ 3172 h 269321"/>
                <a:gd name="connsiteX70" fmla="*/ 162833 w 316622"/>
                <a:gd name="connsiteY70" fmla="*/ 4145 h 269321"/>
                <a:gd name="connsiteX71" fmla="*/ 162343 w 316622"/>
                <a:gd name="connsiteY71" fmla="*/ 5415 h 269321"/>
                <a:gd name="connsiteX72" fmla="*/ 162729 w 316622"/>
                <a:gd name="connsiteY72" fmla="*/ 6460 h 269321"/>
                <a:gd name="connsiteX73" fmla="*/ 164329 w 316622"/>
                <a:gd name="connsiteY73" fmla="*/ 8341 h 269321"/>
                <a:gd name="connsiteX74" fmla="*/ 166324 w 316622"/>
                <a:gd name="connsiteY74" fmla="*/ 10112 h 269321"/>
                <a:gd name="connsiteX75" fmla="*/ 168102 w 316622"/>
                <a:gd name="connsiteY75" fmla="*/ 11243 h 269321"/>
                <a:gd name="connsiteX76" fmla="*/ 168603 w 316622"/>
                <a:gd name="connsiteY76" fmla="*/ 11120 h 269321"/>
                <a:gd name="connsiteX77" fmla="*/ 169920 w 316622"/>
                <a:gd name="connsiteY77" fmla="*/ 10798 h 269321"/>
                <a:gd name="connsiteX78" fmla="*/ 172150 w 316622"/>
                <a:gd name="connsiteY78" fmla="*/ 9638 h 269321"/>
                <a:gd name="connsiteX79" fmla="*/ 174008 w 316622"/>
                <a:gd name="connsiteY79" fmla="*/ 9273 h 269321"/>
                <a:gd name="connsiteX80" fmla="*/ 175070 w 316622"/>
                <a:gd name="connsiteY80" fmla="*/ 10162 h 269321"/>
                <a:gd name="connsiteX81" fmla="*/ 175670 w 316622"/>
                <a:gd name="connsiteY81" fmla="*/ 10663 h 269321"/>
                <a:gd name="connsiteX82" fmla="*/ 176841 w 316622"/>
                <a:gd name="connsiteY82" fmla="*/ 12664 h 269321"/>
                <a:gd name="connsiteX83" fmla="*/ 177169 w 316622"/>
                <a:gd name="connsiteY83" fmla="*/ 14752 h 269321"/>
                <a:gd name="connsiteX84" fmla="*/ 177689 w 316622"/>
                <a:gd name="connsiteY84" fmla="*/ 16484 h 269321"/>
                <a:gd name="connsiteX85" fmla="*/ 178637 w 316622"/>
                <a:gd name="connsiteY85" fmla="*/ 17186 h 269321"/>
                <a:gd name="connsiteX86" fmla="*/ 182192 w 316622"/>
                <a:gd name="connsiteY86" fmla="*/ 17416 h 269321"/>
                <a:gd name="connsiteX87" fmla="*/ 184811 w 316622"/>
                <a:gd name="connsiteY87" fmla="*/ 18058 h 269321"/>
                <a:gd name="connsiteX88" fmla="*/ 185504 w 316622"/>
                <a:gd name="connsiteY88" fmla="*/ 18639 h 269321"/>
                <a:gd name="connsiteX89" fmla="*/ 186400 w 316622"/>
                <a:gd name="connsiteY89" fmla="*/ 22482 h 269321"/>
                <a:gd name="connsiteX90" fmla="*/ 186888 w 316622"/>
                <a:gd name="connsiteY90" fmla="*/ 23025 h 269321"/>
                <a:gd name="connsiteX91" fmla="*/ 187541 w 316622"/>
                <a:gd name="connsiteY91" fmla="*/ 22572 h 269321"/>
                <a:gd name="connsiteX92" fmla="*/ 188186 w 316622"/>
                <a:gd name="connsiteY92" fmla="*/ 21940 h 269321"/>
                <a:gd name="connsiteX93" fmla="*/ 189082 w 316622"/>
                <a:gd name="connsiteY93" fmla="*/ 21839 h 269321"/>
                <a:gd name="connsiteX94" fmla="*/ 190620 w 316622"/>
                <a:gd name="connsiteY94" fmla="*/ 22083 h 269321"/>
                <a:gd name="connsiteX95" fmla="*/ 192645 w 316622"/>
                <a:gd name="connsiteY95" fmla="*/ 22159 h 269321"/>
                <a:gd name="connsiteX96" fmla="*/ 194734 w 316622"/>
                <a:gd name="connsiteY96" fmla="*/ 22582 h 269321"/>
                <a:gd name="connsiteX97" fmla="*/ 197618 w 316622"/>
                <a:gd name="connsiteY97" fmla="*/ 24750 h 269321"/>
                <a:gd name="connsiteX98" fmla="*/ 197508 w 316622"/>
                <a:gd name="connsiteY98" fmla="*/ 25465 h 269321"/>
                <a:gd name="connsiteX99" fmla="*/ 196945 w 316622"/>
                <a:gd name="connsiteY99" fmla="*/ 26720 h 269321"/>
                <a:gd name="connsiteX100" fmla="*/ 196748 w 316622"/>
                <a:gd name="connsiteY100" fmla="*/ 27721 h 269321"/>
                <a:gd name="connsiteX101" fmla="*/ 197245 w 316622"/>
                <a:gd name="connsiteY101" fmla="*/ 28123 h 269321"/>
                <a:gd name="connsiteX102" fmla="*/ 198007 w 316622"/>
                <a:gd name="connsiteY102" fmla="*/ 29156 h 269321"/>
                <a:gd name="connsiteX103" fmla="*/ 197824 w 316622"/>
                <a:gd name="connsiteY103" fmla="*/ 30350 h 269321"/>
                <a:gd name="connsiteX104" fmla="*/ 197081 w 316622"/>
                <a:gd name="connsiteY104" fmla="*/ 31186 h 269321"/>
                <a:gd name="connsiteX105" fmla="*/ 196783 w 316622"/>
                <a:gd name="connsiteY105" fmla="*/ 31875 h 269321"/>
                <a:gd name="connsiteX106" fmla="*/ 196787 w 316622"/>
                <a:gd name="connsiteY106" fmla="*/ 32323 h 269321"/>
                <a:gd name="connsiteX107" fmla="*/ 197059 w 316622"/>
                <a:gd name="connsiteY107" fmla="*/ 32695 h 269321"/>
                <a:gd name="connsiteX108" fmla="*/ 197651 w 316622"/>
                <a:gd name="connsiteY108" fmla="*/ 33022 h 269321"/>
                <a:gd name="connsiteX109" fmla="*/ 201911 w 316622"/>
                <a:gd name="connsiteY109" fmla="*/ 33463 h 269321"/>
                <a:gd name="connsiteX110" fmla="*/ 205809 w 316622"/>
                <a:gd name="connsiteY110" fmla="*/ 33022 h 269321"/>
                <a:gd name="connsiteX111" fmla="*/ 208266 w 316622"/>
                <a:gd name="connsiteY111" fmla="*/ 31805 h 269321"/>
                <a:gd name="connsiteX112" fmla="*/ 208685 w 316622"/>
                <a:gd name="connsiteY112" fmla="*/ 30522 h 269321"/>
                <a:gd name="connsiteX113" fmla="*/ 209383 w 316622"/>
                <a:gd name="connsiteY113" fmla="*/ 29072 h 269321"/>
                <a:gd name="connsiteX114" fmla="*/ 210847 w 316622"/>
                <a:gd name="connsiteY114" fmla="*/ 27858 h 269321"/>
                <a:gd name="connsiteX115" fmla="*/ 211860 w 316622"/>
                <a:gd name="connsiteY115" fmla="*/ 27450 h 269321"/>
                <a:gd name="connsiteX116" fmla="*/ 212786 w 316622"/>
                <a:gd name="connsiteY116" fmla="*/ 27950 h 269321"/>
                <a:gd name="connsiteX117" fmla="*/ 211227 w 316622"/>
                <a:gd name="connsiteY117" fmla="*/ 33042 h 269321"/>
                <a:gd name="connsiteX118" fmla="*/ 212365 w 316622"/>
                <a:gd name="connsiteY118" fmla="*/ 34342 h 269321"/>
                <a:gd name="connsiteX119" fmla="*/ 212533 w 316622"/>
                <a:gd name="connsiteY119" fmla="*/ 36284 h 269321"/>
                <a:gd name="connsiteX120" fmla="*/ 212941 w 316622"/>
                <a:gd name="connsiteY120" fmla="*/ 37983 h 269321"/>
                <a:gd name="connsiteX121" fmla="*/ 214334 w 316622"/>
                <a:gd name="connsiteY121" fmla="*/ 37951 h 269321"/>
                <a:gd name="connsiteX122" fmla="*/ 216023 w 316622"/>
                <a:gd name="connsiteY122" fmla="*/ 38265 h 269321"/>
                <a:gd name="connsiteX123" fmla="*/ 217219 w 316622"/>
                <a:gd name="connsiteY123" fmla="*/ 38893 h 269321"/>
                <a:gd name="connsiteX124" fmla="*/ 218614 w 316622"/>
                <a:gd name="connsiteY124" fmla="*/ 39902 h 269321"/>
                <a:gd name="connsiteX125" fmla="*/ 220625 w 316622"/>
                <a:gd name="connsiteY125" fmla="*/ 40829 h 269321"/>
                <a:gd name="connsiteX126" fmla="*/ 222035 w 316622"/>
                <a:gd name="connsiteY126" fmla="*/ 41155 h 269321"/>
                <a:gd name="connsiteX127" fmla="*/ 222546 w 316622"/>
                <a:gd name="connsiteY127" fmla="*/ 41929 h 269321"/>
                <a:gd name="connsiteX128" fmla="*/ 223686 w 316622"/>
                <a:gd name="connsiteY128" fmla="*/ 42825 h 269321"/>
                <a:gd name="connsiteX129" fmla="*/ 225481 w 316622"/>
                <a:gd name="connsiteY129" fmla="*/ 44702 h 269321"/>
                <a:gd name="connsiteX130" fmla="*/ 227087 w 316622"/>
                <a:gd name="connsiteY130" fmla="*/ 45954 h 269321"/>
                <a:gd name="connsiteX131" fmla="*/ 227863 w 316622"/>
                <a:gd name="connsiteY131" fmla="*/ 45949 h 269321"/>
                <a:gd name="connsiteX132" fmla="*/ 229359 w 316622"/>
                <a:gd name="connsiteY132" fmla="*/ 45456 h 269321"/>
                <a:gd name="connsiteX133" fmla="*/ 231579 w 316622"/>
                <a:gd name="connsiteY133" fmla="*/ 45140 h 269321"/>
                <a:gd name="connsiteX134" fmla="*/ 233332 w 316622"/>
                <a:gd name="connsiteY134" fmla="*/ 45167 h 269321"/>
                <a:gd name="connsiteX135" fmla="*/ 234078 w 316622"/>
                <a:gd name="connsiteY135" fmla="*/ 46120 h 269321"/>
                <a:gd name="connsiteX136" fmla="*/ 235801 w 316622"/>
                <a:gd name="connsiteY136" fmla="*/ 46560 h 269321"/>
                <a:gd name="connsiteX137" fmla="*/ 236410 w 316622"/>
                <a:gd name="connsiteY137" fmla="*/ 46910 h 269321"/>
                <a:gd name="connsiteX138" fmla="*/ 237086 w 316622"/>
                <a:gd name="connsiteY138" fmla="*/ 47567 h 269321"/>
                <a:gd name="connsiteX139" fmla="*/ 238234 w 316622"/>
                <a:gd name="connsiteY139" fmla="*/ 47831 h 269321"/>
                <a:gd name="connsiteX140" fmla="*/ 239621 w 316622"/>
                <a:gd name="connsiteY140" fmla="*/ 47567 h 269321"/>
                <a:gd name="connsiteX141" fmla="*/ 240633 w 316622"/>
                <a:gd name="connsiteY141" fmla="*/ 46690 h 269321"/>
                <a:gd name="connsiteX142" fmla="*/ 241985 w 316622"/>
                <a:gd name="connsiteY142" fmla="*/ 46297 h 269321"/>
                <a:gd name="connsiteX143" fmla="*/ 243337 w 316622"/>
                <a:gd name="connsiteY143" fmla="*/ 46428 h 269321"/>
                <a:gd name="connsiteX144" fmla="*/ 244114 w 316622"/>
                <a:gd name="connsiteY144" fmla="*/ 46910 h 269321"/>
                <a:gd name="connsiteX145" fmla="*/ 245596 w 316622"/>
                <a:gd name="connsiteY145" fmla="*/ 47622 h 269321"/>
                <a:gd name="connsiteX146" fmla="*/ 246434 w 316622"/>
                <a:gd name="connsiteY146" fmla="*/ 47467 h 269321"/>
                <a:gd name="connsiteX147" fmla="*/ 248111 w 316622"/>
                <a:gd name="connsiteY147" fmla="*/ 47905 h 269321"/>
                <a:gd name="connsiteX148" fmla="*/ 249796 w 316622"/>
                <a:gd name="connsiteY148" fmla="*/ 49287 h 269321"/>
                <a:gd name="connsiteX149" fmla="*/ 250504 w 316622"/>
                <a:gd name="connsiteY149" fmla="*/ 50676 h 269321"/>
                <a:gd name="connsiteX150" fmla="*/ 250689 w 316622"/>
                <a:gd name="connsiteY150" fmla="*/ 51435 h 269321"/>
                <a:gd name="connsiteX151" fmla="*/ 251417 w 316622"/>
                <a:gd name="connsiteY151" fmla="*/ 52260 h 269321"/>
                <a:gd name="connsiteX152" fmla="*/ 254244 w 316622"/>
                <a:gd name="connsiteY152" fmla="*/ 55987 h 269321"/>
                <a:gd name="connsiteX153" fmla="*/ 255147 w 316622"/>
                <a:gd name="connsiteY153" fmla="*/ 56171 h 269321"/>
                <a:gd name="connsiteX154" fmla="*/ 256129 w 316622"/>
                <a:gd name="connsiteY154" fmla="*/ 55606 h 269321"/>
                <a:gd name="connsiteX155" fmla="*/ 256766 w 316622"/>
                <a:gd name="connsiteY155" fmla="*/ 54805 h 269321"/>
                <a:gd name="connsiteX156" fmla="*/ 257688 w 316622"/>
                <a:gd name="connsiteY156" fmla="*/ 54645 h 269321"/>
                <a:gd name="connsiteX157" fmla="*/ 259172 w 316622"/>
                <a:gd name="connsiteY157" fmla="*/ 55014 h 269321"/>
                <a:gd name="connsiteX158" fmla="*/ 260126 w 316622"/>
                <a:gd name="connsiteY158" fmla="*/ 55436 h 269321"/>
                <a:gd name="connsiteX159" fmla="*/ 260584 w 316622"/>
                <a:gd name="connsiteY159" fmla="*/ 57049 h 269321"/>
                <a:gd name="connsiteX160" fmla="*/ 260906 w 316622"/>
                <a:gd name="connsiteY160" fmla="*/ 57356 h 269321"/>
                <a:gd name="connsiteX161" fmla="*/ 261547 w 316622"/>
                <a:gd name="connsiteY161" fmla="*/ 57009 h 269321"/>
                <a:gd name="connsiteX162" fmla="*/ 262690 w 316622"/>
                <a:gd name="connsiteY162" fmla="*/ 56932 h 269321"/>
                <a:gd name="connsiteX163" fmla="*/ 264514 w 316622"/>
                <a:gd name="connsiteY163" fmla="*/ 57330 h 269321"/>
                <a:gd name="connsiteX164" fmla="*/ 267023 w 316622"/>
                <a:gd name="connsiteY164" fmla="*/ 56875 h 269321"/>
                <a:gd name="connsiteX165" fmla="*/ 269031 w 316622"/>
                <a:gd name="connsiteY165" fmla="*/ 56202 h 269321"/>
                <a:gd name="connsiteX166" fmla="*/ 270057 w 316622"/>
                <a:gd name="connsiteY166" fmla="*/ 56227 h 269321"/>
                <a:gd name="connsiteX167" fmla="*/ 271713 w 316622"/>
                <a:gd name="connsiteY167" fmla="*/ 58108 h 269321"/>
                <a:gd name="connsiteX168" fmla="*/ 273603 w 316622"/>
                <a:gd name="connsiteY168" fmla="*/ 58811 h 269321"/>
                <a:gd name="connsiteX169" fmla="*/ 277766 w 316622"/>
                <a:gd name="connsiteY169" fmla="*/ 59378 h 269321"/>
                <a:gd name="connsiteX170" fmla="*/ 282234 w 316622"/>
                <a:gd name="connsiteY170" fmla="*/ 60262 h 269321"/>
                <a:gd name="connsiteX171" fmla="*/ 283989 w 316622"/>
                <a:gd name="connsiteY171" fmla="*/ 60976 h 269321"/>
                <a:gd name="connsiteX172" fmla="*/ 285188 w 316622"/>
                <a:gd name="connsiteY172" fmla="*/ 61327 h 269321"/>
                <a:gd name="connsiteX173" fmla="*/ 285309 w 316622"/>
                <a:gd name="connsiteY173" fmla="*/ 63812 h 269321"/>
                <a:gd name="connsiteX174" fmla="*/ 284948 w 316622"/>
                <a:gd name="connsiteY174" fmla="*/ 64187 h 269321"/>
                <a:gd name="connsiteX175" fmla="*/ 280498 w 316622"/>
                <a:gd name="connsiteY175" fmla="*/ 69161 h 269321"/>
                <a:gd name="connsiteX176" fmla="*/ 278623 w 316622"/>
                <a:gd name="connsiteY176" fmla="*/ 70938 h 269321"/>
                <a:gd name="connsiteX177" fmla="*/ 277669 w 316622"/>
                <a:gd name="connsiteY177" fmla="*/ 73471 h 269321"/>
                <a:gd name="connsiteX178" fmla="*/ 277013 w 316622"/>
                <a:gd name="connsiteY178" fmla="*/ 77352 h 269321"/>
                <a:gd name="connsiteX179" fmla="*/ 275698 w 316622"/>
                <a:gd name="connsiteY179" fmla="*/ 81034 h 269321"/>
                <a:gd name="connsiteX180" fmla="*/ 273728 w 316622"/>
                <a:gd name="connsiteY180" fmla="*/ 84519 h 269321"/>
                <a:gd name="connsiteX181" fmla="*/ 273011 w 316622"/>
                <a:gd name="connsiteY181" fmla="*/ 87132 h 269321"/>
                <a:gd name="connsiteX182" fmla="*/ 273549 w 316622"/>
                <a:gd name="connsiteY182" fmla="*/ 88874 h 269321"/>
                <a:gd name="connsiteX183" fmla="*/ 273212 w 316622"/>
                <a:gd name="connsiteY183" fmla="*/ 91607 h 269321"/>
                <a:gd name="connsiteX184" fmla="*/ 272003 w 316622"/>
                <a:gd name="connsiteY184" fmla="*/ 95326 h 269321"/>
                <a:gd name="connsiteX185" fmla="*/ 271800 w 316622"/>
                <a:gd name="connsiteY185" fmla="*/ 98132 h 269321"/>
                <a:gd name="connsiteX186" fmla="*/ 272597 w 316622"/>
                <a:gd name="connsiteY186" fmla="*/ 100025 h 269321"/>
                <a:gd name="connsiteX187" fmla="*/ 273707 w 316622"/>
                <a:gd name="connsiteY187" fmla="*/ 100413 h 269321"/>
                <a:gd name="connsiteX188" fmla="*/ 271037 w 316622"/>
                <a:gd name="connsiteY188" fmla="*/ 101687 h 269321"/>
                <a:gd name="connsiteX189" fmla="*/ 270429 w 316622"/>
                <a:gd name="connsiteY189" fmla="*/ 102801 h 269321"/>
                <a:gd name="connsiteX190" fmla="*/ 269381 w 316622"/>
                <a:gd name="connsiteY190" fmla="*/ 104274 h 269321"/>
                <a:gd name="connsiteX191" fmla="*/ 267682 w 316622"/>
                <a:gd name="connsiteY191" fmla="*/ 104893 h 269321"/>
                <a:gd name="connsiteX192" fmla="*/ 265970 w 316622"/>
                <a:gd name="connsiteY192" fmla="*/ 105098 h 269321"/>
                <a:gd name="connsiteX193" fmla="*/ 264585 w 316622"/>
                <a:gd name="connsiteY193" fmla="*/ 104903 h 269321"/>
                <a:gd name="connsiteX194" fmla="*/ 263797 w 316622"/>
                <a:gd name="connsiteY194" fmla="*/ 104315 h 269321"/>
                <a:gd name="connsiteX195" fmla="*/ 263836 w 316622"/>
                <a:gd name="connsiteY195" fmla="*/ 103767 h 269321"/>
                <a:gd name="connsiteX196" fmla="*/ 263102 w 316622"/>
                <a:gd name="connsiteY196" fmla="*/ 103301 h 269321"/>
                <a:gd name="connsiteX197" fmla="*/ 261275 w 316622"/>
                <a:gd name="connsiteY197" fmla="*/ 103315 h 269321"/>
                <a:gd name="connsiteX198" fmla="*/ 259394 w 316622"/>
                <a:gd name="connsiteY198" fmla="*/ 104328 h 269321"/>
                <a:gd name="connsiteX199" fmla="*/ 257891 w 316622"/>
                <a:gd name="connsiteY199" fmla="*/ 105982 h 269321"/>
                <a:gd name="connsiteX200" fmla="*/ 258358 w 316622"/>
                <a:gd name="connsiteY200" fmla="*/ 106907 h 269321"/>
                <a:gd name="connsiteX201" fmla="*/ 259742 w 316622"/>
                <a:gd name="connsiteY201" fmla="*/ 107151 h 269321"/>
                <a:gd name="connsiteX202" fmla="*/ 260107 w 316622"/>
                <a:gd name="connsiteY202" fmla="*/ 107517 h 269321"/>
                <a:gd name="connsiteX203" fmla="*/ 260107 w 316622"/>
                <a:gd name="connsiteY203" fmla="*/ 107992 h 269321"/>
                <a:gd name="connsiteX204" fmla="*/ 259619 w 316622"/>
                <a:gd name="connsiteY204" fmla="*/ 108564 h 269321"/>
                <a:gd name="connsiteX205" fmla="*/ 259034 w 316622"/>
                <a:gd name="connsiteY205" fmla="*/ 109541 h 269321"/>
                <a:gd name="connsiteX206" fmla="*/ 256129 w 316622"/>
                <a:gd name="connsiteY206" fmla="*/ 112450 h 269321"/>
                <a:gd name="connsiteX207" fmla="*/ 253197 w 316622"/>
                <a:gd name="connsiteY207" fmla="*/ 115382 h 269321"/>
                <a:gd name="connsiteX208" fmla="*/ 252728 w 316622"/>
                <a:gd name="connsiteY208" fmla="*/ 116268 h 269321"/>
                <a:gd name="connsiteX209" fmla="*/ 251798 w 316622"/>
                <a:gd name="connsiteY209" fmla="*/ 116887 h 269321"/>
                <a:gd name="connsiteX210" fmla="*/ 248070 w 316622"/>
                <a:gd name="connsiteY210" fmla="*/ 118450 h 269321"/>
                <a:gd name="connsiteX211" fmla="*/ 247680 w 316622"/>
                <a:gd name="connsiteY211" fmla="*/ 119076 h 269321"/>
                <a:gd name="connsiteX212" fmla="*/ 247468 w 316622"/>
                <a:gd name="connsiteY212" fmla="*/ 121685 h 269321"/>
                <a:gd name="connsiteX213" fmla="*/ 247051 w 316622"/>
                <a:gd name="connsiteY213" fmla="*/ 123826 h 269321"/>
                <a:gd name="connsiteX214" fmla="*/ 244287 w 316622"/>
                <a:gd name="connsiteY214" fmla="*/ 125839 h 269321"/>
                <a:gd name="connsiteX215" fmla="*/ 241536 w 316622"/>
                <a:gd name="connsiteY215" fmla="*/ 127842 h 269321"/>
                <a:gd name="connsiteX216" fmla="*/ 240849 w 316622"/>
                <a:gd name="connsiteY216" fmla="*/ 129065 h 269321"/>
                <a:gd name="connsiteX217" fmla="*/ 240348 w 316622"/>
                <a:gd name="connsiteY217" fmla="*/ 130480 h 269321"/>
                <a:gd name="connsiteX218" fmla="*/ 239485 w 316622"/>
                <a:gd name="connsiteY218" fmla="*/ 132076 h 269321"/>
                <a:gd name="connsiteX219" fmla="*/ 239314 w 316622"/>
                <a:gd name="connsiteY219" fmla="*/ 132919 h 269321"/>
                <a:gd name="connsiteX220" fmla="*/ 240707 w 316622"/>
                <a:gd name="connsiteY220" fmla="*/ 134293 h 269321"/>
                <a:gd name="connsiteX221" fmla="*/ 240545 w 316622"/>
                <a:gd name="connsiteY221" fmla="*/ 135429 h 269321"/>
                <a:gd name="connsiteX222" fmla="*/ 240102 w 316622"/>
                <a:gd name="connsiteY222" fmla="*/ 137043 h 269321"/>
                <a:gd name="connsiteX223" fmla="*/ 238780 w 316622"/>
                <a:gd name="connsiteY223" fmla="*/ 138186 h 269321"/>
                <a:gd name="connsiteX224" fmla="*/ 237319 w 316622"/>
                <a:gd name="connsiteY224" fmla="*/ 138834 h 269321"/>
                <a:gd name="connsiteX225" fmla="*/ 237351 w 316622"/>
                <a:gd name="connsiteY225" fmla="*/ 140590 h 269321"/>
                <a:gd name="connsiteX226" fmla="*/ 238129 w 316622"/>
                <a:gd name="connsiteY226" fmla="*/ 140836 h 269321"/>
                <a:gd name="connsiteX227" fmla="*/ 239897 w 316622"/>
                <a:gd name="connsiteY227" fmla="*/ 140706 h 269321"/>
                <a:gd name="connsiteX228" fmla="*/ 242391 w 316622"/>
                <a:gd name="connsiteY228" fmla="*/ 139432 h 269321"/>
                <a:gd name="connsiteX229" fmla="*/ 244017 w 316622"/>
                <a:gd name="connsiteY229" fmla="*/ 137794 h 269321"/>
                <a:gd name="connsiteX230" fmla="*/ 243059 w 316622"/>
                <a:gd name="connsiteY230" fmla="*/ 136238 h 269321"/>
                <a:gd name="connsiteX231" fmla="*/ 242940 w 316622"/>
                <a:gd name="connsiteY231" fmla="*/ 135933 h 269321"/>
                <a:gd name="connsiteX232" fmla="*/ 243171 w 316622"/>
                <a:gd name="connsiteY232" fmla="*/ 135568 h 269321"/>
                <a:gd name="connsiteX233" fmla="*/ 245099 w 316622"/>
                <a:gd name="connsiteY233" fmla="*/ 133875 h 269321"/>
                <a:gd name="connsiteX234" fmla="*/ 247466 w 316622"/>
                <a:gd name="connsiteY234" fmla="*/ 132854 h 269321"/>
                <a:gd name="connsiteX235" fmla="*/ 250767 w 316622"/>
                <a:gd name="connsiteY235" fmla="*/ 132664 h 269321"/>
                <a:gd name="connsiteX236" fmla="*/ 254745 w 316622"/>
                <a:gd name="connsiteY236" fmla="*/ 133263 h 269321"/>
                <a:gd name="connsiteX237" fmla="*/ 255142 w 316622"/>
                <a:gd name="connsiteY237" fmla="*/ 133516 h 269321"/>
                <a:gd name="connsiteX238" fmla="*/ 254950 w 316622"/>
                <a:gd name="connsiteY238" fmla="*/ 134554 h 269321"/>
                <a:gd name="connsiteX239" fmla="*/ 255321 w 316622"/>
                <a:gd name="connsiteY239" fmla="*/ 136085 h 269321"/>
                <a:gd name="connsiteX240" fmla="*/ 256043 w 316622"/>
                <a:gd name="connsiteY240" fmla="*/ 137159 h 269321"/>
                <a:gd name="connsiteX241" fmla="*/ 255054 w 316622"/>
                <a:gd name="connsiteY241" fmla="*/ 140205 h 269321"/>
                <a:gd name="connsiteX242" fmla="*/ 255797 w 316622"/>
                <a:gd name="connsiteY242" fmla="*/ 141159 h 269321"/>
                <a:gd name="connsiteX243" fmla="*/ 256954 w 316622"/>
                <a:gd name="connsiteY243" fmla="*/ 142299 h 269321"/>
                <a:gd name="connsiteX244" fmla="*/ 257822 w 316622"/>
                <a:gd name="connsiteY244" fmla="*/ 143340 h 269321"/>
                <a:gd name="connsiteX245" fmla="*/ 259070 w 316622"/>
                <a:gd name="connsiteY245" fmla="*/ 144296 h 269321"/>
                <a:gd name="connsiteX246" fmla="*/ 260180 w 316622"/>
                <a:gd name="connsiteY246" fmla="*/ 145906 h 269321"/>
                <a:gd name="connsiteX247" fmla="*/ 260560 w 316622"/>
                <a:gd name="connsiteY247" fmla="*/ 146818 h 269321"/>
                <a:gd name="connsiteX248" fmla="*/ 258785 w 316622"/>
                <a:gd name="connsiteY248" fmla="*/ 148402 h 269321"/>
                <a:gd name="connsiteX249" fmla="*/ 255771 w 316622"/>
                <a:gd name="connsiteY249" fmla="*/ 149886 h 269321"/>
                <a:gd name="connsiteX250" fmla="*/ 255432 w 316622"/>
                <a:gd name="connsiteY250" fmla="*/ 150836 h 269321"/>
                <a:gd name="connsiteX251" fmla="*/ 255471 w 316622"/>
                <a:gd name="connsiteY251" fmla="*/ 151916 h 269321"/>
                <a:gd name="connsiteX252" fmla="*/ 255810 w 316622"/>
                <a:gd name="connsiteY252" fmla="*/ 152765 h 269321"/>
                <a:gd name="connsiteX253" fmla="*/ 257472 w 316622"/>
                <a:gd name="connsiteY253" fmla="*/ 153857 h 269321"/>
                <a:gd name="connsiteX254" fmla="*/ 259263 w 316622"/>
                <a:gd name="connsiteY254" fmla="*/ 156327 h 269321"/>
                <a:gd name="connsiteX255" fmla="*/ 260396 w 316622"/>
                <a:gd name="connsiteY255" fmla="*/ 158528 h 269321"/>
                <a:gd name="connsiteX256" fmla="*/ 262881 w 316622"/>
                <a:gd name="connsiteY256" fmla="*/ 160637 h 269321"/>
                <a:gd name="connsiteX257" fmla="*/ 263486 w 316622"/>
                <a:gd name="connsiteY257" fmla="*/ 161261 h 269321"/>
                <a:gd name="connsiteX258" fmla="*/ 263331 w 316622"/>
                <a:gd name="connsiteY258" fmla="*/ 161788 h 269321"/>
                <a:gd name="connsiteX259" fmla="*/ 262676 w 316622"/>
                <a:gd name="connsiteY259" fmla="*/ 162686 h 269321"/>
                <a:gd name="connsiteX260" fmla="*/ 261826 w 316622"/>
                <a:gd name="connsiteY260" fmla="*/ 165676 h 269321"/>
                <a:gd name="connsiteX261" fmla="*/ 260811 w 316622"/>
                <a:gd name="connsiteY261" fmla="*/ 166151 h 269321"/>
                <a:gd name="connsiteX262" fmla="*/ 259679 w 316622"/>
                <a:gd name="connsiteY262" fmla="*/ 166344 h 269321"/>
                <a:gd name="connsiteX263" fmla="*/ 256607 w 316622"/>
                <a:gd name="connsiteY263" fmla="*/ 168532 h 269321"/>
                <a:gd name="connsiteX264" fmla="*/ 255237 w 316622"/>
                <a:gd name="connsiteY264" fmla="*/ 168267 h 269321"/>
                <a:gd name="connsiteX265" fmla="*/ 253290 w 316622"/>
                <a:gd name="connsiteY265" fmla="*/ 168295 h 269321"/>
                <a:gd name="connsiteX266" fmla="*/ 251862 w 316622"/>
                <a:gd name="connsiteY266" fmla="*/ 169016 h 269321"/>
                <a:gd name="connsiteX267" fmla="*/ 252018 w 316622"/>
                <a:gd name="connsiteY267" fmla="*/ 170378 h 269321"/>
                <a:gd name="connsiteX268" fmla="*/ 253270 w 316622"/>
                <a:gd name="connsiteY268" fmla="*/ 171624 h 269321"/>
                <a:gd name="connsiteX269" fmla="*/ 254006 w 316622"/>
                <a:gd name="connsiteY269" fmla="*/ 172980 h 269321"/>
                <a:gd name="connsiteX270" fmla="*/ 254304 w 316622"/>
                <a:gd name="connsiteY270" fmla="*/ 174390 h 269321"/>
                <a:gd name="connsiteX271" fmla="*/ 255695 w 316622"/>
                <a:gd name="connsiteY271" fmla="*/ 175434 h 269321"/>
                <a:gd name="connsiteX272" fmla="*/ 257647 w 316622"/>
                <a:gd name="connsiteY272" fmla="*/ 176058 h 269321"/>
                <a:gd name="connsiteX273" fmla="*/ 258764 w 316622"/>
                <a:gd name="connsiteY273" fmla="*/ 176100 h 269321"/>
                <a:gd name="connsiteX274" fmla="*/ 259494 w 316622"/>
                <a:gd name="connsiteY274" fmla="*/ 176475 h 269321"/>
                <a:gd name="connsiteX275" fmla="*/ 259932 w 316622"/>
                <a:gd name="connsiteY275" fmla="*/ 176958 h 269321"/>
                <a:gd name="connsiteX276" fmla="*/ 260772 w 316622"/>
                <a:gd name="connsiteY276" fmla="*/ 179974 h 269321"/>
                <a:gd name="connsiteX277" fmla="*/ 260269 w 316622"/>
                <a:gd name="connsiteY277" fmla="*/ 180730 h 269321"/>
                <a:gd name="connsiteX278" fmla="*/ 259217 w 316622"/>
                <a:gd name="connsiteY278" fmla="*/ 181052 h 269321"/>
                <a:gd name="connsiteX279" fmla="*/ 258589 w 316622"/>
                <a:gd name="connsiteY279" fmla="*/ 182291 h 269321"/>
                <a:gd name="connsiteX280" fmla="*/ 257334 w 316622"/>
                <a:gd name="connsiteY280" fmla="*/ 184118 h 269321"/>
                <a:gd name="connsiteX281" fmla="*/ 256622 w 316622"/>
                <a:gd name="connsiteY281" fmla="*/ 185583 h 269321"/>
                <a:gd name="connsiteX282" fmla="*/ 257410 w 316622"/>
                <a:gd name="connsiteY282" fmla="*/ 186872 h 269321"/>
                <a:gd name="connsiteX283" fmla="*/ 257746 w 316622"/>
                <a:gd name="connsiteY283" fmla="*/ 187826 h 269321"/>
                <a:gd name="connsiteX284" fmla="*/ 257325 w 316622"/>
                <a:gd name="connsiteY284" fmla="*/ 188808 h 269321"/>
                <a:gd name="connsiteX285" fmla="*/ 257887 w 316622"/>
                <a:gd name="connsiteY285" fmla="*/ 190337 h 269321"/>
                <a:gd name="connsiteX286" fmla="*/ 259370 w 316622"/>
                <a:gd name="connsiteY286" fmla="*/ 191849 h 269321"/>
                <a:gd name="connsiteX287" fmla="*/ 263398 w 316622"/>
                <a:gd name="connsiteY287" fmla="*/ 193974 h 269321"/>
                <a:gd name="connsiteX288" fmla="*/ 267138 w 316622"/>
                <a:gd name="connsiteY288" fmla="*/ 195701 h 269321"/>
                <a:gd name="connsiteX289" fmla="*/ 268295 w 316622"/>
                <a:gd name="connsiteY289" fmla="*/ 195988 h 269321"/>
                <a:gd name="connsiteX290" fmla="*/ 273348 w 316622"/>
                <a:gd name="connsiteY290" fmla="*/ 194877 h 269321"/>
                <a:gd name="connsiteX291" fmla="*/ 274184 w 316622"/>
                <a:gd name="connsiteY291" fmla="*/ 194973 h 269321"/>
                <a:gd name="connsiteX292" fmla="*/ 274799 w 316622"/>
                <a:gd name="connsiteY292" fmla="*/ 196296 h 269321"/>
                <a:gd name="connsiteX293" fmla="*/ 275067 w 316622"/>
                <a:gd name="connsiteY293" fmla="*/ 197186 h 269321"/>
                <a:gd name="connsiteX294" fmla="*/ 274499 w 316622"/>
                <a:gd name="connsiteY294" fmla="*/ 198527 h 269321"/>
                <a:gd name="connsiteX295" fmla="*/ 273132 w 316622"/>
                <a:gd name="connsiteY295" fmla="*/ 200372 h 269321"/>
                <a:gd name="connsiteX296" fmla="*/ 271651 w 316622"/>
                <a:gd name="connsiteY296" fmla="*/ 201842 h 269321"/>
                <a:gd name="connsiteX297" fmla="*/ 270753 w 316622"/>
                <a:gd name="connsiteY297" fmla="*/ 203091 h 269321"/>
                <a:gd name="connsiteX298" fmla="*/ 270940 w 316622"/>
                <a:gd name="connsiteY298" fmla="*/ 204224 h 269321"/>
                <a:gd name="connsiteX299" fmla="*/ 270999 w 316622"/>
                <a:gd name="connsiteY299" fmla="*/ 205731 h 269321"/>
                <a:gd name="connsiteX300" fmla="*/ 269794 w 316622"/>
                <a:gd name="connsiteY300" fmla="*/ 206182 h 269321"/>
                <a:gd name="connsiteX301" fmla="*/ 269755 w 316622"/>
                <a:gd name="connsiteY301" fmla="*/ 205884 h 269321"/>
                <a:gd name="connsiteX302" fmla="*/ 269258 w 316622"/>
                <a:gd name="connsiteY302" fmla="*/ 205630 h 269321"/>
                <a:gd name="connsiteX303" fmla="*/ 268829 w 316622"/>
                <a:gd name="connsiteY303" fmla="*/ 205780 h 269321"/>
                <a:gd name="connsiteX304" fmla="*/ 268498 w 316622"/>
                <a:gd name="connsiteY304" fmla="*/ 206107 h 269321"/>
                <a:gd name="connsiteX305" fmla="*/ 268446 w 316622"/>
                <a:gd name="connsiteY305" fmla="*/ 206687 h 269321"/>
                <a:gd name="connsiteX306" fmla="*/ 265877 w 316622"/>
                <a:gd name="connsiteY306" fmla="*/ 207649 h 269321"/>
                <a:gd name="connsiteX307" fmla="*/ 264106 w 316622"/>
                <a:gd name="connsiteY307" fmla="*/ 208646 h 269321"/>
                <a:gd name="connsiteX308" fmla="*/ 257103 w 316622"/>
                <a:gd name="connsiteY308" fmla="*/ 214594 h 269321"/>
                <a:gd name="connsiteX309" fmla="*/ 253827 w 316622"/>
                <a:gd name="connsiteY309" fmla="*/ 216336 h 269321"/>
                <a:gd name="connsiteX310" fmla="*/ 253182 w 316622"/>
                <a:gd name="connsiteY310" fmla="*/ 217385 h 269321"/>
                <a:gd name="connsiteX311" fmla="*/ 252514 w 316622"/>
                <a:gd name="connsiteY311" fmla="*/ 219345 h 269321"/>
                <a:gd name="connsiteX312" fmla="*/ 250590 w 316622"/>
                <a:gd name="connsiteY312" fmla="*/ 221026 h 269321"/>
                <a:gd name="connsiteX313" fmla="*/ 248906 w 316622"/>
                <a:gd name="connsiteY313" fmla="*/ 221825 h 269321"/>
                <a:gd name="connsiteX314" fmla="*/ 244734 w 316622"/>
                <a:gd name="connsiteY314" fmla="*/ 222646 h 269321"/>
                <a:gd name="connsiteX315" fmla="*/ 240545 w 316622"/>
                <a:gd name="connsiteY315" fmla="*/ 224426 h 269321"/>
                <a:gd name="connsiteX316" fmla="*/ 238658 w 316622"/>
                <a:gd name="connsiteY316" fmla="*/ 223659 h 269321"/>
                <a:gd name="connsiteX317" fmla="*/ 233769 w 316622"/>
                <a:gd name="connsiteY317" fmla="*/ 223741 h 269321"/>
                <a:gd name="connsiteX318" fmla="*/ 230720 w 316622"/>
                <a:gd name="connsiteY318" fmla="*/ 221596 h 269321"/>
                <a:gd name="connsiteX319" fmla="*/ 224859 w 316622"/>
                <a:gd name="connsiteY319" fmla="*/ 220235 h 269321"/>
                <a:gd name="connsiteX320" fmla="*/ 222950 w 316622"/>
                <a:gd name="connsiteY320" fmla="*/ 217107 h 269321"/>
                <a:gd name="connsiteX321" fmla="*/ 220281 w 316622"/>
                <a:gd name="connsiteY321" fmla="*/ 216904 h 269321"/>
                <a:gd name="connsiteX322" fmla="*/ 218532 w 316622"/>
                <a:gd name="connsiteY322" fmla="*/ 216998 h 269321"/>
                <a:gd name="connsiteX323" fmla="*/ 217487 w 316622"/>
                <a:gd name="connsiteY323" fmla="*/ 216524 h 269321"/>
                <a:gd name="connsiteX324" fmla="*/ 217215 w 316622"/>
                <a:gd name="connsiteY324" fmla="*/ 215456 h 269321"/>
                <a:gd name="connsiteX325" fmla="*/ 217191 w 316622"/>
                <a:gd name="connsiteY325" fmla="*/ 214427 h 269321"/>
                <a:gd name="connsiteX326" fmla="*/ 215339 w 316622"/>
                <a:gd name="connsiteY326" fmla="*/ 214901 h 269321"/>
                <a:gd name="connsiteX327" fmla="*/ 213922 w 316622"/>
                <a:gd name="connsiteY327" fmla="*/ 214901 h 269321"/>
                <a:gd name="connsiteX328" fmla="*/ 213077 w 316622"/>
                <a:gd name="connsiteY328" fmla="*/ 215313 h 269321"/>
                <a:gd name="connsiteX329" fmla="*/ 212410 w 316622"/>
                <a:gd name="connsiteY329" fmla="*/ 215789 h 269321"/>
                <a:gd name="connsiteX330" fmla="*/ 211622 w 316622"/>
                <a:gd name="connsiteY330" fmla="*/ 215485 h 269321"/>
                <a:gd name="connsiteX331" fmla="*/ 211164 w 316622"/>
                <a:gd name="connsiteY331" fmla="*/ 215587 h 269321"/>
                <a:gd name="connsiteX332" fmla="*/ 211205 w 316622"/>
                <a:gd name="connsiteY332" fmla="*/ 216193 h 269321"/>
                <a:gd name="connsiteX333" fmla="*/ 209504 w 316622"/>
                <a:gd name="connsiteY333" fmla="*/ 216344 h 269321"/>
                <a:gd name="connsiteX334" fmla="*/ 207660 w 316622"/>
                <a:gd name="connsiteY334" fmla="*/ 215973 h 269321"/>
                <a:gd name="connsiteX335" fmla="*/ 202818 w 316622"/>
                <a:gd name="connsiteY335" fmla="*/ 214355 h 269321"/>
                <a:gd name="connsiteX336" fmla="*/ 202075 w 316622"/>
                <a:gd name="connsiteY336" fmla="*/ 214108 h 269321"/>
                <a:gd name="connsiteX337" fmla="*/ 198715 w 316622"/>
                <a:gd name="connsiteY337" fmla="*/ 213482 h 269321"/>
                <a:gd name="connsiteX338" fmla="*/ 197357 w 316622"/>
                <a:gd name="connsiteY338" fmla="*/ 212836 h 269321"/>
                <a:gd name="connsiteX339" fmla="*/ 196258 w 316622"/>
                <a:gd name="connsiteY339" fmla="*/ 211236 h 269321"/>
                <a:gd name="connsiteX340" fmla="*/ 195418 w 316622"/>
                <a:gd name="connsiteY340" fmla="*/ 210730 h 269321"/>
                <a:gd name="connsiteX341" fmla="*/ 194921 w 316622"/>
                <a:gd name="connsiteY341" fmla="*/ 210427 h 269321"/>
                <a:gd name="connsiteX342" fmla="*/ 191786 w 316622"/>
                <a:gd name="connsiteY342" fmla="*/ 211235 h 269321"/>
                <a:gd name="connsiteX343" fmla="*/ 190698 w 316622"/>
                <a:gd name="connsiteY343" fmla="*/ 212494 h 269321"/>
                <a:gd name="connsiteX344" fmla="*/ 188998 w 316622"/>
                <a:gd name="connsiteY344" fmla="*/ 213967 h 269321"/>
                <a:gd name="connsiteX345" fmla="*/ 177370 w 316622"/>
                <a:gd name="connsiteY345" fmla="*/ 221183 h 269321"/>
                <a:gd name="connsiteX346" fmla="*/ 175247 w 316622"/>
                <a:gd name="connsiteY346" fmla="*/ 224201 h 269321"/>
                <a:gd name="connsiteX347" fmla="*/ 172790 w 316622"/>
                <a:gd name="connsiteY347" fmla="*/ 228639 h 269321"/>
                <a:gd name="connsiteX348" fmla="*/ 172598 w 316622"/>
                <a:gd name="connsiteY348" fmla="*/ 230707 h 269321"/>
                <a:gd name="connsiteX349" fmla="*/ 173656 w 316622"/>
                <a:gd name="connsiteY349" fmla="*/ 237309 h 269321"/>
                <a:gd name="connsiteX350" fmla="*/ 176020 w 316622"/>
                <a:gd name="connsiteY350" fmla="*/ 240769 h 269321"/>
                <a:gd name="connsiteX351" fmla="*/ 176320 w 316622"/>
                <a:gd name="connsiteY351" fmla="*/ 241569 h 269321"/>
                <a:gd name="connsiteX352" fmla="*/ 175010 w 316622"/>
                <a:gd name="connsiteY352" fmla="*/ 241573 h 269321"/>
                <a:gd name="connsiteX353" fmla="*/ 172809 w 316622"/>
                <a:gd name="connsiteY353" fmla="*/ 241141 h 269321"/>
                <a:gd name="connsiteX354" fmla="*/ 170982 w 316622"/>
                <a:gd name="connsiteY354" fmla="*/ 240607 h 269321"/>
                <a:gd name="connsiteX355" fmla="*/ 169244 w 316622"/>
                <a:gd name="connsiteY355" fmla="*/ 240905 h 269321"/>
                <a:gd name="connsiteX356" fmla="*/ 167569 w 316622"/>
                <a:gd name="connsiteY356" fmla="*/ 241620 h 269321"/>
                <a:gd name="connsiteX357" fmla="*/ 166104 w 316622"/>
                <a:gd name="connsiteY357" fmla="*/ 242052 h 269321"/>
                <a:gd name="connsiteX358" fmla="*/ 165053 w 316622"/>
                <a:gd name="connsiteY358" fmla="*/ 242173 h 269321"/>
                <a:gd name="connsiteX359" fmla="*/ 164349 w 316622"/>
                <a:gd name="connsiteY359" fmla="*/ 242585 h 269321"/>
                <a:gd name="connsiteX360" fmla="*/ 164012 w 316622"/>
                <a:gd name="connsiteY360" fmla="*/ 243409 h 269321"/>
                <a:gd name="connsiteX361" fmla="*/ 163943 w 316622"/>
                <a:gd name="connsiteY361" fmla="*/ 243985 h 269321"/>
                <a:gd name="connsiteX362" fmla="*/ 162092 w 316622"/>
                <a:gd name="connsiteY362" fmla="*/ 243843 h 269321"/>
                <a:gd name="connsiteX363" fmla="*/ 157812 w 316622"/>
                <a:gd name="connsiteY363" fmla="*/ 242658 h 269321"/>
                <a:gd name="connsiteX364" fmla="*/ 153964 w 316622"/>
                <a:gd name="connsiteY364" fmla="*/ 241841 h 269321"/>
                <a:gd name="connsiteX365" fmla="*/ 151708 w 316622"/>
                <a:gd name="connsiteY365" fmla="*/ 242770 h 269321"/>
                <a:gd name="connsiteX366" fmla="*/ 150256 w 316622"/>
                <a:gd name="connsiteY366" fmla="*/ 243638 h 269321"/>
                <a:gd name="connsiteX367" fmla="*/ 149235 w 316622"/>
                <a:gd name="connsiteY367" fmla="*/ 243505 h 269321"/>
                <a:gd name="connsiteX368" fmla="*/ 148460 w 316622"/>
                <a:gd name="connsiteY368" fmla="*/ 242592 h 269321"/>
                <a:gd name="connsiteX369" fmla="*/ 147940 w 316622"/>
                <a:gd name="connsiteY369" fmla="*/ 241698 h 269321"/>
                <a:gd name="connsiteX370" fmla="*/ 146432 w 316622"/>
                <a:gd name="connsiteY370" fmla="*/ 240878 h 269321"/>
                <a:gd name="connsiteX371" fmla="*/ 143034 w 316622"/>
                <a:gd name="connsiteY371" fmla="*/ 239645 h 269321"/>
                <a:gd name="connsiteX372" fmla="*/ 143208 w 316622"/>
                <a:gd name="connsiteY372" fmla="*/ 239050 h 269321"/>
                <a:gd name="connsiteX373" fmla="*/ 143789 w 316622"/>
                <a:gd name="connsiteY373" fmla="*/ 238220 h 269321"/>
                <a:gd name="connsiteX374" fmla="*/ 143772 w 316622"/>
                <a:gd name="connsiteY374" fmla="*/ 237708 h 269321"/>
                <a:gd name="connsiteX375" fmla="*/ 143118 w 316622"/>
                <a:gd name="connsiteY375" fmla="*/ 236947 h 269321"/>
                <a:gd name="connsiteX376" fmla="*/ 139985 w 316622"/>
                <a:gd name="connsiteY376" fmla="*/ 236130 h 269321"/>
                <a:gd name="connsiteX377" fmla="*/ 138508 w 316622"/>
                <a:gd name="connsiteY377" fmla="*/ 235924 h 269321"/>
                <a:gd name="connsiteX378" fmla="*/ 137568 w 316622"/>
                <a:gd name="connsiteY378" fmla="*/ 236486 h 269321"/>
                <a:gd name="connsiteX379" fmla="*/ 136892 w 316622"/>
                <a:gd name="connsiteY379" fmla="*/ 237174 h 269321"/>
                <a:gd name="connsiteX380" fmla="*/ 135147 w 316622"/>
                <a:gd name="connsiteY380" fmla="*/ 234643 h 269321"/>
                <a:gd name="connsiteX381" fmla="*/ 133906 w 316622"/>
                <a:gd name="connsiteY381" fmla="*/ 234128 h 269321"/>
                <a:gd name="connsiteX382" fmla="*/ 132027 w 316622"/>
                <a:gd name="connsiteY382" fmla="*/ 234043 h 269321"/>
                <a:gd name="connsiteX383" fmla="*/ 129879 w 316622"/>
                <a:gd name="connsiteY383" fmla="*/ 233270 h 269321"/>
                <a:gd name="connsiteX384" fmla="*/ 127643 w 316622"/>
                <a:gd name="connsiteY384" fmla="*/ 232283 h 269321"/>
                <a:gd name="connsiteX385" fmla="*/ 122213 w 316622"/>
                <a:gd name="connsiteY385" fmla="*/ 230703 h 269321"/>
                <a:gd name="connsiteX386" fmla="*/ 120718 w 316622"/>
                <a:gd name="connsiteY386" fmla="*/ 230514 h 269321"/>
                <a:gd name="connsiteX387" fmla="*/ 120120 w 316622"/>
                <a:gd name="connsiteY387" fmla="*/ 230764 h 269321"/>
                <a:gd name="connsiteX388" fmla="*/ 119721 w 316622"/>
                <a:gd name="connsiteY388" fmla="*/ 231709 h 269321"/>
                <a:gd name="connsiteX389" fmla="*/ 119505 w 316622"/>
                <a:gd name="connsiteY389" fmla="*/ 234377 h 269321"/>
                <a:gd name="connsiteX390" fmla="*/ 119276 w 316622"/>
                <a:gd name="connsiteY390" fmla="*/ 234672 h 269321"/>
                <a:gd name="connsiteX391" fmla="*/ 116756 w 316622"/>
                <a:gd name="connsiteY391" fmla="*/ 234761 h 269321"/>
                <a:gd name="connsiteX392" fmla="*/ 113651 w 316622"/>
                <a:gd name="connsiteY392" fmla="*/ 234390 h 269321"/>
                <a:gd name="connsiteX393" fmla="*/ 112228 w 316622"/>
                <a:gd name="connsiteY393" fmla="*/ 234574 h 269321"/>
                <a:gd name="connsiteX394" fmla="*/ 110958 w 316622"/>
                <a:gd name="connsiteY394" fmla="*/ 234583 h 269321"/>
                <a:gd name="connsiteX395" fmla="*/ 109762 w 316622"/>
                <a:gd name="connsiteY395" fmla="*/ 233877 h 269321"/>
                <a:gd name="connsiteX396" fmla="*/ 104399 w 316622"/>
                <a:gd name="connsiteY396" fmla="*/ 234685 h 269321"/>
                <a:gd name="connsiteX397" fmla="*/ 103507 w 316622"/>
                <a:gd name="connsiteY397" fmla="*/ 234291 h 269321"/>
                <a:gd name="connsiteX398" fmla="*/ 102212 w 316622"/>
                <a:gd name="connsiteY398" fmla="*/ 233086 h 269321"/>
                <a:gd name="connsiteX399" fmla="*/ 100769 w 316622"/>
                <a:gd name="connsiteY399" fmla="*/ 232114 h 269321"/>
                <a:gd name="connsiteX400" fmla="*/ 99647 w 316622"/>
                <a:gd name="connsiteY400" fmla="*/ 231615 h 269321"/>
                <a:gd name="connsiteX401" fmla="*/ 98691 w 316622"/>
                <a:gd name="connsiteY401" fmla="*/ 231043 h 269321"/>
                <a:gd name="connsiteX402" fmla="*/ 97822 w 316622"/>
                <a:gd name="connsiteY402" fmla="*/ 230950 h 269321"/>
                <a:gd name="connsiteX403" fmla="*/ 96499 w 316622"/>
                <a:gd name="connsiteY403" fmla="*/ 231504 h 269321"/>
                <a:gd name="connsiteX404" fmla="*/ 94670 w 316622"/>
                <a:gd name="connsiteY404" fmla="*/ 231739 h 269321"/>
                <a:gd name="connsiteX405" fmla="*/ 93152 w 316622"/>
                <a:gd name="connsiteY405" fmla="*/ 231667 h 269321"/>
                <a:gd name="connsiteX406" fmla="*/ 92342 w 316622"/>
                <a:gd name="connsiteY406" fmla="*/ 231748 h 269321"/>
                <a:gd name="connsiteX407" fmla="*/ 88942 w 316622"/>
                <a:gd name="connsiteY407" fmla="*/ 228789 h 269321"/>
                <a:gd name="connsiteX408" fmla="*/ 88445 w 316622"/>
                <a:gd name="connsiteY408" fmla="*/ 227979 h 269321"/>
                <a:gd name="connsiteX409" fmla="*/ 86752 w 316622"/>
                <a:gd name="connsiteY409" fmla="*/ 227754 h 269321"/>
                <a:gd name="connsiteX410" fmla="*/ 84660 w 316622"/>
                <a:gd name="connsiteY410" fmla="*/ 227718 h 269321"/>
                <a:gd name="connsiteX411" fmla="*/ 79317 w 316622"/>
                <a:gd name="connsiteY411" fmla="*/ 225799 h 269321"/>
                <a:gd name="connsiteX412" fmla="*/ 76885 w 316622"/>
                <a:gd name="connsiteY412" fmla="*/ 224768 h 269321"/>
                <a:gd name="connsiteX413" fmla="*/ 76529 w 316622"/>
                <a:gd name="connsiteY413" fmla="*/ 224155 h 269321"/>
                <a:gd name="connsiteX414" fmla="*/ 76562 w 316622"/>
                <a:gd name="connsiteY414" fmla="*/ 223659 h 269321"/>
                <a:gd name="connsiteX415" fmla="*/ 76147 w 316622"/>
                <a:gd name="connsiteY415" fmla="*/ 223766 h 269321"/>
                <a:gd name="connsiteX416" fmla="*/ 75397 w 316622"/>
                <a:gd name="connsiteY416" fmla="*/ 224643 h 269321"/>
                <a:gd name="connsiteX417" fmla="*/ 75004 w 316622"/>
                <a:gd name="connsiteY417" fmla="*/ 225358 h 269321"/>
                <a:gd name="connsiteX418" fmla="*/ 74484 w 316622"/>
                <a:gd name="connsiteY418" fmla="*/ 225492 h 269321"/>
                <a:gd name="connsiteX419" fmla="*/ 73716 w 316622"/>
                <a:gd name="connsiteY419" fmla="*/ 225381 h 269321"/>
                <a:gd name="connsiteX420" fmla="*/ 73007 w 316622"/>
                <a:gd name="connsiteY420" fmla="*/ 224978 h 269321"/>
                <a:gd name="connsiteX421" fmla="*/ 72573 w 316622"/>
                <a:gd name="connsiteY421" fmla="*/ 224459 h 269321"/>
                <a:gd name="connsiteX422" fmla="*/ 73038 w 316622"/>
                <a:gd name="connsiteY422" fmla="*/ 223551 h 269321"/>
                <a:gd name="connsiteX423" fmla="*/ 73852 w 316622"/>
                <a:gd name="connsiteY423" fmla="*/ 222367 h 269321"/>
                <a:gd name="connsiteX424" fmla="*/ 74190 w 316622"/>
                <a:gd name="connsiteY424" fmla="*/ 221078 h 269321"/>
                <a:gd name="connsiteX425" fmla="*/ 74116 w 316622"/>
                <a:gd name="connsiteY425" fmla="*/ 219924 h 269321"/>
                <a:gd name="connsiteX426" fmla="*/ 72766 w 316622"/>
                <a:gd name="connsiteY426" fmla="*/ 219183 h 269321"/>
                <a:gd name="connsiteX427" fmla="*/ 70781 w 316622"/>
                <a:gd name="connsiteY427" fmla="*/ 218874 h 269321"/>
                <a:gd name="connsiteX428" fmla="*/ 69329 w 316622"/>
                <a:gd name="connsiteY428" fmla="*/ 218786 h 269321"/>
                <a:gd name="connsiteX429" fmla="*/ 67434 w 316622"/>
                <a:gd name="connsiteY429" fmla="*/ 218126 h 269321"/>
                <a:gd name="connsiteX430" fmla="*/ 66541 w 316622"/>
                <a:gd name="connsiteY430" fmla="*/ 217650 h 269321"/>
                <a:gd name="connsiteX431" fmla="*/ 65668 w 316622"/>
                <a:gd name="connsiteY431" fmla="*/ 216364 h 269321"/>
                <a:gd name="connsiteX432" fmla="*/ 65639 w 316622"/>
                <a:gd name="connsiteY432" fmla="*/ 215428 h 269321"/>
                <a:gd name="connsiteX433" fmla="*/ 69234 w 316622"/>
                <a:gd name="connsiteY433" fmla="*/ 214602 h 269321"/>
                <a:gd name="connsiteX434" fmla="*/ 72476 w 316622"/>
                <a:gd name="connsiteY434" fmla="*/ 211216 h 269321"/>
                <a:gd name="connsiteX435" fmla="*/ 75546 w 316622"/>
                <a:gd name="connsiteY435" fmla="*/ 198890 h 269321"/>
                <a:gd name="connsiteX436" fmla="*/ 77768 w 316622"/>
                <a:gd name="connsiteY436" fmla="*/ 184245 h 269321"/>
                <a:gd name="connsiteX437" fmla="*/ 79420 w 316622"/>
                <a:gd name="connsiteY437" fmla="*/ 181469 h 269321"/>
                <a:gd name="connsiteX438" fmla="*/ 81495 w 316622"/>
                <a:gd name="connsiteY438" fmla="*/ 180706 h 269321"/>
                <a:gd name="connsiteX439" fmla="*/ 79817 w 316622"/>
                <a:gd name="connsiteY439" fmla="*/ 178684 h 269321"/>
                <a:gd name="connsiteX440" fmla="*/ 78766 w 316622"/>
                <a:gd name="connsiteY440" fmla="*/ 179708 h 269321"/>
                <a:gd name="connsiteX441" fmla="*/ 78325 w 316622"/>
                <a:gd name="connsiteY441" fmla="*/ 180794 h 269321"/>
                <a:gd name="connsiteX442" fmla="*/ 77775 w 316622"/>
                <a:gd name="connsiteY442" fmla="*/ 181336 h 269321"/>
                <a:gd name="connsiteX443" fmla="*/ 79016 w 316622"/>
                <a:gd name="connsiteY443" fmla="*/ 167825 h 269321"/>
                <a:gd name="connsiteX444" fmla="*/ 79901 w 316622"/>
                <a:gd name="connsiteY444" fmla="*/ 162861 h 269321"/>
                <a:gd name="connsiteX445" fmla="*/ 81406 w 316622"/>
                <a:gd name="connsiteY445" fmla="*/ 157650 h 269321"/>
                <a:gd name="connsiteX446" fmla="*/ 84485 w 316622"/>
                <a:gd name="connsiteY446" fmla="*/ 159720 h 269321"/>
                <a:gd name="connsiteX447" fmla="*/ 87037 w 316622"/>
                <a:gd name="connsiteY447" fmla="*/ 161817 h 269321"/>
                <a:gd name="connsiteX448" fmla="*/ 88357 w 316622"/>
                <a:gd name="connsiteY448" fmla="*/ 163636 h 269321"/>
                <a:gd name="connsiteX449" fmla="*/ 90027 w 316622"/>
                <a:gd name="connsiteY449" fmla="*/ 169686 h 269321"/>
                <a:gd name="connsiteX450" fmla="*/ 91290 w 316622"/>
                <a:gd name="connsiteY450" fmla="*/ 170954 h 269321"/>
                <a:gd name="connsiteX451" fmla="*/ 93181 w 316622"/>
                <a:gd name="connsiteY451" fmla="*/ 172226 h 269321"/>
                <a:gd name="connsiteX452" fmla="*/ 92434 w 316622"/>
                <a:gd name="connsiteY452" fmla="*/ 170837 h 269321"/>
                <a:gd name="connsiteX453" fmla="*/ 91133 w 316622"/>
                <a:gd name="connsiteY453" fmla="*/ 169776 h 269321"/>
                <a:gd name="connsiteX454" fmla="*/ 89099 w 316622"/>
                <a:gd name="connsiteY454" fmla="*/ 161709 h 269321"/>
                <a:gd name="connsiteX455" fmla="*/ 87823 w 316622"/>
                <a:gd name="connsiteY455" fmla="*/ 159420 h 269321"/>
                <a:gd name="connsiteX456" fmla="*/ 85836 w 316622"/>
                <a:gd name="connsiteY456" fmla="*/ 157492 h 269321"/>
                <a:gd name="connsiteX457" fmla="*/ 79438 w 316622"/>
                <a:gd name="connsiteY457" fmla="*/ 153428 h 269321"/>
                <a:gd name="connsiteX458" fmla="*/ 78863 w 316622"/>
                <a:gd name="connsiteY458" fmla="*/ 152643 h 269321"/>
                <a:gd name="connsiteX459" fmla="*/ 78554 w 316622"/>
                <a:gd name="connsiteY459" fmla="*/ 151089 h 269321"/>
                <a:gd name="connsiteX460" fmla="*/ 80668 w 316622"/>
                <a:gd name="connsiteY460" fmla="*/ 151155 h 269321"/>
                <a:gd name="connsiteX461" fmla="*/ 82495 w 316622"/>
                <a:gd name="connsiteY461" fmla="*/ 151910 h 269321"/>
                <a:gd name="connsiteX462" fmla="*/ 82279 w 316622"/>
                <a:gd name="connsiteY462" fmla="*/ 151040 h 269321"/>
                <a:gd name="connsiteX463" fmla="*/ 81737 w 316622"/>
                <a:gd name="connsiteY463" fmla="*/ 150131 h 269321"/>
                <a:gd name="connsiteX464" fmla="*/ 80889 w 316622"/>
                <a:gd name="connsiteY464" fmla="*/ 146830 h 269321"/>
                <a:gd name="connsiteX465" fmla="*/ 80181 w 316622"/>
                <a:gd name="connsiteY465" fmla="*/ 139107 h 269321"/>
                <a:gd name="connsiteX466" fmla="*/ 80277 w 316622"/>
                <a:gd name="connsiteY466" fmla="*/ 137782 h 269321"/>
                <a:gd name="connsiteX467" fmla="*/ 79962 w 316622"/>
                <a:gd name="connsiteY467" fmla="*/ 136157 h 269321"/>
                <a:gd name="connsiteX468" fmla="*/ 77916 w 316622"/>
                <a:gd name="connsiteY468" fmla="*/ 135793 h 269321"/>
                <a:gd name="connsiteX469" fmla="*/ 76280 w 316622"/>
                <a:gd name="connsiteY469" fmla="*/ 135726 h 269321"/>
                <a:gd name="connsiteX470" fmla="*/ 74518 w 316622"/>
                <a:gd name="connsiteY470" fmla="*/ 135084 h 269321"/>
                <a:gd name="connsiteX471" fmla="*/ 65805 w 316622"/>
                <a:gd name="connsiteY471" fmla="*/ 130514 h 269321"/>
                <a:gd name="connsiteX472" fmla="*/ 62822 w 316622"/>
                <a:gd name="connsiteY472" fmla="*/ 125790 h 269321"/>
                <a:gd name="connsiteX473" fmla="*/ 59772 w 316622"/>
                <a:gd name="connsiteY473" fmla="*/ 122297 h 269321"/>
                <a:gd name="connsiteX474" fmla="*/ 59040 w 316622"/>
                <a:gd name="connsiteY474" fmla="*/ 120772 h 269321"/>
                <a:gd name="connsiteX475" fmla="*/ 59088 w 316622"/>
                <a:gd name="connsiteY475" fmla="*/ 119226 h 269321"/>
                <a:gd name="connsiteX476" fmla="*/ 60667 w 316622"/>
                <a:gd name="connsiteY476" fmla="*/ 115957 h 269321"/>
                <a:gd name="connsiteX477" fmla="*/ 59273 w 316622"/>
                <a:gd name="connsiteY477" fmla="*/ 113891 h 269321"/>
                <a:gd name="connsiteX478" fmla="*/ 57911 w 316622"/>
                <a:gd name="connsiteY478" fmla="*/ 113480 h 269321"/>
                <a:gd name="connsiteX479" fmla="*/ 56727 w 316622"/>
                <a:gd name="connsiteY479" fmla="*/ 112457 h 269321"/>
                <a:gd name="connsiteX480" fmla="*/ 57799 w 316622"/>
                <a:gd name="connsiteY480" fmla="*/ 110751 h 269321"/>
                <a:gd name="connsiteX481" fmla="*/ 58690 w 316622"/>
                <a:gd name="connsiteY481" fmla="*/ 109659 h 269321"/>
                <a:gd name="connsiteX482" fmla="*/ 60475 w 316622"/>
                <a:gd name="connsiteY482" fmla="*/ 109362 h 269321"/>
                <a:gd name="connsiteX483" fmla="*/ 62816 w 316622"/>
                <a:gd name="connsiteY483" fmla="*/ 109724 h 269321"/>
                <a:gd name="connsiteX484" fmla="*/ 65036 w 316622"/>
                <a:gd name="connsiteY484" fmla="*/ 110712 h 269321"/>
                <a:gd name="connsiteX485" fmla="*/ 66778 w 316622"/>
                <a:gd name="connsiteY485" fmla="*/ 110974 h 269321"/>
                <a:gd name="connsiteX486" fmla="*/ 61629 w 316622"/>
                <a:gd name="connsiteY486" fmla="*/ 108323 h 269321"/>
                <a:gd name="connsiteX487" fmla="*/ 53279 w 316622"/>
                <a:gd name="connsiteY487" fmla="*/ 109217 h 269321"/>
                <a:gd name="connsiteX488" fmla="*/ 51479 w 316622"/>
                <a:gd name="connsiteY488" fmla="*/ 108875 h 269321"/>
                <a:gd name="connsiteX489" fmla="*/ 49959 w 316622"/>
                <a:gd name="connsiteY489" fmla="*/ 108284 h 269321"/>
                <a:gd name="connsiteX490" fmla="*/ 49365 w 316622"/>
                <a:gd name="connsiteY490" fmla="*/ 106336 h 269321"/>
                <a:gd name="connsiteX491" fmla="*/ 50552 w 316622"/>
                <a:gd name="connsiteY491" fmla="*/ 105458 h 269321"/>
                <a:gd name="connsiteX492" fmla="*/ 51628 w 316622"/>
                <a:gd name="connsiteY492" fmla="*/ 103833 h 269321"/>
                <a:gd name="connsiteX493" fmla="*/ 50411 w 316622"/>
                <a:gd name="connsiteY493" fmla="*/ 102690 h 269321"/>
                <a:gd name="connsiteX494" fmla="*/ 48834 w 316622"/>
                <a:gd name="connsiteY494" fmla="*/ 102257 h 269321"/>
                <a:gd name="connsiteX495" fmla="*/ 46360 w 316622"/>
                <a:gd name="connsiteY495" fmla="*/ 102282 h 269321"/>
                <a:gd name="connsiteX496" fmla="*/ 44052 w 316622"/>
                <a:gd name="connsiteY496" fmla="*/ 102627 h 269321"/>
                <a:gd name="connsiteX497" fmla="*/ 43466 w 316622"/>
                <a:gd name="connsiteY497" fmla="*/ 101970 h 269321"/>
                <a:gd name="connsiteX498" fmla="*/ 44874 w 316622"/>
                <a:gd name="connsiteY498" fmla="*/ 100158 h 269321"/>
                <a:gd name="connsiteX499" fmla="*/ 43678 w 316622"/>
                <a:gd name="connsiteY499" fmla="*/ 99491 h 269321"/>
                <a:gd name="connsiteX500" fmla="*/ 42082 w 316622"/>
                <a:gd name="connsiteY500" fmla="*/ 99802 h 269321"/>
                <a:gd name="connsiteX501" fmla="*/ 39767 w 316622"/>
                <a:gd name="connsiteY501" fmla="*/ 100178 h 269321"/>
                <a:gd name="connsiteX502" fmla="*/ 37553 w 316622"/>
                <a:gd name="connsiteY502" fmla="*/ 99609 h 269321"/>
                <a:gd name="connsiteX503" fmla="*/ 35460 w 316622"/>
                <a:gd name="connsiteY503" fmla="*/ 97547 h 269321"/>
                <a:gd name="connsiteX504" fmla="*/ 34073 w 316622"/>
                <a:gd name="connsiteY504" fmla="*/ 97562 h 269321"/>
                <a:gd name="connsiteX505" fmla="*/ 33120 w 316622"/>
                <a:gd name="connsiteY505" fmla="*/ 97817 h 269321"/>
                <a:gd name="connsiteX506" fmla="*/ 31706 w 316622"/>
                <a:gd name="connsiteY506" fmla="*/ 97023 h 269321"/>
                <a:gd name="connsiteX507" fmla="*/ 30218 w 316622"/>
                <a:gd name="connsiteY507" fmla="*/ 96824 h 269321"/>
                <a:gd name="connsiteX508" fmla="*/ 29156 w 316622"/>
                <a:gd name="connsiteY508" fmla="*/ 97087 h 269321"/>
                <a:gd name="connsiteX509" fmla="*/ 27744 w 316622"/>
                <a:gd name="connsiteY509" fmla="*/ 95903 h 269321"/>
                <a:gd name="connsiteX510" fmla="*/ 19051 w 316622"/>
                <a:gd name="connsiteY510" fmla="*/ 93527 h 269321"/>
                <a:gd name="connsiteX511" fmla="*/ 15297 w 316622"/>
                <a:gd name="connsiteY511" fmla="*/ 93236 h 269321"/>
                <a:gd name="connsiteX512" fmla="*/ 11854 w 316622"/>
                <a:gd name="connsiteY512" fmla="*/ 94313 h 269321"/>
                <a:gd name="connsiteX513" fmla="*/ 9959 w 316622"/>
                <a:gd name="connsiteY513" fmla="*/ 93939 h 269321"/>
                <a:gd name="connsiteX514" fmla="*/ 8566 w 316622"/>
                <a:gd name="connsiteY514" fmla="*/ 92403 h 269321"/>
                <a:gd name="connsiteX515" fmla="*/ 7397 w 316622"/>
                <a:gd name="connsiteY515" fmla="*/ 89823 h 269321"/>
                <a:gd name="connsiteX516" fmla="*/ 1851 w 316622"/>
                <a:gd name="connsiteY516" fmla="*/ 87832 h 269321"/>
                <a:gd name="connsiteX517" fmla="*/ 2948 w 316622"/>
                <a:gd name="connsiteY517" fmla="*/ 86526 h 269321"/>
                <a:gd name="connsiteX518" fmla="*/ 5530 w 316622"/>
                <a:gd name="connsiteY518" fmla="*/ 86217 h 269321"/>
                <a:gd name="connsiteX519" fmla="*/ 8506 w 316622"/>
                <a:gd name="connsiteY519" fmla="*/ 85310 h 269321"/>
                <a:gd name="connsiteX520" fmla="*/ 9576 w 316622"/>
                <a:gd name="connsiteY520" fmla="*/ 84147 h 269321"/>
                <a:gd name="connsiteX521" fmla="*/ 7250 w 316622"/>
                <a:gd name="connsiteY521" fmla="*/ 82790 h 269321"/>
                <a:gd name="connsiteX522" fmla="*/ 5535 w 316622"/>
                <a:gd name="connsiteY522" fmla="*/ 82457 h 269321"/>
                <a:gd name="connsiteX523" fmla="*/ 4824 w 316622"/>
                <a:gd name="connsiteY523" fmla="*/ 81969 h 269321"/>
                <a:gd name="connsiteX524" fmla="*/ 4099 w 316622"/>
                <a:gd name="connsiteY524" fmla="*/ 80751 h 269321"/>
                <a:gd name="connsiteX525" fmla="*/ 5127 w 316622"/>
                <a:gd name="connsiteY525" fmla="*/ 80193 h 269321"/>
                <a:gd name="connsiteX526" fmla="*/ 5851 w 316622"/>
                <a:gd name="connsiteY526" fmla="*/ 80489 h 269321"/>
                <a:gd name="connsiteX527" fmla="*/ 7942 w 316622"/>
                <a:gd name="connsiteY527" fmla="*/ 80665 h 269321"/>
                <a:gd name="connsiteX528" fmla="*/ 11523 w 316622"/>
                <a:gd name="connsiteY528" fmla="*/ 80365 h 269321"/>
                <a:gd name="connsiteX529" fmla="*/ 10188 w 316622"/>
                <a:gd name="connsiteY529" fmla="*/ 79136 h 269321"/>
                <a:gd name="connsiteX530" fmla="*/ 8803 w 316622"/>
                <a:gd name="connsiteY530" fmla="*/ 78862 h 269321"/>
                <a:gd name="connsiteX531" fmla="*/ 8167 w 316622"/>
                <a:gd name="connsiteY531" fmla="*/ 78554 h 269321"/>
                <a:gd name="connsiteX532" fmla="*/ 5256 w 316622"/>
                <a:gd name="connsiteY532" fmla="*/ 78421 h 269321"/>
                <a:gd name="connsiteX533" fmla="*/ 3931 w 316622"/>
                <a:gd name="connsiteY533" fmla="*/ 78840 h 269321"/>
                <a:gd name="connsiteX534" fmla="*/ 954 w 316622"/>
                <a:gd name="connsiteY534" fmla="*/ 78681 h 269321"/>
                <a:gd name="connsiteX535" fmla="*/ 309 w 316622"/>
                <a:gd name="connsiteY535" fmla="*/ 77352 h 269321"/>
                <a:gd name="connsiteX536" fmla="*/ 0 w 316622"/>
                <a:gd name="connsiteY536" fmla="*/ 76212 h 269321"/>
                <a:gd name="connsiteX537" fmla="*/ 923 w 316622"/>
                <a:gd name="connsiteY537" fmla="*/ 73668 h 269321"/>
                <a:gd name="connsiteX538" fmla="*/ 5115 w 316622"/>
                <a:gd name="connsiteY538" fmla="*/ 71394 h 269321"/>
                <a:gd name="connsiteX539" fmla="*/ 15558 w 316622"/>
                <a:gd name="connsiteY539" fmla="*/ 68905 h 269321"/>
                <a:gd name="connsiteX540" fmla="*/ 20052 w 316622"/>
                <a:gd name="connsiteY540" fmla="*/ 69269 h 269321"/>
                <a:gd name="connsiteX541" fmla="*/ 23167 w 316622"/>
                <a:gd name="connsiteY541" fmla="*/ 68821 h 269321"/>
                <a:gd name="connsiteX542" fmla="*/ 26900 w 316622"/>
                <a:gd name="connsiteY542" fmla="*/ 67251 h 269321"/>
                <a:gd name="connsiteX543" fmla="*/ 28547 w 316622"/>
                <a:gd name="connsiteY543" fmla="*/ 65905 h 269321"/>
                <a:gd name="connsiteX544" fmla="*/ 33855 w 316622"/>
                <a:gd name="connsiteY544" fmla="*/ 65112 h 269321"/>
                <a:gd name="connsiteX545" fmla="*/ 38901 w 316622"/>
                <a:gd name="connsiteY545" fmla="*/ 66540 h 269321"/>
                <a:gd name="connsiteX546" fmla="*/ 43553 w 316622"/>
                <a:gd name="connsiteY546" fmla="*/ 71931 h 269321"/>
                <a:gd name="connsiteX547" fmla="*/ 45776 w 316622"/>
                <a:gd name="connsiteY547" fmla="*/ 73755 h 269321"/>
                <a:gd name="connsiteX548" fmla="*/ 51219 w 316622"/>
                <a:gd name="connsiteY548" fmla="*/ 70589 h 269321"/>
                <a:gd name="connsiteX549" fmla="*/ 59328 w 316622"/>
                <a:gd name="connsiteY549" fmla="*/ 70682 h 269321"/>
                <a:gd name="connsiteX550" fmla="*/ 61003 w 316622"/>
                <a:gd name="connsiteY550" fmla="*/ 72470 h 269321"/>
                <a:gd name="connsiteX551" fmla="*/ 61679 w 316622"/>
                <a:gd name="connsiteY551" fmla="*/ 70964 h 269321"/>
                <a:gd name="connsiteX552" fmla="*/ 63170 w 316622"/>
                <a:gd name="connsiteY552" fmla="*/ 69201 h 269321"/>
                <a:gd name="connsiteX553" fmla="*/ 64359 w 316622"/>
                <a:gd name="connsiteY553" fmla="*/ 70005 h 269321"/>
                <a:gd name="connsiteX554" fmla="*/ 64961 w 316622"/>
                <a:gd name="connsiteY554" fmla="*/ 71094 h 269321"/>
                <a:gd name="connsiteX555" fmla="*/ 73520 w 316622"/>
                <a:gd name="connsiteY555" fmla="*/ 70785 h 269321"/>
                <a:gd name="connsiteX556" fmla="*/ 74872 w 316622"/>
                <a:gd name="connsiteY556" fmla="*/ 70467 h 269321"/>
                <a:gd name="connsiteX557" fmla="*/ 72573 w 316622"/>
                <a:gd name="connsiteY557" fmla="*/ 69187 h 269321"/>
                <a:gd name="connsiteX558" fmla="*/ 70693 w 316622"/>
                <a:gd name="connsiteY558" fmla="*/ 66117 h 269321"/>
                <a:gd name="connsiteX559" fmla="*/ 70303 w 316622"/>
                <a:gd name="connsiteY559" fmla="*/ 54792 h 269321"/>
                <a:gd name="connsiteX560" fmla="*/ 67932 w 316622"/>
                <a:gd name="connsiteY560" fmla="*/ 51621 h 269321"/>
                <a:gd name="connsiteX561" fmla="*/ 65210 w 316622"/>
                <a:gd name="connsiteY561" fmla="*/ 46549 h 269321"/>
                <a:gd name="connsiteX562" fmla="*/ 63958 w 316622"/>
                <a:gd name="connsiteY562" fmla="*/ 43535 h 269321"/>
                <a:gd name="connsiteX563" fmla="*/ 63840 w 316622"/>
                <a:gd name="connsiteY563" fmla="*/ 42492 h 269321"/>
                <a:gd name="connsiteX564" fmla="*/ 64259 w 316622"/>
                <a:gd name="connsiteY564" fmla="*/ 40986 h 269321"/>
                <a:gd name="connsiteX565" fmla="*/ 67605 w 316622"/>
                <a:gd name="connsiteY565" fmla="*/ 41067 h 269321"/>
                <a:gd name="connsiteX566" fmla="*/ 70190 w 316622"/>
                <a:gd name="connsiteY566" fmla="*/ 41449 h 269321"/>
                <a:gd name="connsiteX567" fmla="*/ 75110 w 316622"/>
                <a:gd name="connsiteY567" fmla="*/ 40310 h 269321"/>
                <a:gd name="connsiteX568" fmla="*/ 77478 w 316622"/>
                <a:gd name="connsiteY568" fmla="*/ 41090 h 269321"/>
                <a:gd name="connsiteX569" fmla="*/ 77338 w 316622"/>
                <a:gd name="connsiteY569" fmla="*/ 43445 h 269321"/>
                <a:gd name="connsiteX570" fmla="*/ 78061 w 316622"/>
                <a:gd name="connsiteY570" fmla="*/ 46413 h 269321"/>
                <a:gd name="connsiteX571" fmla="*/ 78886 w 316622"/>
                <a:gd name="connsiteY571" fmla="*/ 47849 h 269321"/>
                <a:gd name="connsiteX572" fmla="*/ 80134 w 316622"/>
                <a:gd name="connsiteY572" fmla="*/ 49481 h 269321"/>
                <a:gd name="connsiteX573" fmla="*/ 84100 w 316622"/>
                <a:gd name="connsiteY573" fmla="*/ 49330 h 269321"/>
                <a:gd name="connsiteX574" fmla="*/ 88382 w 316622"/>
                <a:gd name="connsiteY574" fmla="*/ 50289 h 269321"/>
                <a:gd name="connsiteX575" fmla="*/ 93791 w 316622"/>
                <a:gd name="connsiteY575" fmla="*/ 50437 h 269321"/>
                <a:gd name="connsiteX576" fmla="*/ 101694 w 316622"/>
                <a:gd name="connsiteY576" fmla="*/ 52091 h 269321"/>
                <a:gd name="connsiteX577" fmla="*/ 105062 w 316622"/>
                <a:gd name="connsiteY577" fmla="*/ 51133 h 269321"/>
                <a:gd name="connsiteX578" fmla="*/ 108319 w 316622"/>
                <a:gd name="connsiteY578" fmla="*/ 49091 h 269321"/>
                <a:gd name="connsiteX579" fmla="*/ 114527 w 316622"/>
                <a:gd name="connsiteY579" fmla="*/ 47747 h 269321"/>
                <a:gd name="connsiteX580" fmla="*/ 115022 w 316622"/>
                <a:gd name="connsiteY580" fmla="*/ 47035 h 269321"/>
                <a:gd name="connsiteX581" fmla="*/ 111448 w 316622"/>
                <a:gd name="connsiteY581" fmla="*/ 47319 h 269321"/>
                <a:gd name="connsiteX582" fmla="*/ 108170 w 316622"/>
                <a:gd name="connsiteY582" fmla="*/ 46023 h 269321"/>
                <a:gd name="connsiteX583" fmla="*/ 107728 w 316622"/>
                <a:gd name="connsiteY583" fmla="*/ 44615 h 269321"/>
                <a:gd name="connsiteX584" fmla="*/ 108107 w 316622"/>
                <a:gd name="connsiteY584" fmla="*/ 43349 h 269321"/>
                <a:gd name="connsiteX585" fmla="*/ 109438 w 316622"/>
                <a:gd name="connsiteY585" fmla="*/ 40433 h 269321"/>
                <a:gd name="connsiteX586" fmla="*/ 118935 w 316622"/>
                <a:gd name="connsiteY586" fmla="*/ 35828 h 269321"/>
                <a:gd name="connsiteX587" fmla="*/ 125743 w 316622"/>
                <a:gd name="connsiteY587" fmla="*/ 34466 h 269321"/>
                <a:gd name="connsiteX588" fmla="*/ 132850 w 316622"/>
                <a:gd name="connsiteY588" fmla="*/ 31926 h 269321"/>
                <a:gd name="connsiteX589" fmla="*/ 136426 w 316622"/>
                <a:gd name="connsiteY589" fmla="*/ 29319 h 269321"/>
                <a:gd name="connsiteX590" fmla="*/ 138788 w 316622"/>
                <a:gd name="connsiteY590" fmla="*/ 25948 h 269321"/>
                <a:gd name="connsiteX591" fmla="*/ 139548 w 316622"/>
                <a:gd name="connsiteY591" fmla="*/ 25207 h 269321"/>
                <a:gd name="connsiteX592" fmla="*/ 140529 w 316622"/>
                <a:gd name="connsiteY592" fmla="*/ 24585 h 269321"/>
                <a:gd name="connsiteX593" fmla="*/ 139617 w 316622"/>
                <a:gd name="connsiteY593" fmla="*/ 23376 h 269321"/>
                <a:gd name="connsiteX594" fmla="*/ 140235 w 316622"/>
                <a:gd name="connsiteY594" fmla="*/ 10443 h 269321"/>
                <a:gd name="connsiteX595" fmla="*/ 140900 w 316622"/>
                <a:gd name="connsiteY595" fmla="*/ 8106 h 269321"/>
                <a:gd name="connsiteX596" fmla="*/ 142286 w 316622"/>
                <a:gd name="connsiteY596" fmla="*/ 6195 h 269321"/>
                <a:gd name="connsiteX597" fmla="*/ 144396 w 316622"/>
                <a:gd name="connsiteY597" fmla="*/ 4716 h 269321"/>
                <a:gd name="connsiteX598" fmla="*/ 147598 w 316622"/>
                <a:gd name="connsiteY598" fmla="*/ 3112 h 269321"/>
                <a:gd name="connsiteX599" fmla="*/ 159389 w 316622"/>
                <a:gd name="connsiteY599" fmla="*/ 895 h 269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</a:cxnLst>
              <a:rect l="l" t="t" r="r" b="b"/>
              <a:pathLst>
                <a:path w="316622" h="269321">
                  <a:moveTo>
                    <a:pt x="313500" y="225790"/>
                  </a:moveTo>
                  <a:lnTo>
                    <a:pt x="314562" y="226875"/>
                  </a:lnTo>
                  <a:lnTo>
                    <a:pt x="314508" y="227834"/>
                  </a:lnTo>
                  <a:lnTo>
                    <a:pt x="314901" y="230102"/>
                  </a:lnTo>
                  <a:lnTo>
                    <a:pt x="314940" y="231576"/>
                  </a:lnTo>
                  <a:lnTo>
                    <a:pt x="314361" y="235501"/>
                  </a:lnTo>
                  <a:lnTo>
                    <a:pt x="314782" y="236649"/>
                  </a:lnTo>
                  <a:lnTo>
                    <a:pt x="315581" y="237450"/>
                  </a:lnTo>
                  <a:lnTo>
                    <a:pt x="315953" y="238329"/>
                  </a:lnTo>
                  <a:lnTo>
                    <a:pt x="316622" y="248763"/>
                  </a:lnTo>
                  <a:lnTo>
                    <a:pt x="316495" y="249592"/>
                  </a:lnTo>
                  <a:lnTo>
                    <a:pt x="313791" y="253771"/>
                  </a:lnTo>
                  <a:lnTo>
                    <a:pt x="313182" y="254996"/>
                  </a:lnTo>
                  <a:lnTo>
                    <a:pt x="313048" y="260165"/>
                  </a:lnTo>
                  <a:lnTo>
                    <a:pt x="312593" y="261552"/>
                  </a:lnTo>
                  <a:lnTo>
                    <a:pt x="311634" y="262920"/>
                  </a:lnTo>
                  <a:lnTo>
                    <a:pt x="309922" y="267337"/>
                  </a:lnTo>
                  <a:lnTo>
                    <a:pt x="308434" y="269321"/>
                  </a:lnTo>
                  <a:lnTo>
                    <a:pt x="304385" y="266901"/>
                  </a:lnTo>
                  <a:lnTo>
                    <a:pt x="301997" y="265854"/>
                  </a:lnTo>
                  <a:lnTo>
                    <a:pt x="300826" y="264725"/>
                  </a:lnTo>
                  <a:lnTo>
                    <a:pt x="300062" y="263945"/>
                  </a:lnTo>
                  <a:lnTo>
                    <a:pt x="300554" y="262905"/>
                  </a:lnTo>
                  <a:lnTo>
                    <a:pt x="301643" y="261824"/>
                  </a:lnTo>
                  <a:lnTo>
                    <a:pt x="301815" y="260973"/>
                  </a:lnTo>
                  <a:lnTo>
                    <a:pt x="299254" y="260009"/>
                  </a:lnTo>
                  <a:lnTo>
                    <a:pt x="298082" y="259365"/>
                  </a:lnTo>
                  <a:lnTo>
                    <a:pt x="298097" y="258237"/>
                  </a:lnTo>
                  <a:lnTo>
                    <a:pt x="298982" y="256476"/>
                  </a:lnTo>
                  <a:lnTo>
                    <a:pt x="298578" y="255025"/>
                  </a:lnTo>
                  <a:lnTo>
                    <a:pt x="297101" y="255099"/>
                  </a:lnTo>
                  <a:lnTo>
                    <a:pt x="295957" y="254877"/>
                  </a:lnTo>
                  <a:lnTo>
                    <a:pt x="295808" y="254123"/>
                  </a:lnTo>
                  <a:lnTo>
                    <a:pt x="296654" y="253156"/>
                  </a:lnTo>
                  <a:lnTo>
                    <a:pt x="297740" y="251893"/>
                  </a:lnTo>
                  <a:lnTo>
                    <a:pt x="297706" y="250499"/>
                  </a:lnTo>
                  <a:lnTo>
                    <a:pt x="296393" y="249898"/>
                  </a:lnTo>
                  <a:lnTo>
                    <a:pt x="295203" y="248765"/>
                  </a:lnTo>
                  <a:lnTo>
                    <a:pt x="294726" y="247224"/>
                  </a:lnTo>
                  <a:lnTo>
                    <a:pt x="295648" y="246169"/>
                  </a:lnTo>
                  <a:lnTo>
                    <a:pt x="297142" y="245488"/>
                  </a:lnTo>
                  <a:lnTo>
                    <a:pt x="296045" y="243907"/>
                  </a:lnTo>
                  <a:lnTo>
                    <a:pt x="295305" y="243872"/>
                  </a:lnTo>
                  <a:lnTo>
                    <a:pt x="294713" y="243526"/>
                  </a:lnTo>
                  <a:lnTo>
                    <a:pt x="295197" y="242791"/>
                  </a:lnTo>
                  <a:lnTo>
                    <a:pt x="296358" y="241692"/>
                  </a:lnTo>
                  <a:lnTo>
                    <a:pt x="297974" y="238406"/>
                  </a:lnTo>
                  <a:lnTo>
                    <a:pt x="300224" y="236854"/>
                  </a:lnTo>
                  <a:lnTo>
                    <a:pt x="304206" y="235855"/>
                  </a:lnTo>
                  <a:lnTo>
                    <a:pt x="305283" y="235418"/>
                  </a:lnTo>
                  <a:lnTo>
                    <a:pt x="306272" y="234261"/>
                  </a:lnTo>
                  <a:lnTo>
                    <a:pt x="307367" y="233515"/>
                  </a:lnTo>
                  <a:lnTo>
                    <a:pt x="308697" y="233614"/>
                  </a:lnTo>
                  <a:lnTo>
                    <a:pt x="309924" y="234061"/>
                  </a:lnTo>
                  <a:lnTo>
                    <a:pt x="310680" y="234537"/>
                  </a:lnTo>
                  <a:lnTo>
                    <a:pt x="311247" y="234042"/>
                  </a:lnTo>
                  <a:lnTo>
                    <a:pt x="311800" y="232606"/>
                  </a:lnTo>
                  <a:lnTo>
                    <a:pt x="311461" y="231344"/>
                  </a:lnTo>
                  <a:lnTo>
                    <a:pt x="311636" y="227872"/>
                  </a:lnTo>
                  <a:lnTo>
                    <a:pt x="312349" y="225900"/>
                  </a:lnTo>
                  <a:close/>
                  <a:moveTo>
                    <a:pt x="74603" y="143377"/>
                  </a:moveTo>
                  <a:lnTo>
                    <a:pt x="76893" y="144695"/>
                  </a:lnTo>
                  <a:lnTo>
                    <a:pt x="79254" y="147418"/>
                  </a:lnTo>
                  <a:lnTo>
                    <a:pt x="78474" y="149829"/>
                  </a:lnTo>
                  <a:lnTo>
                    <a:pt x="76999" y="147609"/>
                  </a:lnTo>
                  <a:lnTo>
                    <a:pt x="75044" y="145662"/>
                  </a:lnTo>
                  <a:lnTo>
                    <a:pt x="74598" y="143859"/>
                  </a:lnTo>
                  <a:close/>
                  <a:moveTo>
                    <a:pt x="161140" y="0"/>
                  </a:moveTo>
                  <a:lnTo>
                    <a:pt x="161386" y="1392"/>
                  </a:lnTo>
                  <a:lnTo>
                    <a:pt x="162243" y="3172"/>
                  </a:lnTo>
                  <a:lnTo>
                    <a:pt x="162833" y="4145"/>
                  </a:lnTo>
                  <a:lnTo>
                    <a:pt x="162343" y="5415"/>
                  </a:lnTo>
                  <a:lnTo>
                    <a:pt x="162729" y="6460"/>
                  </a:lnTo>
                  <a:lnTo>
                    <a:pt x="164329" y="8341"/>
                  </a:lnTo>
                  <a:lnTo>
                    <a:pt x="166324" y="10112"/>
                  </a:lnTo>
                  <a:lnTo>
                    <a:pt x="168102" y="11243"/>
                  </a:lnTo>
                  <a:lnTo>
                    <a:pt x="168603" y="11120"/>
                  </a:lnTo>
                  <a:lnTo>
                    <a:pt x="169920" y="10798"/>
                  </a:lnTo>
                  <a:lnTo>
                    <a:pt x="172150" y="9638"/>
                  </a:lnTo>
                  <a:lnTo>
                    <a:pt x="174008" y="9273"/>
                  </a:lnTo>
                  <a:lnTo>
                    <a:pt x="175070" y="10162"/>
                  </a:lnTo>
                  <a:lnTo>
                    <a:pt x="175670" y="10663"/>
                  </a:lnTo>
                  <a:lnTo>
                    <a:pt x="176841" y="12664"/>
                  </a:lnTo>
                  <a:lnTo>
                    <a:pt x="177169" y="14752"/>
                  </a:lnTo>
                  <a:lnTo>
                    <a:pt x="177689" y="16484"/>
                  </a:lnTo>
                  <a:lnTo>
                    <a:pt x="178637" y="17186"/>
                  </a:lnTo>
                  <a:lnTo>
                    <a:pt x="182192" y="17416"/>
                  </a:lnTo>
                  <a:lnTo>
                    <a:pt x="184811" y="18058"/>
                  </a:lnTo>
                  <a:lnTo>
                    <a:pt x="185504" y="18639"/>
                  </a:lnTo>
                  <a:lnTo>
                    <a:pt x="186400" y="22482"/>
                  </a:lnTo>
                  <a:lnTo>
                    <a:pt x="186888" y="23025"/>
                  </a:lnTo>
                  <a:lnTo>
                    <a:pt x="187541" y="22572"/>
                  </a:lnTo>
                  <a:lnTo>
                    <a:pt x="188186" y="21940"/>
                  </a:lnTo>
                  <a:lnTo>
                    <a:pt x="189082" y="21839"/>
                  </a:lnTo>
                  <a:lnTo>
                    <a:pt x="190620" y="22083"/>
                  </a:lnTo>
                  <a:lnTo>
                    <a:pt x="192645" y="22159"/>
                  </a:lnTo>
                  <a:lnTo>
                    <a:pt x="194734" y="22582"/>
                  </a:lnTo>
                  <a:lnTo>
                    <a:pt x="197618" y="24750"/>
                  </a:lnTo>
                  <a:lnTo>
                    <a:pt x="197508" y="25465"/>
                  </a:lnTo>
                  <a:lnTo>
                    <a:pt x="196945" y="26720"/>
                  </a:lnTo>
                  <a:lnTo>
                    <a:pt x="196748" y="27721"/>
                  </a:lnTo>
                  <a:lnTo>
                    <a:pt x="197245" y="28123"/>
                  </a:lnTo>
                  <a:lnTo>
                    <a:pt x="198007" y="29156"/>
                  </a:lnTo>
                  <a:lnTo>
                    <a:pt x="197824" y="30350"/>
                  </a:lnTo>
                  <a:lnTo>
                    <a:pt x="197081" y="31186"/>
                  </a:lnTo>
                  <a:lnTo>
                    <a:pt x="196783" y="31875"/>
                  </a:lnTo>
                  <a:lnTo>
                    <a:pt x="196787" y="32323"/>
                  </a:lnTo>
                  <a:lnTo>
                    <a:pt x="197059" y="32695"/>
                  </a:lnTo>
                  <a:lnTo>
                    <a:pt x="197651" y="33022"/>
                  </a:lnTo>
                  <a:lnTo>
                    <a:pt x="201911" y="33463"/>
                  </a:lnTo>
                  <a:lnTo>
                    <a:pt x="205809" y="33022"/>
                  </a:lnTo>
                  <a:lnTo>
                    <a:pt x="208266" y="31805"/>
                  </a:lnTo>
                  <a:lnTo>
                    <a:pt x="208685" y="30522"/>
                  </a:lnTo>
                  <a:lnTo>
                    <a:pt x="209383" y="29072"/>
                  </a:lnTo>
                  <a:lnTo>
                    <a:pt x="210847" y="27858"/>
                  </a:lnTo>
                  <a:lnTo>
                    <a:pt x="211860" y="27450"/>
                  </a:lnTo>
                  <a:lnTo>
                    <a:pt x="212786" y="27950"/>
                  </a:lnTo>
                  <a:lnTo>
                    <a:pt x="211227" y="33042"/>
                  </a:lnTo>
                  <a:lnTo>
                    <a:pt x="212365" y="34342"/>
                  </a:lnTo>
                  <a:lnTo>
                    <a:pt x="212533" y="36284"/>
                  </a:lnTo>
                  <a:lnTo>
                    <a:pt x="212941" y="37983"/>
                  </a:lnTo>
                  <a:lnTo>
                    <a:pt x="214334" y="37951"/>
                  </a:lnTo>
                  <a:lnTo>
                    <a:pt x="216023" y="38265"/>
                  </a:lnTo>
                  <a:lnTo>
                    <a:pt x="217219" y="38893"/>
                  </a:lnTo>
                  <a:lnTo>
                    <a:pt x="218614" y="39902"/>
                  </a:lnTo>
                  <a:lnTo>
                    <a:pt x="220625" y="40829"/>
                  </a:lnTo>
                  <a:lnTo>
                    <a:pt x="222035" y="41155"/>
                  </a:lnTo>
                  <a:lnTo>
                    <a:pt x="222546" y="41929"/>
                  </a:lnTo>
                  <a:lnTo>
                    <a:pt x="223686" y="42825"/>
                  </a:lnTo>
                  <a:lnTo>
                    <a:pt x="225481" y="44702"/>
                  </a:lnTo>
                  <a:lnTo>
                    <a:pt x="227087" y="45954"/>
                  </a:lnTo>
                  <a:lnTo>
                    <a:pt x="227863" y="45949"/>
                  </a:lnTo>
                  <a:lnTo>
                    <a:pt x="229359" y="45456"/>
                  </a:lnTo>
                  <a:lnTo>
                    <a:pt x="231579" y="45140"/>
                  </a:lnTo>
                  <a:lnTo>
                    <a:pt x="233332" y="45167"/>
                  </a:lnTo>
                  <a:lnTo>
                    <a:pt x="234078" y="46120"/>
                  </a:lnTo>
                  <a:lnTo>
                    <a:pt x="235801" y="46560"/>
                  </a:lnTo>
                  <a:lnTo>
                    <a:pt x="236410" y="46910"/>
                  </a:lnTo>
                  <a:lnTo>
                    <a:pt x="237086" y="47567"/>
                  </a:lnTo>
                  <a:lnTo>
                    <a:pt x="238234" y="47831"/>
                  </a:lnTo>
                  <a:lnTo>
                    <a:pt x="239621" y="47567"/>
                  </a:lnTo>
                  <a:lnTo>
                    <a:pt x="240633" y="46690"/>
                  </a:lnTo>
                  <a:lnTo>
                    <a:pt x="241985" y="46297"/>
                  </a:lnTo>
                  <a:lnTo>
                    <a:pt x="243337" y="46428"/>
                  </a:lnTo>
                  <a:lnTo>
                    <a:pt x="244114" y="46910"/>
                  </a:lnTo>
                  <a:lnTo>
                    <a:pt x="245596" y="47622"/>
                  </a:lnTo>
                  <a:lnTo>
                    <a:pt x="246434" y="47467"/>
                  </a:lnTo>
                  <a:lnTo>
                    <a:pt x="248111" y="47905"/>
                  </a:lnTo>
                  <a:lnTo>
                    <a:pt x="249796" y="49287"/>
                  </a:lnTo>
                  <a:lnTo>
                    <a:pt x="250504" y="50676"/>
                  </a:lnTo>
                  <a:lnTo>
                    <a:pt x="250689" y="51435"/>
                  </a:lnTo>
                  <a:lnTo>
                    <a:pt x="251417" y="52260"/>
                  </a:lnTo>
                  <a:lnTo>
                    <a:pt x="254244" y="55987"/>
                  </a:lnTo>
                  <a:lnTo>
                    <a:pt x="255147" y="56171"/>
                  </a:lnTo>
                  <a:lnTo>
                    <a:pt x="256129" y="55606"/>
                  </a:lnTo>
                  <a:lnTo>
                    <a:pt x="256766" y="54805"/>
                  </a:lnTo>
                  <a:lnTo>
                    <a:pt x="257688" y="54645"/>
                  </a:lnTo>
                  <a:lnTo>
                    <a:pt x="259172" y="55014"/>
                  </a:lnTo>
                  <a:lnTo>
                    <a:pt x="260126" y="55436"/>
                  </a:lnTo>
                  <a:lnTo>
                    <a:pt x="260584" y="57049"/>
                  </a:lnTo>
                  <a:lnTo>
                    <a:pt x="260906" y="57356"/>
                  </a:lnTo>
                  <a:lnTo>
                    <a:pt x="261547" y="57009"/>
                  </a:lnTo>
                  <a:lnTo>
                    <a:pt x="262690" y="56932"/>
                  </a:lnTo>
                  <a:lnTo>
                    <a:pt x="264514" y="57330"/>
                  </a:lnTo>
                  <a:lnTo>
                    <a:pt x="267023" y="56875"/>
                  </a:lnTo>
                  <a:lnTo>
                    <a:pt x="269031" y="56202"/>
                  </a:lnTo>
                  <a:lnTo>
                    <a:pt x="270057" y="56227"/>
                  </a:lnTo>
                  <a:lnTo>
                    <a:pt x="271713" y="58108"/>
                  </a:lnTo>
                  <a:lnTo>
                    <a:pt x="273603" y="58811"/>
                  </a:lnTo>
                  <a:lnTo>
                    <a:pt x="277766" y="59378"/>
                  </a:lnTo>
                  <a:lnTo>
                    <a:pt x="282234" y="60262"/>
                  </a:lnTo>
                  <a:lnTo>
                    <a:pt x="283989" y="60976"/>
                  </a:lnTo>
                  <a:lnTo>
                    <a:pt x="285188" y="61327"/>
                  </a:lnTo>
                  <a:lnTo>
                    <a:pt x="285309" y="63812"/>
                  </a:lnTo>
                  <a:lnTo>
                    <a:pt x="284948" y="64187"/>
                  </a:lnTo>
                  <a:lnTo>
                    <a:pt x="280498" y="69161"/>
                  </a:lnTo>
                  <a:lnTo>
                    <a:pt x="278623" y="70938"/>
                  </a:lnTo>
                  <a:lnTo>
                    <a:pt x="277669" y="73471"/>
                  </a:lnTo>
                  <a:lnTo>
                    <a:pt x="277013" y="77352"/>
                  </a:lnTo>
                  <a:lnTo>
                    <a:pt x="275698" y="81034"/>
                  </a:lnTo>
                  <a:lnTo>
                    <a:pt x="273728" y="84519"/>
                  </a:lnTo>
                  <a:lnTo>
                    <a:pt x="273011" y="87132"/>
                  </a:lnTo>
                  <a:lnTo>
                    <a:pt x="273549" y="88874"/>
                  </a:lnTo>
                  <a:lnTo>
                    <a:pt x="273212" y="91607"/>
                  </a:lnTo>
                  <a:lnTo>
                    <a:pt x="272003" y="95326"/>
                  </a:lnTo>
                  <a:lnTo>
                    <a:pt x="271800" y="98132"/>
                  </a:lnTo>
                  <a:lnTo>
                    <a:pt x="272597" y="100025"/>
                  </a:lnTo>
                  <a:lnTo>
                    <a:pt x="273707" y="100413"/>
                  </a:lnTo>
                  <a:lnTo>
                    <a:pt x="271037" y="101687"/>
                  </a:lnTo>
                  <a:lnTo>
                    <a:pt x="270429" y="102801"/>
                  </a:lnTo>
                  <a:lnTo>
                    <a:pt x="269381" y="104274"/>
                  </a:lnTo>
                  <a:lnTo>
                    <a:pt x="267682" y="104893"/>
                  </a:lnTo>
                  <a:lnTo>
                    <a:pt x="265970" y="105098"/>
                  </a:lnTo>
                  <a:lnTo>
                    <a:pt x="264585" y="104903"/>
                  </a:lnTo>
                  <a:lnTo>
                    <a:pt x="263797" y="104315"/>
                  </a:lnTo>
                  <a:lnTo>
                    <a:pt x="263836" y="103767"/>
                  </a:lnTo>
                  <a:lnTo>
                    <a:pt x="263102" y="103301"/>
                  </a:lnTo>
                  <a:lnTo>
                    <a:pt x="261275" y="103315"/>
                  </a:lnTo>
                  <a:lnTo>
                    <a:pt x="259394" y="104328"/>
                  </a:lnTo>
                  <a:lnTo>
                    <a:pt x="257891" y="105982"/>
                  </a:lnTo>
                  <a:lnTo>
                    <a:pt x="258358" y="106907"/>
                  </a:lnTo>
                  <a:lnTo>
                    <a:pt x="259742" y="107151"/>
                  </a:lnTo>
                  <a:lnTo>
                    <a:pt x="260107" y="107517"/>
                  </a:lnTo>
                  <a:lnTo>
                    <a:pt x="260107" y="107992"/>
                  </a:lnTo>
                  <a:lnTo>
                    <a:pt x="259619" y="108564"/>
                  </a:lnTo>
                  <a:lnTo>
                    <a:pt x="259034" y="109541"/>
                  </a:lnTo>
                  <a:lnTo>
                    <a:pt x="256129" y="112450"/>
                  </a:lnTo>
                  <a:lnTo>
                    <a:pt x="253197" y="115382"/>
                  </a:lnTo>
                  <a:lnTo>
                    <a:pt x="252728" y="116268"/>
                  </a:lnTo>
                  <a:lnTo>
                    <a:pt x="251798" y="116887"/>
                  </a:lnTo>
                  <a:lnTo>
                    <a:pt x="248070" y="118450"/>
                  </a:lnTo>
                  <a:lnTo>
                    <a:pt x="247680" y="119076"/>
                  </a:lnTo>
                  <a:lnTo>
                    <a:pt x="247468" y="121685"/>
                  </a:lnTo>
                  <a:lnTo>
                    <a:pt x="247051" y="123826"/>
                  </a:lnTo>
                  <a:lnTo>
                    <a:pt x="244287" y="125839"/>
                  </a:lnTo>
                  <a:lnTo>
                    <a:pt x="241536" y="127842"/>
                  </a:lnTo>
                  <a:lnTo>
                    <a:pt x="240849" y="129065"/>
                  </a:lnTo>
                  <a:lnTo>
                    <a:pt x="240348" y="130480"/>
                  </a:lnTo>
                  <a:lnTo>
                    <a:pt x="239485" y="132076"/>
                  </a:lnTo>
                  <a:lnTo>
                    <a:pt x="239314" y="132919"/>
                  </a:lnTo>
                  <a:lnTo>
                    <a:pt x="240707" y="134293"/>
                  </a:lnTo>
                  <a:lnTo>
                    <a:pt x="240545" y="135429"/>
                  </a:lnTo>
                  <a:lnTo>
                    <a:pt x="240102" y="137043"/>
                  </a:lnTo>
                  <a:lnTo>
                    <a:pt x="238780" y="138186"/>
                  </a:lnTo>
                  <a:lnTo>
                    <a:pt x="237319" y="138834"/>
                  </a:lnTo>
                  <a:lnTo>
                    <a:pt x="237351" y="140590"/>
                  </a:lnTo>
                  <a:lnTo>
                    <a:pt x="238129" y="140836"/>
                  </a:lnTo>
                  <a:lnTo>
                    <a:pt x="239897" y="140706"/>
                  </a:lnTo>
                  <a:lnTo>
                    <a:pt x="242391" y="139432"/>
                  </a:lnTo>
                  <a:lnTo>
                    <a:pt x="244017" y="137794"/>
                  </a:lnTo>
                  <a:lnTo>
                    <a:pt x="243059" y="136238"/>
                  </a:lnTo>
                  <a:lnTo>
                    <a:pt x="242940" y="135933"/>
                  </a:lnTo>
                  <a:lnTo>
                    <a:pt x="243171" y="135568"/>
                  </a:lnTo>
                  <a:lnTo>
                    <a:pt x="245099" y="133875"/>
                  </a:lnTo>
                  <a:lnTo>
                    <a:pt x="247466" y="132854"/>
                  </a:lnTo>
                  <a:lnTo>
                    <a:pt x="250767" y="132664"/>
                  </a:lnTo>
                  <a:lnTo>
                    <a:pt x="254745" y="133263"/>
                  </a:lnTo>
                  <a:lnTo>
                    <a:pt x="255142" y="133516"/>
                  </a:lnTo>
                  <a:lnTo>
                    <a:pt x="254950" y="134554"/>
                  </a:lnTo>
                  <a:lnTo>
                    <a:pt x="255321" y="136085"/>
                  </a:lnTo>
                  <a:lnTo>
                    <a:pt x="256043" y="137159"/>
                  </a:lnTo>
                  <a:lnTo>
                    <a:pt x="255054" y="140205"/>
                  </a:lnTo>
                  <a:lnTo>
                    <a:pt x="255797" y="141159"/>
                  </a:lnTo>
                  <a:lnTo>
                    <a:pt x="256954" y="142299"/>
                  </a:lnTo>
                  <a:lnTo>
                    <a:pt x="257822" y="143340"/>
                  </a:lnTo>
                  <a:lnTo>
                    <a:pt x="259070" y="144296"/>
                  </a:lnTo>
                  <a:lnTo>
                    <a:pt x="260180" y="145906"/>
                  </a:lnTo>
                  <a:lnTo>
                    <a:pt x="260560" y="146818"/>
                  </a:lnTo>
                  <a:lnTo>
                    <a:pt x="258785" y="148402"/>
                  </a:lnTo>
                  <a:lnTo>
                    <a:pt x="255771" y="149886"/>
                  </a:lnTo>
                  <a:lnTo>
                    <a:pt x="255432" y="150836"/>
                  </a:lnTo>
                  <a:lnTo>
                    <a:pt x="255471" y="151916"/>
                  </a:lnTo>
                  <a:lnTo>
                    <a:pt x="255810" y="152765"/>
                  </a:lnTo>
                  <a:lnTo>
                    <a:pt x="257472" y="153857"/>
                  </a:lnTo>
                  <a:lnTo>
                    <a:pt x="259263" y="156327"/>
                  </a:lnTo>
                  <a:lnTo>
                    <a:pt x="260396" y="158528"/>
                  </a:lnTo>
                  <a:lnTo>
                    <a:pt x="262881" y="160637"/>
                  </a:lnTo>
                  <a:lnTo>
                    <a:pt x="263486" y="161261"/>
                  </a:lnTo>
                  <a:lnTo>
                    <a:pt x="263331" y="161788"/>
                  </a:lnTo>
                  <a:lnTo>
                    <a:pt x="262676" y="162686"/>
                  </a:lnTo>
                  <a:lnTo>
                    <a:pt x="261826" y="165676"/>
                  </a:lnTo>
                  <a:lnTo>
                    <a:pt x="260811" y="166151"/>
                  </a:lnTo>
                  <a:lnTo>
                    <a:pt x="259679" y="166344"/>
                  </a:lnTo>
                  <a:lnTo>
                    <a:pt x="256607" y="168532"/>
                  </a:lnTo>
                  <a:lnTo>
                    <a:pt x="255237" y="168267"/>
                  </a:lnTo>
                  <a:lnTo>
                    <a:pt x="253290" y="168295"/>
                  </a:lnTo>
                  <a:lnTo>
                    <a:pt x="251862" y="169016"/>
                  </a:lnTo>
                  <a:lnTo>
                    <a:pt x="252018" y="170378"/>
                  </a:lnTo>
                  <a:lnTo>
                    <a:pt x="253270" y="171624"/>
                  </a:lnTo>
                  <a:lnTo>
                    <a:pt x="254006" y="172980"/>
                  </a:lnTo>
                  <a:lnTo>
                    <a:pt x="254304" y="174390"/>
                  </a:lnTo>
                  <a:lnTo>
                    <a:pt x="255695" y="175434"/>
                  </a:lnTo>
                  <a:lnTo>
                    <a:pt x="257647" y="176058"/>
                  </a:lnTo>
                  <a:lnTo>
                    <a:pt x="258764" y="176100"/>
                  </a:lnTo>
                  <a:lnTo>
                    <a:pt x="259494" y="176475"/>
                  </a:lnTo>
                  <a:lnTo>
                    <a:pt x="259932" y="176958"/>
                  </a:lnTo>
                  <a:lnTo>
                    <a:pt x="260772" y="179974"/>
                  </a:lnTo>
                  <a:lnTo>
                    <a:pt x="260269" y="180730"/>
                  </a:lnTo>
                  <a:lnTo>
                    <a:pt x="259217" y="181052"/>
                  </a:lnTo>
                  <a:lnTo>
                    <a:pt x="258589" y="182291"/>
                  </a:lnTo>
                  <a:lnTo>
                    <a:pt x="257334" y="184118"/>
                  </a:lnTo>
                  <a:lnTo>
                    <a:pt x="256622" y="185583"/>
                  </a:lnTo>
                  <a:lnTo>
                    <a:pt x="257410" y="186872"/>
                  </a:lnTo>
                  <a:lnTo>
                    <a:pt x="257746" y="187826"/>
                  </a:lnTo>
                  <a:lnTo>
                    <a:pt x="257325" y="188808"/>
                  </a:lnTo>
                  <a:lnTo>
                    <a:pt x="257887" y="190337"/>
                  </a:lnTo>
                  <a:lnTo>
                    <a:pt x="259370" y="191849"/>
                  </a:lnTo>
                  <a:lnTo>
                    <a:pt x="263398" y="193974"/>
                  </a:lnTo>
                  <a:lnTo>
                    <a:pt x="267138" y="195701"/>
                  </a:lnTo>
                  <a:lnTo>
                    <a:pt x="268295" y="195988"/>
                  </a:lnTo>
                  <a:lnTo>
                    <a:pt x="273348" y="194877"/>
                  </a:lnTo>
                  <a:lnTo>
                    <a:pt x="274184" y="194973"/>
                  </a:lnTo>
                  <a:lnTo>
                    <a:pt x="274799" y="196296"/>
                  </a:lnTo>
                  <a:lnTo>
                    <a:pt x="275067" y="197186"/>
                  </a:lnTo>
                  <a:lnTo>
                    <a:pt x="274499" y="198527"/>
                  </a:lnTo>
                  <a:lnTo>
                    <a:pt x="273132" y="200372"/>
                  </a:lnTo>
                  <a:lnTo>
                    <a:pt x="271651" y="201842"/>
                  </a:lnTo>
                  <a:lnTo>
                    <a:pt x="270753" y="203091"/>
                  </a:lnTo>
                  <a:lnTo>
                    <a:pt x="270940" y="204224"/>
                  </a:lnTo>
                  <a:lnTo>
                    <a:pt x="270999" y="205731"/>
                  </a:lnTo>
                  <a:lnTo>
                    <a:pt x="269794" y="206182"/>
                  </a:lnTo>
                  <a:lnTo>
                    <a:pt x="269755" y="205884"/>
                  </a:lnTo>
                  <a:lnTo>
                    <a:pt x="269258" y="205630"/>
                  </a:lnTo>
                  <a:lnTo>
                    <a:pt x="268829" y="205780"/>
                  </a:lnTo>
                  <a:lnTo>
                    <a:pt x="268498" y="206107"/>
                  </a:lnTo>
                  <a:lnTo>
                    <a:pt x="268446" y="206687"/>
                  </a:lnTo>
                  <a:lnTo>
                    <a:pt x="265877" y="207649"/>
                  </a:lnTo>
                  <a:lnTo>
                    <a:pt x="264106" y="208646"/>
                  </a:lnTo>
                  <a:lnTo>
                    <a:pt x="257103" y="214594"/>
                  </a:lnTo>
                  <a:lnTo>
                    <a:pt x="253827" y="216336"/>
                  </a:lnTo>
                  <a:lnTo>
                    <a:pt x="253182" y="217385"/>
                  </a:lnTo>
                  <a:lnTo>
                    <a:pt x="252514" y="219345"/>
                  </a:lnTo>
                  <a:lnTo>
                    <a:pt x="250590" y="221026"/>
                  </a:lnTo>
                  <a:lnTo>
                    <a:pt x="248906" y="221825"/>
                  </a:lnTo>
                  <a:lnTo>
                    <a:pt x="244734" y="222646"/>
                  </a:lnTo>
                  <a:lnTo>
                    <a:pt x="240545" y="224426"/>
                  </a:lnTo>
                  <a:lnTo>
                    <a:pt x="238658" y="223659"/>
                  </a:lnTo>
                  <a:lnTo>
                    <a:pt x="233769" y="223741"/>
                  </a:lnTo>
                  <a:lnTo>
                    <a:pt x="230720" y="221596"/>
                  </a:lnTo>
                  <a:lnTo>
                    <a:pt x="224859" y="220235"/>
                  </a:lnTo>
                  <a:lnTo>
                    <a:pt x="222950" y="217107"/>
                  </a:lnTo>
                  <a:lnTo>
                    <a:pt x="220281" y="216904"/>
                  </a:lnTo>
                  <a:lnTo>
                    <a:pt x="218532" y="216998"/>
                  </a:lnTo>
                  <a:lnTo>
                    <a:pt x="217487" y="216524"/>
                  </a:lnTo>
                  <a:lnTo>
                    <a:pt x="217215" y="215456"/>
                  </a:lnTo>
                  <a:lnTo>
                    <a:pt x="217191" y="214427"/>
                  </a:lnTo>
                  <a:lnTo>
                    <a:pt x="215339" y="214901"/>
                  </a:lnTo>
                  <a:lnTo>
                    <a:pt x="213922" y="214901"/>
                  </a:lnTo>
                  <a:lnTo>
                    <a:pt x="213077" y="215313"/>
                  </a:lnTo>
                  <a:lnTo>
                    <a:pt x="212410" y="215789"/>
                  </a:lnTo>
                  <a:lnTo>
                    <a:pt x="211622" y="215485"/>
                  </a:lnTo>
                  <a:lnTo>
                    <a:pt x="211164" y="215587"/>
                  </a:lnTo>
                  <a:lnTo>
                    <a:pt x="211205" y="216193"/>
                  </a:lnTo>
                  <a:lnTo>
                    <a:pt x="209504" y="216344"/>
                  </a:lnTo>
                  <a:lnTo>
                    <a:pt x="207660" y="215973"/>
                  </a:lnTo>
                  <a:lnTo>
                    <a:pt x="202818" y="214355"/>
                  </a:lnTo>
                  <a:lnTo>
                    <a:pt x="202075" y="214108"/>
                  </a:lnTo>
                  <a:lnTo>
                    <a:pt x="198715" y="213482"/>
                  </a:lnTo>
                  <a:lnTo>
                    <a:pt x="197357" y="212836"/>
                  </a:lnTo>
                  <a:lnTo>
                    <a:pt x="196258" y="211236"/>
                  </a:lnTo>
                  <a:lnTo>
                    <a:pt x="195418" y="210730"/>
                  </a:lnTo>
                  <a:lnTo>
                    <a:pt x="194921" y="210427"/>
                  </a:lnTo>
                  <a:lnTo>
                    <a:pt x="191786" y="211235"/>
                  </a:lnTo>
                  <a:lnTo>
                    <a:pt x="190698" y="212494"/>
                  </a:lnTo>
                  <a:lnTo>
                    <a:pt x="188998" y="213967"/>
                  </a:lnTo>
                  <a:lnTo>
                    <a:pt x="177370" y="221183"/>
                  </a:lnTo>
                  <a:lnTo>
                    <a:pt x="175247" y="224201"/>
                  </a:lnTo>
                  <a:lnTo>
                    <a:pt x="172790" y="228639"/>
                  </a:lnTo>
                  <a:lnTo>
                    <a:pt x="172598" y="230707"/>
                  </a:lnTo>
                  <a:lnTo>
                    <a:pt x="173656" y="237309"/>
                  </a:lnTo>
                  <a:lnTo>
                    <a:pt x="176020" y="240769"/>
                  </a:lnTo>
                  <a:lnTo>
                    <a:pt x="176320" y="241569"/>
                  </a:lnTo>
                  <a:lnTo>
                    <a:pt x="175010" y="241573"/>
                  </a:lnTo>
                  <a:lnTo>
                    <a:pt x="172809" y="241141"/>
                  </a:lnTo>
                  <a:lnTo>
                    <a:pt x="170982" y="240607"/>
                  </a:lnTo>
                  <a:lnTo>
                    <a:pt x="169244" y="240905"/>
                  </a:lnTo>
                  <a:lnTo>
                    <a:pt x="167569" y="241620"/>
                  </a:lnTo>
                  <a:lnTo>
                    <a:pt x="166104" y="242052"/>
                  </a:lnTo>
                  <a:lnTo>
                    <a:pt x="165053" y="242173"/>
                  </a:lnTo>
                  <a:lnTo>
                    <a:pt x="164349" y="242585"/>
                  </a:lnTo>
                  <a:lnTo>
                    <a:pt x="164012" y="243409"/>
                  </a:lnTo>
                  <a:lnTo>
                    <a:pt x="163943" y="243985"/>
                  </a:lnTo>
                  <a:lnTo>
                    <a:pt x="162092" y="243843"/>
                  </a:lnTo>
                  <a:lnTo>
                    <a:pt x="157812" y="242658"/>
                  </a:lnTo>
                  <a:lnTo>
                    <a:pt x="153964" y="241841"/>
                  </a:lnTo>
                  <a:lnTo>
                    <a:pt x="151708" y="242770"/>
                  </a:lnTo>
                  <a:lnTo>
                    <a:pt x="150256" y="243638"/>
                  </a:lnTo>
                  <a:lnTo>
                    <a:pt x="149235" y="243505"/>
                  </a:lnTo>
                  <a:lnTo>
                    <a:pt x="148460" y="242592"/>
                  </a:lnTo>
                  <a:lnTo>
                    <a:pt x="147940" y="241698"/>
                  </a:lnTo>
                  <a:lnTo>
                    <a:pt x="146432" y="240878"/>
                  </a:lnTo>
                  <a:lnTo>
                    <a:pt x="143034" y="239645"/>
                  </a:lnTo>
                  <a:lnTo>
                    <a:pt x="143208" y="239050"/>
                  </a:lnTo>
                  <a:lnTo>
                    <a:pt x="143789" y="238220"/>
                  </a:lnTo>
                  <a:lnTo>
                    <a:pt x="143772" y="237708"/>
                  </a:lnTo>
                  <a:lnTo>
                    <a:pt x="143118" y="236947"/>
                  </a:lnTo>
                  <a:lnTo>
                    <a:pt x="139985" y="236130"/>
                  </a:lnTo>
                  <a:lnTo>
                    <a:pt x="138508" y="235924"/>
                  </a:lnTo>
                  <a:lnTo>
                    <a:pt x="137568" y="236486"/>
                  </a:lnTo>
                  <a:lnTo>
                    <a:pt x="136892" y="237174"/>
                  </a:lnTo>
                  <a:lnTo>
                    <a:pt x="135147" y="234643"/>
                  </a:lnTo>
                  <a:lnTo>
                    <a:pt x="133906" y="234128"/>
                  </a:lnTo>
                  <a:lnTo>
                    <a:pt x="132027" y="234043"/>
                  </a:lnTo>
                  <a:lnTo>
                    <a:pt x="129879" y="233270"/>
                  </a:lnTo>
                  <a:lnTo>
                    <a:pt x="127643" y="232283"/>
                  </a:lnTo>
                  <a:lnTo>
                    <a:pt x="122213" y="230703"/>
                  </a:lnTo>
                  <a:lnTo>
                    <a:pt x="120718" y="230514"/>
                  </a:lnTo>
                  <a:lnTo>
                    <a:pt x="120120" y="230764"/>
                  </a:lnTo>
                  <a:lnTo>
                    <a:pt x="119721" y="231709"/>
                  </a:lnTo>
                  <a:lnTo>
                    <a:pt x="119505" y="234377"/>
                  </a:lnTo>
                  <a:lnTo>
                    <a:pt x="119276" y="234672"/>
                  </a:lnTo>
                  <a:lnTo>
                    <a:pt x="116756" y="234761"/>
                  </a:lnTo>
                  <a:lnTo>
                    <a:pt x="113651" y="234390"/>
                  </a:lnTo>
                  <a:lnTo>
                    <a:pt x="112228" y="234574"/>
                  </a:lnTo>
                  <a:lnTo>
                    <a:pt x="110958" y="234583"/>
                  </a:lnTo>
                  <a:lnTo>
                    <a:pt x="109762" y="233877"/>
                  </a:lnTo>
                  <a:lnTo>
                    <a:pt x="104399" y="234685"/>
                  </a:lnTo>
                  <a:lnTo>
                    <a:pt x="103507" y="234291"/>
                  </a:lnTo>
                  <a:lnTo>
                    <a:pt x="102212" y="233086"/>
                  </a:lnTo>
                  <a:lnTo>
                    <a:pt x="100769" y="232114"/>
                  </a:lnTo>
                  <a:lnTo>
                    <a:pt x="99647" y="231615"/>
                  </a:lnTo>
                  <a:lnTo>
                    <a:pt x="98691" y="231043"/>
                  </a:lnTo>
                  <a:lnTo>
                    <a:pt x="97822" y="230950"/>
                  </a:lnTo>
                  <a:lnTo>
                    <a:pt x="96499" y="231504"/>
                  </a:lnTo>
                  <a:lnTo>
                    <a:pt x="94670" y="231739"/>
                  </a:lnTo>
                  <a:lnTo>
                    <a:pt x="93152" y="231667"/>
                  </a:lnTo>
                  <a:lnTo>
                    <a:pt x="92342" y="231748"/>
                  </a:lnTo>
                  <a:lnTo>
                    <a:pt x="88942" y="228789"/>
                  </a:lnTo>
                  <a:lnTo>
                    <a:pt x="88445" y="227979"/>
                  </a:lnTo>
                  <a:lnTo>
                    <a:pt x="86752" y="227754"/>
                  </a:lnTo>
                  <a:lnTo>
                    <a:pt x="84660" y="227718"/>
                  </a:lnTo>
                  <a:lnTo>
                    <a:pt x="79317" y="225799"/>
                  </a:lnTo>
                  <a:lnTo>
                    <a:pt x="76885" y="224768"/>
                  </a:lnTo>
                  <a:lnTo>
                    <a:pt x="76529" y="224155"/>
                  </a:lnTo>
                  <a:lnTo>
                    <a:pt x="76562" y="223659"/>
                  </a:lnTo>
                  <a:lnTo>
                    <a:pt x="76147" y="223766"/>
                  </a:lnTo>
                  <a:lnTo>
                    <a:pt x="75397" y="224643"/>
                  </a:lnTo>
                  <a:lnTo>
                    <a:pt x="75004" y="225358"/>
                  </a:lnTo>
                  <a:lnTo>
                    <a:pt x="74484" y="225492"/>
                  </a:lnTo>
                  <a:lnTo>
                    <a:pt x="73716" y="225381"/>
                  </a:lnTo>
                  <a:lnTo>
                    <a:pt x="73007" y="224978"/>
                  </a:lnTo>
                  <a:lnTo>
                    <a:pt x="72573" y="224459"/>
                  </a:lnTo>
                  <a:lnTo>
                    <a:pt x="73038" y="223551"/>
                  </a:lnTo>
                  <a:lnTo>
                    <a:pt x="73852" y="222367"/>
                  </a:lnTo>
                  <a:lnTo>
                    <a:pt x="74190" y="221078"/>
                  </a:lnTo>
                  <a:lnTo>
                    <a:pt x="74116" y="219924"/>
                  </a:lnTo>
                  <a:lnTo>
                    <a:pt x="72766" y="219183"/>
                  </a:lnTo>
                  <a:lnTo>
                    <a:pt x="70781" y="218874"/>
                  </a:lnTo>
                  <a:lnTo>
                    <a:pt x="69329" y="218786"/>
                  </a:lnTo>
                  <a:lnTo>
                    <a:pt x="67434" y="218126"/>
                  </a:lnTo>
                  <a:lnTo>
                    <a:pt x="66541" y="217650"/>
                  </a:lnTo>
                  <a:lnTo>
                    <a:pt x="65668" y="216364"/>
                  </a:lnTo>
                  <a:lnTo>
                    <a:pt x="65639" y="215428"/>
                  </a:lnTo>
                  <a:lnTo>
                    <a:pt x="69234" y="214602"/>
                  </a:lnTo>
                  <a:lnTo>
                    <a:pt x="72476" y="211216"/>
                  </a:lnTo>
                  <a:lnTo>
                    <a:pt x="75546" y="198890"/>
                  </a:lnTo>
                  <a:lnTo>
                    <a:pt x="77768" y="184245"/>
                  </a:lnTo>
                  <a:lnTo>
                    <a:pt x="79420" y="181469"/>
                  </a:lnTo>
                  <a:lnTo>
                    <a:pt x="81495" y="180706"/>
                  </a:lnTo>
                  <a:lnTo>
                    <a:pt x="79817" y="178684"/>
                  </a:lnTo>
                  <a:lnTo>
                    <a:pt x="78766" y="179708"/>
                  </a:lnTo>
                  <a:lnTo>
                    <a:pt x="78325" y="180794"/>
                  </a:lnTo>
                  <a:lnTo>
                    <a:pt x="77775" y="181336"/>
                  </a:lnTo>
                  <a:lnTo>
                    <a:pt x="79016" y="167825"/>
                  </a:lnTo>
                  <a:lnTo>
                    <a:pt x="79901" y="162861"/>
                  </a:lnTo>
                  <a:lnTo>
                    <a:pt x="81406" y="157650"/>
                  </a:lnTo>
                  <a:lnTo>
                    <a:pt x="84485" y="159720"/>
                  </a:lnTo>
                  <a:lnTo>
                    <a:pt x="87037" y="161817"/>
                  </a:lnTo>
                  <a:lnTo>
                    <a:pt x="88357" y="163636"/>
                  </a:lnTo>
                  <a:lnTo>
                    <a:pt x="90027" y="169686"/>
                  </a:lnTo>
                  <a:lnTo>
                    <a:pt x="91290" y="170954"/>
                  </a:lnTo>
                  <a:lnTo>
                    <a:pt x="93181" y="172226"/>
                  </a:lnTo>
                  <a:lnTo>
                    <a:pt x="92434" y="170837"/>
                  </a:lnTo>
                  <a:lnTo>
                    <a:pt x="91133" y="169776"/>
                  </a:lnTo>
                  <a:lnTo>
                    <a:pt x="89099" y="161709"/>
                  </a:lnTo>
                  <a:lnTo>
                    <a:pt x="87823" y="159420"/>
                  </a:lnTo>
                  <a:lnTo>
                    <a:pt x="85836" y="157492"/>
                  </a:lnTo>
                  <a:lnTo>
                    <a:pt x="79438" y="153428"/>
                  </a:lnTo>
                  <a:lnTo>
                    <a:pt x="78863" y="152643"/>
                  </a:lnTo>
                  <a:lnTo>
                    <a:pt x="78554" y="151089"/>
                  </a:lnTo>
                  <a:lnTo>
                    <a:pt x="80668" y="151155"/>
                  </a:lnTo>
                  <a:lnTo>
                    <a:pt x="82495" y="151910"/>
                  </a:lnTo>
                  <a:lnTo>
                    <a:pt x="82279" y="151040"/>
                  </a:lnTo>
                  <a:lnTo>
                    <a:pt x="81737" y="150131"/>
                  </a:lnTo>
                  <a:lnTo>
                    <a:pt x="80889" y="146830"/>
                  </a:lnTo>
                  <a:lnTo>
                    <a:pt x="80181" y="139107"/>
                  </a:lnTo>
                  <a:lnTo>
                    <a:pt x="80277" y="137782"/>
                  </a:lnTo>
                  <a:lnTo>
                    <a:pt x="79962" y="136157"/>
                  </a:lnTo>
                  <a:lnTo>
                    <a:pt x="77916" y="135793"/>
                  </a:lnTo>
                  <a:lnTo>
                    <a:pt x="76280" y="135726"/>
                  </a:lnTo>
                  <a:lnTo>
                    <a:pt x="74518" y="135084"/>
                  </a:lnTo>
                  <a:lnTo>
                    <a:pt x="65805" y="130514"/>
                  </a:lnTo>
                  <a:lnTo>
                    <a:pt x="62822" y="125790"/>
                  </a:lnTo>
                  <a:lnTo>
                    <a:pt x="59772" y="122297"/>
                  </a:lnTo>
                  <a:lnTo>
                    <a:pt x="59040" y="120772"/>
                  </a:lnTo>
                  <a:lnTo>
                    <a:pt x="59088" y="119226"/>
                  </a:lnTo>
                  <a:lnTo>
                    <a:pt x="60667" y="115957"/>
                  </a:lnTo>
                  <a:lnTo>
                    <a:pt x="59273" y="113891"/>
                  </a:lnTo>
                  <a:lnTo>
                    <a:pt x="57911" y="113480"/>
                  </a:lnTo>
                  <a:lnTo>
                    <a:pt x="56727" y="112457"/>
                  </a:lnTo>
                  <a:lnTo>
                    <a:pt x="57799" y="110751"/>
                  </a:lnTo>
                  <a:lnTo>
                    <a:pt x="58690" y="109659"/>
                  </a:lnTo>
                  <a:lnTo>
                    <a:pt x="60475" y="109362"/>
                  </a:lnTo>
                  <a:lnTo>
                    <a:pt x="62816" y="109724"/>
                  </a:lnTo>
                  <a:lnTo>
                    <a:pt x="65036" y="110712"/>
                  </a:lnTo>
                  <a:lnTo>
                    <a:pt x="66778" y="110974"/>
                  </a:lnTo>
                  <a:lnTo>
                    <a:pt x="61629" y="108323"/>
                  </a:lnTo>
                  <a:lnTo>
                    <a:pt x="53279" y="109217"/>
                  </a:lnTo>
                  <a:lnTo>
                    <a:pt x="51479" y="108875"/>
                  </a:lnTo>
                  <a:lnTo>
                    <a:pt x="49959" y="108284"/>
                  </a:lnTo>
                  <a:lnTo>
                    <a:pt x="49365" y="106336"/>
                  </a:lnTo>
                  <a:lnTo>
                    <a:pt x="50552" y="105458"/>
                  </a:lnTo>
                  <a:lnTo>
                    <a:pt x="51628" y="103833"/>
                  </a:lnTo>
                  <a:lnTo>
                    <a:pt x="50411" y="102690"/>
                  </a:lnTo>
                  <a:lnTo>
                    <a:pt x="48834" y="102257"/>
                  </a:lnTo>
                  <a:lnTo>
                    <a:pt x="46360" y="102282"/>
                  </a:lnTo>
                  <a:lnTo>
                    <a:pt x="44052" y="102627"/>
                  </a:lnTo>
                  <a:lnTo>
                    <a:pt x="43466" y="101970"/>
                  </a:lnTo>
                  <a:lnTo>
                    <a:pt x="44874" y="100158"/>
                  </a:lnTo>
                  <a:lnTo>
                    <a:pt x="43678" y="99491"/>
                  </a:lnTo>
                  <a:lnTo>
                    <a:pt x="42082" y="99802"/>
                  </a:lnTo>
                  <a:lnTo>
                    <a:pt x="39767" y="100178"/>
                  </a:lnTo>
                  <a:lnTo>
                    <a:pt x="37553" y="99609"/>
                  </a:lnTo>
                  <a:lnTo>
                    <a:pt x="35460" y="97547"/>
                  </a:lnTo>
                  <a:lnTo>
                    <a:pt x="34073" y="97562"/>
                  </a:lnTo>
                  <a:lnTo>
                    <a:pt x="33120" y="97817"/>
                  </a:lnTo>
                  <a:lnTo>
                    <a:pt x="31706" y="97023"/>
                  </a:lnTo>
                  <a:lnTo>
                    <a:pt x="30218" y="96824"/>
                  </a:lnTo>
                  <a:lnTo>
                    <a:pt x="29156" y="97087"/>
                  </a:lnTo>
                  <a:lnTo>
                    <a:pt x="27744" y="95903"/>
                  </a:lnTo>
                  <a:lnTo>
                    <a:pt x="19051" y="93527"/>
                  </a:lnTo>
                  <a:lnTo>
                    <a:pt x="15297" y="93236"/>
                  </a:lnTo>
                  <a:lnTo>
                    <a:pt x="11854" y="94313"/>
                  </a:lnTo>
                  <a:lnTo>
                    <a:pt x="9959" y="93939"/>
                  </a:lnTo>
                  <a:lnTo>
                    <a:pt x="8566" y="92403"/>
                  </a:lnTo>
                  <a:lnTo>
                    <a:pt x="7397" y="89823"/>
                  </a:lnTo>
                  <a:lnTo>
                    <a:pt x="1851" y="87832"/>
                  </a:lnTo>
                  <a:lnTo>
                    <a:pt x="2948" y="86526"/>
                  </a:lnTo>
                  <a:lnTo>
                    <a:pt x="5530" y="86217"/>
                  </a:lnTo>
                  <a:lnTo>
                    <a:pt x="8506" y="85310"/>
                  </a:lnTo>
                  <a:lnTo>
                    <a:pt x="9576" y="84147"/>
                  </a:lnTo>
                  <a:lnTo>
                    <a:pt x="7250" y="82790"/>
                  </a:lnTo>
                  <a:lnTo>
                    <a:pt x="5535" y="82457"/>
                  </a:lnTo>
                  <a:lnTo>
                    <a:pt x="4824" y="81969"/>
                  </a:lnTo>
                  <a:lnTo>
                    <a:pt x="4099" y="80751"/>
                  </a:lnTo>
                  <a:lnTo>
                    <a:pt x="5127" y="80193"/>
                  </a:lnTo>
                  <a:lnTo>
                    <a:pt x="5851" y="80489"/>
                  </a:lnTo>
                  <a:lnTo>
                    <a:pt x="7942" y="80665"/>
                  </a:lnTo>
                  <a:lnTo>
                    <a:pt x="11523" y="80365"/>
                  </a:lnTo>
                  <a:lnTo>
                    <a:pt x="10188" y="79136"/>
                  </a:lnTo>
                  <a:lnTo>
                    <a:pt x="8803" y="78862"/>
                  </a:lnTo>
                  <a:lnTo>
                    <a:pt x="8167" y="78554"/>
                  </a:lnTo>
                  <a:lnTo>
                    <a:pt x="5256" y="78421"/>
                  </a:lnTo>
                  <a:lnTo>
                    <a:pt x="3931" y="78840"/>
                  </a:lnTo>
                  <a:lnTo>
                    <a:pt x="954" y="78681"/>
                  </a:lnTo>
                  <a:lnTo>
                    <a:pt x="309" y="77352"/>
                  </a:lnTo>
                  <a:lnTo>
                    <a:pt x="0" y="76212"/>
                  </a:lnTo>
                  <a:lnTo>
                    <a:pt x="923" y="73668"/>
                  </a:lnTo>
                  <a:lnTo>
                    <a:pt x="5115" y="71394"/>
                  </a:lnTo>
                  <a:lnTo>
                    <a:pt x="15558" y="68905"/>
                  </a:lnTo>
                  <a:lnTo>
                    <a:pt x="20052" y="69269"/>
                  </a:lnTo>
                  <a:lnTo>
                    <a:pt x="23167" y="68821"/>
                  </a:lnTo>
                  <a:lnTo>
                    <a:pt x="26900" y="67251"/>
                  </a:lnTo>
                  <a:lnTo>
                    <a:pt x="28547" y="65905"/>
                  </a:lnTo>
                  <a:lnTo>
                    <a:pt x="33855" y="65112"/>
                  </a:lnTo>
                  <a:lnTo>
                    <a:pt x="38901" y="66540"/>
                  </a:lnTo>
                  <a:lnTo>
                    <a:pt x="43553" y="71931"/>
                  </a:lnTo>
                  <a:lnTo>
                    <a:pt x="45776" y="73755"/>
                  </a:lnTo>
                  <a:lnTo>
                    <a:pt x="51219" y="70589"/>
                  </a:lnTo>
                  <a:lnTo>
                    <a:pt x="59328" y="70682"/>
                  </a:lnTo>
                  <a:lnTo>
                    <a:pt x="61003" y="72470"/>
                  </a:lnTo>
                  <a:lnTo>
                    <a:pt x="61679" y="70964"/>
                  </a:lnTo>
                  <a:lnTo>
                    <a:pt x="63170" y="69201"/>
                  </a:lnTo>
                  <a:lnTo>
                    <a:pt x="64359" y="70005"/>
                  </a:lnTo>
                  <a:lnTo>
                    <a:pt x="64961" y="71094"/>
                  </a:lnTo>
                  <a:lnTo>
                    <a:pt x="73520" y="70785"/>
                  </a:lnTo>
                  <a:lnTo>
                    <a:pt x="74872" y="70467"/>
                  </a:lnTo>
                  <a:lnTo>
                    <a:pt x="72573" y="69187"/>
                  </a:lnTo>
                  <a:lnTo>
                    <a:pt x="70693" y="66117"/>
                  </a:lnTo>
                  <a:lnTo>
                    <a:pt x="70303" y="54792"/>
                  </a:lnTo>
                  <a:lnTo>
                    <a:pt x="67932" y="51621"/>
                  </a:lnTo>
                  <a:lnTo>
                    <a:pt x="65210" y="46549"/>
                  </a:lnTo>
                  <a:lnTo>
                    <a:pt x="63958" y="43535"/>
                  </a:lnTo>
                  <a:lnTo>
                    <a:pt x="63840" y="42492"/>
                  </a:lnTo>
                  <a:lnTo>
                    <a:pt x="64259" y="40986"/>
                  </a:lnTo>
                  <a:lnTo>
                    <a:pt x="67605" y="41067"/>
                  </a:lnTo>
                  <a:lnTo>
                    <a:pt x="70190" y="41449"/>
                  </a:lnTo>
                  <a:lnTo>
                    <a:pt x="75110" y="40310"/>
                  </a:lnTo>
                  <a:lnTo>
                    <a:pt x="77478" y="41090"/>
                  </a:lnTo>
                  <a:lnTo>
                    <a:pt x="77338" y="43445"/>
                  </a:lnTo>
                  <a:lnTo>
                    <a:pt x="78061" y="46413"/>
                  </a:lnTo>
                  <a:lnTo>
                    <a:pt x="78886" y="47849"/>
                  </a:lnTo>
                  <a:lnTo>
                    <a:pt x="80134" y="49481"/>
                  </a:lnTo>
                  <a:lnTo>
                    <a:pt x="84100" y="49330"/>
                  </a:lnTo>
                  <a:lnTo>
                    <a:pt x="88382" y="50289"/>
                  </a:lnTo>
                  <a:lnTo>
                    <a:pt x="93791" y="50437"/>
                  </a:lnTo>
                  <a:lnTo>
                    <a:pt x="101694" y="52091"/>
                  </a:lnTo>
                  <a:lnTo>
                    <a:pt x="105062" y="51133"/>
                  </a:lnTo>
                  <a:lnTo>
                    <a:pt x="108319" y="49091"/>
                  </a:lnTo>
                  <a:lnTo>
                    <a:pt x="114527" y="47747"/>
                  </a:lnTo>
                  <a:lnTo>
                    <a:pt x="115022" y="47035"/>
                  </a:lnTo>
                  <a:lnTo>
                    <a:pt x="111448" y="47319"/>
                  </a:lnTo>
                  <a:lnTo>
                    <a:pt x="108170" y="46023"/>
                  </a:lnTo>
                  <a:lnTo>
                    <a:pt x="107728" y="44615"/>
                  </a:lnTo>
                  <a:lnTo>
                    <a:pt x="108107" y="43349"/>
                  </a:lnTo>
                  <a:lnTo>
                    <a:pt x="109438" y="40433"/>
                  </a:lnTo>
                  <a:lnTo>
                    <a:pt x="118935" y="35828"/>
                  </a:lnTo>
                  <a:lnTo>
                    <a:pt x="125743" y="34466"/>
                  </a:lnTo>
                  <a:lnTo>
                    <a:pt x="132850" y="31926"/>
                  </a:lnTo>
                  <a:lnTo>
                    <a:pt x="136426" y="29319"/>
                  </a:lnTo>
                  <a:lnTo>
                    <a:pt x="138788" y="25948"/>
                  </a:lnTo>
                  <a:lnTo>
                    <a:pt x="139548" y="25207"/>
                  </a:lnTo>
                  <a:lnTo>
                    <a:pt x="140529" y="24585"/>
                  </a:lnTo>
                  <a:lnTo>
                    <a:pt x="139617" y="23376"/>
                  </a:lnTo>
                  <a:lnTo>
                    <a:pt x="140235" y="10443"/>
                  </a:lnTo>
                  <a:lnTo>
                    <a:pt x="140900" y="8106"/>
                  </a:lnTo>
                  <a:lnTo>
                    <a:pt x="142286" y="6195"/>
                  </a:lnTo>
                  <a:lnTo>
                    <a:pt x="144396" y="4716"/>
                  </a:lnTo>
                  <a:lnTo>
                    <a:pt x="147598" y="3112"/>
                  </a:lnTo>
                  <a:lnTo>
                    <a:pt x="159389" y="895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29" name="ee4p_GB_1_37365">
              <a:extLst>
                <a:ext uri="{FF2B5EF4-FFF2-40B4-BE49-F238E27FC236}">
                  <a16:creationId xmlns:a16="http://schemas.microsoft.com/office/drawing/2014/main" id="{B0741EBF-F147-AACB-7EB1-1136ECB4FFC8}"/>
                </a:ext>
              </a:extLst>
            </p:cNvPr>
            <p:cNvSpPr>
              <a:spLocks noChangeAspect="1"/>
            </p:cNvSpPr>
            <p:nvPr>
              <p:custDataLst>
                <p:tags r:id="rId283"/>
              </p:custDataLst>
            </p:nvPr>
          </p:nvSpPr>
          <p:spPr>
            <a:xfrm>
              <a:off x="6288523" y="2683994"/>
              <a:ext cx="274678" cy="463939"/>
            </a:xfrm>
            <a:custGeom>
              <a:avLst/>
              <a:gdLst>
                <a:gd name="connsiteX0" fmla="*/ 130999 w 218720"/>
                <a:gd name="connsiteY0" fmla="*/ 356870 h 359632"/>
                <a:gd name="connsiteX1" fmla="*/ 134057 w 218720"/>
                <a:gd name="connsiteY1" fmla="*/ 357184 h 359632"/>
                <a:gd name="connsiteX2" fmla="*/ 135462 w 218720"/>
                <a:gd name="connsiteY2" fmla="*/ 357875 h 359632"/>
                <a:gd name="connsiteX3" fmla="*/ 135656 w 218720"/>
                <a:gd name="connsiteY3" fmla="*/ 359317 h 359632"/>
                <a:gd name="connsiteX4" fmla="*/ 134686 w 218720"/>
                <a:gd name="connsiteY4" fmla="*/ 359632 h 359632"/>
                <a:gd name="connsiteX5" fmla="*/ 133862 w 218720"/>
                <a:gd name="connsiteY5" fmla="*/ 359129 h 359632"/>
                <a:gd name="connsiteX6" fmla="*/ 132211 w 218720"/>
                <a:gd name="connsiteY6" fmla="*/ 359129 h 359632"/>
                <a:gd name="connsiteX7" fmla="*/ 130660 w 218720"/>
                <a:gd name="connsiteY7" fmla="*/ 359444 h 359632"/>
                <a:gd name="connsiteX8" fmla="*/ 123886 w 218720"/>
                <a:gd name="connsiteY8" fmla="*/ 349985 h 359632"/>
                <a:gd name="connsiteX9" fmla="*/ 124356 w 218720"/>
                <a:gd name="connsiteY9" fmla="*/ 349993 h 359632"/>
                <a:gd name="connsiteX10" fmla="*/ 124547 w 218720"/>
                <a:gd name="connsiteY10" fmla="*/ 350331 h 359632"/>
                <a:gd name="connsiteX11" fmla="*/ 123771 w 218720"/>
                <a:gd name="connsiteY11" fmla="*/ 352219 h 359632"/>
                <a:gd name="connsiteX12" fmla="*/ 121745 w 218720"/>
                <a:gd name="connsiteY12" fmla="*/ 351582 h 359632"/>
                <a:gd name="connsiteX13" fmla="*/ 121587 w 218720"/>
                <a:gd name="connsiteY13" fmla="*/ 351086 h 359632"/>
                <a:gd name="connsiteX14" fmla="*/ 151070 w 218720"/>
                <a:gd name="connsiteY14" fmla="*/ 313354 h 359632"/>
                <a:gd name="connsiteX15" fmla="*/ 154798 w 218720"/>
                <a:gd name="connsiteY15" fmla="*/ 314483 h 359632"/>
                <a:gd name="connsiteX16" fmla="*/ 156537 w 218720"/>
                <a:gd name="connsiteY16" fmla="*/ 315778 h 359632"/>
                <a:gd name="connsiteX17" fmla="*/ 154684 w 218720"/>
                <a:gd name="connsiteY17" fmla="*/ 316783 h 359632"/>
                <a:gd name="connsiteX18" fmla="*/ 154099 w 218720"/>
                <a:gd name="connsiteY18" fmla="*/ 317960 h 359632"/>
                <a:gd name="connsiteX19" fmla="*/ 153651 w 218720"/>
                <a:gd name="connsiteY19" fmla="*/ 318425 h 359632"/>
                <a:gd name="connsiteX20" fmla="*/ 152426 w 218720"/>
                <a:gd name="connsiteY20" fmla="*/ 318728 h 359632"/>
                <a:gd name="connsiteX21" fmla="*/ 151214 w 218720"/>
                <a:gd name="connsiteY21" fmla="*/ 318736 h 359632"/>
                <a:gd name="connsiteX22" fmla="*/ 146592 w 218720"/>
                <a:gd name="connsiteY22" fmla="*/ 316373 h 359632"/>
                <a:gd name="connsiteX23" fmla="*/ 145528 w 218720"/>
                <a:gd name="connsiteY23" fmla="*/ 316480 h 359632"/>
                <a:gd name="connsiteX24" fmla="*/ 146584 w 218720"/>
                <a:gd name="connsiteY24" fmla="*/ 315397 h 359632"/>
                <a:gd name="connsiteX25" fmla="*/ 149455 w 218720"/>
                <a:gd name="connsiteY25" fmla="*/ 314517 h 359632"/>
                <a:gd name="connsiteX26" fmla="*/ 81441 w 218720"/>
                <a:gd name="connsiteY26" fmla="*/ 235014 h 359632"/>
                <a:gd name="connsiteX27" fmla="*/ 84683 w 218720"/>
                <a:gd name="connsiteY27" fmla="*/ 235075 h 359632"/>
                <a:gd name="connsiteX28" fmla="*/ 87299 w 218720"/>
                <a:gd name="connsiteY28" fmla="*/ 237958 h 359632"/>
                <a:gd name="connsiteX29" fmla="*/ 88226 w 218720"/>
                <a:gd name="connsiteY29" fmla="*/ 238517 h 359632"/>
                <a:gd name="connsiteX30" fmla="*/ 90559 w 218720"/>
                <a:gd name="connsiteY30" fmla="*/ 238429 h 359632"/>
                <a:gd name="connsiteX31" fmla="*/ 89787 w 218720"/>
                <a:gd name="connsiteY31" fmla="*/ 239675 h 359632"/>
                <a:gd name="connsiteX32" fmla="*/ 87220 w 218720"/>
                <a:gd name="connsiteY32" fmla="*/ 241064 h 359632"/>
                <a:gd name="connsiteX33" fmla="*/ 85490 w 218720"/>
                <a:gd name="connsiteY33" fmla="*/ 242434 h 359632"/>
                <a:gd name="connsiteX34" fmla="*/ 83402 w 218720"/>
                <a:gd name="connsiteY34" fmla="*/ 243581 h 359632"/>
                <a:gd name="connsiteX35" fmla="*/ 82389 w 218720"/>
                <a:gd name="connsiteY35" fmla="*/ 242265 h 359632"/>
                <a:gd name="connsiteX36" fmla="*/ 81214 w 218720"/>
                <a:gd name="connsiteY36" fmla="*/ 242315 h 359632"/>
                <a:gd name="connsiteX37" fmla="*/ 79418 w 218720"/>
                <a:gd name="connsiteY37" fmla="*/ 239791 h 359632"/>
                <a:gd name="connsiteX38" fmla="*/ 79094 w 218720"/>
                <a:gd name="connsiteY38" fmla="*/ 236001 h 359632"/>
                <a:gd name="connsiteX39" fmla="*/ 82259 w 218720"/>
                <a:gd name="connsiteY39" fmla="*/ 205081 h 359632"/>
                <a:gd name="connsiteX40" fmla="*/ 82904 w 218720"/>
                <a:gd name="connsiteY40" fmla="*/ 205211 h 359632"/>
                <a:gd name="connsiteX41" fmla="*/ 83310 w 218720"/>
                <a:gd name="connsiteY41" fmla="*/ 205526 h 359632"/>
                <a:gd name="connsiteX42" fmla="*/ 84177 w 218720"/>
                <a:gd name="connsiteY42" fmla="*/ 209288 h 359632"/>
                <a:gd name="connsiteX43" fmla="*/ 82976 w 218720"/>
                <a:gd name="connsiteY43" fmla="*/ 210618 h 359632"/>
                <a:gd name="connsiteX44" fmla="*/ 82539 w 218720"/>
                <a:gd name="connsiteY44" fmla="*/ 211836 h 359632"/>
                <a:gd name="connsiteX45" fmla="*/ 78068 w 218720"/>
                <a:gd name="connsiteY45" fmla="*/ 215684 h 359632"/>
                <a:gd name="connsiteX46" fmla="*/ 76259 w 218720"/>
                <a:gd name="connsiteY46" fmla="*/ 214993 h 359632"/>
                <a:gd name="connsiteX47" fmla="*/ 74718 w 218720"/>
                <a:gd name="connsiteY47" fmla="*/ 215358 h 359632"/>
                <a:gd name="connsiteX48" fmla="*/ 74285 w 218720"/>
                <a:gd name="connsiteY48" fmla="*/ 215248 h 359632"/>
                <a:gd name="connsiteX49" fmla="*/ 75165 w 218720"/>
                <a:gd name="connsiteY49" fmla="*/ 213859 h 359632"/>
                <a:gd name="connsiteX50" fmla="*/ 76200 w 218720"/>
                <a:gd name="connsiteY50" fmla="*/ 210633 h 359632"/>
                <a:gd name="connsiteX51" fmla="*/ 78055 w 218720"/>
                <a:gd name="connsiteY51" fmla="*/ 209353 h 359632"/>
                <a:gd name="connsiteX52" fmla="*/ 80403 w 218720"/>
                <a:gd name="connsiteY52" fmla="*/ 206010 h 359632"/>
                <a:gd name="connsiteX53" fmla="*/ 39128 w 218720"/>
                <a:gd name="connsiteY53" fmla="*/ 179485 h 359632"/>
                <a:gd name="connsiteX54" fmla="*/ 42247 w 218720"/>
                <a:gd name="connsiteY54" fmla="*/ 180254 h 359632"/>
                <a:gd name="connsiteX55" fmla="*/ 44571 w 218720"/>
                <a:gd name="connsiteY55" fmla="*/ 180238 h 359632"/>
                <a:gd name="connsiteX56" fmla="*/ 46635 w 218720"/>
                <a:gd name="connsiteY56" fmla="*/ 182483 h 359632"/>
                <a:gd name="connsiteX57" fmla="*/ 47742 w 218720"/>
                <a:gd name="connsiteY57" fmla="*/ 186017 h 359632"/>
                <a:gd name="connsiteX58" fmla="*/ 50319 w 218720"/>
                <a:gd name="connsiteY58" fmla="*/ 189504 h 359632"/>
                <a:gd name="connsiteX59" fmla="*/ 53688 w 218720"/>
                <a:gd name="connsiteY59" fmla="*/ 192534 h 359632"/>
                <a:gd name="connsiteX60" fmla="*/ 53822 w 218720"/>
                <a:gd name="connsiteY60" fmla="*/ 194385 h 359632"/>
                <a:gd name="connsiteX61" fmla="*/ 52619 w 218720"/>
                <a:gd name="connsiteY61" fmla="*/ 195378 h 359632"/>
                <a:gd name="connsiteX62" fmla="*/ 50100 w 218720"/>
                <a:gd name="connsiteY62" fmla="*/ 196612 h 359632"/>
                <a:gd name="connsiteX63" fmla="*/ 50111 w 218720"/>
                <a:gd name="connsiteY63" fmla="*/ 197930 h 359632"/>
                <a:gd name="connsiteX64" fmla="*/ 51772 w 218720"/>
                <a:gd name="connsiteY64" fmla="*/ 197265 h 359632"/>
                <a:gd name="connsiteX65" fmla="*/ 53206 w 218720"/>
                <a:gd name="connsiteY65" fmla="*/ 196958 h 359632"/>
                <a:gd name="connsiteX66" fmla="*/ 56658 w 218720"/>
                <a:gd name="connsiteY66" fmla="*/ 197253 h 359632"/>
                <a:gd name="connsiteX67" fmla="*/ 57865 w 218720"/>
                <a:gd name="connsiteY67" fmla="*/ 198593 h 359632"/>
                <a:gd name="connsiteX68" fmla="*/ 58699 w 218720"/>
                <a:gd name="connsiteY68" fmla="*/ 200597 h 359632"/>
                <a:gd name="connsiteX69" fmla="*/ 59137 w 218720"/>
                <a:gd name="connsiteY69" fmla="*/ 202242 h 359632"/>
                <a:gd name="connsiteX70" fmla="*/ 58839 w 218720"/>
                <a:gd name="connsiteY70" fmla="*/ 204029 h 359632"/>
                <a:gd name="connsiteX71" fmla="*/ 57910 w 218720"/>
                <a:gd name="connsiteY71" fmla="*/ 203463 h 359632"/>
                <a:gd name="connsiteX72" fmla="*/ 56966 w 218720"/>
                <a:gd name="connsiteY72" fmla="*/ 201864 h 359632"/>
                <a:gd name="connsiteX73" fmla="*/ 55918 w 218720"/>
                <a:gd name="connsiteY73" fmla="*/ 201127 h 359632"/>
                <a:gd name="connsiteX74" fmla="*/ 54699 w 218720"/>
                <a:gd name="connsiteY74" fmla="*/ 200729 h 359632"/>
                <a:gd name="connsiteX75" fmla="*/ 55252 w 218720"/>
                <a:gd name="connsiteY75" fmla="*/ 202924 h 359632"/>
                <a:gd name="connsiteX76" fmla="*/ 55034 w 218720"/>
                <a:gd name="connsiteY76" fmla="*/ 205857 h 359632"/>
                <a:gd name="connsiteX77" fmla="*/ 55566 w 218720"/>
                <a:gd name="connsiteY77" fmla="*/ 206133 h 359632"/>
                <a:gd name="connsiteX78" fmla="*/ 57204 w 218720"/>
                <a:gd name="connsiteY78" fmla="*/ 206184 h 359632"/>
                <a:gd name="connsiteX79" fmla="*/ 56121 w 218720"/>
                <a:gd name="connsiteY79" fmla="*/ 209183 h 359632"/>
                <a:gd name="connsiteX80" fmla="*/ 53882 w 218720"/>
                <a:gd name="connsiteY80" fmla="*/ 209996 h 359632"/>
                <a:gd name="connsiteX81" fmla="*/ 51270 w 218720"/>
                <a:gd name="connsiteY81" fmla="*/ 210300 h 359632"/>
                <a:gd name="connsiteX82" fmla="*/ 50640 w 218720"/>
                <a:gd name="connsiteY82" fmla="*/ 211361 h 359632"/>
                <a:gd name="connsiteX83" fmla="*/ 50166 w 218720"/>
                <a:gd name="connsiteY83" fmla="*/ 212727 h 359632"/>
                <a:gd name="connsiteX84" fmla="*/ 48803 w 218720"/>
                <a:gd name="connsiteY84" fmla="*/ 214762 h 359632"/>
                <a:gd name="connsiteX85" fmla="*/ 47005 w 218720"/>
                <a:gd name="connsiteY85" fmla="*/ 215909 h 359632"/>
                <a:gd name="connsiteX86" fmla="*/ 44783 w 218720"/>
                <a:gd name="connsiteY86" fmla="*/ 215678 h 359632"/>
                <a:gd name="connsiteX87" fmla="*/ 42606 w 218720"/>
                <a:gd name="connsiteY87" fmla="*/ 214772 h 359632"/>
                <a:gd name="connsiteX88" fmla="*/ 40712 w 218720"/>
                <a:gd name="connsiteY88" fmla="*/ 214586 h 359632"/>
                <a:gd name="connsiteX89" fmla="*/ 39385 w 218720"/>
                <a:gd name="connsiteY89" fmla="*/ 215125 h 359632"/>
                <a:gd name="connsiteX90" fmla="*/ 38524 w 218720"/>
                <a:gd name="connsiteY90" fmla="*/ 215625 h 359632"/>
                <a:gd name="connsiteX91" fmla="*/ 37691 w 218720"/>
                <a:gd name="connsiteY91" fmla="*/ 215534 h 359632"/>
                <a:gd name="connsiteX92" fmla="*/ 35306 w 218720"/>
                <a:gd name="connsiteY92" fmla="*/ 215727 h 359632"/>
                <a:gd name="connsiteX93" fmla="*/ 33058 w 218720"/>
                <a:gd name="connsiteY93" fmla="*/ 215686 h 359632"/>
                <a:gd name="connsiteX94" fmla="*/ 32739 w 218720"/>
                <a:gd name="connsiteY94" fmla="*/ 214892 h 359632"/>
                <a:gd name="connsiteX95" fmla="*/ 33122 w 218720"/>
                <a:gd name="connsiteY95" fmla="*/ 212503 h 359632"/>
                <a:gd name="connsiteX96" fmla="*/ 32622 w 218720"/>
                <a:gd name="connsiteY96" fmla="*/ 211855 h 359632"/>
                <a:gd name="connsiteX97" fmla="*/ 30475 w 218720"/>
                <a:gd name="connsiteY97" fmla="*/ 211524 h 359632"/>
                <a:gd name="connsiteX98" fmla="*/ 29679 w 218720"/>
                <a:gd name="connsiteY98" fmla="*/ 210954 h 359632"/>
                <a:gd name="connsiteX99" fmla="*/ 28446 w 218720"/>
                <a:gd name="connsiteY99" fmla="*/ 209302 h 359632"/>
                <a:gd name="connsiteX100" fmla="*/ 28206 w 218720"/>
                <a:gd name="connsiteY100" fmla="*/ 208528 h 359632"/>
                <a:gd name="connsiteX101" fmla="*/ 28029 w 218720"/>
                <a:gd name="connsiteY101" fmla="*/ 207461 h 359632"/>
                <a:gd name="connsiteX102" fmla="*/ 26726 w 218720"/>
                <a:gd name="connsiteY102" fmla="*/ 206083 h 359632"/>
                <a:gd name="connsiteX103" fmla="*/ 25144 w 218720"/>
                <a:gd name="connsiteY103" fmla="*/ 205096 h 359632"/>
                <a:gd name="connsiteX104" fmla="*/ 24215 w 218720"/>
                <a:gd name="connsiteY104" fmla="*/ 205048 h 359632"/>
                <a:gd name="connsiteX105" fmla="*/ 22362 w 218720"/>
                <a:gd name="connsiteY105" fmla="*/ 206660 h 359632"/>
                <a:gd name="connsiteX106" fmla="*/ 20834 w 218720"/>
                <a:gd name="connsiteY106" fmla="*/ 208292 h 359632"/>
                <a:gd name="connsiteX107" fmla="*/ 21377 w 218720"/>
                <a:gd name="connsiteY107" fmla="*/ 209111 h 359632"/>
                <a:gd name="connsiteX108" fmla="*/ 21876 w 218720"/>
                <a:gd name="connsiteY108" fmla="*/ 210189 h 359632"/>
                <a:gd name="connsiteX109" fmla="*/ 21045 w 218720"/>
                <a:gd name="connsiteY109" fmla="*/ 210961 h 359632"/>
                <a:gd name="connsiteX110" fmla="*/ 18532 w 218720"/>
                <a:gd name="connsiteY110" fmla="*/ 212728 h 359632"/>
                <a:gd name="connsiteX111" fmla="*/ 18139 w 218720"/>
                <a:gd name="connsiteY111" fmla="*/ 213414 h 359632"/>
                <a:gd name="connsiteX112" fmla="*/ 17461 w 218720"/>
                <a:gd name="connsiteY112" fmla="*/ 213785 h 359632"/>
                <a:gd name="connsiteX113" fmla="*/ 16261 w 218720"/>
                <a:gd name="connsiteY113" fmla="*/ 213296 h 359632"/>
                <a:gd name="connsiteX114" fmla="*/ 13276 w 218720"/>
                <a:gd name="connsiteY114" fmla="*/ 213409 h 359632"/>
                <a:gd name="connsiteX115" fmla="*/ 11902 w 218720"/>
                <a:gd name="connsiteY115" fmla="*/ 213097 h 359632"/>
                <a:gd name="connsiteX116" fmla="*/ 10305 w 218720"/>
                <a:gd name="connsiteY116" fmla="*/ 211796 h 359632"/>
                <a:gd name="connsiteX117" fmla="*/ 6410 w 218720"/>
                <a:gd name="connsiteY117" fmla="*/ 210925 h 359632"/>
                <a:gd name="connsiteX118" fmla="*/ 5757 w 218720"/>
                <a:gd name="connsiteY118" fmla="*/ 208841 h 359632"/>
                <a:gd name="connsiteX119" fmla="*/ 5005 w 218720"/>
                <a:gd name="connsiteY119" fmla="*/ 208451 h 359632"/>
                <a:gd name="connsiteX120" fmla="*/ 587 w 218720"/>
                <a:gd name="connsiteY120" fmla="*/ 204865 h 359632"/>
                <a:gd name="connsiteX121" fmla="*/ 0 w 218720"/>
                <a:gd name="connsiteY121" fmla="*/ 203667 h 359632"/>
                <a:gd name="connsiteX122" fmla="*/ 572 w 218720"/>
                <a:gd name="connsiteY122" fmla="*/ 202952 h 359632"/>
                <a:gd name="connsiteX123" fmla="*/ 2222 w 218720"/>
                <a:gd name="connsiteY123" fmla="*/ 201868 h 359632"/>
                <a:gd name="connsiteX124" fmla="*/ 7762 w 218720"/>
                <a:gd name="connsiteY124" fmla="*/ 200072 h 359632"/>
                <a:gd name="connsiteX125" fmla="*/ 8633 w 218720"/>
                <a:gd name="connsiteY125" fmla="*/ 199348 h 359632"/>
                <a:gd name="connsiteX126" fmla="*/ 8812 w 218720"/>
                <a:gd name="connsiteY126" fmla="*/ 198709 h 359632"/>
                <a:gd name="connsiteX127" fmla="*/ 7186 w 218720"/>
                <a:gd name="connsiteY127" fmla="*/ 197979 h 359632"/>
                <a:gd name="connsiteX128" fmla="*/ 5720 w 218720"/>
                <a:gd name="connsiteY128" fmla="*/ 197172 h 359632"/>
                <a:gd name="connsiteX129" fmla="*/ 5220 w 218720"/>
                <a:gd name="connsiteY129" fmla="*/ 196643 h 359632"/>
                <a:gd name="connsiteX130" fmla="*/ 5179 w 218720"/>
                <a:gd name="connsiteY130" fmla="*/ 196184 h 359632"/>
                <a:gd name="connsiteX131" fmla="*/ 6011 w 218720"/>
                <a:gd name="connsiteY131" fmla="*/ 195586 h 359632"/>
                <a:gd name="connsiteX132" fmla="*/ 7685 w 218720"/>
                <a:gd name="connsiteY132" fmla="*/ 195543 h 359632"/>
                <a:gd name="connsiteX133" fmla="*/ 9007 w 218720"/>
                <a:gd name="connsiteY133" fmla="*/ 195813 h 359632"/>
                <a:gd name="connsiteX134" fmla="*/ 10057 w 218720"/>
                <a:gd name="connsiteY134" fmla="*/ 195275 h 359632"/>
                <a:gd name="connsiteX135" fmla="*/ 11904 w 218720"/>
                <a:gd name="connsiteY135" fmla="*/ 194734 h 359632"/>
                <a:gd name="connsiteX136" fmla="*/ 13144 w 218720"/>
                <a:gd name="connsiteY136" fmla="*/ 194052 h 359632"/>
                <a:gd name="connsiteX137" fmla="*/ 14210 w 218720"/>
                <a:gd name="connsiteY137" fmla="*/ 192290 h 359632"/>
                <a:gd name="connsiteX138" fmla="*/ 15336 w 218720"/>
                <a:gd name="connsiteY138" fmla="*/ 190705 h 359632"/>
                <a:gd name="connsiteX139" fmla="*/ 15452 w 218720"/>
                <a:gd name="connsiteY139" fmla="*/ 189845 h 359632"/>
                <a:gd name="connsiteX140" fmla="*/ 16438 w 218720"/>
                <a:gd name="connsiteY140" fmla="*/ 186828 h 359632"/>
                <a:gd name="connsiteX141" fmla="*/ 16980 w 218720"/>
                <a:gd name="connsiteY141" fmla="*/ 186079 h 359632"/>
                <a:gd name="connsiteX142" fmla="*/ 20479 w 218720"/>
                <a:gd name="connsiteY142" fmla="*/ 184101 h 359632"/>
                <a:gd name="connsiteX143" fmla="*/ 21365 w 218720"/>
                <a:gd name="connsiteY143" fmla="*/ 185181 h 359632"/>
                <a:gd name="connsiteX144" fmla="*/ 23089 w 218720"/>
                <a:gd name="connsiteY144" fmla="*/ 185445 h 359632"/>
                <a:gd name="connsiteX145" fmla="*/ 24634 w 218720"/>
                <a:gd name="connsiteY145" fmla="*/ 184451 h 359632"/>
                <a:gd name="connsiteX146" fmla="*/ 26483 w 218720"/>
                <a:gd name="connsiteY146" fmla="*/ 181313 h 359632"/>
                <a:gd name="connsiteX147" fmla="*/ 27769 w 218720"/>
                <a:gd name="connsiteY147" fmla="*/ 181116 h 359632"/>
                <a:gd name="connsiteX148" fmla="*/ 29187 w 218720"/>
                <a:gd name="connsiteY148" fmla="*/ 181370 h 359632"/>
                <a:gd name="connsiteX149" fmla="*/ 31974 w 218720"/>
                <a:gd name="connsiteY149" fmla="*/ 180975 h 359632"/>
                <a:gd name="connsiteX150" fmla="*/ 36922 w 218720"/>
                <a:gd name="connsiteY150" fmla="*/ 179509 h 359632"/>
                <a:gd name="connsiteX151" fmla="*/ 63975 w 218720"/>
                <a:gd name="connsiteY151" fmla="*/ 164784 h 359632"/>
                <a:gd name="connsiteX152" fmla="*/ 65438 w 218720"/>
                <a:gd name="connsiteY152" fmla="*/ 165590 h 359632"/>
                <a:gd name="connsiteX153" fmla="*/ 65992 w 218720"/>
                <a:gd name="connsiteY153" fmla="*/ 166340 h 359632"/>
                <a:gd name="connsiteX154" fmla="*/ 67217 w 218720"/>
                <a:gd name="connsiteY154" fmla="*/ 169218 h 359632"/>
                <a:gd name="connsiteX155" fmla="*/ 67444 w 218720"/>
                <a:gd name="connsiteY155" fmla="*/ 171683 h 359632"/>
                <a:gd name="connsiteX156" fmla="*/ 67207 w 218720"/>
                <a:gd name="connsiteY156" fmla="*/ 173091 h 359632"/>
                <a:gd name="connsiteX157" fmla="*/ 64420 w 218720"/>
                <a:gd name="connsiteY157" fmla="*/ 173114 h 359632"/>
                <a:gd name="connsiteX158" fmla="*/ 63412 w 218720"/>
                <a:gd name="connsiteY158" fmla="*/ 172847 h 359632"/>
                <a:gd name="connsiteX159" fmla="*/ 62208 w 218720"/>
                <a:gd name="connsiteY159" fmla="*/ 172095 h 359632"/>
                <a:gd name="connsiteX160" fmla="*/ 60856 w 218720"/>
                <a:gd name="connsiteY160" fmla="*/ 167842 h 359632"/>
                <a:gd name="connsiteX161" fmla="*/ 61339 w 218720"/>
                <a:gd name="connsiteY161" fmla="*/ 166336 h 359632"/>
                <a:gd name="connsiteX162" fmla="*/ 61894 w 218720"/>
                <a:gd name="connsiteY162" fmla="*/ 165598 h 359632"/>
                <a:gd name="connsiteX163" fmla="*/ 62504 w 218720"/>
                <a:gd name="connsiteY163" fmla="*/ 165025 h 359632"/>
                <a:gd name="connsiteX164" fmla="*/ 44576 w 218720"/>
                <a:gd name="connsiteY164" fmla="*/ 158143 h 359632"/>
                <a:gd name="connsiteX165" fmla="*/ 45374 w 218720"/>
                <a:gd name="connsiteY165" fmla="*/ 162138 h 359632"/>
                <a:gd name="connsiteX166" fmla="*/ 46152 w 218720"/>
                <a:gd name="connsiteY166" fmla="*/ 164611 h 359632"/>
                <a:gd name="connsiteX167" fmla="*/ 46203 w 218720"/>
                <a:gd name="connsiteY167" fmla="*/ 165455 h 359632"/>
                <a:gd name="connsiteX168" fmla="*/ 45472 w 218720"/>
                <a:gd name="connsiteY168" fmla="*/ 166628 h 359632"/>
                <a:gd name="connsiteX169" fmla="*/ 41828 w 218720"/>
                <a:gd name="connsiteY169" fmla="*/ 168187 h 359632"/>
                <a:gd name="connsiteX170" fmla="*/ 40681 w 218720"/>
                <a:gd name="connsiteY170" fmla="*/ 168196 h 359632"/>
                <a:gd name="connsiteX171" fmla="*/ 40633 w 218720"/>
                <a:gd name="connsiteY171" fmla="*/ 167818 h 359632"/>
                <a:gd name="connsiteX172" fmla="*/ 41456 w 218720"/>
                <a:gd name="connsiteY172" fmla="*/ 166231 h 359632"/>
                <a:gd name="connsiteX173" fmla="*/ 40747 w 218720"/>
                <a:gd name="connsiteY173" fmla="*/ 164429 h 359632"/>
                <a:gd name="connsiteX174" fmla="*/ 41093 w 218720"/>
                <a:gd name="connsiteY174" fmla="*/ 163059 h 359632"/>
                <a:gd name="connsiteX175" fmla="*/ 40754 w 218720"/>
                <a:gd name="connsiteY175" fmla="*/ 162807 h 359632"/>
                <a:gd name="connsiteX176" fmla="*/ 40043 w 218720"/>
                <a:gd name="connsiteY176" fmla="*/ 163001 h 359632"/>
                <a:gd name="connsiteX177" fmla="*/ 37433 w 218720"/>
                <a:gd name="connsiteY177" fmla="*/ 165178 h 359632"/>
                <a:gd name="connsiteX178" fmla="*/ 36561 w 218720"/>
                <a:gd name="connsiteY178" fmla="*/ 165393 h 359632"/>
                <a:gd name="connsiteX179" fmla="*/ 36466 w 218720"/>
                <a:gd name="connsiteY179" fmla="*/ 164951 h 359632"/>
                <a:gd name="connsiteX180" fmla="*/ 37112 w 218720"/>
                <a:gd name="connsiteY180" fmla="*/ 163168 h 359632"/>
                <a:gd name="connsiteX181" fmla="*/ 37192 w 218720"/>
                <a:gd name="connsiteY181" fmla="*/ 161948 h 359632"/>
                <a:gd name="connsiteX182" fmla="*/ 37581 w 218720"/>
                <a:gd name="connsiteY182" fmla="*/ 161198 h 359632"/>
                <a:gd name="connsiteX183" fmla="*/ 38290 w 218720"/>
                <a:gd name="connsiteY183" fmla="*/ 160506 h 359632"/>
                <a:gd name="connsiteX184" fmla="*/ 39135 w 218720"/>
                <a:gd name="connsiteY184" fmla="*/ 159986 h 359632"/>
                <a:gd name="connsiteX185" fmla="*/ 39817 w 218720"/>
                <a:gd name="connsiteY185" fmla="*/ 159912 h 359632"/>
                <a:gd name="connsiteX186" fmla="*/ 40543 w 218720"/>
                <a:gd name="connsiteY186" fmla="*/ 160448 h 359632"/>
                <a:gd name="connsiteX187" fmla="*/ 42657 w 218720"/>
                <a:gd name="connsiteY187" fmla="*/ 158952 h 359632"/>
                <a:gd name="connsiteX188" fmla="*/ 52683 w 218720"/>
                <a:gd name="connsiteY188" fmla="*/ 152228 h 359632"/>
                <a:gd name="connsiteX189" fmla="*/ 53504 w 218720"/>
                <a:gd name="connsiteY189" fmla="*/ 152283 h 359632"/>
                <a:gd name="connsiteX190" fmla="*/ 51910 w 218720"/>
                <a:gd name="connsiteY190" fmla="*/ 155806 h 359632"/>
                <a:gd name="connsiteX191" fmla="*/ 48088 w 218720"/>
                <a:gd name="connsiteY191" fmla="*/ 161752 h 359632"/>
                <a:gd name="connsiteX192" fmla="*/ 47627 w 218720"/>
                <a:gd name="connsiteY192" fmla="*/ 162086 h 359632"/>
                <a:gd name="connsiteX193" fmla="*/ 46507 w 218720"/>
                <a:gd name="connsiteY193" fmla="*/ 161994 h 359632"/>
                <a:gd name="connsiteX194" fmla="*/ 46092 w 218720"/>
                <a:gd name="connsiteY194" fmla="*/ 161493 h 359632"/>
                <a:gd name="connsiteX195" fmla="*/ 45863 w 218720"/>
                <a:gd name="connsiteY195" fmla="*/ 160723 h 359632"/>
                <a:gd name="connsiteX196" fmla="*/ 45835 w 218720"/>
                <a:gd name="connsiteY196" fmla="*/ 159309 h 359632"/>
                <a:gd name="connsiteX197" fmla="*/ 46513 w 218720"/>
                <a:gd name="connsiteY197" fmla="*/ 158297 h 359632"/>
                <a:gd name="connsiteX198" fmla="*/ 49377 w 218720"/>
                <a:gd name="connsiteY198" fmla="*/ 156767 h 359632"/>
                <a:gd name="connsiteX199" fmla="*/ 48083 w 218720"/>
                <a:gd name="connsiteY199" fmla="*/ 156224 h 359632"/>
                <a:gd name="connsiteX200" fmla="*/ 48031 w 218720"/>
                <a:gd name="connsiteY200" fmla="*/ 155842 h 359632"/>
                <a:gd name="connsiteX201" fmla="*/ 48774 w 218720"/>
                <a:gd name="connsiteY201" fmla="*/ 154570 h 359632"/>
                <a:gd name="connsiteX202" fmla="*/ 51857 w 218720"/>
                <a:gd name="connsiteY202" fmla="*/ 152588 h 359632"/>
                <a:gd name="connsiteX203" fmla="*/ 44369 w 218720"/>
                <a:gd name="connsiteY203" fmla="*/ 135637 h 359632"/>
                <a:gd name="connsiteX204" fmla="*/ 45155 w 218720"/>
                <a:gd name="connsiteY204" fmla="*/ 135769 h 359632"/>
                <a:gd name="connsiteX205" fmla="*/ 46772 w 218720"/>
                <a:gd name="connsiteY205" fmla="*/ 136896 h 359632"/>
                <a:gd name="connsiteX206" fmla="*/ 48605 w 218720"/>
                <a:gd name="connsiteY206" fmla="*/ 139261 h 359632"/>
                <a:gd name="connsiteX207" fmla="*/ 51052 w 218720"/>
                <a:gd name="connsiteY207" fmla="*/ 139637 h 359632"/>
                <a:gd name="connsiteX208" fmla="*/ 52715 w 218720"/>
                <a:gd name="connsiteY208" fmla="*/ 140638 h 359632"/>
                <a:gd name="connsiteX209" fmla="*/ 52338 w 218720"/>
                <a:gd name="connsiteY209" fmla="*/ 145224 h 359632"/>
                <a:gd name="connsiteX210" fmla="*/ 43531 w 218720"/>
                <a:gd name="connsiteY210" fmla="*/ 146965 h 359632"/>
                <a:gd name="connsiteX211" fmla="*/ 40496 w 218720"/>
                <a:gd name="connsiteY211" fmla="*/ 146811 h 359632"/>
                <a:gd name="connsiteX212" fmla="*/ 40222 w 218720"/>
                <a:gd name="connsiteY212" fmla="*/ 145957 h 359632"/>
                <a:gd name="connsiteX213" fmla="*/ 40826 w 218720"/>
                <a:gd name="connsiteY213" fmla="*/ 145386 h 359632"/>
                <a:gd name="connsiteX214" fmla="*/ 43339 w 218720"/>
                <a:gd name="connsiteY214" fmla="*/ 144831 h 359632"/>
                <a:gd name="connsiteX215" fmla="*/ 44356 w 218720"/>
                <a:gd name="connsiteY215" fmla="*/ 140639 h 359632"/>
                <a:gd name="connsiteX216" fmla="*/ 40557 w 218720"/>
                <a:gd name="connsiteY216" fmla="*/ 138708 h 359632"/>
                <a:gd name="connsiteX217" fmla="*/ 40358 w 218720"/>
                <a:gd name="connsiteY217" fmla="*/ 138165 h 359632"/>
                <a:gd name="connsiteX218" fmla="*/ 40655 w 218720"/>
                <a:gd name="connsiteY218" fmla="*/ 137243 h 359632"/>
                <a:gd name="connsiteX219" fmla="*/ 41095 w 218720"/>
                <a:gd name="connsiteY219" fmla="*/ 136832 h 359632"/>
                <a:gd name="connsiteX220" fmla="*/ 43400 w 218720"/>
                <a:gd name="connsiteY220" fmla="*/ 135854 h 359632"/>
                <a:gd name="connsiteX221" fmla="*/ 36236 w 218720"/>
                <a:gd name="connsiteY221" fmla="*/ 134929 h 359632"/>
                <a:gd name="connsiteX222" fmla="*/ 36731 w 218720"/>
                <a:gd name="connsiteY222" fmla="*/ 135137 h 359632"/>
                <a:gd name="connsiteX223" fmla="*/ 35705 w 218720"/>
                <a:gd name="connsiteY223" fmla="*/ 136368 h 359632"/>
                <a:gd name="connsiteX224" fmla="*/ 33991 w 218720"/>
                <a:gd name="connsiteY224" fmla="*/ 137675 h 359632"/>
                <a:gd name="connsiteX225" fmla="*/ 32734 w 218720"/>
                <a:gd name="connsiteY225" fmla="*/ 137850 h 359632"/>
                <a:gd name="connsiteX226" fmla="*/ 32643 w 218720"/>
                <a:gd name="connsiteY226" fmla="*/ 137405 h 359632"/>
                <a:gd name="connsiteX227" fmla="*/ 34824 w 218720"/>
                <a:gd name="connsiteY227" fmla="*/ 135279 h 359632"/>
                <a:gd name="connsiteX228" fmla="*/ 15243 w 218720"/>
                <a:gd name="connsiteY228" fmla="*/ 124000 h 359632"/>
                <a:gd name="connsiteX229" fmla="*/ 16322 w 218720"/>
                <a:gd name="connsiteY229" fmla="*/ 124589 h 359632"/>
                <a:gd name="connsiteX230" fmla="*/ 16493 w 218720"/>
                <a:gd name="connsiteY230" fmla="*/ 125125 h 359632"/>
                <a:gd name="connsiteX231" fmla="*/ 16096 w 218720"/>
                <a:gd name="connsiteY231" fmla="*/ 125691 h 359632"/>
                <a:gd name="connsiteX232" fmla="*/ 14152 w 218720"/>
                <a:gd name="connsiteY232" fmla="*/ 126126 h 359632"/>
                <a:gd name="connsiteX233" fmla="*/ 13431 w 218720"/>
                <a:gd name="connsiteY233" fmla="*/ 125871 h 359632"/>
                <a:gd name="connsiteX234" fmla="*/ 13308 w 218720"/>
                <a:gd name="connsiteY234" fmla="*/ 125472 h 359632"/>
                <a:gd name="connsiteX235" fmla="*/ 13751 w 218720"/>
                <a:gd name="connsiteY235" fmla="*/ 124384 h 359632"/>
                <a:gd name="connsiteX236" fmla="*/ 40298 w 218720"/>
                <a:gd name="connsiteY236" fmla="*/ 123001 h 359632"/>
                <a:gd name="connsiteX237" fmla="*/ 41274 w 218720"/>
                <a:gd name="connsiteY237" fmla="*/ 123606 h 359632"/>
                <a:gd name="connsiteX238" fmla="*/ 41649 w 218720"/>
                <a:gd name="connsiteY238" fmla="*/ 124298 h 359632"/>
                <a:gd name="connsiteX239" fmla="*/ 41665 w 218720"/>
                <a:gd name="connsiteY239" fmla="*/ 125065 h 359632"/>
                <a:gd name="connsiteX240" fmla="*/ 41256 w 218720"/>
                <a:gd name="connsiteY240" fmla="*/ 125714 h 359632"/>
                <a:gd name="connsiteX241" fmla="*/ 40600 w 218720"/>
                <a:gd name="connsiteY241" fmla="*/ 126121 h 359632"/>
                <a:gd name="connsiteX242" fmla="*/ 39770 w 218720"/>
                <a:gd name="connsiteY242" fmla="*/ 126043 h 359632"/>
                <a:gd name="connsiteX243" fmla="*/ 38948 w 218720"/>
                <a:gd name="connsiteY243" fmla="*/ 125518 h 359632"/>
                <a:gd name="connsiteX244" fmla="*/ 37860 w 218720"/>
                <a:gd name="connsiteY244" fmla="*/ 124032 h 359632"/>
                <a:gd name="connsiteX245" fmla="*/ 18761 w 218720"/>
                <a:gd name="connsiteY245" fmla="*/ 112439 h 359632"/>
                <a:gd name="connsiteX246" fmla="*/ 19407 w 218720"/>
                <a:gd name="connsiteY246" fmla="*/ 112818 h 359632"/>
                <a:gd name="connsiteX247" fmla="*/ 19840 w 218720"/>
                <a:gd name="connsiteY247" fmla="*/ 120602 h 359632"/>
                <a:gd name="connsiteX248" fmla="*/ 19790 w 218720"/>
                <a:gd name="connsiteY248" fmla="*/ 120951 h 359632"/>
                <a:gd name="connsiteX249" fmla="*/ 18857 w 218720"/>
                <a:gd name="connsiteY249" fmla="*/ 121127 h 359632"/>
                <a:gd name="connsiteX250" fmla="*/ 17632 w 218720"/>
                <a:gd name="connsiteY250" fmla="*/ 120957 h 359632"/>
                <a:gd name="connsiteX251" fmla="*/ 16879 w 218720"/>
                <a:gd name="connsiteY251" fmla="*/ 120465 h 359632"/>
                <a:gd name="connsiteX252" fmla="*/ 16117 w 218720"/>
                <a:gd name="connsiteY252" fmla="*/ 118518 h 359632"/>
                <a:gd name="connsiteX253" fmla="*/ 15975 w 218720"/>
                <a:gd name="connsiteY253" fmla="*/ 117339 h 359632"/>
                <a:gd name="connsiteX254" fmla="*/ 16314 w 218720"/>
                <a:gd name="connsiteY254" fmla="*/ 115145 h 359632"/>
                <a:gd name="connsiteX255" fmla="*/ 16236 w 218720"/>
                <a:gd name="connsiteY255" fmla="*/ 112521 h 359632"/>
                <a:gd name="connsiteX256" fmla="*/ 40661 w 218720"/>
                <a:gd name="connsiteY256" fmla="*/ 103259 h 359632"/>
                <a:gd name="connsiteX257" fmla="*/ 41966 w 218720"/>
                <a:gd name="connsiteY257" fmla="*/ 103921 h 359632"/>
                <a:gd name="connsiteX258" fmla="*/ 43754 w 218720"/>
                <a:gd name="connsiteY258" fmla="*/ 106023 h 359632"/>
                <a:gd name="connsiteX259" fmla="*/ 44226 w 218720"/>
                <a:gd name="connsiteY259" fmla="*/ 108582 h 359632"/>
                <a:gd name="connsiteX260" fmla="*/ 44195 w 218720"/>
                <a:gd name="connsiteY260" fmla="*/ 109988 h 359632"/>
                <a:gd name="connsiteX261" fmla="*/ 43805 w 218720"/>
                <a:gd name="connsiteY261" fmla="*/ 111640 h 359632"/>
                <a:gd name="connsiteX262" fmla="*/ 44313 w 218720"/>
                <a:gd name="connsiteY262" fmla="*/ 113393 h 359632"/>
                <a:gd name="connsiteX263" fmla="*/ 44429 w 218720"/>
                <a:gd name="connsiteY263" fmla="*/ 114645 h 359632"/>
                <a:gd name="connsiteX264" fmla="*/ 45361 w 218720"/>
                <a:gd name="connsiteY264" fmla="*/ 115043 h 359632"/>
                <a:gd name="connsiteX265" fmla="*/ 45931 w 218720"/>
                <a:gd name="connsiteY265" fmla="*/ 115619 h 359632"/>
                <a:gd name="connsiteX266" fmla="*/ 50074 w 218720"/>
                <a:gd name="connsiteY266" fmla="*/ 116264 h 359632"/>
                <a:gd name="connsiteX267" fmla="*/ 53927 w 218720"/>
                <a:gd name="connsiteY267" fmla="*/ 116083 h 359632"/>
                <a:gd name="connsiteX268" fmla="*/ 54669 w 218720"/>
                <a:gd name="connsiteY268" fmla="*/ 116598 h 359632"/>
                <a:gd name="connsiteX269" fmla="*/ 54753 w 218720"/>
                <a:gd name="connsiteY269" fmla="*/ 117416 h 359632"/>
                <a:gd name="connsiteX270" fmla="*/ 54144 w 218720"/>
                <a:gd name="connsiteY270" fmla="*/ 118318 h 359632"/>
                <a:gd name="connsiteX271" fmla="*/ 51950 w 218720"/>
                <a:gd name="connsiteY271" fmla="*/ 119963 h 359632"/>
                <a:gd name="connsiteX272" fmla="*/ 49333 w 218720"/>
                <a:gd name="connsiteY272" fmla="*/ 122618 h 359632"/>
                <a:gd name="connsiteX273" fmla="*/ 48553 w 218720"/>
                <a:gd name="connsiteY273" fmla="*/ 123171 h 359632"/>
                <a:gd name="connsiteX274" fmla="*/ 47707 w 218720"/>
                <a:gd name="connsiteY274" fmla="*/ 123194 h 359632"/>
                <a:gd name="connsiteX275" fmla="*/ 47100 w 218720"/>
                <a:gd name="connsiteY275" fmla="*/ 122956 h 359632"/>
                <a:gd name="connsiteX276" fmla="*/ 46666 w 218720"/>
                <a:gd name="connsiteY276" fmla="*/ 118230 h 359632"/>
                <a:gd name="connsiteX277" fmla="*/ 43828 w 218720"/>
                <a:gd name="connsiteY277" fmla="*/ 118835 h 359632"/>
                <a:gd name="connsiteX278" fmla="*/ 41542 w 218720"/>
                <a:gd name="connsiteY278" fmla="*/ 118766 h 359632"/>
                <a:gd name="connsiteX279" fmla="*/ 40291 w 218720"/>
                <a:gd name="connsiteY279" fmla="*/ 118190 h 359632"/>
                <a:gd name="connsiteX280" fmla="*/ 39413 w 218720"/>
                <a:gd name="connsiteY280" fmla="*/ 117080 h 359632"/>
                <a:gd name="connsiteX281" fmla="*/ 37643 w 218720"/>
                <a:gd name="connsiteY281" fmla="*/ 114224 h 359632"/>
                <a:gd name="connsiteX282" fmla="*/ 32491 w 218720"/>
                <a:gd name="connsiteY282" fmla="*/ 113100 h 359632"/>
                <a:gd name="connsiteX283" fmla="*/ 31034 w 218720"/>
                <a:gd name="connsiteY283" fmla="*/ 111525 h 359632"/>
                <a:gd name="connsiteX284" fmla="*/ 30596 w 218720"/>
                <a:gd name="connsiteY284" fmla="*/ 110573 h 359632"/>
                <a:gd name="connsiteX285" fmla="*/ 30782 w 218720"/>
                <a:gd name="connsiteY285" fmla="*/ 110047 h 359632"/>
                <a:gd name="connsiteX286" fmla="*/ 31855 w 218720"/>
                <a:gd name="connsiteY286" fmla="*/ 108875 h 359632"/>
                <a:gd name="connsiteX287" fmla="*/ 33198 w 218720"/>
                <a:gd name="connsiteY287" fmla="*/ 109293 h 359632"/>
                <a:gd name="connsiteX288" fmla="*/ 34029 w 218720"/>
                <a:gd name="connsiteY288" fmla="*/ 109037 h 359632"/>
                <a:gd name="connsiteX289" fmla="*/ 34535 w 218720"/>
                <a:gd name="connsiteY289" fmla="*/ 108513 h 359632"/>
                <a:gd name="connsiteX290" fmla="*/ 34524 w 218720"/>
                <a:gd name="connsiteY290" fmla="*/ 108083 h 359632"/>
                <a:gd name="connsiteX291" fmla="*/ 33821 w 218720"/>
                <a:gd name="connsiteY291" fmla="*/ 107061 h 359632"/>
                <a:gd name="connsiteX292" fmla="*/ 33788 w 218720"/>
                <a:gd name="connsiteY292" fmla="*/ 106743 h 359632"/>
                <a:gd name="connsiteX293" fmla="*/ 39057 w 218720"/>
                <a:gd name="connsiteY293" fmla="*/ 105449 h 359632"/>
                <a:gd name="connsiteX294" fmla="*/ 39517 w 218720"/>
                <a:gd name="connsiteY294" fmla="*/ 103424 h 359632"/>
                <a:gd name="connsiteX295" fmla="*/ 20769 w 218720"/>
                <a:gd name="connsiteY295" fmla="*/ 102908 h 359632"/>
                <a:gd name="connsiteX296" fmla="*/ 23263 w 218720"/>
                <a:gd name="connsiteY296" fmla="*/ 104705 h 359632"/>
                <a:gd name="connsiteX297" fmla="*/ 21276 w 218720"/>
                <a:gd name="connsiteY297" fmla="*/ 107680 h 359632"/>
                <a:gd name="connsiteX298" fmla="*/ 18226 w 218720"/>
                <a:gd name="connsiteY298" fmla="*/ 107666 h 359632"/>
                <a:gd name="connsiteX299" fmla="*/ 13932 w 218720"/>
                <a:gd name="connsiteY299" fmla="*/ 105492 h 359632"/>
                <a:gd name="connsiteX300" fmla="*/ 13913 w 218720"/>
                <a:gd name="connsiteY300" fmla="*/ 105049 h 359632"/>
                <a:gd name="connsiteX301" fmla="*/ 14271 w 218720"/>
                <a:gd name="connsiteY301" fmla="*/ 104396 h 359632"/>
                <a:gd name="connsiteX302" fmla="*/ 14915 w 218720"/>
                <a:gd name="connsiteY302" fmla="*/ 103879 h 359632"/>
                <a:gd name="connsiteX303" fmla="*/ 15584 w 218720"/>
                <a:gd name="connsiteY303" fmla="*/ 103756 h 359632"/>
                <a:gd name="connsiteX304" fmla="*/ 16649 w 218720"/>
                <a:gd name="connsiteY304" fmla="*/ 104113 h 359632"/>
                <a:gd name="connsiteX305" fmla="*/ 18131 w 218720"/>
                <a:gd name="connsiteY305" fmla="*/ 103541 h 359632"/>
                <a:gd name="connsiteX306" fmla="*/ 19318 w 218720"/>
                <a:gd name="connsiteY306" fmla="*/ 103722 h 359632"/>
                <a:gd name="connsiteX307" fmla="*/ 42176 w 218720"/>
                <a:gd name="connsiteY307" fmla="*/ 76583 h 359632"/>
                <a:gd name="connsiteX308" fmla="*/ 42574 w 218720"/>
                <a:gd name="connsiteY308" fmla="*/ 77039 h 359632"/>
                <a:gd name="connsiteX309" fmla="*/ 43131 w 218720"/>
                <a:gd name="connsiteY309" fmla="*/ 78770 h 359632"/>
                <a:gd name="connsiteX310" fmla="*/ 43033 w 218720"/>
                <a:gd name="connsiteY310" fmla="*/ 81087 h 359632"/>
                <a:gd name="connsiteX311" fmla="*/ 40222 w 218720"/>
                <a:gd name="connsiteY311" fmla="*/ 86702 h 359632"/>
                <a:gd name="connsiteX312" fmla="*/ 39121 w 218720"/>
                <a:gd name="connsiteY312" fmla="*/ 86840 h 359632"/>
                <a:gd name="connsiteX313" fmla="*/ 38155 w 218720"/>
                <a:gd name="connsiteY313" fmla="*/ 88241 h 359632"/>
                <a:gd name="connsiteX314" fmla="*/ 35163 w 218720"/>
                <a:gd name="connsiteY314" fmla="*/ 89786 h 359632"/>
                <a:gd name="connsiteX315" fmla="*/ 37774 w 218720"/>
                <a:gd name="connsiteY315" fmla="*/ 89818 h 359632"/>
                <a:gd name="connsiteX316" fmla="*/ 38507 w 218720"/>
                <a:gd name="connsiteY316" fmla="*/ 90332 h 359632"/>
                <a:gd name="connsiteX317" fmla="*/ 38528 w 218720"/>
                <a:gd name="connsiteY317" fmla="*/ 91440 h 359632"/>
                <a:gd name="connsiteX318" fmla="*/ 38025 w 218720"/>
                <a:gd name="connsiteY318" fmla="*/ 92084 h 359632"/>
                <a:gd name="connsiteX319" fmla="*/ 34643 w 218720"/>
                <a:gd name="connsiteY319" fmla="*/ 94646 h 359632"/>
                <a:gd name="connsiteX320" fmla="*/ 32317 w 218720"/>
                <a:gd name="connsiteY320" fmla="*/ 95617 h 359632"/>
                <a:gd name="connsiteX321" fmla="*/ 29812 w 218720"/>
                <a:gd name="connsiteY321" fmla="*/ 98289 h 359632"/>
                <a:gd name="connsiteX322" fmla="*/ 28548 w 218720"/>
                <a:gd name="connsiteY322" fmla="*/ 98322 h 359632"/>
                <a:gd name="connsiteX323" fmla="*/ 27296 w 218720"/>
                <a:gd name="connsiteY323" fmla="*/ 100020 h 359632"/>
                <a:gd name="connsiteX324" fmla="*/ 26266 w 218720"/>
                <a:gd name="connsiteY324" fmla="*/ 100766 h 359632"/>
                <a:gd name="connsiteX325" fmla="*/ 25688 w 218720"/>
                <a:gd name="connsiteY325" fmla="*/ 100768 h 359632"/>
                <a:gd name="connsiteX326" fmla="*/ 25023 w 218720"/>
                <a:gd name="connsiteY326" fmla="*/ 100392 h 359632"/>
                <a:gd name="connsiteX327" fmla="*/ 23469 w 218720"/>
                <a:gd name="connsiteY327" fmla="*/ 98730 h 359632"/>
                <a:gd name="connsiteX328" fmla="*/ 26288 w 218720"/>
                <a:gd name="connsiteY328" fmla="*/ 97094 h 359632"/>
                <a:gd name="connsiteX329" fmla="*/ 26549 w 218720"/>
                <a:gd name="connsiteY329" fmla="*/ 96174 h 359632"/>
                <a:gd name="connsiteX330" fmla="*/ 28480 w 218720"/>
                <a:gd name="connsiteY330" fmla="*/ 95217 h 359632"/>
                <a:gd name="connsiteX331" fmla="*/ 28318 w 218720"/>
                <a:gd name="connsiteY331" fmla="*/ 94918 h 359632"/>
                <a:gd name="connsiteX332" fmla="*/ 25258 w 218720"/>
                <a:gd name="connsiteY332" fmla="*/ 93571 h 359632"/>
                <a:gd name="connsiteX333" fmla="*/ 24052 w 218720"/>
                <a:gd name="connsiteY333" fmla="*/ 92664 h 359632"/>
                <a:gd name="connsiteX334" fmla="*/ 24166 w 218720"/>
                <a:gd name="connsiteY334" fmla="*/ 92190 h 359632"/>
                <a:gd name="connsiteX335" fmla="*/ 25639 w 218720"/>
                <a:gd name="connsiteY335" fmla="*/ 91147 h 359632"/>
                <a:gd name="connsiteX336" fmla="*/ 24941 w 218720"/>
                <a:gd name="connsiteY336" fmla="*/ 91009 h 359632"/>
                <a:gd name="connsiteX337" fmla="*/ 24469 w 218720"/>
                <a:gd name="connsiteY337" fmla="*/ 90446 h 359632"/>
                <a:gd name="connsiteX338" fmla="*/ 23614 w 218720"/>
                <a:gd name="connsiteY338" fmla="*/ 90232 h 359632"/>
                <a:gd name="connsiteX339" fmla="*/ 23358 w 218720"/>
                <a:gd name="connsiteY339" fmla="*/ 89707 h 359632"/>
                <a:gd name="connsiteX340" fmla="*/ 23200 w 218720"/>
                <a:gd name="connsiteY340" fmla="*/ 88328 h 359632"/>
                <a:gd name="connsiteX341" fmla="*/ 23429 w 218720"/>
                <a:gd name="connsiteY341" fmla="*/ 86917 h 359632"/>
                <a:gd name="connsiteX342" fmla="*/ 24321 w 218720"/>
                <a:gd name="connsiteY342" fmla="*/ 86294 h 359632"/>
                <a:gd name="connsiteX343" fmla="*/ 24686 w 218720"/>
                <a:gd name="connsiteY343" fmla="*/ 85626 h 359632"/>
                <a:gd name="connsiteX344" fmla="*/ 25047 w 218720"/>
                <a:gd name="connsiteY344" fmla="*/ 85421 h 359632"/>
                <a:gd name="connsiteX345" fmla="*/ 26429 w 218720"/>
                <a:gd name="connsiteY345" fmla="*/ 85776 h 359632"/>
                <a:gd name="connsiteX346" fmla="*/ 27830 w 218720"/>
                <a:gd name="connsiteY346" fmla="*/ 86905 h 359632"/>
                <a:gd name="connsiteX347" fmla="*/ 29465 w 218720"/>
                <a:gd name="connsiteY347" fmla="*/ 86470 h 359632"/>
                <a:gd name="connsiteX348" fmla="*/ 31363 w 218720"/>
                <a:gd name="connsiteY348" fmla="*/ 86685 h 359632"/>
                <a:gd name="connsiteX349" fmla="*/ 31402 w 218720"/>
                <a:gd name="connsiteY349" fmla="*/ 86423 h 359632"/>
                <a:gd name="connsiteX350" fmla="*/ 30008 w 218720"/>
                <a:gd name="connsiteY350" fmla="*/ 83645 h 359632"/>
                <a:gd name="connsiteX351" fmla="*/ 30257 w 218720"/>
                <a:gd name="connsiteY351" fmla="*/ 83077 h 359632"/>
                <a:gd name="connsiteX352" fmla="*/ 31013 w 218720"/>
                <a:gd name="connsiteY352" fmla="*/ 82429 h 359632"/>
                <a:gd name="connsiteX353" fmla="*/ 35393 w 218720"/>
                <a:gd name="connsiteY353" fmla="*/ 80446 h 359632"/>
                <a:gd name="connsiteX354" fmla="*/ 40855 w 218720"/>
                <a:gd name="connsiteY354" fmla="*/ 77107 h 359632"/>
                <a:gd name="connsiteX355" fmla="*/ 108033 w 218720"/>
                <a:gd name="connsiteY355" fmla="*/ 71824 h 359632"/>
                <a:gd name="connsiteX356" fmla="*/ 112589 w 218720"/>
                <a:gd name="connsiteY356" fmla="*/ 72316 h 359632"/>
                <a:gd name="connsiteX357" fmla="*/ 112741 w 218720"/>
                <a:gd name="connsiteY357" fmla="*/ 72940 h 359632"/>
                <a:gd name="connsiteX358" fmla="*/ 112503 w 218720"/>
                <a:gd name="connsiteY358" fmla="*/ 73806 h 359632"/>
                <a:gd name="connsiteX359" fmla="*/ 111337 w 218720"/>
                <a:gd name="connsiteY359" fmla="*/ 76175 h 359632"/>
                <a:gd name="connsiteX360" fmla="*/ 111527 w 218720"/>
                <a:gd name="connsiteY360" fmla="*/ 78816 h 359632"/>
                <a:gd name="connsiteX361" fmla="*/ 111267 w 218720"/>
                <a:gd name="connsiteY361" fmla="*/ 79616 h 359632"/>
                <a:gd name="connsiteX362" fmla="*/ 110738 w 218720"/>
                <a:gd name="connsiteY362" fmla="*/ 80602 h 359632"/>
                <a:gd name="connsiteX363" fmla="*/ 109067 w 218720"/>
                <a:gd name="connsiteY363" fmla="*/ 82442 h 359632"/>
                <a:gd name="connsiteX364" fmla="*/ 104675 w 218720"/>
                <a:gd name="connsiteY364" fmla="*/ 85069 h 359632"/>
                <a:gd name="connsiteX365" fmla="*/ 96626 w 218720"/>
                <a:gd name="connsiteY365" fmla="*/ 91095 h 359632"/>
                <a:gd name="connsiteX366" fmla="*/ 91871 w 218720"/>
                <a:gd name="connsiteY366" fmla="*/ 94080 h 359632"/>
                <a:gd name="connsiteX367" fmla="*/ 91217 w 218720"/>
                <a:gd name="connsiteY367" fmla="*/ 95514 h 359632"/>
                <a:gd name="connsiteX368" fmla="*/ 90864 w 218720"/>
                <a:gd name="connsiteY368" fmla="*/ 97507 h 359632"/>
                <a:gd name="connsiteX369" fmla="*/ 93711 w 218720"/>
                <a:gd name="connsiteY369" fmla="*/ 97902 h 359632"/>
                <a:gd name="connsiteX370" fmla="*/ 94810 w 218720"/>
                <a:gd name="connsiteY370" fmla="*/ 98577 h 359632"/>
                <a:gd name="connsiteX371" fmla="*/ 94128 w 218720"/>
                <a:gd name="connsiteY371" fmla="*/ 99588 h 359632"/>
                <a:gd name="connsiteX372" fmla="*/ 89917 w 218720"/>
                <a:gd name="connsiteY372" fmla="*/ 103097 h 359632"/>
                <a:gd name="connsiteX373" fmla="*/ 88676 w 218720"/>
                <a:gd name="connsiteY373" fmla="*/ 106264 h 359632"/>
                <a:gd name="connsiteX374" fmla="*/ 91905 w 218720"/>
                <a:gd name="connsiteY374" fmla="*/ 106152 h 359632"/>
                <a:gd name="connsiteX375" fmla="*/ 94566 w 218720"/>
                <a:gd name="connsiteY375" fmla="*/ 105544 h 359632"/>
                <a:gd name="connsiteX376" fmla="*/ 99872 w 218720"/>
                <a:gd name="connsiteY376" fmla="*/ 103569 h 359632"/>
                <a:gd name="connsiteX377" fmla="*/ 104856 w 218720"/>
                <a:gd name="connsiteY377" fmla="*/ 102101 h 359632"/>
                <a:gd name="connsiteX378" fmla="*/ 107250 w 218720"/>
                <a:gd name="connsiteY378" fmla="*/ 102040 h 359632"/>
                <a:gd name="connsiteX379" fmla="*/ 111907 w 218720"/>
                <a:gd name="connsiteY379" fmla="*/ 103211 h 359632"/>
                <a:gd name="connsiteX380" fmla="*/ 112966 w 218720"/>
                <a:gd name="connsiteY380" fmla="*/ 103248 h 359632"/>
                <a:gd name="connsiteX381" fmla="*/ 114942 w 218720"/>
                <a:gd name="connsiteY381" fmla="*/ 102707 h 359632"/>
                <a:gd name="connsiteX382" fmla="*/ 116940 w 218720"/>
                <a:gd name="connsiteY382" fmla="*/ 102611 h 359632"/>
                <a:gd name="connsiteX383" fmla="*/ 130476 w 218720"/>
                <a:gd name="connsiteY383" fmla="*/ 102975 h 359632"/>
                <a:gd name="connsiteX384" fmla="*/ 134237 w 218720"/>
                <a:gd name="connsiteY384" fmla="*/ 102288 h 359632"/>
                <a:gd name="connsiteX385" fmla="*/ 136725 w 218720"/>
                <a:gd name="connsiteY385" fmla="*/ 103110 h 359632"/>
                <a:gd name="connsiteX386" fmla="*/ 138807 w 218720"/>
                <a:gd name="connsiteY386" fmla="*/ 105161 h 359632"/>
                <a:gd name="connsiteX387" fmla="*/ 140785 w 218720"/>
                <a:gd name="connsiteY387" fmla="*/ 108939 h 359632"/>
                <a:gd name="connsiteX388" fmla="*/ 140725 w 218720"/>
                <a:gd name="connsiteY388" fmla="*/ 109567 h 359632"/>
                <a:gd name="connsiteX389" fmla="*/ 139530 w 218720"/>
                <a:gd name="connsiteY389" fmla="*/ 111286 h 359632"/>
                <a:gd name="connsiteX390" fmla="*/ 137324 w 218720"/>
                <a:gd name="connsiteY390" fmla="*/ 113440 h 359632"/>
                <a:gd name="connsiteX391" fmla="*/ 135426 w 218720"/>
                <a:gd name="connsiteY391" fmla="*/ 116402 h 359632"/>
                <a:gd name="connsiteX392" fmla="*/ 134869 w 218720"/>
                <a:gd name="connsiteY392" fmla="*/ 117998 h 359632"/>
                <a:gd name="connsiteX393" fmla="*/ 134496 w 218720"/>
                <a:gd name="connsiteY393" fmla="*/ 119743 h 359632"/>
                <a:gd name="connsiteX394" fmla="*/ 133895 w 218720"/>
                <a:gd name="connsiteY394" fmla="*/ 121356 h 359632"/>
                <a:gd name="connsiteX395" fmla="*/ 130120 w 218720"/>
                <a:gd name="connsiteY395" fmla="*/ 128914 h 359632"/>
                <a:gd name="connsiteX396" fmla="*/ 126440 w 218720"/>
                <a:gd name="connsiteY396" fmla="*/ 133093 h 359632"/>
                <a:gd name="connsiteX397" fmla="*/ 124797 w 218720"/>
                <a:gd name="connsiteY397" fmla="*/ 136055 h 359632"/>
                <a:gd name="connsiteX398" fmla="*/ 122769 w 218720"/>
                <a:gd name="connsiteY398" fmla="*/ 138412 h 359632"/>
                <a:gd name="connsiteX399" fmla="*/ 120818 w 218720"/>
                <a:gd name="connsiteY399" fmla="*/ 139893 h 359632"/>
                <a:gd name="connsiteX400" fmla="*/ 118734 w 218720"/>
                <a:gd name="connsiteY400" fmla="*/ 140879 h 359632"/>
                <a:gd name="connsiteX401" fmla="*/ 112714 w 218720"/>
                <a:gd name="connsiteY401" fmla="*/ 141933 h 359632"/>
                <a:gd name="connsiteX402" fmla="*/ 111030 w 218720"/>
                <a:gd name="connsiteY402" fmla="*/ 142688 h 359632"/>
                <a:gd name="connsiteX403" fmla="*/ 109021 w 218720"/>
                <a:gd name="connsiteY403" fmla="*/ 143984 h 359632"/>
                <a:gd name="connsiteX404" fmla="*/ 106909 w 218720"/>
                <a:gd name="connsiteY404" fmla="*/ 144625 h 359632"/>
                <a:gd name="connsiteX405" fmla="*/ 109385 w 218720"/>
                <a:gd name="connsiteY405" fmla="*/ 144544 h 359632"/>
                <a:gd name="connsiteX406" fmla="*/ 111839 w 218720"/>
                <a:gd name="connsiteY406" fmla="*/ 143823 h 359632"/>
                <a:gd name="connsiteX407" fmla="*/ 116302 w 218720"/>
                <a:gd name="connsiteY407" fmla="*/ 143559 h 359632"/>
                <a:gd name="connsiteX408" fmla="*/ 121442 w 218720"/>
                <a:gd name="connsiteY408" fmla="*/ 146041 h 359632"/>
                <a:gd name="connsiteX409" fmla="*/ 120965 w 218720"/>
                <a:gd name="connsiteY409" fmla="*/ 148069 h 359632"/>
                <a:gd name="connsiteX410" fmla="*/ 118902 w 218720"/>
                <a:gd name="connsiteY410" fmla="*/ 149672 h 359632"/>
                <a:gd name="connsiteX411" fmla="*/ 114210 w 218720"/>
                <a:gd name="connsiteY411" fmla="*/ 149924 h 359632"/>
                <a:gd name="connsiteX412" fmla="*/ 109822 w 218720"/>
                <a:gd name="connsiteY412" fmla="*/ 153482 h 359632"/>
                <a:gd name="connsiteX413" fmla="*/ 107842 w 218720"/>
                <a:gd name="connsiteY413" fmla="*/ 154576 h 359632"/>
                <a:gd name="connsiteX414" fmla="*/ 105753 w 218720"/>
                <a:gd name="connsiteY414" fmla="*/ 155119 h 359632"/>
                <a:gd name="connsiteX415" fmla="*/ 103140 w 218720"/>
                <a:gd name="connsiteY415" fmla="*/ 154958 h 359632"/>
                <a:gd name="connsiteX416" fmla="*/ 98392 w 218720"/>
                <a:gd name="connsiteY416" fmla="*/ 154006 h 359632"/>
                <a:gd name="connsiteX417" fmla="*/ 96315 w 218720"/>
                <a:gd name="connsiteY417" fmla="*/ 153011 h 359632"/>
                <a:gd name="connsiteX418" fmla="*/ 98193 w 218720"/>
                <a:gd name="connsiteY418" fmla="*/ 154635 h 359632"/>
                <a:gd name="connsiteX419" fmla="*/ 100323 w 218720"/>
                <a:gd name="connsiteY419" fmla="*/ 155481 h 359632"/>
                <a:gd name="connsiteX420" fmla="*/ 112685 w 218720"/>
                <a:gd name="connsiteY420" fmla="*/ 157477 h 359632"/>
                <a:gd name="connsiteX421" fmla="*/ 113429 w 218720"/>
                <a:gd name="connsiteY421" fmla="*/ 157270 h 359632"/>
                <a:gd name="connsiteX422" fmla="*/ 117370 w 218720"/>
                <a:gd name="connsiteY422" fmla="*/ 155162 h 359632"/>
                <a:gd name="connsiteX423" fmla="*/ 122622 w 218720"/>
                <a:gd name="connsiteY423" fmla="*/ 155130 h 359632"/>
                <a:gd name="connsiteX424" fmla="*/ 132623 w 218720"/>
                <a:gd name="connsiteY424" fmla="*/ 159002 h 359632"/>
                <a:gd name="connsiteX425" fmla="*/ 135502 w 218720"/>
                <a:gd name="connsiteY425" fmla="*/ 161957 h 359632"/>
                <a:gd name="connsiteX426" fmla="*/ 139628 w 218720"/>
                <a:gd name="connsiteY426" fmla="*/ 166187 h 359632"/>
                <a:gd name="connsiteX427" fmla="*/ 141872 w 218720"/>
                <a:gd name="connsiteY427" fmla="*/ 167836 h 359632"/>
                <a:gd name="connsiteX428" fmla="*/ 143495 w 218720"/>
                <a:gd name="connsiteY428" fmla="*/ 169330 h 359632"/>
                <a:gd name="connsiteX429" fmla="*/ 144495 w 218720"/>
                <a:gd name="connsiteY429" fmla="*/ 171567 h 359632"/>
                <a:gd name="connsiteX430" fmla="*/ 146432 w 218720"/>
                <a:gd name="connsiteY430" fmla="*/ 178938 h 359632"/>
                <a:gd name="connsiteX431" fmla="*/ 148641 w 218720"/>
                <a:gd name="connsiteY431" fmla="*/ 186118 h 359632"/>
                <a:gd name="connsiteX432" fmla="*/ 151536 w 218720"/>
                <a:gd name="connsiteY432" fmla="*/ 193871 h 359632"/>
                <a:gd name="connsiteX433" fmla="*/ 152847 w 218720"/>
                <a:gd name="connsiteY433" fmla="*/ 196020 h 359632"/>
                <a:gd name="connsiteX434" fmla="*/ 154573 w 218720"/>
                <a:gd name="connsiteY434" fmla="*/ 197526 h 359632"/>
                <a:gd name="connsiteX435" fmla="*/ 163309 w 218720"/>
                <a:gd name="connsiteY435" fmla="*/ 200984 h 359632"/>
                <a:gd name="connsiteX436" fmla="*/ 165253 w 218720"/>
                <a:gd name="connsiteY436" fmla="*/ 202129 h 359632"/>
                <a:gd name="connsiteX437" fmla="*/ 168643 w 218720"/>
                <a:gd name="connsiteY437" fmla="*/ 205449 h 359632"/>
                <a:gd name="connsiteX438" fmla="*/ 171909 w 218720"/>
                <a:gd name="connsiteY438" fmla="*/ 208981 h 359632"/>
                <a:gd name="connsiteX439" fmla="*/ 174950 w 218720"/>
                <a:gd name="connsiteY439" fmla="*/ 211690 h 359632"/>
                <a:gd name="connsiteX440" fmla="*/ 178233 w 218720"/>
                <a:gd name="connsiteY440" fmla="*/ 213881 h 359632"/>
                <a:gd name="connsiteX441" fmla="*/ 176643 w 218720"/>
                <a:gd name="connsiteY441" fmla="*/ 215018 h 359632"/>
                <a:gd name="connsiteX442" fmla="*/ 175553 w 218720"/>
                <a:gd name="connsiteY442" fmla="*/ 216806 h 359632"/>
                <a:gd name="connsiteX443" fmla="*/ 176368 w 218720"/>
                <a:gd name="connsiteY443" fmla="*/ 219234 h 359632"/>
                <a:gd name="connsiteX444" fmla="*/ 177705 w 218720"/>
                <a:gd name="connsiteY444" fmla="*/ 221551 h 359632"/>
                <a:gd name="connsiteX445" fmla="*/ 180332 w 218720"/>
                <a:gd name="connsiteY445" fmla="*/ 225253 h 359632"/>
                <a:gd name="connsiteX446" fmla="*/ 182649 w 218720"/>
                <a:gd name="connsiteY446" fmla="*/ 229287 h 359632"/>
                <a:gd name="connsiteX447" fmla="*/ 181795 w 218720"/>
                <a:gd name="connsiteY447" fmla="*/ 228678 h 359632"/>
                <a:gd name="connsiteX448" fmla="*/ 180897 w 218720"/>
                <a:gd name="connsiteY448" fmla="*/ 228344 h 359632"/>
                <a:gd name="connsiteX449" fmla="*/ 179669 w 218720"/>
                <a:gd name="connsiteY449" fmla="*/ 228444 h 359632"/>
                <a:gd name="connsiteX450" fmla="*/ 178469 w 218720"/>
                <a:gd name="connsiteY450" fmla="*/ 228249 h 359632"/>
                <a:gd name="connsiteX451" fmla="*/ 176255 w 218720"/>
                <a:gd name="connsiteY451" fmla="*/ 226987 h 359632"/>
                <a:gd name="connsiteX452" fmla="*/ 174128 w 218720"/>
                <a:gd name="connsiteY452" fmla="*/ 225436 h 359632"/>
                <a:gd name="connsiteX453" fmla="*/ 169897 w 218720"/>
                <a:gd name="connsiteY453" fmla="*/ 226059 h 359632"/>
                <a:gd name="connsiteX454" fmla="*/ 167546 w 218720"/>
                <a:gd name="connsiteY454" fmla="*/ 225780 h 359632"/>
                <a:gd name="connsiteX455" fmla="*/ 165507 w 218720"/>
                <a:gd name="connsiteY455" fmla="*/ 225821 h 359632"/>
                <a:gd name="connsiteX456" fmla="*/ 169373 w 218720"/>
                <a:gd name="connsiteY456" fmla="*/ 226717 h 359632"/>
                <a:gd name="connsiteX457" fmla="*/ 173605 w 218720"/>
                <a:gd name="connsiteY457" fmla="*/ 226779 h 359632"/>
                <a:gd name="connsiteX458" fmla="*/ 182937 w 218720"/>
                <a:gd name="connsiteY458" fmla="*/ 233539 h 359632"/>
                <a:gd name="connsiteX459" fmla="*/ 186091 w 218720"/>
                <a:gd name="connsiteY459" fmla="*/ 237535 h 359632"/>
                <a:gd name="connsiteX460" fmla="*/ 187966 w 218720"/>
                <a:gd name="connsiteY460" fmla="*/ 242808 h 359632"/>
                <a:gd name="connsiteX461" fmla="*/ 186689 w 218720"/>
                <a:gd name="connsiteY461" fmla="*/ 245172 h 359632"/>
                <a:gd name="connsiteX462" fmla="*/ 184703 w 218720"/>
                <a:gd name="connsiteY462" fmla="*/ 246703 h 359632"/>
                <a:gd name="connsiteX463" fmla="*/ 182850 w 218720"/>
                <a:gd name="connsiteY463" fmla="*/ 248453 h 359632"/>
                <a:gd name="connsiteX464" fmla="*/ 181114 w 218720"/>
                <a:gd name="connsiteY464" fmla="*/ 250427 h 359632"/>
                <a:gd name="connsiteX465" fmla="*/ 186286 w 218720"/>
                <a:gd name="connsiteY465" fmla="*/ 253324 h 359632"/>
                <a:gd name="connsiteX466" fmla="*/ 187400 w 218720"/>
                <a:gd name="connsiteY466" fmla="*/ 253236 h 359632"/>
                <a:gd name="connsiteX467" fmla="*/ 188544 w 218720"/>
                <a:gd name="connsiteY467" fmla="*/ 252831 h 359632"/>
                <a:gd name="connsiteX468" fmla="*/ 189644 w 218720"/>
                <a:gd name="connsiteY468" fmla="*/ 251846 h 359632"/>
                <a:gd name="connsiteX469" fmla="*/ 191498 w 218720"/>
                <a:gd name="connsiteY469" fmla="*/ 249447 h 359632"/>
                <a:gd name="connsiteX470" fmla="*/ 192455 w 218720"/>
                <a:gd name="connsiteY470" fmla="*/ 248592 h 359632"/>
                <a:gd name="connsiteX471" fmla="*/ 195677 w 218720"/>
                <a:gd name="connsiteY471" fmla="*/ 248284 h 359632"/>
                <a:gd name="connsiteX472" fmla="*/ 198380 w 218720"/>
                <a:gd name="connsiteY472" fmla="*/ 248468 h 359632"/>
                <a:gd name="connsiteX473" fmla="*/ 201073 w 218720"/>
                <a:gd name="connsiteY473" fmla="*/ 248998 h 359632"/>
                <a:gd name="connsiteX474" fmla="*/ 203440 w 218720"/>
                <a:gd name="connsiteY474" fmla="*/ 248830 h 359632"/>
                <a:gd name="connsiteX475" fmla="*/ 208210 w 218720"/>
                <a:gd name="connsiteY475" fmla="*/ 249860 h 359632"/>
                <a:gd name="connsiteX476" fmla="*/ 210661 w 218720"/>
                <a:gd name="connsiteY476" fmla="*/ 250789 h 359632"/>
                <a:gd name="connsiteX477" fmla="*/ 216733 w 218720"/>
                <a:gd name="connsiteY477" fmla="*/ 254966 h 359632"/>
                <a:gd name="connsiteX478" fmla="*/ 218046 w 218720"/>
                <a:gd name="connsiteY478" fmla="*/ 257247 h 359632"/>
                <a:gd name="connsiteX479" fmla="*/ 218648 w 218720"/>
                <a:gd name="connsiteY479" fmla="*/ 260190 h 359632"/>
                <a:gd name="connsiteX480" fmla="*/ 218720 w 218720"/>
                <a:gd name="connsiteY480" fmla="*/ 263449 h 359632"/>
                <a:gd name="connsiteX481" fmla="*/ 217698 w 218720"/>
                <a:gd name="connsiteY481" fmla="*/ 266425 h 359632"/>
                <a:gd name="connsiteX482" fmla="*/ 216526 w 218720"/>
                <a:gd name="connsiteY482" fmla="*/ 269108 h 359632"/>
                <a:gd name="connsiteX483" fmla="*/ 215802 w 218720"/>
                <a:gd name="connsiteY483" fmla="*/ 272568 h 359632"/>
                <a:gd name="connsiteX484" fmla="*/ 215289 w 218720"/>
                <a:gd name="connsiteY484" fmla="*/ 273813 h 359632"/>
                <a:gd name="connsiteX485" fmla="*/ 214571 w 218720"/>
                <a:gd name="connsiteY485" fmla="*/ 274788 h 359632"/>
                <a:gd name="connsiteX486" fmla="*/ 211354 w 218720"/>
                <a:gd name="connsiteY486" fmla="*/ 277512 h 359632"/>
                <a:gd name="connsiteX487" fmla="*/ 209216 w 218720"/>
                <a:gd name="connsiteY487" fmla="*/ 278631 h 359632"/>
                <a:gd name="connsiteX488" fmla="*/ 208313 w 218720"/>
                <a:gd name="connsiteY488" fmla="*/ 278140 h 359632"/>
                <a:gd name="connsiteX489" fmla="*/ 207351 w 218720"/>
                <a:gd name="connsiteY489" fmla="*/ 278208 h 359632"/>
                <a:gd name="connsiteX490" fmla="*/ 207249 w 218720"/>
                <a:gd name="connsiteY490" fmla="*/ 278862 h 359632"/>
                <a:gd name="connsiteX491" fmla="*/ 208266 w 218720"/>
                <a:gd name="connsiteY491" fmla="*/ 280251 h 359632"/>
                <a:gd name="connsiteX492" fmla="*/ 208279 w 218720"/>
                <a:gd name="connsiteY492" fmla="*/ 281926 h 359632"/>
                <a:gd name="connsiteX493" fmla="*/ 206379 w 218720"/>
                <a:gd name="connsiteY493" fmla="*/ 283165 h 359632"/>
                <a:gd name="connsiteX494" fmla="*/ 204448 w 218720"/>
                <a:gd name="connsiteY494" fmla="*/ 283694 h 359632"/>
                <a:gd name="connsiteX495" fmla="*/ 201218 w 218720"/>
                <a:gd name="connsiteY495" fmla="*/ 283034 h 359632"/>
                <a:gd name="connsiteX496" fmla="*/ 196733 w 218720"/>
                <a:gd name="connsiteY496" fmla="*/ 285340 h 359632"/>
                <a:gd name="connsiteX497" fmla="*/ 199957 w 218720"/>
                <a:gd name="connsiteY497" fmla="*/ 286524 h 359632"/>
                <a:gd name="connsiteX498" fmla="*/ 200607 w 218720"/>
                <a:gd name="connsiteY498" fmla="*/ 287784 h 359632"/>
                <a:gd name="connsiteX499" fmla="*/ 199799 w 218720"/>
                <a:gd name="connsiteY499" fmla="*/ 289997 h 359632"/>
                <a:gd name="connsiteX500" fmla="*/ 197771 w 218720"/>
                <a:gd name="connsiteY500" fmla="*/ 290983 h 359632"/>
                <a:gd name="connsiteX501" fmla="*/ 195523 w 218720"/>
                <a:gd name="connsiteY501" fmla="*/ 291420 h 359632"/>
                <a:gd name="connsiteX502" fmla="*/ 193222 w 218720"/>
                <a:gd name="connsiteY502" fmla="*/ 291524 h 359632"/>
                <a:gd name="connsiteX503" fmla="*/ 191315 w 218720"/>
                <a:gd name="connsiteY503" fmla="*/ 292065 h 359632"/>
                <a:gd name="connsiteX504" fmla="*/ 189486 w 218720"/>
                <a:gd name="connsiteY504" fmla="*/ 293107 h 359632"/>
                <a:gd name="connsiteX505" fmla="*/ 191781 w 218720"/>
                <a:gd name="connsiteY505" fmla="*/ 292553 h 359632"/>
                <a:gd name="connsiteX506" fmla="*/ 193373 w 218720"/>
                <a:gd name="connsiteY506" fmla="*/ 293038 h 359632"/>
                <a:gd name="connsiteX507" fmla="*/ 194372 w 218720"/>
                <a:gd name="connsiteY507" fmla="*/ 294897 h 359632"/>
                <a:gd name="connsiteX508" fmla="*/ 195280 w 218720"/>
                <a:gd name="connsiteY508" fmla="*/ 295428 h 359632"/>
                <a:gd name="connsiteX509" fmla="*/ 199765 w 218720"/>
                <a:gd name="connsiteY509" fmla="*/ 296222 h 359632"/>
                <a:gd name="connsiteX510" fmla="*/ 202542 w 218720"/>
                <a:gd name="connsiteY510" fmla="*/ 296216 h 359632"/>
                <a:gd name="connsiteX511" fmla="*/ 207897 w 218720"/>
                <a:gd name="connsiteY511" fmla="*/ 295765 h 359632"/>
                <a:gd name="connsiteX512" fmla="*/ 210469 w 218720"/>
                <a:gd name="connsiteY512" fmla="*/ 295776 h 359632"/>
                <a:gd name="connsiteX513" fmla="*/ 211386 w 218720"/>
                <a:gd name="connsiteY513" fmla="*/ 296112 h 359632"/>
                <a:gd name="connsiteX514" fmla="*/ 211402 w 218720"/>
                <a:gd name="connsiteY514" fmla="*/ 297650 h 359632"/>
                <a:gd name="connsiteX515" fmla="*/ 211002 w 218720"/>
                <a:gd name="connsiteY515" fmla="*/ 301424 h 359632"/>
                <a:gd name="connsiteX516" fmla="*/ 210294 w 218720"/>
                <a:gd name="connsiteY516" fmla="*/ 302201 h 359632"/>
                <a:gd name="connsiteX517" fmla="*/ 203194 w 218720"/>
                <a:gd name="connsiteY517" fmla="*/ 305366 h 359632"/>
                <a:gd name="connsiteX518" fmla="*/ 201738 w 218720"/>
                <a:gd name="connsiteY518" fmla="*/ 307574 h 359632"/>
                <a:gd name="connsiteX519" fmla="*/ 201330 w 218720"/>
                <a:gd name="connsiteY519" fmla="*/ 308911 h 359632"/>
                <a:gd name="connsiteX520" fmla="*/ 197178 w 218720"/>
                <a:gd name="connsiteY520" fmla="*/ 308674 h 359632"/>
                <a:gd name="connsiteX521" fmla="*/ 195232 w 218720"/>
                <a:gd name="connsiteY521" fmla="*/ 310087 h 359632"/>
                <a:gd name="connsiteX522" fmla="*/ 191870 w 218720"/>
                <a:gd name="connsiteY522" fmla="*/ 311025 h 359632"/>
                <a:gd name="connsiteX523" fmla="*/ 189270 w 218720"/>
                <a:gd name="connsiteY523" fmla="*/ 312022 h 359632"/>
                <a:gd name="connsiteX524" fmla="*/ 186726 w 218720"/>
                <a:gd name="connsiteY524" fmla="*/ 313282 h 359632"/>
                <a:gd name="connsiteX525" fmla="*/ 184634 w 218720"/>
                <a:gd name="connsiteY525" fmla="*/ 313658 h 359632"/>
                <a:gd name="connsiteX526" fmla="*/ 175590 w 218720"/>
                <a:gd name="connsiteY526" fmla="*/ 312163 h 359632"/>
                <a:gd name="connsiteX527" fmla="*/ 170131 w 218720"/>
                <a:gd name="connsiteY527" fmla="*/ 312286 h 359632"/>
                <a:gd name="connsiteX528" fmla="*/ 162736 w 218720"/>
                <a:gd name="connsiteY528" fmla="*/ 313589 h 359632"/>
                <a:gd name="connsiteX529" fmla="*/ 160831 w 218720"/>
                <a:gd name="connsiteY529" fmla="*/ 313374 h 359632"/>
                <a:gd name="connsiteX530" fmla="*/ 157974 w 218720"/>
                <a:gd name="connsiteY530" fmla="*/ 312126 h 359632"/>
                <a:gd name="connsiteX531" fmla="*/ 155049 w 218720"/>
                <a:gd name="connsiteY531" fmla="*/ 311282 h 359632"/>
                <a:gd name="connsiteX532" fmla="*/ 151683 w 218720"/>
                <a:gd name="connsiteY532" fmla="*/ 310911 h 359632"/>
                <a:gd name="connsiteX533" fmla="*/ 148778 w 218720"/>
                <a:gd name="connsiteY533" fmla="*/ 309757 h 359632"/>
                <a:gd name="connsiteX534" fmla="*/ 150591 w 218720"/>
                <a:gd name="connsiteY534" fmla="*/ 311976 h 359632"/>
                <a:gd name="connsiteX535" fmla="*/ 146561 w 218720"/>
                <a:gd name="connsiteY535" fmla="*/ 314112 h 359632"/>
                <a:gd name="connsiteX536" fmla="*/ 144701 w 218720"/>
                <a:gd name="connsiteY536" fmla="*/ 314537 h 359632"/>
                <a:gd name="connsiteX537" fmla="*/ 142776 w 218720"/>
                <a:gd name="connsiteY537" fmla="*/ 314471 h 359632"/>
                <a:gd name="connsiteX538" fmla="*/ 138837 w 218720"/>
                <a:gd name="connsiteY538" fmla="*/ 315051 h 359632"/>
                <a:gd name="connsiteX539" fmla="*/ 135188 w 218720"/>
                <a:gd name="connsiteY539" fmla="*/ 314755 h 359632"/>
                <a:gd name="connsiteX540" fmla="*/ 135736 w 218720"/>
                <a:gd name="connsiteY540" fmla="*/ 316273 h 359632"/>
                <a:gd name="connsiteX541" fmla="*/ 136714 w 218720"/>
                <a:gd name="connsiteY541" fmla="*/ 317595 h 359632"/>
                <a:gd name="connsiteX542" fmla="*/ 135921 w 218720"/>
                <a:gd name="connsiteY542" fmla="*/ 318170 h 359632"/>
                <a:gd name="connsiteX543" fmla="*/ 135082 w 218720"/>
                <a:gd name="connsiteY543" fmla="*/ 318313 h 359632"/>
                <a:gd name="connsiteX544" fmla="*/ 128132 w 218720"/>
                <a:gd name="connsiteY544" fmla="*/ 317315 h 359632"/>
                <a:gd name="connsiteX545" fmla="*/ 127148 w 218720"/>
                <a:gd name="connsiteY545" fmla="*/ 317504 h 359632"/>
                <a:gd name="connsiteX546" fmla="*/ 126290 w 218720"/>
                <a:gd name="connsiteY546" fmla="*/ 318425 h 359632"/>
                <a:gd name="connsiteX547" fmla="*/ 123763 w 218720"/>
                <a:gd name="connsiteY547" fmla="*/ 317928 h 359632"/>
                <a:gd name="connsiteX548" fmla="*/ 121307 w 218720"/>
                <a:gd name="connsiteY548" fmla="*/ 316375 h 359632"/>
                <a:gd name="connsiteX549" fmla="*/ 118695 w 218720"/>
                <a:gd name="connsiteY549" fmla="*/ 315332 h 359632"/>
                <a:gd name="connsiteX550" fmla="*/ 115954 w 218720"/>
                <a:gd name="connsiteY550" fmla="*/ 314842 h 359632"/>
                <a:gd name="connsiteX551" fmla="*/ 113776 w 218720"/>
                <a:gd name="connsiteY551" fmla="*/ 315011 h 359632"/>
                <a:gd name="connsiteX552" fmla="*/ 104816 w 218720"/>
                <a:gd name="connsiteY552" fmla="*/ 317460 h 359632"/>
                <a:gd name="connsiteX553" fmla="*/ 103028 w 218720"/>
                <a:gd name="connsiteY553" fmla="*/ 319915 h 359632"/>
                <a:gd name="connsiteX554" fmla="*/ 102135 w 218720"/>
                <a:gd name="connsiteY554" fmla="*/ 323393 h 359632"/>
                <a:gd name="connsiteX555" fmla="*/ 100841 w 218720"/>
                <a:gd name="connsiteY555" fmla="*/ 326476 h 359632"/>
                <a:gd name="connsiteX556" fmla="*/ 98731 w 218720"/>
                <a:gd name="connsiteY556" fmla="*/ 328848 h 359632"/>
                <a:gd name="connsiteX557" fmla="*/ 96220 w 218720"/>
                <a:gd name="connsiteY557" fmla="*/ 329157 h 359632"/>
                <a:gd name="connsiteX558" fmla="*/ 93858 w 218720"/>
                <a:gd name="connsiteY558" fmla="*/ 327516 h 359632"/>
                <a:gd name="connsiteX559" fmla="*/ 89364 w 218720"/>
                <a:gd name="connsiteY559" fmla="*/ 325702 h 359632"/>
                <a:gd name="connsiteX560" fmla="*/ 87835 w 218720"/>
                <a:gd name="connsiteY560" fmla="*/ 324476 h 359632"/>
                <a:gd name="connsiteX561" fmla="*/ 87348 w 218720"/>
                <a:gd name="connsiteY561" fmla="*/ 324404 h 359632"/>
                <a:gd name="connsiteX562" fmla="*/ 86846 w 218720"/>
                <a:gd name="connsiteY562" fmla="*/ 324843 h 359632"/>
                <a:gd name="connsiteX563" fmla="*/ 85084 w 218720"/>
                <a:gd name="connsiteY563" fmla="*/ 325396 h 359632"/>
                <a:gd name="connsiteX564" fmla="*/ 83259 w 218720"/>
                <a:gd name="connsiteY564" fmla="*/ 325422 h 359632"/>
                <a:gd name="connsiteX565" fmla="*/ 80447 w 218720"/>
                <a:gd name="connsiteY565" fmla="*/ 325910 h 359632"/>
                <a:gd name="connsiteX566" fmla="*/ 75553 w 218720"/>
                <a:gd name="connsiteY566" fmla="*/ 327384 h 359632"/>
                <a:gd name="connsiteX567" fmla="*/ 73577 w 218720"/>
                <a:gd name="connsiteY567" fmla="*/ 328384 h 359632"/>
                <a:gd name="connsiteX568" fmla="*/ 69328 w 218720"/>
                <a:gd name="connsiteY568" fmla="*/ 331139 h 359632"/>
                <a:gd name="connsiteX569" fmla="*/ 68463 w 218720"/>
                <a:gd name="connsiteY569" fmla="*/ 331901 h 359632"/>
                <a:gd name="connsiteX570" fmla="*/ 66918 w 218720"/>
                <a:gd name="connsiteY570" fmla="*/ 334677 h 359632"/>
                <a:gd name="connsiteX571" fmla="*/ 64558 w 218720"/>
                <a:gd name="connsiteY571" fmla="*/ 335166 h 359632"/>
                <a:gd name="connsiteX572" fmla="*/ 62399 w 218720"/>
                <a:gd name="connsiteY572" fmla="*/ 333388 h 359632"/>
                <a:gd name="connsiteX573" fmla="*/ 59942 w 218720"/>
                <a:gd name="connsiteY573" fmla="*/ 332767 h 359632"/>
                <a:gd name="connsiteX574" fmla="*/ 57350 w 218720"/>
                <a:gd name="connsiteY574" fmla="*/ 333375 h 359632"/>
                <a:gd name="connsiteX575" fmla="*/ 55782 w 218720"/>
                <a:gd name="connsiteY575" fmla="*/ 334320 h 359632"/>
                <a:gd name="connsiteX576" fmla="*/ 55051 w 218720"/>
                <a:gd name="connsiteY576" fmla="*/ 333552 h 359632"/>
                <a:gd name="connsiteX577" fmla="*/ 55027 w 218720"/>
                <a:gd name="connsiteY577" fmla="*/ 331973 h 359632"/>
                <a:gd name="connsiteX578" fmla="*/ 56920 w 218720"/>
                <a:gd name="connsiteY578" fmla="*/ 330091 h 359632"/>
                <a:gd name="connsiteX579" fmla="*/ 61970 w 218720"/>
                <a:gd name="connsiteY579" fmla="*/ 328668 h 359632"/>
                <a:gd name="connsiteX580" fmla="*/ 66403 w 218720"/>
                <a:gd name="connsiteY580" fmla="*/ 324972 h 359632"/>
                <a:gd name="connsiteX581" fmla="*/ 68578 w 218720"/>
                <a:gd name="connsiteY581" fmla="*/ 322716 h 359632"/>
                <a:gd name="connsiteX582" fmla="*/ 69440 w 218720"/>
                <a:gd name="connsiteY582" fmla="*/ 321446 h 359632"/>
                <a:gd name="connsiteX583" fmla="*/ 70503 w 218720"/>
                <a:gd name="connsiteY583" fmla="*/ 320636 h 359632"/>
                <a:gd name="connsiteX584" fmla="*/ 71892 w 218720"/>
                <a:gd name="connsiteY584" fmla="*/ 320330 h 359632"/>
                <a:gd name="connsiteX585" fmla="*/ 72606 w 218720"/>
                <a:gd name="connsiteY585" fmla="*/ 318925 h 359632"/>
                <a:gd name="connsiteX586" fmla="*/ 78761 w 218720"/>
                <a:gd name="connsiteY586" fmla="*/ 313270 h 359632"/>
                <a:gd name="connsiteX587" fmla="*/ 79269 w 218720"/>
                <a:gd name="connsiteY587" fmla="*/ 311971 h 359632"/>
                <a:gd name="connsiteX588" fmla="*/ 79575 w 218720"/>
                <a:gd name="connsiteY588" fmla="*/ 309646 h 359632"/>
                <a:gd name="connsiteX589" fmla="*/ 80084 w 218720"/>
                <a:gd name="connsiteY589" fmla="*/ 307405 h 359632"/>
                <a:gd name="connsiteX590" fmla="*/ 85095 w 218720"/>
                <a:gd name="connsiteY590" fmla="*/ 305953 h 359632"/>
                <a:gd name="connsiteX591" fmla="*/ 87489 w 218720"/>
                <a:gd name="connsiteY591" fmla="*/ 301233 h 359632"/>
                <a:gd name="connsiteX592" fmla="*/ 88148 w 218720"/>
                <a:gd name="connsiteY592" fmla="*/ 300859 h 359632"/>
                <a:gd name="connsiteX593" fmla="*/ 95137 w 218720"/>
                <a:gd name="connsiteY593" fmla="*/ 299992 h 359632"/>
                <a:gd name="connsiteX594" fmla="*/ 100320 w 218720"/>
                <a:gd name="connsiteY594" fmla="*/ 300061 h 359632"/>
                <a:gd name="connsiteX595" fmla="*/ 105468 w 218720"/>
                <a:gd name="connsiteY595" fmla="*/ 300986 h 359632"/>
                <a:gd name="connsiteX596" fmla="*/ 108107 w 218720"/>
                <a:gd name="connsiteY596" fmla="*/ 301069 h 359632"/>
                <a:gd name="connsiteX597" fmla="*/ 110756 w 218720"/>
                <a:gd name="connsiteY597" fmla="*/ 300750 h 359632"/>
                <a:gd name="connsiteX598" fmla="*/ 112833 w 218720"/>
                <a:gd name="connsiteY598" fmla="*/ 299474 h 359632"/>
                <a:gd name="connsiteX599" fmla="*/ 116388 w 218720"/>
                <a:gd name="connsiteY599" fmla="*/ 294868 h 359632"/>
                <a:gd name="connsiteX600" fmla="*/ 118388 w 218720"/>
                <a:gd name="connsiteY600" fmla="*/ 292838 h 359632"/>
                <a:gd name="connsiteX601" fmla="*/ 120679 w 218720"/>
                <a:gd name="connsiteY601" fmla="*/ 291002 h 359632"/>
                <a:gd name="connsiteX602" fmla="*/ 122822 w 218720"/>
                <a:gd name="connsiteY602" fmla="*/ 288904 h 359632"/>
                <a:gd name="connsiteX603" fmla="*/ 126299 w 218720"/>
                <a:gd name="connsiteY603" fmla="*/ 285012 h 359632"/>
                <a:gd name="connsiteX604" fmla="*/ 123948 w 218720"/>
                <a:gd name="connsiteY604" fmla="*/ 286353 h 359632"/>
                <a:gd name="connsiteX605" fmla="*/ 121111 w 218720"/>
                <a:gd name="connsiteY605" fmla="*/ 288480 h 359632"/>
                <a:gd name="connsiteX606" fmla="*/ 119465 w 218720"/>
                <a:gd name="connsiteY606" fmla="*/ 289713 h 359632"/>
                <a:gd name="connsiteX607" fmla="*/ 114238 w 218720"/>
                <a:gd name="connsiteY607" fmla="*/ 290955 h 359632"/>
                <a:gd name="connsiteX608" fmla="*/ 111986 w 218720"/>
                <a:gd name="connsiteY608" fmla="*/ 292221 h 359632"/>
                <a:gd name="connsiteX609" fmla="*/ 108040 w 218720"/>
                <a:gd name="connsiteY609" fmla="*/ 295078 h 359632"/>
                <a:gd name="connsiteX610" fmla="*/ 107281 w 218720"/>
                <a:gd name="connsiteY610" fmla="*/ 295315 h 359632"/>
                <a:gd name="connsiteX611" fmla="*/ 101328 w 218720"/>
                <a:gd name="connsiteY611" fmla="*/ 294629 h 359632"/>
                <a:gd name="connsiteX612" fmla="*/ 96898 w 218720"/>
                <a:gd name="connsiteY612" fmla="*/ 290923 h 359632"/>
                <a:gd name="connsiteX613" fmla="*/ 94066 w 218720"/>
                <a:gd name="connsiteY613" fmla="*/ 289402 h 359632"/>
                <a:gd name="connsiteX614" fmla="*/ 92896 w 218720"/>
                <a:gd name="connsiteY614" fmla="*/ 289230 h 359632"/>
                <a:gd name="connsiteX615" fmla="*/ 91687 w 218720"/>
                <a:gd name="connsiteY615" fmla="*/ 289682 h 359632"/>
                <a:gd name="connsiteX616" fmla="*/ 89101 w 218720"/>
                <a:gd name="connsiteY616" fmla="*/ 290145 h 359632"/>
                <a:gd name="connsiteX617" fmla="*/ 86464 w 218720"/>
                <a:gd name="connsiteY617" fmla="*/ 290066 h 359632"/>
                <a:gd name="connsiteX618" fmla="*/ 87810 w 218720"/>
                <a:gd name="connsiteY618" fmla="*/ 288352 h 359632"/>
                <a:gd name="connsiteX619" fmla="*/ 89638 w 218720"/>
                <a:gd name="connsiteY619" fmla="*/ 287393 h 359632"/>
                <a:gd name="connsiteX620" fmla="*/ 85544 w 218720"/>
                <a:gd name="connsiteY620" fmla="*/ 286727 h 359632"/>
                <a:gd name="connsiteX621" fmla="*/ 84406 w 218720"/>
                <a:gd name="connsiteY621" fmla="*/ 286205 h 359632"/>
                <a:gd name="connsiteX622" fmla="*/ 83109 w 218720"/>
                <a:gd name="connsiteY622" fmla="*/ 285002 h 359632"/>
                <a:gd name="connsiteX623" fmla="*/ 79898 w 218720"/>
                <a:gd name="connsiteY623" fmla="*/ 284796 h 359632"/>
                <a:gd name="connsiteX624" fmla="*/ 78366 w 218720"/>
                <a:gd name="connsiteY624" fmla="*/ 285103 h 359632"/>
                <a:gd name="connsiteX625" fmla="*/ 75782 w 218720"/>
                <a:gd name="connsiteY625" fmla="*/ 286693 h 359632"/>
                <a:gd name="connsiteX626" fmla="*/ 71699 w 218720"/>
                <a:gd name="connsiteY626" fmla="*/ 288383 h 359632"/>
                <a:gd name="connsiteX627" fmla="*/ 66780 w 218720"/>
                <a:gd name="connsiteY627" fmla="*/ 286040 h 359632"/>
                <a:gd name="connsiteX628" fmla="*/ 65816 w 218720"/>
                <a:gd name="connsiteY628" fmla="*/ 285012 h 359632"/>
                <a:gd name="connsiteX629" fmla="*/ 65841 w 218720"/>
                <a:gd name="connsiteY629" fmla="*/ 283027 h 359632"/>
                <a:gd name="connsiteX630" fmla="*/ 65103 w 218720"/>
                <a:gd name="connsiteY630" fmla="*/ 281453 h 359632"/>
                <a:gd name="connsiteX631" fmla="*/ 63738 w 218720"/>
                <a:gd name="connsiteY631" fmla="*/ 280898 h 359632"/>
                <a:gd name="connsiteX632" fmla="*/ 65484 w 218720"/>
                <a:gd name="connsiteY632" fmla="*/ 278846 h 359632"/>
                <a:gd name="connsiteX633" fmla="*/ 67591 w 218720"/>
                <a:gd name="connsiteY633" fmla="*/ 277479 h 359632"/>
                <a:gd name="connsiteX634" fmla="*/ 72225 w 218720"/>
                <a:gd name="connsiteY634" fmla="*/ 276120 h 359632"/>
                <a:gd name="connsiteX635" fmla="*/ 79243 w 218720"/>
                <a:gd name="connsiteY635" fmla="*/ 272892 h 359632"/>
                <a:gd name="connsiteX636" fmla="*/ 83178 w 218720"/>
                <a:gd name="connsiteY636" fmla="*/ 271516 h 359632"/>
                <a:gd name="connsiteX637" fmla="*/ 86836 w 218720"/>
                <a:gd name="connsiteY637" fmla="*/ 269140 h 359632"/>
                <a:gd name="connsiteX638" fmla="*/ 88348 w 218720"/>
                <a:gd name="connsiteY638" fmla="*/ 267690 h 359632"/>
                <a:gd name="connsiteX639" fmla="*/ 89445 w 218720"/>
                <a:gd name="connsiteY639" fmla="*/ 265705 h 359632"/>
                <a:gd name="connsiteX640" fmla="*/ 90533 w 218720"/>
                <a:gd name="connsiteY640" fmla="*/ 263266 h 359632"/>
                <a:gd name="connsiteX641" fmla="*/ 92086 w 218720"/>
                <a:gd name="connsiteY641" fmla="*/ 261284 h 359632"/>
                <a:gd name="connsiteX642" fmla="*/ 90579 w 218720"/>
                <a:gd name="connsiteY642" fmla="*/ 260812 h 359632"/>
                <a:gd name="connsiteX643" fmla="*/ 89906 w 218720"/>
                <a:gd name="connsiteY643" fmla="*/ 259315 h 359632"/>
                <a:gd name="connsiteX644" fmla="*/ 90087 w 218720"/>
                <a:gd name="connsiteY644" fmla="*/ 257796 h 359632"/>
                <a:gd name="connsiteX645" fmla="*/ 90783 w 218720"/>
                <a:gd name="connsiteY645" fmla="*/ 256448 h 359632"/>
                <a:gd name="connsiteX646" fmla="*/ 90159 w 218720"/>
                <a:gd name="connsiteY646" fmla="*/ 254756 h 359632"/>
                <a:gd name="connsiteX647" fmla="*/ 89052 w 218720"/>
                <a:gd name="connsiteY647" fmla="*/ 252986 h 359632"/>
                <a:gd name="connsiteX648" fmla="*/ 89113 w 218720"/>
                <a:gd name="connsiteY648" fmla="*/ 251607 h 359632"/>
                <a:gd name="connsiteX649" fmla="*/ 89407 w 218720"/>
                <a:gd name="connsiteY649" fmla="*/ 250132 h 359632"/>
                <a:gd name="connsiteX650" fmla="*/ 86584 w 218720"/>
                <a:gd name="connsiteY650" fmla="*/ 250211 h 359632"/>
                <a:gd name="connsiteX651" fmla="*/ 83769 w 218720"/>
                <a:gd name="connsiteY651" fmla="*/ 250672 h 359632"/>
                <a:gd name="connsiteX652" fmla="*/ 81218 w 218720"/>
                <a:gd name="connsiteY652" fmla="*/ 251718 h 359632"/>
                <a:gd name="connsiteX653" fmla="*/ 78744 w 218720"/>
                <a:gd name="connsiteY653" fmla="*/ 253137 h 359632"/>
                <a:gd name="connsiteX654" fmla="*/ 76547 w 218720"/>
                <a:gd name="connsiteY654" fmla="*/ 253400 h 359632"/>
                <a:gd name="connsiteX655" fmla="*/ 76582 w 218720"/>
                <a:gd name="connsiteY655" fmla="*/ 252265 h 359632"/>
                <a:gd name="connsiteX656" fmla="*/ 77536 w 218720"/>
                <a:gd name="connsiteY656" fmla="*/ 250861 h 359632"/>
                <a:gd name="connsiteX657" fmla="*/ 80027 w 218720"/>
                <a:gd name="connsiteY657" fmla="*/ 248854 h 359632"/>
                <a:gd name="connsiteX658" fmla="*/ 82694 w 218720"/>
                <a:gd name="connsiteY658" fmla="*/ 247189 h 359632"/>
                <a:gd name="connsiteX659" fmla="*/ 83642 w 218720"/>
                <a:gd name="connsiteY659" fmla="*/ 245923 h 359632"/>
                <a:gd name="connsiteX660" fmla="*/ 84388 w 218720"/>
                <a:gd name="connsiteY660" fmla="*/ 244452 h 359632"/>
                <a:gd name="connsiteX661" fmla="*/ 85712 w 218720"/>
                <a:gd name="connsiteY661" fmla="*/ 243271 h 359632"/>
                <a:gd name="connsiteX662" fmla="*/ 89195 w 218720"/>
                <a:gd name="connsiteY662" fmla="*/ 241037 h 359632"/>
                <a:gd name="connsiteX663" fmla="*/ 95868 w 218720"/>
                <a:gd name="connsiteY663" fmla="*/ 238521 h 359632"/>
                <a:gd name="connsiteX664" fmla="*/ 96864 w 218720"/>
                <a:gd name="connsiteY664" fmla="*/ 238373 h 359632"/>
                <a:gd name="connsiteX665" fmla="*/ 99480 w 218720"/>
                <a:gd name="connsiteY665" fmla="*/ 238665 h 359632"/>
                <a:gd name="connsiteX666" fmla="*/ 102052 w 218720"/>
                <a:gd name="connsiteY666" fmla="*/ 238285 h 359632"/>
                <a:gd name="connsiteX667" fmla="*/ 104305 w 218720"/>
                <a:gd name="connsiteY667" fmla="*/ 237379 h 359632"/>
                <a:gd name="connsiteX668" fmla="*/ 106550 w 218720"/>
                <a:gd name="connsiteY668" fmla="*/ 237184 h 359632"/>
                <a:gd name="connsiteX669" fmla="*/ 111605 w 218720"/>
                <a:gd name="connsiteY669" fmla="*/ 239795 h 359632"/>
                <a:gd name="connsiteX670" fmla="*/ 110102 w 218720"/>
                <a:gd name="connsiteY670" fmla="*/ 235754 h 359632"/>
                <a:gd name="connsiteX671" fmla="*/ 112331 w 218720"/>
                <a:gd name="connsiteY671" fmla="*/ 234786 h 359632"/>
                <a:gd name="connsiteX672" fmla="*/ 115564 w 218720"/>
                <a:gd name="connsiteY672" fmla="*/ 238440 h 359632"/>
                <a:gd name="connsiteX673" fmla="*/ 116766 w 218720"/>
                <a:gd name="connsiteY673" fmla="*/ 238825 h 359632"/>
                <a:gd name="connsiteX674" fmla="*/ 119301 w 218720"/>
                <a:gd name="connsiteY674" fmla="*/ 238295 h 359632"/>
                <a:gd name="connsiteX675" fmla="*/ 118323 w 218720"/>
                <a:gd name="connsiteY675" fmla="*/ 237679 h 359632"/>
                <a:gd name="connsiteX676" fmla="*/ 117181 w 218720"/>
                <a:gd name="connsiteY676" fmla="*/ 237642 h 359632"/>
                <a:gd name="connsiteX677" fmla="*/ 115685 w 218720"/>
                <a:gd name="connsiteY677" fmla="*/ 237091 h 359632"/>
                <a:gd name="connsiteX678" fmla="*/ 114427 w 218720"/>
                <a:gd name="connsiteY678" fmla="*/ 235919 h 359632"/>
                <a:gd name="connsiteX679" fmla="*/ 112334 w 218720"/>
                <a:gd name="connsiteY679" fmla="*/ 232195 h 359632"/>
                <a:gd name="connsiteX680" fmla="*/ 112447 w 218720"/>
                <a:gd name="connsiteY680" fmla="*/ 229982 h 359632"/>
                <a:gd name="connsiteX681" fmla="*/ 113857 w 218720"/>
                <a:gd name="connsiteY681" fmla="*/ 227679 h 359632"/>
                <a:gd name="connsiteX682" fmla="*/ 115419 w 218720"/>
                <a:gd name="connsiteY682" fmla="*/ 225557 h 359632"/>
                <a:gd name="connsiteX683" fmla="*/ 114109 w 218720"/>
                <a:gd name="connsiteY683" fmla="*/ 225135 h 359632"/>
                <a:gd name="connsiteX684" fmla="*/ 113060 w 218720"/>
                <a:gd name="connsiteY684" fmla="*/ 224323 h 359632"/>
                <a:gd name="connsiteX685" fmla="*/ 112759 w 218720"/>
                <a:gd name="connsiteY685" fmla="*/ 222197 h 359632"/>
                <a:gd name="connsiteX686" fmla="*/ 113171 w 218720"/>
                <a:gd name="connsiteY686" fmla="*/ 220318 h 359632"/>
                <a:gd name="connsiteX687" fmla="*/ 115977 w 218720"/>
                <a:gd name="connsiteY687" fmla="*/ 218657 h 359632"/>
                <a:gd name="connsiteX688" fmla="*/ 116805 w 218720"/>
                <a:gd name="connsiteY688" fmla="*/ 216135 h 359632"/>
                <a:gd name="connsiteX689" fmla="*/ 117157 w 218720"/>
                <a:gd name="connsiteY689" fmla="*/ 213357 h 359632"/>
                <a:gd name="connsiteX690" fmla="*/ 116691 w 218720"/>
                <a:gd name="connsiteY690" fmla="*/ 212082 h 359632"/>
                <a:gd name="connsiteX691" fmla="*/ 113906 w 218720"/>
                <a:gd name="connsiteY691" fmla="*/ 212287 h 359632"/>
                <a:gd name="connsiteX692" fmla="*/ 112552 w 218720"/>
                <a:gd name="connsiteY692" fmla="*/ 212807 h 359632"/>
                <a:gd name="connsiteX693" fmla="*/ 111337 w 218720"/>
                <a:gd name="connsiteY693" fmla="*/ 213630 h 359632"/>
                <a:gd name="connsiteX694" fmla="*/ 110093 w 218720"/>
                <a:gd name="connsiteY694" fmla="*/ 213581 h 359632"/>
                <a:gd name="connsiteX695" fmla="*/ 106653 w 218720"/>
                <a:gd name="connsiteY695" fmla="*/ 210505 h 359632"/>
                <a:gd name="connsiteX696" fmla="*/ 104691 w 218720"/>
                <a:gd name="connsiteY696" fmla="*/ 208176 h 359632"/>
                <a:gd name="connsiteX697" fmla="*/ 101172 w 218720"/>
                <a:gd name="connsiteY697" fmla="*/ 203238 h 359632"/>
                <a:gd name="connsiteX698" fmla="*/ 100671 w 218720"/>
                <a:gd name="connsiteY698" fmla="*/ 200283 h 359632"/>
                <a:gd name="connsiteX699" fmla="*/ 103490 w 218720"/>
                <a:gd name="connsiteY699" fmla="*/ 193894 h 359632"/>
                <a:gd name="connsiteX700" fmla="*/ 107838 w 218720"/>
                <a:gd name="connsiteY700" fmla="*/ 189799 h 359632"/>
                <a:gd name="connsiteX701" fmla="*/ 112961 w 218720"/>
                <a:gd name="connsiteY701" fmla="*/ 188372 h 359632"/>
                <a:gd name="connsiteX702" fmla="*/ 111970 w 218720"/>
                <a:gd name="connsiteY702" fmla="*/ 188099 h 359632"/>
                <a:gd name="connsiteX703" fmla="*/ 104164 w 218720"/>
                <a:gd name="connsiteY703" fmla="*/ 188044 h 359632"/>
                <a:gd name="connsiteX704" fmla="*/ 101591 w 218720"/>
                <a:gd name="connsiteY704" fmla="*/ 188546 h 359632"/>
                <a:gd name="connsiteX705" fmla="*/ 99206 w 218720"/>
                <a:gd name="connsiteY705" fmla="*/ 190221 h 359632"/>
                <a:gd name="connsiteX706" fmla="*/ 97859 w 218720"/>
                <a:gd name="connsiteY706" fmla="*/ 190735 h 359632"/>
                <a:gd name="connsiteX707" fmla="*/ 96443 w 218720"/>
                <a:gd name="connsiteY707" fmla="*/ 190925 h 359632"/>
                <a:gd name="connsiteX708" fmla="*/ 95153 w 218720"/>
                <a:gd name="connsiteY708" fmla="*/ 191758 h 359632"/>
                <a:gd name="connsiteX709" fmla="*/ 93893 w 218720"/>
                <a:gd name="connsiteY709" fmla="*/ 192914 h 359632"/>
                <a:gd name="connsiteX710" fmla="*/ 92581 w 218720"/>
                <a:gd name="connsiteY710" fmla="*/ 193653 h 359632"/>
                <a:gd name="connsiteX711" fmla="*/ 89975 w 218720"/>
                <a:gd name="connsiteY711" fmla="*/ 193462 h 359632"/>
                <a:gd name="connsiteX712" fmla="*/ 88711 w 218720"/>
                <a:gd name="connsiteY712" fmla="*/ 193706 h 359632"/>
                <a:gd name="connsiteX713" fmla="*/ 87802 w 218720"/>
                <a:gd name="connsiteY713" fmla="*/ 193037 h 359632"/>
                <a:gd name="connsiteX714" fmla="*/ 87042 w 218720"/>
                <a:gd name="connsiteY714" fmla="*/ 191930 h 359632"/>
                <a:gd name="connsiteX715" fmla="*/ 86047 w 218720"/>
                <a:gd name="connsiteY715" fmla="*/ 191635 h 359632"/>
                <a:gd name="connsiteX716" fmla="*/ 84936 w 218720"/>
                <a:gd name="connsiteY716" fmla="*/ 191975 h 359632"/>
                <a:gd name="connsiteX717" fmla="*/ 82587 w 218720"/>
                <a:gd name="connsiteY717" fmla="*/ 193466 h 359632"/>
                <a:gd name="connsiteX718" fmla="*/ 80208 w 218720"/>
                <a:gd name="connsiteY718" fmla="*/ 194346 h 359632"/>
                <a:gd name="connsiteX719" fmla="*/ 77332 w 218720"/>
                <a:gd name="connsiteY719" fmla="*/ 193407 h 359632"/>
                <a:gd name="connsiteX720" fmla="*/ 73562 w 218720"/>
                <a:gd name="connsiteY720" fmla="*/ 191655 h 359632"/>
                <a:gd name="connsiteX721" fmla="*/ 72817 w 218720"/>
                <a:gd name="connsiteY721" fmla="*/ 192294 h 359632"/>
                <a:gd name="connsiteX722" fmla="*/ 71982 w 218720"/>
                <a:gd name="connsiteY722" fmla="*/ 193920 h 359632"/>
                <a:gd name="connsiteX723" fmla="*/ 71501 w 218720"/>
                <a:gd name="connsiteY723" fmla="*/ 196456 h 359632"/>
                <a:gd name="connsiteX724" fmla="*/ 68824 w 218720"/>
                <a:gd name="connsiteY724" fmla="*/ 194254 h 359632"/>
                <a:gd name="connsiteX725" fmla="*/ 66542 w 218720"/>
                <a:gd name="connsiteY725" fmla="*/ 191306 h 359632"/>
                <a:gd name="connsiteX726" fmla="*/ 65777 w 218720"/>
                <a:gd name="connsiteY726" fmla="*/ 189452 h 359632"/>
                <a:gd name="connsiteX727" fmla="*/ 65720 w 218720"/>
                <a:gd name="connsiteY727" fmla="*/ 187364 h 359632"/>
                <a:gd name="connsiteX728" fmla="*/ 66958 w 218720"/>
                <a:gd name="connsiteY728" fmla="*/ 186553 h 359632"/>
                <a:gd name="connsiteX729" fmla="*/ 68303 w 218720"/>
                <a:gd name="connsiteY729" fmla="*/ 187295 h 359632"/>
                <a:gd name="connsiteX730" fmla="*/ 70308 w 218720"/>
                <a:gd name="connsiteY730" fmla="*/ 182331 h 359632"/>
                <a:gd name="connsiteX731" fmla="*/ 74297 w 218720"/>
                <a:gd name="connsiteY731" fmla="*/ 175855 h 359632"/>
                <a:gd name="connsiteX732" fmla="*/ 75704 w 218720"/>
                <a:gd name="connsiteY732" fmla="*/ 173952 h 359632"/>
                <a:gd name="connsiteX733" fmla="*/ 76686 w 218720"/>
                <a:gd name="connsiteY733" fmla="*/ 171467 h 359632"/>
                <a:gd name="connsiteX734" fmla="*/ 76518 w 218720"/>
                <a:gd name="connsiteY734" fmla="*/ 169839 h 359632"/>
                <a:gd name="connsiteX735" fmla="*/ 75638 w 218720"/>
                <a:gd name="connsiteY735" fmla="*/ 168464 h 359632"/>
                <a:gd name="connsiteX736" fmla="*/ 71930 w 218720"/>
                <a:gd name="connsiteY736" fmla="*/ 165337 h 359632"/>
                <a:gd name="connsiteX737" fmla="*/ 71979 w 218720"/>
                <a:gd name="connsiteY737" fmla="*/ 162788 h 359632"/>
                <a:gd name="connsiteX738" fmla="*/ 72376 w 218720"/>
                <a:gd name="connsiteY738" fmla="*/ 159906 h 359632"/>
                <a:gd name="connsiteX739" fmla="*/ 73384 w 218720"/>
                <a:gd name="connsiteY739" fmla="*/ 158175 h 359632"/>
                <a:gd name="connsiteX740" fmla="*/ 73810 w 218720"/>
                <a:gd name="connsiteY740" fmla="*/ 157845 h 359632"/>
                <a:gd name="connsiteX741" fmla="*/ 78735 w 218720"/>
                <a:gd name="connsiteY741" fmla="*/ 157891 h 359632"/>
                <a:gd name="connsiteX742" fmla="*/ 76814 w 218720"/>
                <a:gd name="connsiteY742" fmla="*/ 156997 h 359632"/>
                <a:gd name="connsiteX743" fmla="*/ 72986 w 218720"/>
                <a:gd name="connsiteY743" fmla="*/ 154385 h 359632"/>
                <a:gd name="connsiteX744" fmla="*/ 73054 w 218720"/>
                <a:gd name="connsiteY744" fmla="*/ 153459 h 359632"/>
                <a:gd name="connsiteX745" fmla="*/ 73955 w 218720"/>
                <a:gd name="connsiteY745" fmla="*/ 151041 h 359632"/>
                <a:gd name="connsiteX746" fmla="*/ 73537 w 218720"/>
                <a:gd name="connsiteY746" fmla="*/ 151286 h 359632"/>
                <a:gd name="connsiteX747" fmla="*/ 72717 w 218720"/>
                <a:gd name="connsiteY747" fmla="*/ 152403 h 359632"/>
                <a:gd name="connsiteX748" fmla="*/ 71150 w 218720"/>
                <a:gd name="connsiteY748" fmla="*/ 155105 h 359632"/>
                <a:gd name="connsiteX749" fmla="*/ 70194 w 218720"/>
                <a:gd name="connsiteY749" fmla="*/ 155735 h 359632"/>
                <a:gd name="connsiteX750" fmla="*/ 67486 w 218720"/>
                <a:gd name="connsiteY750" fmla="*/ 156376 h 359632"/>
                <a:gd name="connsiteX751" fmla="*/ 66996 w 218720"/>
                <a:gd name="connsiteY751" fmla="*/ 157705 h 359632"/>
                <a:gd name="connsiteX752" fmla="*/ 66561 w 218720"/>
                <a:gd name="connsiteY752" fmla="*/ 158052 h 359632"/>
                <a:gd name="connsiteX753" fmla="*/ 65208 w 218720"/>
                <a:gd name="connsiteY753" fmla="*/ 158203 h 359632"/>
                <a:gd name="connsiteX754" fmla="*/ 64793 w 218720"/>
                <a:gd name="connsiteY754" fmla="*/ 159441 h 359632"/>
                <a:gd name="connsiteX755" fmla="*/ 64492 w 218720"/>
                <a:gd name="connsiteY755" fmla="*/ 159520 h 359632"/>
                <a:gd name="connsiteX756" fmla="*/ 64107 w 218720"/>
                <a:gd name="connsiteY756" fmla="*/ 158184 h 359632"/>
                <a:gd name="connsiteX757" fmla="*/ 64070 w 218720"/>
                <a:gd name="connsiteY757" fmla="*/ 155968 h 359632"/>
                <a:gd name="connsiteX758" fmla="*/ 64609 w 218720"/>
                <a:gd name="connsiteY758" fmla="*/ 153929 h 359632"/>
                <a:gd name="connsiteX759" fmla="*/ 65638 w 218720"/>
                <a:gd name="connsiteY759" fmla="*/ 152332 h 359632"/>
                <a:gd name="connsiteX760" fmla="*/ 69606 w 218720"/>
                <a:gd name="connsiteY760" fmla="*/ 148697 h 359632"/>
                <a:gd name="connsiteX761" fmla="*/ 67674 w 218720"/>
                <a:gd name="connsiteY761" fmla="*/ 149819 h 359632"/>
                <a:gd name="connsiteX762" fmla="*/ 63295 w 218720"/>
                <a:gd name="connsiteY762" fmla="*/ 153176 h 359632"/>
                <a:gd name="connsiteX763" fmla="*/ 61060 w 218720"/>
                <a:gd name="connsiteY763" fmla="*/ 155381 h 359632"/>
                <a:gd name="connsiteX764" fmla="*/ 60463 w 218720"/>
                <a:gd name="connsiteY764" fmla="*/ 156125 h 359632"/>
                <a:gd name="connsiteX765" fmla="*/ 60276 w 218720"/>
                <a:gd name="connsiteY765" fmla="*/ 156752 h 359632"/>
                <a:gd name="connsiteX766" fmla="*/ 60289 w 218720"/>
                <a:gd name="connsiteY766" fmla="*/ 157474 h 359632"/>
                <a:gd name="connsiteX767" fmla="*/ 61293 w 218720"/>
                <a:gd name="connsiteY767" fmla="*/ 161344 h 359632"/>
                <a:gd name="connsiteX768" fmla="*/ 61007 w 218720"/>
                <a:gd name="connsiteY768" fmla="*/ 163133 h 359632"/>
                <a:gd name="connsiteX769" fmla="*/ 57234 w 218720"/>
                <a:gd name="connsiteY769" fmla="*/ 174922 h 359632"/>
                <a:gd name="connsiteX770" fmla="*/ 56520 w 218720"/>
                <a:gd name="connsiteY770" fmla="*/ 176102 h 359632"/>
                <a:gd name="connsiteX771" fmla="*/ 55863 w 218720"/>
                <a:gd name="connsiteY771" fmla="*/ 176719 h 359632"/>
                <a:gd name="connsiteX772" fmla="*/ 55242 w 218720"/>
                <a:gd name="connsiteY772" fmla="*/ 176860 h 359632"/>
                <a:gd name="connsiteX773" fmla="*/ 53382 w 218720"/>
                <a:gd name="connsiteY773" fmla="*/ 176636 h 359632"/>
                <a:gd name="connsiteX774" fmla="*/ 52552 w 218720"/>
                <a:gd name="connsiteY774" fmla="*/ 175755 h 359632"/>
                <a:gd name="connsiteX775" fmla="*/ 52559 w 218720"/>
                <a:gd name="connsiteY775" fmla="*/ 174757 h 359632"/>
                <a:gd name="connsiteX776" fmla="*/ 52908 w 218720"/>
                <a:gd name="connsiteY776" fmla="*/ 173257 h 359632"/>
                <a:gd name="connsiteX777" fmla="*/ 54472 w 218720"/>
                <a:gd name="connsiteY777" fmla="*/ 167668 h 359632"/>
                <a:gd name="connsiteX778" fmla="*/ 55151 w 218720"/>
                <a:gd name="connsiteY778" fmla="*/ 166113 h 359632"/>
                <a:gd name="connsiteX779" fmla="*/ 56160 w 218720"/>
                <a:gd name="connsiteY779" fmla="*/ 164666 h 359632"/>
                <a:gd name="connsiteX780" fmla="*/ 58383 w 218720"/>
                <a:gd name="connsiteY780" fmla="*/ 162130 h 359632"/>
                <a:gd name="connsiteX781" fmla="*/ 58329 w 218720"/>
                <a:gd name="connsiteY781" fmla="*/ 161965 h 359632"/>
                <a:gd name="connsiteX782" fmla="*/ 56849 w 218720"/>
                <a:gd name="connsiteY782" fmla="*/ 162462 h 359632"/>
                <a:gd name="connsiteX783" fmla="*/ 56218 w 218720"/>
                <a:gd name="connsiteY783" fmla="*/ 162298 h 359632"/>
                <a:gd name="connsiteX784" fmla="*/ 55766 w 218720"/>
                <a:gd name="connsiteY784" fmla="*/ 161796 h 359632"/>
                <a:gd name="connsiteX785" fmla="*/ 56059 w 218720"/>
                <a:gd name="connsiteY785" fmla="*/ 154257 h 359632"/>
                <a:gd name="connsiteX786" fmla="*/ 57260 w 218720"/>
                <a:gd name="connsiteY786" fmla="*/ 151771 h 359632"/>
                <a:gd name="connsiteX787" fmla="*/ 57709 w 218720"/>
                <a:gd name="connsiteY787" fmla="*/ 148150 h 359632"/>
                <a:gd name="connsiteX788" fmla="*/ 58750 w 218720"/>
                <a:gd name="connsiteY788" fmla="*/ 145045 h 359632"/>
                <a:gd name="connsiteX789" fmla="*/ 59955 w 218720"/>
                <a:gd name="connsiteY789" fmla="*/ 142781 h 359632"/>
                <a:gd name="connsiteX790" fmla="*/ 60872 w 218720"/>
                <a:gd name="connsiteY790" fmla="*/ 139881 h 359632"/>
                <a:gd name="connsiteX791" fmla="*/ 62254 w 218720"/>
                <a:gd name="connsiteY791" fmla="*/ 138590 h 359632"/>
                <a:gd name="connsiteX792" fmla="*/ 62624 w 218720"/>
                <a:gd name="connsiteY792" fmla="*/ 136614 h 359632"/>
                <a:gd name="connsiteX793" fmla="*/ 64174 w 218720"/>
                <a:gd name="connsiteY793" fmla="*/ 134473 h 359632"/>
                <a:gd name="connsiteX794" fmla="*/ 65373 w 218720"/>
                <a:gd name="connsiteY794" fmla="*/ 132232 h 359632"/>
                <a:gd name="connsiteX795" fmla="*/ 64727 w 218720"/>
                <a:gd name="connsiteY795" fmla="*/ 132454 h 359632"/>
                <a:gd name="connsiteX796" fmla="*/ 57063 w 218720"/>
                <a:gd name="connsiteY796" fmla="*/ 138281 h 359632"/>
                <a:gd name="connsiteX797" fmla="*/ 55111 w 218720"/>
                <a:gd name="connsiteY797" fmla="*/ 139341 h 359632"/>
                <a:gd name="connsiteX798" fmla="*/ 52450 w 218720"/>
                <a:gd name="connsiteY798" fmla="*/ 139057 h 359632"/>
                <a:gd name="connsiteX799" fmla="*/ 50415 w 218720"/>
                <a:gd name="connsiteY799" fmla="*/ 138403 h 359632"/>
                <a:gd name="connsiteX800" fmla="*/ 48825 w 218720"/>
                <a:gd name="connsiteY800" fmla="*/ 137025 h 359632"/>
                <a:gd name="connsiteX801" fmla="*/ 48114 w 218720"/>
                <a:gd name="connsiteY801" fmla="*/ 134378 h 359632"/>
                <a:gd name="connsiteX802" fmla="*/ 46150 w 218720"/>
                <a:gd name="connsiteY802" fmla="*/ 134307 h 359632"/>
                <a:gd name="connsiteX803" fmla="*/ 44470 w 218720"/>
                <a:gd name="connsiteY803" fmla="*/ 133849 h 359632"/>
                <a:gd name="connsiteX804" fmla="*/ 44491 w 218720"/>
                <a:gd name="connsiteY804" fmla="*/ 133493 h 359632"/>
                <a:gd name="connsiteX805" fmla="*/ 46658 w 218720"/>
                <a:gd name="connsiteY805" fmla="*/ 132048 h 359632"/>
                <a:gd name="connsiteX806" fmla="*/ 50132 w 218720"/>
                <a:gd name="connsiteY806" fmla="*/ 131552 h 359632"/>
                <a:gd name="connsiteX807" fmla="*/ 53383 w 218720"/>
                <a:gd name="connsiteY807" fmla="*/ 129237 h 359632"/>
                <a:gd name="connsiteX808" fmla="*/ 50490 w 218720"/>
                <a:gd name="connsiteY808" fmla="*/ 127672 h 359632"/>
                <a:gd name="connsiteX809" fmla="*/ 50735 w 218720"/>
                <a:gd name="connsiteY809" fmla="*/ 127176 h 359632"/>
                <a:gd name="connsiteX810" fmla="*/ 53258 w 218720"/>
                <a:gd name="connsiteY810" fmla="*/ 125842 h 359632"/>
                <a:gd name="connsiteX811" fmla="*/ 56463 w 218720"/>
                <a:gd name="connsiteY811" fmla="*/ 121362 h 359632"/>
                <a:gd name="connsiteX812" fmla="*/ 57113 w 218720"/>
                <a:gd name="connsiteY812" fmla="*/ 117232 h 359632"/>
                <a:gd name="connsiteX813" fmla="*/ 55580 w 218720"/>
                <a:gd name="connsiteY813" fmla="*/ 115289 h 359632"/>
                <a:gd name="connsiteX814" fmla="*/ 55025 w 218720"/>
                <a:gd name="connsiteY814" fmla="*/ 114015 h 359632"/>
                <a:gd name="connsiteX815" fmla="*/ 51961 w 218720"/>
                <a:gd name="connsiteY815" fmla="*/ 112594 h 359632"/>
                <a:gd name="connsiteX816" fmla="*/ 51449 w 218720"/>
                <a:gd name="connsiteY816" fmla="*/ 110774 h 359632"/>
                <a:gd name="connsiteX817" fmla="*/ 51805 w 218720"/>
                <a:gd name="connsiteY817" fmla="*/ 109758 h 359632"/>
                <a:gd name="connsiteX818" fmla="*/ 52805 w 218720"/>
                <a:gd name="connsiteY818" fmla="*/ 108765 h 359632"/>
                <a:gd name="connsiteX819" fmla="*/ 54312 w 218720"/>
                <a:gd name="connsiteY819" fmla="*/ 107991 h 359632"/>
                <a:gd name="connsiteX820" fmla="*/ 56674 w 218720"/>
                <a:gd name="connsiteY820" fmla="*/ 107251 h 359632"/>
                <a:gd name="connsiteX821" fmla="*/ 54530 w 218720"/>
                <a:gd name="connsiteY821" fmla="*/ 106457 h 359632"/>
                <a:gd name="connsiteX822" fmla="*/ 53730 w 218720"/>
                <a:gd name="connsiteY822" fmla="*/ 105520 h 359632"/>
                <a:gd name="connsiteX823" fmla="*/ 53123 w 218720"/>
                <a:gd name="connsiteY823" fmla="*/ 104163 h 359632"/>
                <a:gd name="connsiteX824" fmla="*/ 53067 w 218720"/>
                <a:gd name="connsiteY824" fmla="*/ 103376 h 359632"/>
                <a:gd name="connsiteX825" fmla="*/ 54177 w 218720"/>
                <a:gd name="connsiteY825" fmla="*/ 99866 h 359632"/>
                <a:gd name="connsiteX826" fmla="*/ 54823 w 218720"/>
                <a:gd name="connsiteY826" fmla="*/ 98417 h 359632"/>
                <a:gd name="connsiteX827" fmla="*/ 56087 w 218720"/>
                <a:gd name="connsiteY827" fmla="*/ 96568 h 359632"/>
                <a:gd name="connsiteX828" fmla="*/ 61821 w 218720"/>
                <a:gd name="connsiteY828" fmla="*/ 96672 h 359632"/>
                <a:gd name="connsiteX829" fmla="*/ 62480 w 218720"/>
                <a:gd name="connsiteY829" fmla="*/ 95855 h 359632"/>
                <a:gd name="connsiteX830" fmla="*/ 63130 w 218720"/>
                <a:gd name="connsiteY830" fmla="*/ 95823 h 359632"/>
                <a:gd name="connsiteX831" fmla="*/ 66062 w 218720"/>
                <a:gd name="connsiteY831" fmla="*/ 96568 h 359632"/>
                <a:gd name="connsiteX832" fmla="*/ 65627 w 218720"/>
                <a:gd name="connsiteY832" fmla="*/ 95766 h 359632"/>
                <a:gd name="connsiteX833" fmla="*/ 60832 w 218720"/>
                <a:gd name="connsiteY833" fmla="*/ 91368 h 359632"/>
                <a:gd name="connsiteX834" fmla="*/ 60402 w 218720"/>
                <a:gd name="connsiteY834" fmla="*/ 90530 h 359632"/>
                <a:gd name="connsiteX835" fmla="*/ 61769 w 218720"/>
                <a:gd name="connsiteY835" fmla="*/ 88154 h 359632"/>
                <a:gd name="connsiteX836" fmla="*/ 61868 w 218720"/>
                <a:gd name="connsiteY836" fmla="*/ 87094 h 359632"/>
                <a:gd name="connsiteX837" fmla="*/ 61668 w 218720"/>
                <a:gd name="connsiteY837" fmla="*/ 85961 h 359632"/>
                <a:gd name="connsiteX838" fmla="*/ 62058 w 218720"/>
                <a:gd name="connsiteY838" fmla="*/ 85098 h 359632"/>
                <a:gd name="connsiteX839" fmla="*/ 63578 w 218720"/>
                <a:gd name="connsiteY839" fmla="*/ 84690 h 359632"/>
                <a:gd name="connsiteX840" fmla="*/ 68213 w 218720"/>
                <a:gd name="connsiteY840" fmla="*/ 84731 h 359632"/>
                <a:gd name="connsiteX841" fmla="*/ 69355 w 218720"/>
                <a:gd name="connsiteY841" fmla="*/ 84329 h 359632"/>
                <a:gd name="connsiteX842" fmla="*/ 68835 w 218720"/>
                <a:gd name="connsiteY842" fmla="*/ 83181 h 359632"/>
                <a:gd name="connsiteX843" fmla="*/ 67756 w 218720"/>
                <a:gd name="connsiteY843" fmla="*/ 81671 h 359632"/>
                <a:gd name="connsiteX844" fmla="*/ 67545 w 218720"/>
                <a:gd name="connsiteY844" fmla="*/ 80402 h 359632"/>
                <a:gd name="connsiteX845" fmla="*/ 67798 w 218720"/>
                <a:gd name="connsiteY845" fmla="*/ 79281 h 359632"/>
                <a:gd name="connsiteX846" fmla="*/ 67857 w 218720"/>
                <a:gd name="connsiteY846" fmla="*/ 77022 h 359632"/>
                <a:gd name="connsiteX847" fmla="*/ 68068 w 218720"/>
                <a:gd name="connsiteY847" fmla="*/ 76022 h 359632"/>
                <a:gd name="connsiteX848" fmla="*/ 69168 w 218720"/>
                <a:gd name="connsiteY848" fmla="*/ 74524 h 359632"/>
                <a:gd name="connsiteX849" fmla="*/ 70077 w 218720"/>
                <a:gd name="connsiteY849" fmla="*/ 74079 h 359632"/>
                <a:gd name="connsiteX850" fmla="*/ 71204 w 218720"/>
                <a:gd name="connsiteY850" fmla="*/ 73818 h 359632"/>
                <a:gd name="connsiteX851" fmla="*/ 73748 w 218720"/>
                <a:gd name="connsiteY851" fmla="*/ 74319 h 359632"/>
                <a:gd name="connsiteX852" fmla="*/ 74718 w 218720"/>
                <a:gd name="connsiteY852" fmla="*/ 74924 h 359632"/>
                <a:gd name="connsiteX853" fmla="*/ 75831 w 218720"/>
                <a:gd name="connsiteY853" fmla="*/ 76352 h 359632"/>
                <a:gd name="connsiteX854" fmla="*/ 76654 w 218720"/>
                <a:gd name="connsiteY854" fmla="*/ 76236 h 359632"/>
                <a:gd name="connsiteX855" fmla="*/ 79822 w 218720"/>
                <a:gd name="connsiteY855" fmla="*/ 74685 h 359632"/>
                <a:gd name="connsiteX856" fmla="*/ 80774 w 218720"/>
                <a:gd name="connsiteY856" fmla="*/ 74462 h 359632"/>
                <a:gd name="connsiteX857" fmla="*/ 82070 w 218720"/>
                <a:gd name="connsiteY857" fmla="*/ 76260 h 359632"/>
                <a:gd name="connsiteX858" fmla="*/ 87480 w 218720"/>
                <a:gd name="connsiteY858" fmla="*/ 74826 h 359632"/>
                <a:gd name="connsiteX859" fmla="*/ 94757 w 218720"/>
                <a:gd name="connsiteY859" fmla="*/ 74183 h 359632"/>
                <a:gd name="connsiteX860" fmla="*/ 99129 w 218720"/>
                <a:gd name="connsiteY860" fmla="*/ 73239 h 359632"/>
                <a:gd name="connsiteX861" fmla="*/ 103733 w 218720"/>
                <a:gd name="connsiteY861" fmla="*/ 72896 h 359632"/>
                <a:gd name="connsiteX862" fmla="*/ 115062 w 218720"/>
                <a:gd name="connsiteY862" fmla="*/ 65804 h 359632"/>
                <a:gd name="connsiteX863" fmla="*/ 116053 w 218720"/>
                <a:gd name="connsiteY863" fmla="*/ 66067 h 359632"/>
                <a:gd name="connsiteX864" fmla="*/ 115685 w 218720"/>
                <a:gd name="connsiteY864" fmla="*/ 66975 h 359632"/>
                <a:gd name="connsiteX865" fmla="*/ 115324 w 218720"/>
                <a:gd name="connsiteY865" fmla="*/ 68857 h 359632"/>
                <a:gd name="connsiteX866" fmla="*/ 115112 w 218720"/>
                <a:gd name="connsiteY866" fmla="*/ 68953 h 359632"/>
                <a:gd name="connsiteX867" fmla="*/ 114307 w 218720"/>
                <a:gd name="connsiteY867" fmla="*/ 68360 h 359632"/>
                <a:gd name="connsiteX868" fmla="*/ 112979 w 218720"/>
                <a:gd name="connsiteY868" fmla="*/ 66228 h 359632"/>
                <a:gd name="connsiteX869" fmla="*/ 105859 w 218720"/>
                <a:gd name="connsiteY869" fmla="*/ 63098 h 359632"/>
                <a:gd name="connsiteX870" fmla="*/ 107750 w 218720"/>
                <a:gd name="connsiteY870" fmla="*/ 63544 h 359632"/>
                <a:gd name="connsiteX871" fmla="*/ 108729 w 218720"/>
                <a:gd name="connsiteY871" fmla="*/ 65107 h 359632"/>
                <a:gd name="connsiteX872" fmla="*/ 108851 w 218720"/>
                <a:gd name="connsiteY872" fmla="*/ 66123 h 359632"/>
                <a:gd name="connsiteX873" fmla="*/ 109083 w 218720"/>
                <a:gd name="connsiteY873" fmla="*/ 66522 h 359632"/>
                <a:gd name="connsiteX874" fmla="*/ 110257 w 218720"/>
                <a:gd name="connsiteY874" fmla="*/ 66923 h 359632"/>
                <a:gd name="connsiteX875" fmla="*/ 110115 w 218720"/>
                <a:gd name="connsiteY875" fmla="*/ 67151 h 359632"/>
                <a:gd name="connsiteX876" fmla="*/ 108851 w 218720"/>
                <a:gd name="connsiteY876" fmla="*/ 67581 h 359632"/>
                <a:gd name="connsiteX877" fmla="*/ 107598 w 218720"/>
                <a:gd name="connsiteY877" fmla="*/ 67549 h 359632"/>
                <a:gd name="connsiteX878" fmla="*/ 105643 w 218720"/>
                <a:gd name="connsiteY878" fmla="*/ 65673 h 359632"/>
                <a:gd name="connsiteX879" fmla="*/ 104900 w 218720"/>
                <a:gd name="connsiteY879" fmla="*/ 64307 h 359632"/>
                <a:gd name="connsiteX880" fmla="*/ 105034 w 218720"/>
                <a:gd name="connsiteY880" fmla="*/ 63403 h 359632"/>
                <a:gd name="connsiteX881" fmla="*/ 108266 w 218720"/>
                <a:gd name="connsiteY881" fmla="*/ 55774 h 359632"/>
                <a:gd name="connsiteX882" fmla="*/ 110302 w 218720"/>
                <a:gd name="connsiteY882" fmla="*/ 56022 h 359632"/>
                <a:gd name="connsiteX883" fmla="*/ 112632 w 218720"/>
                <a:gd name="connsiteY883" fmla="*/ 57239 h 359632"/>
                <a:gd name="connsiteX884" fmla="*/ 113337 w 218720"/>
                <a:gd name="connsiteY884" fmla="*/ 57988 h 359632"/>
                <a:gd name="connsiteX885" fmla="*/ 113320 w 218720"/>
                <a:gd name="connsiteY885" fmla="*/ 58586 h 359632"/>
                <a:gd name="connsiteX886" fmla="*/ 112493 w 218720"/>
                <a:gd name="connsiteY886" fmla="*/ 59499 h 359632"/>
                <a:gd name="connsiteX887" fmla="*/ 112199 w 218720"/>
                <a:gd name="connsiteY887" fmla="*/ 60302 h 359632"/>
                <a:gd name="connsiteX888" fmla="*/ 113880 w 218720"/>
                <a:gd name="connsiteY888" fmla="*/ 60283 h 359632"/>
                <a:gd name="connsiteX889" fmla="*/ 116315 w 218720"/>
                <a:gd name="connsiteY889" fmla="*/ 60967 h 359632"/>
                <a:gd name="connsiteX890" fmla="*/ 117789 w 218720"/>
                <a:gd name="connsiteY890" fmla="*/ 61053 h 359632"/>
                <a:gd name="connsiteX891" fmla="*/ 119015 w 218720"/>
                <a:gd name="connsiteY891" fmla="*/ 61901 h 359632"/>
                <a:gd name="connsiteX892" fmla="*/ 118339 w 218720"/>
                <a:gd name="connsiteY892" fmla="*/ 63490 h 359632"/>
                <a:gd name="connsiteX893" fmla="*/ 117605 w 218720"/>
                <a:gd name="connsiteY893" fmla="*/ 63935 h 359632"/>
                <a:gd name="connsiteX894" fmla="*/ 116775 w 218720"/>
                <a:gd name="connsiteY894" fmla="*/ 64023 h 359632"/>
                <a:gd name="connsiteX895" fmla="*/ 113877 w 218720"/>
                <a:gd name="connsiteY895" fmla="*/ 62436 h 359632"/>
                <a:gd name="connsiteX896" fmla="*/ 110079 w 218720"/>
                <a:gd name="connsiteY896" fmla="*/ 63095 h 359632"/>
                <a:gd name="connsiteX897" fmla="*/ 109323 w 218720"/>
                <a:gd name="connsiteY897" fmla="*/ 62894 h 359632"/>
                <a:gd name="connsiteX898" fmla="*/ 108824 w 218720"/>
                <a:gd name="connsiteY898" fmla="*/ 62455 h 359632"/>
                <a:gd name="connsiteX899" fmla="*/ 108619 w 218720"/>
                <a:gd name="connsiteY899" fmla="*/ 61911 h 359632"/>
                <a:gd name="connsiteX900" fmla="*/ 108615 w 218720"/>
                <a:gd name="connsiteY900" fmla="*/ 60801 h 359632"/>
                <a:gd name="connsiteX901" fmla="*/ 108409 w 218720"/>
                <a:gd name="connsiteY901" fmla="*/ 60473 h 359632"/>
                <a:gd name="connsiteX902" fmla="*/ 107033 w 218720"/>
                <a:gd name="connsiteY902" fmla="*/ 61523 h 359632"/>
                <a:gd name="connsiteX903" fmla="*/ 106429 w 218720"/>
                <a:gd name="connsiteY903" fmla="*/ 61399 h 359632"/>
                <a:gd name="connsiteX904" fmla="*/ 106088 w 218720"/>
                <a:gd name="connsiteY904" fmla="*/ 60896 h 359632"/>
                <a:gd name="connsiteX905" fmla="*/ 105941 w 218720"/>
                <a:gd name="connsiteY905" fmla="*/ 59853 h 359632"/>
                <a:gd name="connsiteX906" fmla="*/ 106094 w 218720"/>
                <a:gd name="connsiteY906" fmla="*/ 58347 h 359632"/>
                <a:gd name="connsiteX907" fmla="*/ 106900 w 218720"/>
                <a:gd name="connsiteY907" fmla="*/ 56202 h 359632"/>
                <a:gd name="connsiteX908" fmla="*/ 124031 w 218720"/>
                <a:gd name="connsiteY908" fmla="*/ 50542 h 359632"/>
                <a:gd name="connsiteX909" fmla="*/ 126876 w 218720"/>
                <a:gd name="connsiteY909" fmla="*/ 50758 h 359632"/>
                <a:gd name="connsiteX910" fmla="*/ 126370 w 218720"/>
                <a:gd name="connsiteY910" fmla="*/ 51625 h 359632"/>
                <a:gd name="connsiteX911" fmla="*/ 123738 w 218720"/>
                <a:gd name="connsiteY911" fmla="*/ 52921 h 359632"/>
                <a:gd name="connsiteX912" fmla="*/ 121235 w 218720"/>
                <a:gd name="connsiteY912" fmla="*/ 52960 h 359632"/>
                <a:gd name="connsiteX913" fmla="*/ 122528 w 218720"/>
                <a:gd name="connsiteY913" fmla="*/ 51028 h 359632"/>
                <a:gd name="connsiteX914" fmla="*/ 114304 w 218720"/>
                <a:gd name="connsiteY914" fmla="*/ 49137 h 359632"/>
                <a:gd name="connsiteX915" fmla="*/ 116822 w 218720"/>
                <a:gd name="connsiteY915" fmla="*/ 51059 h 359632"/>
                <a:gd name="connsiteX916" fmla="*/ 117853 w 218720"/>
                <a:gd name="connsiteY916" fmla="*/ 52612 h 359632"/>
                <a:gd name="connsiteX917" fmla="*/ 119718 w 218720"/>
                <a:gd name="connsiteY917" fmla="*/ 53071 h 359632"/>
                <a:gd name="connsiteX918" fmla="*/ 119956 w 218720"/>
                <a:gd name="connsiteY918" fmla="*/ 53309 h 359632"/>
                <a:gd name="connsiteX919" fmla="*/ 119746 w 218720"/>
                <a:gd name="connsiteY919" fmla="*/ 54377 h 359632"/>
                <a:gd name="connsiteX920" fmla="*/ 117848 w 218720"/>
                <a:gd name="connsiteY920" fmla="*/ 55188 h 359632"/>
                <a:gd name="connsiteX921" fmla="*/ 117038 w 218720"/>
                <a:gd name="connsiteY921" fmla="*/ 54517 h 359632"/>
                <a:gd name="connsiteX922" fmla="*/ 116827 w 218720"/>
                <a:gd name="connsiteY922" fmla="*/ 52416 h 359632"/>
                <a:gd name="connsiteX923" fmla="*/ 114564 w 218720"/>
                <a:gd name="connsiteY923" fmla="*/ 51516 h 359632"/>
                <a:gd name="connsiteX924" fmla="*/ 113464 w 218720"/>
                <a:gd name="connsiteY924" fmla="*/ 50957 h 359632"/>
                <a:gd name="connsiteX925" fmla="*/ 112612 w 218720"/>
                <a:gd name="connsiteY925" fmla="*/ 49897 h 359632"/>
                <a:gd name="connsiteX926" fmla="*/ 112829 w 218720"/>
                <a:gd name="connsiteY926" fmla="*/ 49572 h 359632"/>
                <a:gd name="connsiteX927" fmla="*/ 149939 w 218720"/>
                <a:gd name="connsiteY927" fmla="*/ 7430 h 359632"/>
                <a:gd name="connsiteX928" fmla="*/ 151315 w 218720"/>
                <a:gd name="connsiteY928" fmla="*/ 7494 h 359632"/>
                <a:gd name="connsiteX929" fmla="*/ 151174 w 218720"/>
                <a:gd name="connsiteY929" fmla="*/ 9833 h 359632"/>
                <a:gd name="connsiteX930" fmla="*/ 151632 w 218720"/>
                <a:gd name="connsiteY930" fmla="*/ 12180 h 359632"/>
                <a:gd name="connsiteX931" fmla="*/ 152774 w 218720"/>
                <a:gd name="connsiteY931" fmla="*/ 11572 h 359632"/>
                <a:gd name="connsiteX932" fmla="*/ 154498 w 218720"/>
                <a:gd name="connsiteY932" fmla="*/ 13821 h 359632"/>
                <a:gd name="connsiteX933" fmla="*/ 155378 w 218720"/>
                <a:gd name="connsiteY933" fmla="*/ 13824 h 359632"/>
                <a:gd name="connsiteX934" fmla="*/ 156827 w 218720"/>
                <a:gd name="connsiteY934" fmla="*/ 12931 h 359632"/>
                <a:gd name="connsiteX935" fmla="*/ 156535 w 218720"/>
                <a:gd name="connsiteY935" fmla="*/ 15023 h 359632"/>
                <a:gd name="connsiteX936" fmla="*/ 155031 w 218720"/>
                <a:gd name="connsiteY936" fmla="*/ 20819 h 359632"/>
                <a:gd name="connsiteX937" fmla="*/ 154608 w 218720"/>
                <a:gd name="connsiteY937" fmla="*/ 21802 h 359632"/>
                <a:gd name="connsiteX938" fmla="*/ 154322 w 218720"/>
                <a:gd name="connsiteY938" fmla="*/ 23560 h 359632"/>
                <a:gd name="connsiteX939" fmla="*/ 154023 w 218720"/>
                <a:gd name="connsiteY939" fmla="*/ 23902 h 359632"/>
                <a:gd name="connsiteX940" fmla="*/ 153579 w 218720"/>
                <a:gd name="connsiteY940" fmla="*/ 27452 h 359632"/>
                <a:gd name="connsiteX941" fmla="*/ 152562 w 218720"/>
                <a:gd name="connsiteY941" fmla="*/ 28620 h 359632"/>
                <a:gd name="connsiteX942" fmla="*/ 151712 w 218720"/>
                <a:gd name="connsiteY942" fmla="*/ 31404 h 359632"/>
                <a:gd name="connsiteX943" fmla="*/ 151365 w 218720"/>
                <a:gd name="connsiteY943" fmla="*/ 31676 h 359632"/>
                <a:gd name="connsiteX944" fmla="*/ 150118 w 218720"/>
                <a:gd name="connsiteY944" fmla="*/ 30605 h 359632"/>
                <a:gd name="connsiteX945" fmla="*/ 151364 w 218720"/>
                <a:gd name="connsiteY945" fmla="*/ 26353 h 359632"/>
                <a:gd name="connsiteX946" fmla="*/ 151880 w 218720"/>
                <a:gd name="connsiteY946" fmla="*/ 23878 h 359632"/>
                <a:gd name="connsiteX947" fmla="*/ 151554 w 218720"/>
                <a:gd name="connsiteY947" fmla="*/ 22593 h 359632"/>
                <a:gd name="connsiteX948" fmla="*/ 150849 w 218720"/>
                <a:gd name="connsiteY948" fmla="*/ 21436 h 359632"/>
                <a:gd name="connsiteX949" fmla="*/ 148942 w 218720"/>
                <a:gd name="connsiteY949" fmla="*/ 21399 h 359632"/>
                <a:gd name="connsiteX950" fmla="*/ 147340 w 218720"/>
                <a:gd name="connsiteY950" fmla="*/ 21933 h 359632"/>
                <a:gd name="connsiteX951" fmla="*/ 147000 w 218720"/>
                <a:gd name="connsiteY951" fmla="*/ 21250 h 359632"/>
                <a:gd name="connsiteX952" fmla="*/ 146950 w 218720"/>
                <a:gd name="connsiteY952" fmla="*/ 20329 h 359632"/>
                <a:gd name="connsiteX953" fmla="*/ 146564 w 218720"/>
                <a:gd name="connsiteY953" fmla="*/ 20023 h 359632"/>
                <a:gd name="connsiteX954" fmla="*/ 144431 w 218720"/>
                <a:gd name="connsiteY954" fmla="*/ 20086 h 359632"/>
                <a:gd name="connsiteX955" fmla="*/ 143805 w 218720"/>
                <a:gd name="connsiteY955" fmla="*/ 19832 h 359632"/>
                <a:gd name="connsiteX956" fmla="*/ 143392 w 218720"/>
                <a:gd name="connsiteY956" fmla="*/ 18986 h 359632"/>
                <a:gd name="connsiteX957" fmla="*/ 143310 w 218720"/>
                <a:gd name="connsiteY957" fmla="*/ 18314 h 359632"/>
                <a:gd name="connsiteX958" fmla="*/ 145236 w 218720"/>
                <a:gd name="connsiteY958" fmla="*/ 17787 h 359632"/>
                <a:gd name="connsiteX959" fmla="*/ 147054 w 218720"/>
                <a:gd name="connsiteY959" fmla="*/ 17983 h 359632"/>
                <a:gd name="connsiteX960" fmla="*/ 149703 w 218720"/>
                <a:gd name="connsiteY960" fmla="*/ 16640 h 359632"/>
                <a:gd name="connsiteX961" fmla="*/ 148046 w 218720"/>
                <a:gd name="connsiteY961" fmla="*/ 12130 h 359632"/>
                <a:gd name="connsiteX962" fmla="*/ 145851 w 218720"/>
                <a:gd name="connsiteY962" fmla="*/ 11705 h 359632"/>
                <a:gd name="connsiteX963" fmla="*/ 145344 w 218720"/>
                <a:gd name="connsiteY963" fmla="*/ 11268 h 359632"/>
                <a:gd name="connsiteX964" fmla="*/ 145767 w 218720"/>
                <a:gd name="connsiteY964" fmla="*/ 10502 h 359632"/>
                <a:gd name="connsiteX965" fmla="*/ 146972 w 218720"/>
                <a:gd name="connsiteY965" fmla="*/ 10089 h 359632"/>
                <a:gd name="connsiteX966" fmla="*/ 148828 w 218720"/>
                <a:gd name="connsiteY966" fmla="*/ 7792 h 359632"/>
                <a:gd name="connsiteX967" fmla="*/ 155924 w 218720"/>
                <a:gd name="connsiteY967" fmla="*/ 3736 h 359632"/>
                <a:gd name="connsiteX968" fmla="*/ 157863 w 218720"/>
                <a:gd name="connsiteY968" fmla="*/ 3860 h 359632"/>
                <a:gd name="connsiteX969" fmla="*/ 158171 w 218720"/>
                <a:gd name="connsiteY969" fmla="*/ 4878 h 359632"/>
                <a:gd name="connsiteX970" fmla="*/ 157979 w 218720"/>
                <a:gd name="connsiteY970" fmla="*/ 5814 h 359632"/>
                <a:gd name="connsiteX971" fmla="*/ 156991 w 218720"/>
                <a:gd name="connsiteY971" fmla="*/ 5897 h 359632"/>
                <a:gd name="connsiteX972" fmla="*/ 156903 w 218720"/>
                <a:gd name="connsiteY972" fmla="*/ 6184 h 359632"/>
                <a:gd name="connsiteX973" fmla="*/ 157211 w 218720"/>
                <a:gd name="connsiteY973" fmla="*/ 7986 h 359632"/>
                <a:gd name="connsiteX974" fmla="*/ 157230 w 218720"/>
                <a:gd name="connsiteY974" fmla="*/ 10077 h 359632"/>
                <a:gd name="connsiteX975" fmla="*/ 157046 w 218720"/>
                <a:gd name="connsiteY975" fmla="*/ 10621 h 359632"/>
                <a:gd name="connsiteX976" fmla="*/ 156486 w 218720"/>
                <a:gd name="connsiteY976" fmla="*/ 11006 h 359632"/>
                <a:gd name="connsiteX977" fmla="*/ 154327 w 218720"/>
                <a:gd name="connsiteY977" fmla="*/ 7619 h 359632"/>
                <a:gd name="connsiteX978" fmla="*/ 161891 w 218720"/>
                <a:gd name="connsiteY978" fmla="*/ 0 h 359632"/>
                <a:gd name="connsiteX979" fmla="*/ 162369 w 218720"/>
                <a:gd name="connsiteY979" fmla="*/ 21 h 359632"/>
                <a:gd name="connsiteX980" fmla="*/ 162978 w 218720"/>
                <a:gd name="connsiteY980" fmla="*/ 667 h 359632"/>
                <a:gd name="connsiteX981" fmla="*/ 162977 w 218720"/>
                <a:gd name="connsiteY981" fmla="*/ 1051 h 359632"/>
                <a:gd name="connsiteX982" fmla="*/ 161831 w 218720"/>
                <a:gd name="connsiteY982" fmla="*/ 3871 h 359632"/>
                <a:gd name="connsiteX983" fmla="*/ 161846 w 218720"/>
                <a:gd name="connsiteY983" fmla="*/ 4948 h 359632"/>
                <a:gd name="connsiteX984" fmla="*/ 159996 w 218720"/>
                <a:gd name="connsiteY984" fmla="*/ 4845 h 359632"/>
                <a:gd name="connsiteX985" fmla="*/ 159706 w 218720"/>
                <a:gd name="connsiteY985" fmla="*/ 4502 h 359632"/>
                <a:gd name="connsiteX986" fmla="*/ 159356 w 218720"/>
                <a:gd name="connsiteY986" fmla="*/ 2885 h 359632"/>
                <a:gd name="connsiteX987" fmla="*/ 159589 w 218720"/>
                <a:gd name="connsiteY987" fmla="*/ 1162 h 359632"/>
                <a:gd name="connsiteX988" fmla="*/ 159848 w 218720"/>
                <a:gd name="connsiteY988" fmla="*/ 718 h 359632"/>
                <a:gd name="connsiteX989" fmla="*/ 160388 w 218720"/>
                <a:gd name="connsiteY989" fmla="*/ 535 h 359632"/>
                <a:gd name="connsiteX990" fmla="*/ 160973 w 218720"/>
                <a:gd name="connsiteY990" fmla="*/ 873 h 3596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</a:cxnLst>
              <a:rect l="l" t="t" r="r" b="b"/>
              <a:pathLst>
                <a:path w="218720" h="359632">
                  <a:moveTo>
                    <a:pt x="130999" y="356870"/>
                  </a:moveTo>
                  <a:lnTo>
                    <a:pt x="134057" y="357184"/>
                  </a:lnTo>
                  <a:lnTo>
                    <a:pt x="135462" y="357875"/>
                  </a:lnTo>
                  <a:lnTo>
                    <a:pt x="135656" y="359317"/>
                  </a:lnTo>
                  <a:lnTo>
                    <a:pt x="134686" y="359632"/>
                  </a:lnTo>
                  <a:lnTo>
                    <a:pt x="133862" y="359129"/>
                  </a:lnTo>
                  <a:lnTo>
                    <a:pt x="132211" y="359129"/>
                  </a:lnTo>
                  <a:lnTo>
                    <a:pt x="130660" y="359444"/>
                  </a:lnTo>
                  <a:close/>
                  <a:moveTo>
                    <a:pt x="123886" y="349985"/>
                  </a:moveTo>
                  <a:lnTo>
                    <a:pt x="124356" y="349993"/>
                  </a:lnTo>
                  <a:lnTo>
                    <a:pt x="124547" y="350331"/>
                  </a:lnTo>
                  <a:lnTo>
                    <a:pt x="123771" y="352219"/>
                  </a:lnTo>
                  <a:lnTo>
                    <a:pt x="121745" y="351582"/>
                  </a:lnTo>
                  <a:lnTo>
                    <a:pt x="121587" y="351086"/>
                  </a:lnTo>
                  <a:close/>
                  <a:moveTo>
                    <a:pt x="151070" y="313354"/>
                  </a:moveTo>
                  <a:lnTo>
                    <a:pt x="154798" y="314483"/>
                  </a:lnTo>
                  <a:lnTo>
                    <a:pt x="156537" y="315778"/>
                  </a:lnTo>
                  <a:lnTo>
                    <a:pt x="154684" y="316783"/>
                  </a:lnTo>
                  <a:lnTo>
                    <a:pt x="154099" y="317960"/>
                  </a:lnTo>
                  <a:lnTo>
                    <a:pt x="153651" y="318425"/>
                  </a:lnTo>
                  <a:lnTo>
                    <a:pt x="152426" y="318728"/>
                  </a:lnTo>
                  <a:lnTo>
                    <a:pt x="151214" y="318736"/>
                  </a:lnTo>
                  <a:lnTo>
                    <a:pt x="146592" y="316373"/>
                  </a:lnTo>
                  <a:lnTo>
                    <a:pt x="145528" y="316480"/>
                  </a:lnTo>
                  <a:lnTo>
                    <a:pt x="146584" y="315397"/>
                  </a:lnTo>
                  <a:lnTo>
                    <a:pt x="149455" y="314517"/>
                  </a:lnTo>
                  <a:close/>
                  <a:moveTo>
                    <a:pt x="81441" y="235014"/>
                  </a:moveTo>
                  <a:lnTo>
                    <a:pt x="84683" y="235075"/>
                  </a:lnTo>
                  <a:lnTo>
                    <a:pt x="87299" y="237958"/>
                  </a:lnTo>
                  <a:lnTo>
                    <a:pt x="88226" y="238517"/>
                  </a:lnTo>
                  <a:lnTo>
                    <a:pt x="90559" y="238429"/>
                  </a:lnTo>
                  <a:lnTo>
                    <a:pt x="89787" y="239675"/>
                  </a:lnTo>
                  <a:lnTo>
                    <a:pt x="87220" y="241064"/>
                  </a:lnTo>
                  <a:lnTo>
                    <a:pt x="85490" y="242434"/>
                  </a:lnTo>
                  <a:lnTo>
                    <a:pt x="83402" y="243581"/>
                  </a:lnTo>
                  <a:lnTo>
                    <a:pt x="82389" y="242265"/>
                  </a:lnTo>
                  <a:lnTo>
                    <a:pt x="81214" y="242315"/>
                  </a:lnTo>
                  <a:lnTo>
                    <a:pt x="79418" y="239791"/>
                  </a:lnTo>
                  <a:lnTo>
                    <a:pt x="79094" y="236001"/>
                  </a:lnTo>
                  <a:close/>
                  <a:moveTo>
                    <a:pt x="82259" y="205081"/>
                  </a:moveTo>
                  <a:lnTo>
                    <a:pt x="82904" y="205211"/>
                  </a:lnTo>
                  <a:lnTo>
                    <a:pt x="83310" y="205526"/>
                  </a:lnTo>
                  <a:lnTo>
                    <a:pt x="84177" y="209288"/>
                  </a:lnTo>
                  <a:lnTo>
                    <a:pt x="82976" y="210618"/>
                  </a:lnTo>
                  <a:lnTo>
                    <a:pt x="82539" y="211836"/>
                  </a:lnTo>
                  <a:lnTo>
                    <a:pt x="78068" y="215684"/>
                  </a:lnTo>
                  <a:lnTo>
                    <a:pt x="76259" y="214993"/>
                  </a:lnTo>
                  <a:lnTo>
                    <a:pt x="74718" y="215358"/>
                  </a:lnTo>
                  <a:lnTo>
                    <a:pt x="74285" y="215248"/>
                  </a:lnTo>
                  <a:lnTo>
                    <a:pt x="75165" y="213859"/>
                  </a:lnTo>
                  <a:lnTo>
                    <a:pt x="76200" y="210633"/>
                  </a:lnTo>
                  <a:lnTo>
                    <a:pt x="78055" y="209353"/>
                  </a:lnTo>
                  <a:lnTo>
                    <a:pt x="80403" y="206010"/>
                  </a:lnTo>
                  <a:close/>
                  <a:moveTo>
                    <a:pt x="39128" y="179485"/>
                  </a:moveTo>
                  <a:lnTo>
                    <a:pt x="42247" y="180254"/>
                  </a:lnTo>
                  <a:lnTo>
                    <a:pt x="44571" y="180238"/>
                  </a:lnTo>
                  <a:lnTo>
                    <a:pt x="46635" y="182483"/>
                  </a:lnTo>
                  <a:lnTo>
                    <a:pt x="47742" y="186017"/>
                  </a:lnTo>
                  <a:lnTo>
                    <a:pt x="50319" y="189504"/>
                  </a:lnTo>
                  <a:lnTo>
                    <a:pt x="53688" y="192534"/>
                  </a:lnTo>
                  <a:lnTo>
                    <a:pt x="53822" y="194385"/>
                  </a:lnTo>
                  <a:lnTo>
                    <a:pt x="52619" y="195378"/>
                  </a:lnTo>
                  <a:lnTo>
                    <a:pt x="50100" y="196612"/>
                  </a:lnTo>
                  <a:lnTo>
                    <a:pt x="50111" y="197930"/>
                  </a:lnTo>
                  <a:lnTo>
                    <a:pt x="51772" y="197265"/>
                  </a:lnTo>
                  <a:lnTo>
                    <a:pt x="53206" y="196958"/>
                  </a:lnTo>
                  <a:lnTo>
                    <a:pt x="56658" y="197253"/>
                  </a:lnTo>
                  <a:lnTo>
                    <a:pt x="57865" y="198593"/>
                  </a:lnTo>
                  <a:lnTo>
                    <a:pt x="58699" y="200597"/>
                  </a:lnTo>
                  <a:lnTo>
                    <a:pt x="59137" y="202242"/>
                  </a:lnTo>
                  <a:lnTo>
                    <a:pt x="58839" y="204029"/>
                  </a:lnTo>
                  <a:lnTo>
                    <a:pt x="57910" y="203463"/>
                  </a:lnTo>
                  <a:lnTo>
                    <a:pt x="56966" y="201864"/>
                  </a:lnTo>
                  <a:lnTo>
                    <a:pt x="55918" y="201127"/>
                  </a:lnTo>
                  <a:lnTo>
                    <a:pt x="54699" y="200729"/>
                  </a:lnTo>
                  <a:lnTo>
                    <a:pt x="55252" y="202924"/>
                  </a:lnTo>
                  <a:lnTo>
                    <a:pt x="55034" y="205857"/>
                  </a:lnTo>
                  <a:lnTo>
                    <a:pt x="55566" y="206133"/>
                  </a:lnTo>
                  <a:lnTo>
                    <a:pt x="57204" y="206184"/>
                  </a:lnTo>
                  <a:lnTo>
                    <a:pt x="56121" y="209183"/>
                  </a:lnTo>
                  <a:lnTo>
                    <a:pt x="53882" y="209996"/>
                  </a:lnTo>
                  <a:lnTo>
                    <a:pt x="51270" y="210300"/>
                  </a:lnTo>
                  <a:lnTo>
                    <a:pt x="50640" y="211361"/>
                  </a:lnTo>
                  <a:lnTo>
                    <a:pt x="50166" y="212727"/>
                  </a:lnTo>
                  <a:lnTo>
                    <a:pt x="48803" y="214762"/>
                  </a:lnTo>
                  <a:lnTo>
                    <a:pt x="47005" y="215909"/>
                  </a:lnTo>
                  <a:lnTo>
                    <a:pt x="44783" y="215678"/>
                  </a:lnTo>
                  <a:lnTo>
                    <a:pt x="42606" y="214772"/>
                  </a:lnTo>
                  <a:lnTo>
                    <a:pt x="40712" y="214586"/>
                  </a:lnTo>
                  <a:lnTo>
                    <a:pt x="39385" y="215125"/>
                  </a:lnTo>
                  <a:lnTo>
                    <a:pt x="38524" y="215625"/>
                  </a:lnTo>
                  <a:lnTo>
                    <a:pt x="37691" y="215534"/>
                  </a:lnTo>
                  <a:lnTo>
                    <a:pt x="35306" y="215727"/>
                  </a:lnTo>
                  <a:lnTo>
                    <a:pt x="33058" y="215686"/>
                  </a:lnTo>
                  <a:lnTo>
                    <a:pt x="32739" y="214892"/>
                  </a:lnTo>
                  <a:lnTo>
                    <a:pt x="33122" y="212503"/>
                  </a:lnTo>
                  <a:lnTo>
                    <a:pt x="32622" y="211855"/>
                  </a:lnTo>
                  <a:lnTo>
                    <a:pt x="30475" y="211524"/>
                  </a:lnTo>
                  <a:lnTo>
                    <a:pt x="29679" y="210954"/>
                  </a:lnTo>
                  <a:lnTo>
                    <a:pt x="28446" y="209302"/>
                  </a:lnTo>
                  <a:lnTo>
                    <a:pt x="28206" y="208528"/>
                  </a:lnTo>
                  <a:lnTo>
                    <a:pt x="28029" y="207461"/>
                  </a:lnTo>
                  <a:lnTo>
                    <a:pt x="26726" y="206083"/>
                  </a:lnTo>
                  <a:lnTo>
                    <a:pt x="25144" y="205096"/>
                  </a:lnTo>
                  <a:lnTo>
                    <a:pt x="24215" y="205048"/>
                  </a:lnTo>
                  <a:lnTo>
                    <a:pt x="22362" y="206660"/>
                  </a:lnTo>
                  <a:lnTo>
                    <a:pt x="20834" y="208292"/>
                  </a:lnTo>
                  <a:lnTo>
                    <a:pt x="21377" y="209111"/>
                  </a:lnTo>
                  <a:lnTo>
                    <a:pt x="21876" y="210189"/>
                  </a:lnTo>
                  <a:lnTo>
                    <a:pt x="21045" y="210961"/>
                  </a:lnTo>
                  <a:lnTo>
                    <a:pt x="18532" y="212728"/>
                  </a:lnTo>
                  <a:lnTo>
                    <a:pt x="18139" y="213414"/>
                  </a:lnTo>
                  <a:lnTo>
                    <a:pt x="17461" y="213785"/>
                  </a:lnTo>
                  <a:lnTo>
                    <a:pt x="16261" y="213296"/>
                  </a:lnTo>
                  <a:lnTo>
                    <a:pt x="13276" y="213409"/>
                  </a:lnTo>
                  <a:lnTo>
                    <a:pt x="11902" y="213097"/>
                  </a:lnTo>
                  <a:lnTo>
                    <a:pt x="10305" y="211796"/>
                  </a:lnTo>
                  <a:lnTo>
                    <a:pt x="6410" y="210925"/>
                  </a:lnTo>
                  <a:lnTo>
                    <a:pt x="5757" y="208841"/>
                  </a:lnTo>
                  <a:lnTo>
                    <a:pt x="5005" y="208451"/>
                  </a:lnTo>
                  <a:lnTo>
                    <a:pt x="587" y="204865"/>
                  </a:lnTo>
                  <a:lnTo>
                    <a:pt x="0" y="203667"/>
                  </a:lnTo>
                  <a:lnTo>
                    <a:pt x="572" y="202952"/>
                  </a:lnTo>
                  <a:lnTo>
                    <a:pt x="2222" y="201868"/>
                  </a:lnTo>
                  <a:lnTo>
                    <a:pt x="7762" y="200072"/>
                  </a:lnTo>
                  <a:lnTo>
                    <a:pt x="8633" y="199348"/>
                  </a:lnTo>
                  <a:lnTo>
                    <a:pt x="8812" y="198709"/>
                  </a:lnTo>
                  <a:lnTo>
                    <a:pt x="7186" y="197979"/>
                  </a:lnTo>
                  <a:lnTo>
                    <a:pt x="5720" y="197172"/>
                  </a:lnTo>
                  <a:lnTo>
                    <a:pt x="5220" y="196643"/>
                  </a:lnTo>
                  <a:lnTo>
                    <a:pt x="5179" y="196184"/>
                  </a:lnTo>
                  <a:lnTo>
                    <a:pt x="6011" y="195586"/>
                  </a:lnTo>
                  <a:lnTo>
                    <a:pt x="7685" y="195543"/>
                  </a:lnTo>
                  <a:lnTo>
                    <a:pt x="9007" y="195813"/>
                  </a:lnTo>
                  <a:lnTo>
                    <a:pt x="10057" y="195275"/>
                  </a:lnTo>
                  <a:lnTo>
                    <a:pt x="11904" y="194734"/>
                  </a:lnTo>
                  <a:lnTo>
                    <a:pt x="13144" y="194052"/>
                  </a:lnTo>
                  <a:lnTo>
                    <a:pt x="14210" y="192290"/>
                  </a:lnTo>
                  <a:lnTo>
                    <a:pt x="15336" y="190705"/>
                  </a:lnTo>
                  <a:lnTo>
                    <a:pt x="15452" y="189845"/>
                  </a:lnTo>
                  <a:lnTo>
                    <a:pt x="16438" y="186828"/>
                  </a:lnTo>
                  <a:lnTo>
                    <a:pt x="16980" y="186079"/>
                  </a:lnTo>
                  <a:lnTo>
                    <a:pt x="20479" y="184101"/>
                  </a:lnTo>
                  <a:lnTo>
                    <a:pt x="21365" y="185181"/>
                  </a:lnTo>
                  <a:lnTo>
                    <a:pt x="23089" y="185445"/>
                  </a:lnTo>
                  <a:lnTo>
                    <a:pt x="24634" y="184451"/>
                  </a:lnTo>
                  <a:lnTo>
                    <a:pt x="26483" y="181313"/>
                  </a:lnTo>
                  <a:lnTo>
                    <a:pt x="27769" y="181116"/>
                  </a:lnTo>
                  <a:lnTo>
                    <a:pt x="29187" y="181370"/>
                  </a:lnTo>
                  <a:lnTo>
                    <a:pt x="31974" y="180975"/>
                  </a:lnTo>
                  <a:lnTo>
                    <a:pt x="36922" y="179509"/>
                  </a:lnTo>
                  <a:close/>
                  <a:moveTo>
                    <a:pt x="63975" y="164784"/>
                  </a:moveTo>
                  <a:lnTo>
                    <a:pt x="65438" y="165590"/>
                  </a:lnTo>
                  <a:lnTo>
                    <a:pt x="65992" y="166340"/>
                  </a:lnTo>
                  <a:lnTo>
                    <a:pt x="67217" y="169218"/>
                  </a:lnTo>
                  <a:lnTo>
                    <a:pt x="67444" y="171683"/>
                  </a:lnTo>
                  <a:lnTo>
                    <a:pt x="67207" y="173091"/>
                  </a:lnTo>
                  <a:lnTo>
                    <a:pt x="64420" y="173114"/>
                  </a:lnTo>
                  <a:lnTo>
                    <a:pt x="63412" y="172847"/>
                  </a:lnTo>
                  <a:lnTo>
                    <a:pt x="62208" y="172095"/>
                  </a:lnTo>
                  <a:lnTo>
                    <a:pt x="60856" y="167842"/>
                  </a:lnTo>
                  <a:lnTo>
                    <a:pt x="61339" y="166336"/>
                  </a:lnTo>
                  <a:lnTo>
                    <a:pt x="61894" y="165598"/>
                  </a:lnTo>
                  <a:lnTo>
                    <a:pt x="62504" y="165025"/>
                  </a:lnTo>
                  <a:close/>
                  <a:moveTo>
                    <a:pt x="44576" y="158143"/>
                  </a:moveTo>
                  <a:lnTo>
                    <a:pt x="45374" y="162138"/>
                  </a:lnTo>
                  <a:lnTo>
                    <a:pt x="46152" y="164611"/>
                  </a:lnTo>
                  <a:lnTo>
                    <a:pt x="46203" y="165455"/>
                  </a:lnTo>
                  <a:lnTo>
                    <a:pt x="45472" y="166628"/>
                  </a:lnTo>
                  <a:lnTo>
                    <a:pt x="41828" y="168187"/>
                  </a:lnTo>
                  <a:lnTo>
                    <a:pt x="40681" y="168196"/>
                  </a:lnTo>
                  <a:lnTo>
                    <a:pt x="40633" y="167818"/>
                  </a:lnTo>
                  <a:lnTo>
                    <a:pt x="41456" y="166231"/>
                  </a:lnTo>
                  <a:lnTo>
                    <a:pt x="40747" y="164429"/>
                  </a:lnTo>
                  <a:lnTo>
                    <a:pt x="41093" y="163059"/>
                  </a:lnTo>
                  <a:lnTo>
                    <a:pt x="40754" y="162807"/>
                  </a:lnTo>
                  <a:lnTo>
                    <a:pt x="40043" y="163001"/>
                  </a:lnTo>
                  <a:lnTo>
                    <a:pt x="37433" y="165178"/>
                  </a:lnTo>
                  <a:lnTo>
                    <a:pt x="36561" y="165393"/>
                  </a:lnTo>
                  <a:lnTo>
                    <a:pt x="36466" y="164951"/>
                  </a:lnTo>
                  <a:lnTo>
                    <a:pt x="37112" y="163168"/>
                  </a:lnTo>
                  <a:lnTo>
                    <a:pt x="37192" y="161948"/>
                  </a:lnTo>
                  <a:lnTo>
                    <a:pt x="37581" y="161198"/>
                  </a:lnTo>
                  <a:lnTo>
                    <a:pt x="38290" y="160506"/>
                  </a:lnTo>
                  <a:lnTo>
                    <a:pt x="39135" y="159986"/>
                  </a:lnTo>
                  <a:lnTo>
                    <a:pt x="39817" y="159912"/>
                  </a:lnTo>
                  <a:lnTo>
                    <a:pt x="40543" y="160448"/>
                  </a:lnTo>
                  <a:lnTo>
                    <a:pt x="42657" y="158952"/>
                  </a:lnTo>
                  <a:close/>
                  <a:moveTo>
                    <a:pt x="52683" y="152228"/>
                  </a:moveTo>
                  <a:lnTo>
                    <a:pt x="53504" y="152283"/>
                  </a:lnTo>
                  <a:lnTo>
                    <a:pt x="51910" y="155806"/>
                  </a:lnTo>
                  <a:lnTo>
                    <a:pt x="48088" y="161752"/>
                  </a:lnTo>
                  <a:lnTo>
                    <a:pt x="47627" y="162086"/>
                  </a:lnTo>
                  <a:lnTo>
                    <a:pt x="46507" y="161994"/>
                  </a:lnTo>
                  <a:lnTo>
                    <a:pt x="46092" y="161493"/>
                  </a:lnTo>
                  <a:lnTo>
                    <a:pt x="45863" y="160723"/>
                  </a:lnTo>
                  <a:lnTo>
                    <a:pt x="45835" y="159309"/>
                  </a:lnTo>
                  <a:lnTo>
                    <a:pt x="46513" y="158297"/>
                  </a:lnTo>
                  <a:lnTo>
                    <a:pt x="49377" y="156767"/>
                  </a:lnTo>
                  <a:lnTo>
                    <a:pt x="48083" y="156224"/>
                  </a:lnTo>
                  <a:lnTo>
                    <a:pt x="48031" y="155842"/>
                  </a:lnTo>
                  <a:lnTo>
                    <a:pt x="48774" y="154570"/>
                  </a:lnTo>
                  <a:lnTo>
                    <a:pt x="51857" y="152588"/>
                  </a:lnTo>
                  <a:close/>
                  <a:moveTo>
                    <a:pt x="44369" y="135637"/>
                  </a:moveTo>
                  <a:lnTo>
                    <a:pt x="45155" y="135769"/>
                  </a:lnTo>
                  <a:lnTo>
                    <a:pt x="46772" y="136896"/>
                  </a:lnTo>
                  <a:lnTo>
                    <a:pt x="48605" y="139261"/>
                  </a:lnTo>
                  <a:lnTo>
                    <a:pt x="51052" y="139637"/>
                  </a:lnTo>
                  <a:lnTo>
                    <a:pt x="52715" y="140638"/>
                  </a:lnTo>
                  <a:lnTo>
                    <a:pt x="52338" y="145224"/>
                  </a:lnTo>
                  <a:lnTo>
                    <a:pt x="43531" y="146965"/>
                  </a:lnTo>
                  <a:lnTo>
                    <a:pt x="40496" y="146811"/>
                  </a:lnTo>
                  <a:lnTo>
                    <a:pt x="40222" y="145957"/>
                  </a:lnTo>
                  <a:lnTo>
                    <a:pt x="40826" y="145386"/>
                  </a:lnTo>
                  <a:lnTo>
                    <a:pt x="43339" y="144831"/>
                  </a:lnTo>
                  <a:lnTo>
                    <a:pt x="44356" y="140639"/>
                  </a:lnTo>
                  <a:lnTo>
                    <a:pt x="40557" y="138708"/>
                  </a:lnTo>
                  <a:lnTo>
                    <a:pt x="40358" y="138165"/>
                  </a:lnTo>
                  <a:lnTo>
                    <a:pt x="40655" y="137243"/>
                  </a:lnTo>
                  <a:lnTo>
                    <a:pt x="41095" y="136832"/>
                  </a:lnTo>
                  <a:lnTo>
                    <a:pt x="43400" y="135854"/>
                  </a:lnTo>
                  <a:close/>
                  <a:moveTo>
                    <a:pt x="36236" y="134929"/>
                  </a:moveTo>
                  <a:lnTo>
                    <a:pt x="36731" y="135137"/>
                  </a:lnTo>
                  <a:lnTo>
                    <a:pt x="35705" y="136368"/>
                  </a:lnTo>
                  <a:lnTo>
                    <a:pt x="33991" y="137675"/>
                  </a:lnTo>
                  <a:lnTo>
                    <a:pt x="32734" y="137850"/>
                  </a:lnTo>
                  <a:lnTo>
                    <a:pt x="32643" y="137405"/>
                  </a:lnTo>
                  <a:lnTo>
                    <a:pt x="34824" y="135279"/>
                  </a:lnTo>
                  <a:close/>
                  <a:moveTo>
                    <a:pt x="15243" y="124000"/>
                  </a:moveTo>
                  <a:lnTo>
                    <a:pt x="16322" y="124589"/>
                  </a:lnTo>
                  <a:lnTo>
                    <a:pt x="16493" y="125125"/>
                  </a:lnTo>
                  <a:lnTo>
                    <a:pt x="16096" y="125691"/>
                  </a:lnTo>
                  <a:lnTo>
                    <a:pt x="14152" y="126126"/>
                  </a:lnTo>
                  <a:lnTo>
                    <a:pt x="13431" y="125871"/>
                  </a:lnTo>
                  <a:lnTo>
                    <a:pt x="13308" y="125472"/>
                  </a:lnTo>
                  <a:lnTo>
                    <a:pt x="13751" y="124384"/>
                  </a:lnTo>
                  <a:close/>
                  <a:moveTo>
                    <a:pt x="40298" y="123001"/>
                  </a:moveTo>
                  <a:lnTo>
                    <a:pt x="41274" y="123606"/>
                  </a:lnTo>
                  <a:lnTo>
                    <a:pt x="41649" y="124298"/>
                  </a:lnTo>
                  <a:lnTo>
                    <a:pt x="41665" y="125065"/>
                  </a:lnTo>
                  <a:lnTo>
                    <a:pt x="41256" y="125714"/>
                  </a:lnTo>
                  <a:lnTo>
                    <a:pt x="40600" y="126121"/>
                  </a:lnTo>
                  <a:lnTo>
                    <a:pt x="39770" y="126043"/>
                  </a:lnTo>
                  <a:lnTo>
                    <a:pt x="38948" y="125518"/>
                  </a:lnTo>
                  <a:lnTo>
                    <a:pt x="37860" y="124032"/>
                  </a:lnTo>
                  <a:close/>
                  <a:moveTo>
                    <a:pt x="18761" y="112439"/>
                  </a:moveTo>
                  <a:lnTo>
                    <a:pt x="19407" y="112818"/>
                  </a:lnTo>
                  <a:lnTo>
                    <a:pt x="19840" y="120602"/>
                  </a:lnTo>
                  <a:lnTo>
                    <a:pt x="19790" y="120951"/>
                  </a:lnTo>
                  <a:lnTo>
                    <a:pt x="18857" y="121127"/>
                  </a:lnTo>
                  <a:lnTo>
                    <a:pt x="17632" y="120957"/>
                  </a:lnTo>
                  <a:lnTo>
                    <a:pt x="16879" y="120465"/>
                  </a:lnTo>
                  <a:lnTo>
                    <a:pt x="16117" y="118518"/>
                  </a:lnTo>
                  <a:lnTo>
                    <a:pt x="15975" y="117339"/>
                  </a:lnTo>
                  <a:lnTo>
                    <a:pt x="16314" y="115145"/>
                  </a:lnTo>
                  <a:lnTo>
                    <a:pt x="16236" y="112521"/>
                  </a:lnTo>
                  <a:close/>
                  <a:moveTo>
                    <a:pt x="40661" y="103259"/>
                  </a:moveTo>
                  <a:lnTo>
                    <a:pt x="41966" y="103921"/>
                  </a:lnTo>
                  <a:lnTo>
                    <a:pt x="43754" y="106023"/>
                  </a:lnTo>
                  <a:lnTo>
                    <a:pt x="44226" y="108582"/>
                  </a:lnTo>
                  <a:lnTo>
                    <a:pt x="44195" y="109988"/>
                  </a:lnTo>
                  <a:lnTo>
                    <a:pt x="43805" y="111640"/>
                  </a:lnTo>
                  <a:lnTo>
                    <a:pt x="44313" y="113393"/>
                  </a:lnTo>
                  <a:lnTo>
                    <a:pt x="44429" y="114645"/>
                  </a:lnTo>
                  <a:lnTo>
                    <a:pt x="45361" y="115043"/>
                  </a:lnTo>
                  <a:lnTo>
                    <a:pt x="45931" y="115619"/>
                  </a:lnTo>
                  <a:lnTo>
                    <a:pt x="50074" y="116264"/>
                  </a:lnTo>
                  <a:lnTo>
                    <a:pt x="53927" y="116083"/>
                  </a:lnTo>
                  <a:lnTo>
                    <a:pt x="54669" y="116598"/>
                  </a:lnTo>
                  <a:lnTo>
                    <a:pt x="54753" y="117416"/>
                  </a:lnTo>
                  <a:lnTo>
                    <a:pt x="54144" y="118318"/>
                  </a:lnTo>
                  <a:lnTo>
                    <a:pt x="51950" y="119963"/>
                  </a:lnTo>
                  <a:lnTo>
                    <a:pt x="49333" y="122618"/>
                  </a:lnTo>
                  <a:lnTo>
                    <a:pt x="48553" y="123171"/>
                  </a:lnTo>
                  <a:lnTo>
                    <a:pt x="47707" y="123194"/>
                  </a:lnTo>
                  <a:lnTo>
                    <a:pt x="47100" y="122956"/>
                  </a:lnTo>
                  <a:lnTo>
                    <a:pt x="46666" y="118230"/>
                  </a:lnTo>
                  <a:lnTo>
                    <a:pt x="43828" y="118835"/>
                  </a:lnTo>
                  <a:lnTo>
                    <a:pt x="41542" y="118766"/>
                  </a:lnTo>
                  <a:lnTo>
                    <a:pt x="40291" y="118190"/>
                  </a:lnTo>
                  <a:lnTo>
                    <a:pt x="39413" y="117080"/>
                  </a:lnTo>
                  <a:lnTo>
                    <a:pt x="37643" y="114224"/>
                  </a:lnTo>
                  <a:lnTo>
                    <a:pt x="32491" y="113100"/>
                  </a:lnTo>
                  <a:lnTo>
                    <a:pt x="31034" y="111525"/>
                  </a:lnTo>
                  <a:lnTo>
                    <a:pt x="30596" y="110573"/>
                  </a:lnTo>
                  <a:lnTo>
                    <a:pt x="30782" y="110047"/>
                  </a:lnTo>
                  <a:lnTo>
                    <a:pt x="31855" y="108875"/>
                  </a:lnTo>
                  <a:lnTo>
                    <a:pt x="33198" y="109293"/>
                  </a:lnTo>
                  <a:lnTo>
                    <a:pt x="34029" y="109037"/>
                  </a:lnTo>
                  <a:lnTo>
                    <a:pt x="34535" y="108513"/>
                  </a:lnTo>
                  <a:lnTo>
                    <a:pt x="34524" y="108083"/>
                  </a:lnTo>
                  <a:lnTo>
                    <a:pt x="33821" y="107061"/>
                  </a:lnTo>
                  <a:lnTo>
                    <a:pt x="33788" y="106743"/>
                  </a:lnTo>
                  <a:lnTo>
                    <a:pt x="39057" y="105449"/>
                  </a:lnTo>
                  <a:lnTo>
                    <a:pt x="39517" y="103424"/>
                  </a:lnTo>
                  <a:close/>
                  <a:moveTo>
                    <a:pt x="20769" y="102908"/>
                  </a:moveTo>
                  <a:lnTo>
                    <a:pt x="23263" y="104705"/>
                  </a:lnTo>
                  <a:lnTo>
                    <a:pt x="21276" y="107680"/>
                  </a:lnTo>
                  <a:lnTo>
                    <a:pt x="18226" y="107666"/>
                  </a:lnTo>
                  <a:lnTo>
                    <a:pt x="13932" y="105492"/>
                  </a:lnTo>
                  <a:lnTo>
                    <a:pt x="13913" y="105049"/>
                  </a:lnTo>
                  <a:lnTo>
                    <a:pt x="14271" y="104396"/>
                  </a:lnTo>
                  <a:lnTo>
                    <a:pt x="14915" y="103879"/>
                  </a:lnTo>
                  <a:lnTo>
                    <a:pt x="15584" y="103756"/>
                  </a:lnTo>
                  <a:lnTo>
                    <a:pt x="16649" y="104113"/>
                  </a:lnTo>
                  <a:lnTo>
                    <a:pt x="18131" y="103541"/>
                  </a:lnTo>
                  <a:lnTo>
                    <a:pt x="19318" y="103722"/>
                  </a:lnTo>
                  <a:close/>
                  <a:moveTo>
                    <a:pt x="42176" y="76583"/>
                  </a:moveTo>
                  <a:lnTo>
                    <a:pt x="42574" y="77039"/>
                  </a:lnTo>
                  <a:lnTo>
                    <a:pt x="43131" y="78770"/>
                  </a:lnTo>
                  <a:lnTo>
                    <a:pt x="43033" y="81087"/>
                  </a:lnTo>
                  <a:lnTo>
                    <a:pt x="40222" y="86702"/>
                  </a:lnTo>
                  <a:lnTo>
                    <a:pt x="39121" y="86840"/>
                  </a:lnTo>
                  <a:lnTo>
                    <a:pt x="38155" y="88241"/>
                  </a:lnTo>
                  <a:lnTo>
                    <a:pt x="35163" y="89786"/>
                  </a:lnTo>
                  <a:lnTo>
                    <a:pt x="37774" y="89818"/>
                  </a:lnTo>
                  <a:lnTo>
                    <a:pt x="38507" y="90332"/>
                  </a:lnTo>
                  <a:lnTo>
                    <a:pt x="38528" y="91440"/>
                  </a:lnTo>
                  <a:lnTo>
                    <a:pt x="38025" y="92084"/>
                  </a:lnTo>
                  <a:lnTo>
                    <a:pt x="34643" y="94646"/>
                  </a:lnTo>
                  <a:lnTo>
                    <a:pt x="32317" y="95617"/>
                  </a:lnTo>
                  <a:lnTo>
                    <a:pt x="29812" y="98289"/>
                  </a:lnTo>
                  <a:lnTo>
                    <a:pt x="28548" y="98322"/>
                  </a:lnTo>
                  <a:lnTo>
                    <a:pt x="27296" y="100020"/>
                  </a:lnTo>
                  <a:lnTo>
                    <a:pt x="26266" y="100766"/>
                  </a:lnTo>
                  <a:lnTo>
                    <a:pt x="25688" y="100768"/>
                  </a:lnTo>
                  <a:lnTo>
                    <a:pt x="25023" y="100392"/>
                  </a:lnTo>
                  <a:lnTo>
                    <a:pt x="23469" y="98730"/>
                  </a:lnTo>
                  <a:lnTo>
                    <a:pt x="26288" y="97094"/>
                  </a:lnTo>
                  <a:lnTo>
                    <a:pt x="26549" y="96174"/>
                  </a:lnTo>
                  <a:lnTo>
                    <a:pt x="28480" y="95217"/>
                  </a:lnTo>
                  <a:lnTo>
                    <a:pt x="28318" y="94918"/>
                  </a:lnTo>
                  <a:lnTo>
                    <a:pt x="25258" y="93571"/>
                  </a:lnTo>
                  <a:lnTo>
                    <a:pt x="24052" y="92664"/>
                  </a:lnTo>
                  <a:lnTo>
                    <a:pt x="24166" y="92190"/>
                  </a:lnTo>
                  <a:lnTo>
                    <a:pt x="25639" y="91147"/>
                  </a:lnTo>
                  <a:lnTo>
                    <a:pt x="24941" y="91009"/>
                  </a:lnTo>
                  <a:lnTo>
                    <a:pt x="24469" y="90446"/>
                  </a:lnTo>
                  <a:lnTo>
                    <a:pt x="23614" y="90232"/>
                  </a:lnTo>
                  <a:lnTo>
                    <a:pt x="23358" y="89707"/>
                  </a:lnTo>
                  <a:lnTo>
                    <a:pt x="23200" y="88328"/>
                  </a:lnTo>
                  <a:lnTo>
                    <a:pt x="23429" y="86917"/>
                  </a:lnTo>
                  <a:lnTo>
                    <a:pt x="24321" y="86294"/>
                  </a:lnTo>
                  <a:lnTo>
                    <a:pt x="24686" y="85626"/>
                  </a:lnTo>
                  <a:lnTo>
                    <a:pt x="25047" y="85421"/>
                  </a:lnTo>
                  <a:lnTo>
                    <a:pt x="26429" y="85776"/>
                  </a:lnTo>
                  <a:lnTo>
                    <a:pt x="27830" y="86905"/>
                  </a:lnTo>
                  <a:lnTo>
                    <a:pt x="29465" y="86470"/>
                  </a:lnTo>
                  <a:lnTo>
                    <a:pt x="31363" y="86685"/>
                  </a:lnTo>
                  <a:lnTo>
                    <a:pt x="31402" y="86423"/>
                  </a:lnTo>
                  <a:lnTo>
                    <a:pt x="30008" y="83645"/>
                  </a:lnTo>
                  <a:lnTo>
                    <a:pt x="30257" y="83077"/>
                  </a:lnTo>
                  <a:lnTo>
                    <a:pt x="31013" y="82429"/>
                  </a:lnTo>
                  <a:lnTo>
                    <a:pt x="35393" y="80446"/>
                  </a:lnTo>
                  <a:lnTo>
                    <a:pt x="40855" y="77107"/>
                  </a:lnTo>
                  <a:close/>
                  <a:moveTo>
                    <a:pt x="108033" y="71824"/>
                  </a:moveTo>
                  <a:lnTo>
                    <a:pt x="112589" y="72316"/>
                  </a:lnTo>
                  <a:lnTo>
                    <a:pt x="112741" y="72940"/>
                  </a:lnTo>
                  <a:lnTo>
                    <a:pt x="112503" y="73806"/>
                  </a:lnTo>
                  <a:lnTo>
                    <a:pt x="111337" y="76175"/>
                  </a:lnTo>
                  <a:lnTo>
                    <a:pt x="111527" y="78816"/>
                  </a:lnTo>
                  <a:lnTo>
                    <a:pt x="111267" y="79616"/>
                  </a:lnTo>
                  <a:lnTo>
                    <a:pt x="110738" y="80602"/>
                  </a:lnTo>
                  <a:lnTo>
                    <a:pt x="109067" y="82442"/>
                  </a:lnTo>
                  <a:lnTo>
                    <a:pt x="104675" y="85069"/>
                  </a:lnTo>
                  <a:lnTo>
                    <a:pt x="96626" y="91095"/>
                  </a:lnTo>
                  <a:lnTo>
                    <a:pt x="91871" y="94080"/>
                  </a:lnTo>
                  <a:lnTo>
                    <a:pt x="91217" y="95514"/>
                  </a:lnTo>
                  <a:lnTo>
                    <a:pt x="90864" y="97507"/>
                  </a:lnTo>
                  <a:lnTo>
                    <a:pt x="93711" y="97902"/>
                  </a:lnTo>
                  <a:lnTo>
                    <a:pt x="94810" y="98577"/>
                  </a:lnTo>
                  <a:lnTo>
                    <a:pt x="94128" y="99588"/>
                  </a:lnTo>
                  <a:lnTo>
                    <a:pt x="89917" y="103097"/>
                  </a:lnTo>
                  <a:lnTo>
                    <a:pt x="88676" y="106264"/>
                  </a:lnTo>
                  <a:lnTo>
                    <a:pt x="91905" y="106152"/>
                  </a:lnTo>
                  <a:lnTo>
                    <a:pt x="94566" y="105544"/>
                  </a:lnTo>
                  <a:lnTo>
                    <a:pt x="99872" y="103569"/>
                  </a:lnTo>
                  <a:lnTo>
                    <a:pt x="104856" y="102101"/>
                  </a:lnTo>
                  <a:lnTo>
                    <a:pt x="107250" y="102040"/>
                  </a:lnTo>
                  <a:lnTo>
                    <a:pt x="111907" y="103211"/>
                  </a:lnTo>
                  <a:lnTo>
                    <a:pt x="112966" y="103248"/>
                  </a:lnTo>
                  <a:lnTo>
                    <a:pt x="114942" y="102707"/>
                  </a:lnTo>
                  <a:lnTo>
                    <a:pt x="116940" y="102611"/>
                  </a:lnTo>
                  <a:lnTo>
                    <a:pt x="130476" y="102975"/>
                  </a:lnTo>
                  <a:lnTo>
                    <a:pt x="134237" y="102288"/>
                  </a:lnTo>
                  <a:lnTo>
                    <a:pt x="136725" y="103110"/>
                  </a:lnTo>
                  <a:lnTo>
                    <a:pt x="138807" y="105161"/>
                  </a:lnTo>
                  <a:lnTo>
                    <a:pt x="140785" y="108939"/>
                  </a:lnTo>
                  <a:lnTo>
                    <a:pt x="140725" y="109567"/>
                  </a:lnTo>
                  <a:lnTo>
                    <a:pt x="139530" y="111286"/>
                  </a:lnTo>
                  <a:lnTo>
                    <a:pt x="137324" y="113440"/>
                  </a:lnTo>
                  <a:lnTo>
                    <a:pt x="135426" y="116402"/>
                  </a:lnTo>
                  <a:lnTo>
                    <a:pt x="134869" y="117998"/>
                  </a:lnTo>
                  <a:lnTo>
                    <a:pt x="134496" y="119743"/>
                  </a:lnTo>
                  <a:lnTo>
                    <a:pt x="133895" y="121356"/>
                  </a:lnTo>
                  <a:lnTo>
                    <a:pt x="130120" y="128914"/>
                  </a:lnTo>
                  <a:lnTo>
                    <a:pt x="126440" y="133093"/>
                  </a:lnTo>
                  <a:lnTo>
                    <a:pt x="124797" y="136055"/>
                  </a:lnTo>
                  <a:lnTo>
                    <a:pt x="122769" y="138412"/>
                  </a:lnTo>
                  <a:lnTo>
                    <a:pt x="120818" y="139893"/>
                  </a:lnTo>
                  <a:lnTo>
                    <a:pt x="118734" y="140879"/>
                  </a:lnTo>
                  <a:lnTo>
                    <a:pt x="112714" y="141933"/>
                  </a:lnTo>
                  <a:lnTo>
                    <a:pt x="111030" y="142688"/>
                  </a:lnTo>
                  <a:lnTo>
                    <a:pt x="109021" y="143984"/>
                  </a:lnTo>
                  <a:lnTo>
                    <a:pt x="106909" y="144625"/>
                  </a:lnTo>
                  <a:lnTo>
                    <a:pt x="109385" y="144544"/>
                  </a:lnTo>
                  <a:lnTo>
                    <a:pt x="111839" y="143823"/>
                  </a:lnTo>
                  <a:lnTo>
                    <a:pt x="116302" y="143559"/>
                  </a:lnTo>
                  <a:lnTo>
                    <a:pt x="121442" y="146041"/>
                  </a:lnTo>
                  <a:lnTo>
                    <a:pt x="120965" y="148069"/>
                  </a:lnTo>
                  <a:lnTo>
                    <a:pt x="118902" y="149672"/>
                  </a:lnTo>
                  <a:lnTo>
                    <a:pt x="114210" y="149924"/>
                  </a:lnTo>
                  <a:lnTo>
                    <a:pt x="109822" y="153482"/>
                  </a:lnTo>
                  <a:lnTo>
                    <a:pt x="107842" y="154576"/>
                  </a:lnTo>
                  <a:lnTo>
                    <a:pt x="105753" y="155119"/>
                  </a:lnTo>
                  <a:lnTo>
                    <a:pt x="103140" y="154958"/>
                  </a:lnTo>
                  <a:lnTo>
                    <a:pt x="98392" y="154006"/>
                  </a:lnTo>
                  <a:lnTo>
                    <a:pt x="96315" y="153011"/>
                  </a:lnTo>
                  <a:lnTo>
                    <a:pt x="98193" y="154635"/>
                  </a:lnTo>
                  <a:lnTo>
                    <a:pt x="100323" y="155481"/>
                  </a:lnTo>
                  <a:lnTo>
                    <a:pt x="112685" y="157477"/>
                  </a:lnTo>
                  <a:lnTo>
                    <a:pt x="113429" y="157270"/>
                  </a:lnTo>
                  <a:lnTo>
                    <a:pt x="117370" y="155162"/>
                  </a:lnTo>
                  <a:lnTo>
                    <a:pt x="122622" y="155130"/>
                  </a:lnTo>
                  <a:lnTo>
                    <a:pt x="132623" y="159002"/>
                  </a:lnTo>
                  <a:lnTo>
                    <a:pt x="135502" y="161957"/>
                  </a:lnTo>
                  <a:lnTo>
                    <a:pt x="139628" y="166187"/>
                  </a:lnTo>
                  <a:lnTo>
                    <a:pt x="141872" y="167836"/>
                  </a:lnTo>
                  <a:lnTo>
                    <a:pt x="143495" y="169330"/>
                  </a:lnTo>
                  <a:lnTo>
                    <a:pt x="144495" y="171567"/>
                  </a:lnTo>
                  <a:lnTo>
                    <a:pt x="146432" y="178938"/>
                  </a:lnTo>
                  <a:lnTo>
                    <a:pt x="148641" y="186118"/>
                  </a:lnTo>
                  <a:lnTo>
                    <a:pt x="151536" y="193871"/>
                  </a:lnTo>
                  <a:lnTo>
                    <a:pt x="152847" y="196020"/>
                  </a:lnTo>
                  <a:lnTo>
                    <a:pt x="154573" y="197526"/>
                  </a:lnTo>
                  <a:lnTo>
                    <a:pt x="163309" y="200984"/>
                  </a:lnTo>
                  <a:lnTo>
                    <a:pt x="165253" y="202129"/>
                  </a:lnTo>
                  <a:lnTo>
                    <a:pt x="168643" y="205449"/>
                  </a:lnTo>
                  <a:lnTo>
                    <a:pt x="171909" y="208981"/>
                  </a:lnTo>
                  <a:lnTo>
                    <a:pt x="174950" y="211690"/>
                  </a:lnTo>
                  <a:lnTo>
                    <a:pt x="178233" y="213881"/>
                  </a:lnTo>
                  <a:lnTo>
                    <a:pt x="176643" y="215018"/>
                  </a:lnTo>
                  <a:lnTo>
                    <a:pt x="175553" y="216806"/>
                  </a:lnTo>
                  <a:lnTo>
                    <a:pt x="176368" y="219234"/>
                  </a:lnTo>
                  <a:lnTo>
                    <a:pt x="177705" y="221551"/>
                  </a:lnTo>
                  <a:lnTo>
                    <a:pt x="180332" y="225253"/>
                  </a:lnTo>
                  <a:lnTo>
                    <a:pt x="182649" y="229287"/>
                  </a:lnTo>
                  <a:lnTo>
                    <a:pt x="181795" y="228678"/>
                  </a:lnTo>
                  <a:lnTo>
                    <a:pt x="180897" y="228344"/>
                  </a:lnTo>
                  <a:lnTo>
                    <a:pt x="179669" y="228444"/>
                  </a:lnTo>
                  <a:lnTo>
                    <a:pt x="178469" y="228249"/>
                  </a:lnTo>
                  <a:lnTo>
                    <a:pt x="176255" y="226987"/>
                  </a:lnTo>
                  <a:lnTo>
                    <a:pt x="174128" y="225436"/>
                  </a:lnTo>
                  <a:lnTo>
                    <a:pt x="169897" y="226059"/>
                  </a:lnTo>
                  <a:lnTo>
                    <a:pt x="167546" y="225780"/>
                  </a:lnTo>
                  <a:lnTo>
                    <a:pt x="165507" y="225821"/>
                  </a:lnTo>
                  <a:lnTo>
                    <a:pt x="169373" y="226717"/>
                  </a:lnTo>
                  <a:lnTo>
                    <a:pt x="173605" y="226779"/>
                  </a:lnTo>
                  <a:lnTo>
                    <a:pt x="182937" y="233539"/>
                  </a:lnTo>
                  <a:lnTo>
                    <a:pt x="186091" y="237535"/>
                  </a:lnTo>
                  <a:lnTo>
                    <a:pt x="187966" y="242808"/>
                  </a:lnTo>
                  <a:lnTo>
                    <a:pt x="186689" y="245172"/>
                  </a:lnTo>
                  <a:lnTo>
                    <a:pt x="184703" y="246703"/>
                  </a:lnTo>
                  <a:lnTo>
                    <a:pt x="182850" y="248453"/>
                  </a:lnTo>
                  <a:lnTo>
                    <a:pt x="181114" y="250427"/>
                  </a:lnTo>
                  <a:lnTo>
                    <a:pt x="186286" y="253324"/>
                  </a:lnTo>
                  <a:lnTo>
                    <a:pt x="187400" y="253236"/>
                  </a:lnTo>
                  <a:lnTo>
                    <a:pt x="188544" y="252831"/>
                  </a:lnTo>
                  <a:lnTo>
                    <a:pt x="189644" y="251846"/>
                  </a:lnTo>
                  <a:lnTo>
                    <a:pt x="191498" y="249447"/>
                  </a:lnTo>
                  <a:lnTo>
                    <a:pt x="192455" y="248592"/>
                  </a:lnTo>
                  <a:lnTo>
                    <a:pt x="195677" y="248284"/>
                  </a:lnTo>
                  <a:lnTo>
                    <a:pt x="198380" y="248468"/>
                  </a:lnTo>
                  <a:lnTo>
                    <a:pt x="201073" y="248998"/>
                  </a:lnTo>
                  <a:lnTo>
                    <a:pt x="203440" y="248830"/>
                  </a:lnTo>
                  <a:lnTo>
                    <a:pt x="208210" y="249860"/>
                  </a:lnTo>
                  <a:lnTo>
                    <a:pt x="210661" y="250789"/>
                  </a:lnTo>
                  <a:lnTo>
                    <a:pt x="216733" y="254966"/>
                  </a:lnTo>
                  <a:lnTo>
                    <a:pt x="218046" y="257247"/>
                  </a:lnTo>
                  <a:lnTo>
                    <a:pt x="218648" y="260190"/>
                  </a:lnTo>
                  <a:lnTo>
                    <a:pt x="218720" y="263449"/>
                  </a:lnTo>
                  <a:lnTo>
                    <a:pt x="217698" y="266425"/>
                  </a:lnTo>
                  <a:lnTo>
                    <a:pt x="216526" y="269108"/>
                  </a:lnTo>
                  <a:lnTo>
                    <a:pt x="215802" y="272568"/>
                  </a:lnTo>
                  <a:lnTo>
                    <a:pt x="215289" y="273813"/>
                  </a:lnTo>
                  <a:lnTo>
                    <a:pt x="214571" y="274788"/>
                  </a:lnTo>
                  <a:lnTo>
                    <a:pt x="211354" y="277512"/>
                  </a:lnTo>
                  <a:lnTo>
                    <a:pt x="209216" y="278631"/>
                  </a:lnTo>
                  <a:lnTo>
                    <a:pt x="208313" y="278140"/>
                  </a:lnTo>
                  <a:lnTo>
                    <a:pt x="207351" y="278208"/>
                  </a:lnTo>
                  <a:lnTo>
                    <a:pt x="207249" y="278862"/>
                  </a:lnTo>
                  <a:lnTo>
                    <a:pt x="208266" y="280251"/>
                  </a:lnTo>
                  <a:lnTo>
                    <a:pt x="208279" y="281926"/>
                  </a:lnTo>
                  <a:lnTo>
                    <a:pt x="206379" y="283165"/>
                  </a:lnTo>
                  <a:lnTo>
                    <a:pt x="204448" y="283694"/>
                  </a:lnTo>
                  <a:lnTo>
                    <a:pt x="201218" y="283034"/>
                  </a:lnTo>
                  <a:lnTo>
                    <a:pt x="196733" y="285340"/>
                  </a:lnTo>
                  <a:lnTo>
                    <a:pt x="199957" y="286524"/>
                  </a:lnTo>
                  <a:lnTo>
                    <a:pt x="200607" y="287784"/>
                  </a:lnTo>
                  <a:lnTo>
                    <a:pt x="199799" y="289997"/>
                  </a:lnTo>
                  <a:lnTo>
                    <a:pt x="197771" y="290983"/>
                  </a:lnTo>
                  <a:lnTo>
                    <a:pt x="195523" y="291420"/>
                  </a:lnTo>
                  <a:lnTo>
                    <a:pt x="193222" y="291524"/>
                  </a:lnTo>
                  <a:lnTo>
                    <a:pt x="191315" y="292065"/>
                  </a:lnTo>
                  <a:lnTo>
                    <a:pt x="189486" y="293107"/>
                  </a:lnTo>
                  <a:lnTo>
                    <a:pt x="191781" y="292553"/>
                  </a:lnTo>
                  <a:lnTo>
                    <a:pt x="193373" y="293038"/>
                  </a:lnTo>
                  <a:lnTo>
                    <a:pt x="194372" y="294897"/>
                  </a:lnTo>
                  <a:lnTo>
                    <a:pt x="195280" y="295428"/>
                  </a:lnTo>
                  <a:lnTo>
                    <a:pt x="199765" y="296222"/>
                  </a:lnTo>
                  <a:lnTo>
                    <a:pt x="202542" y="296216"/>
                  </a:lnTo>
                  <a:lnTo>
                    <a:pt x="207897" y="295765"/>
                  </a:lnTo>
                  <a:lnTo>
                    <a:pt x="210469" y="295776"/>
                  </a:lnTo>
                  <a:lnTo>
                    <a:pt x="211386" y="296112"/>
                  </a:lnTo>
                  <a:lnTo>
                    <a:pt x="211402" y="297650"/>
                  </a:lnTo>
                  <a:lnTo>
                    <a:pt x="211002" y="301424"/>
                  </a:lnTo>
                  <a:lnTo>
                    <a:pt x="210294" y="302201"/>
                  </a:lnTo>
                  <a:lnTo>
                    <a:pt x="203194" y="305366"/>
                  </a:lnTo>
                  <a:lnTo>
                    <a:pt x="201738" y="307574"/>
                  </a:lnTo>
                  <a:lnTo>
                    <a:pt x="201330" y="308911"/>
                  </a:lnTo>
                  <a:lnTo>
                    <a:pt x="197178" y="308674"/>
                  </a:lnTo>
                  <a:lnTo>
                    <a:pt x="195232" y="310087"/>
                  </a:lnTo>
                  <a:lnTo>
                    <a:pt x="191870" y="311025"/>
                  </a:lnTo>
                  <a:lnTo>
                    <a:pt x="189270" y="312022"/>
                  </a:lnTo>
                  <a:lnTo>
                    <a:pt x="186726" y="313282"/>
                  </a:lnTo>
                  <a:lnTo>
                    <a:pt x="184634" y="313658"/>
                  </a:lnTo>
                  <a:lnTo>
                    <a:pt x="175590" y="312163"/>
                  </a:lnTo>
                  <a:lnTo>
                    <a:pt x="170131" y="312286"/>
                  </a:lnTo>
                  <a:lnTo>
                    <a:pt x="162736" y="313589"/>
                  </a:lnTo>
                  <a:lnTo>
                    <a:pt x="160831" y="313374"/>
                  </a:lnTo>
                  <a:lnTo>
                    <a:pt x="157974" y="312126"/>
                  </a:lnTo>
                  <a:lnTo>
                    <a:pt x="155049" y="311282"/>
                  </a:lnTo>
                  <a:lnTo>
                    <a:pt x="151683" y="310911"/>
                  </a:lnTo>
                  <a:lnTo>
                    <a:pt x="148778" y="309757"/>
                  </a:lnTo>
                  <a:lnTo>
                    <a:pt x="150591" y="311976"/>
                  </a:lnTo>
                  <a:lnTo>
                    <a:pt x="146561" y="314112"/>
                  </a:lnTo>
                  <a:lnTo>
                    <a:pt x="144701" y="314537"/>
                  </a:lnTo>
                  <a:lnTo>
                    <a:pt x="142776" y="314471"/>
                  </a:lnTo>
                  <a:lnTo>
                    <a:pt x="138837" y="315051"/>
                  </a:lnTo>
                  <a:lnTo>
                    <a:pt x="135188" y="314755"/>
                  </a:lnTo>
                  <a:lnTo>
                    <a:pt x="135736" y="316273"/>
                  </a:lnTo>
                  <a:lnTo>
                    <a:pt x="136714" y="317595"/>
                  </a:lnTo>
                  <a:lnTo>
                    <a:pt x="135921" y="318170"/>
                  </a:lnTo>
                  <a:lnTo>
                    <a:pt x="135082" y="318313"/>
                  </a:lnTo>
                  <a:lnTo>
                    <a:pt x="128132" y="317315"/>
                  </a:lnTo>
                  <a:lnTo>
                    <a:pt x="127148" y="317504"/>
                  </a:lnTo>
                  <a:lnTo>
                    <a:pt x="126290" y="318425"/>
                  </a:lnTo>
                  <a:lnTo>
                    <a:pt x="123763" y="317928"/>
                  </a:lnTo>
                  <a:lnTo>
                    <a:pt x="121307" y="316375"/>
                  </a:lnTo>
                  <a:lnTo>
                    <a:pt x="118695" y="315332"/>
                  </a:lnTo>
                  <a:lnTo>
                    <a:pt x="115954" y="314842"/>
                  </a:lnTo>
                  <a:lnTo>
                    <a:pt x="113776" y="315011"/>
                  </a:lnTo>
                  <a:lnTo>
                    <a:pt x="104816" y="317460"/>
                  </a:lnTo>
                  <a:lnTo>
                    <a:pt x="103028" y="319915"/>
                  </a:lnTo>
                  <a:lnTo>
                    <a:pt x="102135" y="323393"/>
                  </a:lnTo>
                  <a:lnTo>
                    <a:pt x="100841" y="326476"/>
                  </a:lnTo>
                  <a:lnTo>
                    <a:pt x="98731" y="328848"/>
                  </a:lnTo>
                  <a:lnTo>
                    <a:pt x="96220" y="329157"/>
                  </a:lnTo>
                  <a:lnTo>
                    <a:pt x="93858" y="327516"/>
                  </a:lnTo>
                  <a:lnTo>
                    <a:pt x="89364" y="325702"/>
                  </a:lnTo>
                  <a:lnTo>
                    <a:pt x="87835" y="324476"/>
                  </a:lnTo>
                  <a:lnTo>
                    <a:pt x="87348" y="324404"/>
                  </a:lnTo>
                  <a:lnTo>
                    <a:pt x="86846" y="324843"/>
                  </a:lnTo>
                  <a:lnTo>
                    <a:pt x="85084" y="325396"/>
                  </a:lnTo>
                  <a:lnTo>
                    <a:pt x="83259" y="325422"/>
                  </a:lnTo>
                  <a:lnTo>
                    <a:pt x="80447" y="325910"/>
                  </a:lnTo>
                  <a:lnTo>
                    <a:pt x="75553" y="327384"/>
                  </a:lnTo>
                  <a:lnTo>
                    <a:pt x="73577" y="328384"/>
                  </a:lnTo>
                  <a:lnTo>
                    <a:pt x="69328" y="331139"/>
                  </a:lnTo>
                  <a:lnTo>
                    <a:pt x="68463" y="331901"/>
                  </a:lnTo>
                  <a:lnTo>
                    <a:pt x="66918" y="334677"/>
                  </a:lnTo>
                  <a:lnTo>
                    <a:pt x="64558" y="335166"/>
                  </a:lnTo>
                  <a:lnTo>
                    <a:pt x="62399" y="333388"/>
                  </a:lnTo>
                  <a:lnTo>
                    <a:pt x="59942" y="332767"/>
                  </a:lnTo>
                  <a:lnTo>
                    <a:pt x="57350" y="333375"/>
                  </a:lnTo>
                  <a:lnTo>
                    <a:pt x="55782" y="334320"/>
                  </a:lnTo>
                  <a:lnTo>
                    <a:pt x="55051" y="333552"/>
                  </a:lnTo>
                  <a:lnTo>
                    <a:pt x="55027" y="331973"/>
                  </a:lnTo>
                  <a:lnTo>
                    <a:pt x="56920" y="330091"/>
                  </a:lnTo>
                  <a:lnTo>
                    <a:pt x="61970" y="328668"/>
                  </a:lnTo>
                  <a:lnTo>
                    <a:pt x="66403" y="324972"/>
                  </a:lnTo>
                  <a:lnTo>
                    <a:pt x="68578" y="322716"/>
                  </a:lnTo>
                  <a:lnTo>
                    <a:pt x="69440" y="321446"/>
                  </a:lnTo>
                  <a:lnTo>
                    <a:pt x="70503" y="320636"/>
                  </a:lnTo>
                  <a:lnTo>
                    <a:pt x="71892" y="320330"/>
                  </a:lnTo>
                  <a:lnTo>
                    <a:pt x="72606" y="318925"/>
                  </a:lnTo>
                  <a:lnTo>
                    <a:pt x="78761" y="313270"/>
                  </a:lnTo>
                  <a:lnTo>
                    <a:pt x="79269" y="311971"/>
                  </a:lnTo>
                  <a:lnTo>
                    <a:pt x="79575" y="309646"/>
                  </a:lnTo>
                  <a:lnTo>
                    <a:pt x="80084" y="307405"/>
                  </a:lnTo>
                  <a:lnTo>
                    <a:pt x="85095" y="305953"/>
                  </a:lnTo>
                  <a:lnTo>
                    <a:pt x="87489" y="301233"/>
                  </a:lnTo>
                  <a:lnTo>
                    <a:pt x="88148" y="300859"/>
                  </a:lnTo>
                  <a:lnTo>
                    <a:pt x="95137" y="299992"/>
                  </a:lnTo>
                  <a:lnTo>
                    <a:pt x="100320" y="300061"/>
                  </a:lnTo>
                  <a:lnTo>
                    <a:pt x="105468" y="300986"/>
                  </a:lnTo>
                  <a:lnTo>
                    <a:pt x="108107" y="301069"/>
                  </a:lnTo>
                  <a:lnTo>
                    <a:pt x="110756" y="300750"/>
                  </a:lnTo>
                  <a:lnTo>
                    <a:pt x="112833" y="299474"/>
                  </a:lnTo>
                  <a:lnTo>
                    <a:pt x="116388" y="294868"/>
                  </a:lnTo>
                  <a:lnTo>
                    <a:pt x="118388" y="292838"/>
                  </a:lnTo>
                  <a:lnTo>
                    <a:pt x="120679" y="291002"/>
                  </a:lnTo>
                  <a:lnTo>
                    <a:pt x="122822" y="288904"/>
                  </a:lnTo>
                  <a:lnTo>
                    <a:pt x="126299" y="285012"/>
                  </a:lnTo>
                  <a:lnTo>
                    <a:pt x="123948" y="286353"/>
                  </a:lnTo>
                  <a:lnTo>
                    <a:pt x="121111" y="288480"/>
                  </a:lnTo>
                  <a:lnTo>
                    <a:pt x="119465" y="289713"/>
                  </a:lnTo>
                  <a:lnTo>
                    <a:pt x="114238" y="290955"/>
                  </a:lnTo>
                  <a:lnTo>
                    <a:pt x="111986" y="292221"/>
                  </a:lnTo>
                  <a:lnTo>
                    <a:pt x="108040" y="295078"/>
                  </a:lnTo>
                  <a:lnTo>
                    <a:pt x="107281" y="295315"/>
                  </a:lnTo>
                  <a:lnTo>
                    <a:pt x="101328" y="294629"/>
                  </a:lnTo>
                  <a:lnTo>
                    <a:pt x="96898" y="290923"/>
                  </a:lnTo>
                  <a:lnTo>
                    <a:pt x="94066" y="289402"/>
                  </a:lnTo>
                  <a:lnTo>
                    <a:pt x="92896" y="289230"/>
                  </a:lnTo>
                  <a:lnTo>
                    <a:pt x="91687" y="289682"/>
                  </a:lnTo>
                  <a:lnTo>
                    <a:pt x="89101" y="290145"/>
                  </a:lnTo>
                  <a:lnTo>
                    <a:pt x="86464" y="290066"/>
                  </a:lnTo>
                  <a:lnTo>
                    <a:pt x="87810" y="288352"/>
                  </a:lnTo>
                  <a:lnTo>
                    <a:pt x="89638" y="287393"/>
                  </a:lnTo>
                  <a:lnTo>
                    <a:pt x="85544" y="286727"/>
                  </a:lnTo>
                  <a:lnTo>
                    <a:pt x="84406" y="286205"/>
                  </a:lnTo>
                  <a:lnTo>
                    <a:pt x="83109" y="285002"/>
                  </a:lnTo>
                  <a:lnTo>
                    <a:pt x="79898" y="284796"/>
                  </a:lnTo>
                  <a:lnTo>
                    <a:pt x="78366" y="285103"/>
                  </a:lnTo>
                  <a:lnTo>
                    <a:pt x="75782" y="286693"/>
                  </a:lnTo>
                  <a:lnTo>
                    <a:pt x="71699" y="288383"/>
                  </a:lnTo>
                  <a:lnTo>
                    <a:pt x="66780" y="286040"/>
                  </a:lnTo>
                  <a:lnTo>
                    <a:pt x="65816" y="285012"/>
                  </a:lnTo>
                  <a:lnTo>
                    <a:pt x="65841" y="283027"/>
                  </a:lnTo>
                  <a:lnTo>
                    <a:pt x="65103" y="281453"/>
                  </a:lnTo>
                  <a:lnTo>
                    <a:pt x="63738" y="280898"/>
                  </a:lnTo>
                  <a:lnTo>
                    <a:pt x="65484" y="278846"/>
                  </a:lnTo>
                  <a:lnTo>
                    <a:pt x="67591" y="277479"/>
                  </a:lnTo>
                  <a:lnTo>
                    <a:pt x="72225" y="276120"/>
                  </a:lnTo>
                  <a:lnTo>
                    <a:pt x="79243" y="272892"/>
                  </a:lnTo>
                  <a:lnTo>
                    <a:pt x="83178" y="271516"/>
                  </a:lnTo>
                  <a:lnTo>
                    <a:pt x="86836" y="269140"/>
                  </a:lnTo>
                  <a:lnTo>
                    <a:pt x="88348" y="267690"/>
                  </a:lnTo>
                  <a:lnTo>
                    <a:pt x="89445" y="265705"/>
                  </a:lnTo>
                  <a:lnTo>
                    <a:pt x="90533" y="263266"/>
                  </a:lnTo>
                  <a:lnTo>
                    <a:pt x="92086" y="261284"/>
                  </a:lnTo>
                  <a:lnTo>
                    <a:pt x="90579" y="260812"/>
                  </a:lnTo>
                  <a:lnTo>
                    <a:pt x="89906" y="259315"/>
                  </a:lnTo>
                  <a:lnTo>
                    <a:pt x="90087" y="257796"/>
                  </a:lnTo>
                  <a:lnTo>
                    <a:pt x="90783" y="256448"/>
                  </a:lnTo>
                  <a:lnTo>
                    <a:pt x="90159" y="254756"/>
                  </a:lnTo>
                  <a:lnTo>
                    <a:pt x="89052" y="252986"/>
                  </a:lnTo>
                  <a:lnTo>
                    <a:pt x="89113" y="251607"/>
                  </a:lnTo>
                  <a:lnTo>
                    <a:pt x="89407" y="250132"/>
                  </a:lnTo>
                  <a:lnTo>
                    <a:pt x="86584" y="250211"/>
                  </a:lnTo>
                  <a:lnTo>
                    <a:pt x="83769" y="250672"/>
                  </a:lnTo>
                  <a:lnTo>
                    <a:pt x="81218" y="251718"/>
                  </a:lnTo>
                  <a:lnTo>
                    <a:pt x="78744" y="253137"/>
                  </a:lnTo>
                  <a:lnTo>
                    <a:pt x="76547" y="253400"/>
                  </a:lnTo>
                  <a:lnTo>
                    <a:pt x="76582" y="252265"/>
                  </a:lnTo>
                  <a:lnTo>
                    <a:pt x="77536" y="250861"/>
                  </a:lnTo>
                  <a:lnTo>
                    <a:pt x="80027" y="248854"/>
                  </a:lnTo>
                  <a:lnTo>
                    <a:pt x="82694" y="247189"/>
                  </a:lnTo>
                  <a:lnTo>
                    <a:pt x="83642" y="245923"/>
                  </a:lnTo>
                  <a:lnTo>
                    <a:pt x="84388" y="244452"/>
                  </a:lnTo>
                  <a:lnTo>
                    <a:pt x="85712" y="243271"/>
                  </a:lnTo>
                  <a:lnTo>
                    <a:pt x="89195" y="241037"/>
                  </a:lnTo>
                  <a:lnTo>
                    <a:pt x="95868" y="238521"/>
                  </a:lnTo>
                  <a:lnTo>
                    <a:pt x="96864" y="238373"/>
                  </a:lnTo>
                  <a:lnTo>
                    <a:pt x="99480" y="238665"/>
                  </a:lnTo>
                  <a:lnTo>
                    <a:pt x="102052" y="238285"/>
                  </a:lnTo>
                  <a:lnTo>
                    <a:pt x="104305" y="237379"/>
                  </a:lnTo>
                  <a:lnTo>
                    <a:pt x="106550" y="237184"/>
                  </a:lnTo>
                  <a:lnTo>
                    <a:pt x="111605" y="239795"/>
                  </a:lnTo>
                  <a:lnTo>
                    <a:pt x="110102" y="235754"/>
                  </a:lnTo>
                  <a:lnTo>
                    <a:pt x="112331" y="234786"/>
                  </a:lnTo>
                  <a:lnTo>
                    <a:pt x="115564" y="238440"/>
                  </a:lnTo>
                  <a:lnTo>
                    <a:pt x="116766" y="238825"/>
                  </a:lnTo>
                  <a:lnTo>
                    <a:pt x="119301" y="238295"/>
                  </a:lnTo>
                  <a:lnTo>
                    <a:pt x="118323" y="237679"/>
                  </a:lnTo>
                  <a:lnTo>
                    <a:pt x="117181" y="237642"/>
                  </a:lnTo>
                  <a:lnTo>
                    <a:pt x="115685" y="237091"/>
                  </a:lnTo>
                  <a:lnTo>
                    <a:pt x="114427" y="235919"/>
                  </a:lnTo>
                  <a:lnTo>
                    <a:pt x="112334" y="232195"/>
                  </a:lnTo>
                  <a:lnTo>
                    <a:pt x="112447" y="229982"/>
                  </a:lnTo>
                  <a:lnTo>
                    <a:pt x="113857" y="227679"/>
                  </a:lnTo>
                  <a:lnTo>
                    <a:pt x="115419" y="225557"/>
                  </a:lnTo>
                  <a:lnTo>
                    <a:pt x="114109" y="225135"/>
                  </a:lnTo>
                  <a:lnTo>
                    <a:pt x="113060" y="224323"/>
                  </a:lnTo>
                  <a:lnTo>
                    <a:pt x="112759" y="222197"/>
                  </a:lnTo>
                  <a:lnTo>
                    <a:pt x="113171" y="220318"/>
                  </a:lnTo>
                  <a:lnTo>
                    <a:pt x="115977" y="218657"/>
                  </a:lnTo>
                  <a:lnTo>
                    <a:pt x="116805" y="216135"/>
                  </a:lnTo>
                  <a:lnTo>
                    <a:pt x="117157" y="213357"/>
                  </a:lnTo>
                  <a:lnTo>
                    <a:pt x="116691" y="212082"/>
                  </a:lnTo>
                  <a:lnTo>
                    <a:pt x="113906" y="212287"/>
                  </a:lnTo>
                  <a:lnTo>
                    <a:pt x="112552" y="212807"/>
                  </a:lnTo>
                  <a:lnTo>
                    <a:pt x="111337" y="213630"/>
                  </a:lnTo>
                  <a:lnTo>
                    <a:pt x="110093" y="213581"/>
                  </a:lnTo>
                  <a:lnTo>
                    <a:pt x="106653" y="210505"/>
                  </a:lnTo>
                  <a:lnTo>
                    <a:pt x="104691" y="208176"/>
                  </a:lnTo>
                  <a:lnTo>
                    <a:pt x="101172" y="203238"/>
                  </a:lnTo>
                  <a:lnTo>
                    <a:pt x="100671" y="200283"/>
                  </a:lnTo>
                  <a:lnTo>
                    <a:pt x="103490" y="193894"/>
                  </a:lnTo>
                  <a:lnTo>
                    <a:pt x="107838" y="189799"/>
                  </a:lnTo>
                  <a:lnTo>
                    <a:pt x="112961" y="188372"/>
                  </a:lnTo>
                  <a:lnTo>
                    <a:pt x="111970" y="188099"/>
                  </a:lnTo>
                  <a:lnTo>
                    <a:pt x="104164" y="188044"/>
                  </a:lnTo>
                  <a:lnTo>
                    <a:pt x="101591" y="188546"/>
                  </a:lnTo>
                  <a:lnTo>
                    <a:pt x="99206" y="190221"/>
                  </a:lnTo>
                  <a:lnTo>
                    <a:pt x="97859" y="190735"/>
                  </a:lnTo>
                  <a:lnTo>
                    <a:pt x="96443" y="190925"/>
                  </a:lnTo>
                  <a:lnTo>
                    <a:pt x="95153" y="191758"/>
                  </a:lnTo>
                  <a:lnTo>
                    <a:pt x="93893" y="192914"/>
                  </a:lnTo>
                  <a:lnTo>
                    <a:pt x="92581" y="193653"/>
                  </a:lnTo>
                  <a:lnTo>
                    <a:pt x="89975" y="193462"/>
                  </a:lnTo>
                  <a:lnTo>
                    <a:pt x="88711" y="193706"/>
                  </a:lnTo>
                  <a:lnTo>
                    <a:pt x="87802" y="193037"/>
                  </a:lnTo>
                  <a:lnTo>
                    <a:pt x="87042" y="191930"/>
                  </a:lnTo>
                  <a:lnTo>
                    <a:pt x="86047" y="191635"/>
                  </a:lnTo>
                  <a:lnTo>
                    <a:pt x="84936" y="191975"/>
                  </a:lnTo>
                  <a:lnTo>
                    <a:pt x="82587" y="193466"/>
                  </a:lnTo>
                  <a:lnTo>
                    <a:pt x="80208" y="194346"/>
                  </a:lnTo>
                  <a:lnTo>
                    <a:pt x="77332" y="193407"/>
                  </a:lnTo>
                  <a:lnTo>
                    <a:pt x="73562" y="191655"/>
                  </a:lnTo>
                  <a:lnTo>
                    <a:pt x="72817" y="192294"/>
                  </a:lnTo>
                  <a:lnTo>
                    <a:pt x="71982" y="193920"/>
                  </a:lnTo>
                  <a:lnTo>
                    <a:pt x="71501" y="196456"/>
                  </a:lnTo>
                  <a:lnTo>
                    <a:pt x="68824" y="194254"/>
                  </a:lnTo>
                  <a:lnTo>
                    <a:pt x="66542" y="191306"/>
                  </a:lnTo>
                  <a:lnTo>
                    <a:pt x="65777" y="189452"/>
                  </a:lnTo>
                  <a:lnTo>
                    <a:pt x="65720" y="187364"/>
                  </a:lnTo>
                  <a:lnTo>
                    <a:pt x="66958" y="186553"/>
                  </a:lnTo>
                  <a:lnTo>
                    <a:pt x="68303" y="187295"/>
                  </a:lnTo>
                  <a:lnTo>
                    <a:pt x="70308" y="182331"/>
                  </a:lnTo>
                  <a:lnTo>
                    <a:pt x="74297" y="175855"/>
                  </a:lnTo>
                  <a:lnTo>
                    <a:pt x="75704" y="173952"/>
                  </a:lnTo>
                  <a:lnTo>
                    <a:pt x="76686" y="171467"/>
                  </a:lnTo>
                  <a:lnTo>
                    <a:pt x="76518" y="169839"/>
                  </a:lnTo>
                  <a:lnTo>
                    <a:pt x="75638" y="168464"/>
                  </a:lnTo>
                  <a:lnTo>
                    <a:pt x="71930" y="165337"/>
                  </a:lnTo>
                  <a:lnTo>
                    <a:pt x="71979" y="162788"/>
                  </a:lnTo>
                  <a:lnTo>
                    <a:pt x="72376" y="159906"/>
                  </a:lnTo>
                  <a:lnTo>
                    <a:pt x="73384" y="158175"/>
                  </a:lnTo>
                  <a:lnTo>
                    <a:pt x="73810" y="157845"/>
                  </a:lnTo>
                  <a:lnTo>
                    <a:pt x="78735" y="157891"/>
                  </a:lnTo>
                  <a:lnTo>
                    <a:pt x="76814" y="156997"/>
                  </a:lnTo>
                  <a:lnTo>
                    <a:pt x="72986" y="154385"/>
                  </a:lnTo>
                  <a:lnTo>
                    <a:pt x="73054" y="153459"/>
                  </a:lnTo>
                  <a:lnTo>
                    <a:pt x="73955" y="151041"/>
                  </a:lnTo>
                  <a:lnTo>
                    <a:pt x="73537" y="151286"/>
                  </a:lnTo>
                  <a:lnTo>
                    <a:pt x="72717" y="152403"/>
                  </a:lnTo>
                  <a:lnTo>
                    <a:pt x="71150" y="155105"/>
                  </a:lnTo>
                  <a:lnTo>
                    <a:pt x="70194" y="155735"/>
                  </a:lnTo>
                  <a:lnTo>
                    <a:pt x="67486" y="156376"/>
                  </a:lnTo>
                  <a:lnTo>
                    <a:pt x="66996" y="157705"/>
                  </a:lnTo>
                  <a:lnTo>
                    <a:pt x="66561" y="158052"/>
                  </a:lnTo>
                  <a:lnTo>
                    <a:pt x="65208" y="158203"/>
                  </a:lnTo>
                  <a:lnTo>
                    <a:pt x="64793" y="159441"/>
                  </a:lnTo>
                  <a:lnTo>
                    <a:pt x="64492" y="159520"/>
                  </a:lnTo>
                  <a:lnTo>
                    <a:pt x="64107" y="158184"/>
                  </a:lnTo>
                  <a:lnTo>
                    <a:pt x="64070" y="155968"/>
                  </a:lnTo>
                  <a:lnTo>
                    <a:pt x="64609" y="153929"/>
                  </a:lnTo>
                  <a:lnTo>
                    <a:pt x="65638" y="152332"/>
                  </a:lnTo>
                  <a:lnTo>
                    <a:pt x="69606" y="148697"/>
                  </a:lnTo>
                  <a:lnTo>
                    <a:pt x="67674" y="149819"/>
                  </a:lnTo>
                  <a:lnTo>
                    <a:pt x="63295" y="153176"/>
                  </a:lnTo>
                  <a:lnTo>
                    <a:pt x="61060" y="155381"/>
                  </a:lnTo>
                  <a:lnTo>
                    <a:pt x="60463" y="156125"/>
                  </a:lnTo>
                  <a:lnTo>
                    <a:pt x="60276" y="156752"/>
                  </a:lnTo>
                  <a:lnTo>
                    <a:pt x="60289" y="157474"/>
                  </a:lnTo>
                  <a:lnTo>
                    <a:pt x="61293" y="161344"/>
                  </a:lnTo>
                  <a:lnTo>
                    <a:pt x="61007" y="163133"/>
                  </a:lnTo>
                  <a:lnTo>
                    <a:pt x="57234" y="174922"/>
                  </a:lnTo>
                  <a:lnTo>
                    <a:pt x="56520" y="176102"/>
                  </a:lnTo>
                  <a:lnTo>
                    <a:pt x="55863" y="176719"/>
                  </a:lnTo>
                  <a:lnTo>
                    <a:pt x="55242" y="176860"/>
                  </a:lnTo>
                  <a:lnTo>
                    <a:pt x="53382" y="176636"/>
                  </a:lnTo>
                  <a:lnTo>
                    <a:pt x="52552" y="175755"/>
                  </a:lnTo>
                  <a:lnTo>
                    <a:pt x="52559" y="174757"/>
                  </a:lnTo>
                  <a:lnTo>
                    <a:pt x="52908" y="173257"/>
                  </a:lnTo>
                  <a:lnTo>
                    <a:pt x="54472" y="167668"/>
                  </a:lnTo>
                  <a:lnTo>
                    <a:pt x="55151" y="166113"/>
                  </a:lnTo>
                  <a:lnTo>
                    <a:pt x="56160" y="164666"/>
                  </a:lnTo>
                  <a:lnTo>
                    <a:pt x="58383" y="162130"/>
                  </a:lnTo>
                  <a:lnTo>
                    <a:pt x="58329" y="161965"/>
                  </a:lnTo>
                  <a:lnTo>
                    <a:pt x="56849" y="162462"/>
                  </a:lnTo>
                  <a:lnTo>
                    <a:pt x="56218" y="162298"/>
                  </a:lnTo>
                  <a:lnTo>
                    <a:pt x="55766" y="161796"/>
                  </a:lnTo>
                  <a:lnTo>
                    <a:pt x="56059" y="154257"/>
                  </a:lnTo>
                  <a:lnTo>
                    <a:pt x="57260" y="151771"/>
                  </a:lnTo>
                  <a:lnTo>
                    <a:pt x="57709" y="148150"/>
                  </a:lnTo>
                  <a:lnTo>
                    <a:pt x="58750" y="145045"/>
                  </a:lnTo>
                  <a:lnTo>
                    <a:pt x="59955" y="142781"/>
                  </a:lnTo>
                  <a:lnTo>
                    <a:pt x="60872" y="139881"/>
                  </a:lnTo>
                  <a:lnTo>
                    <a:pt x="62254" y="138590"/>
                  </a:lnTo>
                  <a:lnTo>
                    <a:pt x="62624" y="136614"/>
                  </a:lnTo>
                  <a:lnTo>
                    <a:pt x="64174" y="134473"/>
                  </a:lnTo>
                  <a:lnTo>
                    <a:pt x="65373" y="132232"/>
                  </a:lnTo>
                  <a:lnTo>
                    <a:pt x="64727" y="132454"/>
                  </a:lnTo>
                  <a:lnTo>
                    <a:pt x="57063" y="138281"/>
                  </a:lnTo>
                  <a:lnTo>
                    <a:pt x="55111" y="139341"/>
                  </a:lnTo>
                  <a:lnTo>
                    <a:pt x="52450" y="139057"/>
                  </a:lnTo>
                  <a:lnTo>
                    <a:pt x="50415" y="138403"/>
                  </a:lnTo>
                  <a:lnTo>
                    <a:pt x="48825" y="137025"/>
                  </a:lnTo>
                  <a:lnTo>
                    <a:pt x="48114" y="134378"/>
                  </a:lnTo>
                  <a:lnTo>
                    <a:pt x="46150" y="134307"/>
                  </a:lnTo>
                  <a:lnTo>
                    <a:pt x="44470" y="133849"/>
                  </a:lnTo>
                  <a:lnTo>
                    <a:pt x="44491" y="133493"/>
                  </a:lnTo>
                  <a:lnTo>
                    <a:pt x="46658" y="132048"/>
                  </a:lnTo>
                  <a:lnTo>
                    <a:pt x="50132" y="131552"/>
                  </a:lnTo>
                  <a:lnTo>
                    <a:pt x="53383" y="129237"/>
                  </a:lnTo>
                  <a:lnTo>
                    <a:pt x="50490" y="127672"/>
                  </a:lnTo>
                  <a:lnTo>
                    <a:pt x="50735" y="127176"/>
                  </a:lnTo>
                  <a:lnTo>
                    <a:pt x="53258" y="125842"/>
                  </a:lnTo>
                  <a:lnTo>
                    <a:pt x="56463" y="121362"/>
                  </a:lnTo>
                  <a:lnTo>
                    <a:pt x="57113" y="117232"/>
                  </a:lnTo>
                  <a:lnTo>
                    <a:pt x="55580" y="115289"/>
                  </a:lnTo>
                  <a:lnTo>
                    <a:pt x="55025" y="114015"/>
                  </a:lnTo>
                  <a:lnTo>
                    <a:pt x="51961" y="112594"/>
                  </a:lnTo>
                  <a:lnTo>
                    <a:pt x="51449" y="110774"/>
                  </a:lnTo>
                  <a:lnTo>
                    <a:pt x="51805" y="109758"/>
                  </a:lnTo>
                  <a:lnTo>
                    <a:pt x="52805" y="108765"/>
                  </a:lnTo>
                  <a:lnTo>
                    <a:pt x="54312" y="107991"/>
                  </a:lnTo>
                  <a:lnTo>
                    <a:pt x="56674" y="107251"/>
                  </a:lnTo>
                  <a:lnTo>
                    <a:pt x="54530" y="106457"/>
                  </a:lnTo>
                  <a:lnTo>
                    <a:pt x="53730" y="105520"/>
                  </a:lnTo>
                  <a:lnTo>
                    <a:pt x="53123" y="104163"/>
                  </a:lnTo>
                  <a:lnTo>
                    <a:pt x="53067" y="103376"/>
                  </a:lnTo>
                  <a:lnTo>
                    <a:pt x="54177" y="99866"/>
                  </a:lnTo>
                  <a:lnTo>
                    <a:pt x="54823" y="98417"/>
                  </a:lnTo>
                  <a:lnTo>
                    <a:pt x="56087" y="96568"/>
                  </a:lnTo>
                  <a:lnTo>
                    <a:pt x="61821" y="96672"/>
                  </a:lnTo>
                  <a:lnTo>
                    <a:pt x="62480" y="95855"/>
                  </a:lnTo>
                  <a:lnTo>
                    <a:pt x="63130" y="95823"/>
                  </a:lnTo>
                  <a:lnTo>
                    <a:pt x="66062" y="96568"/>
                  </a:lnTo>
                  <a:lnTo>
                    <a:pt x="65627" y="95766"/>
                  </a:lnTo>
                  <a:lnTo>
                    <a:pt x="60832" y="91368"/>
                  </a:lnTo>
                  <a:lnTo>
                    <a:pt x="60402" y="90530"/>
                  </a:lnTo>
                  <a:lnTo>
                    <a:pt x="61769" y="88154"/>
                  </a:lnTo>
                  <a:lnTo>
                    <a:pt x="61868" y="87094"/>
                  </a:lnTo>
                  <a:lnTo>
                    <a:pt x="61668" y="85961"/>
                  </a:lnTo>
                  <a:lnTo>
                    <a:pt x="62058" y="85098"/>
                  </a:lnTo>
                  <a:lnTo>
                    <a:pt x="63578" y="84690"/>
                  </a:lnTo>
                  <a:lnTo>
                    <a:pt x="68213" y="84731"/>
                  </a:lnTo>
                  <a:lnTo>
                    <a:pt x="69355" y="84329"/>
                  </a:lnTo>
                  <a:lnTo>
                    <a:pt x="68835" y="83181"/>
                  </a:lnTo>
                  <a:lnTo>
                    <a:pt x="67756" y="81671"/>
                  </a:lnTo>
                  <a:lnTo>
                    <a:pt x="67545" y="80402"/>
                  </a:lnTo>
                  <a:lnTo>
                    <a:pt x="67798" y="79281"/>
                  </a:lnTo>
                  <a:lnTo>
                    <a:pt x="67857" y="77022"/>
                  </a:lnTo>
                  <a:lnTo>
                    <a:pt x="68068" y="76022"/>
                  </a:lnTo>
                  <a:lnTo>
                    <a:pt x="69168" y="74524"/>
                  </a:lnTo>
                  <a:lnTo>
                    <a:pt x="70077" y="74079"/>
                  </a:lnTo>
                  <a:lnTo>
                    <a:pt x="71204" y="73818"/>
                  </a:lnTo>
                  <a:lnTo>
                    <a:pt x="73748" y="74319"/>
                  </a:lnTo>
                  <a:lnTo>
                    <a:pt x="74718" y="74924"/>
                  </a:lnTo>
                  <a:lnTo>
                    <a:pt x="75831" y="76352"/>
                  </a:lnTo>
                  <a:lnTo>
                    <a:pt x="76654" y="76236"/>
                  </a:lnTo>
                  <a:lnTo>
                    <a:pt x="79822" y="74685"/>
                  </a:lnTo>
                  <a:lnTo>
                    <a:pt x="80774" y="74462"/>
                  </a:lnTo>
                  <a:lnTo>
                    <a:pt x="82070" y="76260"/>
                  </a:lnTo>
                  <a:lnTo>
                    <a:pt x="87480" y="74826"/>
                  </a:lnTo>
                  <a:lnTo>
                    <a:pt x="94757" y="74183"/>
                  </a:lnTo>
                  <a:lnTo>
                    <a:pt x="99129" y="73239"/>
                  </a:lnTo>
                  <a:lnTo>
                    <a:pt x="103733" y="72896"/>
                  </a:lnTo>
                  <a:close/>
                  <a:moveTo>
                    <a:pt x="115062" y="65804"/>
                  </a:moveTo>
                  <a:lnTo>
                    <a:pt x="116053" y="66067"/>
                  </a:lnTo>
                  <a:lnTo>
                    <a:pt x="115685" y="66975"/>
                  </a:lnTo>
                  <a:lnTo>
                    <a:pt x="115324" y="68857"/>
                  </a:lnTo>
                  <a:lnTo>
                    <a:pt x="115112" y="68953"/>
                  </a:lnTo>
                  <a:lnTo>
                    <a:pt x="114307" y="68360"/>
                  </a:lnTo>
                  <a:lnTo>
                    <a:pt x="112979" y="66228"/>
                  </a:lnTo>
                  <a:close/>
                  <a:moveTo>
                    <a:pt x="105859" y="63098"/>
                  </a:moveTo>
                  <a:lnTo>
                    <a:pt x="107750" y="63544"/>
                  </a:lnTo>
                  <a:lnTo>
                    <a:pt x="108729" y="65107"/>
                  </a:lnTo>
                  <a:lnTo>
                    <a:pt x="108851" y="66123"/>
                  </a:lnTo>
                  <a:lnTo>
                    <a:pt x="109083" y="66522"/>
                  </a:lnTo>
                  <a:lnTo>
                    <a:pt x="110257" y="66923"/>
                  </a:lnTo>
                  <a:lnTo>
                    <a:pt x="110115" y="67151"/>
                  </a:lnTo>
                  <a:lnTo>
                    <a:pt x="108851" y="67581"/>
                  </a:lnTo>
                  <a:lnTo>
                    <a:pt x="107598" y="67549"/>
                  </a:lnTo>
                  <a:lnTo>
                    <a:pt x="105643" y="65673"/>
                  </a:lnTo>
                  <a:lnTo>
                    <a:pt x="104900" y="64307"/>
                  </a:lnTo>
                  <a:lnTo>
                    <a:pt x="105034" y="63403"/>
                  </a:lnTo>
                  <a:close/>
                  <a:moveTo>
                    <a:pt x="108266" y="55774"/>
                  </a:moveTo>
                  <a:lnTo>
                    <a:pt x="110302" y="56022"/>
                  </a:lnTo>
                  <a:lnTo>
                    <a:pt x="112632" y="57239"/>
                  </a:lnTo>
                  <a:lnTo>
                    <a:pt x="113337" y="57988"/>
                  </a:lnTo>
                  <a:lnTo>
                    <a:pt x="113320" y="58586"/>
                  </a:lnTo>
                  <a:lnTo>
                    <a:pt x="112493" y="59499"/>
                  </a:lnTo>
                  <a:lnTo>
                    <a:pt x="112199" y="60302"/>
                  </a:lnTo>
                  <a:lnTo>
                    <a:pt x="113880" y="60283"/>
                  </a:lnTo>
                  <a:lnTo>
                    <a:pt x="116315" y="60967"/>
                  </a:lnTo>
                  <a:lnTo>
                    <a:pt x="117789" y="61053"/>
                  </a:lnTo>
                  <a:lnTo>
                    <a:pt x="119015" y="61901"/>
                  </a:lnTo>
                  <a:lnTo>
                    <a:pt x="118339" y="63490"/>
                  </a:lnTo>
                  <a:lnTo>
                    <a:pt x="117605" y="63935"/>
                  </a:lnTo>
                  <a:lnTo>
                    <a:pt x="116775" y="64023"/>
                  </a:lnTo>
                  <a:lnTo>
                    <a:pt x="113877" y="62436"/>
                  </a:lnTo>
                  <a:lnTo>
                    <a:pt x="110079" y="63095"/>
                  </a:lnTo>
                  <a:lnTo>
                    <a:pt x="109323" y="62894"/>
                  </a:lnTo>
                  <a:lnTo>
                    <a:pt x="108824" y="62455"/>
                  </a:lnTo>
                  <a:lnTo>
                    <a:pt x="108619" y="61911"/>
                  </a:lnTo>
                  <a:lnTo>
                    <a:pt x="108615" y="60801"/>
                  </a:lnTo>
                  <a:lnTo>
                    <a:pt x="108409" y="60473"/>
                  </a:lnTo>
                  <a:lnTo>
                    <a:pt x="107033" y="61523"/>
                  </a:lnTo>
                  <a:lnTo>
                    <a:pt x="106429" y="61399"/>
                  </a:lnTo>
                  <a:lnTo>
                    <a:pt x="106088" y="60896"/>
                  </a:lnTo>
                  <a:lnTo>
                    <a:pt x="105941" y="59853"/>
                  </a:lnTo>
                  <a:lnTo>
                    <a:pt x="106094" y="58347"/>
                  </a:lnTo>
                  <a:lnTo>
                    <a:pt x="106900" y="56202"/>
                  </a:lnTo>
                  <a:close/>
                  <a:moveTo>
                    <a:pt x="124031" y="50542"/>
                  </a:moveTo>
                  <a:lnTo>
                    <a:pt x="126876" y="50758"/>
                  </a:lnTo>
                  <a:lnTo>
                    <a:pt x="126370" y="51625"/>
                  </a:lnTo>
                  <a:lnTo>
                    <a:pt x="123738" y="52921"/>
                  </a:lnTo>
                  <a:lnTo>
                    <a:pt x="121235" y="52960"/>
                  </a:lnTo>
                  <a:lnTo>
                    <a:pt x="122528" y="51028"/>
                  </a:lnTo>
                  <a:close/>
                  <a:moveTo>
                    <a:pt x="114304" y="49137"/>
                  </a:moveTo>
                  <a:lnTo>
                    <a:pt x="116822" y="51059"/>
                  </a:lnTo>
                  <a:lnTo>
                    <a:pt x="117853" y="52612"/>
                  </a:lnTo>
                  <a:lnTo>
                    <a:pt x="119718" y="53071"/>
                  </a:lnTo>
                  <a:lnTo>
                    <a:pt x="119956" y="53309"/>
                  </a:lnTo>
                  <a:lnTo>
                    <a:pt x="119746" y="54377"/>
                  </a:lnTo>
                  <a:lnTo>
                    <a:pt x="117848" y="55188"/>
                  </a:lnTo>
                  <a:lnTo>
                    <a:pt x="117038" y="54517"/>
                  </a:lnTo>
                  <a:lnTo>
                    <a:pt x="116827" y="52416"/>
                  </a:lnTo>
                  <a:lnTo>
                    <a:pt x="114564" y="51516"/>
                  </a:lnTo>
                  <a:lnTo>
                    <a:pt x="113464" y="50957"/>
                  </a:lnTo>
                  <a:lnTo>
                    <a:pt x="112612" y="49897"/>
                  </a:lnTo>
                  <a:lnTo>
                    <a:pt x="112829" y="49572"/>
                  </a:lnTo>
                  <a:close/>
                  <a:moveTo>
                    <a:pt x="149939" y="7430"/>
                  </a:moveTo>
                  <a:lnTo>
                    <a:pt x="151315" y="7494"/>
                  </a:lnTo>
                  <a:lnTo>
                    <a:pt x="151174" y="9833"/>
                  </a:lnTo>
                  <a:lnTo>
                    <a:pt x="151632" y="12180"/>
                  </a:lnTo>
                  <a:lnTo>
                    <a:pt x="152774" y="11572"/>
                  </a:lnTo>
                  <a:lnTo>
                    <a:pt x="154498" y="13821"/>
                  </a:lnTo>
                  <a:lnTo>
                    <a:pt x="155378" y="13824"/>
                  </a:lnTo>
                  <a:lnTo>
                    <a:pt x="156827" y="12931"/>
                  </a:lnTo>
                  <a:lnTo>
                    <a:pt x="156535" y="15023"/>
                  </a:lnTo>
                  <a:lnTo>
                    <a:pt x="155031" y="20819"/>
                  </a:lnTo>
                  <a:lnTo>
                    <a:pt x="154608" y="21802"/>
                  </a:lnTo>
                  <a:lnTo>
                    <a:pt x="154322" y="23560"/>
                  </a:lnTo>
                  <a:lnTo>
                    <a:pt x="154023" y="23902"/>
                  </a:lnTo>
                  <a:lnTo>
                    <a:pt x="153579" y="27452"/>
                  </a:lnTo>
                  <a:lnTo>
                    <a:pt x="152562" y="28620"/>
                  </a:lnTo>
                  <a:lnTo>
                    <a:pt x="151712" y="31404"/>
                  </a:lnTo>
                  <a:lnTo>
                    <a:pt x="151365" y="31676"/>
                  </a:lnTo>
                  <a:lnTo>
                    <a:pt x="150118" y="30605"/>
                  </a:lnTo>
                  <a:lnTo>
                    <a:pt x="151364" y="26353"/>
                  </a:lnTo>
                  <a:lnTo>
                    <a:pt x="151880" y="23878"/>
                  </a:lnTo>
                  <a:lnTo>
                    <a:pt x="151554" y="22593"/>
                  </a:lnTo>
                  <a:lnTo>
                    <a:pt x="150849" y="21436"/>
                  </a:lnTo>
                  <a:lnTo>
                    <a:pt x="148942" y="21399"/>
                  </a:lnTo>
                  <a:lnTo>
                    <a:pt x="147340" y="21933"/>
                  </a:lnTo>
                  <a:lnTo>
                    <a:pt x="147000" y="21250"/>
                  </a:lnTo>
                  <a:lnTo>
                    <a:pt x="146950" y="20329"/>
                  </a:lnTo>
                  <a:lnTo>
                    <a:pt x="146564" y="20023"/>
                  </a:lnTo>
                  <a:lnTo>
                    <a:pt x="144431" y="20086"/>
                  </a:lnTo>
                  <a:lnTo>
                    <a:pt x="143805" y="19832"/>
                  </a:lnTo>
                  <a:lnTo>
                    <a:pt x="143392" y="18986"/>
                  </a:lnTo>
                  <a:lnTo>
                    <a:pt x="143310" y="18314"/>
                  </a:lnTo>
                  <a:lnTo>
                    <a:pt x="145236" y="17787"/>
                  </a:lnTo>
                  <a:lnTo>
                    <a:pt x="147054" y="17983"/>
                  </a:lnTo>
                  <a:lnTo>
                    <a:pt x="149703" y="16640"/>
                  </a:lnTo>
                  <a:lnTo>
                    <a:pt x="148046" y="12130"/>
                  </a:lnTo>
                  <a:lnTo>
                    <a:pt x="145851" y="11705"/>
                  </a:lnTo>
                  <a:lnTo>
                    <a:pt x="145344" y="11268"/>
                  </a:lnTo>
                  <a:lnTo>
                    <a:pt x="145767" y="10502"/>
                  </a:lnTo>
                  <a:lnTo>
                    <a:pt x="146972" y="10089"/>
                  </a:lnTo>
                  <a:lnTo>
                    <a:pt x="148828" y="7792"/>
                  </a:lnTo>
                  <a:close/>
                  <a:moveTo>
                    <a:pt x="155924" y="3736"/>
                  </a:moveTo>
                  <a:lnTo>
                    <a:pt x="157863" y="3860"/>
                  </a:lnTo>
                  <a:lnTo>
                    <a:pt x="158171" y="4878"/>
                  </a:lnTo>
                  <a:lnTo>
                    <a:pt x="157979" y="5814"/>
                  </a:lnTo>
                  <a:lnTo>
                    <a:pt x="156991" y="5897"/>
                  </a:lnTo>
                  <a:lnTo>
                    <a:pt x="156903" y="6184"/>
                  </a:lnTo>
                  <a:lnTo>
                    <a:pt x="157211" y="7986"/>
                  </a:lnTo>
                  <a:lnTo>
                    <a:pt x="157230" y="10077"/>
                  </a:lnTo>
                  <a:lnTo>
                    <a:pt x="157046" y="10621"/>
                  </a:lnTo>
                  <a:lnTo>
                    <a:pt x="156486" y="11006"/>
                  </a:lnTo>
                  <a:lnTo>
                    <a:pt x="154327" y="7619"/>
                  </a:lnTo>
                  <a:close/>
                  <a:moveTo>
                    <a:pt x="161891" y="0"/>
                  </a:moveTo>
                  <a:lnTo>
                    <a:pt x="162369" y="21"/>
                  </a:lnTo>
                  <a:lnTo>
                    <a:pt x="162978" y="667"/>
                  </a:lnTo>
                  <a:lnTo>
                    <a:pt x="162977" y="1051"/>
                  </a:lnTo>
                  <a:lnTo>
                    <a:pt x="161831" y="3871"/>
                  </a:lnTo>
                  <a:lnTo>
                    <a:pt x="161846" y="4948"/>
                  </a:lnTo>
                  <a:lnTo>
                    <a:pt x="159996" y="4845"/>
                  </a:lnTo>
                  <a:lnTo>
                    <a:pt x="159706" y="4502"/>
                  </a:lnTo>
                  <a:lnTo>
                    <a:pt x="159356" y="2885"/>
                  </a:lnTo>
                  <a:lnTo>
                    <a:pt x="159589" y="1162"/>
                  </a:lnTo>
                  <a:lnTo>
                    <a:pt x="159848" y="718"/>
                  </a:lnTo>
                  <a:lnTo>
                    <a:pt x="160388" y="535"/>
                  </a:lnTo>
                  <a:lnTo>
                    <a:pt x="160973" y="873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30" name="ee4p_GR_1_37365">
              <a:extLst>
                <a:ext uri="{FF2B5EF4-FFF2-40B4-BE49-F238E27FC236}">
                  <a16:creationId xmlns:a16="http://schemas.microsoft.com/office/drawing/2014/main" id="{75C98FD5-C178-C873-3AA2-67622B1EDF4F}"/>
                </a:ext>
              </a:extLst>
            </p:cNvPr>
            <p:cNvSpPr>
              <a:spLocks noChangeAspect="1"/>
            </p:cNvSpPr>
            <p:nvPr>
              <p:custDataLst>
                <p:tags r:id="rId284"/>
              </p:custDataLst>
            </p:nvPr>
          </p:nvSpPr>
          <p:spPr>
            <a:xfrm>
              <a:off x="7060270" y="3411242"/>
              <a:ext cx="238411" cy="225976"/>
            </a:xfrm>
            <a:custGeom>
              <a:avLst/>
              <a:gdLst>
                <a:gd name="connsiteX0" fmla="*/ 90448 w 189841"/>
                <a:gd name="connsiteY0" fmla="*/ 157073 h 175170"/>
                <a:gd name="connsiteX1" fmla="*/ 91198 w 189841"/>
                <a:gd name="connsiteY1" fmla="*/ 157609 h 175170"/>
                <a:gd name="connsiteX2" fmla="*/ 91697 w 189841"/>
                <a:gd name="connsiteY2" fmla="*/ 159571 h 175170"/>
                <a:gd name="connsiteX3" fmla="*/ 92998 w 189841"/>
                <a:gd name="connsiteY3" fmla="*/ 160093 h 175170"/>
                <a:gd name="connsiteX4" fmla="*/ 94510 w 189841"/>
                <a:gd name="connsiteY4" fmla="*/ 160276 h 175170"/>
                <a:gd name="connsiteX5" fmla="*/ 96559 w 189841"/>
                <a:gd name="connsiteY5" fmla="*/ 160244 h 175170"/>
                <a:gd name="connsiteX6" fmla="*/ 97026 w 189841"/>
                <a:gd name="connsiteY6" fmla="*/ 160094 h 175170"/>
                <a:gd name="connsiteX7" fmla="*/ 98330 w 189841"/>
                <a:gd name="connsiteY7" fmla="*/ 158624 h 175170"/>
                <a:gd name="connsiteX8" fmla="*/ 99937 w 189841"/>
                <a:gd name="connsiteY8" fmla="*/ 158590 h 175170"/>
                <a:gd name="connsiteX9" fmla="*/ 100638 w 189841"/>
                <a:gd name="connsiteY9" fmla="*/ 160043 h 175170"/>
                <a:gd name="connsiteX10" fmla="*/ 99008 w 189841"/>
                <a:gd name="connsiteY10" fmla="*/ 160712 h 175170"/>
                <a:gd name="connsiteX11" fmla="*/ 98676 w 189841"/>
                <a:gd name="connsiteY11" fmla="*/ 161090 h 175170"/>
                <a:gd name="connsiteX12" fmla="*/ 98989 w 189841"/>
                <a:gd name="connsiteY12" fmla="*/ 161396 h 175170"/>
                <a:gd name="connsiteX13" fmla="*/ 100213 w 189841"/>
                <a:gd name="connsiteY13" fmla="*/ 162002 h 175170"/>
                <a:gd name="connsiteX14" fmla="*/ 101913 w 189841"/>
                <a:gd name="connsiteY14" fmla="*/ 161773 h 175170"/>
                <a:gd name="connsiteX15" fmla="*/ 101964 w 189841"/>
                <a:gd name="connsiteY15" fmla="*/ 162916 h 175170"/>
                <a:gd name="connsiteX16" fmla="*/ 102344 w 189841"/>
                <a:gd name="connsiteY16" fmla="*/ 163849 h 175170"/>
                <a:gd name="connsiteX17" fmla="*/ 103184 w 189841"/>
                <a:gd name="connsiteY17" fmla="*/ 164406 h 175170"/>
                <a:gd name="connsiteX18" fmla="*/ 104093 w 189841"/>
                <a:gd name="connsiteY18" fmla="*/ 164515 h 175170"/>
                <a:gd name="connsiteX19" fmla="*/ 106104 w 189841"/>
                <a:gd name="connsiteY19" fmla="*/ 164350 h 175170"/>
                <a:gd name="connsiteX20" fmla="*/ 108086 w 189841"/>
                <a:gd name="connsiteY20" fmla="*/ 163980 h 175170"/>
                <a:gd name="connsiteX21" fmla="*/ 110129 w 189841"/>
                <a:gd name="connsiteY21" fmla="*/ 163248 h 175170"/>
                <a:gd name="connsiteX22" fmla="*/ 112215 w 189841"/>
                <a:gd name="connsiteY22" fmla="*/ 162874 h 175170"/>
                <a:gd name="connsiteX23" fmla="*/ 118447 w 189841"/>
                <a:gd name="connsiteY23" fmla="*/ 163249 h 175170"/>
                <a:gd name="connsiteX24" fmla="*/ 120684 w 189841"/>
                <a:gd name="connsiteY24" fmla="*/ 164830 h 175170"/>
                <a:gd name="connsiteX25" fmla="*/ 124940 w 189841"/>
                <a:gd name="connsiteY25" fmla="*/ 165020 h 175170"/>
                <a:gd name="connsiteX26" fmla="*/ 128896 w 189841"/>
                <a:gd name="connsiteY26" fmla="*/ 165852 h 175170"/>
                <a:gd name="connsiteX27" fmla="*/ 130974 w 189841"/>
                <a:gd name="connsiteY27" fmla="*/ 165303 h 175170"/>
                <a:gd name="connsiteX28" fmla="*/ 134523 w 189841"/>
                <a:gd name="connsiteY28" fmla="*/ 164788 h 175170"/>
                <a:gd name="connsiteX29" fmla="*/ 135092 w 189841"/>
                <a:gd name="connsiteY29" fmla="*/ 165346 h 175170"/>
                <a:gd name="connsiteX30" fmla="*/ 134633 w 189841"/>
                <a:gd name="connsiteY30" fmla="*/ 168918 h 175170"/>
                <a:gd name="connsiteX31" fmla="*/ 134852 w 189841"/>
                <a:gd name="connsiteY31" fmla="*/ 169953 h 175170"/>
                <a:gd name="connsiteX32" fmla="*/ 135875 w 189841"/>
                <a:gd name="connsiteY32" fmla="*/ 170451 h 175170"/>
                <a:gd name="connsiteX33" fmla="*/ 136888 w 189841"/>
                <a:gd name="connsiteY33" fmla="*/ 170208 h 175170"/>
                <a:gd name="connsiteX34" fmla="*/ 138132 w 189841"/>
                <a:gd name="connsiteY34" fmla="*/ 169039 h 175170"/>
                <a:gd name="connsiteX35" fmla="*/ 141109 w 189841"/>
                <a:gd name="connsiteY35" fmla="*/ 168134 h 175170"/>
                <a:gd name="connsiteX36" fmla="*/ 144202 w 189841"/>
                <a:gd name="connsiteY36" fmla="*/ 168139 h 175170"/>
                <a:gd name="connsiteX37" fmla="*/ 146804 w 189841"/>
                <a:gd name="connsiteY37" fmla="*/ 165763 h 175170"/>
                <a:gd name="connsiteX38" fmla="*/ 147571 w 189841"/>
                <a:gd name="connsiteY38" fmla="*/ 165628 h 175170"/>
                <a:gd name="connsiteX39" fmla="*/ 147093 w 189841"/>
                <a:gd name="connsiteY39" fmla="*/ 166796 h 175170"/>
                <a:gd name="connsiteX40" fmla="*/ 146700 w 189841"/>
                <a:gd name="connsiteY40" fmla="*/ 169539 h 175170"/>
                <a:gd name="connsiteX41" fmla="*/ 146141 w 189841"/>
                <a:gd name="connsiteY41" fmla="*/ 171145 h 175170"/>
                <a:gd name="connsiteX42" fmla="*/ 145892 w 189841"/>
                <a:gd name="connsiteY42" fmla="*/ 172410 h 175170"/>
                <a:gd name="connsiteX43" fmla="*/ 144152 w 189841"/>
                <a:gd name="connsiteY43" fmla="*/ 173063 h 175170"/>
                <a:gd name="connsiteX44" fmla="*/ 141522 w 189841"/>
                <a:gd name="connsiteY44" fmla="*/ 173175 h 175170"/>
                <a:gd name="connsiteX45" fmla="*/ 136724 w 189841"/>
                <a:gd name="connsiteY45" fmla="*/ 172898 h 175170"/>
                <a:gd name="connsiteX46" fmla="*/ 131887 w 189841"/>
                <a:gd name="connsiteY46" fmla="*/ 173346 h 175170"/>
                <a:gd name="connsiteX47" fmla="*/ 122928 w 189841"/>
                <a:gd name="connsiteY47" fmla="*/ 174549 h 175170"/>
                <a:gd name="connsiteX48" fmla="*/ 113951 w 189841"/>
                <a:gd name="connsiteY48" fmla="*/ 175170 h 175170"/>
                <a:gd name="connsiteX49" fmla="*/ 112744 w 189841"/>
                <a:gd name="connsiteY49" fmla="*/ 174765 h 175170"/>
                <a:gd name="connsiteX50" fmla="*/ 112716 w 189841"/>
                <a:gd name="connsiteY50" fmla="*/ 173170 h 175170"/>
                <a:gd name="connsiteX51" fmla="*/ 112522 w 189841"/>
                <a:gd name="connsiteY51" fmla="*/ 172069 h 175170"/>
                <a:gd name="connsiteX52" fmla="*/ 111941 w 189841"/>
                <a:gd name="connsiteY52" fmla="*/ 171298 h 175170"/>
                <a:gd name="connsiteX53" fmla="*/ 109166 w 189841"/>
                <a:gd name="connsiteY53" fmla="*/ 170640 h 175170"/>
                <a:gd name="connsiteX54" fmla="*/ 106519 w 189841"/>
                <a:gd name="connsiteY54" fmla="*/ 169511 h 175170"/>
                <a:gd name="connsiteX55" fmla="*/ 96140 w 189841"/>
                <a:gd name="connsiteY55" fmla="*/ 167967 h 175170"/>
                <a:gd name="connsiteX56" fmla="*/ 93692 w 189841"/>
                <a:gd name="connsiteY56" fmla="*/ 167361 h 175170"/>
                <a:gd name="connsiteX57" fmla="*/ 89718 w 189841"/>
                <a:gd name="connsiteY57" fmla="*/ 167677 h 175170"/>
                <a:gd name="connsiteX58" fmla="*/ 88263 w 189841"/>
                <a:gd name="connsiteY58" fmla="*/ 167635 h 175170"/>
                <a:gd name="connsiteX59" fmla="*/ 87261 w 189841"/>
                <a:gd name="connsiteY59" fmla="*/ 167081 h 175170"/>
                <a:gd name="connsiteX60" fmla="*/ 86572 w 189841"/>
                <a:gd name="connsiteY60" fmla="*/ 166129 h 175170"/>
                <a:gd name="connsiteX61" fmla="*/ 86261 w 189841"/>
                <a:gd name="connsiteY61" fmla="*/ 163106 h 175170"/>
                <a:gd name="connsiteX62" fmla="*/ 86753 w 189841"/>
                <a:gd name="connsiteY62" fmla="*/ 160110 h 175170"/>
                <a:gd name="connsiteX63" fmla="*/ 87613 w 189841"/>
                <a:gd name="connsiteY63" fmla="*/ 159318 h 175170"/>
                <a:gd name="connsiteX64" fmla="*/ 88008 w 189841"/>
                <a:gd name="connsiteY64" fmla="*/ 160221 h 175170"/>
                <a:gd name="connsiteX65" fmla="*/ 89027 w 189841"/>
                <a:gd name="connsiteY65" fmla="*/ 160634 h 175170"/>
                <a:gd name="connsiteX66" fmla="*/ 89973 w 189841"/>
                <a:gd name="connsiteY66" fmla="*/ 159724 h 175170"/>
                <a:gd name="connsiteX67" fmla="*/ 89964 w 189841"/>
                <a:gd name="connsiteY67" fmla="*/ 158350 h 175170"/>
                <a:gd name="connsiteX68" fmla="*/ 167536 w 189841"/>
                <a:gd name="connsiteY68" fmla="*/ 152919 h 175170"/>
                <a:gd name="connsiteX69" fmla="*/ 167180 w 189841"/>
                <a:gd name="connsiteY69" fmla="*/ 155589 h 175170"/>
                <a:gd name="connsiteX70" fmla="*/ 166078 w 189841"/>
                <a:gd name="connsiteY70" fmla="*/ 157728 h 175170"/>
                <a:gd name="connsiteX71" fmla="*/ 167221 w 189841"/>
                <a:gd name="connsiteY71" fmla="*/ 159502 h 175170"/>
                <a:gd name="connsiteX72" fmla="*/ 167767 w 189841"/>
                <a:gd name="connsiteY72" fmla="*/ 161523 h 175170"/>
                <a:gd name="connsiteX73" fmla="*/ 166495 w 189841"/>
                <a:gd name="connsiteY73" fmla="*/ 161857 h 175170"/>
                <a:gd name="connsiteX74" fmla="*/ 165651 w 189841"/>
                <a:gd name="connsiteY74" fmla="*/ 163269 h 175170"/>
                <a:gd name="connsiteX75" fmla="*/ 164794 w 189841"/>
                <a:gd name="connsiteY75" fmla="*/ 162079 h 175170"/>
                <a:gd name="connsiteX76" fmla="*/ 165163 w 189841"/>
                <a:gd name="connsiteY76" fmla="*/ 160705 h 175170"/>
                <a:gd name="connsiteX77" fmla="*/ 164165 w 189841"/>
                <a:gd name="connsiteY77" fmla="*/ 158526 h 175170"/>
                <a:gd name="connsiteX78" fmla="*/ 166053 w 189841"/>
                <a:gd name="connsiteY78" fmla="*/ 155292 h 175170"/>
                <a:gd name="connsiteX79" fmla="*/ 166096 w 189841"/>
                <a:gd name="connsiteY79" fmla="*/ 153720 h 175170"/>
                <a:gd name="connsiteX80" fmla="*/ 73059 w 189841"/>
                <a:gd name="connsiteY80" fmla="*/ 138689 h 175170"/>
                <a:gd name="connsiteX81" fmla="*/ 74106 w 189841"/>
                <a:gd name="connsiteY81" fmla="*/ 140102 h 175170"/>
                <a:gd name="connsiteX82" fmla="*/ 76300 w 189841"/>
                <a:gd name="connsiteY82" fmla="*/ 142164 h 175170"/>
                <a:gd name="connsiteX83" fmla="*/ 75343 w 189841"/>
                <a:gd name="connsiteY83" fmla="*/ 143599 h 175170"/>
                <a:gd name="connsiteX84" fmla="*/ 75086 w 189841"/>
                <a:gd name="connsiteY84" fmla="*/ 144696 h 175170"/>
                <a:gd name="connsiteX85" fmla="*/ 72815 w 189841"/>
                <a:gd name="connsiteY85" fmla="*/ 143942 h 175170"/>
                <a:gd name="connsiteX86" fmla="*/ 72182 w 189841"/>
                <a:gd name="connsiteY86" fmla="*/ 142810 h 175170"/>
                <a:gd name="connsiteX87" fmla="*/ 72068 w 189841"/>
                <a:gd name="connsiteY87" fmla="*/ 140299 h 175170"/>
                <a:gd name="connsiteX88" fmla="*/ 72664 w 189841"/>
                <a:gd name="connsiteY88" fmla="*/ 139074 h 175170"/>
                <a:gd name="connsiteX89" fmla="*/ 189841 w 189841"/>
                <a:gd name="connsiteY89" fmla="*/ 137431 h 175170"/>
                <a:gd name="connsiteX90" fmla="*/ 189801 w 189841"/>
                <a:gd name="connsiteY90" fmla="*/ 139035 h 175170"/>
                <a:gd name="connsiteX91" fmla="*/ 187899 w 189841"/>
                <a:gd name="connsiteY91" fmla="*/ 143092 h 175170"/>
                <a:gd name="connsiteX92" fmla="*/ 186211 w 189841"/>
                <a:gd name="connsiteY92" fmla="*/ 145117 h 175170"/>
                <a:gd name="connsiteX93" fmla="*/ 186655 w 189841"/>
                <a:gd name="connsiteY93" fmla="*/ 146743 h 175170"/>
                <a:gd name="connsiteX94" fmla="*/ 183952 w 189841"/>
                <a:gd name="connsiteY94" fmla="*/ 147193 h 175170"/>
                <a:gd name="connsiteX95" fmla="*/ 181238 w 189841"/>
                <a:gd name="connsiteY95" fmla="*/ 150175 h 175170"/>
                <a:gd name="connsiteX96" fmla="*/ 179642 w 189841"/>
                <a:gd name="connsiteY96" fmla="*/ 150705 h 175170"/>
                <a:gd name="connsiteX97" fmla="*/ 179091 w 189841"/>
                <a:gd name="connsiteY97" fmla="*/ 150636 h 175170"/>
                <a:gd name="connsiteX98" fmla="*/ 178424 w 189841"/>
                <a:gd name="connsiteY98" fmla="*/ 149468 h 175170"/>
                <a:gd name="connsiteX99" fmla="*/ 179348 w 189841"/>
                <a:gd name="connsiteY99" fmla="*/ 146645 h 175170"/>
                <a:gd name="connsiteX100" fmla="*/ 178493 w 189841"/>
                <a:gd name="connsiteY100" fmla="*/ 144829 h 175170"/>
                <a:gd name="connsiteX101" fmla="*/ 178441 w 189841"/>
                <a:gd name="connsiteY101" fmla="*/ 144059 h 175170"/>
                <a:gd name="connsiteX102" fmla="*/ 179726 w 189841"/>
                <a:gd name="connsiteY102" fmla="*/ 142993 h 175170"/>
                <a:gd name="connsiteX103" fmla="*/ 180629 w 189841"/>
                <a:gd name="connsiteY103" fmla="*/ 141396 h 175170"/>
                <a:gd name="connsiteX104" fmla="*/ 182822 w 189841"/>
                <a:gd name="connsiteY104" fmla="*/ 139667 h 175170"/>
                <a:gd name="connsiteX105" fmla="*/ 188506 w 189841"/>
                <a:gd name="connsiteY105" fmla="*/ 137619 h 175170"/>
                <a:gd name="connsiteX106" fmla="*/ 127421 w 189841"/>
                <a:gd name="connsiteY106" fmla="*/ 136416 h 175170"/>
                <a:gd name="connsiteX107" fmla="*/ 128713 w 189841"/>
                <a:gd name="connsiteY107" fmla="*/ 137395 h 175170"/>
                <a:gd name="connsiteX108" fmla="*/ 129045 w 189841"/>
                <a:gd name="connsiteY108" fmla="*/ 138469 h 175170"/>
                <a:gd name="connsiteX109" fmla="*/ 128017 w 189841"/>
                <a:gd name="connsiteY109" fmla="*/ 139799 h 175170"/>
                <a:gd name="connsiteX110" fmla="*/ 126570 w 189841"/>
                <a:gd name="connsiteY110" fmla="*/ 139322 h 175170"/>
                <a:gd name="connsiteX111" fmla="*/ 127160 w 189841"/>
                <a:gd name="connsiteY111" fmla="*/ 138816 h 175170"/>
                <a:gd name="connsiteX112" fmla="*/ 127508 w 189841"/>
                <a:gd name="connsiteY112" fmla="*/ 138159 h 175170"/>
                <a:gd name="connsiteX113" fmla="*/ 127546 w 189841"/>
                <a:gd name="connsiteY113" fmla="*/ 137212 h 175170"/>
                <a:gd name="connsiteX114" fmla="*/ 127154 w 189841"/>
                <a:gd name="connsiteY114" fmla="*/ 136629 h 175170"/>
                <a:gd name="connsiteX115" fmla="*/ 148672 w 189841"/>
                <a:gd name="connsiteY115" fmla="*/ 132238 h 175170"/>
                <a:gd name="connsiteX116" fmla="*/ 149805 w 189841"/>
                <a:gd name="connsiteY116" fmla="*/ 132602 h 175170"/>
                <a:gd name="connsiteX117" fmla="*/ 150676 w 189841"/>
                <a:gd name="connsiteY117" fmla="*/ 133587 h 175170"/>
                <a:gd name="connsiteX118" fmla="*/ 148929 w 189841"/>
                <a:gd name="connsiteY118" fmla="*/ 134192 h 175170"/>
                <a:gd name="connsiteX119" fmla="*/ 147819 w 189841"/>
                <a:gd name="connsiteY119" fmla="*/ 135462 h 175170"/>
                <a:gd name="connsiteX120" fmla="*/ 146461 w 189841"/>
                <a:gd name="connsiteY120" fmla="*/ 134562 h 175170"/>
                <a:gd name="connsiteX121" fmla="*/ 146456 w 189841"/>
                <a:gd name="connsiteY121" fmla="*/ 133333 h 175170"/>
                <a:gd name="connsiteX122" fmla="*/ 147942 w 189841"/>
                <a:gd name="connsiteY122" fmla="*/ 133709 h 175170"/>
                <a:gd name="connsiteX123" fmla="*/ 148985 w 189841"/>
                <a:gd name="connsiteY123" fmla="*/ 133017 h 175170"/>
                <a:gd name="connsiteX124" fmla="*/ 181674 w 189841"/>
                <a:gd name="connsiteY124" fmla="*/ 132173 h 175170"/>
                <a:gd name="connsiteX125" fmla="*/ 181836 w 189841"/>
                <a:gd name="connsiteY125" fmla="*/ 132646 h 175170"/>
                <a:gd name="connsiteX126" fmla="*/ 181818 w 189841"/>
                <a:gd name="connsiteY126" fmla="*/ 133656 h 175170"/>
                <a:gd name="connsiteX127" fmla="*/ 181622 w 189841"/>
                <a:gd name="connsiteY127" fmla="*/ 134385 h 175170"/>
                <a:gd name="connsiteX128" fmla="*/ 181138 w 189841"/>
                <a:gd name="connsiteY128" fmla="*/ 134788 h 175170"/>
                <a:gd name="connsiteX129" fmla="*/ 180028 w 189841"/>
                <a:gd name="connsiteY129" fmla="*/ 133630 h 175170"/>
                <a:gd name="connsiteX130" fmla="*/ 179976 w 189841"/>
                <a:gd name="connsiteY130" fmla="*/ 133026 h 175170"/>
                <a:gd name="connsiteX131" fmla="*/ 181106 w 189841"/>
                <a:gd name="connsiteY131" fmla="*/ 132333 h 175170"/>
                <a:gd name="connsiteX132" fmla="*/ 108112 w 189841"/>
                <a:gd name="connsiteY132" fmla="*/ 129062 h 175170"/>
                <a:gd name="connsiteX133" fmla="*/ 108151 w 189841"/>
                <a:gd name="connsiteY133" fmla="*/ 130553 h 175170"/>
                <a:gd name="connsiteX134" fmla="*/ 108000 w 189841"/>
                <a:gd name="connsiteY134" fmla="*/ 131087 h 175170"/>
                <a:gd name="connsiteX135" fmla="*/ 103474 w 189841"/>
                <a:gd name="connsiteY135" fmla="*/ 131806 h 175170"/>
                <a:gd name="connsiteX136" fmla="*/ 103893 w 189841"/>
                <a:gd name="connsiteY136" fmla="*/ 130097 h 175170"/>
                <a:gd name="connsiteX137" fmla="*/ 104169 w 189841"/>
                <a:gd name="connsiteY137" fmla="*/ 129557 h 175170"/>
                <a:gd name="connsiteX138" fmla="*/ 105668 w 189841"/>
                <a:gd name="connsiteY138" fmla="*/ 130352 h 175170"/>
                <a:gd name="connsiteX139" fmla="*/ 106220 w 189841"/>
                <a:gd name="connsiteY139" fmla="*/ 129946 h 175170"/>
                <a:gd name="connsiteX140" fmla="*/ 106445 w 189841"/>
                <a:gd name="connsiteY140" fmla="*/ 129476 h 175170"/>
                <a:gd name="connsiteX141" fmla="*/ 124921 w 189841"/>
                <a:gd name="connsiteY141" fmla="*/ 128417 h 175170"/>
                <a:gd name="connsiteX142" fmla="*/ 127376 w 189841"/>
                <a:gd name="connsiteY142" fmla="*/ 130240 h 175170"/>
                <a:gd name="connsiteX143" fmla="*/ 126819 w 189841"/>
                <a:gd name="connsiteY143" fmla="*/ 131339 h 175170"/>
                <a:gd name="connsiteX144" fmla="*/ 126434 w 189841"/>
                <a:gd name="connsiteY144" fmla="*/ 131737 h 175170"/>
                <a:gd name="connsiteX145" fmla="*/ 124761 w 189841"/>
                <a:gd name="connsiteY145" fmla="*/ 130134 h 175170"/>
                <a:gd name="connsiteX146" fmla="*/ 124126 w 189841"/>
                <a:gd name="connsiteY146" fmla="*/ 129197 h 175170"/>
                <a:gd name="connsiteX147" fmla="*/ 168476 w 189841"/>
                <a:gd name="connsiteY147" fmla="*/ 125472 h 175170"/>
                <a:gd name="connsiteX148" fmla="*/ 170389 w 189841"/>
                <a:gd name="connsiteY148" fmla="*/ 126393 h 175170"/>
                <a:gd name="connsiteX149" fmla="*/ 166873 w 189841"/>
                <a:gd name="connsiteY149" fmla="*/ 127910 h 175170"/>
                <a:gd name="connsiteX150" fmla="*/ 165940 w 189841"/>
                <a:gd name="connsiteY150" fmla="*/ 128712 h 175170"/>
                <a:gd name="connsiteX151" fmla="*/ 163345 w 189841"/>
                <a:gd name="connsiteY151" fmla="*/ 128885 h 175170"/>
                <a:gd name="connsiteX152" fmla="*/ 161488 w 189841"/>
                <a:gd name="connsiteY152" fmla="*/ 129993 h 175170"/>
                <a:gd name="connsiteX153" fmla="*/ 160797 w 189841"/>
                <a:gd name="connsiteY153" fmla="*/ 130023 h 175170"/>
                <a:gd name="connsiteX154" fmla="*/ 161619 w 189841"/>
                <a:gd name="connsiteY154" fmla="*/ 128797 h 175170"/>
                <a:gd name="connsiteX155" fmla="*/ 163954 w 189841"/>
                <a:gd name="connsiteY155" fmla="*/ 127117 h 175170"/>
                <a:gd name="connsiteX156" fmla="*/ 167355 w 189841"/>
                <a:gd name="connsiteY156" fmla="*/ 125637 h 175170"/>
                <a:gd name="connsiteX157" fmla="*/ 140505 w 189841"/>
                <a:gd name="connsiteY157" fmla="*/ 124652 h 175170"/>
                <a:gd name="connsiteX158" fmla="*/ 141915 w 189841"/>
                <a:gd name="connsiteY158" fmla="*/ 125533 h 175170"/>
                <a:gd name="connsiteX159" fmla="*/ 140151 w 189841"/>
                <a:gd name="connsiteY159" fmla="*/ 126118 h 175170"/>
                <a:gd name="connsiteX160" fmla="*/ 137380 w 189841"/>
                <a:gd name="connsiteY160" fmla="*/ 128386 h 175170"/>
                <a:gd name="connsiteX161" fmla="*/ 135428 w 189841"/>
                <a:gd name="connsiteY161" fmla="*/ 128594 h 175170"/>
                <a:gd name="connsiteX162" fmla="*/ 134811 w 189841"/>
                <a:gd name="connsiteY162" fmla="*/ 128403 h 175170"/>
                <a:gd name="connsiteX163" fmla="*/ 135996 w 189841"/>
                <a:gd name="connsiteY163" fmla="*/ 127964 h 175170"/>
                <a:gd name="connsiteX164" fmla="*/ 136828 w 189841"/>
                <a:gd name="connsiteY164" fmla="*/ 127498 h 175170"/>
                <a:gd name="connsiteX165" fmla="*/ 137227 w 189841"/>
                <a:gd name="connsiteY165" fmla="*/ 126934 h 175170"/>
                <a:gd name="connsiteX166" fmla="*/ 139207 w 189841"/>
                <a:gd name="connsiteY166" fmla="*/ 125943 h 175170"/>
                <a:gd name="connsiteX167" fmla="*/ 112100 w 189841"/>
                <a:gd name="connsiteY167" fmla="*/ 122454 h 175170"/>
                <a:gd name="connsiteX168" fmla="*/ 113141 w 189841"/>
                <a:gd name="connsiteY168" fmla="*/ 124351 h 175170"/>
                <a:gd name="connsiteX169" fmla="*/ 112206 w 189841"/>
                <a:gd name="connsiteY169" fmla="*/ 125057 h 175170"/>
                <a:gd name="connsiteX170" fmla="*/ 111802 w 189841"/>
                <a:gd name="connsiteY170" fmla="*/ 125168 h 175170"/>
                <a:gd name="connsiteX171" fmla="*/ 111224 w 189841"/>
                <a:gd name="connsiteY171" fmla="*/ 124096 h 175170"/>
                <a:gd name="connsiteX172" fmla="*/ 111103 w 189841"/>
                <a:gd name="connsiteY172" fmla="*/ 123096 h 175170"/>
                <a:gd name="connsiteX173" fmla="*/ 111334 w 189841"/>
                <a:gd name="connsiteY173" fmla="*/ 122510 h 175170"/>
                <a:gd name="connsiteX174" fmla="*/ 160140 w 189841"/>
                <a:gd name="connsiteY174" fmla="*/ 120840 h 175170"/>
                <a:gd name="connsiteX175" fmla="*/ 161864 w 189841"/>
                <a:gd name="connsiteY175" fmla="*/ 121735 h 175170"/>
                <a:gd name="connsiteX176" fmla="*/ 162956 w 189841"/>
                <a:gd name="connsiteY176" fmla="*/ 122814 h 175170"/>
                <a:gd name="connsiteX177" fmla="*/ 163489 w 189841"/>
                <a:gd name="connsiteY177" fmla="*/ 123020 h 175170"/>
                <a:gd name="connsiteX178" fmla="*/ 163366 w 189841"/>
                <a:gd name="connsiteY178" fmla="*/ 123671 h 175170"/>
                <a:gd name="connsiteX179" fmla="*/ 163038 w 189841"/>
                <a:gd name="connsiteY179" fmla="*/ 124102 h 175170"/>
                <a:gd name="connsiteX180" fmla="*/ 160831 w 189841"/>
                <a:gd name="connsiteY180" fmla="*/ 124453 h 175170"/>
                <a:gd name="connsiteX181" fmla="*/ 161224 w 189841"/>
                <a:gd name="connsiteY181" fmla="*/ 122434 h 175170"/>
                <a:gd name="connsiteX182" fmla="*/ 123575 w 189841"/>
                <a:gd name="connsiteY182" fmla="*/ 119280 h 175170"/>
                <a:gd name="connsiteX183" fmla="*/ 124465 w 189841"/>
                <a:gd name="connsiteY183" fmla="*/ 119553 h 175170"/>
                <a:gd name="connsiteX184" fmla="*/ 124381 w 189841"/>
                <a:gd name="connsiteY184" fmla="*/ 120919 h 175170"/>
                <a:gd name="connsiteX185" fmla="*/ 124545 w 189841"/>
                <a:gd name="connsiteY185" fmla="*/ 121320 h 175170"/>
                <a:gd name="connsiteX186" fmla="*/ 122787 w 189841"/>
                <a:gd name="connsiteY186" fmla="*/ 123281 h 175170"/>
                <a:gd name="connsiteX187" fmla="*/ 121325 w 189841"/>
                <a:gd name="connsiteY187" fmla="*/ 123069 h 175170"/>
                <a:gd name="connsiteX188" fmla="*/ 120710 w 189841"/>
                <a:gd name="connsiteY188" fmla="*/ 122171 h 175170"/>
                <a:gd name="connsiteX189" fmla="*/ 121617 w 189841"/>
                <a:gd name="connsiteY189" fmla="*/ 120327 h 175170"/>
                <a:gd name="connsiteX190" fmla="*/ 129993 w 189841"/>
                <a:gd name="connsiteY190" fmla="*/ 118062 h 175170"/>
                <a:gd name="connsiteX191" fmla="*/ 130857 w 189841"/>
                <a:gd name="connsiteY191" fmla="*/ 118349 h 175170"/>
                <a:gd name="connsiteX192" fmla="*/ 131377 w 189841"/>
                <a:gd name="connsiteY192" fmla="*/ 119179 h 175170"/>
                <a:gd name="connsiteX193" fmla="*/ 131297 w 189841"/>
                <a:gd name="connsiteY193" fmla="*/ 122060 h 175170"/>
                <a:gd name="connsiteX194" fmla="*/ 130449 w 189841"/>
                <a:gd name="connsiteY194" fmla="*/ 123885 h 175170"/>
                <a:gd name="connsiteX195" fmla="*/ 128477 w 189841"/>
                <a:gd name="connsiteY195" fmla="*/ 124848 h 175170"/>
                <a:gd name="connsiteX196" fmla="*/ 127132 w 189841"/>
                <a:gd name="connsiteY196" fmla="*/ 123458 h 175170"/>
                <a:gd name="connsiteX197" fmla="*/ 126380 w 189841"/>
                <a:gd name="connsiteY197" fmla="*/ 121269 h 175170"/>
                <a:gd name="connsiteX198" fmla="*/ 106963 w 189841"/>
                <a:gd name="connsiteY198" fmla="*/ 117710 h 175170"/>
                <a:gd name="connsiteX199" fmla="*/ 107965 w 189841"/>
                <a:gd name="connsiteY199" fmla="*/ 118165 h 175170"/>
                <a:gd name="connsiteX200" fmla="*/ 108116 w 189841"/>
                <a:gd name="connsiteY200" fmla="*/ 118793 h 175170"/>
                <a:gd name="connsiteX201" fmla="*/ 107842 w 189841"/>
                <a:gd name="connsiteY201" fmla="*/ 119877 h 175170"/>
                <a:gd name="connsiteX202" fmla="*/ 107024 w 189841"/>
                <a:gd name="connsiteY202" fmla="*/ 120260 h 175170"/>
                <a:gd name="connsiteX203" fmla="*/ 105659 w 189841"/>
                <a:gd name="connsiteY203" fmla="*/ 119702 h 175170"/>
                <a:gd name="connsiteX204" fmla="*/ 106022 w 189841"/>
                <a:gd name="connsiteY204" fmla="*/ 118304 h 175170"/>
                <a:gd name="connsiteX205" fmla="*/ 105802 w 189841"/>
                <a:gd name="connsiteY205" fmla="*/ 110953 h 175170"/>
                <a:gd name="connsiteX206" fmla="*/ 106184 w 189841"/>
                <a:gd name="connsiteY206" fmla="*/ 111607 h 175170"/>
                <a:gd name="connsiteX207" fmla="*/ 106912 w 189841"/>
                <a:gd name="connsiteY207" fmla="*/ 112667 h 175170"/>
                <a:gd name="connsiteX208" fmla="*/ 105901 w 189841"/>
                <a:gd name="connsiteY208" fmla="*/ 114289 h 175170"/>
                <a:gd name="connsiteX209" fmla="*/ 104644 w 189841"/>
                <a:gd name="connsiteY209" fmla="*/ 115062 h 175170"/>
                <a:gd name="connsiteX210" fmla="*/ 105061 w 189841"/>
                <a:gd name="connsiteY210" fmla="*/ 113294 h 175170"/>
                <a:gd name="connsiteX211" fmla="*/ 104441 w 189841"/>
                <a:gd name="connsiteY211" fmla="*/ 112371 h 175170"/>
                <a:gd name="connsiteX212" fmla="*/ 104996 w 189841"/>
                <a:gd name="connsiteY212" fmla="*/ 111586 h 175170"/>
                <a:gd name="connsiteX213" fmla="*/ 116311 w 189841"/>
                <a:gd name="connsiteY213" fmla="*/ 110092 h 175170"/>
                <a:gd name="connsiteX214" fmla="*/ 117114 w 189841"/>
                <a:gd name="connsiteY214" fmla="*/ 110485 h 175170"/>
                <a:gd name="connsiteX215" fmla="*/ 117004 w 189841"/>
                <a:gd name="connsiteY215" fmla="*/ 113135 h 175170"/>
                <a:gd name="connsiteX216" fmla="*/ 116421 w 189841"/>
                <a:gd name="connsiteY216" fmla="*/ 113112 h 175170"/>
                <a:gd name="connsiteX217" fmla="*/ 116082 w 189841"/>
                <a:gd name="connsiteY217" fmla="*/ 112703 h 175170"/>
                <a:gd name="connsiteX218" fmla="*/ 116063 w 189841"/>
                <a:gd name="connsiteY218" fmla="*/ 111689 h 175170"/>
                <a:gd name="connsiteX219" fmla="*/ 126076 w 189841"/>
                <a:gd name="connsiteY219" fmla="*/ 110085 h 175170"/>
                <a:gd name="connsiteX220" fmla="*/ 128615 w 189841"/>
                <a:gd name="connsiteY220" fmla="*/ 111057 h 175170"/>
                <a:gd name="connsiteX221" fmla="*/ 128492 w 189841"/>
                <a:gd name="connsiteY221" fmla="*/ 111670 h 175170"/>
                <a:gd name="connsiteX222" fmla="*/ 127283 w 189841"/>
                <a:gd name="connsiteY222" fmla="*/ 112383 h 175170"/>
                <a:gd name="connsiteX223" fmla="*/ 125169 w 189841"/>
                <a:gd name="connsiteY223" fmla="*/ 112540 h 175170"/>
                <a:gd name="connsiteX224" fmla="*/ 125292 w 189841"/>
                <a:gd name="connsiteY224" fmla="*/ 110592 h 175170"/>
                <a:gd name="connsiteX225" fmla="*/ 148259 w 189841"/>
                <a:gd name="connsiteY225" fmla="*/ 105865 h 175170"/>
                <a:gd name="connsiteX226" fmla="*/ 147054 w 189841"/>
                <a:gd name="connsiteY226" fmla="*/ 107265 h 175170"/>
                <a:gd name="connsiteX227" fmla="*/ 145020 w 189841"/>
                <a:gd name="connsiteY227" fmla="*/ 108570 h 175170"/>
                <a:gd name="connsiteX228" fmla="*/ 141138 w 189841"/>
                <a:gd name="connsiteY228" fmla="*/ 109568 h 175170"/>
                <a:gd name="connsiteX229" fmla="*/ 140101 w 189841"/>
                <a:gd name="connsiteY229" fmla="*/ 109666 h 175170"/>
                <a:gd name="connsiteX230" fmla="*/ 140418 w 189841"/>
                <a:gd name="connsiteY230" fmla="*/ 108645 h 175170"/>
                <a:gd name="connsiteX231" fmla="*/ 142399 w 189841"/>
                <a:gd name="connsiteY231" fmla="*/ 106873 h 175170"/>
                <a:gd name="connsiteX232" fmla="*/ 145167 w 189841"/>
                <a:gd name="connsiteY232" fmla="*/ 106786 h 175170"/>
                <a:gd name="connsiteX233" fmla="*/ 147689 w 189841"/>
                <a:gd name="connsiteY233" fmla="*/ 105898 h 175170"/>
                <a:gd name="connsiteX234" fmla="*/ 119248 w 189841"/>
                <a:gd name="connsiteY234" fmla="*/ 105703 h 175170"/>
                <a:gd name="connsiteX235" fmla="*/ 120408 w 189841"/>
                <a:gd name="connsiteY235" fmla="*/ 106538 h 175170"/>
                <a:gd name="connsiteX236" fmla="*/ 123362 w 189841"/>
                <a:gd name="connsiteY236" fmla="*/ 106981 h 175170"/>
                <a:gd name="connsiteX237" fmla="*/ 124035 w 189841"/>
                <a:gd name="connsiteY237" fmla="*/ 107775 h 175170"/>
                <a:gd name="connsiteX238" fmla="*/ 123215 w 189841"/>
                <a:gd name="connsiteY238" fmla="*/ 109423 h 175170"/>
                <a:gd name="connsiteX239" fmla="*/ 121835 w 189841"/>
                <a:gd name="connsiteY239" fmla="*/ 109169 h 175170"/>
                <a:gd name="connsiteX240" fmla="*/ 119527 w 189841"/>
                <a:gd name="connsiteY240" fmla="*/ 107396 h 175170"/>
                <a:gd name="connsiteX241" fmla="*/ 118738 w 189841"/>
                <a:gd name="connsiteY241" fmla="*/ 106591 h 175170"/>
                <a:gd name="connsiteX242" fmla="*/ 118300 w 189841"/>
                <a:gd name="connsiteY242" fmla="*/ 105799 h 175170"/>
                <a:gd name="connsiteX243" fmla="*/ 104648 w 189841"/>
                <a:gd name="connsiteY243" fmla="*/ 105651 h 175170"/>
                <a:gd name="connsiteX244" fmla="*/ 105128 w 189841"/>
                <a:gd name="connsiteY244" fmla="*/ 106512 h 175170"/>
                <a:gd name="connsiteX245" fmla="*/ 104136 w 189841"/>
                <a:gd name="connsiteY245" fmla="*/ 108356 h 175170"/>
                <a:gd name="connsiteX246" fmla="*/ 102655 w 189841"/>
                <a:gd name="connsiteY246" fmla="*/ 109597 h 175170"/>
                <a:gd name="connsiteX247" fmla="*/ 102401 w 189841"/>
                <a:gd name="connsiteY247" fmla="*/ 107736 h 175170"/>
                <a:gd name="connsiteX248" fmla="*/ 103350 w 189841"/>
                <a:gd name="connsiteY248" fmla="*/ 105778 h 175170"/>
                <a:gd name="connsiteX249" fmla="*/ 158719 w 189841"/>
                <a:gd name="connsiteY249" fmla="*/ 102358 h 175170"/>
                <a:gd name="connsiteX250" fmla="*/ 161438 w 189841"/>
                <a:gd name="connsiteY250" fmla="*/ 103201 h 175170"/>
                <a:gd name="connsiteX251" fmla="*/ 162194 w 189841"/>
                <a:gd name="connsiteY251" fmla="*/ 103111 h 175170"/>
                <a:gd name="connsiteX252" fmla="*/ 163479 w 189841"/>
                <a:gd name="connsiteY252" fmla="*/ 103417 h 175170"/>
                <a:gd name="connsiteX253" fmla="*/ 163820 w 189841"/>
                <a:gd name="connsiteY253" fmla="*/ 104971 h 175170"/>
                <a:gd name="connsiteX254" fmla="*/ 162118 w 189841"/>
                <a:gd name="connsiteY254" fmla="*/ 105196 h 175170"/>
                <a:gd name="connsiteX255" fmla="*/ 159173 w 189841"/>
                <a:gd name="connsiteY255" fmla="*/ 106622 h 175170"/>
                <a:gd name="connsiteX256" fmla="*/ 157920 w 189841"/>
                <a:gd name="connsiteY256" fmla="*/ 106309 h 175170"/>
                <a:gd name="connsiteX257" fmla="*/ 156422 w 189841"/>
                <a:gd name="connsiteY257" fmla="*/ 105069 h 175170"/>
                <a:gd name="connsiteX258" fmla="*/ 154042 w 189841"/>
                <a:gd name="connsiteY258" fmla="*/ 104940 h 175170"/>
                <a:gd name="connsiteX259" fmla="*/ 153338 w 189841"/>
                <a:gd name="connsiteY259" fmla="*/ 104602 h 175170"/>
                <a:gd name="connsiteX260" fmla="*/ 154612 w 189841"/>
                <a:gd name="connsiteY260" fmla="*/ 103140 h 175170"/>
                <a:gd name="connsiteX261" fmla="*/ 156927 w 189841"/>
                <a:gd name="connsiteY261" fmla="*/ 102400 h 175170"/>
                <a:gd name="connsiteX262" fmla="*/ 23108 w 189841"/>
                <a:gd name="connsiteY262" fmla="*/ 99333 h 175170"/>
                <a:gd name="connsiteX263" fmla="*/ 24593 w 189841"/>
                <a:gd name="connsiteY263" fmla="*/ 101294 h 175170"/>
                <a:gd name="connsiteX264" fmla="*/ 26388 w 189841"/>
                <a:gd name="connsiteY264" fmla="*/ 101608 h 175170"/>
                <a:gd name="connsiteX265" fmla="*/ 27463 w 189841"/>
                <a:gd name="connsiteY265" fmla="*/ 102513 h 175170"/>
                <a:gd name="connsiteX266" fmla="*/ 29795 w 189841"/>
                <a:gd name="connsiteY266" fmla="*/ 105004 h 175170"/>
                <a:gd name="connsiteX267" fmla="*/ 27919 w 189841"/>
                <a:gd name="connsiteY267" fmla="*/ 104387 h 175170"/>
                <a:gd name="connsiteX268" fmla="*/ 25917 w 189841"/>
                <a:gd name="connsiteY268" fmla="*/ 106110 h 175170"/>
                <a:gd name="connsiteX269" fmla="*/ 23380 w 189841"/>
                <a:gd name="connsiteY269" fmla="*/ 104097 h 175170"/>
                <a:gd name="connsiteX270" fmla="*/ 21860 w 189841"/>
                <a:gd name="connsiteY270" fmla="*/ 102058 h 175170"/>
                <a:gd name="connsiteX271" fmla="*/ 21516 w 189841"/>
                <a:gd name="connsiteY271" fmla="*/ 101241 h 175170"/>
                <a:gd name="connsiteX272" fmla="*/ 113744 w 189841"/>
                <a:gd name="connsiteY272" fmla="*/ 97780 h 175170"/>
                <a:gd name="connsiteX273" fmla="*/ 115173 w 189841"/>
                <a:gd name="connsiteY273" fmla="*/ 99739 h 175170"/>
                <a:gd name="connsiteX274" fmla="*/ 117412 w 189841"/>
                <a:gd name="connsiteY274" fmla="*/ 99967 h 175170"/>
                <a:gd name="connsiteX275" fmla="*/ 117238 w 189841"/>
                <a:gd name="connsiteY275" fmla="*/ 101174 h 175170"/>
                <a:gd name="connsiteX276" fmla="*/ 117946 w 189841"/>
                <a:gd name="connsiteY276" fmla="*/ 102729 h 175170"/>
                <a:gd name="connsiteX277" fmla="*/ 118194 w 189841"/>
                <a:gd name="connsiteY277" fmla="*/ 103684 h 175170"/>
                <a:gd name="connsiteX278" fmla="*/ 117542 w 189841"/>
                <a:gd name="connsiteY278" fmla="*/ 105403 h 175170"/>
                <a:gd name="connsiteX279" fmla="*/ 115814 w 189841"/>
                <a:gd name="connsiteY279" fmla="*/ 103405 h 175170"/>
                <a:gd name="connsiteX280" fmla="*/ 113923 w 189841"/>
                <a:gd name="connsiteY280" fmla="*/ 102035 h 175170"/>
                <a:gd name="connsiteX281" fmla="*/ 113215 w 189841"/>
                <a:gd name="connsiteY281" fmla="*/ 100840 h 175170"/>
                <a:gd name="connsiteX282" fmla="*/ 112062 w 189841"/>
                <a:gd name="connsiteY282" fmla="*/ 100118 h 175170"/>
                <a:gd name="connsiteX283" fmla="*/ 111748 w 189841"/>
                <a:gd name="connsiteY283" fmla="*/ 98509 h 175170"/>
                <a:gd name="connsiteX284" fmla="*/ 113146 w 189841"/>
                <a:gd name="connsiteY284" fmla="*/ 97847 h 175170"/>
                <a:gd name="connsiteX285" fmla="*/ 84849 w 189841"/>
                <a:gd name="connsiteY285" fmla="*/ 97755 h 175170"/>
                <a:gd name="connsiteX286" fmla="*/ 85553 w 189841"/>
                <a:gd name="connsiteY286" fmla="*/ 97885 h 175170"/>
                <a:gd name="connsiteX287" fmla="*/ 85981 w 189841"/>
                <a:gd name="connsiteY287" fmla="*/ 98290 h 175170"/>
                <a:gd name="connsiteX288" fmla="*/ 86337 w 189841"/>
                <a:gd name="connsiteY288" fmla="*/ 99426 h 175170"/>
                <a:gd name="connsiteX289" fmla="*/ 85462 w 189841"/>
                <a:gd name="connsiteY289" fmla="*/ 100060 h 175170"/>
                <a:gd name="connsiteX290" fmla="*/ 84475 w 189841"/>
                <a:gd name="connsiteY290" fmla="*/ 100028 h 175170"/>
                <a:gd name="connsiteX291" fmla="*/ 83778 w 189841"/>
                <a:gd name="connsiteY291" fmla="*/ 99795 h 175170"/>
                <a:gd name="connsiteX292" fmla="*/ 83426 w 189841"/>
                <a:gd name="connsiteY292" fmla="*/ 99289 h 175170"/>
                <a:gd name="connsiteX293" fmla="*/ 83862 w 189841"/>
                <a:gd name="connsiteY293" fmla="*/ 99047 h 175170"/>
                <a:gd name="connsiteX294" fmla="*/ 84374 w 189841"/>
                <a:gd name="connsiteY294" fmla="*/ 98030 h 175170"/>
                <a:gd name="connsiteX295" fmla="*/ 20270 w 189841"/>
                <a:gd name="connsiteY295" fmla="*/ 85327 h 175170"/>
                <a:gd name="connsiteX296" fmla="*/ 21357 w 189841"/>
                <a:gd name="connsiteY296" fmla="*/ 87684 h 175170"/>
                <a:gd name="connsiteX297" fmla="*/ 21631 w 189841"/>
                <a:gd name="connsiteY297" fmla="*/ 90652 h 175170"/>
                <a:gd name="connsiteX298" fmla="*/ 23190 w 189841"/>
                <a:gd name="connsiteY298" fmla="*/ 91209 h 175170"/>
                <a:gd name="connsiteX299" fmla="*/ 25261 w 189841"/>
                <a:gd name="connsiteY299" fmla="*/ 93882 h 175170"/>
                <a:gd name="connsiteX300" fmla="*/ 25082 w 189841"/>
                <a:gd name="connsiteY300" fmla="*/ 95249 h 175170"/>
                <a:gd name="connsiteX301" fmla="*/ 24652 w 189841"/>
                <a:gd name="connsiteY301" fmla="*/ 95717 h 175170"/>
                <a:gd name="connsiteX302" fmla="*/ 21221 w 189841"/>
                <a:gd name="connsiteY302" fmla="*/ 94456 h 175170"/>
                <a:gd name="connsiteX303" fmla="*/ 20398 w 189841"/>
                <a:gd name="connsiteY303" fmla="*/ 95022 h 175170"/>
                <a:gd name="connsiteX304" fmla="*/ 19394 w 189841"/>
                <a:gd name="connsiteY304" fmla="*/ 94792 h 175170"/>
                <a:gd name="connsiteX305" fmla="*/ 18774 w 189841"/>
                <a:gd name="connsiteY305" fmla="*/ 93316 h 175170"/>
                <a:gd name="connsiteX306" fmla="*/ 18845 w 189841"/>
                <a:gd name="connsiteY306" fmla="*/ 92797 h 175170"/>
                <a:gd name="connsiteX307" fmla="*/ 18284 w 189841"/>
                <a:gd name="connsiteY307" fmla="*/ 91913 h 175170"/>
                <a:gd name="connsiteX308" fmla="*/ 17815 w 189841"/>
                <a:gd name="connsiteY308" fmla="*/ 91518 h 175170"/>
                <a:gd name="connsiteX309" fmla="*/ 16464 w 189841"/>
                <a:gd name="connsiteY309" fmla="*/ 92692 h 175170"/>
                <a:gd name="connsiteX310" fmla="*/ 15612 w 189841"/>
                <a:gd name="connsiteY310" fmla="*/ 92912 h 175170"/>
                <a:gd name="connsiteX311" fmla="*/ 15606 w 189841"/>
                <a:gd name="connsiteY311" fmla="*/ 91837 h 175170"/>
                <a:gd name="connsiteX312" fmla="*/ 16854 w 189841"/>
                <a:gd name="connsiteY312" fmla="*/ 88881 h 175170"/>
                <a:gd name="connsiteX313" fmla="*/ 17437 w 189841"/>
                <a:gd name="connsiteY313" fmla="*/ 88382 h 175170"/>
                <a:gd name="connsiteX314" fmla="*/ 18463 w 189841"/>
                <a:gd name="connsiteY314" fmla="*/ 89358 h 175170"/>
                <a:gd name="connsiteX315" fmla="*/ 19307 w 189841"/>
                <a:gd name="connsiteY315" fmla="*/ 88995 h 175170"/>
                <a:gd name="connsiteX316" fmla="*/ 19942 w 189841"/>
                <a:gd name="connsiteY316" fmla="*/ 87396 h 175170"/>
                <a:gd name="connsiteX317" fmla="*/ 19985 w 189841"/>
                <a:gd name="connsiteY317" fmla="*/ 85801 h 175170"/>
                <a:gd name="connsiteX318" fmla="*/ 22184 w 189841"/>
                <a:gd name="connsiteY318" fmla="*/ 85094 h 175170"/>
                <a:gd name="connsiteX319" fmla="*/ 22739 w 189841"/>
                <a:gd name="connsiteY319" fmla="*/ 85292 h 175170"/>
                <a:gd name="connsiteX320" fmla="*/ 23324 w 189841"/>
                <a:gd name="connsiteY320" fmla="*/ 85933 h 175170"/>
                <a:gd name="connsiteX321" fmla="*/ 23319 w 189841"/>
                <a:gd name="connsiteY321" fmla="*/ 86588 h 175170"/>
                <a:gd name="connsiteX322" fmla="*/ 23553 w 189841"/>
                <a:gd name="connsiteY322" fmla="*/ 87290 h 175170"/>
                <a:gd name="connsiteX323" fmla="*/ 24162 w 189841"/>
                <a:gd name="connsiteY323" fmla="*/ 88136 h 175170"/>
                <a:gd name="connsiteX324" fmla="*/ 24593 w 189841"/>
                <a:gd name="connsiteY324" fmla="*/ 89070 h 175170"/>
                <a:gd name="connsiteX325" fmla="*/ 23501 w 189841"/>
                <a:gd name="connsiteY325" fmla="*/ 89348 h 175170"/>
                <a:gd name="connsiteX326" fmla="*/ 22110 w 189841"/>
                <a:gd name="connsiteY326" fmla="*/ 86887 h 175170"/>
                <a:gd name="connsiteX327" fmla="*/ 21607 w 189841"/>
                <a:gd name="connsiteY327" fmla="*/ 85189 h 175170"/>
                <a:gd name="connsiteX328" fmla="*/ 140766 w 189841"/>
                <a:gd name="connsiteY328" fmla="*/ 82063 h 175170"/>
                <a:gd name="connsiteX329" fmla="*/ 142932 w 189841"/>
                <a:gd name="connsiteY329" fmla="*/ 83533 h 175170"/>
                <a:gd name="connsiteX330" fmla="*/ 144036 w 189841"/>
                <a:gd name="connsiteY330" fmla="*/ 83634 h 175170"/>
                <a:gd name="connsiteX331" fmla="*/ 143612 w 189841"/>
                <a:gd name="connsiteY331" fmla="*/ 85038 h 175170"/>
                <a:gd name="connsiteX332" fmla="*/ 143798 w 189841"/>
                <a:gd name="connsiteY332" fmla="*/ 85494 h 175170"/>
                <a:gd name="connsiteX333" fmla="*/ 143962 w 189841"/>
                <a:gd name="connsiteY333" fmla="*/ 89751 h 175170"/>
                <a:gd name="connsiteX334" fmla="*/ 142939 w 189841"/>
                <a:gd name="connsiteY334" fmla="*/ 90350 h 175170"/>
                <a:gd name="connsiteX335" fmla="*/ 142770 w 189841"/>
                <a:gd name="connsiteY335" fmla="*/ 91518 h 175170"/>
                <a:gd name="connsiteX336" fmla="*/ 142569 w 189841"/>
                <a:gd name="connsiteY336" fmla="*/ 91932 h 175170"/>
                <a:gd name="connsiteX337" fmla="*/ 140458 w 189841"/>
                <a:gd name="connsiteY337" fmla="*/ 93383 h 175170"/>
                <a:gd name="connsiteX338" fmla="*/ 138100 w 189841"/>
                <a:gd name="connsiteY338" fmla="*/ 91283 h 175170"/>
                <a:gd name="connsiteX339" fmla="*/ 137711 w 189841"/>
                <a:gd name="connsiteY339" fmla="*/ 90607 h 175170"/>
                <a:gd name="connsiteX340" fmla="*/ 139442 w 189841"/>
                <a:gd name="connsiteY340" fmla="*/ 89759 h 175170"/>
                <a:gd name="connsiteX341" fmla="*/ 140300 w 189841"/>
                <a:gd name="connsiteY341" fmla="*/ 88451 h 175170"/>
                <a:gd name="connsiteX342" fmla="*/ 139604 w 189841"/>
                <a:gd name="connsiteY342" fmla="*/ 86844 h 175170"/>
                <a:gd name="connsiteX343" fmla="*/ 137201 w 189841"/>
                <a:gd name="connsiteY343" fmla="*/ 84466 h 175170"/>
                <a:gd name="connsiteX344" fmla="*/ 137087 w 189841"/>
                <a:gd name="connsiteY344" fmla="*/ 82776 h 175170"/>
                <a:gd name="connsiteX345" fmla="*/ 23166 w 189841"/>
                <a:gd name="connsiteY345" fmla="*/ 75808 h 175170"/>
                <a:gd name="connsiteX346" fmla="*/ 23730 w 189841"/>
                <a:gd name="connsiteY346" fmla="*/ 76971 h 175170"/>
                <a:gd name="connsiteX347" fmla="*/ 23624 w 189841"/>
                <a:gd name="connsiteY347" fmla="*/ 81119 h 175170"/>
                <a:gd name="connsiteX348" fmla="*/ 23002 w 189841"/>
                <a:gd name="connsiteY348" fmla="*/ 81883 h 175170"/>
                <a:gd name="connsiteX349" fmla="*/ 22143 w 189841"/>
                <a:gd name="connsiteY349" fmla="*/ 82082 h 175170"/>
                <a:gd name="connsiteX350" fmla="*/ 21402 w 189841"/>
                <a:gd name="connsiteY350" fmla="*/ 81946 h 175170"/>
                <a:gd name="connsiteX351" fmla="*/ 20730 w 189841"/>
                <a:gd name="connsiteY351" fmla="*/ 82063 h 175170"/>
                <a:gd name="connsiteX352" fmla="*/ 20083 w 189841"/>
                <a:gd name="connsiteY352" fmla="*/ 82556 h 175170"/>
                <a:gd name="connsiteX353" fmla="*/ 20154 w 189841"/>
                <a:gd name="connsiteY353" fmla="*/ 80513 h 175170"/>
                <a:gd name="connsiteX354" fmla="*/ 20918 w 189841"/>
                <a:gd name="connsiteY354" fmla="*/ 77978 h 175170"/>
                <a:gd name="connsiteX355" fmla="*/ 21851 w 189841"/>
                <a:gd name="connsiteY355" fmla="*/ 76496 h 175170"/>
                <a:gd name="connsiteX356" fmla="*/ 107004 w 189841"/>
                <a:gd name="connsiteY356" fmla="*/ 72294 h 175170"/>
                <a:gd name="connsiteX357" fmla="*/ 108738 w 189841"/>
                <a:gd name="connsiteY357" fmla="*/ 73277 h 175170"/>
                <a:gd name="connsiteX358" fmla="*/ 109118 w 189841"/>
                <a:gd name="connsiteY358" fmla="*/ 74914 h 175170"/>
                <a:gd name="connsiteX359" fmla="*/ 111185 w 189841"/>
                <a:gd name="connsiteY359" fmla="*/ 76712 h 175170"/>
                <a:gd name="connsiteX360" fmla="*/ 108848 w 189841"/>
                <a:gd name="connsiteY360" fmla="*/ 77341 h 175170"/>
                <a:gd name="connsiteX361" fmla="*/ 108228 w 189841"/>
                <a:gd name="connsiteY361" fmla="*/ 77242 h 175170"/>
                <a:gd name="connsiteX362" fmla="*/ 108749 w 189841"/>
                <a:gd name="connsiteY362" fmla="*/ 76448 h 175170"/>
                <a:gd name="connsiteX363" fmla="*/ 108790 w 189841"/>
                <a:gd name="connsiteY363" fmla="*/ 76114 h 175170"/>
                <a:gd name="connsiteX364" fmla="*/ 106460 w 189841"/>
                <a:gd name="connsiteY364" fmla="*/ 74662 h 175170"/>
                <a:gd name="connsiteX365" fmla="*/ 106734 w 189841"/>
                <a:gd name="connsiteY365" fmla="*/ 72775 h 175170"/>
                <a:gd name="connsiteX366" fmla="*/ 81068 w 189841"/>
                <a:gd name="connsiteY366" fmla="*/ 70881 h 175170"/>
                <a:gd name="connsiteX367" fmla="*/ 83340 w 189841"/>
                <a:gd name="connsiteY367" fmla="*/ 72853 h 175170"/>
                <a:gd name="connsiteX368" fmla="*/ 84590 w 189841"/>
                <a:gd name="connsiteY368" fmla="*/ 75656 h 175170"/>
                <a:gd name="connsiteX369" fmla="*/ 85762 w 189841"/>
                <a:gd name="connsiteY369" fmla="*/ 76602 h 175170"/>
                <a:gd name="connsiteX370" fmla="*/ 88222 w 189841"/>
                <a:gd name="connsiteY370" fmla="*/ 77718 h 175170"/>
                <a:gd name="connsiteX371" fmla="*/ 89377 w 189841"/>
                <a:gd name="connsiteY371" fmla="*/ 77860 h 175170"/>
                <a:gd name="connsiteX372" fmla="*/ 93573 w 189841"/>
                <a:gd name="connsiteY372" fmla="*/ 79875 h 175170"/>
                <a:gd name="connsiteX373" fmla="*/ 98455 w 189841"/>
                <a:gd name="connsiteY373" fmla="*/ 80277 h 175170"/>
                <a:gd name="connsiteX374" fmla="*/ 99086 w 189841"/>
                <a:gd name="connsiteY374" fmla="*/ 80857 h 175170"/>
                <a:gd name="connsiteX375" fmla="*/ 99686 w 189841"/>
                <a:gd name="connsiteY375" fmla="*/ 82409 h 175170"/>
                <a:gd name="connsiteX376" fmla="*/ 100682 w 189841"/>
                <a:gd name="connsiteY376" fmla="*/ 83626 h 175170"/>
                <a:gd name="connsiteX377" fmla="*/ 100932 w 189841"/>
                <a:gd name="connsiteY377" fmla="*/ 84573 h 175170"/>
                <a:gd name="connsiteX378" fmla="*/ 100412 w 189841"/>
                <a:gd name="connsiteY378" fmla="*/ 85623 h 175170"/>
                <a:gd name="connsiteX379" fmla="*/ 101133 w 189841"/>
                <a:gd name="connsiteY379" fmla="*/ 88834 h 175170"/>
                <a:gd name="connsiteX380" fmla="*/ 102364 w 189841"/>
                <a:gd name="connsiteY380" fmla="*/ 91881 h 175170"/>
                <a:gd name="connsiteX381" fmla="*/ 104219 w 189841"/>
                <a:gd name="connsiteY381" fmla="*/ 93358 h 175170"/>
                <a:gd name="connsiteX382" fmla="*/ 106525 w 189841"/>
                <a:gd name="connsiteY382" fmla="*/ 93804 h 175170"/>
                <a:gd name="connsiteX383" fmla="*/ 108721 w 189841"/>
                <a:gd name="connsiteY383" fmla="*/ 93743 h 175170"/>
                <a:gd name="connsiteX384" fmla="*/ 109276 w 189841"/>
                <a:gd name="connsiteY384" fmla="*/ 94347 h 175170"/>
                <a:gd name="connsiteX385" fmla="*/ 109058 w 189841"/>
                <a:gd name="connsiteY385" fmla="*/ 97010 h 175170"/>
                <a:gd name="connsiteX386" fmla="*/ 108129 w 189841"/>
                <a:gd name="connsiteY386" fmla="*/ 98046 h 175170"/>
                <a:gd name="connsiteX387" fmla="*/ 107374 w 189841"/>
                <a:gd name="connsiteY387" fmla="*/ 98298 h 175170"/>
                <a:gd name="connsiteX388" fmla="*/ 106717 w 189841"/>
                <a:gd name="connsiteY388" fmla="*/ 98026 h 175170"/>
                <a:gd name="connsiteX389" fmla="*/ 106123 w 189841"/>
                <a:gd name="connsiteY389" fmla="*/ 97399 h 175170"/>
                <a:gd name="connsiteX390" fmla="*/ 105476 w 189841"/>
                <a:gd name="connsiteY390" fmla="*/ 97103 h 175170"/>
                <a:gd name="connsiteX391" fmla="*/ 104214 w 189841"/>
                <a:gd name="connsiteY391" fmla="*/ 97051 h 175170"/>
                <a:gd name="connsiteX392" fmla="*/ 103292 w 189841"/>
                <a:gd name="connsiteY392" fmla="*/ 95979 h 175170"/>
                <a:gd name="connsiteX393" fmla="*/ 100954 w 189841"/>
                <a:gd name="connsiteY393" fmla="*/ 94512 h 175170"/>
                <a:gd name="connsiteX394" fmla="*/ 100524 w 189841"/>
                <a:gd name="connsiteY394" fmla="*/ 93637 h 175170"/>
                <a:gd name="connsiteX395" fmla="*/ 100446 w 189841"/>
                <a:gd name="connsiteY395" fmla="*/ 92285 h 175170"/>
                <a:gd name="connsiteX396" fmla="*/ 99453 w 189841"/>
                <a:gd name="connsiteY396" fmla="*/ 91289 h 175170"/>
                <a:gd name="connsiteX397" fmla="*/ 98540 w 189841"/>
                <a:gd name="connsiteY397" fmla="*/ 89393 h 175170"/>
                <a:gd name="connsiteX398" fmla="*/ 97671 w 189841"/>
                <a:gd name="connsiteY398" fmla="*/ 88870 h 175170"/>
                <a:gd name="connsiteX399" fmla="*/ 97192 w 189841"/>
                <a:gd name="connsiteY399" fmla="*/ 87921 h 175170"/>
                <a:gd name="connsiteX400" fmla="*/ 97153 w 189841"/>
                <a:gd name="connsiteY400" fmla="*/ 87513 h 175170"/>
                <a:gd name="connsiteX401" fmla="*/ 93750 w 189841"/>
                <a:gd name="connsiteY401" fmla="*/ 87237 h 175170"/>
                <a:gd name="connsiteX402" fmla="*/ 90932 w 189841"/>
                <a:gd name="connsiteY402" fmla="*/ 87224 h 175170"/>
                <a:gd name="connsiteX403" fmla="*/ 88544 w 189841"/>
                <a:gd name="connsiteY403" fmla="*/ 86147 h 175170"/>
                <a:gd name="connsiteX404" fmla="*/ 87805 w 189841"/>
                <a:gd name="connsiteY404" fmla="*/ 83329 h 175170"/>
                <a:gd name="connsiteX405" fmla="*/ 86389 w 189841"/>
                <a:gd name="connsiteY405" fmla="*/ 82571 h 175170"/>
                <a:gd name="connsiteX406" fmla="*/ 85326 w 189841"/>
                <a:gd name="connsiteY406" fmla="*/ 81773 h 175170"/>
                <a:gd name="connsiteX407" fmla="*/ 84441 w 189841"/>
                <a:gd name="connsiteY407" fmla="*/ 80667 h 175170"/>
                <a:gd name="connsiteX408" fmla="*/ 82204 w 189841"/>
                <a:gd name="connsiteY408" fmla="*/ 78627 h 175170"/>
                <a:gd name="connsiteX409" fmla="*/ 79729 w 189841"/>
                <a:gd name="connsiteY409" fmla="*/ 76918 h 175170"/>
                <a:gd name="connsiteX410" fmla="*/ 77337 w 189841"/>
                <a:gd name="connsiteY410" fmla="*/ 75793 h 175170"/>
                <a:gd name="connsiteX411" fmla="*/ 74797 w 189841"/>
                <a:gd name="connsiteY411" fmla="*/ 75055 h 175170"/>
                <a:gd name="connsiteX412" fmla="*/ 72733 w 189841"/>
                <a:gd name="connsiteY412" fmla="*/ 75926 h 175170"/>
                <a:gd name="connsiteX413" fmla="*/ 71530 w 189841"/>
                <a:gd name="connsiteY413" fmla="*/ 75719 h 175170"/>
                <a:gd name="connsiteX414" fmla="*/ 71286 w 189841"/>
                <a:gd name="connsiteY414" fmla="*/ 75130 h 175170"/>
                <a:gd name="connsiteX415" fmla="*/ 73851 w 189841"/>
                <a:gd name="connsiteY415" fmla="*/ 73957 h 175170"/>
                <a:gd name="connsiteX416" fmla="*/ 77378 w 189841"/>
                <a:gd name="connsiteY416" fmla="*/ 71714 h 175170"/>
                <a:gd name="connsiteX417" fmla="*/ 79863 w 189841"/>
                <a:gd name="connsiteY417" fmla="*/ 70973 h 175170"/>
                <a:gd name="connsiteX418" fmla="*/ 87287 w 189841"/>
                <a:gd name="connsiteY418" fmla="*/ 66387 h 175170"/>
                <a:gd name="connsiteX419" fmla="*/ 91396 w 189841"/>
                <a:gd name="connsiteY419" fmla="*/ 68825 h 175170"/>
                <a:gd name="connsiteX420" fmla="*/ 90409 w 189841"/>
                <a:gd name="connsiteY420" fmla="*/ 69700 h 175170"/>
                <a:gd name="connsiteX421" fmla="*/ 88883 w 189841"/>
                <a:gd name="connsiteY421" fmla="*/ 69317 h 175170"/>
                <a:gd name="connsiteX422" fmla="*/ 95622 w 189841"/>
                <a:gd name="connsiteY422" fmla="*/ 64855 h 175170"/>
                <a:gd name="connsiteX423" fmla="*/ 94933 w 189841"/>
                <a:gd name="connsiteY423" fmla="*/ 66595 h 175170"/>
                <a:gd name="connsiteX424" fmla="*/ 93789 w 189841"/>
                <a:gd name="connsiteY424" fmla="*/ 67688 h 175170"/>
                <a:gd name="connsiteX425" fmla="*/ 92755 w 189841"/>
                <a:gd name="connsiteY425" fmla="*/ 67992 h 175170"/>
                <a:gd name="connsiteX426" fmla="*/ 93791 w 189841"/>
                <a:gd name="connsiteY426" fmla="*/ 65926 h 175170"/>
                <a:gd name="connsiteX427" fmla="*/ 148180 w 189841"/>
                <a:gd name="connsiteY427" fmla="*/ 61866 h 175170"/>
                <a:gd name="connsiteX428" fmla="*/ 149559 w 189841"/>
                <a:gd name="connsiteY428" fmla="*/ 63255 h 175170"/>
                <a:gd name="connsiteX429" fmla="*/ 149175 w 189841"/>
                <a:gd name="connsiteY429" fmla="*/ 64793 h 175170"/>
                <a:gd name="connsiteX430" fmla="*/ 152233 w 189841"/>
                <a:gd name="connsiteY430" fmla="*/ 67340 h 175170"/>
                <a:gd name="connsiteX431" fmla="*/ 153276 w 189841"/>
                <a:gd name="connsiteY431" fmla="*/ 68951 h 175170"/>
                <a:gd name="connsiteX432" fmla="*/ 153660 w 189841"/>
                <a:gd name="connsiteY432" fmla="*/ 70521 h 175170"/>
                <a:gd name="connsiteX433" fmla="*/ 153403 w 189841"/>
                <a:gd name="connsiteY433" fmla="*/ 70971 h 175170"/>
                <a:gd name="connsiteX434" fmla="*/ 152243 w 189841"/>
                <a:gd name="connsiteY434" fmla="*/ 70120 h 175170"/>
                <a:gd name="connsiteX435" fmla="*/ 151296 w 189841"/>
                <a:gd name="connsiteY435" fmla="*/ 69849 h 175170"/>
                <a:gd name="connsiteX436" fmla="*/ 151615 w 189841"/>
                <a:gd name="connsiteY436" fmla="*/ 70971 h 175170"/>
                <a:gd name="connsiteX437" fmla="*/ 152589 w 189841"/>
                <a:gd name="connsiteY437" fmla="*/ 71935 h 175170"/>
                <a:gd name="connsiteX438" fmla="*/ 150855 w 189841"/>
                <a:gd name="connsiteY438" fmla="*/ 72487 h 175170"/>
                <a:gd name="connsiteX439" fmla="*/ 149117 w 189841"/>
                <a:gd name="connsiteY439" fmla="*/ 72458 h 175170"/>
                <a:gd name="connsiteX440" fmla="*/ 144046 w 189841"/>
                <a:gd name="connsiteY440" fmla="*/ 71115 h 175170"/>
                <a:gd name="connsiteX441" fmla="*/ 142876 w 189841"/>
                <a:gd name="connsiteY441" fmla="*/ 69688 h 175170"/>
                <a:gd name="connsiteX442" fmla="*/ 145910 w 189841"/>
                <a:gd name="connsiteY442" fmla="*/ 67538 h 175170"/>
                <a:gd name="connsiteX443" fmla="*/ 146530 w 189841"/>
                <a:gd name="connsiteY443" fmla="*/ 66672 h 175170"/>
                <a:gd name="connsiteX444" fmla="*/ 144381 w 189841"/>
                <a:gd name="connsiteY444" fmla="*/ 66757 h 175170"/>
                <a:gd name="connsiteX445" fmla="*/ 142090 w 189841"/>
                <a:gd name="connsiteY445" fmla="*/ 69311 h 175170"/>
                <a:gd name="connsiteX446" fmla="*/ 138417 w 189841"/>
                <a:gd name="connsiteY446" fmla="*/ 68189 h 175170"/>
                <a:gd name="connsiteX447" fmla="*/ 137294 w 189841"/>
                <a:gd name="connsiteY447" fmla="*/ 67162 h 175170"/>
                <a:gd name="connsiteX448" fmla="*/ 137043 w 189841"/>
                <a:gd name="connsiteY448" fmla="*/ 66608 h 175170"/>
                <a:gd name="connsiteX449" fmla="*/ 138490 w 189841"/>
                <a:gd name="connsiteY449" fmla="*/ 64341 h 175170"/>
                <a:gd name="connsiteX450" fmla="*/ 141075 w 189841"/>
                <a:gd name="connsiteY450" fmla="*/ 64417 h 175170"/>
                <a:gd name="connsiteX451" fmla="*/ 142444 w 189841"/>
                <a:gd name="connsiteY451" fmla="*/ 63907 h 175170"/>
                <a:gd name="connsiteX452" fmla="*/ 144135 w 189841"/>
                <a:gd name="connsiteY452" fmla="*/ 63190 h 175170"/>
                <a:gd name="connsiteX453" fmla="*/ 144148 w 189841"/>
                <a:gd name="connsiteY453" fmla="*/ 62112 h 175170"/>
                <a:gd name="connsiteX454" fmla="*/ 4248 w 189841"/>
                <a:gd name="connsiteY454" fmla="*/ 50509 h 175170"/>
                <a:gd name="connsiteX455" fmla="*/ 5422 w 189841"/>
                <a:gd name="connsiteY455" fmla="*/ 51103 h 175170"/>
                <a:gd name="connsiteX456" fmla="*/ 6182 w 189841"/>
                <a:gd name="connsiteY456" fmla="*/ 51716 h 175170"/>
                <a:gd name="connsiteX457" fmla="*/ 6420 w 189841"/>
                <a:gd name="connsiteY457" fmla="*/ 52418 h 175170"/>
                <a:gd name="connsiteX458" fmla="*/ 4770 w 189841"/>
                <a:gd name="connsiteY458" fmla="*/ 53826 h 175170"/>
                <a:gd name="connsiteX459" fmla="*/ 4427 w 189841"/>
                <a:gd name="connsiteY459" fmla="*/ 54463 h 175170"/>
                <a:gd name="connsiteX460" fmla="*/ 5697 w 189841"/>
                <a:gd name="connsiteY460" fmla="*/ 55727 h 175170"/>
                <a:gd name="connsiteX461" fmla="*/ 5675 w 189841"/>
                <a:gd name="connsiteY461" fmla="*/ 56233 h 175170"/>
                <a:gd name="connsiteX462" fmla="*/ 6211 w 189841"/>
                <a:gd name="connsiteY462" fmla="*/ 58677 h 175170"/>
                <a:gd name="connsiteX463" fmla="*/ 6828 w 189841"/>
                <a:gd name="connsiteY463" fmla="*/ 59599 h 175170"/>
                <a:gd name="connsiteX464" fmla="*/ 8430 w 189841"/>
                <a:gd name="connsiteY464" fmla="*/ 60334 h 175170"/>
                <a:gd name="connsiteX465" fmla="*/ 9540 w 189841"/>
                <a:gd name="connsiteY465" fmla="*/ 60577 h 175170"/>
                <a:gd name="connsiteX466" fmla="*/ 10020 w 189841"/>
                <a:gd name="connsiteY466" fmla="*/ 62032 h 175170"/>
                <a:gd name="connsiteX467" fmla="*/ 7265 w 189841"/>
                <a:gd name="connsiteY467" fmla="*/ 61129 h 175170"/>
                <a:gd name="connsiteX468" fmla="*/ 5252 w 189841"/>
                <a:gd name="connsiteY468" fmla="*/ 59829 h 175170"/>
                <a:gd name="connsiteX469" fmla="*/ 3591 w 189841"/>
                <a:gd name="connsiteY469" fmla="*/ 56615 h 175170"/>
                <a:gd name="connsiteX470" fmla="*/ 54 w 189841"/>
                <a:gd name="connsiteY470" fmla="*/ 52953 h 175170"/>
                <a:gd name="connsiteX471" fmla="*/ 0 w 189841"/>
                <a:gd name="connsiteY471" fmla="*/ 51889 h 175170"/>
                <a:gd name="connsiteX472" fmla="*/ 1345 w 189841"/>
                <a:gd name="connsiteY472" fmla="*/ 51082 h 175170"/>
                <a:gd name="connsiteX473" fmla="*/ 128309 w 189841"/>
                <a:gd name="connsiteY473" fmla="*/ 44914 h 175170"/>
                <a:gd name="connsiteX474" fmla="*/ 128056 w 189841"/>
                <a:gd name="connsiteY474" fmla="*/ 46257 h 175170"/>
                <a:gd name="connsiteX475" fmla="*/ 127220 w 189841"/>
                <a:gd name="connsiteY475" fmla="*/ 47137 h 175170"/>
                <a:gd name="connsiteX476" fmla="*/ 126605 w 189841"/>
                <a:gd name="connsiteY476" fmla="*/ 48654 h 175170"/>
                <a:gd name="connsiteX477" fmla="*/ 126272 w 189841"/>
                <a:gd name="connsiteY477" fmla="*/ 50821 h 175170"/>
                <a:gd name="connsiteX478" fmla="*/ 124983 w 189841"/>
                <a:gd name="connsiteY478" fmla="*/ 50873 h 175170"/>
                <a:gd name="connsiteX479" fmla="*/ 124202 w 189841"/>
                <a:gd name="connsiteY479" fmla="*/ 50435 h 175170"/>
                <a:gd name="connsiteX480" fmla="*/ 123945 w 189841"/>
                <a:gd name="connsiteY480" fmla="*/ 49616 h 175170"/>
                <a:gd name="connsiteX481" fmla="*/ 123893 w 189841"/>
                <a:gd name="connsiteY481" fmla="*/ 48581 h 175170"/>
                <a:gd name="connsiteX482" fmla="*/ 123327 w 189841"/>
                <a:gd name="connsiteY482" fmla="*/ 48621 h 175170"/>
                <a:gd name="connsiteX483" fmla="*/ 122871 w 189841"/>
                <a:gd name="connsiteY483" fmla="*/ 49746 h 175170"/>
                <a:gd name="connsiteX484" fmla="*/ 122472 w 189841"/>
                <a:gd name="connsiteY484" fmla="*/ 50253 h 175170"/>
                <a:gd name="connsiteX485" fmla="*/ 121174 w 189841"/>
                <a:gd name="connsiteY485" fmla="*/ 50360 h 175170"/>
                <a:gd name="connsiteX486" fmla="*/ 119753 w 189841"/>
                <a:gd name="connsiteY486" fmla="*/ 49668 h 175170"/>
                <a:gd name="connsiteX487" fmla="*/ 119820 w 189841"/>
                <a:gd name="connsiteY487" fmla="*/ 48171 h 175170"/>
                <a:gd name="connsiteX488" fmla="*/ 119535 w 189841"/>
                <a:gd name="connsiteY488" fmla="*/ 46438 h 175170"/>
                <a:gd name="connsiteX489" fmla="*/ 119660 w 189841"/>
                <a:gd name="connsiteY489" fmla="*/ 45831 h 175170"/>
                <a:gd name="connsiteX490" fmla="*/ 123556 w 189841"/>
                <a:gd name="connsiteY490" fmla="*/ 45681 h 175170"/>
                <a:gd name="connsiteX491" fmla="*/ 124696 w 189841"/>
                <a:gd name="connsiteY491" fmla="*/ 46961 h 175170"/>
                <a:gd name="connsiteX492" fmla="*/ 126074 w 189841"/>
                <a:gd name="connsiteY492" fmla="*/ 46219 h 175170"/>
                <a:gd name="connsiteX493" fmla="*/ 126639 w 189841"/>
                <a:gd name="connsiteY493" fmla="*/ 45417 h 175170"/>
                <a:gd name="connsiteX494" fmla="*/ 130950 w 189841"/>
                <a:gd name="connsiteY494" fmla="*/ 32341 h 175170"/>
                <a:gd name="connsiteX495" fmla="*/ 132183 w 189841"/>
                <a:gd name="connsiteY495" fmla="*/ 32966 h 175170"/>
                <a:gd name="connsiteX496" fmla="*/ 133066 w 189841"/>
                <a:gd name="connsiteY496" fmla="*/ 33702 h 175170"/>
                <a:gd name="connsiteX497" fmla="*/ 133541 w 189841"/>
                <a:gd name="connsiteY497" fmla="*/ 34679 h 175170"/>
                <a:gd name="connsiteX498" fmla="*/ 131040 w 189841"/>
                <a:gd name="connsiteY498" fmla="*/ 35363 h 175170"/>
                <a:gd name="connsiteX499" fmla="*/ 128285 w 189841"/>
                <a:gd name="connsiteY499" fmla="*/ 33206 h 175170"/>
                <a:gd name="connsiteX500" fmla="*/ 110049 w 189841"/>
                <a:gd name="connsiteY500" fmla="*/ 25075 h 175170"/>
                <a:gd name="connsiteX501" fmla="*/ 112167 w 189841"/>
                <a:gd name="connsiteY501" fmla="*/ 25249 h 175170"/>
                <a:gd name="connsiteX502" fmla="*/ 113372 w 189841"/>
                <a:gd name="connsiteY502" fmla="*/ 26719 h 175170"/>
                <a:gd name="connsiteX503" fmla="*/ 113653 w 189841"/>
                <a:gd name="connsiteY503" fmla="*/ 27413 h 175170"/>
                <a:gd name="connsiteX504" fmla="*/ 113262 w 189841"/>
                <a:gd name="connsiteY504" fmla="*/ 28592 h 175170"/>
                <a:gd name="connsiteX505" fmla="*/ 113385 w 189841"/>
                <a:gd name="connsiteY505" fmla="*/ 29738 h 175170"/>
                <a:gd name="connsiteX506" fmla="*/ 110548 w 189841"/>
                <a:gd name="connsiteY506" fmla="*/ 30675 h 175170"/>
                <a:gd name="connsiteX507" fmla="*/ 107665 w 189841"/>
                <a:gd name="connsiteY507" fmla="*/ 28903 h 175170"/>
                <a:gd name="connsiteX508" fmla="*/ 107691 w 189841"/>
                <a:gd name="connsiteY508" fmla="*/ 27849 h 175170"/>
                <a:gd name="connsiteX509" fmla="*/ 109213 w 189841"/>
                <a:gd name="connsiteY509" fmla="*/ 25709 h 175170"/>
                <a:gd name="connsiteX510" fmla="*/ 144925 w 189841"/>
                <a:gd name="connsiteY510" fmla="*/ 0 h 175170"/>
                <a:gd name="connsiteX511" fmla="*/ 147585 w 189841"/>
                <a:gd name="connsiteY511" fmla="*/ 721 h 175170"/>
                <a:gd name="connsiteX512" fmla="*/ 149568 w 189841"/>
                <a:gd name="connsiteY512" fmla="*/ 1256 h 175170"/>
                <a:gd name="connsiteX513" fmla="*/ 150717 w 189841"/>
                <a:gd name="connsiteY513" fmla="*/ 2129 h 175170"/>
                <a:gd name="connsiteX514" fmla="*/ 151436 w 189841"/>
                <a:gd name="connsiteY514" fmla="*/ 2926 h 175170"/>
                <a:gd name="connsiteX515" fmla="*/ 152530 w 189841"/>
                <a:gd name="connsiteY515" fmla="*/ 3614 h 175170"/>
                <a:gd name="connsiteX516" fmla="*/ 153345 w 189841"/>
                <a:gd name="connsiteY516" fmla="*/ 3772 h 175170"/>
                <a:gd name="connsiteX517" fmla="*/ 153973 w 189841"/>
                <a:gd name="connsiteY517" fmla="*/ 6128 h 175170"/>
                <a:gd name="connsiteX518" fmla="*/ 154308 w 189841"/>
                <a:gd name="connsiteY518" fmla="*/ 9045 h 175170"/>
                <a:gd name="connsiteX519" fmla="*/ 153809 w 189841"/>
                <a:gd name="connsiteY519" fmla="*/ 10301 h 175170"/>
                <a:gd name="connsiteX520" fmla="*/ 152351 w 189841"/>
                <a:gd name="connsiteY520" fmla="*/ 10592 h 175170"/>
                <a:gd name="connsiteX521" fmla="*/ 147802 w 189841"/>
                <a:gd name="connsiteY521" fmla="*/ 13345 h 175170"/>
                <a:gd name="connsiteX522" fmla="*/ 147692 w 189841"/>
                <a:gd name="connsiteY522" fmla="*/ 15861 h 175170"/>
                <a:gd name="connsiteX523" fmla="*/ 147752 w 189841"/>
                <a:gd name="connsiteY523" fmla="*/ 17079 h 175170"/>
                <a:gd name="connsiteX524" fmla="*/ 147845 w 189841"/>
                <a:gd name="connsiteY524" fmla="*/ 17940 h 175170"/>
                <a:gd name="connsiteX525" fmla="*/ 148320 w 189841"/>
                <a:gd name="connsiteY525" fmla="*/ 18665 h 175170"/>
                <a:gd name="connsiteX526" fmla="*/ 148320 w 189841"/>
                <a:gd name="connsiteY526" fmla="*/ 19710 h 175170"/>
                <a:gd name="connsiteX527" fmla="*/ 147810 w 189841"/>
                <a:gd name="connsiteY527" fmla="*/ 20829 h 175170"/>
                <a:gd name="connsiteX528" fmla="*/ 145823 w 189841"/>
                <a:gd name="connsiteY528" fmla="*/ 22703 h 175170"/>
                <a:gd name="connsiteX529" fmla="*/ 144446 w 189841"/>
                <a:gd name="connsiteY529" fmla="*/ 24193 h 175170"/>
                <a:gd name="connsiteX530" fmla="*/ 142904 w 189841"/>
                <a:gd name="connsiteY530" fmla="*/ 26211 h 175170"/>
                <a:gd name="connsiteX531" fmla="*/ 142032 w 189841"/>
                <a:gd name="connsiteY531" fmla="*/ 26457 h 175170"/>
                <a:gd name="connsiteX532" fmla="*/ 141352 w 189841"/>
                <a:gd name="connsiteY532" fmla="*/ 26812 h 175170"/>
                <a:gd name="connsiteX533" fmla="*/ 140727 w 189841"/>
                <a:gd name="connsiteY533" fmla="*/ 25699 h 175170"/>
                <a:gd name="connsiteX534" fmla="*/ 137298 w 189841"/>
                <a:gd name="connsiteY534" fmla="*/ 23731 h 175170"/>
                <a:gd name="connsiteX535" fmla="*/ 129362 w 189841"/>
                <a:gd name="connsiteY535" fmla="*/ 22583 h 175170"/>
                <a:gd name="connsiteX536" fmla="*/ 125571 w 189841"/>
                <a:gd name="connsiteY536" fmla="*/ 21129 h 175170"/>
                <a:gd name="connsiteX537" fmla="*/ 123908 w 189841"/>
                <a:gd name="connsiteY537" fmla="*/ 21399 h 175170"/>
                <a:gd name="connsiteX538" fmla="*/ 120688 w 189841"/>
                <a:gd name="connsiteY538" fmla="*/ 19771 h 175170"/>
                <a:gd name="connsiteX539" fmla="*/ 118481 w 189841"/>
                <a:gd name="connsiteY539" fmla="*/ 20486 h 175170"/>
                <a:gd name="connsiteX540" fmla="*/ 113800 w 189841"/>
                <a:gd name="connsiteY540" fmla="*/ 23378 h 175170"/>
                <a:gd name="connsiteX541" fmla="*/ 111273 w 189841"/>
                <a:gd name="connsiteY541" fmla="*/ 23064 h 175170"/>
                <a:gd name="connsiteX542" fmla="*/ 108572 w 189841"/>
                <a:gd name="connsiteY542" fmla="*/ 21326 h 175170"/>
                <a:gd name="connsiteX543" fmla="*/ 106814 w 189841"/>
                <a:gd name="connsiteY543" fmla="*/ 21006 h 175170"/>
                <a:gd name="connsiteX544" fmla="*/ 104752 w 189841"/>
                <a:gd name="connsiteY544" fmla="*/ 21927 h 175170"/>
                <a:gd name="connsiteX545" fmla="*/ 101448 w 189841"/>
                <a:gd name="connsiteY545" fmla="*/ 25253 h 175170"/>
                <a:gd name="connsiteX546" fmla="*/ 98086 w 189841"/>
                <a:gd name="connsiteY546" fmla="*/ 26882 h 175170"/>
                <a:gd name="connsiteX547" fmla="*/ 95074 w 189841"/>
                <a:gd name="connsiteY547" fmla="*/ 26245 h 175170"/>
                <a:gd name="connsiteX548" fmla="*/ 91021 w 189841"/>
                <a:gd name="connsiteY548" fmla="*/ 26259 h 175170"/>
                <a:gd name="connsiteX549" fmla="*/ 90588 w 189841"/>
                <a:gd name="connsiteY549" fmla="*/ 28117 h 175170"/>
                <a:gd name="connsiteX550" fmla="*/ 91373 w 189841"/>
                <a:gd name="connsiteY550" fmla="*/ 29402 h 175170"/>
                <a:gd name="connsiteX551" fmla="*/ 93588 w 189841"/>
                <a:gd name="connsiteY551" fmla="*/ 31593 h 175170"/>
                <a:gd name="connsiteX552" fmla="*/ 92549 w 189841"/>
                <a:gd name="connsiteY552" fmla="*/ 33239 h 175170"/>
                <a:gd name="connsiteX553" fmla="*/ 93320 w 189841"/>
                <a:gd name="connsiteY553" fmla="*/ 34888 h 175170"/>
                <a:gd name="connsiteX554" fmla="*/ 94763 w 189841"/>
                <a:gd name="connsiteY554" fmla="*/ 35223 h 175170"/>
                <a:gd name="connsiteX555" fmla="*/ 96942 w 189841"/>
                <a:gd name="connsiteY555" fmla="*/ 35130 h 175170"/>
                <a:gd name="connsiteX556" fmla="*/ 100971 w 189841"/>
                <a:gd name="connsiteY556" fmla="*/ 37263 h 175170"/>
                <a:gd name="connsiteX557" fmla="*/ 102733 w 189841"/>
                <a:gd name="connsiteY557" fmla="*/ 39510 h 175170"/>
                <a:gd name="connsiteX558" fmla="*/ 103858 w 189841"/>
                <a:gd name="connsiteY558" fmla="*/ 41968 h 175170"/>
                <a:gd name="connsiteX559" fmla="*/ 101405 w 189841"/>
                <a:gd name="connsiteY559" fmla="*/ 40206 h 175170"/>
                <a:gd name="connsiteX560" fmla="*/ 99777 w 189841"/>
                <a:gd name="connsiteY560" fmla="*/ 38511 h 175170"/>
                <a:gd name="connsiteX561" fmla="*/ 97505 w 189841"/>
                <a:gd name="connsiteY561" fmla="*/ 37896 h 175170"/>
                <a:gd name="connsiteX562" fmla="*/ 94346 w 189841"/>
                <a:gd name="connsiteY562" fmla="*/ 36452 h 175170"/>
                <a:gd name="connsiteX563" fmla="*/ 92362 w 189841"/>
                <a:gd name="connsiteY563" fmla="*/ 36211 h 175170"/>
                <a:gd name="connsiteX564" fmla="*/ 90250 w 189841"/>
                <a:gd name="connsiteY564" fmla="*/ 37212 h 175170"/>
                <a:gd name="connsiteX565" fmla="*/ 90085 w 189841"/>
                <a:gd name="connsiteY565" fmla="*/ 38348 h 175170"/>
                <a:gd name="connsiteX566" fmla="*/ 92362 w 189841"/>
                <a:gd name="connsiteY566" fmla="*/ 40468 h 175170"/>
                <a:gd name="connsiteX567" fmla="*/ 94443 w 189841"/>
                <a:gd name="connsiteY567" fmla="*/ 41772 h 175170"/>
                <a:gd name="connsiteX568" fmla="*/ 95547 w 189841"/>
                <a:gd name="connsiteY568" fmla="*/ 42833 h 175170"/>
                <a:gd name="connsiteX569" fmla="*/ 96283 w 189841"/>
                <a:gd name="connsiteY569" fmla="*/ 45180 h 175170"/>
                <a:gd name="connsiteX570" fmla="*/ 95864 w 189841"/>
                <a:gd name="connsiteY570" fmla="*/ 45977 h 175170"/>
                <a:gd name="connsiteX571" fmla="*/ 95095 w 189841"/>
                <a:gd name="connsiteY571" fmla="*/ 46719 h 175170"/>
                <a:gd name="connsiteX572" fmla="*/ 92625 w 189841"/>
                <a:gd name="connsiteY572" fmla="*/ 45241 h 175170"/>
                <a:gd name="connsiteX573" fmla="*/ 88848 w 189841"/>
                <a:gd name="connsiteY573" fmla="*/ 39980 h 175170"/>
                <a:gd name="connsiteX574" fmla="*/ 83579 w 189841"/>
                <a:gd name="connsiteY574" fmla="*/ 38931 h 175170"/>
                <a:gd name="connsiteX575" fmla="*/ 82698 w 189841"/>
                <a:gd name="connsiteY575" fmla="*/ 40029 h 175170"/>
                <a:gd name="connsiteX576" fmla="*/ 83733 w 189841"/>
                <a:gd name="connsiteY576" fmla="*/ 42811 h 175170"/>
                <a:gd name="connsiteX577" fmla="*/ 84482 w 189841"/>
                <a:gd name="connsiteY577" fmla="*/ 43894 h 175170"/>
                <a:gd name="connsiteX578" fmla="*/ 89060 w 189841"/>
                <a:gd name="connsiteY578" fmla="*/ 46894 h 175170"/>
                <a:gd name="connsiteX579" fmla="*/ 88693 w 189841"/>
                <a:gd name="connsiteY579" fmla="*/ 47530 h 175170"/>
                <a:gd name="connsiteX580" fmla="*/ 88025 w 189841"/>
                <a:gd name="connsiteY580" fmla="*/ 47801 h 175170"/>
                <a:gd name="connsiteX581" fmla="*/ 82901 w 189841"/>
                <a:gd name="connsiteY581" fmla="*/ 46087 h 175170"/>
                <a:gd name="connsiteX582" fmla="*/ 81411 w 189841"/>
                <a:gd name="connsiteY582" fmla="*/ 43476 h 175170"/>
                <a:gd name="connsiteX583" fmla="*/ 81053 w 189841"/>
                <a:gd name="connsiteY583" fmla="*/ 40173 h 175170"/>
                <a:gd name="connsiteX584" fmla="*/ 76324 w 189841"/>
                <a:gd name="connsiteY584" fmla="*/ 37877 h 175170"/>
                <a:gd name="connsiteX585" fmla="*/ 71864 w 189841"/>
                <a:gd name="connsiteY585" fmla="*/ 35377 h 175170"/>
                <a:gd name="connsiteX586" fmla="*/ 70867 w 189841"/>
                <a:gd name="connsiteY586" fmla="*/ 33002 h 175170"/>
                <a:gd name="connsiteX587" fmla="*/ 71785 w 189841"/>
                <a:gd name="connsiteY587" fmla="*/ 32121 h 175170"/>
                <a:gd name="connsiteX588" fmla="*/ 72435 w 189841"/>
                <a:gd name="connsiteY588" fmla="*/ 30375 h 175170"/>
                <a:gd name="connsiteX589" fmla="*/ 69984 w 189841"/>
                <a:gd name="connsiteY589" fmla="*/ 30697 h 175170"/>
                <a:gd name="connsiteX590" fmla="*/ 68446 w 189841"/>
                <a:gd name="connsiteY590" fmla="*/ 31801 h 175170"/>
                <a:gd name="connsiteX591" fmla="*/ 65961 w 189841"/>
                <a:gd name="connsiteY591" fmla="*/ 32872 h 175170"/>
                <a:gd name="connsiteX592" fmla="*/ 65859 w 189841"/>
                <a:gd name="connsiteY592" fmla="*/ 34625 h 175170"/>
                <a:gd name="connsiteX593" fmla="*/ 66252 w 189841"/>
                <a:gd name="connsiteY593" fmla="*/ 36248 h 175170"/>
                <a:gd name="connsiteX594" fmla="*/ 65430 w 189841"/>
                <a:gd name="connsiteY594" fmla="*/ 38606 h 175170"/>
                <a:gd name="connsiteX595" fmla="*/ 64631 w 189841"/>
                <a:gd name="connsiteY595" fmla="*/ 42709 h 175170"/>
                <a:gd name="connsiteX596" fmla="*/ 65136 w 189841"/>
                <a:gd name="connsiteY596" fmla="*/ 44859 h 175170"/>
                <a:gd name="connsiteX597" fmla="*/ 70521 w 189841"/>
                <a:gd name="connsiteY597" fmla="*/ 51017 h 175170"/>
                <a:gd name="connsiteX598" fmla="*/ 72363 w 189841"/>
                <a:gd name="connsiteY598" fmla="*/ 55482 h 175170"/>
                <a:gd name="connsiteX599" fmla="*/ 73685 w 189841"/>
                <a:gd name="connsiteY599" fmla="*/ 57173 h 175170"/>
                <a:gd name="connsiteX600" fmla="*/ 76441 w 189841"/>
                <a:gd name="connsiteY600" fmla="*/ 59037 h 175170"/>
                <a:gd name="connsiteX601" fmla="*/ 79314 w 189841"/>
                <a:gd name="connsiteY601" fmla="*/ 62503 h 175170"/>
                <a:gd name="connsiteX602" fmla="*/ 80533 w 189841"/>
                <a:gd name="connsiteY602" fmla="*/ 64308 h 175170"/>
                <a:gd name="connsiteX603" fmla="*/ 81400 w 189841"/>
                <a:gd name="connsiteY603" fmla="*/ 67259 h 175170"/>
                <a:gd name="connsiteX604" fmla="*/ 78982 w 189841"/>
                <a:gd name="connsiteY604" fmla="*/ 69084 h 175170"/>
                <a:gd name="connsiteX605" fmla="*/ 77574 w 189841"/>
                <a:gd name="connsiteY605" fmla="*/ 69160 h 175170"/>
                <a:gd name="connsiteX606" fmla="*/ 76794 w 189841"/>
                <a:gd name="connsiteY606" fmla="*/ 68350 h 175170"/>
                <a:gd name="connsiteX607" fmla="*/ 77885 w 189841"/>
                <a:gd name="connsiteY607" fmla="*/ 66339 h 175170"/>
                <a:gd name="connsiteX608" fmla="*/ 77730 w 189841"/>
                <a:gd name="connsiteY608" fmla="*/ 65113 h 175170"/>
                <a:gd name="connsiteX609" fmla="*/ 73996 w 189841"/>
                <a:gd name="connsiteY609" fmla="*/ 63214 h 175170"/>
                <a:gd name="connsiteX610" fmla="*/ 72415 w 189841"/>
                <a:gd name="connsiteY610" fmla="*/ 63854 h 175170"/>
                <a:gd name="connsiteX611" fmla="*/ 70593 w 189841"/>
                <a:gd name="connsiteY611" fmla="*/ 65091 h 175170"/>
                <a:gd name="connsiteX612" fmla="*/ 71633 w 189841"/>
                <a:gd name="connsiteY612" fmla="*/ 67387 h 175170"/>
                <a:gd name="connsiteX613" fmla="*/ 72804 w 189841"/>
                <a:gd name="connsiteY613" fmla="*/ 68899 h 175170"/>
                <a:gd name="connsiteX614" fmla="*/ 73391 w 189841"/>
                <a:gd name="connsiteY614" fmla="*/ 70984 h 175170"/>
                <a:gd name="connsiteX615" fmla="*/ 75629 w 189841"/>
                <a:gd name="connsiteY615" fmla="*/ 70803 h 175170"/>
                <a:gd name="connsiteX616" fmla="*/ 72616 w 189841"/>
                <a:gd name="connsiteY616" fmla="*/ 73135 h 175170"/>
                <a:gd name="connsiteX617" fmla="*/ 69789 w 189841"/>
                <a:gd name="connsiteY617" fmla="*/ 74326 h 175170"/>
                <a:gd name="connsiteX618" fmla="*/ 67008 w 189841"/>
                <a:gd name="connsiteY618" fmla="*/ 74395 h 175170"/>
                <a:gd name="connsiteX619" fmla="*/ 65237 w 189841"/>
                <a:gd name="connsiteY619" fmla="*/ 74611 h 175170"/>
                <a:gd name="connsiteX620" fmla="*/ 64627 w 189841"/>
                <a:gd name="connsiteY620" fmla="*/ 75207 h 175170"/>
                <a:gd name="connsiteX621" fmla="*/ 66067 w 189841"/>
                <a:gd name="connsiteY621" fmla="*/ 75641 h 175170"/>
                <a:gd name="connsiteX622" fmla="*/ 67243 w 189841"/>
                <a:gd name="connsiteY622" fmla="*/ 75680 h 175170"/>
                <a:gd name="connsiteX623" fmla="*/ 69157 w 189841"/>
                <a:gd name="connsiteY623" fmla="*/ 76939 h 175170"/>
                <a:gd name="connsiteX624" fmla="*/ 74603 w 189841"/>
                <a:gd name="connsiteY624" fmla="*/ 78449 h 175170"/>
                <a:gd name="connsiteX625" fmla="*/ 77198 w 189841"/>
                <a:gd name="connsiteY625" fmla="*/ 80355 h 175170"/>
                <a:gd name="connsiteX626" fmla="*/ 79747 w 189841"/>
                <a:gd name="connsiteY626" fmla="*/ 80529 h 175170"/>
                <a:gd name="connsiteX627" fmla="*/ 82312 w 189841"/>
                <a:gd name="connsiteY627" fmla="*/ 84025 h 175170"/>
                <a:gd name="connsiteX628" fmla="*/ 86749 w 189841"/>
                <a:gd name="connsiteY628" fmla="*/ 84955 h 175170"/>
                <a:gd name="connsiteX629" fmla="*/ 89278 w 189841"/>
                <a:gd name="connsiteY629" fmla="*/ 88478 h 175170"/>
                <a:gd name="connsiteX630" fmla="*/ 92640 w 189841"/>
                <a:gd name="connsiteY630" fmla="*/ 89171 h 175170"/>
                <a:gd name="connsiteX631" fmla="*/ 95536 w 189841"/>
                <a:gd name="connsiteY631" fmla="*/ 90469 h 175170"/>
                <a:gd name="connsiteX632" fmla="*/ 96384 w 189841"/>
                <a:gd name="connsiteY632" fmla="*/ 91707 h 175170"/>
                <a:gd name="connsiteX633" fmla="*/ 96807 w 189841"/>
                <a:gd name="connsiteY633" fmla="*/ 93941 h 175170"/>
                <a:gd name="connsiteX634" fmla="*/ 96995 w 189841"/>
                <a:gd name="connsiteY634" fmla="*/ 98672 h 175170"/>
                <a:gd name="connsiteX635" fmla="*/ 97622 w 189841"/>
                <a:gd name="connsiteY635" fmla="*/ 102191 h 175170"/>
                <a:gd name="connsiteX636" fmla="*/ 97643 w 189841"/>
                <a:gd name="connsiteY636" fmla="*/ 103303 h 175170"/>
                <a:gd name="connsiteX637" fmla="*/ 97490 w 189841"/>
                <a:gd name="connsiteY637" fmla="*/ 104963 h 175170"/>
                <a:gd name="connsiteX638" fmla="*/ 96702 w 189841"/>
                <a:gd name="connsiteY638" fmla="*/ 105778 h 175170"/>
                <a:gd name="connsiteX639" fmla="*/ 95637 w 189841"/>
                <a:gd name="connsiteY639" fmla="*/ 105803 h 175170"/>
                <a:gd name="connsiteX640" fmla="*/ 93553 w 189841"/>
                <a:gd name="connsiteY640" fmla="*/ 103219 h 175170"/>
                <a:gd name="connsiteX641" fmla="*/ 90357 w 189841"/>
                <a:gd name="connsiteY641" fmla="*/ 100497 h 175170"/>
                <a:gd name="connsiteX642" fmla="*/ 86989 w 189841"/>
                <a:gd name="connsiteY642" fmla="*/ 97256 h 175170"/>
                <a:gd name="connsiteX643" fmla="*/ 86032 w 189841"/>
                <a:gd name="connsiteY643" fmla="*/ 96687 h 175170"/>
                <a:gd name="connsiteX644" fmla="*/ 85249 w 189841"/>
                <a:gd name="connsiteY644" fmla="*/ 96633 h 175170"/>
                <a:gd name="connsiteX645" fmla="*/ 83446 w 189841"/>
                <a:gd name="connsiteY645" fmla="*/ 97730 h 175170"/>
                <a:gd name="connsiteX646" fmla="*/ 78436 w 189841"/>
                <a:gd name="connsiteY646" fmla="*/ 98577 h 175170"/>
                <a:gd name="connsiteX647" fmla="*/ 76086 w 189841"/>
                <a:gd name="connsiteY647" fmla="*/ 99761 h 175170"/>
                <a:gd name="connsiteX648" fmla="*/ 75203 w 189841"/>
                <a:gd name="connsiteY648" fmla="*/ 100022 h 175170"/>
                <a:gd name="connsiteX649" fmla="*/ 74957 w 189841"/>
                <a:gd name="connsiteY649" fmla="*/ 100643 h 175170"/>
                <a:gd name="connsiteX650" fmla="*/ 76058 w 189841"/>
                <a:gd name="connsiteY650" fmla="*/ 101290 h 175170"/>
                <a:gd name="connsiteX651" fmla="*/ 77408 w 189841"/>
                <a:gd name="connsiteY651" fmla="*/ 102770 h 175170"/>
                <a:gd name="connsiteX652" fmla="*/ 77408 w 189841"/>
                <a:gd name="connsiteY652" fmla="*/ 104793 h 175170"/>
                <a:gd name="connsiteX653" fmla="*/ 78522 w 189841"/>
                <a:gd name="connsiteY653" fmla="*/ 107248 h 175170"/>
                <a:gd name="connsiteX654" fmla="*/ 79962 w 189841"/>
                <a:gd name="connsiteY654" fmla="*/ 107882 h 175170"/>
                <a:gd name="connsiteX655" fmla="*/ 81839 w 189841"/>
                <a:gd name="connsiteY655" fmla="*/ 107828 h 175170"/>
                <a:gd name="connsiteX656" fmla="*/ 82914 w 189841"/>
                <a:gd name="connsiteY656" fmla="*/ 108281 h 175170"/>
                <a:gd name="connsiteX657" fmla="*/ 83193 w 189841"/>
                <a:gd name="connsiteY657" fmla="*/ 109258 h 175170"/>
                <a:gd name="connsiteX658" fmla="*/ 84283 w 189841"/>
                <a:gd name="connsiteY658" fmla="*/ 110398 h 175170"/>
                <a:gd name="connsiteX659" fmla="*/ 85002 w 189841"/>
                <a:gd name="connsiteY659" fmla="*/ 111242 h 175170"/>
                <a:gd name="connsiteX660" fmla="*/ 84972 w 189841"/>
                <a:gd name="connsiteY660" fmla="*/ 111846 h 175170"/>
                <a:gd name="connsiteX661" fmla="*/ 79738 w 189841"/>
                <a:gd name="connsiteY661" fmla="*/ 113451 h 175170"/>
                <a:gd name="connsiteX662" fmla="*/ 78643 w 189841"/>
                <a:gd name="connsiteY662" fmla="*/ 114184 h 175170"/>
                <a:gd name="connsiteX663" fmla="*/ 77725 w 189841"/>
                <a:gd name="connsiteY663" fmla="*/ 114559 h 175170"/>
                <a:gd name="connsiteX664" fmla="*/ 76365 w 189841"/>
                <a:gd name="connsiteY664" fmla="*/ 113796 h 175170"/>
                <a:gd name="connsiteX665" fmla="*/ 76287 w 189841"/>
                <a:gd name="connsiteY665" fmla="*/ 111836 h 175170"/>
                <a:gd name="connsiteX666" fmla="*/ 74488 w 189841"/>
                <a:gd name="connsiteY666" fmla="*/ 110784 h 175170"/>
                <a:gd name="connsiteX667" fmla="*/ 72838 w 189841"/>
                <a:gd name="connsiteY667" fmla="*/ 109883 h 175170"/>
                <a:gd name="connsiteX668" fmla="*/ 70861 w 189841"/>
                <a:gd name="connsiteY668" fmla="*/ 109496 h 175170"/>
                <a:gd name="connsiteX669" fmla="*/ 69178 w 189841"/>
                <a:gd name="connsiteY669" fmla="*/ 108146 h 175170"/>
                <a:gd name="connsiteX670" fmla="*/ 68081 w 189841"/>
                <a:gd name="connsiteY670" fmla="*/ 109243 h 175170"/>
                <a:gd name="connsiteX671" fmla="*/ 68958 w 189841"/>
                <a:gd name="connsiteY671" fmla="*/ 113042 h 175170"/>
                <a:gd name="connsiteX672" fmla="*/ 70861 w 189841"/>
                <a:gd name="connsiteY672" fmla="*/ 115656 h 175170"/>
                <a:gd name="connsiteX673" fmla="*/ 74043 w 189841"/>
                <a:gd name="connsiteY673" fmla="*/ 122656 h 175170"/>
                <a:gd name="connsiteX674" fmla="*/ 75488 w 189841"/>
                <a:gd name="connsiteY674" fmla="*/ 126783 h 175170"/>
                <a:gd name="connsiteX675" fmla="*/ 75780 w 189841"/>
                <a:gd name="connsiteY675" fmla="*/ 128778 h 175170"/>
                <a:gd name="connsiteX676" fmla="*/ 75060 w 189841"/>
                <a:gd name="connsiteY676" fmla="*/ 132087 h 175170"/>
                <a:gd name="connsiteX677" fmla="*/ 76624 w 189841"/>
                <a:gd name="connsiteY677" fmla="*/ 134544 h 175170"/>
                <a:gd name="connsiteX678" fmla="*/ 77695 w 189841"/>
                <a:gd name="connsiteY678" fmla="*/ 137065 h 175170"/>
                <a:gd name="connsiteX679" fmla="*/ 76516 w 189841"/>
                <a:gd name="connsiteY679" fmla="*/ 136970 h 175170"/>
                <a:gd name="connsiteX680" fmla="*/ 75493 w 189841"/>
                <a:gd name="connsiteY680" fmla="*/ 136081 h 175170"/>
                <a:gd name="connsiteX681" fmla="*/ 73776 w 189841"/>
                <a:gd name="connsiteY681" fmla="*/ 135032 h 175170"/>
                <a:gd name="connsiteX682" fmla="*/ 70446 w 189841"/>
                <a:gd name="connsiteY682" fmla="*/ 131007 h 175170"/>
                <a:gd name="connsiteX683" fmla="*/ 69286 w 189841"/>
                <a:gd name="connsiteY683" fmla="*/ 128493 h 175170"/>
                <a:gd name="connsiteX684" fmla="*/ 67900 w 189841"/>
                <a:gd name="connsiteY684" fmla="*/ 128296 h 175170"/>
                <a:gd name="connsiteX685" fmla="*/ 65494 w 189841"/>
                <a:gd name="connsiteY685" fmla="*/ 128657 h 175170"/>
                <a:gd name="connsiteX686" fmla="*/ 62856 w 189841"/>
                <a:gd name="connsiteY686" fmla="*/ 134024 h 175170"/>
                <a:gd name="connsiteX687" fmla="*/ 62864 w 189841"/>
                <a:gd name="connsiteY687" fmla="*/ 137095 h 175170"/>
                <a:gd name="connsiteX688" fmla="*/ 61500 w 189841"/>
                <a:gd name="connsiteY688" fmla="*/ 136364 h 175170"/>
                <a:gd name="connsiteX689" fmla="*/ 60329 w 189841"/>
                <a:gd name="connsiteY689" fmla="*/ 135407 h 175170"/>
                <a:gd name="connsiteX690" fmla="*/ 60472 w 189841"/>
                <a:gd name="connsiteY690" fmla="*/ 132045 h 175170"/>
                <a:gd name="connsiteX691" fmla="*/ 60355 w 189841"/>
                <a:gd name="connsiteY691" fmla="*/ 130632 h 175170"/>
                <a:gd name="connsiteX692" fmla="*/ 57153 w 189841"/>
                <a:gd name="connsiteY692" fmla="*/ 126045 h 175170"/>
                <a:gd name="connsiteX693" fmla="*/ 55684 w 189841"/>
                <a:gd name="connsiteY693" fmla="*/ 125530 h 175170"/>
                <a:gd name="connsiteX694" fmla="*/ 55000 w 189841"/>
                <a:gd name="connsiteY694" fmla="*/ 123978 h 175170"/>
                <a:gd name="connsiteX695" fmla="*/ 53821 w 189841"/>
                <a:gd name="connsiteY695" fmla="*/ 122324 h 175170"/>
                <a:gd name="connsiteX696" fmla="*/ 52301 w 189841"/>
                <a:gd name="connsiteY696" fmla="*/ 122641 h 175170"/>
                <a:gd name="connsiteX697" fmla="*/ 51059 w 189841"/>
                <a:gd name="connsiteY697" fmla="*/ 123312 h 175170"/>
                <a:gd name="connsiteX698" fmla="*/ 50716 w 189841"/>
                <a:gd name="connsiteY698" fmla="*/ 125811 h 175170"/>
                <a:gd name="connsiteX699" fmla="*/ 50588 w 189841"/>
                <a:gd name="connsiteY699" fmla="*/ 128050 h 175170"/>
                <a:gd name="connsiteX700" fmla="*/ 49662 w 189841"/>
                <a:gd name="connsiteY700" fmla="*/ 129734 h 175170"/>
                <a:gd name="connsiteX701" fmla="*/ 46250 w 189841"/>
                <a:gd name="connsiteY701" fmla="*/ 126536 h 175170"/>
                <a:gd name="connsiteX702" fmla="*/ 42819 w 189841"/>
                <a:gd name="connsiteY702" fmla="*/ 121001 h 175170"/>
                <a:gd name="connsiteX703" fmla="*/ 42728 w 189841"/>
                <a:gd name="connsiteY703" fmla="*/ 117960 h 175170"/>
                <a:gd name="connsiteX704" fmla="*/ 45242 w 189841"/>
                <a:gd name="connsiteY704" fmla="*/ 115185 h 175170"/>
                <a:gd name="connsiteX705" fmla="*/ 44941 w 189841"/>
                <a:gd name="connsiteY705" fmla="*/ 113198 h 175170"/>
                <a:gd name="connsiteX706" fmla="*/ 42562 w 189841"/>
                <a:gd name="connsiteY706" fmla="*/ 109272 h 175170"/>
                <a:gd name="connsiteX707" fmla="*/ 39133 w 189841"/>
                <a:gd name="connsiteY707" fmla="*/ 106744 h 175170"/>
                <a:gd name="connsiteX708" fmla="*/ 37211 w 189841"/>
                <a:gd name="connsiteY708" fmla="*/ 105993 h 175170"/>
                <a:gd name="connsiteX709" fmla="*/ 36308 w 189841"/>
                <a:gd name="connsiteY709" fmla="*/ 103303 h 175170"/>
                <a:gd name="connsiteX710" fmla="*/ 34468 w 189841"/>
                <a:gd name="connsiteY710" fmla="*/ 101912 h 175170"/>
                <a:gd name="connsiteX711" fmla="*/ 32980 w 189841"/>
                <a:gd name="connsiteY711" fmla="*/ 101264 h 175170"/>
                <a:gd name="connsiteX712" fmla="*/ 32687 w 189841"/>
                <a:gd name="connsiteY712" fmla="*/ 100305 h 175170"/>
                <a:gd name="connsiteX713" fmla="*/ 33136 w 189841"/>
                <a:gd name="connsiteY713" fmla="*/ 99595 h 175170"/>
                <a:gd name="connsiteX714" fmla="*/ 36742 w 189841"/>
                <a:gd name="connsiteY714" fmla="*/ 96823 h 175170"/>
                <a:gd name="connsiteX715" fmla="*/ 38856 w 189841"/>
                <a:gd name="connsiteY715" fmla="*/ 92481 h 175170"/>
                <a:gd name="connsiteX716" fmla="*/ 39906 w 189841"/>
                <a:gd name="connsiteY716" fmla="*/ 92274 h 175170"/>
                <a:gd name="connsiteX717" fmla="*/ 42063 w 189841"/>
                <a:gd name="connsiteY717" fmla="*/ 93304 h 175170"/>
                <a:gd name="connsiteX718" fmla="*/ 44488 w 189841"/>
                <a:gd name="connsiteY718" fmla="*/ 93035 h 175170"/>
                <a:gd name="connsiteX719" fmla="*/ 46479 w 189841"/>
                <a:gd name="connsiteY719" fmla="*/ 90489 h 175170"/>
                <a:gd name="connsiteX720" fmla="*/ 48165 w 189841"/>
                <a:gd name="connsiteY720" fmla="*/ 89103 h 175170"/>
                <a:gd name="connsiteX721" fmla="*/ 51009 w 189841"/>
                <a:gd name="connsiteY721" fmla="*/ 89282 h 175170"/>
                <a:gd name="connsiteX722" fmla="*/ 57431 w 189841"/>
                <a:gd name="connsiteY722" fmla="*/ 92685 h 175170"/>
                <a:gd name="connsiteX723" fmla="*/ 64333 w 189841"/>
                <a:gd name="connsiteY723" fmla="*/ 94623 h 175170"/>
                <a:gd name="connsiteX724" fmla="*/ 67775 w 189841"/>
                <a:gd name="connsiteY724" fmla="*/ 96324 h 175170"/>
                <a:gd name="connsiteX725" fmla="*/ 69722 w 189841"/>
                <a:gd name="connsiteY725" fmla="*/ 98009 h 175170"/>
                <a:gd name="connsiteX726" fmla="*/ 70757 w 189841"/>
                <a:gd name="connsiteY726" fmla="*/ 98358 h 175170"/>
                <a:gd name="connsiteX727" fmla="*/ 72392 w 189841"/>
                <a:gd name="connsiteY727" fmla="*/ 98596 h 175170"/>
                <a:gd name="connsiteX728" fmla="*/ 72318 w 189841"/>
                <a:gd name="connsiteY728" fmla="*/ 97336 h 175170"/>
                <a:gd name="connsiteX729" fmla="*/ 71791 w 189841"/>
                <a:gd name="connsiteY729" fmla="*/ 96221 h 175170"/>
                <a:gd name="connsiteX730" fmla="*/ 73154 w 189841"/>
                <a:gd name="connsiteY730" fmla="*/ 95614 h 175170"/>
                <a:gd name="connsiteX731" fmla="*/ 76853 w 189841"/>
                <a:gd name="connsiteY731" fmla="*/ 95646 h 175170"/>
                <a:gd name="connsiteX732" fmla="*/ 77526 w 189841"/>
                <a:gd name="connsiteY732" fmla="*/ 95055 h 175170"/>
                <a:gd name="connsiteX733" fmla="*/ 78211 w 189841"/>
                <a:gd name="connsiteY733" fmla="*/ 94098 h 175170"/>
                <a:gd name="connsiteX734" fmla="*/ 77447 w 189841"/>
                <a:gd name="connsiteY734" fmla="*/ 93010 h 175170"/>
                <a:gd name="connsiteX735" fmla="*/ 76222 w 189841"/>
                <a:gd name="connsiteY735" fmla="*/ 92487 h 175170"/>
                <a:gd name="connsiteX736" fmla="*/ 74913 w 189841"/>
                <a:gd name="connsiteY736" fmla="*/ 92342 h 175170"/>
                <a:gd name="connsiteX737" fmla="*/ 74052 w 189841"/>
                <a:gd name="connsiteY737" fmla="*/ 91997 h 175170"/>
                <a:gd name="connsiteX738" fmla="*/ 72661 w 189841"/>
                <a:gd name="connsiteY738" fmla="*/ 92345 h 175170"/>
                <a:gd name="connsiteX739" fmla="*/ 70491 w 189841"/>
                <a:gd name="connsiteY739" fmla="*/ 91504 h 175170"/>
                <a:gd name="connsiteX740" fmla="*/ 69370 w 189841"/>
                <a:gd name="connsiteY740" fmla="*/ 90810 h 175170"/>
                <a:gd name="connsiteX741" fmla="*/ 68712 w 189841"/>
                <a:gd name="connsiteY741" fmla="*/ 90096 h 175170"/>
                <a:gd name="connsiteX742" fmla="*/ 64942 w 189841"/>
                <a:gd name="connsiteY742" fmla="*/ 88672 h 175170"/>
                <a:gd name="connsiteX743" fmla="*/ 61366 w 189841"/>
                <a:gd name="connsiteY743" fmla="*/ 86264 h 175170"/>
                <a:gd name="connsiteX744" fmla="*/ 60560 w 189841"/>
                <a:gd name="connsiteY744" fmla="*/ 87627 h 175170"/>
                <a:gd name="connsiteX745" fmla="*/ 59116 w 189841"/>
                <a:gd name="connsiteY745" fmla="*/ 88366 h 175170"/>
                <a:gd name="connsiteX746" fmla="*/ 57058 w 189841"/>
                <a:gd name="connsiteY746" fmla="*/ 88468 h 175170"/>
                <a:gd name="connsiteX747" fmla="*/ 51275 w 189841"/>
                <a:gd name="connsiteY747" fmla="*/ 86935 h 175170"/>
                <a:gd name="connsiteX748" fmla="*/ 47722 w 189841"/>
                <a:gd name="connsiteY748" fmla="*/ 88105 h 175170"/>
                <a:gd name="connsiteX749" fmla="*/ 45786 w 189841"/>
                <a:gd name="connsiteY749" fmla="*/ 88412 h 175170"/>
                <a:gd name="connsiteX750" fmla="*/ 44304 w 189841"/>
                <a:gd name="connsiteY750" fmla="*/ 88438 h 175170"/>
                <a:gd name="connsiteX751" fmla="*/ 42482 w 189841"/>
                <a:gd name="connsiteY751" fmla="*/ 88963 h 175170"/>
                <a:gd name="connsiteX752" fmla="*/ 40379 w 189841"/>
                <a:gd name="connsiteY752" fmla="*/ 89277 h 175170"/>
                <a:gd name="connsiteX753" fmla="*/ 38556 w 189841"/>
                <a:gd name="connsiteY753" fmla="*/ 87054 h 175170"/>
                <a:gd name="connsiteX754" fmla="*/ 37789 w 189841"/>
                <a:gd name="connsiteY754" fmla="*/ 85331 h 175170"/>
                <a:gd name="connsiteX755" fmla="*/ 37249 w 189841"/>
                <a:gd name="connsiteY755" fmla="*/ 85009 h 175170"/>
                <a:gd name="connsiteX756" fmla="*/ 37222 w 189841"/>
                <a:gd name="connsiteY756" fmla="*/ 86628 h 175170"/>
                <a:gd name="connsiteX757" fmla="*/ 36636 w 189841"/>
                <a:gd name="connsiteY757" fmla="*/ 87926 h 175170"/>
                <a:gd name="connsiteX758" fmla="*/ 33968 w 189841"/>
                <a:gd name="connsiteY758" fmla="*/ 88655 h 175170"/>
                <a:gd name="connsiteX759" fmla="*/ 32432 w 189841"/>
                <a:gd name="connsiteY759" fmla="*/ 87650 h 175170"/>
                <a:gd name="connsiteX760" fmla="*/ 31251 w 189841"/>
                <a:gd name="connsiteY760" fmla="*/ 84598 h 175170"/>
                <a:gd name="connsiteX761" fmla="*/ 29757 w 189841"/>
                <a:gd name="connsiteY761" fmla="*/ 80715 h 175170"/>
                <a:gd name="connsiteX762" fmla="*/ 27126 w 189841"/>
                <a:gd name="connsiteY762" fmla="*/ 77576 h 175170"/>
                <a:gd name="connsiteX763" fmla="*/ 24995 w 189841"/>
                <a:gd name="connsiteY763" fmla="*/ 76755 h 175170"/>
                <a:gd name="connsiteX764" fmla="*/ 24811 w 189841"/>
                <a:gd name="connsiteY764" fmla="*/ 75029 h 175170"/>
                <a:gd name="connsiteX765" fmla="*/ 25006 w 189841"/>
                <a:gd name="connsiteY765" fmla="*/ 73647 h 175170"/>
                <a:gd name="connsiteX766" fmla="*/ 27567 w 189841"/>
                <a:gd name="connsiteY766" fmla="*/ 73306 h 175170"/>
                <a:gd name="connsiteX767" fmla="*/ 31570 w 189841"/>
                <a:gd name="connsiteY767" fmla="*/ 74751 h 175170"/>
                <a:gd name="connsiteX768" fmla="*/ 32397 w 189841"/>
                <a:gd name="connsiteY768" fmla="*/ 74464 h 175170"/>
                <a:gd name="connsiteX769" fmla="*/ 33298 w 189841"/>
                <a:gd name="connsiteY769" fmla="*/ 73797 h 175170"/>
                <a:gd name="connsiteX770" fmla="*/ 33125 w 189841"/>
                <a:gd name="connsiteY770" fmla="*/ 72322 h 175170"/>
                <a:gd name="connsiteX771" fmla="*/ 32547 w 189841"/>
                <a:gd name="connsiteY771" fmla="*/ 71008 h 175170"/>
                <a:gd name="connsiteX772" fmla="*/ 31445 w 189841"/>
                <a:gd name="connsiteY772" fmla="*/ 70949 h 175170"/>
                <a:gd name="connsiteX773" fmla="*/ 30683 w 189841"/>
                <a:gd name="connsiteY773" fmla="*/ 71105 h 175170"/>
                <a:gd name="connsiteX774" fmla="*/ 28221 w 189841"/>
                <a:gd name="connsiteY774" fmla="*/ 70833 h 175170"/>
                <a:gd name="connsiteX775" fmla="*/ 25058 w 189841"/>
                <a:gd name="connsiteY775" fmla="*/ 71563 h 175170"/>
                <a:gd name="connsiteX776" fmla="*/ 23591 w 189841"/>
                <a:gd name="connsiteY776" fmla="*/ 70875 h 175170"/>
                <a:gd name="connsiteX777" fmla="*/ 23103 w 189841"/>
                <a:gd name="connsiteY777" fmla="*/ 70039 h 175170"/>
                <a:gd name="connsiteX778" fmla="*/ 20458 w 189841"/>
                <a:gd name="connsiteY778" fmla="*/ 67963 h 175170"/>
                <a:gd name="connsiteX779" fmla="*/ 18172 w 189841"/>
                <a:gd name="connsiteY779" fmla="*/ 65177 h 175170"/>
                <a:gd name="connsiteX780" fmla="*/ 14468 w 189841"/>
                <a:gd name="connsiteY780" fmla="*/ 63316 h 175170"/>
                <a:gd name="connsiteX781" fmla="*/ 12049 w 189841"/>
                <a:gd name="connsiteY781" fmla="*/ 57641 h 175170"/>
                <a:gd name="connsiteX782" fmla="*/ 10015 w 189841"/>
                <a:gd name="connsiteY782" fmla="*/ 55161 h 175170"/>
                <a:gd name="connsiteX783" fmla="*/ 7845 w 189841"/>
                <a:gd name="connsiteY783" fmla="*/ 53389 h 175170"/>
                <a:gd name="connsiteX784" fmla="*/ 8316 w 189841"/>
                <a:gd name="connsiteY784" fmla="*/ 53356 h 175170"/>
                <a:gd name="connsiteX785" fmla="*/ 9139 w 189841"/>
                <a:gd name="connsiteY785" fmla="*/ 53657 h 175170"/>
                <a:gd name="connsiteX786" fmla="*/ 10715 w 189841"/>
                <a:gd name="connsiteY786" fmla="*/ 54632 h 175170"/>
                <a:gd name="connsiteX787" fmla="*/ 12391 w 189841"/>
                <a:gd name="connsiteY787" fmla="*/ 54842 h 175170"/>
                <a:gd name="connsiteX788" fmla="*/ 13306 w 189841"/>
                <a:gd name="connsiteY788" fmla="*/ 54196 h 175170"/>
                <a:gd name="connsiteX789" fmla="*/ 13833 w 189841"/>
                <a:gd name="connsiteY789" fmla="*/ 53603 h 175170"/>
                <a:gd name="connsiteX790" fmla="*/ 14176 w 189841"/>
                <a:gd name="connsiteY790" fmla="*/ 52630 h 175170"/>
                <a:gd name="connsiteX791" fmla="*/ 14315 w 189841"/>
                <a:gd name="connsiteY791" fmla="*/ 51495 h 175170"/>
                <a:gd name="connsiteX792" fmla="*/ 14587 w 189841"/>
                <a:gd name="connsiteY792" fmla="*/ 51119 h 175170"/>
                <a:gd name="connsiteX793" fmla="*/ 15867 w 189841"/>
                <a:gd name="connsiteY793" fmla="*/ 51247 h 175170"/>
                <a:gd name="connsiteX794" fmla="*/ 16273 w 189841"/>
                <a:gd name="connsiteY794" fmla="*/ 50964 h 175170"/>
                <a:gd name="connsiteX795" fmla="*/ 16256 w 189841"/>
                <a:gd name="connsiteY795" fmla="*/ 49944 h 175170"/>
                <a:gd name="connsiteX796" fmla="*/ 15429 w 189841"/>
                <a:gd name="connsiteY796" fmla="*/ 48672 h 175170"/>
                <a:gd name="connsiteX797" fmla="*/ 14701 w 189841"/>
                <a:gd name="connsiteY797" fmla="*/ 47105 h 175170"/>
                <a:gd name="connsiteX798" fmla="*/ 14697 w 189841"/>
                <a:gd name="connsiteY798" fmla="*/ 46358 h 175170"/>
                <a:gd name="connsiteX799" fmla="*/ 15302 w 189841"/>
                <a:gd name="connsiteY799" fmla="*/ 46055 h 175170"/>
                <a:gd name="connsiteX800" fmla="*/ 16302 w 189841"/>
                <a:gd name="connsiteY800" fmla="*/ 45374 h 175170"/>
                <a:gd name="connsiteX801" fmla="*/ 16839 w 189841"/>
                <a:gd name="connsiteY801" fmla="*/ 44532 h 175170"/>
                <a:gd name="connsiteX802" fmla="*/ 17901 w 189841"/>
                <a:gd name="connsiteY802" fmla="*/ 44112 h 175170"/>
                <a:gd name="connsiteX803" fmla="*/ 19472 w 189841"/>
                <a:gd name="connsiteY803" fmla="*/ 44035 h 175170"/>
                <a:gd name="connsiteX804" fmla="*/ 21223 w 189841"/>
                <a:gd name="connsiteY804" fmla="*/ 43666 h 175170"/>
                <a:gd name="connsiteX805" fmla="*/ 22354 w 189841"/>
                <a:gd name="connsiteY805" fmla="*/ 42760 h 175170"/>
                <a:gd name="connsiteX806" fmla="*/ 22521 w 189841"/>
                <a:gd name="connsiteY806" fmla="*/ 41862 h 175170"/>
                <a:gd name="connsiteX807" fmla="*/ 23229 w 189841"/>
                <a:gd name="connsiteY807" fmla="*/ 39391 h 175170"/>
                <a:gd name="connsiteX808" fmla="*/ 23691 w 189841"/>
                <a:gd name="connsiteY808" fmla="*/ 38181 h 175170"/>
                <a:gd name="connsiteX809" fmla="*/ 24438 w 189841"/>
                <a:gd name="connsiteY809" fmla="*/ 37076 h 175170"/>
                <a:gd name="connsiteX810" fmla="*/ 24844 w 189841"/>
                <a:gd name="connsiteY810" fmla="*/ 35586 h 175170"/>
                <a:gd name="connsiteX811" fmla="*/ 25641 w 189841"/>
                <a:gd name="connsiteY811" fmla="*/ 34184 h 175170"/>
                <a:gd name="connsiteX812" fmla="*/ 27312 w 189841"/>
                <a:gd name="connsiteY812" fmla="*/ 33596 h 175170"/>
                <a:gd name="connsiteX813" fmla="*/ 28828 w 189841"/>
                <a:gd name="connsiteY813" fmla="*/ 32903 h 175170"/>
                <a:gd name="connsiteX814" fmla="*/ 29972 w 189841"/>
                <a:gd name="connsiteY814" fmla="*/ 31096 h 175170"/>
                <a:gd name="connsiteX815" fmla="*/ 30612 w 189841"/>
                <a:gd name="connsiteY815" fmla="*/ 29547 h 175170"/>
                <a:gd name="connsiteX816" fmla="*/ 30616 w 189841"/>
                <a:gd name="connsiteY816" fmla="*/ 28599 h 175170"/>
                <a:gd name="connsiteX817" fmla="*/ 29662 w 189841"/>
                <a:gd name="connsiteY817" fmla="*/ 27047 h 175170"/>
                <a:gd name="connsiteX818" fmla="*/ 28951 w 189841"/>
                <a:gd name="connsiteY818" fmla="*/ 25538 h 175170"/>
                <a:gd name="connsiteX819" fmla="*/ 29139 w 189841"/>
                <a:gd name="connsiteY819" fmla="*/ 23578 h 175170"/>
                <a:gd name="connsiteX820" fmla="*/ 32141 w 189841"/>
                <a:gd name="connsiteY820" fmla="*/ 23414 h 175170"/>
                <a:gd name="connsiteX821" fmla="*/ 33192 w 189841"/>
                <a:gd name="connsiteY821" fmla="*/ 23231 h 175170"/>
                <a:gd name="connsiteX822" fmla="*/ 37088 w 189841"/>
                <a:gd name="connsiteY822" fmla="*/ 23125 h 175170"/>
                <a:gd name="connsiteX823" fmla="*/ 38865 w 189841"/>
                <a:gd name="connsiteY823" fmla="*/ 22073 h 175170"/>
                <a:gd name="connsiteX824" fmla="*/ 40094 w 189841"/>
                <a:gd name="connsiteY824" fmla="*/ 22167 h 175170"/>
                <a:gd name="connsiteX825" fmla="*/ 42661 w 189841"/>
                <a:gd name="connsiteY825" fmla="*/ 23078 h 175170"/>
                <a:gd name="connsiteX826" fmla="*/ 43806 w 189841"/>
                <a:gd name="connsiteY826" fmla="*/ 22358 h 175170"/>
                <a:gd name="connsiteX827" fmla="*/ 47166 w 189841"/>
                <a:gd name="connsiteY827" fmla="*/ 20936 h 175170"/>
                <a:gd name="connsiteX828" fmla="*/ 50482 w 189841"/>
                <a:gd name="connsiteY828" fmla="*/ 16805 h 175170"/>
                <a:gd name="connsiteX829" fmla="*/ 51895 w 189841"/>
                <a:gd name="connsiteY829" fmla="*/ 16185 h 175170"/>
                <a:gd name="connsiteX830" fmla="*/ 55112 w 189841"/>
                <a:gd name="connsiteY830" fmla="*/ 15934 h 175170"/>
                <a:gd name="connsiteX831" fmla="*/ 56120 w 189841"/>
                <a:gd name="connsiteY831" fmla="*/ 15456 h 175170"/>
                <a:gd name="connsiteX832" fmla="*/ 57297 w 189841"/>
                <a:gd name="connsiteY832" fmla="*/ 15547 h 175170"/>
                <a:gd name="connsiteX833" fmla="*/ 60903 w 189841"/>
                <a:gd name="connsiteY833" fmla="*/ 16385 h 175170"/>
                <a:gd name="connsiteX834" fmla="*/ 62955 w 189841"/>
                <a:gd name="connsiteY834" fmla="*/ 16513 h 175170"/>
                <a:gd name="connsiteX835" fmla="*/ 65388 w 189841"/>
                <a:gd name="connsiteY835" fmla="*/ 15942 h 175170"/>
                <a:gd name="connsiteX836" fmla="*/ 68069 w 189841"/>
                <a:gd name="connsiteY836" fmla="*/ 14932 h 175170"/>
                <a:gd name="connsiteX837" fmla="*/ 68738 w 189841"/>
                <a:gd name="connsiteY837" fmla="*/ 11394 h 175170"/>
                <a:gd name="connsiteX838" fmla="*/ 69375 w 189841"/>
                <a:gd name="connsiteY838" fmla="*/ 10886 h 175170"/>
                <a:gd name="connsiteX839" fmla="*/ 71042 w 189841"/>
                <a:gd name="connsiteY839" fmla="*/ 10744 h 175170"/>
                <a:gd name="connsiteX840" fmla="*/ 72297 w 189841"/>
                <a:gd name="connsiteY840" fmla="*/ 10773 h 175170"/>
                <a:gd name="connsiteX841" fmla="*/ 74719 w 189841"/>
                <a:gd name="connsiteY841" fmla="*/ 11054 h 175170"/>
                <a:gd name="connsiteX842" fmla="*/ 77602 w 189841"/>
                <a:gd name="connsiteY842" fmla="*/ 11148 h 175170"/>
                <a:gd name="connsiteX843" fmla="*/ 79457 w 189841"/>
                <a:gd name="connsiteY843" fmla="*/ 9488 h 175170"/>
                <a:gd name="connsiteX844" fmla="*/ 82381 w 189841"/>
                <a:gd name="connsiteY844" fmla="*/ 9364 h 175170"/>
                <a:gd name="connsiteX845" fmla="*/ 83737 w 189841"/>
                <a:gd name="connsiteY845" fmla="*/ 9124 h 175170"/>
                <a:gd name="connsiteX846" fmla="*/ 86002 w 189841"/>
                <a:gd name="connsiteY846" fmla="*/ 9459 h 175170"/>
                <a:gd name="connsiteX847" fmla="*/ 88198 w 189841"/>
                <a:gd name="connsiteY847" fmla="*/ 9440 h 175170"/>
                <a:gd name="connsiteX848" fmla="*/ 91010 w 189841"/>
                <a:gd name="connsiteY848" fmla="*/ 8748 h 175170"/>
                <a:gd name="connsiteX849" fmla="*/ 93631 w 189841"/>
                <a:gd name="connsiteY849" fmla="*/ 7613 h 175170"/>
                <a:gd name="connsiteX850" fmla="*/ 95680 w 189841"/>
                <a:gd name="connsiteY850" fmla="*/ 7710 h 175170"/>
                <a:gd name="connsiteX851" fmla="*/ 96516 w 189841"/>
                <a:gd name="connsiteY851" fmla="*/ 7505 h 175170"/>
                <a:gd name="connsiteX852" fmla="*/ 96994 w 189841"/>
                <a:gd name="connsiteY852" fmla="*/ 7266 h 175170"/>
                <a:gd name="connsiteX853" fmla="*/ 97505 w 189841"/>
                <a:gd name="connsiteY853" fmla="*/ 5729 h 175170"/>
                <a:gd name="connsiteX854" fmla="*/ 101360 w 189841"/>
                <a:gd name="connsiteY854" fmla="*/ 5635 h 175170"/>
                <a:gd name="connsiteX855" fmla="*/ 102666 w 189841"/>
                <a:gd name="connsiteY855" fmla="*/ 5788 h 175170"/>
                <a:gd name="connsiteX856" fmla="*/ 104817 w 189841"/>
                <a:gd name="connsiteY856" fmla="*/ 5828 h 175170"/>
                <a:gd name="connsiteX857" fmla="*/ 107054 w 189841"/>
                <a:gd name="connsiteY857" fmla="*/ 4990 h 175170"/>
                <a:gd name="connsiteX858" fmla="*/ 107725 w 189841"/>
                <a:gd name="connsiteY858" fmla="*/ 5061 h 175170"/>
                <a:gd name="connsiteX859" fmla="*/ 108855 w 189841"/>
                <a:gd name="connsiteY859" fmla="*/ 7311 h 175170"/>
                <a:gd name="connsiteX860" fmla="*/ 109444 w 189841"/>
                <a:gd name="connsiteY860" fmla="*/ 7963 h 175170"/>
                <a:gd name="connsiteX861" fmla="*/ 110662 w 189841"/>
                <a:gd name="connsiteY861" fmla="*/ 8564 h 175170"/>
                <a:gd name="connsiteX862" fmla="*/ 113374 w 189841"/>
                <a:gd name="connsiteY862" fmla="*/ 10250 h 175170"/>
                <a:gd name="connsiteX863" fmla="*/ 113863 w 189841"/>
                <a:gd name="connsiteY863" fmla="*/ 9806 h 175170"/>
                <a:gd name="connsiteX864" fmla="*/ 114992 w 189841"/>
                <a:gd name="connsiteY864" fmla="*/ 9243 h 175170"/>
                <a:gd name="connsiteX865" fmla="*/ 118235 w 189841"/>
                <a:gd name="connsiteY865" fmla="*/ 10015 h 175170"/>
                <a:gd name="connsiteX866" fmla="*/ 121327 w 189841"/>
                <a:gd name="connsiteY866" fmla="*/ 11314 h 175170"/>
                <a:gd name="connsiteX867" fmla="*/ 123932 w 189841"/>
                <a:gd name="connsiteY867" fmla="*/ 13219 h 175170"/>
                <a:gd name="connsiteX868" fmla="*/ 126823 w 189841"/>
                <a:gd name="connsiteY868" fmla="*/ 12670 h 175170"/>
                <a:gd name="connsiteX869" fmla="*/ 130032 w 189841"/>
                <a:gd name="connsiteY869" fmla="*/ 11735 h 175170"/>
                <a:gd name="connsiteX870" fmla="*/ 132120 w 189841"/>
                <a:gd name="connsiteY870" fmla="*/ 11463 h 175170"/>
                <a:gd name="connsiteX871" fmla="*/ 134385 w 189841"/>
                <a:gd name="connsiteY871" fmla="*/ 11333 h 175170"/>
                <a:gd name="connsiteX872" fmla="*/ 135735 w 189841"/>
                <a:gd name="connsiteY872" fmla="*/ 10927 h 175170"/>
                <a:gd name="connsiteX873" fmla="*/ 138795 w 189841"/>
                <a:gd name="connsiteY873" fmla="*/ 11416 h 175170"/>
                <a:gd name="connsiteX874" fmla="*/ 141958 w 189841"/>
                <a:gd name="connsiteY874" fmla="*/ 10393 h 175170"/>
                <a:gd name="connsiteX875" fmla="*/ 143483 w 189841"/>
                <a:gd name="connsiteY875" fmla="*/ 9467 h 175170"/>
                <a:gd name="connsiteX876" fmla="*/ 143921 w 189841"/>
                <a:gd name="connsiteY876" fmla="*/ 8170 h 175170"/>
                <a:gd name="connsiteX877" fmla="*/ 143664 w 189841"/>
                <a:gd name="connsiteY877" fmla="*/ 5881 h 175170"/>
                <a:gd name="connsiteX878" fmla="*/ 142949 w 189841"/>
                <a:gd name="connsiteY878" fmla="*/ 3589 h 175170"/>
                <a:gd name="connsiteX879" fmla="*/ 142192 w 189841"/>
                <a:gd name="connsiteY879" fmla="*/ 2743 h 175170"/>
                <a:gd name="connsiteX880" fmla="*/ 141950 w 189841"/>
                <a:gd name="connsiteY880" fmla="*/ 1868 h 175170"/>
                <a:gd name="connsiteX881" fmla="*/ 142381 w 189841"/>
                <a:gd name="connsiteY881" fmla="*/ 1050 h 175170"/>
                <a:gd name="connsiteX882" fmla="*/ 142865 w 189841"/>
                <a:gd name="connsiteY882" fmla="*/ 479 h 175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</a:cxnLst>
              <a:rect l="l" t="t" r="r" b="b"/>
              <a:pathLst>
                <a:path w="189841" h="175170">
                  <a:moveTo>
                    <a:pt x="90448" y="157073"/>
                  </a:moveTo>
                  <a:lnTo>
                    <a:pt x="91198" y="157609"/>
                  </a:lnTo>
                  <a:lnTo>
                    <a:pt x="91697" y="159571"/>
                  </a:lnTo>
                  <a:lnTo>
                    <a:pt x="92998" y="160093"/>
                  </a:lnTo>
                  <a:lnTo>
                    <a:pt x="94510" y="160276"/>
                  </a:lnTo>
                  <a:lnTo>
                    <a:pt x="96559" y="160244"/>
                  </a:lnTo>
                  <a:lnTo>
                    <a:pt x="97026" y="160094"/>
                  </a:lnTo>
                  <a:lnTo>
                    <a:pt x="98330" y="158624"/>
                  </a:lnTo>
                  <a:lnTo>
                    <a:pt x="99937" y="158590"/>
                  </a:lnTo>
                  <a:lnTo>
                    <a:pt x="100638" y="160043"/>
                  </a:lnTo>
                  <a:lnTo>
                    <a:pt x="99008" y="160712"/>
                  </a:lnTo>
                  <a:lnTo>
                    <a:pt x="98676" y="161090"/>
                  </a:lnTo>
                  <a:lnTo>
                    <a:pt x="98989" y="161396"/>
                  </a:lnTo>
                  <a:lnTo>
                    <a:pt x="100213" y="162002"/>
                  </a:lnTo>
                  <a:lnTo>
                    <a:pt x="101913" y="161773"/>
                  </a:lnTo>
                  <a:lnTo>
                    <a:pt x="101964" y="162916"/>
                  </a:lnTo>
                  <a:lnTo>
                    <a:pt x="102344" y="163849"/>
                  </a:lnTo>
                  <a:lnTo>
                    <a:pt x="103184" y="164406"/>
                  </a:lnTo>
                  <a:lnTo>
                    <a:pt x="104093" y="164515"/>
                  </a:lnTo>
                  <a:lnTo>
                    <a:pt x="106104" y="164350"/>
                  </a:lnTo>
                  <a:lnTo>
                    <a:pt x="108086" y="163980"/>
                  </a:lnTo>
                  <a:lnTo>
                    <a:pt x="110129" y="163248"/>
                  </a:lnTo>
                  <a:lnTo>
                    <a:pt x="112215" y="162874"/>
                  </a:lnTo>
                  <a:lnTo>
                    <a:pt x="118447" y="163249"/>
                  </a:lnTo>
                  <a:lnTo>
                    <a:pt x="120684" y="164830"/>
                  </a:lnTo>
                  <a:lnTo>
                    <a:pt x="124940" y="165020"/>
                  </a:lnTo>
                  <a:lnTo>
                    <a:pt x="128896" y="165852"/>
                  </a:lnTo>
                  <a:lnTo>
                    <a:pt x="130974" y="165303"/>
                  </a:lnTo>
                  <a:lnTo>
                    <a:pt x="134523" y="164788"/>
                  </a:lnTo>
                  <a:lnTo>
                    <a:pt x="135092" y="165346"/>
                  </a:lnTo>
                  <a:lnTo>
                    <a:pt x="134633" y="168918"/>
                  </a:lnTo>
                  <a:lnTo>
                    <a:pt x="134852" y="169953"/>
                  </a:lnTo>
                  <a:lnTo>
                    <a:pt x="135875" y="170451"/>
                  </a:lnTo>
                  <a:lnTo>
                    <a:pt x="136888" y="170208"/>
                  </a:lnTo>
                  <a:lnTo>
                    <a:pt x="138132" y="169039"/>
                  </a:lnTo>
                  <a:lnTo>
                    <a:pt x="141109" y="168134"/>
                  </a:lnTo>
                  <a:lnTo>
                    <a:pt x="144202" y="168139"/>
                  </a:lnTo>
                  <a:lnTo>
                    <a:pt x="146804" y="165763"/>
                  </a:lnTo>
                  <a:lnTo>
                    <a:pt x="147571" y="165628"/>
                  </a:lnTo>
                  <a:lnTo>
                    <a:pt x="147093" y="166796"/>
                  </a:lnTo>
                  <a:lnTo>
                    <a:pt x="146700" y="169539"/>
                  </a:lnTo>
                  <a:lnTo>
                    <a:pt x="146141" y="171145"/>
                  </a:lnTo>
                  <a:lnTo>
                    <a:pt x="145892" y="172410"/>
                  </a:lnTo>
                  <a:lnTo>
                    <a:pt x="144152" y="173063"/>
                  </a:lnTo>
                  <a:lnTo>
                    <a:pt x="141522" y="173175"/>
                  </a:lnTo>
                  <a:lnTo>
                    <a:pt x="136724" y="172898"/>
                  </a:lnTo>
                  <a:lnTo>
                    <a:pt x="131887" y="173346"/>
                  </a:lnTo>
                  <a:lnTo>
                    <a:pt x="122928" y="174549"/>
                  </a:lnTo>
                  <a:lnTo>
                    <a:pt x="113951" y="175170"/>
                  </a:lnTo>
                  <a:lnTo>
                    <a:pt x="112744" y="174765"/>
                  </a:lnTo>
                  <a:lnTo>
                    <a:pt x="112716" y="173170"/>
                  </a:lnTo>
                  <a:lnTo>
                    <a:pt x="112522" y="172069"/>
                  </a:lnTo>
                  <a:lnTo>
                    <a:pt x="111941" y="171298"/>
                  </a:lnTo>
                  <a:lnTo>
                    <a:pt x="109166" y="170640"/>
                  </a:lnTo>
                  <a:lnTo>
                    <a:pt x="106519" y="169511"/>
                  </a:lnTo>
                  <a:lnTo>
                    <a:pt x="96140" y="167967"/>
                  </a:lnTo>
                  <a:lnTo>
                    <a:pt x="93692" y="167361"/>
                  </a:lnTo>
                  <a:lnTo>
                    <a:pt x="89718" y="167677"/>
                  </a:lnTo>
                  <a:lnTo>
                    <a:pt x="88263" y="167635"/>
                  </a:lnTo>
                  <a:lnTo>
                    <a:pt x="87261" y="167081"/>
                  </a:lnTo>
                  <a:lnTo>
                    <a:pt x="86572" y="166129"/>
                  </a:lnTo>
                  <a:lnTo>
                    <a:pt x="86261" y="163106"/>
                  </a:lnTo>
                  <a:lnTo>
                    <a:pt x="86753" y="160110"/>
                  </a:lnTo>
                  <a:lnTo>
                    <a:pt x="87613" y="159318"/>
                  </a:lnTo>
                  <a:lnTo>
                    <a:pt x="88008" y="160221"/>
                  </a:lnTo>
                  <a:lnTo>
                    <a:pt x="89027" y="160634"/>
                  </a:lnTo>
                  <a:lnTo>
                    <a:pt x="89973" y="159724"/>
                  </a:lnTo>
                  <a:lnTo>
                    <a:pt x="89964" y="158350"/>
                  </a:lnTo>
                  <a:close/>
                  <a:moveTo>
                    <a:pt x="167536" y="152919"/>
                  </a:moveTo>
                  <a:lnTo>
                    <a:pt x="167180" y="155589"/>
                  </a:lnTo>
                  <a:lnTo>
                    <a:pt x="166078" y="157728"/>
                  </a:lnTo>
                  <a:lnTo>
                    <a:pt x="167221" y="159502"/>
                  </a:lnTo>
                  <a:lnTo>
                    <a:pt x="167767" y="161523"/>
                  </a:lnTo>
                  <a:lnTo>
                    <a:pt x="166495" y="161857"/>
                  </a:lnTo>
                  <a:lnTo>
                    <a:pt x="165651" y="163269"/>
                  </a:lnTo>
                  <a:lnTo>
                    <a:pt x="164794" y="162079"/>
                  </a:lnTo>
                  <a:lnTo>
                    <a:pt x="165163" y="160705"/>
                  </a:lnTo>
                  <a:lnTo>
                    <a:pt x="164165" y="158526"/>
                  </a:lnTo>
                  <a:lnTo>
                    <a:pt x="166053" y="155292"/>
                  </a:lnTo>
                  <a:lnTo>
                    <a:pt x="166096" y="153720"/>
                  </a:lnTo>
                  <a:close/>
                  <a:moveTo>
                    <a:pt x="73059" y="138689"/>
                  </a:moveTo>
                  <a:lnTo>
                    <a:pt x="74106" y="140102"/>
                  </a:lnTo>
                  <a:lnTo>
                    <a:pt x="76300" y="142164"/>
                  </a:lnTo>
                  <a:lnTo>
                    <a:pt x="75343" y="143599"/>
                  </a:lnTo>
                  <a:lnTo>
                    <a:pt x="75086" y="144696"/>
                  </a:lnTo>
                  <a:lnTo>
                    <a:pt x="72815" y="143942"/>
                  </a:lnTo>
                  <a:lnTo>
                    <a:pt x="72182" y="142810"/>
                  </a:lnTo>
                  <a:lnTo>
                    <a:pt x="72068" y="140299"/>
                  </a:lnTo>
                  <a:lnTo>
                    <a:pt x="72664" y="139074"/>
                  </a:lnTo>
                  <a:close/>
                  <a:moveTo>
                    <a:pt x="189841" y="137431"/>
                  </a:moveTo>
                  <a:lnTo>
                    <a:pt x="189801" y="139035"/>
                  </a:lnTo>
                  <a:lnTo>
                    <a:pt x="187899" y="143092"/>
                  </a:lnTo>
                  <a:lnTo>
                    <a:pt x="186211" y="145117"/>
                  </a:lnTo>
                  <a:lnTo>
                    <a:pt x="186655" y="146743"/>
                  </a:lnTo>
                  <a:lnTo>
                    <a:pt x="183952" y="147193"/>
                  </a:lnTo>
                  <a:lnTo>
                    <a:pt x="181238" y="150175"/>
                  </a:lnTo>
                  <a:lnTo>
                    <a:pt x="179642" y="150705"/>
                  </a:lnTo>
                  <a:lnTo>
                    <a:pt x="179091" y="150636"/>
                  </a:lnTo>
                  <a:lnTo>
                    <a:pt x="178424" y="149468"/>
                  </a:lnTo>
                  <a:lnTo>
                    <a:pt x="179348" y="146645"/>
                  </a:lnTo>
                  <a:lnTo>
                    <a:pt x="178493" y="144829"/>
                  </a:lnTo>
                  <a:lnTo>
                    <a:pt x="178441" y="144059"/>
                  </a:lnTo>
                  <a:lnTo>
                    <a:pt x="179726" y="142993"/>
                  </a:lnTo>
                  <a:lnTo>
                    <a:pt x="180629" y="141396"/>
                  </a:lnTo>
                  <a:lnTo>
                    <a:pt x="182822" y="139667"/>
                  </a:lnTo>
                  <a:lnTo>
                    <a:pt x="188506" y="137619"/>
                  </a:lnTo>
                  <a:close/>
                  <a:moveTo>
                    <a:pt x="127421" y="136416"/>
                  </a:moveTo>
                  <a:lnTo>
                    <a:pt x="128713" y="137395"/>
                  </a:lnTo>
                  <a:lnTo>
                    <a:pt x="129045" y="138469"/>
                  </a:lnTo>
                  <a:lnTo>
                    <a:pt x="128017" y="139799"/>
                  </a:lnTo>
                  <a:lnTo>
                    <a:pt x="126570" y="139322"/>
                  </a:lnTo>
                  <a:lnTo>
                    <a:pt x="127160" y="138816"/>
                  </a:lnTo>
                  <a:lnTo>
                    <a:pt x="127508" y="138159"/>
                  </a:lnTo>
                  <a:lnTo>
                    <a:pt x="127546" y="137212"/>
                  </a:lnTo>
                  <a:lnTo>
                    <a:pt x="127154" y="136629"/>
                  </a:lnTo>
                  <a:close/>
                  <a:moveTo>
                    <a:pt x="148672" y="132238"/>
                  </a:moveTo>
                  <a:lnTo>
                    <a:pt x="149805" y="132602"/>
                  </a:lnTo>
                  <a:lnTo>
                    <a:pt x="150676" y="133587"/>
                  </a:lnTo>
                  <a:lnTo>
                    <a:pt x="148929" y="134192"/>
                  </a:lnTo>
                  <a:lnTo>
                    <a:pt x="147819" y="135462"/>
                  </a:lnTo>
                  <a:lnTo>
                    <a:pt x="146461" y="134562"/>
                  </a:lnTo>
                  <a:lnTo>
                    <a:pt x="146456" y="133333"/>
                  </a:lnTo>
                  <a:lnTo>
                    <a:pt x="147942" y="133709"/>
                  </a:lnTo>
                  <a:lnTo>
                    <a:pt x="148985" y="133017"/>
                  </a:lnTo>
                  <a:close/>
                  <a:moveTo>
                    <a:pt x="181674" y="132173"/>
                  </a:moveTo>
                  <a:lnTo>
                    <a:pt x="181836" y="132646"/>
                  </a:lnTo>
                  <a:lnTo>
                    <a:pt x="181818" y="133656"/>
                  </a:lnTo>
                  <a:lnTo>
                    <a:pt x="181622" y="134385"/>
                  </a:lnTo>
                  <a:lnTo>
                    <a:pt x="181138" y="134788"/>
                  </a:lnTo>
                  <a:lnTo>
                    <a:pt x="180028" y="133630"/>
                  </a:lnTo>
                  <a:lnTo>
                    <a:pt x="179976" y="133026"/>
                  </a:lnTo>
                  <a:lnTo>
                    <a:pt x="181106" y="132333"/>
                  </a:lnTo>
                  <a:close/>
                  <a:moveTo>
                    <a:pt x="108112" y="129062"/>
                  </a:moveTo>
                  <a:lnTo>
                    <a:pt x="108151" y="130553"/>
                  </a:lnTo>
                  <a:lnTo>
                    <a:pt x="108000" y="131087"/>
                  </a:lnTo>
                  <a:lnTo>
                    <a:pt x="103474" y="131806"/>
                  </a:lnTo>
                  <a:lnTo>
                    <a:pt x="103893" y="130097"/>
                  </a:lnTo>
                  <a:lnTo>
                    <a:pt x="104169" y="129557"/>
                  </a:lnTo>
                  <a:lnTo>
                    <a:pt x="105668" y="130352"/>
                  </a:lnTo>
                  <a:lnTo>
                    <a:pt x="106220" y="129946"/>
                  </a:lnTo>
                  <a:lnTo>
                    <a:pt x="106445" y="129476"/>
                  </a:lnTo>
                  <a:close/>
                  <a:moveTo>
                    <a:pt x="124921" y="128417"/>
                  </a:moveTo>
                  <a:lnTo>
                    <a:pt x="127376" y="130240"/>
                  </a:lnTo>
                  <a:lnTo>
                    <a:pt x="126819" y="131339"/>
                  </a:lnTo>
                  <a:lnTo>
                    <a:pt x="126434" y="131737"/>
                  </a:lnTo>
                  <a:lnTo>
                    <a:pt x="124761" y="130134"/>
                  </a:lnTo>
                  <a:lnTo>
                    <a:pt x="124126" y="129197"/>
                  </a:lnTo>
                  <a:close/>
                  <a:moveTo>
                    <a:pt x="168476" y="125472"/>
                  </a:moveTo>
                  <a:lnTo>
                    <a:pt x="170389" y="126393"/>
                  </a:lnTo>
                  <a:lnTo>
                    <a:pt x="166873" y="127910"/>
                  </a:lnTo>
                  <a:lnTo>
                    <a:pt x="165940" y="128712"/>
                  </a:lnTo>
                  <a:lnTo>
                    <a:pt x="163345" y="128885"/>
                  </a:lnTo>
                  <a:lnTo>
                    <a:pt x="161488" y="129993"/>
                  </a:lnTo>
                  <a:lnTo>
                    <a:pt x="160797" y="130023"/>
                  </a:lnTo>
                  <a:lnTo>
                    <a:pt x="161619" y="128797"/>
                  </a:lnTo>
                  <a:lnTo>
                    <a:pt x="163954" y="127117"/>
                  </a:lnTo>
                  <a:lnTo>
                    <a:pt x="167355" y="125637"/>
                  </a:lnTo>
                  <a:close/>
                  <a:moveTo>
                    <a:pt x="140505" y="124652"/>
                  </a:moveTo>
                  <a:lnTo>
                    <a:pt x="141915" y="125533"/>
                  </a:lnTo>
                  <a:lnTo>
                    <a:pt x="140151" y="126118"/>
                  </a:lnTo>
                  <a:lnTo>
                    <a:pt x="137380" y="128386"/>
                  </a:lnTo>
                  <a:lnTo>
                    <a:pt x="135428" y="128594"/>
                  </a:lnTo>
                  <a:lnTo>
                    <a:pt x="134811" y="128403"/>
                  </a:lnTo>
                  <a:lnTo>
                    <a:pt x="135996" y="127964"/>
                  </a:lnTo>
                  <a:lnTo>
                    <a:pt x="136828" y="127498"/>
                  </a:lnTo>
                  <a:lnTo>
                    <a:pt x="137227" y="126934"/>
                  </a:lnTo>
                  <a:lnTo>
                    <a:pt x="139207" y="125943"/>
                  </a:lnTo>
                  <a:close/>
                  <a:moveTo>
                    <a:pt x="112100" y="122454"/>
                  </a:moveTo>
                  <a:lnTo>
                    <a:pt x="113141" y="124351"/>
                  </a:lnTo>
                  <a:lnTo>
                    <a:pt x="112206" y="125057"/>
                  </a:lnTo>
                  <a:lnTo>
                    <a:pt x="111802" y="125168"/>
                  </a:lnTo>
                  <a:lnTo>
                    <a:pt x="111224" y="124096"/>
                  </a:lnTo>
                  <a:lnTo>
                    <a:pt x="111103" y="123096"/>
                  </a:lnTo>
                  <a:lnTo>
                    <a:pt x="111334" y="122510"/>
                  </a:lnTo>
                  <a:close/>
                  <a:moveTo>
                    <a:pt x="160140" y="120840"/>
                  </a:moveTo>
                  <a:lnTo>
                    <a:pt x="161864" y="121735"/>
                  </a:lnTo>
                  <a:lnTo>
                    <a:pt x="162956" y="122814"/>
                  </a:lnTo>
                  <a:lnTo>
                    <a:pt x="163489" y="123020"/>
                  </a:lnTo>
                  <a:lnTo>
                    <a:pt x="163366" y="123671"/>
                  </a:lnTo>
                  <a:lnTo>
                    <a:pt x="163038" y="124102"/>
                  </a:lnTo>
                  <a:lnTo>
                    <a:pt x="160831" y="124453"/>
                  </a:lnTo>
                  <a:lnTo>
                    <a:pt x="161224" y="122434"/>
                  </a:lnTo>
                  <a:close/>
                  <a:moveTo>
                    <a:pt x="123575" y="119280"/>
                  </a:moveTo>
                  <a:lnTo>
                    <a:pt x="124465" y="119553"/>
                  </a:lnTo>
                  <a:lnTo>
                    <a:pt x="124381" y="120919"/>
                  </a:lnTo>
                  <a:lnTo>
                    <a:pt x="124545" y="121320"/>
                  </a:lnTo>
                  <a:lnTo>
                    <a:pt x="122787" y="123281"/>
                  </a:lnTo>
                  <a:lnTo>
                    <a:pt x="121325" y="123069"/>
                  </a:lnTo>
                  <a:lnTo>
                    <a:pt x="120710" y="122171"/>
                  </a:lnTo>
                  <a:lnTo>
                    <a:pt x="121617" y="120327"/>
                  </a:lnTo>
                  <a:close/>
                  <a:moveTo>
                    <a:pt x="129993" y="118062"/>
                  </a:moveTo>
                  <a:lnTo>
                    <a:pt x="130857" y="118349"/>
                  </a:lnTo>
                  <a:lnTo>
                    <a:pt x="131377" y="119179"/>
                  </a:lnTo>
                  <a:lnTo>
                    <a:pt x="131297" y="122060"/>
                  </a:lnTo>
                  <a:lnTo>
                    <a:pt x="130449" y="123885"/>
                  </a:lnTo>
                  <a:lnTo>
                    <a:pt x="128477" y="124848"/>
                  </a:lnTo>
                  <a:lnTo>
                    <a:pt x="127132" y="123458"/>
                  </a:lnTo>
                  <a:lnTo>
                    <a:pt x="126380" y="121269"/>
                  </a:lnTo>
                  <a:close/>
                  <a:moveTo>
                    <a:pt x="106963" y="117710"/>
                  </a:moveTo>
                  <a:lnTo>
                    <a:pt x="107965" y="118165"/>
                  </a:lnTo>
                  <a:lnTo>
                    <a:pt x="108116" y="118793"/>
                  </a:lnTo>
                  <a:lnTo>
                    <a:pt x="107842" y="119877"/>
                  </a:lnTo>
                  <a:lnTo>
                    <a:pt x="107024" y="120260"/>
                  </a:lnTo>
                  <a:lnTo>
                    <a:pt x="105659" y="119702"/>
                  </a:lnTo>
                  <a:lnTo>
                    <a:pt x="106022" y="118304"/>
                  </a:lnTo>
                  <a:close/>
                  <a:moveTo>
                    <a:pt x="105802" y="110953"/>
                  </a:moveTo>
                  <a:lnTo>
                    <a:pt x="106184" y="111607"/>
                  </a:lnTo>
                  <a:lnTo>
                    <a:pt x="106912" y="112667"/>
                  </a:lnTo>
                  <a:lnTo>
                    <a:pt x="105901" y="114289"/>
                  </a:lnTo>
                  <a:lnTo>
                    <a:pt x="104644" y="115062"/>
                  </a:lnTo>
                  <a:lnTo>
                    <a:pt x="105061" y="113294"/>
                  </a:lnTo>
                  <a:lnTo>
                    <a:pt x="104441" y="112371"/>
                  </a:lnTo>
                  <a:lnTo>
                    <a:pt x="104996" y="111586"/>
                  </a:lnTo>
                  <a:close/>
                  <a:moveTo>
                    <a:pt x="116311" y="110092"/>
                  </a:moveTo>
                  <a:lnTo>
                    <a:pt x="117114" y="110485"/>
                  </a:lnTo>
                  <a:lnTo>
                    <a:pt x="117004" y="113135"/>
                  </a:lnTo>
                  <a:lnTo>
                    <a:pt x="116421" y="113112"/>
                  </a:lnTo>
                  <a:lnTo>
                    <a:pt x="116082" y="112703"/>
                  </a:lnTo>
                  <a:lnTo>
                    <a:pt x="116063" y="111689"/>
                  </a:lnTo>
                  <a:close/>
                  <a:moveTo>
                    <a:pt x="126076" y="110085"/>
                  </a:moveTo>
                  <a:lnTo>
                    <a:pt x="128615" y="111057"/>
                  </a:lnTo>
                  <a:lnTo>
                    <a:pt x="128492" y="111670"/>
                  </a:lnTo>
                  <a:lnTo>
                    <a:pt x="127283" y="112383"/>
                  </a:lnTo>
                  <a:lnTo>
                    <a:pt x="125169" y="112540"/>
                  </a:lnTo>
                  <a:lnTo>
                    <a:pt x="125292" y="110592"/>
                  </a:lnTo>
                  <a:close/>
                  <a:moveTo>
                    <a:pt x="148259" y="105865"/>
                  </a:moveTo>
                  <a:lnTo>
                    <a:pt x="147054" y="107265"/>
                  </a:lnTo>
                  <a:lnTo>
                    <a:pt x="145020" y="108570"/>
                  </a:lnTo>
                  <a:lnTo>
                    <a:pt x="141138" y="109568"/>
                  </a:lnTo>
                  <a:lnTo>
                    <a:pt x="140101" y="109666"/>
                  </a:lnTo>
                  <a:lnTo>
                    <a:pt x="140418" y="108645"/>
                  </a:lnTo>
                  <a:lnTo>
                    <a:pt x="142399" y="106873"/>
                  </a:lnTo>
                  <a:lnTo>
                    <a:pt x="145167" y="106786"/>
                  </a:lnTo>
                  <a:lnTo>
                    <a:pt x="147689" y="105898"/>
                  </a:lnTo>
                  <a:close/>
                  <a:moveTo>
                    <a:pt x="119248" y="105703"/>
                  </a:moveTo>
                  <a:lnTo>
                    <a:pt x="120408" y="106538"/>
                  </a:lnTo>
                  <a:lnTo>
                    <a:pt x="123362" y="106981"/>
                  </a:lnTo>
                  <a:lnTo>
                    <a:pt x="124035" y="107775"/>
                  </a:lnTo>
                  <a:lnTo>
                    <a:pt x="123215" y="109423"/>
                  </a:lnTo>
                  <a:lnTo>
                    <a:pt x="121835" y="109169"/>
                  </a:lnTo>
                  <a:lnTo>
                    <a:pt x="119527" y="107396"/>
                  </a:lnTo>
                  <a:lnTo>
                    <a:pt x="118738" y="106591"/>
                  </a:lnTo>
                  <a:lnTo>
                    <a:pt x="118300" y="105799"/>
                  </a:lnTo>
                  <a:close/>
                  <a:moveTo>
                    <a:pt x="104648" y="105651"/>
                  </a:moveTo>
                  <a:lnTo>
                    <a:pt x="105128" y="106512"/>
                  </a:lnTo>
                  <a:lnTo>
                    <a:pt x="104136" y="108356"/>
                  </a:lnTo>
                  <a:lnTo>
                    <a:pt x="102655" y="109597"/>
                  </a:lnTo>
                  <a:lnTo>
                    <a:pt x="102401" y="107736"/>
                  </a:lnTo>
                  <a:lnTo>
                    <a:pt x="103350" y="105778"/>
                  </a:lnTo>
                  <a:close/>
                  <a:moveTo>
                    <a:pt x="158719" y="102358"/>
                  </a:moveTo>
                  <a:lnTo>
                    <a:pt x="161438" y="103201"/>
                  </a:lnTo>
                  <a:lnTo>
                    <a:pt x="162194" y="103111"/>
                  </a:lnTo>
                  <a:lnTo>
                    <a:pt x="163479" y="103417"/>
                  </a:lnTo>
                  <a:lnTo>
                    <a:pt x="163820" y="104971"/>
                  </a:lnTo>
                  <a:lnTo>
                    <a:pt x="162118" y="105196"/>
                  </a:lnTo>
                  <a:lnTo>
                    <a:pt x="159173" y="106622"/>
                  </a:lnTo>
                  <a:lnTo>
                    <a:pt x="157920" y="106309"/>
                  </a:lnTo>
                  <a:lnTo>
                    <a:pt x="156422" y="105069"/>
                  </a:lnTo>
                  <a:lnTo>
                    <a:pt x="154042" y="104940"/>
                  </a:lnTo>
                  <a:lnTo>
                    <a:pt x="153338" y="104602"/>
                  </a:lnTo>
                  <a:lnTo>
                    <a:pt x="154612" y="103140"/>
                  </a:lnTo>
                  <a:lnTo>
                    <a:pt x="156927" y="102400"/>
                  </a:lnTo>
                  <a:close/>
                  <a:moveTo>
                    <a:pt x="23108" y="99333"/>
                  </a:moveTo>
                  <a:lnTo>
                    <a:pt x="24593" y="101294"/>
                  </a:lnTo>
                  <a:lnTo>
                    <a:pt x="26388" y="101608"/>
                  </a:lnTo>
                  <a:lnTo>
                    <a:pt x="27463" y="102513"/>
                  </a:lnTo>
                  <a:lnTo>
                    <a:pt x="29795" y="105004"/>
                  </a:lnTo>
                  <a:lnTo>
                    <a:pt x="27919" y="104387"/>
                  </a:lnTo>
                  <a:lnTo>
                    <a:pt x="25917" y="106110"/>
                  </a:lnTo>
                  <a:lnTo>
                    <a:pt x="23380" y="104097"/>
                  </a:lnTo>
                  <a:lnTo>
                    <a:pt x="21860" y="102058"/>
                  </a:lnTo>
                  <a:lnTo>
                    <a:pt x="21516" y="101241"/>
                  </a:lnTo>
                  <a:close/>
                  <a:moveTo>
                    <a:pt x="113744" y="97780"/>
                  </a:moveTo>
                  <a:lnTo>
                    <a:pt x="115173" y="99739"/>
                  </a:lnTo>
                  <a:lnTo>
                    <a:pt x="117412" y="99967"/>
                  </a:lnTo>
                  <a:lnTo>
                    <a:pt x="117238" y="101174"/>
                  </a:lnTo>
                  <a:lnTo>
                    <a:pt x="117946" y="102729"/>
                  </a:lnTo>
                  <a:lnTo>
                    <a:pt x="118194" y="103684"/>
                  </a:lnTo>
                  <a:lnTo>
                    <a:pt x="117542" y="105403"/>
                  </a:lnTo>
                  <a:lnTo>
                    <a:pt x="115814" y="103405"/>
                  </a:lnTo>
                  <a:lnTo>
                    <a:pt x="113923" y="102035"/>
                  </a:lnTo>
                  <a:lnTo>
                    <a:pt x="113215" y="100840"/>
                  </a:lnTo>
                  <a:lnTo>
                    <a:pt x="112062" y="100118"/>
                  </a:lnTo>
                  <a:lnTo>
                    <a:pt x="111748" y="98509"/>
                  </a:lnTo>
                  <a:lnTo>
                    <a:pt x="113146" y="97847"/>
                  </a:lnTo>
                  <a:close/>
                  <a:moveTo>
                    <a:pt x="84849" y="97755"/>
                  </a:moveTo>
                  <a:lnTo>
                    <a:pt x="85553" y="97885"/>
                  </a:lnTo>
                  <a:lnTo>
                    <a:pt x="85981" y="98290"/>
                  </a:lnTo>
                  <a:lnTo>
                    <a:pt x="86337" y="99426"/>
                  </a:lnTo>
                  <a:lnTo>
                    <a:pt x="85462" y="100060"/>
                  </a:lnTo>
                  <a:lnTo>
                    <a:pt x="84475" y="100028"/>
                  </a:lnTo>
                  <a:lnTo>
                    <a:pt x="83778" y="99795"/>
                  </a:lnTo>
                  <a:lnTo>
                    <a:pt x="83426" y="99289"/>
                  </a:lnTo>
                  <a:lnTo>
                    <a:pt x="83862" y="99047"/>
                  </a:lnTo>
                  <a:lnTo>
                    <a:pt x="84374" y="98030"/>
                  </a:lnTo>
                  <a:close/>
                  <a:moveTo>
                    <a:pt x="20270" y="85327"/>
                  </a:moveTo>
                  <a:lnTo>
                    <a:pt x="21357" y="87684"/>
                  </a:lnTo>
                  <a:lnTo>
                    <a:pt x="21631" y="90652"/>
                  </a:lnTo>
                  <a:lnTo>
                    <a:pt x="23190" y="91209"/>
                  </a:lnTo>
                  <a:lnTo>
                    <a:pt x="25261" y="93882"/>
                  </a:lnTo>
                  <a:lnTo>
                    <a:pt x="25082" y="95249"/>
                  </a:lnTo>
                  <a:lnTo>
                    <a:pt x="24652" y="95717"/>
                  </a:lnTo>
                  <a:lnTo>
                    <a:pt x="21221" y="94456"/>
                  </a:lnTo>
                  <a:lnTo>
                    <a:pt x="20398" y="95022"/>
                  </a:lnTo>
                  <a:lnTo>
                    <a:pt x="19394" y="94792"/>
                  </a:lnTo>
                  <a:lnTo>
                    <a:pt x="18774" y="93316"/>
                  </a:lnTo>
                  <a:lnTo>
                    <a:pt x="18845" y="92797"/>
                  </a:lnTo>
                  <a:lnTo>
                    <a:pt x="18284" y="91913"/>
                  </a:lnTo>
                  <a:lnTo>
                    <a:pt x="17815" y="91518"/>
                  </a:lnTo>
                  <a:lnTo>
                    <a:pt x="16464" y="92692"/>
                  </a:lnTo>
                  <a:lnTo>
                    <a:pt x="15612" y="92912"/>
                  </a:lnTo>
                  <a:lnTo>
                    <a:pt x="15606" y="91837"/>
                  </a:lnTo>
                  <a:lnTo>
                    <a:pt x="16854" y="88881"/>
                  </a:lnTo>
                  <a:lnTo>
                    <a:pt x="17437" y="88382"/>
                  </a:lnTo>
                  <a:lnTo>
                    <a:pt x="18463" y="89358"/>
                  </a:lnTo>
                  <a:lnTo>
                    <a:pt x="19307" y="88995"/>
                  </a:lnTo>
                  <a:lnTo>
                    <a:pt x="19942" y="87396"/>
                  </a:lnTo>
                  <a:lnTo>
                    <a:pt x="19985" y="85801"/>
                  </a:lnTo>
                  <a:close/>
                  <a:moveTo>
                    <a:pt x="22184" y="85094"/>
                  </a:moveTo>
                  <a:lnTo>
                    <a:pt x="22739" y="85292"/>
                  </a:lnTo>
                  <a:lnTo>
                    <a:pt x="23324" y="85933"/>
                  </a:lnTo>
                  <a:lnTo>
                    <a:pt x="23319" y="86588"/>
                  </a:lnTo>
                  <a:lnTo>
                    <a:pt x="23553" y="87290"/>
                  </a:lnTo>
                  <a:lnTo>
                    <a:pt x="24162" y="88136"/>
                  </a:lnTo>
                  <a:lnTo>
                    <a:pt x="24593" y="89070"/>
                  </a:lnTo>
                  <a:lnTo>
                    <a:pt x="23501" y="89348"/>
                  </a:lnTo>
                  <a:lnTo>
                    <a:pt x="22110" y="86887"/>
                  </a:lnTo>
                  <a:lnTo>
                    <a:pt x="21607" y="85189"/>
                  </a:lnTo>
                  <a:close/>
                  <a:moveTo>
                    <a:pt x="140766" y="82063"/>
                  </a:moveTo>
                  <a:lnTo>
                    <a:pt x="142932" y="83533"/>
                  </a:lnTo>
                  <a:lnTo>
                    <a:pt x="144036" y="83634"/>
                  </a:lnTo>
                  <a:lnTo>
                    <a:pt x="143612" y="85038"/>
                  </a:lnTo>
                  <a:lnTo>
                    <a:pt x="143798" y="85494"/>
                  </a:lnTo>
                  <a:lnTo>
                    <a:pt x="143962" y="89751"/>
                  </a:lnTo>
                  <a:lnTo>
                    <a:pt x="142939" y="90350"/>
                  </a:lnTo>
                  <a:lnTo>
                    <a:pt x="142770" y="91518"/>
                  </a:lnTo>
                  <a:lnTo>
                    <a:pt x="142569" y="91932"/>
                  </a:lnTo>
                  <a:lnTo>
                    <a:pt x="140458" y="93383"/>
                  </a:lnTo>
                  <a:lnTo>
                    <a:pt x="138100" y="91283"/>
                  </a:lnTo>
                  <a:lnTo>
                    <a:pt x="137711" y="90607"/>
                  </a:lnTo>
                  <a:lnTo>
                    <a:pt x="139442" y="89759"/>
                  </a:lnTo>
                  <a:lnTo>
                    <a:pt x="140300" y="88451"/>
                  </a:lnTo>
                  <a:lnTo>
                    <a:pt x="139604" y="86844"/>
                  </a:lnTo>
                  <a:lnTo>
                    <a:pt x="137201" y="84466"/>
                  </a:lnTo>
                  <a:lnTo>
                    <a:pt x="137087" y="82776"/>
                  </a:lnTo>
                  <a:close/>
                  <a:moveTo>
                    <a:pt x="23166" y="75808"/>
                  </a:moveTo>
                  <a:lnTo>
                    <a:pt x="23730" y="76971"/>
                  </a:lnTo>
                  <a:lnTo>
                    <a:pt x="23624" y="81119"/>
                  </a:lnTo>
                  <a:lnTo>
                    <a:pt x="23002" y="81883"/>
                  </a:lnTo>
                  <a:lnTo>
                    <a:pt x="22143" y="82082"/>
                  </a:lnTo>
                  <a:lnTo>
                    <a:pt x="21402" y="81946"/>
                  </a:lnTo>
                  <a:lnTo>
                    <a:pt x="20730" y="82063"/>
                  </a:lnTo>
                  <a:lnTo>
                    <a:pt x="20083" y="82556"/>
                  </a:lnTo>
                  <a:lnTo>
                    <a:pt x="20154" y="80513"/>
                  </a:lnTo>
                  <a:lnTo>
                    <a:pt x="20918" y="77978"/>
                  </a:lnTo>
                  <a:lnTo>
                    <a:pt x="21851" y="76496"/>
                  </a:lnTo>
                  <a:close/>
                  <a:moveTo>
                    <a:pt x="107004" y="72294"/>
                  </a:moveTo>
                  <a:lnTo>
                    <a:pt x="108738" y="73277"/>
                  </a:lnTo>
                  <a:lnTo>
                    <a:pt x="109118" y="74914"/>
                  </a:lnTo>
                  <a:lnTo>
                    <a:pt x="111185" y="76712"/>
                  </a:lnTo>
                  <a:lnTo>
                    <a:pt x="108848" y="77341"/>
                  </a:lnTo>
                  <a:lnTo>
                    <a:pt x="108228" y="77242"/>
                  </a:lnTo>
                  <a:lnTo>
                    <a:pt x="108749" y="76448"/>
                  </a:lnTo>
                  <a:lnTo>
                    <a:pt x="108790" y="76114"/>
                  </a:lnTo>
                  <a:lnTo>
                    <a:pt x="106460" y="74662"/>
                  </a:lnTo>
                  <a:lnTo>
                    <a:pt x="106734" y="72775"/>
                  </a:lnTo>
                  <a:close/>
                  <a:moveTo>
                    <a:pt x="81068" y="70881"/>
                  </a:moveTo>
                  <a:lnTo>
                    <a:pt x="83340" y="72853"/>
                  </a:lnTo>
                  <a:lnTo>
                    <a:pt x="84590" y="75656"/>
                  </a:lnTo>
                  <a:lnTo>
                    <a:pt x="85762" y="76602"/>
                  </a:lnTo>
                  <a:lnTo>
                    <a:pt x="88222" y="77718"/>
                  </a:lnTo>
                  <a:lnTo>
                    <a:pt x="89377" y="77860"/>
                  </a:lnTo>
                  <a:lnTo>
                    <a:pt x="93573" y="79875"/>
                  </a:lnTo>
                  <a:lnTo>
                    <a:pt x="98455" y="80277"/>
                  </a:lnTo>
                  <a:lnTo>
                    <a:pt x="99086" y="80857"/>
                  </a:lnTo>
                  <a:lnTo>
                    <a:pt x="99686" y="82409"/>
                  </a:lnTo>
                  <a:lnTo>
                    <a:pt x="100682" y="83626"/>
                  </a:lnTo>
                  <a:lnTo>
                    <a:pt x="100932" y="84573"/>
                  </a:lnTo>
                  <a:lnTo>
                    <a:pt x="100412" y="85623"/>
                  </a:lnTo>
                  <a:lnTo>
                    <a:pt x="101133" y="88834"/>
                  </a:lnTo>
                  <a:lnTo>
                    <a:pt x="102364" y="91881"/>
                  </a:lnTo>
                  <a:lnTo>
                    <a:pt x="104219" y="93358"/>
                  </a:lnTo>
                  <a:lnTo>
                    <a:pt x="106525" y="93804"/>
                  </a:lnTo>
                  <a:lnTo>
                    <a:pt x="108721" y="93743"/>
                  </a:lnTo>
                  <a:lnTo>
                    <a:pt x="109276" y="94347"/>
                  </a:lnTo>
                  <a:lnTo>
                    <a:pt x="109058" y="97010"/>
                  </a:lnTo>
                  <a:lnTo>
                    <a:pt x="108129" y="98046"/>
                  </a:lnTo>
                  <a:lnTo>
                    <a:pt x="107374" y="98298"/>
                  </a:lnTo>
                  <a:lnTo>
                    <a:pt x="106717" y="98026"/>
                  </a:lnTo>
                  <a:lnTo>
                    <a:pt x="106123" y="97399"/>
                  </a:lnTo>
                  <a:lnTo>
                    <a:pt x="105476" y="97103"/>
                  </a:lnTo>
                  <a:lnTo>
                    <a:pt x="104214" y="97051"/>
                  </a:lnTo>
                  <a:lnTo>
                    <a:pt x="103292" y="95979"/>
                  </a:lnTo>
                  <a:lnTo>
                    <a:pt x="100954" y="94512"/>
                  </a:lnTo>
                  <a:lnTo>
                    <a:pt x="100524" y="93637"/>
                  </a:lnTo>
                  <a:lnTo>
                    <a:pt x="100446" y="92285"/>
                  </a:lnTo>
                  <a:lnTo>
                    <a:pt x="99453" y="91289"/>
                  </a:lnTo>
                  <a:lnTo>
                    <a:pt x="98540" y="89393"/>
                  </a:lnTo>
                  <a:lnTo>
                    <a:pt x="97671" y="88870"/>
                  </a:lnTo>
                  <a:lnTo>
                    <a:pt x="97192" y="87921"/>
                  </a:lnTo>
                  <a:lnTo>
                    <a:pt x="97153" y="87513"/>
                  </a:lnTo>
                  <a:lnTo>
                    <a:pt x="93750" y="87237"/>
                  </a:lnTo>
                  <a:lnTo>
                    <a:pt x="90932" y="87224"/>
                  </a:lnTo>
                  <a:lnTo>
                    <a:pt x="88544" y="86147"/>
                  </a:lnTo>
                  <a:lnTo>
                    <a:pt x="87805" y="83329"/>
                  </a:lnTo>
                  <a:lnTo>
                    <a:pt x="86389" y="82571"/>
                  </a:lnTo>
                  <a:lnTo>
                    <a:pt x="85326" y="81773"/>
                  </a:lnTo>
                  <a:lnTo>
                    <a:pt x="84441" y="80667"/>
                  </a:lnTo>
                  <a:lnTo>
                    <a:pt x="82204" y="78627"/>
                  </a:lnTo>
                  <a:lnTo>
                    <a:pt x="79729" y="76918"/>
                  </a:lnTo>
                  <a:lnTo>
                    <a:pt x="77337" y="75793"/>
                  </a:lnTo>
                  <a:lnTo>
                    <a:pt x="74797" y="75055"/>
                  </a:lnTo>
                  <a:lnTo>
                    <a:pt x="72733" y="75926"/>
                  </a:lnTo>
                  <a:lnTo>
                    <a:pt x="71530" y="75719"/>
                  </a:lnTo>
                  <a:lnTo>
                    <a:pt x="71286" y="75130"/>
                  </a:lnTo>
                  <a:lnTo>
                    <a:pt x="73851" y="73957"/>
                  </a:lnTo>
                  <a:lnTo>
                    <a:pt x="77378" y="71714"/>
                  </a:lnTo>
                  <a:lnTo>
                    <a:pt x="79863" y="70973"/>
                  </a:lnTo>
                  <a:close/>
                  <a:moveTo>
                    <a:pt x="87287" y="66387"/>
                  </a:moveTo>
                  <a:lnTo>
                    <a:pt x="91396" y="68825"/>
                  </a:lnTo>
                  <a:lnTo>
                    <a:pt x="90409" y="69700"/>
                  </a:lnTo>
                  <a:lnTo>
                    <a:pt x="88883" y="69317"/>
                  </a:lnTo>
                  <a:close/>
                  <a:moveTo>
                    <a:pt x="95622" y="64855"/>
                  </a:moveTo>
                  <a:lnTo>
                    <a:pt x="94933" y="66595"/>
                  </a:lnTo>
                  <a:lnTo>
                    <a:pt x="93789" y="67688"/>
                  </a:lnTo>
                  <a:lnTo>
                    <a:pt x="92755" y="67992"/>
                  </a:lnTo>
                  <a:lnTo>
                    <a:pt x="93791" y="65926"/>
                  </a:lnTo>
                  <a:close/>
                  <a:moveTo>
                    <a:pt x="148180" y="61866"/>
                  </a:moveTo>
                  <a:lnTo>
                    <a:pt x="149559" y="63255"/>
                  </a:lnTo>
                  <a:lnTo>
                    <a:pt x="149175" y="64793"/>
                  </a:lnTo>
                  <a:lnTo>
                    <a:pt x="152233" y="67340"/>
                  </a:lnTo>
                  <a:lnTo>
                    <a:pt x="153276" y="68951"/>
                  </a:lnTo>
                  <a:lnTo>
                    <a:pt x="153660" y="70521"/>
                  </a:lnTo>
                  <a:lnTo>
                    <a:pt x="153403" y="70971"/>
                  </a:lnTo>
                  <a:lnTo>
                    <a:pt x="152243" y="70120"/>
                  </a:lnTo>
                  <a:lnTo>
                    <a:pt x="151296" y="69849"/>
                  </a:lnTo>
                  <a:lnTo>
                    <a:pt x="151615" y="70971"/>
                  </a:lnTo>
                  <a:lnTo>
                    <a:pt x="152589" y="71935"/>
                  </a:lnTo>
                  <a:lnTo>
                    <a:pt x="150855" y="72487"/>
                  </a:lnTo>
                  <a:lnTo>
                    <a:pt x="149117" y="72458"/>
                  </a:lnTo>
                  <a:lnTo>
                    <a:pt x="144046" y="71115"/>
                  </a:lnTo>
                  <a:lnTo>
                    <a:pt x="142876" y="69688"/>
                  </a:lnTo>
                  <a:lnTo>
                    <a:pt x="145910" y="67538"/>
                  </a:lnTo>
                  <a:lnTo>
                    <a:pt x="146530" y="66672"/>
                  </a:lnTo>
                  <a:lnTo>
                    <a:pt x="144381" y="66757"/>
                  </a:lnTo>
                  <a:lnTo>
                    <a:pt x="142090" y="69311"/>
                  </a:lnTo>
                  <a:lnTo>
                    <a:pt x="138417" y="68189"/>
                  </a:lnTo>
                  <a:lnTo>
                    <a:pt x="137294" y="67162"/>
                  </a:lnTo>
                  <a:lnTo>
                    <a:pt x="137043" y="66608"/>
                  </a:lnTo>
                  <a:lnTo>
                    <a:pt x="138490" y="64341"/>
                  </a:lnTo>
                  <a:lnTo>
                    <a:pt x="141075" y="64417"/>
                  </a:lnTo>
                  <a:lnTo>
                    <a:pt x="142444" y="63907"/>
                  </a:lnTo>
                  <a:lnTo>
                    <a:pt x="144135" y="63190"/>
                  </a:lnTo>
                  <a:lnTo>
                    <a:pt x="144148" y="62112"/>
                  </a:lnTo>
                  <a:close/>
                  <a:moveTo>
                    <a:pt x="4248" y="50509"/>
                  </a:moveTo>
                  <a:lnTo>
                    <a:pt x="5422" y="51103"/>
                  </a:lnTo>
                  <a:lnTo>
                    <a:pt x="6182" y="51716"/>
                  </a:lnTo>
                  <a:lnTo>
                    <a:pt x="6420" y="52418"/>
                  </a:lnTo>
                  <a:lnTo>
                    <a:pt x="4770" y="53826"/>
                  </a:lnTo>
                  <a:lnTo>
                    <a:pt x="4427" y="54463"/>
                  </a:lnTo>
                  <a:lnTo>
                    <a:pt x="5697" y="55727"/>
                  </a:lnTo>
                  <a:lnTo>
                    <a:pt x="5675" y="56233"/>
                  </a:lnTo>
                  <a:lnTo>
                    <a:pt x="6211" y="58677"/>
                  </a:lnTo>
                  <a:lnTo>
                    <a:pt x="6828" y="59599"/>
                  </a:lnTo>
                  <a:lnTo>
                    <a:pt x="8430" y="60334"/>
                  </a:lnTo>
                  <a:lnTo>
                    <a:pt x="9540" y="60577"/>
                  </a:lnTo>
                  <a:lnTo>
                    <a:pt x="10020" y="62032"/>
                  </a:lnTo>
                  <a:lnTo>
                    <a:pt x="7265" y="61129"/>
                  </a:lnTo>
                  <a:lnTo>
                    <a:pt x="5252" y="59829"/>
                  </a:lnTo>
                  <a:lnTo>
                    <a:pt x="3591" y="56615"/>
                  </a:lnTo>
                  <a:lnTo>
                    <a:pt x="54" y="52953"/>
                  </a:lnTo>
                  <a:lnTo>
                    <a:pt x="0" y="51889"/>
                  </a:lnTo>
                  <a:lnTo>
                    <a:pt x="1345" y="51082"/>
                  </a:lnTo>
                  <a:close/>
                  <a:moveTo>
                    <a:pt x="128309" y="44914"/>
                  </a:moveTo>
                  <a:lnTo>
                    <a:pt x="128056" y="46257"/>
                  </a:lnTo>
                  <a:lnTo>
                    <a:pt x="127220" y="47137"/>
                  </a:lnTo>
                  <a:lnTo>
                    <a:pt x="126605" y="48654"/>
                  </a:lnTo>
                  <a:lnTo>
                    <a:pt x="126272" y="50821"/>
                  </a:lnTo>
                  <a:lnTo>
                    <a:pt x="124983" y="50873"/>
                  </a:lnTo>
                  <a:lnTo>
                    <a:pt x="124202" y="50435"/>
                  </a:lnTo>
                  <a:lnTo>
                    <a:pt x="123945" y="49616"/>
                  </a:lnTo>
                  <a:lnTo>
                    <a:pt x="123893" y="48581"/>
                  </a:lnTo>
                  <a:lnTo>
                    <a:pt x="123327" y="48621"/>
                  </a:lnTo>
                  <a:lnTo>
                    <a:pt x="122871" y="49746"/>
                  </a:lnTo>
                  <a:lnTo>
                    <a:pt x="122472" y="50253"/>
                  </a:lnTo>
                  <a:lnTo>
                    <a:pt x="121174" y="50360"/>
                  </a:lnTo>
                  <a:lnTo>
                    <a:pt x="119753" y="49668"/>
                  </a:lnTo>
                  <a:lnTo>
                    <a:pt x="119820" y="48171"/>
                  </a:lnTo>
                  <a:lnTo>
                    <a:pt x="119535" y="46438"/>
                  </a:lnTo>
                  <a:lnTo>
                    <a:pt x="119660" y="45831"/>
                  </a:lnTo>
                  <a:lnTo>
                    <a:pt x="123556" y="45681"/>
                  </a:lnTo>
                  <a:lnTo>
                    <a:pt x="124696" y="46961"/>
                  </a:lnTo>
                  <a:lnTo>
                    <a:pt x="126074" y="46219"/>
                  </a:lnTo>
                  <a:lnTo>
                    <a:pt x="126639" y="45417"/>
                  </a:lnTo>
                  <a:close/>
                  <a:moveTo>
                    <a:pt x="130950" y="32341"/>
                  </a:moveTo>
                  <a:lnTo>
                    <a:pt x="132183" y="32966"/>
                  </a:lnTo>
                  <a:lnTo>
                    <a:pt x="133066" y="33702"/>
                  </a:lnTo>
                  <a:lnTo>
                    <a:pt x="133541" y="34679"/>
                  </a:lnTo>
                  <a:lnTo>
                    <a:pt x="131040" y="35363"/>
                  </a:lnTo>
                  <a:lnTo>
                    <a:pt x="128285" y="33206"/>
                  </a:lnTo>
                  <a:close/>
                  <a:moveTo>
                    <a:pt x="110049" y="25075"/>
                  </a:moveTo>
                  <a:lnTo>
                    <a:pt x="112167" y="25249"/>
                  </a:lnTo>
                  <a:lnTo>
                    <a:pt x="113372" y="26719"/>
                  </a:lnTo>
                  <a:lnTo>
                    <a:pt x="113653" y="27413"/>
                  </a:lnTo>
                  <a:lnTo>
                    <a:pt x="113262" y="28592"/>
                  </a:lnTo>
                  <a:lnTo>
                    <a:pt x="113385" y="29738"/>
                  </a:lnTo>
                  <a:lnTo>
                    <a:pt x="110548" y="30675"/>
                  </a:lnTo>
                  <a:lnTo>
                    <a:pt x="107665" y="28903"/>
                  </a:lnTo>
                  <a:lnTo>
                    <a:pt x="107691" y="27849"/>
                  </a:lnTo>
                  <a:lnTo>
                    <a:pt x="109213" y="25709"/>
                  </a:lnTo>
                  <a:close/>
                  <a:moveTo>
                    <a:pt x="144925" y="0"/>
                  </a:moveTo>
                  <a:lnTo>
                    <a:pt x="147585" y="721"/>
                  </a:lnTo>
                  <a:lnTo>
                    <a:pt x="149568" y="1256"/>
                  </a:lnTo>
                  <a:lnTo>
                    <a:pt x="150717" y="2129"/>
                  </a:lnTo>
                  <a:lnTo>
                    <a:pt x="151436" y="2926"/>
                  </a:lnTo>
                  <a:lnTo>
                    <a:pt x="152530" y="3614"/>
                  </a:lnTo>
                  <a:lnTo>
                    <a:pt x="153345" y="3772"/>
                  </a:lnTo>
                  <a:lnTo>
                    <a:pt x="153973" y="6128"/>
                  </a:lnTo>
                  <a:lnTo>
                    <a:pt x="154308" y="9045"/>
                  </a:lnTo>
                  <a:lnTo>
                    <a:pt x="153809" y="10301"/>
                  </a:lnTo>
                  <a:lnTo>
                    <a:pt x="152351" y="10592"/>
                  </a:lnTo>
                  <a:lnTo>
                    <a:pt x="147802" y="13345"/>
                  </a:lnTo>
                  <a:lnTo>
                    <a:pt x="147692" y="15861"/>
                  </a:lnTo>
                  <a:lnTo>
                    <a:pt x="147752" y="17079"/>
                  </a:lnTo>
                  <a:lnTo>
                    <a:pt x="147845" y="17940"/>
                  </a:lnTo>
                  <a:lnTo>
                    <a:pt x="148320" y="18665"/>
                  </a:lnTo>
                  <a:lnTo>
                    <a:pt x="148320" y="19710"/>
                  </a:lnTo>
                  <a:lnTo>
                    <a:pt x="147810" y="20829"/>
                  </a:lnTo>
                  <a:lnTo>
                    <a:pt x="145823" y="22703"/>
                  </a:lnTo>
                  <a:lnTo>
                    <a:pt x="144446" y="24193"/>
                  </a:lnTo>
                  <a:lnTo>
                    <a:pt x="142904" y="26211"/>
                  </a:lnTo>
                  <a:lnTo>
                    <a:pt x="142032" y="26457"/>
                  </a:lnTo>
                  <a:lnTo>
                    <a:pt x="141352" y="26812"/>
                  </a:lnTo>
                  <a:lnTo>
                    <a:pt x="140727" y="25699"/>
                  </a:lnTo>
                  <a:lnTo>
                    <a:pt x="137298" y="23731"/>
                  </a:lnTo>
                  <a:lnTo>
                    <a:pt x="129362" y="22583"/>
                  </a:lnTo>
                  <a:lnTo>
                    <a:pt x="125571" y="21129"/>
                  </a:lnTo>
                  <a:lnTo>
                    <a:pt x="123908" y="21399"/>
                  </a:lnTo>
                  <a:lnTo>
                    <a:pt x="120688" y="19771"/>
                  </a:lnTo>
                  <a:lnTo>
                    <a:pt x="118481" y="20486"/>
                  </a:lnTo>
                  <a:lnTo>
                    <a:pt x="113800" y="23378"/>
                  </a:lnTo>
                  <a:lnTo>
                    <a:pt x="111273" y="23064"/>
                  </a:lnTo>
                  <a:lnTo>
                    <a:pt x="108572" y="21326"/>
                  </a:lnTo>
                  <a:lnTo>
                    <a:pt x="106814" y="21006"/>
                  </a:lnTo>
                  <a:lnTo>
                    <a:pt x="104752" y="21927"/>
                  </a:lnTo>
                  <a:lnTo>
                    <a:pt x="101448" y="25253"/>
                  </a:lnTo>
                  <a:lnTo>
                    <a:pt x="98086" y="26882"/>
                  </a:lnTo>
                  <a:lnTo>
                    <a:pt x="95074" y="26245"/>
                  </a:lnTo>
                  <a:lnTo>
                    <a:pt x="91021" y="26259"/>
                  </a:lnTo>
                  <a:lnTo>
                    <a:pt x="90588" y="28117"/>
                  </a:lnTo>
                  <a:lnTo>
                    <a:pt x="91373" y="29402"/>
                  </a:lnTo>
                  <a:lnTo>
                    <a:pt x="93588" y="31593"/>
                  </a:lnTo>
                  <a:lnTo>
                    <a:pt x="92549" y="33239"/>
                  </a:lnTo>
                  <a:lnTo>
                    <a:pt x="93320" y="34888"/>
                  </a:lnTo>
                  <a:lnTo>
                    <a:pt x="94763" y="35223"/>
                  </a:lnTo>
                  <a:lnTo>
                    <a:pt x="96942" y="35130"/>
                  </a:lnTo>
                  <a:lnTo>
                    <a:pt x="100971" y="37263"/>
                  </a:lnTo>
                  <a:lnTo>
                    <a:pt x="102733" y="39510"/>
                  </a:lnTo>
                  <a:lnTo>
                    <a:pt x="103858" y="41968"/>
                  </a:lnTo>
                  <a:lnTo>
                    <a:pt x="101405" y="40206"/>
                  </a:lnTo>
                  <a:lnTo>
                    <a:pt x="99777" y="38511"/>
                  </a:lnTo>
                  <a:lnTo>
                    <a:pt x="97505" y="37896"/>
                  </a:lnTo>
                  <a:lnTo>
                    <a:pt x="94346" y="36452"/>
                  </a:lnTo>
                  <a:lnTo>
                    <a:pt x="92362" y="36211"/>
                  </a:lnTo>
                  <a:lnTo>
                    <a:pt x="90250" y="37212"/>
                  </a:lnTo>
                  <a:lnTo>
                    <a:pt x="90085" y="38348"/>
                  </a:lnTo>
                  <a:lnTo>
                    <a:pt x="92362" y="40468"/>
                  </a:lnTo>
                  <a:lnTo>
                    <a:pt x="94443" y="41772"/>
                  </a:lnTo>
                  <a:lnTo>
                    <a:pt x="95547" y="42833"/>
                  </a:lnTo>
                  <a:lnTo>
                    <a:pt x="96283" y="45180"/>
                  </a:lnTo>
                  <a:lnTo>
                    <a:pt x="95864" y="45977"/>
                  </a:lnTo>
                  <a:lnTo>
                    <a:pt x="95095" y="46719"/>
                  </a:lnTo>
                  <a:lnTo>
                    <a:pt x="92625" y="45241"/>
                  </a:lnTo>
                  <a:lnTo>
                    <a:pt x="88848" y="39980"/>
                  </a:lnTo>
                  <a:lnTo>
                    <a:pt x="83579" y="38931"/>
                  </a:lnTo>
                  <a:lnTo>
                    <a:pt x="82698" y="40029"/>
                  </a:lnTo>
                  <a:lnTo>
                    <a:pt x="83733" y="42811"/>
                  </a:lnTo>
                  <a:lnTo>
                    <a:pt x="84482" y="43894"/>
                  </a:lnTo>
                  <a:lnTo>
                    <a:pt x="89060" y="46894"/>
                  </a:lnTo>
                  <a:lnTo>
                    <a:pt x="88693" y="47530"/>
                  </a:lnTo>
                  <a:lnTo>
                    <a:pt x="88025" y="47801"/>
                  </a:lnTo>
                  <a:lnTo>
                    <a:pt x="82901" y="46087"/>
                  </a:lnTo>
                  <a:lnTo>
                    <a:pt x="81411" y="43476"/>
                  </a:lnTo>
                  <a:lnTo>
                    <a:pt x="81053" y="40173"/>
                  </a:lnTo>
                  <a:lnTo>
                    <a:pt x="76324" y="37877"/>
                  </a:lnTo>
                  <a:lnTo>
                    <a:pt x="71864" y="35377"/>
                  </a:lnTo>
                  <a:lnTo>
                    <a:pt x="70867" y="33002"/>
                  </a:lnTo>
                  <a:lnTo>
                    <a:pt x="71785" y="32121"/>
                  </a:lnTo>
                  <a:lnTo>
                    <a:pt x="72435" y="30375"/>
                  </a:lnTo>
                  <a:lnTo>
                    <a:pt x="69984" y="30697"/>
                  </a:lnTo>
                  <a:lnTo>
                    <a:pt x="68446" y="31801"/>
                  </a:lnTo>
                  <a:lnTo>
                    <a:pt x="65961" y="32872"/>
                  </a:lnTo>
                  <a:lnTo>
                    <a:pt x="65859" y="34625"/>
                  </a:lnTo>
                  <a:lnTo>
                    <a:pt x="66252" y="36248"/>
                  </a:lnTo>
                  <a:lnTo>
                    <a:pt x="65430" y="38606"/>
                  </a:lnTo>
                  <a:lnTo>
                    <a:pt x="64631" y="42709"/>
                  </a:lnTo>
                  <a:lnTo>
                    <a:pt x="65136" y="44859"/>
                  </a:lnTo>
                  <a:lnTo>
                    <a:pt x="70521" y="51017"/>
                  </a:lnTo>
                  <a:lnTo>
                    <a:pt x="72363" y="55482"/>
                  </a:lnTo>
                  <a:lnTo>
                    <a:pt x="73685" y="57173"/>
                  </a:lnTo>
                  <a:lnTo>
                    <a:pt x="76441" y="59037"/>
                  </a:lnTo>
                  <a:lnTo>
                    <a:pt x="79314" y="62503"/>
                  </a:lnTo>
                  <a:lnTo>
                    <a:pt x="80533" y="64308"/>
                  </a:lnTo>
                  <a:lnTo>
                    <a:pt x="81400" y="67259"/>
                  </a:lnTo>
                  <a:lnTo>
                    <a:pt x="78982" y="69084"/>
                  </a:lnTo>
                  <a:lnTo>
                    <a:pt x="77574" y="69160"/>
                  </a:lnTo>
                  <a:lnTo>
                    <a:pt x="76794" y="68350"/>
                  </a:lnTo>
                  <a:lnTo>
                    <a:pt x="77885" y="66339"/>
                  </a:lnTo>
                  <a:lnTo>
                    <a:pt x="77730" y="65113"/>
                  </a:lnTo>
                  <a:lnTo>
                    <a:pt x="73996" y="63214"/>
                  </a:lnTo>
                  <a:lnTo>
                    <a:pt x="72415" y="63854"/>
                  </a:lnTo>
                  <a:lnTo>
                    <a:pt x="70593" y="65091"/>
                  </a:lnTo>
                  <a:lnTo>
                    <a:pt x="71633" y="67387"/>
                  </a:lnTo>
                  <a:lnTo>
                    <a:pt x="72804" y="68899"/>
                  </a:lnTo>
                  <a:lnTo>
                    <a:pt x="73391" y="70984"/>
                  </a:lnTo>
                  <a:lnTo>
                    <a:pt x="75629" y="70803"/>
                  </a:lnTo>
                  <a:lnTo>
                    <a:pt x="72616" y="73135"/>
                  </a:lnTo>
                  <a:lnTo>
                    <a:pt x="69789" y="74326"/>
                  </a:lnTo>
                  <a:lnTo>
                    <a:pt x="67008" y="74395"/>
                  </a:lnTo>
                  <a:lnTo>
                    <a:pt x="65237" y="74611"/>
                  </a:lnTo>
                  <a:lnTo>
                    <a:pt x="64627" y="75207"/>
                  </a:lnTo>
                  <a:lnTo>
                    <a:pt x="66067" y="75641"/>
                  </a:lnTo>
                  <a:lnTo>
                    <a:pt x="67243" y="75680"/>
                  </a:lnTo>
                  <a:lnTo>
                    <a:pt x="69157" y="76939"/>
                  </a:lnTo>
                  <a:lnTo>
                    <a:pt x="74603" y="78449"/>
                  </a:lnTo>
                  <a:lnTo>
                    <a:pt x="77198" y="80355"/>
                  </a:lnTo>
                  <a:lnTo>
                    <a:pt x="79747" y="80529"/>
                  </a:lnTo>
                  <a:lnTo>
                    <a:pt x="82312" y="84025"/>
                  </a:lnTo>
                  <a:lnTo>
                    <a:pt x="86749" y="84955"/>
                  </a:lnTo>
                  <a:lnTo>
                    <a:pt x="89278" y="88478"/>
                  </a:lnTo>
                  <a:lnTo>
                    <a:pt x="92640" y="89171"/>
                  </a:lnTo>
                  <a:lnTo>
                    <a:pt x="95536" y="90469"/>
                  </a:lnTo>
                  <a:lnTo>
                    <a:pt x="96384" y="91707"/>
                  </a:lnTo>
                  <a:lnTo>
                    <a:pt x="96807" y="93941"/>
                  </a:lnTo>
                  <a:lnTo>
                    <a:pt x="96995" y="98672"/>
                  </a:lnTo>
                  <a:lnTo>
                    <a:pt x="97622" y="102191"/>
                  </a:lnTo>
                  <a:lnTo>
                    <a:pt x="97643" y="103303"/>
                  </a:lnTo>
                  <a:lnTo>
                    <a:pt x="97490" y="104963"/>
                  </a:lnTo>
                  <a:lnTo>
                    <a:pt x="96702" y="105778"/>
                  </a:lnTo>
                  <a:lnTo>
                    <a:pt x="95637" y="105803"/>
                  </a:lnTo>
                  <a:lnTo>
                    <a:pt x="93553" y="103219"/>
                  </a:lnTo>
                  <a:lnTo>
                    <a:pt x="90357" y="100497"/>
                  </a:lnTo>
                  <a:lnTo>
                    <a:pt x="86989" y="97256"/>
                  </a:lnTo>
                  <a:lnTo>
                    <a:pt x="86032" y="96687"/>
                  </a:lnTo>
                  <a:lnTo>
                    <a:pt x="85249" y="96633"/>
                  </a:lnTo>
                  <a:lnTo>
                    <a:pt x="83446" y="97730"/>
                  </a:lnTo>
                  <a:lnTo>
                    <a:pt x="78436" y="98577"/>
                  </a:lnTo>
                  <a:lnTo>
                    <a:pt x="76086" y="99761"/>
                  </a:lnTo>
                  <a:lnTo>
                    <a:pt x="75203" y="100022"/>
                  </a:lnTo>
                  <a:lnTo>
                    <a:pt x="74957" y="100643"/>
                  </a:lnTo>
                  <a:lnTo>
                    <a:pt x="76058" y="101290"/>
                  </a:lnTo>
                  <a:lnTo>
                    <a:pt x="77408" y="102770"/>
                  </a:lnTo>
                  <a:lnTo>
                    <a:pt x="77408" y="104793"/>
                  </a:lnTo>
                  <a:lnTo>
                    <a:pt x="78522" y="107248"/>
                  </a:lnTo>
                  <a:lnTo>
                    <a:pt x="79962" y="107882"/>
                  </a:lnTo>
                  <a:lnTo>
                    <a:pt x="81839" y="107828"/>
                  </a:lnTo>
                  <a:lnTo>
                    <a:pt x="82914" y="108281"/>
                  </a:lnTo>
                  <a:lnTo>
                    <a:pt x="83193" y="109258"/>
                  </a:lnTo>
                  <a:lnTo>
                    <a:pt x="84283" y="110398"/>
                  </a:lnTo>
                  <a:lnTo>
                    <a:pt x="85002" y="111242"/>
                  </a:lnTo>
                  <a:lnTo>
                    <a:pt x="84972" y="111846"/>
                  </a:lnTo>
                  <a:lnTo>
                    <a:pt x="79738" y="113451"/>
                  </a:lnTo>
                  <a:lnTo>
                    <a:pt x="78643" y="114184"/>
                  </a:lnTo>
                  <a:lnTo>
                    <a:pt x="77725" y="114559"/>
                  </a:lnTo>
                  <a:lnTo>
                    <a:pt x="76365" y="113796"/>
                  </a:lnTo>
                  <a:lnTo>
                    <a:pt x="76287" y="111836"/>
                  </a:lnTo>
                  <a:lnTo>
                    <a:pt x="74488" y="110784"/>
                  </a:lnTo>
                  <a:lnTo>
                    <a:pt x="72838" y="109883"/>
                  </a:lnTo>
                  <a:lnTo>
                    <a:pt x="70861" y="109496"/>
                  </a:lnTo>
                  <a:lnTo>
                    <a:pt x="69178" y="108146"/>
                  </a:lnTo>
                  <a:lnTo>
                    <a:pt x="68081" y="109243"/>
                  </a:lnTo>
                  <a:lnTo>
                    <a:pt x="68958" y="113042"/>
                  </a:lnTo>
                  <a:lnTo>
                    <a:pt x="70861" y="115656"/>
                  </a:lnTo>
                  <a:lnTo>
                    <a:pt x="74043" y="122656"/>
                  </a:lnTo>
                  <a:lnTo>
                    <a:pt x="75488" y="126783"/>
                  </a:lnTo>
                  <a:lnTo>
                    <a:pt x="75780" y="128778"/>
                  </a:lnTo>
                  <a:lnTo>
                    <a:pt x="75060" y="132087"/>
                  </a:lnTo>
                  <a:lnTo>
                    <a:pt x="76624" y="134544"/>
                  </a:lnTo>
                  <a:lnTo>
                    <a:pt x="77695" y="137065"/>
                  </a:lnTo>
                  <a:lnTo>
                    <a:pt x="76516" y="136970"/>
                  </a:lnTo>
                  <a:lnTo>
                    <a:pt x="75493" y="136081"/>
                  </a:lnTo>
                  <a:lnTo>
                    <a:pt x="73776" y="135032"/>
                  </a:lnTo>
                  <a:lnTo>
                    <a:pt x="70446" y="131007"/>
                  </a:lnTo>
                  <a:lnTo>
                    <a:pt x="69286" y="128493"/>
                  </a:lnTo>
                  <a:lnTo>
                    <a:pt x="67900" y="128296"/>
                  </a:lnTo>
                  <a:lnTo>
                    <a:pt x="65494" y="128657"/>
                  </a:lnTo>
                  <a:lnTo>
                    <a:pt x="62856" y="134024"/>
                  </a:lnTo>
                  <a:lnTo>
                    <a:pt x="62864" y="137095"/>
                  </a:lnTo>
                  <a:lnTo>
                    <a:pt x="61500" y="136364"/>
                  </a:lnTo>
                  <a:lnTo>
                    <a:pt x="60329" y="135407"/>
                  </a:lnTo>
                  <a:lnTo>
                    <a:pt x="60472" y="132045"/>
                  </a:lnTo>
                  <a:lnTo>
                    <a:pt x="60355" y="130632"/>
                  </a:lnTo>
                  <a:lnTo>
                    <a:pt x="57153" y="126045"/>
                  </a:lnTo>
                  <a:lnTo>
                    <a:pt x="55684" y="125530"/>
                  </a:lnTo>
                  <a:lnTo>
                    <a:pt x="55000" y="123978"/>
                  </a:lnTo>
                  <a:lnTo>
                    <a:pt x="53821" y="122324"/>
                  </a:lnTo>
                  <a:lnTo>
                    <a:pt x="52301" y="122641"/>
                  </a:lnTo>
                  <a:lnTo>
                    <a:pt x="51059" y="123312"/>
                  </a:lnTo>
                  <a:lnTo>
                    <a:pt x="50716" y="125811"/>
                  </a:lnTo>
                  <a:lnTo>
                    <a:pt x="50588" y="128050"/>
                  </a:lnTo>
                  <a:lnTo>
                    <a:pt x="49662" y="129734"/>
                  </a:lnTo>
                  <a:lnTo>
                    <a:pt x="46250" y="126536"/>
                  </a:lnTo>
                  <a:lnTo>
                    <a:pt x="42819" y="121001"/>
                  </a:lnTo>
                  <a:lnTo>
                    <a:pt x="42728" y="117960"/>
                  </a:lnTo>
                  <a:lnTo>
                    <a:pt x="45242" y="115185"/>
                  </a:lnTo>
                  <a:lnTo>
                    <a:pt x="44941" y="113198"/>
                  </a:lnTo>
                  <a:lnTo>
                    <a:pt x="42562" y="109272"/>
                  </a:lnTo>
                  <a:lnTo>
                    <a:pt x="39133" y="106744"/>
                  </a:lnTo>
                  <a:lnTo>
                    <a:pt x="37211" y="105993"/>
                  </a:lnTo>
                  <a:lnTo>
                    <a:pt x="36308" y="103303"/>
                  </a:lnTo>
                  <a:lnTo>
                    <a:pt x="34468" y="101912"/>
                  </a:lnTo>
                  <a:lnTo>
                    <a:pt x="32980" y="101264"/>
                  </a:lnTo>
                  <a:lnTo>
                    <a:pt x="32687" y="100305"/>
                  </a:lnTo>
                  <a:lnTo>
                    <a:pt x="33136" y="99595"/>
                  </a:lnTo>
                  <a:lnTo>
                    <a:pt x="36742" y="96823"/>
                  </a:lnTo>
                  <a:lnTo>
                    <a:pt x="38856" y="92481"/>
                  </a:lnTo>
                  <a:lnTo>
                    <a:pt x="39906" y="92274"/>
                  </a:lnTo>
                  <a:lnTo>
                    <a:pt x="42063" y="93304"/>
                  </a:lnTo>
                  <a:lnTo>
                    <a:pt x="44488" y="93035"/>
                  </a:lnTo>
                  <a:lnTo>
                    <a:pt x="46479" y="90489"/>
                  </a:lnTo>
                  <a:lnTo>
                    <a:pt x="48165" y="89103"/>
                  </a:lnTo>
                  <a:lnTo>
                    <a:pt x="51009" y="89282"/>
                  </a:lnTo>
                  <a:lnTo>
                    <a:pt x="57431" y="92685"/>
                  </a:lnTo>
                  <a:lnTo>
                    <a:pt x="64333" y="94623"/>
                  </a:lnTo>
                  <a:lnTo>
                    <a:pt x="67775" y="96324"/>
                  </a:lnTo>
                  <a:lnTo>
                    <a:pt x="69722" y="98009"/>
                  </a:lnTo>
                  <a:lnTo>
                    <a:pt x="70757" y="98358"/>
                  </a:lnTo>
                  <a:lnTo>
                    <a:pt x="72392" y="98596"/>
                  </a:lnTo>
                  <a:lnTo>
                    <a:pt x="72318" y="97336"/>
                  </a:lnTo>
                  <a:lnTo>
                    <a:pt x="71791" y="96221"/>
                  </a:lnTo>
                  <a:lnTo>
                    <a:pt x="73154" y="95614"/>
                  </a:lnTo>
                  <a:lnTo>
                    <a:pt x="76853" y="95646"/>
                  </a:lnTo>
                  <a:lnTo>
                    <a:pt x="77526" y="95055"/>
                  </a:lnTo>
                  <a:lnTo>
                    <a:pt x="78211" y="94098"/>
                  </a:lnTo>
                  <a:lnTo>
                    <a:pt x="77447" y="93010"/>
                  </a:lnTo>
                  <a:lnTo>
                    <a:pt x="76222" y="92487"/>
                  </a:lnTo>
                  <a:lnTo>
                    <a:pt x="74913" y="92342"/>
                  </a:lnTo>
                  <a:lnTo>
                    <a:pt x="74052" y="91997"/>
                  </a:lnTo>
                  <a:lnTo>
                    <a:pt x="72661" y="92345"/>
                  </a:lnTo>
                  <a:lnTo>
                    <a:pt x="70491" y="91504"/>
                  </a:lnTo>
                  <a:lnTo>
                    <a:pt x="69370" y="90810"/>
                  </a:lnTo>
                  <a:lnTo>
                    <a:pt x="68712" y="90096"/>
                  </a:lnTo>
                  <a:lnTo>
                    <a:pt x="64942" y="88672"/>
                  </a:lnTo>
                  <a:lnTo>
                    <a:pt x="61366" y="86264"/>
                  </a:lnTo>
                  <a:lnTo>
                    <a:pt x="60560" y="87627"/>
                  </a:lnTo>
                  <a:lnTo>
                    <a:pt x="59116" y="88366"/>
                  </a:lnTo>
                  <a:lnTo>
                    <a:pt x="57058" y="88468"/>
                  </a:lnTo>
                  <a:lnTo>
                    <a:pt x="51275" y="86935"/>
                  </a:lnTo>
                  <a:lnTo>
                    <a:pt x="47722" y="88105"/>
                  </a:lnTo>
                  <a:lnTo>
                    <a:pt x="45786" y="88412"/>
                  </a:lnTo>
                  <a:lnTo>
                    <a:pt x="44304" y="88438"/>
                  </a:lnTo>
                  <a:lnTo>
                    <a:pt x="42482" y="88963"/>
                  </a:lnTo>
                  <a:lnTo>
                    <a:pt x="40379" y="89277"/>
                  </a:lnTo>
                  <a:lnTo>
                    <a:pt x="38556" y="87054"/>
                  </a:lnTo>
                  <a:lnTo>
                    <a:pt x="37789" y="85331"/>
                  </a:lnTo>
                  <a:lnTo>
                    <a:pt x="37249" y="85009"/>
                  </a:lnTo>
                  <a:lnTo>
                    <a:pt x="37222" y="86628"/>
                  </a:lnTo>
                  <a:lnTo>
                    <a:pt x="36636" y="87926"/>
                  </a:lnTo>
                  <a:lnTo>
                    <a:pt x="33968" y="88655"/>
                  </a:lnTo>
                  <a:lnTo>
                    <a:pt x="32432" y="87650"/>
                  </a:lnTo>
                  <a:lnTo>
                    <a:pt x="31251" y="84598"/>
                  </a:lnTo>
                  <a:lnTo>
                    <a:pt x="29757" y="80715"/>
                  </a:lnTo>
                  <a:lnTo>
                    <a:pt x="27126" y="77576"/>
                  </a:lnTo>
                  <a:lnTo>
                    <a:pt x="24995" y="76755"/>
                  </a:lnTo>
                  <a:lnTo>
                    <a:pt x="24811" y="75029"/>
                  </a:lnTo>
                  <a:lnTo>
                    <a:pt x="25006" y="73647"/>
                  </a:lnTo>
                  <a:lnTo>
                    <a:pt x="27567" y="73306"/>
                  </a:lnTo>
                  <a:lnTo>
                    <a:pt x="31570" y="74751"/>
                  </a:lnTo>
                  <a:lnTo>
                    <a:pt x="32397" y="74464"/>
                  </a:lnTo>
                  <a:lnTo>
                    <a:pt x="33298" y="73797"/>
                  </a:lnTo>
                  <a:lnTo>
                    <a:pt x="33125" y="72322"/>
                  </a:lnTo>
                  <a:lnTo>
                    <a:pt x="32547" y="71008"/>
                  </a:lnTo>
                  <a:lnTo>
                    <a:pt x="31445" y="70949"/>
                  </a:lnTo>
                  <a:lnTo>
                    <a:pt x="30683" y="71105"/>
                  </a:lnTo>
                  <a:lnTo>
                    <a:pt x="28221" y="70833"/>
                  </a:lnTo>
                  <a:lnTo>
                    <a:pt x="25058" y="71563"/>
                  </a:lnTo>
                  <a:lnTo>
                    <a:pt x="23591" y="70875"/>
                  </a:lnTo>
                  <a:lnTo>
                    <a:pt x="23103" y="70039"/>
                  </a:lnTo>
                  <a:lnTo>
                    <a:pt x="20458" y="67963"/>
                  </a:lnTo>
                  <a:lnTo>
                    <a:pt x="18172" y="65177"/>
                  </a:lnTo>
                  <a:lnTo>
                    <a:pt x="14468" y="63316"/>
                  </a:lnTo>
                  <a:lnTo>
                    <a:pt x="12049" y="57641"/>
                  </a:lnTo>
                  <a:lnTo>
                    <a:pt x="10015" y="55161"/>
                  </a:lnTo>
                  <a:lnTo>
                    <a:pt x="7845" y="53389"/>
                  </a:lnTo>
                  <a:lnTo>
                    <a:pt x="8316" y="53356"/>
                  </a:lnTo>
                  <a:lnTo>
                    <a:pt x="9139" y="53657"/>
                  </a:lnTo>
                  <a:lnTo>
                    <a:pt x="10715" y="54632"/>
                  </a:lnTo>
                  <a:lnTo>
                    <a:pt x="12391" y="54842"/>
                  </a:lnTo>
                  <a:lnTo>
                    <a:pt x="13306" y="54196"/>
                  </a:lnTo>
                  <a:lnTo>
                    <a:pt x="13833" y="53603"/>
                  </a:lnTo>
                  <a:lnTo>
                    <a:pt x="14176" y="52630"/>
                  </a:lnTo>
                  <a:lnTo>
                    <a:pt x="14315" y="51495"/>
                  </a:lnTo>
                  <a:lnTo>
                    <a:pt x="14587" y="51119"/>
                  </a:lnTo>
                  <a:lnTo>
                    <a:pt x="15867" y="51247"/>
                  </a:lnTo>
                  <a:lnTo>
                    <a:pt x="16273" y="50964"/>
                  </a:lnTo>
                  <a:lnTo>
                    <a:pt x="16256" y="49944"/>
                  </a:lnTo>
                  <a:lnTo>
                    <a:pt x="15429" y="48672"/>
                  </a:lnTo>
                  <a:lnTo>
                    <a:pt x="14701" y="47105"/>
                  </a:lnTo>
                  <a:lnTo>
                    <a:pt x="14697" y="46358"/>
                  </a:lnTo>
                  <a:lnTo>
                    <a:pt x="15302" y="46055"/>
                  </a:lnTo>
                  <a:lnTo>
                    <a:pt x="16302" y="45374"/>
                  </a:lnTo>
                  <a:lnTo>
                    <a:pt x="16839" y="44532"/>
                  </a:lnTo>
                  <a:lnTo>
                    <a:pt x="17901" y="44112"/>
                  </a:lnTo>
                  <a:lnTo>
                    <a:pt x="19472" y="44035"/>
                  </a:lnTo>
                  <a:lnTo>
                    <a:pt x="21223" y="43666"/>
                  </a:lnTo>
                  <a:lnTo>
                    <a:pt x="22354" y="42760"/>
                  </a:lnTo>
                  <a:lnTo>
                    <a:pt x="22521" y="41862"/>
                  </a:lnTo>
                  <a:lnTo>
                    <a:pt x="23229" y="39391"/>
                  </a:lnTo>
                  <a:lnTo>
                    <a:pt x="23691" y="38181"/>
                  </a:lnTo>
                  <a:lnTo>
                    <a:pt x="24438" y="37076"/>
                  </a:lnTo>
                  <a:lnTo>
                    <a:pt x="24844" y="35586"/>
                  </a:lnTo>
                  <a:lnTo>
                    <a:pt x="25641" y="34184"/>
                  </a:lnTo>
                  <a:lnTo>
                    <a:pt x="27312" y="33596"/>
                  </a:lnTo>
                  <a:lnTo>
                    <a:pt x="28828" y="32903"/>
                  </a:lnTo>
                  <a:lnTo>
                    <a:pt x="29972" y="31096"/>
                  </a:lnTo>
                  <a:lnTo>
                    <a:pt x="30612" y="29547"/>
                  </a:lnTo>
                  <a:lnTo>
                    <a:pt x="30616" y="28599"/>
                  </a:lnTo>
                  <a:lnTo>
                    <a:pt x="29662" y="27047"/>
                  </a:lnTo>
                  <a:lnTo>
                    <a:pt x="28951" y="25538"/>
                  </a:lnTo>
                  <a:lnTo>
                    <a:pt x="29139" y="23578"/>
                  </a:lnTo>
                  <a:lnTo>
                    <a:pt x="32141" y="23414"/>
                  </a:lnTo>
                  <a:lnTo>
                    <a:pt x="33192" y="23231"/>
                  </a:lnTo>
                  <a:lnTo>
                    <a:pt x="37088" y="23125"/>
                  </a:lnTo>
                  <a:lnTo>
                    <a:pt x="38865" y="22073"/>
                  </a:lnTo>
                  <a:lnTo>
                    <a:pt x="40094" y="22167"/>
                  </a:lnTo>
                  <a:lnTo>
                    <a:pt x="42661" y="23078"/>
                  </a:lnTo>
                  <a:lnTo>
                    <a:pt x="43806" y="22358"/>
                  </a:lnTo>
                  <a:lnTo>
                    <a:pt x="47166" y="20936"/>
                  </a:lnTo>
                  <a:lnTo>
                    <a:pt x="50482" y="16805"/>
                  </a:lnTo>
                  <a:lnTo>
                    <a:pt x="51895" y="16185"/>
                  </a:lnTo>
                  <a:lnTo>
                    <a:pt x="55112" y="15934"/>
                  </a:lnTo>
                  <a:lnTo>
                    <a:pt x="56120" y="15456"/>
                  </a:lnTo>
                  <a:lnTo>
                    <a:pt x="57297" y="15547"/>
                  </a:lnTo>
                  <a:lnTo>
                    <a:pt x="60903" y="16385"/>
                  </a:lnTo>
                  <a:lnTo>
                    <a:pt x="62955" y="16513"/>
                  </a:lnTo>
                  <a:lnTo>
                    <a:pt x="65388" y="15942"/>
                  </a:lnTo>
                  <a:lnTo>
                    <a:pt x="68069" y="14932"/>
                  </a:lnTo>
                  <a:lnTo>
                    <a:pt x="68738" y="11394"/>
                  </a:lnTo>
                  <a:lnTo>
                    <a:pt x="69375" y="10886"/>
                  </a:lnTo>
                  <a:lnTo>
                    <a:pt x="71042" y="10744"/>
                  </a:lnTo>
                  <a:lnTo>
                    <a:pt x="72297" y="10773"/>
                  </a:lnTo>
                  <a:lnTo>
                    <a:pt x="74719" y="11054"/>
                  </a:lnTo>
                  <a:lnTo>
                    <a:pt x="77602" y="11148"/>
                  </a:lnTo>
                  <a:lnTo>
                    <a:pt x="79457" y="9488"/>
                  </a:lnTo>
                  <a:lnTo>
                    <a:pt x="82381" y="9364"/>
                  </a:lnTo>
                  <a:lnTo>
                    <a:pt x="83737" y="9124"/>
                  </a:lnTo>
                  <a:lnTo>
                    <a:pt x="86002" y="9459"/>
                  </a:lnTo>
                  <a:lnTo>
                    <a:pt x="88198" y="9440"/>
                  </a:lnTo>
                  <a:lnTo>
                    <a:pt x="91010" y="8748"/>
                  </a:lnTo>
                  <a:lnTo>
                    <a:pt x="93631" y="7613"/>
                  </a:lnTo>
                  <a:lnTo>
                    <a:pt x="95680" y="7710"/>
                  </a:lnTo>
                  <a:lnTo>
                    <a:pt x="96516" y="7505"/>
                  </a:lnTo>
                  <a:lnTo>
                    <a:pt x="96994" y="7266"/>
                  </a:lnTo>
                  <a:lnTo>
                    <a:pt x="97505" y="5729"/>
                  </a:lnTo>
                  <a:lnTo>
                    <a:pt x="101360" y="5635"/>
                  </a:lnTo>
                  <a:lnTo>
                    <a:pt x="102666" y="5788"/>
                  </a:lnTo>
                  <a:lnTo>
                    <a:pt x="104817" y="5828"/>
                  </a:lnTo>
                  <a:lnTo>
                    <a:pt x="107054" y="4990"/>
                  </a:lnTo>
                  <a:lnTo>
                    <a:pt x="107725" y="5061"/>
                  </a:lnTo>
                  <a:lnTo>
                    <a:pt x="108855" y="7311"/>
                  </a:lnTo>
                  <a:lnTo>
                    <a:pt x="109444" y="7963"/>
                  </a:lnTo>
                  <a:lnTo>
                    <a:pt x="110662" y="8564"/>
                  </a:lnTo>
                  <a:lnTo>
                    <a:pt x="113374" y="10250"/>
                  </a:lnTo>
                  <a:lnTo>
                    <a:pt x="113863" y="9806"/>
                  </a:lnTo>
                  <a:lnTo>
                    <a:pt x="114992" y="9243"/>
                  </a:lnTo>
                  <a:lnTo>
                    <a:pt x="118235" y="10015"/>
                  </a:lnTo>
                  <a:lnTo>
                    <a:pt x="121327" y="11314"/>
                  </a:lnTo>
                  <a:lnTo>
                    <a:pt x="123932" y="13219"/>
                  </a:lnTo>
                  <a:lnTo>
                    <a:pt x="126823" y="12670"/>
                  </a:lnTo>
                  <a:lnTo>
                    <a:pt x="130032" y="11735"/>
                  </a:lnTo>
                  <a:lnTo>
                    <a:pt x="132120" y="11463"/>
                  </a:lnTo>
                  <a:lnTo>
                    <a:pt x="134385" y="11333"/>
                  </a:lnTo>
                  <a:lnTo>
                    <a:pt x="135735" y="10927"/>
                  </a:lnTo>
                  <a:lnTo>
                    <a:pt x="138795" y="11416"/>
                  </a:lnTo>
                  <a:lnTo>
                    <a:pt x="141958" y="10393"/>
                  </a:lnTo>
                  <a:lnTo>
                    <a:pt x="143483" y="9467"/>
                  </a:lnTo>
                  <a:lnTo>
                    <a:pt x="143921" y="8170"/>
                  </a:lnTo>
                  <a:lnTo>
                    <a:pt x="143664" y="5881"/>
                  </a:lnTo>
                  <a:lnTo>
                    <a:pt x="142949" y="3589"/>
                  </a:lnTo>
                  <a:lnTo>
                    <a:pt x="142192" y="2743"/>
                  </a:lnTo>
                  <a:lnTo>
                    <a:pt x="141950" y="1868"/>
                  </a:lnTo>
                  <a:lnTo>
                    <a:pt x="142381" y="1050"/>
                  </a:lnTo>
                  <a:lnTo>
                    <a:pt x="142865" y="479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31" name="ee4p_HR_1_37365">
              <a:extLst>
                <a:ext uri="{FF2B5EF4-FFF2-40B4-BE49-F238E27FC236}">
                  <a16:creationId xmlns:a16="http://schemas.microsoft.com/office/drawing/2014/main" id="{1C515C1A-E086-5EB9-61EF-1233D091B993}"/>
                </a:ext>
              </a:extLst>
            </p:cNvPr>
            <p:cNvSpPr>
              <a:spLocks noChangeAspect="1"/>
            </p:cNvSpPr>
            <p:nvPr>
              <p:custDataLst>
                <p:tags r:id="rId285"/>
              </p:custDataLst>
            </p:nvPr>
          </p:nvSpPr>
          <p:spPr>
            <a:xfrm>
              <a:off x="6890064" y="3243707"/>
              <a:ext cx="163388" cy="143914"/>
            </a:xfrm>
            <a:custGeom>
              <a:avLst/>
              <a:gdLst>
                <a:gd name="connsiteX0" fmla="*/ 86563 w 130102"/>
                <a:gd name="connsiteY0" fmla="*/ 101746 h 111558"/>
                <a:gd name="connsiteX1" fmla="*/ 90452 w 130102"/>
                <a:gd name="connsiteY1" fmla="*/ 102584 h 111558"/>
                <a:gd name="connsiteX2" fmla="*/ 93469 w 130102"/>
                <a:gd name="connsiteY2" fmla="*/ 104421 h 111558"/>
                <a:gd name="connsiteX3" fmla="*/ 84622 w 130102"/>
                <a:gd name="connsiteY3" fmla="*/ 102014 h 111558"/>
                <a:gd name="connsiteX4" fmla="*/ 85626 w 130102"/>
                <a:gd name="connsiteY4" fmla="*/ 101793 h 111558"/>
                <a:gd name="connsiteX5" fmla="*/ 69288 w 130102"/>
                <a:gd name="connsiteY5" fmla="*/ 96494 h 111558"/>
                <a:gd name="connsiteX6" fmla="*/ 73375 w 130102"/>
                <a:gd name="connsiteY6" fmla="*/ 97242 h 111558"/>
                <a:gd name="connsiteX7" fmla="*/ 76373 w 130102"/>
                <a:gd name="connsiteY7" fmla="*/ 96898 h 111558"/>
                <a:gd name="connsiteX8" fmla="*/ 79083 w 130102"/>
                <a:gd name="connsiteY8" fmla="*/ 97357 h 111558"/>
                <a:gd name="connsiteX9" fmla="*/ 80767 w 130102"/>
                <a:gd name="connsiteY9" fmla="*/ 98207 h 111558"/>
                <a:gd name="connsiteX10" fmla="*/ 81175 w 130102"/>
                <a:gd name="connsiteY10" fmla="*/ 98624 h 111558"/>
                <a:gd name="connsiteX11" fmla="*/ 78988 w 130102"/>
                <a:gd name="connsiteY11" fmla="*/ 98682 h 111558"/>
                <a:gd name="connsiteX12" fmla="*/ 76515 w 130102"/>
                <a:gd name="connsiteY12" fmla="*/ 98337 h 111558"/>
                <a:gd name="connsiteX13" fmla="*/ 73710 w 130102"/>
                <a:gd name="connsiteY13" fmla="*/ 99201 h 111558"/>
                <a:gd name="connsiteX14" fmla="*/ 71238 w 130102"/>
                <a:gd name="connsiteY14" fmla="*/ 98739 h 111558"/>
                <a:gd name="connsiteX15" fmla="*/ 70298 w 130102"/>
                <a:gd name="connsiteY15" fmla="*/ 98178 h 111558"/>
                <a:gd name="connsiteX16" fmla="*/ 69633 w 130102"/>
                <a:gd name="connsiteY16" fmla="*/ 97476 h 111558"/>
                <a:gd name="connsiteX17" fmla="*/ 81872 w 130102"/>
                <a:gd name="connsiteY17" fmla="*/ 95708 h 111558"/>
                <a:gd name="connsiteX18" fmla="*/ 93013 w 130102"/>
                <a:gd name="connsiteY18" fmla="*/ 100400 h 111558"/>
                <a:gd name="connsiteX19" fmla="*/ 91773 w 130102"/>
                <a:gd name="connsiteY19" fmla="*/ 99158 h 111558"/>
                <a:gd name="connsiteX20" fmla="*/ 93380 w 130102"/>
                <a:gd name="connsiteY20" fmla="*/ 98666 h 111558"/>
                <a:gd name="connsiteX21" fmla="*/ 94745 w 130102"/>
                <a:gd name="connsiteY21" fmla="*/ 99020 h 111558"/>
                <a:gd name="connsiteX22" fmla="*/ 95615 w 130102"/>
                <a:gd name="connsiteY22" fmla="*/ 100551 h 111558"/>
                <a:gd name="connsiteX23" fmla="*/ 97330 w 130102"/>
                <a:gd name="connsiteY23" fmla="*/ 101558 h 111558"/>
                <a:gd name="connsiteX24" fmla="*/ 100109 w 130102"/>
                <a:gd name="connsiteY24" fmla="*/ 103327 h 111558"/>
                <a:gd name="connsiteX25" fmla="*/ 101864 w 130102"/>
                <a:gd name="connsiteY25" fmla="*/ 104682 h 111558"/>
                <a:gd name="connsiteX26" fmla="*/ 105846 w 130102"/>
                <a:gd name="connsiteY26" fmla="*/ 107117 h 111558"/>
                <a:gd name="connsiteX27" fmla="*/ 106788 w 130102"/>
                <a:gd name="connsiteY27" fmla="*/ 107457 h 111558"/>
                <a:gd name="connsiteX28" fmla="*/ 108772 w 130102"/>
                <a:gd name="connsiteY28" fmla="*/ 108176 h 111558"/>
                <a:gd name="connsiteX29" fmla="*/ 108811 w 130102"/>
                <a:gd name="connsiteY29" fmla="*/ 109157 h 111558"/>
                <a:gd name="connsiteX30" fmla="*/ 109664 w 130102"/>
                <a:gd name="connsiteY30" fmla="*/ 110273 h 111558"/>
                <a:gd name="connsiteX31" fmla="*/ 110566 w 130102"/>
                <a:gd name="connsiteY31" fmla="*/ 111558 h 111558"/>
                <a:gd name="connsiteX32" fmla="*/ 106488 w 130102"/>
                <a:gd name="connsiteY32" fmla="*/ 109026 h 111558"/>
                <a:gd name="connsiteX33" fmla="*/ 102676 w 130102"/>
                <a:gd name="connsiteY33" fmla="*/ 106192 h 111558"/>
                <a:gd name="connsiteX34" fmla="*/ 95229 w 130102"/>
                <a:gd name="connsiteY34" fmla="*/ 101826 h 111558"/>
                <a:gd name="connsiteX35" fmla="*/ 89946 w 130102"/>
                <a:gd name="connsiteY35" fmla="*/ 100762 h 111558"/>
                <a:gd name="connsiteX36" fmla="*/ 82721 w 130102"/>
                <a:gd name="connsiteY36" fmla="*/ 97247 h 111558"/>
                <a:gd name="connsiteX37" fmla="*/ 78016 w 130102"/>
                <a:gd name="connsiteY37" fmla="*/ 96003 h 111558"/>
                <a:gd name="connsiteX38" fmla="*/ 79808 w 130102"/>
                <a:gd name="connsiteY38" fmla="*/ 95716 h 111558"/>
                <a:gd name="connsiteX39" fmla="*/ 66429 w 130102"/>
                <a:gd name="connsiteY39" fmla="*/ 90251 h 111558"/>
                <a:gd name="connsiteX40" fmla="*/ 69404 w 130102"/>
                <a:gd name="connsiteY40" fmla="*/ 90667 h 111558"/>
                <a:gd name="connsiteX41" fmla="*/ 70318 w 130102"/>
                <a:gd name="connsiteY41" fmla="*/ 91709 h 111558"/>
                <a:gd name="connsiteX42" fmla="*/ 78364 w 130102"/>
                <a:gd name="connsiteY42" fmla="*/ 92543 h 111558"/>
                <a:gd name="connsiteX43" fmla="*/ 81302 w 130102"/>
                <a:gd name="connsiteY43" fmla="*/ 93029 h 111558"/>
                <a:gd name="connsiteX44" fmla="*/ 79756 w 130102"/>
                <a:gd name="connsiteY44" fmla="*/ 93307 h 111558"/>
                <a:gd name="connsiteX45" fmla="*/ 69918 w 130102"/>
                <a:gd name="connsiteY45" fmla="*/ 93100 h 111558"/>
                <a:gd name="connsiteX46" fmla="*/ 67057 w 130102"/>
                <a:gd name="connsiteY46" fmla="*/ 92543 h 111558"/>
                <a:gd name="connsiteX47" fmla="*/ 63874 w 130102"/>
                <a:gd name="connsiteY47" fmla="*/ 91108 h 111558"/>
                <a:gd name="connsiteX48" fmla="*/ 63224 w 130102"/>
                <a:gd name="connsiteY48" fmla="*/ 90667 h 111558"/>
                <a:gd name="connsiteX49" fmla="*/ 64827 w 130102"/>
                <a:gd name="connsiteY49" fmla="*/ 86010 h 111558"/>
                <a:gd name="connsiteX50" fmla="*/ 68202 w 130102"/>
                <a:gd name="connsiteY50" fmla="*/ 86149 h 111558"/>
                <a:gd name="connsiteX51" fmla="*/ 73350 w 130102"/>
                <a:gd name="connsiteY51" fmla="*/ 86984 h 111558"/>
                <a:gd name="connsiteX52" fmla="*/ 74609 w 130102"/>
                <a:gd name="connsiteY52" fmla="*/ 87957 h 111558"/>
                <a:gd name="connsiteX53" fmla="*/ 74218 w 130102"/>
                <a:gd name="connsiteY53" fmla="*/ 88406 h 111558"/>
                <a:gd name="connsiteX54" fmla="*/ 72263 w 130102"/>
                <a:gd name="connsiteY54" fmla="*/ 89139 h 111558"/>
                <a:gd name="connsiteX55" fmla="*/ 68774 w 130102"/>
                <a:gd name="connsiteY55" fmla="*/ 89209 h 111558"/>
                <a:gd name="connsiteX56" fmla="*/ 65742 w 130102"/>
                <a:gd name="connsiteY56" fmla="*/ 88722 h 111558"/>
                <a:gd name="connsiteX57" fmla="*/ 64256 w 130102"/>
                <a:gd name="connsiteY57" fmla="*/ 87887 h 111558"/>
                <a:gd name="connsiteX58" fmla="*/ 64367 w 130102"/>
                <a:gd name="connsiteY58" fmla="*/ 87184 h 111558"/>
                <a:gd name="connsiteX59" fmla="*/ 38758 w 130102"/>
                <a:gd name="connsiteY59" fmla="*/ 69183 h 111558"/>
                <a:gd name="connsiteX60" fmla="*/ 41000 w 130102"/>
                <a:gd name="connsiteY60" fmla="*/ 70181 h 111558"/>
                <a:gd name="connsiteX61" fmla="*/ 42455 w 130102"/>
                <a:gd name="connsiteY61" fmla="*/ 72191 h 111558"/>
                <a:gd name="connsiteX62" fmla="*/ 41063 w 130102"/>
                <a:gd name="connsiteY62" fmla="*/ 71778 h 111558"/>
                <a:gd name="connsiteX63" fmla="*/ 39611 w 130102"/>
                <a:gd name="connsiteY63" fmla="*/ 70534 h 111558"/>
                <a:gd name="connsiteX64" fmla="*/ 34243 w 130102"/>
                <a:gd name="connsiteY64" fmla="*/ 65203 h 111558"/>
                <a:gd name="connsiteX65" fmla="*/ 37897 w 130102"/>
                <a:gd name="connsiteY65" fmla="*/ 67787 h 111558"/>
                <a:gd name="connsiteX66" fmla="*/ 38242 w 130102"/>
                <a:gd name="connsiteY66" fmla="*/ 68741 h 111558"/>
                <a:gd name="connsiteX67" fmla="*/ 35483 w 130102"/>
                <a:gd name="connsiteY67" fmla="*/ 66947 h 111558"/>
                <a:gd name="connsiteX68" fmla="*/ 34437 w 130102"/>
                <a:gd name="connsiteY68" fmla="*/ 65741 h 111558"/>
                <a:gd name="connsiteX69" fmla="*/ 29804 w 130102"/>
                <a:gd name="connsiteY69" fmla="*/ 64924 h 111558"/>
                <a:gd name="connsiteX70" fmla="*/ 31738 w 130102"/>
                <a:gd name="connsiteY70" fmla="*/ 66300 h 111558"/>
                <a:gd name="connsiteX71" fmla="*/ 36962 w 130102"/>
                <a:gd name="connsiteY71" fmla="*/ 71573 h 111558"/>
                <a:gd name="connsiteX72" fmla="*/ 37277 w 130102"/>
                <a:gd name="connsiteY72" fmla="*/ 71969 h 111558"/>
                <a:gd name="connsiteX73" fmla="*/ 37247 w 130102"/>
                <a:gd name="connsiteY73" fmla="*/ 72239 h 111558"/>
                <a:gd name="connsiteX74" fmla="*/ 36100 w 130102"/>
                <a:gd name="connsiteY74" fmla="*/ 71858 h 111558"/>
                <a:gd name="connsiteX75" fmla="*/ 35791 w 130102"/>
                <a:gd name="connsiteY75" fmla="*/ 71981 h 111558"/>
                <a:gd name="connsiteX76" fmla="*/ 30384 w 130102"/>
                <a:gd name="connsiteY76" fmla="*/ 66074 h 111558"/>
                <a:gd name="connsiteX77" fmla="*/ 27080 w 130102"/>
                <a:gd name="connsiteY77" fmla="*/ 50537 h 111558"/>
                <a:gd name="connsiteX78" fmla="*/ 28449 w 130102"/>
                <a:gd name="connsiteY78" fmla="*/ 51863 h 111558"/>
                <a:gd name="connsiteX79" fmla="*/ 29590 w 130102"/>
                <a:gd name="connsiteY79" fmla="*/ 52692 h 111558"/>
                <a:gd name="connsiteX80" fmla="*/ 30533 w 130102"/>
                <a:gd name="connsiteY80" fmla="*/ 52894 h 111558"/>
                <a:gd name="connsiteX81" fmla="*/ 32930 w 130102"/>
                <a:gd name="connsiteY81" fmla="*/ 54978 h 111558"/>
                <a:gd name="connsiteX82" fmla="*/ 35286 w 130102"/>
                <a:gd name="connsiteY82" fmla="*/ 57656 h 111558"/>
                <a:gd name="connsiteX83" fmla="*/ 38093 w 130102"/>
                <a:gd name="connsiteY83" fmla="*/ 59980 h 111558"/>
                <a:gd name="connsiteX84" fmla="*/ 37510 w 130102"/>
                <a:gd name="connsiteY84" fmla="*/ 60052 h 111558"/>
                <a:gd name="connsiteX85" fmla="*/ 36955 w 130102"/>
                <a:gd name="connsiteY85" fmla="*/ 60373 h 111558"/>
                <a:gd name="connsiteX86" fmla="*/ 36383 w 130102"/>
                <a:gd name="connsiteY86" fmla="*/ 61094 h 111558"/>
                <a:gd name="connsiteX87" fmla="*/ 34954 w 130102"/>
                <a:gd name="connsiteY87" fmla="*/ 59765 h 111558"/>
                <a:gd name="connsiteX88" fmla="*/ 33641 w 130102"/>
                <a:gd name="connsiteY88" fmla="*/ 58817 h 111558"/>
                <a:gd name="connsiteX89" fmla="*/ 32701 w 130102"/>
                <a:gd name="connsiteY89" fmla="*/ 57695 h 111558"/>
                <a:gd name="connsiteX90" fmla="*/ 30859 w 130102"/>
                <a:gd name="connsiteY90" fmla="*/ 56295 h 111558"/>
                <a:gd name="connsiteX91" fmla="*/ 30237 w 130102"/>
                <a:gd name="connsiteY91" fmla="*/ 54693 h 111558"/>
                <a:gd name="connsiteX92" fmla="*/ 27491 w 130102"/>
                <a:gd name="connsiteY92" fmla="*/ 51425 h 111558"/>
                <a:gd name="connsiteX93" fmla="*/ 25944 w 130102"/>
                <a:gd name="connsiteY93" fmla="*/ 46425 h 111558"/>
                <a:gd name="connsiteX94" fmla="*/ 27353 w 130102"/>
                <a:gd name="connsiteY94" fmla="*/ 46516 h 111558"/>
                <a:gd name="connsiteX95" fmla="*/ 27564 w 130102"/>
                <a:gd name="connsiteY95" fmla="*/ 47155 h 111558"/>
                <a:gd name="connsiteX96" fmla="*/ 29061 w 130102"/>
                <a:gd name="connsiteY96" fmla="*/ 48859 h 111558"/>
                <a:gd name="connsiteX97" fmla="*/ 29618 w 130102"/>
                <a:gd name="connsiteY97" fmla="*/ 50061 h 111558"/>
                <a:gd name="connsiteX98" fmla="*/ 27536 w 130102"/>
                <a:gd name="connsiteY98" fmla="*/ 48976 h 111558"/>
                <a:gd name="connsiteX99" fmla="*/ 25672 w 130102"/>
                <a:gd name="connsiteY99" fmla="*/ 48561 h 111558"/>
                <a:gd name="connsiteX100" fmla="*/ 25277 w 130102"/>
                <a:gd name="connsiteY100" fmla="*/ 47744 h 111558"/>
                <a:gd name="connsiteX101" fmla="*/ 25545 w 130102"/>
                <a:gd name="connsiteY101" fmla="*/ 47074 h 111558"/>
                <a:gd name="connsiteX102" fmla="*/ 18596 w 130102"/>
                <a:gd name="connsiteY102" fmla="*/ 37698 h 111558"/>
                <a:gd name="connsiteX103" fmla="*/ 18838 w 130102"/>
                <a:gd name="connsiteY103" fmla="*/ 40065 h 111558"/>
                <a:gd name="connsiteX104" fmla="*/ 19382 w 130102"/>
                <a:gd name="connsiteY104" fmla="*/ 41424 h 111558"/>
                <a:gd name="connsiteX105" fmla="*/ 21010 w 130102"/>
                <a:gd name="connsiteY105" fmla="*/ 43092 h 111558"/>
                <a:gd name="connsiteX106" fmla="*/ 20682 w 130102"/>
                <a:gd name="connsiteY106" fmla="*/ 45851 h 111558"/>
                <a:gd name="connsiteX107" fmla="*/ 21015 w 130102"/>
                <a:gd name="connsiteY107" fmla="*/ 49774 h 111558"/>
                <a:gd name="connsiteX108" fmla="*/ 21345 w 130102"/>
                <a:gd name="connsiteY108" fmla="*/ 50646 h 111558"/>
                <a:gd name="connsiteX109" fmla="*/ 21468 w 130102"/>
                <a:gd name="connsiteY109" fmla="*/ 51553 h 111558"/>
                <a:gd name="connsiteX110" fmla="*/ 21297 w 130102"/>
                <a:gd name="connsiteY110" fmla="*/ 52610 h 111558"/>
                <a:gd name="connsiteX111" fmla="*/ 19952 w 130102"/>
                <a:gd name="connsiteY111" fmla="*/ 51274 h 111558"/>
                <a:gd name="connsiteX112" fmla="*/ 19274 w 130102"/>
                <a:gd name="connsiteY112" fmla="*/ 48876 h 111558"/>
                <a:gd name="connsiteX113" fmla="*/ 17583 w 130102"/>
                <a:gd name="connsiteY113" fmla="*/ 44999 h 111558"/>
                <a:gd name="connsiteX114" fmla="*/ 17365 w 130102"/>
                <a:gd name="connsiteY114" fmla="*/ 43906 h 111558"/>
                <a:gd name="connsiteX115" fmla="*/ 18242 w 130102"/>
                <a:gd name="connsiteY115" fmla="*/ 42826 h 111558"/>
                <a:gd name="connsiteX116" fmla="*/ 18195 w 130102"/>
                <a:gd name="connsiteY116" fmla="*/ 41732 h 111558"/>
                <a:gd name="connsiteX117" fmla="*/ 16996 w 130102"/>
                <a:gd name="connsiteY117" fmla="*/ 38322 h 111558"/>
                <a:gd name="connsiteX118" fmla="*/ 18000 w 130102"/>
                <a:gd name="connsiteY118" fmla="*/ 37765 h 111558"/>
                <a:gd name="connsiteX119" fmla="*/ 23304 w 130102"/>
                <a:gd name="connsiteY119" fmla="*/ 36128 h 111558"/>
                <a:gd name="connsiteX120" fmla="*/ 24606 w 130102"/>
                <a:gd name="connsiteY120" fmla="*/ 37408 h 111558"/>
                <a:gd name="connsiteX121" fmla="*/ 26180 w 130102"/>
                <a:gd name="connsiteY121" fmla="*/ 39816 h 111558"/>
                <a:gd name="connsiteX122" fmla="*/ 27020 w 130102"/>
                <a:gd name="connsiteY122" fmla="*/ 40488 h 111558"/>
                <a:gd name="connsiteX123" fmla="*/ 28592 w 130102"/>
                <a:gd name="connsiteY123" fmla="*/ 42905 h 111558"/>
                <a:gd name="connsiteX124" fmla="*/ 25867 w 130102"/>
                <a:gd name="connsiteY124" fmla="*/ 43491 h 111558"/>
                <a:gd name="connsiteX125" fmla="*/ 24569 w 130102"/>
                <a:gd name="connsiteY125" fmla="*/ 42443 h 111558"/>
                <a:gd name="connsiteX126" fmla="*/ 24230 w 130102"/>
                <a:gd name="connsiteY126" fmla="*/ 41583 h 111558"/>
                <a:gd name="connsiteX127" fmla="*/ 21991 w 130102"/>
                <a:gd name="connsiteY127" fmla="*/ 41310 h 111558"/>
                <a:gd name="connsiteX128" fmla="*/ 20635 w 130102"/>
                <a:gd name="connsiteY128" fmla="*/ 40112 h 111558"/>
                <a:gd name="connsiteX129" fmla="*/ 20358 w 130102"/>
                <a:gd name="connsiteY129" fmla="*/ 39581 h 111558"/>
                <a:gd name="connsiteX130" fmla="*/ 22276 w 130102"/>
                <a:gd name="connsiteY130" fmla="*/ 38262 h 111558"/>
                <a:gd name="connsiteX131" fmla="*/ 62002 w 130102"/>
                <a:gd name="connsiteY131" fmla="*/ 0 h 111558"/>
                <a:gd name="connsiteX132" fmla="*/ 64356 w 130102"/>
                <a:gd name="connsiteY132" fmla="*/ 284 h 111558"/>
                <a:gd name="connsiteX133" fmla="*/ 66314 w 130102"/>
                <a:gd name="connsiteY133" fmla="*/ 964 h 111558"/>
                <a:gd name="connsiteX134" fmla="*/ 67502 w 130102"/>
                <a:gd name="connsiteY134" fmla="*/ 1378 h 111558"/>
                <a:gd name="connsiteX135" fmla="*/ 71441 w 130102"/>
                <a:gd name="connsiteY135" fmla="*/ 3281 h 111558"/>
                <a:gd name="connsiteX136" fmla="*/ 74170 w 130102"/>
                <a:gd name="connsiteY136" fmla="*/ 5419 h 111558"/>
                <a:gd name="connsiteX137" fmla="*/ 75684 w 130102"/>
                <a:gd name="connsiteY137" fmla="*/ 7791 h 111558"/>
                <a:gd name="connsiteX138" fmla="*/ 77735 w 130102"/>
                <a:gd name="connsiteY138" fmla="*/ 9628 h 111558"/>
                <a:gd name="connsiteX139" fmla="*/ 80320 w 130102"/>
                <a:gd name="connsiteY139" fmla="*/ 10927 h 111558"/>
                <a:gd name="connsiteX140" fmla="*/ 82367 w 130102"/>
                <a:gd name="connsiteY140" fmla="*/ 12689 h 111558"/>
                <a:gd name="connsiteX141" fmla="*/ 83881 w 130102"/>
                <a:gd name="connsiteY141" fmla="*/ 14912 h 111558"/>
                <a:gd name="connsiteX142" fmla="*/ 85997 w 130102"/>
                <a:gd name="connsiteY142" fmla="*/ 16156 h 111558"/>
                <a:gd name="connsiteX143" fmla="*/ 88714 w 130102"/>
                <a:gd name="connsiteY143" fmla="*/ 16426 h 111558"/>
                <a:gd name="connsiteX144" fmla="*/ 90435 w 130102"/>
                <a:gd name="connsiteY144" fmla="*/ 17186 h 111558"/>
                <a:gd name="connsiteX145" fmla="*/ 91156 w 130102"/>
                <a:gd name="connsiteY145" fmla="*/ 18438 h 111558"/>
                <a:gd name="connsiteX146" fmla="*/ 92633 w 130102"/>
                <a:gd name="connsiteY146" fmla="*/ 19572 h 111558"/>
                <a:gd name="connsiteX147" fmla="*/ 94859 w 130102"/>
                <a:gd name="connsiteY147" fmla="*/ 20586 h 111558"/>
                <a:gd name="connsiteX148" fmla="*/ 98325 w 130102"/>
                <a:gd name="connsiteY148" fmla="*/ 21142 h 111558"/>
                <a:gd name="connsiteX149" fmla="*/ 104961 w 130102"/>
                <a:gd name="connsiteY149" fmla="*/ 21274 h 111558"/>
                <a:gd name="connsiteX150" fmla="*/ 105550 w 130102"/>
                <a:gd name="connsiteY150" fmla="*/ 21302 h 111558"/>
                <a:gd name="connsiteX151" fmla="*/ 107047 w 130102"/>
                <a:gd name="connsiteY151" fmla="*/ 21617 h 111558"/>
                <a:gd name="connsiteX152" fmla="*/ 108794 w 130102"/>
                <a:gd name="connsiteY152" fmla="*/ 21223 h 111558"/>
                <a:gd name="connsiteX153" fmla="*/ 110923 w 130102"/>
                <a:gd name="connsiteY153" fmla="*/ 20429 h 111558"/>
                <a:gd name="connsiteX154" fmla="*/ 111609 w 130102"/>
                <a:gd name="connsiteY154" fmla="*/ 19956 h 111558"/>
                <a:gd name="connsiteX155" fmla="*/ 113851 w 130102"/>
                <a:gd name="connsiteY155" fmla="*/ 17359 h 111558"/>
                <a:gd name="connsiteX156" fmla="*/ 115084 w 130102"/>
                <a:gd name="connsiteY156" fmla="*/ 17583 h 111558"/>
                <a:gd name="connsiteX157" fmla="*/ 117544 w 130102"/>
                <a:gd name="connsiteY157" fmla="*/ 17266 h 111558"/>
                <a:gd name="connsiteX158" fmla="*/ 119031 w 130102"/>
                <a:gd name="connsiteY158" fmla="*/ 16690 h 111558"/>
                <a:gd name="connsiteX159" fmla="*/ 119144 w 130102"/>
                <a:gd name="connsiteY159" fmla="*/ 16690 h 111558"/>
                <a:gd name="connsiteX160" fmla="*/ 119049 w 130102"/>
                <a:gd name="connsiteY160" fmla="*/ 17355 h 111558"/>
                <a:gd name="connsiteX161" fmla="*/ 118882 w 130102"/>
                <a:gd name="connsiteY161" fmla="*/ 18516 h 111558"/>
                <a:gd name="connsiteX162" fmla="*/ 117677 w 130102"/>
                <a:gd name="connsiteY162" fmla="*/ 19338 h 111558"/>
                <a:gd name="connsiteX163" fmla="*/ 118904 w 130102"/>
                <a:gd name="connsiteY163" fmla="*/ 21229 h 111558"/>
                <a:gd name="connsiteX164" fmla="*/ 120070 w 130102"/>
                <a:gd name="connsiteY164" fmla="*/ 24293 h 111558"/>
                <a:gd name="connsiteX165" fmla="*/ 119420 w 130102"/>
                <a:gd name="connsiteY165" fmla="*/ 25806 h 111558"/>
                <a:gd name="connsiteX166" fmla="*/ 120212 w 130102"/>
                <a:gd name="connsiteY166" fmla="*/ 26983 h 111558"/>
                <a:gd name="connsiteX167" fmla="*/ 122454 w 130102"/>
                <a:gd name="connsiteY167" fmla="*/ 27828 h 111558"/>
                <a:gd name="connsiteX168" fmla="*/ 122657 w 130102"/>
                <a:gd name="connsiteY168" fmla="*/ 28165 h 111558"/>
                <a:gd name="connsiteX169" fmla="*/ 121972 w 130102"/>
                <a:gd name="connsiteY169" fmla="*/ 28517 h 111558"/>
                <a:gd name="connsiteX170" fmla="*/ 121405 w 130102"/>
                <a:gd name="connsiteY170" fmla="*/ 29516 h 111558"/>
                <a:gd name="connsiteX171" fmla="*/ 121340 w 130102"/>
                <a:gd name="connsiteY171" fmla="*/ 31336 h 111558"/>
                <a:gd name="connsiteX172" fmla="*/ 123294 w 130102"/>
                <a:gd name="connsiteY172" fmla="*/ 33054 h 111558"/>
                <a:gd name="connsiteX173" fmla="*/ 127269 w 130102"/>
                <a:gd name="connsiteY173" fmla="*/ 34670 h 111558"/>
                <a:gd name="connsiteX174" fmla="*/ 128539 w 130102"/>
                <a:gd name="connsiteY174" fmla="*/ 34941 h 111558"/>
                <a:gd name="connsiteX175" fmla="*/ 129025 w 130102"/>
                <a:gd name="connsiteY175" fmla="*/ 35562 h 111558"/>
                <a:gd name="connsiteX176" fmla="*/ 129690 w 130102"/>
                <a:gd name="connsiteY176" fmla="*/ 35968 h 111558"/>
                <a:gd name="connsiteX177" fmla="*/ 130081 w 130102"/>
                <a:gd name="connsiteY177" fmla="*/ 36464 h 111558"/>
                <a:gd name="connsiteX178" fmla="*/ 130102 w 130102"/>
                <a:gd name="connsiteY178" fmla="*/ 37105 h 111558"/>
                <a:gd name="connsiteX179" fmla="*/ 129818 w 130102"/>
                <a:gd name="connsiteY179" fmla="*/ 37545 h 111558"/>
                <a:gd name="connsiteX180" fmla="*/ 127937 w 130102"/>
                <a:gd name="connsiteY180" fmla="*/ 37702 h 111558"/>
                <a:gd name="connsiteX181" fmla="*/ 125790 w 130102"/>
                <a:gd name="connsiteY181" fmla="*/ 37688 h 111558"/>
                <a:gd name="connsiteX182" fmla="*/ 124264 w 130102"/>
                <a:gd name="connsiteY182" fmla="*/ 36909 h 111558"/>
                <a:gd name="connsiteX183" fmla="*/ 124128 w 130102"/>
                <a:gd name="connsiteY183" fmla="*/ 37477 h 111558"/>
                <a:gd name="connsiteX184" fmla="*/ 124104 w 130102"/>
                <a:gd name="connsiteY184" fmla="*/ 38128 h 111558"/>
                <a:gd name="connsiteX185" fmla="*/ 122627 w 130102"/>
                <a:gd name="connsiteY185" fmla="*/ 38525 h 111558"/>
                <a:gd name="connsiteX186" fmla="*/ 123447 w 130102"/>
                <a:gd name="connsiteY186" fmla="*/ 42995 h 111558"/>
                <a:gd name="connsiteX187" fmla="*/ 123121 w 130102"/>
                <a:gd name="connsiteY187" fmla="*/ 44279 h 111558"/>
                <a:gd name="connsiteX188" fmla="*/ 122575 w 130102"/>
                <a:gd name="connsiteY188" fmla="*/ 44710 h 111558"/>
                <a:gd name="connsiteX189" fmla="*/ 122067 w 130102"/>
                <a:gd name="connsiteY189" fmla="*/ 44531 h 111558"/>
                <a:gd name="connsiteX190" fmla="*/ 121448 w 130102"/>
                <a:gd name="connsiteY190" fmla="*/ 44481 h 111558"/>
                <a:gd name="connsiteX191" fmla="*/ 121137 w 130102"/>
                <a:gd name="connsiteY191" fmla="*/ 44900 h 111558"/>
                <a:gd name="connsiteX192" fmla="*/ 121394 w 130102"/>
                <a:gd name="connsiteY192" fmla="*/ 45851 h 111558"/>
                <a:gd name="connsiteX193" fmla="*/ 119938 w 130102"/>
                <a:gd name="connsiteY193" fmla="*/ 45960 h 111558"/>
                <a:gd name="connsiteX194" fmla="*/ 117619 w 130102"/>
                <a:gd name="connsiteY194" fmla="*/ 45467 h 111558"/>
                <a:gd name="connsiteX195" fmla="*/ 116557 w 130102"/>
                <a:gd name="connsiteY195" fmla="*/ 44603 h 111558"/>
                <a:gd name="connsiteX196" fmla="*/ 116375 w 130102"/>
                <a:gd name="connsiteY196" fmla="*/ 43720 h 111558"/>
                <a:gd name="connsiteX197" fmla="*/ 116358 w 130102"/>
                <a:gd name="connsiteY197" fmla="*/ 42900 h 111558"/>
                <a:gd name="connsiteX198" fmla="*/ 115622 w 130102"/>
                <a:gd name="connsiteY198" fmla="*/ 41553 h 111558"/>
                <a:gd name="connsiteX199" fmla="*/ 113776 w 130102"/>
                <a:gd name="connsiteY199" fmla="*/ 40161 h 111558"/>
                <a:gd name="connsiteX200" fmla="*/ 109921 w 130102"/>
                <a:gd name="connsiteY200" fmla="*/ 39931 h 111558"/>
                <a:gd name="connsiteX201" fmla="*/ 108498 w 130102"/>
                <a:gd name="connsiteY201" fmla="*/ 39489 h 111558"/>
                <a:gd name="connsiteX202" fmla="*/ 107032 w 130102"/>
                <a:gd name="connsiteY202" fmla="*/ 38981 h 111558"/>
                <a:gd name="connsiteX203" fmla="*/ 105425 w 130102"/>
                <a:gd name="connsiteY203" fmla="*/ 38605 h 111558"/>
                <a:gd name="connsiteX204" fmla="*/ 103944 w 130102"/>
                <a:gd name="connsiteY204" fmla="*/ 38643 h 111558"/>
                <a:gd name="connsiteX205" fmla="*/ 102158 w 130102"/>
                <a:gd name="connsiteY205" fmla="*/ 39013 h 111558"/>
                <a:gd name="connsiteX206" fmla="*/ 99042 w 130102"/>
                <a:gd name="connsiteY206" fmla="*/ 38400 h 111558"/>
                <a:gd name="connsiteX207" fmla="*/ 97988 w 130102"/>
                <a:gd name="connsiteY207" fmla="*/ 39218 h 111558"/>
                <a:gd name="connsiteX208" fmla="*/ 96347 w 130102"/>
                <a:gd name="connsiteY208" fmla="*/ 40166 h 111558"/>
                <a:gd name="connsiteX209" fmla="*/ 94984 w 130102"/>
                <a:gd name="connsiteY209" fmla="*/ 40142 h 111558"/>
                <a:gd name="connsiteX210" fmla="*/ 92272 w 130102"/>
                <a:gd name="connsiteY210" fmla="*/ 37945 h 111558"/>
                <a:gd name="connsiteX211" fmla="*/ 91463 w 130102"/>
                <a:gd name="connsiteY211" fmla="*/ 37806 h 111558"/>
                <a:gd name="connsiteX212" fmla="*/ 89091 w 130102"/>
                <a:gd name="connsiteY212" fmla="*/ 38926 h 111558"/>
                <a:gd name="connsiteX213" fmla="*/ 88126 w 130102"/>
                <a:gd name="connsiteY213" fmla="*/ 38986 h 111558"/>
                <a:gd name="connsiteX214" fmla="*/ 87386 w 130102"/>
                <a:gd name="connsiteY214" fmla="*/ 38632 h 111558"/>
                <a:gd name="connsiteX215" fmla="*/ 84179 w 130102"/>
                <a:gd name="connsiteY215" fmla="*/ 37793 h 111558"/>
                <a:gd name="connsiteX216" fmla="*/ 82732 w 130102"/>
                <a:gd name="connsiteY216" fmla="*/ 37612 h 111558"/>
                <a:gd name="connsiteX217" fmla="*/ 81670 w 130102"/>
                <a:gd name="connsiteY217" fmla="*/ 38009 h 111558"/>
                <a:gd name="connsiteX218" fmla="*/ 79785 w 130102"/>
                <a:gd name="connsiteY218" fmla="*/ 37579 h 111558"/>
                <a:gd name="connsiteX219" fmla="*/ 75213 w 130102"/>
                <a:gd name="connsiteY219" fmla="*/ 34708 h 111558"/>
                <a:gd name="connsiteX220" fmla="*/ 72387 w 130102"/>
                <a:gd name="connsiteY220" fmla="*/ 36891 h 111558"/>
                <a:gd name="connsiteX221" fmla="*/ 66634 w 130102"/>
                <a:gd name="connsiteY221" fmla="*/ 36348 h 111558"/>
                <a:gd name="connsiteX222" fmla="*/ 64928 w 130102"/>
                <a:gd name="connsiteY222" fmla="*/ 37846 h 111558"/>
                <a:gd name="connsiteX223" fmla="*/ 62972 w 130102"/>
                <a:gd name="connsiteY223" fmla="*/ 40683 h 111558"/>
                <a:gd name="connsiteX224" fmla="*/ 61387 w 130102"/>
                <a:gd name="connsiteY224" fmla="*/ 42037 h 111558"/>
                <a:gd name="connsiteX225" fmla="*/ 60009 w 130102"/>
                <a:gd name="connsiteY225" fmla="*/ 41551 h 111558"/>
                <a:gd name="connsiteX226" fmla="*/ 58379 w 130102"/>
                <a:gd name="connsiteY226" fmla="*/ 40303 h 111558"/>
                <a:gd name="connsiteX227" fmla="*/ 55526 w 130102"/>
                <a:gd name="connsiteY227" fmla="*/ 37091 h 111558"/>
                <a:gd name="connsiteX228" fmla="*/ 54086 w 130102"/>
                <a:gd name="connsiteY228" fmla="*/ 36511 h 111558"/>
                <a:gd name="connsiteX229" fmla="*/ 52429 w 130102"/>
                <a:gd name="connsiteY229" fmla="*/ 36375 h 111558"/>
                <a:gd name="connsiteX230" fmla="*/ 50983 w 130102"/>
                <a:gd name="connsiteY230" fmla="*/ 36730 h 111558"/>
                <a:gd name="connsiteX231" fmla="*/ 50214 w 130102"/>
                <a:gd name="connsiteY231" fmla="*/ 37382 h 111558"/>
                <a:gd name="connsiteX232" fmla="*/ 49626 w 130102"/>
                <a:gd name="connsiteY232" fmla="*/ 42073 h 111558"/>
                <a:gd name="connsiteX233" fmla="*/ 49106 w 130102"/>
                <a:gd name="connsiteY233" fmla="*/ 46200 h 111558"/>
                <a:gd name="connsiteX234" fmla="*/ 49076 w 130102"/>
                <a:gd name="connsiteY234" fmla="*/ 48671 h 111558"/>
                <a:gd name="connsiteX235" fmla="*/ 52248 w 130102"/>
                <a:gd name="connsiteY235" fmla="*/ 50957 h 111558"/>
                <a:gd name="connsiteX236" fmla="*/ 55984 w 130102"/>
                <a:gd name="connsiteY236" fmla="*/ 54887 h 111558"/>
                <a:gd name="connsiteX237" fmla="*/ 57187 w 130102"/>
                <a:gd name="connsiteY237" fmla="*/ 55338 h 111558"/>
                <a:gd name="connsiteX238" fmla="*/ 57781 w 130102"/>
                <a:gd name="connsiteY238" fmla="*/ 56624 h 111558"/>
                <a:gd name="connsiteX239" fmla="*/ 58655 w 130102"/>
                <a:gd name="connsiteY239" fmla="*/ 59931 h 111558"/>
                <a:gd name="connsiteX240" fmla="*/ 59637 w 130102"/>
                <a:gd name="connsiteY240" fmla="*/ 63645 h 111558"/>
                <a:gd name="connsiteX241" fmla="*/ 61536 w 130102"/>
                <a:gd name="connsiteY241" fmla="*/ 66102 h 111558"/>
                <a:gd name="connsiteX242" fmla="*/ 63248 w 130102"/>
                <a:gd name="connsiteY242" fmla="*/ 67859 h 111558"/>
                <a:gd name="connsiteX243" fmla="*/ 65338 w 130102"/>
                <a:gd name="connsiteY243" fmla="*/ 69403 h 111558"/>
                <a:gd name="connsiteX244" fmla="*/ 67957 w 130102"/>
                <a:gd name="connsiteY244" fmla="*/ 71822 h 111558"/>
                <a:gd name="connsiteX245" fmla="*/ 70106 w 130102"/>
                <a:gd name="connsiteY245" fmla="*/ 74474 h 111558"/>
                <a:gd name="connsiteX246" fmla="*/ 70676 w 130102"/>
                <a:gd name="connsiteY246" fmla="*/ 75452 h 111558"/>
                <a:gd name="connsiteX247" fmla="*/ 74842 w 130102"/>
                <a:gd name="connsiteY247" fmla="*/ 78954 h 111558"/>
                <a:gd name="connsiteX248" fmla="*/ 78882 w 130102"/>
                <a:gd name="connsiteY248" fmla="*/ 82524 h 111558"/>
                <a:gd name="connsiteX249" fmla="*/ 82497 w 130102"/>
                <a:gd name="connsiteY249" fmla="*/ 83772 h 111558"/>
                <a:gd name="connsiteX250" fmla="*/ 83067 w 130102"/>
                <a:gd name="connsiteY250" fmla="*/ 84431 h 111558"/>
                <a:gd name="connsiteX251" fmla="*/ 83099 w 130102"/>
                <a:gd name="connsiteY251" fmla="*/ 87172 h 111558"/>
                <a:gd name="connsiteX252" fmla="*/ 83492 w 130102"/>
                <a:gd name="connsiteY252" fmla="*/ 88200 h 111558"/>
                <a:gd name="connsiteX253" fmla="*/ 85906 w 130102"/>
                <a:gd name="connsiteY253" fmla="*/ 91066 h 111558"/>
                <a:gd name="connsiteX254" fmla="*/ 90828 w 130102"/>
                <a:gd name="connsiteY254" fmla="*/ 95255 h 111558"/>
                <a:gd name="connsiteX255" fmla="*/ 91396 w 130102"/>
                <a:gd name="connsiteY255" fmla="*/ 96225 h 111558"/>
                <a:gd name="connsiteX256" fmla="*/ 91558 w 130102"/>
                <a:gd name="connsiteY256" fmla="*/ 96935 h 111558"/>
                <a:gd name="connsiteX257" fmla="*/ 91240 w 130102"/>
                <a:gd name="connsiteY257" fmla="*/ 97480 h 111558"/>
                <a:gd name="connsiteX258" fmla="*/ 89951 w 130102"/>
                <a:gd name="connsiteY258" fmla="*/ 98053 h 111558"/>
                <a:gd name="connsiteX259" fmla="*/ 88893 w 130102"/>
                <a:gd name="connsiteY259" fmla="*/ 97413 h 111558"/>
                <a:gd name="connsiteX260" fmla="*/ 84306 w 130102"/>
                <a:gd name="connsiteY260" fmla="*/ 93321 h 111558"/>
                <a:gd name="connsiteX261" fmla="*/ 79873 w 130102"/>
                <a:gd name="connsiteY261" fmla="*/ 90738 h 111558"/>
                <a:gd name="connsiteX262" fmla="*/ 74870 w 130102"/>
                <a:gd name="connsiteY262" fmla="*/ 85865 h 111558"/>
                <a:gd name="connsiteX263" fmla="*/ 68173 w 130102"/>
                <a:gd name="connsiteY263" fmla="*/ 83938 h 111558"/>
                <a:gd name="connsiteX264" fmla="*/ 63611 w 130102"/>
                <a:gd name="connsiteY264" fmla="*/ 81802 h 111558"/>
                <a:gd name="connsiteX265" fmla="*/ 60847 w 130102"/>
                <a:gd name="connsiteY265" fmla="*/ 82129 h 111558"/>
                <a:gd name="connsiteX266" fmla="*/ 57798 w 130102"/>
                <a:gd name="connsiteY266" fmla="*/ 82801 h 111558"/>
                <a:gd name="connsiteX267" fmla="*/ 55917 w 130102"/>
                <a:gd name="connsiteY267" fmla="*/ 82822 h 111558"/>
                <a:gd name="connsiteX268" fmla="*/ 54580 w 130102"/>
                <a:gd name="connsiteY268" fmla="*/ 82438 h 111558"/>
                <a:gd name="connsiteX269" fmla="*/ 53630 w 130102"/>
                <a:gd name="connsiteY269" fmla="*/ 81113 h 111558"/>
                <a:gd name="connsiteX270" fmla="*/ 53775 w 130102"/>
                <a:gd name="connsiteY270" fmla="*/ 80088 h 111558"/>
                <a:gd name="connsiteX271" fmla="*/ 53606 w 130102"/>
                <a:gd name="connsiteY271" fmla="*/ 78749 h 111558"/>
                <a:gd name="connsiteX272" fmla="*/ 50933 w 130102"/>
                <a:gd name="connsiteY272" fmla="*/ 76610 h 111558"/>
                <a:gd name="connsiteX273" fmla="*/ 47286 w 130102"/>
                <a:gd name="connsiteY273" fmla="*/ 74575 h 111558"/>
                <a:gd name="connsiteX274" fmla="*/ 43831 w 130102"/>
                <a:gd name="connsiteY274" fmla="*/ 71940 h 111558"/>
                <a:gd name="connsiteX275" fmla="*/ 36897 w 130102"/>
                <a:gd name="connsiteY275" fmla="*/ 64811 h 111558"/>
                <a:gd name="connsiteX276" fmla="*/ 35506 w 130102"/>
                <a:gd name="connsiteY276" fmla="*/ 62516 h 111558"/>
                <a:gd name="connsiteX277" fmla="*/ 36871 w 130102"/>
                <a:gd name="connsiteY277" fmla="*/ 62079 h 111558"/>
                <a:gd name="connsiteX278" fmla="*/ 37903 w 130102"/>
                <a:gd name="connsiteY278" fmla="*/ 62118 h 111558"/>
                <a:gd name="connsiteX279" fmla="*/ 39074 w 130102"/>
                <a:gd name="connsiteY279" fmla="*/ 61647 h 111558"/>
                <a:gd name="connsiteX280" fmla="*/ 40963 w 130102"/>
                <a:gd name="connsiteY280" fmla="*/ 61635 h 111558"/>
                <a:gd name="connsiteX281" fmla="*/ 43202 w 130102"/>
                <a:gd name="connsiteY281" fmla="*/ 62104 h 111558"/>
                <a:gd name="connsiteX282" fmla="*/ 41220 w 130102"/>
                <a:gd name="connsiteY282" fmla="*/ 60576 h 111558"/>
                <a:gd name="connsiteX283" fmla="*/ 38754 w 130102"/>
                <a:gd name="connsiteY283" fmla="*/ 59076 h 111558"/>
                <a:gd name="connsiteX284" fmla="*/ 32375 w 130102"/>
                <a:gd name="connsiteY284" fmla="*/ 53109 h 111558"/>
                <a:gd name="connsiteX285" fmla="*/ 30471 w 130102"/>
                <a:gd name="connsiteY285" fmla="*/ 50286 h 111558"/>
                <a:gd name="connsiteX286" fmla="*/ 30250 w 130102"/>
                <a:gd name="connsiteY286" fmla="*/ 47241 h 111558"/>
                <a:gd name="connsiteX287" fmla="*/ 30721 w 130102"/>
                <a:gd name="connsiteY287" fmla="*/ 43060 h 111558"/>
                <a:gd name="connsiteX288" fmla="*/ 29572 w 130102"/>
                <a:gd name="connsiteY288" fmla="*/ 40063 h 111558"/>
                <a:gd name="connsiteX289" fmla="*/ 24651 w 130102"/>
                <a:gd name="connsiteY289" fmla="*/ 36179 h 111558"/>
                <a:gd name="connsiteX290" fmla="*/ 22848 w 130102"/>
                <a:gd name="connsiteY290" fmla="*/ 34128 h 111558"/>
                <a:gd name="connsiteX291" fmla="*/ 19214 w 130102"/>
                <a:gd name="connsiteY291" fmla="*/ 32910 h 111558"/>
                <a:gd name="connsiteX292" fmla="*/ 17590 w 130102"/>
                <a:gd name="connsiteY292" fmla="*/ 33030 h 111558"/>
                <a:gd name="connsiteX293" fmla="*/ 16614 w 130102"/>
                <a:gd name="connsiteY293" fmla="*/ 34545 h 111558"/>
                <a:gd name="connsiteX294" fmla="*/ 15901 w 130102"/>
                <a:gd name="connsiteY294" fmla="*/ 37910 h 111558"/>
                <a:gd name="connsiteX295" fmla="*/ 12679 w 130102"/>
                <a:gd name="connsiteY295" fmla="*/ 42343 h 111558"/>
                <a:gd name="connsiteX296" fmla="*/ 11604 w 130102"/>
                <a:gd name="connsiteY296" fmla="*/ 44267 h 111558"/>
                <a:gd name="connsiteX297" fmla="*/ 9920 w 130102"/>
                <a:gd name="connsiteY297" fmla="*/ 46766 h 111558"/>
                <a:gd name="connsiteX298" fmla="*/ 8460 w 130102"/>
                <a:gd name="connsiteY298" fmla="*/ 46938 h 111558"/>
                <a:gd name="connsiteX299" fmla="*/ 7596 w 130102"/>
                <a:gd name="connsiteY299" fmla="*/ 46718 h 111558"/>
                <a:gd name="connsiteX300" fmla="*/ 4981 w 130102"/>
                <a:gd name="connsiteY300" fmla="*/ 42510 h 111558"/>
                <a:gd name="connsiteX301" fmla="*/ 2478 w 130102"/>
                <a:gd name="connsiteY301" fmla="*/ 39319 h 111558"/>
                <a:gd name="connsiteX302" fmla="*/ 2129 w 130102"/>
                <a:gd name="connsiteY302" fmla="*/ 37807 h 111558"/>
                <a:gd name="connsiteX303" fmla="*/ 1904 w 130102"/>
                <a:gd name="connsiteY303" fmla="*/ 35946 h 111558"/>
                <a:gd name="connsiteX304" fmla="*/ 0 w 130102"/>
                <a:gd name="connsiteY304" fmla="*/ 29077 h 111558"/>
                <a:gd name="connsiteX305" fmla="*/ 1343 w 130102"/>
                <a:gd name="connsiteY305" fmla="*/ 28113 h 111558"/>
                <a:gd name="connsiteX306" fmla="*/ 2168 w 130102"/>
                <a:gd name="connsiteY306" fmla="*/ 29216 h 111558"/>
                <a:gd name="connsiteX307" fmla="*/ 7994 w 130102"/>
                <a:gd name="connsiteY307" fmla="*/ 30544 h 111558"/>
                <a:gd name="connsiteX308" fmla="*/ 9252 w 130102"/>
                <a:gd name="connsiteY308" fmla="*/ 29955 h 111558"/>
                <a:gd name="connsiteX309" fmla="*/ 10015 w 130102"/>
                <a:gd name="connsiteY309" fmla="*/ 29055 h 111558"/>
                <a:gd name="connsiteX310" fmla="*/ 10019 w 130102"/>
                <a:gd name="connsiteY310" fmla="*/ 28485 h 111558"/>
                <a:gd name="connsiteX311" fmla="*/ 10516 w 130102"/>
                <a:gd name="connsiteY311" fmla="*/ 28318 h 111558"/>
                <a:gd name="connsiteX312" fmla="*/ 12567 w 130102"/>
                <a:gd name="connsiteY312" fmla="*/ 29186 h 111558"/>
                <a:gd name="connsiteX313" fmla="*/ 14241 w 130102"/>
                <a:gd name="connsiteY313" fmla="*/ 28985 h 111558"/>
                <a:gd name="connsiteX314" fmla="*/ 16933 w 130102"/>
                <a:gd name="connsiteY314" fmla="*/ 28945 h 111558"/>
                <a:gd name="connsiteX315" fmla="*/ 18855 w 130102"/>
                <a:gd name="connsiteY315" fmla="*/ 29087 h 111558"/>
                <a:gd name="connsiteX316" fmla="*/ 20125 w 130102"/>
                <a:gd name="connsiteY316" fmla="*/ 28419 h 111558"/>
                <a:gd name="connsiteX317" fmla="*/ 21846 w 130102"/>
                <a:gd name="connsiteY317" fmla="*/ 25960 h 111558"/>
                <a:gd name="connsiteX318" fmla="*/ 22483 w 130102"/>
                <a:gd name="connsiteY318" fmla="*/ 24583 h 111558"/>
                <a:gd name="connsiteX319" fmla="*/ 23254 w 130102"/>
                <a:gd name="connsiteY319" fmla="*/ 24254 h 111558"/>
                <a:gd name="connsiteX320" fmla="*/ 23761 w 130102"/>
                <a:gd name="connsiteY320" fmla="*/ 24418 h 111558"/>
                <a:gd name="connsiteX321" fmla="*/ 24133 w 130102"/>
                <a:gd name="connsiteY321" fmla="*/ 25550 h 111558"/>
                <a:gd name="connsiteX322" fmla="*/ 25038 w 130102"/>
                <a:gd name="connsiteY322" fmla="*/ 26613 h 111558"/>
                <a:gd name="connsiteX323" fmla="*/ 26897 w 130102"/>
                <a:gd name="connsiteY323" fmla="*/ 28344 h 111558"/>
                <a:gd name="connsiteX324" fmla="*/ 28212 w 130102"/>
                <a:gd name="connsiteY324" fmla="*/ 29175 h 111558"/>
                <a:gd name="connsiteX325" fmla="*/ 29406 w 130102"/>
                <a:gd name="connsiteY325" fmla="*/ 29474 h 111558"/>
                <a:gd name="connsiteX326" fmla="*/ 30576 w 130102"/>
                <a:gd name="connsiteY326" fmla="*/ 28778 h 111558"/>
                <a:gd name="connsiteX327" fmla="*/ 31784 w 130102"/>
                <a:gd name="connsiteY327" fmla="*/ 28580 h 111558"/>
                <a:gd name="connsiteX328" fmla="*/ 35230 w 130102"/>
                <a:gd name="connsiteY328" fmla="*/ 29929 h 111558"/>
                <a:gd name="connsiteX329" fmla="*/ 38141 w 130102"/>
                <a:gd name="connsiteY329" fmla="*/ 30186 h 111558"/>
                <a:gd name="connsiteX330" fmla="*/ 40294 w 130102"/>
                <a:gd name="connsiteY330" fmla="*/ 29482 h 111558"/>
                <a:gd name="connsiteX331" fmla="*/ 40011 w 130102"/>
                <a:gd name="connsiteY331" fmla="*/ 28514 h 111558"/>
                <a:gd name="connsiteX332" fmla="*/ 39227 w 130102"/>
                <a:gd name="connsiteY332" fmla="*/ 27435 h 111558"/>
                <a:gd name="connsiteX333" fmla="*/ 39058 w 130102"/>
                <a:gd name="connsiteY333" fmla="*/ 26387 h 111558"/>
                <a:gd name="connsiteX334" fmla="*/ 39203 w 130102"/>
                <a:gd name="connsiteY334" fmla="*/ 25481 h 111558"/>
                <a:gd name="connsiteX335" fmla="*/ 40680 w 130102"/>
                <a:gd name="connsiteY335" fmla="*/ 24577 h 111558"/>
                <a:gd name="connsiteX336" fmla="*/ 40609 w 130102"/>
                <a:gd name="connsiteY336" fmla="*/ 24180 h 111558"/>
                <a:gd name="connsiteX337" fmla="*/ 38823 w 130102"/>
                <a:gd name="connsiteY337" fmla="*/ 22589 h 111558"/>
                <a:gd name="connsiteX338" fmla="*/ 38914 w 130102"/>
                <a:gd name="connsiteY338" fmla="*/ 22179 h 111558"/>
                <a:gd name="connsiteX339" fmla="*/ 42829 w 130102"/>
                <a:gd name="connsiteY339" fmla="*/ 20389 h 111558"/>
                <a:gd name="connsiteX340" fmla="*/ 46603 w 130102"/>
                <a:gd name="connsiteY340" fmla="*/ 19384 h 111558"/>
                <a:gd name="connsiteX341" fmla="*/ 47208 w 130102"/>
                <a:gd name="connsiteY341" fmla="*/ 18609 h 111558"/>
                <a:gd name="connsiteX342" fmla="*/ 47560 w 130102"/>
                <a:gd name="connsiteY342" fmla="*/ 17443 h 111558"/>
                <a:gd name="connsiteX343" fmla="*/ 47726 w 130102"/>
                <a:gd name="connsiteY343" fmla="*/ 15256 h 111558"/>
                <a:gd name="connsiteX344" fmla="*/ 47519 w 130102"/>
                <a:gd name="connsiteY344" fmla="*/ 13466 h 111558"/>
                <a:gd name="connsiteX345" fmla="*/ 45986 w 130102"/>
                <a:gd name="connsiteY345" fmla="*/ 11787 h 111558"/>
                <a:gd name="connsiteX346" fmla="*/ 45891 w 130102"/>
                <a:gd name="connsiteY346" fmla="*/ 10937 h 111558"/>
                <a:gd name="connsiteX347" fmla="*/ 46254 w 130102"/>
                <a:gd name="connsiteY347" fmla="*/ 10054 h 111558"/>
                <a:gd name="connsiteX348" fmla="*/ 46849 w 130102"/>
                <a:gd name="connsiteY348" fmla="*/ 9256 h 111558"/>
                <a:gd name="connsiteX349" fmla="*/ 48359 w 130102"/>
                <a:gd name="connsiteY349" fmla="*/ 8910 h 111558"/>
                <a:gd name="connsiteX350" fmla="*/ 50130 w 130102"/>
                <a:gd name="connsiteY350" fmla="*/ 8336 h 111558"/>
                <a:gd name="connsiteX351" fmla="*/ 51529 w 130102"/>
                <a:gd name="connsiteY351" fmla="*/ 7675 h 111558"/>
                <a:gd name="connsiteX352" fmla="*/ 53425 w 130102"/>
                <a:gd name="connsiteY352" fmla="*/ 7127 h 111558"/>
                <a:gd name="connsiteX353" fmla="*/ 54915 w 130102"/>
                <a:gd name="connsiteY353" fmla="*/ 6359 h 111558"/>
                <a:gd name="connsiteX354" fmla="*/ 56370 w 130102"/>
                <a:gd name="connsiteY354" fmla="*/ 4531 h 111558"/>
                <a:gd name="connsiteX355" fmla="*/ 57253 w 130102"/>
                <a:gd name="connsiteY355" fmla="*/ 4229 h 111558"/>
                <a:gd name="connsiteX356" fmla="*/ 59929 w 130102"/>
                <a:gd name="connsiteY356" fmla="*/ 4489 h 111558"/>
                <a:gd name="connsiteX357" fmla="*/ 60501 w 130102"/>
                <a:gd name="connsiteY357" fmla="*/ 4038 h 111558"/>
                <a:gd name="connsiteX358" fmla="*/ 60134 w 130102"/>
                <a:gd name="connsiteY358" fmla="*/ 1410 h 111558"/>
                <a:gd name="connsiteX359" fmla="*/ 60613 w 130102"/>
                <a:gd name="connsiteY359" fmla="*/ 742 h 111558"/>
                <a:gd name="connsiteX360" fmla="*/ 61559 w 130102"/>
                <a:gd name="connsiteY360" fmla="*/ 368 h 111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</a:cxnLst>
              <a:rect l="l" t="t" r="r" b="b"/>
              <a:pathLst>
                <a:path w="130102" h="111558">
                  <a:moveTo>
                    <a:pt x="86563" y="101746"/>
                  </a:moveTo>
                  <a:lnTo>
                    <a:pt x="90452" y="102584"/>
                  </a:lnTo>
                  <a:lnTo>
                    <a:pt x="93469" y="104421"/>
                  </a:lnTo>
                  <a:lnTo>
                    <a:pt x="84622" y="102014"/>
                  </a:lnTo>
                  <a:lnTo>
                    <a:pt x="85626" y="101793"/>
                  </a:lnTo>
                  <a:close/>
                  <a:moveTo>
                    <a:pt x="69288" y="96494"/>
                  </a:moveTo>
                  <a:lnTo>
                    <a:pt x="73375" y="97242"/>
                  </a:lnTo>
                  <a:lnTo>
                    <a:pt x="76373" y="96898"/>
                  </a:lnTo>
                  <a:lnTo>
                    <a:pt x="79083" y="97357"/>
                  </a:lnTo>
                  <a:lnTo>
                    <a:pt x="80767" y="98207"/>
                  </a:lnTo>
                  <a:lnTo>
                    <a:pt x="81175" y="98624"/>
                  </a:lnTo>
                  <a:lnTo>
                    <a:pt x="78988" y="98682"/>
                  </a:lnTo>
                  <a:lnTo>
                    <a:pt x="76515" y="98337"/>
                  </a:lnTo>
                  <a:lnTo>
                    <a:pt x="73710" y="99201"/>
                  </a:lnTo>
                  <a:lnTo>
                    <a:pt x="71238" y="98739"/>
                  </a:lnTo>
                  <a:lnTo>
                    <a:pt x="70298" y="98178"/>
                  </a:lnTo>
                  <a:lnTo>
                    <a:pt x="69633" y="97476"/>
                  </a:lnTo>
                  <a:close/>
                  <a:moveTo>
                    <a:pt x="81872" y="95708"/>
                  </a:moveTo>
                  <a:lnTo>
                    <a:pt x="93013" y="100400"/>
                  </a:lnTo>
                  <a:lnTo>
                    <a:pt x="91773" y="99158"/>
                  </a:lnTo>
                  <a:lnTo>
                    <a:pt x="93380" y="98666"/>
                  </a:lnTo>
                  <a:lnTo>
                    <a:pt x="94745" y="99020"/>
                  </a:lnTo>
                  <a:lnTo>
                    <a:pt x="95615" y="100551"/>
                  </a:lnTo>
                  <a:lnTo>
                    <a:pt x="97330" y="101558"/>
                  </a:lnTo>
                  <a:lnTo>
                    <a:pt x="100109" y="103327"/>
                  </a:lnTo>
                  <a:lnTo>
                    <a:pt x="101864" y="104682"/>
                  </a:lnTo>
                  <a:lnTo>
                    <a:pt x="105846" y="107117"/>
                  </a:lnTo>
                  <a:lnTo>
                    <a:pt x="106788" y="107457"/>
                  </a:lnTo>
                  <a:lnTo>
                    <a:pt x="108772" y="108176"/>
                  </a:lnTo>
                  <a:lnTo>
                    <a:pt x="108811" y="109157"/>
                  </a:lnTo>
                  <a:lnTo>
                    <a:pt x="109664" y="110273"/>
                  </a:lnTo>
                  <a:lnTo>
                    <a:pt x="110566" y="111558"/>
                  </a:lnTo>
                  <a:lnTo>
                    <a:pt x="106488" y="109026"/>
                  </a:lnTo>
                  <a:lnTo>
                    <a:pt x="102676" y="106192"/>
                  </a:lnTo>
                  <a:lnTo>
                    <a:pt x="95229" y="101826"/>
                  </a:lnTo>
                  <a:lnTo>
                    <a:pt x="89946" y="100762"/>
                  </a:lnTo>
                  <a:lnTo>
                    <a:pt x="82721" y="97247"/>
                  </a:lnTo>
                  <a:lnTo>
                    <a:pt x="78016" y="96003"/>
                  </a:lnTo>
                  <a:lnTo>
                    <a:pt x="79808" y="95716"/>
                  </a:lnTo>
                  <a:close/>
                  <a:moveTo>
                    <a:pt x="66429" y="90251"/>
                  </a:moveTo>
                  <a:lnTo>
                    <a:pt x="69404" y="90667"/>
                  </a:lnTo>
                  <a:lnTo>
                    <a:pt x="70318" y="91709"/>
                  </a:lnTo>
                  <a:lnTo>
                    <a:pt x="78364" y="92543"/>
                  </a:lnTo>
                  <a:lnTo>
                    <a:pt x="81302" y="93029"/>
                  </a:lnTo>
                  <a:lnTo>
                    <a:pt x="79756" y="93307"/>
                  </a:lnTo>
                  <a:lnTo>
                    <a:pt x="69918" y="93100"/>
                  </a:lnTo>
                  <a:lnTo>
                    <a:pt x="67057" y="92543"/>
                  </a:lnTo>
                  <a:lnTo>
                    <a:pt x="63874" y="91108"/>
                  </a:lnTo>
                  <a:lnTo>
                    <a:pt x="63224" y="90667"/>
                  </a:lnTo>
                  <a:close/>
                  <a:moveTo>
                    <a:pt x="64827" y="86010"/>
                  </a:moveTo>
                  <a:lnTo>
                    <a:pt x="68202" y="86149"/>
                  </a:lnTo>
                  <a:lnTo>
                    <a:pt x="73350" y="86984"/>
                  </a:lnTo>
                  <a:lnTo>
                    <a:pt x="74609" y="87957"/>
                  </a:lnTo>
                  <a:lnTo>
                    <a:pt x="74218" y="88406"/>
                  </a:lnTo>
                  <a:lnTo>
                    <a:pt x="72263" y="89139"/>
                  </a:lnTo>
                  <a:lnTo>
                    <a:pt x="68774" y="89209"/>
                  </a:lnTo>
                  <a:lnTo>
                    <a:pt x="65742" y="88722"/>
                  </a:lnTo>
                  <a:lnTo>
                    <a:pt x="64256" y="87887"/>
                  </a:lnTo>
                  <a:lnTo>
                    <a:pt x="64367" y="87184"/>
                  </a:lnTo>
                  <a:close/>
                  <a:moveTo>
                    <a:pt x="38758" y="69183"/>
                  </a:moveTo>
                  <a:lnTo>
                    <a:pt x="41000" y="70181"/>
                  </a:lnTo>
                  <a:lnTo>
                    <a:pt x="42455" y="72191"/>
                  </a:lnTo>
                  <a:lnTo>
                    <a:pt x="41063" y="71778"/>
                  </a:lnTo>
                  <a:lnTo>
                    <a:pt x="39611" y="70534"/>
                  </a:lnTo>
                  <a:close/>
                  <a:moveTo>
                    <a:pt x="34243" y="65203"/>
                  </a:moveTo>
                  <a:lnTo>
                    <a:pt x="37897" y="67787"/>
                  </a:lnTo>
                  <a:lnTo>
                    <a:pt x="38242" y="68741"/>
                  </a:lnTo>
                  <a:lnTo>
                    <a:pt x="35483" y="66947"/>
                  </a:lnTo>
                  <a:lnTo>
                    <a:pt x="34437" y="65741"/>
                  </a:lnTo>
                  <a:close/>
                  <a:moveTo>
                    <a:pt x="29804" y="64924"/>
                  </a:moveTo>
                  <a:lnTo>
                    <a:pt x="31738" y="66300"/>
                  </a:lnTo>
                  <a:lnTo>
                    <a:pt x="36962" y="71573"/>
                  </a:lnTo>
                  <a:lnTo>
                    <a:pt x="37277" y="71969"/>
                  </a:lnTo>
                  <a:lnTo>
                    <a:pt x="37247" y="72239"/>
                  </a:lnTo>
                  <a:lnTo>
                    <a:pt x="36100" y="71858"/>
                  </a:lnTo>
                  <a:lnTo>
                    <a:pt x="35791" y="71981"/>
                  </a:lnTo>
                  <a:lnTo>
                    <a:pt x="30384" y="66074"/>
                  </a:lnTo>
                  <a:close/>
                  <a:moveTo>
                    <a:pt x="27080" y="50537"/>
                  </a:moveTo>
                  <a:lnTo>
                    <a:pt x="28449" y="51863"/>
                  </a:lnTo>
                  <a:lnTo>
                    <a:pt x="29590" y="52692"/>
                  </a:lnTo>
                  <a:lnTo>
                    <a:pt x="30533" y="52894"/>
                  </a:lnTo>
                  <a:lnTo>
                    <a:pt x="32930" y="54978"/>
                  </a:lnTo>
                  <a:lnTo>
                    <a:pt x="35286" y="57656"/>
                  </a:lnTo>
                  <a:lnTo>
                    <a:pt x="38093" y="59980"/>
                  </a:lnTo>
                  <a:lnTo>
                    <a:pt x="37510" y="60052"/>
                  </a:lnTo>
                  <a:lnTo>
                    <a:pt x="36955" y="60373"/>
                  </a:lnTo>
                  <a:lnTo>
                    <a:pt x="36383" y="61094"/>
                  </a:lnTo>
                  <a:lnTo>
                    <a:pt x="34954" y="59765"/>
                  </a:lnTo>
                  <a:lnTo>
                    <a:pt x="33641" y="58817"/>
                  </a:lnTo>
                  <a:lnTo>
                    <a:pt x="32701" y="57695"/>
                  </a:lnTo>
                  <a:lnTo>
                    <a:pt x="30859" y="56295"/>
                  </a:lnTo>
                  <a:lnTo>
                    <a:pt x="30237" y="54693"/>
                  </a:lnTo>
                  <a:lnTo>
                    <a:pt x="27491" y="51425"/>
                  </a:lnTo>
                  <a:close/>
                  <a:moveTo>
                    <a:pt x="25944" y="46425"/>
                  </a:moveTo>
                  <a:lnTo>
                    <a:pt x="27353" y="46516"/>
                  </a:lnTo>
                  <a:lnTo>
                    <a:pt x="27564" y="47155"/>
                  </a:lnTo>
                  <a:lnTo>
                    <a:pt x="29061" y="48859"/>
                  </a:lnTo>
                  <a:lnTo>
                    <a:pt x="29618" y="50061"/>
                  </a:lnTo>
                  <a:lnTo>
                    <a:pt x="27536" y="48976"/>
                  </a:lnTo>
                  <a:lnTo>
                    <a:pt x="25672" y="48561"/>
                  </a:lnTo>
                  <a:lnTo>
                    <a:pt x="25277" y="47744"/>
                  </a:lnTo>
                  <a:lnTo>
                    <a:pt x="25545" y="47074"/>
                  </a:lnTo>
                  <a:close/>
                  <a:moveTo>
                    <a:pt x="18596" y="37698"/>
                  </a:moveTo>
                  <a:lnTo>
                    <a:pt x="18838" y="40065"/>
                  </a:lnTo>
                  <a:lnTo>
                    <a:pt x="19382" y="41424"/>
                  </a:lnTo>
                  <a:lnTo>
                    <a:pt x="21010" y="43092"/>
                  </a:lnTo>
                  <a:lnTo>
                    <a:pt x="20682" y="45851"/>
                  </a:lnTo>
                  <a:lnTo>
                    <a:pt x="21015" y="49774"/>
                  </a:lnTo>
                  <a:lnTo>
                    <a:pt x="21345" y="50646"/>
                  </a:lnTo>
                  <a:lnTo>
                    <a:pt x="21468" y="51553"/>
                  </a:lnTo>
                  <a:lnTo>
                    <a:pt x="21297" y="52610"/>
                  </a:lnTo>
                  <a:lnTo>
                    <a:pt x="19952" y="51274"/>
                  </a:lnTo>
                  <a:lnTo>
                    <a:pt x="19274" y="48876"/>
                  </a:lnTo>
                  <a:lnTo>
                    <a:pt x="17583" y="44999"/>
                  </a:lnTo>
                  <a:lnTo>
                    <a:pt x="17365" y="43906"/>
                  </a:lnTo>
                  <a:lnTo>
                    <a:pt x="18242" y="42826"/>
                  </a:lnTo>
                  <a:lnTo>
                    <a:pt x="18195" y="41732"/>
                  </a:lnTo>
                  <a:lnTo>
                    <a:pt x="16996" y="38322"/>
                  </a:lnTo>
                  <a:lnTo>
                    <a:pt x="18000" y="37765"/>
                  </a:lnTo>
                  <a:close/>
                  <a:moveTo>
                    <a:pt x="23304" y="36128"/>
                  </a:moveTo>
                  <a:lnTo>
                    <a:pt x="24606" y="37408"/>
                  </a:lnTo>
                  <a:lnTo>
                    <a:pt x="26180" y="39816"/>
                  </a:lnTo>
                  <a:lnTo>
                    <a:pt x="27020" y="40488"/>
                  </a:lnTo>
                  <a:lnTo>
                    <a:pt x="28592" y="42905"/>
                  </a:lnTo>
                  <a:lnTo>
                    <a:pt x="25867" y="43491"/>
                  </a:lnTo>
                  <a:lnTo>
                    <a:pt x="24569" y="42443"/>
                  </a:lnTo>
                  <a:lnTo>
                    <a:pt x="24230" y="41583"/>
                  </a:lnTo>
                  <a:lnTo>
                    <a:pt x="21991" y="41310"/>
                  </a:lnTo>
                  <a:lnTo>
                    <a:pt x="20635" y="40112"/>
                  </a:lnTo>
                  <a:lnTo>
                    <a:pt x="20358" y="39581"/>
                  </a:lnTo>
                  <a:lnTo>
                    <a:pt x="22276" y="38262"/>
                  </a:lnTo>
                  <a:close/>
                  <a:moveTo>
                    <a:pt x="62002" y="0"/>
                  </a:moveTo>
                  <a:lnTo>
                    <a:pt x="64356" y="284"/>
                  </a:lnTo>
                  <a:lnTo>
                    <a:pt x="66314" y="964"/>
                  </a:lnTo>
                  <a:lnTo>
                    <a:pt x="67502" y="1378"/>
                  </a:lnTo>
                  <a:lnTo>
                    <a:pt x="71441" y="3281"/>
                  </a:lnTo>
                  <a:lnTo>
                    <a:pt x="74170" y="5419"/>
                  </a:lnTo>
                  <a:lnTo>
                    <a:pt x="75684" y="7791"/>
                  </a:lnTo>
                  <a:lnTo>
                    <a:pt x="77735" y="9628"/>
                  </a:lnTo>
                  <a:lnTo>
                    <a:pt x="80320" y="10927"/>
                  </a:lnTo>
                  <a:lnTo>
                    <a:pt x="82367" y="12689"/>
                  </a:lnTo>
                  <a:lnTo>
                    <a:pt x="83881" y="14912"/>
                  </a:lnTo>
                  <a:lnTo>
                    <a:pt x="85997" y="16156"/>
                  </a:lnTo>
                  <a:lnTo>
                    <a:pt x="88714" y="16426"/>
                  </a:lnTo>
                  <a:lnTo>
                    <a:pt x="90435" y="17186"/>
                  </a:lnTo>
                  <a:lnTo>
                    <a:pt x="91156" y="18438"/>
                  </a:lnTo>
                  <a:lnTo>
                    <a:pt x="92633" y="19572"/>
                  </a:lnTo>
                  <a:lnTo>
                    <a:pt x="94859" y="20586"/>
                  </a:lnTo>
                  <a:lnTo>
                    <a:pt x="98325" y="21142"/>
                  </a:lnTo>
                  <a:lnTo>
                    <a:pt x="104961" y="21274"/>
                  </a:lnTo>
                  <a:lnTo>
                    <a:pt x="105550" y="21302"/>
                  </a:lnTo>
                  <a:lnTo>
                    <a:pt x="107047" y="21617"/>
                  </a:lnTo>
                  <a:lnTo>
                    <a:pt x="108794" y="21223"/>
                  </a:lnTo>
                  <a:lnTo>
                    <a:pt x="110923" y="20429"/>
                  </a:lnTo>
                  <a:lnTo>
                    <a:pt x="111609" y="19956"/>
                  </a:lnTo>
                  <a:lnTo>
                    <a:pt x="113851" y="17359"/>
                  </a:lnTo>
                  <a:lnTo>
                    <a:pt x="115084" y="17583"/>
                  </a:lnTo>
                  <a:lnTo>
                    <a:pt x="117544" y="17266"/>
                  </a:lnTo>
                  <a:lnTo>
                    <a:pt x="119031" y="16690"/>
                  </a:lnTo>
                  <a:lnTo>
                    <a:pt x="119144" y="16690"/>
                  </a:lnTo>
                  <a:lnTo>
                    <a:pt x="119049" y="17355"/>
                  </a:lnTo>
                  <a:lnTo>
                    <a:pt x="118882" y="18516"/>
                  </a:lnTo>
                  <a:lnTo>
                    <a:pt x="117677" y="19338"/>
                  </a:lnTo>
                  <a:lnTo>
                    <a:pt x="118904" y="21229"/>
                  </a:lnTo>
                  <a:lnTo>
                    <a:pt x="120070" y="24293"/>
                  </a:lnTo>
                  <a:lnTo>
                    <a:pt x="119420" y="25806"/>
                  </a:lnTo>
                  <a:lnTo>
                    <a:pt x="120212" y="26983"/>
                  </a:lnTo>
                  <a:lnTo>
                    <a:pt x="122454" y="27828"/>
                  </a:lnTo>
                  <a:lnTo>
                    <a:pt x="122657" y="28165"/>
                  </a:lnTo>
                  <a:lnTo>
                    <a:pt x="121972" y="28517"/>
                  </a:lnTo>
                  <a:lnTo>
                    <a:pt x="121405" y="29516"/>
                  </a:lnTo>
                  <a:lnTo>
                    <a:pt x="121340" y="31336"/>
                  </a:lnTo>
                  <a:lnTo>
                    <a:pt x="123294" y="33054"/>
                  </a:lnTo>
                  <a:lnTo>
                    <a:pt x="127269" y="34670"/>
                  </a:lnTo>
                  <a:lnTo>
                    <a:pt x="128539" y="34941"/>
                  </a:lnTo>
                  <a:lnTo>
                    <a:pt x="129025" y="35562"/>
                  </a:lnTo>
                  <a:lnTo>
                    <a:pt x="129690" y="35968"/>
                  </a:lnTo>
                  <a:lnTo>
                    <a:pt x="130081" y="36464"/>
                  </a:lnTo>
                  <a:lnTo>
                    <a:pt x="130102" y="37105"/>
                  </a:lnTo>
                  <a:lnTo>
                    <a:pt x="129818" y="37545"/>
                  </a:lnTo>
                  <a:lnTo>
                    <a:pt x="127937" y="37702"/>
                  </a:lnTo>
                  <a:lnTo>
                    <a:pt x="125790" y="37688"/>
                  </a:lnTo>
                  <a:lnTo>
                    <a:pt x="124264" y="36909"/>
                  </a:lnTo>
                  <a:lnTo>
                    <a:pt x="124128" y="37477"/>
                  </a:lnTo>
                  <a:lnTo>
                    <a:pt x="124104" y="38128"/>
                  </a:lnTo>
                  <a:lnTo>
                    <a:pt x="122627" y="38525"/>
                  </a:lnTo>
                  <a:lnTo>
                    <a:pt x="123447" y="42995"/>
                  </a:lnTo>
                  <a:lnTo>
                    <a:pt x="123121" y="44279"/>
                  </a:lnTo>
                  <a:lnTo>
                    <a:pt x="122575" y="44710"/>
                  </a:lnTo>
                  <a:lnTo>
                    <a:pt x="122067" y="44531"/>
                  </a:lnTo>
                  <a:lnTo>
                    <a:pt x="121448" y="44481"/>
                  </a:lnTo>
                  <a:lnTo>
                    <a:pt x="121137" y="44900"/>
                  </a:lnTo>
                  <a:lnTo>
                    <a:pt x="121394" y="45851"/>
                  </a:lnTo>
                  <a:lnTo>
                    <a:pt x="119938" y="45960"/>
                  </a:lnTo>
                  <a:lnTo>
                    <a:pt x="117619" y="45467"/>
                  </a:lnTo>
                  <a:lnTo>
                    <a:pt x="116557" y="44603"/>
                  </a:lnTo>
                  <a:lnTo>
                    <a:pt x="116375" y="43720"/>
                  </a:lnTo>
                  <a:lnTo>
                    <a:pt x="116358" y="42900"/>
                  </a:lnTo>
                  <a:lnTo>
                    <a:pt x="115622" y="41553"/>
                  </a:lnTo>
                  <a:lnTo>
                    <a:pt x="113776" y="40161"/>
                  </a:lnTo>
                  <a:lnTo>
                    <a:pt x="109921" y="39931"/>
                  </a:lnTo>
                  <a:lnTo>
                    <a:pt x="108498" y="39489"/>
                  </a:lnTo>
                  <a:lnTo>
                    <a:pt x="107032" y="38981"/>
                  </a:lnTo>
                  <a:lnTo>
                    <a:pt x="105425" y="38605"/>
                  </a:lnTo>
                  <a:lnTo>
                    <a:pt x="103944" y="38643"/>
                  </a:lnTo>
                  <a:lnTo>
                    <a:pt x="102158" y="39013"/>
                  </a:lnTo>
                  <a:lnTo>
                    <a:pt x="99042" y="38400"/>
                  </a:lnTo>
                  <a:lnTo>
                    <a:pt x="97988" y="39218"/>
                  </a:lnTo>
                  <a:lnTo>
                    <a:pt x="96347" y="40166"/>
                  </a:lnTo>
                  <a:lnTo>
                    <a:pt x="94984" y="40142"/>
                  </a:lnTo>
                  <a:lnTo>
                    <a:pt x="92272" y="37945"/>
                  </a:lnTo>
                  <a:lnTo>
                    <a:pt x="91463" y="37806"/>
                  </a:lnTo>
                  <a:lnTo>
                    <a:pt x="89091" y="38926"/>
                  </a:lnTo>
                  <a:lnTo>
                    <a:pt x="88126" y="38986"/>
                  </a:lnTo>
                  <a:lnTo>
                    <a:pt x="87386" y="38632"/>
                  </a:lnTo>
                  <a:lnTo>
                    <a:pt x="84179" y="37793"/>
                  </a:lnTo>
                  <a:lnTo>
                    <a:pt x="82732" y="37612"/>
                  </a:lnTo>
                  <a:lnTo>
                    <a:pt x="81670" y="38009"/>
                  </a:lnTo>
                  <a:lnTo>
                    <a:pt x="79785" y="37579"/>
                  </a:lnTo>
                  <a:lnTo>
                    <a:pt x="75213" y="34708"/>
                  </a:lnTo>
                  <a:lnTo>
                    <a:pt x="72387" y="36891"/>
                  </a:lnTo>
                  <a:lnTo>
                    <a:pt x="66634" y="36348"/>
                  </a:lnTo>
                  <a:lnTo>
                    <a:pt x="64928" y="37846"/>
                  </a:lnTo>
                  <a:lnTo>
                    <a:pt x="62972" y="40683"/>
                  </a:lnTo>
                  <a:lnTo>
                    <a:pt x="61387" y="42037"/>
                  </a:lnTo>
                  <a:lnTo>
                    <a:pt x="60009" y="41551"/>
                  </a:lnTo>
                  <a:lnTo>
                    <a:pt x="58379" y="40303"/>
                  </a:lnTo>
                  <a:lnTo>
                    <a:pt x="55526" y="37091"/>
                  </a:lnTo>
                  <a:lnTo>
                    <a:pt x="54086" y="36511"/>
                  </a:lnTo>
                  <a:lnTo>
                    <a:pt x="52429" y="36375"/>
                  </a:lnTo>
                  <a:lnTo>
                    <a:pt x="50983" y="36730"/>
                  </a:lnTo>
                  <a:lnTo>
                    <a:pt x="50214" y="37382"/>
                  </a:lnTo>
                  <a:lnTo>
                    <a:pt x="49626" y="42073"/>
                  </a:lnTo>
                  <a:lnTo>
                    <a:pt x="49106" y="46200"/>
                  </a:lnTo>
                  <a:lnTo>
                    <a:pt x="49076" y="48671"/>
                  </a:lnTo>
                  <a:lnTo>
                    <a:pt x="52248" y="50957"/>
                  </a:lnTo>
                  <a:lnTo>
                    <a:pt x="55984" y="54887"/>
                  </a:lnTo>
                  <a:lnTo>
                    <a:pt x="57187" y="55338"/>
                  </a:lnTo>
                  <a:lnTo>
                    <a:pt x="57781" y="56624"/>
                  </a:lnTo>
                  <a:lnTo>
                    <a:pt x="58655" y="59931"/>
                  </a:lnTo>
                  <a:lnTo>
                    <a:pt x="59637" y="63645"/>
                  </a:lnTo>
                  <a:lnTo>
                    <a:pt x="61536" y="66102"/>
                  </a:lnTo>
                  <a:lnTo>
                    <a:pt x="63248" y="67859"/>
                  </a:lnTo>
                  <a:lnTo>
                    <a:pt x="65338" y="69403"/>
                  </a:lnTo>
                  <a:lnTo>
                    <a:pt x="67957" y="71822"/>
                  </a:lnTo>
                  <a:lnTo>
                    <a:pt x="70106" y="74474"/>
                  </a:lnTo>
                  <a:lnTo>
                    <a:pt x="70676" y="75452"/>
                  </a:lnTo>
                  <a:lnTo>
                    <a:pt x="74842" y="78954"/>
                  </a:lnTo>
                  <a:lnTo>
                    <a:pt x="78882" y="82524"/>
                  </a:lnTo>
                  <a:lnTo>
                    <a:pt x="82497" y="83772"/>
                  </a:lnTo>
                  <a:lnTo>
                    <a:pt x="83067" y="84431"/>
                  </a:lnTo>
                  <a:lnTo>
                    <a:pt x="83099" y="87172"/>
                  </a:lnTo>
                  <a:lnTo>
                    <a:pt x="83492" y="88200"/>
                  </a:lnTo>
                  <a:lnTo>
                    <a:pt x="85906" y="91066"/>
                  </a:lnTo>
                  <a:lnTo>
                    <a:pt x="90828" y="95255"/>
                  </a:lnTo>
                  <a:lnTo>
                    <a:pt x="91396" y="96225"/>
                  </a:lnTo>
                  <a:lnTo>
                    <a:pt x="91558" y="96935"/>
                  </a:lnTo>
                  <a:lnTo>
                    <a:pt x="91240" y="97480"/>
                  </a:lnTo>
                  <a:lnTo>
                    <a:pt x="89951" y="98053"/>
                  </a:lnTo>
                  <a:lnTo>
                    <a:pt x="88893" y="97413"/>
                  </a:lnTo>
                  <a:lnTo>
                    <a:pt x="84306" y="93321"/>
                  </a:lnTo>
                  <a:lnTo>
                    <a:pt x="79873" y="90738"/>
                  </a:lnTo>
                  <a:lnTo>
                    <a:pt x="74870" y="85865"/>
                  </a:lnTo>
                  <a:lnTo>
                    <a:pt x="68173" y="83938"/>
                  </a:lnTo>
                  <a:lnTo>
                    <a:pt x="63611" y="81802"/>
                  </a:lnTo>
                  <a:lnTo>
                    <a:pt x="60847" y="82129"/>
                  </a:lnTo>
                  <a:lnTo>
                    <a:pt x="57798" y="82801"/>
                  </a:lnTo>
                  <a:lnTo>
                    <a:pt x="55917" y="82822"/>
                  </a:lnTo>
                  <a:lnTo>
                    <a:pt x="54580" y="82438"/>
                  </a:lnTo>
                  <a:lnTo>
                    <a:pt x="53630" y="81113"/>
                  </a:lnTo>
                  <a:lnTo>
                    <a:pt x="53775" y="80088"/>
                  </a:lnTo>
                  <a:lnTo>
                    <a:pt x="53606" y="78749"/>
                  </a:lnTo>
                  <a:lnTo>
                    <a:pt x="50933" y="76610"/>
                  </a:lnTo>
                  <a:lnTo>
                    <a:pt x="47286" y="74575"/>
                  </a:lnTo>
                  <a:lnTo>
                    <a:pt x="43831" y="71940"/>
                  </a:lnTo>
                  <a:lnTo>
                    <a:pt x="36897" y="64811"/>
                  </a:lnTo>
                  <a:lnTo>
                    <a:pt x="35506" y="62516"/>
                  </a:lnTo>
                  <a:lnTo>
                    <a:pt x="36871" y="62079"/>
                  </a:lnTo>
                  <a:lnTo>
                    <a:pt x="37903" y="62118"/>
                  </a:lnTo>
                  <a:lnTo>
                    <a:pt x="39074" y="61647"/>
                  </a:lnTo>
                  <a:lnTo>
                    <a:pt x="40963" y="61635"/>
                  </a:lnTo>
                  <a:lnTo>
                    <a:pt x="43202" y="62104"/>
                  </a:lnTo>
                  <a:lnTo>
                    <a:pt x="41220" y="60576"/>
                  </a:lnTo>
                  <a:lnTo>
                    <a:pt x="38754" y="59076"/>
                  </a:lnTo>
                  <a:lnTo>
                    <a:pt x="32375" y="53109"/>
                  </a:lnTo>
                  <a:lnTo>
                    <a:pt x="30471" y="50286"/>
                  </a:lnTo>
                  <a:lnTo>
                    <a:pt x="30250" y="47241"/>
                  </a:lnTo>
                  <a:lnTo>
                    <a:pt x="30721" y="43060"/>
                  </a:lnTo>
                  <a:lnTo>
                    <a:pt x="29572" y="40063"/>
                  </a:lnTo>
                  <a:lnTo>
                    <a:pt x="24651" y="36179"/>
                  </a:lnTo>
                  <a:lnTo>
                    <a:pt x="22848" y="34128"/>
                  </a:lnTo>
                  <a:lnTo>
                    <a:pt x="19214" y="32910"/>
                  </a:lnTo>
                  <a:lnTo>
                    <a:pt x="17590" y="33030"/>
                  </a:lnTo>
                  <a:lnTo>
                    <a:pt x="16614" y="34545"/>
                  </a:lnTo>
                  <a:lnTo>
                    <a:pt x="15901" y="37910"/>
                  </a:lnTo>
                  <a:lnTo>
                    <a:pt x="12679" y="42343"/>
                  </a:lnTo>
                  <a:lnTo>
                    <a:pt x="11604" y="44267"/>
                  </a:lnTo>
                  <a:lnTo>
                    <a:pt x="9920" y="46766"/>
                  </a:lnTo>
                  <a:lnTo>
                    <a:pt x="8460" y="46938"/>
                  </a:lnTo>
                  <a:lnTo>
                    <a:pt x="7596" y="46718"/>
                  </a:lnTo>
                  <a:lnTo>
                    <a:pt x="4981" y="42510"/>
                  </a:lnTo>
                  <a:lnTo>
                    <a:pt x="2478" y="39319"/>
                  </a:lnTo>
                  <a:lnTo>
                    <a:pt x="2129" y="37807"/>
                  </a:lnTo>
                  <a:lnTo>
                    <a:pt x="1904" y="35946"/>
                  </a:lnTo>
                  <a:lnTo>
                    <a:pt x="0" y="29077"/>
                  </a:lnTo>
                  <a:lnTo>
                    <a:pt x="1343" y="28113"/>
                  </a:lnTo>
                  <a:lnTo>
                    <a:pt x="2168" y="29216"/>
                  </a:lnTo>
                  <a:lnTo>
                    <a:pt x="7994" y="30544"/>
                  </a:lnTo>
                  <a:lnTo>
                    <a:pt x="9252" y="29955"/>
                  </a:lnTo>
                  <a:lnTo>
                    <a:pt x="10015" y="29055"/>
                  </a:lnTo>
                  <a:lnTo>
                    <a:pt x="10019" y="28485"/>
                  </a:lnTo>
                  <a:lnTo>
                    <a:pt x="10516" y="28318"/>
                  </a:lnTo>
                  <a:lnTo>
                    <a:pt x="12567" y="29186"/>
                  </a:lnTo>
                  <a:lnTo>
                    <a:pt x="14241" y="28985"/>
                  </a:lnTo>
                  <a:lnTo>
                    <a:pt x="16933" y="28945"/>
                  </a:lnTo>
                  <a:lnTo>
                    <a:pt x="18855" y="29087"/>
                  </a:lnTo>
                  <a:lnTo>
                    <a:pt x="20125" y="28419"/>
                  </a:lnTo>
                  <a:lnTo>
                    <a:pt x="21846" y="25960"/>
                  </a:lnTo>
                  <a:lnTo>
                    <a:pt x="22483" y="24583"/>
                  </a:lnTo>
                  <a:lnTo>
                    <a:pt x="23254" y="24254"/>
                  </a:lnTo>
                  <a:lnTo>
                    <a:pt x="23761" y="24418"/>
                  </a:lnTo>
                  <a:lnTo>
                    <a:pt x="24133" y="25550"/>
                  </a:lnTo>
                  <a:lnTo>
                    <a:pt x="25038" y="26613"/>
                  </a:lnTo>
                  <a:lnTo>
                    <a:pt x="26897" y="28344"/>
                  </a:lnTo>
                  <a:lnTo>
                    <a:pt x="28212" y="29175"/>
                  </a:lnTo>
                  <a:lnTo>
                    <a:pt x="29406" y="29474"/>
                  </a:lnTo>
                  <a:lnTo>
                    <a:pt x="30576" y="28778"/>
                  </a:lnTo>
                  <a:lnTo>
                    <a:pt x="31784" y="28580"/>
                  </a:lnTo>
                  <a:lnTo>
                    <a:pt x="35230" y="29929"/>
                  </a:lnTo>
                  <a:lnTo>
                    <a:pt x="38141" y="30186"/>
                  </a:lnTo>
                  <a:lnTo>
                    <a:pt x="40294" y="29482"/>
                  </a:lnTo>
                  <a:lnTo>
                    <a:pt x="40011" y="28514"/>
                  </a:lnTo>
                  <a:lnTo>
                    <a:pt x="39227" y="27435"/>
                  </a:lnTo>
                  <a:lnTo>
                    <a:pt x="39058" y="26387"/>
                  </a:lnTo>
                  <a:lnTo>
                    <a:pt x="39203" y="25481"/>
                  </a:lnTo>
                  <a:lnTo>
                    <a:pt x="40680" y="24577"/>
                  </a:lnTo>
                  <a:lnTo>
                    <a:pt x="40609" y="24180"/>
                  </a:lnTo>
                  <a:lnTo>
                    <a:pt x="38823" y="22589"/>
                  </a:lnTo>
                  <a:lnTo>
                    <a:pt x="38914" y="22179"/>
                  </a:lnTo>
                  <a:lnTo>
                    <a:pt x="42829" y="20389"/>
                  </a:lnTo>
                  <a:lnTo>
                    <a:pt x="46603" y="19384"/>
                  </a:lnTo>
                  <a:lnTo>
                    <a:pt x="47208" y="18609"/>
                  </a:lnTo>
                  <a:lnTo>
                    <a:pt x="47560" y="17443"/>
                  </a:lnTo>
                  <a:lnTo>
                    <a:pt x="47726" y="15256"/>
                  </a:lnTo>
                  <a:lnTo>
                    <a:pt x="47519" y="13466"/>
                  </a:lnTo>
                  <a:lnTo>
                    <a:pt x="45986" y="11787"/>
                  </a:lnTo>
                  <a:lnTo>
                    <a:pt x="45891" y="10937"/>
                  </a:lnTo>
                  <a:lnTo>
                    <a:pt x="46254" y="10054"/>
                  </a:lnTo>
                  <a:lnTo>
                    <a:pt x="46849" y="9256"/>
                  </a:lnTo>
                  <a:lnTo>
                    <a:pt x="48359" y="8910"/>
                  </a:lnTo>
                  <a:lnTo>
                    <a:pt x="50130" y="8336"/>
                  </a:lnTo>
                  <a:lnTo>
                    <a:pt x="51529" y="7675"/>
                  </a:lnTo>
                  <a:lnTo>
                    <a:pt x="53425" y="7127"/>
                  </a:lnTo>
                  <a:lnTo>
                    <a:pt x="54915" y="6359"/>
                  </a:lnTo>
                  <a:lnTo>
                    <a:pt x="56370" y="4531"/>
                  </a:lnTo>
                  <a:lnTo>
                    <a:pt x="57253" y="4229"/>
                  </a:lnTo>
                  <a:lnTo>
                    <a:pt x="59929" y="4489"/>
                  </a:lnTo>
                  <a:lnTo>
                    <a:pt x="60501" y="4038"/>
                  </a:lnTo>
                  <a:lnTo>
                    <a:pt x="60134" y="1410"/>
                  </a:lnTo>
                  <a:lnTo>
                    <a:pt x="60613" y="742"/>
                  </a:lnTo>
                  <a:lnTo>
                    <a:pt x="61559" y="368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32" name="ee4p_HU_1_37365">
              <a:extLst>
                <a:ext uri="{FF2B5EF4-FFF2-40B4-BE49-F238E27FC236}">
                  <a16:creationId xmlns:a16="http://schemas.microsoft.com/office/drawing/2014/main" id="{5A6D09E8-6DBD-1B7A-B266-E2C9F3958579}"/>
                </a:ext>
              </a:extLst>
            </p:cNvPr>
            <p:cNvSpPr>
              <a:spLocks noChangeAspect="1"/>
            </p:cNvSpPr>
            <p:nvPr>
              <p:custDataLst>
                <p:tags r:id="rId286"/>
              </p:custDataLst>
            </p:nvPr>
          </p:nvSpPr>
          <p:spPr>
            <a:xfrm>
              <a:off x="6961595" y="3170586"/>
              <a:ext cx="188376" cy="101009"/>
            </a:xfrm>
            <a:custGeom>
              <a:avLst/>
              <a:gdLst/>
              <a:ahLst/>
              <a:cxnLst/>
              <a:rect l="0" t="0" r="0" b="0"/>
              <a:pathLst>
                <a:path w="150000" h="78299">
                  <a:moveTo>
                    <a:pt x="133530" y="4202"/>
                  </a:moveTo>
                  <a:lnTo>
                    <a:pt x="135637" y="3973"/>
                  </a:lnTo>
                  <a:lnTo>
                    <a:pt x="135726" y="4008"/>
                  </a:lnTo>
                  <a:lnTo>
                    <a:pt x="136225" y="4144"/>
                  </a:lnTo>
                  <a:lnTo>
                    <a:pt x="136572" y="5461"/>
                  </a:lnTo>
                  <a:lnTo>
                    <a:pt x="136632" y="5543"/>
                  </a:lnTo>
                  <a:lnTo>
                    <a:pt x="137140" y="6413"/>
                  </a:lnTo>
                  <a:lnTo>
                    <a:pt x="137617" y="7564"/>
                  </a:lnTo>
                  <a:lnTo>
                    <a:pt x="138358" y="8429"/>
                  </a:lnTo>
                  <a:lnTo>
                    <a:pt x="139986" y="8790"/>
                  </a:lnTo>
                  <a:lnTo>
                    <a:pt x="142115" y="9863"/>
                  </a:lnTo>
                  <a:lnTo>
                    <a:pt x="143493" y="11880"/>
                  </a:lnTo>
                  <a:lnTo>
                    <a:pt x="145570" y="12717"/>
                  </a:lnTo>
                  <a:lnTo>
                    <a:pt x="145720" y="12739"/>
                  </a:lnTo>
                  <a:lnTo>
                    <a:pt x="146128" y="12643"/>
                  </a:lnTo>
                  <a:lnTo>
                    <a:pt x="147622" y="12569"/>
                  </a:lnTo>
                  <a:lnTo>
                    <a:pt x="147911" y="12976"/>
                  </a:lnTo>
                  <a:lnTo>
                    <a:pt x="149105" y="13962"/>
                  </a:lnTo>
                  <a:lnTo>
                    <a:pt x="149570" y="14830"/>
                  </a:lnTo>
                  <a:lnTo>
                    <a:pt x="149332" y="15747"/>
                  </a:lnTo>
                  <a:lnTo>
                    <a:pt x="149544" y="16784"/>
                  </a:lnTo>
                  <a:lnTo>
                    <a:pt x="149999" y="17152"/>
                  </a:lnTo>
                  <a:lnTo>
                    <a:pt x="149449" y="17848"/>
                  </a:lnTo>
                  <a:lnTo>
                    <a:pt x="145579" y="21328"/>
                  </a:lnTo>
                  <a:lnTo>
                    <a:pt x="144067" y="22249"/>
                  </a:lnTo>
                  <a:lnTo>
                    <a:pt x="143061" y="22439"/>
                  </a:lnTo>
                  <a:lnTo>
                    <a:pt x="141481" y="22073"/>
                  </a:lnTo>
                  <a:lnTo>
                    <a:pt x="139846" y="22352"/>
                  </a:lnTo>
                  <a:lnTo>
                    <a:pt x="138386" y="23096"/>
                  </a:lnTo>
                  <a:lnTo>
                    <a:pt x="137041" y="23332"/>
                  </a:lnTo>
                  <a:lnTo>
                    <a:pt x="136024" y="24216"/>
                  </a:lnTo>
                  <a:lnTo>
                    <a:pt x="134707" y="26109"/>
                  </a:lnTo>
                  <a:lnTo>
                    <a:pt x="133089" y="27711"/>
                  </a:lnTo>
                  <a:lnTo>
                    <a:pt x="131454" y="28705"/>
                  </a:lnTo>
                  <a:lnTo>
                    <a:pt x="130608" y="29592"/>
                  </a:lnTo>
                  <a:lnTo>
                    <a:pt x="130511" y="32658"/>
                  </a:lnTo>
                  <a:lnTo>
                    <a:pt x="129604" y="33539"/>
                  </a:lnTo>
                  <a:lnTo>
                    <a:pt x="128386" y="34427"/>
                  </a:lnTo>
                  <a:lnTo>
                    <a:pt x="127725" y="35211"/>
                  </a:lnTo>
                  <a:lnTo>
                    <a:pt x="125870" y="39867"/>
                  </a:lnTo>
                  <a:lnTo>
                    <a:pt x="124462" y="41357"/>
                  </a:lnTo>
                  <a:lnTo>
                    <a:pt x="123128" y="42500"/>
                  </a:lnTo>
                  <a:lnTo>
                    <a:pt x="122908" y="43543"/>
                  </a:lnTo>
                  <a:lnTo>
                    <a:pt x="122934" y="44736"/>
                  </a:lnTo>
                  <a:lnTo>
                    <a:pt x="121420" y="47118"/>
                  </a:lnTo>
                  <a:lnTo>
                    <a:pt x="119435" y="49587"/>
                  </a:lnTo>
                  <a:lnTo>
                    <a:pt x="119051" y="50600"/>
                  </a:lnTo>
                  <a:lnTo>
                    <a:pt x="119494" y="51965"/>
                  </a:lnTo>
                  <a:lnTo>
                    <a:pt x="117591" y="53535"/>
                  </a:lnTo>
                  <a:lnTo>
                    <a:pt x="116492" y="54288"/>
                  </a:lnTo>
                  <a:lnTo>
                    <a:pt x="115583" y="54648"/>
                  </a:lnTo>
                  <a:lnTo>
                    <a:pt x="115015" y="55630"/>
                  </a:lnTo>
                  <a:lnTo>
                    <a:pt x="114080" y="58021"/>
                  </a:lnTo>
                  <a:lnTo>
                    <a:pt x="114324" y="59093"/>
                  </a:lnTo>
                  <a:lnTo>
                    <a:pt x="114352" y="60076"/>
                  </a:lnTo>
                  <a:lnTo>
                    <a:pt x="112743" y="60652"/>
                  </a:lnTo>
                  <a:lnTo>
                    <a:pt x="112270" y="61729"/>
                  </a:lnTo>
                  <a:lnTo>
                    <a:pt x="111862" y="63069"/>
                  </a:lnTo>
                  <a:lnTo>
                    <a:pt x="111193" y="63676"/>
                  </a:lnTo>
                  <a:lnTo>
                    <a:pt x="109383" y="64789"/>
                  </a:lnTo>
                  <a:lnTo>
                    <a:pt x="104898" y="64305"/>
                  </a:lnTo>
                  <a:lnTo>
                    <a:pt x="103201" y="64678"/>
                  </a:lnTo>
                  <a:lnTo>
                    <a:pt x="102696" y="65474"/>
                  </a:lnTo>
                  <a:lnTo>
                    <a:pt x="102592" y="66112"/>
                  </a:lnTo>
                  <a:lnTo>
                    <a:pt x="102033" y="66710"/>
                  </a:lnTo>
                  <a:lnTo>
                    <a:pt x="101007" y="67461"/>
                  </a:lnTo>
                  <a:lnTo>
                    <a:pt x="99960" y="67797"/>
                  </a:lnTo>
                  <a:lnTo>
                    <a:pt x="97626" y="66872"/>
                  </a:lnTo>
                  <a:lnTo>
                    <a:pt x="92603" y="67811"/>
                  </a:lnTo>
                  <a:lnTo>
                    <a:pt x="91737" y="68486"/>
                  </a:lnTo>
                  <a:lnTo>
                    <a:pt x="91037" y="68004"/>
                  </a:lnTo>
                  <a:lnTo>
                    <a:pt x="89960" y="67565"/>
                  </a:lnTo>
                  <a:lnTo>
                    <a:pt x="84933" y="67023"/>
                  </a:lnTo>
                  <a:lnTo>
                    <a:pt x="82950" y="67454"/>
                  </a:lnTo>
                  <a:lnTo>
                    <a:pt x="80299" y="67288"/>
                  </a:lnTo>
                  <a:lnTo>
                    <a:pt x="77843" y="66810"/>
                  </a:lnTo>
                  <a:lnTo>
                    <a:pt x="76014" y="67198"/>
                  </a:lnTo>
                  <a:lnTo>
                    <a:pt x="74395" y="69073"/>
                  </a:lnTo>
                  <a:lnTo>
                    <a:pt x="73594" y="69706"/>
                  </a:lnTo>
                  <a:lnTo>
                    <a:pt x="72965" y="70111"/>
                  </a:lnTo>
                  <a:lnTo>
                    <a:pt x="71581" y="70699"/>
                  </a:lnTo>
                  <a:lnTo>
                    <a:pt x="70428" y="71407"/>
                  </a:lnTo>
                  <a:lnTo>
                    <a:pt x="68886" y="71916"/>
                  </a:lnTo>
                  <a:lnTo>
                    <a:pt x="67513" y="71845"/>
                  </a:lnTo>
                  <a:lnTo>
                    <a:pt x="66208" y="71040"/>
                  </a:lnTo>
                  <a:lnTo>
                    <a:pt x="65742" y="71223"/>
                  </a:lnTo>
                  <a:lnTo>
                    <a:pt x="65332" y="71965"/>
                  </a:lnTo>
                  <a:lnTo>
                    <a:pt x="64626" y="72599"/>
                  </a:lnTo>
                  <a:lnTo>
                    <a:pt x="62682" y="73380"/>
                  </a:lnTo>
                  <a:lnTo>
                    <a:pt x="62186" y="73371"/>
                  </a:lnTo>
                  <a:lnTo>
                    <a:pt x="62073" y="73371"/>
                  </a:lnTo>
                  <a:lnTo>
                    <a:pt x="60586" y="73947"/>
                  </a:lnTo>
                  <a:lnTo>
                    <a:pt x="58126" y="74264"/>
                  </a:lnTo>
                  <a:lnTo>
                    <a:pt x="56893" y="74040"/>
                  </a:lnTo>
                  <a:lnTo>
                    <a:pt x="54651" y="76637"/>
                  </a:lnTo>
                  <a:lnTo>
                    <a:pt x="53965" y="77110"/>
                  </a:lnTo>
                  <a:lnTo>
                    <a:pt x="51836" y="77904"/>
                  </a:lnTo>
                  <a:lnTo>
                    <a:pt x="50089" y="78298"/>
                  </a:lnTo>
                  <a:lnTo>
                    <a:pt x="48592" y="77983"/>
                  </a:lnTo>
                  <a:lnTo>
                    <a:pt x="48003" y="77955"/>
                  </a:lnTo>
                  <a:lnTo>
                    <a:pt x="41367" y="77823"/>
                  </a:lnTo>
                  <a:lnTo>
                    <a:pt x="37901" y="77267"/>
                  </a:lnTo>
                  <a:lnTo>
                    <a:pt x="35675" y="76253"/>
                  </a:lnTo>
                  <a:lnTo>
                    <a:pt x="34198" y="75119"/>
                  </a:lnTo>
                  <a:lnTo>
                    <a:pt x="33477" y="73867"/>
                  </a:lnTo>
                  <a:lnTo>
                    <a:pt x="31756" y="73107"/>
                  </a:lnTo>
                  <a:lnTo>
                    <a:pt x="29039" y="72837"/>
                  </a:lnTo>
                  <a:lnTo>
                    <a:pt x="26923" y="71593"/>
                  </a:lnTo>
                  <a:lnTo>
                    <a:pt x="25409" y="69370"/>
                  </a:lnTo>
                  <a:lnTo>
                    <a:pt x="23362" y="67608"/>
                  </a:lnTo>
                  <a:lnTo>
                    <a:pt x="20777" y="66309"/>
                  </a:lnTo>
                  <a:lnTo>
                    <a:pt x="18726" y="64472"/>
                  </a:lnTo>
                  <a:lnTo>
                    <a:pt x="17212" y="62100"/>
                  </a:lnTo>
                  <a:lnTo>
                    <a:pt x="14483" y="59962"/>
                  </a:lnTo>
                  <a:lnTo>
                    <a:pt x="10544" y="58059"/>
                  </a:lnTo>
                  <a:lnTo>
                    <a:pt x="9356" y="57645"/>
                  </a:lnTo>
                  <a:lnTo>
                    <a:pt x="9123" y="57030"/>
                  </a:lnTo>
                  <a:lnTo>
                    <a:pt x="7195" y="54664"/>
                  </a:lnTo>
                  <a:lnTo>
                    <a:pt x="6372" y="53790"/>
                  </a:lnTo>
                  <a:lnTo>
                    <a:pt x="6445" y="52618"/>
                  </a:lnTo>
                  <a:lnTo>
                    <a:pt x="6061" y="51951"/>
                  </a:lnTo>
                  <a:lnTo>
                    <a:pt x="5359" y="51483"/>
                  </a:lnTo>
                  <a:lnTo>
                    <a:pt x="4984" y="49788"/>
                  </a:lnTo>
                  <a:lnTo>
                    <a:pt x="4763" y="48522"/>
                  </a:lnTo>
                  <a:lnTo>
                    <a:pt x="4213" y="47706"/>
                  </a:lnTo>
                  <a:lnTo>
                    <a:pt x="0" y="47538"/>
                  </a:lnTo>
                  <a:lnTo>
                    <a:pt x="3526" y="44509"/>
                  </a:lnTo>
                  <a:lnTo>
                    <a:pt x="5279" y="43664"/>
                  </a:lnTo>
                  <a:lnTo>
                    <a:pt x="7316" y="43810"/>
                  </a:lnTo>
                  <a:lnTo>
                    <a:pt x="7968" y="43536"/>
                  </a:lnTo>
                  <a:lnTo>
                    <a:pt x="8141" y="43098"/>
                  </a:lnTo>
                  <a:lnTo>
                    <a:pt x="8488" y="42110"/>
                  </a:lnTo>
                  <a:lnTo>
                    <a:pt x="8661" y="41177"/>
                  </a:lnTo>
                  <a:lnTo>
                    <a:pt x="8836" y="40300"/>
                  </a:lnTo>
                  <a:lnTo>
                    <a:pt x="8618" y="39804"/>
                  </a:lnTo>
                  <a:lnTo>
                    <a:pt x="7635" y="39650"/>
                  </a:lnTo>
                  <a:lnTo>
                    <a:pt x="7160" y="37482"/>
                  </a:lnTo>
                  <a:lnTo>
                    <a:pt x="7666" y="36662"/>
                  </a:lnTo>
                  <a:lnTo>
                    <a:pt x="8171" y="36091"/>
                  </a:lnTo>
                  <a:lnTo>
                    <a:pt x="7547" y="33450"/>
                  </a:lnTo>
                  <a:lnTo>
                    <a:pt x="7735" y="32551"/>
                  </a:lnTo>
                  <a:lnTo>
                    <a:pt x="9324" y="32410"/>
                  </a:lnTo>
                  <a:lnTo>
                    <a:pt x="10643" y="31846"/>
                  </a:lnTo>
                  <a:lnTo>
                    <a:pt x="11719" y="31204"/>
                  </a:lnTo>
                  <a:lnTo>
                    <a:pt x="12019" y="30389"/>
                  </a:lnTo>
                  <a:lnTo>
                    <a:pt x="12902" y="28722"/>
                  </a:lnTo>
                  <a:lnTo>
                    <a:pt x="12088" y="26676"/>
                  </a:lnTo>
                  <a:lnTo>
                    <a:pt x="7497" y="25343"/>
                  </a:lnTo>
                  <a:lnTo>
                    <a:pt x="7257" y="24833"/>
                  </a:lnTo>
                  <a:lnTo>
                    <a:pt x="8326" y="24253"/>
                  </a:lnTo>
                  <a:lnTo>
                    <a:pt x="9464" y="23427"/>
                  </a:lnTo>
                  <a:lnTo>
                    <a:pt x="10125" y="22783"/>
                  </a:lnTo>
                  <a:lnTo>
                    <a:pt x="11008" y="22693"/>
                  </a:lnTo>
                  <a:lnTo>
                    <a:pt x="12259" y="23017"/>
                  </a:lnTo>
                  <a:lnTo>
                    <a:pt x="14472" y="24501"/>
                  </a:lnTo>
                  <a:lnTo>
                    <a:pt x="15320" y="24715"/>
                  </a:lnTo>
                  <a:lnTo>
                    <a:pt x="16141" y="24284"/>
                  </a:lnTo>
                  <a:lnTo>
                    <a:pt x="17018" y="24192"/>
                  </a:lnTo>
                  <a:lnTo>
                    <a:pt x="19466" y="24246"/>
                  </a:lnTo>
                  <a:lnTo>
                    <a:pt x="21527" y="23902"/>
                  </a:lnTo>
                  <a:lnTo>
                    <a:pt x="21062" y="22321"/>
                  </a:lnTo>
                  <a:lnTo>
                    <a:pt x="21069" y="21173"/>
                  </a:lnTo>
                  <a:lnTo>
                    <a:pt x="20719" y="20256"/>
                  </a:lnTo>
                  <a:lnTo>
                    <a:pt x="20937" y="19246"/>
                  </a:lnTo>
                  <a:lnTo>
                    <a:pt x="21773" y="18459"/>
                  </a:lnTo>
                  <a:lnTo>
                    <a:pt x="22023" y="16690"/>
                  </a:lnTo>
                  <a:lnTo>
                    <a:pt x="23312" y="15496"/>
                  </a:lnTo>
                  <a:lnTo>
                    <a:pt x="23915" y="15324"/>
                  </a:lnTo>
                  <a:lnTo>
                    <a:pt x="26185" y="15542"/>
                  </a:lnTo>
                  <a:lnTo>
                    <a:pt x="26722" y="15852"/>
                  </a:lnTo>
                  <a:lnTo>
                    <a:pt x="27070" y="15920"/>
                  </a:lnTo>
                  <a:lnTo>
                    <a:pt x="30682" y="18834"/>
                  </a:lnTo>
                  <a:lnTo>
                    <a:pt x="34101" y="21022"/>
                  </a:lnTo>
                  <a:lnTo>
                    <a:pt x="36901" y="22141"/>
                  </a:lnTo>
                  <a:lnTo>
                    <a:pt x="41015" y="22233"/>
                  </a:lnTo>
                  <a:lnTo>
                    <a:pt x="45386" y="22330"/>
                  </a:lnTo>
                  <a:lnTo>
                    <a:pt x="52697" y="21949"/>
                  </a:lnTo>
                  <a:lnTo>
                    <a:pt x="58180" y="21663"/>
                  </a:lnTo>
                  <a:lnTo>
                    <a:pt x="58543" y="21118"/>
                  </a:lnTo>
                  <a:lnTo>
                    <a:pt x="59370" y="19812"/>
                  </a:lnTo>
                  <a:lnTo>
                    <a:pt x="58713" y="18691"/>
                  </a:lnTo>
                  <a:lnTo>
                    <a:pt x="58752" y="17372"/>
                  </a:lnTo>
                  <a:lnTo>
                    <a:pt x="59676" y="15656"/>
                  </a:lnTo>
                  <a:lnTo>
                    <a:pt x="62380" y="14230"/>
                  </a:lnTo>
                  <a:lnTo>
                    <a:pt x="70141" y="13602"/>
                  </a:lnTo>
                  <a:lnTo>
                    <a:pt x="74604" y="12539"/>
                  </a:lnTo>
                  <a:lnTo>
                    <a:pt x="75278" y="11086"/>
                  </a:lnTo>
                  <a:lnTo>
                    <a:pt x="76755" y="9652"/>
                  </a:lnTo>
                  <a:lnTo>
                    <a:pt x="78107" y="9362"/>
                  </a:lnTo>
                  <a:lnTo>
                    <a:pt x="79960" y="10020"/>
                  </a:lnTo>
                  <a:lnTo>
                    <a:pt x="82190" y="11286"/>
                  </a:lnTo>
                  <a:lnTo>
                    <a:pt x="84149" y="11955"/>
                  </a:lnTo>
                  <a:lnTo>
                    <a:pt x="85293" y="11524"/>
                  </a:lnTo>
                  <a:lnTo>
                    <a:pt x="89234" y="9392"/>
                  </a:lnTo>
                  <a:lnTo>
                    <a:pt x="93771" y="7311"/>
                  </a:lnTo>
                  <a:lnTo>
                    <a:pt x="96893" y="1656"/>
                  </a:lnTo>
                  <a:lnTo>
                    <a:pt x="97226" y="754"/>
                  </a:lnTo>
                  <a:lnTo>
                    <a:pt x="100612" y="106"/>
                  </a:lnTo>
                  <a:lnTo>
                    <a:pt x="105553" y="222"/>
                  </a:lnTo>
                  <a:lnTo>
                    <a:pt x="108085" y="959"/>
                  </a:lnTo>
                  <a:lnTo>
                    <a:pt x="109990" y="1349"/>
                  </a:lnTo>
                  <a:lnTo>
                    <a:pt x="112845" y="1216"/>
                  </a:lnTo>
                  <a:lnTo>
                    <a:pt x="116958" y="0"/>
                  </a:lnTo>
                  <a:lnTo>
                    <a:pt x="118483" y="34"/>
                  </a:lnTo>
                  <a:lnTo>
                    <a:pt x="119662" y="897"/>
                  </a:lnTo>
                  <a:lnTo>
                    <a:pt x="120956" y="1639"/>
                  </a:lnTo>
                  <a:lnTo>
                    <a:pt x="121828" y="2548"/>
                  </a:lnTo>
                  <a:lnTo>
                    <a:pt x="122489" y="3828"/>
                  </a:lnTo>
                  <a:lnTo>
                    <a:pt x="122845" y="4311"/>
                  </a:lnTo>
                  <a:lnTo>
                    <a:pt x="123419" y="4966"/>
                  </a:lnTo>
                  <a:lnTo>
                    <a:pt x="124456" y="5867"/>
                  </a:lnTo>
                  <a:lnTo>
                    <a:pt x="125462" y="6107"/>
                  </a:lnTo>
                  <a:lnTo>
                    <a:pt x="133076" y="4541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33" name="ee4p_IE_1_37365">
              <a:extLst>
                <a:ext uri="{FF2B5EF4-FFF2-40B4-BE49-F238E27FC236}">
                  <a16:creationId xmlns:a16="http://schemas.microsoft.com/office/drawing/2014/main" id="{222A545D-83E3-3C27-03BE-0C34A25485F0}"/>
                </a:ext>
              </a:extLst>
            </p:cNvPr>
            <p:cNvSpPr>
              <a:spLocks noChangeAspect="1"/>
            </p:cNvSpPr>
            <p:nvPr>
              <p:custDataLst>
                <p:tags r:id="rId287"/>
              </p:custDataLst>
            </p:nvPr>
          </p:nvSpPr>
          <p:spPr>
            <a:xfrm>
              <a:off x="6226172" y="2910600"/>
              <a:ext cx="121152" cy="151208"/>
            </a:xfrm>
            <a:custGeom>
              <a:avLst/>
              <a:gdLst>
                <a:gd name="connsiteX0" fmla="*/ 4626 w 96471"/>
                <a:gd name="connsiteY0" fmla="*/ 41297 h 117212"/>
                <a:gd name="connsiteX1" fmla="*/ 5539 w 96471"/>
                <a:gd name="connsiteY1" fmla="*/ 41650 h 117212"/>
                <a:gd name="connsiteX2" fmla="*/ 8709 w 96471"/>
                <a:gd name="connsiteY2" fmla="*/ 41699 h 117212"/>
                <a:gd name="connsiteX3" fmla="*/ 9599 w 96471"/>
                <a:gd name="connsiteY3" fmla="*/ 42196 h 117212"/>
                <a:gd name="connsiteX4" fmla="*/ 9774 w 96471"/>
                <a:gd name="connsiteY4" fmla="*/ 44442 h 117212"/>
                <a:gd name="connsiteX5" fmla="*/ 9681 w 96471"/>
                <a:gd name="connsiteY5" fmla="*/ 45307 h 117212"/>
                <a:gd name="connsiteX6" fmla="*/ 8043 w 96471"/>
                <a:gd name="connsiteY6" fmla="*/ 44217 h 117212"/>
                <a:gd name="connsiteX7" fmla="*/ 7247 w 96471"/>
                <a:gd name="connsiteY7" fmla="*/ 43030 h 117212"/>
                <a:gd name="connsiteX8" fmla="*/ 2753 w 96471"/>
                <a:gd name="connsiteY8" fmla="*/ 42485 h 117212"/>
                <a:gd name="connsiteX9" fmla="*/ 68137 w 96471"/>
                <a:gd name="connsiteY9" fmla="*/ 0 h 117212"/>
                <a:gd name="connsiteX10" fmla="*/ 69511 w 96471"/>
                <a:gd name="connsiteY10" fmla="*/ 395 h 117212"/>
                <a:gd name="connsiteX11" fmla="*/ 71531 w 96471"/>
                <a:gd name="connsiteY11" fmla="*/ 1873 h 117212"/>
                <a:gd name="connsiteX12" fmla="*/ 73633 w 96471"/>
                <a:gd name="connsiteY12" fmla="*/ 3031 h 117212"/>
                <a:gd name="connsiteX13" fmla="*/ 75813 w 96471"/>
                <a:gd name="connsiteY13" fmla="*/ 3949 h 117212"/>
                <a:gd name="connsiteX14" fmla="*/ 73718 w 96471"/>
                <a:gd name="connsiteY14" fmla="*/ 5785 h 117212"/>
                <a:gd name="connsiteX15" fmla="*/ 71143 w 96471"/>
                <a:gd name="connsiteY15" fmla="*/ 7058 h 117212"/>
                <a:gd name="connsiteX16" fmla="*/ 70130 w 96471"/>
                <a:gd name="connsiteY16" fmla="*/ 8444 h 117212"/>
                <a:gd name="connsiteX17" fmla="*/ 66631 w 96471"/>
                <a:gd name="connsiteY17" fmla="*/ 10422 h 117212"/>
                <a:gd name="connsiteX18" fmla="*/ 66089 w 96471"/>
                <a:gd name="connsiteY18" fmla="*/ 11171 h 117212"/>
                <a:gd name="connsiteX19" fmla="*/ 65103 w 96471"/>
                <a:gd name="connsiteY19" fmla="*/ 14188 h 117212"/>
                <a:gd name="connsiteX20" fmla="*/ 64987 w 96471"/>
                <a:gd name="connsiteY20" fmla="*/ 15048 h 117212"/>
                <a:gd name="connsiteX21" fmla="*/ 63861 w 96471"/>
                <a:gd name="connsiteY21" fmla="*/ 16633 h 117212"/>
                <a:gd name="connsiteX22" fmla="*/ 62795 w 96471"/>
                <a:gd name="connsiteY22" fmla="*/ 18395 h 117212"/>
                <a:gd name="connsiteX23" fmla="*/ 61555 w 96471"/>
                <a:gd name="connsiteY23" fmla="*/ 19077 h 117212"/>
                <a:gd name="connsiteX24" fmla="*/ 59708 w 96471"/>
                <a:gd name="connsiteY24" fmla="*/ 19618 h 117212"/>
                <a:gd name="connsiteX25" fmla="*/ 58658 w 96471"/>
                <a:gd name="connsiteY25" fmla="*/ 20156 h 117212"/>
                <a:gd name="connsiteX26" fmla="*/ 57336 w 96471"/>
                <a:gd name="connsiteY26" fmla="*/ 19886 h 117212"/>
                <a:gd name="connsiteX27" fmla="*/ 55662 w 96471"/>
                <a:gd name="connsiteY27" fmla="*/ 19929 h 117212"/>
                <a:gd name="connsiteX28" fmla="*/ 54830 w 96471"/>
                <a:gd name="connsiteY28" fmla="*/ 20527 h 117212"/>
                <a:gd name="connsiteX29" fmla="*/ 54871 w 96471"/>
                <a:gd name="connsiteY29" fmla="*/ 20986 h 117212"/>
                <a:gd name="connsiteX30" fmla="*/ 55371 w 96471"/>
                <a:gd name="connsiteY30" fmla="*/ 21515 h 117212"/>
                <a:gd name="connsiteX31" fmla="*/ 56837 w 96471"/>
                <a:gd name="connsiteY31" fmla="*/ 22322 h 117212"/>
                <a:gd name="connsiteX32" fmla="*/ 58463 w 96471"/>
                <a:gd name="connsiteY32" fmla="*/ 23052 h 117212"/>
                <a:gd name="connsiteX33" fmla="*/ 58284 w 96471"/>
                <a:gd name="connsiteY33" fmla="*/ 23691 h 117212"/>
                <a:gd name="connsiteX34" fmla="*/ 57413 w 96471"/>
                <a:gd name="connsiteY34" fmla="*/ 24415 h 117212"/>
                <a:gd name="connsiteX35" fmla="*/ 51873 w 96471"/>
                <a:gd name="connsiteY35" fmla="*/ 26211 h 117212"/>
                <a:gd name="connsiteX36" fmla="*/ 50223 w 96471"/>
                <a:gd name="connsiteY36" fmla="*/ 27295 h 117212"/>
                <a:gd name="connsiteX37" fmla="*/ 49651 w 96471"/>
                <a:gd name="connsiteY37" fmla="*/ 28010 h 117212"/>
                <a:gd name="connsiteX38" fmla="*/ 50238 w 96471"/>
                <a:gd name="connsiteY38" fmla="*/ 29208 h 117212"/>
                <a:gd name="connsiteX39" fmla="*/ 54656 w 96471"/>
                <a:gd name="connsiteY39" fmla="*/ 32794 h 117212"/>
                <a:gd name="connsiteX40" fmla="*/ 55408 w 96471"/>
                <a:gd name="connsiteY40" fmla="*/ 33184 h 117212"/>
                <a:gd name="connsiteX41" fmla="*/ 56061 w 96471"/>
                <a:gd name="connsiteY41" fmla="*/ 35268 h 117212"/>
                <a:gd name="connsiteX42" fmla="*/ 59956 w 96471"/>
                <a:gd name="connsiteY42" fmla="*/ 36139 h 117212"/>
                <a:gd name="connsiteX43" fmla="*/ 61553 w 96471"/>
                <a:gd name="connsiteY43" fmla="*/ 37440 h 117212"/>
                <a:gd name="connsiteX44" fmla="*/ 62927 w 96471"/>
                <a:gd name="connsiteY44" fmla="*/ 37752 h 117212"/>
                <a:gd name="connsiteX45" fmla="*/ 65912 w 96471"/>
                <a:gd name="connsiteY45" fmla="*/ 37639 h 117212"/>
                <a:gd name="connsiteX46" fmla="*/ 67112 w 96471"/>
                <a:gd name="connsiteY46" fmla="*/ 38128 h 117212"/>
                <a:gd name="connsiteX47" fmla="*/ 67790 w 96471"/>
                <a:gd name="connsiteY47" fmla="*/ 37757 h 117212"/>
                <a:gd name="connsiteX48" fmla="*/ 68183 w 96471"/>
                <a:gd name="connsiteY48" fmla="*/ 37071 h 117212"/>
                <a:gd name="connsiteX49" fmla="*/ 70696 w 96471"/>
                <a:gd name="connsiteY49" fmla="*/ 35304 h 117212"/>
                <a:gd name="connsiteX50" fmla="*/ 71527 w 96471"/>
                <a:gd name="connsiteY50" fmla="*/ 34532 h 117212"/>
                <a:gd name="connsiteX51" fmla="*/ 71028 w 96471"/>
                <a:gd name="connsiteY51" fmla="*/ 33454 h 117212"/>
                <a:gd name="connsiteX52" fmla="*/ 70485 w 96471"/>
                <a:gd name="connsiteY52" fmla="*/ 32635 h 117212"/>
                <a:gd name="connsiteX53" fmla="*/ 72013 w 96471"/>
                <a:gd name="connsiteY53" fmla="*/ 31003 h 117212"/>
                <a:gd name="connsiteX54" fmla="*/ 73866 w 96471"/>
                <a:gd name="connsiteY54" fmla="*/ 29391 h 117212"/>
                <a:gd name="connsiteX55" fmla="*/ 74795 w 96471"/>
                <a:gd name="connsiteY55" fmla="*/ 29439 h 117212"/>
                <a:gd name="connsiteX56" fmla="*/ 76377 w 96471"/>
                <a:gd name="connsiteY56" fmla="*/ 30426 h 117212"/>
                <a:gd name="connsiteX57" fmla="*/ 77680 w 96471"/>
                <a:gd name="connsiteY57" fmla="*/ 31804 h 117212"/>
                <a:gd name="connsiteX58" fmla="*/ 77857 w 96471"/>
                <a:gd name="connsiteY58" fmla="*/ 32871 h 117212"/>
                <a:gd name="connsiteX59" fmla="*/ 78097 w 96471"/>
                <a:gd name="connsiteY59" fmla="*/ 33645 h 117212"/>
                <a:gd name="connsiteX60" fmla="*/ 79330 w 96471"/>
                <a:gd name="connsiteY60" fmla="*/ 35297 h 117212"/>
                <a:gd name="connsiteX61" fmla="*/ 80126 w 96471"/>
                <a:gd name="connsiteY61" fmla="*/ 35867 h 117212"/>
                <a:gd name="connsiteX62" fmla="*/ 82273 w 96471"/>
                <a:gd name="connsiteY62" fmla="*/ 36198 h 117212"/>
                <a:gd name="connsiteX63" fmla="*/ 82773 w 96471"/>
                <a:gd name="connsiteY63" fmla="*/ 36846 h 117212"/>
                <a:gd name="connsiteX64" fmla="*/ 82390 w 96471"/>
                <a:gd name="connsiteY64" fmla="*/ 39235 h 117212"/>
                <a:gd name="connsiteX65" fmla="*/ 82709 w 96471"/>
                <a:gd name="connsiteY65" fmla="*/ 40029 h 117212"/>
                <a:gd name="connsiteX66" fmla="*/ 84957 w 96471"/>
                <a:gd name="connsiteY66" fmla="*/ 40070 h 117212"/>
                <a:gd name="connsiteX67" fmla="*/ 87342 w 96471"/>
                <a:gd name="connsiteY67" fmla="*/ 39877 h 117212"/>
                <a:gd name="connsiteX68" fmla="*/ 88175 w 96471"/>
                <a:gd name="connsiteY68" fmla="*/ 39968 h 117212"/>
                <a:gd name="connsiteX69" fmla="*/ 89036 w 96471"/>
                <a:gd name="connsiteY69" fmla="*/ 39468 h 117212"/>
                <a:gd name="connsiteX70" fmla="*/ 90363 w 96471"/>
                <a:gd name="connsiteY70" fmla="*/ 38929 h 117212"/>
                <a:gd name="connsiteX71" fmla="*/ 92257 w 96471"/>
                <a:gd name="connsiteY71" fmla="*/ 39115 h 117212"/>
                <a:gd name="connsiteX72" fmla="*/ 93191 w 96471"/>
                <a:gd name="connsiteY72" fmla="*/ 40184 h 117212"/>
                <a:gd name="connsiteX73" fmla="*/ 93607 w 96471"/>
                <a:gd name="connsiteY73" fmla="*/ 41285 h 117212"/>
                <a:gd name="connsiteX74" fmla="*/ 91977 w 96471"/>
                <a:gd name="connsiteY74" fmla="*/ 41699 h 117212"/>
                <a:gd name="connsiteX75" fmla="*/ 90275 w 96471"/>
                <a:gd name="connsiteY75" fmla="*/ 41473 h 117212"/>
                <a:gd name="connsiteX76" fmla="*/ 89445 w 96471"/>
                <a:gd name="connsiteY76" fmla="*/ 42196 h 117212"/>
                <a:gd name="connsiteX77" fmla="*/ 89391 w 96471"/>
                <a:gd name="connsiteY77" fmla="*/ 43588 h 117212"/>
                <a:gd name="connsiteX78" fmla="*/ 89966 w 96471"/>
                <a:gd name="connsiteY78" fmla="*/ 45379 h 117212"/>
                <a:gd name="connsiteX79" fmla="*/ 91104 w 96471"/>
                <a:gd name="connsiteY79" fmla="*/ 46649 h 117212"/>
                <a:gd name="connsiteX80" fmla="*/ 92014 w 96471"/>
                <a:gd name="connsiteY80" fmla="*/ 49509 h 117212"/>
                <a:gd name="connsiteX81" fmla="*/ 92768 w 96471"/>
                <a:gd name="connsiteY81" fmla="*/ 52676 h 117212"/>
                <a:gd name="connsiteX82" fmla="*/ 93941 w 96471"/>
                <a:gd name="connsiteY82" fmla="*/ 54588 h 117212"/>
                <a:gd name="connsiteX83" fmla="*/ 94182 w 96471"/>
                <a:gd name="connsiteY83" fmla="*/ 56958 h 117212"/>
                <a:gd name="connsiteX84" fmla="*/ 94009 w 96471"/>
                <a:gd name="connsiteY84" fmla="*/ 58122 h 117212"/>
                <a:gd name="connsiteX85" fmla="*/ 94223 w 96471"/>
                <a:gd name="connsiteY85" fmla="*/ 60212 h 117212"/>
                <a:gd name="connsiteX86" fmla="*/ 93724 w 96471"/>
                <a:gd name="connsiteY86" fmla="*/ 60948 h 117212"/>
                <a:gd name="connsiteX87" fmla="*/ 94098 w 96471"/>
                <a:gd name="connsiteY87" fmla="*/ 62908 h 117212"/>
                <a:gd name="connsiteX88" fmla="*/ 95479 w 96471"/>
                <a:gd name="connsiteY88" fmla="*/ 66960 h 117212"/>
                <a:gd name="connsiteX89" fmla="*/ 96082 w 96471"/>
                <a:gd name="connsiteY89" fmla="*/ 69214 h 117212"/>
                <a:gd name="connsiteX90" fmla="*/ 96471 w 96471"/>
                <a:gd name="connsiteY90" fmla="*/ 74127 h 117212"/>
                <a:gd name="connsiteX91" fmla="*/ 95497 w 96471"/>
                <a:gd name="connsiteY91" fmla="*/ 75966 h 117212"/>
                <a:gd name="connsiteX92" fmla="*/ 94188 w 96471"/>
                <a:gd name="connsiteY92" fmla="*/ 77709 h 117212"/>
                <a:gd name="connsiteX93" fmla="*/ 93333 w 96471"/>
                <a:gd name="connsiteY93" fmla="*/ 79774 h 117212"/>
                <a:gd name="connsiteX94" fmla="*/ 92672 w 96471"/>
                <a:gd name="connsiteY94" fmla="*/ 82001 h 117212"/>
                <a:gd name="connsiteX95" fmla="*/ 92274 w 96471"/>
                <a:gd name="connsiteY95" fmla="*/ 85587 h 117212"/>
                <a:gd name="connsiteX96" fmla="*/ 89440 w 96471"/>
                <a:gd name="connsiteY96" fmla="*/ 89784 h 117212"/>
                <a:gd name="connsiteX97" fmla="*/ 88234 w 96471"/>
                <a:gd name="connsiteY97" fmla="*/ 90826 h 117212"/>
                <a:gd name="connsiteX98" fmla="*/ 86835 w 96471"/>
                <a:gd name="connsiteY98" fmla="*/ 91467 h 117212"/>
                <a:gd name="connsiteX99" fmla="*/ 89891 w 96471"/>
                <a:gd name="connsiteY99" fmla="*/ 94395 h 117212"/>
                <a:gd name="connsiteX100" fmla="*/ 87394 w 96471"/>
                <a:gd name="connsiteY100" fmla="*/ 95700 h 117212"/>
                <a:gd name="connsiteX101" fmla="*/ 84671 w 96471"/>
                <a:gd name="connsiteY101" fmla="*/ 96111 h 117212"/>
                <a:gd name="connsiteX102" fmla="*/ 81658 w 96471"/>
                <a:gd name="connsiteY102" fmla="*/ 95379 h 117212"/>
                <a:gd name="connsiteX103" fmla="*/ 79781 w 96471"/>
                <a:gd name="connsiteY103" fmla="*/ 95468 h 117212"/>
                <a:gd name="connsiteX104" fmla="*/ 78067 w 96471"/>
                <a:gd name="connsiteY104" fmla="*/ 96415 h 117212"/>
                <a:gd name="connsiteX105" fmla="*/ 77392 w 96471"/>
                <a:gd name="connsiteY105" fmla="*/ 96988 h 117212"/>
                <a:gd name="connsiteX106" fmla="*/ 76853 w 96471"/>
                <a:gd name="connsiteY106" fmla="*/ 96711 h 117212"/>
                <a:gd name="connsiteX107" fmla="*/ 75722 w 96471"/>
                <a:gd name="connsiteY107" fmla="*/ 94311 h 117212"/>
                <a:gd name="connsiteX108" fmla="*/ 74893 w 96471"/>
                <a:gd name="connsiteY108" fmla="*/ 96790 h 117212"/>
                <a:gd name="connsiteX109" fmla="*/ 73157 w 96471"/>
                <a:gd name="connsiteY109" fmla="*/ 97578 h 117212"/>
                <a:gd name="connsiteX110" fmla="*/ 70184 w 96471"/>
                <a:gd name="connsiteY110" fmla="*/ 97410 h 117212"/>
                <a:gd name="connsiteX111" fmla="*/ 65217 w 96471"/>
                <a:gd name="connsiteY111" fmla="*/ 98070 h 117212"/>
                <a:gd name="connsiteX112" fmla="*/ 63306 w 96471"/>
                <a:gd name="connsiteY112" fmla="*/ 98775 h 117212"/>
                <a:gd name="connsiteX113" fmla="*/ 62512 w 96471"/>
                <a:gd name="connsiteY113" fmla="*/ 99878 h 117212"/>
                <a:gd name="connsiteX114" fmla="*/ 61922 w 96471"/>
                <a:gd name="connsiteY114" fmla="*/ 101152 h 117212"/>
                <a:gd name="connsiteX115" fmla="*/ 61147 w 96471"/>
                <a:gd name="connsiteY115" fmla="*/ 101904 h 117212"/>
                <a:gd name="connsiteX116" fmla="*/ 60271 w 96471"/>
                <a:gd name="connsiteY116" fmla="*/ 102300 h 117212"/>
                <a:gd name="connsiteX117" fmla="*/ 56436 w 96471"/>
                <a:gd name="connsiteY117" fmla="*/ 103238 h 117212"/>
                <a:gd name="connsiteX118" fmla="*/ 55680 w 96471"/>
                <a:gd name="connsiteY118" fmla="*/ 103613 h 117212"/>
                <a:gd name="connsiteX119" fmla="*/ 53904 w 96471"/>
                <a:gd name="connsiteY119" fmla="*/ 105667 h 117212"/>
                <a:gd name="connsiteX120" fmla="*/ 51575 w 96471"/>
                <a:gd name="connsiteY120" fmla="*/ 106853 h 117212"/>
                <a:gd name="connsiteX121" fmla="*/ 49646 w 96471"/>
                <a:gd name="connsiteY121" fmla="*/ 107208 h 117212"/>
                <a:gd name="connsiteX122" fmla="*/ 47934 w 96471"/>
                <a:gd name="connsiteY122" fmla="*/ 106014 h 117212"/>
                <a:gd name="connsiteX123" fmla="*/ 47230 w 96471"/>
                <a:gd name="connsiteY123" fmla="*/ 105296 h 117212"/>
                <a:gd name="connsiteX124" fmla="*/ 46435 w 96471"/>
                <a:gd name="connsiteY124" fmla="*/ 104931 h 117212"/>
                <a:gd name="connsiteX125" fmla="*/ 43805 w 96471"/>
                <a:gd name="connsiteY125" fmla="*/ 104987 h 117212"/>
                <a:gd name="connsiteX126" fmla="*/ 44636 w 96471"/>
                <a:gd name="connsiteY126" fmla="*/ 105357 h 117212"/>
                <a:gd name="connsiteX127" fmla="*/ 45172 w 96471"/>
                <a:gd name="connsiteY127" fmla="*/ 106200 h 117212"/>
                <a:gd name="connsiteX128" fmla="*/ 45432 w 96471"/>
                <a:gd name="connsiteY128" fmla="*/ 107815 h 117212"/>
                <a:gd name="connsiteX129" fmla="*/ 45133 w 96471"/>
                <a:gd name="connsiteY129" fmla="*/ 109397 h 117212"/>
                <a:gd name="connsiteX130" fmla="*/ 43836 w 96471"/>
                <a:gd name="connsiteY130" fmla="*/ 110200 h 117212"/>
                <a:gd name="connsiteX131" fmla="*/ 42287 w 96471"/>
                <a:gd name="connsiteY131" fmla="*/ 110348 h 117212"/>
                <a:gd name="connsiteX132" fmla="*/ 39845 w 96471"/>
                <a:gd name="connsiteY132" fmla="*/ 111987 h 117212"/>
                <a:gd name="connsiteX133" fmla="*/ 36612 w 96471"/>
                <a:gd name="connsiteY133" fmla="*/ 112435 h 117212"/>
                <a:gd name="connsiteX134" fmla="*/ 34866 w 96471"/>
                <a:gd name="connsiteY134" fmla="*/ 113943 h 117212"/>
                <a:gd name="connsiteX135" fmla="*/ 24185 w 96471"/>
                <a:gd name="connsiteY135" fmla="*/ 116492 h 117212"/>
                <a:gd name="connsiteX136" fmla="*/ 23579 w 96471"/>
                <a:gd name="connsiteY136" fmla="*/ 116522 h 117212"/>
                <a:gd name="connsiteX137" fmla="*/ 22105 w 96471"/>
                <a:gd name="connsiteY137" fmla="*/ 115873 h 117212"/>
                <a:gd name="connsiteX138" fmla="*/ 20506 w 96471"/>
                <a:gd name="connsiteY138" fmla="*/ 115586 h 117212"/>
                <a:gd name="connsiteX139" fmla="*/ 18914 w 96471"/>
                <a:gd name="connsiteY139" fmla="*/ 115789 h 117212"/>
                <a:gd name="connsiteX140" fmla="*/ 14438 w 96471"/>
                <a:gd name="connsiteY140" fmla="*/ 117212 h 117212"/>
                <a:gd name="connsiteX141" fmla="*/ 12270 w 96471"/>
                <a:gd name="connsiteY141" fmla="*/ 116929 h 117212"/>
                <a:gd name="connsiteX142" fmla="*/ 15033 w 96471"/>
                <a:gd name="connsiteY142" fmla="*/ 113390 h 117212"/>
                <a:gd name="connsiteX143" fmla="*/ 18748 w 96471"/>
                <a:gd name="connsiteY143" fmla="*/ 111602 h 117212"/>
                <a:gd name="connsiteX144" fmla="*/ 19134 w 96471"/>
                <a:gd name="connsiteY144" fmla="*/ 111112 h 117212"/>
                <a:gd name="connsiteX145" fmla="*/ 17920 w 96471"/>
                <a:gd name="connsiteY145" fmla="*/ 110872 h 117212"/>
                <a:gd name="connsiteX146" fmla="*/ 10862 w 96471"/>
                <a:gd name="connsiteY146" fmla="*/ 112114 h 117212"/>
                <a:gd name="connsiteX147" fmla="*/ 8410 w 96471"/>
                <a:gd name="connsiteY147" fmla="*/ 113172 h 117212"/>
                <a:gd name="connsiteX148" fmla="*/ 5959 w 96471"/>
                <a:gd name="connsiteY148" fmla="*/ 113479 h 117212"/>
                <a:gd name="connsiteX149" fmla="*/ 7094 w 96471"/>
                <a:gd name="connsiteY149" fmla="*/ 111864 h 117212"/>
                <a:gd name="connsiteX150" fmla="*/ 10256 w 96471"/>
                <a:gd name="connsiteY150" fmla="*/ 109650 h 117212"/>
                <a:gd name="connsiteX151" fmla="*/ 11952 w 96471"/>
                <a:gd name="connsiteY151" fmla="*/ 108607 h 117212"/>
                <a:gd name="connsiteX152" fmla="*/ 12987 w 96471"/>
                <a:gd name="connsiteY152" fmla="*/ 108193 h 117212"/>
                <a:gd name="connsiteX153" fmla="*/ 14168 w 96471"/>
                <a:gd name="connsiteY153" fmla="*/ 106891 h 117212"/>
                <a:gd name="connsiteX154" fmla="*/ 17500 w 96471"/>
                <a:gd name="connsiteY154" fmla="*/ 105411 h 117212"/>
                <a:gd name="connsiteX155" fmla="*/ 6767 w 96471"/>
                <a:gd name="connsiteY155" fmla="*/ 108463 h 117212"/>
                <a:gd name="connsiteX156" fmla="*/ 3947 w 96471"/>
                <a:gd name="connsiteY156" fmla="*/ 108091 h 117212"/>
                <a:gd name="connsiteX157" fmla="*/ 3283 w 96471"/>
                <a:gd name="connsiteY157" fmla="*/ 107240 h 117212"/>
                <a:gd name="connsiteX158" fmla="*/ 1087 w 96471"/>
                <a:gd name="connsiteY158" fmla="*/ 107639 h 117212"/>
                <a:gd name="connsiteX159" fmla="*/ 255 w 96471"/>
                <a:gd name="connsiteY159" fmla="*/ 105579 h 117212"/>
                <a:gd name="connsiteX160" fmla="*/ 3508 w 96471"/>
                <a:gd name="connsiteY160" fmla="*/ 102454 h 117212"/>
                <a:gd name="connsiteX161" fmla="*/ 5404 w 96471"/>
                <a:gd name="connsiteY161" fmla="*/ 101109 h 117212"/>
                <a:gd name="connsiteX162" fmla="*/ 7655 w 96471"/>
                <a:gd name="connsiteY162" fmla="*/ 100382 h 117212"/>
                <a:gd name="connsiteX163" fmla="*/ 9822 w 96471"/>
                <a:gd name="connsiteY163" fmla="*/ 99339 h 117212"/>
                <a:gd name="connsiteX164" fmla="*/ 10626 w 96471"/>
                <a:gd name="connsiteY164" fmla="*/ 98063 h 117212"/>
                <a:gd name="connsiteX165" fmla="*/ 9606 w 96471"/>
                <a:gd name="connsiteY165" fmla="*/ 97656 h 117212"/>
                <a:gd name="connsiteX166" fmla="*/ 3112 w 96471"/>
                <a:gd name="connsiteY166" fmla="*/ 97980 h 117212"/>
                <a:gd name="connsiteX167" fmla="*/ 0 w 96471"/>
                <a:gd name="connsiteY167" fmla="*/ 97708 h 117212"/>
                <a:gd name="connsiteX168" fmla="*/ 168 w 96471"/>
                <a:gd name="connsiteY168" fmla="*/ 96696 h 117212"/>
                <a:gd name="connsiteX169" fmla="*/ 742 w 96471"/>
                <a:gd name="connsiteY169" fmla="*/ 95574 h 117212"/>
                <a:gd name="connsiteX170" fmla="*/ 3965 w 96471"/>
                <a:gd name="connsiteY170" fmla="*/ 93654 h 117212"/>
                <a:gd name="connsiteX171" fmla="*/ 5708 w 96471"/>
                <a:gd name="connsiteY171" fmla="*/ 93345 h 117212"/>
                <a:gd name="connsiteX172" fmla="*/ 7263 w 96471"/>
                <a:gd name="connsiteY172" fmla="*/ 93528 h 117212"/>
                <a:gd name="connsiteX173" fmla="*/ 8781 w 96471"/>
                <a:gd name="connsiteY173" fmla="*/ 94020 h 117212"/>
                <a:gd name="connsiteX174" fmla="*/ 10015 w 96471"/>
                <a:gd name="connsiteY174" fmla="*/ 94663 h 117212"/>
                <a:gd name="connsiteX175" fmla="*/ 13668 w 96471"/>
                <a:gd name="connsiteY175" fmla="*/ 94294 h 117212"/>
                <a:gd name="connsiteX176" fmla="*/ 12143 w 96471"/>
                <a:gd name="connsiteY176" fmla="*/ 93067 h 117212"/>
                <a:gd name="connsiteX177" fmla="*/ 11874 w 96471"/>
                <a:gd name="connsiteY177" fmla="*/ 90572 h 117212"/>
                <a:gd name="connsiteX178" fmla="*/ 10706 w 96471"/>
                <a:gd name="connsiteY178" fmla="*/ 89733 h 117212"/>
                <a:gd name="connsiteX179" fmla="*/ 12201 w 96471"/>
                <a:gd name="connsiteY179" fmla="*/ 88575 h 117212"/>
                <a:gd name="connsiteX180" fmla="*/ 13911 w 96471"/>
                <a:gd name="connsiteY180" fmla="*/ 87871 h 117212"/>
                <a:gd name="connsiteX181" fmla="*/ 16761 w 96471"/>
                <a:gd name="connsiteY181" fmla="*/ 85473 h 117212"/>
                <a:gd name="connsiteX182" fmla="*/ 17776 w 96471"/>
                <a:gd name="connsiteY182" fmla="*/ 85108 h 117212"/>
                <a:gd name="connsiteX183" fmla="*/ 23416 w 96471"/>
                <a:gd name="connsiteY183" fmla="*/ 84525 h 117212"/>
                <a:gd name="connsiteX184" fmla="*/ 29499 w 96471"/>
                <a:gd name="connsiteY184" fmla="*/ 83263 h 117212"/>
                <a:gd name="connsiteX185" fmla="*/ 35529 w 96471"/>
                <a:gd name="connsiteY185" fmla="*/ 81519 h 117212"/>
                <a:gd name="connsiteX186" fmla="*/ 32437 w 96471"/>
                <a:gd name="connsiteY186" fmla="*/ 80544 h 117212"/>
                <a:gd name="connsiteX187" fmla="*/ 30956 w 96471"/>
                <a:gd name="connsiteY187" fmla="*/ 79257 h 117212"/>
                <a:gd name="connsiteX188" fmla="*/ 28576 w 96471"/>
                <a:gd name="connsiteY188" fmla="*/ 81858 h 117212"/>
                <a:gd name="connsiteX189" fmla="*/ 26863 w 96471"/>
                <a:gd name="connsiteY189" fmla="*/ 82852 h 117212"/>
                <a:gd name="connsiteX190" fmla="*/ 22024 w 96471"/>
                <a:gd name="connsiteY190" fmla="*/ 83383 h 117212"/>
                <a:gd name="connsiteX191" fmla="*/ 20492 w 96471"/>
                <a:gd name="connsiteY191" fmla="*/ 83091 h 117212"/>
                <a:gd name="connsiteX192" fmla="*/ 18335 w 96471"/>
                <a:gd name="connsiteY192" fmla="*/ 82284 h 117212"/>
                <a:gd name="connsiteX193" fmla="*/ 17665 w 96471"/>
                <a:gd name="connsiteY193" fmla="*/ 82592 h 117212"/>
                <a:gd name="connsiteX194" fmla="*/ 17042 w 96471"/>
                <a:gd name="connsiteY194" fmla="*/ 83215 h 117212"/>
                <a:gd name="connsiteX195" fmla="*/ 13839 w 96471"/>
                <a:gd name="connsiteY195" fmla="*/ 84489 h 117212"/>
                <a:gd name="connsiteX196" fmla="*/ 10473 w 96471"/>
                <a:gd name="connsiteY196" fmla="*/ 84794 h 117212"/>
                <a:gd name="connsiteX197" fmla="*/ 14387 w 96471"/>
                <a:gd name="connsiteY197" fmla="*/ 82456 h 117212"/>
                <a:gd name="connsiteX198" fmla="*/ 19353 w 96471"/>
                <a:gd name="connsiteY198" fmla="*/ 78489 h 117212"/>
                <a:gd name="connsiteX199" fmla="*/ 20461 w 96471"/>
                <a:gd name="connsiteY199" fmla="*/ 77234 h 117212"/>
                <a:gd name="connsiteX200" fmla="*/ 22037 w 96471"/>
                <a:gd name="connsiteY200" fmla="*/ 75050 h 117212"/>
                <a:gd name="connsiteX201" fmla="*/ 21549 w 96471"/>
                <a:gd name="connsiteY201" fmla="*/ 74078 h 117212"/>
                <a:gd name="connsiteX202" fmla="*/ 20526 w 96471"/>
                <a:gd name="connsiteY202" fmla="*/ 73524 h 117212"/>
                <a:gd name="connsiteX203" fmla="*/ 24125 w 96471"/>
                <a:gd name="connsiteY203" fmla="*/ 69022 h 117212"/>
                <a:gd name="connsiteX204" fmla="*/ 25392 w 96471"/>
                <a:gd name="connsiteY204" fmla="*/ 68204 h 117212"/>
                <a:gd name="connsiteX205" fmla="*/ 27699 w 96471"/>
                <a:gd name="connsiteY205" fmla="*/ 68072 h 117212"/>
                <a:gd name="connsiteX206" fmla="*/ 29389 w 96471"/>
                <a:gd name="connsiteY206" fmla="*/ 67357 h 117212"/>
                <a:gd name="connsiteX207" fmla="*/ 30134 w 96471"/>
                <a:gd name="connsiteY207" fmla="*/ 67354 h 117212"/>
                <a:gd name="connsiteX208" fmla="*/ 30804 w 96471"/>
                <a:gd name="connsiteY208" fmla="*/ 67088 h 117212"/>
                <a:gd name="connsiteX209" fmla="*/ 32286 w 96471"/>
                <a:gd name="connsiteY209" fmla="*/ 65736 h 117212"/>
                <a:gd name="connsiteX210" fmla="*/ 29999 w 96471"/>
                <a:gd name="connsiteY210" fmla="*/ 64876 h 117212"/>
                <a:gd name="connsiteX211" fmla="*/ 27638 w 96471"/>
                <a:gd name="connsiteY211" fmla="*/ 64433 h 117212"/>
                <a:gd name="connsiteX212" fmla="*/ 20332 w 96471"/>
                <a:gd name="connsiteY212" fmla="*/ 64902 h 117212"/>
                <a:gd name="connsiteX213" fmla="*/ 19371 w 96471"/>
                <a:gd name="connsiteY213" fmla="*/ 64801 h 117212"/>
                <a:gd name="connsiteX214" fmla="*/ 18465 w 96471"/>
                <a:gd name="connsiteY214" fmla="*/ 64386 h 117212"/>
                <a:gd name="connsiteX215" fmla="*/ 17877 w 96471"/>
                <a:gd name="connsiteY215" fmla="*/ 63787 h 117212"/>
                <a:gd name="connsiteX216" fmla="*/ 17435 w 96471"/>
                <a:gd name="connsiteY216" fmla="*/ 62252 h 117212"/>
                <a:gd name="connsiteX217" fmla="*/ 16899 w 96471"/>
                <a:gd name="connsiteY217" fmla="*/ 61909 h 117212"/>
                <a:gd name="connsiteX218" fmla="*/ 15250 w 96471"/>
                <a:gd name="connsiteY218" fmla="*/ 61909 h 117212"/>
                <a:gd name="connsiteX219" fmla="*/ 13625 w 96471"/>
                <a:gd name="connsiteY219" fmla="*/ 62378 h 117212"/>
                <a:gd name="connsiteX220" fmla="*/ 12490 w 96471"/>
                <a:gd name="connsiteY220" fmla="*/ 62333 h 117212"/>
                <a:gd name="connsiteX221" fmla="*/ 11376 w 96471"/>
                <a:gd name="connsiteY221" fmla="*/ 61660 h 117212"/>
                <a:gd name="connsiteX222" fmla="*/ 13153 w 96471"/>
                <a:gd name="connsiteY222" fmla="*/ 60088 h 117212"/>
                <a:gd name="connsiteX223" fmla="*/ 10862 w 96471"/>
                <a:gd name="connsiteY223" fmla="*/ 59718 h 117212"/>
                <a:gd name="connsiteX224" fmla="*/ 8542 w 96471"/>
                <a:gd name="connsiteY224" fmla="*/ 60027 h 117212"/>
                <a:gd name="connsiteX225" fmla="*/ 6611 w 96471"/>
                <a:gd name="connsiteY225" fmla="*/ 59551 h 117212"/>
                <a:gd name="connsiteX226" fmla="*/ 6551 w 96471"/>
                <a:gd name="connsiteY226" fmla="*/ 58564 h 117212"/>
                <a:gd name="connsiteX227" fmla="*/ 7426 w 96471"/>
                <a:gd name="connsiteY227" fmla="*/ 57579 h 117212"/>
                <a:gd name="connsiteX228" fmla="*/ 6279 w 96471"/>
                <a:gd name="connsiteY228" fmla="*/ 56644 h 117212"/>
                <a:gd name="connsiteX229" fmla="*/ 6042 w 96471"/>
                <a:gd name="connsiteY229" fmla="*/ 55462 h 117212"/>
                <a:gd name="connsiteX230" fmla="*/ 7264 w 96471"/>
                <a:gd name="connsiteY230" fmla="*/ 54881 h 117212"/>
                <a:gd name="connsiteX231" fmla="*/ 8599 w 96471"/>
                <a:gd name="connsiteY231" fmla="*/ 55074 h 117212"/>
                <a:gd name="connsiteX232" fmla="*/ 11320 w 96471"/>
                <a:gd name="connsiteY232" fmla="*/ 54199 h 117212"/>
                <a:gd name="connsiteX233" fmla="*/ 14806 w 96471"/>
                <a:gd name="connsiteY233" fmla="*/ 53774 h 117212"/>
                <a:gd name="connsiteX234" fmla="*/ 11816 w 96471"/>
                <a:gd name="connsiteY234" fmla="*/ 52911 h 117212"/>
                <a:gd name="connsiteX235" fmla="*/ 10625 w 96471"/>
                <a:gd name="connsiteY235" fmla="*/ 52171 h 117212"/>
                <a:gd name="connsiteX236" fmla="*/ 10568 w 96471"/>
                <a:gd name="connsiteY236" fmla="*/ 51038 h 117212"/>
                <a:gd name="connsiteX237" fmla="*/ 10805 w 96471"/>
                <a:gd name="connsiteY237" fmla="*/ 50068 h 117212"/>
                <a:gd name="connsiteX238" fmla="*/ 14266 w 96471"/>
                <a:gd name="connsiteY238" fmla="*/ 48427 h 117212"/>
                <a:gd name="connsiteX239" fmla="*/ 17955 w 96471"/>
                <a:gd name="connsiteY239" fmla="*/ 47703 h 117212"/>
                <a:gd name="connsiteX240" fmla="*/ 17683 w 96471"/>
                <a:gd name="connsiteY240" fmla="*/ 46621 h 117212"/>
                <a:gd name="connsiteX241" fmla="*/ 17941 w 96471"/>
                <a:gd name="connsiteY241" fmla="*/ 45450 h 117212"/>
                <a:gd name="connsiteX242" fmla="*/ 14212 w 96471"/>
                <a:gd name="connsiteY242" fmla="*/ 45112 h 117212"/>
                <a:gd name="connsiteX243" fmla="*/ 10529 w 96471"/>
                <a:gd name="connsiteY243" fmla="*/ 45938 h 117212"/>
                <a:gd name="connsiteX244" fmla="*/ 10923 w 96471"/>
                <a:gd name="connsiteY244" fmla="*/ 43700 h 117212"/>
                <a:gd name="connsiteX245" fmla="*/ 11805 w 96471"/>
                <a:gd name="connsiteY245" fmla="*/ 41678 h 117212"/>
                <a:gd name="connsiteX246" fmla="*/ 11979 w 96471"/>
                <a:gd name="connsiteY246" fmla="*/ 40343 h 117212"/>
                <a:gd name="connsiteX247" fmla="*/ 11803 w 96471"/>
                <a:gd name="connsiteY247" fmla="*/ 38914 h 117212"/>
                <a:gd name="connsiteX248" fmla="*/ 10078 w 96471"/>
                <a:gd name="connsiteY248" fmla="*/ 39525 h 117212"/>
                <a:gd name="connsiteX249" fmla="*/ 9876 w 96471"/>
                <a:gd name="connsiteY249" fmla="*/ 37509 h 117212"/>
                <a:gd name="connsiteX250" fmla="*/ 9135 w 96471"/>
                <a:gd name="connsiteY250" fmla="*/ 36125 h 117212"/>
                <a:gd name="connsiteX251" fmla="*/ 6580 w 96471"/>
                <a:gd name="connsiteY251" fmla="*/ 37078 h 117212"/>
                <a:gd name="connsiteX252" fmla="*/ 6646 w 96471"/>
                <a:gd name="connsiteY252" fmla="*/ 35252 h 117212"/>
                <a:gd name="connsiteX253" fmla="*/ 7382 w 96471"/>
                <a:gd name="connsiteY253" fmla="*/ 33975 h 117212"/>
                <a:gd name="connsiteX254" fmla="*/ 8718 w 96471"/>
                <a:gd name="connsiteY254" fmla="*/ 33420 h 117212"/>
                <a:gd name="connsiteX255" fmla="*/ 10045 w 96471"/>
                <a:gd name="connsiteY255" fmla="*/ 33661 h 117212"/>
                <a:gd name="connsiteX256" fmla="*/ 12508 w 96471"/>
                <a:gd name="connsiteY256" fmla="*/ 33637 h 117212"/>
                <a:gd name="connsiteX257" fmla="*/ 14883 w 96471"/>
                <a:gd name="connsiteY257" fmla="*/ 32677 h 117212"/>
                <a:gd name="connsiteX258" fmla="*/ 18307 w 96471"/>
                <a:gd name="connsiteY258" fmla="*/ 32430 h 117212"/>
                <a:gd name="connsiteX259" fmla="*/ 23764 w 96471"/>
                <a:gd name="connsiteY259" fmla="*/ 32732 h 117212"/>
                <a:gd name="connsiteX260" fmla="*/ 27515 w 96471"/>
                <a:gd name="connsiteY260" fmla="*/ 35441 h 117212"/>
                <a:gd name="connsiteX261" fmla="*/ 28483 w 96471"/>
                <a:gd name="connsiteY261" fmla="*/ 34957 h 117212"/>
                <a:gd name="connsiteX262" fmla="*/ 29983 w 96471"/>
                <a:gd name="connsiteY262" fmla="*/ 33245 h 117212"/>
                <a:gd name="connsiteX263" fmla="*/ 30687 w 96471"/>
                <a:gd name="connsiteY263" fmla="*/ 33056 h 117212"/>
                <a:gd name="connsiteX264" fmla="*/ 36340 w 96471"/>
                <a:gd name="connsiteY264" fmla="*/ 33802 h 117212"/>
                <a:gd name="connsiteX265" fmla="*/ 39851 w 96471"/>
                <a:gd name="connsiteY265" fmla="*/ 34787 h 117212"/>
                <a:gd name="connsiteX266" fmla="*/ 40790 w 96471"/>
                <a:gd name="connsiteY266" fmla="*/ 34480 h 117212"/>
                <a:gd name="connsiteX267" fmla="*/ 40283 w 96471"/>
                <a:gd name="connsiteY267" fmla="*/ 32580 h 117212"/>
                <a:gd name="connsiteX268" fmla="*/ 39074 w 96471"/>
                <a:gd name="connsiteY268" fmla="*/ 31262 h 117212"/>
                <a:gd name="connsiteX269" fmla="*/ 40593 w 96471"/>
                <a:gd name="connsiteY269" fmla="*/ 29534 h 117212"/>
                <a:gd name="connsiteX270" fmla="*/ 42438 w 96471"/>
                <a:gd name="connsiteY270" fmla="*/ 28363 h 117212"/>
                <a:gd name="connsiteX271" fmla="*/ 43671 w 96471"/>
                <a:gd name="connsiteY271" fmla="*/ 27779 h 117212"/>
                <a:gd name="connsiteX272" fmla="*/ 46518 w 96471"/>
                <a:gd name="connsiteY272" fmla="*/ 27053 h 117212"/>
                <a:gd name="connsiteX273" fmla="*/ 47759 w 96471"/>
                <a:gd name="connsiteY273" fmla="*/ 26369 h 117212"/>
                <a:gd name="connsiteX274" fmla="*/ 48586 w 96471"/>
                <a:gd name="connsiteY274" fmla="*/ 24143 h 117212"/>
                <a:gd name="connsiteX275" fmla="*/ 49902 w 96471"/>
                <a:gd name="connsiteY275" fmla="*/ 22287 h 117212"/>
                <a:gd name="connsiteX276" fmla="*/ 42758 w 96471"/>
                <a:gd name="connsiteY276" fmla="*/ 23252 h 117212"/>
                <a:gd name="connsiteX277" fmla="*/ 35961 w 96471"/>
                <a:gd name="connsiteY277" fmla="*/ 21052 h 117212"/>
                <a:gd name="connsiteX278" fmla="*/ 37039 w 96471"/>
                <a:gd name="connsiteY278" fmla="*/ 19495 h 117212"/>
                <a:gd name="connsiteX279" fmla="*/ 38474 w 96471"/>
                <a:gd name="connsiteY279" fmla="*/ 18612 h 117212"/>
                <a:gd name="connsiteX280" fmla="*/ 40950 w 96471"/>
                <a:gd name="connsiteY280" fmla="*/ 17935 h 117212"/>
                <a:gd name="connsiteX281" fmla="*/ 41185 w 96471"/>
                <a:gd name="connsiteY281" fmla="*/ 17122 h 117212"/>
                <a:gd name="connsiteX282" fmla="*/ 42438 w 96471"/>
                <a:gd name="connsiteY282" fmla="*/ 16446 h 117212"/>
                <a:gd name="connsiteX283" fmla="*/ 44510 w 96471"/>
                <a:gd name="connsiteY283" fmla="*/ 14669 h 117212"/>
                <a:gd name="connsiteX284" fmla="*/ 43749 w 96471"/>
                <a:gd name="connsiteY284" fmla="*/ 12346 h 117212"/>
                <a:gd name="connsiteX285" fmla="*/ 44157 w 96471"/>
                <a:gd name="connsiteY285" fmla="*/ 10646 h 117212"/>
                <a:gd name="connsiteX286" fmla="*/ 45649 w 96471"/>
                <a:gd name="connsiteY286" fmla="*/ 9537 h 117212"/>
                <a:gd name="connsiteX287" fmla="*/ 46116 w 96471"/>
                <a:gd name="connsiteY287" fmla="*/ 7945 h 117212"/>
                <a:gd name="connsiteX288" fmla="*/ 46781 w 96471"/>
                <a:gd name="connsiteY288" fmla="*/ 6772 h 117212"/>
                <a:gd name="connsiteX289" fmla="*/ 49808 w 96471"/>
                <a:gd name="connsiteY289" fmla="*/ 6352 h 117212"/>
                <a:gd name="connsiteX290" fmla="*/ 52718 w 96471"/>
                <a:gd name="connsiteY290" fmla="*/ 5261 h 117212"/>
                <a:gd name="connsiteX291" fmla="*/ 53769 w 96471"/>
                <a:gd name="connsiteY291" fmla="*/ 5367 h 117212"/>
                <a:gd name="connsiteX292" fmla="*/ 57205 w 96471"/>
                <a:gd name="connsiteY292" fmla="*/ 5115 h 117212"/>
                <a:gd name="connsiteX293" fmla="*/ 58369 w 96471"/>
                <a:gd name="connsiteY293" fmla="*/ 5555 h 117212"/>
                <a:gd name="connsiteX294" fmla="*/ 58104 w 96471"/>
                <a:gd name="connsiteY294" fmla="*/ 3626 h 117212"/>
                <a:gd name="connsiteX295" fmla="*/ 60214 w 96471"/>
                <a:gd name="connsiteY295" fmla="*/ 3375 h 117212"/>
                <a:gd name="connsiteX296" fmla="*/ 61039 w 96471"/>
                <a:gd name="connsiteY296" fmla="*/ 3760 h 117212"/>
                <a:gd name="connsiteX297" fmla="*/ 61402 w 96471"/>
                <a:gd name="connsiteY297" fmla="*/ 5127 h 117212"/>
                <a:gd name="connsiteX298" fmla="*/ 62361 w 96471"/>
                <a:gd name="connsiteY298" fmla="*/ 5999 h 117212"/>
                <a:gd name="connsiteX299" fmla="*/ 62657 w 96471"/>
                <a:gd name="connsiteY299" fmla="*/ 7513 h 117212"/>
                <a:gd name="connsiteX300" fmla="*/ 62014 w 96471"/>
                <a:gd name="connsiteY300" fmla="*/ 8682 h 117212"/>
                <a:gd name="connsiteX301" fmla="*/ 60940 w 96471"/>
                <a:gd name="connsiteY301" fmla="*/ 9582 h 117212"/>
                <a:gd name="connsiteX302" fmla="*/ 61922 w 96471"/>
                <a:gd name="connsiteY302" fmla="*/ 10503 h 117212"/>
                <a:gd name="connsiteX303" fmla="*/ 60399 w 96471"/>
                <a:gd name="connsiteY303" fmla="*/ 12166 h 117212"/>
                <a:gd name="connsiteX304" fmla="*/ 62043 w 96471"/>
                <a:gd name="connsiteY304" fmla="*/ 11458 h 117212"/>
                <a:gd name="connsiteX305" fmla="*/ 64386 w 96471"/>
                <a:gd name="connsiteY305" fmla="*/ 9829 h 117212"/>
                <a:gd name="connsiteX306" fmla="*/ 64265 w 96471"/>
                <a:gd name="connsiteY306" fmla="*/ 8496 h 117212"/>
                <a:gd name="connsiteX307" fmla="*/ 63866 w 96471"/>
                <a:gd name="connsiteY307" fmla="*/ 6820 h 117212"/>
                <a:gd name="connsiteX308" fmla="*/ 63214 w 96471"/>
                <a:gd name="connsiteY308" fmla="*/ 5307 h 117212"/>
                <a:gd name="connsiteX309" fmla="*/ 63514 w 96471"/>
                <a:gd name="connsiteY309" fmla="*/ 3639 h 117212"/>
                <a:gd name="connsiteX310" fmla="*/ 64831 w 96471"/>
                <a:gd name="connsiteY310" fmla="*/ 2595 h 117212"/>
                <a:gd name="connsiteX311" fmla="*/ 68293 w 96471"/>
                <a:gd name="connsiteY311" fmla="*/ 2070 h 117212"/>
                <a:gd name="connsiteX312" fmla="*/ 66873 w 96471"/>
                <a:gd name="connsiteY312" fmla="*/ 174 h 117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</a:cxnLst>
              <a:rect l="l" t="t" r="r" b="b"/>
              <a:pathLst>
                <a:path w="96471" h="117212">
                  <a:moveTo>
                    <a:pt x="4626" y="41297"/>
                  </a:moveTo>
                  <a:lnTo>
                    <a:pt x="5539" y="41650"/>
                  </a:lnTo>
                  <a:lnTo>
                    <a:pt x="8709" y="41699"/>
                  </a:lnTo>
                  <a:lnTo>
                    <a:pt x="9599" y="42196"/>
                  </a:lnTo>
                  <a:lnTo>
                    <a:pt x="9774" y="44442"/>
                  </a:lnTo>
                  <a:lnTo>
                    <a:pt x="9681" y="45307"/>
                  </a:lnTo>
                  <a:lnTo>
                    <a:pt x="8043" y="44217"/>
                  </a:lnTo>
                  <a:lnTo>
                    <a:pt x="7247" y="43030"/>
                  </a:lnTo>
                  <a:lnTo>
                    <a:pt x="2753" y="42485"/>
                  </a:lnTo>
                  <a:close/>
                  <a:moveTo>
                    <a:pt x="68137" y="0"/>
                  </a:moveTo>
                  <a:lnTo>
                    <a:pt x="69511" y="395"/>
                  </a:lnTo>
                  <a:lnTo>
                    <a:pt x="71531" y="1873"/>
                  </a:lnTo>
                  <a:lnTo>
                    <a:pt x="73633" y="3031"/>
                  </a:lnTo>
                  <a:lnTo>
                    <a:pt x="75813" y="3949"/>
                  </a:lnTo>
                  <a:lnTo>
                    <a:pt x="73718" y="5785"/>
                  </a:lnTo>
                  <a:lnTo>
                    <a:pt x="71143" y="7058"/>
                  </a:lnTo>
                  <a:lnTo>
                    <a:pt x="70130" y="8444"/>
                  </a:lnTo>
                  <a:lnTo>
                    <a:pt x="66631" y="10422"/>
                  </a:lnTo>
                  <a:lnTo>
                    <a:pt x="66089" y="11171"/>
                  </a:lnTo>
                  <a:lnTo>
                    <a:pt x="65103" y="14188"/>
                  </a:lnTo>
                  <a:lnTo>
                    <a:pt x="64987" y="15048"/>
                  </a:lnTo>
                  <a:lnTo>
                    <a:pt x="63861" y="16633"/>
                  </a:lnTo>
                  <a:lnTo>
                    <a:pt x="62795" y="18395"/>
                  </a:lnTo>
                  <a:lnTo>
                    <a:pt x="61555" y="19077"/>
                  </a:lnTo>
                  <a:lnTo>
                    <a:pt x="59708" y="19618"/>
                  </a:lnTo>
                  <a:lnTo>
                    <a:pt x="58658" y="20156"/>
                  </a:lnTo>
                  <a:lnTo>
                    <a:pt x="57336" y="19886"/>
                  </a:lnTo>
                  <a:lnTo>
                    <a:pt x="55662" y="19929"/>
                  </a:lnTo>
                  <a:lnTo>
                    <a:pt x="54830" y="20527"/>
                  </a:lnTo>
                  <a:lnTo>
                    <a:pt x="54871" y="20986"/>
                  </a:lnTo>
                  <a:lnTo>
                    <a:pt x="55371" y="21515"/>
                  </a:lnTo>
                  <a:lnTo>
                    <a:pt x="56837" y="22322"/>
                  </a:lnTo>
                  <a:lnTo>
                    <a:pt x="58463" y="23052"/>
                  </a:lnTo>
                  <a:lnTo>
                    <a:pt x="58284" y="23691"/>
                  </a:lnTo>
                  <a:lnTo>
                    <a:pt x="57413" y="24415"/>
                  </a:lnTo>
                  <a:lnTo>
                    <a:pt x="51873" y="26211"/>
                  </a:lnTo>
                  <a:lnTo>
                    <a:pt x="50223" y="27295"/>
                  </a:lnTo>
                  <a:lnTo>
                    <a:pt x="49651" y="28010"/>
                  </a:lnTo>
                  <a:lnTo>
                    <a:pt x="50238" y="29208"/>
                  </a:lnTo>
                  <a:lnTo>
                    <a:pt x="54656" y="32794"/>
                  </a:lnTo>
                  <a:lnTo>
                    <a:pt x="55408" y="33184"/>
                  </a:lnTo>
                  <a:lnTo>
                    <a:pt x="56061" y="35268"/>
                  </a:lnTo>
                  <a:lnTo>
                    <a:pt x="59956" y="36139"/>
                  </a:lnTo>
                  <a:lnTo>
                    <a:pt x="61553" y="37440"/>
                  </a:lnTo>
                  <a:lnTo>
                    <a:pt x="62927" y="37752"/>
                  </a:lnTo>
                  <a:lnTo>
                    <a:pt x="65912" y="37639"/>
                  </a:lnTo>
                  <a:lnTo>
                    <a:pt x="67112" y="38128"/>
                  </a:lnTo>
                  <a:lnTo>
                    <a:pt x="67790" y="37757"/>
                  </a:lnTo>
                  <a:lnTo>
                    <a:pt x="68183" y="37071"/>
                  </a:lnTo>
                  <a:lnTo>
                    <a:pt x="70696" y="35304"/>
                  </a:lnTo>
                  <a:lnTo>
                    <a:pt x="71527" y="34532"/>
                  </a:lnTo>
                  <a:lnTo>
                    <a:pt x="71028" y="33454"/>
                  </a:lnTo>
                  <a:lnTo>
                    <a:pt x="70485" y="32635"/>
                  </a:lnTo>
                  <a:lnTo>
                    <a:pt x="72013" y="31003"/>
                  </a:lnTo>
                  <a:lnTo>
                    <a:pt x="73866" y="29391"/>
                  </a:lnTo>
                  <a:lnTo>
                    <a:pt x="74795" y="29439"/>
                  </a:lnTo>
                  <a:lnTo>
                    <a:pt x="76377" y="30426"/>
                  </a:lnTo>
                  <a:lnTo>
                    <a:pt x="77680" y="31804"/>
                  </a:lnTo>
                  <a:lnTo>
                    <a:pt x="77857" y="32871"/>
                  </a:lnTo>
                  <a:lnTo>
                    <a:pt x="78097" y="33645"/>
                  </a:lnTo>
                  <a:lnTo>
                    <a:pt x="79330" y="35297"/>
                  </a:lnTo>
                  <a:lnTo>
                    <a:pt x="80126" y="35867"/>
                  </a:lnTo>
                  <a:lnTo>
                    <a:pt x="82273" y="36198"/>
                  </a:lnTo>
                  <a:lnTo>
                    <a:pt x="82773" y="36846"/>
                  </a:lnTo>
                  <a:lnTo>
                    <a:pt x="82390" y="39235"/>
                  </a:lnTo>
                  <a:lnTo>
                    <a:pt x="82709" y="40029"/>
                  </a:lnTo>
                  <a:lnTo>
                    <a:pt x="84957" y="40070"/>
                  </a:lnTo>
                  <a:lnTo>
                    <a:pt x="87342" y="39877"/>
                  </a:lnTo>
                  <a:lnTo>
                    <a:pt x="88175" y="39968"/>
                  </a:lnTo>
                  <a:lnTo>
                    <a:pt x="89036" y="39468"/>
                  </a:lnTo>
                  <a:lnTo>
                    <a:pt x="90363" y="38929"/>
                  </a:lnTo>
                  <a:lnTo>
                    <a:pt x="92257" y="39115"/>
                  </a:lnTo>
                  <a:lnTo>
                    <a:pt x="93191" y="40184"/>
                  </a:lnTo>
                  <a:lnTo>
                    <a:pt x="93607" y="41285"/>
                  </a:lnTo>
                  <a:lnTo>
                    <a:pt x="91977" y="41699"/>
                  </a:lnTo>
                  <a:lnTo>
                    <a:pt x="90275" y="41473"/>
                  </a:lnTo>
                  <a:lnTo>
                    <a:pt x="89445" y="42196"/>
                  </a:lnTo>
                  <a:lnTo>
                    <a:pt x="89391" y="43588"/>
                  </a:lnTo>
                  <a:lnTo>
                    <a:pt x="89966" y="45379"/>
                  </a:lnTo>
                  <a:lnTo>
                    <a:pt x="91104" y="46649"/>
                  </a:lnTo>
                  <a:lnTo>
                    <a:pt x="92014" y="49509"/>
                  </a:lnTo>
                  <a:lnTo>
                    <a:pt x="92768" y="52676"/>
                  </a:lnTo>
                  <a:lnTo>
                    <a:pt x="93941" y="54588"/>
                  </a:lnTo>
                  <a:lnTo>
                    <a:pt x="94182" y="56958"/>
                  </a:lnTo>
                  <a:lnTo>
                    <a:pt x="94009" y="58122"/>
                  </a:lnTo>
                  <a:lnTo>
                    <a:pt x="94223" y="60212"/>
                  </a:lnTo>
                  <a:lnTo>
                    <a:pt x="93724" y="60948"/>
                  </a:lnTo>
                  <a:lnTo>
                    <a:pt x="94098" y="62908"/>
                  </a:lnTo>
                  <a:lnTo>
                    <a:pt x="95479" y="66960"/>
                  </a:lnTo>
                  <a:lnTo>
                    <a:pt x="96082" y="69214"/>
                  </a:lnTo>
                  <a:lnTo>
                    <a:pt x="96471" y="74127"/>
                  </a:lnTo>
                  <a:lnTo>
                    <a:pt x="95497" y="75966"/>
                  </a:lnTo>
                  <a:lnTo>
                    <a:pt x="94188" y="77709"/>
                  </a:lnTo>
                  <a:lnTo>
                    <a:pt x="93333" y="79774"/>
                  </a:lnTo>
                  <a:lnTo>
                    <a:pt x="92672" y="82001"/>
                  </a:lnTo>
                  <a:lnTo>
                    <a:pt x="92274" y="85587"/>
                  </a:lnTo>
                  <a:lnTo>
                    <a:pt x="89440" y="89784"/>
                  </a:lnTo>
                  <a:lnTo>
                    <a:pt x="88234" y="90826"/>
                  </a:lnTo>
                  <a:lnTo>
                    <a:pt x="86835" y="91467"/>
                  </a:lnTo>
                  <a:lnTo>
                    <a:pt x="89891" y="94395"/>
                  </a:lnTo>
                  <a:lnTo>
                    <a:pt x="87394" y="95700"/>
                  </a:lnTo>
                  <a:lnTo>
                    <a:pt x="84671" y="96111"/>
                  </a:lnTo>
                  <a:lnTo>
                    <a:pt x="81658" y="95379"/>
                  </a:lnTo>
                  <a:lnTo>
                    <a:pt x="79781" y="95468"/>
                  </a:lnTo>
                  <a:lnTo>
                    <a:pt x="78067" y="96415"/>
                  </a:lnTo>
                  <a:lnTo>
                    <a:pt x="77392" y="96988"/>
                  </a:lnTo>
                  <a:lnTo>
                    <a:pt x="76853" y="96711"/>
                  </a:lnTo>
                  <a:lnTo>
                    <a:pt x="75722" y="94311"/>
                  </a:lnTo>
                  <a:lnTo>
                    <a:pt x="74893" y="96790"/>
                  </a:lnTo>
                  <a:lnTo>
                    <a:pt x="73157" y="97578"/>
                  </a:lnTo>
                  <a:lnTo>
                    <a:pt x="70184" y="97410"/>
                  </a:lnTo>
                  <a:lnTo>
                    <a:pt x="65217" y="98070"/>
                  </a:lnTo>
                  <a:lnTo>
                    <a:pt x="63306" y="98775"/>
                  </a:lnTo>
                  <a:lnTo>
                    <a:pt x="62512" y="99878"/>
                  </a:lnTo>
                  <a:lnTo>
                    <a:pt x="61922" y="101152"/>
                  </a:lnTo>
                  <a:lnTo>
                    <a:pt x="61147" y="101904"/>
                  </a:lnTo>
                  <a:lnTo>
                    <a:pt x="60271" y="102300"/>
                  </a:lnTo>
                  <a:lnTo>
                    <a:pt x="56436" y="103238"/>
                  </a:lnTo>
                  <a:lnTo>
                    <a:pt x="55680" y="103613"/>
                  </a:lnTo>
                  <a:lnTo>
                    <a:pt x="53904" y="105667"/>
                  </a:lnTo>
                  <a:lnTo>
                    <a:pt x="51575" y="106853"/>
                  </a:lnTo>
                  <a:lnTo>
                    <a:pt x="49646" y="107208"/>
                  </a:lnTo>
                  <a:lnTo>
                    <a:pt x="47934" y="106014"/>
                  </a:lnTo>
                  <a:lnTo>
                    <a:pt x="47230" y="105296"/>
                  </a:lnTo>
                  <a:lnTo>
                    <a:pt x="46435" y="104931"/>
                  </a:lnTo>
                  <a:lnTo>
                    <a:pt x="43805" y="104987"/>
                  </a:lnTo>
                  <a:lnTo>
                    <a:pt x="44636" y="105357"/>
                  </a:lnTo>
                  <a:lnTo>
                    <a:pt x="45172" y="106200"/>
                  </a:lnTo>
                  <a:lnTo>
                    <a:pt x="45432" y="107815"/>
                  </a:lnTo>
                  <a:lnTo>
                    <a:pt x="45133" y="109397"/>
                  </a:lnTo>
                  <a:lnTo>
                    <a:pt x="43836" y="110200"/>
                  </a:lnTo>
                  <a:lnTo>
                    <a:pt x="42287" y="110348"/>
                  </a:lnTo>
                  <a:lnTo>
                    <a:pt x="39845" y="111987"/>
                  </a:lnTo>
                  <a:lnTo>
                    <a:pt x="36612" y="112435"/>
                  </a:lnTo>
                  <a:lnTo>
                    <a:pt x="34866" y="113943"/>
                  </a:lnTo>
                  <a:lnTo>
                    <a:pt x="24185" y="116492"/>
                  </a:lnTo>
                  <a:lnTo>
                    <a:pt x="23579" y="116522"/>
                  </a:lnTo>
                  <a:lnTo>
                    <a:pt x="22105" y="115873"/>
                  </a:lnTo>
                  <a:lnTo>
                    <a:pt x="20506" y="115586"/>
                  </a:lnTo>
                  <a:lnTo>
                    <a:pt x="18914" y="115789"/>
                  </a:lnTo>
                  <a:lnTo>
                    <a:pt x="14438" y="117212"/>
                  </a:lnTo>
                  <a:lnTo>
                    <a:pt x="12270" y="116929"/>
                  </a:lnTo>
                  <a:lnTo>
                    <a:pt x="15033" y="113390"/>
                  </a:lnTo>
                  <a:lnTo>
                    <a:pt x="18748" y="111602"/>
                  </a:lnTo>
                  <a:lnTo>
                    <a:pt x="19134" y="111112"/>
                  </a:lnTo>
                  <a:lnTo>
                    <a:pt x="17920" y="110872"/>
                  </a:lnTo>
                  <a:lnTo>
                    <a:pt x="10862" y="112114"/>
                  </a:lnTo>
                  <a:lnTo>
                    <a:pt x="8410" y="113172"/>
                  </a:lnTo>
                  <a:lnTo>
                    <a:pt x="5959" y="113479"/>
                  </a:lnTo>
                  <a:lnTo>
                    <a:pt x="7094" y="111864"/>
                  </a:lnTo>
                  <a:lnTo>
                    <a:pt x="10256" y="109650"/>
                  </a:lnTo>
                  <a:lnTo>
                    <a:pt x="11952" y="108607"/>
                  </a:lnTo>
                  <a:lnTo>
                    <a:pt x="12987" y="108193"/>
                  </a:lnTo>
                  <a:lnTo>
                    <a:pt x="14168" y="106891"/>
                  </a:lnTo>
                  <a:lnTo>
                    <a:pt x="17500" y="105411"/>
                  </a:lnTo>
                  <a:lnTo>
                    <a:pt x="6767" y="108463"/>
                  </a:lnTo>
                  <a:lnTo>
                    <a:pt x="3947" y="108091"/>
                  </a:lnTo>
                  <a:lnTo>
                    <a:pt x="3283" y="107240"/>
                  </a:lnTo>
                  <a:lnTo>
                    <a:pt x="1087" y="107639"/>
                  </a:lnTo>
                  <a:lnTo>
                    <a:pt x="255" y="105579"/>
                  </a:lnTo>
                  <a:lnTo>
                    <a:pt x="3508" y="102454"/>
                  </a:lnTo>
                  <a:lnTo>
                    <a:pt x="5404" y="101109"/>
                  </a:lnTo>
                  <a:lnTo>
                    <a:pt x="7655" y="100382"/>
                  </a:lnTo>
                  <a:lnTo>
                    <a:pt x="9822" y="99339"/>
                  </a:lnTo>
                  <a:lnTo>
                    <a:pt x="10626" y="98063"/>
                  </a:lnTo>
                  <a:lnTo>
                    <a:pt x="9606" y="97656"/>
                  </a:lnTo>
                  <a:lnTo>
                    <a:pt x="3112" y="97980"/>
                  </a:lnTo>
                  <a:lnTo>
                    <a:pt x="0" y="97708"/>
                  </a:lnTo>
                  <a:lnTo>
                    <a:pt x="168" y="96696"/>
                  </a:lnTo>
                  <a:lnTo>
                    <a:pt x="742" y="95574"/>
                  </a:lnTo>
                  <a:lnTo>
                    <a:pt x="3965" y="93654"/>
                  </a:lnTo>
                  <a:lnTo>
                    <a:pt x="5708" y="93345"/>
                  </a:lnTo>
                  <a:lnTo>
                    <a:pt x="7263" y="93528"/>
                  </a:lnTo>
                  <a:lnTo>
                    <a:pt x="8781" y="94020"/>
                  </a:lnTo>
                  <a:lnTo>
                    <a:pt x="10015" y="94663"/>
                  </a:lnTo>
                  <a:lnTo>
                    <a:pt x="13668" y="94294"/>
                  </a:lnTo>
                  <a:lnTo>
                    <a:pt x="12143" y="93067"/>
                  </a:lnTo>
                  <a:lnTo>
                    <a:pt x="11874" y="90572"/>
                  </a:lnTo>
                  <a:lnTo>
                    <a:pt x="10706" y="89733"/>
                  </a:lnTo>
                  <a:lnTo>
                    <a:pt x="12201" y="88575"/>
                  </a:lnTo>
                  <a:lnTo>
                    <a:pt x="13911" y="87871"/>
                  </a:lnTo>
                  <a:lnTo>
                    <a:pt x="16761" y="85473"/>
                  </a:lnTo>
                  <a:lnTo>
                    <a:pt x="17776" y="85108"/>
                  </a:lnTo>
                  <a:lnTo>
                    <a:pt x="23416" y="84525"/>
                  </a:lnTo>
                  <a:lnTo>
                    <a:pt x="29499" y="83263"/>
                  </a:lnTo>
                  <a:lnTo>
                    <a:pt x="35529" y="81519"/>
                  </a:lnTo>
                  <a:lnTo>
                    <a:pt x="32437" y="80544"/>
                  </a:lnTo>
                  <a:lnTo>
                    <a:pt x="30956" y="79257"/>
                  </a:lnTo>
                  <a:lnTo>
                    <a:pt x="28576" y="81858"/>
                  </a:lnTo>
                  <a:lnTo>
                    <a:pt x="26863" y="82852"/>
                  </a:lnTo>
                  <a:lnTo>
                    <a:pt x="22024" y="83383"/>
                  </a:lnTo>
                  <a:lnTo>
                    <a:pt x="20492" y="83091"/>
                  </a:lnTo>
                  <a:lnTo>
                    <a:pt x="18335" y="82284"/>
                  </a:lnTo>
                  <a:lnTo>
                    <a:pt x="17665" y="82592"/>
                  </a:lnTo>
                  <a:lnTo>
                    <a:pt x="17042" y="83215"/>
                  </a:lnTo>
                  <a:lnTo>
                    <a:pt x="13839" y="84489"/>
                  </a:lnTo>
                  <a:lnTo>
                    <a:pt x="10473" y="84794"/>
                  </a:lnTo>
                  <a:lnTo>
                    <a:pt x="14387" y="82456"/>
                  </a:lnTo>
                  <a:lnTo>
                    <a:pt x="19353" y="78489"/>
                  </a:lnTo>
                  <a:lnTo>
                    <a:pt x="20461" y="77234"/>
                  </a:lnTo>
                  <a:lnTo>
                    <a:pt x="22037" y="75050"/>
                  </a:lnTo>
                  <a:lnTo>
                    <a:pt x="21549" y="74078"/>
                  </a:lnTo>
                  <a:lnTo>
                    <a:pt x="20526" y="73524"/>
                  </a:lnTo>
                  <a:lnTo>
                    <a:pt x="24125" y="69022"/>
                  </a:lnTo>
                  <a:lnTo>
                    <a:pt x="25392" y="68204"/>
                  </a:lnTo>
                  <a:lnTo>
                    <a:pt x="27699" y="68072"/>
                  </a:lnTo>
                  <a:lnTo>
                    <a:pt x="29389" y="67357"/>
                  </a:lnTo>
                  <a:lnTo>
                    <a:pt x="30134" y="67354"/>
                  </a:lnTo>
                  <a:lnTo>
                    <a:pt x="30804" y="67088"/>
                  </a:lnTo>
                  <a:lnTo>
                    <a:pt x="32286" y="65736"/>
                  </a:lnTo>
                  <a:lnTo>
                    <a:pt x="29999" y="64876"/>
                  </a:lnTo>
                  <a:lnTo>
                    <a:pt x="27638" y="64433"/>
                  </a:lnTo>
                  <a:lnTo>
                    <a:pt x="20332" y="64902"/>
                  </a:lnTo>
                  <a:lnTo>
                    <a:pt x="19371" y="64801"/>
                  </a:lnTo>
                  <a:lnTo>
                    <a:pt x="18465" y="64386"/>
                  </a:lnTo>
                  <a:lnTo>
                    <a:pt x="17877" y="63787"/>
                  </a:lnTo>
                  <a:lnTo>
                    <a:pt x="17435" y="62252"/>
                  </a:lnTo>
                  <a:lnTo>
                    <a:pt x="16899" y="61909"/>
                  </a:lnTo>
                  <a:lnTo>
                    <a:pt x="15250" y="61909"/>
                  </a:lnTo>
                  <a:lnTo>
                    <a:pt x="13625" y="62378"/>
                  </a:lnTo>
                  <a:lnTo>
                    <a:pt x="12490" y="62333"/>
                  </a:lnTo>
                  <a:lnTo>
                    <a:pt x="11376" y="61660"/>
                  </a:lnTo>
                  <a:lnTo>
                    <a:pt x="13153" y="60088"/>
                  </a:lnTo>
                  <a:lnTo>
                    <a:pt x="10862" y="59718"/>
                  </a:lnTo>
                  <a:lnTo>
                    <a:pt x="8542" y="60027"/>
                  </a:lnTo>
                  <a:lnTo>
                    <a:pt x="6611" y="59551"/>
                  </a:lnTo>
                  <a:lnTo>
                    <a:pt x="6551" y="58564"/>
                  </a:lnTo>
                  <a:lnTo>
                    <a:pt x="7426" y="57579"/>
                  </a:lnTo>
                  <a:lnTo>
                    <a:pt x="6279" y="56644"/>
                  </a:lnTo>
                  <a:lnTo>
                    <a:pt x="6042" y="55462"/>
                  </a:lnTo>
                  <a:lnTo>
                    <a:pt x="7264" y="54881"/>
                  </a:lnTo>
                  <a:lnTo>
                    <a:pt x="8599" y="55074"/>
                  </a:lnTo>
                  <a:lnTo>
                    <a:pt x="11320" y="54199"/>
                  </a:lnTo>
                  <a:lnTo>
                    <a:pt x="14806" y="53774"/>
                  </a:lnTo>
                  <a:lnTo>
                    <a:pt x="11816" y="52911"/>
                  </a:lnTo>
                  <a:lnTo>
                    <a:pt x="10625" y="52171"/>
                  </a:lnTo>
                  <a:lnTo>
                    <a:pt x="10568" y="51038"/>
                  </a:lnTo>
                  <a:lnTo>
                    <a:pt x="10805" y="50068"/>
                  </a:lnTo>
                  <a:lnTo>
                    <a:pt x="14266" y="48427"/>
                  </a:lnTo>
                  <a:lnTo>
                    <a:pt x="17955" y="47703"/>
                  </a:lnTo>
                  <a:lnTo>
                    <a:pt x="17683" y="46621"/>
                  </a:lnTo>
                  <a:lnTo>
                    <a:pt x="17941" y="45450"/>
                  </a:lnTo>
                  <a:lnTo>
                    <a:pt x="14212" y="45112"/>
                  </a:lnTo>
                  <a:lnTo>
                    <a:pt x="10529" y="45938"/>
                  </a:lnTo>
                  <a:lnTo>
                    <a:pt x="10923" y="43700"/>
                  </a:lnTo>
                  <a:lnTo>
                    <a:pt x="11805" y="41678"/>
                  </a:lnTo>
                  <a:lnTo>
                    <a:pt x="11979" y="40343"/>
                  </a:lnTo>
                  <a:lnTo>
                    <a:pt x="11803" y="38914"/>
                  </a:lnTo>
                  <a:lnTo>
                    <a:pt x="10078" y="39525"/>
                  </a:lnTo>
                  <a:lnTo>
                    <a:pt x="9876" y="37509"/>
                  </a:lnTo>
                  <a:lnTo>
                    <a:pt x="9135" y="36125"/>
                  </a:lnTo>
                  <a:lnTo>
                    <a:pt x="6580" y="37078"/>
                  </a:lnTo>
                  <a:lnTo>
                    <a:pt x="6646" y="35252"/>
                  </a:lnTo>
                  <a:lnTo>
                    <a:pt x="7382" y="33975"/>
                  </a:lnTo>
                  <a:lnTo>
                    <a:pt x="8718" y="33420"/>
                  </a:lnTo>
                  <a:lnTo>
                    <a:pt x="10045" y="33661"/>
                  </a:lnTo>
                  <a:lnTo>
                    <a:pt x="12508" y="33637"/>
                  </a:lnTo>
                  <a:lnTo>
                    <a:pt x="14883" y="32677"/>
                  </a:lnTo>
                  <a:lnTo>
                    <a:pt x="18307" y="32430"/>
                  </a:lnTo>
                  <a:lnTo>
                    <a:pt x="23764" y="32732"/>
                  </a:lnTo>
                  <a:lnTo>
                    <a:pt x="27515" y="35441"/>
                  </a:lnTo>
                  <a:lnTo>
                    <a:pt x="28483" y="34957"/>
                  </a:lnTo>
                  <a:lnTo>
                    <a:pt x="29983" y="33245"/>
                  </a:lnTo>
                  <a:lnTo>
                    <a:pt x="30687" y="33056"/>
                  </a:lnTo>
                  <a:lnTo>
                    <a:pt x="36340" y="33802"/>
                  </a:lnTo>
                  <a:lnTo>
                    <a:pt x="39851" y="34787"/>
                  </a:lnTo>
                  <a:lnTo>
                    <a:pt x="40790" y="34480"/>
                  </a:lnTo>
                  <a:lnTo>
                    <a:pt x="40283" y="32580"/>
                  </a:lnTo>
                  <a:lnTo>
                    <a:pt x="39074" y="31262"/>
                  </a:lnTo>
                  <a:lnTo>
                    <a:pt x="40593" y="29534"/>
                  </a:lnTo>
                  <a:lnTo>
                    <a:pt x="42438" y="28363"/>
                  </a:lnTo>
                  <a:lnTo>
                    <a:pt x="43671" y="27779"/>
                  </a:lnTo>
                  <a:lnTo>
                    <a:pt x="46518" y="27053"/>
                  </a:lnTo>
                  <a:lnTo>
                    <a:pt x="47759" y="26369"/>
                  </a:lnTo>
                  <a:lnTo>
                    <a:pt x="48586" y="24143"/>
                  </a:lnTo>
                  <a:lnTo>
                    <a:pt x="49902" y="22287"/>
                  </a:lnTo>
                  <a:lnTo>
                    <a:pt x="42758" y="23252"/>
                  </a:lnTo>
                  <a:lnTo>
                    <a:pt x="35961" y="21052"/>
                  </a:lnTo>
                  <a:lnTo>
                    <a:pt x="37039" y="19495"/>
                  </a:lnTo>
                  <a:lnTo>
                    <a:pt x="38474" y="18612"/>
                  </a:lnTo>
                  <a:lnTo>
                    <a:pt x="40950" y="17935"/>
                  </a:lnTo>
                  <a:lnTo>
                    <a:pt x="41185" y="17122"/>
                  </a:lnTo>
                  <a:lnTo>
                    <a:pt x="42438" y="16446"/>
                  </a:lnTo>
                  <a:lnTo>
                    <a:pt x="44510" y="14669"/>
                  </a:lnTo>
                  <a:lnTo>
                    <a:pt x="43749" y="12346"/>
                  </a:lnTo>
                  <a:lnTo>
                    <a:pt x="44157" y="10646"/>
                  </a:lnTo>
                  <a:lnTo>
                    <a:pt x="45649" y="9537"/>
                  </a:lnTo>
                  <a:lnTo>
                    <a:pt x="46116" y="7945"/>
                  </a:lnTo>
                  <a:lnTo>
                    <a:pt x="46781" y="6772"/>
                  </a:lnTo>
                  <a:lnTo>
                    <a:pt x="49808" y="6352"/>
                  </a:lnTo>
                  <a:lnTo>
                    <a:pt x="52718" y="5261"/>
                  </a:lnTo>
                  <a:lnTo>
                    <a:pt x="53769" y="5367"/>
                  </a:lnTo>
                  <a:lnTo>
                    <a:pt x="57205" y="5115"/>
                  </a:lnTo>
                  <a:lnTo>
                    <a:pt x="58369" y="5555"/>
                  </a:lnTo>
                  <a:lnTo>
                    <a:pt x="58104" y="3626"/>
                  </a:lnTo>
                  <a:lnTo>
                    <a:pt x="60214" y="3375"/>
                  </a:lnTo>
                  <a:lnTo>
                    <a:pt x="61039" y="3760"/>
                  </a:lnTo>
                  <a:lnTo>
                    <a:pt x="61402" y="5127"/>
                  </a:lnTo>
                  <a:lnTo>
                    <a:pt x="62361" y="5999"/>
                  </a:lnTo>
                  <a:lnTo>
                    <a:pt x="62657" y="7513"/>
                  </a:lnTo>
                  <a:lnTo>
                    <a:pt x="62014" y="8682"/>
                  </a:lnTo>
                  <a:lnTo>
                    <a:pt x="60940" y="9582"/>
                  </a:lnTo>
                  <a:lnTo>
                    <a:pt x="61922" y="10503"/>
                  </a:lnTo>
                  <a:lnTo>
                    <a:pt x="60399" y="12166"/>
                  </a:lnTo>
                  <a:lnTo>
                    <a:pt x="62043" y="11458"/>
                  </a:lnTo>
                  <a:lnTo>
                    <a:pt x="64386" y="9829"/>
                  </a:lnTo>
                  <a:lnTo>
                    <a:pt x="64265" y="8496"/>
                  </a:lnTo>
                  <a:lnTo>
                    <a:pt x="63866" y="6820"/>
                  </a:lnTo>
                  <a:lnTo>
                    <a:pt x="63214" y="5307"/>
                  </a:lnTo>
                  <a:lnTo>
                    <a:pt x="63514" y="3639"/>
                  </a:lnTo>
                  <a:lnTo>
                    <a:pt x="64831" y="2595"/>
                  </a:lnTo>
                  <a:lnTo>
                    <a:pt x="68293" y="2070"/>
                  </a:lnTo>
                  <a:lnTo>
                    <a:pt x="66873" y="174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34" name="ee4p_IS_1_37365">
              <a:extLst>
                <a:ext uri="{FF2B5EF4-FFF2-40B4-BE49-F238E27FC236}">
                  <a16:creationId xmlns:a16="http://schemas.microsoft.com/office/drawing/2014/main" id="{9DE92A74-06EC-48DD-21AC-2ABBD5ED9F2A}"/>
                </a:ext>
              </a:extLst>
            </p:cNvPr>
            <p:cNvSpPr>
              <a:spLocks noChangeAspect="1"/>
            </p:cNvSpPr>
            <p:nvPr>
              <p:custDataLst>
                <p:tags r:id="rId288"/>
              </p:custDataLst>
            </p:nvPr>
          </p:nvSpPr>
          <p:spPr>
            <a:xfrm>
              <a:off x="5835027" y="2425934"/>
              <a:ext cx="303231" cy="144493"/>
            </a:xfrm>
            <a:custGeom>
              <a:avLst/>
              <a:gdLst/>
              <a:ahLst/>
              <a:cxnLst/>
              <a:rect l="0" t="0" r="0" b="0"/>
              <a:pathLst>
                <a:path w="241456" h="112007">
                  <a:moveTo>
                    <a:pt x="197518" y="10959"/>
                  </a:moveTo>
                  <a:lnTo>
                    <a:pt x="200053" y="11095"/>
                  </a:lnTo>
                  <a:lnTo>
                    <a:pt x="204200" y="9834"/>
                  </a:lnTo>
                  <a:lnTo>
                    <a:pt x="205936" y="9005"/>
                  </a:lnTo>
                  <a:lnTo>
                    <a:pt x="210191" y="6134"/>
                  </a:lnTo>
                  <a:lnTo>
                    <a:pt x="212709" y="5334"/>
                  </a:lnTo>
                  <a:lnTo>
                    <a:pt x="216589" y="5530"/>
                  </a:lnTo>
                  <a:lnTo>
                    <a:pt x="218464" y="5330"/>
                  </a:lnTo>
                  <a:lnTo>
                    <a:pt x="218507" y="5609"/>
                  </a:lnTo>
                  <a:lnTo>
                    <a:pt x="216124" y="6776"/>
                  </a:lnTo>
                  <a:lnTo>
                    <a:pt x="214210" y="7175"/>
                  </a:lnTo>
                  <a:lnTo>
                    <a:pt x="211468" y="8910"/>
                  </a:lnTo>
                  <a:lnTo>
                    <a:pt x="208864" y="12818"/>
                  </a:lnTo>
                  <a:lnTo>
                    <a:pt x="206932" y="14734"/>
                  </a:lnTo>
                  <a:lnTo>
                    <a:pt x="206953" y="15584"/>
                  </a:lnTo>
                  <a:lnTo>
                    <a:pt x="209300" y="17092"/>
                  </a:lnTo>
                  <a:lnTo>
                    <a:pt x="211870" y="17948"/>
                  </a:lnTo>
                  <a:lnTo>
                    <a:pt x="214234" y="17172"/>
                  </a:lnTo>
                  <a:lnTo>
                    <a:pt x="215267" y="17474"/>
                  </a:lnTo>
                  <a:lnTo>
                    <a:pt x="216201" y="18595"/>
                  </a:lnTo>
                  <a:lnTo>
                    <a:pt x="216728" y="19704"/>
                  </a:lnTo>
                  <a:lnTo>
                    <a:pt x="216846" y="20802"/>
                  </a:lnTo>
                  <a:lnTo>
                    <a:pt x="216421" y="23099"/>
                  </a:lnTo>
                  <a:lnTo>
                    <a:pt x="214999" y="25404"/>
                  </a:lnTo>
                  <a:lnTo>
                    <a:pt x="213081" y="27331"/>
                  </a:lnTo>
                  <a:lnTo>
                    <a:pt x="213351" y="27937"/>
                  </a:lnTo>
                  <a:lnTo>
                    <a:pt x="214889" y="28250"/>
                  </a:lnTo>
                  <a:lnTo>
                    <a:pt x="222215" y="27002"/>
                  </a:lnTo>
                  <a:lnTo>
                    <a:pt x="222975" y="27094"/>
                  </a:lnTo>
                  <a:lnTo>
                    <a:pt x="223396" y="27715"/>
                  </a:lnTo>
                  <a:lnTo>
                    <a:pt x="223478" y="28867"/>
                  </a:lnTo>
                  <a:lnTo>
                    <a:pt x="223881" y="29908"/>
                  </a:lnTo>
                  <a:lnTo>
                    <a:pt x="224604" y="30841"/>
                  </a:lnTo>
                  <a:lnTo>
                    <a:pt x="224379" y="31794"/>
                  </a:lnTo>
                  <a:lnTo>
                    <a:pt x="221172" y="34805"/>
                  </a:lnTo>
                  <a:lnTo>
                    <a:pt x="224955" y="32910"/>
                  </a:lnTo>
                  <a:lnTo>
                    <a:pt x="227948" y="32374"/>
                  </a:lnTo>
                  <a:lnTo>
                    <a:pt x="233067" y="33327"/>
                  </a:lnTo>
                  <a:lnTo>
                    <a:pt x="235162" y="34420"/>
                  </a:lnTo>
                  <a:lnTo>
                    <a:pt x="236388" y="36341"/>
                  </a:lnTo>
                  <a:lnTo>
                    <a:pt x="238160" y="35705"/>
                  </a:lnTo>
                  <a:lnTo>
                    <a:pt x="238930" y="35742"/>
                  </a:lnTo>
                  <a:lnTo>
                    <a:pt x="240089" y="36836"/>
                  </a:lnTo>
                  <a:lnTo>
                    <a:pt x="240130" y="38003"/>
                  </a:lnTo>
                  <a:lnTo>
                    <a:pt x="239280" y="39663"/>
                  </a:lnTo>
                  <a:lnTo>
                    <a:pt x="238986" y="41195"/>
                  </a:lnTo>
                  <a:lnTo>
                    <a:pt x="238096" y="41824"/>
                  </a:lnTo>
                  <a:lnTo>
                    <a:pt x="236432" y="42279"/>
                  </a:lnTo>
                  <a:lnTo>
                    <a:pt x="235956" y="42793"/>
                  </a:lnTo>
                  <a:lnTo>
                    <a:pt x="236689" y="43959"/>
                  </a:lnTo>
                  <a:lnTo>
                    <a:pt x="237768" y="45098"/>
                  </a:lnTo>
                  <a:lnTo>
                    <a:pt x="239302" y="45151"/>
                  </a:lnTo>
                  <a:lnTo>
                    <a:pt x="239575" y="45675"/>
                  </a:lnTo>
                  <a:lnTo>
                    <a:pt x="239610" y="46308"/>
                  </a:lnTo>
                  <a:lnTo>
                    <a:pt x="239402" y="47047"/>
                  </a:lnTo>
                  <a:lnTo>
                    <a:pt x="238901" y="47556"/>
                  </a:lnTo>
                  <a:lnTo>
                    <a:pt x="238109" y="47834"/>
                  </a:lnTo>
                  <a:lnTo>
                    <a:pt x="237060" y="48649"/>
                  </a:lnTo>
                  <a:lnTo>
                    <a:pt x="240909" y="50433"/>
                  </a:lnTo>
                  <a:lnTo>
                    <a:pt x="241400" y="51094"/>
                  </a:lnTo>
                  <a:lnTo>
                    <a:pt x="241455" y="52066"/>
                  </a:lnTo>
                  <a:lnTo>
                    <a:pt x="241155" y="53128"/>
                  </a:lnTo>
                  <a:lnTo>
                    <a:pt x="240499" y="54285"/>
                  </a:lnTo>
                  <a:lnTo>
                    <a:pt x="239338" y="54971"/>
                  </a:lnTo>
                  <a:lnTo>
                    <a:pt x="236565" y="55083"/>
                  </a:lnTo>
                  <a:lnTo>
                    <a:pt x="234868" y="55832"/>
                  </a:lnTo>
                  <a:lnTo>
                    <a:pt x="235446" y="57084"/>
                  </a:lnTo>
                  <a:lnTo>
                    <a:pt x="235402" y="58662"/>
                  </a:lnTo>
                  <a:lnTo>
                    <a:pt x="234891" y="60521"/>
                  </a:lnTo>
                  <a:lnTo>
                    <a:pt x="232708" y="63332"/>
                  </a:lnTo>
                  <a:lnTo>
                    <a:pt x="230657" y="64825"/>
                  </a:lnTo>
                  <a:lnTo>
                    <a:pt x="228651" y="65793"/>
                  </a:lnTo>
                  <a:lnTo>
                    <a:pt x="225073" y="65452"/>
                  </a:lnTo>
                  <a:lnTo>
                    <a:pt x="223124" y="64706"/>
                  </a:lnTo>
                  <a:lnTo>
                    <a:pt x="223341" y="67128"/>
                  </a:lnTo>
                  <a:lnTo>
                    <a:pt x="221349" y="68618"/>
                  </a:lnTo>
                  <a:lnTo>
                    <a:pt x="221726" y="69862"/>
                  </a:lnTo>
                  <a:lnTo>
                    <a:pt x="222419" y="70494"/>
                  </a:lnTo>
                  <a:lnTo>
                    <a:pt x="222074" y="72090"/>
                  </a:lnTo>
                  <a:lnTo>
                    <a:pt x="221128" y="73668"/>
                  </a:lnTo>
                  <a:lnTo>
                    <a:pt x="219542" y="75378"/>
                  </a:lnTo>
                  <a:lnTo>
                    <a:pt x="217748" y="76444"/>
                  </a:lnTo>
                  <a:lnTo>
                    <a:pt x="214181" y="77728"/>
                  </a:lnTo>
                  <a:lnTo>
                    <a:pt x="211133" y="79863"/>
                  </a:lnTo>
                  <a:lnTo>
                    <a:pt x="209050" y="80707"/>
                  </a:lnTo>
                  <a:lnTo>
                    <a:pt x="203870" y="80671"/>
                  </a:lnTo>
                  <a:lnTo>
                    <a:pt x="198582" y="82044"/>
                  </a:lnTo>
                  <a:lnTo>
                    <a:pt x="191110" y="84933"/>
                  </a:lnTo>
                  <a:lnTo>
                    <a:pt x="186079" y="87247"/>
                  </a:lnTo>
                  <a:lnTo>
                    <a:pt x="182196" y="89863"/>
                  </a:lnTo>
                  <a:lnTo>
                    <a:pt x="177065" y="94126"/>
                  </a:lnTo>
                  <a:lnTo>
                    <a:pt x="173256" y="95918"/>
                  </a:lnTo>
                  <a:lnTo>
                    <a:pt x="171059" y="96401"/>
                  </a:lnTo>
                  <a:lnTo>
                    <a:pt x="166783" y="96782"/>
                  </a:lnTo>
                  <a:lnTo>
                    <a:pt x="163200" y="97937"/>
                  </a:lnTo>
                  <a:lnTo>
                    <a:pt x="151296" y="100099"/>
                  </a:lnTo>
                  <a:lnTo>
                    <a:pt x="147266" y="101279"/>
                  </a:lnTo>
                  <a:lnTo>
                    <a:pt x="146745" y="102354"/>
                  </a:lnTo>
                  <a:lnTo>
                    <a:pt x="145074" y="103968"/>
                  </a:lnTo>
                  <a:lnTo>
                    <a:pt x="144969" y="104551"/>
                  </a:lnTo>
                  <a:lnTo>
                    <a:pt x="145703" y="105002"/>
                  </a:lnTo>
                  <a:lnTo>
                    <a:pt x="145838" y="105587"/>
                  </a:lnTo>
                  <a:lnTo>
                    <a:pt x="144365" y="107494"/>
                  </a:lnTo>
                  <a:lnTo>
                    <a:pt x="141422" y="108873"/>
                  </a:lnTo>
                  <a:lnTo>
                    <a:pt x="140031" y="108850"/>
                  </a:lnTo>
                  <a:lnTo>
                    <a:pt x="138347" y="107664"/>
                  </a:lnTo>
                  <a:lnTo>
                    <a:pt x="137614" y="107706"/>
                  </a:lnTo>
                  <a:lnTo>
                    <a:pt x="137326" y="107887"/>
                  </a:lnTo>
                  <a:lnTo>
                    <a:pt x="137309" y="108259"/>
                  </a:lnTo>
                  <a:lnTo>
                    <a:pt x="138276" y="109682"/>
                  </a:lnTo>
                  <a:lnTo>
                    <a:pt x="136495" y="110345"/>
                  </a:lnTo>
                  <a:lnTo>
                    <a:pt x="128738" y="112006"/>
                  </a:lnTo>
                  <a:lnTo>
                    <a:pt x="115546" y="110773"/>
                  </a:lnTo>
                  <a:lnTo>
                    <a:pt x="110320" y="109496"/>
                  </a:lnTo>
                  <a:lnTo>
                    <a:pt x="103870" y="107465"/>
                  </a:lnTo>
                  <a:lnTo>
                    <a:pt x="100029" y="106923"/>
                  </a:lnTo>
                  <a:lnTo>
                    <a:pt x="94585" y="106791"/>
                  </a:lnTo>
                  <a:lnTo>
                    <a:pt x="90112" y="103942"/>
                  </a:lnTo>
                  <a:lnTo>
                    <a:pt x="88042" y="102179"/>
                  </a:lnTo>
                  <a:lnTo>
                    <a:pt x="87876" y="101447"/>
                  </a:lnTo>
                  <a:lnTo>
                    <a:pt x="88109" y="100612"/>
                  </a:lnTo>
                  <a:lnTo>
                    <a:pt x="88575" y="100043"/>
                  </a:lnTo>
                  <a:lnTo>
                    <a:pt x="89271" y="99734"/>
                  </a:lnTo>
                  <a:lnTo>
                    <a:pt x="90747" y="99703"/>
                  </a:lnTo>
                  <a:lnTo>
                    <a:pt x="90939" y="99454"/>
                  </a:lnTo>
                  <a:lnTo>
                    <a:pt x="89813" y="98040"/>
                  </a:lnTo>
                  <a:lnTo>
                    <a:pt x="88736" y="98498"/>
                  </a:lnTo>
                  <a:lnTo>
                    <a:pt x="85855" y="100494"/>
                  </a:lnTo>
                  <a:lnTo>
                    <a:pt x="84573" y="100422"/>
                  </a:lnTo>
                  <a:lnTo>
                    <a:pt x="82890" y="99425"/>
                  </a:lnTo>
                  <a:lnTo>
                    <a:pt x="82826" y="98455"/>
                  </a:lnTo>
                  <a:lnTo>
                    <a:pt x="79535" y="98084"/>
                  </a:lnTo>
                  <a:lnTo>
                    <a:pt x="76676" y="96872"/>
                  </a:lnTo>
                  <a:lnTo>
                    <a:pt x="73835" y="95127"/>
                  </a:lnTo>
                  <a:lnTo>
                    <a:pt x="73411" y="94461"/>
                  </a:lnTo>
                  <a:lnTo>
                    <a:pt x="74775" y="93489"/>
                  </a:lnTo>
                  <a:lnTo>
                    <a:pt x="74512" y="93298"/>
                  </a:lnTo>
                  <a:lnTo>
                    <a:pt x="73485" y="93133"/>
                  </a:lnTo>
                  <a:lnTo>
                    <a:pt x="71410" y="93453"/>
                  </a:lnTo>
                  <a:lnTo>
                    <a:pt x="68284" y="95660"/>
                  </a:lnTo>
                  <a:lnTo>
                    <a:pt x="66934" y="96167"/>
                  </a:lnTo>
                  <a:lnTo>
                    <a:pt x="46504" y="96683"/>
                  </a:lnTo>
                  <a:lnTo>
                    <a:pt x="41323" y="96911"/>
                  </a:lnTo>
                  <a:lnTo>
                    <a:pt x="40321" y="97246"/>
                  </a:lnTo>
                  <a:lnTo>
                    <a:pt x="39418" y="95811"/>
                  </a:lnTo>
                  <a:lnTo>
                    <a:pt x="38614" y="92606"/>
                  </a:lnTo>
                  <a:lnTo>
                    <a:pt x="38314" y="90492"/>
                  </a:lnTo>
                  <a:lnTo>
                    <a:pt x="38520" y="89468"/>
                  </a:lnTo>
                  <a:lnTo>
                    <a:pt x="39238" y="88238"/>
                  </a:lnTo>
                  <a:lnTo>
                    <a:pt x="40349" y="88447"/>
                  </a:lnTo>
                  <a:lnTo>
                    <a:pt x="41407" y="89425"/>
                  </a:lnTo>
                  <a:lnTo>
                    <a:pt x="42364" y="90811"/>
                  </a:lnTo>
                  <a:lnTo>
                    <a:pt x="43464" y="91478"/>
                  </a:lnTo>
                  <a:lnTo>
                    <a:pt x="50595" y="89792"/>
                  </a:lnTo>
                  <a:lnTo>
                    <a:pt x="53490" y="88657"/>
                  </a:lnTo>
                  <a:lnTo>
                    <a:pt x="54721" y="87579"/>
                  </a:lnTo>
                  <a:lnTo>
                    <a:pt x="56170" y="85743"/>
                  </a:lnTo>
                  <a:lnTo>
                    <a:pt x="57707" y="84803"/>
                  </a:lnTo>
                  <a:lnTo>
                    <a:pt x="58441" y="83914"/>
                  </a:lnTo>
                  <a:lnTo>
                    <a:pt x="59882" y="81098"/>
                  </a:lnTo>
                  <a:lnTo>
                    <a:pt x="60877" y="79789"/>
                  </a:lnTo>
                  <a:lnTo>
                    <a:pt x="62069" y="78822"/>
                  </a:lnTo>
                  <a:lnTo>
                    <a:pt x="63455" y="78198"/>
                  </a:lnTo>
                  <a:lnTo>
                    <a:pt x="66609" y="77752"/>
                  </a:lnTo>
                  <a:lnTo>
                    <a:pt x="64534" y="77088"/>
                  </a:lnTo>
                  <a:lnTo>
                    <a:pt x="62555" y="77088"/>
                  </a:lnTo>
                  <a:lnTo>
                    <a:pt x="55821" y="80068"/>
                  </a:lnTo>
                  <a:lnTo>
                    <a:pt x="53563" y="80068"/>
                  </a:lnTo>
                  <a:lnTo>
                    <a:pt x="53658" y="79604"/>
                  </a:lnTo>
                  <a:lnTo>
                    <a:pt x="54610" y="78763"/>
                  </a:lnTo>
                  <a:lnTo>
                    <a:pt x="56926" y="77310"/>
                  </a:lnTo>
                  <a:lnTo>
                    <a:pt x="55335" y="77200"/>
                  </a:lnTo>
                  <a:lnTo>
                    <a:pt x="54728" y="76543"/>
                  </a:lnTo>
                  <a:lnTo>
                    <a:pt x="54658" y="75156"/>
                  </a:lnTo>
                  <a:lnTo>
                    <a:pt x="55841" y="72921"/>
                  </a:lnTo>
                  <a:lnTo>
                    <a:pt x="61323" y="69970"/>
                  </a:lnTo>
                  <a:lnTo>
                    <a:pt x="63219" y="69535"/>
                  </a:lnTo>
                  <a:lnTo>
                    <a:pt x="63795" y="68951"/>
                  </a:lnTo>
                  <a:lnTo>
                    <a:pt x="63076" y="68474"/>
                  </a:lnTo>
                  <a:lnTo>
                    <a:pt x="61930" y="68190"/>
                  </a:lnTo>
                  <a:lnTo>
                    <a:pt x="56414" y="71227"/>
                  </a:lnTo>
                  <a:lnTo>
                    <a:pt x="52399" y="72277"/>
                  </a:lnTo>
                  <a:lnTo>
                    <a:pt x="51205" y="72072"/>
                  </a:lnTo>
                  <a:lnTo>
                    <a:pt x="49128" y="70894"/>
                  </a:lnTo>
                  <a:lnTo>
                    <a:pt x="48459" y="70370"/>
                  </a:lnTo>
                  <a:lnTo>
                    <a:pt x="47563" y="69021"/>
                  </a:lnTo>
                  <a:lnTo>
                    <a:pt x="47664" y="68207"/>
                  </a:lnTo>
                  <a:lnTo>
                    <a:pt x="49577" y="65823"/>
                  </a:lnTo>
                  <a:lnTo>
                    <a:pt x="49269" y="65361"/>
                  </a:lnTo>
                  <a:lnTo>
                    <a:pt x="47953" y="65125"/>
                  </a:lnTo>
                  <a:lnTo>
                    <a:pt x="44415" y="62927"/>
                  </a:lnTo>
                  <a:lnTo>
                    <a:pt x="38815" y="63147"/>
                  </a:lnTo>
                  <a:lnTo>
                    <a:pt x="24958" y="61874"/>
                  </a:lnTo>
                  <a:lnTo>
                    <a:pt x="22095" y="62414"/>
                  </a:lnTo>
                  <a:lnTo>
                    <a:pt x="17374" y="64301"/>
                  </a:lnTo>
                  <a:lnTo>
                    <a:pt x="14521" y="64923"/>
                  </a:lnTo>
                  <a:lnTo>
                    <a:pt x="13203" y="64512"/>
                  </a:lnTo>
                  <a:lnTo>
                    <a:pt x="12005" y="63515"/>
                  </a:lnTo>
                  <a:lnTo>
                    <a:pt x="10917" y="62170"/>
                  </a:lnTo>
                  <a:lnTo>
                    <a:pt x="9940" y="60475"/>
                  </a:lnTo>
                  <a:lnTo>
                    <a:pt x="10363" y="59292"/>
                  </a:lnTo>
                  <a:lnTo>
                    <a:pt x="12190" y="58618"/>
                  </a:lnTo>
                  <a:lnTo>
                    <a:pt x="13530" y="58298"/>
                  </a:lnTo>
                  <a:lnTo>
                    <a:pt x="17302" y="58708"/>
                  </a:lnTo>
                  <a:lnTo>
                    <a:pt x="21899" y="57520"/>
                  </a:lnTo>
                  <a:lnTo>
                    <a:pt x="24832" y="57271"/>
                  </a:lnTo>
                  <a:lnTo>
                    <a:pt x="25674" y="57084"/>
                  </a:lnTo>
                  <a:lnTo>
                    <a:pt x="27401" y="55818"/>
                  </a:lnTo>
                  <a:lnTo>
                    <a:pt x="28252" y="55499"/>
                  </a:lnTo>
                  <a:lnTo>
                    <a:pt x="29581" y="55943"/>
                  </a:lnTo>
                  <a:lnTo>
                    <a:pt x="30224" y="56802"/>
                  </a:lnTo>
                  <a:lnTo>
                    <a:pt x="34852" y="55467"/>
                  </a:lnTo>
                  <a:lnTo>
                    <a:pt x="36441" y="54797"/>
                  </a:lnTo>
                  <a:lnTo>
                    <a:pt x="36620" y="54387"/>
                  </a:lnTo>
                  <a:lnTo>
                    <a:pt x="37316" y="53906"/>
                  </a:lnTo>
                  <a:lnTo>
                    <a:pt x="39618" y="54629"/>
                  </a:lnTo>
                  <a:lnTo>
                    <a:pt x="41482" y="54652"/>
                  </a:lnTo>
                  <a:lnTo>
                    <a:pt x="43809" y="54155"/>
                  </a:lnTo>
                  <a:lnTo>
                    <a:pt x="47922" y="53936"/>
                  </a:lnTo>
                  <a:lnTo>
                    <a:pt x="57127" y="53823"/>
                  </a:lnTo>
                  <a:lnTo>
                    <a:pt x="58506" y="52733"/>
                  </a:lnTo>
                  <a:lnTo>
                    <a:pt x="59155" y="51769"/>
                  </a:lnTo>
                  <a:lnTo>
                    <a:pt x="59967" y="49327"/>
                  </a:lnTo>
                  <a:lnTo>
                    <a:pt x="59608" y="48823"/>
                  </a:lnTo>
                  <a:lnTo>
                    <a:pt x="53858" y="51073"/>
                  </a:lnTo>
                  <a:lnTo>
                    <a:pt x="52546" y="51038"/>
                  </a:lnTo>
                  <a:lnTo>
                    <a:pt x="45891" y="49846"/>
                  </a:lnTo>
                  <a:lnTo>
                    <a:pt x="43486" y="48496"/>
                  </a:lnTo>
                  <a:lnTo>
                    <a:pt x="44274" y="47412"/>
                  </a:lnTo>
                  <a:lnTo>
                    <a:pt x="47800" y="45075"/>
                  </a:lnTo>
                  <a:lnTo>
                    <a:pt x="51441" y="43199"/>
                  </a:lnTo>
                  <a:lnTo>
                    <a:pt x="56799" y="41169"/>
                  </a:lnTo>
                  <a:lnTo>
                    <a:pt x="58054" y="40379"/>
                  </a:lnTo>
                  <a:lnTo>
                    <a:pt x="58184" y="39444"/>
                  </a:lnTo>
                  <a:lnTo>
                    <a:pt x="54615" y="37775"/>
                  </a:lnTo>
                  <a:lnTo>
                    <a:pt x="47855" y="38236"/>
                  </a:lnTo>
                  <a:lnTo>
                    <a:pt x="46125" y="36254"/>
                  </a:lnTo>
                  <a:lnTo>
                    <a:pt x="40511" y="35080"/>
                  </a:lnTo>
                  <a:lnTo>
                    <a:pt x="36773" y="35818"/>
                  </a:lnTo>
                  <a:lnTo>
                    <a:pt x="34787" y="34619"/>
                  </a:lnTo>
                  <a:lnTo>
                    <a:pt x="29931" y="36277"/>
                  </a:lnTo>
                  <a:lnTo>
                    <a:pt x="19263" y="38675"/>
                  </a:lnTo>
                  <a:lnTo>
                    <a:pt x="15018" y="40335"/>
                  </a:lnTo>
                  <a:lnTo>
                    <a:pt x="12732" y="40884"/>
                  </a:lnTo>
                  <a:lnTo>
                    <a:pt x="10098" y="39529"/>
                  </a:lnTo>
                  <a:lnTo>
                    <a:pt x="5566" y="38001"/>
                  </a:lnTo>
                  <a:lnTo>
                    <a:pt x="462" y="37525"/>
                  </a:lnTo>
                  <a:lnTo>
                    <a:pt x="0" y="36624"/>
                  </a:lnTo>
                  <a:lnTo>
                    <a:pt x="2977" y="33865"/>
                  </a:lnTo>
                  <a:lnTo>
                    <a:pt x="5014" y="33366"/>
                  </a:lnTo>
                  <a:lnTo>
                    <a:pt x="7067" y="33619"/>
                  </a:lnTo>
                  <a:lnTo>
                    <a:pt x="10983" y="35544"/>
                  </a:lnTo>
                  <a:lnTo>
                    <a:pt x="13686" y="36146"/>
                  </a:lnTo>
                  <a:lnTo>
                    <a:pt x="10297" y="33321"/>
                  </a:lnTo>
                  <a:lnTo>
                    <a:pt x="10385" y="32234"/>
                  </a:lnTo>
                  <a:lnTo>
                    <a:pt x="10130" y="30606"/>
                  </a:lnTo>
                  <a:lnTo>
                    <a:pt x="9080" y="29906"/>
                  </a:lnTo>
                  <a:lnTo>
                    <a:pt x="8044" y="28102"/>
                  </a:lnTo>
                  <a:lnTo>
                    <a:pt x="8470" y="27493"/>
                  </a:lnTo>
                  <a:lnTo>
                    <a:pt x="9801" y="27279"/>
                  </a:lnTo>
                  <a:lnTo>
                    <a:pt x="12529" y="27889"/>
                  </a:lnTo>
                  <a:lnTo>
                    <a:pt x="19011" y="31018"/>
                  </a:lnTo>
                  <a:lnTo>
                    <a:pt x="22194" y="30464"/>
                  </a:lnTo>
                  <a:lnTo>
                    <a:pt x="23941" y="29311"/>
                  </a:lnTo>
                  <a:lnTo>
                    <a:pt x="26321" y="28456"/>
                  </a:lnTo>
                  <a:lnTo>
                    <a:pt x="25645" y="28010"/>
                  </a:lnTo>
                  <a:lnTo>
                    <a:pt x="20042" y="27957"/>
                  </a:lnTo>
                  <a:lnTo>
                    <a:pt x="17047" y="27320"/>
                  </a:lnTo>
                  <a:lnTo>
                    <a:pt x="15532" y="26404"/>
                  </a:lnTo>
                  <a:lnTo>
                    <a:pt x="14220" y="24841"/>
                  </a:lnTo>
                  <a:lnTo>
                    <a:pt x="14682" y="24123"/>
                  </a:lnTo>
                  <a:lnTo>
                    <a:pt x="16239" y="23551"/>
                  </a:lnTo>
                  <a:lnTo>
                    <a:pt x="21023" y="23717"/>
                  </a:lnTo>
                  <a:lnTo>
                    <a:pt x="17871" y="21005"/>
                  </a:lnTo>
                  <a:lnTo>
                    <a:pt x="15680" y="19445"/>
                  </a:lnTo>
                  <a:lnTo>
                    <a:pt x="15442" y="18691"/>
                  </a:lnTo>
                  <a:lnTo>
                    <a:pt x="15592" y="17744"/>
                  </a:lnTo>
                  <a:lnTo>
                    <a:pt x="15889" y="17110"/>
                  </a:lnTo>
                  <a:lnTo>
                    <a:pt x="16330" y="16793"/>
                  </a:lnTo>
                  <a:lnTo>
                    <a:pt x="21821" y="18380"/>
                  </a:lnTo>
                  <a:lnTo>
                    <a:pt x="23023" y="18448"/>
                  </a:lnTo>
                  <a:lnTo>
                    <a:pt x="21913" y="17422"/>
                  </a:lnTo>
                  <a:lnTo>
                    <a:pt x="19506" y="15915"/>
                  </a:lnTo>
                  <a:lnTo>
                    <a:pt x="19396" y="15349"/>
                  </a:lnTo>
                  <a:lnTo>
                    <a:pt x="20410" y="14883"/>
                  </a:lnTo>
                  <a:lnTo>
                    <a:pt x="20911" y="14023"/>
                  </a:lnTo>
                  <a:lnTo>
                    <a:pt x="20957" y="13312"/>
                  </a:lnTo>
                  <a:lnTo>
                    <a:pt x="22624" y="12703"/>
                  </a:lnTo>
                  <a:lnTo>
                    <a:pt x="24304" y="12676"/>
                  </a:lnTo>
                  <a:lnTo>
                    <a:pt x="25997" y="13231"/>
                  </a:lnTo>
                  <a:lnTo>
                    <a:pt x="31247" y="16178"/>
                  </a:lnTo>
                  <a:lnTo>
                    <a:pt x="32000" y="17004"/>
                  </a:lnTo>
                  <a:lnTo>
                    <a:pt x="32248" y="18093"/>
                  </a:lnTo>
                  <a:lnTo>
                    <a:pt x="31991" y="19441"/>
                  </a:lnTo>
                  <a:lnTo>
                    <a:pt x="32210" y="19987"/>
                  </a:lnTo>
                  <a:lnTo>
                    <a:pt x="34262" y="19523"/>
                  </a:lnTo>
                  <a:lnTo>
                    <a:pt x="35898" y="20091"/>
                  </a:lnTo>
                  <a:lnTo>
                    <a:pt x="36714" y="19938"/>
                  </a:lnTo>
                  <a:lnTo>
                    <a:pt x="38748" y="17907"/>
                  </a:lnTo>
                  <a:lnTo>
                    <a:pt x="40152" y="18386"/>
                  </a:lnTo>
                  <a:lnTo>
                    <a:pt x="40998" y="19336"/>
                  </a:lnTo>
                  <a:lnTo>
                    <a:pt x="41261" y="20195"/>
                  </a:lnTo>
                  <a:lnTo>
                    <a:pt x="41386" y="21374"/>
                  </a:lnTo>
                  <a:lnTo>
                    <a:pt x="41028" y="23829"/>
                  </a:lnTo>
                  <a:lnTo>
                    <a:pt x="41121" y="24175"/>
                  </a:lnTo>
                  <a:lnTo>
                    <a:pt x="42546" y="22790"/>
                  </a:lnTo>
                  <a:lnTo>
                    <a:pt x="44976" y="22685"/>
                  </a:lnTo>
                  <a:lnTo>
                    <a:pt x="45289" y="21988"/>
                  </a:lnTo>
                  <a:lnTo>
                    <a:pt x="45362" y="19404"/>
                  </a:lnTo>
                  <a:lnTo>
                    <a:pt x="45165" y="17224"/>
                  </a:lnTo>
                  <a:lnTo>
                    <a:pt x="44896" y="16772"/>
                  </a:lnTo>
                  <a:lnTo>
                    <a:pt x="36911" y="13746"/>
                  </a:lnTo>
                  <a:lnTo>
                    <a:pt x="35522" y="13031"/>
                  </a:lnTo>
                  <a:lnTo>
                    <a:pt x="33782" y="11538"/>
                  </a:lnTo>
                  <a:lnTo>
                    <a:pt x="34134" y="10787"/>
                  </a:lnTo>
                  <a:lnTo>
                    <a:pt x="35690" y="10116"/>
                  </a:lnTo>
                  <a:lnTo>
                    <a:pt x="38036" y="9849"/>
                  </a:lnTo>
                  <a:lnTo>
                    <a:pt x="43479" y="9884"/>
                  </a:lnTo>
                  <a:lnTo>
                    <a:pt x="44031" y="9570"/>
                  </a:lnTo>
                  <a:lnTo>
                    <a:pt x="42976" y="8783"/>
                  </a:lnTo>
                  <a:lnTo>
                    <a:pt x="40456" y="8274"/>
                  </a:lnTo>
                  <a:lnTo>
                    <a:pt x="39867" y="7820"/>
                  </a:lnTo>
                  <a:lnTo>
                    <a:pt x="39568" y="6945"/>
                  </a:lnTo>
                  <a:lnTo>
                    <a:pt x="36581" y="7423"/>
                  </a:lnTo>
                  <a:lnTo>
                    <a:pt x="33249" y="7442"/>
                  </a:lnTo>
                  <a:lnTo>
                    <a:pt x="30045" y="6907"/>
                  </a:lnTo>
                  <a:lnTo>
                    <a:pt x="29979" y="6226"/>
                  </a:lnTo>
                  <a:lnTo>
                    <a:pt x="31244" y="5226"/>
                  </a:lnTo>
                  <a:lnTo>
                    <a:pt x="33861" y="3565"/>
                  </a:lnTo>
                  <a:lnTo>
                    <a:pt x="35080" y="3153"/>
                  </a:lnTo>
                  <a:lnTo>
                    <a:pt x="38739" y="3443"/>
                  </a:lnTo>
                  <a:lnTo>
                    <a:pt x="42375" y="2977"/>
                  </a:lnTo>
                  <a:lnTo>
                    <a:pt x="45320" y="3540"/>
                  </a:lnTo>
                  <a:lnTo>
                    <a:pt x="47656" y="5185"/>
                  </a:lnTo>
                  <a:lnTo>
                    <a:pt x="50979" y="8069"/>
                  </a:lnTo>
                  <a:lnTo>
                    <a:pt x="55473" y="9913"/>
                  </a:lnTo>
                  <a:lnTo>
                    <a:pt x="55884" y="10491"/>
                  </a:lnTo>
                  <a:lnTo>
                    <a:pt x="58275" y="11999"/>
                  </a:lnTo>
                  <a:lnTo>
                    <a:pt x="63028" y="16051"/>
                  </a:lnTo>
                  <a:lnTo>
                    <a:pt x="67857" y="18398"/>
                  </a:lnTo>
                  <a:lnTo>
                    <a:pt x="68081" y="18995"/>
                  </a:lnTo>
                  <a:lnTo>
                    <a:pt x="67287" y="19697"/>
                  </a:lnTo>
                  <a:lnTo>
                    <a:pt x="65430" y="20520"/>
                  </a:lnTo>
                  <a:lnTo>
                    <a:pt x="65855" y="20976"/>
                  </a:lnTo>
                  <a:lnTo>
                    <a:pt x="68280" y="21572"/>
                  </a:lnTo>
                  <a:lnTo>
                    <a:pt x="70027" y="23159"/>
                  </a:lnTo>
                  <a:lnTo>
                    <a:pt x="70145" y="23847"/>
                  </a:lnTo>
                  <a:lnTo>
                    <a:pt x="68565" y="28751"/>
                  </a:lnTo>
                  <a:lnTo>
                    <a:pt x="67726" y="29791"/>
                  </a:lnTo>
                  <a:lnTo>
                    <a:pt x="66758" y="30340"/>
                  </a:lnTo>
                  <a:lnTo>
                    <a:pt x="62295" y="29418"/>
                  </a:lnTo>
                  <a:lnTo>
                    <a:pt x="63359" y="30975"/>
                  </a:lnTo>
                  <a:lnTo>
                    <a:pt x="66545" y="32633"/>
                  </a:lnTo>
                  <a:lnTo>
                    <a:pt x="67266" y="33559"/>
                  </a:lnTo>
                  <a:lnTo>
                    <a:pt x="66791" y="34466"/>
                  </a:lnTo>
                  <a:lnTo>
                    <a:pt x="67139" y="34676"/>
                  </a:lnTo>
                  <a:lnTo>
                    <a:pt x="68305" y="34185"/>
                  </a:lnTo>
                  <a:lnTo>
                    <a:pt x="68789" y="34700"/>
                  </a:lnTo>
                  <a:lnTo>
                    <a:pt x="68588" y="36218"/>
                  </a:lnTo>
                  <a:lnTo>
                    <a:pt x="68091" y="37477"/>
                  </a:lnTo>
                  <a:lnTo>
                    <a:pt x="67298" y="38476"/>
                  </a:lnTo>
                  <a:lnTo>
                    <a:pt x="67526" y="38908"/>
                  </a:lnTo>
                  <a:lnTo>
                    <a:pt x="68773" y="38775"/>
                  </a:lnTo>
                  <a:lnTo>
                    <a:pt x="69943" y="39034"/>
                  </a:lnTo>
                  <a:lnTo>
                    <a:pt x="71769" y="40412"/>
                  </a:lnTo>
                  <a:lnTo>
                    <a:pt x="73251" y="44619"/>
                  </a:lnTo>
                  <a:lnTo>
                    <a:pt x="73987" y="45978"/>
                  </a:lnTo>
                  <a:lnTo>
                    <a:pt x="74517" y="44772"/>
                  </a:lnTo>
                  <a:lnTo>
                    <a:pt x="75183" y="41702"/>
                  </a:lnTo>
                  <a:lnTo>
                    <a:pt x="75809" y="40132"/>
                  </a:lnTo>
                  <a:lnTo>
                    <a:pt x="76394" y="40063"/>
                  </a:lnTo>
                  <a:lnTo>
                    <a:pt x="76899" y="39546"/>
                  </a:lnTo>
                  <a:lnTo>
                    <a:pt x="77322" y="38581"/>
                  </a:lnTo>
                  <a:lnTo>
                    <a:pt x="78187" y="35174"/>
                  </a:lnTo>
                  <a:lnTo>
                    <a:pt x="81181" y="32587"/>
                  </a:lnTo>
                  <a:lnTo>
                    <a:pt x="82610" y="31794"/>
                  </a:lnTo>
                  <a:lnTo>
                    <a:pt x="83954" y="31618"/>
                  </a:lnTo>
                  <a:lnTo>
                    <a:pt x="84607" y="31941"/>
                  </a:lnTo>
                  <a:lnTo>
                    <a:pt x="86846" y="34654"/>
                  </a:lnTo>
                  <a:lnTo>
                    <a:pt x="88209" y="35110"/>
                  </a:lnTo>
                  <a:lnTo>
                    <a:pt x="88909" y="34961"/>
                  </a:lnTo>
                  <a:lnTo>
                    <a:pt x="89867" y="33121"/>
                  </a:lnTo>
                  <a:lnTo>
                    <a:pt x="91081" y="29583"/>
                  </a:lnTo>
                  <a:lnTo>
                    <a:pt x="91358" y="25625"/>
                  </a:lnTo>
                  <a:lnTo>
                    <a:pt x="90698" y="21246"/>
                  </a:lnTo>
                  <a:lnTo>
                    <a:pt x="91082" y="18118"/>
                  </a:lnTo>
                  <a:lnTo>
                    <a:pt x="92507" y="16246"/>
                  </a:lnTo>
                  <a:lnTo>
                    <a:pt x="94378" y="15670"/>
                  </a:lnTo>
                  <a:lnTo>
                    <a:pt x="96696" y="16389"/>
                  </a:lnTo>
                  <a:lnTo>
                    <a:pt x="98390" y="17531"/>
                  </a:lnTo>
                  <a:lnTo>
                    <a:pt x="101736" y="21888"/>
                  </a:lnTo>
                  <a:lnTo>
                    <a:pt x="104437" y="24164"/>
                  </a:lnTo>
                  <a:lnTo>
                    <a:pt x="106754" y="26607"/>
                  </a:lnTo>
                  <a:lnTo>
                    <a:pt x="107954" y="27398"/>
                  </a:lnTo>
                  <a:lnTo>
                    <a:pt x="110251" y="27799"/>
                  </a:lnTo>
                  <a:lnTo>
                    <a:pt x="110867" y="27642"/>
                  </a:lnTo>
                  <a:lnTo>
                    <a:pt x="111277" y="27078"/>
                  </a:lnTo>
                  <a:lnTo>
                    <a:pt x="111485" y="26109"/>
                  </a:lnTo>
                  <a:lnTo>
                    <a:pt x="110990" y="19886"/>
                  </a:lnTo>
                  <a:lnTo>
                    <a:pt x="111636" y="17944"/>
                  </a:lnTo>
                  <a:lnTo>
                    <a:pt x="112611" y="16564"/>
                  </a:lnTo>
                  <a:lnTo>
                    <a:pt x="116760" y="15750"/>
                  </a:lnTo>
                  <a:lnTo>
                    <a:pt x="119018" y="14884"/>
                  </a:lnTo>
                  <a:lnTo>
                    <a:pt x="121217" y="13461"/>
                  </a:lnTo>
                  <a:lnTo>
                    <a:pt x="123040" y="12698"/>
                  </a:lnTo>
                  <a:lnTo>
                    <a:pt x="124487" y="12595"/>
                  </a:lnTo>
                  <a:lnTo>
                    <a:pt x="125998" y="13151"/>
                  </a:lnTo>
                  <a:lnTo>
                    <a:pt x="127576" y="14363"/>
                  </a:lnTo>
                  <a:lnTo>
                    <a:pt x="130036" y="16724"/>
                  </a:lnTo>
                  <a:lnTo>
                    <a:pt x="133131" y="20630"/>
                  </a:lnTo>
                  <a:lnTo>
                    <a:pt x="137067" y="23546"/>
                  </a:lnTo>
                  <a:lnTo>
                    <a:pt x="139130" y="28165"/>
                  </a:lnTo>
                  <a:lnTo>
                    <a:pt x="139571" y="28945"/>
                  </a:lnTo>
                  <a:lnTo>
                    <a:pt x="140052" y="29036"/>
                  </a:lnTo>
                  <a:lnTo>
                    <a:pt x="140573" y="28437"/>
                  </a:lnTo>
                  <a:lnTo>
                    <a:pt x="140906" y="27585"/>
                  </a:lnTo>
                  <a:lnTo>
                    <a:pt x="141001" y="25532"/>
                  </a:lnTo>
                  <a:lnTo>
                    <a:pt x="139899" y="22804"/>
                  </a:lnTo>
                  <a:lnTo>
                    <a:pt x="136218" y="15924"/>
                  </a:lnTo>
                  <a:lnTo>
                    <a:pt x="136155" y="14618"/>
                  </a:lnTo>
                  <a:lnTo>
                    <a:pt x="136620" y="13568"/>
                  </a:lnTo>
                  <a:lnTo>
                    <a:pt x="139214" y="13454"/>
                  </a:lnTo>
                  <a:lnTo>
                    <a:pt x="145248" y="14086"/>
                  </a:lnTo>
                  <a:lnTo>
                    <a:pt x="147175" y="15156"/>
                  </a:lnTo>
                  <a:lnTo>
                    <a:pt x="151277" y="19365"/>
                  </a:lnTo>
                  <a:lnTo>
                    <a:pt x="152429" y="20380"/>
                  </a:lnTo>
                  <a:lnTo>
                    <a:pt x="153132" y="20636"/>
                  </a:lnTo>
                  <a:lnTo>
                    <a:pt x="153384" y="20127"/>
                  </a:lnTo>
                  <a:lnTo>
                    <a:pt x="154976" y="19347"/>
                  </a:lnTo>
                  <a:lnTo>
                    <a:pt x="156077" y="18400"/>
                  </a:lnTo>
                  <a:lnTo>
                    <a:pt x="157912" y="16081"/>
                  </a:lnTo>
                  <a:lnTo>
                    <a:pt x="161920" y="11902"/>
                  </a:lnTo>
                  <a:lnTo>
                    <a:pt x="162752" y="11778"/>
                  </a:lnTo>
                  <a:lnTo>
                    <a:pt x="163922" y="12108"/>
                  </a:lnTo>
                  <a:lnTo>
                    <a:pt x="165977" y="13203"/>
                  </a:lnTo>
                  <a:lnTo>
                    <a:pt x="166952" y="14080"/>
                  </a:lnTo>
                  <a:lnTo>
                    <a:pt x="168885" y="14748"/>
                  </a:lnTo>
                  <a:lnTo>
                    <a:pt x="170866" y="14514"/>
                  </a:lnTo>
                  <a:lnTo>
                    <a:pt x="173601" y="13049"/>
                  </a:lnTo>
                  <a:lnTo>
                    <a:pt x="176691" y="12155"/>
                  </a:lnTo>
                  <a:lnTo>
                    <a:pt x="177750" y="10076"/>
                  </a:lnTo>
                  <a:lnTo>
                    <a:pt x="177950" y="9127"/>
                  </a:lnTo>
                  <a:lnTo>
                    <a:pt x="175460" y="2928"/>
                  </a:lnTo>
                  <a:lnTo>
                    <a:pt x="176506" y="1658"/>
                  </a:lnTo>
                  <a:lnTo>
                    <a:pt x="181902" y="117"/>
                  </a:lnTo>
                  <a:lnTo>
                    <a:pt x="186622" y="0"/>
                  </a:lnTo>
                  <a:lnTo>
                    <a:pt x="187738" y="422"/>
                  </a:lnTo>
                  <a:lnTo>
                    <a:pt x="190712" y="3439"/>
                  </a:lnTo>
                  <a:lnTo>
                    <a:pt x="192727" y="4956"/>
                  </a:lnTo>
                  <a:lnTo>
                    <a:pt x="193744" y="6176"/>
                  </a:lnTo>
                  <a:lnTo>
                    <a:pt x="193987" y="8856"/>
                  </a:lnTo>
                  <a:lnTo>
                    <a:pt x="195213" y="9847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35" name="ee4p_IT_1_37365">
              <a:extLst>
                <a:ext uri="{FF2B5EF4-FFF2-40B4-BE49-F238E27FC236}">
                  <a16:creationId xmlns:a16="http://schemas.microsoft.com/office/drawing/2014/main" id="{F89879DF-E16D-06F5-C0B2-87B3B7BED470}"/>
                </a:ext>
              </a:extLst>
            </p:cNvPr>
            <p:cNvSpPr>
              <a:spLocks noChangeAspect="1"/>
            </p:cNvSpPr>
            <p:nvPr>
              <p:custDataLst>
                <p:tags r:id="rId289"/>
              </p:custDataLst>
            </p:nvPr>
          </p:nvSpPr>
          <p:spPr>
            <a:xfrm>
              <a:off x="6741877" y="3372969"/>
              <a:ext cx="206988" cy="207252"/>
            </a:xfrm>
            <a:custGeom>
              <a:avLst/>
              <a:gdLst>
                <a:gd name="connsiteX0" fmla="*/ 83300 w 164820"/>
                <a:gd name="connsiteY0" fmla="*/ 156716 h 160656"/>
                <a:gd name="connsiteX1" fmla="*/ 84985 w 164820"/>
                <a:gd name="connsiteY1" fmla="*/ 157277 h 160656"/>
                <a:gd name="connsiteX2" fmla="*/ 85512 w 164820"/>
                <a:gd name="connsiteY2" fmla="*/ 158410 h 160656"/>
                <a:gd name="connsiteX3" fmla="*/ 85583 w 164820"/>
                <a:gd name="connsiteY3" fmla="*/ 158900 h 160656"/>
                <a:gd name="connsiteX4" fmla="*/ 84523 w 164820"/>
                <a:gd name="connsiteY4" fmla="*/ 159180 h 160656"/>
                <a:gd name="connsiteX5" fmla="*/ 83137 w 164820"/>
                <a:gd name="connsiteY5" fmla="*/ 158308 h 160656"/>
                <a:gd name="connsiteX6" fmla="*/ 83044 w 164820"/>
                <a:gd name="connsiteY6" fmla="*/ 157083 h 160656"/>
                <a:gd name="connsiteX7" fmla="*/ 163353 w 164820"/>
                <a:gd name="connsiteY7" fmla="*/ 119599 h 160656"/>
                <a:gd name="connsiteX8" fmla="*/ 164820 w 164820"/>
                <a:gd name="connsiteY8" fmla="*/ 120327 h 160656"/>
                <a:gd name="connsiteX9" fmla="*/ 163535 w 164820"/>
                <a:gd name="connsiteY9" fmla="*/ 121541 h 160656"/>
                <a:gd name="connsiteX10" fmla="*/ 162038 w 164820"/>
                <a:gd name="connsiteY10" fmla="*/ 124459 h 160656"/>
                <a:gd name="connsiteX11" fmla="*/ 161304 w 164820"/>
                <a:gd name="connsiteY11" fmla="*/ 125580 h 160656"/>
                <a:gd name="connsiteX12" fmla="*/ 155970 w 164820"/>
                <a:gd name="connsiteY12" fmla="*/ 132706 h 160656"/>
                <a:gd name="connsiteX13" fmla="*/ 155359 w 164820"/>
                <a:gd name="connsiteY13" fmla="*/ 134350 h 160656"/>
                <a:gd name="connsiteX14" fmla="*/ 154984 w 164820"/>
                <a:gd name="connsiteY14" fmla="*/ 136135 h 160656"/>
                <a:gd name="connsiteX15" fmla="*/ 154431 w 164820"/>
                <a:gd name="connsiteY15" fmla="*/ 137699 h 160656"/>
                <a:gd name="connsiteX16" fmla="*/ 153683 w 164820"/>
                <a:gd name="connsiteY16" fmla="*/ 139172 h 160656"/>
                <a:gd name="connsiteX17" fmla="*/ 152986 w 164820"/>
                <a:gd name="connsiteY17" fmla="*/ 141044 h 160656"/>
                <a:gd name="connsiteX18" fmla="*/ 153122 w 164820"/>
                <a:gd name="connsiteY18" fmla="*/ 143164 h 160656"/>
                <a:gd name="connsiteX19" fmla="*/ 153373 w 164820"/>
                <a:gd name="connsiteY19" fmla="*/ 144204 h 160656"/>
                <a:gd name="connsiteX20" fmla="*/ 154014 w 164820"/>
                <a:gd name="connsiteY20" fmla="*/ 144885 h 160656"/>
                <a:gd name="connsiteX21" fmla="*/ 155068 w 164820"/>
                <a:gd name="connsiteY21" fmla="*/ 145526 h 160656"/>
                <a:gd name="connsiteX22" fmla="*/ 155877 w 164820"/>
                <a:gd name="connsiteY22" fmla="*/ 146508 h 160656"/>
                <a:gd name="connsiteX23" fmla="*/ 154636 w 164820"/>
                <a:gd name="connsiteY23" fmla="*/ 147403 h 160656"/>
                <a:gd name="connsiteX24" fmla="*/ 156005 w 164820"/>
                <a:gd name="connsiteY24" fmla="*/ 149197 h 160656"/>
                <a:gd name="connsiteX25" fmla="*/ 157169 w 164820"/>
                <a:gd name="connsiteY25" fmla="*/ 150262 h 160656"/>
                <a:gd name="connsiteX26" fmla="*/ 157324 w 164820"/>
                <a:gd name="connsiteY26" fmla="*/ 151324 h 160656"/>
                <a:gd name="connsiteX27" fmla="*/ 157298 w 164820"/>
                <a:gd name="connsiteY27" fmla="*/ 152389 h 160656"/>
                <a:gd name="connsiteX28" fmla="*/ 154880 w 164820"/>
                <a:gd name="connsiteY28" fmla="*/ 154385 h 160656"/>
                <a:gd name="connsiteX29" fmla="*/ 153934 w 164820"/>
                <a:gd name="connsiteY29" fmla="*/ 155483 h 160656"/>
                <a:gd name="connsiteX30" fmla="*/ 153347 w 164820"/>
                <a:gd name="connsiteY30" fmla="*/ 156812 h 160656"/>
                <a:gd name="connsiteX31" fmla="*/ 153092 w 164820"/>
                <a:gd name="connsiteY31" fmla="*/ 158184 h 160656"/>
                <a:gd name="connsiteX32" fmla="*/ 153357 w 164820"/>
                <a:gd name="connsiteY32" fmla="*/ 159422 h 160656"/>
                <a:gd name="connsiteX33" fmla="*/ 153275 w 164820"/>
                <a:gd name="connsiteY33" fmla="*/ 160656 h 160656"/>
                <a:gd name="connsiteX34" fmla="*/ 150840 w 164820"/>
                <a:gd name="connsiteY34" fmla="*/ 160502 h 160656"/>
                <a:gd name="connsiteX35" fmla="*/ 148346 w 164820"/>
                <a:gd name="connsiteY35" fmla="*/ 159750 h 160656"/>
                <a:gd name="connsiteX36" fmla="*/ 145832 w 164820"/>
                <a:gd name="connsiteY36" fmla="*/ 160083 h 160656"/>
                <a:gd name="connsiteX37" fmla="*/ 142258 w 164820"/>
                <a:gd name="connsiteY37" fmla="*/ 158657 h 160656"/>
                <a:gd name="connsiteX38" fmla="*/ 140956 w 164820"/>
                <a:gd name="connsiteY38" fmla="*/ 158399 h 160656"/>
                <a:gd name="connsiteX39" fmla="*/ 139771 w 164820"/>
                <a:gd name="connsiteY39" fmla="*/ 157843 h 160656"/>
                <a:gd name="connsiteX40" fmla="*/ 136795 w 164820"/>
                <a:gd name="connsiteY40" fmla="*/ 153418 h 160656"/>
                <a:gd name="connsiteX41" fmla="*/ 134402 w 164820"/>
                <a:gd name="connsiteY41" fmla="*/ 151546 h 160656"/>
                <a:gd name="connsiteX42" fmla="*/ 131835 w 164820"/>
                <a:gd name="connsiteY42" fmla="*/ 150090 h 160656"/>
                <a:gd name="connsiteX43" fmla="*/ 129211 w 164820"/>
                <a:gd name="connsiteY43" fmla="*/ 150001 h 160656"/>
                <a:gd name="connsiteX44" fmla="*/ 126583 w 164820"/>
                <a:gd name="connsiteY44" fmla="*/ 150167 h 160656"/>
                <a:gd name="connsiteX45" fmla="*/ 124264 w 164820"/>
                <a:gd name="connsiteY45" fmla="*/ 149269 h 160656"/>
                <a:gd name="connsiteX46" fmla="*/ 119544 w 164820"/>
                <a:gd name="connsiteY46" fmla="*/ 146257 h 160656"/>
                <a:gd name="connsiteX47" fmla="*/ 114542 w 164820"/>
                <a:gd name="connsiteY47" fmla="*/ 143846 h 160656"/>
                <a:gd name="connsiteX48" fmla="*/ 112420 w 164820"/>
                <a:gd name="connsiteY48" fmla="*/ 142274 h 160656"/>
                <a:gd name="connsiteX49" fmla="*/ 111450 w 164820"/>
                <a:gd name="connsiteY49" fmla="*/ 141217 h 160656"/>
                <a:gd name="connsiteX50" fmla="*/ 110319 w 164820"/>
                <a:gd name="connsiteY50" fmla="*/ 140515 h 160656"/>
                <a:gd name="connsiteX51" fmla="*/ 107453 w 164820"/>
                <a:gd name="connsiteY51" fmla="*/ 139819 h 160656"/>
                <a:gd name="connsiteX52" fmla="*/ 104884 w 164820"/>
                <a:gd name="connsiteY52" fmla="*/ 138186 h 160656"/>
                <a:gd name="connsiteX53" fmla="*/ 103713 w 164820"/>
                <a:gd name="connsiteY53" fmla="*/ 138066 h 160656"/>
                <a:gd name="connsiteX54" fmla="*/ 101195 w 164820"/>
                <a:gd name="connsiteY54" fmla="*/ 138265 h 160656"/>
                <a:gd name="connsiteX55" fmla="*/ 99906 w 164820"/>
                <a:gd name="connsiteY55" fmla="*/ 138152 h 160656"/>
                <a:gd name="connsiteX56" fmla="*/ 98606 w 164820"/>
                <a:gd name="connsiteY56" fmla="*/ 137577 h 160656"/>
                <a:gd name="connsiteX57" fmla="*/ 96097 w 164820"/>
                <a:gd name="connsiteY57" fmla="*/ 135655 h 160656"/>
                <a:gd name="connsiteX58" fmla="*/ 94497 w 164820"/>
                <a:gd name="connsiteY58" fmla="*/ 132988 h 160656"/>
                <a:gd name="connsiteX59" fmla="*/ 94080 w 164820"/>
                <a:gd name="connsiteY59" fmla="*/ 131811 h 160656"/>
                <a:gd name="connsiteX60" fmla="*/ 95214 w 164820"/>
                <a:gd name="connsiteY60" fmla="*/ 128764 h 160656"/>
                <a:gd name="connsiteX61" fmla="*/ 96559 w 164820"/>
                <a:gd name="connsiteY61" fmla="*/ 125837 h 160656"/>
                <a:gd name="connsiteX62" fmla="*/ 97753 w 164820"/>
                <a:gd name="connsiteY62" fmla="*/ 125015 h 160656"/>
                <a:gd name="connsiteX63" fmla="*/ 99140 w 164820"/>
                <a:gd name="connsiteY63" fmla="*/ 124426 h 160656"/>
                <a:gd name="connsiteX64" fmla="*/ 99980 w 164820"/>
                <a:gd name="connsiteY64" fmla="*/ 123559 h 160656"/>
                <a:gd name="connsiteX65" fmla="*/ 100688 w 164820"/>
                <a:gd name="connsiteY65" fmla="*/ 122497 h 160656"/>
                <a:gd name="connsiteX66" fmla="*/ 103260 w 164820"/>
                <a:gd name="connsiteY66" fmla="*/ 125560 h 160656"/>
                <a:gd name="connsiteX67" fmla="*/ 104411 w 164820"/>
                <a:gd name="connsiteY67" fmla="*/ 126300 h 160656"/>
                <a:gd name="connsiteX68" fmla="*/ 105577 w 164820"/>
                <a:gd name="connsiteY68" fmla="*/ 126135 h 160656"/>
                <a:gd name="connsiteX69" fmla="*/ 107645 w 164820"/>
                <a:gd name="connsiteY69" fmla="*/ 125038 h 160656"/>
                <a:gd name="connsiteX70" fmla="*/ 107818 w 164820"/>
                <a:gd name="connsiteY70" fmla="*/ 123836 h 160656"/>
                <a:gd name="connsiteX71" fmla="*/ 110098 w 164820"/>
                <a:gd name="connsiteY71" fmla="*/ 122311 h 160656"/>
                <a:gd name="connsiteX72" fmla="*/ 112999 w 164820"/>
                <a:gd name="connsiteY72" fmla="*/ 122282 h 160656"/>
                <a:gd name="connsiteX73" fmla="*/ 114337 w 164820"/>
                <a:gd name="connsiteY73" fmla="*/ 122562 h 160656"/>
                <a:gd name="connsiteX74" fmla="*/ 115041 w 164820"/>
                <a:gd name="connsiteY74" fmla="*/ 123941 h 160656"/>
                <a:gd name="connsiteX75" fmla="*/ 116147 w 164820"/>
                <a:gd name="connsiteY75" fmla="*/ 124366 h 160656"/>
                <a:gd name="connsiteX76" fmla="*/ 117425 w 164820"/>
                <a:gd name="connsiteY76" fmla="*/ 124549 h 160656"/>
                <a:gd name="connsiteX77" fmla="*/ 121632 w 164820"/>
                <a:gd name="connsiteY77" fmla="*/ 127175 h 160656"/>
                <a:gd name="connsiteX78" fmla="*/ 122811 w 164820"/>
                <a:gd name="connsiteY78" fmla="*/ 127603 h 160656"/>
                <a:gd name="connsiteX79" fmla="*/ 124005 w 164820"/>
                <a:gd name="connsiteY79" fmla="*/ 127676 h 160656"/>
                <a:gd name="connsiteX80" fmla="*/ 127272 w 164820"/>
                <a:gd name="connsiteY80" fmla="*/ 126574 h 160656"/>
                <a:gd name="connsiteX81" fmla="*/ 129779 w 164820"/>
                <a:gd name="connsiteY81" fmla="*/ 126155 h 160656"/>
                <a:gd name="connsiteX82" fmla="*/ 135035 w 164820"/>
                <a:gd name="connsiteY82" fmla="*/ 126762 h 160656"/>
                <a:gd name="connsiteX83" fmla="*/ 137877 w 164820"/>
                <a:gd name="connsiteY83" fmla="*/ 126102 h 160656"/>
                <a:gd name="connsiteX84" fmla="*/ 139861 w 164820"/>
                <a:gd name="connsiteY84" fmla="*/ 126027 h 160656"/>
                <a:gd name="connsiteX85" fmla="*/ 142753 w 164820"/>
                <a:gd name="connsiteY85" fmla="*/ 125012 h 160656"/>
                <a:gd name="connsiteX86" fmla="*/ 144975 w 164820"/>
                <a:gd name="connsiteY86" fmla="*/ 123326 h 160656"/>
                <a:gd name="connsiteX87" fmla="*/ 146134 w 164820"/>
                <a:gd name="connsiteY87" fmla="*/ 122910 h 160656"/>
                <a:gd name="connsiteX88" fmla="*/ 147378 w 164820"/>
                <a:gd name="connsiteY88" fmla="*/ 122790 h 160656"/>
                <a:gd name="connsiteX89" fmla="*/ 150386 w 164820"/>
                <a:gd name="connsiteY89" fmla="*/ 122895 h 160656"/>
                <a:gd name="connsiteX90" fmla="*/ 153411 w 164820"/>
                <a:gd name="connsiteY90" fmla="*/ 123276 h 160656"/>
                <a:gd name="connsiteX91" fmla="*/ 154679 w 164820"/>
                <a:gd name="connsiteY91" fmla="*/ 122882 h 160656"/>
                <a:gd name="connsiteX92" fmla="*/ 155739 w 164820"/>
                <a:gd name="connsiteY92" fmla="*/ 121779 h 160656"/>
                <a:gd name="connsiteX93" fmla="*/ 156968 w 164820"/>
                <a:gd name="connsiteY93" fmla="*/ 121282 h 160656"/>
                <a:gd name="connsiteX94" fmla="*/ 158320 w 164820"/>
                <a:gd name="connsiteY94" fmla="*/ 121617 h 160656"/>
                <a:gd name="connsiteX95" fmla="*/ 161813 w 164820"/>
                <a:gd name="connsiteY95" fmla="*/ 119728 h 160656"/>
                <a:gd name="connsiteX96" fmla="*/ 4111 w 164820"/>
                <a:gd name="connsiteY96" fmla="*/ 98453 h 160656"/>
                <a:gd name="connsiteX97" fmla="*/ 5744 w 164820"/>
                <a:gd name="connsiteY97" fmla="*/ 99107 h 160656"/>
                <a:gd name="connsiteX98" fmla="*/ 6590 w 164820"/>
                <a:gd name="connsiteY98" fmla="*/ 99705 h 160656"/>
                <a:gd name="connsiteX99" fmla="*/ 5321 w 164820"/>
                <a:gd name="connsiteY99" fmla="*/ 102261 h 160656"/>
                <a:gd name="connsiteX100" fmla="*/ 3982 w 164820"/>
                <a:gd name="connsiteY100" fmla="*/ 100451 h 160656"/>
                <a:gd name="connsiteX101" fmla="*/ 3930 w 164820"/>
                <a:gd name="connsiteY101" fmla="*/ 98896 h 160656"/>
                <a:gd name="connsiteX102" fmla="*/ 125825 w 164820"/>
                <a:gd name="connsiteY102" fmla="*/ 55558 h 160656"/>
                <a:gd name="connsiteX103" fmla="*/ 127836 w 164820"/>
                <a:gd name="connsiteY103" fmla="*/ 56147 h 160656"/>
                <a:gd name="connsiteX104" fmla="*/ 127808 w 164820"/>
                <a:gd name="connsiteY104" fmla="*/ 56704 h 160656"/>
                <a:gd name="connsiteX105" fmla="*/ 127309 w 164820"/>
                <a:gd name="connsiteY105" fmla="*/ 57033 h 160656"/>
                <a:gd name="connsiteX106" fmla="*/ 126322 w 164820"/>
                <a:gd name="connsiteY106" fmla="*/ 57260 h 160656"/>
                <a:gd name="connsiteX107" fmla="*/ 125747 w 164820"/>
                <a:gd name="connsiteY107" fmla="*/ 56951 h 160656"/>
                <a:gd name="connsiteX108" fmla="*/ 125434 w 164820"/>
                <a:gd name="connsiteY108" fmla="*/ 56549 h 160656"/>
                <a:gd name="connsiteX109" fmla="*/ 3081 w 164820"/>
                <a:gd name="connsiteY109" fmla="*/ 46092 h 160656"/>
                <a:gd name="connsiteX110" fmla="*/ 3602 w 164820"/>
                <a:gd name="connsiteY110" fmla="*/ 46625 h 160656"/>
                <a:gd name="connsiteX111" fmla="*/ 3053 w 164820"/>
                <a:gd name="connsiteY111" fmla="*/ 47648 h 160656"/>
                <a:gd name="connsiteX112" fmla="*/ 2326 w 164820"/>
                <a:gd name="connsiteY112" fmla="*/ 48251 h 160656"/>
                <a:gd name="connsiteX113" fmla="*/ 1589 w 164820"/>
                <a:gd name="connsiteY113" fmla="*/ 49454 h 160656"/>
                <a:gd name="connsiteX114" fmla="*/ 549 w 164820"/>
                <a:gd name="connsiteY114" fmla="*/ 49366 h 160656"/>
                <a:gd name="connsiteX115" fmla="*/ 955 w 164820"/>
                <a:gd name="connsiteY115" fmla="*/ 48476 h 160656"/>
                <a:gd name="connsiteX116" fmla="*/ 1913 w 164820"/>
                <a:gd name="connsiteY116" fmla="*/ 46691 h 160656"/>
                <a:gd name="connsiteX117" fmla="*/ 23164 w 164820"/>
                <a:gd name="connsiteY117" fmla="*/ 42529 h 160656"/>
                <a:gd name="connsiteX118" fmla="*/ 24371 w 164820"/>
                <a:gd name="connsiteY118" fmla="*/ 43990 h 160656"/>
                <a:gd name="connsiteX119" fmla="*/ 25869 w 164820"/>
                <a:gd name="connsiteY119" fmla="*/ 44142 h 160656"/>
                <a:gd name="connsiteX120" fmla="*/ 28178 w 164820"/>
                <a:gd name="connsiteY120" fmla="*/ 45347 h 160656"/>
                <a:gd name="connsiteX121" fmla="*/ 29174 w 164820"/>
                <a:gd name="connsiteY121" fmla="*/ 46500 h 160656"/>
                <a:gd name="connsiteX122" fmla="*/ 30026 w 164820"/>
                <a:gd name="connsiteY122" fmla="*/ 47888 h 160656"/>
                <a:gd name="connsiteX123" fmla="*/ 30842 w 164820"/>
                <a:gd name="connsiteY123" fmla="*/ 48496 h 160656"/>
                <a:gd name="connsiteX124" fmla="*/ 31719 w 164820"/>
                <a:gd name="connsiteY124" fmla="*/ 48845 h 160656"/>
                <a:gd name="connsiteX125" fmla="*/ 31849 w 164820"/>
                <a:gd name="connsiteY125" fmla="*/ 49171 h 160656"/>
                <a:gd name="connsiteX126" fmla="*/ 31154 w 164820"/>
                <a:gd name="connsiteY126" fmla="*/ 49497 h 160656"/>
                <a:gd name="connsiteX127" fmla="*/ 30357 w 164820"/>
                <a:gd name="connsiteY127" fmla="*/ 51084 h 160656"/>
                <a:gd name="connsiteX128" fmla="*/ 30806 w 164820"/>
                <a:gd name="connsiteY128" fmla="*/ 51541 h 160656"/>
                <a:gd name="connsiteX129" fmla="*/ 32088 w 164820"/>
                <a:gd name="connsiteY129" fmla="*/ 52401 h 160656"/>
                <a:gd name="connsiteX130" fmla="*/ 33194 w 164820"/>
                <a:gd name="connsiteY130" fmla="*/ 54080 h 160656"/>
                <a:gd name="connsiteX131" fmla="*/ 35677 w 164820"/>
                <a:gd name="connsiteY131" fmla="*/ 60951 h 160656"/>
                <a:gd name="connsiteX132" fmla="*/ 35919 w 164820"/>
                <a:gd name="connsiteY132" fmla="*/ 62435 h 160656"/>
                <a:gd name="connsiteX133" fmla="*/ 35423 w 164820"/>
                <a:gd name="connsiteY133" fmla="*/ 63955 h 160656"/>
                <a:gd name="connsiteX134" fmla="*/ 34790 w 164820"/>
                <a:gd name="connsiteY134" fmla="*/ 65033 h 160656"/>
                <a:gd name="connsiteX135" fmla="*/ 32330 w 164820"/>
                <a:gd name="connsiteY135" fmla="*/ 68482 h 160656"/>
                <a:gd name="connsiteX136" fmla="*/ 32695 w 164820"/>
                <a:gd name="connsiteY136" fmla="*/ 71334 h 160656"/>
                <a:gd name="connsiteX137" fmla="*/ 33609 w 164820"/>
                <a:gd name="connsiteY137" fmla="*/ 73095 h 160656"/>
                <a:gd name="connsiteX138" fmla="*/ 33740 w 164820"/>
                <a:gd name="connsiteY138" fmla="*/ 75044 h 160656"/>
                <a:gd name="connsiteX139" fmla="*/ 33283 w 164820"/>
                <a:gd name="connsiteY139" fmla="*/ 77460 h 160656"/>
                <a:gd name="connsiteX140" fmla="*/ 31756 w 164820"/>
                <a:gd name="connsiteY140" fmla="*/ 92276 h 160656"/>
                <a:gd name="connsiteX141" fmla="*/ 31018 w 164820"/>
                <a:gd name="connsiteY141" fmla="*/ 94889 h 160656"/>
                <a:gd name="connsiteX142" fmla="*/ 30551 w 164820"/>
                <a:gd name="connsiteY142" fmla="*/ 97156 h 160656"/>
                <a:gd name="connsiteX143" fmla="*/ 28867 w 164820"/>
                <a:gd name="connsiteY143" fmla="*/ 97841 h 160656"/>
                <a:gd name="connsiteX144" fmla="*/ 26694 w 164820"/>
                <a:gd name="connsiteY144" fmla="*/ 97117 h 160656"/>
                <a:gd name="connsiteX145" fmla="*/ 23954 w 164820"/>
                <a:gd name="connsiteY145" fmla="*/ 95841 h 160656"/>
                <a:gd name="connsiteX146" fmla="*/ 22689 w 164820"/>
                <a:gd name="connsiteY146" fmla="*/ 95918 h 160656"/>
                <a:gd name="connsiteX147" fmla="*/ 21415 w 164820"/>
                <a:gd name="connsiteY147" fmla="*/ 96354 h 160656"/>
                <a:gd name="connsiteX148" fmla="*/ 20363 w 164820"/>
                <a:gd name="connsiteY148" fmla="*/ 95984 h 160656"/>
                <a:gd name="connsiteX149" fmla="*/ 19359 w 164820"/>
                <a:gd name="connsiteY149" fmla="*/ 95262 h 160656"/>
                <a:gd name="connsiteX150" fmla="*/ 18614 w 164820"/>
                <a:gd name="connsiteY150" fmla="*/ 100332 h 160656"/>
                <a:gd name="connsiteX151" fmla="*/ 17375 w 164820"/>
                <a:gd name="connsiteY151" fmla="*/ 102389 h 160656"/>
                <a:gd name="connsiteX152" fmla="*/ 15489 w 164820"/>
                <a:gd name="connsiteY152" fmla="*/ 103702 h 160656"/>
                <a:gd name="connsiteX153" fmla="*/ 13716 w 164820"/>
                <a:gd name="connsiteY153" fmla="*/ 103785 h 160656"/>
                <a:gd name="connsiteX154" fmla="*/ 11890 w 164820"/>
                <a:gd name="connsiteY154" fmla="*/ 103345 h 160656"/>
                <a:gd name="connsiteX155" fmla="*/ 10341 w 164820"/>
                <a:gd name="connsiteY155" fmla="*/ 103349 h 160656"/>
                <a:gd name="connsiteX156" fmla="*/ 9167 w 164820"/>
                <a:gd name="connsiteY156" fmla="*/ 102373 h 160656"/>
                <a:gd name="connsiteX157" fmla="*/ 8236 w 164820"/>
                <a:gd name="connsiteY157" fmla="*/ 100667 h 160656"/>
                <a:gd name="connsiteX158" fmla="*/ 6752 w 164820"/>
                <a:gd name="connsiteY158" fmla="*/ 98593 h 160656"/>
                <a:gd name="connsiteX159" fmla="*/ 5247 w 164820"/>
                <a:gd name="connsiteY159" fmla="*/ 96128 h 160656"/>
                <a:gd name="connsiteX160" fmla="*/ 5083 w 164820"/>
                <a:gd name="connsiteY160" fmla="*/ 93898 h 160656"/>
                <a:gd name="connsiteX161" fmla="*/ 4826 w 164820"/>
                <a:gd name="connsiteY161" fmla="*/ 88975 h 160656"/>
                <a:gd name="connsiteX162" fmla="*/ 5258 w 164820"/>
                <a:gd name="connsiteY162" fmla="*/ 87899 h 160656"/>
                <a:gd name="connsiteX163" fmla="*/ 5887 w 164820"/>
                <a:gd name="connsiteY163" fmla="*/ 86867 h 160656"/>
                <a:gd name="connsiteX164" fmla="*/ 6195 w 164820"/>
                <a:gd name="connsiteY164" fmla="*/ 84661 h 160656"/>
                <a:gd name="connsiteX165" fmla="*/ 5977 w 164820"/>
                <a:gd name="connsiteY165" fmla="*/ 82737 h 160656"/>
                <a:gd name="connsiteX166" fmla="*/ 6418 w 164820"/>
                <a:gd name="connsiteY166" fmla="*/ 82050 h 160656"/>
                <a:gd name="connsiteX167" fmla="*/ 7295 w 164820"/>
                <a:gd name="connsiteY167" fmla="*/ 82737 h 160656"/>
                <a:gd name="connsiteX168" fmla="*/ 7953 w 164820"/>
                <a:gd name="connsiteY168" fmla="*/ 82479 h 160656"/>
                <a:gd name="connsiteX169" fmla="*/ 7912 w 164820"/>
                <a:gd name="connsiteY169" fmla="*/ 81488 h 160656"/>
                <a:gd name="connsiteX170" fmla="*/ 8113 w 164820"/>
                <a:gd name="connsiteY170" fmla="*/ 79678 h 160656"/>
                <a:gd name="connsiteX171" fmla="*/ 6966 w 164820"/>
                <a:gd name="connsiteY171" fmla="*/ 78161 h 160656"/>
                <a:gd name="connsiteX172" fmla="*/ 5018 w 164820"/>
                <a:gd name="connsiteY172" fmla="*/ 77646 h 160656"/>
                <a:gd name="connsiteX173" fmla="*/ 4830 w 164820"/>
                <a:gd name="connsiteY173" fmla="*/ 76058 h 160656"/>
                <a:gd name="connsiteX174" fmla="*/ 5036 w 164820"/>
                <a:gd name="connsiteY174" fmla="*/ 74507 h 160656"/>
                <a:gd name="connsiteX175" fmla="*/ 6064 w 164820"/>
                <a:gd name="connsiteY175" fmla="*/ 73465 h 160656"/>
                <a:gd name="connsiteX176" fmla="*/ 6411 w 164820"/>
                <a:gd name="connsiteY176" fmla="*/ 72079 h 160656"/>
                <a:gd name="connsiteX177" fmla="*/ 6422 w 164820"/>
                <a:gd name="connsiteY177" fmla="*/ 67848 h 160656"/>
                <a:gd name="connsiteX178" fmla="*/ 5049 w 164820"/>
                <a:gd name="connsiteY178" fmla="*/ 66288 h 160656"/>
                <a:gd name="connsiteX179" fmla="*/ 4522 w 164820"/>
                <a:gd name="connsiteY179" fmla="*/ 63924 h 160656"/>
                <a:gd name="connsiteX180" fmla="*/ 3812 w 164820"/>
                <a:gd name="connsiteY180" fmla="*/ 62409 h 160656"/>
                <a:gd name="connsiteX181" fmla="*/ 2535 w 164820"/>
                <a:gd name="connsiteY181" fmla="*/ 60887 h 160656"/>
                <a:gd name="connsiteX182" fmla="*/ 1093 w 164820"/>
                <a:gd name="connsiteY182" fmla="*/ 59647 h 160656"/>
                <a:gd name="connsiteX183" fmla="*/ 201 w 164820"/>
                <a:gd name="connsiteY183" fmla="*/ 58450 h 160656"/>
                <a:gd name="connsiteX184" fmla="*/ 0 w 164820"/>
                <a:gd name="connsiteY184" fmla="*/ 55316 h 160656"/>
                <a:gd name="connsiteX185" fmla="*/ 507 w 164820"/>
                <a:gd name="connsiteY185" fmla="*/ 52699 h 160656"/>
                <a:gd name="connsiteX186" fmla="*/ 959 w 164820"/>
                <a:gd name="connsiteY186" fmla="*/ 51578 h 160656"/>
                <a:gd name="connsiteX187" fmla="*/ 1423 w 164820"/>
                <a:gd name="connsiteY187" fmla="*/ 51744 h 160656"/>
                <a:gd name="connsiteX188" fmla="*/ 2859 w 164820"/>
                <a:gd name="connsiteY188" fmla="*/ 53045 h 160656"/>
                <a:gd name="connsiteX189" fmla="*/ 4034 w 164820"/>
                <a:gd name="connsiteY189" fmla="*/ 53339 h 160656"/>
                <a:gd name="connsiteX190" fmla="*/ 6359 w 164820"/>
                <a:gd name="connsiteY190" fmla="*/ 53654 h 160656"/>
                <a:gd name="connsiteX191" fmla="*/ 8646 w 164820"/>
                <a:gd name="connsiteY191" fmla="*/ 53238 h 160656"/>
                <a:gd name="connsiteX192" fmla="*/ 11456 w 164820"/>
                <a:gd name="connsiteY192" fmla="*/ 52053 h 160656"/>
                <a:gd name="connsiteX193" fmla="*/ 14159 w 164820"/>
                <a:gd name="connsiteY193" fmla="*/ 50617 h 160656"/>
                <a:gd name="connsiteX194" fmla="*/ 18072 w 164820"/>
                <a:gd name="connsiteY194" fmla="*/ 46395 h 160656"/>
                <a:gd name="connsiteX195" fmla="*/ 20484 w 164820"/>
                <a:gd name="connsiteY195" fmla="*/ 45537 h 160656"/>
                <a:gd name="connsiteX196" fmla="*/ 21719 w 164820"/>
                <a:gd name="connsiteY196" fmla="*/ 44425 h 160656"/>
                <a:gd name="connsiteX197" fmla="*/ 22140 w 164820"/>
                <a:gd name="connsiteY197" fmla="*/ 42922 h 160656"/>
                <a:gd name="connsiteX198" fmla="*/ 48962 w 164820"/>
                <a:gd name="connsiteY198" fmla="*/ 0 h 160656"/>
                <a:gd name="connsiteX199" fmla="*/ 49696 w 164820"/>
                <a:gd name="connsiteY199" fmla="*/ 1042 h 160656"/>
                <a:gd name="connsiteX200" fmla="*/ 49782 w 164820"/>
                <a:gd name="connsiteY200" fmla="*/ 1647 h 160656"/>
                <a:gd name="connsiteX201" fmla="*/ 49290 w 164820"/>
                <a:gd name="connsiteY201" fmla="*/ 2331 h 160656"/>
                <a:gd name="connsiteX202" fmla="*/ 49497 w 164820"/>
                <a:gd name="connsiteY202" fmla="*/ 3877 h 160656"/>
                <a:gd name="connsiteX203" fmla="*/ 47647 w 164820"/>
                <a:gd name="connsiteY203" fmla="*/ 2595 h 160656"/>
                <a:gd name="connsiteX204" fmla="*/ 44846 w 164820"/>
                <a:gd name="connsiteY204" fmla="*/ 3242 h 160656"/>
                <a:gd name="connsiteX205" fmla="*/ 43127 w 164820"/>
                <a:gd name="connsiteY205" fmla="*/ 3105 h 160656"/>
                <a:gd name="connsiteX206" fmla="*/ 42652 w 164820"/>
                <a:gd name="connsiteY206" fmla="*/ 1955 h 160656"/>
                <a:gd name="connsiteX207" fmla="*/ 43045 w 164820"/>
                <a:gd name="connsiteY207" fmla="*/ 1280 h 160656"/>
                <a:gd name="connsiteX208" fmla="*/ 45714 w 164820"/>
                <a:gd name="connsiteY208" fmla="*/ 1133 h 160656"/>
                <a:gd name="connsiteX209" fmla="*/ 46543 w 164820"/>
                <a:gd name="connsiteY209" fmla="*/ 804 h 160656"/>
                <a:gd name="connsiteX210" fmla="*/ 48163 w 164820"/>
                <a:gd name="connsiteY210" fmla="*/ 959 h 160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</a:cxnLst>
              <a:rect l="l" t="t" r="r" b="b"/>
              <a:pathLst>
                <a:path w="164820" h="160656">
                  <a:moveTo>
                    <a:pt x="83300" y="156716"/>
                  </a:moveTo>
                  <a:lnTo>
                    <a:pt x="84985" y="157277"/>
                  </a:lnTo>
                  <a:lnTo>
                    <a:pt x="85512" y="158410"/>
                  </a:lnTo>
                  <a:lnTo>
                    <a:pt x="85583" y="158900"/>
                  </a:lnTo>
                  <a:lnTo>
                    <a:pt x="84523" y="159180"/>
                  </a:lnTo>
                  <a:lnTo>
                    <a:pt x="83137" y="158308"/>
                  </a:lnTo>
                  <a:lnTo>
                    <a:pt x="83044" y="157083"/>
                  </a:lnTo>
                  <a:close/>
                  <a:moveTo>
                    <a:pt x="163353" y="119599"/>
                  </a:moveTo>
                  <a:lnTo>
                    <a:pt x="164820" y="120327"/>
                  </a:lnTo>
                  <a:lnTo>
                    <a:pt x="163535" y="121541"/>
                  </a:lnTo>
                  <a:lnTo>
                    <a:pt x="162038" y="124459"/>
                  </a:lnTo>
                  <a:lnTo>
                    <a:pt x="161304" y="125580"/>
                  </a:lnTo>
                  <a:lnTo>
                    <a:pt x="155970" y="132706"/>
                  </a:lnTo>
                  <a:lnTo>
                    <a:pt x="155359" y="134350"/>
                  </a:lnTo>
                  <a:lnTo>
                    <a:pt x="154984" y="136135"/>
                  </a:lnTo>
                  <a:lnTo>
                    <a:pt x="154431" y="137699"/>
                  </a:lnTo>
                  <a:lnTo>
                    <a:pt x="153683" y="139172"/>
                  </a:lnTo>
                  <a:lnTo>
                    <a:pt x="152986" y="141044"/>
                  </a:lnTo>
                  <a:lnTo>
                    <a:pt x="153122" y="143164"/>
                  </a:lnTo>
                  <a:lnTo>
                    <a:pt x="153373" y="144204"/>
                  </a:lnTo>
                  <a:lnTo>
                    <a:pt x="154014" y="144885"/>
                  </a:lnTo>
                  <a:lnTo>
                    <a:pt x="155068" y="145526"/>
                  </a:lnTo>
                  <a:lnTo>
                    <a:pt x="155877" y="146508"/>
                  </a:lnTo>
                  <a:lnTo>
                    <a:pt x="154636" y="147403"/>
                  </a:lnTo>
                  <a:lnTo>
                    <a:pt x="156005" y="149197"/>
                  </a:lnTo>
                  <a:lnTo>
                    <a:pt x="157169" y="150262"/>
                  </a:lnTo>
                  <a:lnTo>
                    <a:pt x="157324" y="151324"/>
                  </a:lnTo>
                  <a:lnTo>
                    <a:pt x="157298" y="152389"/>
                  </a:lnTo>
                  <a:lnTo>
                    <a:pt x="154880" y="154385"/>
                  </a:lnTo>
                  <a:lnTo>
                    <a:pt x="153934" y="155483"/>
                  </a:lnTo>
                  <a:lnTo>
                    <a:pt x="153347" y="156812"/>
                  </a:lnTo>
                  <a:lnTo>
                    <a:pt x="153092" y="158184"/>
                  </a:lnTo>
                  <a:lnTo>
                    <a:pt x="153357" y="159422"/>
                  </a:lnTo>
                  <a:lnTo>
                    <a:pt x="153275" y="160656"/>
                  </a:lnTo>
                  <a:lnTo>
                    <a:pt x="150840" y="160502"/>
                  </a:lnTo>
                  <a:lnTo>
                    <a:pt x="148346" y="159750"/>
                  </a:lnTo>
                  <a:lnTo>
                    <a:pt x="145832" y="160083"/>
                  </a:lnTo>
                  <a:lnTo>
                    <a:pt x="142258" y="158657"/>
                  </a:lnTo>
                  <a:lnTo>
                    <a:pt x="140956" y="158399"/>
                  </a:lnTo>
                  <a:lnTo>
                    <a:pt x="139771" y="157843"/>
                  </a:lnTo>
                  <a:lnTo>
                    <a:pt x="136795" y="153418"/>
                  </a:lnTo>
                  <a:lnTo>
                    <a:pt x="134402" y="151546"/>
                  </a:lnTo>
                  <a:lnTo>
                    <a:pt x="131835" y="150090"/>
                  </a:lnTo>
                  <a:lnTo>
                    <a:pt x="129211" y="150001"/>
                  </a:lnTo>
                  <a:lnTo>
                    <a:pt x="126583" y="150167"/>
                  </a:lnTo>
                  <a:lnTo>
                    <a:pt x="124264" y="149269"/>
                  </a:lnTo>
                  <a:lnTo>
                    <a:pt x="119544" y="146257"/>
                  </a:lnTo>
                  <a:lnTo>
                    <a:pt x="114542" y="143846"/>
                  </a:lnTo>
                  <a:lnTo>
                    <a:pt x="112420" y="142274"/>
                  </a:lnTo>
                  <a:lnTo>
                    <a:pt x="111450" y="141217"/>
                  </a:lnTo>
                  <a:lnTo>
                    <a:pt x="110319" y="140515"/>
                  </a:lnTo>
                  <a:lnTo>
                    <a:pt x="107453" y="139819"/>
                  </a:lnTo>
                  <a:lnTo>
                    <a:pt x="104884" y="138186"/>
                  </a:lnTo>
                  <a:lnTo>
                    <a:pt x="103713" y="138066"/>
                  </a:lnTo>
                  <a:lnTo>
                    <a:pt x="101195" y="138265"/>
                  </a:lnTo>
                  <a:lnTo>
                    <a:pt x="99906" y="138152"/>
                  </a:lnTo>
                  <a:lnTo>
                    <a:pt x="98606" y="137577"/>
                  </a:lnTo>
                  <a:lnTo>
                    <a:pt x="96097" y="135655"/>
                  </a:lnTo>
                  <a:lnTo>
                    <a:pt x="94497" y="132988"/>
                  </a:lnTo>
                  <a:lnTo>
                    <a:pt x="94080" y="131811"/>
                  </a:lnTo>
                  <a:lnTo>
                    <a:pt x="95214" y="128764"/>
                  </a:lnTo>
                  <a:lnTo>
                    <a:pt x="96559" y="125837"/>
                  </a:lnTo>
                  <a:lnTo>
                    <a:pt x="97753" y="125015"/>
                  </a:lnTo>
                  <a:lnTo>
                    <a:pt x="99140" y="124426"/>
                  </a:lnTo>
                  <a:lnTo>
                    <a:pt x="99980" y="123559"/>
                  </a:lnTo>
                  <a:lnTo>
                    <a:pt x="100688" y="122497"/>
                  </a:lnTo>
                  <a:lnTo>
                    <a:pt x="103260" y="125560"/>
                  </a:lnTo>
                  <a:lnTo>
                    <a:pt x="104411" y="126300"/>
                  </a:lnTo>
                  <a:lnTo>
                    <a:pt x="105577" y="126135"/>
                  </a:lnTo>
                  <a:lnTo>
                    <a:pt x="107645" y="125038"/>
                  </a:lnTo>
                  <a:lnTo>
                    <a:pt x="107818" y="123836"/>
                  </a:lnTo>
                  <a:lnTo>
                    <a:pt x="110098" y="122311"/>
                  </a:lnTo>
                  <a:lnTo>
                    <a:pt x="112999" y="122282"/>
                  </a:lnTo>
                  <a:lnTo>
                    <a:pt x="114337" y="122562"/>
                  </a:lnTo>
                  <a:lnTo>
                    <a:pt x="115041" y="123941"/>
                  </a:lnTo>
                  <a:lnTo>
                    <a:pt x="116147" y="124366"/>
                  </a:lnTo>
                  <a:lnTo>
                    <a:pt x="117425" y="124549"/>
                  </a:lnTo>
                  <a:lnTo>
                    <a:pt x="121632" y="127175"/>
                  </a:lnTo>
                  <a:lnTo>
                    <a:pt x="122811" y="127603"/>
                  </a:lnTo>
                  <a:lnTo>
                    <a:pt x="124005" y="127676"/>
                  </a:lnTo>
                  <a:lnTo>
                    <a:pt x="127272" y="126574"/>
                  </a:lnTo>
                  <a:lnTo>
                    <a:pt x="129779" y="126155"/>
                  </a:lnTo>
                  <a:lnTo>
                    <a:pt x="135035" y="126762"/>
                  </a:lnTo>
                  <a:lnTo>
                    <a:pt x="137877" y="126102"/>
                  </a:lnTo>
                  <a:lnTo>
                    <a:pt x="139861" y="126027"/>
                  </a:lnTo>
                  <a:lnTo>
                    <a:pt x="142753" y="125012"/>
                  </a:lnTo>
                  <a:lnTo>
                    <a:pt x="144975" y="123326"/>
                  </a:lnTo>
                  <a:lnTo>
                    <a:pt x="146134" y="122910"/>
                  </a:lnTo>
                  <a:lnTo>
                    <a:pt x="147378" y="122790"/>
                  </a:lnTo>
                  <a:lnTo>
                    <a:pt x="150386" y="122895"/>
                  </a:lnTo>
                  <a:lnTo>
                    <a:pt x="153411" y="123276"/>
                  </a:lnTo>
                  <a:lnTo>
                    <a:pt x="154679" y="122882"/>
                  </a:lnTo>
                  <a:lnTo>
                    <a:pt x="155739" y="121779"/>
                  </a:lnTo>
                  <a:lnTo>
                    <a:pt x="156968" y="121282"/>
                  </a:lnTo>
                  <a:lnTo>
                    <a:pt x="158320" y="121617"/>
                  </a:lnTo>
                  <a:lnTo>
                    <a:pt x="161813" y="119728"/>
                  </a:lnTo>
                  <a:close/>
                  <a:moveTo>
                    <a:pt x="4111" y="98453"/>
                  </a:moveTo>
                  <a:lnTo>
                    <a:pt x="5744" y="99107"/>
                  </a:lnTo>
                  <a:lnTo>
                    <a:pt x="6590" y="99705"/>
                  </a:lnTo>
                  <a:lnTo>
                    <a:pt x="5321" y="102261"/>
                  </a:lnTo>
                  <a:lnTo>
                    <a:pt x="3982" y="100451"/>
                  </a:lnTo>
                  <a:lnTo>
                    <a:pt x="3930" y="98896"/>
                  </a:lnTo>
                  <a:close/>
                  <a:moveTo>
                    <a:pt x="125825" y="55558"/>
                  </a:moveTo>
                  <a:lnTo>
                    <a:pt x="127836" y="56147"/>
                  </a:lnTo>
                  <a:lnTo>
                    <a:pt x="127808" y="56704"/>
                  </a:lnTo>
                  <a:lnTo>
                    <a:pt x="127309" y="57033"/>
                  </a:lnTo>
                  <a:lnTo>
                    <a:pt x="126322" y="57260"/>
                  </a:lnTo>
                  <a:lnTo>
                    <a:pt x="125747" y="56951"/>
                  </a:lnTo>
                  <a:lnTo>
                    <a:pt x="125434" y="56549"/>
                  </a:lnTo>
                  <a:close/>
                  <a:moveTo>
                    <a:pt x="3081" y="46092"/>
                  </a:moveTo>
                  <a:lnTo>
                    <a:pt x="3602" y="46625"/>
                  </a:lnTo>
                  <a:lnTo>
                    <a:pt x="3053" y="47648"/>
                  </a:lnTo>
                  <a:lnTo>
                    <a:pt x="2326" y="48251"/>
                  </a:lnTo>
                  <a:lnTo>
                    <a:pt x="1589" y="49454"/>
                  </a:lnTo>
                  <a:lnTo>
                    <a:pt x="549" y="49366"/>
                  </a:lnTo>
                  <a:lnTo>
                    <a:pt x="955" y="48476"/>
                  </a:lnTo>
                  <a:lnTo>
                    <a:pt x="1913" y="46691"/>
                  </a:lnTo>
                  <a:close/>
                  <a:moveTo>
                    <a:pt x="23164" y="42529"/>
                  </a:moveTo>
                  <a:lnTo>
                    <a:pt x="24371" y="43990"/>
                  </a:lnTo>
                  <a:lnTo>
                    <a:pt x="25869" y="44142"/>
                  </a:lnTo>
                  <a:lnTo>
                    <a:pt x="28178" y="45347"/>
                  </a:lnTo>
                  <a:lnTo>
                    <a:pt x="29174" y="46500"/>
                  </a:lnTo>
                  <a:lnTo>
                    <a:pt x="30026" y="47888"/>
                  </a:lnTo>
                  <a:lnTo>
                    <a:pt x="30842" y="48496"/>
                  </a:lnTo>
                  <a:lnTo>
                    <a:pt x="31719" y="48845"/>
                  </a:lnTo>
                  <a:lnTo>
                    <a:pt x="31849" y="49171"/>
                  </a:lnTo>
                  <a:lnTo>
                    <a:pt x="31154" y="49497"/>
                  </a:lnTo>
                  <a:lnTo>
                    <a:pt x="30357" y="51084"/>
                  </a:lnTo>
                  <a:lnTo>
                    <a:pt x="30806" y="51541"/>
                  </a:lnTo>
                  <a:lnTo>
                    <a:pt x="32088" y="52401"/>
                  </a:lnTo>
                  <a:lnTo>
                    <a:pt x="33194" y="54080"/>
                  </a:lnTo>
                  <a:lnTo>
                    <a:pt x="35677" y="60951"/>
                  </a:lnTo>
                  <a:lnTo>
                    <a:pt x="35919" y="62435"/>
                  </a:lnTo>
                  <a:lnTo>
                    <a:pt x="35423" y="63955"/>
                  </a:lnTo>
                  <a:lnTo>
                    <a:pt x="34790" y="65033"/>
                  </a:lnTo>
                  <a:lnTo>
                    <a:pt x="32330" y="68482"/>
                  </a:lnTo>
                  <a:lnTo>
                    <a:pt x="32695" y="71334"/>
                  </a:lnTo>
                  <a:lnTo>
                    <a:pt x="33609" y="73095"/>
                  </a:lnTo>
                  <a:lnTo>
                    <a:pt x="33740" y="75044"/>
                  </a:lnTo>
                  <a:lnTo>
                    <a:pt x="33283" y="77460"/>
                  </a:lnTo>
                  <a:lnTo>
                    <a:pt x="31756" y="92276"/>
                  </a:lnTo>
                  <a:lnTo>
                    <a:pt x="31018" y="94889"/>
                  </a:lnTo>
                  <a:lnTo>
                    <a:pt x="30551" y="97156"/>
                  </a:lnTo>
                  <a:lnTo>
                    <a:pt x="28867" y="97841"/>
                  </a:lnTo>
                  <a:lnTo>
                    <a:pt x="26694" y="97117"/>
                  </a:lnTo>
                  <a:lnTo>
                    <a:pt x="23954" y="95841"/>
                  </a:lnTo>
                  <a:lnTo>
                    <a:pt x="22689" y="95918"/>
                  </a:lnTo>
                  <a:lnTo>
                    <a:pt x="21415" y="96354"/>
                  </a:lnTo>
                  <a:lnTo>
                    <a:pt x="20363" y="95984"/>
                  </a:lnTo>
                  <a:lnTo>
                    <a:pt x="19359" y="95262"/>
                  </a:lnTo>
                  <a:lnTo>
                    <a:pt x="18614" y="100332"/>
                  </a:lnTo>
                  <a:lnTo>
                    <a:pt x="17375" y="102389"/>
                  </a:lnTo>
                  <a:lnTo>
                    <a:pt x="15489" y="103702"/>
                  </a:lnTo>
                  <a:lnTo>
                    <a:pt x="13716" y="103785"/>
                  </a:lnTo>
                  <a:lnTo>
                    <a:pt x="11890" y="103345"/>
                  </a:lnTo>
                  <a:lnTo>
                    <a:pt x="10341" y="103349"/>
                  </a:lnTo>
                  <a:lnTo>
                    <a:pt x="9167" y="102373"/>
                  </a:lnTo>
                  <a:lnTo>
                    <a:pt x="8236" y="100667"/>
                  </a:lnTo>
                  <a:lnTo>
                    <a:pt x="6752" y="98593"/>
                  </a:lnTo>
                  <a:lnTo>
                    <a:pt x="5247" y="96128"/>
                  </a:lnTo>
                  <a:lnTo>
                    <a:pt x="5083" y="93898"/>
                  </a:lnTo>
                  <a:lnTo>
                    <a:pt x="4826" y="88975"/>
                  </a:lnTo>
                  <a:lnTo>
                    <a:pt x="5258" y="87899"/>
                  </a:lnTo>
                  <a:lnTo>
                    <a:pt x="5887" y="86867"/>
                  </a:lnTo>
                  <a:lnTo>
                    <a:pt x="6195" y="84661"/>
                  </a:lnTo>
                  <a:lnTo>
                    <a:pt x="5977" y="82737"/>
                  </a:lnTo>
                  <a:lnTo>
                    <a:pt x="6418" y="82050"/>
                  </a:lnTo>
                  <a:lnTo>
                    <a:pt x="7295" y="82737"/>
                  </a:lnTo>
                  <a:lnTo>
                    <a:pt x="7953" y="82479"/>
                  </a:lnTo>
                  <a:lnTo>
                    <a:pt x="7912" y="81488"/>
                  </a:lnTo>
                  <a:lnTo>
                    <a:pt x="8113" y="79678"/>
                  </a:lnTo>
                  <a:lnTo>
                    <a:pt x="6966" y="78161"/>
                  </a:lnTo>
                  <a:lnTo>
                    <a:pt x="5018" y="77646"/>
                  </a:lnTo>
                  <a:lnTo>
                    <a:pt x="4830" y="76058"/>
                  </a:lnTo>
                  <a:lnTo>
                    <a:pt x="5036" y="74507"/>
                  </a:lnTo>
                  <a:lnTo>
                    <a:pt x="6064" y="73465"/>
                  </a:lnTo>
                  <a:lnTo>
                    <a:pt x="6411" y="72079"/>
                  </a:lnTo>
                  <a:lnTo>
                    <a:pt x="6422" y="67848"/>
                  </a:lnTo>
                  <a:lnTo>
                    <a:pt x="5049" y="66288"/>
                  </a:lnTo>
                  <a:lnTo>
                    <a:pt x="4522" y="63924"/>
                  </a:lnTo>
                  <a:lnTo>
                    <a:pt x="3812" y="62409"/>
                  </a:lnTo>
                  <a:lnTo>
                    <a:pt x="2535" y="60887"/>
                  </a:lnTo>
                  <a:lnTo>
                    <a:pt x="1093" y="59647"/>
                  </a:lnTo>
                  <a:lnTo>
                    <a:pt x="201" y="58450"/>
                  </a:lnTo>
                  <a:lnTo>
                    <a:pt x="0" y="55316"/>
                  </a:lnTo>
                  <a:lnTo>
                    <a:pt x="507" y="52699"/>
                  </a:lnTo>
                  <a:lnTo>
                    <a:pt x="959" y="51578"/>
                  </a:lnTo>
                  <a:lnTo>
                    <a:pt x="1423" y="51744"/>
                  </a:lnTo>
                  <a:lnTo>
                    <a:pt x="2859" y="53045"/>
                  </a:lnTo>
                  <a:lnTo>
                    <a:pt x="4034" y="53339"/>
                  </a:lnTo>
                  <a:lnTo>
                    <a:pt x="6359" y="53654"/>
                  </a:lnTo>
                  <a:lnTo>
                    <a:pt x="8646" y="53238"/>
                  </a:lnTo>
                  <a:lnTo>
                    <a:pt x="11456" y="52053"/>
                  </a:lnTo>
                  <a:lnTo>
                    <a:pt x="14159" y="50617"/>
                  </a:lnTo>
                  <a:lnTo>
                    <a:pt x="18072" y="46395"/>
                  </a:lnTo>
                  <a:lnTo>
                    <a:pt x="20484" y="45537"/>
                  </a:lnTo>
                  <a:lnTo>
                    <a:pt x="21719" y="44425"/>
                  </a:lnTo>
                  <a:lnTo>
                    <a:pt x="22140" y="42922"/>
                  </a:lnTo>
                  <a:close/>
                  <a:moveTo>
                    <a:pt x="48962" y="0"/>
                  </a:moveTo>
                  <a:lnTo>
                    <a:pt x="49696" y="1042"/>
                  </a:lnTo>
                  <a:lnTo>
                    <a:pt x="49782" y="1647"/>
                  </a:lnTo>
                  <a:lnTo>
                    <a:pt x="49290" y="2331"/>
                  </a:lnTo>
                  <a:lnTo>
                    <a:pt x="49497" y="3877"/>
                  </a:lnTo>
                  <a:lnTo>
                    <a:pt x="47647" y="2595"/>
                  </a:lnTo>
                  <a:lnTo>
                    <a:pt x="44846" y="3242"/>
                  </a:lnTo>
                  <a:lnTo>
                    <a:pt x="43127" y="3105"/>
                  </a:lnTo>
                  <a:lnTo>
                    <a:pt x="42652" y="1955"/>
                  </a:lnTo>
                  <a:lnTo>
                    <a:pt x="43045" y="1280"/>
                  </a:lnTo>
                  <a:lnTo>
                    <a:pt x="45714" y="1133"/>
                  </a:lnTo>
                  <a:lnTo>
                    <a:pt x="46543" y="804"/>
                  </a:lnTo>
                  <a:lnTo>
                    <a:pt x="48163" y="959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36" name="ee4p_SM_1_37365">
              <a:extLst>
                <a:ext uri="{FF2B5EF4-FFF2-40B4-BE49-F238E27FC236}">
                  <a16:creationId xmlns:a16="http://schemas.microsoft.com/office/drawing/2014/main" id="{9EF6137D-C802-1695-8B09-92A16E3FB807}"/>
                </a:ext>
              </a:extLst>
            </p:cNvPr>
            <p:cNvSpPr>
              <a:spLocks noChangeAspect="1"/>
            </p:cNvSpPr>
            <p:nvPr>
              <p:custDataLst>
                <p:tags r:id="rId290"/>
              </p:custDataLst>
            </p:nvPr>
          </p:nvSpPr>
          <p:spPr>
            <a:xfrm>
              <a:off x="6858953" y="3333688"/>
              <a:ext cx="3271" cy="3337"/>
            </a:xfrm>
            <a:custGeom>
              <a:avLst/>
              <a:gdLst/>
              <a:ahLst/>
              <a:cxnLst/>
              <a:rect l="0" t="0" r="0" b="0"/>
              <a:pathLst>
                <a:path w="2605" h="2587">
                  <a:moveTo>
                    <a:pt x="0" y="1492"/>
                  </a:moveTo>
                  <a:lnTo>
                    <a:pt x="652" y="2586"/>
                  </a:lnTo>
                  <a:lnTo>
                    <a:pt x="1954" y="2389"/>
                  </a:lnTo>
                  <a:lnTo>
                    <a:pt x="2604" y="994"/>
                  </a:lnTo>
                  <a:lnTo>
                    <a:pt x="2362" y="0"/>
                  </a:lnTo>
                  <a:lnTo>
                    <a:pt x="978" y="198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37" name="ee4p_XK_1_37365">
              <a:extLst>
                <a:ext uri="{FF2B5EF4-FFF2-40B4-BE49-F238E27FC236}">
                  <a16:creationId xmlns:a16="http://schemas.microsoft.com/office/drawing/2014/main" id="{C73A96FC-DE70-900B-E63C-6C5E111673B2}"/>
                </a:ext>
              </a:extLst>
            </p:cNvPr>
            <p:cNvSpPr>
              <a:spLocks noChangeAspect="1"/>
            </p:cNvSpPr>
            <p:nvPr>
              <p:custDataLst>
                <p:tags r:id="rId291"/>
              </p:custDataLst>
            </p:nvPr>
          </p:nvSpPr>
          <p:spPr>
            <a:xfrm>
              <a:off x="7070906" y="3359031"/>
              <a:ext cx="47860" cy="48451"/>
            </a:xfrm>
            <a:custGeom>
              <a:avLst/>
              <a:gdLst/>
              <a:ahLst/>
              <a:cxnLst/>
              <a:rect l="0" t="0" r="0" b="0"/>
              <a:pathLst>
                <a:path w="38110" h="37558">
                  <a:moveTo>
                    <a:pt x="33898" y="27100"/>
                  </a:moveTo>
                  <a:lnTo>
                    <a:pt x="33862" y="27096"/>
                  </a:lnTo>
                  <a:lnTo>
                    <a:pt x="30074" y="27836"/>
                  </a:lnTo>
                  <a:lnTo>
                    <a:pt x="28796" y="28705"/>
                  </a:lnTo>
                  <a:lnTo>
                    <a:pt x="28040" y="30223"/>
                  </a:lnTo>
                  <a:lnTo>
                    <a:pt x="27798" y="31012"/>
                  </a:lnTo>
                  <a:lnTo>
                    <a:pt x="27129" y="31035"/>
                  </a:lnTo>
                  <a:lnTo>
                    <a:pt x="26017" y="30253"/>
                  </a:lnTo>
                  <a:lnTo>
                    <a:pt x="24611" y="29029"/>
                  </a:lnTo>
                  <a:lnTo>
                    <a:pt x="22782" y="29127"/>
                  </a:lnTo>
                  <a:lnTo>
                    <a:pt x="16554" y="31792"/>
                  </a:lnTo>
                  <a:lnTo>
                    <a:pt x="15941" y="33191"/>
                  </a:lnTo>
                  <a:lnTo>
                    <a:pt x="15803" y="36218"/>
                  </a:lnTo>
                  <a:lnTo>
                    <a:pt x="15379" y="37034"/>
                  </a:lnTo>
                  <a:lnTo>
                    <a:pt x="14714" y="37557"/>
                  </a:lnTo>
                  <a:lnTo>
                    <a:pt x="12140" y="37228"/>
                  </a:lnTo>
                  <a:lnTo>
                    <a:pt x="11868" y="37030"/>
                  </a:lnTo>
                  <a:lnTo>
                    <a:pt x="12205" y="35870"/>
                  </a:lnTo>
                  <a:lnTo>
                    <a:pt x="12071" y="33331"/>
                  </a:lnTo>
                  <a:lnTo>
                    <a:pt x="10909" y="29122"/>
                  </a:lnTo>
                  <a:lnTo>
                    <a:pt x="10082" y="27742"/>
                  </a:lnTo>
                  <a:lnTo>
                    <a:pt x="8377" y="26370"/>
                  </a:lnTo>
                  <a:lnTo>
                    <a:pt x="7048" y="25469"/>
                  </a:lnTo>
                  <a:lnTo>
                    <a:pt x="4667" y="24665"/>
                  </a:lnTo>
                  <a:lnTo>
                    <a:pt x="3455" y="22350"/>
                  </a:lnTo>
                  <a:lnTo>
                    <a:pt x="1637" y="19716"/>
                  </a:lnTo>
                  <a:lnTo>
                    <a:pt x="762" y="19112"/>
                  </a:lnTo>
                  <a:lnTo>
                    <a:pt x="903" y="18851"/>
                  </a:lnTo>
                  <a:lnTo>
                    <a:pt x="1322" y="16863"/>
                  </a:lnTo>
                  <a:lnTo>
                    <a:pt x="802" y="15412"/>
                  </a:lnTo>
                  <a:lnTo>
                    <a:pt x="0" y="14178"/>
                  </a:lnTo>
                  <a:lnTo>
                    <a:pt x="549" y="13429"/>
                  </a:lnTo>
                  <a:lnTo>
                    <a:pt x="2222" y="13436"/>
                  </a:lnTo>
                  <a:lnTo>
                    <a:pt x="3606" y="13574"/>
                  </a:lnTo>
                  <a:lnTo>
                    <a:pt x="4105" y="12392"/>
                  </a:lnTo>
                  <a:lnTo>
                    <a:pt x="6962" y="11613"/>
                  </a:lnTo>
                  <a:lnTo>
                    <a:pt x="9715" y="10811"/>
                  </a:lnTo>
                  <a:lnTo>
                    <a:pt x="10113" y="10245"/>
                  </a:lnTo>
                  <a:lnTo>
                    <a:pt x="9484" y="9027"/>
                  </a:lnTo>
                  <a:lnTo>
                    <a:pt x="9854" y="8264"/>
                  </a:lnTo>
                  <a:lnTo>
                    <a:pt x="13147" y="6090"/>
                  </a:lnTo>
                  <a:lnTo>
                    <a:pt x="13689" y="5104"/>
                  </a:lnTo>
                  <a:lnTo>
                    <a:pt x="13890" y="4328"/>
                  </a:lnTo>
                  <a:lnTo>
                    <a:pt x="13447" y="3510"/>
                  </a:lnTo>
                  <a:lnTo>
                    <a:pt x="12829" y="2220"/>
                  </a:lnTo>
                  <a:lnTo>
                    <a:pt x="13127" y="1678"/>
                  </a:lnTo>
                  <a:lnTo>
                    <a:pt x="14839" y="933"/>
                  </a:lnTo>
                  <a:lnTo>
                    <a:pt x="16228" y="67"/>
                  </a:lnTo>
                  <a:lnTo>
                    <a:pt x="17051" y="0"/>
                  </a:lnTo>
                  <a:lnTo>
                    <a:pt x="17565" y="622"/>
                  </a:lnTo>
                  <a:lnTo>
                    <a:pt x="17565" y="1266"/>
                  </a:lnTo>
                  <a:lnTo>
                    <a:pt x="18020" y="2354"/>
                  </a:lnTo>
                  <a:lnTo>
                    <a:pt x="19044" y="2939"/>
                  </a:lnTo>
                  <a:lnTo>
                    <a:pt x="20746" y="3895"/>
                  </a:lnTo>
                  <a:lnTo>
                    <a:pt x="22722" y="4547"/>
                  </a:lnTo>
                  <a:lnTo>
                    <a:pt x="24270" y="5853"/>
                  </a:lnTo>
                  <a:lnTo>
                    <a:pt x="26384" y="8179"/>
                  </a:lnTo>
                  <a:lnTo>
                    <a:pt x="26703" y="9330"/>
                  </a:lnTo>
                  <a:lnTo>
                    <a:pt x="28606" y="10361"/>
                  </a:lnTo>
                  <a:lnTo>
                    <a:pt x="30372" y="11517"/>
                  </a:lnTo>
                  <a:lnTo>
                    <a:pt x="30098" y="13660"/>
                  </a:lnTo>
                  <a:lnTo>
                    <a:pt x="36110" y="15529"/>
                  </a:lnTo>
                  <a:lnTo>
                    <a:pt x="37466" y="15515"/>
                  </a:lnTo>
                  <a:lnTo>
                    <a:pt x="38109" y="15840"/>
                  </a:lnTo>
                  <a:lnTo>
                    <a:pt x="38092" y="16329"/>
                  </a:lnTo>
                  <a:lnTo>
                    <a:pt x="37617" y="17826"/>
                  </a:lnTo>
                  <a:lnTo>
                    <a:pt x="35149" y="22420"/>
                  </a:lnTo>
                  <a:lnTo>
                    <a:pt x="34946" y="23374"/>
                  </a:lnTo>
                  <a:lnTo>
                    <a:pt x="33179" y="24371"/>
                  </a:lnTo>
                  <a:lnTo>
                    <a:pt x="32935" y="24946"/>
                  </a:lnTo>
                  <a:lnTo>
                    <a:pt x="33436" y="26214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38" name="ee4p_LI_1_37365">
              <a:extLst>
                <a:ext uri="{FF2B5EF4-FFF2-40B4-BE49-F238E27FC236}">
                  <a16:creationId xmlns:a16="http://schemas.microsoft.com/office/drawing/2014/main" id="{BEED338B-9795-3CCC-B8C1-F6BCFE37D543}"/>
                </a:ext>
              </a:extLst>
            </p:cNvPr>
            <p:cNvSpPr>
              <a:spLocks noChangeAspect="1"/>
            </p:cNvSpPr>
            <p:nvPr>
              <p:custDataLst>
                <p:tags r:id="rId292"/>
              </p:custDataLst>
            </p:nvPr>
          </p:nvSpPr>
          <p:spPr>
            <a:xfrm>
              <a:off x="6777939" y="3217232"/>
              <a:ext cx="3641" cy="7698"/>
            </a:xfrm>
            <a:custGeom>
              <a:avLst/>
              <a:gdLst/>
              <a:ahLst/>
              <a:cxnLst/>
              <a:rect l="0" t="0" r="0" b="0"/>
              <a:pathLst>
                <a:path w="2899" h="5967">
                  <a:moveTo>
                    <a:pt x="2229" y="5966"/>
                  </a:moveTo>
                  <a:lnTo>
                    <a:pt x="506" y="5816"/>
                  </a:lnTo>
                  <a:lnTo>
                    <a:pt x="182" y="5829"/>
                  </a:lnTo>
                  <a:lnTo>
                    <a:pt x="0" y="4844"/>
                  </a:lnTo>
                  <a:lnTo>
                    <a:pt x="106" y="2744"/>
                  </a:lnTo>
                  <a:lnTo>
                    <a:pt x="1063" y="0"/>
                  </a:lnTo>
                  <a:lnTo>
                    <a:pt x="1268" y="451"/>
                  </a:lnTo>
                  <a:lnTo>
                    <a:pt x="1387" y="1025"/>
                  </a:lnTo>
                  <a:lnTo>
                    <a:pt x="1583" y="1636"/>
                  </a:lnTo>
                  <a:lnTo>
                    <a:pt x="1687" y="2385"/>
                  </a:lnTo>
                  <a:lnTo>
                    <a:pt x="2043" y="3157"/>
                  </a:lnTo>
                  <a:lnTo>
                    <a:pt x="2691" y="3879"/>
                  </a:lnTo>
                  <a:lnTo>
                    <a:pt x="2898" y="4576"/>
                  </a:lnTo>
                  <a:lnTo>
                    <a:pt x="2570" y="5450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39" name="ee4p_LT_1_37365">
              <a:extLst>
                <a:ext uri="{FF2B5EF4-FFF2-40B4-BE49-F238E27FC236}">
                  <a16:creationId xmlns:a16="http://schemas.microsoft.com/office/drawing/2014/main" id="{73C49CBE-64CD-8DF0-E0EA-49916EF617FC}"/>
                </a:ext>
              </a:extLst>
            </p:cNvPr>
            <p:cNvSpPr>
              <a:spLocks noChangeAspect="1"/>
            </p:cNvSpPr>
            <p:nvPr>
              <p:custDataLst>
                <p:tags r:id="rId293"/>
              </p:custDataLst>
            </p:nvPr>
          </p:nvSpPr>
          <p:spPr>
            <a:xfrm>
              <a:off x="7095073" y="2868639"/>
              <a:ext cx="163169" cy="100081"/>
            </a:xfrm>
            <a:custGeom>
              <a:avLst/>
              <a:gdLst>
                <a:gd name="connsiteX0" fmla="*/ 4755 w 129928"/>
                <a:gd name="connsiteY0" fmla="*/ 24770 h 77580"/>
                <a:gd name="connsiteX1" fmla="*/ 4774 w 129928"/>
                <a:gd name="connsiteY1" fmla="*/ 26268 h 77580"/>
                <a:gd name="connsiteX2" fmla="*/ 4513 w 129928"/>
                <a:gd name="connsiteY2" fmla="*/ 28758 h 77580"/>
                <a:gd name="connsiteX3" fmla="*/ 2917 w 129928"/>
                <a:gd name="connsiteY3" fmla="*/ 33001 h 77580"/>
                <a:gd name="connsiteX4" fmla="*/ 1283 w 129928"/>
                <a:gd name="connsiteY4" fmla="*/ 35210 h 77580"/>
                <a:gd name="connsiteX5" fmla="*/ 0 w 129928"/>
                <a:gd name="connsiteY5" fmla="*/ 34971 h 77580"/>
                <a:gd name="connsiteX6" fmla="*/ 2526 w 129928"/>
                <a:gd name="connsiteY6" fmla="*/ 31410 h 77580"/>
                <a:gd name="connsiteX7" fmla="*/ 3489 w 129928"/>
                <a:gd name="connsiteY7" fmla="*/ 29096 h 77580"/>
                <a:gd name="connsiteX8" fmla="*/ 4159 w 129928"/>
                <a:gd name="connsiteY8" fmla="*/ 25805 h 77580"/>
                <a:gd name="connsiteX9" fmla="*/ 87148 w 129928"/>
                <a:gd name="connsiteY9" fmla="*/ 0 h 77580"/>
                <a:gd name="connsiteX10" fmla="*/ 88519 w 129928"/>
                <a:gd name="connsiteY10" fmla="*/ 407 h 77580"/>
                <a:gd name="connsiteX11" fmla="*/ 89422 w 129928"/>
                <a:gd name="connsiteY11" fmla="*/ 2681 h 77580"/>
                <a:gd name="connsiteX12" fmla="*/ 92210 w 129928"/>
                <a:gd name="connsiteY12" fmla="*/ 6597 h 77580"/>
                <a:gd name="connsiteX13" fmla="*/ 95240 w 129928"/>
                <a:gd name="connsiteY13" fmla="*/ 7284 h 77580"/>
                <a:gd name="connsiteX14" fmla="*/ 103616 w 129928"/>
                <a:gd name="connsiteY14" fmla="*/ 8790 h 77580"/>
                <a:gd name="connsiteX15" fmla="*/ 105328 w 129928"/>
                <a:gd name="connsiteY15" fmla="*/ 9581 h 77580"/>
                <a:gd name="connsiteX16" fmla="*/ 110042 w 129928"/>
                <a:gd name="connsiteY16" fmla="*/ 13027 h 77580"/>
                <a:gd name="connsiteX17" fmla="*/ 112869 w 129928"/>
                <a:gd name="connsiteY17" fmla="*/ 14715 h 77580"/>
                <a:gd name="connsiteX18" fmla="*/ 114667 w 129928"/>
                <a:gd name="connsiteY18" fmla="*/ 16062 h 77580"/>
                <a:gd name="connsiteX19" fmla="*/ 117410 w 129928"/>
                <a:gd name="connsiteY19" fmla="*/ 18698 h 77580"/>
                <a:gd name="connsiteX20" fmla="*/ 118995 w 129928"/>
                <a:gd name="connsiteY20" fmla="*/ 20614 h 77580"/>
                <a:gd name="connsiteX21" fmla="*/ 121645 w 129928"/>
                <a:gd name="connsiteY21" fmla="*/ 22062 h 77580"/>
                <a:gd name="connsiteX22" fmla="*/ 124780 w 129928"/>
                <a:gd name="connsiteY22" fmla="*/ 23036 h 77580"/>
                <a:gd name="connsiteX23" fmla="*/ 125900 w 129928"/>
                <a:gd name="connsiteY23" fmla="*/ 23187 h 77580"/>
                <a:gd name="connsiteX24" fmla="*/ 125840 w 129928"/>
                <a:gd name="connsiteY24" fmla="*/ 24579 h 77580"/>
                <a:gd name="connsiteX25" fmla="*/ 125305 w 129928"/>
                <a:gd name="connsiteY25" fmla="*/ 26939 h 77580"/>
                <a:gd name="connsiteX26" fmla="*/ 124257 w 129928"/>
                <a:gd name="connsiteY26" fmla="*/ 29982 h 77580"/>
                <a:gd name="connsiteX27" fmla="*/ 123158 w 129928"/>
                <a:gd name="connsiteY27" fmla="*/ 32338 h 77580"/>
                <a:gd name="connsiteX28" fmla="*/ 122895 w 129928"/>
                <a:gd name="connsiteY28" fmla="*/ 33248 h 77580"/>
                <a:gd name="connsiteX29" fmla="*/ 123728 w 129928"/>
                <a:gd name="connsiteY29" fmla="*/ 34003 h 77580"/>
                <a:gd name="connsiteX30" fmla="*/ 127840 w 129928"/>
                <a:gd name="connsiteY30" fmla="*/ 34360 h 77580"/>
                <a:gd name="connsiteX31" fmla="*/ 129584 w 129928"/>
                <a:gd name="connsiteY31" fmla="*/ 34765 h 77580"/>
                <a:gd name="connsiteX32" fmla="*/ 129928 w 129928"/>
                <a:gd name="connsiteY32" fmla="*/ 35390 h 77580"/>
                <a:gd name="connsiteX33" fmla="*/ 129015 w 129928"/>
                <a:gd name="connsiteY33" fmla="*/ 36202 h 77580"/>
                <a:gd name="connsiteX34" fmla="*/ 127702 w 129928"/>
                <a:gd name="connsiteY34" fmla="*/ 36876 h 77580"/>
                <a:gd name="connsiteX35" fmla="*/ 127114 w 129928"/>
                <a:gd name="connsiteY35" fmla="*/ 37514 h 77580"/>
                <a:gd name="connsiteX36" fmla="*/ 126069 w 129928"/>
                <a:gd name="connsiteY36" fmla="*/ 39795 h 77580"/>
                <a:gd name="connsiteX37" fmla="*/ 119228 w 129928"/>
                <a:gd name="connsiteY37" fmla="*/ 39505 h 77580"/>
                <a:gd name="connsiteX38" fmla="*/ 118321 w 129928"/>
                <a:gd name="connsiteY38" fmla="*/ 39969 h 77580"/>
                <a:gd name="connsiteX39" fmla="*/ 117889 w 129928"/>
                <a:gd name="connsiteY39" fmla="*/ 41028 h 77580"/>
                <a:gd name="connsiteX40" fmla="*/ 117548 w 129928"/>
                <a:gd name="connsiteY40" fmla="*/ 42251 h 77580"/>
                <a:gd name="connsiteX41" fmla="*/ 116650 w 129928"/>
                <a:gd name="connsiteY41" fmla="*/ 43699 h 77580"/>
                <a:gd name="connsiteX42" fmla="*/ 114832 w 129928"/>
                <a:gd name="connsiteY42" fmla="*/ 44959 h 77580"/>
                <a:gd name="connsiteX43" fmla="*/ 111990 w 129928"/>
                <a:gd name="connsiteY43" fmla="*/ 45424 h 77580"/>
                <a:gd name="connsiteX44" fmla="*/ 109664 w 129928"/>
                <a:gd name="connsiteY44" fmla="*/ 46280 h 77580"/>
                <a:gd name="connsiteX45" fmla="*/ 107930 w 129928"/>
                <a:gd name="connsiteY45" fmla="*/ 48920 h 77580"/>
                <a:gd name="connsiteX46" fmla="*/ 106639 w 129928"/>
                <a:gd name="connsiteY46" fmla="*/ 52456 h 77580"/>
                <a:gd name="connsiteX47" fmla="*/ 106671 w 129928"/>
                <a:gd name="connsiteY47" fmla="*/ 54961 h 77580"/>
                <a:gd name="connsiteX48" fmla="*/ 106842 w 129928"/>
                <a:gd name="connsiteY48" fmla="*/ 56357 h 77580"/>
                <a:gd name="connsiteX49" fmla="*/ 106691 w 129928"/>
                <a:gd name="connsiteY49" fmla="*/ 57155 h 77580"/>
                <a:gd name="connsiteX50" fmla="*/ 105814 w 129928"/>
                <a:gd name="connsiteY50" fmla="*/ 58025 h 77580"/>
                <a:gd name="connsiteX51" fmla="*/ 104380 w 129928"/>
                <a:gd name="connsiteY51" fmla="*/ 60327 h 77580"/>
                <a:gd name="connsiteX52" fmla="*/ 103214 w 129928"/>
                <a:gd name="connsiteY52" fmla="*/ 62869 h 77580"/>
                <a:gd name="connsiteX53" fmla="*/ 102767 w 129928"/>
                <a:gd name="connsiteY53" fmla="*/ 64247 h 77580"/>
                <a:gd name="connsiteX54" fmla="*/ 102992 w 129928"/>
                <a:gd name="connsiteY54" fmla="*/ 64892 h 77580"/>
                <a:gd name="connsiteX55" fmla="*/ 104305 w 129928"/>
                <a:gd name="connsiteY55" fmla="*/ 64909 h 77580"/>
                <a:gd name="connsiteX56" fmla="*/ 106199 w 129928"/>
                <a:gd name="connsiteY56" fmla="*/ 65431 h 77580"/>
                <a:gd name="connsiteX57" fmla="*/ 107207 w 129928"/>
                <a:gd name="connsiteY57" fmla="*/ 66445 h 77580"/>
                <a:gd name="connsiteX58" fmla="*/ 107580 w 129928"/>
                <a:gd name="connsiteY58" fmla="*/ 67616 h 77580"/>
                <a:gd name="connsiteX59" fmla="*/ 107585 w 129928"/>
                <a:gd name="connsiteY59" fmla="*/ 68875 h 77580"/>
                <a:gd name="connsiteX60" fmla="*/ 107231 w 129928"/>
                <a:gd name="connsiteY60" fmla="*/ 69568 h 77580"/>
                <a:gd name="connsiteX61" fmla="*/ 105713 w 129928"/>
                <a:gd name="connsiteY61" fmla="*/ 70070 h 77580"/>
                <a:gd name="connsiteX62" fmla="*/ 103335 w 129928"/>
                <a:gd name="connsiteY62" fmla="*/ 70088 h 77580"/>
                <a:gd name="connsiteX63" fmla="*/ 101949 w 129928"/>
                <a:gd name="connsiteY63" fmla="*/ 69488 h 77580"/>
                <a:gd name="connsiteX64" fmla="*/ 101662 w 129928"/>
                <a:gd name="connsiteY64" fmla="*/ 69013 h 77580"/>
                <a:gd name="connsiteX65" fmla="*/ 102324 w 129928"/>
                <a:gd name="connsiteY65" fmla="*/ 67800 h 77580"/>
                <a:gd name="connsiteX66" fmla="*/ 101845 w 129928"/>
                <a:gd name="connsiteY66" fmla="*/ 66285 h 77580"/>
                <a:gd name="connsiteX67" fmla="*/ 100861 w 129928"/>
                <a:gd name="connsiteY67" fmla="*/ 65437 h 77580"/>
                <a:gd name="connsiteX68" fmla="*/ 98859 w 129928"/>
                <a:gd name="connsiteY68" fmla="*/ 66702 h 77580"/>
                <a:gd name="connsiteX69" fmla="*/ 96937 w 129928"/>
                <a:gd name="connsiteY69" fmla="*/ 66701 h 77580"/>
                <a:gd name="connsiteX70" fmla="*/ 94633 w 129928"/>
                <a:gd name="connsiteY70" fmla="*/ 67827 h 77580"/>
                <a:gd name="connsiteX71" fmla="*/ 93128 w 129928"/>
                <a:gd name="connsiteY71" fmla="*/ 69631 h 77580"/>
                <a:gd name="connsiteX72" fmla="*/ 91683 w 129928"/>
                <a:gd name="connsiteY72" fmla="*/ 70296 h 77580"/>
                <a:gd name="connsiteX73" fmla="*/ 87779 w 129928"/>
                <a:gd name="connsiteY73" fmla="*/ 69928 h 77580"/>
                <a:gd name="connsiteX74" fmla="*/ 86809 w 129928"/>
                <a:gd name="connsiteY74" fmla="*/ 70723 h 77580"/>
                <a:gd name="connsiteX75" fmla="*/ 86004 w 129928"/>
                <a:gd name="connsiteY75" fmla="*/ 74388 h 77580"/>
                <a:gd name="connsiteX76" fmla="*/ 85537 w 129928"/>
                <a:gd name="connsiteY76" fmla="*/ 75104 h 77580"/>
                <a:gd name="connsiteX77" fmla="*/ 82277 w 129928"/>
                <a:gd name="connsiteY77" fmla="*/ 74947 h 77580"/>
                <a:gd name="connsiteX78" fmla="*/ 79133 w 129928"/>
                <a:gd name="connsiteY78" fmla="*/ 76402 h 77580"/>
                <a:gd name="connsiteX79" fmla="*/ 75583 w 129928"/>
                <a:gd name="connsiteY79" fmla="*/ 77580 h 77580"/>
                <a:gd name="connsiteX80" fmla="*/ 73784 w 129928"/>
                <a:gd name="connsiteY80" fmla="*/ 76761 h 77580"/>
                <a:gd name="connsiteX81" fmla="*/ 72782 w 129928"/>
                <a:gd name="connsiteY81" fmla="*/ 75838 h 77580"/>
                <a:gd name="connsiteX82" fmla="*/ 70849 w 129928"/>
                <a:gd name="connsiteY82" fmla="*/ 76002 h 77580"/>
                <a:gd name="connsiteX83" fmla="*/ 68740 w 129928"/>
                <a:gd name="connsiteY83" fmla="*/ 76408 h 77580"/>
                <a:gd name="connsiteX84" fmla="*/ 67323 w 129928"/>
                <a:gd name="connsiteY84" fmla="*/ 76186 h 77580"/>
                <a:gd name="connsiteX85" fmla="*/ 65734 w 129928"/>
                <a:gd name="connsiteY85" fmla="*/ 76285 h 77580"/>
                <a:gd name="connsiteX86" fmla="*/ 62663 w 129928"/>
                <a:gd name="connsiteY86" fmla="*/ 76995 h 77580"/>
                <a:gd name="connsiteX87" fmla="*/ 58802 w 129928"/>
                <a:gd name="connsiteY87" fmla="*/ 76766 h 77580"/>
                <a:gd name="connsiteX88" fmla="*/ 57157 w 129928"/>
                <a:gd name="connsiteY88" fmla="*/ 76160 h 77580"/>
                <a:gd name="connsiteX89" fmla="*/ 57001 w 129928"/>
                <a:gd name="connsiteY89" fmla="*/ 75580 h 77580"/>
                <a:gd name="connsiteX90" fmla="*/ 57120 w 129928"/>
                <a:gd name="connsiteY90" fmla="*/ 74154 h 77580"/>
                <a:gd name="connsiteX91" fmla="*/ 57083 w 129928"/>
                <a:gd name="connsiteY91" fmla="*/ 71937 h 77580"/>
                <a:gd name="connsiteX92" fmla="*/ 56470 w 129928"/>
                <a:gd name="connsiteY92" fmla="*/ 69979 h 77580"/>
                <a:gd name="connsiteX93" fmla="*/ 54623 w 129928"/>
                <a:gd name="connsiteY93" fmla="*/ 68246 h 77580"/>
                <a:gd name="connsiteX94" fmla="*/ 52682 w 129928"/>
                <a:gd name="connsiteY94" fmla="*/ 67034 h 77580"/>
                <a:gd name="connsiteX95" fmla="*/ 50205 w 129928"/>
                <a:gd name="connsiteY95" fmla="*/ 65782 h 77580"/>
                <a:gd name="connsiteX96" fmla="*/ 48374 w 129928"/>
                <a:gd name="connsiteY96" fmla="*/ 65233 h 77580"/>
                <a:gd name="connsiteX97" fmla="*/ 47372 w 129928"/>
                <a:gd name="connsiteY97" fmla="*/ 65089 h 77580"/>
                <a:gd name="connsiteX98" fmla="*/ 47146 w 129928"/>
                <a:gd name="connsiteY98" fmla="*/ 64368 h 77580"/>
                <a:gd name="connsiteX99" fmla="*/ 46783 w 129928"/>
                <a:gd name="connsiteY99" fmla="*/ 63745 h 77580"/>
                <a:gd name="connsiteX100" fmla="*/ 45926 w 129928"/>
                <a:gd name="connsiteY100" fmla="*/ 63196 h 77580"/>
                <a:gd name="connsiteX101" fmla="*/ 44095 w 129928"/>
                <a:gd name="connsiteY101" fmla="*/ 62459 h 77580"/>
                <a:gd name="connsiteX102" fmla="*/ 42542 w 129928"/>
                <a:gd name="connsiteY102" fmla="*/ 62298 h 77580"/>
                <a:gd name="connsiteX103" fmla="*/ 41270 w 129928"/>
                <a:gd name="connsiteY103" fmla="*/ 63487 h 77580"/>
                <a:gd name="connsiteX104" fmla="*/ 40344 w 129928"/>
                <a:gd name="connsiteY104" fmla="*/ 61998 h 77580"/>
                <a:gd name="connsiteX105" fmla="*/ 39361 w 129928"/>
                <a:gd name="connsiteY105" fmla="*/ 59331 h 77580"/>
                <a:gd name="connsiteX106" fmla="*/ 39463 w 129928"/>
                <a:gd name="connsiteY106" fmla="*/ 57196 h 77580"/>
                <a:gd name="connsiteX107" fmla="*/ 40020 w 129928"/>
                <a:gd name="connsiteY107" fmla="*/ 55065 h 77580"/>
                <a:gd name="connsiteX108" fmla="*/ 42708 w 129928"/>
                <a:gd name="connsiteY108" fmla="*/ 48760 h 77580"/>
                <a:gd name="connsiteX109" fmla="*/ 42563 w 129928"/>
                <a:gd name="connsiteY109" fmla="*/ 47753 h 77580"/>
                <a:gd name="connsiteX110" fmla="*/ 40613 w 129928"/>
                <a:gd name="connsiteY110" fmla="*/ 45986 h 77580"/>
                <a:gd name="connsiteX111" fmla="*/ 38202 w 129928"/>
                <a:gd name="connsiteY111" fmla="*/ 44701 h 77580"/>
                <a:gd name="connsiteX112" fmla="*/ 36871 w 129928"/>
                <a:gd name="connsiteY112" fmla="*/ 41982 h 77580"/>
                <a:gd name="connsiteX113" fmla="*/ 31987 w 129928"/>
                <a:gd name="connsiteY113" fmla="*/ 41824 h 77580"/>
                <a:gd name="connsiteX114" fmla="*/ 27376 w 129928"/>
                <a:gd name="connsiteY114" fmla="*/ 41974 h 77580"/>
                <a:gd name="connsiteX115" fmla="*/ 25928 w 129928"/>
                <a:gd name="connsiteY115" fmla="*/ 41842 h 77580"/>
                <a:gd name="connsiteX116" fmla="*/ 21540 w 129928"/>
                <a:gd name="connsiteY116" fmla="*/ 40702 h 77580"/>
                <a:gd name="connsiteX117" fmla="*/ 17311 w 129928"/>
                <a:gd name="connsiteY117" fmla="*/ 38866 h 77580"/>
                <a:gd name="connsiteX118" fmla="*/ 14481 w 129928"/>
                <a:gd name="connsiteY118" fmla="*/ 37788 h 77580"/>
                <a:gd name="connsiteX119" fmla="*/ 12101 w 129928"/>
                <a:gd name="connsiteY119" fmla="*/ 36582 h 77580"/>
                <a:gd name="connsiteX120" fmla="*/ 10823 w 129928"/>
                <a:gd name="connsiteY120" fmla="*/ 35315 h 77580"/>
                <a:gd name="connsiteX121" fmla="*/ 8795 w 129928"/>
                <a:gd name="connsiteY121" fmla="*/ 35656 h 77580"/>
                <a:gd name="connsiteX122" fmla="*/ 7428 w 129928"/>
                <a:gd name="connsiteY122" fmla="*/ 35667 h 77580"/>
                <a:gd name="connsiteX123" fmla="*/ 7441 w 129928"/>
                <a:gd name="connsiteY123" fmla="*/ 35449 h 77580"/>
                <a:gd name="connsiteX124" fmla="*/ 6662 w 129928"/>
                <a:gd name="connsiteY124" fmla="*/ 33207 h 77580"/>
                <a:gd name="connsiteX125" fmla="*/ 7476 w 129928"/>
                <a:gd name="connsiteY125" fmla="*/ 29769 h 77580"/>
                <a:gd name="connsiteX126" fmla="*/ 5999 w 129928"/>
                <a:gd name="connsiteY126" fmla="*/ 24732 h 77580"/>
                <a:gd name="connsiteX127" fmla="*/ 3584 w 129928"/>
                <a:gd name="connsiteY127" fmla="*/ 18657 h 77580"/>
                <a:gd name="connsiteX128" fmla="*/ 3405 w 129928"/>
                <a:gd name="connsiteY128" fmla="*/ 12135 h 77580"/>
                <a:gd name="connsiteX129" fmla="*/ 3234 w 129928"/>
                <a:gd name="connsiteY129" fmla="*/ 10666 h 77580"/>
                <a:gd name="connsiteX130" fmla="*/ 9173 w 129928"/>
                <a:gd name="connsiteY130" fmla="*/ 6980 h 77580"/>
                <a:gd name="connsiteX131" fmla="*/ 16666 w 129928"/>
                <a:gd name="connsiteY131" fmla="*/ 3027 h 77580"/>
                <a:gd name="connsiteX132" fmla="*/ 18370 w 129928"/>
                <a:gd name="connsiteY132" fmla="*/ 2669 h 77580"/>
                <a:gd name="connsiteX133" fmla="*/ 25275 w 129928"/>
                <a:gd name="connsiteY133" fmla="*/ 326 h 77580"/>
                <a:gd name="connsiteX134" fmla="*/ 26197 w 129928"/>
                <a:gd name="connsiteY134" fmla="*/ 140 h 77580"/>
                <a:gd name="connsiteX135" fmla="*/ 32419 w 129928"/>
                <a:gd name="connsiteY135" fmla="*/ 574 h 77580"/>
                <a:gd name="connsiteX136" fmla="*/ 37306 w 129928"/>
                <a:gd name="connsiteY136" fmla="*/ 1131 h 77580"/>
                <a:gd name="connsiteX137" fmla="*/ 41425 w 129928"/>
                <a:gd name="connsiteY137" fmla="*/ 1062 h 77580"/>
                <a:gd name="connsiteX138" fmla="*/ 43688 w 129928"/>
                <a:gd name="connsiteY138" fmla="*/ 462 h 77580"/>
                <a:gd name="connsiteX139" fmla="*/ 45738 w 129928"/>
                <a:gd name="connsiteY139" fmla="*/ 964 h 77580"/>
                <a:gd name="connsiteX140" fmla="*/ 47390 w 129928"/>
                <a:gd name="connsiteY140" fmla="*/ 2729 h 77580"/>
                <a:gd name="connsiteX141" fmla="*/ 49089 w 129928"/>
                <a:gd name="connsiteY141" fmla="*/ 2522 h 77580"/>
                <a:gd name="connsiteX142" fmla="*/ 50771 w 129928"/>
                <a:gd name="connsiteY142" fmla="*/ 1380 h 77580"/>
                <a:gd name="connsiteX143" fmla="*/ 59987 w 129928"/>
                <a:gd name="connsiteY143" fmla="*/ 2423 h 77580"/>
                <a:gd name="connsiteX144" fmla="*/ 62067 w 129928"/>
                <a:gd name="connsiteY144" fmla="*/ 2398 h 77580"/>
                <a:gd name="connsiteX145" fmla="*/ 64410 w 129928"/>
                <a:gd name="connsiteY145" fmla="*/ 2567 h 77580"/>
                <a:gd name="connsiteX146" fmla="*/ 68733 w 129928"/>
                <a:gd name="connsiteY146" fmla="*/ 3630 h 77580"/>
                <a:gd name="connsiteX147" fmla="*/ 71220 w 129928"/>
                <a:gd name="connsiteY147" fmla="*/ 4600 h 77580"/>
                <a:gd name="connsiteX148" fmla="*/ 76686 w 129928"/>
                <a:gd name="connsiteY148" fmla="*/ 4014 h 77580"/>
                <a:gd name="connsiteX149" fmla="*/ 79025 w 129928"/>
                <a:gd name="connsiteY149" fmla="*/ 3980 h 77580"/>
                <a:gd name="connsiteX150" fmla="*/ 80249 w 129928"/>
                <a:gd name="connsiteY150" fmla="*/ 3598 h 77580"/>
                <a:gd name="connsiteX151" fmla="*/ 84019 w 129928"/>
                <a:gd name="connsiteY151" fmla="*/ 937 h 77580"/>
                <a:gd name="connsiteX152" fmla="*/ 85650 w 129928"/>
                <a:gd name="connsiteY152" fmla="*/ 479 h 77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</a:cxnLst>
              <a:rect l="l" t="t" r="r" b="b"/>
              <a:pathLst>
                <a:path w="129928" h="77580">
                  <a:moveTo>
                    <a:pt x="4755" y="24770"/>
                  </a:moveTo>
                  <a:lnTo>
                    <a:pt x="4774" y="26268"/>
                  </a:lnTo>
                  <a:lnTo>
                    <a:pt x="4513" y="28758"/>
                  </a:lnTo>
                  <a:lnTo>
                    <a:pt x="2917" y="33001"/>
                  </a:lnTo>
                  <a:lnTo>
                    <a:pt x="1283" y="35210"/>
                  </a:lnTo>
                  <a:lnTo>
                    <a:pt x="0" y="34971"/>
                  </a:lnTo>
                  <a:lnTo>
                    <a:pt x="2526" y="31410"/>
                  </a:lnTo>
                  <a:lnTo>
                    <a:pt x="3489" y="29096"/>
                  </a:lnTo>
                  <a:lnTo>
                    <a:pt x="4159" y="25805"/>
                  </a:lnTo>
                  <a:close/>
                  <a:moveTo>
                    <a:pt x="87148" y="0"/>
                  </a:moveTo>
                  <a:lnTo>
                    <a:pt x="88519" y="407"/>
                  </a:lnTo>
                  <a:lnTo>
                    <a:pt x="89422" y="2681"/>
                  </a:lnTo>
                  <a:lnTo>
                    <a:pt x="92210" y="6597"/>
                  </a:lnTo>
                  <a:lnTo>
                    <a:pt x="95240" y="7284"/>
                  </a:lnTo>
                  <a:lnTo>
                    <a:pt x="103616" y="8790"/>
                  </a:lnTo>
                  <a:lnTo>
                    <a:pt x="105328" y="9581"/>
                  </a:lnTo>
                  <a:lnTo>
                    <a:pt x="110042" y="13027"/>
                  </a:lnTo>
                  <a:lnTo>
                    <a:pt x="112869" y="14715"/>
                  </a:lnTo>
                  <a:lnTo>
                    <a:pt x="114667" y="16062"/>
                  </a:lnTo>
                  <a:lnTo>
                    <a:pt x="117410" y="18698"/>
                  </a:lnTo>
                  <a:lnTo>
                    <a:pt x="118995" y="20614"/>
                  </a:lnTo>
                  <a:lnTo>
                    <a:pt x="121645" y="22062"/>
                  </a:lnTo>
                  <a:lnTo>
                    <a:pt x="124780" y="23036"/>
                  </a:lnTo>
                  <a:lnTo>
                    <a:pt x="125900" y="23187"/>
                  </a:lnTo>
                  <a:lnTo>
                    <a:pt x="125840" y="24579"/>
                  </a:lnTo>
                  <a:lnTo>
                    <a:pt x="125305" y="26939"/>
                  </a:lnTo>
                  <a:lnTo>
                    <a:pt x="124257" y="29982"/>
                  </a:lnTo>
                  <a:lnTo>
                    <a:pt x="123158" y="32338"/>
                  </a:lnTo>
                  <a:lnTo>
                    <a:pt x="122895" y="33248"/>
                  </a:lnTo>
                  <a:lnTo>
                    <a:pt x="123728" y="34003"/>
                  </a:lnTo>
                  <a:lnTo>
                    <a:pt x="127840" y="34360"/>
                  </a:lnTo>
                  <a:lnTo>
                    <a:pt x="129584" y="34765"/>
                  </a:lnTo>
                  <a:lnTo>
                    <a:pt x="129928" y="35390"/>
                  </a:lnTo>
                  <a:lnTo>
                    <a:pt x="129015" y="36202"/>
                  </a:lnTo>
                  <a:lnTo>
                    <a:pt x="127702" y="36876"/>
                  </a:lnTo>
                  <a:lnTo>
                    <a:pt x="127114" y="37514"/>
                  </a:lnTo>
                  <a:lnTo>
                    <a:pt x="126069" y="39795"/>
                  </a:lnTo>
                  <a:lnTo>
                    <a:pt x="119228" y="39505"/>
                  </a:lnTo>
                  <a:lnTo>
                    <a:pt x="118321" y="39969"/>
                  </a:lnTo>
                  <a:lnTo>
                    <a:pt x="117889" y="41028"/>
                  </a:lnTo>
                  <a:lnTo>
                    <a:pt x="117548" y="42251"/>
                  </a:lnTo>
                  <a:lnTo>
                    <a:pt x="116650" y="43699"/>
                  </a:lnTo>
                  <a:lnTo>
                    <a:pt x="114832" y="44959"/>
                  </a:lnTo>
                  <a:lnTo>
                    <a:pt x="111990" y="45424"/>
                  </a:lnTo>
                  <a:lnTo>
                    <a:pt x="109664" y="46280"/>
                  </a:lnTo>
                  <a:lnTo>
                    <a:pt x="107930" y="48920"/>
                  </a:lnTo>
                  <a:lnTo>
                    <a:pt x="106639" y="52456"/>
                  </a:lnTo>
                  <a:lnTo>
                    <a:pt x="106671" y="54961"/>
                  </a:lnTo>
                  <a:lnTo>
                    <a:pt x="106842" y="56357"/>
                  </a:lnTo>
                  <a:lnTo>
                    <a:pt x="106691" y="57155"/>
                  </a:lnTo>
                  <a:lnTo>
                    <a:pt x="105814" y="58025"/>
                  </a:lnTo>
                  <a:lnTo>
                    <a:pt x="104380" y="60327"/>
                  </a:lnTo>
                  <a:lnTo>
                    <a:pt x="103214" y="62869"/>
                  </a:lnTo>
                  <a:lnTo>
                    <a:pt x="102767" y="64247"/>
                  </a:lnTo>
                  <a:lnTo>
                    <a:pt x="102992" y="64892"/>
                  </a:lnTo>
                  <a:lnTo>
                    <a:pt x="104305" y="64909"/>
                  </a:lnTo>
                  <a:lnTo>
                    <a:pt x="106199" y="65431"/>
                  </a:lnTo>
                  <a:lnTo>
                    <a:pt x="107207" y="66445"/>
                  </a:lnTo>
                  <a:lnTo>
                    <a:pt x="107580" y="67616"/>
                  </a:lnTo>
                  <a:lnTo>
                    <a:pt x="107585" y="68875"/>
                  </a:lnTo>
                  <a:lnTo>
                    <a:pt x="107231" y="69568"/>
                  </a:lnTo>
                  <a:lnTo>
                    <a:pt x="105713" y="70070"/>
                  </a:lnTo>
                  <a:lnTo>
                    <a:pt x="103335" y="70088"/>
                  </a:lnTo>
                  <a:lnTo>
                    <a:pt x="101949" y="69488"/>
                  </a:lnTo>
                  <a:lnTo>
                    <a:pt x="101662" y="69013"/>
                  </a:lnTo>
                  <a:lnTo>
                    <a:pt x="102324" y="67800"/>
                  </a:lnTo>
                  <a:lnTo>
                    <a:pt x="101845" y="66285"/>
                  </a:lnTo>
                  <a:lnTo>
                    <a:pt x="100861" y="65437"/>
                  </a:lnTo>
                  <a:lnTo>
                    <a:pt x="98859" y="66702"/>
                  </a:lnTo>
                  <a:lnTo>
                    <a:pt x="96937" y="66701"/>
                  </a:lnTo>
                  <a:lnTo>
                    <a:pt x="94633" y="67827"/>
                  </a:lnTo>
                  <a:lnTo>
                    <a:pt x="93128" y="69631"/>
                  </a:lnTo>
                  <a:lnTo>
                    <a:pt x="91683" y="70296"/>
                  </a:lnTo>
                  <a:lnTo>
                    <a:pt x="87779" y="69928"/>
                  </a:lnTo>
                  <a:lnTo>
                    <a:pt x="86809" y="70723"/>
                  </a:lnTo>
                  <a:lnTo>
                    <a:pt x="86004" y="74388"/>
                  </a:lnTo>
                  <a:lnTo>
                    <a:pt x="85537" y="75104"/>
                  </a:lnTo>
                  <a:lnTo>
                    <a:pt x="82277" y="74947"/>
                  </a:lnTo>
                  <a:lnTo>
                    <a:pt x="79133" y="76402"/>
                  </a:lnTo>
                  <a:lnTo>
                    <a:pt x="75583" y="77580"/>
                  </a:lnTo>
                  <a:lnTo>
                    <a:pt x="73784" y="76761"/>
                  </a:lnTo>
                  <a:lnTo>
                    <a:pt x="72782" y="75838"/>
                  </a:lnTo>
                  <a:lnTo>
                    <a:pt x="70849" y="76002"/>
                  </a:lnTo>
                  <a:lnTo>
                    <a:pt x="68740" y="76408"/>
                  </a:lnTo>
                  <a:lnTo>
                    <a:pt x="67323" y="76186"/>
                  </a:lnTo>
                  <a:lnTo>
                    <a:pt x="65734" y="76285"/>
                  </a:lnTo>
                  <a:lnTo>
                    <a:pt x="62663" y="76995"/>
                  </a:lnTo>
                  <a:lnTo>
                    <a:pt x="58802" y="76766"/>
                  </a:lnTo>
                  <a:lnTo>
                    <a:pt x="57157" y="76160"/>
                  </a:lnTo>
                  <a:lnTo>
                    <a:pt x="57001" y="75580"/>
                  </a:lnTo>
                  <a:lnTo>
                    <a:pt x="57120" y="74154"/>
                  </a:lnTo>
                  <a:lnTo>
                    <a:pt x="57083" y="71937"/>
                  </a:lnTo>
                  <a:lnTo>
                    <a:pt x="56470" y="69979"/>
                  </a:lnTo>
                  <a:lnTo>
                    <a:pt x="54623" y="68246"/>
                  </a:lnTo>
                  <a:lnTo>
                    <a:pt x="52682" y="67034"/>
                  </a:lnTo>
                  <a:lnTo>
                    <a:pt x="50205" y="65782"/>
                  </a:lnTo>
                  <a:lnTo>
                    <a:pt x="48374" y="65233"/>
                  </a:lnTo>
                  <a:lnTo>
                    <a:pt x="47372" y="65089"/>
                  </a:lnTo>
                  <a:lnTo>
                    <a:pt x="47146" y="64368"/>
                  </a:lnTo>
                  <a:lnTo>
                    <a:pt x="46783" y="63745"/>
                  </a:lnTo>
                  <a:lnTo>
                    <a:pt x="45926" y="63196"/>
                  </a:lnTo>
                  <a:lnTo>
                    <a:pt x="44095" y="62459"/>
                  </a:lnTo>
                  <a:lnTo>
                    <a:pt x="42542" y="62298"/>
                  </a:lnTo>
                  <a:lnTo>
                    <a:pt x="41270" y="63487"/>
                  </a:lnTo>
                  <a:lnTo>
                    <a:pt x="40344" y="61998"/>
                  </a:lnTo>
                  <a:lnTo>
                    <a:pt x="39361" y="59331"/>
                  </a:lnTo>
                  <a:lnTo>
                    <a:pt x="39463" y="57196"/>
                  </a:lnTo>
                  <a:lnTo>
                    <a:pt x="40020" y="55065"/>
                  </a:lnTo>
                  <a:lnTo>
                    <a:pt x="42708" y="48760"/>
                  </a:lnTo>
                  <a:lnTo>
                    <a:pt x="42563" y="47753"/>
                  </a:lnTo>
                  <a:lnTo>
                    <a:pt x="40613" y="45986"/>
                  </a:lnTo>
                  <a:lnTo>
                    <a:pt x="38202" y="44701"/>
                  </a:lnTo>
                  <a:lnTo>
                    <a:pt x="36871" y="41982"/>
                  </a:lnTo>
                  <a:lnTo>
                    <a:pt x="31987" y="41824"/>
                  </a:lnTo>
                  <a:lnTo>
                    <a:pt x="27376" y="41974"/>
                  </a:lnTo>
                  <a:lnTo>
                    <a:pt x="25928" y="41842"/>
                  </a:lnTo>
                  <a:lnTo>
                    <a:pt x="21540" y="40702"/>
                  </a:lnTo>
                  <a:lnTo>
                    <a:pt x="17311" y="38866"/>
                  </a:lnTo>
                  <a:lnTo>
                    <a:pt x="14481" y="37788"/>
                  </a:lnTo>
                  <a:lnTo>
                    <a:pt x="12101" y="36582"/>
                  </a:lnTo>
                  <a:lnTo>
                    <a:pt x="10823" y="35315"/>
                  </a:lnTo>
                  <a:lnTo>
                    <a:pt x="8795" y="35656"/>
                  </a:lnTo>
                  <a:lnTo>
                    <a:pt x="7428" y="35667"/>
                  </a:lnTo>
                  <a:lnTo>
                    <a:pt x="7441" y="35449"/>
                  </a:lnTo>
                  <a:lnTo>
                    <a:pt x="6662" y="33207"/>
                  </a:lnTo>
                  <a:lnTo>
                    <a:pt x="7476" y="29769"/>
                  </a:lnTo>
                  <a:lnTo>
                    <a:pt x="5999" y="24732"/>
                  </a:lnTo>
                  <a:lnTo>
                    <a:pt x="3584" y="18657"/>
                  </a:lnTo>
                  <a:lnTo>
                    <a:pt x="3405" y="12135"/>
                  </a:lnTo>
                  <a:lnTo>
                    <a:pt x="3234" y="10666"/>
                  </a:lnTo>
                  <a:lnTo>
                    <a:pt x="9173" y="6980"/>
                  </a:lnTo>
                  <a:lnTo>
                    <a:pt x="16666" y="3027"/>
                  </a:lnTo>
                  <a:lnTo>
                    <a:pt x="18370" y="2669"/>
                  </a:lnTo>
                  <a:lnTo>
                    <a:pt x="25275" y="326"/>
                  </a:lnTo>
                  <a:lnTo>
                    <a:pt x="26197" y="140"/>
                  </a:lnTo>
                  <a:lnTo>
                    <a:pt x="32419" y="574"/>
                  </a:lnTo>
                  <a:lnTo>
                    <a:pt x="37306" y="1131"/>
                  </a:lnTo>
                  <a:lnTo>
                    <a:pt x="41425" y="1062"/>
                  </a:lnTo>
                  <a:lnTo>
                    <a:pt x="43688" y="462"/>
                  </a:lnTo>
                  <a:lnTo>
                    <a:pt x="45738" y="964"/>
                  </a:lnTo>
                  <a:lnTo>
                    <a:pt x="47390" y="2729"/>
                  </a:lnTo>
                  <a:lnTo>
                    <a:pt x="49089" y="2522"/>
                  </a:lnTo>
                  <a:lnTo>
                    <a:pt x="50771" y="1380"/>
                  </a:lnTo>
                  <a:lnTo>
                    <a:pt x="59987" y="2423"/>
                  </a:lnTo>
                  <a:lnTo>
                    <a:pt x="62067" y="2398"/>
                  </a:lnTo>
                  <a:lnTo>
                    <a:pt x="64410" y="2567"/>
                  </a:lnTo>
                  <a:lnTo>
                    <a:pt x="68733" y="3630"/>
                  </a:lnTo>
                  <a:lnTo>
                    <a:pt x="71220" y="4600"/>
                  </a:lnTo>
                  <a:lnTo>
                    <a:pt x="76686" y="4014"/>
                  </a:lnTo>
                  <a:lnTo>
                    <a:pt x="79025" y="3980"/>
                  </a:lnTo>
                  <a:lnTo>
                    <a:pt x="80249" y="3598"/>
                  </a:lnTo>
                  <a:lnTo>
                    <a:pt x="84019" y="937"/>
                  </a:lnTo>
                  <a:lnTo>
                    <a:pt x="85650" y="479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40" name="ee4p_LU_1_37365">
              <a:extLst>
                <a:ext uri="{FF2B5EF4-FFF2-40B4-BE49-F238E27FC236}">
                  <a16:creationId xmlns:a16="http://schemas.microsoft.com/office/drawing/2014/main" id="{F61004C5-CA73-B261-5702-9D20BD77FD26}"/>
                </a:ext>
              </a:extLst>
            </p:cNvPr>
            <p:cNvSpPr>
              <a:spLocks noChangeAspect="1"/>
            </p:cNvSpPr>
            <p:nvPr>
              <p:custDataLst>
                <p:tags r:id="rId294"/>
              </p:custDataLst>
            </p:nvPr>
          </p:nvSpPr>
          <p:spPr>
            <a:xfrm>
              <a:off x="6673680" y="3110938"/>
              <a:ext cx="21349" cy="26816"/>
            </a:xfrm>
            <a:custGeom>
              <a:avLst/>
              <a:gdLst/>
              <a:ahLst/>
              <a:cxnLst/>
              <a:rect l="0" t="0" r="0" b="0"/>
              <a:pathLst>
                <a:path w="17000" h="20787">
                  <a:moveTo>
                    <a:pt x="8657" y="1335"/>
                  </a:moveTo>
                  <a:lnTo>
                    <a:pt x="8476" y="2109"/>
                  </a:lnTo>
                  <a:lnTo>
                    <a:pt x="8508" y="3838"/>
                  </a:lnTo>
                  <a:lnTo>
                    <a:pt x="9136" y="5572"/>
                  </a:lnTo>
                  <a:lnTo>
                    <a:pt x="10611" y="7279"/>
                  </a:lnTo>
                  <a:lnTo>
                    <a:pt x="11743" y="8517"/>
                  </a:lnTo>
                  <a:lnTo>
                    <a:pt x="13259" y="9505"/>
                  </a:lnTo>
                  <a:lnTo>
                    <a:pt x="15830" y="10443"/>
                  </a:lnTo>
                  <a:lnTo>
                    <a:pt x="16856" y="10640"/>
                  </a:lnTo>
                  <a:lnTo>
                    <a:pt x="16999" y="11909"/>
                  </a:lnTo>
                  <a:lnTo>
                    <a:pt x="16800" y="13250"/>
                  </a:lnTo>
                  <a:lnTo>
                    <a:pt x="15912" y="13991"/>
                  </a:lnTo>
                  <a:lnTo>
                    <a:pt x="15074" y="15057"/>
                  </a:lnTo>
                  <a:lnTo>
                    <a:pt x="14446" y="16361"/>
                  </a:lnTo>
                  <a:lnTo>
                    <a:pt x="13785" y="18857"/>
                  </a:lnTo>
                  <a:lnTo>
                    <a:pt x="13695" y="20577"/>
                  </a:lnTo>
                  <a:lnTo>
                    <a:pt x="12213" y="19865"/>
                  </a:lnTo>
                  <a:lnTo>
                    <a:pt x="11436" y="19383"/>
                  </a:lnTo>
                  <a:lnTo>
                    <a:pt x="10084" y="19252"/>
                  </a:lnTo>
                  <a:lnTo>
                    <a:pt x="8732" y="19645"/>
                  </a:lnTo>
                  <a:lnTo>
                    <a:pt x="7720" y="20522"/>
                  </a:lnTo>
                  <a:lnTo>
                    <a:pt x="6333" y="20786"/>
                  </a:lnTo>
                  <a:lnTo>
                    <a:pt x="5185" y="20522"/>
                  </a:lnTo>
                  <a:lnTo>
                    <a:pt x="4509" y="19865"/>
                  </a:lnTo>
                  <a:lnTo>
                    <a:pt x="3900" y="19515"/>
                  </a:lnTo>
                  <a:lnTo>
                    <a:pt x="2177" y="19075"/>
                  </a:lnTo>
                  <a:lnTo>
                    <a:pt x="1431" y="18122"/>
                  </a:lnTo>
                  <a:lnTo>
                    <a:pt x="2000" y="17676"/>
                  </a:lnTo>
                  <a:lnTo>
                    <a:pt x="2489" y="16972"/>
                  </a:lnTo>
                  <a:lnTo>
                    <a:pt x="2908" y="15980"/>
                  </a:lnTo>
                  <a:lnTo>
                    <a:pt x="3436" y="15063"/>
                  </a:lnTo>
                  <a:lnTo>
                    <a:pt x="1740" y="12549"/>
                  </a:lnTo>
                  <a:lnTo>
                    <a:pt x="1393" y="11780"/>
                  </a:lnTo>
                  <a:lnTo>
                    <a:pt x="0" y="10358"/>
                  </a:lnTo>
                  <a:lnTo>
                    <a:pt x="17" y="9636"/>
                  </a:lnTo>
                  <a:lnTo>
                    <a:pt x="350" y="8949"/>
                  </a:lnTo>
                  <a:lnTo>
                    <a:pt x="226" y="8417"/>
                  </a:lnTo>
                  <a:lnTo>
                    <a:pt x="421" y="7149"/>
                  </a:lnTo>
                  <a:lnTo>
                    <a:pt x="1395" y="5949"/>
                  </a:lnTo>
                  <a:lnTo>
                    <a:pt x="2043" y="4464"/>
                  </a:lnTo>
                  <a:lnTo>
                    <a:pt x="3137" y="2439"/>
                  </a:lnTo>
                  <a:lnTo>
                    <a:pt x="5556" y="0"/>
                  </a:lnTo>
                  <a:lnTo>
                    <a:pt x="7292" y="372"/>
                  </a:lnTo>
                  <a:lnTo>
                    <a:pt x="8050" y="364"/>
                  </a:lnTo>
                  <a:lnTo>
                    <a:pt x="8514" y="1255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41" name="ee4p_LV_1_37365">
              <a:extLst>
                <a:ext uri="{FF2B5EF4-FFF2-40B4-BE49-F238E27FC236}">
                  <a16:creationId xmlns:a16="http://schemas.microsoft.com/office/drawing/2014/main" id="{945BD9D4-1F94-D253-E289-9BED86C45B83}"/>
                </a:ext>
              </a:extLst>
            </p:cNvPr>
            <p:cNvSpPr>
              <a:spLocks noChangeAspect="1"/>
            </p:cNvSpPr>
            <p:nvPr>
              <p:custDataLst>
                <p:tags r:id="rId295"/>
              </p:custDataLst>
            </p:nvPr>
          </p:nvSpPr>
          <p:spPr>
            <a:xfrm>
              <a:off x="7098272" y="2801043"/>
              <a:ext cx="199582" cy="97509"/>
            </a:xfrm>
            <a:custGeom>
              <a:avLst/>
              <a:gdLst/>
              <a:ahLst/>
              <a:cxnLst/>
              <a:rect l="0" t="0" r="0" b="0"/>
              <a:pathLst>
                <a:path w="158923" h="75586">
                  <a:moveTo>
                    <a:pt x="140124" y="17113"/>
                  </a:moveTo>
                  <a:lnTo>
                    <a:pt x="142728" y="17243"/>
                  </a:lnTo>
                  <a:lnTo>
                    <a:pt x="143644" y="17749"/>
                  </a:lnTo>
                  <a:lnTo>
                    <a:pt x="144253" y="20242"/>
                  </a:lnTo>
                  <a:lnTo>
                    <a:pt x="147218" y="22202"/>
                  </a:lnTo>
                  <a:lnTo>
                    <a:pt x="149963" y="23827"/>
                  </a:lnTo>
                  <a:lnTo>
                    <a:pt x="150664" y="24577"/>
                  </a:lnTo>
                  <a:lnTo>
                    <a:pt x="150878" y="26024"/>
                  </a:lnTo>
                  <a:lnTo>
                    <a:pt x="150701" y="27712"/>
                  </a:lnTo>
                  <a:lnTo>
                    <a:pt x="150353" y="28586"/>
                  </a:lnTo>
                  <a:lnTo>
                    <a:pt x="149209" y="29593"/>
                  </a:lnTo>
                  <a:lnTo>
                    <a:pt x="148205" y="32139"/>
                  </a:lnTo>
                  <a:lnTo>
                    <a:pt x="148067" y="34560"/>
                  </a:lnTo>
                  <a:lnTo>
                    <a:pt x="146482" y="38739"/>
                  </a:lnTo>
                  <a:lnTo>
                    <a:pt x="146840" y="38816"/>
                  </a:lnTo>
                  <a:lnTo>
                    <a:pt x="150166" y="38063"/>
                  </a:lnTo>
                  <a:lnTo>
                    <a:pt x="151107" y="38495"/>
                  </a:lnTo>
                  <a:lnTo>
                    <a:pt x="151835" y="39417"/>
                  </a:lnTo>
                  <a:lnTo>
                    <a:pt x="152068" y="42035"/>
                  </a:lnTo>
                  <a:lnTo>
                    <a:pt x="153158" y="43211"/>
                  </a:lnTo>
                  <a:lnTo>
                    <a:pt x="154268" y="45048"/>
                  </a:lnTo>
                  <a:lnTo>
                    <a:pt x="154620" y="46477"/>
                  </a:lnTo>
                  <a:lnTo>
                    <a:pt x="156734" y="48178"/>
                  </a:lnTo>
                  <a:lnTo>
                    <a:pt x="156905" y="49277"/>
                  </a:lnTo>
                  <a:lnTo>
                    <a:pt x="158196" y="53160"/>
                  </a:lnTo>
                  <a:lnTo>
                    <a:pt x="158693" y="55393"/>
                  </a:lnTo>
                  <a:lnTo>
                    <a:pt x="158922" y="57119"/>
                  </a:lnTo>
                  <a:lnTo>
                    <a:pt x="158287" y="59309"/>
                  </a:lnTo>
                  <a:lnTo>
                    <a:pt x="157726" y="60790"/>
                  </a:lnTo>
                  <a:lnTo>
                    <a:pt x="157061" y="60700"/>
                  </a:lnTo>
                  <a:lnTo>
                    <a:pt x="155162" y="61090"/>
                  </a:lnTo>
                  <a:lnTo>
                    <a:pt x="152161" y="62874"/>
                  </a:lnTo>
                  <a:lnTo>
                    <a:pt x="147693" y="67069"/>
                  </a:lnTo>
                  <a:lnTo>
                    <a:pt x="146544" y="67998"/>
                  </a:lnTo>
                  <a:lnTo>
                    <a:pt x="145376" y="71187"/>
                  </a:lnTo>
                  <a:lnTo>
                    <a:pt x="145095" y="71510"/>
                  </a:lnTo>
                  <a:lnTo>
                    <a:pt x="142496" y="71363"/>
                  </a:lnTo>
                  <a:lnTo>
                    <a:pt x="141787" y="71287"/>
                  </a:lnTo>
                  <a:lnTo>
                    <a:pt x="139179" y="71351"/>
                  </a:lnTo>
                  <a:lnTo>
                    <a:pt x="133504" y="70522"/>
                  </a:lnTo>
                  <a:lnTo>
                    <a:pt x="131303" y="71070"/>
                  </a:lnTo>
                  <a:lnTo>
                    <a:pt x="128416" y="74291"/>
                  </a:lnTo>
                  <a:lnTo>
                    <a:pt x="127298" y="74764"/>
                  </a:lnTo>
                  <a:lnTo>
                    <a:pt x="123944" y="75210"/>
                  </a:lnTo>
                  <a:lnTo>
                    <a:pt x="123354" y="75585"/>
                  </a:lnTo>
                  <a:lnTo>
                    <a:pt x="122234" y="75434"/>
                  </a:lnTo>
                  <a:lnTo>
                    <a:pt x="119099" y="74460"/>
                  </a:lnTo>
                  <a:lnTo>
                    <a:pt x="116449" y="73012"/>
                  </a:lnTo>
                  <a:lnTo>
                    <a:pt x="114864" y="71096"/>
                  </a:lnTo>
                  <a:lnTo>
                    <a:pt x="112121" y="68460"/>
                  </a:lnTo>
                  <a:lnTo>
                    <a:pt x="110323" y="67113"/>
                  </a:lnTo>
                  <a:lnTo>
                    <a:pt x="107496" y="65425"/>
                  </a:lnTo>
                  <a:lnTo>
                    <a:pt x="102782" y="61979"/>
                  </a:lnTo>
                  <a:lnTo>
                    <a:pt x="101070" y="61188"/>
                  </a:lnTo>
                  <a:lnTo>
                    <a:pt x="92694" y="59682"/>
                  </a:lnTo>
                  <a:lnTo>
                    <a:pt x="89664" y="58995"/>
                  </a:lnTo>
                  <a:lnTo>
                    <a:pt x="86876" y="55079"/>
                  </a:lnTo>
                  <a:lnTo>
                    <a:pt x="85973" y="52805"/>
                  </a:lnTo>
                  <a:lnTo>
                    <a:pt x="84602" y="52398"/>
                  </a:lnTo>
                  <a:lnTo>
                    <a:pt x="83104" y="52877"/>
                  </a:lnTo>
                  <a:lnTo>
                    <a:pt x="81473" y="53335"/>
                  </a:lnTo>
                  <a:lnTo>
                    <a:pt x="77703" y="55996"/>
                  </a:lnTo>
                  <a:lnTo>
                    <a:pt x="76479" y="56378"/>
                  </a:lnTo>
                  <a:lnTo>
                    <a:pt x="74140" y="56412"/>
                  </a:lnTo>
                  <a:lnTo>
                    <a:pt x="68674" y="56998"/>
                  </a:lnTo>
                  <a:lnTo>
                    <a:pt x="66187" y="56028"/>
                  </a:lnTo>
                  <a:lnTo>
                    <a:pt x="61864" y="54965"/>
                  </a:lnTo>
                  <a:lnTo>
                    <a:pt x="59521" y="54796"/>
                  </a:lnTo>
                  <a:lnTo>
                    <a:pt x="57441" y="54821"/>
                  </a:lnTo>
                  <a:lnTo>
                    <a:pt x="48225" y="53778"/>
                  </a:lnTo>
                  <a:lnTo>
                    <a:pt x="46543" y="54920"/>
                  </a:lnTo>
                  <a:lnTo>
                    <a:pt x="44844" y="55127"/>
                  </a:lnTo>
                  <a:lnTo>
                    <a:pt x="43192" y="53362"/>
                  </a:lnTo>
                  <a:lnTo>
                    <a:pt x="41142" y="52860"/>
                  </a:lnTo>
                  <a:lnTo>
                    <a:pt x="38879" y="53460"/>
                  </a:lnTo>
                  <a:lnTo>
                    <a:pt x="34760" y="53529"/>
                  </a:lnTo>
                  <a:lnTo>
                    <a:pt x="29873" y="52972"/>
                  </a:lnTo>
                  <a:lnTo>
                    <a:pt x="23651" y="52538"/>
                  </a:lnTo>
                  <a:lnTo>
                    <a:pt x="22729" y="52724"/>
                  </a:lnTo>
                  <a:lnTo>
                    <a:pt x="15824" y="55067"/>
                  </a:lnTo>
                  <a:lnTo>
                    <a:pt x="14120" y="55425"/>
                  </a:lnTo>
                  <a:lnTo>
                    <a:pt x="6627" y="59378"/>
                  </a:lnTo>
                  <a:lnTo>
                    <a:pt x="688" y="63064"/>
                  </a:lnTo>
                  <a:lnTo>
                    <a:pt x="0" y="57165"/>
                  </a:lnTo>
                  <a:lnTo>
                    <a:pt x="365" y="45323"/>
                  </a:lnTo>
                  <a:lnTo>
                    <a:pt x="1246" y="39431"/>
                  </a:lnTo>
                  <a:lnTo>
                    <a:pt x="5361" y="35991"/>
                  </a:lnTo>
                  <a:lnTo>
                    <a:pt x="7426" y="33308"/>
                  </a:lnTo>
                  <a:lnTo>
                    <a:pt x="8627" y="29723"/>
                  </a:lnTo>
                  <a:lnTo>
                    <a:pt x="8989" y="26401"/>
                  </a:lnTo>
                  <a:lnTo>
                    <a:pt x="9823" y="23652"/>
                  </a:lnTo>
                  <a:lnTo>
                    <a:pt x="15783" y="15747"/>
                  </a:lnTo>
                  <a:lnTo>
                    <a:pt x="20507" y="14891"/>
                  </a:lnTo>
                  <a:lnTo>
                    <a:pt x="26899" y="12692"/>
                  </a:lnTo>
                  <a:lnTo>
                    <a:pt x="34044" y="10858"/>
                  </a:lnTo>
                  <a:lnTo>
                    <a:pt x="35425" y="13191"/>
                  </a:lnTo>
                  <a:lnTo>
                    <a:pt x="36124" y="14970"/>
                  </a:lnTo>
                  <a:lnTo>
                    <a:pt x="44729" y="21440"/>
                  </a:lnTo>
                  <a:lnTo>
                    <a:pt x="46919" y="23609"/>
                  </a:lnTo>
                  <a:lnTo>
                    <a:pt x="50247" y="31029"/>
                  </a:lnTo>
                  <a:lnTo>
                    <a:pt x="58217" y="34782"/>
                  </a:lnTo>
                  <a:lnTo>
                    <a:pt x="64483" y="33598"/>
                  </a:lnTo>
                  <a:lnTo>
                    <a:pt x="67206" y="31776"/>
                  </a:lnTo>
                  <a:lnTo>
                    <a:pt x="72225" y="28414"/>
                  </a:lnTo>
                  <a:lnTo>
                    <a:pt x="74466" y="25950"/>
                  </a:lnTo>
                  <a:lnTo>
                    <a:pt x="74922" y="23572"/>
                  </a:lnTo>
                  <a:lnTo>
                    <a:pt x="74032" y="13378"/>
                  </a:lnTo>
                  <a:lnTo>
                    <a:pt x="72674" y="8945"/>
                  </a:lnTo>
                  <a:lnTo>
                    <a:pt x="73138" y="6179"/>
                  </a:lnTo>
                  <a:lnTo>
                    <a:pt x="74021" y="6322"/>
                  </a:lnTo>
                  <a:lnTo>
                    <a:pt x="76153" y="4987"/>
                  </a:lnTo>
                  <a:lnTo>
                    <a:pt x="83160" y="2507"/>
                  </a:lnTo>
                  <a:lnTo>
                    <a:pt x="84559" y="2396"/>
                  </a:lnTo>
                  <a:lnTo>
                    <a:pt x="86157" y="1887"/>
                  </a:lnTo>
                  <a:lnTo>
                    <a:pt x="90573" y="0"/>
                  </a:lnTo>
                  <a:lnTo>
                    <a:pt x="91992" y="1004"/>
                  </a:lnTo>
                  <a:lnTo>
                    <a:pt x="93175" y="2144"/>
                  </a:lnTo>
                  <a:lnTo>
                    <a:pt x="93829" y="2158"/>
                  </a:lnTo>
                  <a:lnTo>
                    <a:pt x="94147" y="1734"/>
                  </a:lnTo>
                  <a:lnTo>
                    <a:pt x="94058" y="1001"/>
                  </a:lnTo>
                  <a:lnTo>
                    <a:pt x="94367" y="479"/>
                  </a:lnTo>
                  <a:lnTo>
                    <a:pt x="95637" y="769"/>
                  </a:lnTo>
                  <a:lnTo>
                    <a:pt x="100750" y="3869"/>
                  </a:lnTo>
                  <a:lnTo>
                    <a:pt x="102715" y="4593"/>
                  </a:lnTo>
                  <a:lnTo>
                    <a:pt x="104058" y="4796"/>
                  </a:lnTo>
                  <a:lnTo>
                    <a:pt x="105669" y="6245"/>
                  </a:lnTo>
                  <a:lnTo>
                    <a:pt x="110033" y="7217"/>
                  </a:lnTo>
                  <a:lnTo>
                    <a:pt x="110567" y="7966"/>
                  </a:lnTo>
                  <a:lnTo>
                    <a:pt x="110901" y="8900"/>
                  </a:lnTo>
                  <a:lnTo>
                    <a:pt x="114985" y="12822"/>
                  </a:lnTo>
                  <a:lnTo>
                    <a:pt x="116820" y="14788"/>
                  </a:lnTo>
                  <a:lnTo>
                    <a:pt x="120448" y="16592"/>
                  </a:lnTo>
                  <a:lnTo>
                    <a:pt x="122007" y="17021"/>
                  </a:lnTo>
                  <a:lnTo>
                    <a:pt x="128356" y="15182"/>
                  </a:lnTo>
                  <a:lnTo>
                    <a:pt x="130127" y="14542"/>
                  </a:lnTo>
                  <a:lnTo>
                    <a:pt x="131590" y="14532"/>
                  </a:lnTo>
                  <a:lnTo>
                    <a:pt x="133081" y="15500"/>
                  </a:lnTo>
                  <a:lnTo>
                    <a:pt x="136479" y="16788"/>
                  </a:lnTo>
                  <a:lnTo>
                    <a:pt x="139563" y="17196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42" name="ee4p_MC_1_37365">
              <a:extLst>
                <a:ext uri="{FF2B5EF4-FFF2-40B4-BE49-F238E27FC236}">
                  <a16:creationId xmlns:a16="http://schemas.microsoft.com/office/drawing/2014/main" id="{A2B54FF5-99B2-802D-B310-865B6E975C0E}"/>
                </a:ext>
              </a:extLst>
            </p:cNvPr>
            <p:cNvSpPr>
              <a:spLocks noChangeAspect="1"/>
            </p:cNvSpPr>
            <p:nvPr>
              <p:custDataLst>
                <p:tags r:id="rId296"/>
              </p:custDataLst>
            </p:nvPr>
          </p:nvSpPr>
          <p:spPr>
            <a:xfrm>
              <a:off x="6719575" y="3341319"/>
              <a:ext cx="1694" cy="1365"/>
            </a:xfrm>
            <a:custGeom>
              <a:avLst/>
              <a:gdLst/>
              <a:ahLst/>
              <a:cxnLst/>
              <a:rect l="0" t="0" r="0" b="0"/>
              <a:pathLst>
                <a:path w="1349" h="1058">
                  <a:moveTo>
                    <a:pt x="1348" y="552"/>
                  </a:moveTo>
                  <a:lnTo>
                    <a:pt x="0" y="1057"/>
                  </a:lnTo>
                  <a:lnTo>
                    <a:pt x="52" y="477"/>
                  </a:lnTo>
                  <a:lnTo>
                    <a:pt x="383" y="150"/>
                  </a:lnTo>
                  <a:lnTo>
                    <a:pt x="812" y="0"/>
                  </a:lnTo>
                  <a:lnTo>
                    <a:pt x="1309" y="254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43" name="ee4p_MD_1_37365">
              <a:extLst>
                <a:ext uri="{FF2B5EF4-FFF2-40B4-BE49-F238E27FC236}">
                  <a16:creationId xmlns:a16="http://schemas.microsoft.com/office/drawing/2014/main" id="{B34341DA-B006-BA70-B830-6233FB3447FC}"/>
                </a:ext>
              </a:extLst>
            </p:cNvPr>
            <p:cNvSpPr>
              <a:spLocks noChangeAspect="1"/>
            </p:cNvSpPr>
            <p:nvPr>
              <p:custDataLst>
                <p:tags r:id="rId297"/>
              </p:custDataLst>
            </p:nvPr>
          </p:nvSpPr>
          <p:spPr>
            <a:xfrm>
              <a:off x="7253891" y="3173359"/>
              <a:ext cx="97530" cy="108971"/>
            </a:xfrm>
            <a:custGeom>
              <a:avLst/>
              <a:gdLst/>
              <a:ahLst/>
              <a:cxnLst/>
              <a:rect l="0" t="0" r="0" b="0"/>
              <a:pathLst>
                <a:path w="77661" h="84471">
                  <a:moveTo>
                    <a:pt x="35237" y="84470"/>
                  </a:moveTo>
                  <a:lnTo>
                    <a:pt x="34131" y="82731"/>
                  </a:lnTo>
                  <a:lnTo>
                    <a:pt x="33013" y="81209"/>
                  </a:lnTo>
                  <a:lnTo>
                    <a:pt x="32190" y="80389"/>
                  </a:lnTo>
                  <a:lnTo>
                    <a:pt x="32536" y="80010"/>
                  </a:lnTo>
                  <a:lnTo>
                    <a:pt x="33432" y="79583"/>
                  </a:lnTo>
                  <a:lnTo>
                    <a:pt x="34071" y="79065"/>
                  </a:lnTo>
                  <a:lnTo>
                    <a:pt x="33993" y="77249"/>
                  </a:lnTo>
                  <a:lnTo>
                    <a:pt x="33522" y="75161"/>
                  </a:lnTo>
                  <a:lnTo>
                    <a:pt x="33093" y="74151"/>
                  </a:lnTo>
                  <a:lnTo>
                    <a:pt x="33050" y="72565"/>
                  </a:lnTo>
                  <a:lnTo>
                    <a:pt x="32743" y="70094"/>
                  </a:lnTo>
                  <a:lnTo>
                    <a:pt x="33172" y="65505"/>
                  </a:lnTo>
                  <a:lnTo>
                    <a:pt x="34952" y="59722"/>
                  </a:lnTo>
                  <a:lnTo>
                    <a:pt x="35941" y="56846"/>
                  </a:lnTo>
                  <a:lnTo>
                    <a:pt x="35461" y="55270"/>
                  </a:lnTo>
                  <a:lnTo>
                    <a:pt x="35833" y="51581"/>
                  </a:lnTo>
                  <a:lnTo>
                    <a:pt x="35064" y="49757"/>
                  </a:lnTo>
                  <a:lnTo>
                    <a:pt x="33855" y="47372"/>
                  </a:lnTo>
                  <a:lnTo>
                    <a:pt x="32125" y="42179"/>
                  </a:lnTo>
                  <a:lnTo>
                    <a:pt x="29968" y="40370"/>
                  </a:lnTo>
                  <a:lnTo>
                    <a:pt x="27305" y="38379"/>
                  </a:lnTo>
                  <a:lnTo>
                    <a:pt x="26167" y="36875"/>
                  </a:lnTo>
                  <a:lnTo>
                    <a:pt x="25407" y="35217"/>
                  </a:lnTo>
                  <a:lnTo>
                    <a:pt x="23820" y="33570"/>
                  </a:lnTo>
                  <a:lnTo>
                    <a:pt x="22004" y="32055"/>
                  </a:lnTo>
                  <a:lnTo>
                    <a:pt x="19832" y="28268"/>
                  </a:lnTo>
                  <a:lnTo>
                    <a:pt x="18705" y="26555"/>
                  </a:lnTo>
                  <a:lnTo>
                    <a:pt x="18359" y="26093"/>
                  </a:lnTo>
                  <a:lnTo>
                    <a:pt x="15876" y="23660"/>
                  </a:lnTo>
                  <a:lnTo>
                    <a:pt x="14572" y="21460"/>
                  </a:lnTo>
                  <a:lnTo>
                    <a:pt x="13913" y="19652"/>
                  </a:lnTo>
                  <a:lnTo>
                    <a:pt x="13531" y="17976"/>
                  </a:lnTo>
                  <a:lnTo>
                    <a:pt x="11788" y="14664"/>
                  </a:lnTo>
                  <a:lnTo>
                    <a:pt x="10203" y="12170"/>
                  </a:lnTo>
                  <a:lnTo>
                    <a:pt x="8696" y="10395"/>
                  </a:lnTo>
                  <a:lnTo>
                    <a:pt x="8001" y="9137"/>
                  </a:lnTo>
                  <a:lnTo>
                    <a:pt x="6237" y="7551"/>
                  </a:lnTo>
                  <a:lnTo>
                    <a:pt x="3723" y="6287"/>
                  </a:lnTo>
                  <a:lnTo>
                    <a:pt x="2097" y="6070"/>
                  </a:lnTo>
                  <a:lnTo>
                    <a:pt x="0" y="6172"/>
                  </a:lnTo>
                  <a:lnTo>
                    <a:pt x="475" y="5202"/>
                  </a:lnTo>
                  <a:lnTo>
                    <a:pt x="5044" y="2568"/>
                  </a:lnTo>
                  <a:lnTo>
                    <a:pt x="6228" y="2999"/>
                  </a:lnTo>
                  <a:lnTo>
                    <a:pt x="8614" y="3103"/>
                  </a:lnTo>
                  <a:lnTo>
                    <a:pt x="13479" y="3013"/>
                  </a:lnTo>
                  <a:lnTo>
                    <a:pt x="15876" y="1277"/>
                  </a:lnTo>
                  <a:lnTo>
                    <a:pt x="17355" y="1761"/>
                  </a:lnTo>
                  <a:lnTo>
                    <a:pt x="18562" y="983"/>
                  </a:lnTo>
                  <a:lnTo>
                    <a:pt x="20571" y="0"/>
                  </a:lnTo>
                  <a:lnTo>
                    <a:pt x="20858" y="208"/>
                  </a:lnTo>
                  <a:lnTo>
                    <a:pt x="21112" y="364"/>
                  </a:lnTo>
                  <a:lnTo>
                    <a:pt x="24224" y="800"/>
                  </a:lnTo>
                  <a:lnTo>
                    <a:pt x="26559" y="1743"/>
                  </a:lnTo>
                  <a:lnTo>
                    <a:pt x="28120" y="3189"/>
                  </a:lnTo>
                  <a:lnTo>
                    <a:pt x="29728" y="4087"/>
                  </a:lnTo>
                  <a:lnTo>
                    <a:pt x="31389" y="4434"/>
                  </a:lnTo>
                  <a:lnTo>
                    <a:pt x="32309" y="5155"/>
                  </a:lnTo>
                  <a:lnTo>
                    <a:pt x="32495" y="6253"/>
                  </a:lnTo>
                  <a:lnTo>
                    <a:pt x="34049" y="6791"/>
                  </a:lnTo>
                  <a:lnTo>
                    <a:pt x="36973" y="6775"/>
                  </a:lnTo>
                  <a:lnTo>
                    <a:pt x="38215" y="7497"/>
                  </a:lnTo>
                  <a:lnTo>
                    <a:pt x="37768" y="8956"/>
                  </a:lnTo>
                  <a:lnTo>
                    <a:pt x="38068" y="9437"/>
                  </a:lnTo>
                  <a:lnTo>
                    <a:pt x="39107" y="8937"/>
                  </a:lnTo>
                  <a:lnTo>
                    <a:pt x="39893" y="9368"/>
                  </a:lnTo>
                  <a:lnTo>
                    <a:pt x="40312" y="10447"/>
                  </a:lnTo>
                  <a:lnTo>
                    <a:pt x="40778" y="10960"/>
                  </a:lnTo>
                  <a:lnTo>
                    <a:pt x="42268" y="9271"/>
                  </a:lnTo>
                  <a:lnTo>
                    <a:pt x="43842" y="9438"/>
                  </a:lnTo>
                  <a:lnTo>
                    <a:pt x="47649" y="10139"/>
                  </a:lnTo>
                  <a:lnTo>
                    <a:pt x="49683" y="13638"/>
                  </a:lnTo>
                  <a:lnTo>
                    <a:pt x="50951" y="14894"/>
                  </a:lnTo>
                  <a:lnTo>
                    <a:pt x="52060" y="15405"/>
                  </a:lnTo>
                  <a:lnTo>
                    <a:pt x="53467" y="14860"/>
                  </a:lnTo>
                  <a:lnTo>
                    <a:pt x="54706" y="14208"/>
                  </a:lnTo>
                  <a:lnTo>
                    <a:pt x="55423" y="14515"/>
                  </a:lnTo>
                  <a:lnTo>
                    <a:pt x="56958" y="16830"/>
                  </a:lnTo>
                  <a:lnTo>
                    <a:pt x="57319" y="19856"/>
                  </a:lnTo>
                  <a:lnTo>
                    <a:pt x="57310" y="21079"/>
                  </a:lnTo>
                  <a:lnTo>
                    <a:pt x="56764" y="23130"/>
                  </a:lnTo>
                  <a:lnTo>
                    <a:pt x="55987" y="25314"/>
                  </a:lnTo>
                  <a:lnTo>
                    <a:pt x="55369" y="26732"/>
                  </a:lnTo>
                  <a:lnTo>
                    <a:pt x="55632" y="27873"/>
                  </a:lnTo>
                  <a:lnTo>
                    <a:pt x="56183" y="28828"/>
                  </a:lnTo>
                  <a:lnTo>
                    <a:pt x="57086" y="29142"/>
                  </a:lnTo>
                  <a:lnTo>
                    <a:pt x="60031" y="31069"/>
                  </a:lnTo>
                  <a:lnTo>
                    <a:pt x="61128" y="32405"/>
                  </a:lnTo>
                  <a:lnTo>
                    <a:pt x="62726" y="33396"/>
                  </a:lnTo>
                  <a:lnTo>
                    <a:pt x="63942" y="33450"/>
                  </a:lnTo>
                  <a:lnTo>
                    <a:pt x="64572" y="34002"/>
                  </a:lnTo>
                  <a:lnTo>
                    <a:pt x="64797" y="34679"/>
                  </a:lnTo>
                  <a:lnTo>
                    <a:pt x="64631" y="36393"/>
                  </a:lnTo>
                  <a:lnTo>
                    <a:pt x="63948" y="38001"/>
                  </a:lnTo>
                  <a:lnTo>
                    <a:pt x="64039" y="39032"/>
                  </a:lnTo>
                  <a:lnTo>
                    <a:pt x="65110" y="40250"/>
                  </a:lnTo>
                  <a:lnTo>
                    <a:pt x="65224" y="41668"/>
                  </a:lnTo>
                  <a:lnTo>
                    <a:pt x="65298" y="42580"/>
                  </a:lnTo>
                  <a:lnTo>
                    <a:pt x="65868" y="43283"/>
                  </a:lnTo>
                  <a:lnTo>
                    <a:pt x="68565" y="44842"/>
                  </a:lnTo>
                  <a:lnTo>
                    <a:pt x="72061" y="46347"/>
                  </a:lnTo>
                  <a:lnTo>
                    <a:pt x="72951" y="47642"/>
                  </a:lnTo>
                  <a:lnTo>
                    <a:pt x="73491" y="49274"/>
                  </a:lnTo>
                  <a:lnTo>
                    <a:pt x="73320" y="52021"/>
                  </a:lnTo>
                  <a:lnTo>
                    <a:pt x="73089" y="54415"/>
                  </a:lnTo>
                  <a:lnTo>
                    <a:pt x="77660" y="57628"/>
                  </a:lnTo>
                  <a:lnTo>
                    <a:pt x="77140" y="58225"/>
                  </a:lnTo>
                  <a:lnTo>
                    <a:pt x="76436" y="58883"/>
                  </a:lnTo>
                  <a:lnTo>
                    <a:pt x="72065" y="59372"/>
                  </a:lnTo>
                  <a:lnTo>
                    <a:pt x="71178" y="59640"/>
                  </a:lnTo>
                  <a:lnTo>
                    <a:pt x="69278" y="57220"/>
                  </a:lnTo>
                  <a:lnTo>
                    <a:pt x="68280" y="56917"/>
                  </a:lnTo>
                  <a:lnTo>
                    <a:pt x="67345" y="57804"/>
                  </a:lnTo>
                  <a:lnTo>
                    <a:pt x="66248" y="58301"/>
                  </a:lnTo>
                  <a:lnTo>
                    <a:pt x="64924" y="58053"/>
                  </a:lnTo>
                  <a:lnTo>
                    <a:pt x="63507" y="57307"/>
                  </a:lnTo>
                  <a:lnTo>
                    <a:pt x="62795" y="56777"/>
                  </a:lnTo>
                  <a:lnTo>
                    <a:pt x="62221" y="56716"/>
                  </a:lnTo>
                  <a:lnTo>
                    <a:pt x="61337" y="57245"/>
                  </a:lnTo>
                  <a:lnTo>
                    <a:pt x="60158" y="57018"/>
                  </a:lnTo>
                  <a:lnTo>
                    <a:pt x="59392" y="56421"/>
                  </a:lnTo>
                  <a:lnTo>
                    <a:pt x="58280" y="58473"/>
                  </a:lnTo>
                  <a:lnTo>
                    <a:pt x="57600" y="58907"/>
                  </a:lnTo>
                  <a:lnTo>
                    <a:pt x="57174" y="58841"/>
                  </a:lnTo>
                  <a:lnTo>
                    <a:pt x="57090" y="55356"/>
                  </a:lnTo>
                  <a:lnTo>
                    <a:pt x="56768" y="54828"/>
                  </a:lnTo>
                  <a:lnTo>
                    <a:pt x="55885" y="54747"/>
                  </a:lnTo>
                  <a:lnTo>
                    <a:pt x="53754" y="55576"/>
                  </a:lnTo>
                  <a:lnTo>
                    <a:pt x="51730" y="56645"/>
                  </a:lnTo>
                  <a:lnTo>
                    <a:pt x="51046" y="57599"/>
                  </a:lnTo>
                  <a:lnTo>
                    <a:pt x="51115" y="59315"/>
                  </a:lnTo>
                  <a:lnTo>
                    <a:pt x="51406" y="61361"/>
                  </a:lnTo>
                  <a:lnTo>
                    <a:pt x="52788" y="64460"/>
                  </a:lnTo>
                  <a:lnTo>
                    <a:pt x="52028" y="65810"/>
                  </a:lnTo>
                  <a:lnTo>
                    <a:pt x="51495" y="67958"/>
                  </a:lnTo>
                  <a:lnTo>
                    <a:pt x="49323" y="69927"/>
                  </a:lnTo>
                  <a:lnTo>
                    <a:pt x="46874" y="71072"/>
                  </a:lnTo>
                  <a:lnTo>
                    <a:pt x="46664" y="73421"/>
                  </a:lnTo>
                  <a:lnTo>
                    <a:pt x="45300" y="75024"/>
                  </a:lnTo>
                  <a:lnTo>
                    <a:pt x="42972" y="76624"/>
                  </a:lnTo>
                  <a:lnTo>
                    <a:pt x="41408" y="78551"/>
                  </a:lnTo>
                  <a:lnTo>
                    <a:pt x="41804" y="79870"/>
                  </a:lnTo>
                  <a:lnTo>
                    <a:pt x="41899" y="81119"/>
                  </a:lnTo>
                  <a:lnTo>
                    <a:pt x="41633" y="81967"/>
                  </a:lnTo>
                  <a:lnTo>
                    <a:pt x="41573" y="82622"/>
                  </a:lnTo>
                  <a:lnTo>
                    <a:pt x="40962" y="82912"/>
                  </a:lnTo>
                  <a:lnTo>
                    <a:pt x="37401" y="83148"/>
                  </a:lnTo>
                  <a:lnTo>
                    <a:pt x="36394" y="83552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44" name="ee4p_MK_1_37365">
              <a:extLst>
                <a:ext uri="{FF2B5EF4-FFF2-40B4-BE49-F238E27FC236}">
                  <a16:creationId xmlns:a16="http://schemas.microsoft.com/office/drawing/2014/main" id="{12276E6A-6F61-7C6A-59DE-47A9053F5221}"/>
                </a:ext>
              </a:extLst>
            </p:cNvPr>
            <p:cNvSpPr>
              <a:spLocks noChangeAspect="1"/>
            </p:cNvSpPr>
            <p:nvPr>
              <p:custDataLst>
                <p:tags r:id="rId298"/>
              </p:custDataLst>
            </p:nvPr>
          </p:nvSpPr>
          <p:spPr>
            <a:xfrm>
              <a:off x="7082546" y="3390191"/>
              <a:ext cx="71008" cy="51469"/>
            </a:xfrm>
            <a:custGeom>
              <a:avLst/>
              <a:gdLst/>
              <a:ahLst/>
              <a:cxnLst/>
              <a:rect l="0" t="0" r="0" b="0"/>
              <a:pathLst>
                <a:path w="56542" h="39897">
                  <a:moveTo>
                    <a:pt x="41911" y="1177"/>
                  </a:moveTo>
                  <a:lnTo>
                    <a:pt x="45321" y="5138"/>
                  </a:lnTo>
                  <a:lnTo>
                    <a:pt x="47188" y="6740"/>
                  </a:lnTo>
                  <a:lnTo>
                    <a:pt x="49391" y="7954"/>
                  </a:lnTo>
                  <a:lnTo>
                    <a:pt x="51907" y="8842"/>
                  </a:lnTo>
                  <a:lnTo>
                    <a:pt x="52807" y="9694"/>
                  </a:lnTo>
                  <a:lnTo>
                    <a:pt x="54407" y="13896"/>
                  </a:lnTo>
                  <a:lnTo>
                    <a:pt x="55176" y="15489"/>
                  </a:lnTo>
                  <a:lnTo>
                    <a:pt x="56238" y="15963"/>
                  </a:lnTo>
                  <a:lnTo>
                    <a:pt x="56495" y="16423"/>
                  </a:lnTo>
                  <a:lnTo>
                    <a:pt x="56541" y="17029"/>
                  </a:lnTo>
                  <a:lnTo>
                    <a:pt x="55342" y="19975"/>
                  </a:lnTo>
                  <a:lnTo>
                    <a:pt x="54861" y="26568"/>
                  </a:lnTo>
                  <a:lnTo>
                    <a:pt x="54559" y="27091"/>
                  </a:lnTo>
                  <a:lnTo>
                    <a:pt x="53304" y="27062"/>
                  </a:lnTo>
                  <a:lnTo>
                    <a:pt x="51637" y="27204"/>
                  </a:lnTo>
                  <a:lnTo>
                    <a:pt x="51000" y="27712"/>
                  </a:lnTo>
                  <a:lnTo>
                    <a:pt x="50331" y="31250"/>
                  </a:lnTo>
                  <a:lnTo>
                    <a:pt x="47650" y="32260"/>
                  </a:lnTo>
                  <a:lnTo>
                    <a:pt x="45217" y="32831"/>
                  </a:lnTo>
                  <a:lnTo>
                    <a:pt x="43165" y="32703"/>
                  </a:lnTo>
                  <a:lnTo>
                    <a:pt x="39559" y="31865"/>
                  </a:lnTo>
                  <a:lnTo>
                    <a:pt x="38382" y="31774"/>
                  </a:lnTo>
                  <a:lnTo>
                    <a:pt x="37374" y="32252"/>
                  </a:lnTo>
                  <a:lnTo>
                    <a:pt x="34157" y="32503"/>
                  </a:lnTo>
                  <a:lnTo>
                    <a:pt x="32744" y="33123"/>
                  </a:lnTo>
                  <a:lnTo>
                    <a:pt x="29428" y="37254"/>
                  </a:lnTo>
                  <a:lnTo>
                    <a:pt x="26068" y="38676"/>
                  </a:lnTo>
                  <a:lnTo>
                    <a:pt x="24923" y="39396"/>
                  </a:lnTo>
                  <a:lnTo>
                    <a:pt x="22356" y="38485"/>
                  </a:lnTo>
                  <a:lnTo>
                    <a:pt x="21127" y="38391"/>
                  </a:lnTo>
                  <a:lnTo>
                    <a:pt x="19350" y="39443"/>
                  </a:lnTo>
                  <a:lnTo>
                    <a:pt x="15454" y="39549"/>
                  </a:lnTo>
                  <a:lnTo>
                    <a:pt x="14403" y="39732"/>
                  </a:lnTo>
                  <a:lnTo>
                    <a:pt x="11401" y="39896"/>
                  </a:lnTo>
                  <a:lnTo>
                    <a:pt x="11276" y="39328"/>
                  </a:lnTo>
                  <a:lnTo>
                    <a:pt x="10721" y="38498"/>
                  </a:lnTo>
                  <a:lnTo>
                    <a:pt x="9321" y="38109"/>
                  </a:lnTo>
                  <a:lnTo>
                    <a:pt x="6460" y="38441"/>
                  </a:lnTo>
                  <a:lnTo>
                    <a:pt x="5763" y="37834"/>
                  </a:lnTo>
                  <a:lnTo>
                    <a:pt x="4586" y="34328"/>
                  </a:lnTo>
                  <a:lnTo>
                    <a:pt x="3666" y="33765"/>
                  </a:lnTo>
                  <a:lnTo>
                    <a:pt x="2636" y="32586"/>
                  </a:lnTo>
                  <a:lnTo>
                    <a:pt x="891" y="28770"/>
                  </a:lnTo>
                  <a:lnTo>
                    <a:pt x="848" y="27096"/>
                  </a:lnTo>
                  <a:lnTo>
                    <a:pt x="967" y="25636"/>
                  </a:lnTo>
                  <a:lnTo>
                    <a:pt x="0" y="22205"/>
                  </a:lnTo>
                  <a:lnTo>
                    <a:pt x="596" y="21337"/>
                  </a:lnTo>
                  <a:lnTo>
                    <a:pt x="1494" y="20791"/>
                  </a:lnTo>
                  <a:lnTo>
                    <a:pt x="1503" y="19408"/>
                  </a:lnTo>
                  <a:lnTo>
                    <a:pt x="1250" y="17306"/>
                  </a:lnTo>
                  <a:lnTo>
                    <a:pt x="2310" y="13176"/>
                  </a:lnTo>
                  <a:lnTo>
                    <a:pt x="2599" y="12876"/>
                  </a:lnTo>
                  <a:lnTo>
                    <a:pt x="2871" y="13074"/>
                  </a:lnTo>
                  <a:lnTo>
                    <a:pt x="5445" y="13403"/>
                  </a:lnTo>
                  <a:lnTo>
                    <a:pt x="6110" y="12880"/>
                  </a:lnTo>
                  <a:lnTo>
                    <a:pt x="6534" y="12064"/>
                  </a:lnTo>
                  <a:lnTo>
                    <a:pt x="6672" y="9037"/>
                  </a:lnTo>
                  <a:lnTo>
                    <a:pt x="7285" y="7638"/>
                  </a:lnTo>
                  <a:lnTo>
                    <a:pt x="13513" y="4973"/>
                  </a:lnTo>
                  <a:lnTo>
                    <a:pt x="15342" y="4875"/>
                  </a:lnTo>
                  <a:lnTo>
                    <a:pt x="16748" y="6099"/>
                  </a:lnTo>
                  <a:lnTo>
                    <a:pt x="17860" y="6881"/>
                  </a:lnTo>
                  <a:lnTo>
                    <a:pt x="18529" y="6858"/>
                  </a:lnTo>
                  <a:lnTo>
                    <a:pt x="18771" y="6069"/>
                  </a:lnTo>
                  <a:lnTo>
                    <a:pt x="19527" y="4551"/>
                  </a:lnTo>
                  <a:lnTo>
                    <a:pt x="20805" y="3682"/>
                  </a:lnTo>
                  <a:lnTo>
                    <a:pt x="24593" y="2942"/>
                  </a:lnTo>
                  <a:lnTo>
                    <a:pt x="24629" y="2946"/>
                  </a:lnTo>
                  <a:lnTo>
                    <a:pt x="25862" y="3089"/>
                  </a:lnTo>
                  <a:lnTo>
                    <a:pt x="28538" y="2408"/>
                  </a:lnTo>
                  <a:lnTo>
                    <a:pt x="30205" y="1466"/>
                  </a:lnTo>
                  <a:lnTo>
                    <a:pt x="31053" y="1325"/>
                  </a:lnTo>
                  <a:lnTo>
                    <a:pt x="32183" y="961"/>
                  </a:lnTo>
                  <a:lnTo>
                    <a:pt x="33807" y="1015"/>
                  </a:lnTo>
                  <a:lnTo>
                    <a:pt x="35454" y="1425"/>
                  </a:lnTo>
                  <a:lnTo>
                    <a:pt x="37547" y="883"/>
                  </a:lnTo>
                  <a:lnTo>
                    <a:pt x="39605" y="0"/>
                  </a:lnTo>
                  <a:lnTo>
                    <a:pt x="40430" y="221"/>
                  </a:lnTo>
                  <a:lnTo>
                    <a:pt x="41321" y="970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45" name="ee4p_MT_1_37365">
              <a:extLst>
                <a:ext uri="{FF2B5EF4-FFF2-40B4-BE49-F238E27FC236}">
                  <a16:creationId xmlns:a16="http://schemas.microsoft.com/office/drawing/2014/main" id="{2530FFF6-B728-36E9-A6C0-730B8AEEEF00}"/>
                </a:ext>
              </a:extLst>
            </p:cNvPr>
            <p:cNvSpPr>
              <a:spLocks noChangeAspect="1"/>
            </p:cNvSpPr>
            <p:nvPr>
              <p:custDataLst>
                <p:tags r:id="rId299"/>
              </p:custDataLst>
            </p:nvPr>
          </p:nvSpPr>
          <p:spPr>
            <a:xfrm>
              <a:off x="6913226" y="3603375"/>
              <a:ext cx="5970" cy="5147"/>
            </a:xfrm>
            <a:custGeom>
              <a:avLst/>
              <a:gdLst/>
              <a:ahLst/>
              <a:cxnLst/>
              <a:rect l="0" t="0" r="0" b="0"/>
              <a:pathLst>
                <a:path w="4754" h="3990">
                  <a:moveTo>
                    <a:pt x="4753" y="3169"/>
                  </a:moveTo>
                  <a:lnTo>
                    <a:pt x="4012" y="3989"/>
                  </a:lnTo>
                  <a:lnTo>
                    <a:pt x="1883" y="3952"/>
                  </a:lnTo>
                  <a:lnTo>
                    <a:pt x="24" y="2677"/>
                  </a:lnTo>
                  <a:lnTo>
                    <a:pt x="0" y="0"/>
                  </a:lnTo>
                  <a:lnTo>
                    <a:pt x="2146" y="530"/>
                  </a:lnTo>
                  <a:lnTo>
                    <a:pt x="4107" y="2324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46" name="ee4p_MT_2_37365">
              <a:extLst>
                <a:ext uri="{FF2B5EF4-FFF2-40B4-BE49-F238E27FC236}">
                  <a16:creationId xmlns:a16="http://schemas.microsoft.com/office/drawing/2014/main" id="{ACD88800-2C0A-2B7E-4EF6-849FAC878ED7}"/>
                </a:ext>
              </a:extLst>
            </p:cNvPr>
            <p:cNvSpPr>
              <a:spLocks noChangeAspect="1"/>
            </p:cNvSpPr>
            <p:nvPr>
              <p:custDataLst>
                <p:tags r:id="rId300"/>
              </p:custDataLst>
            </p:nvPr>
          </p:nvSpPr>
          <p:spPr>
            <a:xfrm>
              <a:off x="6908480" y="3600205"/>
              <a:ext cx="3903" cy="2073"/>
            </a:xfrm>
            <a:custGeom>
              <a:avLst/>
              <a:gdLst/>
              <a:ahLst/>
              <a:cxnLst/>
              <a:rect l="0" t="0" r="0" b="0"/>
              <a:pathLst>
                <a:path w="3108" h="1607">
                  <a:moveTo>
                    <a:pt x="2943" y="1216"/>
                  </a:moveTo>
                  <a:lnTo>
                    <a:pt x="1619" y="1606"/>
                  </a:lnTo>
                  <a:lnTo>
                    <a:pt x="307" y="847"/>
                  </a:lnTo>
                  <a:lnTo>
                    <a:pt x="0" y="388"/>
                  </a:lnTo>
                  <a:lnTo>
                    <a:pt x="1833" y="0"/>
                  </a:lnTo>
                  <a:lnTo>
                    <a:pt x="2727" y="340"/>
                  </a:lnTo>
                  <a:lnTo>
                    <a:pt x="3107" y="998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47" name="ee4p_ME_1_37365">
              <a:extLst>
                <a:ext uri="{FF2B5EF4-FFF2-40B4-BE49-F238E27FC236}">
                  <a16:creationId xmlns:a16="http://schemas.microsoft.com/office/drawing/2014/main" id="{B2AA600E-D38A-E963-820B-7E9DBCF02AA1}"/>
                </a:ext>
              </a:extLst>
            </p:cNvPr>
            <p:cNvSpPr>
              <a:spLocks noChangeAspect="1"/>
            </p:cNvSpPr>
            <p:nvPr>
              <p:custDataLst>
                <p:tags r:id="rId301"/>
              </p:custDataLst>
            </p:nvPr>
          </p:nvSpPr>
          <p:spPr>
            <a:xfrm>
              <a:off x="7026665" y="3349271"/>
              <a:ext cx="53078" cy="57689"/>
            </a:xfrm>
            <a:custGeom>
              <a:avLst/>
              <a:gdLst/>
              <a:ahLst/>
              <a:cxnLst/>
              <a:rect l="0" t="0" r="0" b="0"/>
              <a:pathLst>
                <a:path w="42265" h="44719">
                  <a:moveTo>
                    <a:pt x="16761" y="243"/>
                  </a:moveTo>
                  <a:lnTo>
                    <a:pt x="16701" y="573"/>
                  </a:lnTo>
                  <a:lnTo>
                    <a:pt x="16809" y="1544"/>
                  </a:lnTo>
                  <a:lnTo>
                    <a:pt x="17301" y="2488"/>
                  </a:lnTo>
                  <a:lnTo>
                    <a:pt x="19059" y="3456"/>
                  </a:lnTo>
                  <a:lnTo>
                    <a:pt x="21633" y="5370"/>
                  </a:lnTo>
                  <a:lnTo>
                    <a:pt x="24661" y="8878"/>
                  </a:lnTo>
                  <a:lnTo>
                    <a:pt x="26051" y="9920"/>
                  </a:lnTo>
                  <a:lnTo>
                    <a:pt x="27301" y="10174"/>
                  </a:lnTo>
                  <a:lnTo>
                    <a:pt x="29737" y="11629"/>
                  </a:lnTo>
                  <a:lnTo>
                    <a:pt x="31436" y="11984"/>
                  </a:lnTo>
                  <a:lnTo>
                    <a:pt x="33339" y="12383"/>
                  </a:lnTo>
                  <a:lnTo>
                    <a:pt x="38288" y="15416"/>
                  </a:lnTo>
                  <a:lnTo>
                    <a:pt x="40512" y="16301"/>
                  </a:lnTo>
                  <a:lnTo>
                    <a:pt x="42093" y="17441"/>
                  </a:lnTo>
                  <a:lnTo>
                    <a:pt x="42264" y="18514"/>
                  </a:lnTo>
                  <a:lnTo>
                    <a:pt x="42190" y="19179"/>
                  </a:lnTo>
                  <a:lnTo>
                    <a:pt x="39333" y="19958"/>
                  </a:lnTo>
                  <a:lnTo>
                    <a:pt x="38834" y="21140"/>
                  </a:lnTo>
                  <a:lnTo>
                    <a:pt x="37450" y="21002"/>
                  </a:lnTo>
                  <a:lnTo>
                    <a:pt x="35777" y="20995"/>
                  </a:lnTo>
                  <a:lnTo>
                    <a:pt x="35228" y="21744"/>
                  </a:lnTo>
                  <a:lnTo>
                    <a:pt x="36030" y="22978"/>
                  </a:lnTo>
                  <a:lnTo>
                    <a:pt x="36550" y="24429"/>
                  </a:lnTo>
                  <a:lnTo>
                    <a:pt x="36131" y="26417"/>
                  </a:lnTo>
                  <a:lnTo>
                    <a:pt x="35990" y="26678"/>
                  </a:lnTo>
                  <a:lnTo>
                    <a:pt x="35587" y="26608"/>
                  </a:lnTo>
                  <a:lnTo>
                    <a:pt x="33229" y="27761"/>
                  </a:lnTo>
                  <a:lnTo>
                    <a:pt x="31475" y="28304"/>
                  </a:lnTo>
                  <a:lnTo>
                    <a:pt x="29895" y="28575"/>
                  </a:lnTo>
                  <a:lnTo>
                    <a:pt x="29147" y="28021"/>
                  </a:lnTo>
                  <a:lnTo>
                    <a:pt x="28778" y="27269"/>
                  </a:lnTo>
                  <a:lnTo>
                    <a:pt x="28843" y="25086"/>
                  </a:lnTo>
                  <a:lnTo>
                    <a:pt x="28558" y="24349"/>
                  </a:lnTo>
                  <a:lnTo>
                    <a:pt x="28018" y="23991"/>
                  </a:lnTo>
                  <a:lnTo>
                    <a:pt x="26936" y="24508"/>
                  </a:lnTo>
                  <a:lnTo>
                    <a:pt x="25675" y="26194"/>
                  </a:lnTo>
                  <a:lnTo>
                    <a:pt x="24505" y="28154"/>
                  </a:lnTo>
                  <a:lnTo>
                    <a:pt x="22749" y="30196"/>
                  </a:lnTo>
                  <a:lnTo>
                    <a:pt x="21300" y="32153"/>
                  </a:lnTo>
                  <a:lnTo>
                    <a:pt x="19739" y="34619"/>
                  </a:lnTo>
                  <a:lnTo>
                    <a:pt x="18670" y="36660"/>
                  </a:lnTo>
                  <a:lnTo>
                    <a:pt x="19780" y="37810"/>
                  </a:lnTo>
                  <a:lnTo>
                    <a:pt x="20456" y="39409"/>
                  </a:lnTo>
                  <a:lnTo>
                    <a:pt x="20251" y="40606"/>
                  </a:lnTo>
                  <a:lnTo>
                    <a:pt x="20450" y="41304"/>
                  </a:lnTo>
                  <a:lnTo>
                    <a:pt x="20104" y="43398"/>
                  </a:lnTo>
                  <a:lnTo>
                    <a:pt x="20035" y="44718"/>
                  </a:lnTo>
                  <a:lnTo>
                    <a:pt x="16586" y="42608"/>
                  </a:lnTo>
                  <a:lnTo>
                    <a:pt x="15168" y="39638"/>
                  </a:lnTo>
                  <a:lnTo>
                    <a:pt x="10125" y="34614"/>
                  </a:lnTo>
                  <a:lnTo>
                    <a:pt x="4347" y="31190"/>
                  </a:lnTo>
                  <a:lnTo>
                    <a:pt x="4040" y="30648"/>
                  </a:lnTo>
                  <a:lnTo>
                    <a:pt x="4358" y="29989"/>
                  </a:lnTo>
                  <a:lnTo>
                    <a:pt x="4634" y="29467"/>
                  </a:lnTo>
                  <a:lnTo>
                    <a:pt x="3434" y="29427"/>
                  </a:lnTo>
                  <a:lnTo>
                    <a:pt x="2591" y="29845"/>
                  </a:lnTo>
                  <a:lnTo>
                    <a:pt x="1794" y="29728"/>
                  </a:lnTo>
                  <a:lnTo>
                    <a:pt x="892" y="28443"/>
                  </a:lnTo>
                  <a:lnTo>
                    <a:pt x="39" y="27327"/>
                  </a:lnTo>
                  <a:lnTo>
                    <a:pt x="0" y="26346"/>
                  </a:lnTo>
                  <a:lnTo>
                    <a:pt x="389" y="26218"/>
                  </a:lnTo>
                  <a:lnTo>
                    <a:pt x="967" y="25826"/>
                  </a:lnTo>
                  <a:lnTo>
                    <a:pt x="2181" y="24734"/>
                  </a:lnTo>
                  <a:lnTo>
                    <a:pt x="2423" y="24160"/>
                  </a:lnTo>
                  <a:lnTo>
                    <a:pt x="2365" y="23290"/>
                  </a:lnTo>
                  <a:lnTo>
                    <a:pt x="657" y="20535"/>
                  </a:lnTo>
                  <a:lnTo>
                    <a:pt x="415" y="18747"/>
                  </a:lnTo>
                  <a:lnTo>
                    <a:pt x="166" y="15417"/>
                  </a:lnTo>
                  <a:lnTo>
                    <a:pt x="527" y="14628"/>
                  </a:lnTo>
                  <a:lnTo>
                    <a:pt x="1153" y="14246"/>
                  </a:lnTo>
                  <a:lnTo>
                    <a:pt x="4142" y="13830"/>
                  </a:lnTo>
                  <a:lnTo>
                    <a:pt x="4103" y="11231"/>
                  </a:lnTo>
                  <a:lnTo>
                    <a:pt x="4282" y="10451"/>
                  </a:lnTo>
                  <a:lnTo>
                    <a:pt x="4876" y="9369"/>
                  </a:lnTo>
                  <a:lnTo>
                    <a:pt x="5261" y="8380"/>
                  </a:lnTo>
                  <a:lnTo>
                    <a:pt x="6919" y="6963"/>
                  </a:lnTo>
                  <a:lnTo>
                    <a:pt x="9171" y="5275"/>
                  </a:lnTo>
                  <a:lnTo>
                    <a:pt x="10156" y="5225"/>
                  </a:lnTo>
                  <a:lnTo>
                    <a:pt x="11019" y="5460"/>
                  </a:lnTo>
                  <a:lnTo>
                    <a:pt x="11993" y="6913"/>
                  </a:lnTo>
                  <a:lnTo>
                    <a:pt x="13053" y="6724"/>
                  </a:lnTo>
                  <a:lnTo>
                    <a:pt x="13276" y="4980"/>
                  </a:lnTo>
                  <a:lnTo>
                    <a:pt x="11885" y="2691"/>
                  </a:lnTo>
                  <a:lnTo>
                    <a:pt x="11143" y="1228"/>
                  </a:lnTo>
                  <a:lnTo>
                    <a:pt x="11374" y="422"/>
                  </a:lnTo>
                  <a:lnTo>
                    <a:pt x="11894" y="0"/>
                  </a:lnTo>
                  <a:lnTo>
                    <a:pt x="13090" y="264"/>
                  </a:lnTo>
                  <a:lnTo>
                    <a:pt x="14235" y="663"/>
                  </a:lnTo>
                  <a:lnTo>
                    <a:pt x="14958" y="393"/>
                  </a:lnTo>
                  <a:lnTo>
                    <a:pt x="16098" y="185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48" name="ee4p_NL_1_37365">
              <a:extLst>
                <a:ext uri="{FF2B5EF4-FFF2-40B4-BE49-F238E27FC236}">
                  <a16:creationId xmlns:a16="http://schemas.microsoft.com/office/drawing/2014/main" id="{622A3E46-1B0B-08A7-55D7-AA114C0A7A2F}"/>
                </a:ext>
              </a:extLst>
            </p:cNvPr>
            <p:cNvSpPr>
              <a:spLocks noChangeAspect="1"/>
            </p:cNvSpPr>
            <p:nvPr>
              <p:custDataLst>
                <p:tags r:id="rId302"/>
              </p:custDataLst>
            </p:nvPr>
          </p:nvSpPr>
          <p:spPr>
            <a:xfrm>
              <a:off x="6607731" y="2979151"/>
              <a:ext cx="106833" cy="109947"/>
            </a:xfrm>
            <a:custGeom>
              <a:avLst/>
              <a:gdLst>
                <a:gd name="connsiteX0" fmla="*/ 5293 w 85069"/>
                <a:gd name="connsiteY0" fmla="*/ 66254 h 85228"/>
                <a:gd name="connsiteX1" fmla="*/ 8102 w 85069"/>
                <a:gd name="connsiteY1" fmla="*/ 67143 h 85228"/>
                <a:gd name="connsiteX2" fmla="*/ 11792 w 85069"/>
                <a:gd name="connsiteY2" fmla="*/ 67572 h 85228"/>
                <a:gd name="connsiteX3" fmla="*/ 14614 w 85069"/>
                <a:gd name="connsiteY3" fmla="*/ 66356 h 85228"/>
                <a:gd name="connsiteX4" fmla="*/ 16836 w 85069"/>
                <a:gd name="connsiteY4" fmla="*/ 67392 h 85228"/>
                <a:gd name="connsiteX5" fmla="*/ 19372 w 85069"/>
                <a:gd name="connsiteY5" fmla="*/ 66634 h 85228"/>
                <a:gd name="connsiteX6" fmla="*/ 19046 w 85069"/>
                <a:gd name="connsiteY6" fmla="*/ 67741 h 85228"/>
                <a:gd name="connsiteX7" fmla="*/ 18186 w 85069"/>
                <a:gd name="connsiteY7" fmla="*/ 68963 h 85228"/>
                <a:gd name="connsiteX8" fmla="*/ 15256 w 85069"/>
                <a:gd name="connsiteY8" fmla="*/ 70722 h 85228"/>
                <a:gd name="connsiteX9" fmla="*/ 12205 w 85069"/>
                <a:gd name="connsiteY9" fmla="*/ 71876 h 85228"/>
                <a:gd name="connsiteX10" fmla="*/ 10628 w 85069"/>
                <a:gd name="connsiteY10" fmla="*/ 71732 h 85228"/>
                <a:gd name="connsiteX11" fmla="*/ 9548 w 85069"/>
                <a:gd name="connsiteY11" fmla="*/ 71128 h 85228"/>
                <a:gd name="connsiteX12" fmla="*/ 8968 w 85069"/>
                <a:gd name="connsiteY12" fmla="*/ 70494 h 85228"/>
                <a:gd name="connsiteX13" fmla="*/ 7335 w 85069"/>
                <a:gd name="connsiteY13" fmla="*/ 69883 h 85228"/>
                <a:gd name="connsiteX14" fmla="*/ 5089 w 85069"/>
                <a:gd name="connsiteY14" fmla="*/ 69576 h 85228"/>
                <a:gd name="connsiteX15" fmla="*/ 3692 w 85069"/>
                <a:gd name="connsiteY15" fmla="*/ 70237 h 85228"/>
                <a:gd name="connsiteX16" fmla="*/ 2695 w 85069"/>
                <a:gd name="connsiteY16" fmla="*/ 70863 h 85228"/>
                <a:gd name="connsiteX17" fmla="*/ 1822 w 85069"/>
                <a:gd name="connsiteY17" fmla="*/ 70760 h 85228"/>
                <a:gd name="connsiteX18" fmla="*/ 1166 w 85069"/>
                <a:gd name="connsiteY18" fmla="*/ 70237 h 85228"/>
                <a:gd name="connsiteX19" fmla="*/ 663 w 85069"/>
                <a:gd name="connsiteY19" fmla="*/ 69431 h 85228"/>
                <a:gd name="connsiteX20" fmla="*/ 0 w 85069"/>
                <a:gd name="connsiteY20" fmla="*/ 66892 h 85228"/>
                <a:gd name="connsiteX21" fmla="*/ 1673 w 85069"/>
                <a:gd name="connsiteY21" fmla="*/ 66428 h 85228"/>
                <a:gd name="connsiteX22" fmla="*/ 9706 w 85069"/>
                <a:gd name="connsiteY22" fmla="*/ 56047 h 85228"/>
                <a:gd name="connsiteX23" fmla="*/ 13246 w 85069"/>
                <a:gd name="connsiteY23" fmla="*/ 56253 h 85228"/>
                <a:gd name="connsiteX24" fmla="*/ 15405 w 85069"/>
                <a:gd name="connsiteY24" fmla="*/ 57860 h 85228"/>
                <a:gd name="connsiteX25" fmla="*/ 15865 w 85069"/>
                <a:gd name="connsiteY25" fmla="*/ 58373 h 85228"/>
                <a:gd name="connsiteX26" fmla="*/ 16031 w 85069"/>
                <a:gd name="connsiteY26" fmla="*/ 58924 h 85228"/>
                <a:gd name="connsiteX27" fmla="*/ 13287 w 85069"/>
                <a:gd name="connsiteY27" fmla="*/ 59563 h 85228"/>
                <a:gd name="connsiteX28" fmla="*/ 10369 w 85069"/>
                <a:gd name="connsiteY28" fmla="*/ 57592 h 85228"/>
                <a:gd name="connsiteX29" fmla="*/ 8441 w 85069"/>
                <a:gd name="connsiteY29" fmla="*/ 58057 h 85228"/>
                <a:gd name="connsiteX30" fmla="*/ 7715 w 85069"/>
                <a:gd name="connsiteY30" fmla="*/ 57123 h 85228"/>
                <a:gd name="connsiteX31" fmla="*/ 7704 w 85069"/>
                <a:gd name="connsiteY31" fmla="*/ 56540 h 85228"/>
                <a:gd name="connsiteX32" fmla="*/ 33971 w 85069"/>
                <a:gd name="connsiteY32" fmla="*/ 13310 h 85228"/>
                <a:gd name="connsiteX33" fmla="*/ 33965 w 85069"/>
                <a:gd name="connsiteY33" fmla="*/ 16687 h 85228"/>
                <a:gd name="connsiteX34" fmla="*/ 31775 w 85069"/>
                <a:gd name="connsiteY34" fmla="*/ 18811 h 85228"/>
                <a:gd name="connsiteX35" fmla="*/ 30441 w 85069"/>
                <a:gd name="connsiteY35" fmla="*/ 18218 h 85228"/>
                <a:gd name="connsiteX36" fmla="*/ 30052 w 85069"/>
                <a:gd name="connsiteY36" fmla="*/ 17726 h 85228"/>
                <a:gd name="connsiteX37" fmla="*/ 30730 w 85069"/>
                <a:gd name="connsiteY37" fmla="*/ 16070 h 85228"/>
                <a:gd name="connsiteX38" fmla="*/ 37081 w 85069"/>
                <a:gd name="connsiteY38" fmla="*/ 9498 h 85228"/>
                <a:gd name="connsiteX39" fmla="*/ 38884 w 85069"/>
                <a:gd name="connsiteY39" fmla="*/ 9564 h 85228"/>
                <a:gd name="connsiteX40" fmla="*/ 34796 w 85069"/>
                <a:gd name="connsiteY40" fmla="*/ 11771 h 85228"/>
                <a:gd name="connsiteX41" fmla="*/ 34446 w 85069"/>
                <a:gd name="connsiteY41" fmla="*/ 11420 h 85228"/>
                <a:gd name="connsiteX42" fmla="*/ 76643 w 85069"/>
                <a:gd name="connsiteY42" fmla="*/ 5558 h 85228"/>
                <a:gd name="connsiteX43" fmla="*/ 78770 w 85069"/>
                <a:gd name="connsiteY43" fmla="*/ 7538 h 85228"/>
                <a:gd name="connsiteX44" fmla="*/ 80003 w 85069"/>
                <a:gd name="connsiteY44" fmla="*/ 8984 h 85228"/>
                <a:gd name="connsiteX45" fmla="*/ 81989 w 85069"/>
                <a:gd name="connsiteY45" fmla="*/ 9787 h 85228"/>
                <a:gd name="connsiteX46" fmla="*/ 85069 w 85069"/>
                <a:gd name="connsiteY46" fmla="*/ 10338 h 85228"/>
                <a:gd name="connsiteX47" fmla="*/ 84885 w 85069"/>
                <a:gd name="connsiteY47" fmla="*/ 13193 h 85228"/>
                <a:gd name="connsiteX48" fmla="*/ 84907 w 85069"/>
                <a:gd name="connsiteY48" fmla="*/ 18820 h 85228"/>
                <a:gd name="connsiteX49" fmla="*/ 84676 w 85069"/>
                <a:gd name="connsiteY49" fmla="*/ 19817 h 85228"/>
                <a:gd name="connsiteX50" fmla="*/ 83296 w 85069"/>
                <a:gd name="connsiteY50" fmla="*/ 22186 h 85228"/>
                <a:gd name="connsiteX51" fmla="*/ 81832 w 85069"/>
                <a:gd name="connsiteY51" fmla="*/ 26435 h 85228"/>
                <a:gd name="connsiteX52" fmla="*/ 81437 w 85069"/>
                <a:gd name="connsiteY52" fmla="*/ 29222 h 85228"/>
                <a:gd name="connsiteX53" fmla="*/ 80998 w 85069"/>
                <a:gd name="connsiteY53" fmla="*/ 29753 h 85228"/>
                <a:gd name="connsiteX54" fmla="*/ 75144 w 85069"/>
                <a:gd name="connsiteY54" fmla="*/ 29737 h 85228"/>
                <a:gd name="connsiteX55" fmla="*/ 74311 w 85069"/>
                <a:gd name="connsiteY55" fmla="*/ 30220 h 85228"/>
                <a:gd name="connsiteX56" fmla="*/ 74192 w 85069"/>
                <a:gd name="connsiteY56" fmla="*/ 30822 h 85228"/>
                <a:gd name="connsiteX57" fmla="*/ 74488 w 85069"/>
                <a:gd name="connsiteY57" fmla="*/ 31539 h 85228"/>
                <a:gd name="connsiteX58" fmla="*/ 74347 w 85069"/>
                <a:gd name="connsiteY58" fmla="*/ 32252 h 85228"/>
                <a:gd name="connsiteX59" fmla="*/ 73888 w 85069"/>
                <a:gd name="connsiteY59" fmla="*/ 32832 h 85228"/>
                <a:gd name="connsiteX60" fmla="*/ 74138 w 85069"/>
                <a:gd name="connsiteY60" fmla="*/ 33753 h 85228"/>
                <a:gd name="connsiteX61" fmla="*/ 75153 w 85069"/>
                <a:gd name="connsiteY61" fmla="*/ 34800 h 85228"/>
                <a:gd name="connsiteX62" fmla="*/ 77003 w 85069"/>
                <a:gd name="connsiteY62" fmla="*/ 35447 h 85228"/>
                <a:gd name="connsiteX63" fmla="*/ 78984 w 85069"/>
                <a:gd name="connsiteY63" fmla="*/ 35506 h 85228"/>
                <a:gd name="connsiteX64" fmla="*/ 80003 w 85069"/>
                <a:gd name="connsiteY64" fmla="*/ 35393 h 85228"/>
                <a:gd name="connsiteX65" fmla="*/ 80748 w 85069"/>
                <a:gd name="connsiteY65" fmla="*/ 36139 h 85228"/>
                <a:gd name="connsiteX66" fmla="*/ 81484 w 85069"/>
                <a:gd name="connsiteY66" fmla="*/ 37291 h 85228"/>
                <a:gd name="connsiteX67" fmla="*/ 81428 w 85069"/>
                <a:gd name="connsiteY67" fmla="*/ 38738 h 85228"/>
                <a:gd name="connsiteX68" fmla="*/ 81141 w 85069"/>
                <a:gd name="connsiteY68" fmla="*/ 40682 h 85228"/>
                <a:gd name="connsiteX69" fmla="*/ 80203 w 85069"/>
                <a:gd name="connsiteY69" fmla="*/ 42476 h 85228"/>
                <a:gd name="connsiteX70" fmla="*/ 77502 w 85069"/>
                <a:gd name="connsiteY70" fmla="*/ 44542 h 85228"/>
                <a:gd name="connsiteX71" fmla="*/ 76293 w 85069"/>
                <a:gd name="connsiteY71" fmla="*/ 45270 h 85228"/>
                <a:gd name="connsiteX72" fmla="*/ 75157 w 85069"/>
                <a:gd name="connsiteY72" fmla="*/ 45641 h 85228"/>
                <a:gd name="connsiteX73" fmla="*/ 74615 w 85069"/>
                <a:gd name="connsiteY73" fmla="*/ 46187 h 85228"/>
                <a:gd name="connsiteX74" fmla="*/ 74360 w 85069"/>
                <a:gd name="connsiteY74" fmla="*/ 46878 h 85228"/>
                <a:gd name="connsiteX75" fmla="*/ 74419 w 85069"/>
                <a:gd name="connsiteY75" fmla="*/ 47491 h 85228"/>
                <a:gd name="connsiteX76" fmla="*/ 76338 w 85069"/>
                <a:gd name="connsiteY76" fmla="*/ 49147 h 85228"/>
                <a:gd name="connsiteX77" fmla="*/ 76293 w 85069"/>
                <a:gd name="connsiteY77" fmla="*/ 49525 h 85228"/>
                <a:gd name="connsiteX78" fmla="*/ 75736 w 85069"/>
                <a:gd name="connsiteY78" fmla="*/ 50385 h 85228"/>
                <a:gd name="connsiteX79" fmla="*/ 74997 w 85069"/>
                <a:gd name="connsiteY79" fmla="*/ 51194 h 85228"/>
                <a:gd name="connsiteX80" fmla="*/ 70039 w 85069"/>
                <a:gd name="connsiteY80" fmla="*/ 52876 h 85228"/>
                <a:gd name="connsiteX81" fmla="*/ 67992 w 85069"/>
                <a:gd name="connsiteY81" fmla="*/ 52744 h 85228"/>
                <a:gd name="connsiteX82" fmla="*/ 66824 w 85069"/>
                <a:gd name="connsiteY82" fmla="*/ 53581 h 85228"/>
                <a:gd name="connsiteX83" fmla="*/ 66459 w 85069"/>
                <a:gd name="connsiteY83" fmla="*/ 53740 h 85228"/>
                <a:gd name="connsiteX84" fmla="*/ 65164 w 85069"/>
                <a:gd name="connsiteY84" fmla="*/ 52971 h 85228"/>
                <a:gd name="connsiteX85" fmla="*/ 62276 w 85069"/>
                <a:gd name="connsiteY85" fmla="*/ 52084 h 85228"/>
                <a:gd name="connsiteX86" fmla="*/ 61186 w 85069"/>
                <a:gd name="connsiteY86" fmla="*/ 52390 h 85228"/>
                <a:gd name="connsiteX87" fmla="*/ 60581 w 85069"/>
                <a:gd name="connsiteY87" fmla="*/ 52876 h 85228"/>
                <a:gd name="connsiteX88" fmla="*/ 58763 w 85069"/>
                <a:gd name="connsiteY88" fmla="*/ 53465 h 85228"/>
                <a:gd name="connsiteX89" fmla="*/ 57461 w 85069"/>
                <a:gd name="connsiteY89" fmla="*/ 54388 h 85228"/>
                <a:gd name="connsiteX90" fmla="*/ 57457 w 85069"/>
                <a:gd name="connsiteY90" fmla="*/ 55576 h 85228"/>
                <a:gd name="connsiteX91" fmla="*/ 59761 w 85069"/>
                <a:gd name="connsiteY91" fmla="*/ 58645 h 85228"/>
                <a:gd name="connsiteX92" fmla="*/ 60571 w 85069"/>
                <a:gd name="connsiteY92" fmla="*/ 59247 h 85228"/>
                <a:gd name="connsiteX93" fmla="*/ 60609 w 85069"/>
                <a:gd name="connsiteY93" fmla="*/ 60391 h 85228"/>
                <a:gd name="connsiteX94" fmla="*/ 61726 w 85069"/>
                <a:gd name="connsiteY94" fmla="*/ 61827 h 85228"/>
                <a:gd name="connsiteX95" fmla="*/ 62868 w 85069"/>
                <a:gd name="connsiteY95" fmla="*/ 63626 h 85228"/>
                <a:gd name="connsiteX96" fmla="*/ 62991 w 85069"/>
                <a:gd name="connsiteY96" fmla="*/ 64769 h 85228"/>
                <a:gd name="connsiteX97" fmla="*/ 62860 w 85069"/>
                <a:gd name="connsiteY97" fmla="*/ 65926 h 85228"/>
                <a:gd name="connsiteX98" fmla="*/ 62270 w 85069"/>
                <a:gd name="connsiteY98" fmla="*/ 67562 h 85228"/>
                <a:gd name="connsiteX99" fmla="*/ 60273 w 85069"/>
                <a:gd name="connsiteY99" fmla="*/ 71394 h 85228"/>
                <a:gd name="connsiteX100" fmla="*/ 60249 w 85069"/>
                <a:gd name="connsiteY100" fmla="*/ 72129 h 85228"/>
                <a:gd name="connsiteX101" fmla="*/ 60417 w 85069"/>
                <a:gd name="connsiteY101" fmla="*/ 72687 h 85228"/>
                <a:gd name="connsiteX102" fmla="*/ 61102 w 85069"/>
                <a:gd name="connsiteY102" fmla="*/ 72841 h 85228"/>
                <a:gd name="connsiteX103" fmla="*/ 61622 w 85069"/>
                <a:gd name="connsiteY103" fmla="*/ 73130 h 85228"/>
                <a:gd name="connsiteX104" fmla="*/ 61469 w 85069"/>
                <a:gd name="connsiteY104" fmla="*/ 73640 h 85228"/>
                <a:gd name="connsiteX105" fmla="*/ 57733 w 85069"/>
                <a:gd name="connsiteY105" fmla="*/ 76293 h 85228"/>
                <a:gd name="connsiteX106" fmla="*/ 57251 w 85069"/>
                <a:gd name="connsiteY106" fmla="*/ 76757 h 85228"/>
                <a:gd name="connsiteX107" fmla="*/ 55684 w 85069"/>
                <a:gd name="connsiteY107" fmla="*/ 76626 h 85228"/>
                <a:gd name="connsiteX108" fmla="*/ 55444 w 85069"/>
                <a:gd name="connsiteY108" fmla="*/ 77069 h 85228"/>
                <a:gd name="connsiteX109" fmla="*/ 55658 w 85069"/>
                <a:gd name="connsiteY109" fmla="*/ 77784 h 85228"/>
                <a:gd name="connsiteX110" fmla="*/ 56267 w 85069"/>
                <a:gd name="connsiteY110" fmla="*/ 78410 h 85228"/>
                <a:gd name="connsiteX111" fmla="*/ 57601 w 85069"/>
                <a:gd name="connsiteY111" fmla="*/ 78740 h 85228"/>
                <a:gd name="connsiteX112" fmla="*/ 58746 w 85069"/>
                <a:gd name="connsiteY112" fmla="*/ 79411 h 85228"/>
                <a:gd name="connsiteX113" fmla="*/ 59666 w 85069"/>
                <a:gd name="connsiteY113" fmla="*/ 80726 h 85228"/>
                <a:gd name="connsiteX114" fmla="*/ 58461 w 85069"/>
                <a:gd name="connsiteY114" fmla="*/ 85228 h 85228"/>
                <a:gd name="connsiteX115" fmla="*/ 54114 w 85069"/>
                <a:gd name="connsiteY115" fmla="*/ 85109 h 85228"/>
                <a:gd name="connsiteX116" fmla="*/ 53002 w 85069"/>
                <a:gd name="connsiteY116" fmla="*/ 84963 h 85228"/>
                <a:gd name="connsiteX117" fmla="*/ 51821 w 85069"/>
                <a:gd name="connsiteY117" fmla="*/ 84523 h 85228"/>
                <a:gd name="connsiteX118" fmla="*/ 51818 w 85069"/>
                <a:gd name="connsiteY118" fmla="*/ 84520 h 85228"/>
                <a:gd name="connsiteX119" fmla="*/ 51278 w 85069"/>
                <a:gd name="connsiteY119" fmla="*/ 83611 h 85228"/>
                <a:gd name="connsiteX120" fmla="*/ 50622 w 85069"/>
                <a:gd name="connsiteY120" fmla="*/ 82514 h 85228"/>
                <a:gd name="connsiteX121" fmla="*/ 50801 w 85069"/>
                <a:gd name="connsiteY121" fmla="*/ 81842 h 85228"/>
                <a:gd name="connsiteX122" fmla="*/ 52771 w 85069"/>
                <a:gd name="connsiteY122" fmla="*/ 79931 h 85228"/>
                <a:gd name="connsiteX123" fmla="*/ 53067 w 85069"/>
                <a:gd name="connsiteY123" fmla="*/ 79403 h 85228"/>
                <a:gd name="connsiteX124" fmla="*/ 52864 w 85069"/>
                <a:gd name="connsiteY124" fmla="*/ 79120 h 85228"/>
                <a:gd name="connsiteX125" fmla="*/ 53062 w 85069"/>
                <a:gd name="connsiteY125" fmla="*/ 78278 h 85228"/>
                <a:gd name="connsiteX126" fmla="*/ 54576 w 85069"/>
                <a:gd name="connsiteY126" fmla="*/ 75424 h 85228"/>
                <a:gd name="connsiteX127" fmla="*/ 54772 w 85069"/>
                <a:gd name="connsiteY127" fmla="*/ 74277 h 85228"/>
                <a:gd name="connsiteX128" fmla="*/ 54095 w 85069"/>
                <a:gd name="connsiteY128" fmla="*/ 73474 h 85228"/>
                <a:gd name="connsiteX129" fmla="*/ 53118 w 85069"/>
                <a:gd name="connsiteY129" fmla="*/ 72994 h 85228"/>
                <a:gd name="connsiteX130" fmla="*/ 49944 w 85069"/>
                <a:gd name="connsiteY130" fmla="*/ 72146 h 85228"/>
                <a:gd name="connsiteX131" fmla="*/ 48433 w 85069"/>
                <a:gd name="connsiteY131" fmla="*/ 70949 h 85228"/>
                <a:gd name="connsiteX132" fmla="*/ 47733 w 85069"/>
                <a:gd name="connsiteY132" fmla="*/ 69903 h 85228"/>
                <a:gd name="connsiteX133" fmla="*/ 47027 w 85069"/>
                <a:gd name="connsiteY133" fmla="*/ 69609 h 85228"/>
                <a:gd name="connsiteX134" fmla="*/ 45986 w 85069"/>
                <a:gd name="connsiteY134" fmla="*/ 69962 h 85228"/>
                <a:gd name="connsiteX135" fmla="*/ 43356 w 85069"/>
                <a:gd name="connsiteY135" fmla="*/ 70351 h 85228"/>
                <a:gd name="connsiteX136" fmla="*/ 41218 w 85069"/>
                <a:gd name="connsiteY136" fmla="*/ 69787 h 85228"/>
                <a:gd name="connsiteX137" fmla="*/ 38692 w 85069"/>
                <a:gd name="connsiteY137" fmla="*/ 67807 h 85228"/>
                <a:gd name="connsiteX138" fmla="*/ 38106 w 85069"/>
                <a:gd name="connsiteY138" fmla="*/ 66036 h 85228"/>
                <a:gd name="connsiteX139" fmla="*/ 37798 w 85069"/>
                <a:gd name="connsiteY139" fmla="*/ 64677 h 85228"/>
                <a:gd name="connsiteX140" fmla="*/ 37167 w 85069"/>
                <a:gd name="connsiteY140" fmla="*/ 64208 h 85228"/>
                <a:gd name="connsiteX141" fmla="*/ 36319 w 85069"/>
                <a:gd name="connsiteY141" fmla="*/ 64905 h 85228"/>
                <a:gd name="connsiteX142" fmla="*/ 35243 w 85069"/>
                <a:gd name="connsiteY142" fmla="*/ 66009 h 85228"/>
                <a:gd name="connsiteX143" fmla="*/ 33123 w 85069"/>
                <a:gd name="connsiteY143" fmla="*/ 66141 h 85228"/>
                <a:gd name="connsiteX144" fmla="*/ 32518 w 85069"/>
                <a:gd name="connsiteY144" fmla="*/ 65883 h 85228"/>
                <a:gd name="connsiteX145" fmla="*/ 32414 w 85069"/>
                <a:gd name="connsiteY145" fmla="*/ 65274 h 85228"/>
                <a:gd name="connsiteX146" fmla="*/ 32293 w 85069"/>
                <a:gd name="connsiteY146" fmla="*/ 64689 h 85228"/>
                <a:gd name="connsiteX147" fmla="*/ 31710 w 85069"/>
                <a:gd name="connsiteY147" fmla="*/ 63964 h 85228"/>
                <a:gd name="connsiteX148" fmla="*/ 31080 w 85069"/>
                <a:gd name="connsiteY148" fmla="*/ 63561 h 85228"/>
                <a:gd name="connsiteX149" fmla="*/ 28389 w 85069"/>
                <a:gd name="connsiteY149" fmla="*/ 65599 h 85228"/>
                <a:gd name="connsiteX150" fmla="*/ 27389 w 85069"/>
                <a:gd name="connsiteY150" fmla="*/ 65594 h 85228"/>
                <a:gd name="connsiteX151" fmla="*/ 26126 w 85069"/>
                <a:gd name="connsiteY151" fmla="*/ 64811 h 85228"/>
                <a:gd name="connsiteX152" fmla="*/ 25502 w 85069"/>
                <a:gd name="connsiteY152" fmla="*/ 64043 h 85228"/>
                <a:gd name="connsiteX153" fmla="*/ 24120 w 85069"/>
                <a:gd name="connsiteY153" fmla="*/ 64481 h 85228"/>
                <a:gd name="connsiteX154" fmla="*/ 22878 w 85069"/>
                <a:gd name="connsiteY154" fmla="*/ 65427 h 85228"/>
                <a:gd name="connsiteX155" fmla="*/ 23304 w 85069"/>
                <a:gd name="connsiteY155" fmla="*/ 67203 h 85228"/>
                <a:gd name="connsiteX156" fmla="*/ 22634 w 85069"/>
                <a:gd name="connsiteY156" fmla="*/ 67528 h 85228"/>
                <a:gd name="connsiteX157" fmla="*/ 21104 w 85069"/>
                <a:gd name="connsiteY157" fmla="*/ 67366 h 85228"/>
                <a:gd name="connsiteX158" fmla="*/ 19372 w 85069"/>
                <a:gd name="connsiteY158" fmla="*/ 66634 h 85228"/>
                <a:gd name="connsiteX159" fmla="*/ 17441 w 85069"/>
                <a:gd name="connsiteY159" fmla="*/ 66193 h 85228"/>
                <a:gd name="connsiteX160" fmla="*/ 14515 w 85069"/>
                <a:gd name="connsiteY160" fmla="*/ 64968 h 85228"/>
                <a:gd name="connsiteX161" fmla="*/ 10432 w 85069"/>
                <a:gd name="connsiteY161" fmla="*/ 65962 h 85228"/>
                <a:gd name="connsiteX162" fmla="*/ 7594 w 85069"/>
                <a:gd name="connsiteY162" fmla="*/ 64772 h 85228"/>
                <a:gd name="connsiteX163" fmla="*/ 5236 w 85069"/>
                <a:gd name="connsiteY163" fmla="*/ 64654 h 85228"/>
                <a:gd name="connsiteX164" fmla="*/ 3768 w 85069"/>
                <a:gd name="connsiteY164" fmla="*/ 63706 h 85228"/>
                <a:gd name="connsiteX165" fmla="*/ 2185 w 85069"/>
                <a:gd name="connsiteY165" fmla="*/ 62102 h 85228"/>
                <a:gd name="connsiteX166" fmla="*/ 3306 w 85069"/>
                <a:gd name="connsiteY166" fmla="*/ 61046 h 85228"/>
                <a:gd name="connsiteX167" fmla="*/ 4390 w 85069"/>
                <a:gd name="connsiteY167" fmla="*/ 60680 h 85228"/>
                <a:gd name="connsiteX168" fmla="*/ 8709 w 85069"/>
                <a:gd name="connsiteY168" fmla="*/ 60476 h 85228"/>
                <a:gd name="connsiteX169" fmla="*/ 11850 w 85069"/>
                <a:gd name="connsiteY169" fmla="*/ 61118 h 85228"/>
                <a:gd name="connsiteX170" fmla="*/ 17495 w 85069"/>
                <a:gd name="connsiteY170" fmla="*/ 64600 h 85228"/>
                <a:gd name="connsiteX171" fmla="*/ 18920 w 85069"/>
                <a:gd name="connsiteY171" fmla="*/ 64573 h 85228"/>
                <a:gd name="connsiteX172" fmla="*/ 20432 w 85069"/>
                <a:gd name="connsiteY172" fmla="*/ 64134 h 85228"/>
                <a:gd name="connsiteX173" fmla="*/ 19663 w 85069"/>
                <a:gd name="connsiteY173" fmla="*/ 63185 h 85228"/>
                <a:gd name="connsiteX174" fmla="*/ 18251 w 85069"/>
                <a:gd name="connsiteY174" fmla="*/ 62733 h 85228"/>
                <a:gd name="connsiteX175" fmla="*/ 16150 w 85069"/>
                <a:gd name="connsiteY175" fmla="*/ 61797 h 85228"/>
                <a:gd name="connsiteX176" fmla="*/ 14476 w 85069"/>
                <a:gd name="connsiteY176" fmla="*/ 60482 h 85228"/>
                <a:gd name="connsiteX177" fmla="*/ 18408 w 85069"/>
                <a:gd name="connsiteY177" fmla="*/ 60056 h 85228"/>
                <a:gd name="connsiteX178" fmla="*/ 17864 w 85069"/>
                <a:gd name="connsiteY178" fmla="*/ 59375 h 85228"/>
                <a:gd name="connsiteX179" fmla="*/ 17346 w 85069"/>
                <a:gd name="connsiteY179" fmla="*/ 58213 h 85228"/>
                <a:gd name="connsiteX180" fmla="*/ 13196 w 85069"/>
                <a:gd name="connsiteY180" fmla="*/ 54156 h 85228"/>
                <a:gd name="connsiteX181" fmla="*/ 13904 w 85069"/>
                <a:gd name="connsiteY181" fmla="*/ 53057 h 85228"/>
                <a:gd name="connsiteX182" fmla="*/ 14947 w 85069"/>
                <a:gd name="connsiteY182" fmla="*/ 50697 h 85228"/>
                <a:gd name="connsiteX183" fmla="*/ 16247 w 85069"/>
                <a:gd name="connsiteY183" fmla="*/ 48735 h 85228"/>
                <a:gd name="connsiteX184" fmla="*/ 17283 w 85069"/>
                <a:gd name="connsiteY184" fmla="*/ 48209 h 85228"/>
                <a:gd name="connsiteX185" fmla="*/ 18987 w 85069"/>
                <a:gd name="connsiteY185" fmla="*/ 46816 h 85228"/>
                <a:gd name="connsiteX186" fmla="*/ 22691 w 85069"/>
                <a:gd name="connsiteY186" fmla="*/ 42733 h 85228"/>
                <a:gd name="connsiteX187" fmla="*/ 25046 w 85069"/>
                <a:gd name="connsiteY187" fmla="*/ 39401 h 85228"/>
                <a:gd name="connsiteX188" fmla="*/ 26800 w 85069"/>
                <a:gd name="connsiteY188" fmla="*/ 35438 h 85228"/>
                <a:gd name="connsiteX189" fmla="*/ 29369 w 85069"/>
                <a:gd name="connsiteY189" fmla="*/ 24495 h 85228"/>
                <a:gd name="connsiteX190" fmla="*/ 30130 w 85069"/>
                <a:gd name="connsiteY190" fmla="*/ 22631 h 85228"/>
                <a:gd name="connsiteX191" fmla="*/ 31369 w 85069"/>
                <a:gd name="connsiteY191" fmla="*/ 20562 h 85228"/>
                <a:gd name="connsiteX192" fmla="*/ 32924 w 85069"/>
                <a:gd name="connsiteY192" fmla="*/ 20952 h 85228"/>
                <a:gd name="connsiteX193" fmla="*/ 34006 w 85069"/>
                <a:gd name="connsiteY193" fmla="*/ 21548 h 85228"/>
                <a:gd name="connsiteX194" fmla="*/ 37837 w 85069"/>
                <a:gd name="connsiteY194" fmla="*/ 19984 h 85228"/>
                <a:gd name="connsiteX195" fmla="*/ 44408 w 85069"/>
                <a:gd name="connsiteY195" fmla="*/ 15914 h 85228"/>
                <a:gd name="connsiteX196" fmla="*/ 46344 w 85069"/>
                <a:gd name="connsiteY196" fmla="*/ 12387 h 85228"/>
                <a:gd name="connsiteX197" fmla="*/ 48247 w 85069"/>
                <a:gd name="connsiteY197" fmla="*/ 10746 h 85228"/>
                <a:gd name="connsiteX198" fmla="*/ 55798 w 85069"/>
                <a:gd name="connsiteY198" fmla="*/ 7544 h 85228"/>
                <a:gd name="connsiteX199" fmla="*/ 59970 w 85069"/>
                <a:gd name="connsiteY199" fmla="*/ 6584 h 85228"/>
                <a:gd name="connsiteX200" fmla="*/ 66405 w 85069"/>
                <a:gd name="connsiteY200" fmla="*/ 6337 h 85228"/>
                <a:gd name="connsiteX201" fmla="*/ 71056 w 85069"/>
                <a:gd name="connsiteY201" fmla="*/ 5765 h 85228"/>
                <a:gd name="connsiteX202" fmla="*/ 48808 w 85069"/>
                <a:gd name="connsiteY202" fmla="*/ 5486 h 85228"/>
                <a:gd name="connsiteX203" fmla="*/ 49365 w 85069"/>
                <a:gd name="connsiteY203" fmla="*/ 5650 h 85228"/>
                <a:gd name="connsiteX204" fmla="*/ 43686 w 85069"/>
                <a:gd name="connsiteY204" fmla="*/ 7226 h 85228"/>
                <a:gd name="connsiteX205" fmla="*/ 41626 w 85069"/>
                <a:gd name="connsiteY205" fmla="*/ 7466 h 85228"/>
                <a:gd name="connsiteX206" fmla="*/ 40689 w 85069"/>
                <a:gd name="connsiteY206" fmla="*/ 7044 h 85228"/>
                <a:gd name="connsiteX207" fmla="*/ 45662 w 85069"/>
                <a:gd name="connsiteY207" fmla="*/ 5850 h 85228"/>
                <a:gd name="connsiteX208" fmla="*/ 55859 w 85069"/>
                <a:gd name="connsiteY208" fmla="*/ 4536 h 85228"/>
                <a:gd name="connsiteX209" fmla="*/ 57008 w 85069"/>
                <a:gd name="connsiteY209" fmla="*/ 4840 h 85228"/>
                <a:gd name="connsiteX210" fmla="*/ 57031 w 85069"/>
                <a:gd name="connsiteY210" fmla="*/ 5026 h 85228"/>
                <a:gd name="connsiteX211" fmla="*/ 52669 w 85069"/>
                <a:gd name="connsiteY211" fmla="*/ 5514 h 85228"/>
                <a:gd name="connsiteX212" fmla="*/ 51194 w 85069"/>
                <a:gd name="connsiteY212" fmla="*/ 5145 h 85228"/>
                <a:gd name="connsiteX213" fmla="*/ 50951 w 85069"/>
                <a:gd name="connsiteY213" fmla="*/ 4795 h 85228"/>
                <a:gd name="connsiteX214" fmla="*/ 52140 w 85069"/>
                <a:gd name="connsiteY214" fmla="*/ 4587 h 85228"/>
                <a:gd name="connsiteX215" fmla="*/ 65028 w 85069"/>
                <a:gd name="connsiteY215" fmla="*/ 3334 h 85228"/>
                <a:gd name="connsiteX216" fmla="*/ 65967 w 85069"/>
                <a:gd name="connsiteY216" fmla="*/ 3462 h 85228"/>
                <a:gd name="connsiteX217" fmla="*/ 62868 w 85069"/>
                <a:gd name="connsiteY217" fmla="*/ 4484 h 85228"/>
                <a:gd name="connsiteX218" fmla="*/ 62117 w 85069"/>
                <a:gd name="connsiteY218" fmla="*/ 4270 h 85228"/>
                <a:gd name="connsiteX219" fmla="*/ 62302 w 85069"/>
                <a:gd name="connsiteY219" fmla="*/ 3974 h 85228"/>
                <a:gd name="connsiteX220" fmla="*/ 75280 w 85069"/>
                <a:gd name="connsiteY220" fmla="*/ 0 h 85228"/>
                <a:gd name="connsiteX221" fmla="*/ 76304 w 85069"/>
                <a:gd name="connsiteY221" fmla="*/ 0 h 85228"/>
                <a:gd name="connsiteX222" fmla="*/ 74842 w 85069"/>
                <a:gd name="connsiteY222" fmla="*/ 1297 h 85228"/>
                <a:gd name="connsiteX223" fmla="*/ 72793 w 85069"/>
                <a:gd name="connsiteY223" fmla="*/ 1397 h 85228"/>
                <a:gd name="connsiteX224" fmla="*/ 73378 w 85069"/>
                <a:gd name="connsiteY224" fmla="*/ 599 h 852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</a:cxnLst>
              <a:rect l="l" t="t" r="r" b="b"/>
              <a:pathLst>
                <a:path w="85069" h="85228">
                  <a:moveTo>
                    <a:pt x="5293" y="66254"/>
                  </a:moveTo>
                  <a:lnTo>
                    <a:pt x="8102" y="67143"/>
                  </a:lnTo>
                  <a:lnTo>
                    <a:pt x="11792" y="67572"/>
                  </a:lnTo>
                  <a:lnTo>
                    <a:pt x="14614" y="66356"/>
                  </a:lnTo>
                  <a:lnTo>
                    <a:pt x="16836" y="67392"/>
                  </a:lnTo>
                  <a:lnTo>
                    <a:pt x="19372" y="66634"/>
                  </a:lnTo>
                  <a:lnTo>
                    <a:pt x="19046" y="67741"/>
                  </a:lnTo>
                  <a:lnTo>
                    <a:pt x="18186" y="68963"/>
                  </a:lnTo>
                  <a:lnTo>
                    <a:pt x="15256" y="70722"/>
                  </a:lnTo>
                  <a:lnTo>
                    <a:pt x="12205" y="71876"/>
                  </a:lnTo>
                  <a:lnTo>
                    <a:pt x="10628" y="71732"/>
                  </a:lnTo>
                  <a:lnTo>
                    <a:pt x="9548" y="71128"/>
                  </a:lnTo>
                  <a:lnTo>
                    <a:pt x="8968" y="70494"/>
                  </a:lnTo>
                  <a:lnTo>
                    <a:pt x="7335" y="69883"/>
                  </a:lnTo>
                  <a:lnTo>
                    <a:pt x="5089" y="69576"/>
                  </a:lnTo>
                  <a:lnTo>
                    <a:pt x="3692" y="70237"/>
                  </a:lnTo>
                  <a:lnTo>
                    <a:pt x="2695" y="70863"/>
                  </a:lnTo>
                  <a:lnTo>
                    <a:pt x="1822" y="70760"/>
                  </a:lnTo>
                  <a:lnTo>
                    <a:pt x="1166" y="70237"/>
                  </a:lnTo>
                  <a:lnTo>
                    <a:pt x="663" y="69431"/>
                  </a:lnTo>
                  <a:lnTo>
                    <a:pt x="0" y="66892"/>
                  </a:lnTo>
                  <a:lnTo>
                    <a:pt x="1673" y="66428"/>
                  </a:lnTo>
                  <a:close/>
                  <a:moveTo>
                    <a:pt x="9706" y="56047"/>
                  </a:moveTo>
                  <a:lnTo>
                    <a:pt x="13246" y="56253"/>
                  </a:lnTo>
                  <a:lnTo>
                    <a:pt x="15405" y="57860"/>
                  </a:lnTo>
                  <a:lnTo>
                    <a:pt x="15865" y="58373"/>
                  </a:lnTo>
                  <a:lnTo>
                    <a:pt x="16031" y="58924"/>
                  </a:lnTo>
                  <a:lnTo>
                    <a:pt x="13287" y="59563"/>
                  </a:lnTo>
                  <a:lnTo>
                    <a:pt x="10369" y="57592"/>
                  </a:lnTo>
                  <a:lnTo>
                    <a:pt x="8441" y="58057"/>
                  </a:lnTo>
                  <a:lnTo>
                    <a:pt x="7715" y="57123"/>
                  </a:lnTo>
                  <a:lnTo>
                    <a:pt x="7704" y="56540"/>
                  </a:lnTo>
                  <a:close/>
                  <a:moveTo>
                    <a:pt x="33971" y="13310"/>
                  </a:moveTo>
                  <a:lnTo>
                    <a:pt x="33965" y="16687"/>
                  </a:lnTo>
                  <a:lnTo>
                    <a:pt x="31775" y="18811"/>
                  </a:lnTo>
                  <a:lnTo>
                    <a:pt x="30441" y="18218"/>
                  </a:lnTo>
                  <a:lnTo>
                    <a:pt x="30052" y="17726"/>
                  </a:lnTo>
                  <a:lnTo>
                    <a:pt x="30730" y="16070"/>
                  </a:lnTo>
                  <a:close/>
                  <a:moveTo>
                    <a:pt x="37081" y="9498"/>
                  </a:moveTo>
                  <a:lnTo>
                    <a:pt x="38884" y="9564"/>
                  </a:lnTo>
                  <a:lnTo>
                    <a:pt x="34796" y="11771"/>
                  </a:lnTo>
                  <a:lnTo>
                    <a:pt x="34446" y="11420"/>
                  </a:lnTo>
                  <a:close/>
                  <a:moveTo>
                    <a:pt x="76643" y="5558"/>
                  </a:moveTo>
                  <a:lnTo>
                    <a:pt x="78770" y="7538"/>
                  </a:lnTo>
                  <a:lnTo>
                    <a:pt x="80003" y="8984"/>
                  </a:lnTo>
                  <a:lnTo>
                    <a:pt x="81989" y="9787"/>
                  </a:lnTo>
                  <a:lnTo>
                    <a:pt x="85069" y="10338"/>
                  </a:lnTo>
                  <a:lnTo>
                    <a:pt x="84885" y="13193"/>
                  </a:lnTo>
                  <a:lnTo>
                    <a:pt x="84907" y="18820"/>
                  </a:lnTo>
                  <a:lnTo>
                    <a:pt x="84676" y="19817"/>
                  </a:lnTo>
                  <a:lnTo>
                    <a:pt x="83296" y="22186"/>
                  </a:lnTo>
                  <a:lnTo>
                    <a:pt x="81832" y="26435"/>
                  </a:lnTo>
                  <a:lnTo>
                    <a:pt x="81437" y="29222"/>
                  </a:lnTo>
                  <a:lnTo>
                    <a:pt x="80998" y="29753"/>
                  </a:lnTo>
                  <a:lnTo>
                    <a:pt x="75144" y="29737"/>
                  </a:lnTo>
                  <a:lnTo>
                    <a:pt x="74311" y="30220"/>
                  </a:lnTo>
                  <a:lnTo>
                    <a:pt x="74192" y="30822"/>
                  </a:lnTo>
                  <a:lnTo>
                    <a:pt x="74488" y="31539"/>
                  </a:lnTo>
                  <a:lnTo>
                    <a:pt x="74347" y="32252"/>
                  </a:lnTo>
                  <a:lnTo>
                    <a:pt x="73888" y="32832"/>
                  </a:lnTo>
                  <a:lnTo>
                    <a:pt x="74138" y="33753"/>
                  </a:lnTo>
                  <a:lnTo>
                    <a:pt x="75153" y="34800"/>
                  </a:lnTo>
                  <a:lnTo>
                    <a:pt x="77003" y="35447"/>
                  </a:lnTo>
                  <a:lnTo>
                    <a:pt x="78984" y="35506"/>
                  </a:lnTo>
                  <a:lnTo>
                    <a:pt x="80003" y="35393"/>
                  </a:lnTo>
                  <a:lnTo>
                    <a:pt x="80748" y="36139"/>
                  </a:lnTo>
                  <a:lnTo>
                    <a:pt x="81484" y="37291"/>
                  </a:lnTo>
                  <a:lnTo>
                    <a:pt x="81428" y="38738"/>
                  </a:lnTo>
                  <a:lnTo>
                    <a:pt x="81141" y="40682"/>
                  </a:lnTo>
                  <a:lnTo>
                    <a:pt x="80203" y="42476"/>
                  </a:lnTo>
                  <a:lnTo>
                    <a:pt x="77502" y="44542"/>
                  </a:lnTo>
                  <a:lnTo>
                    <a:pt x="76293" y="45270"/>
                  </a:lnTo>
                  <a:lnTo>
                    <a:pt x="75157" y="45641"/>
                  </a:lnTo>
                  <a:lnTo>
                    <a:pt x="74615" y="46187"/>
                  </a:lnTo>
                  <a:lnTo>
                    <a:pt x="74360" y="46878"/>
                  </a:lnTo>
                  <a:lnTo>
                    <a:pt x="74419" y="47491"/>
                  </a:lnTo>
                  <a:lnTo>
                    <a:pt x="76338" y="49147"/>
                  </a:lnTo>
                  <a:lnTo>
                    <a:pt x="76293" y="49525"/>
                  </a:lnTo>
                  <a:lnTo>
                    <a:pt x="75736" y="50385"/>
                  </a:lnTo>
                  <a:lnTo>
                    <a:pt x="74997" y="51194"/>
                  </a:lnTo>
                  <a:lnTo>
                    <a:pt x="70039" y="52876"/>
                  </a:lnTo>
                  <a:lnTo>
                    <a:pt x="67992" y="52744"/>
                  </a:lnTo>
                  <a:lnTo>
                    <a:pt x="66824" y="53581"/>
                  </a:lnTo>
                  <a:lnTo>
                    <a:pt x="66459" y="53740"/>
                  </a:lnTo>
                  <a:lnTo>
                    <a:pt x="65164" y="52971"/>
                  </a:lnTo>
                  <a:lnTo>
                    <a:pt x="62276" y="52084"/>
                  </a:lnTo>
                  <a:lnTo>
                    <a:pt x="61186" y="52390"/>
                  </a:lnTo>
                  <a:lnTo>
                    <a:pt x="60581" y="52876"/>
                  </a:lnTo>
                  <a:lnTo>
                    <a:pt x="58763" y="53465"/>
                  </a:lnTo>
                  <a:lnTo>
                    <a:pt x="57461" y="54388"/>
                  </a:lnTo>
                  <a:lnTo>
                    <a:pt x="57457" y="55576"/>
                  </a:lnTo>
                  <a:lnTo>
                    <a:pt x="59761" y="58645"/>
                  </a:lnTo>
                  <a:lnTo>
                    <a:pt x="60571" y="59247"/>
                  </a:lnTo>
                  <a:lnTo>
                    <a:pt x="60609" y="60391"/>
                  </a:lnTo>
                  <a:lnTo>
                    <a:pt x="61726" y="61827"/>
                  </a:lnTo>
                  <a:lnTo>
                    <a:pt x="62868" y="63626"/>
                  </a:lnTo>
                  <a:lnTo>
                    <a:pt x="62991" y="64769"/>
                  </a:lnTo>
                  <a:lnTo>
                    <a:pt x="62860" y="65926"/>
                  </a:lnTo>
                  <a:lnTo>
                    <a:pt x="62270" y="67562"/>
                  </a:lnTo>
                  <a:lnTo>
                    <a:pt x="60273" y="71394"/>
                  </a:lnTo>
                  <a:lnTo>
                    <a:pt x="60249" y="72129"/>
                  </a:lnTo>
                  <a:lnTo>
                    <a:pt x="60417" y="72687"/>
                  </a:lnTo>
                  <a:lnTo>
                    <a:pt x="61102" y="72841"/>
                  </a:lnTo>
                  <a:lnTo>
                    <a:pt x="61622" y="73130"/>
                  </a:lnTo>
                  <a:lnTo>
                    <a:pt x="61469" y="73640"/>
                  </a:lnTo>
                  <a:lnTo>
                    <a:pt x="57733" y="76293"/>
                  </a:lnTo>
                  <a:lnTo>
                    <a:pt x="57251" y="76757"/>
                  </a:lnTo>
                  <a:lnTo>
                    <a:pt x="55684" y="76626"/>
                  </a:lnTo>
                  <a:lnTo>
                    <a:pt x="55444" y="77069"/>
                  </a:lnTo>
                  <a:lnTo>
                    <a:pt x="55658" y="77784"/>
                  </a:lnTo>
                  <a:lnTo>
                    <a:pt x="56267" y="78410"/>
                  </a:lnTo>
                  <a:lnTo>
                    <a:pt x="57601" y="78740"/>
                  </a:lnTo>
                  <a:lnTo>
                    <a:pt x="58746" y="79411"/>
                  </a:lnTo>
                  <a:lnTo>
                    <a:pt x="59666" y="80726"/>
                  </a:lnTo>
                  <a:lnTo>
                    <a:pt x="58461" y="85228"/>
                  </a:lnTo>
                  <a:lnTo>
                    <a:pt x="54114" y="85109"/>
                  </a:lnTo>
                  <a:lnTo>
                    <a:pt x="53002" y="84963"/>
                  </a:lnTo>
                  <a:lnTo>
                    <a:pt x="51821" y="84523"/>
                  </a:lnTo>
                  <a:lnTo>
                    <a:pt x="51818" y="84520"/>
                  </a:lnTo>
                  <a:lnTo>
                    <a:pt x="51278" y="83611"/>
                  </a:lnTo>
                  <a:lnTo>
                    <a:pt x="50622" y="82514"/>
                  </a:lnTo>
                  <a:lnTo>
                    <a:pt x="50801" y="81842"/>
                  </a:lnTo>
                  <a:lnTo>
                    <a:pt x="52771" y="79931"/>
                  </a:lnTo>
                  <a:lnTo>
                    <a:pt x="53067" y="79403"/>
                  </a:lnTo>
                  <a:lnTo>
                    <a:pt x="52864" y="79120"/>
                  </a:lnTo>
                  <a:lnTo>
                    <a:pt x="53062" y="78278"/>
                  </a:lnTo>
                  <a:lnTo>
                    <a:pt x="54576" y="75424"/>
                  </a:lnTo>
                  <a:lnTo>
                    <a:pt x="54772" y="74277"/>
                  </a:lnTo>
                  <a:lnTo>
                    <a:pt x="54095" y="73474"/>
                  </a:lnTo>
                  <a:lnTo>
                    <a:pt x="53118" y="72994"/>
                  </a:lnTo>
                  <a:lnTo>
                    <a:pt x="49944" y="72146"/>
                  </a:lnTo>
                  <a:lnTo>
                    <a:pt x="48433" y="70949"/>
                  </a:lnTo>
                  <a:lnTo>
                    <a:pt x="47733" y="69903"/>
                  </a:lnTo>
                  <a:lnTo>
                    <a:pt x="47027" y="69609"/>
                  </a:lnTo>
                  <a:lnTo>
                    <a:pt x="45986" y="69962"/>
                  </a:lnTo>
                  <a:lnTo>
                    <a:pt x="43356" y="70351"/>
                  </a:lnTo>
                  <a:lnTo>
                    <a:pt x="41218" y="69787"/>
                  </a:lnTo>
                  <a:lnTo>
                    <a:pt x="38692" y="67807"/>
                  </a:lnTo>
                  <a:lnTo>
                    <a:pt x="38106" y="66036"/>
                  </a:lnTo>
                  <a:lnTo>
                    <a:pt x="37798" y="64677"/>
                  </a:lnTo>
                  <a:lnTo>
                    <a:pt x="37167" y="64208"/>
                  </a:lnTo>
                  <a:lnTo>
                    <a:pt x="36319" y="64905"/>
                  </a:lnTo>
                  <a:lnTo>
                    <a:pt x="35243" y="66009"/>
                  </a:lnTo>
                  <a:lnTo>
                    <a:pt x="33123" y="66141"/>
                  </a:lnTo>
                  <a:lnTo>
                    <a:pt x="32518" y="65883"/>
                  </a:lnTo>
                  <a:lnTo>
                    <a:pt x="32414" y="65274"/>
                  </a:lnTo>
                  <a:lnTo>
                    <a:pt x="32293" y="64689"/>
                  </a:lnTo>
                  <a:lnTo>
                    <a:pt x="31710" y="63964"/>
                  </a:lnTo>
                  <a:lnTo>
                    <a:pt x="31080" y="63561"/>
                  </a:lnTo>
                  <a:lnTo>
                    <a:pt x="28389" y="65599"/>
                  </a:lnTo>
                  <a:lnTo>
                    <a:pt x="27389" y="65594"/>
                  </a:lnTo>
                  <a:lnTo>
                    <a:pt x="26126" y="64811"/>
                  </a:lnTo>
                  <a:lnTo>
                    <a:pt x="25502" y="64043"/>
                  </a:lnTo>
                  <a:lnTo>
                    <a:pt x="24120" y="64481"/>
                  </a:lnTo>
                  <a:lnTo>
                    <a:pt x="22878" y="65427"/>
                  </a:lnTo>
                  <a:lnTo>
                    <a:pt x="23304" y="67203"/>
                  </a:lnTo>
                  <a:lnTo>
                    <a:pt x="22634" y="67528"/>
                  </a:lnTo>
                  <a:lnTo>
                    <a:pt x="21104" y="67366"/>
                  </a:lnTo>
                  <a:lnTo>
                    <a:pt x="19372" y="66634"/>
                  </a:lnTo>
                  <a:lnTo>
                    <a:pt x="17441" y="66193"/>
                  </a:lnTo>
                  <a:lnTo>
                    <a:pt x="14515" y="64968"/>
                  </a:lnTo>
                  <a:lnTo>
                    <a:pt x="10432" y="65962"/>
                  </a:lnTo>
                  <a:lnTo>
                    <a:pt x="7594" y="64772"/>
                  </a:lnTo>
                  <a:lnTo>
                    <a:pt x="5236" y="64654"/>
                  </a:lnTo>
                  <a:lnTo>
                    <a:pt x="3768" y="63706"/>
                  </a:lnTo>
                  <a:lnTo>
                    <a:pt x="2185" y="62102"/>
                  </a:lnTo>
                  <a:lnTo>
                    <a:pt x="3306" y="61046"/>
                  </a:lnTo>
                  <a:lnTo>
                    <a:pt x="4390" y="60680"/>
                  </a:lnTo>
                  <a:lnTo>
                    <a:pt x="8709" y="60476"/>
                  </a:lnTo>
                  <a:lnTo>
                    <a:pt x="11850" y="61118"/>
                  </a:lnTo>
                  <a:lnTo>
                    <a:pt x="17495" y="64600"/>
                  </a:lnTo>
                  <a:lnTo>
                    <a:pt x="18920" y="64573"/>
                  </a:lnTo>
                  <a:lnTo>
                    <a:pt x="20432" y="64134"/>
                  </a:lnTo>
                  <a:lnTo>
                    <a:pt x="19663" y="63185"/>
                  </a:lnTo>
                  <a:lnTo>
                    <a:pt x="18251" y="62733"/>
                  </a:lnTo>
                  <a:lnTo>
                    <a:pt x="16150" y="61797"/>
                  </a:lnTo>
                  <a:lnTo>
                    <a:pt x="14476" y="60482"/>
                  </a:lnTo>
                  <a:lnTo>
                    <a:pt x="18408" y="60056"/>
                  </a:lnTo>
                  <a:lnTo>
                    <a:pt x="17864" y="59375"/>
                  </a:lnTo>
                  <a:lnTo>
                    <a:pt x="17346" y="58213"/>
                  </a:lnTo>
                  <a:lnTo>
                    <a:pt x="13196" y="54156"/>
                  </a:lnTo>
                  <a:lnTo>
                    <a:pt x="13904" y="53057"/>
                  </a:lnTo>
                  <a:lnTo>
                    <a:pt x="14947" y="50697"/>
                  </a:lnTo>
                  <a:lnTo>
                    <a:pt x="16247" y="48735"/>
                  </a:lnTo>
                  <a:lnTo>
                    <a:pt x="17283" y="48209"/>
                  </a:lnTo>
                  <a:lnTo>
                    <a:pt x="18987" y="46816"/>
                  </a:lnTo>
                  <a:lnTo>
                    <a:pt x="22691" y="42733"/>
                  </a:lnTo>
                  <a:lnTo>
                    <a:pt x="25046" y="39401"/>
                  </a:lnTo>
                  <a:lnTo>
                    <a:pt x="26800" y="35438"/>
                  </a:lnTo>
                  <a:lnTo>
                    <a:pt x="29369" y="24495"/>
                  </a:lnTo>
                  <a:lnTo>
                    <a:pt x="30130" y="22631"/>
                  </a:lnTo>
                  <a:lnTo>
                    <a:pt x="31369" y="20562"/>
                  </a:lnTo>
                  <a:lnTo>
                    <a:pt x="32924" y="20952"/>
                  </a:lnTo>
                  <a:lnTo>
                    <a:pt x="34006" y="21548"/>
                  </a:lnTo>
                  <a:lnTo>
                    <a:pt x="37837" y="19984"/>
                  </a:lnTo>
                  <a:lnTo>
                    <a:pt x="44408" y="15914"/>
                  </a:lnTo>
                  <a:lnTo>
                    <a:pt x="46344" y="12387"/>
                  </a:lnTo>
                  <a:lnTo>
                    <a:pt x="48247" y="10746"/>
                  </a:lnTo>
                  <a:lnTo>
                    <a:pt x="55798" y="7544"/>
                  </a:lnTo>
                  <a:lnTo>
                    <a:pt x="59970" y="6584"/>
                  </a:lnTo>
                  <a:lnTo>
                    <a:pt x="66405" y="6337"/>
                  </a:lnTo>
                  <a:lnTo>
                    <a:pt x="71056" y="5765"/>
                  </a:lnTo>
                  <a:close/>
                  <a:moveTo>
                    <a:pt x="48808" y="5486"/>
                  </a:moveTo>
                  <a:lnTo>
                    <a:pt x="49365" y="5650"/>
                  </a:lnTo>
                  <a:lnTo>
                    <a:pt x="43686" y="7226"/>
                  </a:lnTo>
                  <a:lnTo>
                    <a:pt x="41626" y="7466"/>
                  </a:lnTo>
                  <a:lnTo>
                    <a:pt x="40689" y="7044"/>
                  </a:lnTo>
                  <a:lnTo>
                    <a:pt x="45662" y="5850"/>
                  </a:lnTo>
                  <a:close/>
                  <a:moveTo>
                    <a:pt x="55859" y="4536"/>
                  </a:moveTo>
                  <a:lnTo>
                    <a:pt x="57008" y="4840"/>
                  </a:lnTo>
                  <a:lnTo>
                    <a:pt x="57031" y="5026"/>
                  </a:lnTo>
                  <a:lnTo>
                    <a:pt x="52669" y="5514"/>
                  </a:lnTo>
                  <a:lnTo>
                    <a:pt x="51194" y="5145"/>
                  </a:lnTo>
                  <a:lnTo>
                    <a:pt x="50951" y="4795"/>
                  </a:lnTo>
                  <a:lnTo>
                    <a:pt x="52140" y="4587"/>
                  </a:lnTo>
                  <a:close/>
                  <a:moveTo>
                    <a:pt x="65028" y="3334"/>
                  </a:moveTo>
                  <a:lnTo>
                    <a:pt x="65967" y="3462"/>
                  </a:lnTo>
                  <a:lnTo>
                    <a:pt x="62868" y="4484"/>
                  </a:lnTo>
                  <a:lnTo>
                    <a:pt x="62117" y="4270"/>
                  </a:lnTo>
                  <a:lnTo>
                    <a:pt x="62302" y="3974"/>
                  </a:lnTo>
                  <a:close/>
                  <a:moveTo>
                    <a:pt x="75280" y="0"/>
                  </a:moveTo>
                  <a:lnTo>
                    <a:pt x="76304" y="0"/>
                  </a:lnTo>
                  <a:lnTo>
                    <a:pt x="74842" y="1297"/>
                  </a:lnTo>
                  <a:lnTo>
                    <a:pt x="72793" y="1397"/>
                  </a:lnTo>
                  <a:lnTo>
                    <a:pt x="73378" y="599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49" name="ee4p_NO_1_37365">
              <a:extLst>
                <a:ext uri="{FF2B5EF4-FFF2-40B4-BE49-F238E27FC236}">
                  <a16:creationId xmlns:a16="http://schemas.microsoft.com/office/drawing/2014/main" id="{2D87CE4E-EB65-A639-AC26-05254FA8CFCE}"/>
                </a:ext>
              </a:extLst>
            </p:cNvPr>
            <p:cNvSpPr>
              <a:spLocks noChangeAspect="1"/>
            </p:cNvSpPr>
            <p:nvPr>
              <p:custDataLst>
                <p:tags r:id="rId303"/>
              </p:custDataLst>
            </p:nvPr>
          </p:nvSpPr>
          <p:spPr>
            <a:xfrm>
              <a:off x="6647966" y="2195778"/>
              <a:ext cx="726490" cy="607024"/>
            </a:xfrm>
            <a:custGeom>
              <a:avLst/>
              <a:gdLst>
                <a:gd name="connsiteX0" fmla="*/ 4236 w 578488"/>
                <a:gd name="connsiteY0" fmla="*/ 391131 h 470547"/>
                <a:gd name="connsiteX1" fmla="*/ 5553 w 578488"/>
                <a:gd name="connsiteY1" fmla="*/ 393229 h 470547"/>
                <a:gd name="connsiteX2" fmla="*/ 6342 w 578488"/>
                <a:gd name="connsiteY2" fmla="*/ 395934 h 470547"/>
                <a:gd name="connsiteX3" fmla="*/ 6413 w 578488"/>
                <a:gd name="connsiteY3" fmla="*/ 399875 h 470547"/>
                <a:gd name="connsiteX4" fmla="*/ 4376 w 578488"/>
                <a:gd name="connsiteY4" fmla="*/ 399577 h 470547"/>
                <a:gd name="connsiteX5" fmla="*/ 3461 w 578488"/>
                <a:gd name="connsiteY5" fmla="*/ 398066 h 470547"/>
                <a:gd name="connsiteX6" fmla="*/ 3196 w 578488"/>
                <a:gd name="connsiteY6" fmla="*/ 397101 h 470547"/>
                <a:gd name="connsiteX7" fmla="*/ 3355 w 578488"/>
                <a:gd name="connsiteY7" fmla="*/ 394818 h 470547"/>
                <a:gd name="connsiteX8" fmla="*/ 2897 w 578488"/>
                <a:gd name="connsiteY8" fmla="*/ 392461 h 470547"/>
                <a:gd name="connsiteX9" fmla="*/ 3498 w 578488"/>
                <a:gd name="connsiteY9" fmla="*/ 391290 h 470547"/>
                <a:gd name="connsiteX10" fmla="*/ 2573 w 578488"/>
                <a:gd name="connsiteY10" fmla="*/ 366113 h 470547"/>
                <a:gd name="connsiteX11" fmla="*/ 3852 w 578488"/>
                <a:gd name="connsiteY11" fmla="*/ 367834 h 470547"/>
                <a:gd name="connsiteX12" fmla="*/ 3530 w 578488"/>
                <a:gd name="connsiteY12" fmla="*/ 369975 h 470547"/>
                <a:gd name="connsiteX13" fmla="*/ 1572 w 578488"/>
                <a:gd name="connsiteY13" fmla="*/ 370400 h 470547"/>
                <a:gd name="connsiteX14" fmla="*/ 0 w 578488"/>
                <a:gd name="connsiteY14" fmla="*/ 370038 h 470547"/>
                <a:gd name="connsiteX15" fmla="*/ 561 w 578488"/>
                <a:gd name="connsiteY15" fmla="*/ 366825 h 470547"/>
                <a:gd name="connsiteX16" fmla="*/ 1384 w 578488"/>
                <a:gd name="connsiteY16" fmla="*/ 366299 h 470547"/>
                <a:gd name="connsiteX17" fmla="*/ 72406 w 578488"/>
                <a:gd name="connsiteY17" fmla="*/ 288176 h 470547"/>
                <a:gd name="connsiteX18" fmla="*/ 73790 w 578488"/>
                <a:gd name="connsiteY18" fmla="*/ 289555 h 470547"/>
                <a:gd name="connsiteX19" fmla="*/ 73896 w 578488"/>
                <a:gd name="connsiteY19" fmla="*/ 291823 h 470547"/>
                <a:gd name="connsiteX20" fmla="*/ 73052 w 578488"/>
                <a:gd name="connsiteY20" fmla="*/ 292828 h 470547"/>
                <a:gd name="connsiteX21" fmla="*/ 70884 w 578488"/>
                <a:gd name="connsiteY21" fmla="*/ 292852 h 470547"/>
                <a:gd name="connsiteX22" fmla="*/ 68309 w 578488"/>
                <a:gd name="connsiteY22" fmla="*/ 292314 h 470547"/>
                <a:gd name="connsiteX23" fmla="*/ 66697 w 578488"/>
                <a:gd name="connsiteY23" fmla="*/ 291172 h 470547"/>
                <a:gd name="connsiteX24" fmla="*/ 66446 w 578488"/>
                <a:gd name="connsiteY24" fmla="*/ 290164 h 470547"/>
                <a:gd name="connsiteX25" fmla="*/ 69417 w 578488"/>
                <a:gd name="connsiteY25" fmla="*/ 288910 h 470547"/>
                <a:gd name="connsiteX26" fmla="*/ 87688 w 578488"/>
                <a:gd name="connsiteY26" fmla="*/ 276468 h 470547"/>
                <a:gd name="connsiteX27" fmla="*/ 88672 w 578488"/>
                <a:gd name="connsiteY27" fmla="*/ 277636 h 470547"/>
                <a:gd name="connsiteX28" fmla="*/ 88798 w 578488"/>
                <a:gd name="connsiteY28" fmla="*/ 279233 h 470547"/>
                <a:gd name="connsiteX29" fmla="*/ 88172 w 578488"/>
                <a:gd name="connsiteY29" fmla="*/ 280023 h 470547"/>
                <a:gd name="connsiteX30" fmla="*/ 81190 w 578488"/>
                <a:gd name="connsiteY30" fmla="*/ 281299 h 470547"/>
                <a:gd name="connsiteX31" fmla="*/ 78655 w 578488"/>
                <a:gd name="connsiteY31" fmla="*/ 281381 h 470547"/>
                <a:gd name="connsiteX32" fmla="*/ 77129 w 578488"/>
                <a:gd name="connsiteY32" fmla="*/ 280596 h 470547"/>
                <a:gd name="connsiteX33" fmla="*/ 80758 w 578488"/>
                <a:gd name="connsiteY33" fmla="*/ 279027 h 470547"/>
                <a:gd name="connsiteX34" fmla="*/ 86455 w 578488"/>
                <a:gd name="connsiteY34" fmla="*/ 277535 h 470547"/>
                <a:gd name="connsiteX35" fmla="*/ 86997 w 578488"/>
                <a:gd name="connsiteY35" fmla="*/ 276585 h 470547"/>
                <a:gd name="connsiteX36" fmla="*/ 137580 w 578488"/>
                <a:gd name="connsiteY36" fmla="*/ 234750 h 470547"/>
                <a:gd name="connsiteX37" fmla="*/ 140049 w 578488"/>
                <a:gd name="connsiteY37" fmla="*/ 234842 h 470547"/>
                <a:gd name="connsiteX38" fmla="*/ 142560 w 578488"/>
                <a:gd name="connsiteY38" fmla="*/ 237291 h 470547"/>
                <a:gd name="connsiteX39" fmla="*/ 142234 w 578488"/>
                <a:gd name="connsiteY39" fmla="*/ 238798 h 470547"/>
                <a:gd name="connsiteX40" fmla="*/ 141074 w 578488"/>
                <a:gd name="connsiteY40" fmla="*/ 239795 h 470547"/>
                <a:gd name="connsiteX41" fmla="*/ 138498 w 578488"/>
                <a:gd name="connsiteY41" fmla="*/ 238994 h 470547"/>
                <a:gd name="connsiteX42" fmla="*/ 133413 w 578488"/>
                <a:gd name="connsiteY42" fmla="*/ 239613 h 470547"/>
                <a:gd name="connsiteX43" fmla="*/ 131364 w 578488"/>
                <a:gd name="connsiteY43" fmla="*/ 238638 h 470547"/>
                <a:gd name="connsiteX44" fmla="*/ 132992 w 578488"/>
                <a:gd name="connsiteY44" fmla="*/ 236741 h 470547"/>
                <a:gd name="connsiteX45" fmla="*/ 156473 w 578488"/>
                <a:gd name="connsiteY45" fmla="*/ 208471 h 470547"/>
                <a:gd name="connsiteX46" fmla="*/ 158617 w 578488"/>
                <a:gd name="connsiteY46" fmla="*/ 208629 h 470547"/>
                <a:gd name="connsiteX47" fmla="*/ 159300 w 578488"/>
                <a:gd name="connsiteY47" fmla="*/ 209433 h 470547"/>
                <a:gd name="connsiteX48" fmla="*/ 158520 w 578488"/>
                <a:gd name="connsiteY48" fmla="*/ 211357 h 470547"/>
                <a:gd name="connsiteX49" fmla="*/ 157058 w 578488"/>
                <a:gd name="connsiteY49" fmla="*/ 212476 h 470547"/>
                <a:gd name="connsiteX50" fmla="*/ 154327 w 578488"/>
                <a:gd name="connsiteY50" fmla="*/ 212155 h 470547"/>
                <a:gd name="connsiteX51" fmla="*/ 154035 w 578488"/>
                <a:gd name="connsiteY51" fmla="*/ 211196 h 470547"/>
                <a:gd name="connsiteX52" fmla="*/ 154815 w 578488"/>
                <a:gd name="connsiteY52" fmla="*/ 209272 h 470547"/>
                <a:gd name="connsiteX53" fmla="*/ 175748 w 578488"/>
                <a:gd name="connsiteY53" fmla="*/ 197328 h 470547"/>
                <a:gd name="connsiteX54" fmla="*/ 176449 w 578488"/>
                <a:gd name="connsiteY54" fmla="*/ 198048 h 470547"/>
                <a:gd name="connsiteX55" fmla="*/ 175119 w 578488"/>
                <a:gd name="connsiteY55" fmla="*/ 199065 h 470547"/>
                <a:gd name="connsiteX56" fmla="*/ 170496 w 578488"/>
                <a:gd name="connsiteY56" fmla="*/ 201327 h 470547"/>
                <a:gd name="connsiteX57" fmla="*/ 168725 w 578488"/>
                <a:gd name="connsiteY57" fmla="*/ 201432 h 470547"/>
                <a:gd name="connsiteX58" fmla="*/ 168740 w 578488"/>
                <a:gd name="connsiteY58" fmla="*/ 199939 h 470547"/>
                <a:gd name="connsiteX59" fmla="*/ 169755 w 578488"/>
                <a:gd name="connsiteY59" fmla="*/ 198582 h 470547"/>
                <a:gd name="connsiteX60" fmla="*/ 171364 w 578488"/>
                <a:gd name="connsiteY60" fmla="*/ 197674 h 470547"/>
                <a:gd name="connsiteX61" fmla="*/ 173433 w 578488"/>
                <a:gd name="connsiteY61" fmla="*/ 197432 h 470547"/>
                <a:gd name="connsiteX62" fmla="*/ 170891 w 578488"/>
                <a:gd name="connsiteY62" fmla="*/ 190029 h 470547"/>
                <a:gd name="connsiteX63" fmla="*/ 172956 w 578488"/>
                <a:gd name="connsiteY63" fmla="*/ 191226 h 470547"/>
                <a:gd name="connsiteX64" fmla="*/ 172996 w 578488"/>
                <a:gd name="connsiteY64" fmla="*/ 193260 h 470547"/>
                <a:gd name="connsiteX65" fmla="*/ 171973 w 578488"/>
                <a:gd name="connsiteY65" fmla="*/ 195112 h 470547"/>
                <a:gd name="connsiteX66" fmla="*/ 168514 w 578488"/>
                <a:gd name="connsiteY66" fmla="*/ 196161 h 470547"/>
                <a:gd name="connsiteX67" fmla="*/ 166467 w 578488"/>
                <a:gd name="connsiteY67" fmla="*/ 196404 h 470547"/>
                <a:gd name="connsiteX68" fmla="*/ 166808 w 578488"/>
                <a:gd name="connsiteY68" fmla="*/ 194788 h 470547"/>
                <a:gd name="connsiteX69" fmla="*/ 168464 w 578488"/>
                <a:gd name="connsiteY69" fmla="*/ 193253 h 470547"/>
                <a:gd name="connsiteX70" fmla="*/ 169099 w 578488"/>
                <a:gd name="connsiteY70" fmla="*/ 192202 h 470547"/>
                <a:gd name="connsiteX71" fmla="*/ 169429 w 578488"/>
                <a:gd name="connsiteY71" fmla="*/ 190966 h 470547"/>
                <a:gd name="connsiteX72" fmla="*/ 182845 w 578488"/>
                <a:gd name="connsiteY72" fmla="*/ 120497 h 470547"/>
                <a:gd name="connsiteX73" fmla="*/ 184057 w 578488"/>
                <a:gd name="connsiteY73" fmla="*/ 121330 h 470547"/>
                <a:gd name="connsiteX74" fmla="*/ 183502 w 578488"/>
                <a:gd name="connsiteY74" fmla="*/ 123106 h 470547"/>
                <a:gd name="connsiteX75" fmla="*/ 183513 w 578488"/>
                <a:gd name="connsiteY75" fmla="*/ 124862 h 470547"/>
                <a:gd name="connsiteX76" fmla="*/ 182990 w 578488"/>
                <a:gd name="connsiteY76" fmla="*/ 125692 h 470547"/>
                <a:gd name="connsiteX77" fmla="*/ 180716 w 578488"/>
                <a:gd name="connsiteY77" fmla="*/ 127984 h 470547"/>
                <a:gd name="connsiteX78" fmla="*/ 177449 w 578488"/>
                <a:gd name="connsiteY78" fmla="*/ 129987 h 470547"/>
                <a:gd name="connsiteX79" fmla="*/ 178641 w 578488"/>
                <a:gd name="connsiteY79" fmla="*/ 126329 h 470547"/>
                <a:gd name="connsiteX80" fmla="*/ 180405 w 578488"/>
                <a:gd name="connsiteY80" fmla="*/ 122620 h 470547"/>
                <a:gd name="connsiteX81" fmla="*/ 198678 w 578488"/>
                <a:gd name="connsiteY81" fmla="*/ 112691 h 470547"/>
                <a:gd name="connsiteX82" fmla="*/ 200641 w 578488"/>
                <a:gd name="connsiteY82" fmla="*/ 113103 h 470547"/>
                <a:gd name="connsiteX83" fmla="*/ 201956 w 578488"/>
                <a:gd name="connsiteY83" fmla="*/ 113756 h 470547"/>
                <a:gd name="connsiteX84" fmla="*/ 205392 w 578488"/>
                <a:gd name="connsiteY84" fmla="*/ 113566 h 470547"/>
                <a:gd name="connsiteX85" fmla="*/ 206080 w 578488"/>
                <a:gd name="connsiteY85" fmla="*/ 113810 h 470547"/>
                <a:gd name="connsiteX86" fmla="*/ 205592 w 578488"/>
                <a:gd name="connsiteY86" fmla="*/ 114887 h 470547"/>
                <a:gd name="connsiteX87" fmla="*/ 204100 w 578488"/>
                <a:gd name="connsiteY87" fmla="*/ 116071 h 470547"/>
                <a:gd name="connsiteX88" fmla="*/ 200969 w 578488"/>
                <a:gd name="connsiteY88" fmla="*/ 116797 h 470547"/>
                <a:gd name="connsiteX89" fmla="*/ 199561 w 578488"/>
                <a:gd name="connsiteY89" fmla="*/ 118603 h 470547"/>
                <a:gd name="connsiteX90" fmla="*/ 198553 w 578488"/>
                <a:gd name="connsiteY90" fmla="*/ 119216 h 470547"/>
                <a:gd name="connsiteX91" fmla="*/ 195849 w 578488"/>
                <a:gd name="connsiteY91" fmla="*/ 119224 h 470547"/>
                <a:gd name="connsiteX92" fmla="*/ 194254 w 578488"/>
                <a:gd name="connsiteY92" fmla="*/ 119640 h 470547"/>
                <a:gd name="connsiteX93" fmla="*/ 192291 w 578488"/>
                <a:gd name="connsiteY93" fmla="*/ 121245 h 470547"/>
                <a:gd name="connsiteX94" fmla="*/ 190721 w 578488"/>
                <a:gd name="connsiteY94" fmla="*/ 120062 h 470547"/>
                <a:gd name="connsiteX95" fmla="*/ 190283 w 578488"/>
                <a:gd name="connsiteY95" fmla="*/ 120902 h 470547"/>
                <a:gd name="connsiteX96" fmla="*/ 189997 w 578488"/>
                <a:gd name="connsiteY96" fmla="*/ 122401 h 470547"/>
                <a:gd name="connsiteX97" fmla="*/ 189125 w 578488"/>
                <a:gd name="connsiteY97" fmla="*/ 122841 h 470547"/>
                <a:gd name="connsiteX98" fmla="*/ 186413 w 578488"/>
                <a:gd name="connsiteY98" fmla="*/ 123384 h 470547"/>
                <a:gd name="connsiteX99" fmla="*/ 185752 w 578488"/>
                <a:gd name="connsiteY99" fmla="*/ 119891 h 470547"/>
                <a:gd name="connsiteX100" fmla="*/ 187000 w 578488"/>
                <a:gd name="connsiteY100" fmla="*/ 118622 h 470547"/>
                <a:gd name="connsiteX101" fmla="*/ 187978 w 578488"/>
                <a:gd name="connsiteY101" fmla="*/ 117104 h 470547"/>
                <a:gd name="connsiteX102" fmla="*/ 189477 w 578488"/>
                <a:gd name="connsiteY102" fmla="*/ 116872 h 470547"/>
                <a:gd name="connsiteX103" fmla="*/ 190820 w 578488"/>
                <a:gd name="connsiteY103" fmla="*/ 116998 h 470547"/>
                <a:gd name="connsiteX104" fmla="*/ 193237 w 578488"/>
                <a:gd name="connsiteY104" fmla="*/ 113726 h 470547"/>
                <a:gd name="connsiteX105" fmla="*/ 196547 w 578488"/>
                <a:gd name="connsiteY105" fmla="*/ 112796 h 470547"/>
                <a:gd name="connsiteX106" fmla="*/ 227817 w 578488"/>
                <a:gd name="connsiteY106" fmla="*/ 84536 h 470547"/>
                <a:gd name="connsiteX107" fmla="*/ 228398 w 578488"/>
                <a:gd name="connsiteY107" fmla="*/ 84693 h 470547"/>
                <a:gd name="connsiteX108" fmla="*/ 229447 w 578488"/>
                <a:gd name="connsiteY108" fmla="*/ 85561 h 470547"/>
                <a:gd name="connsiteX109" fmla="*/ 230145 w 578488"/>
                <a:gd name="connsiteY109" fmla="*/ 87049 h 470547"/>
                <a:gd name="connsiteX110" fmla="*/ 233021 w 578488"/>
                <a:gd name="connsiteY110" fmla="*/ 90942 h 470547"/>
                <a:gd name="connsiteX111" fmla="*/ 234334 w 578488"/>
                <a:gd name="connsiteY111" fmla="*/ 93213 h 470547"/>
                <a:gd name="connsiteX112" fmla="*/ 233269 w 578488"/>
                <a:gd name="connsiteY112" fmla="*/ 97497 h 470547"/>
                <a:gd name="connsiteX113" fmla="*/ 230475 w 578488"/>
                <a:gd name="connsiteY113" fmla="*/ 99655 h 470547"/>
                <a:gd name="connsiteX114" fmla="*/ 226163 w 578488"/>
                <a:gd name="connsiteY114" fmla="*/ 100039 h 470547"/>
                <a:gd name="connsiteX115" fmla="*/ 223138 w 578488"/>
                <a:gd name="connsiteY115" fmla="*/ 99860 h 470547"/>
                <a:gd name="connsiteX116" fmla="*/ 221231 w 578488"/>
                <a:gd name="connsiteY116" fmla="*/ 98822 h 470547"/>
                <a:gd name="connsiteX117" fmla="*/ 220993 w 578488"/>
                <a:gd name="connsiteY117" fmla="*/ 97657 h 470547"/>
                <a:gd name="connsiteX118" fmla="*/ 219892 w 578488"/>
                <a:gd name="connsiteY118" fmla="*/ 97313 h 470547"/>
                <a:gd name="connsiteX119" fmla="*/ 216987 w 578488"/>
                <a:gd name="connsiteY119" fmla="*/ 98809 h 470547"/>
                <a:gd name="connsiteX120" fmla="*/ 214969 w 578488"/>
                <a:gd name="connsiteY120" fmla="*/ 99011 h 470547"/>
                <a:gd name="connsiteX121" fmla="*/ 212401 w 578488"/>
                <a:gd name="connsiteY121" fmla="*/ 97851 h 470547"/>
                <a:gd name="connsiteX122" fmla="*/ 211710 w 578488"/>
                <a:gd name="connsiteY122" fmla="*/ 95995 h 470547"/>
                <a:gd name="connsiteX123" fmla="*/ 214435 w 578488"/>
                <a:gd name="connsiteY123" fmla="*/ 93665 h 470547"/>
                <a:gd name="connsiteX124" fmla="*/ 215696 w 578488"/>
                <a:gd name="connsiteY124" fmla="*/ 91852 h 470547"/>
                <a:gd name="connsiteX125" fmla="*/ 218720 w 578488"/>
                <a:gd name="connsiteY125" fmla="*/ 92012 h 470547"/>
                <a:gd name="connsiteX126" fmla="*/ 219475 w 578488"/>
                <a:gd name="connsiteY126" fmla="*/ 92576 h 470547"/>
                <a:gd name="connsiteX127" fmla="*/ 221183 w 578488"/>
                <a:gd name="connsiteY127" fmla="*/ 92928 h 470547"/>
                <a:gd name="connsiteX128" fmla="*/ 222222 w 578488"/>
                <a:gd name="connsiteY128" fmla="*/ 90744 h 470547"/>
                <a:gd name="connsiteX129" fmla="*/ 221982 w 578488"/>
                <a:gd name="connsiteY129" fmla="*/ 89232 h 470547"/>
                <a:gd name="connsiteX130" fmla="*/ 222742 w 578488"/>
                <a:gd name="connsiteY130" fmla="*/ 88181 h 470547"/>
                <a:gd name="connsiteX131" fmla="*/ 226394 w 578488"/>
                <a:gd name="connsiteY131" fmla="*/ 88938 h 470547"/>
                <a:gd name="connsiteX132" fmla="*/ 226400 w 578488"/>
                <a:gd name="connsiteY132" fmla="*/ 84826 h 470547"/>
                <a:gd name="connsiteX133" fmla="*/ 246910 w 578488"/>
                <a:gd name="connsiteY133" fmla="*/ 73108 h 470547"/>
                <a:gd name="connsiteX134" fmla="*/ 248739 w 578488"/>
                <a:gd name="connsiteY134" fmla="*/ 73108 h 470547"/>
                <a:gd name="connsiteX135" fmla="*/ 250540 w 578488"/>
                <a:gd name="connsiteY135" fmla="*/ 74204 h 470547"/>
                <a:gd name="connsiteX136" fmla="*/ 250216 w 578488"/>
                <a:gd name="connsiteY136" fmla="*/ 76443 h 470547"/>
                <a:gd name="connsiteX137" fmla="*/ 247515 w 578488"/>
                <a:gd name="connsiteY137" fmla="*/ 80477 h 470547"/>
                <a:gd name="connsiteX138" fmla="*/ 243513 w 578488"/>
                <a:gd name="connsiteY138" fmla="*/ 83908 h 470547"/>
                <a:gd name="connsiteX139" fmla="*/ 244001 w 578488"/>
                <a:gd name="connsiteY139" fmla="*/ 86367 h 470547"/>
                <a:gd name="connsiteX140" fmla="*/ 245595 w 578488"/>
                <a:gd name="connsiteY140" fmla="*/ 88389 h 470547"/>
                <a:gd name="connsiteX141" fmla="*/ 245986 w 578488"/>
                <a:gd name="connsiteY141" fmla="*/ 91839 h 470547"/>
                <a:gd name="connsiteX142" fmla="*/ 246083 w 578488"/>
                <a:gd name="connsiteY142" fmla="*/ 95156 h 470547"/>
                <a:gd name="connsiteX143" fmla="*/ 243049 w 578488"/>
                <a:gd name="connsiteY143" fmla="*/ 99627 h 470547"/>
                <a:gd name="connsiteX144" fmla="*/ 242378 w 578488"/>
                <a:gd name="connsiteY144" fmla="*/ 101772 h 470547"/>
                <a:gd name="connsiteX145" fmla="*/ 242643 w 578488"/>
                <a:gd name="connsiteY145" fmla="*/ 102042 h 470547"/>
                <a:gd name="connsiteX146" fmla="*/ 245656 w 578488"/>
                <a:gd name="connsiteY146" fmla="*/ 98341 h 470547"/>
                <a:gd name="connsiteX147" fmla="*/ 248994 w 578488"/>
                <a:gd name="connsiteY147" fmla="*/ 97185 h 470547"/>
                <a:gd name="connsiteX148" fmla="*/ 249201 w 578488"/>
                <a:gd name="connsiteY148" fmla="*/ 95895 h 470547"/>
                <a:gd name="connsiteX149" fmla="*/ 250495 w 578488"/>
                <a:gd name="connsiteY149" fmla="*/ 94646 h 470547"/>
                <a:gd name="connsiteX150" fmla="*/ 250348 w 578488"/>
                <a:gd name="connsiteY150" fmla="*/ 92605 h 470547"/>
                <a:gd name="connsiteX151" fmla="*/ 251006 w 578488"/>
                <a:gd name="connsiteY151" fmla="*/ 90944 h 470547"/>
                <a:gd name="connsiteX152" fmla="*/ 252708 w 578488"/>
                <a:gd name="connsiteY152" fmla="*/ 90504 h 470547"/>
                <a:gd name="connsiteX153" fmla="*/ 253771 w 578488"/>
                <a:gd name="connsiteY153" fmla="*/ 89942 h 470547"/>
                <a:gd name="connsiteX154" fmla="*/ 254950 w 578488"/>
                <a:gd name="connsiteY154" fmla="*/ 89632 h 470547"/>
                <a:gd name="connsiteX155" fmla="*/ 257079 w 578488"/>
                <a:gd name="connsiteY155" fmla="*/ 90976 h 470547"/>
                <a:gd name="connsiteX156" fmla="*/ 258284 w 578488"/>
                <a:gd name="connsiteY156" fmla="*/ 92467 h 470547"/>
                <a:gd name="connsiteX157" fmla="*/ 259780 w 578488"/>
                <a:gd name="connsiteY157" fmla="*/ 95797 h 470547"/>
                <a:gd name="connsiteX158" fmla="*/ 259158 w 578488"/>
                <a:gd name="connsiteY158" fmla="*/ 99013 h 470547"/>
                <a:gd name="connsiteX159" fmla="*/ 255150 w 578488"/>
                <a:gd name="connsiteY159" fmla="*/ 101517 h 470547"/>
                <a:gd name="connsiteX160" fmla="*/ 251965 w 578488"/>
                <a:gd name="connsiteY160" fmla="*/ 102646 h 470547"/>
                <a:gd name="connsiteX161" fmla="*/ 248748 w 578488"/>
                <a:gd name="connsiteY161" fmla="*/ 105516 h 470547"/>
                <a:gd name="connsiteX162" fmla="*/ 247131 w 578488"/>
                <a:gd name="connsiteY162" fmla="*/ 107859 h 470547"/>
                <a:gd name="connsiteX163" fmla="*/ 245742 w 578488"/>
                <a:gd name="connsiteY163" fmla="*/ 108366 h 470547"/>
                <a:gd name="connsiteX164" fmla="*/ 244863 w 578488"/>
                <a:gd name="connsiteY164" fmla="*/ 108175 h 470547"/>
                <a:gd name="connsiteX165" fmla="*/ 244082 w 578488"/>
                <a:gd name="connsiteY165" fmla="*/ 107609 h 470547"/>
                <a:gd name="connsiteX166" fmla="*/ 242451 w 578488"/>
                <a:gd name="connsiteY166" fmla="*/ 107607 h 470547"/>
                <a:gd name="connsiteX167" fmla="*/ 240657 w 578488"/>
                <a:gd name="connsiteY167" fmla="*/ 109638 h 470547"/>
                <a:gd name="connsiteX168" fmla="*/ 235239 w 578488"/>
                <a:gd name="connsiteY168" fmla="*/ 111288 h 470547"/>
                <a:gd name="connsiteX169" fmla="*/ 233114 w 578488"/>
                <a:gd name="connsiteY169" fmla="*/ 110812 h 470547"/>
                <a:gd name="connsiteX170" fmla="*/ 233017 w 578488"/>
                <a:gd name="connsiteY170" fmla="*/ 108788 h 470547"/>
                <a:gd name="connsiteX171" fmla="*/ 231749 w 578488"/>
                <a:gd name="connsiteY171" fmla="*/ 108956 h 470547"/>
                <a:gd name="connsiteX172" fmla="*/ 229719 w 578488"/>
                <a:gd name="connsiteY172" fmla="*/ 111382 h 470547"/>
                <a:gd name="connsiteX173" fmla="*/ 227733 w 578488"/>
                <a:gd name="connsiteY173" fmla="*/ 112191 h 470547"/>
                <a:gd name="connsiteX174" fmla="*/ 226398 w 578488"/>
                <a:gd name="connsiteY174" fmla="*/ 112440 h 470547"/>
                <a:gd name="connsiteX175" fmla="*/ 223947 w 578488"/>
                <a:gd name="connsiteY175" fmla="*/ 111527 h 470547"/>
                <a:gd name="connsiteX176" fmla="*/ 217359 w 578488"/>
                <a:gd name="connsiteY176" fmla="*/ 115654 h 470547"/>
                <a:gd name="connsiteX177" fmla="*/ 211181 w 578488"/>
                <a:gd name="connsiteY177" fmla="*/ 116425 h 470547"/>
                <a:gd name="connsiteX178" fmla="*/ 209147 w 578488"/>
                <a:gd name="connsiteY178" fmla="*/ 115948 h 470547"/>
                <a:gd name="connsiteX179" fmla="*/ 209140 w 578488"/>
                <a:gd name="connsiteY179" fmla="*/ 113424 h 470547"/>
                <a:gd name="connsiteX180" fmla="*/ 213133 w 578488"/>
                <a:gd name="connsiteY180" fmla="*/ 110191 h 470547"/>
                <a:gd name="connsiteX181" fmla="*/ 216407 w 578488"/>
                <a:gd name="connsiteY181" fmla="*/ 107941 h 470547"/>
                <a:gd name="connsiteX182" fmla="*/ 227672 w 578488"/>
                <a:gd name="connsiteY182" fmla="*/ 106369 h 470547"/>
                <a:gd name="connsiteX183" fmla="*/ 234688 w 578488"/>
                <a:gd name="connsiteY183" fmla="*/ 99674 h 470547"/>
                <a:gd name="connsiteX184" fmla="*/ 236383 w 578488"/>
                <a:gd name="connsiteY184" fmla="*/ 92374 h 470547"/>
                <a:gd name="connsiteX185" fmla="*/ 238042 w 578488"/>
                <a:gd name="connsiteY185" fmla="*/ 89732 h 470547"/>
                <a:gd name="connsiteX186" fmla="*/ 237262 w 578488"/>
                <a:gd name="connsiteY186" fmla="*/ 88238 h 470547"/>
                <a:gd name="connsiteX187" fmla="*/ 235375 w 578488"/>
                <a:gd name="connsiteY187" fmla="*/ 87975 h 470547"/>
                <a:gd name="connsiteX188" fmla="*/ 235260 w 578488"/>
                <a:gd name="connsiteY188" fmla="*/ 85677 h 470547"/>
                <a:gd name="connsiteX189" fmla="*/ 236245 w 578488"/>
                <a:gd name="connsiteY189" fmla="*/ 83162 h 470547"/>
                <a:gd name="connsiteX190" fmla="*/ 239927 w 578488"/>
                <a:gd name="connsiteY190" fmla="*/ 79703 h 470547"/>
                <a:gd name="connsiteX191" fmla="*/ 241972 w 578488"/>
                <a:gd name="connsiteY191" fmla="*/ 78229 h 470547"/>
                <a:gd name="connsiteX192" fmla="*/ 245304 w 578488"/>
                <a:gd name="connsiteY192" fmla="*/ 74050 h 470547"/>
                <a:gd name="connsiteX193" fmla="*/ 280912 w 578488"/>
                <a:gd name="connsiteY193" fmla="*/ 61606 h 470547"/>
                <a:gd name="connsiteX194" fmla="*/ 283570 w 578488"/>
                <a:gd name="connsiteY194" fmla="*/ 63847 h 470547"/>
                <a:gd name="connsiteX195" fmla="*/ 284766 w 578488"/>
                <a:gd name="connsiteY195" fmla="*/ 63162 h 470547"/>
                <a:gd name="connsiteX196" fmla="*/ 287118 w 578488"/>
                <a:gd name="connsiteY196" fmla="*/ 62907 h 470547"/>
                <a:gd name="connsiteX197" fmla="*/ 288867 w 578488"/>
                <a:gd name="connsiteY197" fmla="*/ 63693 h 470547"/>
                <a:gd name="connsiteX198" fmla="*/ 290297 w 578488"/>
                <a:gd name="connsiteY198" fmla="*/ 65116 h 470547"/>
                <a:gd name="connsiteX199" fmla="*/ 291992 w 578488"/>
                <a:gd name="connsiteY199" fmla="*/ 65181 h 470547"/>
                <a:gd name="connsiteX200" fmla="*/ 293056 w 578488"/>
                <a:gd name="connsiteY200" fmla="*/ 67038 h 470547"/>
                <a:gd name="connsiteX201" fmla="*/ 293598 w 578488"/>
                <a:gd name="connsiteY201" fmla="*/ 69452 h 470547"/>
                <a:gd name="connsiteX202" fmla="*/ 292367 w 578488"/>
                <a:gd name="connsiteY202" fmla="*/ 71253 h 470547"/>
                <a:gd name="connsiteX203" fmla="*/ 290621 w 578488"/>
                <a:gd name="connsiteY203" fmla="*/ 72068 h 470547"/>
                <a:gd name="connsiteX204" fmla="*/ 290148 w 578488"/>
                <a:gd name="connsiteY204" fmla="*/ 74189 h 470547"/>
                <a:gd name="connsiteX205" fmla="*/ 290811 w 578488"/>
                <a:gd name="connsiteY205" fmla="*/ 77154 h 470547"/>
                <a:gd name="connsiteX206" fmla="*/ 286893 w 578488"/>
                <a:gd name="connsiteY206" fmla="*/ 78170 h 470547"/>
                <a:gd name="connsiteX207" fmla="*/ 282352 w 578488"/>
                <a:gd name="connsiteY207" fmla="*/ 78622 h 470547"/>
                <a:gd name="connsiteX208" fmla="*/ 280577 w 578488"/>
                <a:gd name="connsiteY208" fmla="*/ 77205 h 470547"/>
                <a:gd name="connsiteX209" fmla="*/ 276945 w 578488"/>
                <a:gd name="connsiteY209" fmla="*/ 79802 h 470547"/>
                <a:gd name="connsiteX210" fmla="*/ 273348 w 578488"/>
                <a:gd name="connsiteY210" fmla="*/ 83842 h 470547"/>
                <a:gd name="connsiteX211" fmla="*/ 271614 w 578488"/>
                <a:gd name="connsiteY211" fmla="*/ 84317 h 470547"/>
                <a:gd name="connsiteX212" fmla="*/ 271493 w 578488"/>
                <a:gd name="connsiteY212" fmla="*/ 83039 h 470547"/>
                <a:gd name="connsiteX213" fmla="*/ 268908 w 578488"/>
                <a:gd name="connsiteY213" fmla="*/ 82156 h 470547"/>
                <a:gd name="connsiteX214" fmla="*/ 265598 w 578488"/>
                <a:gd name="connsiteY214" fmla="*/ 82105 h 470547"/>
                <a:gd name="connsiteX215" fmla="*/ 265708 w 578488"/>
                <a:gd name="connsiteY215" fmla="*/ 81158 h 470547"/>
                <a:gd name="connsiteX216" fmla="*/ 266308 w 578488"/>
                <a:gd name="connsiteY216" fmla="*/ 80489 h 470547"/>
                <a:gd name="connsiteX217" fmla="*/ 269165 w 578488"/>
                <a:gd name="connsiteY217" fmla="*/ 79496 h 470547"/>
                <a:gd name="connsiteX218" fmla="*/ 269735 w 578488"/>
                <a:gd name="connsiteY218" fmla="*/ 77447 h 470547"/>
                <a:gd name="connsiteX219" fmla="*/ 269216 w 578488"/>
                <a:gd name="connsiteY219" fmla="*/ 73784 h 470547"/>
                <a:gd name="connsiteX220" fmla="*/ 269720 w 578488"/>
                <a:gd name="connsiteY220" fmla="*/ 72004 h 470547"/>
                <a:gd name="connsiteX221" fmla="*/ 269828 w 578488"/>
                <a:gd name="connsiteY221" fmla="*/ 70773 h 470547"/>
                <a:gd name="connsiteX222" fmla="*/ 271624 w 578488"/>
                <a:gd name="connsiteY222" fmla="*/ 69332 h 470547"/>
                <a:gd name="connsiteX223" fmla="*/ 277768 w 578488"/>
                <a:gd name="connsiteY223" fmla="*/ 70009 h 470547"/>
                <a:gd name="connsiteX224" fmla="*/ 278513 w 578488"/>
                <a:gd name="connsiteY224" fmla="*/ 68633 h 470547"/>
                <a:gd name="connsiteX225" fmla="*/ 278047 w 578488"/>
                <a:gd name="connsiteY225" fmla="*/ 67767 h 470547"/>
                <a:gd name="connsiteX226" fmla="*/ 274872 w 578488"/>
                <a:gd name="connsiteY226" fmla="*/ 66249 h 470547"/>
                <a:gd name="connsiteX227" fmla="*/ 275360 w 578488"/>
                <a:gd name="connsiteY227" fmla="*/ 65227 h 470547"/>
                <a:gd name="connsiteX228" fmla="*/ 277651 w 578488"/>
                <a:gd name="connsiteY228" fmla="*/ 64313 h 470547"/>
                <a:gd name="connsiteX229" fmla="*/ 279819 w 578488"/>
                <a:gd name="connsiteY229" fmla="*/ 64195 h 470547"/>
                <a:gd name="connsiteX230" fmla="*/ 280471 w 578488"/>
                <a:gd name="connsiteY230" fmla="*/ 62647 h 470547"/>
                <a:gd name="connsiteX231" fmla="*/ 280584 w 578488"/>
                <a:gd name="connsiteY231" fmla="*/ 61973 h 470547"/>
                <a:gd name="connsiteX232" fmla="*/ 553617 w 578488"/>
                <a:gd name="connsiteY232" fmla="*/ 49437 h 470547"/>
                <a:gd name="connsiteX233" fmla="*/ 555344 w 578488"/>
                <a:gd name="connsiteY233" fmla="*/ 49560 h 470547"/>
                <a:gd name="connsiteX234" fmla="*/ 557091 w 578488"/>
                <a:gd name="connsiteY234" fmla="*/ 50712 h 470547"/>
                <a:gd name="connsiteX235" fmla="*/ 558466 w 578488"/>
                <a:gd name="connsiteY235" fmla="*/ 52086 h 470547"/>
                <a:gd name="connsiteX236" fmla="*/ 556277 w 578488"/>
                <a:gd name="connsiteY236" fmla="*/ 53725 h 470547"/>
                <a:gd name="connsiteX237" fmla="*/ 552077 w 578488"/>
                <a:gd name="connsiteY237" fmla="*/ 54876 h 470547"/>
                <a:gd name="connsiteX238" fmla="*/ 551591 w 578488"/>
                <a:gd name="connsiteY238" fmla="*/ 53929 h 470547"/>
                <a:gd name="connsiteX239" fmla="*/ 552513 w 578488"/>
                <a:gd name="connsiteY239" fmla="*/ 52454 h 470547"/>
                <a:gd name="connsiteX240" fmla="*/ 350606 w 578488"/>
                <a:gd name="connsiteY240" fmla="*/ 36555 h 470547"/>
                <a:gd name="connsiteX241" fmla="*/ 353506 w 578488"/>
                <a:gd name="connsiteY241" fmla="*/ 37006 h 470547"/>
                <a:gd name="connsiteX242" fmla="*/ 354245 w 578488"/>
                <a:gd name="connsiteY242" fmla="*/ 37564 h 470547"/>
                <a:gd name="connsiteX243" fmla="*/ 353355 w 578488"/>
                <a:gd name="connsiteY243" fmla="*/ 42154 h 470547"/>
                <a:gd name="connsiteX244" fmla="*/ 352163 w 578488"/>
                <a:gd name="connsiteY244" fmla="*/ 43074 h 470547"/>
                <a:gd name="connsiteX245" fmla="*/ 350334 w 578488"/>
                <a:gd name="connsiteY245" fmla="*/ 43450 h 470547"/>
                <a:gd name="connsiteX246" fmla="*/ 349349 w 578488"/>
                <a:gd name="connsiteY246" fmla="*/ 42879 h 470547"/>
                <a:gd name="connsiteX247" fmla="*/ 347948 w 578488"/>
                <a:gd name="connsiteY247" fmla="*/ 42504 h 470547"/>
                <a:gd name="connsiteX248" fmla="*/ 346391 w 578488"/>
                <a:gd name="connsiteY248" fmla="*/ 42676 h 470547"/>
                <a:gd name="connsiteX249" fmla="*/ 345082 w 578488"/>
                <a:gd name="connsiteY249" fmla="*/ 40989 h 470547"/>
                <a:gd name="connsiteX250" fmla="*/ 345229 w 578488"/>
                <a:gd name="connsiteY250" fmla="*/ 39572 h 470547"/>
                <a:gd name="connsiteX251" fmla="*/ 347021 w 578488"/>
                <a:gd name="connsiteY251" fmla="*/ 37649 h 470547"/>
                <a:gd name="connsiteX252" fmla="*/ 318716 w 578488"/>
                <a:gd name="connsiteY252" fmla="*/ 35896 h 470547"/>
                <a:gd name="connsiteX253" fmla="*/ 319528 w 578488"/>
                <a:gd name="connsiteY253" fmla="*/ 38632 h 470547"/>
                <a:gd name="connsiteX254" fmla="*/ 319653 w 578488"/>
                <a:gd name="connsiteY254" fmla="*/ 43078 h 470547"/>
                <a:gd name="connsiteX255" fmla="*/ 321614 w 578488"/>
                <a:gd name="connsiteY255" fmla="*/ 45233 h 470547"/>
                <a:gd name="connsiteX256" fmla="*/ 323350 w 578488"/>
                <a:gd name="connsiteY256" fmla="*/ 45026 h 470547"/>
                <a:gd name="connsiteX257" fmla="*/ 323873 w 578488"/>
                <a:gd name="connsiteY257" fmla="*/ 44213 h 470547"/>
                <a:gd name="connsiteX258" fmla="*/ 325058 w 578488"/>
                <a:gd name="connsiteY258" fmla="*/ 43811 h 470547"/>
                <a:gd name="connsiteX259" fmla="*/ 327453 w 578488"/>
                <a:gd name="connsiteY259" fmla="*/ 44949 h 470547"/>
                <a:gd name="connsiteX260" fmla="*/ 327110 w 578488"/>
                <a:gd name="connsiteY260" fmla="*/ 46885 h 470547"/>
                <a:gd name="connsiteX261" fmla="*/ 323795 w 578488"/>
                <a:gd name="connsiteY261" fmla="*/ 49325 h 470547"/>
                <a:gd name="connsiteX262" fmla="*/ 321416 w 578488"/>
                <a:gd name="connsiteY262" fmla="*/ 52800 h 470547"/>
                <a:gd name="connsiteX263" fmla="*/ 318371 w 578488"/>
                <a:gd name="connsiteY263" fmla="*/ 53606 h 470547"/>
                <a:gd name="connsiteX264" fmla="*/ 316907 w 578488"/>
                <a:gd name="connsiteY264" fmla="*/ 53187 h 470547"/>
                <a:gd name="connsiteX265" fmla="*/ 314186 w 578488"/>
                <a:gd name="connsiteY265" fmla="*/ 55190 h 470547"/>
                <a:gd name="connsiteX266" fmla="*/ 312005 w 578488"/>
                <a:gd name="connsiteY266" fmla="*/ 57269 h 470547"/>
                <a:gd name="connsiteX267" fmla="*/ 309744 w 578488"/>
                <a:gd name="connsiteY267" fmla="*/ 59895 h 470547"/>
                <a:gd name="connsiteX268" fmla="*/ 309606 w 578488"/>
                <a:gd name="connsiteY268" fmla="*/ 61247 h 470547"/>
                <a:gd name="connsiteX269" fmla="*/ 309254 w 578488"/>
                <a:gd name="connsiteY269" fmla="*/ 62281 h 470547"/>
                <a:gd name="connsiteX270" fmla="*/ 300973 w 578488"/>
                <a:gd name="connsiteY270" fmla="*/ 63307 h 470547"/>
                <a:gd name="connsiteX271" fmla="*/ 297962 w 578488"/>
                <a:gd name="connsiteY271" fmla="*/ 63986 h 470547"/>
                <a:gd name="connsiteX272" fmla="*/ 294773 w 578488"/>
                <a:gd name="connsiteY272" fmla="*/ 63110 h 470547"/>
                <a:gd name="connsiteX273" fmla="*/ 293262 w 578488"/>
                <a:gd name="connsiteY273" fmla="*/ 61376 h 470547"/>
                <a:gd name="connsiteX274" fmla="*/ 293747 w 578488"/>
                <a:gd name="connsiteY274" fmla="*/ 60433 h 470547"/>
                <a:gd name="connsiteX275" fmla="*/ 296930 w 578488"/>
                <a:gd name="connsiteY275" fmla="*/ 60056 h 470547"/>
                <a:gd name="connsiteX276" fmla="*/ 297032 w 578488"/>
                <a:gd name="connsiteY276" fmla="*/ 58445 h 470547"/>
                <a:gd name="connsiteX277" fmla="*/ 297837 w 578488"/>
                <a:gd name="connsiteY277" fmla="*/ 57461 h 470547"/>
                <a:gd name="connsiteX278" fmla="*/ 298867 w 578488"/>
                <a:gd name="connsiteY278" fmla="*/ 56924 h 470547"/>
                <a:gd name="connsiteX279" fmla="*/ 299625 w 578488"/>
                <a:gd name="connsiteY279" fmla="*/ 54863 h 470547"/>
                <a:gd name="connsiteX280" fmla="*/ 300884 w 578488"/>
                <a:gd name="connsiteY280" fmla="*/ 54325 h 470547"/>
                <a:gd name="connsiteX281" fmla="*/ 303231 w 578488"/>
                <a:gd name="connsiteY281" fmla="*/ 54832 h 470547"/>
                <a:gd name="connsiteX282" fmla="*/ 304814 w 578488"/>
                <a:gd name="connsiteY282" fmla="*/ 53338 h 470547"/>
                <a:gd name="connsiteX283" fmla="*/ 305706 w 578488"/>
                <a:gd name="connsiteY283" fmla="*/ 53085 h 470547"/>
                <a:gd name="connsiteX284" fmla="*/ 306805 w 578488"/>
                <a:gd name="connsiteY284" fmla="*/ 54321 h 470547"/>
                <a:gd name="connsiteX285" fmla="*/ 307334 w 578488"/>
                <a:gd name="connsiteY285" fmla="*/ 52619 h 470547"/>
                <a:gd name="connsiteX286" fmla="*/ 306805 w 578488"/>
                <a:gd name="connsiteY286" fmla="*/ 51064 h 470547"/>
                <a:gd name="connsiteX287" fmla="*/ 307082 w 578488"/>
                <a:gd name="connsiteY287" fmla="*/ 50015 h 470547"/>
                <a:gd name="connsiteX288" fmla="*/ 310117 w 578488"/>
                <a:gd name="connsiteY288" fmla="*/ 47283 h 470547"/>
                <a:gd name="connsiteX289" fmla="*/ 311431 w 578488"/>
                <a:gd name="connsiteY289" fmla="*/ 45289 h 470547"/>
                <a:gd name="connsiteX290" fmla="*/ 313320 w 578488"/>
                <a:gd name="connsiteY290" fmla="*/ 44004 h 470547"/>
                <a:gd name="connsiteX291" fmla="*/ 315140 w 578488"/>
                <a:gd name="connsiteY291" fmla="*/ 44209 h 470547"/>
                <a:gd name="connsiteX292" fmla="*/ 315669 w 578488"/>
                <a:gd name="connsiteY292" fmla="*/ 42315 h 470547"/>
                <a:gd name="connsiteX293" fmla="*/ 315140 w 578488"/>
                <a:gd name="connsiteY293" fmla="*/ 40373 h 470547"/>
                <a:gd name="connsiteX294" fmla="*/ 315341 w 578488"/>
                <a:gd name="connsiteY294" fmla="*/ 39107 h 470547"/>
                <a:gd name="connsiteX295" fmla="*/ 316948 w 578488"/>
                <a:gd name="connsiteY295" fmla="*/ 36027 h 470547"/>
                <a:gd name="connsiteX296" fmla="*/ 329133 w 578488"/>
                <a:gd name="connsiteY296" fmla="*/ 34857 h 470547"/>
                <a:gd name="connsiteX297" fmla="*/ 330984 w 578488"/>
                <a:gd name="connsiteY297" fmla="*/ 37118 h 470547"/>
                <a:gd name="connsiteX298" fmla="*/ 332109 w 578488"/>
                <a:gd name="connsiteY298" fmla="*/ 37583 h 470547"/>
                <a:gd name="connsiteX299" fmla="*/ 333221 w 578488"/>
                <a:gd name="connsiteY299" fmla="*/ 37294 h 470547"/>
                <a:gd name="connsiteX300" fmla="*/ 334145 w 578488"/>
                <a:gd name="connsiteY300" fmla="*/ 37705 h 470547"/>
                <a:gd name="connsiteX301" fmla="*/ 335996 w 578488"/>
                <a:gd name="connsiteY301" fmla="*/ 39794 h 470547"/>
                <a:gd name="connsiteX302" fmla="*/ 337989 w 578488"/>
                <a:gd name="connsiteY302" fmla="*/ 40615 h 470547"/>
                <a:gd name="connsiteX303" fmla="*/ 338082 w 578488"/>
                <a:gd name="connsiteY303" fmla="*/ 41666 h 470547"/>
                <a:gd name="connsiteX304" fmla="*/ 336257 w 578488"/>
                <a:gd name="connsiteY304" fmla="*/ 42690 h 470547"/>
                <a:gd name="connsiteX305" fmla="*/ 333854 w 578488"/>
                <a:gd name="connsiteY305" fmla="*/ 42997 h 470547"/>
                <a:gd name="connsiteX306" fmla="*/ 331280 w 578488"/>
                <a:gd name="connsiteY306" fmla="*/ 42641 h 470547"/>
                <a:gd name="connsiteX307" fmla="*/ 330524 w 578488"/>
                <a:gd name="connsiteY307" fmla="*/ 41332 h 470547"/>
                <a:gd name="connsiteX308" fmla="*/ 329731 w 578488"/>
                <a:gd name="connsiteY308" fmla="*/ 39157 h 470547"/>
                <a:gd name="connsiteX309" fmla="*/ 327578 w 578488"/>
                <a:gd name="connsiteY309" fmla="*/ 37023 h 470547"/>
                <a:gd name="connsiteX310" fmla="*/ 327259 w 578488"/>
                <a:gd name="connsiteY310" fmla="*/ 35152 h 470547"/>
                <a:gd name="connsiteX311" fmla="*/ 414550 w 578488"/>
                <a:gd name="connsiteY311" fmla="*/ 21147 h 470547"/>
                <a:gd name="connsiteX312" fmla="*/ 415263 w 578488"/>
                <a:gd name="connsiteY312" fmla="*/ 22086 h 470547"/>
                <a:gd name="connsiteX313" fmla="*/ 416068 w 578488"/>
                <a:gd name="connsiteY313" fmla="*/ 23860 h 470547"/>
                <a:gd name="connsiteX314" fmla="*/ 416480 w 578488"/>
                <a:gd name="connsiteY314" fmla="*/ 25730 h 470547"/>
                <a:gd name="connsiteX315" fmla="*/ 416636 w 578488"/>
                <a:gd name="connsiteY315" fmla="*/ 27271 h 470547"/>
                <a:gd name="connsiteX316" fmla="*/ 414573 w 578488"/>
                <a:gd name="connsiteY316" fmla="*/ 29498 h 470547"/>
                <a:gd name="connsiteX317" fmla="*/ 409821 w 578488"/>
                <a:gd name="connsiteY317" fmla="*/ 32415 h 470547"/>
                <a:gd name="connsiteX318" fmla="*/ 410093 w 578488"/>
                <a:gd name="connsiteY318" fmla="*/ 33198 h 470547"/>
                <a:gd name="connsiteX319" fmla="*/ 408448 w 578488"/>
                <a:gd name="connsiteY319" fmla="*/ 33946 h 470547"/>
                <a:gd name="connsiteX320" fmla="*/ 405981 w 578488"/>
                <a:gd name="connsiteY320" fmla="*/ 34498 h 470547"/>
                <a:gd name="connsiteX321" fmla="*/ 404679 w 578488"/>
                <a:gd name="connsiteY321" fmla="*/ 33962 h 470547"/>
                <a:gd name="connsiteX322" fmla="*/ 404859 w 578488"/>
                <a:gd name="connsiteY322" fmla="*/ 31463 h 470547"/>
                <a:gd name="connsiteX323" fmla="*/ 404466 w 578488"/>
                <a:gd name="connsiteY323" fmla="*/ 30714 h 470547"/>
                <a:gd name="connsiteX324" fmla="*/ 402593 w 578488"/>
                <a:gd name="connsiteY324" fmla="*/ 31705 h 470547"/>
                <a:gd name="connsiteX325" fmla="*/ 400646 w 578488"/>
                <a:gd name="connsiteY325" fmla="*/ 30434 h 470547"/>
                <a:gd name="connsiteX326" fmla="*/ 400643 w 578488"/>
                <a:gd name="connsiteY326" fmla="*/ 29155 h 470547"/>
                <a:gd name="connsiteX327" fmla="*/ 401157 w 578488"/>
                <a:gd name="connsiteY327" fmla="*/ 28044 h 470547"/>
                <a:gd name="connsiteX328" fmla="*/ 402958 w 578488"/>
                <a:gd name="connsiteY328" fmla="*/ 26354 h 470547"/>
                <a:gd name="connsiteX329" fmla="*/ 405964 w 578488"/>
                <a:gd name="connsiteY329" fmla="*/ 25189 h 470547"/>
                <a:gd name="connsiteX330" fmla="*/ 407946 w 578488"/>
                <a:gd name="connsiteY330" fmla="*/ 25626 h 470547"/>
                <a:gd name="connsiteX331" fmla="*/ 419674 w 578488"/>
                <a:gd name="connsiteY331" fmla="*/ 15922 h 470547"/>
                <a:gd name="connsiteX332" fmla="*/ 420959 w 578488"/>
                <a:gd name="connsiteY332" fmla="*/ 16643 h 470547"/>
                <a:gd name="connsiteX333" fmla="*/ 421302 w 578488"/>
                <a:gd name="connsiteY333" fmla="*/ 17247 h 470547"/>
                <a:gd name="connsiteX334" fmla="*/ 423611 w 578488"/>
                <a:gd name="connsiteY334" fmla="*/ 17839 h 470547"/>
                <a:gd name="connsiteX335" fmla="*/ 426305 w 578488"/>
                <a:gd name="connsiteY335" fmla="*/ 19805 h 470547"/>
                <a:gd name="connsiteX336" fmla="*/ 424962 w 578488"/>
                <a:gd name="connsiteY336" fmla="*/ 23137 h 470547"/>
                <a:gd name="connsiteX337" fmla="*/ 420751 w 578488"/>
                <a:gd name="connsiteY337" fmla="*/ 24733 h 470547"/>
                <a:gd name="connsiteX338" fmla="*/ 418307 w 578488"/>
                <a:gd name="connsiteY338" fmla="*/ 23358 h 470547"/>
                <a:gd name="connsiteX339" fmla="*/ 417279 w 578488"/>
                <a:gd name="connsiteY339" fmla="*/ 21949 h 470547"/>
                <a:gd name="connsiteX340" fmla="*/ 417128 w 578488"/>
                <a:gd name="connsiteY340" fmla="*/ 18816 h 470547"/>
                <a:gd name="connsiteX341" fmla="*/ 417700 w 578488"/>
                <a:gd name="connsiteY341" fmla="*/ 16908 h 470547"/>
                <a:gd name="connsiteX342" fmla="*/ 411209 w 578488"/>
                <a:gd name="connsiteY342" fmla="*/ 12093 h 470547"/>
                <a:gd name="connsiteX343" fmla="*/ 412202 w 578488"/>
                <a:gd name="connsiteY343" fmla="*/ 13172 h 470547"/>
                <a:gd name="connsiteX344" fmla="*/ 411769 w 578488"/>
                <a:gd name="connsiteY344" fmla="*/ 14432 h 470547"/>
                <a:gd name="connsiteX345" fmla="*/ 411021 w 578488"/>
                <a:gd name="connsiteY345" fmla="*/ 15659 h 470547"/>
                <a:gd name="connsiteX346" fmla="*/ 409209 w 578488"/>
                <a:gd name="connsiteY346" fmla="*/ 16953 h 470547"/>
                <a:gd name="connsiteX347" fmla="*/ 403969 w 578488"/>
                <a:gd name="connsiteY347" fmla="*/ 22068 h 470547"/>
                <a:gd name="connsiteX348" fmla="*/ 400889 w 578488"/>
                <a:gd name="connsiteY348" fmla="*/ 22891 h 470547"/>
                <a:gd name="connsiteX349" fmla="*/ 399914 w 578488"/>
                <a:gd name="connsiteY349" fmla="*/ 23692 h 470547"/>
                <a:gd name="connsiteX350" fmla="*/ 398683 w 578488"/>
                <a:gd name="connsiteY350" fmla="*/ 24170 h 470547"/>
                <a:gd name="connsiteX351" fmla="*/ 394856 w 578488"/>
                <a:gd name="connsiteY351" fmla="*/ 23471 h 470547"/>
                <a:gd name="connsiteX352" fmla="*/ 393736 w 578488"/>
                <a:gd name="connsiteY352" fmla="*/ 24506 h 470547"/>
                <a:gd name="connsiteX353" fmla="*/ 392678 w 578488"/>
                <a:gd name="connsiteY353" fmla="*/ 25197 h 470547"/>
                <a:gd name="connsiteX354" fmla="*/ 389907 w 578488"/>
                <a:gd name="connsiteY354" fmla="*/ 25465 h 470547"/>
                <a:gd name="connsiteX355" fmla="*/ 388281 w 578488"/>
                <a:gd name="connsiteY355" fmla="*/ 25240 h 470547"/>
                <a:gd name="connsiteX356" fmla="*/ 384081 w 578488"/>
                <a:gd name="connsiteY356" fmla="*/ 23348 h 470547"/>
                <a:gd name="connsiteX357" fmla="*/ 381582 w 578488"/>
                <a:gd name="connsiteY357" fmla="*/ 21298 h 470547"/>
                <a:gd name="connsiteX358" fmla="*/ 380229 w 578488"/>
                <a:gd name="connsiteY358" fmla="*/ 19542 h 470547"/>
                <a:gd name="connsiteX359" fmla="*/ 384109 w 578488"/>
                <a:gd name="connsiteY359" fmla="*/ 19576 h 470547"/>
                <a:gd name="connsiteX360" fmla="*/ 385493 w 578488"/>
                <a:gd name="connsiteY360" fmla="*/ 19151 h 470547"/>
                <a:gd name="connsiteX361" fmla="*/ 388095 w 578488"/>
                <a:gd name="connsiteY361" fmla="*/ 19521 h 470547"/>
                <a:gd name="connsiteX362" fmla="*/ 389658 w 578488"/>
                <a:gd name="connsiteY362" fmla="*/ 17719 h 470547"/>
                <a:gd name="connsiteX363" fmla="*/ 392969 w 578488"/>
                <a:gd name="connsiteY363" fmla="*/ 17937 h 470547"/>
                <a:gd name="connsiteX364" fmla="*/ 399324 w 578488"/>
                <a:gd name="connsiteY364" fmla="*/ 16682 h 470547"/>
                <a:gd name="connsiteX365" fmla="*/ 401656 w 578488"/>
                <a:gd name="connsiteY365" fmla="*/ 17382 h 470547"/>
                <a:gd name="connsiteX366" fmla="*/ 406988 w 578488"/>
                <a:gd name="connsiteY366" fmla="*/ 13184 h 470547"/>
                <a:gd name="connsiteX367" fmla="*/ 408657 w 578488"/>
                <a:gd name="connsiteY367" fmla="*/ 13294 h 470547"/>
                <a:gd name="connsiteX368" fmla="*/ 504113 w 578488"/>
                <a:gd name="connsiteY368" fmla="*/ 2056 h 470547"/>
                <a:gd name="connsiteX369" fmla="*/ 507129 w 578488"/>
                <a:gd name="connsiteY369" fmla="*/ 2479 h 470547"/>
                <a:gd name="connsiteX370" fmla="*/ 508932 w 578488"/>
                <a:gd name="connsiteY370" fmla="*/ 3348 h 470547"/>
                <a:gd name="connsiteX371" fmla="*/ 516155 w 578488"/>
                <a:gd name="connsiteY371" fmla="*/ 4009 h 470547"/>
                <a:gd name="connsiteX372" fmla="*/ 521696 w 578488"/>
                <a:gd name="connsiteY372" fmla="*/ 6744 h 470547"/>
                <a:gd name="connsiteX373" fmla="*/ 521485 w 578488"/>
                <a:gd name="connsiteY373" fmla="*/ 11012 h 470547"/>
                <a:gd name="connsiteX374" fmla="*/ 520250 w 578488"/>
                <a:gd name="connsiteY374" fmla="*/ 12793 h 470547"/>
                <a:gd name="connsiteX375" fmla="*/ 519034 w 578488"/>
                <a:gd name="connsiteY375" fmla="*/ 13889 h 470547"/>
                <a:gd name="connsiteX376" fmla="*/ 511938 w 578488"/>
                <a:gd name="connsiteY376" fmla="*/ 17118 h 470547"/>
                <a:gd name="connsiteX377" fmla="*/ 510768 w 578488"/>
                <a:gd name="connsiteY377" fmla="*/ 18708 h 470547"/>
                <a:gd name="connsiteX378" fmla="*/ 512996 w 578488"/>
                <a:gd name="connsiteY378" fmla="*/ 19257 h 470547"/>
                <a:gd name="connsiteX379" fmla="*/ 517790 w 578488"/>
                <a:gd name="connsiteY379" fmla="*/ 17649 h 470547"/>
                <a:gd name="connsiteX380" fmla="*/ 519032 w 578488"/>
                <a:gd name="connsiteY380" fmla="*/ 19108 h 470547"/>
                <a:gd name="connsiteX381" fmla="*/ 517505 w 578488"/>
                <a:gd name="connsiteY381" fmla="*/ 22756 h 470547"/>
                <a:gd name="connsiteX382" fmla="*/ 517246 w 578488"/>
                <a:gd name="connsiteY382" fmla="*/ 28220 h 470547"/>
                <a:gd name="connsiteX383" fmla="*/ 516693 w 578488"/>
                <a:gd name="connsiteY383" fmla="*/ 31401 h 470547"/>
                <a:gd name="connsiteX384" fmla="*/ 516693 w 578488"/>
                <a:gd name="connsiteY384" fmla="*/ 34298 h 470547"/>
                <a:gd name="connsiteX385" fmla="*/ 517289 w 578488"/>
                <a:gd name="connsiteY385" fmla="*/ 35851 h 470547"/>
                <a:gd name="connsiteX386" fmla="*/ 519215 w 578488"/>
                <a:gd name="connsiteY386" fmla="*/ 29687 h 470547"/>
                <a:gd name="connsiteX387" fmla="*/ 519874 w 578488"/>
                <a:gd name="connsiteY387" fmla="*/ 28105 h 470547"/>
                <a:gd name="connsiteX388" fmla="*/ 522692 w 578488"/>
                <a:gd name="connsiteY388" fmla="*/ 25777 h 470547"/>
                <a:gd name="connsiteX389" fmla="*/ 523741 w 578488"/>
                <a:gd name="connsiteY389" fmla="*/ 21079 h 470547"/>
                <a:gd name="connsiteX390" fmla="*/ 526497 w 578488"/>
                <a:gd name="connsiteY390" fmla="*/ 15427 h 470547"/>
                <a:gd name="connsiteX391" fmla="*/ 529602 w 578488"/>
                <a:gd name="connsiteY391" fmla="*/ 12136 h 470547"/>
                <a:gd name="connsiteX392" fmla="*/ 531409 w 578488"/>
                <a:gd name="connsiteY392" fmla="*/ 11232 h 470547"/>
                <a:gd name="connsiteX393" fmla="*/ 537397 w 578488"/>
                <a:gd name="connsiteY393" fmla="*/ 11362 h 470547"/>
                <a:gd name="connsiteX394" fmla="*/ 539967 w 578488"/>
                <a:gd name="connsiteY394" fmla="*/ 12602 h 470547"/>
                <a:gd name="connsiteX395" fmla="*/ 542234 w 578488"/>
                <a:gd name="connsiteY395" fmla="*/ 15355 h 470547"/>
                <a:gd name="connsiteX396" fmla="*/ 543927 w 578488"/>
                <a:gd name="connsiteY396" fmla="*/ 16453 h 470547"/>
                <a:gd name="connsiteX397" fmla="*/ 549265 w 578488"/>
                <a:gd name="connsiteY397" fmla="*/ 17621 h 470547"/>
                <a:gd name="connsiteX398" fmla="*/ 551098 w 578488"/>
                <a:gd name="connsiteY398" fmla="*/ 19084 h 470547"/>
                <a:gd name="connsiteX399" fmla="*/ 551442 w 578488"/>
                <a:gd name="connsiteY399" fmla="*/ 19955 h 470547"/>
                <a:gd name="connsiteX400" fmla="*/ 552746 w 578488"/>
                <a:gd name="connsiteY400" fmla="*/ 20128 h 470547"/>
                <a:gd name="connsiteX401" fmla="*/ 556348 w 578488"/>
                <a:gd name="connsiteY401" fmla="*/ 18048 h 470547"/>
                <a:gd name="connsiteX402" fmla="*/ 558687 w 578488"/>
                <a:gd name="connsiteY402" fmla="*/ 17703 h 470547"/>
                <a:gd name="connsiteX403" fmla="*/ 562502 w 578488"/>
                <a:gd name="connsiteY403" fmla="*/ 20944 h 470547"/>
                <a:gd name="connsiteX404" fmla="*/ 561736 w 578488"/>
                <a:gd name="connsiteY404" fmla="*/ 23340 h 470547"/>
                <a:gd name="connsiteX405" fmla="*/ 561960 w 578488"/>
                <a:gd name="connsiteY405" fmla="*/ 24100 h 470547"/>
                <a:gd name="connsiteX406" fmla="*/ 566579 w 578488"/>
                <a:gd name="connsiteY406" fmla="*/ 23946 h 470547"/>
                <a:gd name="connsiteX407" fmla="*/ 570423 w 578488"/>
                <a:gd name="connsiteY407" fmla="*/ 24885 h 470547"/>
                <a:gd name="connsiteX408" fmla="*/ 577730 w 578488"/>
                <a:gd name="connsiteY408" fmla="*/ 29778 h 470547"/>
                <a:gd name="connsiteX409" fmla="*/ 578488 w 578488"/>
                <a:gd name="connsiteY409" fmla="*/ 32061 h 470547"/>
                <a:gd name="connsiteX410" fmla="*/ 578123 w 578488"/>
                <a:gd name="connsiteY410" fmla="*/ 34824 h 470547"/>
                <a:gd name="connsiteX411" fmla="*/ 567616 w 578488"/>
                <a:gd name="connsiteY411" fmla="*/ 37866 h 470547"/>
                <a:gd name="connsiteX412" fmla="*/ 563062 w 578488"/>
                <a:gd name="connsiteY412" fmla="*/ 40768 h 470547"/>
                <a:gd name="connsiteX413" fmla="*/ 555608 w 578488"/>
                <a:gd name="connsiteY413" fmla="*/ 41887 h 470547"/>
                <a:gd name="connsiteX414" fmla="*/ 530295 w 578488"/>
                <a:gd name="connsiteY414" fmla="*/ 39947 h 470547"/>
                <a:gd name="connsiteX415" fmla="*/ 530807 w 578488"/>
                <a:gd name="connsiteY415" fmla="*/ 42044 h 470547"/>
                <a:gd name="connsiteX416" fmla="*/ 548432 w 578488"/>
                <a:gd name="connsiteY416" fmla="*/ 46625 h 470547"/>
                <a:gd name="connsiteX417" fmla="*/ 549438 w 578488"/>
                <a:gd name="connsiteY417" fmla="*/ 47931 h 470547"/>
                <a:gd name="connsiteX418" fmla="*/ 548874 w 578488"/>
                <a:gd name="connsiteY418" fmla="*/ 50679 h 470547"/>
                <a:gd name="connsiteX419" fmla="*/ 548866 w 578488"/>
                <a:gd name="connsiteY419" fmla="*/ 52881 h 470547"/>
                <a:gd name="connsiteX420" fmla="*/ 549196 w 578488"/>
                <a:gd name="connsiteY420" fmla="*/ 54381 h 470547"/>
                <a:gd name="connsiteX421" fmla="*/ 550494 w 578488"/>
                <a:gd name="connsiteY421" fmla="*/ 55779 h 470547"/>
                <a:gd name="connsiteX422" fmla="*/ 552649 w 578488"/>
                <a:gd name="connsiteY422" fmla="*/ 56436 h 470547"/>
                <a:gd name="connsiteX423" fmla="*/ 557033 w 578488"/>
                <a:gd name="connsiteY423" fmla="*/ 56090 h 470547"/>
                <a:gd name="connsiteX424" fmla="*/ 559198 w 578488"/>
                <a:gd name="connsiteY424" fmla="*/ 56841 h 470547"/>
                <a:gd name="connsiteX425" fmla="*/ 560678 w 578488"/>
                <a:gd name="connsiteY425" fmla="*/ 55726 h 470547"/>
                <a:gd name="connsiteX426" fmla="*/ 561228 w 578488"/>
                <a:gd name="connsiteY426" fmla="*/ 51977 h 470547"/>
                <a:gd name="connsiteX427" fmla="*/ 562500 w 578488"/>
                <a:gd name="connsiteY427" fmla="*/ 51147 h 470547"/>
                <a:gd name="connsiteX428" fmla="*/ 564960 w 578488"/>
                <a:gd name="connsiteY428" fmla="*/ 52236 h 470547"/>
                <a:gd name="connsiteX429" fmla="*/ 566031 w 578488"/>
                <a:gd name="connsiteY429" fmla="*/ 56242 h 470547"/>
                <a:gd name="connsiteX430" fmla="*/ 566717 w 578488"/>
                <a:gd name="connsiteY430" fmla="*/ 56657 h 470547"/>
                <a:gd name="connsiteX431" fmla="*/ 567957 w 578488"/>
                <a:gd name="connsiteY431" fmla="*/ 53800 h 470547"/>
                <a:gd name="connsiteX432" fmla="*/ 570393 w 578488"/>
                <a:gd name="connsiteY432" fmla="*/ 54006 h 470547"/>
                <a:gd name="connsiteX433" fmla="*/ 573044 w 578488"/>
                <a:gd name="connsiteY433" fmla="*/ 53768 h 470547"/>
                <a:gd name="connsiteX434" fmla="*/ 576478 w 578488"/>
                <a:gd name="connsiteY434" fmla="*/ 54250 h 470547"/>
                <a:gd name="connsiteX435" fmla="*/ 577681 w 578488"/>
                <a:gd name="connsiteY435" fmla="*/ 59427 h 470547"/>
                <a:gd name="connsiteX436" fmla="*/ 577644 w 578488"/>
                <a:gd name="connsiteY436" fmla="*/ 61230 h 470547"/>
                <a:gd name="connsiteX437" fmla="*/ 577074 w 578488"/>
                <a:gd name="connsiteY437" fmla="*/ 62978 h 470547"/>
                <a:gd name="connsiteX438" fmla="*/ 576279 w 578488"/>
                <a:gd name="connsiteY438" fmla="*/ 63871 h 470547"/>
                <a:gd name="connsiteX439" fmla="*/ 574690 w 578488"/>
                <a:gd name="connsiteY439" fmla="*/ 64260 h 470547"/>
                <a:gd name="connsiteX440" fmla="*/ 570855 w 578488"/>
                <a:gd name="connsiteY440" fmla="*/ 64101 h 470547"/>
                <a:gd name="connsiteX441" fmla="*/ 565642 w 578488"/>
                <a:gd name="connsiteY441" fmla="*/ 62058 h 470547"/>
                <a:gd name="connsiteX442" fmla="*/ 562278 w 578488"/>
                <a:gd name="connsiteY442" fmla="*/ 60133 h 470547"/>
                <a:gd name="connsiteX443" fmla="*/ 561230 w 578488"/>
                <a:gd name="connsiteY443" fmla="*/ 60052 h 470547"/>
                <a:gd name="connsiteX444" fmla="*/ 560779 w 578488"/>
                <a:gd name="connsiteY444" fmla="*/ 60286 h 470547"/>
                <a:gd name="connsiteX445" fmla="*/ 561591 w 578488"/>
                <a:gd name="connsiteY445" fmla="*/ 62220 h 470547"/>
                <a:gd name="connsiteX446" fmla="*/ 561375 w 578488"/>
                <a:gd name="connsiteY446" fmla="*/ 63701 h 470547"/>
                <a:gd name="connsiteX447" fmla="*/ 560868 w 578488"/>
                <a:gd name="connsiteY447" fmla="*/ 65313 h 470547"/>
                <a:gd name="connsiteX448" fmla="*/ 560162 w 578488"/>
                <a:gd name="connsiteY448" fmla="*/ 66774 h 470547"/>
                <a:gd name="connsiteX449" fmla="*/ 559177 w 578488"/>
                <a:gd name="connsiteY449" fmla="*/ 68002 h 470547"/>
                <a:gd name="connsiteX450" fmla="*/ 557115 w 578488"/>
                <a:gd name="connsiteY450" fmla="*/ 69580 h 470547"/>
                <a:gd name="connsiteX451" fmla="*/ 553547 w 578488"/>
                <a:gd name="connsiteY451" fmla="*/ 70830 h 470547"/>
                <a:gd name="connsiteX452" fmla="*/ 543720 w 578488"/>
                <a:gd name="connsiteY452" fmla="*/ 73260 h 470547"/>
                <a:gd name="connsiteX453" fmla="*/ 542940 w 578488"/>
                <a:gd name="connsiteY453" fmla="*/ 74333 h 470547"/>
                <a:gd name="connsiteX454" fmla="*/ 539777 w 578488"/>
                <a:gd name="connsiteY454" fmla="*/ 81084 h 470547"/>
                <a:gd name="connsiteX455" fmla="*/ 538913 w 578488"/>
                <a:gd name="connsiteY455" fmla="*/ 82073 h 470547"/>
                <a:gd name="connsiteX456" fmla="*/ 537756 w 578488"/>
                <a:gd name="connsiteY456" fmla="*/ 82910 h 470547"/>
                <a:gd name="connsiteX457" fmla="*/ 534379 w 578488"/>
                <a:gd name="connsiteY457" fmla="*/ 83995 h 470547"/>
                <a:gd name="connsiteX458" fmla="*/ 532744 w 578488"/>
                <a:gd name="connsiteY458" fmla="*/ 82497 h 470547"/>
                <a:gd name="connsiteX459" fmla="*/ 531433 w 578488"/>
                <a:gd name="connsiteY459" fmla="*/ 80230 h 470547"/>
                <a:gd name="connsiteX460" fmla="*/ 531735 w 578488"/>
                <a:gd name="connsiteY460" fmla="*/ 77980 h 470547"/>
                <a:gd name="connsiteX461" fmla="*/ 535685 w 578488"/>
                <a:gd name="connsiteY461" fmla="*/ 73656 h 470547"/>
                <a:gd name="connsiteX462" fmla="*/ 539375 w 578488"/>
                <a:gd name="connsiteY462" fmla="*/ 70586 h 470547"/>
                <a:gd name="connsiteX463" fmla="*/ 540416 w 578488"/>
                <a:gd name="connsiteY463" fmla="*/ 69522 h 470547"/>
                <a:gd name="connsiteX464" fmla="*/ 542506 w 578488"/>
                <a:gd name="connsiteY464" fmla="*/ 66432 h 470547"/>
                <a:gd name="connsiteX465" fmla="*/ 538265 w 578488"/>
                <a:gd name="connsiteY465" fmla="*/ 58655 h 470547"/>
                <a:gd name="connsiteX466" fmla="*/ 530720 w 578488"/>
                <a:gd name="connsiteY466" fmla="*/ 56294 h 470547"/>
                <a:gd name="connsiteX467" fmla="*/ 522126 w 578488"/>
                <a:gd name="connsiteY467" fmla="*/ 52702 h 470547"/>
                <a:gd name="connsiteX468" fmla="*/ 518973 w 578488"/>
                <a:gd name="connsiteY468" fmla="*/ 50783 h 470547"/>
                <a:gd name="connsiteX469" fmla="*/ 514067 w 578488"/>
                <a:gd name="connsiteY469" fmla="*/ 46826 h 470547"/>
                <a:gd name="connsiteX470" fmla="*/ 510589 w 578488"/>
                <a:gd name="connsiteY470" fmla="*/ 43266 h 470547"/>
                <a:gd name="connsiteX471" fmla="*/ 507447 w 578488"/>
                <a:gd name="connsiteY471" fmla="*/ 43140 h 470547"/>
                <a:gd name="connsiteX472" fmla="*/ 503994 w 578488"/>
                <a:gd name="connsiteY472" fmla="*/ 44035 h 470547"/>
                <a:gd name="connsiteX473" fmla="*/ 498606 w 578488"/>
                <a:gd name="connsiteY473" fmla="*/ 47285 h 470547"/>
                <a:gd name="connsiteX474" fmla="*/ 495458 w 578488"/>
                <a:gd name="connsiteY474" fmla="*/ 48918 h 470547"/>
                <a:gd name="connsiteX475" fmla="*/ 493730 w 578488"/>
                <a:gd name="connsiteY475" fmla="*/ 49400 h 470547"/>
                <a:gd name="connsiteX476" fmla="*/ 493313 w 578488"/>
                <a:gd name="connsiteY476" fmla="*/ 49471 h 470547"/>
                <a:gd name="connsiteX477" fmla="*/ 489457 w 578488"/>
                <a:gd name="connsiteY477" fmla="*/ 48546 h 470547"/>
                <a:gd name="connsiteX478" fmla="*/ 485166 w 578488"/>
                <a:gd name="connsiteY478" fmla="*/ 48351 h 470547"/>
                <a:gd name="connsiteX479" fmla="*/ 481717 w 578488"/>
                <a:gd name="connsiteY479" fmla="*/ 48617 h 470547"/>
                <a:gd name="connsiteX480" fmla="*/ 480415 w 578488"/>
                <a:gd name="connsiteY480" fmla="*/ 49063 h 470547"/>
                <a:gd name="connsiteX481" fmla="*/ 475613 w 578488"/>
                <a:gd name="connsiteY481" fmla="*/ 54309 h 470547"/>
                <a:gd name="connsiteX482" fmla="*/ 472251 w 578488"/>
                <a:gd name="connsiteY482" fmla="*/ 56954 h 470547"/>
                <a:gd name="connsiteX483" fmla="*/ 470400 w 578488"/>
                <a:gd name="connsiteY483" fmla="*/ 57864 h 470547"/>
                <a:gd name="connsiteX484" fmla="*/ 469053 w 578488"/>
                <a:gd name="connsiteY484" fmla="*/ 59393 h 470547"/>
                <a:gd name="connsiteX485" fmla="*/ 467947 w 578488"/>
                <a:gd name="connsiteY485" fmla="*/ 61904 h 470547"/>
                <a:gd name="connsiteX486" fmla="*/ 465486 w 578488"/>
                <a:gd name="connsiteY486" fmla="*/ 70594 h 470547"/>
                <a:gd name="connsiteX487" fmla="*/ 463650 w 578488"/>
                <a:gd name="connsiteY487" fmla="*/ 73863 h 470547"/>
                <a:gd name="connsiteX488" fmla="*/ 463240 w 578488"/>
                <a:gd name="connsiteY488" fmla="*/ 75858 h 470547"/>
                <a:gd name="connsiteX489" fmla="*/ 463672 w 578488"/>
                <a:gd name="connsiteY489" fmla="*/ 81895 h 470547"/>
                <a:gd name="connsiteX490" fmla="*/ 463233 w 578488"/>
                <a:gd name="connsiteY490" fmla="*/ 85229 h 470547"/>
                <a:gd name="connsiteX491" fmla="*/ 460985 w 578488"/>
                <a:gd name="connsiteY491" fmla="*/ 87977 h 470547"/>
                <a:gd name="connsiteX492" fmla="*/ 459407 w 578488"/>
                <a:gd name="connsiteY492" fmla="*/ 89213 h 470547"/>
                <a:gd name="connsiteX493" fmla="*/ 457319 w 578488"/>
                <a:gd name="connsiteY493" fmla="*/ 89467 h 470547"/>
                <a:gd name="connsiteX494" fmla="*/ 454583 w 578488"/>
                <a:gd name="connsiteY494" fmla="*/ 90168 h 470547"/>
                <a:gd name="connsiteX495" fmla="*/ 452194 w 578488"/>
                <a:gd name="connsiteY495" fmla="*/ 91756 h 470547"/>
                <a:gd name="connsiteX496" fmla="*/ 450508 w 578488"/>
                <a:gd name="connsiteY496" fmla="*/ 93919 h 470547"/>
                <a:gd name="connsiteX497" fmla="*/ 448607 w 578488"/>
                <a:gd name="connsiteY497" fmla="*/ 98760 h 470547"/>
                <a:gd name="connsiteX498" fmla="*/ 445390 w 578488"/>
                <a:gd name="connsiteY498" fmla="*/ 100541 h 470547"/>
                <a:gd name="connsiteX499" fmla="*/ 442317 w 578488"/>
                <a:gd name="connsiteY499" fmla="*/ 100033 h 470547"/>
                <a:gd name="connsiteX500" fmla="*/ 440123 w 578488"/>
                <a:gd name="connsiteY500" fmla="*/ 98251 h 470547"/>
                <a:gd name="connsiteX501" fmla="*/ 435420 w 578488"/>
                <a:gd name="connsiteY501" fmla="*/ 96871 h 470547"/>
                <a:gd name="connsiteX502" fmla="*/ 431915 w 578488"/>
                <a:gd name="connsiteY502" fmla="*/ 95991 h 470547"/>
                <a:gd name="connsiteX503" fmla="*/ 427981 w 578488"/>
                <a:gd name="connsiteY503" fmla="*/ 94089 h 470547"/>
                <a:gd name="connsiteX504" fmla="*/ 424516 w 578488"/>
                <a:gd name="connsiteY504" fmla="*/ 92640 h 470547"/>
                <a:gd name="connsiteX505" fmla="*/ 421345 w 578488"/>
                <a:gd name="connsiteY505" fmla="*/ 92352 h 470547"/>
                <a:gd name="connsiteX506" fmla="*/ 419545 w 578488"/>
                <a:gd name="connsiteY506" fmla="*/ 94184 h 470547"/>
                <a:gd name="connsiteX507" fmla="*/ 418095 w 578488"/>
                <a:gd name="connsiteY507" fmla="*/ 95901 h 470547"/>
                <a:gd name="connsiteX508" fmla="*/ 412688 w 578488"/>
                <a:gd name="connsiteY508" fmla="*/ 97296 h 470547"/>
                <a:gd name="connsiteX509" fmla="*/ 409627 w 578488"/>
                <a:gd name="connsiteY509" fmla="*/ 98399 h 470547"/>
                <a:gd name="connsiteX510" fmla="*/ 405653 w 578488"/>
                <a:gd name="connsiteY510" fmla="*/ 98645 h 470547"/>
                <a:gd name="connsiteX511" fmla="*/ 404047 w 578488"/>
                <a:gd name="connsiteY511" fmla="*/ 97422 h 470547"/>
                <a:gd name="connsiteX512" fmla="*/ 398283 w 578488"/>
                <a:gd name="connsiteY512" fmla="*/ 96615 h 470547"/>
                <a:gd name="connsiteX513" fmla="*/ 391421 w 578488"/>
                <a:gd name="connsiteY513" fmla="*/ 95656 h 470547"/>
                <a:gd name="connsiteX514" fmla="*/ 389436 w 578488"/>
                <a:gd name="connsiteY514" fmla="*/ 95670 h 470547"/>
                <a:gd name="connsiteX515" fmla="*/ 388817 w 578488"/>
                <a:gd name="connsiteY515" fmla="*/ 93482 h 470547"/>
                <a:gd name="connsiteX516" fmla="*/ 386992 w 578488"/>
                <a:gd name="connsiteY516" fmla="*/ 90423 h 470547"/>
                <a:gd name="connsiteX517" fmla="*/ 382112 w 578488"/>
                <a:gd name="connsiteY517" fmla="*/ 85126 h 470547"/>
                <a:gd name="connsiteX518" fmla="*/ 380116 w 578488"/>
                <a:gd name="connsiteY518" fmla="*/ 83253 h 470547"/>
                <a:gd name="connsiteX519" fmla="*/ 376363 w 578488"/>
                <a:gd name="connsiteY519" fmla="*/ 78851 h 470547"/>
                <a:gd name="connsiteX520" fmla="*/ 371986 w 578488"/>
                <a:gd name="connsiteY520" fmla="*/ 74329 h 470547"/>
                <a:gd name="connsiteX521" fmla="*/ 371366 w 578488"/>
                <a:gd name="connsiteY521" fmla="*/ 74217 h 470547"/>
                <a:gd name="connsiteX522" fmla="*/ 368436 w 578488"/>
                <a:gd name="connsiteY522" fmla="*/ 74065 h 470547"/>
                <a:gd name="connsiteX523" fmla="*/ 364137 w 578488"/>
                <a:gd name="connsiteY523" fmla="*/ 74214 h 470547"/>
                <a:gd name="connsiteX524" fmla="*/ 361416 w 578488"/>
                <a:gd name="connsiteY524" fmla="*/ 75242 h 470547"/>
                <a:gd name="connsiteX525" fmla="*/ 359699 w 578488"/>
                <a:gd name="connsiteY525" fmla="*/ 76533 h 470547"/>
                <a:gd name="connsiteX526" fmla="*/ 359401 w 578488"/>
                <a:gd name="connsiteY526" fmla="*/ 77604 h 470547"/>
                <a:gd name="connsiteX527" fmla="*/ 361064 w 578488"/>
                <a:gd name="connsiteY527" fmla="*/ 81713 h 470547"/>
                <a:gd name="connsiteX528" fmla="*/ 360548 w 578488"/>
                <a:gd name="connsiteY528" fmla="*/ 82736 h 470547"/>
                <a:gd name="connsiteX529" fmla="*/ 359691 w 578488"/>
                <a:gd name="connsiteY529" fmla="*/ 83228 h 470547"/>
                <a:gd name="connsiteX530" fmla="*/ 355789 w 578488"/>
                <a:gd name="connsiteY530" fmla="*/ 82077 h 470547"/>
                <a:gd name="connsiteX531" fmla="*/ 351070 w 578488"/>
                <a:gd name="connsiteY531" fmla="*/ 82153 h 470547"/>
                <a:gd name="connsiteX532" fmla="*/ 349882 w 578488"/>
                <a:gd name="connsiteY532" fmla="*/ 83418 h 470547"/>
                <a:gd name="connsiteX533" fmla="*/ 347004 w 578488"/>
                <a:gd name="connsiteY533" fmla="*/ 83556 h 470547"/>
                <a:gd name="connsiteX534" fmla="*/ 338706 w 578488"/>
                <a:gd name="connsiteY534" fmla="*/ 84037 h 470547"/>
                <a:gd name="connsiteX535" fmla="*/ 342368 w 578488"/>
                <a:gd name="connsiteY535" fmla="*/ 87389 h 470547"/>
                <a:gd name="connsiteX536" fmla="*/ 343579 w 578488"/>
                <a:gd name="connsiteY536" fmla="*/ 88730 h 470547"/>
                <a:gd name="connsiteX537" fmla="*/ 343821 w 578488"/>
                <a:gd name="connsiteY537" fmla="*/ 90698 h 470547"/>
                <a:gd name="connsiteX538" fmla="*/ 343189 w 578488"/>
                <a:gd name="connsiteY538" fmla="*/ 94352 h 470547"/>
                <a:gd name="connsiteX539" fmla="*/ 341433 w 578488"/>
                <a:gd name="connsiteY539" fmla="*/ 97469 h 470547"/>
                <a:gd name="connsiteX540" fmla="*/ 339386 w 578488"/>
                <a:gd name="connsiteY540" fmla="*/ 100001 h 470547"/>
                <a:gd name="connsiteX541" fmla="*/ 335436 w 578488"/>
                <a:gd name="connsiteY541" fmla="*/ 102509 h 470547"/>
                <a:gd name="connsiteX542" fmla="*/ 341433 w 578488"/>
                <a:gd name="connsiteY542" fmla="*/ 104984 h 470547"/>
                <a:gd name="connsiteX543" fmla="*/ 337363 w 578488"/>
                <a:gd name="connsiteY543" fmla="*/ 108323 h 470547"/>
                <a:gd name="connsiteX544" fmla="*/ 335458 w 578488"/>
                <a:gd name="connsiteY544" fmla="*/ 109623 h 470547"/>
                <a:gd name="connsiteX545" fmla="*/ 333251 w 578488"/>
                <a:gd name="connsiteY545" fmla="*/ 109399 h 470547"/>
                <a:gd name="connsiteX546" fmla="*/ 329297 w 578488"/>
                <a:gd name="connsiteY546" fmla="*/ 108244 h 470547"/>
                <a:gd name="connsiteX547" fmla="*/ 319740 w 578488"/>
                <a:gd name="connsiteY547" fmla="*/ 105452 h 470547"/>
                <a:gd name="connsiteX548" fmla="*/ 315177 w 578488"/>
                <a:gd name="connsiteY548" fmla="*/ 104401 h 470547"/>
                <a:gd name="connsiteX549" fmla="*/ 311100 w 578488"/>
                <a:gd name="connsiteY549" fmla="*/ 104079 h 470547"/>
                <a:gd name="connsiteX550" fmla="*/ 308923 w 578488"/>
                <a:gd name="connsiteY550" fmla="*/ 104120 h 470547"/>
                <a:gd name="connsiteX551" fmla="*/ 300273 w 578488"/>
                <a:gd name="connsiteY551" fmla="*/ 101727 h 470547"/>
                <a:gd name="connsiteX552" fmla="*/ 298602 w 578488"/>
                <a:gd name="connsiteY552" fmla="*/ 101995 h 470547"/>
                <a:gd name="connsiteX553" fmla="*/ 295496 w 578488"/>
                <a:gd name="connsiteY553" fmla="*/ 103032 h 470547"/>
                <a:gd name="connsiteX554" fmla="*/ 295153 w 578488"/>
                <a:gd name="connsiteY554" fmla="*/ 105358 h 470547"/>
                <a:gd name="connsiteX555" fmla="*/ 295349 w 578488"/>
                <a:gd name="connsiteY555" fmla="*/ 111135 h 470547"/>
                <a:gd name="connsiteX556" fmla="*/ 295807 w 578488"/>
                <a:gd name="connsiteY556" fmla="*/ 115572 h 470547"/>
                <a:gd name="connsiteX557" fmla="*/ 294665 w 578488"/>
                <a:gd name="connsiteY557" fmla="*/ 118133 h 470547"/>
                <a:gd name="connsiteX558" fmla="*/ 293520 w 578488"/>
                <a:gd name="connsiteY558" fmla="*/ 119869 h 470547"/>
                <a:gd name="connsiteX559" fmla="*/ 290059 w 578488"/>
                <a:gd name="connsiteY559" fmla="*/ 124542 h 470547"/>
                <a:gd name="connsiteX560" fmla="*/ 282277 w 578488"/>
                <a:gd name="connsiteY560" fmla="*/ 121367 h 470547"/>
                <a:gd name="connsiteX561" fmla="*/ 276967 w 578488"/>
                <a:gd name="connsiteY561" fmla="*/ 119261 h 470547"/>
                <a:gd name="connsiteX562" fmla="*/ 273559 w 578488"/>
                <a:gd name="connsiteY562" fmla="*/ 122064 h 470547"/>
                <a:gd name="connsiteX563" fmla="*/ 265004 w 578488"/>
                <a:gd name="connsiteY563" fmla="*/ 127192 h 470547"/>
                <a:gd name="connsiteX564" fmla="*/ 260624 w 578488"/>
                <a:gd name="connsiteY564" fmla="*/ 137276 h 470547"/>
                <a:gd name="connsiteX565" fmla="*/ 260372 w 578488"/>
                <a:gd name="connsiteY565" fmla="*/ 137605 h 470547"/>
                <a:gd name="connsiteX566" fmla="*/ 257785 w 578488"/>
                <a:gd name="connsiteY566" fmla="*/ 140161 h 470547"/>
                <a:gd name="connsiteX567" fmla="*/ 254468 w 578488"/>
                <a:gd name="connsiteY567" fmla="*/ 141334 h 470547"/>
                <a:gd name="connsiteX568" fmla="*/ 251957 w 578488"/>
                <a:gd name="connsiteY568" fmla="*/ 141914 h 470547"/>
                <a:gd name="connsiteX569" fmla="*/ 250495 w 578488"/>
                <a:gd name="connsiteY569" fmla="*/ 144897 h 470547"/>
                <a:gd name="connsiteX570" fmla="*/ 253902 w 578488"/>
                <a:gd name="connsiteY570" fmla="*/ 149167 h 470547"/>
                <a:gd name="connsiteX571" fmla="*/ 255651 w 578488"/>
                <a:gd name="connsiteY571" fmla="*/ 151417 h 470547"/>
                <a:gd name="connsiteX572" fmla="*/ 257280 w 578488"/>
                <a:gd name="connsiteY572" fmla="*/ 155042 h 470547"/>
                <a:gd name="connsiteX573" fmla="*/ 256979 w 578488"/>
                <a:gd name="connsiteY573" fmla="*/ 157347 h 470547"/>
                <a:gd name="connsiteX574" fmla="*/ 256599 w 578488"/>
                <a:gd name="connsiteY574" fmla="*/ 158780 h 470547"/>
                <a:gd name="connsiteX575" fmla="*/ 252933 w 578488"/>
                <a:gd name="connsiteY575" fmla="*/ 161708 h 470547"/>
                <a:gd name="connsiteX576" fmla="*/ 245116 w 578488"/>
                <a:gd name="connsiteY576" fmla="*/ 169424 h 470547"/>
                <a:gd name="connsiteX577" fmla="*/ 237882 w 578488"/>
                <a:gd name="connsiteY577" fmla="*/ 177449 h 470547"/>
                <a:gd name="connsiteX578" fmla="*/ 234917 w 578488"/>
                <a:gd name="connsiteY578" fmla="*/ 179747 h 470547"/>
                <a:gd name="connsiteX579" fmla="*/ 236262 w 578488"/>
                <a:gd name="connsiteY579" fmla="*/ 186523 h 470547"/>
                <a:gd name="connsiteX580" fmla="*/ 233855 w 578488"/>
                <a:gd name="connsiteY580" fmla="*/ 188504 h 470547"/>
                <a:gd name="connsiteX581" fmla="*/ 228955 w 578488"/>
                <a:gd name="connsiteY581" fmla="*/ 190744 h 470547"/>
                <a:gd name="connsiteX582" fmla="*/ 226450 w 578488"/>
                <a:gd name="connsiteY582" fmla="*/ 191608 h 470547"/>
                <a:gd name="connsiteX583" fmla="*/ 223751 w 578488"/>
                <a:gd name="connsiteY583" fmla="*/ 192114 h 470547"/>
                <a:gd name="connsiteX584" fmla="*/ 215465 w 578488"/>
                <a:gd name="connsiteY584" fmla="*/ 193008 h 470547"/>
                <a:gd name="connsiteX585" fmla="*/ 216940 w 578488"/>
                <a:gd name="connsiteY585" fmla="*/ 200220 h 470547"/>
                <a:gd name="connsiteX586" fmla="*/ 217497 w 578488"/>
                <a:gd name="connsiteY586" fmla="*/ 203404 h 470547"/>
                <a:gd name="connsiteX587" fmla="*/ 217484 w 578488"/>
                <a:gd name="connsiteY587" fmla="*/ 205291 h 470547"/>
                <a:gd name="connsiteX588" fmla="*/ 216627 w 578488"/>
                <a:gd name="connsiteY588" fmla="*/ 207126 h 470547"/>
                <a:gd name="connsiteX589" fmla="*/ 215603 w 578488"/>
                <a:gd name="connsiteY589" fmla="*/ 210635 h 470547"/>
                <a:gd name="connsiteX590" fmla="*/ 214059 w 578488"/>
                <a:gd name="connsiteY590" fmla="*/ 223129 h 470547"/>
                <a:gd name="connsiteX591" fmla="*/ 212878 w 578488"/>
                <a:gd name="connsiteY591" fmla="*/ 224469 h 470547"/>
                <a:gd name="connsiteX592" fmla="*/ 211246 w 578488"/>
                <a:gd name="connsiteY592" fmla="*/ 227840 h 470547"/>
                <a:gd name="connsiteX593" fmla="*/ 205999 w 578488"/>
                <a:gd name="connsiteY593" fmla="*/ 235919 h 470547"/>
                <a:gd name="connsiteX594" fmla="*/ 201790 w 578488"/>
                <a:gd name="connsiteY594" fmla="*/ 241272 h 470547"/>
                <a:gd name="connsiteX595" fmla="*/ 195720 w 578488"/>
                <a:gd name="connsiteY595" fmla="*/ 248960 h 470547"/>
                <a:gd name="connsiteX596" fmla="*/ 200656 w 578488"/>
                <a:gd name="connsiteY596" fmla="*/ 251381 h 470547"/>
                <a:gd name="connsiteX597" fmla="*/ 205169 w 578488"/>
                <a:gd name="connsiteY597" fmla="*/ 253145 h 470547"/>
                <a:gd name="connsiteX598" fmla="*/ 206104 w 578488"/>
                <a:gd name="connsiteY598" fmla="*/ 255857 h 470547"/>
                <a:gd name="connsiteX599" fmla="*/ 206726 w 578488"/>
                <a:gd name="connsiteY599" fmla="*/ 260380 h 470547"/>
                <a:gd name="connsiteX600" fmla="*/ 206575 w 578488"/>
                <a:gd name="connsiteY600" fmla="*/ 263453 h 470547"/>
                <a:gd name="connsiteX601" fmla="*/ 204852 w 578488"/>
                <a:gd name="connsiteY601" fmla="*/ 266213 h 470547"/>
                <a:gd name="connsiteX602" fmla="*/ 203513 w 578488"/>
                <a:gd name="connsiteY602" fmla="*/ 268148 h 470547"/>
                <a:gd name="connsiteX603" fmla="*/ 202580 w 578488"/>
                <a:gd name="connsiteY603" fmla="*/ 269091 h 470547"/>
                <a:gd name="connsiteX604" fmla="*/ 196171 w 578488"/>
                <a:gd name="connsiteY604" fmla="*/ 268152 h 470547"/>
                <a:gd name="connsiteX605" fmla="*/ 187966 w 578488"/>
                <a:gd name="connsiteY605" fmla="*/ 266945 h 470547"/>
                <a:gd name="connsiteX606" fmla="*/ 185841 w 578488"/>
                <a:gd name="connsiteY606" fmla="*/ 266934 h 470547"/>
                <a:gd name="connsiteX607" fmla="*/ 181066 w 578488"/>
                <a:gd name="connsiteY607" fmla="*/ 267803 h 470547"/>
                <a:gd name="connsiteX608" fmla="*/ 176758 w 578488"/>
                <a:gd name="connsiteY608" fmla="*/ 269586 h 470547"/>
                <a:gd name="connsiteX609" fmla="*/ 174487 w 578488"/>
                <a:gd name="connsiteY609" fmla="*/ 271088 h 470547"/>
                <a:gd name="connsiteX610" fmla="*/ 173878 w 578488"/>
                <a:gd name="connsiteY610" fmla="*/ 271685 h 470547"/>
                <a:gd name="connsiteX611" fmla="*/ 171008 w 578488"/>
                <a:gd name="connsiteY611" fmla="*/ 275099 h 470547"/>
                <a:gd name="connsiteX612" fmla="*/ 165905 w 578488"/>
                <a:gd name="connsiteY612" fmla="*/ 281156 h 470547"/>
                <a:gd name="connsiteX613" fmla="*/ 163102 w 578488"/>
                <a:gd name="connsiteY613" fmla="*/ 283795 h 470547"/>
                <a:gd name="connsiteX614" fmla="*/ 163919 w 578488"/>
                <a:gd name="connsiteY614" fmla="*/ 287426 h 470547"/>
                <a:gd name="connsiteX615" fmla="*/ 159226 w 578488"/>
                <a:gd name="connsiteY615" fmla="*/ 294429 h 470547"/>
                <a:gd name="connsiteX616" fmla="*/ 162295 w 578488"/>
                <a:gd name="connsiteY616" fmla="*/ 301478 h 470547"/>
                <a:gd name="connsiteX617" fmla="*/ 162426 w 578488"/>
                <a:gd name="connsiteY617" fmla="*/ 301709 h 470547"/>
                <a:gd name="connsiteX618" fmla="*/ 164052 w 578488"/>
                <a:gd name="connsiteY618" fmla="*/ 304551 h 470547"/>
                <a:gd name="connsiteX619" fmla="*/ 162347 w 578488"/>
                <a:gd name="connsiteY619" fmla="*/ 306381 h 470547"/>
                <a:gd name="connsiteX620" fmla="*/ 161630 w 578488"/>
                <a:gd name="connsiteY620" fmla="*/ 307364 h 470547"/>
                <a:gd name="connsiteX621" fmla="*/ 161873 w 578488"/>
                <a:gd name="connsiteY621" fmla="*/ 310603 h 470547"/>
                <a:gd name="connsiteX622" fmla="*/ 162321 w 578488"/>
                <a:gd name="connsiteY622" fmla="*/ 314217 h 470547"/>
                <a:gd name="connsiteX623" fmla="*/ 161923 w 578488"/>
                <a:gd name="connsiteY623" fmla="*/ 316334 h 470547"/>
                <a:gd name="connsiteX624" fmla="*/ 161761 w 578488"/>
                <a:gd name="connsiteY624" fmla="*/ 318682 h 470547"/>
                <a:gd name="connsiteX625" fmla="*/ 165940 w 578488"/>
                <a:gd name="connsiteY625" fmla="*/ 329208 h 470547"/>
                <a:gd name="connsiteX626" fmla="*/ 165892 w 578488"/>
                <a:gd name="connsiteY626" fmla="*/ 331669 h 470547"/>
                <a:gd name="connsiteX627" fmla="*/ 165685 w 578488"/>
                <a:gd name="connsiteY627" fmla="*/ 333254 h 470547"/>
                <a:gd name="connsiteX628" fmla="*/ 164396 w 578488"/>
                <a:gd name="connsiteY628" fmla="*/ 339764 h 470547"/>
                <a:gd name="connsiteX629" fmla="*/ 162664 w 578488"/>
                <a:gd name="connsiteY629" fmla="*/ 348480 h 470547"/>
                <a:gd name="connsiteX630" fmla="*/ 165687 w 578488"/>
                <a:gd name="connsiteY630" fmla="*/ 350764 h 470547"/>
                <a:gd name="connsiteX631" fmla="*/ 169993 w 578488"/>
                <a:gd name="connsiteY631" fmla="*/ 353492 h 470547"/>
                <a:gd name="connsiteX632" fmla="*/ 172409 w 578488"/>
                <a:gd name="connsiteY632" fmla="*/ 354565 h 470547"/>
                <a:gd name="connsiteX633" fmla="*/ 175979 w 578488"/>
                <a:gd name="connsiteY633" fmla="*/ 357800 h 470547"/>
                <a:gd name="connsiteX634" fmla="*/ 178704 w 578488"/>
                <a:gd name="connsiteY634" fmla="*/ 360956 h 470547"/>
                <a:gd name="connsiteX635" fmla="*/ 178326 w 578488"/>
                <a:gd name="connsiteY635" fmla="*/ 363049 h 470547"/>
                <a:gd name="connsiteX636" fmla="*/ 177542 w 578488"/>
                <a:gd name="connsiteY636" fmla="*/ 365356 h 470547"/>
                <a:gd name="connsiteX637" fmla="*/ 176395 w 578488"/>
                <a:gd name="connsiteY637" fmla="*/ 366968 h 470547"/>
                <a:gd name="connsiteX638" fmla="*/ 175322 w 578488"/>
                <a:gd name="connsiteY638" fmla="*/ 369179 h 470547"/>
                <a:gd name="connsiteX639" fmla="*/ 174841 w 578488"/>
                <a:gd name="connsiteY639" fmla="*/ 370806 h 470547"/>
                <a:gd name="connsiteX640" fmla="*/ 174331 w 578488"/>
                <a:gd name="connsiteY640" fmla="*/ 371244 h 470547"/>
                <a:gd name="connsiteX641" fmla="*/ 169568 w 578488"/>
                <a:gd name="connsiteY641" fmla="*/ 371422 h 470547"/>
                <a:gd name="connsiteX642" fmla="*/ 167049 w 578488"/>
                <a:gd name="connsiteY642" fmla="*/ 372037 h 470547"/>
                <a:gd name="connsiteX643" fmla="*/ 165732 w 578488"/>
                <a:gd name="connsiteY643" fmla="*/ 372726 h 470547"/>
                <a:gd name="connsiteX644" fmla="*/ 166186 w 578488"/>
                <a:gd name="connsiteY644" fmla="*/ 376434 h 470547"/>
                <a:gd name="connsiteX645" fmla="*/ 169075 w 578488"/>
                <a:gd name="connsiteY645" fmla="*/ 383209 h 470547"/>
                <a:gd name="connsiteX646" fmla="*/ 171474 w 578488"/>
                <a:gd name="connsiteY646" fmla="*/ 388013 h 470547"/>
                <a:gd name="connsiteX647" fmla="*/ 172245 w 578488"/>
                <a:gd name="connsiteY647" fmla="*/ 391175 h 470547"/>
                <a:gd name="connsiteX648" fmla="*/ 171453 w 578488"/>
                <a:gd name="connsiteY648" fmla="*/ 394375 h 470547"/>
                <a:gd name="connsiteX649" fmla="*/ 170634 w 578488"/>
                <a:gd name="connsiteY649" fmla="*/ 396012 h 470547"/>
                <a:gd name="connsiteX650" fmla="*/ 170608 w 578488"/>
                <a:gd name="connsiteY650" fmla="*/ 398214 h 470547"/>
                <a:gd name="connsiteX651" fmla="*/ 169978 w 578488"/>
                <a:gd name="connsiteY651" fmla="*/ 402590 h 470547"/>
                <a:gd name="connsiteX652" fmla="*/ 168118 w 578488"/>
                <a:gd name="connsiteY652" fmla="*/ 404799 h 470547"/>
                <a:gd name="connsiteX653" fmla="*/ 165685 w 578488"/>
                <a:gd name="connsiteY653" fmla="*/ 407204 h 470547"/>
                <a:gd name="connsiteX654" fmla="*/ 162971 w 578488"/>
                <a:gd name="connsiteY654" fmla="*/ 408999 h 470547"/>
                <a:gd name="connsiteX655" fmla="*/ 160818 w 578488"/>
                <a:gd name="connsiteY655" fmla="*/ 409503 h 470547"/>
                <a:gd name="connsiteX656" fmla="*/ 158969 w 578488"/>
                <a:gd name="connsiteY656" fmla="*/ 409711 h 470547"/>
                <a:gd name="connsiteX657" fmla="*/ 157728 w 578488"/>
                <a:gd name="connsiteY657" fmla="*/ 410622 h 470547"/>
                <a:gd name="connsiteX658" fmla="*/ 156602 w 578488"/>
                <a:gd name="connsiteY658" fmla="*/ 413299 h 470547"/>
                <a:gd name="connsiteX659" fmla="*/ 155564 w 578488"/>
                <a:gd name="connsiteY659" fmla="*/ 416106 h 470547"/>
                <a:gd name="connsiteX660" fmla="*/ 152169 w 578488"/>
                <a:gd name="connsiteY660" fmla="*/ 419553 h 470547"/>
                <a:gd name="connsiteX661" fmla="*/ 152260 w 578488"/>
                <a:gd name="connsiteY661" fmla="*/ 420752 h 470547"/>
                <a:gd name="connsiteX662" fmla="*/ 153553 w 578488"/>
                <a:gd name="connsiteY662" fmla="*/ 424829 h 470547"/>
                <a:gd name="connsiteX663" fmla="*/ 154765 w 578488"/>
                <a:gd name="connsiteY663" fmla="*/ 429460 h 470547"/>
                <a:gd name="connsiteX664" fmla="*/ 153741 w 578488"/>
                <a:gd name="connsiteY664" fmla="*/ 433781 h 470547"/>
                <a:gd name="connsiteX665" fmla="*/ 152865 w 578488"/>
                <a:gd name="connsiteY665" fmla="*/ 438308 h 470547"/>
                <a:gd name="connsiteX666" fmla="*/ 151329 w 578488"/>
                <a:gd name="connsiteY666" fmla="*/ 441320 h 470547"/>
                <a:gd name="connsiteX667" fmla="*/ 149135 w 578488"/>
                <a:gd name="connsiteY667" fmla="*/ 442395 h 470547"/>
                <a:gd name="connsiteX668" fmla="*/ 147524 w 578488"/>
                <a:gd name="connsiteY668" fmla="*/ 441858 h 470547"/>
                <a:gd name="connsiteX669" fmla="*/ 145702 w 578488"/>
                <a:gd name="connsiteY669" fmla="*/ 437727 h 470547"/>
                <a:gd name="connsiteX670" fmla="*/ 145661 w 578488"/>
                <a:gd name="connsiteY670" fmla="*/ 436776 h 470547"/>
                <a:gd name="connsiteX671" fmla="*/ 145207 w 578488"/>
                <a:gd name="connsiteY671" fmla="*/ 435511 h 470547"/>
                <a:gd name="connsiteX672" fmla="*/ 140038 w 578488"/>
                <a:gd name="connsiteY672" fmla="*/ 434250 h 470547"/>
                <a:gd name="connsiteX673" fmla="*/ 139124 w 578488"/>
                <a:gd name="connsiteY673" fmla="*/ 434296 h 470547"/>
                <a:gd name="connsiteX674" fmla="*/ 137092 w 578488"/>
                <a:gd name="connsiteY674" fmla="*/ 433557 h 470547"/>
                <a:gd name="connsiteX675" fmla="*/ 135901 w 578488"/>
                <a:gd name="connsiteY675" fmla="*/ 433348 h 470547"/>
                <a:gd name="connsiteX676" fmla="*/ 133456 w 578488"/>
                <a:gd name="connsiteY676" fmla="*/ 432921 h 470547"/>
                <a:gd name="connsiteX677" fmla="*/ 131424 w 578488"/>
                <a:gd name="connsiteY677" fmla="*/ 429261 h 470547"/>
                <a:gd name="connsiteX678" fmla="*/ 129265 w 578488"/>
                <a:gd name="connsiteY678" fmla="*/ 426212 h 470547"/>
                <a:gd name="connsiteX679" fmla="*/ 128958 w 578488"/>
                <a:gd name="connsiteY679" fmla="*/ 424936 h 470547"/>
                <a:gd name="connsiteX680" fmla="*/ 129032 w 578488"/>
                <a:gd name="connsiteY680" fmla="*/ 419218 h 470547"/>
                <a:gd name="connsiteX681" fmla="*/ 128371 w 578488"/>
                <a:gd name="connsiteY681" fmla="*/ 416670 h 470547"/>
                <a:gd name="connsiteX682" fmla="*/ 128168 w 578488"/>
                <a:gd name="connsiteY682" fmla="*/ 413889 h 470547"/>
                <a:gd name="connsiteX683" fmla="*/ 126809 w 578488"/>
                <a:gd name="connsiteY683" fmla="*/ 416151 h 470547"/>
                <a:gd name="connsiteX684" fmla="*/ 127598 w 578488"/>
                <a:gd name="connsiteY684" fmla="*/ 419723 h 470547"/>
                <a:gd name="connsiteX685" fmla="*/ 125922 w 578488"/>
                <a:gd name="connsiteY685" fmla="*/ 421220 h 470547"/>
                <a:gd name="connsiteX686" fmla="*/ 123808 w 578488"/>
                <a:gd name="connsiteY686" fmla="*/ 421947 h 470547"/>
                <a:gd name="connsiteX687" fmla="*/ 124007 w 578488"/>
                <a:gd name="connsiteY687" fmla="*/ 424035 h 470547"/>
                <a:gd name="connsiteX688" fmla="*/ 124875 w 578488"/>
                <a:gd name="connsiteY688" fmla="*/ 424430 h 470547"/>
                <a:gd name="connsiteX689" fmla="*/ 125056 w 578488"/>
                <a:gd name="connsiteY689" fmla="*/ 426595 h 470547"/>
                <a:gd name="connsiteX690" fmla="*/ 124542 w 578488"/>
                <a:gd name="connsiteY690" fmla="*/ 429796 h 470547"/>
                <a:gd name="connsiteX691" fmla="*/ 120381 w 578488"/>
                <a:gd name="connsiteY691" fmla="*/ 436895 h 470547"/>
                <a:gd name="connsiteX692" fmla="*/ 119541 w 578488"/>
                <a:gd name="connsiteY692" fmla="*/ 437657 h 470547"/>
                <a:gd name="connsiteX693" fmla="*/ 118971 w 578488"/>
                <a:gd name="connsiteY693" fmla="*/ 438614 h 470547"/>
                <a:gd name="connsiteX694" fmla="*/ 116842 w 578488"/>
                <a:gd name="connsiteY694" fmla="*/ 437978 h 470547"/>
                <a:gd name="connsiteX695" fmla="*/ 114110 w 578488"/>
                <a:gd name="connsiteY695" fmla="*/ 439950 h 470547"/>
                <a:gd name="connsiteX696" fmla="*/ 111523 w 578488"/>
                <a:gd name="connsiteY696" fmla="*/ 440266 h 470547"/>
                <a:gd name="connsiteX697" fmla="*/ 110586 w 578488"/>
                <a:gd name="connsiteY697" fmla="*/ 438035 h 470547"/>
                <a:gd name="connsiteX698" fmla="*/ 106936 w 578488"/>
                <a:gd name="connsiteY698" fmla="*/ 435079 h 470547"/>
                <a:gd name="connsiteX699" fmla="*/ 105213 w 578488"/>
                <a:gd name="connsiteY699" fmla="*/ 435245 h 470547"/>
                <a:gd name="connsiteX700" fmla="*/ 106760 w 578488"/>
                <a:gd name="connsiteY700" fmla="*/ 436704 h 470547"/>
                <a:gd name="connsiteX701" fmla="*/ 108284 w 578488"/>
                <a:gd name="connsiteY701" fmla="*/ 438599 h 470547"/>
                <a:gd name="connsiteX702" fmla="*/ 107418 w 578488"/>
                <a:gd name="connsiteY702" fmla="*/ 439853 h 470547"/>
                <a:gd name="connsiteX703" fmla="*/ 106567 w 578488"/>
                <a:gd name="connsiteY703" fmla="*/ 440671 h 470547"/>
                <a:gd name="connsiteX704" fmla="*/ 105077 w 578488"/>
                <a:gd name="connsiteY704" fmla="*/ 441095 h 470547"/>
                <a:gd name="connsiteX705" fmla="*/ 99746 w 578488"/>
                <a:gd name="connsiteY705" fmla="*/ 443570 h 470547"/>
                <a:gd name="connsiteX706" fmla="*/ 101644 w 578488"/>
                <a:gd name="connsiteY706" fmla="*/ 445231 h 470547"/>
                <a:gd name="connsiteX707" fmla="*/ 100033 w 578488"/>
                <a:gd name="connsiteY707" fmla="*/ 447116 h 470547"/>
                <a:gd name="connsiteX708" fmla="*/ 98170 w 578488"/>
                <a:gd name="connsiteY708" fmla="*/ 447393 h 470547"/>
                <a:gd name="connsiteX709" fmla="*/ 97176 w 578488"/>
                <a:gd name="connsiteY709" fmla="*/ 448273 h 470547"/>
                <a:gd name="connsiteX710" fmla="*/ 96831 w 578488"/>
                <a:gd name="connsiteY710" fmla="*/ 449467 h 470547"/>
                <a:gd name="connsiteX711" fmla="*/ 91309 w 578488"/>
                <a:gd name="connsiteY711" fmla="*/ 452866 h 470547"/>
                <a:gd name="connsiteX712" fmla="*/ 82309 w 578488"/>
                <a:gd name="connsiteY712" fmla="*/ 461559 h 470547"/>
                <a:gd name="connsiteX713" fmla="*/ 77684 w 578488"/>
                <a:gd name="connsiteY713" fmla="*/ 464009 h 470547"/>
                <a:gd name="connsiteX714" fmla="*/ 74453 w 578488"/>
                <a:gd name="connsiteY714" fmla="*/ 466554 h 470547"/>
                <a:gd name="connsiteX715" fmla="*/ 71607 w 578488"/>
                <a:gd name="connsiteY715" fmla="*/ 466491 h 470547"/>
                <a:gd name="connsiteX716" fmla="*/ 68029 w 578488"/>
                <a:gd name="connsiteY716" fmla="*/ 468652 h 470547"/>
                <a:gd name="connsiteX717" fmla="*/ 58970 w 578488"/>
                <a:gd name="connsiteY717" fmla="*/ 470547 h 470547"/>
                <a:gd name="connsiteX718" fmla="*/ 52961 w 578488"/>
                <a:gd name="connsiteY718" fmla="*/ 469690 h 470547"/>
                <a:gd name="connsiteX719" fmla="*/ 48776 w 578488"/>
                <a:gd name="connsiteY719" fmla="*/ 470442 h 470547"/>
                <a:gd name="connsiteX720" fmla="*/ 46532 w 578488"/>
                <a:gd name="connsiteY720" fmla="*/ 468957 h 470547"/>
                <a:gd name="connsiteX721" fmla="*/ 46241 w 578488"/>
                <a:gd name="connsiteY721" fmla="*/ 467936 h 470547"/>
                <a:gd name="connsiteX722" fmla="*/ 46353 w 578488"/>
                <a:gd name="connsiteY722" fmla="*/ 467343 h 470547"/>
                <a:gd name="connsiteX723" fmla="*/ 46729 w 578488"/>
                <a:gd name="connsiteY723" fmla="*/ 466632 h 470547"/>
                <a:gd name="connsiteX724" fmla="*/ 45949 w 578488"/>
                <a:gd name="connsiteY724" fmla="*/ 466380 h 470547"/>
                <a:gd name="connsiteX725" fmla="*/ 44308 w 578488"/>
                <a:gd name="connsiteY725" fmla="*/ 466257 h 470547"/>
                <a:gd name="connsiteX726" fmla="*/ 43606 w 578488"/>
                <a:gd name="connsiteY726" fmla="*/ 466974 h 470547"/>
                <a:gd name="connsiteX727" fmla="*/ 43511 w 578488"/>
                <a:gd name="connsiteY727" fmla="*/ 468602 h 470547"/>
                <a:gd name="connsiteX728" fmla="*/ 42730 w 578488"/>
                <a:gd name="connsiteY728" fmla="*/ 469027 h 470547"/>
                <a:gd name="connsiteX729" fmla="*/ 39613 w 578488"/>
                <a:gd name="connsiteY729" fmla="*/ 468096 h 470547"/>
                <a:gd name="connsiteX730" fmla="*/ 38830 w 578488"/>
                <a:gd name="connsiteY730" fmla="*/ 467257 h 470547"/>
                <a:gd name="connsiteX731" fmla="*/ 39950 w 578488"/>
                <a:gd name="connsiteY731" fmla="*/ 465556 h 470547"/>
                <a:gd name="connsiteX732" fmla="*/ 41868 w 578488"/>
                <a:gd name="connsiteY732" fmla="*/ 464023 h 470547"/>
                <a:gd name="connsiteX733" fmla="*/ 41520 w 578488"/>
                <a:gd name="connsiteY733" fmla="*/ 463709 h 470547"/>
                <a:gd name="connsiteX734" fmla="*/ 41147 w 578488"/>
                <a:gd name="connsiteY734" fmla="*/ 462777 h 470547"/>
                <a:gd name="connsiteX735" fmla="*/ 40211 w 578488"/>
                <a:gd name="connsiteY735" fmla="*/ 462659 h 470547"/>
                <a:gd name="connsiteX736" fmla="*/ 37424 w 578488"/>
                <a:gd name="connsiteY736" fmla="*/ 462884 h 470547"/>
                <a:gd name="connsiteX737" fmla="*/ 35159 w 578488"/>
                <a:gd name="connsiteY737" fmla="*/ 462609 h 470547"/>
                <a:gd name="connsiteX738" fmla="*/ 27765 w 578488"/>
                <a:gd name="connsiteY738" fmla="*/ 459156 h 470547"/>
                <a:gd name="connsiteX739" fmla="*/ 26038 w 578488"/>
                <a:gd name="connsiteY739" fmla="*/ 457312 h 470547"/>
                <a:gd name="connsiteX740" fmla="*/ 20073 w 578488"/>
                <a:gd name="connsiteY740" fmla="*/ 454363 h 470547"/>
                <a:gd name="connsiteX741" fmla="*/ 17400 w 578488"/>
                <a:gd name="connsiteY741" fmla="*/ 451234 h 470547"/>
                <a:gd name="connsiteX742" fmla="*/ 15882 w 578488"/>
                <a:gd name="connsiteY742" fmla="*/ 447798 h 470547"/>
                <a:gd name="connsiteX743" fmla="*/ 15996 w 578488"/>
                <a:gd name="connsiteY743" fmla="*/ 444680 h 470547"/>
                <a:gd name="connsiteX744" fmla="*/ 16728 w 578488"/>
                <a:gd name="connsiteY744" fmla="*/ 439723 h 470547"/>
                <a:gd name="connsiteX745" fmla="*/ 17981 w 578488"/>
                <a:gd name="connsiteY745" fmla="*/ 438496 h 470547"/>
                <a:gd name="connsiteX746" fmla="*/ 23334 w 578488"/>
                <a:gd name="connsiteY746" fmla="*/ 440234 h 470547"/>
                <a:gd name="connsiteX747" fmla="*/ 28745 w 578488"/>
                <a:gd name="connsiteY747" fmla="*/ 443134 h 470547"/>
                <a:gd name="connsiteX748" fmla="*/ 29592 w 578488"/>
                <a:gd name="connsiteY748" fmla="*/ 442991 h 470547"/>
                <a:gd name="connsiteX749" fmla="*/ 31291 w 578488"/>
                <a:gd name="connsiteY749" fmla="*/ 440715 h 470547"/>
                <a:gd name="connsiteX750" fmla="*/ 34589 w 578488"/>
                <a:gd name="connsiteY750" fmla="*/ 438885 h 470547"/>
                <a:gd name="connsiteX751" fmla="*/ 33656 w 578488"/>
                <a:gd name="connsiteY751" fmla="*/ 438380 h 470547"/>
                <a:gd name="connsiteX752" fmla="*/ 28754 w 578488"/>
                <a:gd name="connsiteY752" fmla="*/ 440479 h 470547"/>
                <a:gd name="connsiteX753" fmla="*/ 26931 w 578488"/>
                <a:gd name="connsiteY753" fmla="*/ 439316 h 470547"/>
                <a:gd name="connsiteX754" fmla="*/ 24105 w 578488"/>
                <a:gd name="connsiteY754" fmla="*/ 436946 h 470547"/>
                <a:gd name="connsiteX755" fmla="*/ 24105 w 578488"/>
                <a:gd name="connsiteY755" fmla="*/ 435725 h 470547"/>
                <a:gd name="connsiteX756" fmla="*/ 25422 w 578488"/>
                <a:gd name="connsiteY756" fmla="*/ 434503 h 470547"/>
                <a:gd name="connsiteX757" fmla="*/ 25860 w 578488"/>
                <a:gd name="connsiteY757" fmla="*/ 432849 h 470547"/>
                <a:gd name="connsiteX758" fmla="*/ 25169 w 578488"/>
                <a:gd name="connsiteY758" fmla="*/ 431287 h 470547"/>
                <a:gd name="connsiteX759" fmla="*/ 25491 w 578488"/>
                <a:gd name="connsiteY759" fmla="*/ 429160 h 470547"/>
                <a:gd name="connsiteX760" fmla="*/ 27677 w 578488"/>
                <a:gd name="connsiteY760" fmla="*/ 426901 h 470547"/>
                <a:gd name="connsiteX761" fmla="*/ 30954 w 578488"/>
                <a:gd name="connsiteY761" fmla="*/ 424611 h 470547"/>
                <a:gd name="connsiteX762" fmla="*/ 33315 w 578488"/>
                <a:gd name="connsiteY762" fmla="*/ 422399 h 470547"/>
                <a:gd name="connsiteX763" fmla="*/ 35740 w 578488"/>
                <a:gd name="connsiteY763" fmla="*/ 421036 h 470547"/>
                <a:gd name="connsiteX764" fmla="*/ 35487 w 578488"/>
                <a:gd name="connsiteY764" fmla="*/ 420581 h 470547"/>
                <a:gd name="connsiteX765" fmla="*/ 32714 w 578488"/>
                <a:gd name="connsiteY765" fmla="*/ 421449 h 470547"/>
                <a:gd name="connsiteX766" fmla="*/ 30062 w 578488"/>
                <a:gd name="connsiteY766" fmla="*/ 422921 h 470547"/>
                <a:gd name="connsiteX767" fmla="*/ 26940 w 578488"/>
                <a:gd name="connsiteY767" fmla="*/ 425385 h 470547"/>
                <a:gd name="connsiteX768" fmla="*/ 23133 w 578488"/>
                <a:gd name="connsiteY768" fmla="*/ 427381 h 470547"/>
                <a:gd name="connsiteX769" fmla="*/ 20319 w 578488"/>
                <a:gd name="connsiteY769" fmla="*/ 428155 h 470547"/>
                <a:gd name="connsiteX770" fmla="*/ 18978 w 578488"/>
                <a:gd name="connsiteY770" fmla="*/ 428795 h 470547"/>
                <a:gd name="connsiteX771" fmla="*/ 16916 w 578488"/>
                <a:gd name="connsiteY771" fmla="*/ 429417 h 470547"/>
                <a:gd name="connsiteX772" fmla="*/ 14783 w 578488"/>
                <a:gd name="connsiteY772" fmla="*/ 432273 h 470547"/>
                <a:gd name="connsiteX773" fmla="*/ 12455 w 578488"/>
                <a:gd name="connsiteY773" fmla="*/ 433495 h 470547"/>
                <a:gd name="connsiteX774" fmla="*/ 8274 w 578488"/>
                <a:gd name="connsiteY774" fmla="*/ 433619 h 470547"/>
                <a:gd name="connsiteX775" fmla="*/ 7355 w 578488"/>
                <a:gd name="connsiteY775" fmla="*/ 431533 h 470547"/>
                <a:gd name="connsiteX776" fmla="*/ 8535 w 578488"/>
                <a:gd name="connsiteY776" fmla="*/ 424101 h 470547"/>
                <a:gd name="connsiteX777" fmla="*/ 9799 w 578488"/>
                <a:gd name="connsiteY777" fmla="*/ 420472 h 470547"/>
                <a:gd name="connsiteX778" fmla="*/ 11185 w 578488"/>
                <a:gd name="connsiteY778" fmla="*/ 417901 h 470547"/>
                <a:gd name="connsiteX779" fmla="*/ 13366 w 578488"/>
                <a:gd name="connsiteY779" fmla="*/ 417468 h 470547"/>
                <a:gd name="connsiteX780" fmla="*/ 14891 w 578488"/>
                <a:gd name="connsiteY780" fmla="*/ 415582 h 470547"/>
                <a:gd name="connsiteX781" fmla="*/ 16156 w 578488"/>
                <a:gd name="connsiteY781" fmla="*/ 415582 h 470547"/>
                <a:gd name="connsiteX782" fmla="*/ 17257 w 578488"/>
                <a:gd name="connsiteY782" fmla="*/ 416453 h 470547"/>
                <a:gd name="connsiteX783" fmla="*/ 21518 w 578488"/>
                <a:gd name="connsiteY783" fmla="*/ 417297 h 470547"/>
                <a:gd name="connsiteX784" fmla="*/ 23621 w 578488"/>
                <a:gd name="connsiteY784" fmla="*/ 414895 h 470547"/>
                <a:gd name="connsiteX785" fmla="*/ 26357 w 578488"/>
                <a:gd name="connsiteY785" fmla="*/ 414543 h 470547"/>
                <a:gd name="connsiteX786" fmla="*/ 31345 w 578488"/>
                <a:gd name="connsiteY786" fmla="*/ 412116 h 470547"/>
                <a:gd name="connsiteX787" fmla="*/ 31241 w 578488"/>
                <a:gd name="connsiteY787" fmla="*/ 411674 h 470547"/>
                <a:gd name="connsiteX788" fmla="*/ 27866 w 578488"/>
                <a:gd name="connsiteY788" fmla="*/ 412208 h 470547"/>
                <a:gd name="connsiteX789" fmla="*/ 25819 w 578488"/>
                <a:gd name="connsiteY789" fmla="*/ 412287 h 470547"/>
                <a:gd name="connsiteX790" fmla="*/ 22885 w 578488"/>
                <a:gd name="connsiteY790" fmla="*/ 412896 h 470547"/>
                <a:gd name="connsiteX791" fmla="*/ 21326 w 578488"/>
                <a:gd name="connsiteY791" fmla="*/ 412461 h 470547"/>
                <a:gd name="connsiteX792" fmla="*/ 20596 w 578488"/>
                <a:gd name="connsiteY792" fmla="*/ 410642 h 470547"/>
                <a:gd name="connsiteX793" fmla="*/ 21770 w 578488"/>
                <a:gd name="connsiteY793" fmla="*/ 409002 h 470547"/>
                <a:gd name="connsiteX794" fmla="*/ 26478 w 578488"/>
                <a:gd name="connsiteY794" fmla="*/ 405081 h 470547"/>
                <a:gd name="connsiteX795" fmla="*/ 28102 w 578488"/>
                <a:gd name="connsiteY795" fmla="*/ 403361 h 470547"/>
                <a:gd name="connsiteX796" fmla="*/ 29028 w 578488"/>
                <a:gd name="connsiteY796" fmla="*/ 401753 h 470547"/>
                <a:gd name="connsiteX797" fmla="*/ 28881 w 578488"/>
                <a:gd name="connsiteY797" fmla="*/ 400658 h 470547"/>
                <a:gd name="connsiteX798" fmla="*/ 29663 w 578488"/>
                <a:gd name="connsiteY798" fmla="*/ 398392 h 470547"/>
                <a:gd name="connsiteX799" fmla="*/ 34267 w 578488"/>
                <a:gd name="connsiteY799" fmla="*/ 394426 h 470547"/>
                <a:gd name="connsiteX800" fmla="*/ 38011 w 578488"/>
                <a:gd name="connsiteY800" fmla="*/ 392611 h 470547"/>
                <a:gd name="connsiteX801" fmla="*/ 39240 w 578488"/>
                <a:gd name="connsiteY801" fmla="*/ 394173 h 470547"/>
                <a:gd name="connsiteX802" fmla="*/ 38195 w 578488"/>
                <a:gd name="connsiteY802" fmla="*/ 399051 h 470547"/>
                <a:gd name="connsiteX803" fmla="*/ 38205 w 578488"/>
                <a:gd name="connsiteY803" fmla="*/ 401062 h 470547"/>
                <a:gd name="connsiteX804" fmla="*/ 41170 w 578488"/>
                <a:gd name="connsiteY804" fmla="*/ 393952 h 470547"/>
                <a:gd name="connsiteX805" fmla="*/ 42475 w 578488"/>
                <a:gd name="connsiteY805" fmla="*/ 392258 h 470547"/>
                <a:gd name="connsiteX806" fmla="*/ 43960 w 578488"/>
                <a:gd name="connsiteY806" fmla="*/ 391063 h 470547"/>
                <a:gd name="connsiteX807" fmla="*/ 47556 w 578488"/>
                <a:gd name="connsiteY807" fmla="*/ 390260 h 470547"/>
                <a:gd name="connsiteX808" fmla="*/ 48573 w 578488"/>
                <a:gd name="connsiteY808" fmla="*/ 389136 h 470547"/>
                <a:gd name="connsiteX809" fmla="*/ 44386 w 578488"/>
                <a:gd name="connsiteY809" fmla="*/ 389508 h 470547"/>
                <a:gd name="connsiteX810" fmla="*/ 34228 w 578488"/>
                <a:gd name="connsiteY810" fmla="*/ 392228 h 470547"/>
                <a:gd name="connsiteX811" fmla="*/ 29946 w 578488"/>
                <a:gd name="connsiteY811" fmla="*/ 394649 h 470547"/>
                <a:gd name="connsiteX812" fmla="*/ 28806 w 578488"/>
                <a:gd name="connsiteY812" fmla="*/ 396513 h 470547"/>
                <a:gd name="connsiteX813" fmla="*/ 25834 w 578488"/>
                <a:gd name="connsiteY813" fmla="*/ 399318 h 470547"/>
                <a:gd name="connsiteX814" fmla="*/ 24441 w 578488"/>
                <a:gd name="connsiteY814" fmla="*/ 401138 h 470547"/>
                <a:gd name="connsiteX815" fmla="*/ 23826 w 578488"/>
                <a:gd name="connsiteY815" fmla="*/ 403807 h 470547"/>
                <a:gd name="connsiteX816" fmla="*/ 22152 w 578488"/>
                <a:gd name="connsiteY816" fmla="*/ 405256 h 470547"/>
                <a:gd name="connsiteX817" fmla="*/ 19896 w 578488"/>
                <a:gd name="connsiteY817" fmla="*/ 405791 h 470547"/>
                <a:gd name="connsiteX818" fmla="*/ 16761 w 578488"/>
                <a:gd name="connsiteY818" fmla="*/ 409168 h 470547"/>
                <a:gd name="connsiteX819" fmla="*/ 15379 w 578488"/>
                <a:gd name="connsiteY819" fmla="*/ 411878 h 470547"/>
                <a:gd name="connsiteX820" fmla="*/ 12259 w 578488"/>
                <a:gd name="connsiteY820" fmla="*/ 414035 h 470547"/>
                <a:gd name="connsiteX821" fmla="*/ 10278 w 578488"/>
                <a:gd name="connsiteY821" fmla="*/ 415692 h 470547"/>
                <a:gd name="connsiteX822" fmla="*/ 9628 w 578488"/>
                <a:gd name="connsiteY822" fmla="*/ 416283 h 470547"/>
                <a:gd name="connsiteX823" fmla="*/ 8557 w 578488"/>
                <a:gd name="connsiteY823" fmla="*/ 417911 h 470547"/>
                <a:gd name="connsiteX824" fmla="*/ 7667 w 578488"/>
                <a:gd name="connsiteY824" fmla="*/ 418025 h 470547"/>
                <a:gd name="connsiteX825" fmla="*/ 6892 w 578488"/>
                <a:gd name="connsiteY825" fmla="*/ 417071 h 470547"/>
                <a:gd name="connsiteX826" fmla="*/ 6763 w 578488"/>
                <a:gd name="connsiteY826" fmla="*/ 414970 h 470547"/>
                <a:gd name="connsiteX827" fmla="*/ 7080 w 578488"/>
                <a:gd name="connsiteY827" fmla="*/ 411611 h 470547"/>
                <a:gd name="connsiteX828" fmla="*/ 8581 w 578488"/>
                <a:gd name="connsiteY828" fmla="*/ 409191 h 470547"/>
                <a:gd name="connsiteX829" fmla="*/ 9298 w 578488"/>
                <a:gd name="connsiteY829" fmla="*/ 406824 h 470547"/>
                <a:gd name="connsiteX830" fmla="*/ 8300 w 578488"/>
                <a:gd name="connsiteY830" fmla="*/ 404611 h 470547"/>
                <a:gd name="connsiteX831" fmla="*/ 8991 w 578488"/>
                <a:gd name="connsiteY831" fmla="*/ 403214 h 470547"/>
                <a:gd name="connsiteX832" fmla="*/ 10313 w 578488"/>
                <a:gd name="connsiteY832" fmla="*/ 403262 h 470547"/>
                <a:gd name="connsiteX833" fmla="*/ 12768 w 578488"/>
                <a:gd name="connsiteY833" fmla="*/ 403899 h 470547"/>
                <a:gd name="connsiteX834" fmla="*/ 15379 w 578488"/>
                <a:gd name="connsiteY834" fmla="*/ 403797 h 470547"/>
                <a:gd name="connsiteX835" fmla="*/ 19669 w 578488"/>
                <a:gd name="connsiteY835" fmla="*/ 402047 h 470547"/>
                <a:gd name="connsiteX836" fmla="*/ 18985 w 578488"/>
                <a:gd name="connsiteY836" fmla="*/ 401024 h 470547"/>
                <a:gd name="connsiteX837" fmla="*/ 17132 w 578488"/>
                <a:gd name="connsiteY837" fmla="*/ 400878 h 470547"/>
                <a:gd name="connsiteX838" fmla="*/ 13673 w 578488"/>
                <a:gd name="connsiteY838" fmla="*/ 401024 h 470547"/>
                <a:gd name="connsiteX839" fmla="*/ 10764 w 578488"/>
                <a:gd name="connsiteY839" fmla="*/ 399313 h 470547"/>
                <a:gd name="connsiteX840" fmla="*/ 8503 w 578488"/>
                <a:gd name="connsiteY840" fmla="*/ 395906 h 470547"/>
                <a:gd name="connsiteX841" fmla="*/ 7475 w 578488"/>
                <a:gd name="connsiteY841" fmla="*/ 391346 h 470547"/>
                <a:gd name="connsiteX842" fmla="*/ 8162 w 578488"/>
                <a:gd name="connsiteY842" fmla="*/ 390040 h 470547"/>
                <a:gd name="connsiteX843" fmla="*/ 16528 w 578488"/>
                <a:gd name="connsiteY843" fmla="*/ 385382 h 470547"/>
                <a:gd name="connsiteX844" fmla="*/ 18780 w 578488"/>
                <a:gd name="connsiteY844" fmla="*/ 383264 h 470547"/>
                <a:gd name="connsiteX845" fmla="*/ 17475 w 578488"/>
                <a:gd name="connsiteY845" fmla="*/ 383054 h 470547"/>
                <a:gd name="connsiteX846" fmla="*/ 14336 w 578488"/>
                <a:gd name="connsiteY846" fmla="*/ 385623 h 470547"/>
                <a:gd name="connsiteX847" fmla="*/ 9840 w 578488"/>
                <a:gd name="connsiteY847" fmla="*/ 387216 h 470547"/>
                <a:gd name="connsiteX848" fmla="*/ 7005 w 578488"/>
                <a:gd name="connsiteY848" fmla="*/ 385001 h 470547"/>
                <a:gd name="connsiteX849" fmla="*/ 5530 w 578488"/>
                <a:gd name="connsiteY849" fmla="*/ 382612 h 470547"/>
                <a:gd name="connsiteX850" fmla="*/ 4681 w 578488"/>
                <a:gd name="connsiteY850" fmla="*/ 377560 h 470547"/>
                <a:gd name="connsiteX851" fmla="*/ 4988 w 578488"/>
                <a:gd name="connsiteY851" fmla="*/ 374959 h 470547"/>
                <a:gd name="connsiteX852" fmla="*/ 4633 w 578488"/>
                <a:gd name="connsiteY852" fmla="*/ 371534 h 470547"/>
                <a:gd name="connsiteX853" fmla="*/ 6553 w 578488"/>
                <a:gd name="connsiteY853" fmla="*/ 370420 h 470547"/>
                <a:gd name="connsiteX854" fmla="*/ 8700 w 578488"/>
                <a:gd name="connsiteY854" fmla="*/ 371012 h 470547"/>
                <a:gd name="connsiteX855" fmla="*/ 10816 w 578488"/>
                <a:gd name="connsiteY855" fmla="*/ 371232 h 470547"/>
                <a:gd name="connsiteX856" fmla="*/ 15616 w 578488"/>
                <a:gd name="connsiteY856" fmla="*/ 370932 h 470547"/>
                <a:gd name="connsiteX857" fmla="*/ 26201 w 578488"/>
                <a:gd name="connsiteY857" fmla="*/ 368874 h 470547"/>
                <a:gd name="connsiteX858" fmla="*/ 33025 w 578488"/>
                <a:gd name="connsiteY858" fmla="*/ 370097 h 470547"/>
                <a:gd name="connsiteX859" fmla="*/ 35798 w 578488"/>
                <a:gd name="connsiteY859" fmla="*/ 369985 h 470547"/>
                <a:gd name="connsiteX860" fmla="*/ 40041 w 578488"/>
                <a:gd name="connsiteY860" fmla="*/ 368212 h 470547"/>
                <a:gd name="connsiteX861" fmla="*/ 43755 w 578488"/>
                <a:gd name="connsiteY861" fmla="*/ 368029 h 470547"/>
                <a:gd name="connsiteX862" fmla="*/ 46532 w 578488"/>
                <a:gd name="connsiteY862" fmla="*/ 369384 h 470547"/>
                <a:gd name="connsiteX863" fmla="*/ 48050 w 578488"/>
                <a:gd name="connsiteY863" fmla="*/ 370937 h 470547"/>
                <a:gd name="connsiteX864" fmla="*/ 48238 w 578488"/>
                <a:gd name="connsiteY864" fmla="*/ 373013 h 470547"/>
                <a:gd name="connsiteX865" fmla="*/ 49523 w 578488"/>
                <a:gd name="connsiteY865" fmla="*/ 374396 h 470547"/>
                <a:gd name="connsiteX866" fmla="*/ 50391 w 578488"/>
                <a:gd name="connsiteY866" fmla="*/ 373947 h 470547"/>
                <a:gd name="connsiteX867" fmla="*/ 49700 w 578488"/>
                <a:gd name="connsiteY867" fmla="*/ 372303 h 470547"/>
                <a:gd name="connsiteX868" fmla="*/ 49555 w 578488"/>
                <a:gd name="connsiteY868" fmla="*/ 369753 h 470547"/>
                <a:gd name="connsiteX869" fmla="*/ 60719 w 578488"/>
                <a:gd name="connsiteY869" fmla="*/ 366861 h 470547"/>
                <a:gd name="connsiteX870" fmla="*/ 62035 w 578488"/>
                <a:gd name="connsiteY870" fmla="*/ 365736 h 470547"/>
                <a:gd name="connsiteX871" fmla="*/ 57599 w 578488"/>
                <a:gd name="connsiteY871" fmla="*/ 365345 h 470547"/>
                <a:gd name="connsiteX872" fmla="*/ 56331 w 578488"/>
                <a:gd name="connsiteY872" fmla="*/ 362701 h 470547"/>
                <a:gd name="connsiteX873" fmla="*/ 58674 w 578488"/>
                <a:gd name="connsiteY873" fmla="*/ 358695 h 470547"/>
                <a:gd name="connsiteX874" fmla="*/ 58454 w 578488"/>
                <a:gd name="connsiteY874" fmla="*/ 358175 h 470547"/>
                <a:gd name="connsiteX875" fmla="*/ 55990 w 578488"/>
                <a:gd name="connsiteY875" fmla="*/ 360290 h 470547"/>
                <a:gd name="connsiteX876" fmla="*/ 54777 w 578488"/>
                <a:gd name="connsiteY876" fmla="*/ 363263 h 470547"/>
                <a:gd name="connsiteX877" fmla="*/ 55258 w 578488"/>
                <a:gd name="connsiteY877" fmla="*/ 365633 h 470547"/>
                <a:gd name="connsiteX878" fmla="*/ 54770 w 578488"/>
                <a:gd name="connsiteY878" fmla="*/ 366733 h 470547"/>
                <a:gd name="connsiteX879" fmla="*/ 52505 w 578488"/>
                <a:gd name="connsiteY879" fmla="*/ 367237 h 470547"/>
                <a:gd name="connsiteX880" fmla="*/ 47398 w 578488"/>
                <a:gd name="connsiteY880" fmla="*/ 367420 h 470547"/>
                <a:gd name="connsiteX881" fmla="*/ 44120 w 578488"/>
                <a:gd name="connsiteY881" fmla="*/ 366415 h 470547"/>
                <a:gd name="connsiteX882" fmla="*/ 41084 w 578488"/>
                <a:gd name="connsiteY882" fmla="*/ 365869 h 470547"/>
                <a:gd name="connsiteX883" fmla="*/ 40050 w 578488"/>
                <a:gd name="connsiteY883" fmla="*/ 365111 h 470547"/>
                <a:gd name="connsiteX884" fmla="*/ 40395 w 578488"/>
                <a:gd name="connsiteY884" fmla="*/ 363419 h 470547"/>
                <a:gd name="connsiteX885" fmla="*/ 39821 w 578488"/>
                <a:gd name="connsiteY885" fmla="*/ 363070 h 470547"/>
                <a:gd name="connsiteX886" fmla="*/ 38564 w 578488"/>
                <a:gd name="connsiteY886" fmla="*/ 364591 h 470547"/>
                <a:gd name="connsiteX887" fmla="*/ 37448 w 578488"/>
                <a:gd name="connsiteY887" fmla="*/ 367620 h 470547"/>
                <a:gd name="connsiteX888" fmla="*/ 35035 w 578488"/>
                <a:gd name="connsiteY888" fmla="*/ 368317 h 470547"/>
                <a:gd name="connsiteX889" fmla="*/ 28380 w 578488"/>
                <a:gd name="connsiteY889" fmla="*/ 367193 h 470547"/>
                <a:gd name="connsiteX890" fmla="*/ 18745 w 578488"/>
                <a:gd name="connsiteY890" fmla="*/ 367855 h 470547"/>
                <a:gd name="connsiteX891" fmla="*/ 14422 w 578488"/>
                <a:gd name="connsiteY891" fmla="*/ 369378 h 470547"/>
                <a:gd name="connsiteX892" fmla="*/ 11621 w 578488"/>
                <a:gd name="connsiteY892" fmla="*/ 369179 h 470547"/>
                <a:gd name="connsiteX893" fmla="*/ 6804 w 578488"/>
                <a:gd name="connsiteY893" fmla="*/ 366511 h 470547"/>
                <a:gd name="connsiteX894" fmla="*/ 4923 w 578488"/>
                <a:gd name="connsiteY894" fmla="*/ 364387 h 470547"/>
                <a:gd name="connsiteX895" fmla="*/ 4221 w 578488"/>
                <a:gd name="connsiteY895" fmla="*/ 360099 h 470547"/>
                <a:gd name="connsiteX896" fmla="*/ 4504 w 578488"/>
                <a:gd name="connsiteY896" fmla="*/ 358210 h 470547"/>
                <a:gd name="connsiteX897" fmla="*/ 8257 w 578488"/>
                <a:gd name="connsiteY897" fmla="*/ 357414 h 470547"/>
                <a:gd name="connsiteX898" fmla="*/ 10155 w 578488"/>
                <a:gd name="connsiteY898" fmla="*/ 357470 h 470547"/>
                <a:gd name="connsiteX899" fmla="*/ 11932 w 578488"/>
                <a:gd name="connsiteY899" fmla="*/ 356454 h 470547"/>
                <a:gd name="connsiteX900" fmla="*/ 10360 w 578488"/>
                <a:gd name="connsiteY900" fmla="*/ 355794 h 470547"/>
                <a:gd name="connsiteX901" fmla="*/ 8149 w 578488"/>
                <a:gd name="connsiteY901" fmla="*/ 354496 h 470547"/>
                <a:gd name="connsiteX902" fmla="*/ 6642 w 578488"/>
                <a:gd name="connsiteY902" fmla="*/ 351893 h 470547"/>
                <a:gd name="connsiteX903" fmla="*/ 4370 w 578488"/>
                <a:gd name="connsiteY903" fmla="*/ 351044 h 470547"/>
                <a:gd name="connsiteX904" fmla="*/ 2848 w 578488"/>
                <a:gd name="connsiteY904" fmla="*/ 348822 h 470547"/>
                <a:gd name="connsiteX905" fmla="*/ 2461 w 578488"/>
                <a:gd name="connsiteY905" fmla="*/ 345461 h 470547"/>
                <a:gd name="connsiteX906" fmla="*/ 2897 w 578488"/>
                <a:gd name="connsiteY906" fmla="*/ 343122 h 470547"/>
                <a:gd name="connsiteX907" fmla="*/ 4113 w 578488"/>
                <a:gd name="connsiteY907" fmla="*/ 342369 h 470547"/>
                <a:gd name="connsiteX908" fmla="*/ 7031 w 578488"/>
                <a:gd name="connsiteY908" fmla="*/ 342881 h 470547"/>
                <a:gd name="connsiteX909" fmla="*/ 14733 w 578488"/>
                <a:gd name="connsiteY909" fmla="*/ 342488 h 470547"/>
                <a:gd name="connsiteX910" fmla="*/ 21984 w 578488"/>
                <a:gd name="connsiteY910" fmla="*/ 344865 h 470547"/>
                <a:gd name="connsiteX911" fmla="*/ 26905 w 578488"/>
                <a:gd name="connsiteY911" fmla="*/ 346212 h 470547"/>
                <a:gd name="connsiteX912" fmla="*/ 36875 w 578488"/>
                <a:gd name="connsiteY912" fmla="*/ 345535 h 470547"/>
                <a:gd name="connsiteX913" fmla="*/ 42714 w 578488"/>
                <a:gd name="connsiteY913" fmla="*/ 343413 h 470547"/>
                <a:gd name="connsiteX914" fmla="*/ 41643 w 578488"/>
                <a:gd name="connsiteY914" fmla="*/ 342826 h 470547"/>
                <a:gd name="connsiteX915" fmla="*/ 35310 w 578488"/>
                <a:gd name="connsiteY915" fmla="*/ 344053 h 470547"/>
                <a:gd name="connsiteX916" fmla="*/ 29456 w 578488"/>
                <a:gd name="connsiteY916" fmla="*/ 344003 h 470547"/>
                <a:gd name="connsiteX917" fmla="*/ 19136 w 578488"/>
                <a:gd name="connsiteY917" fmla="*/ 341603 h 470547"/>
                <a:gd name="connsiteX918" fmla="*/ 14904 w 578488"/>
                <a:gd name="connsiteY918" fmla="*/ 340829 h 470547"/>
                <a:gd name="connsiteX919" fmla="*/ 10345 w 578488"/>
                <a:gd name="connsiteY919" fmla="*/ 341171 h 470547"/>
                <a:gd name="connsiteX920" fmla="*/ 7972 w 578488"/>
                <a:gd name="connsiteY920" fmla="*/ 340442 h 470547"/>
                <a:gd name="connsiteX921" fmla="*/ 6577 w 578488"/>
                <a:gd name="connsiteY921" fmla="*/ 338065 h 470547"/>
                <a:gd name="connsiteX922" fmla="*/ 7609 w 578488"/>
                <a:gd name="connsiteY922" fmla="*/ 333512 h 470547"/>
                <a:gd name="connsiteX923" fmla="*/ 9771 w 578488"/>
                <a:gd name="connsiteY923" fmla="*/ 332528 h 470547"/>
                <a:gd name="connsiteX924" fmla="*/ 10941 w 578488"/>
                <a:gd name="connsiteY924" fmla="*/ 333717 h 470547"/>
                <a:gd name="connsiteX925" fmla="*/ 12353 w 578488"/>
                <a:gd name="connsiteY925" fmla="*/ 333792 h 470547"/>
                <a:gd name="connsiteX926" fmla="*/ 13783 w 578488"/>
                <a:gd name="connsiteY926" fmla="*/ 331887 h 470547"/>
                <a:gd name="connsiteX927" fmla="*/ 15152 w 578488"/>
                <a:gd name="connsiteY927" fmla="*/ 330801 h 470547"/>
                <a:gd name="connsiteX928" fmla="*/ 16236 w 578488"/>
                <a:gd name="connsiteY928" fmla="*/ 328341 h 470547"/>
                <a:gd name="connsiteX929" fmla="*/ 20324 w 578488"/>
                <a:gd name="connsiteY929" fmla="*/ 326007 h 470547"/>
                <a:gd name="connsiteX930" fmla="*/ 22051 w 578488"/>
                <a:gd name="connsiteY930" fmla="*/ 325809 h 470547"/>
                <a:gd name="connsiteX931" fmla="*/ 24528 w 578488"/>
                <a:gd name="connsiteY931" fmla="*/ 324733 h 470547"/>
                <a:gd name="connsiteX932" fmla="*/ 26109 w 578488"/>
                <a:gd name="connsiteY932" fmla="*/ 325038 h 470547"/>
                <a:gd name="connsiteX933" fmla="*/ 27122 w 578488"/>
                <a:gd name="connsiteY933" fmla="*/ 326118 h 470547"/>
                <a:gd name="connsiteX934" fmla="*/ 28402 w 578488"/>
                <a:gd name="connsiteY934" fmla="*/ 327012 h 470547"/>
                <a:gd name="connsiteX935" fmla="*/ 31177 w 578488"/>
                <a:gd name="connsiteY935" fmla="*/ 326903 h 470547"/>
                <a:gd name="connsiteX936" fmla="*/ 39382 w 578488"/>
                <a:gd name="connsiteY936" fmla="*/ 325033 h 470547"/>
                <a:gd name="connsiteX937" fmla="*/ 40266 w 578488"/>
                <a:gd name="connsiteY937" fmla="*/ 324483 h 470547"/>
                <a:gd name="connsiteX938" fmla="*/ 41866 w 578488"/>
                <a:gd name="connsiteY938" fmla="*/ 322944 h 470547"/>
                <a:gd name="connsiteX939" fmla="*/ 36664 w 578488"/>
                <a:gd name="connsiteY939" fmla="*/ 323630 h 470547"/>
                <a:gd name="connsiteX940" fmla="*/ 32343 w 578488"/>
                <a:gd name="connsiteY940" fmla="*/ 324723 h 470547"/>
                <a:gd name="connsiteX941" fmla="*/ 29566 w 578488"/>
                <a:gd name="connsiteY941" fmla="*/ 325026 h 470547"/>
                <a:gd name="connsiteX942" fmla="*/ 29175 w 578488"/>
                <a:gd name="connsiteY942" fmla="*/ 323662 h 470547"/>
                <a:gd name="connsiteX943" fmla="*/ 30199 w 578488"/>
                <a:gd name="connsiteY943" fmla="*/ 322450 h 470547"/>
                <a:gd name="connsiteX944" fmla="*/ 31807 w 578488"/>
                <a:gd name="connsiteY944" fmla="*/ 321160 h 470547"/>
                <a:gd name="connsiteX945" fmla="*/ 32589 w 578488"/>
                <a:gd name="connsiteY945" fmla="*/ 318959 h 470547"/>
                <a:gd name="connsiteX946" fmla="*/ 34359 w 578488"/>
                <a:gd name="connsiteY946" fmla="*/ 318019 h 470547"/>
                <a:gd name="connsiteX947" fmla="*/ 36273 w 578488"/>
                <a:gd name="connsiteY947" fmla="*/ 318069 h 470547"/>
                <a:gd name="connsiteX948" fmla="*/ 40229 w 578488"/>
                <a:gd name="connsiteY948" fmla="*/ 317669 h 470547"/>
                <a:gd name="connsiteX949" fmla="*/ 43021 w 578488"/>
                <a:gd name="connsiteY949" fmla="*/ 317096 h 470547"/>
                <a:gd name="connsiteX950" fmla="*/ 47808 w 578488"/>
                <a:gd name="connsiteY950" fmla="*/ 317480 h 470547"/>
                <a:gd name="connsiteX951" fmla="*/ 54943 w 578488"/>
                <a:gd name="connsiteY951" fmla="*/ 318323 h 470547"/>
                <a:gd name="connsiteX952" fmla="*/ 59542 w 578488"/>
                <a:gd name="connsiteY952" fmla="*/ 320372 h 470547"/>
                <a:gd name="connsiteX953" fmla="*/ 61274 w 578488"/>
                <a:gd name="connsiteY953" fmla="*/ 320187 h 470547"/>
                <a:gd name="connsiteX954" fmla="*/ 63110 w 578488"/>
                <a:gd name="connsiteY954" fmla="*/ 319642 h 470547"/>
                <a:gd name="connsiteX955" fmla="*/ 63941 w 578488"/>
                <a:gd name="connsiteY955" fmla="*/ 318899 h 470547"/>
                <a:gd name="connsiteX956" fmla="*/ 60331 w 578488"/>
                <a:gd name="connsiteY956" fmla="*/ 318048 h 470547"/>
                <a:gd name="connsiteX957" fmla="*/ 60125 w 578488"/>
                <a:gd name="connsiteY957" fmla="*/ 316834 h 470547"/>
                <a:gd name="connsiteX958" fmla="*/ 60573 w 578488"/>
                <a:gd name="connsiteY958" fmla="*/ 315918 h 470547"/>
                <a:gd name="connsiteX959" fmla="*/ 66461 w 578488"/>
                <a:gd name="connsiteY959" fmla="*/ 314229 h 470547"/>
                <a:gd name="connsiteX960" fmla="*/ 72892 w 578488"/>
                <a:gd name="connsiteY960" fmla="*/ 313855 h 470547"/>
                <a:gd name="connsiteX961" fmla="*/ 71786 w 578488"/>
                <a:gd name="connsiteY961" fmla="*/ 312494 h 470547"/>
                <a:gd name="connsiteX962" fmla="*/ 57698 w 578488"/>
                <a:gd name="connsiteY962" fmla="*/ 314548 h 470547"/>
                <a:gd name="connsiteX963" fmla="*/ 54021 w 578488"/>
                <a:gd name="connsiteY963" fmla="*/ 313146 h 470547"/>
                <a:gd name="connsiteX964" fmla="*/ 51119 w 578488"/>
                <a:gd name="connsiteY964" fmla="*/ 313158 h 470547"/>
                <a:gd name="connsiteX965" fmla="*/ 49218 w 578488"/>
                <a:gd name="connsiteY965" fmla="*/ 313959 h 470547"/>
                <a:gd name="connsiteX966" fmla="*/ 43803 w 578488"/>
                <a:gd name="connsiteY966" fmla="*/ 314929 h 470547"/>
                <a:gd name="connsiteX967" fmla="*/ 42807 w 578488"/>
                <a:gd name="connsiteY967" fmla="*/ 314239 h 470547"/>
                <a:gd name="connsiteX968" fmla="*/ 43837 w 578488"/>
                <a:gd name="connsiteY968" fmla="*/ 311857 h 470547"/>
                <a:gd name="connsiteX969" fmla="*/ 47081 w 578488"/>
                <a:gd name="connsiteY969" fmla="*/ 307944 h 470547"/>
                <a:gd name="connsiteX970" fmla="*/ 47351 w 578488"/>
                <a:gd name="connsiteY970" fmla="*/ 306984 h 470547"/>
                <a:gd name="connsiteX971" fmla="*/ 48856 w 578488"/>
                <a:gd name="connsiteY971" fmla="*/ 306041 h 470547"/>
                <a:gd name="connsiteX972" fmla="*/ 57271 w 578488"/>
                <a:gd name="connsiteY972" fmla="*/ 303765 h 470547"/>
                <a:gd name="connsiteX973" fmla="*/ 61313 w 578488"/>
                <a:gd name="connsiteY973" fmla="*/ 301118 h 470547"/>
                <a:gd name="connsiteX974" fmla="*/ 63136 w 578488"/>
                <a:gd name="connsiteY974" fmla="*/ 300782 h 470547"/>
                <a:gd name="connsiteX975" fmla="*/ 64943 w 578488"/>
                <a:gd name="connsiteY975" fmla="*/ 300967 h 470547"/>
                <a:gd name="connsiteX976" fmla="*/ 67692 w 578488"/>
                <a:gd name="connsiteY976" fmla="*/ 300657 h 470547"/>
                <a:gd name="connsiteX977" fmla="*/ 73004 w 578488"/>
                <a:gd name="connsiteY977" fmla="*/ 301415 h 470547"/>
                <a:gd name="connsiteX978" fmla="*/ 75448 w 578488"/>
                <a:gd name="connsiteY978" fmla="*/ 304729 h 470547"/>
                <a:gd name="connsiteX979" fmla="*/ 77647 w 578488"/>
                <a:gd name="connsiteY979" fmla="*/ 305769 h 470547"/>
                <a:gd name="connsiteX980" fmla="*/ 84559 w 578488"/>
                <a:gd name="connsiteY980" fmla="*/ 309900 h 470547"/>
                <a:gd name="connsiteX981" fmla="*/ 84250 w 578488"/>
                <a:gd name="connsiteY981" fmla="*/ 308712 h 470547"/>
                <a:gd name="connsiteX982" fmla="*/ 78267 w 578488"/>
                <a:gd name="connsiteY982" fmla="*/ 303109 h 470547"/>
                <a:gd name="connsiteX983" fmla="*/ 75980 w 578488"/>
                <a:gd name="connsiteY983" fmla="*/ 301720 h 470547"/>
                <a:gd name="connsiteX984" fmla="*/ 74274 w 578488"/>
                <a:gd name="connsiteY984" fmla="*/ 298962 h 470547"/>
                <a:gd name="connsiteX985" fmla="*/ 74859 w 578488"/>
                <a:gd name="connsiteY985" fmla="*/ 296352 h 470547"/>
                <a:gd name="connsiteX986" fmla="*/ 76783 w 578488"/>
                <a:gd name="connsiteY986" fmla="*/ 294608 h 470547"/>
                <a:gd name="connsiteX987" fmla="*/ 83609 w 578488"/>
                <a:gd name="connsiteY987" fmla="*/ 293673 h 470547"/>
                <a:gd name="connsiteX988" fmla="*/ 84833 w 578488"/>
                <a:gd name="connsiteY988" fmla="*/ 292663 h 470547"/>
                <a:gd name="connsiteX989" fmla="*/ 84954 w 578488"/>
                <a:gd name="connsiteY989" fmla="*/ 290926 h 470547"/>
                <a:gd name="connsiteX990" fmla="*/ 83909 w 578488"/>
                <a:gd name="connsiteY990" fmla="*/ 289737 h 470547"/>
                <a:gd name="connsiteX991" fmla="*/ 81398 w 578488"/>
                <a:gd name="connsiteY991" fmla="*/ 289806 h 470547"/>
                <a:gd name="connsiteX992" fmla="*/ 79327 w 578488"/>
                <a:gd name="connsiteY992" fmla="*/ 289069 h 470547"/>
                <a:gd name="connsiteX993" fmla="*/ 78757 w 578488"/>
                <a:gd name="connsiteY993" fmla="*/ 287194 h 470547"/>
                <a:gd name="connsiteX994" fmla="*/ 79584 w 578488"/>
                <a:gd name="connsiteY994" fmla="*/ 285926 h 470547"/>
                <a:gd name="connsiteX995" fmla="*/ 83520 w 578488"/>
                <a:gd name="connsiteY995" fmla="*/ 283612 h 470547"/>
                <a:gd name="connsiteX996" fmla="*/ 85675 w 578488"/>
                <a:gd name="connsiteY996" fmla="*/ 282860 h 470547"/>
                <a:gd name="connsiteX997" fmla="*/ 89407 w 578488"/>
                <a:gd name="connsiteY997" fmla="*/ 282044 h 470547"/>
                <a:gd name="connsiteX998" fmla="*/ 95896 w 578488"/>
                <a:gd name="connsiteY998" fmla="*/ 283876 h 470547"/>
                <a:gd name="connsiteX999" fmla="*/ 96388 w 578488"/>
                <a:gd name="connsiteY999" fmla="*/ 284835 h 470547"/>
                <a:gd name="connsiteX1000" fmla="*/ 94570 w 578488"/>
                <a:gd name="connsiteY1000" fmla="*/ 287141 h 470547"/>
                <a:gd name="connsiteX1001" fmla="*/ 94753 w 578488"/>
                <a:gd name="connsiteY1001" fmla="*/ 288434 h 470547"/>
                <a:gd name="connsiteX1002" fmla="*/ 96343 w 578488"/>
                <a:gd name="connsiteY1002" fmla="*/ 288577 h 470547"/>
                <a:gd name="connsiteX1003" fmla="*/ 100048 w 578488"/>
                <a:gd name="connsiteY1003" fmla="*/ 284691 h 470547"/>
                <a:gd name="connsiteX1004" fmla="*/ 104406 w 578488"/>
                <a:gd name="connsiteY1004" fmla="*/ 284154 h 470547"/>
                <a:gd name="connsiteX1005" fmla="*/ 106209 w 578488"/>
                <a:gd name="connsiteY1005" fmla="*/ 283318 h 470547"/>
                <a:gd name="connsiteX1006" fmla="*/ 108301 w 578488"/>
                <a:gd name="connsiteY1006" fmla="*/ 282792 h 470547"/>
                <a:gd name="connsiteX1007" fmla="*/ 111294 w 578488"/>
                <a:gd name="connsiteY1007" fmla="*/ 286309 h 470547"/>
                <a:gd name="connsiteX1008" fmla="*/ 112605 w 578488"/>
                <a:gd name="connsiteY1008" fmla="*/ 287433 h 470547"/>
                <a:gd name="connsiteX1009" fmla="*/ 113590 w 578488"/>
                <a:gd name="connsiteY1009" fmla="*/ 287894 h 470547"/>
                <a:gd name="connsiteX1010" fmla="*/ 114544 w 578488"/>
                <a:gd name="connsiteY1010" fmla="*/ 290815 h 470547"/>
                <a:gd name="connsiteX1011" fmla="*/ 115468 w 578488"/>
                <a:gd name="connsiteY1011" fmla="*/ 290971 h 470547"/>
                <a:gd name="connsiteX1012" fmla="*/ 116785 w 578488"/>
                <a:gd name="connsiteY1012" fmla="*/ 289507 h 470547"/>
                <a:gd name="connsiteX1013" fmla="*/ 119174 w 578488"/>
                <a:gd name="connsiteY1013" fmla="*/ 288736 h 470547"/>
                <a:gd name="connsiteX1014" fmla="*/ 122523 w 578488"/>
                <a:gd name="connsiteY1014" fmla="*/ 288227 h 470547"/>
                <a:gd name="connsiteX1015" fmla="*/ 128070 w 578488"/>
                <a:gd name="connsiteY1015" fmla="*/ 289000 h 470547"/>
                <a:gd name="connsiteX1016" fmla="*/ 130582 w 578488"/>
                <a:gd name="connsiteY1016" fmla="*/ 288429 h 470547"/>
                <a:gd name="connsiteX1017" fmla="*/ 131813 w 578488"/>
                <a:gd name="connsiteY1017" fmla="*/ 288509 h 470547"/>
                <a:gd name="connsiteX1018" fmla="*/ 130632 w 578488"/>
                <a:gd name="connsiteY1018" fmla="*/ 285883 h 470547"/>
                <a:gd name="connsiteX1019" fmla="*/ 129899 w 578488"/>
                <a:gd name="connsiteY1019" fmla="*/ 285124 h 470547"/>
                <a:gd name="connsiteX1020" fmla="*/ 131042 w 578488"/>
                <a:gd name="connsiteY1020" fmla="*/ 282777 h 470547"/>
                <a:gd name="connsiteX1021" fmla="*/ 132234 w 578488"/>
                <a:gd name="connsiteY1021" fmla="*/ 281859 h 470547"/>
                <a:gd name="connsiteX1022" fmla="*/ 136067 w 578488"/>
                <a:gd name="connsiteY1022" fmla="*/ 280209 h 470547"/>
                <a:gd name="connsiteX1023" fmla="*/ 139722 w 578488"/>
                <a:gd name="connsiteY1023" fmla="*/ 279472 h 470547"/>
                <a:gd name="connsiteX1024" fmla="*/ 142109 w 578488"/>
                <a:gd name="connsiteY1024" fmla="*/ 277904 h 470547"/>
                <a:gd name="connsiteX1025" fmla="*/ 145313 w 578488"/>
                <a:gd name="connsiteY1025" fmla="*/ 276462 h 470547"/>
                <a:gd name="connsiteX1026" fmla="*/ 144810 w 578488"/>
                <a:gd name="connsiteY1026" fmla="*/ 275306 h 470547"/>
                <a:gd name="connsiteX1027" fmla="*/ 143918 w 578488"/>
                <a:gd name="connsiteY1027" fmla="*/ 273967 h 470547"/>
                <a:gd name="connsiteX1028" fmla="*/ 141845 w 578488"/>
                <a:gd name="connsiteY1028" fmla="*/ 273882 h 470547"/>
                <a:gd name="connsiteX1029" fmla="*/ 140999 w 578488"/>
                <a:gd name="connsiteY1029" fmla="*/ 273151 h 470547"/>
                <a:gd name="connsiteX1030" fmla="*/ 143631 w 578488"/>
                <a:gd name="connsiteY1030" fmla="*/ 271414 h 470547"/>
                <a:gd name="connsiteX1031" fmla="*/ 147235 w 578488"/>
                <a:gd name="connsiteY1031" fmla="*/ 269481 h 470547"/>
                <a:gd name="connsiteX1032" fmla="*/ 146607 w 578488"/>
                <a:gd name="connsiteY1032" fmla="*/ 268721 h 470547"/>
                <a:gd name="connsiteX1033" fmla="*/ 143897 w 578488"/>
                <a:gd name="connsiteY1033" fmla="*/ 267861 h 470547"/>
                <a:gd name="connsiteX1034" fmla="*/ 141839 w 578488"/>
                <a:gd name="connsiteY1034" fmla="*/ 268509 h 470547"/>
                <a:gd name="connsiteX1035" fmla="*/ 138779 w 578488"/>
                <a:gd name="connsiteY1035" fmla="*/ 270005 h 470547"/>
                <a:gd name="connsiteX1036" fmla="*/ 135220 w 578488"/>
                <a:gd name="connsiteY1036" fmla="*/ 272369 h 470547"/>
                <a:gd name="connsiteX1037" fmla="*/ 136380 w 578488"/>
                <a:gd name="connsiteY1037" fmla="*/ 273057 h 470547"/>
                <a:gd name="connsiteX1038" fmla="*/ 138161 w 578488"/>
                <a:gd name="connsiteY1038" fmla="*/ 275041 h 470547"/>
                <a:gd name="connsiteX1039" fmla="*/ 135676 w 578488"/>
                <a:gd name="connsiteY1039" fmla="*/ 277679 h 470547"/>
                <a:gd name="connsiteX1040" fmla="*/ 122504 w 578488"/>
                <a:gd name="connsiteY1040" fmla="*/ 284668 h 470547"/>
                <a:gd name="connsiteX1041" fmla="*/ 116222 w 578488"/>
                <a:gd name="connsiteY1041" fmla="*/ 286710 h 470547"/>
                <a:gd name="connsiteX1042" fmla="*/ 113324 w 578488"/>
                <a:gd name="connsiteY1042" fmla="*/ 286392 h 470547"/>
                <a:gd name="connsiteX1043" fmla="*/ 112633 w 578488"/>
                <a:gd name="connsiteY1043" fmla="*/ 284486 h 470547"/>
                <a:gd name="connsiteX1044" fmla="*/ 111296 w 578488"/>
                <a:gd name="connsiteY1044" fmla="*/ 283074 h 470547"/>
                <a:gd name="connsiteX1045" fmla="*/ 109863 w 578488"/>
                <a:gd name="connsiteY1045" fmla="*/ 280162 h 470547"/>
                <a:gd name="connsiteX1046" fmla="*/ 107425 w 578488"/>
                <a:gd name="connsiteY1046" fmla="*/ 280240 h 470547"/>
                <a:gd name="connsiteX1047" fmla="*/ 106040 w 578488"/>
                <a:gd name="connsiteY1047" fmla="*/ 280884 h 470547"/>
                <a:gd name="connsiteX1048" fmla="*/ 105436 w 578488"/>
                <a:gd name="connsiteY1048" fmla="*/ 279929 h 470547"/>
                <a:gd name="connsiteX1049" fmla="*/ 106485 w 578488"/>
                <a:gd name="connsiteY1049" fmla="*/ 276814 h 470547"/>
                <a:gd name="connsiteX1050" fmla="*/ 108548 w 578488"/>
                <a:gd name="connsiteY1050" fmla="*/ 274348 h 470547"/>
                <a:gd name="connsiteX1051" fmla="*/ 112007 w 578488"/>
                <a:gd name="connsiteY1051" fmla="*/ 272484 h 470547"/>
                <a:gd name="connsiteX1052" fmla="*/ 113665 w 578488"/>
                <a:gd name="connsiteY1052" fmla="*/ 270230 h 470547"/>
                <a:gd name="connsiteX1053" fmla="*/ 115224 w 578488"/>
                <a:gd name="connsiteY1053" fmla="*/ 266650 h 470547"/>
                <a:gd name="connsiteX1054" fmla="*/ 120228 w 578488"/>
                <a:gd name="connsiteY1054" fmla="*/ 263237 h 470547"/>
                <a:gd name="connsiteX1055" fmla="*/ 127511 w 578488"/>
                <a:gd name="connsiteY1055" fmla="*/ 254770 h 470547"/>
                <a:gd name="connsiteX1056" fmla="*/ 133445 w 578488"/>
                <a:gd name="connsiteY1056" fmla="*/ 252061 h 470547"/>
                <a:gd name="connsiteX1057" fmla="*/ 135620 w 578488"/>
                <a:gd name="connsiteY1057" fmla="*/ 249095 h 470547"/>
                <a:gd name="connsiteX1058" fmla="*/ 139116 w 578488"/>
                <a:gd name="connsiteY1058" fmla="*/ 247783 h 470547"/>
                <a:gd name="connsiteX1059" fmla="*/ 142100 w 578488"/>
                <a:gd name="connsiteY1059" fmla="*/ 245465 h 470547"/>
                <a:gd name="connsiteX1060" fmla="*/ 144443 w 578488"/>
                <a:gd name="connsiteY1060" fmla="*/ 245235 h 470547"/>
                <a:gd name="connsiteX1061" fmla="*/ 148699 w 578488"/>
                <a:gd name="connsiteY1061" fmla="*/ 243146 h 470547"/>
                <a:gd name="connsiteX1062" fmla="*/ 151111 w 578488"/>
                <a:gd name="connsiteY1062" fmla="*/ 240658 h 470547"/>
                <a:gd name="connsiteX1063" fmla="*/ 149537 w 578488"/>
                <a:gd name="connsiteY1063" fmla="*/ 240503 h 470547"/>
                <a:gd name="connsiteX1064" fmla="*/ 145795 w 578488"/>
                <a:gd name="connsiteY1064" fmla="*/ 242123 h 470547"/>
                <a:gd name="connsiteX1065" fmla="*/ 143678 w 578488"/>
                <a:gd name="connsiteY1065" fmla="*/ 242774 h 470547"/>
                <a:gd name="connsiteX1066" fmla="*/ 143828 w 578488"/>
                <a:gd name="connsiteY1066" fmla="*/ 240104 h 470547"/>
                <a:gd name="connsiteX1067" fmla="*/ 144853 w 578488"/>
                <a:gd name="connsiteY1067" fmla="*/ 237363 h 470547"/>
                <a:gd name="connsiteX1068" fmla="*/ 147937 w 578488"/>
                <a:gd name="connsiteY1068" fmla="*/ 234854 h 470547"/>
                <a:gd name="connsiteX1069" fmla="*/ 162759 w 578488"/>
                <a:gd name="connsiteY1069" fmla="*/ 227548 h 470547"/>
                <a:gd name="connsiteX1070" fmla="*/ 164238 w 578488"/>
                <a:gd name="connsiteY1070" fmla="*/ 228758 h 470547"/>
                <a:gd name="connsiteX1071" fmla="*/ 166006 w 578488"/>
                <a:gd name="connsiteY1071" fmla="*/ 230895 h 470547"/>
                <a:gd name="connsiteX1072" fmla="*/ 170470 w 578488"/>
                <a:gd name="connsiteY1072" fmla="*/ 230412 h 470547"/>
                <a:gd name="connsiteX1073" fmla="*/ 175556 w 578488"/>
                <a:gd name="connsiteY1073" fmla="*/ 226271 h 470547"/>
                <a:gd name="connsiteX1074" fmla="*/ 179473 w 578488"/>
                <a:gd name="connsiteY1074" fmla="*/ 221764 h 470547"/>
                <a:gd name="connsiteX1075" fmla="*/ 177356 w 578488"/>
                <a:gd name="connsiteY1075" fmla="*/ 222551 h 470547"/>
                <a:gd name="connsiteX1076" fmla="*/ 175046 w 578488"/>
                <a:gd name="connsiteY1076" fmla="*/ 224397 h 470547"/>
                <a:gd name="connsiteX1077" fmla="*/ 170543 w 578488"/>
                <a:gd name="connsiteY1077" fmla="*/ 226959 h 470547"/>
                <a:gd name="connsiteX1078" fmla="*/ 168462 w 578488"/>
                <a:gd name="connsiteY1078" fmla="*/ 227364 h 470547"/>
                <a:gd name="connsiteX1079" fmla="*/ 167274 w 578488"/>
                <a:gd name="connsiteY1079" fmla="*/ 227031 h 470547"/>
                <a:gd name="connsiteX1080" fmla="*/ 166613 w 578488"/>
                <a:gd name="connsiteY1080" fmla="*/ 225322 h 470547"/>
                <a:gd name="connsiteX1081" fmla="*/ 165052 w 578488"/>
                <a:gd name="connsiteY1081" fmla="*/ 224767 h 470547"/>
                <a:gd name="connsiteX1082" fmla="*/ 163642 w 578488"/>
                <a:gd name="connsiteY1082" fmla="*/ 225151 h 470547"/>
                <a:gd name="connsiteX1083" fmla="*/ 162189 w 578488"/>
                <a:gd name="connsiteY1083" fmla="*/ 223935 h 470547"/>
                <a:gd name="connsiteX1084" fmla="*/ 161930 w 578488"/>
                <a:gd name="connsiteY1084" fmla="*/ 220930 h 470547"/>
                <a:gd name="connsiteX1085" fmla="*/ 163789 w 578488"/>
                <a:gd name="connsiteY1085" fmla="*/ 216446 h 470547"/>
                <a:gd name="connsiteX1086" fmla="*/ 165262 w 578488"/>
                <a:gd name="connsiteY1086" fmla="*/ 213475 h 470547"/>
                <a:gd name="connsiteX1087" fmla="*/ 166853 w 578488"/>
                <a:gd name="connsiteY1087" fmla="*/ 211224 h 470547"/>
                <a:gd name="connsiteX1088" fmla="*/ 173109 w 578488"/>
                <a:gd name="connsiteY1088" fmla="*/ 204821 h 470547"/>
                <a:gd name="connsiteX1089" fmla="*/ 174461 w 578488"/>
                <a:gd name="connsiteY1089" fmla="*/ 201318 h 470547"/>
                <a:gd name="connsiteX1090" fmla="*/ 177290 w 578488"/>
                <a:gd name="connsiteY1090" fmla="*/ 199467 h 470547"/>
                <a:gd name="connsiteX1091" fmla="*/ 180964 w 578488"/>
                <a:gd name="connsiteY1091" fmla="*/ 199879 h 470547"/>
                <a:gd name="connsiteX1092" fmla="*/ 182073 w 578488"/>
                <a:gd name="connsiteY1092" fmla="*/ 199344 h 470547"/>
                <a:gd name="connsiteX1093" fmla="*/ 180811 w 578488"/>
                <a:gd name="connsiteY1093" fmla="*/ 197042 h 470547"/>
                <a:gd name="connsiteX1094" fmla="*/ 176806 w 578488"/>
                <a:gd name="connsiteY1094" fmla="*/ 195215 h 470547"/>
                <a:gd name="connsiteX1095" fmla="*/ 176560 w 578488"/>
                <a:gd name="connsiteY1095" fmla="*/ 194067 h 470547"/>
                <a:gd name="connsiteX1096" fmla="*/ 189900 w 578488"/>
                <a:gd name="connsiteY1096" fmla="*/ 191049 h 470547"/>
                <a:gd name="connsiteX1097" fmla="*/ 196253 w 578488"/>
                <a:gd name="connsiteY1097" fmla="*/ 191151 h 470547"/>
                <a:gd name="connsiteX1098" fmla="*/ 198138 w 578488"/>
                <a:gd name="connsiteY1098" fmla="*/ 189643 h 470547"/>
                <a:gd name="connsiteX1099" fmla="*/ 201591 w 578488"/>
                <a:gd name="connsiteY1099" fmla="*/ 188677 h 470547"/>
                <a:gd name="connsiteX1100" fmla="*/ 204208 w 578488"/>
                <a:gd name="connsiteY1100" fmla="*/ 186831 h 470547"/>
                <a:gd name="connsiteX1101" fmla="*/ 202859 w 578488"/>
                <a:gd name="connsiteY1101" fmla="*/ 186016 h 470547"/>
                <a:gd name="connsiteX1102" fmla="*/ 196407 w 578488"/>
                <a:gd name="connsiteY1102" fmla="*/ 187713 h 470547"/>
                <a:gd name="connsiteX1103" fmla="*/ 192373 w 578488"/>
                <a:gd name="connsiteY1103" fmla="*/ 188510 h 470547"/>
                <a:gd name="connsiteX1104" fmla="*/ 190548 w 578488"/>
                <a:gd name="connsiteY1104" fmla="*/ 188485 h 470547"/>
                <a:gd name="connsiteX1105" fmla="*/ 189125 w 578488"/>
                <a:gd name="connsiteY1105" fmla="*/ 189068 h 470547"/>
                <a:gd name="connsiteX1106" fmla="*/ 183969 w 578488"/>
                <a:gd name="connsiteY1106" fmla="*/ 189290 h 470547"/>
                <a:gd name="connsiteX1107" fmla="*/ 182848 w 578488"/>
                <a:gd name="connsiteY1107" fmla="*/ 181925 h 470547"/>
                <a:gd name="connsiteX1108" fmla="*/ 183655 w 578488"/>
                <a:gd name="connsiteY1108" fmla="*/ 177918 h 470547"/>
                <a:gd name="connsiteX1109" fmla="*/ 185577 w 578488"/>
                <a:gd name="connsiteY1109" fmla="*/ 178001 h 470547"/>
                <a:gd name="connsiteX1110" fmla="*/ 186015 w 578488"/>
                <a:gd name="connsiteY1110" fmla="*/ 174168 h 470547"/>
                <a:gd name="connsiteX1111" fmla="*/ 188235 w 578488"/>
                <a:gd name="connsiteY1111" fmla="*/ 171907 h 470547"/>
                <a:gd name="connsiteX1112" fmla="*/ 191300 w 578488"/>
                <a:gd name="connsiteY1112" fmla="*/ 171401 h 470547"/>
                <a:gd name="connsiteX1113" fmla="*/ 192844 w 578488"/>
                <a:gd name="connsiteY1113" fmla="*/ 170432 h 470547"/>
                <a:gd name="connsiteX1114" fmla="*/ 195074 w 578488"/>
                <a:gd name="connsiteY1114" fmla="*/ 168460 h 470547"/>
                <a:gd name="connsiteX1115" fmla="*/ 198765 w 578488"/>
                <a:gd name="connsiteY1115" fmla="*/ 168918 h 470547"/>
                <a:gd name="connsiteX1116" fmla="*/ 202556 w 578488"/>
                <a:gd name="connsiteY1116" fmla="*/ 168478 h 470547"/>
                <a:gd name="connsiteX1117" fmla="*/ 201617 w 578488"/>
                <a:gd name="connsiteY1117" fmla="*/ 167548 h 470547"/>
                <a:gd name="connsiteX1118" fmla="*/ 196910 w 578488"/>
                <a:gd name="connsiteY1118" fmla="*/ 166349 h 470547"/>
                <a:gd name="connsiteX1119" fmla="*/ 195748 w 578488"/>
                <a:gd name="connsiteY1119" fmla="*/ 164288 h 470547"/>
                <a:gd name="connsiteX1120" fmla="*/ 197408 w 578488"/>
                <a:gd name="connsiteY1120" fmla="*/ 163137 h 470547"/>
                <a:gd name="connsiteX1121" fmla="*/ 199216 w 578488"/>
                <a:gd name="connsiteY1121" fmla="*/ 162289 h 470547"/>
                <a:gd name="connsiteX1122" fmla="*/ 200803 w 578488"/>
                <a:gd name="connsiteY1122" fmla="*/ 162137 h 470547"/>
                <a:gd name="connsiteX1123" fmla="*/ 203947 w 578488"/>
                <a:gd name="connsiteY1123" fmla="*/ 158104 h 470547"/>
                <a:gd name="connsiteX1124" fmla="*/ 205858 w 578488"/>
                <a:gd name="connsiteY1124" fmla="*/ 156381 h 470547"/>
                <a:gd name="connsiteX1125" fmla="*/ 207998 w 578488"/>
                <a:gd name="connsiteY1125" fmla="*/ 156680 h 470547"/>
                <a:gd name="connsiteX1126" fmla="*/ 210978 w 578488"/>
                <a:gd name="connsiteY1126" fmla="*/ 154898 h 470547"/>
                <a:gd name="connsiteX1127" fmla="*/ 213904 w 578488"/>
                <a:gd name="connsiteY1127" fmla="*/ 155506 h 470547"/>
                <a:gd name="connsiteX1128" fmla="*/ 216735 w 578488"/>
                <a:gd name="connsiteY1128" fmla="*/ 154339 h 470547"/>
                <a:gd name="connsiteX1129" fmla="*/ 220602 w 578488"/>
                <a:gd name="connsiteY1129" fmla="*/ 153569 h 470547"/>
                <a:gd name="connsiteX1130" fmla="*/ 234757 w 578488"/>
                <a:gd name="connsiteY1130" fmla="*/ 153271 h 470547"/>
                <a:gd name="connsiteX1131" fmla="*/ 235178 w 578488"/>
                <a:gd name="connsiteY1131" fmla="*/ 151616 h 470547"/>
                <a:gd name="connsiteX1132" fmla="*/ 232201 w 578488"/>
                <a:gd name="connsiteY1132" fmla="*/ 151232 h 470547"/>
                <a:gd name="connsiteX1133" fmla="*/ 221682 w 578488"/>
                <a:gd name="connsiteY1133" fmla="*/ 150806 h 470547"/>
                <a:gd name="connsiteX1134" fmla="*/ 216312 w 578488"/>
                <a:gd name="connsiteY1134" fmla="*/ 150839 h 470547"/>
                <a:gd name="connsiteX1135" fmla="*/ 214051 w 578488"/>
                <a:gd name="connsiteY1135" fmla="*/ 151268 h 470547"/>
                <a:gd name="connsiteX1136" fmla="*/ 213220 w 578488"/>
                <a:gd name="connsiteY1136" fmla="*/ 150691 h 470547"/>
                <a:gd name="connsiteX1137" fmla="*/ 213366 w 578488"/>
                <a:gd name="connsiteY1137" fmla="*/ 149699 h 470547"/>
                <a:gd name="connsiteX1138" fmla="*/ 215318 w 578488"/>
                <a:gd name="connsiteY1138" fmla="*/ 148129 h 470547"/>
                <a:gd name="connsiteX1139" fmla="*/ 216245 w 578488"/>
                <a:gd name="connsiteY1139" fmla="*/ 146392 h 470547"/>
                <a:gd name="connsiteX1140" fmla="*/ 220147 w 578488"/>
                <a:gd name="connsiteY1140" fmla="*/ 142146 h 470547"/>
                <a:gd name="connsiteX1141" fmla="*/ 224722 w 578488"/>
                <a:gd name="connsiteY1141" fmla="*/ 139313 h 470547"/>
                <a:gd name="connsiteX1142" fmla="*/ 228229 w 578488"/>
                <a:gd name="connsiteY1142" fmla="*/ 140038 h 470547"/>
                <a:gd name="connsiteX1143" fmla="*/ 231959 w 578488"/>
                <a:gd name="connsiteY1143" fmla="*/ 142743 h 470547"/>
                <a:gd name="connsiteX1144" fmla="*/ 234617 w 578488"/>
                <a:gd name="connsiteY1144" fmla="*/ 143081 h 470547"/>
                <a:gd name="connsiteX1145" fmla="*/ 235854 w 578488"/>
                <a:gd name="connsiteY1145" fmla="*/ 143954 h 470547"/>
                <a:gd name="connsiteX1146" fmla="*/ 237791 w 578488"/>
                <a:gd name="connsiteY1146" fmla="*/ 147678 h 470547"/>
                <a:gd name="connsiteX1147" fmla="*/ 238709 w 578488"/>
                <a:gd name="connsiteY1147" fmla="*/ 147799 h 470547"/>
                <a:gd name="connsiteX1148" fmla="*/ 238294 w 578488"/>
                <a:gd name="connsiteY1148" fmla="*/ 144220 h 470547"/>
                <a:gd name="connsiteX1149" fmla="*/ 240855 w 578488"/>
                <a:gd name="connsiteY1149" fmla="*/ 141304 h 470547"/>
                <a:gd name="connsiteX1150" fmla="*/ 240188 w 578488"/>
                <a:gd name="connsiteY1150" fmla="*/ 140497 h 470547"/>
                <a:gd name="connsiteX1151" fmla="*/ 236340 w 578488"/>
                <a:gd name="connsiteY1151" fmla="*/ 141552 h 470547"/>
                <a:gd name="connsiteX1152" fmla="*/ 233392 w 578488"/>
                <a:gd name="connsiteY1152" fmla="*/ 140455 h 470547"/>
                <a:gd name="connsiteX1153" fmla="*/ 231065 w 578488"/>
                <a:gd name="connsiteY1153" fmla="*/ 138262 h 470547"/>
                <a:gd name="connsiteX1154" fmla="*/ 230399 w 578488"/>
                <a:gd name="connsiteY1154" fmla="*/ 136255 h 470547"/>
                <a:gd name="connsiteX1155" fmla="*/ 231846 w 578488"/>
                <a:gd name="connsiteY1155" fmla="*/ 134270 h 470547"/>
                <a:gd name="connsiteX1156" fmla="*/ 233211 w 578488"/>
                <a:gd name="connsiteY1156" fmla="*/ 133270 h 470547"/>
                <a:gd name="connsiteX1157" fmla="*/ 232285 w 578488"/>
                <a:gd name="connsiteY1157" fmla="*/ 132104 h 470547"/>
                <a:gd name="connsiteX1158" fmla="*/ 226467 w 578488"/>
                <a:gd name="connsiteY1158" fmla="*/ 135229 h 470547"/>
                <a:gd name="connsiteX1159" fmla="*/ 222352 w 578488"/>
                <a:gd name="connsiteY1159" fmla="*/ 135955 h 470547"/>
                <a:gd name="connsiteX1160" fmla="*/ 220730 w 578488"/>
                <a:gd name="connsiteY1160" fmla="*/ 135518 h 470547"/>
                <a:gd name="connsiteX1161" fmla="*/ 221609 w 578488"/>
                <a:gd name="connsiteY1161" fmla="*/ 132687 h 470547"/>
                <a:gd name="connsiteX1162" fmla="*/ 221119 w 578488"/>
                <a:gd name="connsiteY1162" fmla="*/ 130438 h 470547"/>
                <a:gd name="connsiteX1163" fmla="*/ 226636 w 578488"/>
                <a:gd name="connsiteY1163" fmla="*/ 124888 h 470547"/>
                <a:gd name="connsiteX1164" fmla="*/ 228534 w 578488"/>
                <a:gd name="connsiteY1164" fmla="*/ 124245 h 470547"/>
                <a:gd name="connsiteX1165" fmla="*/ 231632 w 578488"/>
                <a:gd name="connsiteY1165" fmla="*/ 124691 h 470547"/>
                <a:gd name="connsiteX1166" fmla="*/ 234429 w 578488"/>
                <a:gd name="connsiteY1166" fmla="*/ 126259 h 470547"/>
                <a:gd name="connsiteX1167" fmla="*/ 236768 w 578488"/>
                <a:gd name="connsiteY1167" fmla="*/ 126009 h 470547"/>
                <a:gd name="connsiteX1168" fmla="*/ 239305 w 578488"/>
                <a:gd name="connsiteY1168" fmla="*/ 125172 h 470547"/>
                <a:gd name="connsiteX1169" fmla="*/ 238959 w 578488"/>
                <a:gd name="connsiteY1169" fmla="*/ 123668 h 470547"/>
                <a:gd name="connsiteX1170" fmla="*/ 233457 w 578488"/>
                <a:gd name="connsiteY1170" fmla="*/ 123071 h 470547"/>
                <a:gd name="connsiteX1171" fmla="*/ 232041 w 578488"/>
                <a:gd name="connsiteY1171" fmla="*/ 121822 h 470547"/>
                <a:gd name="connsiteX1172" fmla="*/ 232552 w 578488"/>
                <a:gd name="connsiteY1172" fmla="*/ 120595 h 470547"/>
                <a:gd name="connsiteX1173" fmla="*/ 236329 w 578488"/>
                <a:gd name="connsiteY1173" fmla="*/ 119298 h 470547"/>
                <a:gd name="connsiteX1174" fmla="*/ 240085 w 578488"/>
                <a:gd name="connsiteY1174" fmla="*/ 116955 h 470547"/>
                <a:gd name="connsiteX1175" fmla="*/ 244388 w 578488"/>
                <a:gd name="connsiteY1175" fmla="*/ 116276 h 470547"/>
                <a:gd name="connsiteX1176" fmla="*/ 247852 w 578488"/>
                <a:gd name="connsiteY1176" fmla="*/ 114501 h 470547"/>
                <a:gd name="connsiteX1177" fmla="*/ 248519 w 578488"/>
                <a:gd name="connsiteY1177" fmla="*/ 114904 h 470547"/>
                <a:gd name="connsiteX1178" fmla="*/ 249104 w 578488"/>
                <a:gd name="connsiteY1178" fmla="*/ 115600 h 470547"/>
                <a:gd name="connsiteX1179" fmla="*/ 250348 w 578488"/>
                <a:gd name="connsiteY1179" fmla="*/ 122169 h 470547"/>
                <a:gd name="connsiteX1180" fmla="*/ 253442 w 578488"/>
                <a:gd name="connsiteY1180" fmla="*/ 127512 h 470547"/>
                <a:gd name="connsiteX1181" fmla="*/ 254582 w 578488"/>
                <a:gd name="connsiteY1181" fmla="*/ 127706 h 470547"/>
                <a:gd name="connsiteX1182" fmla="*/ 253395 w 578488"/>
                <a:gd name="connsiteY1182" fmla="*/ 123162 h 470547"/>
                <a:gd name="connsiteX1183" fmla="*/ 254503 w 578488"/>
                <a:gd name="connsiteY1183" fmla="*/ 121854 h 470547"/>
                <a:gd name="connsiteX1184" fmla="*/ 255906 w 578488"/>
                <a:gd name="connsiteY1184" fmla="*/ 120859 h 470547"/>
                <a:gd name="connsiteX1185" fmla="*/ 256344 w 578488"/>
                <a:gd name="connsiteY1185" fmla="*/ 119726 h 470547"/>
                <a:gd name="connsiteX1186" fmla="*/ 254736 w 578488"/>
                <a:gd name="connsiteY1186" fmla="*/ 119339 h 470547"/>
                <a:gd name="connsiteX1187" fmla="*/ 253421 w 578488"/>
                <a:gd name="connsiteY1187" fmla="*/ 117711 h 470547"/>
                <a:gd name="connsiteX1188" fmla="*/ 251542 w 578488"/>
                <a:gd name="connsiteY1188" fmla="*/ 112496 h 470547"/>
                <a:gd name="connsiteX1189" fmla="*/ 252183 w 578488"/>
                <a:gd name="connsiteY1189" fmla="*/ 111139 h 470547"/>
                <a:gd name="connsiteX1190" fmla="*/ 256254 w 578488"/>
                <a:gd name="connsiteY1190" fmla="*/ 108355 h 470547"/>
                <a:gd name="connsiteX1191" fmla="*/ 261361 w 578488"/>
                <a:gd name="connsiteY1191" fmla="*/ 107713 h 470547"/>
                <a:gd name="connsiteX1192" fmla="*/ 266802 w 578488"/>
                <a:gd name="connsiteY1192" fmla="*/ 109666 h 470547"/>
                <a:gd name="connsiteX1193" fmla="*/ 268713 w 578488"/>
                <a:gd name="connsiteY1193" fmla="*/ 109688 h 470547"/>
                <a:gd name="connsiteX1194" fmla="*/ 271868 w 578488"/>
                <a:gd name="connsiteY1194" fmla="*/ 109164 h 470547"/>
                <a:gd name="connsiteX1195" fmla="*/ 277221 w 578488"/>
                <a:gd name="connsiteY1195" fmla="*/ 107558 h 470547"/>
                <a:gd name="connsiteX1196" fmla="*/ 280370 w 578488"/>
                <a:gd name="connsiteY1196" fmla="*/ 106947 h 470547"/>
                <a:gd name="connsiteX1197" fmla="*/ 282013 w 578488"/>
                <a:gd name="connsiteY1197" fmla="*/ 106949 h 470547"/>
                <a:gd name="connsiteX1198" fmla="*/ 282419 w 578488"/>
                <a:gd name="connsiteY1198" fmla="*/ 106137 h 470547"/>
                <a:gd name="connsiteX1199" fmla="*/ 280897 w 578488"/>
                <a:gd name="connsiteY1199" fmla="*/ 105615 h 470547"/>
                <a:gd name="connsiteX1200" fmla="*/ 280406 w 578488"/>
                <a:gd name="connsiteY1200" fmla="*/ 105107 h 470547"/>
                <a:gd name="connsiteX1201" fmla="*/ 279212 w 578488"/>
                <a:gd name="connsiteY1201" fmla="*/ 104815 h 470547"/>
                <a:gd name="connsiteX1202" fmla="*/ 274263 w 578488"/>
                <a:gd name="connsiteY1202" fmla="*/ 105684 h 470547"/>
                <a:gd name="connsiteX1203" fmla="*/ 260609 w 578488"/>
                <a:gd name="connsiteY1203" fmla="*/ 105409 h 470547"/>
                <a:gd name="connsiteX1204" fmla="*/ 259292 w 578488"/>
                <a:gd name="connsiteY1204" fmla="*/ 104480 h 470547"/>
                <a:gd name="connsiteX1205" fmla="*/ 259050 w 578488"/>
                <a:gd name="connsiteY1205" fmla="*/ 102872 h 470547"/>
                <a:gd name="connsiteX1206" fmla="*/ 260499 w 578488"/>
                <a:gd name="connsiteY1206" fmla="*/ 100564 h 470547"/>
                <a:gd name="connsiteX1207" fmla="*/ 262091 w 578488"/>
                <a:gd name="connsiteY1207" fmla="*/ 99291 h 470547"/>
                <a:gd name="connsiteX1208" fmla="*/ 267239 w 578488"/>
                <a:gd name="connsiteY1208" fmla="*/ 96997 h 470547"/>
                <a:gd name="connsiteX1209" fmla="*/ 272689 w 578488"/>
                <a:gd name="connsiteY1209" fmla="*/ 96687 h 470547"/>
                <a:gd name="connsiteX1210" fmla="*/ 278431 w 578488"/>
                <a:gd name="connsiteY1210" fmla="*/ 92605 h 470547"/>
                <a:gd name="connsiteX1211" fmla="*/ 280625 w 578488"/>
                <a:gd name="connsiteY1211" fmla="*/ 89538 h 470547"/>
                <a:gd name="connsiteX1212" fmla="*/ 281868 w 578488"/>
                <a:gd name="connsiteY1212" fmla="*/ 84803 h 470547"/>
                <a:gd name="connsiteX1213" fmla="*/ 285369 w 578488"/>
                <a:gd name="connsiteY1213" fmla="*/ 80966 h 470547"/>
                <a:gd name="connsiteX1214" fmla="*/ 294144 w 578488"/>
                <a:gd name="connsiteY1214" fmla="*/ 78781 h 470547"/>
                <a:gd name="connsiteX1215" fmla="*/ 294499 w 578488"/>
                <a:gd name="connsiteY1215" fmla="*/ 77813 h 470547"/>
                <a:gd name="connsiteX1216" fmla="*/ 293568 w 578488"/>
                <a:gd name="connsiteY1216" fmla="*/ 75813 h 470547"/>
                <a:gd name="connsiteX1217" fmla="*/ 293641 w 578488"/>
                <a:gd name="connsiteY1217" fmla="*/ 72204 h 470547"/>
                <a:gd name="connsiteX1218" fmla="*/ 296047 w 578488"/>
                <a:gd name="connsiteY1218" fmla="*/ 67992 h 470547"/>
                <a:gd name="connsiteX1219" fmla="*/ 297645 w 578488"/>
                <a:gd name="connsiteY1219" fmla="*/ 66526 h 470547"/>
                <a:gd name="connsiteX1220" fmla="*/ 298383 w 578488"/>
                <a:gd name="connsiteY1220" fmla="*/ 66350 h 470547"/>
                <a:gd name="connsiteX1221" fmla="*/ 300275 w 578488"/>
                <a:gd name="connsiteY1221" fmla="*/ 67729 h 470547"/>
                <a:gd name="connsiteX1222" fmla="*/ 302573 w 578488"/>
                <a:gd name="connsiteY1222" fmla="*/ 70659 h 470547"/>
                <a:gd name="connsiteX1223" fmla="*/ 306175 w 578488"/>
                <a:gd name="connsiteY1223" fmla="*/ 72335 h 470547"/>
                <a:gd name="connsiteX1224" fmla="*/ 310895 w 578488"/>
                <a:gd name="connsiteY1224" fmla="*/ 72624 h 470547"/>
                <a:gd name="connsiteX1225" fmla="*/ 312154 w 578488"/>
                <a:gd name="connsiteY1225" fmla="*/ 71800 h 470547"/>
                <a:gd name="connsiteX1226" fmla="*/ 308485 w 578488"/>
                <a:gd name="connsiteY1226" fmla="*/ 70129 h 470547"/>
                <a:gd name="connsiteX1227" fmla="*/ 305708 w 578488"/>
                <a:gd name="connsiteY1227" fmla="*/ 67943 h 470547"/>
                <a:gd name="connsiteX1228" fmla="*/ 305488 w 578488"/>
                <a:gd name="connsiteY1228" fmla="*/ 65745 h 470547"/>
                <a:gd name="connsiteX1229" fmla="*/ 306805 w 578488"/>
                <a:gd name="connsiteY1229" fmla="*/ 64579 h 470547"/>
                <a:gd name="connsiteX1230" fmla="*/ 308852 w 578488"/>
                <a:gd name="connsiteY1230" fmla="*/ 64709 h 470547"/>
                <a:gd name="connsiteX1231" fmla="*/ 311422 w 578488"/>
                <a:gd name="connsiteY1231" fmla="*/ 64462 h 470547"/>
                <a:gd name="connsiteX1232" fmla="*/ 313816 w 578488"/>
                <a:gd name="connsiteY1232" fmla="*/ 62982 h 470547"/>
                <a:gd name="connsiteX1233" fmla="*/ 314164 w 578488"/>
                <a:gd name="connsiteY1233" fmla="*/ 61941 h 470547"/>
                <a:gd name="connsiteX1234" fmla="*/ 314264 w 578488"/>
                <a:gd name="connsiteY1234" fmla="*/ 60527 h 470547"/>
                <a:gd name="connsiteX1235" fmla="*/ 314862 w 578488"/>
                <a:gd name="connsiteY1235" fmla="*/ 59088 h 470547"/>
                <a:gd name="connsiteX1236" fmla="*/ 318375 w 578488"/>
                <a:gd name="connsiteY1236" fmla="*/ 55651 h 470547"/>
                <a:gd name="connsiteX1237" fmla="*/ 329204 w 578488"/>
                <a:gd name="connsiteY1237" fmla="*/ 53412 h 470547"/>
                <a:gd name="connsiteX1238" fmla="*/ 329988 w 578488"/>
                <a:gd name="connsiteY1238" fmla="*/ 54321 h 470547"/>
                <a:gd name="connsiteX1239" fmla="*/ 329403 w 578488"/>
                <a:gd name="connsiteY1239" fmla="*/ 60951 h 470547"/>
                <a:gd name="connsiteX1240" fmla="*/ 328159 w 578488"/>
                <a:gd name="connsiteY1240" fmla="*/ 65227 h 470547"/>
                <a:gd name="connsiteX1241" fmla="*/ 328198 w 578488"/>
                <a:gd name="connsiteY1241" fmla="*/ 68347 h 470547"/>
                <a:gd name="connsiteX1242" fmla="*/ 330306 w 578488"/>
                <a:gd name="connsiteY1242" fmla="*/ 65227 h 470547"/>
                <a:gd name="connsiteX1243" fmla="*/ 333132 w 578488"/>
                <a:gd name="connsiteY1243" fmla="*/ 56663 h 470547"/>
                <a:gd name="connsiteX1244" fmla="*/ 335253 w 578488"/>
                <a:gd name="connsiteY1244" fmla="*/ 52629 h 470547"/>
                <a:gd name="connsiteX1245" fmla="*/ 337650 w 578488"/>
                <a:gd name="connsiteY1245" fmla="*/ 50309 h 470547"/>
                <a:gd name="connsiteX1246" fmla="*/ 339362 w 578488"/>
                <a:gd name="connsiteY1246" fmla="*/ 49785 h 470547"/>
                <a:gd name="connsiteX1247" fmla="*/ 341057 w 578488"/>
                <a:gd name="connsiteY1247" fmla="*/ 48583 h 470547"/>
                <a:gd name="connsiteX1248" fmla="*/ 343295 w 578488"/>
                <a:gd name="connsiteY1248" fmla="*/ 47867 h 470547"/>
                <a:gd name="connsiteX1249" fmla="*/ 343979 w 578488"/>
                <a:gd name="connsiteY1249" fmla="*/ 48791 h 470547"/>
                <a:gd name="connsiteX1250" fmla="*/ 344687 w 578488"/>
                <a:gd name="connsiteY1250" fmla="*/ 50933 h 470547"/>
                <a:gd name="connsiteX1251" fmla="*/ 343482 w 578488"/>
                <a:gd name="connsiteY1251" fmla="*/ 58438 h 470547"/>
                <a:gd name="connsiteX1252" fmla="*/ 343603 w 578488"/>
                <a:gd name="connsiteY1252" fmla="*/ 60805 h 470547"/>
                <a:gd name="connsiteX1253" fmla="*/ 342253 w 578488"/>
                <a:gd name="connsiteY1253" fmla="*/ 63973 h 470547"/>
                <a:gd name="connsiteX1254" fmla="*/ 337093 w 578488"/>
                <a:gd name="connsiteY1254" fmla="*/ 71017 h 470547"/>
                <a:gd name="connsiteX1255" fmla="*/ 337330 w 578488"/>
                <a:gd name="connsiteY1255" fmla="*/ 71914 h 470547"/>
                <a:gd name="connsiteX1256" fmla="*/ 338496 w 578488"/>
                <a:gd name="connsiteY1256" fmla="*/ 71581 h 470547"/>
                <a:gd name="connsiteX1257" fmla="*/ 340496 w 578488"/>
                <a:gd name="connsiteY1257" fmla="*/ 70420 h 470547"/>
                <a:gd name="connsiteX1258" fmla="*/ 346888 w 578488"/>
                <a:gd name="connsiteY1258" fmla="*/ 63728 h 470547"/>
                <a:gd name="connsiteX1259" fmla="*/ 352476 w 578488"/>
                <a:gd name="connsiteY1259" fmla="*/ 64573 h 470547"/>
                <a:gd name="connsiteX1260" fmla="*/ 352545 w 578488"/>
                <a:gd name="connsiteY1260" fmla="*/ 64024 h 470547"/>
                <a:gd name="connsiteX1261" fmla="*/ 350753 w 578488"/>
                <a:gd name="connsiteY1261" fmla="*/ 62058 h 470547"/>
                <a:gd name="connsiteX1262" fmla="*/ 348563 w 578488"/>
                <a:gd name="connsiteY1262" fmla="*/ 60171 h 470547"/>
                <a:gd name="connsiteX1263" fmla="*/ 347905 w 578488"/>
                <a:gd name="connsiteY1263" fmla="*/ 57833 h 470547"/>
                <a:gd name="connsiteX1264" fmla="*/ 348198 w 578488"/>
                <a:gd name="connsiteY1264" fmla="*/ 51586 h 470547"/>
                <a:gd name="connsiteX1265" fmla="*/ 349881 w 578488"/>
                <a:gd name="connsiteY1265" fmla="*/ 49107 h 470547"/>
                <a:gd name="connsiteX1266" fmla="*/ 354707 w 578488"/>
                <a:gd name="connsiteY1266" fmla="*/ 49367 h 470547"/>
                <a:gd name="connsiteX1267" fmla="*/ 357598 w 578488"/>
                <a:gd name="connsiteY1267" fmla="*/ 49024 h 470547"/>
                <a:gd name="connsiteX1268" fmla="*/ 358948 w 578488"/>
                <a:gd name="connsiteY1268" fmla="*/ 50151 h 470547"/>
                <a:gd name="connsiteX1269" fmla="*/ 361843 w 578488"/>
                <a:gd name="connsiteY1269" fmla="*/ 50070 h 470547"/>
                <a:gd name="connsiteX1270" fmla="*/ 363848 w 578488"/>
                <a:gd name="connsiteY1270" fmla="*/ 45579 h 470547"/>
                <a:gd name="connsiteX1271" fmla="*/ 367810 w 578488"/>
                <a:gd name="connsiteY1271" fmla="*/ 45185 h 470547"/>
                <a:gd name="connsiteX1272" fmla="*/ 371289 w 578488"/>
                <a:gd name="connsiteY1272" fmla="*/ 48155 h 470547"/>
                <a:gd name="connsiteX1273" fmla="*/ 375476 w 578488"/>
                <a:gd name="connsiteY1273" fmla="*/ 50151 h 470547"/>
                <a:gd name="connsiteX1274" fmla="*/ 378840 w 578488"/>
                <a:gd name="connsiteY1274" fmla="*/ 53019 h 470547"/>
                <a:gd name="connsiteX1275" fmla="*/ 379790 w 578488"/>
                <a:gd name="connsiteY1275" fmla="*/ 52236 h 470547"/>
                <a:gd name="connsiteX1276" fmla="*/ 377974 w 578488"/>
                <a:gd name="connsiteY1276" fmla="*/ 45538 h 470547"/>
                <a:gd name="connsiteX1277" fmla="*/ 375987 w 578488"/>
                <a:gd name="connsiteY1277" fmla="*/ 43092 h 470547"/>
                <a:gd name="connsiteX1278" fmla="*/ 371677 w 578488"/>
                <a:gd name="connsiteY1278" fmla="*/ 41819 h 470547"/>
                <a:gd name="connsiteX1279" fmla="*/ 367091 w 578488"/>
                <a:gd name="connsiteY1279" fmla="*/ 38795 h 470547"/>
                <a:gd name="connsiteX1280" fmla="*/ 365895 w 578488"/>
                <a:gd name="connsiteY1280" fmla="*/ 37453 h 470547"/>
                <a:gd name="connsiteX1281" fmla="*/ 366104 w 578488"/>
                <a:gd name="connsiteY1281" fmla="*/ 36454 h 470547"/>
                <a:gd name="connsiteX1282" fmla="*/ 370151 w 578488"/>
                <a:gd name="connsiteY1282" fmla="*/ 35490 h 470547"/>
                <a:gd name="connsiteX1283" fmla="*/ 375491 w 578488"/>
                <a:gd name="connsiteY1283" fmla="*/ 36594 h 470547"/>
                <a:gd name="connsiteX1284" fmla="*/ 380250 w 578488"/>
                <a:gd name="connsiteY1284" fmla="*/ 34070 h 470547"/>
                <a:gd name="connsiteX1285" fmla="*/ 381552 w 578488"/>
                <a:gd name="connsiteY1285" fmla="*/ 34762 h 470547"/>
                <a:gd name="connsiteX1286" fmla="*/ 385202 w 578488"/>
                <a:gd name="connsiteY1286" fmla="*/ 33441 h 470547"/>
                <a:gd name="connsiteX1287" fmla="*/ 387469 w 578488"/>
                <a:gd name="connsiteY1287" fmla="*/ 35218 h 470547"/>
                <a:gd name="connsiteX1288" fmla="*/ 388857 w 578488"/>
                <a:gd name="connsiteY1288" fmla="*/ 34692 h 470547"/>
                <a:gd name="connsiteX1289" fmla="*/ 389663 w 578488"/>
                <a:gd name="connsiteY1289" fmla="*/ 32309 h 470547"/>
                <a:gd name="connsiteX1290" fmla="*/ 395487 w 578488"/>
                <a:gd name="connsiteY1290" fmla="*/ 30829 h 470547"/>
                <a:gd name="connsiteX1291" fmla="*/ 399181 w 578488"/>
                <a:gd name="connsiteY1291" fmla="*/ 32195 h 470547"/>
                <a:gd name="connsiteX1292" fmla="*/ 401162 w 578488"/>
                <a:gd name="connsiteY1292" fmla="*/ 33608 h 470547"/>
                <a:gd name="connsiteX1293" fmla="*/ 402082 w 578488"/>
                <a:gd name="connsiteY1293" fmla="*/ 36320 h 470547"/>
                <a:gd name="connsiteX1294" fmla="*/ 403489 w 578488"/>
                <a:gd name="connsiteY1294" fmla="*/ 41674 h 470547"/>
                <a:gd name="connsiteX1295" fmla="*/ 406374 w 578488"/>
                <a:gd name="connsiteY1295" fmla="*/ 44557 h 470547"/>
                <a:gd name="connsiteX1296" fmla="*/ 408165 w 578488"/>
                <a:gd name="connsiteY1296" fmla="*/ 45971 h 470547"/>
                <a:gd name="connsiteX1297" fmla="*/ 410287 w 578488"/>
                <a:gd name="connsiteY1297" fmla="*/ 46362 h 470547"/>
                <a:gd name="connsiteX1298" fmla="*/ 411311 w 578488"/>
                <a:gd name="connsiteY1298" fmla="*/ 44924 h 470547"/>
                <a:gd name="connsiteX1299" fmla="*/ 409322 w 578488"/>
                <a:gd name="connsiteY1299" fmla="*/ 43190 h 470547"/>
                <a:gd name="connsiteX1300" fmla="*/ 408786 w 578488"/>
                <a:gd name="connsiteY1300" fmla="*/ 41556 h 470547"/>
                <a:gd name="connsiteX1301" fmla="*/ 409739 w 578488"/>
                <a:gd name="connsiteY1301" fmla="*/ 37494 h 470547"/>
                <a:gd name="connsiteX1302" fmla="*/ 410851 w 578488"/>
                <a:gd name="connsiteY1302" fmla="*/ 35896 h 470547"/>
                <a:gd name="connsiteX1303" fmla="*/ 417083 w 578488"/>
                <a:gd name="connsiteY1303" fmla="*/ 29833 h 470547"/>
                <a:gd name="connsiteX1304" fmla="*/ 422300 w 578488"/>
                <a:gd name="connsiteY1304" fmla="*/ 26680 h 470547"/>
                <a:gd name="connsiteX1305" fmla="*/ 425424 w 578488"/>
                <a:gd name="connsiteY1305" fmla="*/ 26417 h 470547"/>
                <a:gd name="connsiteX1306" fmla="*/ 430888 w 578488"/>
                <a:gd name="connsiteY1306" fmla="*/ 19331 h 470547"/>
                <a:gd name="connsiteX1307" fmla="*/ 432436 w 578488"/>
                <a:gd name="connsiteY1307" fmla="*/ 18040 h 470547"/>
                <a:gd name="connsiteX1308" fmla="*/ 433861 w 578488"/>
                <a:gd name="connsiteY1308" fmla="*/ 17743 h 470547"/>
                <a:gd name="connsiteX1309" fmla="*/ 433496 w 578488"/>
                <a:gd name="connsiteY1309" fmla="*/ 16004 h 470547"/>
                <a:gd name="connsiteX1310" fmla="*/ 430503 w 578488"/>
                <a:gd name="connsiteY1310" fmla="*/ 14903 h 470547"/>
                <a:gd name="connsiteX1311" fmla="*/ 430400 w 578488"/>
                <a:gd name="connsiteY1311" fmla="*/ 12748 h 470547"/>
                <a:gd name="connsiteX1312" fmla="*/ 434343 w 578488"/>
                <a:gd name="connsiteY1312" fmla="*/ 10121 h 470547"/>
                <a:gd name="connsiteX1313" fmla="*/ 439124 w 578488"/>
                <a:gd name="connsiteY1313" fmla="*/ 5706 h 470547"/>
                <a:gd name="connsiteX1314" fmla="*/ 441484 w 578488"/>
                <a:gd name="connsiteY1314" fmla="*/ 5406 h 470547"/>
                <a:gd name="connsiteX1315" fmla="*/ 442963 w 578488"/>
                <a:gd name="connsiteY1315" fmla="*/ 6634 h 470547"/>
                <a:gd name="connsiteX1316" fmla="*/ 447619 w 578488"/>
                <a:gd name="connsiteY1316" fmla="*/ 8627 h 470547"/>
                <a:gd name="connsiteX1317" fmla="*/ 450471 w 578488"/>
                <a:gd name="connsiteY1317" fmla="*/ 10908 h 470547"/>
                <a:gd name="connsiteX1318" fmla="*/ 452538 w 578488"/>
                <a:gd name="connsiteY1318" fmla="*/ 12056 h 470547"/>
                <a:gd name="connsiteX1319" fmla="*/ 453881 w 578488"/>
                <a:gd name="connsiteY1319" fmla="*/ 11818 h 470547"/>
                <a:gd name="connsiteX1320" fmla="*/ 454991 w 578488"/>
                <a:gd name="connsiteY1320" fmla="*/ 10105 h 470547"/>
                <a:gd name="connsiteX1321" fmla="*/ 456325 w 578488"/>
                <a:gd name="connsiteY1321" fmla="*/ 9303 h 470547"/>
                <a:gd name="connsiteX1322" fmla="*/ 459286 w 578488"/>
                <a:gd name="connsiteY1322" fmla="*/ 9753 h 470547"/>
                <a:gd name="connsiteX1323" fmla="*/ 461052 w 578488"/>
                <a:gd name="connsiteY1323" fmla="*/ 10855 h 470547"/>
                <a:gd name="connsiteX1324" fmla="*/ 462428 w 578488"/>
                <a:gd name="connsiteY1324" fmla="*/ 11000 h 470547"/>
                <a:gd name="connsiteX1325" fmla="*/ 463672 w 578488"/>
                <a:gd name="connsiteY1325" fmla="*/ 11667 h 470547"/>
                <a:gd name="connsiteX1326" fmla="*/ 463965 w 578488"/>
                <a:gd name="connsiteY1326" fmla="*/ 13131 h 470547"/>
                <a:gd name="connsiteX1327" fmla="*/ 461404 w 578488"/>
                <a:gd name="connsiteY1327" fmla="*/ 14725 h 470547"/>
                <a:gd name="connsiteX1328" fmla="*/ 457040 w 578488"/>
                <a:gd name="connsiteY1328" fmla="*/ 18947 h 470547"/>
                <a:gd name="connsiteX1329" fmla="*/ 452734 w 578488"/>
                <a:gd name="connsiteY1329" fmla="*/ 23737 h 470547"/>
                <a:gd name="connsiteX1330" fmla="*/ 451314 w 578488"/>
                <a:gd name="connsiteY1330" fmla="*/ 26255 h 470547"/>
                <a:gd name="connsiteX1331" fmla="*/ 449923 w 578488"/>
                <a:gd name="connsiteY1331" fmla="*/ 32850 h 470547"/>
                <a:gd name="connsiteX1332" fmla="*/ 446558 w 578488"/>
                <a:gd name="connsiteY1332" fmla="*/ 37058 h 470547"/>
                <a:gd name="connsiteX1333" fmla="*/ 446304 w 578488"/>
                <a:gd name="connsiteY1333" fmla="*/ 40003 h 470547"/>
                <a:gd name="connsiteX1334" fmla="*/ 447655 w 578488"/>
                <a:gd name="connsiteY1334" fmla="*/ 41390 h 470547"/>
                <a:gd name="connsiteX1335" fmla="*/ 451369 w 578488"/>
                <a:gd name="connsiteY1335" fmla="*/ 40302 h 470547"/>
                <a:gd name="connsiteX1336" fmla="*/ 455947 w 578488"/>
                <a:gd name="connsiteY1336" fmla="*/ 36371 h 470547"/>
                <a:gd name="connsiteX1337" fmla="*/ 457090 w 578488"/>
                <a:gd name="connsiteY1337" fmla="*/ 32191 h 470547"/>
                <a:gd name="connsiteX1338" fmla="*/ 468535 w 578488"/>
                <a:gd name="connsiteY1338" fmla="*/ 20815 h 470547"/>
                <a:gd name="connsiteX1339" fmla="*/ 473903 w 578488"/>
                <a:gd name="connsiteY1339" fmla="*/ 14505 h 470547"/>
                <a:gd name="connsiteX1340" fmla="*/ 480007 w 578488"/>
                <a:gd name="connsiteY1340" fmla="*/ 9265 h 470547"/>
                <a:gd name="connsiteX1341" fmla="*/ 483421 w 578488"/>
                <a:gd name="connsiteY1341" fmla="*/ 8179 h 470547"/>
                <a:gd name="connsiteX1342" fmla="*/ 485028 w 578488"/>
                <a:gd name="connsiteY1342" fmla="*/ 11651 h 470547"/>
                <a:gd name="connsiteX1343" fmla="*/ 483734 w 578488"/>
                <a:gd name="connsiteY1343" fmla="*/ 16179 h 470547"/>
                <a:gd name="connsiteX1344" fmla="*/ 481141 w 578488"/>
                <a:gd name="connsiteY1344" fmla="*/ 19061 h 470547"/>
                <a:gd name="connsiteX1345" fmla="*/ 483052 w 578488"/>
                <a:gd name="connsiteY1345" fmla="*/ 20380 h 470547"/>
                <a:gd name="connsiteX1346" fmla="*/ 482687 w 578488"/>
                <a:gd name="connsiteY1346" fmla="*/ 23797 h 470547"/>
                <a:gd name="connsiteX1347" fmla="*/ 482091 w 578488"/>
                <a:gd name="connsiteY1347" fmla="*/ 25693 h 470547"/>
                <a:gd name="connsiteX1348" fmla="*/ 481711 w 578488"/>
                <a:gd name="connsiteY1348" fmla="*/ 27676 h 470547"/>
                <a:gd name="connsiteX1349" fmla="*/ 481735 w 578488"/>
                <a:gd name="connsiteY1349" fmla="*/ 29424 h 470547"/>
                <a:gd name="connsiteX1350" fmla="*/ 483527 w 578488"/>
                <a:gd name="connsiteY1350" fmla="*/ 28958 h 470547"/>
                <a:gd name="connsiteX1351" fmla="*/ 490675 w 578488"/>
                <a:gd name="connsiteY1351" fmla="*/ 25377 h 470547"/>
                <a:gd name="connsiteX1352" fmla="*/ 492486 w 578488"/>
                <a:gd name="connsiteY1352" fmla="*/ 21493 h 470547"/>
                <a:gd name="connsiteX1353" fmla="*/ 494166 w 578488"/>
                <a:gd name="connsiteY1353" fmla="*/ 18577 h 470547"/>
                <a:gd name="connsiteX1354" fmla="*/ 494972 w 578488"/>
                <a:gd name="connsiteY1354" fmla="*/ 16055 h 470547"/>
                <a:gd name="connsiteX1355" fmla="*/ 497751 w 578488"/>
                <a:gd name="connsiteY1355" fmla="*/ 13663 h 470547"/>
                <a:gd name="connsiteX1356" fmla="*/ 502994 w 578488"/>
                <a:gd name="connsiteY1356" fmla="*/ 13645 h 470547"/>
                <a:gd name="connsiteX1357" fmla="*/ 503197 w 578488"/>
                <a:gd name="connsiteY1357" fmla="*/ 12704 h 470547"/>
                <a:gd name="connsiteX1358" fmla="*/ 496859 w 578488"/>
                <a:gd name="connsiteY1358" fmla="*/ 9377 h 470547"/>
                <a:gd name="connsiteX1359" fmla="*/ 496112 w 578488"/>
                <a:gd name="connsiteY1359" fmla="*/ 7877 h 470547"/>
                <a:gd name="connsiteX1360" fmla="*/ 498243 w 578488"/>
                <a:gd name="connsiteY1360" fmla="*/ 5879 h 470547"/>
                <a:gd name="connsiteX1361" fmla="*/ 459651 w 578488"/>
                <a:gd name="connsiteY1361" fmla="*/ 0 h 470547"/>
                <a:gd name="connsiteX1362" fmla="*/ 465559 w 578488"/>
                <a:gd name="connsiteY1362" fmla="*/ 1548 h 470547"/>
                <a:gd name="connsiteX1363" fmla="*/ 467582 w 578488"/>
                <a:gd name="connsiteY1363" fmla="*/ 1516 h 470547"/>
                <a:gd name="connsiteX1364" fmla="*/ 470515 w 578488"/>
                <a:gd name="connsiteY1364" fmla="*/ 4407 h 470547"/>
                <a:gd name="connsiteX1365" fmla="*/ 472046 w 578488"/>
                <a:gd name="connsiteY1365" fmla="*/ 4151 h 470547"/>
                <a:gd name="connsiteX1366" fmla="*/ 471756 w 578488"/>
                <a:gd name="connsiteY1366" fmla="*/ 5916 h 470547"/>
                <a:gd name="connsiteX1367" fmla="*/ 468792 w 578488"/>
                <a:gd name="connsiteY1367" fmla="*/ 6752 h 470547"/>
                <a:gd name="connsiteX1368" fmla="*/ 464183 w 578488"/>
                <a:gd name="connsiteY1368" fmla="*/ 7260 h 470547"/>
                <a:gd name="connsiteX1369" fmla="*/ 463495 w 578488"/>
                <a:gd name="connsiteY1369" fmla="*/ 7611 h 470547"/>
                <a:gd name="connsiteX1370" fmla="*/ 459556 w 578488"/>
                <a:gd name="connsiteY1370" fmla="*/ 7329 h 470547"/>
                <a:gd name="connsiteX1371" fmla="*/ 457345 w 578488"/>
                <a:gd name="connsiteY1371" fmla="*/ 4956 h 470547"/>
                <a:gd name="connsiteX1372" fmla="*/ 453650 w 578488"/>
                <a:gd name="connsiteY1372" fmla="*/ 4368 h 470547"/>
                <a:gd name="connsiteX1373" fmla="*/ 453656 w 578488"/>
                <a:gd name="connsiteY1373" fmla="*/ 3606 h 470547"/>
                <a:gd name="connsiteX1374" fmla="*/ 456049 w 578488"/>
                <a:gd name="connsiteY1374" fmla="*/ 1809 h 4705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</a:cxnLst>
              <a:rect l="l" t="t" r="r" b="b"/>
              <a:pathLst>
                <a:path w="578488" h="470547">
                  <a:moveTo>
                    <a:pt x="4236" y="391131"/>
                  </a:moveTo>
                  <a:lnTo>
                    <a:pt x="5553" y="393229"/>
                  </a:lnTo>
                  <a:lnTo>
                    <a:pt x="6342" y="395934"/>
                  </a:lnTo>
                  <a:lnTo>
                    <a:pt x="6413" y="399875"/>
                  </a:lnTo>
                  <a:lnTo>
                    <a:pt x="4376" y="399577"/>
                  </a:lnTo>
                  <a:lnTo>
                    <a:pt x="3461" y="398066"/>
                  </a:lnTo>
                  <a:lnTo>
                    <a:pt x="3196" y="397101"/>
                  </a:lnTo>
                  <a:lnTo>
                    <a:pt x="3355" y="394818"/>
                  </a:lnTo>
                  <a:lnTo>
                    <a:pt x="2897" y="392461"/>
                  </a:lnTo>
                  <a:lnTo>
                    <a:pt x="3498" y="391290"/>
                  </a:lnTo>
                  <a:close/>
                  <a:moveTo>
                    <a:pt x="2573" y="366113"/>
                  </a:moveTo>
                  <a:lnTo>
                    <a:pt x="3852" y="367834"/>
                  </a:lnTo>
                  <a:lnTo>
                    <a:pt x="3530" y="369975"/>
                  </a:lnTo>
                  <a:lnTo>
                    <a:pt x="1572" y="370400"/>
                  </a:lnTo>
                  <a:lnTo>
                    <a:pt x="0" y="370038"/>
                  </a:lnTo>
                  <a:lnTo>
                    <a:pt x="561" y="366825"/>
                  </a:lnTo>
                  <a:lnTo>
                    <a:pt x="1384" y="366299"/>
                  </a:lnTo>
                  <a:close/>
                  <a:moveTo>
                    <a:pt x="72406" y="288176"/>
                  </a:moveTo>
                  <a:lnTo>
                    <a:pt x="73790" y="289555"/>
                  </a:lnTo>
                  <a:lnTo>
                    <a:pt x="73896" y="291823"/>
                  </a:lnTo>
                  <a:lnTo>
                    <a:pt x="73052" y="292828"/>
                  </a:lnTo>
                  <a:lnTo>
                    <a:pt x="70884" y="292852"/>
                  </a:lnTo>
                  <a:lnTo>
                    <a:pt x="68309" y="292314"/>
                  </a:lnTo>
                  <a:lnTo>
                    <a:pt x="66697" y="291172"/>
                  </a:lnTo>
                  <a:lnTo>
                    <a:pt x="66446" y="290164"/>
                  </a:lnTo>
                  <a:lnTo>
                    <a:pt x="69417" y="288910"/>
                  </a:lnTo>
                  <a:close/>
                  <a:moveTo>
                    <a:pt x="87688" y="276468"/>
                  </a:moveTo>
                  <a:lnTo>
                    <a:pt x="88672" y="277636"/>
                  </a:lnTo>
                  <a:lnTo>
                    <a:pt x="88798" y="279233"/>
                  </a:lnTo>
                  <a:lnTo>
                    <a:pt x="88172" y="280023"/>
                  </a:lnTo>
                  <a:lnTo>
                    <a:pt x="81190" y="281299"/>
                  </a:lnTo>
                  <a:lnTo>
                    <a:pt x="78655" y="281381"/>
                  </a:lnTo>
                  <a:lnTo>
                    <a:pt x="77129" y="280596"/>
                  </a:lnTo>
                  <a:lnTo>
                    <a:pt x="80758" y="279027"/>
                  </a:lnTo>
                  <a:lnTo>
                    <a:pt x="86455" y="277535"/>
                  </a:lnTo>
                  <a:lnTo>
                    <a:pt x="86997" y="276585"/>
                  </a:lnTo>
                  <a:close/>
                  <a:moveTo>
                    <a:pt x="137580" y="234750"/>
                  </a:moveTo>
                  <a:lnTo>
                    <a:pt x="140049" y="234842"/>
                  </a:lnTo>
                  <a:lnTo>
                    <a:pt x="142560" y="237291"/>
                  </a:lnTo>
                  <a:lnTo>
                    <a:pt x="142234" y="238798"/>
                  </a:lnTo>
                  <a:lnTo>
                    <a:pt x="141074" y="239795"/>
                  </a:lnTo>
                  <a:lnTo>
                    <a:pt x="138498" y="238994"/>
                  </a:lnTo>
                  <a:lnTo>
                    <a:pt x="133413" y="239613"/>
                  </a:lnTo>
                  <a:lnTo>
                    <a:pt x="131364" y="238638"/>
                  </a:lnTo>
                  <a:lnTo>
                    <a:pt x="132992" y="236741"/>
                  </a:lnTo>
                  <a:close/>
                  <a:moveTo>
                    <a:pt x="156473" y="208471"/>
                  </a:moveTo>
                  <a:lnTo>
                    <a:pt x="158617" y="208629"/>
                  </a:lnTo>
                  <a:lnTo>
                    <a:pt x="159300" y="209433"/>
                  </a:lnTo>
                  <a:lnTo>
                    <a:pt x="158520" y="211357"/>
                  </a:lnTo>
                  <a:lnTo>
                    <a:pt x="157058" y="212476"/>
                  </a:lnTo>
                  <a:lnTo>
                    <a:pt x="154327" y="212155"/>
                  </a:lnTo>
                  <a:lnTo>
                    <a:pt x="154035" y="211196"/>
                  </a:lnTo>
                  <a:lnTo>
                    <a:pt x="154815" y="209272"/>
                  </a:lnTo>
                  <a:close/>
                  <a:moveTo>
                    <a:pt x="175748" y="197328"/>
                  </a:moveTo>
                  <a:lnTo>
                    <a:pt x="176449" y="198048"/>
                  </a:lnTo>
                  <a:lnTo>
                    <a:pt x="175119" y="199065"/>
                  </a:lnTo>
                  <a:lnTo>
                    <a:pt x="170496" y="201327"/>
                  </a:lnTo>
                  <a:lnTo>
                    <a:pt x="168725" y="201432"/>
                  </a:lnTo>
                  <a:lnTo>
                    <a:pt x="168740" y="199939"/>
                  </a:lnTo>
                  <a:lnTo>
                    <a:pt x="169755" y="198582"/>
                  </a:lnTo>
                  <a:lnTo>
                    <a:pt x="171364" y="197674"/>
                  </a:lnTo>
                  <a:lnTo>
                    <a:pt x="173433" y="197432"/>
                  </a:lnTo>
                  <a:close/>
                  <a:moveTo>
                    <a:pt x="170891" y="190029"/>
                  </a:moveTo>
                  <a:lnTo>
                    <a:pt x="172956" y="191226"/>
                  </a:lnTo>
                  <a:lnTo>
                    <a:pt x="172996" y="193260"/>
                  </a:lnTo>
                  <a:lnTo>
                    <a:pt x="171973" y="195112"/>
                  </a:lnTo>
                  <a:lnTo>
                    <a:pt x="168514" y="196161"/>
                  </a:lnTo>
                  <a:lnTo>
                    <a:pt x="166467" y="196404"/>
                  </a:lnTo>
                  <a:lnTo>
                    <a:pt x="166808" y="194788"/>
                  </a:lnTo>
                  <a:lnTo>
                    <a:pt x="168464" y="193253"/>
                  </a:lnTo>
                  <a:lnTo>
                    <a:pt x="169099" y="192202"/>
                  </a:lnTo>
                  <a:lnTo>
                    <a:pt x="169429" y="190966"/>
                  </a:lnTo>
                  <a:close/>
                  <a:moveTo>
                    <a:pt x="182845" y="120497"/>
                  </a:moveTo>
                  <a:lnTo>
                    <a:pt x="184057" y="121330"/>
                  </a:lnTo>
                  <a:lnTo>
                    <a:pt x="183502" y="123106"/>
                  </a:lnTo>
                  <a:lnTo>
                    <a:pt x="183513" y="124862"/>
                  </a:lnTo>
                  <a:lnTo>
                    <a:pt x="182990" y="125692"/>
                  </a:lnTo>
                  <a:lnTo>
                    <a:pt x="180716" y="127984"/>
                  </a:lnTo>
                  <a:lnTo>
                    <a:pt x="177449" y="129987"/>
                  </a:lnTo>
                  <a:lnTo>
                    <a:pt x="178641" y="126329"/>
                  </a:lnTo>
                  <a:lnTo>
                    <a:pt x="180405" y="122620"/>
                  </a:lnTo>
                  <a:close/>
                  <a:moveTo>
                    <a:pt x="198678" y="112691"/>
                  </a:moveTo>
                  <a:lnTo>
                    <a:pt x="200641" y="113103"/>
                  </a:lnTo>
                  <a:lnTo>
                    <a:pt x="201956" y="113756"/>
                  </a:lnTo>
                  <a:lnTo>
                    <a:pt x="205392" y="113566"/>
                  </a:lnTo>
                  <a:lnTo>
                    <a:pt x="206080" y="113810"/>
                  </a:lnTo>
                  <a:lnTo>
                    <a:pt x="205592" y="114887"/>
                  </a:lnTo>
                  <a:lnTo>
                    <a:pt x="204100" y="116071"/>
                  </a:lnTo>
                  <a:lnTo>
                    <a:pt x="200969" y="116797"/>
                  </a:lnTo>
                  <a:lnTo>
                    <a:pt x="199561" y="118603"/>
                  </a:lnTo>
                  <a:lnTo>
                    <a:pt x="198553" y="119216"/>
                  </a:lnTo>
                  <a:lnTo>
                    <a:pt x="195849" y="119224"/>
                  </a:lnTo>
                  <a:lnTo>
                    <a:pt x="194254" y="119640"/>
                  </a:lnTo>
                  <a:lnTo>
                    <a:pt x="192291" y="121245"/>
                  </a:lnTo>
                  <a:lnTo>
                    <a:pt x="190721" y="120062"/>
                  </a:lnTo>
                  <a:lnTo>
                    <a:pt x="190283" y="120902"/>
                  </a:lnTo>
                  <a:lnTo>
                    <a:pt x="189997" y="122401"/>
                  </a:lnTo>
                  <a:lnTo>
                    <a:pt x="189125" y="122841"/>
                  </a:lnTo>
                  <a:lnTo>
                    <a:pt x="186413" y="123384"/>
                  </a:lnTo>
                  <a:lnTo>
                    <a:pt x="185752" y="119891"/>
                  </a:lnTo>
                  <a:lnTo>
                    <a:pt x="187000" y="118622"/>
                  </a:lnTo>
                  <a:lnTo>
                    <a:pt x="187978" y="117104"/>
                  </a:lnTo>
                  <a:lnTo>
                    <a:pt x="189477" y="116872"/>
                  </a:lnTo>
                  <a:lnTo>
                    <a:pt x="190820" y="116998"/>
                  </a:lnTo>
                  <a:lnTo>
                    <a:pt x="193237" y="113726"/>
                  </a:lnTo>
                  <a:lnTo>
                    <a:pt x="196547" y="112796"/>
                  </a:lnTo>
                  <a:close/>
                  <a:moveTo>
                    <a:pt x="227817" y="84536"/>
                  </a:moveTo>
                  <a:lnTo>
                    <a:pt x="228398" y="84693"/>
                  </a:lnTo>
                  <a:lnTo>
                    <a:pt x="229447" y="85561"/>
                  </a:lnTo>
                  <a:lnTo>
                    <a:pt x="230145" y="87049"/>
                  </a:lnTo>
                  <a:lnTo>
                    <a:pt x="233021" y="90942"/>
                  </a:lnTo>
                  <a:lnTo>
                    <a:pt x="234334" y="93213"/>
                  </a:lnTo>
                  <a:lnTo>
                    <a:pt x="233269" y="97497"/>
                  </a:lnTo>
                  <a:lnTo>
                    <a:pt x="230475" y="99655"/>
                  </a:lnTo>
                  <a:lnTo>
                    <a:pt x="226163" y="100039"/>
                  </a:lnTo>
                  <a:lnTo>
                    <a:pt x="223138" y="99860"/>
                  </a:lnTo>
                  <a:lnTo>
                    <a:pt x="221231" y="98822"/>
                  </a:lnTo>
                  <a:lnTo>
                    <a:pt x="220993" y="97657"/>
                  </a:lnTo>
                  <a:lnTo>
                    <a:pt x="219892" y="97313"/>
                  </a:lnTo>
                  <a:lnTo>
                    <a:pt x="216987" y="98809"/>
                  </a:lnTo>
                  <a:lnTo>
                    <a:pt x="214969" y="99011"/>
                  </a:lnTo>
                  <a:lnTo>
                    <a:pt x="212401" y="97851"/>
                  </a:lnTo>
                  <a:lnTo>
                    <a:pt x="211710" y="95995"/>
                  </a:lnTo>
                  <a:lnTo>
                    <a:pt x="214435" y="93665"/>
                  </a:lnTo>
                  <a:lnTo>
                    <a:pt x="215696" y="91852"/>
                  </a:lnTo>
                  <a:lnTo>
                    <a:pt x="218720" y="92012"/>
                  </a:lnTo>
                  <a:lnTo>
                    <a:pt x="219475" y="92576"/>
                  </a:lnTo>
                  <a:lnTo>
                    <a:pt x="221183" y="92928"/>
                  </a:lnTo>
                  <a:lnTo>
                    <a:pt x="222222" y="90744"/>
                  </a:lnTo>
                  <a:lnTo>
                    <a:pt x="221982" y="89232"/>
                  </a:lnTo>
                  <a:lnTo>
                    <a:pt x="222742" y="88181"/>
                  </a:lnTo>
                  <a:lnTo>
                    <a:pt x="226394" y="88938"/>
                  </a:lnTo>
                  <a:lnTo>
                    <a:pt x="226400" y="84826"/>
                  </a:lnTo>
                  <a:close/>
                  <a:moveTo>
                    <a:pt x="246910" y="73108"/>
                  </a:moveTo>
                  <a:lnTo>
                    <a:pt x="248739" y="73108"/>
                  </a:lnTo>
                  <a:lnTo>
                    <a:pt x="250540" y="74204"/>
                  </a:lnTo>
                  <a:lnTo>
                    <a:pt x="250216" y="76443"/>
                  </a:lnTo>
                  <a:lnTo>
                    <a:pt x="247515" y="80477"/>
                  </a:lnTo>
                  <a:lnTo>
                    <a:pt x="243513" y="83908"/>
                  </a:lnTo>
                  <a:lnTo>
                    <a:pt x="244001" y="86367"/>
                  </a:lnTo>
                  <a:lnTo>
                    <a:pt x="245595" y="88389"/>
                  </a:lnTo>
                  <a:lnTo>
                    <a:pt x="245986" y="91839"/>
                  </a:lnTo>
                  <a:lnTo>
                    <a:pt x="246083" y="95156"/>
                  </a:lnTo>
                  <a:lnTo>
                    <a:pt x="243049" y="99627"/>
                  </a:lnTo>
                  <a:lnTo>
                    <a:pt x="242378" y="101772"/>
                  </a:lnTo>
                  <a:lnTo>
                    <a:pt x="242643" y="102042"/>
                  </a:lnTo>
                  <a:lnTo>
                    <a:pt x="245656" y="98341"/>
                  </a:lnTo>
                  <a:lnTo>
                    <a:pt x="248994" y="97185"/>
                  </a:lnTo>
                  <a:lnTo>
                    <a:pt x="249201" y="95895"/>
                  </a:lnTo>
                  <a:lnTo>
                    <a:pt x="250495" y="94646"/>
                  </a:lnTo>
                  <a:lnTo>
                    <a:pt x="250348" y="92605"/>
                  </a:lnTo>
                  <a:lnTo>
                    <a:pt x="251006" y="90944"/>
                  </a:lnTo>
                  <a:lnTo>
                    <a:pt x="252708" y="90504"/>
                  </a:lnTo>
                  <a:lnTo>
                    <a:pt x="253771" y="89942"/>
                  </a:lnTo>
                  <a:lnTo>
                    <a:pt x="254950" y="89632"/>
                  </a:lnTo>
                  <a:lnTo>
                    <a:pt x="257079" y="90976"/>
                  </a:lnTo>
                  <a:lnTo>
                    <a:pt x="258284" y="92467"/>
                  </a:lnTo>
                  <a:lnTo>
                    <a:pt x="259780" y="95797"/>
                  </a:lnTo>
                  <a:lnTo>
                    <a:pt x="259158" y="99013"/>
                  </a:lnTo>
                  <a:lnTo>
                    <a:pt x="255150" y="101517"/>
                  </a:lnTo>
                  <a:lnTo>
                    <a:pt x="251965" y="102646"/>
                  </a:lnTo>
                  <a:lnTo>
                    <a:pt x="248748" y="105516"/>
                  </a:lnTo>
                  <a:lnTo>
                    <a:pt x="247131" y="107859"/>
                  </a:lnTo>
                  <a:lnTo>
                    <a:pt x="245742" y="108366"/>
                  </a:lnTo>
                  <a:lnTo>
                    <a:pt x="244863" y="108175"/>
                  </a:lnTo>
                  <a:lnTo>
                    <a:pt x="244082" y="107609"/>
                  </a:lnTo>
                  <a:lnTo>
                    <a:pt x="242451" y="107607"/>
                  </a:lnTo>
                  <a:lnTo>
                    <a:pt x="240657" y="109638"/>
                  </a:lnTo>
                  <a:lnTo>
                    <a:pt x="235239" y="111288"/>
                  </a:lnTo>
                  <a:lnTo>
                    <a:pt x="233114" y="110812"/>
                  </a:lnTo>
                  <a:lnTo>
                    <a:pt x="233017" y="108788"/>
                  </a:lnTo>
                  <a:lnTo>
                    <a:pt x="231749" y="108956"/>
                  </a:lnTo>
                  <a:lnTo>
                    <a:pt x="229719" y="111382"/>
                  </a:lnTo>
                  <a:lnTo>
                    <a:pt x="227733" y="112191"/>
                  </a:lnTo>
                  <a:lnTo>
                    <a:pt x="226398" y="112440"/>
                  </a:lnTo>
                  <a:lnTo>
                    <a:pt x="223947" y="111527"/>
                  </a:lnTo>
                  <a:lnTo>
                    <a:pt x="217359" y="115654"/>
                  </a:lnTo>
                  <a:lnTo>
                    <a:pt x="211181" y="116425"/>
                  </a:lnTo>
                  <a:lnTo>
                    <a:pt x="209147" y="115948"/>
                  </a:lnTo>
                  <a:lnTo>
                    <a:pt x="209140" y="113424"/>
                  </a:lnTo>
                  <a:lnTo>
                    <a:pt x="213133" y="110191"/>
                  </a:lnTo>
                  <a:lnTo>
                    <a:pt x="216407" y="107941"/>
                  </a:lnTo>
                  <a:lnTo>
                    <a:pt x="227672" y="106369"/>
                  </a:lnTo>
                  <a:lnTo>
                    <a:pt x="234688" y="99674"/>
                  </a:lnTo>
                  <a:lnTo>
                    <a:pt x="236383" y="92374"/>
                  </a:lnTo>
                  <a:lnTo>
                    <a:pt x="238042" y="89732"/>
                  </a:lnTo>
                  <a:lnTo>
                    <a:pt x="237262" y="88238"/>
                  </a:lnTo>
                  <a:lnTo>
                    <a:pt x="235375" y="87975"/>
                  </a:lnTo>
                  <a:lnTo>
                    <a:pt x="235260" y="85677"/>
                  </a:lnTo>
                  <a:lnTo>
                    <a:pt x="236245" y="83162"/>
                  </a:lnTo>
                  <a:lnTo>
                    <a:pt x="239927" y="79703"/>
                  </a:lnTo>
                  <a:lnTo>
                    <a:pt x="241972" y="78229"/>
                  </a:lnTo>
                  <a:lnTo>
                    <a:pt x="245304" y="74050"/>
                  </a:lnTo>
                  <a:close/>
                  <a:moveTo>
                    <a:pt x="280912" y="61606"/>
                  </a:moveTo>
                  <a:lnTo>
                    <a:pt x="283570" y="63847"/>
                  </a:lnTo>
                  <a:lnTo>
                    <a:pt x="284766" y="63162"/>
                  </a:lnTo>
                  <a:lnTo>
                    <a:pt x="287118" y="62907"/>
                  </a:lnTo>
                  <a:lnTo>
                    <a:pt x="288867" y="63693"/>
                  </a:lnTo>
                  <a:lnTo>
                    <a:pt x="290297" y="65116"/>
                  </a:lnTo>
                  <a:lnTo>
                    <a:pt x="291992" y="65181"/>
                  </a:lnTo>
                  <a:lnTo>
                    <a:pt x="293056" y="67038"/>
                  </a:lnTo>
                  <a:lnTo>
                    <a:pt x="293598" y="69452"/>
                  </a:lnTo>
                  <a:lnTo>
                    <a:pt x="292367" y="71253"/>
                  </a:lnTo>
                  <a:lnTo>
                    <a:pt x="290621" y="72068"/>
                  </a:lnTo>
                  <a:lnTo>
                    <a:pt x="290148" y="74189"/>
                  </a:lnTo>
                  <a:lnTo>
                    <a:pt x="290811" y="77154"/>
                  </a:lnTo>
                  <a:lnTo>
                    <a:pt x="286893" y="78170"/>
                  </a:lnTo>
                  <a:lnTo>
                    <a:pt x="282352" y="78622"/>
                  </a:lnTo>
                  <a:lnTo>
                    <a:pt x="280577" y="77205"/>
                  </a:lnTo>
                  <a:lnTo>
                    <a:pt x="276945" y="79802"/>
                  </a:lnTo>
                  <a:lnTo>
                    <a:pt x="273348" y="83842"/>
                  </a:lnTo>
                  <a:lnTo>
                    <a:pt x="271614" y="84317"/>
                  </a:lnTo>
                  <a:lnTo>
                    <a:pt x="271493" y="83039"/>
                  </a:lnTo>
                  <a:lnTo>
                    <a:pt x="268908" y="82156"/>
                  </a:lnTo>
                  <a:lnTo>
                    <a:pt x="265598" y="82105"/>
                  </a:lnTo>
                  <a:lnTo>
                    <a:pt x="265708" y="81158"/>
                  </a:lnTo>
                  <a:lnTo>
                    <a:pt x="266308" y="80489"/>
                  </a:lnTo>
                  <a:lnTo>
                    <a:pt x="269165" y="79496"/>
                  </a:lnTo>
                  <a:lnTo>
                    <a:pt x="269735" y="77447"/>
                  </a:lnTo>
                  <a:lnTo>
                    <a:pt x="269216" y="73784"/>
                  </a:lnTo>
                  <a:lnTo>
                    <a:pt x="269720" y="72004"/>
                  </a:lnTo>
                  <a:lnTo>
                    <a:pt x="269828" y="70773"/>
                  </a:lnTo>
                  <a:lnTo>
                    <a:pt x="271624" y="69332"/>
                  </a:lnTo>
                  <a:lnTo>
                    <a:pt x="277768" y="70009"/>
                  </a:lnTo>
                  <a:lnTo>
                    <a:pt x="278513" y="68633"/>
                  </a:lnTo>
                  <a:lnTo>
                    <a:pt x="278047" y="67767"/>
                  </a:lnTo>
                  <a:lnTo>
                    <a:pt x="274872" y="66249"/>
                  </a:lnTo>
                  <a:lnTo>
                    <a:pt x="275360" y="65227"/>
                  </a:lnTo>
                  <a:lnTo>
                    <a:pt x="277651" y="64313"/>
                  </a:lnTo>
                  <a:lnTo>
                    <a:pt x="279819" y="64195"/>
                  </a:lnTo>
                  <a:lnTo>
                    <a:pt x="280471" y="62647"/>
                  </a:lnTo>
                  <a:lnTo>
                    <a:pt x="280584" y="61973"/>
                  </a:lnTo>
                  <a:close/>
                  <a:moveTo>
                    <a:pt x="553617" y="49437"/>
                  </a:moveTo>
                  <a:lnTo>
                    <a:pt x="555344" y="49560"/>
                  </a:lnTo>
                  <a:lnTo>
                    <a:pt x="557091" y="50712"/>
                  </a:lnTo>
                  <a:lnTo>
                    <a:pt x="558466" y="52086"/>
                  </a:lnTo>
                  <a:lnTo>
                    <a:pt x="556277" y="53725"/>
                  </a:lnTo>
                  <a:lnTo>
                    <a:pt x="552077" y="54876"/>
                  </a:lnTo>
                  <a:lnTo>
                    <a:pt x="551591" y="53929"/>
                  </a:lnTo>
                  <a:lnTo>
                    <a:pt x="552513" y="52454"/>
                  </a:lnTo>
                  <a:close/>
                  <a:moveTo>
                    <a:pt x="350606" y="36555"/>
                  </a:moveTo>
                  <a:lnTo>
                    <a:pt x="353506" y="37006"/>
                  </a:lnTo>
                  <a:lnTo>
                    <a:pt x="354245" y="37564"/>
                  </a:lnTo>
                  <a:lnTo>
                    <a:pt x="353355" y="42154"/>
                  </a:lnTo>
                  <a:lnTo>
                    <a:pt x="352163" y="43074"/>
                  </a:lnTo>
                  <a:lnTo>
                    <a:pt x="350334" y="43450"/>
                  </a:lnTo>
                  <a:lnTo>
                    <a:pt x="349349" y="42879"/>
                  </a:lnTo>
                  <a:lnTo>
                    <a:pt x="347948" y="42504"/>
                  </a:lnTo>
                  <a:lnTo>
                    <a:pt x="346391" y="42676"/>
                  </a:lnTo>
                  <a:lnTo>
                    <a:pt x="345082" y="40989"/>
                  </a:lnTo>
                  <a:lnTo>
                    <a:pt x="345229" y="39572"/>
                  </a:lnTo>
                  <a:lnTo>
                    <a:pt x="347021" y="37649"/>
                  </a:lnTo>
                  <a:close/>
                  <a:moveTo>
                    <a:pt x="318716" y="35896"/>
                  </a:moveTo>
                  <a:lnTo>
                    <a:pt x="319528" y="38632"/>
                  </a:lnTo>
                  <a:lnTo>
                    <a:pt x="319653" y="43078"/>
                  </a:lnTo>
                  <a:lnTo>
                    <a:pt x="321614" y="45233"/>
                  </a:lnTo>
                  <a:lnTo>
                    <a:pt x="323350" y="45026"/>
                  </a:lnTo>
                  <a:lnTo>
                    <a:pt x="323873" y="44213"/>
                  </a:lnTo>
                  <a:lnTo>
                    <a:pt x="325058" y="43811"/>
                  </a:lnTo>
                  <a:lnTo>
                    <a:pt x="327453" y="44949"/>
                  </a:lnTo>
                  <a:lnTo>
                    <a:pt x="327110" y="46885"/>
                  </a:lnTo>
                  <a:lnTo>
                    <a:pt x="323795" y="49325"/>
                  </a:lnTo>
                  <a:lnTo>
                    <a:pt x="321416" y="52800"/>
                  </a:lnTo>
                  <a:lnTo>
                    <a:pt x="318371" y="53606"/>
                  </a:lnTo>
                  <a:lnTo>
                    <a:pt x="316907" y="53187"/>
                  </a:lnTo>
                  <a:lnTo>
                    <a:pt x="314186" y="55190"/>
                  </a:lnTo>
                  <a:lnTo>
                    <a:pt x="312005" y="57269"/>
                  </a:lnTo>
                  <a:lnTo>
                    <a:pt x="309744" y="59895"/>
                  </a:lnTo>
                  <a:lnTo>
                    <a:pt x="309606" y="61247"/>
                  </a:lnTo>
                  <a:lnTo>
                    <a:pt x="309254" y="62281"/>
                  </a:lnTo>
                  <a:lnTo>
                    <a:pt x="300973" y="63307"/>
                  </a:lnTo>
                  <a:lnTo>
                    <a:pt x="297962" y="63986"/>
                  </a:lnTo>
                  <a:lnTo>
                    <a:pt x="294773" y="63110"/>
                  </a:lnTo>
                  <a:lnTo>
                    <a:pt x="293262" y="61376"/>
                  </a:lnTo>
                  <a:lnTo>
                    <a:pt x="293747" y="60433"/>
                  </a:lnTo>
                  <a:lnTo>
                    <a:pt x="296930" y="60056"/>
                  </a:lnTo>
                  <a:lnTo>
                    <a:pt x="297032" y="58445"/>
                  </a:lnTo>
                  <a:lnTo>
                    <a:pt x="297837" y="57461"/>
                  </a:lnTo>
                  <a:lnTo>
                    <a:pt x="298867" y="56924"/>
                  </a:lnTo>
                  <a:lnTo>
                    <a:pt x="299625" y="54863"/>
                  </a:lnTo>
                  <a:lnTo>
                    <a:pt x="300884" y="54325"/>
                  </a:lnTo>
                  <a:lnTo>
                    <a:pt x="303231" y="54832"/>
                  </a:lnTo>
                  <a:lnTo>
                    <a:pt x="304814" y="53338"/>
                  </a:lnTo>
                  <a:lnTo>
                    <a:pt x="305706" y="53085"/>
                  </a:lnTo>
                  <a:lnTo>
                    <a:pt x="306805" y="54321"/>
                  </a:lnTo>
                  <a:lnTo>
                    <a:pt x="307334" y="52619"/>
                  </a:lnTo>
                  <a:lnTo>
                    <a:pt x="306805" y="51064"/>
                  </a:lnTo>
                  <a:lnTo>
                    <a:pt x="307082" y="50015"/>
                  </a:lnTo>
                  <a:lnTo>
                    <a:pt x="310117" y="47283"/>
                  </a:lnTo>
                  <a:lnTo>
                    <a:pt x="311431" y="45289"/>
                  </a:lnTo>
                  <a:lnTo>
                    <a:pt x="313320" y="44004"/>
                  </a:lnTo>
                  <a:lnTo>
                    <a:pt x="315140" y="44209"/>
                  </a:lnTo>
                  <a:lnTo>
                    <a:pt x="315669" y="42315"/>
                  </a:lnTo>
                  <a:lnTo>
                    <a:pt x="315140" y="40373"/>
                  </a:lnTo>
                  <a:lnTo>
                    <a:pt x="315341" y="39107"/>
                  </a:lnTo>
                  <a:lnTo>
                    <a:pt x="316948" y="36027"/>
                  </a:lnTo>
                  <a:close/>
                  <a:moveTo>
                    <a:pt x="329133" y="34857"/>
                  </a:moveTo>
                  <a:lnTo>
                    <a:pt x="330984" y="37118"/>
                  </a:lnTo>
                  <a:lnTo>
                    <a:pt x="332109" y="37583"/>
                  </a:lnTo>
                  <a:lnTo>
                    <a:pt x="333221" y="37294"/>
                  </a:lnTo>
                  <a:lnTo>
                    <a:pt x="334145" y="37705"/>
                  </a:lnTo>
                  <a:lnTo>
                    <a:pt x="335996" y="39794"/>
                  </a:lnTo>
                  <a:lnTo>
                    <a:pt x="337989" y="40615"/>
                  </a:lnTo>
                  <a:lnTo>
                    <a:pt x="338082" y="41666"/>
                  </a:lnTo>
                  <a:lnTo>
                    <a:pt x="336257" y="42690"/>
                  </a:lnTo>
                  <a:lnTo>
                    <a:pt x="333854" y="42997"/>
                  </a:lnTo>
                  <a:lnTo>
                    <a:pt x="331280" y="42641"/>
                  </a:lnTo>
                  <a:lnTo>
                    <a:pt x="330524" y="41332"/>
                  </a:lnTo>
                  <a:lnTo>
                    <a:pt x="329731" y="39157"/>
                  </a:lnTo>
                  <a:lnTo>
                    <a:pt x="327578" y="37023"/>
                  </a:lnTo>
                  <a:lnTo>
                    <a:pt x="327259" y="35152"/>
                  </a:lnTo>
                  <a:close/>
                  <a:moveTo>
                    <a:pt x="414550" y="21147"/>
                  </a:moveTo>
                  <a:lnTo>
                    <a:pt x="415263" y="22086"/>
                  </a:lnTo>
                  <a:lnTo>
                    <a:pt x="416068" y="23860"/>
                  </a:lnTo>
                  <a:lnTo>
                    <a:pt x="416480" y="25730"/>
                  </a:lnTo>
                  <a:lnTo>
                    <a:pt x="416636" y="27271"/>
                  </a:lnTo>
                  <a:lnTo>
                    <a:pt x="414573" y="29498"/>
                  </a:lnTo>
                  <a:lnTo>
                    <a:pt x="409821" y="32415"/>
                  </a:lnTo>
                  <a:lnTo>
                    <a:pt x="410093" y="33198"/>
                  </a:lnTo>
                  <a:lnTo>
                    <a:pt x="408448" y="33946"/>
                  </a:lnTo>
                  <a:lnTo>
                    <a:pt x="405981" y="34498"/>
                  </a:lnTo>
                  <a:lnTo>
                    <a:pt x="404679" y="33962"/>
                  </a:lnTo>
                  <a:lnTo>
                    <a:pt x="404859" y="31463"/>
                  </a:lnTo>
                  <a:lnTo>
                    <a:pt x="404466" y="30714"/>
                  </a:lnTo>
                  <a:lnTo>
                    <a:pt x="402593" y="31705"/>
                  </a:lnTo>
                  <a:lnTo>
                    <a:pt x="400646" y="30434"/>
                  </a:lnTo>
                  <a:lnTo>
                    <a:pt x="400643" y="29155"/>
                  </a:lnTo>
                  <a:lnTo>
                    <a:pt x="401157" y="28044"/>
                  </a:lnTo>
                  <a:lnTo>
                    <a:pt x="402958" y="26354"/>
                  </a:lnTo>
                  <a:lnTo>
                    <a:pt x="405964" y="25189"/>
                  </a:lnTo>
                  <a:lnTo>
                    <a:pt x="407946" y="25626"/>
                  </a:lnTo>
                  <a:close/>
                  <a:moveTo>
                    <a:pt x="419674" y="15922"/>
                  </a:moveTo>
                  <a:lnTo>
                    <a:pt x="420959" y="16643"/>
                  </a:lnTo>
                  <a:lnTo>
                    <a:pt x="421302" y="17247"/>
                  </a:lnTo>
                  <a:lnTo>
                    <a:pt x="423611" y="17839"/>
                  </a:lnTo>
                  <a:lnTo>
                    <a:pt x="426305" y="19805"/>
                  </a:lnTo>
                  <a:lnTo>
                    <a:pt x="424962" y="23137"/>
                  </a:lnTo>
                  <a:lnTo>
                    <a:pt x="420751" y="24733"/>
                  </a:lnTo>
                  <a:lnTo>
                    <a:pt x="418307" y="23358"/>
                  </a:lnTo>
                  <a:lnTo>
                    <a:pt x="417279" y="21949"/>
                  </a:lnTo>
                  <a:lnTo>
                    <a:pt x="417128" y="18816"/>
                  </a:lnTo>
                  <a:lnTo>
                    <a:pt x="417700" y="16908"/>
                  </a:lnTo>
                  <a:close/>
                  <a:moveTo>
                    <a:pt x="411209" y="12093"/>
                  </a:moveTo>
                  <a:lnTo>
                    <a:pt x="412202" y="13172"/>
                  </a:lnTo>
                  <a:lnTo>
                    <a:pt x="411769" y="14432"/>
                  </a:lnTo>
                  <a:lnTo>
                    <a:pt x="411021" y="15659"/>
                  </a:lnTo>
                  <a:lnTo>
                    <a:pt x="409209" y="16953"/>
                  </a:lnTo>
                  <a:lnTo>
                    <a:pt x="403969" y="22068"/>
                  </a:lnTo>
                  <a:lnTo>
                    <a:pt x="400889" y="22891"/>
                  </a:lnTo>
                  <a:lnTo>
                    <a:pt x="399914" y="23692"/>
                  </a:lnTo>
                  <a:lnTo>
                    <a:pt x="398683" y="24170"/>
                  </a:lnTo>
                  <a:lnTo>
                    <a:pt x="394856" y="23471"/>
                  </a:lnTo>
                  <a:lnTo>
                    <a:pt x="393736" y="24506"/>
                  </a:lnTo>
                  <a:lnTo>
                    <a:pt x="392678" y="25197"/>
                  </a:lnTo>
                  <a:lnTo>
                    <a:pt x="389907" y="25465"/>
                  </a:lnTo>
                  <a:lnTo>
                    <a:pt x="388281" y="25240"/>
                  </a:lnTo>
                  <a:lnTo>
                    <a:pt x="384081" y="23348"/>
                  </a:lnTo>
                  <a:lnTo>
                    <a:pt x="381582" y="21298"/>
                  </a:lnTo>
                  <a:lnTo>
                    <a:pt x="380229" y="19542"/>
                  </a:lnTo>
                  <a:lnTo>
                    <a:pt x="384109" y="19576"/>
                  </a:lnTo>
                  <a:lnTo>
                    <a:pt x="385493" y="19151"/>
                  </a:lnTo>
                  <a:lnTo>
                    <a:pt x="388095" y="19521"/>
                  </a:lnTo>
                  <a:lnTo>
                    <a:pt x="389658" y="17719"/>
                  </a:lnTo>
                  <a:lnTo>
                    <a:pt x="392969" y="17937"/>
                  </a:lnTo>
                  <a:lnTo>
                    <a:pt x="399324" y="16682"/>
                  </a:lnTo>
                  <a:lnTo>
                    <a:pt x="401656" y="17382"/>
                  </a:lnTo>
                  <a:lnTo>
                    <a:pt x="406988" y="13184"/>
                  </a:lnTo>
                  <a:lnTo>
                    <a:pt x="408657" y="13294"/>
                  </a:lnTo>
                  <a:close/>
                  <a:moveTo>
                    <a:pt x="504113" y="2056"/>
                  </a:moveTo>
                  <a:lnTo>
                    <a:pt x="507129" y="2479"/>
                  </a:lnTo>
                  <a:lnTo>
                    <a:pt x="508932" y="3348"/>
                  </a:lnTo>
                  <a:lnTo>
                    <a:pt x="516155" y="4009"/>
                  </a:lnTo>
                  <a:lnTo>
                    <a:pt x="521696" y="6744"/>
                  </a:lnTo>
                  <a:lnTo>
                    <a:pt x="521485" y="11012"/>
                  </a:lnTo>
                  <a:lnTo>
                    <a:pt x="520250" y="12793"/>
                  </a:lnTo>
                  <a:lnTo>
                    <a:pt x="519034" y="13889"/>
                  </a:lnTo>
                  <a:lnTo>
                    <a:pt x="511938" y="17118"/>
                  </a:lnTo>
                  <a:lnTo>
                    <a:pt x="510768" y="18708"/>
                  </a:lnTo>
                  <a:lnTo>
                    <a:pt x="512996" y="19257"/>
                  </a:lnTo>
                  <a:lnTo>
                    <a:pt x="517790" y="17649"/>
                  </a:lnTo>
                  <a:lnTo>
                    <a:pt x="519032" y="19108"/>
                  </a:lnTo>
                  <a:lnTo>
                    <a:pt x="517505" y="22756"/>
                  </a:lnTo>
                  <a:lnTo>
                    <a:pt x="517246" y="28220"/>
                  </a:lnTo>
                  <a:lnTo>
                    <a:pt x="516693" y="31401"/>
                  </a:lnTo>
                  <a:lnTo>
                    <a:pt x="516693" y="34298"/>
                  </a:lnTo>
                  <a:lnTo>
                    <a:pt x="517289" y="35851"/>
                  </a:lnTo>
                  <a:lnTo>
                    <a:pt x="519215" y="29687"/>
                  </a:lnTo>
                  <a:lnTo>
                    <a:pt x="519874" y="28105"/>
                  </a:lnTo>
                  <a:lnTo>
                    <a:pt x="522692" y="25777"/>
                  </a:lnTo>
                  <a:lnTo>
                    <a:pt x="523741" y="21079"/>
                  </a:lnTo>
                  <a:lnTo>
                    <a:pt x="526497" y="15427"/>
                  </a:lnTo>
                  <a:lnTo>
                    <a:pt x="529602" y="12136"/>
                  </a:lnTo>
                  <a:lnTo>
                    <a:pt x="531409" y="11232"/>
                  </a:lnTo>
                  <a:lnTo>
                    <a:pt x="537397" y="11362"/>
                  </a:lnTo>
                  <a:lnTo>
                    <a:pt x="539967" y="12602"/>
                  </a:lnTo>
                  <a:lnTo>
                    <a:pt x="542234" y="15355"/>
                  </a:lnTo>
                  <a:lnTo>
                    <a:pt x="543927" y="16453"/>
                  </a:lnTo>
                  <a:lnTo>
                    <a:pt x="549265" y="17621"/>
                  </a:lnTo>
                  <a:lnTo>
                    <a:pt x="551098" y="19084"/>
                  </a:lnTo>
                  <a:lnTo>
                    <a:pt x="551442" y="19955"/>
                  </a:lnTo>
                  <a:lnTo>
                    <a:pt x="552746" y="20128"/>
                  </a:lnTo>
                  <a:lnTo>
                    <a:pt x="556348" y="18048"/>
                  </a:lnTo>
                  <a:lnTo>
                    <a:pt x="558687" y="17703"/>
                  </a:lnTo>
                  <a:lnTo>
                    <a:pt x="562502" y="20944"/>
                  </a:lnTo>
                  <a:lnTo>
                    <a:pt x="561736" y="23340"/>
                  </a:lnTo>
                  <a:lnTo>
                    <a:pt x="561960" y="24100"/>
                  </a:lnTo>
                  <a:lnTo>
                    <a:pt x="566579" y="23946"/>
                  </a:lnTo>
                  <a:lnTo>
                    <a:pt x="570423" y="24885"/>
                  </a:lnTo>
                  <a:lnTo>
                    <a:pt x="577730" y="29778"/>
                  </a:lnTo>
                  <a:lnTo>
                    <a:pt x="578488" y="32061"/>
                  </a:lnTo>
                  <a:lnTo>
                    <a:pt x="578123" y="34824"/>
                  </a:lnTo>
                  <a:lnTo>
                    <a:pt x="567616" y="37866"/>
                  </a:lnTo>
                  <a:lnTo>
                    <a:pt x="563062" y="40768"/>
                  </a:lnTo>
                  <a:lnTo>
                    <a:pt x="555608" y="41887"/>
                  </a:lnTo>
                  <a:lnTo>
                    <a:pt x="530295" y="39947"/>
                  </a:lnTo>
                  <a:lnTo>
                    <a:pt x="530807" y="42044"/>
                  </a:lnTo>
                  <a:lnTo>
                    <a:pt x="548432" y="46625"/>
                  </a:lnTo>
                  <a:lnTo>
                    <a:pt x="549438" y="47931"/>
                  </a:lnTo>
                  <a:lnTo>
                    <a:pt x="548874" y="50679"/>
                  </a:lnTo>
                  <a:lnTo>
                    <a:pt x="548866" y="52881"/>
                  </a:lnTo>
                  <a:lnTo>
                    <a:pt x="549196" y="54381"/>
                  </a:lnTo>
                  <a:lnTo>
                    <a:pt x="550494" y="55779"/>
                  </a:lnTo>
                  <a:lnTo>
                    <a:pt x="552649" y="56436"/>
                  </a:lnTo>
                  <a:lnTo>
                    <a:pt x="557033" y="56090"/>
                  </a:lnTo>
                  <a:lnTo>
                    <a:pt x="559198" y="56841"/>
                  </a:lnTo>
                  <a:lnTo>
                    <a:pt x="560678" y="55726"/>
                  </a:lnTo>
                  <a:lnTo>
                    <a:pt x="561228" y="51977"/>
                  </a:lnTo>
                  <a:lnTo>
                    <a:pt x="562500" y="51147"/>
                  </a:lnTo>
                  <a:lnTo>
                    <a:pt x="564960" y="52236"/>
                  </a:lnTo>
                  <a:lnTo>
                    <a:pt x="566031" y="56242"/>
                  </a:lnTo>
                  <a:lnTo>
                    <a:pt x="566717" y="56657"/>
                  </a:lnTo>
                  <a:lnTo>
                    <a:pt x="567957" y="53800"/>
                  </a:lnTo>
                  <a:lnTo>
                    <a:pt x="570393" y="54006"/>
                  </a:lnTo>
                  <a:lnTo>
                    <a:pt x="573044" y="53768"/>
                  </a:lnTo>
                  <a:lnTo>
                    <a:pt x="576478" y="54250"/>
                  </a:lnTo>
                  <a:lnTo>
                    <a:pt x="577681" y="59427"/>
                  </a:lnTo>
                  <a:lnTo>
                    <a:pt x="577644" y="61230"/>
                  </a:lnTo>
                  <a:lnTo>
                    <a:pt x="577074" y="62978"/>
                  </a:lnTo>
                  <a:lnTo>
                    <a:pt x="576279" y="63871"/>
                  </a:lnTo>
                  <a:lnTo>
                    <a:pt x="574690" y="64260"/>
                  </a:lnTo>
                  <a:lnTo>
                    <a:pt x="570855" y="64101"/>
                  </a:lnTo>
                  <a:lnTo>
                    <a:pt x="565642" y="62058"/>
                  </a:lnTo>
                  <a:lnTo>
                    <a:pt x="562278" y="60133"/>
                  </a:lnTo>
                  <a:lnTo>
                    <a:pt x="561230" y="60052"/>
                  </a:lnTo>
                  <a:lnTo>
                    <a:pt x="560779" y="60286"/>
                  </a:lnTo>
                  <a:lnTo>
                    <a:pt x="561591" y="62220"/>
                  </a:lnTo>
                  <a:lnTo>
                    <a:pt x="561375" y="63701"/>
                  </a:lnTo>
                  <a:lnTo>
                    <a:pt x="560868" y="65313"/>
                  </a:lnTo>
                  <a:lnTo>
                    <a:pt x="560162" y="66774"/>
                  </a:lnTo>
                  <a:lnTo>
                    <a:pt x="559177" y="68002"/>
                  </a:lnTo>
                  <a:lnTo>
                    <a:pt x="557115" y="69580"/>
                  </a:lnTo>
                  <a:lnTo>
                    <a:pt x="553547" y="70830"/>
                  </a:lnTo>
                  <a:lnTo>
                    <a:pt x="543720" y="73260"/>
                  </a:lnTo>
                  <a:lnTo>
                    <a:pt x="542940" y="74333"/>
                  </a:lnTo>
                  <a:lnTo>
                    <a:pt x="539777" y="81084"/>
                  </a:lnTo>
                  <a:lnTo>
                    <a:pt x="538913" y="82073"/>
                  </a:lnTo>
                  <a:lnTo>
                    <a:pt x="537756" y="82910"/>
                  </a:lnTo>
                  <a:lnTo>
                    <a:pt x="534379" y="83995"/>
                  </a:lnTo>
                  <a:lnTo>
                    <a:pt x="532744" y="82497"/>
                  </a:lnTo>
                  <a:lnTo>
                    <a:pt x="531433" y="80230"/>
                  </a:lnTo>
                  <a:lnTo>
                    <a:pt x="531735" y="77980"/>
                  </a:lnTo>
                  <a:lnTo>
                    <a:pt x="535685" y="73656"/>
                  </a:lnTo>
                  <a:lnTo>
                    <a:pt x="539375" y="70586"/>
                  </a:lnTo>
                  <a:lnTo>
                    <a:pt x="540416" y="69522"/>
                  </a:lnTo>
                  <a:lnTo>
                    <a:pt x="542506" y="66432"/>
                  </a:lnTo>
                  <a:lnTo>
                    <a:pt x="538265" y="58655"/>
                  </a:lnTo>
                  <a:lnTo>
                    <a:pt x="530720" y="56294"/>
                  </a:lnTo>
                  <a:lnTo>
                    <a:pt x="522126" y="52702"/>
                  </a:lnTo>
                  <a:lnTo>
                    <a:pt x="518973" y="50783"/>
                  </a:lnTo>
                  <a:lnTo>
                    <a:pt x="514067" y="46826"/>
                  </a:lnTo>
                  <a:lnTo>
                    <a:pt x="510589" y="43266"/>
                  </a:lnTo>
                  <a:lnTo>
                    <a:pt x="507447" y="43140"/>
                  </a:lnTo>
                  <a:lnTo>
                    <a:pt x="503994" y="44035"/>
                  </a:lnTo>
                  <a:lnTo>
                    <a:pt x="498606" y="47285"/>
                  </a:lnTo>
                  <a:lnTo>
                    <a:pt x="495458" y="48918"/>
                  </a:lnTo>
                  <a:lnTo>
                    <a:pt x="493730" y="49400"/>
                  </a:lnTo>
                  <a:lnTo>
                    <a:pt x="493313" y="49471"/>
                  </a:lnTo>
                  <a:lnTo>
                    <a:pt x="489457" y="48546"/>
                  </a:lnTo>
                  <a:lnTo>
                    <a:pt x="485166" y="48351"/>
                  </a:lnTo>
                  <a:lnTo>
                    <a:pt x="481717" y="48617"/>
                  </a:lnTo>
                  <a:lnTo>
                    <a:pt x="480415" y="49063"/>
                  </a:lnTo>
                  <a:lnTo>
                    <a:pt x="475613" y="54309"/>
                  </a:lnTo>
                  <a:lnTo>
                    <a:pt x="472251" y="56954"/>
                  </a:lnTo>
                  <a:lnTo>
                    <a:pt x="470400" y="57864"/>
                  </a:lnTo>
                  <a:lnTo>
                    <a:pt x="469053" y="59393"/>
                  </a:lnTo>
                  <a:lnTo>
                    <a:pt x="467947" y="61904"/>
                  </a:lnTo>
                  <a:lnTo>
                    <a:pt x="465486" y="70594"/>
                  </a:lnTo>
                  <a:lnTo>
                    <a:pt x="463650" y="73863"/>
                  </a:lnTo>
                  <a:lnTo>
                    <a:pt x="463240" y="75858"/>
                  </a:lnTo>
                  <a:lnTo>
                    <a:pt x="463672" y="81895"/>
                  </a:lnTo>
                  <a:lnTo>
                    <a:pt x="463233" y="85229"/>
                  </a:lnTo>
                  <a:lnTo>
                    <a:pt x="460985" y="87977"/>
                  </a:lnTo>
                  <a:lnTo>
                    <a:pt x="459407" y="89213"/>
                  </a:lnTo>
                  <a:lnTo>
                    <a:pt x="457319" y="89467"/>
                  </a:lnTo>
                  <a:lnTo>
                    <a:pt x="454583" y="90168"/>
                  </a:lnTo>
                  <a:lnTo>
                    <a:pt x="452194" y="91756"/>
                  </a:lnTo>
                  <a:lnTo>
                    <a:pt x="450508" y="93919"/>
                  </a:lnTo>
                  <a:lnTo>
                    <a:pt x="448607" y="98760"/>
                  </a:lnTo>
                  <a:lnTo>
                    <a:pt x="445390" y="100541"/>
                  </a:lnTo>
                  <a:lnTo>
                    <a:pt x="442317" y="100033"/>
                  </a:lnTo>
                  <a:lnTo>
                    <a:pt x="440123" y="98251"/>
                  </a:lnTo>
                  <a:lnTo>
                    <a:pt x="435420" y="96871"/>
                  </a:lnTo>
                  <a:lnTo>
                    <a:pt x="431915" y="95991"/>
                  </a:lnTo>
                  <a:lnTo>
                    <a:pt x="427981" y="94089"/>
                  </a:lnTo>
                  <a:lnTo>
                    <a:pt x="424516" y="92640"/>
                  </a:lnTo>
                  <a:lnTo>
                    <a:pt x="421345" y="92352"/>
                  </a:lnTo>
                  <a:lnTo>
                    <a:pt x="419545" y="94184"/>
                  </a:lnTo>
                  <a:lnTo>
                    <a:pt x="418095" y="95901"/>
                  </a:lnTo>
                  <a:lnTo>
                    <a:pt x="412688" y="97296"/>
                  </a:lnTo>
                  <a:lnTo>
                    <a:pt x="409627" y="98399"/>
                  </a:lnTo>
                  <a:lnTo>
                    <a:pt x="405653" y="98645"/>
                  </a:lnTo>
                  <a:lnTo>
                    <a:pt x="404047" y="97422"/>
                  </a:lnTo>
                  <a:lnTo>
                    <a:pt x="398283" y="96615"/>
                  </a:lnTo>
                  <a:lnTo>
                    <a:pt x="391421" y="95656"/>
                  </a:lnTo>
                  <a:lnTo>
                    <a:pt x="389436" y="95670"/>
                  </a:lnTo>
                  <a:lnTo>
                    <a:pt x="388817" y="93482"/>
                  </a:lnTo>
                  <a:lnTo>
                    <a:pt x="386992" y="90423"/>
                  </a:lnTo>
                  <a:lnTo>
                    <a:pt x="382112" y="85126"/>
                  </a:lnTo>
                  <a:lnTo>
                    <a:pt x="380116" y="83253"/>
                  </a:lnTo>
                  <a:lnTo>
                    <a:pt x="376363" y="78851"/>
                  </a:lnTo>
                  <a:lnTo>
                    <a:pt x="371986" y="74329"/>
                  </a:lnTo>
                  <a:lnTo>
                    <a:pt x="371366" y="74217"/>
                  </a:lnTo>
                  <a:lnTo>
                    <a:pt x="368436" y="74065"/>
                  </a:lnTo>
                  <a:lnTo>
                    <a:pt x="364137" y="74214"/>
                  </a:lnTo>
                  <a:lnTo>
                    <a:pt x="361416" y="75242"/>
                  </a:lnTo>
                  <a:lnTo>
                    <a:pt x="359699" y="76533"/>
                  </a:lnTo>
                  <a:lnTo>
                    <a:pt x="359401" y="77604"/>
                  </a:lnTo>
                  <a:lnTo>
                    <a:pt x="361064" y="81713"/>
                  </a:lnTo>
                  <a:lnTo>
                    <a:pt x="360548" y="82736"/>
                  </a:lnTo>
                  <a:lnTo>
                    <a:pt x="359691" y="83228"/>
                  </a:lnTo>
                  <a:lnTo>
                    <a:pt x="355789" y="82077"/>
                  </a:lnTo>
                  <a:lnTo>
                    <a:pt x="351070" y="82153"/>
                  </a:lnTo>
                  <a:lnTo>
                    <a:pt x="349882" y="83418"/>
                  </a:lnTo>
                  <a:lnTo>
                    <a:pt x="347004" y="83556"/>
                  </a:lnTo>
                  <a:lnTo>
                    <a:pt x="338706" y="84037"/>
                  </a:lnTo>
                  <a:lnTo>
                    <a:pt x="342368" y="87389"/>
                  </a:lnTo>
                  <a:lnTo>
                    <a:pt x="343579" y="88730"/>
                  </a:lnTo>
                  <a:lnTo>
                    <a:pt x="343821" y="90698"/>
                  </a:lnTo>
                  <a:lnTo>
                    <a:pt x="343189" y="94352"/>
                  </a:lnTo>
                  <a:lnTo>
                    <a:pt x="341433" y="97469"/>
                  </a:lnTo>
                  <a:lnTo>
                    <a:pt x="339386" y="100001"/>
                  </a:lnTo>
                  <a:lnTo>
                    <a:pt x="335436" y="102509"/>
                  </a:lnTo>
                  <a:lnTo>
                    <a:pt x="341433" y="104984"/>
                  </a:lnTo>
                  <a:lnTo>
                    <a:pt x="337363" y="108323"/>
                  </a:lnTo>
                  <a:lnTo>
                    <a:pt x="335458" y="109623"/>
                  </a:lnTo>
                  <a:lnTo>
                    <a:pt x="333251" y="109399"/>
                  </a:lnTo>
                  <a:lnTo>
                    <a:pt x="329297" y="108244"/>
                  </a:lnTo>
                  <a:lnTo>
                    <a:pt x="319740" y="105452"/>
                  </a:lnTo>
                  <a:lnTo>
                    <a:pt x="315177" y="104401"/>
                  </a:lnTo>
                  <a:lnTo>
                    <a:pt x="311100" y="104079"/>
                  </a:lnTo>
                  <a:lnTo>
                    <a:pt x="308923" y="104120"/>
                  </a:lnTo>
                  <a:lnTo>
                    <a:pt x="300273" y="101727"/>
                  </a:lnTo>
                  <a:lnTo>
                    <a:pt x="298602" y="101995"/>
                  </a:lnTo>
                  <a:lnTo>
                    <a:pt x="295496" y="103032"/>
                  </a:lnTo>
                  <a:lnTo>
                    <a:pt x="295153" y="105358"/>
                  </a:lnTo>
                  <a:lnTo>
                    <a:pt x="295349" y="111135"/>
                  </a:lnTo>
                  <a:lnTo>
                    <a:pt x="295807" y="115572"/>
                  </a:lnTo>
                  <a:lnTo>
                    <a:pt x="294665" y="118133"/>
                  </a:lnTo>
                  <a:lnTo>
                    <a:pt x="293520" y="119869"/>
                  </a:lnTo>
                  <a:lnTo>
                    <a:pt x="290059" y="124542"/>
                  </a:lnTo>
                  <a:lnTo>
                    <a:pt x="282277" y="121367"/>
                  </a:lnTo>
                  <a:lnTo>
                    <a:pt x="276967" y="119261"/>
                  </a:lnTo>
                  <a:lnTo>
                    <a:pt x="273559" y="122064"/>
                  </a:lnTo>
                  <a:lnTo>
                    <a:pt x="265004" y="127192"/>
                  </a:lnTo>
                  <a:lnTo>
                    <a:pt x="260624" y="137276"/>
                  </a:lnTo>
                  <a:lnTo>
                    <a:pt x="260372" y="137605"/>
                  </a:lnTo>
                  <a:lnTo>
                    <a:pt x="257785" y="140161"/>
                  </a:lnTo>
                  <a:lnTo>
                    <a:pt x="254468" y="141334"/>
                  </a:lnTo>
                  <a:lnTo>
                    <a:pt x="251957" y="141914"/>
                  </a:lnTo>
                  <a:lnTo>
                    <a:pt x="250495" y="144897"/>
                  </a:lnTo>
                  <a:lnTo>
                    <a:pt x="253902" y="149167"/>
                  </a:lnTo>
                  <a:lnTo>
                    <a:pt x="255651" y="151417"/>
                  </a:lnTo>
                  <a:lnTo>
                    <a:pt x="257280" y="155042"/>
                  </a:lnTo>
                  <a:lnTo>
                    <a:pt x="256979" y="157347"/>
                  </a:lnTo>
                  <a:lnTo>
                    <a:pt x="256599" y="158780"/>
                  </a:lnTo>
                  <a:lnTo>
                    <a:pt x="252933" y="161708"/>
                  </a:lnTo>
                  <a:lnTo>
                    <a:pt x="245116" y="169424"/>
                  </a:lnTo>
                  <a:lnTo>
                    <a:pt x="237882" y="177449"/>
                  </a:lnTo>
                  <a:lnTo>
                    <a:pt x="234917" y="179747"/>
                  </a:lnTo>
                  <a:lnTo>
                    <a:pt x="236262" y="186523"/>
                  </a:lnTo>
                  <a:lnTo>
                    <a:pt x="233855" y="188504"/>
                  </a:lnTo>
                  <a:lnTo>
                    <a:pt x="228955" y="190744"/>
                  </a:lnTo>
                  <a:lnTo>
                    <a:pt x="226450" y="191608"/>
                  </a:lnTo>
                  <a:lnTo>
                    <a:pt x="223751" y="192114"/>
                  </a:lnTo>
                  <a:lnTo>
                    <a:pt x="215465" y="193008"/>
                  </a:lnTo>
                  <a:lnTo>
                    <a:pt x="216940" y="200220"/>
                  </a:lnTo>
                  <a:lnTo>
                    <a:pt x="217497" y="203404"/>
                  </a:lnTo>
                  <a:lnTo>
                    <a:pt x="217484" y="205291"/>
                  </a:lnTo>
                  <a:lnTo>
                    <a:pt x="216627" y="207126"/>
                  </a:lnTo>
                  <a:lnTo>
                    <a:pt x="215603" y="210635"/>
                  </a:lnTo>
                  <a:lnTo>
                    <a:pt x="214059" y="223129"/>
                  </a:lnTo>
                  <a:lnTo>
                    <a:pt x="212878" y="224469"/>
                  </a:lnTo>
                  <a:lnTo>
                    <a:pt x="211246" y="227840"/>
                  </a:lnTo>
                  <a:lnTo>
                    <a:pt x="205999" y="235919"/>
                  </a:lnTo>
                  <a:lnTo>
                    <a:pt x="201790" y="241272"/>
                  </a:lnTo>
                  <a:lnTo>
                    <a:pt x="195720" y="248960"/>
                  </a:lnTo>
                  <a:lnTo>
                    <a:pt x="200656" y="251381"/>
                  </a:lnTo>
                  <a:lnTo>
                    <a:pt x="205169" y="253145"/>
                  </a:lnTo>
                  <a:lnTo>
                    <a:pt x="206104" y="255857"/>
                  </a:lnTo>
                  <a:lnTo>
                    <a:pt x="206726" y="260380"/>
                  </a:lnTo>
                  <a:lnTo>
                    <a:pt x="206575" y="263453"/>
                  </a:lnTo>
                  <a:lnTo>
                    <a:pt x="204852" y="266213"/>
                  </a:lnTo>
                  <a:lnTo>
                    <a:pt x="203513" y="268148"/>
                  </a:lnTo>
                  <a:lnTo>
                    <a:pt x="202580" y="269091"/>
                  </a:lnTo>
                  <a:lnTo>
                    <a:pt x="196171" y="268152"/>
                  </a:lnTo>
                  <a:lnTo>
                    <a:pt x="187966" y="266945"/>
                  </a:lnTo>
                  <a:lnTo>
                    <a:pt x="185841" y="266934"/>
                  </a:lnTo>
                  <a:lnTo>
                    <a:pt x="181066" y="267803"/>
                  </a:lnTo>
                  <a:lnTo>
                    <a:pt x="176758" y="269586"/>
                  </a:lnTo>
                  <a:lnTo>
                    <a:pt x="174487" y="271088"/>
                  </a:lnTo>
                  <a:lnTo>
                    <a:pt x="173878" y="271685"/>
                  </a:lnTo>
                  <a:lnTo>
                    <a:pt x="171008" y="275099"/>
                  </a:lnTo>
                  <a:lnTo>
                    <a:pt x="165905" y="281156"/>
                  </a:lnTo>
                  <a:lnTo>
                    <a:pt x="163102" y="283795"/>
                  </a:lnTo>
                  <a:lnTo>
                    <a:pt x="163919" y="287426"/>
                  </a:lnTo>
                  <a:lnTo>
                    <a:pt x="159226" y="294429"/>
                  </a:lnTo>
                  <a:lnTo>
                    <a:pt x="162295" y="301478"/>
                  </a:lnTo>
                  <a:lnTo>
                    <a:pt x="162426" y="301709"/>
                  </a:lnTo>
                  <a:lnTo>
                    <a:pt x="164052" y="304551"/>
                  </a:lnTo>
                  <a:lnTo>
                    <a:pt x="162347" y="306381"/>
                  </a:lnTo>
                  <a:lnTo>
                    <a:pt x="161630" y="307364"/>
                  </a:lnTo>
                  <a:lnTo>
                    <a:pt x="161873" y="310603"/>
                  </a:lnTo>
                  <a:lnTo>
                    <a:pt x="162321" y="314217"/>
                  </a:lnTo>
                  <a:lnTo>
                    <a:pt x="161923" y="316334"/>
                  </a:lnTo>
                  <a:lnTo>
                    <a:pt x="161761" y="318682"/>
                  </a:lnTo>
                  <a:lnTo>
                    <a:pt x="165940" y="329208"/>
                  </a:lnTo>
                  <a:lnTo>
                    <a:pt x="165892" y="331669"/>
                  </a:lnTo>
                  <a:lnTo>
                    <a:pt x="165685" y="333254"/>
                  </a:lnTo>
                  <a:lnTo>
                    <a:pt x="164396" y="339764"/>
                  </a:lnTo>
                  <a:lnTo>
                    <a:pt x="162664" y="348480"/>
                  </a:lnTo>
                  <a:lnTo>
                    <a:pt x="165687" y="350764"/>
                  </a:lnTo>
                  <a:lnTo>
                    <a:pt x="169993" y="353492"/>
                  </a:lnTo>
                  <a:lnTo>
                    <a:pt x="172409" y="354565"/>
                  </a:lnTo>
                  <a:lnTo>
                    <a:pt x="175979" y="357800"/>
                  </a:lnTo>
                  <a:lnTo>
                    <a:pt x="178704" y="360956"/>
                  </a:lnTo>
                  <a:lnTo>
                    <a:pt x="178326" y="363049"/>
                  </a:lnTo>
                  <a:lnTo>
                    <a:pt x="177542" y="365356"/>
                  </a:lnTo>
                  <a:lnTo>
                    <a:pt x="176395" y="366968"/>
                  </a:lnTo>
                  <a:lnTo>
                    <a:pt x="175322" y="369179"/>
                  </a:lnTo>
                  <a:lnTo>
                    <a:pt x="174841" y="370806"/>
                  </a:lnTo>
                  <a:lnTo>
                    <a:pt x="174331" y="371244"/>
                  </a:lnTo>
                  <a:lnTo>
                    <a:pt x="169568" y="371422"/>
                  </a:lnTo>
                  <a:lnTo>
                    <a:pt x="167049" y="372037"/>
                  </a:lnTo>
                  <a:lnTo>
                    <a:pt x="165732" y="372726"/>
                  </a:lnTo>
                  <a:lnTo>
                    <a:pt x="166186" y="376434"/>
                  </a:lnTo>
                  <a:lnTo>
                    <a:pt x="169075" y="383209"/>
                  </a:lnTo>
                  <a:lnTo>
                    <a:pt x="171474" y="388013"/>
                  </a:lnTo>
                  <a:lnTo>
                    <a:pt x="172245" y="391175"/>
                  </a:lnTo>
                  <a:lnTo>
                    <a:pt x="171453" y="394375"/>
                  </a:lnTo>
                  <a:lnTo>
                    <a:pt x="170634" y="396012"/>
                  </a:lnTo>
                  <a:lnTo>
                    <a:pt x="170608" y="398214"/>
                  </a:lnTo>
                  <a:lnTo>
                    <a:pt x="169978" y="402590"/>
                  </a:lnTo>
                  <a:lnTo>
                    <a:pt x="168118" y="404799"/>
                  </a:lnTo>
                  <a:lnTo>
                    <a:pt x="165685" y="407204"/>
                  </a:lnTo>
                  <a:lnTo>
                    <a:pt x="162971" y="408999"/>
                  </a:lnTo>
                  <a:lnTo>
                    <a:pt x="160818" y="409503"/>
                  </a:lnTo>
                  <a:lnTo>
                    <a:pt x="158969" y="409711"/>
                  </a:lnTo>
                  <a:lnTo>
                    <a:pt x="157728" y="410622"/>
                  </a:lnTo>
                  <a:lnTo>
                    <a:pt x="156602" y="413299"/>
                  </a:lnTo>
                  <a:lnTo>
                    <a:pt x="155564" y="416106"/>
                  </a:lnTo>
                  <a:lnTo>
                    <a:pt x="152169" y="419553"/>
                  </a:lnTo>
                  <a:lnTo>
                    <a:pt x="152260" y="420752"/>
                  </a:lnTo>
                  <a:lnTo>
                    <a:pt x="153553" y="424829"/>
                  </a:lnTo>
                  <a:lnTo>
                    <a:pt x="154765" y="429460"/>
                  </a:lnTo>
                  <a:lnTo>
                    <a:pt x="153741" y="433781"/>
                  </a:lnTo>
                  <a:lnTo>
                    <a:pt x="152865" y="438308"/>
                  </a:lnTo>
                  <a:lnTo>
                    <a:pt x="151329" y="441320"/>
                  </a:lnTo>
                  <a:lnTo>
                    <a:pt x="149135" y="442395"/>
                  </a:lnTo>
                  <a:lnTo>
                    <a:pt x="147524" y="441858"/>
                  </a:lnTo>
                  <a:lnTo>
                    <a:pt x="145702" y="437727"/>
                  </a:lnTo>
                  <a:lnTo>
                    <a:pt x="145661" y="436776"/>
                  </a:lnTo>
                  <a:lnTo>
                    <a:pt x="145207" y="435511"/>
                  </a:lnTo>
                  <a:lnTo>
                    <a:pt x="140038" y="434250"/>
                  </a:lnTo>
                  <a:lnTo>
                    <a:pt x="139124" y="434296"/>
                  </a:lnTo>
                  <a:lnTo>
                    <a:pt x="137092" y="433557"/>
                  </a:lnTo>
                  <a:lnTo>
                    <a:pt x="135901" y="433348"/>
                  </a:lnTo>
                  <a:lnTo>
                    <a:pt x="133456" y="432921"/>
                  </a:lnTo>
                  <a:lnTo>
                    <a:pt x="131424" y="429261"/>
                  </a:lnTo>
                  <a:lnTo>
                    <a:pt x="129265" y="426212"/>
                  </a:lnTo>
                  <a:lnTo>
                    <a:pt x="128958" y="424936"/>
                  </a:lnTo>
                  <a:lnTo>
                    <a:pt x="129032" y="419218"/>
                  </a:lnTo>
                  <a:lnTo>
                    <a:pt x="128371" y="416670"/>
                  </a:lnTo>
                  <a:lnTo>
                    <a:pt x="128168" y="413889"/>
                  </a:lnTo>
                  <a:lnTo>
                    <a:pt x="126809" y="416151"/>
                  </a:lnTo>
                  <a:lnTo>
                    <a:pt x="127598" y="419723"/>
                  </a:lnTo>
                  <a:lnTo>
                    <a:pt x="125922" y="421220"/>
                  </a:lnTo>
                  <a:lnTo>
                    <a:pt x="123808" y="421947"/>
                  </a:lnTo>
                  <a:lnTo>
                    <a:pt x="124007" y="424035"/>
                  </a:lnTo>
                  <a:lnTo>
                    <a:pt x="124875" y="424430"/>
                  </a:lnTo>
                  <a:lnTo>
                    <a:pt x="125056" y="426595"/>
                  </a:lnTo>
                  <a:lnTo>
                    <a:pt x="124542" y="429796"/>
                  </a:lnTo>
                  <a:lnTo>
                    <a:pt x="120381" y="436895"/>
                  </a:lnTo>
                  <a:lnTo>
                    <a:pt x="119541" y="437657"/>
                  </a:lnTo>
                  <a:lnTo>
                    <a:pt x="118971" y="438614"/>
                  </a:lnTo>
                  <a:lnTo>
                    <a:pt x="116842" y="437978"/>
                  </a:lnTo>
                  <a:lnTo>
                    <a:pt x="114110" y="439950"/>
                  </a:lnTo>
                  <a:lnTo>
                    <a:pt x="111523" y="440266"/>
                  </a:lnTo>
                  <a:lnTo>
                    <a:pt x="110586" y="438035"/>
                  </a:lnTo>
                  <a:lnTo>
                    <a:pt x="106936" y="435079"/>
                  </a:lnTo>
                  <a:lnTo>
                    <a:pt x="105213" y="435245"/>
                  </a:lnTo>
                  <a:lnTo>
                    <a:pt x="106760" y="436704"/>
                  </a:lnTo>
                  <a:lnTo>
                    <a:pt x="108284" y="438599"/>
                  </a:lnTo>
                  <a:lnTo>
                    <a:pt x="107418" y="439853"/>
                  </a:lnTo>
                  <a:lnTo>
                    <a:pt x="106567" y="440671"/>
                  </a:lnTo>
                  <a:lnTo>
                    <a:pt x="105077" y="441095"/>
                  </a:lnTo>
                  <a:lnTo>
                    <a:pt x="99746" y="443570"/>
                  </a:lnTo>
                  <a:lnTo>
                    <a:pt x="101644" y="445231"/>
                  </a:lnTo>
                  <a:lnTo>
                    <a:pt x="100033" y="447116"/>
                  </a:lnTo>
                  <a:lnTo>
                    <a:pt x="98170" y="447393"/>
                  </a:lnTo>
                  <a:lnTo>
                    <a:pt x="97176" y="448273"/>
                  </a:lnTo>
                  <a:lnTo>
                    <a:pt x="96831" y="449467"/>
                  </a:lnTo>
                  <a:lnTo>
                    <a:pt x="91309" y="452866"/>
                  </a:lnTo>
                  <a:lnTo>
                    <a:pt x="82309" y="461559"/>
                  </a:lnTo>
                  <a:lnTo>
                    <a:pt x="77684" y="464009"/>
                  </a:lnTo>
                  <a:lnTo>
                    <a:pt x="74453" y="466554"/>
                  </a:lnTo>
                  <a:lnTo>
                    <a:pt x="71607" y="466491"/>
                  </a:lnTo>
                  <a:lnTo>
                    <a:pt x="68029" y="468652"/>
                  </a:lnTo>
                  <a:lnTo>
                    <a:pt x="58970" y="470547"/>
                  </a:lnTo>
                  <a:lnTo>
                    <a:pt x="52961" y="469690"/>
                  </a:lnTo>
                  <a:lnTo>
                    <a:pt x="48776" y="470442"/>
                  </a:lnTo>
                  <a:lnTo>
                    <a:pt x="46532" y="468957"/>
                  </a:lnTo>
                  <a:lnTo>
                    <a:pt x="46241" y="467936"/>
                  </a:lnTo>
                  <a:lnTo>
                    <a:pt x="46353" y="467343"/>
                  </a:lnTo>
                  <a:lnTo>
                    <a:pt x="46729" y="466632"/>
                  </a:lnTo>
                  <a:lnTo>
                    <a:pt x="45949" y="466380"/>
                  </a:lnTo>
                  <a:lnTo>
                    <a:pt x="44308" y="466257"/>
                  </a:lnTo>
                  <a:lnTo>
                    <a:pt x="43606" y="466974"/>
                  </a:lnTo>
                  <a:lnTo>
                    <a:pt x="43511" y="468602"/>
                  </a:lnTo>
                  <a:lnTo>
                    <a:pt x="42730" y="469027"/>
                  </a:lnTo>
                  <a:lnTo>
                    <a:pt x="39613" y="468096"/>
                  </a:lnTo>
                  <a:lnTo>
                    <a:pt x="38830" y="467257"/>
                  </a:lnTo>
                  <a:lnTo>
                    <a:pt x="39950" y="465556"/>
                  </a:lnTo>
                  <a:lnTo>
                    <a:pt x="41868" y="464023"/>
                  </a:lnTo>
                  <a:lnTo>
                    <a:pt x="41520" y="463709"/>
                  </a:lnTo>
                  <a:lnTo>
                    <a:pt x="41147" y="462777"/>
                  </a:lnTo>
                  <a:lnTo>
                    <a:pt x="40211" y="462659"/>
                  </a:lnTo>
                  <a:lnTo>
                    <a:pt x="37424" y="462884"/>
                  </a:lnTo>
                  <a:lnTo>
                    <a:pt x="35159" y="462609"/>
                  </a:lnTo>
                  <a:lnTo>
                    <a:pt x="27765" y="459156"/>
                  </a:lnTo>
                  <a:lnTo>
                    <a:pt x="26038" y="457312"/>
                  </a:lnTo>
                  <a:lnTo>
                    <a:pt x="20073" y="454363"/>
                  </a:lnTo>
                  <a:lnTo>
                    <a:pt x="17400" y="451234"/>
                  </a:lnTo>
                  <a:lnTo>
                    <a:pt x="15882" y="447798"/>
                  </a:lnTo>
                  <a:lnTo>
                    <a:pt x="15996" y="444680"/>
                  </a:lnTo>
                  <a:lnTo>
                    <a:pt x="16728" y="439723"/>
                  </a:lnTo>
                  <a:lnTo>
                    <a:pt x="17981" y="438496"/>
                  </a:lnTo>
                  <a:lnTo>
                    <a:pt x="23334" y="440234"/>
                  </a:lnTo>
                  <a:lnTo>
                    <a:pt x="28745" y="443134"/>
                  </a:lnTo>
                  <a:lnTo>
                    <a:pt x="29592" y="442991"/>
                  </a:lnTo>
                  <a:lnTo>
                    <a:pt x="31291" y="440715"/>
                  </a:lnTo>
                  <a:lnTo>
                    <a:pt x="34589" y="438885"/>
                  </a:lnTo>
                  <a:lnTo>
                    <a:pt x="33656" y="438380"/>
                  </a:lnTo>
                  <a:lnTo>
                    <a:pt x="28754" y="440479"/>
                  </a:lnTo>
                  <a:lnTo>
                    <a:pt x="26931" y="439316"/>
                  </a:lnTo>
                  <a:lnTo>
                    <a:pt x="24105" y="436946"/>
                  </a:lnTo>
                  <a:lnTo>
                    <a:pt x="24105" y="435725"/>
                  </a:lnTo>
                  <a:lnTo>
                    <a:pt x="25422" y="434503"/>
                  </a:lnTo>
                  <a:lnTo>
                    <a:pt x="25860" y="432849"/>
                  </a:lnTo>
                  <a:lnTo>
                    <a:pt x="25169" y="431287"/>
                  </a:lnTo>
                  <a:lnTo>
                    <a:pt x="25491" y="429160"/>
                  </a:lnTo>
                  <a:lnTo>
                    <a:pt x="27677" y="426901"/>
                  </a:lnTo>
                  <a:lnTo>
                    <a:pt x="30954" y="424611"/>
                  </a:lnTo>
                  <a:lnTo>
                    <a:pt x="33315" y="422399"/>
                  </a:lnTo>
                  <a:lnTo>
                    <a:pt x="35740" y="421036"/>
                  </a:lnTo>
                  <a:lnTo>
                    <a:pt x="35487" y="420581"/>
                  </a:lnTo>
                  <a:lnTo>
                    <a:pt x="32714" y="421449"/>
                  </a:lnTo>
                  <a:lnTo>
                    <a:pt x="30062" y="422921"/>
                  </a:lnTo>
                  <a:lnTo>
                    <a:pt x="26940" y="425385"/>
                  </a:lnTo>
                  <a:lnTo>
                    <a:pt x="23133" y="427381"/>
                  </a:lnTo>
                  <a:lnTo>
                    <a:pt x="20319" y="428155"/>
                  </a:lnTo>
                  <a:lnTo>
                    <a:pt x="18978" y="428795"/>
                  </a:lnTo>
                  <a:lnTo>
                    <a:pt x="16916" y="429417"/>
                  </a:lnTo>
                  <a:lnTo>
                    <a:pt x="14783" y="432273"/>
                  </a:lnTo>
                  <a:lnTo>
                    <a:pt x="12455" y="433495"/>
                  </a:lnTo>
                  <a:lnTo>
                    <a:pt x="8274" y="433619"/>
                  </a:lnTo>
                  <a:lnTo>
                    <a:pt x="7355" y="431533"/>
                  </a:lnTo>
                  <a:lnTo>
                    <a:pt x="8535" y="424101"/>
                  </a:lnTo>
                  <a:lnTo>
                    <a:pt x="9799" y="420472"/>
                  </a:lnTo>
                  <a:lnTo>
                    <a:pt x="11185" y="417901"/>
                  </a:lnTo>
                  <a:lnTo>
                    <a:pt x="13366" y="417468"/>
                  </a:lnTo>
                  <a:lnTo>
                    <a:pt x="14891" y="415582"/>
                  </a:lnTo>
                  <a:lnTo>
                    <a:pt x="16156" y="415582"/>
                  </a:lnTo>
                  <a:lnTo>
                    <a:pt x="17257" y="416453"/>
                  </a:lnTo>
                  <a:lnTo>
                    <a:pt x="21518" y="417297"/>
                  </a:lnTo>
                  <a:lnTo>
                    <a:pt x="23621" y="414895"/>
                  </a:lnTo>
                  <a:lnTo>
                    <a:pt x="26357" y="414543"/>
                  </a:lnTo>
                  <a:lnTo>
                    <a:pt x="31345" y="412116"/>
                  </a:lnTo>
                  <a:lnTo>
                    <a:pt x="31241" y="411674"/>
                  </a:lnTo>
                  <a:lnTo>
                    <a:pt x="27866" y="412208"/>
                  </a:lnTo>
                  <a:lnTo>
                    <a:pt x="25819" y="412287"/>
                  </a:lnTo>
                  <a:lnTo>
                    <a:pt x="22885" y="412896"/>
                  </a:lnTo>
                  <a:lnTo>
                    <a:pt x="21326" y="412461"/>
                  </a:lnTo>
                  <a:lnTo>
                    <a:pt x="20596" y="410642"/>
                  </a:lnTo>
                  <a:lnTo>
                    <a:pt x="21770" y="409002"/>
                  </a:lnTo>
                  <a:lnTo>
                    <a:pt x="26478" y="405081"/>
                  </a:lnTo>
                  <a:lnTo>
                    <a:pt x="28102" y="403361"/>
                  </a:lnTo>
                  <a:lnTo>
                    <a:pt x="29028" y="401753"/>
                  </a:lnTo>
                  <a:lnTo>
                    <a:pt x="28881" y="400658"/>
                  </a:lnTo>
                  <a:lnTo>
                    <a:pt x="29663" y="398392"/>
                  </a:lnTo>
                  <a:lnTo>
                    <a:pt x="34267" y="394426"/>
                  </a:lnTo>
                  <a:lnTo>
                    <a:pt x="38011" y="392611"/>
                  </a:lnTo>
                  <a:lnTo>
                    <a:pt x="39240" y="394173"/>
                  </a:lnTo>
                  <a:lnTo>
                    <a:pt x="38195" y="399051"/>
                  </a:lnTo>
                  <a:lnTo>
                    <a:pt x="38205" y="401062"/>
                  </a:lnTo>
                  <a:lnTo>
                    <a:pt x="41170" y="393952"/>
                  </a:lnTo>
                  <a:lnTo>
                    <a:pt x="42475" y="392258"/>
                  </a:lnTo>
                  <a:lnTo>
                    <a:pt x="43960" y="391063"/>
                  </a:lnTo>
                  <a:lnTo>
                    <a:pt x="47556" y="390260"/>
                  </a:lnTo>
                  <a:lnTo>
                    <a:pt x="48573" y="389136"/>
                  </a:lnTo>
                  <a:lnTo>
                    <a:pt x="44386" y="389508"/>
                  </a:lnTo>
                  <a:lnTo>
                    <a:pt x="34228" y="392228"/>
                  </a:lnTo>
                  <a:lnTo>
                    <a:pt x="29946" y="394649"/>
                  </a:lnTo>
                  <a:lnTo>
                    <a:pt x="28806" y="396513"/>
                  </a:lnTo>
                  <a:lnTo>
                    <a:pt x="25834" y="399318"/>
                  </a:lnTo>
                  <a:lnTo>
                    <a:pt x="24441" y="401138"/>
                  </a:lnTo>
                  <a:lnTo>
                    <a:pt x="23826" y="403807"/>
                  </a:lnTo>
                  <a:lnTo>
                    <a:pt x="22152" y="405256"/>
                  </a:lnTo>
                  <a:lnTo>
                    <a:pt x="19896" y="405791"/>
                  </a:lnTo>
                  <a:lnTo>
                    <a:pt x="16761" y="409168"/>
                  </a:lnTo>
                  <a:lnTo>
                    <a:pt x="15379" y="411878"/>
                  </a:lnTo>
                  <a:lnTo>
                    <a:pt x="12259" y="414035"/>
                  </a:lnTo>
                  <a:lnTo>
                    <a:pt x="10278" y="415692"/>
                  </a:lnTo>
                  <a:lnTo>
                    <a:pt x="9628" y="416283"/>
                  </a:lnTo>
                  <a:lnTo>
                    <a:pt x="8557" y="417911"/>
                  </a:lnTo>
                  <a:lnTo>
                    <a:pt x="7667" y="418025"/>
                  </a:lnTo>
                  <a:lnTo>
                    <a:pt x="6892" y="417071"/>
                  </a:lnTo>
                  <a:lnTo>
                    <a:pt x="6763" y="414970"/>
                  </a:lnTo>
                  <a:lnTo>
                    <a:pt x="7080" y="411611"/>
                  </a:lnTo>
                  <a:lnTo>
                    <a:pt x="8581" y="409191"/>
                  </a:lnTo>
                  <a:lnTo>
                    <a:pt x="9298" y="406824"/>
                  </a:lnTo>
                  <a:lnTo>
                    <a:pt x="8300" y="404611"/>
                  </a:lnTo>
                  <a:lnTo>
                    <a:pt x="8991" y="403214"/>
                  </a:lnTo>
                  <a:lnTo>
                    <a:pt x="10313" y="403262"/>
                  </a:lnTo>
                  <a:lnTo>
                    <a:pt x="12768" y="403899"/>
                  </a:lnTo>
                  <a:lnTo>
                    <a:pt x="15379" y="403797"/>
                  </a:lnTo>
                  <a:lnTo>
                    <a:pt x="19669" y="402047"/>
                  </a:lnTo>
                  <a:lnTo>
                    <a:pt x="18985" y="401024"/>
                  </a:lnTo>
                  <a:lnTo>
                    <a:pt x="17132" y="400878"/>
                  </a:lnTo>
                  <a:lnTo>
                    <a:pt x="13673" y="401024"/>
                  </a:lnTo>
                  <a:lnTo>
                    <a:pt x="10764" y="399313"/>
                  </a:lnTo>
                  <a:lnTo>
                    <a:pt x="8503" y="395906"/>
                  </a:lnTo>
                  <a:lnTo>
                    <a:pt x="7475" y="391346"/>
                  </a:lnTo>
                  <a:lnTo>
                    <a:pt x="8162" y="390040"/>
                  </a:lnTo>
                  <a:lnTo>
                    <a:pt x="16528" y="385382"/>
                  </a:lnTo>
                  <a:lnTo>
                    <a:pt x="18780" y="383264"/>
                  </a:lnTo>
                  <a:lnTo>
                    <a:pt x="17475" y="383054"/>
                  </a:lnTo>
                  <a:lnTo>
                    <a:pt x="14336" y="385623"/>
                  </a:lnTo>
                  <a:lnTo>
                    <a:pt x="9840" y="387216"/>
                  </a:lnTo>
                  <a:lnTo>
                    <a:pt x="7005" y="385001"/>
                  </a:lnTo>
                  <a:lnTo>
                    <a:pt x="5530" y="382612"/>
                  </a:lnTo>
                  <a:lnTo>
                    <a:pt x="4681" y="377560"/>
                  </a:lnTo>
                  <a:lnTo>
                    <a:pt x="4988" y="374959"/>
                  </a:lnTo>
                  <a:lnTo>
                    <a:pt x="4633" y="371534"/>
                  </a:lnTo>
                  <a:lnTo>
                    <a:pt x="6553" y="370420"/>
                  </a:lnTo>
                  <a:lnTo>
                    <a:pt x="8700" y="371012"/>
                  </a:lnTo>
                  <a:lnTo>
                    <a:pt x="10816" y="371232"/>
                  </a:lnTo>
                  <a:lnTo>
                    <a:pt x="15616" y="370932"/>
                  </a:lnTo>
                  <a:lnTo>
                    <a:pt x="26201" y="368874"/>
                  </a:lnTo>
                  <a:lnTo>
                    <a:pt x="33025" y="370097"/>
                  </a:lnTo>
                  <a:lnTo>
                    <a:pt x="35798" y="369985"/>
                  </a:lnTo>
                  <a:lnTo>
                    <a:pt x="40041" y="368212"/>
                  </a:lnTo>
                  <a:lnTo>
                    <a:pt x="43755" y="368029"/>
                  </a:lnTo>
                  <a:lnTo>
                    <a:pt x="46532" y="369384"/>
                  </a:lnTo>
                  <a:lnTo>
                    <a:pt x="48050" y="370937"/>
                  </a:lnTo>
                  <a:lnTo>
                    <a:pt x="48238" y="373013"/>
                  </a:lnTo>
                  <a:lnTo>
                    <a:pt x="49523" y="374396"/>
                  </a:lnTo>
                  <a:lnTo>
                    <a:pt x="50391" y="373947"/>
                  </a:lnTo>
                  <a:lnTo>
                    <a:pt x="49700" y="372303"/>
                  </a:lnTo>
                  <a:lnTo>
                    <a:pt x="49555" y="369753"/>
                  </a:lnTo>
                  <a:lnTo>
                    <a:pt x="60719" y="366861"/>
                  </a:lnTo>
                  <a:lnTo>
                    <a:pt x="62035" y="365736"/>
                  </a:lnTo>
                  <a:lnTo>
                    <a:pt x="57599" y="365345"/>
                  </a:lnTo>
                  <a:lnTo>
                    <a:pt x="56331" y="362701"/>
                  </a:lnTo>
                  <a:lnTo>
                    <a:pt x="58674" y="358695"/>
                  </a:lnTo>
                  <a:lnTo>
                    <a:pt x="58454" y="358175"/>
                  </a:lnTo>
                  <a:lnTo>
                    <a:pt x="55990" y="360290"/>
                  </a:lnTo>
                  <a:lnTo>
                    <a:pt x="54777" y="363263"/>
                  </a:lnTo>
                  <a:lnTo>
                    <a:pt x="55258" y="365633"/>
                  </a:lnTo>
                  <a:lnTo>
                    <a:pt x="54770" y="366733"/>
                  </a:lnTo>
                  <a:lnTo>
                    <a:pt x="52505" y="367237"/>
                  </a:lnTo>
                  <a:lnTo>
                    <a:pt x="47398" y="367420"/>
                  </a:lnTo>
                  <a:lnTo>
                    <a:pt x="44120" y="366415"/>
                  </a:lnTo>
                  <a:lnTo>
                    <a:pt x="41084" y="365869"/>
                  </a:lnTo>
                  <a:lnTo>
                    <a:pt x="40050" y="365111"/>
                  </a:lnTo>
                  <a:lnTo>
                    <a:pt x="40395" y="363419"/>
                  </a:lnTo>
                  <a:lnTo>
                    <a:pt x="39821" y="363070"/>
                  </a:lnTo>
                  <a:lnTo>
                    <a:pt x="38564" y="364591"/>
                  </a:lnTo>
                  <a:lnTo>
                    <a:pt x="37448" y="367620"/>
                  </a:lnTo>
                  <a:lnTo>
                    <a:pt x="35035" y="368317"/>
                  </a:lnTo>
                  <a:lnTo>
                    <a:pt x="28380" y="367193"/>
                  </a:lnTo>
                  <a:lnTo>
                    <a:pt x="18745" y="367855"/>
                  </a:lnTo>
                  <a:lnTo>
                    <a:pt x="14422" y="369378"/>
                  </a:lnTo>
                  <a:lnTo>
                    <a:pt x="11621" y="369179"/>
                  </a:lnTo>
                  <a:lnTo>
                    <a:pt x="6804" y="366511"/>
                  </a:lnTo>
                  <a:lnTo>
                    <a:pt x="4923" y="364387"/>
                  </a:lnTo>
                  <a:lnTo>
                    <a:pt x="4221" y="360099"/>
                  </a:lnTo>
                  <a:lnTo>
                    <a:pt x="4504" y="358210"/>
                  </a:lnTo>
                  <a:lnTo>
                    <a:pt x="8257" y="357414"/>
                  </a:lnTo>
                  <a:lnTo>
                    <a:pt x="10155" y="357470"/>
                  </a:lnTo>
                  <a:lnTo>
                    <a:pt x="11932" y="356454"/>
                  </a:lnTo>
                  <a:lnTo>
                    <a:pt x="10360" y="355794"/>
                  </a:lnTo>
                  <a:lnTo>
                    <a:pt x="8149" y="354496"/>
                  </a:lnTo>
                  <a:lnTo>
                    <a:pt x="6642" y="351893"/>
                  </a:lnTo>
                  <a:lnTo>
                    <a:pt x="4370" y="351044"/>
                  </a:lnTo>
                  <a:lnTo>
                    <a:pt x="2848" y="348822"/>
                  </a:lnTo>
                  <a:lnTo>
                    <a:pt x="2461" y="345461"/>
                  </a:lnTo>
                  <a:lnTo>
                    <a:pt x="2897" y="343122"/>
                  </a:lnTo>
                  <a:lnTo>
                    <a:pt x="4113" y="342369"/>
                  </a:lnTo>
                  <a:lnTo>
                    <a:pt x="7031" y="342881"/>
                  </a:lnTo>
                  <a:lnTo>
                    <a:pt x="14733" y="342488"/>
                  </a:lnTo>
                  <a:lnTo>
                    <a:pt x="21984" y="344865"/>
                  </a:lnTo>
                  <a:lnTo>
                    <a:pt x="26905" y="346212"/>
                  </a:lnTo>
                  <a:lnTo>
                    <a:pt x="36875" y="345535"/>
                  </a:lnTo>
                  <a:lnTo>
                    <a:pt x="42714" y="343413"/>
                  </a:lnTo>
                  <a:lnTo>
                    <a:pt x="41643" y="342826"/>
                  </a:lnTo>
                  <a:lnTo>
                    <a:pt x="35310" y="344053"/>
                  </a:lnTo>
                  <a:lnTo>
                    <a:pt x="29456" y="344003"/>
                  </a:lnTo>
                  <a:lnTo>
                    <a:pt x="19136" y="341603"/>
                  </a:lnTo>
                  <a:lnTo>
                    <a:pt x="14904" y="340829"/>
                  </a:lnTo>
                  <a:lnTo>
                    <a:pt x="10345" y="341171"/>
                  </a:lnTo>
                  <a:lnTo>
                    <a:pt x="7972" y="340442"/>
                  </a:lnTo>
                  <a:lnTo>
                    <a:pt x="6577" y="338065"/>
                  </a:lnTo>
                  <a:lnTo>
                    <a:pt x="7609" y="333512"/>
                  </a:lnTo>
                  <a:lnTo>
                    <a:pt x="9771" y="332528"/>
                  </a:lnTo>
                  <a:lnTo>
                    <a:pt x="10941" y="333717"/>
                  </a:lnTo>
                  <a:lnTo>
                    <a:pt x="12353" y="333792"/>
                  </a:lnTo>
                  <a:lnTo>
                    <a:pt x="13783" y="331887"/>
                  </a:lnTo>
                  <a:lnTo>
                    <a:pt x="15152" y="330801"/>
                  </a:lnTo>
                  <a:lnTo>
                    <a:pt x="16236" y="328341"/>
                  </a:lnTo>
                  <a:lnTo>
                    <a:pt x="20324" y="326007"/>
                  </a:lnTo>
                  <a:lnTo>
                    <a:pt x="22051" y="325809"/>
                  </a:lnTo>
                  <a:lnTo>
                    <a:pt x="24528" y="324733"/>
                  </a:lnTo>
                  <a:lnTo>
                    <a:pt x="26109" y="325038"/>
                  </a:lnTo>
                  <a:lnTo>
                    <a:pt x="27122" y="326118"/>
                  </a:lnTo>
                  <a:lnTo>
                    <a:pt x="28402" y="327012"/>
                  </a:lnTo>
                  <a:lnTo>
                    <a:pt x="31177" y="326903"/>
                  </a:lnTo>
                  <a:lnTo>
                    <a:pt x="39382" y="325033"/>
                  </a:lnTo>
                  <a:lnTo>
                    <a:pt x="40266" y="324483"/>
                  </a:lnTo>
                  <a:lnTo>
                    <a:pt x="41866" y="322944"/>
                  </a:lnTo>
                  <a:lnTo>
                    <a:pt x="36664" y="323630"/>
                  </a:lnTo>
                  <a:lnTo>
                    <a:pt x="32343" y="324723"/>
                  </a:lnTo>
                  <a:lnTo>
                    <a:pt x="29566" y="325026"/>
                  </a:lnTo>
                  <a:lnTo>
                    <a:pt x="29175" y="323662"/>
                  </a:lnTo>
                  <a:lnTo>
                    <a:pt x="30199" y="322450"/>
                  </a:lnTo>
                  <a:lnTo>
                    <a:pt x="31807" y="321160"/>
                  </a:lnTo>
                  <a:lnTo>
                    <a:pt x="32589" y="318959"/>
                  </a:lnTo>
                  <a:lnTo>
                    <a:pt x="34359" y="318019"/>
                  </a:lnTo>
                  <a:lnTo>
                    <a:pt x="36273" y="318069"/>
                  </a:lnTo>
                  <a:lnTo>
                    <a:pt x="40229" y="317669"/>
                  </a:lnTo>
                  <a:lnTo>
                    <a:pt x="43021" y="317096"/>
                  </a:lnTo>
                  <a:lnTo>
                    <a:pt x="47808" y="317480"/>
                  </a:lnTo>
                  <a:lnTo>
                    <a:pt x="54943" y="318323"/>
                  </a:lnTo>
                  <a:lnTo>
                    <a:pt x="59542" y="320372"/>
                  </a:lnTo>
                  <a:lnTo>
                    <a:pt x="61274" y="320187"/>
                  </a:lnTo>
                  <a:lnTo>
                    <a:pt x="63110" y="319642"/>
                  </a:lnTo>
                  <a:lnTo>
                    <a:pt x="63941" y="318899"/>
                  </a:lnTo>
                  <a:lnTo>
                    <a:pt x="60331" y="318048"/>
                  </a:lnTo>
                  <a:lnTo>
                    <a:pt x="60125" y="316834"/>
                  </a:lnTo>
                  <a:lnTo>
                    <a:pt x="60573" y="315918"/>
                  </a:lnTo>
                  <a:lnTo>
                    <a:pt x="66461" y="314229"/>
                  </a:lnTo>
                  <a:lnTo>
                    <a:pt x="72892" y="313855"/>
                  </a:lnTo>
                  <a:lnTo>
                    <a:pt x="71786" y="312494"/>
                  </a:lnTo>
                  <a:lnTo>
                    <a:pt x="57698" y="314548"/>
                  </a:lnTo>
                  <a:lnTo>
                    <a:pt x="54021" y="313146"/>
                  </a:lnTo>
                  <a:lnTo>
                    <a:pt x="51119" y="313158"/>
                  </a:lnTo>
                  <a:lnTo>
                    <a:pt x="49218" y="313959"/>
                  </a:lnTo>
                  <a:lnTo>
                    <a:pt x="43803" y="314929"/>
                  </a:lnTo>
                  <a:lnTo>
                    <a:pt x="42807" y="314239"/>
                  </a:lnTo>
                  <a:lnTo>
                    <a:pt x="43837" y="311857"/>
                  </a:lnTo>
                  <a:lnTo>
                    <a:pt x="47081" y="307944"/>
                  </a:lnTo>
                  <a:lnTo>
                    <a:pt x="47351" y="306984"/>
                  </a:lnTo>
                  <a:lnTo>
                    <a:pt x="48856" y="306041"/>
                  </a:lnTo>
                  <a:lnTo>
                    <a:pt x="57271" y="303765"/>
                  </a:lnTo>
                  <a:lnTo>
                    <a:pt x="61313" y="301118"/>
                  </a:lnTo>
                  <a:lnTo>
                    <a:pt x="63136" y="300782"/>
                  </a:lnTo>
                  <a:lnTo>
                    <a:pt x="64943" y="300967"/>
                  </a:lnTo>
                  <a:lnTo>
                    <a:pt x="67692" y="300657"/>
                  </a:lnTo>
                  <a:lnTo>
                    <a:pt x="73004" y="301415"/>
                  </a:lnTo>
                  <a:lnTo>
                    <a:pt x="75448" y="304729"/>
                  </a:lnTo>
                  <a:lnTo>
                    <a:pt x="77647" y="305769"/>
                  </a:lnTo>
                  <a:lnTo>
                    <a:pt x="84559" y="309900"/>
                  </a:lnTo>
                  <a:lnTo>
                    <a:pt x="84250" y="308712"/>
                  </a:lnTo>
                  <a:lnTo>
                    <a:pt x="78267" y="303109"/>
                  </a:lnTo>
                  <a:lnTo>
                    <a:pt x="75980" y="301720"/>
                  </a:lnTo>
                  <a:lnTo>
                    <a:pt x="74274" y="298962"/>
                  </a:lnTo>
                  <a:lnTo>
                    <a:pt x="74859" y="296352"/>
                  </a:lnTo>
                  <a:lnTo>
                    <a:pt x="76783" y="294608"/>
                  </a:lnTo>
                  <a:lnTo>
                    <a:pt x="83609" y="293673"/>
                  </a:lnTo>
                  <a:lnTo>
                    <a:pt x="84833" y="292663"/>
                  </a:lnTo>
                  <a:lnTo>
                    <a:pt x="84954" y="290926"/>
                  </a:lnTo>
                  <a:lnTo>
                    <a:pt x="83909" y="289737"/>
                  </a:lnTo>
                  <a:lnTo>
                    <a:pt x="81398" y="289806"/>
                  </a:lnTo>
                  <a:lnTo>
                    <a:pt x="79327" y="289069"/>
                  </a:lnTo>
                  <a:lnTo>
                    <a:pt x="78757" y="287194"/>
                  </a:lnTo>
                  <a:lnTo>
                    <a:pt x="79584" y="285926"/>
                  </a:lnTo>
                  <a:lnTo>
                    <a:pt x="83520" y="283612"/>
                  </a:lnTo>
                  <a:lnTo>
                    <a:pt x="85675" y="282860"/>
                  </a:lnTo>
                  <a:lnTo>
                    <a:pt x="89407" y="282044"/>
                  </a:lnTo>
                  <a:lnTo>
                    <a:pt x="95896" y="283876"/>
                  </a:lnTo>
                  <a:lnTo>
                    <a:pt x="96388" y="284835"/>
                  </a:lnTo>
                  <a:lnTo>
                    <a:pt x="94570" y="287141"/>
                  </a:lnTo>
                  <a:lnTo>
                    <a:pt x="94753" y="288434"/>
                  </a:lnTo>
                  <a:lnTo>
                    <a:pt x="96343" y="288577"/>
                  </a:lnTo>
                  <a:lnTo>
                    <a:pt x="100048" y="284691"/>
                  </a:lnTo>
                  <a:lnTo>
                    <a:pt x="104406" y="284154"/>
                  </a:lnTo>
                  <a:lnTo>
                    <a:pt x="106209" y="283318"/>
                  </a:lnTo>
                  <a:lnTo>
                    <a:pt x="108301" y="282792"/>
                  </a:lnTo>
                  <a:lnTo>
                    <a:pt x="111294" y="286309"/>
                  </a:lnTo>
                  <a:lnTo>
                    <a:pt x="112605" y="287433"/>
                  </a:lnTo>
                  <a:lnTo>
                    <a:pt x="113590" y="287894"/>
                  </a:lnTo>
                  <a:lnTo>
                    <a:pt x="114544" y="290815"/>
                  </a:lnTo>
                  <a:lnTo>
                    <a:pt x="115468" y="290971"/>
                  </a:lnTo>
                  <a:lnTo>
                    <a:pt x="116785" y="289507"/>
                  </a:lnTo>
                  <a:lnTo>
                    <a:pt x="119174" y="288736"/>
                  </a:lnTo>
                  <a:lnTo>
                    <a:pt x="122523" y="288227"/>
                  </a:lnTo>
                  <a:lnTo>
                    <a:pt x="128070" y="289000"/>
                  </a:lnTo>
                  <a:lnTo>
                    <a:pt x="130582" y="288429"/>
                  </a:lnTo>
                  <a:lnTo>
                    <a:pt x="131813" y="288509"/>
                  </a:lnTo>
                  <a:lnTo>
                    <a:pt x="130632" y="285883"/>
                  </a:lnTo>
                  <a:lnTo>
                    <a:pt x="129899" y="285124"/>
                  </a:lnTo>
                  <a:lnTo>
                    <a:pt x="131042" y="282777"/>
                  </a:lnTo>
                  <a:lnTo>
                    <a:pt x="132234" y="281859"/>
                  </a:lnTo>
                  <a:lnTo>
                    <a:pt x="136067" y="280209"/>
                  </a:lnTo>
                  <a:lnTo>
                    <a:pt x="139722" y="279472"/>
                  </a:lnTo>
                  <a:lnTo>
                    <a:pt x="142109" y="277904"/>
                  </a:lnTo>
                  <a:lnTo>
                    <a:pt x="145313" y="276462"/>
                  </a:lnTo>
                  <a:lnTo>
                    <a:pt x="144810" y="275306"/>
                  </a:lnTo>
                  <a:lnTo>
                    <a:pt x="143918" y="273967"/>
                  </a:lnTo>
                  <a:lnTo>
                    <a:pt x="141845" y="273882"/>
                  </a:lnTo>
                  <a:lnTo>
                    <a:pt x="140999" y="273151"/>
                  </a:lnTo>
                  <a:lnTo>
                    <a:pt x="143631" y="271414"/>
                  </a:lnTo>
                  <a:lnTo>
                    <a:pt x="147235" y="269481"/>
                  </a:lnTo>
                  <a:lnTo>
                    <a:pt x="146607" y="268721"/>
                  </a:lnTo>
                  <a:lnTo>
                    <a:pt x="143897" y="267861"/>
                  </a:lnTo>
                  <a:lnTo>
                    <a:pt x="141839" y="268509"/>
                  </a:lnTo>
                  <a:lnTo>
                    <a:pt x="138779" y="270005"/>
                  </a:lnTo>
                  <a:lnTo>
                    <a:pt x="135220" y="272369"/>
                  </a:lnTo>
                  <a:lnTo>
                    <a:pt x="136380" y="273057"/>
                  </a:lnTo>
                  <a:lnTo>
                    <a:pt x="138161" y="275041"/>
                  </a:lnTo>
                  <a:lnTo>
                    <a:pt x="135676" y="277679"/>
                  </a:lnTo>
                  <a:lnTo>
                    <a:pt x="122504" y="284668"/>
                  </a:lnTo>
                  <a:lnTo>
                    <a:pt x="116222" y="286710"/>
                  </a:lnTo>
                  <a:lnTo>
                    <a:pt x="113324" y="286392"/>
                  </a:lnTo>
                  <a:lnTo>
                    <a:pt x="112633" y="284486"/>
                  </a:lnTo>
                  <a:lnTo>
                    <a:pt x="111296" y="283074"/>
                  </a:lnTo>
                  <a:lnTo>
                    <a:pt x="109863" y="280162"/>
                  </a:lnTo>
                  <a:lnTo>
                    <a:pt x="107425" y="280240"/>
                  </a:lnTo>
                  <a:lnTo>
                    <a:pt x="106040" y="280884"/>
                  </a:lnTo>
                  <a:lnTo>
                    <a:pt x="105436" y="279929"/>
                  </a:lnTo>
                  <a:lnTo>
                    <a:pt x="106485" y="276814"/>
                  </a:lnTo>
                  <a:lnTo>
                    <a:pt x="108548" y="274348"/>
                  </a:lnTo>
                  <a:lnTo>
                    <a:pt x="112007" y="272484"/>
                  </a:lnTo>
                  <a:lnTo>
                    <a:pt x="113665" y="270230"/>
                  </a:lnTo>
                  <a:lnTo>
                    <a:pt x="115224" y="266650"/>
                  </a:lnTo>
                  <a:lnTo>
                    <a:pt x="120228" y="263237"/>
                  </a:lnTo>
                  <a:lnTo>
                    <a:pt x="127511" y="254770"/>
                  </a:lnTo>
                  <a:lnTo>
                    <a:pt x="133445" y="252061"/>
                  </a:lnTo>
                  <a:lnTo>
                    <a:pt x="135620" y="249095"/>
                  </a:lnTo>
                  <a:lnTo>
                    <a:pt x="139116" y="247783"/>
                  </a:lnTo>
                  <a:lnTo>
                    <a:pt x="142100" y="245465"/>
                  </a:lnTo>
                  <a:lnTo>
                    <a:pt x="144443" y="245235"/>
                  </a:lnTo>
                  <a:lnTo>
                    <a:pt x="148699" y="243146"/>
                  </a:lnTo>
                  <a:lnTo>
                    <a:pt x="151111" y="240658"/>
                  </a:lnTo>
                  <a:lnTo>
                    <a:pt x="149537" y="240503"/>
                  </a:lnTo>
                  <a:lnTo>
                    <a:pt x="145795" y="242123"/>
                  </a:lnTo>
                  <a:lnTo>
                    <a:pt x="143678" y="242774"/>
                  </a:lnTo>
                  <a:lnTo>
                    <a:pt x="143828" y="240104"/>
                  </a:lnTo>
                  <a:lnTo>
                    <a:pt x="144853" y="237363"/>
                  </a:lnTo>
                  <a:lnTo>
                    <a:pt x="147937" y="234854"/>
                  </a:lnTo>
                  <a:lnTo>
                    <a:pt x="162759" y="227548"/>
                  </a:lnTo>
                  <a:lnTo>
                    <a:pt x="164238" y="228758"/>
                  </a:lnTo>
                  <a:lnTo>
                    <a:pt x="166006" y="230895"/>
                  </a:lnTo>
                  <a:lnTo>
                    <a:pt x="170470" y="230412"/>
                  </a:lnTo>
                  <a:lnTo>
                    <a:pt x="175556" y="226271"/>
                  </a:lnTo>
                  <a:lnTo>
                    <a:pt x="179473" y="221764"/>
                  </a:lnTo>
                  <a:lnTo>
                    <a:pt x="177356" y="222551"/>
                  </a:lnTo>
                  <a:lnTo>
                    <a:pt x="175046" y="224397"/>
                  </a:lnTo>
                  <a:lnTo>
                    <a:pt x="170543" y="226959"/>
                  </a:lnTo>
                  <a:lnTo>
                    <a:pt x="168462" y="227364"/>
                  </a:lnTo>
                  <a:lnTo>
                    <a:pt x="167274" y="227031"/>
                  </a:lnTo>
                  <a:lnTo>
                    <a:pt x="166613" y="225322"/>
                  </a:lnTo>
                  <a:lnTo>
                    <a:pt x="165052" y="224767"/>
                  </a:lnTo>
                  <a:lnTo>
                    <a:pt x="163642" y="225151"/>
                  </a:lnTo>
                  <a:lnTo>
                    <a:pt x="162189" y="223935"/>
                  </a:lnTo>
                  <a:lnTo>
                    <a:pt x="161930" y="220930"/>
                  </a:lnTo>
                  <a:lnTo>
                    <a:pt x="163789" y="216446"/>
                  </a:lnTo>
                  <a:lnTo>
                    <a:pt x="165262" y="213475"/>
                  </a:lnTo>
                  <a:lnTo>
                    <a:pt x="166853" y="211224"/>
                  </a:lnTo>
                  <a:lnTo>
                    <a:pt x="173109" y="204821"/>
                  </a:lnTo>
                  <a:lnTo>
                    <a:pt x="174461" y="201318"/>
                  </a:lnTo>
                  <a:lnTo>
                    <a:pt x="177290" y="199467"/>
                  </a:lnTo>
                  <a:lnTo>
                    <a:pt x="180964" y="199879"/>
                  </a:lnTo>
                  <a:lnTo>
                    <a:pt x="182073" y="199344"/>
                  </a:lnTo>
                  <a:lnTo>
                    <a:pt x="180811" y="197042"/>
                  </a:lnTo>
                  <a:lnTo>
                    <a:pt x="176806" y="195215"/>
                  </a:lnTo>
                  <a:lnTo>
                    <a:pt x="176560" y="194067"/>
                  </a:lnTo>
                  <a:lnTo>
                    <a:pt x="189900" y="191049"/>
                  </a:lnTo>
                  <a:lnTo>
                    <a:pt x="196253" y="191151"/>
                  </a:lnTo>
                  <a:lnTo>
                    <a:pt x="198138" y="189643"/>
                  </a:lnTo>
                  <a:lnTo>
                    <a:pt x="201591" y="188677"/>
                  </a:lnTo>
                  <a:lnTo>
                    <a:pt x="204208" y="186831"/>
                  </a:lnTo>
                  <a:lnTo>
                    <a:pt x="202859" y="186016"/>
                  </a:lnTo>
                  <a:lnTo>
                    <a:pt x="196407" y="187713"/>
                  </a:lnTo>
                  <a:lnTo>
                    <a:pt x="192373" y="188510"/>
                  </a:lnTo>
                  <a:lnTo>
                    <a:pt x="190548" y="188485"/>
                  </a:lnTo>
                  <a:lnTo>
                    <a:pt x="189125" y="189068"/>
                  </a:lnTo>
                  <a:lnTo>
                    <a:pt x="183969" y="189290"/>
                  </a:lnTo>
                  <a:lnTo>
                    <a:pt x="182848" y="181925"/>
                  </a:lnTo>
                  <a:lnTo>
                    <a:pt x="183655" y="177918"/>
                  </a:lnTo>
                  <a:lnTo>
                    <a:pt x="185577" y="178001"/>
                  </a:lnTo>
                  <a:lnTo>
                    <a:pt x="186015" y="174168"/>
                  </a:lnTo>
                  <a:lnTo>
                    <a:pt x="188235" y="171907"/>
                  </a:lnTo>
                  <a:lnTo>
                    <a:pt x="191300" y="171401"/>
                  </a:lnTo>
                  <a:lnTo>
                    <a:pt x="192844" y="170432"/>
                  </a:lnTo>
                  <a:lnTo>
                    <a:pt x="195074" y="168460"/>
                  </a:lnTo>
                  <a:lnTo>
                    <a:pt x="198765" y="168918"/>
                  </a:lnTo>
                  <a:lnTo>
                    <a:pt x="202556" y="168478"/>
                  </a:lnTo>
                  <a:lnTo>
                    <a:pt x="201617" y="167548"/>
                  </a:lnTo>
                  <a:lnTo>
                    <a:pt x="196910" y="166349"/>
                  </a:lnTo>
                  <a:lnTo>
                    <a:pt x="195748" y="164288"/>
                  </a:lnTo>
                  <a:lnTo>
                    <a:pt x="197408" y="163137"/>
                  </a:lnTo>
                  <a:lnTo>
                    <a:pt x="199216" y="162289"/>
                  </a:lnTo>
                  <a:lnTo>
                    <a:pt x="200803" y="162137"/>
                  </a:lnTo>
                  <a:lnTo>
                    <a:pt x="203947" y="158104"/>
                  </a:lnTo>
                  <a:lnTo>
                    <a:pt x="205858" y="156381"/>
                  </a:lnTo>
                  <a:lnTo>
                    <a:pt x="207998" y="156680"/>
                  </a:lnTo>
                  <a:lnTo>
                    <a:pt x="210978" y="154898"/>
                  </a:lnTo>
                  <a:lnTo>
                    <a:pt x="213904" y="155506"/>
                  </a:lnTo>
                  <a:lnTo>
                    <a:pt x="216735" y="154339"/>
                  </a:lnTo>
                  <a:lnTo>
                    <a:pt x="220602" y="153569"/>
                  </a:lnTo>
                  <a:lnTo>
                    <a:pt x="234757" y="153271"/>
                  </a:lnTo>
                  <a:lnTo>
                    <a:pt x="235178" y="151616"/>
                  </a:lnTo>
                  <a:lnTo>
                    <a:pt x="232201" y="151232"/>
                  </a:lnTo>
                  <a:lnTo>
                    <a:pt x="221682" y="150806"/>
                  </a:lnTo>
                  <a:lnTo>
                    <a:pt x="216312" y="150839"/>
                  </a:lnTo>
                  <a:lnTo>
                    <a:pt x="214051" y="151268"/>
                  </a:lnTo>
                  <a:lnTo>
                    <a:pt x="213220" y="150691"/>
                  </a:lnTo>
                  <a:lnTo>
                    <a:pt x="213366" y="149699"/>
                  </a:lnTo>
                  <a:lnTo>
                    <a:pt x="215318" y="148129"/>
                  </a:lnTo>
                  <a:lnTo>
                    <a:pt x="216245" y="146392"/>
                  </a:lnTo>
                  <a:lnTo>
                    <a:pt x="220147" y="142146"/>
                  </a:lnTo>
                  <a:lnTo>
                    <a:pt x="224722" y="139313"/>
                  </a:lnTo>
                  <a:lnTo>
                    <a:pt x="228229" y="140038"/>
                  </a:lnTo>
                  <a:lnTo>
                    <a:pt x="231959" y="142743"/>
                  </a:lnTo>
                  <a:lnTo>
                    <a:pt x="234617" y="143081"/>
                  </a:lnTo>
                  <a:lnTo>
                    <a:pt x="235854" y="143954"/>
                  </a:lnTo>
                  <a:lnTo>
                    <a:pt x="237791" y="147678"/>
                  </a:lnTo>
                  <a:lnTo>
                    <a:pt x="238709" y="147799"/>
                  </a:lnTo>
                  <a:lnTo>
                    <a:pt x="238294" y="144220"/>
                  </a:lnTo>
                  <a:lnTo>
                    <a:pt x="240855" y="141304"/>
                  </a:lnTo>
                  <a:lnTo>
                    <a:pt x="240188" y="140497"/>
                  </a:lnTo>
                  <a:lnTo>
                    <a:pt x="236340" y="141552"/>
                  </a:lnTo>
                  <a:lnTo>
                    <a:pt x="233392" y="140455"/>
                  </a:lnTo>
                  <a:lnTo>
                    <a:pt x="231065" y="138262"/>
                  </a:lnTo>
                  <a:lnTo>
                    <a:pt x="230399" y="136255"/>
                  </a:lnTo>
                  <a:lnTo>
                    <a:pt x="231846" y="134270"/>
                  </a:lnTo>
                  <a:lnTo>
                    <a:pt x="233211" y="133270"/>
                  </a:lnTo>
                  <a:lnTo>
                    <a:pt x="232285" y="132104"/>
                  </a:lnTo>
                  <a:lnTo>
                    <a:pt x="226467" y="135229"/>
                  </a:lnTo>
                  <a:lnTo>
                    <a:pt x="222352" y="135955"/>
                  </a:lnTo>
                  <a:lnTo>
                    <a:pt x="220730" y="135518"/>
                  </a:lnTo>
                  <a:lnTo>
                    <a:pt x="221609" y="132687"/>
                  </a:lnTo>
                  <a:lnTo>
                    <a:pt x="221119" y="130438"/>
                  </a:lnTo>
                  <a:lnTo>
                    <a:pt x="226636" y="124888"/>
                  </a:lnTo>
                  <a:lnTo>
                    <a:pt x="228534" y="124245"/>
                  </a:lnTo>
                  <a:lnTo>
                    <a:pt x="231632" y="124691"/>
                  </a:lnTo>
                  <a:lnTo>
                    <a:pt x="234429" y="126259"/>
                  </a:lnTo>
                  <a:lnTo>
                    <a:pt x="236768" y="126009"/>
                  </a:lnTo>
                  <a:lnTo>
                    <a:pt x="239305" y="125172"/>
                  </a:lnTo>
                  <a:lnTo>
                    <a:pt x="238959" y="123668"/>
                  </a:lnTo>
                  <a:lnTo>
                    <a:pt x="233457" y="123071"/>
                  </a:lnTo>
                  <a:lnTo>
                    <a:pt x="232041" y="121822"/>
                  </a:lnTo>
                  <a:lnTo>
                    <a:pt x="232552" y="120595"/>
                  </a:lnTo>
                  <a:lnTo>
                    <a:pt x="236329" y="119298"/>
                  </a:lnTo>
                  <a:lnTo>
                    <a:pt x="240085" y="116955"/>
                  </a:lnTo>
                  <a:lnTo>
                    <a:pt x="244388" y="116276"/>
                  </a:lnTo>
                  <a:lnTo>
                    <a:pt x="247852" y="114501"/>
                  </a:lnTo>
                  <a:lnTo>
                    <a:pt x="248519" y="114904"/>
                  </a:lnTo>
                  <a:lnTo>
                    <a:pt x="249104" y="115600"/>
                  </a:lnTo>
                  <a:lnTo>
                    <a:pt x="250348" y="122169"/>
                  </a:lnTo>
                  <a:lnTo>
                    <a:pt x="253442" y="127512"/>
                  </a:lnTo>
                  <a:lnTo>
                    <a:pt x="254582" y="127706"/>
                  </a:lnTo>
                  <a:lnTo>
                    <a:pt x="253395" y="123162"/>
                  </a:lnTo>
                  <a:lnTo>
                    <a:pt x="254503" y="121854"/>
                  </a:lnTo>
                  <a:lnTo>
                    <a:pt x="255906" y="120859"/>
                  </a:lnTo>
                  <a:lnTo>
                    <a:pt x="256344" y="119726"/>
                  </a:lnTo>
                  <a:lnTo>
                    <a:pt x="254736" y="119339"/>
                  </a:lnTo>
                  <a:lnTo>
                    <a:pt x="253421" y="117711"/>
                  </a:lnTo>
                  <a:lnTo>
                    <a:pt x="251542" y="112496"/>
                  </a:lnTo>
                  <a:lnTo>
                    <a:pt x="252183" y="111139"/>
                  </a:lnTo>
                  <a:lnTo>
                    <a:pt x="256254" y="108355"/>
                  </a:lnTo>
                  <a:lnTo>
                    <a:pt x="261361" y="107713"/>
                  </a:lnTo>
                  <a:lnTo>
                    <a:pt x="266802" y="109666"/>
                  </a:lnTo>
                  <a:lnTo>
                    <a:pt x="268713" y="109688"/>
                  </a:lnTo>
                  <a:lnTo>
                    <a:pt x="271868" y="109164"/>
                  </a:lnTo>
                  <a:lnTo>
                    <a:pt x="277221" y="107558"/>
                  </a:lnTo>
                  <a:lnTo>
                    <a:pt x="280370" y="106947"/>
                  </a:lnTo>
                  <a:lnTo>
                    <a:pt x="282013" y="106949"/>
                  </a:lnTo>
                  <a:lnTo>
                    <a:pt x="282419" y="106137"/>
                  </a:lnTo>
                  <a:lnTo>
                    <a:pt x="280897" y="105615"/>
                  </a:lnTo>
                  <a:lnTo>
                    <a:pt x="280406" y="105107"/>
                  </a:lnTo>
                  <a:lnTo>
                    <a:pt x="279212" y="104815"/>
                  </a:lnTo>
                  <a:lnTo>
                    <a:pt x="274263" y="105684"/>
                  </a:lnTo>
                  <a:lnTo>
                    <a:pt x="260609" y="105409"/>
                  </a:lnTo>
                  <a:lnTo>
                    <a:pt x="259292" y="104480"/>
                  </a:lnTo>
                  <a:lnTo>
                    <a:pt x="259050" y="102872"/>
                  </a:lnTo>
                  <a:lnTo>
                    <a:pt x="260499" y="100564"/>
                  </a:lnTo>
                  <a:lnTo>
                    <a:pt x="262091" y="99291"/>
                  </a:lnTo>
                  <a:lnTo>
                    <a:pt x="267239" y="96997"/>
                  </a:lnTo>
                  <a:lnTo>
                    <a:pt x="272689" y="96687"/>
                  </a:lnTo>
                  <a:lnTo>
                    <a:pt x="278431" y="92605"/>
                  </a:lnTo>
                  <a:lnTo>
                    <a:pt x="280625" y="89538"/>
                  </a:lnTo>
                  <a:lnTo>
                    <a:pt x="281868" y="84803"/>
                  </a:lnTo>
                  <a:lnTo>
                    <a:pt x="285369" y="80966"/>
                  </a:lnTo>
                  <a:lnTo>
                    <a:pt x="294144" y="78781"/>
                  </a:lnTo>
                  <a:lnTo>
                    <a:pt x="294499" y="77813"/>
                  </a:lnTo>
                  <a:lnTo>
                    <a:pt x="293568" y="75813"/>
                  </a:lnTo>
                  <a:lnTo>
                    <a:pt x="293641" y="72204"/>
                  </a:lnTo>
                  <a:lnTo>
                    <a:pt x="296047" y="67992"/>
                  </a:lnTo>
                  <a:lnTo>
                    <a:pt x="297645" y="66526"/>
                  </a:lnTo>
                  <a:lnTo>
                    <a:pt x="298383" y="66350"/>
                  </a:lnTo>
                  <a:lnTo>
                    <a:pt x="300275" y="67729"/>
                  </a:lnTo>
                  <a:lnTo>
                    <a:pt x="302573" y="70659"/>
                  </a:lnTo>
                  <a:lnTo>
                    <a:pt x="306175" y="72335"/>
                  </a:lnTo>
                  <a:lnTo>
                    <a:pt x="310895" y="72624"/>
                  </a:lnTo>
                  <a:lnTo>
                    <a:pt x="312154" y="71800"/>
                  </a:lnTo>
                  <a:lnTo>
                    <a:pt x="308485" y="70129"/>
                  </a:lnTo>
                  <a:lnTo>
                    <a:pt x="305708" y="67943"/>
                  </a:lnTo>
                  <a:lnTo>
                    <a:pt x="305488" y="65745"/>
                  </a:lnTo>
                  <a:lnTo>
                    <a:pt x="306805" y="64579"/>
                  </a:lnTo>
                  <a:lnTo>
                    <a:pt x="308852" y="64709"/>
                  </a:lnTo>
                  <a:lnTo>
                    <a:pt x="311422" y="64462"/>
                  </a:lnTo>
                  <a:lnTo>
                    <a:pt x="313816" y="62982"/>
                  </a:lnTo>
                  <a:lnTo>
                    <a:pt x="314164" y="61941"/>
                  </a:lnTo>
                  <a:lnTo>
                    <a:pt x="314264" y="60527"/>
                  </a:lnTo>
                  <a:lnTo>
                    <a:pt x="314862" y="59088"/>
                  </a:lnTo>
                  <a:lnTo>
                    <a:pt x="318375" y="55651"/>
                  </a:lnTo>
                  <a:lnTo>
                    <a:pt x="329204" y="53412"/>
                  </a:lnTo>
                  <a:lnTo>
                    <a:pt x="329988" y="54321"/>
                  </a:lnTo>
                  <a:lnTo>
                    <a:pt x="329403" y="60951"/>
                  </a:lnTo>
                  <a:lnTo>
                    <a:pt x="328159" y="65227"/>
                  </a:lnTo>
                  <a:lnTo>
                    <a:pt x="328198" y="68347"/>
                  </a:lnTo>
                  <a:lnTo>
                    <a:pt x="330306" y="65227"/>
                  </a:lnTo>
                  <a:lnTo>
                    <a:pt x="333132" y="56663"/>
                  </a:lnTo>
                  <a:lnTo>
                    <a:pt x="335253" y="52629"/>
                  </a:lnTo>
                  <a:lnTo>
                    <a:pt x="337650" y="50309"/>
                  </a:lnTo>
                  <a:lnTo>
                    <a:pt x="339362" y="49785"/>
                  </a:lnTo>
                  <a:lnTo>
                    <a:pt x="341057" y="48583"/>
                  </a:lnTo>
                  <a:lnTo>
                    <a:pt x="343295" y="47867"/>
                  </a:lnTo>
                  <a:lnTo>
                    <a:pt x="343979" y="48791"/>
                  </a:lnTo>
                  <a:lnTo>
                    <a:pt x="344687" y="50933"/>
                  </a:lnTo>
                  <a:lnTo>
                    <a:pt x="343482" y="58438"/>
                  </a:lnTo>
                  <a:lnTo>
                    <a:pt x="343603" y="60805"/>
                  </a:lnTo>
                  <a:lnTo>
                    <a:pt x="342253" y="63973"/>
                  </a:lnTo>
                  <a:lnTo>
                    <a:pt x="337093" y="71017"/>
                  </a:lnTo>
                  <a:lnTo>
                    <a:pt x="337330" y="71914"/>
                  </a:lnTo>
                  <a:lnTo>
                    <a:pt x="338496" y="71581"/>
                  </a:lnTo>
                  <a:lnTo>
                    <a:pt x="340496" y="70420"/>
                  </a:lnTo>
                  <a:lnTo>
                    <a:pt x="346888" y="63728"/>
                  </a:lnTo>
                  <a:lnTo>
                    <a:pt x="352476" y="64573"/>
                  </a:lnTo>
                  <a:lnTo>
                    <a:pt x="352545" y="64024"/>
                  </a:lnTo>
                  <a:lnTo>
                    <a:pt x="350753" y="62058"/>
                  </a:lnTo>
                  <a:lnTo>
                    <a:pt x="348563" y="60171"/>
                  </a:lnTo>
                  <a:lnTo>
                    <a:pt x="347905" y="57833"/>
                  </a:lnTo>
                  <a:lnTo>
                    <a:pt x="348198" y="51586"/>
                  </a:lnTo>
                  <a:lnTo>
                    <a:pt x="349881" y="49107"/>
                  </a:lnTo>
                  <a:lnTo>
                    <a:pt x="354707" y="49367"/>
                  </a:lnTo>
                  <a:lnTo>
                    <a:pt x="357598" y="49024"/>
                  </a:lnTo>
                  <a:lnTo>
                    <a:pt x="358948" y="50151"/>
                  </a:lnTo>
                  <a:lnTo>
                    <a:pt x="361843" y="50070"/>
                  </a:lnTo>
                  <a:lnTo>
                    <a:pt x="363848" y="45579"/>
                  </a:lnTo>
                  <a:lnTo>
                    <a:pt x="367810" y="45185"/>
                  </a:lnTo>
                  <a:lnTo>
                    <a:pt x="371289" y="48155"/>
                  </a:lnTo>
                  <a:lnTo>
                    <a:pt x="375476" y="50151"/>
                  </a:lnTo>
                  <a:lnTo>
                    <a:pt x="378840" y="53019"/>
                  </a:lnTo>
                  <a:lnTo>
                    <a:pt x="379790" y="52236"/>
                  </a:lnTo>
                  <a:lnTo>
                    <a:pt x="377974" y="45538"/>
                  </a:lnTo>
                  <a:lnTo>
                    <a:pt x="375987" y="43092"/>
                  </a:lnTo>
                  <a:lnTo>
                    <a:pt x="371677" y="41819"/>
                  </a:lnTo>
                  <a:lnTo>
                    <a:pt x="367091" y="38795"/>
                  </a:lnTo>
                  <a:lnTo>
                    <a:pt x="365895" y="37453"/>
                  </a:lnTo>
                  <a:lnTo>
                    <a:pt x="366104" y="36454"/>
                  </a:lnTo>
                  <a:lnTo>
                    <a:pt x="370151" y="35490"/>
                  </a:lnTo>
                  <a:lnTo>
                    <a:pt x="375491" y="36594"/>
                  </a:lnTo>
                  <a:lnTo>
                    <a:pt x="380250" y="34070"/>
                  </a:lnTo>
                  <a:lnTo>
                    <a:pt x="381552" y="34762"/>
                  </a:lnTo>
                  <a:lnTo>
                    <a:pt x="385202" y="33441"/>
                  </a:lnTo>
                  <a:lnTo>
                    <a:pt x="387469" y="35218"/>
                  </a:lnTo>
                  <a:lnTo>
                    <a:pt x="388857" y="34692"/>
                  </a:lnTo>
                  <a:lnTo>
                    <a:pt x="389663" y="32309"/>
                  </a:lnTo>
                  <a:lnTo>
                    <a:pt x="395487" y="30829"/>
                  </a:lnTo>
                  <a:lnTo>
                    <a:pt x="399181" y="32195"/>
                  </a:lnTo>
                  <a:lnTo>
                    <a:pt x="401162" y="33608"/>
                  </a:lnTo>
                  <a:lnTo>
                    <a:pt x="402082" y="36320"/>
                  </a:lnTo>
                  <a:lnTo>
                    <a:pt x="403489" y="41674"/>
                  </a:lnTo>
                  <a:lnTo>
                    <a:pt x="406374" y="44557"/>
                  </a:lnTo>
                  <a:lnTo>
                    <a:pt x="408165" y="45971"/>
                  </a:lnTo>
                  <a:lnTo>
                    <a:pt x="410287" y="46362"/>
                  </a:lnTo>
                  <a:lnTo>
                    <a:pt x="411311" y="44924"/>
                  </a:lnTo>
                  <a:lnTo>
                    <a:pt x="409322" y="43190"/>
                  </a:lnTo>
                  <a:lnTo>
                    <a:pt x="408786" y="41556"/>
                  </a:lnTo>
                  <a:lnTo>
                    <a:pt x="409739" y="37494"/>
                  </a:lnTo>
                  <a:lnTo>
                    <a:pt x="410851" y="35896"/>
                  </a:lnTo>
                  <a:lnTo>
                    <a:pt x="417083" y="29833"/>
                  </a:lnTo>
                  <a:lnTo>
                    <a:pt x="422300" y="26680"/>
                  </a:lnTo>
                  <a:lnTo>
                    <a:pt x="425424" y="26417"/>
                  </a:lnTo>
                  <a:lnTo>
                    <a:pt x="430888" y="19331"/>
                  </a:lnTo>
                  <a:lnTo>
                    <a:pt x="432436" y="18040"/>
                  </a:lnTo>
                  <a:lnTo>
                    <a:pt x="433861" y="17743"/>
                  </a:lnTo>
                  <a:lnTo>
                    <a:pt x="433496" y="16004"/>
                  </a:lnTo>
                  <a:lnTo>
                    <a:pt x="430503" y="14903"/>
                  </a:lnTo>
                  <a:lnTo>
                    <a:pt x="430400" y="12748"/>
                  </a:lnTo>
                  <a:lnTo>
                    <a:pt x="434343" y="10121"/>
                  </a:lnTo>
                  <a:lnTo>
                    <a:pt x="439124" y="5706"/>
                  </a:lnTo>
                  <a:lnTo>
                    <a:pt x="441484" y="5406"/>
                  </a:lnTo>
                  <a:lnTo>
                    <a:pt x="442963" y="6634"/>
                  </a:lnTo>
                  <a:lnTo>
                    <a:pt x="447619" y="8627"/>
                  </a:lnTo>
                  <a:lnTo>
                    <a:pt x="450471" y="10908"/>
                  </a:lnTo>
                  <a:lnTo>
                    <a:pt x="452538" y="12056"/>
                  </a:lnTo>
                  <a:lnTo>
                    <a:pt x="453881" y="11818"/>
                  </a:lnTo>
                  <a:lnTo>
                    <a:pt x="454991" y="10105"/>
                  </a:lnTo>
                  <a:lnTo>
                    <a:pt x="456325" y="9303"/>
                  </a:lnTo>
                  <a:lnTo>
                    <a:pt x="459286" y="9753"/>
                  </a:lnTo>
                  <a:lnTo>
                    <a:pt x="461052" y="10855"/>
                  </a:lnTo>
                  <a:lnTo>
                    <a:pt x="462428" y="11000"/>
                  </a:lnTo>
                  <a:lnTo>
                    <a:pt x="463672" y="11667"/>
                  </a:lnTo>
                  <a:lnTo>
                    <a:pt x="463965" y="13131"/>
                  </a:lnTo>
                  <a:lnTo>
                    <a:pt x="461404" y="14725"/>
                  </a:lnTo>
                  <a:lnTo>
                    <a:pt x="457040" y="18947"/>
                  </a:lnTo>
                  <a:lnTo>
                    <a:pt x="452734" y="23737"/>
                  </a:lnTo>
                  <a:lnTo>
                    <a:pt x="451314" y="26255"/>
                  </a:lnTo>
                  <a:lnTo>
                    <a:pt x="449923" y="32850"/>
                  </a:lnTo>
                  <a:lnTo>
                    <a:pt x="446558" y="37058"/>
                  </a:lnTo>
                  <a:lnTo>
                    <a:pt x="446304" y="40003"/>
                  </a:lnTo>
                  <a:lnTo>
                    <a:pt x="447655" y="41390"/>
                  </a:lnTo>
                  <a:lnTo>
                    <a:pt x="451369" y="40302"/>
                  </a:lnTo>
                  <a:lnTo>
                    <a:pt x="455947" y="36371"/>
                  </a:lnTo>
                  <a:lnTo>
                    <a:pt x="457090" y="32191"/>
                  </a:lnTo>
                  <a:lnTo>
                    <a:pt x="468535" y="20815"/>
                  </a:lnTo>
                  <a:lnTo>
                    <a:pt x="473903" y="14505"/>
                  </a:lnTo>
                  <a:lnTo>
                    <a:pt x="480007" y="9265"/>
                  </a:lnTo>
                  <a:lnTo>
                    <a:pt x="483421" y="8179"/>
                  </a:lnTo>
                  <a:lnTo>
                    <a:pt x="485028" y="11651"/>
                  </a:lnTo>
                  <a:lnTo>
                    <a:pt x="483734" y="16179"/>
                  </a:lnTo>
                  <a:lnTo>
                    <a:pt x="481141" y="19061"/>
                  </a:lnTo>
                  <a:lnTo>
                    <a:pt x="483052" y="20380"/>
                  </a:lnTo>
                  <a:lnTo>
                    <a:pt x="482687" y="23797"/>
                  </a:lnTo>
                  <a:lnTo>
                    <a:pt x="482091" y="25693"/>
                  </a:lnTo>
                  <a:lnTo>
                    <a:pt x="481711" y="27676"/>
                  </a:lnTo>
                  <a:lnTo>
                    <a:pt x="481735" y="29424"/>
                  </a:lnTo>
                  <a:lnTo>
                    <a:pt x="483527" y="28958"/>
                  </a:lnTo>
                  <a:lnTo>
                    <a:pt x="490675" y="25377"/>
                  </a:lnTo>
                  <a:lnTo>
                    <a:pt x="492486" y="21493"/>
                  </a:lnTo>
                  <a:lnTo>
                    <a:pt x="494166" y="18577"/>
                  </a:lnTo>
                  <a:lnTo>
                    <a:pt x="494972" y="16055"/>
                  </a:lnTo>
                  <a:lnTo>
                    <a:pt x="497751" y="13663"/>
                  </a:lnTo>
                  <a:lnTo>
                    <a:pt x="502994" y="13645"/>
                  </a:lnTo>
                  <a:lnTo>
                    <a:pt x="503197" y="12704"/>
                  </a:lnTo>
                  <a:lnTo>
                    <a:pt x="496859" y="9377"/>
                  </a:lnTo>
                  <a:lnTo>
                    <a:pt x="496112" y="7877"/>
                  </a:lnTo>
                  <a:lnTo>
                    <a:pt x="498243" y="5879"/>
                  </a:lnTo>
                  <a:close/>
                  <a:moveTo>
                    <a:pt x="459651" y="0"/>
                  </a:moveTo>
                  <a:lnTo>
                    <a:pt x="465559" y="1548"/>
                  </a:lnTo>
                  <a:lnTo>
                    <a:pt x="467582" y="1516"/>
                  </a:lnTo>
                  <a:lnTo>
                    <a:pt x="470515" y="4407"/>
                  </a:lnTo>
                  <a:lnTo>
                    <a:pt x="472046" y="4151"/>
                  </a:lnTo>
                  <a:lnTo>
                    <a:pt x="471756" y="5916"/>
                  </a:lnTo>
                  <a:lnTo>
                    <a:pt x="468792" y="6752"/>
                  </a:lnTo>
                  <a:lnTo>
                    <a:pt x="464183" y="7260"/>
                  </a:lnTo>
                  <a:lnTo>
                    <a:pt x="463495" y="7611"/>
                  </a:lnTo>
                  <a:lnTo>
                    <a:pt x="459556" y="7329"/>
                  </a:lnTo>
                  <a:lnTo>
                    <a:pt x="457345" y="4956"/>
                  </a:lnTo>
                  <a:lnTo>
                    <a:pt x="453650" y="4368"/>
                  </a:lnTo>
                  <a:lnTo>
                    <a:pt x="453656" y="3606"/>
                  </a:lnTo>
                  <a:lnTo>
                    <a:pt x="456049" y="1809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50" name="ee4p_NO_2_37365">
              <a:extLst>
                <a:ext uri="{FF2B5EF4-FFF2-40B4-BE49-F238E27FC236}">
                  <a16:creationId xmlns:a16="http://schemas.microsoft.com/office/drawing/2014/main" id="{D947F106-E8A2-9AD6-5038-ED9227CC2376}"/>
                </a:ext>
              </a:extLst>
            </p:cNvPr>
            <p:cNvSpPr>
              <a:spLocks noChangeAspect="1"/>
            </p:cNvSpPr>
            <p:nvPr>
              <p:custDataLst>
                <p:tags r:id="rId304"/>
              </p:custDataLst>
            </p:nvPr>
          </p:nvSpPr>
          <p:spPr>
            <a:xfrm>
              <a:off x="6262030" y="1649644"/>
              <a:ext cx="1186533" cy="562249"/>
            </a:xfrm>
            <a:custGeom>
              <a:avLst/>
              <a:gdLst>
                <a:gd name="connsiteX0" fmla="*/ 24268 w 944810"/>
                <a:gd name="connsiteY0" fmla="*/ 421905 h 435839"/>
                <a:gd name="connsiteX1" fmla="*/ 24767 w 944810"/>
                <a:gd name="connsiteY1" fmla="*/ 424367 h 435839"/>
                <a:gd name="connsiteX2" fmla="*/ 24252 w 944810"/>
                <a:gd name="connsiteY2" fmla="*/ 427427 h 435839"/>
                <a:gd name="connsiteX3" fmla="*/ 17613 w 944810"/>
                <a:gd name="connsiteY3" fmla="*/ 429855 h 435839"/>
                <a:gd name="connsiteX4" fmla="*/ 10249 w 944810"/>
                <a:gd name="connsiteY4" fmla="*/ 431498 h 435839"/>
                <a:gd name="connsiteX5" fmla="*/ 3213 w 944810"/>
                <a:gd name="connsiteY5" fmla="*/ 435578 h 435839"/>
                <a:gd name="connsiteX6" fmla="*/ 1173 w 944810"/>
                <a:gd name="connsiteY6" fmla="*/ 435839 h 435839"/>
                <a:gd name="connsiteX7" fmla="*/ 0 w 944810"/>
                <a:gd name="connsiteY7" fmla="*/ 434945 h 435839"/>
                <a:gd name="connsiteX8" fmla="*/ 2968 w 944810"/>
                <a:gd name="connsiteY8" fmla="*/ 432486 h 435839"/>
                <a:gd name="connsiteX9" fmla="*/ 12782 w 944810"/>
                <a:gd name="connsiteY9" fmla="*/ 427855 h 435839"/>
                <a:gd name="connsiteX10" fmla="*/ 16698 w 944810"/>
                <a:gd name="connsiteY10" fmla="*/ 423426 h 435839"/>
                <a:gd name="connsiteX11" fmla="*/ 625370 w 944810"/>
                <a:gd name="connsiteY11" fmla="*/ 281353 h 435839"/>
                <a:gd name="connsiteX12" fmla="*/ 627108 w 944810"/>
                <a:gd name="connsiteY12" fmla="*/ 283055 h 435839"/>
                <a:gd name="connsiteX13" fmla="*/ 627399 w 944810"/>
                <a:gd name="connsiteY13" fmla="*/ 284025 h 435839"/>
                <a:gd name="connsiteX14" fmla="*/ 626175 w 944810"/>
                <a:gd name="connsiteY14" fmla="*/ 286892 h 435839"/>
                <a:gd name="connsiteX15" fmla="*/ 623504 w 944810"/>
                <a:gd name="connsiteY15" fmla="*/ 288585 h 435839"/>
                <a:gd name="connsiteX16" fmla="*/ 619503 w 944810"/>
                <a:gd name="connsiteY16" fmla="*/ 286036 h 435839"/>
                <a:gd name="connsiteX17" fmla="*/ 616847 w 944810"/>
                <a:gd name="connsiteY17" fmla="*/ 282761 h 435839"/>
                <a:gd name="connsiteX18" fmla="*/ 618257 w 944810"/>
                <a:gd name="connsiteY18" fmla="*/ 281517 h 435839"/>
                <a:gd name="connsiteX19" fmla="*/ 675605 w 944810"/>
                <a:gd name="connsiteY19" fmla="*/ 93632 h 435839"/>
                <a:gd name="connsiteX20" fmla="*/ 678996 w 944810"/>
                <a:gd name="connsiteY20" fmla="*/ 93721 h 435839"/>
                <a:gd name="connsiteX21" fmla="*/ 682036 w 944810"/>
                <a:gd name="connsiteY21" fmla="*/ 94870 h 435839"/>
                <a:gd name="connsiteX22" fmla="*/ 688616 w 944810"/>
                <a:gd name="connsiteY22" fmla="*/ 94631 h 435839"/>
                <a:gd name="connsiteX23" fmla="*/ 692246 w 944810"/>
                <a:gd name="connsiteY23" fmla="*/ 102818 h 435839"/>
                <a:gd name="connsiteX24" fmla="*/ 694284 w 944810"/>
                <a:gd name="connsiteY24" fmla="*/ 111459 h 435839"/>
                <a:gd name="connsiteX25" fmla="*/ 697597 w 944810"/>
                <a:gd name="connsiteY25" fmla="*/ 112080 h 435839"/>
                <a:gd name="connsiteX26" fmla="*/ 703904 w 944810"/>
                <a:gd name="connsiteY26" fmla="*/ 110893 h 435839"/>
                <a:gd name="connsiteX27" fmla="*/ 709527 w 944810"/>
                <a:gd name="connsiteY27" fmla="*/ 110316 h 435839"/>
                <a:gd name="connsiteX28" fmla="*/ 712410 w 944810"/>
                <a:gd name="connsiteY28" fmla="*/ 110957 h 435839"/>
                <a:gd name="connsiteX29" fmla="*/ 717549 w 944810"/>
                <a:gd name="connsiteY29" fmla="*/ 113469 h 435839"/>
                <a:gd name="connsiteX30" fmla="*/ 719767 w 944810"/>
                <a:gd name="connsiteY30" fmla="*/ 115234 h 435839"/>
                <a:gd name="connsiteX31" fmla="*/ 717837 w 944810"/>
                <a:gd name="connsiteY31" fmla="*/ 116621 h 435839"/>
                <a:gd name="connsiteX32" fmla="*/ 713134 w 944810"/>
                <a:gd name="connsiteY32" fmla="*/ 118173 h 435839"/>
                <a:gd name="connsiteX33" fmla="*/ 712354 w 944810"/>
                <a:gd name="connsiteY33" fmla="*/ 122788 h 435839"/>
                <a:gd name="connsiteX34" fmla="*/ 717083 w 944810"/>
                <a:gd name="connsiteY34" fmla="*/ 124392 h 435839"/>
                <a:gd name="connsiteX35" fmla="*/ 724898 w 944810"/>
                <a:gd name="connsiteY35" fmla="*/ 128317 h 435839"/>
                <a:gd name="connsiteX36" fmla="*/ 729299 w 944810"/>
                <a:gd name="connsiteY36" fmla="*/ 128826 h 435839"/>
                <a:gd name="connsiteX37" fmla="*/ 737155 w 944810"/>
                <a:gd name="connsiteY37" fmla="*/ 127218 h 435839"/>
                <a:gd name="connsiteX38" fmla="*/ 744522 w 944810"/>
                <a:gd name="connsiteY38" fmla="*/ 130267 h 435839"/>
                <a:gd name="connsiteX39" fmla="*/ 751827 w 944810"/>
                <a:gd name="connsiteY39" fmla="*/ 133962 h 435839"/>
                <a:gd name="connsiteX40" fmla="*/ 734756 w 944810"/>
                <a:gd name="connsiteY40" fmla="*/ 138619 h 435839"/>
                <a:gd name="connsiteX41" fmla="*/ 733255 w 944810"/>
                <a:gd name="connsiteY41" fmla="*/ 139926 h 435839"/>
                <a:gd name="connsiteX42" fmla="*/ 730890 w 944810"/>
                <a:gd name="connsiteY42" fmla="*/ 143368 h 435839"/>
                <a:gd name="connsiteX43" fmla="*/ 728375 w 944810"/>
                <a:gd name="connsiteY43" fmla="*/ 146194 h 435839"/>
                <a:gd name="connsiteX44" fmla="*/ 726051 w 944810"/>
                <a:gd name="connsiteY44" fmla="*/ 147860 h 435839"/>
                <a:gd name="connsiteX45" fmla="*/ 720944 w 944810"/>
                <a:gd name="connsiteY45" fmla="*/ 150726 h 435839"/>
                <a:gd name="connsiteX46" fmla="*/ 718195 w 944810"/>
                <a:gd name="connsiteY46" fmla="*/ 151716 h 435839"/>
                <a:gd name="connsiteX47" fmla="*/ 712015 w 944810"/>
                <a:gd name="connsiteY47" fmla="*/ 151494 h 435839"/>
                <a:gd name="connsiteX48" fmla="*/ 709700 w 944810"/>
                <a:gd name="connsiteY48" fmla="*/ 152633 h 435839"/>
                <a:gd name="connsiteX49" fmla="*/ 707551 w 944810"/>
                <a:gd name="connsiteY49" fmla="*/ 154950 h 435839"/>
                <a:gd name="connsiteX50" fmla="*/ 705390 w 944810"/>
                <a:gd name="connsiteY50" fmla="*/ 156618 h 435839"/>
                <a:gd name="connsiteX51" fmla="*/ 699905 w 944810"/>
                <a:gd name="connsiteY51" fmla="*/ 157046 h 435839"/>
                <a:gd name="connsiteX52" fmla="*/ 697102 w 944810"/>
                <a:gd name="connsiteY52" fmla="*/ 154738 h 435839"/>
                <a:gd name="connsiteX53" fmla="*/ 698028 w 944810"/>
                <a:gd name="connsiteY53" fmla="*/ 154026 h 435839"/>
                <a:gd name="connsiteX54" fmla="*/ 698422 w 944810"/>
                <a:gd name="connsiteY54" fmla="*/ 152665 h 435839"/>
                <a:gd name="connsiteX55" fmla="*/ 697446 w 944810"/>
                <a:gd name="connsiteY55" fmla="*/ 149413 h 435839"/>
                <a:gd name="connsiteX56" fmla="*/ 702673 w 944810"/>
                <a:gd name="connsiteY56" fmla="*/ 146081 h 435839"/>
                <a:gd name="connsiteX57" fmla="*/ 703861 w 944810"/>
                <a:gd name="connsiteY57" fmla="*/ 144234 h 435839"/>
                <a:gd name="connsiteX58" fmla="*/ 702816 w 944810"/>
                <a:gd name="connsiteY58" fmla="*/ 143566 h 435839"/>
                <a:gd name="connsiteX59" fmla="*/ 701378 w 944810"/>
                <a:gd name="connsiteY59" fmla="*/ 143750 h 435839"/>
                <a:gd name="connsiteX60" fmla="*/ 697573 w 944810"/>
                <a:gd name="connsiteY60" fmla="*/ 142734 h 435839"/>
                <a:gd name="connsiteX61" fmla="*/ 696446 w 944810"/>
                <a:gd name="connsiteY61" fmla="*/ 142783 h 435839"/>
                <a:gd name="connsiteX62" fmla="*/ 693291 w 944810"/>
                <a:gd name="connsiteY62" fmla="*/ 144729 h 435839"/>
                <a:gd name="connsiteX63" fmla="*/ 688918 w 944810"/>
                <a:gd name="connsiteY63" fmla="*/ 146033 h 435839"/>
                <a:gd name="connsiteX64" fmla="*/ 684481 w 944810"/>
                <a:gd name="connsiteY64" fmla="*/ 146364 h 435839"/>
                <a:gd name="connsiteX65" fmla="*/ 666653 w 944810"/>
                <a:gd name="connsiteY65" fmla="*/ 148867 h 435839"/>
                <a:gd name="connsiteX66" fmla="*/ 663960 w 944810"/>
                <a:gd name="connsiteY66" fmla="*/ 147987 h 435839"/>
                <a:gd name="connsiteX67" fmla="*/ 662744 w 944810"/>
                <a:gd name="connsiteY67" fmla="*/ 143009 h 435839"/>
                <a:gd name="connsiteX68" fmla="*/ 669996 w 944810"/>
                <a:gd name="connsiteY68" fmla="*/ 140452 h 435839"/>
                <a:gd name="connsiteX69" fmla="*/ 671110 w 944810"/>
                <a:gd name="connsiteY69" fmla="*/ 136125 h 435839"/>
                <a:gd name="connsiteX70" fmla="*/ 672939 w 944810"/>
                <a:gd name="connsiteY70" fmla="*/ 133242 h 435839"/>
                <a:gd name="connsiteX71" fmla="*/ 675076 w 944810"/>
                <a:gd name="connsiteY71" fmla="*/ 131327 h 435839"/>
                <a:gd name="connsiteX72" fmla="*/ 679002 w 944810"/>
                <a:gd name="connsiteY72" fmla="*/ 126384 h 435839"/>
                <a:gd name="connsiteX73" fmla="*/ 679991 w 944810"/>
                <a:gd name="connsiteY73" fmla="*/ 126028 h 435839"/>
                <a:gd name="connsiteX74" fmla="*/ 670203 w 944810"/>
                <a:gd name="connsiteY74" fmla="*/ 122107 h 435839"/>
                <a:gd name="connsiteX75" fmla="*/ 666333 w 944810"/>
                <a:gd name="connsiteY75" fmla="*/ 119555 h 435839"/>
                <a:gd name="connsiteX76" fmla="*/ 662120 w 944810"/>
                <a:gd name="connsiteY76" fmla="*/ 114448 h 435839"/>
                <a:gd name="connsiteX77" fmla="*/ 660827 w 944810"/>
                <a:gd name="connsiteY77" fmla="*/ 110307 h 435839"/>
                <a:gd name="connsiteX78" fmla="*/ 655119 w 944810"/>
                <a:gd name="connsiteY78" fmla="*/ 106775 h 435839"/>
                <a:gd name="connsiteX79" fmla="*/ 655826 w 944810"/>
                <a:gd name="connsiteY79" fmla="*/ 102253 h 435839"/>
                <a:gd name="connsiteX80" fmla="*/ 651680 w 944810"/>
                <a:gd name="connsiteY80" fmla="*/ 102609 h 435839"/>
                <a:gd name="connsiteX81" fmla="*/ 648477 w 944810"/>
                <a:gd name="connsiteY81" fmla="*/ 99429 h 435839"/>
                <a:gd name="connsiteX82" fmla="*/ 651457 w 944810"/>
                <a:gd name="connsiteY82" fmla="*/ 97641 h 435839"/>
                <a:gd name="connsiteX83" fmla="*/ 666586 w 944810"/>
                <a:gd name="connsiteY83" fmla="*/ 95610 h 435839"/>
                <a:gd name="connsiteX84" fmla="*/ 789066 w 944810"/>
                <a:gd name="connsiteY84" fmla="*/ 83225 h 435839"/>
                <a:gd name="connsiteX85" fmla="*/ 793551 w 944810"/>
                <a:gd name="connsiteY85" fmla="*/ 87489 h 435839"/>
                <a:gd name="connsiteX86" fmla="*/ 798391 w 944810"/>
                <a:gd name="connsiteY86" fmla="*/ 88777 h 435839"/>
                <a:gd name="connsiteX87" fmla="*/ 795479 w 944810"/>
                <a:gd name="connsiteY87" fmla="*/ 91138 h 435839"/>
                <a:gd name="connsiteX88" fmla="*/ 792241 w 944810"/>
                <a:gd name="connsiteY88" fmla="*/ 91257 h 435839"/>
                <a:gd name="connsiteX89" fmla="*/ 786272 w 944810"/>
                <a:gd name="connsiteY89" fmla="*/ 87670 h 435839"/>
                <a:gd name="connsiteX90" fmla="*/ 785125 w 944810"/>
                <a:gd name="connsiteY90" fmla="*/ 84550 h 435839"/>
                <a:gd name="connsiteX91" fmla="*/ 786188 w 944810"/>
                <a:gd name="connsiteY91" fmla="*/ 83273 h 435839"/>
                <a:gd name="connsiteX92" fmla="*/ 434659 w 944810"/>
                <a:gd name="connsiteY92" fmla="*/ 78758 h 435839"/>
                <a:gd name="connsiteX93" fmla="*/ 439405 w 944810"/>
                <a:gd name="connsiteY93" fmla="*/ 79512 h 435839"/>
                <a:gd name="connsiteX94" fmla="*/ 443562 w 944810"/>
                <a:gd name="connsiteY94" fmla="*/ 81521 h 435839"/>
                <a:gd name="connsiteX95" fmla="*/ 447169 w 944810"/>
                <a:gd name="connsiteY95" fmla="*/ 86058 h 435839"/>
                <a:gd name="connsiteX96" fmla="*/ 447810 w 944810"/>
                <a:gd name="connsiteY96" fmla="*/ 87465 h 435839"/>
                <a:gd name="connsiteX97" fmla="*/ 446158 w 944810"/>
                <a:gd name="connsiteY97" fmla="*/ 89335 h 435839"/>
                <a:gd name="connsiteX98" fmla="*/ 447855 w 944810"/>
                <a:gd name="connsiteY98" fmla="*/ 91544 h 435839"/>
                <a:gd name="connsiteX99" fmla="*/ 449963 w 944810"/>
                <a:gd name="connsiteY99" fmla="*/ 92994 h 435839"/>
                <a:gd name="connsiteX100" fmla="*/ 450215 w 944810"/>
                <a:gd name="connsiteY100" fmla="*/ 96339 h 435839"/>
                <a:gd name="connsiteX101" fmla="*/ 453808 w 944810"/>
                <a:gd name="connsiteY101" fmla="*/ 96005 h 435839"/>
                <a:gd name="connsiteX102" fmla="*/ 458056 w 944810"/>
                <a:gd name="connsiteY102" fmla="*/ 99561 h 435839"/>
                <a:gd name="connsiteX103" fmla="*/ 462686 w 944810"/>
                <a:gd name="connsiteY103" fmla="*/ 101447 h 435839"/>
                <a:gd name="connsiteX104" fmla="*/ 463994 w 944810"/>
                <a:gd name="connsiteY104" fmla="*/ 102738 h 435839"/>
                <a:gd name="connsiteX105" fmla="*/ 464979 w 944810"/>
                <a:gd name="connsiteY105" fmla="*/ 104399 h 435839"/>
                <a:gd name="connsiteX106" fmla="*/ 467782 w 944810"/>
                <a:gd name="connsiteY106" fmla="*/ 107736 h 435839"/>
                <a:gd name="connsiteX107" fmla="*/ 469114 w 944810"/>
                <a:gd name="connsiteY107" fmla="*/ 111248 h 435839"/>
                <a:gd name="connsiteX108" fmla="*/ 465767 w 944810"/>
                <a:gd name="connsiteY108" fmla="*/ 111618 h 435839"/>
                <a:gd name="connsiteX109" fmla="*/ 461157 w 944810"/>
                <a:gd name="connsiteY109" fmla="*/ 106610 h 435839"/>
                <a:gd name="connsiteX110" fmla="*/ 457397 w 944810"/>
                <a:gd name="connsiteY110" fmla="*/ 103756 h 435839"/>
                <a:gd name="connsiteX111" fmla="*/ 452664 w 944810"/>
                <a:gd name="connsiteY111" fmla="*/ 101317 h 435839"/>
                <a:gd name="connsiteX112" fmla="*/ 448833 w 944810"/>
                <a:gd name="connsiteY112" fmla="*/ 101196 h 435839"/>
                <a:gd name="connsiteX113" fmla="*/ 447110 w 944810"/>
                <a:gd name="connsiteY113" fmla="*/ 100133 h 435839"/>
                <a:gd name="connsiteX114" fmla="*/ 440904 w 944810"/>
                <a:gd name="connsiteY114" fmla="*/ 91342 h 435839"/>
                <a:gd name="connsiteX115" fmla="*/ 439760 w 944810"/>
                <a:gd name="connsiteY115" fmla="*/ 89311 h 435839"/>
                <a:gd name="connsiteX116" fmla="*/ 436212 w 944810"/>
                <a:gd name="connsiteY116" fmla="*/ 86034 h 435839"/>
                <a:gd name="connsiteX117" fmla="*/ 434646 w 944810"/>
                <a:gd name="connsiteY117" fmla="*/ 81955 h 435839"/>
                <a:gd name="connsiteX118" fmla="*/ 839024 w 944810"/>
                <a:gd name="connsiteY118" fmla="*/ 75433 h 435839"/>
                <a:gd name="connsiteX119" fmla="*/ 843487 w 944810"/>
                <a:gd name="connsiteY119" fmla="*/ 78311 h 435839"/>
                <a:gd name="connsiteX120" fmla="*/ 850084 w 944810"/>
                <a:gd name="connsiteY120" fmla="*/ 78619 h 435839"/>
                <a:gd name="connsiteX121" fmla="*/ 856711 w 944810"/>
                <a:gd name="connsiteY121" fmla="*/ 77843 h 435839"/>
                <a:gd name="connsiteX122" fmla="*/ 857851 w 944810"/>
                <a:gd name="connsiteY122" fmla="*/ 78669 h 435839"/>
                <a:gd name="connsiteX123" fmla="*/ 849313 w 944810"/>
                <a:gd name="connsiteY123" fmla="*/ 81242 h 435839"/>
                <a:gd name="connsiteX124" fmla="*/ 839818 w 944810"/>
                <a:gd name="connsiteY124" fmla="*/ 79875 h 435839"/>
                <a:gd name="connsiteX125" fmla="*/ 831269 w 944810"/>
                <a:gd name="connsiteY125" fmla="*/ 79527 h 435839"/>
                <a:gd name="connsiteX126" fmla="*/ 821172 w 944810"/>
                <a:gd name="connsiteY126" fmla="*/ 82384 h 435839"/>
                <a:gd name="connsiteX127" fmla="*/ 817881 w 944810"/>
                <a:gd name="connsiteY127" fmla="*/ 81240 h 435839"/>
                <a:gd name="connsiteX128" fmla="*/ 823010 w 944810"/>
                <a:gd name="connsiteY128" fmla="*/ 78488 h 435839"/>
                <a:gd name="connsiteX129" fmla="*/ 828605 w 944810"/>
                <a:gd name="connsiteY129" fmla="*/ 77578 h 435839"/>
                <a:gd name="connsiteX130" fmla="*/ 829505 w 944810"/>
                <a:gd name="connsiteY130" fmla="*/ 75894 h 435839"/>
                <a:gd name="connsiteX131" fmla="*/ 831636 w 944810"/>
                <a:gd name="connsiteY131" fmla="*/ 75605 h 435839"/>
                <a:gd name="connsiteX132" fmla="*/ 563538 w 944810"/>
                <a:gd name="connsiteY132" fmla="*/ 21614 h 435839"/>
                <a:gd name="connsiteX133" fmla="*/ 566576 w 944810"/>
                <a:gd name="connsiteY133" fmla="*/ 23234 h 435839"/>
                <a:gd name="connsiteX134" fmla="*/ 572385 w 944810"/>
                <a:gd name="connsiteY134" fmla="*/ 28967 h 435839"/>
                <a:gd name="connsiteX135" fmla="*/ 573529 w 944810"/>
                <a:gd name="connsiteY135" fmla="*/ 29065 h 435839"/>
                <a:gd name="connsiteX136" fmla="*/ 574646 w 944810"/>
                <a:gd name="connsiteY136" fmla="*/ 28530 h 435839"/>
                <a:gd name="connsiteX137" fmla="*/ 575455 w 944810"/>
                <a:gd name="connsiteY137" fmla="*/ 27119 h 435839"/>
                <a:gd name="connsiteX138" fmla="*/ 576358 w 944810"/>
                <a:gd name="connsiteY138" fmla="*/ 26339 h 435839"/>
                <a:gd name="connsiteX139" fmla="*/ 581953 w 944810"/>
                <a:gd name="connsiteY139" fmla="*/ 27254 h 435839"/>
                <a:gd name="connsiteX140" fmla="*/ 589887 w 944810"/>
                <a:gd name="connsiteY140" fmla="*/ 30077 h 435839"/>
                <a:gd name="connsiteX141" fmla="*/ 592243 w 944810"/>
                <a:gd name="connsiteY141" fmla="*/ 31466 h 435839"/>
                <a:gd name="connsiteX142" fmla="*/ 595555 w 944810"/>
                <a:gd name="connsiteY142" fmla="*/ 34326 h 435839"/>
                <a:gd name="connsiteX143" fmla="*/ 598243 w 944810"/>
                <a:gd name="connsiteY143" fmla="*/ 39125 h 435839"/>
                <a:gd name="connsiteX144" fmla="*/ 596112 w 944810"/>
                <a:gd name="connsiteY144" fmla="*/ 42584 h 435839"/>
                <a:gd name="connsiteX145" fmla="*/ 593301 w 944810"/>
                <a:gd name="connsiteY145" fmla="*/ 45850 h 435839"/>
                <a:gd name="connsiteX146" fmla="*/ 592303 w 944810"/>
                <a:gd name="connsiteY146" fmla="*/ 47652 h 435839"/>
                <a:gd name="connsiteX147" fmla="*/ 593331 w 944810"/>
                <a:gd name="connsiteY147" fmla="*/ 50239 h 435839"/>
                <a:gd name="connsiteX148" fmla="*/ 592912 w 944810"/>
                <a:gd name="connsiteY148" fmla="*/ 52751 h 435839"/>
                <a:gd name="connsiteX149" fmla="*/ 591888 w 944810"/>
                <a:gd name="connsiteY149" fmla="*/ 54975 h 435839"/>
                <a:gd name="connsiteX150" fmla="*/ 596140 w 944810"/>
                <a:gd name="connsiteY150" fmla="*/ 52439 h 435839"/>
                <a:gd name="connsiteX151" fmla="*/ 605229 w 944810"/>
                <a:gd name="connsiteY151" fmla="*/ 44302 h 435839"/>
                <a:gd name="connsiteX152" fmla="*/ 606583 w 944810"/>
                <a:gd name="connsiteY152" fmla="*/ 43798 h 435839"/>
                <a:gd name="connsiteX153" fmla="*/ 607999 w 944810"/>
                <a:gd name="connsiteY153" fmla="*/ 44073 h 435839"/>
                <a:gd name="connsiteX154" fmla="*/ 612070 w 944810"/>
                <a:gd name="connsiteY154" fmla="*/ 45748 h 435839"/>
                <a:gd name="connsiteX155" fmla="*/ 615763 w 944810"/>
                <a:gd name="connsiteY155" fmla="*/ 49899 h 435839"/>
                <a:gd name="connsiteX156" fmla="*/ 616576 w 944810"/>
                <a:gd name="connsiteY156" fmla="*/ 51270 h 435839"/>
                <a:gd name="connsiteX157" fmla="*/ 617240 w 944810"/>
                <a:gd name="connsiteY157" fmla="*/ 52955 h 435839"/>
                <a:gd name="connsiteX158" fmla="*/ 617620 w 944810"/>
                <a:gd name="connsiteY158" fmla="*/ 55033 h 435839"/>
                <a:gd name="connsiteX159" fmla="*/ 617410 w 944810"/>
                <a:gd name="connsiteY159" fmla="*/ 57415 h 435839"/>
                <a:gd name="connsiteX160" fmla="*/ 617067 w 944810"/>
                <a:gd name="connsiteY160" fmla="*/ 59072 h 435839"/>
                <a:gd name="connsiteX161" fmla="*/ 615134 w 944810"/>
                <a:gd name="connsiteY161" fmla="*/ 60145 h 435839"/>
                <a:gd name="connsiteX162" fmla="*/ 614201 w 944810"/>
                <a:gd name="connsiteY162" fmla="*/ 61122 h 435839"/>
                <a:gd name="connsiteX163" fmla="*/ 616289 w 944810"/>
                <a:gd name="connsiteY163" fmla="*/ 61194 h 435839"/>
                <a:gd name="connsiteX164" fmla="*/ 618673 w 944810"/>
                <a:gd name="connsiteY164" fmla="*/ 62477 h 435839"/>
                <a:gd name="connsiteX165" fmla="*/ 620861 w 944810"/>
                <a:gd name="connsiteY165" fmla="*/ 65196 h 435839"/>
                <a:gd name="connsiteX166" fmla="*/ 623303 w 944810"/>
                <a:gd name="connsiteY166" fmla="*/ 66286 h 435839"/>
                <a:gd name="connsiteX167" fmla="*/ 632165 w 944810"/>
                <a:gd name="connsiteY167" fmla="*/ 65367 h 435839"/>
                <a:gd name="connsiteX168" fmla="*/ 637929 w 944810"/>
                <a:gd name="connsiteY168" fmla="*/ 66788 h 435839"/>
                <a:gd name="connsiteX169" fmla="*/ 641083 w 944810"/>
                <a:gd name="connsiteY169" fmla="*/ 71246 h 435839"/>
                <a:gd name="connsiteX170" fmla="*/ 645953 w 944810"/>
                <a:gd name="connsiteY170" fmla="*/ 70238 h 435839"/>
                <a:gd name="connsiteX171" fmla="*/ 645968 w 944810"/>
                <a:gd name="connsiteY171" fmla="*/ 67863 h 435839"/>
                <a:gd name="connsiteX172" fmla="*/ 647035 w 944810"/>
                <a:gd name="connsiteY172" fmla="*/ 66846 h 435839"/>
                <a:gd name="connsiteX173" fmla="*/ 653569 w 944810"/>
                <a:gd name="connsiteY173" fmla="*/ 67654 h 435839"/>
                <a:gd name="connsiteX174" fmla="*/ 656948 w 944810"/>
                <a:gd name="connsiteY174" fmla="*/ 68766 h 435839"/>
                <a:gd name="connsiteX175" fmla="*/ 660401 w 944810"/>
                <a:gd name="connsiteY175" fmla="*/ 71102 h 435839"/>
                <a:gd name="connsiteX176" fmla="*/ 654508 w 944810"/>
                <a:gd name="connsiteY176" fmla="*/ 74916 h 435839"/>
                <a:gd name="connsiteX177" fmla="*/ 659365 w 944810"/>
                <a:gd name="connsiteY177" fmla="*/ 78574 h 435839"/>
                <a:gd name="connsiteX178" fmla="*/ 667531 w 944810"/>
                <a:gd name="connsiteY178" fmla="*/ 81216 h 435839"/>
                <a:gd name="connsiteX179" fmla="*/ 672453 w 944810"/>
                <a:gd name="connsiteY179" fmla="*/ 83987 h 435839"/>
                <a:gd name="connsiteX180" fmla="*/ 673345 w 944810"/>
                <a:gd name="connsiteY180" fmla="*/ 85149 h 435839"/>
                <a:gd name="connsiteX181" fmla="*/ 674146 w 944810"/>
                <a:gd name="connsiteY181" fmla="*/ 86688 h 435839"/>
                <a:gd name="connsiteX182" fmla="*/ 670944 w 944810"/>
                <a:gd name="connsiteY182" fmla="*/ 88684 h 435839"/>
                <a:gd name="connsiteX183" fmla="*/ 667678 w 944810"/>
                <a:gd name="connsiteY183" fmla="*/ 89809 h 435839"/>
                <a:gd name="connsiteX184" fmla="*/ 659464 w 944810"/>
                <a:gd name="connsiteY184" fmla="*/ 90002 h 435839"/>
                <a:gd name="connsiteX185" fmla="*/ 651995 w 944810"/>
                <a:gd name="connsiteY185" fmla="*/ 91413 h 435839"/>
                <a:gd name="connsiteX186" fmla="*/ 638324 w 944810"/>
                <a:gd name="connsiteY186" fmla="*/ 92411 h 435839"/>
                <a:gd name="connsiteX187" fmla="*/ 636290 w 944810"/>
                <a:gd name="connsiteY187" fmla="*/ 93049 h 435839"/>
                <a:gd name="connsiteX188" fmla="*/ 635808 w 944810"/>
                <a:gd name="connsiteY188" fmla="*/ 93617 h 435839"/>
                <a:gd name="connsiteX189" fmla="*/ 635003 w 944810"/>
                <a:gd name="connsiteY189" fmla="*/ 95348 h 435839"/>
                <a:gd name="connsiteX190" fmla="*/ 629742 w 944810"/>
                <a:gd name="connsiteY190" fmla="*/ 99335 h 435839"/>
                <a:gd name="connsiteX191" fmla="*/ 624653 w 944810"/>
                <a:gd name="connsiteY191" fmla="*/ 104182 h 435839"/>
                <a:gd name="connsiteX192" fmla="*/ 622556 w 944810"/>
                <a:gd name="connsiteY192" fmla="*/ 107094 h 435839"/>
                <a:gd name="connsiteX193" fmla="*/ 620967 w 944810"/>
                <a:gd name="connsiteY193" fmla="*/ 111168 h 435839"/>
                <a:gd name="connsiteX194" fmla="*/ 620388 w 944810"/>
                <a:gd name="connsiteY194" fmla="*/ 113652 h 435839"/>
                <a:gd name="connsiteX195" fmla="*/ 621517 w 944810"/>
                <a:gd name="connsiteY195" fmla="*/ 116057 h 435839"/>
                <a:gd name="connsiteX196" fmla="*/ 621217 w 944810"/>
                <a:gd name="connsiteY196" fmla="*/ 118488 h 435839"/>
                <a:gd name="connsiteX197" fmla="*/ 617391 w 944810"/>
                <a:gd name="connsiteY197" fmla="*/ 120391 h 435839"/>
                <a:gd name="connsiteX198" fmla="*/ 614964 w 944810"/>
                <a:gd name="connsiteY198" fmla="*/ 120468 h 435839"/>
                <a:gd name="connsiteX199" fmla="*/ 611919 w 944810"/>
                <a:gd name="connsiteY199" fmla="*/ 120090 h 435839"/>
                <a:gd name="connsiteX200" fmla="*/ 608926 w 944810"/>
                <a:gd name="connsiteY200" fmla="*/ 121186 h 435839"/>
                <a:gd name="connsiteX201" fmla="*/ 608736 w 944810"/>
                <a:gd name="connsiteY201" fmla="*/ 122832 h 435839"/>
                <a:gd name="connsiteX202" fmla="*/ 608913 w 944810"/>
                <a:gd name="connsiteY202" fmla="*/ 125146 h 435839"/>
                <a:gd name="connsiteX203" fmla="*/ 608146 w 944810"/>
                <a:gd name="connsiteY203" fmla="*/ 132190 h 435839"/>
                <a:gd name="connsiteX204" fmla="*/ 607216 w 944810"/>
                <a:gd name="connsiteY204" fmla="*/ 137482 h 435839"/>
                <a:gd name="connsiteX205" fmla="*/ 605819 w 944810"/>
                <a:gd name="connsiteY205" fmla="*/ 142384 h 435839"/>
                <a:gd name="connsiteX206" fmla="*/ 604253 w 944810"/>
                <a:gd name="connsiteY206" fmla="*/ 145023 h 435839"/>
                <a:gd name="connsiteX207" fmla="*/ 602251 w 944810"/>
                <a:gd name="connsiteY207" fmla="*/ 145757 h 435839"/>
                <a:gd name="connsiteX208" fmla="*/ 595832 w 944810"/>
                <a:gd name="connsiteY208" fmla="*/ 146240 h 435839"/>
                <a:gd name="connsiteX209" fmla="*/ 590884 w 944810"/>
                <a:gd name="connsiteY209" fmla="*/ 150822 h 435839"/>
                <a:gd name="connsiteX210" fmla="*/ 586885 w 944810"/>
                <a:gd name="connsiteY210" fmla="*/ 158983 h 435839"/>
                <a:gd name="connsiteX211" fmla="*/ 584810 w 944810"/>
                <a:gd name="connsiteY211" fmla="*/ 162177 h 435839"/>
                <a:gd name="connsiteX212" fmla="*/ 580474 w 944810"/>
                <a:gd name="connsiteY212" fmla="*/ 167209 h 435839"/>
                <a:gd name="connsiteX213" fmla="*/ 581256 w 944810"/>
                <a:gd name="connsiteY213" fmla="*/ 168990 h 435839"/>
                <a:gd name="connsiteX214" fmla="*/ 582607 w 944810"/>
                <a:gd name="connsiteY214" fmla="*/ 170917 h 435839"/>
                <a:gd name="connsiteX215" fmla="*/ 580241 w 944810"/>
                <a:gd name="connsiteY215" fmla="*/ 174364 h 435839"/>
                <a:gd name="connsiteX216" fmla="*/ 576585 w 944810"/>
                <a:gd name="connsiteY216" fmla="*/ 178222 h 435839"/>
                <a:gd name="connsiteX217" fmla="*/ 576656 w 944810"/>
                <a:gd name="connsiteY217" fmla="*/ 179712 h 435839"/>
                <a:gd name="connsiteX218" fmla="*/ 577887 w 944810"/>
                <a:gd name="connsiteY218" fmla="*/ 182439 h 435839"/>
                <a:gd name="connsiteX219" fmla="*/ 578487 w 944810"/>
                <a:gd name="connsiteY219" fmla="*/ 185270 h 435839"/>
                <a:gd name="connsiteX220" fmla="*/ 575667 w 944810"/>
                <a:gd name="connsiteY220" fmla="*/ 187703 h 435839"/>
                <a:gd name="connsiteX221" fmla="*/ 570478 w 944810"/>
                <a:gd name="connsiteY221" fmla="*/ 188938 h 435839"/>
                <a:gd name="connsiteX222" fmla="*/ 565203 w 944810"/>
                <a:gd name="connsiteY222" fmla="*/ 187557 h 435839"/>
                <a:gd name="connsiteX223" fmla="*/ 562635 w 944810"/>
                <a:gd name="connsiteY223" fmla="*/ 185925 h 435839"/>
                <a:gd name="connsiteX224" fmla="*/ 560254 w 944810"/>
                <a:gd name="connsiteY224" fmla="*/ 183309 h 435839"/>
                <a:gd name="connsiteX225" fmla="*/ 557727 w 944810"/>
                <a:gd name="connsiteY225" fmla="*/ 181600 h 435839"/>
                <a:gd name="connsiteX226" fmla="*/ 555088 w 944810"/>
                <a:gd name="connsiteY226" fmla="*/ 180574 h 435839"/>
                <a:gd name="connsiteX227" fmla="*/ 544967 w 944810"/>
                <a:gd name="connsiteY227" fmla="*/ 174757 h 435839"/>
                <a:gd name="connsiteX228" fmla="*/ 535623 w 944810"/>
                <a:gd name="connsiteY228" fmla="*/ 165524 h 435839"/>
                <a:gd name="connsiteX229" fmla="*/ 527094 w 944810"/>
                <a:gd name="connsiteY229" fmla="*/ 161921 h 435839"/>
                <a:gd name="connsiteX230" fmla="*/ 521531 w 944810"/>
                <a:gd name="connsiteY230" fmla="*/ 160209 h 435839"/>
                <a:gd name="connsiteX231" fmla="*/ 518854 w 944810"/>
                <a:gd name="connsiteY231" fmla="*/ 158551 h 435839"/>
                <a:gd name="connsiteX232" fmla="*/ 516239 w 944810"/>
                <a:gd name="connsiteY232" fmla="*/ 156321 h 435839"/>
                <a:gd name="connsiteX233" fmla="*/ 513978 w 944810"/>
                <a:gd name="connsiteY233" fmla="*/ 153815 h 435839"/>
                <a:gd name="connsiteX234" fmla="*/ 511879 w 944810"/>
                <a:gd name="connsiteY234" fmla="*/ 150641 h 435839"/>
                <a:gd name="connsiteX235" fmla="*/ 510857 w 944810"/>
                <a:gd name="connsiteY235" fmla="*/ 148667 h 435839"/>
                <a:gd name="connsiteX236" fmla="*/ 510670 w 944810"/>
                <a:gd name="connsiteY236" fmla="*/ 145702 h 435839"/>
                <a:gd name="connsiteX237" fmla="*/ 511341 w 944810"/>
                <a:gd name="connsiteY237" fmla="*/ 143960 h 435839"/>
                <a:gd name="connsiteX238" fmla="*/ 512341 w 944810"/>
                <a:gd name="connsiteY238" fmla="*/ 143066 h 435839"/>
                <a:gd name="connsiteX239" fmla="*/ 519115 w 944810"/>
                <a:gd name="connsiteY239" fmla="*/ 142333 h 435839"/>
                <a:gd name="connsiteX240" fmla="*/ 521551 w 944810"/>
                <a:gd name="connsiteY240" fmla="*/ 142748 h 435839"/>
                <a:gd name="connsiteX241" fmla="*/ 523950 w 944810"/>
                <a:gd name="connsiteY241" fmla="*/ 144300 h 435839"/>
                <a:gd name="connsiteX242" fmla="*/ 526133 w 944810"/>
                <a:gd name="connsiteY242" fmla="*/ 144908 h 435839"/>
                <a:gd name="connsiteX243" fmla="*/ 531125 w 944810"/>
                <a:gd name="connsiteY243" fmla="*/ 137173 h 435839"/>
                <a:gd name="connsiteX244" fmla="*/ 559543 w 944810"/>
                <a:gd name="connsiteY244" fmla="*/ 132734 h 435839"/>
                <a:gd name="connsiteX245" fmla="*/ 568679 w 944810"/>
                <a:gd name="connsiteY245" fmla="*/ 131965 h 435839"/>
                <a:gd name="connsiteX246" fmla="*/ 577837 w 944810"/>
                <a:gd name="connsiteY246" fmla="*/ 132011 h 435839"/>
                <a:gd name="connsiteX247" fmla="*/ 576410 w 944810"/>
                <a:gd name="connsiteY247" fmla="*/ 129910 h 435839"/>
                <a:gd name="connsiteX248" fmla="*/ 575201 w 944810"/>
                <a:gd name="connsiteY248" fmla="*/ 127244 h 435839"/>
                <a:gd name="connsiteX249" fmla="*/ 573849 w 944810"/>
                <a:gd name="connsiteY249" fmla="*/ 126597 h 435839"/>
                <a:gd name="connsiteX250" fmla="*/ 566922 w 944810"/>
                <a:gd name="connsiteY250" fmla="*/ 128090 h 435839"/>
                <a:gd name="connsiteX251" fmla="*/ 556317 w 944810"/>
                <a:gd name="connsiteY251" fmla="*/ 129664 h 435839"/>
                <a:gd name="connsiteX252" fmla="*/ 551149 w 944810"/>
                <a:gd name="connsiteY252" fmla="*/ 129666 h 435839"/>
                <a:gd name="connsiteX253" fmla="*/ 545820 w 944810"/>
                <a:gd name="connsiteY253" fmla="*/ 128617 h 435839"/>
                <a:gd name="connsiteX254" fmla="*/ 540502 w 944810"/>
                <a:gd name="connsiteY254" fmla="*/ 129195 h 435839"/>
                <a:gd name="connsiteX255" fmla="*/ 535019 w 944810"/>
                <a:gd name="connsiteY255" fmla="*/ 131473 h 435839"/>
                <a:gd name="connsiteX256" fmla="*/ 529491 w 944810"/>
                <a:gd name="connsiteY256" fmla="*/ 132915 h 435839"/>
                <a:gd name="connsiteX257" fmla="*/ 524118 w 944810"/>
                <a:gd name="connsiteY257" fmla="*/ 133494 h 435839"/>
                <a:gd name="connsiteX258" fmla="*/ 512753 w 944810"/>
                <a:gd name="connsiteY258" fmla="*/ 133260 h 435839"/>
                <a:gd name="connsiteX259" fmla="*/ 509935 w 944810"/>
                <a:gd name="connsiteY259" fmla="*/ 132081 h 435839"/>
                <a:gd name="connsiteX260" fmla="*/ 506146 w 944810"/>
                <a:gd name="connsiteY260" fmla="*/ 129346 h 435839"/>
                <a:gd name="connsiteX261" fmla="*/ 505228 w 944810"/>
                <a:gd name="connsiteY261" fmla="*/ 127943 h 435839"/>
                <a:gd name="connsiteX262" fmla="*/ 504444 w 944810"/>
                <a:gd name="connsiteY262" fmla="*/ 126223 h 435839"/>
                <a:gd name="connsiteX263" fmla="*/ 503701 w 944810"/>
                <a:gd name="connsiteY263" fmla="*/ 121039 h 435839"/>
                <a:gd name="connsiteX264" fmla="*/ 504522 w 944810"/>
                <a:gd name="connsiteY264" fmla="*/ 119630 h 435839"/>
                <a:gd name="connsiteX265" fmla="*/ 505681 w 944810"/>
                <a:gd name="connsiteY265" fmla="*/ 118818 h 435839"/>
                <a:gd name="connsiteX266" fmla="*/ 506873 w 944810"/>
                <a:gd name="connsiteY266" fmla="*/ 118320 h 435839"/>
                <a:gd name="connsiteX267" fmla="*/ 509370 w 944810"/>
                <a:gd name="connsiteY267" fmla="*/ 118294 h 435839"/>
                <a:gd name="connsiteX268" fmla="*/ 511820 w 944810"/>
                <a:gd name="connsiteY268" fmla="*/ 119189 h 435839"/>
                <a:gd name="connsiteX269" fmla="*/ 517558 w 944810"/>
                <a:gd name="connsiteY269" fmla="*/ 122139 h 435839"/>
                <a:gd name="connsiteX270" fmla="*/ 516252 w 944810"/>
                <a:gd name="connsiteY270" fmla="*/ 118972 h 435839"/>
                <a:gd name="connsiteX271" fmla="*/ 532760 w 944810"/>
                <a:gd name="connsiteY271" fmla="*/ 115150 h 435839"/>
                <a:gd name="connsiteX272" fmla="*/ 540426 w 944810"/>
                <a:gd name="connsiteY272" fmla="*/ 111805 h 435839"/>
                <a:gd name="connsiteX273" fmla="*/ 544363 w 944810"/>
                <a:gd name="connsiteY273" fmla="*/ 111241 h 435839"/>
                <a:gd name="connsiteX274" fmla="*/ 548312 w 944810"/>
                <a:gd name="connsiteY274" fmla="*/ 111487 h 435839"/>
                <a:gd name="connsiteX275" fmla="*/ 547442 w 944810"/>
                <a:gd name="connsiteY275" fmla="*/ 109704 h 435839"/>
                <a:gd name="connsiteX276" fmla="*/ 547407 w 944810"/>
                <a:gd name="connsiteY276" fmla="*/ 108053 h 435839"/>
                <a:gd name="connsiteX277" fmla="*/ 550210 w 944810"/>
                <a:gd name="connsiteY277" fmla="*/ 106704 h 435839"/>
                <a:gd name="connsiteX278" fmla="*/ 552233 w 944810"/>
                <a:gd name="connsiteY278" fmla="*/ 106123 h 435839"/>
                <a:gd name="connsiteX279" fmla="*/ 558312 w 944810"/>
                <a:gd name="connsiteY279" fmla="*/ 105460 h 435839"/>
                <a:gd name="connsiteX280" fmla="*/ 572169 w 944810"/>
                <a:gd name="connsiteY280" fmla="*/ 105577 h 435839"/>
                <a:gd name="connsiteX281" fmla="*/ 577166 w 944810"/>
                <a:gd name="connsiteY281" fmla="*/ 104665 h 435839"/>
                <a:gd name="connsiteX282" fmla="*/ 580903 w 944810"/>
                <a:gd name="connsiteY282" fmla="*/ 102361 h 435839"/>
                <a:gd name="connsiteX283" fmla="*/ 576920 w 944810"/>
                <a:gd name="connsiteY283" fmla="*/ 103164 h 435839"/>
                <a:gd name="connsiteX284" fmla="*/ 572927 w 944810"/>
                <a:gd name="connsiteY284" fmla="*/ 103320 h 435839"/>
                <a:gd name="connsiteX285" fmla="*/ 571055 w 944810"/>
                <a:gd name="connsiteY285" fmla="*/ 102842 h 435839"/>
                <a:gd name="connsiteX286" fmla="*/ 566826 w 944810"/>
                <a:gd name="connsiteY286" fmla="*/ 100829 h 435839"/>
                <a:gd name="connsiteX287" fmla="*/ 564909 w 944810"/>
                <a:gd name="connsiteY287" fmla="*/ 98185 h 435839"/>
                <a:gd name="connsiteX288" fmla="*/ 570392 w 944810"/>
                <a:gd name="connsiteY288" fmla="*/ 92888 h 435839"/>
                <a:gd name="connsiteX289" fmla="*/ 572294 w 944810"/>
                <a:gd name="connsiteY289" fmla="*/ 90424 h 435839"/>
                <a:gd name="connsiteX290" fmla="*/ 566719 w 944810"/>
                <a:gd name="connsiteY290" fmla="*/ 90780 h 435839"/>
                <a:gd name="connsiteX291" fmla="*/ 564857 w 944810"/>
                <a:gd name="connsiteY291" fmla="*/ 91643 h 435839"/>
                <a:gd name="connsiteX292" fmla="*/ 558472 w 944810"/>
                <a:gd name="connsiteY292" fmla="*/ 96512 h 435839"/>
                <a:gd name="connsiteX293" fmla="*/ 553752 w 944810"/>
                <a:gd name="connsiteY293" fmla="*/ 98695 h 435839"/>
                <a:gd name="connsiteX294" fmla="*/ 547928 w 944810"/>
                <a:gd name="connsiteY294" fmla="*/ 99743 h 435839"/>
                <a:gd name="connsiteX295" fmla="*/ 542106 w 944810"/>
                <a:gd name="connsiteY295" fmla="*/ 99651 h 435839"/>
                <a:gd name="connsiteX296" fmla="*/ 540836 w 944810"/>
                <a:gd name="connsiteY296" fmla="*/ 98959 h 435839"/>
                <a:gd name="connsiteX297" fmla="*/ 539055 w 944810"/>
                <a:gd name="connsiteY297" fmla="*/ 95738 h 435839"/>
                <a:gd name="connsiteX298" fmla="*/ 538497 w 944810"/>
                <a:gd name="connsiteY298" fmla="*/ 94043 h 435839"/>
                <a:gd name="connsiteX299" fmla="*/ 538735 w 944810"/>
                <a:gd name="connsiteY299" fmla="*/ 93110 h 435839"/>
                <a:gd name="connsiteX300" fmla="*/ 540579 w 944810"/>
                <a:gd name="connsiteY300" fmla="*/ 90448 h 435839"/>
                <a:gd name="connsiteX301" fmla="*/ 541536 w 944810"/>
                <a:gd name="connsiteY301" fmla="*/ 87625 h 435839"/>
                <a:gd name="connsiteX302" fmla="*/ 541372 w 944810"/>
                <a:gd name="connsiteY302" fmla="*/ 85190 h 435839"/>
                <a:gd name="connsiteX303" fmla="*/ 540013 w 944810"/>
                <a:gd name="connsiteY303" fmla="*/ 84702 h 435839"/>
                <a:gd name="connsiteX304" fmla="*/ 537858 w 944810"/>
                <a:gd name="connsiteY304" fmla="*/ 87083 h 435839"/>
                <a:gd name="connsiteX305" fmla="*/ 535913 w 944810"/>
                <a:gd name="connsiteY305" fmla="*/ 90393 h 435839"/>
                <a:gd name="connsiteX306" fmla="*/ 533237 w 944810"/>
                <a:gd name="connsiteY306" fmla="*/ 92051 h 435839"/>
                <a:gd name="connsiteX307" fmla="*/ 530484 w 944810"/>
                <a:gd name="connsiteY307" fmla="*/ 91599 h 435839"/>
                <a:gd name="connsiteX308" fmla="*/ 529309 w 944810"/>
                <a:gd name="connsiteY308" fmla="*/ 90330 h 435839"/>
                <a:gd name="connsiteX309" fmla="*/ 528286 w 944810"/>
                <a:gd name="connsiteY309" fmla="*/ 88385 h 435839"/>
                <a:gd name="connsiteX310" fmla="*/ 527206 w 944810"/>
                <a:gd name="connsiteY310" fmla="*/ 87637 h 435839"/>
                <a:gd name="connsiteX311" fmla="*/ 526006 w 944810"/>
                <a:gd name="connsiteY311" fmla="*/ 87637 h 435839"/>
                <a:gd name="connsiteX312" fmla="*/ 523537 w 944810"/>
                <a:gd name="connsiteY312" fmla="*/ 88414 h 435839"/>
                <a:gd name="connsiteX313" fmla="*/ 521095 w 944810"/>
                <a:gd name="connsiteY313" fmla="*/ 89852 h 435839"/>
                <a:gd name="connsiteX314" fmla="*/ 521937 w 944810"/>
                <a:gd name="connsiteY314" fmla="*/ 92032 h 435839"/>
                <a:gd name="connsiteX315" fmla="*/ 522162 w 944810"/>
                <a:gd name="connsiteY315" fmla="*/ 94456 h 435839"/>
                <a:gd name="connsiteX316" fmla="*/ 521108 w 944810"/>
                <a:gd name="connsiteY316" fmla="*/ 96377 h 435839"/>
                <a:gd name="connsiteX317" fmla="*/ 520313 w 944810"/>
                <a:gd name="connsiteY317" fmla="*/ 98721 h 435839"/>
                <a:gd name="connsiteX318" fmla="*/ 522829 w 944810"/>
                <a:gd name="connsiteY318" fmla="*/ 100196 h 435839"/>
                <a:gd name="connsiteX319" fmla="*/ 524878 w 944810"/>
                <a:gd name="connsiteY319" fmla="*/ 102484 h 435839"/>
                <a:gd name="connsiteX320" fmla="*/ 521810 w 944810"/>
                <a:gd name="connsiteY320" fmla="*/ 103556 h 435839"/>
                <a:gd name="connsiteX321" fmla="*/ 518798 w 944810"/>
                <a:gd name="connsiteY321" fmla="*/ 105121 h 435839"/>
                <a:gd name="connsiteX322" fmla="*/ 516033 w 944810"/>
                <a:gd name="connsiteY322" fmla="*/ 107531 h 435839"/>
                <a:gd name="connsiteX323" fmla="*/ 513207 w 944810"/>
                <a:gd name="connsiteY323" fmla="*/ 109406 h 435839"/>
                <a:gd name="connsiteX324" fmla="*/ 508722 w 944810"/>
                <a:gd name="connsiteY324" fmla="*/ 109605 h 435839"/>
                <a:gd name="connsiteX325" fmla="*/ 503135 w 944810"/>
                <a:gd name="connsiteY325" fmla="*/ 110643 h 435839"/>
                <a:gd name="connsiteX326" fmla="*/ 491974 w 944810"/>
                <a:gd name="connsiteY326" fmla="*/ 111010 h 435839"/>
                <a:gd name="connsiteX327" fmla="*/ 486724 w 944810"/>
                <a:gd name="connsiteY327" fmla="*/ 107955 h 435839"/>
                <a:gd name="connsiteX328" fmla="*/ 485767 w 944810"/>
                <a:gd name="connsiteY328" fmla="*/ 106502 h 435839"/>
                <a:gd name="connsiteX329" fmla="*/ 484720 w 944810"/>
                <a:gd name="connsiteY329" fmla="*/ 105528 h 435839"/>
                <a:gd name="connsiteX330" fmla="*/ 481237 w 944810"/>
                <a:gd name="connsiteY330" fmla="*/ 103923 h 435839"/>
                <a:gd name="connsiteX331" fmla="*/ 476154 w 944810"/>
                <a:gd name="connsiteY331" fmla="*/ 99181 h 435839"/>
                <a:gd name="connsiteX332" fmla="*/ 472243 w 944810"/>
                <a:gd name="connsiteY332" fmla="*/ 93771 h 435839"/>
                <a:gd name="connsiteX333" fmla="*/ 469598 w 944810"/>
                <a:gd name="connsiteY333" fmla="*/ 93246 h 435839"/>
                <a:gd name="connsiteX334" fmla="*/ 465694 w 944810"/>
                <a:gd name="connsiteY334" fmla="*/ 91456 h 435839"/>
                <a:gd name="connsiteX335" fmla="*/ 463567 w 944810"/>
                <a:gd name="connsiteY335" fmla="*/ 89909 h 435839"/>
                <a:gd name="connsiteX336" fmla="*/ 461539 w 944810"/>
                <a:gd name="connsiteY336" fmla="*/ 87857 h 435839"/>
                <a:gd name="connsiteX337" fmla="*/ 460930 w 944810"/>
                <a:gd name="connsiteY337" fmla="*/ 85430 h 435839"/>
                <a:gd name="connsiteX338" fmla="*/ 461127 w 944810"/>
                <a:gd name="connsiteY338" fmla="*/ 83216 h 435839"/>
                <a:gd name="connsiteX339" fmla="*/ 463468 w 944810"/>
                <a:gd name="connsiteY339" fmla="*/ 82229 h 435839"/>
                <a:gd name="connsiteX340" fmla="*/ 457940 w 944810"/>
                <a:gd name="connsiteY340" fmla="*/ 79735 h 435839"/>
                <a:gd name="connsiteX341" fmla="*/ 452509 w 944810"/>
                <a:gd name="connsiteY341" fmla="*/ 76435 h 435839"/>
                <a:gd name="connsiteX342" fmla="*/ 454515 w 944810"/>
                <a:gd name="connsiteY342" fmla="*/ 75327 h 435839"/>
                <a:gd name="connsiteX343" fmla="*/ 456536 w 944810"/>
                <a:gd name="connsiteY343" fmla="*/ 74839 h 435839"/>
                <a:gd name="connsiteX344" fmla="*/ 472619 w 944810"/>
                <a:gd name="connsiteY344" fmla="*/ 78681 h 435839"/>
                <a:gd name="connsiteX345" fmla="*/ 473692 w 944810"/>
                <a:gd name="connsiteY345" fmla="*/ 78203 h 435839"/>
                <a:gd name="connsiteX346" fmla="*/ 475459 w 944810"/>
                <a:gd name="connsiteY346" fmla="*/ 76296 h 435839"/>
                <a:gd name="connsiteX347" fmla="*/ 474832 w 944810"/>
                <a:gd name="connsiteY347" fmla="*/ 75653 h 435839"/>
                <a:gd name="connsiteX348" fmla="*/ 472138 w 944810"/>
                <a:gd name="connsiteY348" fmla="*/ 75213 h 435839"/>
                <a:gd name="connsiteX349" fmla="*/ 468471 w 944810"/>
                <a:gd name="connsiteY349" fmla="*/ 75225 h 435839"/>
                <a:gd name="connsiteX350" fmla="*/ 467553 w 944810"/>
                <a:gd name="connsiteY350" fmla="*/ 74830 h 435839"/>
                <a:gd name="connsiteX351" fmla="*/ 466139 w 944810"/>
                <a:gd name="connsiteY351" fmla="*/ 72763 h 435839"/>
                <a:gd name="connsiteX352" fmla="*/ 464897 w 944810"/>
                <a:gd name="connsiteY352" fmla="*/ 70211 h 435839"/>
                <a:gd name="connsiteX353" fmla="*/ 464372 w 944810"/>
                <a:gd name="connsiteY353" fmla="*/ 68509 h 435839"/>
                <a:gd name="connsiteX354" fmla="*/ 464169 w 944810"/>
                <a:gd name="connsiteY354" fmla="*/ 66517 h 435839"/>
                <a:gd name="connsiteX355" fmla="*/ 466897 w 944810"/>
                <a:gd name="connsiteY355" fmla="*/ 63522 h 435839"/>
                <a:gd name="connsiteX356" fmla="*/ 468397 w 944810"/>
                <a:gd name="connsiteY356" fmla="*/ 60835 h 435839"/>
                <a:gd name="connsiteX357" fmla="*/ 466061 w 944810"/>
                <a:gd name="connsiteY357" fmla="*/ 59592 h 435839"/>
                <a:gd name="connsiteX358" fmla="*/ 459449 w 944810"/>
                <a:gd name="connsiteY358" fmla="*/ 59667 h 435839"/>
                <a:gd name="connsiteX359" fmla="*/ 457249 w 944810"/>
                <a:gd name="connsiteY359" fmla="*/ 60046 h 435839"/>
                <a:gd name="connsiteX360" fmla="*/ 458058 w 944810"/>
                <a:gd name="connsiteY360" fmla="*/ 63908 h 435839"/>
                <a:gd name="connsiteX361" fmla="*/ 455953 w 944810"/>
                <a:gd name="connsiteY361" fmla="*/ 66569 h 435839"/>
                <a:gd name="connsiteX362" fmla="*/ 451921 w 944810"/>
                <a:gd name="connsiteY362" fmla="*/ 68644 h 435839"/>
                <a:gd name="connsiteX363" fmla="*/ 449030 w 944810"/>
                <a:gd name="connsiteY363" fmla="*/ 67634 h 435839"/>
                <a:gd name="connsiteX364" fmla="*/ 446799 w 944810"/>
                <a:gd name="connsiteY364" fmla="*/ 62542 h 435839"/>
                <a:gd name="connsiteX365" fmla="*/ 443884 w 944810"/>
                <a:gd name="connsiteY365" fmla="*/ 58988 h 435839"/>
                <a:gd name="connsiteX366" fmla="*/ 442787 w 944810"/>
                <a:gd name="connsiteY366" fmla="*/ 56745 h 435839"/>
                <a:gd name="connsiteX367" fmla="*/ 441954 w 944810"/>
                <a:gd name="connsiteY367" fmla="*/ 53512 h 435839"/>
                <a:gd name="connsiteX368" fmla="*/ 440766 w 944810"/>
                <a:gd name="connsiteY368" fmla="*/ 51158 h 435839"/>
                <a:gd name="connsiteX369" fmla="*/ 438626 w 944810"/>
                <a:gd name="connsiteY369" fmla="*/ 48308 h 435839"/>
                <a:gd name="connsiteX370" fmla="*/ 438347 w 944810"/>
                <a:gd name="connsiteY370" fmla="*/ 46548 h 435839"/>
                <a:gd name="connsiteX371" fmla="*/ 438613 w 944810"/>
                <a:gd name="connsiteY371" fmla="*/ 45246 h 435839"/>
                <a:gd name="connsiteX372" fmla="*/ 440243 w 944810"/>
                <a:gd name="connsiteY372" fmla="*/ 42290 h 435839"/>
                <a:gd name="connsiteX373" fmla="*/ 439002 w 944810"/>
                <a:gd name="connsiteY373" fmla="*/ 39820 h 435839"/>
                <a:gd name="connsiteX374" fmla="*/ 437490 w 944810"/>
                <a:gd name="connsiteY374" fmla="*/ 37656 h 435839"/>
                <a:gd name="connsiteX375" fmla="*/ 437399 w 944810"/>
                <a:gd name="connsiteY375" fmla="*/ 36421 h 435839"/>
                <a:gd name="connsiteX376" fmla="*/ 438820 w 944810"/>
                <a:gd name="connsiteY376" fmla="*/ 34897 h 435839"/>
                <a:gd name="connsiteX377" fmla="*/ 440094 w 944810"/>
                <a:gd name="connsiteY377" fmla="*/ 34390 h 435839"/>
                <a:gd name="connsiteX378" fmla="*/ 441463 w 944810"/>
                <a:gd name="connsiteY378" fmla="*/ 34500 h 435839"/>
                <a:gd name="connsiteX379" fmla="*/ 445525 w 944810"/>
                <a:gd name="connsiteY379" fmla="*/ 36319 h 435839"/>
                <a:gd name="connsiteX380" fmla="*/ 447754 w 944810"/>
                <a:gd name="connsiteY380" fmla="*/ 38487 h 435839"/>
                <a:gd name="connsiteX381" fmla="*/ 448525 w 944810"/>
                <a:gd name="connsiteY381" fmla="*/ 38313 h 435839"/>
                <a:gd name="connsiteX382" fmla="*/ 449969 w 944810"/>
                <a:gd name="connsiteY382" fmla="*/ 35087 h 435839"/>
                <a:gd name="connsiteX383" fmla="*/ 452027 w 944810"/>
                <a:gd name="connsiteY383" fmla="*/ 34358 h 435839"/>
                <a:gd name="connsiteX384" fmla="*/ 459958 w 944810"/>
                <a:gd name="connsiteY384" fmla="*/ 33295 h 435839"/>
                <a:gd name="connsiteX385" fmla="*/ 468790 w 944810"/>
                <a:gd name="connsiteY385" fmla="*/ 37458 h 435839"/>
                <a:gd name="connsiteX386" fmla="*/ 471077 w 944810"/>
                <a:gd name="connsiteY386" fmla="*/ 38382 h 435839"/>
                <a:gd name="connsiteX387" fmla="*/ 472904 w 944810"/>
                <a:gd name="connsiteY387" fmla="*/ 38680 h 435839"/>
                <a:gd name="connsiteX388" fmla="*/ 471962 w 944810"/>
                <a:gd name="connsiteY388" fmla="*/ 36835 h 435839"/>
                <a:gd name="connsiteX389" fmla="*/ 471386 w 944810"/>
                <a:gd name="connsiteY389" fmla="*/ 34434 h 435839"/>
                <a:gd name="connsiteX390" fmla="*/ 472731 w 944810"/>
                <a:gd name="connsiteY390" fmla="*/ 33528 h 435839"/>
                <a:gd name="connsiteX391" fmla="*/ 479862 w 944810"/>
                <a:gd name="connsiteY391" fmla="*/ 35670 h 435839"/>
                <a:gd name="connsiteX392" fmla="*/ 483202 w 944810"/>
                <a:gd name="connsiteY392" fmla="*/ 35543 h 435839"/>
                <a:gd name="connsiteX393" fmla="*/ 491030 w 944810"/>
                <a:gd name="connsiteY393" fmla="*/ 32736 h 435839"/>
                <a:gd name="connsiteX394" fmla="*/ 503973 w 944810"/>
                <a:gd name="connsiteY394" fmla="*/ 31267 h 435839"/>
                <a:gd name="connsiteX395" fmla="*/ 508866 w 944810"/>
                <a:gd name="connsiteY395" fmla="*/ 33479 h 435839"/>
                <a:gd name="connsiteX396" fmla="*/ 509121 w 944810"/>
                <a:gd name="connsiteY396" fmla="*/ 34659 h 435839"/>
                <a:gd name="connsiteX397" fmla="*/ 509020 w 944810"/>
                <a:gd name="connsiteY397" fmla="*/ 36248 h 435839"/>
                <a:gd name="connsiteX398" fmla="*/ 508709 w 944810"/>
                <a:gd name="connsiteY398" fmla="*/ 36725 h 435839"/>
                <a:gd name="connsiteX399" fmla="*/ 505846 w 944810"/>
                <a:gd name="connsiteY399" fmla="*/ 38572 h 435839"/>
                <a:gd name="connsiteX400" fmla="*/ 489521 w 944810"/>
                <a:gd name="connsiteY400" fmla="*/ 40079 h 435839"/>
                <a:gd name="connsiteX401" fmla="*/ 478821 w 944810"/>
                <a:gd name="connsiteY401" fmla="*/ 45852 h 435839"/>
                <a:gd name="connsiteX402" fmla="*/ 493410 w 944810"/>
                <a:gd name="connsiteY402" fmla="*/ 44925 h 435839"/>
                <a:gd name="connsiteX403" fmla="*/ 496033 w 944810"/>
                <a:gd name="connsiteY403" fmla="*/ 45587 h 435839"/>
                <a:gd name="connsiteX404" fmla="*/ 497134 w 944810"/>
                <a:gd name="connsiteY404" fmla="*/ 50268 h 435839"/>
                <a:gd name="connsiteX405" fmla="*/ 498197 w 944810"/>
                <a:gd name="connsiteY405" fmla="*/ 50758 h 435839"/>
                <a:gd name="connsiteX406" fmla="*/ 501948 w 944810"/>
                <a:gd name="connsiteY406" fmla="*/ 51437 h 435839"/>
                <a:gd name="connsiteX407" fmla="*/ 504489 w 944810"/>
                <a:gd name="connsiteY407" fmla="*/ 52831 h 435839"/>
                <a:gd name="connsiteX408" fmla="*/ 507087 w 944810"/>
                <a:gd name="connsiteY408" fmla="*/ 55483 h 435839"/>
                <a:gd name="connsiteX409" fmla="*/ 509819 w 944810"/>
                <a:gd name="connsiteY409" fmla="*/ 57268 h 435839"/>
                <a:gd name="connsiteX410" fmla="*/ 511419 w 944810"/>
                <a:gd name="connsiteY410" fmla="*/ 57045 h 435839"/>
                <a:gd name="connsiteX411" fmla="*/ 512000 w 944810"/>
                <a:gd name="connsiteY411" fmla="*/ 55115 h 435839"/>
                <a:gd name="connsiteX412" fmla="*/ 511348 w 944810"/>
                <a:gd name="connsiteY412" fmla="*/ 52824 h 435839"/>
                <a:gd name="connsiteX413" fmla="*/ 511011 w 944810"/>
                <a:gd name="connsiteY413" fmla="*/ 50210 h 435839"/>
                <a:gd name="connsiteX414" fmla="*/ 511203 w 944810"/>
                <a:gd name="connsiteY414" fmla="*/ 47387 h 435839"/>
                <a:gd name="connsiteX415" fmla="*/ 511646 w 944810"/>
                <a:gd name="connsiteY415" fmla="*/ 45047 h 435839"/>
                <a:gd name="connsiteX416" fmla="*/ 514710 w 944810"/>
                <a:gd name="connsiteY416" fmla="*/ 43398 h 435839"/>
                <a:gd name="connsiteX417" fmla="*/ 519162 w 944810"/>
                <a:gd name="connsiteY417" fmla="*/ 38037 h 435839"/>
                <a:gd name="connsiteX418" fmla="*/ 523891 w 944810"/>
                <a:gd name="connsiteY418" fmla="*/ 34392 h 435839"/>
                <a:gd name="connsiteX419" fmla="*/ 529158 w 944810"/>
                <a:gd name="connsiteY419" fmla="*/ 36013 h 435839"/>
                <a:gd name="connsiteX420" fmla="*/ 534034 w 944810"/>
                <a:gd name="connsiteY420" fmla="*/ 40570 h 435839"/>
                <a:gd name="connsiteX421" fmla="*/ 538433 w 944810"/>
                <a:gd name="connsiteY421" fmla="*/ 47049 h 435839"/>
                <a:gd name="connsiteX422" fmla="*/ 542693 w 944810"/>
                <a:gd name="connsiteY422" fmla="*/ 53941 h 435839"/>
                <a:gd name="connsiteX423" fmla="*/ 547474 w 944810"/>
                <a:gd name="connsiteY423" fmla="*/ 62448 h 435839"/>
                <a:gd name="connsiteX424" fmla="*/ 549772 w 944810"/>
                <a:gd name="connsiteY424" fmla="*/ 65436 h 435839"/>
                <a:gd name="connsiteX425" fmla="*/ 551860 w 944810"/>
                <a:gd name="connsiteY425" fmla="*/ 66144 h 435839"/>
                <a:gd name="connsiteX426" fmla="*/ 561501 w 944810"/>
                <a:gd name="connsiteY426" fmla="*/ 74932 h 435839"/>
                <a:gd name="connsiteX427" fmla="*/ 562590 w 944810"/>
                <a:gd name="connsiteY427" fmla="*/ 75175 h 435839"/>
                <a:gd name="connsiteX428" fmla="*/ 560595 w 944810"/>
                <a:gd name="connsiteY428" fmla="*/ 68497 h 435839"/>
                <a:gd name="connsiteX429" fmla="*/ 555598 w 944810"/>
                <a:gd name="connsiteY429" fmla="*/ 57132 h 435839"/>
                <a:gd name="connsiteX430" fmla="*/ 552227 w 944810"/>
                <a:gd name="connsiteY430" fmla="*/ 48354 h 435839"/>
                <a:gd name="connsiteX431" fmla="*/ 551467 w 944810"/>
                <a:gd name="connsiteY431" fmla="*/ 44986 h 435839"/>
                <a:gd name="connsiteX432" fmla="*/ 550923 w 944810"/>
                <a:gd name="connsiteY432" fmla="*/ 40245 h 435839"/>
                <a:gd name="connsiteX433" fmla="*/ 551136 w 944810"/>
                <a:gd name="connsiteY433" fmla="*/ 38885 h 435839"/>
                <a:gd name="connsiteX434" fmla="*/ 551564 w 944810"/>
                <a:gd name="connsiteY434" fmla="*/ 37656 h 435839"/>
                <a:gd name="connsiteX435" fmla="*/ 554010 w 944810"/>
                <a:gd name="connsiteY435" fmla="*/ 32567 h 435839"/>
                <a:gd name="connsiteX436" fmla="*/ 557204 w 944810"/>
                <a:gd name="connsiteY436" fmla="*/ 30089 h 435839"/>
                <a:gd name="connsiteX437" fmla="*/ 556241 w 944810"/>
                <a:gd name="connsiteY437" fmla="*/ 26590 h 435839"/>
                <a:gd name="connsiteX438" fmla="*/ 557064 w 944810"/>
                <a:gd name="connsiteY438" fmla="*/ 23900 h 435839"/>
                <a:gd name="connsiteX439" fmla="*/ 560422 w 944810"/>
                <a:gd name="connsiteY439" fmla="*/ 21772 h 435839"/>
                <a:gd name="connsiteX440" fmla="*/ 939385 w 944810"/>
                <a:gd name="connsiteY440" fmla="*/ 12003 h 435839"/>
                <a:gd name="connsiteX441" fmla="*/ 944810 w 944810"/>
                <a:gd name="connsiteY441" fmla="*/ 13267 h 435839"/>
                <a:gd name="connsiteX442" fmla="*/ 943203 w 944810"/>
                <a:gd name="connsiteY442" fmla="*/ 14246 h 435839"/>
                <a:gd name="connsiteX443" fmla="*/ 920413 w 944810"/>
                <a:gd name="connsiteY443" fmla="*/ 18249 h 435839"/>
                <a:gd name="connsiteX444" fmla="*/ 899443 w 944810"/>
                <a:gd name="connsiteY444" fmla="*/ 20156 h 435839"/>
                <a:gd name="connsiteX445" fmla="*/ 897327 w 944810"/>
                <a:gd name="connsiteY445" fmla="*/ 18818 h 435839"/>
                <a:gd name="connsiteX446" fmla="*/ 931318 w 944810"/>
                <a:gd name="connsiteY446" fmla="*/ 13240 h 435839"/>
                <a:gd name="connsiteX447" fmla="*/ 933076 w 944810"/>
                <a:gd name="connsiteY447" fmla="*/ 12694 h 435839"/>
                <a:gd name="connsiteX448" fmla="*/ 605663 w 944810"/>
                <a:gd name="connsiteY448" fmla="*/ 6100 h 435839"/>
                <a:gd name="connsiteX449" fmla="*/ 610697 w 944810"/>
                <a:gd name="connsiteY449" fmla="*/ 6610 h 435839"/>
                <a:gd name="connsiteX450" fmla="*/ 615611 w 944810"/>
                <a:gd name="connsiteY450" fmla="*/ 9024 h 435839"/>
                <a:gd name="connsiteX451" fmla="*/ 610822 w 944810"/>
                <a:gd name="connsiteY451" fmla="*/ 11837 h 435839"/>
                <a:gd name="connsiteX452" fmla="*/ 602800 w 944810"/>
                <a:gd name="connsiteY452" fmla="*/ 9672 h 435839"/>
                <a:gd name="connsiteX453" fmla="*/ 603759 w 944810"/>
                <a:gd name="connsiteY453" fmla="*/ 7453 h 435839"/>
                <a:gd name="connsiteX454" fmla="*/ 637540 w 944810"/>
                <a:gd name="connsiteY454" fmla="*/ 0 h 435839"/>
                <a:gd name="connsiteX455" fmla="*/ 640146 w 944810"/>
                <a:gd name="connsiteY455" fmla="*/ 340 h 435839"/>
                <a:gd name="connsiteX456" fmla="*/ 645744 w 944810"/>
                <a:gd name="connsiteY456" fmla="*/ 2446 h 435839"/>
                <a:gd name="connsiteX457" fmla="*/ 651384 w 944810"/>
                <a:gd name="connsiteY457" fmla="*/ 3929 h 435839"/>
                <a:gd name="connsiteX458" fmla="*/ 653960 w 944810"/>
                <a:gd name="connsiteY458" fmla="*/ 5423 h 435839"/>
                <a:gd name="connsiteX459" fmla="*/ 658771 w 944810"/>
                <a:gd name="connsiteY459" fmla="*/ 9138 h 435839"/>
                <a:gd name="connsiteX460" fmla="*/ 663291 w 944810"/>
                <a:gd name="connsiteY460" fmla="*/ 11616 h 435839"/>
                <a:gd name="connsiteX461" fmla="*/ 665515 w 944810"/>
                <a:gd name="connsiteY461" fmla="*/ 12181 h 435839"/>
                <a:gd name="connsiteX462" fmla="*/ 677694 w 944810"/>
                <a:gd name="connsiteY462" fmla="*/ 11973 h 435839"/>
                <a:gd name="connsiteX463" fmla="*/ 680030 w 944810"/>
                <a:gd name="connsiteY463" fmla="*/ 13215 h 435839"/>
                <a:gd name="connsiteX464" fmla="*/ 680954 w 944810"/>
                <a:gd name="connsiteY464" fmla="*/ 16222 h 435839"/>
                <a:gd name="connsiteX465" fmla="*/ 682812 w 944810"/>
                <a:gd name="connsiteY465" fmla="*/ 17255 h 435839"/>
                <a:gd name="connsiteX466" fmla="*/ 685401 w 944810"/>
                <a:gd name="connsiteY466" fmla="*/ 17574 h 435839"/>
                <a:gd name="connsiteX467" fmla="*/ 691868 w 944810"/>
                <a:gd name="connsiteY467" fmla="*/ 21254 h 435839"/>
                <a:gd name="connsiteX468" fmla="*/ 694068 w 944810"/>
                <a:gd name="connsiteY468" fmla="*/ 21785 h 435839"/>
                <a:gd name="connsiteX469" fmla="*/ 695984 w 944810"/>
                <a:gd name="connsiteY469" fmla="*/ 19741 h 435839"/>
                <a:gd name="connsiteX470" fmla="*/ 697450 w 944810"/>
                <a:gd name="connsiteY470" fmla="*/ 14645 h 435839"/>
                <a:gd name="connsiteX471" fmla="*/ 697528 w 944810"/>
                <a:gd name="connsiteY471" fmla="*/ 8646 h 435839"/>
                <a:gd name="connsiteX472" fmla="*/ 696901 w 944810"/>
                <a:gd name="connsiteY472" fmla="*/ 5734 h 435839"/>
                <a:gd name="connsiteX473" fmla="*/ 697629 w 944810"/>
                <a:gd name="connsiteY473" fmla="*/ 3861 h 435839"/>
                <a:gd name="connsiteX474" fmla="*/ 699797 w 944810"/>
                <a:gd name="connsiteY474" fmla="*/ 3136 h 435839"/>
                <a:gd name="connsiteX475" fmla="*/ 702522 w 944810"/>
                <a:gd name="connsiteY475" fmla="*/ 3331 h 435839"/>
                <a:gd name="connsiteX476" fmla="*/ 705187 w 944810"/>
                <a:gd name="connsiteY476" fmla="*/ 2291 h 435839"/>
                <a:gd name="connsiteX477" fmla="*/ 707493 w 944810"/>
                <a:gd name="connsiteY477" fmla="*/ 452 h 435839"/>
                <a:gd name="connsiteX478" fmla="*/ 709951 w 944810"/>
                <a:gd name="connsiteY478" fmla="*/ 197 h 435839"/>
                <a:gd name="connsiteX479" fmla="*/ 715332 w 944810"/>
                <a:gd name="connsiteY479" fmla="*/ 1593 h 435839"/>
                <a:gd name="connsiteX480" fmla="*/ 716748 w 944810"/>
                <a:gd name="connsiteY480" fmla="*/ 2687 h 435839"/>
                <a:gd name="connsiteX481" fmla="*/ 715304 w 944810"/>
                <a:gd name="connsiteY481" fmla="*/ 4952 h 435839"/>
                <a:gd name="connsiteX482" fmla="*/ 714740 w 944810"/>
                <a:gd name="connsiteY482" fmla="*/ 8174 h 435839"/>
                <a:gd name="connsiteX483" fmla="*/ 712307 w 944810"/>
                <a:gd name="connsiteY483" fmla="*/ 14813 h 435839"/>
                <a:gd name="connsiteX484" fmla="*/ 717586 w 944810"/>
                <a:gd name="connsiteY484" fmla="*/ 15224 h 435839"/>
                <a:gd name="connsiteX485" fmla="*/ 724986 w 944810"/>
                <a:gd name="connsiteY485" fmla="*/ 13820 h 435839"/>
                <a:gd name="connsiteX486" fmla="*/ 726865 w 944810"/>
                <a:gd name="connsiteY486" fmla="*/ 11899 h 435839"/>
                <a:gd name="connsiteX487" fmla="*/ 730845 w 944810"/>
                <a:gd name="connsiteY487" fmla="*/ 8838 h 435839"/>
                <a:gd name="connsiteX488" fmla="*/ 735047 w 944810"/>
                <a:gd name="connsiteY488" fmla="*/ 9317 h 435839"/>
                <a:gd name="connsiteX489" fmla="*/ 737062 w 944810"/>
                <a:gd name="connsiteY489" fmla="*/ 8912 h 435839"/>
                <a:gd name="connsiteX490" fmla="*/ 738081 w 944810"/>
                <a:gd name="connsiteY490" fmla="*/ 7580 h 435839"/>
                <a:gd name="connsiteX491" fmla="*/ 738465 w 944810"/>
                <a:gd name="connsiteY491" fmla="*/ 5995 h 435839"/>
                <a:gd name="connsiteX492" fmla="*/ 740789 w 944810"/>
                <a:gd name="connsiteY492" fmla="*/ 6261 h 435839"/>
                <a:gd name="connsiteX493" fmla="*/ 743974 w 944810"/>
                <a:gd name="connsiteY493" fmla="*/ 9317 h 435839"/>
                <a:gd name="connsiteX494" fmla="*/ 745455 w 944810"/>
                <a:gd name="connsiteY494" fmla="*/ 9791 h 435839"/>
                <a:gd name="connsiteX495" fmla="*/ 748167 w 944810"/>
                <a:gd name="connsiteY495" fmla="*/ 9004 h 435839"/>
                <a:gd name="connsiteX496" fmla="*/ 749264 w 944810"/>
                <a:gd name="connsiteY496" fmla="*/ 9037 h 435839"/>
                <a:gd name="connsiteX497" fmla="*/ 751942 w 944810"/>
                <a:gd name="connsiteY497" fmla="*/ 10259 h 435839"/>
                <a:gd name="connsiteX498" fmla="*/ 764419 w 944810"/>
                <a:gd name="connsiteY498" fmla="*/ 12471 h 435839"/>
                <a:gd name="connsiteX499" fmla="*/ 768744 w 944810"/>
                <a:gd name="connsiteY499" fmla="*/ 13656 h 435839"/>
                <a:gd name="connsiteX500" fmla="*/ 770608 w 944810"/>
                <a:gd name="connsiteY500" fmla="*/ 14759 h 435839"/>
                <a:gd name="connsiteX501" fmla="*/ 772491 w 944810"/>
                <a:gd name="connsiteY501" fmla="*/ 15412 h 435839"/>
                <a:gd name="connsiteX502" fmla="*/ 785766 w 944810"/>
                <a:gd name="connsiteY502" fmla="*/ 15395 h 435839"/>
                <a:gd name="connsiteX503" fmla="*/ 795145 w 944810"/>
                <a:gd name="connsiteY503" fmla="*/ 16179 h 435839"/>
                <a:gd name="connsiteX504" fmla="*/ 798602 w 944810"/>
                <a:gd name="connsiteY504" fmla="*/ 17928 h 435839"/>
                <a:gd name="connsiteX505" fmla="*/ 801502 w 944810"/>
                <a:gd name="connsiteY505" fmla="*/ 21279 h 435839"/>
                <a:gd name="connsiteX506" fmla="*/ 802614 w 944810"/>
                <a:gd name="connsiteY506" fmla="*/ 28974 h 435839"/>
                <a:gd name="connsiteX507" fmla="*/ 799988 w 944810"/>
                <a:gd name="connsiteY507" fmla="*/ 31047 h 435839"/>
                <a:gd name="connsiteX508" fmla="*/ 780999 w 944810"/>
                <a:gd name="connsiteY508" fmla="*/ 40465 h 435839"/>
                <a:gd name="connsiteX509" fmla="*/ 776240 w 944810"/>
                <a:gd name="connsiteY509" fmla="*/ 43481 h 435839"/>
                <a:gd name="connsiteX510" fmla="*/ 773944 w 944810"/>
                <a:gd name="connsiteY510" fmla="*/ 46256 h 435839"/>
                <a:gd name="connsiteX511" fmla="*/ 770059 w 944810"/>
                <a:gd name="connsiteY511" fmla="*/ 52305 h 435839"/>
                <a:gd name="connsiteX512" fmla="*/ 768176 w 944810"/>
                <a:gd name="connsiteY512" fmla="*/ 54127 h 435839"/>
                <a:gd name="connsiteX513" fmla="*/ 759284 w 944810"/>
                <a:gd name="connsiteY513" fmla="*/ 56999 h 435839"/>
                <a:gd name="connsiteX514" fmla="*/ 757207 w 944810"/>
                <a:gd name="connsiteY514" fmla="*/ 57306 h 435839"/>
                <a:gd name="connsiteX515" fmla="*/ 750523 w 944810"/>
                <a:gd name="connsiteY515" fmla="*/ 55901 h 435839"/>
                <a:gd name="connsiteX516" fmla="*/ 748483 w 944810"/>
                <a:gd name="connsiteY516" fmla="*/ 56032 h 435839"/>
                <a:gd name="connsiteX517" fmla="*/ 740363 w 944810"/>
                <a:gd name="connsiteY517" fmla="*/ 59150 h 435839"/>
                <a:gd name="connsiteX518" fmla="*/ 737565 w 944810"/>
                <a:gd name="connsiteY518" fmla="*/ 61035 h 435839"/>
                <a:gd name="connsiteX519" fmla="*/ 734825 w 944810"/>
                <a:gd name="connsiteY519" fmla="*/ 63405 h 435839"/>
                <a:gd name="connsiteX520" fmla="*/ 730730 w 944810"/>
                <a:gd name="connsiteY520" fmla="*/ 64450 h 435839"/>
                <a:gd name="connsiteX521" fmla="*/ 726552 w 944810"/>
                <a:gd name="connsiteY521" fmla="*/ 63891 h 435839"/>
                <a:gd name="connsiteX522" fmla="*/ 707645 w 944810"/>
                <a:gd name="connsiteY522" fmla="*/ 62655 h 435839"/>
                <a:gd name="connsiteX523" fmla="*/ 705111 w 944810"/>
                <a:gd name="connsiteY523" fmla="*/ 60991 h 435839"/>
                <a:gd name="connsiteX524" fmla="*/ 703045 w 944810"/>
                <a:gd name="connsiteY524" fmla="*/ 57792 h 435839"/>
                <a:gd name="connsiteX525" fmla="*/ 706800 w 944810"/>
                <a:gd name="connsiteY525" fmla="*/ 53689 h 435839"/>
                <a:gd name="connsiteX526" fmla="*/ 685703 w 944810"/>
                <a:gd name="connsiteY526" fmla="*/ 55216 h 435839"/>
                <a:gd name="connsiteX527" fmla="*/ 662479 w 944810"/>
                <a:gd name="connsiteY527" fmla="*/ 54384 h 435839"/>
                <a:gd name="connsiteX528" fmla="*/ 661250 w 944810"/>
                <a:gd name="connsiteY528" fmla="*/ 53805 h 435839"/>
                <a:gd name="connsiteX529" fmla="*/ 660261 w 944810"/>
                <a:gd name="connsiteY529" fmla="*/ 52218 h 435839"/>
                <a:gd name="connsiteX530" fmla="*/ 652271 w 944810"/>
                <a:gd name="connsiteY530" fmla="*/ 51132 h 435839"/>
                <a:gd name="connsiteX531" fmla="*/ 646273 w 944810"/>
                <a:gd name="connsiteY531" fmla="*/ 49828 h 435839"/>
                <a:gd name="connsiteX532" fmla="*/ 641230 w 944810"/>
                <a:gd name="connsiteY532" fmla="*/ 47630 h 435839"/>
                <a:gd name="connsiteX533" fmla="*/ 636242 w 944810"/>
                <a:gd name="connsiteY533" fmla="*/ 44772 h 435839"/>
                <a:gd name="connsiteX534" fmla="*/ 637836 w 944810"/>
                <a:gd name="connsiteY534" fmla="*/ 43435 h 435839"/>
                <a:gd name="connsiteX535" fmla="*/ 639481 w 944810"/>
                <a:gd name="connsiteY535" fmla="*/ 42652 h 435839"/>
                <a:gd name="connsiteX536" fmla="*/ 643765 w 944810"/>
                <a:gd name="connsiteY536" fmla="*/ 42323 h 435839"/>
                <a:gd name="connsiteX537" fmla="*/ 647575 w 944810"/>
                <a:gd name="connsiteY537" fmla="*/ 42721 h 435839"/>
                <a:gd name="connsiteX538" fmla="*/ 654349 w 944810"/>
                <a:gd name="connsiteY538" fmla="*/ 42696 h 435839"/>
                <a:gd name="connsiteX539" fmla="*/ 655927 w 944810"/>
                <a:gd name="connsiteY539" fmla="*/ 39811 h 435839"/>
                <a:gd name="connsiteX540" fmla="*/ 658624 w 944810"/>
                <a:gd name="connsiteY540" fmla="*/ 38978 h 435839"/>
                <a:gd name="connsiteX541" fmla="*/ 660775 w 944810"/>
                <a:gd name="connsiteY541" fmla="*/ 36906 h 435839"/>
                <a:gd name="connsiteX542" fmla="*/ 653625 w 944810"/>
                <a:gd name="connsiteY542" fmla="*/ 35599 h 435839"/>
                <a:gd name="connsiteX543" fmla="*/ 646167 w 944810"/>
                <a:gd name="connsiteY543" fmla="*/ 35404 h 435839"/>
                <a:gd name="connsiteX544" fmla="*/ 641196 w 944810"/>
                <a:gd name="connsiteY544" fmla="*/ 37126 h 435839"/>
                <a:gd name="connsiteX545" fmla="*/ 635435 w 944810"/>
                <a:gd name="connsiteY545" fmla="*/ 37905 h 435839"/>
                <a:gd name="connsiteX546" fmla="*/ 630170 w 944810"/>
                <a:gd name="connsiteY546" fmla="*/ 38008 h 435839"/>
                <a:gd name="connsiteX547" fmla="*/ 620044 w 944810"/>
                <a:gd name="connsiteY547" fmla="*/ 37519 h 435839"/>
                <a:gd name="connsiteX548" fmla="*/ 615244 w 944810"/>
                <a:gd name="connsiteY548" fmla="*/ 36296 h 435839"/>
                <a:gd name="connsiteX549" fmla="*/ 608678 w 944810"/>
                <a:gd name="connsiteY549" fmla="*/ 33099 h 435839"/>
                <a:gd name="connsiteX550" fmla="*/ 606393 w 944810"/>
                <a:gd name="connsiteY550" fmla="*/ 31331 h 435839"/>
                <a:gd name="connsiteX551" fmla="*/ 605510 w 944810"/>
                <a:gd name="connsiteY551" fmla="*/ 29942 h 435839"/>
                <a:gd name="connsiteX552" fmla="*/ 604860 w 944810"/>
                <a:gd name="connsiteY552" fmla="*/ 27837 h 435839"/>
                <a:gd name="connsiteX553" fmla="*/ 612362 w 944810"/>
                <a:gd name="connsiteY553" fmla="*/ 25948 h 435839"/>
                <a:gd name="connsiteX554" fmla="*/ 615276 w 944810"/>
                <a:gd name="connsiteY554" fmla="*/ 24459 h 435839"/>
                <a:gd name="connsiteX555" fmla="*/ 618140 w 944810"/>
                <a:gd name="connsiteY555" fmla="*/ 22421 h 435839"/>
                <a:gd name="connsiteX556" fmla="*/ 606816 w 944810"/>
                <a:gd name="connsiteY556" fmla="*/ 21262 h 435839"/>
                <a:gd name="connsiteX557" fmla="*/ 602077 w 944810"/>
                <a:gd name="connsiteY557" fmla="*/ 19551 h 435839"/>
                <a:gd name="connsiteX558" fmla="*/ 597375 w 944810"/>
                <a:gd name="connsiteY558" fmla="*/ 17035 h 435839"/>
                <a:gd name="connsiteX559" fmla="*/ 601191 w 944810"/>
                <a:gd name="connsiteY559" fmla="*/ 15615 h 435839"/>
                <a:gd name="connsiteX560" fmla="*/ 616445 w 944810"/>
                <a:gd name="connsiteY560" fmla="*/ 14481 h 435839"/>
                <a:gd name="connsiteX561" fmla="*/ 620483 w 944810"/>
                <a:gd name="connsiteY561" fmla="*/ 15430 h 435839"/>
                <a:gd name="connsiteX562" fmla="*/ 624486 w 944810"/>
                <a:gd name="connsiteY562" fmla="*/ 17260 h 435839"/>
                <a:gd name="connsiteX563" fmla="*/ 628918 w 944810"/>
                <a:gd name="connsiteY563" fmla="*/ 18387 h 435839"/>
                <a:gd name="connsiteX564" fmla="*/ 633202 w 944810"/>
                <a:gd name="connsiteY564" fmla="*/ 16016 h 435839"/>
                <a:gd name="connsiteX565" fmla="*/ 629168 w 944810"/>
                <a:gd name="connsiteY565" fmla="*/ 14892 h 435839"/>
                <a:gd name="connsiteX566" fmla="*/ 625558 w 944810"/>
                <a:gd name="connsiteY566" fmla="*/ 10941 h 435839"/>
                <a:gd name="connsiteX567" fmla="*/ 624795 w 944810"/>
                <a:gd name="connsiteY567" fmla="*/ 8977 h 435839"/>
                <a:gd name="connsiteX568" fmla="*/ 625268 w 944810"/>
                <a:gd name="connsiteY568" fmla="*/ 7466 h 435839"/>
                <a:gd name="connsiteX569" fmla="*/ 627158 w 944810"/>
                <a:gd name="connsiteY569" fmla="*/ 7240 h 435839"/>
                <a:gd name="connsiteX570" fmla="*/ 628566 w 944810"/>
                <a:gd name="connsiteY570" fmla="*/ 7896 h 435839"/>
                <a:gd name="connsiteX571" fmla="*/ 633895 w 944810"/>
                <a:gd name="connsiteY571" fmla="*/ 11613 h 435839"/>
                <a:gd name="connsiteX572" fmla="*/ 637933 w 944810"/>
                <a:gd name="connsiteY572" fmla="*/ 12772 h 435839"/>
                <a:gd name="connsiteX573" fmla="*/ 639065 w 944810"/>
                <a:gd name="connsiteY573" fmla="*/ 9340 h 435839"/>
                <a:gd name="connsiteX574" fmla="*/ 639244 w 944810"/>
                <a:gd name="connsiteY574" fmla="*/ 7707 h 435839"/>
                <a:gd name="connsiteX575" fmla="*/ 638510 w 944810"/>
                <a:gd name="connsiteY575" fmla="*/ 6354 h 435839"/>
                <a:gd name="connsiteX576" fmla="*/ 636611 w 944810"/>
                <a:gd name="connsiteY576" fmla="*/ 3856 h 435839"/>
                <a:gd name="connsiteX577" fmla="*/ 634910 w 944810"/>
                <a:gd name="connsiteY577" fmla="*/ 782 h 435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</a:cxnLst>
              <a:rect l="l" t="t" r="r" b="b"/>
              <a:pathLst>
                <a:path w="944810" h="435839">
                  <a:moveTo>
                    <a:pt x="24268" y="421905"/>
                  </a:moveTo>
                  <a:lnTo>
                    <a:pt x="24767" y="424367"/>
                  </a:lnTo>
                  <a:lnTo>
                    <a:pt x="24252" y="427427"/>
                  </a:lnTo>
                  <a:lnTo>
                    <a:pt x="17613" y="429855"/>
                  </a:lnTo>
                  <a:lnTo>
                    <a:pt x="10249" y="431498"/>
                  </a:lnTo>
                  <a:lnTo>
                    <a:pt x="3213" y="435578"/>
                  </a:lnTo>
                  <a:lnTo>
                    <a:pt x="1173" y="435839"/>
                  </a:lnTo>
                  <a:lnTo>
                    <a:pt x="0" y="434945"/>
                  </a:lnTo>
                  <a:lnTo>
                    <a:pt x="2968" y="432486"/>
                  </a:lnTo>
                  <a:lnTo>
                    <a:pt x="12782" y="427855"/>
                  </a:lnTo>
                  <a:lnTo>
                    <a:pt x="16698" y="423426"/>
                  </a:lnTo>
                  <a:close/>
                  <a:moveTo>
                    <a:pt x="625370" y="281353"/>
                  </a:moveTo>
                  <a:lnTo>
                    <a:pt x="627108" y="283055"/>
                  </a:lnTo>
                  <a:lnTo>
                    <a:pt x="627399" y="284025"/>
                  </a:lnTo>
                  <a:lnTo>
                    <a:pt x="626175" y="286892"/>
                  </a:lnTo>
                  <a:lnTo>
                    <a:pt x="623504" y="288585"/>
                  </a:lnTo>
                  <a:lnTo>
                    <a:pt x="619503" y="286036"/>
                  </a:lnTo>
                  <a:lnTo>
                    <a:pt x="616847" y="282761"/>
                  </a:lnTo>
                  <a:lnTo>
                    <a:pt x="618257" y="281517"/>
                  </a:lnTo>
                  <a:close/>
                  <a:moveTo>
                    <a:pt x="675605" y="93632"/>
                  </a:moveTo>
                  <a:lnTo>
                    <a:pt x="678996" y="93721"/>
                  </a:lnTo>
                  <a:lnTo>
                    <a:pt x="682036" y="94870"/>
                  </a:lnTo>
                  <a:lnTo>
                    <a:pt x="688616" y="94631"/>
                  </a:lnTo>
                  <a:lnTo>
                    <a:pt x="692246" y="102818"/>
                  </a:lnTo>
                  <a:lnTo>
                    <a:pt x="694284" y="111459"/>
                  </a:lnTo>
                  <a:lnTo>
                    <a:pt x="697597" y="112080"/>
                  </a:lnTo>
                  <a:lnTo>
                    <a:pt x="703904" y="110893"/>
                  </a:lnTo>
                  <a:lnTo>
                    <a:pt x="709527" y="110316"/>
                  </a:lnTo>
                  <a:lnTo>
                    <a:pt x="712410" y="110957"/>
                  </a:lnTo>
                  <a:lnTo>
                    <a:pt x="717549" y="113469"/>
                  </a:lnTo>
                  <a:lnTo>
                    <a:pt x="719767" y="115234"/>
                  </a:lnTo>
                  <a:lnTo>
                    <a:pt x="717837" y="116621"/>
                  </a:lnTo>
                  <a:lnTo>
                    <a:pt x="713134" y="118173"/>
                  </a:lnTo>
                  <a:lnTo>
                    <a:pt x="712354" y="122788"/>
                  </a:lnTo>
                  <a:lnTo>
                    <a:pt x="717083" y="124392"/>
                  </a:lnTo>
                  <a:lnTo>
                    <a:pt x="724898" y="128317"/>
                  </a:lnTo>
                  <a:lnTo>
                    <a:pt x="729299" y="128826"/>
                  </a:lnTo>
                  <a:lnTo>
                    <a:pt x="737155" y="127218"/>
                  </a:lnTo>
                  <a:lnTo>
                    <a:pt x="744522" y="130267"/>
                  </a:lnTo>
                  <a:lnTo>
                    <a:pt x="751827" y="133962"/>
                  </a:lnTo>
                  <a:lnTo>
                    <a:pt x="734756" y="138619"/>
                  </a:lnTo>
                  <a:lnTo>
                    <a:pt x="733255" y="139926"/>
                  </a:lnTo>
                  <a:lnTo>
                    <a:pt x="730890" y="143368"/>
                  </a:lnTo>
                  <a:lnTo>
                    <a:pt x="728375" y="146194"/>
                  </a:lnTo>
                  <a:lnTo>
                    <a:pt x="726051" y="147860"/>
                  </a:lnTo>
                  <a:lnTo>
                    <a:pt x="720944" y="150726"/>
                  </a:lnTo>
                  <a:lnTo>
                    <a:pt x="718195" y="151716"/>
                  </a:lnTo>
                  <a:lnTo>
                    <a:pt x="712015" y="151494"/>
                  </a:lnTo>
                  <a:lnTo>
                    <a:pt x="709700" y="152633"/>
                  </a:lnTo>
                  <a:lnTo>
                    <a:pt x="707551" y="154950"/>
                  </a:lnTo>
                  <a:lnTo>
                    <a:pt x="705390" y="156618"/>
                  </a:lnTo>
                  <a:lnTo>
                    <a:pt x="699905" y="157046"/>
                  </a:lnTo>
                  <a:lnTo>
                    <a:pt x="697102" y="154738"/>
                  </a:lnTo>
                  <a:lnTo>
                    <a:pt x="698028" y="154026"/>
                  </a:lnTo>
                  <a:lnTo>
                    <a:pt x="698422" y="152665"/>
                  </a:lnTo>
                  <a:lnTo>
                    <a:pt x="697446" y="149413"/>
                  </a:lnTo>
                  <a:lnTo>
                    <a:pt x="702673" y="146081"/>
                  </a:lnTo>
                  <a:lnTo>
                    <a:pt x="703861" y="144234"/>
                  </a:lnTo>
                  <a:lnTo>
                    <a:pt x="702816" y="143566"/>
                  </a:lnTo>
                  <a:lnTo>
                    <a:pt x="701378" y="143750"/>
                  </a:lnTo>
                  <a:lnTo>
                    <a:pt x="697573" y="142734"/>
                  </a:lnTo>
                  <a:lnTo>
                    <a:pt x="696446" y="142783"/>
                  </a:lnTo>
                  <a:lnTo>
                    <a:pt x="693291" y="144729"/>
                  </a:lnTo>
                  <a:lnTo>
                    <a:pt x="688918" y="146033"/>
                  </a:lnTo>
                  <a:lnTo>
                    <a:pt x="684481" y="146364"/>
                  </a:lnTo>
                  <a:lnTo>
                    <a:pt x="666653" y="148867"/>
                  </a:lnTo>
                  <a:lnTo>
                    <a:pt x="663960" y="147987"/>
                  </a:lnTo>
                  <a:lnTo>
                    <a:pt x="662744" y="143009"/>
                  </a:lnTo>
                  <a:lnTo>
                    <a:pt x="669996" y="140452"/>
                  </a:lnTo>
                  <a:lnTo>
                    <a:pt x="671110" y="136125"/>
                  </a:lnTo>
                  <a:lnTo>
                    <a:pt x="672939" y="133242"/>
                  </a:lnTo>
                  <a:lnTo>
                    <a:pt x="675076" y="131327"/>
                  </a:lnTo>
                  <a:lnTo>
                    <a:pt x="679002" y="126384"/>
                  </a:lnTo>
                  <a:lnTo>
                    <a:pt x="679991" y="126028"/>
                  </a:lnTo>
                  <a:lnTo>
                    <a:pt x="670203" y="122107"/>
                  </a:lnTo>
                  <a:lnTo>
                    <a:pt x="666333" y="119555"/>
                  </a:lnTo>
                  <a:lnTo>
                    <a:pt x="662120" y="114448"/>
                  </a:lnTo>
                  <a:lnTo>
                    <a:pt x="660827" y="110307"/>
                  </a:lnTo>
                  <a:lnTo>
                    <a:pt x="655119" y="106775"/>
                  </a:lnTo>
                  <a:lnTo>
                    <a:pt x="655826" y="102253"/>
                  </a:lnTo>
                  <a:lnTo>
                    <a:pt x="651680" y="102609"/>
                  </a:lnTo>
                  <a:lnTo>
                    <a:pt x="648477" y="99429"/>
                  </a:lnTo>
                  <a:lnTo>
                    <a:pt x="651457" y="97641"/>
                  </a:lnTo>
                  <a:lnTo>
                    <a:pt x="666586" y="95610"/>
                  </a:lnTo>
                  <a:close/>
                  <a:moveTo>
                    <a:pt x="789066" y="83225"/>
                  </a:moveTo>
                  <a:lnTo>
                    <a:pt x="793551" y="87489"/>
                  </a:lnTo>
                  <a:lnTo>
                    <a:pt x="798391" y="88777"/>
                  </a:lnTo>
                  <a:lnTo>
                    <a:pt x="795479" y="91138"/>
                  </a:lnTo>
                  <a:lnTo>
                    <a:pt x="792241" y="91257"/>
                  </a:lnTo>
                  <a:lnTo>
                    <a:pt x="786272" y="87670"/>
                  </a:lnTo>
                  <a:lnTo>
                    <a:pt x="785125" y="84550"/>
                  </a:lnTo>
                  <a:lnTo>
                    <a:pt x="786188" y="83273"/>
                  </a:lnTo>
                  <a:close/>
                  <a:moveTo>
                    <a:pt x="434659" y="78758"/>
                  </a:moveTo>
                  <a:lnTo>
                    <a:pt x="439405" y="79512"/>
                  </a:lnTo>
                  <a:lnTo>
                    <a:pt x="443562" y="81521"/>
                  </a:lnTo>
                  <a:lnTo>
                    <a:pt x="447169" y="86058"/>
                  </a:lnTo>
                  <a:lnTo>
                    <a:pt x="447810" y="87465"/>
                  </a:lnTo>
                  <a:lnTo>
                    <a:pt x="446158" y="89335"/>
                  </a:lnTo>
                  <a:lnTo>
                    <a:pt x="447855" y="91544"/>
                  </a:lnTo>
                  <a:lnTo>
                    <a:pt x="449963" y="92994"/>
                  </a:lnTo>
                  <a:lnTo>
                    <a:pt x="450215" y="96339"/>
                  </a:lnTo>
                  <a:lnTo>
                    <a:pt x="453808" y="96005"/>
                  </a:lnTo>
                  <a:lnTo>
                    <a:pt x="458056" y="99561"/>
                  </a:lnTo>
                  <a:lnTo>
                    <a:pt x="462686" y="101447"/>
                  </a:lnTo>
                  <a:lnTo>
                    <a:pt x="463994" y="102738"/>
                  </a:lnTo>
                  <a:lnTo>
                    <a:pt x="464979" y="104399"/>
                  </a:lnTo>
                  <a:lnTo>
                    <a:pt x="467782" y="107736"/>
                  </a:lnTo>
                  <a:lnTo>
                    <a:pt x="469114" y="111248"/>
                  </a:lnTo>
                  <a:lnTo>
                    <a:pt x="465767" y="111618"/>
                  </a:lnTo>
                  <a:lnTo>
                    <a:pt x="461157" y="106610"/>
                  </a:lnTo>
                  <a:lnTo>
                    <a:pt x="457397" y="103756"/>
                  </a:lnTo>
                  <a:lnTo>
                    <a:pt x="452664" y="101317"/>
                  </a:lnTo>
                  <a:lnTo>
                    <a:pt x="448833" y="101196"/>
                  </a:lnTo>
                  <a:lnTo>
                    <a:pt x="447110" y="100133"/>
                  </a:lnTo>
                  <a:lnTo>
                    <a:pt x="440904" y="91342"/>
                  </a:lnTo>
                  <a:lnTo>
                    <a:pt x="439760" y="89311"/>
                  </a:lnTo>
                  <a:lnTo>
                    <a:pt x="436212" y="86034"/>
                  </a:lnTo>
                  <a:lnTo>
                    <a:pt x="434646" y="81955"/>
                  </a:lnTo>
                  <a:close/>
                  <a:moveTo>
                    <a:pt x="839024" y="75433"/>
                  </a:moveTo>
                  <a:lnTo>
                    <a:pt x="843487" y="78311"/>
                  </a:lnTo>
                  <a:lnTo>
                    <a:pt x="850084" y="78619"/>
                  </a:lnTo>
                  <a:lnTo>
                    <a:pt x="856711" y="77843"/>
                  </a:lnTo>
                  <a:lnTo>
                    <a:pt x="857851" y="78669"/>
                  </a:lnTo>
                  <a:lnTo>
                    <a:pt x="849313" y="81242"/>
                  </a:lnTo>
                  <a:lnTo>
                    <a:pt x="839818" y="79875"/>
                  </a:lnTo>
                  <a:lnTo>
                    <a:pt x="831269" y="79527"/>
                  </a:lnTo>
                  <a:lnTo>
                    <a:pt x="821172" y="82384"/>
                  </a:lnTo>
                  <a:lnTo>
                    <a:pt x="817881" y="81240"/>
                  </a:lnTo>
                  <a:lnTo>
                    <a:pt x="823010" y="78488"/>
                  </a:lnTo>
                  <a:lnTo>
                    <a:pt x="828605" y="77578"/>
                  </a:lnTo>
                  <a:lnTo>
                    <a:pt x="829505" y="75894"/>
                  </a:lnTo>
                  <a:lnTo>
                    <a:pt x="831636" y="75605"/>
                  </a:lnTo>
                  <a:close/>
                  <a:moveTo>
                    <a:pt x="563538" y="21614"/>
                  </a:moveTo>
                  <a:lnTo>
                    <a:pt x="566576" y="23234"/>
                  </a:lnTo>
                  <a:lnTo>
                    <a:pt x="572385" y="28967"/>
                  </a:lnTo>
                  <a:lnTo>
                    <a:pt x="573529" y="29065"/>
                  </a:lnTo>
                  <a:lnTo>
                    <a:pt x="574646" y="28530"/>
                  </a:lnTo>
                  <a:lnTo>
                    <a:pt x="575455" y="27119"/>
                  </a:lnTo>
                  <a:lnTo>
                    <a:pt x="576358" y="26339"/>
                  </a:lnTo>
                  <a:lnTo>
                    <a:pt x="581953" y="27254"/>
                  </a:lnTo>
                  <a:lnTo>
                    <a:pt x="589887" y="30077"/>
                  </a:lnTo>
                  <a:lnTo>
                    <a:pt x="592243" y="31466"/>
                  </a:lnTo>
                  <a:lnTo>
                    <a:pt x="595555" y="34326"/>
                  </a:lnTo>
                  <a:lnTo>
                    <a:pt x="598243" y="39125"/>
                  </a:lnTo>
                  <a:lnTo>
                    <a:pt x="596112" y="42584"/>
                  </a:lnTo>
                  <a:lnTo>
                    <a:pt x="593301" y="45850"/>
                  </a:lnTo>
                  <a:lnTo>
                    <a:pt x="592303" y="47652"/>
                  </a:lnTo>
                  <a:lnTo>
                    <a:pt x="593331" y="50239"/>
                  </a:lnTo>
                  <a:lnTo>
                    <a:pt x="592912" y="52751"/>
                  </a:lnTo>
                  <a:lnTo>
                    <a:pt x="591888" y="54975"/>
                  </a:lnTo>
                  <a:lnTo>
                    <a:pt x="596140" y="52439"/>
                  </a:lnTo>
                  <a:lnTo>
                    <a:pt x="605229" y="44302"/>
                  </a:lnTo>
                  <a:lnTo>
                    <a:pt x="606583" y="43798"/>
                  </a:lnTo>
                  <a:lnTo>
                    <a:pt x="607999" y="44073"/>
                  </a:lnTo>
                  <a:lnTo>
                    <a:pt x="612070" y="45748"/>
                  </a:lnTo>
                  <a:lnTo>
                    <a:pt x="615763" y="49899"/>
                  </a:lnTo>
                  <a:lnTo>
                    <a:pt x="616576" y="51270"/>
                  </a:lnTo>
                  <a:lnTo>
                    <a:pt x="617240" y="52955"/>
                  </a:lnTo>
                  <a:lnTo>
                    <a:pt x="617620" y="55033"/>
                  </a:lnTo>
                  <a:lnTo>
                    <a:pt x="617410" y="57415"/>
                  </a:lnTo>
                  <a:lnTo>
                    <a:pt x="617067" y="59072"/>
                  </a:lnTo>
                  <a:lnTo>
                    <a:pt x="615134" y="60145"/>
                  </a:lnTo>
                  <a:lnTo>
                    <a:pt x="614201" y="61122"/>
                  </a:lnTo>
                  <a:lnTo>
                    <a:pt x="616289" y="61194"/>
                  </a:lnTo>
                  <a:lnTo>
                    <a:pt x="618673" y="62477"/>
                  </a:lnTo>
                  <a:lnTo>
                    <a:pt x="620861" y="65196"/>
                  </a:lnTo>
                  <a:lnTo>
                    <a:pt x="623303" y="66286"/>
                  </a:lnTo>
                  <a:lnTo>
                    <a:pt x="632165" y="65367"/>
                  </a:lnTo>
                  <a:lnTo>
                    <a:pt x="637929" y="66788"/>
                  </a:lnTo>
                  <a:lnTo>
                    <a:pt x="641083" y="71246"/>
                  </a:lnTo>
                  <a:lnTo>
                    <a:pt x="645953" y="70238"/>
                  </a:lnTo>
                  <a:lnTo>
                    <a:pt x="645968" y="67863"/>
                  </a:lnTo>
                  <a:lnTo>
                    <a:pt x="647035" y="66846"/>
                  </a:lnTo>
                  <a:lnTo>
                    <a:pt x="653569" y="67654"/>
                  </a:lnTo>
                  <a:lnTo>
                    <a:pt x="656948" y="68766"/>
                  </a:lnTo>
                  <a:lnTo>
                    <a:pt x="660401" y="71102"/>
                  </a:lnTo>
                  <a:lnTo>
                    <a:pt x="654508" y="74916"/>
                  </a:lnTo>
                  <a:lnTo>
                    <a:pt x="659365" y="78574"/>
                  </a:lnTo>
                  <a:lnTo>
                    <a:pt x="667531" y="81216"/>
                  </a:lnTo>
                  <a:lnTo>
                    <a:pt x="672453" y="83987"/>
                  </a:lnTo>
                  <a:lnTo>
                    <a:pt x="673345" y="85149"/>
                  </a:lnTo>
                  <a:lnTo>
                    <a:pt x="674146" y="86688"/>
                  </a:lnTo>
                  <a:lnTo>
                    <a:pt x="670944" y="88684"/>
                  </a:lnTo>
                  <a:lnTo>
                    <a:pt x="667678" y="89809"/>
                  </a:lnTo>
                  <a:lnTo>
                    <a:pt x="659464" y="90002"/>
                  </a:lnTo>
                  <a:lnTo>
                    <a:pt x="651995" y="91413"/>
                  </a:lnTo>
                  <a:lnTo>
                    <a:pt x="638324" y="92411"/>
                  </a:lnTo>
                  <a:lnTo>
                    <a:pt x="636290" y="93049"/>
                  </a:lnTo>
                  <a:lnTo>
                    <a:pt x="635808" y="93617"/>
                  </a:lnTo>
                  <a:lnTo>
                    <a:pt x="635003" y="95348"/>
                  </a:lnTo>
                  <a:lnTo>
                    <a:pt x="629742" y="99335"/>
                  </a:lnTo>
                  <a:lnTo>
                    <a:pt x="624653" y="104182"/>
                  </a:lnTo>
                  <a:lnTo>
                    <a:pt x="622556" y="107094"/>
                  </a:lnTo>
                  <a:lnTo>
                    <a:pt x="620967" y="111168"/>
                  </a:lnTo>
                  <a:lnTo>
                    <a:pt x="620388" y="113652"/>
                  </a:lnTo>
                  <a:lnTo>
                    <a:pt x="621517" y="116057"/>
                  </a:lnTo>
                  <a:lnTo>
                    <a:pt x="621217" y="118488"/>
                  </a:lnTo>
                  <a:lnTo>
                    <a:pt x="617391" y="120391"/>
                  </a:lnTo>
                  <a:lnTo>
                    <a:pt x="614964" y="120468"/>
                  </a:lnTo>
                  <a:lnTo>
                    <a:pt x="611919" y="120090"/>
                  </a:lnTo>
                  <a:lnTo>
                    <a:pt x="608926" y="121186"/>
                  </a:lnTo>
                  <a:lnTo>
                    <a:pt x="608736" y="122832"/>
                  </a:lnTo>
                  <a:lnTo>
                    <a:pt x="608913" y="125146"/>
                  </a:lnTo>
                  <a:lnTo>
                    <a:pt x="608146" y="132190"/>
                  </a:lnTo>
                  <a:lnTo>
                    <a:pt x="607216" y="137482"/>
                  </a:lnTo>
                  <a:lnTo>
                    <a:pt x="605819" y="142384"/>
                  </a:lnTo>
                  <a:lnTo>
                    <a:pt x="604253" y="145023"/>
                  </a:lnTo>
                  <a:lnTo>
                    <a:pt x="602251" y="145757"/>
                  </a:lnTo>
                  <a:lnTo>
                    <a:pt x="595832" y="146240"/>
                  </a:lnTo>
                  <a:lnTo>
                    <a:pt x="590884" y="150822"/>
                  </a:lnTo>
                  <a:lnTo>
                    <a:pt x="586885" y="158983"/>
                  </a:lnTo>
                  <a:lnTo>
                    <a:pt x="584810" y="162177"/>
                  </a:lnTo>
                  <a:lnTo>
                    <a:pt x="580474" y="167209"/>
                  </a:lnTo>
                  <a:lnTo>
                    <a:pt x="581256" y="168990"/>
                  </a:lnTo>
                  <a:lnTo>
                    <a:pt x="582607" y="170917"/>
                  </a:lnTo>
                  <a:lnTo>
                    <a:pt x="580241" y="174364"/>
                  </a:lnTo>
                  <a:lnTo>
                    <a:pt x="576585" y="178222"/>
                  </a:lnTo>
                  <a:lnTo>
                    <a:pt x="576656" y="179712"/>
                  </a:lnTo>
                  <a:lnTo>
                    <a:pt x="577887" y="182439"/>
                  </a:lnTo>
                  <a:lnTo>
                    <a:pt x="578487" y="185270"/>
                  </a:lnTo>
                  <a:lnTo>
                    <a:pt x="575667" y="187703"/>
                  </a:lnTo>
                  <a:lnTo>
                    <a:pt x="570478" y="188938"/>
                  </a:lnTo>
                  <a:lnTo>
                    <a:pt x="565203" y="187557"/>
                  </a:lnTo>
                  <a:lnTo>
                    <a:pt x="562635" y="185925"/>
                  </a:lnTo>
                  <a:lnTo>
                    <a:pt x="560254" y="183309"/>
                  </a:lnTo>
                  <a:lnTo>
                    <a:pt x="557727" y="181600"/>
                  </a:lnTo>
                  <a:lnTo>
                    <a:pt x="555088" y="180574"/>
                  </a:lnTo>
                  <a:lnTo>
                    <a:pt x="544967" y="174757"/>
                  </a:lnTo>
                  <a:lnTo>
                    <a:pt x="535623" y="165524"/>
                  </a:lnTo>
                  <a:lnTo>
                    <a:pt x="527094" y="161921"/>
                  </a:lnTo>
                  <a:lnTo>
                    <a:pt x="521531" y="160209"/>
                  </a:lnTo>
                  <a:lnTo>
                    <a:pt x="518854" y="158551"/>
                  </a:lnTo>
                  <a:lnTo>
                    <a:pt x="516239" y="156321"/>
                  </a:lnTo>
                  <a:lnTo>
                    <a:pt x="513978" y="153815"/>
                  </a:lnTo>
                  <a:lnTo>
                    <a:pt x="511879" y="150641"/>
                  </a:lnTo>
                  <a:lnTo>
                    <a:pt x="510857" y="148667"/>
                  </a:lnTo>
                  <a:lnTo>
                    <a:pt x="510670" y="145702"/>
                  </a:lnTo>
                  <a:lnTo>
                    <a:pt x="511341" y="143960"/>
                  </a:lnTo>
                  <a:lnTo>
                    <a:pt x="512341" y="143066"/>
                  </a:lnTo>
                  <a:lnTo>
                    <a:pt x="519115" y="142333"/>
                  </a:lnTo>
                  <a:lnTo>
                    <a:pt x="521551" y="142748"/>
                  </a:lnTo>
                  <a:lnTo>
                    <a:pt x="523950" y="144300"/>
                  </a:lnTo>
                  <a:lnTo>
                    <a:pt x="526133" y="144908"/>
                  </a:lnTo>
                  <a:lnTo>
                    <a:pt x="531125" y="137173"/>
                  </a:lnTo>
                  <a:lnTo>
                    <a:pt x="559543" y="132734"/>
                  </a:lnTo>
                  <a:lnTo>
                    <a:pt x="568679" y="131965"/>
                  </a:lnTo>
                  <a:lnTo>
                    <a:pt x="577837" y="132011"/>
                  </a:lnTo>
                  <a:lnTo>
                    <a:pt x="576410" y="129910"/>
                  </a:lnTo>
                  <a:lnTo>
                    <a:pt x="575201" y="127244"/>
                  </a:lnTo>
                  <a:lnTo>
                    <a:pt x="573849" y="126597"/>
                  </a:lnTo>
                  <a:lnTo>
                    <a:pt x="566922" y="128090"/>
                  </a:lnTo>
                  <a:lnTo>
                    <a:pt x="556317" y="129664"/>
                  </a:lnTo>
                  <a:lnTo>
                    <a:pt x="551149" y="129666"/>
                  </a:lnTo>
                  <a:lnTo>
                    <a:pt x="545820" y="128617"/>
                  </a:lnTo>
                  <a:lnTo>
                    <a:pt x="540502" y="129195"/>
                  </a:lnTo>
                  <a:lnTo>
                    <a:pt x="535019" y="131473"/>
                  </a:lnTo>
                  <a:lnTo>
                    <a:pt x="529491" y="132915"/>
                  </a:lnTo>
                  <a:lnTo>
                    <a:pt x="524118" y="133494"/>
                  </a:lnTo>
                  <a:lnTo>
                    <a:pt x="512753" y="133260"/>
                  </a:lnTo>
                  <a:lnTo>
                    <a:pt x="509935" y="132081"/>
                  </a:lnTo>
                  <a:lnTo>
                    <a:pt x="506146" y="129346"/>
                  </a:lnTo>
                  <a:lnTo>
                    <a:pt x="505228" y="127943"/>
                  </a:lnTo>
                  <a:lnTo>
                    <a:pt x="504444" y="126223"/>
                  </a:lnTo>
                  <a:lnTo>
                    <a:pt x="503701" y="121039"/>
                  </a:lnTo>
                  <a:lnTo>
                    <a:pt x="504522" y="119630"/>
                  </a:lnTo>
                  <a:lnTo>
                    <a:pt x="505681" y="118818"/>
                  </a:lnTo>
                  <a:lnTo>
                    <a:pt x="506873" y="118320"/>
                  </a:lnTo>
                  <a:lnTo>
                    <a:pt x="509370" y="118294"/>
                  </a:lnTo>
                  <a:lnTo>
                    <a:pt x="511820" y="119189"/>
                  </a:lnTo>
                  <a:lnTo>
                    <a:pt x="517558" y="122139"/>
                  </a:lnTo>
                  <a:lnTo>
                    <a:pt x="516252" y="118972"/>
                  </a:lnTo>
                  <a:lnTo>
                    <a:pt x="532760" y="115150"/>
                  </a:lnTo>
                  <a:lnTo>
                    <a:pt x="540426" y="111805"/>
                  </a:lnTo>
                  <a:lnTo>
                    <a:pt x="544363" y="111241"/>
                  </a:lnTo>
                  <a:lnTo>
                    <a:pt x="548312" y="111487"/>
                  </a:lnTo>
                  <a:lnTo>
                    <a:pt x="547442" y="109704"/>
                  </a:lnTo>
                  <a:lnTo>
                    <a:pt x="547407" y="108053"/>
                  </a:lnTo>
                  <a:lnTo>
                    <a:pt x="550210" y="106704"/>
                  </a:lnTo>
                  <a:lnTo>
                    <a:pt x="552233" y="106123"/>
                  </a:lnTo>
                  <a:lnTo>
                    <a:pt x="558312" y="105460"/>
                  </a:lnTo>
                  <a:lnTo>
                    <a:pt x="572169" y="105577"/>
                  </a:lnTo>
                  <a:lnTo>
                    <a:pt x="577166" y="104665"/>
                  </a:lnTo>
                  <a:lnTo>
                    <a:pt x="580903" y="102361"/>
                  </a:lnTo>
                  <a:lnTo>
                    <a:pt x="576920" y="103164"/>
                  </a:lnTo>
                  <a:lnTo>
                    <a:pt x="572927" y="103320"/>
                  </a:lnTo>
                  <a:lnTo>
                    <a:pt x="571055" y="102842"/>
                  </a:lnTo>
                  <a:lnTo>
                    <a:pt x="566826" y="100829"/>
                  </a:lnTo>
                  <a:lnTo>
                    <a:pt x="564909" y="98185"/>
                  </a:lnTo>
                  <a:lnTo>
                    <a:pt x="570392" y="92888"/>
                  </a:lnTo>
                  <a:lnTo>
                    <a:pt x="572294" y="90424"/>
                  </a:lnTo>
                  <a:lnTo>
                    <a:pt x="566719" y="90780"/>
                  </a:lnTo>
                  <a:lnTo>
                    <a:pt x="564857" y="91643"/>
                  </a:lnTo>
                  <a:lnTo>
                    <a:pt x="558472" y="96512"/>
                  </a:lnTo>
                  <a:lnTo>
                    <a:pt x="553752" y="98695"/>
                  </a:lnTo>
                  <a:lnTo>
                    <a:pt x="547928" y="99743"/>
                  </a:lnTo>
                  <a:lnTo>
                    <a:pt x="542106" y="99651"/>
                  </a:lnTo>
                  <a:lnTo>
                    <a:pt x="540836" y="98959"/>
                  </a:lnTo>
                  <a:lnTo>
                    <a:pt x="539055" y="95738"/>
                  </a:lnTo>
                  <a:lnTo>
                    <a:pt x="538497" y="94043"/>
                  </a:lnTo>
                  <a:lnTo>
                    <a:pt x="538735" y="93110"/>
                  </a:lnTo>
                  <a:lnTo>
                    <a:pt x="540579" y="90448"/>
                  </a:lnTo>
                  <a:lnTo>
                    <a:pt x="541536" y="87625"/>
                  </a:lnTo>
                  <a:lnTo>
                    <a:pt x="541372" y="85190"/>
                  </a:lnTo>
                  <a:lnTo>
                    <a:pt x="540013" y="84702"/>
                  </a:lnTo>
                  <a:lnTo>
                    <a:pt x="537858" y="87083"/>
                  </a:lnTo>
                  <a:lnTo>
                    <a:pt x="535913" y="90393"/>
                  </a:lnTo>
                  <a:lnTo>
                    <a:pt x="533237" y="92051"/>
                  </a:lnTo>
                  <a:lnTo>
                    <a:pt x="530484" y="91599"/>
                  </a:lnTo>
                  <a:lnTo>
                    <a:pt x="529309" y="90330"/>
                  </a:lnTo>
                  <a:lnTo>
                    <a:pt x="528286" y="88385"/>
                  </a:lnTo>
                  <a:lnTo>
                    <a:pt x="527206" y="87637"/>
                  </a:lnTo>
                  <a:lnTo>
                    <a:pt x="526006" y="87637"/>
                  </a:lnTo>
                  <a:lnTo>
                    <a:pt x="523537" y="88414"/>
                  </a:lnTo>
                  <a:lnTo>
                    <a:pt x="521095" y="89852"/>
                  </a:lnTo>
                  <a:lnTo>
                    <a:pt x="521937" y="92032"/>
                  </a:lnTo>
                  <a:lnTo>
                    <a:pt x="522162" y="94456"/>
                  </a:lnTo>
                  <a:lnTo>
                    <a:pt x="521108" y="96377"/>
                  </a:lnTo>
                  <a:lnTo>
                    <a:pt x="520313" y="98721"/>
                  </a:lnTo>
                  <a:lnTo>
                    <a:pt x="522829" y="100196"/>
                  </a:lnTo>
                  <a:lnTo>
                    <a:pt x="524878" y="102484"/>
                  </a:lnTo>
                  <a:lnTo>
                    <a:pt x="521810" y="103556"/>
                  </a:lnTo>
                  <a:lnTo>
                    <a:pt x="518798" y="105121"/>
                  </a:lnTo>
                  <a:lnTo>
                    <a:pt x="516033" y="107531"/>
                  </a:lnTo>
                  <a:lnTo>
                    <a:pt x="513207" y="109406"/>
                  </a:lnTo>
                  <a:lnTo>
                    <a:pt x="508722" y="109605"/>
                  </a:lnTo>
                  <a:lnTo>
                    <a:pt x="503135" y="110643"/>
                  </a:lnTo>
                  <a:lnTo>
                    <a:pt x="491974" y="111010"/>
                  </a:lnTo>
                  <a:lnTo>
                    <a:pt x="486724" y="107955"/>
                  </a:lnTo>
                  <a:lnTo>
                    <a:pt x="485767" y="106502"/>
                  </a:lnTo>
                  <a:lnTo>
                    <a:pt x="484720" y="105528"/>
                  </a:lnTo>
                  <a:lnTo>
                    <a:pt x="481237" y="103923"/>
                  </a:lnTo>
                  <a:lnTo>
                    <a:pt x="476154" y="99181"/>
                  </a:lnTo>
                  <a:lnTo>
                    <a:pt x="472243" y="93771"/>
                  </a:lnTo>
                  <a:lnTo>
                    <a:pt x="469598" y="93246"/>
                  </a:lnTo>
                  <a:lnTo>
                    <a:pt x="465694" y="91456"/>
                  </a:lnTo>
                  <a:lnTo>
                    <a:pt x="463567" y="89909"/>
                  </a:lnTo>
                  <a:lnTo>
                    <a:pt x="461539" y="87857"/>
                  </a:lnTo>
                  <a:lnTo>
                    <a:pt x="460930" y="85430"/>
                  </a:lnTo>
                  <a:lnTo>
                    <a:pt x="461127" y="83216"/>
                  </a:lnTo>
                  <a:lnTo>
                    <a:pt x="463468" y="82229"/>
                  </a:lnTo>
                  <a:lnTo>
                    <a:pt x="457940" y="79735"/>
                  </a:lnTo>
                  <a:lnTo>
                    <a:pt x="452509" y="76435"/>
                  </a:lnTo>
                  <a:lnTo>
                    <a:pt x="454515" y="75327"/>
                  </a:lnTo>
                  <a:lnTo>
                    <a:pt x="456536" y="74839"/>
                  </a:lnTo>
                  <a:lnTo>
                    <a:pt x="472619" y="78681"/>
                  </a:lnTo>
                  <a:lnTo>
                    <a:pt x="473692" y="78203"/>
                  </a:lnTo>
                  <a:lnTo>
                    <a:pt x="475459" y="76296"/>
                  </a:lnTo>
                  <a:lnTo>
                    <a:pt x="474832" y="75653"/>
                  </a:lnTo>
                  <a:lnTo>
                    <a:pt x="472138" y="75213"/>
                  </a:lnTo>
                  <a:lnTo>
                    <a:pt x="468471" y="75225"/>
                  </a:lnTo>
                  <a:lnTo>
                    <a:pt x="467553" y="74830"/>
                  </a:lnTo>
                  <a:lnTo>
                    <a:pt x="466139" y="72763"/>
                  </a:lnTo>
                  <a:lnTo>
                    <a:pt x="464897" y="70211"/>
                  </a:lnTo>
                  <a:lnTo>
                    <a:pt x="464372" y="68509"/>
                  </a:lnTo>
                  <a:lnTo>
                    <a:pt x="464169" y="66517"/>
                  </a:lnTo>
                  <a:lnTo>
                    <a:pt x="466897" y="63522"/>
                  </a:lnTo>
                  <a:lnTo>
                    <a:pt x="468397" y="60835"/>
                  </a:lnTo>
                  <a:lnTo>
                    <a:pt x="466061" y="59592"/>
                  </a:lnTo>
                  <a:lnTo>
                    <a:pt x="459449" y="59667"/>
                  </a:lnTo>
                  <a:lnTo>
                    <a:pt x="457249" y="60046"/>
                  </a:lnTo>
                  <a:lnTo>
                    <a:pt x="458058" y="63908"/>
                  </a:lnTo>
                  <a:lnTo>
                    <a:pt x="455953" y="66569"/>
                  </a:lnTo>
                  <a:lnTo>
                    <a:pt x="451921" y="68644"/>
                  </a:lnTo>
                  <a:lnTo>
                    <a:pt x="449030" y="67634"/>
                  </a:lnTo>
                  <a:lnTo>
                    <a:pt x="446799" y="62542"/>
                  </a:lnTo>
                  <a:lnTo>
                    <a:pt x="443884" y="58988"/>
                  </a:lnTo>
                  <a:lnTo>
                    <a:pt x="442787" y="56745"/>
                  </a:lnTo>
                  <a:lnTo>
                    <a:pt x="441954" y="53512"/>
                  </a:lnTo>
                  <a:lnTo>
                    <a:pt x="440766" y="51158"/>
                  </a:lnTo>
                  <a:lnTo>
                    <a:pt x="438626" y="48308"/>
                  </a:lnTo>
                  <a:lnTo>
                    <a:pt x="438347" y="46548"/>
                  </a:lnTo>
                  <a:lnTo>
                    <a:pt x="438613" y="45246"/>
                  </a:lnTo>
                  <a:lnTo>
                    <a:pt x="440243" y="42290"/>
                  </a:lnTo>
                  <a:lnTo>
                    <a:pt x="439002" y="39820"/>
                  </a:lnTo>
                  <a:lnTo>
                    <a:pt x="437490" y="37656"/>
                  </a:lnTo>
                  <a:lnTo>
                    <a:pt x="437399" y="36421"/>
                  </a:lnTo>
                  <a:lnTo>
                    <a:pt x="438820" y="34897"/>
                  </a:lnTo>
                  <a:lnTo>
                    <a:pt x="440094" y="34390"/>
                  </a:lnTo>
                  <a:lnTo>
                    <a:pt x="441463" y="34500"/>
                  </a:lnTo>
                  <a:lnTo>
                    <a:pt x="445525" y="36319"/>
                  </a:lnTo>
                  <a:lnTo>
                    <a:pt x="447754" y="38487"/>
                  </a:lnTo>
                  <a:lnTo>
                    <a:pt x="448525" y="38313"/>
                  </a:lnTo>
                  <a:lnTo>
                    <a:pt x="449969" y="35087"/>
                  </a:lnTo>
                  <a:lnTo>
                    <a:pt x="452027" y="34358"/>
                  </a:lnTo>
                  <a:lnTo>
                    <a:pt x="459958" y="33295"/>
                  </a:lnTo>
                  <a:lnTo>
                    <a:pt x="468790" y="37458"/>
                  </a:lnTo>
                  <a:lnTo>
                    <a:pt x="471077" y="38382"/>
                  </a:lnTo>
                  <a:lnTo>
                    <a:pt x="472904" y="38680"/>
                  </a:lnTo>
                  <a:lnTo>
                    <a:pt x="471962" y="36835"/>
                  </a:lnTo>
                  <a:lnTo>
                    <a:pt x="471386" y="34434"/>
                  </a:lnTo>
                  <a:lnTo>
                    <a:pt x="472731" y="33528"/>
                  </a:lnTo>
                  <a:lnTo>
                    <a:pt x="479862" y="35670"/>
                  </a:lnTo>
                  <a:lnTo>
                    <a:pt x="483202" y="35543"/>
                  </a:lnTo>
                  <a:lnTo>
                    <a:pt x="491030" y="32736"/>
                  </a:lnTo>
                  <a:lnTo>
                    <a:pt x="503973" y="31267"/>
                  </a:lnTo>
                  <a:lnTo>
                    <a:pt x="508866" y="33479"/>
                  </a:lnTo>
                  <a:lnTo>
                    <a:pt x="509121" y="34659"/>
                  </a:lnTo>
                  <a:lnTo>
                    <a:pt x="509020" y="36248"/>
                  </a:lnTo>
                  <a:lnTo>
                    <a:pt x="508709" y="36725"/>
                  </a:lnTo>
                  <a:lnTo>
                    <a:pt x="505846" y="38572"/>
                  </a:lnTo>
                  <a:lnTo>
                    <a:pt x="489521" y="40079"/>
                  </a:lnTo>
                  <a:lnTo>
                    <a:pt x="478821" y="45852"/>
                  </a:lnTo>
                  <a:lnTo>
                    <a:pt x="493410" y="44925"/>
                  </a:lnTo>
                  <a:lnTo>
                    <a:pt x="496033" y="45587"/>
                  </a:lnTo>
                  <a:lnTo>
                    <a:pt x="497134" y="50268"/>
                  </a:lnTo>
                  <a:lnTo>
                    <a:pt x="498197" y="50758"/>
                  </a:lnTo>
                  <a:lnTo>
                    <a:pt x="501948" y="51437"/>
                  </a:lnTo>
                  <a:lnTo>
                    <a:pt x="504489" y="52831"/>
                  </a:lnTo>
                  <a:lnTo>
                    <a:pt x="507087" y="55483"/>
                  </a:lnTo>
                  <a:lnTo>
                    <a:pt x="509819" y="57268"/>
                  </a:lnTo>
                  <a:lnTo>
                    <a:pt x="511419" y="57045"/>
                  </a:lnTo>
                  <a:lnTo>
                    <a:pt x="512000" y="55115"/>
                  </a:lnTo>
                  <a:lnTo>
                    <a:pt x="511348" y="52824"/>
                  </a:lnTo>
                  <a:lnTo>
                    <a:pt x="511011" y="50210"/>
                  </a:lnTo>
                  <a:lnTo>
                    <a:pt x="511203" y="47387"/>
                  </a:lnTo>
                  <a:lnTo>
                    <a:pt x="511646" y="45047"/>
                  </a:lnTo>
                  <a:lnTo>
                    <a:pt x="514710" y="43398"/>
                  </a:lnTo>
                  <a:lnTo>
                    <a:pt x="519162" y="38037"/>
                  </a:lnTo>
                  <a:lnTo>
                    <a:pt x="523891" y="34392"/>
                  </a:lnTo>
                  <a:lnTo>
                    <a:pt x="529158" y="36013"/>
                  </a:lnTo>
                  <a:lnTo>
                    <a:pt x="534034" y="40570"/>
                  </a:lnTo>
                  <a:lnTo>
                    <a:pt x="538433" y="47049"/>
                  </a:lnTo>
                  <a:lnTo>
                    <a:pt x="542693" y="53941"/>
                  </a:lnTo>
                  <a:lnTo>
                    <a:pt x="547474" y="62448"/>
                  </a:lnTo>
                  <a:lnTo>
                    <a:pt x="549772" y="65436"/>
                  </a:lnTo>
                  <a:lnTo>
                    <a:pt x="551860" y="66144"/>
                  </a:lnTo>
                  <a:lnTo>
                    <a:pt x="561501" y="74932"/>
                  </a:lnTo>
                  <a:lnTo>
                    <a:pt x="562590" y="75175"/>
                  </a:lnTo>
                  <a:lnTo>
                    <a:pt x="560595" y="68497"/>
                  </a:lnTo>
                  <a:lnTo>
                    <a:pt x="555598" y="57132"/>
                  </a:lnTo>
                  <a:lnTo>
                    <a:pt x="552227" y="48354"/>
                  </a:lnTo>
                  <a:lnTo>
                    <a:pt x="551467" y="44986"/>
                  </a:lnTo>
                  <a:lnTo>
                    <a:pt x="550923" y="40245"/>
                  </a:lnTo>
                  <a:lnTo>
                    <a:pt x="551136" y="38885"/>
                  </a:lnTo>
                  <a:lnTo>
                    <a:pt x="551564" y="37656"/>
                  </a:lnTo>
                  <a:lnTo>
                    <a:pt x="554010" y="32567"/>
                  </a:lnTo>
                  <a:lnTo>
                    <a:pt x="557204" y="30089"/>
                  </a:lnTo>
                  <a:lnTo>
                    <a:pt x="556241" y="26590"/>
                  </a:lnTo>
                  <a:lnTo>
                    <a:pt x="557064" y="23900"/>
                  </a:lnTo>
                  <a:lnTo>
                    <a:pt x="560422" y="21772"/>
                  </a:lnTo>
                  <a:close/>
                  <a:moveTo>
                    <a:pt x="939385" y="12003"/>
                  </a:moveTo>
                  <a:lnTo>
                    <a:pt x="944810" y="13267"/>
                  </a:lnTo>
                  <a:lnTo>
                    <a:pt x="943203" y="14246"/>
                  </a:lnTo>
                  <a:lnTo>
                    <a:pt x="920413" y="18249"/>
                  </a:lnTo>
                  <a:lnTo>
                    <a:pt x="899443" y="20156"/>
                  </a:lnTo>
                  <a:lnTo>
                    <a:pt x="897327" y="18818"/>
                  </a:lnTo>
                  <a:lnTo>
                    <a:pt x="931318" y="13240"/>
                  </a:lnTo>
                  <a:lnTo>
                    <a:pt x="933076" y="12694"/>
                  </a:lnTo>
                  <a:close/>
                  <a:moveTo>
                    <a:pt x="605663" y="6100"/>
                  </a:moveTo>
                  <a:lnTo>
                    <a:pt x="610697" y="6610"/>
                  </a:lnTo>
                  <a:lnTo>
                    <a:pt x="615611" y="9024"/>
                  </a:lnTo>
                  <a:lnTo>
                    <a:pt x="610822" y="11837"/>
                  </a:lnTo>
                  <a:lnTo>
                    <a:pt x="602800" y="9672"/>
                  </a:lnTo>
                  <a:lnTo>
                    <a:pt x="603759" y="7453"/>
                  </a:lnTo>
                  <a:close/>
                  <a:moveTo>
                    <a:pt x="637540" y="0"/>
                  </a:moveTo>
                  <a:lnTo>
                    <a:pt x="640146" y="340"/>
                  </a:lnTo>
                  <a:lnTo>
                    <a:pt x="645744" y="2446"/>
                  </a:lnTo>
                  <a:lnTo>
                    <a:pt x="651384" y="3929"/>
                  </a:lnTo>
                  <a:lnTo>
                    <a:pt x="653960" y="5423"/>
                  </a:lnTo>
                  <a:lnTo>
                    <a:pt x="658771" y="9138"/>
                  </a:lnTo>
                  <a:lnTo>
                    <a:pt x="663291" y="11616"/>
                  </a:lnTo>
                  <a:lnTo>
                    <a:pt x="665515" y="12181"/>
                  </a:lnTo>
                  <a:lnTo>
                    <a:pt x="677694" y="11973"/>
                  </a:lnTo>
                  <a:lnTo>
                    <a:pt x="680030" y="13215"/>
                  </a:lnTo>
                  <a:lnTo>
                    <a:pt x="680954" y="16222"/>
                  </a:lnTo>
                  <a:lnTo>
                    <a:pt x="682812" y="17255"/>
                  </a:lnTo>
                  <a:lnTo>
                    <a:pt x="685401" y="17574"/>
                  </a:lnTo>
                  <a:lnTo>
                    <a:pt x="691868" y="21254"/>
                  </a:lnTo>
                  <a:lnTo>
                    <a:pt x="694068" y="21785"/>
                  </a:lnTo>
                  <a:lnTo>
                    <a:pt x="695984" y="19741"/>
                  </a:lnTo>
                  <a:lnTo>
                    <a:pt x="697450" y="14645"/>
                  </a:lnTo>
                  <a:lnTo>
                    <a:pt x="697528" y="8646"/>
                  </a:lnTo>
                  <a:lnTo>
                    <a:pt x="696901" y="5734"/>
                  </a:lnTo>
                  <a:lnTo>
                    <a:pt x="697629" y="3861"/>
                  </a:lnTo>
                  <a:lnTo>
                    <a:pt x="699797" y="3136"/>
                  </a:lnTo>
                  <a:lnTo>
                    <a:pt x="702522" y="3331"/>
                  </a:lnTo>
                  <a:lnTo>
                    <a:pt x="705187" y="2291"/>
                  </a:lnTo>
                  <a:lnTo>
                    <a:pt x="707493" y="452"/>
                  </a:lnTo>
                  <a:lnTo>
                    <a:pt x="709951" y="197"/>
                  </a:lnTo>
                  <a:lnTo>
                    <a:pt x="715332" y="1593"/>
                  </a:lnTo>
                  <a:lnTo>
                    <a:pt x="716748" y="2687"/>
                  </a:lnTo>
                  <a:lnTo>
                    <a:pt x="715304" y="4952"/>
                  </a:lnTo>
                  <a:lnTo>
                    <a:pt x="714740" y="8174"/>
                  </a:lnTo>
                  <a:lnTo>
                    <a:pt x="712307" y="14813"/>
                  </a:lnTo>
                  <a:lnTo>
                    <a:pt x="717586" y="15224"/>
                  </a:lnTo>
                  <a:lnTo>
                    <a:pt x="724986" y="13820"/>
                  </a:lnTo>
                  <a:lnTo>
                    <a:pt x="726865" y="11899"/>
                  </a:lnTo>
                  <a:lnTo>
                    <a:pt x="730845" y="8838"/>
                  </a:lnTo>
                  <a:lnTo>
                    <a:pt x="735047" y="9317"/>
                  </a:lnTo>
                  <a:lnTo>
                    <a:pt x="737062" y="8912"/>
                  </a:lnTo>
                  <a:lnTo>
                    <a:pt x="738081" y="7580"/>
                  </a:lnTo>
                  <a:lnTo>
                    <a:pt x="738465" y="5995"/>
                  </a:lnTo>
                  <a:lnTo>
                    <a:pt x="740789" y="6261"/>
                  </a:lnTo>
                  <a:lnTo>
                    <a:pt x="743974" y="9317"/>
                  </a:lnTo>
                  <a:lnTo>
                    <a:pt x="745455" y="9791"/>
                  </a:lnTo>
                  <a:lnTo>
                    <a:pt x="748167" y="9004"/>
                  </a:lnTo>
                  <a:lnTo>
                    <a:pt x="749264" y="9037"/>
                  </a:lnTo>
                  <a:lnTo>
                    <a:pt x="751942" y="10259"/>
                  </a:lnTo>
                  <a:lnTo>
                    <a:pt x="764419" y="12471"/>
                  </a:lnTo>
                  <a:lnTo>
                    <a:pt x="768744" y="13656"/>
                  </a:lnTo>
                  <a:lnTo>
                    <a:pt x="770608" y="14759"/>
                  </a:lnTo>
                  <a:lnTo>
                    <a:pt x="772491" y="15412"/>
                  </a:lnTo>
                  <a:lnTo>
                    <a:pt x="785766" y="15395"/>
                  </a:lnTo>
                  <a:lnTo>
                    <a:pt x="795145" y="16179"/>
                  </a:lnTo>
                  <a:lnTo>
                    <a:pt x="798602" y="17928"/>
                  </a:lnTo>
                  <a:lnTo>
                    <a:pt x="801502" y="21279"/>
                  </a:lnTo>
                  <a:lnTo>
                    <a:pt x="802614" y="28974"/>
                  </a:lnTo>
                  <a:lnTo>
                    <a:pt x="799988" y="31047"/>
                  </a:lnTo>
                  <a:lnTo>
                    <a:pt x="780999" y="40465"/>
                  </a:lnTo>
                  <a:lnTo>
                    <a:pt x="776240" y="43481"/>
                  </a:lnTo>
                  <a:lnTo>
                    <a:pt x="773944" y="46256"/>
                  </a:lnTo>
                  <a:lnTo>
                    <a:pt x="770059" y="52305"/>
                  </a:lnTo>
                  <a:lnTo>
                    <a:pt x="768176" y="54127"/>
                  </a:lnTo>
                  <a:lnTo>
                    <a:pt x="759284" y="56999"/>
                  </a:lnTo>
                  <a:lnTo>
                    <a:pt x="757207" y="57306"/>
                  </a:lnTo>
                  <a:lnTo>
                    <a:pt x="750523" y="55901"/>
                  </a:lnTo>
                  <a:lnTo>
                    <a:pt x="748483" y="56032"/>
                  </a:lnTo>
                  <a:lnTo>
                    <a:pt x="740363" y="59150"/>
                  </a:lnTo>
                  <a:lnTo>
                    <a:pt x="737565" y="61035"/>
                  </a:lnTo>
                  <a:lnTo>
                    <a:pt x="734825" y="63405"/>
                  </a:lnTo>
                  <a:lnTo>
                    <a:pt x="730730" y="64450"/>
                  </a:lnTo>
                  <a:lnTo>
                    <a:pt x="726552" y="63891"/>
                  </a:lnTo>
                  <a:lnTo>
                    <a:pt x="707645" y="62655"/>
                  </a:lnTo>
                  <a:lnTo>
                    <a:pt x="705111" y="60991"/>
                  </a:lnTo>
                  <a:lnTo>
                    <a:pt x="703045" y="57792"/>
                  </a:lnTo>
                  <a:lnTo>
                    <a:pt x="706800" y="53689"/>
                  </a:lnTo>
                  <a:lnTo>
                    <a:pt x="685703" y="55216"/>
                  </a:lnTo>
                  <a:lnTo>
                    <a:pt x="662479" y="54384"/>
                  </a:lnTo>
                  <a:lnTo>
                    <a:pt x="661250" y="53805"/>
                  </a:lnTo>
                  <a:lnTo>
                    <a:pt x="660261" y="52218"/>
                  </a:lnTo>
                  <a:lnTo>
                    <a:pt x="652271" y="51132"/>
                  </a:lnTo>
                  <a:lnTo>
                    <a:pt x="646273" y="49828"/>
                  </a:lnTo>
                  <a:lnTo>
                    <a:pt x="641230" y="47630"/>
                  </a:lnTo>
                  <a:lnTo>
                    <a:pt x="636242" y="44772"/>
                  </a:lnTo>
                  <a:lnTo>
                    <a:pt x="637836" y="43435"/>
                  </a:lnTo>
                  <a:lnTo>
                    <a:pt x="639481" y="42652"/>
                  </a:lnTo>
                  <a:lnTo>
                    <a:pt x="643765" y="42323"/>
                  </a:lnTo>
                  <a:lnTo>
                    <a:pt x="647575" y="42721"/>
                  </a:lnTo>
                  <a:lnTo>
                    <a:pt x="654349" y="42696"/>
                  </a:lnTo>
                  <a:lnTo>
                    <a:pt x="655927" y="39811"/>
                  </a:lnTo>
                  <a:lnTo>
                    <a:pt x="658624" y="38978"/>
                  </a:lnTo>
                  <a:lnTo>
                    <a:pt x="660775" y="36906"/>
                  </a:lnTo>
                  <a:lnTo>
                    <a:pt x="653625" y="35599"/>
                  </a:lnTo>
                  <a:lnTo>
                    <a:pt x="646167" y="35404"/>
                  </a:lnTo>
                  <a:lnTo>
                    <a:pt x="641196" y="37126"/>
                  </a:lnTo>
                  <a:lnTo>
                    <a:pt x="635435" y="37905"/>
                  </a:lnTo>
                  <a:lnTo>
                    <a:pt x="630170" y="38008"/>
                  </a:lnTo>
                  <a:lnTo>
                    <a:pt x="620044" y="37519"/>
                  </a:lnTo>
                  <a:lnTo>
                    <a:pt x="615244" y="36296"/>
                  </a:lnTo>
                  <a:lnTo>
                    <a:pt x="608678" y="33099"/>
                  </a:lnTo>
                  <a:lnTo>
                    <a:pt x="606393" y="31331"/>
                  </a:lnTo>
                  <a:lnTo>
                    <a:pt x="605510" y="29942"/>
                  </a:lnTo>
                  <a:lnTo>
                    <a:pt x="604860" y="27837"/>
                  </a:lnTo>
                  <a:lnTo>
                    <a:pt x="612362" y="25948"/>
                  </a:lnTo>
                  <a:lnTo>
                    <a:pt x="615276" y="24459"/>
                  </a:lnTo>
                  <a:lnTo>
                    <a:pt x="618140" y="22421"/>
                  </a:lnTo>
                  <a:lnTo>
                    <a:pt x="606816" y="21262"/>
                  </a:lnTo>
                  <a:lnTo>
                    <a:pt x="602077" y="19551"/>
                  </a:lnTo>
                  <a:lnTo>
                    <a:pt x="597375" y="17035"/>
                  </a:lnTo>
                  <a:lnTo>
                    <a:pt x="601191" y="15615"/>
                  </a:lnTo>
                  <a:lnTo>
                    <a:pt x="616445" y="14481"/>
                  </a:lnTo>
                  <a:lnTo>
                    <a:pt x="620483" y="15430"/>
                  </a:lnTo>
                  <a:lnTo>
                    <a:pt x="624486" y="17260"/>
                  </a:lnTo>
                  <a:lnTo>
                    <a:pt x="628918" y="18387"/>
                  </a:lnTo>
                  <a:lnTo>
                    <a:pt x="633202" y="16016"/>
                  </a:lnTo>
                  <a:lnTo>
                    <a:pt x="629168" y="14892"/>
                  </a:lnTo>
                  <a:lnTo>
                    <a:pt x="625558" y="10941"/>
                  </a:lnTo>
                  <a:lnTo>
                    <a:pt x="624795" y="8977"/>
                  </a:lnTo>
                  <a:lnTo>
                    <a:pt x="625268" y="7466"/>
                  </a:lnTo>
                  <a:lnTo>
                    <a:pt x="627158" y="7240"/>
                  </a:lnTo>
                  <a:lnTo>
                    <a:pt x="628566" y="7896"/>
                  </a:lnTo>
                  <a:lnTo>
                    <a:pt x="633895" y="11613"/>
                  </a:lnTo>
                  <a:lnTo>
                    <a:pt x="637933" y="12772"/>
                  </a:lnTo>
                  <a:lnTo>
                    <a:pt x="639065" y="9340"/>
                  </a:lnTo>
                  <a:lnTo>
                    <a:pt x="639244" y="7707"/>
                  </a:lnTo>
                  <a:lnTo>
                    <a:pt x="638510" y="6354"/>
                  </a:lnTo>
                  <a:lnTo>
                    <a:pt x="636611" y="3856"/>
                  </a:lnTo>
                  <a:lnTo>
                    <a:pt x="634910" y="782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51" name="ee4p_PL_1_37365">
              <a:extLst>
                <a:ext uri="{FF2B5EF4-FFF2-40B4-BE49-F238E27FC236}">
                  <a16:creationId xmlns:a16="http://schemas.microsoft.com/office/drawing/2014/main" id="{61292822-76E8-BB7C-993B-0A24DFFEA335}"/>
                </a:ext>
              </a:extLst>
            </p:cNvPr>
            <p:cNvSpPr>
              <a:spLocks noChangeAspect="1"/>
            </p:cNvSpPr>
            <p:nvPr>
              <p:custDataLst>
                <p:tags r:id="rId305"/>
              </p:custDataLst>
            </p:nvPr>
          </p:nvSpPr>
          <p:spPr>
            <a:xfrm>
              <a:off x="6907042" y="2931553"/>
              <a:ext cx="277060" cy="221875"/>
            </a:xfrm>
            <a:custGeom>
              <a:avLst/>
              <a:gdLst/>
              <a:ahLst/>
              <a:cxnLst/>
              <a:rect l="0" t="0" r="0" b="0"/>
              <a:pathLst>
                <a:path w="220617" h="171991">
                  <a:moveTo>
                    <a:pt x="121082" y="11596"/>
                  </a:moveTo>
                  <a:lnTo>
                    <a:pt x="121963" y="11965"/>
                  </a:lnTo>
                  <a:lnTo>
                    <a:pt x="128156" y="12364"/>
                  </a:lnTo>
                  <a:lnTo>
                    <a:pt x="134433" y="12768"/>
                  </a:lnTo>
                  <a:lnTo>
                    <a:pt x="144528" y="13198"/>
                  </a:lnTo>
                  <a:lnTo>
                    <a:pt x="155049" y="13651"/>
                  </a:lnTo>
                  <a:lnTo>
                    <a:pt x="165965" y="14118"/>
                  </a:lnTo>
                  <a:lnTo>
                    <a:pt x="177778" y="14624"/>
                  </a:lnTo>
                  <a:lnTo>
                    <a:pt x="190236" y="14922"/>
                  </a:lnTo>
                  <a:lnTo>
                    <a:pt x="190996" y="14718"/>
                  </a:lnTo>
                  <a:lnTo>
                    <a:pt x="192268" y="13529"/>
                  </a:lnTo>
                  <a:lnTo>
                    <a:pt x="193821" y="13690"/>
                  </a:lnTo>
                  <a:lnTo>
                    <a:pt x="195652" y="14427"/>
                  </a:lnTo>
                  <a:lnTo>
                    <a:pt x="196509" y="14976"/>
                  </a:lnTo>
                  <a:lnTo>
                    <a:pt x="196872" y="15599"/>
                  </a:lnTo>
                  <a:lnTo>
                    <a:pt x="197098" y="16320"/>
                  </a:lnTo>
                  <a:lnTo>
                    <a:pt x="198100" y="16464"/>
                  </a:lnTo>
                  <a:lnTo>
                    <a:pt x="199931" y="17013"/>
                  </a:lnTo>
                  <a:lnTo>
                    <a:pt x="202408" y="18265"/>
                  </a:lnTo>
                  <a:lnTo>
                    <a:pt x="204349" y="19477"/>
                  </a:lnTo>
                  <a:lnTo>
                    <a:pt x="206196" y="21210"/>
                  </a:lnTo>
                  <a:lnTo>
                    <a:pt x="206809" y="23168"/>
                  </a:lnTo>
                  <a:lnTo>
                    <a:pt x="206846" y="25385"/>
                  </a:lnTo>
                  <a:lnTo>
                    <a:pt x="206727" y="26811"/>
                  </a:lnTo>
                  <a:lnTo>
                    <a:pt x="206883" y="27391"/>
                  </a:lnTo>
                  <a:lnTo>
                    <a:pt x="209409" y="37691"/>
                  </a:lnTo>
                  <a:lnTo>
                    <a:pt x="213618" y="47576"/>
                  </a:lnTo>
                  <a:lnTo>
                    <a:pt x="215164" y="52344"/>
                  </a:lnTo>
                  <a:lnTo>
                    <a:pt x="215781" y="54879"/>
                  </a:lnTo>
                  <a:lnTo>
                    <a:pt x="216274" y="58550"/>
                  </a:lnTo>
                  <a:lnTo>
                    <a:pt x="216427" y="61124"/>
                  </a:lnTo>
                  <a:lnTo>
                    <a:pt x="216408" y="62573"/>
                  </a:lnTo>
                  <a:lnTo>
                    <a:pt x="216094" y="64562"/>
                  </a:lnTo>
                  <a:lnTo>
                    <a:pt x="214844" y="65737"/>
                  </a:lnTo>
                  <a:lnTo>
                    <a:pt x="206770" y="69093"/>
                  </a:lnTo>
                  <a:lnTo>
                    <a:pt x="205252" y="70145"/>
                  </a:lnTo>
                  <a:lnTo>
                    <a:pt x="202872" y="72758"/>
                  </a:lnTo>
                  <a:lnTo>
                    <a:pt x="200679" y="75446"/>
                  </a:lnTo>
                  <a:lnTo>
                    <a:pt x="200173" y="76364"/>
                  </a:lnTo>
                  <a:lnTo>
                    <a:pt x="200037" y="76968"/>
                  </a:lnTo>
                  <a:lnTo>
                    <a:pt x="200521" y="77849"/>
                  </a:lnTo>
                  <a:lnTo>
                    <a:pt x="203399" y="79287"/>
                  </a:lnTo>
                  <a:lnTo>
                    <a:pt x="206302" y="80441"/>
                  </a:lnTo>
                  <a:lnTo>
                    <a:pt x="207247" y="81304"/>
                  </a:lnTo>
                  <a:lnTo>
                    <a:pt x="209388" y="82409"/>
                  </a:lnTo>
                  <a:lnTo>
                    <a:pt x="210169" y="83400"/>
                  </a:lnTo>
                  <a:lnTo>
                    <a:pt x="210592" y="84264"/>
                  </a:lnTo>
                  <a:lnTo>
                    <a:pt x="210562" y="86257"/>
                  </a:lnTo>
                  <a:lnTo>
                    <a:pt x="209597" y="89011"/>
                  </a:lnTo>
                  <a:lnTo>
                    <a:pt x="210001" y="91090"/>
                  </a:lnTo>
                  <a:lnTo>
                    <a:pt x="209020" y="92474"/>
                  </a:lnTo>
                  <a:lnTo>
                    <a:pt x="208213" y="94011"/>
                  </a:lnTo>
                  <a:lnTo>
                    <a:pt x="208098" y="96701"/>
                  </a:lnTo>
                  <a:lnTo>
                    <a:pt x="209550" y="99671"/>
                  </a:lnTo>
                  <a:lnTo>
                    <a:pt x="210735" y="101697"/>
                  </a:lnTo>
                  <a:lnTo>
                    <a:pt x="211195" y="103284"/>
                  </a:lnTo>
                  <a:lnTo>
                    <a:pt x="210707" y="104529"/>
                  </a:lnTo>
                  <a:lnTo>
                    <a:pt x="210858" y="105774"/>
                  </a:lnTo>
                  <a:lnTo>
                    <a:pt x="211914" y="107090"/>
                  </a:lnTo>
                  <a:lnTo>
                    <a:pt x="215259" y="111158"/>
                  </a:lnTo>
                  <a:lnTo>
                    <a:pt x="216909" y="115066"/>
                  </a:lnTo>
                  <a:lnTo>
                    <a:pt x="217963" y="116587"/>
                  </a:lnTo>
                  <a:lnTo>
                    <a:pt x="220396" y="118562"/>
                  </a:lnTo>
                  <a:lnTo>
                    <a:pt x="220616" y="119372"/>
                  </a:lnTo>
                  <a:lnTo>
                    <a:pt x="219640" y="120114"/>
                  </a:lnTo>
                  <a:lnTo>
                    <a:pt x="218852" y="120212"/>
                  </a:lnTo>
                  <a:lnTo>
                    <a:pt x="218213" y="120409"/>
                  </a:lnTo>
                  <a:lnTo>
                    <a:pt x="217801" y="121102"/>
                  </a:lnTo>
                  <a:lnTo>
                    <a:pt x="218440" y="121843"/>
                  </a:lnTo>
                  <a:lnTo>
                    <a:pt x="219301" y="122931"/>
                  </a:lnTo>
                  <a:lnTo>
                    <a:pt x="220372" y="126008"/>
                  </a:lnTo>
                  <a:lnTo>
                    <a:pt x="220266" y="128524"/>
                  </a:lnTo>
                  <a:lnTo>
                    <a:pt x="219442" y="129164"/>
                  </a:lnTo>
                  <a:lnTo>
                    <a:pt x="218388" y="130656"/>
                  </a:lnTo>
                  <a:lnTo>
                    <a:pt x="217673" y="132019"/>
                  </a:lnTo>
                  <a:lnTo>
                    <a:pt x="211903" y="132968"/>
                  </a:lnTo>
                  <a:lnTo>
                    <a:pt x="210517" y="134426"/>
                  </a:lnTo>
                  <a:lnTo>
                    <a:pt x="207358" y="137241"/>
                  </a:lnTo>
                  <a:lnTo>
                    <a:pt x="205201" y="138859"/>
                  </a:lnTo>
                  <a:lnTo>
                    <a:pt x="202013" y="141780"/>
                  </a:lnTo>
                  <a:lnTo>
                    <a:pt x="196969" y="146796"/>
                  </a:lnTo>
                  <a:lnTo>
                    <a:pt x="195110" y="148891"/>
                  </a:lnTo>
                  <a:lnTo>
                    <a:pt x="193749" y="150622"/>
                  </a:lnTo>
                  <a:lnTo>
                    <a:pt x="189668" y="155225"/>
                  </a:lnTo>
                  <a:lnTo>
                    <a:pt x="188413" y="157155"/>
                  </a:lnTo>
                  <a:lnTo>
                    <a:pt x="188662" y="158743"/>
                  </a:lnTo>
                  <a:lnTo>
                    <a:pt x="189972" y="162467"/>
                  </a:lnTo>
                  <a:lnTo>
                    <a:pt x="190249" y="164146"/>
                  </a:lnTo>
                  <a:lnTo>
                    <a:pt x="190018" y="165698"/>
                  </a:lnTo>
                  <a:lnTo>
                    <a:pt x="189584" y="167078"/>
                  </a:lnTo>
                  <a:lnTo>
                    <a:pt x="189657" y="167693"/>
                  </a:lnTo>
                  <a:lnTo>
                    <a:pt x="190862" y="168693"/>
                  </a:lnTo>
                  <a:lnTo>
                    <a:pt x="192784" y="170263"/>
                  </a:lnTo>
                  <a:lnTo>
                    <a:pt x="192894" y="170792"/>
                  </a:lnTo>
                  <a:lnTo>
                    <a:pt x="192622" y="171472"/>
                  </a:lnTo>
                  <a:lnTo>
                    <a:pt x="191959" y="171990"/>
                  </a:lnTo>
                  <a:lnTo>
                    <a:pt x="189560" y="171443"/>
                  </a:lnTo>
                  <a:lnTo>
                    <a:pt x="186878" y="170379"/>
                  </a:lnTo>
                  <a:lnTo>
                    <a:pt x="185965" y="170507"/>
                  </a:lnTo>
                  <a:lnTo>
                    <a:pt x="184513" y="170262"/>
                  </a:lnTo>
                  <a:lnTo>
                    <a:pt x="178532" y="168207"/>
                  </a:lnTo>
                  <a:lnTo>
                    <a:pt x="174498" y="166597"/>
                  </a:lnTo>
                  <a:lnTo>
                    <a:pt x="174101" y="165551"/>
                  </a:lnTo>
                  <a:lnTo>
                    <a:pt x="173339" y="164034"/>
                  </a:lnTo>
                  <a:lnTo>
                    <a:pt x="171624" y="162763"/>
                  </a:lnTo>
                  <a:lnTo>
                    <a:pt x="167688" y="161661"/>
                  </a:lnTo>
                  <a:lnTo>
                    <a:pt x="166085" y="160800"/>
                  </a:lnTo>
                  <a:lnTo>
                    <a:pt x="159691" y="160319"/>
                  </a:lnTo>
                  <a:lnTo>
                    <a:pt x="156917" y="160299"/>
                  </a:lnTo>
                  <a:lnTo>
                    <a:pt x="154952" y="160655"/>
                  </a:lnTo>
                  <a:lnTo>
                    <a:pt x="153697" y="160619"/>
                  </a:lnTo>
                  <a:lnTo>
                    <a:pt x="151967" y="162867"/>
                  </a:lnTo>
                  <a:lnTo>
                    <a:pt x="150775" y="163518"/>
                  </a:lnTo>
                  <a:lnTo>
                    <a:pt x="149033" y="163587"/>
                  </a:lnTo>
                  <a:lnTo>
                    <a:pt x="147508" y="163187"/>
                  </a:lnTo>
                  <a:lnTo>
                    <a:pt x="145949" y="162005"/>
                  </a:lnTo>
                  <a:lnTo>
                    <a:pt x="143453" y="161381"/>
                  </a:lnTo>
                  <a:lnTo>
                    <a:pt x="141650" y="161682"/>
                  </a:lnTo>
                  <a:lnTo>
                    <a:pt x="140322" y="161424"/>
                  </a:lnTo>
                  <a:lnTo>
                    <a:pt x="139175" y="161363"/>
                  </a:lnTo>
                  <a:lnTo>
                    <a:pt x="138778" y="161599"/>
                  </a:lnTo>
                  <a:lnTo>
                    <a:pt x="137856" y="161566"/>
                  </a:lnTo>
                  <a:lnTo>
                    <a:pt x="136519" y="162131"/>
                  </a:lnTo>
                  <a:lnTo>
                    <a:pt x="135059" y="162930"/>
                  </a:lnTo>
                  <a:lnTo>
                    <a:pt x="133448" y="163538"/>
                  </a:lnTo>
                  <a:lnTo>
                    <a:pt x="132209" y="164845"/>
                  </a:lnTo>
                  <a:lnTo>
                    <a:pt x="131103" y="167404"/>
                  </a:lnTo>
                  <a:lnTo>
                    <a:pt x="127974" y="166258"/>
                  </a:lnTo>
                  <a:lnTo>
                    <a:pt x="126931" y="166755"/>
                  </a:lnTo>
                  <a:lnTo>
                    <a:pt x="125457" y="167089"/>
                  </a:lnTo>
                  <a:lnTo>
                    <a:pt x="124448" y="166744"/>
                  </a:lnTo>
                  <a:lnTo>
                    <a:pt x="124686" y="165862"/>
                  </a:lnTo>
                  <a:lnTo>
                    <a:pt x="125141" y="164868"/>
                  </a:lnTo>
                  <a:lnTo>
                    <a:pt x="125120" y="163477"/>
                  </a:lnTo>
                  <a:lnTo>
                    <a:pt x="124830" y="161941"/>
                  </a:lnTo>
                  <a:lnTo>
                    <a:pt x="123861" y="161441"/>
                  </a:lnTo>
                  <a:lnTo>
                    <a:pt x="122403" y="161257"/>
                  </a:lnTo>
                  <a:lnTo>
                    <a:pt x="121654" y="160953"/>
                  </a:lnTo>
                  <a:lnTo>
                    <a:pt x="121574" y="160445"/>
                  </a:lnTo>
                  <a:lnTo>
                    <a:pt x="120831" y="159792"/>
                  </a:lnTo>
                  <a:lnTo>
                    <a:pt x="119542" y="158138"/>
                  </a:lnTo>
                  <a:lnTo>
                    <a:pt x="118324" y="156082"/>
                  </a:lnTo>
                  <a:lnTo>
                    <a:pt x="117482" y="155469"/>
                  </a:lnTo>
                  <a:lnTo>
                    <a:pt x="116258" y="156448"/>
                  </a:lnTo>
                  <a:lnTo>
                    <a:pt x="114403" y="157561"/>
                  </a:lnTo>
                  <a:lnTo>
                    <a:pt x="113250" y="157947"/>
                  </a:lnTo>
                  <a:lnTo>
                    <a:pt x="111021" y="161143"/>
                  </a:lnTo>
                  <a:lnTo>
                    <a:pt x="107017" y="161251"/>
                  </a:lnTo>
                  <a:lnTo>
                    <a:pt x="106771" y="159759"/>
                  </a:lnTo>
                  <a:lnTo>
                    <a:pt x="106350" y="158324"/>
                  </a:lnTo>
                  <a:lnTo>
                    <a:pt x="104007" y="157965"/>
                  </a:lnTo>
                  <a:lnTo>
                    <a:pt x="103942" y="157123"/>
                  </a:lnTo>
                  <a:lnTo>
                    <a:pt x="103448" y="155009"/>
                  </a:lnTo>
                  <a:lnTo>
                    <a:pt x="98754" y="150865"/>
                  </a:lnTo>
                  <a:lnTo>
                    <a:pt x="98183" y="149134"/>
                  </a:lnTo>
                  <a:lnTo>
                    <a:pt x="98367" y="148466"/>
                  </a:lnTo>
                  <a:lnTo>
                    <a:pt x="98041" y="147364"/>
                  </a:lnTo>
                  <a:lnTo>
                    <a:pt x="97020" y="146700"/>
                  </a:lnTo>
                  <a:lnTo>
                    <a:pt x="93310" y="145909"/>
                  </a:lnTo>
                  <a:lnTo>
                    <a:pt x="92355" y="146364"/>
                  </a:lnTo>
                  <a:lnTo>
                    <a:pt x="91494" y="145896"/>
                  </a:lnTo>
                  <a:lnTo>
                    <a:pt x="90144" y="144902"/>
                  </a:lnTo>
                  <a:lnTo>
                    <a:pt x="87799" y="144093"/>
                  </a:lnTo>
                  <a:lnTo>
                    <a:pt x="87544" y="143674"/>
                  </a:lnTo>
                  <a:lnTo>
                    <a:pt x="86700" y="142962"/>
                  </a:lnTo>
                  <a:lnTo>
                    <a:pt x="86231" y="142866"/>
                  </a:lnTo>
                  <a:lnTo>
                    <a:pt x="85929" y="143299"/>
                  </a:lnTo>
                  <a:lnTo>
                    <a:pt x="85247" y="143911"/>
                  </a:lnTo>
                  <a:lnTo>
                    <a:pt x="82837" y="144685"/>
                  </a:lnTo>
                  <a:lnTo>
                    <a:pt x="81874" y="144366"/>
                  </a:lnTo>
                  <a:lnTo>
                    <a:pt x="80999" y="143694"/>
                  </a:lnTo>
                  <a:lnTo>
                    <a:pt x="80001" y="142245"/>
                  </a:lnTo>
                  <a:lnTo>
                    <a:pt x="78552" y="140973"/>
                  </a:lnTo>
                  <a:lnTo>
                    <a:pt x="77358" y="140522"/>
                  </a:lnTo>
                  <a:lnTo>
                    <a:pt x="76678" y="139854"/>
                  </a:lnTo>
                  <a:lnTo>
                    <a:pt x="76525" y="139335"/>
                  </a:lnTo>
                  <a:lnTo>
                    <a:pt x="79176" y="138291"/>
                  </a:lnTo>
                  <a:lnTo>
                    <a:pt x="79755" y="137214"/>
                  </a:lnTo>
                  <a:lnTo>
                    <a:pt x="79416" y="135249"/>
                  </a:lnTo>
                  <a:lnTo>
                    <a:pt x="79021" y="135001"/>
                  </a:lnTo>
                  <a:lnTo>
                    <a:pt x="77970" y="135666"/>
                  </a:lnTo>
                  <a:lnTo>
                    <a:pt x="75756" y="136250"/>
                  </a:lnTo>
                  <a:lnTo>
                    <a:pt x="73716" y="136519"/>
                  </a:lnTo>
                  <a:lnTo>
                    <a:pt x="72675" y="136519"/>
                  </a:lnTo>
                  <a:lnTo>
                    <a:pt x="66853" y="132940"/>
                  </a:lnTo>
                  <a:lnTo>
                    <a:pt x="63067" y="131844"/>
                  </a:lnTo>
                  <a:lnTo>
                    <a:pt x="60841" y="131526"/>
                  </a:lnTo>
                  <a:lnTo>
                    <a:pt x="60599" y="131890"/>
                  </a:lnTo>
                  <a:lnTo>
                    <a:pt x="61608" y="133899"/>
                  </a:lnTo>
                  <a:lnTo>
                    <a:pt x="63346" y="136376"/>
                  </a:lnTo>
                  <a:lnTo>
                    <a:pt x="63264" y="137036"/>
                  </a:lnTo>
                  <a:lnTo>
                    <a:pt x="61178" y="138048"/>
                  </a:lnTo>
                  <a:lnTo>
                    <a:pt x="59995" y="138489"/>
                  </a:lnTo>
                  <a:lnTo>
                    <a:pt x="58597" y="139347"/>
                  </a:lnTo>
                  <a:lnTo>
                    <a:pt x="57418" y="140532"/>
                  </a:lnTo>
                  <a:lnTo>
                    <a:pt x="56397" y="141069"/>
                  </a:lnTo>
                  <a:lnTo>
                    <a:pt x="55514" y="140934"/>
                  </a:lnTo>
                  <a:lnTo>
                    <a:pt x="54574" y="140362"/>
                  </a:lnTo>
                  <a:lnTo>
                    <a:pt x="52163" y="136704"/>
                  </a:lnTo>
                  <a:lnTo>
                    <a:pt x="49131" y="133899"/>
                  </a:lnTo>
                  <a:lnTo>
                    <a:pt x="48770" y="133271"/>
                  </a:lnTo>
                  <a:lnTo>
                    <a:pt x="47822" y="133126"/>
                  </a:lnTo>
                  <a:lnTo>
                    <a:pt x="46483" y="132482"/>
                  </a:lnTo>
                  <a:lnTo>
                    <a:pt x="46032" y="131623"/>
                  </a:lnTo>
                  <a:lnTo>
                    <a:pt x="46704" y="130724"/>
                  </a:lnTo>
                  <a:lnTo>
                    <a:pt x="47628" y="129902"/>
                  </a:lnTo>
                  <a:lnTo>
                    <a:pt x="49267" y="129395"/>
                  </a:lnTo>
                  <a:lnTo>
                    <a:pt x="49764" y="128918"/>
                  </a:lnTo>
                  <a:lnTo>
                    <a:pt x="50055" y="128199"/>
                  </a:lnTo>
                  <a:lnTo>
                    <a:pt x="50662" y="127270"/>
                  </a:lnTo>
                  <a:lnTo>
                    <a:pt x="50502" y="126935"/>
                  </a:lnTo>
                  <a:lnTo>
                    <a:pt x="49340" y="125882"/>
                  </a:lnTo>
                  <a:lnTo>
                    <a:pt x="47621" y="124886"/>
                  </a:lnTo>
                  <a:lnTo>
                    <a:pt x="42849" y="125634"/>
                  </a:lnTo>
                  <a:lnTo>
                    <a:pt x="41540" y="126166"/>
                  </a:lnTo>
                  <a:lnTo>
                    <a:pt x="40802" y="125473"/>
                  </a:lnTo>
                  <a:lnTo>
                    <a:pt x="40243" y="124460"/>
                  </a:lnTo>
                  <a:lnTo>
                    <a:pt x="39035" y="124267"/>
                  </a:lnTo>
                  <a:lnTo>
                    <a:pt x="37384" y="123342"/>
                  </a:lnTo>
                  <a:lnTo>
                    <a:pt x="35423" y="122439"/>
                  </a:lnTo>
                  <a:lnTo>
                    <a:pt x="33508" y="122172"/>
                  </a:lnTo>
                  <a:lnTo>
                    <a:pt x="29528" y="120862"/>
                  </a:lnTo>
                  <a:lnTo>
                    <a:pt x="27995" y="120791"/>
                  </a:lnTo>
                  <a:lnTo>
                    <a:pt x="27105" y="120340"/>
                  </a:lnTo>
                  <a:lnTo>
                    <a:pt x="26181" y="119349"/>
                  </a:lnTo>
                  <a:lnTo>
                    <a:pt x="25395" y="118263"/>
                  </a:lnTo>
                  <a:lnTo>
                    <a:pt x="24987" y="116058"/>
                  </a:lnTo>
                  <a:lnTo>
                    <a:pt x="22054" y="115056"/>
                  </a:lnTo>
                  <a:lnTo>
                    <a:pt x="19131" y="114428"/>
                  </a:lnTo>
                  <a:lnTo>
                    <a:pt x="18925" y="114748"/>
                  </a:lnTo>
                  <a:lnTo>
                    <a:pt x="19046" y="116972"/>
                  </a:lnTo>
                  <a:lnTo>
                    <a:pt x="18891" y="118159"/>
                  </a:lnTo>
                  <a:lnTo>
                    <a:pt x="16965" y="118893"/>
                  </a:lnTo>
                  <a:lnTo>
                    <a:pt x="15054" y="118963"/>
                  </a:lnTo>
                  <a:lnTo>
                    <a:pt x="15161" y="118594"/>
                  </a:lnTo>
                  <a:lnTo>
                    <a:pt x="17444" y="114592"/>
                  </a:lnTo>
                  <a:lnTo>
                    <a:pt x="18470" y="112068"/>
                  </a:lnTo>
                  <a:lnTo>
                    <a:pt x="19636" y="107454"/>
                  </a:lnTo>
                  <a:lnTo>
                    <a:pt x="18232" y="103806"/>
                  </a:lnTo>
                  <a:lnTo>
                    <a:pt x="17843" y="102097"/>
                  </a:lnTo>
                  <a:lnTo>
                    <a:pt x="17189" y="101276"/>
                  </a:lnTo>
                  <a:lnTo>
                    <a:pt x="13181" y="99496"/>
                  </a:lnTo>
                  <a:lnTo>
                    <a:pt x="12877" y="98878"/>
                  </a:lnTo>
                  <a:lnTo>
                    <a:pt x="13490" y="96459"/>
                  </a:lnTo>
                  <a:lnTo>
                    <a:pt x="13186" y="95441"/>
                  </a:lnTo>
                  <a:lnTo>
                    <a:pt x="12222" y="94366"/>
                  </a:lnTo>
                  <a:lnTo>
                    <a:pt x="10953" y="92226"/>
                  </a:lnTo>
                  <a:lnTo>
                    <a:pt x="10460" y="90410"/>
                  </a:lnTo>
                  <a:lnTo>
                    <a:pt x="12080" y="88271"/>
                  </a:lnTo>
                  <a:lnTo>
                    <a:pt x="12479" y="86700"/>
                  </a:lnTo>
                  <a:lnTo>
                    <a:pt x="13184" y="84546"/>
                  </a:lnTo>
                  <a:lnTo>
                    <a:pt x="13699" y="83364"/>
                  </a:lnTo>
                  <a:lnTo>
                    <a:pt x="13797" y="83038"/>
                  </a:lnTo>
                  <a:lnTo>
                    <a:pt x="12736" y="82198"/>
                  </a:lnTo>
                  <a:lnTo>
                    <a:pt x="12467" y="81018"/>
                  </a:lnTo>
                  <a:lnTo>
                    <a:pt x="12754" y="79316"/>
                  </a:lnTo>
                  <a:lnTo>
                    <a:pt x="12190" y="78055"/>
                  </a:lnTo>
                  <a:lnTo>
                    <a:pt x="10769" y="77235"/>
                  </a:lnTo>
                  <a:lnTo>
                    <a:pt x="9847" y="76151"/>
                  </a:lnTo>
                  <a:lnTo>
                    <a:pt x="9420" y="74800"/>
                  </a:lnTo>
                  <a:lnTo>
                    <a:pt x="9754" y="72677"/>
                  </a:lnTo>
                  <a:lnTo>
                    <a:pt x="10853" y="69779"/>
                  </a:lnTo>
                  <a:lnTo>
                    <a:pt x="8523" y="66291"/>
                  </a:lnTo>
                  <a:lnTo>
                    <a:pt x="2767" y="62206"/>
                  </a:lnTo>
                  <a:lnTo>
                    <a:pt x="0" y="59347"/>
                  </a:lnTo>
                  <a:lnTo>
                    <a:pt x="227" y="57713"/>
                  </a:lnTo>
                  <a:lnTo>
                    <a:pt x="1439" y="56233"/>
                  </a:lnTo>
                  <a:lnTo>
                    <a:pt x="3639" y="54902"/>
                  </a:lnTo>
                  <a:lnTo>
                    <a:pt x="5306" y="52540"/>
                  </a:lnTo>
                  <a:lnTo>
                    <a:pt x="6243" y="49736"/>
                  </a:lnTo>
                  <a:lnTo>
                    <a:pt x="6274" y="49204"/>
                  </a:lnTo>
                  <a:lnTo>
                    <a:pt x="6323" y="47199"/>
                  </a:lnTo>
                  <a:lnTo>
                    <a:pt x="3762" y="38982"/>
                  </a:lnTo>
                  <a:lnTo>
                    <a:pt x="3345" y="36921"/>
                  </a:lnTo>
                  <a:lnTo>
                    <a:pt x="3041" y="34433"/>
                  </a:lnTo>
                  <a:lnTo>
                    <a:pt x="2881" y="33753"/>
                  </a:lnTo>
                  <a:lnTo>
                    <a:pt x="7938" y="35498"/>
                  </a:lnTo>
                  <a:lnTo>
                    <a:pt x="10059" y="36480"/>
                  </a:lnTo>
                  <a:lnTo>
                    <a:pt x="9795" y="35377"/>
                  </a:lnTo>
                  <a:lnTo>
                    <a:pt x="9366" y="34427"/>
                  </a:lnTo>
                  <a:lnTo>
                    <a:pt x="9649" y="33031"/>
                  </a:lnTo>
                  <a:lnTo>
                    <a:pt x="9504" y="30923"/>
                  </a:lnTo>
                  <a:lnTo>
                    <a:pt x="4915" y="29847"/>
                  </a:lnTo>
                  <a:lnTo>
                    <a:pt x="1881" y="29483"/>
                  </a:lnTo>
                  <a:lnTo>
                    <a:pt x="1540" y="28020"/>
                  </a:lnTo>
                  <a:lnTo>
                    <a:pt x="1832" y="27072"/>
                  </a:lnTo>
                  <a:lnTo>
                    <a:pt x="2670" y="27630"/>
                  </a:lnTo>
                  <a:lnTo>
                    <a:pt x="5651" y="27849"/>
                  </a:lnTo>
                  <a:lnTo>
                    <a:pt x="12983" y="25011"/>
                  </a:lnTo>
                  <a:lnTo>
                    <a:pt x="25645" y="21319"/>
                  </a:lnTo>
                  <a:lnTo>
                    <a:pt x="39170" y="17850"/>
                  </a:lnTo>
                  <a:lnTo>
                    <a:pt x="42327" y="17472"/>
                  </a:lnTo>
                  <a:lnTo>
                    <a:pt x="45501" y="16741"/>
                  </a:lnTo>
                  <a:lnTo>
                    <a:pt x="46673" y="15441"/>
                  </a:lnTo>
                  <a:lnTo>
                    <a:pt x="47844" y="14571"/>
                  </a:lnTo>
                  <a:lnTo>
                    <a:pt x="49686" y="12276"/>
                  </a:lnTo>
                  <a:lnTo>
                    <a:pt x="53758" y="8706"/>
                  </a:lnTo>
                  <a:lnTo>
                    <a:pt x="60960" y="7404"/>
                  </a:lnTo>
                  <a:lnTo>
                    <a:pt x="63648" y="5708"/>
                  </a:lnTo>
                  <a:lnTo>
                    <a:pt x="69284" y="3330"/>
                  </a:lnTo>
                  <a:lnTo>
                    <a:pt x="82132" y="659"/>
                  </a:lnTo>
                  <a:lnTo>
                    <a:pt x="87499" y="72"/>
                  </a:lnTo>
                  <a:lnTo>
                    <a:pt x="92757" y="0"/>
                  </a:lnTo>
                  <a:lnTo>
                    <a:pt x="97439" y="2108"/>
                  </a:lnTo>
                  <a:lnTo>
                    <a:pt x="102394" y="4707"/>
                  </a:lnTo>
                  <a:lnTo>
                    <a:pt x="103286" y="6274"/>
                  </a:lnTo>
                  <a:lnTo>
                    <a:pt x="100604" y="5297"/>
                  </a:lnTo>
                  <a:lnTo>
                    <a:pt x="96696" y="2963"/>
                  </a:lnTo>
                  <a:lnTo>
                    <a:pt x="95251" y="2864"/>
                  </a:lnTo>
                  <a:lnTo>
                    <a:pt x="98587" y="9956"/>
                  </a:lnTo>
                  <a:lnTo>
                    <a:pt x="100412" y="12458"/>
                  </a:lnTo>
                  <a:lnTo>
                    <a:pt x="104100" y="14328"/>
                  </a:lnTo>
                  <a:lnTo>
                    <a:pt x="107192" y="14958"/>
                  </a:lnTo>
                  <a:lnTo>
                    <a:pt x="116720" y="13825"/>
                  </a:lnTo>
                  <a:lnTo>
                    <a:pt x="120103" y="12345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52" name="ee4p_PT_1_37365">
              <a:extLst>
                <a:ext uri="{FF2B5EF4-FFF2-40B4-BE49-F238E27FC236}">
                  <a16:creationId xmlns:a16="http://schemas.microsoft.com/office/drawing/2014/main" id="{791CBCBA-479A-87B5-4B64-6EE6D7C30840}"/>
                </a:ext>
              </a:extLst>
            </p:cNvPr>
            <p:cNvSpPr>
              <a:spLocks noChangeAspect="1"/>
            </p:cNvSpPr>
            <p:nvPr>
              <p:custDataLst>
                <p:tags r:id="rId306"/>
              </p:custDataLst>
            </p:nvPr>
          </p:nvSpPr>
          <p:spPr>
            <a:xfrm>
              <a:off x="5645994" y="3486435"/>
              <a:ext cx="405146" cy="224000"/>
            </a:xfrm>
            <a:custGeom>
              <a:avLst/>
              <a:gdLst>
                <a:gd name="connsiteX0" fmla="*/ 311606 w 322609"/>
                <a:gd name="connsiteY0" fmla="*/ 168208 h 173638"/>
                <a:gd name="connsiteX1" fmla="*/ 314621 w 322609"/>
                <a:gd name="connsiteY1" fmla="*/ 169508 h 173638"/>
                <a:gd name="connsiteX2" fmla="*/ 317392 w 322609"/>
                <a:gd name="connsiteY2" fmla="*/ 168879 h 173638"/>
                <a:gd name="connsiteX3" fmla="*/ 320824 w 322609"/>
                <a:gd name="connsiteY3" fmla="*/ 170552 h 173638"/>
                <a:gd name="connsiteX4" fmla="*/ 322609 w 322609"/>
                <a:gd name="connsiteY4" fmla="*/ 170935 h 173638"/>
                <a:gd name="connsiteX5" fmla="*/ 321016 w 322609"/>
                <a:gd name="connsiteY5" fmla="*/ 172124 h 173638"/>
                <a:gd name="connsiteX6" fmla="*/ 319422 w 322609"/>
                <a:gd name="connsiteY6" fmla="*/ 173638 h 173638"/>
                <a:gd name="connsiteX7" fmla="*/ 315422 w 322609"/>
                <a:gd name="connsiteY7" fmla="*/ 173281 h 173638"/>
                <a:gd name="connsiteX8" fmla="*/ 312041 w 322609"/>
                <a:gd name="connsiteY8" fmla="*/ 171825 h 173638"/>
                <a:gd name="connsiteX9" fmla="*/ 310828 w 322609"/>
                <a:gd name="connsiteY9" fmla="*/ 170717 h 173638"/>
                <a:gd name="connsiteX10" fmla="*/ 310497 w 322609"/>
                <a:gd name="connsiteY10" fmla="*/ 169718 h 173638"/>
                <a:gd name="connsiteX11" fmla="*/ 137096 w 322609"/>
                <a:gd name="connsiteY11" fmla="*/ 64160 h 173638"/>
                <a:gd name="connsiteX12" fmla="*/ 137949 w 322609"/>
                <a:gd name="connsiteY12" fmla="*/ 64766 h 173638"/>
                <a:gd name="connsiteX13" fmla="*/ 138324 w 322609"/>
                <a:gd name="connsiteY13" fmla="*/ 65789 h 173638"/>
                <a:gd name="connsiteX14" fmla="*/ 138232 w 322609"/>
                <a:gd name="connsiteY14" fmla="*/ 66257 h 173638"/>
                <a:gd name="connsiteX15" fmla="*/ 136975 w 322609"/>
                <a:gd name="connsiteY15" fmla="*/ 66071 h 173638"/>
                <a:gd name="connsiteX16" fmla="*/ 135393 w 322609"/>
                <a:gd name="connsiteY16" fmla="*/ 66211 h 173638"/>
                <a:gd name="connsiteX17" fmla="*/ 134543 w 322609"/>
                <a:gd name="connsiteY17" fmla="*/ 64859 h 173638"/>
                <a:gd name="connsiteX18" fmla="*/ 135313 w 322609"/>
                <a:gd name="connsiteY18" fmla="*/ 64299 h 173638"/>
                <a:gd name="connsiteX19" fmla="*/ 121599 w 322609"/>
                <a:gd name="connsiteY19" fmla="*/ 41515 h 173638"/>
                <a:gd name="connsiteX20" fmla="*/ 124579 w 322609"/>
                <a:gd name="connsiteY20" fmla="*/ 43314 h 173638"/>
                <a:gd name="connsiteX21" fmla="*/ 125983 w 322609"/>
                <a:gd name="connsiteY21" fmla="*/ 43490 h 173638"/>
                <a:gd name="connsiteX22" fmla="*/ 133034 w 322609"/>
                <a:gd name="connsiteY22" fmla="*/ 43116 h 173638"/>
                <a:gd name="connsiteX23" fmla="*/ 134906 w 322609"/>
                <a:gd name="connsiteY23" fmla="*/ 43391 h 173638"/>
                <a:gd name="connsiteX24" fmla="*/ 134712 w 322609"/>
                <a:gd name="connsiteY24" fmla="*/ 45273 h 173638"/>
                <a:gd name="connsiteX25" fmla="*/ 133376 w 322609"/>
                <a:gd name="connsiteY25" fmla="*/ 46024 h 173638"/>
                <a:gd name="connsiteX26" fmla="*/ 129222 w 322609"/>
                <a:gd name="connsiteY26" fmla="*/ 46527 h 173638"/>
                <a:gd name="connsiteX27" fmla="*/ 122689 w 322609"/>
                <a:gd name="connsiteY27" fmla="*/ 45311 h 173638"/>
                <a:gd name="connsiteX28" fmla="*/ 120495 w 322609"/>
                <a:gd name="connsiteY28" fmla="*/ 43694 h 173638"/>
                <a:gd name="connsiteX29" fmla="*/ 120181 w 322609"/>
                <a:gd name="connsiteY29" fmla="*/ 42507 h 173638"/>
                <a:gd name="connsiteX30" fmla="*/ 120225 w 322609"/>
                <a:gd name="connsiteY30" fmla="*/ 41953 h 173638"/>
                <a:gd name="connsiteX31" fmla="*/ 63700 w 322609"/>
                <a:gd name="connsiteY31" fmla="*/ 25019 h 173638"/>
                <a:gd name="connsiteX32" fmla="*/ 69336 w 322609"/>
                <a:gd name="connsiteY32" fmla="*/ 27611 h 173638"/>
                <a:gd name="connsiteX33" fmla="*/ 71160 w 322609"/>
                <a:gd name="connsiteY33" fmla="*/ 28639 h 173638"/>
                <a:gd name="connsiteX34" fmla="*/ 68397 w 322609"/>
                <a:gd name="connsiteY34" fmla="*/ 28860 h 173638"/>
                <a:gd name="connsiteX35" fmla="*/ 67482 w 322609"/>
                <a:gd name="connsiteY35" fmla="*/ 29361 h 173638"/>
                <a:gd name="connsiteX36" fmla="*/ 65243 w 322609"/>
                <a:gd name="connsiteY36" fmla="*/ 28635 h 173638"/>
                <a:gd name="connsiteX37" fmla="*/ 62543 w 322609"/>
                <a:gd name="connsiteY37" fmla="*/ 28744 h 173638"/>
                <a:gd name="connsiteX38" fmla="*/ 60848 w 322609"/>
                <a:gd name="connsiteY38" fmla="*/ 27357 h 173638"/>
                <a:gd name="connsiteX39" fmla="*/ 60457 w 322609"/>
                <a:gd name="connsiteY39" fmla="*/ 25916 h 173638"/>
                <a:gd name="connsiteX40" fmla="*/ 61310 w 322609"/>
                <a:gd name="connsiteY40" fmla="*/ 25028 h 173638"/>
                <a:gd name="connsiteX41" fmla="*/ 57164 w 322609"/>
                <a:gd name="connsiteY41" fmla="*/ 22826 h 173638"/>
                <a:gd name="connsiteX42" fmla="*/ 58100 w 322609"/>
                <a:gd name="connsiteY42" fmla="*/ 23456 h 173638"/>
                <a:gd name="connsiteX43" fmla="*/ 58790 w 322609"/>
                <a:gd name="connsiteY43" fmla="*/ 24170 h 173638"/>
                <a:gd name="connsiteX44" fmla="*/ 59197 w 322609"/>
                <a:gd name="connsiteY44" fmla="*/ 25087 h 173638"/>
                <a:gd name="connsiteX45" fmla="*/ 58412 w 322609"/>
                <a:gd name="connsiteY45" fmla="*/ 25749 h 173638"/>
                <a:gd name="connsiteX46" fmla="*/ 56145 w 322609"/>
                <a:gd name="connsiteY46" fmla="*/ 25817 h 173638"/>
                <a:gd name="connsiteX47" fmla="*/ 53973 w 322609"/>
                <a:gd name="connsiteY47" fmla="*/ 23858 h 173638"/>
                <a:gd name="connsiteX48" fmla="*/ 65724 w 322609"/>
                <a:gd name="connsiteY48" fmla="*/ 20108 h 173638"/>
                <a:gd name="connsiteX49" fmla="*/ 73419 w 322609"/>
                <a:gd name="connsiteY49" fmla="*/ 22882 h 173638"/>
                <a:gd name="connsiteX50" fmla="*/ 77491 w 322609"/>
                <a:gd name="connsiteY50" fmla="*/ 24961 h 173638"/>
                <a:gd name="connsiteX51" fmla="*/ 76443 w 322609"/>
                <a:gd name="connsiteY51" fmla="*/ 25272 h 173638"/>
                <a:gd name="connsiteX52" fmla="*/ 70551 w 322609"/>
                <a:gd name="connsiteY52" fmla="*/ 23288 h 173638"/>
                <a:gd name="connsiteX53" fmla="*/ 68452 w 322609"/>
                <a:gd name="connsiteY53" fmla="*/ 22391 h 173638"/>
                <a:gd name="connsiteX54" fmla="*/ 88963 w 322609"/>
                <a:gd name="connsiteY54" fmla="*/ 18591 h 173638"/>
                <a:gd name="connsiteX55" fmla="*/ 91897 w 322609"/>
                <a:gd name="connsiteY55" fmla="*/ 18923 h 173638"/>
                <a:gd name="connsiteX56" fmla="*/ 93778 w 322609"/>
                <a:gd name="connsiteY56" fmla="*/ 20178 h 173638"/>
                <a:gd name="connsiteX57" fmla="*/ 93776 w 322609"/>
                <a:gd name="connsiteY57" fmla="*/ 21784 h 173638"/>
                <a:gd name="connsiteX58" fmla="*/ 93041 w 322609"/>
                <a:gd name="connsiteY58" fmla="*/ 22698 h 173638"/>
                <a:gd name="connsiteX59" fmla="*/ 92597 w 322609"/>
                <a:gd name="connsiteY59" fmla="*/ 22941 h 173638"/>
                <a:gd name="connsiteX60" fmla="*/ 88009 w 322609"/>
                <a:gd name="connsiteY60" fmla="*/ 22245 h 173638"/>
                <a:gd name="connsiteX61" fmla="*/ 86702 w 322609"/>
                <a:gd name="connsiteY61" fmla="*/ 21296 h 173638"/>
                <a:gd name="connsiteX62" fmla="*/ 86171 w 322609"/>
                <a:gd name="connsiteY62" fmla="*/ 19543 h 173638"/>
                <a:gd name="connsiteX63" fmla="*/ 86943 w 322609"/>
                <a:gd name="connsiteY63" fmla="*/ 18945 h 173638"/>
                <a:gd name="connsiteX64" fmla="*/ 1837 w 322609"/>
                <a:gd name="connsiteY64" fmla="*/ 0 h 173638"/>
                <a:gd name="connsiteX65" fmla="*/ 3191 w 322609"/>
                <a:gd name="connsiteY65" fmla="*/ 1075 h 173638"/>
                <a:gd name="connsiteX66" fmla="*/ 3225 w 322609"/>
                <a:gd name="connsiteY66" fmla="*/ 2957 h 173638"/>
                <a:gd name="connsiteX67" fmla="*/ 2247 w 322609"/>
                <a:gd name="connsiteY67" fmla="*/ 4202 h 173638"/>
                <a:gd name="connsiteX68" fmla="*/ 560 w 322609"/>
                <a:gd name="connsiteY68" fmla="*/ 3760 h 173638"/>
                <a:gd name="connsiteX69" fmla="*/ 0 w 322609"/>
                <a:gd name="connsiteY69" fmla="*/ 3290 h 173638"/>
                <a:gd name="connsiteX70" fmla="*/ 489 w 322609"/>
                <a:gd name="connsiteY70" fmla="*/ 625 h 173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322609" h="173638">
                  <a:moveTo>
                    <a:pt x="311606" y="168208"/>
                  </a:moveTo>
                  <a:lnTo>
                    <a:pt x="314621" y="169508"/>
                  </a:lnTo>
                  <a:lnTo>
                    <a:pt x="317392" y="168879"/>
                  </a:lnTo>
                  <a:lnTo>
                    <a:pt x="320824" y="170552"/>
                  </a:lnTo>
                  <a:lnTo>
                    <a:pt x="322609" y="170935"/>
                  </a:lnTo>
                  <a:lnTo>
                    <a:pt x="321016" y="172124"/>
                  </a:lnTo>
                  <a:lnTo>
                    <a:pt x="319422" y="173638"/>
                  </a:lnTo>
                  <a:lnTo>
                    <a:pt x="315422" y="173281"/>
                  </a:lnTo>
                  <a:lnTo>
                    <a:pt x="312041" y="171825"/>
                  </a:lnTo>
                  <a:lnTo>
                    <a:pt x="310828" y="170717"/>
                  </a:lnTo>
                  <a:lnTo>
                    <a:pt x="310497" y="169718"/>
                  </a:lnTo>
                  <a:close/>
                  <a:moveTo>
                    <a:pt x="137096" y="64160"/>
                  </a:moveTo>
                  <a:lnTo>
                    <a:pt x="137949" y="64766"/>
                  </a:lnTo>
                  <a:lnTo>
                    <a:pt x="138324" y="65789"/>
                  </a:lnTo>
                  <a:lnTo>
                    <a:pt x="138232" y="66257"/>
                  </a:lnTo>
                  <a:lnTo>
                    <a:pt x="136975" y="66071"/>
                  </a:lnTo>
                  <a:lnTo>
                    <a:pt x="135393" y="66211"/>
                  </a:lnTo>
                  <a:lnTo>
                    <a:pt x="134543" y="64859"/>
                  </a:lnTo>
                  <a:lnTo>
                    <a:pt x="135313" y="64299"/>
                  </a:lnTo>
                  <a:close/>
                  <a:moveTo>
                    <a:pt x="121599" y="41515"/>
                  </a:moveTo>
                  <a:lnTo>
                    <a:pt x="124579" y="43314"/>
                  </a:lnTo>
                  <a:lnTo>
                    <a:pt x="125983" y="43490"/>
                  </a:lnTo>
                  <a:lnTo>
                    <a:pt x="133034" y="43116"/>
                  </a:lnTo>
                  <a:lnTo>
                    <a:pt x="134906" y="43391"/>
                  </a:lnTo>
                  <a:lnTo>
                    <a:pt x="134712" y="45273"/>
                  </a:lnTo>
                  <a:lnTo>
                    <a:pt x="133376" y="46024"/>
                  </a:lnTo>
                  <a:lnTo>
                    <a:pt x="129222" y="46527"/>
                  </a:lnTo>
                  <a:lnTo>
                    <a:pt x="122689" y="45311"/>
                  </a:lnTo>
                  <a:lnTo>
                    <a:pt x="120495" y="43694"/>
                  </a:lnTo>
                  <a:lnTo>
                    <a:pt x="120181" y="42507"/>
                  </a:lnTo>
                  <a:lnTo>
                    <a:pt x="120225" y="41953"/>
                  </a:lnTo>
                  <a:close/>
                  <a:moveTo>
                    <a:pt x="63700" y="25019"/>
                  </a:moveTo>
                  <a:lnTo>
                    <a:pt x="69336" y="27611"/>
                  </a:lnTo>
                  <a:lnTo>
                    <a:pt x="71160" y="28639"/>
                  </a:lnTo>
                  <a:lnTo>
                    <a:pt x="68397" y="28860"/>
                  </a:lnTo>
                  <a:lnTo>
                    <a:pt x="67482" y="29361"/>
                  </a:lnTo>
                  <a:lnTo>
                    <a:pt x="65243" y="28635"/>
                  </a:lnTo>
                  <a:lnTo>
                    <a:pt x="62543" y="28744"/>
                  </a:lnTo>
                  <a:lnTo>
                    <a:pt x="60848" y="27357"/>
                  </a:lnTo>
                  <a:lnTo>
                    <a:pt x="60457" y="25916"/>
                  </a:lnTo>
                  <a:lnTo>
                    <a:pt x="61310" y="25028"/>
                  </a:lnTo>
                  <a:close/>
                  <a:moveTo>
                    <a:pt x="57164" y="22826"/>
                  </a:moveTo>
                  <a:lnTo>
                    <a:pt x="58100" y="23456"/>
                  </a:lnTo>
                  <a:lnTo>
                    <a:pt x="58790" y="24170"/>
                  </a:lnTo>
                  <a:lnTo>
                    <a:pt x="59197" y="25087"/>
                  </a:lnTo>
                  <a:lnTo>
                    <a:pt x="58412" y="25749"/>
                  </a:lnTo>
                  <a:lnTo>
                    <a:pt x="56145" y="25817"/>
                  </a:lnTo>
                  <a:lnTo>
                    <a:pt x="53973" y="23858"/>
                  </a:lnTo>
                  <a:close/>
                  <a:moveTo>
                    <a:pt x="65724" y="20108"/>
                  </a:moveTo>
                  <a:lnTo>
                    <a:pt x="73419" y="22882"/>
                  </a:lnTo>
                  <a:lnTo>
                    <a:pt x="77491" y="24961"/>
                  </a:lnTo>
                  <a:lnTo>
                    <a:pt x="76443" y="25272"/>
                  </a:lnTo>
                  <a:lnTo>
                    <a:pt x="70551" y="23288"/>
                  </a:lnTo>
                  <a:lnTo>
                    <a:pt x="68452" y="22391"/>
                  </a:lnTo>
                  <a:close/>
                  <a:moveTo>
                    <a:pt x="88963" y="18591"/>
                  </a:moveTo>
                  <a:lnTo>
                    <a:pt x="91897" y="18923"/>
                  </a:lnTo>
                  <a:lnTo>
                    <a:pt x="93778" y="20178"/>
                  </a:lnTo>
                  <a:lnTo>
                    <a:pt x="93776" y="21784"/>
                  </a:lnTo>
                  <a:lnTo>
                    <a:pt x="93041" y="22698"/>
                  </a:lnTo>
                  <a:lnTo>
                    <a:pt x="92597" y="22941"/>
                  </a:lnTo>
                  <a:lnTo>
                    <a:pt x="88009" y="22245"/>
                  </a:lnTo>
                  <a:lnTo>
                    <a:pt x="86702" y="21296"/>
                  </a:lnTo>
                  <a:lnTo>
                    <a:pt x="86171" y="19543"/>
                  </a:lnTo>
                  <a:lnTo>
                    <a:pt x="86943" y="18945"/>
                  </a:lnTo>
                  <a:close/>
                  <a:moveTo>
                    <a:pt x="1837" y="0"/>
                  </a:moveTo>
                  <a:lnTo>
                    <a:pt x="3191" y="1075"/>
                  </a:lnTo>
                  <a:lnTo>
                    <a:pt x="3225" y="2957"/>
                  </a:lnTo>
                  <a:lnTo>
                    <a:pt x="2247" y="4202"/>
                  </a:lnTo>
                  <a:lnTo>
                    <a:pt x="560" y="3760"/>
                  </a:lnTo>
                  <a:lnTo>
                    <a:pt x="0" y="3290"/>
                  </a:lnTo>
                  <a:lnTo>
                    <a:pt x="489" y="625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53" name="ee4p_PT_2_37365">
              <a:extLst>
                <a:ext uri="{FF2B5EF4-FFF2-40B4-BE49-F238E27FC236}">
                  <a16:creationId xmlns:a16="http://schemas.microsoft.com/office/drawing/2014/main" id="{1802F317-3D79-CFA9-511A-AD0A37940C10}"/>
                </a:ext>
              </a:extLst>
            </p:cNvPr>
            <p:cNvSpPr>
              <a:spLocks noChangeAspect="1"/>
            </p:cNvSpPr>
            <p:nvPr>
              <p:custDataLst>
                <p:tags r:id="rId307"/>
              </p:custDataLst>
            </p:nvPr>
          </p:nvSpPr>
          <p:spPr>
            <a:xfrm>
              <a:off x="6251454" y="3397769"/>
              <a:ext cx="90730" cy="172049"/>
            </a:xfrm>
            <a:custGeom>
              <a:avLst/>
              <a:gdLst/>
              <a:ahLst/>
              <a:cxnLst/>
              <a:rect l="0" t="0" r="0" b="0"/>
              <a:pathLst>
                <a:path w="72246" h="133367">
                  <a:moveTo>
                    <a:pt x="28883" y="8426"/>
                  </a:moveTo>
                  <a:lnTo>
                    <a:pt x="29348" y="8638"/>
                  </a:lnTo>
                  <a:lnTo>
                    <a:pt x="30632" y="8579"/>
                  </a:lnTo>
                  <a:lnTo>
                    <a:pt x="32920" y="7579"/>
                  </a:lnTo>
                  <a:lnTo>
                    <a:pt x="34470" y="6738"/>
                  </a:lnTo>
                  <a:lnTo>
                    <a:pt x="35011" y="7084"/>
                  </a:lnTo>
                  <a:lnTo>
                    <a:pt x="39507" y="6609"/>
                  </a:lnTo>
                  <a:lnTo>
                    <a:pt x="40577" y="6994"/>
                  </a:lnTo>
                  <a:lnTo>
                    <a:pt x="41286" y="7419"/>
                  </a:lnTo>
                  <a:lnTo>
                    <a:pt x="43497" y="8001"/>
                  </a:lnTo>
                  <a:lnTo>
                    <a:pt x="45907" y="8062"/>
                  </a:lnTo>
                  <a:lnTo>
                    <a:pt x="48894" y="7248"/>
                  </a:lnTo>
                  <a:lnTo>
                    <a:pt x="50197" y="6430"/>
                  </a:lnTo>
                  <a:lnTo>
                    <a:pt x="50447" y="5524"/>
                  </a:lnTo>
                  <a:lnTo>
                    <a:pt x="50513" y="4839"/>
                  </a:lnTo>
                  <a:lnTo>
                    <a:pt x="50898" y="4402"/>
                  </a:lnTo>
                  <a:lnTo>
                    <a:pt x="51579" y="4151"/>
                  </a:lnTo>
                  <a:lnTo>
                    <a:pt x="52640" y="4600"/>
                  </a:lnTo>
                  <a:lnTo>
                    <a:pt x="54158" y="4961"/>
                  </a:lnTo>
                  <a:lnTo>
                    <a:pt x="57806" y="5103"/>
                  </a:lnTo>
                  <a:lnTo>
                    <a:pt x="58521" y="4602"/>
                  </a:lnTo>
                  <a:lnTo>
                    <a:pt x="59757" y="4752"/>
                  </a:lnTo>
                  <a:lnTo>
                    <a:pt x="61386" y="5387"/>
                  </a:lnTo>
                  <a:lnTo>
                    <a:pt x="63273" y="5180"/>
                  </a:lnTo>
                  <a:lnTo>
                    <a:pt x="64222" y="5957"/>
                  </a:lnTo>
                  <a:lnTo>
                    <a:pt x="64616" y="6990"/>
                  </a:lnTo>
                  <a:lnTo>
                    <a:pt x="64725" y="9232"/>
                  </a:lnTo>
                  <a:lnTo>
                    <a:pt x="64584" y="11496"/>
                  </a:lnTo>
                  <a:lnTo>
                    <a:pt x="64955" y="12331"/>
                  </a:lnTo>
                  <a:lnTo>
                    <a:pt x="66227" y="12546"/>
                  </a:lnTo>
                  <a:lnTo>
                    <a:pt x="68283" y="12520"/>
                  </a:lnTo>
                  <a:lnTo>
                    <a:pt x="70133" y="13134"/>
                  </a:lnTo>
                  <a:lnTo>
                    <a:pt x="71569" y="14202"/>
                  </a:lnTo>
                  <a:lnTo>
                    <a:pt x="72043" y="15296"/>
                  </a:lnTo>
                  <a:lnTo>
                    <a:pt x="72245" y="16047"/>
                  </a:lnTo>
                  <a:lnTo>
                    <a:pt x="71542" y="16473"/>
                  </a:lnTo>
                  <a:lnTo>
                    <a:pt x="70546" y="18082"/>
                  </a:lnTo>
                  <a:lnTo>
                    <a:pt x="68030" y="20184"/>
                  </a:lnTo>
                  <a:lnTo>
                    <a:pt x="64431" y="22076"/>
                  </a:lnTo>
                  <a:lnTo>
                    <a:pt x="61684" y="24428"/>
                  </a:lnTo>
                  <a:lnTo>
                    <a:pt x="59790" y="27241"/>
                  </a:lnTo>
                  <a:lnTo>
                    <a:pt x="57423" y="28434"/>
                  </a:lnTo>
                  <a:lnTo>
                    <a:pt x="56700" y="29076"/>
                  </a:lnTo>
                  <a:lnTo>
                    <a:pt x="56414" y="29836"/>
                  </a:lnTo>
                  <a:lnTo>
                    <a:pt x="57978" y="33276"/>
                  </a:lnTo>
                  <a:lnTo>
                    <a:pt x="58461" y="35924"/>
                  </a:lnTo>
                  <a:lnTo>
                    <a:pt x="58849" y="39163"/>
                  </a:lnTo>
                  <a:lnTo>
                    <a:pt x="58595" y="40080"/>
                  </a:lnTo>
                  <a:lnTo>
                    <a:pt x="58466" y="43641"/>
                  </a:lnTo>
                  <a:lnTo>
                    <a:pt x="58104" y="44686"/>
                  </a:lnTo>
                  <a:lnTo>
                    <a:pt x="58194" y="45530"/>
                  </a:lnTo>
                  <a:lnTo>
                    <a:pt x="58773" y="46439"/>
                  </a:lnTo>
                  <a:lnTo>
                    <a:pt x="59030" y="47306"/>
                  </a:lnTo>
                  <a:lnTo>
                    <a:pt x="57952" y="48414"/>
                  </a:lnTo>
                  <a:lnTo>
                    <a:pt x="55972" y="49698"/>
                  </a:lnTo>
                  <a:lnTo>
                    <a:pt x="54507" y="50828"/>
                  </a:lnTo>
                  <a:lnTo>
                    <a:pt x="54111" y="51884"/>
                  </a:lnTo>
                  <a:lnTo>
                    <a:pt x="54217" y="52545"/>
                  </a:lnTo>
                  <a:lnTo>
                    <a:pt x="56681" y="54784"/>
                  </a:lnTo>
                  <a:lnTo>
                    <a:pt x="57130" y="55697"/>
                  </a:lnTo>
                  <a:lnTo>
                    <a:pt x="56796" y="57905"/>
                  </a:lnTo>
                  <a:lnTo>
                    <a:pt x="55376" y="61518"/>
                  </a:lnTo>
                  <a:lnTo>
                    <a:pt x="54020" y="63715"/>
                  </a:lnTo>
                  <a:lnTo>
                    <a:pt x="53784" y="63933"/>
                  </a:lnTo>
                  <a:lnTo>
                    <a:pt x="52230" y="64554"/>
                  </a:lnTo>
                  <a:lnTo>
                    <a:pt x="44791" y="64581"/>
                  </a:lnTo>
                  <a:lnTo>
                    <a:pt x="42987" y="65077"/>
                  </a:lnTo>
                  <a:lnTo>
                    <a:pt x="43241" y="65515"/>
                  </a:lnTo>
                  <a:lnTo>
                    <a:pt x="44990" y="68335"/>
                  </a:lnTo>
                  <a:lnTo>
                    <a:pt x="46812" y="69837"/>
                  </a:lnTo>
                  <a:lnTo>
                    <a:pt x="47415" y="70179"/>
                  </a:lnTo>
                  <a:lnTo>
                    <a:pt x="48071" y="73474"/>
                  </a:lnTo>
                  <a:lnTo>
                    <a:pt x="51020" y="78731"/>
                  </a:lnTo>
                  <a:lnTo>
                    <a:pt x="53882" y="79458"/>
                  </a:lnTo>
                  <a:lnTo>
                    <a:pt x="54877" y="80768"/>
                  </a:lnTo>
                  <a:lnTo>
                    <a:pt x="54694" y="82609"/>
                  </a:lnTo>
                  <a:lnTo>
                    <a:pt x="53814" y="84630"/>
                  </a:lnTo>
                  <a:lnTo>
                    <a:pt x="52057" y="86698"/>
                  </a:lnTo>
                  <a:lnTo>
                    <a:pt x="49969" y="88155"/>
                  </a:lnTo>
                  <a:lnTo>
                    <a:pt x="48607" y="89598"/>
                  </a:lnTo>
                  <a:lnTo>
                    <a:pt x="48500" y="91279"/>
                  </a:lnTo>
                  <a:lnTo>
                    <a:pt x="48067" y="93405"/>
                  </a:lnTo>
                  <a:lnTo>
                    <a:pt x="47407" y="95088"/>
                  </a:lnTo>
                  <a:lnTo>
                    <a:pt x="47247" y="96222"/>
                  </a:lnTo>
                  <a:lnTo>
                    <a:pt x="52479" y="103327"/>
                  </a:lnTo>
                  <a:lnTo>
                    <a:pt x="55389" y="102982"/>
                  </a:lnTo>
                  <a:lnTo>
                    <a:pt x="55770" y="103150"/>
                  </a:lnTo>
                  <a:lnTo>
                    <a:pt x="55250" y="104842"/>
                  </a:lnTo>
                  <a:lnTo>
                    <a:pt x="54327" y="106824"/>
                  </a:lnTo>
                  <a:lnTo>
                    <a:pt x="53229" y="107201"/>
                  </a:lnTo>
                  <a:lnTo>
                    <a:pt x="50732" y="107808"/>
                  </a:lnTo>
                  <a:lnTo>
                    <a:pt x="48370" y="110369"/>
                  </a:lnTo>
                  <a:lnTo>
                    <a:pt x="46454" y="113443"/>
                  </a:lnTo>
                  <a:lnTo>
                    <a:pt x="45016" y="114929"/>
                  </a:lnTo>
                  <a:lnTo>
                    <a:pt x="43698" y="118580"/>
                  </a:lnTo>
                  <a:lnTo>
                    <a:pt x="43864" y="120161"/>
                  </a:lnTo>
                  <a:lnTo>
                    <a:pt x="44502" y="122600"/>
                  </a:lnTo>
                  <a:lnTo>
                    <a:pt x="45851" y="128938"/>
                  </a:lnTo>
                  <a:lnTo>
                    <a:pt x="43918" y="129221"/>
                  </a:lnTo>
                  <a:lnTo>
                    <a:pt x="36388" y="133359"/>
                  </a:lnTo>
                  <a:lnTo>
                    <a:pt x="34053" y="133366"/>
                  </a:lnTo>
                  <a:lnTo>
                    <a:pt x="29696" y="131544"/>
                  </a:lnTo>
                  <a:lnTo>
                    <a:pt x="22011" y="130959"/>
                  </a:lnTo>
                  <a:lnTo>
                    <a:pt x="19505" y="130417"/>
                  </a:lnTo>
                  <a:lnTo>
                    <a:pt x="16377" y="131606"/>
                  </a:lnTo>
                  <a:lnTo>
                    <a:pt x="13959" y="131579"/>
                  </a:lnTo>
                  <a:lnTo>
                    <a:pt x="12037" y="133097"/>
                  </a:lnTo>
                  <a:lnTo>
                    <a:pt x="10656" y="132683"/>
                  </a:lnTo>
                  <a:lnTo>
                    <a:pt x="12239" y="129278"/>
                  </a:lnTo>
                  <a:lnTo>
                    <a:pt x="14717" y="122529"/>
                  </a:lnTo>
                  <a:lnTo>
                    <a:pt x="14620" y="118403"/>
                  </a:lnTo>
                  <a:lnTo>
                    <a:pt x="15211" y="114813"/>
                  </a:lnTo>
                  <a:lnTo>
                    <a:pt x="14529" y="111254"/>
                  </a:lnTo>
                  <a:lnTo>
                    <a:pt x="13285" y="109030"/>
                  </a:lnTo>
                  <a:lnTo>
                    <a:pt x="14981" y="103254"/>
                  </a:lnTo>
                  <a:lnTo>
                    <a:pt x="14788" y="100277"/>
                  </a:lnTo>
                  <a:lnTo>
                    <a:pt x="13237" y="96498"/>
                  </a:lnTo>
                  <a:lnTo>
                    <a:pt x="17942" y="97074"/>
                  </a:lnTo>
                  <a:lnTo>
                    <a:pt x="16490" y="95579"/>
                  </a:lnTo>
                  <a:lnTo>
                    <a:pt x="15055" y="94659"/>
                  </a:lnTo>
                  <a:lnTo>
                    <a:pt x="13668" y="94870"/>
                  </a:lnTo>
                  <a:lnTo>
                    <a:pt x="12492" y="94814"/>
                  </a:lnTo>
                  <a:lnTo>
                    <a:pt x="8485" y="96279"/>
                  </a:lnTo>
                  <a:lnTo>
                    <a:pt x="6479" y="96717"/>
                  </a:lnTo>
                  <a:lnTo>
                    <a:pt x="5892" y="96462"/>
                  </a:lnTo>
                  <a:lnTo>
                    <a:pt x="6111" y="94123"/>
                  </a:lnTo>
                  <a:lnTo>
                    <a:pt x="5071" y="91089"/>
                  </a:lnTo>
                  <a:lnTo>
                    <a:pt x="6676" y="90288"/>
                  </a:lnTo>
                  <a:lnTo>
                    <a:pt x="8545" y="90059"/>
                  </a:lnTo>
                  <a:lnTo>
                    <a:pt x="10133" y="88764"/>
                  </a:lnTo>
                  <a:lnTo>
                    <a:pt x="11115" y="87318"/>
                  </a:lnTo>
                  <a:lnTo>
                    <a:pt x="10597" y="84734"/>
                  </a:lnTo>
                  <a:lnTo>
                    <a:pt x="11977" y="82277"/>
                  </a:lnTo>
                  <a:lnTo>
                    <a:pt x="15216" y="80206"/>
                  </a:lnTo>
                  <a:lnTo>
                    <a:pt x="13538" y="80522"/>
                  </a:lnTo>
                  <a:lnTo>
                    <a:pt x="11618" y="81812"/>
                  </a:lnTo>
                  <a:lnTo>
                    <a:pt x="8595" y="86499"/>
                  </a:lnTo>
                  <a:lnTo>
                    <a:pt x="7605" y="88870"/>
                  </a:lnTo>
                  <a:lnTo>
                    <a:pt x="5029" y="89643"/>
                  </a:lnTo>
                  <a:lnTo>
                    <a:pt x="2720" y="90027"/>
                  </a:lnTo>
                  <a:lnTo>
                    <a:pt x="1538" y="89779"/>
                  </a:lnTo>
                  <a:lnTo>
                    <a:pt x="124" y="89178"/>
                  </a:lnTo>
                  <a:lnTo>
                    <a:pt x="0" y="87425"/>
                  </a:lnTo>
                  <a:lnTo>
                    <a:pt x="110" y="86027"/>
                  </a:lnTo>
                  <a:lnTo>
                    <a:pt x="1068" y="83250"/>
                  </a:lnTo>
                  <a:lnTo>
                    <a:pt x="1446" y="79328"/>
                  </a:lnTo>
                  <a:lnTo>
                    <a:pt x="2806" y="75806"/>
                  </a:lnTo>
                  <a:lnTo>
                    <a:pt x="2709" y="74870"/>
                  </a:lnTo>
                  <a:lnTo>
                    <a:pt x="2321" y="73470"/>
                  </a:lnTo>
                  <a:lnTo>
                    <a:pt x="3540" y="72100"/>
                  </a:lnTo>
                  <a:lnTo>
                    <a:pt x="5049" y="71195"/>
                  </a:lnTo>
                  <a:lnTo>
                    <a:pt x="7329" y="68169"/>
                  </a:lnTo>
                  <a:lnTo>
                    <a:pt x="10518" y="60941"/>
                  </a:lnTo>
                  <a:lnTo>
                    <a:pt x="14194" y="53248"/>
                  </a:lnTo>
                  <a:lnTo>
                    <a:pt x="13896" y="52305"/>
                  </a:lnTo>
                  <a:lnTo>
                    <a:pt x="13115" y="51583"/>
                  </a:lnTo>
                  <a:lnTo>
                    <a:pt x="13424" y="49503"/>
                  </a:lnTo>
                  <a:lnTo>
                    <a:pt x="15640" y="40432"/>
                  </a:lnTo>
                  <a:lnTo>
                    <a:pt x="16543" y="39245"/>
                  </a:lnTo>
                  <a:lnTo>
                    <a:pt x="17582" y="36579"/>
                  </a:lnTo>
                  <a:lnTo>
                    <a:pt x="17817" y="32272"/>
                  </a:lnTo>
                  <a:lnTo>
                    <a:pt x="18224" y="29301"/>
                  </a:lnTo>
                  <a:lnTo>
                    <a:pt x="18130" y="27806"/>
                  </a:lnTo>
                  <a:lnTo>
                    <a:pt x="17803" y="26010"/>
                  </a:lnTo>
                  <a:lnTo>
                    <a:pt x="16393" y="22578"/>
                  </a:lnTo>
                  <a:lnTo>
                    <a:pt x="14905" y="15307"/>
                  </a:lnTo>
                  <a:lnTo>
                    <a:pt x="14791" y="12875"/>
                  </a:lnTo>
                  <a:lnTo>
                    <a:pt x="16016" y="11646"/>
                  </a:lnTo>
                  <a:lnTo>
                    <a:pt x="14005" y="11466"/>
                  </a:lnTo>
                  <a:lnTo>
                    <a:pt x="13094" y="9893"/>
                  </a:lnTo>
                  <a:lnTo>
                    <a:pt x="13301" y="8105"/>
                  </a:lnTo>
                  <a:lnTo>
                    <a:pt x="15536" y="5214"/>
                  </a:lnTo>
                  <a:lnTo>
                    <a:pt x="17618" y="3425"/>
                  </a:lnTo>
                  <a:lnTo>
                    <a:pt x="19682" y="2250"/>
                  </a:lnTo>
                  <a:lnTo>
                    <a:pt x="20822" y="1809"/>
                  </a:lnTo>
                  <a:lnTo>
                    <a:pt x="25588" y="593"/>
                  </a:lnTo>
                  <a:lnTo>
                    <a:pt x="26837" y="0"/>
                  </a:lnTo>
                  <a:lnTo>
                    <a:pt x="28009" y="99"/>
                  </a:lnTo>
                  <a:lnTo>
                    <a:pt x="28205" y="679"/>
                  </a:lnTo>
                  <a:lnTo>
                    <a:pt x="28882" y="1808"/>
                  </a:lnTo>
                  <a:lnTo>
                    <a:pt x="29640" y="2590"/>
                  </a:lnTo>
                  <a:lnTo>
                    <a:pt x="29846" y="3168"/>
                  </a:lnTo>
                  <a:lnTo>
                    <a:pt x="28003" y="5585"/>
                  </a:lnTo>
                  <a:lnTo>
                    <a:pt x="27750" y="6414"/>
                  </a:lnTo>
                  <a:lnTo>
                    <a:pt x="28712" y="7975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54" name="ee4p_RO_1_37365">
              <a:extLst>
                <a:ext uri="{FF2B5EF4-FFF2-40B4-BE49-F238E27FC236}">
                  <a16:creationId xmlns:a16="http://schemas.microsoft.com/office/drawing/2014/main" id="{EEF0BF02-9095-E9C7-25AA-6E0A444DDBE8}"/>
                </a:ext>
              </a:extLst>
            </p:cNvPr>
            <p:cNvSpPr>
              <a:spLocks noChangeAspect="1"/>
            </p:cNvSpPr>
            <p:nvPr>
              <p:custDataLst>
                <p:tags r:id="rId308"/>
              </p:custDataLst>
            </p:nvPr>
          </p:nvSpPr>
          <p:spPr>
            <a:xfrm>
              <a:off x="7076802" y="3181189"/>
              <a:ext cx="262812" cy="163616"/>
            </a:xfrm>
            <a:custGeom>
              <a:avLst/>
              <a:gdLst/>
              <a:ahLst/>
              <a:cxnLst/>
              <a:rect l="0" t="0" r="0" b="0"/>
              <a:pathLst>
                <a:path w="209271" h="126830">
                  <a:moveTo>
                    <a:pt x="176249" y="78400"/>
                  </a:moveTo>
                  <a:lnTo>
                    <a:pt x="178575" y="81236"/>
                  </a:lnTo>
                  <a:lnTo>
                    <a:pt x="181529" y="82742"/>
                  </a:lnTo>
                  <a:lnTo>
                    <a:pt x="188372" y="84333"/>
                  </a:lnTo>
                  <a:lnTo>
                    <a:pt x="188980" y="84146"/>
                  </a:lnTo>
                  <a:lnTo>
                    <a:pt x="189050" y="83846"/>
                  </a:lnTo>
                  <a:lnTo>
                    <a:pt x="188573" y="83435"/>
                  </a:lnTo>
                  <a:lnTo>
                    <a:pt x="188501" y="82905"/>
                  </a:lnTo>
                  <a:lnTo>
                    <a:pt x="188836" y="82257"/>
                  </a:lnTo>
                  <a:lnTo>
                    <a:pt x="189777" y="82224"/>
                  </a:lnTo>
                  <a:lnTo>
                    <a:pt x="191326" y="82804"/>
                  </a:lnTo>
                  <a:lnTo>
                    <a:pt x="194269" y="81964"/>
                  </a:lnTo>
                  <a:lnTo>
                    <a:pt x="198605" y="79704"/>
                  </a:lnTo>
                  <a:lnTo>
                    <a:pt x="202589" y="79245"/>
                  </a:lnTo>
                  <a:lnTo>
                    <a:pt x="206215" y="80586"/>
                  </a:lnTo>
                  <a:lnTo>
                    <a:pt x="208078" y="82146"/>
                  </a:lnTo>
                  <a:lnTo>
                    <a:pt x="209270" y="83626"/>
                  </a:lnTo>
                  <a:lnTo>
                    <a:pt x="208899" y="85454"/>
                  </a:lnTo>
                  <a:lnTo>
                    <a:pt x="208668" y="86591"/>
                  </a:lnTo>
                  <a:lnTo>
                    <a:pt x="207711" y="91297"/>
                  </a:lnTo>
                  <a:lnTo>
                    <a:pt x="207050" y="93049"/>
                  </a:lnTo>
                  <a:lnTo>
                    <a:pt x="205990" y="95016"/>
                  </a:lnTo>
                  <a:lnTo>
                    <a:pt x="194729" y="97358"/>
                  </a:lnTo>
                  <a:lnTo>
                    <a:pt x="195454" y="96233"/>
                  </a:lnTo>
                  <a:lnTo>
                    <a:pt x="195191" y="94260"/>
                  </a:lnTo>
                  <a:lnTo>
                    <a:pt x="194718" y="92770"/>
                  </a:lnTo>
                  <a:lnTo>
                    <a:pt x="195770" y="91422"/>
                  </a:lnTo>
                  <a:lnTo>
                    <a:pt x="193234" y="90933"/>
                  </a:lnTo>
                  <a:lnTo>
                    <a:pt x="192127" y="91674"/>
                  </a:lnTo>
                  <a:lnTo>
                    <a:pt x="191263" y="92962"/>
                  </a:lnTo>
                  <a:lnTo>
                    <a:pt x="192030" y="95928"/>
                  </a:lnTo>
                  <a:lnTo>
                    <a:pt x="190797" y="97566"/>
                  </a:lnTo>
                  <a:lnTo>
                    <a:pt x="190324" y="98483"/>
                  </a:lnTo>
                  <a:lnTo>
                    <a:pt x="190268" y="100647"/>
                  </a:lnTo>
                  <a:lnTo>
                    <a:pt x="189540" y="101583"/>
                  </a:lnTo>
                  <a:lnTo>
                    <a:pt x="189395" y="102602"/>
                  </a:lnTo>
                  <a:lnTo>
                    <a:pt x="191190" y="102338"/>
                  </a:lnTo>
                  <a:lnTo>
                    <a:pt x="190384" y="104205"/>
                  </a:lnTo>
                  <a:lnTo>
                    <a:pt x="187011" y="107790"/>
                  </a:lnTo>
                  <a:lnTo>
                    <a:pt x="185821" y="109923"/>
                  </a:lnTo>
                  <a:lnTo>
                    <a:pt x="186113" y="118372"/>
                  </a:lnTo>
                  <a:lnTo>
                    <a:pt x="184612" y="123412"/>
                  </a:lnTo>
                  <a:lnTo>
                    <a:pt x="184494" y="124901"/>
                  </a:lnTo>
                  <a:lnTo>
                    <a:pt x="180913" y="124949"/>
                  </a:lnTo>
                  <a:lnTo>
                    <a:pt x="179847" y="124833"/>
                  </a:lnTo>
                  <a:lnTo>
                    <a:pt x="176458" y="124075"/>
                  </a:lnTo>
                  <a:lnTo>
                    <a:pt x="172655" y="122736"/>
                  </a:lnTo>
                  <a:lnTo>
                    <a:pt x="170421" y="120137"/>
                  </a:lnTo>
                  <a:lnTo>
                    <a:pt x="168991" y="118277"/>
                  </a:lnTo>
                  <a:lnTo>
                    <a:pt x="165769" y="119118"/>
                  </a:lnTo>
                  <a:lnTo>
                    <a:pt x="165154" y="118893"/>
                  </a:lnTo>
                  <a:lnTo>
                    <a:pt x="164273" y="117995"/>
                  </a:lnTo>
                  <a:lnTo>
                    <a:pt x="161844" y="117392"/>
                  </a:lnTo>
                  <a:lnTo>
                    <a:pt x="158844" y="117380"/>
                  </a:lnTo>
                  <a:lnTo>
                    <a:pt x="152107" y="113978"/>
                  </a:lnTo>
                  <a:lnTo>
                    <a:pt x="151360" y="113402"/>
                  </a:lnTo>
                  <a:lnTo>
                    <a:pt x="146071" y="113977"/>
                  </a:lnTo>
                  <a:lnTo>
                    <a:pt x="138144" y="115662"/>
                  </a:lnTo>
                  <a:lnTo>
                    <a:pt x="132098" y="117738"/>
                  </a:lnTo>
                  <a:lnTo>
                    <a:pt x="125853" y="121436"/>
                  </a:lnTo>
                  <a:lnTo>
                    <a:pt x="123320" y="124237"/>
                  </a:lnTo>
                  <a:lnTo>
                    <a:pt x="120385" y="125724"/>
                  </a:lnTo>
                  <a:lnTo>
                    <a:pt x="116205" y="126829"/>
                  </a:lnTo>
                  <a:lnTo>
                    <a:pt x="108744" y="126410"/>
                  </a:lnTo>
                  <a:lnTo>
                    <a:pt x="100973" y="125005"/>
                  </a:lnTo>
                  <a:lnTo>
                    <a:pt x="92622" y="123493"/>
                  </a:lnTo>
                  <a:lnTo>
                    <a:pt x="88116" y="124328"/>
                  </a:lnTo>
                  <a:lnTo>
                    <a:pt x="82013" y="123702"/>
                  </a:lnTo>
                  <a:lnTo>
                    <a:pt x="72810" y="121895"/>
                  </a:lnTo>
                  <a:lnTo>
                    <a:pt x="65956" y="121346"/>
                  </a:lnTo>
                  <a:lnTo>
                    <a:pt x="59199" y="122411"/>
                  </a:lnTo>
                  <a:lnTo>
                    <a:pt x="58064" y="121598"/>
                  </a:lnTo>
                  <a:lnTo>
                    <a:pt x="57815" y="120666"/>
                  </a:lnTo>
                  <a:lnTo>
                    <a:pt x="58076" y="119345"/>
                  </a:lnTo>
                  <a:lnTo>
                    <a:pt x="59029" y="118281"/>
                  </a:lnTo>
                  <a:lnTo>
                    <a:pt x="60666" y="117476"/>
                  </a:lnTo>
                  <a:lnTo>
                    <a:pt x="61529" y="116657"/>
                  </a:lnTo>
                  <a:lnTo>
                    <a:pt x="61620" y="115824"/>
                  </a:lnTo>
                  <a:lnTo>
                    <a:pt x="59783" y="114489"/>
                  </a:lnTo>
                  <a:lnTo>
                    <a:pt x="56019" y="112648"/>
                  </a:lnTo>
                  <a:lnTo>
                    <a:pt x="54468" y="111493"/>
                  </a:lnTo>
                  <a:lnTo>
                    <a:pt x="54088" y="111208"/>
                  </a:lnTo>
                  <a:lnTo>
                    <a:pt x="53987" y="110172"/>
                  </a:lnTo>
                  <a:lnTo>
                    <a:pt x="53205" y="109359"/>
                  </a:lnTo>
                  <a:lnTo>
                    <a:pt x="51743" y="108764"/>
                  </a:lnTo>
                  <a:lnTo>
                    <a:pt x="50611" y="107688"/>
                  </a:lnTo>
                  <a:lnTo>
                    <a:pt x="49813" y="106127"/>
                  </a:lnTo>
                  <a:lnTo>
                    <a:pt x="49985" y="104654"/>
                  </a:lnTo>
                  <a:lnTo>
                    <a:pt x="51128" y="103274"/>
                  </a:lnTo>
                  <a:lnTo>
                    <a:pt x="52590" y="102675"/>
                  </a:lnTo>
                  <a:lnTo>
                    <a:pt x="54373" y="102861"/>
                  </a:lnTo>
                  <a:lnTo>
                    <a:pt x="55116" y="102469"/>
                  </a:lnTo>
                  <a:lnTo>
                    <a:pt x="54818" y="101501"/>
                  </a:lnTo>
                  <a:lnTo>
                    <a:pt x="53075" y="100263"/>
                  </a:lnTo>
                  <a:lnTo>
                    <a:pt x="49882" y="98757"/>
                  </a:lnTo>
                  <a:lnTo>
                    <a:pt x="46632" y="99578"/>
                  </a:lnTo>
                  <a:lnTo>
                    <a:pt x="43322" y="102721"/>
                  </a:lnTo>
                  <a:lnTo>
                    <a:pt x="40935" y="103231"/>
                  </a:lnTo>
                  <a:lnTo>
                    <a:pt x="39473" y="101110"/>
                  </a:lnTo>
                  <a:lnTo>
                    <a:pt x="36871" y="99850"/>
                  </a:lnTo>
                  <a:lnTo>
                    <a:pt x="33133" y="99454"/>
                  </a:lnTo>
                  <a:lnTo>
                    <a:pt x="30832" y="98643"/>
                  </a:lnTo>
                  <a:lnTo>
                    <a:pt x="29968" y="97417"/>
                  </a:lnTo>
                  <a:lnTo>
                    <a:pt x="28333" y="96471"/>
                  </a:lnTo>
                  <a:lnTo>
                    <a:pt x="24727" y="95473"/>
                  </a:lnTo>
                  <a:lnTo>
                    <a:pt x="24679" y="94514"/>
                  </a:lnTo>
                  <a:lnTo>
                    <a:pt x="25264" y="94289"/>
                  </a:lnTo>
                  <a:lnTo>
                    <a:pt x="26543" y="94198"/>
                  </a:lnTo>
                  <a:lnTo>
                    <a:pt x="28262" y="93996"/>
                  </a:lnTo>
                  <a:lnTo>
                    <a:pt x="28536" y="93453"/>
                  </a:lnTo>
                  <a:lnTo>
                    <a:pt x="28555" y="92957"/>
                  </a:lnTo>
                  <a:lnTo>
                    <a:pt x="27202" y="92325"/>
                  </a:lnTo>
                  <a:lnTo>
                    <a:pt x="25830" y="91895"/>
                  </a:lnTo>
                  <a:lnTo>
                    <a:pt x="25118" y="91466"/>
                  </a:lnTo>
                  <a:lnTo>
                    <a:pt x="24660" y="90992"/>
                  </a:lnTo>
                  <a:lnTo>
                    <a:pt x="24569" y="90494"/>
                  </a:lnTo>
                  <a:lnTo>
                    <a:pt x="24971" y="90156"/>
                  </a:lnTo>
                  <a:lnTo>
                    <a:pt x="25520" y="90133"/>
                  </a:lnTo>
                  <a:lnTo>
                    <a:pt x="26068" y="89839"/>
                  </a:lnTo>
                  <a:lnTo>
                    <a:pt x="26373" y="88685"/>
                  </a:lnTo>
                  <a:lnTo>
                    <a:pt x="27111" y="87736"/>
                  </a:lnTo>
                  <a:lnTo>
                    <a:pt x="27640" y="87396"/>
                  </a:lnTo>
                  <a:lnTo>
                    <a:pt x="27605" y="86694"/>
                  </a:lnTo>
                  <a:lnTo>
                    <a:pt x="27057" y="86038"/>
                  </a:lnTo>
                  <a:lnTo>
                    <a:pt x="26306" y="85472"/>
                  </a:lnTo>
                  <a:lnTo>
                    <a:pt x="25206" y="85129"/>
                  </a:lnTo>
                  <a:lnTo>
                    <a:pt x="21773" y="84137"/>
                  </a:lnTo>
                  <a:lnTo>
                    <a:pt x="20035" y="82754"/>
                  </a:lnTo>
                  <a:lnTo>
                    <a:pt x="18974" y="82704"/>
                  </a:lnTo>
                  <a:lnTo>
                    <a:pt x="17292" y="81937"/>
                  </a:lnTo>
                  <a:lnTo>
                    <a:pt x="15478" y="80736"/>
                  </a:lnTo>
                  <a:lnTo>
                    <a:pt x="13909" y="79029"/>
                  </a:lnTo>
                  <a:lnTo>
                    <a:pt x="12211" y="77921"/>
                  </a:lnTo>
                  <a:lnTo>
                    <a:pt x="11773" y="77467"/>
                  </a:lnTo>
                  <a:lnTo>
                    <a:pt x="11734" y="77036"/>
                  </a:lnTo>
                  <a:lnTo>
                    <a:pt x="12045" y="76559"/>
                  </a:lnTo>
                  <a:lnTo>
                    <a:pt x="12034" y="76037"/>
                  </a:lnTo>
                  <a:lnTo>
                    <a:pt x="11587" y="74360"/>
                  </a:lnTo>
                  <a:lnTo>
                    <a:pt x="11885" y="72585"/>
                  </a:lnTo>
                  <a:lnTo>
                    <a:pt x="11807" y="70919"/>
                  </a:lnTo>
                  <a:lnTo>
                    <a:pt x="11790" y="70168"/>
                  </a:lnTo>
                  <a:lnTo>
                    <a:pt x="11462" y="69939"/>
                  </a:lnTo>
                  <a:lnTo>
                    <a:pt x="11168" y="70190"/>
                  </a:lnTo>
                  <a:lnTo>
                    <a:pt x="10747" y="70509"/>
                  </a:lnTo>
                  <a:lnTo>
                    <a:pt x="10337" y="70568"/>
                  </a:lnTo>
                  <a:lnTo>
                    <a:pt x="9086" y="69353"/>
                  </a:lnTo>
                  <a:lnTo>
                    <a:pt x="7504" y="66869"/>
                  </a:lnTo>
                  <a:lnTo>
                    <a:pt x="6430" y="66041"/>
                  </a:lnTo>
                  <a:lnTo>
                    <a:pt x="4338" y="64902"/>
                  </a:lnTo>
                  <a:lnTo>
                    <a:pt x="2583" y="63944"/>
                  </a:lnTo>
                  <a:lnTo>
                    <a:pt x="1317" y="61867"/>
                  </a:lnTo>
                  <a:lnTo>
                    <a:pt x="0" y="60267"/>
                  </a:lnTo>
                  <a:lnTo>
                    <a:pt x="866" y="59592"/>
                  </a:lnTo>
                  <a:lnTo>
                    <a:pt x="5889" y="58653"/>
                  </a:lnTo>
                  <a:lnTo>
                    <a:pt x="8223" y="59578"/>
                  </a:lnTo>
                  <a:lnTo>
                    <a:pt x="9270" y="59242"/>
                  </a:lnTo>
                  <a:lnTo>
                    <a:pt x="10296" y="58491"/>
                  </a:lnTo>
                  <a:lnTo>
                    <a:pt x="10855" y="57893"/>
                  </a:lnTo>
                  <a:lnTo>
                    <a:pt x="10959" y="57255"/>
                  </a:lnTo>
                  <a:lnTo>
                    <a:pt x="11464" y="56459"/>
                  </a:lnTo>
                  <a:lnTo>
                    <a:pt x="13161" y="56086"/>
                  </a:lnTo>
                  <a:lnTo>
                    <a:pt x="17646" y="56570"/>
                  </a:lnTo>
                  <a:lnTo>
                    <a:pt x="19456" y="55457"/>
                  </a:lnTo>
                  <a:lnTo>
                    <a:pt x="20125" y="54850"/>
                  </a:lnTo>
                  <a:lnTo>
                    <a:pt x="20533" y="53510"/>
                  </a:lnTo>
                  <a:lnTo>
                    <a:pt x="21006" y="52433"/>
                  </a:lnTo>
                  <a:lnTo>
                    <a:pt x="22615" y="51857"/>
                  </a:lnTo>
                  <a:lnTo>
                    <a:pt x="22587" y="50874"/>
                  </a:lnTo>
                  <a:lnTo>
                    <a:pt x="22343" y="49802"/>
                  </a:lnTo>
                  <a:lnTo>
                    <a:pt x="23278" y="47411"/>
                  </a:lnTo>
                  <a:lnTo>
                    <a:pt x="23846" y="46429"/>
                  </a:lnTo>
                  <a:lnTo>
                    <a:pt x="24755" y="46069"/>
                  </a:lnTo>
                  <a:lnTo>
                    <a:pt x="25854" y="45316"/>
                  </a:lnTo>
                  <a:lnTo>
                    <a:pt x="27757" y="43746"/>
                  </a:lnTo>
                  <a:lnTo>
                    <a:pt x="27314" y="42381"/>
                  </a:lnTo>
                  <a:lnTo>
                    <a:pt x="27698" y="41368"/>
                  </a:lnTo>
                  <a:lnTo>
                    <a:pt x="29683" y="38899"/>
                  </a:lnTo>
                  <a:lnTo>
                    <a:pt x="31197" y="36517"/>
                  </a:lnTo>
                  <a:lnTo>
                    <a:pt x="31171" y="35324"/>
                  </a:lnTo>
                  <a:lnTo>
                    <a:pt x="31391" y="34281"/>
                  </a:lnTo>
                  <a:lnTo>
                    <a:pt x="32725" y="33138"/>
                  </a:lnTo>
                  <a:lnTo>
                    <a:pt x="34133" y="31648"/>
                  </a:lnTo>
                  <a:lnTo>
                    <a:pt x="35988" y="26992"/>
                  </a:lnTo>
                  <a:lnTo>
                    <a:pt x="36649" y="26208"/>
                  </a:lnTo>
                  <a:lnTo>
                    <a:pt x="37867" y="25320"/>
                  </a:lnTo>
                  <a:lnTo>
                    <a:pt x="38774" y="24439"/>
                  </a:lnTo>
                  <a:lnTo>
                    <a:pt x="38871" y="21373"/>
                  </a:lnTo>
                  <a:lnTo>
                    <a:pt x="39717" y="20486"/>
                  </a:lnTo>
                  <a:lnTo>
                    <a:pt x="41352" y="19492"/>
                  </a:lnTo>
                  <a:lnTo>
                    <a:pt x="42970" y="17890"/>
                  </a:lnTo>
                  <a:lnTo>
                    <a:pt x="44287" y="15997"/>
                  </a:lnTo>
                  <a:lnTo>
                    <a:pt x="45304" y="15113"/>
                  </a:lnTo>
                  <a:lnTo>
                    <a:pt x="46649" y="14877"/>
                  </a:lnTo>
                  <a:lnTo>
                    <a:pt x="48109" y="14133"/>
                  </a:lnTo>
                  <a:lnTo>
                    <a:pt x="49744" y="13854"/>
                  </a:lnTo>
                  <a:lnTo>
                    <a:pt x="51324" y="14220"/>
                  </a:lnTo>
                  <a:lnTo>
                    <a:pt x="52330" y="14030"/>
                  </a:lnTo>
                  <a:lnTo>
                    <a:pt x="53842" y="13109"/>
                  </a:lnTo>
                  <a:lnTo>
                    <a:pt x="57712" y="9629"/>
                  </a:lnTo>
                  <a:lnTo>
                    <a:pt x="58262" y="8933"/>
                  </a:lnTo>
                  <a:lnTo>
                    <a:pt x="59063" y="8454"/>
                  </a:lnTo>
                  <a:lnTo>
                    <a:pt x="62201" y="7261"/>
                  </a:lnTo>
                  <a:lnTo>
                    <a:pt x="62998" y="6059"/>
                  </a:lnTo>
                  <a:lnTo>
                    <a:pt x="64073" y="4978"/>
                  </a:lnTo>
                  <a:lnTo>
                    <a:pt x="65470" y="5059"/>
                  </a:lnTo>
                  <a:lnTo>
                    <a:pt x="70016" y="7728"/>
                  </a:lnTo>
                  <a:lnTo>
                    <a:pt x="74892" y="7563"/>
                  </a:lnTo>
                  <a:lnTo>
                    <a:pt x="75784" y="7662"/>
                  </a:lnTo>
                  <a:lnTo>
                    <a:pt x="76071" y="7717"/>
                  </a:lnTo>
                  <a:lnTo>
                    <a:pt x="76667" y="7936"/>
                  </a:lnTo>
                  <a:lnTo>
                    <a:pt x="83143" y="9256"/>
                  </a:lnTo>
                  <a:lnTo>
                    <a:pt x="84149" y="9109"/>
                  </a:lnTo>
                  <a:lnTo>
                    <a:pt x="84423" y="9003"/>
                  </a:lnTo>
                  <a:lnTo>
                    <a:pt x="87032" y="10095"/>
                  </a:lnTo>
                  <a:lnTo>
                    <a:pt x="89336" y="9950"/>
                  </a:lnTo>
                  <a:lnTo>
                    <a:pt x="91526" y="9193"/>
                  </a:lnTo>
                  <a:lnTo>
                    <a:pt x="93806" y="8937"/>
                  </a:lnTo>
                  <a:lnTo>
                    <a:pt x="95902" y="9390"/>
                  </a:lnTo>
                  <a:lnTo>
                    <a:pt x="97496" y="10927"/>
                  </a:lnTo>
                  <a:lnTo>
                    <a:pt x="101629" y="14184"/>
                  </a:lnTo>
                  <a:lnTo>
                    <a:pt x="102856" y="15396"/>
                  </a:lnTo>
                  <a:lnTo>
                    <a:pt x="104752" y="15217"/>
                  </a:lnTo>
                  <a:lnTo>
                    <a:pt x="106846" y="14610"/>
                  </a:lnTo>
                  <a:lnTo>
                    <a:pt x="108964" y="12432"/>
                  </a:lnTo>
                  <a:lnTo>
                    <a:pt x="115480" y="9961"/>
                  </a:lnTo>
                  <a:lnTo>
                    <a:pt x="120455" y="9350"/>
                  </a:lnTo>
                  <a:lnTo>
                    <a:pt x="125307" y="8360"/>
                  </a:lnTo>
                  <a:lnTo>
                    <a:pt x="130924" y="7656"/>
                  </a:lnTo>
                  <a:lnTo>
                    <a:pt x="132549" y="5629"/>
                  </a:lnTo>
                  <a:lnTo>
                    <a:pt x="133450" y="4248"/>
                  </a:lnTo>
                  <a:lnTo>
                    <a:pt x="134085" y="1690"/>
                  </a:lnTo>
                  <a:lnTo>
                    <a:pt x="137108" y="948"/>
                  </a:lnTo>
                  <a:lnTo>
                    <a:pt x="139984" y="425"/>
                  </a:lnTo>
                  <a:lnTo>
                    <a:pt x="141012" y="102"/>
                  </a:lnTo>
                  <a:lnTo>
                    <a:pt x="143109" y="0"/>
                  </a:lnTo>
                  <a:lnTo>
                    <a:pt x="144735" y="217"/>
                  </a:lnTo>
                  <a:lnTo>
                    <a:pt x="147249" y="1481"/>
                  </a:lnTo>
                  <a:lnTo>
                    <a:pt x="149013" y="3067"/>
                  </a:lnTo>
                  <a:lnTo>
                    <a:pt x="149708" y="4325"/>
                  </a:lnTo>
                  <a:lnTo>
                    <a:pt x="151215" y="6100"/>
                  </a:lnTo>
                  <a:lnTo>
                    <a:pt x="152800" y="8594"/>
                  </a:lnTo>
                  <a:lnTo>
                    <a:pt x="154543" y="11906"/>
                  </a:lnTo>
                  <a:lnTo>
                    <a:pt x="154925" y="13582"/>
                  </a:lnTo>
                  <a:lnTo>
                    <a:pt x="155584" y="15390"/>
                  </a:lnTo>
                  <a:lnTo>
                    <a:pt x="156888" y="17590"/>
                  </a:lnTo>
                  <a:lnTo>
                    <a:pt x="159371" y="20023"/>
                  </a:lnTo>
                  <a:lnTo>
                    <a:pt x="159717" y="20485"/>
                  </a:lnTo>
                  <a:lnTo>
                    <a:pt x="160844" y="22198"/>
                  </a:lnTo>
                  <a:lnTo>
                    <a:pt x="163016" y="25985"/>
                  </a:lnTo>
                  <a:lnTo>
                    <a:pt x="164832" y="27500"/>
                  </a:lnTo>
                  <a:lnTo>
                    <a:pt x="166419" y="29147"/>
                  </a:lnTo>
                  <a:lnTo>
                    <a:pt x="167179" y="30805"/>
                  </a:lnTo>
                  <a:lnTo>
                    <a:pt x="168317" y="32309"/>
                  </a:lnTo>
                  <a:lnTo>
                    <a:pt x="170980" y="34300"/>
                  </a:lnTo>
                  <a:lnTo>
                    <a:pt x="173137" y="36109"/>
                  </a:lnTo>
                  <a:lnTo>
                    <a:pt x="174867" y="41302"/>
                  </a:lnTo>
                  <a:lnTo>
                    <a:pt x="176076" y="43687"/>
                  </a:lnTo>
                  <a:lnTo>
                    <a:pt x="176845" y="45511"/>
                  </a:lnTo>
                  <a:lnTo>
                    <a:pt x="176473" y="49200"/>
                  </a:lnTo>
                  <a:lnTo>
                    <a:pt x="176953" y="50776"/>
                  </a:lnTo>
                  <a:lnTo>
                    <a:pt x="175964" y="53652"/>
                  </a:lnTo>
                  <a:lnTo>
                    <a:pt x="174184" y="59435"/>
                  </a:lnTo>
                  <a:lnTo>
                    <a:pt x="173755" y="64024"/>
                  </a:lnTo>
                  <a:lnTo>
                    <a:pt x="174062" y="66495"/>
                  </a:lnTo>
                  <a:lnTo>
                    <a:pt x="174105" y="68081"/>
                  </a:lnTo>
                  <a:lnTo>
                    <a:pt x="174534" y="69091"/>
                  </a:lnTo>
                  <a:lnTo>
                    <a:pt x="175005" y="71179"/>
                  </a:lnTo>
                  <a:lnTo>
                    <a:pt x="175083" y="72995"/>
                  </a:lnTo>
                  <a:lnTo>
                    <a:pt x="174444" y="73513"/>
                  </a:lnTo>
                  <a:lnTo>
                    <a:pt x="173548" y="73940"/>
                  </a:lnTo>
                  <a:lnTo>
                    <a:pt x="173202" y="74319"/>
                  </a:lnTo>
                  <a:lnTo>
                    <a:pt x="174025" y="75139"/>
                  </a:lnTo>
                  <a:lnTo>
                    <a:pt x="175143" y="76661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55" name="ee4p_IT_2_37365">
              <a:extLst>
                <a:ext uri="{FF2B5EF4-FFF2-40B4-BE49-F238E27FC236}">
                  <a16:creationId xmlns:a16="http://schemas.microsoft.com/office/drawing/2014/main" id="{7078E76B-8BDD-2B90-8043-93599E26CD1A}"/>
                </a:ext>
              </a:extLst>
            </p:cNvPr>
            <p:cNvSpPr>
              <a:spLocks noChangeAspect="1"/>
            </p:cNvSpPr>
            <p:nvPr>
              <p:custDataLst>
                <p:tags r:id="rId309"/>
              </p:custDataLst>
            </p:nvPr>
          </p:nvSpPr>
          <p:spPr>
            <a:xfrm>
              <a:off x="6698747" y="3224035"/>
              <a:ext cx="329292" cy="315034"/>
            </a:xfrm>
            <a:custGeom>
              <a:avLst/>
              <a:gdLst/>
              <a:ahLst/>
              <a:cxnLst/>
              <a:rect l="l" t="t" r="r" b="b"/>
              <a:pathLst>
                <a:path w="262208" h="244205">
                  <a:moveTo>
                    <a:pt x="129930" y="85000"/>
                  </a:moveTo>
                  <a:lnTo>
                    <a:pt x="128546" y="85198"/>
                  </a:lnTo>
                  <a:lnTo>
                    <a:pt x="127568" y="86492"/>
                  </a:lnTo>
                  <a:lnTo>
                    <a:pt x="128220" y="87586"/>
                  </a:lnTo>
                  <a:lnTo>
                    <a:pt x="129522" y="87389"/>
                  </a:lnTo>
                  <a:lnTo>
                    <a:pt x="130172" y="85994"/>
                  </a:lnTo>
                  <a:close/>
                  <a:moveTo>
                    <a:pt x="122539" y="0"/>
                  </a:moveTo>
                  <a:lnTo>
                    <a:pt x="123152" y="199"/>
                  </a:lnTo>
                  <a:lnTo>
                    <a:pt x="123243" y="593"/>
                  </a:lnTo>
                  <a:lnTo>
                    <a:pt x="122452" y="1507"/>
                  </a:lnTo>
                  <a:lnTo>
                    <a:pt x="121684" y="2719"/>
                  </a:lnTo>
                  <a:lnTo>
                    <a:pt x="122200" y="4100"/>
                  </a:lnTo>
                  <a:lnTo>
                    <a:pt x="124718" y="6870"/>
                  </a:lnTo>
                  <a:lnTo>
                    <a:pt x="126091" y="8988"/>
                  </a:lnTo>
                  <a:lnTo>
                    <a:pt x="127378" y="10579"/>
                  </a:lnTo>
                  <a:lnTo>
                    <a:pt x="129388" y="11417"/>
                  </a:lnTo>
                  <a:lnTo>
                    <a:pt x="132029" y="11929"/>
                  </a:lnTo>
                  <a:lnTo>
                    <a:pt x="134266" y="12114"/>
                  </a:lnTo>
                  <a:lnTo>
                    <a:pt x="136605" y="12714"/>
                  </a:lnTo>
                  <a:lnTo>
                    <a:pt x="144636" y="14193"/>
                  </a:lnTo>
                  <a:lnTo>
                    <a:pt x="148678" y="14602"/>
                  </a:lnTo>
                  <a:lnTo>
                    <a:pt x="151740" y="14668"/>
                  </a:lnTo>
                  <a:lnTo>
                    <a:pt x="156383" y="15648"/>
                  </a:lnTo>
                  <a:lnTo>
                    <a:pt x="155934" y="17241"/>
                  </a:lnTo>
                  <a:lnTo>
                    <a:pt x="154992" y="17639"/>
                  </a:lnTo>
                  <a:lnTo>
                    <a:pt x="153360" y="18567"/>
                  </a:lnTo>
                  <a:lnTo>
                    <a:pt x="151486" y="19839"/>
                  </a:lnTo>
                  <a:lnTo>
                    <a:pt x="149738" y="21271"/>
                  </a:lnTo>
                  <a:lnTo>
                    <a:pt x="149268" y="22820"/>
                  </a:lnTo>
                  <a:lnTo>
                    <a:pt x="149741" y="23835"/>
                  </a:lnTo>
                  <a:lnTo>
                    <a:pt x="150214" y="24185"/>
                  </a:lnTo>
                  <a:lnTo>
                    <a:pt x="150851" y="23874"/>
                  </a:lnTo>
                  <a:lnTo>
                    <a:pt x="151779" y="24066"/>
                  </a:lnTo>
                  <a:lnTo>
                    <a:pt x="152949" y="24620"/>
                  </a:lnTo>
                  <a:lnTo>
                    <a:pt x="154891" y="25161"/>
                  </a:lnTo>
                  <a:lnTo>
                    <a:pt x="154945" y="25694"/>
                  </a:lnTo>
                  <a:lnTo>
                    <a:pt x="154539" y="26376"/>
                  </a:lnTo>
                  <a:lnTo>
                    <a:pt x="153023" y="27592"/>
                  </a:lnTo>
                  <a:lnTo>
                    <a:pt x="151660" y="28962"/>
                  </a:lnTo>
                  <a:lnTo>
                    <a:pt x="151524" y="29800"/>
                  </a:lnTo>
                  <a:lnTo>
                    <a:pt x="151688" y="30410"/>
                  </a:lnTo>
                  <a:lnTo>
                    <a:pt x="152163" y="30778"/>
                  </a:lnTo>
                  <a:lnTo>
                    <a:pt x="154185" y="30613"/>
                  </a:lnTo>
                  <a:lnTo>
                    <a:pt x="154480" y="31113"/>
                  </a:lnTo>
                  <a:lnTo>
                    <a:pt x="153500" y="34631"/>
                  </a:lnTo>
                  <a:lnTo>
                    <a:pt x="153804" y="35231"/>
                  </a:lnTo>
                  <a:lnTo>
                    <a:pt x="155575" y="35792"/>
                  </a:lnTo>
                  <a:lnTo>
                    <a:pt x="156862" y="36638"/>
                  </a:lnTo>
                  <a:lnTo>
                    <a:pt x="159283" y="38865"/>
                  </a:lnTo>
                  <a:lnTo>
                    <a:pt x="160246" y="40669"/>
                  </a:lnTo>
                  <a:lnTo>
                    <a:pt x="159583" y="41273"/>
                  </a:lnTo>
                  <a:lnTo>
                    <a:pt x="158063" y="41573"/>
                  </a:lnTo>
                  <a:lnTo>
                    <a:pt x="156821" y="41418"/>
                  </a:lnTo>
                  <a:lnTo>
                    <a:pt x="158225" y="40328"/>
                  </a:lnTo>
                  <a:lnTo>
                    <a:pt x="154798" y="36372"/>
                  </a:lnTo>
                  <a:lnTo>
                    <a:pt x="153247" y="36379"/>
                  </a:lnTo>
                  <a:lnTo>
                    <a:pt x="151189" y="38052"/>
                  </a:lnTo>
                  <a:lnTo>
                    <a:pt x="145467" y="36360"/>
                  </a:lnTo>
                  <a:lnTo>
                    <a:pt x="144370" y="37043"/>
                  </a:lnTo>
                  <a:lnTo>
                    <a:pt x="143560" y="38384"/>
                  </a:lnTo>
                  <a:lnTo>
                    <a:pt x="141574" y="40046"/>
                  </a:lnTo>
                  <a:lnTo>
                    <a:pt x="138760" y="40781"/>
                  </a:lnTo>
                  <a:lnTo>
                    <a:pt x="135625" y="42609"/>
                  </a:lnTo>
                  <a:lnTo>
                    <a:pt x="132319" y="43903"/>
                  </a:lnTo>
                  <a:lnTo>
                    <a:pt x="129794" y="44879"/>
                  </a:lnTo>
                  <a:lnTo>
                    <a:pt x="128347" y="44707"/>
                  </a:lnTo>
                  <a:lnTo>
                    <a:pt x="130647" y="42592"/>
                  </a:lnTo>
                  <a:lnTo>
                    <a:pt x="129667" y="42554"/>
                  </a:lnTo>
                  <a:lnTo>
                    <a:pt x="126616" y="44046"/>
                  </a:lnTo>
                  <a:lnTo>
                    <a:pt x="124858" y="45308"/>
                  </a:lnTo>
                  <a:lnTo>
                    <a:pt x="124295" y="47427"/>
                  </a:lnTo>
                  <a:lnTo>
                    <a:pt x="123783" y="50918"/>
                  </a:lnTo>
                  <a:lnTo>
                    <a:pt x="125124" y="51844"/>
                  </a:lnTo>
                  <a:lnTo>
                    <a:pt x="127471" y="56439"/>
                  </a:lnTo>
                  <a:lnTo>
                    <a:pt x="130367" y="58402"/>
                  </a:lnTo>
                  <a:lnTo>
                    <a:pt x="129803" y="60275"/>
                  </a:lnTo>
                  <a:lnTo>
                    <a:pt x="129043" y="61754"/>
                  </a:lnTo>
                  <a:lnTo>
                    <a:pt x="127294" y="63033"/>
                  </a:lnTo>
                  <a:lnTo>
                    <a:pt x="125847" y="62084"/>
                  </a:lnTo>
                  <a:lnTo>
                    <a:pt x="124960" y="62108"/>
                  </a:lnTo>
                  <a:lnTo>
                    <a:pt x="124284" y="65101"/>
                  </a:lnTo>
                  <a:lnTo>
                    <a:pt x="125536" y="73077"/>
                  </a:lnTo>
                  <a:lnTo>
                    <a:pt x="127555" y="78657"/>
                  </a:lnTo>
                  <a:lnTo>
                    <a:pt x="129557" y="81088"/>
                  </a:lnTo>
                  <a:lnTo>
                    <a:pt x="134074" y="84865"/>
                  </a:lnTo>
                  <a:lnTo>
                    <a:pt x="138849" y="86854"/>
                  </a:lnTo>
                  <a:lnTo>
                    <a:pt x="147434" y="93204"/>
                  </a:lnTo>
                  <a:lnTo>
                    <a:pt x="152142" y="95210"/>
                  </a:lnTo>
                  <a:lnTo>
                    <a:pt x="153379" y="96299"/>
                  </a:lnTo>
                  <a:lnTo>
                    <a:pt x="156234" y="101182"/>
                  </a:lnTo>
                  <a:lnTo>
                    <a:pt x="158698" y="106813"/>
                  </a:lnTo>
                  <a:lnTo>
                    <a:pt x="161356" y="115626"/>
                  </a:lnTo>
                  <a:lnTo>
                    <a:pt x="163248" y="119958"/>
                  </a:lnTo>
                  <a:lnTo>
                    <a:pt x="167057" y="124847"/>
                  </a:lnTo>
                  <a:lnTo>
                    <a:pt x="174973" y="131831"/>
                  </a:lnTo>
                  <a:lnTo>
                    <a:pt x="182168" y="136928"/>
                  </a:lnTo>
                  <a:lnTo>
                    <a:pt x="188860" y="140074"/>
                  </a:lnTo>
                  <a:lnTo>
                    <a:pt x="194084" y="140626"/>
                  </a:lnTo>
                  <a:lnTo>
                    <a:pt x="206446" y="139930"/>
                  </a:lnTo>
                  <a:lnTo>
                    <a:pt x="208601" y="140231"/>
                  </a:lnTo>
                  <a:lnTo>
                    <a:pt x="210882" y="141078"/>
                  </a:lnTo>
                  <a:lnTo>
                    <a:pt x="211423" y="143257"/>
                  </a:lnTo>
                  <a:lnTo>
                    <a:pt x="210586" y="144727"/>
                  </a:lnTo>
                  <a:lnTo>
                    <a:pt x="207986" y="146256"/>
                  </a:lnTo>
                  <a:lnTo>
                    <a:pt x="205334" y="148371"/>
                  </a:lnTo>
                  <a:lnTo>
                    <a:pt x="205040" y="151248"/>
                  </a:lnTo>
                  <a:lnTo>
                    <a:pt x="207519" y="153273"/>
                  </a:lnTo>
                  <a:lnTo>
                    <a:pt x="219443" y="158639"/>
                  </a:lnTo>
                  <a:lnTo>
                    <a:pt x="231640" y="163114"/>
                  </a:lnTo>
                  <a:lnTo>
                    <a:pt x="235438" y="165396"/>
                  </a:lnTo>
                  <a:lnTo>
                    <a:pt x="239839" y="168940"/>
                  </a:lnTo>
                  <a:lnTo>
                    <a:pt x="250469" y="173806"/>
                  </a:lnTo>
                  <a:lnTo>
                    <a:pt x="252264" y="176172"/>
                  </a:lnTo>
                  <a:lnTo>
                    <a:pt x="258723" y="181254"/>
                  </a:lnTo>
                  <a:lnTo>
                    <a:pt x="261651" y="185170"/>
                  </a:lnTo>
                  <a:lnTo>
                    <a:pt x="262208" y="188204"/>
                  </a:lnTo>
                  <a:lnTo>
                    <a:pt x="260809" y="191281"/>
                  </a:lnTo>
                  <a:lnTo>
                    <a:pt x="260165" y="193451"/>
                  </a:lnTo>
                  <a:lnTo>
                    <a:pt x="259066" y="195592"/>
                  </a:lnTo>
                  <a:lnTo>
                    <a:pt x="256315" y="194781"/>
                  </a:lnTo>
                  <a:lnTo>
                    <a:pt x="253188" y="192582"/>
                  </a:lnTo>
                  <a:lnTo>
                    <a:pt x="248481" y="183625"/>
                  </a:lnTo>
                  <a:lnTo>
                    <a:pt x="239882" y="182716"/>
                  </a:lnTo>
                  <a:lnTo>
                    <a:pt x="238105" y="182054"/>
                  </a:lnTo>
                  <a:lnTo>
                    <a:pt x="235051" y="180515"/>
                  </a:lnTo>
                  <a:lnTo>
                    <a:pt x="234868" y="179499"/>
                  </a:lnTo>
                  <a:lnTo>
                    <a:pt x="234114" y="178229"/>
                  </a:lnTo>
                  <a:lnTo>
                    <a:pt x="233333" y="177800"/>
                  </a:lnTo>
                  <a:lnTo>
                    <a:pt x="230044" y="177520"/>
                  </a:lnTo>
                  <a:lnTo>
                    <a:pt x="227766" y="178972"/>
                  </a:lnTo>
                  <a:lnTo>
                    <a:pt x="225086" y="182414"/>
                  </a:lnTo>
                  <a:lnTo>
                    <a:pt x="222048" y="187359"/>
                  </a:lnTo>
                  <a:lnTo>
                    <a:pt x="218960" y="194596"/>
                  </a:lnTo>
                  <a:lnTo>
                    <a:pt x="218781" y="197514"/>
                  </a:lnTo>
                  <a:lnTo>
                    <a:pt x="220459" y="200339"/>
                  </a:lnTo>
                  <a:lnTo>
                    <a:pt x="225468" y="201914"/>
                  </a:lnTo>
                  <a:lnTo>
                    <a:pt x="229335" y="204425"/>
                  </a:lnTo>
                  <a:lnTo>
                    <a:pt x="231886" y="207045"/>
                  </a:lnTo>
                  <a:lnTo>
                    <a:pt x="232071" y="213368"/>
                  </a:lnTo>
                  <a:lnTo>
                    <a:pt x="233214" y="216950"/>
                  </a:lnTo>
                  <a:lnTo>
                    <a:pt x="231532" y="218985"/>
                  </a:lnTo>
                  <a:lnTo>
                    <a:pt x="228280" y="218457"/>
                  </a:lnTo>
                  <a:lnTo>
                    <a:pt x="223946" y="219751"/>
                  </a:lnTo>
                  <a:lnTo>
                    <a:pt x="220877" y="222063"/>
                  </a:lnTo>
                  <a:lnTo>
                    <a:pt x="219601" y="224265"/>
                  </a:lnTo>
                  <a:lnTo>
                    <a:pt x="219938" y="229965"/>
                  </a:lnTo>
                  <a:lnTo>
                    <a:pt x="219305" y="232139"/>
                  </a:lnTo>
                  <a:lnTo>
                    <a:pt x="213486" y="236239"/>
                  </a:lnTo>
                  <a:lnTo>
                    <a:pt x="210428" y="240429"/>
                  </a:lnTo>
                  <a:lnTo>
                    <a:pt x="209668" y="242166"/>
                  </a:lnTo>
                  <a:lnTo>
                    <a:pt x="208498" y="244135"/>
                  </a:lnTo>
                  <a:lnTo>
                    <a:pt x="201149" y="244205"/>
                  </a:lnTo>
                  <a:lnTo>
                    <a:pt x="199409" y="241767"/>
                  </a:lnTo>
                  <a:lnTo>
                    <a:pt x="199348" y="238144"/>
                  </a:lnTo>
                  <a:lnTo>
                    <a:pt x="200611" y="235912"/>
                  </a:lnTo>
                  <a:lnTo>
                    <a:pt x="203313" y="234867"/>
                  </a:lnTo>
                  <a:lnTo>
                    <a:pt x="205135" y="230224"/>
                  </a:lnTo>
                  <a:lnTo>
                    <a:pt x="204563" y="226865"/>
                  </a:lnTo>
                  <a:lnTo>
                    <a:pt x="205626" y="225375"/>
                  </a:lnTo>
                  <a:lnTo>
                    <a:pt x="206630" y="224321"/>
                  </a:lnTo>
                  <a:lnTo>
                    <a:pt x="208690" y="223707"/>
                  </a:lnTo>
                  <a:lnTo>
                    <a:pt x="211592" y="223118"/>
                  </a:lnTo>
                  <a:lnTo>
                    <a:pt x="211883" y="218423"/>
                  </a:lnTo>
                  <a:lnTo>
                    <a:pt x="209616" y="216285"/>
                  </a:lnTo>
                  <a:lnTo>
                    <a:pt x="208821" y="213293"/>
                  </a:lnTo>
                  <a:lnTo>
                    <a:pt x="207763" y="207746"/>
                  </a:lnTo>
                  <a:lnTo>
                    <a:pt x="204021" y="200661"/>
                  </a:lnTo>
                  <a:lnTo>
                    <a:pt x="202015" y="194325"/>
                  </a:lnTo>
                  <a:lnTo>
                    <a:pt x="200447" y="191195"/>
                  </a:lnTo>
                  <a:lnTo>
                    <a:pt x="198068" y="189561"/>
                  </a:lnTo>
                  <a:lnTo>
                    <a:pt x="193773" y="189579"/>
                  </a:lnTo>
                  <a:lnTo>
                    <a:pt x="191641" y="189113"/>
                  </a:lnTo>
                  <a:lnTo>
                    <a:pt x="184043" y="184700"/>
                  </a:lnTo>
                  <a:lnTo>
                    <a:pt x="183513" y="184028"/>
                  </a:lnTo>
                  <a:lnTo>
                    <a:pt x="183561" y="182856"/>
                  </a:lnTo>
                  <a:lnTo>
                    <a:pt x="184822" y="181080"/>
                  </a:lnTo>
                  <a:lnTo>
                    <a:pt x="183971" y="178676"/>
                  </a:lnTo>
                  <a:lnTo>
                    <a:pt x="183071" y="176405"/>
                  </a:lnTo>
                  <a:lnTo>
                    <a:pt x="181581" y="174467"/>
                  </a:lnTo>
                  <a:lnTo>
                    <a:pt x="179948" y="173459"/>
                  </a:lnTo>
                  <a:lnTo>
                    <a:pt x="176532" y="174079"/>
                  </a:lnTo>
                  <a:lnTo>
                    <a:pt x="175331" y="174561"/>
                  </a:lnTo>
                  <a:lnTo>
                    <a:pt x="173174" y="174395"/>
                  </a:lnTo>
                  <a:lnTo>
                    <a:pt x="171479" y="175257"/>
                  </a:lnTo>
                  <a:lnTo>
                    <a:pt x="170533" y="175284"/>
                  </a:lnTo>
                  <a:lnTo>
                    <a:pt x="173200" y="171877"/>
                  </a:lnTo>
                  <a:lnTo>
                    <a:pt x="172483" y="171074"/>
                  </a:lnTo>
                  <a:lnTo>
                    <a:pt x="169847" y="169674"/>
                  </a:lnTo>
                  <a:lnTo>
                    <a:pt x="166271" y="169462"/>
                  </a:lnTo>
                  <a:lnTo>
                    <a:pt x="165280" y="169293"/>
                  </a:lnTo>
                  <a:lnTo>
                    <a:pt x="164694" y="170165"/>
                  </a:lnTo>
                  <a:lnTo>
                    <a:pt x="163997" y="169684"/>
                  </a:lnTo>
                  <a:lnTo>
                    <a:pt x="164070" y="168159"/>
                  </a:lnTo>
                  <a:lnTo>
                    <a:pt x="159916" y="161328"/>
                  </a:lnTo>
                  <a:lnTo>
                    <a:pt x="157121" y="158544"/>
                  </a:lnTo>
                  <a:lnTo>
                    <a:pt x="155714" y="158047"/>
                  </a:lnTo>
                  <a:lnTo>
                    <a:pt x="153172" y="158635"/>
                  </a:lnTo>
                  <a:lnTo>
                    <a:pt x="148907" y="157414"/>
                  </a:lnTo>
                  <a:lnTo>
                    <a:pt x="146363" y="157141"/>
                  </a:lnTo>
                  <a:lnTo>
                    <a:pt x="144960" y="157435"/>
                  </a:lnTo>
                  <a:lnTo>
                    <a:pt x="142865" y="158328"/>
                  </a:lnTo>
                  <a:lnTo>
                    <a:pt x="141811" y="157738"/>
                  </a:lnTo>
                  <a:lnTo>
                    <a:pt x="141440" y="156822"/>
                  </a:lnTo>
                  <a:lnTo>
                    <a:pt x="137570" y="153977"/>
                  </a:lnTo>
                  <a:lnTo>
                    <a:pt x="132742" y="152368"/>
                  </a:lnTo>
                  <a:lnTo>
                    <a:pt x="123340" y="143293"/>
                  </a:lnTo>
                  <a:lnTo>
                    <a:pt x="120457" y="139892"/>
                  </a:lnTo>
                  <a:lnTo>
                    <a:pt x="114525" y="136145"/>
                  </a:lnTo>
                  <a:lnTo>
                    <a:pt x="110772" y="130679"/>
                  </a:lnTo>
                  <a:lnTo>
                    <a:pt x="107702" y="128672"/>
                  </a:lnTo>
                  <a:lnTo>
                    <a:pt x="103232" y="127064"/>
                  </a:lnTo>
                  <a:lnTo>
                    <a:pt x="102202" y="127265"/>
                  </a:lnTo>
                  <a:lnTo>
                    <a:pt x="100857" y="127868"/>
                  </a:lnTo>
                  <a:lnTo>
                    <a:pt x="99803" y="127954"/>
                  </a:lnTo>
                  <a:lnTo>
                    <a:pt x="98963" y="127242"/>
                  </a:lnTo>
                  <a:lnTo>
                    <a:pt x="99815" y="126509"/>
                  </a:lnTo>
                  <a:lnTo>
                    <a:pt x="100766" y="126176"/>
                  </a:lnTo>
                  <a:lnTo>
                    <a:pt x="100390" y="124081"/>
                  </a:lnTo>
                  <a:lnTo>
                    <a:pt x="95305" y="118644"/>
                  </a:lnTo>
                  <a:lnTo>
                    <a:pt x="92327" y="116890"/>
                  </a:lnTo>
                  <a:lnTo>
                    <a:pt x="91487" y="115810"/>
                  </a:lnTo>
                  <a:lnTo>
                    <a:pt x="90867" y="114331"/>
                  </a:lnTo>
                  <a:lnTo>
                    <a:pt x="90232" y="113357"/>
                  </a:lnTo>
                  <a:lnTo>
                    <a:pt x="88822" y="112798"/>
                  </a:lnTo>
                  <a:lnTo>
                    <a:pt x="87619" y="112894"/>
                  </a:lnTo>
                  <a:lnTo>
                    <a:pt x="85952" y="112521"/>
                  </a:lnTo>
                  <a:lnTo>
                    <a:pt x="86006" y="109905"/>
                  </a:lnTo>
                  <a:lnTo>
                    <a:pt x="86339" y="107893"/>
                  </a:lnTo>
                  <a:lnTo>
                    <a:pt x="86084" y="106184"/>
                  </a:lnTo>
                  <a:lnTo>
                    <a:pt x="84464" y="101686"/>
                  </a:lnTo>
                  <a:lnTo>
                    <a:pt x="81655" y="97867"/>
                  </a:lnTo>
                  <a:lnTo>
                    <a:pt x="80003" y="88722"/>
                  </a:lnTo>
                  <a:lnTo>
                    <a:pt x="78727" y="86142"/>
                  </a:lnTo>
                  <a:lnTo>
                    <a:pt x="75622" y="84182"/>
                  </a:lnTo>
                  <a:lnTo>
                    <a:pt x="68617" y="81983"/>
                  </a:lnTo>
                  <a:lnTo>
                    <a:pt x="58854" y="76070"/>
                  </a:lnTo>
                  <a:lnTo>
                    <a:pt x="56790" y="75968"/>
                  </a:lnTo>
                  <a:lnTo>
                    <a:pt x="50917" y="73666"/>
                  </a:lnTo>
                  <a:lnTo>
                    <a:pt x="47278" y="73271"/>
                  </a:lnTo>
                  <a:lnTo>
                    <a:pt x="42549" y="75339"/>
                  </a:lnTo>
                  <a:lnTo>
                    <a:pt x="36809" y="81026"/>
                  </a:lnTo>
                  <a:lnTo>
                    <a:pt x="32149" y="86915"/>
                  </a:lnTo>
                  <a:lnTo>
                    <a:pt x="30454" y="88055"/>
                  </a:lnTo>
                  <a:lnTo>
                    <a:pt x="24446" y="90059"/>
                  </a:lnTo>
                  <a:lnTo>
                    <a:pt x="19137" y="91016"/>
                  </a:lnTo>
                  <a:lnTo>
                    <a:pt x="19078" y="89509"/>
                  </a:lnTo>
                  <a:lnTo>
                    <a:pt x="18891" y="88376"/>
                  </a:lnTo>
                  <a:lnTo>
                    <a:pt x="19789" y="87127"/>
                  </a:lnTo>
                  <a:lnTo>
                    <a:pt x="21270" y="85657"/>
                  </a:lnTo>
                  <a:lnTo>
                    <a:pt x="22637" y="83812"/>
                  </a:lnTo>
                  <a:lnTo>
                    <a:pt x="23205" y="82471"/>
                  </a:lnTo>
                  <a:lnTo>
                    <a:pt x="22937" y="81581"/>
                  </a:lnTo>
                  <a:lnTo>
                    <a:pt x="22322" y="80258"/>
                  </a:lnTo>
                  <a:lnTo>
                    <a:pt x="21486" y="80162"/>
                  </a:lnTo>
                  <a:lnTo>
                    <a:pt x="16433" y="81273"/>
                  </a:lnTo>
                  <a:lnTo>
                    <a:pt x="15276" y="80986"/>
                  </a:lnTo>
                  <a:lnTo>
                    <a:pt x="11536" y="79259"/>
                  </a:lnTo>
                  <a:lnTo>
                    <a:pt x="7508" y="77134"/>
                  </a:lnTo>
                  <a:lnTo>
                    <a:pt x="6025" y="75622"/>
                  </a:lnTo>
                  <a:lnTo>
                    <a:pt x="5463" y="74093"/>
                  </a:lnTo>
                  <a:lnTo>
                    <a:pt x="5884" y="73111"/>
                  </a:lnTo>
                  <a:lnTo>
                    <a:pt x="5548" y="72157"/>
                  </a:lnTo>
                  <a:lnTo>
                    <a:pt x="4760" y="70868"/>
                  </a:lnTo>
                  <a:lnTo>
                    <a:pt x="5472" y="69403"/>
                  </a:lnTo>
                  <a:lnTo>
                    <a:pt x="6727" y="67576"/>
                  </a:lnTo>
                  <a:lnTo>
                    <a:pt x="7355" y="66337"/>
                  </a:lnTo>
                  <a:lnTo>
                    <a:pt x="8407" y="66015"/>
                  </a:lnTo>
                  <a:lnTo>
                    <a:pt x="8910" y="65259"/>
                  </a:lnTo>
                  <a:lnTo>
                    <a:pt x="8070" y="62243"/>
                  </a:lnTo>
                  <a:lnTo>
                    <a:pt x="7632" y="61760"/>
                  </a:lnTo>
                  <a:lnTo>
                    <a:pt x="6902" y="61385"/>
                  </a:lnTo>
                  <a:lnTo>
                    <a:pt x="5785" y="61343"/>
                  </a:lnTo>
                  <a:lnTo>
                    <a:pt x="3833" y="60719"/>
                  </a:lnTo>
                  <a:lnTo>
                    <a:pt x="2442" y="59675"/>
                  </a:lnTo>
                  <a:lnTo>
                    <a:pt x="2144" y="58265"/>
                  </a:lnTo>
                  <a:lnTo>
                    <a:pt x="1408" y="56909"/>
                  </a:lnTo>
                  <a:lnTo>
                    <a:pt x="156" y="55663"/>
                  </a:lnTo>
                  <a:lnTo>
                    <a:pt x="0" y="54301"/>
                  </a:lnTo>
                  <a:lnTo>
                    <a:pt x="1428" y="53580"/>
                  </a:lnTo>
                  <a:lnTo>
                    <a:pt x="3375" y="53552"/>
                  </a:lnTo>
                  <a:lnTo>
                    <a:pt x="4745" y="53817"/>
                  </a:lnTo>
                  <a:lnTo>
                    <a:pt x="7817" y="51629"/>
                  </a:lnTo>
                  <a:lnTo>
                    <a:pt x="8949" y="51436"/>
                  </a:lnTo>
                  <a:lnTo>
                    <a:pt x="9964" y="50961"/>
                  </a:lnTo>
                  <a:lnTo>
                    <a:pt x="10814" y="47971"/>
                  </a:lnTo>
                  <a:lnTo>
                    <a:pt x="11469" y="47073"/>
                  </a:lnTo>
                  <a:lnTo>
                    <a:pt x="11624" y="46546"/>
                  </a:lnTo>
                  <a:lnTo>
                    <a:pt x="11019" y="45922"/>
                  </a:lnTo>
                  <a:lnTo>
                    <a:pt x="8534" y="43813"/>
                  </a:lnTo>
                  <a:lnTo>
                    <a:pt x="7401" y="41612"/>
                  </a:lnTo>
                  <a:lnTo>
                    <a:pt x="5610" y="39142"/>
                  </a:lnTo>
                  <a:lnTo>
                    <a:pt x="3948" y="38050"/>
                  </a:lnTo>
                  <a:lnTo>
                    <a:pt x="3609" y="37201"/>
                  </a:lnTo>
                  <a:lnTo>
                    <a:pt x="3570" y="36121"/>
                  </a:lnTo>
                  <a:lnTo>
                    <a:pt x="3909" y="35171"/>
                  </a:lnTo>
                  <a:lnTo>
                    <a:pt x="6923" y="33687"/>
                  </a:lnTo>
                  <a:lnTo>
                    <a:pt x="8698" y="32103"/>
                  </a:lnTo>
                  <a:lnTo>
                    <a:pt x="9465" y="32710"/>
                  </a:lnTo>
                  <a:lnTo>
                    <a:pt x="11084" y="33354"/>
                  </a:lnTo>
                  <a:lnTo>
                    <a:pt x="15483" y="32473"/>
                  </a:lnTo>
                  <a:lnTo>
                    <a:pt x="18217" y="31588"/>
                  </a:lnTo>
                  <a:lnTo>
                    <a:pt x="20141" y="30657"/>
                  </a:lnTo>
                  <a:lnTo>
                    <a:pt x="21335" y="30822"/>
                  </a:lnTo>
                  <a:lnTo>
                    <a:pt x="25654" y="32212"/>
                  </a:lnTo>
                  <a:lnTo>
                    <a:pt x="27079" y="31505"/>
                  </a:lnTo>
                  <a:lnTo>
                    <a:pt x="30193" y="29615"/>
                  </a:lnTo>
                  <a:lnTo>
                    <a:pt x="30659" y="28621"/>
                  </a:lnTo>
                  <a:lnTo>
                    <a:pt x="33112" y="25606"/>
                  </a:lnTo>
                  <a:lnTo>
                    <a:pt x="33158" y="24869"/>
                  </a:lnTo>
                  <a:lnTo>
                    <a:pt x="32147" y="22975"/>
                  </a:lnTo>
                  <a:lnTo>
                    <a:pt x="32460" y="22559"/>
                  </a:lnTo>
                  <a:lnTo>
                    <a:pt x="35473" y="20615"/>
                  </a:lnTo>
                  <a:lnTo>
                    <a:pt x="36945" y="18890"/>
                  </a:lnTo>
                  <a:lnTo>
                    <a:pt x="38541" y="17734"/>
                  </a:lnTo>
                  <a:lnTo>
                    <a:pt x="39687" y="17708"/>
                  </a:lnTo>
                  <a:lnTo>
                    <a:pt x="40003" y="18101"/>
                  </a:lnTo>
                  <a:lnTo>
                    <a:pt x="40139" y="18908"/>
                  </a:lnTo>
                  <a:lnTo>
                    <a:pt x="40040" y="22232"/>
                  </a:lnTo>
                  <a:lnTo>
                    <a:pt x="40480" y="23255"/>
                  </a:lnTo>
                  <a:lnTo>
                    <a:pt x="42847" y="25637"/>
                  </a:lnTo>
                  <a:lnTo>
                    <a:pt x="44533" y="26993"/>
                  </a:lnTo>
                  <a:lnTo>
                    <a:pt x="48444" y="27923"/>
                  </a:lnTo>
                  <a:lnTo>
                    <a:pt x="48625" y="28368"/>
                  </a:lnTo>
                  <a:lnTo>
                    <a:pt x="47548" y="30160"/>
                  </a:lnTo>
                  <a:lnTo>
                    <a:pt x="49917" y="32299"/>
                  </a:lnTo>
                  <a:lnTo>
                    <a:pt x="50340" y="33864"/>
                  </a:lnTo>
                  <a:lnTo>
                    <a:pt x="51432" y="34744"/>
                  </a:lnTo>
                  <a:lnTo>
                    <a:pt x="52981" y="34312"/>
                  </a:lnTo>
                  <a:lnTo>
                    <a:pt x="53488" y="33488"/>
                  </a:lnTo>
                  <a:lnTo>
                    <a:pt x="52879" y="32039"/>
                  </a:lnTo>
                  <a:lnTo>
                    <a:pt x="52432" y="30521"/>
                  </a:lnTo>
                  <a:lnTo>
                    <a:pt x="52523" y="29643"/>
                  </a:lnTo>
                  <a:lnTo>
                    <a:pt x="52951" y="28633"/>
                  </a:lnTo>
                  <a:lnTo>
                    <a:pt x="54026" y="27224"/>
                  </a:lnTo>
                  <a:lnTo>
                    <a:pt x="56954" y="23993"/>
                  </a:lnTo>
                  <a:lnTo>
                    <a:pt x="58008" y="22123"/>
                  </a:lnTo>
                  <a:lnTo>
                    <a:pt x="58200" y="19228"/>
                  </a:lnTo>
                  <a:lnTo>
                    <a:pt x="58209" y="16899"/>
                  </a:lnTo>
                  <a:lnTo>
                    <a:pt x="59187" y="16334"/>
                  </a:lnTo>
                  <a:lnTo>
                    <a:pt x="61286" y="16747"/>
                  </a:lnTo>
                  <a:lnTo>
                    <a:pt x="61912" y="16701"/>
                  </a:lnTo>
                  <a:lnTo>
                    <a:pt x="62199" y="18131"/>
                  </a:lnTo>
                  <a:lnTo>
                    <a:pt x="63093" y="20405"/>
                  </a:lnTo>
                  <a:lnTo>
                    <a:pt x="64147" y="21585"/>
                  </a:lnTo>
                  <a:lnTo>
                    <a:pt x="65272" y="21865"/>
                  </a:lnTo>
                  <a:lnTo>
                    <a:pt x="66596" y="21871"/>
                  </a:lnTo>
                  <a:lnTo>
                    <a:pt x="69876" y="20481"/>
                  </a:lnTo>
                  <a:lnTo>
                    <a:pt x="72014" y="19879"/>
                  </a:lnTo>
                  <a:lnTo>
                    <a:pt x="73225" y="20044"/>
                  </a:lnTo>
                  <a:lnTo>
                    <a:pt x="73942" y="20990"/>
                  </a:lnTo>
                  <a:lnTo>
                    <a:pt x="75475" y="23471"/>
                  </a:lnTo>
                  <a:lnTo>
                    <a:pt x="76349" y="23751"/>
                  </a:lnTo>
                  <a:lnTo>
                    <a:pt x="77406" y="23467"/>
                  </a:lnTo>
                  <a:lnTo>
                    <a:pt x="77779" y="23044"/>
                  </a:lnTo>
                  <a:lnTo>
                    <a:pt x="77440" y="22090"/>
                  </a:lnTo>
                  <a:lnTo>
                    <a:pt x="76993" y="20015"/>
                  </a:lnTo>
                  <a:lnTo>
                    <a:pt x="76380" y="18410"/>
                  </a:lnTo>
                  <a:lnTo>
                    <a:pt x="75577" y="17657"/>
                  </a:lnTo>
                  <a:lnTo>
                    <a:pt x="75415" y="16677"/>
                  </a:lnTo>
                  <a:lnTo>
                    <a:pt x="75922" y="14912"/>
                  </a:lnTo>
                  <a:lnTo>
                    <a:pt x="76492" y="13436"/>
                  </a:lnTo>
                  <a:lnTo>
                    <a:pt x="77609" y="13034"/>
                  </a:lnTo>
                  <a:lnTo>
                    <a:pt x="78891" y="12847"/>
                  </a:lnTo>
                  <a:lnTo>
                    <a:pt x="80588" y="14410"/>
                  </a:lnTo>
                  <a:lnTo>
                    <a:pt x="82597" y="14904"/>
                  </a:lnTo>
                  <a:lnTo>
                    <a:pt x="84091" y="14821"/>
                  </a:lnTo>
                  <a:lnTo>
                    <a:pt x="84352" y="13909"/>
                  </a:lnTo>
                  <a:lnTo>
                    <a:pt x="84259" y="12909"/>
                  </a:lnTo>
                  <a:lnTo>
                    <a:pt x="83368" y="11625"/>
                  </a:lnTo>
                  <a:lnTo>
                    <a:pt x="83547" y="9683"/>
                  </a:lnTo>
                  <a:lnTo>
                    <a:pt x="84581" y="6060"/>
                  </a:lnTo>
                  <a:lnTo>
                    <a:pt x="85169" y="6334"/>
                  </a:lnTo>
                  <a:lnTo>
                    <a:pt x="87388" y="6373"/>
                  </a:lnTo>
                  <a:lnTo>
                    <a:pt x="89809" y="6577"/>
                  </a:lnTo>
                  <a:lnTo>
                    <a:pt x="91368" y="8056"/>
                  </a:lnTo>
                  <a:lnTo>
                    <a:pt x="92897" y="8559"/>
                  </a:lnTo>
                  <a:lnTo>
                    <a:pt x="95074" y="8719"/>
                  </a:lnTo>
                  <a:lnTo>
                    <a:pt x="96531" y="8510"/>
                  </a:lnTo>
                  <a:lnTo>
                    <a:pt x="97235" y="7954"/>
                  </a:lnTo>
                  <a:lnTo>
                    <a:pt x="98084" y="6222"/>
                  </a:lnTo>
                  <a:lnTo>
                    <a:pt x="99641" y="4074"/>
                  </a:lnTo>
                  <a:lnTo>
                    <a:pt x="102085" y="2972"/>
                  </a:lnTo>
                  <a:lnTo>
                    <a:pt x="106259" y="2766"/>
                  </a:lnTo>
                  <a:lnTo>
                    <a:pt x="108345" y="2366"/>
                  </a:lnTo>
                  <a:lnTo>
                    <a:pt x="110511" y="2389"/>
                  </a:lnTo>
                  <a:lnTo>
                    <a:pt x="112146" y="2721"/>
                  </a:lnTo>
                  <a:lnTo>
                    <a:pt x="113832" y="2682"/>
                  </a:lnTo>
                  <a:lnTo>
                    <a:pt x="118119" y="1185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56" name="ee4p_RS_1_37365">
              <a:extLst>
                <a:ext uri="{FF2B5EF4-FFF2-40B4-BE49-F238E27FC236}">
                  <a16:creationId xmlns:a16="http://schemas.microsoft.com/office/drawing/2014/main" id="{D46492F8-3DBC-ED4C-F21F-16C628E2F5CF}"/>
                </a:ext>
              </a:extLst>
            </p:cNvPr>
            <p:cNvSpPr>
              <a:spLocks noChangeAspect="1"/>
            </p:cNvSpPr>
            <p:nvPr>
              <p:custDataLst>
                <p:tags r:id="rId310"/>
              </p:custDataLst>
            </p:nvPr>
          </p:nvSpPr>
          <p:spPr>
            <a:xfrm>
              <a:off x="7037848" y="3256774"/>
              <a:ext cx="114906" cy="137403"/>
            </a:xfrm>
            <a:custGeom>
              <a:avLst/>
              <a:gdLst/>
              <a:ahLst/>
              <a:cxnLst/>
              <a:rect l="0" t="0" r="0" b="0"/>
              <a:pathLst>
                <a:path w="91497" h="106511">
                  <a:moveTo>
                    <a:pt x="19580" y="478"/>
                  </a:moveTo>
                  <a:lnTo>
                    <a:pt x="22231" y="644"/>
                  </a:lnTo>
                  <a:lnTo>
                    <a:pt x="24214" y="213"/>
                  </a:lnTo>
                  <a:lnTo>
                    <a:pt x="29241" y="755"/>
                  </a:lnTo>
                  <a:lnTo>
                    <a:pt x="30318" y="1194"/>
                  </a:lnTo>
                  <a:lnTo>
                    <a:pt x="31018" y="1676"/>
                  </a:lnTo>
                  <a:lnTo>
                    <a:pt x="32335" y="3276"/>
                  </a:lnTo>
                  <a:lnTo>
                    <a:pt x="33601" y="5353"/>
                  </a:lnTo>
                  <a:lnTo>
                    <a:pt x="35356" y="6311"/>
                  </a:lnTo>
                  <a:lnTo>
                    <a:pt x="37448" y="7450"/>
                  </a:lnTo>
                  <a:lnTo>
                    <a:pt x="38522" y="8278"/>
                  </a:lnTo>
                  <a:lnTo>
                    <a:pt x="40104" y="10762"/>
                  </a:lnTo>
                  <a:lnTo>
                    <a:pt x="41355" y="11977"/>
                  </a:lnTo>
                  <a:lnTo>
                    <a:pt x="41765" y="11918"/>
                  </a:lnTo>
                  <a:lnTo>
                    <a:pt x="42186" y="11599"/>
                  </a:lnTo>
                  <a:lnTo>
                    <a:pt x="42480" y="11348"/>
                  </a:lnTo>
                  <a:lnTo>
                    <a:pt x="42808" y="11577"/>
                  </a:lnTo>
                  <a:lnTo>
                    <a:pt x="42825" y="12328"/>
                  </a:lnTo>
                  <a:lnTo>
                    <a:pt x="42903" y="13994"/>
                  </a:lnTo>
                  <a:lnTo>
                    <a:pt x="42605" y="15769"/>
                  </a:lnTo>
                  <a:lnTo>
                    <a:pt x="43052" y="17446"/>
                  </a:lnTo>
                  <a:lnTo>
                    <a:pt x="43063" y="17968"/>
                  </a:lnTo>
                  <a:lnTo>
                    <a:pt x="42752" y="18445"/>
                  </a:lnTo>
                  <a:lnTo>
                    <a:pt x="42791" y="18876"/>
                  </a:lnTo>
                  <a:lnTo>
                    <a:pt x="43229" y="19330"/>
                  </a:lnTo>
                  <a:lnTo>
                    <a:pt x="44927" y="20438"/>
                  </a:lnTo>
                  <a:lnTo>
                    <a:pt x="46496" y="22145"/>
                  </a:lnTo>
                  <a:lnTo>
                    <a:pt x="48310" y="23346"/>
                  </a:lnTo>
                  <a:lnTo>
                    <a:pt x="49992" y="24113"/>
                  </a:lnTo>
                  <a:lnTo>
                    <a:pt x="51053" y="24163"/>
                  </a:lnTo>
                  <a:lnTo>
                    <a:pt x="52791" y="25546"/>
                  </a:lnTo>
                  <a:lnTo>
                    <a:pt x="56224" y="26538"/>
                  </a:lnTo>
                  <a:lnTo>
                    <a:pt x="57324" y="26881"/>
                  </a:lnTo>
                  <a:lnTo>
                    <a:pt x="58075" y="27447"/>
                  </a:lnTo>
                  <a:lnTo>
                    <a:pt x="58623" y="28103"/>
                  </a:lnTo>
                  <a:lnTo>
                    <a:pt x="58658" y="28805"/>
                  </a:lnTo>
                  <a:lnTo>
                    <a:pt x="58129" y="29145"/>
                  </a:lnTo>
                  <a:lnTo>
                    <a:pt x="57391" y="30094"/>
                  </a:lnTo>
                  <a:lnTo>
                    <a:pt x="57086" y="31248"/>
                  </a:lnTo>
                  <a:lnTo>
                    <a:pt x="56538" y="31542"/>
                  </a:lnTo>
                  <a:lnTo>
                    <a:pt x="55989" y="31565"/>
                  </a:lnTo>
                  <a:lnTo>
                    <a:pt x="55587" y="31903"/>
                  </a:lnTo>
                  <a:lnTo>
                    <a:pt x="55678" y="32401"/>
                  </a:lnTo>
                  <a:lnTo>
                    <a:pt x="56136" y="32875"/>
                  </a:lnTo>
                  <a:lnTo>
                    <a:pt x="56848" y="33304"/>
                  </a:lnTo>
                  <a:lnTo>
                    <a:pt x="58220" y="33734"/>
                  </a:lnTo>
                  <a:lnTo>
                    <a:pt x="59573" y="34366"/>
                  </a:lnTo>
                  <a:lnTo>
                    <a:pt x="59554" y="34862"/>
                  </a:lnTo>
                  <a:lnTo>
                    <a:pt x="59280" y="35405"/>
                  </a:lnTo>
                  <a:lnTo>
                    <a:pt x="57561" y="35607"/>
                  </a:lnTo>
                  <a:lnTo>
                    <a:pt x="56282" y="35698"/>
                  </a:lnTo>
                  <a:lnTo>
                    <a:pt x="55697" y="35923"/>
                  </a:lnTo>
                  <a:lnTo>
                    <a:pt x="55745" y="36882"/>
                  </a:lnTo>
                  <a:lnTo>
                    <a:pt x="59351" y="37880"/>
                  </a:lnTo>
                  <a:lnTo>
                    <a:pt x="60986" y="38826"/>
                  </a:lnTo>
                  <a:lnTo>
                    <a:pt x="61850" y="40052"/>
                  </a:lnTo>
                  <a:lnTo>
                    <a:pt x="64151" y="40863"/>
                  </a:lnTo>
                  <a:lnTo>
                    <a:pt x="67889" y="41259"/>
                  </a:lnTo>
                  <a:lnTo>
                    <a:pt x="70491" y="42519"/>
                  </a:lnTo>
                  <a:lnTo>
                    <a:pt x="71953" y="44640"/>
                  </a:lnTo>
                  <a:lnTo>
                    <a:pt x="74340" y="44130"/>
                  </a:lnTo>
                  <a:lnTo>
                    <a:pt x="77650" y="40987"/>
                  </a:lnTo>
                  <a:lnTo>
                    <a:pt x="80900" y="40166"/>
                  </a:lnTo>
                  <a:lnTo>
                    <a:pt x="84093" y="41672"/>
                  </a:lnTo>
                  <a:lnTo>
                    <a:pt x="85836" y="42910"/>
                  </a:lnTo>
                  <a:lnTo>
                    <a:pt x="86134" y="43878"/>
                  </a:lnTo>
                  <a:lnTo>
                    <a:pt x="85391" y="44270"/>
                  </a:lnTo>
                  <a:lnTo>
                    <a:pt x="83608" y="44084"/>
                  </a:lnTo>
                  <a:lnTo>
                    <a:pt x="82146" y="44683"/>
                  </a:lnTo>
                  <a:lnTo>
                    <a:pt x="81003" y="46063"/>
                  </a:lnTo>
                  <a:lnTo>
                    <a:pt x="80831" y="47536"/>
                  </a:lnTo>
                  <a:lnTo>
                    <a:pt x="81629" y="49097"/>
                  </a:lnTo>
                  <a:lnTo>
                    <a:pt x="82761" y="50173"/>
                  </a:lnTo>
                  <a:lnTo>
                    <a:pt x="84223" y="50768"/>
                  </a:lnTo>
                  <a:lnTo>
                    <a:pt x="85005" y="51581"/>
                  </a:lnTo>
                  <a:lnTo>
                    <a:pt x="85106" y="52617"/>
                  </a:lnTo>
                  <a:lnTo>
                    <a:pt x="85486" y="52902"/>
                  </a:lnTo>
                  <a:lnTo>
                    <a:pt x="84655" y="53379"/>
                  </a:lnTo>
                  <a:lnTo>
                    <a:pt x="83750" y="54087"/>
                  </a:lnTo>
                  <a:lnTo>
                    <a:pt x="83238" y="55320"/>
                  </a:lnTo>
                  <a:lnTo>
                    <a:pt x="83106" y="57306"/>
                  </a:lnTo>
                  <a:lnTo>
                    <a:pt x="80267" y="58857"/>
                  </a:lnTo>
                  <a:lnTo>
                    <a:pt x="79200" y="59143"/>
                  </a:lnTo>
                  <a:lnTo>
                    <a:pt x="78719" y="60169"/>
                  </a:lnTo>
                  <a:lnTo>
                    <a:pt x="77976" y="63073"/>
                  </a:lnTo>
                  <a:lnTo>
                    <a:pt x="78069" y="65256"/>
                  </a:lnTo>
                  <a:lnTo>
                    <a:pt x="78451" y="66367"/>
                  </a:lnTo>
                  <a:lnTo>
                    <a:pt x="78626" y="67271"/>
                  </a:lnTo>
                  <a:lnTo>
                    <a:pt x="79543" y="68382"/>
                  </a:lnTo>
                  <a:lnTo>
                    <a:pt x="80379" y="70087"/>
                  </a:lnTo>
                  <a:lnTo>
                    <a:pt x="80932" y="72334"/>
                  </a:lnTo>
                  <a:lnTo>
                    <a:pt x="82158" y="74067"/>
                  </a:lnTo>
                  <a:lnTo>
                    <a:pt x="85307" y="75773"/>
                  </a:lnTo>
                  <a:lnTo>
                    <a:pt x="86868" y="76766"/>
                  </a:lnTo>
                  <a:lnTo>
                    <a:pt x="88021" y="78202"/>
                  </a:lnTo>
                  <a:lnTo>
                    <a:pt x="88902" y="79502"/>
                  </a:lnTo>
                  <a:lnTo>
                    <a:pt x="91496" y="81230"/>
                  </a:lnTo>
                  <a:lnTo>
                    <a:pt x="91299" y="82464"/>
                  </a:lnTo>
                  <a:lnTo>
                    <a:pt x="90732" y="83670"/>
                  </a:lnTo>
                  <a:lnTo>
                    <a:pt x="90133" y="84236"/>
                  </a:lnTo>
                  <a:lnTo>
                    <a:pt x="88842" y="85783"/>
                  </a:lnTo>
                  <a:lnTo>
                    <a:pt x="87583" y="86655"/>
                  </a:lnTo>
                  <a:lnTo>
                    <a:pt x="85510" y="89382"/>
                  </a:lnTo>
                  <a:lnTo>
                    <a:pt x="82236" y="89528"/>
                  </a:lnTo>
                  <a:lnTo>
                    <a:pt x="81455" y="89746"/>
                  </a:lnTo>
                  <a:lnTo>
                    <a:pt x="80217" y="90491"/>
                  </a:lnTo>
                  <a:lnTo>
                    <a:pt x="79608" y="91851"/>
                  </a:lnTo>
                  <a:lnTo>
                    <a:pt x="80191" y="92944"/>
                  </a:lnTo>
                  <a:lnTo>
                    <a:pt x="80140" y="94048"/>
                  </a:lnTo>
                  <a:lnTo>
                    <a:pt x="79542" y="96195"/>
                  </a:lnTo>
                  <a:lnTo>
                    <a:pt x="80334" y="98485"/>
                  </a:lnTo>
                  <a:lnTo>
                    <a:pt x="81487" y="99536"/>
                  </a:lnTo>
                  <a:lnTo>
                    <a:pt x="81669" y="100142"/>
                  </a:lnTo>
                  <a:lnTo>
                    <a:pt x="81472" y="101215"/>
                  </a:lnTo>
                  <a:lnTo>
                    <a:pt x="79751" y="103395"/>
                  </a:lnTo>
                  <a:lnTo>
                    <a:pt x="79228" y="104202"/>
                  </a:lnTo>
                  <a:lnTo>
                    <a:pt x="77503" y="104598"/>
                  </a:lnTo>
                  <a:lnTo>
                    <a:pt x="76913" y="104391"/>
                  </a:lnTo>
                  <a:lnTo>
                    <a:pt x="76022" y="103642"/>
                  </a:lnTo>
                  <a:lnTo>
                    <a:pt x="75197" y="103421"/>
                  </a:lnTo>
                  <a:lnTo>
                    <a:pt x="73139" y="104304"/>
                  </a:lnTo>
                  <a:lnTo>
                    <a:pt x="71046" y="104846"/>
                  </a:lnTo>
                  <a:lnTo>
                    <a:pt x="69399" y="104436"/>
                  </a:lnTo>
                  <a:lnTo>
                    <a:pt x="67775" y="104382"/>
                  </a:lnTo>
                  <a:lnTo>
                    <a:pt x="66645" y="104746"/>
                  </a:lnTo>
                  <a:lnTo>
                    <a:pt x="65797" y="104887"/>
                  </a:lnTo>
                  <a:lnTo>
                    <a:pt x="64130" y="105829"/>
                  </a:lnTo>
                  <a:lnTo>
                    <a:pt x="61454" y="106510"/>
                  </a:lnTo>
                  <a:lnTo>
                    <a:pt x="60221" y="106367"/>
                  </a:lnTo>
                  <a:lnTo>
                    <a:pt x="59759" y="105481"/>
                  </a:lnTo>
                  <a:lnTo>
                    <a:pt x="59258" y="104213"/>
                  </a:lnTo>
                  <a:lnTo>
                    <a:pt x="59502" y="103638"/>
                  </a:lnTo>
                  <a:lnTo>
                    <a:pt x="61269" y="102641"/>
                  </a:lnTo>
                  <a:lnTo>
                    <a:pt x="61472" y="101687"/>
                  </a:lnTo>
                  <a:lnTo>
                    <a:pt x="63940" y="97093"/>
                  </a:lnTo>
                  <a:lnTo>
                    <a:pt x="64415" y="95596"/>
                  </a:lnTo>
                  <a:lnTo>
                    <a:pt x="64432" y="95107"/>
                  </a:lnTo>
                  <a:lnTo>
                    <a:pt x="63789" y="94782"/>
                  </a:lnTo>
                  <a:lnTo>
                    <a:pt x="62433" y="94796"/>
                  </a:lnTo>
                  <a:lnTo>
                    <a:pt x="56421" y="92927"/>
                  </a:lnTo>
                  <a:lnTo>
                    <a:pt x="56695" y="90784"/>
                  </a:lnTo>
                  <a:lnTo>
                    <a:pt x="54929" y="89628"/>
                  </a:lnTo>
                  <a:lnTo>
                    <a:pt x="53026" y="88597"/>
                  </a:lnTo>
                  <a:lnTo>
                    <a:pt x="52707" y="87446"/>
                  </a:lnTo>
                  <a:lnTo>
                    <a:pt x="50593" y="85120"/>
                  </a:lnTo>
                  <a:lnTo>
                    <a:pt x="49045" y="83814"/>
                  </a:lnTo>
                  <a:lnTo>
                    <a:pt x="47069" y="83162"/>
                  </a:lnTo>
                  <a:lnTo>
                    <a:pt x="45367" y="82206"/>
                  </a:lnTo>
                  <a:lnTo>
                    <a:pt x="44343" y="81621"/>
                  </a:lnTo>
                  <a:lnTo>
                    <a:pt x="43888" y="80533"/>
                  </a:lnTo>
                  <a:lnTo>
                    <a:pt x="43888" y="79889"/>
                  </a:lnTo>
                  <a:lnTo>
                    <a:pt x="43374" y="79267"/>
                  </a:lnTo>
                  <a:lnTo>
                    <a:pt x="42551" y="79334"/>
                  </a:lnTo>
                  <a:lnTo>
                    <a:pt x="41162" y="80200"/>
                  </a:lnTo>
                  <a:lnTo>
                    <a:pt x="39450" y="80945"/>
                  </a:lnTo>
                  <a:lnTo>
                    <a:pt x="39152" y="81487"/>
                  </a:lnTo>
                  <a:lnTo>
                    <a:pt x="39770" y="82777"/>
                  </a:lnTo>
                  <a:lnTo>
                    <a:pt x="40213" y="83595"/>
                  </a:lnTo>
                  <a:lnTo>
                    <a:pt x="40012" y="84371"/>
                  </a:lnTo>
                  <a:lnTo>
                    <a:pt x="39470" y="85357"/>
                  </a:lnTo>
                  <a:lnTo>
                    <a:pt x="36177" y="87531"/>
                  </a:lnTo>
                  <a:lnTo>
                    <a:pt x="35807" y="88294"/>
                  </a:lnTo>
                  <a:lnTo>
                    <a:pt x="36436" y="89512"/>
                  </a:lnTo>
                  <a:lnTo>
                    <a:pt x="36038" y="90078"/>
                  </a:lnTo>
                  <a:lnTo>
                    <a:pt x="33285" y="90880"/>
                  </a:lnTo>
                  <a:lnTo>
                    <a:pt x="33359" y="90215"/>
                  </a:lnTo>
                  <a:lnTo>
                    <a:pt x="33188" y="89142"/>
                  </a:lnTo>
                  <a:lnTo>
                    <a:pt x="31607" y="88002"/>
                  </a:lnTo>
                  <a:lnTo>
                    <a:pt x="29383" y="87117"/>
                  </a:lnTo>
                  <a:lnTo>
                    <a:pt x="24434" y="84084"/>
                  </a:lnTo>
                  <a:lnTo>
                    <a:pt x="22531" y="83685"/>
                  </a:lnTo>
                  <a:lnTo>
                    <a:pt x="20832" y="83330"/>
                  </a:lnTo>
                  <a:lnTo>
                    <a:pt x="18396" y="81875"/>
                  </a:lnTo>
                  <a:lnTo>
                    <a:pt x="17146" y="81621"/>
                  </a:lnTo>
                  <a:lnTo>
                    <a:pt x="15756" y="80579"/>
                  </a:lnTo>
                  <a:lnTo>
                    <a:pt x="12728" y="77071"/>
                  </a:lnTo>
                  <a:lnTo>
                    <a:pt x="10154" y="75157"/>
                  </a:lnTo>
                  <a:lnTo>
                    <a:pt x="8396" y="74189"/>
                  </a:lnTo>
                  <a:lnTo>
                    <a:pt x="7904" y="73245"/>
                  </a:lnTo>
                  <a:lnTo>
                    <a:pt x="7796" y="72274"/>
                  </a:lnTo>
                  <a:lnTo>
                    <a:pt x="7856" y="71944"/>
                  </a:lnTo>
                  <a:lnTo>
                    <a:pt x="9187" y="70568"/>
                  </a:lnTo>
                  <a:lnTo>
                    <a:pt x="10210" y="70368"/>
                  </a:lnTo>
                  <a:lnTo>
                    <a:pt x="11527" y="70323"/>
                  </a:lnTo>
                  <a:lnTo>
                    <a:pt x="12395" y="71021"/>
                  </a:lnTo>
                  <a:lnTo>
                    <a:pt x="13537" y="71169"/>
                  </a:lnTo>
                  <a:lnTo>
                    <a:pt x="14173" y="70277"/>
                  </a:lnTo>
                  <a:lnTo>
                    <a:pt x="14507" y="68991"/>
                  </a:lnTo>
                  <a:lnTo>
                    <a:pt x="14354" y="67354"/>
                  </a:lnTo>
                  <a:lnTo>
                    <a:pt x="11609" y="63541"/>
                  </a:lnTo>
                  <a:lnTo>
                    <a:pt x="9247" y="60878"/>
                  </a:lnTo>
                  <a:lnTo>
                    <a:pt x="8977" y="60290"/>
                  </a:lnTo>
                  <a:lnTo>
                    <a:pt x="9487" y="59792"/>
                  </a:lnTo>
                  <a:lnTo>
                    <a:pt x="10309" y="59524"/>
                  </a:lnTo>
                  <a:lnTo>
                    <a:pt x="11193" y="59747"/>
                  </a:lnTo>
                  <a:lnTo>
                    <a:pt x="13497" y="59939"/>
                  </a:lnTo>
                  <a:lnTo>
                    <a:pt x="15710" y="59693"/>
                  </a:lnTo>
                  <a:lnTo>
                    <a:pt x="16466" y="59044"/>
                  </a:lnTo>
                  <a:lnTo>
                    <a:pt x="16468" y="58168"/>
                  </a:lnTo>
                  <a:lnTo>
                    <a:pt x="15658" y="57355"/>
                  </a:lnTo>
                  <a:lnTo>
                    <a:pt x="13071" y="55160"/>
                  </a:lnTo>
                  <a:lnTo>
                    <a:pt x="11052" y="53226"/>
                  </a:lnTo>
                  <a:lnTo>
                    <a:pt x="8679" y="51742"/>
                  </a:lnTo>
                  <a:lnTo>
                    <a:pt x="6917" y="51145"/>
                  </a:lnTo>
                  <a:lnTo>
                    <a:pt x="6396" y="50392"/>
                  </a:lnTo>
                  <a:lnTo>
                    <a:pt x="6179" y="49586"/>
                  </a:lnTo>
                  <a:lnTo>
                    <a:pt x="6375" y="48103"/>
                  </a:lnTo>
                  <a:lnTo>
                    <a:pt x="6487" y="46221"/>
                  </a:lnTo>
                  <a:lnTo>
                    <a:pt x="6906" y="45037"/>
                  </a:lnTo>
                  <a:lnTo>
                    <a:pt x="8493" y="42799"/>
                  </a:lnTo>
                  <a:lnTo>
                    <a:pt x="10014" y="40424"/>
                  </a:lnTo>
                  <a:lnTo>
                    <a:pt x="10955" y="38137"/>
                  </a:lnTo>
                  <a:lnTo>
                    <a:pt x="11450" y="36012"/>
                  </a:lnTo>
                  <a:lnTo>
                    <a:pt x="11268" y="35402"/>
                  </a:lnTo>
                  <a:lnTo>
                    <a:pt x="10473" y="34950"/>
                  </a:lnTo>
                  <a:lnTo>
                    <a:pt x="8795" y="34491"/>
                  </a:lnTo>
                  <a:lnTo>
                    <a:pt x="6468" y="34891"/>
                  </a:lnTo>
                  <a:lnTo>
                    <a:pt x="4490" y="35663"/>
                  </a:lnTo>
                  <a:lnTo>
                    <a:pt x="3717" y="35722"/>
                  </a:lnTo>
                  <a:lnTo>
                    <a:pt x="3460" y="34771"/>
                  </a:lnTo>
                  <a:lnTo>
                    <a:pt x="3771" y="34352"/>
                  </a:lnTo>
                  <a:lnTo>
                    <a:pt x="4390" y="34402"/>
                  </a:lnTo>
                  <a:lnTo>
                    <a:pt x="4898" y="34581"/>
                  </a:lnTo>
                  <a:lnTo>
                    <a:pt x="5444" y="34150"/>
                  </a:lnTo>
                  <a:lnTo>
                    <a:pt x="5770" y="32866"/>
                  </a:lnTo>
                  <a:lnTo>
                    <a:pt x="4950" y="28396"/>
                  </a:lnTo>
                  <a:lnTo>
                    <a:pt x="6427" y="27999"/>
                  </a:lnTo>
                  <a:lnTo>
                    <a:pt x="6451" y="27348"/>
                  </a:lnTo>
                  <a:lnTo>
                    <a:pt x="6587" y="26780"/>
                  </a:lnTo>
                  <a:lnTo>
                    <a:pt x="8113" y="27559"/>
                  </a:lnTo>
                  <a:lnTo>
                    <a:pt x="10260" y="27573"/>
                  </a:lnTo>
                  <a:lnTo>
                    <a:pt x="12141" y="27416"/>
                  </a:lnTo>
                  <a:lnTo>
                    <a:pt x="12425" y="26976"/>
                  </a:lnTo>
                  <a:lnTo>
                    <a:pt x="12404" y="26335"/>
                  </a:lnTo>
                  <a:lnTo>
                    <a:pt x="12013" y="25839"/>
                  </a:lnTo>
                  <a:lnTo>
                    <a:pt x="11348" y="25433"/>
                  </a:lnTo>
                  <a:lnTo>
                    <a:pt x="10862" y="24812"/>
                  </a:lnTo>
                  <a:lnTo>
                    <a:pt x="9592" y="24541"/>
                  </a:lnTo>
                  <a:lnTo>
                    <a:pt x="5617" y="22925"/>
                  </a:lnTo>
                  <a:lnTo>
                    <a:pt x="3663" y="21207"/>
                  </a:lnTo>
                  <a:lnTo>
                    <a:pt x="3728" y="19387"/>
                  </a:lnTo>
                  <a:lnTo>
                    <a:pt x="4295" y="18388"/>
                  </a:lnTo>
                  <a:lnTo>
                    <a:pt x="4980" y="18036"/>
                  </a:lnTo>
                  <a:lnTo>
                    <a:pt x="4777" y="17699"/>
                  </a:lnTo>
                  <a:lnTo>
                    <a:pt x="2535" y="16854"/>
                  </a:lnTo>
                  <a:lnTo>
                    <a:pt x="1743" y="15677"/>
                  </a:lnTo>
                  <a:lnTo>
                    <a:pt x="2393" y="14164"/>
                  </a:lnTo>
                  <a:lnTo>
                    <a:pt x="1227" y="11100"/>
                  </a:lnTo>
                  <a:lnTo>
                    <a:pt x="0" y="9209"/>
                  </a:lnTo>
                  <a:lnTo>
                    <a:pt x="1205" y="8387"/>
                  </a:lnTo>
                  <a:lnTo>
                    <a:pt x="1372" y="7226"/>
                  </a:lnTo>
                  <a:lnTo>
                    <a:pt x="1467" y="6561"/>
                  </a:lnTo>
                  <a:lnTo>
                    <a:pt x="1963" y="6570"/>
                  </a:lnTo>
                  <a:lnTo>
                    <a:pt x="3907" y="5789"/>
                  </a:lnTo>
                  <a:lnTo>
                    <a:pt x="4613" y="5155"/>
                  </a:lnTo>
                  <a:lnTo>
                    <a:pt x="5023" y="4413"/>
                  </a:lnTo>
                  <a:lnTo>
                    <a:pt x="5489" y="4230"/>
                  </a:lnTo>
                  <a:lnTo>
                    <a:pt x="6794" y="5035"/>
                  </a:lnTo>
                  <a:lnTo>
                    <a:pt x="8167" y="5106"/>
                  </a:lnTo>
                  <a:lnTo>
                    <a:pt x="9709" y="4597"/>
                  </a:lnTo>
                  <a:lnTo>
                    <a:pt x="10862" y="3889"/>
                  </a:lnTo>
                  <a:lnTo>
                    <a:pt x="12246" y="3301"/>
                  </a:lnTo>
                  <a:lnTo>
                    <a:pt x="12875" y="2896"/>
                  </a:lnTo>
                  <a:lnTo>
                    <a:pt x="13676" y="2263"/>
                  </a:lnTo>
                  <a:lnTo>
                    <a:pt x="15295" y="388"/>
                  </a:lnTo>
                  <a:lnTo>
                    <a:pt x="17124" y="0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57" name="ee4p_SK_1_37365">
              <a:extLst>
                <a:ext uri="{FF2B5EF4-FFF2-40B4-BE49-F238E27FC236}">
                  <a16:creationId xmlns:a16="http://schemas.microsoft.com/office/drawing/2014/main" id="{039627B4-CC36-1CE9-0A94-33D8E03DD6D2}"/>
                </a:ext>
              </a:extLst>
            </p:cNvPr>
            <p:cNvSpPr>
              <a:spLocks noChangeAspect="1"/>
            </p:cNvSpPr>
            <p:nvPr>
              <p:custDataLst>
                <p:tags r:id="rId311"/>
              </p:custDataLst>
            </p:nvPr>
          </p:nvSpPr>
          <p:spPr>
            <a:xfrm>
              <a:off x="6982967" y="3132114"/>
              <a:ext cx="157620" cy="67281"/>
            </a:xfrm>
            <a:custGeom>
              <a:avLst/>
              <a:gdLst/>
              <a:ahLst/>
              <a:cxnLst/>
              <a:rect l="0" t="0" r="0" b="0"/>
              <a:pathLst>
                <a:path w="125509" h="52154">
                  <a:moveTo>
                    <a:pt x="125508" y="15038"/>
                  </a:moveTo>
                  <a:lnTo>
                    <a:pt x="125186" y="16218"/>
                  </a:lnTo>
                  <a:lnTo>
                    <a:pt x="124281" y="17591"/>
                  </a:lnTo>
                  <a:lnTo>
                    <a:pt x="123150" y="19009"/>
                  </a:lnTo>
                  <a:lnTo>
                    <a:pt x="122208" y="20721"/>
                  </a:lnTo>
                  <a:lnTo>
                    <a:pt x="120951" y="24378"/>
                  </a:lnTo>
                  <a:lnTo>
                    <a:pt x="120124" y="26062"/>
                  </a:lnTo>
                  <a:lnTo>
                    <a:pt x="116756" y="29396"/>
                  </a:lnTo>
                  <a:lnTo>
                    <a:pt x="116512" y="34025"/>
                  </a:lnTo>
                  <a:lnTo>
                    <a:pt x="116058" y="34364"/>
                  </a:lnTo>
                  <a:lnTo>
                    <a:pt x="108444" y="35930"/>
                  </a:lnTo>
                  <a:lnTo>
                    <a:pt x="107438" y="35690"/>
                  </a:lnTo>
                  <a:lnTo>
                    <a:pt x="106401" y="34789"/>
                  </a:lnTo>
                  <a:lnTo>
                    <a:pt x="105827" y="34134"/>
                  </a:lnTo>
                  <a:lnTo>
                    <a:pt x="105471" y="33651"/>
                  </a:lnTo>
                  <a:lnTo>
                    <a:pt x="104810" y="32371"/>
                  </a:lnTo>
                  <a:lnTo>
                    <a:pt x="103938" y="31462"/>
                  </a:lnTo>
                  <a:lnTo>
                    <a:pt x="102644" y="30720"/>
                  </a:lnTo>
                  <a:lnTo>
                    <a:pt x="101465" y="29857"/>
                  </a:lnTo>
                  <a:lnTo>
                    <a:pt x="99940" y="29823"/>
                  </a:lnTo>
                  <a:lnTo>
                    <a:pt x="95827" y="31039"/>
                  </a:lnTo>
                  <a:lnTo>
                    <a:pt x="92972" y="31172"/>
                  </a:lnTo>
                  <a:lnTo>
                    <a:pt x="91067" y="30782"/>
                  </a:lnTo>
                  <a:lnTo>
                    <a:pt x="88535" y="30045"/>
                  </a:lnTo>
                  <a:lnTo>
                    <a:pt x="83594" y="29929"/>
                  </a:lnTo>
                  <a:lnTo>
                    <a:pt x="80208" y="30577"/>
                  </a:lnTo>
                  <a:lnTo>
                    <a:pt x="79875" y="31479"/>
                  </a:lnTo>
                  <a:lnTo>
                    <a:pt x="76753" y="37134"/>
                  </a:lnTo>
                  <a:lnTo>
                    <a:pt x="72216" y="39215"/>
                  </a:lnTo>
                  <a:lnTo>
                    <a:pt x="68275" y="41347"/>
                  </a:lnTo>
                  <a:lnTo>
                    <a:pt x="67131" y="41778"/>
                  </a:lnTo>
                  <a:lnTo>
                    <a:pt x="65172" y="41109"/>
                  </a:lnTo>
                  <a:lnTo>
                    <a:pt x="62942" y="39843"/>
                  </a:lnTo>
                  <a:lnTo>
                    <a:pt x="61089" y="39185"/>
                  </a:lnTo>
                  <a:lnTo>
                    <a:pt x="59737" y="39475"/>
                  </a:lnTo>
                  <a:lnTo>
                    <a:pt x="58260" y="40909"/>
                  </a:lnTo>
                  <a:lnTo>
                    <a:pt x="57586" y="42362"/>
                  </a:lnTo>
                  <a:lnTo>
                    <a:pt x="53123" y="43425"/>
                  </a:lnTo>
                  <a:lnTo>
                    <a:pt x="45362" y="44053"/>
                  </a:lnTo>
                  <a:lnTo>
                    <a:pt x="42658" y="45479"/>
                  </a:lnTo>
                  <a:lnTo>
                    <a:pt x="41734" y="47195"/>
                  </a:lnTo>
                  <a:lnTo>
                    <a:pt x="41695" y="48514"/>
                  </a:lnTo>
                  <a:lnTo>
                    <a:pt x="42352" y="49635"/>
                  </a:lnTo>
                  <a:lnTo>
                    <a:pt x="41525" y="50941"/>
                  </a:lnTo>
                  <a:lnTo>
                    <a:pt x="41162" y="51486"/>
                  </a:lnTo>
                  <a:lnTo>
                    <a:pt x="35679" y="51772"/>
                  </a:lnTo>
                  <a:lnTo>
                    <a:pt x="28368" y="52153"/>
                  </a:lnTo>
                  <a:lnTo>
                    <a:pt x="23997" y="52056"/>
                  </a:lnTo>
                  <a:lnTo>
                    <a:pt x="19883" y="51964"/>
                  </a:lnTo>
                  <a:lnTo>
                    <a:pt x="17083" y="50845"/>
                  </a:lnTo>
                  <a:lnTo>
                    <a:pt x="13664" y="48657"/>
                  </a:lnTo>
                  <a:lnTo>
                    <a:pt x="10052" y="45743"/>
                  </a:lnTo>
                  <a:lnTo>
                    <a:pt x="9704" y="45675"/>
                  </a:lnTo>
                  <a:lnTo>
                    <a:pt x="9167" y="45365"/>
                  </a:lnTo>
                  <a:lnTo>
                    <a:pt x="6897" y="45147"/>
                  </a:lnTo>
                  <a:lnTo>
                    <a:pt x="6294" y="45319"/>
                  </a:lnTo>
                  <a:lnTo>
                    <a:pt x="4936" y="44371"/>
                  </a:lnTo>
                  <a:lnTo>
                    <a:pt x="4537" y="43137"/>
                  </a:lnTo>
                  <a:lnTo>
                    <a:pt x="2431" y="39892"/>
                  </a:lnTo>
                  <a:lnTo>
                    <a:pt x="60" y="34547"/>
                  </a:lnTo>
                  <a:lnTo>
                    <a:pt x="0" y="33002"/>
                  </a:lnTo>
                  <a:lnTo>
                    <a:pt x="924" y="31241"/>
                  </a:lnTo>
                  <a:lnTo>
                    <a:pt x="1783" y="29895"/>
                  </a:lnTo>
                  <a:lnTo>
                    <a:pt x="1904" y="28826"/>
                  </a:lnTo>
                  <a:lnTo>
                    <a:pt x="2000" y="28535"/>
                  </a:lnTo>
                  <a:lnTo>
                    <a:pt x="2710" y="26316"/>
                  </a:lnTo>
                  <a:lnTo>
                    <a:pt x="4435" y="23362"/>
                  </a:lnTo>
                  <a:lnTo>
                    <a:pt x="6035" y="21645"/>
                  </a:lnTo>
                  <a:lnTo>
                    <a:pt x="7203" y="21078"/>
                  </a:lnTo>
                  <a:lnTo>
                    <a:pt x="9600" y="21595"/>
                  </a:lnTo>
                  <a:lnTo>
                    <a:pt x="13708" y="22023"/>
                  </a:lnTo>
                  <a:lnTo>
                    <a:pt x="16865" y="21622"/>
                  </a:lnTo>
                  <a:lnTo>
                    <a:pt x="19808" y="20304"/>
                  </a:lnTo>
                  <a:lnTo>
                    <a:pt x="21408" y="19150"/>
                  </a:lnTo>
                  <a:lnTo>
                    <a:pt x="22775" y="17937"/>
                  </a:lnTo>
                  <a:lnTo>
                    <a:pt x="23230" y="17150"/>
                  </a:lnTo>
                  <a:lnTo>
                    <a:pt x="23837" y="16772"/>
                  </a:lnTo>
                  <a:lnTo>
                    <a:pt x="26273" y="16071"/>
                  </a:lnTo>
                  <a:lnTo>
                    <a:pt x="27048" y="15254"/>
                  </a:lnTo>
                  <a:lnTo>
                    <a:pt x="27368" y="13706"/>
                  </a:lnTo>
                  <a:lnTo>
                    <a:pt x="27579" y="11978"/>
                  </a:lnTo>
                  <a:lnTo>
                    <a:pt x="28081" y="10698"/>
                  </a:lnTo>
                  <a:lnTo>
                    <a:pt x="28707" y="9759"/>
                  </a:lnTo>
                  <a:lnTo>
                    <a:pt x="33215" y="7501"/>
                  </a:lnTo>
                  <a:lnTo>
                    <a:pt x="33619" y="6708"/>
                  </a:lnTo>
                  <a:lnTo>
                    <a:pt x="34343" y="5934"/>
                  </a:lnTo>
                  <a:lnTo>
                    <a:pt x="35675" y="5069"/>
                  </a:lnTo>
                  <a:lnTo>
                    <a:pt x="36968" y="3819"/>
                  </a:lnTo>
                  <a:lnTo>
                    <a:pt x="38338" y="3051"/>
                  </a:lnTo>
                  <a:lnTo>
                    <a:pt x="40100" y="3137"/>
                  </a:lnTo>
                  <a:lnTo>
                    <a:pt x="41725" y="2978"/>
                  </a:lnTo>
                  <a:lnTo>
                    <a:pt x="42993" y="2541"/>
                  </a:lnTo>
                  <a:lnTo>
                    <a:pt x="43550" y="2496"/>
                  </a:lnTo>
                  <a:lnTo>
                    <a:pt x="45893" y="2855"/>
                  </a:lnTo>
                  <a:lnTo>
                    <a:pt x="46314" y="4290"/>
                  </a:lnTo>
                  <a:lnTo>
                    <a:pt x="46560" y="5782"/>
                  </a:lnTo>
                  <a:lnTo>
                    <a:pt x="50564" y="5674"/>
                  </a:lnTo>
                  <a:lnTo>
                    <a:pt x="52793" y="2478"/>
                  </a:lnTo>
                  <a:lnTo>
                    <a:pt x="53946" y="2092"/>
                  </a:lnTo>
                  <a:lnTo>
                    <a:pt x="55801" y="979"/>
                  </a:lnTo>
                  <a:lnTo>
                    <a:pt x="57025" y="0"/>
                  </a:lnTo>
                  <a:lnTo>
                    <a:pt x="57867" y="613"/>
                  </a:lnTo>
                  <a:lnTo>
                    <a:pt x="59085" y="2669"/>
                  </a:lnTo>
                  <a:lnTo>
                    <a:pt x="60374" y="4323"/>
                  </a:lnTo>
                  <a:lnTo>
                    <a:pt x="61117" y="4976"/>
                  </a:lnTo>
                  <a:lnTo>
                    <a:pt x="61197" y="5484"/>
                  </a:lnTo>
                  <a:lnTo>
                    <a:pt x="61946" y="5788"/>
                  </a:lnTo>
                  <a:lnTo>
                    <a:pt x="63404" y="5972"/>
                  </a:lnTo>
                  <a:lnTo>
                    <a:pt x="64373" y="6472"/>
                  </a:lnTo>
                  <a:lnTo>
                    <a:pt x="64663" y="8008"/>
                  </a:lnTo>
                  <a:lnTo>
                    <a:pt x="64684" y="9399"/>
                  </a:lnTo>
                  <a:lnTo>
                    <a:pt x="64229" y="10393"/>
                  </a:lnTo>
                  <a:lnTo>
                    <a:pt x="63991" y="11275"/>
                  </a:lnTo>
                  <a:lnTo>
                    <a:pt x="65000" y="11620"/>
                  </a:lnTo>
                  <a:lnTo>
                    <a:pt x="66474" y="11286"/>
                  </a:lnTo>
                  <a:lnTo>
                    <a:pt x="67517" y="10789"/>
                  </a:lnTo>
                  <a:lnTo>
                    <a:pt x="70646" y="11935"/>
                  </a:lnTo>
                  <a:lnTo>
                    <a:pt x="71752" y="9376"/>
                  </a:lnTo>
                  <a:lnTo>
                    <a:pt x="72991" y="8069"/>
                  </a:lnTo>
                  <a:lnTo>
                    <a:pt x="74602" y="7461"/>
                  </a:lnTo>
                  <a:lnTo>
                    <a:pt x="76062" y="6662"/>
                  </a:lnTo>
                  <a:lnTo>
                    <a:pt x="77399" y="6097"/>
                  </a:lnTo>
                  <a:lnTo>
                    <a:pt x="78321" y="6130"/>
                  </a:lnTo>
                  <a:lnTo>
                    <a:pt x="78718" y="5894"/>
                  </a:lnTo>
                  <a:lnTo>
                    <a:pt x="79865" y="5955"/>
                  </a:lnTo>
                  <a:lnTo>
                    <a:pt x="81193" y="6213"/>
                  </a:lnTo>
                  <a:lnTo>
                    <a:pt x="82996" y="5912"/>
                  </a:lnTo>
                  <a:lnTo>
                    <a:pt x="85492" y="6536"/>
                  </a:lnTo>
                  <a:lnTo>
                    <a:pt x="87051" y="7718"/>
                  </a:lnTo>
                  <a:lnTo>
                    <a:pt x="88576" y="8118"/>
                  </a:lnTo>
                  <a:lnTo>
                    <a:pt x="90318" y="8049"/>
                  </a:lnTo>
                  <a:lnTo>
                    <a:pt x="91510" y="7398"/>
                  </a:lnTo>
                  <a:lnTo>
                    <a:pt x="93240" y="5150"/>
                  </a:lnTo>
                  <a:lnTo>
                    <a:pt x="94495" y="5186"/>
                  </a:lnTo>
                  <a:lnTo>
                    <a:pt x="96460" y="4830"/>
                  </a:lnTo>
                  <a:lnTo>
                    <a:pt x="99234" y="4850"/>
                  </a:lnTo>
                  <a:lnTo>
                    <a:pt x="105628" y="5331"/>
                  </a:lnTo>
                  <a:lnTo>
                    <a:pt x="107231" y="6192"/>
                  </a:lnTo>
                  <a:lnTo>
                    <a:pt x="111167" y="7294"/>
                  </a:lnTo>
                  <a:lnTo>
                    <a:pt x="112882" y="8565"/>
                  </a:lnTo>
                  <a:lnTo>
                    <a:pt x="113644" y="10082"/>
                  </a:lnTo>
                  <a:lnTo>
                    <a:pt x="114041" y="11128"/>
                  </a:lnTo>
                  <a:lnTo>
                    <a:pt x="118075" y="12738"/>
                  </a:lnTo>
                  <a:lnTo>
                    <a:pt x="124056" y="14793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58" name="ee4p_SI_1_37365">
              <a:extLst>
                <a:ext uri="{FF2B5EF4-FFF2-40B4-BE49-F238E27FC236}">
                  <a16:creationId xmlns:a16="http://schemas.microsoft.com/office/drawing/2014/main" id="{D66126ED-CA42-48FE-4EFF-4FDB50EE8573}"/>
                </a:ext>
              </a:extLst>
            </p:cNvPr>
            <p:cNvSpPr>
              <a:spLocks noChangeAspect="1"/>
            </p:cNvSpPr>
            <p:nvPr>
              <p:custDataLst>
                <p:tags r:id="rId312"/>
              </p:custDataLst>
            </p:nvPr>
          </p:nvSpPr>
          <p:spPr>
            <a:xfrm>
              <a:off x="6886205" y="3231912"/>
              <a:ext cx="87140" cy="51199"/>
            </a:xfrm>
            <a:custGeom>
              <a:avLst/>
              <a:gdLst/>
              <a:ahLst/>
              <a:cxnLst/>
              <a:rect l="0" t="0" r="0" b="0"/>
              <a:pathLst>
                <a:path w="69388" h="39688">
                  <a:moveTo>
                    <a:pt x="69387" y="10107"/>
                  </a:moveTo>
                  <a:lnTo>
                    <a:pt x="67429" y="9427"/>
                  </a:lnTo>
                  <a:lnTo>
                    <a:pt x="65075" y="9143"/>
                  </a:lnTo>
                  <a:lnTo>
                    <a:pt x="64632" y="9511"/>
                  </a:lnTo>
                  <a:lnTo>
                    <a:pt x="63686" y="9885"/>
                  </a:lnTo>
                  <a:lnTo>
                    <a:pt x="63207" y="10553"/>
                  </a:lnTo>
                  <a:lnTo>
                    <a:pt x="63574" y="13181"/>
                  </a:lnTo>
                  <a:lnTo>
                    <a:pt x="63002" y="13632"/>
                  </a:lnTo>
                  <a:lnTo>
                    <a:pt x="60326" y="13372"/>
                  </a:lnTo>
                  <a:lnTo>
                    <a:pt x="59443" y="13674"/>
                  </a:lnTo>
                  <a:lnTo>
                    <a:pt x="57988" y="15502"/>
                  </a:lnTo>
                  <a:lnTo>
                    <a:pt x="56498" y="16270"/>
                  </a:lnTo>
                  <a:lnTo>
                    <a:pt x="54602" y="16818"/>
                  </a:lnTo>
                  <a:lnTo>
                    <a:pt x="53203" y="17479"/>
                  </a:lnTo>
                  <a:lnTo>
                    <a:pt x="51432" y="18053"/>
                  </a:lnTo>
                  <a:lnTo>
                    <a:pt x="49922" y="18399"/>
                  </a:lnTo>
                  <a:lnTo>
                    <a:pt x="49327" y="19197"/>
                  </a:lnTo>
                  <a:lnTo>
                    <a:pt x="48964" y="20080"/>
                  </a:lnTo>
                  <a:lnTo>
                    <a:pt x="49059" y="20930"/>
                  </a:lnTo>
                  <a:lnTo>
                    <a:pt x="50592" y="22609"/>
                  </a:lnTo>
                  <a:lnTo>
                    <a:pt x="50799" y="24399"/>
                  </a:lnTo>
                  <a:lnTo>
                    <a:pt x="50633" y="26586"/>
                  </a:lnTo>
                  <a:lnTo>
                    <a:pt x="50281" y="27752"/>
                  </a:lnTo>
                  <a:lnTo>
                    <a:pt x="49676" y="28527"/>
                  </a:lnTo>
                  <a:lnTo>
                    <a:pt x="45902" y="29532"/>
                  </a:lnTo>
                  <a:lnTo>
                    <a:pt x="41987" y="31322"/>
                  </a:lnTo>
                  <a:lnTo>
                    <a:pt x="41896" y="31732"/>
                  </a:lnTo>
                  <a:lnTo>
                    <a:pt x="43682" y="33323"/>
                  </a:lnTo>
                  <a:lnTo>
                    <a:pt x="43753" y="33720"/>
                  </a:lnTo>
                  <a:lnTo>
                    <a:pt x="42276" y="34624"/>
                  </a:lnTo>
                  <a:lnTo>
                    <a:pt x="42131" y="35530"/>
                  </a:lnTo>
                  <a:lnTo>
                    <a:pt x="42300" y="36578"/>
                  </a:lnTo>
                  <a:lnTo>
                    <a:pt x="43084" y="37657"/>
                  </a:lnTo>
                  <a:lnTo>
                    <a:pt x="43367" y="38625"/>
                  </a:lnTo>
                  <a:lnTo>
                    <a:pt x="41214" y="39329"/>
                  </a:lnTo>
                  <a:lnTo>
                    <a:pt x="38303" y="39072"/>
                  </a:lnTo>
                  <a:lnTo>
                    <a:pt x="34857" y="37723"/>
                  </a:lnTo>
                  <a:lnTo>
                    <a:pt x="33649" y="37921"/>
                  </a:lnTo>
                  <a:lnTo>
                    <a:pt x="32479" y="38617"/>
                  </a:lnTo>
                  <a:lnTo>
                    <a:pt x="31285" y="38318"/>
                  </a:lnTo>
                  <a:lnTo>
                    <a:pt x="29970" y="37487"/>
                  </a:lnTo>
                  <a:lnTo>
                    <a:pt x="28111" y="35756"/>
                  </a:lnTo>
                  <a:lnTo>
                    <a:pt x="27206" y="34693"/>
                  </a:lnTo>
                  <a:lnTo>
                    <a:pt x="26834" y="33561"/>
                  </a:lnTo>
                  <a:lnTo>
                    <a:pt x="26327" y="33397"/>
                  </a:lnTo>
                  <a:lnTo>
                    <a:pt x="25556" y="33726"/>
                  </a:lnTo>
                  <a:lnTo>
                    <a:pt x="24919" y="35103"/>
                  </a:lnTo>
                  <a:lnTo>
                    <a:pt x="23198" y="37562"/>
                  </a:lnTo>
                  <a:lnTo>
                    <a:pt x="21928" y="38230"/>
                  </a:lnTo>
                  <a:lnTo>
                    <a:pt x="20006" y="38088"/>
                  </a:lnTo>
                  <a:lnTo>
                    <a:pt x="17314" y="38128"/>
                  </a:lnTo>
                  <a:lnTo>
                    <a:pt x="15640" y="38329"/>
                  </a:lnTo>
                  <a:lnTo>
                    <a:pt x="13589" y="37461"/>
                  </a:lnTo>
                  <a:lnTo>
                    <a:pt x="13092" y="37628"/>
                  </a:lnTo>
                  <a:lnTo>
                    <a:pt x="13088" y="38198"/>
                  </a:lnTo>
                  <a:lnTo>
                    <a:pt x="12325" y="39098"/>
                  </a:lnTo>
                  <a:lnTo>
                    <a:pt x="11067" y="39687"/>
                  </a:lnTo>
                  <a:lnTo>
                    <a:pt x="5241" y="38359"/>
                  </a:lnTo>
                  <a:lnTo>
                    <a:pt x="4416" y="37256"/>
                  </a:lnTo>
                  <a:lnTo>
                    <a:pt x="5729" y="36732"/>
                  </a:lnTo>
                  <a:lnTo>
                    <a:pt x="7553" y="35312"/>
                  </a:lnTo>
                  <a:lnTo>
                    <a:pt x="8795" y="35467"/>
                  </a:lnTo>
                  <a:lnTo>
                    <a:pt x="10315" y="35167"/>
                  </a:lnTo>
                  <a:lnTo>
                    <a:pt x="10978" y="34563"/>
                  </a:lnTo>
                  <a:lnTo>
                    <a:pt x="10015" y="32759"/>
                  </a:lnTo>
                  <a:lnTo>
                    <a:pt x="7594" y="30532"/>
                  </a:lnTo>
                  <a:lnTo>
                    <a:pt x="6307" y="29686"/>
                  </a:lnTo>
                  <a:lnTo>
                    <a:pt x="4536" y="29125"/>
                  </a:lnTo>
                  <a:lnTo>
                    <a:pt x="4232" y="28525"/>
                  </a:lnTo>
                  <a:lnTo>
                    <a:pt x="5212" y="25007"/>
                  </a:lnTo>
                  <a:lnTo>
                    <a:pt x="4917" y="24507"/>
                  </a:lnTo>
                  <a:lnTo>
                    <a:pt x="2895" y="24672"/>
                  </a:lnTo>
                  <a:lnTo>
                    <a:pt x="2420" y="24304"/>
                  </a:lnTo>
                  <a:lnTo>
                    <a:pt x="2256" y="23694"/>
                  </a:lnTo>
                  <a:lnTo>
                    <a:pt x="2392" y="22856"/>
                  </a:lnTo>
                  <a:lnTo>
                    <a:pt x="3755" y="21486"/>
                  </a:lnTo>
                  <a:lnTo>
                    <a:pt x="5271" y="20270"/>
                  </a:lnTo>
                  <a:lnTo>
                    <a:pt x="5677" y="19588"/>
                  </a:lnTo>
                  <a:lnTo>
                    <a:pt x="5623" y="19055"/>
                  </a:lnTo>
                  <a:lnTo>
                    <a:pt x="3681" y="18514"/>
                  </a:lnTo>
                  <a:lnTo>
                    <a:pt x="2511" y="17960"/>
                  </a:lnTo>
                  <a:lnTo>
                    <a:pt x="1583" y="17768"/>
                  </a:lnTo>
                  <a:lnTo>
                    <a:pt x="946" y="18079"/>
                  </a:lnTo>
                  <a:lnTo>
                    <a:pt x="473" y="17729"/>
                  </a:lnTo>
                  <a:lnTo>
                    <a:pt x="0" y="16714"/>
                  </a:lnTo>
                  <a:lnTo>
                    <a:pt x="470" y="15165"/>
                  </a:lnTo>
                  <a:lnTo>
                    <a:pt x="2218" y="13733"/>
                  </a:lnTo>
                  <a:lnTo>
                    <a:pt x="4092" y="12461"/>
                  </a:lnTo>
                  <a:lnTo>
                    <a:pt x="5724" y="11533"/>
                  </a:lnTo>
                  <a:lnTo>
                    <a:pt x="6666" y="11135"/>
                  </a:lnTo>
                  <a:lnTo>
                    <a:pt x="7115" y="9542"/>
                  </a:lnTo>
                  <a:lnTo>
                    <a:pt x="8087" y="9708"/>
                  </a:lnTo>
                  <a:lnTo>
                    <a:pt x="10019" y="9793"/>
                  </a:lnTo>
                  <a:lnTo>
                    <a:pt x="12174" y="10155"/>
                  </a:lnTo>
                  <a:lnTo>
                    <a:pt x="14183" y="10599"/>
                  </a:lnTo>
                  <a:lnTo>
                    <a:pt x="15949" y="11162"/>
                  </a:lnTo>
                  <a:lnTo>
                    <a:pt x="19659" y="11750"/>
                  </a:lnTo>
                  <a:lnTo>
                    <a:pt x="23034" y="12105"/>
                  </a:lnTo>
                  <a:lnTo>
                    <a:pt x="24051" y="12432"/>
                  </a:lnTo>
                  <a:lnTo>
                    <a:pt x="24882" y="12407"/>
                  </a:lnTo>
                  <a:lnTo>
                    <a:pt x="25906" y="12887"/>
                  </a:lnTo>
                  <a:lnTo>
                    <a:pt x="26511" y="12520"/>
                  </a:lnTo>
                  <a:lnTo>
                    <a:pt x="26949" y="11878"/>
                  </a:lnTo>
                  <a:lnTo>
                    <a:pt x="28789" y="11120"/>
                  </a:lnTo>
                  <a:lnTo>
                    <a:pt x="30482" y="10129"/>
                  </a:lnTo>
                  <a:lnTo>
                    <a:pt x="31672" y="8867"/>
                  </a:lnTo>
                  <a:lnTo>
                    <a:pt x="32337" y="7870"/>
                  </a:lnTo>
                  <a:lnTo>
                    <a:pt x="33501" y="7163"/>
                  </a:lnTo>
                  <a:lnTo>
                    <a:pt x="34742" y="6959"/>
                  </a:lnTo>
                  <a:lnTo>
                    <a:pt x="35876" y="6605"/>
                  </a:lnTo>
                  <a:lnTo>
                    <a:pt x="40659" y="6133"/>
                  </a:lnTo>
                  <a:lnTo>
                    <a:pt x="45573" y="6503"/>
                  </a:lnTo>
                  <a:lnTo>
                    <a:pt x="47919" y="5808"/>
                  </a:lnTo>
                  <a:lnTo>
                    <a:pt x="49849" y="4590"/>
                  </a:lnTo>
                  <a:lnTo>
                    <a:pt x="52671" y="4248"/>
                  </a:lnTo>
                  <a:lnTo>
                    <a:pt x="52818" y="4233"/>
                  </a:lnTo>
                  <a:lnTo>
                    <a:pt x="57036" y="5169"/>
                  </a:lnTo>
                  <a:lnTo>
                    <a:pt x="57360" y="4624"/>
                  </a:lnTo>
                  <a:lnTo>
                    <a:pt x="57541" y="4384"/>
                  </a:lnTo>
                  <a:lnTo>
                    <a:pt x="57461" y="1725"/>
                  </a:lnTo>
                  <a:lnTo>
                    <a:pt x="58796" y="514"/>
                  </a:lnTo>
                  <a:lnTo>
                    <a:pt x="60031" y="0"/>
                  </a:lnTo>
                  <a:lnTo>
                    <a:pt x="64244" y="168"/>
                  </a:lnTo>
                  <a:lnTo>
                    <a:pt x="64794" y="984"/>
                  </a:lnTo>
                  <a:lnTo>
                    <a:pt x="65015" y="2250"/>
                  </a:lnTo>
                  <a:lnTo>
                    <a:pt x="65390" y="3945"/>
                  </a:lnTo>
                  <a:lnTo>
                    <a:pt x="66092" y="4413"/>
                  </a:lnTo>
                  <a:lnTo>
                    <a:pt x="66476" y="5080"/>
                  </a:lnTo>
                  <a:lnTo>
                    <a:pt x="66403" y="6252"/>
                  </a:lnTo>
                  <a:lnTo>
                    <a:pt x="67226" y="7126"/>
                  </a:lnTo>
                  <a:lnTo>
                    <a:pt x="69154" y="9492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59" name="ee4p_SE_1_37365">
              <a:extLst>
                <a:ext uri="{FF2B5EF4-FFF2-40B4-BE49-F238E27FC236}">
                  <a16:creationId xmlns:a16="http://schemas.microsoft.com/office/drawing/2014/main" id="{8220A3F5-0C02-A5CB-89AD-3EF081C1478B}"/>
                </a:ext>
              </a:extLst>
            </p:cNvPr>
            <p:cNvSpPr>
              <a:spLocks noChangeAspect="1"/>
            </p:cNvSpPr>
            <p:nvPr>
              <p:custDataLst>
                <p:tags r:id="rId313"/>
              </p:custDataLst>
            </p:nvPr>
          </p:nvSpPr>
          <p:spPr>
            <a:xfrm>
              <a:off x="6824251" y="2303392"/>
              <a:ext cx="361232" cy="607983"/>
            </a:xfrm>
            <a:custGeom>
              <a:avLst/>
              <a:gdLst>
                <a:gd name="connsiteX0" fmla="*/ 129980 w 287641"/>
                <a:gd name="connsiteY0" fmla="*/ 408700 h 471291"/>
                <a:gd name="connsiteX1" fmla="*/ 131392 w 287641"/>
                <a:gd name="connsiteY1" fmla="*/ 409106 h 471291"/>
                <a:gd name="connsiteX2" fmla="*/ 132021 w 287641"/>
                <a:gd name="connsiteY2" fmla="*/ 409502 h 471291"/>
                <a:gd name="connsiteX3" fmla="*/ 130533 w 287641"/>
                <a:gd name="connsiteY3" fmla="*/ 410751 h 471291"/>
                <a:gd name="connsiteX4" fmla="*/ 130706 w 287641"/>
                <a:gd name="connsiteY4" fmla="*/ 412376 h 471291"/>
                <a:gd name="connsiteX5" fmla="*/ 130602 w 287641"/>
                <a:gd name="connsiteY5" fmla="*/ 413049 h 471291"/>
                <a:gd name="connsiteX6" fmla="*/ 126847 w 287641"/>
                <a:gd name="connsiteY6" fmla="*/ 420100 h 471291"/>
                <a:gd name="connsiteX7" fmla="*/ 125843 w 287641"/>
                <a:gd name="connsiteY7" fmla="*/ 424667 h 471291"/>
                <a:gd name="connsiteX8" fmla="*/ 124511 w 287641"/>
                <a:gd name="connsiteY8" fmla="*/ 425780 h 471291"/>
                <a:gd name="connsiteX9" fmla="*/ 118993 w 287641"/>
                <a:gd name="connsiteY9" fmla="*/ 441942 h 471291"/>
                <a:gd name="connsiteX10" fmla="*/ 117858 w 287641"/>
                <a:gd name="connsiteY10" fmla="*/ 443517 h 471291"/>
                <a:gd name="connsiteX11" fmla="*/ 116851 w 287641"/>
                <a:gd name="connsiteY11" fmla="*/ 443406 h 471291"/>
                <a:gd name="connsiteX12" fmla="*/ 116180 w 287641"/>
                <a:gd name="connsiteY12" fmla="*/ 441305 h 471291"/>
                <a:gd name="connsiteX13" fmla="*/ 116022 w 287641"/>
                <a:gd name="connsiteY13" fmla="*/ 435892 h 471291"/>
                <a:gd name="connsiteX14" fmla="*/ 116424 w 287641"/>
                <a:gd name="connsiteY14" fmla="*/ 433213 h 471291"/>
                <a:gd name="connsiteX15" fmla="*/ 121246 w 287641"/>
                <a:gd name="connsiteY15" fmla="*/ 423521 h 471291"/>
                <a:gd name="connsiteX16" fmla="*/ 123398 w 287641"/>
                <a:gd name="connsiteY16" fmla="*/ 422728 h 471291"/>
                <a:gd name="connsiteX17" fmla="*/ 126426 w 287641"/>
                <a:gd name="connsiteY17" fmla="*/ 416765 h 471291"/>
                <a:gd name="connsiteX18" fmla="*/ 127242 w 287641"/>
                <a:gd name="connsiteY18" fmla="*/ 414108 h 471291"/>
                <a:gd name="connsiteX19" fmla="*/ 128555 w 287641"/>
                <a:gd name="connsiteY19" fmla="*/ 411712 h 471291"/>
                <a:gd name="connsiteX20" fmla="*/ 129330 w 287641"/>
                <a:gd name="connsiteY20" fmla="*/ 409567 h 471291"/>
                <a:gd name="connsiteX21" fmla="*/ 171445 w 287641"/>
                <a:gd name="connsiteY21" fmla="*/ 390509 h 471291"/>
                <a:gd name="connsiteX22" fmla="*/ 172680 w 287641"/>
                <a:gd name="connsiteY22" fmla="*/ 391004 h 471291"/>
                <a:gd name="connsiteX23" fmla="*/ 175334 w 287641"/>
                <a:gd name="connsiteY23" fmla="*/ 393055 h 471291"/>
                <a:gd name="connsiteX24" fmla="*/ 173505 w 287641"/>
                <a:gd name="connsiteY24" fmla="*/ 393817 h 471291"/>
                <a:gd name="connsiteX25" fmla="*/ 172429 w 287641"/>
                <a:gd name="connsiteY25" fmla="*/ 396070 h 471291"/>
                <a:gd name="connsiteX26" fmla="*/ 170948 w 287641"/>
                <a:gd name="connsiteY26" fmla="*/ 396450 h 471291"/>
                <a:gd name="connsiteX27" fmla="*/ 169527 w 287641"/>
                <a:gd name="connsiteY27" fmla="*/ 397201 h 471291"/>
                <a:gd name="connsiteX28" fmla="*/ 169020 w 287641"/>
                <a:gd name="connsiteY28" fmla="*/ 404312 h 471291"/>
                <a:gd name="connsiteX29" fmla="*/ 171607 w 287641"/>
                <a:gd name="connsiteY29" fmla="*/ 407008 h 471291"/>
                <a:gd name="connsiteX30" fmla="*/ 170186 w 287641"/>
                <a:gd name="connsiteY30" fmla="*/ 407385 h 471291"/>
                <a:gd name="connsiteX31" fmla="*/ 168886 w 287641"/>
                <a:gd name="connsiteY31" fmla="*/ 408192 h 471291"/>
                <a:gd name="connsiteX32" fmla="*/ 167957 w 287641"/>
                <a:gd name="connsiteY32" fmla="*/ 409384 h 471291"/>
                <a:gd name="connsiteX33" fmla="*/ 167007 w 287641"/>
                <a:gd name="connsiteY33" fmla="*/ 411948 h 471291"/>
                <a:gd name="connsiteX34" fmla="*/ 163438 w 287641"/>
                <a:gd name="connsiteY34" fmla="*/ 413400 h 471291"/>
                <a:gd name="connsiteX35" fmla="*/ 162086 w 287641"/>
                <a:gd name="connsiteY35" fmla="*/ 414474 h 471291"/>
                <a:gd name="connsiteX36" fmla="*/ 160093 w 287641"/>
                <a:gd name="connsiteY36" fmla="*/ 416861 h 471291"/>
                <a:gd name="connsiteX37" fmla="*/ 159054 w 287641"/>
                <a:gd name="connsiteY37" fmla="*/ 420321 h 471291"/>
                <a:gd name="connsiteX38" fmla="*/ 157035 w 287641"/>
                <a:gd name="connsiteY38" fmla="*/ 421795 h 471291"/>
                <a:gd name="connsiteX39" fmla="*/ 154768 w 287641"/>
                <a:gd name="connsiteY39" fmla="*/ 422144 h 471291"/>
                <a:gd name="connsiteX40" fmla="*/ 156098 w 287641"/>
                <a:gd name="connsiteY40" fmla="*/ 419312 h 471291"/>
                <a:gd name="connsiteX41" fmla="*/ 157841 w 287641"/>
                <a:gd name="connsiteY41" fmla="*/ 417002 h 471291"/>
                <a:gd name="connsiteX42" fmla="*/ 156165 w 287641"/>
                <a:gd name="connsiteY42" fmla="*/ 415416 h 471291"/>
                <a:gd name="connsiteX43" fmla="*/ 155156 w 287641"/>
                <a:gd name="connsiteY43" fmla="*/ 412931 h 471291"/>
                <a:gd name="connsiteX44" fmla="*/ 153855 w 287641"/>
                <a:gd name="connsiteY44" fmla="*/ 411024 h 471291"/>
                <a:gd name="connsiteX45" fmla="*/ 154891 w 287641"/>
                <a:gd name="connsiteY45" fmla="*/ 408891 h 471291"/>
                <a:gd name="connsiteX46" fmla="*/ 154381 w 287641"/>
                <a:gd name="connsiteY46" fmla="*/ 405391 h 471291"/>
                <a:gd name="connsiteX47" fmla="*/ 154550 w 287641"/>
                <a:gd name="connsiteY47" fmla="*/ 401970 h 471291"/>
                <a:gd name="connsiteX48" fmla="*/ 156061 w 287641"/>
                <a:gd name="connsiteY48" fmla="*/ 400241 h 471291"/>
                <a:gd name="connsiteX49" fmla="*/ 157793 w 287641"/>
                <a:gd name="connsiteY49" fmla="*/ 398831 h 471291"/>
                <a:gd name="connsiteX50" fmla="*/ 160490 w 287641"/>
                <a:gd name="connsiteY50" fmla="*/ 395583 h 471291"/>
                <a:gd name="connsiteX51" fmla="*/ 163414 w 287641"/>
                <a:gd name="connsiteY51" fmla="*/ 393226 h 471291"/>
                <a:gd name="connsiteX52" fmla="*/ 167493 w 287641"/>
                <a:gd name="connsiteY52" fmla="*/ 392166 h 471291"/>
                <a:gd name="connsiteX53" fmla="*/ 169335 w 287641"/>
                <a:gd name="connsiteY53" fmla="*/ 393143 h 471291"/>
                <a:gd name="connsiteX54" fmla="*/ 170130 w 287641"/>
                <a:gd name="connsiteY54" fmla="*/ 390998 h 471291"/>
                <a:gd name="connsiteX55" fmla="*/ 176625 w 287641"/>
                <a:gd name="connsiteY55" fmla="*/ 388398 h 471291"/>
                <a:gd name="connsiteX56" fmla="*/ 179860 w 287641"/>
                <a:gd name="connsiteY56" fmla="*/ 388520 h 471291"/>
                <a:gd name="connsiteX57" fmla="*/ 180972 w 287641"/>
                <a:gd name="connsiteY57" fmla="*/ 388990 h 471291"/>
                <a:gd name="connsiteX58" fmla="*/ 177100 w 287641"/>
                <a:gd name="connsiteY58" fmla="*/ 390280 h 471291"/>
                <a:gd name="connsiteX59" fmla="*/ 176703 w 287641"/>
                <a:gd name="connsiteY59" fmla="*/ 392277 h 471291"/>
                <a:gd name="connsiteX60" fmla="*/ 175556 w 287641"/>
                <a:gd name="connsiteY60" fmla="*/ 392125 h 471291"/>
                <a:gd name="connsiteX61" fmla="*/ 174511 w 287641"/>
                <a:gd name="connsiteY61" fmla="*/ 390651 h 471291"/>
                <a:gd name="connsiteX62" fmla="*/ 161812 w 287641"/>
                <a:gd name="connsiteY62" fmla="*/ 351984 h 471291"/>
                <a:gd name="connsiteX63" fmla="*/ 162267 w 287641"/>
                <a:gd name="connsiteY63" fmla="*/ 352091 h 471291"/>
                <a:gd name="connsiteX64" fmla="*/ 160734 w 287641"/>
                <a:gd name="connsiteY64" fmla="*/ 354550 h 471291"/>
                <a:gd name="connsiteX65" fmla="*/ 159754 w 287641"/>
                <a:gd name="connsiteY65" fmla="*/ 354860 h 471291"/>
                <a:gd name="connsiteX66" fmla="*/ 159268 w 287641"/>
                <a:gd name="connsiteY66" fmla="*/ 354762 h 471291"/>
                <a:gd name="connsiteX67" fmla="*/ 159873 w 287641"/>
                <a:gd name="connsiteY67" fmla="*/ 353249 h 471291"/>
                <a:gd name="connsiteX68" fmla="*/ 160322 w 287641"/>
                <a:gd name="connsiteY68" fmla="*/ 352596 h 471291"/>
                <a:gd name="connsiteX69" fmla="*/ 165261 w 287641"/>
                <a:gd name="connsiteY69" fmla="*/ 337596 h 471291"/>
                <a:gd name="connsiteX70" fmla="*/ 166975 w 287641"/>
                <a:gd name="connsiteY70" fmla="*/ 338028 h 471291"/>
                <a:gd name="connsiteX71" fmla="*/ 166964 w 287641"/>
                <a:gd name="connsiteY71" fmla="*/ 338356 h 471291"/>
                <a:gd name="connsiteX72" fmla="*/ 165325 w 287641"/>
                <a:gd name="connsiteY72" fmla="*/ 339420 h 471291"/>
                <a:gd name="connsiteX73" fmla="*/ 164697 w 287641"/>
                <a:gd name="connsiteY73" fmla="*/ 340135 h 471291"/>
                <a:gd name="connsiteX74" fmla="*/ 164142 w 287641"/>
                <a:gd name="connsiteY74" fmla="*/ 341220 h 471291"/>
                <a:gd name="connsiteX75" fmla="*/ 163585 w 287641"/>
                <a:gd name="connsiteY75" fmla="*/ 339890 h 471291"/>
                <a:gd name="connsiteX76" fmla="*/ 163807 w 287641"/>
                <a:gd name="connsiteY76" fmla="*/ 339630 h 471291"/>
                <a:gd name="connsiteX77" fmla="*/ 164187 w 287641"/>
                <a:gd name="connsiteY77" fmla="*/ 338316 h 471291"/>
                <a:gd name="connsiteX78" fmla="*/ 209512 w 287641"/>
                <a:gd name="connsiteY78" fmla="*/ 0 h 471291"/>
                <a:gd name="connsiteX79" fmla="*/ 215548 w 287641"/>
                <a:gd name="connsiteY79" fmla="*/ 2210 h 471291"/>
                <a:gd name="connsiteX80" fmla="*/ 215812 w 287641"/>
                <a:gd name="connsiteY80" fmla="*/ 2688 h 471291"/>
                <a:gd name="connsiteX81" fmla="*/ 215855 w 287641"/>
                <a:gd name="connsiteY81" fmla="*/ 3839 h 471291"/>
                <a:gd name="connsiteX82" fmla="*/ 216066 w 287641"/>
                <a:gd name="connsiteY82" fmla="*/ 5031 h 471291"/>
                <a:gd name="connsiteX83" fmla="*/ 221923 w 287641"/>
                <a:gd name="connsiteY83" fmla="*/ 8050 h 471291"/>
                <a:gd name="connsiteX84" fmla="*/ 223611 w 287641"/>
                <a:gd name="connsiteY84" fmla="*/ 9646 h 471291"/>
                <a:gd name="connsiteX85" fmla="*/ 227207 w 287641"/>
                <a:gd name="connsiteY85" fmla="*/ 12069 h 471291"/>
                <a:gd name="connsiteX86" fmla="*/ 228159 w 287641"/>
                <a:gd name="connsiteY86" fmla="*/ 13376 h 471291"/>
                <a:gd name="connsiteX87" fmla="*/ 231489 w 287641"/>
                <a:gd name="connsiteY87" fmla="*/ 14904 h 471291"/>
                <a:gd name="connsiteX88" fmla="*/ 233877 w 287641"/>
                <a:gd name="connsiteY88" fmla="*/ 16536 h 471291"/>
                <a:gd name="connsiteX89" fmla="*/ 236667 w 287641"/>
                <a:gd name="connsiteY89" fmla="*/ 17859 h 471291"/>
                <a:gd name="connsiteX90" fmla="*/ 239923 w 287641"/>
                <a:gd name="connsiteY90" fmla="*/ 19914 h 471291"/>
                <a:gd name="connsiteX91" fmla="*/ 244294 w 287641"/>
                <a:gd name="connsiteY91" fmla="*/ 21549 h 471291"/>
                <a:gd name="connsiteX92" fmla="*/ 247986 w 287641"/>
                <a:gd name="connsiteY92" fmla="*/ 22082 h 471291"/>
                <a:gd name="connsiteX93" fmla="*/ 257280 w 287641"/>
                <a:gd name="connsiteY93" fmla="*/ 24881 h 471291"/>
                <a:gd name="connsiteX94" fmla="*/ 258865 w 287641"/>
                <a:gd name="connsiteY94" fmla="*/ 25787 h 471291"/>
                <a:gd name="connsiteX95" fmla="*/ 261547 w 287641"/>
                <a:gd name="connsiteY95" fmla="*/ 27732 h 471291"/>
                <a:gd name="connsiteX96" fmla="*/ 264255 w 287641"/>
                <a:gd name="connsiteY96" fmla="*/ 29982 h 471291"/>
                <a:gd name="connsiteX97" fmla="*/ 266127 w 287641"/>
                <a:gd name="connsiteY97" fmla="*/ 34594 h 471291"/>
                <a:gd name="connsiteX98" fmla="*/ 269136 w 287641"/>
                <a:gd name="connsiteY98" fmla="*/ 34834 h 471291"/>
                <a:gd name="connsiteX99" fmla="*/ 269952 w 287641"/>
                <a:gd name="connsiteY99" fmla="*/ 36419 h 471291"/>
                <a:gd name="connsiteX100" fmla="*/ 272578 w 287641"/>
                <a:gd name="connsiteY100" fmla="*/ 39132 h 471291"/>
                <a:gd name="connsiteX101" fmla="*/ 276218 w 287641"/>
                <a:gd name="connsiteY101" fmla="*/ 41522 h 471291"/>
                <a:gd name="connsiteX102" fmla="*/ 276087 w 287641"/>
                <a:gd name="connsiteY102" fmla="*/ 42326 h 471291"/>
                <a:gd name="connsiteX103" fmla="*/ 273189 w 287641"/>
                <a:gd name="connsiteY103" fmla="*/ 44525 h 471291"/>
                <a:gd name="connsiteX104" fmla="*/ 272878 w 287641"/>
                <a:gd name="connsiteY104" fmla="*/ 47502 h 471291"/>
                <a:gd name="connsiteX105" fmla="*/ 273152 w 287641"/>
                <a:gd name="connsiteY105" fmla="*/ 51297 h 471291"/>
                <a:gd name="connsiteX106" fmla="*/ 274061 w 287641"/>
                <a:gd name="connsiteY106" fmla="*/ 54386 h 471291"/>
                <a:gd name="connsiteX107" fmla="*/ 273966 w 287641"/>
                <a:gd name="connsiteY107" fmla="*/ 55288 h 471291"/>
                <a:gd name="connsiteX108" fmla="*/ 273247 w 287641"/>
                <a:gd name="connsiteY108" fmla="*/ 56351 h 471291"/>
                <a:gd name="connsiteX109" fmla="*/ 272383 w 287641"/>
                <a:gd name="connsiteY109" fmla="*/ 58019 h 471291"/>
                <a:gd name="connsiteX110" fmla="*/ 272075 w 287641"/>
                <a:gd name="connsiteY110" fmla="*/ 59473 h 471291"/>
                <a:gd name="connsiteX111" fmla="*/ 272150 w 287641"/>
                <a:gd name="connsiteY111" fmla="*/ 60186 h 471291"/>
                <a:gd name="connsiteX112" fmla="*/ 272442 w 287641"/>
                <a:gd name="connsiteY112" fmla="*/ 60573 h 471291"/>
                <a:gd name="connsiteX113" fmla="*/ 273968 w 287641"/>
                <a:gd name="connsiteY113" fmla="*/ 60602 h 471291"/>
                <a:gd name="connsiteX114" fmla="*/ 276704 w 287641"/>
                <a:gd name="connsiteY114" fmla="*/ 60945 h 471291"/>
                <a:gd name="connsiteX115" fmla="*/ 278313 w 287641"/>
                <a:gd name="connsiteY115" fmla="*/ 61590 h 471291"/>
                <a:gd name="connsiteX116" fmla="*/ 279226 w 287641"/>
                <a:gd name="connsiteY116" fmla="*/ 65128 h 471291"/>
                <a:gd name="connsiteX117" fmla="*/ 278918 w 287641"/>
                <a:gd name="connsiteY117" fmla="*/ 65807 h 471291"/>
                <a:gd name="connsiteX118" fmla="*/ 276611 w 287641"/>
                <a:gd name="connsiteY118" fmla="*/ 67406 h 471291"/>
                <a:gd name="connsiteX119" fmla="*/ 275935 w 287641"/>
                <a:gd name="connsiteY119" fmla="*/ 68675 h 471291"/>
                <a:gd name="connsiteX120" fmla="*/ 275869 w 287641"/>
                <a:gd name="connsiteY120" fmla="*/ 70538 h 471291"/>
                <a:gd name="connsiteX121" fmla="*/ 276277 w 287641"/>
                <a:gd name="connsiteY121" fmla="*/ 72584 h 471291"/>
                <a:gd name="connsiteX122" fmla="*/ 277069 w 287641"/>
                <a:gd name="connsiteY122" fmla="*/ 74871 h 471291"/>
                <a:gd name="connsiteX123" fmla="*/ 278874 w 287641"/>
                <a:gd name="connsiteY123" fmla="*/ 77315 h 471291"/>
                <a:gd name="connsiteX124" fmla="*/ 281314 w 287641"/>
                <a:gd name="connsiteY124" fmla="*/ 79867 h 471291"/>
                <a:gd name="connsiteX125" fmla="*/ 282917 w 287641"/>
                <a:gd name="connsiteY125" fmla="*/ 81958 h 471291"/>
                <a:gd name="connsiteX126" fmla="*/ 283675 w 287641"/>
                <a:gd name="connsiteY126" fmla="*/ 83430 h 471291"/>
                <a:gd name="connsiteX127" fmla="*/ 283951 w 287641"/>
                <a:gd name="connsiteY127" fmla="*/ 84458 h 471291"/>
                <a:gd name="connsiteX128" fmla="*/ 282852 w 287641"/>
                <a:gd name="connsiteY128" fmla="*/ 85750 h 471291"/>
                <a:gd name="connsiteX129" fmla="*/ 281863 w 287641"/>
                <a:gd name="connsiteY129" fmla="*/ 88303 h 471291"/>
                <a:gd name="connsiteX130" fmla="*/ 281679 w 287641"/>
                <a:gd name="connsiteY130" fmla="*/ 91223 h 471291"/>
                <a:gd name="connsiteX131" fmla="*/ 281230 w 287641"/>
                <a:gd name="connsiteY131" fmla="*/ 93125 h 471291"/>
                <a:gd name="connsiteX132" fmla="*/ 279081 w 287641"/>
                <a:gd name="connsiteY132" fmla="*/ 95739 h 471291"/>
                <a:gd name="connsiteX133" fmla="*/ 277596 w 287641"/>
                <a:gd name="connsiteY133" fmla="*/ 96665 h 471291"/>
                <a:gd name="connsiteX134" fmla="*/ 277173 w 287641"/>
                <a:gd name="connsiteY134" fmla="*/ 98043 h 471291"/>
                <a:gd name="connsiteX135" fmla="*/ 276991 w 287641"/>
                <a:gd name="connsiteY135" fmla="*/ 100353 h 471291"/>
                <a:gd name="connsiteX136" fmla="*/ 277427 w 287641"/>
                <a:gd name="connsiteY136" fmla="*/ 103166 h 471291"/>
                <a:gd name="connsiteX137" fmla="*/ 277577 w 287641"/>
                <a:gd name="connsiteY137" fmla="*/ 105065 h 471291"/>
                <a:gd name="connsiteX138" fmla="*/ 278034 w 287641"/>
                <a:gd name="connsiteY138" fmla="*/ 106431 h 471291"/>
                <a:gd name="connsiteX139" fmla="*/ 278708 w 287641"/>
                <a:gd name="connsiteY139" fmla="*/ 107322 h 471291"/>
                <a:gd name="connsiteX140" fmla="*/ 282155 w 287641"/>
                <a:gd name="connsiteY140" fmla="*/ 108897 h 471291"/>
                <a:gd name="connsiteX141" fmla="*/ 284085 w 287641"/>
                <a:gd name="connsiteY141" fmla="*/ 112118 h 471291"/>
                <a:gd name="connsiteX142" fmla="*/ 285288 w 287641"/>
                <a:gd name="connsiteY142" fmla="*/ 114698 h 471291"/>
                <a:gd name="connsiteX143" fmla="*/ 287641 w 287641"/>
                <a:gd name="connsiteY143" fmla="*/ 121435 h 471291"/>
                <a:gd name="connsiteX144" fmla="*/ 281783 w 287641"/>
                <a:gd name="connsiteY144" fmla="*/ 122275 h 471291"/>
                <a:gd name="connsiteX145" fmla="*/ 277380 w 287641"/>
                <a:gd name="connsiteY145" fmla="*/ 120588 h 471291"/>
                <a:gd name="connsiteX146" fmla="*/ 275184 w 287641"/>
                <a:gd name="connsiteY146" fmla="*/ 121433 h 471291"/>
                <a:gd name="connsiteX147" fmla="*/ 271342 w 287641"/>
                <a:gd name="connsiteY147" fmla="*/ 121469 h 471291"/>
                <a:gd name="connsiteX148" fmla="*/ 266980 w 287641"/>
                <a:gd name="connsiteY148" fmla="*/ 122133 h 471291"/>
                <a:gd name="connsiteX149" fmla="*/ 265510 w 287641"/>
                <a:gd name="connsiteY149" fmla="*/ 123452 h 471291"/>
                <a:gd name="connsiteX150" fmla="*/ 264354 w 287641"/>
                <a:gd name="connsiteY150" fmla="*/ 123982 h 471291"/>
                <a:gd name="connsiteX151" fmla="*/ 260308 w 287641"/>
                <a:gd name="connsiteY151" fmla="*/ 122120 h 471291"/>
                <a:gd name="connsiteX152" fmla="*/ 256488 w 287641"/>
                <a:gd name="connsiteY152" fmla="*/ 119040 h 471291"/>
                <a:gd name="connsiteX153" fmla="*/ 253696 w 287641"/>
                <a:gd name="connsiteY153" fmla="*/ 121389 h 471291"/>
                <a:gd name="connsiteX154" fmla="*/ 251889 w 287641"/>
                <a:gd name="connsiteY154" fmla="*/ 121834 h 471291"/>
                <a:gd name="connsiteX155" fmla="*/ 250265 w 287641"/>
                <a:gd name="connsiteY155" fmla="*/ 119708 h 471291"/>
                <a:gd name="connsiteX156" fmla="*/ 248846 w 287641"/>
                <a:gd name="connsiteY156" fmla="*/ 119363 h 471291"/>
                <a:gd name="connsiteX157" fmla="*/ 248079 w 287641"/>
                <a:gd name="connsiteY157" fmla="*/ 120072 h 471291"/>
                <a:gd name="connsiteX158" fmla="*/ 247408 w 287641"/>
                <a:gd name="connsiteY158" fmla="*/ 121949 h 471291"/>
                <a:gd name="connsiteX159" fmla="*/ 246339 w 287641"/>
                <a:gd name="connsiteY159" fmla="*/ 123425 h 471291"/>
                <a:gd name="connsiteX160" fmla="*/ 246060 w 287641"/>
                <a:gd name="connsiteY160" fmla="*/ 124359 h 471291"/>
                <a:gd name="connsiteX161" fmla="*/ 245875 w 287641"/>
                <a:gd name="connsiteY161" fmla="*/ 128120 h 471291"/>
                <a:gd name="connsiteX162" fmla="*/ 245596 w 287641"/>
                <a:gd name="connsiteY162" fmla="*/ 128991 h 471291"/>
                <a:gd name="connsiteX163" fmla="*/ 241886 w 287641"/>
                <a:gd name="connsiteY163" fmla="*/ 128505 h 471291"/>
                <a:gd name="connsiteX164" fmla="*/ 242109 w 287641"/>
                <a:gd name="connsiteY164" fmla="*/ 129491 h 471291"/>
                <a:gd name="connsiteX165" fmla="*/ 242916 w 287641"/>
                <a:gd name="connsiteY165" fmla="*/ 129987 h 471291"/>
                <a:gd name="connsiteX166" fmla="*/ 243242 w 287641"/>
                <a:gd name="connsiteY166" fmla="*/ 130612 h 471291"/>
                <a:gd name="connsiteX167" fmla="*/ 241897 w 287641"/>
                <a:gd name="connsiteY167" fmla="*/ 131433 h 471291"/>
                <a:gd name="connsiteX168" fmla="*/ 238213 w 287641"/>
                <a:gd name="connsiteY168" fmla="*/ 131356 h 471291"/>
                <a:gd name="connsiteX169" fmla="*/ 237837 w 287641"/>
                <a:gd name="connsiteY169" fmla="*/ 132227 h 471291"/>
                <a:gd name="connsiteX170" fmla="*/ 238874 w 287641"/>
                <a:gd name="connsiteY170" fmla="*/ 133603 h 471291"/>
                <a:gd name="connsiteX171" fmla="*/ 238066 w 287641"/>
                <a:gd name="connsiteY171" fmla="*/ 134807 h 471291"/>
                <a:gd name="connsiteX172" fmla="*/ 237317 w 287641"/>
                <a:gd name="connsiteY172" fmla="*/ 135281 h 471291"/>
                <a:gd name="connsiteX173" fmla="*/ 232918 w 287641"/>
                <a:gd name="connsiteY173" fmla="*/ 136028 h 471291"/>
                <a:gd name="connsiteX174" fmla="*/ 230372 w 287641"/>
                <a:gd name="connsiteY174" fmla="*/ 135857 h 471291"/>
                <a:gd name="connsiteX175" fmla="*/ 229645 w 287641"/>
                <a:gd name="connsiteY175" fmla="*/ 136636 h 471291"/>
                <a:gd name="connsiteX176" fmla="*/ 229441 w 287641"/>
                <a:gd name="connsiteY176" fmla="*/ 137647 h 471291"/>
                <a:gd name="connsiteX177" fmla="*/ 229923 w 287641"/>
                <a:gd name="connsiteY177" fmla="*/ 138639 h 471291"/>
                <a:gd name="connsiteX178" fmla="*/ 231046 w 287641"/>
                <a:gd name="connsiteY178" fmla="*/ 139167 h 471291"/>
                <a:gd name="connsiteX179" fmla="*/ 231415 w 287641"/>
                <a:gd name="connsiteY179" fmla="*/ 139796 h 471291"/>
                <a:gd name="connsiteX180" fmla="*/ 231338 w 287641"/>
                <a:gd name="connsiteY180" fmla="*/ 141158 h 471291"/>
                <a:gd name="connsiteX181" fmla="*/ 230403 w 287641"/>
                <a:gd name="connsiteY181" fmla="*/ 141405 h 471291"/>
                <a:gd name="connsiteX182" fmla="*/ 227749 w 287641"/>
                <a:gd name="connsiteY182" fmla="*/ 139012 h 471291"/>
                <a:gd name="connsiteX183" fmla="*/ 226941 w 287641"/>
                <a:gd name="connsiteY183" fmla="*/ 139135 h 471291"/>
                <a:gd name="connsiteX184" fmla="*/ 227548 w 287641"/>
                <a:gd name="connsiteY184" fmla="*/ 140380 h 471291"/>
                <a:gd name="connsiteX185" fmla="*/ 229064 w 287641"/>
                <a:gd name="connsiteY185" fmla="*/ 141736 h 471291"/>
                <a:gd name="connsiteX186" fmla="*/ 229940 w 287641"/>
                <a:gd name="connsiteY186" fmla="*/ 143120 h 471291"/>
                <a:gd name="connsiteX187" fmla="*/ 230707 w 287641"/>
                <a:gd name="connsiteY187" fmla="*/ 144785 h 471291"/>
                <a:gd name="connsiteX188" fmla="*/ 230558 w 287641"/>
                <a:gd name="connsiteY188" fmla="*/ 146046 h 471291"/>
                <a:gd name="connsiteX189" fmla="*/ 227263 w 287641"/>
                <a:gd name="connsiteY189" fmla="*/ 150112 h 471291"/>
                <a:gd name="connsiteX190" fmla="*/ 224363 w 287641"/>
                <a:gd name="connsiteY190" fmla="*/ 152677 h 471291"/>
                <a:gd name="connsiteX191" fmla="*/ 222199 w 287641"/>
                <a:gd name="connsiteY191" fmla="*/ 154984 h 471291"/>
                <a:gd name="connsiteX192" fmla="*/ 220923 w 287641"/>
                <a:gd name="connsiteY192" fmla="*/ 157427 h 471291"/>
                <a:gd name="connsiteX193" fmla="*/ 222400 w 287641"/>
                <a:gd name="connsiteY193" fmla="*/ 158658 h 471291"/>
                <a:gd name="connsiteX194" fmla="*/ 224043 w 287641"/>
                <a:gd name="connsiteY194" fmla="*/ 160431 h 471291"/>
                <a:gd name="connsiteX195" fmla="*/ 225198 w 287641"/>
                <a:gd name="connsiteY195" fmla="*/ 163837 h 471291"/>
                <a:gd name="connsiteX196" fmla="*/ 226576 w 287641"/>
                <a:gd name="connsiteY196" fmla="*/ 166868 h 471291"/>
                <a:gd name="connsiteX197" fmla="*/ 229357 w 287641"/>
                <a:gd name="connsiteY197" fmla="*/ 169760 h 471291"/>
                <a:gd name="connsiteX198" fmla="*/ 228798 w 287641"/>
                <a:gd name="connsiteY198" fmla="*/ 171430 h 471291"/>
                <a:gd name="connsiteX199" fmla="*/ 228150 w 287641"/>
                <a:gd name="connsiteY199" fmla="*/ 172728 h 471291"/>
                <a:gd name="connsiteX200" fmla="*/ 223523 w 287641"/>
                <a:gd name="connsiteY200" fmla="*/ 175583 h 471291"/>
                <a:gd name="connsiteX201" fmla="*/ 218276 w 287641"/>
                <a:gd name="connsiteY201" fmla="*/ 179878 h 471291"/>
                <a:gd name="connsiteX202" fmla="*/ 212620 w 287641"/>
                <a:gd name="connsiteY202" fmla="*/ 190827 h 471291"/>
                <a:gd name="connsiteX203" fmla="*/ 210739 w 287641"/>
                <a:gd name="connsiteY203" fmla="*/ 192290 h 471291"/>
                <a:gd name="connsiteX204" fmla="*/ 205788 w 287641"/>
                <a:gd name="connsiteY204" fmla="*/ 194137 h 471291"/>
                <a:gd name="connsiteX205" fmla="*/ 203967 w 287641"/>
                <a:gd name="connsiteY205" fmla="*/ 195923 h 471291"/>
                <a:gd name="connsiteX206" fmla="*/ 200281 w 287641"/>
                <a:gd name="connsiteY206" fmla="*/ 198045 h 471291"/>
                <a:gd name="connsiteX207" fmla="*/ 193846 w 287641"/>
                <a:gd name="connsiteY207" fmla="*/ 199865 h 471291"/>
                <a:gd name="connsiteX208" fmla="*/ 190927 w 287641"/>
                <a:gd name="connsiteY208" fmla="*/ 202400 h 471291"/>
                <a:gd name="connsiteX209" fmla="*/ 189609 w 287641"/>
                <a:gd name="connsiteY209" fmla="*/ 205019 h 471291"/>
                <a:gd name="connsiteX210" fmla="*/ 188143 w 287641"/>
                <a:gd name="connsiteY210" fmla="*/ 205205 h 471291"/>
                <a:gd name="connsiteX211" fmla="*/ 186690 w 287641"/>
                <a:gd name="connsiteY211" fmla="*/ 204182 h 471291"/>
                <a:gd name="connsiteX212" fmla="*/ 184751 w 287641"/>
                <a:gd name="connsiteY212" fmla="*/ 203420 h 471291"/>
                <a:gd name="connsiteX213" fmla="*/ 184498 w 287641"/>
                <a:gd name="connsiteY213" fmla="*/ 205128 h 471291"/>
                <a:gd name="connsiteX214" fmla="*/ 184580 w 287641"/>
                <a:gd name="connsiteY214" fmla="*/ 206381 h 471291"/>
                <a:gd name="connsiteX215" fmla="*/ 181477 w 287641"/>
                <a:gd name="connsiteY215" fmla="*/ 204524 h 471291"/>
                <a:gd name="connsiteX216" fmla="*/ 180013 w 287641"/>
                <a:gd name="connsiteY216" fmla="*/ 206227 h 471291"/>
                <a:gd name="connsiteX217" fmla="*/ 178869 w 287641"/>
                <a:gd name="connsiteY217" fmla="*/ 209070 h 471291"/>
                <a:gd name="connsiteX218" fmla="*/ 174403 w 287641"/>
                <a:gd name="connsiteY218" fmla="*/ 212891 h 471291"/>
                <a:gd name="connsiteX219" fmla="*/ 169590 w 287641"/>
                <a:gd name="connsiteY219" fmla="*/ 212204 h 471291"/>
                <a:gd name="connsiteX220" fmla="*/ 169050 w 287641"/>
                <a:gd name="connsiteY220" fmla="*/ 212878 h 471291"/>
                <a:gd name="connsiteX221" fmla="*/ 170331 w 287641"/>
                <a:gd name="connsiteY221" fmla="*/ 213366 h 471291"/>
                <a:gd name="connsiteX222" fmla="*/ 170525 w 287641"/>
                <a:gd name="connsiteY222" fmla="*/ 213976 h 471291"/>
                <a:gd name="connsiteX223" fmla="*/ 169651 w 287641"/>
                <a:gd name="connsiteY223" fmla="*/ 214301 h 471291"/>
                <a:gd name="connsiteX224" fmla="*/ 168327 w 287641"/>
                <a:gd name="connsiteY224" fmla="*/ 214267 h 471291"/>
                <a:gd name="connsiteX225" fmla="*/ 166284 w 287641"/>
                <a:gd name="connsiteY225" fmla="*/ 215021 h 471291"/>
                <a:gd name="connsiteX226" fmla="*/ 164941 w 287641"/>
                <a:gd name="connsiteY226" fmla="*/ 214962 h 471291"/>
                <a:gd name="connsiteX227" fmla="*/ 164304 w 287641"/>
                <a:gd name="connsiteY227" fmla="*/ 216765 h 471291"/>
                <a:gd name="connsiteX228" fmla="*/ 163265 w 287641"/>
                <a:gd name="connsiteY228" fmla="*/ 218950 h 471291"/>
                <a:gd name="connsiteX229" fmla="*/ 160546 w 287641"/>
                <a:gd name="connsiteY229" fmla="*/ 219854 h 471291"/>
                <a:gd name="connsiteX230" fmla="*/ 159143 w 287641"/>
                <a:gd name="connsiteY230" fmla="*/ 220040 h 471291"/>
                <a:gd name="connsiteX231" fmla="*/ 158450 w 287641"/>
                <a:gd name="connsiteY231" fmla="*/ 221281 h 471291"/>
                <a:gd name="connsiteX232" fmla="*/ 162632 w 287641"/>
                <a:gd name="connsiteY232" fmla="*/ 221541 h 471291"/>
                <a:gd name="connsiteX233" fmla="*/ 162298 w 287641"/>
                <a:gd name="connsiteY233" fmla="*/ 222591 h 471291"/>
                <a:gd name="connsiteX234" fmla="*/ 162203 w 287641"/>
                <a:gd name="connsiteY234" fmla="*/ 223640 h 471291"/>
                <a:gd name="connsiteX235" fmla="*/ 161771 w 287641"/>
                <a:gd name="connsiteY235" fmla="*/ 224765 h 471291"/>
                <a:gd name="connsiteX236" fmla="*/ 157016 w 287641"/>
                <a:gd name="connsiteY236" fmla="*/ 226384 h 471291"/>
                <a:gd name="connsiteX237" fmla="*/ 156284 w 287641"/>
                <a:gd name="connsiteY237" fmla="*/ 227659 h 471291"/>
                <a:gd name="connsiteX238" fmla="*/ 155291 w 287641"/>
                <a:gd name="connsiteY238" fmla="*/ 228449 h 471291"/>
                <a:gd name="connsiteX239" fmla="*/ 153176 w 287641"/>
                <a:gd name="connsiteY239" fmla="*/ 228404 h 471291"/>
                <a:gd name="connsiteX240" fmla="*/ 153254 w 287641"/>
                <a:gd name="connsiteY240" fmla="*/ 227668 h 471291"/>
                <a:gd name="connsiteX241" fmla="*/ 153600 w 287641"/>
                <a:gd name="connsiteY241" fmla="*/ 226835 h 471291"/>
                <a:gd name="connsiteX242" fmla="*/ 150449 w 287641"/>
                <a:gd name="connsiteY242" fmla="*/ 226910 h 471291"/>
                <a:gd name="connsiteX243" fmla="*/ 149467 w 287641"/>
                <a:gd name="connsiteY243" fmla="*/ 225080 h 471291"/>
                <a:gd name="connsiteX244" fmla="*/ 148869 w 287641"/>
                <a:gd name="connsiteY244" fmla="*/ 225549 h 471291"/>
                <a:gd name="connsiteX245" fmla="*/ 149223 w 287641"/>
                <a:gd name="connsiteY245" fmla="*/ 227026 h 471291"/>
                <a:gd name="connsiteX246" fmla="*/ 150048 w 287641"/>
                <a:gd name="connsiteY246" fmla="*/ 228561 h 471291"/>
                <a:gd name="connsiteX247" fmla="*/ 150965 w 287641"/>
                <a:gd name="connsiteY247" fmla="*/ 230809 h 471291"/>
                <a:gd name="connsiteX248" fmla="*/ 150220 w 287641"/>
                <a:gd name="connsiteY248" fmla="*/ 232230 h 471291"/>
                <a:gd name="connsiteX249" fmla="*/ 149387 w 287641"/>
                <a:gd name="connsiteY249" fmla="*/ 232934 h 471291"/>
                <a:gd name="connsiteX250" fmla="*/ 149994 w 287641"/>
                <a:gd name="connsiteY250" fmla="*/ 233584 h 471291"/>
                <a:gd name="connsiteX251" fmla="*/ 151676 w 287641"/>
                <a:gd name="connsiteY251" fmla="*/ 234079 h 471291"/>
                <a:gd name="connsiteX252" fmla="*/ 152356 w 287641"/>
                <a:gd name="connsiteY252" fmla="*/ 234966 h 471291"/>
                <a:gd name="connsiteX253" fmla="*/ 150361 w 287641"/>
                <a:gd name="connsiteY253" fmla="*/ 235726 h 471291"/>
                <a:gd name="connsiteX254" fmla="*/ 147871 w 287641"/>
                <a:gd name="connsiteY254" fmla="*/ 238333 h 471291"/>
                <a:gd name="connsiteX255" fmla="*/ 145290 w 287641"/>
                <a:gd name="connsiteY255" fmla="*/ 238397 h 471291"/>
                <a:gd name="connsiteX256" fmla="*/ 143712 w 287641"/>
                <a:gd name="connsiteY256" fmla="*/ 240117 h 471291"/>
                <a:gd name="connsiteX257" fmla="*/ 142036 w 287641"/>
                <a:gd name="connsiteY257" fmla="*/ 240111 h 471291"/>
                <a:gd name="connsiteX258" fmla="*/ 140674 w 287641"/>
                <a:gd name="connsiteY258" fmla="*/ 239028 h 471291"/>
                <a:gd name="connsiteX259" fmla="*/ 138490 w 287641"/>
                <a:gd name="connsiteY259" fmla="*/ 238138 h 471291"/>
                <a:gd name="connsiteX260" fmla="*/ 137787 w 287641"/>
                <a:gd name="connsiteY260" fmla="*/ 239707 h 471291"/>
                <a:gd name="connsiteX261" fmla="*/ 137674 w 287641"/>
                <a:gd name="connsiteY261" fmla="*/ 240954 h 471291"/>
                <a:gd name="connsiteX262" fmla="*/ 138905 w 287641"/>
                <a:gd name="connsiteY262" fmla="*/ 244105 h 471291"/>
                <a:gd name="connsiteX263" fmla="*/ 141255 w 287641"/>
                <a:gd name="connsiteY263" fmla="*/ 246541 h 471291"/>
                <a:gd name="connsiteX264" fmla="*/ 143431 w 287641"/>
                <a:gd name="connsiteY264" fmla="*/ 247592 h 471291"/>
                <a:gd name="connsiteX265" fmla="*/ 141865 w 287641"/>
                <a:gd name="connsiteY265" fmla="*/ 248301 h 471291"/>
                <a:gd name="connsiteX266" fmla="*/ 140700 w 287641"/>
                <a:gd name="connsiteY266" fmla="*/ 249875 h 471291"/>
                <a:gd name="connsiteX267" fmla="*/ 139294 w 287641"/>
                <a:gd name="connsiteY267" fmla="*/ 254783 h 471291"/>
                <a:gd name="connsiteX268" fmla="*/ 138529 w 287641"/>
                <a:gd name="connsiteY268" fmla="*/ 256712 h 471291"/>
                <a:gd name="connsiteX269" fmla="*/ 137700 w 287641"/>
                <a:gd name="connsiteY269" fmla="*/ 260113 h 471291"/>
                <a:gd name="connsiteX270" fmla="*/ 138225 w 287641"/>
                <a:gd name="connsiteY270" fmla="*/ 262978 h 471291"/>
                <a:gd name="connsiteX271" fmla="*/ 138646 w 287641"/>
                <a:gd name="connsiteY271" fmla="*/ 264385 h 471291"/>
                <a:gd name="connsiteX272" fmla="*/ 139711 w 287641"/>
                <a:gd name="connsiteY272" fmla="*/ 266294 h 471291"/>
                <a:gd name="connsiteX273" fmla="*/ 136817 w 287641"/>
                <a:gd name="connsiteY273" fmla="*/ 266048 h 471291"/>
                <a:gd name="connsiteX274" fmla="*/ 133761 w 287641"/>
                <a:gd name="connsiteY274" fmla="*/ 264933 h 471291"/>
                <a:gd name="connsiteX275" fmla="*/ 134187 w 287641"/>
                <a:gd name="connsiteY275" fmla="*/ 267248 h 471291"/>
                <a:gd name="connsiteX276" fmla="*/ 132310 w 287641"/>
                <a:gd name="connsiteY276" fmla="*/ 269981 h 471291"/>
                <a:gd name="connsiteX277" fmla="*/ 132660 w 287641"/>
                <a:gd name="connsiteY277" fmla="*/ 272389 h 471291"/>
                <a:gd name="connsiteX278" fmla="*/ 133051 w 287641"/>
                <a:gd name="connsiteY278" fmla="*/ 273956 h 471291"/>
                <a:gd name="connsiteX279" fmla="*/ 132470 w 287641"/>
                <a:gd name="connsiteY279" fmla="*/ 276546 h 471291"/>
                <a:gd name="connsiteX280" fmla="*/ 133353 w 287641"/>
                <a:gd name="connsiteY280" fmla="*/ 277359 h 471291"/>
                <a:gd name="connsiteX281" fmla="*/ 133833 w 287641"/>
                <a:gd name="connsiteY281" fmla="*/ 278899 h 471291"/>
                <a:gd name="connsiteX282" fmla="*/ 133042 w 287641"/>
                <a:gd name="connsiteY282" fmla="*/ 280036 h 471291"/>
                <a:gd name="connsiteX283" fmla="*/ 133394 w 287641"/>
                <a:gd name="connsiteY283" fmla="*/ 281014 h 471291"/>
                <a:gd name="connsiteX284" fmla="*/ 133526 w 287641"/>
                <a:gd name="connsiteY284" fmla="*/ 284473 h 471291"/>
                <a:gd name="connsiteX285" fmla="*/ 134126 w 287641"/>
                <a:gd name="connsiteY285" fmla="*/ 289873 h 471291"/>
                <a:gd name="connsiteX286" fmla="*/ 133906 w 287641"/>
                <a:gd name="connsiteY286" fmla="*/ 291014 h 471291"/>
                <a:gd name="connsiteX287" fmla="*/ 135586 w 287641"/>
                <a:gd name="connsiteY287" fmla="*/ 295695 h 471291"/>
                <a:gd name="connsiteX288" fmla="*/ 135195 w 287641"/>
                <a:gd name="connsiteY288" fmla="*/ 297333 h 471291"/>
                <a:gd name="connsiteX289" fmla="*/ 134969 w 287641"/>
                <a:gd name="connsiteY289" fmla="*/ 299419 h 471291"/>
                <a:gd name="connsiteX290" fmla="*/ 137376 w 287641"/>
                <a:gd name="connsiteY290" fmla="*/ 301421 h 471291"/>
                <a:gd name="connsiteX291" fmla="*/ 139525 w 287641"/>
                <a:gd name="connsiteY291" fmla="*/ 301389 h 471291"/>
                <a:gd name="connsiteX292" fmla="*/ 141702 w 287641"/>
                <a:gd name="connsiteY292" fmla="*/ 301358 h 471291"/>
                <a:gd name="connsiteX293" fmla="*/ 142533 w 287641"/>
                <a:gd name="connsiteY293" fmla="*/ 301860 h 471291"/>
                <a:gd name="connsiteX294" fmla="*/ 143367 w 287641"/>
                <a:gd name="connsiteY294" fmla="*/ 303275 h 471291"/>
                <a:gd name="connsiteX295" fmla="*/ 144038 w 287641"/>
                <a:gd name="connsiteY295" fmla="*/ 304945 h 471291"/>
                <a:gd name="connsiteX296" fmla="*/ 145830 w 287641"/>
                <a:gd name="connsiteY296" fmla="*/ 304807 h 471291"/>
                <a:gd name="connsiteX297" fmla="*/ 148691 w 287641"/>
                <a:gd name="connsiteY297" fmla="*/ 303448 h 471291"/>
                <a:gd name="connsiteX298" fmla="*/ 150553 w 287641"/>
                <a:gd name="connsiteY298" fmla="*/ 303124 h 471291"/>
                <a:gd name="connsiteX299" fmla="*/ 151782 w 287641"/>
                <a:gd name="connsiteY299" fmla="*/ 305736 h 471291"/>
                <a:gd name="connsiteX300" fmla="*/ 155124 w 287641"/>
                <a:gd name="connsiteY300" fmla="*/ 309182 h 471291"/>
                <a:gd name="connsiteX301" fmla="*/ 157070 w 287641"/>
                <a:gd name="connsiteY301" fmla="*/ 310724 h 471291"/>
                <a:gd name="connsiteX302" fmla="*/ 160376 w 287641"/>
                <a:gd name="connsiteY302" fmla="*/ 311535 h 471291"/>
                <a:gd name="connsiteX303" fmla="*/ 163859 w 287641"/>
                <a:gd name="connsiteY303" fmla="*/ 314308 h 471291"/>
                <a:gd name="connsiteX304" fmla="*/ 163371 w 287641"/>
                <a:gd name="connsiteY304" fmla="*/ 317646 h 471291"/>
                <a:gd name="connsiteX305" fmla="*/ 164824 w 287641"/>
                <a:gd name="connsiteY305" fmla="*/ 318760 h 471291"/>
                <a:gd name="connsiteX306" fmla="*/ 168934 w 287641"/>
                <a:gd name="connsiteY306" fmla="*/ 320076 h 471291"/>
                <a:gd name="connsiteX307" fmla="*/ 170387 w 287641"/>
                <a:gd name="connsiteY307" fmla="*/ 321849 h 471291"/>
                <a:gd name="connsiteX308" fmla="*/ 171084 w 287641"/>
                <a:gd name="connsiteY308" fmla="*/ 323359 h 471291"/>
                <a:gd name="connsiteX309" fmla="*/ 172166 w 287641"/>
                <a:gd name="connsiteY309" fmla="*/ 324611 h 471291"/>
                <a:gd name="connsiteX310" fmla="*/ 173431 w 287641"/>
                <a:gd name="connsiteY310" fmla="*/ 328388 h 471291"/>
                <a:gd name="connsiteX311" fmla="*/ 172991 w 287641"/>
                <a:gd name="connsiteY311" fmla="*/ 330712 h 471291"/>
                <a:gd name="connsiteX312" fmla="*/ 171335 w 287641"/>
                <a:gd name="connsiteY312" fmla="*/ 331510 h 471291"/>
                <a:gd name="connsiteX313" fmla="*/ 167424 w 287641"/>
                <a:gd name="connsiteY313" fmla="*/ 333997 h 471291"/>
                <a:gd name="connsiteX314" fmla="*/ 165681 w 287641"/>
                <a:gd name="connsiteY314" fmla="*/ 335851 h 471291"/>
                <a:gd name="connsiteX315" fmla="*/ 164314 w 287641"/>
                <a:gd name="connsiteY315" fmla="*/ 337006 h 471291"/>
                <a:gd name="connsiteX316" fmla="*/ 160430 w 287641"/>
                <a:gd name="connsiteY316" fmla="*/ 339479 h 471291"/>
                <a:gd name="connsiteX317" fmla="*/ 159007 w 287641"/>
                <a:gd name="connsiteY317" fmla="*/ 339923 h 471291"/>
                <a:gd name="connsiteX318" fmla="*/ 157644 w 287641"/>
                <a:gd name="connsiteY318" fmla="*/ 341207 h 471291"/>
                <a:gd name="connsiteX319" fmla="*/ 156327 w 287641"/>
                <a:gd name="connsiteY319" fmla="*/ 341769 h 471291"/>
                <a:gd name="connsiteX320" fmla="*/ 155148 w 287641"/>
                <a:gd name="connsiteY320" fmla="*/ 341446 h 471291"/>
                <a:gd name="connsiteX321" fmla="*/ 150740 w 287641"/>
                <a:gd name="connsiteY321" fmla="*/ 343770 h 471291"/>
                <a:gd name="connsiteX322" fmla="*/ 151084 w 287641"/>
                <a:gd name="connsiteY322" fmla="*/ 344762 h 471291"/>
                <a:gd name="connsiteX323" fmla="*/ 154464 w 287641"/>
                <a:gd name="connsiteY323" fmla="*/ 345182 h 471291"/>
                <a:gd name="connsiteX324" fmla="*/ 156187 w 287641"/>
                <a:gd name="connsiteY324" fmla="*/ 344684 h 471291"/>
                <a:gd name="connsiteX325" fmla="*/ 157513 w 287641"/>
                <a:gd name="connsiteY325" fmla="*/ 343516 h 471291"/>
                <a:gd name="connsiteX326" fmla="*/ 158961 w 287641"/>
                <a:gd name="connsiteY326" fmla="*/ 343248 h 471291"/>
                <a:gd name="connsiteX327" fmla="*/ 160283 w 287641"/>
                <a:gd name="connsiteY327" fmla="*/ 343468 h 471291"/>
                <a:gd name="connsiteX328" fmla="*/ 161684 w 287641"/>
                <a:gd name="connsiteY328" fmla="*/ 342548 h 471291"/>
                <a:gd name="connsiteX329" fmla="*/ 162784 w 287641"/>
                <a:gd name="connsiteY329" fmla="*/ 342180 h 471291"/>
                <a:gd name="connsiteX330" fmla="*/ 163920 w 287641"/>
                <a:gd name="connsiteY330" fmla="*/ 342621 h 471291"/>
                <a:gd name="connsiteX331" fmla="*/ 165187 w 287641"/>
                <a:gd name="connsiteY331" fmla="*/ 344828 h 471291"/>
                <a:gd name="connsiteX332" fmla="*/ 162557 w 287641"/>
                <a:gd name="connsiteY332" fmla="*/ 345976 h 471291"/>
                <a:gd name="connsiteX333" fmla="*/ 160691 w 287641"/>
                <a:gd name="connsiteY333" fmla="*/ 346028 h 471291"/>
                <a:gd name="connsiteX334" fmla="*/ 159780 w 287641"/>
                <a:gd name="connsiteY334" fmla="*/ 349640 h 471291"/>
                <a:gd name="connsiteX335" fmla="*/ 158650 w 287641"/>
                <a:gd name="connsiteY335" fmla="*/ 351190 h 471291"/>
                <a:gd name="connsiteX336" fmla="*/ 157841 w 287641"/>
                <a:gd name="connsiteY336" fmla="*/ 351935 h 471291"/>
                <a:gd name="connsiteX337" fmla="*/ 153701 w 287641"/>
                <a:gd name="connsiteY337" fmla="*/ 353469 h 471291"/>
                <a:gd name="connsiteX338" fmla="*/ 150970 w 287641"/>
                <a:gd name="connsiteY338" fmla="*/ 355412 h 471291"/>
                <a:gd name="connsiteX339" fmla="*/ 147750 w 287641"/>
                <a:gd name="connsiteY339" fmla="*/ 356975 h 471291"/>
                <a:gd name="connsiteX340" fmla="*/ 146344 w 287641"/>
                <a:gd name="connsiteY340" fmla="*/ 356635 h 471291"/>
                <a:gd name="connsiteX341" fmla="*/ 144226 w 287641"/>
                <a:gd name="connsiteY341" fmla="*/ 358223 h 471291"/>
                <a:gd name="connsiteX342" fmla="*/ 139518 w 287641"/>
                <a:gd name="connsiteY342" fmla="*/ 360101 h 471291"/>
                <a:gd name="connsiteX343" fmla="*/ 137106 w 287641"/>
                <a:gd name="connsiteY343" fmla="*/ 362629 h 471291"/>
                <a:gd name="connsiteX344" fmla="*/ 131693 w 287641"/>
                <a:gd name="connsiteY344" fmla="*/ 364888 h 471291"/>
                <a:gd name="connsiteX345" fmla="*/ 128935 w 287641"/>
                <a:gd name="connsiteY345" fmla="*/ 366724 h 471291"/>
                <a:gd name="connsiteX346" fmla="*/ 121444 w 287641"/>
                <a:gd name="connsiteY346" fmla="*/ 366820 h 471291"/>
                <a:gd name="connsiteX347" fmla="*/ 114290 w 287641"/>
                <a:gd name="connsiteY347" fmla="*/ 366417 h 471291"/>
                <a:gd name="connsiteX348" fmla="*/ 112044 w 287641"/>
                <a:gd name="connsiteY348" fmla="*/ 367290 h 471291"/>
                <a:gd name="connsiteX349" fmla="*/ 114340 w 287641"/>
                <a:gd name="connsiteY349" fmla="*/ 367560 h 471291"/>
                <a:gd name="connsiteX350" fmla="*/ 115948 w 287641"/>
                <a:gd name="connsiteY350" fmla="*/ 368416 h 471291"/>
                <a:gd name="connsiteX351" fmla="*/ 117877 w 287641"/>
                <a:gd name="connsiteY351" fmla="*/ 368059 h 471291"/>
                <a:gd name="connsiteX352" fmla="*/ 122410 w 287641"/>
                <a:gd name="connsiteY352" fmla="*/ 368487 h 471291"/>
                <a:gd name="connsiteX353" fmla="*/ 124742 w 287641"/>
                <a:gd name="connsiteY353" fmla="*/ 368953 h 471291"/>
                <a:gd name="connsiteX354" fmla="*/ 127735 w 287641"/>
                <a:gd name="connsiteY354" fmla="*/ 371949 h 471291"/>
                <a:gd name="connsiteX355" fmla="*/ 125534 w 287641"/>
                <a:gd name="connsiteY355" fmla="*/ 373013 h 471291"/>
                <a:gd name="connsiteX356" fmla="*/ 121723 w 287641"/>
                <a:gd name="connsiteY356" fmla="*/ 373829 h 471291"/>
                <a:gd name="connsiteX357" fmla="*/ 123152 w 287641"/>
                <a:gd name="connsiteY357" fmla="*/ 378067 h 471291"/>
                <a:gd name="connsiteX358" fmla="*/ 124331 w 287641"/>
                <a:gd name="connsiteY358" fmla="*/ 380919 h 471291"/>
                <a:gd name="connsiteX359" fmla="*/ 122788 w 287641"/>
                <a:gd name="connsiteY359" fmla="*/ 382639 h 471291"/>
                <a:gd name="connsiteX360" fmla="*/ 122673 w 287641"/>
                <a:gd name="connsiteY360" fmla="*/ 390443 h 471291"/>
                <a:gd name="connsiteX361" fmla="*/ 120507 w 287641"/>
                <a:gd name="connsiteY361" fmla="*/ 390592 h 471291"/>
                <a:gd name="connsiteX362" fmla="*/ 119587 w 287641"/>
                <a:gd name="connsiteY362" fmla="*/ 393812 h 471291"/>
                <a:gd name="connsiteX363" fmla="*/ 120269 w 287641"/>
                <a:gd name="connsiteY363" fmla="*/ 395452 h 471291"/>
                <a:gd name="connsiteX364" fmla="*/ 120216 w 287641"/>
                <a:gd name="connsiteY364" fmla="*/ 399257 h 471291"/>
                <a:gd name="connsiteX365" fmla="*/ 120667 w 287641"/>
                <a:gd name="connsiteY365" fmla="*/ 401599 h 471291"/>
                <a:gd name="connsiteX366" fmla="*/ 121729 w 287641"/>
                <a:gd name="connsiteY366" fmla="*/ 403752 h 471291"/>
                <a:gd name="connsiteX367" fmla="*/ 121256 w 287641"/>
                <a:gd name="connsiteY367" fmla="*/ 405996 h 471291"/>
                <a:gd name="connsiteX368" fmla="*/ 117832 w 287641"/>
                <a:gd name="connsiteY368" fmla="*/ 411238 h 471291"/>
                <a:gd name="connsiteX369" fmla="*/ 117910 w 287641"/>
                <a:gd name="connsiteY369" fmla="*/ 413693 h 471291"/>
                <a:gd name="connsiteX370" fmla="*/ 118525 w 287641"/>
                <a:gd name="connsiteY370" fmla="*/ 415150 h 471291"/>
                <a:gd name="connsiteX371" fmla="*/ 118980 w 287641"/>
                <a:gd name="connsiteY371" fmla="*/ 417477 h 471291"/>
                <a:gd name="connsiteX372" fmla="*/ 117424 w 287641"/>
                <a:gd name="connsiteY372" fmla="*/ 421945 h 471291"/>
                <a:gd name="connsiteX373" fmla="*/ 116324 w 287641"/>
                <a:gd name="connsiteY373" fmla="*/ 425671 h 471291"/>
                <a:gd name="connsiteX374" fmla="*/ 115018 w 287641"/>
                <a:gd name="connsiteY374" fmla="*/ 428802 h 471291"/>
                <a:gd name="connsiteX375" fmla="*/ 112094 w 287641"/>
                <a:gd name="connsiteY375" fmla="*/ 432553 h 471291"/>
                <a:gd name="connsiteX376" fmla="*/ 110639 w 287641"/>
                <a:gd name="connsiteY376" fmla="*/ 435353 h 471291"/>
                <a:gd name="connsiteX377" fmla="*/ 107233 w 287641"/>
                <a:gd name="connsiteY377" fmla="*/ 444067 h 471291"/>
                <a:gd name="connsiteX378" fmla="*/ 105545 w 287641"/>
                <a:gd name="connsiteY378" fmla="*/ 445792 h 471291"/>
                <a:gd name="connsiteX379" fmla="*/ 103474 w 287641"/>
                <a:gd name="connsiteY379" fmla="*/ 447117 h 471291"/>
                <a:gd name="connsiteX380" fmla="*/ 101166 w 287641"/>
                <a:gd name="connsiteY380" fmla="*/ 445891 h 471291"/>
                <a:gd name="connsiteX381" fmla="*/ 99049 w 287641"/>
                <a:gd name="connsiteY381" fmla="*/ 445223 h 471291"/>
                <a:gd name="connsiteX382" fmla="*/ 96464 w 287641"/>
                <a:gd name="connsiteY382" fmla="*/ 445304 h 471291"/>
                <a:gd name="connsiteX383" fmla="*/ 92416 w 287641"/>
                <a:gd name="connsiteY383" fmla="*/ 446309 h 471291"/>
                <a:gd name="connsiteX384" fmla="*/ 86326 w 287641"/>
                <a:gd name="connsiteY384" fmla="*/ 445641 h 471291"/>
                <a:gd name="connsiteX385" fmla="*/ 80375 w 287641"/>
                <a:gd name="connsiteY385" fmla="*/ 445963 h 471291"/>
                <a:gd name="connsiteX386" fmla="*/ 78870 w 287641"/>
                <a:gd name="connsiteY386" fmla="*/ 446831 h 471291"/>
                <a:gd name="connsiteX387" fmla="*/ 79772 w 287641"/>
                <a:gd name="connsiteY387" fmla="*/ 449981 h 471291"/>
                <a:gd name="connsiteX388" fmla="*/ 77579 w 287641"/>
                <a:gd name="connsiteY388" fmla="*/ 450394 h 471291"/>
                <a:gd name="connsiteX389" fmla="*/ 75434 w 287641"/>
                <a:gd name="connsiteY389" fmla="*/ 449498 h 471291"/>
                <a:gd name="connsiteX390" fmla="*/ 73547 w 287641"/>
                <a:gd name="connsiteY390" fmla="*/ 450567 h 471291"/>
                <a:gd name="connsiteX391" fmla="*/ 71970 w 287641"/>
                <a:gd name="connsiteY391" fmla="*/ 451739 h 471291"/>
                <a:gd name="connsiteX392" fmla="*/ 68874 w 287641"/>
                <a:gd name="connsiteY392" fmla="*/ 454516 h 471291"/>
                <a:gd name="connsiteX393" fmla="*/ 67837 w 287641"/>
                <a:gd name="connsiteY393" fmla="*/ 456225 h 471291"/>
                <a:gd name="connsiteX394" fmla="*/ 67570 w 287641"/>
                <a:gd name="connsiteY394" fmla="*/ 459439 h 471291"/>
                <a:gd name="connsiteX395" fmla="*/ 69196 w 287641"/>
                <a:gd name="connsiteY395" fmla="*/ 462318 h 471291"/>
                <a:gd name="connsiteX396" fmla="*/ 70638 w 287641"/>
                <a:gd name="connsiteY396" fmla="*/ 465684 h 471291"/>
                <a:gd name="connsiteX397" fmla="*/ 66924 w 287641"/>
                <a:gd name="connsiteY397" fmla="*/ 469739 h 471291"/>
                <a:gd name="connsiteX398" fmla="*/ 64851 w 287641"/>
                <a:gd name="connsiteY398" fmla="*/ 469876 h 471291"/>
                <a:gd name="connsiteX399" fmla="*/ 58800 w 287641"/>
                <a:gd name="connsiteY399" fmla="*/ 468752 h 471291"/>
                <a:gd name="connsiteX400" fmla="*/ 48077 w 287641"/>
                <a:gd name="connsiteY400" fmla="*/ 471291 h 471291"/>
                <a:gd name="connsiteX401" fmla="*/ 38446 w 287641"/>
                <a:gd name="connsiteY401" fmla="*/ 469283 h 471291"/>
                <a:gd name="connsiteX402" fmla="*/ 39657 w 287641"/>
                <a:gd name="connsiteY402" fmla="*/ 467112 h 471291"/>
                <a:gd name="connsiteX403" fmla="*/ 39617 w 287641"/>
                <a:gd name="connsiteY403" fmla="*/ 465514 h 471291"/>
                <a:gd name="connsiteX404" fmla="*/ 40161 w 287641"/>
                <a:gd name="connsiteY404" fmla="*/ 463055 h 471291"/>
                <a:gd name="connsiteX405" fmla="*/ 40484 w 287641"/>
                <a:gd name="connsiteY405" fmla="*/ 460536 h 471291"/>
                <a:gd name="connsiteX406" fmla="*/ 40394 w 287641"/>
                <a:gd name="connsiteY406" fmla="*/ 458849 h 471291"/>
                <a:gd name="connsiteX407" fmla="*/ 39688 w 287641"/>
                <a:gd name="connsiteY407" fmla="*/ 457050 h 471291"/>
                <a:gd name="connsiteX408" fmla="*/ 37313 w 287641"/>
                <a:gd name="connsiteY408" fmla="*/ 454694 h 471291"/>
                <a:gd name="connsiteX409" fmla="*/ 31961 w 287641"/>
                <a:gd name="connsiteY409" fmla="*/ 446722 h 471291"/>
                <a:gd name="connsiteX410" fmla="*/ 30378 w 287641"/>
                <a:gd name="connsiteY410" fmla="*/ 443349 h 471291"/>
                <a:gd name="connsiteX411" fmla="*/ 29277 w 287641"/>
                <a:gd name="connsiteY411" fmla="*/ 441942 h 471291"/>
                <a:gd name="connsiteX412" fmla="*/ 30070 w 287641"/>
                <a:gd name="connsiteY412" fmla="*/ 441866 h 471291"/>
                <a:gd name="connsiteX413" fmla="*/ 34477 w 287641"/>
                <a:gd name="connsiteY413" fmla="*/ 443679 h 471291"/>
                <a:gd name="connsiteX414" fmla="*/ 35505 w 287641"/>
                <a:gd name="connsiteY414" fmla="*/ 443456 h 471291"/>
                <a:gd name="connsiteX415" fmla="*/ 36585 w 287641"/>
                <a:gd name="connsiteY415" fmla="*/ 442775 h 471291"/>
                <a:gd name="connsiteX416" fmla="*/ 35270 w 287641"/>
                <a:gd name="connsiteY416" fmla="*/ 440179 h 471291"/>
                <a:gd name="connsiteX417" fmla="*/ 34140 w 287641"/>
                <a:gd name="connsiteY417" fmla="*/ 439003 h 471291"/>
                <a:gd name="connsiteX418" fmla="*/ 33374 w 287641"/>
                <a:gd name="connsiteY418" fmla="*/ 437243 h 471291"/>
                <a:gd name="connsiteX419" fmla="*/ 35954 w 287641"/>
                <a:gd name="connsiteY419" fmla="*/ 436767 h 471291"/>
                <a:gd name="connsiteX420" fmla="*/ 37818 w 287641"/>
                <a:gd name="connsiteY420" fmla="*/ 436872 h 471291"/>
                <a:gd name="connsiteX421" fmla="*/ 39191 w 287641"/>
                <a:gd name="connsiteY421" fmla="*/ 434890 h 471291"/>
                <a:gd name="connsiteX422" fmla="*/ 38399 w 287641"/>
                <a:gd name="connsiteY422" fmla="*/ 431681 h 471291"/>
                <a:gd name="connsiteX423" fmla="*/ 36397 w 287641"/>
                <a:gd name="connsiteY423" fmla="*/ 430693 h 471291"/>
                <a:gd name="connsiteX424" fmla="*/ 34725 w 287641"/>
                <a:gd name="connsiteY424" fmla="*/ 430263 h 471291"/>
                <a:gd name="connsiteX425" fmla="*/ 31521 w 287641"/>
                <a:gd name="connsiteY425" fmla="*/ 425210 h 471291"/>
                <a:gd name="connsiteX426" fmla="*/ 28178 w 287641"/>
                <a:gd name="connsiteY426" fmla="*/ 422589 h 471291"/>
                <a:gd name="connsiteX427" fmla="*/ 22216 w 287641"/>
                <a:gd name="connsiteY427" fmla="*/ 412449 h 471291"/>
                <a:gd name="connsiteX428" fmla="*/ 20035 w 287641"/>
                <a:gd name="connsiteY428" fmla="*/ 405461 h 471291"/>
                <a:gd name="connsiteX429" fmla="*/ 18008 w 287641"/>
                <a:gd name="connsiteY429" fmla="*/ 406126 h 471291"/>
                <a:gd name="connsiteX430" fmla="*/ 17023 w 287641"/>
                <a:gd name="connsiteY430" fmla="*/ 403076 h 471291"/>
                <a:gd name="connsiteX431" fmla="*/ 16317 w 287641"/>
                <a:gd name="connsiteY431" fmla="*/ 400184 h 471291"/>
                <a:gd name="connsiteX432" fmla="*/ 16176 w 287641"/>
                <a:gd name="connsiteY432" fmla="*/ 398055 h 471291"/>
                <a:gd name="connsiteX433" fmla="*/ 12998 w 287641"/>
                <a:gd name="connsiteY433" fmla="*/ 396834 h 471291"/>
                <a:gd name="connsiteX434" fmla="*/ 12868 w 287641"/>
                <a:gd name="connsiteY434" fmla="*/ 395340 h 471291"/>
                <a:gd name="connsiteX435" fmla="*/ 12296 w 287641"/>
                <a:gd name="connsiteY435" fmla="*/ 388660 h 471291"/>
                <a:gd name="connsiteX436" fmla="*/ 8886 w 287641"/>
                <a:gd name="connsiteY436" fmla="*/ 387761 h 471291"/>
                <a:gd name="connsiteX437" fmla="*/ 6681 w 287641"/>
                <a:gd name="connsiteY437" fmla="*/ 384002 h 471291"/>
                <a:gd name="connsiteX438" fmla="*/ 6288 w 287641"/>
                <a:gd name="connsiteY438" fmla="*/ 376872 h 471291"/>
                <a:gd name="connsiteX439" fmla="*/ 4043 w 287641"/>
                <a:gd name="connsiteY439" fmla="*/ 375571 h 471291"/>
                <a:gd name="connsiteX440" fmla="*/ 2235 w 287641"/>
                <a:gd name="connsiteY440" fmla="*/ 375932 h 471291"/>
                <a:gd name="connsiteX441" fmla="*/ 2320 w 287641"/>
                <a:gd name="connsiteY441" fmla="*/ 374160 h 471291"/>
                <a:gd name="connsiteX442" fmla="*/ 2751 w 287641"/>
                <a:gd name="connsiteY442" fmla="*/ 372496 h 471291"/>
                <a:gd name="connsiteX443" fmla="*/ 1696 w 287641"/>
                <a:gd name="connsiteY443" fmla="*/ 365889 h 471291"/>
                <a:gd name="connsiteX444" fmla="*/ 1343 w 287641"/>
                <a:gd name="connsiteY444" fmla="*/ 359841 h 471291"/>
                <a:gd name="connsiteX445" fmla="*/ 486 w 287641"/>
                <a:gd name="connsiteY445" fmla="*/ 358012 h 471291"/>
                <a:gd name="connsiteX446" fmla="*/ 0 w 287641"/>
                <a:gd name="connsiteY446" fmla="*/ 355868 h 471291"/>
                <a:gd name="connsiteX447" fmla="*/ 436 w 287641"/>
                <a:gd name="connsiteY447" fmla="*/ 354014 h 471291"/>
                <a:gd name="connsiteX448" fmla="*/ 1076 w 287641"/>
                <a:gd name="connsiteY448" fmla="*/ 352949 h 471291"/>
                <a:gd name="connsiteX449" fmla="*/ 3276 w 287641"/>
                <a:gd name="connsiteY449" fmla="*/ 352669 h 471291"/>
                <a:gd name="connsiteX450" fmla="*/ 5332 w 287641"/>
                <a:gd name="connsiteY450" fmla="*/ 354309 h 471291"/>
                <a:gd name="connsiteX451" fmla="*/ 7154 w 287641"/>
                <a:gd name="connsiteY451" fmla="*/ 358440 h 471291"/>
                <a:gd name="connsiteX452" fmla="*/ 8765 w 287641"/>
                <a:gd name="connsiteY452" fmla="*/ 358977 h 471291"/>
                <a:gd name="connsiteX453" fmla="*/ 10959 w 287641"/>
                <a:gd name="connsiteY453" fmla="*/ 357902 h 471291"/>
                <a:gd name="connsiteX454" fmla="*/ 12495 w 287641"/>
                <a:gd name="connsiteY454" fmla="*/ 354890 h 471291"/>
                <a:gd name="connsiteX455" fmla="*/ 13371 w 287641"/>
                <a:gd name="connsiteY455" fmla="*/ 350363 h 471291"/>
                <a:gd name="connsiteX456" fmla="*/ 14395 w 287641"/>
                <a:gd name="connsiteY456" fmla="*/ 346042 h 471291"/>
                <a:gd name="connsiteX457" fmla="*/ 13183 w 287641"/>
                <a:gd name="connsiteY457" fmla="*/ 341411 h 471291"/>
                <a:gd name="connsiteX458" fmla="*/ 11890 w 287641"/>
                <a:gd name="connsiteY458" fmla="*/ 337334 h 471291"/>
                <a:gd name="connsiteX459" fmla="*/ 11799 w 287641"/>
                <a:gd name="connsiteY459" fmla="*/ 336135 h 471291"/>
                <a:gd name="connsiteX460" fmla="*/ 15194 w 287641"/>
                <a:gd name="connsiteY460" fmla="*/ 332688 h 471291"/>
                <a:gd name="connsiteX461" fmla="*/ 16232 w 287641"/>
                <a:gd name="connsiteY461" fmla="*/ 329881 h 471291"/>
                <a:gd name="connsiteX462" fmla="*/ 17358 w 287641"/>
                <a:gd name="connsiteY462" fmla="*/ 327204 h 471291"/>
                <a:gd name="connsiteX463" fmla="*/ 18599 w 287641"/>
                <a:gd name="connsiteY463" fmla="*/ 326293 h 471291"/>
                <a:gd name="connsiteX464" fmla="*/ 20448 w 287641"/>
                <a:gd name="connsiteY464" fmla="*/ 326085 h 471291"/>
                <a:gd name="connsiteX465" fmla="*/ 22601 w 287641"/>
                <a:gd name="connsiteY465" fmla="*/ 325581 h 471291"/>
                <a:gd name="connsiteX466" fmla="*/ 25315 w 287641"/>
                <a:gd name="connsiteY466" fmla="*/ 323786 h 471291"/>
                <a:gd name="connsiteX467" fmla="*/ 27748 w 287641"/>
                <a:gd name="connsiteY467" fmla="*/ 321381 h 471291"/>
                <a:gd name="connsiteX468" fmla="*/ 29608 w 287641"/>
                <a:gd name="connsiteY468" fmla="*/ 319172 h 471291"/>
                <a:gd name="connsiteX469" fmla="*/ 30238 w 287641"/>
                <a:gd name="connsiteY469" fmla="*/ 314796 h 471291"/>
                <a:gd name="connsiteX470" fmla="*/ 30264 w 287641"/>
                <a:gd name="connsiteY470" fmla="*/ 312594 h 471291"/>
                <a:gd name="connsiteX471" fmla="*/ 31083 w 287641"/>
                <a:gd name="connsiteY471" fmla="*/ 310957 h 471291"/>
                <a:gd name="connsiteX472" fmla="*/ 31875 w 287641"/>
                <a:gd name="connsiteY472" fmla="*/ 307757 h 471291"/>
                <a:gd name="connsiteX473" fmla="*/ 31104 w 287641"/>
                <a:gd name="connsiteY473" fmla="*/ 304595 h 471291"/>
                <a:gd name="connsiteX474" fmla="*/ 28705 w 287641"/>
                <a:gd name="connsiteY474" fmla="*/ 299791 h 471291"/>
                <a:gd name="connsiteX475" fmla="*/ 25816 w 287641"/>
                <a:gd name="connsiteY475" fmla="*/ 293016 h 471291"/>
                <a:gd name="connsiteX476" fmla="*/ 25362 w 287641"/>
                <a:gd name="connsiteY476" fmla="*/ 289308 h 471291"/>
                <a:gd name="connsiteX477" fmla="*/ 26679 w 287641"/>
                <a:gd name="connsiteY477" fmla="*/ 288619 h 471291"/>
                <a:gd name="connsiteX478" fmla="*/ 29198 w 287641"/>
                <a:gd name="connsiteY478" fmla="*/ 288004 h 471291"/>
                <a:gd name="connsiteX479" fmla="*/ 33961 w 287641"/>
                <a:gd name="connsiteY479" fmla="*/ 287826 h 471291"/>
                <a:gd name="connsiteX480" fmla="*/ 34471 w 287641"/>
                <a:gd name="connsiteY480" fmla="*/ 287388 h 471291"/>
                <a:gd name="connsiteX481" fmla="*/ 34952 w 287641"/>
                <a:gd name="connsiteY481" fmla="*/ 285761 h 471291"/>
                <a:gd name="connsiteX482" fmla="*/ 36025 w 287641"/>
                <a:gd name="connsiteY482" fmla="*/ 283550 h 471291"/>
                <a:gd name="connsiteX483" fmla="*/ 37172 w 287641"/>
                <a:gd name="connsiteY483" fmla="*/ 281938 h 471291"/>
                <a:gd name="connsiteX484" fmla="*/ 37956 w 287641"/>
                <a:gd name="connsiteY484" fmla="*/ 279631 h 471291"/>
                <a:gd name="connsiteX485" fmla="*/ 38334 w 287641"/>
                <a:gd name="connsiteY485" fmla="*/ 277538 h 471291"/>
                <a:gd name="connsiteX486" fmla="*/ 35609 w 287641"/>
                <a:gd name="connsiteY486" fmla="*/ 274382 h 471291"/>
                <a:gd name="connsiteX487" fmla="*/ 32039 w 287641"/>
                <a:gd name="connsiteY487" fmla="*/ 271147 h 471291"/>
                <a:gd name="connsiteX488" fmla="*/ 29623 w 287641"/>
                <a:gd name="connsiteY488" fmla="*/ 270074 h 471291"/>
                <a:gd name="connsiteX489" fmla="*/ 25317 w 287641"/>
                <a:gd name="connsiteY489" fmla="*/ 267346 h 471291"/>
                <a:gd name="connsiteX490" fmla="*/ 22294 w 287641"/>
                <a:gd name="connsiteY490" fmla="*/ 265062 h 471291"/>
                <a:gd name="connsiteX491" fmla="*/ 24026 w 287641"/>
                <a:gd name="connsiteY491" fmla="*/ 256346 h 471291"/>
                <a:gd name="connsiteX492" fmla="*/ 25315 w 287641"/>
                <a:gd name="connsiteY492" fmla="*/ 249836 h 471291"/>
                <a:gd name="connsiteX493" fmla="*/ 25522 w 287641"/>
                <a:gd name="connsiteY493" fmla="*/ 248251 h 471291"/>
                <a:gd name="connsiteX494" fmla="*/ 25570 w 287641"/>
                <a:gd name="connsiteY494" fmla="*/ 245790 h 471291"/>
                <a:gd name="connsiteX495" fmla="*/ 21391 w 287641"/>
                <a:gd name="connsiteY495" fmla="*/ 235264 h 471291"/>
                <a:gd name="connsiteX496" fmla="*/ 21553 w 287641"/>
                <a:gd name="connsiteY496" fmla="*/ 232916 h 471291"/>
                <a:gd name="connsiteX497" fmla="*/ 21951 w 287641"/>
                <a:gd name="connsiteY497" fmla="*/ 230799 h 471291"/>
                <a:gd name="connsiteX498" fmla="*/ 21503 w 287641"/>
                <a:gd name="connsiteY498" fmla="*/ 227185 h 471291"/>
                <a:gd name="connsiteX499" fmla="*/ 21260 w 287641"/>
                <a:gd name="connsiteY499" fmla="*/ 223946 h 471291"/>
                <a:gd name="connsiteX500" fmla="*/ 21977 w 287641"/>
                <a:gd name="connsiteY500" fmla="*/ 222963 h 471291"/>
                <a:gd name="connsiteX501" fmla="*/ 23682 w 287641"/>
                <a:gd name="connsiteY501" fmla="*/ 221133 h 471291"/>
                <a:gd name="connsiteX502" fmla="*/ 22056 w 287641"/>
                <a:gd name="connsiteY502" fmla="*/ 218291 h 471291"/>
                <a:gd name="connsiteX503" fmla="*/ 21925 w 287641"/>
                <a:gd name="connsiteY503" fmla="*/ 218060 h 471291"/>
                <a:gd name="connsiteX504" fmla="*/ 18856 w 287641"/>
                <a:gd name="connsiteY504" fmla="*/ 211011 h 471291"/>
                <a:gd name="connsiteX505" fmla="*/ 23549 w 287641"/>
                <a:gd name="connsiteY505" fmla="*/ 204008 h 471291"/>
                <a:gd name="connsiteX506" fmla="*/ 22732 w 287641"/>
                <a:gd name="connsiteY506" fmla="*/ 200377 h 471291"/>
                <a:gd name="connsiteX507" fmla="*/ 25535 w 287641"/>
                <a:gd name="connsiteY507" fmla="*/ 197738 h 471291"/>
                <a:gd name="connsiteX508" fmla="*/ 30638 w 287641"/>
                <a:gd name="connsiteY508" fmla="*/ 191681 h 471291"/>
                <a:gd name="connsiteX509" fmla="*/ 33508 w 287641"/>
                <a:gd name="connsiteY509" fmla="*/ 188267 h 471291"/>
                <a:gd name="connsiteX510" fmla="*/ 34117 w 287641"/>
                <a:gd name="connsiteY510" fmla="*/ 187670 h 471291"/>
                <a:gd name="connsiteX511" fmla="*/ 36388 w 287641"/>
                <a:gd name="connsiteY511" fmla="*/ 186168 h 471291"/>
                <a:gd name="connsiteX512" fmla="*/ 40696 w 287641"/>
                <a:gd name="connsiteY512" fmla="*/ 184385 h 471291"/>
                <a:gd name="connsiteX513" fmla="*/ 45471 w 287641"/>
                <a:gd name="connsiteY513" fmla="*/ 183516 h 471291"/>
                <a:gd name="connsiteX514" fmla="*/ 47596 w 287641"/>
                <a:gd name="connsiteY514" fmla="*/ 183527 h 471291"/>
                <a:gd name="connsiteX515" fmla="*/ 55801 w 287641"/>
                <a:gd name="connsiteY515" fmla="*/ 184734 h 471291"/>
                <a:gd name="connsiteX516" fmla="*/ 62210 w 287641"/>
                <a:gd name="connsiteY516" fmla="*/ 185673 h 471291"/>
                <a:gd name="connsiteX517" fmla="*/ 63143 w 287641"/>
                <a:gd name="connsiteY517" fmla="*/ 184730 h 471291"/>
                <a:gd name="connsiteX518" fmla="*/ 64482 w 287641"/>
                <a:gd name="connsiteY518" fmla="*/ 182795 h 471291"/>
                <a:gd name="connsiteX519" fmla="*/ 66205 w 287641"/>
                <a:gd name="connsiteY519" fmla="*/ 180035 h 471291"/>
                <a:gd name="connsiteX520" fmla="*/ 66356 w 287641"/>
                <a:gd name="connsiteY520" fmla="*/ 176962 h 471291"/>
                <a:gd name="connsiteX521" fmla="*/ 65734 w 287641"/>
                <a:gd name="connsiteY521" fmla="*/ 172439 h 471291"/>
                <a:gd name="connsiteX522" fmla="*/ 64799 w 287641"/>
                <a:gd name="connsiteY522" fmla="*/ 169727 h 471291"/>
                <a:gd name="connsiteX523" fmla="*/ 60286 w 287641"/>
                <a:gd name="connsiteY523" fmla="*/ 167963 h 471291"/>
                <a:gd name="connsiteX524" fmla="*/ 55350 w 287641"/>
                <a:gd name="connsiteY524" fmla="*/ 165542 h 471291"/>
                <a:gd name="connsiteX525" fmla="*/ 61420 w 287641"/>
                <a:gd name="connsiteY525" fmla="*/ 157854 h 471291"/>
                <a:gd name="connsiteX526" fmla="*/ 65629 w 287641"/>
                <a:gd name="connsiteY526" fmla="*/ 152501 h 471291"/>
                <a:gd name="connsiteX527" fmla="*/ 70876 w 287641"/>
                <a:gd name="connsiteY527" fmla="*/ 144422 h 471291"/>
                <a:gd name="connsiteX528" fmla="*/ 72508 w 287641"/>
                <a:gd name="connsiteY528" fmla="*/ 141051 h 471291"/>
                <a:gd name="connsiteX529" fmla="*/ 73689 w 287641"/>
                <a:gd name="connsiteY529" fmla="*/ 139711 h 471291"/>
                <a:gd name="connsiteX530" fmla="*/ 75233 w 287641"/>
                <a:gd name="connsiteY530" fmla="*/ 127217 h 471291"/>
                <a:gd name="connsiteX531" fmla="*/ 76257 w 287641"/>
                <a:gd name="connsiteY531" fmla="*/ 123708 h 471291"/>
                <a:gd name="connsiteX532" fmla="*/ 77114 w 287641"/>
                <a:gd name="connsiteY532" fmla="*/ 121873 h 471291"/>
                <a:gd name="connsiteX533" fmla="*/ 77127 w 287641"/>
                <a:gd name="connsiteY533" fmla="*/ 119986 h 471291"/>
                <a:gd name="connsiteX534" fmla="*/ 76570 w 287641"/>
                <a:gd name="connsiteY534" fmla="*/ 116802 h 471291"/>
                <a:gd name="connsiteX535" fmla="*/ 75095 w 287641"/>
                <a:gd name="connsiteY535" fmla="*/ 109590 h 471291"/>
                <a:gd name="connsiteX536" fmla="*/ 83381 w 287641"/>
                <a:gd name="connsiteY536" fmla="*/ 108696 h 471291"/>
                <a:gd name="connsiteX537" fmla="*/ 86080 w 287641"/>
                <a:gd name="connsiteY537" fmla="*/ 108190 h 471291"/>
                <a:gd name="connsiteX538" fmla="*/ 88585 w 287641"/>
                <a:gd name="connsiteY538" fmla="*/ 107326 h 471291"/>
                <a:gd name="connsiteX539" fmla="*/ 93485 w 287641"/>
                <a:gd name="connsiteY539" fmla="*/ 105086 h 471291"/>
                <a:gd name="connsiteX540" fmla="*/ 95892 w 287641"/>
                <a:gd name="connsiteY540" fmla="*/ 103105 h 471291"/>
                <a:gd name="connsiteX541" fmla="*/ 94547 w 287641"/>
                <a:gd name="connsiteY541" fmla="*/ 96329 h 471291"/>
                <a:gd name="connsiteX542" fmla="*/ 97512 w 287641"/>
                <a:gd name="connsiteY542" fmla="*/ 94031 h 471291"/>
                <a:gd name="connsiteX543" fmla="*/ 104746 w 287641"/>
                <a:gd name="connsiteY543" fmla="*/ 86006 h 471291"/>
                <a:gd name="connsiteX544" fmla="*/ 112563 w 287641"/>
                <a:gd name="connsiteY544" fmla="*/ 78290 h 471291"/>
                <a:gd name="connsiteX545" fmla="*/ 116229 w 287641"/>
                <a:gd name="connsiteY545" fmla="*/ 75362 h 471291"/>
                <a:gd name="connsiteX546" fmla="*/ 116609 w 287641"/>
                <a:gd name="connsiteY546" fmla="*/ 73929 h 471291"/>
                <a:gd name="connsiteX547" fmla="*/ 116910 w 287641"/>
                <a:gd name="connsiteY547" fmla="*/ 71624 h 471291"/>
                <a:gd name="connsiteX548" fmla="*/ 115281 w 287641"/>
                <a:gd name="connsiteY548" fmla="*/ 67999 h 471291"/>
                <a:gd name="connsiteX549" fmla="*/ 113532 w 287641"/>
                <a:gd name="connsiteY549" fmla="*/ 65749 h 471291"/>
                <a:gd name="connsiteX550" fmla="*/ 110125 w 287641"/>
                <a:gd name="connsiteY550" fmla="*/ 61479 h 471291"/>
                <a:gd name="connsiteX551" fmla="*/ 111587 w 287641"/>
                <a:gd name="connsiteY551" fmla="*/ 58496 h 471291"/>
                <a:gd name="connsiteX552" fmla="*/ 114098 w 287641"/>
                <a:gd name="connsiteY552" fmla="*/ 57916 h 471291"/>
                <a:gd name="connsiteX553" fmla="*/ 117415 w 287641"/>
                <a:gd name="connsiteY553" fmla="*/ 56743 h 471291"/>
                <a:gd name="connsiteX554" fmla="*/ 120002 w 287641"/>
                <a:gd name="connsiteY554" fmla="*/ 54187 h 471291"/>
                <a:gd name="connsiteX555" fmla="*/ 120254 w 287641"/>
                <a:gd name="connsiteY555" fmla="*/ 53858 h 471291"/>
                <a:gd name="connsiteX556" fmla="*/ 124634 w 287641"/>
                <a:gd name="connsiteY556" fmla="*/ 43774 h 471291"/>
                <a:gd name="connsiteX557" fmla="*/ 133189 w 287641"/>
                <a:gd name="connsiteY557" fmla="*/ 38646 h 471291"/>
                <a:gd name="connsiteX558" fmla="*/ 136597 w 287641"/>
                <a:gd name="connsiteY558" fmla="*/ 35843 h 471291"/>
                <a:gd name="connsiteX559" fmla="*/ 141907 w 287641"/>
                <a:gd name="connsiteY559" fmla="*/ 37949 h 471291"/>
                <a:gd name="connsiteX560" fmla="*/ 149689 w 287641"/>
                <a:gd name="connsiteY560" fmla="*/ 41124 h 471291"/>
                <a:gd name="connsiteX561" fmla="*/ 153150 w 287641"/>
                <a:gd name="connsiteY561" fmla="*/ 36451 h 471291"/>
                <a:gd name="connsiteX562" fmla="*/ 154295 w 287641"/>
                <a:gd name="connsiteY562" fmla="*/ 34715 h 471291"/>
                <a:gd name="connsiteX563" fmla="*/ 155437 w 287641"/>
                <a:gd name="connsiteY563" fmla="*/ 32154 h 471291"/>
                <a:gd name="connsiteX564" fmla="*/ 154979 w 287641"/>
                <a:gd name="connsiteY564" fmla="*/ 27717 h 471291"/>
                <a:gd name="connsiteX565" fmla="*/ 154783 w 287641"/>
                <a:gd name="connsiteY565" fmla="*/ 21940 h 471291"/>
                <a:gd name="connsiteX566" fmla="*/ 155126 w 287641"/>
                <a:gd name="connsiteY566" fmla="*/ 19614 h 471291"/>
                <a:gd name="connsiteX567" fmla="*/ 158232 w 287641"/>
                <a:gd name="connsiteY567" fmla="*/ 18577 h 471291"/>
                <a:gd name="connsiteX568" fmla="*/ 159903 w 287641"/>
                <a:gd name="connsiteY568" fmla="*/ 18309 h 471291"/>
                <a:gd name="connsiteX569" fmla="*/ 168553 w 287641"/>
                <a:gd name="connsiteY569" fmla="*/ 20702 h 471291"/>
                <a:gd name="connsiteX570" fmla="*/ 170730 w 287641"/>
                <a:gd name="connsiteY570" fmla="*/ 20661 h 471291"/>
                <a:gd name="connsiteX571" fmla="*/ 174807 w 287641"/>
                <a:gd name="connsiteY571" fmla="*/ 20983 h 471291"/>
                <a:gd name="connsiteX572" fmla="*/ 179370 w 287641"/>
                <a:gd name="connsiteY572" fmla="*/ 22034 h 471291"/>
                <a:gd name="connsiteX573" fmla="*/ 188927 w 287641"/>
                <a:gd name="connsiteY573" fmla="*/ 24826 h 471291"/>
                <a:gd name="connsiteX574" fmla="*/ 192881 w 287641"/>
                <a:gd name="connsiteY574" fmla="*/ 25981 h 471291"/>
                <a:gd name="connsiteX575" fmla="*/ 195088 w 287641"/>
                <a:gd name="connsiteY575" fmla="*/ 26205 h 471291"/>
                <a:gd name="connsiteX576" fmla="*/ 196993 w 287641"/>
                <a:gd name="connsiteY576" fmla="*/ 24905 h 471291"/>
                <a:gd name="connsiteX577" fmla="*/ 201063 w 287641"/>
                <a:gd name="connsiteY577" fmla="*/ 21566 h 471291"/>
                <a:gd name="connsiteX578" fmla="*/ 195066 w 287641"/>
                <a:gd name="connsiteY578" fmla="*/ 19091 h 471291"/>
                <a:gd name="connsiteX579" fmla="*/ 199016 w 287641"/>
                <a:gd name="connsiteY579" fmla="*/ 16583 h 471291"/>
                <a:gd name="connsiteX580" fmla="*/ 201063 w 287641"/>
                <a:gd name="connsiteY580" fmla="*/ 14051 h 471291"/>
                <a:gd name="connsiteX581" fmla="*/ 202819 w 287641"/>
                <a:gd name="connsiteY581" fmla="*/ 10934 h 471291"/>
                <a:gd name="connsiteX582" fmla="*/ 203451 w 287641"/>
                <a:gd name="connsiteY582" fmla="*/ 7280 h 471291"/>
                <a:gd name="connsiteX583" fmla="*/ 203209 w 287641"/>
                <a:gd name="connsiteY583" fmla="*/ 5312 h 471291"/>
                <a:gd name="connsiteX584" fmla="*/ 201998 w 287641"/>
                <a:gd name="connsiteY584" fmla="*/ 3971 h 471291"/>
                <a:gd name="connsiteX585" fmla="*/ 198336 w 287641"/>
                <a:gd name="connsiteY585" fmla="*/ 619 h 471291"/>
                <a:gd name="connsiteX586" fmla="*/ 206634 w 287641"/>
                <a:gd name="connsiteY586" fmla="*/ 138 h 471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</a:cxnLst>
              <a:rect l="l" t="t" r="r" b="b"/>
              <a:pathLst>
                <a:path w="287641" h="471291">
                  <a:moveTo>
                    <a:pt x="129980" y="408700"/>
                  </a:moveTo>
                  <a:lnTo>
                    <a:pt x="131392" y="409106"/>
                  </a:lnTo>
                  <a:lnTo>
                    <a:pt x="132021" y="409502"/>
                  </a:lnTo>
                  <a:lnTo>
                    <a:pt x="130533" y="410751"/>
                  </a:lnTo>
                  <a:lnTo>
                    <a:pt x="130706" y="412376"/>
                  </a:lnTo>
                  <a:lnTo>
                    <a:pt x="130602" y="413049"/>
                  </a:lnTo>
                  <a:lnTo>
                    <a:pt x="126847" y="420100"/>
                  </a:lnTo>
                  <a:lnTo>
                    <a:pt x="125843" y="424667"/>
                  </a:lnTo>
                  <a:lnTo>
                    <a:pt x="124511" y="425780"/>
                  </a:lnTo>
                  <a:lnTo>
                    <a:pt x="118993" y="441942"/>
                  </a:lnTo>
                  <a:lnTo>
                    <a:pt x="117858" y="443517"/>
                  </a:lnTo>
                  <a:lnTo>
                    <a:pt x="116851" y="443406"/>
                  </a:lnTo>
                  <a:lnTo>
                    <a:pt x="116180" y="441305"/>
                  </a:lnTo>
                  <a:lnTo>
                    <a:pt x="116022" y="435892"/>
                  </a:lnTo>
                  <a:lnTo>
                    <a:pt x="116424" y="433213"/>
                  </a:lnTo>
                  <a:lnTo>
                    <a:pt x="121246" y="423521"/>
                  </a:lnTo>
                  <a:lnTo>
                    <a:pt x="123398" y="422728"/>
                  </a:lnTo>
                  <a:lnTo>
                    <a:pt x="126426" y="416765"/>
                  </a:lnTo>
                  <a:lnTo>
                    <a:pt x="127242" y="414108"/>
                  </a:lnTo>
                  <a:lnTo>
                    <a:pt x="128555" y="411712"/>
                  </a:lnTo>
                  <a:lnTo>
                    <a:pt x="129330" y="409567"/>
                  </a:lnTo>
                  <a:close/>
                  <a:moveTo>
                    <a:pt x="171445" y="390509"/>
                  </a:moveTo>
                  <a:lnTo>
                    <a:pt x="172680" y="391004"/>
                  </a:lnTo>
                  <a:lnTo>
                    <a:pt x="175334" y="393055"/>
                  </a:lnTo>
                  <a:lnTo>
                    <a:pt x="173505" y="393817"/>
                  </a:lnTo>
                  <a:lnTo>
                    <a:pt x="172429" y="396070"/>
                  </a:lnTo>
                  <a:lnTo>
                    <a:pt x="170948" y="396450"/>
                  </a:lnTo>
                  <a:lnTo>
                    <a:pt x="169527" y="397201"/>
                  </a:lnTo>
                  <a:lnTo>
                    <a:pt x="169020" y="404312"/>
                  </a:lnTo>
                  <a:lnTo>
                    <a:pt x="171607" y="407008"/>
                  </a:lnTo>
                  <a:lnTo>
                    <a:pt x="170186" y="407385"/>
                  </a:lnTo>
                  <a:lnTo>
                    <a:pt x="168886" y="408192"/>
                  </a:lnTo>
                  <a:lnTo>
                    <a:pt x="167957" y="409384"/>
                  </a:lnTo>
                  <a:lnTo>
                    <a:pt x="167007" y="411948"/>
                  </a:lnTo>
                  <a:lnTo>
                    <a:pt x="163438" y="413400"/>
                  </a:lnTo>
                  <a:lnTo>
                    <a:pt x="162086" y="414474"/>
                  </a:lnTo>
                  <a:lnTo>
                    <a:pt x="160093" y="416861"/>
                  </a:lnTo>
                  <a:lnTo>
                    <a:pt x="159054" y="420321"/>
                  </a:lnTo>
                  <a:lnTo>
                    <a:pt x="157035" y="421795"/>
                  </a:lnTo>
                  <a:lnTo>
                    <a:pt x="154768" y="422144"/>
                  </a:lnTo>
                  <a:lnTo>
                    <a:pt x="156098" y="419312"/>
                  </a:lnTo>
                  <a:lnTo>
                    <a:pt x="157841" y="417002"/>
                  </a:lnTo>
                  <a:lnTo>
                    <a:pt x="156165" y="415416"/>
                  </a:lnTo>
                  <a:lnTo>
                    <a:pt x="155156" y="412931"/>
                  </a:lnTo>
                  <a:lnTo>
                    <a:pt x="153855" y="411024"/>
                  </a:lnTo>
                  <a:lnTo>
                    <a:pt x="154891" y="408891"/>
                  </a:lnTo>
                  <a:lnTo>
                    <a:pt x="154381" y="405391"/>
                  </a:lnTo>
                  <a:lnTo>
                    <a:pt x="154550" y="401970"/>
                  </a:lnTo>
                  <a:lnTo>
                    <a:pt x="156061" y="400241"/>
                  </a:lnTo>
                  <a:lnTo>
                    <a:pt x="157793" y="398831"/>
                  </a:lnTo>
                  <a:lnTo>
                    <a:pt x="160490" y="395583"/>
                  </a:lnTo>
                  <a:lnTo>
                    <a:pt x="163414" y="393226"/>
                  </a:lnTo>
                  <a:lnTo>
                    <a:pt x="167493" y="392166"/>
                  </a:lnTo>
                  <a:lnTo>
                    <a:pt x="169335" y="393143"/>
                  </a:lnTo>
                  <a:lnTo>
                    <a:pt x="170130" y="390998"/>
                  </a:lnTo>
                  <a:close/>
                  <a:moveTo>
                    <a:pt x="176625" y="388398"/>
                  </a:moveTo>
                  <a:lnTo>
                    <a:pt x="179860" y="388520"/>
                  </a:lnTo>
                  <a:lnTo>
                    <a:pt x="180972" y="388990"/>
                  </a:lnTo>
                  <a:lnTo>
                    <a:pt x="177100" y="390280"/>
                  </a:lnTo>
                  <a:lnTo>
                    <a:pt x="176703" y="392277"/>
                  </a:lnTo>
                  <a:lnTo>
                    <a:pt x="175556" y="392125"/>
                  </a:lnTo>
                  <a:lnTo>
                    <a:pt x="174511" y="390651"/>
                  </a:lnTo>
                  <a:close/>
                  <a:moveTo>
                    <a:pt x="161812" y="351984"/>
                  </a:moveTo>
                  <a:lnTo>
                    <a:pt x="162267" y="352091"/>
                  </a:lnTo>
                  <a:lnTo>
                    <a:pt x="160734" y="354550"/>
                  </a:lnTo>
                  <a:lnTo>
                    <a:pt x="159754" y="354860"/>
                  </a:lnTo>
                  <a:lnTo>
                    <a:pt x="159268" y="354762"/>
                  </a:lnTo>
                  <a:lnTo>
                    <a:pt x="159873" y="353249"/>
                  </a:lnTo>
                  <a:lnTo>
                    <a:pt x="160322" y="352596"/>
                  </a:lnTo>
                  <a:close/>
                  <a:moveTo>
                    <a:pt x="165261" y="337596"/>
                  </a:moveTo>
                  <a:lnTo>
                    <a:pt x="166975" y="338028"/>
                  </a:lnTo>
                  <a:lnTo>
                    <a:pt x="166964" y="338356"/>
                  </a:lnTo>
                  <a:lnTo>
                    <a:pt x="165325" y="339420"/>
                  </a:lnTo>
                  <a:lnTo>
                    <a:pt x="164697" y="340135"/>
                  </a:lnTo>
                  <a:lnTo>
                    <a:pt x="164142" y="341220"/>
                  </a:lnTo>
                  <a:lnTo>
                    <a:pt x="163585" y="339890"/>
                  </a:lnTo>
                  <a:lnTo>
                    <a:pt x="163807" y="339630"/>
                  </a:lnTo>
                  <a:lnTo>
                    <a:pt x="164187" y="338316"/>
                  </a:lnTo>
                  <a:close/>
                  <a:moveTo>
                    <a:pt x="209512" y="0"/>
                  </a:moveTo>
                  <a:lnTo>
                    <a:pt x="215548" y="2210"/>
                  </a:lnTo>
                  <a:lnTo>
                    <a:pt x="215812" y="2688"/>
                  </a:lnTo>
                  <a:lnTo>
                    <a:pt x="215855" y="3839"/>
                  </a:lnTo>
                  <a:lnTo>
                    <a:pt x="216066" y="5031"/>
                  </a:lnTo>
                  <a:lnTo>
                    <a:pt x="221923" y="8050"/>
                  </a:lnTo>
                  <a:lnTo>
                    <a:pt x="223611" y="9646"/>
                  </a:lnTo>
                  <a:lnTo>
                    <a:pt x="227207" y="12069"/>
                  </a:lnTo>
                  <a:lnTo>
                    <a:pt x="228159" y="13376"/>
                  </a:lnTo>
                  <a:lnTo>
                    <a:pt x="231489" y="14904"/>
                  </a:lnTo>
                  <a:lnTo>
                    <a:pt x="233877" y="16536"/>
                  </a:lnTo>
                  <a:lnTo>
                    <a:pt x="236667" y="17859"/>
                  </a:lnTo>
                  <a:lnTo>
                    <a:pt x="239923" y="19914"/>
                  </a:lnTo>
                  <a:lnTo>
                    <a:pt x="244294" y="21549"/>
                  </a:lnTo>
                  <a:lnTo>
                    <a:pt x="247986" y="22082"/>
                  </a:lnTo>
                  <a:lnTo>
                    <a:pt x="257280" y="24881"/>
                  </a:lnTo>
                  <a:lnTo>
                    <a:pt x="258865" y="25787"/>
                  </a:lnTo>
                  <a:lnTo>
                    <a:pt x="261547" y="27732"/>
                  </a:lnTo>
                  <a:lnTo>
                    <a:pt x="264255" y="29982"/>
                  </a:lnTo>
                  <a:lnTo>
                    <a:pt x="266127" y="34594"/>
                  </a:lnTo>
                  <a:lnTo>
                    <a:pt x="269136" y="34834"/>
                  </a:lnTo>
                  <a:lnTo>
                    <a:pt x="269952" y="36419"/>
                  </a:lnTo>
                  <a:lnTo>
                    <a:pt x="272578" y="39132"/>
                  </a:lnTo>
                  <a:lnTo>
                    <a:pt x="276218" y="41522"/>
                  </a:lnTo>
                  <a:lnTo>
                    <a:pt x="276087" y="42326"/>
                  </a:lnTo>
                  <a:lnTo>
                    <a:pt x="273189" y="44525"/>
                  </a:lnTo>
                  <a:lnTo>
                    <a:pt x="272878" y="47502"/>
                  </a:lnTo>
                  <a:lnTo>
                    <a:pt x="273152" y="51297"/>
                  </a:lnTo>
                  <a:lnTo>
                    <a:pt x="274061" y="54386"/>
                  </a:lnTo>
                  <a:lnTo>
                    <a:pt x="273966" y="55288"/>
                  </a:lnTo>
                  <a:lnTo>
                    <a:pt x="273247" y="56351"/>
                  </a:lnTo>
                  <a:lnTo>
                    <a:pt x="272383" y="58019"/>
                  </a:lnTo>
                  <a:lnTo>
                    <a:pt x="272075" y="59473"/>
                  </a:lnTo>
                  <a:lnTo>
                    <a:pt x="272150" y="60186"/>
                  </a:lnTo>
                  <a:lnTo>
                    <a:pt x="272442" y="60573"/>
                  </a:lnTo>
                  <a:lnTo>
                    <a:pt x="273968" y="60602"/>
                  </a:lnTo>
                  <a:lnTo>
                    <a:pt x="276704" y="60945"/>
                  </a:lnTo>
                  <a:lnTo>
                    <a:pt x="278313" y="61590"/>
                  </a:lnTo>
                  <a:lnTo>
                    <a:pt x="279226" y="65128"/>
                  </a:lnTo>
                  <a:lnTo>
                    <a:pt x="278918" y="65807"/>
                  </a:lnTo>
                  <a:lnTo>
                    <a:pt x="276611" y="67406"/>
                  </a:lnTo>
                  <a:lnTo>
                    <a:pt x="275935" y="68675"/>
                  </a:lnTo>
                  <a:lnTo>
                    <a:pt x="275869" y="70538"/>
                  </a:lnTo>
                  <a:lnTo>
                    <a:pt x="276277" y="72584"/>
                  </a:lnTo>
                  <a:lnTo>
                    <a:pt x="277069" y="74871"/>
                  </a:lnTo>
                  <a:lnTo>
                    <a:pt x="278874" y="77315"/>
                  </a:lnTo>
                  <a:lnTo>
                    <a:pt x="281314" y="79867"/>
                  </a:lnTo>
                  <a:lnTo>
                    <a:pt x="282917" y="81958"/>
                  </a:lnTo>
                  <a:lnTo>
                    <a:pt x="283675" y="83430"/>
                  </a:lnTo>
                  <a:lnTo>
                    <a:pt x="283951" y="84458"/>
                  </a:lnTo>
                  <a:lnTo>
                    <a:pt x="282852" y="85750"/>
                  </a:lnTo>
                  <a:lnTo>
                    <a:pt x="281863" y="88303"/>
                  </a:lnTo>
                  <a:lnTo>
                    <a:pt x="281679" y="91223"/>
                  </a:lnTo>
                  <a:lnTo>
                    <a:pt x="281230" y="93125"/>
                  </a:lnTo>
                  <a:lnTo>
                    <a:pt x="279081" y="95739"/>
                  </a:lnTo>
                  <a:lnTo>
                    <a:pt x="277596" y="96665"/>
                  </a:lnTo>
                  <a:lnTo>
                    <a:pt x="277173" y="98043"/>
                  </a:lnTo>
                  <a:lnTo>
                    <a:pt x="276991" y="100353"/>
                  </a:lnTo>
                  <a:lnTo>
                    <a:pt x="277427" y="103166"/>
                  </a:lnTo>
                  <a:lnTo>
                    <a:pt x="277577" y="105065"/>
                  </a:lnTo>
                  <a:lnTo>
                    <a:pt x="278034" y="106431"/>
                  </a:lnTo>
                  <a:lnTo>
                    <a:pt x="278708" y="107322"/>
                  </a:lnTo>
                  <a:lnTo>
                    <a:pt x="282155" y="108897"/>
                  </a:lnTo>
                  <a:lnTo>
                    <a:pt x="284085" y="112118"/>
                  </a:lnTo>
                  <a:lnTo>
                    <a:pt x="285288" y="114698"/>
                  </a:lnTo>
                  <a:lnTo>
                    <a:pt x="287641" y="121435"/>
                  </a:lnTo>
                  <a:lnTo>
                    <a:pt x="281783" y="122275"/>
                  </a:lnTo>
                  <a:lnTo>
                    <a:pt x="277380" y="120588"/>
                  </a:lnTo>
                  <a:lnTo>
                    <a:pt x="275184" y="121433"/>
                  </a:lnTo>
                  <a:lnTo>
                    <a:pt x="271342" y="121469"/>
                  </a:lnTo>
                  <a:lnTo>
                    <a:pt x="266980" y="122133"/>
                  </a:lnTo>
                  <a:lnTo>
                    <a:pt x="265510" y="123452"/>
                  </a:lnTo>
                  <a:lnTo>
                    <a:pt x="264354" y="123982"/>
                  </a:lnTo>
                  <a:lnTo>
                    <a:pt x="260308" y="122120"/>
                  </a:lnTo>
                  <a:lnTo>
                    <a:pt x="256488" y="119040"/>
                  </a:lnTo>
                  <a:lnTo>
                    <a:pt x="253696" y="121389"/>
                  </a:lnTo>
                  <a:lnTo>
                    <a:pt x="251889" y="121834"/>
                  </a:lnTo>
                  <a:lnTo>
                    <a:pt x="250265" y="119708"/>
                  </a:lnTo>
                  <a:lnTo>
                    <a:pt x="248846" y="119363"/>
                  </a:lnTo>
                  <a:lnTo>
                    <a:pt x="248079" y="120072"/>
                  </a:lnTo>
                  <a:lnTo>
                    <a:pt x="247408" y="121949"/>
                  </a:lnTo>
                  <a:lnTo>
                    <a:pt x="246339" y="123425"/>
                  </a:lnTo>
                  <a:lnTo>
                    <a:pt x="246060" y="124359"/>
                  </a:lnTo>
                  <a:lnTo>
                    <a:pt x="245875" y="128120"/>
                  </a:lnTo>
                  <a:lnTo>
                    <a:pt x="245596" y="128991"/>
                  </a:lnTo>
                  <a:lnTo>
                    <a:pt x="241886" y="128505"/>
                  </a:lnTo>
                  <a:lnTo>
                    <a:pt x="242109" y="129491"/>
                  </a:lnTo>
                  <a:lnTo>
                    <a:pt x="242916" y="129987"/>
                  </a:lnTo>
                  <a:lnTo>
                    <a:pt x="243242" y="130612"/>
                  </a:lnTo>
                  <a:lnTo>
                    <a:pt x="241897" y="131433"/>
                  </a:lnTo>
                  <a:lnTo>
                    <a:pt x="238213" y="131356"/>
                  </a:lnTo>
                  <a:lnTo>
                    <a:pt x="237837" y="132227"/>
                  </a:lnTo>
                  <a:lnTo>
                    <a:pt x="238874" y="133603"/>
                  </a:lnTo>
                  <a:lnTo>
                    <a:pt x="238066" y="134807"/>
                  </a:lnTo>
                  <a:lnTo>
                    <a:pt x="237317" y="135281"/>
                  </a:lnTo>
                  <a:lnTo>
                    <a:pt x="232918" y="136028"/>
                  </a:lnTo>
                  <a:lnTo>
                    <a:pt x="230372" y="135857"/>
                  </a:lnTo>
                  <a:lnTo>
                    <a:pt x="229645" y="136636"/>
                  </a:lnTo>
                  <a:lnTo>
                    <a:pt x="229441" y="137647"/>
                  </a:lnTo>
                  <a:lnTo>
                    <a:pt x="229923" y="138639"/>
                  </a:lnTo>
                  <a:lnTo>
                    <a:pt x="231046" y="139167"/>
                  </a:lnTo>
                  <a:lnTo>
                    <a:pt x="231415" y="139796"/>
                  </a:lnTo>
                  <a:lnTo>
                    <a:pt x="231338" y="141158"/>
                  </a:lnTo>
                  <a:lnTo>
                    <a:pt x="230403" y="141405"/>
                  </a:lnTo>
                  <a:lnTo>
                    <a:pt x="227749" y="139012"/>
                  </a:lnTo>
                  <a:lnTo>
                    <a:pt x="226941" y="139135"/>
                  </a:lnTo>
                  <a:lnTo>
                    <a:pt x="227548" y="140380"/>
                  </a:lnTo>
                  <a:lnTo>
                    <a:pt x="229064" y="141736"/>
                  </a:lnTo>
                  <a:lnTo>
                    <a:pt x="229940" y="143120"/>
                  </a:lnTo>
                  <a:lnTo>
                    <a:pt x="230707" y="144785"/>
                  </a:lnTo>
                  <a:lnTo>
                    <a:pt x="230558" y="146046"/>
                  </a:lnTo>
                  <a:lnTo>
                    <a:pt x="227263" y="150112"/>
                  </a:lnTo>
                  <a:lnTo>
                    <a:pt x="224363" y="152677"/>
                  </a:lnTo>
                  <a:lnTo>
                    <a:pt x="222199" y="154984"/>
                  </a:lnTo>
                  <a:lnTo>
                    <a:pt x="220923" y="157427"/>
                  </a:lnTo>
                  <a:lnTo>
                    <a:pt x="222400" y="158658"/>
                  </a:lnTo>
                  <a:lnTo>
                    <a:pt x="224043" y="160431"/>
                  </a:lnTo>
                  <a:lnTo>
                    <a:pt x="225198" y="163837"/>
                  </a:lnTo>
                  <a:lnTo>
                    <a:pt x="226576" y="166868"/>
                  </a:lnTo>
                  <a:lnTo>
                    <a:pt x="229357" y="169760"/>
                  </a:lnTo>
                  <a:lnTo>
                    <a:pt x="228798" y="171430"/>
                  </a:lnTo>
                  <a:lnTo>
                    <a:pt x="228150" y="172728"/>
                  </a:lnTo>
                  <a:lnTo>
                    <a:pt x="223523" y="175583"/>
                  </a:lnTo>
                  <a:lnTo>
                    <a:pt x="218276" y="179878"/>
                  </a:lnTo>
                  <a:lnTo>
                    <a:pt x="212620" y="190827"/>
                  </a:lnTo>
                  <a:lnTo>
                    <a:pt x="210739" y="192290"/>
                  </a:lnTo>
                  <a:lnTo>
                    <a:pt x="205788" y="194137"/>
                  </a:lnTo>
                  <a:lnTo>
                    <a:pt x="203967" y="195923"/>
                  </a:lnTo>
                  <a:lnTo>
                    <a:pt x="200281" y="198045"/>
                  </a:lnTo>
                  <a:lnTo>
                    <a:pt x="193846" y="199865"/>
                  </a:lnTo>
                  <a:lnTo>
                    <a:pt x="190927" y="202400"/>
                  </a:lnTo>
                  <a:lnTo>
                    <a:pt x="189609" y="205019"/>
                  </a:lnTo>
                  <a:lnTo>
                    <a:pt x="188143" y="205205"/>
                  </a:lnTo>
                  <a:lnTo>
                    <a:pt x="186690" y="204182"/>
                  </a:lnTo>
                  <a:lnTo>
                    <a:pt x="184751" y="203420"/>
                  </a:lnTo>
                  <a:lnTo>
                    <a:pt x="184498" y="205128"/>
                  </a:lnTo>
                  <a:lnTo>
                    <a:pt x="184580" y="206381"/>
                  </a:lnTo>
                  <a:lnTo>
                    <a:pt x="181477" y="204524"/>
                  </a:lnTo>
                  <a:lnTo>
                    <a:pt x="180013" y="206227"/>
                  </a:lnTo>
                  <a:lnTo>
                    <a:pt x="178869" y="209070"/>
                  </a:lnTo>
                  <a:lnTo>
                    <a:pt x="174403" y="212891"/>
                  </a:lnTo>
                  <a:lnTo>
                    <a:pt x="169590" y="212204"/>
                  </a:lnTo>
                  <a:lnTo>
                    <a:pt x="169050" y="212878"/>
                  </a:lnTo>
                  <a:lnTo>
                    <a:pt x="170331" y="213366"/>
                  </a:lnTo>
                  <a:lnTo>
                    <a:pt x="170525" y="213976"/>
                  </a:lnTo>
                  <a:lnTo>
                    <a:pt x="169651" y="214301"/>
                  </a:lnTo>
                  <a:lnTo>
                    <a:pt x="168327" y="214267"/>
                  </a:lnTo>
                  <a:lnTo>
                    <a:pt x="166284" y="215021"/>
                  </a:lnTo>
                  <a:lnTo>
                    <a:pt x="164941" y="214962"/>
                  </a:lnTo>
                  <a:lnTo>
                    <a:pt x="164304" y="216765"/>
                  </a:lnTo>
                  <a:lnTo>
                    <a:pt x="163265" y="218950"/>
                  </a:lnTo>
                  <a:lnTo>
                    <a:pt x="160546" y="219854"/>
                  </a:lnTo>
                  <a:lnTo>
                    <a:pt x="159143" y="220040"/>
                  </a:lnTo>
                  <a:lnTo>
                    <a:pt x="158450" y="221281"/>
                  </a:lnTo>
                  <a:lnTo>
                    <a:pt x="162632" y="221541"/>
                  </a:lnTo>
                  <a:lnTo>
                    <a:pt x="162298" y="222591"/>
                  </a:lnTo>
                  <a:lnTo>
                    <a:pt x="162203" y="223640"/>
                  </a:lnTo>
                  <a:lnTo>
                    <a:pt x="161771" y="224765"/>
                  </a:lnTo>
                  <a:lnTo>
                    <a:pt x="157016" y="226384"/>
                  </a:lnTo>
                  <a:lnTo>
                    <a:pt x="156284" y="227659"/>
                  </a:lnTo>
                  <a:lnTo>
                    <a:pt x="155291" y="228449"/>
                  </a:lnTo>
                  <a:lnTo>
                    <a:pt x="153176" y="228404"/>
                  </a:lnTo>
                  <a:lnTo>
                    <a:pt x="153254" y="227668"/>
                  </a:lnTo>
                  <a:lnTo>
                    <a:pt x="153600" y="226835"/>
                  </a:lnTo>
                  <a:lnTo>
                    <a:pt x="150449" y="226910"/>
                  </a:lnTo>
                  <a:lnTo>
                    <a:pt x="149467" y="225080"/>
                  </a:lnTo>
                  <a:lnTo>
                    <a:pt x="148869" y="225549"/>
                  </a:lnTo>
                  <a:lnTo>
                    <a:pt x="149223" y="227026"/>
                  </a:lnTo>
                  <a:lnTo>
                    <a:pt x="150048" y="228561"/>
                  </a:lnTo>
                  <a:lnTo>
                    <a:pt x="150965" y="230809"/>
                  </a:lnTo>
                  <a:lnTo>
                    <a:pt x="150220" y="232230"/>
                  </a:lnTo>
                  <a:lnTo>
                    <a:pt x="149387" y="232934"/>
                  </a:lnTo>
                  <a:lnTo>
                    <a:pt x="149994" y="233584"/>
                  </a:lnTo>
                  <a:lnTo>
                    <a:pt x="151676" y="234079"/>
                  </a:lnTo>
                  <a:lnTo>
                    <a:pt x="152356" y="234966"/>
                  </a:lnTo>
                  <a:lnTo>
                    <a:pt x="150361" y="235726"/>
                  </a:lnTo>
                  <a:lnTo>
                    <a:pt x="147871" y="238333"/>
                  </a:lnTo>
                  <a:lnTo>
                    <a:pt x="145290" y="238397"/>
                  </a:lnTo>
                  <a:lnTo>
                    <a:pt x="143712" y="240117"/>
                  </a:lnTo>
                  <a:lnTo>
                    <a:pt x="142036" y="240111"/>
                  </a:lnTo>
                  <a:lnTo>
                    <a:pt x="140674" y="239028"/>
                  </a:lnTo>
                  <a:lnTo>
                    <a:pt x="138490" y="238138"/>
                  </a:lnTo>
                  <a:lnTo>
                    <a:pt x="137787" y="239707"/>
                  </a:lnTo>
                  <a:lnTo>
                    <a:pt x="137674" y="240954"/>
                  </a:lnTo>
                  <a:lnTo>
                    <a:pt x="138905" y="244105"/>
                  </a:lnTo>
                  <a:lnTo>
                    <a:pt x="141255" y="246541"/>
                  </a:lnTo>
                  <a:lnTo>
                    <a:pt x="143431" y="247592"/>
                  </a:lnTo>
                  <a:lnTo>
                    <a:pt x="141865" y="248301"/>
                  </a:lnTo>
                  <a:lnTo>
                    <a:pt x="140700" y="249875"/>
                  </a:lnTo>
                  <a:lnTo>
                    <a:pt x="139294" y="254783"/>
                  </a:lnTo>
                  <a:lnTo>
                    <a:pt x="138529" y="256712"/>
                  </a:lnTo>
                  <a:lnTo>
                    <a:pt x="137700" y="260113"/>
                  </a:lnTo>
                  <a:lnTo>
                    <a:pt x="138225" y="262978"/>
                  </a:lnTo>
                  <a:lnTo>
                    <a:pt x="138646" y="264385"/>
                  </a:lnTo>
                  <a:lnTo>
                    <a:pt x="139711" y="266294"/>
                  </a:lnTo>
                  <a:lnTo>
                    <a:pt x="136817" y="266048"/>
                  </a:lnTo>
                  <a:lnTo>
                    <a:pt x="133761" y="264933"/>
                  </a:lnTo>
                  <a:lnTo>
                    <a:pt x="134187" y="267248"/>
                  </a:lnTo>
                  <a:lnTo>
                    <a:pt x="132310" y="269981"/>
                  </a:lnTo>
                  <a:lnTo>
                    <a:pt x="132660" y="272389"/>
                  </a:lnTo>
                  <a:lnTo>
                    <a:pt x="133051" y="273956"/>
                  </a:lnTo>
                  <a:lnTo>
                    <a:pt x="132470" y="276546"/>
                  </a:lnTo>
                  <a:lnTo>
                    <a:pt x="133353" y="277359"/>
                  </a:lnTo>
                  <a:lnTo>
                    <a:pt x="133833" y="278899"/>
                  </a:lnTo>
                  <a:lnTo>
                    <a:pt x="133042" y="280036"/>
                  </a:lnTo>
                  <a:lnTo>
                    <a:pt x="133394" y="281014"/>
                  </a:lnTo>
                  <a:lnTo>
                    <a:pt x="133526" y="284473"/>
                  </a:lnTo>
                  <a:lnTo>
                    <a:pt x="134126" y="289873"/>
                  </a:lnTo>
                  <a:lnTo>
                    <a:pt x="133906" y="291014"/>
                  </a:lnTo>
                  <a:lnTo>
                    <a:pt x="135586" y="295695"/>
                  </a:lnTo>
                  <a:lnTo>
                    <a:pt x="135195" y="297333"/>
                  </a:lnTo>
                  <a:lnTo>
                    <a:pt x="134969" y="299419"/>
                  </a:lnTo>
                  <a:lnTo>
                    <a:pt x="137376" y="301421"/>
                  </a:lnTo>
                  <a:lnTo>
                    <a:pt x="139525" y="301389"/>
                  </a:lnTo>
                  <a:lnTo>
                    <a:pt x="141702" y="301358"/>
                  </a:lnTo>
                  <a:lnTo>
                    <a:pt x="142533" y="301860"/>
                  </a:lnTo>
                  <a:lnTo>
                    <a:pt x="143367" y="303275"/>
                  </a:lnTo>
                  <a:lnTo>
                    <a:pt x="144038" y="304945"/>
                  </a:lnTo>
                  <a:lnTo>
                    <a:pt x="145830" y="304807"/>
                  </a:lnTo>
                  <a:lnTo>
                    <a:pt x="148691" y="303448"/>
                  </a:lnTo>
                  <a:lnTo>
                    <a:pt x="150553" y="303124"/>
                  </a:lnTo>
                  <a:lnTo>
                    <a:pt x="151782" y="305736"/>
                  </a:lnTo>
                  <a:lnTo>
                    <a:pt x="155124" y="309182"/>
                  </a:lnTo>
                  <a:lnTo>
                    <a:pt x="157070" y="310724"/>
                  </a:lnTo>
                  <a:lnTo>
                    <a:pt x="160376" y="311535"/>
                  </a:lnTo>
                  <a:lnTo>
                    <a:pt x="163859" y="314308"/>
                  </a:lnTo>
                  <a:lnTo>
                    <a:pt x="163371" y="317646"/>
                  </a:lnTo>
                  <a:lnTo>
                    <a:pt x="164824" y="318760"/>
                  </a:lnTo>
                  <a:lnTo>
                    <a:pt x="168934" y="320076"/>
                  </a:lnTo>
                  <a:lnTo>
                    <a:pt x="170387" y="321849"/>
                  </a:lnTo>
                  <a:lnTo>
                    <a:pt x="171084" y="323359"/>
                  </a:lnTo>
                  <a:lnTo>
                    <a:pt x="172166" y="324611"/>
                  </a:lnTo>
                  <a:lnTo>
                    <a:pt x="173431" y="328388"/>
                  </a:lnTo>
                  <a:lnTo>
                    <a:pt x="172991" y="330712"/>
                  </a:lnTo>
                  <a:lnTo>
                    <a:pt x="171335" y="331510"/>
                  </a:lnTo>
                  <a:lnTo>
                    <a:pt x="167424" y="333997"/>
                  </a:lnTo>
                  <a:lnTo>
                    <a:pt x="165681" y="335851"/>
                  </a:lnTo>
                  <a:lnTo>
                    <a:pt x="164314" y="337006"/>
                  </a:lnTo>
                  <a:lnTo>
                    <a:pt x="160430" y="339479"/>
                  </a:lnTo>
                  <a:lnTo>
                    <a:pt x="159007" y="339923"/>
                  </a:lnTo>
                  <a:lnTo>
                    <a:pt x="157644" y="341207"/>
                  </a:lnTo>
                  <a:lnTo>
                    <a:pt x="156327" y="341769"/>
                  </a:lnTo>
                  <a:lnTo>
                    <a:pt x="155148" y="341446"/>
                  </a:lnTo>
                  <a:lnTo>
                    <a:pt x="150740" y="343770"/>
                  </a:lnTo>
                  <a:lnTo>
                    <a:pt x="151084" y="344762"/>
                  </a:lnTo>
                  <a:lnTo>
                    <a:pt x="154464" y="345182"/>
                  </a:lnTo>
                  <a:lnTo>
                    <a:pt x="156187" y="344684"/>
                  </a:lnTo>
                  <a:lnTo>
                    <a:pt x="157513" y="343516"/>
                  </a:lnTo>
                  <a:lnTo>
                    <a:pt x="158961" y="343248"/>
                  </a:lnTo>
                  <a:lnTo>
                    <a:pt x="160283" y="343468"/>
                  </a:lnTo>
                  <a:lnTo>
                    <a:pt x="161684" y="342548"/>
                  </a:lnTo>
                  <a:lnTo>
                    <a:pt x="162784" y="342180"/>
                  </a:lnTo>
                  <a:lnTo>
                    <a:pt x="163920" y="342621"/>
                  </a:lnTo>
                  <a:lnTo>
                    <a:pt x="165187" y="344828"/>
                  </a:lnTo>
                  <a:lnTo>
                    <a:pt x="162557" y="345976"/>
                  </a:lnTo>
                  <a:lnTo>
                    <a:pt x="160691" y="346028"/>
                  </a:lnTo>
                  <a:lnTo>
                    <a:pt x="159780" y="349640"/>
                  </a:lnTo>
                  <a:lnTo>
                    <a:pt x="158650" y="351190"/>
                  </a:lnTo>
                  <a:lnTo>
                    <a:pt x="157841" y="351935"/>
                  </a:lnTo>
                  <a:lnTo>
                    <a:pt x="153701" y="353469"/>
                  </a:lnTo>
                  <a:lnTo>
                    <a:pt x="150970" y="355412"/>
                  </a:lnTo>
                  <a:lnTo>
                    <a:pt x="147750" y="356975"/>
                  </a:lnTo>
                  <a:lnTo>
                    <a:pt x="146344" y="356635"/>
                  </a:lnTo>
                  <a:lnTo>
                    <a:pt x="144226" y="358223"/>
                  </a:lnTo>
                  <a:lnTo>
                    <a:pt x="139518" y="360101"/>
                  </a:lnTo>
                  <a:lnTo>
                    <a:pt x="137106" y="362629"/>
                  </a:lnTo>
                  <a:lnTo>
                    <a:pt x="131693" y="364888"/>
                  </a:lnTo>
                  <a:lnTo>
                    <a:pt x="128935" y="366724"/>
                  </a:lnTo>
                  <a:lnTo>
                    <a:pt x="121444" y="366820"/>
                  </a:lnTo>
                  <a:lnTo>
                    <a:pt x="114290" y="366417"/>
                  </a:lnTo>
                  <a:lnTo>
                    <a:pt x="112044" y="367290"/>
                  </a:lnTo>
                  <a:lnTo>
                    <a:pt x="114340" y="367560"/>
                  </a:lnTo>
                  <a:lnTo>
                    <a:pt x="115948" y="368416"/>
                  </a:lnTo>
                  <a:lnTo>
                    <a:pt x="117877" y="368059"/>
                  </a:lnTo>
                  <a:lnTo>
                    <a:pt x="122410" y="368487"/>
                  </a:lnTo>
                  <a:lnTo>
                    <a:pt x="124742" y="368953"/>
                  </a:lnTo>
                  <a:lnTo>
                    <a:pt x="127735" y="371949"/>
                  </a:lnTo>
                  <a:lnTo>
                    <a:pt x="125534" y="373013"/>
                  </a:lnTo>
                  <a:lnTo>
                    <a:pt x="121723" y="373829"/>
                  </a:lnTo>
                  <a:lnTo>
                    <a:pt x="123152" y="378067"/>
                  </a:lnTo>
                  <a:lnTo>
                    <a:pt x="124331" y="380919"/>
                  </a:lnTo>
                  <a:lnTo>
                    <a:pt x="122788" y="382639"/>
                  </a:lnTo>
                  <a:lnTo>
                    <a:pt x="122673" y="390443"/>
                  </a:lnTo>
                  <a:lnTo>
                    <a:pt x="120507" y="390592"/>
                  </a:lnTo>
                  <a:lnTo>
                    <a:pt x="119587" y="393812"/>
                  </a:lnTo>
                  <a:lnTo>
                    <a:pt x="120269" y="395452"/>
                  </a:lnTo>
                  <a:lnTo>
                    <a:pt x="120216" y="399257"/>
                  </a:lnTo>
                  <a:lnTo>
                    <a:pt x="120667" y="401599"/>
                  </a:lnTo>
                  <a:lnTo>
                    <a:pt x="121729" y="403752"/>
                  </a:lnTo>
                  <a:lnTo>
                    <a:pt x="121256" y="405996"/>
                  </a:lnTo>
                  <a:lnTo>
                    <a:pt x="117832" y="411238"/>
                  </a:lnTo>
                  <a:lnTo>
                    <a:pt x="117910" y="413693"/>
                  </a:lnTo>
                  <a:lnTo>
                    <a:pt x="118525" y="415150"/>
                  </a:lnTo>
                  <a:lnTo>
                    <a:pt x="118980" y="417477"/>
                  </a:lnTo>
                  <a:lnTo>
                    <a:pt x="117424" y="421945"/>
                  </a:lnTo>
                  <a:lnTo>
                    <a:pt x="116324" y="425671"/>
                  </a:lnTo>
                  <a:lnTo>
                    <a:pt x="115018" y="428802"/>
                  </a:lnTo>
                  <a:lnTo>
                    <a:pt x="112094" y="432553"/>
                  </a:lnTo>
                  <a:lnTo>
                    <a:pt x="110639" y="435353"/>
                  </a:lnTo>
                  <a:lnTo>
                    <a:pt x="107233" y="444067"/>
                  </a:lnTo>
                  <a:lnTo>
                    <a:pt x="105545" y="445792"/>
                  </a:lnTo>
                  <a:lnTo>
                    <a:pt x="103474" y="447117"/>
                  </a:lnTo>
                  <a:lnTo>
                    <a:pt x="101166" y="445891"/>
                  </a:lnTo>
                  <a:lnTo>
                    <a:pt x="99049" y="445223"/>
                  </a:lnTo>
                  <a:lnTo>
                    <a:pt x="96464" y="445304"/>
                  </a:lnTo>
                  <a:lnTo>
                    <a:pt x="92416" y="446309"/>
                  </a:lnTo>
                  <a:lnTo>
                    <a:pt x="86326" y="445641"/>
                  </a:lnTo>
                  <a:lnTo>
                    <a:pt x="80375" y="445963"/>
                  </a:lnTo>
                  <a:lnTo>
                    <a:pt x="78870" y="446831"/>
                  </a:lnTo>
                  <a:lnTo>
                    <a:pt x="79772" y="449981"/>
                  </a:lnTo>
                  <a:lnTo>
                    <a:pt x="77579" y="450394"/>
                  </a:lnTo>
                  <a:lnTo>
                    <a:pt x="75434" y="449498"/>
                  </a:lnTo>
                  <a:lnTo>
                    <a:pt x="73547" y="450567"/>
                  </a:lnTo>
                  <a:lnTo>
                    <a:pt x="71970" y="451739"/>
                  </a:lnTo>
                  <a:lnTo>
                    <a:pt x="68874" y="454516"/>
                  </a:lnTo>
                  <a:lnTo>
                    <a:pt x="67837" y="456225"/>
                  </a:lnTo>
                  <a:lnTo>
                    <a:pt x="67570" y="459439"/>
                  </a:lnTo>
                  <a:lnTo>
                    <a:pt x="69196" y="462318"/>
                  </a:lnTo>
                  <a:lnTo>
                    <a:pt x="70638" y="465684"/>
                  </a:lnTo>
                  <a:lnTo>
                    <a:pt x="66924" y="469739"/>
                  </a:lnTo>
                  <a:lnTo>
                    <a:pt x="64851" y="469876"/>
                  </a:lnTo>
                  <a:lnTo>
                    <a:pt x="58800" y="468752"/>
                  </a:lnTo>
                  <a:lnTo>
                    <a:pt x="48077" y="471291"/>
                  </a:lnTo>
                  <a:lnTo>
                    <a:pt x="38446" y="469283"/>
                  </a:lnTo>
                  <a:lnTo>
                    <a:pt x="39657" y="467112"/>
                  </a:lnTo>
                  <a:lnTo>
                    <a:pt x="39617" y="465514"/>
                  </a:lnTo>
                  <a:lnTo>
                    <a:pt x="40161" y="463055"/>
                  </a:lnTo>
                  <a:lnTo>
                    <a:pt x="40484" y="460536"/>
                  </a:lnTo>
                  <a:lnTo>
                    <a:pt x="40394" y="458849"/>
                  </a:lnTo>
                  <a:lnTo>
                    <a:pt x="39688" y="457050"/>
                  </a:lnTo>
                  <a:lnTo>
                    <a:pt x="37313" y="454694"/>
                  </a:lnTo>
                  <a:lnTo>
                    <a:pt x="31961" y="446722"/>
                  </a:lnTo>
                  <a:lnTo>
                    <a:pt x="30378" y="443349"/>
                  </a:lnTo>
                  <a:lnTo>
                    <a:pt x="29277" y="441942"/>
                  </a:lnTo>
                  <a:lnTo>
                    <a:pt x="30070" y="441866"/>
                  </a:lnTo>
                  <a:lnTo>
                    <a:pt x="34477" y="443679"/>
                  </a:lnTo>
                  <a:lnTo>
                    <a:pt x="35505" y="443456"/>
                  </a:lnTo>
                  <a:lnTo>
                    <a:pt x="36585" y="442775"/>
                  </a:lnTo>
                  <a:lnTo>
                    <a:pt x="35270" y="440179"/>
                  </a:lnTo>
                  <a:lnTo>
                    <a:pt x="34140" y="439003"/>
                  </a:lnTo>
                  <a:lnTo>
                    <a:pt x="33374" y="437243"/>
                  </a:lnTo>
                  <a:lnTo>
                    <a:pt x="35954" y="436767"/>
                  </a:lnTo>
                  <a:lnTo>
                    <a:pt x="37818" y="436872"/>
                  </a:lnTo>
                  <a:lnTo>
                    <a:pt x="39191" y="434890"/>
                  </a:lnTo>
                  <a:lnTo>
                    <a:pt x="38399" y="431681"/>
                  </a:lnTo>
                  <a:lnTo>
                    <a:pt x="36397" y="430693"/>
                  </a:lnTo>
                  <a:lnTo>
                    <a:pt x="34725" y="430263"/>
                  </a:lnTo>
                  <a:lnTo>
                    <a:pt x="31521" y="425210"/>
                  </a:lnTo>
                  <a:lnTo>
                    <a:pt x="28178" y="422589"/>
                  </a:lnTo>
                  <a:lnTo>
                    <a:pt x="22216" y="412449"/>
                  </a:lnTo>
                  <a:lnTo>
                    <a:pt x="20035" y="405461"/>
                  </a:lnTo>
                  <a:lnTo>
                    <a:pt x="18008" y="406126"/>
                  </a:lnTo>
                  <a:lnTo>
                    <a:pt x="17023" y="403076"/>
                  </a:lnTo>
                  <a:lnTo>
                    <a:pt x="16317" y="400184"/>
                  </a:lnTo>
                  <a:lnTo>
                    <a:pt x="16176" y="398055"/>
                  </a:lnTo>
                  <a:lnTo>
                    <a:pt x="12998" y="396834"/>
                  </a:lnTo>
                  <a:lnTo>
                    <a:pt x="12868" y="395340"/>
                  </a:lnTo>
                  <a:lnTo>
                    <a:pt x="12296" y="388660"/>
                  </a:lnTo>
                  <a:lnTo>
                    <a:pt x="8886" y="387761"/>
                  </a:lnTo>
                  <a:lnTo>
                    <a:pt x="6681" y="384002"/>
                  </a:lnTo>
                  <a:lnTo>
                    <a:pt x="6288" y="376872"/>
                  </a:lnTo>
                  <a:lnTo>
                    <a:pt x="4043" y="375571"/>
                  </a:lnTo>
                  <a:lnTo>
                    <a:pt x="2235" y="375932"/>
                  </a:lnTo>
                  <a:lnTo>
                    <a:pt x="2320" y="374160"/>
                  </a:lnTo>
                  <a:lnTo>
                    <a:pt x="2751" y="372496"/>
                  </a:lnTo>
                  <a:lnTo>
                    <a:pt x="1696" y="365889"/>
                  </a:lnTo>
                  <a:lnTo>
                    <a:pt x="1343" y="359841"/>
                  </a:lnTo>
                  <a:lnTo>
                    <a:pt x="486" y="358012"/>
                  </a:lnTo>
                  <a:lnTo>
                    <a:pt x="0" y="355868"/>
                  </a:lnTo>
                  <a:lnTo>
                    <a:pt x="436" y="354014"/>
                  </a:lnTo>
                  <a:lnTo>
                    <a:pt x="1076" y="352949"/>
                  </a:lnTo>
                  <a:lnTo>
                    <a:pt x="3276" y="352669"/>
                  </a:lnTo>
                  <a:lnTo>
                    <a:pt x="5332" y="354309"/>
                  </a:lnTo>
                  <a:lnTo>
                    <a:pt x="7154" y="358440"/>
                  </a:lnTo>
                  <a:lnTo>
                    <a:pt x="8765" y="358977"/>
                  </a:lnTo>
                  <a:lnTo>
                    <a:pt x="10959" y="357902"/>
                  </a:lnTo>
                  <a:lnTo>
                    <a:pt x="12495" y="354890"/>
                  </a:lnTo>
                  <a:lnTo>
                    <a:pt x="13371" y="350363"/>
                  </a:lnTo>
                  <a:lnTo>
                    <a:pt x="14395" y="346042"/>
                  </a:lnTo>
                  <a:lnTo>
                    <a:pt x="13183" y="341411"/>
                  </a:lnTo>
                  <a:lnTo>
                    <a:pt x="11890" y="337334"/>
                  </a:lnTo>
                  <a:lnTo>
                    <a:pt x="11799" y="336135"/>
                  </a:lnTo>
                  <a:lnTo>
                    <a:pt x="15194" y="332688"/>
                  </a:lnTo>
                  <a:lnTo>
                    <a:pt x="16232" y="329881"/>
                  </a:lnTo>
                  <a:lnTo>
                    <a:pt x="17358" y="327204"/>
                  </a:lnTo>
                  <a:lnTo>
                    <a:pt x="18599" y="326293"/>
                  </a:lnTo>
                  <a:lnTo>
                    <a:pt x="20448" y="326085"/>
                  </a:lnTo>
                  <a:lnTo>
                    <a:pt x="22601" y="325581"/>
                  </a:lnTo>
                  <a:lnTo>
                    <a:pt x="25315" y="323786"/>
                  </a:lnTo>
                  <a:lnTo>
                    <a:pt x="27748" y="321381"/>
                  </a:lnTo>
                  <a:lnTo>
                    <a:pt x="29608" y="319172"/>
                  </a:lnTo>
                  <a:lnTo>
                    <a:pt x="30238" y="314796"/>
                  </a:lnTo>
                  <a:lnTo>
                    <a:pt x="30264" y="312594"/>
                  </a:lnTo>
                  <a:lnTo>
                    <a:pt x="31083" y="310957"/>
                  </a:lnTo>
                  <a:lnTo>
                    <a:pt x="31875" y="307757"/>
                  </a:lnTo>
                  <a:lnTo>
                    <a:pt x="31104" y="304595"/>
                  </a:lnTo>
                  <a:lnTo>
                    <a:pt x="28705" y="299791"/>
                  </a:lnTo>
                  <a:lnTo>
                    <a:pt x="25816" y="293016"/>
                  </a:lnTo>
                  <a:lnTo>
                    <a:pt x="25362" y="289308"/>
                  </a:lnTo>
                  <a:lnTo>
                    <a:pt x="26679" y="288619"/>
                  </a:lnTo>
                  <a:lnTo>
                    <a:pt x="29198" y="288004"/>
                  </a:lnTo>
                  <a:lnTo>
                    <a:pt x="33961" y="287826"/>
                  </a:lnTo>
                  <a:lnTo>
                    <a:pt x="34471" y="287388"/>
                  </a:lnTo>
                  <a:lnTo>
                    <a:pt x="34952" y="285761"/>
                  </a:lnTo>
                  <a:lnTo>
                    <a:pt x="36025" y="283550"/>
                  </a:lnTo>
                  <a:lnTo>
                    <a:pt x="37172" y="281938"/>
                  </a:lnTo>
                  <a:lnTo>
                    <a:pt x="37956" y="279631"/>
                  </a:lnTo>
                  <a:lnTo>
                    <a:pt x="38334" y="277538"/>
                  </a:lnTo>
                  <a:lnTo>
                    <a:pt x="35609" y="274382"/>
                  </a:lnTo>
                  <a:lnTo>
                    <a:pt x="32039" y="271147"/>
                  </a:lnTo>
                  <a:lnTo>
                    <a:pt x="29623" y="270074"/>
                  </a:lnTo>
                  <a:lnTo>
                    <a:pt x="25317" y="267346"/>
                  </a:lnTo>
                  <a:lnTo>
                    <a:pt x="22294" y="265062"/>
                  </a:lnTo>
                  <a:lnTo>
                    <a:pt x="24026" y="256346"/>
                  </a:lnTo>
                  <a:lnTo>
                    <a:pt x="25315" y="249836"/>
                  </a:lnTo>
                  <a:lnTo>
                    <a:pt x="25522" y="248251"/>
                  </a:lnTo>
                  <a:lnTo>
                    <a:pt x="25570" y="245790"/>
                  </a:lnTo>
                  <a:lnTo>
                    <a:pt x="21391" y="235264"/>
                  </a:lnTo>
                  <a:lnTo>
                    <a:pt x="21553" y="232916"/>
                  </a:lnTo>
                  <a:lnTo>
                    <a:pt x="21951" y="230799"/>
                  </a:lnTo>
                  <a:lnTo>
                    <a:pt x="21503" y="227185"/>
                  </a:lnTo>
                  <a:lnTo>
                    <a:pt x="21260" y="223946"/>
                  </a:lnTo>
                  <a:lnTo>
                    <a:pt x="21977" y="222963"/>
                  </a:lnTo>
                  <a:lnTo>
                    <a:pt x="23682" y="221133"/>
                  </a:lnTo>
                  <a:lnTo>
                    <a:pt x="22056" y="218291"/>
                  </a:lnTo>
                  <a:lnTo>
                    <a:pt x="21925" y="218060"/>
                  </a:lnTo>
                  <a:lnTo>
                    <a:pt x="18856" y="211011"/>
                  </a:lnTo>
                  <a:lnTo>
                    <a:pt x="23549" y="204008"/>
                  </a:lnTo>
                  <a:lnTo>
                    <a:pt x="22732" y="200377"/>
                  </a:lnTo>
                  <a:lnTo>
                    <a:pt x="25535" y="197738"/>
                  </a:lnTo>
                  <a:lnTo>
                    <a:pt x="30638" y="191681"/>
                  </a:lnTo>
                  <a:lnTo>
                    <a:pt x="33508" y="188267"/>
                  </a:lnTo>
                  <a:lnTo>
                    <a:pt x="34117" y="187670"/>
                  </a:lnTo>
                  <a:lnTo>
                    <a:pt x="36388" y="186168"/>
                  </a:lnTo>
                  <a:lnTo>
                    <a:pt x="40696" y="184385"/>
                  </a:lnTo>
                  <a:lnTo>
                    <a:pt x="45471" y="183516"/>
                  </a:lnTo>
                  <a:lnTo>
                    <a:pt x="47596" y="183527"/>
                  </a:lnTo>
                  <a:lnTo>
                    <a:pt x="55801" y="184734"/>
                  </a:lnTo>
                  <a:lnTo>
                    <a:pt x="62210" y="185673"/>
                  </a:lnTo>
                  <a:lnTo>
                    <a:pt x="63143" y="184730"/>
                  </a:lnTo>
                  <a:lnTo>
                    <a:pt x="64482" y="182795"/>
                  </a:lnTo>
                  <a:lnTo>
                    <a:pt x="66205" y="180035"/>
                  </a:lnTo>
                  <a:lnTo>
                    <a:pt x="66356" y="176962"/>
                  </a:lnTo>
                  <a:lnTo>
                    <a:pt x="65734" y="172439"/>
                  </a:lnTo>
                  <a:lnTo>
                    <a:pt x="64799" y="169727"/>
                  </a:lnTo>
                  <a:lnTo>
                    <a:pt x="60286" y="167963"/>
                  </a:lnTo>
                  <a:lnTo>
                    <a:pt x="55350" y="165542"/>
                  </a:lnTo>
                  <a:lnTo>
                    <a:pt x="61420" y="157854"/>
                  </a:lnTo>
                  <a:lnTo>
                    <a:pt x="65629" y="152501"/>
                  </a:lnTo>
                  <a:lnTo>
                    <a:pt x="70876" y="144422"/>
                  </a:lnTo>
                  <a:lnTo>
                    <a:pt x="72508" y="141051"/>
                  </a:lnTo>
                  <a:lnTo>
                    <a:pt x="73689" y="139711"/>
                  </a:lnTo>
                  <a:lnTo>
                    <a:pt x="75233" y="127217"/>
                  </a:lnTo>
                  <a:lnTo>
                    <a:pt x="76257" y="123708"/>
                  </a:lnTo>
                  <a:lnTo>
                    <a:pt x="77114" y="121873"/>
                  </a:lnTo>
                  <a:lnTo>
                    <a:pt x="77127" y="119986"/>
                  </a:lnTo>
                  <a:lnTo>
                    <a:pt x="76570" y="116802"/>
                  </a:lnTo>
                  <a:lnTo>
                    <a:pt x="75095" y="109590"/>
                  </a:lnTo>
                  <a:lnTo>
                    <a:pt x="83381" y="108696"/>
                  </a:lnTo>
                  <a:lnTo>
                    <a:pt x="86080" y="108190"/>
                  </a:lnTo>
                  <a:lnTo>
                    <a:pt x="88585" y="107326"/>
                  </a:lnTo>
                  <a:lnTo>
                    <a:pt x="93485" y="105086"/>
                  </a:lnTo>
                  <a:lnTo>
                    <a:pt x="95892" y="103105"/>
                  </a:lnTo>
                  <a:lnTo>
                    <a:pt x="94547" y="96329"/>
                  </a:lnTo>
                  <a:lnTo>
                    <a:pt x="97512" y="94031"/>
                  </a:lnTo>
                  <a:lnTo>
                    <a:pt x="104746" y="86006"/>
                  </a:lnTo>
                  <a:lnTo>
                    <a:pt x="112563" y="78290"/>
                  </a:lnTo>
                  <a:lnTo>
                    <a:pt x="116229" y="75362"/>
                  </a:lnTo>
                  <a:lnTo>
                    <a:pt x="116609" y="73929"/>
                  </a:lnTo>
                  <a:lnTo>
                    <a:pt x="116910" y="71624"/>
                  </a:lnTo>
                  <a:lnTo>
                    <a:pt x="115281" y="67999"/>
                  </a:lnTo>
                  <a:lnTo>
                    <a:pt x="113532" y="65749"/>
                  </a:lnTo>
                  <a:lnTo>
                    <a:pt x="110125" y="61479"/>
                  </a:lnTo>
                  <a:lnTo>
                    <a:pt x="111587" y="58496"/>
                  </a:lnTo>
                  <a:lnTo>
                    <a:pt x="114098" y="57916"/>
                  </a:lnTo>
                  <a:lnTo>
                    <a:pt x="117415" y="56743"/>
                  </a:lnTo>
                  <a:lnTo>
                    <a:pt x="120002" y="54187"/>
                  </a:lnTo>
                  <a:lnTo>
                    <a:pt x="120254" y="53858"/>
                  </a:lnTo>
                  <a:lnTo>
                    <a:pt x="124634" y="43774"/>
                  </a:lnTo>
                  <a:lnTo>
                    <a:pt x="133189" y="38646"/>
                  </a:lnTo>
                  <a:lnTo>
                    <a:pt x="136597" y="35843"/>
                  </a:lnTo>
                  <a:lnTo>
                    <a:pt x="141907" y="37949"/>
                  </a:lnTo>
                  <a:lnTo>
                    <a:pt x="149689" y="41124"/>
                  </a:lnTo>
                  <a:lnTo>
                    <a:pt x="153150" y="36451"/>
                  </a:lnTo>
                  <a:lnTo>
                    <a:pt x="154295" y="34715"/>
                  </a:lnTo>
                  <a:lnTo>
                    <a:pt x="155437" y="32154"/>
                  </a:lnTo>
                  <a:lnTo>
                    <a:pt x="154979" y="27717"/>
                  </a:lnTo>
                  <a:lnTo>
                    <a:pt x="154783" y="21940"/>
                  </a:lnTo>
                  <a:lnTo>
                    <a:pt x="155126" y="19614"/>
                  </a:lnTo>
                  <a:lnTo>
                    <a:pt x="158232" y="18577"/>
                  </a:lnTo>
                  <a:lnTo>
                    <a:pt x="159903" y="18309"/>
                  </a:lnTo>
                  <a:lnTo>
                    <a:pt x="168553" y="20702"/>
                  </a:lnTo>
                  <a:lnTo>
                    <a:pt x="170730" y="20661"/>
                  </a:lnTo>
                  <a:lnTo>
                    <a:pt x="174807" y="20983"/>
                  </a:lnTo>
                  <a:lnTo>
                    <a:pt x="179370" y="22034"/>
                  </a:lnTo>
                  <a:lnTo>
                    <a:pt x="188927" y="24826"/>
                  </a:lnTo>
                  <a:lnTo>
                    <a:pt x="192881" y="25981"/>
                  </a:lnTo>
                  <a:lnTo>
                    <a:pt x="195088" y="26205"/>
                  </a:lnTo>
                  <a:lnTo>
                    <a:pt x="196993" y="24905"/>
                  </a:lnTo>
                  <a:lnTo>
                    <a:pt x="201063" y="21566"/>
                  </a:lnTo>
                  <a:lnTo>
                    <a:pt x="195066" y="19091"/>
                  </a:lnTo>
                  <a:lnTo>
                    <a:pt x="199016" y="16583"/>
                  </a:lnTo>
                  <a:lnTo>
                    <a:pt x="201063" y="14051"/>
                  </a:lnTo>
                  <a:lnTo>
                    <a:pt x="202819" y="10934"/>
                  </a:lnTo>
                  <a:lnTo>
                    <a:pt x="203451" y="7280"/>
                  </a:lnTo>
                  <a:lnTo>
                    <a:pt x="203209" y="5312"/>
                  </a:lnTo>
                  <a:lnTo>
                    <a:pt x="201998" y="3971"/>
                  </a:lnTo>
                  <a:lnTo>
                    <a:pt x="198336" y="619"/>
                  </a:lnTo>
                  <a:lnTo>
                    <a:pt x="206634" y="138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60" name="ee4p_UA_1_37365">
              <a:extLst>
                <a:ext uri="{FF2B5EF4-FFF2-40B4-BE49-F238E27FC236}">
                  <a16:creationId xmlns:a16="http://schemas.microsoft.com/office/drawing/2014/main" id="{768B1249-1942-4CBE-40FA-2880E8619737}"/>
                </a:ext>
              </a:extLst>
            </p:cNvPr>
            <p:cNvSpPr>
              <a:spLocks noChangeAspect="1"/>
            </p:cNvSpPr>
            <p:nvPr>
              <p:custDataLst>
                <p:tags r:id="rId314"/>
              </p:custDataLst>
            </p:nvPr>
          </p:nvSpPr>
          <p:spPr>
            <a:xfrm>
              <a:off x="7129288" y="3028282"/>
              <a:ext cx="499750" cy="291493"/>
            </a:xfrm>
            <a:custGeom>
              <a:avLst/>
              <a:gdLst>
                <a:gd name="connsiteX0" fmla="*/ 207344 w 397940"/>
                <a:gd name="connsiteY0" fmla="*/ 171473 h 225957"/>
                <a:gd name="connsiteX1" fmla="*/ 209026 w 397940"/>
                <a:gd name="connsiteY1" fmla="*/ 173412 h 225957"/>
                <a:gd name="connsiteX2" fmla="*/ 210212 w 397940"/>
                <a:gd name="connsiteY2" fmla="*/ 174260 h 225957"/>
                <a:gd name="connsiteX3" fmla="*/ 218475 w 397940"/>
                <a:gd name="connsiteY3" fmla="*/ 176160 h 225957"/>
                <a:gd name="connsiteX4" fmla="*/ 221524 w 397940"/>
                <a:gd name="connsiteY4" fmla="*/ 177522 h 225957"/>
                <a:gd name="connsiteX5" fmla="*/ 218413 w 397940"/>
                <a:gd name="connsiteY5" fmla="*/ 177159 h 225957"/>
                <a:gd name="connsiteX6" fmla="*/ 211576 w 397940"/>
                <a:gd name="connsiteY6" fmla="*/ 175879 h 225957"/>
                <a:gd name="connsiteX7" fmla="*/ 208562 w 397940"/>
                <a:gd name="connsiteY7" fmla="*/ 174670 h 225957"/>
                <a:gd name="connsiteX8" fmla="*/ 207784 w 397940"/>
                <a:gd name="connsiteY8" fmla="*/ 173318 h 225957"/>
                <a:gd name="connsiteX9" fmla="*/ 246666 w 397940"/>
                <a:gd name="connsiteY9" fmla="*/ 0 h 225957"/>
                <a:gd name="connsiteX10" fmla="*/ 250309 w 397940"/>
                <a:gd name="connsiteY10" fmla="*/ 587 h 225957"/>
                <a:gd name="connsiteX11" fmla="*/ 253881 w 397940"/>
                <a:gd name="connsiteY11" fmla="*/ 622 h 225957"/>
                <a:gd name="connsiteX12" fmla="*/ 256576 w 397940"/>
                <a:gd name="connsiteY12" fmla="*/ 261 h 225957"/>
                <a:gd name="connsiteX13" fmla="*/ 258424 w 397940"/>
                <a:gd name="connsiteY13" fmla="*/ 1126 h 225957"/>
                <a:gd name="connsiteX14" fmla="*/ 260707 w 397940"/>
                <a:gd name="connsiteY14" fmla="*/ 3030 h 225957"/>
                <a:gd name="connsiteX15" fmla="*/ 262769 w 397940"/>
                <a:gd name="connsiteY15" fmla="*/ 5862 h 225957"/>
                <a:gd name="connsiteX16" fmla="*/ 264930 w 397940"/>
                <a:gd name="connsiteY16" fmla="*/ 11080 h 225957"/>
                <a:gd name="connsiteX17" fmla="*/ 271227 w 397940"/>
                <a:gd name="connsiteY17" fmla="*/ 16962 h 225957"/>
                <a:gd name="connsiteX18" fmla="*/ 271335 w 397940"/>
                <a:gd name="connsiteY18" fmla="*/ 18109 h 225957"/>
                <a:gd name="connsiteX19" fmla="*/ 270817 w 397940"/>
                <a:gd name="connsiteY19" fmla="*/ 18846 h 225957"/>
                <a:gd name="connsiteX20" fmla="*/ 267718 w 397940"/>
                <a:gd name="connsiteY20" fmla="*/ 19561 h 225957"/>
                <a:gd name="connsiteX21" fmla="*/ 265107 w 397940"/>
                <a:gd name="connsiteY21" fmla="*/ 19946 h 225957"/>
                <a:gd name="connsiteX22" fmla="*/ 264982 w 397940"/>
                <a:gd name="connsiteY22" fmla="*/ 20953 h 225957"/>
                <a:gd name="connsiteX23" fmla="*/ 265675 w 397940"/>
                <a:gd name="connsiteY23" fmla="*/ 22042 h 225957"/>
                <a:gd name="connsiteX24" fmla="*/ 266872 w 397940"/>
                <a:gd name="connsiteY24" fmla="*/ 23635 h 225957"/>
                <a:gd name="connsiteX25" fmla="*/ 267057 w 397940"/>
                <a:gd name="connsiteY25" fmla="*/ 25685 h 225957"/>
                <a:gd name="connsiteX26" fmla="*/ 266997 w 397940"/>
                <a:gd name="connsiteY26" fmla="*/ 27569 h 225957"/>
                <a:gd name="connsiteX27" fmla="*/ 267513 w 397940"/>
                <a:gd name="connsiteY27" fmla="*/ 29233 h 225957"/>
                <a:gd name="connsiteX28" fmla="*/ 268511 w 397940"/>
                <a:gd name="connsiteY28" fmla="*/ 29909 h 225957"/>
                <a:gd name="connsiteX29" fmla="*/ 268636 w 397940"/>
                <a:gd name="connsiteY29" fmla="*/ 30745 h 225957"/>
                <a:gd name="connsiteX30" fmla="*/ 267481 w 397940"/>
                <a:gd name="connsiteY30" fmla="*/ 31766 h 225957"/>
                <a:gd name="connsiteX31" fmla="*/ 267159 w 397940"/>
                <a:gd name="connsiteY31" fmla="*/ 32396 h 225957"/>
                <a:gd name="connsiteX32" fmla="*/ 267608 w 397940"/>
                <a:gd name="connsiteY32" fmla="*/ 32735 h 225957"/>
                <a:gd name="connsiteX33" fmla="*/ 273287 w 397940"/>
                <a:gd name="connsiteY33" fmla="*/ 32932 h 225957"/>
                <a:gd name="connsiteX34" fmla="*/ 276068 w 397940"/>
                <a:gd name="connsiteY34" fmla="*/ 33926 h 225957"/>
                <a:gd name="connsiteX35" fmla="*/ 278180 w 397940"/>
                <a:gd name="connsiteY35" fmla="*/ 34831 h 225957"/>
                <a:gd name="connsiteX36" fmla="*/ 279243 w 397940"/>
                <a:gd name="connsiteY36" fmla="*/ 34915 h 225957"/>
                <a:gd name="connsiteX37" fmla="*/ 281635 w 397940"/>
                <a:gd name="connsiteY37" fmla="*/ 34333 h 225957"/>
                <a:gd name="connsiteX38" fmla="*/ 284326 w 397940"/>
                <a:gd name="connsiteY38" fmla="*/ 33966 h 225957"/>
                <a:gd name="connsiteX39" fmla="*/ 285958 w 397940"/>
                <a:gd name="connsiteY39" fmla="*/ 33917 h 225957"/>
                <a:gd name="connsiteX40" fmla="*/ 286589 w 397940"/>
                <a:gd name="connsiteY40" fmla="*/ 34584 h 225957"/>
                <a:gd name="connsiteX41" fmla="*/ 287092 w 397940"/>
                <a:gd name="connsiteY41" fmla="*/ 36334 h 225957"/>
                <a:gd name="connsiteX42" fmla="*/ 288038 w 397940"/>
                <a:gd name="connsiteY42" fmla="*/ 38084 h 225957"/>
                <a:gd name="connsiteX43" fmla="*/ 288921 w 397940"/>
                <a:gd name="connsiteY43" fmla="*/ 38584 h 225957"/>
                <a:gd name="connsiteX44" fmla="*/ 290493 w 397940"/>
                <a:gd name="connsiteY44" fmla="*/ 38500 h 225957"/>
                <a:gd name="connsiteX45" fmla="*/ 291439 w 397940"/>
                <a:gd name="connsiteY45" fmla="*/ 38584 h 225957"/>
                <a:gd name="connsiteX46" fmla="*/ 291944 w 397940"/>
                <a:gd name="connsiteY46" fmla="*/ 39249 h 225957"/>
                <a:gd name="connsiteX47" fmla="*/ 291376 w 397940"/>
                <a:gd name="connsiteY47" fmla="*/ 40249 h 225957"/>
                <a:gd name="connsiteX48" fmla="*/ 291502 w 397940"/>
                <a:gd name="connsiteY48" fmla="*/ 41329 h 225957"/>
                <a:gd name="connsiteX49" fmla="*/ 292195 w 397940"/>
                <a:gd name="connsiteY49" fmla="*/ 42660 h 225957"/>
                <a:gd name="connsiteX50" fmla="*/ 293015 w 397940"/>
                <a:gd name="connsiteY50" fmla="*/ 45733 h 225957"/>
                <a:gd name="connsiteX51" fmla="*/ 293771 w 397940"/>
                <a:gd name="connsiteY51" fmla="*/ 46646 h 225957"/>
                <a:gd name="connsiteX52" fmla="*/ 294274 w 397940"/>
                <a:gd name="connsiteY52" fmla="*/ 47808 h 225957"/>
                <a:gd name="connsiteX53" fmla="*/ 294274 w 397940"/>
                <a:gd name="connsiteY53" fmla="*/ 49135 h 225957"/>
                <a:gd name="connsiteX54" fmla="*/ 293644 w 397940"/>
                <a:gd name="connsiteY54" fmla="*/ 50295 h 225957"/>
                <a:gd name="connsiteX55" fmla="*/ 293203 w 397940"/>
                <a:gd name="connsiteY55" fmla="*/ 51205 h 225957"/>
                <a:gd name="connsiteX56" fmla="*/ 293644 w 397940"/>
                <a:gd name="connsiteY56" fmla="*/ 53275 h 225957"/>
                <a:gd name="connsiteX57" fmla="*/ 295343 w 397940"/>
                <a:gd name="connsiteY57" fmla="*/ 55592 h 225957"/>
                <a:gd name="connsiteX58" fmla="*/ 296604 w 397940"/>
                <a:gd name="connsiteY58" fmla="*/ 56170 h 225957"/>
                <a:gd name="connsiteX59" fmla="*/ 297613 w 397940"/>
                <a:gd name="connsiteY59" fmla="*/ 58236 h 225957"/>
                <a:gd name="connsiteX60" fmla="*/ 299439 w 397940"/>
                <a:gd name="connsiteY60" fmla="*/ 58896 h 225957"/>
                <a:gd name="connsiteX61" fmla="*/ 302147 w 397940"/>
                <a:gd name="connsiteY61" fmla="*/ 57163 h 225957"/>
                <a:gd name="connsiteX62" fmla="*/ 304227 w 397940"/>
                <a:gd name="connsiteY62" fmla="*/ 56254 h 225957"/>
                <a:gd name="connsiteX63" fmla="*/ 306827 w 397940"/>
                <a:gd name="connsiteY63" fmla="*/ 56759 h 225957"/>
                <a:gd name="connsiteX64" fmla="*/ 309228 w 397940"/>
                <a:gd name="connsiteY64" fmla="*/ 57082 h 225957"/>
                <a:gd name="connsiteX65" fmla="*/ 310843 w 397940"/>
                <a:gd name="connsiteY65" fmla="*/ 58263 h 225957"/>
                <a:gd name="connsiteX66" fmla="*/ 312035 w 397940"/>
                <a:gd name="connsiteY66" fmla="*/ 59887 h 225957"/>
                <a:gd name="connsiteX67" fmla="*/ 313422 w 397940"/>
                <a:gd name="connsiteY67" fmla="*/ 60794 h 225957"/>
                <a:gd name="connsiteX68" fmla="*/ 314810 w 397940"/>
                <a:gd name="connsiteY68" fmla="*/ 60320 h 225957"/>
                <a:gd name="connsiteX69" fmla="*/ 317706 w 397940"/>
                <a:gd name="connsiteY69" fmla="*/ 60794 h 225957"/>
                <a:gd name="connsiteX70" fmla="*/ 319029 w 397940"/>
                <a:gd name="connsiteY70" fmla="*/ 62114 h 225957"/>
                <a:gd name="connsiteX71" fmla="*/ 320351 w 397940"/>
                <a:gd name="connsiteY71" fmla="*/ 62856 h 225957"/>
                <a:gd name="connsiteX72" fmla="*/ 322052 w 397940"/>
                <a:gd name="connsiteY72" fmla="*/ 61785 h 225957"/>
                <a:gd name="connsiteX73" fmla="*/ 323439 w 397940"/>
                <a:gd name="connsiteY73" fmla="*/ 60465 h 225957"/>
                <a:gd name="connsiteX74" fmla="*/ 328511 w 397940"/>
                <a:gd name="connsiteY74" fmla="*/ 59082 h 225957"/>
                <a:gd name="connsiteX75" fmla="*/ 331668 w 397940"/>
                <a:gd name="connsiteY75" fmla="*/ 58736 h 225957"/>
                <a:gd name="connsiteX76" fmla="*/ 332549 w 397940"/>
                <a:gd name="connsiteY76" fmla="*/ 58464 h 225957"/>
                <a:gd name="connsiteX77" fmla="*/ 334402 w 397940"/>
                <a:gd name="connsiteY77" fmla="*/ 57476 h 225957"/>
                <a:gd name="connsiteX78" fmla="*/ 336354 w 397940"/>
                <a:gd name="connsiteY78" fmla="*/ 56819 h 225957"/>
                <a:gd name="connsiteX79" fmla="*/ 338116 w 397940"/>
                <a:gd name="connsiteY79" fmla="*/ 56997 h 225957"/>
                <a:gd name="connsiteX80" fmla="*/ 339852 w 397940"/>
                <a:gd name="connsiteY80" fmla="*/ 59049 h 225957"/>
                <a:gd name="connsiteX81" fmla="*/ 341643 w 397940"/>
                <a:gd name="connsiteY81" fmla="*/ 60465 h 225957"/>
                <a:gd name="connsiteX82" fmla="*/ 342146 w 397940"/>
                <a:gd name="connsiteY82" fmla="*/ 62691 h 225957"/>
                <a:gd name="connsiteX83" fmla="*/ 344337 w 397940"/>
                <a:gd name="connsiteY83" fmla="*/ 65753 h 225957"/>
                <a:gd name="connsiteX84" fmla="*/ 349779 w 397940"/>
                <a:gd name="connsiteY84" fmla="*/ 69936 h 225957"/>
                <a:gd name="connsiteX85" fmla="*/ 351915 w 397940"/>
                <a:gd name="connsiteY85" fmla="*/ 71211 h 225957"/>
                <a:gd name="connsiteX86" fmla="*/ 353366 w 397940"/>
                <a:gd name="connsiteY86" fmla="*/ 70986 h 225957"/>
                <a:gd name="connsiteX87" fmla="*/ 354124 w 397940"/>
                <a:gd name="connsiteY87" fmla="*/ 70652 h 225957"/>
                <a:gd name="connsiteX88" fmla="*/ 354476 w 397940"/>
                <a:gd name="connsiteY88" fmla="*/ 70215 h 225957"/>
                <a:gd name="connsiteX89" fmla="*/ 354804 w 397940"/>
                <a:gd name="connsiteY89" fmla="*/ 68170 h 225957"/>
                <a:gd name="connsiteX90" fmla="*/ 355493 w 397940"/>
                <a:gd name="connsiteY90" fmla="*/ 67417 h 225957"/>
                <a:gd name="connsiteX91" fmla="*/ 356596 w 397940"/>
                <a:gd name="connsiteY91" fmla="*/ 67392 h 225957"/>
                <a:gd name="connsiteX92" fmla="*/ 360855 w 397940"/>
                <a:gd name="connsiteY92" fmla="*/ 69940 h 225957"/>
                <a:gd name="connsiteX93" fmla="*/ 363083 w 397940"/>
                <a:gd name="connsiteY93" fmla="*/ 70214 h 225957"/>
                <a:gd name="connsiteX94" fmla="*/ 365201 w 397940"/>
                <a:gd name="connsiteY94" fmla="*/ 70263 h 225957"/>
                <a:gd name="connsiteX95" fmla="*/ 368052 w 397940"/>
                <a:gd name="connsiteY95" fmla="*/ 72240 h 225957"/>
                <a:gd name="connsiteX96" fmla="*/ 371185 w 397940"/>
                <a:gd name="connsiteY96" fmla="*/ 73958 h 225957"/>
                <a:gd name="connsiteX97" fmla="*/ 373603 w 397940"/>
                <a:gd name="connsiteY97" fmla="*/ 74139 h 225957"/>
                <a:gd name="connsiteX98" fmla="*/ 375532 w 397940"/>
                <a:gd name="connsiteY98" fmla="*/ 73467 h 225957"/>
                <a:gd name="connsiteX99" fmla="*/ 376856 w 397940"/>
                <a:gd name="connsiteY99" fmla="*/ 73058 h 225957"/>
                <a:gd name="connsiteX100" fmla="*/ 377674 w 397940"/>
                <a:gd name="connsiteY100" fmla="*/ 73713 h 225957"/>
                <a:gd name="connsiteX101" fmla="*/ 378430 w 397940"/>
                <a:gd name="connsiteY101" fmla="*/ 75190 h 225957"/>
                <a:gd name="connsiteX102" fmla="*/ 379689 w 397940"/>
                <a:gd name="connsiteY102" fmla="*/ 76338 h 225957"/>
                <a:gd name="connsiteX103" fmla="*/ 381138 w 397940"/>
                <a:gd name="connsiteY103" fmla="*/ 76666 h 225957"/>
                <a:gd name="connsiteX104" fmla="*/ 383223 w 397940"/>
                <a:gd name="connsiteY104" fmla="*/ 76741 h 225957"/>
                <a:gd name="connsiteX105" fmla="*/ 386845 w 397940"/>
                <a:gd name="connsiteY105" fmla="*/ 78966 h 225957"/>
                <a:gd name="connsiteX106" fmla="*/ 390250 w 397940"/>
                <a:gd name="connsiteY106" fmla="*/ 81226 h 225957"/>
                <a:gd name="connsiteX107" fmla="*/ 392379 w 397940"/>
                <a:gd name="connsiteY107" fmla="*/ 81351 h 225957"/>
                <a:gd name="connsiteX108" fmla="*/ 394185 w 397940"/>
                <a:gd name="connsiteY108" fmla="*/ 80688 h 225957"/>
                <a:gd name="connsiteX109" fmla="*/ 395780 w 397940"/>
                <a:gd name="connsiteY109" fmla="*/ 80517 h 225957"/>
                <a:gd name="connsiteX110" fmla="*/ 396886 w 397940"/>
                <a:gd name="connsiteY110" fmla="*/ 81087 h 225957"/>
                <a:gd name="connsiteX111" fmla="*/ 397201 w 397940"/>
                <a:gd name="connsiteY111" fmla="*/ 82069 h 225957"/>
                <a:gd name="connsiteX112" fmla="*/ 396381 w 397940"/>
                <a:gd name="connsiteY112" fmla="*/ 83378 h 225957"/>
                <a:gd name="connsiteX113" fmla="*/ 396381 w 397940"/>
                <a:gd name="connsiteY113" fmla="*/ 85258 h 225957"/>
                <a:gd name="connsiteX114" fmla="*/ 397892 w 397940"/>
                <a:gd name="connsiteY114" fmla="*/ 87055 h 225957"/>
                <a:gd name="connsiteX115" fmla="*/ 397940 w 397940"/>
                <a:gd name="connsiteY115" fmla="*/ 88820 h 225957"/>
                <a:gd name="connsiteX116" fmla="*/ 397508 w 397940"/>
                <a:gd name="connsiteY116" fmla="*/ 90413 h 225957"/>
                <a:gd name="connsiteX117" fmla="*/ 396651 w 397940"/>
                <a:gd name="connsiteY117" fmla="*/ 91880 h 225957"/>
                <a:gd name="connsiteX118" fmla="*/ 394580 w 397940"/>
                <a:gd name="connsiteY118" fmla="*/ 93894 h 225957"/>
                <a:gd name="connsiteX119" fmla="*/ 392664 w 397940"/>
                <a:gd name="connsiteY119" fmla="*/ 95773 h 225957"/>
                <a:gd name="connsiteX120" fmla="*/ 389784 w 397940"/>
                <a:gd name="connsiteY120" fmla="*/ 96558 h 225957"/>
                <a:gd name="connsiteX121" fmla="*/ 388171 w 397940"/>
                <a:gd name="connsiteY121" fmla="*/ 97376 h 225957"/>
                <a:gd name="connsiteX122" fmla="*/ 388594 w 397940"/>
                <a:gd name="connsiteY122" fmla="*/ 98755 h 225957"/>
                <a:gd name="connsiteX123" fmla="*/ 389648 w 397940"/>
                <a:gd name="connsiteY123" fmla="*/ 100041 h 225957"/>
                <a:gd name="connsiteX124" fmla="*/ 392090 w 397940"/>
                <a:gd name="connsiteY124" fmla="*/ 101081 h 225957"/>
                <a:gd name="connsiteX125" fmla="*/ 394863 w 397940"/>
                <a:gd name="connsiteY125" fmla="*/ 101838 h 225957"/>
                <a:gd name="connsiteX126" fmla="*/ 395182 w 397940"/>
                <a:gd name="connsiteY126" fmla="*/ 102673 h 225957"/>
                <a:gd name="connsiteX127" fmla="*/ 394759 w 397940"/>
                <a:gd name="connsiteY127" fmla="*/ 103092 h 225957"/>
                <a:gd name="connsiteX128" fmla="*/ 392982 w 397940"/>
                <a:gd name="connsiteY128" fmla="*/ 103480 h 225957"/>
                <a:gd name="connsiteX129" fmla="*/ 390522 w 397940"/>
                <a:gd name="connsiteY129" fmla="*/ 103082 h 225957"/>
                <a:gd name="connsiteX130" fmla="*/ 389704 w 397940"/>
                <a:gd name="connsiteY130" fmla="*/ 103812 h 225957"/>
                <a:gd name="connsiteX131" fmla="*/ 388570 w 397940"/>
                <a:gd name="connsiteY131" fmla="*/ 105028 h 225957"/>
                <a:gd name="connsiteX132" fmla="*/ 387815 w 397940"/>
                <a:gd name="connsiteY132" fmla="*/ 107215 h 225957"/>
                <a:gd name="connsiteX133" fmla="*/ 387246 w 397940"/>
                <a:gd name="connsiteY133" fmla="*/ 109239 h 225957"/>
                <a:gd name="connsiteX134" fmla="*/ 389916 w 397940"/>
                <a:gd name="connsiteY134" fmla="*/ 109788 h 225957"/>
                <a:gd name="connsiteX135" fmla="*/ 391468 w 397940"/>
                <a:gd name="connsiteY135" fmla="*/ 110614 h 225957"/>
                <a:gd name="connsiteX136" fmla="*/ 391952 w 397940"/>
                <a:gd name="connsiteY136" fmla="*/ 112276 h 225957"/>
                <a:gd name="connsiteX137" fmla="*/ 392507 w 397940"/>
                <a:gd name="connsiteY137" fmla="*/ 114123 h 225957"/>
                <a:gd name="connsiteX138" fmla="*/ 392667 w 397940"/>
                <a:gd name="connsiteY138" fmla="*/ 115785 h 225957"/>
                <a:gd name="connsiteX139" fmla="*/ 391783 w 397940"/>
                <a:gd name="connsiteY139" fmla="*/ 116592 h 225957"/>
                <a:gd name="connsiteX140" fmla="*/ 391730 w 397940"/>
                <a:gd name="connsiteY140" fmla="*/ 117418 h 225957"/>
                <a:gd name="connsiteX141" fmla="*/ 392146 w 397940"/>
                <a:gd name="connsiteY141" fmla="*/ 117824 h 225957"/>
                <a:gd name="connsiteX142" fmla="*/ 393293 w 397940"/>
                <a:gd name="connsiteY142" fmla="*/ 118008 h 225957"/>
                <a:gd name="connsiteX143" fmla="*/ 394172 w 397940"/>
                <a:gd name="connsiteY143" fmla="*/ 118377 h 225957"/>
                <a:gd name="connsiteX144" fmla="*/ 394241 w 397940"/>
                <a:gd name="connsiteY144" fmla="*/ 119253 h 225957"/>
                <a:gd name="connsiteX145" fmla="*/ 392561 w 397940"/>
                <a:gd name="connsiteY145" fmla="*/ 121220 h 225957"/>
                <a:gd name="connsiteX146" fmla="*/ 390989 w 397940"/>
                <a:gd name="connsiteY146" fmla="*/ 124979 h 225957"/>
                <a:gd name="connsiteX147" fmla="*/ 390144 w 397940"/>
                <a:gd name="connsiteY147" fmla="*/ 126978 h 225957"/>
                <a:gd name="connsiteX148" fmla="*/ 390209 w 397940"/>
                <a:gd name="connsiteY148" fmla="*/ 129146 h 225957"/>
                <a:gd name="connsiteX149" fmla="*/ 389263 w 397940"/>
                <a:gd name="connsiteY149" fmla="*/ 130350 h 225957"/>
                <a:gd name="connsiteX150" fmla="*/ 387551 w 397940"/>
                <a:gd name="connsiteY150" fmla="*/ 130452 h 225957"/>
                <a:gd name="connsiteX151" fmla="*/ 381636 w 397940"/>
                <a:gd name="connsiteY151" fmla="*/ 130662 h 225957"/>
                <a:gd name="connsiteX152" fmla="*/ 376495 w 397940"/>
                <a:gd name="connsiteY152" fmla="*/ 130559 h 225957"/>
                <a:gd name="connsiteX153" fmla="*/ 374269 w 397940"/>
                <a:gd name="connsiteY153" fmla="*/ 130247 h 225957"/>
                <a:gd name="connsiteX154" fmla="*/ 370785 w 397940"/>
                <a:gd name="connsiteY154" fmla="*/ 130060 h 225957"/>
                <a:gd name="connsiteX155" fmla="*/ 369060 w 397940"/>
                <a:gd name="connsiteY155" fmla="*/ 130570 h 225957"/>
                <a:gd name="connsiteX156" fmla="*/ 366776 w 397940"/>
                <a:gd name="connsiteY156" fmla="*/ 134029 h 225957"/>
                <a:gd name="connsiteX157" fmla="*/ 365044 w 397940"/>
                <a:gd name="connsiteY157" fmla="*/ 135384 h 225957"/>
                <a:gd name="connsiteX158" fmla="*/ 362176 w 397940"/>
                <a:gd name="connsiteY158" fmla="*/ 136607 h 225957"/>
                <a:gd name="connsiteX159" fmla="*/ 359034 w 397940"/>
                <a:gd name="connsiteY159" fmla="*/ 136957 h 225957"/>
                <a:gd name="connsiteX160" fmla="*/ 357233 w 397940"/>
                <a:gd name="connsiteY160" fmla="*/ 138383 h 225957"/>
                <a:gd name="connsiteX161" fmla="*/ 356601 w 397940"/>
                <a:gd name="connsiteY161" fmla="*/ 140618 h 225957"/>
                <a:gd name="connsiteX162" fmla="*/ 356551 w 397940"/>
                <a:gd name="connsiteY162" fmla="*/ 142598 h 225957"/>
                <a:gd name="connsiteX163" fmla="*/ 356257 w 397940"/>
                <a:gd name="connsiteY163" fmla="*/ 143586 h 225957"/>
                <a:gd name="connsiteX164" fmla="*/ 355575 w 397940"/>
                <a:gd name="connsiteY164" fmla="*/ 144452 h 225957"/>
                <a:gd name="connsiteX165" fmla="*/ 355331 w 397940"/>
                <a:gd name="connsiteY165" fmla="*/ 145068 h 225957"/>
                <a:gd name="connsiteX166" fmla="*/ 355477 w 397940"/>
                <a:gd name="connsiteY166" fmla="*/ 145747 h 225957"/>
                <a:gd name="connsiteX167" fmla="*/ 356208 w 397940"/>
                <a:gd name="connsiteY167" fmla="*/ 145994 h 225957"/>
                <a:gd name="connsiteX168" fmla="*/ 357086 w 397940"/>
                <a:gd name="connsiteY168" fmla="*/ 146303 h 225957"/>
                <a:gd name="connsiteX169" fmla="*/ 357086 w 397940"/>
                <a:gd name="connsiteY169" fmla="*/ 146797 h 225957"/>
                <a:gd name="connsiteX170" fmla="*/ 356745 w 397940"/>
                <a:gd name="connsiteY170" fmla="*/ 147414 h 225957"/>
                <a:gd name="connsiteX171" fmla="*/ 355769 w 397940"/>
                <a:gd name="connsiteY171" fmla="*/ 148092 h 225957"/>
                <a:gd name="connsiteX172" fmla="*/ 355331 w 397940"/>
                <a:gd name="connsiteY172" fmla="*/ 149141 h 225957"/>
                <a:gd name="connsiteX173" fmla="*/ 355430 w 397940"/>
                <a:gd name="connsiteY173" fmla="*/ 150249 h 225957"/>
                <a:gd name="connsiteX174" fmla="*/ 355618 w 397940"/>
                <a:gd name="connsiteY174" fmla="*/ 151483 h 225957"/>
                <a:gd name="connsiteX175" fmla="*/ 354821 w 397940"/>
                <a:gd name="connsiteY175" fmla="*/ 151796 h 225957"/>
                <a:gd name="connsiteX176" fmla="*/ 347091 w 397940"/>
                <a:gd name="connsiteY176" fmla="*/ 151360 h 225957"/>
                <a:gd name="connsiteX177" fmla="*/ 340781 w 397940"/>
                <a:gd name="connsiteY177" fmla="*/ 151954 h 225957"/>
                <a:gd name="connsiteX178" fmla="*/ 336281 w 397940"/>
                <a:gd name="connsiteY178" fmla="*/ 156355 h 225957"/>
                <a:gd name="connsiteX179" fmla="*/ 333599 w 397940"/>
                <a:gd name="connsiteY179" fmla="*/ 156343 h 225957"/>
                <a:gd name="connsiteX180" fmla="*/ 329818 w 397940"/>
                <a:gd name="connsiteY180" fmla="*/ 157489 h 225957"/>
                <a:gd name="connsiteX181" fmla="*/ 327263 w 397940"/>
                <a:gd name="connsiteY181" fmla="*/ 158912 h 225957"/>
                <a:gd name="connsiteX182" fmla="*/ 324229 w 397940"/>
                <a:gd name="connsiteY182" fmla="*/ 161995 h 225957"/>
                <a:gd name="connsiteX183" fmla="*/ 321882 w 397940"/>
                <a:gd name="connsiteY183" fmla="*/ 160611 h 225957"/>
                <a:gd name="connsiteX184" fmla="*/ 319010 w 397940"/>
                <a:gd name="connsiteY184" fmla="*/ 160651 h 225957"/>
                <a:gd name="connsiteX185" fmla="*/ 316207 w 397940"/>
                <a:gd name="connsiteY185" fmla="*/ 161490 h 225957"/>
                <a:gd name="connsiteX186" fmla="*/ 312834 w 397940"/>
                <a:gd name="connsiteY186" fmla="*/ 163547 h 225957"/>
                <a:gd name="connsiteX187" fmla="*/ 310958 w 397940"/>
                <a:gd name="connsiteY187" fmla="*/ 163911 h 225957"/>
                <a:gd name="connsiteX188" fmla="*/ 307205 w 397940"/>
                <a:gd name="connsiteY188" fmla="*/ 163319 h 225957"/>
                <a:gd name="connsiteX189" fmla="*/ 302832 w 397940"/>
                <a:gd name="connsiteY189" fmla="*/ 164500 h 225957"/>
                <a:gd name="connsiteX190" fmla="*/ 293391 w 397940"/>
                <a:gd name="connsiteY190" fmla="*/ 171244 h 225957"/>
                <a:gd name="connsiteX191" fmla="*/ 290217 w 397940"/>
                <a:gd name="connsiteY191" fmla="*/ 176160 h 225957"/>
                <a:gd name="connsiteX192" fmla="*/ 289061 w 397940"/>
                <a:gd name="connsiteY192" fmla="*/ 177121 h 225957"/>
                <a:gd name="connsiteX193" fmla="*/ 287468 w 397940"/>
                <a:gd name="connsiteY193" fmla="*/ 178319 h 225957"/>
                <a:gd name="connsiteX194" fmla="*/ 285764 w 397940"/>
                <a:gd name="connsiteY194" fmla="*/ 178924 h 225957"/>
                <a:gd name="connsiteX195" fmla="*/ 284864 w 397940"/>
                <a:gd name="connsiteY195" fmla="*/ 178868 h 225957"/>
                <a:gd name="connsiteX196" fmla="*/ 289357 w 397940"/>
                <a:gd name="connsiteY196" fmla="*/ 175378 h 225957"/>
                <a:gd name="connsiteX197" fmla="*/ 290737 w 397940"/>
                <a:gd name="connsiteY197" fmla="*/ 174068 h 225957"/>
                <a:gd name="connsiteX198" fmla="*/ 290975 w 397940"/>
                <a:gd name="connsiteY198" fmla="*/ 173101 h 225957"/>
                <a:gd name="connsiteX199" fmla="*/ 290998 w 397940"/>
                <a:gd name="connsiteY199" fmla="*/ 171541 h 225957"/>
                <a:gd name="connsiteX200" fmla="*/ 289636 w 397940"/>
                <a:gd name="connsiteY200" fmla="*/ 169601 h 225957"/>
                <a:gd name="connsiteX201" fmla="*/ 285958 w 397940"/>
                <a:gd name="connsiteY201" fmla="*/ 174407 h 225957"/>
                <a:gd name="connsiteX202" fmla="*/ 283868 w 397940"/>
                <a:gd name="connsiteY202" fmla="*/ 175104 h 225957"/>
                <a:gd name="connsiteX203" fmla="*/ 281216 w 397940"/>
                <a:gd name="connsiteY203" fmla="*/ 176548 h 225957"/>
                <a:gd name="connsiteX204" fmla="*/ 281087 w 397940"/>
                <a:gd name="connsiteY204" fmla="*/ 179764 h 225957"/>
                <a:gd name="connsiteX205" fmla="*/ 281387 w 397940"/>
                <a:gd name="connsiteY205" fmla="*/ 182146 h 225957"/>
                <a:gd name="connsiteX206" fmla="*/ 282477 w 397940"/>
                <a:gd name="connsiteY206" fmla="*/ 185142 h 225957"/>
                <a:gd name="connsiteX207" fmla="*/ 285047 w 397940"/>
                <a:gd name="connsiteY207" fmla="*/ 190042 h 225957"/>
                <a:gd name="connsiteX208" fmla="*/ 290295 w 397940"/>
                <a:gd name="connsiteY208" fmla="*/ 197027 h 225957"/>
                <a:gd name="connsiteX209" fmla="*/ 292810 w 397940"/>
                <a:gd name="connsiteY209" fmla="*/ 199588 h 225957"/>
                <a:gd name="connsiteX210" fmla="*/ 294659 w 397940"/>
                <a:gd name="connsiteY210" fmla="*/ 200611 h 225957"/>
                <a:gd name="connsiteX211" fmla="*/ 296881 w 397940"/>
                <a:gd name="connsiteY211" fmla="*/ 200759 h 225957"/>
                <a:gd name="connsiteX212" fmla="*/ 301147 w 397940"/>
                <a:gd name="connsiteY212" fmla="*/ 198607 h 225957"/>
                <a:gd name="connsiteX213" fmla="*/ 302972 w 397940"/>
                <a:gd name="connsiteY213" fmla="*/ 198271 h 225957"/>
                <a:gd name="connsiteX214" fmla="*/ 306939 w 397940"/>
                <a:gd name="connsiteY214" fmla="*/ 199092 h 225957"/>
                <a:gd name="connsiteX215" fmla="*/ 308360 w 397940"/>
                <a:gd name="connsiteY215" fmla="*/ 197653 h 225957"/>
                <a:gd name="connsiteX216" fmla="*/ 310424 w 397940"/>
                <a:gd name="connsiteY216" fmla="*/ 196858 h 225957"/>
                <a:gd name="connsiteX217" fmla="*/ 313074 w 397940"/>
                <a:gd name="connsiteY217" fmla="*/ 196757 h 225957"/>
                <a:gd name="connsiteX218" fmla="*/ 316097 w 397940"/>
                <a:gd name="connsiteY218" fmla="*/ 197402 h 225957"/>
                <a:gd name="connsiteX219" fmla="*/ 319368 w 397940"/>
                <a:gd name="connsiteY219" fmla="*/ 198492 h 225957"/>
                <a:gd name="connsiteX220" fmla="*/ 318025 w 397940"/>
                <a:gd name="connsiteY220" fmla="*/ 200955 h 225957"/>
                <a:gd name="connsiteX221" fmla="*/ 316622 w 397940"/>
                <a:gd name="connsiteY221" fmla="*/ 202913 h 225957"/>
                <a:gd name="connsiteX222" fmla="*/ 316127 w 397940"/>
                <a:gd name="connsiteY222" fmla="*/ 205078 h 225957"/>
                <a:gd name="connsiteX223" fmla="*/ 315352 w 397940"/>
                <a:gd name="connsiteY223" fmla="*/ 207482 h 225957"/>
                <a:gd name="connsiteX224" fmla="*/ 311737 w 397940"/>
                <a:gd name="connsiteY224" fmla="*/ 208560 h 225957"/>
                <a:gd name="connsiteX225" fmla="*/ 307865 w 397940"/>
                <a:gd name="connsiteY225" fmla="*/ 208428 h 225957"/>
                <a:gd name="connsiteX226" fmla="*/ 303782 w 397940"/>
                <a:gd name="connsiteY226" fmla="*/ 209125 h 225957"/>
                <a:gd name="connsiteX227" fmla="*/ 302311 w 397940"/>
                <a:gd name="connsiteY227" fmla="*/ 208187 h 225957"/>
                <a:gd name="connsiteX228" fmla="*/ 301335 w 397940"/>
                <a:gd name="connsiteY228" fmla="*/ 207333 h 225957"/>
                <a:gd name="connsiteX229" fmla="*/ 299524 w 397940"/>
                <a:gd name="connsiteY229" fmla="*/ 206481 h 225957"/>
                <a:gd name="connsiteX230" fmla="*/ 297135 w 397940"/>
                <a:gd name="connsiteY230" fmla="*/ 206006 h 225957"/>
                <a:gd name="connsiteX231" fmla="*/ 294991 w 397940"/>
                <a:gd name="connsiteY231" fmla="*/ 206577 h 225957"/>
                <a:gd name="connsiteX232" fmla="*/ 292454 w 397940"/>
                <a:gd name="connsiteY232" fmla="*/ 209860 h 225957"/>
                <a:gd name="connsiteX233" fmla="*/ 287965 w 397940"/>
                <a:gd name="connsiteY233" fmla="*/ 212102 h 225957"/>
                <a:gd name="connsiteX234" fmla="*/ 286481 w 397940"/>
                <a:gd name="connsiteY234" fmla="*/ 214659 h 225957"/>
                <a:gd name="connsiteX235" fmla="*/ 282061 w 397940"/>
                <a:gd name="connsiteY235" fmla="*/ 214088 h 225957"/>
                <a:gd name="connsiteX236" fmla="*/ 278282 w 397940"/>
                <a:gd name="connsiteY236" fmla="*/ 214536 h 225957"/>
                <a:gd name="connsiteX237" fmla="*/ 272821 w 397940"/>
                <a:gd name="connsiteY237" fmla="*/ 216866 h 225957"/>
                <a:gd name="connsiteX238" fmla="*/ 268660 w 397940"/>
                <a:gd name="connsiteY238" fmla="*/ 221856 h 225957"/>
                <a:gd name="connsiteX239" fmla="*/ 264075 w 397940"/>
                <a:gd name="connsiteY239" fmla="*/ 224972 h 225957"/>
                <a:gd name="connsiteX240" fmla="*/ 260439 w 397940"/>
                <a:gd name="connsiteY240" fmla="*/ 225957 h 225957"/>
                <a:gd name="connsiteX241" fmla="*/ 257027 w 397940"/>
                <a:gd name="connsiteY241" fmla="*/ 225649 h 225957"/>
                <a:gd name="connsiteX242" fmla="*/ 254820 w 397940"/>
                <a:gd name="connsiteY242" fmla="*/ 224717 h 225957"/>
                <a:gd name="connsiteX243" fmla="*/ 250283 w 397940"/>
                <a:gd name="connsiteY243" fmla="*/ 221442 h 225957"/>
                <a:gd name="connsiteX244" fmla="*/ 250549 w 397940"/>
                <a:gd name="connsiteY244" fmla="*/ 220267 h 225957"/>
                <a:gd name="connsiteX245" fmla="*/ 251182 w 397940"/>
                <a:gd name="connsiteY245" fmla="*/ 219674 h 225957"/>
                <a:gd name="connsiteX246" fmla="*/ 252039 w 397940"/>
                <a:gd name="connsiteY246" fmla="*/ 217988 h 225957"/>
                <a:gd name="connsiteX247" fmla="*/ 253855 w 397940"/>
                <a:gd name="connsiteY247" fmla="*/ 211788 h 225957"/>
                <a:gd name="connsiteX248" fmla="*/ 253611 w 397940"/>
                <a:gd name="connsiteY248" fmla="*/ 209776 h 225957"/>
                <a:gd name="connsiteX249" fmla="*/ 252594 w 397940"/>
                <a:gd name="connsiteY249" fmla="*/ 206600 h 225957"/>
                <a:gd name="connsiteX250" fmla="*/ 248996 w 397940"/>
                <a:gd name="connsiteY250" fmla="*/ 204131 h 225957"/>
                <a:gd name="connsiteX251" fmla="*/ 246100 w 397940"/>
                <a:gd name="connsiteY251" fmla="*/ 204599 h 225957"/>
                <a:gd name="connsiteX252" fmla="*/ 244451 w 397940"/>
                <a:gd name="connsiteY252" fmla="*/ 203941 h 225957"/>
                <a:gd name="connsiteX253" fmla="*/ 238519 w 397940"/>
                <a:gd name="connsiteY253" fmla="*/ 199738 h 225957"/>
                <a:gd name="connsiteX254" fmla="*/ 235291 w 397940"/>
                <a:gd name="connsiteY254" fmla="*/ 199440 h 225957"/>
                <a:gd name="connsiteX255" fmla="*/ 231723 w 397940"/>
                <a:gd name="connsiteY255" fmla="*/ 200288 h 225957"/>
                <a:gd name="connsiteX256" fmla="*/ 230408 w 397940"/>
                <a:gd name="connsiteY256" fmla="*/ 199676 h 225957"/>
                <a:gd name="connsiteX257" fmla="*/ 229439 w 397940"/>
                <a:gd name="connsiteY257" fmla="*/ 198210 h 225957"/>
                <a:gd name="connsiteX258" fmla="*/ 236515 w 397940"/>
                <a:gd name="connsiteY258" fmla="*/ 193012 h 225957"/>
                <a:gd name="connsiteX259" fmla="*/ 243464 w 397940"/>
                <a:gd name="connsiteY259" fmla="*/ 188714 h 225957"/>
                <a:gd name="connsiteX260" fmla="*/ 246511 w 397940"/>
                <a:gd name="connsiteY260" fmla="*/ 188272 h 225957"/>
                <a:gd name="connsiteX261" fmla="*/ 250627 w 397940"/>
                <a:gd name="connsiteY261" fmla="*/ 186269 h 225957"/>
                <a:gd name="connsiteX262" fmla="*/ 255019 w 397940"/>
                <a:gd name="connsiteY262" fmla="*/ 183259 h 225957"/>
                <a:gd name="connsiteX263" fmla="*/ 254397 w 397940"/>
                <a:gd name="connsiteY263" fmla="*/ 180890 h 225957"/>
                <a:gd name="connsiteX264" fmla="*/ 253455 w 397940"/>
                <a:gd name="connsiteY264" fmla="*/ 179138 h 225957"/>
                <a:gd name="connsiteX265" fmla="*/ 251348 w 397940"/>
                <a:gd name="connsiteY265" fmla="*/ 179619 h 225957"/>
                <a:gd name="connsiteX266" fmla="*/ 249823 w 397940"/>
                <a:gd name="connsiteY266" fmla="*/ 180206 h 225957"/>
                <a:gd name="connsiteX267" fmla="*/ 246144 w 397940"/>
                <a:gd name="connsiteY267" fmla="*/ 178325 h 225957"/>
                <a:gd name="connsiteX268" fmla="*/ 244790 w 397940"/>
                <a:gd name="connsiteY268" fmla="*/ 176940 h 225957"/>
                <a:gd name="connsiteX269" fmla="*/ 239031 w 397940"/>
                <a:gd name="connsiteY269" fmla="*/ 178377 h 225957"/>
                <a:gd name="connsiteX270" fmla="*/ 235826 w 397940"/>
                <a:gd name="connsiteY270" fmla="*/ 178164 h 225957"/>
                <a:gd name="connsiteX271" fmla="*/ 228748 w 397940"/>
                <a:gd name="connsiteY271" fmla="*/ 179485 h 225957"/>
                <a:gd name="connsiteX272" fmla="*/ 225500 w 397940"/>
                <a:gd name="connsiteY272" fmla="*/ 178195 h 225957"/>
                <a:gd name="connsiteX273" fmla="*/ 218996 w 397940"/>
                <a:gd name="connsiteY273" fmla="*/ 174580 h 225957"/>
                <a:gd name="connsiteX274" fmla="*/ 216551 w 397940"/>
                <a:gd name="connsiteY274" fmla="*/ 173853 h 225957"/>
                <a:gd name="connsiteX275" fmla="*/ 214474 w 397940"/>
                <a:gd name="connsiteY275" fmla="*/ 174007 h 225957"/>
                <a:gd name="connsiteX276" fmla="*/ 213340 w 397940"/>
                <a:gd name="connsiteY276" fmla="*/ 172817 h 225957"/>
                <a:gd name="connsiteX277" fmla="*/ 214731 w 397940"/>
                <a:gd name="connsiteY277" fmla="*/ 172221 h 225957"/>
                <a:gd name="connsiteX278" fmla="*/ 216346 w 397940"/>
                <a:gd name="connsiteY278" fmla="*/ 172151 h 225957"/>
                <a:gd name="connsiteX279" fmla="*/ 218022 w 397940"/>
                <a:gd name="connsiteY279" fmla="*/ 171715 h 225957"/>
                <a:gd name="connsiteX280" fmla="*/ 218495 w 397940"/>
                <a:gd name="connsiteY280" fmla="*/ 171084 h 225957"/>
                <a:gd name="connsiteX281" fmla="*/ 218394 w 397940"/>
                <a:gd name="connsiteY281" fmla="*/ 169897 h 225957"/>
                <a:gd name="connsiteX282" fmla="*/ 215016 w 397940"/>
                <a:gd name="connsiteY282" fmla="*/ 168996 h 225957"/>
                <a:gd name="connsiteX283" fmla="*/ 211874 w 397940"/>
                <a:gd name="connsiteY283" fmla="*/ 168737 h 225957"/>
                <a:gd name="connsiteX284" fmla="*/ 209883 w 397940"/>
                <a:gd name="connsiteY284" fmla="*/ 167669 h 225957"/>
                <a:gd name="connsiteX285" fmla="*/ 208363 w 397940"/>
                <a:gd name="connsiteY285" fmla="*/ 166446 h 225957"/>
                <a:gd name="connsiteX286" fmla="*/ 211926 w 397940"/>
                <a:gd name="connsiteY286" fmla="*/ 166427 h 225957"/>
                <a:gd name="connsiteX287" fmla="*/ 215506 w 397940"/>
                <a:gd name="connsiteY287" fmla="*/ 167352 h 225957"/>
                <a:gd name="connsiteX288" fmla="*/ 221112 w 397940"/>
                <a:gd name="connsiteY288" fmla="*/ 167693 h 225957"/>
                <a:gd name="connsiteX289" fmla="*/ 226195 w 397940"/>
                <a:gd name="connsiteY289" fmla="*/ 168649 h 225957"/>
                <a:gd name="connsiteX290" fmla="*/ 227469 w 397940"/>
                <a:gd name="connsiteY290" fmla="*/ 167460 h 225957"/>
                <a:gd name="connsiteX291" fmla="*/ 230423 w 397940"/>
                <a:gd name="connsiteY291" fmla="*/ 165399 h 225957"/>
                <a:gd name="connsiteX292" fmla="*/ 230987 w 397940"/>
                <a:gd name="connsiteY292" fmla="*/ 164742 h 225957"/>
                <a:gd name="connsiteX293" fmla="*/ 226035 w 397940"/>
                <a:gd name="connsiteY293" fmla="*/ 166153 h 225957"/>
                <a:gd name="connsiteX294" fmla="*/ 221019 w 397940"/>
                <a:gd name="connsiteY294" fmla="*/ 165253 h 225957"/>
                <a:gd name="connsiteX295" fmla="*/ 219186 w 397940"/>
                <a:gd name="connsiteY295" fmla="*/ 163995 h 225957"/>
                <a:gd name="connsiteX296" fmla="*/ 217637 w 397940"/>
                <a:gd name="connsiteY296" fmla="*/ 162151 h 225957"/>
                <a:gd name="connsiteX297" fmla="*/ 216987 w 397940"/>
                <a:gd name="connsiteY297" fmla="*/ 160047 h 225957"/>
                <a:gd name="connsiteX298" fmla="*/ 217411 w 397940"/>
                <a:gd name="connsiteY298" fmla="*/ 158085 h 225957"/>
                <a:gd name="connsiteX299" fmla="*/ 216869 w 397940"/>
                <a:gd name="connsiteY299" fmla="*/ 154539 h 225957"/>
                <a:gd name="connsiteX300" fmla="*/ 215215 w 397940"/>
                <a:gd name="connsiteY300" fmla="*/ 151380 h 225957"/>
                <a:gd name="connsiteX301" fmla="*/ 214628 w 397940"/>
                <a:gd name="connsiteY301" fmla="*/ 149645 h 225957"/>
                <a:gd name="connsiteX302" fmla="*/ 212880 w 397940"/>
                <a:gd name="connsiteY302" fmla="*/ 148089 h 225957"/>
                <a:gd name="connsiteX303" fmla="*/ 214599 w 397940"/>
                <a:gd name="connsiteY303" fmla="*/ 151607 h 225957"/>
                <a:gd name="connsiteX304" fmla="*/ 215241 w 397940"/>
                <a:gd name="connsiteY304" fmla="*/ 153945 h 225957"/>
                <a:gd name="connsiteX305" fmla="*/ 216275 w 397940"/>
                <a:gd name="connsiteY305" fmla="*/ 156097 h 225957"/>
                <a:gd name="connsiteX306" fmla="*/ 216031 w 397940"/>
                <a:gd name="connsiteY306" fmla="*/ 161794 h 225957"/>
                <a:gd name="connsiteX307" fmla="*/ 215394 w 397940"/>
                <a:gd name="connsiteY307" fmla="*/ 163793 h 225957"/>
                <a:gd name="connsiteX308" fmla="*/ 213332 w 397940"/>
                <a:gd name="connsiteY308" fmla="*/ 164297 h 225957"/>
                <a:gd name="connsiteX309" fmla="*/ 210622 w 397940"/>
                <a:gd name="connsiteY309" fmla="*/ 163997 h 225957"/>
                <a:gd name="connsiteX310" fmla="*/ 207860 w 397940"/>
                <a:gd name="connsiteY310" fmla="*/ 163376 h 225957"/>
                <a:gd name="connsiteX311" fmla="*/ 208551 w 397940"/>
                <a:gd name="connsiteY311" fmla="*/ 160245 h 225957"/>
                <a:gd name="connsiteX312" fmla="*/ 207080 w 397940"/>
                <a:gd name="connsiteY312" fmla="*/ 161328 h 225957"/>
                <a:gd name="connsiteX313" fmla="*/ 205003 w 397940"/>
                <a:gd name="connsiteY313" fmla="*/ 164375 h 225957"/>
                <a:gd name="connsiteX314" fmla="*/ 203176 w 397940"/>
                <a:gd name="connsiteY314" fmla="*/ 164829 h 225957"/>
                <a:gd name="connsiteX315" fmla="*/ 199119 w 397940"/>
                <a:gd name="connsiteY315" fmla="*/ 164496 h 225957"/>
                <a:gd name="connsiteX316" fmla="*/ 191589 w 397940"/>
                <a:gd name="connsiteY316" fmla="*/ 166510 h 225957"/>
                <a:gd name="connsiteX317" fmla="*/ 191071 w 397940"/>
                <a:gd name="connsiteY317" fmla="*/ 168702 h 225957"/>
                <a:gd name="connsiteX318" fmla="*/ 189939 w 397940"/>
                <a:gd name="connsiteY318" fmla="*/ 171665 h 225957"/>
                <a:gd name="connsiteX319" fmla="*/ 188847 w 397940"/>
                <a:gd name="connsiteY319" fmla="*/ 173389 h 225957"/>
                <a:gd name="connsiteX320" fmla="*/ 188503 w 397940"/>
                <a:gd name="connsiteY320" fmla="*/ 174428 h 225957"/>
                <a:gd name="connsiteX321" fmla="*/ 185292 w 397940"/>
                <a:gd name="connsiteY321" fmla="*/ 178886 h 225957"/>
                <a:gd name="connsiteX322" fmla="*/ 184882 w 397940"/>
                <a:gd name="connsiteY322" fmla="*/ 179307 h 225957"/>
                <a:gd name="connsiteX323" fmla="*/ 178825 w 397940"/>
                <a:gd name="connsiteY323" fmla="*/ 185475 h 225957"/>
                <a:gd name="connsiteX324" fmla="*/ 178054 w 397940"/>
                <a:gd name="connsiteY324" fmla="*/ 185938 h 225957"/>
                <a:gd name="connsiteX325" fmla="*/ 174128 w 397940"/>
                <a:gd name="connsiteY325" fmla="*/ 187371 h 225957"/>
                <a:gd name="connsiteX326" fmla="*/ 171807 w 397940"/>
                <a:gd name="connsiteY326" fmla="*/ 188626 h 225957"/>
                <a:gd name="connsiteX327" fmla="*/ 170028 w 397940"/>
                <a:gd name="connsiteY327" fmla="*/ 189186 h 225957"/>
                <a:gd name="connsiteX328" fmla="*/ 167017 w 397940"/>
                <a:gd name="connsiteY328" fmla="*/ 188563 h 225957"/>
                <a:gd name="connsiteX329" fmla="*/ 165765 w 397940"/>
                <a:gd name="connsiteY329" fmla="*/ 189451 h 225957"/>
                <a:gd name="connsiteX330" fmla="*/ 165173 w 397940"/>
                <a:gd name="connsiteY330" fmla="*/ 190550 h 225957"/>
                <a:gd name="connsiteX331" fmla="*/ 165162 w 397940"/>
                <a:gd name="connsiteY331" fmla="*/ 192821 h 225957"/>
                <a:gd name="connsiteX332" fmla="*/ 166691 w 397940"/>
                <a:gd name="connsiteY332" fmla="*/ 194452 h 225957"/>
                <a:gd name="connsiteX333" fmla="*/ 167944 w 397940"/>
                <a:gd name="connsiteY333" fmla="*/ 199870 h 225957"/>
                <a:gd name="connsiteX334" fmla="*/ 167477 w 397940"/>
                <a:gd name="connsiteY334" fmla="*/ 202156 h 225957"/>
                <a:gd name="connsiteX335" fmla="*/ 166285 w 397940"/>
                <a:gd name="connsiteY335" fmla="*/ 200676 h 225957"/>
                <a:gd name="connsiteX336" fmla="*/ 164422 w 397940"/>
                <a:gd name="connsiteY336" fmla="*/ 199116 h 225957"/>
                <a:gd name="connsiteX337" fmla="*/ 160796 w 397940"/>
                <a:gd name="connsiteY337" fmla="*/ 197775 h 225957"/>
                <a:gd name="connsiteX338" fmla="*/ 156812 w 397940"/>
                <a:gd name="connsiteY338" fmla="*/ 198234 h 225957"/>
                <a:gd name="connsiteX339" fmla="*/ 152476 w 397940"/>
                <a:gd name="connsiteY339" fmla="*/ 200494 h 225957"/>
                <a:gd name="connsiteX340" fmla="*/ 149533 w 397940"/>
                <a:gd name="connsiteY340" fmla="*/ 201334 h 225957"/>
                <a:gd name="connsiteX341" fmla="*/ 147984 w 397940"/>
                <a:gd name="connsiteY341" fmla="*/ 200754 h 225957"/>
                <a:gd name="connsiteX342" fmla="*/ 147043 w 397940"/>
                <a:gd name="connsiteY342" fmla="*/ 200787 h 225957"/>
                <a:gd name="connsiteX343" fmla="*/ 146708 w 397940"/>
                <a:gd name="connsiteY343" fmla="*/ 201435 h 225957"/>
                <a:gd name="connsiteX344" fmla="*/ 146780 w 397940"/>
                <a:gd name="connsiteY344" fmla="*/ 201965 h 225957"/>
                <a:gd name="connsiteX345" fmla="*/ 147257 w 397940"/>
                <a:gd name="connsiteY345" fmla="*/ 202376 h 225957"/>
                <a:gd name="connsiteX346" fmla="*/ 147187 w 397940"/>
                <a:gd name="connsiteY346" fmla="*/ 202676 h 225957"/>
                <a:gd name="connsiteX347" fmla="*/ 146579 w 397940"/>
                <a:gd name="connsiteY347" fmla="*/ 202863 h 225957"/>
                <a:gd name="connsiteX348" fmla="*/ 139736 w 397940"/>
                <a:gd name="connsiteY348" fmla="*/ 201272 h 225957"/>
                <a:gd name="connsiteX349" fmla="*/ 136782 w 397940"/>
                <a:gd name="connsiteY349" fmla="*/ 199766 h 225957"/>
                <a:gd name="connsiteX350" fmla="*/ 134456 w 397940"/>
                <a:gd name="connsiteY350" fmla="*/ 196930 h 225957"/>
                <a:gd name="connsiteX351" fmla="*/ 135613 w 397940"/>
                <a:gd name="connsiteY351" fmla="*/ 196012 h 225957"/>
                <a:gd name="connsiteX352" fmla="*/ 136620 w 397940"/>
                <a:gd name="connsiteY352" fmla="*/ 195608 h 225957"/>
                <a:gd name="connsiteX353" fmla="*/ 140181 w 397940"/>
                <a:gd name="connsiteY353" fmla="*/ 195372 h 225957"/>
                <a:gd name="connsiteX354" fmla="*/ 140792 w 397940"/>
                <a:gd name="connsiteY354" fmla="*/ 195082 h 225957"/>
                <a:gd name="connsiteX355" fmla="*/ 140852 w 397940"/>
                <a:gd name="connsiteY355" fmla="*/ 194427 h 225957"/>
                <a:gd name="connsiteX356" fmla="*/ 141118 w 397940"/>
                <a:gd name="connsiteY356" fmla="*/ 193579 h 225957"/>
                <a:gd name="connsiteX357" fmla="*/ 141023 w 397940"/>
                <a:gd name="connsiteY357" fmla="*/ 192330 h 225957"/>
                <a:gd name="connsiteX358" fmla="*/ 140627 w 397940"/>
                <a:gd name="connsiteY358" fmla="*/ 191011 h 225957"/>
                <a:gd name="connsiteX359" fmla="*/ 142191 w 397940"/>
                <a:gd name="connsiteY359" fmla="*/ 189084 h 225957"/>
                <a:gd name="connsiteX360" fmla="*/ 144519 w 397940"/>
                <a:gd name="connsiteY360" fmla="*/ 187484 h 225957"/>
                <a:gd name="connsiteX361" fmla="*/ 145883 w 397940"/>
                <a:gd name="connsiteY361" fmla="*/ 185881 h 225957"/>
                <a:gd name="connsiteX362" fmla="*/ 146093 w 397940"/>
                <a:gd name="connsiteY362" fmla="*/ 183532 h 225957"/>
                <a:gd name="connsiteX363" fmla="*/ 148542 w 397940"/>
                <a:gd name="connsiteY363" fmla="*/ 182387 h 225957"/>
                <a:gd name="connsiteX364" fmla="*/ 150714 w 397940"/>
                <a:gd name="connsiteY364" fmla="*/ 180418 h 225957"/>
                <a:gd name="connsiteX365" fmla="*/ 151247 w 397940"/>
                <a:gd name="connsiteY365" fmla="*/ 178270 h 225957"/>
                <a:gd name="connsiteX366" fmla="*/ 152007 w 397940"/>
                <a:gd name="connsiteY366" fmla="*/ 176920 h 225957"/>
                <a:gd name="connsiteX367" fmla="*/ 150625 w 397940"/>
                <a:gd name="connsiteY367" fmla="*/ 173821 h 225957"/>
                <a:gd name="connsiteX368" fmla="*/ 150334 w 397940"/>
                <a:gd name="connsiteY368" fmla="*/ 171775 h 225957"/>
                <a:gd name="connsiteX369" fmla="*/ 150265 w 397940"/>
                <a:gd name="connsiteY369" fmla="*/ 170059 h 225957"/>
                <a:gd name="connsiteX370" fmla="*/ 150949 w 397940"/>
                <a:gd name="connsiteY370" fmla="*/ 169105 h 225957"/>
                <a:gd name="connsiteX371" fmla="*/ 152973 w 397940"/>
                <a:gd name="connsiteY371" fmla="*/ 168036 h 225957"/>
                <a:gd name="connsiteX372" fmla="*/ 155104 w 397940"/>
                <a:gd name="connsiteY372" fmla="*/ 167207 h 225957"/>
                <a:gd name="connsiteX373" fmla="*/ 155987 w 397940"/>
                <a:gd name="connsiteY373" fmla="*/ 167288 h 225957"/>
                <a:gd name="connsiteX374" fmla="*/ 156309 w 397940"/>
                <a:gd name="connsiteY374" fmla="*/ 167816 h 225957"/>
                <a:gd name="connsiteX375" fmla="*/ 156393 w 397940"/>
                <a:gd name="connsiteY375" fmla="*/ 171301 h 225957"/>
                <a:gd name="connsiteX376" fmla="*/ 156819 w 397940"/>
                <a:gd name="connsiteY376" fmla="*/ 171367 h 225957"/>
                <a:gd name="connsiteX377" fmla="*/ 157499 w 397940"/>
                <a:gd name="connsiteY377" fmla="*/ 170933 h 225957"/>
                <a:gd name="connsiteX378" fmla="*/ 158611 w 397940"/>
                <a:gd name="connsiteY378" fmla="*/ 168881 h 225957"/>
                <a:gd name="connsiteX379" fmla="*/ 159377 w 397940"/>
                <a:gd name="connsiteY379" fmla="*/ 169478 h 225957"/>
                <a:gd name="connsiteX380" fmla="*/ 160556 w 397940"/>
                <a:gd name="connsiteY380" fmla="*/ 169705 h 225957"/>
                <a:gd name="connsiteX381" fmla="*/ 161440 w 397940"/>
                <a:gd name="connsiteY381" fmla="*/ 169176 h 225957"/>
                <a:gd name="connsiteX382" fmla="*/ 162014 w 397940"/>
                <a:gd name="connsiteY382" fmla="*/ 169237 h 225957"/>
                <a:gd name="connsiteX383" fmla="*/ 162726 w 397940"/>
                <a:gd name="connsiteY383" fmla="*/ 169767 h 225957"/>
                <a:gd name="connsiteX384" fmla="*/ 164143 w 397940"/>
                <a:gd name="connsiteY384" fmla="*/ 170513 h 225957"/>
                <a:gd name="connsiteX385" fmla="*/ 165467 w 397940"/>
                <a:gd name="connsiteY385" fmla="*/ 170761 h 225957"/>
                <a:gd name="connsiteX386" fmla="*/ 166564 w 397940"/>
                <a:gd name="connsiteY386" fmla="*/ 170264 h 225957"/>
                <a:gd name="connsiteX387" fmla="*/ 167499 w 397940"/>
                <a:gd name="connsiteY387" fmla="*/ 169377 h 225957"/>
                <a:gd name="connsiteX388" fmla="*/ 168497 w 397940"/>
                <a:gd name="connsiteY388" fmla="*/ 169680 h 225957"/>
                <a:gd name="connsiteX389" fmla="*/ 170397 w 397940"/>
                <a:gd name="connsiteY389" fmla="*/ 172100 h 225957"/>
                <a:gd name="connsiteX390" fmla="*/ 171284 w 397940"/>
                <a:gd name="connsiteY390" fmla="*/ 171832 h 225957"/>
                <a:gd name="connsiteX391" fmla="*/ 175655 w 397940"/>
                <a:gd name="connsiteY391" fmla="*/ 171343 h 225957"/>
                <a:gd name="connsiteX392" fmla="*/ 176359 w 397940"/>
                <a:gd name="connsiteY392" fmla="*/ 170685 h 225957"/>
                <a:gd name="connsiteX393" fmla="*/ 176879 w 397940"/>
                <a:gd name="connsiteY393" fmla="*/ 170088 h 225957"/>
                <a:gd name="connsiteX394" fmla="*/ 172308 w 397940"/>
                <a:gd name="connsiteY394" fmla="*/ 166875 h 225957"/>
                <a:gd name="connsiteX395" fmla="*/ 172539 w 397940"/>
                <a:gd name="connsiteY395" fmla="*/ 164481 h 225957"/>
                <a:gd name="connsiteX396" fmla="*/ 172710 w 397940"/>
                <a:gd name="connsiteY396" fmla="*/ 161734 h 225957"/>
                <a:gd name="connsiteX397" fmla="*/ 172170 w 397940"/>
                <a:gd name="connsiteY397" fmla="*/ 160102 h 225957"/>
                <a:gd name="connsiteX398" fmla="*/ 171280 w 397940"/>
                <a:gd name="connsiteY398" fmla="*/ 158807 h 225957"/>
                <a:gd name="connsiteX399" fmla="*/ 167784 w 397940"/>
                <a:gd name="connsiteY399" fmla="*/ 157302 h 225957"/>
                <a:gd name="connsiteX400" fmla="*/ 165087 w 397940"/>
                <a:gd name="connsiteY400" fmla="*/ 155743 h 225957"/>
                <a:gd name="connsiteX401" fmla="*/ 164517 w 397940"/>
                <a:gd name="connsiteY401" fmla="*/ 155040 h 225957"/>
                <a:gd name="connsiteX402" fmla="*/ 164443 w 397940"/>
                <a:gd name="connsiteY402" fmla="*/ 154128 h 225957"/>
                <a:gd name="connsiteX403" fmla="*/ 164329 w 397940"/>
                <a:gd name="connsiteY403" fmla="*/ 152710 h 225957"/>
                <a:gd name="connsiteX404" fmla="*/ 163258 w 397940"/>
                <a:gd name="connsiteY404" fmla="*/ 151492 h 225957"/>
                <a:gd name="connsiteX405" fmla="*/ 163167 w 397940"/>
                <a:gd name="connsiteY405" fmla="*/ 150461 h 225957"/>
                <a:gd name="connsiteX406" fmla="*/ 163850 w 397940"/>
                <a:gd name="connsiteY406" fmla="*/ 148853 h 225957"/>
                <a:gd name="connsiteX407" fmla="*/ 164016 w 397940"/>
                <a:gd name="connsiteY407" fmla="*/ 147139 h 225957"/>
                <a:gd name="connsiteX408" fmla="*/ 163791 w 397940"/>
                <a:gd name="connsiteY408" fmla="*/ 146462 h 225957"/>
                <a:gd name="connsiteX409" fmla="*/ 163161 w 397940"/>
                <a:gd name="connsiteY409" fmla="*/ 145910 h 225957"/>
                <a:gd name="connsiteX410" fmla="*/ 161945 w 397940"/>
                <a:gd name="connsiteY410" fmla="*/ 145856 h 225957"/>
                <a:gd name="connsiteX411" fmla="*/ 160347 w 397940"/>
                <a:gd name="connsiteY411" fmla="*/ 144865 h 225957"/>
                <a:gd name="connsiteX412" fmla="*/ 159250 w 397940"/>
                <a:gd name="connsiteY412" fmla="*/ 143529 h 225957"/>
                <a:gd name="connsiteX413" fmla="*/ 156305 w 397940"/>
                <a:gd name="connsiteY413" fmla="*/ 141602 h 225957"/>
                <a:gd name="connsiteX414" fmla="*/ 155402 w 397940"/>
                <a:gd name="connsiteY414" fmla="*/ 141288 h 225957"/>
                <a:gd name="connsiteX415" fmla="*/ 154851 w 397940"/>
                <a:gd name="connsiteY415" fmla="*/ 140333 h 225957"/>
                <a:gd name="connsiteX416" fmla="*/ 154588 w 397940"/>
                <a:gd name="connsiteY416" fmla="*/ 139192 h 225957"/>
                <a:gd name="connsiteX417" fmla="*/ 155206 w 397940"/>
                <a:gd name="connsiteY417" fmla="*/ 137774 h 225957"/>
                <a:gd name="connsiteX418" fmla="*/ 155983 w 397940"/>
                <a:gd name="connsiteY418" fmla="*/ 135590 h 225957"/>
                <a:gd name="connsiteX419" fmla="*/ 156529 w 397940"/>
                <a:gd name="connsiteY419" fmla="*/ 133539 h 225957"/>
                <a:gd name="connsiteX420" fmla="*/ 156538 w 397940"/>
                <a:gd name="connsiteY420" fmla="*/ 132316 h 225957"/>
                <a:gd name="connsiteX421" fmla="*/ 156177 w 397940"/>
                <a:gd name="connsiteY421" fmla="*/ 129290 h 225957"/>
                <a:gd name="connsiteX422" fmla="*/ 154642 w 397940"/>
                <a:gd name="connsiteY422" fmla="*/ 126975 h 225957"/>
                <a:gd name="connsiteX423" fmla="*/ 153925 w 397940"/>
                <a:gd name="connsiteY423" fmla="*/ 126668 h 225957"/>
                <a:gd name="connsiteX424" fmla="*/ 152686 w 397940"/>
                <a:gd name="connsiteY424" fmla="*/ 127320 h 225957"/>
                <a:gd name="connsiteX425" fmla="*/ 151279 w 397940"/>
                <a:gd name="connsiteY425" fmla="*/ 127865 h 225957"/>
                <a:gd name="connsiteX426" fmla="*/ 150170 w 397940"/>
                <a:gd name="connsiteY426" fmla="*/ 127354 h 225957"/>
                <a:gd name="connsiteX427" fmla="*/ 148902 w 397940"/>
                <a:gd name="connsiteY427" fmla="*/ 126098 h 225957"/>
                <a:gd name="connsiteX428" fmla="*/ 146868 w 397940"/>
                <a:gd name="connsiteY428" fmla="*/ 122599 h 225957"/>
                <a:gd name="connsiteX429" fmla="*/ 143061 w 397940"/>
                <a:gd name="connsiteY429" fmla="*/ 121898 h 225957"/>
                <a:gd name="connsiteX430" fmla="*/ 141487 w 397940"/>
                <a:gd name="connsiteY430" fmla="*/ 121731 h 225957"/>
                <a:gd name="connsiteX431" fmla="*/ 139997 w 397940"/>
                <a:gd name="connsiteY431" fmla="*/ 123420 h 225957"/>
                <a:gd name="connsiteX432" fmla="*/ 139531 w 397940"/>
                <a:gd name="connsiteY432" fmla="*/ 122907 h 225957"/>
                <a:gd name="connsiteX433" fmla="*/ 139112 w 397940"/>
                <a:gd name="connsiteY433" fmla="*/ 121828 h 225957"/>
                <a:gd name="connsiteX434" fmla="*/ 138326 w 397940"/>
                <a:gd name="connsiteY434" fmla="*/ 121397 h 225957"/>
                <a:gd name="connsiteX435" fmla="*/ 137287 w 397940"/>
                <a:gd name="connsiteY435" fmla="*/ 121897 h 225957"/>
                <a:gd name="connsiteX436" fmla="*/ 136987 w 397940"/>
                <a:gd name="connsiteY436" fmla="*/ 121416 h 225957"/>
                <a:gd name="connsiteX437" fmla="*/ 137434 w 397940"/>
                <a:gd name="connsiteY437" fmla="*/ 119957 h 225957"/>
                <a:gd name="connsiteX438" fmla="*/ 136192 w 397940"/>
                <a:gd name="connsiteY438" fmla="*/ 119235 h 225957"/>
                <a:gd name="connsiteX439" fmla="*/ 133268 w 397940"/>
                <a:gd name="connsiteY439" fmla="*/ 119251 h 225957"/>
                <a:gd name="connsiteX440" fmla="*/ 131714 w 397940"/>
                <a:gd name="connsiteY440" fmla="*/ 118713 h 225957"/>
                <a:gd name="connsiteX441" fmla="*/ 131528 w 397940"/>
                <a:gd name="connsiteY441" fmla="*/ 117615 h 225957"/>
                <a:gd name="connsiteX442" fmla="*/ 130608 w 397940"/>
                <a:gd name="connsiteY442" fmla="*/ 116894 h 225957"/>
                <a:gd name="connsiteX443" fmla="*/ 128947 w 397940"/>
                <a:gd name="connsiteY443" fmla="*/ 116547 h 225957"/>
                <a:gd name="connsiteX444" fmla="*/ 127339 w 397940"/>
                <a:gd name="connsiteY444" fmla="*/ 115649 h 225957"/>
                <a:gd name="connsiteX445" fmla="*/ 125778 w 397940"/>
                <a:gd name="connsiteY445" fmla="*/ 114203 h 225957"/>
                <a:gd name="connsiteX446" fmla="*/ 123443 w 397940"/>
                <a:gd name="connsiteY446" fmla="*/ 113260 h 225957"/>
                <a:gd name="connsiteX447" fmla="*/ 120331 w 397940"/>
                <a:gd name="connsiteY447" fmla="*/ 112824 h 225957"/>
                <a:gd name="connsiteX448" fmla="*/ 120077 w 397940"/>
                <a:gd name="connsiteY448" fmla="*/ 112668 h 225957"/>
                <a:gd name="connsiteX449" fmla="*/ 119790 w 397940"/>
                <a:gd name="connsiteY449" fmla="*/ 112460 h 225957"/>
                <a:gd name="connsiteX450" fmla="*/ 117781 w 397940"/>
                <a:gd name="connsiteY450" fmla="*/ 113443 h 225957"/>
                <a:gd name="connsiteX451" fmla="*/ 116574 w 397940"/>
                <a:gd name="connsiteY451" fmla="*/ 114221 h 225957"/>
                <a:gd name="connsiteX452" fmla="*/ 115095 w 397940"/>
                <a:gd name="connsiteY452" fmla="*/ 113737 h 225957"/>
                <a:gd name="connsiteX453" fmla="*/ 112698 w 397940"/>
                <a:gd name="connsiteY453" fmla="*/ 115473 h 225957"/>
                <a:gd name="connsiteX454" fmla="*/ 107833 w 397940"/>
                <a:gd name="connsiteY454" fmla="*/ 115563 h 225957"/>
                <a:gd name="connsiteX455" fmla="*/ 105447 w 397940"/>
                <a:gd name="connsiteY455" fmla="*/ 115459 h 225957"/>
                <a:gd name="connsiteX456" fmla="*/ 104263 w 397940"/>
                <a:gd name="connsiteY456" fmla="*/ 115028 h 225957"/>
                <a:gd name="connsiteX457" fmla="*/ 99694 w 397940"/>
                <a:gd name="connsiteY457" fmla="*/ 117662 h 225957"/>
                <a:gd name="connsiteX458" fmla="*/ 99219 w 397940"/>
                <a:gd name="connsiteY458" fmla="*/ 118632 h 225957"/>
                <a:gd name="connsiteX459" fmla="*/ 98191 w 397940"/>
                <a:gd name="connsiteY459" fmla="*/ 118955 h 225957"/>
                <a:gd name="connsiteX460" fmla="*/ 95315 w 397940"/>
                <a:gd name="connsiteY460" fmla="*/ 119478 h 225957"/>
                <a:gd name="connsiteX461" fmla="*/ 92292 w 397940"/>
                <a:gd name="connsiteY461" fmla="*/ 120220 h 225957"/>
                <a:gd name="connsiteX462" fmla="*/ 91657 w 397940"/>
                <a:gd name="connsiteY462" fmla="*/ 122778 h 225957"/>
                <a:gd name="connsiteX463" fmla="*/ 90756 w 397940"/>
                <a:gd name="connsiteY463" fmla="*/ 124159 h 225957"/>
                <a:gd name="connsiteX464" fmla="*/ 89131 w 397940"/>
                <a:gd name="connsiteY464" fmla="*/ 126186 h 225957"/>
                <a:gd name="connsiteX465" fmla="*/ 83514 w 397940"/>
                <a:gd name="connsiteY465" fmla="*/ 126890 h 225957"/>
                <a:gd name="connsiteX466" fmla="*/ 78662 w 397940"/>
                <a:gd name="connsiteY466" fmla="*/ 127880 h 225957"/>
                <a:gd name="connsiteX467" fmla="*/ 73687 w 397940"/>
                <a:gd name="connsiteY467" fmla="*/ 128491 h 225957"/>
                <a:gd name="connsiteX468" fmla="*/ 67171 w 397940"/>
                <a:gd name="connsiteY468" fmla="*/ 130962 h 225957"/>
                <a:gd name="connsiteX469" fmla="*/ 65053 w 397940"/>
                <a:gd name="connsiteY469" fmla="*/ 133140 h 225957"/>
                <a:gd name="connsiteX470" fmla="*/ 62959 w 397940"/>
                <a:gd name="connsiteY470" fmla="*/ 133747 h 225957"/>
                <a:gd name="connsiteX471" fmla="*/ 61063 w 397940"/>
                <a:gd name="connsiteY471" fmla="*/ 133926 h 225957"/>
                <a:gd name="connsiteX472" fmla="*/ 59836 w 397940"/>
                <a:gd name="connsiteY472" fmla="*/ 132714 h 225957"/>
                <a:gd name="connsiteX473" fmla="*/ 55703 w 397940"/>
                <a:gd name="connsiteY473" fmla="*/ 129457 h 225957"/>
                <a:gd name="connsiteX474" fmla="*/ 54109 w 397940"/>
                <a:gd name="connsiteY474" fmla="*/ 127920 h 225957"/>
                <a:gd name="connsiteX475" fmla="*/ 52013 w 397940"/>
                <a:gd name="connsiteY475" fmla="*/ 127467 h 225957"/>
                <a:gd name="connsiteX476" fmla="*/ 49733 w 397940"/>
                <a:gd name="connsiteY476" fmla="*/ 127723 h 225957"/>
                <a:gd name="connsiteX477" fmla="*/ 47543 w 397940"/>
                <a:gd name="connsiteY477" fmla="*/ 128480 h 225957"/>
                <a:gd name="connsiteX478" fmla="*/ 45239 w 397940"/>
                <a:gd name="connsiteY478" fmla="*/ 128625 h 225957"/>
                <a:gd name="connsiteX479" fmla="*/ 42630 w 397940"/>
                <a:gd name="connsiteY479" fmla="*/ 127533 h 225957"/>
                <a:gd name="connsiteX480" fmla="*/ 42356 w 397940"/>
                <a:gd name="connsiteY480" fmla="*/ 127639 h 225957"/>
                <a:gd name="connsiteX481" fmla="*/ 41350 w 397940"/>
                <a:gd name="connsiteY481" fmla="*/ 127786 h 225957"/>
                <a:gd name="connsiteX482" fmla="*/ 34874 w 397940"/>
                <a:gd name="connsiteY482" fmla="*/ 126466 h 225957"/>
                <a:gd name="connsiteX483" fmla="*/ 34278 w 397940"/>
                <a:gd name="connsiteY483" fmla="*/ 126247 h 225957"/>
                <a:gd name="connsiteX484" fmla="*/ 33991 w 397940"/>
                <a:gd name="connsiteY484" fmla="*/ 126192 h 225957"/>
                <a:gd name="connsiteX485" fmla="*/ 33099 w 397940"/>
                <a:gd name="connsiteY485" fmla="*/ 126093 h 225957"/>
                <a:gd name="connsiteX486" fmla="*/ 28223 w 397940"/>
                <a:gd name="connsiteY486" fmla="*/ 126258 h 225957"/>
                <a:gd name="connsiteX487" fmla="*/ 23677 w 397940"/>
                <a:gd name="connsiteY487" fmla="*/ 123589 h 225957"/>
                <a:gd name="connsiteX488" fmla="*/ 22280 w 397940"/>
                <a:gd name="connsiteY488" fmla="*/ 123508 h 225957"/>
                <a:gd name="connsiteX489" fmla="*/ 21205 w 397940"/>
                <a:gd name="connsiteY489" fmla="*/ 124589 h 225957"/>
                <a:gd name="connsiteX490" fmla="*/ 20408 w 397940"/>
                <a:gd name="connsiteY490" fmla="*/ 125791 h 225957"/>
                <a:gd name="connsiteX491" fmla="*/ 17270 w 397940"/>
                <a:gd name="connsiteY491" fmla="*/ 126984 h 225957"/>
                <a:gd name="connsiteX492" fmla="*/ 16469 w 397940"/>
                <a:gd name="connsiteY492" fmla="*/ 127463 h 225957"/>
                <a:gd name="connsiteX493" fmla="*/ 16014 w 397940"/>
                <a:gd name="connsiteY493" fmla="*/ 127095 h 225957"/>
                <a:gd name="connsiteX494" fmla="*/ 15802 w 397940"/>
                <a:gd name="connsiteY494" fmla="*/ 126058 h 225957"/>
                <a:gd name="connsiteX495" fmla="*/ 16040 w 397940"/>
                <a:gd name="connsiteY495" fmla="*/ 125141 h 225957"/>
                <a:gd name="connsiteX496" fmla="*/ 15575 w 397940"/>
                <a:gd name="connsiteY496" fmla="*/ 124273 h 225957"/>
                <a:gd name="connsiteX497" fmla="*/ 14381 w 397940"/>
                <a:gd name="connsiteY497" fmla="*/ 123287 h 225957"/>
                <a:gd name="connsiteX498" fmla="*/ 14092 w 397940"/>
                <a:gd name="connsiteY498" fmla="*/ 122880 h 225957"/>
                <a:gd name="connsiteX499" fmla="*/ 12598 w 397940"/>
                <a:gd name="connsiteY499" fmla="*/ 122954 h 225957"/>
                <a:gd name="connsiteX500" fmla="*/ 12190 w 397940"/>
                <a:gd name="connsiteY500" fmla="*/ 123050 h 225957"/>
                <a:gd name="connsiteX501" fmla="*/ 12040 w 397940"/>
                <a:gd name="connsiteY501" fmla="*/ 123028 h 225957"/>
                <a:gd name="connsiteX502" fmla="*/ 9963 w 397940"/>
                <a:gd name="connsiteY502" fmla="*/ 122191 h 225957"/>
                <a:gd name="connsiteX503" fmla="*/ 8585 w 397940"/>
                <a:gd name="connsiteY503" fmla="*/ 120174 h 225957"/>
                <a:gd name="connsiteX504" fmla="*/ 6456 w 397940"/>
                <a:gd name="connsiteY504" fmla="*/ 119101 h 225957"/>
                <a:gd name="connsiteX505" fmla="*/ 4828 w 397940"/>
                <a:gd name="connsiteY505" fmla="*/ 118740 h 225957"/>
                <a:gd name="connsiteX506" fmla="*/ 4087 w 397940"/>
                <a:gd name="connsiteY506" fmla="*/ 117875 h 225957"/>
                <a:gd name="connsiteX507" fmla="*/ 3610 w 397940"/>
                <a:gd name="connsiteY507" fmla="*/ 116724 h 225957"/>
                <a:gd name="connsiteX508" fmla="*/ 3102 w 397940"/>
                <a:gd name="connsiteY508" fmla="*/ 115854 h 225957"/>
                <a:gd name="connsiteX509" fmla="*/ 3042 w 397940"/>
                <a:gd name="connsiteY509" fmla="*/ 115772 h 225957"/>
                <a:gd name="connsiteX510" fmla="*/ 2695 w 397940"/>
                <a:gd name="connsiteY510" fmla="*/ 114455 h 225957"/>
                <a:gd name="connsiteX511" fmla="*/ 2196 w 397940"/>
                <a:gd name="connsiteY511" fmla="*/ 114319 h 225957"/>
                <a:gd name="connsiteX512" fmla="*/ 2107 w 397940"/>
                <a:gd name="connsiteY512" fmla="*/ 114284 h 225957"/>
                <a:gd name="connsiteX513" fmla="*/ 0 w 397940"/>
                <a:gd name="connsiteY513" fmla="*/ 114513 h 225957"/>
                <a:gd name="connsiteX514" fmla="*/ 244 w 397940"/>
                <a:gd name="connsiteY514" fmla="*/ 109884 h 225957"/>
                <a:gd name="connsiteX515" fmla="*/ 3612 w 397940"/>
                <a:gd name="connsiteY515" fmla="*/ 106550 h 225957"/>
                <a:gd name="connsiteX516" fmla="*/ 4439 w 397940"/>
                <a:gd name="connsiteY516" fmla="*/ 104866 h 225957"/>
                <a:gd name="connsiteX517" fmla="*/ 5696 w 397940"/>
                <a:gd name="connsiteY517" fmla="*/ 101209 h 225957"/>
                <a:gd name="connsiteX518" fmla="*/ 6638 w 397940"/>
                <a:gd name="connsiteY518" fmla="*/ 99497 h 225957"/>
                <a:gd name="connsiteX519" fmla="*/ 7769 w 397940"/>
                <a:gd name="connsiteY519" fmla="*/ 98079 h 225957"/>
                <a:gd name="connsiteX520" fmla="*/ 8674 w 397940"/>
                <a:gd name="connsiteY520" fmla="*/ 96706 h 225957"/>
                <a:gd name="connsiteX521" fmla="*/ 8996 w 397940"/>
                <a:gd name="connsiteY521" fmla="*/ 95526 h 225957"/>
                <a:gd name="connsiteX522" fmla="*/ 9909 w 397940"/>
                <a:gd name="connsiteY522" fmla="*/ 95398 h 225957"/>
                <a:gd name="connsiteX523" fmla="*/ 12591 w 397940"/>
                <a:gd name="connsiteY523" fmla="*/ 96462 h 225957"/>
                <a:gd name="connsiteX524" fmla="*/ 14990 w 397940"/>
                <a:gd name="connsiteY524" fmla="*/ 97009 h 225957"/>
                <a:gd name="connsiteX525" fmla="*/ 15653 w 397940"/>
                <a:gd name="connsiteY525" fmla="*/ 96491 h 225957"/>
                <a:gd name="connsiteX526" fmla="*/ 15925 w 397940"/>
                <a:gd name="connsiteY526" fmla="*/ 95811 h 225957"/>
                <a:gd name="connsiteX527" fmla="*/ 15815 w 397940"/>
                <a:gd name="connsiteY527" fmla="*/ 95282 h 225957"/>
                <a:gd name="connsiteX528" fmla="*/ 13893 w 397940"/>
                <a:gd name="connsiteY528" fmla="*/ 93712 h 225957"/>
                <a:gd name="connsiteX529" fmla="*/ 12688 w 397940"/>
                <a:gd name="connsiteY529" fmla="*/ 92712 h 225957"/>
                <a:gd name="connsiteX530" fmla="*/ 12615 w 397940"/>
                <a:gd name="connsiteY530" fmla="*/ 92097 h 225957"/>
                <a:gd name="connsiteX531" fmla="*/ 13049 w 397940"/>
                <a:gd name="connsiteY531" fmla="*/ 90717 h 225957"/>
                <a:gd name="connsiteX532" fmla="*/ 13280 w 397940"/>
                <a:gd name="connsiteY532" fmla="*/ 89165 h 225957"/>
                <a:gd name="connsiteX533" fmla="*/ 13003 w 397940"/>
                <a:gd name="connsiteY533" fmla="*/ 87486 h 225957"/>
                <a:gd name="connsiteX534" fmla="*/ 11693 w 397940"/>
                <a:gd name="connsiteY534" fmla="*/ 83762 h 225957"/>
                <a:gd name="connsiteX535" fmla="*/ 11444 w 397940"/>
                <a:gd name="connsiteY535" fmla="*/ 82174 h 225957"/>
                <a:gd name="connsiteX536" fmla="*/ 12699 w 397940"/>
                <a:gd name="connsiteY536" fmla="*/ 80244 h 225957"/>
                <a:gd name="connsiteX537" fmla="*/ 16780 w 397940"/>
                <a:gd name="connsiteY537" fmla="*/ 75641 h 225957"/>
                <a:gd name="connsiteX538" fmla="*/ 18141 w 397940"/>
                <a:gd name="connsiteY538" fmla="*/ 73910 h 225957"/>
                <a:gd name="connsiteX539" fmla="*/ 20000 w 397940"/>
                <a:gd name="connsiteY539" fmla="*/ 71815 h 225957"/>
                <a:gd name="connsiteX540" fmla="*/ 25044 w 397940"/>
                <a:gd name="connsiteY540" fmla="*/ 66799 h 225957"/>
                <a:gd name="connsiteX541" fmla="*/ 28232 w 397940"/>
                <a:gd name="connsiteY541" fmla="*/ 63878 h 225957"/>
                <a:gd name="connsiteX542" fmla="*/ 30389 w 397940"/>
                <a:gd name="connsiteY542" fmla="*/ 62260 h 225957"/>
                <a:gd name="connsiteX543" fmla="*/ 33548 w 397940"/>
                <a:gd name="connsiteY543" fmla="*/ 59445 h 225957"/>
                <a:gd name="connsiteX544" fmla="*/ 34934 w 397940"/>
                <a:gd name="connsiteY544" fmla="*/ 57987 h 225957"/>
                <a:gd name="connsiteX545" fmla="*/ 40704 w 397940"/>
                <a:gd name="connsiteY545" fmla="*/ 57038 h 225957"/>
                <a:gd name="connsiteX546" fmla="*/ 41419 w 397940"/>
                <a:gd name="connsiteY546" fmla="*/ 55675 h 225957"/>
                <a:gd name="connsiteX547" fmla="*/ 42473 w 397940"/>
                <a:gd name="connsiteY547" fmla="*/ 54183 h 225957"/>
                <a:gd name="connsiteX548" fmla="*/ 43297 w 397940"/>
                <a:gd name="connsiteY548" fmla="*/ 53543 h 225957"/>
                <a:gd name="connsiteX549" fmla="*/ 43403 w 397940"/>
                <a:gd name="connsiteY549" fmla="*/ 51027 h 225957"/>
                <a:gd name="connsiteX550" fmla="*/ 42332 w 397940"/>
                <a:gd name="connsiteY550" fmla="*/ 47950 h 225957"/>
                <a:gd name="connsiteX551" fmla="*/ 41471 w 397940"/>
                <a:gd name="connsiteY551" fmla="*/ 46862 h 225957"/>
                <a:gd name="connsiteX552" fmla="*/ 40832 w 397940"/>
                <a:gd name="connsiteY552" fmla="*/ 46121 h 225957"/>
                <a:gd name="connsiteX553" fmla="*/ 41244 w 397940"/>
                <a:gd name="connsiteY553" fmla="*/ 45428 h 225957"/>
                <a:gd name="connsiteX554" fmla="*/ 41883 w 397940"/>
                <a:gd name="connsiteY554" fmla="*/ 45231 h 225957"/>
                <a:gd name="connsiteX555" fmla="*/ 42671 w 397940"/>
                <a:gd name="connsiteY555" fmla="*/ 45133 h 225957"/>
                <a:gd name="connsiteX556" fmla="*/ 43647 w 397940"/>
                <a:gd name="connsiteY556" fmla="*/ 44391 h 225957"/>
                <a:gd name="connsiteX557" fmla="*/ 43427 w 397940"/>
                <a:gd name="connsiteY557" fmla="*/ 43581 h 225957"/>
                <a:gd name="connsiteX558" fmla="*/ 40994 w 397940"/>
                <a:gd name="connsiteY558" fmla="*/ 41606 h 225957"/>
                <a:gd name="connsiteX559" fmla="*/ 39940 w 397940"/>
                <a:gd name="connsiteY559" fmla="*/ 40085 h 225957"/>
                <a:gd name="connsiteX560" fmla="*/ 38290 w 397940"/>
                <a:gd name="connsiteY560" fmla="*/ 36177 h 225957"/>
                <a:gd name="connsiteX561" fmla="*/ 34945 w 397940"/>
                <a:gd name="connsiteY561" fmla="*/ 32109 h 225957"/>
                <a:gd name="connsiteX562" fmla="*/ 33889 w 397940"/>
                <a:gd name="connsiteY562" fmla="*/ 30793 h 225957"/>
                <a:gd name="connsiteX563" fmla="*/ 33738 w 397940"/>
                <a:gd name="connsiteY563" fmla="*/ 29548 h 225957"/>
                <a:gd name="connsiteX564" fmla="*/ 34226 w 397940"/>
                <a:gd name="connsiteY564" fmla="*/ 28303 h 225957"/>
                <a:gd name="connsiteX565" fmla="*/ 33766 w 397940"/>
                <a:gd name="connsiteY565" fmla="*/ 26716 h 225957"/>
                <a:gd name="connsiteX566" fmla="*/ 32581 w 397940"/>
                <a:gd name="connsiteY566" fmla="*/ 24690 h 225957"/>
                <a:gd name="connsiteX567" fmla="*/ 32768 w 397940"/>
                <a:gd name="connsiteY567" fmla="*/ 24471 h 225957"/>
                <a:gd name="connsiteX568" fmla="*/ 32654 w 397940"/>
                <a:gd name="connsiteY568" fmla="*/ 21968 h 225957"/>
                <a:gd name="connsiteX569" fmla="*/ 33496 w 397940"/>
                <a:gd name="connsiteY569" fmla="*/ 21427 h 225957"/>
                <a:gd name="connsiteX570" fmla="*/ 34826 w 397940"/>
                <a:gd name="connsiteY570" fmla="*/ 21061 h 225957"/>
                <a:gd name="connsiteX571" fmla="*/ 36703 w 397940"/>
                <a:gd name="connsiteY571" fmla="*/ 21184 h 225957"/>
                <a:gd name="connsiteX572" fmla="*/ 38307 w 397940"/>
                <a:gd name="connsiteY572" fmla="*/ 21571 h 225957"/>
                <a:gd name="connsiteX573" fmla="*/ 40229 w 397940"/>
                <a:gd name="connsiteY573" fmla="*/ 22716 h 225957"/>
                <a:gd name="connsiteX574" fmla="*/ 40829 w 397940"/>
                <a:gd name="connsiteY574" fmla="*/ 22532 h 225957"/>
                <a:gd name="connsiteX575" fmla="*/ 44114 w 397940"/>
                <a:gd name="connsiteY575" fmla="*/ 20373 h 225957"/>
                <a:gd name="connsiteX576" fmla="*/ 47502 w 397940"/>
                <a:gd name="connsiteY576" fmla="*/ 17130 h 225957"/>
                <a:gd name="connsiteX577" fmla="*/ 48467 w 397940"/>
                <a:gd name="connsiteY577" fmla="*/ 15251 h 225957"/>
                <a:gd name="connsiteX578" fmla="*/ 49311 w 397940"/>
                <a:gd name="connsiteY578" fmla="*/ 14392 h 225957"/>
                <a:gd name="connsiteX579" fmla="*/ 52259 w 397940"/>
                <a:gd name="connsiteY579" fmla="*/ 13933 h 225957"/>
                <a:gd name="connsiteX580" fmla="*/ 54826 w 397940"/>
                <a:gd name="connsiteY580" fmla="*/ 13743 h 225957"/>
                <a:gd name="connsiteX581" fmla="*/ 56459 w 397940"/>
                <a:gd name="connsiteY581" fmla="*/ 13779 h 225957"/>
                <a:gd name="connsiteX582" fmla="*/ 60467 w 397940"/>
                <a:gd name="connsiteY582" fmla="*/ 13459 h 225957"/>
                <a:gd name="connsiteX583" fmla="*/ 62842 w 397940"/>
                <a:gd name="connsiteY583" fmla="*/ 13104 h 225957"/>
                <a:gd name="connsiteX584" fmla="*/ 64896 w 397940"/>
                <a:gd name="connsiteY584" fmla="*/ 12531 h 225957"/>
                <a:gd name="connsiteX585" fmla="*/ 69329 w 397940"/>
                <a:gd name="connsiteY585" fmla="*/ 12318 h 225957"/>
                <a:gd name="connsiteX586" fmla="*/ 76252 w 397940"/>
                <a:gd name="connsiteY586" fmla="*/ 12702 h 225957"/>
                <a:gd name="connsiteX587" fmla="*/ 80795 w 397940"/>
                <a:gd name="connsiteY587" fmla="*/ 12729 h 225957"/>
                <a:gd name="connsiteX588" fmla="*/ 83881 w 397940"/>
                <a:gd name="connsiteY588" fmla="*/ 13034 h 225957"/>
                <a:gd name="connsiteX589" fmla="*/ 91439 w 397940"/>
                <a:gd name="connsiteY589" fmla="*/ 14761 h 225957"/>
                <a:gd name="connsiteX590" fmla="*/ 94252 w 397940"/>
                <a:gd name="connsiteY590" fmla="*/ 15074 h 225957"/>
                <a:gd name="connsiteX591" fmla="*/ 95559 w 397940"/>
                <a:gd name="connsiteY591" fmla="*/ 15988 h 225957"/>
                <a:gd name="connsiteX592" fmla="*/ 98068 w 397940"/>
                <a:gd name="connsiteY592" fmla="*/ 16328 h 225957"/>
                <a:gd name="connsiteX593" fmla="*/ 102635 w 397940"/>
                <a:gd name="connsiteY593" fmla="*/ 17248 h 225957"/>
                <a:gd name="connsiteX594" fmla="*/ 106602 w 397940"/>
                <a:gd name="connsiteY594" fmla="*/ 17741 h 225957"/>
                <a:gd name="connsiteX595" fmla="*/ 109284 w 397940"/>
                <a:gd name="connsiteY595" fmla="*/ 17539 h 225957"/>
                <a:gd name="connsiteX596" fmla="*/ 110785 w 397940"/>
                <a:gd name="connsiteY596" fmla="*/ 17798 h 225957"/>
                <a:gd name="connsiteX597" fmla="*/ 113618 w 397940"/>
                <a:gd name="connsiteY597" fmla="*/ 21877 h 225957"/>
                <a:gd name="connsiteX598" fmla="*/ 114196 w 397940"/>
                <a:gd name="connsiteY598" fmla="*/ 22353 h 225957"/>
                <a:gd name="connsiteX599" fmla="*/ 115332 w 397940"/>
                <a:gd name="connsiteY599" fmla="*/ 22449 h 225957"/>
                <a:gd name="connsiteX600" fmla="*/ 117647 w 397940"/>
                <a:gd name="connsiteY600" fmla="*/ 22097 h 225957"/>
                <a:gd name="connsiteX601" fmla="*/ 120943 w 397940"/>
                <a:gd name="connsiteY601" fmla="*/ 22229 h 225957"/>
                <a:gd name="connsiteX602" fmla="*/ 122897 w 397940"/>
                <a:gd name="connsiteY602" fmla="*/ 23088 h 225957"/>
                <a:gd name="connsiteX603" fmla="*/ 122610 w 397940"/>
                <a:gd name="connsiteY603" fmla="*/ 25513 h 225957"/>
                <a:gd name="connsiteX604" fmla="*/ 123123 w 397940"/>
                <a:gd name="connsiteY604" fmla="*/ 25864 h 225957"/>
                <a:gd name="connsiteX605" fmla="*/ 124037 w 397940"/>
                <a:gd name="connsiteY605" fmla="*/ 25729 h 225957"/>
                <a:gd name="connsiteX606" fmla="*/ 125088 w 397940"/>
                <a:gd name="connsiteY606" fmla="*/ 24360 h 225957"/>
                <a:gd name="connsiteX607" fmla="*/ 125972 w 397940"/>
                <a:gd name="connsiteY607" fmla="*/ 22940 h 225957"/>
                <a:gd name="connsiteX608" fmla="*/ 126630 w 397940"/>
                <a:gd name="connsiteY608" fmla="*/ 22501 h 225957"/>
                <a:gd name="connsiteX609" fmla="*/ 129995 w 397940"/>
                <a:gd name="connsiteY609" fmla="*/ 23460 h 225957"/>
                <a:gd name="connsiteX610" fmla="*/ 131532 w 397940"/>
                <a:gd name="connsiteY610" fmla="*/ 23305 h 225957"/>
                <a:gd name="connsiteX611" fmla="*/ 132951 w 397940"/>
                <a:gd name="connsiteY611" fmla="*/ 22228 h 225957"/>
                <a:gd name="connsiteX612" fmla="*/ 133821 w 397940"/>
                <a:gd name="connsiteY612" fmla="*/ 22045 h 225957"/>
                <a:gd name="connsiteX613" fmla="*/ 136205 w 397940"/>
                <a:gd name="connsiteY613" fmla="*/ 22811 h 225957"/>
                <a:gd name="connsiteX614" fmla="*/ 139146 w 397940"/>
                <a:gd name="connsiteY614" fmla="*/ 23347 h 225957"/>
                <a:gd name="connsiteX615" fmla="*/ 141522 w 397940"/>
                <a:gd name="connsiteY615" fmla="*/ 23381 h 225957"/>
                <a:gd name="connsiteX616" fmla="*/ 143003 w 397940"/>
                <a:gd name="connsiteY616" fmla="*/ 23964 h 225957"/>
                <a:gd name="connsiteX617" fmla="*/ 144080 w 397940"/>
                <a:gd name="connsiteY617" fmla="*/ 26494 h 225957"/>
                <a:gd name="connsiteX618" fmla="*/ 145020 w 397940"/>
                <a:gd name="connsiteY618" fmla="*/ 27013 h 225957"/>
                <a:gd name="connsiteX619" fmla="*/ 145927 w 397940"/>
                <a:gd name="connsiteY619" fmla="*/ 27174 h 225957"/>
                <a:gd name="connsiteX620" fmla="*/ 147298 w 397940"/>
                <a:gd name="connsiteY620" fmla="*/ 24913 h 225957"/>
                <a:gd name="connsiteX621" fmla="*/ 148542 w 397940"/>
                <a:gd name="connsiteY621" fmla="*/ 24036 h 225957"/>
                <a:gd name="connsiteX622" fmla="*/ 150267 w 397940"/>
                <a:gd name="connsiteY622" fmla="*/ 23390 h 225957"/>
                <a:gd name="connsiteX623" fmla="*/ 151377 w 397940"/>
                <a:gd name="connsiteY623" fmla="*/ 23107 h 225957"/>
                <a:gd name="connsiteX624" fmla="*/ 152158 w 397940"/>
                <a:gd name="connsiteY624" fmla="*/ 22308 h 225957"/>
                <a:gd name="connsiteX625" fmla="*/ 153212 w 397940"/>
                <a:gd name="connsiteY625" fmla="*/ 21528 h 225957"/>
                <a:gd name="connsiteX626" fmla="*/ 154126 w 397940"/>
                <a:gd name="connsiteY626" fmla="*/ 21466 h 225957"/>
                <a:gd name="connsiteX627" fmla="*/ 154868 w 397940"/>
                <a:gd name="connsiteY627" fmla="*/ 21768 h 225957"/>
                <a:gd name="connsiteX628" fmla="*/ 155721 w 397940"/>
                <a:gd name="connsiteY628" fmla="*/ 22847 h 225957"/>
                <a:gd name="connsiteX629" fmla="*/ 156965 w 397940"/>
                <a:gd name="connsiteY629" fmla="*/ 25305 h 225957"/>
                <a:gd name="connsiteX630" fmla="*/ 158477 w 397940"/>
                <a:gd name="connsiteY630" fmla="*/ 27771 h 225957"/>
                <a:gd name="connsiteX631" fmla="*/ 159531 w 397940"/>
                <a:gd name="connsiteY631" fmla="*/ 28666 h 225957"/>
                <a:gd name="connsiteX632" fmla="*/ 162254 w 397940"/>
                <a:gd name="connsiteY632" fmla="*/ 27909 h 225957"/>
                <a:gd name="connsiteX633" fmla="*/ 164100 w 397940"/>
                <a:gd name="connsiteY633" fmla="*/ 27139 h 225957"/>
                <a:gd name="connsiteX634" fmla="*/ 167482 w 397940"/>
                <a:gd name="connsiteY634" fmla="*/ 26993 h 225957"/>
                <a:gd name="connsiteX635" fmla="*/ 171964 w 397940"/>
                <a:gd name="connsiteY635" fmla="*/ 26451 h 225957"/>
                <a:gd name="connsiteX636" fmla="*/ 175392 w 397940"/>
                <a:gd name="connsiteY636" fmla="*/ 25745 h 225957"/>
                <a:gd name="connsiteX637" fmla="*/ 177536 w 397940"/>
                <a:gd name="connsiteY637" fmla="*/ 25867 h 225957"/>
                <a:gd name="connsiteX638" fmla="*/ 178836 w 397940"/>
                <a:gd name="connsiteY638" fmla="*/ 26650 h 225957"/>
                <a:gd name="connsiteX639" fmla="*/ 180814 w 397940"/>
                <a:gd name="connsiteY639" fmla="*/ 28166 h 225957"/>
                <a:gd name="connsiteX640" fmla="*/ 181354 w 397940"/>
                <a:gd name="connsiteY640" fmla="*/ 30339 h 225957"/>
                <a:gd name="connsiteX641" fmla="*/ 183921 w 397940"/>
                <a:gd name="connsiteY641" fmla="*/ 31841 h 225957"/>
                <a:gd name="connsiteX642" fmla="*/ 186022 w 397940"/>
                <a:gd name="connsiteY642" fmla="*/ 32112 h 225957"/>
                <a:gd name="connsiteX643" fmla="*/ 186739 w 397940"/>
                <a:gd name="connsiteY643" fmla="*/ 30549 h 225957"/>
                <a:gd name="connsiteX644" fmla="*/ 187968 w 397940"/>
                <a:gd name="connsiteY644" fmla="*/ 29462 h 225957"/>
                <a:gd name="connsiteX645" fmla="*/ 187508 w 397940"/>
                <a:gd name="connsiteY645" fmla="*/ 27968 h 225957"/>
                <a:gd name="connsiteX646" fmla="*/ 187301 w 397940"/>
                <a:gd name="connsiteY646" fmla="*/ 26062 h 225957"/>
                <a:gd name="connsiteX647" fmla="*/ 186380 w 397940"/>
                <a:gd name="connsiteY647" fmla="*/ 24291 h 225957"/>
                <a:gd name="connsiteX648" fmla="*/ 185767 w 397940"/>
                <a:gd name="connsiteY648" fmla="*/ 22384 h 225957"/>
                <a:gd name="connsiteX649" fmla="*/ 186892 w 397940"/>
                <a:gd name="connsiteY649" fmla="*/ 19657 h 225957"/>
                <a:gd name="connsiteX650" fmla="*/ 188121 w 397940"/>
                <a:gd name="connsiteY650" fmla="*/ 17267 h 225957"/>
                <a:gd name="connsiteX651" fmla="*/ 188736 w 397940"/>
                <a:gd name="connsiteY651" fmla="*/ 15968 h 225957"/>
                <a:gd name="connsiteX652" fmla="*/ 190682 w 397940"/>
                <a:gd name="connsiteY652" fmla="*/ 13576 h 225957"/>
                <a:gd name="connsiteX653" fmla="*/ 192682 w 397940"/>
                <a:gd name="connsiteY653" fmla="*/ 11865 h 225957"/>
                <a:gd name="connsiteX654" fmla="*/ 195666 w 397940"/>
                <a:gd name="connsiteY654" fmla="*/ 9111 h 225957"/>
                <a:gd name="connsiteX655" fmla="*/ 197847 w 397940"/>
                <a:gd name="connsiteY655" fmla="*/ 8201 h 225957"/>
                <a:gd name="connsiteX656" fmla="*/ 199818 w 397940"/>
                <a:gd name="connsiteY656" fmla="*/ 8616 h 225957"/>
                <a:gd name="connsiteX657" fmla="*/ 200913 w 397940"/>
                <a:gd name="connsiteY657" fmla="*/ 8992 h 225957"/>
                <a:gd name="connsiteX658" fmla="*/ 203744 w 397940"/>
                <a:gd name="connsiteY658" fmla="*/ 7360 h 225957"/>
                <a:gd name="connsiteX659" fmla="*/ 208780 w 397940"/>
                <a:gd name="connsiteY659" fmla="*/ 7279 h 225957"/>
                <a:gd name="connsiteX660" fmla="*/ 212973 w 397940"/>
                <a:gd name="connsiteY660" fmla="*/ 7487 h 225957"/>
                <a:gd name="connsiteX661" fmla="*/ 213394 w 397940"/>
                <a:gd name="connsiteY661" fmla="*/ 7536 h 225957"/>
                <a:gd name="connsiteX662" fmla="*/ 215455 w 397940"/>
                <a:gd name="connsiteY662" fmla="*/ 8380 h 225957"/>
                <a:gd name="connsiteX663" fmla="*/ 217627 w 397940"/>
                <a:gd name="connsiteY663" fmla="*/ 9098 h 225957"/>
                <a:gd name="connsiteX664" fmla="*/ 219125 w 397940"/>
                <a:gd name="connsiteY664" fmla="*/ 9146 h 225957"/>
                <a:gd name="connsiteX665" fmla="*/ 220909 w 397940"/>
                <a:gd name="connsiteY665" fmla="*/ 8981 h 225957"/>
                <a:gd name="connsiteX666" fmla="*/ 223000 w 397940"/>
                <a:gd name="connsiteY666" fmla="*/ 8024 h 225957"/>
                <a:gd name="connsiteX667" fmla="*/ 224459 w 397940"/>
                <a:gd name="connsiteY667" fmla="*/ 7104 h 225957"/>
                <a:gd name="connsiteX668" fmla="*/ 226232 w 397940"/>
                <a:gd name="connsiteY668" fmla="*/ 2418 h 225957"/>
                <a:gd name="connsiteX669" fmla="*/ 226858 w 397940"/>
                <a:gd name="connsiteY669" fmla="*/ 1744 h 225957"/>
                <a:gd name="connsiteX670" fmla="*/ 227834 w 397940"/>
                <a:gd name="connsiteY670" fmla="*/ 1376 h 225957"/>
                <a:gd name="connsiteX671" fmla="*/ 229437 w 397940"/>
                <a:gd name="connsiteY671" fmla="*/ 1337 h 225957"/>
                <a:gd name="connsiteX672" fmla="*/ 232477 w 397940"/>
                <a:gd name="connsiteY672" fmla="*/ 2211 h 225957"/>
                <a:gd name="connsiteX673" fmla="*/ 236038 w 397940"/>
                <a:gd name="connsiteY673" fmla="*/ 2996 h 225957"/>
                <a:gd name="connsiteX674" fmla="*/ 238100 w 397940"/>
                <a:gd name="connsiteY674" fmla="*/ 2886 h 225957"/>
                <a:gd name="connsiteX675" fmla="*/ 243600 w 397940"/>
                <a:gd name="connsiteY675" fmla="*/ 390 h 2259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</a:cxnLst>
              <a:rect l="l" t="t" r="r" b="b"/>
              <a:pathLst>
                <a:path w="397940" h="225957">
                  <a:moveTo>
                    <a:pt x="207344" y="171473"/>
                  </a:moveTo>
                  <a:lnTo>
                    <a:pt x="209026" y="173412"/>
                  </a:lnTo>
                  <a:lnTo>
                    <a:pt x="210212" y="174260"/>
                  </a:lnTo>
                  <a:lnTo>
                    <a:pt x="218475" y="176160"/>
                  </a:lnTo>
                  <a:lnTo>
                    <a:pt x="221524" y="177522"/>
                  </a:lnTo>
                  <a:lnTo>
                    <a:pt x="218413" y="177159"/>
                  </a:lnTo>
                  <a:lnTo>
                    <a:pt x="211576" y="175879"/>
                  </a:lnTo>
                  <a:lnTo>
                    <a:pt x="208562" y="174670"/>
                  </a:lnTo>
                  <a:lnTo>
                    <a:pt x="207784" y="173318"/>
                  </a:lnTo>
                  <a:close/>
                  <a:moveTo>
                    <a:pt x="246666" y="0"/>
                  </a:moveTo>
                  <a:lnTo>
                    <a:pt x="250309" y="587"/>
                  </a:lnTo>
                  <a:lnTo>
                    <a:pt x="253881" y="622"/>
                  </a:lnTo>
                  <a:lnTo>
                    <a:pt x="256576" y="261"/>
                  </a:lnTo>
                  <a:lnTo>
                    <a:pt x="258424" y="1126"/>
                  </a:lnTo>
                  <a:lnTo>
                    <a:pt x="260707" y="3030"/>
                  </a:lnTo>
                  <a:lnTo>
                    <a:pt x="262769" y="5862"/>
                  </a:lnTo>
                  <a:lnTo>
                    <a:pt x="264930" y="11080"/>
                  </a:lnTo>
                  <a:lnTo>
                    <a:pt x="271227" y="16962"/>
                  </a:lnTo>
                  <a:lnTo>
                    <a:pt x="271335" y="18109"/>
                  </a:lnTo>
                  <a:lnTo>
                    <a:pt x="270817" y="18846"/>
                  </a:lnTo>
                  <a:lnTo>
                    <a:pt x="267718" y="19561"/>
                  </a:lnTo>
                  <a:lnTo>
                    <a:pt x="265107" y="19946"/>
                  </a:lnTo>
                  <a:lnTo>
                    <a:pt x="264982" y="20953"/>
                  </a:lnTo>
                  <a:lnTo>
                    <a:pt x="265675" y="22042"/>
                  </a:lnTo>
                  <a:lnTo>
                    <a:pt x="266872" y="23635"/>
                  </a:lnTo>
                  <a:lnTo>
                    <a:pt x="267057" y="25685"/>
                  </a:lnTo>
                  <a:lnTo>
                    <a:pt x="266997" y="27569"/>
                  </a:lnTo>
                  <a:lnTo>
                    <a:pt x="267513" y="29233"/>
                  </a:lnTo>
                  <a:lnTo>
                    <a:pt x="268511" y="29909"/>
                  </a:lnTo>
                  <a:lnTo>
                    <a:pt x="268636" y="30745"/>
                  </a:lnTo>
                  <a:lnTo>
                    <a:pt x="267481" y="31766"/>
                  </a:lnTo>
                  <a:lnTo>
                    <a:pt x="267159" y="32396"/>
                  </a:lnTo>
                  <a:lnTo>
                    <a:pt x="267608" y="32735"/>
                  </a:lnTo>
                  <a:lnTo>
                    <a:pt x="273287" y="32932"/>
                  </a:lnTo>
                  <a:lnTo>
                    <a:pt x="276068" y="33926"/>
                  </a:lnTo>
                  <a:lnTo>
                    <a:pt x="278180" y="34831"/>
                  </a:lnTo>
                  <a:lnTo>
                    <a:pt x="279243" y="34915"/>
                  </a:lnTo>
                  <a:lnTo>
                    <a:pt x="281635" y="34333"/>
                  </a:lnTo>
                  <a:lnTo>
                    <a:pt x="284326" y="33966"/>
                  </a:lnTo>
                  <a:lnTo>
                    <a:pt x="285958" y="33917"/>
                  </a:lnTo>
                  <a:lnTo>
                    <a:pt x="286589" y="34584"/>
                  </a:lnTo>
                  <a:lnTo>
                    <a:pt x="287092" y="36334"/>
                  </a:lnTo>
                  <a:lnTo>
                    <a:pt x="288038" y="38084"/>
                  </a:lnTo>
                  <a:lnTo>
                    <a:pt x="288921" y="38584"/>
                  </a:lnTo>
                  <a:lnTo>
                    <a:pt x="290493" y="38500"/>
                  </a:lnTo>
                  <a:lnTo>
                    <a:pt x="291439" y="38584"/>
                  </a:lnTo>
                  <a:lnTo>
                    <a:pt x="291944" y="39249"/>
                  </a:lnTo>
                  <a:lnTo>
                    <a:pt x="291376" y="40249"/>
                  </a:lnTo>
                  <a:lnTo>
                    <a:pt x="291502" y="41329"/>
                  </a:lnTo>
                  <a:lnTo>
                    <a:pt x="292195" y="42660"/>
                  </a:lnTo>
                  <a:lnTo>
                    <a:pt x="293015" y="45733"/>
                  </a:lnTo>
                  <a:lnTo>
                    <a:pt x="293771" y="46646"/>
                  </a:lnTo>
                  <a:lnTo>
                    <a:pt x="294274" y="47808"/>
                  </a:lnTo>
                  <a:lnTo>
                    <a:pt x="294274" y="49135"/>
                  </a:lnTo>
                  <a:lnTo>
                    <a:pt x="293644" y="50295"/>
                  </a:lnTo>
                  <a:lnTo>
                    <a:pt x="293203" y="51205"/>
                  </a:lnTo>
                  <a:lnTo>
                    <a:pt x="293644" y="53275"/>
                  </a:lnTo>
                  <a:lnTo>
                    <a:pt x="295343" y="55592"/>
                  </a:lnTo>
                  <a:lnTo>
                    <a:pt x="296604" y="56170"/>
                  </a:lnTo>
                  <a:lnTo>
                    <a:pt x="297613" y="58236"/>
                  </a:lnTo>
                  <a:lnTo>
                    <a:pt x="299439" y="58896"/>
                  </a:lnTo>
                  <a:lnTo>
                    <a:pt x="302147" y="57163"/>
                  </a:lnTo>
                  <a:lnTo>
                    <a:pt x="304227" y="56254"/>
                  </a:lnTo>
                  <a:lnTo>
                    <a:pt x="306827" y="56759"/>
                  </a:lnTo>
                  <a:lnTo>
                    <a:pt x="309228" y="57082"/>
                  </a:lnTo>
                  <a:lnTo>
                    <a:pt x="310843" y="58263"/>
                  </a:lnTo>
                  <a:lnTo>
                    <a:pt x="312035" y="59887"/>
                  </a:lnTo>
                  <a:lnTo>
                    <a:pt x="313422" y="60794"/>
                  </a:lnTo>
                  <a:lnTo>
                    <a:pt x="314810" y="60320"/>
                  </a:lnTo>
                  <a:lnTo>
                    <a:pt x="317706" y="60794"/>
                  </a:lnTo>
                  <a:lnTo>
                    <a:pt x="319029" y="62114"/>
                  </a:lnTo>
                  <a:lnTo>
                    <a:pt x="320351" y="62856"/>
                  </a:lnTo>
                  <a:lnTo>
                    <a:pt x="322052" y="61785"/>
                  </a:lnTo>
                  <a:lnTo>
                    <a:pt x="323439" y="60465"/>
                  </a:lnTo>
                  <a:lnTo>
                    <a:pt x="328511" y="59082"/>
                  </a:lnTo>
                  <a:lnTo>
                    <a:pt x="331668" y="58736"/>
                  </a:lnTo>
                  <a:lnTo>
                    <a:pt x="332549" y="58464"/>
                  </a:lnTo>
                  <a:lnTo>
                    <a:pt x="334402" y="57476"/>
                  </a:lnTo>
                  <a:lnTo>
                    <a:pt x="336354" y="56819"/>
                  </a:lnTo>
                  <a:lnTo>
                    <a:pt x="338116" y="56997"/>
                  </a:lnTo>
                  <a:lnTo>
                    <a:pt x="339852" y="59049"/>
                  </a:lnTo>
                  <a:lnTo>
                    <a:pt x="341643" y="60465"/>
                  </a:lnTo>
                  <a:lnTo>
                    <a:pt x="342146" y="62691"/>
                  </a:lnTo>
                  <a:lnTo>
                    <a:pt x="344337" y="65753"/>
                  </a:lnTo>
                  <a:lnTo>
                    <a:pt x="349779" y="69936"/>
                  </a:lnTo>
                  <a:lnTo>
                    <a:pt x="351915" y="71211"/>
                  </a:lnTo>
                  <a:lnTo>
                    <a:pt x="353366" y="70986"/>
                  </a:lnTo>
                  <a:lnTo>
                    <a:pt x="354124" y="70652"/>
                  </a:lnTo>
                  <a:lnTo>
                    <a:pt x="354476" y="70215"/>
                  </a:lnTo>
                  <a:lnTo>
                    <a:pt x="354804" y="68170"/>
                  </a:lnTo>
                  <a:lnTo>
                    <a:pt x="355493" y="67417"/>
                  </a:lnTo>
                  <a:lnTo>
                    <a:pt x="356596" y="67392"/>
                  </a:lnTo>
                  <a:lnTo>
                    <a:pt x="360855" y="69940"/>
                  </a:lnTo>
                  <a:lnTo>
                    <a:pt x="363083" y="70214"/>
                  </a:lnTo>
                  <a:lnTo>
                    <a:pt x="365201" y="70263"/>
                  </a:lnTo>
                  <a:lnTo>
                    <a:pt x="368052" y="72240"/>
                  </a:lnTo>
                  <a:lnTo>
                    <a:pt x="371185" y="73958"/>
                  </a:lnTo>
                  <a:lnTo>
                    <a:pt x="373603" y="74139"/>
                  </a:lnTo>
                  <a:lnTo>
                    <a:pt x="375532" y="73467"/>
                  </a:lnTo>
                  <a:lnTo>
                    <a:pt x="376856" y="73058"/>
                  </a:lnTo>
                  <a:lnTo>
                    <a:pt x="377674" y="73713"/>
                  </a:lnTo>
                  <a:lnTo>
                    <a:pt x="378430" y="75190"/>
                  </a:lnTo>
                  <a:lnTo>
                    <a:pt x="379689" y="76338"/>
                  </a:lnTo>
                  <a:lnTo>
                    <a:pt x="381138" y="76666"/>
                  </a:lnTo>
                  <a:lnTo>
                    <a:pt x="383223" y="76741"/>
                  </a:lnTo>
                  <a:lnTo>
                    <a:pt x="386845" y="78966"/>
                  </a:lnTo>
                  <a:lnTo>
                    <a:pt x="390250" y="81226"/>
                  </a:lnTo>
                  <a:lnTo>
                    <a:pt x="392379" y="81351"/>
                  </a:lnTo>
                  <a:lnTo>
                    <a:pt x="394185" y="80688"/>
                  </a:lnTo>
                  <a:lnTo>
                    <a:pt x="395780" y="80517"/>
                  </a:lnTo>
                  <a:lnTo>
                    <a:pt x="396886" y="81087"/>
                  </a:lnTo>
                  <a:lnTo>
                    <a:pt x="397201" y="82069"/>
                  </a:lnTo>
                  <a:lnTo>
                    <a:pt x="396381" y="83378"/>
                  </a:lnTo>
                  <a:lnTo>
                    <a:pt x="396381" y="85258"/>
                  </a:lnTo>
                  <a:lnTo>
                    <a:pt x="397892" y="87055"/>
                  </a:lnTo>
                  <a:lnTo>
                    <a:pt x="397940" y="88820"/>
                  </a:lnTo>
                  <a:lnTo>
                    <a:pt x="397508" y="90413"/>
                  </a:lnTo>
                  <a:lnTo>
                    <a:pt x="396651" y="91880"/>
                  </a:lnTo>
                  <a:lnTo>
                    <a:pt x="394580" y="93894"/>
                  </a:lnTo>
                  <a:lnTo>
                    <a:pt x="392664" y="95773"/>
                  </a:lnTo>
                  <a:lnTo>
                    <a:pt x="389784" y="96558"/>
                  </a:lnTo>
                  <a:lnTo>
                    <a:pt x="388171" y="97376"/>
                  </a:lnTo>
                  <a:lnTo>
                    <a:pt x="388594" y="98755"/>
                  </a:lnTo>
                  <a:lnTo>
                    <a:pt x="389648" y="100041"/>
                  </a:lnTo>
                  <a:lnTo>
                    <a:pt x="392090" y="101081"/>
                  </a:lnTo>
                  <a:lnTo>
                    <a:pt x="394863" y="101838"/>
                  </a:lnTo>
                  <a:lnTo>
                    <a:pt x="395182" y="102673"/>
                  </a:lnTo>
                  <a:lnTo>
                    <a:pt x="394759" y="103092"/>
                  </a:lnTo>
                  <a:lnTo>
                    <a:pt x="392982" y="103480"/>
                  </a:lnTo>
                  <a:lnTo>
                    <a:pt x="390522" y="103082"/>
                  </a:lnTo>
                  <a:lnTo>
                    <a:pt x="389704" y="103812"/>
                  </a:lnTo>
                  <a:lnTo>
                    <a:pt x="388570" y="105028"/>
                  </a:lnTo>
                  <a:lnTo>
                    <a:pt x="387815" y="107215"/>
                  </a:lnTo>
                  <a:lnTo>
                    <a:pt x="387246" y="109239"/>
                  </a:lnTo>
                  <a:lnTo>
                    <a:pt x="389916" y="109788"/>
                  </a:lnTo>
                  <a:lnTo>
                    <a:pt x="391468" y="110614"/>
                  </a:lnTo>
                  <a:lnTo>
                    <a:pt x="391952" y="112276"/>
                  </a:lnTo>
                  <a:lnTo>
                    <a:pt x="392507" y="114123"/>
                  </a:lnTo>
                  <a:lnTo>
                    <a:pt x="392667" y="115785"/>
                  </a:lnTo>
                  <a:lnTo>
                    <a:pt x="391783" y="116592"/>
                  </a:lnTo>
                  <a:lnTo>
                    <a:pt x="391730" y="117418"/>
                  </a:lnTo>
                  <a:lnTo>
                    <a:pt x="392146" y="117824"/>
                  </a:lnTo>
                  <a:lnTo>
                    <a:pt x="393293" y="118008"/>
                  </a:lnTo>
                  <a:lnTo>
                    <a:pt x="394172" y="118377"/>
                  </a:lnTo>
                  <a:lnTo>
                    <a:pt x="394241" y="119253"/>
                  </a:lnTo>
                  <a:lnTo>
                    <a:pt x="392561" y="121220"/>
                  </a:lnTo>
                  <a:lnTo>
                    <a:pt x="390989" y="124979"/>
                  </a:lnTo>
                  <a:lnTo>
                    <a:pt x="390144" y="126978"/>
                  </a:lnTo>
                  <a:lnTo>
                    <a:pt x="390209" y="129146"/>
                  </a:lnTo>
                  <a:lnTo>
                    <a:pt x="389263" y="130350"/>
                  </a:lnTo>
                  <a:lnTo>
                    <a:pt x="387551" y="130452"/>
                  </a:lnTo>
                  <a:lnTo>
                    <a:pt x="381636" y="130662"/>
                  </a:lnTo>
                  <a:lnTo>
                    <a:pt x="376495" y="130559"/>
                  </a:lnTo>
                  <a:lnTo>
                    <a:pt x="374269" y="130247"/>
                  </a:lnTo>
                  <a:lnTo>
                    <a:pt x="370785" y="130060"/>
                  </a:lnTo>
                  <a:lnTo>
                    <a:pt x="369060" y="130570"/>
                  </a:lnTo>
                  <a:lnTo>
                    <a:pt x="366776" y="134029"/>
                  </a:lnTo>
                  <a:lnTo>
                    <a:pt x="365044" y="135384"/>
                  </a:lnTo>
                  <a:lnTo>
                    <a:pt x="362176" y="136607"/>
                  </a:lnTo>
                  <a:lnTo>
                    <a:pt x="359034" y="136957"/>
                  </a:lnTo>
                  <a:lnTo>
                    <a:pt x="357233" y="138383"/>
                  </a:lnTo>
                  <a:lnTo>
                    <a:pt x="356601" y="140618"/>
                  </a:lnTo>
                  <a:lnTo>
                    <a:pt x="356551" y="142598"/>
                  </a:lnTo>
                  <a:lnTo>
                    <a:pt x="356257" y="143586"/>
                  </a:lnTo>
                  <a:lnTo>
                    <a:pt x="355575" y="144452"/>
                  </a:lnTo>
                  <a:lnTo>
                    <a:pt x="355331" y="145068"/>
                  </a:lnTo>
                  <a:lnTo>
                    <a:pt x="355477" y="145747"/>
                  </a:lnTo>
                  <a:lnTo>
                    <a:pt x="356208" y="145994"/>
                  </a:lnTo>
                  <a:lnTo>
                    <a:pt x="357086" y="146303"/>
                  </a:lnTo>
                  <a:lnTo>
                    <a:pt x="357086" y="146797"/>
                  </a:lnTo>
                  <a:lnTo>
                    <a:pt x="356745" y="147414"/>
                  </a:lnTo>
                  <a:lnTo>
                    <a:pt x="355769" y="148092"/>
                  </a:lnTo>
                  <a:lnTo>
                    <a:pt x="355331" y="149141"/>
                  </a:lnTo>
                  <a:lnTo>
                    <a:pt x="355430" y="150249"/>
                  </a:lnTo>
                  <a:lnTo>
                    <a:pt x="355618" y="151483"/>
                  </a:lnTo>
                  <a:lnTo>
                    <a:pt x="354821" y="151796"/>
                  </a:lnTo>
                  <a:lnTo>
                    <a:pt x="347091" y="151360"/>
                  </a:lnTo>
                  <a:lnTo>
                    <a:pt x="340781" y="151954"/>
                  </a:lnTo>
                  <a:lnTo>
                    <a:pt x="336281" y="156355"/>
                  </a:lnTo>
                  <a:lnTo>
                    <a:pt x="333599" y="156343"/>
                  </a:lnTo>
                  <a:lnTo>
                    <a:pt x="329818" y="157489"/>
                  </a:lnTo>
                  <a:lnTo>
                    <a:pt x="327263" y="158912"/>
                  </a:lnTo>
                  <a:lnTo>
                    <a:pt x="324229" y="161995"/>
                  </a:lnTo>
                  <a:lnTo>
                    <a:pt x="321882" y="160611"/>
                  </a:lnTo>
                  <a:lnTo>
                    <a:pt x="319010" y="160651"/>
                  </a:lnTo>
                  <a:lnTo>
                    <a:pt x="316207" y="161490"/>
                  </a:lnTo>
                  <a:lnTo>
                    <a:pt x="312834" y="163547"/>
                  </a:lnTo>
                  <a:lnTo>
                    <a:pt x="310958" y="163911"/>
                  </a:lnTo>
                  <a:lnTo>
                    <a:pt x="307205" y="163319"/>
                  </a:lnTo>
                  <a:lnTo>
                    <a:pt x="302832" y="164500"/>
                  </a:lnTo>
                  <a:lnTo>
                    <a:pt x="293391" y="171244"/>
                  </a:lnTo>
                  <a:lnTo>
                    <a:pt x="290217" y="176160"/>
                  </a:lnTo>
                  <a:lnTo>
                    <a:pt x="289061" y="177121"/>
                  </a:lnTo>
                  <a:lnTo>
                    <a:pt x="287468" y="178319"/>
                  </a:lnTo>
                  <a:lnTo>
                    <a:pt x="285764" y="178924"/>
                  </a:lnTo>
                  <a:lnTo>
                    <a:pt x="284864" y="178868"/>
                  </a:lnTo>
                  <a:lnTo>
                    <a:pt x="289357" y="175378"/>
                  </a:lnTo>
                  <a:lnTo>
                    <a:pt x="290737" y="174068"/>
                  </a:lnTo>
                  <a:lnTo>
                    <a:pt x="290975" y="173101"/>
                  </a:lnTo>
                  <a:lnTo>
                    <a:pt x="290998" y="171541"/>
                  </a:lnTo>
                  <a:lnTo>
                    <a:pt x="289636" y="169601"/>
                  </a:lnTo>
                  <a:lnTo>
                    <a:pt x="285958" y="174407"/>
                  </a:lnTo>
                  <a:lnTo>
                    <a:pt x="283868" y="175104"/>
                  </a:lnTo>
                  <a:lnTo>
                    <a:pt x="281216" y="176548"/>
                  </a:lnTo>
                  <a:lnTo>
                    <a:pt x="281087" y="179764"/>
                  </a:lnTo>
                  <a:lnTo>
                    <a:pt x="281387" y="182146"/>
                  </a:lnTo>
                  <a:lnTo>
                    <a:pt x="282477" y="185142"/>
                  </a:lnTo>
                  <a:lnTo>
                    <a:pt x="285047" y="190042"/>
                  </a:lnTo>
                  <a:lnTo>
                    <a:pt x="290295" y="197027"/>
                  </a:lnTo>
                  <a:lnTo>
                    <a:pt x="292810" y="199588"/>
                  </a:lnTo>
                  <a:lnTo>
                    <a:pt x="294659" y="200611"/>
                  </a:lnTo>
                  <a:lnTo>
                    <a:pt x="296881" y="200759"/>
                  </a:lnTo>
                  <a:lnTo>
                    <a:pt x="301147" y="198607"/>
                  </a:lnTo>
                  <a:lnTo>
                    <a:pt x="302972" y="198271"/>
                  </a:lnTo>
                  <a:lnTo>
                    <a:pt x="306939" y="199092"/>
                  </a:lnTo>
                  <a:lnTo>
                    <a:pt x="308360" y="197653"/>
                  </a:lnTo>
                  <a:lnTo>
                    <a:pt x="310424" y="196858"/>
                  </a:lnTo>
                  <a:lnTo>
                    <a:pt x="313074" y="196757"/>
                  </a:lnTo>
                  <a:lnTo>
                    <a:pt x="316097" y="197402"/>
                  </a:lnTo>
                  <a:lnTo>
                    <a:pt x="319368" y="198492"/>
                  </a:lnTo>
                  <a:lnTo>
                    <a:pt x="318025" y="200955"/>
                  </a:lnTo>
                  <a:lnTo>
                    <a:pt x="316622" y="202913"/>
                  </a:lnTo>
                  <a:lnTo>
                    <a:pt x="316127" y="205078"/>
                  </a:lnTo>
                  <a:lnTo>
                    <a:pt x="315352" y="207482"/>
                  </a:lnTo>
                  <a:lnTo>
                    <a:pt x="311737" y="208560"/>
                  </a:lnTo>
                  <a:lnTo>
                    <a:pt x="307865" y="208428"/>
                  </a:lnTo>
                  <a:lnTo>
                    <a:pt x="303782" y="209125"/>
                  </a:lnTo>
                  <a:lnTo>
                    <a:pt x="302311" y="208187"/>
                  </a:lnTo>
                  <a:lnTo>
                    <a:pt x="301335" y="207333"/>
                  </a:lnTo>
                  <a:lnTo>
                    <a:pt x="299524" y="206481"/>
                  </a:lnTo>
                  <a:lnTo>
                    <a:pt x="297135" y="206006"/>
                  </a:lnTo>
                  <a:lnTo>
                    <a:pt x="294991" y="206577"/>
                  </a:lnTo>
                  <a:lnTo>
                    <a:pt x="292454" y="209860"/>
                  </a:lnTo>
                  <a:lnTo>
                    <a:pt x="287965" y="212102"/>
                  </a:lnTo>
                  <a:lnTo>
                    <a:pt x="286481" y="214659"/>
                  </a:lnTo>
                  <a:lnTo>
                    <a:pt x="282061" y="214088"/>
                  </a:lnTo>
                  <a:lnTo>
                    <a:pt x="278282" y="214536"/>
                  </a:lnTo>
                  <a:lnTo>
                    <a:pt x="272821" y="216866"/>
                  </a:lnTo>
                  <a:lnTo>
                    <a:pt x="268660" y="221856"/>
                  </a:lnTo>
                  <a:lnTo>
                    <a:pt x="264075" y="224972"/>
                  </a:lnTo>
                  <a:lnTo>
                    <a:pt x="260439" y="225957"/>
                  </a:lnTo>
                  <a:lnTo>
                    <a:pt x="257027" y="225649"/>
                  </a:lnTo>
                  <a:lnTo>
                    <a:pt x="254820" y="224717"/>
                  </a:lnTo>
                  <a:lnTo>
                    <a:pt x="250283" y="221442"/>
                  </a:lnTo>
                  <a:lnTo>
                    <a:pt x="250549" y="220267"/>
                  </a:lnTo>
                  <a:lnTo>
                    <a:pt x="251182" y="219674"/>
                  </a:lnTo>
                  <a:lnTo>
                    <a:pt x="252039" y="217988"/>
                  </a:lnTo>
                  <a:lnTo>
                    <a:pt x="253855" y="211788"/>
                  </a:lnTo>
                  <a:lnTo>
                    <a:pt x="253611" y="209776"/>
                  </a:lnTo>
                  <a:lnTo>
                    <a:pt x="252594" y="206600"/>
                  </a:lnTo>
                  <a:lnTo>
                    <a:pt x="248996" y="204131"/>
                  </a:lnTo>
                  <a:lnTo>
                    <a:pt x="246100" y="204599"/>
                  </a:lnTo>
                  <a:lnTo>
                    <a:pt x="244451" y="203941"/>
                  </a:lnTo>
                  <a:lnTo>
                    <a:pt x="238519" y="199738"/>
                  </a:lnTo>
                  <a:lnTo>
                    <a:pt x="235291" y="199440"/>
                  </a:lnTo>
                  <a:lnTo>
                    <a:pt x="231723" y="200288"/>
                  </a:lnTo>
                  <a:lnTo>
                    <a:pt x="230408" y="199676"/>
                  </a:lnTo>
                  <a:lnTo>
                    <a:pt x="229439" y="198210"/>
                  </a:lnTo>
                  <a:lnTo>
                    <a:pt x="236515" y="193012"/>
                  </a:lnTo>
                  <a:lnTo>
                    <a:pt x="243464" y="188714"/>
                  </a:lnTo>
                  <a:lnTo>
                    <a:pt x="246511" y="188272"/>
                  </a:lnTo>
                  <a:lnTo>
                    <a:pt x="250627" y="186269"/>
                  </a:lnTo>
                  <a:lnTo>
                    <a:pt x="255019" y="183259"/>
                  </a:lnTo>
                  <a:lnTo>
                    <a:pt x="254397" y="180890"/>
                  </a:lnTo>
                  <a:lnTo>
                    <a:pt x="253455" y="179138"/>
                  </a:lnTo>
                  <a:lnTo>
                    <a:pt x="251348" y="179619"/>
                  </a:lnTo>
                  <a:lnTo>
                    <a:pt x="249823" y="180206"/>
                  </a:lnTo>
                  <a:lnTo>
                    <a:pt x="246144" y="178325"/>
                  </a:lnTo>
                  <a:lnTo>
                    <a:pt x="244790" y="176940"/>
                  </a:lnTo>
                  <a:lnTo>
                    <a:pt x="239031" y="178377"/>
                  </a:lnTo>
                  <a:lnTo>
                    <a:pt x="235826" y="178164"/>
                  </a:lnTo>
                  <a:lnTo>
                    <a:pt x="228748" y="179485"/>
                  </a:lnTo>
                  <a:lnTo>
                    <a:pt x="225500" y="178195"/>
                  </a:lnTo>
                  <a:lnTo>
                    <a:pt x="218996" y="174580"/>
                  </a:lnTo>
                  <a:lnTo>
                    <a:pt x="216551" y="173853"/>
                  </a:lnTo>
                  <a:lnTo>
                    <a:pt x="214474" y="174007"/>
                  </a:lnTo>
                  <a:lnTo>
                    <a:pt x="213340" y="172817"/>
                  </a:lnTo>
                  <a:lnTo>
                    <a:pt x="214731" y="172221"/>
                  </a:lnTo>
                  <a:lnTo>
                    <a:pt x="216346" y="172151"/>
                  </a:lnTo>
                  <a:lnTo>
                    <a:pt x="218022" y="171715"/>
                  </a:lnTo>
                  <a:lnTo>
                    <a:pt x="218495" y="171084"/>
                  </a:lnTo>
                  <a:lnTo>
                    <a:pt x="218394" y="169897"/>
                  </a:lnTo>
                  <a:lnTo>
                    <a:pt x="215016" y="168996"/>
                  </a:lnTo>
                  <a:lnTo>
                    <a:pt x="211874" y="168737"/>
                  </a:lnTo>
                  <a:lnTo>
                    <a:pt x="209883" y="167669"/>
                  </a:lnTo>
                  <a:lnTo>
                    <a:pt x="208363" y="166446"/>
                  </a:lnTo>
                  <a:lnTo>
                    <a:pt x="211926" y="166427"/>
                  </a:lnTo>
                  <a:lnTo>
                    <a:pt x="215506" y="167352"/>
                  </a:lnTo>
                  <a:lnTo>
                    <a:pt x="221112" y="167693"/>
                  </a:lnTo>
                  <a:lnTo>
                    <a:pt x="226195" y="168649"/>
                  </a:lnTo>
                  <a:lnTo>
                    <a:pt x="227469" y="167460"/>
                  </a:lnTo>
                  <a:lnTo>
                    <a:pt x="230423" y="165399"/>
                  </a:lnTo>
                  <a:lnTo>
                    <a:pt x="230987" y="164742"/>
                  </a:lnTo>
                  <a:lnTo>
                    <a:pt x="226035" y="166153"/>
                  </a:lnTo>
                  <a:lnTo>
                    <a:pt x="221019" y="165253"/>
                  </a:lnTo>
                  <a:lnTo>
                    <a:pt x="219186" y="163995"/>
                  </a:lnTo>
                  <a:lnTo>
                    <a:pt x="217637" y="162151"/>
                  </a:lnTo>
                  <a:lnTo>
                    <a:pt x="216987" y="160047"/>
                  </a:lnTo>
                  <a:lnTo>
                    <a:pt x="217411" y="158085"/>
                  </a:lnTo>
                  <a:lnTo>
                    <a:pt x="216869" y="154539"/>
                  </a:lnTo>
                  <a:lnTo>
                    <a:pt x="215215" y="151380"/>
                  </a:lnTo>
                  <a:lnTo>
                    <a:pt x="214628" y="149645"/>
                  </a:lnTo>
                  <a:lnTo>
                    <a:pt x="212880" y="148089"/>
                  </a:lnTo>
                  <a:lnTo>
                    <a:pt x="214599" y="151607"/>
                  </a:lnTo>
                  <a:lnTo>
                    <a:pt x="215241" y="153945"/>
                  </a:lnTo>
                  <a:lnTo>
                    <a:pt x="216275" y="156097"/>
                  </a:lnTo>
                  <a:lnTo>
                    <a:pt x="216031" y="161794"/>
                  </a:lnTo>
                  <a:lnTo>
                    <a:pt x="215394" y="163793"/>
                  </a:lnTo>
                  <a:lnTo>
                    <a:pt x="213332" y="164297"/>
                  </a:lnTo>
                  <a:lnTo>
                    <a:pt x="210622" y="163997"/>
                  </a:lnTo>
                  <a:lnTo>
                    <a:pt x="207860" y="163376"/>
                  </a:lnTo>
                  <a:lnTo>
                    <a:pt x="208551" y="160245"/>
                  </a:lnTo>
                  <a:lnTo>
                    <a:pt x="207080" y="161328"/>
                  </a:lnTo>
                  <a:lnTo>
                    <a:pt x="205003" y="164375"/>
                  </a:lnTo>
                  <a:lnTo>
                    <a:pt x="203176" y="164829"/>
                  </a:lnTo>
                  <a:lnTo>
                    <a:pt x="199119" y="164496"/>
                  </a:lnTo>
                  <a:lnTo>
                    <a:pt x="191589" y="166510"/>
                  </a:lnTo>
                  <a:lnTo>
                    <a:pt x="191071" y="168702"/>
                  </a:lnTo>
                  <a:lnTo>
                    <a:pt x="189939" y="171665"/>
                  </a:lnTo>
                  <a:lnTo>
                    <a:pt x="188847" y="173389"/>
                  </a:lnTo>
                  <a:lnTo>
                    <a:pt x="188503" y="174428"/>
                  </a:lnTo>
                  <a:lnTo>
                    <a:pt x="185292" y="178886"/>
                  </a:lnTo>
                  <a:lnTo>
                    <a:pt x="184882" y="179307"/>
                  </a:lnTo>
                  <a:lnTo>
                    <a:pt x="178825" y="185475"/>
                  </a:lnTo>
                  <a:lnTo>
                    <a:pt x="178054" y="185938"/>
                  </a:lnTo>
                  <a:lnTo>
                    <a:pt x="174128" y="187371"/>
                  </a:lnTo>
                  <a:lnTo>
                    <a:pt x="171807" y="188626"/>
                  </a:lnTo>
                  <a:lnTo>
                    <a:pt x="170028" y="189186"/>
                  </a:lnTo>
                  <a:lnTo>
                    <a:pt x="167017" y="188563"/>
                  </a:lnTo>
                  <a:lnTo>
                    <a:pt x="165765" y="189451"/>
                  </a:lnTo>
                  <a:lnTo>
                    <a:pt x="165173" y="190550"/>
                  </a:lnTo>
                  <a:lnTo>
                    <a:pt x="165162" y="192821"/>
                  </a:lnTo>
                  <a:lnTo>
                    <a:pt x="166691" y="194452"/>
                  </a:lnTo>
                  <a:lnTo>
                    <a:pt x="167944" y="199870"/>
                  </a:lnTo>
                  <a:lnTo>
                    <a:pt x="167477" y="202156"/>
                  </a:lnTo>
                  <a:lnTo>
                    <a:pt x="166285" y="200676"/>
                  </a:lnTo>
                  <a:lnTo>
                    <a:pt x="164422" y="199116"/>
                  </a:lnTo>
                  <a:lnTo>
                    <a:pt x="160796" y="197775"/>
                  </a:lnTo>
                  <a:lnTo>
                    <a:pt x="156812" y="198234"/>
                  </a:lnTo>
                  <a:lnTo>
                    <a:pt x="152476" y="200494"/>
                  </a:lnTo>
                  <a:lnTo>
                    <a:pt x="149533" y="201334"/>
                  </a:lnTo>
                  <a:lnTo>
                    <a:pt x="147984" y="200754"/>
                  </a:lnTo>
                  <a:lnTo>
                    <a:pt x="147043" y="200787"/>
                  </a:lnTo>
                  <a:lnTo>
                    <a:pt x="146708" y="201435"/>
                  </a:lnTo>
                  <a:lnTo>
                    <a:pt x="146780" y="201965"/>
                  </a:lnTo>
                  <a:lnTo>
                    <a:pt x="147257" y="202376"/>
                  </a:lnTo>
                  <a:lnTo>
                    <a:pt x="147187" y="202676"/>
                  </a:lnTo>
                  <a:lnTo>
                    <a:pt x="146579" y="202863"/>
                  </a:lnTo>
                  <a:lnTo>
                    <a:pt x="139736" y="201272"/>
                  </a:lnTo>
                  <a:lnTo>
                    <a:pt x="136782" y="199766"/>
                  </a:lnTo>
                  <a:lnTo>
                    <a:pt x="134456" y="196930"/>
                  </a:lnTo>
                  <a:lnTo>
                    <a:pt x="135613" y="196012"/>
                  </a:lnTo>
                  <a:lnTo>
                    <a:pt x="136620" y="195608"/>
                  </a:lnTo>
                  <a:lnTo>
                    <a:pt x="140181" y="195372"/>
                  </a:lnTo>
                  <a:lnTo>
                    <a:pt x="140792" y="195082"/>
                  </a:lnTo>
                  <a:lnTo>
                    <a:pt x="140852" y="194427"/>
                  </a:lnTo>
                  <a:lnTo>
                    <a:pt x="141118" y="193579"/>
                  </a:lnTo>
                  <a:lnTo>
                    <a:pt x="141023" y="192330"/>
                  </a:lnTo>
                  <a:lnTo>
                    <a:pt x="140627" y="191011"/>
                  </a:lnTo>
                  <a:lnTo>
                    <a:pt x="142191" y="189084"/>
                  </a:lnTo>
                  <a:lnTo>
                    <a:pt x="144519" y="187484"/>
                  </a:lnTo>
                  <a:lnTo>
                    <a:pt x="145883" y="185881"/>
                  </a:lnTo>
                  <a:lnTo>
                    <a:pt x="146093" y="183532"/>
                  </a:lnTo>
                  <a:lnTo>
                    <a:pt x="148542" y="182387"/>
                  </a:lnTo>
                  <a:lnTo>
                    <a:pt x="150714" y="180418"/>
                  </a:lnTo>
                  <a:lnTo>
                    <a:pt x="151247" y="178270"/>
                  </a:lnTo>
                  <a:lnTo>
                    <a:pt x="152007" y="176920"/>
                  </a:lnTo>
                  <a:lnTo>
                    <a:pt x="150625" y="173821"/>
                  </a:lnTo>
                  <a:lnTo>
                    <a:pt x="150334" y="171775"/>
                  </a:lnTo>
                  <a:lnTo>
                    <a:pt x="150265" y="170059"/>
                  </a:lnTo>
                  <a:lnTo>
                    <a:pt x="150949" y="169105"/>
                  </a:lnTo>
                  <a:lnTo>
                    <a:pt x="152973" y="168036"/>
                  </a:lnTo>
                  <a:lnTo>
                    <a:pt x="155104" y="167207"/>
                  </a:lnTo>
                  <a:lnTo>
                    <a:pt x="155987" y="167288"/>
                  </a:lnTo>
                  <a:lnTo>
                    <a:pt x="156309" y="167816"/>
                  </a:lnTo>
                  <a:lnTo>
                    <a:pt x="156393" y="171301"/>
                  </a:lnTo>
                  <a:lnTo>
                    <a:pt x="156819" y="171367"/>
                  </a:lnTo>
                  <a:lnTo>
                    <a:pt x="157499" y="170933"/>
                  </a:lnTo>
                  <a:lnTo>
                    <a:pt x="158611" y="168881"/>
                  </a:lnTo>
                  <a:lnTo>
                    <a:pt x="159377" y="169478"/>
                  </a:lnTo>
                  <a:lnTo>
                    <a:pt x="160556" y="169705"/>
                  </a:lnTo>
                  <a:lnTo>
                    <a:pt x="161440" y="169176"/>
                  </a:lnTo>
                  <a:lnTo>
                    <a:pt x="162014" y="169237"/>
                  </a:lnTo>
                  <a:lnTo>
                    <a:pt x="162726" y="169767"/>
                  </a:lnTo>
                  <a:lnTo>
                    <a:pt x="164143" y="170513"/>
                  </a:lnTo>
                  <a:lnTo>
                    <a:pt x="165467" y="170761"/>
                  </a:lnTo>
                  <a:lnTo>
                    <a:pt x="166564" y="170264"/>
                  </a:lnTo>
                  <a:lnTo>
                    <a:pt x="167499" y="169377"/>
                  </a:lnTo>
                  <a:lnTo>
                    <a:pt x="168497" y="169680"/>
                  </a:lnTo>
                  <a:lnTo>
                    <a:pt x="170397" y="172100"/>
                  </a:lnTo>
                  <a:lnTo>
                    <a:pt x="171284" y="171832"/>
                  </a:lnTo>
                  <a:lnTo>
                    <a:pt x="175655" y="171343"/>
                  </a:lnTo>
                  <a:lnTo>
                    <a:pt x="176359" y="170685"/>
                  </a:lnTo>
                  <a:lnTo>
                    <a:pt x="176879" y="170088"/>
                  </a:lnTo>
                  <a:lnTo>
                    <a:pt x="172308" y="166875"/>
                  </a:lnTo>
                  <a:lnTo>
                    <a:pt x="172539" y="164481"/>
                  </a:lnTo>
                  <a:lnTo>
                    <a:pt x="172710" y="161734"/>
                  </a:lnTo>
                  <a:lnTo>
                    <a:pt x="172170" y="160102"/>
                  </a:lnTo>
                  <a:lnTo>
                    <a:pt x="171280" y="158807"/>
                  </a:lnTo>
                  <a:lnTo>
                    <a:pt x="167784" y="157302"/>
                  </a:lnTo>
                  <a:lnTo>
                    <a:pt x="165087" y="155743"/>
                  </a:lnTo>
                  <a:lnTo>
                    <a:pt x="164517" y="155040"/>
                  </a:lnTo>
                  <a:lnTo>
                    <a:pt x="164443" y="154128"/>
                  </a:lnTo>
                  <a:lnTo>
                    <a:pt x="164329" y="152710"/>
                  </a:lnTo>
                  <a:lnTo>
                    <a:pt x="163258" y="151492"/>
                  </a:lnTo>
                  <a:lnTo>
                    <a:pt x="163167" y="150461"/>
                  </a:lnTo>
                  <a:lnTo>
                    <a:pt x="163850" y="148853"/>
                  </a:lnTo>
                  <a:lnTo>
                    <a:pt x="164016" y="147139"/>
                  </a:lnTo>
                  <a:lnTo>
                    <a:pt x="163791" y="146462"/>
                  </a:lnTo>
                  <a:lnTo>
                    <a:pt x="163161" y="145910"/>
                  </a:lnTo>
                  <a:lnTo>
                    <a:pt x="161945" y="145856"/>
                  </a:lnTo>
                  <a:lnTo>
                    <a:pt x="160347" y="144865"/>
                  </a:lnTo>
                  <a:lnTo>
                    <a:pt x="159250" y="143529"/>
                  </a:lnTo>
                  <a:lnTo>
                    <a:pt x="156305" y="141602"/>
                  </a:lnTo>
                  <a:lnTo>
                    <a:pt x="155402" y="141288"/>
                  </a:lnTo>
                  <a:lnTo>
                    <a:pt x="154851" y="140333"/>
                  </a:lnTo>
                  <a:lnTo>
                    <a:pt x="154588" y="139192"/>
                  </a:lnTo>
                  <a:lnTo>
                    <a:pt x="155206" y="137774"/>
                  </a:lnTo>
                  <a:lnTo>
                    <a:pt x="155983" y="135590"/>
                  </a:lnTo>
                  <a:lnTo>
                    <a:pt x="156529" y="133539"/>
                  </a:lnTo>
                  <a:lnTo>
                    <a:pt x="156538" y="132316"/>
                  </a:lnTo>
                  <a:lnTo>
                    <a:pt x="156177" y="129290"/>
                  </a:lnTo>
                  <a:lnTo>
                    <a:pt x="154642" y="126975"/>
                  </a:lnTo>
                  <a:lnTo>
                    <a:pt x="153925" y="126668"/>
                  </a:lnTo>
                  <a:lnTo>
                    <a:pt x="152686" y="127320"/>
                  </a:lnTo>
                  <a:lnTo>
                    <a:pt x="151279" y="127865"/>
                  </a:lnTo>
                  <a:lnTo>
                    <a:pt x="150170" y="127354"/>
                  </a:lnTo>
                  <a:lnTo>
                    <a:pt x="148902" y="126098"/>
                  </a:lnTo>
                  <a:lnTo>
                    <a:pt x="146868" y="122599"/>
                  </a:lnTo>
                  <a:lnTo>
                    <a:pt x="143061" y="121898"/>
                  </a:lnTo>
                  <a:lnTo>
                    <a:pt x="141487" y="121731"/>
                  </a:lnTo>
                  <a:lnTo>
                    <a:pt x="139997" y="123420"/>
                  </a:lnTo>
                  <a:lnTo>
                    <a:pt x="139531" y="122907"/>
                  </a:lnTo>
                  <a:lnTo>
                    <a:pt x="139112" y="121828"/>
                  </a:lnTo>
                  <a:lnTo>
                    <a:pt x="138326" y="121397"/>
                  </a:lnTo>
                  <a:lnTo>
                    <a:pt x="137287" y="121897"/>
                  </a:lnTo>
                  <a:lnTo>
                    <a:pt x="136987" y="121416"/>
                  </a:lnTo>
                  <a:lnTo>
                    <a:pt x="137434" y="119957"/>
                  </a:lnTo>
                  <a:lnTo>
                    <a:pt x="136192" y="119235"/>
                  </a:lnTo>
                  <a:lnTo>
                    <a:pt x="133268" y="119251"/>
                  </a:lnTo>
                  <a:lnTo>
                    <a:pt x="131714" y="118713"/>
                  </a:lnTo>
                  <a:lnTo>
                    <a:pt x="131528" y="117615"/>
                  </a:lnTo>
                  <a:lnTo>
                    <a:pt x="130608" y="116894"/>
                  </a:lnTo>
                  <a:lnTo>
                    <a:pt x="128947" y="116547"/>
                  </a:lnTo>
                  <a:lnTo>
                    <a:pt x="127339" y="115649"/>
                  </a:lnTo>
                  <a:lnTo>
                    <a:pt x="125778" y="114203"/>
                  </a:lnTo>
                  <a:lnTo>
                    <a:pt x="123443" y="113260"/>
                  </a:lnTo>
                  <a:lnTo>
                    <a:pt x="120331" y="112824"/>
                  </a:lnTo>
                  <a:lnTo>
                    <a:pt x="120077" y="112668"/>
                  </a:lnTo>
                  <a:lnTo>
                    <a:pt x="119790" y="112460"/>
                  </a:lnTo>
                  <a:lnTo>
                    <a:pt x="117781" y="113443"/>
                  </a:lnTo>
                  <a:lnTo>
                    <a:pt x="116574" y="114221"/>
                  </a:lnTo>
                  <a:lnTo>
                    <a:pt x="115095" y="113737"/>
                  </a:lnTo>
                  <a:lnTo>
                    <a:pt x="112698" y="115473"/>
                  </a:lnTo>
                  <a:lnTo>
                    <a:pt x="107833" y="115563"/>
                  </a:lnTo>
                  <a:lnTo>
                    <a:pt x="105447" y="115459"/>
                  </a:lnTo>
                  <a:lnTo>
                    <a:pt x="104263" y="115028"/>
                  </a:lnTo>
                  <a:lnTo>
                    <a:pt x="99694" y="117662"/>
                  </a:lnTo>
                  <a:lnTo>
                    <a:pt x="99219" y="118632"/>
                  </a:lnTo>
                  <a:lnTo>
                    <a:pt x="98191" y="118955"/>
                  </a:lnTo>
                  <a:lnTo>
                    <a:pt x="95315" y="119478"/>
                  </a:lnTo>
                  <a:lnTo>
                    <a:pt x="92292" y="120220"/>
                  </a:lnTo>
                  <a:lnTo>
                    <a:pt x="91657" y="122778"/>
                  </a:lnTo>
                  <a:lnTo>
                    <a:pt x="90756" y="124159"/>
                  </a:lnTo>
                  <a:lnTo>
                    <a:pt x="89131" y="126186"/>
                  </a:lnTo>
                  <a:lnTo>
                    <a:pt x="83514" y="126890"/>
                  </a:lnTo>
                  <a:lnTo>
                    <a:pt x="78662" y="127880"/>
                  </a:lnTo>
                  <a:lnTo>
                    <a:pt x="73687" y="128491"/>
                  </a:lnTo>
                  <a:lnTo>
                    <a:pt x="67171" y="130962"/>
                  </a:lnTo>
                  <a:lnTo>
                    <a:pt x="65053" y="133140"/>
                  </a:lnTo>
                  <a:lnTo>
                    <a:pt x="62959" y="133747"/>
                  </a:lnTo>
                  <a:lnTo>
                    <a:pt x="61063" y="133926"/>
                  </a:lnTo>
                  <a:lnTo>
                    <a:pt x="59836" y="132714"/>
                  </a:lnTo>
                  <a:lnTo>
                    <a:pt x="55703" y="129457"/>
                  </a:lnTo>
                  <a:lnTo>
                    <a:pt x="54109" y="127920"/>
                  </a:lnTo>
                  <a:lnTo>
                    <a:pt x="52013" y="127467"/>
                  </a:lnTo>
                  <a:lnTo>
                    <a:pt x="49733" y="127723"/>
                  </a:lnTo>
                  <a:lnTo>
                    <a:pt x="47543" y="128480"/>
                  </a:lnTo>
                  <a:lnTo>
                    <a:pt x="45239" y="128625"/>
                  </a:lnTo>
                  <a:lnTo>
                    <a:pt x="42630" y="127533"/>
                  </a:lnTo>
                  <a:lnTo>
                    <a:pt x="42356" y="127639"/>
                  </a:lnTo>
                  <a:lnTo>
                    <a:pt x="41350" y="127786"/>
                  </a:lnTo>
                  <a:lnTo>
                    <a:pt x="34874" y="126466"/>
                  </a:lnTo>
                  <a:lnTo>
                    <a:pt x="34278" y="126247"/>
                  </a:lnTo>
                  <a:lnTo>
                    <a:pt x="33991" y="126192"/>
                  </a:lnTo>
                  <a:lnTo>
                    <a:pt x="33099" y="126093"/>
                  </a:lnTo>
                  <a:lnTo>
                    <a:pt x="28223" y="126258"/>
                  </a:lnTo>
                  <a:lnTo>
                    <a:pt x="23677" y="123589"/>
                  </a:lnTo>
                  <a:lnTo>
                    <a:pt x="22280" y="123508"/>
                  </a:lnTo>
                  <a:lnTo>
                    <a:pt x="21205" y="124589"/>
                  </a:lnTo>
                  <a:lnTo>
                    <a:pt x="20408" y="125791"/>
                  </a:lnTo>
                  <a:lnTo>
                    <a:pt x="17270" y="126984"/>
                  </a:lnTo>
                  <a:lnTo>
                    <a:pt x="16469" y="127463"/>
                  </a:lnTo>
                  <a:lnTo>
                    <a:pt x="16014" y="127095"/>
                  </a:lnTo>
                  <a:lnTo>
                    <a:pt x="15802" y="126058"/>
                  </a:lnTo>
                  <a:lnTo>
                    <a:pt x="16040" y="125141"/>
                  </a:lnTo>
                  <a:lnTo>
                    <a:pt x="15575" y="124273"/>
                  </a:lnTo>
                  <a:lnTo>
                    <a:pt x="14381" y="123287"/>
                  </a:lnTo>
                  <a:lnTo>
                    <a:pt x="14092" y="122880"/>
                  </a:lnTo>
                  <a:lnTo>
                    <a:pt x="12598" y="122954"/>
                  </a:lnTo>
                  <a:lnTo>
                    <a:pt x="12190" y="123050"/>
                  </a:lnTo>
                  <a:lnTo>
                    <a:pt x="12040" y="123028"/>
                  </a:lnTo>
                  <a:lnTo>
                    <a:pt x="9963" y="122191"/>
                  </a:lnTo>
                  <a:lnTo>
                    <a:pt x="8585" y="120174"/>
                  </a:lnTo>
                  <a:lnTo>
                    <a:pt x="6456" y="119101"/>
                  </a:lnTo>
                  <a:lnTo>
                    <a:pt x="4828" y="118740"/>
                  </a:lnTo>
                  <a:lnTo>
                    <a:pt x="4087" y="117875"/>
                  </a:lnTo>
                  <a:lnTo>
                    <a:pt x="3610" y="116724"/>
                  </a:lnTo>
                  <a:lnTo>
                    <a:pt x="3102" y="115854"/>
                  </a:lnTo>
                  <a:lnTo>
                    <a:pt x="3042" y="115772"/>
                  </a:lnTo>
                  <a:lnTo>
                    <a:pt x="2695" y="114455"/>
                  </a:lnTo>
                  <a:lnTo>
                    <a:pt x="2196" y="114319"/>
                  </a:lnTo>
                  <a:lnTo>
                    <a:pt x="2107" y="114284"/>
                  </a:lnTo>
                  <a:lnTo>
                    <a:pt x="0" y="114513"/>
                  </a:lnTo>
                  <a:lnTo>
                    <a:pt x="244" y="109884"/>
                  </a:lnTo>
                  <a:lnTo>
                    <a:pt x="3612" y="106550"/>
                  </a:lnTo>
                  <a:lnTo>
                    <a:pt x="4439" y="104866"/>
                  </a:lnTo>
                  <a:lnTo>
                    <a:pt x="5696" y="101209"/>
                  </a:lnTo>
                  <a:lnTo>
                    <a:pt x="6638" y="99497"/>
                  </a:lnTo>
                  <a:lnTo>
                    <a:pt x="7769" y="98079"/>
                  </a:lnTo>
                  <a:lnTo>
                    <a:pt x="8674" y="96706"/>
                  </a:lnTo>
                  <a:lnTo>
                    <a:pt x="8996" y="95526"/>
                  </a:lnTo>
                  <a:lnTo>
                    <a:pt x="9909" y="95398"/>
                  </a:lnTo>
                  <a:lnTo>
                    <a:pt x="12591" y="96462"/>
                  </a:lnTo>
                  <a:lnTo>
                    <a:pt x="14990" y="97009"/>
                  </a:lnTo>
                  <a:lnTo>
                    <a:pt x="15653" y="96491"/>
                  </a:lnTo>
                  <a:lnTo>
                    <a:pt x="15925" y="95811"/>
                  </a:lnTo>
                  <a:lnTo>
                    <a:pt x="15815" y="95282"/>
                  </a:lnTo>
                  <a:lnTo>
                    <a:pt x="13893" y="93712"/>
                  </a:lnTo>
                  <a:lnTo>
                    <a:pt x="12688" y="92712"/>
                  </a:lnTo>
                  <a:lnTo>
                    <a:pt x="12615" y="92097"/>
                  </a:lnTo>
                  <a:lnTo>
                    <a:pt x="13049" y="90717"/>
                  </a:lnTo>
                  <a:lnTo>
                    <a:pt x="13280" y="89165"/>
                  </a:lnTo>
                  <a:lnTo>
                    <a:pt x="13003" y="87486"/>
                  </a:lnTo>
                  <a:lnTo>
                    <a:pt x="11693" y="83762"/>
                  </a:lnTo>
                  <a:lnTo>
                    <a:pt x="11444" y="82174"/>
                  </a:lnTo>
                  <a:lnTo>
                    <a:pt x="12699" y="80244"/>
                  </a:lnTo>
                  <a:lnTo>
                    <a:pt x="16780" y="75641"/>
                  </a:lnTo>
                  <a:lnTo>
                    <a:pt x="18141" y="73910"/>
                  </a:lnTo>
                  <a:lnTo>
                    <a:pt x="20000" y="71815"/>
                  </a:lnTo>
                  <a:lnTo>
                    <a:pt x="25044" y="66799"/>
                  </a:lnTo>
                  <a:lnTo>
                    <a:pt x="28232" y="63878"/>
                  </a:lnTo>
                  <a:lnTo>
                    <a:pt x="30389" y="62260"/>
                  </a:lnTo>
                  <a:lnTo>
                    <a:pt x="33548" y="59445"/>
                  </a:lnTo>
                  <a:lnTo>
                    <a:pt x="34934" y="57987"/>
                  </a:lnTo>
                  <a:lnTo>
                    <a:pt x="40704" y="57038"/>
                  </a:lnTo>
                  <a:lnTo>
                    <a:pt x="41419" y="55675"/>
                  </a:lnTo>
                  <a:lnTo>
                    <a:pt x="42473" y="54183"/>
                  </a:lnTo>
                  <a:lnTo>
                    <a:pt x="43297" y="53543"/>
                  </a:lnTo>
                  <a:lnTo>
                    <a:pt x="43403" y="51027"/>
                  </a:lnTo>
                  <a:lnTo>
                    <a:pt x="42332" y="47950"/>
                  </a:lnTo>
                  <a:lnTo>
                    <a:pt x="41471" y="46862"/>
                  </a:lnTo>
                  <a:lnTo>
                    <a:pt x="40832" y="46121"/>
                  </a:lnTo>
                  <a:lnTo>
                    <a:pt x="41244" y="45428"/>
                  </a:lnTo>
                  <a:lnTo>
                    <a:pt x="41883" y="45231"/>
                  </a:lnTo>
                  <a:lnTo>
                    <a:pt x="42671" y="45133"/>
                  </a:lnTo>
                  <a:lnTo>
                    <a:pt x="43647" y="44391"/>
                  </a:lnTo>
                  <a:lnTo>
                    <a:pt x="43427" y="43581"/>
                  </a:lnTo>
                  <a:lnTo>
                    <a:pt x="40994" y="41606"/>
                  </a:lnTo>
                  <a:lnTo>
                    <a:pt x="39940" y="40085"/>
                  </a:lnTo>
                  <a:lnTo>
                    <a:pt x="38290" y="36177"/>
                  </a:lnTo>
                  <a:lnTo>
                    <a:pt x="34945" y="32109"/>
                  </a:lnTo>
                  <a:lnTo>
                    <a:pt x="33889" y="30793"/>
                  </a:lnTo>
                  <a:lnTo>
                    <a:pt x="33738" y="29548"/>
                  </a:lnTo>
                  <a:lnTo>
                    <a:pt x="34226" y="28303"/>
                  </a:lnTo>
                  <a:lnTo>
                    <a:pt x="33766" y="26716"/>
                  </a:lnTo>
                  <a:lnTo>
                    <a:pt x="32581" y="24690"/>
                  </a:lnTo>
                  <a:lnTo>
                    <a:pt x="32768" y="24471"/>
                  </a:lnTo>
                  <a:lnTo>
                    <a:pt x="32654" y="21968"/>
                  </a:lnTo>
                  <a:lnTo>
                    <a:pt x="33496" y="21427"/>
                  </a:lnTo>
                  <a:lnTo>
                    <a:pt x="34826" y="21061"/>
                  </a:lnTo>
                  <a:lnTo>
                    <a:pt x="36703" y="21184"/>
                  </a:lnTo>
                  <a:lnTo>
                    <a:pt x="38307" y="21571"/>
                  </a:lnTo>
                  <a:lnTo>
                    <a:pt x="40229" y="22716"/>
                  </a:lnTo>
                  <a:lnTo>
                    <a:pt x="40829" y="22532"/>
                  </a:lnTo>
                  <a:lnTo>
                    <a:pt x="44114" y="20373"/>
                  </a:lnTo>
                  <a:lnTo>
                    <a:pt x="47502" y="17130"/>
                  </a:lnTo>
                  <a:lnTo>
                    <a:pt x="48467" y="15251"/>
                  </a:lnTo>
                  <a:lnTo>
                    <a:pt x="49311" y="14392"/>
                  </a:lnTo>
                  <a:lnTo>
                    <a:pt x="52259" y="13933"/>
                  </a:lnTo>
                  <a:lnTo>
                    <a:pt x="54826" y="13743"/>
                  </a:lnTo>
                  <a:lnTo>
                    <a:pt x="56459" y="13779"/>
                  </a:lnTo>
                  <a:lnTo>
                    <a:pt x="60467" y="13459"/>
                  </a:lnTo>
                  <a:lnTo>
                    <a:pt x="62842" y="13104"/>
                  </a:lnTo>
                  <a:lnTo>
                    <a:pt x="64896" y="12531"/>
                  </a:lnTo>
                  <a:lnTo>
                    <a:pt x="69329" y="12318"/>
                  </a:lnTo>
                  <a:lnTo>
                    <a:pt x="76252" y="12702"/>
                  </a:lnTo>
                  <a:lnTo>
                    <a:pt x="80795" y="12729"/>
                  </a:lnTo>
                  <a:lnTo>
                    <a:pt x="83881" y="13034"/>
                  </a:lnTo>
                  <a:lnTo>
                    <a:pt x="91439" y="14761"/>
                  </a:lnTo>
                  <a:lnTo>
                    <a:pt x="94252" y="15074"/>
                  </a:lnTo>
                  <a:lnTo>
                    <a:pt x="95559" y="15988"/>
                  </a:lnTo>
                  <a:lnTo>
                    <a:pt x="98068" y="16328"/>
                  </a:lnTo>
                  <a:lnTo>
                    <a:pt x="102635" y="17248"/>
                  </a:lnTo>
                  <a:lnTo>
                    <a:pt x="106602" y="17741"/>
                  </a:lnTo>
                  <a:lnTo>
                    <a:pt x="109284" y="17539"/>
                  </a:lnTo>
                  <a:lnTo>
                    <a:pt x="110785" y="17798"/>
                  </a:lnTo>
                  <a:lnTo>
                    <a:pt x="113618" y="21877"/>
                  </a:lnTo>
                  <a:lnTo>
                    <a:pt x="114196" y="22353"/>
                  </a:lnTo>
                  <a:lnTo>
                    <a:pt x="115332" y="22449"/>
                  </a:lnTo>
                  <a:lnTo>
                    <a:pt x="117647" y="22097"/>
                  </a:lnTo>
                  <a:lnTo>
                    <a:pt x="120943" y="22229"/>
                  </a:lnTo>
                  <a:lnTo>
                    <a:pt x="122897" y="23088"/>
                  </a:lnTo>
                  <a:lnTo>
                    <a:pt x="122610" y="25513"/>
                  </a:lnTo>
                  <a:lnTo>
                    <a:pt x="123123" y="25864"/>
                  </a:lnTo>
                  <a:lnTo>
                    <a:pt x="124037" y="25729"/>
                  </a:lnTo>
                  <a:lnTo>
                    <a:pt x="125088" y="24360"/>
                  </a:lnTo>
                  <a:lnTo>
                    <a:pt x="125972" y="22940"/>
                  </a:lnTo>
                  <a:lnTo>
                    <a:pt x="126630" y="22501"/>
                  </a:lnTo>
                  <a:lnTo>
                    <a:pt x="129995" y="23460"/>
                  </a:lnTo>
                  <a:lnTo>
                    <a:pt x="131532" y="23305"/>
                  </a:lnTo>
                  <a:lnTo>
                    <a:pt x="132951" y="22228"/>
                  </a:lnTo>
                  <a:lnTo>
                    <a:pt x="133821" y="22045"/>
                  </a:lnTo>
                  <a:lnTo>
                    <a:pt x="136205" y="22811"/>
                  </a:lnTo>
                  <a:lnTo>
                    <a:pt x="139146" y="23347"/>
                  </a:lnTo>
                  <a:lnTo>
                    <a:pt x="141522" y="23381"/>
                  </a:lnTo>
                  <a:lnTo>
                    <a:pt x="143003" y="23964"/>
                  </a:lnTo>
                  <a:lnTo>
                    <a:pt x="144080" y="26494"/>
                  </a:lnTo>
                  <a:lnTo>
                    <a:pt x="145020" y="27013"/>
                  </a:lnTo>
                  <a:lnTo>
                    <a:pt x="145927" y="27174"/>
                  </a:lnTo>
                  <a:lnTo>
                    <a:pt x="147298" y="24913"/>
                  </a:lnTo>
                  <a:lnTo>
                    <a:pt x="148542" y="24036"/>
                  </a:lnTo>
                  <a:lnTo>
                    <a:pt x="150267" y="23390"/>
                  </a:lnTo>
                  <a:lnTo>
                    <a:pt x="151377" y="23107"/>
                  </a:lnTo>
                  <a:lnTo>
                    <a:pt x="152158" y="22308"/>
                  </a:lnTo>
                  <a:lnTo>
                    <a:pt x="153212" y="21528"/>
                  </a:lnTo>
                  <a:lnTo>
                    <a:pt x="154126" y="21466"/>
                  </a:lnTo>
                  <a:lnTo>
                    <a:pt x="154868" y="21768"/>
                  </a:lnTo>
                  <a:lnTo>
                    <a:pt x="155721" y="22847"/>
                  </a:lnTo>
                  <a:lnTo>
                    <a:pt x="156965" y="25305"/>
                  </a:lnTo>
                  <a:lnTo>
                    <a:pt x="158477" y="27771"/>
                  </a:lnTo>
                  <a:lnTo>
                    <a:pt x="159531" y="28666"/>
                  </a:lnTo>
                  <a:lnTo>
                    <a:pt x="162254" y="27909"/>
                  </a:lnTo>
                  <a:lnTo>
                    <a:pt x="164100" y="27139"/>
                  </a:lnTo>
                  <a:lnTo>
                    <a:pt x="167482" y="26993"/>
                  </a:lnTo>
                  <a:lnTo>
                    <a:pt x="171964" y="26451"/>
                  </a:lnTo>
                  <a:lnTo>
                    <a:pt x="175392" y="25745"/>
                  </a:lnTo>
                  <a:lnTo>
                    <a:pt x="177536" y="25867"/>
                  </a:lnTo>
                  <a:lnTo>
                    <a:pt x="178836" y="26650"/>
                  </a:lnTo>
                  <a:lnTo>
                    <a:pt x="180814" y="28166"/>
                  </a:lnTo>
                  <a:lnTo>
                    <a:pt x="181354" y="30339"/>
                  </a:lnTo>
                  <a:lnTo>
                    <a:pt x="183921" y="31841"/>
                  </a:lnTo>
                  <a:lnTo>
                    <a:pt x="186022" y="32112"/>
                  </a:lnTo>
                  <a:lnTo>
                    <a:pt x="186739" y="30549"/>
                  </a:lnTo>
                  <a:lnTo>
                    <a:pt x="187968" y="29462"/>
                  </a:lnTo>
                  <a:lnTo>
                    <a:pt x="187508" y="27968"/>
                  </a:lnTo>
                  <a:lnTo>
                    <a:pt x="187301" y="26062"/>
                  </a:lnTo>
                  <a:lnTo>
                    <a:pt x="186380" y="24291"/>
                  </a:lnTo>
                  <a:lnTo>
                    <a:pt x="185767" y="22384"/>
                  </a:lnTo>
                  <a:lnTo>
                    <a:pt x="186892" y="19657"/>
                  </a:lnTo>
                  <a:lnTo>
                    <a:pt x="188121" y="17267"/>
                  </a:lnTo>
                  <a:lnTo>
                    <a:pt x="188736" y="15968"/>
                  </a:lnTo>
                  <a:lnTo>
                    <a:pt x="190682" y="13576"/>
                  </a:lnTo>
                  <a:lnTo>
                    <a:pt x="192682" y="11865"/>
                  </a:lnTo>
                  <a:lnTo>
                    <a:pt x="195666" y="9111"/>
                  </a:lnTo>
                  <a:lnTo>
                    <a:pt x="197847" y="8201"/>
                  </a:lnTo>
                  <a:lnTo>
                    <a:pt x="199818" y="8616"/>
                  </a:lnTo>
                  <a:lnTo>
                    <a:pt x="200913" y="8992"/>
                  </a:lnTo>
                  <a:lnTo>
                    <a:pt x="203744" y="7360"/>
                  </a:lnTo>
                  <a:lnTo>
                    <a:pt x="208780" y="7279"/>
                  </a:lnTo>
                  <a:lnTo>
                    <a:pt x="212973" y="7487"/>
                  </a:lnTo>
                  <a:lnTo>
                    <a:pt x="213394" y="7536"/>
                  </a:lnTo>
                  <a:lnTo>
                    <a:pt x="215455" y="8380"/>
                  </a:lnTo>
                  <a:lnTo>
                    <a:pt x="217627" y="9098"/>
                  </a:lnTo>
                  <a:lnTo>
                    <a:pt x="219125" y="9146"/>
                  </a:lnTo>
                  <a:lnTo>
                    <a:pt x="220909" y="8981"/>
                  </a:lnTo>
                  <a:lnTo>
                    <a:pt x="223000" y="8024"/>
                  </a:lnTo>
                  <a:lnTo>
                    <a:pt x="224459" y="7104"/>
                  </a:lnTo>
                  <a:lnTo>
                    <a:pt x="226232" y="2418"/>
                  </a:lnTo>
                  <a:lnTo>
                    <a:pt x="226858" y="1744"/>
                  </a:lnTo>
                  <a:lnTo>
                    <a:pt x="227834" y="1376"/>
                  </a:lnTo>
                  <a:lnTo>
                    <a:pt x="229437" y="1337"/>
                  </a:lnTo>
                  <a:lnTo>
                    <a:pt x="232477" y="2211"/>
                  </a:lnTo>
                  <a:lnTo>
                    <a:pt x="236038" y="2996"/>
                  </a:lnTo>
                  <a:lnTo>
                    <a:pt x="238100" y="2886"/>
                  </a:lnTo>
                  <a:lnTo>
                    <a:pt x="243600" y="390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61" name="ee4p_VA_1_37365">
              <a:extLst>
                <a:ext uri="{FF2B5EF4-FFF2-40B4-BE49-F238E27FC236}">
                  <a16:creationId xmlns:a16="http://schemas.microsoft.com/office/drawing/2014/main" id="{7B28D689-8000-7E5F-C898-D940020EB672}"/>
                </a:ext>
              </a:extLst>
            </p:cNvPr>
            <p:cNvSpPr>
              <a:spLocks noChangeAspect="1"/>
            </p:cNvSpPr>
            <p:nvPr>
              <p:custDataLst>
                <p:tags r:id="rId315"/>
              </p:custDataLst>
            </p:nvPr>
          </p:nvSpPr>
          <p:spPr>
            <a:xfrm>
              <a:off x="6859805" y="3405688"/>
              <a:ext cx="324" cy="298"/>
            </a:xfrm>
            <a:custGeom>
              <a:avLst/>
              <a:gdLst/>
              <a:ahLst/>
              <a:cxnLst/>
              <a:rect l="0" t="0" r="0" b="0"/>
              <a:pathLst>
                <a:path w="258" h="231">
                  <a:moveTo>
                    <a:pt x="257" y="208"/>
                  </a:moveTo>
                  <a:lnTo>
                    <a:pt x="67" y="230"/>
                  </a:lnTo>
                  <a:lnTo>
                    <a:pt x="0" y="145"/>
                  </a:lnTo>
                  <a:lnTo>
                    <a:pt x="67" y="20"/>
                  </a:lnTo>
                  <a:lnTo>
                    <a:pt x="240" y="0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62" name="ee4p_AO_1_37365">
              <a:extLst>
                <a:ext uri="{FF2B5EF4-FFF2-40B4-BE49-F238E27FC236}">
                  <a16:creationId xmlns:a16="http://schemas.microsoft.com/office/drawing/2014/main" id="{B5F880D1-72DF-AAC2-7203-900858ED150A}"/>
                </a:ext>
              </a:extLst>
            </p:cNvPr>
            <p:cNvSpPr>
              <a:spLocks noChangeAspect="1"/>
            </p:cNvSpPr>
            <p:nvPr>
              <p:custDataLst>
                <p:tags r:id="rId316"/>
              </p:custDataLst>
            </p:nvPr>
          </p:nvSpPr>
          <p:spPr>
            <a:xfrm>
              <a:off x="6840798" y="4804106"/>
              <a:ext cx="341663" cy="393115"/>
            </a:xfrm>
            <a:custGeom>
              <a:avLst/>
              <a:gdLst>
                <a:gd name="connsiteX0" fmla="*/ 119729 w 728723"/>
                <a:gd name="connsiteY0" fmla="*/ 84696 h 816237"/>
                <a:gd name="connsiteX1" fmla="*/ 132401 w 728723"/>
                <a:gd name="connsiteY1" fmla="*/ 84817 h 816237"/>
                <a:gd name="connsiteX2" fmla="*/ 140412 w 728723"/>
                <a:gd name="connsiteY2" fmla="*/ 85288 h 816237"/>
                <a:gd name="connsiteX3" fmla="*/ 144976 w 728723"/>
                <a:gd name="connsiteY3" fmla="*/ 85934 h 816237"/>
                <a:gd name="connsiteX4" fmla="*/ 157284 w 728723"/>
                <a:gd name="connsiteY4" fmla="*/ 86925 h 816237"/>
                <a:gd name="connsiteX5" fmla="*/ 172641 w 728723"/>
                <a:gd name="connsiteY5" fmla="*/ 86700 h 816237"/>
                <a:gd name="connsiteX6" fmla="*/ 178062 w 728723"/>
                <a:gd name="connsiteY6" fmla="*/ 86175 h 816237"/>
                <a:gd name="connsiteX7" fmla="*/ 198194 w 728723"/>
                <a:gd name="connsiteY7" fmla="*/ 85845 h 816237"/>
                <a:gd name="connsiteX8" fmla="*/ 218074 w 728723"/>
                <a:gd name="connsiteY8" fmla="*/ 85511 h 816237"/>
                <a:gd name="connsiteX9" fmla="*/ 235959 w 728723"/>
                <a:gd name="connsiteY9" fmla="*/ 85213 h 816237"/>
                <a:gd name="connsiteX10" fmla="*/ 255694 w 728723"/>
                <a:gd name="connsiteY10" fmla="*/ 85277 h 816237"/>
                <a:gd name="connsiteX11" fmla="*/ 270801 w 728723"/>
                <a:gd name="connsiteY11" fmla="*/ 85318 h 816237"/>
                <a:gd name="connsiteX12" fmla="*/ 277685 w 728723"/>
                <a:gd name="connsiteY12" fmla="*/ 87372 h 816237"/>
                <a:gd name="connsiteX13" fmla="*/ 283942 w 728723"/>
                <a:gd name="connsiteY13" fmla="*/ 91272 h 816237"/>
                <a:gd name="connsiteX14" fmla="*/ 286789 w 728723"/>
                <a:gd name="connsiteY14" fmla="*/ 94808 h 816237"/>
                <a:gd name="connsiteX15" fmla="*/ 288142 w 728723"/>
                <a:gd name="connsiteY15" fmla="*/ 96369 h 816237"/>
                <a:gd name="connsiteX16" fmla="*/ 290009 w 728723"/>
                <a:gd name="connsiteY16" fmla="*/ 100114 h 816237"/>
                <a:gd name="connsiteX17" fmla="*/ 293430 w 728723"/>
                <a:gd name="connsiteY17" fmla="*/ 103068 h 816237"/>
                <a:gd name="connsiteX18" fmla="*/ 294643 w 728723"/>
                <a:gd name="connsiteY18" fmla="*/ 107654 h 816237"/>
                <a:gd name="connsiteX19" fmla="*/ 293649 w 728723"/>
                <a:gd name="connsiteY19" fmla="*/ 113871 h 816237"/>
                <a:gd name="connsiteX20" fmla="*/ 294147 w 728723"/>
                <a:gd name="connsiteY20" fmla="*/ 121347 h 816237"/>
                <a:gd name="connsiteX21" fmla="*/ 296138 w 728723"/>
                <a:gd name="connsiteY21" fmla="*/ 130076 h 816237"/>
                <a:gd name="connsiteX22" fmla="*/ 300289 w 728723"/>
                <a:gd name="connsiteY22" fmla="*/ 139242 h 816237"/>
                <a:gd name="connsiteX23" fmla="*/ 306587 w 728723"/>
                <a:gd name="connsiteY23" fmla="*/ 148850 h 816237"/>
                <a:gd name="connsiteX24" fmla="*/ 309335 w 728723"/>
                <a:gd name="connsiteY24" fmla="*/ 156473 h 816237"/>
                <a:gd name="connsiteX25" fmla="*/ 308520 w 728723"/>
                <a:gd name="connsiteY25" fmla="*/ 162122 h 816237"/>
                <a:gd name="connsiteX26" fmla="*/ 310457 w 728723"/>
                <a:gd name="connsiteY26" fmla="*/ 168101 h 816237"/>
                <a:gd name="connsiteX27" fmla="*/ 315136 w 728723"/>
                <a:gd name="connsiteY27" fmla="*/ 174390 h 816237"/>
                <a:gd name="connsiteX28" fmla="*/ 318560 w 728723"/>
                <a:gd name="connsiteY28" fmla="*/ 177722 h 816237"/>
                <a:gd name="connsiteX29" fmla="*/ 320544 w 728723"/>
                <a:gd name="connsiteY29" fmla="*/ 180240 h 816237"/>
                <a:gd name="connsiteX30" fmla="*/ 325872 w 728723"/>
                <a:gd name="connsiteY30" fmla="*/ 189888 h 816237"/>
                <a:gd name="connsiteX31" fmla="*/ 335721 w 728723"/>
                <a:gd name="connsiteY31" fmla="*/ 205295 h 816237"/>
                <a:gd name="connsiteX32" fmla="*/ 343108 w 728723"/>
                <a:gd name="connsiteY32" fmla="*/ 216856 h 816237"/>
                <a:gd name="connsiteX33" fmla="*/ 345688 w 728723"/>
                <a:gd name="connsiteY33" fmla="*/ 218235 h 816237"/>
                <a:gd name="connsiteX34" fmla="*/ 349465 w 728723"/>
                <a:gd name="connsiteY34" fmla="*/ 217740 h 816237"/>
                <a:gd name="connsiteX35" fmla="*/ 357487 w 728723"/>
                <a:gd name="connsiteY35" fmla="*/ 216588 h 816237"/>
                <a:gd name="connsiteX36" fmla="*/ 365440 w 728723"/>
                <a:gd name="connsiteY36" fmla="*/ 216366 h 816237"/>
                <a:gd name="connsiteX37" fmla="*/ 371107 w 728723"/>
                <a:gd name="connsiteY37" fmla="*/ 218747 h 816237"/>
                <a:gd name="connsiteX38" fmla="*/ 373381 w 728723"/>
                <a:gd name="connsiteY38" fmla="*/ 218340 h 816237"/>
                <a:gd name="connsiteX39" fmla="*/ 381929 w 728723"/>
                <a:gd name="connsiteY39" fmla="*/ 213751 h 816237"/>
                <a:gd name="connsiteX40" fmla="*/ 390422 w 728723"/>
                <a:gd name="connsiteY40" fmla="*/ 212350 h 816237"/>
                <a:gd name="connsiteX41" fmla="*/ 399294 w 728723"/>
                <a:gd name="connsiteY41" fmla="*/ 210457 h 816237"/>
                <a:gd name="connsiteX42" fmla="*/ 403914 w 728723"/>
                <a:gd name="connsiteY42" fmla="*/ 208515 h 816237"/>
                <a:gd name="connsiteX43" fmla="*/ 409287 w 728723"/>
                <a:gd name="connsiteY43" fmla="*/ 208520 h 816237"/>
                <a:gd name="connsiteX44" fmla="*/ 423794 w 728723"/>
                <a:gd name="connsiteY44" fmla="*/ 212222 h 816237"/>
                <a:gd name="connsiteX45" fmla="*/ 426524 w 728723"/>
                <a:gd name="connsiteY45" fmla="*/ 212420 h 816237"/>
                <a:gd name="connsiteX46" fmla="*/ 438266 w 728723"/>
                <a:gd name="connsiteY46" fmla="*/ 212420 h 816237"/>
                <a:gd name="connsiteX47" fmla="*/ 450001 w 728723"/>
                <a:gd name="connsiteY47" fmla="*/ 210341 h 816237"/>
                <a:gd name="connsiteX48" fmla="*/ 451726 w 728723"/>
                <a:gd name="connsiteY48" fmla="*/ 194846 h 816237"/>
                <a:gd name="connsiteX49" fmla="*/ 451831 w 728723"/>
                <a:gd name="connsiteY49" fmla="*/ 191779 h 816237"/>
                <a:gd name="connsiteX50" fmla="*/ 454654 w 728723"/>
                <a:gd name="connsiteY50" fmla="*/ 185959 h 816237"/>
                <a:gd name="connsiteX51" fmla="*/ 458238 w 728723"/>
                <a:gd name="connsiteY51" fmla="*/ 180886 h 816237"/>
                <a:gd name="connsiteX52" fmla="*/ 458685 w 728723"/>
                <a:gd name="connsiteY52" fmla="*/ 176037 h 816237"/>
                <a:gd name="connsiteX53" fmla="*/ 458471 w 728723"/>
                <a:gd name="connsiteY53" fmla="*/ 169413 h 816237"/>
                <a:gd name="connsiteX54" fmla="*/ 461066 w 728723"/>
                <a:gd name="connsiteY54" fmla="*/ 161375 h 816237"/>
                <a:gd name="connsiteX55" fmla="*/ 468928 w 728723"/>
                <a:gd name="connsiteY55" fmla="*/ 154984 h 816237"/>
                <a:gd name="connsiteX56" fmla="*/ 481654 w 728723"/>
                <a:gd name="connsiteY56" fmla="*/ 151963 h 816237"/>
                <a:gd name="connsiteX57" fmla="*/ 488894 w 728723"/>
                <a:gd name="connsiteY57" fmla="*/ 151376 h 816237"/>
                <a:gd name="connsiteX58" fmla="*/ 500299 w 728723"/>
                <a:gd name="connsiteY58" fmla="*/ 149581 h 816237"/>
                <a:gd name="connsiteX59" fmla="*/ 517605 w 728723"/>
                <a:gd name="connsiteY59" fmla="*/ 147768 h 816237"/>
                <a:gd name="connsiteX60" fmla="*/ 523991 w 728723"/>
                <a:gd name="connsiteY60" fmla="*/ 148012 h 816237"/>
                <a:gd name="connsiteX61" fmla="*/ 524505 w 728723"/>
                <a:gd name="connsiteY61" fmla="*/ 148920 h 816237"/>
                <a:gd name="connsiteX62" fmla="*/ 520846 w 728723"/>
                <a:gd name="connsiteY62" fmla="*/ 160025 h 816237"/>
                <a:gd name="connsiteX63" fmla="*/ 520782 w 728723"/>
                <a:gd name="connsiteY63" fmla="*/ 163657 h 816237"/>
                <a:gd name="connsiteX64" fmla="*/ 522116 w 728723"/>
                <a:gd name="connsiteY64" fmla="*/ 167327 h 816237"/>
                <a:gd name="connsiteX65" fmla="*/ 525043 w 728723"/>
                <a:gd name="connsiteY65" fmla="*/ 169309 h 816237"/>
                <a:gd name="connsiteX66" fmla="*/ 542998 w 728723"/>
                <a:gd name="connsiteY66" fmla="*/ 169528 h 816237"/>
                <a:gd name="connsiteX67" fmla="*/ 559546 w 728723"/>
                <a:gd name="connsiteY67" fmla="*/ 169740 h 816237"/>
                <a:gd name="connsiteX68" fmla="*/ 578528 w 728723"/>
                <a:gd name="connsiteY68" fmla="*/ 170436 h 816237"/>
                <a:gd name="connsiteX69" fmla="*/ 592757 w 728723"/>
                <a:gd name="connsiteY69" fmla="*/ 170959 h 816237"/>
                <a:gd name="connsiteX70" fmla="*/ 594568 w 728723"/>
                <a:gd name="connsiteY70" fmla="*/ 171505 h 816237"/>
                <a:gd name="connsiteX71" fmla="*/ 596014 w 728723"/>
                <a:gd name="connsiteY71" fmla="*/ 172338 h 816237"/>
                <a:gd name="connsiteX72" fmla="*/ 598119 w 728723"/>
                <a:gd name="connsiteY72" fmla="*/ 177840 h 816237"/>
                <a:gd name="connsiteX73" fmla="*/ 597645 w 728723"/>
                <a:gd name="connsiteY73" fmla="*/ 188597 h 816237"/>
                <a:gd name="connsiteX74" fmla="*/ 594474 w 728723"/>
                <a:gd name="connsiteY74" fmla="*/ 204312 h 816237"/>
                <a:gd name="connsiteX75" fmla="*/ 595706 w 728723"/>
                <a:gd name="connsiteY75" fmla="*/ 219004 h 816237"/>
                <a:gd name="connsiteX76" fmla="*/ 601334 w 728723"/>
                <a:gd name="connsiteY76" fmla="*/ 232667 h 816237"/>
                <a:gd name="connsiteX77" fmla="*/ 601896 w 728723"/>
                <a:gd name="connsiteY77" fmla="*/ 253680 h 816237"/>
                <a:gd name="connsiteX78" fmla="*/ 599911 w 728723"/>
                <a:gd name="connsiteY78" fmla="*/ 266221 h 816237"/>
                <a:gd name="connsiteX79" fmla="*/ 597402 w 728723"/>
                <a:gd name="connsiteY79" fmla="*/ 282038 h 816237"/>
                <a:gd name="connsiteX80" fmla="*/ 596435 w 728723"/>
                <a:gd name="connsiteY80" fmla="*/ 299976 h 816237"/>
                <a:gd name="connsiteX81" fmla="*/ 599009 w 728723"/>
                <a:gd name="connsiteY81" fmla="*/ 307474 h 816237"/>
                <a:gd name="connsiteX82" fmla="*/ 604459 w 728723"/>
                <a:gd name="connsiteY82" fmla="*/ 315327 h 816237"/>
                <a:gd name="connsiteX83" fmla="*/ 612782 w 728723"/>
                <a:gd name="connsiteY83" fmla="*/ 323529 h 816237"/>
                <a:gd name="connsiteX84" fmla="*/ 619213 w 728723"/>
                <a:gd name="connsiteY84" fmla="*/ 334163 h 816237"/>
                <a:gd name="connsiteX85" fmla="*/ 623758 w 728723"/>
                <a:gd name="connsiteY85" fmla="*/ 347234 h 816237"/>
                <a:gd name="connsiteX86" fmla="*/ 625414 w 728723"/>
                <a:gd name="connsiteY86" fmla="*/ 355470 h 816237"/>
                <a:gd name="connsiteX87" fmla="*/ 624182 w 728723"/>
                <a:gd name="connsiteY87" fmla="*/ 358859 h 816237"/>
                <a:gd name="connsiteX88" fmla="*/ 624275 w 728723"/>
                <a:gd name="connsiteY88" fmla="*/ 364741 h 816237"/>
                <a:gd name="connsiteX89" fmla="*/ 625687 w 728723"/>
                <a:gd name="connsiteY89" fmla="*/ 373111 h 816237"/>
                <a:gd name="connsiteX90" fmla="*/ 624112 w 728723"/>
                <a:gd name="connsiteY90" fmla="*/ 378661 h 816237"/>
                <a:gd name="connsiteX91" fmla="*/ 619556 w 728723"/>
                <a:gd name="connsiteY91" fmla="*/ 381388 h 816237"/>
                <a:gd name="connsiteX92" fmla="*/ 618040 w 728723"/>
                <a:gd name="connsiteY92" fmla="*/ 385151 h 816237"/>
                <a:gd name="connsiteX93" fmla="*/ 620335 w 728723"/>
                <a:gd name="connsiteY93" fmla="*/ 392365 h 816237"/>
                <a:gd name="connsiteX94" fmla="*/ 620895 w 728723"/>
                <a:gd name="connsiteY94" fmla="*/ 398916 h 816237"/>
                <a:gd name="connsiteX95" fmla="*/ 622700 w 728723"/>
                <a:gd name="connsiteY95" fmla="*/ 401416 h 816237"/>
                <a:gd name="connsiteX96" fmla="*/ 624013 w 728723"/>
                <a:gd name="connsiteY96" fmla="*/ 403242 h 816237"/>
                <a:gd name="connsiteX97" fmla="*/ 626156 w 728723"/>
                <a:gd name="connsiteY97" fmla="*/ 403513 h 816237"/>
                <a:gd name="connsiteX98" fmla="*/ 630776 w 728723"/>
                <a:gd name="connsiteY98" fmla="*/ 401164 h 816237"/>
                <a:gd name="connsiteX99" fmla="*/ 636294 w 728723"/>
                <a:gd name="connsiteY99" fmla="*/ 396803 h 816237"/>
                <a:gd name="connsiteX100" fmla="*/ 640730 w 728723"/>
                <a:gd name="connsiteY100" fmla="*/ 394955 h 816237"/>
                <a:gd name="connsiteX101" fmla="*/ 646976 w 728723"/>
                <a:gd name="connsiteY101" fmla="*/ 395188 h 816237"/>
                <a:gd name="connsiteX102" fmla="*/ 655756 w 728723"/>
                <a:gd name="connsiteY102" fmla="*/ 396417 h 816237"/>
                <a:gd name="connsiteX103" fmla="*/ 671246 w 728723"/>
                <a:gd name="connsiteY103" fmla="*/ 396873 h 816237"/>
                <a:gd name="connsiteX104" fmla="*/ 676014 w 728723"/>
                <a:gd name="connsiteY104" fmla="*/ 396088 h 816237"/>
                <a:gd name="connsiteX105" fmla="*/ 690433 w 728723"/>
                <a:gd name="connsiteY105" fmla="*/ 390195 h 816237"/>
                <a:gd name="connsiteX106" fmla="*/ 694209 w 728723"/>
                <a:gd name="connsiteY106" fmla="*/ 389767 h 816237"/>
                <a:gd name="connsiteX107" fmla="*/ 699896 w 728723"/>
                <a:gd name="connsiteY107" fmla="*/ 390324 h 816237"/>
                <a:gd name="connsiteX108" fmla="*/ 707975 w 728723"/>
                <a:gd name="connsiteY108" fmla="*/ 392062 h 816237"/>
                <a:gd name="connsiteX109" fmla="*/ 716120 w 728723"/>
                <a:gd name="connsiteY109" fmla="*/ 392424 h 816237"/>
                <a:gd name="connsiteX110" fmla="*/ 720106 w 728723"/>
                <a:gd name="connsiteY110" fmla="*/ 390600 h 816237"/>
                <a:gd name="connsiteX111" fmla="*/ 720470 w 728723"/>
                <a:gd name="connsiteY111" fmla="*/ 388216 h 816237"/>
                <a:gd name="connsiteX112" fmla="*/ 721734 w 728723"/>
                <a:gd name="connsiteY112" fmla="*/ 385103 h 816237"/>
                <a:gd name="connsiteX113" fmla="*/ 723973 w 728723"/>
                <a:gd name="connsiteY113" fmla="*/ 383922 h 816237"/>
                <a:gd name="connsiteX114" fmla="*/ 725262 w 728723"/>
                <a:gd name="connsiteY114" fmla="*/ 391775 h 816237"/>
                <a:gd name="connsiteX115" fmla="*/ 726553 w 728723"/>
                <a:gd name="connsiteY115" fmla="*/ 402682 h 816237"/>
                <a:gd name="connsiteX116" fmla="*/ 727474 w 728723"/>
                <a:gd name="connsiteY116" fmla="*/ 410528 h 816237"/>
                <a:gd name="connsiteX117" fmla="*/ 728409 w 728723"/>
                <a:gd name="connsiteY117" fmla="*/ 414037 h 816237"/>
                <a:gd name="connsiteX118" fmla="*/ 728723 w 728723"/>
                <a:gd name="connsiteY118" fmla="*/ 415912 h 816237"/>
                <a:gd name="connsiteX119" fmla="*/ 727691 w 728723"/>
                <a:gd name="connsiteY119" fmla="*/ 417937 h 816237"/>
                <a:gd name="connsiteX120" fmla="*/ 726826 w 728723"/>
                <a:gd name="connsiteY120" fmla="*/ 422648 h 816237"/>
                <a:gd name="connsiteX121" fmla="*/ 725176 w 728723"/>
                <a:gd name="connsiteY121" fmla="*/ 426822 h 816237"/>
                <a:gd name="connsiteX122" fmla="*/ 724239 w 728723"/>
                <a:gd name="connsiteY122" fmla="*/ 429741 h 816237"/>
                <a:gd name="connsiteX123" fmla="*/ 725002 w 728723"/>
                <a:gd name="connsiteY123" fmla="*/ 435093 h 816237"/>
                <a:gd name="connsiteX124" fmla="*/ 724383 w 728723"/>
                <a:gd name="connsiteY124" fmla="*/ 442772 h 816237"/>
                <a:gd name="connsiteX125" fmla="*/ 723724 w 728723"/>
                <a:gd name="connsiteY125" fmla="*/ 450878 h 816237"/>
                <a:gd name="connsiteX126" fmla="*/ 723521 w 728723"/>
                <a:gd name="connsiteY126" fmla="*/ 458683 h 816237"/>
                <a:gd name="connsiteX127" fmla="*/ 725749 w 728723"/>
                <a:gd name="connsiteY127" fmla="*/ 472681 h 816237"/>
                <a:gd name="connsiteX128" fmla="*/ 725441 w 728723"/>
                <a:gd name="connsiteY128" fmla="*/ 476977 h 816237"/>
                <a:gd name="connsiteX129" fmla="*/ 722685 w 728723"/>
                <a:gd name="connsiteY129" fmla="*/ 484290 h 816237"/>
                <a:gd name="connsiteX130" fmla="*/ 720590 w 728723"/>
                <a:gd name="connsiteY130" fmla="*/ 489848 h 816237"/>
                <a:gd name="connsiteX131" fmla="*/ 719238 w 728723"/>
                <a:gd name="connsiteY131" fmla="*/ 496292 h 816237"/>
                <a:gd name="connsiteX132" fmla="*/ 718994 w 728723"/>
                <a:gd name="connsiteY132" fmla="*/ 499649 h 816237"/>
                <a:gd name="connsiteX133" fmla="*/ 724067 w 728723"/>
                <a:gd name="connsiteY133" fmla="*/ 509155 h 816237"/>
                <a:gd name="connsiteX134" fmla="*/ 723765 w 728723"/>
                <a:gd name="connsiteY134" fmla="*/ 511054 h 816237"/>
                <a:gd name="connsiteX135" fmla="*/ 719883 w 728723"/>
                <a:gd name="connsiteY135" fmla="*/ 511643 h 816237"/>
                <a:gd name="connsiteX136" fmla="*/ 716669 w 728723"/>
                <a:gd name="connsiteY136" fmla="*/ 511806 h 816237"/>
                <a:gd name="connsiteX137" fmla="*/ 704388 w 728723"/>
                <a:gd name="connsiteY137" fmla="*/ 511806 h 816237"/>
                <a:gd name="connsiteX138" fmla="*/ 686787 w 728723"/>
                <a:gd name="connsiteY138" fmla="*/ 511806 h 816237"/>
                <a:gd name="connsiteX139" fmla="*/ 669187 w 728723"/>
                <a:gd name="connsiteY139" fmla="*/ 511806 h 816237"/>
                <a:gd name="connsiteX140" fmla="*/ 651586 w 728723"/>
                <a:gd name="connsiteY140" fmla="*/ 511806 h 816237"/>
                <a:gd name="connsiteX141" fmla="*/ 635397 w 728723"/>
                <a:gd name="connsiteY141" fmla="*/ 511806 h 816237"/>
                <a:gd name="connsiteX142" fmla="*/ 619912 w 728723"/>
                <a:gd name="connsiteY142" fmla="*/ 511806 h 816237"/>
                <a:gd name="connsiteX143" fmla="*/ 606251 w 728723"/>
                <a:gd name="connsiteY143" fmla="*/ 511806 h 816237"/>
                <a:gd name="connsiteX144" fmla="*/ 606257 w 728723"/>
                <a:gd name="connsiteY144" fmla="*/ 521195 h 816237"/>
                <a:gd name="connsiteX145" fmla="*/ 606262 w 728723"/>
                <a:gd name="connsiteY145" fmla="*/ 540534 h 816237"/>
                <a:gd name="connsiteX146" fmla="*/ 606262 w 728723"/>
                <a:gd name="connsiteY146" fmla="*/ 559897 h 816237"/>
                <a:gd name="connsiteX147" fmla="*/ 606276 w 728723"/>
                <a:gd name="connsiteY147" fmla="*/ 579268 h 816237"/>
                <a:gd name="connsiteX148" fmla="*/ 606281 w 728723"/>
                <a:gd name="connsiteY148" fmla="*/ 598661 h 816237"/>
                <a:gd name="connsiteX149" fmla="*/ 606286 w 728723"/>
                <a:gd name="connsiteY149" fmla="*/ 618067 h 816237"/>
                <a:gd name="connsiteX150" fmla="*/ 606292 w 728723"/>
                <a:gd name="connsiteY150" fmla="*/ 637495 h 816237"/>
                <a:gd name="connsiteX151" fmla="*/ 606297 w 728723"/>
                <a:gd name="connsiteY151" fmla="*/ 656938 h 816237"/>
                <a:gd name="connsiteX152" fmla="*/ 606302 w 728723"/>
                <a:gd name="connsiteY152" fmla="*/ 676403 h 816237"/>
                <a:gd name="connsiteX153" fmla="*/ 606302 w 728723"/>
                <a:gd name="connsiteY153" fmla="*/ 690455 h 816237"/>
                <a:gd name="connsiteX154" fmla="*/ 609884 w 728723"/>
                <a:gd name="connsiteY154" fmla="*/ 709121 h 816237"/>
                <a:gd name="connsiteX155" fmla="*/ 616425 w 728723"/>
                <a:gd name="connsiteY155" fmla="*/ 729457 h 816237"/>
                <a:gd name="connsiteX156" fmla="*/ 618988 w 728723"/>
                <a:gd name="connsiteY156" fmla="*/ 731343 h 816237"/>
                <a:gd name="connsiteX157" fmla="*/ 625569 w 728723"/>
                <a:gd name="connsiteY157" fmla="*/ 735079 h 816237"/>
                <a:gd name="connsiteX158" fmla="*/ 634714 w 728723"/>
                <a:gd name="connsiteY158" fmla="*/ 742727 h 816237"/>
                <a:gd name="connsiteX159" fmla="*/ 639840 w 728723"/>
                <a:gd name="connsiteY159" fmla="*/ 748520 h 816237"/>
                <a:gd name="connsiteX160" fmla="*/ 650263 w 728723"/>
                <a:gd name="connsiteY160" fmla="*/ 758578 h 816237"/>
                <a:gd name="connsiteX161" fmla="*/ 664116 w 728723"/>
                <a:gd name="connsiteY161" fmla="*/ 771411 h 816237"/>
                <a:gd name="connsiteX162" fmla="*/ 677487 w 728723"/>
                <a:gd name="connsiteY162" fmla="*/ 782921 h 816237"/>
                <a:gd name="connsiteX163" fmla="*/ 689276 w 728723"/>
                <a:gd name="connsiteY163" fmla="*/ 793070 h 816237"/>
                <a:gd name="connsiteX164" fmla="*/ 670772 w 728723"/>
                <a:gd name="connsiteY164" fmla="*/ 796624 h 816237"/>
                <a:gd name="connsiteX165" fmla="*/ 644461 w 728723"/>
                <a:gd name="connsiteY165" fmla="*/ 801684 h 816237"/>
                <a:gd name="connsiteX166" fmla="*/ 626705 w 728723"/>
                <a:gd name="connsiteY166" fmla="*/ 805096 h 816237"/>
                <a:gd name="connsiteX167" fmla="*/ 605180 w 728723"/>
                <a:gd name="connsiteY167" fmla="*/ 809232 h 816237"/>
                <a:gd name="connsiteX168" fmla="*/ 590826 w 728723"/>
                <a:gd name="connsiteY168" fmla="*/ 811836 h 816237"/>
                <a:gd name="connsiteX169" fmla="*/ 572965 w 728723"/>
                <a:gd name="connsiteY169" fmla="*/ 815071 h 816237"/>
                <a:gd name="connsiteX170" fmla="*/ 570112 w 728723"/>
                <a:gd name="connsiteY170" fmla="*/ 815002 h 816237"/>
                <a:gd name="connsiteX171" fmla="*/ 565323 w 728723"/>
                <a:gd name="connsiteY171" fmla="*/ 812768 h 816237"/>
                <a:gd name="connsiteX172" fmla="*/ 554995 w 728723"/>
                <a:gd name="connsiteY172" fmla="*/ 812326 h 816237"/>
                <a:gd name="connsiteX173" fmla="*/ 542842 w 728723"/>
                <a:gd name="connsiteY173" fmla="*/ 815401 h 816237"/>
                <a:gd name="connsiteX174" fmla="*/ 533199 w 728723"/>
                <a:gd name="connsiteY174" fmla="*/ 816237 h 816237"/>
                <a:gd name="connsiteX175" fmla="*/ 526069 w 728723"/>
                <a:gd name="connsiteY175" fmla="*/ 814828 h 816237"/>
                <a:gd name="connsiteX176" fmla="*/ 519110 w 728723"/>
                <a:gd name="connsiteY176" fmla="*/ 812128 h 816237"/>
                <a:gd name="connsiteX177" fmla="*/ 512320 w 728723"/>
                <a:gd name="connsiteY177" fmla="*/ 808147 h 816237"/>
                <a:gd name="connsiteX178" fmla="*/ 500553 w 728723"/>
                <a:gd name="connsiteY178" fmla="*/ 806696 h 816237"/>
                <a:gd name="connsiteX179" fmla="*/ 483820 w 728723"/>
                <a:gd name="connsiteY179" fmla="*/ 807778 h 816237"/>
                <a:gd name="connsiteX180" fmla="*/ 467682 w 728723"/>
                <a:gd name="connsiteY180" fmla="*/ 807001 h 816237"/>
                <a:gd name="connsiteX181" fmla="*/ 452155 w 728723"/>
                <a:gd name="connsiteY181" fmla="*/ 804363 h 816237"/>
                <a:gd name="connsiteX182" fmla="*/ 441036 w 728723"/>
                <a:gd name="connsiteY182" fmla="*/ 803323 h 816237"/>
                <a:gd name="connsiteX183" fmla="*/ 434345 w 728723"/>
                <a:gd name="connsiteY183" fmla="*/ 803886 h 816237"/>
                <a:gd name="connsiteX184" fmla="*/ 427167 w 728723"/>
                <a:gd name="connsiteY184" fmla="*/ 803021 h 816237"/>
                <a:gd name="connsiteX185" fmla="*/ 419509 w 728723"/>
                <a:gd name="connsiteY185" fmla="*/ 800747 h 816237"/>
                <a:gd name="connsiteX186" fmla="*/ 413118 w 728723"/>
                <a:gd name="connsiteY186" fmla="*/ 796892 h 816237"/>
                <a:gd name="connsiteX187" fmla="*/ 405425 w 728723"/>
                <a:gd name="connsiteY187" fmla="*/ 788757 h 816237"/>
                <a:gd name="connsiteX188" fmla="*/ 399409 w 728723"/>
                <a:gd name="connsiteY188" fmla="*/ 780990 h 816237"/>
                <a:gd name="connsiteX189" fmla="*/ 397853 w 728723"/>
                <a:gd name="connsiteY189" fmla="*/ 779881 h 816237"/>
                <a:gd name="connsiteX190" fmla="*/ 395951 w 728723"/>
                <a:gd name="connsiteY190" fmla="*/ 778697 h 816237"/>
                <a:gd name="connsiteX191" fmla="*/ 394065 w 728723"/>
                <a:gd name="connsiteY191" fmla="*/ 778343 h 816237"/>
                <a:gd name="connsiteX192" fmla="*/ 377030 w 728723"/>
                <a:gd name="connsiteY192" fmla="*/ 778137 h 816237"/>
                <a:gd name="connsiteX193" fmla="*/ 360835 w 728723"/>
                <a:gd name="connsiteY193" fmla="*/ 777939 h 816237"/>
                <a:gd name="connsiteX194" fmla="*/ 351565 w 728723"/>
                <a:gd name="connsiteY194" fmla="*/ 777928 h 816237"/>
                <a:gd name="connsiteX195" fmla="*/ 328907 w 728723"/>
                <a:gd name="connsiteY195" fmla="*/ 777893 h 816237"/>
                <a:gd name="connsiteX196" fmla="*/ 306246 w 728723"/>
                <a:gd name="connsiteY196" fmla="*/ 777856 h 816237"/>
                <a:gd name="connsiteX197" fmla="*/ 283583 w 728723"/>
                <a:gd name="connsiteY197" fmla="*/ 777821 h 816237"/>
                <a:gd name="connsiteX198" fmla="*/ 260923 w 728723"/>
                <a:gd name="connsiteY198" fmla="*/ 777783 h 816237"/>
                <a:gd name="connsiteX199" fmla="*/ 238262 w 728723"/>
                <a:gd name="connsiteY199" fmla="*/ 777749 h 816237"/>
                <a:gd name="connsiteX200" fmla="*/ 215599 w 728723"/>
                <a:gd name="connsiteY200" fmla="*/ 777719 h 816237"/>
                <a:gd name="connsiteX201" fmla="*/ 192939 w 728723"/>
                <a:gd name="connsiteY201" fmla="*/ 777684 h 816237"/>
                <a:gd name="connsiteX202" fmla="*/ 170275 w 728723"/>
                <a:gd name="connsiteY202" fmla="*/ 777647 h 816237"/>
                <a:gd name="connsiteX203" fmla="*/ 158238 w 728723"/>
                <a:gd name="connsiteY203" fmla="*/ 777628 h 816237"/>
                <a:gd name="connsiteX204" fmla="*/ 147052 w 728723"/>
                <a:gd name="connsiteY204" fmla="*/ 778244 h 816237"/>
                <a:gd name="connsiteX205" fmla="*/ 134710 w 728723"/>
                <a:gd name="connsiteY205" fmla="*/ 778922 h 816237"/>
                <a:gd name="connsiteX206" fmla="*/ 132928 w 728723"/>
                <a:gd name="connsiteY206" fmla="*/ 778635 h 816237"/>
                <a:gd name="connsiteX207" fmla="*/ 130001 w 728723"/>
                <a:gd name="connsiteY207" fmla="*/ 777695 h 816237"/>
                <a:gd name="connsiteX208" fmla="*/ 128000 w 728723"/>
                <a:gd name="connsiteY208" fmla="*/ 775986 h 816237"/>
                <a:gd name="connsiteX209" fmla="*/ 121354 w 728723"/>
                <a:gd name="connsiteY209" fmla="*/ 771572 h 816237"/>
                <a:gd name="connsiteX210" fmla="*/ 115571 w 728723"/>
                <a:gd name="connsiteY210" fmla="*/ 768224 h 816237"/>
                <a:gd name="connsiteX211" fmla="*/ 107715 w 728723"/>
                <a:gd name="connsiteY211" fmla="*/ 762596 h 816237"/>
                <a:gd name="connsiteX212" fmla="*/ 102637 w 728723"/>
                <a:gd name="connsiteY212" fmla="*/ 756427 h 816237"/>
                <a:gd name="connsiteX213" fmla="*/ 98356 w 728723"/>
                <a:gd name="connsiteY213" fmla="*/ 754464 h 816237"/>
                <a:gd name="connsiteX214" fmla="*/ 90773 w 728723"/>
                <a:gd name="connsiteY214" fmla="*/ 753352 h 816237"/>
                <a:gd name="connsiteX215" fmla="*/ 85076 w 728723"/>
                <a:gd name="connsiteY215" fmla="*/ 752262 h 816237"/>
                <a:gd name="connsiteX216" fmla="*/ 80440 w 728723"/>
                <a:gd name="connsiteY216" fmla="*/ 752018 h 816237"/>
                <a:gd name="connsiteX217" fmla="*/ 72265 w 728723"/>
                <a:gd name="connsiteY217" fmla="*/ 754930 h 816237"/>
                <a:gd name="connsiteX218" fmla="*/ 66112 w 728723"/>
                <a:gd name="connsiteY218" fmla="*/ 757804 h 816237"/>
                <a:gd name="connsiteX219" fmla="*/ 61722 w 728723"/>
                <a:gd name="connsiteY219" fmla="*/ 760584 h 816237"/>
                <a:gd name="connsiteX220" fmla="*/ 54104 w 728723"/>
                <a:gd name="connsiteY220" fmla="*/ 763775 h 816237"/>
                <a:gd name="connsiteX221" fmla="*/ 47684 w 728723"/>
                <a:gd name="connsiteY221" fmla="*/ 766954 h 816237"/>
                <a:gd name="connsiteX222" fmla="*/ 36498 w 728723"/>
                <a:gd name="connsiteY222" fmla="*/ 766539 h 816237"/>
                <a:gd name="connsiteX223" fmla="*/ 34079 w 728723"/>
                <a:gd name="connsiteY223" fmla="*/ 766997 h 816237"/>
                <a:gd name="connsiteX224" fmla="*/ 27857 w 728723"/>
                <a:gd name="connsiteY224" fmla="*/ 766788 h 816237"/>
                <a:gd name="connsiteX225" fmla="*/ 21991 w 728723"/>
                <a:gd name="connsiteY225" fmla="*/ 764018 h 816237"/>
                <a:gd name="connsiteX226" fmla="*/ 16045 w 728723"/>
                <a:gd name="connsiteY226" fmla="*/ 764262 h 816237"/>
                <a:gd name="connsiteX227" fmla="*/ 9445 w 728723"/>
                <a:gd name="connsiteY227" fmla="*/ 767800 h 816237"/>
                <a:gd name="connsiteX228" fmla="*/ 0 w 728723"/>
                <a:gd name="connsiteY228" fmla="*/ 769183 h 816237"/>
                <a:gd name="connsiteX229" fmla="*/ 2191 w 728723"/>
                <a:gd name="connsiteY229" fmla="*/ 746147 h 816237"/>
                <a:gd name="connsiteX230" fmla="*/ 4495 w 728723"/>
                <a:gd name="connsiteY230" fmla="*/ 735966 h 816237"/>
                <a:gd name="connsiteX231" fmla="*/ 4551 w 728723"/>
                <a:gd name="connsiteY231" fmla="*/ 723808 h 816237"/>
                <a:gd name="connsiteX232" fmla="*/ 3193 w 728723"/>
                <a:gd name="connsiteY232" fmla="*/ 692327 h 816237"/>
                <a:gd name="connsiteX233" fmla="*/ 1562 w 728723"/>
                <a:gd name="connsiteY233" fmla="*/ 688009 h 816237"/>
                <a:gd name="connsiteX234" fmla="*/ 464 w 728723"/>
                <a:gd name="connsiteY234" fmla="*/ 682947 h 816237"/>
                <a:gd name="connsiteX235" fmla="*/ 6316 w 728723"/>
                <a:gd name="connsiteY235" fmla="*/ 679090 h 816237"/>
                <a:gd name="connsiteX236" fmla="*/ 9289 w 728723"/>
                <a:gd name="connsiteY236" fmla="*/ 676143 h 816237"/>
                <a:gd name="connsiteX237" fmla="*/ 13315 w 728723"/>
                <a:gd name="connsiteY237" fmla="*/ 670933 h 816237"/>
                <a:gd name="connsiteX238" fmla="*/ 16173 w 728723"/>
                <a:gd name="connsiteY238" fmla="*/ 663637 h 816237"/>
                <a:gd name="connsiteX239" fmla="*/ 19556 w 728723"/>
                <a:gd name="connsiteY239" fmla="*/ 647547 h 816237"/>
                <a:gd name="connsiteX240" fmla="*/ 31829 w 728723"/>
                <a:gd name="connsiteY240" fmla="*/ 610570 h 816237"/>
                <a:gd name="connsiteX241" fmla="*/ 37661 w 728723"/>
                <a:gd name="connsiteY241" fmla="*/ 574404 h 816237"/>
                <a:gd name="connsiteX242" fmla="*/ 45051 w 728723"/>
                <a:gd name="connsiteY242" fmla="*/ 557285 h 816237"/>
                <a:gd name="connsiteX243" fmla="*/ 47823 w 728723"/>
                <a:gd name="connsiteY243" fmla="*/ 538126 h 816237"/>
                <a:gd name="connsiteX244" fmla="*/ 68384 w 728723"/>
                <a:gd name="connsiteY244" fmla="*/ 513419 h 816237"/>
                <a:gd name="connsiteX245" fmla="*/ 73451 w 728723"/>
                <a:gd name="connsiteY245" fmla="*/ 498245 h 816237"/>
                <a:gd name="connsiteX246" fmla="*/ 84082 w 728723"/>
                <a:gd name="connsiteY246" fmla="*/ 490812 h 816237"/>
                <a:gd name="connsiteX247" fmla="*/ 99144 w 728723"/>
                <a:gd name="connsiteY247" fmla="*/ 482886 h 816237"/>
                <a:gd name="connsiteX248" fmla="*/ 109863 w 728723"/>
                <a:gd name="connsiteY248" fmla="*/ 468800 h 816237"/>
                <a:gd name="connsiteX249" fmla="*/ 115049 w 728723"/>
                <a:gd name="connsiteY249" fmla="*/ 459044 h 816237"/>
                <a:gd name="connsiteX250" fmla="*/ 120961 w 728723"/>
                <a:gd name="connsiteY250" fmla="*/ 440362 h 816237"/>
                <a:gd name="connsiteX251" fmla="*/ 120896 w 728723"/>
                <a:gd name="connsiteY251" fmla="*/ 420867 h 816237"/>
                <a:gd name="connsiteX252" fmla="*/ 124641 w 728723"/>
                <a:gd name="connsiteY252" fmla="*/ 394866 h 816237"/>
                <a:gd name="connsiteX253" fmla="*/ 123819 w 728723"/>
                <a:gd name="connsiteY253" fmla="*/ 387391 h 816237"/>
                <a:gd name="connsiteX254" fmla="*/ 118215 w 728723"/>
                <a:gd name="connsiteY254" fmla="*/ 377054 h 816237"/>
                <a:gd name="connsiteX255" fmla="*/ 117173 w 728723"/>
                <a:gd name="connsiteY255" fmla="*/ 369653 h 816237"/>
                <a:gd name="connsiteX256" fmla="*/ 111969 w 728723"/>
                <a:gd name="connsiteY256" fmla="*/ 362392 h 816237"/>
                <a:gd name="connsiteX257" fmla="*/ 106397 w 728723"/>
                <a:gd name="connsiteY257" fmla="*/ 356906 h 816237"/>
                <a:gd name="connsiteX258" fmla="*/ 103789 w 728723"/>
                <a:gd name="connsiteY258" fmla="*/ 347116 h 816237"/>
                <a:gd name="connsiteX259" fmla="*/ 94124 w 728723"/>
                <a:gd name="connsiteY259" fmla="*/ 331672 h 816237"/>
                <a:gd name="connsiteX260" fmla="*/ 91475 w 728723"/>
                <a:gd name="connsiteY260" fmla="*/ 321375 h 816237"/>
                <a:gd name="connsiteX261" fmla="*/ 86847 w 728723"/>
                <a:gd name="connsiteY261" fmla="*/ 313988 h 816237"/>
                <a:gd name="connsiteX262" fmla="*/ 86107 w 728723"/>
                <a:gd name="connsiteY262" fmla="*/ 304873 h 816237"/>
                <a:gd name="connsiteX263" fmla="*/ 83665 w 728723"/>
                <a:gd name="connsiteY263" fmla="*/ 295251 h 816237"/>
                <a:gd name="connsiteX264" fmla="*/ 78948 w 728723"/>
                <a:gd name="connsiteY264" fmla="*/ 285737 h 816237"/>
                <a:gd name="connsiteX265" fmla="*/ 74359 w 728723"/>
                <a:gd name="connsiteY265" fmla="*/ 274849 h 816237"/>
                <a:gd name="connsiteX266" fmla="*/ 74359 w 728723"/>
                <a:gd name="connsiteY266" fmla="*/ 271444 h 816237"/>
                <a:gd name="connsiteX267" fmla="*/ 77217 w 728723"/>
                <a:gd name="connsiteY267" fmla="*/ 267341 h 816237"/>
                <a:gd name="connsiteX268" fmla="*/ 79941 w 728723"/>
                <a:gd name="connsiteY268" fmla="*/ 265994 h 816237"/>
                <a:gd name="connsiteX269" fmla="*/ 79020 w 728723"/>
                <a:gd name="connsiteY269" fmla="*/ 268056 h 816237"/>
                <a:gd name="connsiteX270" fmla="*/ 77207 w 728723"/>
                <a:gd name="connsiteY270" fmla="*/ 270499 h 816237"/>
                <a:gd name="connsiteX271" fmla="*/ 77633 w 728723"/>
                <a:gd name="connsiteY271" fmla="*/ 272390 h 816237"/>
                <a:gd name="connsiteX272" fmla="*/ 95707 w 728723"/>
                <a:gd name="connsiteY272" fmla="*/ 253311 h 816237"/>
                <a:gd name="connsiteX273" fmla="*/ 96854 w 728723"/>
                <a:gd name="connsiteY273" fmla="*/ 249582 h 816237"/>
                <a:gd name="connsiteX274" fmla="*/ 96246 w 728723"/>
                <a:gd name="connsiteY274" fmla="*/ 245412 h 816237"/>
                <a:gd name="connsiteX275" fmla="*/ 96147 w 728723"/>
                <a:gd name="connsiteY275" fmla="*/ 240309 h 816237"/>
                <a:gd name="connsiteX276" fmla="*/ 96864 w 728723"/>
                <a:gd name="connsiteY276" fmla="*/ 234373 h 816237"/>
                <a:gd name="connsiteX277" fmla="*/ 79824 w 728723"/>
                <a:gd name="connsiteY277" fmla="*/ 199234 h 816237"/>
                <a:gd name="connsiteX278" fmla="*/ 66292 w 728723"/>
                <a:gd name="connsiteY278" fmla="*/ 166577 h 816237"/>
                <a:gd name="connsiteX279" fmla="*/ 63988 w 728723"/>
                <a:gd name="connsiteY279" fmla="*/ 150088 h 816237"/>
                <a:gd name="connsiteX280" fmla="*/ 46093 w 728723"/>
                <a:gd name="connsiteY280" fmla="*/ 128405 h 816237"/>
                <a:gd name="connsiteX281" fmla="*/ 39037 w 728723"/>
                <a:gd name="connsiteY281" fmla="*/ 114316 h 816237"/>
                <a:gd name="connsiteX282" fmla="*/ 35017 w 728723"/>
                <a:gd name="connsiteY282" fmla="*/ 104437 h 816237"/>
                <a:gd name="connsiteX283" fmla="*/ 31998 w 728723"/>
                <a:gd name="connsiteY283" fmla="*/ 100693 h 816237"/>
                <a:gd name="connsiteX284" fmla="*/ 33137 w 728723"/>
                <a:gd name="connsiteY284" fmla="*/ 98807 h 816237"/>
                <a:gd name="connsiteX285" fmla="*/ 37746 w 728723"/>
                <a:gd name="connsiteY285" fmla="*/ 98311 h 816237"/>
                <a:gd name="connsiteX286" fmla="*/ 48002 w 728723"/>
                <a:gd name="connsiteY286" fmla="*/ 96032 h 816237"/>
                <a:gd name="connsiteX287" fmla="*/ 62046 w 728723"/>
                <a:gd name="connsiteY287" fmla="*/ 93535 h 816237"/>
                <a:gd name="connsiteX288" fmla="*/ 75024 w 728723"/>
                <a:gd name="connsiteY288" fmla="*/ 87814 h 816237"/>
                <a:gd name="connsiteX289" fmla="*/ 78484 w 728723"/>
                <a:gd name="connsiteY289" fmla="*/ 85269 h 816237"/>
                <a:gd name="connsiteX290" fmla="*/ 85365 w 728723"/>
                <a:gd name="connsiteY290" fmla="*/ 84761 h 816237"/>
                <a:gd name="connsiteX291" fmla="*/ 92370 w 728723"/>
                <a:gd name="connsiteY291" fmla="*/ 86282 h 816237"/>
                <a:gd name="connsiteX292" fmla="*/ 94968 w 728723"/>
                <a:gd name="connsiteY292" fmla="*/ 85184 h 816237"/>
                <a:gd name="connsiteX293" fmla="*/ 96449 w 728723"/>
                <a:gd name="connsiteY293" fmla="*/ 85090 h 816237"/>
                <a:gd name="connsiteX294" fmla="*/ 112888 w 728723"/>
                <a:gd name="connsiteY294" fmla="*/ 85085 h 816237"/>
                <a:gd name="connsiteX295" fmla="*/ 65454 w 728723"/>
                <a:gd name="connsiteY295" fmla="*/ 0 h 816237"/>
                <a:gd name="connsiteX296" fmla="*/ 67401 w 728723"/>
                <a:gd name="connsiteY296" fmla="*/ 961 h 816237"/>
                <a:gd name="connsiteX297" fmla="*/ 72753 w 728723"/>
                <a:gd name="connsiteY297" fmla="*/ 7291 h 816237"/>
                <a:gd name="connsiteX298" fmla="*/ 77293 w 728723"/>
                <a:gd name="connsiteY298" fmla="*/ 11295 h 816237"/>
                <a:gd name="connsiteX299" fmla="*/ 78756 w 728723"/>
                <a:gd name="connsiteY299" fmla="*/ 12217 h 816237"/>
                <a:gd name="connsiteX300" fmla="*/ 77842 w 728723"/>
                <a:gd name="connsiteY300" fmla="*/ 13186 h 816237"/>
                <a:gd name="connsiteX301" fmla="*/ 71333 w 728723"/>
                <a:gd name="connsiteY301" fmla="*/ 15811 h 816237"/>
                <a:gd name="connsiteX302" fmla="*/ 64358 w 728723"/>
                <a:gd name="connsiteY302" fmla="*/ 18262 h 816237"/>
                <a:gd name="connsiteX303" fmla="*/ 55187 w 728723"/>
                <a:gd name="connsiteY303" fmla="*/ 28280 h 816237"/>
                <a:gd name="connsiteX304" fmla="*/ 50532 w 728723"/>
                <a:gd name="connsiteY304" fmla="*/ 32616 h 816237"/>
                <a:gd name="connsiteX305" fmla="*/ 49187 w 728723"/>
                <a:gd name="connsiteY305" fmla="*/ 33696 h 816237"/>
                <a:gd name="connsiteX306" fmla="*/ 44995 w 728723"/>
                <a:gd name="connsiteY306" fmla="*/ 36090 h 816237"/>
                <a:gd name="connsiteX307" fmla="*/ 41958 w 728723"/>
                <a:gd name="connsiteY307" fmla="*/ 38145 h 816237"/>
                <a:gd name="connsiteX308" fmla="*/ 42062 w 728723"/>
                <a:gd name="connsiteY308" fmla="*/ 39281 h 816237"/>
                <a:gd name="connsiteX309" fmla="*/ 44087 w 728723"/>
                <a:gd name="connsiteY309" fmla="*/ 40590 h 816237"/>
                <a:gd name="connsiteX310" fmla="*/ 46158 w 728723"/>
                <a:gd name="connsiteY310" fmla="*/ 42741 h 816237"/>
                <a:gd name="connsiteX311" fmla="*/ 45954 w 728723"/>
                <a:gd name="connsiteY311" fmla="*/ 59112 h 816237"/>
                <a:gd name="connsiteX312" fmla="*/ 45051 w 728723"/>
                <a:gd name="connsiteY312" fmla="*/ 75224 h 816237"/>
                <a:gd name="connsiteX313" fmla="*/ 43918 w 728723"/>
                <a:gd name="connsiteY313" fmla="*/ 76590 h 816237"/>
                <a:gd name="connsiteX314" fmla="*/ 38085 w 728723"/>
                <a:gd name="connsiteY314" fmla="*/ 77123 h 816237"/>
                <a:gd name="connsiteX315" fmla="*/ 30338 w 728723"/>
                <a:gd name="connsiteY315" fmla="*/ 78237 h 816237"/>
                <a:gd name="connsiteX316" fmla="*/ 27874 w 728723"/>
                <a:gd name="connsiteY316" fmla="*/ 78963 h 816237"/>
                <a:gd name="connsiteX317" fmla="*/ 27006 w 728723"/>
                <a:gd name="connsiteY317" fmla="*/ 77372 h 816237"/>
                <a:gd name="connsiteX318" fmla="*/ 24427 w 728723"/>
                <a:gd name="connsiteY318" fmla="*/ 71477 h 816237"/>
                <a:gd name="connsiteX319" fmla="*/ 25884 w 728723"/>
                <a:gd name="connsiteY319" fmla="*/ 65889 h 816237"/>
                <a:gd name="connsiteX320" fmla="*/ 27451 w 728723"/>
                <a:gd name="connsiteY320" fmla="*/ 61708 h 816237"/>
                <a:gd name="connsiteX321" fmla="*/ 25710 w 728723"/>
                <a:gd name="connsiteY321" fmla="*/ 53185 h 816237"/>
                <a:gd name="connsiteX322" fmla="*/ 21767 w 728723"/>
                <a:gd name="connsiteY322" fmla="*/ 45607 h 816237"/>
                <a:gd name="connsiteX323" fmla="*/ 17586 w 728723"/>
                <a:gd name="connsiteY323" fmla="*/ 35986 h 816237"/>
                <a:gd name="connsiteX324" fmla="*/ 16305 w 728723"/>
                <a:gd name="connsiteY324" fmla="*/ 34154 h 816237"/>
                <a:gd name="connsiteX325" fmla="*/ 19811 w 728723"/>
                <a:gd name="connsiteY325" fmla="*/ 31057 h 816237"/>
                <a:gd name="connsiteX326" fmla="*/ 25115 w 728723"/>
                <a:gd name="connsiteY326" fmla="*/ 24262 h 816237"/>
                <a:gd name="connsiteX327" fmla="*/ 27319 w 728723"/>
                <a:gd name="connsiteY327" fmla="*/ 20756 h 816237"/>
                <a:gd name="connsiteX328" fmla="*/ 33456 w 728723"/>
                <a:gd name="connsiteY328" fmla="*/ 19979 h 816237"/>
                <a:gd name="connsiteX329" fmla="*/ 35751 w 728723"/>
                <a:gd name="connsiteY329" fmla="*/ 17520 h 816237"/>
                <a:gd name="connsiteX330" fmla="*/ 37372 w 728723"/>
                <a:gd name="connsiteY330" fmla="*/ 13580 h 816237"/>
                <a:gd name="connsiteX331" fmla="*/ 37996 w 728723"/>
                <a:gd name="connsiteY331" fmla="*/ 11290 h 816237"/>
                <a:gd name="connsiteX332" fmla="*/ 44920 w 728723"/>
                <a:gd name="connsiteY332" fmla="*/ 9412 h 816237"/>
                <a:gd name="connsiteX333" fmla="*/ 53226 w 728723"/>
                <a:gd name="connsiteY333" fmla="*/ 6069 h 816237"/>
                <a:gd name="connsiteX334" fmla="*/ 57831 w 728723"/>
                <a:gd name="connsiteY334" fmla="*/ 2424 h 816237"/>
                <a:gd name="connsiteX335" fmla="*/ 62497 w 728723"/>
                <a:gd name="connsiteY335" fmla="*/ 99 h 816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</a:cxnLst>
              <a:rect l="l" t="t" r="r" b="b"/>
              <a:pathLst>
                <a:path w="728723" h="816237">
                  <a:moveTo>
                    <a:pt x="119729" y="84696"/>
                  </a:moveTo>
                  <a:lnTo>
                    <a:pt x="132401" y="84817"/>
                  </a:lnTo>
                  <a:lnTo>
                    <a:pt x="140412" y="85288"/>
                  </a:lnTo>
                  <a:lnTo>
                    <a:pt x="144976" y="85934"/>
                  </a:lnTo>
                  <a:lnTo>
                    <a:pt x="157284" y="86925"/>
                  </a:lnTo>
                  <a:lnTo>
                    <a:pt x="172641" y="86700"/>
                  </a:lnTo>
                  <a:lnTo>
                    <a:pt x="178062" y="86175"/>
                  </a:lnTo>
                  <a:lnTo>
                    <a:pt x="198194" y="85845"/>
                  </a:lnTo>
                  <a:lnTo>
                    <a:pt x="218074" y="85511"/>
                  </a:lnTo>
                  <a:lnTo>
                    <a:pt x="235959" y="85213"/>
                  </a:lnTo>
                  <a:lnTo>
                    <a:pt x="255694" y="85277"/>
                  </a:lnTo>
                  <a:lnTo>
                    <a:pt x="270801" y="85318"/>
                  </a:lnTo>
                  <a:lnTo>
                    <a:pt x="277685" y="87372"/>
                  </a:lnTo>
                  <a:lnTo>
                    <a:pt x="283942" y="91272"/>
                  </a:lnTo>
                  <a:lnTo>
                    <a:pt x="286789" y="94808"/>
                  </a:lnTo>
                  <a:lnTo>
                    <a:pt x="288142" y="96369"/>
                  </a:lnTo>
                  <a:lnTo>
                    <a:pt x="290009" y="100114"/>
                  </a:lnTo>
                  <a:lnTo>
                    <a:pt x="293430" y="103068"/>
                  </a:lnTo>
                  <a:lnTo>
                    <a:pt x="294643" y="107654"/>
                  </a:lnTo>
                  <a:lnTo>
                    <a:pt x="293649" y="113871"/>
                  </a:lnTo>
                  <a:lnTo>
                    <a:pt x="294147" y="121347"/>
                  </a:lnTo>
                  <a:lnTo>
                    <a:pt x="296138" y="130076"/>
                  </a:lnTo>
                  <a:lnTo>
                    <a:pt x="300289" y="139242"/>
                  </a:lnTo>
                  <a:lnTo>
                    <a:pt x="306587" y="148850"/>
                  </a:lnTo>
                  <a:lnTo>
                    <a:pt x="309335" y="156473"/>
                  </a:lnTo>
                  <a:lnTo>
                    <a:pt x="308520" y="162122"/>
                  </a:lnTo>
                  <a:lnTo>
                    <a:pt x="310457" y="168101"/>
                  </a:lnTo>
                  <a:lnTo>
                    <a:pt x="315136" y="174390"/>
                  </a:lnTo>
                  <a:lnTo>
                    <a:pt x="318560" y="177722"/>
                  </a:lnTo>
                  <a:lnTo>
                    <a:pt x="320544" y="180240"/>
                  </a:lnTo>
                  <a:lnTo>
                    <a:pt x="325872" y="189888"/>
                  </a:lnTo>
                  <a:lnTo>
                    <a:pt x="335721" y="205295"/>
                  </a:lnTo>
                  <a:lnTo>
                    <a:pt x="343108" y="216856"/>
                  </a:lnTo>
                  <a:lnTo>
                    <a:pt x="345688" y="218235"/>
                  </a:lnTo>
                  <a:lnTo>
                    <a:pt x="349465" y="217740"/>
                  </a:lnTo>
                  <a:lnTo>
                    <a:pt x="357487" y="216588"/>
                  </a:lnTo>
                  <a:lnTo>
                    <a:pt x="365440" y="216366"/>
                  </a:lnTo>
                  <a:lnTo>
                    <a:pt x="371107" y="218747"/>
                  </a:lnTo>
                  <a:lnTo>
                    <a:pt x="373381" y="218340"/>
                  </a:lnTo>
                  <a:lnTo>
                    <a:pt x="381929" y="213751"/>
                  </a:lnTo>
                  <a:lnTo>
                    <a:pt x="390422" y="212350"/>
                  </a:lnTo>
                  <a:lnTo>
                    <a:pt x="399294" y="210457"/>
                  </a:lnTo>
                  <a:lnTo>
                    <a:pt x="403914" y="208515"/>
                  </a:lnTo>
                  <a:lnTo>
                    <a:pt x="409287" y="208520"/>
                  </a:lnTo>
                  <a:lnTo>
                    <a:pt x="423794" y="212222"/>
                  </a:lnTo>
                  <a:lnTo>
                    <a:pt x="426524" y="212420"/>
                  </a:lnTo>
                  <a:lnTo>
                    <a:pt x="438266" y="212420"/>
                  </a:lnTo>
                  <a:lnTo>
                    <a:pt x="450001" y="210341"/>
                  </a:lnTo>
                  <a:lnTo>
                    <a:pt x="451726" y="194846"/>
                  </a:lnTo>
                  <a:lnTo>
                    <a:pt x="451831" y="191779"/>
                  </a:lnTo>
                  <a:lnTo>
                    <a:pt x="454654" y="185959"/>
                  </a:lnTo>
                  <a:lnTo>
                    <a:pt x="458238" y="180886"/>
                  </a:lnTo>
                  <a:lnTo>
                    <a:pt x="458685" y="176037"/>
                  </a:lnTo>
                  <a:lnTo>
                    <a:pt x="458471" y="169413"/>
                  </a:lnTo>
                  <a:lnTo>
                    <a:pt x="461066" y="161375"/>
                  </a:lnTo>
                  <a:lnTo>
                    <a:pt x="468928" y="154984"/>
                  </a:lnTo>
                  <a:lnTo>
                    <a:pt x="481654" y="151963"/>
                  </a:lnTo>
                  <a:lnTo>
                    <a:pt x="488894" y="151376"/>
                  </a:lnTo>
                  <a:lnTo>
                    <a:pt x="500299" y="149581"/>
                  </a:lnTo>
                  <a:lnTo>
                    <a:pt x="517605" y="147768"/>
                  </a:lnTo>
                  <a:lnTo>
                    <a:pt x="523991" y="148012"/>
                  </a:lnTo>
                  <a:lnTo>
                    <a:pt x="524505" y="148920"/>
                  </a:lnTo>
                  <a:lnTo>
                    <a:pt x="520846" y="160025"/>
                  </a:lnTo>
                  <a:lnTo>
                    <a:pt x="520782" y="163657"/>
                  </a:lnTo>
                  <a:lnTo>
                    <a:pt x="522116" y="167327"/>
                  </a:lnTo>
                  <a:lnTo>
                    <a:pt x="525043" y="169309"/>
                  </a:lnTo>
                  <a:lnTo>
                    <a:pt x="542998" y="169528"/>
                  </a:lnTo>
                  <a:lnTo>
                    <a:pt x="559546" y="169740"/>
                  </a:lnTo>
                  <a:lnTo>
                    <a:pt x="578528" y="170436"/>
                  </a:lnTo>
                  <a:lnTo>
                    <a:pt x="592757" y="170959"/>
                  </a:lnTo>
                  <a:lnTo>
                    <a:pt x="594568" y="171505"/>
                  </a:lnTo>
                  <a:lnTo>
                    <a:pt x="596014" y="172338"/>
                  </a:lnTo>
                  <a:lnTo>
                    <a:pt x="598119" y="177840"/>
                  </a:lnTo>
                  <a:lnTo>
                    <a:pt x="597645" y="188597"/>
                  </a:lnTo>
                  <a:lnTo>
                    <a:pt x="594474" y="204312"/>
                  </a:lnTo>
                  <a:lnTo>
                    <a:pt x="595706" y="219004"/>
                  </a:lnTo>
                  <a:lnTo>
                    <a:pt x="601334" y="232667"/>
                  </a:lnTo>
                  <a:lnTo>
                    <a:pt x="601896" y="253680"/>
                  </a:lnTo>
                  <a:lnTo>
                    <a:pt x="599911" y="266221"/>
                  </a:lnTo>
                  <a:lnTo>
                    <a:pt x="597402" y="282038"/>
                  </a:lnTo>
                  <a:lnTo>
                    <a:pt x="596435" y="299976"/>
                  </a:lnTo>
                  <a:lnTo>
                    <a:pt x="599009" y="307474"/>
                  </a:lnTo>
                  <a:lnTo>
                    <a:pt x="604459" y="315327"/>
                  </a:lnTo>
                  <a:lnTo>
                    <a:pt x="612782" y="323529"/>
                  </a:lnTo>
                  <a:lnTo>
                    <a:pt x="619213" y="334163"/>
                  </a:lnTo>
                  <a:lnTo>
                    <a:pt x="623758" y="347234"/>
                  </a:lnTo>
                  <a:lnTo>
                    <a:pt x="625414" y="355470"/>
                  </a:lnTo>
                  <a:lnTo>
                    <a:pt x="624182" y="358859"/>
                  </a:lnTo>
                  <a:lnTo>
                    <a:pt x="624275" y="364741"/>
                  </a:lnTo>
                  <a:lnTo>
                    <a:pt x="625687" y="373111"/>
                  </a:lnTo>
                  <a:lnTo>
                    <a:pt x="624112" y="378661"/>
                  </a:lnTo>
                  <a:lnTo>
                    <a:pt x="619556" y="381388"/>
                  </a:lnTo>
                  <a:lnTo>
                    <a:pt x="618040" y="385151"/>
                  </a:lnTo>
                  <a:lnTo>
                    <a:pt x="620335" y="392365"/>
                  </a:lnTo>
                  <a:lnTo>
                    <a:pt x="620895" y="398916"/>
                  </a:lnTo>
                  <a:lnTo>
                    <a:pt x="622700" y="401416"/>
                  </a:lnTo>
                  <a:lnTo>
                    <a:pt x="624013" y="403242"/>
                  </a:lnTo>
                  <a:lnTo>
                    <a:pt x="626156" y="403513"/>
                  </a:lnTo>
                  <a:lnTo>
                    <a:pt x="630776" y="401164"/>
                  </a:lnTo>
                  <a:lnTo>
                    <a:pt x="636294" y="396803"/>
                  </a:lnTo>
                  <a:lnTo>
                    <a:pt x="640730" y="394955"/>
                  </a:lnTo>
                  <a:lnTo>
                    <a:pt x="646976" y="395188"/>
                  </a:lnTo>
                  <a:lnTo>
                    <a:pt x="655756" y="396417"/>
                  </a:lnTo>
                  <a:lnTo>
                    <a:pt x="671246" y="396873"/>
                  </a:lnTo>
                  <a:lnTo>
                    <a:pt x="676014" y="396088"/>
                  </a:lnTo>
                  <a:lnTo>
                    <a:pt x="690433" y="390195"/>
                  </a:lnTo>
                  <a:lnTo>
                    <a:pt x="694209" y="389767"/>
                  </a:lnTo>
                  <a:lnTo>
                    <a:pt x="699896" y="390324"/>
                  </a:lnTo>
                  <a:lnTo>
                    <a:pt x="707975" y="392062"/>
                  </a:lnTo>
                  <a:lnTo>
                    <a:pt x="716120" y="392424"/>
                  </a:lnTo>
                  <a:lnTo>
                    <a:pt x="720106" y="390600"/>
                  </a:lnTo>
                  <a:lnTo>
                    <a:pt x="720470" y="388216"/>
                  </a:lnTo>
                  <a:lnTo>
                    <a:pt x="721734" y="385103"/>
                  </a:lnTo>
                  <a:lnTo>
                    <a:pt x="723973" y="383922"/>
                  </a:lnTo>
                  <a:lnTo>
                    <a:pt x="725262" y="391775"/>
                  </a:lnTo>
                  <a:lnTo>
                    <a:pt x="726553" y="402682"/>
                  </a:lnTo>
                  <a:lnTo>
                    <a:pt x="727474" y="410528"/>
                  </a:lnTo>
                  <a:lnTo>
                    <a:pt x="728409" y="414037"/>
                  </a:lnTo>
                  <a:lnTo>
                    <a:pt x="728723" y="415912"/>
                  </a:lnTo>
                  <a:lnTo>
                    <a:pt x="727691" y="417937"/>
                  </a:lnTo>
                  <a:lnTo>
                    <a:pt x="726826" y="422648"/>
                  </a:lnTo>
                  <a:lnTo>
                    <a:pt x="725176" y="426822"/>
                  </a:lnTo>
                  <a:lnTo>
                    <a:pt x="724239" y="429741"/>
                  </a:lnTo>
                  <a:lnTo>
                    <a:pt x="725002" y="435093"/>
                  </a:lnTo>
                  <a:lnTo>
                    <a:pt x="724383" y="442772"/>
                  </a:lnTo>
                  <a:lnTo>
                    <a:pt x="723724" y="450878"/>
                  </a:lnTo>
                  <a:lnTo>
                    <a:pt x="723521" y="458683"/>
                  </a:lnTo>
                  <a:lnTo>
                    <a:pt x="725749" y="472681"/>
                  </a:lnTo>
                  <a:lnTo>
                    <a:pt x="725441" y="476977"/>
                  </a:lnTo>
                  <a:lnTo>
                    <a:pt x="722685" y="484290"/>
                  </a:lnTo>
                  <a:lnTo>
                    <a:pt x="720590" y="489848"/>
                  </a:lnTo>
                  <a:lnTo>
                    <a:pt x="719238" y="496292"/>
                  </a:lnTo>
                  <a:lnTo>
                    <a:pt x="718994" y="499649"/>
                  </a:lnTo>
                  <a:lnTo>
                    <a:pt x="724067" y="509155"/>
                  </a:lnTo>
                  <a:lnTo>
                    <a:pt x="723765" y="511054"/>
                  </a:lnTo>
                  <a:lnTo>
                    <a:pt x="719883" y="511643"/>
                  </a:lnTo>
                  <a:lnTo>
                    <a:pt x="716669" y="511806"/>
                  </a:lnTo>
                  <a:lnTo>
                    <a:pt x="704388" y="511806"/>
                  </a:lnTo>
                  <a:lnTo>
                    <a:pt x="686787" y="511806"/>
                  </a:lnTo>
                  <a:lnTo>
                    <a:pt x="669187" y="511806"/>
                  </a:lnTo>
                  <a:lnTo>
                    <a:pt x="651586" y="511806"/>
                  </a:lnTo>
                  <a:lnTo>
                    <a:pt x="635397" y="511806"/>
                  </a:lnTo>
                  <a:lnTo>
                    <a:pt x="619912" y="511806"/>
                  </a:lnTo>
                  <a:lnTo>
                    <a:pt x="606251" y="511806"/>
                  </a:lnTo>
                  <a:lnTo>
                    <a:pt x="606257" y="521195"/>
                  </a:lnTo>
                  <a:lnTo>
                    <a:pt x="606262" y="540534"/>
                  </a:lnTo>
                  <a:lnTo>
                    <a:pt x="606262" y="559897"/>
                  </a:lnTo>
                  <a:lnTo>
                    <a:pt x="606276" y="579268"/>
                  </a:lnTo>
                  <a:lnTo>
                    <a:pt x="606281" y="598661"/>
                  </a:lnTo>
                  <a:lnTo>
                    <a:pt x="606286" y="618067"/>
                  </a:lnTo>
                  <a:lnTo>
                    <a:pt x="606292" y="637495"/>
                  </a:lnTo>
                  <a:lnTo>
                    <a:pt x="606297" y="656938"/>
                  </a:lnTo>
                  <a:lnTo>
                    <a:pt x="606302" y="676403"/>
                  </a:lnTo>
                  <a:lnTo>
                    <a:pt x="606302" y="690455"/>
                  </a:lnTo>
                  <a:lnTo>
                    <a:pt x="609884" y="709121"/>
                  </a:lnTo>
                  <a:lnTo>
                    <a:pt x="616425" y="729457"/>
                  </a:lnTo>
                  <a:lnTo>
                    <a:pt x="618988" y="731343"/>
                  </a:lnTo>
                  <a:lnTo>
                    <a:pt x="625569" y="735079"/>
                  </a:lnTo>
                  <a:lnTo>
                    <a:pt x="634714" y="742727"/>
                  </a:lnTo>
                  <a:lnTo>
                    <a:pt x="639840" y="748520"/>
                  </a:lnTo>
                  <a:lnTo>
                    <a:pt x="650263" y="758578"/>
                  </a:lnTo>
                  <a:lnTo>
                    <a:pt x="664116" y="771411"/>
                  </a:lnTo>
                  <a:lnTo>
                    <a:pt x="677487" y="782921"/>
                  </a:lnTo>
                  <a:lnTo>
                    <a:pt x="689276" y="793070"/>
                  </a:lnTo>
                  <a:lnTo>
                    <a:pt x="670772" y="796624"/>
                  </a:lnTo>
                  <a:lnTo>
                    <a:pt x="644461" y="801684"/>
                  </a:lnTo>
                  <a:lnTo>
                    <a:pt x="626705" y="805096"/>
                  </a:lnTo>
                  <a:lnTo>
                    <a:pt x="605180" y="809232"/>
                  </a:lnTo>
                  <a:lnTo>
                    <a:pt x="590826" y="811836"/>
                  </a:lnTo>
                  <a:lnTo>
                    <a:pt x="572965" y="815071"/>
                  </a:lnTo>
                  <a:lnTo>
                    <a:pt x="570112" y="815002"/>
                  </a:lnTo>
                  <a:lnTo>
                    <a:pt x="565323" y="812768"/>
                  </a:lnTo>
                  <a:lnTo>
                    <a:pt x="554995" y="812326"/>
                  </a:lnTo>
                  <a:lnTo>
                    <a:pt x="542842" y="815401"/>
                  </a:lnTo>
                  <a:lnTo>
                    <a:pt x="533199" y="816237"/>
                  </a:lnTo>
                  <a:lnTo>
                    <a:pt x="526069" y="814828"/>
                  </a:lnTo>
                  <a:lnTo>
                    <a:pt x="519110" y="812128"/>
                  </a:lnTo>
                  <a:lnTo>
                    <a:pt x="512320" y="808147"/>
                  </a:lnTo>
                  <a:lnTo>
                    <a:pt x="500553" y="806696"/>
                  </a:lnTo>
                  <a:lnTo>
                    <a:pt x="483820" y="807778"/>
                  </a:lnTo>
                  <a:lnTo>
                    <a:pt x="467682" y="807001"/>
                  </a:lnTo>
                  <a:lnTo>
                    <a:pt x="452155" y="804363"/>
                  </a:lnTo>
                  <a:lnTo>
                    <a:pt x="441036" y="803323"/>
                  </a:lnTo>
                  <a:lnTo>
                    <a:pt x="434345" y="803886"/>
                  </a:lnTo>
                  <a:lnTo>
                    <a:pt x="427167" y="803021"/>
                  </a:lnTo>
                  <a:lnTo>
                    <a:pt x="419509" y="800747"/>
                  </a:lnTo>
                  <a:lnTo>
                    <a:pt x="413118" y="796892"/>
                  </a:lnTo>
                  <a:lnTo>
                    <a:pt x="405425" y="788757"/>
                  </a:lnTo>
                  <a:lnTo>
                    <a:pt x="399409" y="780990"/>
                  </a:lnTo>
                  <a:lnTo>
                    <a:pt x="397853" y="779881"/>
                  </a:lnTo>
                  <a:lnTo>
                    <a:pt x="395951" y="778697"/>
                  </a:lnTo>
                  <a:lnTo>
                    <a:pt x="394065" y="778343"/>
                  </a:lnTo>
                  <a:lnTo>
                    <a:pt x="377030" y="778137"/>
                  </a:lnTo>
                  <a:lnTo>
                    <a:pt x="360835" y="777939"/>
                  </a:lnTo>
                  <a:lnTo>
                    <a:pt x="351565" y="777928"/>
                  </a:lnTo>
                  <a:lnTo>
                    <a:pt x="328907" y="777893"/>
                  </a:lnTo>
                  <a:lnTo>
                    <a:pt x="306246" y="777856"/>
                  </a:lnTo>
                  <a:lnTo>
                    <a:pt x="283583" y="777821"/>
                  </a:lnTo>
                  <a:lnTo>
                    <a:pt x="260923" y="777783"/>
                  </a:lnTo>
                  <a:lnTo>
                    <a:pt x="238262" y="777749"/>
                  </a:lnTo>
                  <a:lnTo>
                    <a:pt x="215599" y="777719"/>
                  </a:lnTo>
                  <a:lnTo>
                    <a:pt x="192939" y="777684"/>
                  </a:lnTo>
                  <a:lnTo>
                    <a:pt x="170275" y="777647"/>
                  </a:lnTo>
                  <a:lnTo>
                    <a:pt x="158238" y="777628"/>
                  </a:lnTo>
                  <a:lnTo>
                    <a:pt x="147052" y="778244"/>
                  </a:lnTo>
                  <a:lnTo>
                    <a:pt x="134710" y="778922"/>
                  </a:lnTo>
                  <a:lnTo>
                    <a:pt x="132928" y="778635"/>
                  </a:lnTo>
                  <a:lnTo>
                    <a:pt x="130001" y="777695"/>
                  </a:lnTo>
                  <a:lnTo>
                    <a:pt x="128000" y="775986"/>
                  </a:lnTo>
                  <a:lnTo>
                    <a:pt x="121354" y="771572"/>
                  </a:lnTo>
                  <a:lnTo>
                    <a:pt x="115571" y="768224"/>
                  </a:lnTo>
                  <a:lnTo>
                    <a:pt x="107715" y="762596"/>
                  </a:lnTo>
                  <a:lnTo>
                    <a:pt x="102637" y="756427"/>
                  </a:lnTo>
                  <a:lnTo>
                    <a:pt x="98356" y="754464"/>
                  </a:lnTo>
                  <a:lnTo>
                    <a:pt x="90773" y="753352"/>
                  </a:lnTo>
                  <a:lnTo>
                    <a:pt x="85076" y="752262"/>
                  </a:lnTo>
                  <a:lnTo>
                    <a:pt x="80440" y="752018"/>
                  </a:lnTo>
                  <a:lnTo>
                    <a:pt x="72265" y="754930"/>
                  </a:lnTo>
                  <a:lnTo>
                    <a:pt x="66112" y="757804"/>
                  </a:lnTo>
                  <a:lnTo>
                    <a:pt x="61722" y="760584"/>
                  </a:lnTo>
                  <a:lnTo>
                    <a:pt x="54104" y="763775"/>
                  </a:lnTo>
                  <a:lnTo>
                    <a:pt x="47684" y="766954"/>
                  </a:lnTo>
                  <a:lnTo>
                    <a:pt x="36498" y="766539"/>
                  </a:lnTo>
                  <a:lnTo>
                    <a:pt x="34079" y="766997"/>
                  </a:lnTo>
                  <a:lnTo>
                    <a:pt x="27857" y="766788"/>
                  </a:lnTo>
                  <a:lnTo>
                    <a:pt x="21991" y="764018"/>
                  </a:lnTo>
                  <a:lnTo>
                    <a:pt x="16045" y="764262"/>
                  </a:lnTo>
                  <a:lnTo>
                    <a:pt x="9445" y="767800"/>
                  </a:lnTo>
                  <a:lnTo>
                    <a:pt x="0" y="769183"/>
                  </a:lnTo>
                  <a:lnTo>
                    <a:pt x="2191" y="746147"/>
                  </a:lnTo>
                  <a:lnTo>
                    <a:pt x="4495" y="735966"/>
                  </a:lnTo>
                  <a:lnTo>
                    <a:pt x="4551" y="723808"/>
                  </a:lnTo>
                  <a:lnTo>
                    <a:pt x="3193" y="692327"/>
                  </a:lnTo>
                  <a:lnTo>
                    <a:pt x="1562" y="688009"/>
                  </a:lnTo>
                  <a:lnTo>
                    <a:pt x="464" y="682947"/>
                  </a:lnTo>
                  <a:lnTo>
                    <a:pt x="6316" y="679090"/>
                  </a:lnTo>
                  <a:lnTo>
                    <a:pt x="9289" y="676143"/>
                  </a:lnTo>
                  <a:lnTo>
                    <a:pt x="13315" y="670933"/>
                  </a:lnTo>
                  <a:lnTo>
                    <a:pt x="16173" y="663637"/>
                  </a:lnTo>
                  <a:lnTo>
                    <a:pt x="19556" y="647547"/>
                  </a:lnTo>
                  <a:lnTo>
                    <a:pt x="31829" y="610570"/>
                  </a:lnTo>
                  <a:lnTo>
                    <a:pt x="37661" y="574404"/>
                  </a:lnTo>
                  <a:lnTo>
                    <a:pt x="45051" y="557285"/>
                  </a:lnTo>
                  <a:lnTo>
                    <a:pt x="47823" y="538126"/>
                  </a:lnTo>
                  <a:lnTo>
                    <a:pt x="68384" y="513419"/>
                  </a:lnTo>
                  <a:lnTo>
                    <a:pt x="73451" y="498245"/>
                  </a:lnTo>
                  <a:lnTo>
                    <a:pt x="84082" y="490812"/>
                  </a:lnTo>
                  <a:lnTo>
                    <a:pt x="99144" y="482886"/>
                  </a:lnTo>
                  <a:lnTo>
                    <a:pt x="109863" y="468800"/>
                  </a:lnTo>
                  <a:lnTo>
                    <a:pt x="115049" y="459044"/>
                  </a:lnTo>
                  <a:lnTo>
                    <a:pt x="120961" y="440362"/>
                  </a:lnTo>
                  <a:lnTo>
                    <a:pt x="120896" y="420867"/>
                  </a:lnTo>
                  <a:lnTo>
                    <a:pt x="124641" y="394866"/>
                  </a:lnTo>
                  <a:lnTo>
                    <a:pt x="123819" y="387391"/>
                  </a:lnTo>
                  <a:lnTo>
                    <a:pt x="118215" y="377054"/>
                  </a:lnTo>
                  <a:lnTo>
                    <a:pt x="117173" y="369653"/>
                  </a:lnTo>
                  <a:lnTo>
                    <a:pt x="111969" y="362392"/>
                  </a:lnTo>
                  <a:lnTo>
                    <a:pt x="106397" y="356906"/>
                  </a:lnTo>
                  <a:lnTo>
                    <a:pt x="103789" y="347116"/>
                  </a:lnTo>
                  <a:lnTo>
                    <a:pt x="94124" y="331672"/>
                  </a:lnTo>
                  <a:lnTo>
                    <a:pt x="91475" y="321375"/>
                  </a:lnTo>
                  <a:lnTo>
                    <a:pt x="86847" y="313988"/>
                  </a:lnTo>
                  <a:lnTo>
                    <a:pt x="86107" y="304873"/>
                  </a:lnTo>
                  <a:lnTo>
                    <a:pt x="83665" y="295251"/>
                  </a:lnTo>
                  <a:lnTo>
                    <a:pt x="78948" y="285737"/>
                  </a:lnTo>
                  <a:lnTo>
                    <a:pt x="74359" y="274849"/>
                  </a:lnTo>
                  <a:lnTo>
                    <a:pt x="74359" y="271444"/>
                  </a:lnTo>
                  <a:lnTo>
                    <a:pt x="77217" y="267341"/>
                  </a:lnTo>
                  <a:lnTo>
                    <a:pt x="79941" y="265994"/>
                  </a:lnTo>
                  <a:lnTo>
                    <a:pt x="79020" y="268056"/>
                  </a:lnTo>
                  <a:lnTo>
                    <a:pt x="77207" y="270499"/>
                  </a:lnTo>
                  <a:lnTo>
                    <a:pt x="77633" y="272390"/>
                  </a:lnTo>
                  <a:lnTo>
                    <a:pt x="95707" y="253311"/>
                  </a:lnTo>
                  <a:lnTo>
                    <a:pt x="96854" y="249582"/>
                  </a:lnTo>
                  <a:lnTo>
                    <a:pt x="96246" y="245412"/>
                  </a:lnTo>
                  <a:lnTo>
                    <a:pt x="96147" y="240309"/>
                  </a:lnTo>
                  <a:lnTo>
                    <a:pt x="96864" y="234373"/>
                  </a:lnTo>
                  <a:lnTo>
                    <a:pt x="79824" y="199234"/>
                  </a:lnTo>
                  <a:lnTo>
                    <a:pt x="66292" y="166577"/>
                  </a:lnTo>
                  <a:lnTo>
                    <a:pt x="63988" y="150088"/>
                  </a:lnTo>
                  <a:lnTo>
                    <a:pt x="46093" y="128405"/>
                  </a:lnTo>
                  <a:lnTo>
                    <a:pt x="39037" y="114316"/>
                  </a:lnTo>
                  <a:lnTo>
                    <a:pt x="35017" y="104437"/>
                  </a:lnTo>
                  <a:lnTo>
                    <a:pt x="31998" y="100693"/>
                  </a:lnTo>
                  <a:lnTo>
                    <a:pt x="33137" y="98807"/>
                  </a:lnTo>
                  <a:lnTo>
                    <a:pt x="37746" y="98311"/>
                  </a:lnTo>
                  <a:lnTo>
                    <a:pt x="48002" y="96032"/>
                  </a:lnTo>
                  <a:lnTo>
                    <a:pt x="62046" y="93535"/>
                  </a:lnTo>
                  <a:lnTo>
                    <a:pt x="75024" y="87814"/>
                  </a:lnTo>
                  <a:lnTo>
                    <a:pt x="78484" y="85269"/>
                  </a:lnTo>
                  <a:lnTo>
                    <a:pt x="85365" y="84761"/>
                  </a:lnTo>
                  <a:lnTo>
                    <a:pt x="92370" y="86282"/>
                  </a:lnTo>
                  <a:lnTo>
                    <a:pt x="94968" y="85184"/>
                  </a:lnTo>
                  <a:lnTo>
                    <a:pt x="96449" y="85090"/>
                  </a:lnTo>
                  <a:lnTo>
                    <a:pt x="112888" y="85085"/>
                  </a:lnTo>
                  <a:close/>
                  <a:moveTo>
                    <a:pt x="65454" y="0"/>
                  </a:moveTo>
                  <a:lnTo>
                    <a:pt x="67401" y="961"/>
                  </a:lnTo>
                  <a:lnTo>
                    <a:pt x="72753" y="7291"/>
                  </a:lnTo>
                  <a:lnTo>
                    <a:pt x="77293" y="11295"/>
                  </a:lnTo>
                  <a:lnTo>
                    <a:pt x="78756" y="12217"/>
                  </a:lnTo>
                  <a:lnTo>
                    <a:pt x="77842" y="13186"/>
                  </a:lnTo>
                  <a:lnTo>
                    <a:pt x="71333" y="15811"/>
                  </a:lnTo>
                  <a:lnTo>
                    <a:pt x="64358" y="18262"/>
                  </a:lnTo>
                  <a:lnTo>
                    <a:pt x="55187" y="28280"/>
                  </a:lnTo>
                  <a:lnTo>
                    <a:pt x="50532" y="32616"/>
                  </a:lnTo>
                  <a:lnTo>
                    <a:pt x="49187" y="33696"/>
                  </a:lnTo>
                  <a:lnTo>
                    <a:pt x="44995" y="36090"/>
                  </a:lnTo>
                  <a:lnTo>
                    <a:pt x="41958" y="38145"/>
                  </a:lnTo>
                  <a:lnTo>
                    <a:pt x="42062" y="39281"/>
                  </a:lnTo>
                  <a:lnTo>
                    <a:pt x="44087" y="40590"/>
                  </a:lnTo>
                  <a:lnTo>
                    <a:pt x="46158" y="42741"/>
                  </a:lnTo>
                  <a:lnTo>
                    <a:pt x="45954" y="59112"/>
                  </a:lnTo>
                  <a:lnTo>
                    <a:pt x="45051" y="75224"/>
                  </a:lnTo>
                  <a:lnTo>
                    <a:pt x="43918" y="76590"/>
                  </a:lnTo>
                  <a:lnTo>
                    <a:pt x="38085" y="77123"/>
                  </a:lnTo>
                  <a:lnTo>
                    <a:pt x="30338" y="78237"/>
                  </a:lnTo>
                  <a:lnTo>
                    <a:pt x="27874" y="78963"/>
                  </a:lnTo>
                  <a:lnTo>
                    <a:pt x="27006" y="77372"/>
                  </a:lnTo>
                  <a:lnTo>
                    <a:pt x="24427" y="71477"/>
                  </a:lnTo>
                  <a:lnTo>
                    <a:pt x="25884" y="65889"/>
                  </a:lnTo>
                  <a:lnTo>
                    <a:pt x="27451" y="61708"/>
                  </a:lnTo>
                  <a:lnTo>
                    <a:pt x="25710" y="53185"/>
                  </a:lnTo>
                  <a:lnTo>
                    <a:pt x="21767" y="45607"/>
                  </a:lnTo>
                  <a:lnTo>
                    <a:pt x="17586" y="35986"/>
                  </a:lnTo>
                  <a:lnTo>
                    <a:pt x="16305" y="34154"/>
                  </a:lnTo>
                  <a:lnTo>
                    <a:pt x="19811" y="31057"/>
                  </a:lnTo>
                  <a:lnTo>
                    <a:pt x="25115" y="24262"/>
                  </a:lnTo>
                  <a:lnTo>
                    <a:pt x="27319" y="20756"/>
                  </a:lnTo>
                  <a:lnTo>
                    <a:pt x="33456" y="19979"/>
                  </a:lnTo>
                  <a:lnTo>
                    <a:pt x="35751" y="17520"/>
                  </a:lnTo>
                  <a:lnTo>
                    <a:pt x="37372" y="13580"/>
                  </a:lnTo>
                  <a:lnTo>
                    <a:pt x="37996" y="11290"/>
                  </a:lnTo>
                  <a:lnTo>
                    <a:pt x="44920" y="9412"/>
                  </a:lnTo>
                  <a:lnTo>
                    <a:pt x="53226" y="6069"/>
                  </a:lnTo>
                  <a:lnTo>
                    <a:pt x="57831" y="2424"/>
                  </a:lnTo>
                  <a:lnTo>
                    <a:pt x="62497" y="99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63" name="ee4p_BI_1_37365">
              <a:extLst>
                <a:ext uri="{FF2B5EF4-FFF2-40B4-BE49-F238E27FC236}">
                  <a16:creationId xmlns:a16="http://schemas.microsoft.com/office/drawing/2014/main" id="{2094CCDA-6681-AD4A-2E51-9A0851FC52D9}"/>
                </a:ext>
              </a:extLst>
            </p:cNvPr>
            <p:cNvSpPr>
              <a:spLocks noChangeAspect="1"/>
            </p:cNvSpPr>
            <p:nvPr>
              <p:custDataLst>
                <p:tags r:id="rId317"/>
              </p:custDataLst>
            </p:nvPr>
          </p:nvSpPr>
          <p:spPr>
            <a:xfrm>
              <a:off x="7320404" y="4743680"/>
              <a:ext cx="49910" cy="61198"/>
            </a:xfrm>
            <a:custGeom>
              <a:avLst/>
              <a:gdLst/>
              <a:ahLst/>
              <a:cxnLst/>
              <a:rect l="0" t="0" r="0" b="0"/>
              <a:pathLst>
                <a:path w="39742" h="47439">
                  <a:moveTo>
                    <a:pt x="34041" y="1927"/>
                  </a:moveTo>
                  <a:lnTo>
                    <a:pt x="33600" y="2506"/>
                  </a:lnTo>
                  <a:lnTo>
                    <a:pt x="31573" y="6648"/>
                  </a:lnTo>
                  <a:lnTo>
                    <a:pt x="31180" y="7271"/>
                  </a:lnTo>
                  <a:lnTo>
                    <a:pt x="31404" y="7653"/>
                  </a:lnTo>
                  <a:lnTo>
                    <a:pt x="32266" y="8438"/>
                  </a:lnTo>
                  <a:lnTo>
                    <a:pt x="31761" y="9741"/>
                  </a:lnTo>
                  <a:lnTo>
                    <a:pt x="31558" y="10091"/>
                  </a:lnTo>
                  <a:lnTo>
                    <a:pt x="31175" y="11307"/>
                  </a:lnTo>
                  <a:lnTo>
                    <a:pt x="31385" y="12425"/>
                  </a:lnTo>
                  <a:lnTo>
                    <a:pt x="31873" y="12838"/>
                  </a:lnTo>
                  <a:lnTo>
                    <a:pt x="33188" y="13378"/>
                  </a:lnTo>
                  <a:lnTo>
                    <a:pt x="35162" y="13769"/>
                  </a:lnTo>
                  <a:lnTo>
                    <a:pt x="37487" y="14698"/>
                  </a:lnTo>
                  <a:lnTo>
                    <a:pt x="39053" y="14867"/>
                  </a:lnTo>
                  <a:lnTo>
                    <a:pt x="39420" y="15537"/>
                  </a:lnTo>
                  <a:lnTo>
                    <a:pt x="39347" y="16737"/>
                  </a:lnTo>
                  <a:lnTo>
                    <a:pt x="39735" y="17778"/>
                  </a:lnTo>
                  <a:lnTo>
                    <a:pt x="39741" y="19641"/>
                  </a:lnTo>
                  <a:lnTo>
                    <a:pt x="39273" y="21280"/>
                  </a:lnTo>
                  <a:lnTo>
                    <a:pt x="36876" y="22049"/>
                  </a:lnTo>
                  <a:lnTo>
                    <a:pt x="35643" y="22890"/>
                  </a:lnTo>
                  <a:lnTo>
                    <a:pt x="35308" y="23312"/>
                  </a:lnTo>
                  <a:lnTo>
                    <a:pt x="35611" y="23805"/>
                  </a:lnTo>
                  <a:lnTo>
                    <a:pt x="35773" y="24469"/>
                  </a:lnTo>
                  <a:lnTo>
                    <a:pt x="33516" y="26103"/>
                  </a:lnTo>
                  <a:lnTo>
                    <a:pt x="31197" y="28237"/>
                  </a:lnTo>
                  <a:lnTo>
                    <a:pt x="30644" y="29677"/>
                  </a:lnTo>
                  <a:lnTo>
                    <a:pt x="30182" y="31379"/>
                  </a:lnTo>
                  <a:lnTo>
                    <a:pt x="29504" y="32464"/>
                  </a:lnTo>
                  <a:lnTo>
                    <a:pt x="27738" y="34030"/>
                  </a:lnTo>
                  <a:lnTo>
                    <a:pt x="25937" y="37183"/>
                  </a:lnTo>
                  <a:lnTo>
                    <a:pt x="25054" y="39231"/>
                  </a:lnTo>
                  <a:lnTo>
                    <a:pt x="20633" y="44148"/>
                  </a:lnTo>
                  <a:lnTo>
                    <a:pt x="16703" y="46601"/>
                  </a:lnTo>
                  <a:lnTo>
                    <a:pt x="15559" y="47438"/>
                  </a:lnTo>
                  <a:lnTo>
                    <a:pt x="8603" y="47293"/>
                  </a:lnTo>
                  <a:lnTo>
                    <a:pt x="8072" y="43979"/>
                  </a:lnTo>
                  <a:lnTo>
                    <a:pt x="7014" y="39454"/>
                  </a:lnTo>
                  <a:lnTo>
                    <a:pt x="4623" y="35366"/>
                  </a:lnTo>
                  <a:lnTo>
                    <a:pt x="4371" y="33660"/>
                  </a:lnTo>
                  <a:lnTo>
                    <a:pt x="4481" y="30364"/>
                  </a:lnTo>
                  <a:lnTo>
                    <a:pt x="4490" y="25731"/>
                  </a:lnTo>
                  <a:lnTo>
                    <a:pt x="4332" y="23243"/>
                  </a:lnTo>
                  <a:lnTo>
                    <a:pt x="4382" y="21427"/>
                  </a:lnTo>
                  <a:lnTo>
                    <a:pt x="4686" y="18271"/>
                  </a:lnTo>
                  <a:lnTo>
                    <a:pt x="4649" y="16387"/>
                  </a:lnTo>
                  <a:lnTo>
                    <a:pt x="3076" y="14212"/>
                  </a:lnTo>
                  <a:lnTo>
                    <a:pt x="1119" y="11900"/>
                  </a:lnTo>
                  <a:lnTo>
                    <a:pt x="54" y="10767"/>
                  </a:lnTo>
                  <a:lnTo>
                    <a:pt x="0" y="9853"/>
                  </a:lnTo>
                  <a:lnTo>
                    <a:pt x="5" y="9010"/>
                  </a:lnTo>
                  <a:lnTo>
                    <a:pt x="320" y="7779"/>
                  </a:lnTo>
                  <a:lnTo>
                    <a:pt x="1084" y="6407"/>
                  </a:lnTo>
                  <a:lnTo>
                    <a:pt x="1944" y="6255"/>
                  </a:lnTo>
                  <a:lnTo>
                    <a:pt x="4056" y="6800"/>
                  </a:lnTo>
                  <a:lnTo>
                    <a:pt x="6256" y="7967"/>
                  </a:lnTo>
                  <a:lnTo>
                    <a:pt x="7422" y="10588"/>
                  </a:lnTo>
                  <a:lnTo>
                    <a:pt x="8316" y="10966"/>
                  </a:lnTo>
                  <a:lnTo>
                    <a:pt x="9940" y="10962"/>
                  </a:lnTo>
                  <a:lnTo>
                    <a:pt x="14090" y="10616"/>
                  </a:lnTo>
                  <a:lnTo>
                    <a:pt x="15122" y="10659"/>
                  </a:lnTo>
                  <a:lnTo>
                    <a:pt x="17010" y="10033"/>
                  </a:lnTo>
                  <a:lnTo>
                    <a:pt x="18884" y="8926"/>
                  </a:lnTo>
                  <a:lnTo>
                    <a:pt x="19424" y="7781"/>
                  </a:lnTo>
                  <a:lnTo>
                    <a:pt x="19862" y="5214"/>
                  </a:lnTo>
                  <a:lnTo>
                    <a:pt x="20255" y="588"/>
                  </a:lnTo>
                  <a:lnTo>
                    <a:pt x="21212" y="534"/>
                  </a:lnTo>
                  <a:lnTo>
                    <a:pt x="23831" y="2180"/>
                  </a:lnTo>
                  <a:lnTo>
                    <a:pt x="24393" y="2292"/>
                  </a:lnTo>
                  <a:lnTo>
                    <a:pt x="24946" y="2234"/>
                  </a:lnTo>
                  <a:lnTo>
                    <a:pt x="25852" y="1418"/>
                  </a:lnTo>
                  <a:lnTo>
                    <a:pt x="26969" y="754"/>
                  </a:lnTo>
                  <a:lnTo>
                    <a:pt x="27791" y="772"/>
                  </a:lnTo>
                  <a:lnTo>
                    <a:pt x="30832" y="0"/>
                  </a:lnTo>
                  <a:lnTo>
                    <a:pt x="32462" y="1396"/>
                  </a:lnTo>
                  <a:lnTo>
                    <a:pt x="33495" y="1828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64" name="ee4p_BJ_1_37365">
              <a:extLst>
                <a:ext uri="{FF2B5EF4-FFF2-40B4-BE49-F238E27FC236}">
                  <a16:creationId xmlns:a16="http://schemas.microsoft.com/office/drawing/2014/main" id="{499BC157-B051-EC6E-606F-13947744E49D}"/>
                </a:ext>
              </a:extLst>
            </p:cNvPr>
            <p:cNvSpPr>
              <a:spLocks noChangeAspect="1"/>
            </p:cNvSpPr>
            <p:nvPr>
              <p:custDataLst>
                <p:tags r:id="rId318"/>
              </p:custDataLst>
            </p:nvPr>
          </p:nvSpPr>
          <p:spPr>
            <a:xfrm>
              <a:off x="6535899" y="4322660"/>
              <a:ext cx="85283" cy="177471"/>
            </a:xfrm>
            <a:custGeom>
              <a:avLst/>
              <a:gdLst/>
              <a:ahLst/>
              <a:cxnLst/>
              <a:rect l="0" t="0" r="0" b="0"/>
              <a:pathLst>
                <a:path w="67909" h="137570">
                  <a:moveTo>
                    <a:pt x="62622" y="15421"/>
                  </a:moveTo>
                  <a:lnTo>
                    <a:pt x="61705" y="16865"/>
                  </a:lnTo>
                  <a:lnTo>
                    <a:pt x="60303" y="19836"/>
                  </a:lnTo>
                  <a:lnTo>
                    <a:pt x="60243" y="22162"/>
                  </a:lnTo>
                  <a:lnTo>
                    <a:pt x="63583" y="27055"/>
                  </a:lnTo>
                  <a:lnTo>
                    <a:pt x="63968" y="27553"/>
                  </a:lnTo>
                  <a:lnTo>
                    <a:pt x="64831" y="28321"/>
                  </a:lnTo>
                  <a:lnTo>
                    <a:pt x="65298" y="29232"/>
                  </a:lnTo>
                  <a:lnTo>
                    <a:pt x="65691" y="31641"/>
                  </a:lnTo>
                  <a:lnTo>
                    <a:pt x="65928" y="34359"/>
                  </a:lnTo>
                  <a:lnTo>
                    <a:pt x="66191" y="36186"/>
                  </a:lnTo>
                  <a:lnTo>
                    <a:pt x="67803" y="38757"/>
                  </a:lnTo>
                  <a:lnTo>
                    <a:pt x="67908" y="39793"/>
                  </a:lnTo>
                  <a:lnTo>
                    <a:pt x="66788" y="43628"/>
                  </a:lnTo>
                  <a:lnTo>
                    <a:pt x="66522" y="44036"/>
                  </a:lnTo>
                  <a:lnTo>
                    <a:pt x="66228" y="44146"/>
                  </a:lnTo>
                  <a:lnTo>
                    <a:pt x="64499" y="43809"/>
                  </a:lnTo>
                  <a:lnTo>
                    <a:pt x="63754" y="44229"/>
                  </a:lnTo>
                  <a:lnTo>
                    <a:pt x="62814" y="45532"/>
                  </a:lnTo>
                  <a:lnTo>
                    <a:pt x="62236" y="46833"/>
                  </a:lnTo>
                  <a:lnTo>
                    <a:pt x="62205" y="47371"/>
                  </a:lnTo>
                  <a:lnTo>
                    <a:pt x="63739" y="49789"/>
                  </a:lnTo>
                  <a:lnTo>
                    <a:pt x="62769" y="53264"/>
                  </a:lnTo>
                  <a:lnTo>
                    <a:pt x="61778" y="55434"/>
                  </a:lnTo>
                  <a:lnTo>
                    <a:pt x="59998" y="56671"/>
                  </a:lnTo>
                  <a:lnTo>
                    <a:pt x="58407" y="56968"/>
                  </a:lnTo>
                  <a:lnTo>
                    <a:pt x="57295" y="57545"/>
                  </a:lnTo>
                  <a:lnTo>
                    <a:pt x="56647" y="58311"/>
                  </a:lnTo>
                  <a:lnTo>
                    <a:pt x="56742" y="60798"/>
                  </a:lnTo>
                  <a:lnTo>
                    <a:pt x="54397" y="63061"/>
                  </a:lnTo>
                  <a:lnTo>
                    <a:pt x="53097" y="64643"/>
                  </a:lnTo>
                  <a:lnTo>
                    <a:pt x="52466" y="65604"/>
                  </a:lnTo>
                  <a:lnTo>
                    <a:pt x="52730" y="68526"/>
                  </a:lnTo>
                  <a:lnTo>
                    <a:pt x="51899" y="71476"/>
                  </a:lnTo>
                  <a:lnTo>
                    <a:pt x="50450" y="73805"/>
                  </a:lnTo>
                  <a:lnTo>
                    <a:pt x="47202" y="74305"/>
                  </a:lnTo>
                  <a:lnTo>
                    <a:pt x="44477" y="74592"/>
                  </a:lnTo>
                  <a:lnTo>
                    <a:pt x="43550" y="80520"/>
                  </a:lnTo>
                  <a:lnTo>
                    <a:pt x="43589" y="84273"/>
                  </a:lnTo>
                  <a:lnTo>
                    <a:pt x="43345" y="88106"/>
                  </a:lnTo>
                  <a:lnTo>
                    <a:pt x="42892" y="89666"/>
                  </a:lnTo>
                  <a:lnTo>
                    <a:pt x="43077" y="91867"/>
                  </a:lnTo>
                  <a:lnTo>
                    <a:pt x="42875" y="96834"/>
                  </a:lnTo>
                  <a:lnTo>
                    <a:pt x="42514" y="100752"/>
                  </a:lnTo>
                  <a:lnTo>
                    <a:pt x="42993" y="101800"/>
                  </a:lnTo>
                  <a:lnTo>
                    <a:pt x="43274" y="104102"/>
                  </a:lnTo>
                  <a:lnTo>
                    <a:pt x="43250" y="106478"/>
                  </a:lnTo>
                  <a:lnTo>
                    <a:pt x="43950" y="108132"/>
                  </a:lnTo>
                  <a:lnTo>
                    <a:pt x="44706" y="109578"/>
                  </a:lnTo>
                  <a:lnTo>
                    <a:pt x="44680" y="110322"/>
                  </a:lnTo>
                  <a:lnTo>
                    <a:pt x="44278" y="110786"/>
                  </a:lnTo>
                  <a:lnTo>
                    <a:pt x="43939" y="111396"/>
                  </a:lnTo>
                  <a:lnTo>
                    <a:pt x="43941" y="116994"/>
                  </a:lnTo>
                  <a:lnTo>
                    <a:pt x="44077" y="118667"/>
                  </a:lnTo>
                  <a:lnTo>
                    <a:pt x="43878" y="119736"/>
                  </a:lnTo>
                  <a:lnTo>
                    <a:pt x="43296" y="120615"/>
                  </a:lnTo>
                  <a:lnTo>
                    <a:pt x="43525" y="123446"/>
                  </a:lnTo>
                  <a:lnTo>
                    <a:pt x="43993" y="125249"/>
                  </a:lnTo>
                  <a:lnTo>
                    <a:pt x="44473" y="126580"/>
                  </a:lnTo>
                  <a:lnTo>
                    <a:pt x="44010" y="127690"/>
                  </a:lnTo>
                  <a:lnTo>
                    <a:pt x="43611" y="129157"/>
                  </a:lnTo>
                  <a:lnTo>
                    <a:pt x="43000" y="132887"/>
                  </a:lnTo>
                  <a:lnTo>
                    <a:pt x="42965" y="134185"/>
                  </a:lnTo>
                  <a:lnTo>
                    <a:pt x="33688" y="135099"/>
                  </a:lnTo>
                  <a:lnTo>
                    <a:pt x="23324" y="136596"/>
                  </a:lnTo>
                  <a:lnTo>
                    <a:pt x="19000" y="137569"/>
                  </a:lnTo>
                  <a:lnTo>
                    <a:pt x="18741" y="136813"/>
                  </a:lnTo>
                  <a:lnTo>
                    <a:pt x="22434" y="135841"/>
                  </a:lnTo>
                  <a:lnTo>
                    <a:pt x="21665" y="132919"/>
                  </a:lnTo>
                  <a:lnTo>
                    <a:pt x="19368" y="129471"/>
                  </a:lnTo>
                  <a:lnTo>
                    <a:pt x="18467" y="128835"/>
                  </a:lnTo>
                  <a:lnTo>
                    <a:pt x="18003" y="127120"/>
                  </a:lnTo>
                  <a:lnTo>
                    <a:pt x="18564" y="125995"/>
                  </a:lnTo>
                  <a:lnTo>
                    <a:pt x="18296" y="125235"/>
                  </a:lnTo>
                  <a:lnTo>
                    <a:pt x="18102" y="122909"/>
                  </a:lnTo>
                  <a:lnTo>
                    <a:pt x="16973" y="120345"/>
                  </a:lnTo>
                  <a:lnTo>
                    <a:pt x="19046" y="120236"/>
                  </a:lnTo>
                  <a:lnTo>
                    <a:pt x="19046" y="111972"/>
                  </a:lnTo>
                  <a:lnTo>
                    <a:pt x="19044" y="104041"/>
                  </a:lnTo>
                  <a:lnTo>
                    <a:pt x="19044" y="97270"/>
                  </a:lnTo>
                  <a:lnTo>
                    <a:pt x="19044" y="91911"/>
                  </a:lnTo>
                  <a:lnTo>
                    <a:pt x="18646" y="85493"/>
                  </a:lnTo>
                  <a:lnTo>
                    <a:pt x="18584" y="80777"/>
                  </a:lnTo>
                  <a:lnTo>
                    <a:pt x="18504" y="74558"/>
                  </a:lnTo>
                  <a:lnTo>
                    <a:pt x="17755" y="72614"/>
                  </a:lnTo>
                  <a:lnTo>
                    <a:pt x="14615" y="69320"/>
                  </a:lnTo>
                  <a:lnTo>
                    <a:pt x="13762" y="67610"/>
                  </a:lnTo>
                  <a:lnTo>
                    <a:pt x="13611" y="65350"/>
                  </a:lnTo>
                  <a:lnTo>
                    <a:pt x="12907" y="63018"/>
                  </a:lnTo>
                  <a:lnTo>
                    <a:pt x="12863" y="58942"/>
                  </a:lnTo>
                  <a:lnTo>
                    <a:pt x="12814" y="54193"/>
                  </a:lnTo>
                  <a:lnTo>
                    <a:pt x="12531" y="53433"/>
                  </a:lnTo>
                  <a:lnTo>
                    <a:pt x="9128" y="51168"/>
                  </a:lnTo>
                  <a:lnTo>
                    <a:pt x="4310" y="47959"/>
                  </a:lnTo>
                  <a:lnTo>
                    <a:pt x="637" y="45512"/>
                  </a:lnTo>
                  <a:lnTo>
                    <a:pt x="367" y="45333"/>
                  </a:lnTo>
                  <a:lnTo>
                    <a:pt x="0" y="44728"/>
                  </a:lnTo>
                  <a:lnTo>
                    <a:pt x="533" y="37494"/>
                  </a:lnTo>
                  <a:lnTo>
                    <a:pt x="1293" y="36547"/>
                  </a:lnTo>
                  <a:lnTo>
                    <a:pt x="2464" y="33569"/>
                  </a:lnTo>
                  <a:lnTo>
                    <a:pt x="3032" y="31164"/>
                  </a:lnTo>
                  <a:lnTo>
                    <a:pt x="3565" y="31174"/>
                  </a:lnTo>
                  <a:lnTo>
                    <a:pt x="4303" y="30391"/>
                  </a:lnTo>
                  <a:lnTo>
                    <a:pt x="4902" y="29245"/>
                  </a:lnTo>
                  <a:lnTo>
                    <a:pt x="5539" y="29489"/>
                  </a:lnTo>
                  <a:lnTo>
                    <a:pt x="6610" y="29711"/>
                  </a:lnTo>
                  <a:lnTo>
                    <a:pt x="7102" y="29304"/>
                  </a:lnTo>
                  <a:lnTo>
                    <a:pt x="7035" y="28417"/>
                  </a:lnTo>
                  <a:lnTo>
                    <a:pt x="7389" y="27514"/>
                  </a:lnTo>
                  <a:lnTo>
                    <a:pt x="8230" y="27111"/>
                  </a:lnTo>
                  <a:lnTo>
                    <a:pt x="8450" y="26304"/>
                  </a:lnTo>
                  <a:lnTo>
                    <a:pt x="8456" y="25375"/>
                  </a:lnTo>
                  <a:lnTo>
                    <a:pt x="9184" y="25132"/>
                  </a:lnTo>
                  <a:lnTo>
                    <a:pt x="10421" y="25171"/>
                  </a:lnTo>
                  <a:lnTo>
                    <a:pt x="11434" y="24881"/>
                  </a:lnTo>
                  <a:lnTo>
                    <a:pt x="12250" y="24404"/>
                  </a:lnTo>
                  <a:lnTo>
                    <a:pt x="13300" y="22531"/>
                  </a:lnTo>
                  <a:lnTo>
                    <a:pt x="13889" y="21880"/>
                  </a:lnTo>
                  <a:lnTo>
                    <a:pt x="14071" y="21416"/>
                  </a:lnTo>
                  <a:lnTo>
                    <a:pt x="14669" y="21003"/>
                  </a:lnTo>
                  <a:lnTo>
                    <a:pt x="16319" y="20814"/>
                  </a:lnTo>
                  <a:lnTo>
                    <a:pt x="17646" y="20959"/>
                  </a:lnTo>
                  <a:lnTo>
                    <a:pt x="18499" y="22045"/>
                  </a:lnTo>
                  <a:lnTo>
                    <a:pt x="24196" y="21088"/>
                  </a:lnTo>
                  <a:lnTo>
                    <a:pt x="26910" y="21647"/>
                  </a:lnTo>
                  <a:lnTo>
                    <a:pt x="32449" y="16926"/>
                  </a:lnTo>
                  <a:lnTo>
                    <a:pt x="33695" y="15534"/>
                  </a:lnTo>
                  <a:lnTo>
                    <a:pt x="35377" y="12198"/>
                  </a:lnTo>
                  <a:lnTo>
                    <a:pt x="35950" y="10921"/>
                  </a:lnTo>
                  <a:lnTo>
                    <a:pt x="36470" y="8628"/>
                  </a:lnTo>
                  <a:lnTo>
                    <a:pt x="35377" y="4386"/>
                  </a:lnTo>
                  <a:lnTo>
                    <a:pt x="35438" y="3634"/>
                  </a:lnTo>
                  <a:lnTo>
                    <a:pt x="37722" y="2717"/>
                  </a:lnTo>
                  <a:lnTo>
                    <a:pt x="40577" y="2009"/>
                  </a:lnTo>
                  <a:lnTo>
                    <a:pt x="41683" y="1955"/>
                  </a:lnTo>
                  <a:lnTo>
                    <a:pt x="42410" y="1595"/>
                  </a:lnTo>
                  <a:lnTo>
                    <a:pt x="43453" y="679"/>
                  </a:lnTo>
                  <a:lnTo>
                    <a:pt x="45151" y="0"/>
                  </a:lnTo>
                  <a:lnTo>
                    <a:pt x="46144" y="229"/>
                  </a:lnTo>
                  <a:lnTo>
                    <a:pt x="46761" y="362"/>
                  </a:lnTo>
                  <a:lnTo>
                    <a:pt x="52764" y="5964"/>
                  </a:lnTo>
                  <a:lnTo>
                    <a:pt x="55369" y="8795"/>
                  </a:lnTo>
                  <a:lnTo>
                    <a:pt x="56070" y="10246"/>
                  </a:lnTo>
                  <a:lnTo>
                    <a:pt x="57416" y="11293"/>
                  </a:lnTo>
                  <a:lnTo>
                    <a:pt x="59402" y="11932"/>
                  </a:lnTo>
                  <a:lnTo>
                    <a:pt x="61214" y="13378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65" name="ee4p_BF_1_37365">
              <a:extLst>
                <a:ext uri="{FF2B5EF4-FFF2-40B4-BE49-F238E27FC236}">
                  <a16:creationId xmlns:a16="http://schemas.microsoft.com/office/drawing/2014/main" id="{7A419C15-31E1-5C1F-BF08-8CACF1B4F44D}"/>
                </a:ext>
              </a:extLst>
            </p:cNvPr>
            <p:cNvSpPr>
              <a:spLocks noChangeAspect="1"/>
            </p:cNvSpPr>
            <p:nvPr>
              <p:custDataLst>
                <p:tags r:id="rId319"/>
              </p:custDataLst>
            </p:nvPr>
          </p:nvSpPr>
          <p:spPr>
            <a:xfrm>
              <a:off x="6361316" y="4244373"/>
              <a:ext cx="219732" cy="163694"/>
            </a:xfrm>
            <a:custGeom>
              <a:avLst/>
              <a:gdLst/>
              <a:ahLst/>
              <a:cxnLst/>
              <a:rect l="0" t="0" r="0" b="0"/>
              <a:pathLst>
                <a:path w="174968" h="126891">
                  <a:moveTo>
                    <a:pt x="126946" y="3762"/>
                  </a:moveTo>
                  <a:lnTo>
                    <a:pt x="126643" y="4811"/>
                  </a:lnTo>
                  <a:lnTo>
                    <a:pt x="126620" y="6669"/>
                  </a:lnTo>
                  <a:lnTo>
                    <a:pt x="126229" y="9603"/>
                  </a:lnTo>
                  <a:lnTo>
                    <a:pt x="125761" y="13118"/>
                  </a:lnTo>
                  <a:lnTo>
                    <a:pt x="127678" y="15393"/>
                  </a:lnTo>
                  <a:lnTo>
                    <a:pt x="129978" y="17839"/>
                  </a:lnTo>
                  <a:lnTo>
                    <a:pt x="130595" y="18792"/>
                  </a:lnTo>
                  <a:lnTo>
                    <a:pt x="129984" y="21200"/>
                  </a:lnTo>
                  <a:lnTo>
                    <a:pt x="130408" y="22612"/>
                  </a:lnTo>
                  <a:lnTo>
                    <a:pt x="131627" y="24963"/>
                  </a:lnTo>
                  <a:lnTo>
                    <a:pt x="133688" y="27946"/>
                  </a:lnTo>
                  <a:lnTo>
                    <a:pt x="135806" y="31017"/>
                  </a:lnTo>
                  <a:lnTo>
                    <a:pt x="137274" y="31423"/>
                  </a:lnTo>
                  <a:lnTo>
                    <a:pt x="138671" y="31668"/>
                  </a:lnTo>
                  <a:lnTo>
                    <a:pt x="139518" y="32219"/>
                  </a:lnTo>
                  <a:lnTo>
                    <a:pt x="140762" y="32751"/>
                  </a:lnTo>
                  <a:lnTo>
                    <a:pt x="141993" y="33099"/>
                  </a:lnTo>
                  <a:lnTo>
                    <a:pt x="143068" y="33770"/>
                  </a:lnTo>
                  <a:lnTo>
                    <a:pt x="143757" y="34428"/>
                  </a:lnTo>
                  <a:lnTo>
                    <a:pt x="144644" y="36321"/>
                  </a:lnTo>
                  <a:lnTo>
                    <a:pt x="147035" y="37570"/>
                  </a:lnTo>
                  <a:lnTo>
                    <a:pt x="148698" y="38804"/>
                  </a:lnTo>
                  <a:lnTo>
                    <a:pt x="148028" y="39432"/>
                  </a:lnTo>
                  <a:lnTo>
                    <a:pt x="145949" y="39181"/>
                  </a:lnTo>
                  <a:lnTo>
                    <a:pt x="143994" y="38639"/>
                  </a:lnTo>
                  <a:lnTo>
                    <a:pt x="143735" y="39547"/>
                  </a:lnTo>
                  <a:lnTo>
                    <a:pt x="143653" y="43014"/>
                  </a:lnTo>
                  <a:lnTo>
                    <a:pt x="143968" y="45903"/>
                  </a:lnTo>
                  <a:lnTo>
                    <a:pt x="144424" y="46287"/>
                  </a:lnTo>
                  <a:lnTo>
                    <a:pt x="146389" y="46820"/>
                  </a:lnTo>
                  <a:lnTo>
                    <a:pt x="151075" y="50570"/>
                  </a:lnTo>
                  <a:lnTo>
                    <a:pt x="155316" y="54116"/>
                  </a:lnTo>
                  <a:lnTo>
                    <a:pt x="156741" y="55038"/>
                  </a:lnTo>
                  <a:lnTo>
                    <a:pt x="159088" y="55388"/>
                  </a:lnTo>
                  <a:lnTo>
                    <a:pt x="161714" y="55535"/>
                  </a:lnTo>
                  <a:lnTo>
                    <a:pt x="162844" y="55207"/>
                  </a:lnTo>
                  <a:lnTo>
                    <a:pt x="165392" y="53420"/>
                  </a:lnTo>
                  <a:lnTo>
                    <a:pt x="166746" y="53223"/>
                  </a:lnTo>
                  <a:lnTo>
                    <a:pt x="167994" y="53273"/>
                  </a:lnTo>
                  <a:lnTo>
                    <a:pt x="168674" y="53559"/>
                  </a:lnTo>
                  <a:lnTo>
                    <a:pt x="169894" y="55015"/>
                  </a:lnTo>
                  <a:lnTo>
                    <a:pt x="171038" y="57216"/>
                  </a:lnTo>
                  <a:lnTo>
                    <a:pt x="171364" y="58841"/>
                  </a:lnTo>
                  <a:lnTo>
                    <a:pt x="171257" y="59712"/>
                  </a:lnTo>
                  <a:lnTo>
                    <a:pt x="170868" y="60041"/>
                  </a:lnTo>
                  <a:lnTo>
                    <a:pt x="168780" y="60462"/>
                  </a:lnTo>
                  <a:lnTo>
                    <a:pt x="167877" y="60792"/>
                  </a:lnTo>
                  <a:lnTo>
                    <a:pt x="167653" y="61267"/>
                  </a:lnTo>
                  <a:lnTo>
                    <a:pt x="167974" y="62358"/>
                  </a:lnTo>
                  <a:lnTo>
                    <a:pt x="168382" y="63063"/>
                  </a:lnTo>
                  <a:lnTo>
                    <a:pt x="170661" y="66238"/>
                  </a:lnTo>
                  <a:lnTo>
                    <a:pt x="173954" y="70510"/>
                  </a:lnTo>
                  <a:lnTo>
                    <a:pt x="174967" y="71607"/>
                  </a:lnTo>
                  <a:lnTo>
                    <a:pt x="174394" y="72884"/>
                  </a:lnTo>
                  <a:lnTo>
                    <a:pt x="172712" y="76220"/>
                  </a:lnTo>
                  <a:lnTo>
                    <a:pt x="171466" y="77612"/>
                  </a:lnTo>
                  <a:lnTo>
                    <a:pt x="165927" y="82333"/>
                  </a:lnTo>
                  <a:lnTo>
                    <a:pt x="163213" y="81774"/>
                  </a:lnTo>
                  <a:lnTo>
                    <a:pt x="157516" y="82731"/>
                  </a:lnTo>
                  <a:lnTo>
                    <a:pt x="156663" y="81645"/>
                  </a:lnTo>
                  <a:lnTo>
                    <a:pt x="155336" y="81500"/>
                  </a:lnTo>
                  <a:lnTo>
                    <a:pt x="153686" y="81689"/>
                  </a:lnTo>
                  <a:lnTo>
                    <a:pt x="153088" y="82102"/>
                  </a:lnTo>
                  <a:lnTo>
                    <a:pt x="152906" y="82566"/>
                  </a:lnTo>
                  <a:lnTo>
                    <a:pt x="152317" y="83217"/>
                  </a:lnTo>
                  <a:lnTo>
                    <a:pt x="151267" y="85090"/>
                  </a:lnTo>
                  <a:lnTo>
                    <a:pt x="150451" y="85567"/>
                  </a:lnTo>
                  <a:lnTo>
                    <a:pt x="149438" y="85857"/>
                  </a:lnTo>
                  <a:lnTo>
                    <a:pt x="148201" y="85818"/>
                  </a:lnTo>
                  <a:lnTo>
                    <a:pt x="147473" y="86061"/>
                  </a:lnTo>
                  <a:lnTo>
                    <a:pt x="147467" y="86990"/>
                  </a:lnTo>
                  <a:lnTo>
                    <a:pt x="147247" y="87797"/>
                  </a:lnTo>
                  <a:lnTo>
                    <a:pt x="146406" y="88200"/>
                  </a:lnTo>
                  <a:lnTo>
                    <a:pt x="146052" y="89103"/>
                  </a:lnTo>
                  <a:lnTo>
                    <a:pt x="146119" y="89990"/>
                  </a:lnTo>
                  <a:lnTo>
                    <a:pt x="145627" y="90397"/>
                  </a:lnTo>
                  <a:lnTo>
                    <a:pt x="144556" y="90175"/>
                  </a:lnTo>
                  <a:lnTo>
                    <a:pt x="143919" y="89931"/>
                  </a:lnTo>
                  <a:lnTo>
                    <a:pt x="143320" y="91077"/>
                  </a:lnTo>
                  <a:lnTo>
                    <a:pt x="142582" y="91860"/>
                  </a:lnTo>
                  <a:lnTo>
                    <a:pt x="142049" y="91850"/>
                  </a:lnTo>
                  <a:lnTo>
                    <a:pt x="136355" y="92078"/>
                  </a:lnTo>
                  <a:lnTo>
                    <a:pt x="134279" y="92697"/>
                  </a:lnTo>
                  <a:lnTo>
                    <a:pt x="133031" y="92706"/>
                  </a:lnTo>
                  <a:lnTo>
                    <a:pt x="132988" y="92187"/>
                  </a:lnTo>
                  <a:lnTo>
                    <a:pt x="132843" y="91878"/>
                  </a:lnTo>
                  <a:lnTo>
                    <a:pt x="125659" y="90141"/>
                  </a:lnTo>
                  <a:lnTo>
                    <a:pt x="120620" y="89112"/>
                  </a:lnTo>
                  <a:lnTo>
                    <a:pt x="115515" y="87964"/>
                  </a:lnTo>
                  <a:lnTo>
                    <a:pt x="115226" y="89038"/>
                  </a:lnTo>
                  <a:lnTo>
                    <a:pt x="114492" y="89731"/>
                  </a:lnTo>
                  <a:lnTo>
                    <a:pt x="113389" y="89782"/>
                  </a:lnTo>
                  <a:lnTo>
                    <a:pt x="112621" y="89612"/>
                  </a:lnTo>
                  <a:lnTo>
                    <a:pt x="112109" y="90439"/>
                  </a:lnTo>
                  <a:lnTo>
                    <a:pt x="111265" y="91529"/>
                  </a:lnTo>
                  <a:lnTo>
                    <a:pt x="110081" y="92064"/>
                  </a:lnTo>
                  <a:lnTo>
                    <a:pt x="108922" y="92736"/>
                  </a:lnTo>
                  <a:lnTo>
                    <a:pt x="108269" y="93324"/>
                  </a:lnTo>
                  <a:lnTo>
                    <a:pt x="107797" y="93338"/>
                  </a:lnTo>
                  <a:lnTo>
                    <a:pt x="106627" y="91946"/>
                  </a:lnTo>
                  <a:lnTo>
                    <a:pt x="105076" y="91805"/>
                  </a:lnTo>
                  <a:lnTo>
                    <a:pt x="102171" y="92041"/>
                  </a:lnTo>
                  <a:lnTo>
                    <a:pt x="100869" y="91661"/>
                  </a:lnTo>
                  <a:lnTo>
                    <a:pt x="99085" y="91474"/>
                  </a:lnTo>
                  <a:lnTo>
                    <a:pt x="94881" y="91761"/>
                  </a:lnTo>
                  <a:lnTo>
                    <a:pt x="88156" y="91192"/>
                  </a:lnTo>
                  <a:lnTo>
                    <a:pt x="87057" y="91500"/>
                  </a:lnTo>
                  <a:lnTo>
                    <a:pt x="86765" y="91752"/>
                  </a:lnTo>
                  <a:lnTo>
                    <a:pt x="80110" y="91818"/>
                  </a:lnTo>
                  <a:lnTo>
                    <a:pt x="72784" y="91891"/>
                  </a:lnTo>
                  <a:lnTo>
                    <a:pt x="66654" y="91952"/>
                  </a:lnTo>
                  <a:lnTo>
                    <a:pt x="61292" y="92004"/>
                  </a:lnTo>
                  <a:lnTo>
                    <a:pt x="61282" y="91767"/>
                  </a:lnTo>
                  <a:lnTo>
                    <a:pt x="59561" y="91735"/>
                  </a:lnTo>
                  <a:lnTo>
                    <a:pt x="59370" y="92203"/>
                  </a:lnTo>
                  <a:lnTo>
                    <a:pt x="57850" y="97784"/>
                  </a:lnTo>
                  <a:lnTo>
                    <a:pt x="57683" y="100817"/>
                  </a:lnTo>
                  <a:lnTo>
                    <a:pt x="58489" y="102703"/>
                  </a:lnTo>
                  <a:lnTo>
                    <a:pt x="59400" y="103895"/>
                  </a:lnTo>
                  <a:lnTo>
                    <a:pt x="60418" y="104391"/>
                  </a:lnTo>
                  <a:lnTo>
                    <a:pt x="60519" y="105073"/>
                  </a:lnTo>
                  <a:lnTo>
                    <a:pt x="59705" y="105944"/>
                  </a:lnTo>
                  <a:lnTo>
                    <a:pt x="59774" y="106840"/>
                  </a:lnTo>
                  <a:lnTo>
                    <a:pt x="60729" y="107762"/>
                  </a:lnTo>
                  <a:lnTo>
                    <a:pt x="60964" y="108731"/>
                  </a:lnTo>
                  <a:lnTo>
                    <a:pt x="60478" y="109750"/>
                  </a:lnTo>
                  <a:lnTo>
                    <a:pt x="60594" y="112195"/>
                  </a:lnTo>
                  <a:lnTo>
                    <a:pt x="61313" y="116068"/>
                  </a:lnTo>
                  <a:lnTo>
                    <a:pt x="61333" y="118578"/>
                  </a:lnTo>
                  <a:lnTo>
                    <a:pt x="60654" y="119725"/>
                  </a:lnTo>
                  <a:lnTo>
                    <a:pt x="60976" y="121684"/>
                  </a:lnTo>
                  <a:lnTo>
                    <a:pt x="62297" y="124454"/>
                  </a:lnTo>
                  <a:lnTo>
                    <a:pt x="62526" y="125627"/>
                  </a:lnTo>
                  <a:lnTo>
                    <a:pt x="62054" y="126167"/>
                  </a:lnTo>
                  <a:lnTo>
                    <a:pt x="60961" y="126890"/>
                  </a:lnTo>
                  <a:lnTo>
                    <a:pt x="59853" y="126865"/>
                  </a:lnTo>
                  <a:lnTo>
                    <a:pt x="58562" y="125190"/>
                  </a:lnTo>
                  <a:lnTo>
                    <a:pt x="57992" y="124438"/>
                  </a:lnTo>
                  <a:lnTo>
                    <a:pt x="56947" y="122740"/>
                  </a:lnTo>
                  <a:lnTo>
                    <a:pt x="56060" y="121030"/>
                  </a:lnTo>
                  <a:lnTo>
                    <a:pt x="54858" y="120282"/>
                  </a:lnTo>
                  <a:lnTo>
                    <a:pt x="53682" y="119585"/>
                  </a:lnTo>
                  <a:lnTo>
                    <a:pt x="52247" y="117419"/>
                  </a:lnTo>
                  <a:lnTo>
                    <a:pt x="50858" y="116385"/>
                  </a:lnTo>
                  <a:lnTo>
                    <a:pt x="49395" y="116681"/>
                  </a:lnTo>
                  <a:lnTo>
                    <a:pt x="47259" y="116277"/>
                  </a:lnTo>
                  <a:lnTo>
                    <a:pt x="42950" y="115741"/>
                  </a:lnTo>
                  <a:lnTo>
                    <a:pt x="38318" y="115900"/>
                  </a:lnTo>
                  <a:lnTo>
                    <a:pt x="36394" y="116397"/>
                  </a:lnTo>
                  <a:lnTo>
                    <a:pt x="34496" y="117185"/>
                  </a:lnTo>
                  <a:lnTo>
                    <a:pt x="29683" y="118924"/>
                  </a:lnTo>
                  <a:lnTo>
                    <a:pt x="27781" y="119782"/>
                  </a:lnTo>
                  <a:lnTo>
                    <a:pt x="26342" y="121959"/>
                  </a:lnTo>
                  <a:lnTo>
                    <a:pt x="24707" y="121908"/>
                  </a:lnTo>
                  <a:lnTo>
                    <a:pt x="23069" y="121211"/>
                  </a:lnTo>
                  <a:lnTo>
                    <a:pt x="22044" y="120224"/>
                  </a:lnTo>
                  <a:lnTo>
                    <a:pt x="19850" y="120445"/>
                  </a:lnTo>
                  <a:lnTo>
                    <a:pt x="17728" y="119486"/>
                  </a:lnTo>
                  <a:lnTo>
                    <a:pt x="15679" y="117597"/>
                  </a:lnTo>
                  <a:lnTo>
                    <a:pt x="14170" y="116977"/>
                  </a:lnTo>
                  <a:lnTo>
                    <a:pt x="12242" y="115612"/>
                  </a:lnTo>
                  <a:lnTo>
                    <a:pt x="11708" y="113013"/>
                  </a:lnTo>
                  <a:lnTo>
                    <a:pt x="10486" y="111185"/>
                  </a:lnTo>
                  <a:lnTo>
                    <a:pt x="9368" y="108655"/>
                  </a:lnTo>
                  <a:lnTo>
                    <a:pt x="7700" y="107515"/>
                  </a:lnTo>
                  <a:lnTo>
                    <a:pt x="5776" y="106911"/>
                  </a:lnTo>
                  <a:lnTo>
                    <a:pt x="3124" y="107037"/>
                  </a:lnTo>
                  <a:lnTo>
                    <a:pt x="1377" y="106019"/>
                  </a:lnTo>
                  <a:lnTo>
                    <a:pt x="0" y="104534"/>
                  </a:lnTo>
                  <a:lnTo>
                    <a:pt x="365" y="103251"/>
                  </a:lnTo>
                  <a:lnTo>
                    <a:pt x="985" y="101426"/>
                  </a:lnTo>
                  <a:lnTo>
                    <a:pt x="1058" y="99663"/>
                  </a:lnTo>
                  <a:lnTo>
                    <a:pt x="1469" y="96813"/>
                  </a:lnTo>
                  <a:lnTo>
                    <a:pt x="1216" y="93241"/>
                  </a:lnTo>
                  <a:lnTo>
                    <a:pt x="731" y="90751"/>
                  </a:lnTo>
                  <a:lnTo>
                    <a:pt x="2196" y="89714"/>
                  </a:lnTo>
                  <a:lnTo>
                    <a:pt x="3894" y="88784"/>
                  </a:lnTo>
                  <a:lnTo>
                    <a:pt x="4946" y="87090"/>
                  </a:lnTo>
                  <a:lnTo>
                    <a:pt x="6043" y="83287"/>
                  </a:lnTo>
                  <a:lnTo>
                    <a:pt x="6504" y="80002"/>
                  </a:lnTo>
                  <a:lnTo>
                    <a:pt x="6164" y="78786"/>
                  </a:lnTo>
                  <a:lnTo>
                    <a:pt x="5599" y="77820"/>
                  </a:lnTo>
                  <a:lnTo>
                    <a:pt x="5152" y="76398"/>
                  </a:lnTo>
                  <a:lnTo>
                    <a:pt x="4899" y="74669"/>
                  </a:lnTo>
                  <a:lnTo>
                    <a:pt x="5205" y="73157"/>
                  </a:lnTo>
                  <a:lnTo>
                    <a:pt x="6487" y="71759"/>
                  </a:lnTo>
                  <a:lnTo>
                    <a:pt x="8093" y="70591"/>
                  </a:lnTo>
                  <a:lnTo>
                    <a:pt x="9235" y="70027"/>
                  </a:lnTo>
                  <a:lnTo>
                    <a:pt x="12262" y="69449"/>
                  </a:lnTo>
                  <a:lnTo>
                    <a:pt x="16044" y="68578"/>
                  </a:lnTo>
                  <a:lnTo>
                    <a:pt x="18225" y="67590"/>
                  </a:lnTo>
                  <a:lnTo>
                    <a:pt x="19819" y="66602"/>
                  </a:lnTo>
                  <a:lnTo>
                    <a:pt x="20711" y="65821"/>
                  </a:lnTo>
                  <a:lnTo>
                    <a:pt x="21614" y="64218"/>
                  </a:lnTo>
                  <a:lnTo>
                    <a:pt x="23077" y="62977"/>
                  </a:lnTo>
                  <a:lnTo>
                    <a:pt x="24209" y="61724"/>
                  </a:lnTo>
                  <a:lnTo>
                    <a:pt x="24366" y="58234"/>
                  </a:lnTo>
                  <a:lnTo>
                    <a:pt x="24359" y="56246"/>
                  </a:lnTo>
                  <a:lnTo>
                    <a:pt x="23520" y="55151"/>
                  </a:lnTo>
                  <a:lnTo>
                    <a:pt x="23061" y="54211"/>
                  </a:lnTo>
                  <a:lnTo>
                    <a:pt x="28667" y="51482"/>
                  </a:lnTo>
                  <a:lnTo>
                    <a:pt x="28708" y="49554"/>
                  </a:lnTo>
                  <a:lnTo>
                    <a:pt x="27925" y="47400"/>
                  </a:lnTo>
                  <a:lnTo>
                    <a:pt x="26828" y="45665"/>
                  </a:lnTo>
                  <a:lnTo>
                    <a:pt x="26420" y="44169"/>
                  </a:lnTo>
                  <a:lnTo>
                    <a:pt x="27969" y="42408"/>
                  </a:lnTo>
                  <a:lnTo>
                    <a:pt x="29350" y="41085"/>
                  </a:lnTo>
                  <a:lnTo>
                    <a:pt x="30349" y="39959"/>
                  </a:lnTo>
                  <a:lnTo>
                    <a:pt x="32557" y="38244"/>
                  </a:lnTo>
                  <a:lnTo>
                    <a:pt x="34853" y="37798"/>
                  </a:lnTo>
                  <a:lnTo>
                    <a:pt x="36929" y="38444"/>
                  </a:lnTo>
                  <a:lnTo>
                    <a:pt x="43069" y="42478"/>
                  </a:lnTo>
                  <a:lnTo>
                    <a:pt x="44133" y="42736"/>
                  </a:lnTo>
                  <a:lnTo>
                    <a:pt x="45410" y="42429"/>
                  </a:lnTo>
                  <a:lnTo>
                    <a:pt x="47028" y="41365"/>
                  </a:lnTo>
                  <a:lnTo>
                    <a:pt x="49128" y="40531"/>
                  </a:lnTo>
                  <a:lnTo>
                    <a:pt x="49902" y="37831"/>
                  </a:lnTo>
                  <a:lnTo>
                    <a:pt x="49827" y="33854"/>
                  </a:lnTo>
                  <a:lnTo>
                    <a:pt x="50303" y="32032"/>
                  </a:lnTo>
                  <a:lnTo>
                    <a:pt x="51413" y="31705"/>
                  </a:lnTo>
                  <a:lnTo>
                    <a:pt x="54946" y="32465"/>
                  </a:lnTo>
                  <a:lnTo>
                    <a:pt x="55862" y="32510"/>
                  </a:lnTo>
                  <a:lnTo>
                    <a:pt x="56888" y="32255"/>
                  </a:lnTo>
                  <a:lnTo>
                    <a:pt x="57634" y="31556"/>
                  </a:lnTo>
                  <a:lnTo>
                    <a:pt x="57603" y="30274"/>
                  </a:lnTo>
                  <a:lnTo>
                    <a:pt x="57440" y="29139"/>
                  </a:lnTo>
                  <a:lnTo>
                    <a:pt x="58588" y="25445"/>
                  </a:lnTo>
                  <a:lnTo>
                    <a:pt x="60691" y="22672"/>
                  </a:lnTo>
                  <a:lnTo>
                    <a:pt x="64939" y="19202"/>
                  </a:lnTo>
                  <a:lnTo>
                    <a:pt x="66262" y="18510"/>
                  </a:lnTo>
                  <a:lnTo>
                    <a:pt x="67803" y="18153"/>
                  </a:lnTo>
                  <a:lnTo>
                    <a:pt x="75409" y="20536"/>
                  </a:lnTo>
                  <a:lnTo>
                    <a:pt x="76650" y="19946"/>
                  </a:lnTo>
                  <a:lnTo>
                    <a:pt x="78509" y="14037"/>
                  </a:lnTo>
                  <a:lnTo>
                    <a:pt x="80571" y="13473"/>
                  </a:lnTo>
                  <a:lnTo>
                    <a:pt x="83048" y="13371"/>
                  </a:lnTo>
                  <a:lnTo>
                    <a:pt x="84655" y="12864"/>
                  </a:lnTo>
                  <a:lnTo>
                    <a:pt x="85490" y="12450"/>
                  </a:lnTo>
                  <a:lnTo>
                    <a:pt x="89109" y="10209"/>
                  </a:lnTo>
                  <a:lnTo>
                    <a:pt x="95492" y="7150"/>
                  </a:lnTo>
                  <a:lnTo>
                    <a:pt x="98929" y="5839"/>
                  </a:lnTo>
                  <a:lnTo>
                    <a:pt x="99601" y="5346"/>
                  </a:lnTo>
                  <a:lnTo>
                    <a:pt x="102060" y="3176"/>
                  </a:lnTo>
                  <a:lnTo>
                    <a:pt x="105322" y="681"/>
                  </a:lnTo>
                  <a:lnTo>
                    <a:pt x="107400" y="183"/>
                  </a:lnTo>
                  <a:lnTo>
                    <a:pt x="110273" y="0"/>
                  </a:lnTo>
                  <a:lnTo>
                    <a:pt x="112087" y="412"/>
                  </a:lnTo>
                  <a:lnTo>
                    <a:pt x="112578" y="1116"/>
                  </a:lnTo>
                  <a:lnTo>
                    <a:pt x="113172" y="1478"/>
                  </a:lnTo>
                  <a:lnTo>
                    <a:pt x="116921" y="417"/>
                  </a:lnTo>
                  <a:lnTo>
                    <a:pt x="122299" y="2104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66" name="ee4p_BW_1_37365">
              <a:extLst>
                <a:ext uri="{FF2B5EF4-FFF2-40B4-BE49-F238E27FC236}">
                  <a16:creationId xmlns:a16="http://schemas.microsoft.com/office/drawing/2014/main" id="{0CC7753E-3E88-642E-A4E0-CD82A7F281ED}"/>
                </a:ext>
              </a:extLst>
            </p:cNvPr>
            <p:cNvSpPr>
              <a:spLocks noChangeAspect="1"/>
            </p:cNvSpPr>
            <p:nvPr>
              <p:custDataLst>
                <p:tags r:id="rId320"/>
              </p:custDataLst>
            </p:nvPr>
          </p:nvSpPr>
          <p:spPr>
            <a:xfrm>
              <a:off x="7069458" y="5190387"/>
              <a:ext cx="260687" cy="271939"/>
            </a:xfrm>
            <a:custGeom>
              <a:avLst/>
              <a:gdLst/>
              <a:ahLst/>
              <a:cxnLst/>
              <a:rect l="0" t="0" r="0" b="0"/>
              <a:pathLst>
                <a:path w="207579" h="210799">
                  <a:moveTo>
                    <a:pt x="116784" y="136"/>
                  </a:moveTo>
                  <a:lnTo>
                    <a:pt x="116348" y="1265"/>
                  </a:lnTo>
                  <a:lnTo>
                    <a:pt x="116015" y="2912"/>
                  </a:lnTo>
                  <a:lnTo>
                    <a:pt x="116419" y="4140"/>
                  </a:lnTo>
                  <a:lnTo>
                    <a:pt x="117307" y="5788"/>
                  </a:lnTo>
                  <a:lnTo>
                    <a:pt x="118585" y="7233"/>
                  </a:lnTo>
                  <a:lnTo>
                    <a:pt x="119561" y="8089"/>
                  </a:lnTo>
                  <a:lnTo>
                    <a:pt x="120719" y="10213"/>
                  </a:lnTo>
                  <a:lnTo>
                    <a:pt x="121880" y="12871"/>
                  </a:lnTo>
                  <a:lnTo>
                    <a:pt x="123407" y="14941"/>
                  </a:lnTo>
                  <a:lnTo>
                    <a:pt x="127894" y="19686"/>
                  </a:lnTo>
                  <a:lnTo>
                    <a:pt x="128391" y="21386"/>
                  </a:lnTo>
                  <a:lnTo>
                    <a:pt x="129015" y="23070"/>
                  </a:lnTo>
                  <a:lnTo>
                    <a:pt x="131833" y="26313"/>
                  </a:lnTo>
                  <a:lnTo>
                    <a:pt x="132271" y="27389"/>
                  </a:lnTo>
                  <a:lnTo>
                    <a:pt x="132083" y="29591"/>
                  </a:lnTo>
                  <a:lnTo>
                    <a:pt x="134986" y="36200"/>
                  </a:lnTo>
                  <a:lnTo>
                    <a:pt x="136890" y="40065"/>
                  </a:lnTo>
                  <a:lnTo>
                    <a:pt x="138503" y="40778"/>
                  </a:lnTo>
                  <a:lnTo>
                    <a:pt x="143668" y="44896"/>
                  </a:lnTo>
                  <a:lnTo>
                    <a:pt x="148171" y="48210"/>
                  </a:lnTo>
                  <a:lnTo>
                    <a:pt x="153444" y="50449"/>
                  </a:lnTo>
                  <a:lnTo>
                    <a:pt x="157316" y="51923"/>
                  </a:lnTo>
                  <a:lnTo>
                    <a:pt x="159227" y="52999"/>
                  </a:lnTo>
                  <a:lnTo>
                    <a:pt x="160183" y="54031"/>
                  </a:lnTo>
                  <a:lnTo>
                    <a:pt x="160963" y="56016"/>
                  </a:lnTo>
                  <a:lnTo>
                    <a:pt x="161358" y="59466"/>
                  </a:lnTo>
                  <a:lnTo>
                    <a:pt x="161494" y="61699"/>
                  </a:lnTo>
                  <a:lnTo>
                    <a:pt x="165655" y="61609"/>
                  </a:lnTo>
                  <a:lnTo>
                    <a:pt x="169097" y="61811"/>
                  </a:lnTo>
                  <a:lnTo>
                    <a:pt x="170307" y="62259"/>
                  </a:lnTo>
                  <a:lnTo>
                    <a:pt x="170756" y="62896"/>
                  </a:lnTo>
                  <a:lnTo>
                    <a:pt x="170650" y="64369"/>
                  </a:lnTo>
                  <a:lnTo>
                    <a:pt x="170697" y="66564"/>
                  </a:lnTo>
                  <a:lnTo>
                    <a:pt x="170859" y="68333"/>
                  </a:lnTo>
                  <a:lnTo>
                    <a:pt x="170501" y="70224"/>
                  </a:lnTo>
                  <a:lnTo>
                    <a:pt x="170255" y="72452"/>
                  </a:lnTo>
                  <a:lnTo>
                    <a:pt x="170089" y="75210"/>
                  </a:lnTo>
                  <a:lnTo>
                    <a:pt x="170620" y="76291"/>
                  </a:lnTo>
                  <a:lnTo>
                    <a:pt x="173952" y="79770"/>
                  </a:lnTo>
                  <a:lnTo>
                    <a:pt x="175351" y="82026"/>
                  </a:lnTo>
                  <a:lnTo>
                    <a:pt x="176837" y="85443"/>
                  </a:lnTo>
                  <a:lnTo>
                    <a:pt x="177709" y="86542"/>
                  </a:lnTo>
                  <a:lnTo>
                    <a:pt x="178407" y="86978"/>
                  </a:lnTo>
                  <a:lnTo>
                    <a:pt x="181415" y="87356"/>
                  </a:lnTo>
                  <a:lnTo>
                    <a:pt x="189163" y="88790"/>
                  </a:lnTo>
                  <a:lnTo>
                    <a:pt x="193932" y="90095"/>
                  </a:lnTo>
                  <a:lnTo>
                    <a:pt x="197726" y="91449"/>
                  </a:lnTo>
                  <a:lnTo>
                    <a:pt x="199305" y="91806"/>
                  </a:lnTo>
                  <a:lnTo>
                    <a:pt x="200076" y="92164"/>
                  </a:lnTo>
                  <a:lnTo>
                    <a:pt x="200335" y="92499"/>
                  </a:lnTo>
                  <a:lnTo>
                    <a:pt x="199860" y="95481"/>
                  </a:lnTo>
                  <a:lnTo>
                    <a:pt x="200026" y="96439"/>
                  </a:lnTo>
                  <a:lnTo>
                    <a:pt x="200448" y="97299"/>
                  </a:lnTo>
                  <a:lnTo>
                    <a:pt x="201091" y="97975"/>
                  </a:lnTo>
                  <a:lnTo>
                    <a:pt x="201873" y="98399"/>
                  </a:lnTo>
                  <a:lnTo>
                    <a:pt x="204755" y="98718"/>
                  </a:lnTo>
                  <a:lnTo>
                    <a:pt x="206481" y="100534"/>
                  </a:lnTo>
                  <a:lnTo>
                    <a:pt x="207578" y="101375"/>
                  </a:lnTo>
                  <a:lnTo>
                    <a:pt x="202382" y="101824"/>
                  </a:lnTo>
                  <a:lnTo>
                    <a:pt x="199808" y="103336"/>
                  </a:lnTo>
                  <a:lnTo>
                    <a:pt x="198312" y="106048"/>
                  </a:lnTo>
                  <a:lnTo>
                    <a:pt x="195969" y="108041"/>
                  </a:lnTo>
                  <a:lnTo>
                    <a:pt x="192777" y="109310"/>
                  </a:lnTo>
                  <a:lnTo>
                    <a:pt x="189402" y="110182"/>
                  </a:lnTo>
                  <a:lnTo>
                    <a:pt x="185839" y="110657"/>
                  </a:lnTo>
                  <a:lnTo>
                    <a:pt x="182045" y="112990"/>
                  </a:lnTo>
                  <a:lnTo>
                    <a:pt x="178016" y="117182"/>
                  </a:lnTo>
                  <a:lnTo>
                    <a:pt x="175962" y="119821"/>
                  </a:lnTo>
                  <a:lnTo>
                    <a:pt x="175880" y="120907"/>
                  </a:lnTo>
                  <a:lnTo>
                    <a:pt x="174977" y="121847"/>
                  </a:lnTo>
                  <a:lnTo>
                    <a:pt x="173254" y="122641"/>
                  </a:lnTo>
                  <a:lnTo>
                    <a:pt x="172280" y="123596"/>
                  </a:lnTo>
                  <a:lnTo>
                    <a:pt x="172054" y="124712"/>
                  </a:lnTo>
                  <a:lnTo>
                    <a:pt x="171136" y="125245"/>
                  </a:lnTo>
                  <a:lnTo>
                    <a:pt x="169523" y="125199"/>
                  </a:lnTo>
                  <a:lnTo>
                    <a:pt x="168391" y="126015"/>
                  </a:lnTo>
                  <a:lnTo>
                    <a:pt x="167739" y="127694"/>
                  </a:lnTo>
                  <a:lnTo>
                    <a:pt x="166314" y="128715"/>
                  </a:lnTo>
                  <a:lnTo>
                    <a:pt x="164114" y="129071"/>
                  </a:lnTo>
                  <a:lnTo>
                    <a:pt x="162215" y="130020"/>
                  </a:lnTo>
                  <a:lnTo>
                    <a:pt x="160620" y="131557"/>
                  </a:lnTo>
                  <a:lnTo>
                    <a:pt x="159389" y="132337"/>
                  </a:lnTo>
                  <a:lnTo>
                    <a:pt x="158523" y="132360"/>
                  </a:lnTo>
                  <a:lnTo>
                    <a:pt x="157178" y="133610"/>
                  </a:lnTo>
                  <a:lnTo>
                    <a:pt x="154999" y="136570"/>
                  </a:lnTo>
                  <a:lnTo>
                    <a:pt x="154636" y="137947"/>
                  </a:lnTo>
                  <a:lnTo>
                    <a:pt x="151639" y="149125"/>
                  </a:lnTo>
                  <a:lnTo>
                    <a:pt x="150004" y="150445"/>
                  </a:lnTo>
                  <a:lnTo>
                    <a:pt x="146834" y="152752"/>
                  </a:lnTo>
                  <a:lnTo>
                    <a:pt x="144265" y="155516"/>
                  </a:lnTo>
                  <a:lnTo>
                    <a:pt x="143163" y="157146"/>
                  </a:lnTo>
                  <a:lnTo>
                    <a:pt x="141956" y="157871"/>
                  </a:lnTo>
                  <a:lnTo>
                    <a:pt x="136067" y="159231"/>
                  </a:lnTo>
                  <a:lnTo>
                    <a:pt x="133878" y="159958"/>
                  </a:lnTo>
                  <a:lnTo>
                    <a:pt x="131230" y="161016"/>
                  </a:lnTo>
                  <a:lnTo>
                    <a:pt x="130561" y="161969"/>
                  </a:lnTo>
                  <a:lnTo>
                    <a:pt x="129911" y="165431"/>
                  </a:lnTo>
                  <a:lnTo>
                    <a:pt x="128086" y="170403"/>
                  </a:lnTo>
                  <a:lnTo>
                    <a:pt x="126599" y="174075"/>
                  </a:lnTo>
                  <a:lnTo>
                    <a:pt x="125638" y="177271"/>
                  </a:lnTo>
                  <a:lnTo>
                    <a:pt x="123971" y="181243"/>
                  </a:lnTo>
                  <a:lnTo>
                    <a:pt x="122519" y="182578"/>
                  </a:lnTo>
                  <a:lnTo>
                    <a:pt x="120872" y="183798"/>
                  </a:lnTo>
                  <a:lnTo>
                    <a:pt x="118717" y="184400"/>
                  </a:lnTo>
                  <a:lnTo>
                    <a:pt x="115780" y="184785"/>
                  </a:lnTo>
                  <a:lnTo>
                    <a:pt x="113107" y="184672"/>
                  </a:lnTo>
                  <a:lnTo>
                    <a:pt x="111038" y="184732"/>
                  </a:lnTo>
                  <a:lnTo>
                    <a:pt x="108170" y="186137"/>
                  </a:lnTo>
                  <a:lnTo>
                    <a:pt x="105493" y="186229"/>
                  </a:lnTo>
                  <a:lnTo>
                    <a:pt x="101241" y="185419"/>
                  </a:lnTo>
                  <a:lnTo>
                    <a:pt x="97799" y="184632"/>
                  </a:lnTo>
                  <a:lnTo>
                    <a:pt x="96259" y="184469"/>
                  </a:lnTo>
                  <a:lnTo>
                    <a:pt x="93216" y="181872"/>
                  </a:lnTo>
                  <a:lnTo>
                    <a:pt x="91260" y="181918"/>
                  </a:lnTo>
                  <a:lnTo>
                    <a:pt x="88276" y="181711"/>
                  </a:lnTo>
                  <a:lnTo>
                    <a:pt x="86600" y="181116"/>
                  </a:lnTo>
                  <a:lnTo>
                    <a:pt x="85046" y="179789"/>
                  </a:lnTo>
                  <a:lnTo>
                    <a:pt x="81668" y="177178"/>
                  </a:lnTo>
                  <a:lnTo>
                    <a:pt x="78369" y="175067"/>
                  </a:lnTo>
                  <a:lnTo>
                    <a:pt x="75445" y="173817"/>
                  </a:lnTo>
                  <a:lnTo>
                    <a:pt x="72720" y="173232"/>
                  </a:lnTo>
                  <a:lnTo>
                    <a:pt x="70126" y="173753"/>
                  </a:lnTo>
                  <a:lnTo>
                    <a:pt x="68109" y="174309"/>
                  </a:lnTo>
                  <a:lnTo>
                    <a:pt x="67325" y="174588"/>
                  </a:lnTo>
                  <a:lnTo>
                    <a:pt x="65760" y="175677"/>
                  </a:lnTo>
                  <a:lnTo>
                    <a:pt x="64158" y="177743"/>
                  </a:lnTo>
                  <a:lnTo>
                    <a:pt x="62834" y="180980"/>
                  </a:lnTo>
                  <a:lnTo>
                    <a:pt x="62329" y="182963"/>
                  </a:lnTo>
                  <a:lnTo>
                    <a:pt x="60845" y="187173"/>
                  </a:lnTo>
                  <a:lnTo>
                    <a:pt x="58883" y="192231"/>
                  </a:lnTo>
                  <a:lnTo>
                    <a:pt x="57941" y="193687"/>
                  </a:lnTo>
                  <a:lnTo>
                    <a:pt x="56857" y="194769"/>
                  </a:lnTo>
                  <a:lnTo>
                    <a:pt x="55138" y="195731"/>
                  </a:lnTo>
                  <a:lnTo>
                    <a:pt x="49537" y="199754"/>
                  </a:lnTo>
                  <a:lnTo>
                    <a:pt x="46736" y="204291"/>
                  </a:lnTo>
                  <a:lnTo>
                    <a:pt x="44967" y="205612"/>
                  </a:lnTo>
                  <a:lnTo>
                    <a:pt x="42836" y="206231"/>
                  </a:lnTo>
                  <a:lnTo>
                    <a:pt x="41037" y="206621"/>
                  </a:lnTo>
                  <a:lnTo>
                    <a:pt x="40044" y="207374"/>
                  </a:lnTo>
                  <a:lnTo>
                    <a:pt x="38934" y="209673"/>
                  </a:lnTo>
                  <a:lnTo>
                    <a:pt x="37975" y="210482"/>
                  </a:lnTo>
                  <a:lnTo>
                    <a:pt x="36904" y="210798"/>
                  </a:lnTo>
                  <a:lnTo>
                    <a:pt x="33700" y="210524"/>
                  </a:lnTo>
                  <a:lnTo>
                    <a:pt x="32674" y="210290"/>
                  </a:lnTo>
                  <a:lnTo>
                    <a:pt x="24183" y="210740"/>
                  </a:lnTo>
                  <a:lnTo>
                    <a:pt x="21594" y="210012"/>
                  </a:lnTo>
                  <a:lnTo>
                    <a:pt x="19759" y="209719"/>
                  </a:lnTo>
                  <a:lnTo>
                    <a:pt x="16861" y="210670"/>
                  </a:lnTo>
                  <a:lnTo>
                    <a:pt x="15649" y="210044"/>
                  </a:lnTo>
                  <a:lnTo>
                    <a:pt x="14684" y="208137"/>
                  </a:lnTo>
                  <a:lnTo>
                    <a:pt x="14209" y="204308"/>
                  </a:lnTo>
                  <a:lnTo>
                    <a:pt x="14360" y="201058"/>
                  </a:lnTo>
                  <a:lnTo>
                    <a:pt x="15932" y="198599"/>
                  </a:lnTo>
                  <a:lnTo>
                    <a:pt x="17241" y="196800"/>
                  </a:lnTo>
                  <a:lnTo>
                    <a:pt x="18523" y="194450"/>
                  </a:lnTo>
                  <a:lnTo>
                    <a:pt x="18692" y="193401"/>
                  </a:lnTo>
                  <a:lnTo>
                    <a:pt x="18435" y="192453"/>
                  </a:lnTo>
                  <a:lnTo>
                    <a:pt x="18178" y="190524"/>
                  </a:lnTo>
                  <a:lnTo>
                    <a:pt x="18040" y="188552"/>
                  </a:lnTo>
                  <a:lnTo>
                    <a:pt x="16217" y="184241"/>
                  </a:lnTo>
                  <a:lnTo>
                    <a:pt x="13974" y="178528"/>
                  </a:lnTo>
                  <a:lnTo>
                    <a:pt x="10963" y="172165"/>
                  </a:lnTo>
                  <a:lnTo>
                    <a:pt x="10024" y="170417"/>
                  </a:lnTo>
                  <a:lnTo>
                    <a:pt x="8134" y="167658"/>
                  </a:lnTo>
                  <a:lnTo>
                    <a:pt x="1134" y="162416"/>
                  </a:lnTo>
                  <a:lnTo>
                    <a:pt x="69" y="161705"/>
                  </a:lnTo>
                  <a:lnTo>
                    <a:pt x="69" y="161122"/>
                  </a:lnTo>
                  <a:lnTo>
                    <a:pt x="63" y="156043"/>
                  </a:lnTo>
                  <a:lnTo>
                    <a:pt x="56" y="149317"/>
                  </a:lnTo>
                  <a:lnTo>
                    <a:pt x="50" y="142602"/>
                  </a:lnTo>
                  <a:lnTo>
                    <a:pt x="43" y="135897"/>
                  </a:lnTo>
                  <a:lnTo>
                    <a:pt x="35" y="129201"/>
                  </a:lnTo>
                  <a:lnTo>
                    <a:pt x="26" y="122514"/>
                  </a:lnTo>
                  <a:lnTo>
                    <a:pt x="20" y="115836"/>
                  </a:lnTo>
                  <a:lnTo>
                    <a:pt x="13" y="109167"/>
                  </a:lnTo>
                  <a:lnTo>
                    <a:pt x="7" y="102504"/>
                  </a:lnTo>
                  <a:lnTo>
                    <a:pt x="0" y="96878"/>
                  </a:lnTo>
                  <a:lnTo>
                    <a:pt x="5042" y="96878"/>
                  </a:lnTo>
                  <a:lnTo>
                    <a:pt x="11281" y="96878"/>
                  </a:lnTo>
                  <a:lnTo>
                    <a:pt x="18694" y="96878"/>
                  </a:lnTo>
                  <a:lnTo>
                    <a:pt x="21972" y="96878"/>
                  </a:lnTo>
                  <a:lnTo>
                    <a:pt x="22160" y="95990"/>
                  </a:lnTo>
                  <a:lnTo>
                    <a:pt x="22156" y="91867"/>
                  </a:lnTo>
                  <a:lnTo>
                    <a:pt x="22142" y="82420"/>
                  </a:lnTo>
                  <a:lnTo>
                    <a:pt x="22130" y="72991"/>
                  </a:lnTo>
                  <a:lnTo>
                    <a:pt x="22115" y="63578"/>
                  </a:lnTo>
                  <a:lnTo>
                    <a:pt x="22101" y="54182"/>
                  </a:lnTo>
                  <a:lnTo>
                    <a:pt x="22086" y="44798"/>
                  </a:lnTo>
                  <a:lnTo>
                    <a:pt x="22074" y="35432"/>
                  </a:lnTo>
                  <a:lnTo>
                    <a:pt x="22060" y="26080"/>
                  </a:lnTo>
                  <a:lnTo>
                    <a:pt x="22045" y="16741"/>
                  </a:lnTo>
                  <a:lnTo>
                    <a:pt x="22041" y="12130"/>
                  </a:lnTo>
                  <a:lnTo>
                    <a:pt x="27755" y="11855"/>
                  </a:lnTo>
                  <a:lnTo>
                    <a:pt x="34326" y="10914"/>
                  </a:lnTo>
                  <a:lnTo>
                    <a:pt x="44978" y="9383"/>
                  </a:lnTo>
                  <a:lnTo>
                    <a:pt x="54898" y="7489"/>
                  </a:lnTo>
                  <a:lnTo>
                    <a:pt x="61370" y="6381"/>
                  </a:lnTo>
                  <a:lnTo>
                    <a:pt x="69047" y="5065"/>
                  </a:lnTo>
                  <a:lnTo>
                    <a:pt x="71688" y="4840"/>
                  </a:lnTo>
                  <a:lnTo>
                    <a:pt x="72400" y="5019"/>
                  </a:lnTo>
                  <a:lnTo>
                    <a:pt x="73441" y="5471"/>
                  </a:lnTo>
                  <a:lnTo>
                    <a:pt x="77004" y="10124"/>
                  </a:lnTo>
                  <a:lnTo>
                    <a:pt x="79224" y="13675"/>
                  </a:lnTo>
                  <a:lnTo>
                    <a:pt x="79675" y="15196"/>
                  </a:lnTo>
                  <a:lnTo>
                    <a:pt x="80098" y="15356"/>
                  </a:lnTo>
                  <a:lnTo>
                    <a:pt x="81148" y="15115"/>
                  </a:lnTo>
                  <a:lnTo>
                    <a:pt x="82327" y="14541"/>
                  </a:lnTo>
                  <a:lnTo>
                    <a:pt x="85948" y="11003"/>
                  </a:lnTo>
                  <a:lnTo>
                    <a:pt x="86702" y="10082"/>
                  </a:lnTo>
                  <a:lnTo>
                    <a:pt x="89008" y="8366"/>
                  </a:lnTo>
                  <a:lnTo>
                    <a:pt x="91809" y="6617"/>
                  </a:lnTo>
                  <a:lnTo>
                    <a:pt x="94344" y="5382"/>
                  </a:lnTo>
                  <a:lnTo>
                    <a:pt x="96888" y="4350"/>
                  </a:lnTo>
                  <a:lnTo>
                    <a:pt x="98064" y="4606"/>
                  </a:lnTo>
                  <a:lnTo>
                    <a:pt x="99451" y="5498"/>
                  </a:lnTo>
                  <a:lnTo>
                    <a:pt x="100682" y="6051"/>
                  </a:lnTo>
                  <a:lnTo>
                    <a:pt x="106466" y="1758"/>
                  </a:lnTo>
                  <a:lnTo>
                    <a:pt x="109052" y="770"/>
                  </a:lnTo>
                  <a:lnTo>
                    <a:pt x="115838" y="0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67" name="ee4p_CF_1_37365">
              <a:extLst>
                <a:ext uri="{FF2B5EF4-FFF2-40B4-BE49-F238E27FC236}">
                  <a16:creationId xmlns:a16="http://schemas.microsoft.com/office/drawing/2014/main" id="{100AB3FD-8EB4-DE4D-5955-A576726615E1}"/>
                </a:ext>
              </a:extLst>
            </p:cNvPr>
            <p:cNvSpPr>
              <a:spLocks noChangeAspect="1"/>
            </p:cNvSpPr>
            <p:nvPr>
              <p:custDataLst>
                <p:tags r:id="rId321"/>
              </p:custDataLst>
            </p:nvPr>
          </p:nvSpPr>
          <p:spPr>
            <a:xfrm>
              <a:off x="6915444" y="4362776"/>
              <a:ext cx="360230" cy="250149"/>
            </a:xfrm>
            <a:custGeom>
              <a:avLst/>
              <a:gdLst/>
              <a:ahLst/>
              <a:cxnLst/>
              <a:rect l="0" t="0" r="0" b="0"/>
              <a:pathLst>
                <a:path w="286843" h="193908">
                  <a:moveTo>
                    <a:pt x="186381" y="1713"/>
                  </a:moveTo>
                  <a:lnTo>
                    <a:pt x="187945" y="4495"/>
                  </a:lnTo>
                  <a:lnTo>
                    <a:pt x="188688" y="5468"/>
                  </a:lnTo>
                  <a:lnTo>
                    <a:pt x="195133" y="12041"/>
                  </a:lnTo>
                  <a:lnTo>
                    <a:pt x="196381" y="13602"/>
                  </a:lnTo>
                  <a:lnTo>
                    <a:pt x="199573" y="18376"/>
                  </a:lnTo>
                  <a:lnTo>
                    <a:pt x="201527" y="21596"/>
                  </a:lnTo>
                  <a:lnTo>
                    <a:pt x="203766" y="26222"/>
                  </a:lnTo>
                  <a:lnTo>
                    <a:pt x="203987" y="28734"/>
                  </a:lnTo>
                  <a:lnTo>
                    <a:pt x="203689" y="30886"/>
                  </a:lnTo>
                  <a:lnTo>
                    <a:pt x="203244" y="36982"/>
                  </a:lnTo>
                  <a:lnTo>
                    <a:pt x="202656" y="38738"/>
                  </a:lnTo>
                  <a:lnTo>
                    <a:pt x="199830" y="42019"/>
                  </a:lnTo>
                  <a:lnTo>
                    <a:pt x="199709" y="43496"/>
                  </a:lnTo>
                  <a:lnTo>
                    <a:pt x="200290" y="44726"/>
                  </a:lnTo>
                  <a:lnTo>
                    <a:pt x="201151" y="45231"/>
                  </a:lnTo>
                  <a:lnTo>
                    <a:pt x="201678" y="45842"/>
                  </a:lnTo>
                  <a:lnTo>
                    <a:pt x="201357" y="48681"/>
                  </a:lnTo>
                  <a:lnTo>
                    <a:pt x="202372" y="49795"/>
                  </a:lnTo>
                  <a:lnTo>
                    <a:pt x="204496" y="50538"/>
                  </a:lnTo>
                  <a:lnTo>
                    <a:pt x="209862" y="51045"/>
                  </a:lnTo>
                  <a:lnTo>
                    <a:pt x="212652" y="51455"/>
                  </a:lnTo>
                  <a:lnTo>
                    <a:pt x="214846" y="52027"/>
                  </a:lnTo>
                  <a:lnTo>
                    <a:pt x="215896" y="52300"/>
                  </a:lnTo>
                  <a:lnTo>
                    <a:pt x="216472" y="53305"/>
                  </a:lnTo>
                  <a:lnTo>
                    <a:pt x="215567" y="56581"/>
                  </a:lnTo>
                  <a:lnTo>
                    <a:pt x="216196" y="58629"/>
                  </a:lnTo>
                  <a:lnTo>
                    <a:pt x="218031" y="60360"/>
                  </a:lnTo>
                  <a:lnTo>
                    <a:pt x="219891" y="61094"/>
                  </a:lnTo>
                  <a:lnTo>
                    <a:pt x="221672" y="61516"/>
                  </a:lnTo>
                  <a:lnTo>
                    <a:pt x="227878" y="62583"/>
                  </a:lnTo>
                  <a:lnTo>
                    <a:pt x="230456" y="63785"/>
                  </a:lnTo>
                  <a:lnTo>
                    <a:pt x="233860" y="67628"/>
                  </a:lnTo>
                  <a:lnTo>
                    <a:pt x="238131" y="71119"/>
                  </a:lnTo>
                  <a:lnTo>
                    <a:pt x="239169" y="72973"/>
                  </a:lnTo>
                  <a:lnTo>
                    <a:pt x="238977" y="74654"/>
                  </a:lnTo>
                  <a:lnTo>
                    <a:pt x="237710" y="76694"/>
                  </a:lnTo>
                  <a:lnTo>
                    <a:pt x="237904" y="77536"/>
                  </a:lnTo>
                  <a:lnTo>
                    <a:pt x="239867" y="79579"/>
                  </a:lnTo>
                  <a:lnTo>
                    <a:pt x="242117" y="81670"/>
                  </a:lnTo>
                  <a:lnTo>
                    <a:pt x="246229" y="83997"/>
                  </a:lnTo>
                  <a:lnTo>
                    <a:pt x="253357" y="87637"/>
                  </a:lnTo>
                  <a:lnTo>
                    <a:pt x="256619" y="90074"/>
                  </a:lnTo>
                  <a:lnTo>
                    <a:pt x="257734" y="91920"/>
                  </a:lnTo>
                  <a:lnTo>
                    <a:pt x="259556" y="93928"/>
                  </a:lnTo>
                  <a:lnTo>
                    <a:pt x="262104" y="95765"/>
                  </a:lnTo>
                  <a:lnTo>
                    <a:pt x="263812" y="97181"/>
                  </a:lnTo>
                  <a:lnTo>
                    <a:pt x="262636" y="101177"/>
                  </a:lnTo>
                  <a:lnTo>
                    <a:pt x="262990" y="102488"/>
                  </a:lnTo>
                  <a:lnTo>
                    <a:pt x="263624" y="103628"/>
                  </a:lnTo>
                  <a:lnTo>
                    <a:pt x="265110" y="105198"/>
                  </a:lnTo>
                  <a:lnTo>
                    <a:pt x="265706" y="107222"/>
                  </a:lnTo>
                  <a:lnTo>
                    <a:pt x="267183" y="109747"/>
                  </a:lnTo>
                  <a:lnTo>
                    <a:pt x="268939" y="110894"/>
                  </a:lnTo>
                  <a:lnTo>
                    <a:pt x="271874" y="111322"/>
                  </a:lnTo>
                  <a:lnTo>
                    <a:pt x="273424" y="112492"/>
                  </a:lnTo>
                  <a:lnTo>
                    <a:pt x="276648" y="114502"/>
                  </a:lnTo>
                  <a:lnTo>
                    <a:pt x="279768" y="116234"/>
                  </a:lnTo>
                  <a:lnTo>
                    <a:pt x="281107" y="117430"/>
                  </a:lnTo>
                  <a:lnTo>
                    <a:pt x="281932" y="118490"/>
                  </a:lnTo>
                  <a:lnTo>
                    <a:pt x="282642" y="119740"/>
                  </a:lnTo>
                  <a:lnTo>
                    <a:pt x="282990" y="120989"/>
                  </a:lnTo>
                  <a:lnTo>
                    <a:pt x="283065" y="123689"/>
                  </a:lnTo>
                  <a:lnTo>
                    <a:pt x="283601" y="127040"/>
                  </a:lnTo>
                  <a:lnTo>
                    <a:pt x="285275" y="129330"/>
                  </a:lnTo>
                  <a:lnTo>
                    <a:pt x="286842" y="131040"/>
                  </a:lnTo>
                  <a:lnTo>
                    <a:pt x="280466" y="129075"/>
                  </a:lnTo>
                  <a:lnTo>
                    <a:pt x="279513" y="129032"/>
                  </a:lnTo>
                  <a:lnTo>
                    <a:pt x="278380" y="129374"/>
                  </a:lnTo>
                  <a:lnTo>
                    <a:pt x="275052" y="131783"/>
                  </a:lnTo>
                  <a:lnTo>
                    <a:pt x="273990" y="132078"/>
                  </a:lnTo>
                  <a:lnTo>
                    <a:pt x="272785" y="131866"/>
                  </a:lnTo>
                  <a:lnTo>
                    <a:pt x="269800" y="131572"/>
                  </a:lnTo>
                  <a:lnTo>
                    <a:pt x="259649" y="129667"/>
                  </a:lnTo>
                  <a:lnTo>
                    <a:pt x="251830" y="127836"/>
                  </a:lnTo>
                  <a:lnTo>
                    <a:pt x="249485" y="127172"/>
                  </a:lnTo>
                  <a:lnTo>
                    <a:pt x="245311" y="126542"/>
                  </a:lnTo>
                  <a:lnTo>
                    <a:pt x="242549" y="127788"/>
                  </a:lnTo>
                  <a:lnTo>
                    <a:pt x="239960" y="132071"/>
                  </a:lnTo>
                  <a:lnTo>
                    <a:pt x="239213" y="132916"/>
                  </a:lnTo>
                  <a:lnTo>
                    <a:pt x="235142" y="134183"/>
                  </a:lnTo>
                  <a:lnTo>
                    <a:pt x="233222" y="133838"/>
                  </a:lnTo>
                  <a:lnTo>
                    <a:pt x="228515" y="135011"/>
                  </a:lnTo>
                  <a:lnTo>
                    <a:pt x="221253" y="133240"/>
                  </a:lnTo>
                  <a:lnTo>
                    <a:pt x="218660" y="133591"/>
                  </a:lnTo>
                  <a:lnTo>
                    <a:pt x="216623" y="134484"/>
                  </a:lnTo>
                  <a:lnTo>
                    <a:pt x="211404" y="136425"/>
                  </a:lnTo>
                  <a:lnTo>
                    <a:pt x="208236" y="137531"/>
                  </a:lnTo>
                  <a:lnTo>
                    <a:pt x="204552" y="138541"/>
                  </a:lnTo>
                  <a:lnTo>
                    <a:pt x="201054" y="140081"/>
                  </a:lnTo>
                  <a:lnTo>
                    <a:pt x="198700" y="140927"/>
                  </a:lnTo>
                  <a:lnTo>
                    <a:pt x="196394" y="140918"/>
                  </a:lnTo>
                  <a:lnTo>
                    <a:pt x="194315" y="140044"/>
                  </a:lnTo>
                  <a:lnTo>
                    <a:pt x="192039" y="139292"/>
                  </a:lnTo>
                  <a:lnTo>
                    <a:pt x="189318" y="139138"/>
                  </a:lnTo>
                  <a:lnTo>
                    <a:pt x="186481" y="139581"/>
                  </a:lnTo>
                  <a:lnTo>
                    <a:pt x="184075" y="141291"/>
                  </a:lnTo>
                  <a:lnTo>
                    <a:pt x="183101" y="142508"/>
                  </a:lnTo>
                  <a:lnTo>
                    <a:pt x="181011" y="145747"/>
                  </a:lnTo>
                  <a:lnTo>
                    <a:pt x="178545" y="151017"/>
                  </a:lnTo>
                  <a:lnTo>
                    <a:pt x="177575" y="152078"/>
                  </a:lnTo>
                  <a:lnTo>
                    <a:pt x="177308" y="152181"/>
                  </a:lnTo>
                  <a:lnTo>
                    <a:pt x="176698" y="152628"/>
                  </a:lnTo>
                  <a:lnTo>
                    <a:pt x="165334" y="149993"/>
                  </a:lnTo>
                  <a:lnTo>
                    <a:pt x="160443" y="149384"/>
                  </a:lnTo>
                  <a:lnTo>
                    <a:pt x="157139" y="150194"/>
                  </a:lnTo>
                  <a:lnTo>
                    <a:pt x="152995" y="148720"/>
                  </a:lnTo>
                  <a:lnTo>
                    <a:pt x="151185" y="148460"/>
                  </a:lnTo>
                  <a:lnTo>
                    <a:pt x="150332" y="148924"/>
                  </a:lnTo>
                  <a:lnTo>
                    <a:pt x="148028" y="148259"/>
                  </a:lnTo>
                  <a:lnTo>
                    <a:pt x="144273" y="146466"/>
                  </a:lnTo>
                  <a:lnTo>
                    <a:pt x="140673" y="145709"/>
                  </a:lnTo>
                  <a:lnTo>
                    <a:pt x="137456" y="145967"/>
                  </a:lnTo>
                  <a:lnTo>
                    <a:pt x="135480" y="145368"/>
                  </a:lnTo>
                  <a:lnTo>
                    <a:pt x="133897" y="143621"/>
                  </a:lnTo>
                  <a:lnTo>
                    <a:pt x="131841" y="140416"/>
                  </a:lnTo>
                  <a:lnTo>
                    <a:pt x="128145" y="137237"/>
                  </a:lnTo>
                  <a:lnTo>
                    <a:pt x="123191" y="134686"/>
                  </a:lnTo>
                  <a:lnTo>
                    <a:pt x="120099" y="132767"/>
                  </a:lnTo>
                  <a:lnTo>
                    <a:pt x="118862" y="131481"/>
                  </a:lnTo>
                  <a:lnTo>
                    <a:pt x="116197" y="130770"/>
                  </a:lnTo>
                  <a:lnTo>
                    <a:pt x="112105" y="130635"/>
                  </a:lnTo>
                  <a:lnTo>
                    <a:pt x="108179" y="131892"/>
                  </a:lnTo>
                  <a:lnTo>
                    <a:pt x="102543" y="135868"/>
                  </a:lnTo>
                  <a:lnTo>
                    <a:pt x="97307" y="144022"/>
                  </a:lnTo>
                  <a:lnTo>
                    <a:pt x="94391" y="147142"/>
                  </a:lnTo>
                  <a:lnTo>
                    <a:pt x="92053" y="147948"/>
                  </a:lnTo>
                  <a:lnTo>
                    <a:pt x="91463" y="149912"/>
                  </a:lnTo>
                  <a:lnTo>
                    <a:pt x="92623" y="153035"/>
                  </a:lnTo>
                  <a:lnTo>
                    <a:pt x="92927" y="156629"/>
                  </a:lnTo>
                  <a:lnTo>
                    <a:pt x="92109" y="162732"/>
                  </a:lnTo>
                  <a:lnTo>
                    <a:pt x="92411" y="167166"/>
                  </a:lnTo>
                  <a:lnTo>
                    <a:pt x="91161" y="166462"/>
                  </a:lnTo>
                  <a:lnTo>
                    <a:pt x="89967" y="164383"/>
                  </a:lnTo>
                  <a:lnTo>
                    <a:pt x="89405" y="163965"/>
                  </a:lnTo>
                  <a:lnTo>
                    <a:pt x="85950" y="164899"/>
                  </a:lnTo>
                  <a:lnTo>
                    <a:pt x="84158" y="165743"/>
                  </a:lnTo>
                  <a:lnTo>
                    <a:pt x="83204" y="166568"/>
                  </a:lnTo>
                  <a:lnTo>
                    <a:pt x="82474" y="166692"/>
                  </a:lnTo>
                  <a:lnTo>
                    <a:pt x="81377" y="165557"/>
                  </a:lnTo>
                  <a:lnTo>
                    <a:pt x="80513" y="165353"/>
                  </a:lnTo>
                  <a:lnTo>
                    <a:pt x="79153" y="165563"/>
                  </a:lnTo>
                  <a:lnTo>
                    <a:pt x="77764" y="165542"/>
                  </a:lnTo>
                  <a:lnTo>
                    <a:pt x="76861" y="165395"/>
                  </a:lnTo>
                  <a:lnTo>
                    <a:pt x="76270" y="165496"/>
                  </a:lnTo>
                  <a:lnTo>
                    <a:pt x="74639" y="164824"/>
                  </a:lnTo>
                  <a:lnTo>
                    <a:pt x="68693" y="163110"/>
                  </a:lnTo>
                  <a:lnTo>
                    <a:pt x="67673" y="162541"/>
                  </a:lnTo>
                  <a:lnTo>
                    <a:pt x="66488" y="162601"/>
                  </a:lnTo>
                  <a:lnTo>
                    <a:pt x="63402" y="164094"/>
                  </a:lnTo>
                  <a:lnTo>
                    <a:pt x="61772" y="164509"/>
                  </a:lnTo>
                  <a:lnTo>
                    <a:pt x="56859" y="165433"/>
                  </a:lnTo>
                  <a:lnTo>
                    <a:pt x="51592" y="165885"/>
                  </a:lnTo>
                  <a:lnTo>
                    <a:pt x="49580" y="165909"/>
                  </a:lnTo>
                  <a:lnTo>
                    <a:pt x="48196" y="166569"/>
                  </a:lnTo>
                  <a:lnTo>
                    <a:pt x="47304" y="167505"/>
                  </a:lnTo>
                  <a:lnTo>
                    <a:pt x="46699" y="169576"/>
                  </a:lnTo>
                  <a:lnTo>
                    <a:pt x="45665" y="173133"/>
                  </a:lnTo>
                  <a:lnTo>
                    <a:pt x="45233" y="174101"/>
                  </a:lnTo>
                  <a:lnTo>
                    <a:pt x="45306" y="175521"/>
                  </a:lnTo>
                  <a:lnTo>
                    <a:pt x="45000" y="177906"/>
                  </a:lnTo>
                  <a:lnTo>
                    <a:pt x="44853" y="180045"/>
                  </a:lnTo>
                  <a:lnTo>
                    <a:pt x="45052" y="181479"/>
                  </a:lnTo>
                  <a:lnTo>
                    <a:pt x="43564" y="184372"/>
                  </a:lnTo>
                  <a:lnTo>
                    <a:pt x="41758" y="187873"/>
                  </a:lnTo>
                  <a:lnTo>
                    <a:pt x="40258" y="190882"/>
                  </a:lnTo>
                  <a:lnTo>
                    <a:pt x="38746" y="193907"/>
                  </a:lnTo>
                  <a:lnTo>
                    <a:pt x="37701" y="191834"/>
                  </a:lnTo>
                  <a:lnTo>
                    <a:pt x="37051" y="189406"/>
                  </a:lnTo>
                  <a:lnTo>
                    <a:pt x="36803" y="186624"/>
                  </a:lnTo>
                  <a:lnTo>
                    <a:pt x="36943" y="185884"/>
                  </a:lnTo>
                  <a:lnTo>
                    <a:pt x="36537" y="185058"/>
                  </a:lnTo>
                  <a:lnTo>
                    <a:pt x="36507" y="184878"/>
                  </a:lnTo>
                  <a:lnTo>
                    <a:pt x="36001" y="182779"/>
                  </a:lnTo>
                  <a:lnTo>
                    <a:pt x="36513" y="181316"/>
                  </a:lnTo>
                  <a:lnTo>
                    <a:pt x="36094" y="179779"/>
                  </a:lnTo>
                  <a:lnTo>
                    <a:pt x="34872" y="178272"/>
                  </a:lnTo>
                  <a:lnTo>
                    <a:pt x="33762" y="177120"/>
                  </a:lnTo>
                  <a:lnTo>
                    <a:pt x="33114" y="176078"/>
                  </a:lnTo>
                  <a:lnTo>
                    <a:pt x="32587" y="175634"/>
                  </a:lnTo>
                  <a:lnTo>
                    <a:pt x="31359" y="175474"/>
                  </a:lnTo>
                  <a:lnTo>
                    <a:pt x="29715" y="174941"/>
                  </a:lnTo>
                  <a:lnTo>
                    <a:pt x="27539" y="172672"/>
                  </a:lnTo>
                  <a:lnTo>
                    <a:pt x="25423" y="170467"/>
                  </a:lnTo>
                  <a:lnTo>
                    <a:pt x="22715" y="167644"/>
                  </a:lnTo>
                  <a:lnTo>
                    <a:pt x="20542" y="165202"/>
                  </a:lnTo>
                  <a:lnTo>
                    <a:pt x="17882" y="162213"/>
                  </a:lnTo>
                  <a:lnTo>
                    <a:pt x="15425" y="159450"/>
                  </a:lnTo>
                  <a:lnTo>
                    <a:pt x="13952" y="156786"/>
                  </a:lnTo>
                  <a:lnTo>
                    <a:pt x="13349" y="155255"/>
                  </a:lnTo>
                  <a:lnTo>
                    <a:pt x="14069" y="155108"/>
                  </a:lnTo>
                  <a:lnTo>
                    <a:pt x="15131" y="155075"/>
                  </a:lnTo>
                  <a:lnTo>
                    <a:pt x="15582" y="154799"/>
                  </a:lnTo>
                  <a:lnTo>
                    <a:pt x="15606" y="154086"/>
                  </a:lnTo>
                  <a:lnTo>
                    <a:pt x="14514" y="151985"/>
                  </a:lnTo>
                  <a:lnTo>
                    <a:pt x="13985" y="149307"/>
                  </a:lnTo>
                  <a:lnTo>
                    <a:pt x="13082" y="147675"/>
                  </a:lnTo>
                  <a:lnTo>
                    <a:pt x="10225" y="145164"/>
                  </a:lnTo>
                  <a:lnTo>
                    <a:pt x="7502" y="143254"/>
                  </a:lnTo>
                  <a:lnTo>
                    <a:pt x="6636" y="142272"/>
                  </a:lnTo>
                  <a:lnTo>
                    <a:pt x="6144" y="140872"/>
                  </a:lnTo>
                  <a:lnTo>
                    <a:pt x="5099" y="132008"/>
                  </a:lnTo>
                  <a:lnTo>
                    <a:pt x="4632" y="129491"/>
                  </a:lnTo>
                  <a:lnTo>
                    <a:pt x="3773" y="128388"/>
                  </a:lnTo>
                  <a:lnTo>
                    <a:pt x="3148" y="127881"/>
                  </a:lnTo>
                  <a:lnTo>
                    <a:pt x="2916" y="127255"/>
                  </a:lnTo>
                  <a:lnTo>
                    <a:pt x="3028" y="125678"/>
                  </a:lnTo>
                  <a:lnTo>
                    <a:pt x="3388" y="124266"/>
                  </a:lnTo>
                  <a:lnTo>
                    <a:pt x="3371" y="123713"/>
                  </a:lnTo>
                  <a:lnTo>
                    <a:pt x="4107" y="122475"/>
                  </a:lnTo>
                  <a:lnTo>
                    <a:pt x="4107" y="114276"/>
                  </a:lnTo>
                  <a:lnTo>
                    <a:pt x="3708" y="113857"/>
                  </a:lnTo>
                  <a:lnTo>
                    <a:pt x="3231" y="113147"/>
                  </a:lnTo>
                  <a:lnTo>
                    <a:pt x="2462" y="113201"/>
                  </a:lnTo>
                  <a:lnTo>
                    <a:pt x="1592" y="113127"/>
                  </a:lnTo>
                  <a:lnTo>
                    <a:pt x="724" y="111933"/>
                  </a:lnTo>
                  <a:lnTo>
                    <a:pt x="0" y="110424"/>
                  </a:lnTo>
                  <a:lnTo>
                    <a:pt x="212" y="109359"/>
                  </a:lnTo>
                  <a:lnTo>
                    <a:pt x="970" y="108469"/>
                  </a:lnTo>
                  <a:lnTo>
                    <a:pt x="1790" y="107690"/>
                  </a:lnTo>
                  <a:lnTo>
                    <a:pt x="2836" y="107040"/>
                  </a:lnTo>
                  <a:lnTo>
                    <a:pt x="5934" y="105729"/>
                  </a:lnTo>
                  <a:lnTo>
                    <a:pt x="6813" y="105074"/>
                  </a:lnTo>
                  <a:lnTo>
                    <a:pt x="7362" y="104262"/>
                  </a:lnTo>
                  <a:lnTo>
                    <a:pt x="7722" y="103166"/>
                  </a:lnTo>
                  <a:lnTo>
                    <a:pt x="9525" y="98948"/>
                  </a:lnTo>
                  <a:lnTo>
                    <a:pt x="12196" y="94737"/>
                  </a:lnTo>
                  <a:lnTo>
                    <a:pt x="13343" y="93868"/>
                  </a:lnTo>
                  <a:lnTo>
                    <a:pt x="14488" y="91081"/>
                  </a:lnTo>
                  <a:lnTo>
                    <a:pt x="16053" y="87667"/>
                  </a:lnTo>
                  <a:lnTo>
                    <a:pt x="16688" y="86082"/>
                  </a:lnTo>
                  <a:lnTo>
                    <a:pt x="17150" y="84498"/>
                  </a:lnTo>
                  <a:lnTo>
                    <a:pt x="18016" y="83222"/>
                  </a:lnTo>
                  <a:lnTo>
                    <a:pt x="20961" y="81120"/>
                  </a:lnTo>
                  <a:lnTo>
                    <a:pt x="23194" y="77438"/>
                  </a:lnTo>
                  <a:lnTo>
                    <a:pt x="25608" y="77632"/>
                  </a:lnTo>
                  <a:lnTo>
                    <a:pt x="28085" y="78224"/>
                  </a:lnTo>
                  <a:lnTo>
                    <a:pt x="31264" y="78516"/>
                  </a:lnTo>
                  <a:lnTo>
                    <a:pt x="33754" y="77798"/>
                  </a:lnTo>
                  <a:lnTo>
                    <a:pt x="35369" y="76363"/>
                  </a:lnTo>
                  <a:lnTo>
                    <a:pt x="38917" y="75222"/>
                  </a:lnTo>
                  <a:lnTo>
                    <a:pt x="43069" y="73885"/>
                  </a:lnTo>
                  <a:lnTo>
                    <a:pt x="43633" y="71910"/>
                  </a:lnTo>
                  <a:lnTo>
                    <a:pt x="44849" y="70872"/>
                  </a:lnTo>
                  <a:lnTo>
                    <a:pt x="46261" y="69961"/>
                  </a:lnTo>
                  <a:lnTo>
                    <a:pt x="46749" y="69838"/>
                  </a:lnTo>
                  <a:lnTo>
                    <a:pt x="46857" y="70497"/>
                  </a:lnTo>
                  <a:lnTo>
                    <a:pt x="47714" y="72555"/>
                  </a:lnTo>
                  <a:lnTo>
                    <a:pt x="49470" y="74592"/>
                  </a:lnTo>
                  <a:lnTo>
                    <a:pt x="52044" y="76833"/>
                  </a:lnTo>
                  <a:lnTo>
                    <a:pt x="52782" y="76692"/>
                  </a:lnTo>
                  <a:lnTo>
                    <a:pt x="54378" y="74994"/>
                  </a:lnTo>
                  <a:lnTo>
                    <a:pt x="58394" y="73946"/>
                  </a:lnTo>
                  <a:lnTo>
                    <a:pt x="59411" y="73477"/>
                  </a:lnTo>
                  <a:lnTo>
                    <a:pt x="62264" y="71006"/>
                  </a:lnTo>
                  <a:lnTo>
                    <a:pt x="65695" y="69414"/>
                  </a:lnTo>
                  <a:lnTo>
                    <a:pt x="66453" y="69272"/>
                  </a:lnTo>
                  <a:lnTo>
                    <a:pt x="67697" y="68852"/>
                  </a:lnTo>
                  <a:lnTo>
                    <a:pt x="71163" y="67210"/>
                  </a:lnTo>
                  <a:lnTo>
                    <a:pt x="73627" y="67428"/>
                  </a:lnTo>
                  <a:lnTo>
                    <a:pt x="77591" y="67169"/>
                  </a:lnTo>
                  <a:lnTo>
                    <a:pt x="84197" y="66392"/>
                  </a:lnTo>
                  <a:lnTo>
                    <a:pt x="88978" y="66132"/>
                  </a:lnTo>
                  <a:lnTo>
                    <a:pt x="91390" y="65824"/>
                  </a:lnTo>
                  <a:lnTo>
                    <a:pt x="91997" y="65493"/>
                  </a:lnTo>
                  <a:lnTo>
                    <a:pt x="92925" y="63113"/>
                  </a:lnTo>
                  <a:lnTo>
                    <a:pt x="93646" y="62445"/>
                  </a:lnTo>
                  <a:lnTo>
                    <a:pt x="95443" y="61420"/>
                  </a:lnTo>
                  <a:lnTo>
                    <a:pt x="98958" y="57829"/>
                  </a:lnTo>
                  <a:lnTo>
                    <a:pt x="101267" y="54798"/>
                  </a:lnTo>
                  <a:lnTo>
                    <a:pt x="101908" y="53780"/>
                  </a:lnTo>
                  <a:lnTo>
                    <a:pt x="101964" y="53705"/>
                  </a:lnTo>
                  <a:lnTo>
                    <a:pt x="102439" y="53515"/>
                  </a:lnTo>
                  <a:lnTo>
                    <a:pt x="103431" y="52238"/>
                  </a:lnTo>
                  <a:lnTo>
                    <a:pt x="102446" y="50917"/>
                  </a:lnTo>
                  <a:lnTo>
                    <a:pt x="98507" y="48230"/>
                  </a:lnTo>
                  <a:lnTo>
                    <a:pt x="98563" y="47864"/>
                  </a:lnTo>
                  <a:lnTo>
                    <a:pt x="98336" y="47402"/>
                  </a:lnTo>
                  <a:lnTo>
                    <a:pt x="98557" y="47034"/>
                  </a:lnTo>
                  <a:lnTo>
                    <a:pt x="100060" y="45939"/>
                  </a:lnTo>
                  <a:lnTo>
                    <a:pt x="102085" y="44687"/>
                  </a:lnTo>
                  <a:lnTo>
                    <a:pt x="104245" y="44221"/>
                  </a:lnTo>
                  <a:lnTo>
                    <a:pt x="109878" y="44317"/>
                  </a:lnTo>
                  <a:lnTo>
                    <a:pt x="114681" y="44051"/>
                  </a:lnTo>
                  <a:lnTo>
                    <a:pt x="115806" y="44111"/>
                  </a:lnTo>
                  <a:lnTo>
                    <a:pt x="119550" y="43476"/>
                  </a:lnTo>
                  <a:lnTo>
                    <a:pt x="122111" y="42901"/>
                  </a:lnTo>
                  <a:lnTo>
                    <a:pt x="124746" y="41607"/>
                  </a:lnTo>
                  <a:lnTo>
                    <a:pt x="130703" y="41743"/>
                  </a:lnTo>
                  <a:lnTo>
                    <a:pt x="135674" y="38447"/>
                  </a:lnTo>
                  <a:lnTo>
                    <a:pt x="137102" y="37858"/>
                  </a:lnTo>
                  <a:lnTo>
                    <a:pt x="137726" y="37342"/>
                  </a:lnTo>
                  <a:lnTo>
                    <a:pt x="137914" y="36837"/>
                  </a:lnTo>
                  <a:lnTo>
                    <a:pt x="140237" y="35532"/>
                  </a:lnTo>
                  <a:lnTo>
                    <a:pt x="142841" y="32822"/>
                  </a:lnTo>
                  <a:lnTo>
                    <a:pt x="144901" y="30387"/>
                  </a:lnTo>
                  <a:lnTo>
                    <a:pt x="145461" y="28670"/>
                  </a:lnTo>
                  <a:lnTo>
                    <a:pt x="151086" y="22835"/>
                  </a:lnTo>
                  <a:lnTo>
                    <a:pt x="153045" y="22957"/>
                  </a:lnTo>
                  <a:lnTo>
                    <a:pt x="154007" y="22237"/>
                  </a:lnTo>
                  <a:lnTo>
                    <a:pt x="156238" y="18345"/>
                  </a:lnTo>
                  <a:lnTo>
                    <a:pt x="156927" y="17627"/>
                  </a:lnTo>
                  <a:lnTo>
                    <a:pt x="157983" y="17387"/>
                  </a:lnTo>
                  <a:lnTo>
                    <a:pt x="159242" y="16946"/>
                  </a:lnTo>
                  <a:lnTo>
                    <a:pt x="160347" y="15794"/>
                  </a:lnTo>
                  <a:lnTo>
                    <a:pt x="161300" y="14080"/>
                  </a:lnTo>
                  <a:lnTo>
                    <a:pt x="161309" y="11956"/>
                  </a:lnTo>
                  <a:lnTo>
                    <a:pt x="160874" y="10251"/>
                  </a:lnTo>
                  <a:lnTo>
                    <a:pt x="160874" y="9426"/>
                  </a:lnTo>
                  <a:lnTo>
                    <a:pt x="161408" y="8668"/>
                  </a:lnTo>
                  <a:lnTo>
                    <a:pt x="162310" y="7905"/>
                  </a:lnTo>
                  <a:lnTo>
                    <a:pt x="166586" y="5807"/>
                  </a:lnTo>
                  <a:lnTo>
                    <a:pt x="167668" y="4792"/>
                  </a:lnTo>
                  <a:lnTo>
                    <a:pt x="168318" y="3882"/>
                  </a:lnTo>
                  <a:lnTo>
                    <a:pt x="169512" y="3718"/>
                  </a:lnTo>
                  <a:lnTo>
                    <a:pt x="170818" y="3807"/>
                  </a:lnTo>
                  <a:lnTo>
                    <a:pt x="171646" y="3241"/>
                  </a:lnTo>
                  <a:lnTo>
                    <a:pt x="172580" y="2284"/>
                  </a:lnTo>
                  <a:lnTo>
                    <a:pt x="175541" y="1001"/>
                  </a:lnTo>
                  <a:lnTo>
                    <a:pt x="178283" y="0"/>
                  </a:lnTo>
                  <a:lnTo>
                    <a:pt x="181162" y="423"/>
                  </a:lnTo>
                  <a:lnTo>
                    <a:pt x="183509" y="944"/>
                  </a:lnTo>
                  <a:lnTo>
                    <a:pt x="185437" y="1545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68" name="ee4p_CI_1_37365">
              <a:extLst>
                <a:ext uri="{FF2B5EF4-FFF2-40B4-BE49-F238E27FC236}">
                  <a16:creationId xmlns:a16="http://schemas.microsoft.com/office/drawing/2014/main" id="{C3BC65AC-C9C0-E6D3-B5ED-2A80097E6ED6}"/>
                </a:ext>
              </a:extLst>
            </p:cNvPr>
            <p:cNvSpPr>
              <a:spLocks noChangeAspect="1"/>
            </p:cNvSpPr>
            <p:nvPr>
              <p:custDataLst>
                <p:tags r:id="rId322"/>
              </p:custDataLst>
            </p:nvPr>
          </p:nvSpPr>
          <p:spPr>
            <a:xfrm>
              <a:off x="6275785" y="4370630"/>
              <a:ext cx="169329" cy="182859"/>
            </a:xfrm>
            <a:custGeom>
              <a:avLst/>
              <a:gdLst>
                <a:gd name="connsiteX0" fmla="*/ 319162 w 361156"/>
                <a:gd name="connsiteY0" fmla="*/ 332431 h 379676"/>
                <a:gd name="connsiteX1" fmla="*/ 326753 w 361156"/>
                <a:gd name="connsiteY1" fmla="*/ 333553 h 379676"/>
                <a:gd name="connsiteX2" fmla="*/ 325138 w 361156"/>
                <a:gd name="connsiteY2" fmla="*/ 335907 h 379676"/>
                <a:gd name="connsiteX3" fmla="*/ 317295 w 361156"/>
                <a:gd name="connsiteY3" fmla="*/ 334400 h 379676"/>
                <a:gd name="connsiteX4" fmla="*/ 138738 w 361156"/>
                <a:gd name="connsiteY4" fmla="*/ 0 h 379676"/>
                <a:gd name="connsiteX5" fmla="*/ 139384 w 361156"/>
                <a:gd name="connsiteY5" fmla="*/ 370 h 379676"/>
                <a:gd name="connsiteX6" fmla="*/ 140543 w 361156"/>
                <a:gd name="connsiteY6" fmla="*/ 7580 h 379676"/>
                <a:gd name="connsiteX7" fmla="*/ 140005 w 361156"/>
                <a:gd name="connsiteY7" fmla="*/ 9940 h 379676"/>
                <a:gd name="connsiteX8" fmla="*/ 141307 w 361156"/>
                <a:gd name="connsiteY8" fmla="*/ 14839 h 379676"/>
                <a:gd name="connsiteX9" fmla="*/ 142911 w 361156"/>
                <a:gd name="connsiteY9" fmla="*/ 19387 h 379676"/>
                <a:gd name="connsiteX10" fmla="*/ 142796 w 361156"/>
                <a:gd name="connsiteY10" fmla="*/ 21236 h 379676"/>
                <a:gd name="connsiteX11" fmla="*/ 141470 w 361156"/>
                <a:gd name="connsiteY11" fmla="*/ 24053 h 379676"/>
                <a:gd name="connsiteX12" fmla="*/ 139914 w 361156"/>
                <a:gd name="connsiteY12" fmla="*/ 26636 h 379676"/>
                <a:gd name="connsiteX13" fmla="*/ 140085 w 361156"/>
                <a:gd name="connsiteY13" fmla="*/ 27688 h 379676"/>
                <a:gd name="connsiteX14" fmla="*/ 142544 w 361156"/>
                <a:gd name="connsiteY14" fmla="*/ 29451 h 379676"/>
                <a:gd name="connsiteX15" fmla="*/ 147264 w 361156"/>
                <a:gd name="connsiteY15" fmla="*/ 31261 h 379676"/>
                <a:gd name="connsiteX16" fmla="*/ 152158 w 361156"/>
                <a:gd name="connsiteY16" fmla="*/ 31685 h 379676"/>
                <a:gd name="connsiteX17" fmla="*/ 154876 w 361156"/>
                <a:gd name="connsiteY17" fmla="*/ 29036 h 379676"/>
                <a:gd name="connsiteX18" fmla="*/ 157718 w 361156"/>
                <a:gd name="connsiteY18" fmla="*/ 26882 h 379676"/>
                <a:gd name="connsiteX19" fmla="*/ 159679 w 361156"/>
                <a:gd name="connsiteY19" fmla="*/ 24959 h 379676"/>
                <a:gd name="connsiteX20" fmla="*/ 160354 w 361156"/>
                <a:gd name="connsiteY20" fmla="*/ 22114 h 379676"/>
                <a:gd name="connsiteX21" fmla="*/ 163453 w 361156"/>
                <a:gd name="connsiteY21" fmla="*/ 20030 h 379676"/>
                <a:gd name="connsiteX22" fmla="*/ 172311 w 361156"/>
                <a:gd name="connsiteY22" fmla="*/ 17419 h 379676"/>
                <a:gd name="connsiteX23" fmla="*/ 180467 w 361156"/>
                <a:gd name="connsiteY23" fmla="*/ 17014 h 379676"/>
                <a:gd name="connsiteX24" fmla="*/ 182425 w 361156"/>
                <a:gd name="connsiteY24" fmla="*/ 17847 h 379676"/>
                <a:gd name="connsiteX25" fmla="*/ 186114 w 361156"/>
                <a:gd name="connsiteY25" fmla="*/ 21825 h 379676"/>
                <a:gd name="connsiteX26" fmla="*/ 190793 w 361156"/>
                <a:gd name="connsiteY26" fmla="*/ 24552 h 379676"/>
                <a:gd name="connsiteX27" fmla="*/ 197896 w 361156"/>
                <a:gd name="connsiteY27" fmla="*/ 24214 h 379676"/>
                <a:gd name="connsiteX28" fmla="*/ 203050 w 361156"/>
                <a:gd name="connsiteY28" fmla="*/ 25832 h 379676"/>
                <a:gd name="connsiteX29" fmla="*/ 207518 w 361156"/>
                <a:gd name="connsiteY29" fmla="*/ 28886 h 379676"/>
                <a:gd name="connsiteX30" fmla="*/ 210512 w 361156"/>
                <a:gd name="connsiteY30" fmla="*/ 35662 h 379676"/>
                <a:gd name="connsiteX31" fmla="*/ 213786 w 361156"/>
                <a:gd name="connsiteY31" fmla="*/ 40559 h 379676"/>
                <a:gd name="connsiteX32" fmla="*/ 215216 w 361156"/>
                <a:gd name="connsiteY32" fmla="*/ 47520 h 379676"/>
                <a:gd name="connsiteX33" fmla="*/ 220380 w 361156"/>
                <a:gd name="connsiteY33" fmla="*/ 51176 h 379676"/>
                <a:gd name="connsiteX34" fmla="*/ 224422 w 361156"/>
                <a:gd name="connsiteY34" fmla="*/ 52837 h 379676"/>
                <a:gd name="connsiteX35" fmla="*/ 229910 w 361156"/>
                <a:gd name="connsiteY35" fmla="*/ 57897 h 379676"/>
                <a:gd name="connsiteX36" fmla="*/ 235594 w 361156"/>
                <a:gd name="connsiteY36" fmla="*/ 60466 h 379676"/>
                <a:gd name="connsiteX37" fmla="*/ 241471 w 361156"/>
                <a:gd name="connsiteY37" fmla="*/ 59874 h 379676"/>
                <a:gd name="connsiteX38" fmla="*/ 244217 w 361156"/>
                <a:gd name="connsiteY38" fmla="*/ 62517 h 379676"/>
                <a:gd name="connsiteX39" fmla="*/ 248604 w 361156"/>
                <a:gd name="connsiteY39" fmla="*/ 64384 h 379676"/>
                <a:gd name="connsiteX40" fmla="*/ 252983 w 361156"/>
                <a:gd name="connsiteY40" fmla="*/ 64521 h 379676"/>
                <a:gd name="connsiteX41" fmla="*/ 256838 w 361156"/>
                <a:gd name="connsiteY41" fmla="*/ 58690 h 379676"/>
                <a:gd name="connsiteX42" fmla="*/ 261932 w 361156"/>
                <a:gd name="connsiteY42" fmla="*/ 56392 h 379676"/>
                <a:gd name="connsiteX43" fmla="*/ 274824 w 361156"/>
                <a:gd name="connsiteY43" fmla="*/ 51734 h 379676"/>
                <a:gd name="connsiteX44" fmla="*/ 279908 w 361156"/>
                <a:gd name="connsiteY44" fmla="*/ 49623 h 379676"/>
                <a:gd name="connsiteX45" fmla="*/ 285062 w 361156"/>
                <a:gd name="connsiteY45" fmla="*/ 48292 h 379676"/>
                <a:gd name="connsiteX46" fmla="*/ 297469 w 361156"/>
                <a:gd name="connsiteY46" fmla="*/ 47866 h 379676"/>
                <a:gd name="connsiteX47" fmla="*/ 309011 w 361156"/>
                <a:gd name="connsiteY47" fmla="*/ 49302 h 379676"/>
                <a:gd name="connsiteX48" fmla="*/ 314732 w 361156"/>
                <a:gd name="connsiteY48" fmla="*/ 50384 h 379676"/>
                <a:gd name="connsiteX49" fmla="*/ 318651 w 361156"/>
                <a:gd name="connsiteY49" fmla="*/ 49591 h 379676"/>
                <a:gd name="connsiteX50" fmla="*/ 322371 w 361156"/>
                <a:gd name="connsiteY50" fmla="*/ 52360 h 379676"/>
                <a:gd name="connsiteX51" fmla="*/ 326215 w 361156"/>
                <a:gd name="connsiteY51" fmla="*/ 58162 h 379676"/>
                <a:gd name="connsiteX52" fmla="*/ 329365 w 361156"/>
                <a:gd name="connsiteY52" fmla="*/ 60029 h 379676"/>
                <a:gd name="connsiteX53" fmla="*/ 332584 w 361156"/>
                <a:gd name="connsiteY53" fmla="*/ 62033 h 379676"/>
                <a:gd name="connsiteX54" fmla="*/ 334960 w 361156"/>
                <a:gd name="connsiteY54" fmla="*/ 66613 h 379676"/>
                <a:gd name="connsiteX55" fmla="*/ 337759 w 361156"/>
                <a:gd name="connsiteY55" fmla="*/ 71161 h 379676"/>
                <a:gd name="connsiteX56" fmla="*/ 339286 w 361156"/>
                <a:gd name="connsiteY56" fmla="*/ 73175 h 379676"/>
                <a:gd name="connsiteX57" fmla="*/ 342744 w 361156"/>
                <a:gd name="connsiteY57" fmla="*/ 77662 h 379676"/>
                <a:gd name="connsiteX58" fmla="*/ 345712 w 361156"/>
                <a:gd name="connsiteY58" fmla="*/ 77729 h 379676"/>
                <a:gd name="connsiteX59" fmla="*/ 348640 w 361156"/>
                <a:gd name="connsiteY59" fmla="*/ 75792 h 379676"/>
                <a:gd name="connsiteX60" fmla="*/ 349904 w 361156"/>
                <a:gd name="connsiteY60" fmla="*/ 74346 h 379676"/>
                <a:gd name="connsiteX61" fmla="*/ 350480 w 361156"/>
                <a:gd name="connsiteY61" fmla="*/ 77308 h 379676"/>
                <a:gd name="connsiteX62" fmla="*/ 349317 w 361156"/>
                <a:gd name="connsiteY62" fmla="*/ 82111 h 379676"/>
                <a:gd name="connsiteX63" fmla="*/ 349550 w 361156"/>
                <a:gd name="connsiteY63" fmla="*/ 85079 h 379676"/>
                <a:gd name="connsiteX64" fmla="*/ 351184 w 361156"/>
                <a:gd name="connsiteY64" fmla="*/ 86217 h 379676"/>
                <a:gd name="connsiteX65" fmla="*/ 350298 w 361156"/>
                <a:gd name="connsiteY65" fmla="*/ 90040 h 379676"/>
                <a:gd name="connsiteX66" fmla="*/ 346893 w 361156"/>
                <a:gd name="connsiteY66" fmla="*/ 96548 h 379676"/>
                <a:gd name="connsiteX67" fmla="*/ 346880 w 361156"/>
                <a:gd name="connsiteY67" fmla="*/ 100400 h 379676"/>
                <a:gd name="connsiteX68" fmla="*/ 350257 w 361156"/>
                <a:gd name="connsiteY68" fmla="*/ 101595 h 379676"/>
                <a:gd name="connsiteX69" fmla="*/ 352665 w 361156"/>
                <a:gd name="connsiteY69" fmla="*/ 105685 h 379676"/>
                <a:gd name="connsiteX70" fmla="*/ 354107 w 361156"/>
                <a:gd name="connsiteY70" fmla="*/ 112668 h 379676"/>
                <a:gd name="connsiteX71" fmla="*/ 355558 w 361156"/>
                <a:gd name="connsiteY71" fmla="*/ 115004 h 379676"/>
                <a:gd name="connsiteX72" fmla="*/ 355700 w 361156"/>
                <a:gd name="connsiteY72" fmla="*/ 116442 h 379676"/>
                <a:gd name="connsiteX73" fmla="*/ 358135 w 361156"/>
                <a:gd name="connsiteY73" fmla="*/ 133346 h 379676"/>
                <a:gd name="connsiteX74" fmla="*/ 361156 w 361156"/>
                <a:gd name="connsiteY74" fmla="*/ 150299 h 379676"/>
                <a:gd name="connsiteX75" fmla="*/ 359236 w 361156"/>
                <a:gd name="connsiteY75" fmla="*/ 152511 h 379676"/>
                <a:gd name="connsiteX76" fmla="*/ 356603 w 361156"/>
                <a:gd name="connsiteY76" fmla="*/ 153157 h 379676"/>
                <a:gd name="connsiteX77" fmla="*/ 354886 w 361156"/>
                <a:gd name="connsiteY77" fmla="*/ 153947 h 379676"/>
                <a:gd name="connsiteX78" fmla="*/ 354398 w 361156"/>
                <a:gd name="connsiteY78" fmla="*/ 155525 h 379676"/>
                <a:gd name="connsiteX79" fmla="*/ 355523 w 361156"/>
                <a:gd name="connsiteY79" fmla="*/ 157839 h 379676"/>
                <a:gd name="connsiteX80" fmla="*/ 354790 w 361156"/>
                <a:gd name="connsiteY80" fmla="*/ 159958 h 379676"/>
                <a:gd name="connsiteX81" fmla="*/ 351503 w 361156"/>
                <a:gd name="connsiteY81" fmla="*/ 161418 h 379676"/>
                <a:gd name="connsiteX82" fmla="*/ 344343 w 361156"/>
                <a:gd name="connsiteY82" fmla="*/ 166799 h 379676"/>
                <a:gd name="connsiteX83" fmla="*/ 343845 w 361156"/>
                <a:gd name="connsiteY83" fmla="*/ 168939 h 379676"/>
                <a:gd name="connsiteX84" fmla="*/ 341951 w 361156"/>
                <a:gd name="connsiteY84" fmla="*/ 173525 h 379676"/>
                <a:gd name="connsiteX85" fmla="*/ 340366 w 361156"/>
                <a:gd name="connsiteY85" fmla="*/ 176324 h 379676"/>
                <a:gd name="connsiteX86" fmla="*/ 338030 w 361156"/>
                <a:gd name="connsiteY86" fmla="*/ 181512 h 379676"/>
                <a:gd name="connsiteX87" fmla="*/ 334315 w 361156"/>
                <a:gd name="connsiteY87" fmla="*/ 195237 h 379676"/>
                <a:gd name="connsiteX88" fmla="*/ 332938 w 361156"/>
                <a:gd name="connsiteY88" fmla="*/ 206605 h 379676"/>
                <a:gd name="connsiteX89" fmla="*/ 332732 w 361156"/>
                <a:gd name="connsiteY89" fmla="*/ 210103 h 379676"/>
                <a:gd name="connsiteX90" fmla="*/ 331288 w 361156"/>
                <a:gd name="connsiteY90" fmla="*/ 212551 h 379676"/>
                <a:gd name="connsiteX91" fmla="*/ 329657 w 361156"/>
                <a:gd name="connsiteY91" fmla="*/ 216073 h 379676"/>
                <a:gd name="connsiteX92" fmla="*/ 321886 w 361156"/>
                <a:gd name="connsiteY92" fmla="*/ 225810 h 379676"/>
                <a:gd name="connsiteX93" fmla="*/ 317925 w 361156"/>
                <a:gd name="connsiteY93" fmla="*/ 233768 h 379676"/>
                <a:gd name="connsiteX94" fmla="*/ 318436 w 361156"/>
                <a:gd name="connsiteY94" fmla="*/ 237223 h 379676"/>
                <a:gd name="connsiteX95" fmla="*/ 318616 w 361156"/>
                <a:gd name="connsiteY95" fmla="*/ 240695 h 379676"/>
                <a:gd name="connsiteX96" fmla="*/ 317443 w 361156"/>
                <a:gd name="connsiteY96" fmla="*/ 243199 h 379676"/>
                <a:gd name="connsiteX97" fmla="*/ 317660 w 361156"/>
                <a:gd name="connsiteY97" fmla="*/ 249922 h 379676"/>
                <a:gd name="connsiteX98" fmla="*/ 318621 w 361156"/>
                <a:gd name="connsiteY98" fmla="*/ 255547 h 379676"/>
                <a:gd name="connsiteX99" fmla="*/ 320009 w 361156"/>
                <a:gd name="connsiteY99" fmla="*/ 261068 h 379676"/>
                <a:gd name="connsiteX100" fmla="*/ 325636 w 361156"/>
                <a:gd name="connsiteY100" fmla="*/ 276681 h 379676"/>
                <a:gd name="connsiteX101" fmla="*/ 328564 w 361156"/>
                <a:gd name="connsiteY101" fmla="*/ 286152 h 379676"/>
                <a:gd name="connsiteX102" fmla="*/ 330391 w 361156"/>
                <a:gd name="connsiteY102" fmla="*/ 293789 h 379676"/>
                <a:gd name="connsiteX103" fmla="*/ 331992 w 361156"/>
                <a:gd name="connsiteY103" fmla="*/ 298926 h 379676"/>
                <a:gd name="connsiteX104" fmla="*/ 333500 w 361156"/>
                <a:gd name="connsiteY104" fmla="*/ 301007 h 379676"/>
                <a:gd name="connsiteX105" fmla="*/ 334125 w 361156"/>
                <a:gd name="connsiteY105" fmla="*/ 302984 h 379676"/>
                <a:gd name="connsiteX106" fmla="*/ 342482 w 361156"/>
                <a:gd name="connsiteY106" fmla="*/ 304399 h 379676"/>
                <a:gd name="connsiteX107" fmla="*/ 344110 w 361156"/>
                <a:gd name="connsiteY107" fmla="*/ 305534 h 379676"/>
                <a:gd name="connsiteX108" fmla="*/ 346400 w 361156"/>
                <a:gd name="connsiteY108" fmla="*/ 315490 h 379676"/>
                <a:gd name="connsiteX109" fmla="*/ 345991 w 361156"/>
                <a:gd name="connsiteY109" fmla="*/ 319977 h 379676"/>
                <a:gd name="connsiteX110" fmla="*/ 344351 w 361156"/>
                <a:gd name="connsiteY110" fmla="*/ 321683 h 379676"/>
                <a:gd name="connsiteX111" fmla="*/ 344408 w 361156"/>
                <a:gd name="connsiteY111" fmla="*/ 325492 h 379676"/>
                <a:gd name="connsiteX112" fmla="*/ 344019 w 361156"/>
                <a:gd name="connsiteY112" fmla="*/ 330217 h 379676"/>
                <a:gd name="connsiteX113" fmla="*/ 342808 w 361156"/>
                <a:gd name="connsiteY113" fmla="*/ 332087 h 379676"/>
                <a:gd name="connsiteX114" fmla="*/ 338124 w 361156"/>
                <a:gd name="connsiteY114" fmla="*/ 332325 h 379676"/>
                <a:gd name="connsiteX115" fmla="*/ 334950 w 361156"/>
                <a:gd name="connsiteY115" fmla="*/ 334117 h 379676"/>
                <a:gd name="connsiteX116" fmla="*/ 330755 w 361156"/>
                <a:gd name="connsiteY116" fmla="*/ 333407 h 379676"/>
                <a:gd name="connsiteX117" fmla="*/ 330356 w 361156"/>
                <a:gd name="connsiteY117" fmla="*/ 332237 h 379676"/>
                <a:gd name="connsiteX118" fmla="*/ 328101 w 361156"/>
                <a:gd name="connsiteY118" fmla="*/ 331811 h 379676"/>
                <a:gd name="connsiteX119" fmla="*/ 321897 w 361156"/>
                <a:gd name="connsiteY119" fmla="*/ 329119 h 379676"/>
                <a:gd name="connsiteX120" fmla="*/ 322923 w 361156"/>
                <a:gd name="connsiteY120" fmla="*/ 320491 h 379676"/>
                <a:gd name="connsiteX121" fmla="*/ 320046 w 361156"/>
                <a:gd name="connsiteY121" fmla="*/ 320124 h 379676"/>
                <a:gd name="connsiteX122" fmla="*/ 317818 w 361156"/>
                <a:gd name="connsiteY122" fmla="*/ 321257 h 379676"/>
                <a:gd name="connsiteX123" fmla="*/ 313409 w 361156"/>
                <a:gd name="connsiteY123" fmla="*/ 331626 h 379676"/>
                <a:gd name="connsiteX124" fmla="*/ 311303 w 361156"/>
                <a:gd name="connsiteY124" fmla="*/ 333415 h 379676"/>
                <a:gd name="connsiteX125" fmla="*/ 280326 w 361156"/>
                <a:gd name="connsiteY125" fmla="*/ 328069 h 379676"/>
                <a:gd name="connsiteX126" fmla="*/ 273597 w 361156"/>
                <a:gd name="connsiteY126" fmla="*/ 323767 h 379676"/>
                <a:gd name="connsiteX127" fmla="*/ 265546 w 361156"/>
                <a:gd name="connsiteY127" fmla="*/ 322784 h 379676"/>
                <a:gd name="connsiteX128" fmla="*/ 251499 w 361156"/>
                <a:gd name="connsiteY128" fmla="*/ 323277 h 379676"/>
                <a:gd name="connsiteX129" fmla="*/ 239917 w 361156"/>
                <a:gd name="connsiteY129" fmla="*/ 324555 h 379676"/>
                <a:gd name="connsiteX130" fmla="*/ 236599 w 361156"/>
                <a:gd name="connsiteY130" fmla="*/ 327166 h 379676"/>
                <a:gd name="connsiteX131" fmla="*/ 265840 w 361156"/>
                <a:gd name="connsiteY131" fmla="*/ 325639 h 379676"/>
                <a:gd name="connsiteX132" fmla="*/ 268985 w 361156"/>
                <a:gd name="connsiteY132" fmla="*/ 325934 h 379676"/>
                <a:gd name="connsiteX133" fmla="*/ 270458 w 361156"/>
                <a:gd name="connsiteY133" fmla="*/ 327509 h 379676"/>
                <a:gd name="connsiteX134" fmla="*/ 233481 w 361156"/>
                <a:gd name="connsiteY134" fmla="*/ 330930 h 379676"/>
                <a:gd name="connsiteX135" fmla="*/ 219373 w 361156"/>
                <a:gd name="connsiteY135" fmla="*/ 332960 h 379676"/>
                <a:gd name="connsiteX136" fmla="*/ 215203 w 361156"/>
                <a:gd name="connsiteY136" fmla="*/ 332403 h 379676"/>
                <a:gd name="connsiteX137" fmla="*/ 212031 w 361156"/>
                <a:gd name="connsiteY137" fmla="*/ 329084 h 379676"/>
                <a:gd name="connsiteX138" fmla="*/ 196710 w 361156"/>
                <a:gd name="connsiteY138" fmla="*/ 328690 h 379676"/>
                <a:gd name="connsiteX139" fmla="*/ 193565 w 361156"/>
                <a:gd name="connsiteY139" fmla="*/ 329775 h 379676"/>
                <a:gd name="connsiteX140" fmla="*/ 191663 w 361156"/>
                <a:gd name="connsiteY140" fmla="*/ 332221 h 379676"/>
                <a:gd name="connsiteX141" fmla="*/ 197693 w 361156"/>
                <a:gd name="connsiteY141" fmla="*/ 331690 h 379676"/>
                <a:gd name="connsiteX142" fmla="*/ 207220 w 361156"/>
                <a:gd name="connsiteY142" fmla="*/ 331546 h 379676"/>
                <a:gd name="connsiteX143" fmla="*/ 209773 w 361156"/>
                <a:gd name="connsiteY143" fmla="*/ 333415 h 379676"/>
                <a:gd name="connsiteX144" fmla="*/ 179985 w 361156"/>
                <a:gd name="connsiteY144" fmla="*/ 335863 h 379676"/>
                <a:gd name="connsiteX145" fmla="*/ 159312 w 361156"/>
                <a:gd name="connsiteY145" fmla="*/ 340524 h 379676"/>
                <a:gd name="connsiteX146" fmla="*/ 150550 w 361156"/>
                <a:gd name="connsiteY146" fmla="*/ 343974 h 379676"/>
                <a:gd name="connsiteX147" fmla="*/ 121721 w 361156"/>
                <a:gd name="connsiteY147" fmla="*/ 355318 h 379676"/>
                <a:gd name="connsiteX148" fmla="*/ 104147 w 361156"/>
                <a:gd name="connsiteY148" fmla="*/ 360675 h 379676"/>
                <a:gd name="connsiteX149" fmla="*/ 99543 w 361156"/>
                <a:gd name="connsiteY149" fmla="*/ 362644 h 379676"/>
                <a:gd name="connsiteX150" fmla="*/ 91545 w 361156"/>
                <a:gd name="connsiteY150" fmla="*/ 368199 h 379676"/>
                <a:gd name="connsiteX151" fmla="*/ 81273 w 361156"/>
                <a:gd name="connsiteY151" fmla="*/ 371686 h 379676"/>
                <a:gd name="connsiteX152" fmla="*/ 69741 w 361156"/>
                <a:gd name="connsiteY152" fmla="*/ 378211 h 379676"/>
                <a:gd name="connsiteX153" fmla="*/ 62700 w 361156"/>
                <a:gd name="connsiteY153" fmla="*/ 379676 h 379676"/>
                <a:gd name="connsiteX154" fmla="*/ 61122 w 361156"/>
                <a:gd name="connsiteY154" fmla="*/ 377593 h 379676"/>
                <a:gd name="connsiteX155" fmla="*/ 60940 w 361156"/>
                <a:gd name="connsiteY155" fmla="*/ 366562 h 379676"/>
                <a:gd name="connsiteX156" fmla="*/ 59959 w 361156"/>
                <a:gd name="connsiteY156" fmla="*/ 351769 h 379676"/>
                <a:gd name="connsiteX157" fmla="*/ 60324 w 361156"/>
                <a:gd name="connsiteY157" fmla="*/ 346117 h 379676"/>
                <a:gd name="connsiteX158" fmla="*/ 61256 w 361156"/>
                <a:gd name="connsiteY158" fmla="*/ 340792 h 379676"/>
                <a:gd name="connsiteX159" fmla="*/ 61283 w 361156"/>
                <a:gd name="connsiteY159" fmla="*/ 336386 h 379676"/>
                <a:gd name="connsiteX160" fmla="*/ 64783 w 361156"/>
                <a:gd name="connsiteY160" fmla="*/ 334733 h 379676"/>
                <a:gd name="connsiteX161" fmla="*/ 65710 w 361156"/>
                <a:gd name="connsiteY161" fmla="*/ 332874 h 379676"/>
                <a:gd name="connsiteX162" fmla="*/ 66238 w 361156"/>
                <a:gd name="connsiteY162" fmla="*/ 327134 h 379676"/>
                <a:gd name="connsiteX163" fmla="*/ 69519 w 361156"/>
                <a:gd name="connsiteY163" fmla="*/ 321903 h 379676"/>
                <a:gd name="connsiteX164" fmla="*/ 69573 w 361156"/>
                <a:gd name="connsiteY164" fmla="*/ 312793 h 379676"/>
                <a:gd name="connsiteX165" fmla="*/ 70548 w 361156"/>
                <a:gd name="connsiteY165" fmla="*/ 310891 h 379676"/>
                <a:gd name="connsiteX166" fmla="*/ 71292 w 361156"/>
                <a:gd name="connsiteY166" fmla="*/ 308475 h 379676"/>
                <a:gd name="connsiteX167" fmla="*/ 69878 w 361156"/>
                <a:gd name="connsiteY167" fmla="*/ 302491 h 379676"/>
                <a:gd name="connsiteX168" fmla="*/ 68065 w 361156"/>
                <a:gd name="connsiteY168" fmla="*/ 291201 h 379676"/>
                <a:gd name="connsiteX169" fmla="*/ 67173 w 361156"/>
                <a:gd name="connsiteY169" fmla="*/ 290465 h 379676"/>
                <a:gd name="connsiteX170" fmla="*/ 66380 w 361156"/>
                <a:gd name="connsiteY170" fmla="*/ 290952 h 379676"/>
                <a:gd name="connsiteX171" fmla="*/ 64537 w 361156"/>
                <a:gd name="connsiteY171" fmla="*/ 291158 h 379676"/>
                <a:gd name="connsiteX172" fmla="*/ 57300 w 361156"/>
                <a:gd name="connsiteY172" fmla="*/ 287256 h 379676"/>
                <a:gd name="connsiteX173" fmla="*/ 51717 w 361156"/>
                <a:gd name="connsiteY173" fmla="*/ 286583 h 379676"/>
                <a:gd name="connsiteX174" fmla="*/ 47799 w 361156"/>
                <a:gd name="connsiteY174" fmla="*/ 283251 h 379676"/>
                <a:gd name="connsiteX175" fmla="*/ 47539 w 361156"/>
                <a:gd name="connsiteY175" fmla="*/ 279459 h 379676"/>
                <a:gd name="connsiteX176" fmla="*/ 45624 w 361156"/>
                <a:gd name="connsiteY176" fmla="*/ 277230 h 379676"/>
                <a:gd name="connsiteX177" fmla="*/ 44306 w 361156"/>
                <a:gd name="connsiteY177" fmla="*/ 272845 h 379676"/>
                <a:gd name="connsiteX178" fmla="*/ 42345 w 361156"/>
                <a:gd name="connsiteY178" fmla="*/ 267810 h 379676"/>
                <a:gd name="connsiteX179" fmla="*/ 36838 w 361156"/>
                <a:gd name="connsiteY179" fmla="*/ 264761 h 379676"/>
                <a:gd name="connsiteX180" fmla="*/ 31666 w 361156"/>
                <a:gd name="connsiteY180" fmla="*/ 264033 h 379676"/>
                <a:gd name="connsiteX181" fmla="*/ 27988 w 361156"/>
                <a:gd name="connsiteY181" fmla="*/ 264676 h 379676"/>
                <a:gd name="connsiteX182" fmla="*/ 23673 w 361156"/>
                <a:gd name="connsiteY182" fmla="*/ 264488 h 379676"/>
                <a:gd name="connsiteX183" fmla="*/ 18742 w 361156"/>
                <a:gd name="connsiteY183" fmla="*/ 262803 h 379676"/>
                <a:gd name="connsiteX184" fmla="*/ 15321 w 361156"/>
                <a:gd name="connsiteY184" fmla="*/ 260888 h 379676"/>
                <a:gd name="connsiteX185" fmla="*/ 12099 w 361156"/>
                <a:gd name="connsiteY185" fmla="*/ 257205 h 379676"/>
                <a:gd name="connsiteX186" fmla="*/ 9102 w 361156"/>
                <a:gd name="connsiteY186" fmla="*/ 254275 h 379676"/>
                <a:gd name="connsiteX187" fmla="*/ 6707 w 361156"/>
                <a:gd name="connsiteY187" fmla="*/ 254636 h 379676"/>
                <a:gd name="connsiteX188" fmla="*/ 3793 w 361156"/>
                <a:gd name="connsiteY188" fmla="*/ 253943 h 379676"/>
                <a:gd name="connsiteX189" fmla="*/ 930 w 361156"/>
                <a:gd name="connsiteY189" fmla="*/ 252606 h 379676"/>
                <a:gd name="connsiteX190" fmla="*/ 0 w 361156"/>
                <a:gd name="connsiteY190" fmla="*/ 251578 h 379676"/>
                <a:gd name="connsiteX191" fmla="*/ 11984 w 361156"/>
                <a:gd name="connsiteY191" fmla="*/ 239843 h 379676"/>
                <a:gd name="connsiteX192" fmla="*/ 16050 w 361156"/>
                <a:gd name="connsiteY192" fmla="*/ 234105 h 379676"/>
                <a:gd name="connsiteX193" fmla="*/ 16495 w 361156"/>
                <a:gd name="connsiteY193" fmla="*/ 230604 h 379676"/>
                <a:gd name="connsiteX194" fmla="*/ 16527 w 361156"/>
                <a:gd name="connsiteY194" fmla="*/ 227058 h 379676"/>
                <a:gd name="connsiteX195" fmla="*/ 17842 w 361156"/>
                <a:gd name="connsiteY195" fmla="*/ 223431 h 379676"/>
                <a:gd name="connsiteX196" fmla="*/ 18179 w 361156"/>
                <a:gd name="connsiteY196" fmla="*/ 217892 h 379676"/>
                <a:gd name="connsiteX197" fmla="*/ 11539 w 361156"/>
                <a:gd name="connsiteY197" fmla="*/ 197782 h 379676"/>
                <a:gd name="connsiteX198" fmla="*/ 9857 w 361156"/>
                <a:gd name="connsiteY198" fmla="*/ 191554 h 379676"/>
                <a:gd name="connsiteX199" fmla="*/ 8073 w 361156"/>
                <a:gd name="connsiteY199" fmla="*/ 189730 h 379676"/>
                <a:gd name="connsiteX200" fmla="*/ 6938 w 361156"/>
                <a:gd name="connsiteY200" fmla="*/ 189047 h 379676"/>
                <a:gd name="connsiteX201" fmla="*/ 10280 w 361156"/>
                <a:gd name="connsiteY201" fmla="*/ 186465 h 379676"/>
                <a:gd name="connsiteX202" fmla="*/ 14914 w 361156"/>
                <a:gd name="connsiteY202" fmla="*/ 187134 h 379676"/>
                <a:gd name="connsiteX203" fmla="*/ 22015 w 361156"/>
                <a:gd name="connsiteY203" fmla="*/ 189151 h 379676"/>
                <a:gd name="connsiteX204" fmla="*/ 23550 w 361156"/>
                <a:gd name="connsiteY204" fmla="*/ 187156 h 379676"/>
                <a:gd name="connsiteX205" fmla="*/ 28912 w 361156"/>
                <a:gd name="connsiteY205" fmla="*/ 176999 h 379676"/>
                <a:gd name="connsiteX206" fmla="*/ 28770 w 361156"/>
                <a:gd name="connsiteY206" fmla="*/ 173227 h 379676"/>
                <a:gd name="connsiteX207" fmla="*/ 28235 w 361156"/>
                <a:gd name="connsiteY207" fmla="*/ 170624 h 379676"/>
                <a:gd name="connsiteX208" fmla="*/ 31377 w 361156"/>
                <a:gd name="connsiteY208" fmla="*/ 163670 h 379676"/>
                <a:gd name="connsiteX209" fmla="*/ 33868 w 361156"/>
                <a:gd name="connsiteY209" fmla="*/ 160970 h 379676"/>
                <a:gd name="connsiteX210" fmla="*/ 35164 w 361156"/>
                <a:gd name="connsiteY210" fmla="*/ 158061 h 379676"/>
                <a:gd name="connsiteX211" fmla="*/ 34757 w 361156"/>
                <a:gd name="connsiteY211" fmla="*/ 154102 h 379676"/>
                <a:gd name="connsiteX212" fmla="*/ 32871 w 361156"/>
                <a:gd name="connsiteY212" fmla="*/ 152624 h 379676"/>
                <a:gd name="connsiteX213" fmla="*/ 30386 w 361156"/>
                <a:gd name="connsiteY213" fmla="*/ 152900 h 379676"/>
                <a:gd name="connsiteX214" fmla="*/ 27420 w 361156"/>
                <a:gd name="connsiteY214" fmla="*/ 151925 h 379676"/>
                <a:gd name="connsiteX215" fmla="*/ 22888 w 361156"/>
                <a:gd name="connsiteY215" fmla="*/ 149645 h 379676"/>
                <a:gd name="connsiteX216" fmla="*/ 20579 w 361156"/>
                <a:gd name="connsiteY216" fmla="*/ 147618 h 379676"/>
                <a:gd name="connsiteX217" fmla="*/ 21289 w 361156"/>
                <a:gd name="connsiteY217" fmla="*/ 138422 h 379676"/>
                <a:gd name="connsiteX218" fmla="*/ 21712 w 361156"/>
                <a:gd name="connsiteY218" fmla="*/ 135575 h 379676"/>
                <a:gd name="connsiteX219" fmla="*/ 23312 w 361156"/>
                <a:gd name="connsiteY219" fmla="*/ 133928 h 379676"/>
                <a:gd name="connsiteX220" fmla="*/ 25811 w 361156"/>
                <a:gd name="connsiteY220" fmla="*/ 133486 h 379676"/>
                <a:gd name="connsiteX221" fmla="*/ 32839 w 361156"/>
                <a:gd name="connsiteY221" fmla="*/ 133210 h 379676"/>
                <a:gd name="connsiteX222" fmla="*/ 38526 w 361156"/>
                <a:gd name="connsiteY222" fmla="*/ 134257 h 379676"/>
                <a:gd name="connsiteX223" fmla="*/ 43521 w 361156"/>
                <a:gd name="connsiteY223" fmla="*/ 134865 h 379676"/>
                <a:gd name="connsiteX224" fmla="*/ 46197 w 361156"/>
                <a:gd name="connsiteY224" fmla="*/ 134857 h 379676"/>
                <a:gd name="connsiteX225" fmla="*/ 48340 w 361156"/>
                <a:gd name="connsiteY225" fmla="*/ 137584 h 379676"/>
                <a:gd name="connsiteX226" fmla="*/ 51209 w 361156"/>
                <a:gd name="connsiteY226" fmla="*/ 140370 h 379676"/>
                <a:gd name="connsiteX227" fmla="*/ 53748 w 361156"/>
                <a:gd name="connsiteY227" fmla="*/ 140351 h 379676"/>
                <a:gd name="connsiteX228" fmla="*/ 54629 w 361156"/>
                <a:gd name="connsiteY228" fmla="*/ 138278 h 379676"/>
                <a:gd name="connsiteX229" fmla="*/ 54053 w 361156"/>
                <a:gd name="connsiteY229" fmla="*/ 129200 h 379676"/>
                <a:gd name="connsiteX230" fmla="*/ 52358 w 361156"/>
                <a:gd name="connsiteY230" fmla="*/ 124397 h 379676"/>
                <a:gd name="connsiteX231" fmla="*/ 48541 w 361156"/>
                <a:gd name="connsiteY231" fmla="*/ 119769 h 379676"/>
                <a:gd name="connsiteX232" fmla="*/ 38652 w 361156"/>
                <a:gd name="connsiteY232" fmla="*/ 115818 h 379676"/>
                <a:gd name="connsiteX233" fmla="*/ 38416 w 361156"/>
                <a:gd name="connsiteY233" fmla="*/ 110289 h 379676"/>
                <a:gd name="connsiteX234" fmla="*/ 39410 w 361156"/>
                <a:gd name="connsiteY234" fmla="*/ 104300 h 379676"/>
                <a:gd name="connsiteX235" fmla="*/ 41547 w 361156"/>
                <a:gd name="connsiteY235" fmla="*/ 102072 h 379676"/>
                <a:gd name="connsiteX236" fmla="*/ 48900 w 361156"/>
                <a:gd name="connsiteY236" fmla="*/ 98265 h 379676"/>
                <a:gd name="connsiteX237" fmla="*/ 47606 w 361156"/>
                <a:gd name="connsiteY237" fmla="*/ 96224 h 379676"/>
                <a:gd name="connsiteX238" fmla="*/ 45260 w 361156"/>
                <a:gd name="connsiteY238" fmla="*/ 94041 h 379676"/>
                <a:gd name="connsiteX239" fmla="*/ 40602 w 361156"/>
                <a:gd name="connsiteY239" fmla="*/ 91837 h 379676"/>
                <a:gd name="connsiteX240" fmla="*/ 41670 w 361156"/>
                <a:gd name="connsiteY240" fmla="*/ 84661 h 379676"/>
                <a:gd name="connsiteX241" fmla="*/ 41895 w 361156"/>
                <a:gd name="connsiteY241" fmla="*/ 78257 h 379676"/>
                <a:gd name="connsiteX242" fmla="*/ 37958 w 361156"/>
                <a:gd name="connsiteY242" fmla="*/ 78974 h 379676"/>
                <a:gd name="connsiteX243" fmla="*/ 33913 w 361156"/>
                <a:gd name="connsiteY243" fmla="*/ 79344 h 379676"/>
                <a:gd name="connsiteX244" fmla="*/ 30495 w 361156"/>
                <a:gd name="connsiteY244" fmla="*/ 77373 h 379676"/>
                <a:gd name="connsiteX245" fmla="*/ 27637 w 361156"/>
                <a:gd name="connsiteY245" fmla="*/ 73486 h 379676"/>
                <a:gd name="connsiteX246" fmla="*/ 27099 w 361156"/>
                <a:gd name="connsiteY246" fmla="*/ 62783 h 379676"/>
                <a:gd name="connsiteX247" fmla="*/ 27110 w 361156"/>
                <a:gd name="connsiteY247" fmla="*/ 50413 h 379676"/>
                <a:gd name="connsiteX248" fmla="*/ 26558 w 361156"/>
                <a:gd name="connsiteY248" fmla="*/ 44944 h 379676"/>
                <a:gd name="connsiteX249" fmla="*/ 27656 w 361156"/>
                <a:gd name="connsiteY249" fmla="*/ 42019 h 379676"/>
                <a:gd name="connsiteX250" fmla="*/ 31138 w 361156"/>
                <a:gd name="connsiteY250" fmla="*/ 39327 h 379676"/>
                <a:gd name="connsiteX251" fmla="*/ 34947 w 361156"/>
                <a:gd name="connsiteY251" fmla="*/ 35844 h 379676"/>
                <a:gd name="connsiteX252" fmla="*/ 36305 w 361156"/>
                <a:gd name="connsiteY252" fmla="*/ 33619 h 379676"/>
                <a:gd name="connsiteX253" fmla="*/ 38062 w 361156"/>
                <a:gd name="connsiteY253" fmla="*/ 33560 h 379676"/>
                <a:gd name="connsiteX254" fmla="*/ 42613 w 361156"/>
                <a:gd name="connsiteY254" fmla="*/ 32228 h 379676"/>
                <a:gd name="connsiteX255" fmla="*/ 46754 w 361156"/>
                <a:gd name="connsiteY255" fmla="*/ 29186 h 379676"/>
                <a:gd name="connsiteX256" fmla="*/ 50611 w 361156"/>
                <a:gd name="connsiteY256" fmla="*/ 22859 h 379676"/>
                <a:gd name="connsiteX257" fmla="*/ 55818 w 361156"/>
                <a:gd name="connsiteY257" fmla="*/ 17762 h 379676"/>
                <a:gd name="connsiteX258" fmla="*/ 61684 w 361156"/>
                <a:gd name="connsiteY258" fmla="*/ 18134 h 379676"/>
                <a:gd name="connsiteX259" fmla="*/ 63420 w 361156"/>
                <a:gd name="connsiteY259" fmla="*/ 17202 h 379676"/>
                <a:gd name="connsiteX260" fmla="*/ 65483 w 361156"/>
                <a:gd name="connsiteY260" fmla="*/ 17022 h 379676"/>
                <a:gd name="connsiteX261" fmla="*/ 67936 w 361156"/>
                <a:gd name="connsiteY261" fmla="*/ 20368 h 379676"/>
                <a:gd name="connsiteX262" fmla="*/ 70408 w 361156"/>
                <a:gd name="connsiteY262" fmla="*/ 22918 h 379676"/>
                <a:gd name="connsiteX263" fmla="*/ 72171 w 361156"/>
                <a:gd name="connsiteY263" fmla="*/ 22987 h 379676"/>
                <a:gd name="connsiteX264" fmla="*/ 73467 w 361156"/>
                <a:gd name="connsiteY264" fmla="*/ 27822 h 379676"/>
                <a:gd name="connsiteX265" fmla="*/ 84179 w 361156"/>
                <a:gd name="connsiteY265" fmla="*/ 29839 h 379676"/>
                <a:gd name="connsiteX266" fmla="*/ 88764 w 361156"/>
                <a:gd name="connsiteY266" fmla="*/ 31165 h 379676"/>
                <a:gd name="connsiteX267" fmla="*/ 92622 w 361156"/>
                <a:gd name="connsiteY267" fmla="*/ 34679 h 379676"/>
                <a:gd name="connsiteX268" fmla="*/ 93964 w 361156"/>
                <a:gd name="connsiteY268" fmla="*/ 34770 h 379676"/>
                <a:gd name="connsiteX269" fmla="*/ 95600 w 361156"/>
                <a:gd name="connsiteY269" fmla="*/ 34028 h 379676"/>
                <a:gd name="connsiteX270" fmla="*/ 96862 w 361156"/>
                <a:gd name="connsiteY270" fmla="*/ 32799 h 379676"/>
                <a:gd name="connsiteX271" fmla="*/ 97119 w 361156"/>
                <a:gd name="connsiteY271" fmla="*/ 31452 h 379676"/>
                <a:gd name="connsiteX272" fmla="*/ 95466 w 361156"/>
                <a:gd name="connsiteY272" fmla="*/ 28272 h 379676"/>
                <a:gd name="connsiteX273" fmla="*/ 96192 w 361156"/>
                <a:gd name="connsiteY273" fmla="*/ 25417 h 379676"/>
                <a:gd name="connsiteX274" fmla="*/ 97917 w 361156"/>
                <a:gd name="connsiteY274" fmla="*/ 22859 h 379676"/>
                <a:gd name="connsiteX275" fmla="*/ 100673 w 361156"/>
                <a:gd name="connsiteY275" fmla="*/ 22693 h 379676"/>
                <a:gd name="connsiteX276" fmla="*/ 104830 w 361156"/>
                <a:gd name="connsiteY276" fmla="*/ 21980 h 379676"/>
                <a:gd name="connsiteX277" fmla="*/ 109593 w 361156"/>
                <a:gd name="connsiteY277" fmla="*/ 21972 h 379676"/>
                <a:gd name="connsiteX278" fmla="*/ 113145 w 361156"/>
                <a:gd name="connsiteY278" fmla="*/ 22430 h 379676"/>
                <a:gd name="connsiteX279" fmla="*/ 114562 w 361156"/>
                <a:gd name="connsiteY279" fmla="*/ 19872 h 379676"/>
                <a:gd name="connsiteX280" fmla="*/ 113220 w 361156"/>
                <a:gd name="connsiteY280" fmla="*/ 12699 h 379676"/>
                <a:gd name="connsiteX281" fmla="*/ 113565 w 361156"/>
                <a:gd name="connsiteY281" fmla="*/ 8748 h 379676"/>
                <a:gd name="connsiteX282" fmla="*/ 114146 w 361156"/>
                <a:gd name="connsiteY282" fmla="*/ 5408 h 379676"/>
                <a:gd name="connsiteX283" fmla="*/ 115462 w 361156"/>
                <a:gd name="connsiteY283" fmla="*/ 4050 h 379676"/>
                <a:gd name="connsiteX284" fmla="*/ 120765 w 361156"/>
                <a:gd name="connsiteY284" fmla="*/ 8245 h 379676"/>
                <a:gd name="connsiteX285" fmla="*/ 125621 w 361156"/>
                <a:gd name="connsiteY285" fmla="*/ 9753 h 379676"/>
                <a:gd name="connsiteX286" fmla="*/ 129095 w 361156"/>
                <a:gd name="connsiteY286" fmla="*/ 9879 h 379676"/>
                <a:gd name="connsiteX287" fmla="*/ 130068 w 361156"/>
                <a:gd name="connsiteY287" fmla="*/ 9086 h 379676"/>
                <a:gd name="connsiteX288" fmla="*/ 128581 w 361156"/>
                <a:gd name="connsiteY288" fmla="*/ 4513 h 379676"/>
                <a:gd name="connsiteX289" fmla="*/ 128980 w 361156"/>
                <a:gd name="connsiteY289" fmla="*/ 3134 h 379676"/>
                <a:gd name="connsiteX290" fmla="*/ 130269 w 361156"/>
                <a:gd name="connsiteY290" fmla="*/ 2336 h 379676"/>
                <a:gd name="connsiteX291" fmla="*/ 132548 w 361156"/>
                <a:gd name="connsiteY291" fmla="*/ 1872 h 3796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</a:cxnLst>
              <a:rect l="l" t="t" r="r" b="b"/>
              <a:pathLst>
                <a:path w="361156" h="379676">
                  <a:moveTo>
                    <a:pt x="319162" y="332431"/>
                  </a:moveTo>
                  <a:lnTo>
                    <a:pt x="326753" y="333553"/>
                  </a:lnTo>
                  <a:lnTo>
                    <a:pt x="325138" y="335907"/>
                  </a:lnTo>
                  <a:lnTo>
                    <a:pt x="317295" y="334400"/>
                  </a:lnTo>
                  <a:close/>
                  <a:moveTo>
                    <a:pt x="138738" y="0"/>
                  </a:moveTo>
                  <a:lnTo>
                    <a:pt x="139384" y="370"/>
                  </a:lnTo>
                  <a:lnTo>
                    <a:pt x="140543" y="7580"/>
                  </a:lnTo>
                  <a:lnTo>
                    <a:pt x="140005" y="9940"/>
                  </a:lnTo>
                  <a:lnTo>
                    <a:pt x="141307" y="14839"/>
                  </a:lnTo>
                  <a:lnTo>
                    <a:pt x="142911" y="19387"/>
                  </a:lnTo>
                  <a:lnTo>
                    <a:pt x="142796" y="21236"/>
                  </a:lnTo>
                  <a:lnTo>
                    <a:pt x="141470" y="24053"/>
                  </a:lnTo>
                  <a:lnTo>
                    <a:pt x="139914" y="26636"/>
                  </a:lnTo>
                  <a:lnTo>
                    <a:pt x="140085" y="27688"/>
                  </a:lnTo>
                  <a:lnTo>
                    <a:pt x="142544" y="29451"/>
                  </a:lnTo>
                  <a:lnTo>
                    <a:pt x="147264" y="31261"/>
                  </a:lnTo>
                  <a:lnTo>
                    <a:pt x="152158" y="31685"/>
                  </a:lnTo>
                  <a:lnTo>
                    <a:pt x="154876" y="29036"/>
                  </a:lnTo>
                  <a:lnTo>
                    <a:pt x="157718" y="26882"/>
                  </a:lnTo>
                  <a:lnTo>
                    <a:pt x="159679" y="24959"/>
                  </a:lnTo>
                  <a:lnTo>
                    <a:pt x="160354" y="22114"/>
                  </a:lnTo>
                  <a:lnTo>
                    <a:pt x="163453" y="20030"/>
                  </a:lnTo>
                  <a:lnTo>
                    <a:pt x="172311" y="17419"/>
                  </a:lnTo>
                  <a:lnTo>
                    <a:pt x="180467" y="17014"/>
                  </a:lnTo>
                  <a:lnTo>
                    <a:pt x="182425" y="17847"/>
                  </a:lnTo>
                  <a:lnTo>
                    <a:pt x="186114" y="21825"/>
                  </a:lnTo>
                  <a:lnTo>
                    <a:pt x="190793" y="24552"/>
                  </a:lnTo>
                  <a:lnTo>
                    <a:pt x="197896" y="24214"/>
                  </a:lnTo>
                  <a:lnTo>
                    <a:pt x="203050" y="25832"/>
                  </a:lnTo>
                  <a:lnTo>
                    <a:pt x="207518" y="28886"/>
                  </a:lnTo>
                  <a:lnTo>
                    <a:pt x="210512" y="35662"/>
                  </a:lnTo>
                  <a:lnTo>
                    <a:pt x="213786" y="40559"/>
                  </a:lnTo>
                  <a:lnTo>
                    <a:pt x="215216" y="47520"/>
                  </a:lnTo>
                  <a:lnTo>
                    <a:pt x="220380" y="51176"/>
                  </a:lnTo>
                  <a:lnTo>
                    <a:pt x="224422" y="52837"/>
                  </a:lnTo>
                  <a:lnTo>
                    <a:pt x="229910" y="57897"/>
                  </a:lnTo>
                  <a:lnTo>
                    <a:pt x="235594" y="60466"/>
                  </a:lnTo>
                  <a:lnTo>
                    <a:pt x="241471" y="59874"/>
                  </a:lnTo>
                  <a:lnTo>
                    <a:pt x="244217" y="62517"/>
                  </a:lnTo>
                  <a:lnTo>
                    <a:pt x="248604" y="64384"/>
                  </a:lnTo>
                  <a:lnTo>
                    <a:pt x="252983" y="64521"/>
                  </a:lnTo>
                  <a:lnTo>
                    <a:pt x="256838" y="58690"/>
                  </a:lnTo>
                  <a:lnTo>
                    <a:pt x="261932" y="56392"/>
                  </a:lnTo>
                  <a:lnTo>
                    <a:pt x="274824" y="51734"/>
                  </a:lnTo>
                  <a:lnTo>
                    <a:pt x="279908" y="49623"/>
                  </a:lnTo>
                  <a:lnTo>
                    <a:pt x="285062" y="48292"/>
                  </a:lnTo>
                  <a:lnTo>
                    <a:pt x="297469" y="47866"/>
                  </a:lnTo>
                  <a:lnTo>
                    <a:pt x="309011" y="49302"/>
                  </a:lnTo>
                  <a:lnTo>
                    <a:pt x="314732" y="50384"/>
                  </a:lnTo>
                  <a:lnTo>
                    <a:pt x="318651" y="49591"/>
                  </a:lnTo>
                  <a:lnTo>
                    <a:pt x="322371" y="52360"/>
                  </a:lnTo>
                  <a:lnTo>
                    <a:pt x="326215" y="58162"/>
                  </a:lnTo>
                  <a:lnTo>
                    <a:pt x="329365" y="60029"/>
                  </a:lnTo>
                  <a:lnTo>
                    <a:pt x="332584" y="62033"/>
                  </a:lnTo>
                  <a:lnTo>
                    <a:pt x="334960" y="66613"/>
                  </a:lnTo>
                  <a:lnTo>
                    <a:pt x="337759" y="71161"/>
                  </a:lnTo>
                  <a:lnTo>
                    <a:pt x="339286" y="73175"/>
                  </a:lnTo>
                  <a:lnTo>
                    <a:pt x="342744" y="77662"/>
                  </a:lnTo>
                  <a:lnTo>
                    <a:pt x="345712" y="77729"/>
                  </a:lnTo>
                  <a:lnTo>
                    <a:pt x="348640" y="75792"/>
                  </a:lnTo>
                  <a:lnTo>
                    <a:pt x="349904" y="74346"/>
                  </a:lnTo>
                  <a:lnTo>
                    <a:pt x="350480" y="77308"/>
                  </a:lnTo>
                  <a:lnTo>
                    <a:pt x="349317" y="82111"/>
                  </a:lnTo>
                  <a:lnTo>
                    <a:pt x="349550" y="85079"/>
                  </a:lnTo>
                  <a:lnTo>
                    <a:pt x="351184" y="86217"/>
                  </a:lnTo>
                  <a:lnTo>
                    <a:pt x="350298" y="90040"/>
                  </a:lnTo>
                  <a:lnTo>
                    <a:pt x="346893" y="96548"/>
                  </a:lnTo>
                  <a:lnTo>
                    <a:pt x="346880" y="100400"/>
                  </a:lnTo>
                  <a:lnTo>
                    <a:pt x="350257" y="101595"/>
                  </a:lnTo>
                  <a:lnTo>
                    <a:pt x="352665" y="105685"/>
                  </a:lnTo>
                  <a:lnTo>
                    <a:pt x="354107" y="112668"/>
                  </a:lnTo>
                  <a:lnTo>
                    <a:pt x="355558" y="115004"/>
                  </a:lnTo>
                  <a:lnTo>
                    <a:pt x="355700" y="116442"/>
                  </a:lnTo>
                  <a:lnTo>
                    <a:pt x="358135" y="133346"/>
                  </a:lnTo>
                  <a:lnTo>
                    <a:pt x="361156" y="150299"/>
                  </a:lnTo>
                  <a:lnTo>
                    <a:pt x="359236" y="152511"/>
                  </a:lnTo>
                  <a:lnTo>
                    <a:pt x="356603" y="153157"/>
                  </a:lnTo>
                  <a:lnTo>
                    <a:pt x="354886" y="153947"/>
                  </a:lnTo>
                  <a:lnTo>
                    <a:pt x="354398" y="155525"/>
                  </a:lnTo>
                  <a:lnTo>
                    <a:pt x="355523" y="157839"/>
                  </a:lnTo>
                  <a:lnTo>
                    <a:pt x="354790" y="159958"/>
                  </a:lnTo>
                  <a:lnTo>
                    <a:pt x="351503" y="161418"/>
                  </a:lnTo>
                  <a:lnTo>
                    <a:pt x="344343" y="166799"/>
                  </a:lnTo>
                  <a:lnTo>
                    <a:pt x="343845" y="168939"/>
                  </a:lnTo>
                  <a:lnTo>
                    <a:pt x="341951" y="173525"/>
                  </a:lnTo>
                  <a:lnTo>
                    <a:pt x="340366" y="176324"/>
                  </a:lnTo>
                  <a:lnTo>
                    <a:pt x="338030" y="181512"/>
                  </a:lnTo>
                  <a:lnTo>
                    <a:pt x="334315" y="195237"/>
                  </a:lnTo>
                  <a:lnTo>
                    <a:pt x="332938" y="206605"/>
                  </a:lnTo>
                  <a:lnTo>
                    <a:pt x="332732" y="210103"/>
                  </a:lnTo>
                  <a:lnTo>
                    <a:pt x="331288" y="212551"/>
                  </a:lnTo>
                  <a:lnTo>
                    <a:pt x="329657" y="216073"/>
                  </a:lnTo>
                  <a:lnTo>
                    <a:pt x="321886" y="225810"/>
                  </a:lnTo>
                  <a:lnTo>
                    <a:pt x="317925" y="233768"/>
                  </a:lnTo>
                  <a:lnTo>
                    <a:pt x="318436" y="237223"/>
                  </a:lnTo>
                  <a:lnTo>
                    <a:pt x="318616" y="240695"/>
                  </a:lnTo>
                  <a:lnTo>
                    <a:pt x="317443" y="243199"/>
                  </a:lnTo>
                  <a:lnTo>
                    <a:pt x="317660" y="249922"/>
                  </a:lnTo>
                  <a:lnTo>
                    <a:pt x="318621" y="255547"/>
                  </a:lnTo>
                  <a:lnTo>
                    <a:pt x="320009" y="261068"/>
                  </a:lnTo>
                  <a:lnTo>
                    <a:pt x="325636" y="276681"/>
                  </a:lnTo>
                  <a:lnTo>
                    <a:pt x="328564" y="286152"/>
                  </a:lnTo>
                  <a:lnTo>
                    <a:pt x="330391" y="293789"/>
                  </a:lnTo>
                  <a:lnTo>
                    <a:pt x="331992" y="298926"/>
                  </a:lnTo>
                  <a:lnTo>
                    <a:pt x="333500" y="301007"/>
                  </a:lnTo>
                  <a:lnTo>
                    <a:pt x="334125" y="302984"/>
                  </a:lnTo>
                  <a:lnTo>
                    <a:pt x="342482" y="304399"/>
                  </a:lnTo>
                  <a:lnTo>
                    <a:pt x="344110" y="305534"/>
                  </a:lnTo>
                  <a:lnTo>
                    <a:pt x="346400" y="315490"/>
                  </a:lnTo>
                  <a:lnTo>
                    <a:pt x="345991" y="319977"/>
                  </a:lnTo>
                  <a:lnTo>
                    <a:pt x="344351" y="321683"/>
                  </a:lnTo>
                  <a:lnTo>
                    <a:pt x="344408" y="325492"/>
                  </a:lnTo>
                  <a:lnTo>
                    <a:pt x="344019" y="330217"/>
                  </a:lnTo>
                  <a:lnTo>
                    <a:pt x="342808" y="332087"/>
                  </a:lnTo>
                  <a:lnTo>
                    <a:pt x="338124" y="332325"/>
                  </a:lnTo>
                  <a:lnTo>
                    <a:pt x="334950" y="334117"/>
                  </a:lnTo>
                  <a:lnTo>
                    <a:pt x="330755" y="333407"/>
                  </a:lnTo>
                  <a:lnTo>
                    <a:pt x="330356" y="332237"/>
                  </a:lnTo>
                  <a:lnTo>
                    <a:pt x="328101" y="331811"/>
                  </a:lnTo>
                  <a:lnTo>
                    <a:pt x="321897" y="329119"/>
                  </a:lnTo>
                  <a:lnTo>
                    <a:pt x="322923" y="320491"/>
                  </a:lnTo>
                  <a:lnTo>
                    <a:pt x="320046" y="320124"/>
                  </a:lnTo>
                  <a:lnTo>
                    <a:pt x="317818" y="321257"/>
                  </a:lnTo>
                  <a:lnTo>
                    <a:pt x="313409" y="331626"/>
                  </a:lnTo>
                  <a:lnTo>
                    <a:pt x="311303" y="333415"/>
                  </a:lnTo>
                  <a:lnTo>
                    <a:pt x="280326" y="328069"/>
                  </a:lnTo>
                  <a:lnTo>
                    <a:pt x="273597" y="323767"/>
                  </a:lnTo>
                  <a:lnTo>
                    <a:pt x="265546" y="322784"/>
                  </a:lnTo>
                  <a:lnTo>
                    <a:pt x="251499" y="323277"/>
                  </a:lnTo>
                  <a:lnTo>
                    <a:pt x="239917" y="324555"/>
                  </a:lnTo>
                  <a:lnTo>
                    <a:pt x="236599" y="327166"/>
                  </a:lnTo>
                  <a:lnTo>
                    <a:pt x="265840" y="325639"/>
                  </a:lnTo>
                  <a:lnTo>
                    <a:pt x="268985" y="325934"/>
                  </a:lnTo>
                  <a:lnTo>
                    <a:pt x="270458" y="327509"/>
                  </a:lnTo>
                  <a:lnTo>
                    <a:pt x="233481" y="330930"/>
                  </a:lnTo>
                  <a:lnTo>
                    <a:pt x="219373" y="332960"/>
                  </a:lnTo>
                  <a:lnTo>
                    <a:pt x="215203" y="332403"/>
                  </a:lnTo>
                  <a:lnTo>
                    <a:pt x="212031" y="329084"/>
                  </a:lnTo>
                  <a:lnTo>
                    <a:pt x="196710" y="328690"/>
                  </a:lnTo>
                  <a:lnTo>
                    <a:pt x="193565" y="329775"/>
                  </a:lnTo>
                  <a:lnTo>
                    <a:pt x="191663" y="332221"/>
                  </a:lnTo>
                  <a:lnTo>
                    <a:pt x="197693" y="331690"/>
                  </a:lnTo>
                  <a:lnTo>
                    <a:pt x="207220" y="331546"/>
                  </a:lnTo>
                  <a:lnTo>
                    <a:pt x="209773" y="333415"/>
                  </a:lnTo>
                  <a:lnTo>
                    <a:pt x="179985" y="335863"/>
                  </a:lnTo>
                  <a:lnTo>
                    <a:pt x="159312" y="340524"/>
                  </a:lnTo>
                  <a:lnTo>
                    <a:pt x="150550" y="343974"/>
                  </a:lnTo>
                  <a:lnTo>
                    <a:pt x="121721" y="355318"/>
                  </a:lnTo>
                  <a:lnTo>
                    <a:pt x="104147" y="360675"/>
                  </a:lnTo>
                  <a:lnTo>
                    <a:pt x="99543" y="362644"/>
                  </a:lnTo>
                  <a:lnTo>
                    <a:pt x="91545" y="368199"/>
                  </a:lnTo>
                  <a:lnTo>
                    <a:pt x="81273" y="371686"/>
                  </a:lnTo>
                  <a:lnTo>
                    <a:pt x="69741" y="378211"/>
                  </a:lnTo>
                  <a:lnTo>
                    <a:pt x="62700" y="379676"/>
                  </a:lnTo>
                  <a:lnTo>
                    <a:pt x="61122" y="377593"/>
                  </a:lnTo>
                  <a:lnTo>
                    <a:pt x="60940" y="366562"/>
                  </a:lnTo>
                  <a:lnTo>
                    <a:pt x="59959" y="351769"/>
                  </a:lnTo>
                  <a:lnTo>
                    <a:pt x="60324" y="346117"/>
                  </a:lnTo>
                  <a:lnTo>
                    <a:pt x="61256" y="340792"/>
                  </a:lnTo>
                  <a:lnTo>
                    <a:pt x="61283" y="336386"/>
                  </a:lnTo>
                  <a:lnTo>
                    <a:pt x="64783" y="334733"/>
                  </a:lnTo>
                  <a:lnTo>
                    <a:pt x="65710" y="332874"/>
                  </a:lnTo>
                  <a:lnTo>
                    <a:pt x="66238" y="327134"/>
                  </a:lnTo>
                  <a:lnTo>
                    <a:pt x="69519" y="321903"/>
                  </a:lnTo>
                  <a:lnTo>
                    <a:pt x="69573" y="312793"/>
                  </a:lnTo>
                  <a:lnTo>
                    <a:pt x="70548" y="310891"/>
                  </a:lnTo>
                  <a:lnTo>
                    <a:pt x="71292" y="308475"/>
                  </a:lnTo>
                  <a:lnTo>
                    <a:pt x="69878" y="302491"/>
                  </a:lnTo>
                  <a:lnTo>
                    <a:pt x="68065" y="291201"/>
                  </a:lnTo>
                  <a:lnTo>
                    <a:pt x="67173" y="290465"/>
                  </a:lnTo>
                  <a:lnTo>
                    <a:pt x="66380" y="290952"/>
                  </a:lnTo>
                  <a:lnTo>
                    <a:pt x="64537" y="291158"/>
                  </a:lnTo>
                  <a:lnTo>
                    <a:pt x="57300" y="287256"/>
                  </a:lnTo>
                  <a:lnTo>
                    <a:pt x="51717" y="286583"/>
                  </a:lnTo>
                  <a:lnTo>
                    <a:pt x="47799" y="283251"/>
                  </a:lnTo>
                  <a:lnTo>
                    <a:pt x="47539" y="279459"/>
                  </a:lnTo>
                  <a:lnTo>
                    <a:pt x="45624" y="277230"/>
                  </a:lnTo>
                  <a:lnTo>
                    <a:pt x="44306" y="272845"/>
                  </a:lnTo>
                  <a:lnTo>
                    <a:pt x="42345" y="267810"/>
                  </a:lnTo>
                  <a:lnTo>
                    <a:pt x="36838" y="264761"/>
                  </a:lnTo>
                  <a:lnTo>
                    <a:pt x="31666" y="264033"/>
                  </a:lnTo>
                  <a:lnTo>
                    <a:pt x="27988" y="264676"/>
                  </a:lnTo>
                  <a:lnTo>
                    <a:pt x="23673" y="264488"/>
                  </a:lnTo>
                  <a:lnTo>
                    <a:pt x="18742" y="262803"/>
                  </a:lnTo>
                  <a:lnTo>
                    <a:pt x="15321" y="260888"/>
                  </a:lnTo>
                  <a:lnTo>
                    <a:pt x="12099" y="257205"/>
                  </a:lnTo>
                  <a:lnTo>
                    <a:pt x="9102" y="254275"/>
                  </a:lnTo>
                  <a:lnTo>
                    <a:pt x="6707" y="254636"/>
                  </a:lnTo>
                  <a:lnTo>
                    <a:pt x="3793" y="253943"/>
                  </a:lnTo>
                  <a:lnTo>
                    <a:pt x="930" y="252606"/>
                  </a:lnTo>
                  <a:lnTo>
                    <a:pt x="0" y="251578"/>
                  </a:lnTo>
                  <a:lnTo>
                    <a:pt x="11984" y="239843"/>
                  </a:lnTo>
                  <a:lnTo>
                    <a:pt x="16050" y="234105"/>
                  </a:lnTo>
                  <a:lnTo>
                    <a:pt x="16495" y="230604"/>
                  </a:lnTo>
                  <a:lnTo>
                    <a:pt x="16527" y="227058"/>
                  </a:lnTo>
                  <a:lnTo>
                    <a:pt x="17842" y="223431"/>
                  </a:lnTo>
                  <a:lnTo>
                    <a:pt x="18179" y="217892"/>
                  </a:lnTo>
                  <a:lnTo>
                    <a:pt x="11539" y="197782"/>
                  </a:lnTo>
                  <a:lnTo>
                    <a:pt x="9857" y="191554"/>
                  </a:lnTo>
                  <a:lnTo>
                    <a:pt x="8073" y="189730"/>
                  </a:lnTo>
                  <a:lnTo>
                    <a:pt x="6938" y="189047"/>
                  </a:lnTo>
                  <a:lnTo>
                    <a:pt x="10280" y="186465"/>
                  </a:lnTo>
                  <a:lnTo>
                    <a:pt x="14914" y="187134"/>
                  </a:lnTo>
                  <a:lnTo>
                    <a:pt x="22015" y="189151"/>
                  </a:lnTo>
                  <a:lnTo>
                    <a:pt x="23550" y="187156"/>
                  </a:lnTo>
                  <a:lnTo>
                    <a:pt x="28912" y="176999"/>
                  </a:lnTo>
                  <a:lnTo>
                    <a:pt x="28770" y="173227"/>
                  </a:lnTo>
                  <a:lnTo>
                    <a:pt x="28235" y="170624"/>
                  </a:lnTo>
                  <a:lnTo>
                    <a:pt x="31377" y="163670"/>
                  </a:lnTo>
                  <a:lnTo>
                    <a:pt x="33868" y="160970"/>
                  </a:lnTo>
                  <a:lnTo>
                    <a:pt x="35164" y="158061"/>
                  </a:lnTo>
                  <a:lnTo>
                    <a:pt x="34757" y="154102"/>
                  </a:lnTo>
                  <a:lnTo>
                    <a:pt x="32871" y="152624"/>
                  </a:lnTo>
                  <a:lnTo>
                    <a:pt x="30386" y="152900"/>
                  </a:lnTo>
                  <a:lnTo>
                    <a:pt x="27420" y="151925"/>
                  </a:lnTo>
                  <a:lnTo>
                    <a:pt x="22888" y="149645"/>
                  </a:lnTo>
                  <a:lnTo>
                    <a:pt x="20579" y="147618"/>
                  </a:lnTo>
                  <a:lnTo>
                    <a:pt x="21289" y="138422"/>
                  </a:lnTo>
                  <a:lnTo>
                    <a:pt x="21712" y="135575"/>
                  </a:lnTo>
                  <a:lnTo>
                    <a:pt x="23312" y="133928"/>
                  </a:lnTo>
                  <a:lnTo>
                    <a:pt x="25811" y="133486"/>
                  </a:lnTo>
                  <a:lnTo>
                    <a:pt x="32839" y="133210"/>
                  </a:lnTo>
                  <a:lnTo>
                    <a:pt x="38526" y="134257"/>
                  </a:lnTo>
                  <a:lnTo>
                    <a:pt x="43521" y="134865"/>
                  </a:lnTo>
                  <a:lnTo>
                    <a:pt x="46197" y="134857"/>
                  </a:lnTo>
                  <a:lnTo>
                    <a:pt x="48340" y="137584"/>
                  </a:lnTo>
                  <a:lnTo>
                    <a:pt x="51209" y="140370"/>
                  </a:lnTo>
                  <a:lnTo>
                    <a:pt x="53748" y="140351"/>
                  </a:lnTo>
                  <a:lnTo>
                    <a:pt x="54629" y="138278"/>
                  </a:lnTo>
                  <a:lnTo>
                    <a:pt x="54053" y="129200"/>
                  </a:lnTo>
                  <a:lnTo>
                    <a:pt x="52358" y="124397"/>
                  </a:lnTo>
                  <a:lnTo>
                    <a:pt x="48541" y="119769"/>
                  </a:lnTo>
                  <a:lnTo>
                    <a:pt x="38652" y="115818"/>
                  </a:lnTo>
                  <a:lnTo>
                    <a:pt x="38416" y="110289"/>
                  </a:lnTo>
                  <a:lnTo>
                    <a:pt x="39410" y="104300"/>
                  </a:lnTo>
                  <a:lnTo>
                    <a:pt x="41547" y="102072"/>
                  </a:lnTo>
                  <a:lnTo>
                    <a:pt x="48900" y="98265"/>
                  </a:lnTo>
                  <a:lnTo>
                    <a:pt x="47606" y="96224"/>
                  </a:lnTo>
                  <a:lnTo>
                    <a:pt x="45260" y="94041"/>
                  </a:lnTo>
                  <a:lnTo>
                    <a:pt x="40602" y="91837"/>
                  </a:lnTo>
                  <a:lnTo>
                    <a:pt x="41670" y="84661"/>
                  </a:lnTo>
                  <a:lnTo>
                    <a:pt x="41895" y="78257"/>
                  </a:lnTo>
                  <a:lnTo>
                    <a:pt x="37958" y="78974"/>
                  </a:lnTo>
                  <a:lnTo>
                    <a:pt x="33913" y="79344"/>
                  </a:lnTo>
                  <a:lnTo>
                    <a:pt x="30495" y="77373"/>
                  </a:lnTo>
                  <a:lnTo>
                    <a:pt x="27637" y="73486"/>
                  </a:lnTo>
                  <a:lnTo>
                    <a:pt x="27099" y="62783"/>
                  </a:lnTo>
                  <a:lnTo>
                    <a:pt x="27110" y="50413"/>
                  </a:lnTo>
                  <a:lnTo>
                    <a:pt x="26558" y="44944"/>
                  </a:lnTo>
                  <a:lnTo>
                    <a:pt x="27656" y="42019"/>
                  </a:lnTo>
                  <a:lnTo>
                    <a:pt x="31138" y="39327"/>
                  </a:lnTo>
                  <a:lnTo>
                    <a:pt x="34947" y="35844"/>
                  </a:lnTo>
                  <a:lnTo>
                    <a:pt x="36305" y="33619"/>
                  </a:lnTo>
                  <a:lnTo>
                    <a:pt x="38062" y="33560"/>
                  </a:lnTo>
                  <a:lnTo>
                    <a:pt x="42613" y="32228"/>
                  </a:lnTo>
                  <a:lnTo>
                    <a:pt x="46754" y="29186"/>
                  </a:lnTo>
                  <a:lnTo>
                    <a:pt x="50611" y="22859"/>
                  </a:lnTo>
                  <a:lnTo>
                    <a:pt x="55818" y="17762"/>
                  </a:lnTo>
                  <a:lnTo>
                    <a:pt x="61684" y="18134"/>
                  </a:lnTo>
                  <a:lnTo>
                    <a:pt x="63420" y="17202"/>
                  </a:lnTo>
                  <a:lnTo>
                    <a:pt x="65483" y="17022"/>
                  </a:lnTo>
                  <a:lnTo>
                    <a:pt x="67936" y="20368"/>
                  </a:lnTo>
                  <a:lnTo>
                    <a:pt x="70408" y="22918"/>
                  </a:lnTo>
                  <a:lnTo>
                    <a:pt x="72171" y="22987"/>
                  </a:lnTo>
                  <a:lnTo>
                    <a:pt x="73467" y="27822"/>
                  </a:lnTo>
                  <a:lnTo>
                    <a:pt x="84179" y="29839"/>
                  </a:lnTo>
                  <a:lnTo>
                    <a:pt x="88764" y="31165"/>
                  </a:lnTo>
                  <a:lnTo>
                    <a:pt x="92622" y="34679"/>
                  </a:lnTo>
                  <a:lnTo>
                    <a:pt x="93964" y="34770"/>
                  </a:lnTo>
                  <a:lnTo>
                    <a:pt x="95600" y="34028"/>
                  </a:lnTo>
                  <a:lnTo>
                    <a:pt x="96862" y="32799"/>
                  </a:lnTo>
                  <a:lnTo>
                    <a:pt x="97119" y="31452"/>
                  </a:lnTo>
                  <a:lnTo>
                    <a:pt x="95466" y="28272"/>
                  </a:lnTo>
                  <a:lnTo>
                    <a:pt x="96192" y="25417"/>
                  </a:lnTo>
                  <a:lnTo>
                    <a:pt x="97917" y="22859"/>
                  </a:lnTo>
                  <a:lnTo>
                    <a:pt x="100673" y="22693"/>
                  </a:lnTo>
                  <a:lnTo>
                    <a:pt x="104830" y="21980"/>
                  </a:lnTo>
                  <a:lnTo>
                    <a:pt x="109593" y="21972"/>
                  </a:lnTo>
                  <a:lnTo>
                    <a:pt x="113145" y="22430"/>
                  </a:lnTo>
                  <a:lnTo>
                    <a:pt x="114562" y="19872"/>
                  </a:lnTo>
                  <a:lnTo>
                    <a:pt x="113220" y="12699"/>
                  </a:lnTo>
                  <a:lnTo>
                    <a:pt x="113565" y="8748"/>
                  </a:lnTo>
                  <a:lnTo>
                    <a:pt x="114146" y="5408"/>
                  </a:lnTo>
                  <a:lnTo>
                    <a:pt x="115462" y="4050"/>
                  </a:lnTo>
                  <a:lnTo>
                    <a:pt x="120765" y="8245"/>
                  </a:lnTo>
                  <a:lnTo>
                    <a:pt x="125621" y="9753"/>
                  </a:lnTo>
                  <a:lnTo>
                    <a:pt x="129095" y="9879"/>
                  </a:lnTo>
                  <a:lnTo>
                    <a:pt x="130068" y="9086"/>
                  </a:lnTo>
                  <a:lnTo>
                    <a:pt x="128581" y="4513"/>
                  </a:lnTo>
                  <a:lnTo>
                    <a:pt x="128980" y="3134"/>
                  </a:lnTo>
                  <a:lnTo>
                    <a:pt x="130269" y="2336"/>
                  </a:lnTo>
                  <a:lnTo>
                    <a:pt x="132548" y="1872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69" name="ee4p_CM_1_37365">
              <a:extLst>
                <a:ext uri="{FF2B5EF4-FFF2-40B4-BE49-F238E27FC236}">
                  <a16:creationId xmlns:a16="http://schemas.microsoft.com/office/drawing/2014/main" id="{2B202BA8-9164-C27A-8CCC-7CB039B1B65E}"/>
                </a:ext>
              </a:extLst>
            </p:cNvPr>
            <p:cNvSpPr>
              <a:spLocks noChangeAspect="1"/>
            </p:cNvSpPr>
            <p:nvPr>
              <p:custDataLst>
                <p:tags r:id="rId323"/>
              </p:custDataLst>
            </p:nvPr>
          </p:nvSpPr>
          <p:spPr>
            <a:xfrm>
              <a:off x="6751652" y="4302528"/>
              <a:ext cx="212452" cy="327343"/>
            </a:xfrm>
            <a:custGeom>
              <a:avLst/>
              <a:gdLst/>
              <a:ahLst/>
              <a:cxnLst/>
              <a:rect l="0" t="0" r="0" b="0"/>
              <a:pathLst>
                <a:path w="169171" h="253747">
                  <a:moveTo>
                    <a:pt x="153618" y="124141"/>
                  </a:moveTo>
                  <a:lnTo>
                    <a:pt x="151385" y="127823"/>
                  </a:lnTo>
                  <a:lnTo>
                    <a:pt x="148440" y="129925"/>
                  </a:lnTo>
                  <a:lnTo>
                    <a:pt x="147574" y="131201"/>
                  </a:lnTo>
                  <a:lnTo>
                    <a:pt x="147112" y="132785"/>
                  </a:lnTo>
                  <a:lnTo>
                    <a:pt x="146477" y="134370"/>
                  </a:lnTo>
                  <a:lnTo>
                    <a:pt x="144912" y="137784"/>
                  </a:lnTo>
                  <a:lnTo>
                    <a:pt x="143767" y="140571"/>
                  </a:lnTo>
                  <a:lnTo>
                    <a:pt x="142620" y="141440"/>
                  </a:lnTo>
                  <a:lnTo>
                    <a:pt x="139949" y="145651"/>
                  </a:lnTo>
                  <a:lnTo>
                    <a:pt x="138146" y="149869"/>
                  </a:lnTo>
                  <a:lnTo>
                    <a:pt x="137786" y="150965"/>
                  </a:lnTo>
                  <a:lnTo>
                    <a:pt x="137237" y="151777"/>
                  </a:lnTo>
                  <a:lnTo>
                    <a:pt x="136358" y="152432"/>
                  </a:lnTo>
                  <a:lnTo>
                    <a:pt x="133260" y="153743"/>
                  </a:lnTo>
                  <a:lnTo>
                    <a:pt x="132214" y="154393"/>
                  </a:lnTo>
                  <a:lnTo>
                    <a:pt x="131394" y="155172"/>
                  </a:lnTo>
                  <a:lnTo>
                    <a:pt x="130636" y="156062"/>
                  </a:lnTo>
                  <a:lnTo>
                    <a:pt x="130424" y="157127"/>
                  </a:lnTo>
                  <a:lnTo>
                    <a:pt x="131148" y="158636"/>
                  </a:lnTo>
                  <a:lnTo>
                    <a:pt x="132016" y="159830"/>
                  </a:lnTo>
                  <a:lnTo>
                    <a:pt x="132886" y="159904"/>
                  </a:lnTo>
                  <a:lnTo>
                    <a:pt x="133655" y="159850"/>
                  </a:lnTo>
                  <a:lnTo>
                    <a:pt x="134132" y="160560"/>
                  </a:lnTo>
                  <a:lnTo>
                    <a:pt x="134531" y="160979"/>
                  </a:lnTo>
                  <a:lnTo>
                    <a:pt x="134531" y="169178"/>
                  </a:lnTo>
                  <a:lnTo>
                    <a:pt x="133795" y="170416"/>
                  </a:lnTo>
                  <a:lnTo>
                    <a:pt x="133812" y="170969"/>
                  </a:lnTo>
                  <a:lnTo>
                    <a:pt x="133452" y="172381"/>
                  </a:lnTo>
                  <a:lnTo>
                    <a:pt x="133340" y="173958"/>
                  </a:lnTo>
                  <a:lnTo>
                    <a:pt x="133572" y="174584"/>
                  </a:lnTo>
                  <a:lnTo>
                    <a:pt x="134197" y="175091"/>
                  </a:lnTo>
                  <a:lnTo>
                    <a:pt x="135056" y="176194"/>
                  </a:lnTo>
                  <a:lnTo>
                    <a:pt x="135523" y="178711"/>
                  </a:lnTo>
                  <a:lnTo>
                    <a:pt x="136568" y="187575"/>
                  </a:lnTo>
                  <a:lnTo>
                    <a:pt x="137060" y="188975"/>
                  </a:lnTo>
                  <a:lnTo>
                    <a:pt x="137926" y="189957"/>
                  </a:lnTo>
                  <a:lnTo>
                    <a:pt x="140649" y="191867"/>
                  </a:lnTo>
                  <a:lnTo>
                    <a:pt x="143506" y="194378"/>
                  </a:lnTo>
                  <a:lnTo>
                    <a:pt x="144409" y="196010"/>
                  </a:lnTo>
                  <a:lnTo>
                    <a:pt x="144938" y="198688"/>
                  </a:lnTo>
                  <a:lnTo>
                    <a:pt x="146030" y="200789"/>
                  </a:lnTo>
                  <a:lnTo>
                    <a:pt x="146006" y="201502"/>
                  </a:lnTo>
                  <a:lnTo>
                    <a:pt x="145555" y="201778"/>
                  </a:lnTo>
                  <a:lnTo>
                    <a:pt x="144493" y="201811"/>
                  </a:lnTo>
                  <a:lnTo>
                    <a:pt x="143773" y="201958"/>
                  </a:lnTo>
                  <a:lnTo>
                    <a:pt x="144376" y="203489"/>
                  </a:lnTo>
                  <a:lnTo>
                    <a:pt x="145849" y="206153"/>
                  </a:lnTo>
                  <a:lnTo>
                    <a:pt x="148306" y="208916"/>
                  </a:lnTo>
                  <a:lnTo>
                    <a:pt x="150966" y="211905"/>
                  </a:lnTo>
                  <a:lnTo>
                    <a:pt x="153139" y="214347"/>
                  </a:lnTo>
                  <a:lnTo>
                    <a:pt x="155847" y="217170"/>
                  </a:lnTo>
                  <a:lnTo>
                    <a:pt x="157963" y="219375"/>
                  </a:lnTo>
                  <a:lnTo>
                    <a:pt x="160139" y="221644"/>
                  </a:lnTo>
                  <a:lnTo>
                    <a:pt x="161783" y="222177"/>
                  </a:lnTo>
                  <a:lnTo>
                    <a:pt x="163011" y="222337"/>
                  </a:lnTo>
                  <a:lnTo>
                    <a:pt x="163538" y="222781"/>
                  </a:lnTo>
                  <a:lnTo>
                    <a:pt x="164186" y="223823"/>
                  </a:lnTo>
                  <a:lnTo>
                    <a:pt x="165296" y="224975"/>
                  </a:lnTo>
                  <a:lnTo>
                    <a:pt x="166518" y="226482"/>
                  </a:lnTo>
                  <a:lnTo>
                    <a:pt x="166937" y="228019"/>
                  </a:lnTo>
                  <a:lnTo>
                    <a:pt x="166425" y="229482"/>
                  </a:lnTo>
                  <a:lnTo>
                    <a:pt x="166931" y="231581"/>
                  </a:lnTo>
                  <a:lnTo>
                    <a:pt x="166961" y="231761"/>
                  </a:lnTo>
                  <a:lnTo>
                    <a:pt x="167367" y="232587"/>
                  </a:lnTo>
                  <a:lnTo>
                    <a:pt x="167227" y="233327"/>
                  </a:lnTo>
                  <a:lnTo>
                    <a:pt x="167475" y="236109"/>
                  </a:lnTo>
                  <a:lnTo>
                    <a:pt x="168125" y="238537"/>
                  </a:lnTo>
                  <a:lnTo>
                    <a:pt x="169170" y="240610"/>
                  </a:lnTo>
                  <a:lnTo>
                    <a:pt x="169153" y="240778"/>
                  </a:lnTo>
                  <a:lnTo>
                    <a:pt x="169019" y="242054"/>
                  </a:lnTo>
                  <a:lnTo>
                    <a:pt x="167673" y="242872"/>
                  </a:lnTo>
                  <a:lnTo>
                    <a:pt x="166886" y="244222"/>
                  </a:lnTo>
                  <a:lnTo>
                    <a:pt x="166655" y="246105"/>
                  </a:lnTo>
                  <a:lnTo>
                    <a:pt x="167058" y="248397"/>
                  </a:lnTo>
                  <a:lnTo>
                    <a:pt x="168099" y="251098"/>
                  </a:lnTo>
                  <a:lnTo>
                    <a:pt x="168125" y="252684"/>
                  </a:lnTo>
                  <a:lnTo>
                    <a:pt x="167758" y="252908"/>
                  </a:lnTo>
                  <a:lnTo>
                    <a:pt x="167112" y="253413"/>
                  </a:lnTo>
                  <a:lnTo>
                    <a:pt x="166428" y="253746"/>
                  </a:lnTo>
                  <a:lnTo>
                    <a:pt x="164566" y="251893"/>
                  </a:lnTo>
                  <a:lnTo>
                    <a:pt x="162497" y="250641"/>
                  </a:lnTo>
                  <a:lnTo>
                    <a:pt x="159401" y="248465"/>
                  </a:lnTo>
                  <a:lnTo>
                    <a:pt x="156276" y="247682"/>
                  </a:lnTo>
                  <a:lnTo>
                    <a:pt x="152234" y="247541"/>
                  </a:lnTo>
                  <a:lnTo>
                    <a:pt x="150494" y="247807"/>
                  </a:lnTo>
                  <a:lnTo>
                    <a:pt x="149247" y="246988"/>
                  </a:lnTo>
                  <a:lnTo>
                    <a:pt x="147503" y="246043"/>
                  </a:lnTo>
                  <a:lnTo>
                    <a:pt x="146542" y="245797"/>
                  </a:lnTo>
                  <a:lnTo>
                    <a:pt x="145205" y="246532"/>
                  </a:lnTo>
                  <a:lnTo>
                    <a:pt x="144281" y="246565"/>
                  </a:lnTo>
                  <a:lnTo>
                    <a:pt x="143145" y="246280"/>
                  </a:lnTo>
                  <a:lnTo>
                    <a:pt x="140845" y="246312"/>
                  </a:lnTo>
                  <a:lnTo>
                    <a:pt x="140632" y="245051"/>
                  </a:lnTo>
                  <a:lnTo>
                    <a:pt x="140239" y="244804"/>
                  </a:lnTo>
                  <a:lnTo>
                    <a:pt x="137760" y="244921"/>
                  </a:lnTo>
                  <a:lnTo>
                    <a:pt x="136995" y="243876"/>
                  </a:lnTo>
                  <a:lnTo>
                    <a:pt x="136663" y="243993"/>
                  </a:lnTo>
                  <a:lnTo>
                    <a:pt x="135687" y="243662"/>
                  </a:lnTo>
                  <a:lnTo>
                    <a:pt x="133691" y="242179"/>
                  </a:lnTo>
                  <a:lnTo>
                    <a:pt x="131595" y="243161"/>
                  </a:lnTo>
                  <a:lnTo>
                    <a:pt x="127237" y="243037"/>
                  </a:lnTo>
                  <a:lnTo>
                    <a:pt x="121651" y="243069"/>
                  </a:lnTo>
                  <a:lnTo>
                    <a:pt x="115866" y="243102"/>
                  </a:lnTo>
                  <a:lnTo>
                    <a:pt x="110575" y="243055"/>
                  </a:lnTo>
                  <a:lnTo>
                    <a:pt x="105270" y="243010"/>
                  </a:lnTo>
                  <a:lnTo>
                    <a:pt x="104747" y="241624"/>
                  </a:lnTo>
                  <a:lnTo>
                    <a:pt x="103650" y="240911"/>
                  </a:lnTo>
                  <a:lnTo>
                    <a:pt x="101672" y="240845"/>
                  </a:lnTo>
                  <a:lnTo>
                    <a:pt x="95848" y="241125"/>
                  </a:lnTo>
                  <a:lnTo>
                    <a:pt x="91387" y="240904"/>
                  </a:lnTo>
                  <a:lnTo>
                    <a:pt x="89964" y="240721"/>
                  </a:lnTo>
                  <a:lnTo>
                    <a:pt x="88381" y="240360"/>
                  </a:lnTo>
                  <a:lnTo>
                    <a:pt x="84656" y="240036"/>
                  </a:lnTo>
                  <a:lnTo>
                    <a:pt x="80059" y="240293"/>
                  </a:lnTo>
                  <a:lnTo>
                    <a:pt x="79014" y="240224"/>
                  </a:lnTo>
                  <a:lnTo>
                    <a:pt x="75334" y="240276"/>
                  </a:lnTo>
                  <a:lnTo>
                    <a:pt x="66914" y="239899"/>
                  </a:lnTo>
                  <a:lnTo>
                    <a:pt x="62259" y="239954"/>
                  </a:lnTo>
                  <a:lnTo>
                    <a:pt x="62367" y="240801"/>
                  </a:lnTo>
                  <a:lnTo>
                    <a:pt x="62071" y="241411"/>
                  </a:lnTo>
                  <a:lnTo>
                    <a:pt x="61823" y="242881"/>
                  </a:lnTo>
                  <a:lnTo>
                    <a:pt x="56690" y="242879"/>
                  </a:lnTo>
                  <a:lnTo>
                    <a:pt x="49931" y="242877"/>
                  </a:lnTo>
                  <a:lnTo>
                    <a:pt x="43548" y="242876"/>
                  </a:lnTo>
                  <a:lnTo>
                    <a:pt x="39231" y="242874"/>
                  </a:lnTo>
                  <a:lnTo>
                    <a:pt x="31997" y="242873"/>
                  </a:lnTo>
                  <a:lnTo>
                    <a:pt x="29570" y="241866"/>
                  </a:lnTo>
                  <a:lnTo>
                    <a:pt x="28836" y="241222"/>
                  </a:lnTo>
                  <a:lnTo>
                    <a:pt x="28691" y="240490"/>
                  </a:lnTo>
                  <a:lnTo>
                    <a:pt x="28598" y="239996"/>
                  </a:lnTo>
                  <a:lnTo>
                    <a:pt x="28037" y="239849"/>
                  </a:lnTo>
                  <a:lnTo>
                    <a:pt x="28501" y="234654"/>
                  </a:lnTo>
                  <a:lnTo>
                    <a:pt x="29514" y="230324"/>
                  </a:lnTo>
                  <a:lnTo>
                    <a:pt x="29909" y="226305"/>
                  </a:lnTo>
                  <a:lnTo>
                    <a:pt x="31302" y="222709"/>
                  </a:lnTo>
                  <a:lnTo>
                    <a:pt x="30564" y="219155"/>
                  </a:lnTo>
                  <a:lnTo>
                    <a:pt x="29704" y="217602"/>
                  </a:lnTo>
                  <a:lnTo>
                    <a:pt x="25191" y="212559"/>
                  </a:lnTo>
                  <a:lnTo>
                    <a:pt x="27262" y="210650"/>
                  </a:lnTo>
                  <a:lnTo>
                    <a:pt x="24535" y="210917"/>
                  </a:lnTo>
                  <a:lnTo>
                    <a:pt x="23949" y="209041"/>
                  </a:lnTo>
                  <a:lnTo>
                    <a:pt x="22628" y="206792"/>
                  </a:lnTo>
                  <a:lnTo>
                    <a:pt x="23437" y="206432"/>
                  </a:lnTo>
                  <a:lnTo>
                    <a:pt x="24219" y="205198"/>
                  </a:lnTo>
                  <a:lnTo>
                    <a:pt x="26685" y="205577"/>
                  </a:lnTo>
                  <a:lnTo>
                    <a:pt x="26607" y="204974"/>
                  </a:lnTo>
                  <a:lnTo>
                    <a:pt x="24480" y="203088"/>
                  </a:lnTo>
                  <a:lnTo>
                    <a:pt x="24686" y="202135"/>
                  </a:lnTo>
                  <a:lnTo>
                    <a:pt x="25562" y="201071"/>
                  </a:lnTo>
                  <a:lnTo>
                    <a:pt x="25135" y="200622"/>
                  </a:lnTo>
                  <a:lnTo>
                    <a:pt x="23606" y="201724"/>
                  </a:lnTo>
                  <a:lnTo>
                    <a:pt x="22504" y="201690"/>
                  </a:lnTo>
                  <a:lnTo>
                    <a:pt x="21647" y="200977"/>
                  </a:lnTo>
                  <a:lnTo>
                    <a:pt x="21025" y="200856"/>
                  </a:lnTo>
                  <a:lnTo>
                    <a:pt x="21403" y="202304"/>
                  </a:lnTo>
                  <a:lnTo>
                    <a:pt x="20546" y="203593"/>
                  </a:lnTo>
                  <a:lnTo>
                    <a:pt x="19734" y="204040"/>
                  </a:lnTo>
                  <a:lnTo>
                    <a:pt x="18341" y="203964"/>
                  </a:lnTo>
                  <a:lnTo>
                    <a:pt x="17206" y="203640"/>
                  </a:lnTo>
                  <a:lnTo>
                    <a:pt x="16905" y="202919"/>
                  </a:lnTo>
                  <a:lnTo>
                    <a:pt x="15839" y="202367"/>
                  </a:lnTo>
                  <a:lnTo>
                    <a:pt x="12848" y="201410"/>
                  </a:lnTo>
                  <a:lnTo>
                    <a:pt x="10332" y="200291"/>
                  </a:lnTo>
                  <a:lnTo>
                    <a:pt x="9823" y="197216"/>
                  </a:lnTo>
                  <a:lnTo>
                    <a:pt x="8827" y="195891"/>
                  </a:lnTo>
                  <a:lnTo>
                    <a:pt x="8419" y="194394"/>
                  </a:lnTo>
                  <a:lnTo>
                    <a:pt x="8181" y="192681"/>
                  </a:lnTo>
                  <a:lnTo>
                    <a:pt x="8523" y="190053"/>
                  </a:lnTo>
                  <a:lnTo>
                    <a:pt x="7886" y="189632"/>
                  </a:lnTo>
                  <a:lnTo>
                    <a:pt x="7156" y="189489"/>
                  </a:lnTo>
                  <a:lnTo>
                    <a:pt x="6065" y="189617"/>
                  </a:lnTo>
                  <a:lnTo>
                    <a:pt x="5066" y="189471"/>
                  </a:lnTo>
                  <a:lnTo>
                    <a:pt x="3871" y="188016"/>
                  </a:lnTo>
                  <a:lnTo>
                    <a:pt x="2820" y="187455"/>
                  </a:lnTo>
                  <a:lnTo>
                    <a:pt x="3468" y="190131"/>
                  </a:lnTo>
                  <a:lnTo>
                    <a:pt x="2729" y="190882"/>
                  </a:lnTo>
                  <a:lnTo>
                    <a:pt x="919" y="190663"/>
                  </a:lnTo>
                  <a:lnTo>
                    <a:pt x="148" y="189652"/>
                  </a:lnTo>
                  <a:lnTo>
                    <a:pt x="0" y="188899"/>
                  </a:lnTo>
                  <a:lnTo>
                    <a:pt x="833" y="185658"/>
                  </a:lnTo>
                  <a:lnTo>
                    <a:pt x="509" y="185589"/>
                  </a:lnTo>
                  <a:lnTo>
                    <a:pt x="1157" y="183869"/>
                  </a:lnTo>
                  <a:lnTo>
                    <a:pt x="2381" y="181782"/>
                  </a:lnTo>
                  <a:lnTo>
                    <a:pt x="4042" y="179125"/>
                  </a:lnTo>
                  <a:lnTo>
                    <a:pt x="5929" y="175786"/>
                  </a:lnTo>
                  <a:lnTo>
                    <a:pt x="7216" y="169882"/>
                  </a:lnTo>
                  <a:lnTo>
                    <a:pt x="8093" y="166202"/>
                  </a:lnTo>
                  <a:lnTo>
                    <a:pt x="8894" y="162845"/>
                  </a:lnTo>
                  <a:lnTo>
                    <a:pt x="10267" y="159812"/>
                  </a:lnTo>
                  <a:lnTo>
                    <a:pt x="11660" y="157785"/>
                  </a:lnTo>
                  <a:lnTo>
                    <a:pt x="15609" y="153855"/>
                  </a:lnTo>
                  <a:lnTo>
                    <a:pt x="18585" y="150892"/>
                  </a:lnTo>
                  <a:lnTo>
                    <a:pt x="20108" y="149699"/>
                  </a:lnTo>
                  <a:lnTo>
                    <a:pt x="21170" y="148694"/>
                  </a:lnTo>
                  <a:lnTo>
                    <a:pt x="23023" y="147545"/>
                  </a:lnTo>
                  <a:lnTo>
                    <a:pt x="24923" y="146178"/>
                  </a:lnTo>
                  <a:lnTo>
                    <a:pt x="26374" y="143557"/>
                  </a:lnTo>
                  <a:lnTo>
                    <a:pt x="27575" y="141110"/>
                  </a:lnTo>
                  <a:lnTo>
                    <a:pt x="28477" y="140582"/>
                  </a:lnTo>
                  <a:lnTo>
                    <a:pt x="29661" y="140153"/>
                  </a:lnTo>
                  <a:lnTo>
                    <a:pt x="33301" y="137529"/>
                  </a:lnTo>
                  <a:lnTo>
                    <a:pt x="35616" y="135862"/>
                  </a:lnTo>
                  <a:lnTo>
                    <a:pt x="36152" y="136689"/>
                  </a:lnTo>
                  <a:lnTo>
                    <a:pt x="36545" y="137720"/>
                  </a:lnTo>
                  <a:lnTo>
                    <a:pt x="36985" y="138191"/>
                  </a:lnTo>
                  <a:lnTo>
                    <a:pt x="38922" y="138520"/>
                  </a:lnTo>
                  <a:lnTo>
                    <a:pt x="41578" y="138499"/>
                  </a:lnTo>
                  <a:lnTo>
                    <a:pt x="43107" y="138198"/>
                  </a:lnTo>
                  <a:lnTo>
                    <a:pt x="43919" y="137327"/>
                  </a:lnTo>
                  <a:lnTo>
                    <a:pt x="44744" y="134950"/>
                  </a:lnTo>
                  <a:lnTo>
                    <a:pt x="45226" y="134500"/>
                  </a:lnTo>
                  <a:lnTo>
                    <a:pt x="45848" y="134381"/>
                  </a:lnTo>
                  <a:lnTo>
                    <a:pt x="48752" y="136043"/>
                  </a:lnTo>
                  <a:lnTo>
                    <a:pt x="51160" y="138409"/>
                  </a:lnTo>
                  <a:lnTo>
                    <a:pt x="53541" y="140746"/>
                  </a:lnTo>
                  <a:lnTo>
                    <a:pt x="54746" y="141578"/>
                  </a:lnTo>
                  <a:lnTo>
                    <a:pt x="55273" y="142493"/>
                  </a:lnTo>
                  <a:lnTo>
                    <a:pt x="56316" y="146765"/>
                  </a:lnTo>
                  <a:lnTo>
                    <a:pt x="56908" y="147827"/>
                  </a:lnTo>
                  <a:lnTo>
                    <a:pt x="57945" y="148266"/>
                  </a:lnTo>
                  <a:lnTo>
                    <a:pt x="59801" y="147986"/>
                  </a:lnTo>
                  <a:lnTo>
                    <a:pt x="61732" y="147228"/>
                  </a:lnTo>
                  <a:lnTo>
                    <a:pt x="63438" y="146134"/>
                  </a:lnTo>
                  <a:lnTo>
                    <a:pt x="65113" y="144725"/>
                  </a:lnTo>
                  <a:lnTo>
                    <a:pt x="66254" y="143445"/>
                  </a:lnTo>
                  <a:lnTo>
                    <a:pt x="66752" y="142507"/>
                  </a:lnTo>
                  <a:lnTo>
                    <a:pt x="67003" y="139012"/>
                  </a:lnTo>
                  <a:lnTo>
                    <a:pt x="67381" y="138251"/>
                  </a:lnTo>
                  <a:lnTo>
                    <a:pt x="69093" y="136859"/>
                  </a:lnTo>
                  <a:lnTo>
                    <a:pt x="71957" y="134534"/>
                  </a:lnTo>
                  <a:lnTo>
                    <a:pt x="73602" y="133196"/>
                  </a:lnTo>
                  <a:lnTo>
                    <a:pt x="73455" y="132716"/>
                  </a:lnTo>
                  <a:lnTo>
                    <a:pt x="72434" y="131295"/>
                  </a:lnTo>
                  <a:lnTo>
                    <a:pt x="71523" y="129732"/>
                  </a:lnTo>
                  <a:lnTo>
                    <a:pt x="72447" y="128114"/>
                  </a:lnTo>
                  <a:lnTo>
                    <a:pt x="73404" y="126876"/>
                  </a:lnTo>
                  <a:lnTo>
                    <a:pt x="77020" y="122674"/>
                  </a:lnTo>
                  <a:lnTo>
                    <a:pt x="77033" y="121290"/>
                  </a:lnTo>
                  <a:lnTo>
                    <a:pt x="77224" y="119604"/>
                  </a:lnTo>
                  <a:lnTo>
                    <a:pt x="80115" y="114828"/>
                  </a:lnTo>
                  <a:lnTo>
                    <a:pt x="81778" y="108488"/>
                  </a:lnTo>
                  <a:lnTo>
                    <a:pt x="81827" y="107265"/>
                  </a:lnTo>
                  <a:lnTo>
                    <a:pt x="83550" y="104206"/>
                  </a:lnTo>
                  <a:lnTo>
                    <a:pt x="85589" y="100290"/>
                  </a:lnTo>
                  <a:lnTo>
                    <a:pt x="89551" y="99654"/>
                  </a:lnTo>
                  <a:lnTo>
                    <a:pt x="91074" y="98682"/>
                  </a:lnTo>
                  <a:lnTo>
                    <a:pt x="92833" y="96947"/>
                  </a:lnTo>
                  <a:lnTo>
                    <a:pt x="93963" y="95338"/>
                  </a:lnTo>
                  <a:lnTo>
                    <a:pt x="94501" y="93806"/>
                  </a:lnTo>
                  <a:lnTo>
                    <a:pt x="94896" y="90846"/>
                  </a:lnTo>
                  <a:lnTo>
                    <a:pt x="95593" y="87473"/>
                  </a:lnTo>
                  <a:lnTo>
                    <a:pt x="96029" y="84513"/>
                  </a:lnTo>
                  <a:lnTo>
                    <a:pt x="97219" y="81775"/>
                  </a:lnTo>
                  <a:lnTo>
                    <a:pt x="99208" y="80391"/>
                  </a:lnTo>
                  <a:lnTo>
                    <a:pt x="102659" y="79246"/>
                  </a:lnTo>
                  <a:lnTo>
                    <a:pt x="103173" y="78708"/>
                  </a:lnTo>
                  <a:lnTo>
                    <a:pt x="103670" y="76892"/>
                  </a:lnTo>
                  <a:lnTo>
                    <a:pt x="104058" y="73124"/>
                  </a:lnTo>
                  <a:lnTo>
                    <a:pt x="104168" y="70848"/>
                  </a:lnTo>
                  <a:lnTo>
                    <a:pt x="104302" y="69863"/>
                  </a:lnTo>
                  <a:lnTo>
                    <a:pt x="104747" y="68163"/>
                  </a:lnTo>
                  <a:lnTo>
                    <a:pt x="107945" y="65143"/>
                  </a:lnTo>
                  <a:lnTo>
                    <a:pt x="109360" y="60410"/>
                  </a:lnTo>
                  <a:lnTo>
                    <a:pt x="110616" y="55452"/>
                  </a:lnTo>
                  <a:lnTo>
                    <a:pt x="114255" y="49457"/>
                  </a:lnTo>
                  <a:lnTo>
                    <a:pt x="118504" y="43484"/>
                  </a:lnTo>
                  <a:lnTo>
                    <a:pt x="120480" y="41877"/>
                  </a:lnTo>
                  <a:lnTo>
                    <a:pt x="122145" y="41135"/>
                  </a:lnTo>
                  <a:lnTo>
                    <a:pt x="124058" y="41056"/>
                  </a:lnTo>
                  <a:lnTo>
                    <a:pt x="125365" y="40617"/>
                  </a:lnTo>
                  <a:lnTo>
                    <a:pt x="129945" y="37639"/>
                  </a:lnTo>
                  <a:lnTo>
                    <a:pt x="131860" y="36632"/>
                  </a:lnTo>
                  <a:lnTo>
                    <a:pt x="133268" y="35598"/>
                  </a:lnTo>
                  <a:lnTo>
                    <a:pt x="133614" y="34699"/>
                  </a:lnTo>
                  <a:lnTo>
                    <a:pt x="133752" y="33383"/>
                  </a:lnTo>
                  <a:lnTo>
                    <a:pt x="133314" y="30301"/>
                  </a:lnTo>
                  <a:lnTo>
                    <a:pt x="134100" y="28034"/>
                  </a:lnTo>
                  <a:lnTo>
                    <a:pt x="134560" y="24519"/>
                  </a:lnTo>
                  <a:lnTo>
                    <a:pt x="134758" y="21781"/>
                  </a:lnTo>
                  <a:lnTo>
                    <a:pt x="134594" y="20832"/>
                  </a:lnTo>
                  <a:lnTo>
                    <a:pt x="133870" y="19521"/>
                  </a:lnTo>
                  <a:lnTo>
                    <a:pt x="133737" y="19237"/>
                  </a:lnTo>
                  <a:lnTo>
                    <a:pt x="132366" y="17528"/>
                  </a:lnTo>
                  <a:lnTo>
                    <a:pt x="130077" y="16498"/>
                  </a:lnTo>
                  <a:lnTo>
                    <a:pt x="126924" y="16220"/>
                  </a:lnTo>
                  <a:lnTo>
                    <a:pt x="125257" y="15608"/>
                  </a:lnTo>
                  <a:lnTo>
                    <a:pt x="124978" y="14184"/>
                  </a:lnTo>
                  <a:lnTo>
                    <a:pt x="124818" y="13356"/>
                  </a:lnTo>
                  <a:lnTo>
                    <a:pt x="124656" y="12458"/>
                  </a:lnTo>
                  <a:lnTo>
                    <a:pt x="124430" y="10466"/>
                  </a:lnTo>
                  <a:lnTo>
                    <a:pt x="122305" y="0"/>
                  </a:lnTo>
                  <a:lnTo>
                    <a:pt x="126304" y="26"/>
                  </a:lnTo>
                  <a:lnTo>
                    <a:pt x="131100" y="1276"/>
                  </a:lnTo>
                  <a:lnTo>
                    <a:pt x="132305" y="2221"/>
                  </a:lnTo>
                  <a:lnTo>
                    <a:pt x="132936" y="5806"/>
                  </a:lnTo>
                  <a:lnTo>
                    <a:pt x="134672" y="7834"/>
                  </a:lnTo>
                  <a:lnTo>
                    <a:pt x="137723" y="9504"/>
                  </a:lnTo>
                  <a:lnTo>
                    <a:pt x="139621" y="12952"/>
                  </a:lnTo>
                  <a:lnTo>
                    <a:pt x="140364" y="18175"/>
                  </a:lnTo>
                  <a:lnTo>
                    <a:pt x="142046" y="21295"/>
                  </a:lnTo>
                  <a:lnTo>
                    <a:pt x="142424" y="21788"/>
                  </a:lnTo>
                  <a:lnTo>
                    <a:pt x="144326" y="26301"/>
                  </a:lnTo>
                  <a:lnTo>
                    <a:pt x="144799" y="27682"/>
                  </a:lnTo>
                  <a:lnTo>
                    <a:pt x="144942" y="30398"/>
                  </a:lnTo>
                  <a:lnTo>
                    <a:pt x="144728" y="32231"/>
                  </a:lnTo>
                  <a:lnTo>
                    <a:pt x="145700" y="34501"/>
                  </a:lnTo>
                  <a:lnTo>
                    <a:pt x="144229" y="38369"/>
                  </a:lnTo>
                  <a:lnTo>
                    <a:pt x="143793" y="40744"/>
                  </a:lnTo>
                  <a:lnTo>
                    <a:pt x="143663" y="44075"/>
                  </a:lnTo>
                  <a:lnTo>
                    <a:pt x="144521" y="49951"/>
                  </a:lnTo>
                  <a:lnTo>
                    <a:pt x="145926" y="54481"/>
                  </a:lnTo>
                  <a:lnTo>
                    <a:pt x="147447" y="58147"/>
                  </a:lnTo>
                  <a:lnTo>
                    <a:pt x="149107" y="60988"/>
                  </a:lnTo>
                  <a:lnTo>
                    <a:pt x="151845" y="64127"/>
                  </a:lnTo>
                  <a:lnTo>
                    <a:pt x="154765" y="66995"/>
                  </a:lnTo>
                  <a:lnTo>
                    <a:pt x="157483" y="68797"/>
                  </a:lnTo>
                  <a:lnTo>
                    <a:pt x="154963" y="69857"/>
                  </a:lnTo>
                  <a:lnTo>
                    <a:pt x="150079" y="69992"/>
                  </a:lnTo>
                  <a:lnTo>
                    <a:pt x="147274" y="69384"/>
                  </a:lnTo>
                  <a:lnTo>
                    <a:pt x="145937" y="69354"/>
                  </a:lnTo>
                  <a:lnTo>
                    <a:pt x="144585" y="69731"/>
                  </a:lnTo>
                  <a:lnTo>
                    <a:pt x="139373" y="70273"/>
                  </a:lnTo>
                  <a:lnTo>
                    <a:pt x="134112" y="70019"/>
                  </a:lnTo>
                  <a:lnTo>
                    <a:pt x="129232" y="69305"/>
                  </a:lnTo>
                  <a:lnTo>
                    <a:pt x="126269" y="69424"/>
                  </a:lnTo>
                  <a:lnTo>
                    <a:pt x="123981" y="71164"/>
                  </a:lnTo>
                  <a:lnTo>
                    <a:pt x="122128" y="73785"/>
                  </a:lnTo>
                  <a:lnTo>
                    <a:pt x="120388" y="75857"/>
                  </a:lnTo>
                  <a:lnTo>
                    <a:pt x="121001" y="78151"/>
                  </a:lnTo>
                  <a:lnTo>
                    <a:pt x="122309" y="79422"/>
                  </a:lnTo>
                  <a:lnTo>
                    <a:pt x="124825" y="82216"/>
                  </a:lnTo>
                  <a:lnTo>
                    <a:pt x="127084" y="84924"/>
                  </a:lnTo>
                  <a:lnTo>
                    <a:pt x="128239" y="86743"/>
                  </a:lnTo>
                  <a:lnTo>
                    <a:pt x="132746" y="90717"/>
                  </a:lnTo>
                  <a:lnTo>
                    <a:pt x="137095" y="94273"/>
                  </a:lnTo>
                  <a:lnTo>
                    <a:pt x="137945" y="94864"/>
                  </a:lnTo>
                  <a:lnTo>
                    <a:pt x="139161" y="95507"/>
                  </a:lnTo>
                  <a:lnTo>
                    <a:pt x="139923" y="95767"/>
                  </a:lnTo>
                  <a:lnTo>
                    <a:pt x="142294" y="97802"/>
                  </a:lnTo>
                  <a:lnTo>
                    <a:pt x="145572" y="101142"/>
                  </a:lnTo>
                  <a:lnTo>
                    <a:pt x="148582" y="106374"/>
                  </a:lnTo>
                  <a:lnTo>
                    <a:pt x="150720" y="111683"/>
                  </a:lnTo>
                  <a:lnTo>
                    <a:pt x="152798" y="116844"/>
                  </a:lnTo>
                  <a:lnTo>
                    <a:pt x="153715" y="117714"/>
                  </a:lnTo>
                  <a:lnTo>
                    <a:pt x="155160" y="118267"/>
                  </a:lnTo>
                  <a:lnTo>
                    <a:pt x="155337" y="119376"/>
                  </a:lnTo>
                  <a:lnTo>
                    <a:pt x="155223" y="121012"/>
                  </a:lnTo>
                  <a:lnTo>
                    <a:pt x="154776" y="122348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70" name="ee4p_CD_1_37365">
              <a:extLst>
                <a:ext uri="{FF2B5EF4-FFF2-40B4-BE49-F238E27FC236}">
                  <a16:creationId xmlns:a16="http://schemas.microsoft.com/office/drawing/2014/main" id="{B97890C1-779A-04D0-FF4D-0885214C8A99}"/>
                </a:ext>
              </a:extLst>
            </p:cNvPr>
            <p:cNvSpPr>
              <a:spLocks noChangeAspect="1"/>
            </p:cNvSpPr>
            <p:nvPr>
              <p:custDataLst>
                <p:tags r:id="rId324"/>
              </p:custDataLst>
            </p:nvPr>
          </p:nvSpPr>
          <p:spPr>
            <a:xfrm>
              <a:off x="6853866" y="4526020"/>
              <a:ext cx="529295" cy="537723"/>
            </a:xfrm>
            <a:custGeom>
              <a:avLst/>
              <a:gdLst/>
              <a:ahLst/>
              <a:cxnLst/>
              <a:rect l="0" t="0" r="0" b="0"/>
              <a:pathLst>
                <a:path w="421466" h="416827">
                  <a:moveTo>
                    <a:pt x="335875" y="4498"/>
                  </a:moveTo>
                  <a:lnTo>
                    <a:pt x="336670" y="6050"/>
                  </a:lnTo>
                  <a:lnTo>
                    <a:pt x="337814" y="7637"/>
                  </a:lnTo>
                  <a:lnTo>
                    <a:pt x="341643" y="10332"/>
                  </a:lnTo>
                  <a:lnTo>
                    <a:pt x="342861" y="11832"/>
                  </a:lnTo>
                  <a:lnTo>
                    <a:pt x="343794" y="13496"/>
                  </a:lnTo>
                  <a:lnTo>
                    <a:pt x="344383" y="14794"/>
                  </a:lnTo>
                  <a:lnTo>
                    <a:pt x="345567" y="15833"/>
                  </a:lnTo>
                  <a:lnTo>
                    <a:pt x="347225" y="16494"/>
                  </a:lnTo>
                  <a:lnTo>
                    <a:pt x="348642" y="17288"/>
                  </a:lnTo>
                  <a:lnTo>
                    <a:pt x="349507" y="18456"/>
                  </a:lnTo>
                  <a:lnTo>
                    <a:pt x="350807" y="19665"/>
                  </a:lnTo>
                  <a:lnTo>
                    <a:pt x="353317" y="21317"/>
                  </a:lnTo>
                  <a:lnTo>
                    <a:pt x="354537" y="21355"/>
                  </a:lnTo>
                  <a:lnTo>
                    <a:pt x="355947" y="21587"/>
                  </a:lnTo>
                  <a:lnTo>
                    <a:pt x="357188" y="22017"/>
                  </a:lnTo>
                  <a:lnTo>
                    <a:pt x="358523" y="21895"/>
                  </a:lnTo>
                  <a:lnTo>
                    <a:pt x="360673" y="20816"/>
                  </a:lnTo>
                  <a:lnTo>
                    <a:pt x="363211" y="19007"/>
                  </a:lnTo>
                  <a:lnTo>
                    <a:pt x="365146" y="17889"/>
                  </a:lnTo>
                  <a:lnTo>
                    <a:pt x="369840" y="18286"/>
                  </a:lnTo>
                  <a:lnTo>
                    <a:pt x="372451" y="19197"/>
                  </a:lnTo>
                  <a:lnTo>
                    <a:pt x="374530" y="20477"/>
                  </a:lnTo>
                  <a:lnTo>
                    <a:pt x="376154" y="20394"/>
                  </a:lnTo>
                  <a:lnTo>
                    <a:pt x="379691" y="18035"/>
                  </a:lnTo>
                  <a:lnTo>
                    <a:pt x="381566" y="15522"/>
                  </a:lnTo>
                  <a:lnTo>
                    <a:pt x="383388" y="14985"/>
                  </a:lnTo>
                  <a:lnTo>
                    <a:pt x="386148" y="16073"/>
                  </a:lnTo>
                  <a:lnTo>
                    <a:pt x="388426" y="18421"/>
                  </a:lnTo>
                  <a:lnTo>
                    <a:pt x="390424" y="21828"/>
                  </a:lnTo>
                  <a:lnTo>
                    <a:pt x="391834" y="23128"/>
                  </a:lnTo>
                  <a:lnTo>
                    <a:pt x="393766" y="25141"/>
                  </a:lnTo>
                  <a:lnTo>
                    <a:pt x="397603" y="29475"/>
                  </a:lnTo>
                  <a:lnTo>
                    <a:pt x="402596" y="31646"/>
                  </a:lnTo>
                  <a:lnTo>
                    <a:pt x="404533" y="32713"/>
                  </a:lnTo>
                  <a:lnTo>
                    <a:pt x="405166" y="33787"/>
                  </a:lnTo>
                  <a:lnTo>
                    <a:pt x="405533" y="35210"/>
                  </a:lnTo>
                  <a:lnTo>
                    <a:pt x="405662" y="36764"/>
                  </a:lnTo>
                  <a:lnTo>
                    <a:pt x="406267" y="37396"/>
                  </a:lnTo>
                  <a:lnTo>
                    <a:pt x="407614" y="37176"/>
                  </a:lnTo>
                  <a:lnTo>
                    <a:pt x="408770" y="36956"/>
                  </a:lnTo>
                  <a:lnTo>
                    <a:pt x="410037" y="37396"/>
                  </a:lnTo>
                  <a:lnTo>
                    <a:pt x="410916" y="38527"/>
                  </a:lnTo>
                  <a:lnTo>
                    <a:pt x="411356" y="39408"/>
                  </a:lnTo>
                  <a:lnTo>
                    <a:pt x="411836" y="40351"/>
                  </a:lnTo>
                  <a:lnTo>
                    <a:pt x="413090" y="40950"/>
                  </a:lnTo>
                  <a:lnTo>
                    <a:pt x="413337" y="42162"/>
                  </a:lnTo>
                  <a:lnTo>
                    <a:pt x="412477" y="43641"/>
                  </a:lnTo>
                  <a:lnTo>
                    <a:pt x="411598" y="44958"/>
                  </a:lnTo>
                  <a:lnTo>
                    <a:pt x="410525" y="47597"/>
                  </a:lnTo>
                  <a:lnTo>
                    <a:pt x="409966" y="50288"/>
                  </a:lnTo>
                  <a:lnTo>
                    <a:pt x="410685" y="51183"/>
                  </a:lnTo>
                  <a:lnTo>
                    <a:pt x="411456" y="51931"/>
                  </a:lnTo>
                  <a:lnTo>
                    <a:pt x="411866" y="52685"/>
                  </a:lnTo>
                  <a:lnTo>
                    <a:pt x="412106" y="53567"/>
                  </a:lnTo>
                  <a:lnTo>
                    <a:pt x="412015" y="54599"/>
                  </a:lnTo>
                  <a:lnTo>
                    <a:pt x="410309" y="58340"/>
                  </a:lnTo>
                  <a:lnTo>
                    <a:pt x="409433" y="61608"/>
                  </a:lnTo>
                  <a:lnTo>
                    <a:pt x="409405" y="63265"/>
                  </a:lnTo>
                  <a:lnTo>
                    <a:pt x="411648" y="64480"/>
                  </a:lnTo>
                  <a:lnTo>
                    <a:pt x="414563" y="64418"/>
                  </a:lnTo>
                  <a:lnTo>
                    <a:pt x="415485" y="65168"/>
                  </a:lnTo>
                  <a:lnTo>
                    <a:pt x="416407" y="66359"/>
                  </a:lnTo>
                  <a:lnTo>
                    <a:pt x="417222" y="66966"/>
                  </a:lnTo>
                  <a:lnTo>
                    <a:pt x="418448" y="66949"/>
                  </a:lnTo>
                  <a:lnTo>
                    <a:pt x="419305" y="67365"/>
                  </a:lnTo>
                  <a:lnTo>
                    <a:pt x="419638" y="68201"/>
                  </a:lnTo>
                  <a:lnTo>
                    <a:pt x="420631" y="69106"/>
                  </a:lnTo>
                  <a:lnTo>
                    <a:pt x="421465" y="70103"/>
                  </a:lnTo>
                  <a:lnTo>
                    <a:pt x="421067" y="71382"/>
                  </a:lnTo>
                  <a:lnTo>
                    <a:pt x="420994" y="72353"/>
                  </a:lnTo>
                  <a:lnTo>
                    <a:pt x="418916" y="75064"/>
                  </a:lnTo>
                  <a:lnTo>
                    <a:pt x="414136" y="80355"/>
                  </a:lnTo>
                  <a:lnTo>
                    <a:pt x="403866" y="90170"/>
                  </a:lnTo>
                  <a:lnTo>
                    <a:pt x="403859" y="90175"/>
                  </a:lnTo>
                  <a:lnTo>
                    <a:pt x="400394" y="91359"/>
                  </a:lnTo>
                  <a:lnTo>
                    <a:pt x="398603" y="93183"/>
                  </a:lnTo>
                  <a:lnTo>
                    <a:pt x="397338" y="96043"/>
                  </a:lnTo>
                  <a:lnTo>
                    <a:pt x="394341" y="98475"/>
                  </a:lnTo>
                  <a:lnTo>
                    <a:pt x="392030" y="99454"/>
                  </a:lnTo>
                  <a:lnTo>
                    <a:pt x="391782" y="100037"/>
                  </a:lnTo>
                  <a:lnTo>
                    <a:pt x="391609" y="102667"/>
                  </a:lnTo>
                  <a:lnTo>
                    <a:pt x="391844" y="106535"/>
                  </a:lnTo>
                  <a:lnTo>
                    <a:pt x="390760" y="108305"/>
                  </a:lnTo>
                  <a:lnTo>
                    <a:pt x="389195" y="111740"/>
                  </a:lnTo>
                  <a:lnTo>
                    <a:pt x="388381" y="113891"/>
                  </a:lnTo>
                  <a:lnTo>
                    <a:pt x="387759" y="114314"/>
                  </a:lnTo>
                  <a:lnTo>
                    <a:pt x="387051" y="115395"/>
                  </a:lnTo>
                  <a:lnTo>
                    <a:pt x="386612" y="118900"/>
                  </a:lnTo>
                  <a:lnTo>
                    <a:pt x="386314" y="120081"/>
                  </a:lnTo>
                  <a:lnTo>
                    <a:pt x="385183" y="127336"/>
                  </a:lnTo>
                  <a:lnTo>
                    <a:pt x="385506" y="129405"/>
                  </a:lnTo>
                  <a:lnTo>
                    <a:pt x="384630" y="132856"/>
                  </a:lnTo>
                  <a:lnTo>
                    <a:pt x="384591" y="134886"/>
                  </a:lnTo>
                  <a:lnTo>
                    <a:pt x="384228" y="137186"/>
                  </a:lnTo>
                  <a:lnTo>
                    <a:pt x="383606" y="139181"/>
                  </a:lnTo>
                  <a:lnTo>
                    <a:pt x="383654" y="142366"/>
                  </a:lnTo>
                  <a:lnTo>
                    <a:pt x="384006" y="147572"/>
                  </a:lnTo>
                  <a:lnTo>
                    <a:pt x="383939" y="148260"/>
                  </a:lnTo>
                  <a:lnTo>
                    <a:pt x="383073" y="148744"/>
                  </a:lnTo>
                  <a:lnTo>
                    <a:pt x="381529" y="150033"/>
                  </a:lnTo>
                  <a:lnTo>
                    <a:pt x="380069" y="150904"/>
                  </a:lnTo>
                  <a:lnTo>
                    <a:pt x="378957" y="151129"/>
                  </a:lnTo>
                  <a:lnTo>
                    <a:pt x="377111" y="153429"/>
                  </a:lnTo>
                  <a:lnTo>
                    <a:pt x="375528" y="155604"/>
                  </a:lnTo>
                  <a:lnTo>
                    <a:pt x="374349" y="157729"/>
                  </a:lnTo>
                  <a:lnTo>
                    <a:pt x="374042" y="158708"/>
                  </a:lnTo>
                  <a:lnTo>
                    <a:pt x="374291" y="161458"/>
                  </a:lnTo>
                  <a:lnTo>
                    <a:pt x="374455" y="164715"/>
                  </a:lnTo>
                  <a:lnTo>
                    <a:pt x="374090" y="166115"/>
                  </a:lnTo>
                  <a:lnTo>
                    <a:pt x="373535" y="166958"/>
                  </a:lnTo>
                  <a:lnTo>
                    <a:pt x="370950" y="168719"/>
                  </a:lnTo>
                  <a:lnTo>
                    <a:pt x="369251" y="169991"/>
                  </a:lnTo>
                  <a:lnTo>
                    <a:pt x="368447" y="170655"/>
                  </a:lnTo>
                  <a:lnTo>
                    <a:pt x="368033" y="171681"/>
                  </a:lnTo>
                  <a:lnTo>
                    <a:pt x="368780" y="174090"/>
                  </a:lnTo>
                  <a:lnTo>
                    <a:pt x="368836" y="175849"/>
                  </a:lnTo>
                  <a:lnTo>
                    <a:pt x="369452" y="176888"/>
                  </a:lnTo>
                  <a:lnTo>
                    <a:pt x="371499" y="177733"/>
                  </a:lnTo>
                  <a:lnTo>
                    <a:pt x="371494" y="178576"/>
                  </a:lnTo>
                  <a:lnTo>
                    <a:pt x="371548" y="179490"/>
                  </a:lnTo>
                  <a:lnTo>
                    <a:pt x="372613" y="180623"/>
                  </a:lnTo>
                  <a:lnTo>
                    <a:pt x="374570" y="182935"/>
                  </a:lnTo>
                  <a:lnTo>
                    <a:pt x="376143" y="185110"/>
                  </a:lnTo>
                  <a:lnTo>
                    <a:pt x="376180" y="186994"/>
                  </a:lnTo>
                  <a:lnTo>
                    <a:pt x="375876" y="190150"/>
                  </a:lnTo>
                  <a:lnTo>
                    <a:pt x="375826" y="191966"/>
                  </a:lnTo>
                  <a:lnTo>
                    <a:pt x="375984" y="194454"/>
                  </a:lnTo>
                  <a:lnTo>
                    <a:pt x="375975" y="199087"/>
                  </a:lnTo>
                  <a:lnTo>
                    <a:pt x="375865" y="202383"/>
                  </a:lnTo>
                  <a:lnTo>
                    <a:pt x="376117" y="204089"/>
                  </a:lnTo>
                  <a:lnTo>
                    <a:pt x="378508" y="208177"/>
                  </a:lnTo>
                  <a:lnTo>
                    <a:pt x="379566" y="212702"/>
                  </a:lnTo>
                  <a:lnTo>
                    <a:pt x="380097" y="216016"/>
                  </a:lnTo>
                  <a:lnTo>
                    <a:pt x="380119" y="217066"/>
                  </a:lnTo>
                  <a:lnTo>
                    <a:pt x="379309" y="220881"/>
                  </a:lnTo>
                  <a:lnTo>
                    <a:pt x="378383" y="224577"/>
                  </a:lnTo>
                  <a:lnTo>
                    <a:pt x="378333" y="225977"/>
                  </a:lnTo>
                  <a:lnTo>
                    <a:pt x="378761" y="227845"/>
                  </a:lnTo>
                  <a:lnTo>
                    <a:pt x="380471" y="232125"/>
                  </a:lnTo>
                  <a:lnTo>
                    <a:pt x="381717" y="235239"/>
                  </a:lnTo>
                  <a:lnTo>
                    <a:pt x="382319" y="237109"/>
                  </a:lnTo>
                  <a:lnTo>
                    <a:pt x="383174" y="239301"/>
                  </a:lnTo>
                  <a:lnTo>
                    <a:pt x="384319" y="242650"/>
                  </a:lnTo>
                  <a:lnTo>
                    <a:pt x="384604" y="244244"/>
                  </a:lnTo>
                  <a:lnTo>
                    <a:pt x="384369" y="245427"/>
                  </a:lnTo>
                  <a:lnTo>
                    <a:pt x="382034" y="249630"/>
                  </a:lnTo>
                  <a:lnTo>
                    <a:pt x="381797" y="250952"/>
                  </a:lnTo>
                  <a:lnTo>
                    <a:pt x="382376" y="254216"/>
                  </a:lnTo>
                  <a:lnTo>
                    <a:pt x="383140" y="257363"/>
                  </a:lnTo>
                  <a:lnTo>
                    <a:pt x="384241" y="259152"/>
                  </a:lnTo>
                  <a:lnTo>
                    <a:pt x="386873" y="264091"/>
                  </a:lnTo>
                  <a:lnTo>
                    <a:pt x="388830" y="265757"/>
                  </a:lnTo>
                  <a:lnTo>
                    <a:pt x="392449" y="268227"/>
                  </a:lnTo>
                  <a:lnTo>
                    <a:pt x="395643" y="270714"/>
                  </a:lnTo>
                  <a:lnTo>
                    <a:pt x="396871" y="272002"/>
                  </a:lnTo>
                  <a:lnTo>
                    <a:pt x="397996" y="273443"/>
                  </a:lnTo>
                  <a:lnTo>
                    <a:pt x="400218" y="277128"/>
                  </a:lnTo>
                  <a:lnTo>
                    <a:pt x="401574" y="280127"/>
                  </a:lnTo>
                  <a:lnTo>
                    <a:pt x="402287" y="282839"/>
                  </a:lnTo>
                  <a:lnTo>
                    <a:pt x="404032" y="286541"/>
                  </a:lnTo>
                  <a:lnTo>
                    <a:pt x="405651" y="289984"/>
                  </a:lnTo>
                  <a:lnTo>
                    <a:pt x="407750" y="294188"/>
                  </a:lnTo>
                  <a:lnTo>
                    <a:pt x="409234" y="297158"/>
                  </a:lnTo>
                  <a:lnTo>
                    <a:pt x="409903" y="299145"/>
                  </a:lnTo>
                  <a:lnTo>
                    <a:pt x="406073" y="299732"/>
                  </a:lnTo>
                  <a:lnTo>
                    <a:pt x="400536" y="300582"/>
                  </a:lnTo>
                  <a:lnTo>
                    <a:pt x="394429" y="301518"/>
                  </a:lnTo>
                  <a:lnTo>
                    <a:pt x="388124" y="302486"/>
                  </a:lnTo>
                  <a:lnTo>
                    <a:pt x="381879" y="303447"/>
                  </a:lnTo>
                  <a:lnTo>
                    <a:pt x="375949" y="304358"/>
                  </a:lnTo>
                  <a:lnTo>
                    <a:pt x="370568" y="305184"/>
                  </a:lnTo>
                  <a:lnTo>
                    <a:pt x="368929" y="305641"/>
                  </a:lnTo>
                  <a:lnTo>
                    <a:pt x="369732" y="307975"/>
                  </a:lnTo>
                  <a:lnTo>
                    <a:pt x="369363" y="310433"/>
                  </a:lnTo>
                  <a:lnTo>
                    <a:pt x="368296" y="312332"/>
                  </a:lnTo>
                  <a:lnTo>
                    <a:pt x="366616" y="314675"/>
                  </a:lnTo>
                  <a:lnTo>
                    <a:pt x="365848" y="315602"/>
                  </a:lnTo>
                  <a:lnTo>
                    <a:pt x="364133" y="317431"/>
                  </a:lnTo>
                  <a:lnTo>
                    <a:pt x="362701" y="318715"/>
                  </a:lnTo>
                  <a:lnTo>
                    <a:pt x="359777" y="320881"/>
                  </a:lnTo>
                  <a:lnTo>
                    <a:pt x="357929" y="322116"/>
                  </a:lnTo>
                  <a:lnTo>
                    <a:pt x="357918" y="323235"/>
                  </a:lnTo>
                  <a:lnTo>
                    <a:pt x="361021" y="328478"/>
                  </a:lnTo>
                  <a:lnTo>
                    <a:pt x="362429" y="332242"/>
                  </a:lnTo>
                  <a:lnTo>
                    <a:pt x="363001" y="335645"/>
                  </a:lnTo>
                  <a:lnTo>
                    <a:pt x="362976" y="337598"/>
                  </a:lnTo>
                  <a:lnTo>
                    <a:pt x="362857" y="341619"/>
                  </a:lnTo>
                  <a:lnTo>
                    <a:pt x="362716" y="346403"/>
                  </a:lnTo>
                  <a:lnTo>
                    <a:pt x="362500" y="348289"/>
                  </a:lnTo>
                  <a:lnTo>
                    <a:pt x="363343" y="351705"/>
                  </a:lnTo>
                  <a:lnTo>
                    <a:pt x="363196" y="354366"/>
                  </a:lnTo>
                  <a:lnTo>
                    <a:pt x="361103" y="357343"/>
                  </a:lnTo>
                  <a:lnTo>
                    <a:pt x="360522" y="360270"/>
                  </a:lnTo>
                  <a:lnTo>
                    <a:pt x="359469" y="364216"/>
                  </a:lnTo>
                  <a:lnTo>
                    <a:pt x="358007" y="369697"/>
                  </a:lnTo>
                  <a:lnTo>
                    <a:pt x="356968" y="372578"/>
                  </a:lnTo>
                  <a:lnTo>
                    <a:pt x="357547" y="374453"/>
                  </a:lnTo>
                  <a:lnTo>
                    <a:pt x="358069" y="375711"/>
                  </a:lnTo>
                  <a:lnTo>
                    <a:pt x="358618" y="377402"/>
                  </a:lnTo>
                  <a:lnTo>
                    <a:pt x="359739" y="379952"/>
                  </a:lnTo>
                  <a:lnTo>
                    <a:pt x="361045" y="381456"/>
                  </a:lnTo>
                  <a:lnTo>
                    <a:pt x="361775" y="382104"/>
                  </a:lnTo>
                  <a:lnTo>
                    <a:pt x="366083" y="385315"/>
                  </a:lnTo>
                  <a:lnTo>
                    <a:pt x="367865" y="386868"/>
                  </a:lnTo>
                  <a:lnTo>
                    <a:pt x="370594" y="389948"/>
                  </a:lnTo>
                  <a:lnTo>
                    <a:pt x="372604" y="391991"/>
                  </a:lnTo>
                  <a:lnTo>
                    <a:pt x="375409" y="392471"/>
                  </a:lnTo>
                  <a:lnTo>
                    <a:pt x="378782" y="393247"/>
                  </a:lnTo>
                  <a:lnTo>
                    <a:pt x="380635" y="393841"/>
                  </a:lnTo>
                  <a:lnTo>
                    <a:pt x="381918" y="393554"/>
                  </a:lnTo>
                  <a:lnTo>
                    <a:pt x="382345" y="392828"/>
                  </a:lnTo>
                  <a:lnTo>
                    <a:pt x="382287" y="391290"/>
                  </a:lnTo>
                  <a:lnTo>
                    <a:pt x="382060" y="390152"/>
                  </a:lnTo>
                  <a:lnTo>
                    <a:pt x="382419" y="389284"/>
                  </a:lnTo>
                  <a:lnTo>
                    <a:pt x="383559" y="388706"/>
                  </a:lnTo>
                  <a:lnTo>
                    <a:pt x="386483" y="388614"/>
                  </a:lnTo>
                  <a:lnTo>
                    <a:pt x="387757" y="387845"/>
                  </a:lnTo>
                  <a:lnTo>
                    <a:pt x="388763" y="387652"/>
                  </a:lnTo>
                  <a:lnTo>
                    <a:pt x="388767" y="391033"/>
                  </a:lnTo>
                  <a:lnTo>
                    <a:pt x="388772" y="394275"/>
                  </a:lnTo>
                  <a:lnTo>
                    <a:pt x="388774" y="398212"/>
                  </a:lnTo>
                  <a:lnTo>
                    <a:pt x="388778" y="402731"/>
                  </a:lnTo>
                  <a:lnTo>
                    <a:pt x="388785" y="406441"/>
                  </a:lnTo>
                  <a:lnTo>
                    <a:pt x="388789" y="410384"/>
                  </a:lnTo>
                  <a:lnTo>
                    <a:pt x="388793" y="414934"/>
                  </a:lnTo>
                  <a:lnTo>
                    <a:pt x="388767" y="415453"/>
                  </a:lnTo>
                  <a:lnTo>
                    <a:pt x="388323" y="416473"/>
                  </a:lnTo>
                  <a:lnTo>
                    <a:pt x="387161" y="416826"/>
                  </a:lnTo>
                  <a:lnTo>
                    <a:pt x="385593" y="415938"/>
                  </a:lnTo>
                  <a:lnTo>
                    <a:pt x="385502" y="415007"/>
                  </a:lnTo>
                  <a:lnTo>
                    <a:pt x="385118" y="413332"/>
                  </a:lnTo>
                  <a:lnTo>
                    <a:pt x="384386" y="412478"/>
                  </a:lnTo>
                  <a:lnTo>
                    <a:pt x="383436" y="412216"/>
                  </a:lnTo>
                  <a:lnTo>
                    <a:pt x="381827" y="412645"/>
                  </a:lnTo>
                  <a:lnTo>
                    <a:pt x="379624" y="413880"/>
                  </a:lnTo>
                  <a:lnTo>
                    <a:pt x="376791" y="414958"/>
                  </a:lnTo>
                  <a:lnTo>
                    <a:pt x="375645" y="415578"/>
                  </a:lnTo>
                  <a:lnTo>
                    <a:pt x="373649" y="415506"/>
                  </a:lnTo>
                  <a:lnTo>
                    <a:pt x="371496" y="414915"/>
                  </a:lnTo>
                  <a:lnTo>
                    <a:pt x="369905" y="413526"/>
                  </a:lnTo>
                  <a:lnTo>
                    <a:pt x="369449" y="411445"/>
                  </a:lnTo>
                  <a:lnTo>
                    <a:pt x="368059" y="409304"/>
                  </a:lnTo>
                  <a:lnTo>
                    <a:pt x="366165" y="406212"/>
                  </a:lnTo>
                  <a:lnTo>
                    <a:pt x="365213" y="404943"/>
                  </a:lnTo>
                  <a:lnTo>
                    <a:pt x="363950" y="403501"/>
                  </a:lnTo>
                  <a:lnTo>
                    <a:pt x="362678" y="403339"/>
                  </a:lnTo>
                  <a:lnTo>
                    <a:pt x="361250" y="402935"/>
                  </a:lnTo>
                  <a:lnTo>
                    <a:pt x="360373" y="400824"/>
                  </a:lnTo>
                  <a:lnTo>
                    <a:pt x="359560" y="398154"/>
                  </a:lnTo>
                  <a:lnTo>
                    <a:pt x="359052" y="397124"/>
                  </a:lnTo>
                  <a:lnTo>
                    <a:pt x="358199" y="395791"/>
                  </a:lnTo>
                  <a:lnTo>
                    <a:pt x="356979" y="394981"/>
                  </a:lnTo>
                  <a:lnTo>
                    <a:pt x="354316" y="393916"/>
                  </a:lnTo>
                  <a:lnTo>
                    <a:pt x="350592" y="392425"/>
                  </a:lnTo>
                  <a:lnTo>
                    <a:pt x="345916" y="390556"/>
                  </a:lnTo>
                  <a:lnTo>
                    <a:pt x="343692" y="390466"/>
                  </a:lnTo>
                  <a:lnTo>
                    <a:pt x="341205" y="390150"/>
                  </a:lnTo>
                  <a:lnTo>
                    <a:pt x="339646" y="389258"/>
                  </a:lnTo>
                  <a:lnTo>
                    <a:pt x="338752" y="388546"/>
                  </a:lnTo>
                  <a:lnTo>
                    <a:pt x="337726" y="385952"/>
                  </a:lnTo>
                  <a:lnTo>
                    <a:pt x="336325" y="382921"/>
                  </a:lnTo>
                  <a:lnTo>
                    <a:pt x="332222" y="379311"/>
                  </a:lnTo>
                  <a:lnTo>
                    <a:pt x="331300" y="375312"/>
                  </a:lnTo>
                  <a:lnTo>
                    <a:pt x="330477" y="374732"/>
                  </a:lnTo>
                  <a:lnTo>
                    <a:pt x="329067" y="375058"/>
                  </a:lnTo>
                  <a:lnTo>
                    <a:pt x="327976" y="375555"/>
                  </a:lnTo>
                  <a:lnTo>
                    <a:pt x="327546" y="376627"/>
                  </a:lnTo>
                  <a:lnTo>
                    <a:pt x="326445" y="380233"/>
                  </a:lnTo>
                  <a:lnTo>
                    <a:pt x="325843" y="381896"/>
                  </a:lnTo>
                  <a:lnTo>
                    <a:pt x="325428" y="382356"/>
                  </a:lnTo>
                  <a:lnTo>
                    <a:pt x="324534" y="382899"/>
                  </a:lnTo>
                  <a:lnTo>
                    <a:pt x="323066" y="383385"/>
                  </a:lnTo>
                  <a:lnTo>
                    <a:pt x="320980" y="383626"/>
                  </a:lnTo>
                  <a:lnTo>
                    <a:pt x="318032" y="383539"/>
                  </a:lnTo>
                  <a:lnTo>
                    <a:pt x="314346" y="382996"/>
                  </a:lnTo>
                  <a:lnTo>
                    <a:pt x="312355" y="382592"/>
                  </a:lnTo>
                  <a:lnTo>
                    <a:pt x="306976" y="381995"/>
                  </a:lnTo>
                  <a:lnTo>
                    <a:pt x="305419" y="381701"/>
                  </a:lnTo>
                  <a:lnTo>
                    <a:pt x="303221" y="380920"/>
                  </a:lnTo>
                  <a:lnTo>
                    <a:pt x="301636" y="380132"/>
                  </a:lnTo>
                  <a:lnTo>
                    <a:pt x="296417" y="378429"/>
                  </a:lnTo>
                  <a:lnTo>
                    <a:pt x="294052" y="378637"/>
                  </a:lnTo>
                  <a:lnTo>
                    <a:pt x="292904" y="377435"/>
                  </a:lnTo>
                  <a:lnTo>
                    <a:pt x="291873" y="376846"/>
                  </a:lnTo>
                  <a:lnTo>
                    <a:pt x="290459" y="375715"/>
                  </a:lnTo>
                  <a:lnTo>
                    <a:pt x="289824" y="374157"/>
                  </a:lnTo>
                  <a:lnTo>
                    <a:pt x="288982" y="370830"/>
                  </a:lnTo>
                  <a:lnTo>
                    <a:pt x="289185" y="369050"/>
                  </a:lnTo>
                  <a:lnTo>
                    <a:pt x="289794" y="367067"/>
                  </a:lnTo>
                  <a:lnTo>
                    <a:pt x="289118" y="366518"/>
                  </a:lnTo>
                  <a:lnTo>
                    <a:pt x="288172" y="366518"/>
                  </a:lnTo>
                  <a:lnTo>
                    <a:pt x="286821" y="367202"/>
                  </a:lnTo>
                  <a:lnTo>
                    <a:pt x="284413" y="367585"/>
                  </a:lnTo>
                  <a:lnTo>
                    <a:pt x="280010" y="368460"/>
                  </a:lnTo>
                  <a:lnTo>
                    <a:pt x="278451" y="368954"/>
                  </a:lnTo>
                  <a:lnTo>
                    <a:pt x="276721" y="369325"/>
                  </a:lnTo>
                  <a:lnTo>
                    <a:pt x="275397" y="369665"/>
                  </a:lnTo>
                  <a:lnTo>
                    <a:pt x="272087" y="371580"/>
                  </a:lnTo>
                  <a:lnTo>
                    <a:pt x="270938" y="371786"/>
                  </a:lnTo>
                  <a:lnTo>
                    <a:pt x="268978" y="371101"/>
                  </a:lnTo>
                  <a:lnTo>
                    <a:pt x="268031" y="370075"/>
                  </a:lnTo>
                  <a:lnTo>
                    <a:pt x="268978" y="368912"/>
                  </a:lnTo>
                  <a:lnTo>
                    <a:pt x="269383" y="367476"/>
                  </a:lnTo>
                  <a:lnTo>
                    <a:pt x="268707" y="364671"/>
                  </a:lnTo>
                  <a:lnTo>
                    <a:pt x="267695" y="363371"/>
                  </a:lnTo>
                  <a:lnTo>
                    <a:pt x="264760" y="362435"/>
                  </a:lnTo>
                  <a:lnTo>
                    <a:pt x="263639" y="362346"/>
                  </a:lnTo>
                  <a:lnTo>
                    <a:pt x="263167" y="360772"/>
                  </a:lnTo>
                  <a:lnTo>
                    <a:pt x="262355" y="359337"/>
                  </a:lnTo>
                  <a:lnTo>
                    <a:pt x="260681" y="359060"/>
                  </a:lnTo>
                  <a:lnTo>
                    <a:pt x="259880" y="358896"/>
                  </a:lnTo>
                  <a:lnTo>
                    <a:pt x="259044" y="359337"/>
                  </a:lnTo>
                  <a:lnTo>
                    <a:pt x="258572" y="360499"/>
                  </a:lnTo>
                  <a:lnTo>
                    <a:pt x="258436" y="361389"/>
                  </a:lnTo>
                  <a:lnTo>
                    <a:pt x="256948" y="362070"/>
                  </a:lnTo>
                  <a:lnTo>
                    <a:pt x="253907" y="361935"/>
                  </a:lnTo>
                  <a:lnTo>
                    <a:pt x="250891" y="361286"/>
                  </a:lnTo>
                  <a:lnTo>
                    <a:pt x="248768" y="361078"/>
                  </a:lnTo>
                  <a:lnTo>
                    <a:pt x="247358" y="361238"/>
                  </a:lnTo>
                  <a:lnTo>
                    <a:pt x="241975" y="363438"/>
                  </a:lnTo>
                  <a:lnTo>
                    <a:pt x="240195" y="363731"/>
                  </a:lnTo>
                  <a:lnTo>
                    <a:pt x="234412" y="363561"/>
                  </a:lnTo>
                  <a:lnTo>
                    <a:pt x="231134" y="363102"/>
                  </a:lnTo>
                  <a:lnTo>
                    <a:pt x="228802" y="363015"/>
                  </a:lnTo>
                  <a:lnTo>
                    <a:pt x="227146" y="363705"/>
                  </a:lnTo>
                  <a:lnTo>
                    <a:pt x="225086" y="365333"/>
                  </a:lnTo>
                  <a:lnTo>
                    <a:pt x="223361" y="366210"/>
                  </a:lnTo>
                  <a:lnTo>
                    <a:pt x="222561" y="366109"/>
                  </a:lnTo>
                  <a:lnTo>
                    <a:pt x="222071" y="365427"/>
                  </a:lnTo>
                  <a:lnTo>
                    <a:pt x="221397" y="364494"/>
                  </a:lnTo>
                  <a:lnTo>
                    <a:pt x="221188" y="362048"/>
                  </a:lnTo>
                  <a:lnTo>
                    <a:pt x="220331" y="359355"/>
                  </a:lnTo>
                  <a:lnTo>
                    <a:pt x="220897" y="357950"/>
                  </a:lnTo>
                  <a:lnTo>
                    <a:pt x="222598" y="356932"/>
                  </a:lnTo>
                  <a:lnTo>
                    <a:pt x="223186" y="354860"/>
                  </a:lnTo>
                  <a:lnTo>
                    <a:pt x="222659" y="351735"/>
                  </a:lnTo>
                  <a:lnTo>
                    <a:pt x="222624" y="349539"/>
                  </a:lnTo>
                  <a:lnTo>
                    <a:pt x="223084" y="348274"/>
                  </a:lnTo>
                  <a:lnTo>
                    <a:pt x="222466" y="345199"/>
                  </a:lnTo>
                  <a:lnTo>
                    <a:pt x="220769" y="340319"/>
                  </a:lnTo>
                  <a:lnTo>
                    <a:pt x="218368" y="336349"/>
                  </a:lnTo>
                  <a:lnTo>
                    <a:pt x="215261" y="333287"/>
                  </a:lnTo>
                  <a:lnTo>
                    <a:pt x="213226" y="330355"/>
                  </a:lnTo>
                  <a:lnTo>
                    <a:pt x="212265" y="327556"/>
                  </a:lnTo>
                  <a:lnTo>
                    <a:pt x="212626" y="320859"/>
                  </a:lnTo>
                  <a:lnTo>
                    <a:pt x="213563" y="314954"/>
                  </a:lnTo>
                  <a:lnTo>
                    <a:pt x="214304" y="310272"/>
                  </a:lnTo>
                  <a:lnTo>
                    <a:pt x="214094" y="302427"/>
                  </a:lnTo>
                  <a:lnTo>
                    <a:pt x="211993" y="297326"/>
                  </a:lnTo>
                  <a:lnTo>
                    <a:pt x="211533" y="291841"/>
                  </a:lnTo>
                  <a:lnTo>
                    <a:pt x="212717" y="285974"/>
                  </a:lnTo>
                  <a:lnTo>
                    <a:pt x="212894" y="281958"/>
                  </a:lnTo>
                  <a:lnTo>
                    <a:pt x="212108" y="279904"/>
                  </a:lnTo>
                  <a:lnTo>
                    <a:pt x="211568" y="279593"/>
                  </a:lnTo>
                  <a:lnTo>
                    <a:pt x="210892" y="279389"/>
                  </a:lnTo>
                  <a:lnTo>
                    <a:pt x="205580" y="279194"/>
                  </a:lnTo>
                  <a:lnTo>
                    <a:pt x="198493" y="278934"/>
                  </a:lnTo>
                  <a:lnTo>
                    <a:pt x="192315" y="278855"/>
                  </a:lnTo>
                  <a:lnTo>
                    <a:pt x="185612" y="278773"/>
                  </a:lnTo>
                  <a:lnTo>
                    <a:pt x="184519" y="278033"/>
                  </a:lnTo>
                  <a:lnTo>
                    <a:pt x="184021" y="276663"/>
                  </a:lnTo>
                  <a:lnTo>
                    <a:pt x="184045" y="275307"/>
                  </a:lnTo>
                  <a:lnTo>
                    <a:pt x="185411" y="271161"/>
                  </a:lnTo>
                  <a:lnTo>
                    <a:pt x="185219" y="270822"/>
                  </a:lnTo>
                  <a:lnTo>
                    <a:pt x="182835" y="270731"/>
                  </a:lnTo>
                  <a:lnTo>
                    <a:pt x="176374" y="271408"/>
                  </a:lnTo>
                  <a:lnTo>
                    <a:pt x="172116" y="272078"/>
                  </a:lnTo>
                  <a:lnTo>
                    <a:pt x="169413" y="272297"/>
                  </a:lnTo>
                  <a:lnTo>
                    <a:pt x="164662" y="273425"/>
                  </a:lnTo>
                  <a:lnTo>
                    <a:pt x="161727" y="275811"/>
                  </a:lnTo>
                  <a:lnTo>
                    <a:pt x="160758" y="278812"/>
                  </a:lnTo>
                  <a:lnTo>
                    <a:pt x="160838" y="281285"/>
                  </a:lnTo>
                  <a:lnTo>
                    <a:pt x="160671" y="283095"/>
                  </a:lnTo>
                  <a:lnTo>
                    <a:pt x="159333" y="284989"/>
                  </a:lnTo>
                  <a:lnTo>
                    <a:pt x="158279" y="287162"/>
                  </a:lnTo>
                  <a:lnTo>
                    <a:pt x="158240" y="288307"/>
                  </a:lnTo>
                  <a:lnTo>
                    <a:pt x="157596" y="294092"/>
                  </a:lnTo>
                  <a:lnTo>
                    <a:pt x="153215" y="294868"/>
                  </a:lnTo>
                  <a:lnTo>
                    <a:pt x="148831" y="294868"/>
                  </a:lnTo>
                  <a:lnTo>
                    <a:pt x="147812" y="294794"/>
                  </a:lnTo>
                  <a:lnTo>
                    <a:pt x="142396" y="293412"/>
                  </a:lnTo>
                  <a:lnTo>
                    <a:pt x="140390" y="293410"/>
                  </a:lnTo>
                  <a:lnTo>
                    <a:pt x="138665" y="294135"/>
                  </a:lnTo>
                  <a:lnTo>
                    <a:pt x="135353" y="294842"/>
                  </a:lnTo>
                  <a:lnTo>
                    <a:pt x="132182" y="295365"/>
                  </a:lnTo>
                  <a:lnTo>
                    <a:pt x="128991" y="297078"/>
                  </a:lnTo>
                  <a:lnTo>
                    <a:pt x="128142" y="297230"/>
                  </a:lnTo>
                  <a:lnTo>
                    <a:pt x="126026" y="296341"/>
                  </a:lnTo>
                  <a:lnTo>
                    <a:pt x="123057" y="296424"/>
                  </a:lnTo>
                  <a:lnTo>
                    <a:pt x="120062" y="296854"/>
                  </a:lnTo>
                  <a:lnTo>
                    <a:pt x="118652" y="297039"/>
                  </a:lnTo>
                  <a:lnTo>
                    <a:pt x="117689" y="296524"/>
                  </a:lnTo>
                  <a:lnTo>
                    <a:pt x="114931" y="292208"/>
                  </a:lnTo>
                  <a:lnTo>
                    <a:pt x="111254" y="286456"/>
                  </a:lnTo>
                  <a:lnTo>
                    <a:pt x="109265" y="282854"/>
                  </a:lnTo>
                  <a:lnTo>
                    <a:pt x="108524" y="281914"/>
                  </a:lnTo>
                  <a:lnTo>
                    <a:pt x="107246" y="280670"/>
                  </a:lnTo>
                  <a:lnTo>
                    <a:pt x="105499" y="278322"/>
                  </a:lnTo>
                  <a:lnTo>
                    <a:pt x="104776" y="276090"/>
                  </a:lnTo>
                  <a:lnTo>
                    <a:pt x="105080" y="273981"/>
                  </a:lnTo>
                  <a:lnTo>
                    <a:pt x="104054" y="271135"/>
                  </a:lnTo>
                  <a:lnTo>
                    <a:pt x="101703" y="267548"/>
                  </a:lnTo>
                  <a:lnTo>
                    <a:pt x="100153" y="264126"/>
                  </a:lnTo>
                  <a:lnTo>
                    <a:pt x="99410" y="260867"/>
                  </a:lnTo>
                  <a:lnTo>
                    <a:pt x="99224" y="258076"/>
                  </a:lnTo>
                  <a:lnTo>
                    <a:pt x="99595" y="255755"/>
                  </a:lnTo>
                  <a:lnTo>
                    <a:pt x="99142" y="254043"/>
                  </a:lnTo>
                  <a:lnTo>
                    <a:pt x="97865" y="252940"/>
                  </a:lnTo>
                  <a:lnTo>
                    <a:pt x="97168" y="251542"/>
                  </a:lnTo>
                  <a:lnTo>
                    <a:pt x="96663" y="250959"/>
                  </a:lnTo>
                  <a:lnTo>
                    <a:pt x="95600" y="249639"/>
                  </a:lnTo>
                  <a:lnTo>
                    <a:pt x="93264" y="248183"/>
                  </a:lnTo>
                  <a:lnTo>
                    <a:pt x="90694" y="247416"/>
                  </a:lnTo>
                  <a:lnTo>
                    <a:pt x="85054" y="247401"/>
                  </a:lnTo>
                  <a:lnTo>
                    <a:pt x="77686" y="247377"/>
                  </a:lnTo>
                  <a:lnTo>
                    <a:pt x="71009" y="247488"/>
                  </a:lnTo>
                  <a:lnTo>
                    <a:pt x="63587" y="247613"/>
                  </a:lnTo>
                  <a:lnTo>
                    <a:pt x="56071" y="247736"/>
                  </a:lnTo>
                  <a:lnTo>
                    <a:pt x="54047" y="247932"/>
                  </a:lnTo>
                  <a:lnTo>
                    <a:pt x="48314" y="248016"/>
                  </a:lnTo>
                  <a:lnTo>
                    <a:pt x="43719" y="247646"/>
                  </a:lnTo>
                  <a:lnTo>
                    <a:pt x="42015" y="247405"/>
                  </a:lnTo>
                  <a:lnTo>
                    <a:pt x="39024" y="247229"/>
                  </a:lnTo>
                  <a:lnTo>
                    <a:pt x="34293" y="247184"/>
                  </a:lnTo>
                  <a:lnTo>
                    <a:pt x="31739" y="247329"/>
                  </a:lnTo>
                  <a:lnTo>
                    <a:pt x="25602" y="247331"/>
                  </a:lnTo>
                  <a:lnTo>
                    <a:pt x="25049" y="247366"/>
                  </a:lnTo>
                  <a:lnTo>
                    <a:pt x="24079" y="247776"/>
                  </a:lnTo>
                  <a:lnTo>
                    <a:pt x="21464" y="247208"/>
                  </a:lnTo>
                  <a:lnTo>
                    <a:pt x="18895" y="247398"/>
                  </a:lnTo>
                  <a:lnTo>
                    <a:pt x="17461" y="246762"/>
                  </a:lnTo>
                  <a:lnTo>
                    <a:pt x="14311" y="247160"/>
                  </a:lnTo>
                  <a:lnTo>
                    <a:pt x="12779" y="247684"/>
                  </a:lnTo>
                  <a:lnTo>
                    <a:pt x="10326" y="249528"/>
                  </a:lnTo>
                  <a:lnTo>
                    <a:pt x="6653" y="250490"/>
                  </a:lnTo>
                  <a:lnTo>
                    <a:pt x="5291" y="250408"/>
                  </a:lnTo>
                  <a:lnTo>
                    <a:pt x="4379" y="250094"/>
                  </a:lnTo>
                  <a:lnTo>
                    <a:pt x="2241" y="248074"/>
                  </a:lnTo>
                  <a:lnTo>
                    <a:pt x="592" y="246123"/>
                  </a:lnTo>
                  <a:lnTo>
                    <a:pt x="0" y="245044"/>
                  </a:lnTo>
                  <a:lnTo>
                    <a:pt x="920" y="244773"/>
                  </a:lnTo>
                  <a:lnTo>
                    <a:pt x="3812" y="244357"/>
                  </a:lnTo>
                  <a:lnTo>
                    <a:pt x="5990" y="244158"/>
                  </a:lnTo>
                  <a:lnTo>
                    <a:pt x="6413" y="243648"/>
                  </a:lnTo>
                  <a:lnTo>
                    <a:pt x="6750" y="237633"/>
                  </a:lnTo>
                  <a:lnTo>
                    <a:pt x="6826" y="231521"/>
                  </a:lnTo>
                  <a:lnTo>
                    <a:pt x="6053" y="230718"/>
                  </a:lnTo>
                  <a:lnTo>
                    <a:pt x="5297" y="230229"/>
                  </a:lnTo>
                  <a:lnTo>
                    <a:pt x="5258" y="229805"/>
                  </a:lnTo>
                  <a:lnTo>
                    <a:pt x="6392" y="229038"/>
                  </a:lnTo>
                  <a:lnTo>
                    <a:pt x="7957" y="228144"/>
                  </a:lnTo>
                  <a:lnTo>
                    <a:pt x="8459" y="227741"/>
                  </a:lnTo>
                  <a:lnTo>
                    <a:pt x="10197" y="226122"/>
                  </a:lnTo>
                  <a:lnTo>
                    <a:pt x="13621" y="222382"/>
                  </a:lnTo>
                  <a:lnTo>
                    <a:pt x="16225" y="221467"/>
                  </a:lnTo>
                  <a:lnTo>
                    <a:pt x="18655" y="220487"/>
                  </a:lnTo>
                  <a:lnTo>
                    <a:pt x="18996" y="220125"/>
                  </a:lnTo>
                  <a:lnTo>
                    <a:pt x="19320" y="219398"/>
                  </a:lnTo>
                  <a:lnTo>
                    <a:pt x="20409" y="219450"/>
                  </a:lnTo>
                  <a:lnTo>
                    <a:pt x="20756" y="219805"/>
                  </a:lnTo>
                  <a:lnTo>
                    <a:pt x="21290" y="220593"/>
                  </a:lnTo>
                  <a:lnTo>
                    <a:pt x="22244" y="221701"/>
                  </a:lnTo>
                  <a:lnTo>
                    <a:pt x="23961" y="223017"/>
                  </a:lnTo>
                  <a:lnTo>
                    <a:pt x="25697" y="224439"/>
                  </a:lnTo>
                  <a:lnTo>
                    <a:pt x="26563" y="224616"/>
                  </a:lnTo>
                  <a:lnTo>
                    <a:pt x="27966" y="223897"/>
                  </a:lnTo>
                  <a:lnTo>
                    <a:pt x="29586" y="222828"/>
                  </a:lnTo>
                  <a:lnTo>
                    <a:pt x="31972" y="222047"/>
                  </a:lnTo>
                  <a:lnTo>
                    <a:pt x="32542" y="221320"/>
                  </a:lnTo>
                  <a:lnTo>
                    <a:pt x="32853" y="219762"/>
                  </a:lnTo>
                  <a:lnTo>
                    <a:pt x="33034" y="218098"/>
                  </a:lnTo>
                  <a:lnTo>
                    <a:pt x="33244" y="216131"/>
                  </a:lnTo>
                  <a:lnTo>
                    <a:pt x="33729" y="215865"/>
                  </a:lnTo>
                  <a:lnTo>
                    <a:pt x="34591" y="215674"/>
                  </a:lnTo>
                  <a:lnTo>
                    <a:pt x="36172" y="216229"/>
                  </a:lnTo>
                  <a:lnTo>
                    <a:pt x="36897" y="216799"/>
                  </a:lnTo>
                  <a:lnTo>
                    <a:pt x="38193" y="216799"/>
                  </a:lnTo>
                  <a:lnTo>
                    <a:pt x="39022" y="216280"/>
                  </a:lnTo>
                  <a:lnTo>
                    <a:pt x="40536" y="215311"/>
                  </a:lnTo>
                  <a:lnTo>
                    <a:pt x="42460" y="214924"/>
                  </a:lnTo>
                  <a:lnTo>
                    <a:pt x="44520" y="213996"/>
                  </a:lnTo>
                  <a:lnTo>
                    <a:pt x="46491" y="212799"/>
                  </a:lnTo>
                  <a:lnTo>
                    <a:pt x="47422" y="212695"/>
                  </a:lnTo>
                  <a:lnTo>
                    <a:pt x="48409" y="214253"/>
                  </a:lnTo>
                  <a:lnTo>
                    <a:pt x="49290" y="215346"/>
                  </a:lnTo>
                  <a:lnTo>
                    <a:pt x="49446" y="216021"/>
                  </a:lnTo>
                  <a:lnTo>
                    <a:pt x="48565" y="217319"/>
                  </a:lnTo>
                  <a:lnTo>
                    <a:pt x="47580" y="219035"/>
                  </a:lnTo>
                  <a:lnTo>
                    <a:pt x="48409" y="221164"/>
                  </a:lnTo>
                  <a:lnTo>
                    <a:pt x="48608" y="223233"/>
                  </a:lnTo>
                  <a:lnTo>
                    <a:pt x="48582" y="224480"/>
                  </a:lnTo>
                  <a:lnTo>
                    <a:pt x="49249" y="224986"/>
                  </a:lnTo>
                  <a:lnTo>
                    <a:pt x="49707" y="225226"/>
                  </a:lnTo>
                  <a:lnTo>
                    <a:pt x="50422" y="224932"/>
                  </a:lnTo>
                  <a:lnTo>
                    <a:pt x="51830" y="225023"/>
                  </a:lnTo>
                  <a:lnTo>
                    <a:pt x="53518" y="225672"/>
                  </a:lnTo>
                  <a:lnTo>
                    <a:pt x="55153" y="225599"/>
                  </a:lnTo>
                  <a:lnTo>
                    <a:pt x="56732" y="224800"/>
                  </a:lnTo>
                  <a:lnTo>
                    <a:pt x="59668" y="221694"/>
                  </a:lnTo>
                  <a:lnTo>
                    <a:pt x="63961" y="216276"/>
                  </a:lnTo>
                  <a:lnTo>
                    <a:pt x="67520" y="212877"/>
                  </a:lnTo>
                  <a:lnTo>
                    <a:pt x="70338" y="211489"/>
                  </a:lnTo>
                  <a:lnTo>
                    <a:pt x="72246" y="209868"/>
                  </a:lnTo>
                  <a:lnTo>
                    <a:pt x="73242" y="208012"/>
                  </a:lnTo>
                  <a:lnTo>
                    <a:pt x="74881" y="206749"/>
                  </a:lnTo>
                  <a:lnTo>
                    <a:pt x="78297" y="205744"/>
                  </a:lnTo>
                  <a:lnTo>
                    <a:pt x="80904" y="204608"/>
                  </a:lnTo>
                  <a:lnTo>
                    <a:pt x="83504" y="200887"/>
                  </a:lnTo>
                  <a:lnTo>
                    <a:pt x="86969" y="194199"/>
                  </a:lnTo>
                  <a:lnTo>
                    <a:pt x="87939" y="188228"/>
                  </a:lnTo>
                  <a:lnTo>
                    <a:pt x="88530" y="184595"/>
                  </a:lnTo>
                  <a:lnTo>
                    <a:pt x="88187" y="172081"/>
                  </a:lnTo>
                  <a:lnTo>
                    <a:pt x="87960" y="167973"/>
                  </a:lnTo>
                  <a:lnTo>
                    <a:pt x="88485" y="165733"/>
                  </a:lnTo>
                  <a:lnTo>
                    <a:pt x="89781" y="164193"/>
                  </a:lnTo>
                  <a:lnTo>
                    <a:pt x="93311" y="160933"/>
                  </a:lnTo>
                  <a:lnTo>
                    <a:pt x="95680" y="158263"/>
                  </a:lnTo>
                  <a:lnTo>
                    <a:pt x="97488" y="155140"/>
                  </a:lnTo>
                  <a:lnTo>
                    <a:pt x="100973" y="148006"/>
                  </a:lnTo>
                  <a:lnTo>
                    <a:pt x="102500" y="145708"/>
                  </a:lnTo>
                  <a:lnTo>
                    <a:pt x="103180" y="144678"/>
                  </a:lnTo>
                  <a:lnTo>
                    <a:pt x="105277" y="142777"/>
                  </a:lnTo>
                  <a:lnTo>
                    <a:pt x="108216" y="141108"/>
                  </a:lnTo>
                  <a:lnTo>
                    <a:pt x="112001" y="139674"/>
                  </a:lnTo>
                  <a:lnTo>
                    <a:pt x="117840" y="134706"/>
                  </a:lnTo>
                  <a:lnTo>
                    <a:pt x="122483" y="129709"/>
                  </a:lnTo>
                  <a:lnTo>
                    <a:pt x="121848" y="123706"/>
                  </a:lnTo>
                  <a:lnTo>
                    <a:pt x="122932" y="118728"/>
                  </a:lnTo>
                  <a:lnTo>
                    <a:pt x="125465" y="112392"/>
                  </a:lnTo>
                  <a:lnTo>
                    <a:pt x="126294" y="105688"/>
                  </a:lnTo>
                  <a:lnTo>
                    <a:pt x="125422" y="98621"/>
                  </a:lnTo>
                  <a:lnTo>
                    <a:pt x="125791" y="92845"/>
                  </a:lnTo>
                  <a:lnTo>
                    <a:pt x="128207" y="86121"/>
                  </a:lnTo>
                  <a:lnTo>
                    <a:pt x="129226" y="83628"/>
                  </a:lnTo>
                  <a:lnTo>
                    <a:pt x="129559" y="79546"/>
                  </a:lnTo>
                  <a:lnTo>
                    <a:pt x="129544" y="73045"/>
                  </a:lnTo>
                  <a:lnTo>
                    <a:pt x="132627" y="64160"/>
                  </a:lnTo>
                  <a:lnTo>
                    <a:pt x="135543" y="58839"/>
                  </a:lnTo>
                  <a:lnTo>
                    <a:pt x="138803" y="52886"/>
                  </a:lnTo>
                  <a:lnTo>
                    <a:pt x="140045" y="49288"/>
                  </a:lnTo>
                  <a:lnTo>
                    <a:pt x="141705" y="44484"/>
                  </a:lnTo>
                  <a:lnTo>
                    <a:pt x="141444" y="40624"/>
                  </a:lnTo>
                  <a:lnTo>
                    <a:pt x="141142" y="36190"/>
                  </a:lnTo>
                  <a:lnTo>
                    <a:pt x="141960" y="30087"/>
                  </a:lnTo>
                  <a:lnTo>
                    <a:pt x="141656" y="26493"/>
                  </a:lnTo>
                  <a:lnTo>
                    <a:pt x="140496" y="23370"/>
                  </a:lnTo>
                  <a:lnTo>
                    <a:pt x="141086" y="21406"/>
                  </a:lnTo>
                  <a:lnTo>
                    <a:pt x="143424" y="20600"/>
                  </a:lnTo>
                  <a:lnTo>
                    <a:pt x="146340" y="17480"/>
                  </a:lnTo>
                  <a:lnTo>
                    <a:pt x="151576" y="9326"/>
                  </a:lnTo>
                  <a:lnTo>
                    <a:pt x="157212" y="5350"/>
                  </a:lnTo>
                  <a:lnTo>
                    <a:pt x="161138" y="4093"/>
                  </a:lnTo>
                  <a:lnTo>
                    <a:pt x="165230" y="4228"/>
                  </a:lnTo>
                  <a:lnTo>
                    <a:pt x="167895" y="4939"/>
                  </a:lnTo>
                  <a:lnTo>
                    <a:pt x="169132" y="6225"/>
                  </a:lnTo>
                  <a:lnTo>
                    <a:pt x="172224" y="8144"/>
                  </a:lnTo>
                  <a:lnTo>
                    <a:pt x="177178" y="10695"/>
                  </a:lnTo>
                  <a:lnTo>
                    <a:pt x="180874" y="13874"/>
                  </a:lnTo>
                  <a:lnTo>
                    <a:pt x="182930" y="17079"/>
                  </a:lnTo>
                  <a:lnTo>
                    <a:pt x="184513" y="18826"/>
                  </a:lnTo>
                  <a:lnTo>
                    <a:pt x="186489" y="19425"/>
                  </a:lnTo>
                  <a:lnTo>
                    <a:pt x="189706" y="19167"/>
                  </a:lnTo>
                  <a:lnTo>
                    <a:pt x="193306" y="19924"/>
                  </a:lnTo>
                  <a:lnTo>
                    <a:pt x="197061" y="21717"/>
                  </a:lnTo>
                  <a:lnTo>
                    <a:pt x="199365" y="22382"/>
                  </a:lnTo>
                  <a:lnTo>
                    <a:pt x="200218" y="21918"/>
                  </a:lnTo>
                  <a:lnTo>
                    <a:pt x="202028" y="22178"/>
                  </a:lnTo>
                  <a:lnTo>
                    <a:pt x="206172" y="23652"/>
                  </a:lnTo>
                  <a:lnTo>
                    <a:pt x="209476" y="22842"/>
                  </a:lnTo>
                  <a:lnTo>
                    <a:pt x="214367" y="23451"/>
                  </a:lnTo>
                  <a:lnTo>
                    <a:pt x="225731" y="26086"/>
                  </a:lnTo>
                  <a:lnTo>
                    <a:pt x="226341" y="25639"/>
                  </a:lnTo>
                  <a:lnTo>
                    <a:pt x="226608" y="25536"/>
                  </a:lnTo>
                  <a:lnTo>
                    <a:pt x="227578" y="24475"/>
                  </a:lnTo>
                  <a:lnTo>
                    <a:pt x="230044" y="19205"/>
                  </a:lnTo>
                  <a:lnTo>
                    <a:pt x="232134" y="15966"/>
                  </a:lnTo>
                  <a:lnTo>
                    <a:pt x="233108" y="14749"/>
                  </a:lnTo>
                  <a:lnTo>
                    <a:pt x="235514" y="13039"/>
                  </a:lnTo>
                  <a:lnTo>
                    <a:pt x="238351" y="12596"/>
                  </a:lnTo>
                  <a:lnTo>
                    <a:pt x="241072" y="12750"/>
                  </a:lnTo>
                  <a:lnTo>
                    <a:pt x="243348" y="13502"/>
                  </a:lnTo>
                  <a:lnTo>
                    <a:pt x="245427" y="14376"/>
                  </a:lnTo>
                  <a:lnTo>
                    <a:pt x="247733" y="14385"/>
                  </a:lnTo>
                  <a:lnTo>
                    <a:pt x="250087" y="13539"/>
                  </a:lnTo>
                  <a:lnTo>
                    <a:pt x="253585" y="11999"/>
                  </a:lnTo>
                  <a:lnTo>
                    <a:pt x="257269" y="10989"/>
                  </a:lnTo>
                  <a:lnTo>
                    <a:pt x="260437" y="9883"/>
                  </a:lnTo>
                  <a:lnTo>
                    <a:pt x="265656" y="7942"/>
                  </a:lnTo>
                  <a:lnTo>
                    <a:pt x="267693" y="7049"/>
                  </a:lnTo>
                  <a:lnTo>
                    <a:pt x="270286" y="6698"/>
                  </a:lnTo>
                  <a:lnTo>
                    <a:pt x="277548" y="8469"/>
                  </a:lnTo>
                  <a:lnTo>
                    <a:pt x="282255" y="7296"/>
                  </a:lnTo>
                  <a:lnTo>
                    <a:pt x="284175" y="7641"/>
                  </a:lnTo>
                  <a:lnTo>
                    <a:pt x="288246" y="6374"/>
                  </a:lnTo>
                  <a:lnTo>
                    <a:pt x="288993" y="5529"/>
                  </a:lnTo>
                  <a:lnTo>
                    <a:pt x="291582" y="1246"/>
                  </a:lnTo>
                  <a:lnTo>
                    <a:pt x="294344" y="0"/>
                  </a:lnTo>
                  <a:lnTo>
                    <a:pt x="298518" y="630"/>
                  </a:lnTo>
                  <a:lnTo>
                    <a:pt x="300863" y="1294"/>
                  </a:lnTo>
                  <a:lnTo>
                    <a:pt x="308682" y="3125"/>
                  </a:lnTo>
                  <a:lnTo>
                    <a:pt x="318833" y="5030"/>
                  </a:lnTo>
                  <a:lnTo>
                    <a:pt x="321818" y="5324"/>
                  </a:lnTo>
                  <a:lnTo>
                    <a:pt x="323023" y="5536"/>
                  </a:lnTo>
                  <a:lnTo>
                    <a:pt x="324085" y="5241"/>
                  </a:lnTo>
                  <a:lnTo>
                    <a:pt x="327413" y="2832"/>
                  </a:lnTo>
                  <a:lnTo>
                    <a:pt x="328546" y="2490"/>
                  </a:lnTo>
                  <a:lnTo>
                    <a:pt x="329499" y="2533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71" name="ee4p_CG_1_37365">
              <a:extLst>
                <a:ext uri="{FF2B5EF4-FFF2-40B4-BE49-F238E27FC236}">
                  <a16:creationId xmlns:a16="http://schemas.microsoft.com/office/drawing/2014/main" id="{A39C3236-9B9C-6D9E-2E22-BCCC3C554D08}"/>
                </a:ext>
              </a:extLst>
            </p:cNvPr>
            <p:cNvSpPr>
              <a:spLocks noChangeAspect="1"/>
            </p:cNvSpPr>
            <p:nvPr>
              <p:custDataLst>
                <p:tags r:id="rId325"/>
              </p:custDataLst>
            </p:nvPr>
          </p:nvSpPr>
          <p:spPr>
            <a:xfrm>
              <a:off x="6823779" y="4572460"/>
              <a:ext cx="208048" cy="248096"/>
            </a:xfrm>
            <a:custGeom>
              <a:avLst/>
              <a:gdLst/>
              <a:ahLst/>
              <a:cxnLst/>
              <a:rect l="0" t="0" r="0" b="0"/>
              <a:pathLst>
                <a:path w="165664" h="192317">
                  <a:moveTo>
                    <a:pt x="165402" y="4625"/>
                  </a:moveTo>
                  <a:lnTo>
                    <a:pt x="165663" y="8485"/>
                  </a:lnTo>
                  <a:lnTo>
                    <a:pt x="164003" y="13289"/>
                  </a:lnTo>
                  <a:lnTo>
                    <a:pt x="162761" y="16887"/>
                  </a:lnTo>
                  <a:lnTo>
                    <a:pt x="159501" y="22840"/>
                  </a:lnTo>
                  <a:lnTo>
                    <a:pt x="156585" y="28161"/>
                  </a:lnTo>
                  <a:lnTo>
                    <a:pt x="153502" y="37046"/>
                  </a:lnTo>
                  <a:lnTo>
                    <a:pt x="153517" y="43547"/>
                  </a:lnTo>
                  <a:lnTo>
                    <a:pt x="153184" y="47629"/>
                  </a:lnTo>
                  <a:lnTo>
                    <a:pt x="152165" y="50122"/>
                  </a:lnTo>
                  <a:lnTo>
                    <a:pt x="149749" y="56846"/>
                  </a:lnTo>
                  <a:lnTo>
                    <a:pt x="149380" y="62622"/>
                  </a:lnTo>
                  <a:lnTo>
                    <a:pt x="150252" y="69689"/>
                  </a:lnTo>
                  <a:lnTo>
                    <a:pt x="149423" y="76393"/>
                  </a:lnTo>
                  <a:lnTo>
                    <a:pt x="146890" y="82729"/>
                  </a:lnTo>
                  <a:lnTo>
                    <a:pt x="145806" y="87707"/>
                  </a:lnTo>
                  <a:lnTo>
                    <a:pt x="146441" y="93710"/>
                  </a:lnTo>
                  <a:lnTo>
                    <a:pt x="141798" y="98707"/>
                  </a:lnTo>
                  <a:lnTo>
                    <a:pt x="135959" y="103675"/>
                  </a:lnTo>
                  <a:lnTo>
                    <a:pt x="132174" y="105109"/>
                  </a:lnTo>
                  <a:lnTo>
                    <a:pt x="129235" y="106778"/>
                  </a:lnTo>
                  <a:lnTo>
                    <a:pt x="127138" y="108679"/>
                  </a:lnTo>
                  <a:lnTo>
                    <a:pt x="126458" y="109709"/>
                  </a:lnTo>
                  <a:lnTo>
                    <a:pt x="124931" y="112007"/>
                  </a:lnTo>
                  <a:lnTo>
                    <a:pt x="121446" y="119141"/>
                  </a:lnTo>
                  <a:lnTo>
                    <a:pt x="119638" y="122264"/>
                  </a:lnTo>
                  <a:lnTo>
                    <a:pt x="117269" y="124934"/>
                  </a:lnTo>
                  <a:lnTo>
                    <a:pt x="113739" y="128194"/>
                  </a:lnTo>
                  <a:lnTo>
                    <a:pt x="112443" y="129734"/>
                  </a:lnTo>
                  <a:lnTo>
                    <a:pt x="111918" y="131974"/>
                  </a:lnTo>
                  <a:lnTo>
                    <a:pt x="112145" y="136082"/>
                  </a:lnTo>
                  <a:lnTo>
                    <a:pt x="112488" y="148596"/>
                  </a:lnTo>
                  <a:lnTo>
                    <a:pt x="111897" y="152229"/>
                  </a:lnTo>
                  <a:lnTo>
                    <a:pt x="110927" y="158200"/>
                  </a:lnTo>
                  <a:lnTo>
                    <a:pt x="107462" y="164888"/>
                  </a:lnTo>
                  <a:lnTo>
                    <a:pt x="104862" y="168609"/>
                  </a:lnTo>
                  <a:lnTo>
                    <a:pt x="102255" y="169745"/>
                  </a:lnTo>
                  <a:lnTo>
                    <a:pt x="98839" y="170750"/>
                  </a:lnTo>
                  <a:lnTo>
                    <a:pt x="97200" y="172013"/>
                  </a:lnTo>
                  <a:lnTo>
                    <a:pt x="96204" y="173869"/>
                  </a:lnTo>
                  <a:lnTo>
                    <a:pt x="94296" y="175490"/>
                  </a:lnTo>
                  <a:lnTo>
                    <a:pt x="91478" y="176878"/>
                  </a:lnTo>
                  <a:lnTo>
                    <a:pt x="87919" y="180277"/>
                  </a:lnTo>
                  <a:lnTo>
                    <a:pt x="83626" y="185695"/>
                  </a:lnTo>
                  <a:lnTo>
                    <a:pt x="80690" y="188801"/>
                  </a:lnTo>
                  <a:lnTo>
                    <a:pt x="79111" y="189600"/>
                  </a:lnTo>
                  <a:lnTo>
                    <a:pt x="77476" y="189673"/>
                  </a:lnTo>
                  <a:lnTo>
                    <a:pt x="75788" y="189024"/>
                  </a:lnTo>
                  <a:lnTo>
                    <a:pt x="74380" y="188933"/>
                  </a:lnTo>
                  <a:lnTo>
                    <a:pt x="73665" y="189227"/>
                  </a:lnTo>
                  <a:lnTo>
                    <a:pt x="73207" y="188987"/>
                  </a:lnTo>
                  <a:lnTo>
                    <a:pt x="72540" y="188481"/>
                  </a:lnTo>
                  <a:lnTo>
                    <a:pt x="72566" y="187234"/>
                  </a:lnTo>
                  <a:lnTo>
                    <a:pt x="72367" y="185165"/>
                  </a:lnTo>
                  <a:lnTo>
                    <a:pt x="71538" y="183036"/>
                  </a:lnTo>
                  <a:lnTo>
                    <a:pt x="72523" y="181320"/>
                  </a:lnTo>
                  <a:lnTo>
                    <a:pt x="73404" y="180022"/>
                  </a:lnTo>
                  <a:lnTo>
                    <a:pt x="73248" y="179347"/>
                  </a:lnTo>
                  <a:lnTo>
                    <a:pt x="72367" y="178254"/>
                  </a:lnTo>
                  <a:lnTo>
                    <a:pt x="71380" y="176696"/>
                  </a:lnTo>
                  <a:lnTo>
                    <a:pt x="70449" y="176800"/>
                  </a:lnTo>
                  <a:lnTo>
                    <a:pt x="68478" y="177997"/>
                  </a:lnTo>
                  <a:lnTo>
                    <a:pt x="66418" y="178925"/>
                  </a:lnTo>
                  <a:lnTo>
                    <a:pt x="64494" y="179312"/>
                  </a:lnTo>
                  <a:lnTo>
                    <a:pt x="62980" y="180281"/>
                  </a:lnTo>
                  <a:lnTo>
                    <a:pt x="62151" y="180800"/>
                  </a:lnTo>
                  <a:lnTo>
                    <a:pt x="60855" y="180800"/>
                  </a:lnTo>
                  <a:lnTo>
                    <a:pt x="60130" y="180230"/>
                  </a:lnTo>
                  <a:lnTo>
                    <a:pt x="58549" y="179675"/>
                  </a:lnTo>
                  <a:lnTo>
                    <a:pt x="57687" y="179866"/>
                  </a:lnTo>
                  <a:lnTo>
                    <a:pt x="57202" y="180132"/>
                  </a:lnTo>
                  <a:lnTo>
                    <a:pt x="56992" y="182099"/>
                  </a:lnTo>
                  <a:lnTo>
                    <a:pt x="56811" y="183763"/>
                  </a:lnTo>
                  <a:lnTo>
                    <a:pt x="56500" y="185321"/>
                  </a:lnTo>
                  <a:lnTo>
                    <a:pt x="55930" y="186048"/>
                  </a:lnTo>
                  <a:lnTo>
                    <a:pt x="53544" y="186829"/>
                  </a:lnTo>
                  <a:lnTo>
                    <a:pt x="51924" y="187898"/>
                  </a:lnTo>
                  <a:lnTo>
                    <a:pt x="50521" y="188617"/>
                  </a:lnTo>
                  <a:lnTo>
                    <a:pt x="49655" y="188440"/>
                  </a:lnTo>
                  <a:lnTo>
                    <a:pt x="47919" y="187018"/>
                  </a:lnTo>
                  <a:lnTo>
                    <a:pt x="46202" y="185702"/>
                  </a:lnTo>
                  <a:lnTo>
                    <a:pt x="45248" y="184594"/>
                  </a:lnTo>
                  <a:lnTo>
                    <a:pt x="44714" y="183806"/>
                  </a:lnTo>
                  <a:lnTo>
                    <a:pt x="44367" y="183451"/>
                  </a:lnTo>
                  <a:lnTo>
                    <a:pt x="43278" y="183399"/>
                  </a:lnTo>
                  <a:lnTo>
                    <a:pt x="42954" y="184126"/>
                  </a:lnTo>
                  <a:lnTo>
                    <a:pt x="42408" y="183782"/>
                  </a:lnTo>
                  <a:lnTo>
                    <a:pt x="40713" y="182287"/>
                  </a:lnTo>
                  <a:lnTo>
                    <a:pt x="38715" y="179924"/>
                  </a:lnTo>
                  <a:lnTo>
                    <a:pt x="37988" y="179565"/>
                  </a:lnTo>
                  <a:lnTo>
                    <a:pt x="36884" y="179602"/>
                  </a:lnTo>
                  <a:lnTo>
                    <a:pt x="35142" y="180470"/>
                  </a:lnTo>
                  <a:lnTo>
                    <a:pt x="33423" y="181831"/>
                  </a:lnTo>
                  <a:lnTo>
                    <a:pt x="30322" y="183079"/>
                  </a:lnTo>
                  <a:lnTo>
                    <a:pt x="27737" y="183780"/>
                  </a:lnTo>
                  <a:lnTo>
                    <a:pt x="27504" y="184635"/>
                  </a:lnTo>
                  <a:lnTo>
                    <a:pt x="26899" y="186106"/>
                  </a:lnTo>
                  <a:lnTo>
                    <a:pt x="26042" y="187024"/>
                  </a:lnTo>
                  <a:lnTo>
                    <a:pt x="23751" y="187314"/>
                  </a:lnTo>
                  <a:lnTo>
                    <a:pt x="22928" y="188623"/>
                  </a:lnTo>
                  <a:lnTo>
                    <a:pt x="20948" y="191160"/>
                  </a:lnTo>
                  <a:lnTo>
                    <a:pt x="19639" y="192316"/>
                  </a:lnTo>
                  <a:lnTo>
                    <a:pt x="19294" y="191822"/>
                  </a:lnTo>
                  <a:lnTo>
                    <a:pt x="18499" y="191210"/>
                  </a:lnTo>
                  <a:lnTo>
                    <a:pt x="16873" y="189245"/>
                  </a:lnTo>
                  <a:lnTo>
                    <a:pt x="15269" y="186801"/>
                  </a:lnTo>
                  <a:lnTo>
                    <a:pt x="14839" y="185687"/>
                  </a:lnTo>
                  <a:lnTo>
                    <a:pt x="14388" y="185053"/>
                  </a:lnTo>
                  <a:lnTo>
                    <a:pt x="14314" y="182598"/>
                  </a:lnTo>
                  <a:lnTo>
                    <a:pt x="11894" y="179684"/>
                  </a:lnTo>
                  <a:lnTo>
                    <a:pt x="5830" y="174501"/>
                  </a:lnTo>
                  <a:lnTo>
                    <a:pt x="5180" y="172956"/>
                  </a:lnTo>
                  <a:lnTo>
                    <a:pt x="0" y="168211"/>
                  </a:lnTo>
                  <a:lnTo>
                    <a:pt x="1323" y="164794"/>
                  </a:lnTo>
                  <a:lnTo>
                    <a:pt x="2306" y="163218"/>
                  </a:lnTo>
                  <a:lnTo>
                    <a:pt x="3496" y="162118"/>
                  </a:lnTo>
                  <a:lnTo>
                    <a:pt x="8272" y="159443"/>
                  </a:lnTo>
                  <a:lnTo>
                    <a:pt x="8991" y="159547"/>
                  </a:lnTo>
                  <a:lnTo>
                    <a:pt x="12284" y="163024"/>
                  </a:lnTo>
                  <a:lnTo>
                    <a:pt x="13338" y="163300"/>
                  </a:lnTo>
                  <a:lnTo>
                    <a:pt x="14511" y="163205"/>
                  </a:lnTo>
                  <a:lnTo>
                    <a:pt x="15897" y="163348"/>
                  </a:lnTo>
                  <a:lnTo>
                    <a:pt x="16577" y="162667"/>
                  </a:lnTo>
                  <a:lnTo>
                    <a:pt x="16685" y="161769"/>
                  </a:lnTo>
                  <a:lnTo>
                    <a:pt x="15683" y="160766"/>
                  </a:lnTo>
                  <a:lnTo>
                    <a:pt x="15538" y="159690"/>
                  </a:lnTo>
                  <a:lnTo>
                    <a:pt x="16243" y="158520"/>
                  </a:lnTo>
                  <a:lnTo>
                    <a:pt x="16642" y="157227"/>
                  </a:lnTo>
                  <a:lnTo>
                    <a:pt x="17670" y="155695"/>
                  </a:lnTo>
                  <a:lnTo>
                    <a:pt x="17778" y="154977"/>
                  </a:lnTo>
                  <a:lnTo>
                    <a:pt x="16692" y="154194"/>
                  </a:lnTo>
                  <a:lnTo>
                    <a:pt x="14465" y="152997"/>
                  </a:lnTo>
                  <a:lnTo>
                    <a:pt x="12941" y="151843"/>
                  </a:lnTo>
                  <a:lnTo>
                    <a:pt x="12358" y="150736"/>
                  </a:lnTo>
                  <a:lnTo>
                    <a:pt x="12777" y="149322"/>
                  </a:lnTo>
                  <a:lnTo>
                    <a:pt x="14003" y="148175"/>
                  </a:lnTo>
                  <a:lnTo>
                    <a:pt x="13930" y="147552"/>
                  </a:lnTo>
                  <a:lnTo>
                    <a:pt x="12850" y="146521"/>
                  </a:lnTo>
                  <a:lnTo>
                    <a:pt x="12062" y="145417"/>
                  </a:lnTo>
                  <a:lnTo>
                    <a:pt x="11252" y="144725"/>
                  </a:lnTo>
                  <a:lnTo>
                    <a:pt x="9013" y="144312"/>
                  </a:lnTo>
                  <a:lnTo>
                    <a:pt x="9440" y="142828"/>
                  </a:lnTo>
                  <a:lnTo>
                    <a:pt x="10267" y="140645"/>
                  </a:lnTo>
                  <a:lnTo>
                    <a:pt x="10464" y="138973"/>
                  </a:lnTo>
                  <a:lnTo>
                    <a:pt x="9840" y="134584"/>
                  </a:lnTo>
                  <a:lnTo>
                    <a:pt x="9896" y="133785"/>
                  </a:lnTo>
                  <a:lnTo>
                    <a:pt x="10509" y="133379"/>
                  </a:lnTo>
                  <a:lnTo>
                    <a:pt x="11846" y="133865"/>
                  </a:lnTo>
                  <a:lnTo>
                    <a:pt x="13191" y="134533"/>
                  </a:lnTo>
                  <a:lnTo>
                    <a:pt x="16854" y="133575"/>
                  </a:lnTo>
                  <a:lnTo>
                    <a:pt x="18134" y="133429"/>
                  </a:lnTo>
                  <a:lnTo>
                    <a:pt x="19194" y="134269"/>
                  </a:lnTo>
                  <a:lnTo>
                    <a:pt x="20658" y="134928"/>
                  </a:lnTo>
                  <a:lnTo>
                    <a:pt x="29104" y="133100"/>
                  </a:lnTo>
                  <a:lnTo>
                    <a:pt x="29268" y="131233"/>
                  </a:lnTo>
                  <a:lnTo>
                    <a:pt x="29752" y="129544"/>
                  </a:lnTo>
                  <a:lnTo>
                    <a:pt x="29814" y="128278"/>
                  </a:lnTo>
                  <a:lnTo>
                    <a:pt x="29462" y="127466"/>
                  </a:lnTo>
                  <a:lnTo>
                    <a:pt x="29045" y="126852"/>
                  </a:lnTo>
                  <a:lnTo>
                    <a:pt x="28795" y="125586"/>
                  </a:lnTo>
                  <a:lnTo>
                    <a:pt x="28788" y="124228"/>
                  </a:lnTo>
                  <a:lnTo>
                    <a:pt x="29596" y="123588"/>
                  </a:lnTo>
                  <a:lnTo>
                    <a:pt x="32289" y="121970"/>
                  </a:lnTo>
                  <a:lnTo>
                    <a:pt x="33129" y="122031"/>
                  </a:lnTo>
                  <a:lnTo>
                    <a:pt x="35014" y="122912"/>
                  </a:lnTo>
                  <a:lnTo>
                    <a:pt x="36781" y="124292"/>
                  </a:lnTo>
                  <a:lnTo>
                    <a:pt x="38348" y="127200"/>
                  </a:lnTo>
                  <a:lnTo>
                    <a:pt x="39434" y="129700"/>
                  </a:lnTo>
                  <a:lnTo>
                    <a:pt x="41168" y="132733"/>
                  </a:lnTo>
                  <a:lnTo>
                    <a:pt x="44852" y="133967"/>
                  </a:lnTo>
                  <a:lnTo>
                    <a:pt x="49247" y="134755"/>
                  </a:lnTo>
                  <a:lnTo>
                    <a:pt x="51626" y="134548"/>
                  </a:lnTo>
                  <a:lnTo>
                    <a:pt x="55023" y="131964"/>
                  </a:lnTo>
                  <a:lnTo>
                    <a:pt x="56947" y="129948"/>
                  </a:lnTo>
                  <a:lnTo>
                    <a:pt x="57571" y="128863"/>
                  </a:lnTo>
                  <a:lnTo>
                    <a:pt x="58690" y="129423"/>
                  </a:lnTo>
                  <a:lnTo>
                    <a:pt x="59955" y="132076"/>
                  </a:lnTo>
                  <a:lnTo>
                    <a:pt x="60771" y="133105"/>
                  </a:lnTo>
                  <a:lnTo>
                    <a:pt x="60974" y="134086"/>
                  </a:lnTo>
                  <a:lnTo>
                    <a:pt x="60402" y="135310"/>
                  </a:lnTo>
                  <a:lnTo>
                    <a:pt x="60957" y="136097"/>
                  </a:lnTo>
                  <a:lnTo>
                    <a:pt x="63322" y="136654"/>
                  </a:lnTo>
                  <a:lnTo>
                    <a:pt x="65390" y="136129"/>
                  </a:lnTo>
                  <a:lnTo>
                    <a:pt x="66327" y="135047"/>
                  </a:lnTo>
                  <a:lnTo>
                    <a:pt x="67876" y="133636"/>
                  </a:lnTo>
                  <a:lnTo>
                    <a:pt x="67889" y="132450"/>
                  </a:lnTo>
                  <a:lnTo>
                    <a:pt x="67059" y="131674"/>
                  </a:lnTo>
                  <a:lnTo>
                    <a:pt x="67059" y="130613"/>
                  </a:lnTo>
                  <a:lnTo>
                    <a:pt x="67919" y="129780"/>
                  </a:lnTo>
                  <a:lnTo>
                    <a:pt x="68757" y="127498"/>
                  </a:lnTo>
                  <a:lnTo>
                    <a:pt x="69018" y="125833"/>
                  </a:lnTo>
                  <a:lnTo>
                    <a:pt x="69834" y="124772"/>
                  </a:lnTo>
                  <a:lnTo>
                    <a:pt x="71387" y="124035"/>
                  </a:lnTo>
                  <a:lnTo>
                    <a:pt x="71948" y="123368"/>
                  </a:lnTo>
                  <a:lnTo>
                    <a:pt x="72816" y="119419"/>
                  </a:lnTo>
                  <a:lnTo>
                    <a:pt x="72367" y="117992"/>
                  </a:lnTo>
                  <a:lnTo>
                    <a:pt x="72367" y="116806"/>
                  </a:lnTo>
                  <a:lnTo>
                    <a:pt x="73347" y="115296"/>
                  </a:lnTo>
                  <a:lnTo>
                    <a:pt x="73531" y="112821"/>
                  </a:lnTo>
                  <a:lnTo>
                    <a:pt x="73119" y="108765"/>
                  </a:lnTo>
                  <a:lnTo>
                    <a:pt x="72833" y="105981"/>
                  </a:lnTo>
                  <a:lnTo>
                    <a:pt x="72538" y="103065"/>
                  </a:lnTo>
                  <a:lnTo>
                    <a:pt x="73296" y="99235"/>
                  </a:lnTo>
                  <a:lnTo>
                    <a:pt x="74084" y="95244"/>
                  </a:lnTo>
                  <a:lnTo>
                    <a:pt x="73942" y="94250"/>
                  </a:lnTo>
                  <a:lnTo>
                    <a:pt x="72849" y="93039"/>
                  </a:lnTo>
                  <a:lnTo>
                    <a:pt x="71501" y="91931"/>
                  </a:lnTo>
                  <a:lnTo>
                    <a:pt x="68029" y="91020"/>
                  </a:lnTo>
                  <a:lnTo>
                    <a:pt x="66738" y="89573"/>
                  </a:lnTo>
                  <a:lnTo>
                    <a:pt x="65732" y="88036"/>
                  </a:lnTo>
                  <a:lnTo>
                    <a:pt x="64993" y="87543"/>
                  </a:lnTo>
                  <a:lnTo>
                    <a:pt x="61203" y="86934"/>
                  </a:lnTo>
                  <a:lnTo>
                    <a:pt x="60363" y="86066"/>
                  </a:lnTo>
                  <a:lnTo>
                    <a:pt x="60704" y="83579"/>
                  </a:lnTo>
                  <a:lnTo>
                    <a:pt x="61039" y="79905"/>
                  </a:lnTo>
                  <a:lnTo>
                    <a:pt x="60905" y="77351"/>
                  </a:lnTo>
                  <a:lnTo>
                    <a:pt x="61581" y="75291"/>
                  </a:lnTo>
                  <a:lnTo>
                    <a:pt x="62343" y="73747"/>
                  </a:lnTo>
                  <a:lnTo>
                    <a:pt x="64017" y="72112"/>
                  </a:lnTo>
                  <a:lnTo>
                    <a:pt x="64906" y="70183"/>
                  </a:lnTo>
                  <a:lnTo>
                    <a:pt x="65392" y="69705"/>
                  </a:lnTo>
                  <a:lnTo>
                    <a:pt x="68564" y="69384"/>
                  </a:lnTo>
                  <a:lnTo>
                    <a:pt x="69718" y="68580"/>
                  </a:lnTo>
                  <a:lnTo>
                    <a:pt x="70627" y="67767"/>
                  </a:lnTo>
                  <a:lnTo>
                    <a:pt x="71009" y="66670"/>
                  </a:lnTo>
                  <a:lnTo>
                    <a:pt x="72095" y="64860"/>
                  </a:lnTo>
                  <a:lnTo>
                    <a:pt x="73065" y="63627"/>
                  </a:lnTo>
                  <a:lnTo>
                    <a:pt x="73168" y="62794"/>
                  </a:lnTo>
                  <a:lnTo>
                    <a:pt x="72963" y="61636"/>
                  </a:lnTo>
                  <a:lnTo>
                    <a:pt x="72002" y="59359"/>
                  </a:lnTo>
                  <a:lnTo>
                    <a:pt x="70853" y="57462"/>
                  </a:lnTo>
                  <a:lnTo>
                    <a:pt x="70158" y="56785"/>
                  </a:lnTo>
                  <a:lnTo>
                    <a:pt x="68759" y="52324"/>
                  </a:lnTo>
                  <a:lnTo>
                    <a:pt x="67457" y="51270"/>
                  </a:lnTo>
                  <a:lnTo>
                    <a:pt x="64922" y="50702"/>
                  </a:lnTo>
                  <a:lnTo>
                    <a:pt x="60171" y="50197"/>
                  </a:lnTo>
                  <a:lnTo>
                    <a:pt x="57293" y="51003"/>
                  </a:lnTo>
                  <a:lnTo>
                    <a:pt x="52918" y="52500"/>
                  </a:lnTo>
                  <a:lnTo>
                    <a:pt x="49579" y="53536"/>
                  </a:lnTo>
                  <a:lnTo>
                    <a:pt x="47407" y="54128"/>
                  </a:lnTo>
                  <a:lnTo>
                    <a:pt x="46128" y="53963"/>
                  </a:lnTo>
                  <a:lnTo>
                    <a:pt x="45550" y="53282"/>
                  </a:lnTo>
                  <a:lnTo>
                    <a:pt x="46394" y="52703"/>
                  </a:lnTo>
                  <a:lnTo>
                    <a:pt x="46815" y="51348"/>
                  </a:lnTo>
                  <a:lnTo>
                    <a:pt x="46271" y="49404"/>
                  </a:lnTo>
                  <a:lnTo>
                    <a:pt x="45427" y="47624"/>
                  </a:lnTo>
                  <a:lnTo>
                    <a:pt x="44943" y="45124"/>
                  </a:lnTo>
                  <a:lnTo>
                    <a:pt x="45153" y="42017"/>
                  </a:lnTo>
                  <a:lnTo>
                    <a:pt x="45977" y="39101"/>
                  </a:lnTo>
                  <a:lnTo>
                    <a:pt x="47728" y="35312"/>
                  </a:lnTo>
                  <a:lnTo>
                    <a:pt x="47837" y="33766"/>
                  </a:lnTo>
                  <a:lnTo>
                    <a:pt x="53142" y="33811"/>
                  </a:lnTo>
                  <a:lnTo>
                    <a:pt x="58433" y="33858"/>
                  </a:lnTo>
                  <a:lnTo>
                    <a:pt x="64218" y="33825"/>
                  </a:lnTo>
                  <a:lnTo>
                    <a:pt x="69804" y="33793"/>
                  </a:lnTo>
                  <a:lnTo>
                    <a:pt x="74162" y="33917"/>
                  </a:lnTo>
                  <a:lnTo>
                    <a:pt x="76258" y="32935"/>
                  </a:lnTo>
                  <a:lnTo>
                    <a:pt x="78254" y="34418"/>
                  </a:lnTo>
                  <a:lnTo>
                    <a:pt x="79230" y="34749"/>
                  </a:lnTo>
                  <a:lnTo>
                    <a:pt x="79562" y="34632"/>
                  </a:lnTo>
                  <a:lnTo>
                    <a:pt x="80327" y="35677"/>
                  </a:lnTo>
                  <a:lnTo>
                    <a:pt x="82806" y="35560"/>
                  </a:lnTo>
                  <a:lnTo>
                    <a:pt x="83199" y="35807"/>
                  </a:lnTo>
                  <a:lnTo>
                    <a:pt x="83412" y="37068"/>
                  </a:lnTo>
                  <a:lnTo>
                    <a:pt x="85712" y="37036"/>
                  </a:lnTo>
                  <a:lnTo>
                    <a:pt x="86848" y="37321"/>
                  </a:lnTo>
                  <a:lnTo>
                    <a:pt x="87772" y="37288"/>
                  </a:lnTo>
                  <a:lnTo>
                    <a:pt x="89109" y="36553"/>
                  </a:lnTo>
                  <a:lnTo>
                    <a:pt x="90070" y="36799"/>
                  </a:lnTo>
                  <a:lnTo>
                    <a:pt x="91814" y="37744"/>
                  </a:lnTo>
                  <a:lnTo>
                    <a:pt x="93061" y="38563"/>
                  </a:lnTo>
                  <a:lnTo>
                    <a:pt x="94801" y="38297"/>
                  </a:lnTo>
                  <a:lnTo>
                    <a:pt x="98843" y="38438"/>
                  </a:lnTo>
                  <a:lnTo>
                    <a:pt x="101968" y="39221"/>
                  </a:lnTo>
                  <a:lnTo>
                    <a:pt x="105064" y="41397"/>
                  </a:lnTo>
                  <a:lnTo>
                    <a:pt x="107133" y="42649"/>
                  </a:lnTo>
                  <a:lnTo>
                    <a:pt x="108995" y="44502"/>
                  </a:lnTo>
                  <a:lnTo>
                    <a:pt x="109679" y="44169"/>
                  </a:lnTo>
                  <a:lnTo>
                    <a:pt x="110325" y="43664"/>
                  </a:lnTo>
                  <a:lnTo>
                    <a:pt x="110692" y="43440"/>
                  </a:lnTo>
                  <a:lnTo>
                    <a:pt x="110666" y="41854"/>
                  </a:lnTo>
                  <a:lnTo>
                    <a:pt x="109625" y="39153"/>
                  </a:lnTo>
                  <a:lnTo>
                    <a:pt x="109222" y="36861"/>
                  </a:lnTo>
                  <a:lnTo>
                    <a:pt x="109453" y="34978"/>
                  </a:lnTo>
                  <a:lnTo>
                    <a:pt x="110240" y="33628"/>
                  </a:lnTo>
                  <a:lnTo>
                    <a:pt x="111586" y="32810"/>
                  </a:lnTo>
                  <a:lnTo>
                    <a:pt x="111720" y="31534"/>
                  </a:lnTo>
                  <a:lnTo>
                    <a:pt x="111737" y="31366"/>
                  </a:lnTo>
                  <a:lnTo>
                    <a:pt x="113249" y="28341"/>
                  </a:lnTo>
                  <a:lnTo>
                    <a:pt x="114749" y="25332"/>
                  </a:lnTo>
                  <a:lnTo>
                    <a:pt x="116555" y="21831"/>
                  </a:lnTo>
                  <a:lnTo>
                    <a:pt x="118043" y="18938"/>
                  </a:lnTo>
                  <a:lnTo>
                    <a:pt x="117844" y="17504"/>
                  </a:lnTo>
                  <a:lnTo>
                    <a:pt x="117991" y="15365"/>
                  </a:lnTo>
                  <a:lnTo>
                    <a:pt x="118297" y="12980"/>
                  </a:lnTo>
                  <a:lnTo>
                    <a:pt x="118224" y="11560"/>
                  </a:lnTo>
                  <a:lnTo>
                    <a:pt x="118656" y="10592"/>
                  </a:lnTo>
                  <a:lnTo>
                    <a:pt x="119690" y="7035"/>
                  </a:lnTo>
                  <a:lnTo>
                    <a:pt x="120295" y="4964"/>
                  </a:lnTo>
                  <a:lnTo>
                    <a:pt x="121187" y="4028"/>
                  </a:lnTo>
                  <a:lnTo>
                    <a:pt x="122571" y="3368"/>
                  </a:lnTo>
                  <a:lnTo>
                    <a:pt x="124583" y="3344"/>
                  </a:lnTo>
                  <a:lnTo>
                    <a:pt x="129850" y="2892"/>
                  </a:lnTo>
                  <a:lnTo>
                    <a:pt x="134763" y="1968"/>
                  </a:lnTo>
                  <a:lnTo>
                    <a:pt x="136393" y="1553"/>
                  </a:lnTo>
                  <a:lnTo>
                    <a:pt x="139479" y="60"/>
                  </a:lnTo>
                  <a:lnTo>
                    <a:pt x="140664" y="0"/>
                  </a:lnTo>
                  <a:lnTo>
                    <a:pt x="141684" y="569"/>
                  </a:lnTo>
                  <a:lnTo>
                    <a:pt x="147630" y="2283"/>
                  </a:lnTo>
                  <a:lnTo>
                    <a:pt x="149261" y="2955"/>
                  </a:lnTo>
                  <a:lnTo>
                    <a:pt x="149852" y="2854"/>
                  </a:lnTo>
                  <a:lnTo>
                    <a:pt x="150755" y="3001"/>
                  </a:lnTo>
                  <a:lnTo>
                    <a:pt x="152144" y="3022"/>
                  </a:lnTo>
                  <a:lnTo>
                    <a:pt x="153504" y="2812"/>
                  </a:lnTo>
                  <a:lnTo>
                    <a:pt x="154368" y="3016"/>
                  </a:lnTo>
                  <a:lnTo>
                    <a:pt x="155465" y="4151"/>
                  </a:lnTo>
                  <a:lnTo>
                    <a:pt x="156195" y="4027"/>
                  </a:lnTo>
                  <a:lnTo>
                    <a:pt x="157149" y="3202"/>
                  </a:lnTo>
                  <a:lnTo>
                    <a:pt x="158941" y="2358"/>
                  </a:lnTo>
                  <a:lnTo>
                    <a:pt x="162396" y="1424"/>
                  </a:lnTo>
                  <a:lnTo>
                    <a:pt x="162958" y="1842"/>
                  </a:lnTo>
                  <a:lnTo>
                    <a:pt x="164152" y="3921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72" name="ee4p_KM_1_37365">
              <a:extLst>
                <a:ext uri="{FF2B5EF4-FFF2-40B4-BE49-F238E27FC236}">
                  <a16:creationId xmlns:a16="http://schemas.microsoft.com/office/drawing/2014/main" id="{F58907FF-F075-0F0D-344E-03E4419B0D05}"/>
                </a:ext>
              </a:extLst>
            </p:cNvPr>
            <p:cNvSpPr>
              <a:spLocks noChangeAspect="1"/>
            </p:cNvSpPr>
            <p:nvPr>
              <p:custDataLst>
                <p:tags r:id="rId326"/>
              </p:custDataLst>
            </p:nvPr>
          </p:nvSpPr>
          <p:spPr>
            <a:xfrm>
              <a:off x="7715077" y="5003350"/>
              <a:ext cx="36103" cy="28917"/>
            </a:xfrm>
            <a:custGeom>
              <a:avLst/>
              <a:gdLst>
                <a:gd name="connsiteX0" fmla="*/ 23968 w 77004"/>
                <a:gd name="connsiteY0" fmla="*/ 52757 h 60041"/>
                <a:gd name="connsiteX1" fmla="*/ 28289 w 77004"/>
                <a:gd name="connsiteY1" fmla="*/ 53290 h 60041"/>
                <a:gd name="connsiteX2" fmla="*/ 33287 w 77004"/>
                <a:gd name="connsiteY2" fmla="*/ 56360 h 60041"/>
                <a:gd name="connsiteX3" fmla="*/ 37452 w 77004"/>
                <a:gd name="connsiteY3" fmla="*/ 60041 h 60041"/>
                <a:gd name="connsiteX4" fmla="*/ 25883 w 77004"/>
                <a:gd name="connsiteY4" fmla="*/ 58514 h 60041"/>
                <a:gd name="connsiteX5" fmla="*/ 24062 w 77004"/>
                <a:gd name="connsiteY5" fmla="*/ 55198 h 60041"/>
                <a:gd name="connsiteX6" fmla="*/ 72565 w 77004"/>
                <a:gd name="connsiteY6" fmla="*/ 42198 h 60041"/>
                <a:gd name="connsiteX7" fmla="*/ 74020 w 77004"/>
                <a:gd name="connsiteY7" fmla="*/ 42809 h 60041"/>
                <a:gd name="connsiteX8" fmla="*/ 77004 w 77004"/>
                <a:gd name="connsiteY8" fmla="*/ 51099 h 60041"/>
                <a:gd name="connsiteX9" fmla="*/ 76974 w 77004"/>
                <a:gd name="connsiteY9" fmla="*/ 57351 h 60041"/>
                <a:gd name="connsiteX10" fmla="*/ 75713 w 77004"/>
                <a:gd name="connsiteY10" fmla="*/ 59336 h 60041"/>
                <a:gd name="connsiteX11" fmla="*/ 73058 w 77004"/>
                <a:gd name="connsiteY11" fmla="*/ 58050 h 60041"/>
                <a:gd name="connsiteX12" fmla="*/ 68159 w 77004"/>
                <a:gd name="connsiteY12" fmla="*/ 53065 h 60041"/>
                <a:gd name="connsiteX13" fmla="*/ 58840 w 77004"/>
                <a:gd name="connsiteY13" fmla="*/ 48206 h 60041"/>
                <a:gd name="connsiteX14" fmla="*/ 63115 w 77004"/>
                <a:gd name="connsiteY14" fmla="*/ 47807 h 60041"/>
                <a:gd name="connsiteX15" fmla="*/ 65614 w 77004"/>
                <a:gd name="connsiteY15" fmla="*/ 48305 h 60041"/>
                <a:gd name="connsiteX16" fmla="*/ 68255 w 77004"/>
                <a:gd name="connsiteY16" fmla="*/ 47861 h 60041"/>
                <a:gd name="connsiteX17" fmla="*/ 69911 w 77004"/>
                <a:gd name="connsiteY17" fmla="*/ 45126 h 60041"/>
                <a:gd name="connsiteX18" fmla="*/ 70240 w 77004"/>
                <a:gd name="connsiteY18" fmla="*/ 43495 h 60041"/>
                <a:gd name="connsiteX19" fmla="*/ 6801 w 77004"/>
                <a:gd name="connsiteY19" fmla="*/ 0 h 60041"/>
                <a:gd name="connsiteX20" fmla="*/ 9849 w 77004"/>
                <a:gd name="connsiteY20" fmla="*/ 2408 h 60041"/>
                <a:gd name="connsiteX21" fmla="*/ 9046 w 77004"/>
                <a:gd name="connsiteY21" fmla="*/ 14743 h 60041"/>
                <a:gd name="connsiteX22" fmla="*/ 13087 w 77004"/>
                <a:gd name="connsiteY22" fmla="*/ 23049 h 60041"/>
                <a:gd name="connsiteX23" fmla="*/ 15686 w 77004"/>
                <a:gd name="connsiteY23" fmla="*/ 29628 h 60041"/>
                <a:gd name="connsiteX24" fmla="*/ 14164 w 77004"/>
                <a:gd name="connsiteY24" fmla="*/ 31979 h 60041"/>
                <a:gd name="connsiteX25" fmla="*/ 13037 w 77004"/>
                <a:gd name="connsiteY25" fmla="*/ 32778 h 60041"/>
                <a:gd name="connsiteX26" fmla="*/ 7629 w 77004"/>
                <a:gd name="connsiteY26" fmla="*/ 29352 h 60041"/>
                <a:gd name="connsiteX27" fmla="*/ 4540 w 77004"/>
                <a:gd name="connsiteY27" fmla="*/ 28543 h 60041"/>
                <a:gd name="connsiteX28" fmla="*/ 0 w 77004"/>
                <a:gd name="connsiteY28" fmla="*/ 23009 h 60041"/>
                <a:gd name="connsiteX29" fmla="*/ 1739 w 77004"/>
                <a:gd name="connsiteY29" fmla="*/ 3820 h 60041"/>
                <a:gd name="connsiteX30" fmla="*/ 3198 w 77004"/>
                <a:gd name="connsiteY30" fmla="*/ 1366 h 60041"/>
                <a:gd name="connsiteX31" fmla="*/ 4286 w 77004"/>
                <a:gd name="connsiteY31" fmla="*/ 365 h 600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77004" h="60041">
                  <a:moveTo>
                    <a:pt x="23968" y="52757"/>
                  </a:moveTo>
                  <a:lnTo>
                    <a:pt x="28289" y="53290"/>
                  </a:lnTo>
                  <a:lnTo>
                    <a:pt x="33287" y="56360"/>
                  </a:lnTo>
                  <a:lnTo>
                    <a:pt x="37452" y="60041"/>
                  </a:lnTo>
                  <a:lnTo>
                    <a:pt x="25883" y="58514"/>
                  </a:lnTo>
                  <a:lnTo>
                    <a:pt x="24062" y="55198"/>
                  </a:lnTo>
                  <a:close/>
                  <a:moveTo>
                    <a:pt x="72565" y="42198"/>
                  </a:moveTo>
                  <a:lnTo>
                    <a:pt x="74020" y="42809"/>
                  </a:lnTo>
                  <a:lnTo>
                    <a:pt x="77004" y="51099"/>
                  </a:lnTo>
                  <a:lnTo>
                    <a:pt x="76974" y="57351"/>
                  </a:lnTo>
                  <a:lnTo>
                    <a:pt x="75713" y="59336"/>
                  </a:lnTo>
                  <a:lnTo>
                    <a:pt x="73058" y="58050"/>
                  </a:lnTo>
                  <a:lnTo>
                    <a:pt x="68159" y="53065"/>
                  </a:lnTo>
                  <a:lnTo>
                    <a:pt x="58840" y="48206"/>
                  </a:lnTo>
                  <a:lnTo>
                    <a:pt x="63115" y="47807"/>
                  </a:lnTo>
                  <a:lnTo>
                    <a:pt x="65614" y="48305"/>
                  </a:lnTo>
                  <a:lnTo>
                    <a:pt x="68255" y="47861"/>
                  </a:lnTo>
                  <a:lnTo>
                    <a:pt x="69911" y="45126"/>
                  </a:lnTo>
                  <a:lnTo>
                    <a:pt x="70240" y="43495"/>
                  </a:lnTo>
                  <a:close/>
                  <a:moveTo>
                    <a:pt x="6801" y="0"/>
                  </a:moveTo>
                  <a:lnTo>
                    <a:pt x="9849" y="2408"/>
                  </a:lnTo>
                  <a:lnTo>
                    <a:pt x="9046" y="14743"/>
                  </a:lnTo>
                  <a:lnTo>
                    <a:pt x="13087" y="23049"/>
                  </a:lnTo>
                  <a:lnTo>
                    <a:pt x="15686" y="29628"/>
                  </a:lnTo>
                  <a:lnTo>
                    <a:pt x="14164" y="31979"/>
                  </a:lnTo>
                  <a:lnTo>
                    <a:pt x="13037" y="32778"/>
                  </a:lnTo>
                  <a:lnTo>
                    <a:pt x="7629" y="29352"/>
                  </a:lnTo>
                  <a:lnTo>
                    <a:pt x="4540" y="28543"/>
                  </a:lnTo>
                  <a:lnTo>
                    <a:pt x="0" y="23009"/>
                  </a:lnTo>
                  <a:lnTo>
                    <a:pt x="1739" y="3820"/>
                  </a:lnTo>
                  <a:lnTo>
                    <a:pt x="3198" y="1366"/>
                  </a:lnTo>
                  <a:lnTo>
                    <a:pt x="4286" y="365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73" name="ee4p_CV_1_37365">
              <a:extLst>
                <a:ext uri="{FF2B5EF4-FFF2-40B4-BE49-F238E27FC236}">
                  <a16:creationId xmlns:a16="http://schemas.microsoft.com/office/drawing/2014/main" id="{03258CE6-5E49-8306-4584-C5916ED6817B}"/>
                </a:ext>
              </a:extLst>
            </p:cNvPr>
            <p:cNvSpPr>
              <a:spLocks noChangeAspect="1"/>
            </p:cNvSpPr>
            <p:nvPr>
              <p:custDataLst>
                <p:tags r:id="rId327"/>
              </p:custDataLst>
            </p:nvPr>
          </p:nvSpPr>
          <p:spPr>
            <a:xfrm>
              <a:off x="5810982" y="4182452"/>
              <a:ext cx="73857" cy="69492"/>
            </a:xfrm>
            <a:custGeom>
              <a:avLst/>
              <a:gdLst>
                <a:gd name="connsiteX0" fmla="*/ 56242 w 157528"/>
                <a:gd name="connsiteY0" fmla="*/ 130965 h 144288"/>
                <a:gd name="connsiteX1" fmla="*/ 59944 w 157528"/>
                <a:gd name="connsiteY1" fmla="*/ 132104 h 144288"/>
                <a:gd name="connsiteX2" fmla="*/ 61939 w 157528"/>
                <a:gd name="connsiteY2" fmla="*/ 137552 h 144288"/>
                <a:gd name="connsiteX3" fmla="*/ 61200 w 157528"/>
                <a:gd name="connsiteY3" fmla="*/ 141982 h 144288"/>
                <a:gd name="connsiteX4" fmla="*/ 56588 w 157528"/>
                <a:gd name="connsiteY4" fmla="*/ 144288 h 144288"/>
                <a:gd name="connsiteX5" fmla="*/ 53365 w 157528"/>
                <a:gd name="connsiteY5" fmla="*/ 143284 h 144288"/>
                <a:gd name="connsiteX6" fmla="*/ 50306 w 157528"/>
                <a:gd name="connsiteY6" fmla="*/ 140900 h 144288"/>
                <a:gd name="connsiteX7" fmla="*/ 48833 w 157528"/>
                <a:gd name="connsiteY7" fmla="*/ 137447 h 144288"/>
                <a:gd name="connsiteX8" fmla="*/ 50028 w 157528"/>
                <a:gd name="connsiteY8" fmla="*/ 134479 h 144288"/>
                <a:gd name="connsiteX9" fmla="*/ 126232 w 157528"/>
                <a:gd name="connsiteY9" fmla="*/ 113683 h 144288"/>
                <a:gd name="connsiteX10" fmla="*/ 130529 w 157528"/>
                <a:gd name="connsiteY10" fmla="*/ 114036 h 144288"/>
                <a:gd name="connsiteX11" fmla="*/ 131619 w 157528"/>
                <a:gd name="connsiteY11" fmla="*/ 117026 h 144288"/>
                <a:gd name="connsiteX12" fmla="*/ 131822 w 157528"/>
                <a:gd name="connsiteY12" fmla="*/ 123192 h 144288"/>
                <a:gd name="connsiteX13" fmla="*/ 127898 w 157528"/>
                <a:gd name="connsiteY13" fmla="*/ 125003 h 144288"/>
                <a:gd name="connsiteX14" fmla="*/ 126251 w 157528"/>
                <a:gd name="connsiteY14" fmla="*/ 125222 h 144288"/>
                <a:gd name="connsiteX15" fmla="*/ 123773 w 157528"/>
                <a:gd name="connsiteY15" fmla="*/ 122495 h 144288"/>
                <a:gd name="connsiteX16" fmla="*/ 124325 w 157528"/>
                <a:gd name="connsiteY16" fmla="*/ 118713 h 144288"/>
                <a:gd name="connsiteX17" fmla="*/ 124046 w 157528"/>
                <a:gd name="connsiteY17" fmla="*/ 117717 h 144288"/>
                <a:gd name="connsiteX18" fmla="*/ 94379 w 157528"/>
                <a:gd name="connsiteY18" fmla="*/ 113383 h 144288"/>
                <a:gd name="connsiteX19" fmla="*/ 96797 w 157528"/>
                <a:gd name="connsiteY19" fmla="*/ 114087 h 144288"/>
                <a:gd name="connsiteX20" fmla="*/ 97188 w 157528"/>
                <a:gd name="connsiteY20" fmla="*/ 116830 h 144288"/>
                <a:gd name="connsiteX21" fmla="*/ 104335 w 157528"/>
                <a:gd name="connsiteY21" fmla="*/ 123540 h 144288"/>
                <a:gd name="connsiteX22" fmla="*/ 106984 w 157528"/>
                <a:gd name="connsiteY22" fmla="*/ 124850 h 144288"/>
                <a:gd name="connsiteX23" fmla="*/ 112373 w 157528"/>
                <a:gd name="connsiteY23" fmla="*/ 132803 h 144288"/>
                <a:gd name="connsiteX24" fmla="*/ 108795 w 157528"/>
                <a:gd name="connsiteY24" fmla="*/ 138363 h 144288"/>
                <a:gd name="connsiteX25" fmla="*/ 100944 w 157528"/>
                <a:gd name="connsiteY25" fmla="*/ 137916 h 144288"/>
                <a:gd name="connsiteX26" fmla="*/ 96907 w 157528"/>
                <a:gd name="connsiteY26" fmla="*/ 135626 h 144288"/>
                <a:gd name="connsiteX27" fmla="*/ 92190 w 157528"/>
                <a:gd name="connsiteY27" fmla="*/ 128627 h 144288"/>
                <a:gd name="connsiteX28" fmla="*/ 92337 w 157528"/>
                <a:gd name="connsiteY28" fmla="*/ 123224 h 144288"/>
                <a:gd name="connsiteX29" fmla="*/ 93998 w 157528"/>
                <a:gd name="connsiteY29" fmla="*/ 118531 h 144288"/>
                <a:gd name="connsiteX30" fmla="*/ 93709 w 157528"/>
                <a:gd name="connsiteY30" fmla="*/ 114457 h 144288"/>
                <a:gd name="connsiteX31" fmla="*/ 143560 w 157528"/>
                <a:gd name="connsiteY31" fmla="*/ 58224 h 144288"/>
                <a:gd name="connsiteX32" fmla="*/ 148499 w 157528"/>
                <a:gd name="connsiteY32" fmla="*/ 59335 h 144288"/>
                <a:gd name="connsiteX33" fmla="*/ 150377 w 157528"/>
                <a:gd name="connsiteY33" fmla="*/ 58936 h 144288"/>
                <a:gd name="connsiteX34" fmla="*/ 153527 w 157528"/>
                <a:gd name="connsiteY34" fmla="*/ 59180 h 144288"/>
                <a:gd name="connsiteX35" fmla="*/ 156891 w 157528"/>
                <a:gd name="connsiteY35" fmla="*/ 62370 h 144288"/>
                <a:gd name="connsiteX36" fmla="*/ 157528 w 157528"/>
                <a:gd name="connsiteY36" fmla="*/ 65759 h 144288"/>
                <a:gd name="connsiteX37" fmla="*/ 155857 w 157528"/>
                <a:gd name="connsiteY37" fmla="*/ 70007 h 144288"/>
                <a:gd name="connsiteX38" fmla="*/ 149316 w 157528"/>
                <a:gd name="connsiteY38" fmla="*/ 73489 h 144288"/>
                <a:gd name="connsiteX39" fmla="*/ 145553 w 157528"/>
                <a:gd name="connsiteY39" fmla="*/ 73082 h 144288"/>
                <a:gd name="connsiteX40" fmla="*/ 141098 w 157528"/>
                <a:gd name="connsiteY40" fmla="*/ 69900 h 144288"/>
                <a:gd name="connsiteX41" fmla="*/ 143653 w 157528"/>
                <a:gd name="connsiteY41" fmla="*/ 63624 h 144288"/>
                <a:gd name="connsiteX42" fmla="*/ 57147 w 157528"/>
                <a:gd name="connsiteY42" fmla="*/ 31428 h 144288"/>
                <a:gd name="connsiteX43" fmla="*/ 63402 w 157528"/>
                <a:gd name="connsiteY43" fmla="*/ 33431 h 144288"/>
                <a:gd name="connsiteX44" fmla="*/ 74263 w 157528"/>
                <a:gd name="connsiteY44" fmla="*/ 34792 h 144288"/>
                <a:gd name="connsiteX45" fmla="*/ 76712 w 157528"/>
                <a:gd name="connsiteY45" fmla="*/ 36584 h 144288"/>
                <a:gd name="connsiteX46" fmla="*/ 77520 w 157528"/>
                <a:gd name="connsiteY46" fmla="*/ 37867 h 144288"/>
                <a:gd name="connsiteX47" fmla="*/ 73883 w 157528"/>
                <a:gd name="connsiteY47" fmla="*/ 38534 h 144288"/>
                <a:gd name="connsiteX48" fmla="*/ 65060 w 157528"/>
                <a:gd name="connsiteY48" fmla="*/ 36198 h 144288"/>
                <a:gd name="connsiteX49" fmla="*/ 62708 w 157528"/>
                <a:gd name="connsiteY49" fmla="*/ 37629 h 144288"/>
                <a:gd name="connsiteX50" fmla="*/ 60364 w 157528"/>
                <a:gd name="connsiteY50" fmla="*/ 42667 h 144288"/>
                <a:gd name="connsiteX51" fmla="*/ 55880 w 157528"/>
                <a:gd name="connsiteY51" fmla="*/ 35044 h 144288"/>
                <a:gd name="connsiteX52" fmla="*/ 56185 w 157528"/>
                <a:gd name="connsiteY52" fmla="*/ 32239 h 144288"/>
                <a:gd name="connsiteX53" fmla="*/ 144328 w 157528"/>
                <a:gd name="connsiteY53" fmla="*/ 21324 h 144288"/>
                <a:gd name="connsiteX54" fmla="*/ 144376 w 157528"/>
                <a:gd name="connsiteY54" fmla="*/ 28119 h 144288"/>
                <a:gd name="connsiteX55" fmla="*/ 145300 w 157528"/>
                <a:gd name="connsiteY55" fmla="*/ 32566 h 144288"/>
                <a:gd name="connsiteX56" fmla="*/ 143409 w 157528"/>
                <a:gd name="connsiteY56" fmla="*/ 35681 h 144288"/>
                <a:gd name="connsiteX57" fmla="*/ 141090 w 157528"/>
                <a:gd name="connsiteY57" fmla="*/ 31109 h 144288"/>
                <a:gd name="connsiteX58" fmla="*/ 139834 w 157528"/>
                <a:gd name="connsiteY58" fmla="*/ 30021 h 144288"/>
                <a:gd name="connsiteX59" fmla="*/ 139223 w 157528"/>
                <a:gd name="connsiteY59" fmla="*/ 23448 h 144288"/>
                <a:gd name="connsiteX60" fmla="*/ 142660 w 157528"/>
                <a:gd name="connsiteY60" fmla="*/ 21490 h 144288"/>
                <a:gd name="connsiteX61" fmla="*/ 23992 w 157528"/>
                <a:gd name="connsiteY61" fmla="*/ 16551 h 144288"/>
                <a:gd name="connsiteX62" fmla="*/ 26633 w 157528"/>
                <a:gd name="connsiteY62" fmla="*/ 21158 h 144288"/>
                <a:gd name="connsiteX63" fmla="*/ 26919 w 157528"/>
                <a:gd name="connsiteY63" fmla="*/ 22886 h 144288"/>
                <a:gd name="connsiteX64" fmla="*/ 22058 w 157528"/>
                <a:gd name="connsiteY64" fmla="*/ 24343 h 144288"/>
                <a:gd name="connsiteX65" fmla="*/ 19047 w 157528"/>
                <a:gd name="connsiteY65" fmla="*/ 24158 h 144288"/>
                <a:gd name="connsiteX66" fmla="*/ 14716 w 157528"/>
                <a:gd name="connsiteY66" fmla="*/ 22007 h 144288"/>
                <a:gd name="connsiteX67" fmla="*/ 16077 w 157528"/>
                <a:gd name="connsiteY67" fmla="*/ 19682 h 144288"/>
                <a:gd name="connsiteX68" fmla="*/ 20761 w 157528"/>
                <a:gd name="connsiteY68" fmla="*/ 17089 h 144288"/>
                <a:gd name="connsiteX69" fmla="*/ 13508 w 157528"/>
                <a:gd name="connsiteY69" fmla="*/ 0 h 144288"/>
                <a:gd name="connsiteX70" fmla="*/ 18174 w 157528"/>
                <a:gd name="connsiteY70" fmla="*/ 1047 h 144288"/>
                <a:gd name="connsiteX71" fmla="*/ 21431 w 157528"/>
                <a:gd name="connsiteY71" fmla="*/ 6032 h 144288"/>
                <a:gd name="connsiteX72" fmla="*/ 19216 w 157528"/>
                <a:gd name="connsiteY72" fmla="*/ 8799 h 144288"/>
                <a:gd name="connsiteX73" fmla="*/ 10170 w 157528"/>
                <a:gd name="connsiteY73" fmla="*/ 15064 h 144288"/>
                <a:gd name="connsiteX74" fmla="*/ 4401 w 157528"/>
                <a:gd name="connsiteY74" fmla="*/ 16317 h 144288"/>
                <a:gd name="connsiteX75" fmla="*/ 1969 w 157528"/>
                <a:gd name="connsiteY75" fmla="*/ 15715 h 144288"/>
                <a:gd name="connsiteX76" fmla="*/ 1162 w 157528"/>
                <a:gd name="connsiteY76" fmla="*/ 10866 h 144288"/>
                <a:gd name="connsiteX77" fmla="*/ 0 w 157528"/>
                <a:gd name="connsiteY77" fmla="*/ 7676 h 144288"/>
                <a:gd name="connsiteX78" fmla="*/ 262 w 157528"/>
                <a:gd name="connsiteY78" fmla="*/ 6257 h 144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157528" h="144288">
                  <a:moveTo>
                    <a:pt x="56242" y="130965"/>
                  </a:moveTo>
                  <a:lnTo>
                    <a:pt x="59944" y="132104"/>
                  </a:lnTo>
                  <a:lnTo>
                    <a:pt x="61939" y="137552"/>
                  </a:lnTo>
                  <a:lnTo>
                    <a:pt x="61200" y="141982"/>
                  </a:lnTo>
                  <a:lnTo>
                    <a:pt x="56588" y="144288"/>
                  </a:lnTo>
                  <a:lnTo>
                    <a:pt x="53365" y="143284"/>
                  </a:lnTo>
                  <a:lnTo>
                    <a:pt x="50306" y="140900"/>
                  </a:lnTo>
                  <a:lnTo>
                    <a:pt x="48833" y="137447"/>
                  </a:lnTo>
                  <a:lnTo>
                    <a:pt x="50028" y="134479"/>
                  </a:lnTo>
                  <a:close/>
                  <a:moveTo>
                    <a:pt x="126232" y="113683"/>
                  </a:moveTo>
                  <a:lnTo>
                    <a:pt x="130529" y="114036"/>
                  </a:lnTo>
                  <a:lnTo>
                    <a:pt x="131619" y="117026"/>
                  </a:lnTo>
                  <a:lnTo>
                    <a:pt x="131822" y="123192"/>
                  </a:lnTo>
                  <a:lnTo>
                    <a:pt x="127898" y="125003"/>
                  </a:lnTo>
                  <a:lnTo>
                    <a:pt x="126251" y="125222"/>
                  </a:lnTo>
                  <a:lnTo>
                    <a:pt x="123773" y="122495"/>
                  </a:lnTo>
                  <a:lnTo>
                    <a:pt x="124325" y="118713"/>
                  </a:lnTo>
                  <a:lnTo>
                    <a:pt x="124046" y="117717"/>
                  </a:lnTo>
                  <a:close/>
                  <a:moveTo>
                    <a:pt x="94379" y="113383"/>
                  </a:moveTo>
                  <a:lnTo>
                    <a:pt x="96797" y="114087"/>
                  </a:lnTo>
                  <a:lnTo>
                    <a:pt x="97188" y="116830"/>
                  </a:lnTo>
                  <a:lnTo>
                    <a:pt x="104335" y="123540"/>
                  </a:lnTo>
                  <a:lnTo>
                    <a:pt x="106984" y="124850"/>
                  </a:lnTo>
                  <a:lnTo>
                    <a:pt x="112373" y="132803"/>
                  </a:lnTo>
                  <a:lnTo>
                    <a:pt x="108795" y="138363"/>
                  </a:lnTo>
                  <a:lnTo>
                    <a:pt x="100944" y="137916"/>
                  </a:lnTo>
                  <a:lnTo>
                    <a:pt x="96907" y="135626"/>
                  </a:lnTo>
                  <a:lnTo>
                    <a:pt x="92190" y="128627"/>
                  </a:lnTo>
                  <a:lnTo>
                    <a:pt x="92337" y="123224"/>
                  </a:lnTo>
                  <a:lnTo>
                    <a:pt x="93998" y="118531"/>
                  </a:lnTo>
                  <a:lnTo>
                    <a:pt x="93709" y="114457"/>
                  </a:lnTo>
                  <a:close/>
                  <a:moveTo>
                    <a:pt x="143560" y="58224"/>
                  </a:moveTo>
                  <a:lnTo>
                    <a:pt x="148499" y="59335"/>
                  </a:lnTo>
                  <a:lnTo>
                    <a:pt x="150377" y="58936"/>
                  </a:lnTo>
                  <a:lnTo>
                    <a:pt x="153527" y="59180"/>
                  </a:lnTo>
                  <a:lnTo>
                    <a:pt x="156891" y="62370"/>
                  </a:lnTo>
                  <a:lnTo>
                    <a:pt x="157528" y="65759"/>
                  </a:lnTo>
                  <a:lnTo>
                    <a:pt x="155857" y="70007"/>
                  </a:lnTo>
                  <a:lnTo>
                    <a:pt x="149316" y="73489"/>
                  </a:lnTo>
                  <a:lnTo>
                    <a:pt x="145553" y="73082"/>
                  </a:lnTo>
                  <a:lnTo>
                    <a:pt x="141098" y="69900"/>
                  </a:lnTo>
                  <a:lnTo>
                    <a:pt x="143653" y="63624"/>
                  </a:lnTo>
                  <a:close/>
                  <a:moveTo>
                    <a:pt x="57147" y="31428"/>
                  </a:moveTo>
                  <a:lnTo>
                    <a:pt x="63402" y="33431"/>
                  </a:lnTo>
                  <a:lnTo>
                    <a:pt x="74263" y="34792"/>
                  </a:lnTo>
                  <a:lnTo>
                    <a:pt x="76712" y="36584"/>
                  </a:lnTo>
                  <a:lnTo>
                    <a:pt x="77520" y="37867"/>
                  </a:lnTo>
                  <a:lnTo>
                    <a:pt x="73883" y="38534"/>
                  </a:lnTo>
                  <a:lnTo>
                    <a:pt x="65060" y="36198"/>
                  </a:lnTo>
                  <a:lnTo>
                    <a:pt x="62708" y="37629"/>
                  </a:lnTo>
                  <a:lnTo>
                    <a:pt x="60364" y="42667"/>
                  </a:lnTo>
                  <a:lnTo>
                    <a:pt x="55880" y="35044"/>
                  </a:lnTo>
                  <a:lnTo>
                    <a:pt x="56185" y="32239"/>
                  </a:lnTo>
                  <a:close/>
                  <a:moveTo>
                    <a:pt x="144328" y="21324"/>
                  </a:moveTo>
                  <a:lnTo>
                    <a:pt x="144376" y="28119"/>
                  </a:lnTo>
                  <a:lnTo>
                    <a:pt x="145300" y="32566"/>
                  </a:lnTo>
                  <a:lnTo>
                    <a:pt x="143409" y="35681"/>
                  </a:lnTo>
                  <a:lnTo>
                    <a:pt x="141090" y="31109"/>
                  </a:lnTo>
                  <a:lnTo>
                    <a:pt x="139834" y="30021"/>
                  </a:lnTo>
                  <a:lnTo>
                    <a:pt x="139223" y="23448"/>
                  </a:lnTo>
                  <a:lnTo>
                    <a:pt x="142660" y="21490"/>
                  </a:lnTo>
                  <a:close/>
                  <a:moveTo>
                    <a:pt x="23992" y="16551"/>
                  </a:moveTo>
                  <a:lnTo>
                    <a:pt x="26633" y="21158"/>
                  </a:lnTo>
                  <a:lnTo>
                    <a:pt x="26919" y="22886"/>
                  </a:lnTo>
                  <a:lnTo>
                    <a:pt x="22058" y="24343"/>
                  </a:lnTo>
                  <a:lnTo>
                    <a:pt x="19047" y="24158"/>
                  </a:lnTo>
                  <a:lnTo>
                    <a:pt x="14716" y="22007"/>
                  </a:lnTo>
                  <a:lnTo>
                    <a:pt x="16077" y="19682"/>
                  </a:lnTo>
                  <a:lnTo>
                    <a:pt x="20761" y="17089"/>
                  </a:lnTo>
                  <a:close/>
                  <a:moveTo>
                    <a:pt x="13508" y="0"/>
                  </a:moveTo>
                  <a:lnTo>
                    <a:pt x="18174" y="1047"/>
                  </a:lnTo>
                  <a:lnTo>
                    <a:pt x="21431" y="6032"/>
                  </a:lnTo>
                  <a:lnTo>
                    <a:pt x="19216" y="8799"/>
                  </a:lnTo>
                  <a:lnTo>
                    <a:pt x="10170" y="15064"/>
                  </a:lnTo>
                  <a:lnTo>
                    <a:pt x="4401" y="16317"/>
                  </a:lnTo>
                  <a:lnTo>
                    <a:pt x="1969" y="15715"/>
                  </a:lnTo>
                  <a:lnTo>
                    <a:pt x="1162" y="10866"/>
                  </a:lnTo>
                  <a:lnTo>
                    <a:pt x="0" y="7676"/>
                  </a:lnTo>
                  <a:lnTo>
                    <a:pt x="262" y="6257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74" name="ee4p_DJ_1_37365">
              <a:extLst>
                <a:ext uri="{FF2B5EF4-FFF2-40B4-BE49-F238E27FC236}">
                  <a16:creationId xmlns:a16="http://schemas.microsoft.com/office/drawing/2014/main" id="{5CAE01F4-52F3-E9F4-8FE0-BDAD1D901D41}"/>
                </a:ext>
              </a:extLst>
            </p:cNvPr>
            <p:cNvSpPr>
              <a:spLocks noChangeAspect="1"/>
            </p:cNvSpPr>
            <p:nvPr>
              <p:custDataLst>
                <p:tags r:id="rId328"/>
              </p:custDataLst>
            </p:nvPr>
          </p:nvSpPr>
          <p:spPr>
            <a:xfrm>
              <a:off x="7674478" y="4313253"/>
              <a:ext cx="45685" cy="51119"/>
            </a:xfrm>
            <a:custGeom>
              <a:avLst/>
              <a:gdLst/>
              <a:ahLst/>
              <a:cxnLst/>
              <a:rect l="0" t="0" r="0" b="0"/>
              <a:pathLst>
                <a:path w="36378" h="39626">
                  <a:moveTo>
                    <a:pt x="32755" y="27116"/>
                  </a:moveTo>
                  <a:lnTo>
                    <a:pt x="30840" y="30119"/>
                  </a:lnTo>
                  <a:lnTo>
                    <a:pt x="28391" y="33956"/>
                  </a:lnTo>
                  <a:lnTo>
                    <a:pt x="25608" y="38320"/>
                  </a:lnTo>
                  <a:lnTo>
                    <a:pt x="23869" y="38351"/>
                  </a:lnTo>
                  <a:lnTo>
                    <a:pt x="22518" y="38098"/>
                  </a:lnTo>
                  <a:lnTo>
                    <a:pt x="21593" y="37357"/>
                  </a:lnTo>
                  <a:lnTo>
                    <a:pt x="19686" y="36552"/>
                  </a:lnTo>
                  <a:lnTo>
                    <a:pt x="17536" y="36498"/>
                  </a:lnTo>
                  <a:lnTo>
                    <a:pt x="15489" y="37252"/>
                  </a:lnTo>
                  <a:lnTo>
                    <a:pt x="12016" y="38188"/>
                  </a:lnTo>
                  <a:lnTo>
                    <a:pt x="8879" y="38493"/>
                  </a:lnTo>
                  <a:lnTo>
                    <a:pt x="6357" y="39013"/>
                  </a:lnTo>
                  <a:lnTo>
                    <a:pt x="4262" y="39625"/>
                  </a:lnTo>
                  <a:lnTo>
                    <a:pt x="2377" y="39294"/>
                  </a:lnTo>
                  <a:lnTo>
                    <a:pt x="742" y="38742"/>
                  </a:lnTo>
                  <a:lnTo>
                    <a:pt x="384" y="34102"/>
                  </a:lnTo>
                  <a:lnTo>
                    <a:pt x="0" y="29062"/>
                  </a:lnTo>
                  <a:lnTo>
                    <a:pt x="40" y="25115"/>
                  </a:lnTo>
                  <a:lnTo>
                    <a:pt x="619" y="22943"/>
                  </a:lnTo>
                  <a:lnTo>
                    <a:pt x="1127" y="22097"/>
                  </a:lnTo>
                  <a:lnTo>
                    <a:pt x="4089" y="19092"/>
                  </a:lnTo>
                  <a:lnTo>
                    <a:pt x="5113" y="17870"/>
                  </a:lnTo>
                  <a:lnTo>
                    <a:pt x="8501" y="12896"/>
                  </a:lnTo>
                  <a:lnTo>
                    <a:pt x="11403" y="8630"/>
                  </a:lnTo>
                  <a:lnTo>
                    <a:pt x="13573" y="5439"/>
                  </a:lnTo>
                  <a:lnTo>
                    <a:pt x="14238" y="4811"/>
                  </a:lnTo>
                  <a:lnTo>
                    <a:pt x="15154" y="4206"/>
                  </a:lnTo>
                  <a:lnTo>
                    <a:pt x="15804" y="4379"/>
                  </a:lnTo>
                  <a:lnTo>
                    <a:pt x="20021" y="7456"/>
                  </a:lnTo>
                  <a:lnTo>
                    <a:pt x="20764" y="7372"/>
                  </a:lnTo>
                  <a:lnTo>
                    <a:pt x="22174" y="6417"/>
                  </a:lnTo>
                  <a:lnTo>
                    <a:pt x="23452" y="3128"/>
                  </a:lnTo>
                  <a:lnTo>
                    <a:pt x="24351" y="1927"/>
                  </a:lnTo>
                  <a:lnTo>
                    <a:pt x="24735" y="1961"/>
                  </a:lnTo>
                  <a:lnTo>
                    <a:pt x="27441" y="1040"/>
                  </a:lnTo>
                  <a:lnTo>
                    <a:pt x="29896" y="0"/>
                  </a:lnTo>
                  <a:lnTo>
                    <a:pt x="30209" y="1082"/>
                  </a:lnTo>
                  <a:lnTo>
                    <a:pt x="33919" y="5496"/>
                  </a:lnTo>
                  <a:lnTo>
                    <a:pt x="35133" y="7670"/>
                  </a:lnTo>
                  <a:lnTo>
                    <a:pt x="36377" y="11644"/>
                  </a:lnTo>
                  <a:lnTo>
                    <a:pt x="35724" y="13858"/>
                  </a:lnTo>
                  <a:lnTo>
                    <a:pt x="34761" y="15299"/>
                  </a:lnTo>
                  <a:lnTo>
                    <a:pt x="33332" y="16588"/>
                  </a:lnTo>
                  <a:lnTo>
                    <a:pt x="28378" y="19737"/>
                  </a:lnTo>
                  <a:lnTo>
                    <a:pt x="22872" y="21747"/>
                  </a:lnTo>
                  <a:lnTo>
                    <a:pt x="19356" y="25765"/>
                  </a:lnTo>
                  <a:lnTo>
                    <a:pt x="16741" y="25494"/>
                  </a:lnTo>
                  <a:lnTo>
                    <a:pt x="17139" y="27015"/>
                  </a:lnTo>
                  <a:lnTo>
                    <a:pt x="18113" y="27184"/>
                  </a:lnTo>
                  <a:lnTo>
                    <a:pt x="19637" y="26897"/>
                  </a:lnTo>
                  <a:lnTo>
                    <a:pt x="22667" y="25729"/>
                  </a:lnTo>
                  <a:lnTo>
                    <a:pt x="25359" y="25170"/>
                  </a:lnTo>
                  <a:lnTo>
                    <a:pt x="28262" y="25129"/>
                  </a:lnTo>
                  <a:lnTo>
                    <a:pt x="30892" y="25632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75" name="ee4p_DZ_1_37365">
              <a:extLst>
                <a:ext uri="{FF2B5EF4-FFF2-40B4-BE49-F238E27FC236}">
                  <a16:creationId xmlns:a16="http://schemas.microsoft.com/office/drawing/2014/main" id="{80209E61-FCAC-8B86-43B4-EA4621E35BA0}"/>
                </a:ext>
              </a:extLst>
            </p:cNvPr>
            <p:cNvSpPr>
              <a:spLocks noChangeAspect="1"/>
            </p:cNvSpPr>
            <p:nvPr>
              <p:custDataLst>
                <p:tags r:id="rId329"/>
              </p:custDataLst>
            </p:nvPr>
          </p:nvSpPr>
          <p:spPr>
            <a:xfrm>
              <a:off x="6273570" y="3568869"/>
              <a:ext cx="573472" cy="560762"/>
            </a:xfrm>
            <a:custGeom>
              <a:avLst/>
              <a:gdLst/>
              <a:ahLst/>
              <a:cxnLst/>
              <a:rect l="0" t="0" r="0" b="0"/>
              <a:pathLst>
                <a:path w="456643" h="434686">
                  <a:moveTo>
                    <a:pt x="381653" y="3947"/>
                  </a:moveTo>
                  <a:lnTo>
                    <a:pt x="382119" y="5302"/>
                  </a:lnTo>
                  <a:lnTo>
                    <a:pt x="382199" y="6571"/>
                  </a:lnTo>
                  <a:lnTo>
                    <a:pt x="380109" y="7750"/>
                  </a:lnTo>
                  <a:lnTo>
                    <a:pt x="378727" y="8429"/>
                  </a:lnTo>
                  <a:lnTo>
                    <a:pt x="377077" y="11682"/>
                  </a:lnTo>
                  <a:lnTo>
                    <a:pt x="374007" y="13894"/>
                  </a:lnTo>
                  <a:lnTo>
                    <a:pt x="373495" y="14561"/>
                  </a:lnTo>
                  <a:lnTo>
                    <a:pt x="373521" y="15164"/>
                  </a:lnTo>
                  <a:lnTo>
                    <a:pt x="375598" y="16165"/>
                  </a:lnTo>
                  <a:lnTo>
                    <a:pt x="376289" y="17113"/>
                  </a:lnTo>
                  <a:lnTo>
                    <a:pt x="376615" y="18383"/>
                  </a:lnTo>
                  <a:lnTo>
                    <a:pt x="375687" y="22915"/>
                  </a:lnTo>
                  <a:lnTo>
                    <a:pt x="375101" y="26395"/>
                  </a:lnTo>
                  <a:lnTo>
                    <a:pt x="374337" y="30946"/>
                  </a:lnTo>
                  <a:lnTo>
                    <a:pt x="374367" y="32679"/>
                  </a:lnTo>
                  <a:lnTo>
                    <a:pt x="375160" y="34757"/>
                  </a:lnTo>
                  <a:lnTo>
                    <a:pt x="375937" y="36377"/>
                  </a:lnTo>
                  <a:lnTo>
                    <a:pt x="376179" y="38207"/>
                  </a:lnTo>
                  <a:lnTo>
                    <a:pt x="375900" y="42709"/>
                  </a:lnTo>
                  <a:lnTo>
                    <a:pt x="376861" y="45308"/>
                  </a:lnTo>
                  <a:lnTo>
                    <a:pt x="377621" y="47710"/>
                  </a:lnTo>
                  <a:lnTo>
                    <a:pt x="375805" y="50700"/>
                  </a:lnTo>
                  <a:lnTo>
                    <a:pt x="375026" y="53333"/>
                  </a:lnTo>
                  <a:lnTo>
                    <a:pt x="374536" y="57100"/>
                  </a:lnTo>
                  <a:lnTo>
                    <a:pt x="374335" y="59472"/>
                  </a:lnTo>
                  <a:lnTo>
                    <a:pt x="373167" y="61666"/>
                  </a:lnTo>
                  <a:lnTo>
                    <a:pt x="371633" y="63723"/>
                  </a:lnTo>
                  <a:lnTo>
                    <a:pt x="369912" y="65001"/>
                  </a:lnTo>
                  <a:lnTo>
                    <a:pt x="367785" y="66099"/>
                  </a:lnTo>
                  <a:lnTo>
                    <a:pt x="365328" y="67556"/>
                  </a:lnTo>
                  <a:lnTo>
                    <a:pt x="363344" y="71438"/>
                  </a:lnTo>
                  <a:lnTo>
                    <a:pt x="359053" y="74662"/>
                  </a:lnTo>
                  <a:lnTo>
                    <a:pt x="358154" y="75769"/>
                  </a:lnTo>
                  <a:lnTo>
                    <a:pt x="357751" y="78355"/>
                  </a:lnTo>
                  <a:lnTo>
                    <a:pt x="357852" y="81934"/>
                  </a:lnTo>
                  <a:lnTo>
                    <a:pt x="358608" y="84777"/>
                  </a:lnTo>
                  <a:lnTo>
                    <a:pt x="360668" y="88975"/>
                  </a:lnTo>
                  <a:lnTo>
                    <a:pt x="362473" y="93589"/>
                  </a:lnTo>
                  <a:lnTo>
                    <a:pt x="362963" y="95910"/>
                  </a:lnTo>
                  <a:lnTo>
                    <a:pt x="363656" y="96785"/>
                  </a:lnTo>
                  <a:lnTo>
                    <a:pt x="366190" y="98293"/>
                  </a:lnTo>
                  <a:lnTo>
                    <a:pt x="370575" y="100345"/>
                  </a:lnTo>
                  <a:lnTo>
                    <a:pt x="371392" y="101179"/>
                  </a:lnTo>
                  <a:lnTo>
                    <a:pt x="373568" y="104353"/>
                  </a:lnTo>
                  <a:lnTo>
                    <a:pt x="375630" y="110034"/>
                  </a:lnTo>
                  <a:lnTo>
                    <a:pt x="376276" y="113794"/>
                  </a:lnTo>
                  <a:lnTo>
                    <a:pt x="380295" y="116777"/>
                  </a:lnTo>
                  <a:lnTo>
                    <a:pt x="384004" y="119527"/>
                  </a:lnTo>
                  <a:lnTo>
                    <a:pt x="387567" y="121943"/>
                  </a:lnTo>
                  <a:lnTo>
                    <a:pt x="391435" y="124563"/>
                  </a:lnTo>
                  <a:lnTo>
                    <a:pt x="391990" y="125372"/>
                  </a:lnTo>
                  <a:lnTo>
                    <a:pt x="393279" y="130917"/>
                  </a:lnTo>
                  <a:lnTo>
                    <a:pt x="394560" y="136420"/>
                  </a:lnTo>
                  <a:lnTo>
                    <a:pt x="395970" y="142472"/>
                  </a:lnTo>
                  <a:lnTo>
                    <a:pt x="397382" y="148531"/>
                  </a:lnTo>
                  <a:lnTo>
                    <a:pt x="399049" y="155653"/>
                  </a:lnTo>
                  <a:lnTo>
                    <a:pt x="399995" y="159693"/>
                  </a:lnTo>
                  <a:lnTo>
                    <a:pt x="401144" y="164585"/>
                  </a:lnTo>
                  <a:lnTo>
                    <a:pt x="402487" y="170310"/>
                  </a:lnTo>
                  <a:lnTo>
                    <a:pt x="400325" y="171524"/>
                  </a:lnTo>
                  <a:lnTo>
                    <a:pt x="397876" y="173076"/>
                  </a:lnTo>
                  <a:lnTo>
                    <a:pt x="399662" y="176020"/>
                  </a:lnTo>
                  <a:lnTo>
                    <a:pt x="403094" y="180802"/>
                  </a:lnTo>
                  <a:lnTo>
                    <a:pt x="405171" y="184657"/>
                  </a:lnTo>
                  <a:lnTo>
                    <a:pt x="405890" y="186333"/>
                  </a:lnTo>
                  <a:lnTo>
                    <a:pt x="407510" y="191111"/>
                  </a:lnTo>
                  <a:lnTo>
                    <a:pt x="408822" y="195737"/>
                  </a:lnTo>
                  <a:lnTo>
                    <a:pt x="409163" y="197234"/>
                  </a:lnTo>
                  <a:lnTo>
                    <a:pt x="409647" y="200791"/>
                  </a:lnTo>
                  <a:lnTo>
                    <a:pt x="409051" y="210563"/>
                  </a:lnTo>
                  <a:lnTo>
                    <a:pt x="409993" y="222947"/>
                  </a:lnTo>
                  <a:lnTo>
                    <a:pt x="411271" y="229106"/>
                  </a:lnTo>
                  <a:lnTo>
                    <a:pt x="409265" y="234661"/>
                  </a:lnTo>
                  <a:lnTo>
                    <a:pt x="407546" y="239956"/>
                  </a:lnTo>
                  <a:lnTo>
                    <a:pt x="407656" y="242613"/>
                  </a:lnTo>
                  <a:lnTo>
                    <a:pt x="408604" y="246767"/>
                  </a:lnTo>
                  <a:lnTo>
                    <a:pt x="409526" y="249834"/>
                  </a:lnTo>
                  <a:lnTo>
                    <a:pt x="410794" y="251447"/>
                  </a:lnTo>
                  <a:lnTo>
                    <a:pt x="410545" y="256603"/>
                  </a:lnTo>
                  <a:lnTo>
                    <a:pt x="410019" y="258475"/>
                  </a:lnTo>
                  <a:lnTo>
                    <a:pt x="406162" y="261172"/>
                  </a:lnTo>
                  <a:lnTo>
                    <a:pt x="401882" y="263648"/>
                  </a:lnTo>
                  <a:lnTo>
                    <a:pt x="400699" y="265739"/>
                  </a:lnTo>
                  <a:lnTo>
                    <a:pt x="400355" y="268070"/>
                  </a:lnTo>
                  <a:lnTo>
                    <a:pt x="400928" y="269961"/>
                  </a:lnTo>
                  <a:lnTo>
                    <a:pt x="403869" y="274148"/>
                  </a:lnTo>
                  <a:lnTo>
                    <a:pt x="408287" y="280428"/>
                  </a:lnTo>
                  <a:lnTo>
                    <a:pt x="413143" y="287321"/>
                  </a:lnTo>
                  <a:lnTo>
                    <a:pt x="413549" y="289054"/>
                  </a:lnTo>
                  <a:lnTo>
                    <a:pt x="413750" y="293941"/>
                  </a:lnTo>
                  <a:lnTo>
                    <a:pt x="415771" y="300075"/>
                  </a:lnTo>
                  <a:lnTo>
                    <a:pt x="417963" y="302754"/>
                  </a:lnTo>
                  <a:lnTo>
                    <a:pt x="418786" y="304756"/>
                  </a:lnTo>
                  <a:lnTo>
                    <a:pt x="420332" y="306183"/>
                  </a:lnTo>
                  <a:lnTo>
                    <a:pt x="421882" y="307231"/>
                  </a:lnTo>
                  <a:lnTo>
                    <a:pt x="422835" y="307356"/>
                  </a:lnTo>
                  <a:lnTo>
                    <a:pt x="428300" y="305687"/>
                  </a:lnTo>
                  <a:lnTo>
                    <a:pt x="437633" y="308441"/>
                  </a:lnTo>
                  <a:lnTo>
                    <a:pt x="446465" y="311248"/>
                  </a:lnTo>
                  <a:lnTo>
                    <a:pt x="447113" y="311800"/>
                  </a:lnTo>
                  <a:lnTo>
                    <a:pt x="449043" y="315342"/>
                  </a:lnTo>
                  <a:lnTo>
                    <a:pt x="452200" y="321129"/>
                  </a:lnTo>
                  <a:lnTo>
                    <a:pt x="454545" y="325754"/>
                  </a:lnTo>
                  <a:lnTo>
                    <a:pt x="456642" y="329890"/>
                  </a:lnTo>
                  <a:lnTo>
                    <a:pt x="445191" y="337016"/>
                  </a:lnTo>
                  <a:lnTo>
                    <a:pt x="433742" y="344133"/>
                  </a:lnTo>
                  <a:lnTo>
                    <a:pt x="422290" y="351239"/>
                  </a:lnTo>
                  <a:lnTo>
                    <a:pt x="410839" y="358335"/>
                  </a:lnTo>
                  <a:lnTo>
                    <a:pt x="399390" y="365422"/>
                  </a:lnTo>
                  <a:lnTo>
                    <a:pt x="387941" y="372499"/>
                  </a:lnTo>
                  <a:lnTo>
                    <a:pt x="376490" y="379566"/>
                  </a:lnTo>
                  <a:lnTo>
                    <a:pt x="365038" y="386624"/>
                  </a:lnTo>
                  <a:lnTo>
                    <a:pt x="357444" y="391301"/>
                  </a:lnTo>
                  <a:lnTo>
                    <a:pt x="352616" y="395423"/>
                  </a:lnTo>
                  <a:lnTo>
                    <a:pt x="346556" y="400587"/>
                  </a:lnTo>
                  <a:lnTo>
                    <a:pt x="340836" y="405712"/>
                  </a:lnTo>
                  <a:lnTo>
                    <a:pt x="336334" y="409742"/>
                  </a:lnTo>
                  <a:lnTo>
                    <a:pt x="330503" y="414959"/>
                  </a:lnTo>
                  <a:lnTo>
                    <a:pt x="327569" y="417582"/>
                  </a:lnTo>
                  <a:lnTo>
                    <a:pt x="321067" y="423389"/>
                  </a:lnTo>
                  <a:lnTo>
                    <a:pt x="319115" y="424421"/>
                  </a:lnTo>
                  <a:lnTo>
                    <a:pt x="310499" y="426135"/>
                  </a:lnTo>
                  <a:lnTo>
                    <a:pt x="302598" y="427705"/>
                  </a:lnTo>
                  <a:lnTo>
                    <a:pt x="295299" y="429157"/>
                  </a:lnTo>
                  <a:lnTo>
                    <a:pt x="290311" y="430149"/>
                  </a:lnTo>
                  <a:lnTo>
                    <a:pt x="285489" y="431106"/>
                  </a:lnTo>
                  <a:lnTo>
                    <a:pt x="278469" y="432459"/>
                  </a:lnTo>
                  <a:lnTo>
                    <a:pt x="273457" y="433425"/>
                  </a:lnTo>
                  <a:lnTo>
                    <a:pt x="268046" y="434467"/>
                  </a:lnTo>
                  <a:lnTo>
                    <a:pt x="267208" y="434644"/>
                  </a:lnTo>
                  <a:lnTo>
                    <a:pt x="266225" y="434685"/>
                  </a:lnTo>
                  <a:lnTo>
                    <a:pt x="265495" y="434645"/>
                  </a:lnTo>
                  <a:lnTo>
                    <a:pt x="264003" y="434074"/>
                  </a:lnTo>
                  <a:lnTo>
                    <a:pt x="262196" y="432708"/>
                  </a:lnTo>
                  <a:lnTo>
                    <a:pt x="260991" y="432014"/>
                  </a:lnTo>
                  <a:lnTo>
                    <a:pt x="260688" y="430938"/>
                  </a:lnTo>
                  <a:lnTo>
                    <a:pt x="261392" y="429515"/>
                  </a:lnTo>
                  <a:lnTo>
                    <a:pt x="262263" y="428231"/>
                  </a:lnTo>
                  <a:lnTo>
                    <a:pt x="262597" y="427224"/>
                  </a:lnTo>
                  <a:lnTo>
                    <a:pt x="263200" y="426459"/>
                  </a:lnTo>
                  <a:lnTo>
                    <a:pt x="263969" y="425835"/>
                  </a:lnTo>
                  <a:lnTo>
                    <a:pt x="264001" y="424955"/>
                  </a:lnTo>
                  <a:lnTo>
                    <a:pt x="263364" y="423517"/>
                  </a:lnTo>
                  <a:lnTo>
                    <a:pt x="262802" y="421524"/>
                  </a:lnTo>
                  <a:lnTo>
                    <a:pt x="262826" y="417897"/>
                  </a:lnTo>
                  <a:lnTo>
                    <a:pt x="262841" y="416692"/>
                  </a:lnTo>
                  <a:lnTo>
                    <a:pt x="262848" y="416256"/>
                  </a:lnTo>
                  <a:lnTo>
                    <a:pt x="261224" y="414865"/>
                  </a:lnTo>
                  <a:lnTo>
                    <a:pt x="258177" y="413339"/>
                  </a:lnTo>
                  <a:lnTo>
                    <a:pt x="255374" y="412433"/>
                  </a:lnTo>
                  <a:lnTo>
                    <a:pt x="254096" y="412124"/>
                  </a:lnTo>
                  <a:lnTo>
                    <a:pt x="250997" y="411583"/>
                  </a:lnTo>
                  <a:lnTo>
                    <a:pt x="246717" y="410615"/>
                  </a:lnTo>
                  <a:lnTo>
                    <a:pt x="245212" y="409951"/>
                  </a:lnTo>
                  <a:lnTo>
                    <a:pt x="242442" y="406581"/>
                  </a:lnTo>
                  <a:lnTo>
                    <a:pt x="241081" y="405718"/>
                  </a:lnTo>
                  <a:lnTo>
                    <a:pt x="234657" y="405144"/>
                  </a:lnTo>
                  <a:lnTo>
                    <a:pt x="232526" y="404587"/>
                  </a:lnTo>
                  <a:lnTo>
                    <a:pt x="230775" y="403788"/>
                  </a:lnTo>
                  <a:lnTo>
                    <a:pt x="229276" y="402710"/>
                  </a:lnTo>
                  <a:lnTo>
                    <a:pt x="228434" y="400856"/>
                  </a:lnTo>
                  <a:lnTo>
                    <a:pt x="228183" y="399346"/>
                  </a:lnTo>
                  <a:lnTo>
                    <a:pt x="227622" y="398627"/>
                  </a:lnTo>
                  <a:lnTo>
                    <a:pt x="220537" y="394982"/>
                  </a:lnTo>
                  <a:lnTo>
                    <a:pt x="218738" y="393743"/>
                  </a:lnTo>
                  <a:lnTo>
                    <a:pt x="217784" y="392586"/>
                  </a:lnTo>
                  <a:lnTo>
                    <a:pt x="217747" y="390880"/>
                  </a:lnTo>
                  <a:lnTo>
                    <a:pt x="217939" y="388786"/>
                  </a:lnTo>
                  <a:lnTo>
                    <a:pt x="217639" y="386926"/>
                  </a:lnTo>
                  <a:lnTo>
                    <a:pt x="217337" y="386008"/>
                  </a:lnTo>
                  <a:lnTo>
                    <a:pt x="214106" y="383801"/>
                  </a:lnTo>
                  <a:lnTo>
                    <a:pt x="206864" y="378849"/>
                  </a:lnTo>
                  <a:lnTo>
                    <a:pt x="199623" y="373892"/>
                  </a:lnTo>
                  <a:lnTo>
                    <a:pt x="192383" y="368930"/>
                  </a:lnTo>
                  <a:lnTo>
                    <a:pt x="185140" y="363965"/>
                  </a:lnTo>
                  <a:lnTo>
                    <a:pt x="177900" y="358995"/>
                  </a:lnTo>
                  <a:lnTo>
                    <a:pt x="170658" y="354018"/>
                  </a:lnTo>
                  <a:lnTo>
                    <a:pt x="163417" y="349040"/>
                  </a:lnTo>
                  <a:lnTo>
                    <a:pt x="156176" y="344055"/>
                  </a:lnTo>
                  <a:lnTo>
                    <a:pt x="148935" y="339063"/>
                  </a:lnTo>
                  <a:lnTo>
                    <a:pt x="141693" y="334070"/>
                  </a:lnTo>
                  <a:lnTo>
                    <a:pt x="134451" y="329068"/>
                  </a:lnTo>
                  <a:lnTo>
                    <a:pt x="127210" y="324063"/>
                  </a:lnTo>
                  <a:lnTo>
                    <a:pt x="119969" y="319053"/>
                  </a:lnTo>
                  <a:lnTo>
                    <a:pt x="112727" y="314037"/>
                  </a:lnTo>
                  <a:lnTo>
                    <a:pt x="105487" y="309017"/>
                  </a:lnTo>
                  <a:lnTo>
                    <a:pt x="98244" y="303992"/>
                  </a:lnTo>
                  <a:lnTo>
                    <a:pt x="92127" y="299740"/>
                  </a:lnTo>
                  <a:lnTo>
                    <a:pt x="85369" y="295245"/>
                  </a:lnTo>
                  <a:lnTo>
                    <a:pt x="80352" y="291953"/>
                  </a:lnTo>
                  <a:lnTo>
                    <a:pt x="75365" y="288677"/>
                  </a:lnTo>
                  <a:lnTo>
                    <a:pt x="70016" y="285159"/>
                  </a:lnTo>
                  <a:lnTo>
                    <a:pt x="66532" y="282974"/>
                  </a:lnTo>
                  <a:lnTo>
                    <a:pt x="62374" y="280364"/>
                  </a:lnTo>
                  <a:lnTo>
                    <a:pt x="58216" y="277752"/>
                  </a:lnTo>
                  <a:lnTo>
                    <a:pt x="54057" y="275139"/>
                  </a:lnTo>
                  <a:lnTo>
                    <a:pt x="49899" y="272525"/>
                  </a:lnTo>
                  <a:lnTo>
                    <a:pt x="45741" y="269907"/>
                  </a:lnTo>
                  <a:lnTo>
                    <a:pt x="41582" y="267290"/>
                  </a:lnTo>
                  <a:lnTo>
                    <a:pt x="37424" y="264671"/>
                  </a:lnTo>
                  <a:lnTo>
                    <a:pt x="33266" y="262050"/>
                  </a:lnTo>
                  <a:lnTo>
                    <a:pt x="29107" y="259428"/>
                  </a:lnTo>
                  <a:lnTo>
                    <a:pt x="24948" y="256804"/>
                  </a:lnTo>
                  <a:lnTo>
                    <a:pt x="20791" y="254178"/>
                  </a:lnTo>
                  <a:lnTo>
                    <a:pt x="16633" y="251551"/>
                  </a:lnTo>
                  <a:lnTo>
                    <a:pt x="12474" y="248922"/>
                  </a:lnTo>
                  <a:lnTo>
                    <a:pt x="8316" y="246292"/>
                  </a:lnTo>
                  <a:lnTo>
                    <a:pt x="4158" y="243660"/>
                  </a:lnTo>
                  <a:lnTo>
                    <a:pt x="0" y="241027"/>
                  </a:lnTo>
                  <a:lnTo>
                    <a:pt x="0" y="236157"/>
                  </a:lnTo>
                  <a:lnTo>
                    <a:pt x="0" y="232192"/>
                  </a:lnTo>
                  <a:lnTo>
                    <a:pt x="0" y="226365"/>
                  </a:lnTo>
                  <a:lnTo>
                    <a:pt x="0" y="221304"/>
                  </a:lnTo>
                  <a:lnTo>
                    <a:pt x="0" y="216235"/>
                  </a:lnTo>
                  <a:lnTo>
                    <a:pt x="0" y="212746"/>
                  </a:lnTo>
                  <a:lnTo>
                    <a:pt x="0" y="209110"/>
                  </a:lnTo>
                  <a:lnTo>
                    <a:pt x="109" y="207462"/>
                  </a:lnTo>
                  <a:lnTo>
                    <a:pt x="518" y="206761"/>
                  </a:lnTo>
                  <a:lnTo>
                    <a:pt x="2764" y="205577"/>
                  </a:lnTo>
                  <a:lnTo>
                    <a:pt x="6281" y="202878"/>
                  </a:lnTo>
                  <a:lnTo>
                    <a:pt x="7581" y="201676"/>
                  </a:lnTo>
                  <a:lnTo>
                    <a:pt x="9246" y="200465"/>
                  </a:lnTo>
                  <a:lnTo>
                    <a:pt x="15134" y="196810"/>
                  </a:lnTo>
                  <a:lnTo>
                    <a:pt x="16352" y="195790"/>
                  </a:lnTo>
                  <a:lnTo>
                    <a:pt x="22072" y="191579"/>
                  </a:lnTo>
                  <a:lnTo>
                    <a:pt x="23411" y="190960"/>
                  </a:lnTo>
                  <a:lnTo>
                    <a:pt x="26482" y="190549"/>
                  </a:lnTo>
                  <a:lnTo>
                    <a:pt x="27765" y="189759"/>
                  </a:lnTo>
                  <a:lnTo>
                    <a:pt x="29488" y="188077"/>
                  </a:lnTo>
                  <a:lnTo>
                    <a:pt x="32028" y="186142"/>
                  </a:lnTo>
                  <a:lnTo>
                    <a:pt x="33680" y="185231"/>
                  </a:lnTo>
                  <a:lnTo>
                    <a:pt x="34073" y="185063"/>
                  </a:lnTo>
                  <a:lnTo>
                    <a:pt x="35123" y="184928"/>
                  </a:lnTo>
                  <a:lnTo>
                    <a:pt x="40416" y="185497"/>
                  </a:lnTo>
                  <a:lnTo>
                    <a:pt x="42637" y="185926"/>
                  </a:lnTo>
                  <a:lnTo>
                    <a:pt x="45286" y="186289"/>
                  </a:lnTo>
                  <a:lnTo>
                    <a:pt x="46117" y="186044"/>
                  </a:lnTo>
                  <a:lnTo>
                    <a:pt x="46826" y="185443"/>
                  </a:lnTo>
                  <a:lnTo>
                    <a:pt x="47824" y="184090"/>
                  </a:lnTo>
                  <a:lnTo>
                    <a:pt x="48042" y="182492"/>
                  </a:lnTo>
                  <a:lnTo>
                    <a:pt x="48103" y="181096"/>
                  </a:lnTo>
                  <a:lnTo>
                    <a:pt x="48259" y="180483"/>
                  </a:lnTo>
                  <a:lnTo>
                    <a:pt x="48726" y="180212"/>
                  </a:lnTo>
                  <a:lnTo>
                    <a:pt x="49878" y="180315"/>
                  </a:lnTo>
                  <a:lnTo>
                    <a:pt x="51427" y="180503"/>
                  </a:lnTo>
                  <a:lnTo>
                    <a:pt x="54585" y="180446"/>
                  </a:lnTo>
                  <a:lnTo>
                    <a:pt x="55653" y="180246"/>
                  </a:lnTo>
                  <a:lnTo>
                    <a:pt x="59239" y="179949"/>
                  </a:lnTo>
                  <a:lnTo>
                    <a:pt x="64310" y="179035"/>
                  </a:lnTo>
                  <a:lnTo>
                    <a:pt x="68327" y="177851"/>
                  </a:lnTo>
                  <a:lnTo>
                    <a:pt x="71523" y="176908"/>
                  </a:lnTo>
                  <a:lnTo>
                    <a:pt x="74953" y="174446"/>
                  </a:lnTo>
                  <a:lnTo>
                    <a:pt x="77463" y="171842"/>
                  </a:lnTo>
                  <a:lnTo>
                    <a:pt x="80078" y="167957"/>
                  </a:lnTo>
                  <a:lnTo>
                    <a:pt x="82148" y="164585"/>
                  </a:lnTo>
                  <a:lnTo>
                    <a:pt x="86344" y="162473"/>
                  </a:lnTo>
                  <a:lnTo>
                    <a:pt x="89857" y="161200"/>
                  </a:lnTo>
                  <a:lnTo>
                    <a:pt x="91858" y="160696"/>
                  </a:lnTo>
                  <a:lnTo>
                    <a:pt x="96420" y="158913"/>
                  </a:lnTo>
                  <a:lnTo>
                    <a:pt x="100269" y="156221"/>
                  </a:lnTo>
                  <a:lnTo>
                    <a:pt x="103882" y="153691"/>
                  </a:lnTo>
                  <a:lnTo>
                    <a:pt x="106653" y="153357"/>
                  </a:lnTo>
                  <a:lnTo>
                    <a:pt x="110148" y="152937"/>
                  </a:lnTo>
                  <a:lnTo>
                    <a:pt x="110926" y="152462"/>
                  </a:lnTo>
                  <a:lnTo>
                    <a:pt x="111809" y="151563"/>
                  </a:lnTo>
                  <a:lnTo>
                    <a:pt x="111861" y="149983"/>
                  </a:lnTo>
                  <a:lnTo>
                    <a:pt x="110800" y="148871"/>
                  </a:lnTo>
                  <a:lnTo>
                    <a:pt x="109525" y="148286"/>
                  </a:lnTo>
                  <a:lnTo>
                    <a:pt x="108622" y="147641"/>
                  </a:lnTo>
                  <a:lnTo>
                    <a:pt x="107720" y="147525"/>
                  </a:lnTo>
                  <a:lnTo>
                    <a:pt x="107243" y="146764"/>
                  </a:lnTo>
                  <a:lnTo>
                    <a:pt x="107508" y="145357"/>
                  </a:lnTo>
                  <a:lnTo>
                    <a:pt x="107646" y="144055"/>
                  </a:lnTo>
                  <a:lnTo>
                    <a:pt x="108221" y="142761"/>
                  </a:lnTo>
                  <a:lnTo>
                    <a:pt x="108060" y="140923"/>
                  </a:lnTo>
                  <a:lnTo>
                    <a:pt x="107160" y="139084"/>
                  </a:lnTo>
                  <a:lnTo>
                    <a:pt x="106885" y="137763"/>
                  </a:lnTo>
                  <a:lnTo>
                    <a:pt x="106949" y="136456"/>
                  </a:lnTo>
                  <a:lnTo>
                    <a:pt x="107389" y="135427"/>
                  </a:lnTo>
                  <a:lnTo>
                    <a:pt x="108685" y="134751"/>
                  </a:lnTo>
                  <a:lnTo>
                    <a:pt x="110187" y="134493"/>
                  </a:lnTo>
                  <a:lnTo>
                    <a:pt x="112302" y="134819"/>
                  </a:lnTo>
                  <a:lnTo>
                    <a:pt x="115946" y="134384"/>
                  </a:lnTo>
                  <a:lnTo>
                    <a:pt x="125286" y="131208"/>
                  </a:lnTo>
                  <a:lnTo>
                    <a:pt x="125931" y="130230"/>
                  </a:lnTo>
                  <a:lnTo>
                    <a:pt x="126530" y="128030"/>
                  </a:lnTo>
                  <a:lnTo>
                    <a:pt x="127200" y="126104"/>
                  </a:lnTo>
                  <a:lnTo>
                    <a:pt x="128165" y="125458"/>
                  </a:lnTo>
                  <a:lnTo>
                    <a:pt x="128691" y="125315"/>
                  </a:lnTo>
                  <a:lnTo>
                    <a:pt x="131804" y="124798"/>
                  </a:lnTo>
                  <a:lnTo>
                    <a:pt x="136213" y="124064"/>
                  </a:lnTo>
                  <a:lnTo>
                    <a:pt x="137868" y="123958"/>
                  </a:lnTo>
                  <a:lnTo>
                    <a:pt x="142669" y="124170"/>
                  </a:lnTo>
                  <a:lnTo>
                    <a:pt x="146173" y="124325"/>
                  </a:lnTo>
                  <a:lnTo>
                    <a:pt x="151829" y="124577"/>
                  </a:lnTo>
                  <a:lnTo>
                    <a:pt x="155850" y="124705"/>
                  </a:lnTo>
                  <a:lnTo>
                    <a:pt x="159346" y="124820"/>
                  </a:lnTo>
                  <a:lnTo>
                    <a:pt x="163807" y="124964"/>
                  </a:lnTo>
                  <a:lnTo>
                    <a:pt x="164899" y="124517"/>
                  </a:lnTo>
                  <a:lnTo>
                    <a:pt x="164899" y="123110"/>
                  </a:lnTo>
                  <a:lnTo>
                    <a:pt x="164099" y="120493"/>
                  </a:lnTo>
                  <a:lnTo>
                    <a:pt x="164581" y="118860"/>
                  </a:lnTo>
                  <a:lnTo>
                    <a:pt x="166299" y="117346"/>
                  </a:lnTo>
                  <a:lnTo>
                    <a:pt x="168446" y="115646"/>
                  </a:lnTo>
                  <a:lnTo>
                    <a:pt x="167440" y="113580"/>
                  </a:lnTo>
                  <a:lnTo>
                    <a:pt x="165733" y="112196"/>
                  </a:lnTo>
                  <a:lnTo>
                    <a:pt x="163341" y="110542"/>
                  </a:lnTo>
                  <a:lnTo>
                    <a:pt x="162108" y="109860"/>
                  </a:lnTo>
                  <a:lnTo>
                    <a:pt x="159944" y="107853"/>
                  </a:lnTo>
                  <a:lnTo>
                    <a:pt x="158617" y="105564"/>
                  </a:lnTo>
                  <a:lnTo>
                    <a:pt x="157717" y="100728"/>
                  </a:lnTo>
                  <a:lnTo>
                    <a:pt x="156073" y="98015"/>
                  </a:lnTo>
                  <a:lnTo>
                    <a:pt x="154877" y="94669"/>
                  </a:lnTo>
                  <a:lnTo>
                    <a:pt x="155937" y="88526"/>
                  </a:lnTo>
                  <a:lnTo>
                    <a:pt x="154351" y="84804"/>
                  </a:lnTo>
                  <a:lnTo>
                    <a:pt x="154104" y="83191"/>
                  </a:lnTo>
                  <a:lnTo>
                    <a:pt x="154091" y="81295"/>
                  </a:lnTo>
                  <a:lnTo>
                    <a:pt x="154578" y="78013"/>
                  </a:lnTo>
                  <a:lnTo>
                    <a:pt x="154263" y="73391"/>
                  </a:lnTo>
                  <a:lnTo>
                    <a:pt x="152387" y="68612"/>
                  </a:lnTo>
                  <a:lnTo>
                    <a:pt x="153270" y="66983"/>
                  </a:lnTo>
                  <a:lnTo>
                    <a:pt x="153680" y="66140"/>
                  </a:lnTo>
                  <a:lnTo>
                    <a:pt x="153544" y="65415"/>
                  </a:lnTo>
                  <a:lnTo>
                    <a:pt x="151838" y="63893"/>
                  </a:lnTo>
                  <a:lnTo>
                    <a:pt x="151107" y="62639"/>
                  </a:lnTo>
                  <a:lnTo>
                    <a:pt x="151488" y="61458"/>
                  </a:lnTo>
                  <a:lnTo>
                    <a:pt x="152378" y="59744"/>
                  </a:lnTo>
                  <a:lnTo>
                    <a:pt x="152302" y="59027"/>
                  </a:lnTo>
                  <a:lnTo>
                    <a:pt x="149532" y="56935"/>
                  </a:lnTo>
                  <a:lnTo>
                    <a:pt x="144869" y="53550"/>
                  </a:lnTo>
                  <a:lnTo>
                    <a:pt x="143564" y="52074"/>
                  </a:lnTo>
                  <a:lnTo>
                    <a:pt x="142926" y="50209"/>
                  </a:lnTo>
                  <a:lnTo>
                    <a:pt x="147390" y="50688"/>
                  </a:lnTo>
                  <a:lnTo>
                    <a:pt x="149700" y="50459"/>
                  </a:lnTo>
                  <a:lnTo>
                    <a:pt x="154999" y="48231"/>
                  </a:lnTo>
                  <a:lnTo>
                    <a:pt x="159198" y="45221"/>
                  </a:lnTo>
                  <a:lnTo>
                    <a:pt x="162469" y="43685"/>
                  </a:lnTo>
                  <a:lnTo>
                    <a:pt x="165354" y="40381"/>
                  </a:lnTo>
                  <a:lnTo>
                    <a:pt x="167956" y="38292"/>
                  </a:lnTo>
                  <a:lnTo>
                    <a:pt x="171720" y="36038"/>
                  </a:lnTo>
                  <a:lnTo>
                    <a:pt x="182585" y="31174"/>
                  </a:lnTo>
                  <a:lnTo>
                    <a:pt x="184250" y="31132"/>
                  </a:lnTo>
                  <a:lnTo>
                    <a:pt x="187824" y="32243"/>
                  </a:lnTo>
                  <a:lnTo>
                    <a:pt x="190940" y="31898"/>
                  </a:lnTo>
                  <a:lnTo>
                    <a:pt x="193067" y="30190"/>
                  </a:lnTo>
                  <a:lnTo>
                    <a:pt x="195360" y="26088"/>
                  </a:lnTo>
                  <a:lnTo>
                    <a:pt x="198911" y="23582"/>
                  </a:lnTo>
                  <a:lnTo>
                    <a:pt x="203393" y="21069"/>
                  </a:lnTo>
                  <a:lnTo>
                    <a:pt x="209494" y="18673"/>
                  </a:lnTo>
                  <a:lnTo>
                    <a:pt x="213493" y="16460"/>
                  </a:lnTo>
                  <a:lnTo>
                    <a:pt x="219807" y="14545"/>
                  </a:lnTo>
                  <a:lnTo>
                    <a:pt x="235668" y="13328"/>
                  </a:lnTo>
                  <a:lnTo>
                    <a:pt x="243813" y="12245"/>
                  </a:lnTo>
                  <a:lnTo>
                    <a:pt x="249352" y="12489"/>
                  </a:lnTo>
                  <a:lnTo>
                    <a:pt x="254949" y="8984"/>
                  </a:lnTo>
                  <a:lnTo>
                    <a:pt x="257743" y="7827"/>
                  </a:lnTo>
                  <a:lnTo>
                    <a:pt x="269853" y="7556"/>
                  </a:lnTo>
                  <a:lnTo>
                    <a:pt x="275569" y="4989"/>
                  </a:lnTo>
                  <a:lnTo>
                    <a:pt x="297219" y="4985"/>
                  </a:lnTo>
                  <a:lnTo>
                    <a:pt x="299866" y="5847"/>
                  </a:lnTo>
                  <a:lnTo>
                    <a:pt x="302466" y="7228"/>
                  </a:lnTo>
                  <a:lnTo>
                    <a:pt x="306893" y="10559"/>
                  </a:lnTo>
                  <a:lnTo>
                    <a:pt x="309100" y="11283"/>
                  </a:lnTo>
                  <a:lnTo>
                    <a:pt x="311956" y="10594"/>
                  </a:lnTo>
                  <a:lnTo>
                    <a:pt x="318610" y="7442"/>
                  </a:lnTo>
                  <a:lnTo>
                    <a:pt x="326111" y="5800"/>
                  </a:lnTo>
                  <a:lnTo>
                    <a:pt x="330188" y="3918"/>
                  </a:lnTo>
                  <a:lnTo>
                    <a:pt x="331929" y="1179"/>
                  </a:lnTo>
                  <a:lnTo>
                    <a:pt x="335438" y="169"/>
                  </a:lnTo>
                  <a:lnTo>
                    <a:pt x="337413" y="2273"/>
                  </a:lnTo>
                  <a:lnTo>
                    <a:pt x="345190" y="4398"/>
                  </a:lnTo>
                  <a:lnTo>
                    <a:pt x="349964" y="3790"/>
                  </a:lnTo>
                  <a:lnTo>
                    <a:pt x="352065" y="3151"/>
                  </a:lnTo>
                  <a:lnTo>
                    <a:pt x="351309" y="0"/>
                  </a:lnTo>
                  <a:lnTo>
                    <a:pt x="356353" y="842"/>
                  </a:lnTo>
                  <a:lnTo>
                    <a:pt x="360229" y="2357"/>
                  </a:lnTo>
                  <a:lnTo>
                    <a:pt x="364296" y="5394"/>
                  </a:lnTo>
                  <a:lnTo>
                    <a:pt x="366924" y="6001"/>
                  </a:lnTo>
                  <a:lnTo>
                    <a:pt x="371716" y="4629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76" name="ee4p_EG_1_37365">
              <a:extLst>
                <a:ext uri="{FF2B5EF4-FFF2-40B4-BE49-F238E27FC236}">
                  <a16:creationId xmlns:a16="http://schemas.microsoft.com/office/drawing/2014/main" id="{3B0C5E6D-1E0C-F9DC-B1EB-59EF65355ADD}"/>
                </a:ext>
              </a:extLst>
            </p:cNvPr>
            <p:cNvSpPr>
              <a:spLocks noChangeAspect="1"/>
            </p:cNvSpPr>
            <p:nvPr>
              <p:custDataLst>
                <p:tags r:id="rId330"/>
              </p:custDataLst>
            </p:nvPr>
          </p:nvSpPr>
          <p:spPr>
            <a:xfrm>
              <a:off x="7200692" y="3743794"/>
              <a:ext cx="337903" cy="296381"/>
            </a:xfrm>
            <a:custGeom>
              <a:avLst/>
              <a:gdLst/>
              <a:ahLst/>
              <a:cxnLst/>
              <a:rect l="0" t="0" r="0" b="0"/>
              <a:pathLst>
                <a:path w="269065" h="229746">
                  <a:moveTo>
                    <a:pt x="209953" y="8122"/>
                  </a:moveTo>
                  <a:lnTo>
                    <a:pt x="210271" y="8862"/>
                  </a:lnTo>
                  <a:lnTo>
                    <a:pt x="210996" y="10911"/>
                  </a:lnTo>
                  <a:lnTo>
                    <a:pt x="212836" y="16109"/>
                  </a:lnTo>
                  <a:lnTo>
                    <a:pt x="214438" y="20180"/>
                  </a:lnTo>
                  <a:lnTo>
                    <a:pt x="216405" y="25809"/>
                  </a:lnTo>
                  <a:lnTo>
                    <a:pt x="217021" y="27969"/>
                  </a:lnTo>
                  <a:lnTo>
                    <a:pt x="217284" y="29458"/>
                  </a:lnTo>
                  <a:lnTo>
                    <a:pt x="220135" y="35632"/>
                  </a:lnTo>
                  <a:lnTo>
                    <a:pt x="221825" y="40704"/>
                  </a:lnTo>
                  <a:lnTo>
                    <a:pt x="223065" y="44815"/>
                  </a:lnTo>
                  <a:lnTo>
                    <a:pt x="224805" y="50810"/>
                  </a:lnTo>
                  <a:lnTo>
                    <a:pt x="225568" y="52899"/>
                  </a:lnTo>
                  <a:lnTo>
                    <a:pt x="224334" y="53990"/>
                  </a:lnTo>
                  <a:lnTo>
                    <a:pt x="221856" y="57884"/>
                  </a:lnTo>
                  <a:lnTo>
                    <a:pt x="219219" y="70220"/>
                  </a:lnTo>
                  <a:lnTo>
                    <a:pt x="215444" y="79831"/>
                  </a:lnTo>
                  <a:lnTo>
                    <a:pt x="215017" y="85838"/>
                  </a:lnTo>
                  <a:lnTo>
                    <a:pt x="214410" y="88003"/>
                  </a:lnTo>
                  <a:lnTo>
                    <a:pt x="212616" y="91041"/>
                  </a:lnTo>
                  <a:lnTo>
                    <a:pt x="210439" y="94020"/>
                  </a:lnTo>
                  <a:lnTo>
                    <a:pt x="206569" y="92478"/>
                  </a:lnTo>
                  <a:lnTo>
                    <a:pt x="200270" y="87246"/>
                  </a:lnTo>
                  <a:lnTo>
                    <a:pt x="196597" y="82270"/>
                  </a:lnTo>
                  <a:lnTo>
                    <a:pt x="192661" y="79052"/>
                  </a:lnTo>
                  <a:lnTo>
                    <a:pt x="188938" y="74786"/>
                  </a:lnTo>
                  <a:lnTo>
                    <a:pt x="187925" y="71714"/>
                  </a:lnTo>
                  <a:lnTo>
                    <a:pt x="187964" y="69742"/>
                  </a:lnTo>
                  <a:lnTo>
                    <a:pt x="186338" y="64923"/>
                  </a:lnTo>
                  <a:lnTo>
                    <a:pt x="185135" y="62642"/>
                  </a:lnTo>
                  <a:lnTo>
                    <a:pt x="180598" y="57508"/>
                  </a:lnTo>
                  <a:lnTo>
                    <a:pt x="179296" y="54765"/>
                  </a:lnTo>
                  <a:lnTo>
                    <a:pt x="178301" y="53559"/>
                  </a:lnTo>
                  <a:lnTo>
                    <a:pt x="177301" y="51827"/>
                  </a:lnTo>
                  <a:lnTo>
                    <a:pt x="175658" y="45145"/>
                  </a:lnTo>
                  <a:lnTo>
                    <a:pt x="173857" y="40899"/>
                  </a:lnTo>
                  <a:lnTo>
                    <a:pt x="171807" y="42074"/>
                  </a:lnTo>
                  <a:lnTo>
                    <a:pt x="172170" y="43861"/>
                  </a:lnTo>
                  <a:lnTo>
                    <a:pt x="170382" y="46332"/>
                  </a:lnTo>
                  <a:lnTo>
                    <a:pt x="169303" y="49199"/>
                  </a:lnTo>
                  <a:lnTo>
                    <a:pt x="170132" y="51537"/>
                  </a:lnTo>
                  <a:lnTo>
                    <a:pt x="173842" y="55095"/>
                  </a:lnTo>
                  <a:lnTo>
                    <a:pt x="174593" y="56648"/>
                  </a:lnTo>
                  <a:lnTo>
                    <a:pt x="175457" y="60015"/>
                  </a:lnTo>
                  <a:lnTo>
                    <a:pt x="175319" y="64587"/>
                  </a:lnTo>
                  <a:lnTo>
                    <a:pt x="175917" y="66138"/>
                  </a:lnTo>
                  <a:lnTo>
                    <a:pt x="178694" y="69530"/>
                  </a:lnTo>
                  <a:lnTo>
                    <a:pt x="179690" y="71542"/>
                  </a:lnTo>
                  <a:lnTo>
                    <a:pt x="180288" y="73276"/>
                  </a:lnTo>
                  <a:lnTo>
                    <a:pt x="181210" y="74846"/>
                  </a:lnTo>
                  <a:lnTo>
                    <a:pt x="183965" y="77795"/>
                  </a:lnTo>
                  <a:lnTo>
                    <a:pt x="187930" y="83401"/>
                  </a:lnTo>
                  <a:lnTo>
                    <a:pt x="191691" y="87176"/>
                  </a:lnTo>
                  <a:lnTo>
                    <a:pt x="194403" y="88997"/>
                  </a:lnTo>
                  <a:lnTo>
                    <a:pt x="195556" y="90822"/>
                  </a:lnTo>
                  <a:lnTo>
                    <a:pt x="195816" y="95526"/>
                  </a:lnTo>
                  <a:lnTo>
                    <a:pt x="195617" y="97766"/>
                  </a:lnTo>
                  <a:lnTo>
                    <a:pt x="197997" y="101983"/>
                  </a:lnTo>
                  <a:lnTo>
                    <a:pt x="198877" y="104115"/>
                  </a:lnTo>
                  <a:lnTo>
                    <a:pt x="201186" y="105853"/>
                  </a:lnTo>
                  <a:lnTo>
                    <a:pt x="202240" y="107835"/>
                  </a:lnTo>
                  <a:lnTo>
                    <a:pt x="203207" y="111059"/>
                  </a:lnTo>
                  <a:lnTo>
                    <a:pt x="204667" y="120574"/>
                  </a:lnTo>
                  <a:lnTo>
                    <a:pt x="206667" y="122907"/>
                  </a:lnTo>
                  <a:lnTo>
                    <a:pt x="212853" y="135376"/>
                  </a:lnTo>
                  <a:lnTo>
                    <a:pt x="218068" y="143252"/>
                  </a:lnTo>
                  <a:lnTo>
                    <a:pt x="220592" y="149120"/>
                  </a:lnTo>
                  <a:lnTo>
                    <a:pt x="224438" y="156254"/>
                  </a:lnTo>
                  <a:lnTo>
                    <a:pt x="231977" y="171879"/>
                  </a:lnTo>
                  <a:lnTo>
                    <a:pt x="236464" y="176692"/>
                  </a:lnTo>
                  <a:lnTo>
                    <a:pt x="238250" y="179392"/>
                  </a:lnTo>
                  <a:lnTo>
                    <a:pt x="241497" y="181471"/>
                  </a:lnTo>
                  <a:lnTo>
                    <a:pt x="245017" y="184473"/>
                  </a:lnTo>
                  <a:lnTo>
                    <a:pt x="241659" y="184180"/>
                  </a:lnTo>
                  <a:lnTo>
                    <a:pt x="240815" y="184361"/>
                  </a:lnTo>
                  <a:lnTo>
                    <a:pt x="239642" y="184875"/>
                  </a:lnTo>
                  <a:lnTo>
                    <a:pt x="239077" y="186695"/>
                  </a:lnTo>
                  <a:lnTo>
                    <a:pt x="238837" y="188182"/>
                  </a:lnTo>
                  <a:lnTo>
                    <a:pt x="239243" y="196053"/>
                  </a:lnTo>
                  <a:lnTo>
                    <a:pt x="240163" y="200054"/>
                  </a:lnTo>
                  <a:lnTo>
                    <a:pt x="243115" y="207629"/>
                  </a:lnTo>
                  <a:lnTo>
                    <a:pt x="245315" y="209899"/>
                  </a:lnTo>
                  <a:lnTo>
                    <a:pt x="246386" y="211367"/>
                  </a:lnTo>
                  <a:lnTo>
                    <a:pt x="247881" y="212439"/>
                  </a:lnTo>
                  <a:lnTo>
                    <a:pt x="254875" y="215018"/>
                  </a:lnTo>
                  <a:lnTo>
                    <a:pt x="258963" y="220474"/>
                  </a:lnTo>
                  <a:lnTo>
                    <a:pt x="268142" y="227360"/>
                  </a:lnTo>
                  <a:lnTo>
                    <a:pt x="269043" y="229260"/>
                  </a:lnTo>
                  <a:lnTo>
                    <a:pt x="269064" y="229702"/>
                  </a:lnTo>
                  <a:lnTo>
                    <a:pt x="261809" y="229704"/>
                  </a:lnTo>
                  <a:lnTo>
                    <a:pt x="254555" y="229705"/>
                  </a:lnTo>
                  <a:lnTo>
                    <a:pt x="247297" y="229706"/>
                  </a:lnTo>
                  <a:lnTo>
                    <a:pt x="240044" y="229708"/>
                  </a:lnTo>
                  <a:lnTo>
                    <a:pt x="232789" y="229709"/>
                  </a:lnTo>
                  <a:lnTo>
                    <a:pt x="225533" y="229710"/>
                  </a:lnTo>
                  <a:lnTo>
                    <a:pt x="218277" y="229711"/>
                  </a:lnTo>
                  <a:lnTo>
                    <a:pt x="211022" y="229712"/>
                  </a:lnTo>
                  <a:lnTo>
                    <a:pt x="203769" y="229713"/>
                  </a:lnTo>
                  <a:lnTo>
                    <a:pt x="196513" y="229714"/>
                  </a:lnTo>
                  <a:lnTo>
                    <a:pt x="189258" y="229715"/>
                  </a:lnTo>
                  <a:lnTo>
                    <a:pt x="182002" y="229716"/>
                  </a:lnTo>
                  <a:lnTo>
                    <a:pt x="174749" y="229719"/>
                  </a:lnTo>
                  <a:lnTo>
                    <a:pt x="167491" y="229719"/>
                  </a:lnTo>
                  <a:lnTo>
                    <a:pt x="160238" y="229721"/>
                  </a:lnTo>
                  <a:lnTo>
                    <a:pt x="152982" y="229722"/>
                  </a:lnTo>
                  <a:lnTo>
                    <a:pt x="148843" y="229722"/>
                  </a:lnTo>
                  <a:lnTo>
                    <a:pt x="149549" y="227662"/>
                  </a:lnTo>
                  <a:lnTo>
                    <a:pt x="149985" y="226196"/>
                  </a:lnTo>
                  <a:lnTo>
                    <a:pt x="149501" y="225181"/>
                  </a:lnTo>
                  <a:lnTo>
                    <a:pt x="148087" y="224928"/>
                  </a:lnTo>
                  <a:lnTo>
                    <a:pt x="147162" y="225248"/>
                  </a:lnTo>
                  <a:lnTo>
                    <a:pt x="144999" y="229573"/>
                  </a:lnTo>
                  <a:lnTo>
                    <a:pt x="143861" y="229745"/>
                  </a:lnTo>
                  <a:lnTo>
                    <a:pt x="141285" y="229745"/>
                  </a:lnTo>
                  <a:lnTo>
                    <a:pt x="132837" y="229744"/>
                  </a:lnTo>
                  <a:lnTo>
                    <a:pt x="124390" y="229742"/>
                  </a:lnTo>
                  <a:lnTo>
                    <a:pt x="115944" y="229739"/>
                  </a:lnTo>
                  <a:lnTo>
                    <a:pt x="107495" y="229739"/>
                  </a:lnTo>
                  <a:lnTo>
                    <a:pt x="99047" y="229737"/>
                  </a:lnTo>
                  <a:lnTo>
                    <a:pt x="90602" y="229736"/>
                  </a:lnTo>
                  <a:lnTo>
                    <a:pt x="82154" y="229735"/>
                  </a:lnTo>
                  <a:lnTo>
                    <a:pt x="73705" y="229733"/>
                  </a:lnTo>
                  <a:lnTo>
                    <a:pt x="65259" y="229731"/>
                  </a:lnTo>
                  <a:lnTo>
                    <a:pt x="56812" y="229730"/>
                  </a:lnTo>
                  <a:lnTo>
                    <a:pt x="48364" y="229729"/>
                  </a:lnTo>
                  <a:lnTo>
                    <a:pt x="39917" y="229728"/>
                  </a:lnTo>
                  <a:lnTo>
                    <a:pt x="31469" y="229726"/>
                  </a:lnTo>
                  <a:lnTo>
                    <a:pt x="23022" y="229725"/>
                  </a:lnTo>
                  <a:lnTo>
                    <a:pt x="14574" y="229723"/>
                  </a:lnTo>
                  <a:lnTo>
                    <a:pt x="6126" y="229722"/>
                  </a:lnTo>
                  <a:lnTo>
                    <a:pt x="6126" y="224510"/>
                  </a:lnTo>
                  <a:lnTo>
                    <a:pt x="6126" y="219293"/>
                  </a:lnTo>
                  <a:lnTo>
                    <a:pt x="6126" y="214071"/>
                  </a:lnTo>
                  <a:lnTo>
                    <a:pt x="6126" y="208843"/>
                  </a:lnTo>
                  <a:lnTo>
                    <a:pt x="6126" y="203610"/>
                  </a:lnTo>
                  <a:lnTo>
                    <a:pt x="6126" y="198371"/>
                  </a:lnTo>
                  <a:lnTo>
                    <a:pt x="6126" y="193126"/>
                  </a:lnTo>
                  <a:lnTo>
                    <a:pt x="6126" y="187876"/>
                  </a:lnTo>
                  <a:lnTo>
                    <a:pt x="6126" y="182620"/>
                  </a:lnTo>
                  <a:lnTo>
                    <a:pt x="6126" y="177359"/>
                  </a:lnTo>
                  <a:lnTo>
                    <a:pt x="6126" y="172092"/>
                  </a:lnTo>
                  <a:lnTo>
                    <a:pt x="6126" y="166819"/>
                  </a:lnTo>
                  <a:lnTo>
                    <a:pt x="6126" y="161540"/>
                  </a:lnTo>
                  <a:lnTo>
                    <a:pt x="6126" y="156255"/>
                  </a:lnTo>
                  <a:lnTo>
                    <a:pt x="6126" y="150964"/>
                  </a:lnTo>
                  <a:lnTo>
                    <a:pt x="6126" y="145667"/>
                  </a:lnTo>
                  <a:lnTo>
                    <a:pt x="6126" y="140364"/>
                  </a:lnTo>
                  <a:lnTo>
                    <a:pt x="6126" y="135054"/>
                  </a:lnTo>
                  <a:lnTo>
                    <a:pt x="6126" y="129738"/>
                  </a:lnTo>
                  <a:lnTo>
                    <a:pt x="6126" y="124416"/>
                  </a:lnTo>
                  <a:lnTo>
                    <a:pt x="6126" y="119087"/>
                  </a:lnTo>
                  <a:lnTo>
                    <a:pt x="6126" y="113752"/>
                  </a:lnTo>
                  <a:lnTo>
                    <a:pt x="6126" y="108408"/>
                  </a:lnTo>
                  <a:lnTo>
                    <a:pt x="6126" y="103060"/>
                  </a:lnTo>
                  <a:lnTo>
                    <a:pt x="6126" y="97704"/>
                  </a:lnTo>
                  <a:lnTo>
                    <a:pt x="6126" y="92342"/>
                  </a:lnTo>
                  <a:lnTo>
                    <a:pt x="6126" y="86973"/>
                  </a:lnTo>
                  <a:lnTo>
                    <a:pt x="6126" y="81597"/>
                  </a:lnTo>
                  <a:lnTo>
                    <a:pt x="6126" y="76214"/>
                  </a:lnTo>
                  <a:lnTo>
                    <a:pt x="6126" y="70824"/>
                  </a:lnTo>
                  <a:lnTo>
                    <a:pt x="6126" y="65426"/>
                  </a:lnTo>
                  <a:lnTo>
                    <a:pt x="6126" y="60022"/>
                  </a:lnTo>
                  <a:lnTo>
                    <a:pt x="5937" y="59011"/>
                  </a:lnTo>
                  <a:lnTo>
                    <a:pt x="4708" y="55338"/>
                  </a:lnTo>
                  <a:lnTo>
                    <a:pt x="3598" y="50657"/>
                  </a:lnTo>
                  <a:lnTo>
                    <a:pt x="2380" y="44896"/>
                  </a:lnTo>
                  <a:lnTo>
                    <a:pt x="2222" y="43027"/>
                  </a:lnTo>
                  <a:lnTo>
                    <a:pt x="186" y="37084"/>
                  </a:lnTo>
                  <a:lnTo>
                    <a:pt x="0" y="35399"/>
                  </a:lnTo>
                  <a:lnTo>
                    <a:pt x="514" y="34199"/>
                  </a:lnTo>
                  <a:lnTo>
                    <a:pt x="3855" y="29179"/>
                  </a:lnTo>
                  <a:lnTo>
                    <a:pt x="4861" y="26739"/>
                  </a:lnTo>
                  <a:lnTo>
                    <a:pt x="5710" y="23811"/>
                  </a:lnTo>
                  <a:lnTo>
                    <a:pt x="5986" y="21427"/>
                  </a:lnTo>
                  <a:lnTo>
                    <a:pt x="5004" y="17779"/>
                  </a:lnTo>
                  <a:lnTo>
                    <a:pt x="3855" y="14496"/>
                  </a:lnTo>
                  <a:lnTo>
                    <a:pt x="3466" y="11134"/>
                  </a:lnTo>
                  <a:lnTo>
                    <a:pt x="3306" y="7824"/>
                  </a:lnTo>
                  <a:lnTo>
                    <a:pt x="5015" y="5561"/>
                  </a:lnTo>
                  <a:lnTo>
                    <a:pt x="7064" y="3447"/>
                  </a:lnTo>
                  <a:lnTo>
                    <a:pt x="7828" y="2147"/>
                  </a:lnTo>
                  <a:lnTo>
                    <a:pt x="9039" y="687"/>
                  </a:lnTo>
                  <a:lnTo>
                    <a:pt x="9890" y="0"/>
                  </a:lnTo>
                  <a:lnTo>
                    <a:pt x="11549" y="2963"/>
                  </a:lnTo>
                  <a:lnTo>
                    <a:pt x="15015" y="3476"/>
                  </a:lnTo>
                  <a:lnTo>
                    <a:pt x="26315" y="833"/>
                  </a:lnTo>
                  <a:lnTo>
                    <a:pt x="38787" y="3493"/>
                  </a:lnTo>
                  <a:lnTo>
                    <a:pt x="45671" y="4513"/>
                  </a:lnTo>
                  <a:lnTo>
                    <a:pt x="56272" y="6772"/>
                  </a:lnTo>
                  <a:lnTo>
                    <a:pt x="62728" y="10803"/>
                  </a:lnTo>
                  <a:lnTo>
                    <a:pt x="64499" y="11315"/>
                  </a:lnTo>
                  <a:lnTo>
                    <a:pt x="69140" y="11235"/>
                  </a:lnTo>
                  <a:lnTo>
                    <a:pt x="72182" y="13614"/>
                  </a:lnTo>
                  <a:lnTo>
                    <a:pt x="84283" y="14759"/>
                  </a:lnTo>
                  <a:lnTo>
                    <a:pt x="90742" y="17384"/>
                  </a:lnTo>
                  <a:lnTo>
                    <a:pt x="94409" y="19476"/>
                  </a:lnTo>
                  <a:lnTo>
                    <a:pt x="96605" y="20120"/>
                  </a:lnTo>
                  <a:lnTo>
                    <a:pt x="98548" y="20016"/>
                  </a:lnTo>
                  <a:lnTo>
                    <a:pt x="101178" y="19228"/>
                  </a:lnTo>
                  <a:lnTo>
                    <a:pt x="104487" y="17755"/>
                  </a:lnTo>
                  <a:lnTo>
                    <a:pt x="108093" y="15707"/>
                  </a:lnTo>
                  <a:lnTo>
                    <a:pt x="115571" y="10443"/>
                  </a:lnTo>
                  <a:lnTo>
                    <a:pt x="118216" y="9517"/>
                  </a:lnTo>
                  <a:lnTo>
                    <a:pt x="119944" y="9755"/>
                  </a:lnTo>
                  <a:lnTo>
                    <a:pt x="122047" y="9689"/>
                  </a:lnTo>
                  <a:lnTo>
                    <a:pt x="122923" y="8262"/>
                  </a:lnTo>
                  <a:lnTo>
                    <a:pt x="124029" y="7281"/>
                  </a:lnTo>
                  <a:lnTo>
                    <a:pt x="124724" y="6165"/>
                  </a:lnTo>
                  <a:lnTo>
                    <a:pt x="125860" y="4825"/>
                  </a:lnTo>
                  <a:lnTo>
                    <a:pt x="129749" y="4449"/>
                  </a:lnTo>
                  <a:lnTo>
                    <a:pt x="137545" y="2155"/>
                  </a:lnTo>
                  <a:lnTo>
                    <a:pt x="136674" y="3243"/>
                  </a:lnTo>
                  <a:lnTo>
                    <a:pt x="129572" y="5817"/>
                  </a:lnTo>
                  <a:lnTo>
                    <a:pt x="132613" y="6138"/>
                  </a:lnTo>
                  <a:lnTo>
                    <a:pt x="135729" y="5258"/>
                  </a:lnTo>
                  <a:lnTo>
                    <a:pt x="139274" y="4698"/>
                  </a:lnTo>
                  <a:lnTo>
                    <a:pt x="139918" y="3604"/>
                  </a:lnTo>
                  <a:lnTo>
                    <a:pt x="140384" y="1551"/>
                  </a:lnTo>
                  <a:lnTo>
                    <a:pt x="141069" y="1263"/>
                  </a:lnTo>
                  <a:lnTo>
                    <a:pt x="143524" y="1648"/>
                  </a:lnTo>
                  <a:lnTo>
                    <a:pt x="150831" y="4809"/>
                  </a:lnTo>
                  <a:lnTo>
                    <a:pt x="152647" y="4870"/>
                  </a:lnTo>
                  <a:lnTo>
                    <a:pt x="157793" y="3146"/>
                  </a:lnTo>
                  <a:lnTo>
                    <a:pt x="158892" y="2777"/>
                  </a:lnTo>
                  <a:lnTo>
                    <a:pt x="160557" y="3738"/>
                  </a:lnTo>
                  <a:lnTo>
                    <a:pt x="164356" y="7671"/>
                  </a:lnTo>
                  <a:lnTo>
                    <a:pt x="163030" y="7588"/>
                  </a:lnTo>
                  <a:lnTo>
                    <a:pt x="158964" y="4217"/>
                  </a:lnTo>
                  <a:lnTo>
                    <a:pt x="158603" y="5897"/>
                  </a:lnTo>
                  <a:lnTo>
                    <a:pt x="156286" y="8855"/>
                  </a:lnTo>
                  <a:lnTo>
                    <a:pt x="159182" y="10133"/>
                  </a:lnTo>
                  <a:lnTo>
                    <a:pt x="161536" y="10613"/>
                  </a:lnTo>
                  <a:lnTo>
                    <a:pt x="162799" y="12260"/>
                  </a:lnTo>
                  <a:lnTo>
                    <a:pt x="163597" y="13727"/>
                  </a:lnTo>
                  <a:lnTo>
                    <a:pt x="165915" y="13087"/>
                  </a:lnTo>
                  <a:lnTo>
                    <a:pt x="167579" y="11092"/>
                  </a:lnTo>
                  <a:lnTo>
                    <a:pt x="166716" y="9978"/>
                  </a:lnTo>
                  <a:lnTo>
                    <a:pt x="166128" y="8826"/>
                  </a:lnTo>
                  <a:lnTo>
                    <a:pt x="166889" y="8797"/>
                  </a:lnTo>
                  <a:lnTo>
                    <a:pt x="168501" y="9746"/>
                  </a:lnTo>
                  <a:lnTo>
                    <a:pt x="173129" y="13533"/>
                  </a:lnTo>
                  <a:lnTo>
                    <a:pt x="174688" y="14313"/>
                  </a:lnTo>
                  <a:lnTo>
                    <a:pt x="176485" y="14185"/>
                  </a:lnTo>
                  <a:lnTo>
                    <a:pt x="180242" y="13120"/>
                  </a:lnTo>
                  <a:lnTo>
                    <a:pt x="181283" y="13285"/>
                  </a:lnTo>
                  <a:lnTo>
                    <a:pt x="186332" y="11890"/>
                  </a:lnTo>
                  <a:lnTo>
                    <a:pt x="186926" y="12912"/>
                  </a:lnTo>
                  <a:lnTo>
                    <a:pt x="187757" y="13929"/>
                  </a:lnTo>
                  <a:lnTo>
                    <a:pt x="191816" y="12797"/>
                  </a:lnTo>
                  <a:lnTo>
                    <a:pt x="198197" y="12810"/>
                  </a:lnTo>
                  <a:lnTo>
                    <a:pt x="203417" y="11578"/>
                  </a:lnTo>
                  <a:lnTo>
                    <a:pt x="209469" y="8578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77" name="ee4p_ER_1_37365">
              <a:extLst>
                <a:ext uri="{FF2B5EF4-FFF2-40B4-BE49-F238E27FC236}">
                  <a16:creationId xmlns:a16="http://schemas.microsoft.com/office/drawing/2014/main" id="{209006F5-041E-6492-7509-CBEEDEDD506A}"/>
                </a:ext>
              </a:extLst>
            </p:cNvPr>
            <p:cNvSpPr>
              <a:spLocks noChangeAspect="1"/>
            </p:cNvSpPr>
            <p:nvPr>
              <p:custDataLst>
                <p:tags r:id="rId331"/>
              </p:custDataLst>
            </p:nvPr>
          </p:nvSpPr>
          <p:spPr>
            <a:xfrm>
              <a:off x="7526247" y="4158589"/>
              <a:ext cx="185776" cy="164282"/>
            </a:xfrm>
            <a:custGeom>
              <a:avLst/>
              <a:gdLst>
                <a:gd name="connsiteX0" fmla="*/ 209077 w 396235"/>
                <a:gd name="connsiteY0" fmla="*/ 128906 h 341104"/>
                <a:gd name="connsiteX1" fmla="*/ 214161 w 396235"/>
                <a:gd name="connsiteY1" fmla="*/ 129750 h 341104"/>
                <a:gd name="connsiteX2" fmla="*/ 217369 w 396235"/>
                <a:gd name="connsiteY2" fmla="*/ 131997 h 341104"/>
                <a:gd name="connsiteX3" fmla="*/ 219483 w 396235"/>
                <a:gd name="connsiteY3" fmla="*/ 134619 h 341104"/>
                <a:gd name="connsiteX4" fmla="*/ 220002 w 396235"/>
                <a:gd name="connsiteY4" fmla="*/ 140635 h 341104"/>
                <a:gd name="connsiteX5" fmla="*/ 222448 w 396235"/>
                <a:gd name="connsiteY5" fmla="*/ 143866 h 341104"/>
                <a:gd name="connsiteX6" fmla="*/ 224160 w 396235"/>
                <a:gd name="connsiteY6" fmla="*/ 143547 h 341104"/>
                <a:gd name="connsiteX7" fmla="*/ 225501 w 396235"/>
                <a:gd name="connsiteY7" fmla="*/ 142473 h 341104"/>
                <a:gd name="connsiteX8" fmla="*/ 226450 w 396235"/>
                <a:gd name="connsiteY8" fmla="*/ 140191 h 341104"/>
                <a:gd name="connsiteX9" fmla="*/ 235817 w 396235"/>
                <a:gd name="connsiteY9" fmla="*/ 144699 h 341104"/>
                <a:gd name="connsiteX10" fmla="*/ 235273 w 396235"/>
                <a:gd name="connsiteY10" fmla="*/ 147691 h 341104"/>
                <a:gd name="connsiteX11" fmla="*/ 229685 w 396235"/>
                <a:gd name="connsiteY11" fmla="*/ 147843 h 341104"/>
                <a:gd name="connsiteX12" fmla="*/ 223235 w 396235"/>
                <a:gd name="connsiteY12" fmla="*/ 146582 h 341104"/>
                <a:gd name="connsiteX13" fmla="*/ 217273 w 396235"/>
                <a:gd name="connsiteY13" fmla="*/ 147021 h 341104"/>
                <a:gd name="connsiteX14" fmla="*/ 210170 w 396235"/>
                <a:gd name="connsiteY14" fmla="*/ 145714 h 341104"/>
                <a:gd name="connsiteX15" fmla="*/ 208528 w 396235"/>
                <a:gd name="connsiteY15" fmla="*/ 140635 h 341104"/>
                <a:gd name="connsiteX16" fmla="*/ 213057 w 396235"/>
                <a:gd name="connsiteY16" fmla="*/ 143094 h 341104"/>
                <a:gd name="connsiteX17" fmla="*/ 215398 w 396235"/>
                <a:gd name="connsiteY17" fmla="*/ 142473 h 341104"/>
                <a:gd name="connsiteX18" fmla="*/ 215813 w 396235"/>
                <a:gd name="connsiteY18" fmla="*/ 141822 h 341104"/>
                <a:gd name="connsiteX19" fmla="*/ 212604 w 396235"/>
                <a:gd name="connsiteY19" fmla="*/ 138383 h 341104"/>
                <a:gd name="connsiteX20" fmla="*/ 208080 w 396235"/>
                <a:gd name="connsiteY20" fmla="*/ 137700 h 341104"/>
                <a:gd name="connsiteX21" fmla="*/ 208394 w 396235"/>
                <a:gd name="connsiteY21" fmla="*/ 134997 h 341104"/>
                <a:gd name="connsiteX22" fmla="*/ 210419 w 396235"/>
                <a:gd name="connsiteY22" fmla="*/ 133934 h 341104"/>
                <a:gd name="connsiteX23" fmla="*/ 211667 w 396235"/>
                <a:gd name="connsiteY23" fmla="*/ 132616 h 341104"/>
                <a:gd name="connsiteX24" fmla="*/ 214490 w 396235"/>
                <a:gd name="connsiteY24" fmla="*/ 115842 h 341104"/>
                <a:gd name="connsiteX25" fmla="*/ 216167 w 396235"/>
                <a:gd name="connsiteY25" fmla="*/ 117181 h 341104"/>
                <a:gd name="connsiteX26" fmla="*/ 218158 w 396235"/>
                <a:gd name="connsiteY26" fmla="*/ 123055 h 341104"/>
                <a:gd name="connsiteX27" fmla="*/ 212374 w 396235"/>
                <a:gd name="connsiteY27" fmla="*/ 120814 h 341104"/>
                <a:gd name="connsiteX28" fmla="*/ 211407 w 396235"/>
                <a:gd name="connsiteY28" fmla="*/ 119597 h 341104"/>
                <a:gd name="connsiteX29" fmla="*/ 213952 w 396235"/>
                <a:gd name="connsiteY29" fmla="*/ 117270 h 341104"/>
                <a:gd name="connsiteX30" fmla="*/ 129280 w 396235"/>
                <a:gd name="connsiteY30" fmla="*/ 0 h 341104"/>
                <a:gd name="connsiteX31" fmla="*/ 147181 w 396235"/>
                <a:gd name="connsiteY31" fmla="*/ 35303 h 341104"/>
                <a:gd name="connsiteX32" fmla="*/ 154453 w 396235"/>
                <a:gd name="connsiteY32" fmla="*/ 56140 h 341104"/>
                <a:gd name="connsiteX33" fmla="*/ 160855 w 396235"/>
                <a:gd name="connsiteY33" fmla="*/ 77849 h 341104"/>
                <a:gd name="connsiteX34" fmla="*/ 165591 w 396235"/>
                <a:gd name="connsiteY34" fmla="*/ 110420 h 341104"/>
                <a:gd name="connsiteX35" fmla="*/ 170115 w 396235"/>
                <a:gd name="connsiteY35" fmla="*/ 126979 h 341104"/>
                <a:gd name="connsiteX36" fmla="*/ 177419 w 396235"/>
                <a:gd name="connsiteY36" fmla="*/ 135141 h 341104"/>
                <a:gd name="connsiteX37" fmla="*/ 182412 w 396235"/>
                <a:gd name="connsiteY37" fmla="*/ 150585 h 341104"/>
                <a:gd name="connsiteX38" fmla="*/ 186692 w 396235"/>
                <a:gd name="connsiteY38" fmla="*/ 151169 h 341104"/>
                <a:gd name="connsiteX39" fmla="*/ 189797 w 396235"/>
                <a:gd name="connsiteY39" fmla="*/ 155412 h 341104"/>
                <a:gd name="connsiteX40" fmla="*/ 195103 w 396235"/>
                <a:gd name="connsiteY40" fmla="*/ 169889 h 341104"/>
                <a:gd name="connsiteX41" fmla="*/ 198936 w 396235"/>
                <a:gd name="connsiteY41" fmla="*/ 175271 h 341104"/>
                <a:gd name="connsiteX42" fmla="*/ 200945 w 396235"/>
                <a:gd name="connsiteY42" fmla="*/ 170639 h 341104"/>
                <a:gd name="connsiteX43" fmla="*/ 200720 w 396235"/>
                <a:gd name="connsiteY43" fmla="*/ 167972 h 341104"/>
                <a:gd name="connsiteX44" fmla="*/ 199220 w 396235"/>
                <a:gd name="connsiteY44" fmla="*/ 163514 h 341104"/>
                <a:gd name="connsiteX45" fmla="*/ 200591 w 396235"/>
                <a:gd name="connsiteY45" fmla="*/ 157774 h 341104"/>
                <a:gd name="connsiteX46" fmla="*/ 203570 w 396235"/>
                <a:gd name="connsiteY46" fmla="*/ 154332 h 341104"/>
                <a:gd name="connsiteX47" fmla="*/ 210354 w 396235"/>
                <a:gd name="connsiteY47" fmla="*/ 159014 h 341104"/>
                <a:gd name="connsiteX48" fmla="*/ 214067 w 396235"/>
                <a:gd name="connsiteY48" fmla="*/ 162566 h 341104"/>
                <a:gd name="connsiteX49" fmla="*/ 215063 w 396235"/>
                <a:gd name="connsiteY49" fmla="*/ 169683 h 341104"/>
                <a:gd name="connsiteX50" fmla="*/ 216619 w 396235"/>
                <a:gd name="connsiteY50" fmla="*/ 173629 h 341104"/>
                <a:gd name="connsiteX51" fmla="*/ 223726 w 396235"/>
                <a:gd name="connsiteY51" fmla="*/ 181978 h 341104"/>
                <a:gd name="connsiteX52" fmla="*/ 229720 w 396235"/>
                <a:gd name="connsiteY52" fmla="*/ 184404 h 341104"/>
                <a:gd name="connsiteX53" fmla="*/ 237493 w 396235"/>
                <a:gd name="connsiteY53" fmla="*/ 185012 h 341104"/>
                <a:gd name="connsiteX54" fmla="*/ 243994 w 396235"/>
                <a:gd name="connsiteY54" fmla="*/ 186853 h 341104"/>
                <a:gd name="connsiteX55" fmla="*/ 249212 w 396235"/>
                <a:gd name="connsiteY55" fmla="*/ 189914 h 341104"/>
                <a:gd name="connsiteX56" fmla="*/ 258981 w 396235"/>
                <a:gd name="connsiteY56" fmla="*/ 198386 h 341104"/>
                <a:gd name="connsiteX57" fmla="*/ 281317 w 396235"/>
                <a:gd name="connsiteY57" fmla="*/ 205809 h 341104"/>
                <a:gd name="connsiteX58" fmla="*/ 299279 w 396235"/>
                <a:gd name="connsiteY58" fmla="*/ 228563 h 341104"/>
                <a:gd name="connsiteX59" fmla="*/ 309852 w 396235"/>
                <a:gd name="connsiteY59" fmla="*/ 244318 h 341104"/>
                <a:gd name="connsiteX60" fmla="*/ 344614 w 396235"/>
                <a:gd name="connsiteY60" fmla="*/ 268178 h 341104"/>
                <a:gd name="connsiteX61" fmla="*/ 350616 w 396235"/>
                <a:gd name="connsiteY61" fmla="*/ 279608 h 341104"/>
                <a:gd name="connsiteX62" fmla="*/ 353745 w 396235"/>
                <a:gd name="connsiteY62" fmla="*/ 290785 h 341104"/>
                <a:gd name="connsiteX63" fmla="*/ 361063 w 396235"/>
                <a:gd name="connsiteY63" fmla="*/ 290250 h 341104"/>
                <a:gd name="connsiteX64" fmla="*/ 373596 w 396235"/>
                <a:gd name="connsiteY64" fmla="*/ 302472 h 341104"/>
                <a:gd name="connsiteX65" fmla="*/ 377252 w 396235"/>
                <a:gd name="connsiteY65" fmla="*/ 311764 h 341104"/>
                <a:gd name="connsiteX66" fmla="*/ 387519 w 396235"/>
                <a:gd name="connsiteY66" fmla="*/ 315131 h 341104"/>
                <a:gd name="connsiteX67" fmla="*/ 389265 w 396235"/>
                <a:gd name="connsiteY67" fmla="*/ 309642 h 341104"/>
                <a:gd name="connsiteX68" fmla="*/ 394234 w 396235"/>
                <a:gd name="connsiteY68" fmla="*/ 314150 h 341104"/>
                <a:gd name="connsiteX69" fmla="*/ 396235 w 396235"/>
                <a:gd name="connsiteY69" fmla="*/ 321133 h 341104"/>
                <a:gd name="connsiteX70" fmla="*/ 389659 w 396235"/>
                <a:gd name="connsiteY70" fmla="*/ 323919 h 341104"/>
                <a:gd name="connsiteX71" fmla="*/ 382411 w 396235"/>
                <a:gd name="connsiteY71" fmla="*/ 326386 h 341104"/>
                <a:gd name="connsiteX72" fmla="*/ 381382 w 396235"/>
                <a:gd name="connsiteY72" fmla="*/ 326295 h 341104"/>
                <a:gd name="connsiteX73" fmla="*/ 378974 w 396235"/>
                <a:gd name="connsiteY73" fmla="*/ 329512 h 341104"/>
                <a:gd name="connsiteX74" fmla="*/ 375551 w 396235"/>
                <a:gd name="connsiteY74" fmla="*/ 338321 h 341104"/>
                <a:gd name="connsiteX75" fmla="*/ 371774 w 396235"/>
                <a:gd name="connsiteY75" fmla="*/ 340879 h 341104"/>
                <a:gd name="connsiteX76" fmla="*/ 369784 w 396235"/>
                <a:gd name="connsiteY76" fmla="*/ 341104 h 341104"/>
                <a:gd name="connsiteX77" fmla="*/ 358489 w 396235"/>
                <a:gd name="connsiteY77" fmla="*/ 332863 h 341104"/>
                <a:gd name="connsiteX78" fmla="*/ 356747 w 396235"/>
                <a:gd name="connsiteY78" fmla="*/ 332399 h 341104"/>
                <a:gd name="connsiteX79" fmla="*/ 354294 w 396235"/>
                <a:gd name="connsiteY79" fmla="*/ 334020 h 341104"/>
                <a:gd name="connsiteX80" fmla="*/ 352513 w 396235"/>
                <a:gd name="connsiteY80" fmla="*/ 335702 h 341104"/>
                <a:gd name="connsiteX81" fmla="*/ 347268 w 396235"/>
                <a:gd name="connsiteY81" fmla="*/ 329458 h 341104"/>
                <a:gd name="connsiteX82" fmla="*/ 343422 w 396235"/>
                <a:gd name="connsiteY82" fmla="*/ 323940 h 341104"/>
                <a:gd name="connsiteX83" fmla="*/ 338049 w 396235"/>
                <a:gd name="connsiteY83" fmla="*/ 317351 h 341104"/>
                <a:gd name="connsiteX84" fmla="*/ 332855 w 396235"/>
                <a:gd name="connsiteY84" fmla="*/ 314391 h 341104"/>
                <a:gd name="connsiteX85" fmla="*/ 327262 w 396235"/>
                <a:gd name="connsiteY85" fmla="*/ 310676 h 341104"/>
                <a:gd name="connsiteX86" fmla="*/ 321776 w 396235"/>
                <a:gd name="connsiteY86" fmla="*/ 302033 h 341104"/>
                <a:gd name="connsiteX87" fmla="*/ 316178 w 396235"/>
                <a:gd name="connsiteY87" fmla="*/ 292513 h 341104"/>
                <a:gd name="connsiteX88" fmla="*/ 307883 w 396235"/>
                <a:gd name="connsiteY88" fmla="*/ 284724 h 341104"/>
                <a:gd name="connsiteX89" fmla="*/ 292361 w 396235"/>
                <a:gd name="connsiteY89" fmla="*/ 273477 h 341104"/>
                <a:gd name="connsiteX90" fmla="*/ 278113 w 396235"/>
                <a:gd name="connsiteY90" fmla="*/ 259221 h 341104"/>
                <a:gd name="connsiteX91" fmla="*/ 267228 w 396235"/>
                <a:gd name="connsiteY91" fmla="*/ 244315 h 341104"/>
                <a:gd name="connsiteX92" fmla="*/ 260213 w 396235"/>
                <a:gd name="connsiteY92" fmla="*/ 236550 h 341104"/>
                <a:gd name="connsiteX93" fmla="*/ 257218 w 396235"/>
                <a:gd name="connsiteY93" fmla="*/ 234571 h 341104"/>
                <a:gd name="connsiteX94" fmla="*/ 242698 w 396235"/>
                <a:gd name="connsiteY94" fmla="*/ 229693 h 341104"/>
                <a:gd name="connsiteX95" fmla="*/ 232554 w 396235"/>
                <a:gd name="connsiteY95" fmla="*/ 222874 h 341104"/>
                <a:gd name="connsiteX96" fmla="*/ 224757 w 396235"/>
                <a:gd name="connsiteY96" fmla="*/ 217246 h 341104"/>
                <a:gd name="connsiteX97" fmla="*/ 219968 w 396235"/>
                <a:gd name="connsiteY97" fmla="*/ 215741 h 341104"/>
                <a:gd name="connsiteX98" fmla="*/ 215318 w 396235"/>
                <a:gd name="connsiteY98" fmla="*/ 215556 h 341104"/>
                <a:gd name="connsiteX99" fmla="*/ 205426 w 396235"/>
                <a:gd name="connsiteY99" fmla="*/ 216673 h 341104"/>
                <a:gd name="connsiteX100" fmla="*/ 197197 w 396235"/>
                <a:gd name="connsiteY100" fmla="*/ 213145 h 341104"/>
                <a:gd name="connsiteX101" fmla="*/ 193750 w 396235"/>
                <a:gd name="connsiteY101" fmla="*/ 213145 h 341104"/>
                <a:gd name="connsiteX102" fmla="*/ 188238 w 396235"/>
                <a:gd name="connsiteY102" fmla="*/ 212114 h 341104"/>
                <a:gd name="connsiteX103" fmla="*/ 183909 w 396235"/>
                <a:gd name="connsiteY103" fmla="*/ 210866 h 341104"/>
                <a:gd name="connsiteX104" fmla="*/ 178831 w 396235"/>
                <a:gd name="connsiteY104" fmla="*/ 212368 h 341104"/>
                <a:gd name="connsiteX105" fmla="*/ 168408 w 396235"/>
                <a:gd name="connsiteY105" fmla="*/ 214881 h 341104"/>
                <a:gd name="connsiteX106" fmla="*/ 164141 w 396235"/>
                <a:gd name="connsiteY106" fmla="*/ 214332 h 341104"/>
                <a:gd name="connsiteX107" fmla="*/ 161803 w 396235"/>
                <a:gd name="connsiteY107" fmla="*/ 210817 h 341104"/>
                <a:gd name="connsiteX108" fmla="*/ 160434 w 396235"/>
                <a:gd name="connsiteY108" fmla="*/ 208134 h 341104"/>
                <a:gd name="connsiteX109" fmla="*/ 156805 w 396235"/>
                <a:gd name="connsiteY109" fmla="*/ 205332 h 341104"/>
                <a:gd name="connsiteX110" fmla="*/ 153821 w 396235"/>
                <a:gd name="connsiteY110" fmla="*/ 205332 h 341104"/>
                <a:gd name="connsiteX111" fmla="*/ 152155 w 396235"/>
                <a:gd name="connsiteY111" fmla="*/ 207834 h 341104"/>
                <a:gd name="connsiteX112" fmla="*/ 141277 w 396235"/>
                <a:gd name="connsiteY112" fmla="*/ 214152 h 341104"/>
                <a:gd name="connsiteX113" fmla="*/ 123055 w 396235"/>
                <a:gd name="connsiteY113" fmla="*/ 217656 h 341104"/>
                <a:gd name="connsiteX114" fmla="*/ 118735 w 396235"/>
                <a:gd name="connsiteY114" fmla="*/ 217401 h 341104"/>
                <a:gd name="connsiteX115" fmla="*/ 115507 w 396235"/>
                <a:gd name="connsiteY115" fmla="*/ 214873 h 341104"/>
                <a:gd name="connsiteX116" fmla="*/ 106301 w 396235"/>
                <a:gd name="connsiteY116" fmla="*/ 204033 h 341104"/>
                <a:gd name="connsiteX117" fmla="*/ 103668 w 396235"/>
                <a:gd name="connsiteY117" fmla="*/ 202270 h 341104"/>
                <a:gd name="connsiteX118" fmla="*/ 101592 w 396235"/>
                <a:gd name="connsiteY118" fmla="*/ 202107 h 341104"/>
                <a:gd name="connsiteX119" fmla="*/ 97325 w 396235"/>
                <a:gd name="connsiteY119" fmla="*/ 200824 h 341104"/>
                <a:gd name="connsiteX120" fmla="*/ 93331 w 396235"/>
                <a:gd name="connsiteY120" fmla="*/ 198743 h 341104"/>
                <a:gd name="connsiteX121" fmla="*/ 89833 w 396235"/>
                <a:gd name="connsiteY121" fmla="*/ 194302 h 341104"/>
                <a:gd name="connsiteX122" fmla="*/ 86322 w 396235"/>
                <a:gd name="connsiteY122" fmla="*/ 191773 h 341104"/>
                <a:gd name="connsiteX123" fmla="*/ 82540 w 396235"/>
                <a:gd name="connsiteY123" fmla="*/ 200476 h 341104"/>
                <a:gd name="connsiteX124" fmla="*/ 75910 w 396235"/>
                <a:gd name="connsiteY124" fmla="*/ 215671 h 341104"/>
                <a:gd name="connsiteX125" fmla="*/ 72361 w 396235"/>
                <a:gd name="connsiteY125" fmla="*/ 223811 h 341104"/>
                <a:gd name="connsiteX126" fmla="*/ 67783 w 396235"/>
                <a:gd name="connsiteY126" fmla="*/ 234292 h 341104"/>
                <a:gd name="connsiteX127" fmla="*/ 66337 w 396235"/>
                <a:gd name="connsiteY127" fmla="*/ 234608 h 341104"/>
                <a:gd name="connsiteX128" fmla="*/ 63996 w 396235"/>
                <a:gd name="connsiteY128" fmla="*/ 233850 h 341104"/>
                <a:gd name="connsiteX129" fmla="*/ 54905 w 396235"/>
                <a:gd name="connsiteY129" fmla="*/ 220795 h 341104"/>
                <a:gd name="connsiteX130" fmla="*/ 49189 w 396235"/>
                <a:gd name="connsiteY130" fmla="*/ 215880 h 341104"/>
                <a:gd name="connsiteX131" fmla="*/ 44919 w 396235"/>
                <a:gd name="connsiteY131" fmla="*/ 216351 h 341104"/>
                <a:gd name="connsiteX132" fmla="*/ 41810 w 396235"/>
                <a:gd name="connsiteY132" fmla="*/ 218765 h 341104"/>
                <a:gd name="connsiteX133" fmla="*/ 39841 w 396235"/>
                <a:gd name="connsiteY133" fmla="*/ 223120 h 341104"/>
                <a:gd name="connsiteX134" fmla="*/ 37714 w 396235"/>
                <a:gd name="connsiteY134" fmla="*/ 225823 h 341104"/>
                <a:gd name="connsiteX135" fmla="*/ 35405 w 396235"/>
                <a:gd name="connsiteY135" fmla="*/ 226867 h 341104"/>
                <a:gd name="connsiteX136" fmla="*/ 30445 w 396235"/>
                <a:gd name="connsiteY136" fmla="*/ 226348 h 341104"/>
                <a:gd name="connsiteX137" fmla="*/ 22813 w 396235"/>
                <a:gd name="connsiteY137" fmla="*/ 224264 h 341104"/>
                <a:gd name="connsiteX138" fmla="*/ 14947 w 396235"/>
                <a:gd name="connsiteY138" fmla="*/ 224716 h 341104"/>
                <a:gd name="connsiteX139" fmla="*/ 6849 w 396235"/>
                <a:gd name="connsiteY139" fmla="*/ 227700 h 341104"/>
                <a:gd name="connsiteX140" fmla="*/ 5781 w 396235"/>
                <a:gd name="connsiteY140" fmla="*/ 227783 h 341104"/>
                <a:gd name="connsiteX141" fmla="*/ 3881 w 396235"/>
                <a:gd name="connsiteY141" fmla="*/ 210405 h 341104"/>
                <a:gd name="connsiteX142" fmla="*/ 2609 w 396235"/>
                <a:gd name="connsiteY142" fmla="*/ 198783 h 341104"/>
                <a:gd name="connsiteX143" fmla="*/ 1270 w 396235"/>
                <a:gd name="connsiteY143" fmla="*/ 186459 h 341104"/>
                <a:gd name="connsiteX144" fmla="*/ 0 w 396235"/>
                <a:gd name="connsiteY144" fmla="*/ 174831 h 341104"/>
                <a:gd name="connsiteX145" fmla="*/ 5631 w 396235"/>
                <a:gd name="connsiteY145" fmla="*/ 167680 h 341104"/>
                <a:gd name="connsiteX146" fmla="*/ 8250 w 396235"/>
                <a:gd name="connsiteY146" fmla="*/ 160892 h 341104"/>
                <a:gd name="connsiteX147" fmla="*/ 14955 w 396235"/>
                <a:gd name="connsiteY147" fmla="*/ 138800 h 341104"/>
                <a:gd name="connsiteX148" fmla="*/ 17636 w 396235"/>
                <a:gd name="connsiteY148" fmla="*/ 134401 h 341104"/>
                <a:gd name="connsiteX149" fmla="*/ 22907 w 396235"/>
                <a:gd name="connsiteY149" fmla="*/ 122557 h 341104"/>
                <a:gd name="connsiteX150" fmla="*/ 23641 w 396235"/>
                <a:gd name="connsiteY150" fmla="*/ 119134 h 341104"/>
                <a:gd name="connsiteX151" fmla="*/ 28845 w 396235"/>
                <a:gd name="connsiteY151" fmla="*/ 104190 h 341104"/>
                <a:gd name="connsiteX152" fmla="*/ 28355 w 396235"/>
                <a:gd name="connsiteY152" fmla="*/ 94258 h 341104"/>
                <a:gd name="connsiteX153" fmla="*/ 27308 w 396235"/>
                <a:gd name="connsiteY153" fmla="*/ 84211 h 341104"/>
                <a:gd name="connsiteX154" fmla="*/ 30147 w 396235"/>
                <a:gd name="connsiteY154" fmla="*/ 78262 h 341104"/>
                <a:gd name="connsiteX155" fmla="*/ 32692 w 396235"/>
                <a:gd name="connsiteY155" fmla="*/ 73499 h 341104"/>
                <a:gd name="connsiteX156" fmla="*/ 32520 w 396235"/>
                <a:gd name="connsiteY156" fmla="*/ 69482 h 341104"/>
                <a:gd name="connsiteX157" fmla="*/ 33670 w 396235"/>
                <a:gd name="connsiteY157" fmla="*/ 60099 h 341104"/>
                <a:gd name="connsiteX158" fmla="*/ 34487 w 396235"/>
                <a:gd name="connsiteY158" fmla="*/ 57763 h 341104"/>
                <a:gd name="connsiteX159" fmla="*/ 37599 w 396235"/>
                <a:gd name="connsiteY159" fmla="*/ 57618 h 341104"/>
                <a:gd name="connsiteX160" fmla="*/ 43995 w 396235"/>
                <a:gd name="connsiteY160" fmla="*/ 58829 h 341104"/>
                <a:gd name="connsiteX161" fmla="*/ 48691 w 396235"/>
                <a:gd name="connsiteY161" fmla="*/ 57886 h 341104"/>
                <a:gd name="connsiteX162" fmla="*/ 54118 w 396235"/>
                <a:gd name="connsiteY162" fmla="*/ 57873 h 341104"/>
                <a:gd name="connsiteX163" fmla="*/ 58299 w 396235"/>
                <a:gd name="connsiteY163" fmla="*/ 57591 h 341104"/>
                <a:gd name="connsiteX164" fmla="*/ 60779 w 396235"/>
                <a:gd name="connsiteY164" fmla="*/ 54728 h 341104"/>
                <a:gd name="connsiteX165" fmla="*/ 64170 w 396235"/>
                <a:gd name="connsiteY165" fmla="*/ 43784 h 341104"/>
                <a:gd name="connsiteX166" fmla="*/ 66380 w 396235"/>
                <a:gd name="connsiteY166" fmla="*/ 41590 h 341104"/>
                <a:gd name="connsiteX167" fmla="*/ 68067 w 396235"/>
                <a:gd name="connsiteY167" fmla="*/ 40926 h 341104"/>
                <a:gd name="connsiteX168" fmla="*/ 72851 w 396235"/>
                <a:gd name="connsiteY168" fmla="*/ 38898 h 341104"/>
                <a:gd name="connsiteX169" fmla="*/ 76952 w 396235"/>
                <a:gd name="connsiteY169" fmla="*/ 35710 h 341104"/>
                <a:gd name="connsiteX170" fmla="*/ 80295 w 396235"/>
                <a:gd name="connsiteY170" fmla="*/ 33420 h 341104"/>
                <a:gd name="connsiteX171" fmla="*/ 81532 w 396235"/>
                <a:gd name="connsiteY171" fmla="*/ 32962 h 341104"/>
                <a:gd name="connsiteX172" fmla="*/ 85065 w 396235"/>
                <a:gd name="connsiteY172" fmla="*/ 32673 h 341104"/>
                <a:gd name="connsiteX173" fmla="*/ 88596 w 396235"/>
                <a:gd name="connsiteY173" fmla="*/ 31326 h 341104"/>
                <a:gd name="connsiteX174" fmla="*/ 90227 w 396235"/>
                <a:gd name="connsiteY174" fmla="*/ 29777 h 341104"/>
                <a:gd name="connsiteX175" fmla="*/ 94679 w 396235"/>
                <a:gd name="connsiteY175" fmla="*/ 28551 h 341104"/>
                <a:gd name="connsiteX176" fmla="*/ 99042 w 396235"/>
                <a:gd name="connsiteY176" fmla="*/ 29242 h 341104"/>
                <a:gd name="connsiteX177" fmla="*/ 101980 w 396235"/>
                <a:gd name="connsiteY177" fmla="*/ 27894 h 341104"/>
                <a:gd name="connsiteX178" fmla="*/ 103936 w 396235"/>
                <a:gd name="connsiteY178" fmla="*/ 27021 h 341104"/>
                <a:gd name="connsiteX179" fmla="*/ 106156 w 396235"/>
                <a:gd name="connsiteY179" fmla="*/ 26952 h 341104"/>
                <a:gd name="connsiteX180" fmla="*/ 108197 w 396235"/>
                <a:gd name="connsiteY180" fmla="*/ 25682 h 341104"/>
                <a:gd name="connsiteX181" fmla="*/ 109014 w 396235"/>
                <a:gd name="connsiteY181" fmla="*/ 23732 h 341104"/>
                <a:gd name="connsiteX182" fmla="*/ 110348 w 396235"/>
                <a:gd name="connsiteY182" fmla="*/ 22492 h 341104"/>
                <a:gd name="connsiteX183" fmla="*/ 113755 w 396235"/>
                <a:gd name="connsiteY183" fmla="*/ 19647 h 341104"/>
                <a:gd name="connsiteX184" fmla="*/ 115317 w 396235"/>
                <a:gd name="connsiteY184" fmla="*/ 17587 h 341104"/>
                <a:gd name="connsiteX185" fmla="*/ 116019 w 396235"/>
                <a:gd name="connsiteY185" fmla="*/ 15514 h 341104"/>
                <a:gd name="connsiteX186" fmla="*/ 116707 w 396235"/>
                <a:gd name="connsiteY186" fmla="*/ 13856 h 341104"/>
                <a:gd name="connsiteX187" fmla="*/ 118204 w 396235"/>
                <a:gd name="connsiteY187" fmla="*/ 11073 h 341104"/>
                <a:gd name="connsiteX188" fmla="*/ 124148 w 396235"/>
                <a:gd name="connsiteY188" fmla="*/ 4069 h 3411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</a:cxnLst>
              <a:rect l="l" t="t" r="r" b="b"/>
              <a:pathLst>
                <a:path w="396235" h="341104">
                  <a:moveTo>
                    <a:pt x="209077" y="128906"/>
                  </a:moveTo>
                  <a:lnTo>
                    <a:pt x="214161" y="129750"/>
                  </a:lnTo>
                  <a:lnTo>
                    <a:pt x="217369" y="131997"/>
                  </a:lnTo>
                  <a:lnTo>
                    <a:pt x="219483" y="134619"/>
                  </a:lnTo>
                  <a:lnTo>
                    <a:pt x="220002" y="140635"/>
                  </a:lnTo>
                  <a:lnTo>
                    <a:pt x="222448" y="143866"/>
                  </a:lnTo>
                  <a:lnTo>
                    <a:pt x="224160" y="143547"/>
                  </a:lnTo>
                  <a:lnTo>
                    <a:pt x="225501" y="142473"/>
                  </a:lnTo>
                  <a:lnTo>
                    <a:pt x="226450" y="140191"/>
                  </a:lnTo>
                  <a:lnTo>
                    <a:pt x="235817" y="144699"/>
                  </a:lnTo>
                  <a:lnTo>
                    <a:pt x="235273" y="147691"/>
                  </a:lnTo>
                  <a:lnTo>
                    <a:pt x="229685" y="147843"/>
                  </a:lnTo>
                  <a:lnTo>
                    <a:pt x="223235" y="146582"/>
                  </a:lnTo>
                  <a:lnTo>
                    <a:pt x="217273" y="147021"/>
                  </a:lnTo>
                  <a:lnTo>
                    <a:pt x="210170" y="145714"/>
                  </a:lnTo>
                  <a:lnTo>
                    <a:pt x="208528" y="140635"/>
                  </a:lnTo>
                  <a:lnTo>
                    <a:pt x="213057" y="143094"/>
                  </a:lnTo>
                  <a:lnTo>
                    <a:pt x="215398" y="142473"/>
                  </a:lnTo>
                  <a:lnTo>
                    <a:pt x="215813" y="141822"/>
                  </a:lnTo>
                  <a:lnTo>
                    <a:pt x="212604" y="138383"/>
                  </a:lnTo>
                  <a:lnTo>
                    <a:pt x="208080" y="137700"/>
                  </a:lnTo>
                  <a:lnTo>
                    <a:pt x="208394" y="134997"/>
                  </a:lnTo>
                  <a:lnTo>
                    <a:pt x="210419" y="133934"/>
                  </a:lnTo>
                  <a:lnTo>
                    <a:pt x="211667" y="132616"/>
                  </a:lnTo>
                  <a:close/>
                  <a:moveTo>
                    <a:pt x="214490" y="115842"/>
                  </a:moveTo>
                  <a:lnTo>
                    <a:pt x="216167" y="117181"/>
                  </a:lnTo>
                  <a:lnTo>
                    <a:pt x="218158" y="123055"/>
                  </a:lnTo>
                  <a:lnTo>
                    <a:pt x="212374" y="120814"/>
                  </a:lnTo>
                  <a:lnTo>
                    <a:pt x="211407" y="119597"/>
                  </a:lnTo>
                  <a:lnTo>
                    <a:pt x="213952" y="117270"/>
                  </a:lnTo>
                  <a:close/>
                  <a:moveTo>
                    <a:pt x="129280" y="0"/>
                  </a:moveTo>
                  <a:lnTo>
                    <a:pt x="147181" y="35303"/>
                  </a:lnTo>
                  <a:lnTo>
                    <a:pt x="154453" y="56140"/>
                  </a:lnTo>
                  <a:lnTo>
                    <a:pt x="160855" y="77849"/>
                  </a:lnTo>
                  <a:lnTo>
                    <a:pt x="165591" y="110420"/>
                  </a:lnTo>
                  <a:lnTo>
                    <a:pt x="170115" y="126979"/>
                  </a:lnTo>
                  <a:lnTo>
                    <a:pt x="177419" y="135141"/>
                  </a:lnTo>
                  <a:lnTo>
                    <a:pt x="182412" y="150585"/>
                  </a:lnTo>
                  <a:lnTo>
                    <a:pt x="186692" y="151169"/>
                  </a:lnTo>
                  <a:lnTo>
                    <a:pt x="189797" y="155412"/>
                  </a:lnTo>
                  <a:lnTo>
                    <a:pt x="195103" y="169889"/>
                  </a:lnTo>
                  <a:lnTo>
                    <a:pt x="198936" y="175271"/>
                  </a:lnTo>
                  <a:lnTo>
                    <a:pt x="200945" y="170639"/>
                  </a:lnTo>
                  <a:lnTo>
                    <a:pt x="200720" y="167972"/>
                  </a:lnTo>
                  <a:lnTo>
                    <a:pt x="199220" y="163514"/>
                  </a:lnTo>
                  <a:lnTo>
                    <a:pt x="200591" y="157774"/>
                  </a:lnTo>
                  <a:lnTo>
                    <a:pt x="203570" y="154332"/>
                  </a:lnTo>
                  <a:lnTo>
                    <a:pt x="210354" y="159014"/>
                  </a:lnTo>
                  <a:lnTo>
                    <a:pt x="214067" y="162566"/>
                  </a:lnTo>
                  <a:lnTo>
                    <a:pt x="215063" y="169683"/>
                  </a:lnTo>
                  <a:lnTo>
                    <a:pt x="216619" y="173629"/>
                  </a:lnTo>
                  <a:lnTo>
                    <a:pt x="223726" y="181978"/>
                  </a:lnTo>
                  <a:lnTo>
                    <a:pt x="229720" y="184404"/>
                  </a:lnTo>
                  <a:lnTo>
                    <a:pt x="237493" y="185012"/>
                  </a:lnTo>
                  <a:lnTo>
                    <a:pt x="243994" y="186853"/>
                  </a:lnTo>
                  <a:lnTo>
                    <a:pt x="249212" y="189914"/>
                  </a:lnTo>
                  <a:lnTo>
                    <a:pt x="258981" y="198386"/>
                  </a:lnTo>
                  <a:lnTo>
                    <a:pt x="281317" y="205809"/>
                  </a:lnTo>
                  <a:lnTo>
                    <a:pt x="299279" y="228563"/>
                  </a:lnTo>
                  <a:lnTo>
                    <a:pt x="309852" y="244318"/>
                  </a:lnTo>
                  <a:lnTo>
                    <a:pt x="344614" y="268178"/>
                  </a:lnTo>
                  <a:lnTo>
                    <a:pt x="350616" y="279608"/>
                  </a:lnTo>
                  <a:lnTo>
                    <a:pt x="353745" y="290785"/>
                  </a:lnTo>
                  <a:lnTo>
                    <a:pt x="361063" y="290250"/>
                  </a:lnTo>
                  <a:lnTo>
                    <a:pt x="373596" y="302472"/>
                  </a:lnTo>
                  <a:lnTo>
                    <a:pt x="377252" y="311764"/>
                  </a:lnTo>
                  <a:lnTo>
                    <a:pt x="387519" y="315131"/>
                  </a:lnTo>
                  <a:lnTo>
                    <a:pt x="389265" y="309642"/>
                  </a:lnTo>
                  <a:lnTo>
                    <a:pt x="394234" y="314150"/>
                  </a:lnTo>
                  <a:lnTo>
                    <a:pt x="396235" y="321133"/>
                  </a:lnTo>
                  <a:lnTo>
                    <a:pt x="389659" y="323919"/>
                  </a:lnTo>
                  <a:lnTo>
                    <a:pt x="382411" y="326386"/>
                  </a:lnTo>
                  <a:lnTo>
                    <a:pt x="381382" y="326295"/>
                  </a:lnTo>
                  <a:lnTo>
                    <a:pt x="378974" y="329512"/>
                  </a:lnTo>
                  <a:lnTo>
                    <a:pt x="375551" y="338321"/>
                  </a:lnTo>
                  <a:lnTo>
                    <a:pt x="371774" y="340879"/>
                  </a:lnTo>
                  <a:lnTo>
                    <a:pt x="369784" y="341104"/>
                  </a:lnTo>
                  <a:lnTo>
                    <a:pt x="358489" y="332863"/>
                  </a:lnTo>
                  <a:lnTo>
                    <a:pt x="356747" y="332399"/>
                  </a:lnTo>
                  <a:lnTo>
                    <a:pt x="354294" y="334020"/>
                  </a:lnTo>
                  <a:lnTo>
                    <a:pt x="352513" y="335702"/>
                  </a:lnTo>
                  <a:lnTo>
                    <a:pt x="347268" y="329458"/>
                  </a:lnTo>
                  <a:lnTo>
                    <a:pt x="343422" y="323940"/>
                  </a:lnTo>
                  <a:lnTo>
                    <a:pt x="338049" y="317351"/>
                  </a:lnTo>
                  <a:lnTo>
                    <a:pt x="332855" y="314391"/>
                  </a:lnTo>
                  <a:lnTo>
                    <a:pt x="327262" y="310676"/>
                  </a:lnTo>
                  <a:lnTo>
                    <a:pt x="321776" y="302033"/>
                  </a:lnTo>
                  <a:lnTo>
                    <a:pt x="316178" y="292513"/>
                  </a:lnTo>
                  <a:lnTo>
                    <a:pt x="307883" y="284724"/>
                  </a:lnTo>
                  <a:lnTo>
                    <a:pt x="292361" y="273477"/>
                  </a:lnTo>
                  <a:lnTo>
                    <a:pt x="278113" y="259221"/>
                  </a:lnTo>
                  <a:lnTo>
                    <a:pt x="267228" y="244315"/>
                  </a:lnTo>
                  <a:lnTo>
                    <a:pt x="260213" y="236550"/>
                  </a:lnTo>
                  <a:lnTo>
                    <a:pt x="257218" y="234571"/>
                  </a:lnTo>
                  <a:lnTo>
                    <a:pt x="242698" y="229693"/>
                  </a:lnTo>
                  <a:lnTo>
                    <a:pt x="232554" y="222874"/>
                  </a:lnTo>
                  <a:lnTo>
                    <a:pt x="224757" y="217246"/>
                  </a:lnTo>
                  <a:lnTo>
                    <a:pt x="219968" y="215741"/>
                  </a:lnTo>
                  <a:lnTo>
                    <a:pt x="215318" y="215556"/>
                  </a:lnTo>
                  <a:lnTo>
                    <a:pt x="205426" y="216673"/>
                  </a:lnTo>
                  <a:lnTo>
                    <a:pt x="197197" y="213145"/>
                  </a:lnTo>
                  <a:lnTo>
                    <a:pt x="193750" y="213145"/>
                  </a:lnTo>
                  <a:lnTo>
                    <a:pt x="188238" y="212114"/>
                  </a:lnTo>
                  <a:lnTo>
                    <a:pt x="183909" y="210866"/>
                  </a:lnTo>
                  <a:lnTo>
                    <a:pt x="178831" y="212368"/>
                  </a:lnTo>
                  <a:lnTo>
                    <a:pt x="168408" y="214881"/>
                  </a:lnTo>
                  <a:lnTo>
                    <a:pt x="164141" y="214332"/>
                  </a:lnTo>
                  <a:lnTo>
                    <a:pt x="161803" y="210817"/>
                  </a:lnTo>
                  <a:lnTo>
                    <a:pt x="160434" y="208134"/>
                  </a:lnTo>
                  <a:lnTo>
                    <a:pt x="156805" y="205332"/>
                  </a:lnTo>
                  <a:lnTo>
                    <a:pt x="153821" y="205332"/>
                  </a:lnTo>
                  <a:lnTo>
                    <a:pt x="152155" y="207834"/>
                  </a:lnTo>
                  <a:lnTo>
                    <a:pt x="141277" y="214152"/>
                  </a:lnTo>
                  <a:lnTo>
                    <a:pt x="123055" y="217656"/>
                  </a:lnTo>
                  <a:lnTo>
                    <a:pt x="118735" y="217401"/>
                  </a:lnTo>
                  <a:lnTo>
                    <a:pt x="115507" y="214873"/>
                  </a:lnTo>
                  <a:lnTo>
                    <a:pt x="106301" y="204033"/>
                  </a:lnTo>
                  <a:lnTo>
                    <a:pt x="103668" y="202270"/>
                  </a:lnTo>
                  <a:lnTo>
                    <a:pt x="101592" y="202107"/>
                  </a:lnTo>
                  <a:lnTo>
                    <a:pt x="97325" y="200824"/>
                  </a:lnTo>
                  <a:lnTo>
                    <a:pt x="93331" y="198743"/>
                  </a:lnTo>
                  <a:lnTo>
                    <a:pt x="89833" y="194302"/>
                  </a:lnTo>
                  <a:lnTo>
                    <a:pt x="86322" y="191773"/>
                  </a:lnTo>
                  <a:lnTo>
                    <a:pt x="82540" y="200476"/>
                  </a:lnTo>
                  <a:lnTo>
                    <a:pt x="75910" y="215671"/>
                  </a:lnTo>
                  <a:lnTo>
                    <a:pt x="72361" y="223811"/>
                  </a:lnTo>
                  <a:lnTo>
                    <a:pt x="67783" y="234292"/>
                  </a:lnTo>
                  <a:lnTo>
                    <a:pt x="66337" y="234608"/>
                  </a:lnTo>
                  <a:lnTo>
                    <a:pt x="63996" y="233850"/>
                  </a:lnTo>
                  <a:lnTo>
                    <a:pt x="54905" y="220795"/>
                  </a:lnTo>
                  <a:lnTo>
                    <a:pt x="49189" y="215880"/>
                  </a:lnTo>
                  <a:lnTo>
                    <a:pt x="44919" y="216351"/>
                  </a:lnTo>
                  <a:lnTo>
                    <a:pt x="41810" y="218765"/>
                  </a:lnTo>
                  <a:lnTo>
                    <a:pt x="39841" y="223120"/>
                  </a:lnTo>
                  <a:lnTo>
                    <a:pt x="37714" y="225823"/>
                  </a:lnTo>
                  <a:lnTo>
                    <a:pt x="35405" y="226867"/>
                  </a:lnTo>
                  <a:lnTo>
                    <a:pt x="30445" y="226348"/>
                  </a:lnTo>
                  <a:lnTo>
                    <a:pt x="22813" y="224264"/>
                  </a:lnTo>
                  <a:lnTo>
                    <a:pt x="14947" y="224716"/>
                  </a:lnTo>
                  <a:lnTo>
                    <a:pt x="6849" y="227700"/>
                  </a:lnTo>
                  <a:lnTo>
                    <a:pt x="5781" y="227783"/>
                  </a:lnTo>
                  <a:lnTo>
                    <a:pt x="3881" y="210405"/>
                  </a:lnTo>
                  <a:lnTo>
                    <a:pt x="2609" y="198783"/>
                  </a:lnTo>
                  <a:lnTo>
                    <a:pt x="1270" y="186459"/>
                  </a:lnTo>
                  <a:lnTo>
                    <a:pt x="0" y="174831"/>
                  </a:lnTo>
                  <a:lnTo>
                    <a:pt x="5631" y="167680"/>
                  </a:lnTo>
                  <a:lnTo>
                    <a:pt x="8250" y="160892"/>
                  </a:lnTo>
                  <a:lnTo>
                    <a:pt x="14955" y="138800"/>
                  </a:lnTo>
                  <a:lnTo>
                    <a:pt x="17636" y="134401"/>
                  </a:lnTo>
                  <a:lnTo>
                    <a:pt x="22907" y="122557"/>
                  </a:lnTo>
                  <a:lnTo>
                    <a:pt x="23641" y="119134"/>
                  </a:lnTo>
                  <a:lnTo>
                    <a:pt x="28845" y="104190"/>
                  </a:lnTo>
                  <a:lnTo>
                    <a:pt x="28355" y="94258"/>
                  </a:lnTo>
                  <a:lnTo>
                    <a:pt x="27308" y="84211"/>
                  </a:lnTo>
                  <a:lnTo>
                    <a:pt x="30147" y="78262"/>
                  </a:lnTo>
                  <a:lnTo>
                    <a:pt x="32692" y="73499"/>
                  </a:lnTo>
                  <a:lnTo>
                    <a:pt x="32520" y="69482"/>
                  </a:lnTo>
                  <a:lnTo>
                    <a:pt x="33670" y="60099"/>
                  </a:lnTo>
                  <a:lnTo>
                    <a:pt x="34487" y="57763"/>
                  </a:lnTo>
                  <a:lnTo>
                    <a:pt x="37599" y="57618"/>
                  </a:lnTo>
                  <a:lnTo>
                    <a:pt x="43995" y="58829"/>
                  </a:lnTo>
                  <a:lnTo>
                    <a:pt x="48691" y="57886"/>
                  </a:lnTo>
                  <a:lnTo>
                    <a:pt x="54118" y="57873"/>
                  </a:lnTo>
                  <a:lnTo>
                    <a:pt x="58299" y="57591"/>
                  </a:lnTo>
                  <a:lnTo>
                    <a:pt x="60779" y="54728"/>
                  </a:lnTo>
                  <a:lnTo>
                    <a:pt x="64170" y="43784"/>
                  </a:lnTo>
                  <a:lnTo>
                    <a:pt x="66380" y="41590"/>
                  </a:lnTo>
                  <a:lnTo>
                    <a:pt x="68067" y="40926"/>
                  </a:lnTo>
                  <a:lnTo>
                    <a:pt x="72851" y="38898"/>
                  </a:lnTo>
                  <a:lnTo>
                    <a:pt x="76952" y="35710"/>
                  </a:lnTo>
                  <a:lnTo>
                    <a:pt x="80295" y="33420"/>
                  </a:lnTo>
                  <a:lnTo>
                    <a:pt x="81532" y="32962"/>
                  </a:lnTo>
                  <a:lnTo>
                    <a:pt x="85065" y="32673"/>
                  </a:lnTo>
                  <a:lnTo>
                    <a:pt x="88596" y="31326"/>
                  </a:lnTo>
                  <a:lnTo>
                    <a:pt x="90227" y="29777"/>
                  </a:lnTo>
                  <a:lnTo>
                    <a:pt x="94679" y="28551"/>
                  </a:lnTo>
                  <a:lnTo>
                    <a:pt x="99042" y="29242"/>
                  </a:lnTo>
                  <a:lnTo>
                    <a:pt x="101980" y="27894"/>
                  </a:lnTo>
                  <a:lnTo>
                    <a:pt x="103936" y="27021"/>
                  </a:lnTo>
                  <a:lnTo>
                    <a:pt x="106156" y="26952"/>
                  </a:lnTo>
                  <a:lnTo>
                    <a:pt x="108197" y="25682"/>
                  </a:lnTo>
                  <a:lnTo>
                    <a:pt x="109014" y="23732"/>
                  </a:lnTo>
                  <a:lnTo>
                    <a:pt x="110348" y="22492"/>
                  </a:lnTo>
                  <a:lnTo>
                    <a:pt x="113755" y="19647"/>
                  </a:lnTo>
                  <a:lnTo>
                    <a:pt x="115317" y="17587"/>
                  </a:lnTo>
                  <a:lnTo>
                    <a:pt x="116019" y="15514"/>
                  </a:lnTo>
                  <a:lnTo>
                    <a:pt x="116707" y="13856"/>
                  </a:lnTo>
                  <a:lnTo>
                    <a:pt x="118204" y="11073"/>
                  </a:lnTo>
                  <a:lnTo>
                    <a:pt x="124148" y="4069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78" name="ee4p_ET_1_37365">
              <a:extLst>
                <a:ext uri="{FF2B5EF4-FFF2-40B4-BE49-F238E27FC236}">
                  <a16:creationId xmlns:a16="http://schemas.microsoft.com/office/drawing/2014/main" id="{39F7252B-E97E-310D-597E-AFB6E9B2338C}"/>
                </a:ext>
              </a:extLst>
            </p:cNvPr>
            <p:cNvSpPr>
              <a:spLocks noChangeAspect="1"/>
            </p:cNvSpPr>
            <p:nvPr>
              <p:custDataLst>
                <p:tags r:id="rId332"/>
              </p:custDataLst>
            </p:nvPr>
          </p:nvSpPr>
          <p:spPr>
            <a:xfrm>
              <a:off x="7431059" y="4250951"/>
              <a:ext cx="415967" cy="328115"/>
            </a:xfrm>
            <a:custGeom>
              <a:avLst/>
              <a:gdLst/>
              <a:ahLst/>
              <a:cxnLst/>
              <a:rect l="0" t="0" r="0" b="0"/>
              <a:pathLst>
                <a:path w="331225" h="254345">
                  <a:moveTo>
                    <a:pt x="120124" y="9568"/>
                  </a:moveTo>
                  <a:lnTo>
                    <a:pt x="121737" y="9663"/>
                  </a:lnTo>
                  <a:lnTo>
                    <a:pt x="128540" y="8355"/>
                  </a:lnTo>
                  <a:lnTo>
                    <a:pt x="132601" y="5996"/>
                  </a:lnTo>
                  <a:lnTo>
                    <a:pt x="133223" y="5062"/>
                  </a:lnTo>
                  <a:lnTo>
                    <a:pt x="134337" y="5062"/>
                  </a:lnTo>
                  <a:lnTo>
                    <a:pt x="135692" y="6108"/>
                  </a:lnTo>
                  <a:lnTo>
                    <a:pt x="136203" y="7110"/>
                  </a:lnTo>
                  <a:lnTo>
                    <a:pt x="137076" y="8422"/>
                  </a:lnTo>
                  <a:lnTo>
                    <a:pt x="138669" y="8627"/>
                  </a:lnTo>
                  <a:lnTo>
                    <a:pt x="142560" y="7689"/>
                  </a:lnTo>
                  <a:lnTo>
                    <a:pt x="144456" y="7128"/>
                  </a:lnTo>
                  <a:lnTo>
                    <a:pt x="146072" y="7594"/>
                  </a:lnTo>
                  <a:lnTo>
                    <a:pt x="148130" y="7979"/>
                  </a:lnTo>
                  <a:lnTo>
                    <a:pt x="149417" y="7979"/>
                  </a:lnTo>
                  <a:lnTo>
                    <a:pt x="152489" y="9296"/>
                  </a:lnTo>
                  <a:lnTo>
                    <a:pt x="156182" y="8879"/>
                  </a:lnTo>
                  <a:lnTo>
                    <a:pt x="157918" y="8948"/>
                  </a:lnTo>
                  <a:lnTo>
                    <a:pt x="159706" y="9510"/>
                  </a:lnTo>
                  <a:lnTo>
                    <a:pt x="162617" y="11611"/>
                  </a:lnTo>
                  <a:lnTo>
                    <a:pt x="166404" y="14157"/>
                  </a:lnTo>
                  <a:lnTo>
                    <a:pt x="171825" y="15978"/>
                  </a:lnTo>
                  <a:lnTo>
                    <a:pt x="172943" y="16717"/>
                  </a:lnTo>
                  <a:lnTo>
                    <a:pt x="175562" y="19616"/>
                  </a:lnTo>
                  <a:lnTo>
                    <a:pt x="179626" y="25181"/>
                  </a:lnTo>
                  <a:lnTo>
                    <a:pt x="184945" y="30503"/>
                  </a:lnTo>
                  <a:lnTo>
                    <a:pt x="190740" y="34702"/>
                  </a:lnTo>
                  <a:lnTo>
                    <a:pt x="193837" y="37610"/>
                  </a:lnTo>
                  <a:lnTo>
                    <a:pt x="195927" y="41164"/>
                  </a:lnTo>
                  <a:lnTo>
                    <a:pt x="197975" y="44391"/>
                  </a:lnTo>
                  <a:lnTo>
                    <a:pt x="200063" y="45778"/>
                  </a:lnTo>
                  <a:lnTo>
                    <a:pt x="202002" y="46883"/>
                  </a:lnTo>
                  <a:lnTo>
                    <a:pt x="204008" y="49343"/>
                  </a:lnTo>
                  <a:lnTo>
                    <a:pt x="205444" y="51403"/>
                  </a:lnTo>
                  <a:lnTo>
                    <a:pt x="207402" y="53734"/>
                  </a:lnTo>
                  <a:lnTo>
                    <a:pt x="205232" y="56925"/>
                  </a:lnTo>
                  <a:lnTo>
                    <a:pt x="202330" y="61191"/>
                  </a:lnTo>
                  <a:lnTo>
                    <a:pt x="198942" y="66165"/>
                  </a:lnTo>
                  <a:lnTo>
                    <a:pt x="197918" y="67387"/>
                  </a:lnTo>
                  <a:lnTo>
                    <a:pt x="194956" y="70392"/>
                  </a:lnTo>
                  <a:lnTo>
                    <a:pt x="194448" y="71238"/>
                  </a:lnTo>
                  <a:lnTo>
                    <a:pt x="193869" y="73410"/>
                  </a:lnTo>
                  <a:lnTo>
                    <a:pt x="193829" y="77357"/>
                  </a:lnTo>
                  <a:lnTo>
                    <a:pt x="194213" y="82397"/>
                  </a:lnTo>
                  <a:lnTo>
                    <a:pt x="194571" y="87037"/>
                  </a:lnTo>
                  <a:lnTo>
                    <a:pt x="196206" y="87589"/>
                  </a:lnTo>
                  <a:lnTo>
                    <a:pt x="198091" y="87920"/>
                  </a:lnTo>
                  <a:lnTo>
                    <a:pt x="200186" y="87308"/>
                  </a:lnTo>
                  <a:lnTo>
                    <a:pt x="202708" y="86788"/>
                  </a:lnTo>
                  <a:lnTo>
                    <a:pt x="205845" y="86483"/>
                  </a:lnTo>
                  <a:lnTo>
                    <a:pt x="209318" y="85547"/>
                  </a:lnTo>
                  <a:lnTo>
                    <a:pt x="211365" y="84793"/>
                  </a:lnTo>
                  <a:lnTo>
                    <a:pt x="213515" y="84847"/>
                  </a:lnTo>
                  <a:lnTo>
                    <a:pt x="215422" y="85652"/>
                  </a:lnTo>
                  <a:lnTo>
                    <a:pt x="216347" y="86393"/>
                  </a:lnTo>
                  <a:lnTo>
                    <a:pt x="217698" y="86646"/>
                  </a:lnTo>
                  <a:lnTo>
                    <a:pt x="219437" y="86615"/>
                  </a:lnTo>
                  <a:lnTo>
                    <a:pt x="219070" y="87489"/>
                  </a:lnTo>
                  <a:lnTo>
                    <a:pt x="218113" y="88765"/>
                  </a:lnTo>
                  <a:lnTo>
                    <a:pt x="216938" y="90045"/>
                  </a:lnTo>
                  <a:lnTo>
                    <a:pt x="215906" y="91367"/>
                  </a:lnTo>
                  <a:lnTo>
                    <a:pt x="213617" y="95068"/>
                  </a:lnTo>
                  <a:lnTo>
                    <a:pt x="213548" y="95546"/>
                  </a:lnTo>
                  <a:lnTo>
                    <a:pt x="213831" y="96271"/>
                  </a:lnTo>
                  <a:lnTo>
                    <a:pt x="215068" y="97966"/>
                  </a:lnTo>
                  <a:lnTo>
                    <a:pt x="216362" y="100696"/>
                  </a:lnTo>
                  <a:lnTo>
                    <a:pt x="217085" y="103204"/>
                  </a:lnTo>
                  <a:lnTo>
                    <a:pt x="217642" y="104417"/>
                  </a:lnTo>
                  <a:lnTo>
                    <a:pt x="219210" y="105807"/>
                  </a:lnTo>
                  <a:lnTo>
                    <a:pt x="221471" y="108671"/>
                  </a:lnTo>
                  <a:lnTo>
                    <a:pt x="222669" y="110600"/>
                  </a:lnTo>
                  <a:lnTo>
                    <a:pt x="225161" y="111632"/>
                  </a:lnTo>
                  <a:lnTo>
                    <a:pt x="225975" y="114083"/>
                  </a:lnTo>
                  <a:lnTo>
                    <a:pt x="227848" y="117678"/>
                  </a:lnTo>
                  <a:lnTo>
                    <a:pt x="229864" y="120551"/>
                  </a:lnTo>
                  <a:lnTo>
                    <a:pt x="231814" y="122800"/>
                  </a:lnTo>
                  <a:lnTo>
                    <a:pt x="233993" y="123664"/>
                  </a:lnTo>
                  <a:lnTo>
                    <a:pt x="234865" y="123738"/>
                  </a:lnTo>
                  <a:lnTo>
                    <a:pt x="239426" y="127899"/>
                  </a:lnTo>
                  <a:lnTo>
                    <a:pt x="242899" y="131064"/>
                  </a:lnTo>
                  <a:lnTo>
                    <a:pt x="243762" y="131572"/>
                  </a:lnTo>
                  <a:lnTo>
                    <a:pt x="250029" y="133644"/>
                  </a:lnTo>
                  <a:lnTo>
                    <a:pt x="257233" y="136027"/>
                  </a:lnTo>
                  <a:lnTo>
                    <a:pt x="263015" y="137941"/>
                  </a:lnTo>
                  <a:lnTo>
                    <a:pt x="270387" y="140377"/>
                  </a:lnTo>
                  <a:lnTo>
                    <a:pt x="277651" y="142778"/>
                  </a:lnTo>
                  <a:lnTo>
                    <a:pt x="284458" y="145074"/>
                  </a:lnTo>
                  <a:lnTo>
                    <a:pt x="294026" y="148300"/>
                  </a:lnTo>
                  <a:lnTo>
                    <a:pt x="301737" y="150900"/>
                  </a:lnTo>
                  <a:lnTo>
                    <a:pt x="307814" y="152948"/>
                  </a:lnTo>
                  <a:lnTo>
                    <a:pt x="309112" y="153595"/>
                  </a:lnTo>
                  <a:lnTo>
                    <a:pt x="316352" y="153595"/>
                  </a:lnTo>
                  <a:lnTo>
                    <a:pt x="323694" y="153595"/>
                  </a:lnTo>
                  <a:lnTo>
                    <a:pt x="331224" y="153595"/>
                  </a:lnTo>
                  <a:lnTo>
                    <a:pt x="325771" y="158884"/>
                  </a:lnTo>
                  <a:lnTo>
                    <a:pt x="319606" y="164862"/>
                  </a:lnTo>
                  <a:lnTo>
                    <a:pt x="313126" y="171144"/>
                  </a:lnTo>
                  <a:lnTo>
                    <a:pt x="308956" y="175185"/>
                  </a:lnTo>
                  <a:lnTo>
                    <a:pt x="302336" y="181600"/>
                  </a:lnTo>
                  <a:lnTo>
                    <a:pt x="296834" y="186929"/>
                  </a:lnTo>
                  <a:lnTo>
                    <a:pt x="291169" y="192759"/>
                  </a:lnTo>
                  <a:lnTo>
                    <a:pt x="286043" y="198029"/>
                  </a:lnTo>
                  <a:lnTo>
                    <a:pt x="279379" y="205327"/>
                  </a:lnTo>
                  <a:lnTo>
                    <a:pt x="275064" y="210047"/>
                  </a:lnTo>
                  <a:lnTo>
                    <a:pt x="268306" y="217447"/>
                  </a:lnTo>
                  <a:lnTo>
                    <a:pt x="264054" y="222095"/>
                  </a:lnTo>
                  <a:lnTo>
                    <a:pt x="263415" y="222363"/>
                  </a:lnTo>
                  <a:lnTo>
                    <a:pt x="257334" y="222012"/>
                  </a:lnTo>
                  <a:lnTo>
                    <a:pt x="251428" y="221670"/>
                  </a:lnTo>
                  <a:lnTo>
                    <a:pt x="243879" y="221231"/>
                  </a:lnTo>
                  <a:lnTo>
                    <a:pt x="243011" y="221241"/>
                  </a:lnTo>
                  <a:lnTo>
                    <a:pt x="240813" y="221679"/>
                  </a:lnTo>
                  <a:lnTo>
                    <a:pt x="239480" y="222108"/>
                  </a:lnTo>
                  <a:lnTo>
                    <a:pt x="234047" y="223359"/>
                  </a:lnTo>
                  <a:lnTo>
                    <a:pt x="233047" y="223684"/>
                  </a:lnTo>
                  <a:lnTo>
                    <a:pt x="228530" y="225677"/>
                  </a:lnTo>
                  <a:lnTo>
                    <a:pt x="223924" y="228024"/>
                  </a:lnTo>
                  <a:lnTo>
                    <a:pt x="221499" y="229822"/>
                  </a:lnTo>
                  <a:lnTo>
                    <a:pt x="219618" y="232437"/>
                  </a:lnTo>
                  <a:lnTo>
                    <a:pt x="218817" y="234303"/>
                  </a:lnTo>
                  <a:lnTo>
                    <a:pt x="217975" y="235120"/>
                  </a:lnTo>
                  <a:lnTo>
                    <a:pt x="216537" y="235833"/>
                  </a:lnTo>
                  <a:lnTo>
                    <a:pt x="206886" y="237600"/>
                  </a:lnTo>
                  <a:lnTo>
                    <a:pt x="204083" y="237835"/>
                  </a:lnTo>
                  <a:lnTo>
                    <a:pt x="199566" y="239246"/>
                  </a:lnTo>
                  <a:lnTo>
                    <a:pt x="197161" y="241608"/>
                  </a:lnTo>
                  <a:lnTo>
                    <a:pt x="196467" y="242794"/>
                  </a:lnTo>
                  <a:lnTo>
                    <a:pt x="193233" y="242765"/>
                  </a:lnTo>
                  <a:lnTo>
                    <a:pt x="187577" y="243114"/>
                  </a:lnTo>
                  <a:lnTo>
                    <a:pt x="185156" y="243492"/>
                  </a:lnTo>
                  <a:lnTo>
                    <a:pt x="183973" y="243562"/>
                  </a:lnTo>
                  <a:lnTo>
                    <a:pt x="181805" y="243551"/>
                  </a:lnTo>
                  <a:lnTo>
                    <a:pt x="180026" y="243121"/>
                  </a:lnTo>
                  <a:lnTo>
                    <a:pt x="178849" y="242479"/>
                  </a:lnTo>
                  <a:lnTo>
                    <a:pt x="177380" y="241028"/>
                  </a:lnTo>
                  <a:lnTo>
                    <a:pt x="174105" y="238085"/>
                  </a:lnTo>
                  <a:lnTo>
                    <a:pt x="171729" y="236253"/>
                  </a:lnTo>
                  <a:lnTo>
                    <a:pt x="166499" y="238367"/>
                  </a:lnTo>
                  <a:lnTo>
                    <a:pt x="161796" y="240469"/>
                  </a:lnTo>
                  <a:lnTo>
                    <a:pt x="155122" y="243454"/>
                  </a:lnTo>
                  <a:lnTo>
                    <a:pt x="151319" y="245590"/>
                  </a:lnTo>
                  <a:lnTo>
                    <a:pt x="150172" y="247743"/>
                  </a:lnTo>
                  <a:lnTo>
                    <a:pt x="147235" y="251649"/>
                  </a:lnTo>
                  <a:lnTo>
                    <a:pt x="144612" y="254054"/>
                  </a:lnTo>
                  <a:lnTo>
                    <a:pt x="143629" y="254344"/>
                  </a:lnTo>
                  <a:lnTo>
                    <a:pt x="137682" y="253842"/>
                  </a:lnTo>
                  <a:lnTo>
                    <a:pt x="135534" y="253353"/>
                  </a:lnTo>
                  <a:lnTo>
                    <a:pt x="131984" y="252916"/>
                  </a:lnTo>
                  <a:lnTo>
                    <a:pt x="127229" y="252066"/>
                  </a:lnTo>
                  <a:lnTo>
                    <a:pt x="124029" y="251156"/>
                  </a:lnTo>
                  <a:lnTo>
                    <a:pt x="120569" y="251051"/>
                  </a:lnTo>
                  <a:lnTo>
                    <a:pt x="115566" y="250738"/>
                  </a:lnTo>
                  <a:lnTo>
                    <a:pt x="112489" y="250077"/>
                  </a:lnTo>
                  <a:lnTo>
                    <a:pt x="109366" y="247909"/>
                  </a:lnTo>
                  <a:lnTo>
                    <a:pt x="105341" y="245298"/>
                  </a:lnTo>
                  <a:lnTo>
                    <a:pt x="101197" y="242612"/>
                  </a:lnTo>
                  <a:lnTo>
                    <a:pt x="96930" y="239846"/>
                  </a:lnTo>
                  <a:lnTo>
                    <a:pt x="91890" y="236663"/>
                  </a:lnTo>
                  <a:lnTo>
                    <a:pt x="86384" y="233186"/>
                  </a:lnTo>
                  <a:lnTo>
                    <a:pt x="85116" y="232835"/>
                  </a:lnTo>
                  <a:lnTo>
                    <a:pt x="84572" y="232773"/>
                  </a:lnTo>
                  <a:lnTo>
                    <a:pt x="78588" y="232615"/>
                  </a:lnTo>
                  <a:lnTo>
                    <a:pt x="72372" y="232450"/>
                  </a:lnTo>
                  <a:lnTo>
                    <a:pt x="68172" y="232339"/>
                  </a:lnTo>
                  <a:lnTo>
                    <a:pt x="66846" y="231932"/>
                  </a:lnTo>
                  <a:lnTo>
                    <a:pt x="65889" y="231141"/>
                  </a:lnTo>
                  <a:lnTo>
                    <a:pt x="64587" y="228570"/>
                  </a:lnTo>
                  <a:lnTo>
                    <a:pt x="62946" y="226735"/>
                  </a:lnTo>
                  <a:lnTo>
                    <a:pt x="61121" y="224400"/>
                  </a:lnTo>
                  <a:lnTo>
                    <a:pt x="60968" y="221242"/>
                  </a:lnTo>
                  <a:lnTo>
                    <a:pt x="61480" y="217805"/>
                  </a:lnTo>
                  <a:lnTo>
                    <a:pt x="61944" y="216666"/>
                  </a:lnTo>
                  <a:lnTo>
                    <a:pt x="61683" y="215532"/>
                  </a:lnTo>
                  <a:lnTo>
                    <a:pt x="61748" y="213969"/>
                  </a:lnTo>
                  <a:lnTo>
                    <a:pt x="60722" y="212519"/>
                  </a:lnTo>
                  <a:lnTo>
                    <a:pt x="54611" y="210853"/>
                  </a:lnTo>
                  <a:lnTo>
                    <a:pt x="53624" y="210982"/>
                  </a:lnTo>
                  <a:lnTo>
                    <a:pt x="52605" y="211606"/>
                  </a:lnTo>
                  <a:lnTo>
                    <a:pt x="51441" y="212055"/>
                  </a:lnTo>
                  <a:lnTo>
                    <a:pt x="50607" y="211630"/>
                  </a:lnTo>
                  <a:lnTo>
                    <a:pt x="50100" y="211009"/>
                  </a:lnTo>
                  <a:lnTo>
                    <a:pt x="50082" y="209992"/>
                  </a:lnTo>
                  <a:lnTo>
                    <a:pt x="50182" y="209230"/>
                  </a:lnTo>
                  <a:lnTo>
                    <a:pt x="49830" y="208814"/>
                  </a:lnTo>
                  <a:lnTo>
                    <a:pt x="47884" y="207258"/>
                  </a:lnTo>
                  <a:lnTo>
                    <a:pt x="46059" y="205219"/>
                  </a:lnTo>
                  <a:lnTo>
                    <a:pt x="44954" y="202961"/>
                  </a:lnTo>
                  <a:lnTo>
                    <a:pt x="43885" y="201111"/>
                  </a:lnTo>
                  <a:lnTo>
                    <a:pt x="43341" y="196967"/>
                  </a:lnTo>
                  <a:lnTo>
                    <a:pt x="41989" y="194420"/>
                  </a:lnTo>
                  <a:lnTo>
                    <a:pt x="40667" y="191306"/>
                  </a:lnTo>
                  <a:lnTo>
                    <a:pt x="38702" y="185362"/>
                  </a:lnTo>
                  <a:lnTo>
                    <a:pt x="37849" y="183309"/>
                  </a:lnTo>
                  <a:lnTo>
                    <a:pt x="36260" y="181935"/>
                  </a:lnTo>
                  <a:lnTo>
                    <a:pt x="34580" y="180654"/>
                  </a:lnTo>
                  <a:lnTo>
                    <a:pt x="32846" y="178021"/>
                  </a:lnTo>
                  <a:lnTo>
                    <a:pt x="28312" y="175701"/>
                  </a:lnTo>
                  <a:lnTo>
                    <a:pt x="26567" y="173885"/>
                  </a:lnTo>
                  <a:lnTo>
                    <a:pt x="23557" y="170748"/>
                  </a:lnTo>
                  <a:lnTo>
                    <a:pt x="22803" y="169164"/>
                  </a:lnTo>
                  <a:lnTo>
                    <a:pt x="22587" y="167586"/>
                  </a:lnTo>
                  <a:lnTo>
                    <a:pt x="21648" y="166105"/>
                  </a:lnTo>
                  <a:lnTo>
                    <a:pt x="19978" y="164439"/>
                  </a:lnTo>
                  <a:lnTo>
                    <a:pt x="14753" y="160848"/>
                  </a:lnTo>
                  <a:lnTo>
                    <a:pt x="13313" y="160416"/>
                  </a:lnTo>
                  <a:lnTo>
                    <a:pt x="11440" y="160030"/>
                  </a:lnTo>
                  <a:lnTo>
                    <a:pt x="8698" y="159675"/>
                  </a:lnTo>
                  <a:lnTo>
                    <a:pt x="5020" y="158854"/>
                  </a:lnTo>
                  <a:lnTo>
                    <a:pt x="1809" y="157451"/>
                  </a:lnTo>
                  <a:lnTo>
                    <a:pt x="347" y="156454"/>
                  </a:lnTo>
                  <a:lnTo>
                    <a:pt x="0" y="155765"/>
                  </a:lnTo>
                  <a:lnTo>
                    <a:pt x="302" y="154608"/>
                  </a:lnTo>
                  <a:lnTo>
                    <a:pt x="1466" y="152628"/>
                  </a:lnTo>
                  <a:lnTo>
                    <a:pt x="3677" y="147942"/>
                  </a:lnTo>
                  <a:lnTo>
                    <a:pt x="5204" y="144706"/>
                  </a:lnTo>
                  <a:lnTo>
                    <a:pt x="6239" y="143797"/>
                  </a:lnTo>
                  <a:lnTo>
                    <a:pt x="9076" y="143563"/>
                  </a:lnTo>
                  <a:lnTo>
                    <a:pt x="12082" y="143660"/>
                  </a:lnTo>
                  <a:lnTo>
                    <a:pt x="14282" y="143901"/>
                  </a:lnTo>
                  <a:lnTo>
                    <a:pt x="17383" y="143934"/>
                  </a:lnTo>
                  <a:lnTo>
                    <a:pt x="21104" y="143658"/>
                  </a:lnTo>
                  <a:lnTo>
                    <a:pt x="22572" y="142576"/>
                  </a:lnTo>
                  <a:lnTo>
                    <a:pt x="23744" y="141392"/>
                  </a:lnTo>
                  <a:lnTo>
                    <a:pt x="24226" y="140568"/>
                  </a:lnTo>
                  <a:lnTo>
                    <a:pt x="24386" y="138472"/>
                  </a:lnTo>
                  <a:lnTo>
                    <a:pt x="24382" y="136790"/>
                  </a:lnTo>
                  <a:lnTo>
                    <a:pt x="24148" y="130341"/>
                  </a:lnTo>
                  <a:lnTo>
                    <a:pt x="24006" y="126389"/>
                  </a:lnTo>
                  <a:lnTo>
                    <a:pt x="23842" y="121874"/>
                  </a:lnTo>
                  <a:lnTo>
                    <a:pt x="23863" y="120970"/>
                  </a:lnTo>
                  <a:lnTo>
                    <a:pt x="23889" y="119811"/>
                  </a:lnTo>
                  <a:lnTo>
                    <a:pt x="24796" y="114987"/>
                  </a:lnTo>
                  <a:lnTo>
                    <a:pt x="25653" y="112225"/>
                  </a:lnTo>
                  <a:lnTo>
                    <a:pt x="26232" y="110771"/>
                  </a:lnTo>
                  <a:lnTo>
                    <a:pt x="28581" y="106166"/>
                  </a:lnTo>
                  <a:lnTo>
                    <a:pt x="29018" y="104690"/>
                  </a:lnTo>
                  <a:lnTo>
                    <a:pt x="29098" y="103333"/>
                  </a:lnTo>
                  <a:lnTo>
                    <a:pt x="28232" y="97153"/>
                  </a:lnTo>
                  <a:lnTo>
                    <a:pt x="29741" y="94235"/>
                  </a:lnTo>
                  <a:lnTo>
                    <a:pt x="31676" y="91346"/>
                  </a:lnTo>
                  <a:lnTo>
                    <a:pt x="33369" y="90115"/>
                  </a:lnTo>
                  <a:lnTo>
                    <a:pt x="34781" y="89281"/>
                  </a:lnTo>
                  <a:lnTo>
                    <a:pt x="35442" y="89630"/>
                  </a:lnTo>
                  <a:lnTo>
                    <a:pt x="37061" y="90964"/>
                  </a:lnTo>
                  <a:lnTo>
                    <a:pt x="39191" y="92278"/>
                  </a:lnTo>
                  <a:lnTo>
                    <a:pt x="40184" y="91987"/>
                  </a:lnTo>
                  <a:lnTo>
                    <a:pt x="41646" y="90838"/>
                  </a:lnTo>
                  <a:lnTo>
                    <a:pt x="42732" y="89625"/>
                  </a:lnTo>
                  <a:lnTo>
                    <a:pt x="42588" y="87448"/>
                  </a:lnTo>
                  <a:lnTo>
                    <a:pt x="43565" y="82980"/>
                  </a:lnTo>
                  <a:lnTo>
                    <a:pt x="43380" y="80406"/>
                  </a:lnTo>
                  <a:lnTo>
                    <a:pt x="44423" y="77201"/>
                  </a:lnTo>
                  <a:lnTo>
                    <a:pt x="45567" y="72694"/>
                  </a:lnTo>
                  <a:lnTo>
                    <a:pt x="46077" y="69843"/>
                  </a:lnTo>
                  <a:lnTo>
                    <a:pt x="46731" y="68313"/>
                  </a:lnTo>
                  <a:lnTo>
                    <a:pt x="49830" y="65163"/>
                  </a:lnTo>
                  <a:lnTo>
                    <a:pt x="52490" y="60710"/>
                  </a:lnTo>
                  <a:lnTo>
                    <a:pt x="54190" y="57456"/>
                  </a:lnTo>
                  <a:lnTo>
                    <a:pt x="57429" y="52142"/>
                  </a:lnTo>
                  <a:lnTo>
                    <a:pt x="59068" y="50201"/>
                  </a:lnTo>
                  <a:lnTo>
                    <a:pt x="60402" y="49363"/>
                  </a:lnTo>
                  <a:lnTo>
                    <a:pt x="62393" y="48828"/>
                  </a:lnTo>
                  <a:lnTo>
                    <a:pt x="66086" y="48346"/>
                  </a:lnTo>
                  <a:lnTo>
                    <a:pt x="68737" y="47893"/>
                  </a:lnTo>
                  <a:lnTo>
                    <a:pt x="69128" y="47207"/>
                  </a:lnTo>
                  <a:lnTo>
                    <a:pt x="69353" y="46122"/>
                  </a:lnTo>
                  <a:lnTo>
                    <a:pt x="69392" y="43744"/>
                  </a:lnTo>
                  <a:lnTo>
                    <a:pt x="69901" y="39648"/>
                  </a:lnTo>
                  <a:lnTo>
                    <a:pt x="71052" y="35650"/>
                  </a:lnTo>
                  <a:lnTo>
                    <a:pt x="72409" y="32619"/>
                  </a:lnTo>
                  <a:lnTo>
                    <a:pt x="73145" y="31244"/>
                  </a:lnTo>
                  <a:lnTo>
                    <a:pt x="74017" y="29907"/>
                  </a:lnTo>
                  <a:lnTo>
                    <a:pt x="74998" y="27660"/>
                  </a:lnTo>
                  <a:lnTo>
                    <a:pt x="76246" y="22795"/>
                  </a:lnTo>
                  <a:lnTo>
                    <a:pt x="76177" y="19496"/>
                  </a:lnTo>
                  <a:lnTo>
                    <a:pt x="77954" y="13444"/>
                  </a:lnTo>
                  <a:lnTo>
                    <a:pt x="78353" y="13413"/>
                  </a:lnTo>
                  <a:lnTo>
                    <a:pt x="81376" y="12299"/>
                  </a:lnTo>
                  <a:lnTo>
                    <a:pt x="84313" y="12130"/>
                  </a:lnTo>
                  <a:lnTo>
                    <a:pt x="87162" y="12908"/>
                  </a:lnTo>
                  <a:lnTo>
                    <a:pt x="89014" y="13102"/>
                  </a:lnTo>
                  <a:lnTo>
                    <a:pt x="89876" y="12712"/>
                  </a:lnTo>
                  <a:lnTo>
                    <a:pt x="90670" y="11703"/>
                  </a:lnTo>
                  <a:lnTo>
                    <a:pt x="91405" y="10077"/>
                  </a:lnTo>
                  <a:lnTo>
                    <a:pt x="92566" y="9176"/>
                  </a:lnTo>
                  <a:lnTo>
                    <a:pt x="94160" y="9000"/>
                  </a:lnTo>
                  <a:lnTo>
                    <a:pt x="96294" y="10835"/>
                  </a:lnTo>
                  <a:lnTo>
                    <a:pt x="99688" y="15709"/>
                  </a:lnTo>
                  <a:lnTo>
                    <a:pt x="100562" y="15992"/>
                  </a:lnTo>
                  <a:lnTo>
                    <a:pt x="101102" y="15874"/>
                  </a:lnTo>
                  <a:lnTo>
                    <a:pt x="102811" y="11961"/>
                  </a:lnTo>
                  <a:lnTo>
                    <a:pt x="104136" y="8922"/>
                  </a:lnTo>
                  <a:lnTo>
                    <a:pt x="106611" y="3249"/>
                  </a:lnTo>
                  <a:lnTo>
                    <a:pt x="108023" y="0"/>
                  </a:lnTo>
                  <a:lnTo>
                    <a:pt x="109334" y="944"/>
                  </a:lnTo>
                  <a:lnTo>
                    <a:pt x="110640" y="2602"/>
                  </a:lnTo>
                  <a:lnTo>
                    <a:pt x="112131" y="3379"/>
                  </a:lnTo>
                  <a:lnTo>
                    <a:pt x="113724" y="3858"/>
                  </a:lnTo>
                  <a:lnTo>
                    <a:pt x="114499" y="3919"/>
                  </a:lnTo>
                  <a:lnTo>
                    <a:pt x="115482" y="4577"/>
                  </a:lnTo>
                  <a:lnTo>
                    <a:pt x="118919" y="8624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79" name="ee4p_GA_1_37365">
              <a:extLst>
                <a:ext uri="{FF2B5EF4-FFF2-40B4-BE49-F238E27FC236}">
                  <a16:creationId xmlns:a16="http://schemas.microsoft.com/office/drawing/2014/main" id="{F9F694BF-0B0E-83E1-D68E-ED2FB270C14B}"/>
                </a:ext>
              </a:extLst>
            </p:cNvPr>
            <p:cNvSpPr>
              <a:spLocks noChangeAspect="1"/>
            </p:cNvSpPr>
            <p:nvPr>
              <p:custDataLst>
                <p:tags r:id="rId333"/>
              </p:custDataLst>
            </p:nvPr>
          </p:nvSpPr>
          <p:spPr>
            <a:xfrm>
              <a:off x="6756381" y="4612007"/>
              <a:ext cx="160436" cy="177454"/>
            </a:xfrm>
            <a:custGeom>
              <a:avLst/>
              <a:gdLst/>
              <a:ahLst/>
              <a:cxnLst/>
              <a:rect l="0" t="0" r="0" b="0"/>
              <a:pathLst>
                <a:path w="127752" h="137557">
                  <a:moveTo>
                    <a:pt x="101504" y="3111"/>
                  </a:moveTo>
                  <a:lnTo>
                    <a:pt x="101395" y="4657"/>
                  </a:lnTo>
                  <a:lnTo>
                    <a:pt x="99644" y="8446"/>
                  </a:lnTo>
                  <a:lnTo>
                    <a:pt x="98820" y="11362"/>
                  </a:lnTo>
                  <a:lnTo>
                    <a:pt x="98610" y="14469"/>
                  </a:lnTo>
                  <a:lnTo>
                    <a:pt x="99094" y="16969"/>
                  </a:lnTo>
                  <a:lnTo>
                    <a:pt x="99938" y="18749"/>
                  </a:lnTo>
                  <a:lnTo>
                    <a:pt x="100482" y="20693"/>
                  </a:lnTo>
                  <a:lnTo>
                    <a:pt x="100061" y="22048"/>
                  </a:lnTo>
                  <a:lnTo>
                    <a:pt x="99217" y="22627"/>
                  </a:lnTo>
                  <a:lnTo>
                    <a:pt x="99795" y="23308"/>
                  </a:lnTo>
                  <a:lnTo>
                    <a:pt x="101074" y="23473"/>
                  </a:lnTo>
                  <a:lnTo>
                    <a:pt x="103246" y="22881"/>
                  </a:lnTo>
                  <a:lnTo>
                    <a:pt x="106585" y="21845"/>
                  </a:lnTo>
                  <a:lnTo>
                    <a:pt x="110960" y="20348"/>
                  </a:lnTo>
                  <a:lnTo>
                    <a:pt x="113838" y="19542"/>
                  </a:lnTo>
                  <a:lnTo>
                    <a:pt x="118589" y="20047"/>
                  </a:lnTo>
                  <a:lnTo>
                    <a:pt x="121124" y="20615"/>
                  </a:lnTo>
                  <a:lnTo>
                    <a:pt x="122426" y="21669"/>
                  </a:lnTo>
                  <a:lnTo>
                    <a:pt x="123825" y="26130"/>
                  </a:lnTo>
                  <a:lnTo>
                    <a:pt x="124520" y="26807"/>
                  </a:lnTo>
                  <a:lnTo>
                    <a:pt x="125669" y="28704"/>
                  </a:lnTo>
                  <a:lnTo>
                    <a:pt x="126630" y="30981"/>
                  </a:lnTo>
                  <a:lnTo>
                    <a:pt x="126835" y="32139"/>
                  </a:lnTo>
                  <a:lnTo>
                    <a:pt x="126732" y="32972"/>
                  </a:lnTo>
                  <a:lnTo>
                    <a:pt x="125762" y="34205"/>
                  </a:lnTo>
                  <a:lnTo>
                    <a:pt x="124676" y="36015"/>
                  </a:lnTo>
                  <a:lnTo>
                    <a:pt x="124294" y="37112"/>
                  </a:lnTo>
                  <a:lnTo>
                    <a:pt x="123385" y="37925"/>
                  </a:lnTo>
                  <a:lnTo>
                    <a:pt x="122231" y="38729"/>
                  </a:lnTo>
                  <a:lnTo>
                    <a:pt x="119059" y="39050"/>
                  </a:lnTo>
                  <a:lnTo>
                    <a:pt x="118573" y="39528"/>
                  </a:lnTo>
                  <a:lnTo>
                    <a:pt x="117684" y="41457"/>
                  </a:lnTo>
                  <a:lnTo>
                    <a:pt x="116010" y="43092"/>
                  </a:lnTo>
                  <a:lnTo>
                    <a:pt x="115248" y="44636"/>
                  </a:lnTo>
                  <a:lnTo>
                    <a:pt x="114572" y="46696"/>
                  </a:lnTo>
                  <a:lnTo>
                    <a:pt x="114706" y="49250"/>
                  </a:lnTo>
                  <a:lnTo>
                    <a:pt x="114371" y="52924"/>
                  </a:lnTo>
                  <a:lnTo>
                    <a:pt x="114030" y="55411"/>
                  </a:lnTo>
                  <a:lnTo>
                    <a:pt x="114870" y="56279"/>
                  </a:lnTo>
                  <a:lnTo>
                    <a:pt x="118660" y="56888"/>
                  </a:lnTo>
                  <a:lnTo>
                    <a:pt x="119399" y="57381"/>
                  </a:lnTo>
                  <a:lnTo>
                    <a:pt x="120405" y="58918"/>
                  </a:lnTo>
                  <a:lnTo>
                    <a:pt x="121696" y="60365"/>
                  </a:lnTo>
                  <a:lnTo>
                    <a:pt x="125168" y="61276"/>
                  </a:lnTo>
                  <a:lnTo>
                    <a:pt x="126516" y="62384"/>
                  </a:lnTo>
                  <a:lnTo>
                    <a:pt x="127609" y="63595"/>
                  </a:lnTo>
                  <a:lnTo>
                    <a:pt x="127751" y="64589"/>
                  </a:lnTo>
                  <a:lnTo>
                    <a:pt x="126963" y="68580"/>
                  </a:lnTo>
                  <a:lnTo>
                    <a:pt x="126205" y="72410"/>
                  </a:lnTo>
                  <a:lnTo>
                    <a:pt x="126500" y="75326"/>
                  </a:lnTo>
                  <a:lnTo>
                    <a:pt x="126786" y="78110"/>
                  </a:lnTo>
                  <a:lnTo>
                    <a:pt x="127198" y="82166"/>
                  </a:lnTo>
                  <a:lnTo>
                    <a:pt x="127014" y="84641"/>
                  </a:lnTo>
                  <a:lnTo>
                    <a:pt x="126034" y="86151"/>
                  </a:lnTo>
                  <a:lnTo>
                    <a:pt x="126034" y="87337"/>
                  </a:lnTo>
                  <a:lnTo>
                    <a:pt x="126483" y="88764"/>
                  </a:lnTo>
                  <a:lnTo>
                    <a:pt x="125615" y="92713"/>
                  </a:lnTo>
                  <a:lnTo>
                    <a:pt x="125054" y="93380"/>
                  </a:lnTo>
                  <a:lnTo>
                    <a:pt x="123501" y="94117"/>
                  </a:lnTo>
                  <a:lnTo>
                    <a:pt x="122685" y="95178"/>
                  </a:lnTo>
                  <a:lnTo>
                    <a:pt x="122424" y="96843"/>
                  </a:lnTo>
                  <a:lnTo>
                    <a:pt x="121586" y="99125"/>
                  </a:lnTo>
                  <a:lnTo>
                    <a:pt x="120726" y="99958"/>
                  </a:lnTo>
                  <a:lnTo>
                    <a:pt x="120726" y="101019"/>
                  </a:lnTo>
                  <a:lnTo>
                    <a:pt x="121556" y="101795"/>
                  </a:lnTo>
                  <a:lnTo>
                    <a:pt x="121543" y="102981"/>
                  </a:lnTo>
                  <a:lnTo>
                    <a:pt x="119994" y="104392"/>
                  </a:lnTo>
                  <a:lnTo>
                    <a:pt x="119057" y="105474"/>
                  </a:lnTo>
                  <a:lnTo>
                    <a:pt x="116989" y="105999"/>
                  </a:lnTo>
                  <a:lnTo>
                    <a:pt x="114624" y="105442"/>
                  </a:lnTo>
                  <a:lnTo>
                    <a:pt x="114069" y="104655"/>
                  </a:lnTo>
                  <a:lnTo>
                    <a:pt x="114641" y="103431"/>
                  </a:lnTo>
                  <a:lnTo>
                    <a:pt x="114438" y="102450"/>
                  </a:lnTo>
                  <a:lnTo>
                    <a:pt x="113622" y="101421"/>
                  </a:lnTo>
                  <a:lnTo>
                    <a:pt x="112357" y="98768"/>
                  </a:lnTo>
                  <a:lnTo>
                    <a:pt x="111238" y="98208"/>
                  </a:lnTo>
                  <a:lnTo>
                    <a:pt x="110614" y="99293"/>
                  </a:lnTo>
                  <a:lnTo>
                    <a:pt x="108690" y="101309"/>
                  </a:lnTo>
                  <a:lnTo>
                    <a:pt x="105293" y="103893"/>
                  </a:lnTo>
                  <a:lnTo>
                    <a:pt x="102914" y="104100"/>
                  </a:lnTo>
                  <a:lnTo>
                    <a:pt x="98519" y="103312"/>
                  </a:lnTo>
                  <a:lnTo>
                    <a:pt x="94835" y="102078"/>
                  </a:lnTo>
                  <a:lnTo>
                    <a:pt x="93101" y="99045"/>
                  </a:lnTo>
                  <a:lnTo>
                    <a:pt x="92015" y="96545"/>
                  </a:lnTo>
                  <a:lnTo>
                    <a:pt x="90448" y="93637"/>
                  </a:lnTo>
                  <a:lnTo>
                    <a:pt x="88681" y="92257"/>
                  </a:lnTo>
                  <a:lnTo>
                    <a:pt x="86796" y="91376"/>
                  </a:lnTo>
                  <a:lnTo>
                    <a:pt x="85956" y="91315"/>
                  </a:lnTo>
                  <a:lnTo>
                    <a:pt x="83263" y="92933"/>
                  </a:lnTo>
                  <a:lnTo>
                    <a:pt x="82455" y="93573"/>
                  </a:lnTo>
                  <a:lnTo>
                    <a:pt x="82462" y="94931"/>
                  </a:lnTo>
                  <a:lnTo>
                    <a:pt x="82712" y="96197"/>
                  </a:lnTo>
                  <a:lnTo>
                    <a:pt x="83129" y="96811"/>
                  </a:lnTo>
                  <a:lnTo>
                    <a:pt x="83481" y="97623"/>
                  </a:lnTo>
                  <a:lnTo>
                    <a:pt x="83419" y="98889"/>
                  </a:lnTo>
                  <a:lnTo>
                    <a:pt x="82935" y="100578"/>
                  </a:lnTo>
                  <a:lnTo>
                    <a:pt x="82771" y="102445"/>
                  </a:lnTo>
                  <a:lnTo>
                    <a:pt x="74325" y="104273"/>
                  </a:lnTo>
                  <a:lnTo>
                    <a:pt x="72861" y="103614"/>
                  </a:lnTo>
                  <a:lnTo>
                    <a:pt x="71801" y="102774"/>
                  </a:lnTo>
                  <a:lnTo>
                    <a:pt x="70521" y="102920"/>
                  </a:lnTo>
                  <a:lnTo>
                    <a:pt x="66858" y="103878"/>
                  </a:lnTo>
                  <a:lnTo>
                    <a:pt x="65513" y="103210"/>
                  </a:lnTo>
                  <a:lnTo>
                    <a:pt x="64176" y="102724"/>
                  </a:lnTo>
                  <a:lnTo>
                    <a:pt x="63563" y="103130"/>
                  </a:lnTo>
                  <a:lnTo>
                    <a:pt x="63507" y="103929"/>
                  </a:lnTo>
                  <a:lnTo>
                    <a:pt x="64131" y="108318"/>
                  </a:lnTo>
                  <a:lnTo>
                    <a:pt x="63934" y="109990"/>
                  </a:lnTo>
                  <a:lnTo>
                    <a:pt x="63107" y="112173"/>
                  </a:lnTo>
                  <a:lnTo>
                    <a:pt x="62680" y="113657"/>
                  </a:lnTo>
                  <a:lnTo>
                    <a:pt x="64919" y="114070"/>
                  </a:lnTo>
                  <a:lnTo>
                    <a:pt x="65729" y="114762"/>
                  </a:lnTo>
                  <a:lnTo>
                    <a:pt x="66517" y="115866"/>
                  </a:lnTo>
                  <a:lnTo>
                    <a:pt x="67597" y="116897"/>
                  </a:lnTo>
                  <a:lnTo>
                    <a:pt x="67670" y="117520"/>
                  </a:lnTo>
                  <a:lnTo>
                    <a:pt x="66444" y="118667"/>
                  </a:lnTo>
                  <a:lnTo>
                    <a:pt x="66025" y="120081"/>
                  </a:lnTo>
                  <a:lnTo>
                    <a:pt x="66608" y="121188"/>
                  </a:lnTo>
                  <a:lnTo>
                    <a:pt x="68132" y="122342"/>
                  </a:lnTo>
                  <a:lnTo>
                    <a:pt x="70359" y="123539"/>
                  </a:lnTo>
                  <a:lnTo>
                    <a:pt x="71445" y="124322"/>
                  </a:lnTo>
                  <a:lnTo>
                    <a:pt x="71337" y="125040"/>
                  </a:lnTo>
                  <a:lnTo>
                    <a:pt x="70309" y="126572"/>
                  </a:lnTo>
                  <a:lnTo>
                    <a:pt x="69910" y="127865"/>
                  </a:lnTo>
                  <a:lnTo>
                    <a:pt x="69205" y="129035"/>
                  </a:lnTo>
                  <a:lnTo>
                    <a:pt x="69350" y="130111"/>
                  </a:lnTo>
                  <a:lnTo>
                    <a:pt x="70352" y="131114"/>
                  </a:lnTo>
                  <a:lnTo>
                    <a:pt x="70244" y="132012"/>
                  </a:lnTo>
                  <a:lnTo>
                    <a:pt x="69564" y="132693"/>
                  </a:lnTo>
                  <a:lnTo>
                    <a:pt x="68178" y="132550"/>
                  </a:lnTo>
                  <a:lnTo>
                    <a:pt x="67005" y="132645"/>
                  </a:lnTo>
                  <a:lnTo>
                    <a:pt x="65951" y="132369"/>
                  </a:lnTo>
                  <a:lnTo>
                    <a:pt x="62658" y="128892"/>
                  </a:lnTo>
                  <a:lnTo>
                    <a:pt x="61939" y="128788"/>
                  </a:lnTo>
                  <a:lnTo>
                    <a:pt x="57163" y="131463"/>
                  </a:lnTo>
                  <a:lnTo>
                    <a:pt x="55973" y="132563"/>
                  </a:lnTo>
                  <a:lnTo>
                    <a:pt x="54990" y="134139"/>
                  </a:lnTo>
                  <a:lnTo>
                    <a:pt x="53667" y="137556"/>
                  </a:lnTo>
                  <a:lnTo>
                    <a:pt x="51496" y="135567"/>
                  </a:lnTo>
                  <a:lnTo>
                    <a:pt x="49622" y="131928"/>
                  </a:lnTo>
                  <a:lnTo>
                    <a:pt x="47439" y="129696"/>
                  </a:lnTo>
                  <a:lnTo>
                    <a:pt x="42844" y="126081"/>
                  </a:lnTo>
                  <a:lnTo>
                    <a:pt x="41622" y="123425"/>
                  </a:lnTo>
                  <a:lnTo>
                    <a:pt x="36364" y="117561"/>
                  </a:lnTo>
                  <a:lnTo>
                    <a:pt x="28812" y="111702"/>
                  </a:lnTo>
                  <a:lnTo>
                    <a:pt x="23358" y="106617"/>
                  </a:lnTo>
                  <a:lnTo>
                    <a:pt x="22530" y="105489"/>
                  </a:lnTo>
                  <a:lnTo>
                    <a:pt x="23451" y="105628"/>
                  </a:lnTo>
                  <a:lnTo>
                    <a:pt x="28719" y="108162"/>
                  </a:lnTo>
                  <a:lnTo>
                    <a:pt x="29439" y="107879"/>
                  </a:lnTo>
                  <a:lnTo>
                    <a:pt x="30047" y="107311"/>
                  </a:lnTo>
                  <a:lnTo>
                    <a:pt x="27771" y="105982"/>
                  </a:lnTo>
                  <a:lnTo>
                    <a:pt x="25599" y="104936"/>
                  </a:lnTo>
                  <a:lnTo>
                    <a:pt x="23561" y="104284"/>
                  </a:lnTo>
                  <a:lnTo>
                    <a:pt x="21520" y="104340"/>
                  </a:lnTo>
                  <a:lnTo>
                    <a:pt x="20376" y="103266"/>
                  </a:lnTo>
                  <a:lnTo>
                    <a:pt x="19633" y="101631"/>
                  </a:lnTo>
                  <a:lnTo>
                    <a:pt x="19257" y="100233"/>
                  </a:lnTo>
                  <a:lnTo>
                    <a:pt x="18354" y="98770"/>
                  </a:lnTo>
                  <a:lnTo>
                    <a:pt x="15458" y="95757"/>
                  </a:lnTo>
                  <a:lnTo>
                    <a:pt x="14757" y="94592"/>
                  </a:lnTo>
                  <a:lnTo>
                    <a:pt x="13174" y="93000"/>
                  </a:lnTo>
                  <a:lnTo>
                    <a:pt x="14137" y="92793"/>
                  </a:lnTo>
                  <a:lnTo>
                    <a:pt x="17240" y="94311"/>
                  </a:lnTo>
                  <a:lnTo>
                    <a:pt x="17516" y="93707"/>
                  </a:lnTo>
                  <a:lnTo>
                    <a:pt x="17249" y="92814"/>
                  </a:lnTo>
                  <a:lnTo>
                    <a:pt x="14131" y="91372"/>
                  </a:lnTo>
                  <a:lnTo>
                    <a:pt x="12438" y="91276"/>
                  </a:lnTo>
                  <a:lnTo>
                    <a:pt x="12047" y="90263"/>
                  </a:lnTo>
                  <a:lnTo>
                    <a:pt x="12278" y="89090"/>
                  </a:lnTo>
                  <a:lnTo>
                    <a:pt x="10047" y="84699"/>
                  </a:lnTo>
                  <a:lnTo>
                    <a:pt x="7732" y="81412"/>
                  </a:lnTo>
                  <a:lnTo>
                    <a:pt x="7367" y="79859"/>
                  </a:lnTo>
                  <a:lnTo>
                    <a:pt x="13614" y="87006"/>
                  </a:lnTo>
                  <a:lnTo>
                    <a:pt x="14450" y="87129"/>
                  </a:lnTo>
                  <a:lnTo>
                    <a:pt x="15549" y="87062"/>
                  </a:lnTo>
                  <a:lnTo>
                    <a:pt x="18136" y="86261"/>
                  </a:lnTo>
                  <a:lnTo>
                    <a:pt x="17644" y="85306"/>
                  </a:lnTo>
                  <a:lnTo>
                    <a:pt x="16478" y="84282"/>
                  </a:lnTo>
                  <a:lnTo>
                    <a:pt x="15346" y="84753"/>
                  </a:lnTo>
                  <a:lnTo>
                    <a:pt x="13876" y="84850"/>
                  </a:lnTo>
                  <a:lnTo>
                    <a:pt x="13105" y="84423"/>
                  </a:lnTo>
                  <a:lnTo>
                    <a:pt x="12759" y="83686"/>
                  </a:lnTo>
                  <a:lnTo>
                    <a:pt x="14230" y="80216"/>
                  </a:lnTo>
                  <a:lnTo>
                    <a:pt x="13593" y="80390"/>
                  </a:lnTo>
                  <a:lnTo>
                    <a:pt x="13124" y="81010"/>
                  </a:lnTo>
                  <a:lnTo>
                    <a:pt x="12317" y="81304"/>
                  </a:lnTo>
                  <a:lnTo>
                    <a:pt x="11071" y="81485"/>
                  </a:lnTo>
                  <a:lnTo>
                    <a:pt x="7993" y="79626"/>
                  </a:lnTo>
                  <a:lnTo>
                    <a:pt x="5279" y="74609"/>
                  </a:lnTo>
                  <a:lnTo>
                    <a:pt x="4560" y="73581"/>
                  </a:lnTo>
                  <a:lnTo>
                    <a:pt x="3835" y="71836"/>
                  </a:lnTo>
                  <a:lnTo>
                    <a:pt x="3120" y="71117"/>
                  </a:lnTo>
                  <a:lnTo>
                    <a:pt x="0" y="63984"/>
                  </a:lnTo>
                  <a:lnTo>
                    <a:pt x="1196" y="64513"/>
                  </a:lnTo>
                  <a:lnTo>
                    <a:pt x="2615" y="66580"/>
                  </a:lnTo>
                  <a:lnTo>
                    <a:pt x="5378" y="66146"/>
                  </a:lnTo>
                  <a:lnTo>
                    <a:pt x="6458" y="64949"/>
                  </a:lnTo>
                  <a:lnTo>
                    <a:pt x="7402" y="64994"/>
                  </a:lnTo>
                  <a:lnTo>
                    <a:pt x="8367" y="64720"/>
                  </a:lnTo>
                  <a:lnTo>
                    <a:pt x="9583" y="63593"/>
                  </a:lnTo>
                  <a:lnTo>
                    <a:pt x="13124" y="58682"/>
                  </a:lnTo>
                  <a:lnTo>
                    <a:pt x="14062" y="52203"/>
                  </a:lnTo>
                  <a:lnTo>
                    <a:pt x="13757" y="48354"/>
                  </a:lnTo>
                  <a:lnTo>
                    <a:pt x="13239" y="44535"/>
                  </a:lnTo>
                  <a:lnTo>
                    <a:pt x="14411" y="43318"/>
                  </a:lnTo>
                  <a:lnTo>
                    <a:pt x="14873" y="44122"/>
                  </a:lnTo>
                  <a:lnTo>
                    <a:pt x="15102" y="45478"/>
                  </a:lnTo>
                  <a:lnTo>
                    <a:pt x="15655" y="46483"/>
                  </a:lnTo>
                  <a:lnTo>
                    <a:pt x="16916" y="47382"/>
                  </a:lnTo>
                  <a:lnTo>
                    <a:pt x="19263" y="47622"/>
                  </a:lnTo>
                  <a:lnTo>
                    <a:pt x="22891" y="49037"/>
                  </a:lnTo>
                  <a:lnTo>
                    <a:pt x="24182" y="49937"/>
                  </a:lnTo>
                  <a:lnTo>
                    <a:pt x="24535" y="48138"/>
                  </a:lnTo>
                  <a:lnTo>
                    <a:pt x="28708" y="46604"/>
                  </a:lnTo>
                  <a:lnTo>
                    <a:pt x="27448" y="46053"/>
                  </a:lnTo>
                  <a:lnTo>
                    <a:pt x="23738" y="46659"/>
                  </a:lnTo>
                  <a:lnTo>
                    <a:pt x="18648" y="44371"/>
                  </a:lnTo>
                  <a:lnTo>
                    <a:pt x="16959" y="42913"/>
                  </a:lnTo>
                  <a:lnTo>
                    <a:pt x="15383" y="40153"/>
                  </a:lnTo>
                  <a:lnTo>
                    <a:pt x="13746" y="38707"/>
                  </a:lnTo>
                  <a:lnTo>
                    <a:pt x="13860" y="37408"/>
                  </a:lnTo>
                  <a:lnTo>
                    <a:pt x="17516" y="36214"/>
                  </a:lnTo>
                  <a:lnTo>
                    <a:pt x="18482" y="36350"/>
                  </a:lnTo>
                  <a:lnTo>
                    <a:pt x="18873" y="37776"/>
                  </a:lnTo>
                  <a:lnTo>
                    <a:pt x="19855" y="38362"/>
                  </a:lnTo>
                  <a:lnTo>
                    <a:pt x="20229" y="38167"/>
                  </a:lnTo>
                  <a:lnTo>
                    <a:pt x="20391" y="36948"/>
                  </a:lnTo>
                  <a:lnTo>
                    <a:pt x="20403" y="33680"/>
                  </a:lnTo>
                  <a:lnTo>
                    <a:pt x="19287" y="28995"/>
                  </a:lnTo>
                  <a:lnTo>
                    <a:pt x="19628" y="28095"/>
                  </a:lnTo>
                  <a:lnTo>
                    <a:pt x="20630" y="27770"/>
                  </a:lnTo>
                  <a:lnTo>
                    <a:pt x="21522" y="27150"/>
                  </a:lnTo>
                  <a:lnTo>
                    <a:pt x="22144" y="27034"/>
                  </a:lnTo>
                  <a:lnTo>
                    <a:pt x="23381" y="27150"/>
                  </a:lnTo>
                  <a:lnTo>
                    <a:pt x="24003" y="28234"/>
                  </a:lnTo>
                  <a:lnTo>
                    <a:pt x="24340" y="28830"/>
                  </a:lnTo>
                  <a:lnTo>
                    <a:pt x="25588" y="29107"/>
                  </a:lnTo>
                  <a:lnTo>
                    <a:pt x="26614" y="29685"/>
                  </a:lnTo>
                  <a:lnTo>
                    <a:pt x="27497" y="29529"/>
                  </a:lnTo>
                  <a:lnTo>
                    <a:pt x="28229" y="28853"/>
                  </a:lnTo>
                  <a:lnTo>
                    <a:pt x="29307" y="28714"/>
                  </a:lnTo>
                  <a:lnTo>
                    <a:pt x="32632" y="28723"/>
                  </a:lnTo>
                  <a:lnTo>
                    <a:pt x="35651" y="28734"/>
                  </a:lnTo>
                  <a:lnTo>
                    <a:pt x="41661" y="28755"/>
                  </a:lnTo>
                  <a:lnTo>
                    <a:pt x="47668" y="28774"/>
                  </a:lnTo>
                  <a:lnTo>
                    <a:pt x="53677" y="28794"/>
                  </a:lnTo>
                  <a:lnTo>
                    <a:pt x="58203" y="28809"/>
                  </a:lnTo>
                  <a:lnTo>
                    <a:pt x="58188" y="26132"/>
                  </a:lnTo>
                  <a:lnTo>
                    <a:pt x="58165" y="21999"/>
                  </a:lnTo>
                  <a:lnTo>
                    <a:pt x="58136" y="17117"/>
                  </a:lnTo>
                  <a:lnTo>
                    <a:pt x="58111" y="12432"/>
                  </a:lnTo>
                  <a:lnTo>
                    <a:pt x="58087" y="8103"/>
                  </a:lnTo>
                  <a:lnTo>
                    <a:pt x="58057" y="2982"/>
                  </a:lnTo>
                  <a:lnTo>
                    <a:pt x="58305" y="1512"/>
                  </a:lnTo>
                  <a:lnTo>
                    <a:pt x="58601" y="902"/>
                  </a:lnTo>
                  <a:lnTo>
                    <a:pt x="58493" y="55"/>
                  </a:lnTo>
                  <a:lnTo>
                    <a:pt x="63148" y="0"/>
                  </a:lnTo>
                  <a:lnTo>
                    <a:pt x="71568" y="377"/>
                  </a:lnTo>
                  <a:lnTo>
                    <a:pt x="75248" y="325"/>
                  </a:lnTo>
                  <a:lnTo>
                    <a:pt x="76293" y="394"/>
                  </a:lnTo>
                  <a:lnTo>
                    <a:pt x="80890" y="137"/>
                  </a:lnTo>
                  <a:lnTo>
                    <a:pt x="84615" y="461"/>
                  </a:lnTo>
                  <a:lnTo>
                    <a:pt x="86198" y="822"/>
                  </a:lnTo>
                  <a:lnTo>
                    <a:pt x="87621" y="1005"/>
                  </a:lnTo>
                  <a:lnTo>
                    <a:pt x="92082" y="1226"/>
                  </a:lnTo>
                  <a:lnTo>
                    <a:pt x="97906" y="946"/>
                  </a:lnTo>
                  <a:lnTo>
                    <a:pt x="99884" y="1012"/>
                  </a:lnTo>
                  <a:lnTo>
                    <a:pt x="100981" y="1725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80" name="ee4p_GH_1_37365">
              <a:extLst>
                <a:ext uri="{FF2B5EF4-FFF2-40B4-BE49-F238E27FC236}">
                  <a16:creationId xmlns:a16="http://schemas.microsoft.com/office/drawing/2014/main" id="{FDC1E42F-C7D9-7CAE-37F0-4C06793AED2A}"/>
                </a:ext>
              </a:extLst>
            </p:cNvPr>
            <p:cNvSpPr>
              <a:spLocks noChangeAspect="1"/>
            </p:cNvSpPr>
            <p:nvPr>
              <p:custDataLst>
                <p:tags r:id="rId334"/>
              </p:custDataLst>
            </p:nvPr>
          </p:nvSpPr>
          <p:spPr>
            <a:xfrm>
              <a:off x="6424619" y="4357850"/>
              <a:ext cx="123051" cy="183890"/>
            </a:xfrm>
            <a:custGeom>
              <a:avLst/>
              <a:gdLst/>
              <a:ahLst/>
              <a:cxnLst/>
              <a:rect l="0" t="0" r="0" b="0"/>
              <a:pathLst>
                <a:path w="97983" h="142546">
                  <a:moveTo>
                    <a:pt x="70213" y="1148"/>
                  </a:moveTo>
                  <a:lnTo>
                    <a:pt x="71625" y="2492"/>
                  </a:lnTo>
                  <a:lnTo>
                    <a:pt x="71938" y="3265"/>
                  </a:lnTo>
                  <a:lnTo>
                    <a:pt x="71423" y="6166"/>
                  </a:lnTo>
                  <a:lnTo>
                    <a:pt x="70390" y="8196"/>
                  </a:lnTo>
                  <a:lnTo>
                    <a:pt x="69736" y="10099"/>
                  </a:lnTo>
                  <a:lnTo>
                    <a:pt x="69821" y="11048"/>
                  </a:lnTo>
                  <a:lnTo>
                    <a:pt x="70454" y="11997"/>
                  </a:lnTo>
                  <a:lnTo>
                    <a:pt x="72602" y="13489"/>
                  </a:lnTo>
                  <a:lnTo>
                    <a:pt x="73704" y="14456"/>
                  </a:lnTo>
                  <a:lnTo>
                    <a:pt x="75008" y="15928"/>
                  </a:lnTo>
                  <a:lnTo>
                    <a:pt x="76507" y="17364"/>
                  </a:lnTo>
                  <a:lnTo>
                    <a:pt x="79068" y="19231"/>
                  </a:lnTo>
                  <a:lnTo>
                    <a:pt x="80152" y="19568"/>
                  </a:lnTo>
                  <a:lnTo>
                    <a:pt x="80102" y="20089"/>
                  </a:lnTo>
                  <a:lnTo>
                    <a:pt x="79750" y="20806"/>
                  </a:lnTo>
                  <a:lnTo>
                    <a:pt x="79510" y="27764"/>
                  </a:lnTo>
                  <a:lnTo>
                    <a:pt x="79316" y="29557"/>
                  </a:lnTo>
                  <a:lnTo>
                    <a:pt x="79128" y="30464"/>
                  </a:lnTo>
                  <a:lnTo>
                    <a:pt x="78893" y="33061"/>
                  </a:lnTo>
                  <a:lnTo>
                    <a:pt x="78623" y="33431"/>
                  </a:lnTo>
                  <a:lnTo>
                    <a:pt x="78135" y="33402"/>
                  </a:lnTo>
                  <a:lnTo>
                    <a:pt x="77690" y="33500"/>
                  </a:lnTo>
                  <a:lnTo>
                    <a:pt x="77580" y="34018"/>
                  </a:lnTo>
                  <a:lnTo>
                    <a:pt x="77761" y="34548"/>
                  </a:lnTo>
                  <a:lnTo>
                    <a:pt x="79305" y="34923"/>
                  </a:lnTo>
                  <a:lnTo>
                    <a:pt x="78968" y="35315"/>
                  </a:lnTo>
                  <a:lnTo>
                    <a:pt x="77822" y="35671"/>
                  </a:lnTo>
                  <a:lnTo>
                    <a:pt x="77293" y="36451"/>
                  </a:lnTo>
                  <a:lnTo>
                    <a:pt x="77521" y="37345"/>
                  </a:lnTo>
                  <a:lnTo>
                    <a:pt x="76891" y="38060"/>
                  </a:lnTo>
                  <a:lnTo>
                    <a:pt x="77070" y="38543"/>
                  </a:lnTo>
                  <a:lnTo>
                    <a:pt x="77478" y="38897"/>
                  </a:lnTo>
                  <a:lnTo>
                    <a:pt x="78128" y="38767"/>
                  </a:lnTo>
                  <a:lnTo>
                    <a:pt x="79934" y="37569"/>
                  </a:lnTo>
                  <a:lnTo>
                    <a:pt x="80691" y="37437"/>
                  </a:lnTo>
                  <a:lnTo>
                    <a:pt x="81626" y="37686"/>
                  </a:lnTo>
                  <a:lnTo>
                    <a:pt x="83354" y="39511"/>
                  </a:lnTo>
                  <a:lnTo>
                    <a:pt x="83428" y="40407"/>
                  </a:lnTo>
                  <a:lnTo>
                    <a:pt x="82723" y="43464"/>
                  </a:lnTo>
                  <a:lnTo>
                    <a:pt x="82037" y="45825"/>
                  </a:lnTo>
                  <a:lnTo>
                    <a:pt x="81909" y="48970"/>
                  </a:lnTo>
                  <a:lnTo>
                    <a:pt x="82637" y="50737"/>
                  </a:lnTo>
                  <a:lnTo>
                    <a:pt x="82538" y="51706"/>
                  </a:lnTo>
                  <a:lnTo>
                    <a:pt x="81750" y="52546"/>
                  </a:lnTo>
                  <a:lnTo>
                    <a:pt x="79968" y="53759"/>
                  </a:lnTo>
                  <a:lnTo>
                    <a:pt x="80102" y="54590"/>
                  </a:lnTo>
                  <a:lnTo>
                    <a:pt x="80914" y="56133"/>
                  </a:lnTo>
                  <a:lnTo>
                    <a:pt x="82417" y="57858"/>
                  </a:lnTo>
                  <a:lnTo>
                    <a:pt x="85356" y="59988"/>
                  </a:lnTo>
                  <a:lnTo>
                    <a:pt x="86906" y="62766"/>
                  </a:lnTo>
                  <a:lnTo>
                    <a:pt x="86945" y="63893"/>
                  </a:lnTo>
                  <a:lnTo>
                    <a:pt x="86038" y="65023"/>
                  </a:lnTo>
                  <a:lnTo>
                    <a:pt x="84980" y="66001"/>
                  </a:lnTo>
                  <a:lnTo>
                    <a:pt x="84634" y="67420"/>
                  </a:lnTo>
                  <a:lnTo>
                    <a:pt x="85112" y="76710"/>
                  </a:lnTo>
                  <a:lnTo>
                    <a:pt x="82786" y="80743"/>
                  </a:lnTo>
                  <a:lnTo>
                    <a:pt x="82762" y="81894"/>
                  </a:lnTo>
                  <a:lnTo>
                    <a:pt x="82998" y="83228"/>
                  </a:lnTo>
                  <a:lnTo>
                    <a:pt x="83611" y="84037"/>
                  </a:lnTo>
                  <a:lnTo>
                    <a:pt x="84799" y="84257"/>
                  </a:lnTo>
                  <a:lnTo>
                    <a:pt x="85766" y="85039"/>
                  </a:lnTo>
                  <a:lnTo>
                    <a:pt x="85429" y="87864"/>
                  </a:lnTo>
                  <a:lnTo>
                    <a:pt x="84913" y="90751"/>
                  </a:lnTo>
                  <a:lnTo>
                    <a:pt x="84831" y="92143"/>
                  </a:lnTo>
                  <a:lnTo>
                    <a:pt x="84544" y="92807"/>
                  </a:lnTo>
                  <a:lnTo>
                    <a:pt x="83628" y="93350"/>
                  </a:lnTo>
                  <a:lnTo>
                    <a:pt x="83296" y="94257"/>
                  </a:lnTo>
                  <a:lnTo>
                    <a:pt x="83524" y="95379"/>
                  </a:lnTo>
                  <a:lnTo>
                    <a:pt x="83352" y="96210"/>
                  </a:lnTo>
                  <a:lnTo>
                    <a:pt x="83848" y="97286"/>
                  </a:lnTo>
                  <a:lnTo>
                    <a:pt x="84902" y="98626"/>
                  </a:lnTo>
                  <a:lnTo>
                    <a:pt x="86606" y="101949"/>
                  </a:lnTo>
                  <a:lnTo>
                    <a:pt x="87258" y="102211"/>
                  </a:lnTo>
                  <a:lnTo>
                    <a:pt x="87550" y="102909"/>
                  </a:lnTo>
                  <a:lnTo>
                    <a:pt x="87368" y="103587"/>
                  </a:lnTo>
                  <a:lnTo>
                    <a:pt x="88025" y="105057"/>
                  </a:lnTo>
                  <a:lnTo>
                    <a:pt x="89916" y="106526"/>
                  </a:lnTo>
                  <a:lnTo>
                    <a:pt x="91901" y="107810"/>
                  </a:lnTo>
                  <a:lnTo>
                    <a:pt x="93509" y="107993"/>
                  </a:lnTo>
                  <a:lnTo>
                    <a:pt x="93890" y="109142"/>
                  </a:lnTo>
                  <a:lnTo>
                    <a:pt x="94945" y="110605"/>
                  </a:lnTo>
                  <a:lnTo>
                    <a:pt x="95710" y="111245"/>
                  </a:lnTo>
                  <a:lnTo>
                    <a:pt x="96930" y="111662"/>
                  </a:lnTo>
                  <a:lnTo>
                    <a:pt x="97934" y="111884"/>
                  </a:lnTo>
                  <a:lnTo>
                    <a:pt x="97982" y="113118"/>
                  </a:lnTo>
                  <a:lnTo>
                    <a:pt x="96176" y="113962"/>
                  </a:lnTo>
                  <a:lnTo>
                    <a:pt x="94954" y="115235"/>
                  </a:lnTo>
                  <a:lnTo>
                    <a:pt x="94019" y="117179"/>
                  </a:lnTo>
                  <a:lnTo>
                    <a:pt x="92730" y="119312"/>
                  </a:lnTo>
                  <a:lnTo>
                    <a:pt x="88288" y="120425"/>
                  </a:lnTo>
                  <a:lnTo>
                    <a:pt x="86587" y="120433"/>
                  </a:lnTo>
                  <a:lnTo>
                    <a:pt x="77472" y="120486"/>
                  </a:lnTo>
                  <a:lnTo>
                    <a:pt x="68933" y="124682"/>
                  </a:lnTo>
                  <a:lnTo>
                    <a:pt x="64019" y="126177"/>
                  </a:lnTo>
                  <a:lnTo>
                    <a:pt x="60996" y="128539"/>
                  </a:lnTo>
                  <a:lnTo>
                    <a:pt x="56927" y="130218"/>
                  </a:lnTo>
                  <a:lnTo>
                    <a:pt x="54091" y="132254"/>
                  </a:lnTo>
                  <a:lnTo>
                    <a:pt x="48196" y="133231"/>
                  </a:lnTo>
                  <a:lnTo>
                    <a:pt x="38525" y="136438"/>
                  </a:lnTo>
                  <a:lnTo>
                    <a:pt x="35500" y="137704"/>
                  </a:lnTo>
                  <a:lnTo>
                    <a:pt x="32440" y="139931"/>
                  </a:lnTo>
                  <a:lnTo>
                    <a:pt x="27465" y="142545"/>
                  </a:lnTo>
                  <a:lnTo>
                    <a:pt x="25512" y="142509"/>
                  </a:lnTo>
                  <a:lnTo>
                    <a:pt x="21615" y="140071"/>
                  </a:lnTo>
                  <a:lnTo>
                    <a:pt x="18685" y="138846"/>
                  </a:lnTo>
                  <a:lnTo>
                    <a:pt x="11518" y="136976"/>
                  </a:lnTo>
                  <a:lnTo>
                    <a:pt x="6168" y="136254"/>
                  </a:lnTo>
                  <a:lnTo>
                    <a:pt x="3583" y="135452"/>
                  </a:lnTo>
                  <a:lnTo>
                    <a:pt x="2873" y="135314"/>
                  </a:lnTo>
                  <a:lnTo>
                    <a:pt x="3476" y="134435"/>
                  </a:lnTo>
                  <a:lnTo>
                    <a:pt x="4970" y="134380"/>
                  </a:lnTo>
                  <a:lnTo>
                    <a:pt x="6536" y="134645"/>
                  </a:lnTo>
                  <a:lnTo>
                    <a:pt x="7721" y="133976"/>
                  </a:lnTo>
                  <a:lnTo>
                    <a:pt x="9470" y="133887"/>
                  </a:lnTo>
                  <a:lnTo>
                    <a:pt x="9922" y="133189"/>
                  </a:lnTo>
                  <a:lnTo>
                    <a:pt x="10067" y="131425"/>
                  </a:lnTo>
                  <a:lnTo>
                    <a:pt x="10046" y="130003"/>
                  </a:lnTo>
                  <a:lnTo>
                    <a:pt x="10658" y="129366"/>
                  </a:lnTo>
                  <a:lnTo>
                    <a:pt x="10811" y="127691"/>
                  </a:lnTo>
                  <a:lnTo>
                    <a:pt x="9956" y="123974"/>
                  </a:lnTo>
                  <a:lnTo>
                    <a:pt x="9348" y="123550"/>
                  </a:lnTo>
                  <a:lnTo>
                    <a:pt x="6228" y="123022"/>
                  </a:lnTo>
                  <a:lnTo>
                    <a:pt x="5995" y="122284"/>
                  </a:lnTo>
                  <a:lnTo>
                    <a:pt x="5432" y="121507"/>
                  </a:lnTo>
                  <a:lnTo>
                    <a:pt x="4834" y="119589"/>
                  </a:lnTo>
                  <a:lnTo>
                    <a:pt x="4152" y="116738"/>
                  </a:lnTo>
                  <a:lnTo>
                    <a:pt x="3059" y="113202"/>
                  </a:lnTo>
                  <a:lnTo>
                    <a:pt x="958" y="107373"/>
                  </a:lnTo>
                  <a:lnTo>
                    <a:pt x="440" y="105312"/>
                  </a:lnTo>
                  <a:lnTo>
                    <a:pt x="81" y="103212"/>
                  </a:lnTo>
                  <a:lnTo>
                    <a:pt x="0" y="100702"/>
                  </a:lnTo>
                  <a:lnTo>
                    <a:pt x="438" y="99767"/>
                  </a:lnTo>
                  <a:lnTo>
                    <a:pt x="371" y="98471"/>
                  </a:lnTo>
                  <a:lnTo>
                    <a:pt x="180" y="97181"/>
                  </a:lnTo>
                  <a:lnTo>
                    <a:pt x="1659" y="94210"/>
                  </a:lnTo>
                  <a:lnTo>
                    <a:pt x="4560" y="90575"/>
                  </a:lnTo>
                  <a:lnTo>
                    <a:pt x="5169" y="89260"/>
                  </a:lnTo>
                  <a:lnTo>
                    <a:pt x="5708" y="88346"/>
                  </a:lnTo>
                  <a:lnTo>
                    <a:pt x="5785" y="87040"/>
                  </a:lnTo>
                  <a:lnTo>
                    <a:pt x="6299" y="82796"/>
                  </a:lnTo>
                  <a:lnTo>
                    <a:pt x="7686" y="77672"/>
                  </a:lnTo>
                  <a:lnTo>
                    <a:pt x="8558" y="75735"/>
                  </a:lnTo>
                  <a:lnTo>
                    <a:pt x="9150" y="74690"/>
                  </a:lnTo>
                  <a:lnTo>
                    <a:pt x="9857" y="72978"/>
                  </a:lnTo>
                  <a:lnTo>
                    <a:pt x="10043" y="72179"/>
                  </a:lnTo>
                  <a:lnTo>
                    <a:pt x="12716" y="70170"/>
                  </a:lnTo>
                  <a:lnTo>
                    <a:pt x="13943" y="69625"/>
                  </a:lnTo>
                  <a:lnTo>
                    <a:pt x="14217" y="68834"/>
                  </a:lnTo>
                  <a:lnTo>
                    <a:pt x="13797" y="67970"/>
                  </a:lnTo>
                  <a:lnTo>
                    <a:pt x="13979" y="67381"/>
                  </a:lnTo>
                  <a:lnTo>
                    <a:pt x="14620" y="67086"/>
                  </a:lnTo>
                  <a:lnTo>
                    <a:pt x="15603" y="66845"/>
                  </a:lnTo>
                  <a:lnTo>
                    <a:pt x="16320" y="66019"/>
                  </a:lnTo>
                  <a:lnTo>
                    <a:pt x="15192" y="59690"/>
                  </a:lnTo>
                  <a:lnTo>
                    <a:pt x="14283" y="53379"/>
                  </a:lnTo>
                  <a:lnTo>
                    <a:pt x="14230" y="52842"/>
                  </a:lnTo>
                  <a:lnTo>
                    <a:pt x="13688" y="51970"/>
                  </a:lnTo>
                  <a:lnTo>
                    <a:pt x="13150" y="49363"/>
                  </a:lnTo>
                  <a:lnTo>
                    <a:pt x="12251" y="47836"/>
                  </a:lnTo>
                  <a:lnTo>
                    <a:pt x="10990" y="47390"/>
                  </a:lnTo>
                  <a:lnTo>
                    <a:pt x="10995" y="45952"/>
                  </a:lnTo>
                  <a:lnTo>
                    <a:pt x="12266" y="43522"/>
                  </a:lnTo>
                  <a:lnTo>
                    <a:pt x="12597" y="42095"/>
                  </a:lnTo>
                  <a:lnTo>
                    <a:pt x="11987" y="41670"/>
                  </a:lnTo>
                  <a:lnTo>
                    <a:pt x="11900" y="40562"/>
                  </a:lnTo>
                  <a:lnTo>
                    <a:pt x="12334" y="38769"/>
                  </a:lnTo>
                  <a:lnTo>
                    <a:pt x="12119" y="37663"/>
                  </a:lnTo>
                  <a:lnTo>
                    <a:pt x="11890" y="36490"/>
                  </a:lnTo>
                  <a:lnTo>
                    <a:pt x="10569" y="33720"/>
                  </a:lnTo>
                  <a:lnTo>
                    <a:pt x="10247" y="31761"/>
                  </a:lnTo>
                  <a:lnTo>
                    <a:pt x="10926" y="30614"/>
                  </a:lnTo>
                  <a:lnTo>
                    <a:pt x="10906" y="28104"/>
                  </a:lnTo>
                  <a:lnTo>
                    <a:pt x="10187" y="24231"/>
                  </a:lnTo>
                  <a:lnTo>
                    <a:pt x="10071" y="21786"/>
                  </a:lnTo>
                  <a:lnTo>
                    <a:pt x="10557" y="20767"/>
                  </a:lnTo>
                  <a:lnTo>
                    <a:pt x="10322" y="19798"/>
                  </a:lnTo>
                  <a:lnTo>
                    <a:pt x="9367" y="18876"/>
                  </a:lnTo>
                  <a:lnTo>
                    <a:pt x="9298" y="17980"/>
                  </a:lnTo>
                  <a:lnTo>
                    <a:pt x="10112" y="17109"/>
                  </a:lnTo>
                  <a:lnTo>
                    <a:pt x="10011" y="16427"/>
                  </a:lnTo>
                  <a:lnTo>
                    <a:pt x="8993" y="15931"/>
                  </a:lnTo>
                  <a:lnTo>
                    <a:pt x="8082" y="14739"/>
                  </a:lnTo>
                  <a:lnTo>
                    <a:pt x="7276" y="12853"/>
                  </a:lnTo>
                  <a:lnTo>
                    <a:pt x="7443" y="9820"/>
                  </a:lnTo>
                  <a:lnTo>
                    <a:pt x="8963" y="4239"/>
                  </a:lnTo>
                  <a:lnTo>
                    <a:pt x="9154" y="3771"/>
                  </a:lnTo>
                  <a:lnTo>
                    <a:pt x="10875" y="3803"/>
                  </a:lnTo>
                  <a:lnTo>
                    <a:pt x="10885" y="4040"/>
                  </a:lnTo>
                  <a:lnTo>
                    <a:pt x="16247" y="3988"/>
                  </a:lnTo>
                  <a:lnTo>
                    <a:pt x="22377" y="3927"/>
                  </a:lnTo>
                  <a:lnTo>
                    <a:pt x="29703" y="3854"/>
                  </a:lnTo>
                  <a:lnTo>
                    <a:pt x="36358" y="3788"/>
                  </a:lnTo>
                  <a:lnTo>
                    <a:pt x="36650" y="3536"/>
                  </a:lnTo>
                  <a:lnTo>
                    <a:pt x="37749" y="3228"/>
                  </a:lnTo>
                  <a:lnTo>
                    <a:pt x="44474" y="3797"/>
                  </a:lnTo>
                  <a:lnTo>
                    <a:pt x="48678" y="3510"/>
                  </a:lnTo>
                  <a:lnTo>
                    <a:pt x="50462" y="3697"/>
                  </a:lnTo>
                  <a:lnTo>
                    <a:pt x="51764" y="4077"/>
                  </a:lnTo>
                  <a:lnTo>
                    <a:pt x="54669" y="3841"/>
                  </a:lnTo>
                  <a:lnTo>
                    <a:pt x="56220" y="3982"/>
                  </a:lnTo>
                  <a:lnTo>
                    <a:pt x="57390" y="5374"/>
                  </a:lnTo>
                  <a:lnTo>
                    <a:pt x="57862" y="5360"/>
                  </a:lnTo>
                  <a:lnTo>
                    <a:pt x="58515" y="4772"/>
                  </a:lnTo>
                  <a:lnTo>
                    <a:pt x="59674" y="4100"/>
                  </a:lnTo>
                  <a:lnTo>
                    <a:pt x="60858" y="3565"/>
                  </a:lnTo>
                  <a:lnTo>
                    <a:pt x="61702" y="2475"/>
                  </a:lnTo>
                  <a:lnTo>
                    <a:pt x="62214" y="1648"/>
                  </a:lnTo>
                  <a:lnTo>
                    <a:pt x="62982" y="1818"/>
                  </a:lnTo>
                  <a:lnTo>
                    <a:pt x="64085" y="1767"/>
                  </a:lnTo>
                  <a:lnTo>
                    <a:pt x="64819" y="1074"/>
                  </a:lnTo>
                  <a:lnTo>
                    <a:pt x="65108" y="0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81" name="ee4p_GN_1_37365">
              <a:extLst>
                <a:ext uri="{FF2B5EF4-FFF2-40B4-BE49-F238E27FC236}">
                  <a16:creationId xmlns:a16="http://schemas.microsoft.com/office/drawing/2014/main" id="{77E56349-FB4C-D4C5-EE22-2E7AE5138DCC}"/>
                </a:ext>
              </a:extLst>
            </p:cNvPr>
            <p:cNvSpPr>
              <a:spLocks noChangeAspect="1"/>
            </p:cNvSpPr>
            <p:nvPr>
              <p:custDataLst>
                <p:tags r:id="rId335"/>
              </p:custDataLst>
            </p:nvPr>
          </p:nvSpPr>
          <p:spPr>
            <a:xfrm>
              <a:off x="6096738" y="4314258"/>
              <a:ext cx="204661" cy="157245"/>
            </a:xfrm>
            <a:custGeom>
              <a:avLst/>
              <a:gdLst/>
              <a:ahLst/>
              <a:cxnLst/>
              <a:rect l="0" t="0" r="0" b="0"/>
              <a:pathLst>
                <a:path w="162967" h="121892">
                  <a:moveTo>
                    <a:pt x="80970" y="6052"/>
                  </a:moveTo>
                  <a:lnTo>
                    <a:pt x="80337" y="6652"/>
                  </a:lnTo>
                  <a:lnTo>
                    <a:pt x="79684" y="7963"/>
                  </a:lnTo>
                  <a:lnTo>
                    <a:pt x="79087" y="9581"/>
                  </a:lnTo>
                  <a:lnTo>
                    <a:pt x="78476" y="10670"/>
                  </a:lnTo>
                  <a:lnTo>
                    <a:pt x="78692" y="11381"/>
                  </a:lnTo>
                  <a:lnTo>
                    <a:pt x="80412" y="12793"/>
                  </a:lnTo>
                  <a:lnTo>
                    <a:pt x="82833" y="14780"/>
                  </a:lnTo>
                  <a:lnTo>
                    <a:pt x="83816" y="15035"/>
                  </a:lnTo>
                  <a:lnTo>
                    <a:pt x="84944" y="14568"/>
                  </a:lnTo>
                  <a:lnTo>
                    <a:pt x="86723" y="12994"/>
                  </a:lnTo>
                  <a:lnTo>
                    <a:pt x="88125" y="11295"/>
                  </a:lnTo>
                  <a:lnTo>
                    <a:pt x="89480" y="10471"/>
                  </a:lnTo>
                  <a:lnTo>
                    <a:pt x="91058" y="10523"/>
                  </a:lnTo>
                  <a:lnTo>
                    <a:pt x="92319" y="11719"/>
                  </a:lnTo>
                  <a:lnTo>
                    <a:pt x="93860" y="14357"/>
                  </a:lnTo>
                  <a:lnTo>
                    <a:pt x="95263" y="16757"/>
                  </a:lnTo>
                  <a:lnTo>
                    <a:pt x="95443" y="16999"/>
                  </a:lnTo>
                  <a:lnTo>
                    <a:pt x="96010" y="17397"/>
                  </a:lnTo>
                  <a:lnTo>
                    <a:pt x="96715" y="17381"/>
                  </a:lnTo>
                  <a:lnTo>
                    <a:pt x="97459" y="16795"/>
                  </a:lnTo>
                  <a:lnTo>
                    <a:pt x="98006" y="16444"/>
                  </a:lnTo>
                  <a:lnTo>
                    <a:pt x="98658" y="15344"/>
                  </a:lnTo>
                  <a:lnTo>
                    <a:pt x="101393" y="12015"/>
                  </a:lnTo>
                  <a:lnTo>
                    <a:pt x="103451" y="11098"/>
                  </a:lnTo>
                  <a:lnTo>
                    <a:pt x="104177" y="10857"/>
                  </a:lnTo>
                  <a:lnTo>
                    <a:pt x="105615" y="10356"/>
                  </a:lnTo>
                  <a:lnTo>
                    <a:pt x="107998" y="11145"/>
                  </a:lnTo>
                  <a:lnTo>
                    <a:pt x="111458" y="12514"/>
                  </a:lnTo>
                  <a:lnTo>
                    <a:pt x="115658" y="14173"/>
                  </a:lnTo>
                  <a:lnTo>
                    <a:pt x="117132" y="14454"/>
                  </a:lnTo>
                  <a:lnTo>
                    <a:pt x="118001" y="14173"/>
                  </a:lnTo>
                  <a:lnTo>
                    <a:pt x="119249" y="11915"/>
                  </a:lnTo>
                  <a:lnTo>
                    <a:pt x="120809" y="11033"/>
                  </a:lnTo>
                  <a:lnTo>
                    <a:pt x="123041" y="9996"/>
                  </a:lnTo>
                  <a:lnTo>
                    <a:pt x="124850" y="9463"/>
                  </a:lnTo>
                  <a:lnTo>
                    <a:pt x="125887" y="9396"/>
                  </a:lnTo>
                  <a:lnTo>
                    <a:pt x="126283" y="8782"/>
                  </a:lnTo>
                  <a:lnTo>
                    <a:pt x="126474" y="7863"/>
                  </a:lnTo>
                  <a:lnTo>
                    <a:pt x="126269" y="6914"/>
                  </a:lnTo>
                  <a:lnTo>
                    <a:pt x="125101" y="5203"/>
                  </a:lnTo>
                  <a:lnTo>
                    <a:pt x="125063" y="4700"/>
                  </a:lnTo>
                  <a:lnTo>
                    <a:pt x="125730" y="4371"/>
                  </a:lnTo>
                  <a:lnTo>
                    <a:pt x="127171" y="4124"/>
                  </a:lnTo>
                  <a:lnTo>
                    <a:pt x="129039" y="4291"/>
                  </a:lnTo>
                  <a:lnTo>
                    <a:pt x="131141" y="5029"/>
                  </a:lnTo>
                  <a:lnTo>
                    <a:pt x="132853" y="6098"/>
                  </a:lnTo>
                  <a:lnTo>
                    <a:pt x="133829" y="7365"/>
                  </a:lnTo>
                  <a:lnTo>
                    <a:pt x="134892" y="10065"/>
                  </a:lnTo>
                  <a:lnTo>
                    <a:pt x="135710" y="12691"/>
                  </a:lnTo>
                  <a:lnTo>
                    <a:pt x="137823" y="16863"/>
                  </a:lnTo>
                  <a:lnTo>
                    <a:pt x="137784" y="19450"/>
                  </a:lnTo>
                  <a:lnTo>
                    <a:pt x="137740" y="22451"/>
                  </a:lnTo>
                  <a:lnTo>
                    <a:pt x="138676" y="23011"/>
                  </a:lnTo>
                  <a:lnTo>
                    <a:pt x="139707" y="23252"/>
                  </a:lnTo>
                  <a:lnTo>
                    <a:pt x="140186" y="23694"/>
                  </a:lnTo>
                  <a:lnTo>
                    <a:pt x="141214" y="25996"/>
                  </a:lnTo>
                  <a:lnTo>
                    <a:pt x="142182" y="26666"/>
                  </a:lnTo>
                  <a:lnTo>
                    <a:pt x="143341" y="26823"/>
                  </a:lnTo>
                  <a:lnTo>
                    <a:pt x="145509" y="28299"/>
                  </a:lnTo>
                  <a:lnTo>
                    <a:pt x="146907" y="28879"/>
                  </a:lnTo>
                  <a:lnTo>
                    <a:pt x="147105" y="29321"/>
                  </a:lnTo>
                  <a:lnTo>
                    <a:pt x="147057" y="29929"/>
                  </a:lnTo>
                  <a:lnTo>
                    <a:pt x="146513" y="30705"/>
                  </a:lnTo>
                  <a:lnTo>
                    <a:pt x="145667" y="31243"/>
                  </a:lnTo>
                  <a:lnTo>
                    <a:pt x="144412" y="32246"/>
                  </a:lnTo>
                  <a:lnTo>
                    <a:pt x="143373" y="33565"/>
                  </a:lnTo>
                  <a:lnTo>
                    <a:pt x="141236" y="36724"/>
                  </a:lnTo>
                  <a:lnTo>
                    <a:pt x="141175" y="37314"/>
                  </a:lnTo>
                  <a:lnTo>
                    <a:pt x="141629" y="37739"/>
                  </a:lnTo>
                  <a:lnTo>
                    <a:pt x="142513" y="37818"/>
                  </a:lnTo>
                  <a:lnTo>
                    <a:pt x="143456" y="37600"/>
                  </a:lnTo>
                  <a:lnTo>
                    <a:pt x="145420" y="36443"/>
                  </a:lnTo>
                  <a:lnTo>
                    <a:pt x="146973" y="36856"/>
                  </a:lnTo>
                  <a:lnTo>
                    <a:pt x="148456" y="37736"/>
                  </a:lnTo>
                  <a:lnTo>
                    <a:pt x="149002" y="38650"/>
                  </a:lnTo>
                  <a:lnTo>
                    <a:pt x="149143" y="39851"/>
                  </a:lnTo>
                  <a:lnTo>
                    <a:pt x="148804" y="41397"/>
                  </a:lnTo>
                  <a:lnTo>
                    <a:pt x="148750" y="43129"/>
                  </a:lnTo>
                  <a:lnTo>
                    <a:pt x="149249" y="46079"/>
                  </a:lnTo>
                  <a:lnTo>
                    <a:pt x="150021" y="49021"/>
                  </a:lnTo>
                  <a:lnTo>
                    <a:pt x="150798" y="50094"/>
                  </a:lnTo>
                  <a:lnTo>
                    <a:pt x="155756" y="52689"/>
                  </a:lnTo>
                  <a:lnTo>
                    <a:pt x="156233" y="53659"/>
                  </a:lnTo>
                  <a:lnTo>
                    <a:pt x="156482" y="54752"/>
                  </a:lnTo>
                  <a:lnTo>
                    <a:pt x="156125" y="56249"/>
                  </a:lnTo>
                  <a:lnTo>
                    <a:pt x="155618" y="57080"/>
                  </a:lnTo>
                  <a:lnTo>
                    <a:pt x="154196" y="58380"/>
                  </a:lnTo>
                  <a:lnTo>
                    <a:pt x="152896" y="59385"/>
                  </a:lnTo>
                  <a:lnTo>
                    <a:pt x="152486" y="60477"/>
                  </a:lnTo>
                  <a:lnTo>
                    <a:pt x="152692" y="62519"/>
                  </a:lnTo>
                  <a:lnTo>
                    <a:pt x="152688" y="67137"/>
                  </a:lnTo>
                  <a:lnTo>
                    <a:pt x="152889" y="71133"/>
                  </a:lnTo>
                  <a:lnTo>
                    <a:pt x="153956" y="72584"/>
                  </a:lnTo>
                  <a:lnTo>
                    <a:pt x="155232" y="73320"/>
                  </a:lnTo>
                  <a:lnTo>
                    <a:pt x="156742" y="73182"/>
                  </a:lnTo>
                  <a:lnTo>
                    <a:pt x="158212" y="72914"/>
                  </a:lnTo>
                  <a:lnTo>
                    <a:pt x="158128" y="75305"/>
                  </a:lnTo>
                  <a:lnTo>
                    <a:pt x="157729" y="77984"/>
                  </a:lnTo>
                  <a:lnTo>
                    <a:pt x="159468" y="78807"/>
                  </a:lnTo>
                  <a:lnTo>
                    <a:pt x="160344" y="79622"/>
                  </a:lnTo>
                  <a:lnTo>
                    <a:pt x="160827" y="80384"/>
                  </a:lnTo>
                  <a:lnTo>
                    <a:pt x="158082" y="81805"/>
                  </a:lnTo>
                  <a:lnTo>
                    <a:pt x="157284" y="82637"/>
                  </a:lnTo>
                  <a:lnTo>
                    <a:pt x="156913" y="84873"/>
                  </a:lnTo>
                  <a:lnTo>
                    <a:pt x="157001" y="86937"/>
                  </a:lnTo>
                  <a:lnTo>
                    <a:pt x="160693" y="88412"/>
                  </a:lnTo>
                  <a:lnTo>
                    <a:pt x="162118" y="90140"/>
                  </a:lnTo>
                  <a:lnTo>
                    <a:pt x="162751" y="91933"/>
                  </a:lnTo>
                  <a:lnTo>
                    <a:pt x="162966" y="95322"/>
                  </a:lnTo>
                  <a:lnTo>
                    <a:pt x="162637" y="96096"/>
                  </a:lnTo>
                  <a:lnTo>
                    <a:pt x="161689" y="96103"/>
                  </a:lnTo>
                  <a:lnTo>
                    <a:pt x="160618" y="95063"/>
                  </a:lnTo>
                  <a:lnTo>
                    <a:pt x="159818" y="94045"/>
                  </a:lnTo>
                  <a:lnTo>
                    <a:pt x="158819" y="94048"/>
                  </a:lnTo>
                  <a:lnTo>
                    <a:pt x="156954" y="93821"/>
                  </a:lnTo>
                  <a:lnTo>
                    <a:pt x="154831" y="93430"/>
                  </a:lnTo>
                  <a:lnTo>
                    <a:pt x="152207" y="93533"/>
                  </a:lnTo>
                  <a:lnTo>
                    <a:pt x="151274" y="93698"/>
                  </a:lnTo>
                  <a:lnTo>
                    <a:pt x="150677" y="94313"/>
                  </a:lnTo>
                  <a:lnTo>
                    <a:pt x="150519" y="95376"/>
                  </a:lnTo>
                  <a:lnTo>
                    <a:pt x="150254" y="98809"/>
                  </a:lnTo>
                  <a:lnTo>
                    <a:pt x="151116" y="99566"/>
                  </a:lnTo>
                  <a:lnTo>
                    <a:pt x="152808" y="100417"/>
                  </a:lnTo>
                  <a:lnTo>
                    <a:pt x="153915" y="100781"/>
                  </a:lnTo>
                  <a:lnTo>
                    <a:pt x="154843" y="100678"/>
                  </a:lnTo>
                  <a:lnTo>
                    <a:pt x="155547" y="101230"/>
                  </a:lnTo>
                  <a:lnTo>
                    <a:pt x="155699" y="102708"/>
                  </a:lnTo>
                  <a:lnTo>
                    <a:pt x="155215" y="103794"/>
                  </a:lnTo>
                  <a:lnTo>
                    <a:pt x="154285" y="104802"/>
                  </a:lnTo>
                  <a:lnTo>
                    <a:pt x="153112" y="107398"/>
                  </a:lnTo>
                  <a:lnTo>
                    <a:pt x="153312" y="108370"/>
                  </a:lnTo>
                  <a:lnTo>
                    <a:pt x="153365" y="109778"/>
                  </a:lnTo>
                  <a:lnTo>
                    <a:pt x="151363" y="113570"/>
                  </a:lnTo>
                  <a:lnTo>
                    <a:pt x="150790" y="114315"/>
                  </a:lnTo>
                  <a:lnTo>
                    <a:pt x="148139" y="113562"/>
                  </a:lnTo>
                  <a:lnTo>
                    <a:pt x="146409" y="113312"/>
                  </a:lnTo>
                  <a:lnTo>
                    <a:pt x="145161" y="114276"/>
                  </a:lnTo>
                  <a:lnTo>
                    <a:pt x="144369" y="113674"/>
                  </a:lnTo>
                  <a:lnTo>
                    <a:pt x="143437" y="112795"/>
                  </a:lnTo>
                  <a:lnTo>
                    <a:pt x="143117" y="111640"/>
                  </a:lnTo>
                  <a:lnTo>
                    <a:pt x="142488" y="111397"/>
                  </a:lnTo>
                  <a:lnTo>
                    <a:pt x="141328" y="111387"/>
                  </a:lnTo>
                  <a:lnTo>
                    <a:pt x="140255" y="112043"/>
                  </a:lnTo>
                  <a:lnTo>
                    <a:pt x="139788" y="113236"/>
                  </a:lnTo>
                  <a:lnTo>
                    <a:pt x="139717" y="114608"/>
                  </a:lnTo>
                  <a:lnTo>
                    <a:pt x="139549" y="115672"/>
                  </a:lnTo>
                  <a:lnTo>
                    <a:pt x="138910" y="116315"/>
                  </a:lnTo>
                  <a:lnTo>
                    <a:pt x="137610" y="117979"/>
                  </a:lnTo>
                  <a:lnTo>
                    <a:pt x="137000" y="119516"/>
                  </a:lnTo>
                  <a:lnTo>
                    <a:pt x="136245" y="120852"/>
                  </a:lnTo>
                  <a:lnTo>
                    <a:pt x="135167" y="120775"/>
                  </a:lnTo>
                  <a:lnTo>
                    <a:pt x="134668" y="120587"/>
                  </a:lnTo>
                  <a:lnTo>
                    <a:pt x="134323" y="120936"/>
                  </a:lnTo>
                  <a:lnTo>
                    <a:pt x="132648" y="121679"/>
                  </a:lnTo>
                  <a:lnTo>
                    <a:pt x="131205" y="121891"/>
                  </a:lnTo>
                  <a:lnTo>
                    <a:pt x="130824" y="121121"/>
                  </a:lnTo>
                  <a:lnTo>
                    <a:pt x="129983" y="120502"/>
                  </a:lnTo>
                  <a:lnTo>
                    <a:pt x="129047" y="119283"/>
                  </a:lnTo>
                  <a:lnTo>
                    <a:pt x="127983" y="118295"/>
                  </a:lnTo>
                  <a:lnTo>
                    <a:pt x="125948" y="117606"/>
                  </a:lnTo>
                  <a:lnTo>
                    <a:pt x="125145" y="117913"/>
                  </a:lnTo>
                  <a:lnTo>
                    <a:pt x="124184" y="117835"/>
                  </a:lnTo>
                  <a:lnTo>
                    <a:pt x="123549" y="117447"/>
                  </a:lnTo>
                  <a:lnTo>
                    <a:pt x="123639" y="116854"/>
                  </a:lnTo>
                  <a:lnTo>
                    <a:pt x="124706" y="115355"/>
                  </a:lnTo>
                  <a:lnTo>
                    <a:pt x="125314" y="113978"/>
                  </a:lnTo>
                  <a:lnTo>
                    <a:pt x="125647" y="112473"/>
                  </a:lnTo>
                  <a:lnTo>
                    <a:pt x="125642" y="111044"/>
                  </a:lnTo>
                  <a:lnTo>
                    <a:pt x="125073" y="109024"/>
                  </a:lnTo>
                  <a:lnTo>
                    <a:pt x="124157" y="107421"/>
                  </a:lnTo>
                  <a:lnTo>
                    <a:pt x="123934" y="106491"/>
                  </a:lnTo>
                  <a:lnTo>
                    <a:pt x="124041" y="105169"/>
                  </a:lnTo>
                  <a:lnTo>
                    <a:pt x="123830" y="103938"/>
                  </a:lnTo>
                  <a:lnTo>
                    <a:pt x="123533" y="103296"/>
                  </a:lnTo>
                  <a:lnTo>
                    <a:pt x="123387" y="102075"/>
                  </a:lnTo>
                  <a:lnTo>
                    <a:pt x="123100" y="100962"/>
                  </a:lnTo>
                  <a:lnTo>
                    <a:pt x="122561" y="100533"/>
                  </a:lnTo>
                  <a:lnTo>
                    <a:pt x="122258" y="98669"/>
                  </a:lnTo>
                  <a:lnTo>
                    <a:pt x="122345" y="96753"/>
                  </a:lnTo>
                  <a:lnTo>
                    <a:pt x="121557" y="96028"/>
                  </a:lnTo>
                  <a:lnTo>
                    <a:pt x="120313" y="95500"/>
                  </a:lnTo>
                  <a:lnTo>
                    <a:pt x="119582" y="94750"/>
                  </a:lnTo>
                  <a:lnTo>
                    <a:pt x="119132" y="93915"/>
                  </a:lnTo>
                  <a:lnTo>
                    <a:pt x="118683" y="93673"/>
                  </a:lnTo>
                  <a:lnTo>
                    <a:pt x="118301" y="93723"/>
                  </a:lnTo>
                  <a:lnTo>
                    <a:pt x="117953" y="94241"/>
                  </a:lnTo>
                  <a:lnTo>
                    <a:pt x="117539" y="94351"/>
                  </a:lnTo>
                  <a:lnTo>
                    <a:pt x="116817" y="92556"/>
                  </a:lnTo>
                  <a:lnTo>
                    <a:pt x="116514" y="92486"/>
                  </a:lnTo>
                  <a:lnTo>
                    <a:pt x="116011" y="92898"/>
                  </a:lnTo>
                  <a:lnTo>
                    <a:pt x="110270" y="94887"/>
                  </a:lnTo>
                  <a:lnTo>
                    <a:pt x="110019" y="94114"/>
                  </a:lnTo>
                  <a:lnTo>
                    <a:pt x="109534" y="93195"/>
                  </a:lnTo>
                  <a:lnTo>
                    <a:pt x="108433" y="92886"/>
                  </a:lnTo>
                  <a:lnTo>
                    <a:pt x="106540" y="93574"/>
                  </a:lnTo>
                  <a:lnTo>
                    <a:pt x="105431" y="93656"/>
                  </a:lnTo>
                  <a:lnTo>
                    <a:pt x="103731" y="93426"/>
                  </a:lnTo>
                  <a:lnTo>
                    <a:pt x="102971" y="93750"/>
                  </a:lnTo>
                  <a:lnTo>
                    <a:pt x="100716" y="96396"/>
                  </a:lnTo>
                  <a:lnTo>
                    <a:pt x="99361" y="97430"/>
                  </a:lnTo>
                  <a:lnTo>
                    <a:pt x="98337" y="97345"/>
                  </a:lnTo>
                  <a:lnTo>
                    <a:pt x="97262" y="97104"/>
                  </a:lnTo>
                  <a:lnTo>
                    <a:pt x="96503" y="97296"/>
                  </a:lnTo>
                  <a:lnTo>
                    <a:pt x="95946" y="96994"/>
                  </a:lnTo>
                  <a:lnTo>
                    <a:pt x="96167" y="96349"/>
                  </a:lnTo>
                  <a:lnTo>
                    <a:pt x="96715" y="95539"/>
                  </a:lnTo>
                  <a:lnTo>
                    <a:pt x="97796" y="92658"/>
                  </a:lnTo>
                  <a:lnTo>
                    <a:pt x="100568" y="89755"/>
                  </a:lnTo>
                  <a:lnTo>
                    <a:pt x="100625" y="89148"/>
                  </a:lnTo>
                  <a:lnTo>
                    <a:pt x="99492" y="87450"/>
                  </a:lnTo>
                  <a:lnTo>
                    <a:pt x="98301" y="85137"/>
                  </a:lnTo>
                  <a:lnTo>
                    <a:pt x="98298" y="82659"/>
                  </a:lnTo>
                  <a:lnTo>
                    <a:pt x="98073" y="80867"/>
                  </a:lnTo>
                  <a:lnTo>
                    <a:pt x="95621" y="80366"/>
                  </a:lnTo>
                  <a:lnTo>
                    <a:pt x="95175" y="80063"/>
                  </a:lnTo>
                  <a:lnTo>
                    <a:pt x="95110" y="79459"/>
                  </a:lnTo>
                  <a:lnTo>
                    <a:pt x="95745" y="77851"/>
                  </a:lnTo>
                  <a:lnTo>
                    <a:pt x="96488" y="76365"/>
                  </a:lnTo>
                  <a:lnTo>
                    <a:pt x="96597" y="75736"/>
                  </a:lnTo>
                  <a:lnTo>
                    <a:pt x="96424" y="75180"/>
                  </a:lnTo>
                  <a:lnTo>
                    <a:pt x="94919" y="73595"/>
                  </a:lnTo>
                  <a:lnTo>
                    <a:pt x="92570" y="70670"/>
                  </a:lnTo>
                  <a:lnTo>
                    <a:pt x="90397" y="67431"/>
                  </a:lnTo>
                  <a:lnTo>
                    <a:pt x="88531" y="64648"/>
                  </a:lnTo>
                  <a:lnTo>
                    <a:pt x="87023" y="63380"/>
                  </a:lnTo>
                  <a:lnTo>
                    <a:pt x="85582" y="61545"/>
                  </a:lnTo>
                  <a:lnTo>
                    <a:pt x="85033" y="60375"/>
                  </a:lnTo>
                  <a:lnTo>
                    <a:pt x="83530" y="59956"/>
                  </a:lnTo>
                  <a:lnTo>
                    <a:pt x="79146" y="59980"/>
                  </a:lnTo>
                  <a:lnTo>
                    <a:pt x="73880" y="60008"/>
                  </a:lnTo>
                  <a:lnTo>
                    <a:pt x="69435" y="60034"/>
                  </a:lnTo>
                  <a:lnTo>
                    <a:pt x="69177" y="61603"/>
                  </a:lnTo>
                  <a:lnTo>
                    <a:pt x="64321" y="62660"/>
                  </a:lnTo>
                  <a:lnTo>
                    <a:pt x="61327" y="61446"/>
                  </a:lnTo>
                  <a:lnTo>
                    <a:pt x="58005" y="62152"/>
                  </a:lnTo>
                  <a:lnTo>
                    <a:pt x="56380" y="62956"/>
                  </a:lnTo>
                  <a:lnTo>
                    <a:pt x="55874" y="64629"/>
                  </a:lnTo>
                  <a:lnTo>
                    <a:pt x="55133" y="66464"/>
                  </a:lnTo>
                  <a:lnTo>
                    <a:pt x="54426" y="67219"/>
                  </a:lnTo>
                  <a:lnTo>
                    <a:pt x="54122" y="68043"/>
                  </a:lnTo>
                  <a:lnTo>
                    <a:pt x="53711" y="68792"/>
                  </a:lnTo>
                  <a:lnTo>
                    <a:pt x="53059" y="69656"/>
                  </a:lnTo>
                  <a:lnTo>
                    <a:pt x="52335" y="71391"/>
                  </a:lnTo>
                  <a:lnTo>
                    <a:pt x="50755" y="73857"/>
                  </a:lnTo>
                  <a:lnTo>
                    <a:pt x="49091" y="75448"/>
                  </a:lnTo>
                  <a:lnTo>
                    <a:pt x="46268" y="76316"/>
                  </a:lnTo>
                  <a:lnTo>
                    <a:pt x="45387" y="78911"/>
                  </a:lnTo>
                  <a:lnTo>
                    <a:pt x="44737" y="79878"/>
                  </a:lnTo>
                  <a:lnTo>
                    <a:pt x="43647" y="80635"/>
                  </a:lnTo>
                  <a:lnTo>
                    <a:pt x="42485" y="81126"/>
                  </a:lnTo>
                  <a:lnTo>
                    <a:pt x="41413" y="80829"/>
                  </a:lnTo>
                  <a:lnTo>
                    <a:pt x="40177" y="80624"/>
                  </a:lnTo>
                  <a:lnTo>
                    <a:pt x="38885" y="81090"/>
                  </a:lnTo>
                  <a:lnTo>
                    <a:pt x="38665" y="80440"/>
                  </a:lnTo>
                  <a:lnTo>
                    <a:pt x="39398" y="78385"/>
                  </a:lnTo>
                  <a:lnTo>
                    <a:pt x="38814" y="77315"/>
                  </a:lnTo>
                  <a:lnTo>
                    <a:pt x="36598" y="75179"/>
                  </a:lnTo>
                  <a:lnTo>
                    <a:pt x="36388" y="74146"/>
                  </a:lnTo>
                  <a:lnTo>
                    <a:pt x="35709" y="72815"/>
                  </a:lnTo>
                  <a:lnTo>
                    <a:pt x="32791" y="70069"/>
                  </a:lnTo>
                  <a:lnTo>
                    <a:pt x="30069" y="70239"/>
                  </a:lnTo>
                  <a:lnTo>
                    <a:pt x="30826" y="67934"/>
                  </a:lnTo>
                  <a:lnTo>
                    <a:pt x="30792" y="64871"/>
                  </a:lnTo>
                  <a:lnTo>
                    <a:pt x="29867" y="63199"/>
                  </a:lnTo>
                  <a:lnTo>
                    <a:pt x="30104" y="61491"/>
                  </a:lnTo>
                  <a:lnTo>
                    <a:pt x="29599" y="61599"/>
                  </a:lnTo>
                  <a:lnTo>
                    <a:pt x="28690" y="62775"/>
                  </a:lnTo>
                  <a:lnTo>
                    <a:pt x="27222" y="62397"/>
                  </a:lnTo>
                  <a:lnTo>
                    <a:pt x="24247" y="60577"/>
                  </a:lnTo>
                  <a:lnTo>
                    <a:pt x="22761" y="58810"/>
                  </a:lnTo>
                  <a:lnTo>
                    <a:pt x="22583" y="57307"/>
                  </a:lnTo>
                  <a:lnTo>
                    <a:pt x="22249" y="56724"/>
                  </a:lnTo>
                  <a:lnTo>
                    <a:pt x="21337" y="57036"/>
                  </a:lnTo>
                  <a:lnTo>
                    <a:pt x="19476" y="57006"/>
                  </a:lnTo>
                  <a:lnTo>
                    <a:pt x="13805" y="54332"/>
                  </a:lnTo>
                  <a:lnTo>
                    <a:pt x="9766" y="47594"/>
                  </a:lnTo>
                  <a:lnTo>
                    <a:pt x="9676" y="46074"/>
                  </a:lnTo>
                  <a:lnTo>
                    <a:pt x="10256" y="43456"/>
                  </a:lnTo>
                  <a:lnTo>
                    <a:pt x="10121" y="42745"/>
                  </a:lnTo>
                  <a:lnTo>
                    <a:pt x="8267" y="44483"/>
                  </a:lnTo>
                  <a:lnTo>
                    <a:pt x="7913" y="43319"/>
                  </a:lnTo>
                  <a:lnTo>
                    <a:pt x="6497" y="40612"/>
                  </a:lnTo>
                  <a:lnTo>
                    <a:pt x="6087" y="39056"/>
                  </a:lnTo>
                  <a:lnTo>
                    <a:pt x="4726" y="38364"/>
                  </a:lnTo>
                  <a:lnTo>
                    <a:pt x="3637" y="38241"/>
                  </a:lnTo>
                  <a:lnTo>
                    <a:pt x="2795" y="38758"/>
                  </a:lnTo>
                  <a:lnTo>
                    <a:pt x="1685" y="41924"/>
                  </a:lnTo>
                  <a:lnTo>
                    <a:pt x="858" y="41903"/>
                  </a:lnTo>
                  <a:lnTo>
                    <a:pt x="0" y="41227"/>
                  </a:lnTo>
                  <a:lnTo>
                    <a:pt x="181" y="38865"/>
                  </a:lnTo>
                  <a:lnTo>
                    <a:pt x="1154" y="37701"/>
                  </a:lnTo>
                  <a:lnTo>
                    <a:pt x="2361" y="35911"/>
                  </a:lnTo>
                  <a:lnTo>
                    <a:pt x="6012" y="28448"/>
                  </a:lnTo>
                  <a:lnTo>
                    <a:pt x="7318" y="26737"/>
                  </a:lnTo>
                  <a:lnTo>
                    <a:pt x="8143" y="26142"/>
                  </a:lnTo>
                  <a:lnTo>
                    <a:pt x="9871" y="26072"/>
                  </a:lnTo>
                  <a:lnTo>
                    <a:pt x="13240" y="25073"/>
                  </a:lnTo>
                  <a:lnTo>
                    <a:pt x="15996" y="23424"/>
                  </a:lnTo>
                  <a:lnTo>
                    <a:pt x="17372" y="22749"/>
                  </a:lnTo>
                  <a:lnTo>
                    <a:pt x="20540" y="22928"/>
                  </a:lnTo>
                  <a:lnTo>
                    <a:pt x="24279" y="22644"/>
                  </a:lnTo>
                  <a:lnTo>
                    <a:pt x="29154" y="21044"/>
                  </a:lnTo>
                  <a:lnTo>
                    <a:pt x="29246" y="18845"/>
                  </a:lnTo>
                  <a:lnTo>
                    <a:pt x="29200" y="16026"/>
                  </a:lnTo>
                  <a:lnTo>
                    <a:pt x="29038" y="14909"/>
                  </a:lnTo>
                  <a:lnTo>
                    <a:pt x="27306" y="13903"/>
                  </a:lnTo>
                  <a:lnTo>
                    <a:pt x="26298" y="13033"/>
                  </a:lnTo>
                  <a:lnTo>
                    <a:pt x="25430" y="11921"/>
                  </a:lnTo>
                  <a:lnTo>
                    <a:pt x="24375" y="11129"/>
                  </a:lnTo>
                  <a:lnTo>
                    <a:pt x="24409" y="10297"/>
                  </a:lnTo>
                  <a:lnTo>
                    <a:pt x="25732" y="9587"/>
                  </a:lnTo>
                  <a:lnTo>
                    <a:pt x="26573" y="9226"/>
                  </a:lnTo>
                  <a:lnTo>
                    <a:pt x="28556" y="9240"/>
                  </a:lnTo>
                  <a:lnTo>
                    <a:pt x="29213" y="8826"/>
                  </a:lnTo>
                  <a:lnTo>
                    <a:pt x="29703" y="8110"/>
                  </a:lnTo>
                  <a:lnTo>
                    <a:pt x="30268" y="6299"/>
                  </a:lnTo>
                  <a:lnTo>
                    <a:pt x="30463" y="4388"/>
                  </a:lnTo>
                  <a:lnTo>
                    <a:pt x="29157" y="1822"/>
                  </a:lnTo>
                  <a:lnTo>
                    <a:pt x="29231" y="0"/>
                  </a:lnTo>
                  <a:lnTo>
                    <a:pt x="36384" y="262"/>
                  </a:lnTo>
                  <a:lnTo>
                    <a:pt x="37119" y="456"/>
                  </a:lnTo>
                  <a:lnTo>
                    <a:pt x="40313" y="771"/>
                  </a:lnTo>
                  <a:lnTo>
                    <a:pt x="42295" y="768"/>
                  </a:lnTo>
                  <a:lnTo>
                    <a:pt x="43523" y="907"/>
                  </a:lnTo>
                  <a:lnTo>
                    <a:pt x="44035" y="1322"/>
                  </a:lnTo>
                  <a:lnTo>
                    <a:pt x="43933" y="2086"/>
                  </a:lnTo>
                  <a:lnTo>
                    <a:pt x="43591" y="3091"/>
                  </a:lnTo>
                  <a:lnTo>
                    <a:pt x="44002" y="4131"/>
                  </a:lnTo>
                  <a:lnTo>
                    <a:pt x="45093" y="4408"/>
                  </a:lnTo>
                  <a:lnTo>
                    <a:pt x="45674" y="4093"/>
                  </a:lnTo>
                  <a:lnTo>
                    <a:pt x="46229" y="3583"/>
                  </a:lnTo>
                  <a:lnTo>
                    <a:pt x="46889" y="3181"/>
                  </a:lnTo>
                  <a:lnTo>
                    <a:pt x="47829" y="3456"/>
                  </a:lnTo>
                  <a:lnTo>
                    <a:pt x="49838" y="4986"/>
                  </a:lnTo>
                  <a:lnTo>
                    <a:pt x="51702" y="5407"/>
                  </a:lnTo>
                  <a:lnTo>
                    <a:pt x="53741" y="6236"/>
                  </a:lnTo>
                  <a:lnTo>
                    <a:pt x="55656" y="6694"/>
                  </a:lnTo>
                  <a:lnTo>
                    <a:pt x="57355" y="6636"/>
                  </a:lnTo>
                  <a:lnTo>
                    <a:pt x="58644" y="7496"/>
                  </a:lnTo>
                  <a:lnTo>
                    <a:pt x="61029" y="7767"/>
                  </a:lnTo>
                  <a:lnTo>
                    <a:pt x="64108" y="6676"/>
                  </a:lnTo>
                  <a:lnTo>
                    <a:pt x="66532" y="6195"/>
                  </a:lnTo>
                  <a:lnTo>
                    <a:pt x="69933" y="6076"/>
                  </a:lnTo>
                  <a:lnTo>
                    <a:pt x="71712" y="6436"/>
                  </a:lnTo>
                  <a:lnTo>
                    <a:pt x="76895" y="5560"/>
                  </a:lnTo>
                  <a:lnTo>
                    <a:pt x="79481" y="5756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82" name="ee4p_GM_1_37365">
              <a:extLst>
                <a:ext uri="{FF2B5EF4-FFF2-40B4-BE49-F238E27FC236}">
                  <a16:creationId xmlns:a16="http://schemas.microsoft.com/office/drawing/2014/main" id="{C3E09F6A-36C6-1846-1ED0-11830F101592}"/>
                </a:ext>
              </a:extLst>
            </p:cNvPr>
            <p:cNvSpPr>
              <a:spLocks noChangeAspect="1"/>
            </p:cNvSpPr>
            <p:nvPr>
              <p:custDataLst>
                <p:tags r:id="rId336"/>
              </p:custDataLst>
            </p:nvPr>
          </p:nvSpPr>
          <p:spPr>
            <a:xfrm>
              <a:off x="6047487" y="4281227"/>
              <a:ext cx="83256" cy="21719"/>
            </a:xfrm>
            <a:custGeom>
              <a:avLst/>
              <a:gdLst/>
              <a:ahLst/>
              <a:cxnLst/>
              <a:rect l="0" t="0" r="0" b="0"/>
              <a:pathLst>
                <a:path w="66295" h="16836">
                  <a:moveTo>
                    <a:pt x="1359" y="16835"/>
                  </a:moveTo>
                  <a:lnTo>
                    <a:pt x="1227" y="14939"/>
                  </a:lnTo>
                  <a:lnTo>
                    <a:pt x="0" y="10606"/>
                  </a:lnTo>
                  <a:lnTo>
                    <a:pt x="1645" y="8709"/>
                  </a:lnTo>
                  <a:lnTo>
                    <a:pt x="3438" y="7592"/>
                  </a:lnTo>
                  <a:lnTo>
                    <a:pt x="4644" y="8485"/>
                  </a:lnTo>
                  <a:lnTo>
                    <a:pt x="5008" y="10251"/>
                  </a:lnTo>
                  <a:lnTo>
                    <a:pt x="5934" y="11458"/>
                  </a:lnTo>
                  <a:lnTo>
                    <a:pt x="9097" y="12211"/>
                  </a:lnTo>
                  <a:lnTo>
                    <a:pt x="12231" y="11670"/>
                  </a:lnTo>
                  <a:lnTo>
                    <a:pt x="14146" y="11919"/>
                  </a:lnTo>
                  <a:lnTo>
                    <a:pt x="14083" y="10941"/>
                  </a:lnTo>
                  <a:lnTo>
                    <a:pt x="14736" y="9639"/>
                  </a:lnTo>
                  <a:lnTo>
                    <a:pt x="18538" y="9081"/>
                  </a:lnTo>
                  <a:lnTo>
                    <a:pt x="22561" y="8709"/>
                  </a:lnTo>
                  <a:lnTo>
                    <a:pt x="26692" y="7927"/>
                  </a:lnTo>
                  <a:lnTo>
                    <a:pt x="29929" y="7960"/>
                  </a:lnTo>
                  <a:lnTo>
                    <a:pt x="30898" y="7741"/>
                  </a:lnTo>
                  <a:lnTo>
                    <a:pt x="30662" y="7407"/>
                  </a:lnTo>
                  <a:lnTo>
                    <a:pt x="27757" y="7032"/>
                  </a:lnTo>
                  <a:lnTo>
                    <a:pt x="21557" y="7930"/>
                  </a:lnTo>
                  <a:lnTo>
                    <a:pt x="15243" y="8194"/>
                  </a:lnTo>
                  <a:lnTo>
                    <a:pt x="10459" y="10555"/>
                  </a:lnTo>
                  <a:lnTo>
                    <a:pt x="8497" y="10334"/>
                  </a:lnTo>
                  <a:lnTo>
                    <a:pt x="6517" y="7975"/>
                  </a:lnTo>
                  <a:lnTo>
                    <a:pt x="5805" y="5064"/>
                  </a:lnTo>
                  <a:lnTo>
                    <a:pt x="11411" y="4848"/>
                  </a:lnTo>
                  <a:lnTo>
                    <a:pt x="18203" y="4941"/>
                  </a:lnTo>
                  <a:lnTo>
                    <a:pt x="25598" y="5041"/>
                  </a:lnTo>
                  <a:lnTo>
                    <a:pt x="29081" y="5088"/>
                  </a:lnTo>
                  <a:lnTo>
                    <a:pt x="30912" y="1918"/>
                  </a:lnTo>
                  <a:lnTo>
                    <a:pt x="34390" y="518"/>
                  </a:lnTo>
                  <a:lnTo>
                    <a:pt x="37955" y="0"/>
                  </a:lnTo>
                  <a:lnTo>
                    <a:pt x="39809" y="138"/>
                  </a:lnTo>
                  <a:lnTo>
                    <a:pt x="41770" y="606"/>
                  </a:lnTo>
                  <a:lnTo>
                    <a:pt x="45524" y="3222"/>
                  </a:lnTo>
                  <a:lnTo>
                    <a:pt x="47865" y="3818"/>
                  </a:lnTo>
                  <a:lnTo>
                    <a:pt x="49840" y="4414"/>
                  </a:lnTo>
                  <a:lnTo>
                    <a:pt x="51252" y="5685"/>
                  </a:lnTo>
                  <a:lnTo>
                    <a:pt x="53497" y="6946"/>
                  </a:lnTo>
                  <a:lnTo>
                    <a:pt x="55264" y="7286"/>
                  </a:lnTo>
                  <a:lnTo>
                    <a:pt x="56315" y="7093"/>
                  </a:lnTo>
                  <a:lnTo>
                    <a:pt x="58062" y="6607"/>
                  </a:lnTo>
                  <a:lnTo>
                    <a:pt x="59213" y="6216"/>
                  </a:lnTo>
                  <a:lnTo>
                    <a:pt x="62962" y="6051"/>
                  </a:lnTo>
                  <a:lnTo>
                    <a:pt x="65717" y="7512"/>
                  </a:lnTo>
                  <a:lnTo>
                    <a:pt x="66294" y="9104"/>
                  </a:lnTo>
                  <a:lnTo>
                    <a:pt x="65834" y="10736"/>
                  </a:lnTo>
                  <a:lnTo>
                    <a:pt x="62133" y="11612"/>
                  </a:lnTo>
                  <a:lnTo>
                    <a:pt x="57006" y="12974"/>
                  </a:lnTo>
                  <a:lnTo>
                    <a:pt x="52764" y="12230"/>
                  </a:lnTo>
                  <a:lnTo>
                    <a:pt x="47605" y="10367"/>
                  </a:lnTo>
                  <a:lnTo>
                    <a:pt x="44590" y="9030"/>
                  </a:lnTo>
                  <a:lnTo>
                    <a:pt x="43334" y="8496"/>
                  </a:lnTo>
                  <a:lnTo>
                    <a:pt x="41450" y="7646"/>
                  </a:lnTo>
                  <a:lnTo>
                    <a:pt x="39806" y="6729"/>
                  </a:lnTo>
                  <a:lnTo>
                    <a:pt x="38219" y="6137"/>
                  </a:lnTo>
                  <a:lnTo>
                    <a:pt x="37009" y="5757"/>
                  </a:lnTo>
                  <a:lnTo>
                    <a:pt x="36114" y="6236"/>
                  </a:lnTo>
                  <a:lnTo>
                    <a:pt x="35660" y="7365"/>
                  </a:lnTo>
                  <a:lnTo>
                    <a:pt x="34943" y="8625"/>
                  </a:lnTo>
                  <a:lnTo>
                    <a:pt x="34021" y="9370"/>
                  </a:lnTo>
                  <a:lnTo>
                    <a:pt x="29696" y="9812"/>
                  </a:lnTo>
                  <a:lnTo>
                    <a:pt x="25815" y="10274"/>
                  </a:lnTo>
                  <a:lnTo>
                    <a:pt x="23732" y="10667"/>
                  </a:lnTo>
                  <a:lnTo>
                    <a:pt x="22342" y="10964"/>
                  </a:lnTo>
                  <a:lnTo>
                    <a:pt x="21903" y="14759"/>
                  </a:lnTo>
                  <a:lnTo>
                    <a:pt x="17507" y="14716"/>
                  </a:lnTo>
                  <a:lnTo>
                    <a:pt x="13190" y="14673"/>
                  </a:lnTo>
                  <a:lnTo>
                    <a:pt x="8711" y="14740"/>
                  </a:lnTo>
                  <a:lnTo>
                    <a:pt x="3892" y="14811"/>
                  </a:lnTo>
                  <a:lnTo>
                    <a:pt x="2659" y="15585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83" name="ee4p_GW_1_37365">
              <a:extLst>
                <a:ext uri="{FF2B5EF4-FFF2-40B4-BE49-F238E27FC236}">
                  <a16:creationId xmlns:a16="http://schemas.microsoft.com/office/drawing/2014/main" id="{9D4D0E05-04AD-580E-9721-6202AFB468AB}"/>
                </a:ext>
              </a:extLst>
            </p:cNvPr>
            <p:cNvSpPr>
              <a:spLocks noChangeAspect="1"/>
            </p:cNvSpPr>
            <p:nvPr>
              <p:custDataLst>
                <p:tags r:id="rId337"/>
              </p:custDataLst>
            </p:nvPr>
          </p:nvSpPr>
          <p:spPr>
            <a:xfrm>
              <a:off x="6050625" y="4314084"/>
              <a:ext cx="84370" cy="50311"/>
            </a:xfrm>
            <a:custGeom>
              <a:avLst/>
              <a:gdLst>
                <a:gd name="connsiteX0" fmla="*/ 45849 w 179950"/>
                <a:gd name="connsiteY0" fmla="*/ 89321 h 104463"/>
                <a:gd name="connsiteX1" fmla="*/ 47540 w 179950"/>
                <a:gd name="connsiteY1" fmla="*/ 91207 h 104463"/>
                <a:gd name="connsiteX2" fmla="*/ 47770 w 179950"/>
                <a:gd name="connsiteY2" fmla="*/ 91984 h 104463"/>
                <a:gd name="connsiteX3" fmla="*/ 48324 w 179950"/>
                <a:gd name="connsiteY3" fmla="*/ 95935 h 104463"/>
                <a:gd name="connsiteX4" fmla="*/ 47775 w 179950"/>
                <a:gd name="connsiteY4" fmla="*/ 97595 h 104463"/>
                <a:gd name="connsiteX5" fmla="*/ 44293 w 179950"/>
                <a:gd name="connsiteY5" fmla="*/ 97341 h 104463"/>
                <a:gd name="connsiteX6" fmla="*/ 45083 w 179950"/>
                <a:gd name="connsiteY6" fmla="*/ 95656 h 104463"/>
                <a:gd name="connsiteX7" fmla="*/ 44323 w 179950"/>
                <a:gd name="connsiteY7" fmla="*/ 95163 h 104463"/>
                <a:gd name="connsiteX8" fmla="*/ 45330 w 179950"/>
                <a:gd name="connsiteY8" fmla="*/ 90103 h 104463"/>
                <a:gd name="connsiteX9" fmla="*/ 36981 w 179950"/>
                <a:gd name="connsiteY9" fmla="*/ 88960 h 104463"/>
                <a:gd name="connsiteX10" fmla="*/ 38170 w 179950"/>
                <a:gd name="connsiteY10" fmla="*/ 89054 h 104463"/>
                <a:gd name="connsiteX11" fmla="*/ 39032 w 179950"/>
                <a:gd name="connsiteY11" fmla="*/ 93832 h 104463"/>
                <a:gd name="connsiteX12" fmla="*/ 37881 w 179950"/>
                <a:gd name="connsiteY12" fmla="*/ 95838 h 104463"/>
                <a:gd name="connsiteX13" fmla="*/ 35376 w 179950"/>
                <a:gd name="connsiteY13" fmla="*/ 97314 h 104463"/>
                <a:gd name="connsiteX14" fmla="*/ 30638 w 179950"/>
                <a:gd name="connsiteY14" fmla="*/ 98203 h 104463"/>
                <a:gd name="connsiteX15" fmla="*/ 28477 w 179950"/>
                <a:gd name="connsiteY15" fmla="*/ 95228 h 104463"/>
                <a:gd name="connsiteX16" fmla="*/ 28155 w 179950"/>
                <a:gd name="connsiteY16" fmla="*/ 94079 h 104463"/>
                <a:gd name="connsiteX17" fmla="*/ 30633 w 179950"/>
                <a:gd name="connsiteY17" fmla="*/ 93077 h 104463"/>
                <a:gd name="connsiteX18" fmla="*/ 31742 w 179950"/>
                <a:gd name="connsiteY18" fmla="*/ 93037 h 104463"/>
                <a:gd name="connsiteX19" fmla="*/ 33627 w 179950"/>
                <a:gd name="connsiteY19" fmla="*/ 90875 h 104463"/>
                <a:gd name="connsiteX20" fmla="*/ 35952 w 179950"/>
                <a:gd name="connsiteY20" fmla="*/ 89426 h 104463"/>
                <a:gd name="connsiteX21" fmla="*/ 58892 w 179950"/>
                <a:gd name="connsiteY21" fmla="*/ 82786 h 104463"/>
                <a:gd name="connsiteX22" fmla="*/ 61592 w 179950"/>
                <a:gd name="connsiteY22" fmla="*/ 83102 h 104463"/>
                <a:gd name="connsiteX23" fmla="*/ 62395 w 179950"/>
                <a:gd name="connsiteY23" fmla="*/ 83702 h 104463"/>
                <a:gd name="connsiteX24" fmla="*/ 61873 w 179950"/>
                <a:gd name="connsiteY24" fmla="*/ 85419 h 104463"/>
                <a:gd name="connsiteX25" fmla="*/ 60692 w 179950"/>
                <a:gd name="connsiteY25" fmla="*/ 86831 h 104463"/>
                <a:gd name="connsiteX26" fmla="*/ 58439 w 179950"/>
                <a:gd name="connsiteY26" fmla="*/ 87958 h 104463"/>
                <a:gd name="connsiteX27" fmla="*/ 58439 w 179950"/>
                <a:gd name="connsiteY27" fmla="*/ 90414 h 104463"/>
                <a:gd name="connsiteX28" fmla="*/ 55932 w 179950"/>
                <a:gd name="connsiteY28" fmla="*/ 89951 h 104463"/>
                <a:gd name="connsiteX29" fmla="*/ 55203 w 179950"/>
                <a:gd name="connsiteY29" fmla="*/ 89214 h 104463"/>
                <a:gd name="connsiteX30" fmla="*/ 56690 w 179950"/>
                <a:gd name="connsiteY30" fmla="*/ 84768 h 104463"/>
                <a:gd name="connsiteX31" fmla="*/ 44258 w 179950"/>
                <a:gd name="connsiteY31" fmla="*/ 64995 h 104463"/>
                <a:gd name="connsiteX32" fmla="*/ 47173 w 179950"/>
                <a:gd name="connsiteY32" fmla="*/ 65547 h 104463"/>
                <a:gd name="connsiteX33" fmla="*/ 47973 w 179950"/>
                <a:gd name="connsiteY33" fmla="*/ 72945 h 104463"/>
                <a:gd name="connsiteX34" fmla="*/ 45196 w 179950"/>
                <a:gd name="connsiteY34" fmla="*/ 74828 h 104463"/>
                <a:gd name="connsiteX35" fmla="*/ 42325 w 179950"/>
                <a:gd name="connsiteY35" fmla="*/ 73944 h 104463"/>
                <a:gd name="connsiteX36" fmla="*/ 40787 w 179950"/>
                <a:gd name="connsiteY36" fmla="*/ 72265 h 104463"/>
                <a:gd name="connsiteX37" fmla="*/ 41015 w 179950"/>
                <a:gd name="connsiteY37" fmla="*/ 69257 h 104463"/>
                <a:gd name="connsiteX38" fmla="*/ 72811 w 179950"/>
                <a:gd name="connsiteY38" fmla="*/ 62954 h 104463"/>
                <a:gd name="connsiteX39" fmla="*/ 72696 w 179950"/>
                <a:gd name="connsiteY39" fmla="*/ 66841 h 104463"/>
                <a:gd name="connsiteX40" fmla="*/ 70219 w 179950"/>
                <a:gd name="connsiteY40" fmla="*/ 67663 h 104463"/>
                <a:gd name="connsiteX41" fmla="*/ 68609 w 179950"/>
                <a:gd name="connsiteY41" fmla="*/ 68673 h 104463"/>
                <a:gd name="connsiteX42" fmla="*/ 68054 w 179950"/>
                <a:gd name="connsiteY42" fmla="*/ 70068 h 104463"/>
                <a:gd name="connsiteX43" fmla="*/ 64687 w 179950"/>
                <a:gd name="connsiteY43" fmla="*/ 68885 h 104463"/>
                <a:gd name="connsiteX44" fmla="*/ 69608 w 179950"/>
                <a:gd name="connsiteY44" fmla="*/ 63835 h 104463"/>
                <a:gd name="connsiteX45" fmla="*/ 40864 w 179950"/>
                <a:gd name="connsiteY45" fmla="*/ 47683 h 104463"/>
                <a:gd name="connsiteX46" fmla="*/ 42961 w 179950"/>
                <a:gd name="connsiteY46" fmla="*/ 47962 h 104463"/>
                <a:gd name="connsiteX47" fmla="*/ 39889 w 179950"/>
                <a:gd name="connsiteY47" fmla="*/ 55306 h 104463"/>
                <a:gd name="connsiteX48" fmla="*/ 36091 w 179950"/>
                <a:gd name="connsiteY48" fmla="*/ 54498 h 104463"/>
                <a:gd name="connsiteX49" fmla="*/ 33431 w 179950"/>
                <a:gd name="connsiteY49" fmla="*/ 50126 h 104463"/>
                <a:gd name="connsiteX50" fmla="*/ 33131 w 179950"/>
                <a:gd name="connsiteY50" fmla="*/ 48275 h 104463"/>
                <a:gd name="connsiteX51" fmla="*/ 89772 w 179950"/>
                <a:gd name="connsiteY51" fmla="*/ 0 h 104463"/>
                <a:gd name="connsiteX52" fmla="*/ 103722 w 179950"/>
                <a:gd name="connsiteY52" fmla="*/ 59 h 104463"/>
                <a:gd name="connsiteX53" fmla="*/ 118673 w 179950"/>
                <a:gd name="connsiteY53" fmla="*/ 118 h 104463"/>
                <a:gd name="connsiteX54" fmla="*/ 139930 w 179950"/>
                <a:gd name="connsiteY54" fmla="*/ 212 h 104463"/>
                <a:gd name="connsiteX55" fmla="*/ 156776 w 179950"/>
                <a:gd name="connsiteY55" fmla="*/ 279 h 104463"/>
                <a:gd name="connsiteX56" fmla="*/ 176650 w 179950"/>
                <a:gd name="connsiteY56" fmla="*/ 362 h 104463"/>
                <a:gd name="connsiteX57" fmla="*/ 176452 w 179950"/>
                <a:gd name="connsiteY57" fmla="*/ 5242 h 104463"/>
                <a:gd name="connsiteX58" fmla="*/ 179950 w 179950"/>
                <a:gd name="connsiteY58" fmla="*/ 12115 h 104463"/>
                <a:gd name="connsiteX59" fmla="*/ 179428 w 179950"/>
                <a:gd name="connsiteY59" fmla="*/ 17234 h 104463"/>
                <a:gd name="connsiteX60" fmla="*/ 177915 w 179950"/>
                <a:gd name="connsiteY60" fmla="*/ 22085 h 104463"/>
                <a:gd name="connsiteX61" fmla="*/ 176602 w 179950"/>
                <a:gd name="connsiteY61" fmla="*/ 24003 h 104463"/>
                <a:gd name="connsiteX62" fmla="*/ 174842 w 179950"/>
                <a:gd name="connsiteY62" fmla="*/ 25112 h 104463"/>
                <a:gd name="connsiteX63" fmla="*/ 169531 w 179950"/>
                <a:gd name="connsiteY63" fmla="*/ 25074 h 104463"/>
                <a:gd name="connsiteX64" fmla="*/ 167278 w 179950"/>
                <a:gd name="connsiteY64" fmla="*/ 26041 h 104463"/>
                <a:gd name="connsiteX65" fmla="*/ 163735 w 179950"/>
                <a:gd name="connsiteY65" fmla="*/ 27943 h 104463"/>
                <a:gd name="connsiteX66" fmla="*/ 163643 w 179950"/>
                <a:gd name="connsiteY66" fmla="*/ 30171 h 104463"/>
                <a:gd name="connsiteX67" fmla="*/ 166469 w 179950"/>
                <a:gd name="connsiteY67" fmla="*/ 32293 h 104463"/>
                <a:gd name="connsiteX68" fmla="*/ 168794 w 179950"/>
                <a:gd name="connsiteY68" fmla="*/ 35271 h 104463"/>
                <a:gd name="connsiteX69" fmla="*/ 171494 w 179950"/>
                <a:gd name="connsiteY69" fmla="*/ 37602 h 104463"/>
                <a:gd name="connsiteX70" fmla="*/ 176134 w 179950"/>
                <a:gd name="connsiteY70" fmla="*/ 40296 h 104463"/>
                <a:gd name="connsiteX71" fmla="*/ 176567 w 179950"/>
                <a:gd name="connsiteY71" fmla="*/ 43288 h 104463"/>
                <a:gd name="connsiteX72" fmla="*/ 176691 w 179950"/>
                <a:gd name="connsiteY72" fmla="*/ 50839 h 104463"/>
                <a:gd name="connsiteX73" fmla="*/ 176444 w 179950"/>
                <a:gd name="connsiteY73" fmla="*/ 56729 h 104463"/>
                <a:gd name="connsiteX74" fmla="*/ 163386 w 179950"/>
                <a:gd name="connsiteY74" fmla="*/ 61015 h 104463"/>
                <a:gd name="connsiteX75" fmla="*/ 153371 w 179950"/>
                <a:gd name="connsiteY75" fmla="*/ 61775 h 104463"/>
                <a:gd name="connsiteX76" fmla="*/ 144886 w 179950"/>
                <a:gd name="connsiteY76" fmla="*/ 61296 h 104463"/>
                <a:gd name="connsiteX77" fmla="*/ 141200 w 179950"/>
                <a:gd name="connsiteY77" fmla="*/ 63104 h 104463"/>
                <a:gd name="connsiteX78" fmla="*/ 133818 w 179950"/>
                <a:gd name="connsiteY78" fmla="*/ 67521 h 104463"/>
                <a:gd name="connsiteX79" fmla="*/ 124794 w 179950"/>
                <a:gd name="connsiteY79" fmla="*/ 70197 h 104463"/>
                <a:gd name="connsiteX80" fmla="*/ 120165 w 179950"/>
                <a:gd name="connsiteY80" fmla="*/ 70384 h 104463"/>
                <a:gd name="connsiteX81" fmla="*/ 117955 w 179950"/>
                <a:gd name="connsiteY81" fmla="*/ 71978 h 104463"/>
                <a:gd name="connsiteX82" fmla="*/ 114457 w 179950"/>
                <a:gd name="connsiteY82" fmla="*/ 76561 h 104463"/>
                <a:gd name="connsiteX83" fmla="*/ 104678 w 179950"/>
                <a:gd name="connsiteY83" fmla="*/ 96551 h 104463"/>
                <a:gd name="connsiteX84" fmla="*/ 101445 w 179950"/>
                <a:gd name="connsiteY84" fmla="*/ 101346 h 104463"/>
                <a:gd name="connsiteX85" fmla="*/ 98839 w 179950"/>
                <a:gd name="connsiteY85" fmla="*/ 104463 h 104463"/>
                <a:gd name="connsiteX86" fmla="*/ 95833 w 179950"/>
                <a:gd name="connsiteY86" fmla="*/ 100215 h 104463"/>
                <a:gd name="connsiteX87" fmla="*/ 98153 w 179950"/>
                <a:gd name="connsiteY87" fmla="*/ 92367 h 104463"/>
                <a:gd name="connsiteX88" fmla="*/ 95654 w 179950"/>
                <a:gd name="connsiteY88" fmla="*/ 92482 h 104463"/>
                <a:gd name="connsiteX89" fmla="*/ 90664 w 179950"/>
                <a:gd name="connsiteY89" fmla="*/ 98825 h 104463"/>
                <a:gd name="connsiteX90" fmla="*/ 88232 w 179950"/>
                <a:gd name="connsiteY90" fmla="*/ 99026 h 104463"/>
                <a:gd name="connsiteX91" fmla="*/ 88553 w 179950"/>
                <a:gd name="connsiteY91" fmla="*/ 91510 h 104463"/>
                <a:gd name="connsiteX92" fmla="*/ 85786 w 179950"/>
                <a:gd name="connsiteY92" fmla="*/ 91231 h 104463"/>
                <a:gd name="connsiteX93" fmla="*/ 82582 w 179950"/>
                <a:gd name="connsiteY93" fmla="*/ 91764 h 104463"/>
                <a:gd name="connsiteX94" fmla="*/ 78104 w 179950"/>
                <a:gd name="connsiteY94" fmla="*/ 87854 h 104463"/>
                <a:gd name="connsiteX95" fmla="*/ 77662 w 179950"/>
                <a:gd name="connsiteY95" fmla="*/ 84918 h 104463"/>
                <a:gd name="connsiteX96" fmla="*/ 78021 w 179950"/>
                <a:gd name="connsiteY96" fmla="*/ 80823 h 104463"/>
                <a:gd name="connsiteX97" fmla="*/ 80750 w 179950"/>
                <a:gd name="connsiteY97" fmla="*/ 78208 h 104463"/>
                <a:gd name="connsiteX98" fmla="*/ 80381 w 179950"/>
                <a:gd name="connsiteY98" fmla="*/ 77113 h 104463"/>
                <a:gd name="connsiteX99" fmla="*/ 77745 w 179950"/>
                <a:gd name="connsiteY99" fmla="*/ 76805 h 104463"/>
                <a:gd name="connsiteX100" fmla="*/ 74793 w 179950"/>
                <a:gd name="connsiteY100" fmla="*/ 77509 h 104463"/>
                <a:gd name="connsiteX101" fmla="*/ 72988 w 179950"/>
                <a:gd name="connsiteY101" fmla="*/ 76274 h 104463"/>
                <a:gd name="connsiteX102" fmla="*/ 75972 w 179950"/>
                <a:gd name="connsiteY102" fmla="*/ 70960 h 104463"/>
                <a:gd name="connsiteX103" fmla="*/ 86426 w 179950"/>
                <a:gd name="connsiteY103" fmla="*/ 66495 h 104463"/>
                <a:gd name="connsiteX104" fmla="*/ 91687 w 179950"/>
                <a:gd name="connsiteY104" fmla="*/ 66037 h 104463"/>
                <a:gd name="connsiteX105" fmla="*/ 97084 w 179950"/>
                <a:gd name="connsiteY105" fmla="*/ 65025 h 104463"/>
                <a:gd name="connsiteX106" fmla="*/ 94138 w 179950"/>
                <a:gd name="connsiteY106" fmla="*/ 61197 h 104463"/>
                <a:gd name="connsiteX107" fmla="*/ 87741 w 179950"/>
                <a:gd name="connsiteY107" fmla="*/ 59686 h 104463"/>
                <a:gd name="connsiteX108" fmla="*/ 82628 w 179950"/>
                <a:gd name="connsiteY108" fmla="*/ 60742 h 104463"/>
                <a:gd name="connsiteX109" fmla="*/ 80083 w 179950"/>
                <a:gd name="connsiteY109" fmla="*/ 63519 h 104463"/>
                <a:gd name="connsiteX110" fmla="*/ 76925 w 179950"/>
                <a:gd name="connsiteY110" fmla="*/ 63977 h 104463"/>
                <a:gd name="connsiteX111" fmla="*/ 71659 w 179950"/>
                <a:gd name="connsiteY111" fmla="*/ 57463 h 104463"/>
                <a:gd name="connsiteX112" fmla="*/ 71758 w 179950"/>
                <a:gd name="connsiteY112" fmla="*/ 54187 h 104463"/>
                <a:gd name="connsiteX113" fmla="*/ 73716 w 179950"/>
                <a:gd name="connsiteY113" fmla="*/ 50317 h 104463"/>
                <a:gd name="connsiteX114" fmla="*/ 76765 w 179950"/>
                <a:gd name="connsiteY114" fmla="*/ 48578 h 104463"/>
                <a:gd name="connsiteX115" fmla="*/ 88899 w 179950"/>
                <a:gd name="connsiteY115" fmla="*/ 48626 h 104463"/>
                <a:gd name="connsiteX116" fmla="*/ 93503 w 179950"/>
                <a:gd name="connsiteY116" fmla="*/ 46443 h 104463"/>
                <a:gd name="connsiteX117" fmla="*/ 95362 w 179950"/>
                <a:gd name="connsiteY117" fmla="*/ 46044 h 104463"/>
                <a:gd name="connsiteX118" fmla="*/ 97124 w 179950"/>
                <a:gd name="connsiteY118" fmla="*/ 44060 h 104463"/>
                <a:gd name="connsiteX119" fmla="*/ 96752 w 179950"/>
                <a:gd name="connsiteY119" fmla="*/ 42739 h 104463"/>
                <a:gd name="connsiteX120" fmla="*/ 94781 w 179950"/>
                <a:gd name="connsiteY120" fmla="*/ 42661 h 104463"/>
                <a:gd name="connsiteX121" fmla="*/ 90246 w 179950"/>
                <a:gd name="connsiteY121" fmla="*/ 45243 h 104463"/>
                <a:gd name="connsiteX122" fmla="*/ 75637 w 179950"/>
                <a:gd name="connsiteY122" fmla="*/ 44268 h 104463"/>
                <a:gd name="connsiteX123" fmla="*/ 70974 w 179950"/>
                <a:gd name="connsiteY123" fmla="*/ 45827 h 104463"/>
                <a:gd name="connsiteX124" fmla="*/ 62847 w 179950"/>
                <a:gd name="connsiteY124" fmla="*/ 51784 h 104463"/>
                <a:gd name="connsiteX125" fmla="*/ 52856 w 179950"/>
                <a:gd name="connsiteY125" fmla="*/ 55082 h 104463"/>
                <a:gd name="connsiteX126" fmla="*/ 45608 w 179950"/>
                <a:gd name="connsiteY126" fmla="*/ 53692 h 104463"/>
                <a:gd name="connsiteX127" fmla="*/ 47919 w 179950"/>
                <a:gd name="connsiteY127" fmla="*/ 45701 h 104463"/>
                <a:gd name="connsiteX128" fmla="*/ 46885 w 179950"/>
                <a:gd name="connsiteY128" fmla="*/ 44614 h 104463"/>
                <a:gd name="connsiteX129" fmla="*/ 44598 w 179950"/>
                <a:gd name="connsiteY129" fmla="*/ 43302 h 104463"/>
                <a:gd name="connsiteX130" fmla="*/ 33959 w 179950"/>
                <a:gd name="connsiteY130" fmla="*/ 45843 h 104463"/>
                <a:gd name="connsiteX131" fmla="*/ 25910 w 179950"/>
                <a:gd name="connsiteY131" fmla="*/ 42190 h 104463"/>
                <a:gd name="connsiteX132" fmla="*/ 22728 w 179950"/>
                <a:gd name="connsiteY132" fmla="*/ 37776 h 104463"/>
                <a:gd name="connsiteX133" fmla="*/ 23274 w 179950"/>
                <a:gd name="connsiteY133" fmla="*/ 32239 h 104463"/>
                <a:gd name="connsiteX134" fmla="*/ 27072 w 179950"/>
                <a:gd name="connsiteY134" fmla="*/ 28497 h 104463"/>
                <a:gd name="connsiteX135" fmla="*/ 27672 w 179950"/>
                <a:gd name="connsiteY135" fmla="*/ 26630 h 104463"/>
                <a:gd name="connsiteX136" fmla="*/ 23660 w 179950"/>
                <a:gd name="connsiteY136" fmla="*/ 26274 h 104463"/>
                <a:gd name="connsiteX137" fmla="*/ 16286 w 179950"/>
                <a:gd name="connsiteY137" fmla="*/ 28610 h 104463"/>
                <a:gd name="connsiteX138" fmla="*/ 0 w 179950"/>
                <a:gd name="connsiteY138" fmla="*/ 19554 h 104463"/>
                <a:gd name="connsiteX139" fmla="*/ 3249 w 179950"/>
                <a:gd name="connsiteY139" fmla="*/ 18980 h 104463"/>
                <a:gd name="connsiteX140" fmla="*/ 11279 w 179950"/>
                <a:gd name="connsiteY140" fmla="*/ 19926 h 104463"/>
                <a:gd name="connsiteX141" fmla="*/ 17502 w 179950"/>
                <a:gd name="connsiteY141" fmla="*/ 18779 h 104463"/>
                <a:gd name="connsiteX142" fmla="*/ 21887 w 179950"/>
                <a:gd name="connsiteY142" fmla="*/ 16867 h 104463"/>
                <a:gd name="connsiteX143" fmla="*/ 27854 w 179950"/>
                <a:gd name="connsiteY143" fmla="*/ 14234 h 104463"/>
                <a:gd name="connsiteX144" fmla="*/ 33619 w 179950"/>
                <a:gd name="connsiteY144" fmla="*/ 13385 h 104463"/>
                <a:gd name="connsiteX145" fmla="*/ 51661 w 179950"/>
                <a:gd name="connsiteY145" fmla="*/ 14558 h 104463"/>
                <a:gd name="connsiteX146" fmla="*/ 67342 w 179950"/>
                <a:gd name="connsiteY146" fmla="*/ 11403 h 104463"/>
                <a:gd name="connsiteX147" fmla="*/ 79004 w 179950"/>
                <a:gd name="connsiteY147" fmla="*/ 5472 h 104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</a:cxnLst>
              <a:rect l="l" t="t" r="r" b="b"/>
              <a:pathLst>
                <a:path w="179950" h="104463">
                  <a:moveTo>
                    <a:pt x="45849" y="89321"/>
                  </a:moveTo>
                  <a:lnTo>
                    <a:pt x="47540" y="91207"/>
                  </a:lnTo>
                  <a:lnTo>
                    <a:pt x="47770" y="91984"/>
                  </a:lnTo>
                  <a:lnTo>
                    <a:pt x="48324" y="95935"/>
                  </a:lnTo>
                  <a:lnTo>
                    <a:pt x="47775" y="97595"/>
                  </a:lnTo>
                  <a:lnTo>
                    <a:pt x="44293" y="97341"/>
                  </a:lnTo>
                  <a:lnTo>
                    <a:pt x="45083" y="95656"/>
                  </a:lnTo>
                  <a:lnTo>
                    <a:pt x="44323" y="95163"/>
                  </a:lnTo>
                  <a:lnTo>
                    <a:pt x="45330" y="90103"/>
                  </a:lnTo>
                  <a:close/>
                  <a:moveTo>
                    <a:pt x="36981" y="88960"/>
                  </a:moveTo>
                  <a:lnTo>
                    <a:pt x="38170" y="89054"/>
                  </a:lnTo>
                  <a:lnTo>
                    <a:pt x="39032" y="93832"/>
                  </a:lnTo>
                  <a:lnTo>
                    <a:pt x="37881" y="95838"/>
                  </a:lnTo>
                  <a:lnTo>
                    <a:pt x="35376" y="97314"/>
                  </a:lnTo>
                  <a:lnTo>
                    <a:pt x="30638" y="98203"/>
                  </a:lnTo>
                  <a:lnTo>
                    <a:pt x="28477" y="95228"/>
                  </a:lnTo>
                  <a:lnTo>
                    <a:pt x="28155" y="94079"/>
                  </a:lnTo>
                  <a:lnTo>
                    <a:pt x="30633" y="93077"/>
                  </a:lnTo>
                  <a:lnTo>
                    <a:pt x="31742" y="93037"/>
                  </a:lnTo>
                  <a:lnTo>
                    <a:pt x="33627" y="90875"/>
                  </a:lnTo>
                  <a:lnTo>
                    <a:pt x="35952" y="89426"/>
                  </a:lnTo>
                  <a:close/>
                  <a:moveTo>
                    <a:pt x="58892" y="82786"/>
                  </a:moveTo>
                  <a:lnTo>
                    <a:pt x="61592" y="83102"/>
                  </a:lnTo>
                  <a:lnTo>
                    <a:pt x="62395" y="83702"/>
                  </a:lnTo>
                  <a:lnTo>
                    <a:pt x="61873" y="85419"/>
                  </a:lnTo>
                  <a:lnTo>
                    <a:pt x="60692" y="86831"/>
                  </a:lnTo>
                  <a:lnTo>
                    <a:pt x="58439" y="87958"/>
                  </a:lnTo>
                  <a:lnTo>
                    <a:pt x="58439" y="90414"/>
                  </a:lnTo>
                  <a:lnTo>
                    <a:pt x="55932" y="89951"/>
                  </a:lnTo>
                  <a:lnTo>
                    <a:pt x="55203" y="89214"/>
                  </a:lnTo>
                  <a:lnTo>
                    <a:pt x="56690" y="84768"/>
                  </a:lnTo>
                  <a:close/>
                  <a:moveTo>
                    <a:pt x="44258" y="64995"/>
                  </a:moveTo>
                  <a:lnTo>
                    <a:pt x="47173" y="65547"/>
                  </a:lnTo>
                  <a:lnTo>
                    <a:pt x="47973" y="72945"/>
                  </a:lnTo>
                  <a:lnTo>
                    <a:pt x="45196" y="74828"/>
                  </a:lnTo>
                  <a:lnTo>
                    <a:pt x="42325" y="73944"/>
                  </a:lnTo>
                  <a:lnTo>
                    <a:pt x="40787" y="72265"/>
                  </a:lnTo>
                  <a:lnTo>
                    <a:pt x="41015" y="69257"/>
                  </a:lnTo>
                  <a:close/>
                  <a:moveTo>
                    <a:pt x="72811" y="62954"/>
                  </a:moveTo>
                  <a:lnTo>
                    <a:pt x="72696" y="66841"/>
                  </a:lnTo>
                  <a:lnTo>
                    <a:pt x="70219" y="67663"/>
                  </a:lnTo>
                  <a:lnTo>
                    <a:pt x="68609" y="68673"/>
                  </a:lnTo>
                  <a:lnTo>
                    <a:pt x="68054" y="70068"/>
                  </a:lnTo>
                  <a:lnTo>
                    <a:pt x="64687" y="68885"/>
                  </a:lnTo>
                  <a:lnTo>
                    <a:pt x="69608" y="63835"/>
                  </a:lnTo>
                  <a:close/>
                  <a:moveTo>
                    <a:pt x="40864" y="47683"/>
                  </a:moveTo>
                  <a:lnTo>
                    <a:pt x="42961" y="47962"/>
                  </a:lnTo>
                  <a:lnTo>
                    <a:pt x="39889" y="55306"/>
                  </a:lnTo>
                  <a:lnTo>
                    <a:pt x="36091" y="54498"/>
                  </a:lnTo>
                  <a:lnTo>
                    <a:pt x="33431" y="50126"/>
                  </a:lnTo>
                  <a:lnTo>
                    <a:pt x="33131" y="48275"/>
                  </a:lnTo>
                  <a:close/>
                  <a:moveTo>
                    <a:pt x="89772" y="0"/>
                  </a:moveTo>
                  <a:lnTo>
                    <a:pt x="103722" y="59"/>
                  </a:lnTo>
                  <a:lnTo>
                    <a:pt x="118673" y="118"/>
                  </a:lnTo>
                  <a:lnTo>
                    <a:pt x="139930" y="212"/>
                  </a:lnTo>
                  <a:lnTo>
                    <a:pt x="156776" y="279"/>
                  </a:lnTo>
                  <a:lnTo>
                    <a:pt x="176650" y="362"/>
                  </a:lnTo>
                  <a:lnTo>
                    <a:pt x="176452" y="5242"/>
                  </a:lnTo>
                  <a:lnTo>
                    <a:pt x="179950" y="12115"/>
                  </a:lnTo>
                  <a:lnTo>
                    <a:pt x="179428" y="17234"/>
                  </a:lnTo>
                  <a:lnTo>
                    <a:pt x="177915" y="22085"/>
                  </a:lnTo>
                  <a:lnTo>
                    <a:pt x="176602" y="24003"/>
                  </a:lnTo>
                  <a:lnTo>
                    <a:pt x="174842" y="25112"/>
                  </a:lnTo>
                  <a:lnTo>
                    <a:pt x="169531" y="25074"/>
                  </a:lnTo>
                  <a:lnTo>
                    <a:pt x="167278" y="26041"/>
                  </a:lnTo>
                  <a:lnTo>
                    <a:pt x="163735" y="27943"/>
                  </a:lnTo>
                  <a:lnTo>
                    <a:pt x="163643" y="30171"/>
                  </a:lnTo>
                  <a:lnTo>
                    <a:pt x="166469" y="32293"/>
                  </a:lnTo>
                  <a:lnTo>
                    <a:pt x="168794" y="35271"/>
                  </a:lnTo>
                  <a:lnTo>
                    <a:pt x="171494" y="37602"/>
                  </a:lnTo>
                  <a:lnTo>
                    <a:pt x="176134" y="40296"/>
                  </a:lnTo>
                  <a:lnTo>
                    <a:pt x="176567" y="43288"/>
                  </a:lnTo>
                  <a:lnTo>
                    <a:pt x="176691" y="50839"/>
                  </a:lnTo>
                  <a:lnTo>
                    <a:pt x="176444" y="56729"/>
                  </a:lnTo>
                  <a:lnTo>
                    <a:pt x="163386" y="61015"/>
                  </a:lnTo>
                  <a:lnTo>
                    <a:pt x="153371" y="61775"/>
                  </a:lnTo>
                  <a:lnTo>
                    <a:pt x="144886" y="61296"/>
                  </a:lnTo>
                  <a:lnTo>
                    <a:pt x="141200" y="63104"/>
                  </a:lnTo>
                  <a:lnTo>
                    <a:pt x="133818" y="67521"/>
                  </a:lnTo>
                  <a:lnTo>
                    <a:pt x="124794" y="70197"/>
                  </a:lnTo>
                  <a:lnTo>
                    <a:pt x="120165" y="70384"/>
                  </a:lnTo>
                  <a:lnTo>
                    <a:pt x="117955" y="71978"/>
                  </a:lnTo>
                  <a:lnTo>
                    <a:pt x="114457" y="76561"/>
                  </a:lnTo>
                  <a:lnTo>
                    <a:pt x="104678" y="96551"/>
                  </a:lnTo>
                  <a:lnTo>
                    <a:pt x="101445" y="101346"/>
                  </a:lnTo>
                  <a:lnTo>
                    <a:pt x="98839" y="104463"/>
                  </a:lnTo>
                  <a:lnTo>
                    <a:pt x="95833" y="100215"/>
                  </a:lnTo>
                  <a:lnTo>
                    <a:pt x="98153" y="92367"/>
                  </a:lnTo>
                  <a:lnTo>
                    <a:pt x="95654" y="92482"/>
                  </a:lnTo>
                  <a:lnTo>
                    <a:pt x="90664" y="98825"/>
                  </a:lnTo>
                  <a:lnTo>
                    <a:pt x="88232" y="99026"/>
                  </a:lnTo>
                  <a:lnTo>
                    <a:pt x="88553" y="91510"/>
                  </a:lnTo>
                  <a:lnTo>
                    <a:pt x="85786" y="91231"/>
                  </a:lnTo>
                  <a:lnTo>
                    <a:pt x="82582" y="91764"/>
                  </a:lnTo>
                  <a:lnTo>
                    <a:pt x="78104" y="87854"/>
                  </a:lnTo>
                  <a:lnTo>
                    <a:pt x="77662" y="84918"/>
                  </a:lnTo>
                  <a:lnTo>
                    <a:pt x="78021" y="80823"/>
                  </a:lnTo>
                  <a:lnTo>
                    <a:pt x="80750" y="78208"/>
                  </a:lnTo>
                  <a:lnTo>
                    <a:pt x="80381" y="77113"/>
                  </a:lnTo>
                  <a:lnTo>
                    <a:pt x="77745" y="76805"/>
                  </a:lnTo>
                  <a:lnTo>
                    <a:pt x="74793" y="77509"/>
                  </a:lnTo>
                  <a:lnTo>
                    <a:pt x="72988" y="76274"/>
                  </a:lnTo>
                  <a:lnTo>
                    <a:pt x="75972" y="70960"/>
                  </a:lnTo>
                  <a:lnTo>
                    <a:pt x="86426" y="66495"/>
                  </a:lnTo>
                  <a:lnTo>
                    <a:pt x="91687" y="66037"/>
                  </a:lnTo>
                  <a:lnTo>
                    <a:pt x="97084" y="65025"/>
                  </a:lnTo>
                  <a:lnTo>
                    <a:pt x="94138" y="61197"/>
                  </a:lnTo>
                  <a:lnTo>
                    <a:pt x="87741" y="59686"/>
                  </a:lnTo>
                  <a:lnTo>
                    <a:pt x="82628" y="60742"/>
                  </a:lnTo>
                  <a:lnTo>
                    <a:pt x="80083" y="63519"/>
                  </a:lnTo>
                  <a:lnTo>
                    <a:pt x="76925" y="63977"/>
                  </a:lnTo>
                  <a:lnTo>
                    <a:pt x="71659" y="57463"/>
                  </a:lnTo>
                  <a:lnTo>
                    <a:pt x="71758" y="54187"/>
                  </a:lnTo>
                  <a:lnTo>
                    <a:pt x="73716" y="50317"/>
                  </a:lnTo>
                  <a:lnTo>
                    <a:pt x="76765" y="48578"/>
                  </a:lnTo>
                  <a:lnTo>
                    <a:pt x="88899" y="48626"/>
                  </a:lnTo>
                  <a:lnTo>
                    <a:pt x="93503" y="46443"/>
                  </a:lnTo>
                  <a:lnTo>
                    <a:pt x="95362" y="46044"/>
                  </a:lnTo>
                  <a:lnTo>
                    <a:pt x="97124" y="44060"/>
                  </a:lnTo>
                  <a:lnTo>
                    <a:pt x="96752" y="42739"/>
                  </a:lnTo>
                  <a:lnTo>
                    <a:pt x="94781" y="42661"/>
                  </a:lnTo>
                  <a:lnTo>
                    <a:pt x="90246" y="45243"/>
                  </a:lnTo>
                  <a:lnTo>
                    <a:pt x="75637" y="44268"/>
                  </a:lnTo>
                  <a:lnTo>
                    <a:pt x="70974" y="45827"/>
                  </a:lnTo>
                  <a:lnTo>
                    <a:pt x="62847" y="51784"/>
                  </a:lnTo>
                  <a:lnTo>
                    <a:pt x="52856" y="55082"/>
                  </a:lnTo>
                  <a:lnTo>
                    <a:pt x="45608" y="53692"/>
                  </a:lnTo>
                  <a:lnTo>
                    <a:pt x="47919" y="45701"/>
                  </a:lnTo>
                  <a:lnTo>
                    <a:pt x="46885" y="44614"/>
                  </a:lnTo>
                  <a:lnTo>
                    <a:pt x="44598" y="43302"/>
                  </a:lnTo>
                  <a:lnTo>
                    <a:pt x="33959" y="45843"/>
                  </a:lnTo>
                  <a:lnTo>
                    <a:pt x="25910" y="42190"/>
                  </a:lnTo>
                  <a:lnTo>
                    <a:pt x="22728" y="37776"/>
                  </a:lnTo>
                  <a:lnTo>
                    <a:pt x="23274" y="32239"/>
                  </a:lnTo>
                  <a:lnTo>
                    <a:pt x="27072" y="28497"/>
                  </a:lnTo>
                  <a:lnTo>
                    <a:pt x="27672" y="26630"/>
                  </a:lnTo>
                  <a:lnTo>
                    <a:pt x="23660" y="26274"/>
                  </a:lnTo>
                  <a:lnTo>
                    <a:pt x="16286" y="28610"/>
                  </a:lnTo>
                  <a:lnTo>
                    <a:pt x="0" y="19554"/>
                  </a:lnTo>
                  <a:lnTo>
                    <a:pt x="3249" y="18980"/>
                  </a:lnTo>
                  <a:lnTo>
                    <a:pt x="11279" y="19926"/>
                  </a:lnTo>
                  <a:lnTo>
                    <a:pt x="17502" y="18779"/>
                  </a:lnTo>
                  <a:lnTo>
                    <a:pt x="21887" y="16867"/>
                  </a:lnTo>
                  <a:lnTo>
                    <a:pt x="27854" y="14234"/>
                  </a:lnTo>
                  <a:lnTo>
                    <a:pt x="33619" y="13385"/>
                  </a:lnTo>
                  <a:lnTo>
                    <a:pt x="51661" y="14558"/>
                  </a:lnTo>
                  <a:lnTo>
                    <a:pt x="67342" y="11403"/>
                  </a:lnTo>
                  <a:lnTo>
                    <a:pt x="79004" y="5472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84" name="ee4p_GQ_1_37365">
              <a:extLst>
                <a:ext uri="{FF2B5EF4-FFF2-40B4-BE49-F238E27FC236}">
                  <a16:creationId xmlns:a16="http://schemas.microsoft.com/office/drawing/2014/main" id="{FA52411D-56AD-2DE3-DC3F-CEA9DECAC441}"/>
                </a:ext>
              </a:extLst>
            </p:cNvPr>
            <p:cNvSpPr>
              <a:spLocks noChangeAspect="1"/>
            </p:cNvSpPr>
            <p:nvPr>
              <p:custDataLst>
                <p:tags r:id="rId338"/>
              </p:custDataLst>
            </p:nvPr>
          </p:nvSpPr>
          <p:spPr>
            <a:xfrm>
              <a:off x="6748915" y="4570433"/>
              <a:ext cx="80560" cy="79869"/>
            </a:xfrm>
            <a:custGeom>
              <a:avLst/>
              <a:gdLst>
                <a:gd name="connsiteX0" fmla="*/ 80935 w 171824"/>
                <a:gd name="connsiteY0" fmla="*/ 86187 h 165833"/>
                <a:gd name="connsiteX1" fmla="*/ 82438 w 171824"/>
                <a:gd name="connsiteY1" fmla="*/ 86581 h 165833"/>
                <a:gd name="connsiteX2" fmla="*/ 82687 w 171824"/>
                <a:gd name="connsiteY2" fmla="*/ 87904 h 165833"/>
                <a:gd name="connsiteX3" fmla="*/ 83075 w 171824"/>
                <a:gd name="connsiteY3" fmla="*/ 89865 h 165833"/>
                <a:gd name="connsiteX4" fmla="*/ 85042 w 171824"/>
                <a:gd name="connsiteY4" fmla="*/ 91590 h 165833"/>
                <a:gd name="connsiteX5" fmla="*/ 91542 w 171824"/>
                <a:gd name="connsiteY5" fmla="*/ 94287 h 165833"/>
                <a:gd name="connsiteX6" fmla="*/ 110919 w 171824"/>
                <a:gd name="connsiteY6" fmla="*/ 94290 h 165833"/>
                <a:gd name="connsiteX7" fmla="*/ 122482 w 171824"/>
                <a:gd name="connsiteY7" fmla="*/ 94295 h 165833"/>
                <a:gd name="connsiteX8" fmla="*/ 139579 w 171824"/>
                <a:gd name="connsiteY8" fmla="*/ 94298 h 165833"/>
                <a:gd name="connsiteX9" fmla="*/ 157684 w 171824"/>
                <a:gd name="connsiteY9" fmla="*/ 94303 h 165833"/>
                <a:gd name="connsiteX10" fmla="*/ 171433 w 171824"/>
                <a:gd name="connsiteY10" fmla="*/ 94308 h 165833"/>
                <a:gd name="connsiteX11" fmla="*/ 171513 w 171824"/>
                <a:gd name="connsiteY11" fmla="*/ 108025 h 165833"/>
                <a:gd name="connsiteX12" fmla="*/ 171577 w 171824"/>
                <a:gd name="connsiteY12" fmla="*/ 119621 h 165833"/>
                <a:gd name="connsiteX13" fmla="*/ 171644 w 171824"/>
                <a:gd name="connsiteY13" fmla="*/ 132170 h 165833"/>
                <a:gd name="connsiteX14" fmla="*/ 171722 w 171824"/>
                <a:gd name="connsiteY14" fmla="*/ 145246 h 165833"/>
                <a:gd name="connsiteX15" fmla="*/ 171783 w 171824"/>
                <a:gd name="connsiteY15" fmla="*/ 156317 h 165833"/>
                <a:gd name="connsiteX16" fmla="*/ 171824 w 171824"/>
                <a:gd name="connsiteY16" fmla="*/ 163487 h 165833"/>
                <a:gd name="connsiteX17" fmla="*/ 159701 w 171824"/>
                <a:gd name="connsiteY17" fmla="*/ 163447 h 165833"/>
                <a:gd name="connsiteX18" fmla="*/ 143605 w 171824"/>
                <a:gd name="connsiteY18" fmla="*/ 163393 h 165833"/>
                <a:gd name="connsiteX19" fmla="*/ 127515 w 171824"/>
                <a:gd name="connsiteY19" fmla="*/ 163342 h 165833"/>
                <a:gd name="connsiteX20" fmla="*/ 111417 w 171824"/>
                <a:gd name="connsiteY20" fmla="*/ 163286 h 165833"/>
                <a:gd name="connsiteX21" fmla="*/ 103331 w 171824"/>
                <a:gd name="connsiteY21" fmla="*/ 163257 h 165833"/>
                <a:gd name="connsiteX22" fmla="*/ 94425 w 171824"/>
                <a:gd name="connsiteY22" fmla="*/ 163233 h 165833"/>
                <a:gd name="connsiteX23" fmla="*/ 91537 w 171824"/>
                <a:gd name="connsiteY23" fmla="*/ 163605 h 165833"/>
                <a:gd name="connsiteX24" fmla="*/ 89576 w 171824"/>
                <a:gd name="connsiteY24" fmla="*/ 165416 h 165833"/>
                <a:gd name="connsiteX25" fmla="*/ 87211 w 171824"/>
                <a:gd name="connsiteY25" fmla="*/ 165833 h 165833"/>
                <a:gd name="connsiteX26" fmla="*/ 84463 w 171824"/>
                <a:gd name="connsiteY26" fmla="*/ 164285 h 165833"/>
                <a:gd name="connsiteX27" fmla="*/ 81120 w 171824"/>
                <a:gd name="connsiteY27" fmla="*/ 163543 h 165833"/>
                <a:gd name="connsiteX28" fmla="*/ 80217 w 171824"/>
                <a:gd name="connsiteY28" fmla="*/ 161947 h 165833"/>
                <a:gd name="connsiteX29" fmla="*/ 78551 w 171824"/>
                <a:gd name="connsiteY29" fmla="*/ 159043 h 165833"/>
                <a:gd name="connsiteX30" fmla="*/ 75238 w 171824"/>
                <a:gd name="connsiteY30" fmla="*/ 158733 h 165833"/>
                <a:gd name="connsiteX31" fmla="*/ 73572 w 171824"/>
                <a:gd name="connsiteY31" fmla="*/ 159043 h 165833"/>
                <a:gd name="connsiteX32" fmla="*/ 71183 w 171824"/>
                <a:gd name="connsiteY32" fmla="*/ 160704 h 165833"/>
                <a:gd name="connsiteX33" fmla="*/ 68499 w 171824"/>
                <a:gd name="connsiteY33" fmla="*/ 161575 h 165833"/>
                <a:gd name="connsiteX34" fmla="*/ 69008 w 171824"/>
                <a:gd name="connsiteY34" fmla="*/ 160243 h 165833"/>
                <a:gd name="connsiteX35" fmla="*/ 63704 w 171824"/>
                <a:gd name="connsiteY35" fmla="*/ 156670 h 165833"/>
                <a:gd name="connsiteX36" fmla="*/ 59882 w 171824"/>
                <a:gd name="connsiteY36" fmla="*/ 156322 h 165833"/>
                <a:gd name="connsiteX37" fmla="*/ 56365 w 171824"/>
                <a:gd name="connsiteY37" fmla="*/ 155221 h 165833"/>
                <a:gd name="connsiteX38" fmla="*/ 59218 w 171824"/>
                <a:gd name="connsiteY38" fmla="*/ 145913 h 165833"/>
                <a:gd name="connsiteX39" fmla="*/ 62780 w 171824"/>
                <a:gd name="connsiteY39" fmla="*/ 137685 h 165833"/>
                <a:gd name="connsiteX40" fmla="*/ 68113 w 171824"/>
                <a:gd name="connsiteY40" fmla="*/ 131468 h 165833"/>
                <a:gd name="connsiteX41" fmla="*/ 70947 w 171824"/>
                <a:gd name="connsiteY41" fmla="*/ 129971 h 165833"/>
                <a:gd name="connsiteX42" fmla="*/ 71866 w 171824"/>
                <a:gd name="connsiteY42" fmla="*/ 126885 h 165833"/>
                <a:gd name="connsiteX43" fmla="*/ 76082 w 171824"/>
                <a:gd name="connsiteY43" fmla="*/ 116749 h 165833"/>
                <a:gd name="connsiteX44" fmla="*/ 81305 w 171824"/>
                <a:gd name="connsiteY44" fmla="*/ 108523 h 165833"/>
                <a:gd name="connsiteX45" fmla="*/ 79684 w 171824"/>
                <a:gd name="connsiteY45" fmla="*/ 100185 h 165833"/>
                <a:gd name="connsiteX46" fmla="*/ 17855 w 171824"/>
                <a:gd name="connsiteY46" fmla="*/ 0 h 165833"/>
                <a:gd name="connsiteX47" fmla="*/ 19318 w 171824"/>
                <a:gd name="connsiteY47" fmla="*/ 236 h 165833"/>
                <a:gd name="connsiteX48" fmla="*/ 28178 w 171824"/>
                <a:gd name="connsiteY48" fmla="*/ 5 h 165833"/>
                <a:gd name="connsiteX49" fmla="*/ 30583 w 171824"/>
                <a:gd name="connsiteY49" fmla="*/ 3142 h 165833"/>
                <a:gd name="connsiteX50" fmla="*/ 30313 w 171824"/>
                <a:gd name="connsiteY50" fmla="*/ 7755 h 165833"/>
                <a:gd name="connsiteX51" fmla="*/ 21198 w 171824"/>
                <a:gd name="connsiteY51" fmla="*/ 21225 h 165833"/>
                <a:gd name="connsiteX52" fmla="*/ 19497 w 171824"/>
                <a:gd name="connsiteY52" fmla="*/ 26903 h 165833"/>
                <a:gd name="connsiteX53" fmla="*/ 15975 w 171824"/>
                <a:gd name="connsiteY53" fmla="*/ 31706 h 165833"/>
                <a:gd name="connsiteX54" fmla="*/ 12913 w 171824"/>
                <a:gd name="connsiteY54" fmla="*/ 32094 h 165833"/>
                <a:gd name="connsiteX55" fmla="*/ 2405 w 171824"/>
                <a:gd name="connsiteY55" fmla="*/ 29274 h 165833"/>
                <a:gd name="connsiteX56" fmla="*/ 630 w 171824"/>
                <a:gd name="connsiteY56" fmla="*/ 27562 h 165833"/>
                <a:gd name="connsiteX57" fmla="*/ 0 w 171824"/>
                <a:gd name="connsiteY57" fmla="*/ 25256 h 165833"/>
                <a:gd name="connsiteX58" fmla="*/ 1034 w 171824"/>
                <a:gd name="connsiteY58" fmla="*/ 19891 h 165833"/>
                <a:gd name="connsiteX59" fmla="*/ 1797 w 171824"/>
                <a:gd name="connsiteY59" fmla="*/ 18249 h 165833"/>
                <a:gd name="connsiteX60" fmla="*/ 6841 w 171824"/>
                <a:gd name="connsiteY60" fmla="*/ 17239 h 165833"/>
                <a:gd name="connsiteX61" fmla="*/ 8467 w 171824"/>
                <a:gd name="connsiteY61" fmla="*/ 16363 h 165833"/>
                <a:gd name="connsiteX62" fmla="*/ 11162 w 171824"/>
                <a:gd name="connsiteY62" fmla="*/ 10575 h 165833"/>
                <a:gd name="connsiteX63" fmla="*/ 12048 w 171824"/>
                <a:gd name="connsiteY63" fmla="*/ 5306 h 165833"/>
                <a:gd name="connsiteX64" fmla="*/ 14309 w 171824"/>
                <a:gd name="connsiteY64" fmla="*/ 1326 h 165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71824" h="165833">
                  <a:moveTo>
                    <a:pt x="80935" y="86187"/>
                  </a:moveTo>
                  <a:lnTo>
                    <a:pt x="82438" y="86581"/>
                  </a:lnTo>
                  <a:lnTo>
                    <a:pt x="82687" y="87904"/>
                  </a:lnTo>
                  <a:lnTo>
                    <a:pt x="83075" y="89865"/>
                  </a:lnTo>
                  <a:lnTo>
                    <a:pt x="85042" y="91590"/>
                  </a:lnTo>
                  <a:lnTo>
                    <a:pt x="91542" y="94287"/>
                  </a:lnTo>
                  <a:lnTo>
                    <a:pt x="110919" y="94290"/>
                  </a:lnTo>
                  <a:lnTo>
                    <a:pt x="122482" y="94295"/>
                  </a:lnTo>
                  <a:lnTo>
                    <a:pt x="139579" y="94298"/>
                  </a:lnTo>
                  <a:lnTo>
                    <a:pt x="157684" y="94303"/>
                  </a:lnTo>
                  <a:lnTo>
                    <a:pt x="171433" y="94308"/>
                  </a:lnTo>
                  <a:lnTo>
                    <a:pt x="171513" y="108025"/>
                  </a:lnTo>
                  <a:lnTo>
                    <a:pt x="171577" y="119621"/>
                  </a:lnTo>
                  <a:lnTo>
                    <a:pt x="171644" y="132170"/>
                  </a:lnTo>
                  <a:lnTo>
                    <a:pt x="171722" y="145246"/>
                  </a:lnTo>
                  <a:lnTo>
                    <a:pt x="171783" y="156317"/>
                  </a:lnTo>
                  <a:lnTo>
                    <a:pt x="171824" y="163487"/>
                  </a:lnTo>
                  <a:lnTo>
                    <a:pt x="159701" y="163447"/>
                  </a:lnTo>
                  <a:lnTo>
                    <a:pt x="143605" y="163393"/>
                  </a:lnTo>
                  <a:lnTo>
                    <a:pt x="127515" y="163342"/>
                  </a:lnTo>
                  <a:lnTo>
                    <a:pt x="111417" y="163286"/>
                  </a:lnTo>
                  <a:lnTo>
                    <a:pt x="103331" y="163257"/>
                  </a:lnTo>
                  <a:lnTo>
                    <a:pt x="94425" y="163233"/>
                  </a:lnTo>
                  <a:lnTo>
                    <a:pt x="91537" y="163605"/>
                  </a:lnTo>
                  <a:lnTo>
                    <a:pt x="89576" y="165416"/>
                  </a:lnTo>
                  <a:lnTo>
                    <a:pt x="87211" y="165833"/>
                  </a:lnTo>
                  <a:lnTo>
                    <a:pt x="84463" y="164285"/>
                  </a:lnTo>
                  <a:lnTo>
                    <a:pt x="81120" y="163543"/>
                  </a:lnTo>
                  <a:lnTo>
                    <a:pt x="80217" y="161947"/>
                  </a:lnTo>
                  <a:lnTo>
                    <a:pt x="78551" y="159043"/>
                  </a:lnTo>
                  <a:lnTo>
                    <a:pt x="75238" y="158733"/>
                  </a:lnTo>
                  <a:lnTo>
                    <a:pt x="73572" y="159043"/>
                  </a:lnTo>
                  <a:lnTo>
                    <a:pt x="71183" y="160704"/>
                  </a:lnTo>
                  <a:lnTo>
                    <a:pt x="68499" y="161575"/>
                  </a:lnTo>
                  <a:lnTo>
                    <a:pt x="69008" y="160243"/>
                  </a:lnTo>
                  <a:lnTo>
                    <a:pt x="63704" y="156670"/>
                  </a:lnTo>
                  <a:lnTo>
                    <a:pt x="59882" y="156322"/>
                  </a:lnTo>
                  <a:lnTo>
                    <a:pt x="56365" y="155221"/>
                  </a:lnTo>
                  <a:lnTo>
                    <a:pt x="59218" y="145913"/>
                  </a:lnTo>
                  <a:lnTo>
                    <a:pt x="62780" y="137685"/>
                  </a:lnTo>
                  <a:lnTo>
                    <a:pt x="68113" y="131468"/>
                  </a:lnTo>
                  <a:lnTo>
                    <a:pt x="70947" y="129971"/>
                  </a:lnTo>
                  <a:lnTo>
                    <a:pt x="71866" y="126885"/>
                  </a:lnTo>
                  <a:lnTo>
                    <a:pt x="76082" y="116749"/>
                  </a:lnTo>
                  <a:lnTo>
                    <a:pt x="81305" y="108523"/>
                  </a:lnTo>
                  <a:lnTo>
                    <a:pt x="79684" y="100185"/>
                  </a:lnTo>
                  <a:close/>
                  <a:moveTo>
                    <a:pt x="17855" y="0"/>
                  </a:moveTo>
                  <a:lnTo>
                    <a:pt x="19318" y="236"/>
                  </a:lnTo>
                  <a:lnTo>
                    <a:pt x="28178" y="5"/>
                  </a:lnTo>
                  <a:lnTo>
                    <a:pt x="30583" y="3142"/>
                  </a:lnTo>
                  <a:lnTo>
                    <a:pt x="30313" y="7755"/>
                  </a:lnTo>
                  <a:lnTo>
                    <a:pt x="21198" y="21225"/>
                  </a:lnTo>
                  <a:lnTo>
                    <a:pt x="19497" y="26903"/>
                  </a:lnTo>
                  <a:lnTo>
                    <a:pt x="15975" y="31706"/>
                  </a:lnTo>
                  <a:lnTo>
                    <a:pt x="12913" y="32094"/>
                  </a:lnTo>
                  <a:lnTo>
                    <a:pt x="2405" y="29274"/>
                  </a:lnTo>
                  <a:lnTo>
                    <a:pt x="630" y="27562"/>
                  </a:lnTo>
                  <a:lnTo>
                    <a:pt x="0" y="25256"/>
                  </a:lnTo>
                  <a:lnTo>
                    <a:pt x="1034" y="19891"/>
                  </a:lnTo>
                  <a:lnTo>
                    <a:pt x="1797" y="18249"/>
                  </a:lnTo>
                  <a:lnTo>
                    <a:pt x="6841" y="17239"/>
                  </a:lnTo>
                  <a:lnTo>
                    <a:pt x="8467" y="16363"/>
                  </a:lnTo>
                  <a:lnTo>
                    <a:pt x="11162" y="10575"/>
                  </a:lnTo>
                  <a:lnTo>
                    <a:pt x="12048" y="5306"/>
                  </a:lnTo>
                  <a:lnTo>
                    <a:pt x="14309" y="1326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85" name="ee4p_KE_1_37365">
              <a:extLst>
                <a:ext uri="{FF2B5EF4-FFF2-40B4-BE49-F238E27FC236}">
                  <a16:creationId xmlns:a16="http://schemas.microsoft.com/office/drawing/2014/main" id="{57A19A3B-A621-6EFE-8CEF-008A679403AF}"/>
                </a:ext>
              </a:extLst>
            </p:cNvPr>
            <p:cNvSpPr>
              <a:spLocks noChangeAspect="1"/>
            </p:cNvSpPr>
            <p:nvPr>
              <p:custDataLst>
                <p:tags r:id="rId339"/>
              </p:custDataLst>
            </p:nvPr>
          </p:nvSpPr>
          <p:spPr>
            <a:xfrm>
              <a:off x="7456082" y="4520865"/>
              <a:ext cx="221709" cy="290772"/>
            </a:xfrm>
            <a:custGeom>
              <a:avLst/>
              <a:gdLst>
                <a:gd name="connsiteX0" fmla="*/ 425616 w 472877"/>
                <a:gd name="connsiteY0" fmla="*/ 446254 h 603740"/>
                <a:gd name="connsiteX1" fmla="*/ 428260 w 472877"/>
                <a:gd name="connsiteY1" fmla="*/ 447232 h 603740"/>
                <a:gd name="connsiteX2" fmla="*/ 428769 w 472877"/>
                <a:gd name="connsiteY2" fmla="*/ 448228 h 603740"/>
                <a:gd name="connsiteX3" fmla="*/ 428624 w 472877"/>
                <a:gd name="connsiteY3" fmla="*/ 449131 h 603740"/>
                <a:gd name="connsiteX4" fmla="*/ 427518 w 472877"/>
                <a:gd name="connsiteY4" fmla="*/ 450023 h 603740"/>
                <a:gd name="connsiteX5" fmla="*/ 420192 w 472877"/>
                <a:gd name="connsiteY5" fmla="*/ 453476 h 603740"/>
                <a:gd name="connsiteX6" fmla="*/ 417993 w 472877"/>
                <a:gd name="connsiteY6" fmla="*/ 454003 h 603740"/>
                <a:gd name="connsiteX7" fmla="*/ 419126 w 472877"/>
                <a:gd name="connsiteY7" fmla="*/ 450596 h 603740"/>
                <a:gd name="connsiteX8" fmla="*/ 81045 w 472877"/>
                <a:gd name="connsiteY8" fmla="*/ 0 h 603740"/>
                <a:gd name="connsiteX9" fmla="*/ 80777 w 472877"/>
                <a:gd name="connsiteY9" fmla="*/ 2041 h 603740"/>
                <a:gd name="connsiteX10" fmla="*/ 80825 w 472877"/>
                <a:gd name="connsiteY10" fmla="*/ 4765 h 603740"/>
                <a:gd name="connsiteX11" fmla="*/ 82183 w 472877"/>
                <a:gd name="connsiteY11" fmla="*/ 6429 h 603740"/>
                <a:gd name="connsiteX12" fmla="*/ 84417 w 472877"/>
                <a:gd name="connsiteY12" fmla="*/ 7567 h 603740"/>
                <a:gd name="connsiteX13" fmla="*/ 87535 w 472877"/>
                <a:gd name="connsiteY13" fmla="*/ 6364 h 603740"/>
                <a:gd name="connsiteX14" fmla="*/ 90265 w 472877"/>
                <a:gd name="connsiteY14" fmla="*/ 4693 h 603740"/>
                <a:gd name="connsiteX15" fmla="*/ 92908 w 472877"/>
                <a:gd name="connsiteY15" fmla="*/ 4347 h 603740"/>
                <a:gd name="connsiteX16" fmla="*/ 109277 w 472877"/>
                <a:gd name="connsiteY16" fmla="*/ 8810 h 603740"/>
                <a:gd name="connsiteX17" fmla="*/ 112025 w 472877"/>
                <a:gd name="connsiteY17" fmla="*/ 12694 h 603740"/>
                <a:gd name="connsiteX18" fmla="*/ 111851 w 472877"/>
                <a:gd name="connsiteY18" fmla="*/ 16880 h 603740"/>
                <a:gd name="connsiteX19" fmla="*/ 112550 w 472877"/>
                <a:gd name="connsiteY19" fmla="*/ 19918 h 603740"/>
                <a:gd name="connsiteX20" fmla="*/ 111307 w 472877"/>
                <a:gd name="connsiteY20" fmla="*/ 22969 h 603740"/>
                <a:gd name="connsiteX21" fmla="*/ 109936 w 472877"/>
                <a:gd name="connsiteY21" fmla="*/ 32175 h 603740"/>
                <a:gd name="connsiteX22" fmla="*/ 110346 w 472877"/>
                <a:gd name="connsiteY22" fmla="*/ 40634 h 603740"/>
                <a:gd name="connsiteX23" fmla="*/ 115234 w 472877"/>
                <a:gd name="connsiteY23" fmla="*/ 46888 h 603740"/>
                <a:gd name="connsiteX24" fmla="*/ 119630 w 472877"/>
                <a:gd name="connsiteY24" fmla="*/ 51803 h 603740"/>
                <a:gd name="connsiteX25" fmla="*/ 123117 w 472877"/>
                <a:gd name="connsiteY25" fmla="*/ 58690 h 603740"/>
                <a:gd name="connsiteX26" fmla="*/ 125680 w 472877"/>
                <a:gd name="connsiteY26" fmla="*/ 60809 h 603740"/>
                <a:gd name="connsiteX27" fmla="*/ 129232 w 472877"/>
                <a:gd name="connsiteY27" fmla="*/ 61899 h 603740"/>
                <a:gd name="connsiteX28" fmla="*/ 140482 w 472877"/>
                <a:gd name="connsiteY28" fmla="*/ 62196 h 603740"/>
                <a:gd name="connsiteX29" fmla="*/ 157132 w 472877"/>
                <a:gd name="connsiteY29" fmla="*/ 62638 h 603740"/>
                <a:gd name="connsiteX30" fmla="*/ 173160 w 472877"/>
                <a:gd name="connsiteY30" fmla="*/ 63061 h 603740"/>
                <a:gd name="connsiteX31" fmla="*/ 174618 w 472877"/>
                <a:gd name="connsiteY31" fmla="*/ 63227 h 603740"/>
                <a:gd name="connsiteX32" fmla="*/ 178014 w 472877"/>
                <a:gd name="connsiteY32" fmla="*/ 64167 h 603740"/>
                <a:gd name="connsiteX33" fmla="*/ 192762 w 472877"/>
                <a:gd name="connsiteY33" fmla="*/ 73481 h 603740"/>
                <a:gd name="connsiteX34" fmla="*/ 206262 w 472877"/>
                <a:gd name="connsiteY34" fmla="*/ 82007 h 603740"/>
                <a:gd name="connsiteX35" fmla="*/ 217691 w 472877"/>
                <a:gd name="connsiteY35" fmla="*/ 89415 h 603740"/>
                <a:gd name="connsiteX36" fmla="*/ 228791 w 472877"/>
                <a:gd name="connsiteY36" fmla="*/ 96610 h 603740"/>
                <a:gd name="connsiteX37" fmla="*/ 239572 w 472877"/>
                <a:gd name="connsiteY37" fmla="*/ 103604 h 603740"/>
                <a:gd name="connsiteX38" fmla="*/ 247937 w 472877"/>
                <a:gd name="connsiteY38" fmla="*/ 109411 h 603740"/>
                <a:gd name="connsiteX39" fmla="*/ 256179 w 472877"/>
                <a:gd name="connsiteY39" fmla="*/ 111181 h 603740"/>
                <a:gd name="connsiteX40" fmla="*/ 269580 w 472877"/>
                <a:gd name="connsiteY40" fmla="*/ 112020 h 603740"/>
                <a:gd name="connsiteX41" fmla="*/ 278848 w 472877"/>
                <a:gd name="connsiteY41" fmla="*/ 112301 h 603740"/>
                <a:gd name="connsiteX42" fmla="*/ 287419 w 472877"/>
                <a:gd name="connsiteY42" fmla="*/ 114738 h 603740"/>
                <a:gd name="connsiteX43" fmla="*/ 300156 w 472877"/>
                <a:gd name="connsiteY43" fmla="*/ 117015 h 603740"/>
                <a:gd name="connsiteX44" fmla="*/ 309665 w 472877"/>
                <a:gd name="connsiteY44" fmla="*/ 118186 h 603740"/>
                <a:gd name="connsiteX45" fmla="*/ 315418 w 472877"/>
                <a:gd name="connsiteY45" fmla="*/ 119496 h 603740"/>
                <a:gd name="connsiteX46" fmla="*/ 331347 w 472877"/>
                <a:gd name="connsiteY46" fmla="*/ 120840 h 603740"/>
                <a:gd name="connsiteX47" fmla="*/ 333980 w 472877"/>
                <a:gd name="connsiteY47" fmla="*/ 120063 h 603740"/>
                <a:gd name="connsiteX48" fmla="*/ 341006 w 472877"/>
                <a:gd name="connsiteY48" fmla="*/ 113621 h 603740"/>
                <a:gd name="connsiteX49" fmla="*/ 348873 w 472877"/>
                <a:gd name="connsiteY49" fmla="*/ 103159 h 603740"/>
                <a:gd name="connsiteX50" fmla="*/ 351945 w 472877"/>
                <a:gd name="connsiteY50" fmla="*/ 97392 h 603740"/>
                <a:gd name="connsiteX51" fmla="*/ 362132 w 472877"/>
                <a:gd name="connsiteY51" fmla="*/ 91671 h 603740"/>
                <a:gd name="connsiteX52" fmla="*/ 380009 w 472877"/>
                <a:gd name="connsiteY52" fmla="*/ 83675 h 603740"/>
                <a:gd name="connsiteX53" fmla="*/ 392606 w 472877"/>
                <a:gd name="connsiteY53" fmla="*/ 78045 h 603740"/>
                <a:gd name="connsiteX54" fmla="*/ 406615 w 472877"/>
                <a:gd name="connsiteY54" fmla="*/ 72383 h 603740"/>
                <a:gd name="connsiteX55" fmla="*/ 412979 w 472877"/>
                <a:gd name="connsiteY55" fmla="*/ 77290 h 603740"/>
                <a:gd name="connsiteX56" fmla="*/ 421751 w 472877"/>
                <a:gd name="connsiteY56" fmla="*/ 85173 h 603740"/>
                <a:gd name="connsiteX57" fmla="*/ 425686 w 472877"/>
                <a:gd name="connsiteY57" fmla="*/ 89059 h 603740"/>
                <a:gd name="connsiteX58" fmla="*/ 428839 w 472877"/>
                <a:gd name="connsiteY58" fmla="*/ 90779 h 603740"/>
                <a:gd name="connsiteX59" fmla="*/ 433604 w 472877"/>
                <a:gd name="connsiteY59" fmla="*/ 91931 h 603740"/>
                <a:gd name="connsiteX60" fmla="*/ 439411 w 472877"/>
                <a:gd name="connsiteY60" fmla="*/ 91960 h 603740"/>
                <a:gd name="connsiteX61" fmla="*/ 442579 w 472877"/>
                <a:gd name="connsiteY61" fmla="*/ 91773 h 603740"/>
                <a:gd name="connsiteX62" fmla="*/ 449064 w 472877"/>
                <a:gd name="connsiteY62" fmla="*/ 90760 h 603740"/>
                <a:gd name="connsiteX63" fmla="*/ 464214 w 472877"/>
                <a:gd name="connsiteY63" fmla="*/ 89825 h 603740"/>
                <a:gd name="connsiteX64" fmla="*/ 472877 w 472877"/>
                <a:gd name="connsiteY64" fmla="*/ 89903 h 603740"/>
                <a:gd name="connsiteX65" fmla="*/ 465591 w 472877"/>
                <a:gd name="connsiteY65" fmla="*/ 100349 h 603740"/>
                <a:gd name="connsiteX66" fmla="*/ 456856 w 472877"/>
                <a:gd name="connsiteY66" fmla="*/ 112871 h 603740"/>
                <a:gd name="connsiteX67" fmla="*/ 440763 w 472877"/>
                <a:gd name="connsiteY67" fmla="*/ 135926 h 603740"/>
                <a:gd name="connsiteX68" fmla="*/ 428514 w 472877"/>
                <a:gd name="connsiteY68" fmla="*/ 148054 h 603740"/>
                <a:gd name="connsiteX69" fmla="*/ 419260 w 472877"/>
                <a:gd name="connsiteY69" fmla="*/ 157220 h 603740"/>
                <a:gd name="connsiteX70" fmla="*/ 418414 w 472877"/>
                <a:gd name="connsiteY70" fmla="*/ 158870 h 603740"/>
                <a:gd name="connsiteX71" fmla="*/ 418451 w 472877"/>
                <a:gd name="connsiteY71" fmla="*/ 169081 h 603740"/>
                <a:gd name="connsiteX72" fmla="*/ 418548 w 472877"/>
                <a:gd name="connsiteY72" fmla="*/ 194056 h 603740"/>
                <a:gd name="connsiteX73" fmla="*/ 418746 w 472877"/>
                <a:gd name="connsiteY73" fmla="*/ 243986 h 603740"/>
                <a:gd name="connsiteX74" fmla="*/ 418936 w 472877"/>
                <a:gd name="connsiteY74" fmla="*/ 293906 h 603740"/>
                <a:gd name="connsiteX75" fmla="*/ 419131 w 472877"/>
                <a:gd name="connsiteY75" fmla="*/ 343821 h 603740"/>
                <a:gd name="connsiteX76" fmla="*/ 419231 w 472877"/>
                <a:gd name="connsiteY76" fmla="*/ 368780 h 603740"/>
                <a:gd name="connsiteX77" fmla="*/ 419260 w 472877"/>
                <a:gd name="connsiteY77" fmla="*/ 377166 h 603740"/>
                <a:gd name="connsiteX78" fmla="*/ 427379 w 472877"/>
                <a:gd name="connsiteY78" fmla="*/ 387661 h 603740"/>
                <a:gd name="connsiteX79" fmla="*/ 435315 w 472877"/>
                <a:gd name="connsiteY79" fmla="*/ 397912 h 603740"/>
                <a:gd name="connsiteX80" fmla="*/ 445807 w 472877"/>
                <a:gd name="connsiteY80" fmla="*/ 411476 h 603740"/>
                <a:gd name="connsiteX81" fmla="*/ 451429 w 472877"/>
                <a:gd name="connsiteY81" fmla="*/ 418748 h 603740"/>
                <a:gd name="connsiteX82" fmla="*/ 452362 w 472877"/>
                <a:gd name="connsiteY82" fmla="*/ 421172 h 603740"/>
                <a:gd name="connsiteX83" fmla="*/ 452072 w 472877"/>
                <a:gd name="connsiteY83" fmla="*/ 426039 h 603740"/>
                <a:gd name="connsiteX84" fmla="*/ 443437 w 472877"/>
                <a:gd name="connsiteY84" fmla="*/ 436210 h 603740"/>
                <a:gd name="connsiteX85" fmla="*/ 436363 w 472877"/>
                <a:gd name="connsiteY85" fmla="*/ 440833 h 603740"/>
                <a:gd name="connsiteX86" fmla="*/ 426848 w 472877"/>
                <a:gd name="connsiteY86" fmla="*/ 443043 h 603740"/>
                <a:gd name="connsiteX87" fmla="*/ 423996 w 472877"/>
                <a:gd name="connsiteY87" fmla="*/ 442622 h 603740"/>
                <a:gd name="connsiteX88" fmla="*/ 420254 w 472877"/>
                <a:gd name="connsiteY88" fmla="*/ 441162 h 603740"/>
                <a:gd name="connsiteX89" fmla="*/ 418786 w 472877"/>
                <a:gd name="connsiteY89" fmla="*/ 443605 h 603740"/>
                <a:gd name="connsiteX90" fmla="*/ 417685 w 472877"/>
                <a:gd name="connsiteY90" fmla="*/ 447406 h 603740"/>
                <a:gd name="connsiteX91" fmla="*/ 415580 w 472877"/>
                <a:gd name="connsiteY91" fmla="*/ 446608 h 603740"/>
                <a:gd name="connsiteX92" fmla="*/ 413991 w 472877"/>
                <a:gd name="connsiteY92" fmla="*/ 445485 h 603740"/>
                <a:gd name="connsiteX93" fmla="*/ 414945 w 472877"/>
                <a:gd name="connsiteY93" fmla="*/ 452238 h 603740"/>
                <a:gd name="connsiteX94" fmla="*/ 415923 w 472877"/>
                <a:gd name="connsiteY94" fmla="*/ 455570 h 603740"/>
                <a:gd name="connsiteX95" fmla="*/ 414495 w 472877"/>
                <a:gd name="connsiteY95" fmla="*/ 460084 h 603740"/>
                <a:gd name="connsiteX96" fmla="*/ 409866 w 472877"/>
                <a:gd name="connsiteY96" fmla="*/ 464021 h 603740"/>
                <a:gd name="connsiteX97" fmla="*/ 409457 w 472877"/>
                <a:gd name="connsiteY97" fmla="*/ 467342 h 603740"/>
                <a:gd name="connsiteX98" fmla="*/ 399444 w 472877"/>
                <a:gd name="connsiteY98" fmla="*/ 476058 h 603740"/>
                <a:gd name="connsiteX99" fmla="*/ 385251 w 472877"/>
                <a:gd name="connsiteY99" fmla="*/ 477017 h 603740"/>
                <a:gd name="connsiteX100" fmla="*/ 377788 w 472877"/>
                <a:gd name="connsiteY100" fmla="*/ 481343 h 603740"/>
                <a:gd name="connsiteX101" fmla="*/ 374469 w 472877"/>
                <a:gd name="connsiteY101" fmla="*/ 484884 h 603740"/>
                <a:gd name="connsiteX102" fmla="*/ 371941 w 472877"/>
                <a:gd name="connsiteY102" fmla="*/ 492628 h 603740"/>
                <a:gd name="connsiteX103" fmla="*/ 372825 w 472877"/>
                <a:gd name="connsiteY103" fmla="*/ 504497 h 603740"/>
                <a:gd name="connsiteX104" fmla="*/ 368879 w 472877"/>
                <a:gd name="connsiteY104" fmla="*/ 513631 h 603740"/>
                <a:gd name="connsiteX105" fmla="*/ 368129 w 472877"/>
                <a:gd name="connsiteY105" fmla="*/ 518211 h 603740"/>
                <a:gd name="connsiteX106" fmla="*/ 360801 w 472877"/>
                <a:gd name="connsiteY106" fmla="*/ 524147 h 603740"/>
                <a:gd name="connsiteX107" fmla="*/ 357549 w 472877"/>
                <a:gd name="connsiteY107" fmla="*/ 529589 h 603740"/>
                <a:gd name="connsiteX108" fmla="*/ 355149 w 472877"/>
                <a:gd name="connsiteY108" fmla="*/ 535126 h 603740"/>
                <a:gd name="connsiteX109" fmla="*/ 353057 w 472877"/>
                <a:gd name="connsiteY109" fmla="*/ 537553 h 603740"/>
                <a:gd name="connsiteX110" fmla="*/ 350579 w 472877"/>
                <a:gd name="connsiteY110" fmla="*/ 549965 h 603740"/>
                <a:gd name="connsiteX111" fmla="*/ 347162 w 472877"/>
                <a:gd name="connsiteY111" fmla="*/ 557500 h 603740"/>
                <a:gd name="connsiteX112" fmla="*/ 346237 w 472877"/>
                <a:gd name="connsiteY112" fmla="*/ 559996 h 603740"/>
                <a:gd name="connsiteX113" fmla="*/ 345396 w 472877"/>
                <a:gd name="connsiteY113" fmla="*/ 562254 h 603740"/>
                <a:gd name="connsiteX114" fmla="*/ 342747 w 472877"/>
                <a:gd name="connsiteY114" fmla="*/ 566682 h 603740"/>
                <a:gd name="connsiteX115" fmla="*/ 341036 w 472877"/>
                <a:gd name="connsiteY115" fmla="*/ 569722 h 603740"/>
                <a:gd name="connsiteX116" fmla="*/ 339798 w 472877"/>
                <a:gd name="connsiteY116" fmla="*/ 571723 h 603740"/>
                <a:gd name="connsiteX117" fmla="*/ 331141 w 472877"/>
                <a:gd name="connsiteY117" fmla="*/ 591041 h 603740"/>
                <a:gd name="connsiteX118" fmla="*/ 324391 w 472877"/>
                <a:gd name="connsiteY118" fmla="*/ 599770 h 603740"/>
                <a:gd name="connsiteX119" fmla="*/ 319090 w 472877"/>
                <a:gd name="connsiteY119" fmla="*/ 598765 h 603740"/>
                <a:gd name="connsiteX120" fmla="*/ 315576 w 472877"/>
                <a:gd name="connsiteY120" fmla="*/ 602146 h 603740"/>
                <a:gd name="connsiteX121" fmla="*/ 315198 w 472877"/>
                <a:gd name="connsiteY121" fmla="*/ 603740 h 603740"/>
                <a:gd name="connsiteX122" fmla="*/ 313326 w 472877"/>
                <a:gd name="connsiteY122" fmla="*/ 602842 h 603740"/>
                <a:gd name="connsiteX123" fmla="*/ 308901 w 472877"/>
                <a:gd name="connsiteY123" fmla="*/ 599652 h 603740"/>
                <a:gd name="connsiteX124" fmla="*/ 299807 w 472877"/>
                <a:gd name="connsiteY124" fmla="*/ 593092 h 603740"/>
                <a:gd name="connsiteX125" fmla="*/ 290717 w 472877"/>
                <a:gd name="connsiteY125" fmla="*/ 586533 h 603740"/>
                <a:gd name="connsiteX126" fmla="*/ 281623 w 472877"/>
                <a:gd name="connsiteY126" fmla="*/ 579973 h 603740"/>
                <a:gd name="connsiteX127" fmla="*/ 272529 w 472877"/>
                <a:gd name="connsiteY127" fmla="*/ 573418 h 603740"/>
                <a:gd name="connsiteX128" fmla="*/ 263438 w 472877"/>
                <a:gd name="connsiteY128" fmla="*/ 566861 h 603740"/>
                <a:gd name="connsiteX129" fmla="*/ 254347 w 472877"/>
                <a:gd name="connsiteY129" fmla="*/ 560302 h 603740"/>
                <a:gd name="connsiteX130" fmla="*/ 245254 w 472877"/>
                <a:gd name="connsiteY130" fmla="*/ 553747 h 603740"/>
                <a:gd name="connsiteX131" fmla="*/ 236160 w 472877"/>
                <a:gd name="connsiteY131" fmla="*/ 547190 h 603740"/>
                <a:gd name="connsiteX132" fmla="*/ 230827 w 472877"/>
                <a:gd name="connsiteY132" fmla="*/ 543344 h 603740"/>
                <a:gd name="connsiteX133" fmla="*/ 228467 w 472877"/>
                <a:gd name="connsiteY133" fmla="*/ 541072 h 603740"/>
                <a:gd name="connsiteX134" fmla="*/ 226616 w 472877"/>
                <a:gd name="connsiteY134" fmla="*/ 536543 h 603740"/>
                <a:gd name="connsiteX135" fmla="*/ 225722 w 472877"/>
                <a:gd name="connsiteY135" fmla="*/ 535420 h 603740"/>
                <a:gd name="connsiteX136" fmla="*/ 223297 w 472877"/>
                <a:gd name="connsiteY136" fmla="*/ 533996 h 603740"/>
                <a:gd name="connsiteX137" fmla="*/ 220450 w 472877"/>
                <a:gd name="connsiteY137" fmla="*/ 533685 h 603740"/>
                <a:gd name="connsiteX138" fmla="*/ 219631 w 472877"/>
                <a:gd name="connsiteY138" fmla="*/ 532828 h 603740"/>
                <a:gd name="connsiteX139" fmla="*/ 219660 w 472877"/>
                <a:gd name="connsiteY139" fmla="*/ 530645 h 603740"/>
                <a:gd name="connsiteX140" fmla="*/ 220648 w 472877"/>
                <a:gd name="connsiteY140" fmla="*/ 527500 h 603740"/>
                <a:gd name="connsiteX141" fmla="*/ 223991 w 472877"/>
                <a:gd name="connsiteY141" fmla="*/ 521484 h 603740"/>
                <a:gd name="connsiteX142" fmla="*/ 224355 w 472877"/>
                <a:gd name="connsiteY142" fmla="*/ 517951 h 603740"/>
                <a:gd name="connsiteX143" fmla="*/ 223697 w 472877"/>
                <a:gd name="connsiteY143" fmla="*/ 513933 h 603740"/>
                <a:gd name="connsiteX144" fmla="*/ 222649 w 472877"/>
                <a:gd name="connsiteY144" fmla="*/ 507507 h 603740"/>
                <a:gd name="connsiteX145" fmla="*/ 221741 w 472877"/>
                <a:gd name="connsiteY145" fmla="*/ 506048 h 603740"/>
                <a:gd name="connsiteX146" fmla="*/ 215720 w 472877"/>
                <a:gd name="connsiteY146" fmla="*/ 502678 h 603740"/>
                <a:gd name="connsiteX147" fmla="*/ 203093 w 472877"/>
                <a:gd name="connsiteY147" fmla="*/ 495628 h 603740"/>
                <a:gd name="connsiteX148" fmla="*/ 190466 w 472877"/>
                <a:gd name="connsiteY148" fmla="*/ 488570 h 603740"/>
                <a:gd name="connsiteX149" fmla="*/ 177840 w 472877"/>
                <a:gd name="connsiteY149" fmla="*/ 481520 h 603740"/>
                <a:gd name="connsiteX150" fmla="*/ 165213 w 472877"/>
                <a:gd name="connsiteY150" fmla="*/ 474465 h 603740"/>
                <a:gd name="connsiteX151" fmla="*/ 152594 w 472877"/>
                <a:gd name="connsiteY151" fmla="*/ 467412 h 603740"/>
                <a:gd name="connsiteX152" fmla="*/ 139960 w 472877"/>
                <a:gd name="connsiteY152" fmla="*/ 460362 h 603740"/>
                <a:gd name="connsiteX153" fmla="*/ 127338 w 472877"/>
                <a:gd name="connsiteY153" fmla="*/ 453315 h 603740"/>
                <a:gd name="connsiteX154" fmla="*/ 114720 w 472877"/>
                <a:gd name="connsiteY154" fmla="*/ 446260 h 603740"/>
                <a:gd name="connsiteX155" fmla="*/ 102093 w 472877"/>
                <a:gd name="connsiteY155" fmla="*/ 439207 h 603740"/>
                <a:gd name="connsiteX156" fmla="*/ 89466 w 472877"/>
                <a:gd name="connsiteY156" fmla="*/ 432160 h 603740"/>
                <a:gd name="connsiteX157" fmla="*/ 76845 w 472877"/>
                <a:gd name="connsiteY157" fmla="*/ 425107 h 603740"/>
                <a:gd name="connsiteX158" fmla="*/ 64218 w 472877"/>
                <a:gd name="connsiteY158" fmla="*/ 418054 h 603740"/>
                <a:gd name="connsiteX159" fmla="*/ 51592 w 472877"/>
                <a:gd name="connsiteY159" fmla="*/ 411007 h 603740"/>
                <a:gd name="connsiteX160" fmla="*/ 38968 w 472877"/>
                <a:gd name="connsiteY160" fmla="*/ 403955 h 603740"/>
                <a:gd name="connsiteX161" fmla="*/ 26338 w 472877"/>
                <a:gd name="connsiteY161" fmla="*/ 396910 h 603740"/>
                <a:gd name="connsiteX162" fmla="*/ 13720 w 472877"/>
                <a:gd name="connsiteY162" fmla="*/ 389857 h 603740"/>
                <a:gd name="connsiteX163" fmla="*/ 8976 w 472877"/>
                <a:gd name="connsiteY163" fmla="*/ 387208 h 603740"/>
                <a:gd name="connsiteX164" fmla="*/ 4701 w 472877"/>
                <a:gd name="connsiteY164" fmla="*/ 384969 h 603740"/>
                <a:gd name="connsiteX165" fmla="*/ 190 w 472877"/>
                <a:gd name="connsiteY165" fmla="*/ 384969 h 603740"/>
                <a:gd name="connsiteX166" fmla="*/ 0 w 472877"/>
                <a:gd name="connsiteY166" fmla="*/ 374876 h 603740"/>
                <a:gd name="connsiteX167" fmla="*/ 1444 w 472877"/>
                <a:gd name="connsiteY167" fmla="*/ 349184 h 603740"/>
                <a:gd name="connsiteX168" fmla="*/ 1273 w 472877"/>
                <a:gd name="connsiteY168" fmla="*/ 326625 h 603740"/>
                <a:gd name="connsiteX169" fmla="*/ 2556 w 472877"/>
                <a:gd name="connsiteY169" fmla="*/ 315327 h 603740"/>
                <a:gd name="connsiteX170" fmla="*/ 8124 w 472877"/>
                <a:gd name="connsiteY170" fmla="*/ 308175 h 603740"/>
                <a:gd name="connsiteX171" fmla="*/ 10693 w 472877"/>
                <a:gd name="connsiteY171" fmla="*/ 302965 h 603740"/>
                <a:gd name="connsiteX172" fmla="*/ 12539 w 472877"/>
                <a:gd name="connsiteY172" fmla="*/ 295701 h 603740"/>
                <a:gd name="connsiteX173" fmla="*/ 15453 w 472877"/>
                <a:gd name="connsiteY173" fmla="*/ 289773 h 603740"/>
                <a:gd name="connsiteX174" fmla="*/ 22066 w 472877"/>
                <a:gd name="connsiteY174" fmla="*/ 284963 h 603740"/>
                <a:gd name="connsiteX175" fmla="*/ 23250 w 472877"/>
                <a:gd name="connsiteY175" fmla="*/ 282308 h 603740"/>
                <a:gd name="connsiteX176" fmla="*/ 30254 w 472877"/>
                <a:gd name="connsiteY176" fmla="*/ 274249 h 603740"/>
                <a:gd name="connsiteX177" fmla="*/ 34454 w 472877"/>
                <a:gd name="connsiteY177" fmla="*/ 263891 h 603740"/>
                <a:gd name="connsiteX178" fmla="*/ 37623 w 472877"/>
                <a:gd name="connsiteY178" fmla="*/ 260374 h 603740"/>
                <a:gd name="connsiteX179" fmla="*/ 41574 w 472877"/>
                <a:gd name="connsiteY179" fmla="*/ 257122 h 603740"/>
                <a:gd name="connsiteX180" fmla="*/ 44368 w 472877"/>
                <a:gd name="connsiteY180" fmla="*/ 255413 h 603740"/>
                <a:gd name="connsiteX181" fmla="*/ 48967 w 472877"/>
                <a:gd name="connsiteY181" fmla="*/ 253696 h 603740"/>
                <a:gd name="connsiteX182" fmla="*/ 52569 w 472877"/>
                <a:gd name="connsiteY182" fmla="*/ 252721 h 603740"/>
                <a:gd name="connsiteX183" fmla="*/ 53223 w 472877"/>
                <a:gd name="connsiteY183" fmla="*/ 251904 h 603740"/>
                <a:gd name="connsiteX184" fmla="*/ 53531 w 472877"/>
                <a:gd name="connsiteY184" fmla="*/ 250225 h 603740"/>
                <a:gd name="connsiteX185" fmla="*/ 52334 w 472877"/>
                <a:gd name="connsiteY185" fmla="*/ 243810 h 603740"/>
                <a:gd name="connsiteX186" fmla="*/ 53871 w 472877"/>
                <a:gd name="connsiteY186" fmla="*/ 241704 h 603740"/>
                <a:gd name="connsiteX187" fmla="*/ 56325 w 472877"/>
                <a:gd name="connsiteY187" fmla="*/ 237421 h 603740"/>
                <a:gd name="connsiteX188" fmla="*/ 59129 w 472877"/>
                <a:gd name="connsiteY188" fmla="*/ 233422 h 603740"/>
                <a:gd name="connsiteX189" fmla="*/ 61668 w 472877"/>
                <a:gd name="connsiteY189" fmla="*/ 230888 h 603740"/>
                <a:gd name="connsiteX190" fmla="*/ 63091 w 472877"/>
                <a:gd name="connsiteY190" fmla="*/ 228277 h 603740"/>
                <a:gd name="connsiteX191" fmla="*/ 63755 w 472877"/>
                <a:gd name="connsiteY191" fmla="*/ 223758 h 603740"/>
                <a:gd name="connsiteX192" fmla="*/ 63860 w 472877"/>
                <a:gd name="connsiteY192" fmla="*/ 220557 h 603740"/>
                <a:gd name="connsiteX193" fmla="*/ 63819 w 472877"/>
                <a:gd name="connsiteY193" fmla="*/ 215329 h 603740"/>
                <a:gd name="connsiteX194" fmla="*/ 63021 w 472877"/>
                <a:gd name="connsiteY194" fmla="*/ 203449 h 603740"/>
                <a:gd name="connsiteX195" fmla="*/ 60053 w 472877"/>
                <a:gd name="connsiteY195" fmla="*/ 193506 h 603740"/>
                <a:gd name="connsiteX196" fmla="*/ 58221 w 472877"/>
                <a:gd name="connsiteY196" fmla="*/ 182382 h 603740"/>
                <a:gd name="connsiteX197" fmla="*/ 59568 w 472877"/>
                <a:gd name="connsiteY197" fmla="*/ 178721 h 603740"/>
                <a:gd name="connsiteX198" fmla="*/ 57227 w 472877"/>
                <a:gd name="connsiteY198" fmla="*/ 172201 h 603740"/>
                <a:gd name="connsiteX199" fmla="*/ 56070 w 472877"/>
                <a:gd name="connsiteY199" fmla="*/ 171842 h 603740"/>
                <a:gd name="connsiteX200" fmla="*/ 54161 w 472877"/>
                <a:gd name="connsiteY200" fmla="*/ 170417 h 603740"/>
                <a:gd name="connsiteX201" fmla="*/ 51731 w 472877"/>
                <a:gd name="connsiteY201" fmla="*/ 164275 h 603740"/>
                <a:gd name="connsiteX202" fmla="*/ 49899 w 472877"/>
                <a:gd name="connsiteY202" fmla="*/ 158664 h 603740"/>
                <a:gd name="connsiteX203" fmla="*/ 48758 w 472877"/>
                <a:gd name="connsiteY203" fmla="*/ 157250 h 603740"/>
                <a:gd name="connsiteX204" fmla="*/ 40816 w 472877"/>
                <a:gd name="connsiteY204" fmla="*/ 152343 h 603740"/>
                <a:gd name="connsiteX205" fmla="*/ 36873 w 472877"/>
                <a:gd name="connsiteY205" fmla="*/ 140769 h 603740"/>
                <a:gd name="connsiteX206" fmla="*/ 32448 w 472877"/>
                <a:gd name="connsiteY206" fmla="*/ 138189 h 603740"/>
                <a:gd name="connsiteX207" fmla="*/ 30043 w 472877"/>
                <a:gd name="connsiteY207" fmla="*/ 126685 h 603740"/>
                <a:gd name="connsiteX208" fmla="*/ 29579 w 472877"/>
                <a:gd name="connsiteY208" fmla="*/ 123414 h 603740"/>
                <a:gd name="connsiteX209" fmla="*/ 32089 w 472877"/>
                <a:gd name="connsiteY209" fmla="*/ 111937 h 603740"/>
                <a:gd name="connsiteX210" fmla="*/ 31846 w 472877"/>
                <a:gd name="connsiteY210" fmla="*/ 109306 h 603740"/>
                <a:gd name="connsiteX211" fmla="*/ 29191 w 472877"/>
                <a:gd name="connsiteY211" fmla="*/ 106880 h 603740"/>
                <a:gd name="connsiteX212" fmla="*/ 21739 w 472877"/>
                <a:gd name="connsiteY212" fmla="*/ 104410 h 603740"/>
                <a:gd name="connsiteX213" fmla="*/ 15697 w 472877"/>
                <a:gd name="connsiteY213" fmla="*/ 99674 h 603740"/>
                <a:gd name="connsiteX214" fmla="*/ 16479 w 472877"/>
                <a:gd name="connsiteY214" fmla="*/ 98022 h 603740"/>
                <a:gd name="connsiteX215" fmla="*/ 16923 w 472877"/>
                <a:gd name="connsiteY215" fmla="*/ 96307 h 603740"/>
                <a:gd name="connsiteX216" fmla="*/ 13741 w 472877"/>
                <a:gd name="connsiteY216" fmla="*/ 95156 h 603740"/>
                <a:gd name="connsiteX217" fmla="*/ 4506 w 472877"/>
                <a:gd name="connsiteY217" fmla="*/ 75516 h 603740"/>
                <a:gd name="connsiteX218" fmla="*/ 16396 w 472877"/>
                <a:gd name="connsiteY218" fmla="*/ 63717 h 603740"/>
                <a:gd name="connsiteX219" fmla="*/ 28438 w 472877"/>
                <a:gd name="connsiteY219" fmla="*/ 51755 h 603740"/>
                <a:gd name="connsiteX220" fmla="*/ 43819 w 472877"/>
                <a:gd name="connsiteY220" fmla="*/ 36627 h 603740"/>
                <a:gd name="connsiteX221" fmla="*/ 57943 w 472877"/>
                <a:gd name="connsiteY221" fmla="*/ 22730 h 603740"/>
                <a:gd name="connsiteX222" fmla="*/ 70154 w 472877"/>
                <a:gd name="connsiteY222" fmla="*/ 10717 h 603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</a:cxnLst>
              <a:rect l="l" t="t" r="r" b="b"/>
              <a:pathLst>
                <a:path w="472877" h="603740">
                  <a:moveTo>
                    <a:pt x="425616" y="446254"/>
                  </a:moveTo>
                  <a:lnTo>
                    <a:pt x="428260" y="447232"/>
                  </a:lnTo>
                  <a:lnTo>
                    <a:pt x="428769" y="448228"/>
                  </a:lnTo>
                  <a:lnTo>
                    <a:pt x="428624" y="449131"/>
                  </a:lnTo>
                  <a:lnTo>
                    <a:pt x="427518" y="450023"/>
                  </a:lnTo>
                  <a:lnTo>
                    <a:pt x="420192" y="453476"/>
                  </a:lnTo>
                  <a:lnTo>
                    <a:pt x="417993" y="454003"/>
                  </a:lnTo>
                  <a:lnTo>
                    <a:pt x="419126" y="450596"/>
                  </a:lnTo>
                  <a:close/>
                  <a:moveTo>
                    <a:pt x="81045" y="0"/>
                  </a:moveTo>
                  <a:lnTo>
                    <a:pt x="80777" y="2041"/>
                  </a:lnTo>
                  <a:lnTo>
                    <a:pt x="80825" y="4765"/>
                  </a:lnTo>
                  <a:lnTo>
                    <a:pt x="82183" y="6429"/>
                  </a:lnTo>
                  <a:lnTo>
                    <a:pt x="84417" y="7567"/>
                  </a:lnTo>
                  <a:lnTo>
                    <a:pt x="87535" y="6364"/>
                  </a:lnTo>
                  <a:lnTo>
                    <a:pt x="90265" y="4693"/>
                  </a:lnTo>
                  <a:lnTo>
                    <a:pt x="92908" y="4347"/>
                  </a:lnTo>
                  <a:lnTo>
                    <a:pt x="109277" y="8810"/>
                  </a:lnTo>
                  <a:lnTo>
                    <a:pt x="112025" y="12694"/>
                  </a:lnTo>
                  <a:lnTo>
                    <a:pt x="111851" y="16880"/>
                  </a:lnTo>
                  <a:lnTo>
                    <a:pt x="112550" y="19918"/>
                  </a:lnTo>
                  <a:lnTo>
                    <a:pt x="111307" y="22969"/>
                  </a:lnTo>
                  <a:lnTo>
                    <a:pt x="109936" y="32175"/>
                  </a:lnTo>
                  <a:lnTo>
                    <a:pt x="110346" y="40634"/>
                  </a:lnTo>
                  <a:lnTo>
                    <a:pt x="115234" y="46888"/>
                  </a:lnTo>
                  <a:lnTo>
                    <a:pt x="119630" y="51803"/>
                  </a:lnTo>
                  <a:lnTo>
                    <a:pt x="123117" y="58690"/>
                  </a:lnTo>
                  <a:lnTo>
                    <a:pt x="125680" y="60809"/>
                  </a:lnTo>
                  <a:lnTo>
                    <a:pt x="129232" y="61899"/>
                  </a:lnTo>
                  <a:lnTo>
                    <a:pt x="140482" y="62196"/>
                  </a:lnTo>
                  <a:lnTo>
                    <a:pt x="157132" y="62638"/>
                  </a:lnTo>
                  <a:lnTo>
                    <a:pt x="173160" y="63061"/>
                  </a:lnTo>
                  <a:lnTo>
                    <a:pt x="174618" y="63227"/>
                  </a:lnTo>
                  <a:lnTo>
                    <a:pt x="178014" y="64167"/>
                  </a:lnTo>
                  <a:lnTo>
                    <a:pt x="192762" y="73481"/>
                  </a:lnTo>
                  <a:lnTo>
                    <a:pt x="206262" y="82007"/>
                  </a:lnTo>
                  <a:lnTo>
                    <a:pt x="217691" y="89415"/>
                  </a:lnTo>
                  <a:lnTo>
                    <a:pt x="228791" y="96610"/>
                  </a:lnTo>
                  <a:lnTo>
                    <a:pt x="239572" y="103604"/>
                  </a:lnTo>
                  <a:lnTo>
                    <a:pt x="247937" y="109411"/>
                  </a:lnTo>
                  <a:lnTo>
                    <a:pt x="256179" y="111181"/>
                  </a:lnTo>
                  <a:lnTo>
                    <a:pt x="269580" y="112020"/>
                  </a:lnTo>
                  <a:lnTo>
                    <a:pt x="278848" y="112301"/>
                  </a:lnTo>
                  <a:lnTo>
                    <a:pt x="287419" y="114738"/>
                  </a:lnTo>
                  <a:lnTo>
                    <a:pt x="300156" y="117015"/>
                  </a:lnTo>
                  <a:lnTo>
                    <a:pt x="309665" y="118186"/>
                  </a:lnTo>
                  <a:lnTo>
                    <a:pt x="315418" y="119496"/>
                  </a:lnTo>
                  <a:lnTo>
                    <a:pt x="331347" y="120840"/>
                  </a:lnTo>
                  <a:lnTo>
                    <a:pt x="333980" y="120063"/>
                  </a:lnTo>
                  <a:lnTo>
                    <a:pt x="341006" y="113621"/>
                  </a:lnTo>
                  <a:lnTo>
                    <a:pt x="348873" y="103159"/>
                  </a:lnTo>
                  <a:lnTo>
                    <a:pt x="351945" y="97392"/>
                  </a:lnTo>
                  <a:lnTo>
                    <a:pt x="362132" y="91671"/>
                  </a:lnTo>
                  <a:lnTo>
                    <a:pt x="380009" y="83675"/>
                  </a:lnTo>
                  <a:lnTo>
                    <a:pt x="392606" y="78045"/>
                  </a:lnTo>
                  <a:lnTo>
                    <a:pt x="406615" y="72383"/>
                  </a:lnTo>
                  <a:lnTo>
                    <a:pt x="412979" y="77290"/>
                  </a:lnTo>
                  <a:lnTo>
                    <a:pt x="421751" y="85173"/>
                  </a:lnTo>
                  <a:lnTo>
                    <a:pt x="425686" y="89059"/>
                  </a:lnTo>
                  <a:lnTo>
                    <a:pt x="428839" y="90779"/>
                  </a:lnTo>
                  <a:lnTo>
                    <a:pt x="433604" y="91931"/>
                  </a:lnTo>
                  <a:lnTo>
                    <a:pt x="439411" y="91960"/>
                  </a:lnTo>
                  <a:lnTo>
                    <a:pt x="442579" y="91773"/>
                  </a:lnTo>
                  <a:lnTo>
                    <a:pt x="449064" y="90760"/>
                  </a:lnTo>
                  <a:lnTo>
                    <a:pt x="464214" y="89825"/>
                  </a:lnTo>
                  <a:lnTo>
                    <a:pt x="472877" y="89903"/>
                  </a:lnTo>
                  <a:lnTo>
                    <a:pt x="465591" y="100349"/>
                  </a:lnTo>
                  <a:lnTo>
                    <a:pt x="456856" y="112871"/>
                  </a:lnTo>
                  <a:lnTo>
                    <a:pt x="440763" y="135926"/>
                  </a:lnTo>
                  <a:lnTo>
                    <a:pt x="428514" y="148054"/>
                  </a:lnTo>
                  <a:lnTo>
                    <a:pt x="419260" y="157220"/>
                  </a:lnTo>
                  <a:lnTo>
                    <a:pt x="418414" y="158870"/>
                  </a:lnTo>
                  <a:lnTo>
                    <a:pt x="418451" y="169081"/>
                  </a:lnTo>
                  <a:lnTo>
                    <a:pt x="418548" y="194056"/>
                  </a:lnTo>
                  <a:lnTo>
                    <a:pt x="418746" y="243986"/>
                  </a:lnTo>
                  <a:lnTo>
                    <a:pt x="418936" y="293906"/>
                  </a:lnTo>
                  <a:lnTo>
                    <a:pt x="419131" y="343821"/>
                  </a:lnTo>
                  <a:lnTo>
                    <a:pt x="419231" y="368780"/>
                  </a:lnTo>
                  <a:lnTo>
                    <a:pt x="419260" y="377166"/>
                  </a:lnTo>
                  <a:lnTo>
                    <a:pt x="427379" y="387661"/>
                  </a:lnTo>
                  <a:lnTo>
                    <a:pt x="435315" y="397912"/>
                  </a:lnTo>
                  <a:lnTo>
                    <a:pt x="445807" y="411476"/>
                  </a:lnTo>
                  <a:lnTo>
                    <a:pt x="451429" y="418748"/>
                  </a:lnTo>
                  <a:lnTo>
                    <a:pt x="452362" y="421172"/>
                  </a:lnTo>
                  <a:lnTo>
                    <a:pt x="452072" y="426039"/>
                  </a:lnTo>
                  <a:lnTo>
                    <a:pt x="443437" y="436210"/>
                  </a:lnTo>
                  <a:lnTo>
                    <a:pt x="436363" y="440833"/>
                  </a:lnTo>
                  <a:lnTo>
                    <a:pt x="426848" y="443043"/>
                  </a:lnTo>
                  <a:lnTo>
                    <a:pt x="423996" y="442622"/>
                  </a:lnTo>
                  <a:lnTo>
                    <a:pt x="420254" y="441162"/>
                  </a:lnTo>
                  <a:lnTo>
                    <a:pt x="418786" y="443605"/>
                  </a:lnTo>
                  <a:lnTo>
                    <a:pt x="417685" y="447406"/>
                  </a:lnTo>
                  <a:lnTo>
                    <a:pt x="415580" y="446608"/>
                  </a:lnTo>
                  <a:lnTo>
                    <a:pt x="413991" y="445485"/>
                  </a:lnTo>
                  <a:lnTo>
                    <a:pt x="414945" y="452238"/>
                  </a:lnTo>
                  <a:lnTo>
                    <a:pt x="415923" y="455570"/>
                  </a:lnTo>
                  <a:lnTo>
                    <a:pt x="414495" y="460084"/>
                  </a:lnTo>
                  <a:lnTo>
                    <a:pt x="409866" y="464021"/>
                  </a:lnTo>
                  <a:lnTo>
                    <a:pt x="409457" y="467342"/>
                  </a:lnTo>
                  <a:lnTo>
                    <a:pt x="399444" y="476058"/>
                  </a:lnTo>
                  <a:lnTo>
                    <a:pt x="385251" y="477017"/>
                  </a:lnTo>
                  <a:lnTo>
                    <a:pt x="377788" y="481343"/>
                  </a:lnTo>
                  <a:lnTo>
                    <a:pt x="374469" y="484884"/>
                  </a:lnTo>
                  <a:lnTo>
                    <a:pt x="371941" y="492628"/>
                  </a:lnTo>
                  <a:lnTo>
                    <a:pt x="372825" y="504497"/>
                  </a:lnTo>
                  <a:lnTo>
                    <a:pt x="368879" y="513631"/>
                  </a:lnTo>
                  <a:lnTo>
                    <a:pt x="368129" y="518211"/>
                  </a:lnTo>
                  <a:lnTo>
                    <a:pt x="360801" y="524147"/>
                  </a:lnTo>
                  <a:lnTo>
                    <a:pt x="357549" y="529589"/>
                  </a:lnTo>
                  <a:lnTo>
                    <a:pt x="355149" y="535126"/>
                  </a:lnTo>
                  <a:lnTo>
                    <a:pt x="353057" y="537553"/>
                  </a:lnTo>
                  <a:lnTo>
                    <a:pt x="350579" y="549965"/>
                  </a:lnTo>
                  <a:lnTo>
                    <a:pt x="347162" y="557500"/>
                  </a:lnTo>
                  <a:lnTo>
                    <a:pt x="346237" y="559996"/>
                  </a:lnTo>
                  <a:lnTo>
                    <a:pt x="345396" y="562254"/>
                  </a:lnTo>
                  <a:lnTo>
                    <a:pt x="342747" y="566682"/>
                  </a:lnTo>
                  <a:lnTo>
                    <a:pt x="341036" y="569722"/>
                  </a:lnTo>
                  <a:lnTo>
                    <a:pt x="339798" y="571723"/>
                  </a:lnTo>
                  <a:lnTo>
                    <a:pt x="331141" y="591041"/>
                  </a:lnTo>
                  <a:lnTo>
                    <a:pt x="324391" y="599770"/>
                  </a:lnTo>
                  <a:lnTo>
                    <a:pt x="319090" y="598765"/>
                  </a:lnTo>
                  <a:lnTo>
                    <a:pt x="315576" y="602146"/>
                  </a:lnTo>
                  <a:lnTo>
                    <a:pt x="315198" y="603740"/>
                  </a:lnTo>
                  <a:lnTo>
                    <a:pt x="313326" y="602842"/>
                  </a:lnTo>
                  <a:lnTo>
                    <a:pt x="308901" y="599652"/>
                  </a:lnTo>
                  <a:lnTo>
                    <a:pt x="299807" y="593092"/>
                  </a:lnTo>
                  <a:lnTo>
                    <a:pt x="290717" y="586533"/>
                  </a:lnTo>
                  <a:lnTo>
                    <a:pt x="281623" y="579973"/>
                  </a:lnTo>
                  <a:lnTo>
                    <a:pt x="272529" y="573418"/>
                  </a:lnTo>
                  <a:lnTo>
                    <a:pt x="263438" y="566861"/>
                  </a:lnTo>
                  <a:lnTo>
                    <a:pt x="254347" y="560302"/>
                  </a:lnTo>
                  <a:lnTo>
                    <a:pt x="245254" y="553747"/>
                  </a:lnTo>
                  <a:lnTo>
                    <a:pt x="236160" y="547190"/>
                  </a:lnTo>
                  <a:lnTo>
                    <a:pt x="230827" y="543344"/>
                  </a:lnTo>
                  <a:lnTo>
                    <a:pt x="228467" y="541072"/>
                  </a:lnTo>
                  <a:lnTo>
                    <a:pt x="226616" y="536543"/>
                  </a:lnTo>
                  <a:lnTo>
                    <a:pt x="225722" y="535420"/>
                  </a:lnTo>
                  <a:lnTo>
                    <a:pt x="223297" y="533996"/>
                  </a:lnTo>
                  <a:lnTo>
                    <a:pt x="220450" y="533685"/>
                  </a:lnTo>
                  <a:lnTo>
                    <a:pt x="219631" y="532828"/>
                  </a:lnTo>
                  <a:lnTo>
                    <a:pt x="219660" y="530645"/>
                  </a:lnTo>
                  <a:lnTo>
                    <a:pt x="220648" y="527500"/>
                  </a:lnTo>
                  <a:lnTo>
                    <a:pt x="223991" y="521484"/>
                  </a:lnTo>
                  <a:lnTo>
                    <a:pt x="224355" y="517951"/>
                  </a:lnTo>
                  <a:lnTo>
                    <a:pt x="223697" y="513933"/>
                  </a:lnTo>
                  <a:lnTo>
                    <a:pt x="222649" y="507507"/>
                  </a:lnTo>
                  <a:lnTo>
                    <a:pt x="221741" y="506048"/>
                  </a:lnTo>
                  <a:lnTo>
                    <a:pt x="215720" y="502678"/>
                  </a:lnTo>
                  <a:lnTo>
                    <a:pt x="203093" y="495628"/>
                  </a:lnTo>
                  <a:lnTo>
                    <a:pt x="190466" y="488570"/>
                  </a:lnTo>
                  <a:lnTo>
                    <a:pt x="177840" y="481520"/>
                  </a:lnTo>
                  <a:lnTo>
                    <a:pt x="165213" y="474465"/>
                  </a:lnTo>
                  <a:lnTo>
                    <a:pt x="152594" y="467412"/>
                  </a:lnTo>
                  <a:lnTo>
                    <a:pt x="139960" y="460362"/>
                  </a:lnTo>
                  <a:lnTo>
                    <a:pt x="127338" y="453315"/>
                  </a:lnTo>
                  <a:lnTo>
                    <a:pt x="114720" y="446260"/>
                  </a:lnTo>
                  <a:lnTo>
                    <a:pt x="102093" y="439207"/>
                  </a:lnTo>
                  <a:lnTo>
                    <a:pt x="89466" y="432160"/>
                  </a:lnTo>
                  <a:lnTo>
                    <a:pt x="76845" y="425107"/>
                  </a:lnTo>
                  <a:lnTo>
                    <a:pt x="64218" y="418054"/>
                  </a:lnTo>
                  <a:lnTo>
                    <a:pt x="51592" y="411007"/>
                  </a:lnTo>
                  <a:lnTo>
                    <a:pt x="38968" y="403955"/>
                  </a:lnTo>
                  <a:lnTo>
                    <a:pt x="26338" y="396910"/>
                  </a:lnTo>
                  <a:lnTo>
                    <a:pt x="13720" y="389857"/>
                  </a:lnTo>
                  <a:lnTo>
                    <a:pt x="8976" y="387208"/>
                  </a:lnTo>
                  <a:lnTo>
                    <a:pt x="4701" y="384969"/>
                  </a:lnTo>
                  <a:lnTo>
                    <a:pt x="190" y="384969"/>
                  </a:lnTo>
                  <a:lnTo>
                    <a:pt x="0" y="374876"/>
                  </a:lnTo>
                  <a:lnTo>
                    <a:pt x="1444" y="349184"/>
                  </a:lnTo>
                  <a:lnTo>
                    <a:pt x="1273" y="326625"/>
                  </a:lnTo>
                  <a:lnTo>
                    <a:pt x="2556" y="315327"/>
                  </a:lnTo>
                  <a:lnTo>
                    <a:pt x="8124" y="308175"/>
                  </a:lnTo>
                  <a:lnTo>
                    <a:pt x="10693" y="302965"/>
                  </a:lnTo>
                  <a:lnTo>
                    <a:pt x="12539" y="295701"/>
                  </a:lnTo>
                  <a:lnTo>
                    <a:pt x="15453" y="289773"/>
                  </a:lnTo>
                  <a:lnTo>
                    <a:pt x="22066" y="284963"/>
                  </a:lnTo>
                  <a:lnTo>
                    <a:pt x="23250" y="282308"/>
                  </a:lnTo>
                  <a:lnTo>
                    <a:pt x="30254" y="274249"/>
                  </a:lnTo>
                  <a:lnTo>
                    <a:pt x="34454" y="263891"/>
                  </a:lnTo>
                  <a:lnTo>
                    <a:pt x="37623" y="260374"/>
                  </a:lnTo>
                  <a:lnTo>
                    <a:pt x="41574" y="257122"/>
                  </a:lnTo>
                  <a:lnTo>
                    <a:pt x="44368" y="255413"/>
                  </a:lnTo>
                  <a:lnTo>
                    <a:pt x="48967" y="253696"/>
                  </a:lnTo>
                  <a:lnTo>
                    <a:pt x="52569" y="252721"/>
                  </a:lnTo>
                  <a:lnTo>
                    <a:pt x="53223" y="251904"/>
                  </a:lnTo>
                  <a:lnTo>
                    <a:pt x="53531" y="250225"/>
                  </a:lnTo>
                  <a:lnTo>
                    <a:pt x="52334" y="243810"/>
                  </a:lnTo>
                  <a:lnTo>
                    <a:pt x="53871" y="241704"/>
                  </a:lnTo>
                  <a:lnTo>
                    <a:pt x="56325" y="237421"/>
                  </a:lnTo>
                  <a:lnTo>
                    <a:pt x="59129" y="233422"/>
                  </a:lnTo>
                  <a:lnTo>
                    <a:pt x="61668" y="230888"/>
                  </a:lnTo>
                  <a:lnTo>
                    <a:pt x="63091" y="228277"/>
                  </a:lnTo>
                  <a:lnTo>
                    <a:pt x="63755" y="223758"/>
                  </a:lnTo>
                  <a:lnTo>
                    <a:pt x="63860" y="220557"/>
                  </a:lnTo>
                  <a:lnTo>
                    <a:pt x="63819" y="215329"/>
                  </a:lnTo>
                  <a:lnTo>
                    <a:pt x="63021" y="203449"/>
                  </a:lnTo>
                  <a:lnTo>
                    <a:pt x="60053" y="193506"/>
                  </a:lnTo>
                  <a:lnTo>
                    <a:pt x="58221" y="182382"/>
                  </a:lnTo>
                  <a:lnTo>
                    <a:pt x="59568" y="178721"/>
                  </a:lnTo>
                  <a:lnTo>
                    <a:pt x="57227" y="172201"/>
                  </a:lnTo>
                  <a:lnTo>
                    <a:pt x="56070" y="171842"/>
                  </a:lnTo>
                  <a:lnTo>
                    <a:pt x="54161" y="170417"/>
                  </a:lnTo>
                  <a:lnTo>
                    <a:pt x="51731" y="164275"/>
                  </a:lnTo>
                  <a:lnTo>
                    <a:pt x="49899" y="158664"/>
                  </a:lnTo>
                  <a:lnTo>
                    <a:pt x="48758" y="157250"/>
                  </a:lnTo>
                  <a:lnTo>
                    <a:pt x="40816" y="152343"/>
                  </a:lnTo>
                  <a:lnTo>
                    <a:pt x="36873" y="140769"/>
                  </a:lnTo>
                  <a:lnTo>
                    <a:pt x="32448" y="138189"/>
                  </a:lnTo>
                  <a:lnTo>
                    <a:pt x="30043" y="126685"/>
                  </a:lnTo>
                  <a:lnTo>
                    <a:pt x="29579" y="123414"/>
                  </a:lnTo>
                  <a:lnTo>
                    <a:pt x="32089" y="111937"/>
                  </a:lnTo>
                  <a:lnTo>
                    <a:pt x="31846" y="109306"/>
                  </a:lnTo>
                  <a:lnTo>
                    <a:pt x="29191" y="106880"/>
                  </a:lnTo>
                  <a:lnTo>
                    <a:pt x="21739" y="104410"/>
                  </a:lnTo>
                  <a:lnTo>
                    <a:pt x="15697" y="99674"/>
                  </a:lnTo>
                  <a:lnTo>
                    <a:pt x="16479" y="98022"/>
                  </a:lnTo>
                  <a:lnTo>
                    <a:pt x="16923" y="96307"/>
                  </a:lnTo>
                  <a:lnTo>
                    <a:pt x="13741" y="95156"/>
                  </a:lnTo>
                  <a:lnTo>
                    <a:pt x="4506" y="75516"/>
                  </a:lnTo>
                  <a:lnTo>
                    <a:pt x="16396" y="63717"/>
                  </a:lnTo>
                  <a:lnTo>
                    <a:pt x="28438" y="51755"/>
                  </a:lnTo>
                  <a:lnTo>
                    <a:pt x="43819" y="36627"/>
                  </a:lnTo>
                  <a:lnTo>
                    <a:pt x="57943" y="22730"/>
                  </a:lnTo>
                  <a:lnTo>
                    <a:pt x="70154" y="10717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86" name="ee4p_LR_1_37365">
              <a:extLst>
                <a:ext uri="{FF2B5EF4-FFF2-40B4-BE49-F238E27FC236}">
                  <a16:creationId xmlns:a16="http://schemas.microsoft.com/office/drawing/2014/main" id="{A85BD420-7FB1-742C-2948-A4AEE7E88C7D}"/>
                </a:ext>
              </a:extLst>
            </p:cNvPr>
            <p:cNvSpPr>
              <a:spLocks noChangeAspect="1"/>
            </p:cNvSpPr>
            <p:nvPr>
              <p:custDataLst>
                <p:tags r:id="rId340"/>
              </p:custDataLst>
            </p:nvPr>
          </p:nvSpPr>
          <p:spPr>
            <a:xfrm>
              <a:off x="6195144" y="4433569"/>
              <a:ext cx="114068" cy="119922"/>
            </a:xfrm>
            <a:custGeom>
              <a:avLst/>
              <a:gdLst/>
              <a:ahLst/>
              <a:cxnLst/>
              <a:rect l="0" t="0" r="0" b="0"/>
              <a:pathLst>
                <a:path w="90830" h="92960">
                  <a:moveTo>
                    <a:pt x="66803" y="21790"/>
                  </a:moveTo>
                  <a:lnTo>
                    <a:pt x="67227" y="22045"/>
                  </a:lnTo>
                  <a:lnTo>
                    <a:pt x="67893" y="22726"/>
                  </a:lnTo>
                  <a:lnTo>
                    <a:pt x="68521" y="25051"/>
                  </a:lnTo>
                  <a:lnTo>
                    <a:pt x="71000" y="32559"/>
                  </a:lnTo>
                  <a:lnTo>
                    <a:pt x="70874" y="34627"/>
                  </a:lnTo>
                  <a:lnTo>
                    <a:pt x="70383" y="35981"/>
                  </a:lnTo>
                  <a:lnTo>
                    <a:pt x="70371" y="37305"/>
                  </a:lnTo>
                  <a:lnTo>
                    <a:pt x="70205" y="38612"/>
                  </a:lnTo>
                  <a:lnTo>
                    <a:pt x="68687" y="40754"/>
                  </a:lnTo>
                  <a:lnTo>
                    <a:pt x="64213" y="45135"/>
                  </a:lnTo>
                  <a:lnTo>
                    <a:pt x="64560" y="45519"/>
                  </a:lnTo>
                  <a:lnTo>
                    <a:pt x="65629" y="46018"/>
                  </a:lnTo>
                  <a:lnTo>
                    <a:pt x="66717" y="46277"/>
                  </a:lnTo>
                  <a:lnTo>
                    <a:pt x="67611" y="46142"/>
                  </a:lnTo>
                  <a:lnTo>
                    <a:pt x="68730" y="47236"/>
                  </a:lnTo>
                  <a:lnTo>
                    <a:pt x="69933" y="48611"/>
                  </a:lnTo>
                  <a:lnTo>
                    <a:pt x="71210" y="49326"/>
                  </a:lnTo>
                  <a:lnTo>
                    <a:pt x="73051" y="49955"/>
                  </a:lnTo>
                  <a:lnTo>
                    <a:pt x="74662" y="50025"/>
                  </a:lnTo>
                  <a:lnTo>
                    <a:pt x="76035" y="49785"/>
                  </a:lnTo>
                  <a:lnTo>
                    <a:pt x="77966" y="50057"/>
                  </a:lnTo>
                  <a:lnTo>
                    <a:pt x="80022" y="51195"/>
                  </a:lnTo>
                  <a:lnTo>
                    <a:pt x="80754" y="53075"/>
                  </a:lnTo>
                  <a:lnTo>
                    <a:pt x="81246" y="54712"/>
                  </a:lnTo>
                  <a:lnTo>
                    <a:pt x="81961" y="55544"/>
                  </a:lnTo>
                  <a:lnTo>
                    <a:pt x="82058" y="56960"/>
                  </a:lnTo>
                  <a:lnTo>
                    <a:pt x="83521" y="58204"/>
                  </a:lnTo>
                  <a:lnTo>
                    <a:pt x="85605" y="58455"/>
                  </a:lnTo>
                  <a:lnTo>
                    <a:pt x="88307" y="59912"/>
                  </a:lnTo>
                  <a:lnTo>
                    <a:pt x="88995" y="59835"/>
                  </a:lnTo>
                  <a:lnTo>
                    <a:pt x="89291" y="59653"/>
                  </a:lnTo>
                  <a:lnTo>
                    <a:pt x="89624" y="59928"/>
                  </a:lnTo>
                  <a:lnTo>
                    <a:pt x="90301" y="64143"/>
                  </a:lnTo>
                  <a:lnTo>
                    <a:pt x="90829" y="66377"/>
                  </a:lnTo>
                  <a:lnTo>
                    <a:pt x="90551" y="67279"/>
                  </a:lnTo>
                  <a:lnTo>
                    <a:pt x="90187" y="67989"/>
                  </a:lnTo>
                  <a:lnTo>
                    <a:pt x="90167" y="71390"/>
                  </a:lnTo>
                  <a:lnTo>
                    <a:pt x="88942" y="73343"/>
                  </a:lnTo>
                  <a:lnTo>
                    <a:pt x="88745" y="75486"/>
                  </a:lnTo>
                  <a:lnTo>
                    <a:pt x="88399" y="76180"/>
                  </a:lnTo>
                  <a:lnTo>
                    <a:pt x="87092" y="76797"/>
                  </a:lnTo>
                  <a:lnTo>
                    <a:pt x="87082" y="78442"/>
                  </a:lnTo>
                  <a:lnTo>
                    <a:pt x="86734" y="80430"/>
                  </a:lnTo>
                  <a:lnTo>
                    <a:pt x="86598" y="82540"/>
                  </a:lnTo>
                  <a:lnTo>
                    <a:pt x="86964" y="88063"/>
                  </a:lnTo>
                  <a:lnTo>
                    <a:pt x="87032" y="92181"/>
                  </a:lnTo>
                  <a:lnTo>
                    <a:pt x="87621" y="92959"/>
                  </a:lnTo>
                  <a:lnTo>
                    <a:pt x="85077" y="92616"/>
                  </a:lnTo>
                  <a:lnTo>
                    <a:pt x="77598" y="89473"/>
                  </a:lnTo>
                  <a:lnTo>
                    <a:pt x="71831" y="87671"/>
                  </a:lnTo>
                  <a:lnTo>
                    <a:pt x="52524" y="77374"/>
                  </a:lnTo>
                  <a:lnTo>
                    <a:pt x="47160" y="73241"/>
                  </a:lnTo>
                  <a:lnTo>
                    <a:pt x="40977" y="67084"/>
                  </a:lnTo>
                  <a:lnTo>
                    <a:pt x="27224" y="54684"/>
                  </a:lnTo>
                  <a:lnTo>
                    <a:pt x="24088" y="52693"/>
                  </a:lnTo>
                  <a:lnTo>
                    <a:pt x="20133" y="51726"/>
                  </a:lnTo>
                  <a:lnTo>
                    <a:pt x="17688" y="50670"/>
                  </a:lnTo>
                  <a:lnTo>
                    <a:pt x="15964" y="49523"/>
                  </a:lnTo>
                  <a:lnTo>
                    <a:pt x="14561" y="46084"/>
                  </a:lnTo>
                  <a:lnTo>
                    <a:pt x="11122" y="44035"/>
                  </a:lnTo>
                  <a:lnTo>
                    <a:pt x="4775" y="41129"/>
                  </a:lnTo>
                  <a:lnTo>
                    <a:pt x="0" y="36280"/>
                  </a:lnTo>
                  <a:lnTo>
                    <a:pt x="1172" y="35287"/>
                  </a:lnTo>
                  <a:lnTo>
                    <a:pt x="2894" y="32100"/>
                  </a:lnTo>
                  <a:lnTo>
                    <a:pt x="5304" y="29034"/>
                  </a:lnTo>
                  <a:lnTo>
                    <a:pt x="7550" y="27216"/>
                  </a:lnTo>
                  <a:lnTo>
                    <a:pt x="9334" y="25345"/>
                  </a:lnTo>
                  <a:lnTo>
                    <a:pt x="11218" y="23912"/>
                  </a:lnTo>
                  <a:lnTo>
                    <a:pt x="13919" y="22240"/>
                  </a:lnTo>
                  <a:lnTo>
                    <a:pt x="18049" y="17833"/>
                  </a:lnTo>
                  <a:lnTo>
                    <a:pt x="19018" y="17322"/>
                  </a:lnTo>
                  <a:lnTo>
                    <a:pt x="19679" y="14274"/>
                  </a:lnTo>
                  <a:lnTo>
                    <a:pt x="20712" y="10386"/>
                  </a:lnTo>
                  <a:lnTo>
                    <a:pt x="21908" y="9181"/>
                  </a:lnTo>
                  <a:lnTo>
                    <a:pt x="24721" y="8462"/>
                  </a:lnTo>
                  <a:lnTo>
                    <a:pt x="25379" y="7787"/>
                  </a:lnTo>
                  <a:lnTo>
                    <a:pt x="26377" y="5051"/>
                  </a:lnTo>
                  <a:lnTo>
                    <a:pt x="27017" y="1862"/>
                  </a:lnTo>
                  <a:lnTo>
                    <a:pt x="27073" y="1170"/>
                  </a:lnTo>
                  <a:lnTo>
                    <a:pt x="28182" y="1088"/>
                  </a:lnTo>
                  <a:lnTo>
                    <a:pt x="30075" y="400"/>
                  </a:lnTo>
                  <a:lnTo>
                    <a:pt x="31176" y="709"/>
                  </a:lnTo>
                  <a:lnTo>
                    <a:pt x="31661" y="1628"/>
                  </a:lnTo>
                  <a:lnTo>
                    <a:pt x="31912" y="2401"/>
                  </a:lnTo>
                  <a:lnTo>
                    <a:pt x="37653" y="412"/>
                  </a:lnTo>
                  <a:lnTo>
                    <a:pt x="38156" y="0"/>
                  </a:lnTo>
                  <a:lnTo>
                    <a:pt x="38459" y="70"/>
                  </a:lnTo>
                  <a:lnTo>
                    <a:pt x="39181" y="1865"/>
                  </a:lnTo>
                  <a:lnTo>
                    <a:pt x="39595" y="1755"/>
                  </a:lnTo>
                  <a:lnTo>
                    <a:pt x="39943" y="1237"/>
                  </a:lnTo>
                  <a:lnTo>
                    <a:pt x="40325" y="1187"/>
                  </a:lnTo>
                  <a:lnTo>
                    <a:pt x="40774" y="1429"/>
                  </a:lnTo>
                  <a:lnTo>
                    <a:pt x="41224" y="2264"/>
                  </a:lnTo>
                  <a:lnTo>
                    <a:pt x="41955" y="3014"/>
                  </a:lnTo>
                  <a:lnTo>
                    <a:pt x="43199" y="3542"/>
                  </a:lnTo>
                  <a:lnTo>
                    <a:pt x="43987" y="4267"/>
                  </a:lnTo>
                  <a:lnTo>
                    <a:pt x="43900" y="6183"/>
                  </a:lnTo>
                  <a:lnTo>
                    <a:pt x="44203" y="8047"/>
                  </a:lnTo>
                  <a:lnTo>
                    <a:pt x="44742" y="8476"/>
                  </a:lnTo>
                  <a:lnTo>
                    <a:pt x="45029" y="9589"/>
                  </a:lnTo>
                  <a:lnTo>
                    <a:pt x="45175" y="10810"/>
                  </a:lnTo>
                  <a:lnTo>
                    <a:pt x="45472" y="11452"/>
                  </a:lnTo>
                  <a:lnTo>
                    <a:pt x="45683" y="12683"/>
                  </a:lnTo>
                  <a:lnTo>
                    <a:pt x="45576" y="14005"/>
                  </a:lnTo>
                  <a:lnTo>
                    <a:pt x="45799" y="14935"/>
                  </a:lnTo>
                  <a:lnTo>
                    <a:pt x="46715" y="16538"/>
                  </a:lnTo>
                  <a:lnTo>
                    <a:pt x="47284" y="18558"/>
                  </a:lnTo>
                  <a:lnTo>
                    <a:pt x="47289" y="19987"/>
                  </a:lnTo>
                  <a:lnTo>
                    <a:pt x="46956" y="21492"/>
                  </a:lnTo>
                  <a:lnTo>
                    <a:pt x="46348" y="22869"/>
                  </a:lnTo>
                  <a:lnTo>
                    <a:pt x="45281" y="24368"/>
                  </a:lnTo>
                  <a:lnTo>
                    <a:pt x="45191" y="24961"/>
                  </a:lnTo>
                  <a:lnTo>
                    <a:pt x="45826" y="25349"/>
                  </a:lnTo>
                  <a:lnTo>
                    <a:pt x="46787" y="25427"/>
                  </a:lnTo>
                  <a:lnTo>
                    <a:pt x="47590" y="25120"/>
                  </a:lnTo>
                  <a:lnTo>
                    <a:pt x="49625" y="25809"/>
                  </a:lnTo>
                  <a:lnTo>
                    <a:pt x="50689" y="26797"/>
                  </a:lnTo>
                  <a:lnTo>
                    <a:pt x="51625" y="28016"/>
                  </a:lnTo>
                  <a:lnTo>
                    <a:pt x="52466" y="28635"/>
                  </a:lnTo>
                  <a:lnTo>
                    <a:pt x="52847" y="29405"/>
                  </a:lnTo>
                  <a:lnTo>
                    <a:pt x="54290" y="29193"/>
                  </a:lnTo>
                  <a:lnTo>
                    <a:pt x="55965" y="28450"/>
                  </a:lnTo>
                  <a:lnTo>
                    <a:pt x="56310" y="28101"/>
                  </a:lnTo>
                  <a:lnTo>
                    <a:pt x="56809" y="28289"/>
                  </a:lnTo>
                  <a:lnTo>
                    <a:pt x="57887" y="28366"/>
                  </a:lnTo>
                  <a:lnTo>
                    <a:pt x="58642" y="27030"/>
                  </a:lnTo>
                  <a:lnTo>
                    <a:pt x="59252" y="25493"/>
                  </a:lnTo>
                  <a:lnTo>
                    <a:pt x="60552" y="23829"/>
                  </a:lnTo>
                  <a:lnTo>
                    <a:pt x="61191" y="23186"/>
                  </a:lnTo>
                  <a:lnTo>
                    <a:pt x="61359" y="22122"/>
                  </a:lnTo>
                  <a:lnTo>
                    <a:pt x="61430" y="20750"/>
                  </a:lnTo>
                  <a:lnTo>
                    <a:pt x="61897" y="19557"/>
                  </a:lnTo>
                  <a:lnTo>
                    <a:pt x="62970" y="18901"/>
                  </a:lnTo>
                  <a:lnTo>
                    <a:pt x="64130" y="18911"/>
                  </a:lnTo>
                  <a:lnTo>
                    <a:pt x="64759" y="19154"/>
                  </a:lnTo>
                  <a:lnTo>
                    <a:pt x="65079" y="20309"/>
                  </a:lnTo>
                  <a:lnTo>
                    <a:pt x="66011" y="21188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87" name="ee4p_LY_1_37365">
              <a:extLst>
                <a:ext uri="{FF2B5EF4-FFF2-40B4-BE49-F238E27FC236}">
                  <a16:creationId xmlns:a16="http://schemas.microsoft.com/office/drawing/2014/main" id="{DDDB7CC1-75F8-B817-7034-E43F390E731E}"/>
                </a:ext>
              </a:extLst>
            </p:cNvPr>
            <p:cNvSpPr>
              <a:spLocks noChangeAspect="1"/>
            </p:cNvSpPr>
            <p:nvPr>
              <p:custDataLst>
                <p:tags r:id="rId341"/>
              </p:custDataLst>
            </p:nvPr>
          </p:nvSpPr>
          <p:spPr>
            <a:xfrm>
              <a:off x="6773240" y="3695357"/>
              <a:ext cx="439874" cy="419184"/>
            </a:xfrm>
            <a:custGeom>
              <a:avLst/>
              <a:gdLst/>
              <a:ahLst/>
              <a:cxnLst/>
              <a:rect l="0" t="0" r="0" b="0"/>
              <a:pathLst>
                <a:path w="350262" h="324939">
                  <a:moveTo>
                    <a:pt x="350261" y="37547"/>
                  </a:moveTo>
                  <a:lnTo>
                    <a:pt x="349410" y="38234"/>
                  </a:lnTo>
                  <a:lnTo>
                    <a:pt x="348199" y="39694"/>
                  </a:lnTo>
                  <a:lnTo>
                    <a:pt x="347435" y="40994"/>
                  </a:lnTo>
                  <a:lnTo>
                    <a:pt x="345386" y="43108"/>
                  </a:lnTo>
                  <a:lnTo>
                    <a:pt x="343677" y="45371"/>
                  </a:lnTo>
                  <a:lnTo>
                    <a:pt x="343837" y="48681"/>
                  </a:lnTo>
                  <a:lnTo>
                    <a:pt x="344226" y="52043"/>
                  </a:lnTo>
                  <a:lnTo>
                    <a:pt x="345375" y="55326"/>
                  </a:lnTo>
                  <a:lnTo>
                    <a:pt x="346357" y="58974"/>
                  </a:lnTo>
                  <a:lnTo>
                    <a:pt x="346081" y="61358"/>
                  </a:lnTo>
                  <a:lnTo>
                    <a:pt x="345232" y="64286"/>
                  </a:lnTo>
                  <a:lnTo>
                    <a:pt x="344226" y="66726"/>
                  </a:lnTo>
                  <a:lnTo>
                    <a:pt x="340885" y="71746"/>
                  </a:lnTo>
                  <a:lnTo>
                    <a:pt x="340371" y="72946"/>
                  </a:lnTo>
                  <a:lnTo>
                    <a:pt x="340557" y="74631"/>
                  </a:lnTo>
                  <a:lnTo>
                    <a:pt x="342593" y="80574"/>
                  </a:lnTo>
                  <a:lnTo>
                    <a:pt x="342751" y="82443"/>
                  </a:lnTo>
                  <a:lnTo>
                    <a:pt x="343969" y="88204"/>
                  </a:lnTo>
                  <a:lnTo>
                    <a:pt x="345079" y="92885"/>
                  </a:lnTo>
                  <a:lnTo>
                    <a:pt x="346308" y="96558"/>
                  </a:lnTo>
                  <a:lnTo>
                    <a:pt x="346497" y="97569"/>
                  </a:lnTo>
                  <a:lnTo>
                    <a:pt x="346497" y="102973"/>
                  </a:lnTo>
                  <a:lnTo>
                    <a:pt x="346497" y="108371"/>
                  </a:lnTo>
                  <a:lnTo>
                    <a:pt x="346497" y="113761"/>
                  </a:lnTo>
                  <a:lnTo>
                    <a:pt x="346497" y="119144"/>
                  </a:lnTo>
                  <a:lnTo>
                    <a:pt x="346497" y="124520"/>
                  </a:lnTo>
                  <a:lnTo>
                    <a:pt x="346497" y="129889"/>
                  </a:lnTo>
                  <a:lnTo>
                    <a:pt x="346497" y="135251"/>
                  </a:lnTo>
                  <a:lnTo>
                    <a:pt x="346497" y="140607"/>
                  </a:lnTo>
                  <a:lnTo>
                    <a:pt x="346497" y="145955"/>
                  </a:lnTo>
                  <a:lnTo>
                    <a:pt x="346497" y="151299"/>
                  </a:lnTo>
                  <a:lnTo>
                    <a:pt x="346497" y="156634"/>
                  </a:lnTo>
                  <a:lnTo>
                    <a:pt x="346497" y="161963"/>
                  </a:lnTo>
                  <a:lnTo>
                    <a:pt x="346497" y="167285"/>
                  </a:lnTo>
                  <a:lnTo>
                    <a:pt x="346497" y="172601"/>
                  </a:lnTo>
                  <a:lnTo>
                    <a:pt x="346497" y="177911"/>
                  </a:lnTo>
                  <a:lnTo>
                    <a:pt x="346497" y="183214"/>
                  </a:lnTo>
                  <a:lnTo>
                    <a:pt x="346497" y="188511"/>
                  </a:lnTo>
                  <a:lnTo>
                    <a:pt x="346497" y="193802"/>
                  </a:lnTo>
                  <a:lnTo>
                    <a:pt x="346497" y="199087"/>
                  </a:lnTo>
                  <a:lnTo>
                    <a:pt x="346497" y="204366"/>
                  </a:lnTo>
                  <a:lnTo>
                    <a:pt x="346497" y="209639"/>
                  </a:lnTo>
                  <a:lnTo>
                    <a:pt x="346497" y="214906"/>
                  </a:lnTo>
                  <a:lnTo>
                    <a:pt x="346497" y="220167"/>
                  </a:lnTo>
                  <a:lnTo>
                    <a:pt x="346497" y="225423"/>
                  </a:lnTo>
                  <a:lnTo>
                    <a:pt x="346497" y="230673"/>
                  </a:lnTo>
                  <a:lnTo>
                    <a:pt x="346497" y="235918"/>
                  </a:lnTo>
                  <a:lnTo>
                    <a:pt x="346497" y="241157"/>
                  </a:lnTo>
                  <a:lnTo>
                    <a:pt x="346497" y="246390"/>
                  </a:lnTo>
                  <a:lnTo>
                    <a:pt x="346497" y="251618"/>
                  </a:lnTo>
                  <a:lnTo>
                    <a:pt x="346497" y="256840"/>
                  </a:lnTo>
                  <a:lnTo>
                    <a:pt x="346497" y="262057"/>
                  </a:lnTo>
                  <a:lnTo>
                    <a:pt x="346497" y="267269"/>
                  </a:lnTo>
                  <a:lnTo>
                    <a:pt x="346493" y="278816"/>
                  </a:lnTo>
                  <a:lnTo>
                    <a:pt x="346489" y="290338"/>
                  </a:lnTo>
                  <a:lnTo>
                    <a:pt x="346485" y="301836"/>
                  </a:lnTo>
                  <a:lnTo>
                    <a:pt x="346480" y="313311"/>
                  </a:lnTo>
                  <a:lnTo>
                    <a:pt x="346411" y="313352"/>
                  </a:lnTo>
                  <a:lnTo>
                    <a:pt x="346342" y="313393"/>
                  </a:lnTo>
                  <a:lnTo>
                    <a:pt x="346275" y="313433"/>
                  </a:lnTo>
                  <a:lnTo>
                    <a:pt x="346204" y="313475"/>
                  </a:lnTo>
                  <a:lnTo>
                    <a:pt x="340751" y="313473"/>
                  </a:lnTo>
                  <a:lnTo>
                    <a:pt x="335295" y="313470"/>
                  </a:lnTo>
                  <a:lnTo>
                    <a:pt x="329840" y="313466"/>
                  </a:lnTo>
                  <a:lnTo>
                    <a:pt x="324386" y="313464"/>
                  </a:lnTo>
                  <a:lnTo>
                    <a:pt x="324386" y="316335"/>
                  </a:lnTo>
                  <a:lnTo>
                    <a:pt x="324386" y="319204"/>
                  </a:lnTo>
                  <a:lnTo>
                    <a:pt x="324386" y="322071"/>
                  </a:lnTo>
                  <a:lnTo>
                    <a:pt x="324386" y="324938"/>
                  </a:lnTo>
                  <a:lnTo>
                    <a:pt x="313794" y="319504"/>
                  </a:lnTo>
                  <a:lnTo>
                    <a:pt x="303200" y="314066"/>
                  </a:lnTo>
                  <a:lnTo>
                    <a:pt x="292606" y="308622"/>
                  </a:lnTo>
                  <a:lnTo>
                    <a:pt x="282014" y="303173"/>
                  </a:lnTo>
                  <a:lnTo>
                    <a:pt x="271420" y="297719"/>
                  </a:lnTo>
                  <a:lnTo>
                    <a:pt x="260826" y="292258"/>
                  </a:lnTo>
                  <a:lnTo>
                    <a:pt x="250232" y="286794"/>
                  </a:lnTo>
                  <a:lnTo>
                    <a:pt x="239638" y="281322"/>
                  </a:lnTo>
                  <a:lnTo>
                    <a:pt x="229044" y="275846"/>
                  </a:lnTo>
                  <a:lnTo>
                    <a:pt x="218450" y="270364"/>
                  </a:lnTo>
                  <a:lnTo>
                    <a:pt x="207859" y="264876"/>
                  </a:lnTo>
                  <a:lnTo>
                    <a:pt x="197265" y="259383"/>
                  </a:lnTo>
                  <a:lnTo>
                    <a:pt x="186671" y="253884"/>
                  </a:lnTo>
                  <a:lnTo>
                    <a:pt x="176079" y="248379"/>
                  </a:lnTo>
                  <a:lnTo>
                    <a:pt x="165485" y="242868"/>
                  </a:lnTo>
                  <a:lnTo>
                    <a:pt x="154891" y="237351"/>
                  </a:lnTo>
                  <a:lnTo>
                    <a:pt x="147573" y="233537"/>
                  </a:lnTo>
                  <a:lnTo>
                    <a:pt x="139680" y="237259"/>
                  </a:lnTo>
                  <a:lnTo>
                    <a:pt x="133496" y="240176"/>
                  </a:lnTo>
                  <a:lnTo>
                    <a:pt x="125349" y="244011"/>
                  </a:lnTo>
                  <a:lnTo>
                    <a:pt x="125346" y="244009"/>
                  </a:lnTo>
                  <a:lnTo>
                    <a:pt x="115988" y="248988"/>
                  </a:lnTo>
                  <a:lnTo>
                    <a:pt x="108803" y="252806"/>
                  </a:lnTo>
                  <a:lnTo>
                    <a:pt x="108466" y="252778"/>
                  </a:lnTo>
                  <a:lnTo>
                    <a:pt x="108138" y="252683"/>
                  </a:lnTo>
                  <a:lnTo>
                    <a:pt x="100664" y="246203"/>
                  </a:lnTo>
                  <a:lnTo>
                    <a:pt x="94826" y="241136"/>
                  </a:lnTo>
                  <a:lnTo>
                    <a:pt x="92230" y="239722"/>
                  </a:lnTo>
                  <a:lnTo>
                    <a:pt x="81226" y="237131"/>
                  </a:lnTo>
                  <a:lnTo>
                    <a:pt x="70284" y="234554"/>
                  </a:lnTo>
                  <a:lnTo>
                    <a:pt x="58766" y="231840"/>
                  </a:lnTo>
                  <a:lnTo>
                    <a:pt x="56669" y="227704"/>
                  </a:lnTo>
                  <a:lnTo>
                    <a:pt x="54324" y="223079"/>
                  </a:lnTo>
                  <a:lnTo>
                    <a:pt x="51167" y="217292"/>
                  </a:lnTo>
                  <a:lnTo>
                    <a:pt x="49237" y="213750"/>
                  </a:lnTo>
                  <a:lnTo>
                    <a:pt x="48589" y="213198"/>
                  </a:lnTo>
                  <a:lnTo>
                    <a:pt x="39757" y="210391"/>
                  </a:lnTo>
                  <a:lnTo>
                    <a:pt x="30424" y="207637"/>
                  </a:lnTo>
                  <a:lnTo>
                    <a:pt x="24959" y="209306"/>
                  </a:lnTo>
                  <a:lnTo>
                    <a:pt x="24006" y="209181"/>
                  </a:lnTo>
                  <a:lnTo>
                    <a:pt x="22456" y="208133"/>
                  </a:lnTo>
                  <a:lnTo>
                    <a:pt x="20910" y="206706"/>
                  </a:lnTo>
                  <a:lnTo>
                    <a:pt x="20087" y="204704"/>
                  </a:lnTo>
                  <a:lnTo>
                    <a:pt x="17895" y="202025"/>
                  </a:lnTo>
                  <a:lnTo>
                    <a:pt x="15874" y="195891"/>
                  </a:lnTo>
                  <a:lnTo>
                    <a:pt x="15673" y="191004"/>
                  </a:lnTo>
                  <a:lnTo>
                    <a:pt x="15267" y="189271"/>
                  </a:lnTo>
                  <a:lnTo>
                    <a:pt x="10411" y="182378"/>
                  </a:lnTo>
                  <a:lnTo>
                    <a:pt x="5993" y="176098"/>
                  </a:lnTo>
                  <a:lnTo>
                    <a:pt x="3052" y="171911"/>
                  </a:lnTo>
                  <a:lnTo>
                    <a:pt x="2479" y="170020"/>
                  </a:lnTo>
                  <a:lnTo>
                    <a:pt x="2823" y="167689"/>
                  </a:lnTo>
                  <a:lnTo>
                    <a:pt x="4006" y="165598"/>
                  </a:lnTo>
                  <a:lnTo>
                    <a:pt x="8286" y="163122"/>
                  </a:lnTo>
                  <a:lnTo>
                    <a:pt x="12143" y="160425"/>
                  </a:lnTo>
                  <a:lnTo>
                    <a:pt x="12669" y="158553"/>
                  </a:lnTo>
                  <a:lnTo>
                    <a:pt x="12918" y="153397"/>
                  </a:lnTo>
                  <a:lnTo>
                    <a:pt x="11650" y="151784"/>
                  </a:lnTo>
                  <a:lnTo>
                    <a:pt x="10728" y="148717"/>
                  </a:lnTo>
                  <a:lnTo>
                    <a:pt x="9780" y="144563"/>
                  </a:lnTo>
                  <a:lnTo>
                    <a:pt x="9670" y="141906"/>
                  </a:lnTo>
                  <a:lnTo>
                    <a:pt x="11389" y="136611"/>
                  </a:lnTo>
                  <a:lnTo>
                    <a:pt x="13395" y="131056"/>
                  </a:lnTo>
                  <a:lnTo>
                    <a:pt x="12117" y="124897"/>
                  </a:lnTo>
                  <a:lnTo>
                    <a:pt x="11175" y="112513"/>
                  </a:lnTo>
                  <a:lnTo>
                    <a:pt x="11771" y="102741"/>
                  </a:lnTo>
                  <a:lnTo>
                    <a:pt x="11287" y="99184"/>
                  </a:lnTo>
                  <a:lnTo>
                    <a:pt x="10946" y="97687"/>
                  </a:lnTo>
                  <a:lnTo>
                    <a:pt x="9634" y="93061"/>
                  </a:lnTo>
                  <a:lnTo>
                    <a:pt x="8014" y="88283"/>
                  </a:lnTo>
                  <a:lnTo>
                    <a:pt x="7295" y="86607"/>
                  </a:lnTo>
                  <a:lnTo>
                    <a:pt x="5218" y="82752"/>
                  </a:lnTo>
                  <a:lnTo>
                    <a:pt x="1786" y="77970"/>
                  </a:lnTo>
                  <a:lnTo>
                    <a:pt x="0" y="75026"/>
                  </a:lnTo>
                  <a:lnTo>
                    <a:pt x="2449" y="73474"/>
                  </a:lnTo>
                  <a:lnTo>
                    <a:pt x="4611" y="72260"/>
                  </a:lnTo>
                  <a:lnTo>
                    <a:pt x="7247" y="70977"/>
                  </a:lnTo>
                  <a:lnTo>
                    <a:pt x="10994" y="69524"/>
                  </a:lnTo>
                  <a:lnTo>
                    <a:pt x="12931" y="68430"/>
                  </a:lnTo>
                  <a:lnTo>
                    <a:pt x="13760" y="67507"/>
                  </a:lnTo>
                  <a:lnTo>
                    <a:pt x="16574" y="63750"/>
                  </a:lnTo>
                  <a:lnTo>
                    <a:pt x="18038" y="61663"/>
                  </a:lnTo>
                  <a:lnTo>
                    <a:pt x="20037" y="58812"/>
                  </a:lnTo>
                  <a:lnTo>
                    <a:pt x="20914" y="56824"/>
                  </a:lnTo>
                  <a:lnTo>
                    <a:pt x="20936" y="54976"/>
                  </a:lnTo>
                  <a:lnTo>
                    <a:pt x="20633" y="52752"/>
                  </a:lnTo>
                  <a:lnTo>
                    <a:pt x="19070" y="47417"/>
                  </a:lnTo>
                  <a:lnTo>
                    <a:pt x="17794" y="42221"/>
                  </a:lnTo>
                  <a:lnTo>
                    <a:pt x="18787" y="40217"/>
                  </a:lnTo>
                  <a:lnTo>
                    <a:pt x="19586" y="39256"/>
                  </a:lnTo>
                  <a:lnTo>
                    <a:pt x="21324" y="36813"/>
                  </a:lnTo>
                  <a:lnTo>
                    <a:pt x="22020" y="36327"/>
                  </a:lnTo>
                  <a:lnTo>
                    <a:pt x="25772" y="35564"/>
                  </a:lnTo>
                  <a:lnTo>
                    <a:pt x="27274" y="33935"/>
                  </a:lnTo>
                  <a:lnTo>
                    <a:pt x="28420" y="31897"/>
                  </a:lnTo>
                  <a:lnTo>
                    <a:pt x="28716" y="30824"/>
                  </a:lnTo>
                  <a:lnTo>
                    <a:pt x="30355" y="29700"/>
                  </a:lnTo>
                  <a:lnTo>
                    <a:pt x="32314" y="28577"/>
                  </a:lnTo>
                  <a:lnTo>
                    <a:pt x="33525" y="27118"/>
                  </a:lnTo>
                  <a:lnTo>
                    <a:pt x="37479" y="24860"/>
                  </a:lnTo>
                  <a:lnTo>
                    <a:pt x="41085" y="22797"/>
                  </a:lnTo>
                  <a:lnTo>
                    <a:pt x="45281" y="20623"/>
                  </a:lnTo>
                  <a:lnTo>
                    <a:pt x="48530" y="18940"/>
                  </a:lnTo>
                  <a:lnTo>
                    <a:pt x="49215" y="17472"/>
                  </a:lnTo>
                  <a:lnTo>
                    <a:pt x="49168" y="16203"/>
                  </a:lnTo>
                  <a:lnTo>
                    <a:pt x="47401" y="13307"/>
                  </a:lnTo>
                  <a:lnTo>
                    <a:pt x="47401" y="9880"/>
                  </a:lnTo>
                  <a:lnTo>
                    <a:pt x="47518" y="7027"/>
                  </a:lnTo>
                  <a:lnTo>
                    <a:pt x="47695" y="5341"/>
                  </a:lnTo>
                  <a:lnTo>
                    <a:pt x="48474" y="652"/>
                  </a:lnTo>
                  <a:lnTo>
                    <a:pt x="48522" y="0"/>
                  </a:lnTo>
                  <a:lnTo>
                    <a:pt x="51895" y="1558"/>
                  </a:lnTo>
                  <a:lnTo>
                    <a:pt x="55352" y="2181"/>
                  </a:lnTo>
                  <a:lnTo>
                    <a:pt x="65665" y="7985"/>
                  </a:lnTo>
                  <a:lnTo>
                    <a:pt x="68919" y="8711"/>
                  </a:lnTo>
                  <a:lnTo>
                    <a:pt x="76138" y="9402"/>
                  </a:lnTo>
                  <a:lnTo>
                    <a:pt x="84642" y="7027"/>
                  </a:lnTo>
                  <a:lnTo>
                    <a:pt x="87857" y="6601"/>
                  </a:lnTo>
                  <a:lnTo>
                    <a:pt x="93448" y="8830"/>
                  </a:lnTo>
                  <a:lnTo>
                    <a:pt x="95912" y="9457"/>
                  </a:lnTo>
                  <a:lnTo>
                    <a:pt x="100060" y="9631"/>
                  </a:lnTo>
                  <a:lnTo>
                    <a:pt x="107143" y="11652"/>
                  </a:lnTo>
                  <a:lnTo>
                    <a:pt x="108943" y="12355"/>
                  </a:lnTo>
                  <a:lnTo>
                    <a:pt x="113072" y="15579"/>
                  </a:lnTo>
                  <a:lnTo>
                    <a:pt x="115052" y="16544"/>
                  </a:lnTo>
                  <a:lnTo>
                    <a:pt x="129717" y="19493"/>
                  </a:lnTo>
                  <a:lnTo>
                    <a:pt x="131714" y="21447"/>
                  </a:lnTo>
                  <a:lnTo>
                    <a:pt x="133753" y="25180"/>
                  </a:lnTo>
                  <a:lnTo>
                    <a:pt x="133841" y="29803"/>
                  </a:lnTo>
                  <a:lnTo>
                    <a:pt x="134969" y="33159"/>
                  </a:lnTo>
                  <a:lnTo>
                    <a:pt x="136789" y="37503"/>
                  </a:lnTo>
                  <a:lnTo>
                    <a:pt x="138987" y="40576"/>
                  </a:lnTo>
                  <a:lnTo>
                    <a:pt x="141423" y="43134"/>
                  </a:lnTo>
                  <a:lnTo>
                    <a:pt x="144215" y="44732"/>
                  </a:lnTo>
                  <a:lnTo>
                    <a:pt x="150645" y="47088"/>
                  </a:lnTo>
                  <a:lnTo>
                    <a:pt x="157897" y="47995"/>
                  </a:lnTo>
                  <a:lnTo>
                    <a:pt x="165206" y="48300"/>
                  </a:lnTo>
                  <a:lnTo>
                    <a:pt x="177759" y="51549"/>
                  </a:lnTo>
                  <a:lnTo>
                    <a:pt x="188400" y="55298"/>
                  </a:lnTo>
                  <a:lnTo>
                    <a:pt x="191028" y="57141"/>
                  </a:lnTo>
                  <a:lnTo>
                    <a:pt x="196360" y="58956"/>
                  </a:lnTo>
                  <a:lnTo>
                    <a:pt x="206960" y="67742"/>
                  </a:lnTo>
                  <a:lnTo>
                    <a:pt x="212855" y="70780"/>
                  </a:lnTo>
                  <a:lnTo>
                    <a:pt x="216997" y="71370"/>
                  </a:lnTo>
                  <a:lnTo>
                    <a:pt x="220711" y="70837"/>
                  </a:lnTo>
                  <a:lnTo>
                    <a:pt x="227304" y="67788"/>
                  </a:lnTo>
                  <a:lnTo>
                    <a:pt x="230033" y="65977"/>
                  </a:lnTo>
                  <a:lnTo>
                    <a:pt x="236665" y="58387"/>
                  </a:lnTo>
                  <a:lnTo>
                    <a:pt x="238839" y="54419"/>
                  </a:lnTo>
                  <a:lnTo>
                    <a:pt x="239712" y="51620"/>
                  </a:lnTo>
                  <a:lnTo>
                    <a:pt x="239494" y="48770"/>
                  </a:lnTo>
                  <a:lnTo>
                    <a:pt x="238669" y="46207"/>
                  </a:lnTo>
                  <a:lnTo>
                    <a:pt x="236816" y="43519"/>
                  </a:lnTo>
                  <a:lnTo>
                    <a:pt x="235516" y="39967"/>
                  </a:lnTo>
                  <a:lnTo>
                    <a:pt x="234745" y="33568"/>
                  </a:lnTo>
                  <a:lnTo>
                    <a:pt x="235786" y="29120"/>
                  </a:lnTo>
                  <a:lnTo>
                    <a:pt x="237058" y="26451"/>
                  </a:lnTo>
                  <a:lnTo>
                    <a:pt x="239059" y="23729"/>
                  </a:lnTo>
                  <a:lnTo>
                    <a:pt x="244568" y="18520"/>
                  </a:lnTo>
                  <a:lnTo>
                    <a:pt x="250107" y="14844"/>
                  </a:lnTo>
                  <a:lnTo>
                    <a:pt x="259863" y="10031"/>
                  </a:lnTo>
                  <a:lnTo>
                    <a:pt x="265533" y="9979"/>
                  </a:lnTo>
                  <a:lnTo>
                    <a:pt x="267876" y="9449"/>
                  </a:lnTo>
                  <a:lnTo>
                    <a:pt x="272547" y="6042"/>
                  </a:lnTo>
                  <a:lnTo>
                    <a:pt x="274437" y="5914"/>
                  </a:lnTo>
                  <a:lnTo>
                    <a:pt x="277047" y="6749"/>
                  </a:lnTo>
                  <a:lnTo>
                    <a:pt x="284741" y="6512"/>
                  </a:lnTo>
                  <a:lnTo>
                    <a:pt x="288129" y="7459"/>
                  </a:lnTo>
                  <a:lnTo>
                    <a:pt x="292172" y="9578"/>
                  </a:lnTo>
                  <a:lnTo>
                    <a:pt x="297272" y="10894"/>
                  </a:lnTo>
                  <a:lnTo>
                    <a:pt x="300872" y="12209"/>
                  </a:lnTo>
                  <a:lnTo>
                    <a:pt x="304714" y="13894"/>
                  </a:lnTo>
                  <a:lnTo>
                    <a:pt x="305577" y="18092"/>
                  </a:lnTo>
                  <a:lnTo>
                    <a:pt x="305152" y="19340"/>
                  </a:lnTo>
                  <a:lnTo>
                    <a:pt x="305059" y="20961"/>
                  </a:lnTo>
                  <a:lnTo>
                    <a:pt x="309041" y="23850"/>
                  </a:lnTo>
                  <a:lnTo>
                    <a:pt x="320348" y="25204"/>
                  </a:lnTo>
                  <a:lnTo>
                    <a:pt x="322576" y="25977"/>
                  </a:lnTo>
                  <a:lnTo>
                    <a:pt x="325683" y="28189"/>
                  </a:lnTo>
                  <a:lnTo>
                    <a:pt x="327689" y="28871"/>
                  </a:lnTo>
                  <a:lnTo>
                    <a:pt x="335431" y="29182"/>
                  </a:lnTo>
                  <a:lnTo>
                    <a:pt x="339944" y="28705"/>
                  </a:lnTo>
                  <a:lnTo>
                    <a:pt x="344248" y="29482"/>
                  </a:lnTo>
                  <a:lnTo>
                    <a:pt x="345843" y="30232"/>
                  </a:lnTo>
                  <a:lnTo>
                    <a:pt x="347487" y="31956"/>
                  </a:lnTo>
                  <a:lnTo>
                    <a:pt x="349478" y="36144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88" name="ee4p_LS_1_37365">
              <a:extLst>
                <a:ext uri="{FF2B5EF4-FFF2-40B4-BE49-F238E27FC236}">
                  <a16:creationId xmlns:a16="http://schemas.microsoft.com/office/drawing/2014/main" id="{727BDE0E-A357-FAAB-BD60-3840E78BEDC0}"/>
                </a:ext>
              </a:extLst>
            </p:cNvPr>
            <p:cNvSpPr>
              <a:spLocks noChangeAspect="1"/>
            </p:cNvSpPr>
            <p:nvPr>
              <p:custDataLst>
                <p:tags r:id="rId342"/>
              </p:custDataLst>
            </p:nvPr>
          </p:nvSpPr>
          <p:spPr>
            <a:xfrm>
              <a:off x="7265909" y="5515542"/>
              <a:ext cx="64953" cy="64191"/>
            </a:xfrm>
            <a:custGeom>
              <a:avLst/>
              <a:gdLst/>
              <a:ahLst/>
              <a:cxnLst/>
              <a:rect l="0" t="0" r="0" b="0"/>
              <a:pathLst>
                <a:path w="51721" h="49759">
                  <a:moveTo>
                    <a:pt x="37263" y="36649"/>
                  </a:moveTo>
                  <a:lnTo>
                    <a:pt x="35272" y="37245"/>
                  </a:lnTo>
                  <a:lnTo>
                    <a:pt x="34996" y="37297"/>
                  </a:lnTo>
                  <a:lnTo>
                    <a:pt x="33719" y="37160"/>
                  </a:lnTo>
                  <a:lnTo>
                    <a:pt x="32016" y="37302"/>
                  </a:lnTo>
                  <a:lnTo>
                    <a:pt x="30677" y="37631"/>
                  </a:lnTo>
                  <a:lnTo>
                    <a:pt x="29638" y="37754"/>
                  </a:lnTo>
                  <a:lnTo>
                    <a:pt x="27943" y="39472"/>
                  </a:lnTo>
                  <a:lnTo>
                    <a:pt x="24864" y="44114"/>
                  </a:lnTo>
                  <a:lnTo>
                    <a:pt x="24043" y="45085"/>
                  </a:lnTo>
                  <a:lnTo>
                    <a:pt x="23814" y="46911"/>
                  </a:lnTo>
                  <a:lnTo>
                    <a:pt x="23099" y="48356"/>
                  </a:lnTo>
                  <a:lnTo>
                    <a:pt x="22225" y="49485"/>
                  </a:lnTo>
                  <a:lnTo>
                    <a:pt x="21370" y="49758"/>
                  </a:lnTo>
                  <a:lnTo>
                    <a:pt x="18798" y="49309"/>
                  </a:lnTo>
                  <a:lnTo>
                    <a:pt x="15509" y="48730"/>
                  </a:lnTo>
                  <a:lnTo>
                    <a:pt x="13596" y="47329"/>
                  </a:lnTo>
                  <a:lnTo>
                    <a:pt x="11894" y="45486"/>
                  </a:lnTo>
                  <a:lnTo>
                    <a:pt x="10996" y="44147"/>
                  </a:lnTo>
                  <a:lnTo>
                    <a:pt x="10057" y="43412"/>
                  </a:lnTo>
                  <a:lnTo>
                    <a:pt x="9735" y="43000"/>
                  </a:lnTo>
                  <a:lnTo>
                    <a:pt x="8396" y="42382"/>
                  </a:lnTo>
                  <a:lnTo>
                    <a:pt x="7891" y="42062"/>
                  </a:lnTo>
                  <a:lnTo>
                    <a:pt x="7446" y="41835"/>
                  </a:lnTo>
                  <a:lnTo>
                    <a:pt x="6906" y="40944"/>
                  </a:lnTo>
                  <a:lnTo>
                    <a:pt x="6589" y="40172"/>
                  </a:lnTo>
                  <a:lnTo>
                    <a:pt x="6714" y="38021"/>
                  </a:lnTo>
                  <a:lnTo>
                    <a:pt x="5770" y="36739"/>
                  </a:lnTo>
                  <a:lnTo>
                    <a:pt x="4157" y="34551"/>
                  </a:lnTo>
                  <a:lnTo>
                    <a:pt x="3136" y="32760"/>
                  </a:lnTo>
                  <a:lnTo>
                    <a:pt x="1741" y="30315"/>
                  </a:lnTo>
                  <a:lnTo>
                    <a:pt x="886" y="28224"/>
                  </a:lnTo>
                  <a:lnTo>
                    <a:pt x="0" y="26057"/>
                  </a:lnTo>
                  <a:lnTo>
                    <a:pt x="115" y="25128"/>
                  </a:lnTo>
                  <a:lnTo>
                    <a:pt x="961" y="24494"/>
                  </a:lnTo>
                  <a:lnTo>
                    <a:pt x="3442" y="23405"/>
                  </a:lnTo>
                  <a:lnTo>
                    <a:pt x="5369" y="22563"/>
                  </a:lnTo>
                  <a:lnTo>
                    <a:pt x="6747" y="21017"/>
                  </a:lnTo>
                  <a:lnTo>
                    <a:pt x="8251" y="18721"/>
                  </a:lnTo>
                  <a:lnTo>
                    <a:pt x="8984" y="17339"/>
                  </a:lnTo>
                  <a:lnTo>
                    <a:pt x="9713" y="16709"/>
                  </a:lnTo>
                  <a:lnTo>
                    <a:pt x="10512" y="15734"/>
                  </a:lnTo>
                  <a:lnTo>
                    <a:pt x="11907" y="13575"/>
                  </a:lnTo>
                  <a:lnTo>
                    <a:pt x="13460" y="11180"/>
                  </a:lnTo>
                  <a:lnTo>
                    <a:pt x="15120" y="8608"/>
                  </a:lnTo>
                  <a:lnTo>
                    <a:pt x="17217" y="7863"/>
                  </a:lnTo>
                  <a:lnTo>
                    <a:pt x="20081" y="7004"/>
                  </a:lnTo>
                  <a:lnTo>
                    <a:pt x="22834" y="4760"/>
                  </a:lnTo>
                  <a:lnTo>
                    <a:pt x="26112" y="2869"/>
                  </a:lnTo>
                  <a:lnTo>
                    <a:pt x="31402" y="818"/>
                  </a:lnTo>
                  <a:lnTo>
                    <a:pt x="33868" y="298"/>
                  </a:lnTo>
                  <a:lnTo>
                    <a:pt x="34805" y="0"/>
                  </a:lnTo>
                  <a:lnTo>
                    <a:pt x="35399" y="386"/>
                  </a:lnTo>
                  <a:lnTo>
                    <a:pt x="36030" y="1561"/>
                  </a:lnTo>
                  <a:lnTo>
                    <a:pt x="36928" y="2543"/>
                  </a:lnTo>
                  <a:lnTo>
                    <a:pt x="39016" y="4253"/>
                  </a:lnTo>
                  <a:lnTo>
                    <a:pt x="39901" y="4666"/>
                  </a:lnTo>
                  <a:lnTo>
                    <a:pt x="42057" y="7198"/>
                  </a:lnTo>
                  <a:lnTo>
                    <a:pt x="44363" y="8936"/>
                  </a:lnTo>
                  <a:lnTo>
                    <a:pt x="47017" y="10938"/>
                  </a:lnTo>
                  <a:lnTo>
                    <a:pt x="48824" y="11934"/>
                  </a:lnTo>
                  <a:lnTo>
                    <a:pt x="49744" y="12212"/>
                  </a:lnTo>
                  <a:lnTo>
                    <a:pt x="50509" y="13989"/>
                  </a:lnTo>
                  <a:lnTo>
                    <a:pt x="51281" y="15309"/>
                  </a:lnTo>
                  <a:lnTo>
                    <a:pt x="51720" y="16544"/>
                  </a:lnTo>
                  <a:lnTo>
                    <a:pt x="51631" y="17749"/>
                  </a:lnTo>
                  <a:lnTo>
                    <a:pt x="50793" y="20697"/>
                  </a:lnTo>
                  <a:lnTo>
                    <a:pt x="49571" y="23711"/>
                  </a:lnTo>
                  <a:lnTo>
                    <a:pt x="48591" y="24966"/>
                  </a:lnTo>
                  <a:lnTo>
                    <a:pt x="47395" y="25758"/>
                  </a:lnTo>
                  <a:lnTo>
                    <a:pt x="46224" y="26949"/>
                  </a:lnTo>
                  <a:lnTo>
                    <a:pt x="45777" y="29371"/>
                  </a:lnTo>
                  <a:lnTo>
                    <a:pt x="45248" y="32221"/>
                  </a:lnTo>
                  <a:lnTo>
                    <a:pt x="43721" y="33396"/>
                  </a:lnTo>
                  <a:lnTo>
                    <a:pt x="42534" y="34166"/>
                  </a:lnTo>
                  <a:lnTo>
                    <a:pt x="40893" y="35112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89" name="ee4p_MA_1_37365">
              <a:extLst>
                <a:ext uri="{FF2B5EF4-FFF2-40B4-BE49-F238E27FC236}">
                  <a16:creationId xmlns:a16="http://schemas.microsoft.com/office/drawing/2014/main" id="{9BCC67C0-2525-9D6F-223F-E5C66E0ABE9A}"/>
                </a:ext>
              </a:extLst>
            </p:cNvPr>
            <p:cNvSpPr>
              <a:spLocks noChangeAspect="1"/>
            </p:cNvSpPr>
            <p:nvPr>
              <p:custDataLst>
                <p:tags r:id="rId343"/>
              </p:custDataLst>
            </p:nvPr>
          </p:nvSpPr>
          <p:spPr>
            <a:xfrm>
              <a:off x="6042536" y="3606862"/>
              <a:ext cx="442577" cy="450474"/>
            </a:xfrm>
            <a:custGeom>
              <a:avLst/>
              <a:gdLst/>
              <a:ahLst/>
              <a:cxnLst/>
              <a:rect l="0" t="0" r="0" b="0"/>
              <a:pathLst>
                <a:path w="352414" h="349194">
                  <a:moveTo>
                    <a:pt x="273632" y="18195"/>
                  </a:moveTo>
                  <a:lnTo>
                    <a:pt x="280229" y="19322"/>
                  </a:lnTo>
                  <a:lnTo>
                    <a:pt x="287914" y="17267"/>
                  </a:lnTo>
                  <a:lnTo>
                    <a:pt x="292213" y="17229"/>
                  </a:lnTo>
                  <a:lnTo>
                    <a:pt x="294308" y="16349"/>
                  </a:lnTo>
                  <a:lnTo>
                    <a:pt x="296578" y="17645"/>
                  </a:lnTo>
                  <a:lnTo>
                    <a:pt x="300909" y="18060"/>
                  </a:lnTo>
                  <a:lnTo>
                    <a:pt x="305082" y="17375"/>
                  </a:lnTo>
                  <a:lnTo>
                    <a:pt x="308243" y="15414"/>
                  </a:lnTo>
                  <a:lnTo>
                    <a:pt x="310252" y="13153"/>
                  </a:lnTo>
                  <a:lnTo>
                    <a:pt x="310567" y="14263"/>
                  </a:lnTo>
                  <a:lnTo>
                    <a:pt x="310663" y="15467"/>
                  </a:lnTo>
                  <a:lnTo>
                    <a:pt x="311275" y="16171"/>
                  </a:lnTo>
                  <a:lnTo>
                    <a:pt x="312523" y="19042"/>
                  </a:lnTo>
                  <a:lnTo>
                    <a:pt x="313177" y="20165"/>
                  </a:lnTo>
                  <a:lnTo>
                    <a:pt x="315577" y="19981"/>
                  </a:lnTo>
                  <a:lnTo>
                    <a:pt x="317668" y="20545"/>
                  </a:lnTo>
                  <a:lnTo>
                    <a:pt x="322380" y="20274"/>
                  </a:lnTo>
                  <a:lnTo>
                    <a:pt x="326893" y="20758"/>
                  </a:lnTo>
                  <a:lnTo>
                    <a:pt x="327531" y="22623"/>
                  </a:lnTo>
                  <a:lnTo>
                    <a:pt x="328836" y="24099"/>
                  </a:lnTo>
                  <a:lnTo>
                    <a:pt x="333499" y="27484"/>
                  </a:lnTo>
                  <a:lnTo>
                    <a:pt x="336269" y="29576"/>
                  </a:lnTo>
                  <a:lnTo>
                    <a:pt x="336345" y="30293"/>
                  </a:lnTo>
                  <a:lnTo>
                    <a:pt x="335455" y="32007"/>
                  </a:lnTo>
                  <a:lnTo>
                    <a:pt x="335074" y="33188"/>
                  </a:lnTo>
                  <a:lnTo>
                    <a:pt x="335805" y="34442"/>
                  </a:lnTo>
                  <a:lnTo>
                    <a:pt x="337511" y="35964"/>
                  </a:lnTo>
                  <a:lnTo>
                    <a:pt x="337647" y="36689"/>
                  </a:lnTo>
                  <a:lnTo>
                    <a:pt x="337237" y="37532"/>
                  </a:lnTo>
                  <a:lnTo>
                    <a:pt x="336354" y="39161"/>
                  </a:lnTo>
                  <a:lnTo>
                    <a:pt x="338230" y="43940"/>
                  </a:lnTo>
                  <a:lnTo>
                    <a:pt x="338545" y="48562"/>
                  </a:lnTo>
                  <a:lnTo>
                    <a:pt x="338058" y="51844"/>
                  </a:lnTo>
                  <a:lnTo>
                    <a:pt x="338071" y="53740"/>
                  </a:lnTo>
                  <a:lnTo>
                    <a:pt x="338318" y="55353"/>
                  </a:lnTo>
                  <a:lnTo>
                    <a:pt x="339904" y="59075"/>
                  </a:lnTo>
                  <a:lnTo>
                    <a:pt x="338844" y="65218"/>
                  </a:lnTo>
                  <a:lnTo>
                    <a:pt x="340040" y="68564"/>
                  </a:lnTo>
                  <a:lnTo>
                    <a:pt x="341684" y="71277"/>
                  </a:lnTo>
                  <a:lnTo>
                    <a:pt x="342584" y="76113"/>
                  </a:lnTo>
                  <a:lnTo>
                    <a:pt x="343911" y="78402"/>
                  </a:lnTo>
                  <a:lnTo>
                    <a:pt x="346075" y="80409"/>
                  </a:lnTo>
                  <a:lnTo>
                    <a:pt x="347308" y="81091"/>
                  </a:lnTo>
                  <a:lnTo>
                    <a:pt x="349700" y="82745"/>
                  </a:lnTo>
                  <a:lnTo>
                    <a:pt x="351407" y="84129"/>
                  </a:lnTo>
                  <a:lnTo>
                    <a:pt x="352413" y="86195"/>
                  </a:lnTo>
                  <a:lnTo>
                    <a:pt x="350266" y="87895"/>
                  </a:lnTo>
                  <a:lnTo>
                    <a:pt x="348548" y="89409"/>
                  </a:lnTo>
                  <a:lnTo>
                    <a:pt x="348066" y="91042"/>
                  </a:lnTo>
                  <a:lnTo>
                    <a:pt x="348866" y="93659"/>
                  </a:lnTo>
                  <a:lnTo>
                    <a:pt x="348866" y="95066"/>
                  </a:lnTo>
                  <a:lnTo>
                    <a:pt x="347774" y="95513"/>
                  </a:lnTo>
                  <a:lnTo>
                    <a:pt x="343313" y="95369"/>
                  </a:lnTo>
                  <a:lnTo>
                    <a:pt x="339817" y="95254"/>
                  </a:lnTo>
                  <a:lnTo>
                    <a:pt x="335796" y="95126"/>
                  </a:lnTo>
                  <a:lnTo>
                    <a:pt x="330140" y="94874"/>
                  </a:lnTo>
                  <a:lnTo>
                    <a:pt x="326636" y="94719"/>
                  </a:lnTo>
                  <a:lnTo>
                    <a:pt x="321835" y="94507"/>
                  </a:lnTo>
                  <a:lnTo>
                    <a:pt x="320180" y="94613"/>
                  </a:lnTo>
                  <a:lnTo>
                    <a:pt x="315771" y="95347"/>
                  </a:lnTo>
                  <a:lnTo>
                    <a:pt x="312658" y="95864"/>
                  </a:lnTo>
                  <a:lnTo>
                    <a:pt x="312132" y="96007"/>
                  </a:lnTo>
                  <a:lnTo>
                    <a:pt x="311167" y="96653"/>
                  </a:lnTo>
                  <a:lnTo>
                    <a:pt x="310497" y="98579"/>
                  </a:lnTo>
                  <a:lnTo>
                    <a:pt x="309898" y="100779"/>
                  </a:lnTo>
                  <a:lnTo>
                    <a:pt x="309253" y="101757"/>
                  </a:lnTo>
                  <a:lnTo>
                    <a:pt x="299913" y="104933"/>
                  </a:lnTo>
                  <a:lnTo>
                    <a:pt x="296269" y="105368"/>
                  </a:lnTo>
                  <a:lnTo>
                    <a:pt x="294154" y="105042"/>
                  </a:lnTo>
                  <a:lnTo>
                    <a:pt x="292652" y="105300"/>
                  </a:lnTo>
                  <a:lnTo>
                    <a:pt x="291356" y="105976"/>
                  </a:lnTo>
                  <a:lnTo>
                    <a:pt x="290916" y="107005"/>
                  </a:lnTo>
                  <a:lnTo>
                    <a:pt x="290852" y="108312"/>
                  </a:lnTo>
                  <a:lnTo>
                    <a:pt x="291127" y="109633"/>
                  </a:lnTo>
                  <a:lnTo>
                    <a:pt x="292027" y="111472"/>
                  </a:lnTo>
                  <a:lnTo>
                    <a:pt x="292188" y="113310"/>
                  </a:lnTo>
                  <a:lnTo>
                    <a:pt x="291613" y="114604"/>
                  </a:lnTo>
                  <a:lnTo>
                    <a:pt x="291475" y="115906"/>
                  </a:lnTo>
                  <a:lnTo>
                    <a:pt x="291210" y="117313"/>
                  </a:lnTo>
                  <a:lnTo>
                    <a:pt x="291687" y="118074"/>
                  </a:lnTo>
                  <a:lnTo>
                    <a:pt x="292589" y="118190"/>
                  </a:lnTo>
                  <a:lnTo>
                    <a:pt x="293492" y="118835"/>
                  </a:lnTo>
                  <a:lnTo>
                    <a:pt x="294767" y="119420"/>
                  </a:lnTo>
                  <a:lnTo>
                    <a:pt x="295828" y="120532"/>
                  </a:lnTo>
                  <a:lnTo>
                    <a:pt x="295776" y="122112"/>
                  </a:lnTo>
                  <a:lnTo>
                    <a:pt x="294893" y="123011"/>
                  </a:lnTo>
                  <a:lnTo>
                    <a:pt x="294115" y="123486"/>
                  </a:lnTo>
                  <a:lnTo>
                    <a:pt x="290620" y="123906"/>
                  </a:lnTo>
                  <a:lnTo>
                    <a:pt x="287849" y="124240"/>
                  </a:lnTo>
                  <a:lnTo>
                    <a:pt x="284236" y="126770"/>
                  </a:lnTo>
                  <a:lnTo>
                    <a:pt x="280387" y="129462"/>
                  </a:lnTo>
                  <a:lnTo>
                    <a:pt x="275825" y="131245"/>
                  </a:lnTo>
                  <a:lnTo>
                    <a:pt x="273824" y="131749"/>
                  </a:lnTo>
                  <a:lnTo>
                    <a:pt x="270311" y="133022"/>
                  </a:lnTo>
                  <a:lnTo>
                    <a:pt x="266115" y="135134"/>
                  </a:lnTo>
                  <a:lnTo>
                    <a:pt x="264045" y="138506"/>
                  </a:lnTo>
                  <a:lnTo>
                    <a:pt x="261430" y="142391"/>
                  </a:lnTo>
                  <a:lnTo>
                    <a:pt x="258920" y="144995"/>
                  </a:lnTo>
                  <a:lnTo>
                    <a:pt x="255490" y="147457"/>
                  </a:lnTo>
                  <a:lnTo>
                    <a:pt x="252294" y="148400"/>
                  </a:lnTo>
                  <a:lnTo>
                    <a:pt x="248277" y="149584"/>
                  </a:lnTo>
                  <a:lnTo>
                    <a:pt x="243206" y="150498"/>
                  </a:lnTo>
                  <a:lnTo>
                    <a:pt x="239620" y="150795"/>
                  </a:lnTo>
                  <a:lnTo>
                    <a:pt x="238552" y="150995"/>
                  </a:lnTo>
                  <a:lnTo>
                    <a:pt x="235394" y="151052"/>
                  </a:lnTo>
                  <a:lnTo>
                    <a:pt x="233845" y="150864"/>
                  </a:lnTo>
                  <a:lnTo>
                    <a:pt x="232693" y="150761"/>
                  </a:lnTo>
                  <a:lnTo>
                    <a:pt x="232226" y="151032"/>
                  </a:lnTo>
                  <a:lnTo>
                    <a:pt x="232070" y="151645"/>
                  </a:lnTo>
                  <a:lnTo>
                    <a:pt x="232009" y="153041"/>
                  </a:lnTo>
                  <a:lnTo>
                    <a:pt x="231791" y="154639"/>
                  </a:lnTo>
                  <a:lnTo>
                    <a:pt x="230793" y="155992"/>
                  </a:lnTo>
                  <a:lnTo>
                    <a:pt x="230084" y="156593"/>
                  </a:lnTo>
                  <a:lnTo>
                    <a:pt x="229253" y="156838"/>
                  </a:lnTo>
                  <a:lnTo>
                    <a:pt x="226604" y="156475"/>
                  </a:lnTo>
                  <a:lnTo>
                    <a:pt x="224383" y="156046"/>
                  </a:lnTo>
                  <a:lnTo>
                    <a:pt x="219090" y="155477"/>
                  </a:lnTo>
                  <a:lnTo>
                    <a:pt x="218040" y="155612"/>
                  </a:lnTo>
                  <a:lnTo>
                    <a:pt x="217647" y="155780"/>
                  </a:lnTo>
                  <a:lnTo>
                    <a:pt x="215995" y="156691"/>
                  </a:lnTo>
                  <a:lnTo>
                    <a:pt x="213455" y="158626"/>
                  </a:lnTo>
                  <a:lnTo>
                    <a:pt x="211732" y="160308"/>
                  </a:lnTo>
                  <a:lnTo>
                    <a:pt x="210449" y="161098"/>
                  </a:lnTo>
                  <a:lnTo>
                    <a:pt x="207378" y="161509"/>
                  </a:lnTo>
                  <a:lnTo>
                    <a:pt x="206039" y="162128"/>
                  </a:lnTo>
                  <a:lnTo>
                    <a:pt x="200319" y="166339"/>
                  </a:lnTo>
                  <a:lnTo>
                    <a:pt x="199101" y="167359"/>
                  </a:lnTo>
                  <a:lnTo>
                    <a:pt x="193213" y="171014"/>
                  </a:lnTo>
                  <a:lnTo>
                    <a:pt x="191548" y="172225"/>
                  </a:lnTo>
                  <a:lnTo>
                    <a:pt x="190248" y="173427"/>
                  </a:lnTo>
                  <a:lnTo>
                    <a:pt x="186731" y="176126"/>
                  </a:lnTo>
                  <a:lnTo>
                    <a:pt x="184485" y="177310"/>
                  </a:lnTo>
                  <a:lnTo>
                    <a:pt x="184076" y="178011"/>
                  </a:lnTo>
                  <a:lnTo>
                    <a:pt x="183967" y="179659"/>
                  </a:lnTo>
                  <a:lnTo>
                    <a:pt x="183967" y="183295"/>
                  </a:lnTo>
                  <a:lnTo>
                    <a:pt x="183967" y="186784"/>
                  </a:lnTo>
                  <a:lnTo>
                    <a:pt x="183967" y="191853"/>
                  </a:lnTo>
                  <a:lnTo>
                    <a:pt x="183967" y="196914"/>
                  </a:lnTo>
                  <a:lnTo>
                    <a:pt x="183967" y="202741"/>
                  </a:lnTo>
                  <a:lnTo>
                    <a:pt x="180993" y="202741"/>
                  </a:lnTo>
                  <a:lnTo>
                    <a:pt x="180994" y="202754"/>
                  </a:lnTo>
                  <a:lnTo>
                    <a:pt x="181080" y="203757"/>
                  </a:lnTo>
                  <a:lnTo>
                    <a:pt x="181729" y="205738"/>
                  </a:lnTo>
                  <a:lnTo>
                    <a:pt x="181954" y="207414"/>
                  </a:lnTo>
                  <a:lnTo>
                    <a:pt x="181631" y="208463"/>
                  </a:lnTo>
                  <a:lnTo>
                    <a:pt x="181328" y="209789"/>
                  </a:lnTo>
                  <a:lnTo>
                    <a:pt x="181458" y="211045"/>
                  </a:lnTo>
                  <a:lnTo>
                    <a:pt x="181954" y="212418"/>
                  </a:lnTo>
                  <a:lnTo>
                    <a:pt x="182408" y="213836"/>
                  </a:lnTo>
                  <a:lnTo>
                    <a:pt x="182408" y="214789"/>
                  </a:lnTo>
                  <a:lnTo>
                    <a:pt x="181501" y="215510"/>
                  </a:lnTo>
                  <a:lnTo>
                    <a:pt x="179418" y="215905"/>
                  </a:lnTo>
                  <a:lnTo>
                    <a:pt x="176923" y="216230"/>
                  </a:lnTo>
                  <a:lnTo>
                    <a:pt x="175098" y="216230"/>
                  </a:lnTo>
                  <a:lnTo>
                    <a:pt x="172356" y="215998"/>
                  </a:lnTo>
                  <a:lnTo>
                    <a:pt x="170650" y="216044"/>
                  </a:lnTo>
                  <a:lnTo>
                    <a:pt x="169160" y="216044"/>
                  </a:lnTo>
                  <a:lnTo>
                    <a:pt x="167832" y="216277"/>
                  </a:lnTo>
                  <a:lnTo>
                    <a:pt x="166190" y="217183"/>
                  </a:lnTo>
                  <a:lnTo>
                    <a:pt x="164365" y="218599"/>
                  </a:lnTo>
                  <a:lnTo>
                    <a:pt x="162076" y="220504"/>
                  </a:lnTo>
                  <a:lnTo>
                    <a:pt x="160705" y="221687"/>
                  </a:lnTo>
                  <a:lnTo>
                    <a:pt x="158880" y="221943"/>
                  </a:lnTo>
                  <a:lnTo>
                    <a:pt x="157057" y="221943"/>
                  </a:lnTo>
                  <a:lnTo>
                    <a:pt x="155275" y="220991"/>
                  </a:lnTo>
                  <a:lnTo>
                    <a:pt x="154130" y="220504"/>
                  </a:lnTo>
                  <a:lnTo>
                    <a:pt x="153375" y="220550"/>
                  </a:lnTo>
                  <a:lnTo>
                    <a:pt x="152132" y="221223"/>
                  </a:lnTo>
                  <a:lnTo>
                    <a:pt x="150664" y="221687"/>
                  </a:lnTo>
                  <a:lnTo>
                    <a:pt x="149292" y="221687"/>
                  </a:lnTo>
                  <a:lnTo>
                    <a:pt x="147004" y="220736"/>
                  </a:lnTo>
                  <a:lnTo>
                    <a:pt x="144262" y="219320"/>
                  </a:lnTo>
                  <a:lnTo>
                    <a:pt x="142663" y="218599"/>
                  </a:lnTo>
                  <a:lnTo>
                    <a:pt x="140386" y="218367"/>
                  </a:lnTo>
                  <a:lnTo>
                    <a:pt x="138097" y="217903"/>
                  </a:lnTo>
                  <a:lnTo>
                    <a:pt x="136498" y="218135"/>
                  </a:lnTo>
                  <a:lnTo>
                    <a:pt x="134448" y="218135"/>
                  </a:lnTo>
                  <a:lnTo>
                    <a:pt x="131705" y="219087"/>
                  </a:lnTo>
                  <a:lnTo>
                    <a:pt x="129416" y="219784"/>
                  </a:lnTo>
                  <a:lnTo>
                    <a:pt x="126911" y="220504"/>
                  </a:lnTo>
                  <a:lnTo>
                    <a:pt x="124060" y="221154"/>
                  </a:lnTo>
                  <a:lnTo>
                    <a:pt x="124752" y="223288"/>
                  </a:lnTo>
                  <a:lnTo>
                    <a:pt x="125735" y="224448"/>
                  </a:lnTo>
                  <a:lnTo>
                    <a:pt x="125735" y="225886"/>
                  </a:lnTo>
                  <a:lnTo>
                    <a:pt x="125269" y="227091"/>
                  </a:lnTo>
                  <a:lnTo>
                    <a:pt x="123898" y="228273"/>
                  </a:lnTo>
                  <a:lnTo>
                    <a:pt x="122333" y="229779"/>
                  </a:lnTo>
                  <a:lnTo>
                    <a:pt x="121427" y="230960"/>
                  </a:lnTo>
                  <a:lnTo>
                    <a:pt x="120509" y="232604"/>
                  </a:lnTo>
                  <a:lnTo>
                    <a:pt x="119828" y="233553"/>
                  </a:lnTo>
                  <a:lnTo>
                    <a:pt x="118651" y="235103"/>
                  </a:lnTo>
                  <a:lnTo>
                    <a:pt x="117605" y="237046"/>
                  </a:lnTo>
                  <a:lnTo>
                    <a:pt x="117280" y="238249"/>
                  </a:lnTo>
                  <a:lnTo>
                    <a:pt x="116859" y="239636"/>
                  </a:lnTo>
                  <a:lnTo>
                    <a:pt x="116049" y="240052"/>
                  </a:lnTo>
                  <a:lnTo>
                    <a:pt x="113263" y="240421"/>
                  </a:lnTo>
                  <a:lnTo>
                    <a:pt x="111493" y="240907"/>
                  </a:lnTo>
                  <a:lnTo>
                    <a:pt x="109949" y="241369"/>
                  </a:lnTo>
                  <a:lnTo>
                    <a:pt x="109373" y="242185"/>
                  </a:lnTo>
                  <a:lnTo>
                    <a:pt x="109280" y="242316"/>
                  </a:lnTo>
                  <a:lnTo>
                    <a:pt x="108836" y="243978"/>
                  </a:lnTo>
                  <a:lnTo>
                    <a:pt x="108836" y="245156"/>
                  </a:lnTo>
                  <a:lnTo>
                    <a:pt x="108395" y="246102"/>
                  </a:lnTo>
                  <a:lnTo>
                    <a:pt x="107735" y="248456"/>
                  </a:lnTo>
                  <a:lnTo>
                    <a:pt x="106851" y="250601"/>
                  </a:lnTo>
                  <a:lnTo>
                    <a:pt x="106181" y="253435"/>
                  </a:lnTo>
                  <a:lnTo>
                    <a:pt x="105522" y="255785"/>
                  </a:lnTo>
                  <a:lnTo>
                    <a:pt x="104638" y="259561"/>
                  </a:lnTo>
                  <a:lnTo>
                    <a:pt x="103752" y="263080"/>
                  </a:lnTo>
                  <a:lnTo>
                    <a:pt x="102650" y="266389"/>
                  </a:lnTo>
                  <a:lnTo>
                    <a:pt x="101765" y="268503"/>
                  </a:lnTo>
                  <a:lnTo>
                    <a:pt x="101095" y="269674"/>
                  </a:lnTo>
                  <a:lnTo>
                    <a:pt x="99551" y="271097"/>
                  </a:lnTo>
                  <a:lnTo>
                    <a:pt x="98223" y="272015"/>
                  </a:lnTo>
                  <a:lnTo>
                    <a:pt x="96680" y="273208"/>
                  </a:lnTo>
                  <a:lnTo>
                    <a:pt x="94908" y="274378"/>
                  </a:lnTo>
                  <a:lnTo>
                    <a:pt x="92480" y="275777"/>
                  </a:lnTo>
                  <a:lnTo>
                    <a:pt x="90482" y="276969"/>
                  </a:lnTo>
                  <a:lnTo>
                    <a:pt x="89670" y="277506"/>
                  </a:lnTo>
                  <a:lnTo>
                    <a:pt x="88712" y="278138"/>
                  </a:lnTo>
                  <a:lnTo>
                    <a:pt x="87167" y="279765"/>
                  </a:lnTo>
                  <a:lnTo>
                    <a:pt x="85839" y="282125"/>
                  </a:lnTo>
                  <a:lnTo>
                    <a:pt x="84954" y="284002"/>
                  </a:lnTo>
                  <a:lnTo>
                    <a:pt x="83409" y="287045"/>
                  </a:lnTo>
                  <a:lnTo>
                    <a:pt x="82308" y="288692"/>
                  </a:lnTo>
                  <a:lnTo>
                    <a:pt x="81640" y="289607"/>
                  </a:lnTo>
                  <a:lnTo>
                    <a:pt x="79868" y="290544"/>
                  </a:lnTo>
                  <a:lnTo>
                    <a:pt x="77882" y="291253"/>
                  </a:lnTo>
                  <a:lnTo>
                    <a:pt x="75668" y="292190"/>
                  </a:lnTo>
                  <a:lnTo>
                    <a:pt x="73898" y="293126"/>
                  </a:lnTo>
                  <a:lnTo>
                    <a:pt x="71469" y="294063"/>
                  </a:lnTo>
                  <a:lnTo>
                    <a:pt x="69925" y="294999"/>
                  </a:lnTo>
                  <a:lnTo>
                    <a:pt x="68812" y="296392"/>
                  </a:lnTo>
                  <a:lnTo>
                    <a:pt x="67928" y="298036"/>
                  </a:lnTo>
                  <a:lnTo>
                    <a:pt x="66827" y="300386"/>
                  </a:lnTo>
                  <a:lnTo>
                    <a:pt x="65940" y="302941"/>
                  </a:lnTo>
                  <a:lnTo>
                    <a:pt x="65499" y="304582"/>
                  </a:lnTo>
                  <a:lnTo>
                    <a:pt x="64170" y="310186"/>
                  </a:lnTo>
                  <a:lnTo>
                    <a:pt x="63727" y="313441"/>
                  </a:lnTo>
                  <a:lnTo>
                    <a:pt x="63285" y="315534"/>
                  </a:lnTo>
                  <a:lnTo>
                    <a:pt x="62625" y="318103"/>
                  </a:lnTo>
                  <a:lnTo>
                    <a:pt x="62184" y="322057"/>
                  </a:lnTo>
                  <a:lnTo>
                    <a:pt x="62184" y="325304"/>
                  </a:lnTo>
                  <a:lnTo>
                    <a:pt x="61740" y="327165"/>
                  </a:lnTo>
                  <a:lnTo>
                    <a:pt x="61514" y="328572"/>
                  </a:lnTo>
                  <a:lnTo>
                    <a:pt x="60412" y="330183"/>
                  </a:lnTo>
                  <a:lnTo>
                    <a:pt x="59527" y="331339"/>
                  </a:lnTo>
                  <a:lnTo>
                    <a:pt x="57984" y="332971"/>
                  </a:lnTo>
                  <a:lnTo>
                    <a:pt x="56655" y="333901"/>
                  </a:lnTo>
                  <a:lnTo>
                    <a:pt x="56213" y="334830"/>
                  </a:lnTo>
                  <a:lnTo>
                    <a:pt x="54884" y="335984"/>
                  </a:lnTo>
                  <a:lnTo>
                    <a:pt x="53557" y="337842"/>
                  </a:lnTo>
                  <a:lnTo>
                    <a:pt x="52455" y="338997"/>
                  </a:lnTo>
                  <a:lnTo>
                    <a:pt x="52671" y="339925"/>
                  </a:lnTo>
                  <a:lnTo>
                    <a:pt x="52899" y="341555"/>
                  </a:lnTo>
                  <a:lnTo>
                    <a:pt x="52228" y="343184"/>
                  </a:lnTo>
                  <a:lnTo>
                    <a:pt x="51570" y="345039"/>
                  </a:lnTo>
                  <a:lnTo>
                    <a:pt x="49799" y="347345"/>
                  </a:lnTo>
                  <a:lnTo>
                    <a:pt x="47812" y="348497"/>
                  </a:lnTo>
                  <a:lnTo>
                    <a:pt x="44930" y="348723"/>
                  </a:lnTo>
                  <a:lnTo>
                    <a:pt x="40956" y="348723"/>
                  </a:lnTo>
                  <a:lnTo>
                    <a:pt x="37858" y="348497"/>
                  </a:lnTo>
                  <a:lnTo>
                    <a:pt x="34100" y="348497"/>
                  </a:lnTo>
                  <a:lnTo>
                    <a:pt x="30786" y="348045"/>
                  </a:lnTo>
                  <a:lnTo>
                    <a:pt x="27688" y="347571"/>
                  </a:lnTo>
                  <a:lnTo>
                    <a:pt x="23931" y="347345"/>
                  </a:lnTo>
                  <a:lnTo>
                    <a:pt x="21273" y="347345"/>
                  </a:lnTo>
                  <a:lnTo>
                    <a:pt x="17960" y="347797"/>
                  </a:lnTo>
                  <a:lnTo>
                    <a:pt x="9333" y="347797"/>
                  </a:lnTo>
                  <a:lnTo>
                    <a:pt x="6017" y="348045"/>
                  </a:lnTo>
                  <a:lnTo>
                    <a:pt x="1149" y="348972"/>
                  </a:lnTo>
                  <a:lnTo>
                    <a:pt x="2" y="349192"/>
                  </a:lnTo>
                  <a:lnTo>
                    <a:pt x="0" y="349193"/>
                  </a:lnTo>
                  <a:lnTo>
                    <a:pt x="1597" y="338091"/>
                  </a:lnTo>
                  <a:lnTo>
                    <a:pt x="4639" y="332065"/>
                  </a:lnTo>
                  <a:lnTo>
                    <a:pt x="7056" y="329403"/>
                  </a:lnTo>
                  <a:lnTo>
                    <a:pt x="10806" y="328030"/>
                  </a:lnTo>
                  <a:lnTo>
                    <a:pt x="14248" y="321962"/>
                  </a:lnTo>
                  <a:lnTo>
                    <a:pt x="15452" y="316369"/>
                  </a:lnTo>
                  <a:lnTo>
                    <a:pt x="17717" y="313795"/>
                  </a:lnTo>
                  <a:lnTo>
                    <a:pt x="18427" y="311777"/>
                  </a:lnTo>
                  <a:lnTo>
                    <a:pt x="17531" y="310240"/>
                  </a:lnTo>
                  <a:lnTo>
                    <a:pt x="19667" y="307216"/>
                  </a:lnTo>
                  <a:lnTo>
                    <a:pt x="22253" y="302596"/>
                  </a:lnTo>
                  <a:lnTo>
                    <a:pt x="23449" y="299627"/>
                  </a:lnTo>
                  <a:lnTo>
                    <a:pt x="26471" y="295025"/>
                  </a:lnTo>
                  <a:lnTo>
                    <a:pt x="26840" y="294010"/>
                  </a:lnTo>
                  <a:lnTo>
                    <a:pt x="26566" y="292856"/>
                  </a:lnTo>
                  <a:lnTo>
                    <a:pt x="25382" y="293836"/>
                  </a:lnTo>
                  <a:lnTo>
                    <a:pt x="24114" y="295537"/>
                  </a:lnTo>
                  <a:lnTo>
                    <a:pt x="22607" y="296876"/>
                  </a:lnTo>
                  <a:lnTo>
                    <a:pt x="23223" y="295228"/>
                  </a:lnTo>
                  <a:lnTo>
                    <a:pt x="24406" y="292804"/>
                  </a:lnTo>
                  <a:lnTo>
                    <a:pt x="27094" y="290265"/>
                  </a:lnTo>
                  <a:lnTo>
                    <a:pt x="31327" y="287459"/>
                  </a:lnTo>
                  <a:lnTo>
                    <a:pt x="40121" y="277939"/>
                  </a:lnTo>
                  <a:lnTo>
                    <a:pt x="43433" y="276295"/>
                  </a:lnTo>
                  <a:lnTo>
                    <a:pt x="46409" y="272280"/>
                  </a:lnTo>
                  <a:lnTo>
                    <a:pt x="47475" y="268711"/>
                  </a:lnTo>
                  <a:lnTo>
                    <a:pt x="47766" y="260508"/>
                  </a:lnTo>
                  <a:lnTo>
                    <a:pt x="48827" y="256171"/>
                  </a:lnTo>
                  <a:lnTo>
                    <a:pt x="50770" y="252785"/>
                  </a:lnTo>
                  <a:lnTo>
                    <a:pt x="53087" y="246625"/>
                  </a:lnTo>
                  <a:lnTo>
                    <a:pt x="54845" y="243866"/>
                  </a:lnTo>
                  <a:lnTo>
                    <a:pt x="56000" y="238240"/>
                  </a:lnTo>
                  <a:lnTo>
                    <a:pt x="57253" y="236093"/>
                  </a:lnTo>
                  <a:lnTo>
                    <a:pt x="59495" y="235074"/>
                  </a:lnTo>
                  <a:lnTo>
                    <a:pt x="62682" y="232261"/>
                  </a:lnTo>
                  <a:lnTo>
                    <a:pt x="67464" y="230522"/>
                  </a:lnTo>
                  <a:lnTo>
                    <a:pt x="73129" y="226865"/>
                  </a:lnTo>
                  <a:lnTo>
                    <a:pt x="75785" y="224677"/>
                  </a:lnTo>
                  <a:lnTo>
                    <a:pt x="77554" y="221409"/>
                  </a:lnTo>
                  <a:lnTo>
                    <a:pt x="79455" y="214893"/>
                  </a:lnTo>
                  <a:lnTo>
                    <a:pt x="82853" y="208033"/>
                  </a:lnTo>
                  <a:lnTo>
                    <a:pt x="84594" y="202850"/>
                  </a:lnTo>
                  <a:lnTo>
                    <a:pt x="84625" y="202759"/>
                  </a:lnTo>
                  <a:lnTo>
                    <a:pt x="87616" y="200034"/>
                  </a:lnTo>
                  <a:lnTo>
                    <a:pt x="89646" y="196585"/>
                  </a:lnTo>
                  <a:lnTo>
                    <a:pt x="93079" y="195049"/>
                  </a:lnTo>
                  <a:lnTo>
                    <a:pt x="100260" y="194307"/>
                  </a:lnTo>
                  <a:lnTo>
                    <a:pt x="110936" y="191439"/>
                  </a:lnTo>
                  <a:lnTo>
                    <a:pt x="120520" y="187109"/>
                  </a:lnTo>
                  <a:lnTo>
                    <a:pt x="123229" y="185385"/>
                  </a:lnTo>
                  <a:lnTo>
                    <a:pt x="126128" y="181931"/>
                  </a:lnTo>
                  <a:lnTo>
                    <a:pt x="130951" y="177426"/>
                  </a:lnTo>
                  <a:lnTo>
                    <a:pt x="139953" y="172008"/>
                  </a:lnTo>
                  <a:lnTo>
                    <a:pt x="144096" y="168983"/>
                  </a:lnTo>
                  <a:lnTo>
                    <a:pt x="150417" y="161384"/>
                  </a:lnTo>
                  <a:lnTo>
                    <a:pt x="154621" y="155085"/>
                  </a:lnTo>
                  <a:lnTo>
                    <a:pt x="158112" y="151030"/>
                  </a:lnTo>
                  <a:lnTo>
                    <a:pt x="160526" y="147427"/>
                  </a:lnTo>
                  <a:lnTo>
                    <a:pt x="162214" y="143769"/>
                  </a:lnTo>
                  <a:lnTo>
                    <a:pt x="163171" y="137870"/>
                  </a:lnTo>
                  <a:lnTo>
                    <a:pt x="162528" y="135567"/>
                  </a:lnTo>
                  <a:lnTo>
                    <a:pt x="159869" y="131789"/>
                  </a:lnTo>
                  <a:lnTo>
                    <a:pt x="158083" y="130782"/>
                  </a:lnTo>
                  <a:lnTo>
                    <a:pt x="157606" y="128999"/>
                  </a:lnTo>
                  <a:lnTo>
                    <a:pt x="158558" y="125853"/>
                  </a:lnTo>
                  <a:lnTo>
                    <a:pt x="158538" y="120438"/>
                  </a:lnTo>
                  <a:lnTo>
                    <a:pt x="159083" y="111777"/>
                  </a:lnTo>
                  <a:lnTo>
                    <a:pt x="162040" y="104775"/>
                  </a:lnTo>
                  <a:lnTo>
                    <a:pt x="169282" y="95577"/>
                  </a:lnTo>
                  <a:lnTo>
                    <a:pt x="170628" y="91792"/>
                  </a:lnTo>
                  <a:lnTo>
                    <a:pt x="171456" y="85764"/>
                  </a:lnTo>
                  <a:lnTo>
                    <a:pt x="171529" y="83632"/>
                  </a:lnTo>
                  <a:lnTo>
                    <a:pt x="180586" y="75057"/>
                  </a:lnTo>
                  <a:lnTo>
                    <a:pt x="185892" y="68470"/>
                  </a:lnTo>
                  <a:lnTo>
                    <a:pt x="187737" y="66856"/>
                  </a:lnTo>
                  <a:lnTo>
                    <a:pt x="192418" y="63840"/>
                  </a:lnTo>
                  <a:lnTo>
                    <a:pt x="208755" y="57252"/>
                  </a:lnTo>
                  <a:lnTo>
                    <a:pt x="217990" y="52536"/>
                  </a:lnTo>
                  <a:lnTo>
                    <a:pt x="223379" y="49090"/>
                  </a:lnTo>
                  <a:lnTo>
                    <a:pt x="226590" y="45014"/>
                  </a:lnTo>
                  <a:lnTo>
                    <a:pt x="235493" y="28971"/>
                  </a:lnTo>
                  <a:lnTo>
                    <a:pt x="244240" y="6266"/>
                  </a:lnTo>
                  <a:lnTo>
                    <a:pt x="244964" y="3632"/>
                  </a:lnTo>
                  <a:lnTo>
                    <a:pt x="248875" y="2871"/>
                  </a:lnTo>
                  <a:lnTo>
                    <a:pt x="251641" y="2545"/>
                  </a:lnTo>
                  <a:lnTo>
                    <a:pt x="253865" y="1711"/>
                  </a:lnTo>
                  <a:lnTo>
                    <a:pt x="256627" y="0"/>
                  </a:lnTo>
                  <a:lnTo>
                    <a:pt x="259270" y="684"/>
                  </a:lnTo>
                  <a:lnTo>
                    <a:pt x="257947" y="1848"/>
                  </a:lnTo>
                  <a:lnTo>
                    <a:pt x="257947" y="4654"/>
                  </a:lnTo>
                  <a:lnTo>
                    <a:pt x="259826" y="7937"/>
                  </a:lnTo>
                  <a:lnTo>
                    <a:pt x="263083" y="11633"/>
                  </a:lnTo>
                  <a:lnTo>
                    <a:pt x="269013" y="16316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90" name="ee4p_MG_1_37365">
              <a:extLst>
                <a:ext uri="{FF2B5EF4-FFF2-40B4-BE49-F238E27FC236}">
                  <a16:creationId xmlns:a16="http://schemas.microsoft.com/office/drawing/2014/main" id="{8B60ADF4-CA40-58F2-8359-169690372E4F}"/>
                </a:ext>
              </a:extLst>
            </p:cNvPr>
            <p:cNvSpPr>
              <a:spLocks noChangeAspect="1"/>
            </p:cNvSpPr>
            <p:nvPr>
              <p:custDataLst>
                <p:tags r:id="rId344"/>
              </p:custDataLst>
            </p:nvPr>
          </p:nvSpPr>
          <p:spPr>
            <a:xfrm>
              <a:off x="7715923" y="5023911"/>
              <a:ext cx="200649" cy="399198"/>
            </a:xfrm>
            <a:custGeom>
              <a:avLst/>
              <a:gdLst>
                <a:gd name="connsiteX0" fmla="*/ 400733 w 427957"/>
                <a:gd name="connsiteY0" fmla="*/ 279043 h 828869"/>
                <a:gd name="connsiteX1" fmla="*/ 395603 w 427957"/>
                <a:gd name="connsiteY1" fmla="*/ 291689 h 828869"/>
                <a:gd name="connsiteX2" fmla="*/ 388944 w 427957"/>
                <a:gd name="connsiteY2" fmla="*/ 302875 h 828869"/>
                <a:gd name="connsiteX3" fmla="*/ 390819 w 427957"/>
                <a:gd name="connsiteY3" fmla="*/ 293532 h 828869"/>
                <a:gd name="connsiteX4" fmla="*/ 398536 w 427957"/>
                <a:gd name="connsiteY4" fmla="*/ 280085 h 828869"/>
                <a:gd name="connsiteX5" fmla="*/ 299205 w 427957"/>
                <a:gd name="connsiteY5" fmla="*/ 67301 h 828869"/>
                <a:gd name="connsiteX6" fmla="*/ 301705 w 427957"/>
                <a:gd name="connsiteY6" fmla="*/ 74011 h 828869"/>
                <a:gd name="connsiteX7" fmla="*/ 301180 w 427957"/>
                <a:gd name="connsiteY7" fmla="*/ 77284 h 828869"/>
                <a:gd name="connsiteX8" fmla="*/ 301260 w 427957"/>
                <a:gd name="connsiteY8" fmla="*/ 79484 h 828869"/>
                <a:gd name="connsiteX9" fmla="*/ 293462 w 427957"/>
                <a:gd name="connsiteY9" fmla="*/ 78573 h 828869"/>
                <a:gd name="connsiteX10" fmla="*/ 292238 w 427957"/>
                <a:gd name="connsiteY10" fmla="*/ 71022 h 828869"/>
                <a:gd name="connsiteX11" fmla="*/ 296055 w 427957"/>
                <a:gd name="connsiteY11" fmla="*/ 70786 h 828869"/>
                <a:gd name="connsiteX12" fmla="*/ 296886 w 427957"/>
                <a:gd name="connsiteY12" fmla="*/ 67684 h 828869"/>
                <a:gd name="connsiteX13" fmla="*/ 352400 w 427957"/>
                <a:gd name="connsiteY13" fmla="*/ 0 h 828869"/>
                <a:gd name="connsiteX14" fmla="*/ 355743 w 427957"/>
                <a:gd name="connsiteY14" fmla="*/ 35 h 828869"/>
                <a:gd name="connsiteX15" fmla="*/ 358625 w 427957"/>
                <a:gd name="connsiteY15" fmla="*/ 2665 h 828869"/>
                <a:gd name="connsiteX16" fmla="*/ 359694 w 427957"/>
                <a:gd name="connsiteY16" fmla="*/ 6555 h 828869"/>
                <a:gd name="connsiteX17" fmla="*/ 361695 w 427957"/>
                <a:gd name="connsiteY17" fmla="*/ 9418 h 828869"/>
                <a:gd name="connsiteX18" fmla="*/ 368554 w 427957"/>
                <a:gd name="connsiteY18" fmla="*/ 16157 h 828869"/>
                <a:gd name="connsiteX19" fmla="*/ 372021 w 427957"/>
                <a:gd name="connsiteY19" fmla="*/ 21190 h 828869"/>
                <a:gd name="connsiteX20" fmla="*/ 374739 w 427957"/>
                <a:gd name="connsiteY20" fmla="*/ 27479 h 828869"/>
                <a:gd name="connsiteX21" fmla="*/ 377913 w 427957"/>
                <a:gd name="connsiteY21" fmla="*/ 33520 h 828869"/>
                <a:gd name="connsiteX22" fmla="*/ 387816 w 427957"/>
                <a:gd name="connsiteY22" fmla="*/ 48118 h 828869"/>
                <a:gd name="connsiteX23" fmla="*/ 392051 w 427957"/>
                <a:gd name="connsiteY23" fmla="*/ 53737 h 828869"/>
                <a:gd name="connsiteX24" fmla="*/ 395664 w 427957"/>
                <a:gd name="connsiteY24" fmla="*/ 59713 h 828869"/>
                <a:gd name="connsiteX25" fmla="*/ 397424 w 427957"/>
                <a:gd name="connsiteY25" fmla="*/ 71638 h 828869"/>
                <a:gd name="connsiteX26" fmla="*/ 403716 w 427957"/>
                <a:gd name="connsiteY26" fmla="*/ 90190 h 828869"/>
                <a:gd name="connsiteX27" fmla="*/ 409662 w 427957"/>
                <a:gd name="connsiteY27" fmla="*/ 118087 h 828869"/>
                <a:gd name="connsiteX28" fmla="*/ 411484 w 427957"/>
                <a:gd name="connsiteY28" fmla="*/ 146742 h 828869"/>
                <a:gd name="connsiteX29" fmla="*/ 413308 w 427957"/>
                <a:gd name="connsiteY29" fmla="*/ 159904 h 828869"/>
                <a:gd name="connsiteX30" fmla="*/ 417933 w 427957"/>
                <a:gd name="connsiteY30" fmla="*/ 172295 h 828869"/>
                <a:gd name="connsiteX31" fmla="*/ 425506 w 427957"/>
                <a:gd name="connsiteY31" fmla="*/ 185166 h 828869"/>
                <a:gd name="connsiteX32" fmla="*/ 427957 w 427957"/>
                <a:gd name="connsiteY32" fmla="*/ 199488 h 828869"/>
                <a:gd name="connsiteX33" fmla="*/ 423331 w 427957"/>
                <a:gd name="connsiteY33" fmla="*/ 214252 h 828869"/>
                <a:gd name="connsiteX34" fmla="*/ 416632 w 427957"/>
                <a:gd name="connsiteY34" fmla="*/ 228172 h 828869"/>
                <a:gd name="connsiteX35" fmla="*/ 414904 w 427957"/>
                <a:gd name="connsiteY35" fmla="*/ 230787 h 828869"/>
                <a:gd name="connsiteX36" fmla="*/ 411746 w 427957"/>
                <a:gd name="connsiteY36" fmla="*/ 234362 h 828869"/>
                <a:gd name="connsiteX37" fmla="*/ 410321 w 427957"/>
                <a:gd name="connsiteY37" fmla="*/ 234204 h 828869"/>
                <a:gd name="connsiteX38" fmla="*/ 404961 w 427957"/>
                <a:gd name="connsiteY38" fmla="*/ 230610 h 828869"/>
                <a:gd name="connsiteX39" fmla="*/ 400576 w 427957"/>
                <a:gd name="connsiteY39" fmla="*/ 224728 h 828869"/>
                <a:gd name="connsiteX40" fmla="*/ 395019 w 427957"/>
                <a:gd name="connsiteY40" fmla="*/ 210880 h 828869"/>
                <a:gd name="connsiteX41" fmla="*/ 393004 w 427957"/>
                <a:gd name="connsiteY41" fmla="*/ 203856 h 828869"/>
                <a:gd name="connsiteX42" fmla="*/ 390679 w 427957"/>
                <a:gd name="connsiteY42" fmla="*/ 202747 h 828869"/>
                <a:gd name="connsiteX43" fmla="*/ 384189 w 427957"/>
                <a:gd name="connsiteY43" fmla="*/ 203358 h 828869"/>
                <a:gd name="connsiteX44" fmla="*/ 379488 w 427957"/>
                <a:gd name="connsiteY44" fmla="*/ 207730 h 828869"/>
                <a:gd name="connsiteX45" fmla="*/ 378631 w 427957"/>
                <a:gd name="connsiteY45" fmla="*/ 210483 h 828869"/>
                <a:gd name="connsiteX46" fmla="*/ 379644 w 427957"/>
                <a:gd name="connsiteY46" fmla="*/ 218291 h 828869"/>
                <a:gd name="connsiteX47" fmla="*/ 381425 w 427957"/>
                <a:gd name="connsiteY47" fmla="*/ 225317 h 828869"/>
                <a:gd name="connsiteX48" fmla="*/ 382218 w 427957"/>
                <a:gd name="connsiteY48" fmla="*/ 232447 h 828869"/>
                <a:gd name="connsiteX49" fmla="*/ 382357 w 427957"/>
                <a:gd name="connsiteY49" fmla="*/ 241428 h 828869"/>
                <a:gd name="connsiteX50" fmla="*/ 384103 w 427957"/>
                <a:gd name="connsiteY50" fmla="*/ 244144 h 828869"/>
                <a:gd name="connsiteX51" fmla="*/ 386688 w 427957"/>
                <a:gd name="connsiteY51" fmla="*/ 246429 h 828869"/>
                <a:gd name="connsiteX52" fmla="*/ 389361 w 427957"/>
                <a:gd name="connsiteY52" fmla="*/ 252311 h 828869"/>
                <a:gd name="connsiteX53" fmla="*/ 389836 w 427957"/>
                <a:gd name="connsiteY53" fmla="*/ 266339 h 828869"/>
                <a:gd name="connsiteX54" fmla="*/ 388194 w 427957"/>
                <a:gd name="connsiteY54" fmla="*/ 273429 h 828869"/>
                <a:gd name="connsiteX55" fmla="*/ 383611 w 427957"/>
                <a:gd name="connsiteY55" fmla="*/ 279515 h 828869"/>
                <a:gd name="connsiteX56" fmla="*/ 383884 w 427957"/>
                <a:gd name="connsiteY56" fmla="*/ 282884 h 828869"/>
                <a:gd name="connsiteX57" fmla="*/ 385577 w 427957"/>
                <a:gd name="connsiteY57" fmla="*/ 286340 h 828869"/>
                <a:gd name="connsiteX58" fmla="*/ 383953 w 427957"/>
                <a:gd name="connsiteY58" fmla="*/ 288429 h 828869"/>
                <a:gd name="connsiteX59" fmla="*/ 377862 w 427957"/>
                <a:gd name="connsiteY59" fmla="*/ 291075 h 828869"/>
                <a:gd name="connsiteX60" fmla="*/ 375393 w 427957"/>
                <a:gd name="connsiteY60" fmla="*/ 293406 h 828869"/>
                <a:gd name="connsiteX61" fmla="*/ 372096 w 427957"/>
                <a:gd name="connsiteY61" fmla="*/ 299606 h 828869"/>
                <a:gd name="connsiteX62" fmla="*/ 366752 w 427957"/>
                <a:gd name="connsiteY62" fmla="*/ 312271 h 828869"/>
                <a:gd name="connsiteX63" fmla="*/ 366029 w 427957"/>
                <a:gd name="connsiteY63" fmla="*/ 318739 h 828869"/>
                <a:gd name="connsiteX64" fmla="*/ 369377 w 427957"/>
                <a:gd name="connsiteY64" fmla="*/ 338448 h 828869"/>
                <a:gd name="connsiteX65" fmla="*/ 368439 w 427957"/>
                <a:gd name="connsiteY65" fmla="*/ 352441 h 828869"/>
                <a:gd name="connsiteX66" fmla="*/ 361633 w 427957"/>
                <a:gd name="connsiteY66" fmla="*/ 379224 h 828869"/>
                <a:gd name="connsiteX67" fmla="*/ 357722 w 427957"/>
                <a:gd name="connsiteY67" fmla="*/ 391944 h 828869"/>
                <a:gd name="connsiteX68" fmla="*/ 352181 w 427957"/>
                <a:gd name="connsiteY68" fmla="*/ 407161 h 828869"/>
                <a:gd name="connsiteX69" fmla="*/ 343698 w 427957"/>
                <a:gd name="connsiteY69" fmla="*/ 427250 h 828869"/>
                <a:gd name="connsiteX70" fmla="*/ 335287 w 427957"/>
                <a:gd name="connsiteY70" fmla="*/ 452495 h 828869"/>
                <a:gd name="connsiteX71" fmla="*/ 328143 w 427957"/>
                <a:gd name="connsiteY71" fmla="*/ 478517 h 828869"/>
                <a:gd name="connsiteX72" fmla="*/ 322861 w 427957"/>
                <a:gd name="connsiteY72" fmla="*/ 494179 h 828869"/>
                <a:gd name="connsiteX73" fmla="*/ 316864 w 427957"/>
                <a:gd name="connsiteY73" fmla="*/ 509615 h 828869"/>
                <a:gd name="connsiteX74" fmla="*/ 308662 w 427957"/>
                <a:gd name="connsiteY74" fmla="*/ 536955 h 828869"/>
                <a:gd name="connsiteX75" fmla="*/ 301687 w 427957"/>
                <a:gd name="connsiteY75" fmla="*/ 564750 h 828869"/>
                <a:gd name="connsiteX76" fmla="*/ 291327 w 427957"/>
                <a:gd name="connsiteY76" fmla="*/ 595393 h 828869"/>
                <a:gd name="connsiteX77" fmla="*/ 277029 w 427957"/>
                <a:gd name="connsiteY77" fmla="*/ 629641 h 828869"/>
                <a:gd name="connsiteX78" fmla="*/ 275486 w 427957"/>
                <a:gd name="connsiteY78" fmla="*/ 634117 h 828869"/>
                <a:gd name="connsiteX79" fmla="*/ 272518 w 427957"/>
                <a:gd name="connsiteY79" fmla="*/ 651653 h 828869"/>
                <a:gd name="connsiteX80" fmla="*/ 269309 w 427957"/>
                <a:gd name="connsiteY80" fmla="*/ 666889 h 828869"/>
                <a:gd name="connsiteX81" fmla="*/ 265479 w 427957"/>
                <a:gd name="connsiteY81" fmla="*/ 681996 h 828869"/>
                <a:gd name="connsiteX82" fmla="*/ 257462 w 427957"/>
                <a:gd name="connsiteY82" fmla="*/ 706995 h 828869"/>
                <a:gd name="connsiteX83" fmla="*/ 256549 w 427957"/>
                <a:gd name="connsiteY83" fmla="*/ 714714 h 828869"/>
                <a:gd name="connsiteX84" fmla="*/ 254732 w 427957"/>
                <a:gd name="connsiteY84" fmla="*/ 722123 h 828869"/>
                <a:gd name="connsiteX85" fmla="*/ 247010 w 427957"/>
                <a:gd name="connsiteY85" fmla="*/ 737841 h 828869"/>
                <a:gd name="connsiteX86" fmla="*/ 243748 w 427957"/>
                <a:gd name="connsiteY86" fmla="*/ 743693 h 828869"/>
                <a:gd name="connsiteX87" fmla="*/ 241442 w 427957"/>
                <a:gd name="connsiteY87" fmla="*/ 749918 h 828869"/>
                <a:gd name="connsiteX88" fmla="*/ 240145 w 427957"/>
                <a:gd name="connsiteY88" fmla="*/ 757809 h 828869"/>
                <a:gd name="connsiteX89" fmla="*/ 237842 w 427957"/>
                <a:gd name="connsiteY89" fmla="*/ 765430 h 828869"/>
                <a:gd name="connsiteX90" fmla="*/ 232187 w 427957"/>
                <a:gd name="connsiteY90" fmla="*/ 779452 h 828869"/>
                <a:gd name="connsiteX91" fmla="*/ 223752 w 427957"/>
                <a:gd name="connsiteY91" fmla="*/ 791535 h 828869"/>
                <a:gd name="connsiteX92" fmla="*/ 218020 w 427957"/>
                <a:gd name="connsiteY92" fmla="*/ 795930 h 828869"/>
                <a:gd name="connsiteX93" fmla="*/ 205603 w 427957"/>
                <a:gd name="connsiteY93" fmla="*/ 802311 h 828869"/>
                <a:gd name="connsiteX94" fmla="*/ 199311 w 427957"/>
                <a:gd name="connsiteY94" fmla="*/ 803604 h 828869"/>
                <a:gd name="connsiteX95" fmla="*/ 185358 w 427957"/>
                <a:gd name="connsiteY95" fmla="*/ 803752 h 828869"/>
                <a:gd name="connsiteX96" fmla="*/ 171853 w 427957"/>
                <a:gd name="connsiteY96" fmla="*/ 807387 h 828869"/>
                <a:gd name="connsiteX97" fmla="*/ 157769 w 427957"/>
                <a:gd name="connsiteY97" fmla="*/ 814388 h 828869"/>
                <a:gd name="connsiteX98" fmla="*/ 144224 w 427957"/>
                <a:gd name="connsiteY98" fmla="*/ 822419 h 828869"/>
                <a:gd name="connsiteX99" fmla="*/ 139035 w 427957"/>
                <a:gd name="connsiteY99" fmla="*/ 826227 h 828869"/>
                <a:gd name="connsiteX100" fmla="*/ 133314 w 427957"/>
                <a:gd name="connsiteY100" fmla="*/ 828405 h 828869"/>
                <a:gd name="connsiteX101" fmla="*/ 115413 w 427957"/>
                <a:gd name="connsiteY101" fmla="*/ 828869 h 828869"/>
                <a:gd name="connsiteX102" fmla="*/ 110051 w 427957"/>
                <a:gd name="connsiteY102" fmla="*/ 827136 h 828869"/>
                <a:gd name="connsiteX103" fmla="*/ 92145 w 427957"/>
                <a:gd name="connsiteY103" fmla="*/ 813938 h 828869"/>
                <a:gd name="connsiteX104" fmla="*/ 85210 w 427957"/>
                <a:gd name="connsiteY104" fmla="*/ 811763 h 828869"/>
                <a:gd name="connsiteX105" fmla="*/ 72061 w 427957"/>
                <a:gd name="connsiteY105" fmla="*/ 809955 h 828869"/>
                <a:gd name="connsiteX106" fmla="*/ 68089 w 427957"/>
                <a:gd name="connsiteY106" fmla="*/ 808836 h 828869"/>
                <a:gd name="connsiteX107" fmla="*/ 64484 w 427957"/>
                <a:gd name="connsiteY107" fmla="*/ 807116 h 828869"/>
                <a:gd name="connsiteX108" fmla="*/ 59169 w 427957"/>
                <a:gd name="connsiteY108" fmla="*/ 800227 h 828869"/>
                <a:gd name="connsiteX109" fmla="*/ 48624 w 427957"/>
                <a:gd name="connsiteY109" fmla="*/ 794409 h 828869"/>
                <a:gd name="connsiteX110" fmla="*/ 46090 w 427957"/>
                <a:gd name="connsiteY110" fmla="*/ 792588 h 828869"/>
                <a:gd name="connsiteX111" fmla="*/ 44488 w 427957"/>
                <a:gd name="connsiteY111" fmla="*/ 788575 h 828869"/>
                <a:gd name="connsiteX112" fmla="*/ 43395 w 427957"/>
                <a:gd name="connsiteY112" fmla="*/ 784255 h 828869"/>
                <a:gd name="connsiteX113" fmla="*/ 40666 w 427957"/>
                <a:gd name="connsiteY113" fmla="*/ 779423 h 828869"/>
                <a:gd name="connsiteX114" fmla="*/ 38641 w 427957"/>
                <a:gd name="connsiteY114" fmla="*/ 770227 h 828869"/>
                <a:gd name="connsiteX115" fmla="*/ 35207 w 427957"/>
                <a:gd name="connsiteY115" fmla="*/ 763796 h 828869"/>
                <a:gd name="connsiteX116" fmla="*/ 25489 w 427957"/>
                <a:gd name="connsiteY116" fmla="*/ 752452 h 828869"/>
                <a:gd name="connsiteX117" fmla="*/ 24453 w 427957"/>
                <a:gd name="connsiteY117" fmla="*/ 748834 h 828869"/>
                <a:gd name="connsiteX118" fmla="*/ 23673 w 427957"/>
                <a:gd name="connsiteY118" fmla="*/ 736810 h 828869"/>
                <a:gd name="connsiteX119" fmla="*/ 23984 w 427957"/>
                <a:gd name="connsiteY119" fmla="*/ 728680 h 828869"/>
                <a:gd name="connsiteX120" fmla="*/ 23036 w 427957"/>
                <a:gd name="connsiteY120" fmla="*/ 713809 h 828869"/>
                <a:gd name="connsiteX121" fmla="*/ 24142 w 427957"/>
                <a:gd name="connsiteY121" fmla="*/ 706818 h 828869"/>
                <a:gd name="connsiteX122" fmla="*/ 27549 w 427957"/>
                <a:gd name="connsiteY122" fmla="*/ 700523 h 828869"/>
                <a:gd name="connsiteX123" fmla="*/ 26154 w 427957"/>
                <a:gd name="connsiteY123" fmla="*/ 693717 h 828869"/>
                <a:gd name="connsiteX124" fmla="*/ 22532 w 427957"/>
                <a:gd name="connsiteY124" fmla="*/ 686565 h 828869"/>
                <a:gd name="connsiteX125" fmla="*/ 21174 w 427957"/>
                <a:gd name="connsiteY125" fmla="*/ 679170 h 828869"/>
                <a:gd name="connsiteX126" fmla="*/ 18501 w 427957"/>
                <a:gd name="connsiteY126" fmla="*/ 672441 h 828869"/>
                <a:gd name="connsiteX127" fmla="*/ 8333 w 427957"/>
                <a:gd name="connsiteY127" fmla="*/ 660326 h 828869"/>
                <a:gd name="connsiteX128" fmla="*/ 5944 w 427957"/>
                <a:gd name="connsiteY128" fmla="*/ 654369 h 828869"/>
                <a:gd name="connsiteX129" fmla="*/ 4291 w 427957"/>
                <a:gd name="connsiteY129" fmla="*/ 648201 h 828869"/>
                <a:gd name="connsiteX130" fmla="*/ 456 w 427957"/>
                <a:gd name="connsiteY130" fmla="*/ 628998 h 828869"/>
                <a:gd name="connsiteX131" fmla="*/ 0 w 427957"/>
                <a:gd name="connsiteY131" fmla="*/ 622326 h 828869"/>
                <a:gd name="connsiteX132" fmla="*/ 560 w 427957"/>
                <a:gd name="connsiteY132" fmla="*/ 608207 h 828869"/>
                <a:gd name="connsiteX133" fmla="*/ 1977 w 427957"/>
                <a:gd name="connsiteY133" fmla="*/ 600948 h 828869"/>
                <a:gd name="connsiteX134" fmla="*/ 4447 w 427957"/>
                <a:gd name="connsiteY134" fmla="*/ 595897 h 828869"/>
                <a:gd name="connsiteX135" fmla="*/ 5065 w 427957"/>
                <a:gd name="connsiteY135" fmla="*/ 592125 h 828869"/>
                <a:gd name="connsiteX136" fmla="*/ 6667 w 427957"/>
                <a:gd name="connsiteY136" fmla="*/ 588889 h 828869"/>
                <a:gd name="connsiteX137" fmla="*/ 9086 w 427957"/>
                <a:gd name="connsiteY137" fmla="*/ 586294 h 828869"/>
                <a:gd name="connsiteX138" fmla="*/ 10698 w 427957"/>
                <a:gd name="connsiteY138" fmla="*/ 583206 h 828869"/>
                <a:gd name="connsiteX139" fmla="*/ 14494 w 427957"/>
                <a:gd name="connsiteY139" fmla="*/ 565208 h 828869"/>
                <a:gd name="connsiteX140" fmla="*/ 19307 w 427957"/>
                <a:gd name="connsiteY140" fmla="*/ 561215 h 828869"/>
                <a:gd name="connsiteX141" fmla="*/ 26443 w 427957"/>
                <a:gd name="connsiteY141" fmla="*/ 558925 h 828869"/>
                <a:gd name="connsiteX142" fmla="*/ 32164 w 427957"/>
                <a:gd name="connsiteY142" fmla="*/ 554232 h 828869"/>
                <a:gd name="connsiteX143" fmla="*/ 35448 w 427957"/>
                <a:gd name="connsiteY143" fmla="*/ 547897 h 828869"/>
                <a:gd name="connsiteX144" fmla="*/ 38735 w 427957"/>
                <a:gd name="connsiteY144" fmla="*/ 534842 h 828869"/>
                <a:gd name="connsiteX145" fmla="*/ 47735 w 427957"/>
                <a:gd name="connsiteY145" fmla="*/ 521888 h 828869"/>
                <a:gd name="connsiteX146" fmla="*/ 50938 w 427957"/>
                <a:gd name="connsiteY146" fmla="*/ 515085 h 828869"/>
                <a:gd name="connsiteX147" fmla="*/ 58192 w 427957"/>
                <a:gd name="connsiteY147" fmla="*/ 504813 h 828869"/>
                <a:gd name="connsiteX148" fmla="*/ 64617 w 427957"/>
                <a:gd name="connsiteY148" fmla="*/ 490367 h 828869"/>
                <a:gd name="connsiteX149" fmla="*/ 66567 w 427957"/>
                <a:gd name="connsiteY149" fmla="*/ 483566 h 828869"/>
                <a:gd name="connsiteX150" fmla="*/ 67966 w 427957"/>
                <a:gd name="connsiteY150" fmla="*/ 476599 h 828869"/>
                <a:gd name="connsiteX151" fmla="*/ 69597 w 427957"/>
                <a:gd name="connsiteY151" fmla="*/ 461340 h 828869"/>
                <a:gd name="connsiteX152" fmla="*/ 70824 w 427957"/>
                <a:gd name="connsiteY152" fmla="*/ 453751 h 828869"/>
                <a:gd name="connsiteX153" fmla="*/ 70580 w 427957"/>
                <a:gd name="connsiteY153" fmla="*/ 446238 h 828869"/>
                <a:gd name="connsiteX154" fmla="*/ 66892 w 427957"/>
                <a:gd name="connsiteY154" fmla="*/ 438521 h 828869"/>
                <a:gd name="connsiteX155" fmla="*/ 58141 w 427957"/>
                <a:gd name="connsiteY155" fmla="*/ 424520 h 828869"/>
                <a:gd name="connsiteX156" fmla="*/ 57857 w 427957"/>
                <a:gd name="connsiteY156" fmla="*/ 421906 h 828869"/>
                <a:gd name="connsiteX157" fmla="*/ 58551 w 427957"/>
                <a:gd name="connsiteY157" fmla="*/ 411511 h 828869"/>
                <a:gd name="connsiteX158" fmla="*/ 57803 w 427957"/>
                <a:gd name="connsiteY158" fmla="*/ 403995 h 828869"/>
                <a:gd name="connsiteX159" fmla="*/ 54584 w 427957"/>
                <a:gd name="connsiteY159" fmla="*/ 396511 h 828869"/>
                <a:gd name="connsiteX160" fmla="*/ 50440 w 427957"/>
                <a:gd name="connsiteY160" fmla="*/ 389461 h 828869"/>
                <a:gd name="connsiteX161" fmla="*/ 46369 w 427957"/>
                <a:gd name="connsiteY161" fmla="*/ 376293 h 828869"/>
                <a:gd name="connsiteX162" fmla="*/ 44392 w 427957"/>
                <a:gd name="connsiteY162" fmla="*/ 354549 h 828869"/>
                <a:gd name="connsiteX163" fmla="*/ 44807 w 427957"/>
                <a:gd name="connsiteY163" fmla="*/ 346693 h 828869"/>
                <a:gd name="connsiteX164" fmla="*/ 43615 w 427957"/>
                <a:gd name="connsiteY164" fmla="*/ 339718 h 828869"/>
                <a:gd name="connsiteX165" fmla="*/ 40655 w 427957"/>
                <a:gd name="connsiteY165" fmla="*/ 333070 h 828869"/>
                <a:gd name="connsiteX166" fmla="*/ 42777 w 427957"/>
                <a:gd name="connsiteY166" fmla="*/ 321482 h 828869"/>
                <a:gd name="connsiteX167" fmla="*/ 68957 w 427957"/>
                <a:gd name="connsiteY167" fmla="*/ 279491 h 828869"/>
                <a:gd name="connsiteX168" fmla="*/ 69806 w 427957"/>
                <a:gd name="connsiteY168" fmla="*/ 274551 h 828869"/>
                <a:gd name="connsiteX169" fmla="*/ 68753 w 427957"/>
                <a:gd name="connsiteY169" fmla="*/ 261767 h 828869"/>
                <a:gd name="connsiteX170" fmla="*/ 69291 w 427957"/>
                <a:gd name="connsiteY170" fmla="*/ 254331 h 828869"/>
                <a:gd name="connsiteX171" fmla="*/ 70205 w 427957"/>
                <a:gd name="connsiteY171" fmla="*/ 251577 h 828869"/>
                <a:gd name="connsiteX172" fmla="*/ 72200 w 427957"/>
                <a:gd name="connsiteY172" fmla="*/ 249968 h 828869"/>
                <a:gd name="connsiteX173" fmla="*/ 76682 w 427957"/>
                <a:gd name="connsiteY173" fmla="*/ 249191 h 828869"/>
                <a:gd name="connsiteX174" fmla="*/ 97847 w 427957"/>
                <a:gd name="connsiteY174" fmla="*/ 247367 h 828869"/>
                <a:gd name="connsiteX175" fmla="*/ 100566 w 427957"/>
                <a:gd name="connsiteY175" fmla="*/ 246081 h 828869"/>
                <a:gd name="connsiteX176" fmla="*/ 105846 w 427957"/>
                <a:gd name="connsiteY176" fmla="*/ 242543 h 828869"/>
                <a:gd name="connsiteX177" fmla="*/ 113104 w 427957"/>
                <a:gd name="connsiteY177" fmla="*/ 235723 h 828869"/>
                <a:gd name="connsiteX178" fmla="*/ 116423 w 427957"/>
                <a:gd name="connsiteY178" fmla="*/ 233760 h 828869"/>
                <a:gd name="connsiteX179" fmla="*/ 119295 w 427957"/>
                <a:gd name="connsiteY179" fmla="*/ 234475 h 828869"/>
                <a:gd name="connsiteX180" fmla="*/ 121135 w 427957"/>
                <a:gd name="connsiteY180" fmla="*/ 237400 h 828869"/>
                <a:gd name="connsiteX181" fmla="*/ 123492 w 427957"/>
                <a:gd name="connsiteY181" fmla="*/ 238996 h 828869"/>
                <a:gd name="connsiteX182" fmla="*/ 132031 w 427957"/>
                <a:gd name="connsiteY182" fmla="*/ 235905 h 828869"/>
                <a:gd name="connsiteX183" fmla="*/ 135315 w 427957"/>
                <a:gd name="connsiteY183" fmla="*/ 235811 h 828869"/>
                <a:gd name="connsiteX184" fmla="*/ 138660 w 427957"/>
                <a:gd name="connsiteY184" fmla="*/ 236315 h 828869"/>
                <a:gd name="connsiteX185" fmla="*/ 140227 w 427957"/>
                <a:gd name="connsiteY185" fmla="*/ 233473 h 828869"/>
                <a:gd name="connsiteX186" fmla="*/ 141162 w 427957"/>
                <a:gd name="connsiteY186" fmla="*/ 229667 h 828869"/>
                <a:gd name="connsiteX187" fmla="*/ 142408 w 427957"/>
                <a:gd name="connsiteY187" fmla="*/ 226980 h 828869"/>
                <a:gd name="connsiteX188" fmla="*/ 144698 w 427957"/>
                <a:gd name="connsiteY188" fmla="*/ 225459 h 828869"/>
                <a:gd name="connsiteX189" fmla="*/ 155699 w 427957"/>
                <a:gd name="connsiteY189" fmla="*/ 224629 h 828869"/>
                <a:gd name="connsiteX190" fmla="*/ 162708 w 427957"/>
                <a:gd name="connsiteY190" fmla="*/ 223538 h 828869"/>
                <a:gd name="connsiteX191" fmla="*/ 171783 w 427957"/>
                <a:gd name="connsiteY191" fmla="*/ 220876 h 828869"/>
                <a:gd name="connsiteX192" fmla="*/ 173739 w 427957"/>
                <a:gd name="connsiteY192" fmla="*/ 221398 h 828869"/>
                <a:gd name="connsiteX193" fmla="*/ 181056 w 427957"/>
                <a:gd name="connsiteY193" fmla="*/ 230971 h 828869"/>
                <a:gd name="connsiteX194" fmla="*/ 183277 w 427957"/>
                <a:gd name="connsiteY194" fmla="*/ 231796 h 828869"/>
                <a:gd name="connsiteX195" fmla="*/ 186122 w 427957"/>
                <a:gd name="connsiteY195" fmla="*/ 232187 h 828869"/>
                <a:gd name="connsiteX196" fmla="*/ 188610 w 427957"/>
                <a:gd name="connsiteY196" fmla="*/ 230444 h 828869"/>
                <a:gd name="connsiteX197" fmla="*/ 182669 w 427957"/>
                <a:gd name="connsiteY197" fmla="*/ 225435 h 828869"/>
                <a:gd name="connsiteX198" fmla="*/ 181772 w 427957"/>
                <a:gd name="connsiteY198" fmla="*/ 222601 h 828869"/>
                <a:gd name="connsiteX199" fmla="*/ 182085 w 427957"/>
                <a:gd name="connsiteY199" fmla="*/ 219384 h 828869"/>
                <a:gd name="connsiteX200" fmla="*/ 185267 w 427957"/>
                <a:gd name="connsiteY200" fmla="*/ 212492 h 828869"/>
                <a:gd name="connsiteX201" fmla="*/ 190595 w 427957"/>
                <a:gd name="connsiteY201" fmla="*/ 207237 h 828869"/>
                <a:gd name="connsiteX202" fmla="*/ 202415 w 427957"/>
                <a:gd name="connsiteY202" fmla="*/ 199255 h 828869"/>
                <a:gd name="connsiteX203" fmla="*/ 214696 w 427957"/>
                <a:gd name="connsiteY203" fmla="*/ 190030 h 828869"/>
                <a:gd name="connsiteX204" fmla="*/ 218264 w 427957"/>
                <a:gd name="connsiteY204" fmla="*/ 189390 h 828869"/>
                <a:gd name="connsiteX205" fmla="*/ 221283 w 427957"/>
                <a:gd name="connsiteY205" fmla="*/ 190852 h 828869"/>
                <a:gd name="connsiteX206" fmla="*/ 223597 w 427957"/>
                <a:gd name="connsiteY206" fmla="*/ 201730 h 828869"/>
                <a:gd name="connsiteX207" fmla="*/ 223308 w 427957"/>
                <a:gd name="connsiteY207" fmla="*/ 203524 h 828869"/>
                <a:gd name="connsiteX208" fmla="*/ 225268 w 427957"/>
                <a:gd name="connsiteY208" fmla="*/ 203773 h 828869"/>
                <a:gd name="connsiteX209" fmla="*/ 227559 w 427957"/>
                <a:gd name="connsiteY209" fmla="*/ 202429 h 828869"/>
                <a:gd name="connsiteX210" fmla="*/ 229584 w 427957"/>
                <a:gd name="connsiteY210" fmla="*/ 198036 h 828869"/>
                <a:gd name="connsiteX211" fmla="*/ 229688 w 427957"/>
                <a:gd name="connsiteY211" fmla="*/ 194390 h 828869"/>
                <a:gd name="connsiteX212" fmla="*/ 228038 w 427957"/>
                <a:gd name="connsiteY212" fmla="*/ 190892 h 828869"/>
                <a:gd name="connsiteX213" fmla="*/ 227235 w 427957"/>
                <a:gd name="connsiteY213" fmla="*/ 187935 h 828869"/>
                <a:gd name="connsiteX214" fmla="*/ 227165 w 427957"/>
                <a:gd name="connsiteY214" fmla="*/ 185214 h 828869"/>
                <a:gd name="connsiteX215" fmla="*/ 233390 w 427957"/>
                <a:gd name="connsiteY215" fmla="*/ 178788 h 828869"/>
                <a:gd name="connsiteX216" fmla="*/ 238294 w 427957"/>
                <a:gd name="connsiteY216" fmla="*/ 172651 h 828869"/>
                <a:gd name="connsiteX217" fmla="*/ 240560 w 427957"/>
                <a:gd name="connsiteY217" fmla="*/ 165334 h 828869"/>
                <a:gd name="connsiteX218" fmla="*/ 242529 w 427957"/>
                <a:gd name="connsiteY218" fmla="*/ 161964 h 828869"/>
                <a:gd name="connsiteX219" fmla="*/ 247688 w 427957"/>
                <a:gd name="connsiteY219" fmla="*/ 158166 h 828869"/>
                <a:gd name="connsiteX220" fmla="*/ 249209 w 427957"/>
                <a:gd name="connsiteY220" fmla="*/ 158768 h 828869"/>
                <a:gd name="connsiteX221" fmla="*/ 250412 w 427957"/>
                <a:gd name="connsiteY221" fmla="*/ 161859 h 828869"/>
                <a:gd name="connsiteX222" fmla="*/ 251082 w 427957"/>
                <a:gd name="connsiteY222" fmla="*/ 165127 h 828869"/>
                <a:gd name="connsiteX223" fmla="*/ 249758 w 427957"/>
                <a:gd name="connsiteY223" fmla="*/ 168371 h 828869"/>
                <a:gd name="connsiteX224" fmla="*/ 247867 w 427957"/>
                <a:gd name="connsiteY224" fmla="*/ 171580 h 828869"/>
                <a:gd name="connsiteX225" fmla="*/ 247104 w 427957"/>
                <a:gd name="connsiteY225" fmla="*/ 175863 h 828869"/>
                <a:gd name="connsiteX226" fmla="*/ 250013 w 427957"/>
                <a:gd name="connsiteY226" fmla="*/ 176691 h 828869"/>
                <a:gd name="connsiteX227" fmla="*/ 252761 w 427957"/>
                <a:gd name="connsiteY227" fmla="*/ 175649 h 828869"/>
                <a:gd name="connsiteX228" fmla="*/ 256779 w 427957"/>
                <a:gd name="connsiteY228" fmla="*/ 167905 h 828869"/>
                <a:gd name="connsiteX229" fmla="*/ 261367 w 427957"/>
                <a:gd name="connsiteY229" fmla="*/ 160582 h 828869"/>
                <a:gd name="connsiteX230" fmla="*/ 264091 w 427957"/>
                <a:gd name="connsiteY230" fmla="*/ 156778 h 828869"/>
                <a:gd name="connsiteX231" fmla="*/ 267528 w 427957"/>
                <a:gd name="connsiteY231" fmla="*/ 154137 h 828869"/>
                <a:gd name="connsiteX232" fmla="*/ 273236 w 427957"/>
                <a:gd name="connsiteY232" fmla="*/ 154668 h 828869"/>
                <a:gd name="connsiteX233" fmla="*/ 278788 w 427957"/>
                <a:gd name="connsiteY233" fmla="*/ 156304 h 828869"/>
                <a:gd name="connsiteX234" fmla="*/ 269748 w 427957"/>
                <a:gd name="connsiteY234" fmla="*/ 148579 h 828869"/>
                <a:gd name="connsiteX235" fmla="*/ 267485 w 427957"/>
                <a:gd name="connsiteY235" fmla="*/ 138004 h 828869"/>
                <a:gd name="connsiteX236" fmla="*/ 278255 w 427957"/>
                <a:gd name="connsiteY236" fmla="*/ 119721 h 828869"/>
                <a:gd name="connsiteX237" fmla="*/ 278360 w 427957"/>
                <a:gd name="connsiteY237" fmla="*/ 115917 h 828869"/>
                <a:gd name="connsiteX238" fmla="*/ 279916 w 427957"/>
                <a:gd name="connsiteY238" fmla="*/ 114744 h 828869"/>
                <a:gd name="connsiteX239" fmla="*/ 280645 w 427957"/>
                <a:gd name="connsiteY239" fmla="*/ 113271 h 828869"/>
                <a:gd name="connsiteX240" fmla="*/ 275068 w 427957"/>
                <a:gd name="connsiteY240" fmla="*/ 107099 h 828869"/>
                <a:gd name="connsiteX241" fmla="*/ 274015 w 427957"/>
                <a:gd name="connsiteY241" fmla="*/ 104040 h 828869"/>
                <a:gd name="connsiteX242" fmla="*/ 274752 w 427957"/>
                <a:gd name="connsiteY242" fmla="*/ 99404 h 828869"/>
                <a:gd name="connsiteX243" fmla="*/ 277417 w 427957"/>
                <a:gd name="connsiteY243" fmla="*/ 95284 h 828869"/>
                <a:gd name="connsiteX244" fmla="*/ 279836 w 427957"/>
                <a:gd name="connsiteY244" fmla="*/ 92405 h 828869"/>
                <a:gd name="connsiteX245" fmla="*/ 283270 w 427957"/>
                <a:gd name="connsiteY245" fmla="*/ 91296 h 828869"/>
                <a:gd name="connsiteX246" fmla="*/ 285999 w 427957"/>
                <a:gd name="connsiteY246" fmla="*/ 92882 h 828869"/>
                <a:gd name="connsiteX247" fmla="*/ 291994 w 427957"/>
                <a:gd name="connsiteY247" fmla="*/ 97947 h 828869"/>
                <a:gd name="connsiteX248" fmla="*/ 296030 w 427957"/>
                <a:gd name="connsiteY248" fmla="*/ 98718 h 828869"/>
                <a:gd name="connsiteX249" fmla="*/ 300913 w 427957"/>
                <a:gd name="connsiteY249" fmla="*/ 93854 h 828869"/>
                <a:gd name="connsiteX250" fmla="*/ 304902 w 427957"/>
                <a:gd name="connsiteY250" fmla="*/ 87782 h 828869"/>
                <a:gd name="connsiteX251" fmla="*/ 310907 w 427957"/>
                <a:gd name="connsiteY251" fmla="*/ 83606 h 828869"/>
                <a:gd name="connsiteX252" fmla="*/ 317713 w 427957"/>
                <a:gd name="connsiteY252" fmla="*/ 81026 h 828869"/>
                <a:gd name="connsiteX253" fmla="*/ 328084 w 427957"/>
                <a:gd name="connsiteY253" fmla="*/ 71475 h 828869"/>
                <a:gd name="connsiteX254" fmla="*/ 334829 w 427957"/>
                <a:gd name="connsiteY254" fmla="*/ 51498 h 828869"/>
                <a:gd name="connsiteX255" fmla="*/ 335367 w 427957"/>
                <a:gd name="connsiteY255" fmla="*/ 45672 h 828869"/>
                <a:gd name="connsiteX256" fmla="*/ 333875 w 427957"/>
                <a:gd name="connsiteY256" fmla="*/ 38606 h 828869"/>
                <a:gd name="connsiteX257" fmla="*/ 331481 w 427957"/>
                <a:gd name="connsiteY257" fmla="*/ 31896 h 828869"/>
                <a:gd name="connsiteX258" fmla="*/ 327484 w 427957"/>
                <a:gd name="connsiteY258" fmla="*/ 23521 h 828869"/>
                <a:gd name="connsiteX259" fmla="*/ 328524 w 427957"/>
                <a:gd name="connsiteY259" fmla="*/ 21664 h 828869"/>
                <a:gd name="connsiteX260" fmla="*/ 334194 w 427957"/>
                <a:gd name="connsiteY260" fmla="*/ 22776 h 828869"/>
                <a:gd name="connsiteX261" fmla="*/ 336096 w 427957"/>
                <a:gd name="connsiteY261" fmla="*/ 21608 h 828869"/>
                <a:gd name="connsiteX262" fmla="*/ 342257 w 427957"/>
                <a:gd name="connsiteY262" fmla="*/ 14197 h 828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</a:cxnLst>
              <a:rect l="l" t="t" r="r" b="b"/>
              <a:pathLst>
                <a:path w="427957" h="828869">
                  <a:moveTo>
                    <a:pt x="400733" y="279043"/>
                  </a:moveTo>
                  <a:lnTo>
                    <a:pt x="395603" y="291689"/>
                  </a:lnTo>
                  <a:lnTo>
                    <a:pt x="388944" y="302875"/>
                  </a:lnTo>
                  <a:lnTo>
                    <a:pt x="390819" y="293532"/>
                  </a:lnTo>
                  <a:lnTo>
                    <a:pt x="398536" y="280085"/>
                  </a:lnTo>
                  <a:close/>
                  <a:moveTo>
                    <a:pt x="299205" y="67301"/>
                  </a:moveTo>
                  <a:lnTo>
                    <a:pt x="301705" y="74011"/>
                  </a:lnTo>
                  <a:lnTo>
                    <a:pt x="301180" y="77284"/>
                  </a:lnTo>
                  <a:lnTo>
                    <a:pt x="301260" y="79484"/>
                  </a:lnTo>
                  <a:lnTo>
                    <a:pt x="293462" y="78573"/>
                  </a:lnTo>
                  <a:lnTo>
                    <a:pt x="292238" y="71022"/>
                  </a:lnTo>
                  <a:lnTo>
                    <a:pt x="296055" y="70786"/>
                  </a:lnTo>
                  <a:lnTo>
                    <a:pt x="296886" y="67684"/>
                  </a:lnTo>
                  <a:close/>
                  <a:moveTo>
                    <a:pt x="352400" y="0"/>
                  </a:moveTo>
                  <a:lnTo>
                    <a:pt x="355743" y="35"/>
                  </a:lnTo>
                  <a:lnTo>
                    <a:pt x="358625" y="2665"/>
                  </a:lnTo>
                  <a:lnTo>
                    <a:pt x="359694" y="6555"/>
                  </a:lnTo>
                  <a:lnTo>
                    <a:pt x="361695" y="9418"/>
                  </a:lnTo>
                  <a:lnTo>
                    <a:pt x="368554" y="16157"/>
                  </a:lnTo>
                  <a:lnTo>
                    <a:pt x="372021" y="21190"/>
                  </a:lnTo>
                  <a:lnTo>
                    <a:pt x="374739" y="27479"/>
                  </a:lnTo>
                  <a:lnTo>
                    <a:pt x="377913" y="33520"/>
                  </a:lnTo>
                  <a:lnTo>
                    <a:pt x="387816" y="48118"/>
                  </a:lnTo>
                  <a:lnTo>
                    <a:pt x="392051" y="53737"/>
                  </a:lnTo>
                  <a:lnTo>
                    <a:pt x="395664" y="59713"/>
                  </a:lnTo>
                  <a:lnTo>
                    <a:pt x="397424" y="71638"/>
                  </a:lnTo>
                  <a:lnTo>
                    <a:pt x="403716" y="90190"/>
                  </a:lnTo>
                  <a:lnTo>
                    <a:pt x="409662" y="118087"/>
                  </a:lnTo>
                  <a:lnTo>
                    <a:pt x="411484" y="146742"/>
                  </a:lnTo>
                  <a:lnTo>
                    <a:pt x="413308" y="159904"/>
                  </a:lnTo>
                  <a:lnTo>
                    <a:pt x="417933" y="172295"/>
                  </a:lnTo>
                  <a:lnTo>
                    <a:pt x="425506" y="185166"/>
                  </a:lnTo>
                  <a:lnTo>
                    <a:pt x="427957" y="199488"/>
                  </a:lnTo>
                  <a:lnTo>
                    <a:pt x="423331" y="214252"/>
                  </a:lnTo>
                  <a:lnTo>
                    <a:pt x="416632" y="228172"/>
                  </a:lnTo>
                  <a:lnTo>
                    <a:pt x="414904" y="230787"/>
                  </a:lnTo>
                  <a:lnTo>
                    <a:pt x="411746" y="234362"/>
                  </a:lnTo>
                  <a:lnTo>
                    <a:pt x="410321" y="234204"/>
                  </a:lnTo>
                  <a:lnTo>
                    <a:pt x="404961" y="230610"/>
                  </a:lnTo>
                  <a:lnTo>
                    <a:pt x="400576" y="224728"/>
                  </a:lnTo>
                  <a:lnTo>
                    <a:pt x="395019" y="210880"/>
                  </a:lnTo>
                  <a:lnTo>
                    <a:pt x="393004" y="203856"/>
                  </a:lnTo>
                  <a:lnTo>
                    <a:pt x="390679" y="202747"/>
                  </a:lnTo>
                  <a:lnTo>
                    <a:pt x="384189" y="203358"/>
                  </a:lnTo>
                  <a:lnTo>
                    <a:pt x="379488" y="207730"/>
                  </a:lnTo>
                  <a:lnTo>
                    <a:pt x="378631" y="210483"/>
                  </a:lnTo>
                  <a:lnTo>
                    <a:pt x="379644" y="218291"/>
                  </a:lnTo>
                  <a:lnTo>
                    <a:pt x="381425" y="225317"/>
                  </a:lnTo>
                  <a:lnTo>
                    <a:pt x="382218" y="232447"/>
                  </a:lnTo>
                  <a:lnTo>
                    <a:pt x="382357" y="241428"/>
                  </a:lnTo>
                  <a:lnTo>
                    <a:pt x="384103" y="244144"/>
                  </a:lnTo>
                  <a:lnTo>
                    <a:pt x="386688" y="246429"/>
                  </a:lnTo>
                  <a:lnTo>
                    <a:pt x="389361" y="252311"/>
                  </a:lnTo>
                  <a:lnTo>
                    <a:pt x="389836" y="266339"/>
                  </a:lnTo>
                  <a:lnTo>
                    <a:pt x="388194" y="273429"/>
                  </a:lnTo>
                  <a:lnTo>
                    <a:pt x="383611" y="279515"/>
                  </a:lnTo>
                  <a:lnTo>
                    <a:pt x="383884" y="282884"/>
                  </a:lnTo>
                  <a:lnTo>
                    <a:pt x="385577" y="286340"/>
                  </a:lnTo>
                  <a:lnTo>
                    <a:pt x="383953" y="288429"/>
                  </a:lnTo>
                  <a:lnTo>
                    <a:pt x="377862" y="291075"/>
                  </a:lnTo>
                  <a:lnTo>
                    <a:pt x="375393" y="293406"/>
                  </a:lnTo>
                  <a:lnTo>
                    <a:pt x="372096" y="299606"/>
                  </a:lnTo>
                  <a:lnTo>
                    <a:pt x="366752" y="312271"/>
                  </a:lnTo>
                  <a:lnTo>
                    <a:pt x="366029" y="318739"/>
                  </a:lnTo>
                  <a:lnTo>
                    <a:pt x="369377" y="338448"/>
                  </a:lnTo>
                  <a:lnTo>
                    <a:pt x="368439" y="352441"/>
                  </a:lnTo>
                  <a:lnTo>
                    <a:pt x="361633" y="379224"/>
                  </a:lnTo>
                  <a:lnTo>
                    <a:pt x="357722" y="391944"/>
                  </a:lnTo>
                  <a:lnTo>
                    <a:pt x="352181" y="407161"/>
                  </a:lnTo>
                  <a:lnTo>
                    <a:pt x="343698" y="427250"/>
                  </a:lnTo>
                  <a:lnTo>
                    <a:pt x="335287" y="452495"/>
                  </a:lnTo>
                  <a:lnTo>
                    <a:pt x="328143" y="478517"/>
                  </a:lnTo>
                  <a:lnTo>
                    <a:pt x="322861" y="494179"/>
                  </a:lnTo>
                  <a:lnTo>
                    <a:pt x="316864" y="509615"/>
                  </a:lnTo>
                  <a:lnTo>
                    <a:pt x="308662" y="536955"/>
                  </a:lnTo>
                  <a:lnTo>
                    <a:pt x="301687" y="564750"/>
                  </a:lnTo>
                  <a:lnTo>
                    <a:pt x="291327" y="595393"/>
                  </a:lnTo>
                  <a:lnTo>
                    <a:pt x="277029" y="629641"/>
                  </a:lnTo>
                  <a:lnTo>
                    <a:pt x="275486" y="634117"/>
                  </a:lnTo>
                  <a:lnTo>
                    <a:pt x="272518" y="651653"/>
                  </a:lnTo>
                  <a:lnTo>
                    <a:pt x="269309" y="666889"/>
                  </a:lnTo>
                  <a:lnTo>
                    <a:pt x="265479" y="681996"/>
                  </a:lnTo>
                  <a:lnTo>
                    <a:pt x="257462" y="706995"/>
                  </a:lnTo>
                  <a:lnTo>
                    <a:pt x="256549" y="714714"/>
                  </a:lnTo>
                  <a:lnTo>
                    <a:pt x="254732" y="722123"/>
                  </a:lnTo>
                  <a:lnTo>
                    <a:pt x="247010" y="737841"/>
                  </a:lnTo>
                  <a:lnTo>
                    <a:pt x="243748" y="743693"/>
                  </a:lnTo>
                  <a:lnTo>
                    <a:pt x="241442" y="749918"/>
                  </a:lnTo>
                  <a:lnTo>
                    <a:pt x="240145" y="757809"/>
                  </a:lnTo>
                  <a:lnTo>
                    <a:pt x="237842" y="765430"/>
                  </a:lnTo>
                  <a:lnTo>
                    <a:pt x="232187" y="779452"/>
                  </a:lnTo>
                  <a:lnTo>
                    <a:pt x="223752" y="791535"/>
                  </a:lnTo>
                  <a:lnTo>
                    <a:pt x="218020" y="795930"/>
                  </a:lnTo>
                  <a:lnTo>
                    <a:pt x="205603" y="802311"/>
                  </a:lnTo>
                  <a:lnTo>
                    <a:pt x="199311" y="803604"/>
                  </a:lnTo>
                  <a:lnTo>
                    <a:pt x="185358" y="803752"/>
                  </a:lnTo>
                  <a:lnTo>
                    <a:pt x="171853" y="807387"/>
                  </a:lnTo>
                  <a:lnTo>
                    <a:pt x="157769" y="814388"/>
                  </a:lnTo>
                  <a:lnTo>
                    <a:pt x="144224" y="822419"/>
                  </a:lnTo>
                  <a:lnTo>
                    <a:pt x="139035" y="826227"/>
                  </a:lnTo>
                  <a:lnTo>
                    <a:pt x="133314" y="828405"/>
                  </a:lnTo>
                  <a:lnTo>
                    <a:pt x="115413" y="828869"/>
                  </a:lnTo>
                  <a:lnTo>
                    <a:pt x="110051" y="827136"/>
                  </a:lnTo>
                  <a:lnTo>
                    <a:pt x="92145" y="813938"/>
                  </a:lnTo>
                  <a:lnTo>
                    <a:pt x="85210" y="811763"/>
                  </a:lnTo>
                  <a:lnTo>
                    <a:pt x="72061" y="809955"/>
                  </a:lnTo>
                  <a:lnTo>
                    <a:pt x="68089" y="808836"/>
                  </a:lnTo>
                  <a:lnTo>
                    <a:pt x="64484" y="807116"/>
                  </a:lnTo>
                  <a:lnTo>
                    <a:pt x="59169" y="800227"/>
                  </a:lnTo>
                  <a:lnTo>
                    <a:pt x="48624" y="794409"/>
                  </a:lnTo>
                  <a:lnTo>
                    <a:pt x="46090" y="792588"/>
                  </a:lnTo>
                  <a:lnTo>
                    <a:pt x="44488" y="788575"/>
                  </a:lnTo>
                  <a:lnTo>
                    <a:pt x="43395" y="784255"/>
                  </a:lnTo>
                  <a:lnTo>
                    <a:pt x="40666" y="779423"/>
                  </a:lnTo>
                  <a:lnTo>
                    <a:pt x="38641" y="770227"/>
                  </a:lnTo>
                  <a:lnTo>
                    <a:pt x="35207" y="763796"/>
                  </a:lnTo>
                  <a:lnTo>
                    <a:pt x="25489" y="752452"/>
                  </a:lnTo>
                  <a:lnTo>
                    <a:pt x="24453" y="748834"/>
                  </a:lnTo>
                  <a:lnTo>
                    <a:pt x="23673" y="736810"/>
                  </a:lnTo>
                  <a:lnTo>
                    <a:pt x="23984" y="728680"/>
                  </a:lnTo>
                  <a:lnTo>
                    <a:pt x="23036" y="713809"/>
                  </a:lnTo>
                  <a:lnTo>
                    <a:pt x="24142" y="706818"/>
                  </a:lnTo>
                  <a:lnTo>
                    <a:pt x="27549" y="700523"/>
                  </a:lnTo>
                  <a:lnTo>
                    <a:pt x="26154" y="693717"/>
                  </a:lnTo>
                  <a:lnTo>
                    <a:pt x="22532" y="686565"/>
                  </a:lnTo>
                  <a:lnTo>
                    <a:pt x="21174" y="679170"/>
                  </a:lnTo>
                  <a:lnTo>
                    <a:pt x="18501" y="672441"/>
                  </a:lnTo>
                  <a:lnTo>
                    <a:pt x="8333" y="660326"/>
                  </a:lnTo>
                  <a:lnTo>
                    <a:pt x="5944" y="654369"/>
                  </a:lnTo>
                  <a:lnTo>
                    <a:pt x="4291" y="648201"/>
                  </a:lnTo>
                  <a:lnTo>
                    <a:pt x="456" y="628998"/>
                  </a:lnTo>
                  <a:lnTo>
                    <a:pt x="0" y="622326"/>
                  </a:lnTo>
                  <a:lnTo>
                    <a:pt x="560" y="608207"/>
                  </a:lnTo>
                  <a:lnTo>
                    <a:pt x="1977" y="600948"/>
                  </a:lnTo>
                  <a:lnTo>
                    <a:pt x="4447" y="595897"/>
                  </a:lnTo>
                  <a:lnTo>
                    <a:pt x="5065" y="592125"/>
                  </a:lnTo>
                  <a:lnTo>
                    <a:pt x="6667" y="588889"/>
                  </a:lnTo>
                  <a:lnTo>
                    <a:pt x="9086" y="586294"/>
                  </a:lnTo>
                  <a:lnTo>
                    <a:pt x="10698" y="583206"/>
                  </a:lnTo>
                  <a:lnTo>
                    <a:pt x="14494" y="565208"/>
                  </a:lnTo>
                  <a:lnTo>
                    <a:pt x="19307" y="561215"/>
                  </a:lnTo>
                  <a:lnTo>
                    <a:pt x="26443" y="558925"/>
                  </a:lnTo>
                  <a:lnTo>
                    <a:pt x="32164" y="554232"/>
                  </a:lnTo>
                  <a:lnTo>
                    <a:pt x="35448" y="547897"/>
                  </a:lnTo>
                  <a:lnTo>
                    <a:pt x="38735" y="534842"/>
                  </a:lnTo>
                  <a:lnTo>
                    <a:pt x="47735" y="521888"/>
                  </a:lnTo>
                  <a:lnTo>
                    <a:pt x="50938" y="515085"/>
                  </a:lnTo>
                  <a:lnTo>
                    <a:pt x="58192" y="504813"/>
                  </a:lnTo>
                  <a:lnTo>
                    <a:pt x="64617" y="490367"/>
                  </a:lnTo>
                  <a:lnTo>
                    <a:pt x="66567" y="483566"/>
                  </a:lnTo>
                  <a:lnTo>
                    <a:pt x="67966" y="476599"/>
                  </a:lnTo>
                  <a:lnTo>
                    <a:pt x="69597" y="461340"/>
                  </a:lnTo>
                  <a:lnTo>
                    <a:pt x="70824" y="453751"/>
                  </a:lnTo>
                  <a:lnTo>
                    <a:pt x="70580" y="446238"/>
                  </a:lnTo>
                  <a:lnTo>
                    <a:pt x="66892" y="438521"/>
                  </a:lnTo>
                  <a:lnTo>
                    <a:pt x="58141" y="424520"/>
                  </a:lnTo>
                  <a:lnTo>
                    <a:pt x="57857" y="421906"/>
                  </a:lnTo>
                  <a:lnTo>
                    <a:pt x="58551" y="411511"/>
                  </a:lnTo>
                  <a:lnTo>
                    <a:pt x="57803" y="403995"/>
                  </a:lnTo>
                  <a:lnTo>
                    <a:pt x="54584" y="396511"/>
                  </a:lnTo>
                  <a:lnTo>
                    <a:pt x="50440" y="389461"/>
                  </a:lnTo>
                  <a:lnTo>
                    <a:pt x="46369" y="376293"/>
                  </a:lnTo>
                  <a:lnTo>
                    <a:pt x="44392" y="354549"/>
                  </a:lnTo>
                  <a:lnTo>
                    <a:pt x="44807" y="346693"/>
                  </a:lnTo>
                  <a:lnTo>
                    <a:pt x="43615" y="339718"/>
                  </a:lnTo>
                  <a:lnTo>
                    <a:pt x="40655" y="333070"/>
                  </a:lnTo>
                  <a:lnTo>
                    <a:pt x="42777" y="321482"/>
                  </a:lnTo>
                  <a:lnTo>
                    <a:pt x="68957" y="279491"/>
                  </a:lnTo>
                  <a:lnTo>
                    <a:pt x="69806" y="274551"/>
                  </a:lnTo>
                  <a:lnTo>
                    <a:pt x="68753" y="261767"/>
                  </a:lnTo>
                  <a:lnTo>
                    <a:pt x="69291" y="254331"/>
                  </a:lnTo>
                  <a:lnTo>
                    <a:pt x="70205" y="251577"/>
                  </a:lnTo>
                  <a:lnTo>
                    <a:pt x="72200" y="249968"/>
                  </a:lnTo>
                  <a:lnTo>
                    <a:pt x="76682" y="249191"/>
                  </a:lnTo>
                  <a:lnTo>
                    <a:pt x="97847" y="247367"/>
                  </a:lnTo>
                  <a:lnTo>
                    <a:pt x="100566" y="246081"/>
                  </a:lnTo>
                  <a:lnTo>
                    <a:pt x="105846" y="242543"/>
                  </a:lnTo>
                  <a:lnTo>
                    <a:pt x="113104" y="235723"/>
                  </a:lnTo>
                  <a:lnTo>
                    <a:pt x="116423" y="233760"/>
                  </a:lnTo>
                  <a:lnTo>
                    <a:pt x="119295" y="234475"/>
                  </a:lnTo>
                  <a:lnTo>
                    <a:pt x="121135" y="237400"/>
                  </a:lnTo>
                  <a:lnTo>
                    <a:pt x="123492" y="238996"/>
                  </a:lnTo>
                  <a:lnTo>
                    <a:pt x="132031" y="235905"/>
                  </a:lnTo>
                  <a:lnTo>
                    <a:pt x="135315" y="235811"/>
                  </a:lnTo>
                  <a:lnTo>
                    <a:pt x="138660" y="236315"/>
                  </a:lnTo>
                  <a:lnTo>
                    <a:pt x="140227" y="233473"/>
                  </a:lnTo>
                  <a:lnTo>
                    <a:pt x="141162" y="229667"/>
                  </a:lnTo>
                  <a:lnTo>
                    <a:pt x="142408" y="226980"/>
                  </a:lnTo>
                  <a:lnTo>
                    <a:pt x="144698" y="225459"/>
                  </a:lnTo>
                  <a:lnTo>
                    <a:pt x="155699" y="224629"/>
                  </a:lnTo>
                  <a:lnTo>
                    <a:pt x="162708" y="223538"/>
                  </a:lnTo>
                  <a:lnTo>
                    <a:pt x="171783" y="220876"/>
                  </a:lnTo>
                  <a:lnTo>
                    <a:pt x="173739" y="221398"/>
                  </a:lnTo>
                  <a:lnTo>
                    <a:pt x="181056" y="230971"/>
                  </a:lnTo>
                  <a:lnTo>
                    <a:pt x="183277" y="231796"/>
                  </a:lnTo>
                  <a:lnTo>
                    <a:pt x="186122" y="232187"/>
                  </a:lnTo>
                  <a:lnTo>
                    <a:pt x="188610" y="230444"/>
                  </a:lnTo>
                  <a:lnTo>
                    <a:pt x="182669" y="225435"/>
                  </a:lnTo>
                  <a:lnTo>
                    <a:pt x="181772" y="222601"/>
                  </a:lnTo>
                  <a:lnTo>
                    <a:pt x="182085" y="219384"/>
                  </a:lnTo>
                  <a:lnTo>
                    <a:pt x="185267" y="212492"/>
                  </a:lnTo>
                  <a:lnTo>
                    <a:pt x="190595" y="207237"/>
                  </a:lnTo>
                  <a:lnTo>
                    <a:pt x="202415" y="199255"/>
                  </a:lnTo>
                  <a:lnTo>
                    <a:pt x="214696" y="190030"/>
                  </a:lnTo>
                  <a:lnTo>
                    <a:pt x="218264" y="189390"/>
                  </a:lnTo>
                  <a:lnTo>
                    <a:pt x="221283" y="190852"/>
                  </a:lnTo>
                  <a:lnTo>
                    <a:pt x="223597" y="201730"/>
                  </a:lnTo>
                  <a:lnTo>
                    <a:pt x="223308" y="203524"/>
                  </a:lnTo>
                  <a:lnTo>
                    <a:pt x="225268" y="203773"/>
                  </a:lnTo>
                  <a:lnTo>
                    <a:pt x="227559" y="202429"/>
                  </a:lnTo>
                  <a:lnTo>
                    <a:pt x="229584" y="198036"/>
                  </a:lnTo>
                  <a:lnTo>
                    <a:pt x="229688" y="194390"/>
                  </a:lnTo>
                  <a:lnTo>
                    <a:pt x="228038" y="190892"/>
                  </a:lnTo>
                  <a:lnTo>
                    <a:pt x="227235" y="187935"/>
                  </a:lnTo>
                  <a:lnTo>
                    <a:pt x="227165" y="185214"/>
                  </a:lnTo>
                  <a:lnTo>
                    <a:pt x="233390" y="178788"/>
                  </a:lnTo>
                  <a:lnTo>
                    <a:pt x="238294" y="172651"/>
                  </a:lnTo>
                  <a:lnTo>
                    <a:pt x="240560" y="165334"/>
                  </a:lnTo>
                  <a:lnTo>
                    <a:pt x="242529" y="161964"/>
                  </a:lnTo>
                  <a:lnTo>
                    <a:pt x="247688" y="158166"/>
                  </a:lnTo>
                  <a:lnTo>
                    <a:pt x="249209" y="158768"/>
                  </a:lnTo>
                  <a:lnTo>
                    <a:pt x="250412" y="161859"/>
                  </a:lnTo>
                  <a:lnTo>
                    <a:pt x="251082" y="165127"/>
                  </a:lnTo>
                  <a:lnTo>
                    <a:pt x="249758" y="168371"/>
                  </a:lnTo>
                  <a:lnTo>
                    <a:pt x="247867" y="171580"/>
                  </a:lnTo>
                  <a:lnTo>
                    <a:pt x="247104" y="175863"/>
                  </a:lnTo>
                  <a:lnTo>
                    <a:pt x="250013" y="176691"/>
                  </a:lnTo>
                  <a:lnTo>
                    <a:pt x="252761" y="175649"/>
                  </a:lnTo>
                  <a:lnTo>
                    <a:pt x="256779" y="167905"/>
                  </a:lnTo>
                  <a:lnTo>
                    <a:pt x="261367" y="160582"/>
                  </a:lnTo>
                  <a:lnTo>
                    <a:pt x="264091" y="156778"/>
                  </a:lnTo>
                  <a:lnTo>
                    <a:pt x="267528" y="154137"/>
                  </a:lnTo>
                  <a:lnTo>
                    <a:pt x="273236" y="154668"/>
                  </a:lnTo>
                  <a:lnTo>
                    <a:pt x="278788" y="156304"/>
                  </a:lnTo>
                  <a:lnTo>
                    <a:pt x="269748" y="148579"/>
                  </a:lnTo>
                  <a:lnTo>
                    <a:pt x="267485" y="138004"/>
                  </a:lnTo>
                  <a:lnTo>
                    <a:pt x="278255" y="119721"/>
                  </a:lnTo>
                  <a:lnTo>
                    <a:pt x="278360" y="115917"/>
                  </a:lnTo>
                  <a:lnTo>
                    <a:pt x="279916" y="114744"/>
                  </a:lnTo>
                  <a:lnTo>
                    <a:pt x="280645" y="113271"/>
                  </a:lnTo>
                  <a:lnTo>
                    <a:pt x="275068" y="107099"/>
                  </a:lnTo>
                  <a:lnTo>
                    <a:pt x="274015" y="104040"/>
                  </a:lnTo>
                  <a:lnTo>
                    <a:pt x="274752" y="99404"/>
                  </a:lnTo>
                  <a:lnTo>
                    <a:pt x="277417" y="95284"/>
                  </a:lnTo>
                  <a:lnTo>
                    <a:pt x="279836" y="92405"/>
                  </a:lnTo>
                  <a:lnTo>
                    <a:pt x="283270" y="91296"/>
                  </a:lnTo>
                  <a:lnTo>
                    <a:pt x="285999" y="92882"/>
                  </a:lnTo>
                  <a:lnTo>
                    <a:pt x="291994" y="97947"/>
                  </a:lnTo>
                  <a:lnTo>
                    <a:pt x="296030" y="98718"/>
                  </a:lnTo>
                  <a:lnTo>
                    <a:pt x="300913" y="93854"/>
                  </a:lnTo>
                  <a:lnTo>
                    <a:pt x="304902" y="87782"/>
                  </a:lnTo>
                  <a:lnTo>
                    <a:pt x="310907" y="83606"/>
                  </a:lnTo>
                  <a:lnTo>
                    <a:pt x="317713" y="81026"/>
                  </a:lnTo>
                  <a:lnTo>
                    <a:pt x="328084" y="71475"/>
                  </a:lnTo>
                  <a:lnTo>
                    <a:pt x="334829" y="51498"/>
                  </a:lnTo>
                  <a:lnTo>
                    <a:pt x="335367" y="45672"/>
                  </a:lnTo>
                  <a:lnTo>
                    <a:pt x="333875" y="38606"/>
                  </a:lnTo>
                  <a:lnTo>
                    <a:pt x="331481" y="31896"/>
                  </a:lnTo>
                  <a:lnTo>
                    <a:pt x="327484" y="23521"/>
                  </a:lnTo>
                  <a:lnTo>
                    <a:pt x="328524" y="21664"/>
                  </a:lnTo>
                  <a:lnTo>
                    <a:pt x="334194" y="22776"/>
                  </a:lnTo>
                  <a:lnTo>
                    <a:pt x="336096" y="21608"/>
                  </a:lnTo>
                  <a:lnTo>
                    <a:pt x="342257" y="14197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91" name="ee4p_ML_1_37365">
              <a:extLst>
                <a:ext uri="{FF2B5EF4-FFF2-40B4-BE49-F238E27FC236}">
                  <a16:creationId xmlns:a16="http://schemas.microsoft.com/office/drawing/2014/main" id="{17E0D3B0-BDC2-EFA6-A5C7-582694BD1460}"/>
                </a:ext>
              </a:extLst>
            </p:cNvPr>
            <p:cNvSpPr>
              <a:spLocks noChangeAspect="1"/>
            </p:cNvSpPr>
            <p:nvPr>
              <p:custDataLst>
                <p:tags r:id="rId345"/>
              </p:custDataLst>
            </p:nvPr>
          </p:nvSpPr>
          <p:spPr>
            <a:xfrm>
              <a:off x="6173676" y="3949746"/>
              <a:ext cx="458619" cy="437631"/>
            </a:xfrm>
            <a:custGeom>
              <a:avLst/>
              <a:gdLst/>
              <a:ahLst/>
              <a:cxnLst/>
              <a:rect l="0" t="0" r="0" b="0"/>
              <a:pathLst>
                <a:path w="365188" h="339239">
                  <a:moveTo>
                    <a:pt x="365032" y="135861"/>
                  </a:moveTo>
                  <a:lnTo>
                    <a:pt x="365045" y="139865"/>
                  </a:lnTo>
                  <a:lnTo>
                    <a:pt x="365062" y="145904"/>
                  </a:lnTo>
                  <a:lnTo>
                    <a:pt x="365084" y="152624"/>
                  </a:lnTo>
                  <a:lnTo>
                    <a:pt x="365103" y="158820"/>
                  </a:lnTo>
                  <a:lnTo>
                    <a:pt x="365127" y="165873"/>
                  </a:lnTo>
                  <a:lnTo>
                    <a:pt x="365144" y="171536"/>
                  </a:lnTo>
                  <a:lnTo>
                    <a:pt x="365166" y="178229"/>
                  </a:lnTo>
                  <a:lnTo>
                    <a:pt x="365187" y="184876"/>
                  </a:lnTo>
                  <a:lnTo>
                    <a:pt x="364486" y="185642"/>
                  </a:lnTo>
                  <a:lnTo>
                    <a:pt x="364227" y="189384"/>
                  </a:lnTo>
                  <a:lnTo>
                    <a:pt x="364026" y="194302"/>
                  </a:lnTo>
                  <a:lnTo>
                    <a:pt x="362680" y="199390"/>
                  </a:lnTo>
                  <a:lnTo>
                    <a:pt x="360327" y="203135"/>
                  </a:lnTo>
                  <a:lnTo>
                    <a:pt x="359472" y="206700"/>
                  </a:lnTo>
                  <a:lnTo>
                    <a:pt x="358828" y="208739"/>
                  </a:lnTo>
                  <a:lnTo>
                    <a:pt x="357947" y="209846"/>
                  </a:lnTo>
                  <a:lnTo>
                    <a:pt x="357742" y="211179"/>
                  </a:lnTo>
                  <a:lnTo>
                    <a:pt x="357278" y="213053"/>
                  </a:lnTo>
                  <a:lnTo>
                    <a:pt x="356526" y="214267"/>
                  </a:lnTo>
                  <a:lnTo>
                    <a:pt x="355941" y="214894"/>
                  </a:lnTo>
                  <a:lnTo>
                    <a:pt x="353577" y="215627"/>
                  </a:lnTo>
                  <a:lnTo>
                    <a:pt x="349396" y="219218"/>
                  </a:lnTo>
                  <a:lnTo>
                    <a:pt x="349037" y="222087"/>
                  </a:lnTo>
                  <a:lnTo>
                    <a:pt x="344278" y="221300"/>
                  </a:lnTo>
                  <a:lnTo>
                    <a:pt x="339217" y="220483"/>
                  </a:lnTo>
                  <a:lnTo>
                    <a:pt x="338536" y="220536"/>
                  </a:lnTo>
                  <a:lnTo>
                    <a:pt x="338119" y="220911"/>
                  </a:lnTo>
                  <a:lnTo>
                    <a:pt x="337910" y="222435"/>
                  </a:lnTo>
                  <a:lnTo>
                    <a:pt x="331024" y="222686"/>
                  </a:lnTo>
                  <a:lnTo>
                    <a:pt x="325079" y="222900"/>
                  </a:lnTo>
                  <a:lnTo>
                    <a:pt x="317724" y="223150"/>
                  </a:lnTo>
                  <a:lnTo>
                    <a:pt x="312665" y="223323"/>
                  </a:lnTo>
                  <a:lnTo>
                    <a:pt x="306247" y="223668"/>
                  </a:lnTo>
                  <a:lnTo>
                    <a:pt x="300300" y="223989"/>
                  </a:lnTo>
                  <a:lnTo>
                    <a:pt x="296344" y="227295"/>
                  </a:lnTo>
                  <a:lnTo>
                    <a:pt x="292779" y="230443"/>
                  </a:lnTo>
                  <a:lnTo>
                    <a:pt x="292500" y="230551"/>
                  </a:lnTo>
                  <a:lnTo>
                    <a:pt x="287441" y="231167"/>
                  </a:lnTo>
                  <a:lnTo>
                    <a:pt x="281125" y="230621"/>
                  </a:lnTo>
                  <a:lnTo>
                    <a:pt x="277879" y="230595"/>
                  </a:lnTo>
                  <a:lnTo>
                    <a:pt x="276607" y="230968"/>
                  </a:lnTo>
                  <a:lnTo>
                    <a:pt x="276359" y="232148"/>
                  </a:lnTo>
                  <a:lnTo>
                    <a:pt x="271712" y="230490"/>
                  </a:lnTo>
                  <a:lnTo>
                    <a:pt x="266334" y="228803"/>
                  </a:lnTo>
                  <a:lnTo>
                    <a:pt x="262585" y="229864"/>
                  </a:lnTo>
                  <a:lnTo>
                    <a:pt x="261991" y="229502"/>
                  </a:lnTo>
                  <a:lnTo>
                    <a:pt x="261500" y="228798"/>
                  </a:lnTo>
                  <a:lnTo>
                    <a:pt x="259686" y="228386"/>
                  </a:lnTo>
                  <a:lnTo>
                    <a:pt x="256813" y="228569"/>
                  </a:lnTo>
                  <a:lnTo>
                    <a:pt x="254735" y="229067"/>
                  </a:lnTo>
                  <a:lnTo>
                    <a:pt x="251473" y="231562"/>
                  </a:lnTo>
                  <a:lnTo>
                    <a:pt x="249014" y="233732"/>
                  </a:lnTo>
                  <a:lnTo>
                    <a:pt x="248342" y="234225"/>
                  </a:lnTo>
                  <a:lnTo>
                    <a:pt x="244905" y="235536"/>
                  </a:lnTo>
                  <a:lnTo>
                    <a:pt x="238522" y="238595"/>
                  </a:lnTo>
                  <a:lnTo>
                    <a:pt x="234903" y="240836"/>
                  </a:lnTo>
                  <a:lnTo>
                    <a:pt x="234068" y="241250"/>
                  </a:lnTo>
                  <a:lnTo>
                    <a:pt x="232461" y="241757"/>
                  </a:lnTo>
                  <a:lnTo>
                    <a:pt x="229984" y="241859"/>
                  </a:lnTo>
                  <a:lnTo>
                    <a:pt x="227922" y="242423"/>
                  </a:lnTo>
                  <a:lnTo>
                    <a:pt x="226063" y="248332"/>
                  </a:lnTo>
                  <a:lnTo>
                    <a:pt x="224822" y="248922"/>
                  </a:lnTo>
                  <a:lnTo>
                    <a:pt x="217216" y="246539"/>
                  </a:lnTo>
                  <a:lnTo>
                    <a:pt x="215675" y="246896"/>
                  </a:lnTo>
                  <a:lnTo>
                    <a:pt x="214352" y="247588"/>
                  </a:lnTo>
                  <a:lnTo>
                    <a:pt x="210104" y="251058"/>
                  </a:lnTo>
                  <a:lnTo>
                    <a:pt x="208001" y="253831"/>
                  </a:lnTo>
                  <a:lnTo>
                    <a:pt x="206853" y="257525"/>
                  </a:lnTo>
                  <a:lnTo>
                    <a:pt x="207016" y="258660"/>
                  </a:lnTo>
                  <a:lnTo>
                    <a:pt x="207047" y="259942"/>
                  </a:lnTo>
                  <a:lnTo>
                    <a:pt x="206301" y="260641"/>
                  </a:lnTo>
                  <a:lnTo>
                    <a:pt x="205275" y="260896"/>
                  </a:lnTo>
                  <a:lnTo>
                    <a:pt x="204359" y="260851"/>
                  </a:lnTo>
                  <a:lnTo>
                    <a:pt x="200826" y="260091"/>
                  </a:lnTo>
                  <a:lnTo>
                    <a:pt x="199716" y="260418"/>
                  </a:lnTo>
                  <a:lnTo>
                    <a:pt x="199240" y="262240"/>
                  </a:lnTo>
                  <a:lnTo>
                    <a:pt x="199315" y="266217"/>
                  </a:lnTo>
                  <a:lnTo>
                    <a:pt x="198541" y="268917"/>
                  </a:lnTo>
                  <a:lnTo>
                    <a:pt x="196441" y="269751"/>
                  </a:lnTo>
                  <a:lnTo>
                    <a:pt x="194823" y="270815"/>
                  </a:lnTo>
                  <a:lnTo>
                    <a:pt x="193546" y="271122"/>
                  </a:lnTo>
                  <a:lnTo>
                    <a:pt x="192482" y="270864"/>
                  </a:lnTo>
                  <a:lnTo>
                    <a:pt x="186342" y="266830"/>
                  </a:lnTo>
                  <a:lnTo>
                    <a:pt x="184266" y="266184"/>
                  </a:lnTo>
                  <a:lnTo>
                    <a:pt x="181970" y="266630"/>
                  </a:lnTo>
                  <a:lnTo>
                    <a:pt x="179762" y="268345"/>
                  </a:lnTo>
                  <a:lnTo>
                    <a:pt x="178763" y="269471"/>
                  </a:lnTo>
                  <a:lnTo>
                    <a:pt x="177382" y="270794"/>
                  </a:lnTo>
                  <a:lnTo>
                    <a:pt x="175833" y="272555"/>
                  </a:lnTo>
                  <a:lnTo>
                    <a:pt x="176241" y="274051"/>
                  </a:lnTo>
                  <a:lnTo>
                    <a:pt x="177338" y="275786"/>
                  </a:lnTo>
                  <a:lnTo>
                    <a:pt x="178121" y="277940"/>
                  </a:lnTo>
                  <a:lnTo>
                    <a:pt x="178080" y="279868"/>
                  </a:lnTo>
                  <a:lnTo>
                    <a:pt x="172474" y="282597"/>
                  </a:lnTo>
                  <a:lnTo>
                    <a:pt x="172933" y="283537"/>
                  </a:lnTo>
                  <a:lnTo>
                    <a:pt x="173772" y="284632"/>
                  </a:lnTo>
                  <a:lnTo>
                    <a:pt x="173779" y="286620"/>
                  </a:lnTo>
                  <a:lnTo>
                    <a:pt x="173622" y="290110"/>
                  </a:lnTo>
                  <a:lnTo>
                    <a:pt x="172490" y="291363"/>
                  </a:lnTo>
                  <a:lnTo>
                    <a:pt x="171027" y="292604"/>
                  </a:lnTo>
                  <a:lnTo>
                    <a:pt x="170124" y="294207"/>
                  </a:lnTo>
                  <a:lnTo>
                    <a:pt x="169232" y="294988"/>
                  </a:lnTo>
                  <a:lnTo>
                    <a:pt x="167638" y="295976"/>
                  </a:lnTo>
                  <a:lnTo>
                    <a:pt x="165457" y="296964"/>
                  </a:lnTo>
                  <a:lnTo>
                    <a:pt x="161675" y="297835"/>
                  </a:lnTo>
                  <a:lnTo>
                    <a:pt x="158648" y="298413"/>
                  </a:lnTo>
                  <a:lnTo>
                    <a:pt x="157506" y="298977"/>
                  </a:lnTo>
                  <a:lnTo>
                    <a:pt x="155900" y="300145"/>
                  </a:lnTo>
                  <a:lnTo>
                    <a:pt x="154618" y="301543"/>
                  </a:lnTo>
                  <a:lnTo>
                    <a:pt x="154312" y="303055"/>
                  </a:lnTo>
                  <a:lnTo>
                    <a:pt x="154565" y="304784"/>
                  </a:lnTo>
                  <a:lnTo>
                    <a:pt x="155012" y="306206"/>
                  </a:lnTo>
                  <a:lnTo>
                    <a:pt x="155577" y="307172"/>
                  </a:lnTo>
                  <a:lnTo>
                    <a:pt x="155917" y="308388"/>
                  </a:lnTo>
                  <a:lnTo>
                    <a:pt x="155456" y="311673"/>
                  </a:lnTo>
                  <a:lnTo>
                    <a:pt x="154359" y="315476"/>
                  </a:lnTo>
                  <a:lnTo>
                    <a:pt x="153307" y="317170"/>
                  </a:lnTo>
                  <a:lnTo>
                    <a:pt x="151609" y="318100"/>
                  </a:lnTo>
                  <a:lnTo>
                    <a:pt x="150144" y="319137"/>
                  </a:lnTo>
                  <a:lnTo>
                    <a:pt x="150629" y="321627"/>
                  </a:lnTo>
                  <a:lnTo>
                    <a:pt x="150882" y="325199"/>
                  </a:lnTo>
                  <a:lnTo>
                    <a:pt x="150471" y="328049"/>
                  </a:lnTo>
                  <a:lnTo>
                    <a:pt x="150398" y="329812"/>
                  </a:lnTo>
                  <a:lnTo>
                    <a:pt x="149778" y="331637"/>
                  </a:lnTo>
                  <a:lnTo>
                    <a:pt x="149413" y="332920"/>
                  </a:lnTo>
                  <a:lnTo>
                    <a:pt x="148682" y="332609"/>
                  </a:lnTo>
                  <a:lnTo>
                    <a:pt x="145637" y="332760"/>
                  </a:lnTo>
                  <a:lnTo>
                    <a:pt x="142330" y="333735"/>
                  </a:lnTo>
                  <a:lnTo>
                    <a:pt x="141173" y="334513"/>
                  </a:lnTo>
                  <a:lnTo>
                    <a:pt x="140921" y="335575"/>
                  </a:lnTo>
                  <a:lnTo>
                    <a:pt x="140189" y="336293"/>
                  </a:lnTo>
                  <a:lnTo>
                    <a:pt x="139128" y="337097"/>
                  </a:lnTo>
                  <a:lnTo>
                    <a:pt x="138113" y="338086"/>
                  </a:lnTo>
                  <a:lnTo>
                    <a:pt x="136286" y="337928"/>
                  </a:lnTo>
                  <a:lnTo>
                    <a:pt x="134524" y="337252"/>
                  </a:lnTo>
                  <a:lnTo>
                    <a:pt x="133606" y="336594"/>
                  </a:lnTo>
                  <a:lnTo>
                    <a:pt x="133542" y="336201"/>
                  </a:lnTo>
                  <a:lnTo>
                    <a:pt x="134123" y="335237"/>
                  </a:lnTo>
                  <a:lnTo>
                    <a:pt x="134618" y="334185"/>
                  </a:lnTo>
                  <a:lnTo>
                    <a:pt x="134661" y="333495"/>
                  </a:lnTo>
                  <a:lnTo>
                    <a:pt x="134062" y="331797"/>
                  </a:lnTo>
                  <a:lnTo>
                    <a:pt x="133576" y="329968"/>
                  </a:lnTo>
                  <a:lnTo>
                    <a:pt x="133777" y="329087"/>
                  </a:lnTo>
                  <a:lnTo>
                    <a:pt x="133344" y="326395"/>
                  </a:lnTo>
                  <a:lnTo>
                    <a:pt x="133103" y="326257"/>
                  </a:lnTo>
                  <a:lnTo>
                    <a:pt x="130792" y="326956"/>
                  </a:lnTo>
                  <a:lnTo>
                    <a:pt x="129941" y="327129"/>
                  </a:lnTo>
                  <a:lnTo>
                    <a:pt x="129460" y="327427"/>
                  </a:lnTo>
                  <a:lnTo>
                    <a:pt x="129311" y="327942"/>
                  </a:lnTo>
                  <a:lnTo>
                    <a:pt x="129866" y="329649"/>
                  </a:lnTo>
                  <a:lnTo>
                    <a:pt x="129503" y="329945"/>
                  </a:lnTo>
                  <a:lnTo>
                    <a:pt x="128206" y="329898"/>
                  </a:lnTo>
                  <a:lnTo>
                    <a:pt x="126393" y="329335"/>
                  </a:lnTo>
                  <a:lnTo>
                    <a:pt x="124413" y="327769"/>
                  </a:lnTo>
                  <a:lnTo>
                    <a:pt x="123922" y="328276"/>
                  </a:lnTo>
                  <a:lnTo>
                    <a:pt x="123705" y="329523"/>
                  </a:lnTo>
                  <a:lnTo>
                    <a:pt x="123576" y="330998"/>
                  </a:lnTo>
                  <a:lnTo>
                    <a:pt x="124077" y="333676"/>
                  </a:lnTo>
                  <a:lnTo>
                    <a:pt x="123548" y="334631"/>
                  </a:lnTo>
                  <a:lnTo>
                    <a:pt x="122222" y="334460"/>
                  </a:lnTo>
                  <a:lnTo>
                    <a:pt x="120444" y="334463"/>
                  </a:lnTo>
                  <a:lnTo>
                    <a:pt x="118892" y="334729"/>
                  </a:lnTo>
                  <a:lnTo>
                    <a:pt x="117863" y="334791"/>
                  </a:lnTo>
                  <a:lnTo>
                    <a:pt x="117219" y="335746"/>
                  </a:lnTo>
                  <a:lnTo>
                    <a:pt x="116948" y="336812"/>
                  </a:lnTo>
                  <a:lnTo>
                    <a:pt x="117565" y="337999"/>
                  </a:lnTo>
                  <a:lnTo>
                    <a:pt x="117469" y="338502"/>
                  </a:lnTo>
                  <a:lnTo>
                    <a:pt x="116998" y="338961"/>
                  </a:lnTo>
                  <a:lnTo>
                    <a:pt x="116387" y="339238"/>
                  </a:lnTo>
                  <a:lnTo>
                    <a:pt x="115886" y="339204"/>
                  </a:lnTo>
                  <a:lnTo>
                    <a:pt x="114446" y="337892"/>
                  </a:lnTo>
                  <a:lnTo>
                    <a:pt x="112734" y="337397"/>
                  </a:lnTo>
                  <a:lnTo>
                    <a:pt x="108735" y="336644"/>
                  </a:lnTo>
                  <a:lnTo>
                    <a:pt x="108251" y="334839"/>
                  </a:lnTo>
                  <a:lnTo>
                    <a:pt x="107593" y="334813"/>
                  </a:lnTo>
                  <a:lnTo>
                    <a:pt x="106670" y="333861"/>
                  </a:lnTo>
                  <a:lnTo>
                    <a:pt x="105754" y="332612"/>
                  </a:lnTo>
                  <a:lnTo>
                    <a:pt x="104984" y="332679"/>
                  </a:lnTo>
                  <a:lnTo>
                    <a:pt x="104336" y="333027"/>
                  </a:lnTo>
                  <a:lnTo>
                    <a:pt x="102146" y="332888"/>
                  </a:lnTo>
                  <a:lnTo>
                    <a:pt x="100202" y="334791"/>
                  </a:lnTo>
                  <a:lnTo>
                    <a:pt x="98762" y="337153"/>
                  </a:lnTo>
                  <a:lnTo>
                    <a:pt x="97216" y="338289"/>
                  </a:lnTo>
                  <a:lnTo>
                    <a:pt x="95517" y="338786"/>
                  </a:lnTo>
                  <a:lnTo>
                    <a:pt x="94861" y="338808"/>
                  </a:lnTo>
                  <a:lnTo>
                    <a:pt x="95218" y="337311"/>
                  </a:lnTo>
                  <a:lnTo>
                    <a:pt x="94969" y="336218"/>
                  </a:lnTo>
                  <a:lnTo>
                    <a:pt x="94492" y="335248"/>
                  </a:lnTo>
                  <a:lnTo>
                    <a:pt x="89534" y="332653"/>
                  </a:lnTo>
                  <a:lnTo>
                    <a:pt x="88757" y="331580"/>
                  </a:lnTo>
                  <a:lnTo>
                    <a:pt x="87985" y="328638"/>
                  </a:lnTo>
                  <a:lnTo>
                    <a:pt x="87486" y="325688"/>
                  </a:lnTo>
                  <a:lnTo>
                    <a:pt x="87540" y="323956"/>
                  </a:lnTo>
                  <a:lnTo>
                    <a:pt x="87879" y="322410"/>
                  </a:lnTo>
                  <a:lnTo>
                    <a:pt x="87738" y="321209"/>
                  </a:lnTo>
                  <a:lnTo>
                    <a:pt x="87192" y="320295"/>
                  </a:lnTo>
                  <a:lnTo>
                    <a:pt x="85709" y="319415"/>
                  </a:lnTo>
                  <a:lnTo>
                    <a:pt x="84156" y="319002"/>
                  </a:lnTo>
                  <a:lnTo>
                    <a:pt x="82192" y="320159"/>
                  </a:lnTo>
                  <a:lnTo>
                    <a:pt x="81249" y="320377"/>
                  </a:lnTo>
                  <a:lnTo>
                    <a:pt x="80365" y="320298"/>
                  </a:lnTo>
                  <a:lnTo>
                    <a:pt x="79911" y="319873"/>
                  </a:lnTo>
                  <a:lnTo>
                    <a:pt x="79972" y="319283"/>
                  </a:lnTo>
                  <a:lnTo>
                    <a:pt x="82109" y="316124"/>
                  </a:lnTo>
                  <a:lnTo>
                    <a:pt x="83148" y="314805"/>
                  </a:lnTo>
                  <a:lnTo>
                    <a:pt x="84403" y="313802"/>
                  </a:lnTo>
                  <a:lnTo>
                    <a:pt x="85249" y="313264"/>
                  </a:lnTo>
                  <a:lnTo>
                    <a:pt x="85793" y="312488"/>
                  </a:lnTo>
                  <a:lnTo>
                    <a:pt x="85841" y="311880"/>
                  </a:lnTo>
                  <a:lnTo>
                    <a:pt x="85643" y="311438"/>
                  </a:lnTo>
                  <a:lnTo>
                    <a:pt x="84245" y="310858"/>
                  </a:lnTo>
                  <a:lnTo>
                    <a:pt x="82077" y="309382"/>
                  </a:lnTo>
                  <a:lnTo>
                    <a:pt x="80918" y="309225"/>
                  </a:lnTo>
                  <a:lnTo>
                    <a:pt x="79950" y="308555"/>
                  </a:lnTo>
                  <a:lnTo>
                    <a:pt x="78922" y="306253"/>
                  </a:lnTo>
                  <a:lnTo>
                    <a:pt x="78443" y="305811"/>
                  </a:lnTo>
                  <a:lnTo>
                    <a:pt x="77412" y="305570"/>
                  </a:lnTo>
                  <a:lnTo>
                    <a:pt x="76476" y="305010"/>
                  </a:lnTo>
                  <a:lnTo>
                    <a:pt x="76520" y="302009"/>
                  </a:lnTo>
                  <a:lnTo>
                    <a:pt x="76559" y="299422"/>
                  </a:lnTo>
                  <a:lnTo>
                    <a:pt x="74446" y="295250"/>
                  </a:lnTo>
                  <a:lnTo>
                    <a:pt x="73628" y="292624"/>
                  </a:lnTo>
                  <a:lnTo>
                    <a:pt x="72565" y="289924"/>
                  </a:lnTo>
                  <a:lnTo>
                    <a:pt x="71589" y="288657"/>
                  </a:lnTo>
                  <a:lnTo>
                    <a:pt x="69877" y="287588"/>
                  </a:lnTo>
                  <a:lnTo>
                    <a:pt x="67775" y="286850"/>
                  </a:lnTo>
                  <a:lnTo>
                    <a:pt x="65907" y="286683"/>
                  </a:lnTo>
                  <a:lnTo>
                    <a:pt x="64466" y="286930"/>
                  </a:lnTo>
                  <a:lnTo>
                    <a:pt x="63799" y="287259"/>
                  </a:lnTo>
                  <a:lnTo>
                    <a:pt x="63837" y="287762"/>
                  </a:lnTo>
                  <a:lnTo>
                    <a:pt x="65005" y="289473"/>
                  </a:lnTo>
                  <a:lnTo>
                    <a:pt x="65210" y="290422"/>
                  </a:lnTo>
                  <a:lnTo>
                    <a:pt x="65019" y="291341"/>
                  </a:lnTo>
                  <a:lnTo>
                    <a:pt x="64623" y="291955"/>
                  </a:lnTo>
                  <a:lnTo>
                    <a:pt x="63586" y="292022"/>
                  </a:lnTo>
                  <a:lnTo>
                    <a:pt x="61777" y="292555"/>
                  </a:lnTo>
                  <a:lnTo>
                    <a:pt x="59545" y="293592"/>
                  </a:lnTo>
                  <a:lnTo>
                    <a:pt x="57985" y="294474"/>
                  </a:lnTo>
                  <a:lnTo>
                    <a:pt x="56737" y="296732"/>
                  </a:lnTo>
                  <a:lnTo>
                    <a:pt x="55868" y="297013"/>
                  </a:lnTo>
                  <a:lnTo>
                    <a:pt x="54394" y="296732"/>
                  </a:lnTo>
                  <a:lnTo>
                    <a:pt x="50194" y="295073"/>
                  </a:lnTo>
                  <a:lnTo>
                    <a:pt x="46734" y="293704"/>
                  </a:lnTo>
                  <a:lnTo>
                    <a:pt x="44351" y="292915"/>
                  </a:lnTo>
                  <a:lnTo>
                    <a:pt x="42913" y="293416"/>
                  </a:lnTo>
                  <a:lnTo>
                    <a:pt x="42187" y="293657"/>
                  </a:lnTo>
                  <a:lnTo>
                    <a:pt x="40129" y="294574"/>
                  </a:lnTo>
                  <a:lnTo>
                    <a:pt x="37394" y="297903"/>
                  </a:lnTo>
                  <a:lnTo>
                    <a:pt x="36742" y="299003"/>
                  </a:lnTo>
                  <a:lnTo>
                    <a:pt x="36195" y="299354"/>
                  </a:lnTo>
                  <a:lnTo>
                    <a:pt x="35451" y="299940"/>
                  </a:lnTo>
                  <a:lnTo>
                    <a:pt x="34746" y="299956"/>
                  </a:lnTo>
                  <a:lnTo>
                    <a:pt x="34179" y="299558"/>
                  </a:lnTo>
                  <a:lnTo>
                    <a:pt x="33999" y="299316"/>
                  </a:lnTo>
                  <a:lnTo>
                    <a:pt x="32596" y="296916"/>
                  </a:lnTo>
                  <a:lnTo>
                    <a:pt x="31055" y="294278"/>
                  </a:lnTo>
                  <a:lnTo>
                    <a:pt x="29794" y="293082"/>
                  </a:lnTo>
                  <a:lnTo>
                    <a:pt x="28216" y="293030"/>
                  </a:lnTo>
                  <a:lnTo>
                    <a:pt x="26861" y="293854"/>
                  </a:lnTo>
                  <a:lnTo>
                    <a:pt x="25459" y="295553"/>
                  </a:lnTo>
                  <a:lnTo>
                    <a:pt x="23680" y="297127"/>
                  </a:lnTo>
                  <a:lnTo>
                    <a:pt x="22552" y="297594"/>
                  </a:lnTo>
                  <a:lnTo>
                    <a:pt x="21569" y="297339"/>
                  </a:lnTo>
                  <a:lnTo>
                    <a:pt x="19148" y="295352"/>
                  </a:lnTo>
                  <a:lnTo>
                    <a:pt x="17428" y="293940"/>
                  </a:lnTo>
                  <a:lnTo>
                    <a:pt x="17212" y="293229"/>
                  </a:lnTo>
                  <a:lnTo>
                    <a:pt x="17823" y="292140"/>
                  </a:lnTo>
                  <a:lnTo>
                    <a:pt x="18420" y="290522"/>
                  </a:lnTo>
                  <a:lnTo>
                    <a:pt x="19073" y="289211"/>
                  </a:lnTo>
                  <a:lnTo>
                    <a:pt x="19706" y="288611"/>
                  </a:lnTo>
                  <a:lnTo>
                    <a:pt x="19861" y="286931"/>
                  </a:lnTo>
                  <a:lnTo>
                    <a:pt x="18393" y="285748"/>
                  </a:lnTo>
                  <a:lnTo>
                    <a:pt x="18353" y="285169"/>
                  </a:lnTo>
                  <a:lnTo>
                    <a:pt x="18497" y="283600"/>
                  </a:lnTo>
                  <a:lnTo>
                    <a:pt x="19154" y="280277"/>
                  </a:lnTo>
                  <a:lnTo>
                    <a:pt x="19087" y="279010"/>
                  </a:lnTo>
                  <a:lnTo>
                    <a:pt x="19685" y="276535"/>
                  </a:lnTo>
                  <a:lnTo>
                    <a:pt x="18721" y="275420"/>
                  </a:lnTo>
                  <a:lnTo>
                    <a:pt x="18496" y="274597"/>
                  </a:lnTo>
                  <a:lnTo>
                    <a:pt x="17420" y="273276"/>
                  </a:lnTo>
                  <a:lnTo>
                    <a:pt x="16182" y="271403"/>
                  </a:lnTo>
                  <a:lnTo>
                    <a:pt x="15897" y="269902"/>
                  </a:lnTo>
                  <a:lnTo>
                    <a:pt x="15462" y="268708"/>
                  </a:lnTo>
                  <a:lnTo>
                    <a:pt x="14276" y="266912"/>
                  </a:lnTo>
                  <a:lnTo>
                    <a:pt x="13403" y="266631"/>
                  </a:lnTo>
                  <a:lnTo>
                    <a:pt x="11550" y="266357"/>
                  </a:lnTo>
                  <a:lnTo>
                    <a:pt x="11241" y="266975"/>
                  </a:lnTo>
                  <a:lnTo>
                    <a:pt x="10553" y="267870"/>
                  </a:lnTo>
                  <a:lnTo>
                    <a:pt x="9926" y="268128"/>
                  </a:lnTo>
                  <a:lnTo>
                    <a:pt x="8907" y="267032"/>
                  </a:lnTo>
                  <a:lnTo>
                    <a:pt x="8522" y="266092"/>
                  </a:lnTo>
                  <a:lnTo>
                    <a:pt x="8536" y="265234"/>
                  </a:lnTo>
                  <a:lnTo>
                    <a:pt x="7154" y="263738"/>
                  </a:lnTo>
                  <a:lnTo>
                    <a:pt x="5006" y="260987"/>
                  </a:lnTo>
                  <a:lnTo>
                    <a:pt x="5228" y="258717"/>
                  </a:lnTo>
                  <a:lnTo>
                    <a:pt x="6554" y="257496"/>
                  </a:lnTo>
                  <a:lnTo>
                    <a:pt x="6949" y="256575"/>
                  </a:lnTo>
                  <a:lnTo>
                    <a:pt x="7069" y="255531"/>
                  </a:lnTo>
                  <a:lnTo>
                    <a:pt x="6468" y="254281"/>
                  </a:lnTo>
                  <a:lnTo>
                    <a:pt x="5760" y="253291"/>
                  </a:lnTo>
                  <a:lnTo>
                    <a:pt x="5957" y="251101"/>
                  </a:lnTo>
                  <a:lnTo>
                    <a:pt x="5780" y="248064"/>
                  </a:lnTo>
                  <a:lnTo>
                    <a:pt x="4693" y="246537"/>
                  </a:lnTo>
                  <a:lnTo>
                    <a:pt x="3708" y="245429"/>
                  </a:lnTo>
                  <a:lnTo>
                    <a:pt x="2330" y="244225"/>
                  </a:lnTo>
                  <a:lnTo>
                    <a:pt x="1154" y="242376"/>
                  </a:lnTo>
                  <a:lnTo>
                    <a:pt x="1631" y="239836"/>
                  </a:lnTo>
                  <a:lnTo>
                    <a:pt x="2080" y="238097"/>
                  </a:lnTo>
                  <a:lnTo>
                    <a:pt x="0" y="234463"/>
                  </a:lnTo>
                  <a:lnTo>
                    <a:pt x="3890" y="235901"/>
                  </a:lnTo>
                  <a:lnTo>
                    <a:pt x="4402" y="235427"/>
                  </a:lnTo>
                  <a:lnTo>
                    <a:pt x="5727" y="234555"/>
                  </a:lnTo>
                  <a:lnTo>
                    <a:pt x="7511" y="232703"/>
                  </a:lnTo>
                  <a:lnTo>
                    <a:pt x="9016" y="230256"/>
                  </a:lnTo>
                  <a:lnTo>
                    <a:pt x="9693" y="227221"/>
                  </a:lnTo>
                  <a:lnTo>
                    <a:pt x="9991" y="224609"/>
                  </a:lnTo>
                  <a:lnTo>
                    <a:pt x="10661" y="222395"/>
                  </a:lnTo>
                  <a:lnTo>
                    <a:pt x="11508" y="220521"/>
                  </a:lnTo>
                  <a:lnTo>
                    <a:pt x="13372" y="218562"/>
                  </a:lnTo>
                  <a:lnTo>
                    <a:pt x="15122" y="217177"/>
                  </a:lnTo>
                  <a:lnTo>
                    <a:pt x="17201" y="215737"/>
                  </a:lnTo>
                  <a:lnTo>
                    <a:pt x="18251" y="215996"/>
                  </a:lnTo>
                  <a:lnTo>
                    <a:pt x="20232" y="218003"/>
                  </a:lnTo>
                  <a:lnTo>
                    <a:pt x="24572" y="222035"/>
                  </a:lnTo>
                  <a:lnTo>
                    <a:pt x="28153" y="225106"/>
                  </a:lnTo>
                  <a:lnTo>
                    <a:pt x="29461" y="226730"/>
                  </a:lnTo>
                  <a:lnTo>
                    <a:pt x="30625" y="226744"/>
                  </a:lnTo>
                  <a:lnTo>
                    <a:pt x="32405" y="223775"/>
                  </a:lnTo>
                  <a:lnTo>
                    <a:pt x="34243" y="221214"/>
                  </a:lnTo>
                  <a:lnTo>
                    <a:pt x="35026" y="220586"/>
                  </a:lnTo>
                  <a:lnTo>
                    <a:pt x="37459" y="220310"/>
                  </a:lnTo>
                  <a:lnTo>
                    <a:pt x="39524" y="220198"/>
                  </a:lnTo>
                  <a:lnTo>
                    <a:pt x="41323" y="220240"/>
                  </a:lnTo>
                  <a:lnTo>
                    <a:pt x="44633" y="220736"/>
                  </a:lnTo>
                  <a:lnTo>
                    <a:pt x="46145" y="221189"/>
                  </a:lnTo>
                  <a:lnTo>
                    <a:pt x="47565" y="221468"/>
                  </a:lnTo>
                  <a:lnTo>
                    <a:pt x="51724" y="221692"/>
                  </a:lnTo>
                  <a:lnTo>
                    <a:pt x="55845" y="221066"/>
                  </a:lnTo>
                  <a:lnTo>
                    <a:pt x="59764" y="220256"/>
                  </a:lnTo>
                  <a:lnTo>
                    <a:pt x="62659" y="219781"/>
                  </a:lnTo>
                  <a:lnTo>
                    <a:pt x="62804" y="218571"/>
                  </a:lnTo>
                  <a:lnTo>
                    <a:pt x="62641" y="217140"/>
                  </a:lnTo>
                  <a:lnTo>
                    <a:pt x="63109" y="216049"/>
                  </a:lnTo>
                  <a:lnTo>
                    <a:pt x="64020" y="215039"/>
                  </a:lnTo>
                  <a:lnTo>
                    <a:pt x="64789" y="214818"/>
                  </a:lnTo>
                  <a:lnTo>
                    <a:pt x="65124" y="218254"/>
                  </a:lnTo>
                  <a:lnTo>
                    <a:pt x="66047" y="218771"/>
                  </a:lnTo>
                  <a:lnTo>
                    <a:pt x="68632" y="218924"/>
                  </a:lnTo>
                  <a:lnTo>
                    <a:pt x="72827" y="218924"/>
                  </a:lnTo>
                  <a:lnTo>
                    <a:pt x="77337" y="218924"/>
                  </a:lnTo>
                  <a:lnTo>
                    <a:pt x="81847" y="218923"/>
                  </a:lnTo>
                  <a:lnTo>
                    <a:pt x="86357" y="218923"/>
                  </a:lnTo>
                  <a:lnTo>
                    <a:pt x="90867" y="218923"/>
                  </a:lnTo>
                  <a:lnTo>
                    <a:pt x="95376" y="218923"/>
                  </a:lnTo>
                  <a:lnTo>
                    <a:pt x="99885" y="218923"/>
                  </a:lnTo>
                  <a:lnTo>
                    <a:pt x="104396" y="218923"/>
                  </a:lnTo>
                  <a:lnTo>
                    <a:pt x="108905" y="218921"/>
                  </a:lnTo>
                  <a:lnTo>
                    <a:pt x="113415" y="218921"/>
                  </a:lnTo>
                  <a:lnTo>
                    <a:pt x="117925" y="218921"/>
                  </a:lnTo>
                  <a:lnTo>
                    <a:pt x="122435" y="218921"/>
                  </a:lnTo>
                  <a:lnTo>
                    <a:pt x="126945" y="218921"/>
                  </a:lnTo>
                  <a:lnTo>
                    <a:pt x="131453" y="218921"/>
                  </a:lnTo>
                  <a:lnTo>
                    <a:pt x="135963" y="218920"/>
                  </a:lnTo>
                  <a:lnTo>
                    <a:pt x="140473" y="218919"/>
                  </a:lnTo>
                  <a:lnTo>
                    <a:pt x="144983" y="218919"/>
                  </a:lnTo>
                  <a:lnTo>
                    <a:pt x="149657" y="218919"/>
                  </a:lnTo>
                  <a:lnTo>
                    <a:pt x="150915" y="212280"/>
                  </a:lnTo>
                  <a:lnTo>
                    <a:pt x="152066" y="206193"/>
                  </a:lnTo>
                  <a:lnTo>
                    <a:pt x="153031" y="201089"/>
                  </a:lnTo>
                  <a:lnTo>
                    <a:pt x="149721" y="197476"/>
                  </a:lnTo>
                  <a:lnTo>
                    <a:pt x="147088" y="194600"/>
                  </a:lnTo>
                  <a:lnTo>
                    <a:pt x="146478" y="189125"/>
                  </a:lnTo>
                  <a:lnTo>
                    <a:pt x="145848" y="183468"/>
                  </a:lnTo>
                  <a:lnTo>
                    <a:pt x="145220" y="177809"/>
                  </a:lnTo>
                  <a:lnTo>
                    <a:pt x="144589" y="172143"/>
                  </a:lnTo>
                  <a:lnTo>
                    <a:pt x="143960" y="166472"/>
                  </a:lnTo>
                  <a:lnTo>
                    <a:pt x="143330" y="160796"/>
                  </a:lnTo>
                  <a:lnTo>
                    <a:pt x="142701" y="155116"/>
                  </a:lnTo>
                  <a:lnTo>
                    <a:pt x="142071" y="149431"/>
                  </a:lnTo>
                  <a:lnTo>
                    <a:pt x="141441" y="143740"/>
                  </a:lnTo>
                  <a:lnTo>
                    <a:pt x="140812" y="138045"/>
                  </a:lnTo>
                  <a:lnTo>
                    <a:pt x="140181" y="132343"/>
                  </a:lnTo>
                  <a:lnTo>
                    <a:pt x="139552" y="126636"/>
                  </a:lnTo>
                  <a:lnTo>
                    <a:pt x="138923" y="120923"/>
                  </a:lnTo>
                  <a:lnTo>
                    <a:pt x="138293" y="115205"/>
                  </a:lnTo>
                  <a:lnTo>
                    <a:pt x="137664" y="109481"/>
                  </a:lnTo>
                  <a:lnTo>
                    <a:pt x="137033" y="103752"/>
                  </a:lnTo>
                  <a:lnTo>
                    <a:pt x="136405" y="98016"/>
                  </a:lnTo>
                  <a:lnTo>
                    <a:pt x="135774" y="92274"/>
                  </a:lnTo>
                  <a:lnTo>
                    <a:pt x="135145" y="86526"/>
                  </a:lnTo>
                  <a:lnTo>
                    <a:pt x="134516" y="80773"/>
                  </a:lnTo>
                  <a:lnTo>
                    <a:pt x="133886" y="75013"/>
                  </a:lnTo>
                  <a:lnTo>
                    <a:pt x="133256" y="69246"/>
                  </a:lnTo>
                  <a:lnTo>
                    <a:pt x="132626" y="63474"/>
                  </a:lnTo>
                  <a:lnTo>
                    <a:pt x="131997" y="57695"/>
                  </a:lnTo>
                  <a:lnTo>
                    <a:pt x="131367" y="51910"/>
                  </a:lnTo>
                  <a:lnTo>
                    <a:pt x="130737" y="46119"/>
                  </a:lnTo>
                  <a:lnTo>
                    <a:pt x="130108" y="40319"/>
                  </a:lnTo>
                  <a:lnTo>
                    <a:pt x="129479" y="34514"/>
                  </a:lnTo>
                  <a:lnTo>
                    <a:pt x="128849" y="28701"/>
                  </a:lnTo>
                  <a:lnTo>
                    <a:pt x="128219" y="22882"/>
                  </a:lnTo>
                  <a:lnTo>
                    <a:pt x="127590" y="17055"/>
                  </a:lnTo>
                  <a:lnTo>
                    <a:pt x="126960" y="11221"/>
                  </a:lnTo>
                  <a:lnTo>
                    <a:pt x="126331" y="5381"/>
                  </a:lnTo>
                  <a:lnTo>
                    <a:pt x="125741" y="23"/>
                  </a:lnTo>
                  <a:lnTo>
                    <a:pt x="132526" y="18"/>
                  </a:lnTo>
                  <a:lnTo>
                    <a:pt x="139766" y="15"/>
                  </a:lnTo>
                  <a:lnTo>
                    <a:pt x="146821" y="10"/>
                  </a:lnTo>
                  <a:lnTo>
                    <a:pt x="157166" y="5"/>
                  </a:lnTo>
                  <a:lnTo>
                    <a:pt x="164912" y="0"/>
                  </a:lnTo>
                  <a:lnTo>
                    <a:pt x="171670" y="4495"/>
                  </a:lnTo>
                  <a:lnTo>
                    <a:pt x="177787" y="8747"/>
                  </a:lnTo>
                  <a:lnTo>
                    <a:pt x="185030" y="13772"/>
                  </a:lnTo>
                  <a:lnTo>
                    <a:pt x="192270" y="18792"/>
                  </a:lnTo>
                  <a:lnTo>
                    <a:pt x="199512" y="23808"/>
                  </a:lnTo>
                  <a:lnTo>
                    <a:pt x="206753" y="28818"/>
                  </a:lnTo>
                  <a:lnTo>
                    <a:pt x="213994" y="33823"/>
                  </a:lnTo>
                  <a:lnTo>
                    <a:pt x="221236" y="38825"/>
                  </a:lnTo>
                  <a:lnTo>
                    <a:pt x="228478" y="43818"/>
                  </a:lnTo>
                  <a:lnTo>
                    <a:pt x="235719" y="48810"/>
                  </a:lnTo>
                  <a:lnTo>
                    <a:pt x="242960" y="53795"/>
                  </a:lnTo>
                  <a:lnTo>
                    <a:pt x="250201" y="58773"/>
                  </a:lnTo>
                  <a:lnTo>
                    <a:pt x="257443" y="63750"/>
                  </a:lnTo>
                  <a:lnTo>
                    <a:pt x="264683" y="68720"/>
                  </a:lnTo>
                  <a:lnTo>
                    <a:pt x="271926" y="73685"/>
                  </a:lnTo>
                  <a:lnTo>
                    <a:pt x="279166" y="78647"/>
                  </a:lnTo>
                  <a:lnTo>
                    <a:pt x="286407" y="83604"/>
                  </a:lnTo>
                  <a:lnTo>
                    <a:pt x="293649" y="88556"/>
                  </a:lnTo>
                  <a:lnTo>
                    <a:pt x="296880" y="90763"/>
                  </a:lnTo>
                  <a:lnTo>
                    <a:pt x="297182" y="91681"/>
                  </a:lnTo>
                  <a:lnTo>
                    <a:pt x="297482" y="93541"/>
                  </a:lnTo>
                  <a:lnTo>
                    <a:pt x="297290" y="95635"/>
                  </a:lnTo>
                  <a:lnTo>
                    <a:pt x="297327" y="97341"/>
                  </a:lnTo>
                  <a:lnTo>
                    <a:pt x="298281" y="98498"/>
                  </a:lnTo>
                  <a:lnTo>
                    <a:pt x="300080" y="99737"/>
                  </a:lnTo>
                  <a:lnTo>
                    <a:pt x="307165" y="103382"/>
                  </a:lnTo>
                  <a:lnTo>
                    <a:pt x="307726" y="104101"/>
                  </a:lnTo>
                  <a:lnTo>
                    <a:pt x="307977" y="105611"/>
                  </a:lnTo>
                  <a:lnTo>
                    <a:pt x="308819" y="107465"/>
                  </a:lnTo>
                  <a:lnTo>
                    <a:pt x="310318" y="108543"/>
                  </a:lnTo>
                  <a:lnTo>
                    <a:pt x="312069" y="109342"/>
                  </a:lnTo>
                  <a:lnTo>
                    <a:pt x="314200" y="109899"/>
                  </a:lnTo>
                  <a:lnTo>
                    <a:pt x="320624" y="110473"/>
                  </a:lnTo>
                  <a:lnTo>
                    <a:pt x="321985" y="111336"/>
                  </a:lnTo>
                  <a:lnTo>
                    <a:pt x="324755" y="114706"/>
                  </a:lnTo>
                  <a:lnTo>
                    <a:pt x="326260" y="115370"/>
                  </a:lnTo>
                  <a:lnTo>
                    <a:pt x="330540" y="116338"/>
                  </a:lnTo>
                  <a:lnTo>
                    <a:pt x="333639" y="116879"/>
                  </a:lnTo>
                  <a:lnTo>
                    <a:pt x="334917" y="117188"/>
                  </a:lnTo>
                  <a:lnTo>
                    <a:pt x="337720" y="118094"/>
                  </a:lnTo>
                  <a:lnTo>
                    <a:pt x="340767" y="119620"/>
                  </a:lnTo>
                  <a:lnTo>
                    <a:pt x="342391" y="121011"/>
                  </a:lnTo>
                  <a:lnTo>
                    <a:pt x="342384" y="121447"/>
                  </a:lnTo>
                  <a:lnTo>
                    <a:pt x="342369" y="122652"/>
                  </a:lnTo>
                  <a:lnTo>
                    <a:pt x="342345" y="126279"/>
                  </a:lnTo>
                  <a:lnTo>
                    <a:pt x="342907" y="128272"/>
                  </a:lnTo>
                  <a:lnTo>
                    <a:pt x="343544" y="129710"/>
                  </a:lnTo>
                  <a:lnTo>
                    <a:pt x="343512" y="130590"/>
                  </a:lnTo>
                  <a:lnTo>
                    <a:pt x="342743" y="131214"/>
                  </a:lnTo>
                  <a:lnTo>
                    <a:pt x="342140" y="131979"/>
                  </a:lnTo>
                  <a:lnTo>
                    <a:pt x="341806" y="132986"/>
                  </a:lnTo>
                  <a:lnTo>
                    <a:pt x="340935" y="134270"/>
                  </a:lnTo>
                  <a:lnTo>
                    <a:pt x="340231" y="135693"/>
                  </a:lnTo>
                  <a:lnTo>
                    <a:pt x="340534" y="136769"/>
                  </a:lnTo>
                  <a:lnTo>
                    <a:pt x="341739" y="137463"/>
                  </a:lnTo>
                  <a:lnTo>
                    <a:pt x="343546" y="138829"/>
                  </a:lnTo>
                  <a:lnTo>
                    <a:pt x="345038" y="139400"/>
                  </a:lnTo>
                  <a:lnTo>
                    <a:pt x="345768" y="139440"/>
                  </a:lnTo>
                  <a:lnTo>
                    <a:pt x="346751" y="139399"/>
                  </a:lnTo>
                  <a:lnTo>
                    <a:pt x="347589" y="139222"/>
                  </a:lnTo>
                  <a:lnTo>
                    <a:pt x="353000" y="138180"/>
                  </a:lnTo>
                  <a:lnTo>
                    <a:pt x="358012" y="137214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92" name="ee4p_MZ_1_37365">
              <a:extLst>
                <a:ext uri="{FF2B5EF4-FFF2-40B4-BE49-F238E27FC236}">
                  <a16:creationId xmlns:a16="http://schemas.microsoft.com/office/drawing/2014/main" id="{CEC8A9E7-7A62-B058-9DCD-E9FD33B397B9}"/>
                </a:ext>
              </a:extLst>
            </p:cNvPr>
            <p:cNvSpPr>
              <a:spLocks noChangeAspect="1"/>
            </p:cNvSpPr>
            <p:nvPr>
              <p:custDataLst>
                <p:tags r:id="rId346"/>
              </p:custDataLst>
            </p:nvPr>
          </p:nvSpPr>
          <p:spPr>
            <a:xfrm>
              <a:off x="7353939" y="4977258"/>
              <a:ext cx="294988" cy="485296"/>
            </a:xfrm>
            <a:custGeom>
              <a:avLst/>
              <a:gdLst>
                <a:gd name="connsiteX0" fmla="*/ 266124 w 629170"/>
                <a:gd name="connsiteY0" fmla="*/ 92249 h 1007635"/>
                <a:gd name="connsiteX1" fmla="*/ 264046 w 629170"/>
                <a:gd name="connsiteY1" fmla="*/ 92619 h 1007635"/>
                <a:gd name="connsiteX2" fmla="*/ 263312 w 629170"/>
                <a:gd name="connsiteY2" fmla="*/ 94941 h 1007635"/>
                <a:gd name="connsiteX3" fmla="*/ 262993 w 629170"/>
                <a:gd name="connsiteY3" fmla="*/ 98139 h 1007635"/>
                <a:gd name="connsiteX4" fmla="*/ 264303 w 629170"/>
                <a:gd name="connsiteY4" fmla="*/ 99214 h 1007635"/>
                <a:gd name="connsiteX5" fmla="*/ 266384 w 629170"/>
                <a:gd name="connsiteY5" fmla="*/ 98731 h 1007635"/>
                <a:gd name="connsiteX6" fmla="*/ 267962 w 629170"/>
                <a:gd name="connsiteY6" fmla="*/ 97395 h 1007635"/>
                <a:gd name="connsiteX7" fmla="*/ 268570 w 629170"/>
                <a:gd name="connsiteY7" fmla="*/ 95635 h 1007635"/>
                <a:gd name="connsiteX8" fmla="*/ 268554 w 629170"/>
                <a:gd name="connsiteY8" fmla="*/ 93934 h 1007635"/>
                <a:gd name="connsiteX9" fmla="*/ 267546 w 629170"/>
                <a:gd name="connsiteY9" fmla="*/ 92871 h 1007635"/>
                <a:gd name="connsiteX10" fmla="*/ 258807 w 629170"/>
                <a:gd name="connsiteY10" fmla="*/ 90350 h 1007635"/>
                <a:gd name="connsiteX11" fmla="*/ 256592 w 629170"/>
                <a:gd name="connsiteY11" fmla="*/ 91017 h 1007635"/>
                <a:gd name="connsiteX12" fmla="*/ 255858 w 629170"/>
                <a:gd name="connsiteY12" fmla="*/ 93206 h 1007635"/>
                <a:gd name="connsiteX13" fmla="*/ 258159 w 629170"/>
                <a:gd name="connsiteY13" fmla="*/ 96039 h 1007635"/>
                <a:gd name="connsiteX14" fmla="*/ 260605 w 629170"/>
                <a:gd name="connsiteY14" fmla="*/ 96088 h 1007635"/>
                <a:gd name="connsiteX15" fmla="*/ 261781 w 629170"/>
                <a:gd name="connsiteY15" fmla="*/ 92906 h 1007635"/>
                <a:gd name="connsiteX16" fmla="*/ 260752 w 629170"/>
                <a:gd name="connsiteY16" fmla="*/ 91170 h 1007635"/>
                <a:gd name="connsiteX17" fmla="*/ 606605 w 629170"/>
                <a:gd name="connsiteY17" fmla="*/ 0 h 1007635"/>
                <a:gd name="connsiteX18" fmla="*/ 609753 w 629170"/>
                <a:gd name="connsiteY18" fmla="*/ 6169 h 1007635"/>
                <a:gd name="connsiteX19" fmla="*/ 615380 w 629170"/>
                <a:gd name="connsiteY19" fmla="*/ 11805 h 1007635"/>
                <a:gd name="connsiteX20" fmla="*/ 612024 w 629170"/>
                <a:gd name="connsiteY20" fmla="*/ 15083 h 1007635"/>
                <a:gd name="connsiteX21" fmla="*/ 607972 w 629170"/>
                <a:gd name="connsiteY21" fmla="*/ 18013 h 1007635"/>
                <a:gd name="connsiteX22" fmla="*/ 614518 w 629170"/>
                <a:gd name="connsiteY22" fmla="*/ 21938 h 1007635"/>
                <a:gd name="connsiteX23" fmla="*/ 609718 w 629170"/>
                <a:gd name="connsiteY23" fmla="*/ 27865 h 1007635"/>
                <a:gd name="connsiteX24" fmla="*/ 609134 w 629170"/>
                <a:gd name="connsiteY24" fmla="*/ 31990 h 1007635"/>
                <a:gd name="connsiteX25" fmla="*/ 610353 w 629170"/>
                <a:gd name="connsiteY25" fmla="*/ 33605 h 1007635"/>
                <a:gd name="connsiteX26" fmla="*/ 611400 w 629170"/>
                <a:gd name="connsiteY26" fmla="*/ 36019 h 1007635"/>
                <a:gd name="connsiteX27" fmla="*/ 608255 w 629170"/>
                <a:gd name="connsiteY27" fmla="*/ 42809 h 1007635"/>
                <a:gd name="connsiteX28" fmla="*/ 604085 w 629170"/>
                <a:gd name="connsiteY28" fmla="*/ 48011 h 1007635"/>
                <a:gd name="connsiteX29" fmla="*/ 603008 w 629170"/>
                <a:gd name="connsiteY29" fmla="*/ 51991 h 1007635"/>
                <a:gd name="connsiteX30" fmla="*/ 606699 w 629170"/>
                <a:gd name="connsiteY30" fmla="*/ 59033 h 1007635"/>
                <a:gd name="connsiteX31" fmla="*/ 604800 w 629170"/>
                <a:gd name="connsiteY31" fmla="*/ 71509 h 1007635"/>
                <a:gd name="connsiteX32" fmla="*/ 608381 w 629170"/>
                <a:gd name="connsiteY32" fmla="*/ 82743 h 1007635"/>
                <a:gd name="connsiteX33" fmla="*/ 609380 w 629170"/>
                <a:gd name="connsiteY33" fmla="*/ 88507 h 1007635"/>
                <a:gd name="connsiteX34" fmla="*/ 610631 w 629170"/>
                <a:gd name="connsiteY34" fmla="*/ 92362 h 1007635"/>
                <a:gd name="connsiteX35" fmla="*/ 608850 w 629170"/>
                <a:gd name="connsiteY35" fmla="*/ 99262 h 1007635"/>
                <a:gd name="connsiteX36" fmla="*/ 609308 w 629170"/>
                <a:gd name="connsiteY36" fmla="*/ 110889 h 1007635"/>
                <a:gd name="connsiteX37" fmla="*/ 610133 w 629170"/>
                <a:gd name="connsiteY37" fmla="*/ 115689 h 1007635"/>
                <a:gd name="connsiteX38" fmla="*/ 608001 w 629170"/>
                <a:gd name="connsiteY38" fmla="*/ 121668 h 1007635"/>
                <a:gd name="connsiteX39" fmla="*/ 611625 w 629170"/>
                <a:gd name="connsiteY39" fmla="*/ 123736 h 1007635"/>
                <a:gd name="connsiteX40" fmla="*/ 613551 w 629170"/>
                <a:gd name="connsiteY40" fmla="*/ 130293 h 1007635"/>
                <a:gd name="connsiteX41" fmla="*/ 613031 w 629170"/>
                <a:gd name="connsiteY41" fmla="*/ 137686 h 1007635"/>
                <a:gd name="connsiteX42" fmla="*/ 611920 w 629170"/>
                <a:gd name="connsiteY42" fmla="*/ 141669 h 1007635"/>
                <a:gd name="connsiteX43" fmla="*/ 605663 w 629170"/>
                <a:gd name="connsiteY43" fmla="*/ 146495 h 1007635"/>
                <a:gd name="connsiteX44" fmla="*/ 604923 w 629170"/>
                <a:gd name="connsiteY44" fmla="*/ 148370 h 1007635"/>
                <a:gd name="connsiteX45" fmla="*/ 605020 w 629170"/>
                <a:gd name="connsiteY45" fmla="*/ 151212 h 1007635"/>
                <a:gd name="connsiteX46" fmla="*/ 612836 w 629170"/>
                <a:gd name="connsiteY46" fmla="*/ 151306 h 1007635"/>
                <a:gd name="connsiteX47" fmla="*/ 613101 w 629170"/>
                <a:gd name="connsiteY47" fmla="*/ 155704 h 1007635"/>
                <a:gd name="connsiteX48" fmla="*/ 612581 w 629170"/>
                <a:gd name="connsiteY48" fmla="*/ 159168 h 1007635"/>
                <a:gd name="connsiteX49" fmla="*/ 612881 w 629170"/>
                <a:gd name="connsiteY49" fmla="*/ 165687 h 1007635"/>
                <a:gd name="connsiteX50" fmla="*/ 611839 w 629170"/>
                <a:gd name="connsiteY50" fmla="*/ 169925 h 1007635"/>
                <a:gd name="connsiteX51" fmla="*/ 613674 w 629170"/>
                <a:gd name="connsiteY51" fmla="*/ 174762 h 1007635"/>
                <a:gd name="connsiteX52" fmla="*/ 611435 w 629170"/>
                <a:gd name="connsiteY52" fmla="*/ 180119 h 1007635"/>
                <a:gd name="connsiteX53" fmla="*/ 612212 w 629170"/>
                <a:gd name="connsiteY53" fmla="*/ 184252 h 1007635"/>
                <a:gd name="connsiteX54" fmla="*/ 612308 w 629170"/>
                <a:gd name="connsiteY54" fmla="*/ 189612 h 1007635"/>
                <a:gd name="connsiteX55" fmla="*/ 614124 w 629170"/>
                <a:gd name="connsiteY55" fmla="*/ 203171 h 1007635"/>
                <a:gd name="connsiteX56" fmla="*/ 614432 w 629170"/>
                <a:gd name="connsiteY56" fmla="*/ 219944 h 1007635"/>
                <a:gd name="connsiteX57" fmla="*/ 614837 w 629170"/>
                <a:gd name="connsiteY57" fmla="*/ 222633 h 1007635"/>
                <a:gd name="connsiteX58" fmla="*/ 617617 w 629170"/>
                <a:gd name="connsiteY58" fmla="*/ 224535 h 1007635"/>
                <a:gd name="connsiteX59" fmla="*/ 621533 w 629170"/>
                <a:gd name="connsiteY59" fmla="*/ 225478 h 1007635"/>
                <a:gd name="connsiteX60" fmla="*/ 621383 w 629170"/>
                <a:gd name="connsiteY60" fmla="*/ 230079 h 1007635"/>
                <a:gd name="connsiteX61" fmla="*/ 617052 w 629170"/>
                <a:gd name="connsiteY61" fmla="*/ 236087 h 1007635"/>
                <a:gd name="connsiteX62" fmla="*/ 616792 w 629170"/>
                <a:gd name="connsiteY62" fmla="*/ 239824 h 1007635"/>
                <a:gd name="connsiteX63" fmla="*/ 617416 w 629170"/>
                <a:gd name="connsiteY63" fmla="*/ 245074 h 1007635"/>
                <a:gd name="connsiteX64" fmla="*/ 622189 w 629170"/>
                <a:gd name="connsiteY64" fmla="*/ 237941 h 1007635"/>
                <a:gd name="connsiteX65" fmla="*/ 625050 w 629170"/>
                <a:gd name="connsiteY65" fmla="*/ 237976 h 1007635"/>
                <a:gd name="connsiteX66" fmla="*/ 627608 w 629170"/>
                <a:gd name="connsiteY66" fmla="*/ 240775 h 1007635"/>
                <a:gd name="connsiteX67" fmla="*/ 627249 w 629170"/>
                <a:gd name="connsiteY67" fmla="*/ 244884 h 1007635"/>
                <a:gd name="connsiteX68" fmla="*/ 628128 w 629170"/>
                <a:gd name="connsiteY68" fmla="*/ 246911 h 1007635"/>
                <a:gd name="connsiteX69" fmla="*/ 627753 w 629170"/>
                <a:gd name="connsiteY69" fmla="*/ 250897 h 1007635"/>
                <a:gd name="connsiteX70" fmla="*/ 629170 w 629170"/>
                <a:gd name="connsiteY70" fmla="*/ 255959 h 1007635"/>
                <a:gd name="connsiteX71" fmla="*/ 628615 w 629170"/>
                <a:gd name="connsiteY71" fmla="*/ 260368 h 1007635"/>
                <a:gd name="connsiteX72" fmla="*/ 625109 w 629170"/>
                <a:gd name="connsiteY72" fmla="*/ 263454 h 1007635"/>
                <a:gd name="connsiteX73" fmla="*/ 620649 w 629170"/>
                <a:gd name="connsiteY73" fmla="*/ 268736 h 1007635"/>
                <a:gd name="connsiteX74" fmla="*/ 619862 w 629170"/>
                <a:gd name="connsiteY74" fmla="*/ 273691 h 1007635"/>
                <a:gd name="connsiteX75" fmla="*/ 620274 w 629170"/>
                <a:gd name="connsiteY75" fmla="*/ 276941 h 1007635"/>
                <a:gd name="connsiteX76" fmla="*/ 617183 w 629170"/>
                <a:gd name="connsiteY76" fmla="*/ 277980 h 1007635"/>
                <a:gd name="connsiteX77" fmla="*/ 615739 w 629170"/>
                <a:gd name="connsiteY77" fmla="*/ 279986 h 1007635"/>
                <a:gd name="connsiteX78" fmla="*/ 617831 w 629170"/>
                <a:gd name="connsiteY78" fmla="*/ 284660 h 1007635"/>
                <a:gd name="connsiteX79" fmla="*/ 617705 w 629170"/>
                <a:gd name="connsiteY79" fmla="*/ 288796 h 1007635"/>
                <a:gd name="connsiteX80" fmla="*/ 612257 w 629170"/>
                <a:gd name="connsiteY80" fmla="*/ 301677 h 1007635"/>
                <a:gd name="connsiteX81" fmla="*/ 597739 w 629170"/>
                <a:gd name="connsiteY81" fmla="*/ 319302 h 1007635"/>
                <a:gd name="connsiteX82" fmla="*/ 591469 w 629170"/>
                <a:gd name="connsiteY82" fmla="*/ 325561 h 1007635"/>
                <a:gd name="connsiteX83" fmla="*/ 585592 w 629170"/>
                <a:gd name="connsiteY83" fmla="*/ 332376 h 1007635"/>
                <a:gd name="connsiteX84" fmla="*/ 585598 w 629170"/>
                <a:gd name="connsiteY84" fmla="*/ 335169 h 1007635"/>
                <a:gd name="connsiteX85" fmla="*/ 585024 w 629170"/>
                <a:gd name="connsiteY85" fmla="*/ 337602 h 1007635"/>
                <a:gd name="connsiteX86" fmla="*/ 578178 w 629170"/>
                <a:gd name="connsiteY86" fmla="*/ 347333 h 1007635"/>
                <a:gd name="connsiteX87" fmla="*/ 570844 w 629170"/>
                <a:gd name="connsiteY87" fmla="*/ 348929 h 1007635"/>
                <a:gd name="connsiteX88" fmla="*/ 566765 w 629170"/>
                <a:gd name="connsiteY88" fmla="*/ 351530 h 1007635"/>
                <a:gd name="connsiteX89" fmla="*/ 569947 w 629170"/>
                <a:gd name="connsiteY89" fmla="*/ 360112 h 1007635"/>
                <a:gd name="connsiteX90" fmla="*/ 565203 w 629170"/>
                <a:gd name="connsiteY90" fmla="*/ 362089 h 1007635"/>
                <a:gd name="connsiteX91" fmla="*/ 556961 w 629170"/>
                <a:gd name="connsiteY91" fmla="*/ 368855 h 1007635"/>
                <a:gd name="connsiteX92" fmla="*/ 534271 w 629170"/>
                <a:gd name="connsiteY92" fmla="*/ 381832 h 1007635"/>
                <a:gd name="connsiteX93" fmla="*/ 530685 w 629170"/>
                <a:gd name="connsiteY93" fmla="*/ 384843 h 1007635"/>
                <a:gd name="connsiteX94" fmla="*/ 524918 w 629170"/>
                <a:gd name="connsiteY94" fmla="*/ 392814 h 1007635"/>
                <a:gd name="connsiteX95" fmla="*/ 517319 w 629170"/>
                <a:gd name="connsiteY95" fmla="*/ 394748 h 1007635"/>
                <a:gd name="connsiteX96" fmla="*/ 513095 w 629170"/>
                <a:gd name="connsiteY96" fmla="*/ 397004 h 1007635"/>
                <a:gd name="connsiteX97" fmla="*/ 505565 w 629170"/>
                <a:gd name="connsiteY97" fmla="*/ 397831 h 1007635"/>
                <a:gd name="connsiteX98" fmla="*/ 502938 w 629170"/>
                <a:gd name="connsiteY98" fmla="*/ 397253 h 1007635"/>
                <a:gd name="connsiteX99" fmla="*/ 500372 w 629170"/>
                <a:gd name="connsiteY99" fmla="*/ 397534 h 1007635"/>
                <a:gd name="connsiteX100" fmla="*/ 498202 w 629170"/>
                <a:gd name="connsiteY100" fmla="*/ 399243 h 1007635"/>
                <a:gd name="connsiteX101" fmla="*/ 483245 w 629170"/>
                <a:gd name="connsiteY101" fmla="*/ 404838 h 1007635"/>
                <a:gd name="connsiteX102" fmla="*/ 469276 w 629170"/>
                <a:gd name="connsiteY102" fmla="*/ 409269 h 1007635"/>
                <a:gd name="connsiteX103" fmla="*/ 465840 w 629170"/>
                <a:gd name="connsiteY103" fmla="*/ 411294 h 1007635"/>
                <a:gd name="connsiteX104" fmla="*/ 463550 w 629170"/>
                <a:gd name="connsiteY104" fmla="*/ 414063 h 1007635"/>
                <a:gd name="connsiteX105" fmla="*/ 451183 w 629170"/>
                <a:gd name="connsiteY105" fmla="*/ 418443 h 1007635"/>
                <a:gd name="connsiteX106" fmla="*/ 431806 w 629170"/>
                <a:gd name="connsiteY106" fmla="*/ 429280 h 1007635"/>
                <a:gd name="connsiteX107" fmla="*/ 415946 w 629170"/>
                <a:gd name="connsiteY107" fmla="*/ 439614 h 1007635"/>
                <a:gd name="connsiteX108" fmla="*/ 404461 w 629170"/>
                <a:gd name="connsiteY108" fmla="*/ 449964 h 1007635"/>
                <a:gd name="connsiteX109" fmla="*/ 401434 w 629170"/>
                <a:gd name="connsiteY109" fmla="*/ 451534 h 1007635"/>
                <a:gd name="connsiteX110" fmla="*/ 397872 w 629170"/>
                <a:gd name="connsiteY110" fmla="*/ 455109 h 1007635"/>
                <a:gd name="connsiteX111" fmla="*/ 396680 w 629170"/>
                <a:gd name="connsiteY111" fmla="*/ 460408 h 1007635"/>
                <a:gd name="connsiteX112" fmla="*/ 395517 w 629170"/>
                <a:gd name="connsiteY112" fmla="*/ 463402 h 1007635"/>
                <a:gd name="connsiteX113" fmla="*/ 387021 w 629170"/>
                <a:gd name="connsiteY113" fmla="*/ 474315 h 1007635"/>
                <a:gd name="connsiteX114" fmla="*/ 374228 w 629170"/>
                <a:gd name="connsiteY114" fmla="*/ 487225 h 1007635"/>
                <a:gd name="connsiteX115" fmla="*/ 371734 w 629170"/>
                <a:gd name="connsiteY115" fmla="*/ 490755 h 1007635"/>
                <a:gd name="connsiteX116" fmla="*/ 366650 w 629170"/>
                <a:gd name="connsiteY116" fmla="*/ 497939 h 1007635"/>
                <a:gd name="connsiteX117" fmla="*/ 366147 w 629170"/>
                <a:gd name="connsiteY117" fmla="*/ 502646 h 1007635"/>
                <a:gd name="connsiteX118" fmla="*/ 361618 w 629170"/>
                <a:gd name="connsiteY118" fmla="*/ 504081 h 1007635"/>
                <a:gd name="connsiteX119" fmla="*/ 357806 w 629170"/>
                <a:gd name="connsiteY119" fmla="*/ 499573 h 1007635"/>
                <a:gd name="connsiteX120" fmla="*/ 356193 w 629170"/>
                <a:gd name="connsiteY120" fmla="*/ 508262 h 1007635"/>
                <a:gd name="connsiteX121" fmla="*/ 353086 w 629170"/>
                <a:gd name="connsiteY121" fmla="*/ 508881 h 1007635"/>
                <a:gd name="connsiteX122" fmla="*/ 349639 w 629170"/>
                <a:gd name="connsiteY122" fmla="*/ 507100 h 1007635"/>
                <a:gd name="connsiteX123" fmla="*/ 341054 w 629170"/>
                <a:gd name="connsiteY123" fmla="*/ 511404 h 1007635"/>
                <a:gd name="connsiteX124" fmla="*/ 333570 w 629170"/>
                <a:gd name="connsiteY124" fmla="*/ 516365 h 1007635"/>
                <a:gd name="connsiteX125" fmla="*/ 321581 w 629170"/>
                <a:gd name="connsiteY125" fmla="*/ 526833 h 1007635"/>
                <a:gd name="connsiteX126" fmla="*/ 304645 w 629170"/>
                <a:gd name="connsiteY126" fmla="*/ 547117 h 1007635"/>
                <a:gd name="connsiteX127" fmla="*/ 279919 w 629170"/>
                <a:gd name="connsiteY127" fmla="*/ 566730 h 1007635"/>
                <a:gd name="connsiteX128" fmla="*/ 276541 w 629170"/>
                <a:gd name="connsiteY128" fmla="*/ 567290 h 1007635"/>
                <a:gd name="connsiteX129" fmla="*/ 274262 w 629170"/>
                <a:gd name="connsiteY129" fmla="*/ 567212 h 1007635"/>
                <a:gd name="connsiteX130" fmla="*/ 266481 w 629170"/>
                <a:gd name="connsiteY130" fmla="*/ 560382 h 1007635"/>
                <a:gd name="connsiteX131" fmla="*/ 262243 w 629170"/>
                <a:gd name="connsiteY131" fmla="*/ 559875 h 1007635"/>
                <a:gd name="connsiteX132" fmla="*/ 266036 w 629170"/>
                <a:gd name="connsiteY132" fmla="*/ 563928 h 1007635"/>
                <a:gd name="connsiteX133" fmla="*/ 268541 w 629170"/>
                <a:gd name="connsiteY133" fmla="*/ 567300 h 1007635"/>
                <a:gd name="connsiteX134" fmla="*/ 267906 w 629170"/>
                <a:gd name="connsiteY134" fmla="*/ 573922 h 1007635"/>
                <a:gd name="connsiteX135" fmla="*/ 268200 w 629170"/>
                <a:gd name="connsiteY135" fmla="*/ 583862 h 1007635"/>
                <a:gd name="connsiteX136" fmla="*/ 265128 w 629170"/>
                <a:gd name="connsiteY136" fmla="*/ 603204 h 1007635"/>
                <a:gd name="connsiteX137" fmla="*/ 265541 w 629170"/>
                <a:gd name="connsiteY137" fmla="*/ 607441 h 1007635"/>
                <a:gd name="connsiteX138" fmla="*/ 269074 w 629170"/>
                <a:gd name="connsiteY138" fmla="*/ 612929 h 1007635"/>
                <a:gd name="connsiteX139" fmla="*/ 275725 w 629170"/>
                <a:gd name="connsiteY139" fmla="*/ 619655 h 1007635"/>
                <a:gd name="connsiteX140" fmla="*/ 281960 w 629170"/>
                <a:gd name="connsiteY140" fmla="*/ 628026 h 1007635"/>
                <a:gd name="connsiteX141" fmla="*/ 289972 w 629170"/>
                <a:gd name="connsiteY141" fmla="*/ 652090 h 1007635"/>
                <a:gd name="connsiteX142" fmla="*/ 290590 w 629170"/>
                <a:gd name="connsiteY142" fmla="*/ 664486 h 1007635"/>
                <a:gd name="connsiteX143" fmla="*/ 298862 w 629170"/>
                <a:gd name="connsiteY143" fmla="*/ 680338 h 1007635"/>
                <a:gd name="connsiteX144" fmla="*/ 299173 w 629170"/>
                <a:gd name="connsiteY144" fmla="*/ 687211 h 1007635"/>
                <a:gd name="connsiteX145" fmla="*/ 302510 w 629170"/>
                <a:gd name="connsiteY145" fmla="*/ 704332 h 1007635"/>
                <a:gd name="connsiteX146" fmla="*/ 302290 w 629170"/>
                <a:gd name="connsiteY146" fmla="*/ 718196 h 1007635"/>
                <a:gd name="connsiteX147" fmla="*/ 301706 w 629170"/>
                <a:gd name="connsiteY147" fmla="*/ 726690 h 1007635"/>
                <a:gd name="connsiteX148" fmla="*/ 305692 w 629170"/>
                <a:gd name="connsiteY148" fmla="*/ 730284 h 1007635"/>
                <a:gd name="connsiteX149" fmla="*/ 307163 w 629170"/>
                <a:gd name="connsiteY149" fmla="*/ 727043 h 1007635"/>
                <a:gd name="connsiteX150" fmla="*/ 306750 w 629170"/>
                <a:gd name="connsiteY150" fmla="*/ 721670 h 1007635"/>
                <a:gd name="connsiteX151" fmla="*/ 307814 w 629170"/>
                <a:gd name="connsiteY151" fmla="*/ 713051 h 1007635"/>
                <a:gd name="connsiteX152" fmla="*/ 310037 w 629170"/>
                <a:gd name="connsiteY152" fmla="*/ 709212 h 1007635"/>
                <a:gd name="connsiteX153" fmla="*/ 312252 w 629170"/>
                <a:gd name="connsiteY153" fmla="*/ 709761 h 1007635"/>
                <a:gd name="connsiteX154" fmla="*/ 312911 w 629170"/>
                <a:gd name="connsiteY154" fmla="*/ 713827 h 1007635"/>
                <a:gd name="connsiteX155" fmla="*/ 314403 w 629170"/>
                <a:gd name="connsiteY155" fmla="*/ 717435 h 1007635"/>
                <a:gd name="connsiteX156" fmla="*/ 315005 w 629170"/>
                <a:gd name="connsiteY156" fmla="*/ 720827 h 1007635"/>
                <a:gd name="connsiteX157" fmla="*/ 315107 w 629170"/>
                <a:gd name="connsiteY157" fmla="*/ 725426 h 1007635"/>
                <a:gd name="connsiteX158" fmla="*/ 312043 w 629170"/>
                <a:gd name="connsiteY158" fmla="*/ 742938 h 1007635"/>
                <a:gd name="connsiteX159" fmla="*/ 312962 w 629170"/>
                <a:gd name="connsiteY159" fmla="*/ 750066 h 1007635"/>
                <a:gd name="connsiteX160" fmla="*/ 317087 w 629170"/>
                <a:gd name="connsiteY160" fmla="*/ 761982 h 1007635"/>
                <a:gd name="connsiteX161" fmla="*/ 312292 w 629170"/>
                <a:gd name="connsiteY161" fmla="*/ 775847 h 1007635"/>
                <a:gd name="connsiteX162" fmla="*/ 305333 w 629170"/>
                <a:gd name="connsiteY162" fmla="*/ 808541 h 1007635"/>
                <a:gd name="connsiteX163" fmla="*/ 304945 w 629170"/>
                <a:gd name="connsiteY163" fmla="*/ 814203 h 1007635"/>
                <a:gd name="connsiteX164" fmla="*/ 306630 w 629170"/>
                <a:gd name="connsiteY164" fmla="*/ 816678 h 1007635"/>
                <a:gd name="connsiteX165" fmla="*/ 310377 w 629170"/>
                <a:gd name="connsiteY165" fmla="*/ 817517 h 1007635"/>
                <a:gd name="connsiteX166" fmla="*/ 311754 w 629170"/>
                <a:gd name="connsiteY166" fmla="*/ 813341 h 1007635"/>
                <a:gd name="connsiteX167" fmla="*/ 313953 w 629170"/>
                <a:gd name="connsiteY167" fmla="*/ 813373 h 1007635"/>
                <a:gd name="connsiteX168" fmla="*/ 315107 w 629170"/>
                <a:gd name="connsiteY168" fmla="*/ 815845 h 1007635"/>
                <a:gd name="connsiteX169" fmla="*/ 312008 w 629170"/>
                <a:gd name="connsiteY169" fmla="*/ 830963 h 1007635"/>
                <a:gd name="connsiteX170" fmla="*/ 308955 w 629170"/>
                <a:gd name="connsiteY170" fmla="*/ 837595 h 1007635"/>
                <a:gd name="connsiteX171" fmla="*/ 298104 w 629170"/>
                <a:gd name="connsiteY171" fmla="*/ 853867 h 1007635"/>
                <a:gd name="connsiteX172" fmla="*/ 292246 w 629170"/>
                <a:gd name="connsiteY172" fmla="*/ 860853 h 1007635"/>
                <a:gd name="connsiteX173" fmla="*/ 282539 w 629170"/>
                <a:gd name="connsiteY173" fmla="*/ 867721 h 1007635"/>
                <a:gd name="connsiteX174" fmla="*/ 259750 w 629170"/>
                <a:gd name="connsiteY174" fmla="*/ 878464 h 1007635"/>
                <a:gd name="connsiteX175" fmla="*/ 214067 w 629170"/>
                <a:gd name="connsiteY175" fmla="*/ 894008 h 1007635"/>
                <a:gd name="connsiteX176" fmla="*/ 195947 w 629170"/>
                <a:gd name="connsiteY176" fmla="*/ 901634 h 1007635"/>
                <a:gd name="connsiteX177" fmla="*/ 185131 w 629170"/>
                <a:gd name="connsiteY177" fmla="*/ 906182 h 1007635"/>
                <a:gd name="connsiteX178" fmla="*/ 162248 w 629170"/>
                <a:gd name="connsiteY178" fmla="*/ 920676 h 1007635"/>
                <a:gd name="connsiteX179" fmla="*/ 152241 w 629170"/>
                <a:gd name="connsiteY179" fmla="*/ 930404 h 1007635"/>
                <a:gd name="connsiteX180" fmla="*/ 148119 w 629170"/>
                <a:gd name="connsiteY180" fmla="*/ 941574 h 1007635"/>
                <a:gd name="connsiteX181" fmla="*/ 144168 w 629170"/>
                <a:gd name="connsiteY181" fmla="*/ 946695 h 1007635"/>
                <a:gd name="connsiteX182" fmla="*/ 140292 w 629170"/>
                <a:gd name="connsiteY182" fmla="*/ 953177 h 1007635"/>
                <a:gd name="connsiteX183" fmla="*/ 143669 w 629170"/>
                <a:gd name="connsiteY183" fmla="*/ 958746 h 1007635"/>
                <a:gd name="connsiteX184" fmla="*/ 146991 w 629170"/>
                <a:gd name="connsiteY184" fmla="*/ 962962 h 1007635"/>
                <a:gd name="connsiteX185" fmla="*/ 150907 w 629170"/>
                <a:gd name="connsiteY185" fmla="*/ 965788 h 1007635"/>
                <a:gd name="connsiteX186" fmla="*/ 152937 w 629170"/>
                <a:gd name="connsiteY186" fmla="*/ 968220 h 1007635"/>
                <a:gd name="connsiteX187" fmla="*/ 155597 w 629170"/>
                <a:gd name="connsiteY187" fmla="*/ 969913 h 1007635"/>
                <a:gd name="connsiteX188" fmla="*/ 158276 w 629170"/>
                <a:gd name="connsiteY188" fmla="*/ 961148 h 1007635"/>
                <a:gd name="connsiteX189" fmla="*/ 159599 w 629170"/>
                <a:gd name="connsiteY189" fmla="*/ 958424 h 1007635"/>
                <a:gd name="connsiteX190" fmla="*/ 161878 w 629170"/>
                <a:gd name="connsiteY190" fmla="*/ 958215 h 1007635"/>
                <a:gd name="connsiteX191" fmla="*/ 160617 w 629170"/>
                <a:gd name="connsiteY191" fmla="*/ 968916 h 1007635"/>
                <a:gd name="connsiteX192" fmla="*/ 157986 w 629170"/>
                <a:gd name="connsiteY192" fmla="*/ 1005650 h 1007635"/>
                <a:gd name="connsiteX193" fmla="*/ 157807 w 629170"/>
                <a:gd name="connsiteY193" fmla="*/ 1006850 h 1007635"/>
                <a:gd name="connsiteX194" fmla="*/ 151317 w 629170"/>
                <a:gd name="connsiteY194" fmla="*/ 1006957 h 1007635"/>
                <a:gd name="connsiteX195" fmla="*/ 140195 w 629170"/>
                <a:gd name="connsiteY195" fmla="*/ 1007260 h 1007635"/>
                <a:gd name="connsiteX196" fmla="*/ 133617 w 629170"/>
                <a:gd name="connsiteY196" fmla="*/ 1007434 h 1007635"/>
                <a:gd name="connsiteX197" fmla="*/ 126262 w 629170"/>
                <a:gd name="connsiteY197" fmla="*/ 1007635 h 1007635"/>
                <a:gd name="connsiteX198" fmla="*/ 117144 w 629170"/>
                <a:gd name="connsiteY198" fmla="*/ 1005843 h 1007635"/>
                <a:gd name="connsiteX199" fmla="*/ 112009 w 629170"/>
                <a:gd name="connsiteY199" fmla="*/ 1006223 h 1007635"/>
                <a:gd name="connsiteX200" fmla="*/ 111597 w 629170"/>
                <a:gd name="connsiteY200" fmla="*/ 985909 h 1007635"/>
                <a:gd name="connsiteX201" fmla="*/ 109939 w 629170"/>
                <a:gd name="connsiteY201" fmla="*/ 981449 h 1007635"/>
                <a:gd name="connsiteX202" fmla="*/ 108187 w 629170"/>
                <a:gd name="connsiteY202" fmla="*/ 974932 h 1007635"/>
                <a:gd name="connsiteX203" fmla="*/ 107774 w 629170"/>
                <a:gd name="connsiteY203" fmla="*/ 970751 h 1007635"/>
                <a:gd name="connsiteX204" fmla="*/ 108875 w 629170"/>
                <a:gd name="connsiteY204" fmla="*/ 966548 h 1007635"/>
                <a:gd name="connsiteX205" fmla="*/ 109400 w 629170"/>
                <a:gd name="connsiteY205" fmla="*/ 959897 h 1007635"/>
                <a:gd name="connsiteX206" fmla="*/ 108907 w 629170"/>
                <a:gd name="connsiteY206" fmla="*/ 954080 h 1007635"/>
                <a:gd name="connsiteX207" fmla="*/ 103454 w 629170"/>
                <a:gd name="connsiteY207" fmla="*/ 951160 h 1007635"/>
                <a:gd name="connsiteX208" fmla="*/ 102256 w 629170"/>
                <a:gd name="connsiteY208" fmla="*/ 950231 h 1007635"/>
                <a:gd name="connsiteX209" fmla="*/ 101075 w 629170"/>
                <a:gd name="connsiteY209" fmla="*/ 945656 h 1007635"/>
                <a:gd name="connsiteX210" fmla="*/ 100601 w 629170"/>
                <a:gd name="connsiteY210" fmla="*/ 938603 h 1007635"/>
                <a:gd name="connsiteX211" fmla="*/ 104407 w 629170"/>
                <a:gd name="connsiteY211" fmla="*/ 929619 h 1007635"/>
                <a:gd name="connsiteX212" fmla="*/ 104102 w 629170"/>
                <a:gd name="connsiteY212" fmla="*/ 912402 h 1007635"/>
                <a:gd name="connsiteX213" fmla="*/ 104552 w 629170"/>
                <a:gd name="connsiteY213" fmla="*/ 906343 h 1007635"/>
                <a:gd name="connsiteX214" fmla="*/ 104477 w 629170"/>
                <a:gd name="connsiteY214" fmla="*/ 894378 h 1007635"/>
                <a:gd name="connsiteX215" fmla="*/ 104397 w 629170"/>
                <a:gd name="connsiteY215" fmla="*/ 879897 h 1007635"/>
                <a:gd name="connsiteX216" fmla="*/ 104327 w 629170"/>
                <a:gd name="connsiteY216" fmla="*/ 866947 h 1007635"/>
                <a:gd name="connsiteX217" fmla="*/ 104482 w 629170"/>
                <a:gd name="connsiteY217" fmla="*/ 855774 h 1007635"/>
                <a:gd name="connsiteX218" fmla="*/ 103344 w 629170"/>
                <a:gd name="connsiteY218" fmla="*/ 850484 h 1007635"/>
                <a:gd name="connsiteX219" fmla="*/ 102396 w 629170"/>
                <a:gd name="connsiteY219" fmla="*/ 847583 h 1007635"/>
                <a:gd name="connsiteX220" fmla="*/ 99873 w 629170"/>
                <a:gd name="connsiteY220" fmla="*/ 841677 h 1007635"/>
                <a:gd name="connsiteX221" fmla="*/ 96929 w 629170"/>
                <a:gd name="connsiteY221" fmla="*/ 829375 h 1007635"/>
                <a:gd name="connsiteX222" fmla="*/ 93452 w 629170"/>
                <a:gd name="connsiteY222" fmla="*/ 820093 h 1007635"/>
                <a:gd name="connsiteX223" fmla="*/ 88976 w 629170"/>
                <a:gd name="connsiteY223" fmla="*/ 813973 h 1007635"/>
                <a:gd name="connsiteX224" fmla="*/ 87554 w 629170"/>
                <a:gd name="connsiteY224" fmla="*/ 810748 h 1007635"/>
                <a:gd name="connsiteX225" fmla="*/ 86108 w 629170"/>
                <a:gd name="connsiteY225" fmla="*/ 806436 h 1007635"/>
                <a:gd name="connsiteX226" fmla="*/ 81873 w 629170"/>
                <a:gd name="connsiteY226" fmla="*/ 798845 h 1007635"/>
                <a:gd name="connsiteX227" fmla="*/ 78409 w 629170"/>
                <a:gd name="connsiteY227" fmla="*/ 794425 h 1007635"/>
                <a:gd name="connsiteX228" fmla="*/ 77467 w 629170"/>
                <a:gd name="connsiteY228" fmla="*/ 790889 h 1007635"/>
                <a:gd name="connsiteX229" fmla="*/ 77587 w 629170"/>
                <a:gd name="connsiteY229" fmla="*/ 781742 h 1007635"/>
                <a:gd name="connsiteX230" fmla="*/ 73735 w 629170"/>
                <a:gd name="connsiteY230" fmla="*/ 765328 h 1007635"/>
                <a:gd name="connsiteX231" fmla="*/ 70931 w 629170"/>
                <a:gd name="connsiteY231" fmla="*/ 753374 h 1007635"/>
                <a:gd name="connsiteX232" fmla="*/ 66707 w 629170"/>
                <a:gd name="connsiteY232" fmla="*/ 740436 h 1007635"/>
                <a:gd name="connsiteX233" fmla="*/ 63873 w 629170"/>
                <a:gd name="connsiteY233" fmla="*/ 731779 h 1007635"/>
                <a:gd name="connsiteX234" fmla="*/ 63458 w 629170"/>
                <a:gd name="connsiteY234" fmla="*/ 730290 h 1007635"/>
                <a:gd name="connsiteX235" fmla="*/ 63144 w 629170"/>
                <a:gd name="connsiteY235" fmla="*/ 727014 h 1007635"/>
                <a:gd name="connsiteX236" fmla="*/ 71531 w 629170"/>
                <a:gd name="connsiteY236" fmla="*/ 720588 h 1007635"/>
                <a:gd name="connsiteX237" fmla="*/ 79941 w 629170"/>
                <a:gd name="connsiteY237" fmla="*/ 711551 h 1007635"/>
                <a:gd name="connsiteX238" fmla="*/ 89788 w 629170"/>
                <a:gd name="connsiteY238" fmla="*/ 700978 h 1007635"/>
                <a:gd name="connsiteX239" fmla="*/ 98565 w 629170"/>
                <a:gd name="connsiteY239" fmla="*/ 691545 h 1007635"/>
                <a:gd name="connsiteX240" fmla="*/ 106288 w 629170"/>
                <a:gd name="connsiteY240" fmla="*/ 683260 h 1007635"/>
                <a:gd name="connsiteX241" fmla="*/ 116855 w 629170"/>
                <a:gd name="connsiteY241" fmla="*/ 671932 h 1007635"/>
                <a:gd name="connsiteX242" fmla="*/ 127301 w 629170"/>
                <a:gd name="connsiteY242" fmla="*/ 660739 h 1007635"/>
                <a:gd name="connsiteX243" fmla="*/ 129749 w 629170"/>
                <a:gd name="connsiteY243" fmla="*/ 659311 h 1007635"/>
                <a:gd name="connsiteX244" fmla="*/ 130778 w 629170"/>
                <a:gd name="connsiteY244" fmla="*/ 658398 h 1007635"/>
                <a:gd name="connsiteX245" fmla="*/ 126267 w 629170"/>
                <a:gd name="connsiteY245" fmla="*/ 648458 h 1007635"/>
                <a:gd name="connsiteX246" fmla="*/ 133526 w 629170"/>
                <a:gd name="connsiteY246" fmla="*/ 636918 h 1007635"/>
                <a:gd name="connsiteX247" fmla="*/ 133920 w 629170"/>
                <a:gd name="connsiteY247" fmla="*/ 629426 h 1007635"/>
                <a:gd name="connsiteX248" fmla="*/ 133612 w 629170"/>
                <a:gd name="connsiteY248" fmla="*/ 622261 h 1007635"/>
                <a:gd name="connsiteX249" fmla="*/ 134485 w 629170"/>
                <a:gd name="connsiteY249" fmla="*/ 618972 h 1007635"/>
                <a:gd name="connsiteX250" fmla="*/ 136673 w 629170"/>
                <a:gd name="connsiteY250" fmla="*/ 616087 h 1007635"/>
                <a:gd name="connsiteX251" fmla="*/ 145156 w 629170"/>
                <a:gd name="connsiteY251" fmla="*/ 610098 h 1007635"/>
                <a:gd name="connsiteX252" fmla="*/ 151571 w 629170"/>
                <a:gd name="connsiteY252" fmla="*/ 600557 h 1007635"/>
                <a:gd name="connsiteX253" fmla="*/ 156829 w 629170"/>
                <a:gd name="connsiteY253" fmla="*/ 591654 h 1007635"/>
                <a:gd name="connsiteX254" fmla="*/ 164123 w 629170"/>
                <a:gd name="connsiteY254" fmla="*/ 577334 h 1007635"/>
                <a:gd name="connsiteX255" fmla="*/ 164841 w 629170"/>
                <a:gd name="connsiteY255" fmla="*/ 573964 h 1007635"/>
                <a:gd name="connsiteX256" fmla="*/ 164951 w 629170"/>
                <a:gd name="connsiteY256" fmla="*/ 570493 h 1007635"/>
                <a:gd name="connsiteX257" fmla="*/ 162931 w 629170"/>
                <a:gd name="connsiteY257" fmla="*/ 565666 h 1007635"/>
                <a:gd name="connsiteX258" fmla="*/ 158061 w 629170"/>
                <a:gd name="connsiteY258" fmla="*/ 557826 h 1007635"/>
                <a:gd name="connsiteX259" fmla="*/ 154526 w 629170"/>
                <a:gd name="connsiteY259" fmla="*/ 551068 h 1007635"/>
                <a:gd name="connsiteX260" fmla="*/ 151381 w 629170"/>
                <a:gd name="connsiteY260" fmla="*/ 540651 h 1007635"/>
                <a:gd name="connsiteX261" fmla="*/ 154539 w 629170"/>
                <a:gd name="connsiteY261" fmla="*/ 531595 h 1007635"/>
                <a:gd name="connsiteX262" fmla="*/ 155667 w 629170"/>
                <a:gd name="connsiteY262" fmla="*/ 526131 h 1007635"/>
                <a:gd name="connsiteX263" fmla="*/ 155653 w 629170"/>
                <a:gd name="connsiteY263" fmla="*/ 523182 h 1007635"/>
                <a:gd name="connsiteX264" fmla="*/ 154255 w 629170"/>
                <a:gd name="connsiteY264" fmla="*/ 520380 h 1007635"/>
                <a:gd name="connsiteX265" fmla="*/ 150703 w 629170"/>
                <a:gd name="connsiteY265" fmla="*/ 518264 h 1007635"/>
                <a:gd name="connsiteX266" fmla="*/ 147760 w 629170"/>
                <a:gd name="connsiteY266" fmla="*/ 516885 h 1007635"/>
                <a:gd name="connsiteX267" fmla="*/ 146766 w 629170"/>
                <a:gd name="connsiteY267" fmla="*/ 513145 h 1007635"/>
                <a:gd name="connsiteX268" fmla="*/ 146736 w 629170"/>
                <a:gd name="connsiteY268" fmla="*/ 508702 h 1007635"/>
                <a:gd name="connsiteX269" fmla="*/ 148084 w 629170"/>
                <a:gd name="connsiteY269" fmla="*/ 506245 h 1007635"/>
                <a:gd name="connsiteX270" fmla="*/ 155932 w 629170"/>
                <a:gd name="connsiteY270" fmla="*/ 502273 h 1007635"/>
                <a:gd name="connsiteX271" fmla="*/ 157713 w 629170"/>
                <a:gd name="connsiteY271" fmla="*/ 500120 h 1007635"/>
                <a:gd name="connsiteX272" fmla="*/ 158645 w 629170"/>
                <a:gd name="connsiteY272" fmla="*/ 497701 h 1007635"/>
                <a:gd name="connsiteX273" fmla="*/ 158726 w 629170"/>
                <a:gd name="connsiteY273" fmla="*/ 494256 h 1007635"/>
                <a:gd name="connsiteX274" fmla="*/ 161144 w 629170"/>
                <a:gd name="connsiteY274" fmla="*/ 485664 h 1007635"/>
                <a:gd name="connsiteX275" fmla="*/ 164139 w 629170"/>
                <a:gd name="connsiteY275" fmla="*/ 477513 h 1007635"/>
                <a:gd name="connsiteX276" fmla="*/ 164337 w 629170"/>
                <a:gd name="connsiteY276" fmla="*/ 474636 h 1007635"/>
                <a:gd name="connsiteX277" fmla="*/ 163279 w 629170"/>
                <a:gd name="connsiteY277" fmla="*/ 472121 h 1007635"/>
                <a:gd name="connsiteX278" fmla="*/ 162457 w 629170"/>
                <a:gd name="connsiteY278" fmla="*/ 467519 h 1007635"/>
                <a:gd name="connsiteX279" fmla="*/ 161918 w 629170"/>
                <a:gd name="connsiteY279" fmla="*/ 460582 h 1007635"/>
                <a:gd name="connsiteX280" fmla="*/ 161868 w 629170"/>
                <a:gd name="connsiteY280" fmla="*/ 441173 h 1007635"/>
                <a:gd name="connsiteX281" fmla="*/ 163410 w 629170"/>
                <a:gd name="connsiteY281" fmla="*/ 421148 h 1007635"/>
                <a:gd name="connsiteX282" fmla="*/ 162735 w 629170"/>
                <a:gd name="connsiteY282" fmla="*/ 409804 h 1007635"/>
                <a:gd name="connsiteX283" fmla="*/ 157702 w 629170"/>
                <a:gd name="connsiteY283" fmla="*/ 396771 h 1007635"/>
                <a:gd name="connsiteX284" fmla="*/ 157223 w 629170"/>
                <a:gd name="connsiteY284" fmla="*/ 387377 h 1007635"/>
                <a:gd name="connsiteX285" fmla="*/ 160871 w 629170"/>
                <a:gd name="connsiteY285" fmla="*/ 380823 h 1007635"/>
                <a:gd name="connsiteX286" fmla="*/ 161474 w 629170"/>
                <a:gd name="connsiteY286" fmla="*/ 376947 h 1007635"/>
                <a:gd name="connsiteX287" fmla="*/ 158801 w 629170"/>
                <a:gd name="connsiteY287" fmla="*/ 376451 h 1007635"/>
                <a:gd name="connsiteX288" fmla="*/ 153312 w 629170"/>
                <a:gd name="connsiteY288" fmla="*/ 376055 h 1007635"/>
                <a:gd name="connsiteX289" fmla="*/ 149257 w 629170"/>
                <a:gd name="connsiteY289" fmla="*/ 374836 h 1007635"/>
                <a:gd name="connsiteX290" fmla="*/ 142981 w 629170"/>
                <a:gd name="connsiteY290" fmla="*/ 369468 h 1007635"/>
                <a:gd name="connsiteX291" fmla="*/ 132090 w 629170"/>
                <a:gd name="connsiteY291" fmla="*/ 364982 h 1007635"/>
                <a:gd name="connsiteX292" fmla="*/ 119731 w 629170"/>
                <a:gd name="connsiteY292" fmla="*/ 360908 h 1007635"/>
                <a:gd name="connsiteX293" fmla="*/ 101758 w 629170"/>
                <a:gd name="connsiteY293" fmla="*/ 359694 h 1007635"/>
                <a:gd name="connsiteX294" fmla="*/ 86820 w 629170"/>
                <a:gd name="connsiteY294" fmla="*/ 346644 h 1007635"/>
                <a:gd name="connsiteX295" fmla="*/ 75107 w 629170"/>
                <a:gd name="connsiteY295" fmla="*/ 344550 h 1007635"/>
                <a:gd name="connsiteX296" fmla="*/ 71335 w 629170"/>
                <a:gd name="connsiteY296" fmla="*/ 342889 h 1007635"/>
                <a:gd name="connsiteX297" fmla="*/ 60085 w 629170"/>
                <a:gd name="connsiteY297" fmla="*/ 335068 h 1007635"/>
                <a:gd name="connsiteX298" fmla="*/ 42469 w 629170"/>
                <a:gd name="connsiteY298" fmla="*/ 334344 h 1007635"/>
                <a:gd name="connsiteX299" fmla="*/ 24190 w 629170"/>
                <a:gd name="connsiteY299" fmla="*/ 333586 h 1007635"/>
                <a:gd name="connsiteX300" fmla="*/ 12796 w 629170"/>
                <a:gd name="connsiteY300" fmla="*/ 333348 h 1007635"/>
                <a:gd name="connsiteX301" fmla="*/ 11111 w 629170"/>
                <a:gd name="connsiteY301" fmla="*/ 332309 h 1007635"/>
                <a:gd name="connsiteX302" fmla="*/ 10447 w 629170"/>
                <a:gd name="connsiteY302" fmla="*/ 321536 h 1007635"/>
                <a:gd name="connsiteX303" fmla="*/ 10326 w 629170"/>
                <a:gd name="connsiteY303" fmla="*/ 311965 h 1007635"/>
                <a:gd name="connsiteX304" fmla="*/ 9364 w 629170"/>
                <a:gd name="connsiteY304" fmla="*/ 303643 h 1007635"/>
                <a:gd name="connsiteX305" fmla="*/ 7629 w 629170"/>
                <a:gd name="connsiteY305" fmla="*/ 294174 h 1007635"/>
                <a:gd name="connsiteX306" fmla="*/ 4969 w 629170"/>
                <a:gd name="connsiteY306" fmla="*/ 290489 h 1007635"/>
                <a:gd name="connsiteX307" fmla="*/ 1800 w 629170"/>
                <a:gd name="connsiteY307" fmla="*/ 284084 h 1007635"/>
                <a:gd name="connsiteX308" fmla="*/ 190 w 629170"/>
                <a:gd name="connsiteY308" fmla="*/ 277040 h 1007635"/>
                <a:gd name="connsiteX309" fmla="*/ 0 w 629170"/>
                <a:gd name="connsiteY309" fmla="*/ 273627 h 1007635"/>
                <a:gd name="connsiteX310" fmla="*/ 598 w 629170"/>
                <a:gd name="connsiteY310" fmla="*/ 272403 h 1007635"/>
                <a:gd name="connsiteX311" fmla="*/ 13286 w 629170"/>
                <a:gd name="connsiteY311" fmla="*/ 267389 h 1007635"/>
                <a:gd name="connsiteX312" fmla="*/ 18713 w 629170"/>
                <a:gd name="connsiteY312" fmla="*/ 264906 h 1007635"/>
                <a:gd name="connsiteX313" fmla="*/ 26746 w 629170"/>
                <a:gd name="connsiteY313" fmla="*/ 262040 h 1007635"/>
                <a:gd name="connsiteX314" fmla="*/ 41068 w 629170"/>
                <a:gd name="connsiteY314" fmla="*/ 258057 h 1007635"/>
                <a:gd name="connsiteX315" fmla="*/ 53844 w 629170"/>
                <a:gd name="connsiteY315" fmla="*/ 254508 h 1007635"/>
                <a:gd name="connsiteX316" fmla="*/ 65552 w 629170"/>
                <a:gd name="connsiteY316" fmla="*/ 251063 h 1007635"/>
                <a:gd name="connsiteX317" fmla="*/ 77951 w 629170"/>
                <a:gd name="connsiteY317" fmla="*/ 247401 h 1007635"/>
                <a:gd name="connsiteX318" fmla="*/ 82995 w 629170"/>
                <a:gd name="connsiteY318" fmla="*/ 244956 h 1007635"/>
                <a:gd name="connsiteX319" fmla="*/ 89266 w 629170"/>
                <a:gd name="connsiteY319" fmla="*/ 242500 h 1007635"/>
                <a:gd name="connsiteX320" fmla="*/ 104263 w 629170"/>
                <a:gd name="connsiteY320" fmla="*/ 237563 h 1007635"/>
                <a:gd name="connsiteX321" fmla="*/ 108551 w 629170"/>
                <a:gd name="connsiteY321" fmla="*/ 235876 h 1007635"/>
                <a:gd name="connsiteX322" fmla="*/ 117163 w 629170"/>
                <a:gd name="connsiteY322" fmla="*/ 233114 h 1007635"/>
                <a:gd name="connsiteX323" fmla="*/ 121483 w 629170"/>
                <a:gd name="connsiteY323" fmla="*/ 232037 h 1007635"/>
                <a:gd name="connsiteX324" fmla="*/ 138090 w 629170"/>
                <a:gd name="connsiteY324" fmla="*/ 226391 h 1007635"/>
                <a:gd name="connsiteX325" fmla="*/ 157118 w 629170"/>
                <a:gd name="connsiteY325" fmla="*/ 219920 h 1007635"/>
                <a:gd name="connsiteX326" fmla="*/ 163788 w 629170"/>
                <a:gd name="connsiteY326" fmla="*/ 217656 h 1007635"/>
                <a:gd name="connsiteX327" fmla="*/ 176500 w 629170"/>
                <a:gd name="connsiteY327" fmla="*/ 213333 h 1007635"/>
                <a:gd name="connsiteX328" fmla="*/ 178975 w 629170"/>
                <a:gd name="connsiteY328" fmla="*/ 215125 h 1007635"/>
                <a:gd name="connsiteX329" fmla="*/ 187646 w 629170"/>
                <a:gd name="connsiteY329" fmla="*/ 230010 h 1007635"/>
                <a:gd name="connsiteX330" fmla="*/ 194476 w 629170"/>
                <a:gd name="connsiteY330" fmla="*/ 238750 h 1007635"/>
                <a:gd name="connsiteX331" fmla="*/ 202244 w 629170"/>
                <a:gd name="connsiteY331" fmla="*/ 246858 h 1007635"/>
                <a:gd name="connsiteX332" fmla="*/ 203540 w 629170"/>
                <a:gd name="connsiteY332" fmla="*/ 246461 h 1007635"/>
                <a:gd name="connsiteX333" fmla="*/ 205780 w 629170"/>
                <a:gd name="connsiteY333" fmla="*/ 244565 h 1007635"/>
                <a:gd name="connsiteX334" fmla="*/ 209647 w 629170"/>
                <a:gd name="connsiteY334" fmla="*/ 243780 h 1007635"/>
                <a:gd name="connsiteX335" fmla="*/ 221993 w 629170"/>
                <a:gd name="connsiteY335" fmla="*/ 241956 h 1007635"/>
                <a:gd name="connsiteX336" fmla="*/ 226707 w 629170"/>
                <a:gd name="connsiteY336" fmla="*/ 241844 h 1007635"/>
                <a:gd name="connsiteX337" fmla="*/ 229812 w 629170"/>
                <a:gd name="connsiteY337" fmla="*/ 239671 h 1007635"/>
                <a:gd name="connsiteX338" fmla="*/ 236144 w 629170"/>
                <a:gd name="connsiteY338" fmla="*/ 238123 h 1007635"/>
                <a:gd name="connsiteX339" fmla="*/ 243472 w 629170"/>
                <a:gd name="connsiteY339" fmla="*/ 237210 h 1007635"/>
                <a:gd name="connsiteX340" fmla="*/ 245990 w 629170"/>
                <a:gd name="connsiteY340" fmla="*/ 238190 h 1007635"/>
                <a:gd name="connsiteX341" fmla="*/ 253704 w 629170"/>
                <a:gd name="connsiteY341" fmla="*/ 248671 h 1007635"/>
                <a:gd name="connsiteX342" fmla="*/ 254821 w 629170"/>
                <a:gd name="connsiteY342" fmla="*/ 256693 h 1007635"/>
                <a:gd name="connsiteX343" fmla="*/ 256423 w 629170"/>
                <a:gd name="connsiteY343" fmla="*/ 268289 h 1007635"/>
                <a:gd name="connsiteX344" fmla="*/ 256806 w 629170"/>
                <a:gd name="connsiteY344" fmla="*/ 273954 h 1007635"/>
                <a:gd name="connsiteX345" fmla="*/ 256677 w 629170"/>
                <a:gd name="connsiteY345" fmla="*/ 281523 h 1007635"/>
                <a:gd name="connsiteX346" fmla="*/ 255810 w 629170"/>
                <a:gd name="connsiteY346" fmla="*/ 290998 h 1007635"/>
                <a:gd name="connsiteX347" fmla="*/ 249542 w 629170"/>
                <a:gd name="connsiteY347" fmla="*/ 301902 h 1007635"/>
                <a:gd name="connsiteX348" fmla="*/ 248344 w 629170"/>
                <a:gd name="connsiteY348" fmla="*/ 307339 h 1007635"/>
                <a:gd name="connsiteX349" fmla="*/ 244983 w 629170"/>
                <a:gd name="connsiteY349" fmla="*/ 315739 h 1007635"/>
                <a:gd name="connsiteX350" fmla="*/ 240542 w 629170"/>
                <a:gd name="connsiteY350" fmla="*/ 319878 h 1007635"/>
                <a:gd name="connsiteX351" fmla="*/ 238356 w 629170"/>
                <a:gd name="connsiteY351" fmla="*/ 323271 h 1007635"/>
                <a:gd name="connsiteX352" fmla="*/ 238482 w 629170"/>
                <a:gd name="connsiteY352" fmla="*/ 326799 h 1007635"/>
                <a:gd name="connsiteX353" fmla="*/ 240853 w 629170"/>
                <a:gd name="connsiteY353" fmla="*/ 329753 h 1007635"/>
                <a:gd name="connsiteX354" fmla="*/ 246046 w 629170"/>
                <a:gd name="connsiteY354" fmla="*/ 335073 h 1007635"/>
                <a:gd name="connsiteX355" fmla="*/ 247651 w 629170"/>
                <a:gd name="connsiteY355" fmla="*/ 338510 h 1007635"/>
                <a:gd name="connsiteX356" fmla="*/ 247182 w 629170"/>
                <a:gd name="connsiteY356" fmla="*/ 341582 h 1007635"/>
                <a:gd name="connsiteX357" fmla="*/ 247203 w 629170"/>
                <a:gd name="connsiteY357" fmla="*/ 345736 h 1007635"/>
                <a:gd name="connsiteX358" fmla="*/ 248441 w 629170"/>
                <a:gd name="connsiteY358" fmla="*/ 348626 h 1007635"/>
                <a:gd name="connsiteX359" fmla="*/ 249917 w 629170"/>
                <a:gd name="connsiteY359" fmla="*/ 350306 h 1007635"/>
                <a:gd name="connsiteX360" fmla="*/ 255060 w 629170"/>
                <a:gd name="connsiteY360" fmla="*/ 353027 h 1007635"/>
                <a:gd name="connsiteX361" fmla="*/ 260068 w 629170"/>
                <a:gd name="connsiteY361" fmla="*/ 359860 h 1007635"/>
                <a:gd name="connsiteX362" fmla="*/ 268720 w 629170"/>
                <a:gd name="connsiteY362" fmla="*/ 368108 h 1007635"/>
                <a:gd name="connsiteX363" fmla="*/ 279062 w 629170"/>
                <a:gd name="connsiteY363" fmla="*/ 379872 h 1007635"/>
                <a:gd name="connsiteX364" fmla="*/ 283916 w 629170"/>
                <a:gd name="connsiteY364" fmla="*/ 383474 h 1007635"/>
                <a:gd name="connsiteX365" fmla="*/ 287738 w 629170"/>
                <a:gd name="connsiteY365" fmla="*/ 384350 h 1007635"/>
                <a:gd name="connsiteX366" fmla="*/ 289648 w 629170"/>
                <a:gd name="connsiteY366" fmla="*/ 388288 h 1007635"/>
                <a:gd name="connsiteX367" fmla="*/ 288590 w 629170"/>
                <a:gd name="connsiteY367" fmla="*/ 392873 h 1007635"/>
                <a:gd name="connsiteX368" fmla="*/ 285611 w 629170"/>
                <a:gd name="connsiteY368" fmla="*/ 395498 h 1007635"/>
                <a:gd name="connsiteX369" fmla="*/ 286835 w 629170"/>
                <a:gd name="connsiteY369" fmla="*/ 399259 h 1007635"/>
                <a:gd name="connsiteX370" fmla="*/ 288520 w 629170"/>
                <a:gd name="connsiteY370" fmla="*/ 401230 h 1007635"/>
                <a:gd name="connsiteX371" fmla="*/ 290387 w 629170"/>
                <a:gd name="connsiteY371" fmla="*/ 402224 h 1007635"/>
                <a:gd name="connsiteX372" fmla="*/ 294935 w 629170"/>
                <a:gd name="connsiteY372" fmla="*/ 402457 h 1007635"/>
                <a:gd name="connsiteX373" fmla="*/ 299151 w 629170"/>
                <a:gd name="connsiteY373" fmla="*/ 401688 h 1007635"/>
                <a:gd name="connsiteX374" fmla="*/ 300209 w 629170"/>
                <a:gd name="connsiteY374" fmla="*/ 400379 h 1007635"/>
                <a:gd name="connsiteX375" fmla="*/ 299660 w 629170"/>
                <a:gd name="connsiteY375" fmla="*/ 382762 h 1007635"/>
                <a:gd name="connsiteX376" fmla="*/ 296617 w 629170"/>
                <a:gd name="connsiteY376" fmla="*/ 372500 h 1007635"/>
                <a:gd name="connsiteX377" fmla="*/ 293569 w 629170"/>
                <a:gd name="connsiteY377" fmla="*/ 368488 h 1007635"/>
                <a:gd name="connsiteX378" fmla="*/ 292910 w 629170"/>
                <a:gd name="connsiteY378" fmla="*/ 367692 h 1007635"/>
                <a:gd name="connsiteX379" fmla="*/ 293979 w 629170"/>
                <a:gd name="connsiteY379" fmla="*/ 364323 h 1007635"/>
                <a:gd name="connsiteX380" fmla="*/ 297386 w 629170"/>
                <a:gd name="connsiteY380" fmla="*/ 356445 h 1007635"/>
                <a:gd name="connsiteX381" fmla="*/ 300273 w 629170"/>
                <a:gd name="connsiteY381" fmla="*/ 348651 h 1007635"/>
                <a:gd name="connsiteX382" fmla="*/ 302106 w 629170"/>
                <a:gd name="connsiteY382" fmla="*/ 345369 h 1007635"/>
                <a:gd name="connsiteX383" fmla="*/ 304240 w 629170"/>
                <a:gd name="connsiteY383" fmla="*/ 343387 h 1007635"/>
                <a:gd name="connsiteX384" fmla="*/ 318504 w 629170"/>
                <a:gd name="connsiteY384" fmla="*/ 341279 h 1007635"/>
                <a:gd name="connsiteX385" fmla="*/ 324994 w 629170"/>
                <a:gd name="connsiteY385" fmla="*/ 339452 h 1007635"/>
                <a:gd name="connsiteX386" fmla="*/ 327739 w 629170"/>
                <a:gd name="connsiteY386" fmla="*/ 337173 h 1007635"/>
                <a:gd name="connsiteX387" fmla="*/ 329869 w 629170"/>
                <a:gd name="connsiteY387" fmla="*/ 331125 h 1007635"/>
                <a:gd name="connsiteX388" fmla="*/ 331570 w 629170"/>
                <a:gd name="connsiteY388" fmla="*/ 314229 h 1007635"/>
                <a:gd name="connsiteX389" fmla="*/ 332183 w 629170"/>
                <a:gd name="connsiteY389" fmla="*/ 298374 h 1007635"/>
                <a:gd name="connsiteX390" fmla="*/ 330707 w 629170"/>
                <a:gd name="connsiteY390" fmla="*/ 289080 h 1007635"/>
                <a:gd name="connsiteX391" fmla="*/ 332756 w 629170"/>
                <a:gd name="connsiteY391" fmla="*/ 275090 h 1007635"/>
                <a:gd name="connsiteX392" fmla="*/ 335885 w 629170"/>
                <a:gd name="connsiteY392" fmla="*/ 266438 h 1007635"/>
                <a:gd name="connsiteX393" fmla="*/ 334342 w 629170"/>
                <a:gd name="connsiteY393" fmla="*/ 264742 h 1007635"/>
                <a:gd name="connsiteX394" fmla="*/ 333182 w 629170"/>
                <a:gd name="connsiteY394" fmla="*/ 253072 h 1007635"/>
                <a:gd name="connsiteX395" fmla="*/ 323901 w 629170"/>
                <a:gd name="connsiteY395" fmla="*/ 240652 h 1007635"/>
                <a:gd name="connsiteX396" fmla="*/ 311938 w 629170"/>
                <a:gd name="connsiteY396" fmla="*/ 224669 h 1007635"/>
                <a:gd name="connsiteX397" fmla="*/ 305264 w 629170"/>
                <a:gd name="connsiteY397" fmla="*/ 216068 h 1007635"/>
                <a:gd name="connsiteX398" fmla="*/ 297665 w 629170"/>
                <a:gd name="connsiteY398" fmla="*/ 206299 h 1007635"/>
                <a:gd name="connsiteX399" fmla="*/ 283827 w 629170"/>
                <a:gd name="connsiteY399" fmla="*/ 191007 h 1007635"/>
                <a:gd name="connsiteX400" fmla="*/ 277490 w 629170"/>
                <a:gd name="connsiteY400" fmla="*/ 185471 h 1007635"/>
                <a:gd name="connsiteX401" fmla="*/ 274152 w 629170"/>
                <a:gd name="connsiteY401" fmla="*/ 183323 h 1007635"/>
                <a:gd name="connsiteX402" fmla="*/ 262967 w 629170"/>
                <a:gd name="connsiteY402" fmla="*/ 181555 h 1007635"/>
                <a:gd name="connsiteX403" fmla="*/ 259999 w 629170"/>
                <a:gd name="connsiteY403" fmla="*/ 178611 h 1007635"/>
                <a:gd name="connsiteX404" fmla="*/ 257165 w 629170"/>
                <a:gd name="connsiteY404" fmla="*/ 173926 h 1007635"/>
                <a:gd name="connsiteX405" fmla="*/ 256099 w 629170"/>
                <a:gd name="connsiteY405" fmla="*/ 165259 h 1007635"/>
                <a:gd name="connsiteX406" fmla="*/ 255914 w 629170"/>
                <a:gd name="connsiteY406" fmla="*/ 158774 h 1007635"/>
                <a:gd name="connsiteX407" fmla="*/ 254652 w 629170"/>
                <a:gd name="connsiteY407" fmla="*/ 147760 h 1007635"/>
                <a:gd name="connsiteX408" fmla="*/ 252381 w 629170"/>
                <a:gd name="connsiteY408" fmla="*/ 132173 h 1007635"/>
                <a:gd name="connsiteX409" fmla="*/ 251369 w 629170"/>
                <a:gd name="connsiteY409" fmla="*/ 127595 h 1007635"/>
                <a:gd name="connsiteX410" fmla="*/ 248186 w 629170"/>
                <a:gd name="connsiteY410" fmla="*/ 115880 h 1007635"/>
                <a:gd name="connsiteX411" fmla="*/ 245152 w 629170"/>
                <a:gd name="connsiteY411" fmla="*/ 104737 h 1007635"/>
                <a:gd name="connsiteX412" fmla="*/ 244972 w 629170"/>
                <a:gd name="connsiteY412" fmla="*/ 101983 h 1007635"/>
                <a:gd name="connsiteX413" fmla="*/ 246046 w 629170"/>
                <a:gd name="connsiteY413" fmla="*/ 99307 h 1007635"/>
                <a:gd name="connsiteX414" fmla="*/ 251194 w 629170"/>
                <a:gd name="connsiteY414" fmla="*/ 91111 h 1007635"/>
                <a:gd name="connsiteX415" fmla="*/ 254861 w 629170"/>
                <a:gd name="connsiteY415" fmla="*/ 85299 h 1007635"/>
                <a:gd name="connsiteX416" fmla="*/ 256586 w 629170"/>
                <a:gd name="connsiteY416" fmla="*/ 82122 h 1007635"/>
                <a:gd name="connsiteX417" fmla="*/ 259685 w 629170"/>
                <a:gd name="connsiteY417" fmla="*/ 73473 h 1007635"/>
                <a:gd name="connsiteX418" fmla="*/ 260414 w 629170"/>
                <a:gd name="connsiteY418" fmla="*/ 69281 h 1007635"/>
                <a:gd name="connsiteX419" fmla="*/ 262843 w 629170"/>
                <a:gd name="connsiteY419" fmla="*/ 67390 h 1007635"/>
                <a:gd name="connsiteX420" fmla="*/ 272735 w 629170"/>
                <a:gd name="connsiteY420" fmla="*/ 66610 h 1007635"/>
                <a:gd name="connsiteX421" fmla="*/ 280608 w 629170"/>
                <a:gd name="connsiteY421" fmla="*/ 66755 h 1007635"/>
                <a:gd name="connsiteX422" fmla="*/ 293823 w 629170"/>
                <a:gd name="connsiteY422" fmla="*/ 66557 h 1007635"/>
                <a:gd name="connsiteX423" fmla="*/ 307781 w 629170"/>
                <a:gd name="connsiteY423" fmla="*/ 67060 h 1007635"/>
                <a:gd name="connsiteX424" fmla="*/ 309742 w 629170"/>
                <a:gd name="connsiteY424" fmla="*/ 67443 h 1007635"/>
                <a:gd name="connsiteX425" fmla="*/ 312881 w 629170"/>
                <a:gd name="connsiteY425" fmla="*/ 68357 h 1007635"/>
                <a:gd name="connsiteX426" fmla="*/ 316433 w 629170"/>
                <a:gd name="connsiteY426" fmla="*/ 68209 h 1007635"/>
                <a:gd name="connsiteX427" fmla="*/ 320379 w 629170"/>
                <a:gd name="connsiteY427" fmla="*/ 66991 h 1007635"/>
                <a:gd name="connsiteX428" fmla="*/ 324745 w 629170"/>
                <a:gd name="connsiteY428" fmla="*/ 63996 h 1007635"/>
                <a:gd name="connsiteX429" fmla="*/ 329529 w 629170"/>
                <a:gd name="connsiteY429" fmla="*/ 59244 h 1007635"/>
                <a:gd name="connsiteX430" fmla="*/ 336983 w 629170"/>
                <a:gd name="connsiteY430" fmla="*/ 59351 h 1007635"/>
                <a:gd name="connsiteX431" fmla="*/ 347105 w 629170"/>
                <a:gd name="connsiteY431" fmla="*/ 64307 h 1007635"/>
                <a:gd name="connsiteX432" fmla="*/ 352628 w 629170"/>
                <a:gd name="connsiteY432" fmla="*/ 68625 h 1007635"/>
                <a:gd name="connsiteX433" fmla="*/ 353566 w 629170"/>
                <a:gd name="connsiteY433" fmla="*/ 72313 h 1007635"/>
                <a:gd name="connsiteX434" fmla="*/ 360340 w 629170"/>
                <a:gd name="connsiteY434" fmla="*/ 74453 h 1007635"/>
                <a:gd name="connsiteX435" fmla="*/ 372953 w 629170"/>
                <a:gd name="connsiteY435" fmla="*/ 75045 h 1007635"/>
                <a:gd name="connsiteX436" fmla="*/ 382146 w 629170"/>
                <a:gd name="connsiteY436" fmla="*/ 73127 h 1007635"/>
                <a:gd name="connsiteX437" fmla="*/ 387907 w 629170"/>
                <a:gd name="connsiteY437" fmla="*/ 68692 h 1007635"/>
                <a:gd name="connsiteX438" fmla="*/ 393921 w 629170"/>
                <a:gd name="connsiteY438" fmla="*/ 66345 h 1007635"/>
                <a:gd name="connsiteX439" fmla="*/ 400215 w 629170"/>
                <a:gd name="connsiteY439" fmla="*/ 66088 h 1007635"/>
                <a:gd name="connsiteX440" fmla="*/ 404970 w 629170"/>
                <a:gd name="connsiteY440" fmla="*/ 67601 h 1007635"/>
                <a:gd name="connsiteX441" fmla="*/ 408208 w 629170"/>
                <a:gd name="connsiteY441" fmla="*/ 70901 h 1007635"/>
                <a:gd name="connsiteX442" fmla="*/ 414396 w 629170"/>
                <a:gd name="connsiteY442" fmla="*/ 73261 h 1007635"/>
                <a:gd name="connsiteX443" fmla="*/ 423548 w 629170"/>
                <a:gd name="connsiteY443" fmla="*/ 74700 h 1007635"/>
                <a:gd name="connsiteX444" fmla="*/ 433547 w 629170"/>
                <a:gd name="connsiteY444" fmla="*/ 72575 h 1007635"/>
                <a:gd name="connsiteX445" fmla="*/ 444393 w 629170"/>
                <a:gd name="connsiteY445" fmla="*/ 66908 h 1007635"/>
                <a:gd name="connsiteX446" fmla="*/ 450583 w 629170"/>
                <a:gd name="connsiteY446" fmla="*/ 60985 h 1007635"/>
                <a:gd name="connsiteX447" fmla="*/ 452110 w 629170"/>
                <a:gd name="connsiteY447" fmla="*/ 54817 h 1007635"/>
                <a:gd name="connsiteX448" fmla="*/ 453901 w 629170"/>
                <a:gd name="connsiteY448" fmla="*/ 51072 h 1007635"/>
                <a:gd name="connsiteX449" fmla="*/ 455967 w 629170"/>
                <a:gd name="connsiteY449" fmla="*/ 49754 h 1007635"/>
                <a:gd name="connsiteX450" fmla="*/ 461715 w 629170"/>
                <a:gd name="connsiteY450" fmla="*/ 48999 h 1007635"/>
                <a:gd name="connsiteX451" fmla="*/ 471151 w 629170"/>
                <a:gd name="connsiteY451" fmla="*/ 48795 h 1007635"/>
                <a:gd name="connsiteX452" fmla="*/ 479356 w 629170"/>
                <a:gd name="connsiteY452" fmla="*/ 50740 h 1007635"/>
                <a:gd name="connsiteX453" fmla="*/ 489821 w 629170"/>
                <a:gd name="connsiteY453" fmla="*/ 56866 h 1007635"/>
                <a:gd name="connsiteX454" fmla="*/ 496426 w 629170"/>
                <a:gd name="connsiteY454" fmla="*/ 52789 h 1007635"/>
                <a:gd name="connsiteX455" fmla="*/ 507762 w 629170"/>
                <a:gd name="connsiteY455" fmla="*/ 45809 h 1007635"/>
                <a:gd name="connsiteX456" fmla="*/ 519180 w 629170"/>
                <a:gd name="connsiteY456" fmla="*/ 42112 h 1007635"/>
                <a:gd name="connsiteX457" fmla="*/ 530050 w 629170"/>
                <a:gd name="connsiteY457" fmla="*/ 42088 h 1007635"/>
                <a:gd name="connsiteX458" fmla="*/ 538967 w 629170"/>
                <a:gd name="connsiteY458" fmla="*/ 39431 h 1007635"/>
                <a:gd name="connsiteX459" fmla="*/ 545931 w 629170"/>
                <a:gd name="connsiteY459" fmla="*/ 34157 h 1007635"/>
                <a:gd name="connsiteX460" fmla="*/ 553294 w 629170"/>
                <a:gd name="connsiteY460" fmla="*/ 30798 h 1007635"/>
                <a:gd name="connsiteX461" fmla="*/ 561051 w 629170"/>
                <a:gd name="connsiteY461" fmla="*/ 29376 h 1007635"/>
                <a:gd name="connsiteX462" fmla="*/ 568316 w 629170"/>
                <a:gd name="connsiteY462" fmla="*/ 26837 h 1007635"/>
                <a:gd name="connsiteX463" fmla="*/ 578478 w 629170"/>
                <a:gd name="connsiteY463" fmla="*/ 21348 h 1007635"/>
                <a:gd name="connsiteX464" fmla="*/ 588994 w 629170"/>
                <a:gd name="connsiteY464" fmla="*/ 13361 h 1007635"/>
                <a:gd name="connsiteX465" fmla="*/ 599727 w 629170"/>
                <a:gd name="connsiteY465" fmla="*/ 5221 h 1007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</a:cxnLst>
              <a:rect l="l" t="t" r="r" b="b"/>
              <a:pathLst>
                <a:path w="629170" h="1007635">
                  <a:moveTo>
                    <a:pt x="266124" y="92249"/>
                  </a:moveTo>
                  <a:lnTo>
                    <a:pt x="264046" y="92619"/>
                  </a:lnTo>
                  <a:lnTo>
                    <a:pt x="263312" y="94941"/>
                  </a:lnTo>
                  <a:lnTo>
                    <a:pt x="262993" y="98139"/>
                  </a:lnTo>
                  <a:lnTo>
                    <a:pt x="264303" y="99214"/>
                  </a:lnTo>
                  <a:lnTo>
                    <a:pt x="266384" y="98731"/>
                  </a:lnTo>
                  <a:lnTo>
                    <a:pt x="267962" y="97395"/>
                  </a:lnTo>
                  <a:lnTo>
                    <a:pt x="268570" y="95635"/>
                  </a:lnTo>
                  <a:lnTo>
                    <a:pt x="268554" y="93934"/>
                  </a:lnTo>
                  <a:lnTo>
                    <a:pt x="267546" y="92871"/>
                  </a:lnTo>
                  <a:close/>
                  <a:moveTo>
                    <a:pt x="258807" y="90350"/>
                  </a:moveTo>
                  <a:lnTo>
                    <a:pt x="256592" y="91017"/>
                  </a:lnTo>
                  <a:lnTo>
                    <a:pt x="255858" y="93206"/>
                  </a:lnTo>
                  <a:lnTo>
                    <a:pt x="258159" y="96039"/>
                  </a:lnTo>
                  <a:lnTo>
                    <a:pt x="260605" y="96088"/>
                  </a:lnTo>
                  <a:lnTo>
                    <a:pt x="261781" y="92906"/>
                  </a:lnTo>
                  <a:lnTo>
                    <a:pt x="260752" y="91170"/>
                  </a:lnTo>
                  <a:close/>
                  <a:moveTo>
                    <a:pt x="606605" y="0"/>
                  </a:moveTo>
                  <a:lnTo>
                    <a:pt x="609753" y="6169"/>
                  </a:lnTo>
                  <a:lnTo>
                    <a:pt x="615380" y="11805"/>
                  </a:lnTo>
                  <a:lnTo>
                    <a:pt x="612024" y="15083"/>
                  </a:lnTo>
                  <a:lnTo>
                    <a:pt x="607972" y="18013"/>
                  </a:lnTo>
                  <a:lnTo>
                    <a:pt x="614518" y="21938"/>
                  </a:lnTo>
                  <a:lnTo>
                    <a:pt x="609718" y="27865"/>
                  </a:lnTo>
                  <a:lnTo>
                    <a:pt x="609134" y="31990"/>
                  </a:lnTo>
                  <a:lnTo>
                    <a:pt x="610353" y="33605"/>
                  </a:lnTo>
                  <a:lnTo>
                    <a:pt x="611400" y="36019"/>
                  </a:lnTo>
                  <a:lnTo>
                    <a:pt x="608255" y="42809"/>
                  </a:lnTo>
                  <a:lnTo>
                    <a:pt x="604085" y="48011"/>
                  </a:lnTo>
                  <a:lnTo>
                    <a:pt x="603008" y="51991"/>
                  </a:lnTo>
                  <a:lnTo>
                    <a:pt x="606699" y="59033"/>
                  </a:lnTo>
                  <a:lnTo>
                    <a:pt x="604800" y="71509"/>
                  </a:lnTo>
                  <a:lnTo>
                    <a:pt x="608381" y="82743"/>
                  </a:lnTo>
                  <a:lnTo>
                    <a:pt x="609380" y="88507"/>
                  </a:lnTo>
                  <a:lnTo>
                    <a:pt x="610631" y="92362"/>
                  </a:lnTo>
                  <a:lnTo>
                    <a:pt x="608850" y="99262"/>
                  </a:lnTo>
                  <a:lnTo>
                    <a:pt x="609308" y="110889"/>
                  </a:lnTo>
                  <a:lnTo>
                    <a:pt x="610133" y="115689"/>
                  </a:lnTo>
                  <a:lnTo>
                    <a:pt x="608001" y="121668"/>
                  </a:lnTo>
                  <a:lnTo>
                    <a:pt x="611625" y="123736"/>
                  </a:lnTo>
                  <a:lnTo>
                    <a:pt x="613551" y="130293"/>
                  </a:lnTo>
                  <a:lnTo>
                    <a:pt x="613031" y="137686"/>
                  </a:lnTo>
                  <a:lnTo>
                    <a:pt x="611920" y="141669"/>
                  </a:lnTo>
                  <a:lnTo>
                    <a:pt x="605663" y="146495"/>
                  </a:lnTo>
                  <a:lnTo>
                    <a:pt x="604923" y="148370"/>
                  </a:lnTo>
                  <a:lnTo>
                    <a:pt x="605020" y="151212"/>
                  </a:lnTo>
                  <a:lnTo>
                    <a:pt x="612836" y="151306"/>
                  </a:lnTo>
                  <a:lnTo>
                    <a:pt x="613101" y="155704"/>
                  </a:lnTo>
                  <a:lnTo>
                    <a:pt x="612581" y="159168"/>
                  </a:lnTo>
                  <a:lnTo>
                    <a:pt x="612881" y="165687"/>
                  </a:lnTo>
                  <a:lnTo>
                    <a:pt x="611839" y="169925"/>
                  </a:lnTo>
                  <a:lnTo>
                    <a:pt x="613674" y="174762"/>
                  </a:lnTo>
                  <a:lnTo>
                    <a:pt x="611435" y="180119"/>
                  </a:lnTo>
                  <a:lnTo>
                    <a:pt x="612212" y="184252"/>
                  </a:lnTo>
                  <a:lnTo>
                    <a:pt x="612308" y="189612"/>
                  </a:lnTo>
                  <a:lnTo>
                    <a:pt x="614124" y="203171"/>
                  </a:lnTo>
                  <a:lnTo>
                    <a:pt x="614432" y="219944"/>
                  </a:lnTo>
                  <a:lnTo>
                    <a:pt x="614837" y="222633"/>
                  </a:lnTo>
                  <a:lnTo>
                    <a:pt x="617617" y="224535"/>
                  </a:lnTo>
                  <a:lnTo>
                    <a:pt x="621533" y="225478"/>
                  </a:lnTo>
                  <a:lnTo>
                    <a:pt x="621383" y="230079"/>
                  </a:lnTo>
                  <a:lnTo>
                    <a:pt x="617052" y="236087"/>
                  </a:lnTo>
                  <a:lnTo>
                    <a:pt x="616792" y="239824"/>
                  </a:lnTo>
                  <a:lnTo>
                    <a:pt x="617416" y="245074"/>
                  </a:lnTo>
                  <a:lnTo>
                    <a:pt x="622189" y="237941"/>
                  </a:lnTo>
                  <a:lnTo>
                    <a:pt x="625050" y="237976"/>
                  </a:lnTo>
                  <a:lnTo>
                    <a:pt x="627608" y="240775"/>
                  </a:lnTo>
                  <a:lnTo>
                    <a:pt x="627249" y="244884"/>
                  </a:lnTo>
                  <a:lnTo>
                    <a:pt x="628128" y="246911"/>
                  </a:lnTo>
                  <a:lnTo>
                    <a:pt x="627753" y="250897"/>
                  </a:lnTo>
                  <a:lnTo>
                    <a:pt x="629170" y="255959"/>
                  </a:lnTo>
                  <a:lnTo>
                    <a:pt x="628615" y="260368"/>
                  </a:lnTo>
                  <a:lnTo>
                    <a:pt x="625109" y="263454"/>
                  </a:lnTo>
                  <a:lnTo>
                    <a:pt x="620649" y="268736"/>
                  </a:lnTo>
                  <a:lnTo>
                    <a:pt x="619862" y="273691"/>
                  </a:lnTo>
                  <a:lnTo>
                    <a:pt x="620274" y="276941"/>
                  </a:lnTo>
                  <a:lnTo>
                    <a:pt x="617183" y="277980"/>
                  </a:lnTo>
                  <a:lnTo>
                    <a:pt x="615739" y="279986"/>
                  </a:lnTo>
                  <a:lnTo>
                    <a:pt x="617831" y="284660"/>
                  </a:lnTo>
                  <a:lnTo>
                    <a:pt x="617705" y="288796"/>
                  </a:lnTo>
                  <a:lnTo>
                    <a:pt x="612257" y="301677"/>
                  </a:lnTo>
                  <a:lnTo>
                    <a:pt x="597739" y="319302"/>
                  </a:lnTo>
                  <a:lnTo>
                    <a:pt x="591469" y="325561"/>
                  </a:lnTo>
                  <a:lnTo>
                    <a:pt x="585592" y="332376"/>
                  </a:lnTo>
                  <a:lnTo>
                    <a:pt x="585598" y="335169"/>
                  </a:lnTo>
                  <a:lnTo>
                    <a:pt x="585024" y="337602"/>
                  </a:lnTo>
                  <a:lnTo>
                    <a:pt x="578178" y="347333"/>
                  </a:lnTo>
                  <a:lnTo>
                    <a:pt x="570844" y="348929"/>
                  </a:lnTo>
                  <a:lnTo>
                    <a:pt x="566765" y="351530"/>
                  </a:lnTo>
                  <a:lnTo>
                    <a:pt x="569947" y="360112"/>
                  </a:lnTo>
                  <a:lnTo>
                    <a:pt x="565203" y="362089"/>
                  </a:lnTo>
                  <a:lnTo>
                    <a:pt x="556961" y="368855"/>
                  </a:lnTo>
                  <a:lnTo>
                    <a:pt x="534271" y="381832"/>
                  </a:lnTo>
                  <a:lnTo>
                    <a:pt x="530685" y="384843"/>
                  </a:lnTo>
                  <a:lnTo>
                    <a:pt x="524918" y="392814"/>
                  </a:lnTo>
                  <a:lnTo>
                    <a:pt x="517319" y="394748"/>
                  </a:lnTo>
                  <a:lnTo>
                    <a:pt x="513095" y="397004"/>
                  </a:lnTo>
                  <a:lnTo>
                    <a:pt x="505565" y="397831"/>
                  </a:lnTo>
                  <a:lnTo>
                    <a:pt x="502938" y="397253"/>
                  </a:lnTo>
                  <a:lnTo>
                    <a:pt x="500372" y="397534"/>
                  </a:lnTo>
                  <a:lnTo>
                    <a:pt x="498202" y="399243"/>
                  </a:lnTo>
                  <a:lnTo>
                    <a:pt x="483245" y="404838"/>
                  </a:lnTo>
                  <a:lnTo>
                    <a:pt x="469276" y="409269"/>
                  </a:lnTo>
                  <a:lnTo>
                    <a:pt x="465840" y="411294"/>
                  </a:lnTo>
                  <a:lnTo>
                    <a:pt x="463550" y="414063"/>
                  </a:lnTo>
                  <a:lnTo>
                    <a:pt x="451183" y="418443"/>
                  </a:lnTo>
                  <a:lnTo>
                    <a:pt x="431806" y="429280"/>
                  </a:lnTo>
                  <a:lnTo>
                    <a:pt x="415946" y="439614"/>
                  </a:lnTo>
                  <a:lnTo>
                    <a:pt x="404461" y="449964"/>
                  </a:lnTo>
                  <a:lnTo>
                    <a:pt x="401434" y="451534"/>
                  </a:lnTo>
                  <a:lnTo>
                    <a:pt x="397872" y="455109"/>
                  </a:lnTo>
                  <a:lnTo>
                    <a:pt x="396680" y="460408"/>
                  </a:lnTo>
                  <a:lnTo>
                    <a:pt x="395517" y="463402"/>
                  </a:lnTo>
                  <a:lnTo>
                    <a:pt x="387021" y="474315"/>
                  </a:lnTo>
                  <a:lnTo>
                    <a:pt x="374228" y="487225"/>
                  </a:lnTo>
                  <a:lnTo>
                    <a:pt x="371734" y="490755"/>
                  </a:lnTo>
                  <a:lnTo>
                    <a:pt x="366650" y="497939"/>
                  </a:lnTo>
                  <a:lnTo>
                    <a:pt x="366147" y="502646"/>
                  </a:lnTo>
                  <a:lnTo>
                    <a:pt x="361618" y="504081"/>
                  </a:lnTo>
                  <a:lnTo>
                    <a:pt x="357806" y="499573"/>
                  </a:lnTo>
                  <a:lnTo>
                    <a:pt x="356193" y="508262"/>
                  </a:lnTo>
                  <a:lnTo>
                    <a:pt x="353086" y="508881"/>
                  </a:lnTo>
                  <a:lnTo>
                    <a:pt x="349639" y="507100"/>
                  </a:lnTo>
                  <a:lnTo>
                    <a:pt x="341054" y="511404"/>
                  </a:lnTo>
                  <a:lnTo>
                    <a:pt x="333570" y="516365"/>
                  </a:lnTo>
                  <a:lnTo>
                    <a:pt x="321581" y="526833"/>
                  </a:lnTo>
                  <a:lnTo>
                    <a:pt x="304645" y="547117"/>
                  </a:lnTo>
                  <a:lnTo>
                    <a:pt x="279919" y="566730"/>
                  </a:lnTo>
                  <a:lnTo>
                    <a:pt x="276541" y="567290"/>
                  </a:lnTo>
                  <a:lnTo>
                    <a:pt x="274262" y="567212"/>
                  </a:lnTo>
                  <a:lnTo>
                    <a:pt x="266481" y="560382"/>
                  </a:lnTo>
                  <a:lnTo>
                    <a:pt x="262243" y="559875"/>
                  </a:lnTo>
                  <a:lnTo>
                    <a:pt x="266036" y="563928"/>
                  </a:lnTo>
                  <a:lnTo>
                    <a:pt x="268541" y="567300"/>
                  </a:lnTo>
                  <a:lnTo>
                    <a:pt x="267906" y="573922"/>
                  </a:lnTo>
                  <a:lnTo>
                    <a:pt x="268200" y="583862"/>
                  </a:lnTo>
                  <a:lnTo>
                    <a:pt x="265128" y="603204"/>
                  </a:lnTo>
                  <a:lnTo>
                    <a:pt x="265541" y="607441"/>
                  </a:lnTo>
                  <a:lnTo>
                    <a:pt x="269074" y="612929"/>
                  </a:lnTo>
                  <a:lnTo>
                    <a:pt x="275725" y="619655"/>
                  </a:lnTo>
                  <a:lnTo>
                    <a:pt x="281960" y="628026"/>
                  </a:lnTo>
                  <a:lnTo>
                    <a:pt x="289972" y="652090"/>
                  </a:lnTo>
                  <a:lnTo>
                    <a:pt x="290590" y="664486"/>
                  </a:lnTo>
                  <a:lnTo>
                    <a:pt x="298862" y="680338"/>
                  </a:lnTo>
                  <a:lnTo>
                    <a:pt x="299173" y="687211"/>
                  </a:lnTo>
                  <a:lnTo>
                    <a:pt x="302510" y="704332"/>
                  </a:lnTo>
                  <a:lnTo>
                    <a:pt x="302290" y="718196"/>
                  </a:lnTo>
                  <a:lnTo>
                    <a:pt x="301706" y="726690"/>
                  </a:lnTo>
                  <a:lnTo>
                    <a:pt x="305692" y="730284"/>
                  </a:lnTo>
                  <a:lnTo>
                    <a:pt x="307163" y="727043"/>
                  </a:lnTo>
                  <a:lnTo>
                    <a:pt x="306750" y="721670"/>
                  </a:lnTo>
                  <a:lnTo>
                    <a:pt x="307814" y="713051"/>
                  </a:lnTo>
                  <a:lnTo>
                    <a:pt x="310037" y="709212"/>
                  </a:lnTo>
                  <a:lnTo>
                    <a:pt x="312252" y="709761"/>
                  </a:lnTo>
                  <a:lnTo>
                    <a:pt x="312911" y="713827"/>
                  </a:lnTo>
                  <a:lnTo>
                    <a:pt x="314403" y="717435"/>
                  </a:lnTo>
                  <a:lnTo>
                    <a:pt x="315005" y="720827"/>
                  </a:lnTo>
                  <a:lnTo>
                    <a:pt x="315107" y="725426"/>
                  </a:lnTo>
                  <a:lnTo>
                    <a:pt x="312043" y="742938"/>
                  </a:lnTo>
                  <a:lnTo>
                    <a:pt x="312962" y="750066"/>
                  </a:lnTo>
                  <a:lnTo>
                    <a:pt x="317087" y="761982"/>
                  </a:lnTo>
                  <a:lnTo>
                    <a:pt x="312292" y="775847"/>
                  </a:lnTo>
                  <a:lnTo>
                    <a:pt x="305333" y="808541"/>
                  </a:lnTo>
                  <a:lnTo>
                    <a:pt x="304945" y="814203"/>
                  </a:lnTo>
                  <a:lnTo>
                    <a:pt x="306630" y="816678"/>
                  </a:lnTo>
                  <a:lnTo>
                    <a:pt x="310377" y="817517"/>
                  </a:lnTo>
                  <a:lnTo>
                    <a:pt x="311754" y="813341"/>
                  </a:lnTo>
                  <a:lnTo>
                    <a:pt x="313953" y="813373"/>
                  </a:lnTo>
                  <a:lnTo>
                    <a:pt x="315107" y="815845"/>
                  </a:lnTo>
                  <a:lnTo>
                    <a:pt x="312008" y="830963"/>
                  </a:lnTo>
                  <a:lnTo>
                    <a:pt x="308955" y="837595"/>
                  </a:lnTo>
                  <a:lnTo>
                    <a:pt x="298104" y="853867"/>
                  </a:lnTo>
                  <a:lnTo>
                    <a:pt x="292246" y="860853"/>
                  </a:lnTo>
                  <a:lnTo>
                    <a:pt x="282539" y="867721"/>
                  </a:lnTo>
                  <a:lnTo>
                    <a:pt x="259750" y="878464"/>
                  </a:lnTo>
                  <a:lnTo>
                    <a:pt x="214067" y="894008"/>
                  </a:lnTo>
                  <a:lnTo>
                    <a:pt x="195947" y="901634"/>
                  </a:lnTo>
                  <a:lnTo>
                    <a:pt x="185131" y="906182"/>
                  </a:lnTo>
                  <a:lnTo>
                    <a:pt x="162248" y="920676"/>
                  </a:lnTo>
                  <a:lnTo>
                    <a:pt x="152241" y="930404"/>
                  </a:lnTo>
                  <a:lnTo>
                    <a:pt x="148119" y="941574"/>
                  </a:lnTo>
                  <a:lnTo>
                    <a:pt x="144168" y="946695"/>
                  </a:lnTo>
                  <a:lnTo>
                    <a:pt x="140292" y="953177"/>
                  </a:lnTo>
                  <a:lnTo>
                    <a:pt x="143669" y="958746"/>
                  </a:lnTo>
                  <a:lnTo>
                    <a:pt x="146991" y="962962"/>
                  </a:lnTo>
                  <a:lnTo>
                    <a:pt x="150907" y="965788"/>
                  </a:lnTo>
                  <a:lnTo>
                    <a:pt x="152937" y="968220"/>
                  </a:lnTo>
                  <a:lnTo>
                    <a:pt x="155597" y="969913"/>
                  </a:lnTo>
                  <a:lnTo>
                    <a:pt x="158276" y="961148"/>
                  </a:lnTo>
                  <a:lnTo>
                    <a:pt x="159599" y="958424"/>
                  </a:lnTo>
                  <a:lnTo>
                    <a:pt x="161878" y="958215"/>
                  </a:lnTo>
                  <a:lnTo>
                    <a:pt x="160617" y="968916"/>
                  </a:lnTo>
                  <a:lnTo>
                    <a:pt x="157986" y="1005650"/>
                  </a:lnTo>
                  <a:lnTo>
                    <a:pt x="157807" y="1006850"/>
                  </a:lnTo>
                  <a:lnTo>
                    <a:pt x="151317" y="1006957"/>
                  </a:lnTo>
                  <a:lnTo>
                    <a:pt x="140195" y="1007260"/>
                  </a:lnTo>
                  <a:lnTo>
                    <a:pt x="133617" y="1007434"/>
                  </a:lnTo>
                  <a:lnTo>
                    <a:pt x="126262" y="1007635"/>
                  </a:lnTo>
                  <a:lnTo>
                    <a:pt x="117144" y="1005843"/>
                  </a:lnTo>
                  <a:lnTo>
                    <a:pt x="112009" y="1006223"/>
                  </a:lnTo>
                  <a:lnTo>
                    <a:pt x="111597" y="985909"/>
                  </a:lnTo>
                  <a:lnTo>
                    <a:pt x="109939" y="981449"/>
                  </a:lnTo>
                  <a:lnTo>
                    <a:pt x="108187" y="974932"/>
                  </a:lnTo>
                  <a:lnTo>
                    <a:pt x="107774" y="970751"/>
                  </a:lnTo>
                  <a:lnTo>
                    <a:pt x="108875" y="966548"/>
                  </a:lnTo>
                  <a:lnTo>
                    <a:pt x="109400" y="959897"/>
                  </a:lnTo>
                  <a:lnTo>
                    <a:pt x="108907" y="954080"/>
                  </a:lnTo>
                  <a:lnTo>
                    <a:pt x="103454" y="951160"/>
                  </a:lnTo>
                  <a:lnTo>
                    <a:pt x="102256" y="950231"/>
                  </a:lnTo>
                  <a:lnTo>
                    <a:pt x="101075" y="945656"/>
                  </a:lnTo>
                  <a:lnTo>
                    <a:pt x="100601" y="938603"/>
                  </a:lnTo>
                  <a:lnTo>
                    <a:pt x="104407" y="929619"/>
                  </a:lnTo>
                  <a:lnTo>
                    <a:pt x="104102" y="912402"/>
                  </a:lnTo>
                  <a:lnTo>
                    <a:pt x="104552" y="906343"/>
                  </a:lnTo>
                  <a:lnTo>
                    <a:pt x="104477" y="894378"/>
                  </a:lnTo>
                  <a:lnTo>
                    <a:pt x="104397" y="879897"/>
                  </a:lnTo>
                  <a:lnTo>
                    <a:pt x="104327" y="866947"/>
                  </a:lnTo>
                  <a:lnTo>
                    <a:pt x="104482" y="855774"/>
                  </a:lnTo>
                  <a:lnTo>
                    <a:pt x="103344" y="850484"/>
                  </a:lnTo>
                  <a:lnTo>
                    <a:pt x="102396" y="847583"/>
                  </a:lnTo>
                  <a:lnTo>
                    <a:pt x="99873" y="841677"/>
                  </a:lnTo>
                  <a:lnTo>
                    <a:pt x="96929" y="829375"/>
                  </a:lnTo>
                  <a:lnTo>
                    <a:pt x="93452" y="820093"/>
                  </a:lnTo>
                  <a:lnTo>
                    <a:pt x="88976" y="813973"/>
                  </a:lnTo>
                  <a:lnTo>
                    <a:pt x="87554" y="810748"/>
                  </a:lnTo>
                  <a:lnTo>
                    <a:pt x="86108" y="806436"/>
                  </a:lnTo>
                  <a:lnTo>
                    <a:pt x="81873" y="798845"/>
                  </a:lnTo>
                  <a:lnTo>
                    <a:pt x="78409" y="794425"/>
                  </a:lnTo>
                  <a:lnTo>
                    <a:pt x="77467" y="790889"/>
                  </a:lnTo>
                  <a:lnTo>
                    <a:pt x="77587" y="781742"/>
                  </a:lnTo>
                  <a:lnTo>
                    <a:pt x="73735" y="765328"/>
                  </a:lnTo>
                  <a:lnTo>
                    <a:pt x="70931" y="753374"/>
                  </a:lnTo>
                  <a:lnTo>
                    <a:pt x="66707" y="740436"/>
                  </a:lnTo>
                  <a:lnTo>
                    <a:pt x="63873" y="731779"/>
                  </a:lnTo>
                  <a:lnTo>
                    <a:pt x="63458" y="730290"/>
                  </a:lnTo>
                  <a:lnTo>
                    <a:pt x="63144" y="727014"/>
                  </a:lnTo>
                  <a:lnTo>
                    <a:pt x="71531" y="720588"/>
                  </a:lnTo>
                  <a:lnTo>
                    <a:pt x="79941" y="711551"/>
                  </a:lnTo>
                  <a:lnTo>
                    <a:pt x="89788" y="700978"/>
                  </a:lnTo>
                  <a:lnTo>
                    <a:pt x="98565" y="691545"/>
                  </a:lnTo>
                  <a:lnTo>
                    <a:pt x="106288" y="683260"/>
                  </a:lnTo>
                  <a:lnTo>
                    <a:pt x="116855" y="671932"/>
                  </a:lnTo>
                  <a:lnTo>
                    <a:pt x="127301" y="660739"/>
                  </a:lnTo>
                  <a:lnTo>
                    <a:pt x="129749" y="659311"/>
                  </a:lnTo>
                  <a:lnTo>
                    <a:pt x="130778" y="658398"/>
                  </a:lnTo>
                  <a:lnTo>
                    <a:pt x="126267" y="648458"/>
                  </a:lnTo>
                  <a:lnTo>
                    <a:pt x="133526" y="636918"/>
                  </a:lnTo>
                  <a:lnTo>
                    <a:pt x="133920" y="629426"/>
                  </a:lnTo>
                  <a:lnTo>
                    <a:pt x="133612" y="622261"/>
                  </a:lnTo>
                  <a:lnTo>
                    <a:pt x="134485" y="618972"/>
                  </a:lnTo>
                  <a:lnTo>
                    <a:pt x="136673" y="616087"/>
                  </a:lnTo>
                  <a:lnTo>
                    <a:pt x="145156" y="610098"/>
                  </a:lnTo>
                  <a:lnTo>
                    <a:pt x="151571" y="600557"/>
                  </a:lnTo>
                  <a:lnTo>
                    <a:pt x="156829" y="591654"/>
                  </a:lnTo>
                  <a:lnTo>
                    <a:pt x="164123" y="577334"/>
                  </a:lnTo>
                  <a:lnTo>
                    <a:pt x="164841" y="573964"/>
                  </a:lnTo>
                  <a:lnTo>
                    <a:pt x="164951" y="570493"/>
                  </a:lnTo>
                  <a:lnTo>
                    <a:pt x="162931" y="565666"/>
                  </a:lnTo>
                  <a:lnTo>
                    <a:pt x="158061" y="557826"/>
                  </a:lnTo>
                  <a:lnTo>
                    <a:pt x="154526" y="551068"/>
                  </a:lnTo>
                  <a:lnTo>
                    <a:pt x="151381" y="540651"/>
                  </a:lnTo>
                  <a:lnTo>
                    <a:pt x="154539" y="531595"/>
                  </a:lnTo>
                  <a:lnTo>
                    <a:pt x="155667" y="526131"/>
                  </a:lnTo>
                  <a:lnTo>
                    <a:pt x="155653" y="523182"/>
                  </a:lnTo>
                  <a:lnTo>
                    <a:pt x="154255" y="520380"/>
                  </a:lnTo>
                  <a:lnTo>
                    <a:pt x="150703" y="518264"/>
                  </a:lnTo>
                  <a:lnTo>
                    <a:pt x="147760" y="516885"/>
                  </a:lnTo>
                  <a:lnTo>
                    <a:pt x="146766" y="513145"/>
                  </a:lnTo>
                  <a:lnTo>
                    <a:pt x="146736" y="508702"/>
                  </a:lnTo>
                  <a:lnTo>
                    <a:pt x="148084" y="506245"/>
                  </a:lnTo>
                  <a:lnTo>
                    <a:pt x="155932" y="502273"/>
                  </a:lnTo>
                  <a:lnTo>
                    <a:pt x="157713" y="500120"/>
                  </a:lnTo>
                  <a:lnTo>
                    <a:pt x="158645" y="497701"/>
                  </a:lnTo>
                  <a:lnTo>
                    <a:pt x="158726" y="494256"/>
                  </a:lnTo>
                  <a:lnTo>
                    <a:pt x="161144" y="485664"/>
                  </a:lnTo>
                  <a:lnTo>
                    <a:pt x="164139" y="477513"/>
                  </a:lnTo>
                  <a:lnTo>
                    <a:pt x="164337" y="474636"/>
                  </a:lnTo>
                  <a:lnTo>
                    <a:pt x="163279" y="472121"/>
                  </a:lnTo>
                  <a:lnTo>
                    <a:pt x="162457" y="467519"/>
                  </a:lnTo>
                  <a:lnTo>
                    <a:pt x="161918" y="460582"/>
                  </a:lnTo>
                  <a:lnTo>
                    <a:pt x="161868" y="441173"/>
                  </a:lnTo>
                  <a:lnTo>
                    <a:pt x="163410" y="421148"/>
                  </a:lnTo>
                  <a:lnTo>
                    <a:pt x="162735" y="409804"/>
                  </a:lnTo>
                  <a:lnTo>
                    <a:pt x="157702" y="396771"/>
                  </a:lnTo>
                  <a:lnTo>
                    <a:pt x="157223" y="387377"/>
                  </a:lnTo>
                  <a:lnTo>
                    <a:pt x="160871" y="380823"/>
                  </a:lnTo>
                  <a:lnTo>
                    <a:pt x="161474" y="376947"/>
                  </a:lnTo>
                  <a:lnTo>
                    <a:pt x="158801" y="376451"/>
                  </a:lnTo>
                  <a:lnTo>
                    <a:pt x="153312" y="376055"/>
                  </a:lnTo>
                  <a:lnTo>
                    <a:pt x="149257" y="374836"/>
                  </a:lnTo>
                  <a:lnTo>
                    <a:pt x="142981" y="369468"/>
                  </a:lnTo>
                  <a:lnTo>
                    <a:pt x="132090" y="364982"/>
                  </a:lnTo>
                  <a:lnTo>
                    <a:pt x="119731" y="360908"/>
                  </a:lnTo>
                  <a:lnTo>
                    <a:pt x="101758" y="359694"/>
                  </a:lnTo>
                  <a:lnTo>
                    <a:pt x="86820" y="346644"/>
                  </a:lnTo>
                  <a:lnTo>
                    <a:pt x="75107" y="344550"/>
                  </a:lnTo>
                  <a:lnTo>
                    <a:pt x="71335" y="342889"/>
                  </a:lnTo>
                  <a:lnTo>
                    <a:pt x="60085" y="335068"/>
                  </a:lnTo>
                  <a:lnTo>
                    <a:pt x="42469" y="334344"/>
                  </a:lnTo>
                  <a:lnTo>
                    <a:pt x="24190" y="333586"/>
                  </a:lnTo>
                  <a:lnTo>
                    <a:pt x="12796" y="333348"/>
                  </a:lnTo>
                  <a:lnTo>
                    <a:pt x="11111" y="332309"/>
                  </a:lnTo>
                  <a:lnTo>
                    <a:pt x="10447" y="321536"/>
                  </a:lnTo>
                  <a:lnTo>
                    <a:pt x="10326" y="311965"/>
                  </a:lnTo>
                  <a:lnTo>
                    <a:pt x="9364" y="303643"/>
                  </a:lnTo>
                  <a:lnTo>
                    <a:pt x="7629" y="294174"/>
                  </a:lnTo>
                  <a:lnTo>
                    <a:pt x="4969" y="290489"/>
                  </a:lnTo>
                  <a:lnTo>
                    <a:pt x="1800" y="284084"/>
                  </a:lnTo>
                  <a:lnTo>
                    <a:pt x="190" y="277040"/>
                  </a:lnTo>
                  <a:lnTo>
                    <a:pt x="0" y="273627"/>
                  </a:lnTo>
                  <a:lnTo>
                    <a:pt x="598" y="272403"/>
                  </a:lnTo>
                  <a:lnTo>
                    <a:pt x="13286" y="267389"/>
                  </a:lnTo>
                  <a:lnTo>
                    <a:pt x="18713" y="264906"/>
                  </a:lnTo>
                  <a:lnTo>
                    <a:pt x="26746" y="262040"/>
                  </a:lnTo>
                  <a:lnTo>
                    <a:pt x="41068" y="258057"/>
                  </a:lnTo>
                  <a:lnTo>
                    <a:pt x="53844" y="254508"/>
                  </a:lnTo>
                  <a:lnTo>
                    <a:pt x="65552" y="251063"/>
                  </a:lnTo>
                  <a:lnTo>
                    <a:pt x="77951" y="247401"/>
                  </a:lnTo>
                  <a:lnTo>
                    <a:pt x="82995" y="244956"/>
                  </a:lnTo>
                  <a:lnTo>
                    <a:pt x="89266" y="242500"/>
                  </a:lnTo>
                  <a:lnTo>
                    <a:pt x="104263" y="237563"/>
                  </a:lnTo>
                  <a:lnTo>
                    <a:pt x="108551" y="235876"/>
                  </a:lnTo>
                  <a:lnTo>
                    <a:pt x="117163" y="233114"/>
                  </a:lnTo>
                  <a:lnTo>
                    <a:pt x="121483" y="232037"/>
                  </a:lnTo>
                  <a:lnTo>
                    <a:pt x="138090" y="226391"/>
                  </a:lnTo>
                  <a:lnTo>
                    <a:pt x="157118" y="219920"/>
                  </a:lnTo>
                  <a:lnTo>
                    <a:pt x="163788" y="217656"/>
                  </a:lnTo>
                  <a:lnTo>
                    <a:pt x="176500" y="213333"/>
                  </a:lnTo>
                  <a:lnTo>
                    <a:pt x="178975" y="215125"/>
                  </a:lnTo>
                  <a:lnTo>
                    <a:pt x="187646" y="230010"/>
                  </a:lnTo>
                  <a:lnTo>
                    <a:pt x="194476" y="238750"/>
                  </a:lnTo>
                  <a:lnTo>
                    <a:pt x="202244" y="246858"/>
                  </a:lnTo>
                  <a:lnTo>
                    <a:pt x="203540" y="246461"/>
                  </a:lnTo>
                  <a:lnTo>
                    <a:pt x="205780" y="244565"/>
                  </a:lnTo>
                  <a:lnTo>
                    <a:pt x="209647" y="243780"/>
                  </a:lnTo>
                  <a:lnTo>
                    <a:pt x="221993" y="241956"/>
                  </a:lnTo>
                  <a:lnTo>
                    <a:pt x="226707" y="241844"/>
                  </a:lnTo>
                  <a:lnTo>
                    <a:pt x="229812" y="239671"/>
                  </a:lnTo>
                  <a:lnTo>
                    <a:pt x="236144" y="238123"/>
                  </a:lnTo>
                  <a:lnTo>
                    <a:pt x="243472" y="237210"/>
                  </a:lnTo>
                  <a:lnTo>
                    <a:pt x="245990" y="238190"/>
                  </a:lnTo>
                  <a:lnTo>
                    <a:pt x="253704" y="248671"/>
                  </a:lnTo>
                  <a:lnTo>
                    <a:pt x="254821" y="256693"/>
                  </a:lnTo>
                  <a:lnTo>
                    <a:pt x="256423" y="268289"/>
                  </a:lnTo>
                  <a:lnTo>
                    <a:pt x="256806" y="273954"/>
                  </a:lnTo>
                  <a:lnTo>
                    <a:pt x="256677" y="281523"/>
                  </a:lnTo>
                  <a:lnTo>
                    <a:pt x="255810" y="290998"/>
                  </a:lnTo>
                  <a:lnTo>
                    <a:pt x="249542" y="301902"/>
                  </a:lnTo>
                  <a:lnTo>
                    <a:pt x="248344" y="307339"/>
                  </a:lnTo>
                  <a:lnTo>
                    <a:pt x="244983" y="315739"/>
                  </a:lnTo>
                  <a:lnTo>
                    <a:pt x="240542" y="319878"/>
                  </a:lnTo>
                  <a:lnTo>
                    <a:pt x="238356" y="323271"/>
                  </a:lnTo>
                  <a:lnTo>
                    <a:pt x="238482" y="326799"/>
                  </a:lnTo>
                  <a:lnTo>
                    <a:pt x="240853" y="329753"/>
                  </a:lnTo>
                  <a:lnTo>
                    <a:pt x="246046" y="335073"/>
                  </a:lnTo>
                  <a:lnTo>
                    <a:pt x="247651" y="338510"/>
                  </a:lnTo>
                  <a:lnTo>
                    <a:pt x="247182" y="341582"/>
                  </a:lnTo>
                  <a:lnTo>
                    <a:pt x="247203" y="345736"/>
                  </a:lnTo>
                  <a:lnTo>
                    <a:pt x="248441" y="348626"/>
                  </a:lnTo>
                  <a:lnTo>
                    <a:pt x="249917" y="350306"/>
                  </a:lnTo>
                  <a:lnTo>
                    <a:pt x="255060" y="353027"/>
                  </a:lnTo>
                  <a:lnTo>
                    <a:pt x="260068" y="359860"/>
                  </a:lnTo>
                  <a:lnTo>
                    <a:pt x="268720" y="368108"/>
                  </a:lnTo>
                  <a:lnTo>
                    <a:pt x="279062" y="379872"/>
                  </a:lnTo>
                  <a:lnTo>
                    <a:pt x="283916" y="383474"/>
                  </a:lnTo>
                  <a:lnTo>
                    <a:pt x="287738" y="384350"/>
                  </a:lnTo>
                  <a:lnTo>
                    <a:pt x="289648" y="388288"/>
                  </a:lnTo>
                  <a:lnTo>
                    <a:pt x="288590" y="392873"/>
                  </a:lnTo>
                  <a:lnTo>
                    <a:pt x="285611" y="395498"/>
                  </a:lnTo>
                  <a:lnTo>
                    <a:pt x="286835" y="399259"/>
                  </a:lnTo>
                  <a:lnTo>
                    <a:pt x="288520" y="401230"/>
                  </a:lnTo>
                  <a:lnTo>
                    <a:pt x="290387" y="402224"/>
                  </a:lnTo>
                  <a:lnTo>
                    <a:pt x="294935" y="402457"/>
                  </a:lnTo>
                  <a:lnTo>
                    <a:pt x="299151" y="401688"/>
                  </a:lnTo>
                  <a:lnTo>
                    <a:pt x="300209" y="400379"/>
                  </a:lnTo>
                  <a:lnTo>
                    <a:pt x="299660" y="382762"/>
                  </a:lnTo>
                  <a:lnTo>
                    <a:pt x="296617" y="372500"/>
                  </a:lnTo>
                  <a:lnTo>
                    <a:pt x="293569" y="368488"/>
                  </a:lnTo>
                  <a:lnTo>
                    <a:pt x="292910" y="367692"/>
                  </a:lnTo>
                  <a:lnTo>
                    <a:pt x="293979" y="364323"/>
                  </a:lnTo>
                  <a:lnTo>
                    <a:pt x="297386" y="356445"/>
                  </a:lnTo>
                  <a:lnTo>
                    <a:pt x="300273" y="348651"/>
                  </a:lnTo>
                  <a:lnTo>
                    <a:pt x="302106" y="345369"/>
                  </a:lnTo>
                  <a:lnTo>
                    <a:pt x="304240" y="343387"/>
                  </a:lnTo>
                  <a:lnTo>
                    <a:pt x="318504" y="341279"/>
                  </a:lnTo>
                  <a:lnTo>
                    <a:pt x="324994" y="339452"/>
                  </a:lnTo>
                  <a:lnTo>
                    <a:pt x="327739" y="337173"/>
                  </a:lnTo>
                  <a:lnTo>
                    <a:pt x="329869" y="331125"/>
                  </a:lnTo>
                  <a:lnTo>
                    <a:pt x="331570" y="314229"/>
                  </a:lnTo>
                  <a:lnTo>
                    <a:pt x="332183" y="298374"/>
                  </a:lnTo>
                  <a:lnTo>
                    <a:pt x="330707" y="289080"/>
                  </a:lnTo>
                  <a:lnTo>
                    <a:pt x="332756" y="275090"/>
                  </a:lnTo>
                  <a:lnTo>
                    <a:pt x="335885" y="266438"/>
                  </a:lnTo>
                  <a:lnTo>
                    <a:pt x="334342" y="264742"/>
                  </a:lnTo>
                  <a:lnTo>
                    <a:pt x="333182" y="253072"/>
                  </a:lnTo>
                  <a:lnTo>
                    <a:pt x="323901" y="240652"/>
                  </a:lnTo>
                  <a:lnTo>
                    <a:pt x="311938" y="224669"/>
                  </a:lnTo>
                  <a:lnTo>
                    <a:pt x="305264" y="216068"/>
                  </a:lnTo>
                  <a:lnTo>
                    <a:pt x="297665" y="206299"/>
                  </a:lnTo>
                  <a:lnTo>
                    <a:pt x="283827" y="191007"/>
                  </a:lnTo>
                  <a:lnTo>
                    <a:pt x="277490" y="185471"/>
                  </a:lnTo>
                  <a:lnTo>
                    <a:pt x="274152" y="183323"/>
                  </a:lnTo>
                  <a:lnTo>
                    <a:pt x="262967" y="181555"/>
                  </a:lnTo>
                  <a:lnTo>
                    <a:pt x="259999" y="178611"/>
                  </a:lnTo>
                  <a:lnTo>
                    <a:pt x="257165" y="173926"/>
                  </a:lnTo>
                  <a:lnTo>
                    <a:pt x="256099" y="165259"/>
                  </a:lnTo>
                  <a:lnTo>
                    <a:pt x="255914" y="158774"/>
                  </a:lnTo>
                  <a:lnTo>
                    <a:pt x="254652" y="147760"/>
                  </a:lnTo>
                  <a:lnTo>
                    <a:pt x="252381" y="132173"/>
                  </a:lnTo>
                  <a:lnTo>
                    <a:pt x="251369" y="127595"/>
                  </a:lnTo>
                  <a:lnTo>
                    <a:pt x="248186" y="115880"/>
                  </a:lnTo>
                  <a:lnTo>
                    <a:pt x="245152" y="104737"/>
                  </a:lnTo>
                  <a:lnTo>
                    <a:pt x="244972" y="101983"/>
                  </a:lnTo>
                  <a:lnTo>
                    <a:pt x="246046" y="99307"/>
                  </a:lnTo>
                  <a:lnTo>
                    <a:pt x="251194" y="91111"/>
                  </a:lnTo>
                  <a:lnTo>
                    <a:pt x="254861" y="85299"/>
                  </a:lnTo>
                  <a:lnTo>
                    <a:pt x="256586" y="82122"/>
                  </a:lnTo>
                  <a:lnTo>
                    <a:pt x="259685" y="73473"/>
                  </a:lnTo>
                  <a:lnTo>
                    <a:pt x="260414" y="69281"/>
                  </a:lnTo>
                  <a:lnTo>
                    <a:pt x="262843" y="67390"/>
                  </a:lnTo>
                  <a:lnTo>
                    <a:pt x="272735" y="66610"/>
                  </a:lnTo>
                  <a:lnTo>
                    <a:pt x="280608" y="66755"/>
                  </a:lnTo>
                  <a:lnTo>
                    <a:pt x="293823" y="66557"/>
                  </a:lnTo>
                  <a:lnTo>
                    <a:pt x="307781" y="67060"/>
                  </a:lnTo>
                  <a:lnTo>
                    <a:pt x="309742" y="67443"/>
                  </a:lnTo>
                  <a:lnTo>
                    <a:pt x="312881" y="68357"/>
                  </a:lnTo>
                  <a:lnTo>
                    <a:pt x="316433" y="68209"/>
                  </a:lnTo>
                  <a:lnTo>
                    <a:pt x="320379" y="66991"/>
                  </a:lnTo>
                  <a:lnTo>
                    <a:pt x="324745" y="63996"/>
                  </a:lnTo>
                  <a:lnTo>
                    <a:pt x="329529" y="59244"/>
                  </a:lnTo>
                  <a:lnTo>
                    <a:pt x="336983" y="59351"/>
                  </a:lnTo>
                  <a:lnTo>
                    <a:pt x="347105" y="64307"/>
                  </a:lnTo>
                  <a:lnTo>
                    <a:pt x="352628" y="68625"/>
                  </a:lnTo>
                  <a:lnTo>
                    <a:pt x="353566" y="72313"/>
                  </a:lnTo>
                  <a:lnTo>
                    <a:pt x="360340" y="74453"/>
                  </a:lnTo>
                  <a:lnTo>
                    <a:pt x="372953" y="75045"/>
                  </a:lnTo>
                  <a:lnTo>
                    <a:pt x="382146" y="73127"/>
                  </a:lnTo>
                  <a:lnTo>
                    <a:pt x="387907" y="68692"/>
                  </a:lnTo>
                  <a:lnTo>
                    <a:pt x="393921" y="66345"/>
                  </a:lnTo>
                  <a:lnTo>
                    <a:pt x="400215" y="66088"/>
                  </a:lnTo>
                  <a:lnTo>
                    <a:pt x="404970" y="67601"/>
                  </a:lnTo>
                  <a:lnTo>
                    <a:pt x="408208" y="70901"/>
                  </a:lnTo>
                  <a:lnTo>
                    <a:pt x="414396" y="73261"/>
                  </a:lnTo>
                  <a:lnTo>
                    <a:pt x="423548" y="74700"/>
                  </a:lnTo>
                  <a:lnTo>
                    <a:pt x="433547" y="72575"/>
                  </a:lnTo>
                  <a:lnTo>
                    <a:pt x="444393" y="66908"/>
                  </a:lnTo>
                  <a:lnTo>
                    <a:pt x="450583" y="60985"/>
                  </a:lnTo>
                  <a:lnTo>
                    <a:pt x="452110" y="54817"/>
                  </a:lnTo>
                  <a:lnTo>
                    <a:pt x="453901" y="51072"/>
                  </a:lnTo>
                  <a:lnTo>
                    <a:pt x="455967" y="49754"/>
                  </a:lnTo>
                  <a:lnTo>
                    <a:pt x="461715" y="48999"/>
                  </a:lnTo>
                  <a:lnTo>
                    <a:pt x="471151" y="48795"/>
                  </a:lnTo>
                  <a:lnTo>
                    <a:pt x="479356" y="50740"/>
                  </a:lnTo>
                  <a:lnTo>
                    <a:pt x="489821" y="56866"/>
                  </a:lnTo>
                  <a:lnTo>
                    <a:pt x="496426" y="52789"/>
                  </a:lnTo>
                  <a:lnTo>
                    <a:pt x="507762" y="45809"/>
                  </a:lnTo>
                  <a:lnTo>
                    <a:pt x="519180" y="42112"/>
                  </a:lnTo>
                  <a:lnTo>
                    <a:pt x="530050" y="42088"/>
                  </a:lnTo>
                  <a:lnTo>
                    <a:pt x="538967" y="39431"/>
                  </a:lnTo>
                  <a:lnTo>
                    <a:pt x="545931" y="34157"/>
                  </a:lnTo>
                  <a:lnTo>
                    <a:pt x="553294" y="30798"/>
                  </a:lnTo>
                  <a:lnTo>
                    <a:pt x="561051" y="29376"/>
                  </a:lnTo>
                  <a:lnTo>
                    <a:pt x="568316" y="26837"/>
                  </a:lnTo>
                  <a:lnTo>
                    <a:pt x="578478" y="21348"/>
                  </a:lnTo>
                  <a:lnTo>
                    <a:pt x="588994" y="13361"/>
                  </a:lnTo>
                  <a:lnTo>
                    <a:pt x="599727" y="5221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93" name="ee4p_MR_1_37365">
              <a:extLst>
                <a:ext uri="{FF2B5EF4-FFF2-40B4-BE49-F238E27FC236}">
                  <a16:creationId xmlns:a16="http://schemas.microsoft.com/office/drawing/2014/main" id="{F0470DDA-21BF-DB8E-17F7-694F7FECE690}"/>
                </a:ext>
              </a:extLst>
            </p:cNvPr>
            <p:cNvSpPr>
              <a:spLocks noChangeAspect="1"/>
            </p:cNvSpPr>
            <p:nvPr>
              <p:custDataLst>
                <p:tags r:id="rId347"/>
              </p:custDataLst>
            </p:nvPr>
          </p:nvSpPr>
          <p:spPr>
            <a:xfrm>
              <a:off x="6040846" y="3879803"/>
              <a:ext cx="339934" cy="374265"/>
            </a:xfrm>
            <a:custGeom>
              <a:avLst/>
              <a:gdLst>
                <a:gd name="connsiteX0" fmla="*/ 42663 w 725034"/>
                <a:gd name="connsiteY0" fmla="*/ 464647 h 777097"/>
                <a:gd name="connsiteX1" fmla="*/ 40904 w 725034"/>
                <a:gd name="connsiteY1" fmla="*/ 474482 h 777097"/>
                <a:gd name="connsiteX2" fmla="*/ 37100 w 725034"/>
                <a:gd name="connsiteY2" fmla="*/ 480463 h 777097"/>
                <a:gd name="connsiteX3" fmla="*/ 35418 w 725034"/>
                <a:gd name="connsiteY3" fmla="*/ 478179 h 777097"/>
                <a:gd name="connsiteX4" fmla="*/ 34764 w 725034"/>
                <a:gd name="connsiteY4" fmla="*/ 474244 h 777097"/>
                <a:gd name="connsiteX5" fmla="*/ 38129 w 725034"/>
                <a:gd name="connsiteY5" fmla="*/ 468606 h 777097"/>
                <a:gd name="connsiteX6" fmla="*/ 39722 w 725034"/>
                <a:gd name="connsiteY6" fmla="*/ 465692 h 777097"/>
                <a:gd name="connsiteX7" fmla="*/ 496370 w 725034"/>
                <a:gd name="connsiteY7" fmla="*/ 0 h 777097"/>
                <a:gd name="connsiteX8" fmla="*/ 507507 w 725034"/>
                <a:gd name="connsiteY8" fmla="*/ 7053 h 777097"/>
                <a:gd name="connsiteX9" fmla="*/ 518644 w 725034"/>
                <a:gd name="connsiteY9" fmla="*/ 14103 h 777097"/>
                <a:gd name="connsiteX10" fmla="*/ 529782 w 725034"/>
                <a:gd name="connsiteY10" fmla="*/ 21147 h 777097"/>
                <a:gd name="connsiteX11" fmla="*/ 540922 w 725034"/>
                <a:gd name="connsiteY11" fmla="*/ 28189 h 777097"/>
                <a:gd name="connsiteX12" fmla="*/ 552059 w 725034"/>
                <a:gd name="connsiteY12" fmla="*/ 35226 h 777097"/>
                <a:gd name="connsiteX13" fmla="*/ 563194 w 725034"/>
                <a:gd name="connsiteY13" fmla="*/ 42260 h 777097"/>
                <a:gd name="connsiteX14" fmla="*/ 574334 w 725034"/>
                <a:gd name="connsiteY14" fmla="*/ 49288 h 777097"/>
                <a:gd name="connsiteX15" fmla="*/ 585474 w 725034"/>
                <a:gd name="connsiteY15" fmla="*/ 56311 h 777097"/>
                <a:gd name="connsiteX16" fmla="*/ 596612 w 725034"/>
                <a:gd name="connsiteY16" fmla="*/ 63332 h 777097"/>
                <a:gd name="connsiteX17" fmla="*/ 607749 w 725034"/>
                <a:gd name="connsiteY17" fmla="*/ 70347 h 777097"/>
                <a:gd name="connsiteX18" fmla="*/ 618889 w 725034"/>
                <a:gd name="connsiteY18" fmla="*/ 77357 h 777097"/>
                <a:gd name="connsiteX19" fmla="*/ 630026 w 725034"/>
                <a:gd name="connsiteY19" fmla="*/ 84369 h 777097"/>
                <a:gd name="connsiteX20" fmla="*/ 641164 w 725034"/>
                <a:gd name="connsiteY20" fmla="*/ 91371 h 777097"/>
                <a:gd name="connsiteX21" fmla="*/ 652304 w 725034"/>
                <a:gd name="connsiteY21" fmla="*/ 98370 h 777097"/>
                <a:gd name="connsiteX22" fmla="*/ 663441 w 725034"/>
                <a:gd name="connsiteY22" fmla="*/ 105366 h 777097"/>
                <a:gd name="connsiteX23" fmla="*/ 674579 w 725034"/>
                <a:gd name="connsiteY23" fmla="*/ 112357 h 777097"/>
                <a:gd name="connsiteX24" fmla="*/ 683911 w 725034"/>
                <a:gd name="connsiteY24" fmla="*/ 118210 h 777097"/>
                <a:gd name="connsiteX25" fmla="*/ 698238 w 725034"/>
                <a:gd name="connsiteY25" fmla="*/ 127633 h 777097"/>
                <a:gd name="connsiteX26" fmla="*/ 711596 w 725034"/>
                <a:gd name="connsiteY26" fmla="*/ 136408 h 777097"/>
                <a:gd name="connsiteX27" fmla="*/ 725034 w 725034"/>
                <a:gd name="connsiteY27" fmla="*/ 145226 h 777097"/>
                <a:gd name="connsiteX28" fmla="*/ 704286 w 725034"/>
                <a:gd name="connsiteY28" fmla="*/ 145239 h 777097"/>
                <a:gd name="connsiteX29" fmla="*/ 676577 w 725034"/>
                <a:gd name="connsiteY29" fmla="*/ 145252 h 777097"/>
                <a:gd name="connsiteX30" fmla="*/ 657680 w 725034"/>
                <a:gd name="connsiteY30" fmla="*/ 145266 h 777097"/>
                <a:gd name="connsiteX31" fmla="*/ 638287 w 725034"/>
                <a:gd name="connsiteY31" fmla="*/ 145274 h 777097"/>
                <a:gd name="connsiteX32" fmla="*/ 620113 w 725034"/>
                <a:gd name="connsiteY32" fmla="*/ 145287 h 777097"/>
                <a:gd name="connsiteX33" fmla="*/ 621693 w 725034"/>
                <a:gd name="connsiteY33" fmla="*/ 159639 h 777097"/>
                <a:gd name="connsiteX34" fmla="*/ 623378 w 725034"/>
                <a:gd name="connsiteY34" fmla="*/ 175282 h 777097"/>
                <a:gd name="connsiteX35" fmla="*/ 625066 w 725034"/>
                <a:gd name="connsiteY35" fmla="*/ 190908 h 777097"/>
                <a:gd name="connsiteX36" fmla="*/ 626751 w 725034"/>
                <a:gd name="connsiteY36" fmla="*/ 206516 h 777097"/>
                <a:gd name="connsiteX37" fmla="*/ 628438 w 725034"/>
                <a:gd name="connsiteY37" fmla="*/ 222103 h 777097"/>
                <a:gd name="connsiteX38" fmla="*/ 630126 w 725034"/>
                <a:gd name="connsiteY38" fmla="*/ 237673 h 777097"/>
                <a:gd name="connsiteX39" fmla="*/ 631810 w 725034"/>
                <a:gd name="connsiteY39" fmla="*/ 253222 h 777097"/>
                <a:gd name="connsiteX40" fmla="*/ 633495 w 725034"/>
                <a:gd name="connsiteY40" fmla="*/ 268757 h 777097"/>
                <a:gd name="connsiteX41" fmla="*/ 635183 w 725034"/>
                <a:gd name="connsiteY41" fmla="*/ 284269 h 777097"/>
                <a:gd name="connsiteX42" fmla="*/ 636870 w 725034"/>
                <a:gd name="connsiteY42" fmla="*/ 299764 h 777097"/>
                <a:gd name="connsiteX43" fmla="*/ 638555 w 725034"/>
                <a:gd name="connsiteY43" fmla="*/ 315244 h 777097"/>
                <a:gd name="connsiteX44" fmla="*/ 640242 w 725034"/>
                <a:gd name="connsiteY44" fmla="*/ 330704 h 777097"/>
                <a:gd name="connsiteX45" fmla="*/ 641930 w 725034"/>
                <a:gd name="connsiteY45" fmla="*/ 346151 h 777097"/>
                <a:gd name="connsiteX46" fmla="*/ 643617 w 725034"/>
                <a:gd name="connsiteY46" fmla="*/ 361580 h 777097"/>
                <a:gd name="connsiteX47" fmla="*/ 645302 w 725034"/>
                <a:gd name="connsiteY47" fmla="*/ 376990 h 777097"/>
                <a:gd name="connsiteX48" fmla="*/ 646987 w 725034"/>
                <a:gd name="connsiteY48" fmla="*/ 392386 h 777097"/>
                <a:gd name="connsiteX49" fmla="*/ 648677 w 725034"/>
                <a:gd name="connsiteY49" fmla="*/ 407766 h 777097"/>
                <a:gd name="connsiteX50" fmla="*/ 650359 w 725034"/>
                <a:gd name="connsiteY50" fmla="*/ 423130 h 777097"/>
                <a:gd name="connsiteX51" fmla="*/ 652049 w 725034"/>
                <a:gd name="connsiteY51" fmla="*/ 438476 h 777097"/>
                <a:gd name="connsiteX52" fmla="*/ 653734 w 725034"/>
                <a:gd name="connsiteY52" fmla="*/ 453808 h 777097"/>
                <a:gd name="connsiteX53" fmla="*/ 655422 w 725034"/>
                <a:gd name="connsiteY53" fmla="*/ 469124 h 777097"/>
                <a:gd name="connsiteX54" fmla="*/ 657107 w 725034"/>
                <a:gd name="connsiteY54" fmla="*/ 484426 h 777097"/>
                <a:gd name="connsiteX55" fmla="*/ 658791 w 725034"/>
                <a:gd name="connsiteY55" fmla="*/ 499713 h 777097"/>
                <a:gd name="connsiteX56" fmla="*/ 660482 w 725034"/>
                <a:gd name="connsiteY56" fmla="*/ 514986 h 777097"/>
                <a:gd name="connsiteX57" fmla="*/ 662166 w 725034"/>
                <a:gd name="connsiteY57" fmla="*/ 530240 h 777097"/>
                <a:gd name="connsiteX58" fmla="*/ 663854 w 725034"/>
                <a:gd name="connsiteY58" fmla="*/ 545484 h 777097"/>
                <a:gd name="connsiteX59" fmla="*/ 665541 w 725034"/>
                <a:gd name="connsiteY59" fmla="*/ 560711 h 777097"/>
                <a:gd name="connsiteX60" fmla="*/ 667226 w 725034"/>
                <a:gd name="connsiteY60" fmla="*/ 575925 h 777097"/>
                <a:gd name="connsiteX61" fmla="*/ 668914 w 725034"/>
                <a:gd name="connsiteY61" fmla="*/ 591129 h 777097"/>
                <a:gd name="connsiteX62" fmla="*/ 670598 w 725034"/>
                <a:gd name="connsiteY62" fmla="*/ 606319 h 777097"/>
                <a:gd name="connsiteX63" fmla="*/ 672289 w 725034"/>
                <a:gd name="connsiteY63" fmla="*/ 621495 h 777097"/>
                <a:gd name="connsiteX64" fmla="*/ 673971 w 725034"/>
                <a:gd name="connsiteY64" fmla="*/ 636653 h 777097"/>
                <a:gd name="connsiteX65" fmla="*/ 675658 w 725034"/>
                <a:gd name="connsiteY65" fmla="*/ 651806 h 777097"/>
                <a:gd name="connsiteX66" fmla="*/ 677292 w 725034"/>
                <a:gd name="connsiteY66" fmla="*/ 666471 h 777097"/>
                <a:gd name="connsiteX67" fmla="*/ 684345 w 725034"/>
                <a:gd name="connsiteY67" fmla="*/ 674174 h 777097"/>
                <a:gd name="connsiteX68" fmla="*/ 693211 w 725034"/>
                <a:gd name="connsiteY68" fmla="*/ 683852 h 777097"/>
                <a:gd name="connsiteX69" fmla="*/ 690626 w 725034"/>
                <a:gd name="connsiteY69" fmla="*/ 697523 h 777097"/>
                <a:gd name="connsiteX70" fmla="*/ 687543 w 725034"/>
                <a:gd name="connsiteY70" fmla="*/ 713828 h 777097"/>
                <a:gd name="connsiteX71" fmla="*/ 684173 w 725034"/>
                <a:gd name="connsiteY71" fmla="*/ 731610 h 777097"/>
                <a:gd name="connsiteX72" fmla="*/ 671654 w 725034"/>
                <a:gd name="connsiteY72" fmla="*/ 731610 h 777097"/>
                <a:gd name="connsiteX73" fmla="*/ 659573 w 725034"/>
                <a:gd name="connsiteY73" fmla="*/ 731610 h 777097"/>
                <a:gd name="connsiteX74" fmla="*/ 647493 w 725034"/>
                <a:gd name="connsiteY74" fmla="*/ 731613 h 777097"/>
                <a:gd name="connsiteX75" fmla="*/ 635413 w 725034"/>
                <a:gd name="connsiteY75" fmla="*/ 731616 h 777097"/>
                <a:gd name="connsiteX76" fmla="*/ 623338 w 725034"/>
                <a:gd name="connsiteY76" fmla="*/ 731616 h 777097"/>
                <a:gd name="connsiteX77" fmla="*/ 611258 w 725034"/>
                <a:gd name="connsiteY77" fmla="*/ 731616 h 777097"/>
                <a:gd name="connsiteX78" fmla="*/ 599178 w 725034"/>
                <a:gd name="connsiteY78" fmla="*/ 731616 h 777097"/>
                <a:gd name="connsiteX79" fmla="*/ 587097 w 725034"/>
                <a:gd name="connsiteY79" fmla="*/ 731616 h 777097"/>
                <a:gd name="connsiteX80" fmla="*/ 575017 w 725034"/>
                <a:gd name="connsiteY80" fmla="*/ 731616 h 777097"/>
                <a:gd name="connsiteX81" fmla="*/ 562940 w 725034"/>
                <a:gd name="connsiteY81" fmla="*/ 731621 h 777097"/>
                <a:gd name="connsiteX82" fmla="*/ 550857 w 725034"/>
                <a:gd name="connsiteY82" fmla="*/ 731621 h 777097"/>
                <a:gd name="connsiteX83" fmla="*/ 538779 w 725034"/>
                <a:gd name="connsiteY83" fmla="*/ 731621 h 777097"/>
                <a:gd name="connsiteX84" fmla="*/ 526702 w 725034"/>
                <a:gd name="connsiteY84" fmla="*/ 731621 h 777097"/>
                <a:gd name="connsiteX85" fmla="*/ 514621 w 725034"/>
                <a:gd name="connsiteY85" fmla="*/ 731621 h 777097"/>
                <a:gd name="connsiteX86" fmla="*/ 502541 w 725034"/>
                <a:gd name="connsiteY86" fmla="*/ 731621 h 777097"/>
                <a:gd name="connsiteX87" fmla="*/ 490461 w 725034"/>
                <a:gd name="connsiteY87" fmla="*/ 731624 h 777097"/>
                <a:gd name="connsiteX88" fmla="*/ 478381 w 725034"/>
                <a:gd name="connsiteY88" fmla="*/ 731624 h 777097"/>
                <a:gd name="connsiteX89" fmla="*/ 467144 w 725034"/>
                <a:gd name="connsiteY89" fmla="*/ 731624 h 777097"/>
                <a:gd name="connsiteX90" fmla="*/ 460220 w 725034"/>
                <a:gd name="connsiteY90" fmla="*/ 731214 h 777097"/>
                <a:gd name="connsiteX91" fmla="*/ 457748 w 725034"/>
                <a:gd name="connsiteY91" fmla="*/ 729829 h 777097"/>
                <a:gd name="connsiteX92" fmla="*/ 456850 w 725034"/>
                <a:gd name="connsiteY92" fmla="*/ 720626 h 777097"/>
                <a:gd name="connsiteX93" fmla="*/ 454791 w 725034"/>
                <a:gd name="connsiteY93" fmla="*/ 721218 h 777097"/>
                <a:gd name="connsiteX94" fmla="*/ 452350 w 725034"/>
                <a:gd name="connsiteY94" fmla="*/ 723923 h 777097"/>
                <a:gd name="connsiteX95" fmla="*/ 451097 w 725034"/>
                <a:gd name="connsiteY95" fmla="*/ 726845 h 777097"/>
                <a:gd name="connsiteX96" fmla="*/ 451533 w 725034"/>
                <a:gd name="connsiteY96" fmla="*/ 730678 h 777097"/>
                <a:gd name="connsiteX97" fmla="*/ 451145 w 725034"/>
                <a:gd name="connsiteY97" fmla="*/ 733919 h 777097"/>
                <a:gd name="connsiteX98" fmla="*/ 443391 w 725034"/>
                <a:gd name="connsiteY98" fmla="*/ 735192 h 777097"/>
                <a:gd name="connsiteX99" fmla="*/ 432893 w 725034"/>
                <a:gd name="connsiteY99" fmla="*/ 737361 h 777097"/>
                <a:gd name="connsiteX100" fmla="*/ 421855 w 725034"/>
                <a:gd name="connsiteY100" fmla="*/ 739038 h 777097"/>
                <a:gd name="connsiteX101" fmla="*/ 410715 w 725034"/>
                <a:gd name="connsiteY101" fmla="*/ 738438 h 777097"/>
                <a:gd name="connsiteX102" fmla="*/ 406912 w 725034"/>
                <a:gd name="connsiteY102" fmla="*/ 737691 h 777097"/>
                <a:gd name="connsiteX103" fmla="*/ 402862 w 725034"/>
                <a:gd name="connsiteY103" fmla="*/ 736477 h 777097"/>
                <a:gd name="connsiteX104" fmla="*/ 393996 w 725034"/>
                <a:gd name="connsiteY104" fmla="*/ 735149 h 777097"/>
                <a:gd name="connsiteX105" fmla="*/ 389177 w 725034"/>
                <a:gd name="connsiteY105" fmla="*/ 735036 h 777097"/>
                <a:gd name="connsiteX106" fmla="*/ 383646 w 725034"/>
                <a:gd name="connsiteY106" fmla="*/ 735336 h 777097"/>
                <a:gd name="connsiteX107" fmla="*/ 377129 w 725034"/>
                <a:gd name="connsiteY107" fmla="*/ 736076 h 777097"/>
                <a:gd name="connsiteX108" fmla="*/ 375031 w 725034"/>
                <a:gd name="connsiteY108" fmla="*/ 737758 h 777097"/>
                <a:gd name="connsiteX109" fmla="*/ 370108 w 725034"/>
                <a:gd name="connsiteY109" fmla="*/ 744617 h 777097"/>
                <a:gd name="connsiteX110" fmla="*/ 365340 w 725034"/>
                <a:gd name="connsiteY110" fmla="*/ 752570 h 777097"/>
                <a:gd name="connsiteX111" fmla="*/ 362223 w 725034"/>
                <a:gd name="connsiteY111" fmla="*/ 752533 h 777097"/>
                <a:gd name="connsiteX112" fmla="*/ 358719 w 725034"/>
                <a:gd name="connsiteY112" fmla="*/ 748183 h 777097"/>
                <a:gd name="connsiteX113" fmla="*/ 349127 w 725034"/>
                <a:gd name="connsiteY113" fmla="*/ 739957 h 777097"/>
                <a:gd name="connsiteX114" fmla="*/ 337502 w 725034"/>
                <a:gd name="connsiteY114" fmla="*/ 729157 h 777097"/>
                <a:gd name="connsiteX115" fmla="*/ 332196 w 725034"/>
                <a:gd name="connsiteY115" fmla="*/ 723781 h 777097"/>
                <a:gd name="connsiteX116" fmla="*/ 329384 w 725034"/>
                <a:gd name="connsiteY116" fmla="*/ 723087 h 777097"/>
                <a:gd name="connsiteX117" fmla="*/ 323815 w 725034"/>
                <a:gd name="connsiteY117" fmla="*/ 726944 h 777097"/>
                <a:gd name="connsiteX118" fmla="*/ 319128 w 725034"/>
                <a:gd name="connsiteY118" fmla="*/ 730654 h 777097"/>
                <a:gd name="connsiteX119" fmla="*/ 314135 w 725034"/>
                <a:gd name="connsiteY119" fmla="*/ 735901 h 777097"/>
                <a:gd name="connsiteX120" fmla="*/ 311866 w 725034"/>
                <a:gd name="connsiteY120" fmla="*/ 740921 h 777097"/>
                <a:gd name="connsiteX121" fmla="*/ 310071 w 725034"/>
                <a:gd name="connsiteY121" fmla="*/ 746851 h 777097"/>
                <a:gd name="connsiteX122" fmla="*/ 309273 w 725034"/>
                <a:gd name="connsiteY122" fmla="*/ 753848 h 777097"/>
                <a:gd name="connsiteX123" fmla="*/ 307460 w 725034"/>
                <a:gd name="connsiteY123" fmla="*/ 761977 h 777097"/>
                <a:gd name="connsiteX124" fmla="*/ 303429 w 725034"/>
                <a:gd name="connsiteY124" fmla="*/ 768531 h 777097"/>
                <a:gd name="connsiteX125" fmla="*/ 298650 w 725034"/>
                <a:gd name="connsiteY125" fmla="*/ 773492 h 777097"/>
                <a:gd name="connsiteX126" fmla="*/ 295101 w 725034"/>
                <a:gd name="connsiteY126" fmla="*/ 775828 h 777097"/>
                <a:gd name="connsiteX127" fmla="*/ 293730 w 725034"/>
                <a:gd name="connsiteY127" fmla="*/ 777097 h 777097"/>
                <a:gd name="connsiteX128" fmla="*/ 283310 w 725034"/>
                <a:gd name="connsiteY128" fmla="*/ 773246 h 777097"/>
                <a:gd name="connsiteX129" fmla="*/ 282011 w 725034"/>
                <a:gd name="connsiteY129" fmla="*/ 772764 h 777097"/>
                <a:gd name="connsiteX130" fmla="*/ 275724 w 725034"/>
                <a:gd name="connsiteY130" fmla="*/ 768403 h 777097"/>
                <a:gd name="connsiteX131" fmla="*/ 272692 w 725034"/>
                <a:gd name="connsiteY131" fmla="*/ 763220 h 777097"/>
                <a:gd name="connsiteX132" fmla="*/ 267737 w 725034"/>
                <a:gd name="connsiteY132" fmla="*/ 759323 h 777097"/>
                <a:gd name="connsiteX133" fmla="*/ 260861 w 725034"/>
                <a:gd name="connsiteY133" fmla="*/ 756714 h 777097"/>
                <a:gd name="connsiteX134" fmla="*/ 256383 w 725034"/>
                <a:gd name="connsiteY134" fmla="*/ 753735 h 777097"/>
                <a:gd name="connsiteX135" fmla="*/ 254304 w 725034"/>
                <a:gd name="connsiteY135" fmla="*/ 750379 h 777097"/>
                <a:gd name="connsiteX136" fmla="*/ 251765 w 725034"/>
                <a:gd name="connsiteY136" fmla="*/ 748145 h 777097"/>
                <a:gd name="connsiteX137" fmla="*/ 249081 w 725034"/>
                <a:gd name="connsiteY137" fmla="*/ 746993 h 777097"/>
                <a:gd name="connsiteX138" fmla="*/ 248837 w 725034"/>
                <a:gd name="connsiteY138" fmla="*/ 745788 h 777097"/>
                <a:gd name="connsiteX139" fmla="*/ 249472 w 725034"/>
                <a:gd name="connsiteY139" fmla="*/ 744138 h 777097"/>
                <a:gd name="connsiteX140" fmla="*/ 248834 w 725034"/>
                <a:gd name="connsiteY140" fmla="*/ 741060 h 777097"/>
                <a:gd name="connsiteX141" fmla="*/ 244798 w 725034"/>
                <a:gd name="connsiteY141" fmla="*/ 734235 h 777097"/>
                <a:gd name="connsiteX142" fmla="*/ 241037 w 725034"/>
                <a:gd name="connsiteY142" fmla="*/ 731091 h 777097"/>
                <a:gd name="connsiteX143" fmla="*/ 237826 w 725034"/>
                <a:gd name="connsiteY143" fmla="*/ 731592 h 777097"/>
                <a:gd name="connsiteX144" fmla="*/ 236004 w 725034"/>
                <a:gd name="connsiteY144" fmla="*/ 730751 h 777097"/>
                <a:gd name="connsiteX145" fmla="*/ 234903 w 725034"/>
                <a:gd name="connsiteY145" fmla="*/ 729248 h 777097"/>
                <a:gd name="connsiteX146" fmla="*/ 234467 w 725034"/>
                <a:gd name="connsiteY146" fmla="*/ 727033 h 777097"/>
                <a:gd name="connsiteX147" fmla="*/ 232268 w 725034"/>
                <a:gd name="connsiteY147" fmla="*/ 725120 h 777097"/>
                <a:gd name="connsiteX148" fmla="*/ 228475 w 725034"/>
                <a:gd name="connsiteY148" fmla="*/ 724295 h 777097"/>
                <a:gd name="connsiteX149" fmla="*/ 225419 w 725034"/>
                <a:gd name="connsiteY149" fmla="*/ 719230 h 777097"/>
                <a:gd name="connsiteX150" fmla="*/ 223110 w 725034"/>
                <a:gd name="connsiteY150" fmla="*/ 709917 h 777097"/>
                <a:gd name="connsiteX151" fmla="*/ 220115 w 725034"/>
                <a:gd name="connsiteY151" fmla="*/ 702653 h 777097"/>
                <a:gd name="connsiteX152" fmla="*/ 216437 w 725034"/>
                <a:gd name="connsiteY152" fmla="*/ 697446 h 777097"/>
                <a:gd name="connsiteX153" fmla="*/ 213804 w 725034"/>
                <a:gd name="connsiteY153" fmla="*/ 695506 h 777097"/>
                <a:gd name="connsiteX154" fmla="*/ 211860 w 725034"/>
                <a:gd name="connsiteY154" fmla="*/ 695147 h 777097"/>
                <a:gd name="connsiteX155" fmla="*/ 211198 w 725034"/>
                <a:gd name="connsiteY155" fmla="*/ 694341 h 777097"/>
                <a:gd name="connsiteX156" fmla="*/ 210673 w 725034"/>
                <a:gd name="connsiteY156" fmla="*/ 692828 h 777097"/>
                <a:gd name="connsiteX157" fmla="*/ 207799 w 725034"/>
                <a:gd name="connsiteY157" fmla="*/ 692289 h 777097"/>
                <a:gd name="connsiteX158" fmla="*/ 203771 w 725034"/>
                <a:gd name="connsiteY158" fmla="*/ 693854 h 777097"/>
                <a:gd name="connsiteX159" fmla="*/ 200149 w 725034"/>
                <a:gd name="connsiteY159" fmla="*/ 693331 h 777097"/>
                <a:gd name="connsiteX160" fmla="*/ 198357 w 725034"/>
                <a:gd name="connsiteY160" fmla="*/ 690787 h 777097"/>
                <a:gd name="connsiteX161" fmla="*/ 195888 w 725034"/>
                <a:gd name="connsiteY161" fmla="*/ 690562 h 777097"/>
                <a:gd name="connsiteX162" fmla="*/ 192738 w 725034"/>
                <a:gd name="connsiteY162" fmla="*/ 692656 h 777097"/>
                <a:gd name="connsiteX163" fmla="*/ 189264 w 725034"/>
                <a:gd name="connsiteY163" fmla="*/ 692040 h 777097"/>
                <a:gd name="connsiteX164" fmla="*/ 185465 w 725034"/>
                <a:gd name="connsiteY164" fmla="*/ 688713 h 777097"/>
                <a:gd name="connsiteX165" fmla="*/ 183360 w 725034"/>
                <a:gd name="connsiteY165" fmla="*/ 685411 h 777097"/>
                <a:gd name="connsiteX166" fmla="*/ 182950 w 725034"/>
                <a:gd name="connsiteY166" fmla="*/ 682135 h 777097"/>
                <a:gd name="connsiteX167" fmla="*/ 176401 w 725034"/>
                <a:gd name="connsiteY167" fmla="*/ 675583 h 777097"/>
                <a:gd name="connsiteX168" fmla="*/ 163700 w 725034"/>
                <a:gd name="connsiteY168" fmla="*/ 665764 h 777097"/>
                <a:gd name="connsiteX169" fmla="*/ 149859 w 725034"/>
                <a:gd name="connsiteY169" fmla="*/ 661157 h 777097"/>
                <a:gd name="connsiteX170" fmla="*/ 134876 w 725034"/>
                <a:gd name="connsiteY170" fmla="*/ 661770 h 777097"/>
                <a:gd name="connsiteX171" fmla="*/ 126473 w 725034"/>
                <a:gd name="connsiteY171" fmla="*/ 661307 h 777097"/>
                <a:gd name="connsiteX172" fmla="*/ 124641 w 725034"/>
                <a:gd name="connsiteY172" fmla="*/ 659761 h 777097"/>
                <a:gd name="connsiteX173" fmla="*/ 122798 w 725034"/>
                <a:gd name="connsiteY173" fmla="*/ 659882 h 777097"/>
                <a:gd name="connsiteX174" fmla="*/ 120947 w 725034"/>
                <a:gd name="connsiteY174" fmla="*/ 661674 h 777097"/>
                <a:gd name="connsiteX175" fmla="*/ 118973 w 725034"/>
                <a:gd name="connsiteY175" fmla="*/ 662070 h 777097"/>
                <a:gd name="connsiteX176" fmla="*/ 116881 w 725034"/>
                <a:gd name="connsiteY176" fmla="*/ 661071 h 777097"/>
                <a:gd name="connsiteX177" fmla="*/ 115574 w 725034"/>
                <a:gd name="connsiteY177" fmla="*/ 661829 h 777097"/>
                <a:gd name="connsiteX178" fmla="*/ 115052 w 725034"/>
                <a:gd name="connsiteY178" fmla="*/ 664344 h 777097"/>
                <a:gd name="connsiteX179" fmla="*/ 109775 w 725034"/>
                <a:gd name="connsiteY179" fmla="*/ 665622 h 777097"/>
                <a:gd name="connsiteX180" fmla="*/ 99738 w 725034"/>
                <a:gd name="connsiteY180" fmla="*/ 665659 h 777097"/>
                <a:gd name="connsiteX181" fmla="*/ 91641 w 725034"/>
                <a:gd name="connsiteY181" fmla="*/ 667205 h 777097"/>
                <a:gd name="connsiteX182" fmla="*/ 85475 w 725034"/>
                <a:gd name="connsiteY182" fmla="*/ 670248 h 777097"/>
                <a:gd name="connsiteX183" fmla="*/ 76746 w 725034"/>
                <a:gd name="connsiteY183" fmla="*/ 671555 h 777097"/>
                <a:gd name="connsiteX184" fmla="*/ 65445 w 725034"/>
                <a:gd name="connsiteY184" fmla="*/ 671126 h 777097"/>
                <a:gd name="connsiteX185" fmla="*/ 58634 w 725034"/>
                <a:gd name="connsiteY185" fmla="*/ 670012 h 777097"/>
                <a:gd name="connsiteX186" fmla="*/ 56306 w 725034"/>
                <a:gd name="connsiteY186" fmla="*/ 668207 h 777097"/>
                <a:gd name="connsiteX187" fmla="*/ 53046 w 725034"/>
                <a:gd name="connsiteY187" fmla="*/ 667783 h 777097"/>
                <a:gd name="connsiteX188" fmla="*/ 48859 w 725034"/>
                <a:gd name="connsiteY188" fmla="*/ 668742 h 777097"/>
                <a:gd name="connsiteX189" fmla="*/ 45112 w 725034"/>
                <a:gd name="connsiteY189" fmla="*/ 673609 h 777097"/>
                <a:gd name="connsiteX190" fmla="*/ 41807 w 725034"/>
                <a:gd name="connsiteY190" fmla="*/ 682376 h 777097"/>
                <a:gd name="connsiteX191" fmla="*/ 39067 w 725034"/>
                <a:gd name="connsiteY191" fmla="*/ 687377 h 777097"/>
                <a:gd name="connsiteX192" fmla="*/ 36897 w 725034"/>
                <a:gd name="connsiteY192" fmla="*/ 688614 h 777097"/>
                <a:gd name="connsiteX193" fmla="*/ 34583 w 725034"/>
                <a:gd name="connsiteY193" fmla="*/ 695137 h 777097"/>
                <a:gd name="connsiteX194" fmla="*/ 33281 w 725034"/>
                <a:gd name="connsiteY194" fmla="*/ 706060 h 777097"/>
                <a:gd name="connsiteX195" fmla="*/ 31315 w 725034"/>
                <a:gd name="connsiteY195" fmla="*/ 710854 h 777097"/>
                <a:gd name="connsiteX196" fmla="*/ 31286 w 725034"/>
                <a:gd name="connsiteY196" fmla="*/ 683614 h 777097"/>
                <a:gd name="connsiteX197" fmla="*/ 34511 w 725034"/>
                <a:gd name="connsiteY197" fmla="*/ 673432 h 777097"/>
                <a:gd name="connsiteX198" fmla="*/ 35558 w 725034"/>
                <a:gd name="connsiteY198" fmla="*/ 664470 h 777097"/>
                <a:gd name="connsiteX199" fmla="*/ 42482 w 725034"/>
                <a:gd name="connsiteY199" fmla="*/ 644689 h 777097"/>
                <a:gd name="connsiteX200" fmla="*/ 50729 w 725034"/>
                <a:gd name="connsiteY200" fmla="*/ 628465 h 777097"/>
                <a:gd name="connsiteX201" fmla="*/ 58342 w 725034"/>
                <a:gd name="connsiteY201" fmla="*/ 606911 h 777097"/>
                <a:gd name="connsiteX202" fmla="*/ 61221 w 725034"/>
                <a:gd name="connsiteY202" fmla="*/ 586013 h 777097"/>
                <a:gd name="connsiteX203" fmla="*/ 60249 w 725034"/>
                <a:gd name="connsiteY203" fmla="*/ 565511 h 777097"/>
                <a:gd name="connsiteX204" fmla="*/ 57985 w 725034"/>
                <a:gd name="connsiteY204" fmla="*/ 547262 h 777097"/>
                <a:gd name="connsiteX205" fmla="*/ 54126 w 725034"/>
                <a:gd name="connsiteY205" fmla="*/ 535190 h 777097"/>
                <a:gd name="connsiteX206" fmla="*/ 50397 w 725034"/>
                <a:gd name="connsiteY206" fmla="*/ 517699 h 777097"/>
                <a:gd name="connsiteX207" fmla="*/ 44898 w 725034"/>
                <a:gd name="connsiteY207" fmla="*/ 508458 h 777097"/>
                <a:gd name="connsiteX208" fmla="*/ 34813 w 725034"/>
                <a:gd name="connsiteY208" fmla="*/ 500396 h 777097"/>
                <a:gd name="connsiteX209" fmla="*/ 32547 w 725034"/>
                <a:gd name="connsiteY209" fmla="*/ 495671 h 777097"/>
                <a:gd name="connsiteX210" fmla="*/ 34894 w 725034"/>
                <a:gd name="connsiteY210" fmla="*/ 493908 h 777097"/>
                <a:gd name="connsiteX211" fmla="*/ 41025 w 725034"/>
                <a:gd name="connsiteY211" fmla="*/ 492703 h 777097"/>
                <a:gd name="connsiteX212" fmla="*/ 44935 w 725034"/>
                <a:gd name="connsiteY212" fmla="*/ 486405 h 777097"/>
                <a:gd name="connsiteX213" fmla="*/ 36667 w 725034"/>
                <a:gd name="connsiteY213" fmla="*/ 488835 h 777097"/>
                <a:gd name="connsiteX214" fmla="*/ 46232 w 725034"/>
                <a:gd name="connsiteY214" fmla="*/ 469517 h 777097"/>
                <a:gd name="connsiteX215" fmla="*/ 49205 w 725034"/>
                <a:gd name="connsiteY215" fmla="*/ 456347 h 777097"/>
                <a:gd name="connsiteX216" fmla="*/ 48734 w 725034"/>
                <a:gd name="connsiteY216" fmla="*/ 447700 h 777097"/>
                <a:gd name="connsiteX217" fmla="*/ 50552 w 725034"/>
                <a:gd name="connsiteY217" fmla="*/ 442357 h 777097"/>
                <a:gd name="connsiteX218" fmla="*/ 43248 w 725034"/>
                <a:gd name="connsiteY218" fmla="*/ 430761 h 777097"/>
                <a:gd name="connsiteX219" fmla="*/ 37561 w 725034"/>
                <a:gd name="connsiteY219" fmla="*/ 416161 h 777097"/>
                <a:gd name="connsiteX220" fmla="*/ 34634 w 725034"/>
                <a:gd name="connsiteY220" fmla="*/ 413846 h 777097"/>
                <a:gd name="connsiteX221" fmla="*/ 31602 w 725034"/>
                <a:gd name="connsiteY221" fmla="*/ 412628 h 777097"/>
                <a:gd name="connsiteX222" fmla="*/ 31334 w 725034"/>
                <a:gd name="connsiteY222" fmla="*/ 416056 h 777097"/>
                <a:gd name="connsiteX223" fmla="*/ 29689 w 725034"/>
                <a:gd name="connsiteY223" fmla="*/ 419136 h 777097"/>
                <a:gd name="connsiteX224" fmla="*/ 26145 w 725034"/>
                <a:gd name="connsiteY224" fmla="*/ 417283 h 777097"/>
                <a:gd name="connsiteX225" fmla="*/ 19875 w 725034"/>
                <a:gd name="connsiteY225" fmla="*/ 406654 h 777097"/>
                <a:gd name="connsiteX226" fmla="*/ 11127 w 725034"/>
                <a:gd name="connsiteY226" fmla="*/ 389338 h 777097"/>
                <a:gd name="connsiteX227" fmla="*/ 8057 w 725034"/>
                <a:gd name="connsiteY227" fmla="*/ 387562 h 777097"/>
                <a:gd name="connsiteX228" fmla="*/ 5497 w 725034"/>
                <a:gd name="connsiteY228" fmla="*/ 389935 h 777097"/>
                <a:gd name="connsiteX229" fmla="*/ 3892 w 725034"/>
                <a:gd name="connsiteY229" fmla="*/ 392212 h 777097"/>
                <a:gd name="connsiteX230" fmla="*/ 943 w 725034"/>
                <a:gd name="connsiteY230" fmla="*/ 406654 h 777097"/>
                <a:gd name="connsiteX231" fmla="*/ 0 w 725034"/>
                <a:gd name="connsiteY231" fmla="*/ 400925 h 777097"/>
                <a:gd name="connsiteX232" fmla="*/ 1278 w 725034"/>
                <a:gd name="connsiteY232" fmla="*/ 394172 h 777097"/>
                <a:gd name="connsiteX233" fmla="*/ 3437 w 725034"/>
                <a:gd name="connsiteY233" fmla="*/ 385853 h 777097"/>
                <a:gd name="connsiteX234" fmla="*/ 5888 w 725034"/>
                <a:gd name="connsiteY234" fmla="*/ 374282 h 777097"/>
                <a:gd name="connsiteX235" fmla="*/ 13481 w 725034"/>
                <a:gd name="connsiteY235" fmla="*/ 374273 h 777097"/>
                <a:gd name="connsiteX236" fmla="*/ 27061 w 725034"/>
                <a:gd name="connsiteY236" fmla="*/ 374257 h 777097"/>
                <a:gd name="connsiteX237" fmla="*/ 40644 w 725034"/>
                <a:gd name="connsiteY237" fmla="*/ 374239 h 777097"/>
                <a:gd name="connsiteX238" fmla="*/ 54225 w 725034"/>
                <a:gd name="connsiteY238" fmla="*/ 374223 h 777097"/>
                <a:gd name="connsiteX239" fmla="*/ 67805 w 725034"/>
                <a:gd name="connsiteY239" fmla="*/ 374207 h 777097"/>
                <a:gd name="connsiteX240" fmla="*/ 81390 w 725034"/>
                <a:gd name="connsiteY240" fmla="*/ 374188 h 777097"/>
                <a:gd name="connsiteX241" fmla="*/ 94968 w 725034"/>
                <a:gd name="connsiteY241" fmla="*/ 374169 h 777097"/>
                <a:gd name="connsiteX242" fmla="*/ 108551 w 725034"/>
                <a:gd name="connsiteY242" fmla="*/ 374156 h 777097"/>
                <a:gd name="connsiteX243" fmla="*/ 122131 w 725034"/>
                <a:gd name="connsiteY243" fmla="*/ 374137 h 777097"/>
                <a:gd name="connsiteX244" fmla="*/ 135711 w 725034"/>
                <a:gd name="connsiteY244" fmla="*/ 374118 h 777097"/>
                <a:gd name="connsiteX245" fmla="*/ 149297 w 725034"/>
                <a:gd name="connsiteY245" fmla="*/ 374102 h 777097"/>
                <a:gd name="connsiteX246" fmla="*/ 162877 w 725034"/>
                <a:gd name="connsiteY246" fmla="*/ 374086 h 777097"/>
                <a:gd name="connsiteX247" fmla="*/ 176457 w 725034"/>
                <a:gd name="connsiteY247" fmla="*/ 374067 h 777097"/>
                <a:gd name="connsiteX248" fmla="*/ 190040 w 725034"/>
                <a:gd name="connsiteY248" fmla="*/ 374051 h 777097"/>
                <a:gd name="connsiteX249" fmla="*/ 203623 w 725034"/>
                <a:gd name="connsiteY249" fmla="*/ 374035 h 777097"/>
                <a:gd name="connsiteX250" fmla="*/ 217203 w 725034"/>
                <a:gd name="connsiteY250" fmla="*/ 374016 h 777097"/>
                <a:gd name="connsiteX251" fmla="*/ 230784 w 725034"/>
                <a:gd name="connsiteY251" fmla="*/ 374000 h 777097"/>
                <a:gd name="connsiteX252" fmla="*/ 239741 w 725034"/>
                <a:gd name="connsiteY252" fmla="*/ 373992 h 777097"/>
                <a:gd name="connsiteX253" fmla="*/ 239216 w 725034"/>
                <a:gd name="connsiteY253" fmla="*/ 365758 h 777097"/>
                <a:gd name="connsiteX254" fmla="*/ 238793 w 725034"/>
                <a:gd name="connsiteY254" fmla="*/ 359231 h 777097"/>
                <a:gd name="connsiteX255" fmla="*/ 238227 w 725034"/>
                <a:gd name="connsiteY255" fmla="*/ 350437 h 777097"/>
                <a:gd name="connsiteX256" fmla="*/ 237668 w 725034"/>
                <a:gd name="connsiteY256" fmla="*/ 341684 h 777097"/>
                <a:gd name="connsiteX257" fmla="*/ 237110 w 725034"/>
                <a:gd name="connsiteY257" fmla="*/ 332930 h 777097"/>
                <a:gd name="connsiteX258" fmla="*/ 236580 w 725034"/>
                <a:gd name="connsiteY258" fmla="*/ 324696 h 777097"/>
                <a:gd name="connsiteX259" fmla="*/ 236052 w 725034"/>
                <a:gd name="connsiteY259" fmla="*/ 316470 h 777097"/>
                <a:gd name="connsiteX260" fmla="*/ 235562 w 725034"/>
                <a:gd name="connsiteY260" fmla="*/ 308831 h 777097"/>
                <a:gd name="connsiteX261" fmla="*/ 235115 w 725034"/>
                <a:gd name="connsiteY261" fmla="*/ 301811 h 777097"/>
                <a:gd name="connsiteX262" fmla="*/ 234343 w 725034"/>
                <a:gd name="connsiteY262" fmla="*/ 297777 h 777097"/>
                <a:gd name="connsiteX263" fmla="*/ 231464 w 725034"/>
                <a:gd name="connsiteY263" fmla="*/ 289768 h 777097"/>
                <a:gd name="connsiteX264" fmla="*/ 230840 w 725034"/>
                <a:gd name="connsiteY264" fmla="*/ 285782 h 777097"/>
                <a:gd name="connsiteX265" fmla="*/ 231622 w 725034"/>
                <a:gd name="connsiteY265" fmla="*/ 281588 h 777097"/>
                <a:gd name="connsiteX266" fmla="*/ 233540 w 725034"/>
                <a:gd name="connsiteY266" fmla="*/ 277621 h 777097"/>
                <a:gd name="connsiteX267" fmla="*/ 238835 w 725034"/>
                <a:gd name="connsiteY267" fmla="*/ 270373 h 777097"/>
                <a:gd name="connsiteX268" fmla="*/ 246860 w 725034"/>
                <a:gd name="connsiteY268" fmla="*/ 264799 h 777097"/>
                <a:gd name="connsiteX269" fmla="*/ 256125 w 725034"/>
                <a:gd name="connsiteY269" fmla="*/ 258351 h 777097"/>
                <a:gd name="connsiteX270" fmla="*/ 263183 w 725034"/>
                <a:gd name="connsiteY270" fmla="*/ 253439 h 777097"/>
                <a:gd name="connsiteX271" fmla="*/ 266799 w 725034"/>
                <a:gd name="connsiteY271" fmla="*/ 252223 h 777097"/>
                <a:gd name="connsiteX272" fmla="*/ 277843 w 725034"/>
                <a:gd name="connsiteY272" fmla="*/ 250522 h 777097"/>
                <a:gd name="connsiteX273" fmla="*/ 286535 w 725034"/>
                <a:gd name="connsiteY273" fmla="*/ 246804 h 777097"/>
                <a:gd name="connsiteX274" fmla="*/ 294991 w 725034"/>
                <a:gd name="connsiteY274" fmla="*/ 243180 h 777097"/>
                <a:gd name="connsiteX275" fmla="*/ 298543 w 725034"/>
                <a:gd name="connsiteY275" fmla="*/ 241168 h 777097"/>
                <a:gd name="connsiteX276" fmla="*/ 298963 w 725034"/>
                <a:gd name="connsiteY276" fmla="*/ 234357 h 777097"/>
                <a:gd name="connsiteX277" fmla="*/ 298963 w 725034"/>
                <a:gd name="connsiteY277" fmla="*/ 226755 h 777097"/>
                <a:gd name="connsiteX278" fmla="*/ 298963 w 725034"/>
                <a:gd name="connsiteY278" fmla="*/ 218227 h 777097"/>
                <a:gd name="connsiteX279" fmla="*/ 298963 w 725034"/>
                <a:gd name="connsiteY279" fmla="*/ 209690 h 777097"/>
                <a:gd name="connsiteX280" fmla="*/ 298963 w 725034"/>
                <a:gd name="connsiteY280" fmla="*/ 201148 h 777097"/>
                <a:gd name="connsiteX281" fmla="*/ 298963 w 725034"/>
                <a:gd name="connsiteY281" fmla="*/ 192604 h 777097"/>
                <a:gd name="connsiteX282" fmla="*/ 298963 w 725034"/>
                <a:gd name="connsiteY282" fmla="*/ 184051 h 777097"/>
                <a:gd name="connsiteX283" fmla="*/ 298963 w 725034"/>
                <a:gd name="connsiteY283" fmla="*/ 175493 h 777097"/>
                <a:gd name="connsiteX284" fmla="*/ 298963 w 725034"/>
                <a:gd name="connsiteY284" fmla="*/ 166927 h 777097"/>
                <a:gd name="connsiteX285" fmla="*/ 298963 w 725034"/>
                <a:gd name="connsiteY285" fmla="*/ 158358 h 777097"/>
                <a:gd name="connsiteX286" fmla="*/ 298963 w 725034"/>
                <a:gd name="connsiteY286" fmla="*/ 149784 h 777097"/>
                <a:gd name="connsiteX287" fmla="*/ 298963 w 725034"/>
                <a:gd name="connsiteY287" fmla="*/ 141205 h 777097"/>
                <a:gd name="connsiteX288" fmla="*/ 298963 w 725034"/>
                <a:gd name="connsiteY288" fmla="*/ 132618 h 777097"/>
                <a:gd name="connsiteX289" fmla="*/ 298963 w 725034"/>
                <a:gd name="connsiteY289" fmla="*/ 124025 h 777097"/>
                <a:gd name="connsiteX290" fmla="*/ 298963 w 725034"/>
                <a:gd name="connsiteY290" fmla="*/ 115424 h 777097"/>
                <a:gd name="connsiteX291" fmla="*/ 298963 w 725034"/>
                <a:gd name="connsiteY291" fmla="*/ 106821 h 777097"/>
                <a:gd name="connsiteX292" fmla="*/ 298963 w 725034"/>
                <a:gd name="connsiteY292" fmla="*/ 98209 h 777097"/>
                <a:gd name="connsiteX293" fmla="*/ 298963 w 725034"/>
                <a:gd name="connsiteY293" fmla="*/ 89589 h 777097"/>
                <a:gd name="connsiteX294" fmla="*/ 298963 w 725034"/>
                <a:gd name="connsiteY294" fmla="*/ 82047 h 777097"/>
                <a:gd name="connsiteX295" fmla="*/ 307827 w 725034"/>
                <a:gd name="connsiteY295" fmla="*/ 82047 h 777097"/>
                <a:gd name="connsiteX296" fmla="*/ 318860 w 725034"/>
                <a:gd name="connsiteY296" fmla="*/ 82047 h 777097"/>
                <a:gd name="connsiteX297" fmla="*/ 329895 w 725034"/>
                <a:gd name="connsiteY297" fmla="*/ 82047 h 777097"/>
                <a:gd name="connsiteX298" fmla="*/ 340934 w 725034"/>
                <a:gd name="connsiteY298" fmla="*/ 82047 h 777097"/>
                <a:gd name="connsiteX299" fmla="*/ 351969 w 725034"/>
                <a:gd name="connsiteY299" fmla="*/ 82044 h 777097"/>
                <a:gd name="connsiteX300" fmla="*/ 363002 w 725034"/>
                <a:gd name="connsiteY300" fmla="*/ 82044 h 777097"/>
                <a:gd name="connsiteX301" fmla="*/ 374038 w 725034"/>
                <a:gd name="connsiteY301" fmla="*/ 82044 h 777097"/>
                <a:gd name="connsiteX302" fmla="*/ 385073 w 725034"/>
                <a:gd name="connsiteY302" fmla="*/ 82044 h 777097"/>
                <a:gd name="connsiteX303" fmla="*/ 396109 w 725034"/>
                <a:gd name="connsiteY303" fmla="*/ 82044 h 777097"/>
                <a:gd name="connsiteX304" fmla="*/ 407145 w 725034"/>
                <a:gd name="connsiteY304" fmla="*/ 82044 h 777097"/>
                <a:gd name="connsiteX305" fmla="*/ 418177 w 725034"/>
                <a:gd name="connsiteY305" fmla="*/ 82044 h 777097"/>
                <a:gd name="connsiteX306" fmla="*/ 429213 w 725034"/>
                <a:gd name="connsiteY306" fmla="*/ 82044 h 777097"/>
                <a:gd name="connsiteX307" fmla="*/ 440249 w 725034"/>
                <a:gd name="connsiteY307" fmla="*/ 82041 h 777097"/>
                <a:gd name="connsiteX308" fmla="*/ 451284 w 725034"/>
                <a:gd name="connsiteY308" fmla="*/ 82041 h 777097"/>
                <a:gd name="connsiteX309" fmla="*/ 462323 w 725034"/>
                <a:gd name="connsiteY309" fmla="*/ 82041 h 777097"/>
                <a:gd name="connsiteX310" fmla="*/ 473356 w 725034"/>
                <a:gd name="connsiteY310" fmla="*/ 82041 h 777097"/>
                <a:gd name="connsiteX311" fmla="*/ 484388 w 725034"/>
                <a:gd name="connsiteY311" fmla="*/ 82041 h 777097"/>
                <a:gd name="connsiteX312" fmla="*/ 496437 w 725034"/>
                <a:gd name="connsiteY312" fmla="*/ 82041 h 777097"/>
                <a:gd name="connsiteX313" fmla="*/ 496442 w 725034"/>
                <a:gd name="connsiteY313" fmla="*/ 74820 h 777097"/>
                <a:gd name="connsiteX314" fmla="*/ 496442 w 725034"/>
                <a:gd name="connsiteY314" fmla="*/ 64435 h 777097"/>
                <a:gd name="connsiteX315" fmla="*/ 496429 w 725034"/>
                <a:gd name="connsiteY315" fmla="*/ 50180 h 777097"/>
                <a:gd name="connsiteX316" fmla="*/ 496412 w 725034"/>
                <a:gd name="connsiteY316" fmla="*/ 35852 h 777097"/>
                <a:gd name="connsiteX317" fmla="*/ 496399 w 725034"/>
                <a:gd name="connsiteY317" fmla="*/ 23239 h 777097"/>
                <a:gd name="connsiteX318" fmla="*/ 496383 w 725034"/>
                <a:gd name="connsiteY318" fmla="*/ 10626 h 777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</a:cxnLst>
              <a:rect l="l" t="t" r="r" b="b"/>
              <a:pathLst>
                <a:path w="725034" h="777097">
                  <a:moveTo>
                    <a:pt x="42663" y="464647"/>
                  </a:moveTo>
                  <a:lnTo>
                    <a:pt x="40904" y="474482"/>
                  </a:lnTo>
                  <a:lnTo>
                    <a:pt x="37100" y="480463"/>
                  </a:lnTo>
                  <a:lnTo>
                    <a:pt x="35418" y="478179"/>
                  </a:lnTo>
                  <a:lnTo>
                    <a:pt x="34764" y="474244"/>
                  </a:lnTo>
                  <a:lnTo>
                    <a:pt x="38129" y="468606"/>
                  </a:lnTo>
                  <a:lnTo>
                    <a:pt x="39722" y="465692"/>
                  </a:lnTo>
                  <a:close/>
                  <a:moveTo>
                    <a:pt x="496370" y="0"/>
                  </a:moveTo>
                  <a:lnTo>
                    <a:pt x="507507" y="7053"/>
                  </a:lnTo>
                  <a:lnTo>
                    <a:pt x="518644" y="14103"/>
                  </a:lnTo>
                  <a:lnTo>
                    <a:pt x="529782" y="21147"/>
                  </a:lnTo>
                  <a:lnTo>
                    <a:pt x="540922" y="28189"/>
                  </a:lnTo>
                  <a:lnTo>
                    <a:pt x="552059" y="35226"/>
                  </a:lnTo>
                  <a:lnTo>
                    <a:pt x="563194" y="42260"/>
                  </a:lnTo>
                  <a:lnTo>
                    <a:pt x="574334" y="49288"/>
                  </a:lnTo>
                  <a:lnTo>
                    <a:pt x="585474" y="56311"/>
                  </a:lnTo>
                  <a:lnTo>
                    <a:pt x="596612" y="63332"/>
                  </a:lnTo>
                  <a:lnTo>
                    <a:pt x="607749" y="70347"/>
                  </a:lnTo>
                  <a:lnTo>
                    <a:pt x="618889" y="77357"/>
                  </a:lnTo>
                  <a:lnTo>
                    <a:pt x="630026" y="84369"/>
                  </a:lnTo>
                  <a:lnTo>
                    <a:pt x="641164" y="91371"/>
                  </a:lnTo>
                  <a:lnTo>
                    <a:pt x="652304" y="98370"/>
                  </a:lnTo>
                  <a:lnTo>
                    <a:pt x="663441" y="105366"/>
                  </a:lnTo>
                  <a:lnTo>
                    <a:pt x="674579" y="112357"/>
                  </a:lnTo>
                  <a:lnTo>
                    <a:pt x="683911" y="118210"/>
                  </a:lnTo>
                  <a:lnTo>
                    <a:pt x="698238" y="127633"/>
                  </a:lnTo>
                  <a:lnTo>
                    <a:pt x="711596" y="136408"/>
                  </a:lnTo>
                  <a:lnTo>
                    <a:pt x="725034" y="145226"/>
                  </a:lnTo>
                  <a:lnTo>
                    <a:pt x="704286" y="145239"/>
                  </a:lnTo>
                  <a:lnTo>
                    <a:pt x="676577" y="145252"/>
                  </a:lnTo>
                  <a:lnTo>
                    <a:pt x="657680" y="145266"/>
                  </a:lnTo>
                  <a:lnTo>
                    <a:pt x="638287" y="145274"/>
                  </a:lnTo>
                  <a:lnTo>
                    <a:pt x="620113" y="145287"/>
                  </a:lnTo>
                  <a:lnTo>
                    <a:pt x="621693" y="159639"/>
                  </a:lnTo>
                  <a:lnTo>
                    <a:pt x="623378" y="175282"/>
                  </a:lnTo>
                  <a:lnTo>
                    <a:pt x="625066" y="190908"/>
                  </a:lnTo>
                  <a:lnTo>
                    <a:pt x="626751" y="206516"/>
                  </a:lnTo>
                  <a:lnTo>
                    <a:pt x="628438" y="222103"/>
                  </a:lnTo>
                  <a:lnTo>
                    <a:pt x="630126" y="237673"/>
                  </a:lnTo>
                  <a:lnTo>
                    <a:pt x="631810" y="253222"/>
                  </a:lnTo>
                  <a:lnTo>
                    <a:pt x="633495" y="268757"/>
                  </a:lnTo>
                  <a:lnTo>
                    <a:pt x="635183" y="284269"/>
                  </a:lnTo>
                  <a:lnTo>
                    <a:pt x="636870" y="299764"/>
                  </a:lnTo>
                  <a:lnTo>
                    <a:pt x="638555" y="315244"/>
                  </a:lnTo>
                  <a:lnTo>
                    <a:pt x="640242" y="330704"/>
                  </a:lnTo>
                  <a:lnTo>
                    <a:pt x="641930" y="346151"/>
                  </a:lnTo>
                  <a:lnTo>
                    <a:pt x="643617" y="361580"/>
                  </a:lnTo>
                  <a:lnTo>
                    <a:pt x="645302" y="376990"/>
                  </a:lnTo>
                  <a:lnTo>
                    <a:pt x="646987" y="392386"/>
                  </a:lnTo>
                  <a:lnTo>
                    <a:pt x="648677" y="407766"/>
                  </a:lnTo>
                  <a:lnTo>
                    <a:pt x="650359" y="423130"/>
                  </a:lnTo>
                  <a:lnTo>
                    <a:pt x="652049" y="438476"/>
                  </a:lnTo>
                  <a:lnTo>
                    <a:pt x="653734" y="453808"/>
                  </a:lnTo>
                  <a:lnTo>
                    <a:pt x="655422" y="469124"/>
                  </a:lnTo>
                  <a:lnTo>
                    <a:pt x="657107" y="484426"/>
                  </a:lnTo>
                  <a:lnTo>
                    <a:pt x="658791" y="499713"/>
                  </a:lnTo>
                  <a:lnTo>
                    <a:pt x="660482" y="514986"/>
                  </a:lnTo>
                  <a:lnTo>
                    <a:pt x="662166" y="530240"/>
                  </a:lnTo>
                  <a:lnTo>
                    <a:pt x="663854" y="545484"/>
                  </a:lnTo>
                  <a:lnTo>
                    <a:pt x="665541" y="560711"/>
                  </a:lnTo>
                  <a:lnTo>
                    <a:pt x="667226" y="575925"/>
                  </a:lnTo>
                  <a:lnTo>
                    <a:pt x="668914" y="591129"/>
                  </a:lnTo>
                  <a:lnTo>
                    <a:pt x="670598" y="606319"/>
                  </a:lnTo>
                  <a:lnTo>
                    <a:pt x="672289" y="621495"/>
                  </a:lnTo>
                  <a:lnTo>
                    <a:pt x="673971" y="636653"/>
                  </a:lnTo>
                  <a:lnTo>
                    <a:pt x="675658" y="651806"/>
                  </a:lnTo>
                  <a:lnTo>
                    <a:pt x="677292" y="666471"/>
                  </a:lnTo>
                  <a:lnTo>
                    <a:pt x="684345" y="674174"/>
                  </a:lnTo>
                  <a:lnTo>
                    <a:pt x="693211" y="683852"/>
                  </a:lnTo>
                  <a:lnTo>
                    <a:pt x="690626" y="697523"/>
                  </a:lnTo>
                  <a:lnTo>
                    <a:pt x="687543" y="713828"/>
                  </a:lnTo>
                  <a:lnTo>
                    <a:pt x="684173" y="731610"/>
                  </a:lnTo>
                  <a:lnTo>
                    <a:pt x="671654" y="731610"/>
                  </a:lnTo>
                  <a:lnTo>
                    <a:pt x="659573" y="731610"/>
                  </a:lnTo>
                  <a:lnTo>
                    <a:pt x="647493" y="731613"/>
                  </a:lnTo>
                  <a:lnTo>
                    <a:pt x="635413" y="731616"/>
                  </a:lnTo>
                  <a:lnTo>
                    <a:pt x="623338" y="731616"/>
                  </a:lnTo>
                  <a:lnTo>
                    <a:pt x="611258" y="731616"/>
                  </a:lnTo>
                  <a:lnTo>
                    <a:pt x="599178" y="731616"/>
                  </a:lnTo>
                  <a:lnTo>
                    <a:pt x="587097" y="731616"/>
                  </a:lnTo>
                  <a:lnTo>
                    <a:pt x="575017" y="731616"/>
                  </a:lnTo>
                  <a:lnTo>
                    <a:pt x="562940" y="731621"/>
                  </a:lnTo>
                  <a:lnTo>
                    <a:pt x="550857" y="731621"/>
                  </a:lnTo>
                  <a:lnTo>
                    <a:pt x="538779" y="731621"/>
                  </a:lnTo>
                  <a:lnTo>
                    <a:pt x="526702" y="731621"/>
                  </a:lnTo>
                  <a:lnTo>
                    <a:pt x="514621" y="731621"/>
                  </a:lnTo>
                  <a:lnTo>
                    <a:pt x="502541" y="731621"/>
                  </a:lnTo>
                  <a:lnTo>
                    <a:pt x="490461" y="731624"/>
                  </a:lnTo>
                  <a:lnTo>
                    <a:pt x="478381" y="731624"/>
                  </a:lnTo>
                  <a:lnTo>
                    <a:pt x="467144" y="731624"/>
                  </a:lnTo>
                  <a:lnTo>
                    <a:pt x="460220" y="731214"/>
                  </a:lnTo>
                  <a:lnTo>
                    <a:pt x="457748" y="729829"/>
                  </a:lnTo>
                  <a:lnTo>
                    <a:pt x="456850" y="720626"/>
                  </a:lnTo>
                  <a:lnTo>
                    <a:pt x="454791" y="721218"/>
                  </a:lnTo>
                  <a:lnTo>
                    <a:pt x="452350" y="723923"/>
                  </a:lnTo>
                  <a:lnTo>
                    <a:pt x="451097" y="726845"/>
                  </a:lnTo>
                  <a:lnTo>
                    <a:pt x="451533" y="730678"/>
                  </a:lnTo>
                  <a:lnTo>
                    <a:pt x="451145" y="733919"/>
                  </a:lnTo>
                  <a:lnTo>
                    <a:pt x="443391" y="735192"/>
                  </a:lnTo>
                  <a:lnTo>
                    <a:pt x="432893" y="737361"/>
                  </a:lnTo>
                  <a:lnTo>
                    <a:pt x="421855" y="739038"/>
                  </a:lnTo>
                  <a:lnTo>
                    <a:pt x="410715" y="738438"/>
                  </a:lnTo>
                  <a:lnTo>
                    <a:pt x="406912" y="737691"/>
                  </a:lnTo>
                  <a:lnTo>
                    <a:pt x="402862" y="736477"/>
                  </a:lnTo>
                  <a:lnTo>
                    <a:pt x="393996" y="735149"/>
                  </a:lnTo>
                  <a:lnTo>
                    <a:pt x="389177" y="735036"/>
                  </a:lnTo>
                  <a:lnTo>
                    <a:pt x="383646" y="735336"/>
                  </a:lnTo>
                  <a:lnTo>
                    <a:pt x="377129" y="736076"/>
                  </a:lnTo>
                  <a:lnTo>
                    <a:pt x="375031" y="737758"/>
                  </a:lnTo>
                  <a:lnTo>
                    <a:pt x="370108" y="744617"/>
                  </a:lnTo>
                  <a:lnTo>
                    <a:pt x="365340" y="752570"/>
                  </a:lnTo>
                  <a:lnTo>
                    <a:pt x="362223" y="752533"/>
                  </a:lnTo>
                  <a:lnTo>
                    <a:pt x="358719" y="748183"/>
                  </a:lnTo>
                  <a:lnTo>
                    <a:pt x="349127" y="739957"/>
                  </a:lnTo>
                  <a:lnTo>
                    <a:pt x="337502" y="729157"/>
                  </a:lnTo>
                  <a:lnTo>
                    <a:pt x="332196" y="723781"/>
                  </a:lnTo>
                  <a:lnTo>
                    <a:pt x="329384" y="723087"/>
                  </a:lnTo>
                  <a:lnTo>
                    <a:pt x="323815" y="726944"/>
                  </a:lnTo>
                  <a:lnTo>
                    <a:pt x="319128" y="730654"/>
                  </a:lnTo>
                  <a:lnTo>
                    <a:pt x="314135" y="735901"/>
                  </a:lnTo>
                  <a:lnTo>
                    <a:pt x="311866" y="740921"/>
                  </a:lnTo>
                  <a:lnTo>
                    <a:pt x="310071" y="746851"/>
                  </a:lnTo>
                  <a:lnTo>
                    <a:pt x="309273" y="753848"/>
                  </a:lnTo>
                  <a:lnTo>
                    <a:pt x="307460" y="761977"/>
                  </a:lnTo>
                  <a:lnTo>
                    <a:pt x="303429" y="768531"/>
                  </a:lnTo>
                  <a:lnTo>
                    <a:pt x="298650" y="773492"/>
                  </a:lnTo>
                  <a:lnTo>
                    <a:pt x="295101" y="775828"/>
                  </a:lnTo>
                  <a:lnTo>
                    <a:pt x="293730" y="777097"/>
                  </a:lnTo>
                  <a:lnTo>
                    <a:pt x="283310" y="773246"/>
                  </a:lnTo>
                  <a:lnTo>
                    <a:pt x="282011" y="772764"/>
                  </a:lnTo>
                  <a:lnTo>
                    <a:pt x="275724" y="768403"/>
                  </a:lnTo>
                  <a:lnTo>
                    <a:pt x="272692" y="763220"/>
                  </a:lnTo>
                  <a:lnTo>
                    <a:pt x="267737" y="759323"/>
                  </a:lnTo>
                  <a:lnTo>
                    <a:pt x="260861" y="756714"/>
                  </a:lnTo>
                  <a:lnTo>
                    <a:pt x="256383" y="753735"/>
                  </a:lnTo>
                  <a:lnTo>
                    <a:pt x="254304" y="750379"/>
                  </a:lnTo>
                  <a:lnTo>
                    <a:pt x="251765" y="748145"/>
                  </a:lnTo>
                  <a:lnTo>
                    <a:pt x="249081" y="746993"/>
                  </a:lnTo>
                  <a:lnTo>
                    <a:pt x="248837" y="745788"/>
                  </a:lnTo>
                  <a:lnTo>
                    <a:pt x="249472" y="744138"/>
                  </a:lnTo>
                  <a:lnTo>
                    <a:pt x="248834" y="741060"/>
                  </a:lnTo>
                  <a:lnTo>
                    <a:pt x="244798" y="734235"/>
                  </a:lnTo>
                  <a:lnTo>
                    <a:pt x="241037" y="731091"/>
                  </a:lnTo>
                  <a:lnTo>
                    <a:pt x="237826" y="731592"/>
                  </a:lnTo>
                  <a:lnTo>
                    <a:pt x="236004" y="730751"/>
                  </a:lnTo>
                  <a:lnTo>
                    <a:pt x="234903" y="729248"/>
                  </a:lnTo>
                  <a:lnTo>
                    <a:pt x="234467" y="727033"/>
                  </a:lnTo>
                  <a:lnTo>
                    <a:pt x="232268" y="725120"/>
                  </a:lnTo>
                  <a:lnTo>
                    <a:pt x="228475" y="724295"/>
                  </a:lnTo>
                  <a:lnTo>
                    <a:pt x="225419" y="719230"/>
                  </a:lnTo>
                  <a:lnTo>
                    <a:pt x="223110" y="709917"/>
                  </a:lnTo>
                  <a:lnTo>
                    <a:pt x="220115" y="702653"/>
                  </a:lnTo>
                  <a:lnTo>
                    <a:pt x="216437" y="697446"/>
                  </a:lnTo>
                  <a:lnTo>
                    <a:pt x="213804" y="695506"/>
                  </a:lnTo>
                  <a:lnTo>
                    <a:pt x="211860" y="695147"/>
                  </a:lnTo>
                  <a:lnTo>
                    <a:pt x="211198" y="694341"/>
                  </a:lnTo>
                  <a:lnTo>
                    <a:pt x="210673" y="692828"/>
                  </a:lnTo>
                  <a:lnTo>
                    <a:pt x="207799" y="692289"/>
                  </a:lnTo>
                  <a:lnTo>
                    <a:pt x="203771" y="693854"/>
                  </a:lnTo>
                  <a:lnTo>
                    <a:pt x="200149" y="693331"/>
                  </a:lnTo>
                  <a:lnTo>
                    <a:pt x="198357" y="690787"/>
                  </a:lnTo>
                  <a:lnTo>
                    <a:pt x="195888" y="690562"/>
                  </a:lnTo>
                  <a:lnTo>
                    <a:pt x="192738" y="692656"/>
                  </a:lnTo>
                  <a:lnTo>
                    <a:pt x="189264" y="692040"/>
                  </a:lnTo>
                  <a:lnTo>
                    <a:pt x="185465" y="688713"/>
                  </a:lnTo>
                  <a:lnTo>
                    <a:pt x="183360" y="685411"/>
                  </a:lnTo>
                  <a:lnTo>
                    <a:pt x="182950" y="682135"/>
                  </a:lnTo>
                  <a:lnTo>
                    <a:pt x="176401" y="675583"/>
                  </a:lnTo>
                  <a:lnTo>
                    <a:pt x="163700" y="665764"/>
                  </a:lnTo>
                  <a:lnTo>
                    <a:pt x="149859" y="661157"/>
                  </a:lnTo>
                  <a:lnTo>
                    <a:pt x="134876" y="661770"/>
                  </a:lnTo>
                  <a:lnTo>
                    <a:pt x="126473" y="661307"/>
                  </a:lnTo>
                  <a:lnTo>
                    <a:pt x="124641" y="659761"/>
                  </a:lnTo>
                  <a:lnTo>
                    <a:pt x="122798" y="659882"/>
                  </a:lnTo>
                  <a:lnTo>
                    <a:pt x="120947" y="661674"/>
                  </a:lnTo>
                  <a:lnTo>
                    <a:pt x="118973" y="662070"/>
                  </a:lnTo>
                  <a:lnTo>
                    <a:pt x="116881" y="661071"/>
                  </a:lnTo>
                  <a:lnTo>
                    <a:pt x="115574" y="661829"/>
                  </a:lnTo>
                  <a:lnTo>
                    <a:pt x="115052" y="664344"/>
                  </a:lnTo>
                  <a:lnTo>
                    <a:pt x="109775" y="665622"/>
                  </a:lnTo>
                  <a:lnTo>
                    <a:pt x="99738" y="665659"/>
                  </a:lnTo>
                  <a:lnTo>
                    <a:pt x="91641" y="667205"/>
                  </a:lnTo>
                  <a:lnTo>
                    <a:pt x="85475" y="670248"/>
                  </a:lnTo>
                  <a:lnTo>
                    <a:pt x="76746" y="671555"/>
                  </a:lnTo>
                  <a:lnTo>
                    <a:pt x="65445" y="671126"/>
                  </a:lnTo>
                  <a:lnTo>
                    <a:pt x="58634" y="670012"/>
                  </a:lnTo>
                  <a:lnTo>
                    <a:pt x="56306" y="668207"/>
                  </a:lnTo>
                  <a:lnTo>
                    <a:pt x="53046" y="667783"/>
                  </a:lnTo>
                  <a:lnTo>
                    <a:pt x="48859" y="668742"/>
                  </a:lnTo>
                  <a:lnTo>
                    <a:pt x="45112" y="673609"/>
                  </a:lnTo>
                  <a:lnTo>
                    <a:pt x="41807" y="682376"/>
                  </a:lnTo>
                  <a:lnTo>
                    <a:pt x="39067" y="687377"/>
                  </a:lnTo>
                  <a:lnTo>
                    <a:pt x="36897" y="688614"/>
                  </a:lnTo>
                  <a:lnTo>
                    <a:pt x="34583" y="695137"/>
                  </a:lnTo>
                  <a:lnTo>
                    <a:pt x="33281" y="706060"/>
                  </a:lnTo>
                  <a:lnTo>
                    <a:pt x="31315" y="710854"/>
                  </a:lnTo>
                  <a:lnTo>
                    <a:pt x="31286" y="683614"/>
                  </a:lnTo>
                  <a:lnTo>
                    <a:pt x="34511" y="673432"/>
                  </a:lnTo>
                  <a:lnTo>
                    <a:pt x="35558" y="664470"/>
                  </a:lnTo>
                  <a:lnTo>
                    <a:pt x="42482" y="644689"/>
                  </a:lnTo>
                  <a:lnTo>
                    <a:pt x="50729" y="628465"/>
                  </a:lnTo>
                  <a:lnTo>
                    <a:pt x="58342" y="606911"/>
                  </a:lnTo>
                  <a:lnTo>
                    <a:pt x="61221" y="586013"/>
                  </a:lnTo>
                  <a:lnTo>
                    <a:pt x="60249" y="565511"/>
                  </a:lnTo>
                  <a:lnTo>
                    <a:pt x="57985" y="547262"/>
                  </a:lnTo>
                  <a:lnTo>
                    <a:pt x="54126" y="535190"/>
                  </a:lnTo>
                  <a:lnTo>
                    <a:pt x="50397" y="517699"/>
                  </a:lnTo>
                  <a:lnTo>
                    <a:pt x="44898" y="508458"/>
                  </a:lnTo>
                  <a:lnTo>
                    <a:pt x="34813" y="500396"/>
                  </a:lnTo>
                  <a:lnTo>
                    <a:pt x="32547" y="495671"/>
                  </a:lnTo>
                  <a:lnTo>
                    <a:pt x="34894" y="493908"/>
                  </a:lnTo>
                  <a:lnTo>
                    <a:pt x="41025" y="492703"/>
                  </a:lnTo>
                  <a:lnTo>
                    <a:pt x="44935" y="486405"/>
                  </a:lnTo>
                  <a:lnTo>
                    <a:pt x="36667" y="488835"/>
                  </a:lnTo>
                  <a:lnTo>
                    <a:pt x="46232" y="469517"/>
                  </a:lnTo>
                  <a:lnTo>
                    <a:pt x="49205" y="456347"/>
                  </a:lnTo>
                  <a:lnTo>
                    <a:pt x="48734" y="447700"/>
                  </a:lnTo>
                  <a:lnTo>
                    <a:pt x="50552" y="442357"/>
                  </a:lnTo>
                  <a:lnTo>
                    <a:pt x="43248" y="430761"/>
                  </a:lnTo>
                  <a:lnTo>
                    <a:pt x="37561" y="416161"/>
                  </a:lnTo>
                  <a:lnTo>
                    <a:pt x="34634" y="413846"/>
                  </a:lnTo>
                  <a:lnTo>
                    <a:pt x="31602" y="412628"/>
                  </a:lnTo>
                  <a:lnTo>
                    <a:pt x="31334" y="416056"/>
                  </a:lnTo>
                  <a:lnTo>
                    <a:pt x="29689" y="419136"/>
                  </a:lnTo>
                  <a:lnTo>
                    <a:pt x="26145" y="417283"/>
                  </a:lnTo>
                  <a:lnTo>
                    <a:pt x="19875" y="406654"/>
                  </a:lnTo>
                  <a:lnTo>
                    <a:pt x="11127" y="389338"/>
                  </a:lnTo>
                  <a:lnTo>
                    <a:pt x="8057" y="387562"/>
                  </a:lnTo>
                  <a:lnTo>
                    <a:pt x="5497" y="389935"/>
                  </a:lnTo>
                  <a:lnTo>
                    <a:pt x="3892" y="392212"/>
                  </a:lnTo>
                  <a:lnTo>
                    <a:pt x="943" y="406654"/>
                  </a:lnTo>
                  <a:lnTo>
                    <a:pt x="0" y="400925"/>
                  </a:lnTo>
                  <a:lnTo>
                    <a:pt x="1278" y="394172"/>
                  </a:lnTo>
                  <a:lnTo>
                    <a:pt x="3437" y="385853"/>
                  </a:lnTo>
                  <a:lnTo>
                    <a:pt x="5888" y="374282"/>
                  </a:lnTo>
                  <a:lnTo>
                    <a:pt x="13481" y="374273"/>
                  </a:lnTo>
                  <a:lnTo>
                    <a:pt x="27061" y="374257"/>
                  </a:lnTo>
                  <a:lnTo>
                    <a:pt x="40644" y="374239"/>
                  </a:lnTo>
                  <a:lnTo>
                    <a:pt x="54225" y="374223"/>
                  </a:lnTo>
                  <a:lnTo>
                    <a:pt x="67805" y="374207"/>
                  </a:lnTo>
                  <a:lnTo>
                    <a:pt x="81390" y="374188"/>
                  </a:lnTo>
                  <a:lnTo>
                    <a:pt x="94968" y="374169"/>
                  </a:lnTo>
                  <a:lnTo>
                    <a:pt x="108551" y="374156"/>
                  </a:lnTo>
                  <a:lnTo>
                    <a:pt x="122131" y="374137"/>
                  </a:lnTo>
                  <a:lnTo>
                    <a:pt x="135711" y="374118"/>
                  </a:lnTo>
                  <a:lnTo>
                    <a:pt x="149297" y="374102"/>
                  </a:lnTo>
                  <a:lnTo>
                    <a:pt x="162877" y="374086"/>
                  </a:lnTo>
                  <a:lnTo>
                    <a:pt x="176457" y="374067"/>
                  </a:lnTo>
                  <a:lnTo>
                    <a:pt x="190040" y="374051"/>
                  </a:lnTo>
                  <a:lnTo>
                    <a:pt x="203623" y="374035"/>
                  </a:lnTo>
                  <a:lnTo>
                    <a:pt x="217203" y="374016"/>
                  </a:lnTo>
                  <a:lnTo>
                    <a:pt x="230784" y="374000"/>
                  </a:lnTo>
                  <a:lnTo>
                    <a:pt x="239741" y="373992"/>
                  </a:lnTo>
                  <a:lnTo>
                    <a:pt x="239216" y="365758"/>
                  </a:lnTo>
                  <a:lnTo>
                    <a:pt x="238793" y="359231"/>
                  </a:lnTo>
                  <a:lnTo>
                    <a:pt x="238227" y="350437"/>
                  </a:lnTo>
                  <a:lnTo>
                    <a:pt x="237668" y="341684"/>
                  </a:lnTo>
                  <a:lnTo>
                    <a:pt x="237110" y="332930"/>
                  </a:lnTo>
                  <a:lnTo>
                    <a:pt x="236580" y="324696"/>
                  </a:lnTo>
                  <a:lnTo>
                    <a:pt x="236052" y="316470"/>
                  </a:lnTo>
                  <a:lnTo>
                    <a:pt x="235562" y="308831"/>
                  </a:lnTo>
                  <a:lnTo>
                    <a:pt x="235115" y="301811"/>
                  </a:lnTo>
                  <a:lnTo>
                    <a:pt x="234343" y="297777"/>
                  </a:lnTo>
                  <a:lnTo>
                    <a:pt x="231464" y="289768"/>
                  </a:lnTo>
                  <a:lnTo>
                    <a:pt x="230840" y="285782"/>
                  </a:lnTo>
                  <a:lnTo>
                    <a:pt x="231622" y="281588"/>
                  </a:lnTo>
                  <a:lnTo>
                    <a:pt x="233540" y="277621"/>
                  </a:lnTo>
                  <a:lnTo>
                    <a:pt x="238835" y="270373"/>
                  </a:lnTo>
                  <a:lnTo>
                    <a:pt x="246860" y="264799"/>
                  </a:lnTo>
                  <a:lnTo>
                    <a:pt x="256125" y="258351"/>
                  </a:lnTo>
                  <a:lnTo>
                    <a:pt x="263183" y="253439"/>
                  </a:lnTo>
                  <a:lnTo>
                    <a:pt x="266799" y="252223"/>
                  </a:lnTo>
                  <a:lnTo>
                    <a:pt x="277843" y="250522"/>
                  </a:lnTo>
                  <a:lnTo>
                    <a:pt x="286535" y="246804"/>
                  </a:lnTo>
                  <a:lnTo>
                    <a:pt x="294991" y="243180"/>
                  </a:lnTo>
                  <a:lnTo>
                    <a:pt x="298543" y="241168"/>
                  </a:lnTo>
                  <a:lnTo>
                    <a:pt x="298963" y="234357"/>
                  </a:lnTo>
                  <a:lnTo>
                    <a:pt x="298963" y="226755"/>
                  </a:lnTo>
                  <a:lnTo>
                    <a:pt x="298963" y="218227"/>
                  </a:lnTo>
                  <a:lnTo>
                    <a:pt x="298963" y="209690"/>
                  </a:lnTo>
                  <a:lnTo>
                    <a:pt x="298963" y="201148"/>
                  </a:lnTo>
                  <a:lnTo>
                    <a:pt x="298963" y="192604"/>
                  </a:lnTo>
                  <a:lnTo>
                    <a:pt x="298963" y="184051"/>
                  </a:lnTo>
                  <a:lnTo>
                    <a:pt x="298963" y="175493"/>
                  </a:lnTo>
                  <a:lnTo>
                    <a:pt x="298963" y="166927"/>
                  </a:lnTo>
                  <a:lnTo>
                    <a:pt x="298963" y="158358"/>
                  </a:lnTo>
                  <a:lnTo>
                    <a:pt x="298963" y="149784"/>
                  </a:lnTo>
                  <a:lnTo>
                    <a:pt x="298963" y="141205"/>
                  </a:lnTo>
                  <a:lnTo>
                    <a:pt x="298963" y="132618"/>
                  </a:lnTo>
                  <a:lnTo>
                    <a:pt x="298963" y="124025"/>
                  </a:lnTo>
                  <a:lnTo>
                    <a:pt x="298963" y="115424"/>
                  </a:lnTo>
                  <a:lnTo>
                    <a:pt x="298963" y="106821"/>
                  </a:lnTo>
                  <a:lnTo>
                    <a:pt x="298963" y="98209"/>
                  </a:lnTo>
                  <a:lnTo>
                    <a:pt x="298963" y="89589"/>
                  </a:lnTo>
                  <a:lnTo>
                    <a:pt x="298963" y="82047"/>
                  </a:lnTo>
                  <a:lnTo>
                    <a:pt x="307827" y="82047"/>
                  </a:lnTo>
                  <a:lnTo>
                    <a:pt x="318860" y="82047"/>
                  </a:lnTo>
                  <a:lnTo>
                    <a:pt x="329895" y="82047"/>
                  </a:lnTo>
                  <a:lnTo>
                    <a:pt x="340934" y="82047"/>
                  </a:lnTo>
                  <a:lnTo>
                    <a:pt x="351969" y="82044"/>
                  </a:lnTo>
                  <a:lnTo>
                    <a:pt x="363002" y="82044"/>
                  </a:lnTo>
                  <a:lnTo>
                    <a:pt x="374038" y="82044"/>
                  </a:lnTo>
                  <a:lnTo>
                    <a:pt x="385073" y="82044"/>
                  </a:lnTo>
                  <a:lnTo>
                    <a:pt x="396109" y="82044"/>
                  </a:lnTo>
                  <a:lnTo>
                    <a:pt x="407145" y="82044"/>
                  </a:lnTo>
                  <a:lnTo>
                    <a:pt x="418177" y="82044"/>
                  </a:lnTo>
                  <a:lnTo>
                    <a:pt x="429213" y="82044"/>
                  </a:lnTo>
                  <a:lnTo>
                    <a:pt x="440249" y="82041"/>
                  </a:lnTo>
                  <a:lnTo>
                    <a:pt x="451284" y="82041"/>
                  </a:lnTo>
                  <a:lnTo>
                    <a:pt x="462323" y="82041"/>
                  </a:lnTo>
                  <a:lnTo>
                    <a:pt x="473356" y="82041"/>
                  </a:lnTo>
                  <a:lnTo>
                    <a:pt x="484388" y="82041"/>
                  </a:lnTo>
                  <a:lnTo>
                    <a:pt x="496437" y="82041"/>
                  </a:lnTo>
                  <a:lnTo>
                    <a:pt x="496442" y="74820"/>
                  </a:lnTo>
                  <a:lnTo>
                    <a:pt x="496442" y="64435"/>
                  </a:lnTo>
                  <a:lnTo>
                    <a:pt x="496429" y="50180"/>
                  </a:lnTo>
                  <a:lnTo>
                    <a:pt x="496412" y="35852"/>
                  </a:lnTo>
                  <a:lnTo>
                    <a:pt x="496399" y="23239"/>
                  </a:lnTo>
                  <a:lnTo>
                    <a:pt x="496383" y="10626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94" name="ee4p_MU_1_37365">
              <a:extLst>
                <a:ext uri="{FF2B5EF4-FFF2-40B4-BE49-F238E27FC236}">
                  <a16:creationId xmlns:a16="http://schemas.microsoft.com/office/drawing/2014/main" id="{51B70887-97A6-3D07-ABFE-B253CB121DDC}"/>
                </a:ext>
              </a:extLst>
            </p:cNvPr>
            <p:cNvSpPr>
              <a:spLocks noChangeAspect="1"/>
            </p:cNvSpPr>
            <p:nvPr>
              <p:custDataLst>
                <p:tags r:id="rId348"/>
              </p:custDataLst>
            </p:nvPr>
          </p:nvSpPr>
          <p:spPr>
            <a:xfrm>
              <a:off x="8106375" y="5255463"/>
              <a:ext cx="13173" cy="15544"/>
            </a:xfrm>
            <a:custGeom>
              <a:avLst/>
              <a:gdLst/>
              <a:ahLst/>
              <a:cxnLst/>
              <a:rect l="0" t="0" r="0" b="0"/>
              <a:pathLst>
                <a:path w="10489" h="12049">
                  <a:moveTo>
                    <a:pt x="7376" y="11395"/>
                  </a:moveTo>
                  <a:lnTo>
                    <a:pt x="4580" y="12048"/>
                  </a:lnTo>
                  <a:lnTo>
                    <a:pt x="1451" y="11830"/>
                  </a:lnTo>
                  <a:lnTo>
                    <a:pt x="235" y="10592"/>
                  </a:lnTo>
                  <a:lnTo>
                    <a:pt x="0" y="10076"/>
                  </a:lnTo>
                  <a:lnTo>
                    <a:pt x="1049" y="9588"/>
                  </a:lnTo>
                  <a:lnTo>
                    <a:pt x="982" y="8002"/>
                  </a:lnTo>
                  <a:lnTo>
                    <a:pt x="1505" y="5492"/>
                  </a:lnTo>
                  <a:lnTo>
                    <a:pt x="2174" y="4460"/>
                  </a:lnTo>
                  <a:lnTo>
                    <a:pt x="3731" y="3543"/>
                  </a:lnTo>
                  <a:lnTo>
                    <a:pt x="4364" y="1518"/>
                  </a:lnTo>
                  <a:lnTo>
                    <a:pt x="5707" y="166"/>
                  </a:lnTo>
                  <a:lnTo>
                    <a:pt x="7493" y="0"/>
                  </a:lnTo>
                  <a:lnTo>
                    <a:pt x="9277" y="2496"/>
                  </a:lnTo>
                  <a:lnTo>
                    <a:pt x="10488" y="5123"/>
                  </a:lnTo>
                  <a:lnTo>
                    <a:pt x="10237" y="7757"/>
                  </a:lnTo>
                  <a:lnTo>
                    <a:pt x="9006" y="8722"/>
                  </a:lnTo>
                  <a:lnTo>
                    <a:pt x="8601" y="10243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95" name="ee4p_MW_1_37365">
              <a:extLst>
                <a:ext uri="{FF2B5EF4-FFF2-40B4-BE49-F238E27FC236}">
                  <a16:creationId xmlns:a16="http://schemas.microsoft.com/office/drawing/2014/main" id="{27B31DC1-1979-2A5A-59DE-933A38DB22A2}"/>
                </a:ext>
              </a:extLst>
            </p:cNvPr>
            <p:cNvSpPr>
              <a:spLocks noChangeAspect="1"/>
            </p:cNvSpPr>
            <p:nvPr>
              <p:custDataLst>
                <p:tags r:id="rId349"/>
              </p:custDataLst>
            </p:nvPr>
          </p:nvSpPr>
          <p:spPr>
            <a:xfrm>
              <a:off x="7421937" y="4946458"/>
              <a:ext cx="89483" cy="224630"/>
            </a:xfrm>
            <a:custGeom>
              <a:avLst/>
              <a:gdLst>
                <a:gd name="connsiteX0" fmla="*/ 121094 w 190855"/>
                <a:gd name="connsiteY0" fmla="*/ 156199 h 466408"/>
                <a:gd name="connsiteX1" fmla="*/ 122516 w 190855"/>
                <a:gd name="connsiteY1" fmla="*/ 156821 h 466408"/>
                <a:gd name="connsiteX2" fmla="*/ 123524 w 190855"/>
                <a:gd name="connsiteY2" fmla="*/ 157884 h 466408"/>
                <a:gd name="connsiteX3" fmla="*/ 123540 w 190855"/>
                <a:gd name="connsiteY3" fmla="*/ 159585 h 466408"/>
                <a:gd name="connsiteX4" fmla="*/ 122932 w 190855"/>
                <a:gd name="connsiteY4" fmla="*/ 161345 h 466408"/>
                <a:gd name="connsiteX5" fmla="*/ 121354 w 190855"/>
                <a:gd name="connsiteY5" fmla="*/ 162681 h 466408"/>
                <a:gd name="connsiteX6" fmla="*/ 119273 w 190855"/>
                <a:gd name="connsiteY6" fmla="*/ 163164 h 466408"/>
                <a:gd name="connsiteX7" fmla="*/ 117963 w 190855"/>
                <a:gd name="connsiteY7" fmla="*/ 162089 h 466408"/>
                <a:gd name="connsiteX8" fmla="*/ 118282 w 190855"/>
                <a:gd name="connsiteY8" fmla="*/ 158891 h 466408"/>
                <a:gd name="connsiteX9" fmla="*/ 119016 w 190855"/>
                <a:gd name="connsiteY9" fmla="*/ 156569 h 466408"/>
                <a:gd name="connsiteX10" fmla="*/ 113777 w 190855"/>
                <a:gd name="connsiteY10" fmla="*/ 154300 h 466408"/>
                <a:gd name="connsiteX11" fmla="*/ 115722 w 190855"/>
                <a:gd name="connsiteY11" fmla="*/ 155120 h 466408"/>
                <a:gd name="connsiteX12" fmla="*/ 116751 w 190855"/>
                <a:gd name="connsiteY12" fmla="*/ 156856 h 466408"/>
                <a:gd name="connsiteX13" fmla="*/ 115575 w 190855"/>
                <a:gd name="connsiteY13" fmla="*/ 160038 h 466408"/>
                <a:gd name="connsiteX14" fmla="*/ 113129 w 190855"/>
                <a:gd name="connsiteY14" fmla="*/ 159989 h 466408"/>
                <a:gd name="connsiteX15" fmla="*/ 110828 w 190855"/>
                <a:gd name="connsiteY15" fmla="*/ 157156 h 466408"/>
                <a:gd name="connsiteX16" fmla="*/ 111562 w 190855"/>
                <a:gd name="connsiteY16" fmla="*/ 154967 h 466408"/>
                <a:gd name="connsiteX17" fmla="*/ 17981 w 190855"/>
                <a:gd name="connsiteY17" fmla="*/ 0 h 466408"/>
                <a:gd name="connsiteX18" fmla="*/ 27249 w 190855"/>
                <a:gd name="connsiteY18" fmla="*/ 6030 h 466408"/>
                <a:gd name="connsiteX19" fmla="*/ 32863 w 190855"/>
                <a:gd name="connsiteY19" fmla="*/ 6303 h 466408"/>
                <a:gd name="connsiteX20" fmla="*/ 39118 w 190855"/>
                <a:gd name="connsiteY20" fmla="*/ 7417 h 466408"/>
                <a:gd name="connsiteX21" fmla="*/ 44451 w 190855"/>
                <a:gd name="connsiteY21" fmla="*/ 12729 h 466408"/>
                <a:gd name="connsiteX22" fmla="*/ 47226 w 190855"/>
                <a:gd name="connsiteY22" fmla="*/ 13428 h 466408"/>
                <a:gd name="connsiteX23" fmla="*/ 50767 w 190855"/>
                <a:gd name="connsiteY23" fmla="*/ 12699 h 466408"/>
                <a:gd name="connsiteX24" fmla="*/ 60841 w 190855"/>
                <a:gd name="connsiteY24" fmla="*/ 12139 h 466408"/>
                <a:gd name="connsiteX25" fmla="*/ 64901 w 190855"/>
                <a:gd name="connsiteY25" fmla="*/ 12903 h 466408"/>
                <a:gd name="connsiteX26" fmla="*/ 70114 w 190855"/>
                <a:gd name="connsiteY26" fmla="*/ 16013 h 466408"/>
                <a:gd name="connsiteX27" fmla="*/ 72166 w 190855"/>
                <a:gd name="connsiteY27" fmla="*/ 16441 h 466408"/>
                <a:gd name="connsiteX28" fmla="*/ 75428 w 190855"/>
                <a:gd name="connsiteY28" fmla="*/ 16562 h 466408"/>
                <a:gd name="connsiteX29" fmla="*/ 76007 w 190855"/>
                <a:gd name="connsiteY29" fmla="*/ 15729 h 466408"/>
                <a:gd name="connsiteX30" fmla="*/ 76341 w 190855"/>
                <a:gd name="connsiteY30" fmla="*/ 13883 h 466408"/>
                <a:gd name="connsiteX31" fmla="*/ 75763 w 190855"/>
                <a:gd name="connsiteY31" fmla="*/ 10176 h 466408"/>
                <a:gd name="connsiteX32" fmla="*/ 76505 w 190855"/>
                <a:gd name="connsiteY32" fmla="*/ 8170 h 466408"/>
                <a:gd name="connsiteX33" fmla="*/ 78490 w 190855"/>
                <a:gd name="connsiteY33" fmla="*/ 6000 h 466408"/>
                <a:gd name="connsiteX34" fmla="*/ 83994 w 190855"/>
                <a:gd name="connsiteY34" fmla="*/ 8531 h 466408"/>
                <a:gd name="connsiteX35" fmla="*/ 97756 w 190855"/>
                <a:gd name="connsiteY35" fmla="*/ 20113 h 466408"/>
                <a:gd name="connsiteX36" fmla="*/ 98166 w 190855"/>
                <a:gd name="connsiteY36" fmla="*/ 21605 h 466408"/>
                <a:gd name="connsiteX37" fmla="*/ 106941 w 190855"/>
                <a:gd name="connsiteY37" fmla="*/ 33104 h 466408"/>
                <a:gd name="connsiteX38" fmla="*/ 109796 w 190855"/>
                <a:gd name="connsiteY38" fmla="*/ 37969 h 466408"/>
                <a:gd name="connsiteX39" fmla="*/ 109796 w 190855"/>
                <a:gd name="connsiteY39" fmla="*/ 40540 h 466408"/>
                <a:gd name="connsiteX40" fmla="*/ 112504 w 190855"/>
                <a:gd name="connsiteY40" fmla="*/ 50587 h 466408"/>
                <a:gd name="connsiteX41" fmla="*/ 113099 w 190855"/>
                <a:gd name="connsiteY41" fmla="*/ 55299 h 466408"/>
                <a:gd name="connsiteX42" fmla="*/ 112494 w 190855"/>
                <a:gd name="connsiteY42" fmla="*/ 58883 h 466408"/>
                <a:gd name="connsiteX43" fmla="*/ 112604 w 190855"/>
                <a:gd name="connsiteY43" fmla="*/ 61751 h 466408"/>
                <a:gd name="connsiteX44" fmla="*/ 113667 w 190855"/>
                <a:gd name="connsiteY44" fmla="*/ 65858 h 466408"/>
                <a:gd name="connsiteX45" fmla="*/ 113313 w 190855"/>
                <a:gd name="connsiteY45" fmla="*/ 67588 h 466408"/>
                <a:gd name="connsiteX46" fmla="*/ 116450 w 190855"/>
                <a:gd name="connsiteY46" fmla="*/ 73604 h 466408"/>
                <a:gd name="connsiteX47" fmla="*/ 117947 w 190855"/>
                <a:gd name="connsiteY47" fmla="*/ 78664 h 466408"/>
                <a:gd name="connsiteX48" fmla="*/ 118261 w 190855"/>
                <a:gd name="connsiteY48" fmla="*/ 83600 h 466408"/>
                <a:gd name="connsiteX49" fmla="*/ 117385 w 190855"/>
                <a:gd name="connsiteY49" fmla="*/ 88416 h 466408"/>
                <a:gd name="connsiteX50" fmla="*/ 114621 w 190855"/>
                <a:gd name="connsiteY50" fmla="*/ 95450 h 466408"/>
                <a:gd name="connsiteX51" fmla="*/ 114146 w 190855"/>
                <a:gd name="connsiteY51" fmla="*/ 98281 h 466408"/>
                <a:gd name="connsiteX52" fmla="*/ 114754 w 190855"/>
                <a:gd name="connsiteY52" fmla="*/ 100858 h 466408"/>
                <a:gd name="connsiteX53" fmla="*/ 116541 w 190855"/>
                <a:gd name="connsiteY53" fmla="*/ 103657 h 466408"/>
                <a:gd name="connsiteX54" fmla="*/ 119528 w 190855"/>
                <a:gd name="connsiteY54" fmla="*/ 106673 h 466408"/>
                <a:gd name="connsiteX55" fmla="*/ 121775 w 190855"/>
                <a:gd name="connsiteY55" fmla="*/ 110314 h 466408"/>
                <a:gd name="connsiteX56" fmla="*/ 123296 w 190855"/>
                <a:gd name="connsiteY56" fmla="*/ 114588 h 466408"/>
                <a:gd name="connsiteX57" fmla="*/ 124582 w 190855"/>
                <a:gd name="connsiteY57" fmla="*/ 116522 h 466408"/>
                <a:gd name="connsiteX58" fmla="*/ 126184 w 190855"/>
                <a:gd name="connsiteY58" fmla="*/ 116477 h 466408"/>
                <a:gd name="connsiteX59" fmla="*/ 129128 w 190855"/>
                <a:gd name="connsiteY59" fmla="*/ 117136 h 466408"/>
                <a:gd name="connsiteX60" fmla="*/ 131498 w 190855"/>
                <a:gd name="connsiteY60" fmla="*/ 119632 h 466408"/>
                <a:gd name="connsiteX61" fmla="*/ 134246 w 190855"/>
                <a:gd name="connsiteY61" fmla="*/ 123827 h 466408"/>
                <a:gd name="connsiteX62" fmla="*/ 135173 w 190855"/>
                <a:gd name="connsiteY62" fmla="*/ 128643 h 466408"/>
                <a:gd name="connsiteX63" fmla="*/ 135577 w 190855"/>
                <a:gd name="connsiteY63" fmla="*/ 130705 h 466408"/>
                <a:gd name="connsiteX64" fmla="*/ 127705 w 190855"/>
                <a:gd name="connsiteY64" fmla="*/ 130561 h 466408"/>
                <a:gd name="connsiteX65" fmla="*/ 117813 w 190855"/>
                <a:gd name="connsiteY65" fmla="*/ 131340 h 466408"/>
                <a:gd name="connsiteX66" fmla="*/ 115384 w 190855"/>
                <a:gd name="connsiteY66" fmla="*/ 133231 h 466408"/>
                <a:gd name="connsiteX67" fmla="*/ 114655 w 190855"/>
                <a:gd name="connsiteY67" fmla="*/ 137423 h 466408"/>
                <a:gd name="connsiteX68" fmla="*/ 111556 w 190855"/>
                <a:gd name="connsiteY68" fmla="*/ 146072 h 466408"/>
                <a:gd name="connsiteX69" fmla="*/ 109831 w 190855"/>
                <a:gd name="connsiteY69" fmla="*/ 149249 h 466408"/>
                <a:gd name="connsiteX70" fmla="*/ 106164 w 190855"/>
                <a:gd name="connsiteY70" fmla="*/ 155061 h 466408"/>
                <a:gd name="connsiteX71" fmla="*/ 101016 w 190855"/>
                <a:gd name="connsiteY71" fmla="*/ 163258 h 466408"/>
                <a:gd name="connsiteX72" fmla="*/ 99942 w 190855"/>
                <a:gd name="connsiteY72" fmla="*/ 165934 h 466408"/>
                <a:gd name="connsiteX73" fmla="*/ 100122 w 190855"/>
                <a:gd name="connsiteY73" fmla="*/ 168687 h 466408"/>
                <a:gd name="connsiteX74" fmla="*/ 103156 w 190855"/>
                <a:gd name="connsiteY74" fmla="*/ 179830 h 466408"/>
                <a:gd name="connsiteX75" fmla="*/ 106338 w 190855"/>
                <a:gd name="connsiteY75" fmla="*/ 191546 h 466408"/>
                <a:gd name="connsiteX76" fmla="*/ 107351 w 190855"/>
                <a:gd name="connsiteY76" fmla="*/ 196123 h 466408"/>
                <a:gd name="connsiteX77" fmla="*/ 109622 w 190855"/>
                <a:gd name="connsiteY77" fmla="*/ 211710 h 466408"/>
                <a:gd name="connsiteX78" fmla="*/ 110884 w 190855"/>
                <a:gd name="connsiteY78" fmla="*/ 222724 h 466408"/>
                <a:gd name="connsiteX79" fmla="*/ 111069 w 190855"/>
                <a:gd name="connsiteY79" fmla="*/ 229209 h 466408"/>
                <a:gd name="connsiteX80" fmla="*/ 112135 w 190855"/>
                <a:gd name="connsiteY80" fmla="*/ 237877 h 466408"/>
                <a:gd name="connsiteX81" fmla="*/ 114969 w 190855"/>
                <a:gd name="connsiteY81" fmla="*/ 242561 h 466408"/>
                <a:gd name="connsiteX82" fmla="*/ 117937 w 190855"/>
                <a:gd name="connsiteY82" fmla="*/ 245505 h 466408"/>
                <a:gd name="connsiteX83" fmla="*/ 129122 w 190855"/>
                <a:gd name="connsiteY83" fmla="*/ 247273 h 466408"/>
                <a:gd name="connsiteX84" fmla="*/ 132460 w 190855"/>
                <a:gd name="connsiteY84" fmla="*/ 249421 h 466408"/>
                <a:gd name="connsiteX85" fmla="*/ 138797 w 190855"/>
                <a:gd name="connsiteY85" fmla="*/ 254958 h 466408"/>
                <a:gd name="connsiteX86" fmla="*/ 152634 w 190855"/>
                <a:gd name="connsiteY86" fmla="*/ 270250 h 466408"/>
                <a:gd name="connsiteX87" fmla="*/ 160233 w 190855"/>
                <a:gd name="connsiteY87" fmla="*/ 280018 h 466408"/>
                <a:gd name="connsiteX88" fmla="*/ 166908 w 190855"/>
                <a:gd name="connsiteY88" fmla="*/ 288619 h 466408"/>
                <a:gd name="connsiteX89" fmla="*/ 178871 w 190855"/>
                <a:gd name="connsiteY89" fmla="*/ 304602 h 466408"/>
                <a:gd name="connsiteX90" fmla="*/ 188152 w 190855"/>
                <a:gd name="connsiteY90" fmla="*/ 317022 h 466408"/>
                <a:gd name="connsiteX91" fmla="*/ 189312 w 190855"/>
                <a:gd name="connsiteY91" fmla="*/ 328693 h 466408"/>
                <a:gd name="connsiteX92" fmla="*/ 190855 w 190855"/>
                <a:gd name="connsiteY92" fmla="*/ 330388 h 466408"/>
                <a:gd name="connsiteX93" fmla="*/ 187726 w 190855"/>
                <a:gd name="connsiteY93" fmla="*/ 339040 h 466408"/>
                <a:gd name="connsiteX94" fmla="*/ 185677 w 190855"/>
                <a:gd name="connsiteY94" fmla="*/ 353030 h 466408"/>
                <a:gd name="connsiteX95" fmla="*/ 187153 w 190855"/>
                <a:gd name="connsiteY95" fmla="*/ 362325 h 466408"/>
                <a:gd name="connsiteX96" fmla="*/ 186539 w 190855"/>
                <a:gd name="connsiteY96" fmla="*/ 378179 h 466408"/>
                <a:gd name="connsiteX97" fmla="*/ 184839 w 190855"/>
                <a:gd name="connsiteY97" fmla="*/ 395075 h 466408"/>
                <a:gd name="connsiteX98" fmla="*/ 182709 w 190855"/>
                <a:gd name="connsiteY98" fmla="*/ 401123 h 466408"/>
                <a:gd name="connsiteX99" fmla="*/ 179964 w 190855"/>
                <a:gd name="connsiteY99" fmla="*/ 403403 h 466408"/>
                <a:gd name="connsiteX100" fmla="*/ 173473 w 190855"/>
                <a:gd name="connsiteY100" fmla="*/ 405230 h 466408"/>
                <a:gd name="connsiteX101" fmla="*/ 159210 w 190855"/>
                <a:gd name="connsiteY101" fmla="*/ 407338 h 466408"/>
                <a:gd name="connsiteX102" fmla="*/ 157075 w 190855"/>
                <a:gd name="connsiteY102" fmla="*/ 409320 h 466408"/>
                <a:gd name="connsiteX103" fmla="*/ 155243 w 190855"/>
                <a:gd name="connsiteY103" fmla="*/ 412601 h 466408"/>
                <a:gd name="connsiteX104" fmla="*/ 152356 w 190855"/>
                <a:gd name="connsiteY104" fmla="*/ 420395 h 466408"/>
                <a:gd name="connsiteX105" fmla="*/ 148949 w 190855"/>
                <a:gd name="connsiteY105" fmla="*/ 428273 h 466408"/>
                <a:gd name="connsiteX106" fmla="*/ 147880 w 190855"/>
                <a:gd name="connsiteY106" fmla="*/ 431643 h 466408"/>
                <a:gd name="connsiteX107" fmla="*/ 148539 w 190855"/>
                <a:gd name="connsiteY107" fmla="*/ 432438 h 466408"/>
                <a:gd name="connsiteX108" fmla="*/ 151587 w 190855"/>
                <a:gd name="connsiteY108" fmla="*/ 436451 h 466408"/>
                <a:gd name="connsiteX109" fmla="*/ 154630 w 190855"/>
                <a:gd name="connsiteY109" fmla="*/ 446712 h 466408"/>
                <a:gd name="connsiteX110" fmla="*/ 155179 w 190855"/>
                <a:gd name="connsiteY110" fmla="*/ 464329 h 466408"/>
                <a:gd name="connsiteX111" fmla="*/ 154121 w 190855"/>
                <a:gd name="connsiteY111" fmla="*/ 465639 h 466408"/>
                <a:gd name="connsiteX112" fmla="*/ 149905 w 190855"/>
                <a:gd name="connsiteY112" fmla="*/ 466408 h 466408"/>
                <a:gd name="connsiteX113" fmla="*/ 145357 w 190855"/>
                <a:gd name="connsiteY113" fmla="*/ 466175 h 466408"/>
                <a:gd name="connsiteX114" fmla="*/ 143490 w 190855"/>
                <a:gd name="connsiteY114" fmla="*/ 465181 h 466408"/>
                <a:gd name="connsiteX115" fmla="*/ 141805 w 190855"/>
                <a:gd name="connsiteY115" fmla="*/ 463209 h 466408"/>
                <a:gd name="connsiteX116" fmla="*/ 140581 w 190855"/>
                <a:gd name="connsiteY116" fmla="*/ 459449 h 466408"/>
                <a:gd name="connsiteX117" fmla="*/ 143560 w 190855"/>
                <a:gd name="connsiteY117" fmla="*/ 456824 h 466408"/>
                <a:gd name="connsiteX118" fmla="*/ 144618 w 190855"/>
                <a:gd name="connsiteY118" fmla="*/ 452238 h 466408"/>
                <a:gd name="connsiteX119" fmla="*/ 142708 w 190855"/>
                <a:gd name="connsiteY119" fmla="*/ 448301 h 466408"/>
                <a:gd name="connsiteX120" fmla="*/ 138885 w 190855"/>
                <a:gd name="connsiteY120" fmla="*/ 447425 h 466408"/>
                <a:gd name="connsiteX121" fmla="*/ 134032 w 190855"/>
                <a:gd name="connsiteY121" fmla="*/ 443822 h 466408"/>
                <a:gd name="connsiteX122" fmla="*/ 123690 w 190855"/>
                <a:gd name="connsiteY122" fmla="*/ 432058 h 466408"/>
                <a:gd name="connsiteX123" fmla="*/ 115038 w 190855"/>
                <a:gd name="connsiteY123" fmla="*/ 423811 h 466408"/>
                <a:gd name="connsiteX124" fmla="*/ 110029 w 190855"/>
                <a:gd name="connsiteY124" fmla="*/ 416978 h 466408"/>
                <a:gd name="connsiteX125" fmla="*/ 104887 w 190855"/>
                <a:gd name="connsiteY125" fmla="*/ 414256 h 466408"/>
                <a:gd name="connsiteX126" fmla="*/ 103411 w 190855"/>
                <a:gd name="connsiteY126" fmla="*/ 412577 h 466408"/>
                <a:gd name="connsiteX127" fmla="*/ 102173 w 190855"/>
                <a:gd name="connsiteY127" fmla="*/ 409687 h 466408"/>
                <a:gd name="connsiteX128" fmla="*/ 102152 w 190855"/>
                <a:gd name="connsiteY128" fmla="*/ 405532 h 466408"/>
                <a:gd name="connsiteX129" fmla="*/ 102621 w 190855"/>
                <a:gd name="connsiteY129" fmla="*/ 402460 h 466408"/>
                <a:gd name="connsiteX130" fmla="*/ 101016 w 190855"/>
                <a:gd name="connsiteY130" fmla="*/ 399023 h 466408"/>
                <a:gd name="connsiteX131" fmla="*/ 95822 w 190855"/>
                <a:gd name="connsiteY131" fmla="*/ 393704 h 466408"/>
                <a:gd name="connsiteX132" fmla="*/ 93452 w 190855"/>
                <a:gd name="connsiteY132" fmla="*/ 390749 h 466408"/>
                <a:gd name="connsiteX133" fmla="*/ 93326 w 190855"/>
                <a:gd name="connsiteY133" fmla="*/ 387222 h 466408"/>
                <a:gd name="connsiteX134" fmla="*/ 95512 w 190855"/>
                <a:gd name="connsiteY134" fmla="*/ 383828 h 466408"/>
                <a:gd name="connsiteX135" fmla="*/ 99953 w 190855"/>
                <a:gd name="connsiteY135" fmla="*/ 379690 h 466408"/>
                <a:gd name="connsiteX136" fmla="*/ 103314 w 190855"/>
                <a:gd name="connsiteY136" fmla="*/ 371290 h 466408"/>
                <a:gd name="connsiteX137" fmla="*/ 104512 w 190855"/>
                <a:gd name="connsiteY137" fmla="*/ 365852 h 466408"/>
                <a:gd name="connsiteX138" fmla="*/ 110779 w 190855"/>
                <a:gd name="connsiteY138" fmla="*/ 354948 h 466408"/>
                <a:gd name="connsiteX139" fmla="*/ 111647 w 190855"/>
                <a:gd name="connsiteY139" fmla="*/ 345474 h 466408"/>
                <a:gd name="connsiteX140" fmla="*/ 111776 w 190855"/>
                <a:gd name="connsiteY140" fmla="*/ 337904 h 466408"/>
                <a:gd name="connsiteX141" fmla="*/ 111393 w 190855"/>
                <a:gd name="connsiteY141" fmla="*/ 332239 h 466408"/>
                <a:gd name="connsiteX142" fmla="*/ 109791 w 190855"/>
                <a:gd name="connsiteY142" fmla="*/ 320644 h 466408"/>
                <a:gd name="connsiteX143" fmla="*/ 108674 w 190855"/>
                <a:gd name="connsiteY143" fmla="*/ 312621 h 466408"/>
                <a:gd name="connsiteX144" fmla="*/ 100960 w 190855"/>
                <a:gd name="connsiteY144" fmla="*/ 302140 h 466408"/>
                <a:gd name="connsiteX145" fmla="*/ 98442 w 190855"/>
                <a:gd name="connsiteY145" fmla="*/ 301160 h 466408"/>
                <a:gd name="connsiteX146" fmla="*/ 91114 w 190855"/>
                <a:gd name="connsiteY146" fmla="*/ 302073 h 466408"/>
                <a:gd name="connsiteX147" fmla="*/ 84782 w 190855"/>
                <a:gd name="connsiteY147" fmla="*/ 303622 h 466408"/>
                <a:gd name="connsiteX148" fmla="*/ 81677 w 190855"/>
                <a:gd name="connsiteY148" fmla="*/ 305794 h 466408"/>
                <a:gd name="connsiteX149" fmla="*/ 76963 w 190855"/>
                <a:gd name="connsiteY149" fmla="*/ 305906 h 466408"/>
                <a:gd name="connsiteX150" fmla="*/ 64617 w 190855"/>
                <a:gd name="connsiteY150" fmla="*/ 307730 h 466408"/>
                <a:gd name="connsiteX151" fmla="*/ 60750 w 190855"/>
                <a:gd name="connsiteY151" fmla="*/ 308515 h 466408"/>
                <a:gd name="connsiteX152" fmla="*/ 58510 w 190855"/>
                <a:gd name="connsiteY152" fmla="*/ 310412 h 466408"/>
                <a:gd name="connsiteX153" fmla="*/ 57214 w 190855"/>
                <a:gd name="connsiteY153" fmla="*/ 310808 h 466408"/>
                <a:gd name="connsiteX154" fmla="*/ 49446 w 190855"/>
                <a:gd name="connsiteY154" fmla="*/ 302700 h 466408"/>
                <a:gd name="connsiteX155" fmla="*/ 42616 w 190855"/>
                <a:gd name="connsiteY155" fmla="*/ 293960 h 466408"/>
                <a:gd name="connsiteX156" fmla="*/ 33945 w 190855"/>
                <a:gd name="connsiteY156" fmla="*/ 279075 h 466408"/>
                <a:gd name="connsiteX157" fmla="*/ 31470 w 190855"/>
                <a:gd name="connsiteY157" fmla="*/ 277283 h 466408"/>
                <a:gd name="connsiteX158" fmla="*/ 28288 w 190855"/>
                <a:gd name="connsiteY158" fmla="*/ 272909 h 466408"/>
                <a:gd name="connsiteX159" fmla="*/ 25658 w 190855"/>
                <a:gd name="connsiteY159" fmla="*/ 274010 h 466408"/>
                <a:gd name="connsiteX160" fmla="*/ 22031 w 190855"/>
                <a:gd name="connsiteY160" fmla="*/ 277083 h 466408"/>
                <a:gd name="connsiteX161" fmla="*/ 20071 w 190855"/>
                <a:gd name="connsiteY161" fmla="*/ 277908 h 466408"/>
                <a:gd name="connsiteX162" fmla="*/ 19053 w 190855"/>
                <a:gd name="connsiteY162" fmla="*/ 277814 h 466408"/>
                <a:gd name="connsiteX163" fmla="*/ 18410 w 190855"/>
                <a:gd name="connsiteY163" fmla="*/ 277042 h 466408"/>
                <a:gd name="connsiteX164" fmla="*/ 17601 w 190855"/>
                <a:gd name="connsiteY164" fmla="*/ 275076 h 466408"/>
                <a:gd name="connsiteX165" fmla="*/ 14802 w 190855"/>
                <a:gd name="connsiteY165" fmla="*/ 269465 h 466408"/>
                <a:gd name="connsiteX166" fmla="*/ 11655 w 190855"/>
                <a:gd name="connsiteY166" fmla="*/ 265452 h 466408"/>
                <a:gd name="connsiteX167" fmla="*/ 8328 w 190855"/>
                <a:gd name="connsiteY167" fmla="*/ 263896 h 466408"/>
                <a:gd name="connsiteX168" fmla="*/ 5609 w 190855"/>
                <a:gd name="connsiteY168" fmla="*/ 262053 h 466408"/>
                <a:gd name="connsiteX169" fmla="*/ 6806 w 190855"/>
                <a:gd name="connsiteY169" fmla="*/ 260267 h 466408"/>
                <a:gd name="connsiteX170" fmla="*/ 8073 w 190855"/>
                <a:gd name="connsiteY170" fmla="*/ 258986 h 466408"/>
                <a:gd name="connsiteX171" fmla="*/ 7524 w 190855"/>
                <a:gd name="connsiteY171" fmla="*/ 257674 h 466408"/>
                <a:gd name="connsiteX172" fmla="*/ 6003 w 190855"/>
                <a:gd name="connsiteY172" fmla="*/ 255748 h 466408"/>
                <a:gd name="connsiteX173" fmla="*/ 97 w 190855"/>
                <a:gd name="connsiteY173" fmla="*/ 252962 h 466408"/>
                <a:gd name="connsiteX174" fmla="*/ 0 w 190855"/>
                <a:gd name="connsiteY174" fmla="*/ 251760 h 466408"/>
                <a:gd name="connsiteX175" fmla="*/ 5213 w 190855"/>
                <a:gd name="connsiteY175" fmla="*/ 249338 h 466408"/>
                <a:gd name="connsiteX176" fmla="*/ 8507 w 190855"/>
                <a:gd name="connsiteY176" fmla="*/ 246472 h 466408"/>
                <a:gd name="connsiteX177" fmla="*/ 10747 w 190855"/>
                <a:gd name="connsiteY177" fmla="*/ 243716 h 466408"/>
                <a:gd name="connsiteX178" fmla="*/ 13580 w 190855"/>
                <a:gd name="connsiteY178" fmla="*/ 237689 h 466408"/>
                <a:gd name="connsiteX179" fmla="*/ 15881 w 190855"/>
                <a:gd name="connsiteY179" fmla="*/ 231684 h 466408"/>
                <a:gd name="connsiteX180" fmla="*/ 17601 w 190855"/>
                <a:gd name="connsiteY180" fmla="*/ 229731 h 466408"/>
                <a:gd name="connsiteX181" fmla="*/ 18196 w 190855"/>
                <a:gd name="connsiteY181" fmla="*/ 225748 h 466408"/>
                <a:gd name="connsiteX182" fmla="*/ 17807 w 190855"/>
                <a:gd name="connsiteY182" fmla="*/ 221254 h 466408"/>
                <a:gd name="connsiteX183" fmla="*/ 18954 w 190855"/>
                <a:gd name="connsiteY183" fmla="*/ 215543 h 466408"/>
                <a:gd name="connsiteX184" fmla="*/ 19521 w 190855"/>
                <a:gd name="connsiteY184" fmla="*/ 210135 h 466408"/>
                <a:gd name="connsiteX185" fmla="*/ 17775 w 190855"/>
                <a:gd name="connsiteY185" fmla="*/ 208035 h 466408"/>
                <a:gd name="connsiteX186" fmla="*/ 16299 w 190855"/>
                <a:gd name="connsiteY186" fmla="*/ 204403 h 466408"/>
                <a:gd name="connsiteX187" fmla="*/ 18051 w 190855"/>
                <a:gd name="connsiteY187" fmla="*/ 198202 h 466408"/>
                <a:gd name="connsiteX188" fmla="*/ 20799 w 190855"/>
                <a:gd name="connsiteY188" fmla="*/ 193938 h 466408"/>
                <a:gd name="connsiteX189" fmla="*/ 33940 w 190855"/>
                <a:gd name="connsiteY189" fmla="*/ 189489 h 466408"/>
                <a:gd name="connsiteX190" fmla="*/ 43090 w 190855"/>
                <a:gd name="connsiteY190" fmla="*/ 185479 h 466408"/>
                <a:gd name="connsiteX191" fmla="*/ 45029 w 190855"/>
                <a:gd name="connsiteY191" fmla="*/ 183711 h 466408"/>
                <a:gd name="connsiteX192" fmla="*/ 48139 w 190855"/>
                <a:gd name="connsiteY192" fmla="*/ 180280 h 466408"/>
                <a:gd name="connsiteX193" fmla="*/ 49864 w 190855"/>
                <a:gd name="connsiteY193" fmla="*/ 176934 h 466408"/>
                <a:gd name="connsiteX194" fmla="*/ 48627 w 190855"/>
                <a:gd name="connsiteY194" fmla="*/ 175930 h 466408"/>
                <a:gd name="connsiteX195" fmla="*/ 41437 w 190855"/>
                <a:gd name="connsiteY195" fmla="*/ 175847 h 466408"/>
                <a:gd name="connsiteX196" fmla="*/ 39667 w 190855"/>
                <a:gd name="connsiteY196" fmla="*/ 174561 h 466408"/>
                <a:gd name="connsiteX197" fmla="*/ 34465 w 190855"/>
                <a:gd name="connsiteY197" fmla="*/ 162800 h 466408"/>
                <a:gd name="connsiteX198" fmla="*/ 37347 w 190855"/>
                <a:gd name="connsiteY198" fmla="*/ 149321 h 466408"/>
                <a:gd name="connsiteX199" fmla="*/ 37591 w 190855"/>
                <a:gd name="connsiteY199" fmla="*/ 144026 h 466408"/>
                <a:gd name="connsiteX200" fmla="*/ 37521 w 190855"/>
                <a:gd name="connsiteY200" fmla="*/ 137471 h 466408"/>
                <a:gd name="connsiteX201" fmla="*/ 36595 w 190855"/>
                <a:gd name="connsiteY201" fmla="*/ 132687 h 466408"/>
                <a:gd name="connsiteX202" fmla="*/ 34328 w 190855"/>
                <a:gd name="connsiteY202" fmla="*/ 130679 h 466408"/>
                <a:gd name="connsiteX203" fmla="*/ 32928 w 190855"/>
                <a:gd name="connsiteY203" fmla="*/ 128110 h 466408"/>
                <a:gd name="connsiteX204" fmla="*/ 33305 w 190855"/>
                <a:gd name="connsiteY204" fmla="*/ 121079 h 466408"/>
                <a:gd name="connsiteX205" fmla="*/ 35416 w 190855"/>
                <a:gd name="connsiteY205" fmla="*/ 120254 h 466408"/>
                <a:gd name="connsiteX206" fmla="*/ 39986 w 190855"/>
                <a:gd name="connsiteY206" fmla="*/ 110970 h 466408"/>
                <a:gd name="connsiteX207" fmla="*/ 42013 w 190855"/>
                <a:gd name="connsiteY207" fmla="*/ 105500 h 466408"/>
                <a:gd name="connsiteX208" fmla="*/ 39581 w 190855"/>
                <a:gd name="connsiteY208" fmla="*/ 101139 h 466408"/>
                <a:gd name="connsiteX209" fmla="*/ 36889 w 190855"/>
                <a:gd name="connsiteY209" fmla="*/ 94907 h 466408"/>
                <a:gd name="connsiteX210" fmla="*/ 35676 w 190855"/>
                <a:gd name="connsiteY210" fmla="*/ 90945 h 466408"/>
                <a:gd name="connsiteX211" fmla="*/ 34998 w 190855"/>
                <a:gd name="connsiteY211" fmla="*/ 89646 h 466408"/>
                <a:gd name="connsiteX212" fmla="*/ 36860 w 190855"/>
                <a:gd name="connsiteY212" fmla="*/ 87187 h 466408"/>
                <a:gd name="connsiteX213" fmla="*/ 39948 w 190855"/>
                <a:gd name="connsiteY213" fmla="*/ 84811 h 466408"/>
                <a:gd name="connsiteX214" fmla="*/ 43398 w 190855"/>
                <a:gd name="connsiteY214" fmla="*/ 84158 h 466408"/>
                <a:gd name="connsiteX215" fmla="*/ 47046 w 190855"/>
                <a:gd name="connsiteY215" fmla="*/ 83041 h 466408"/>
                <a:gd name="connsiteX216" fmla="*/ 58556 w 190855"/>
                <a:gd name="connsiteY216" fmla="*/ 71504 h 466408"/>
                <a:gd name="connsiteX217" fmla="*/ 58701 w 190855"/>
                <a:gd name="connsiteY217" fmla="*/ 69265 h 466408"/>
                <a:gd name="connsiteX218" fmla="*/ 56606 w 190855"/>
                <a:gd name="connsiteY218" fmla="*/ 65400 h 466408"/>
                <a:gd name="connsiteX219" fmla="*/ 52315 w 190855"/>
                <a:gd name="connsiteY219" fmla="*/ 59576 h 466408"/>
                <a:gd name="connsiteX220" fmla="*/ 51361 w 190855"/>
                <a:gd name="connsiteY220" fmla="*/ 57198 h 466408"/>
                <a:gd name="connsiteX221" fmla="*/ 50847 w 190855"/>
                <a:gd name="connsiteY221" fmla="*/ 50204 h 466408"/>
                <a:gd name="connsiteX222" fmla="*/ 49141 w 190855"/>
                <a:gd name="connsiteY222" fmla="*/ 48112 h 466408"/>
                <a:gd name="connsiteX223" fmla="*/ 42830 w 190855"/>
                <a:gd name="connsiteY223" fmla="*/ 43395 h 466408"/>
                <a:gd name="connsiteX224" fmla="*/ 37971 w 190855"/>
                <a:gd name="connsiteY224" fmla="*/ 38437 h 466408"/>
                <a:gd name="connsiteX225" fmla="*/ 39487 w 190855"/>
                <a:gd name="connsiteY225" fmla="*/ 33412 h 466408"/>
                <a:gd name="connsiteX226" fmla="*/ 40310 w 190855"/>
                <a:gd name="connsiteY226" fmla="*/ 27924 h 466408"/>
                <a:gd name="connsiteX227" fmla="*/ 37907 w 190855"/>
                <a:gd name="connsiteY227" fmla="*/ 24911 h 466408"/>
                <a:gd name="connsiteX228" fmla="*/ 34328 w 190855"/>
                <a:gd name="connsiteY228" fmla="*/ 21788 h 466408"/>
                <a:gd name="connsiteX229" fmla="*/ 32119 w 190855"/>
                <a:gd name="connsiteY229" fmla="*/ 17210 h 466408"/>
                <a:gd name="connsiteX230" fmla="*/ 31112 w 190855"/>
                <a:gd name="connsiteY230" fmla="*/ 13814 h 466408"/>
                <a:gd name="connsiteX231" fmla="*/ 28288 w 190855"/>
                <a:gd name="connsiteY231" fmla="*/ 12458 h 466408"/>
                <a:gd name="connsiteX232" fmla="*/ 25709 w 190855"/>
                <a:gd name="connsiteY232" fmla="*/ 12407 h 466408"/>
                <a:gd name="connsiteX233" fmla="*/ 23813 w 190855"/>
                <a:gd name="connsiteY233" fmla="*/ 14531 h 466408"/>
                <a:gd name="connsiteX234" fmla="*/ 21758 w 190855"/>
                <a:gd name="connsiteY234" fmla="*/ 14344 h 466408"/>
                <a:gd name="connsiteX235" fmla="*/ 19283 w 190855"/>
                <a:gd name="connsiteY235" fmla="*/ 13615 h 466408"/>
                <a:gd name="connsiteX236" fmla="*/ 18463 w 190855"/>
                <a:gd name="connsiteY236" fmla="*/ 10674 h 466408"/>
                <a:gd name="connsiteX237" fmla="*/ 18330 w 190855"/>
                <a:gd name="connsiteY237" fmla="*/ 7487 h 466408"/>
                <a:gd name="connsiteX238" fmla="*/ 16623 w 190855"/>
                <a:gd name="connsiteY238" fmla="*/ 5328 h 466408"/>
                <a:gd name="connsiteX239" fmla="*/ 14981 w 190855"/>
                <a:gd name="connsiteY239" fmla="*/ 2328 h 466408"/>
                <a:gd name="connsiteX240" fmla="*/ 14778 w 190855"/>
                <a:gd name="connsiteY240" fmla="*/ 742 h 466408"/>
                <a:gd name="connsiteX241" fmla="*/ 15806 w 190855"/>
                <a:gd name="connsiteY241" fmla="*/ 281 h 466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</a:cxnLst>
              <a:rect l="l" t="t" r="r" b="b"/>
              <a:pathLst>
                <a:path w="190855" h="466408">
                  <a:moveTo>
                    <a:pt x="121094" y="156199"/>
                  </a:moveTo>
                  <a:lnTo>
                    <a:pt x="122516" y="156821"/>
                  </a:lnTo>
                  <a:lnTo>
                    <a:pt x="123524" y="157884"/>
                  </a:lnTo>
                  <a:lnTo>
                    <a:pt x="123540" y="159585"/>
                  </a:lnTo>
                  <a:lnTo>
                    <a:pt x="122932" y="161345"/>
                  </a:lnTo>
                  <a:lnTo>
                    <a:pt x="121354" y="162681"/>
                  </a:lnTo>
                  <a:lnTo>
                    <a:pt x="119273" y="163164"/>
                  </a:lnTo>
                  <a:lnTo>
                    <a:pt x="117963" y="162089"/>
                  </a:lnTo>
                  <a:lnTo>
                    <a:pt x="118282" y="158891"/>
                  </a:lnTo>
                  <a:lnTo>
                    <a:pt x="119016" y="156569"/>
                  </a:lnTo>
                  <a:close/>
                  <a:moveTo>
                    <a:pt x="113777" y="154300"/>
                  </a:moveTo>
                  <a:lnTo>
                    <a:pt x="115722" y="155120"/>
                  </a:lnTo>
                  <a:lnTo>
                    <a:pt x="116751" y="156856"/>
                  </a:lnTo>
                  <a:lnTo>
                    <a:pt x="115575" y="160038"/>
                  </a:lnTo>
                  <a:lnTo>
                    <a:pt x="113129" y="159989"/>
                  </a:lnTo>
                  <a:lnTo>
                    <a:pt x="110828" y="157156"/>
                  </a:lnTo>
                  <a:lnTo>
                    <a:pt x="111562" y="154967"/>
                  </a:lnTo>
                  <a:close/>
                  <a:moveTo>
                    <a:pt x="17981" y="0"/>
                  </a:moveTo>
                  <a:lnTo>
                    <a:pt x="27249" y="6030"/>
                  </a:lnTo>
                  <a:lnTo>
                    <a:pt x="32863" y="6303"/>
                  </a:lnTo>
                  <a:lnTo>
                    <a:pt x="39118" y="7417"/>
                  </a:lnTo>
                  <a:lnTo>
                    <a:pt x="44451" y="12729"/>
                  </a:lnTo>
                  <a:lnTo>
                    <a:pt x="47226" y="13428"/>
                  </a:lnTo>
                  <a:lnTo>
                    <a:pt x="50767" y="12699"/>
                  </a:lnTo>
                  <a:lnTo>
                    <a:pt x="60841" y="12139"/>
                  </a:lnTo>
                  <a:lnTo>
                    <a:pt x="64901" y="12903"/>
                  </a:lnTo>
                  <a:lnTo>
                    <a:pt x="70114" y="16013"/>
                  </a:lnTo>
                  <a:lnTo>
                    <a:pt x="72166" y="16441"/>
                  </a:lnTo>
                  <a:lnTo>
                    <a:pt x="75428" y="16562"/>
                  </a:lnTo>
                  <a:lnTo>
                    <a:pt x="76007" y="15729"/>
                  </a:lnTo>
                  <a:lnTo>
                    <a:pt x="76341" y="13883"/>
                  </a:lnTo>
                  <a:lnTo>
                    <a:pt x="75763" y="10176"/>
                  </a:lnTo>
                  <a:lnTo>
                    <a:pt x="76505" y="8170"/>
                  </a:lnTo>
                  <a:lnTo>
                    <a:pt x="78490" y="6000"/>
                  </a:lnTo>
                  <a:lnTo>
                    <a:pt x="83994" y="8531"/>
                  </a:lnTo>
                  <a:lnTo>
                    <a:pt x="97756" y="20113"/>
                  </a:lnTo>
                  <a:lnTo>
                    <a:pt x="98166" y="21605"/>
                  </a:lnTo>
                  <a:lnTo>
                    <a:pt x="106941" y="33104"/>
                  </a:lnTo>
                  <a:lnTo>
                    <a:pt x="109796" y="37969"/>
                  </a:lnTo>
                  <a:lnTo>
                    <a:pt x="109796" y="40540"/>
                  </a:lnTo>
                  <a:lnTo>
                    <a:pt x="112504" y="50587"/>
                  </a:lnTo>
                  <a:lnTo>
                    <a:pt x="113099" y="55299"/>
                  </a:lnTo>
                  <a:lnTo>
                    <a:pt x="112494" y="58883"/>
                  </a:lnTo>
                  <a:lnTo>
                    <a:pt x="112604" y="61751"/>
                  </a:lnTo>
                  <a:lnTo>
                    <a:pt x="113667" y="65858"/>
                  </a:lnTo>
                  <a:lnTo>
                    <a:pt x="113313" y="67588"/>
                  </a:lnTo>
                  <a:lnTo>
                    <a:pt x="116450" y="73604"/>
                  </a:lnTo>
                  <a:lnTo>
                    <a:pt x="117947" y="78664"/>
                  </a:lnTo>
                  <a:lnTo>
                    <a:pt x="118261" y="83600"/>
                  </a:lnTo>
                  <a:lnTo>
                    <a:pt x="117385" y="88416"/>
                  </a:lnTo>
                  <a:lnTo>
                    <a:pt x="114621" y="95450"/>
                  </a:lnTo>
                  <a:lnTo>
                    <a:pt x="114146" y="98281"/>
                  </a:lnTo>
                  <a:lnTo>
                    <a:pt x="114754" y="100858"/>
                  </a:lnTo>
                  <a:lnTo>
                    <a:pt x="116541" y="103657"/>
                  </a:lnTo>
                  <a:lnTo>
                    <a:pt x="119528" y="106673"/>
                  </a:lnTo>
                  <a:lnTo>
                    <a:pt x="121775" y="110314"/>
                  </a:lnTo>
                  <a:lnTo>
                    <a:pt x="123296" y="114588"/>
                  </a:lnTo>
                  <a:lnTo>
                    <a:pt x="124582" y="116522"/>
                  </a:lnTo>
                  <a:lnTo>
                    <a:pt x="126184" y="116477"/>
                  </a:lnTo>
                  <a:lnTo>
                    <a:pt x="129128" y="117136"/>
                  </a:lnTo>
                  <a:lnTo>
                    <a:pt x="131498" y="119632"/>
                  </a:lnTo>
                  <a:lnTo>
                    <a:pt x="134246" y="123827"/>
                  </a:lnTo>
                  <a:lnTo>
                    <a:pt x="135173" y="128643"/>
                  </a:lnTo>
                  <a:lnTo>
                    <a:pt x="135577" y="130705"/>
                  </a:lnTo>
                  <a:lnTo>
                    <a:pt x="127705" y="130561"/>
                  </a:lnTo>
                  <a:lnTo>
                    <a:pt x="117813" y="131340"/>
                  </a:lnTo>
                  <a:lnTo>
                    <a:pt x="115384" y="133231"/>
                  </a:lnTo>
                  <a:lnTo>
                    <a:pt x="114655" y="137423"/>
                  </a:lnTo>
                  <a:lnTo>
                    <a:pt x="111556" y="146072"/>
                  </a:lnTo>
                  <a:lnTo>
                    <a:pt x="109831" y="149249"/>
                  </a:lnTo>
                  <a:lnTo>
                    <a:pt x="106164" y="155061"/>
                  </a:lnTo>
                  <a:lnTo>
                    <a:pt x="101016" y="163258"/>
                  </a:lnTo>
                  <a:lnTo>
                    <a:pt x="99942" y="165934"/>
                  </a:lnTo>
                  <a:lnTo>
                    <a:pt x="100122" y="168687"/>
                  </a:lnTo>
                  <a:lnTo>
                    <a:pt x="103156" y="179830"/>
                  </a:lnTo>
                  <a:lnTo>
                    <a:pt x="106338" y="191546"/>
                  </a:lnTo>
                  <a:lnTo>
                    <a:pt x="107351" y="196123"/>
                  </a:lnTo>
                  <a:lnTo>
                    <a:pt x="109622" y="211710"/>
                  </a:lnTo>
                  <a:lnTo>
                    <a:pt x="110884" y="222724"/>
                  </a:lnTo>
                  <a:lnTo>
                    <a:pt x="111069" y="229209"/>
                  </a:lnTo>
                  <a:lnTo>
                    <a:pt x="112135" y="237877"/>
                  </a:lnTo>
                  <a:lnTo>
                    <a:pt x="114969" y="242561"/>
                  </a:lnTo>
                  <a:lnTo>
                    <a:pt x="117937" y="245505"/>
                  </a:lnTo>
                  <a:lnTo>
                    <a:pt x="129122" y="247273"/>
                  </a:lnTo>
                  <a:lnTo>
                    <a:pt x="132460" y="249421"/>
                  </a:lnTo>
                  <a:lnTo>
                    <a:pt x="138797" y="254958"/>
                  </a:lnTo>
                  <a:lnTo>
                    <a:pt x="152634" y="270250"/>
                  </a:lnTo>
                  <a:lnTo>
                    <a:pt x="160233" y="280018"/>
                  </a:lnTo>
                  <a:lnTo>
                    <a:pt x="166908" y="288619"/>
                  </a:lnTo>
                  <a:lnTo>
                    <a:pt x="178871" y="304602"/>
                  </a:lnTo>
                  <a:lnTo>
                    <a:pt x="188152" y="317022"/>
                  </a:lnTo>
                  <a:lnTo>
                    <a:pt x="189312" y="328693"/>
                  </a:lnTo>
                  <a:lnTo>
                    <a:pt x="190855" y="330388"/>
                  </a:lnTo>
                  <a:lnTo>
                    <a:pt x="187726" y="339040"/>
                  </a:lnTo>
                  <a:lnTo>
                    <a:pt x="185677" y="353030"/>
                  </a:lnTo>
                  <a:lnTo>
                    <a:pt x="187153" y="362325"/>
                  </a:lnTo>
                  <a:lnTo>
                    <a:pt x="186539" y="378179"/>
                  </a:lnTo>
                  <a:lnTo>
                    <a:pt x="184839" y="395075"/>
                  </a:lnTo>
                  <a:lnTo>
                    <a:pt x="182709" y="401123"/>
                  </a:lnTo>
                  <a:lnTo>
                    <a:pt x="179964" y="403403"/>
                  </a:lnTo>
                  <a:lnTo>
                    <a:pt x="173473" y="405230"/>
                  </a:lnTo>
                  <a:lnTo>
                    <a:pt x="159210" y="407338"/>
                  </a:lnTo>
                  <a:lnTo>
                    <a:pt x="157075" y="409320"/>
                  </a:lnTo>
                  <a:lnTo>
                    <a:pt x="155243" y="412601"/>
                  </a:lnTo>
                  <a:lnTo>
                    <a:pt x="152356" y="420395"/>
                  </a:lnTo>
                  <a:lnTo>
                    <a:pt x="148949" y="428273"/>
                  </a:lnTo>
                  <a:lnTo>
                    <a:pt x="147880" y="431643"/>
                  </a:lnTo>
                  <a:lnTo>
                    <a:pt x="148539" y="432438"/>
                  </a:lnTo>
                  <a:lnTo>
                    <a:pt x="151587" y="436451"/>
                  </a:lnTo>
                  <a:lnTo>
                    <a:pt x="154630" y="446712"/>
                  </a:lnTo>
                  <a:lnTo>
                    <a:pt x="155179" y="464329"/>
                  </a:lnTo>
                  <a:lnTo>
                    <a:pt x="154121" y="465639"/>
                  </a:lnTo>
                  <a:lnTo>
                    <a:pt x="149905" y="466408"/>
                  </a:lnTo>
                  <a:lnTo>
                    <a:pt x="145357" y="466175"/>
                  </a:lnTo>
                  <a:lnTo>
                    <a:pt x="143490" y="465181"/>
                  </a:lnTo>
                  <a:lnTo>
                    <a:pt x="141805" y="463209"/>
                  </a:lnTo>
                  <a:lnTo>
                    <a:pt x="140581" y="459449"/>
                  </a:lnTo>
                  <a:lnTo>
                    <a:pt x="143560" y="456824"/>
                  </a:lnTo>
                  <a:lnTo>
                    <a:pt x="144618" y="452238"/>
                  </a:lnTo>
                  <a:lnTo>
                    <a:pt x="142708" y="448301"/>
                  </a:lnTo>
                  <a:lnTo>
                    <a:pt x="138885" y="447425"/>
                  </a:lnTo>
                  <a:lnTo>
                    <a:pt x="134032" y="443822"/>
                  </a:lnTo>
                  <a:lnTo>
                    <a:pt x="123690" y="432058"/>
                  </a:lnTo>
                  <a:lnTo>
                    <a:pt x="115038" y="423811"/>
                  </a:lnTo>
                  <a:lnTo>
                    <a:pt x="110029" y="416978"/>
                  </a:lnTo>
                  <a:lnTo>
                    <a:pt x="104887" y="414256"/>
                  </a:lnTo>
                  <a:lnTo>
                    <a:pt x="103411" y="412577"/>
                  </a:lnTo>
                  <a:lnTo>
                    <a:pt x="102173" y="409687"/>
                  </a:lnTo>
                  <a:lnTo>
                    <a:pt x="102152" y="405532"/>
                  </a:lnTo>
                  <a:lnTo>
                    <a:pt x="102621" y="402460"/>
                  </a:lnTo>
                  <a:lnTo>
                    <a:pt x="101016" y="399023"/>
                  </a:lnTo>
                  <a:lnTo>
                    <a:pt x="95822" y="393704"/>
                  </a:lnTo>
                  <a:lnTo>
                    <a:pt x="93452" y="390749"/>
                  </a:lnTo>
                  <a:lnTo>
                    <a:pt x="93326" y="387222"/>
                  </a:lnTo>
                  <a:lnTo>
                    <a:pt x="95512" y="383828"/>
                  </a:lnTo>
                  <a:lnTo>
                    <a:pt x="99953" y="379690"/>
                  </a:lnTo>
                  <a:lnTo>
                    <a:pt x="103314" y="371290"/>
                  </a:lnTo>
                  <a:lnTo>
                    <a:pt x="104512" y="365852"/>
                  </a:lnTo>
                  <a:lnTo>
                    <a:pt x="110779" y="354948"/>
                  </a:lnTo>
                  <a:lnTo>
                    <a:pt x="111647" y="345474"/>
                  </a:lnTo>
                  <a:lnTo>
                    <a:pt x="111776" y="337904"/>
                  </a:lnTo>
                  <a:lnTo>
                    <a:pt x="111393" y="332239"/>
                  </a:lnTo>
                  <a:lnTo>
                    <a:pt x="109791" y="320644"/>
                  </a:lnTo>
                  <a:lnTo>
                    <a:pt x="108674" y="312621"/>
                  </a:lnTo>
                  <a:lnTo>
                    <a:pt x="100960" y="302140"/>
                  </a:lnTo>
                  <a:lnTo>
                    <a:pt x="98442" y="301160"/>
                  </a:lnTo>
                  <a:lnTo>
                    <a:pt x="91114" y="302073"/>
                  </a:lnTo>
                  <a:lnTo>
                    <a:pt x="84782" y="303622"/>
                  </a:lnTo>
                  <a:lnTo>
                    <a:pt x="81677" y="305794"/>
                  </a:lnTo>
                  <a:lnTo>
                    <a:pt x="76963" y="305906"/>
                  </a:lnTo>
                  <a:lnTo>
                    <a:pt x="64617" y="307730"/>
                  </a:lnTo>
                  <a:lnTo>
                    <a:pt x="60750" y="308515"/>
                  </a:lnTo>
                  <a:lnTo>
                    <a:pt x="58510" y="310412"/>
                  </a:lnTo>
                  <a:lnTo>
                    <a:pt x="57214" y="310808"/>
                  </a:lnTo>
                  <a:lnTo>
                    <a:pt x="49446" y="302700"/>
                  </a:lnTo>
                  <a:lnTo>
                    <a:pt x="42616" y="293960"/>
                  </a:lnTo>
                  <a:lnTo>
                    <a:pt x="33945" y="279075"/>
                  </a:lnTo>
                  <a:lnTo>
                    <a:pt x="31470" y="277283"/>
                  </a:lnTo>
                  <a:lnTo>
                    <a:pt x="28288" y="272909"/>
                  </a:lnTo>
                  <a:lnTo>
                    <a:pt x="25658" y="274010"/>
                  </a:lnTo>
                  <a:lnTo>
                    <a:pt x="22031" y="277083"/>
                  </a:lnTo>
                  <a:lnTo>
                    <a:pt x="20071" y="277908"/>
                  </a:lnTo>
                  <a:lnTo>
                    <a:pt x="19053" y="277814"/>
                  </a:lnTo>
                  <a:lnTo>
                    <a:pt x="18410" y="277042"/>
                  </a:lnTo>
                  <a:lnTo>
                    <a:pt x="17601" y="275076"/>
                  </a:lnTo>
                  <a:lnTo>
                    <a:pt x="14802" y="269465"/>
                  </a:lnTo>
                  <a:lnTo>
                    <a:pt x="11655" y="265452"/>
                  </a:lnTo>
                  <a:lnTo>
                    <a:pt x="8328" y="263896"/>
                  </a:lnTo>
                  <a:lnTo>
                    <a:pt x="5609" y="262053"/>
                  </a:lnTo>
                  <a:lnTo>
                    <a:pt x="6806" y="260267"/>
                  </a:lnTo>
                  <a:lnTo>
                    <a:pt x="8073" y="258986"/>
                  </a:lnTo>
                  <a:lnTo>
                    <a:pt x="7524" y="257674"/>
                  </a:lnTo>
                  <a:lnTo>
                    <a:pt x="6003" y="255748"/>
                  </a:lnTo>
                  <a:lnTo>
                    <a:pt x="97" y="252962"/>
                  </a:lnTo>
                  <a:lnTo>
                    <a:pt x="0" y="251760"/>
                  </a:lnTo>
                  <a:lnTo>
                    <a:pt x="5213" y="249338"/>
                  </a:lnTo>
                  <a:lnTo>
                    <a:pt x="8507" y="246472"/>
                  </a:lnTo>
                  <a:lnTo>
                    <a:pt x="10747" y="243716"/>
                  </a:lnTo>
                  <a:lnTo>
                    <a:pt x="13580" y="237689"/>
                  </a:lnTo>
                  <a:lnTo>
                    <a:pt x="15881" y="231684"/>
                  </a:lnTo>
                  <a:lnTo>
                    <a:pt x="17601" y="229731"/>
                  </a:lnTo>
                  <a:lnTo>
                    <a:pt x="18196" y="225748"/>
                  </a:lnTo>
                  <a:lnTo>
                    <a:pt x="17807" y="221254"/>
                  </a:lnTo>
                  <a:lnTo>
                    <a:pt x="18954" y="215543"/>
                  </a:lnTo>
                  <a:lnTo>
                    <a:pt x="19521" y="210135"/>
                  </a:lnTo>
                  <a:lnTo>
                    <a:pt x="17775" y="208035"/>
                  </a:lnTo>
                  <a:lnTo>
                    <a:pt x="16299" y="204403"/>
                  </a:lnTo>
                  <a:lnTo>
                    <a:pt x="18051" y="198202"/>
                  </a:lnTo>
                  <a:lnTo>
                    <a:pt x="20799" y="193938"/>
                  </a:lnTo>
                  <a:lnTo>
                    <a:pt x="33940" y="189489"/>
                  </a:lnTo>
                  <a:lnTo>
                    <a:pt x="43090" y="185479"/>
                  </a:lnTo>
                  <a:lnTo>
                    <a:pt x="45029" y="183711"/>
                  </a:lnTo>
                  <a:lnTo>
                    <a:pt x="48139" y="180280"/>
                  </a:lnTo>
                  <a:lnTo>
                    <a:pt x="49864" y="176934"/>
                  </a:lnTo>
                  <a:lnTo>
                    <a:pt x="48627" y="175930"/>
                  </a:lnTo>
                  <a:lnTo>
                    <a:pt x="41437" y="175847"/>
                  </a:lnTo>
                  <a:lnTo>
                    <a:pt x="39667" y="174561"/>
                  </a:lnTo>
                  <a:lnTo>
                    <a:pt x="34465" y="162800"/>
                  </a:lnTo>
                  <a:lnTo>
                    <a:pt x="37347" y="149321"/>
                  </a:lnTo>
                  <a:lnTo>
                    <a:pt x="37591" y="144026"/>
                  </a:lnTo>
                  <a:lnTo>
                    <a:pt x="37521" y="137471"/>
                  </a:lnTo>
                  <a:lnTo>
                    <a:pt x="36595" y="132687"/>
                  </a:lnTo>
                  <a:lnTo>
                    <a:pt x="34328" y="130679"/>
                  </a:lnTo>
                  <a:lnTo>
                    <a:pt x="32928" y="128110"/>
                  </a:lnTo>
                  <a:lnTo>
                    <a:pt x="33305" y="121079"/>
                  </a:lnTo>
                  <a:lnTo>
                    <a:pt x="35416" y="120254"/>
                  </a:lnTo>
                  <a:lnTo>
                    <a:pt x="39986" y="110970"/>
                  </a:lnTo>
                  <a:lnTo>
                    <a:pt x="42013" y="105500"/>
                  </a:lnTo>
                  <a:lnTo>
                    <a:pt x="39581" y="101139"/>
                  </a:lnTo>
                  <a:lnTo>
                    <a:pt x="36889" y="94907"/>
                  </a:lnTo>
                  <a:lnTo>
                    <a:pt x="35676" y="90945"/>
                  </a:lnTo>
                  <a:lnTo>
                    <a:pt x="34998" y="89646"/>
                  </a:lnTo>
                  <a:lnTo>
                    <a:pt x="36860" y="87187"/>
                  </a:lnTo>
                  <a:lnTo>
                    <a:pt x="39948" y="84811"/>
                  </a:lnTo>
                  <a:lnTo>
                    <a:pt x="43398" y="84158"/>
                  </a:lnTo>
                  <a:lnTo>
                    <a:pt x="47046" y="83041"/>
                  </a:lnTo>
                  <a:lnTo>
                    <a:pt x="58556" y="71504"/>
                  </a:lnTo>
                  <a:lnTo>
                    <a:pt x="58701" y="69265"/>
                  </a:lnTo>
                  <a:lnTo>
                    <a:pt x="56606" y="65400"/>
                  </a:lnTo>
                  <a:lnTo>
                    <a:pt x="52315" y="59576"/>
                  </a:lnTo>
                  <a:lnTo>
                    <a:pt x="51361" y="57198"/>
                  </a:lnTo>
                  <a:lnTo>
                    <a:pt x="50847" y="50204"/>
                  </a:lnTo>
                  <a:lnTo>
                    <a:pt x="49141" y="48112"/>
                  </a:lnTo>
                  <a:lnTo>
                    <a:pt x="42830" y="43395"/>
                  </a:lnTo>
                  <a:lnTo>
                    <a:pt x="37971" y="38437"/>
                  </a:lnTo>
                  <a:lnTo>
                    <a:pt x="39487" y="33412"/>
                  </a:lnTo>
                  <a:lnTo>
                    <a:pt x="40310" y="27924"/>
                  </a:lnTo>
                  <a:lnTo>
                    <a:pt x="37907" y="24911"/>
                  </a:lnTo>
                  <a:lnTo>
                    <a:pt x="34328" y="21788"/>
                  </a:lnTo>
                  <a:lnTo>
                    <a:pt x="32119" y="17210"/>
                  </a:lnTo>
                  <a:lnTo>
                    <a:pt x="31112" y="13814"/>
                  </a:lnTo>
                  <a:lnTo>
                    <a:pt x="28288" y="12458"/>
                  </a:lnTo>
                  <a:lnTo>
                    <a:pt x="25709" y="12407"/>
                  </a:lnTo>
                  <a:lnTo>
                    <a:pt x="23813" y="14531"/>
                  </a:lnTo>
                  <a:lnTo>
                    <a:pt x="21758" y="14344"/>
                  </a:lnTo>
                  <a:lnTo>
                    <a:pt x="19283" y="13615"/>
                  </a:lnTo>
                  <a:lnTo>
                    <a:pt x="18463" y="10674"/>
                  </a:lnTo>
                  <a:lnTo>
                    <a:pt x="18330" y="7487"/>
                  </a:lnTo>
                  <a:lnTo>
                    <a:pt x="16623" y="5328"/>
                  </a:lnTo>
                  <a:lnTo>
                    <a:pt x="14981" y="2328"/>
                  </a:lnTo>
                  <a:lnTo>
                    <a:pt x="14778" y="742"/>
                  </a:lnTo>
                  <a:lnTo>
                    <a:pt x="15806" y="281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96" name="ee4p_NA_1_37365">
              <a:extLst>
                <a:ext uri="{FF2B5EF4-FFF2-40B4-BE49-F238E27FC236}">
                  <a16:creationId xmlns:a16="http://schemas.microsoft.com/office/drawing/2014/main" id="{563EE6BB-4820-39FF-B8FB-15EB76C284A9}"/>
                </a:ext>
              </a:extLst>
            </p:cNvPr>
            <p:cNvSpPr>
              <a:spLocks noChangeAspect="1"/>
            </p:cNvSpPr>
            <p:nvPr>
              <p:custDataLst>
                <p:tags r:id="rId350"/>
              </p:custDataLst>
            </p:nvPr>
          </p:nvSpPr>
          <p:spPr>
            <a:xfrm>
              <a:off x="6840204" y="5166292"/>
              <a:ext cx="375918" cy="360315"/>
            </a:xfrm>
            <a:custGeom>
              <a:avLst/>
              <a:gdLst/>
              <a:ahLst/>
              <a:cxnLst/>
              <a:rect l="0" t="0" r="0" b="0"/>
              <a:pathLst>
                <a:path w="299335" h="279306">
                  <a:moveTo>
                    <a:pt x="257805" y="15326"/>
                  </a:moveTo>
                  <a:lnTo>
                    <a:pt x="262542" y="14386"/>
                  </a:lnTo>
                  <a:lnTo>
                    <a:pt x="267060" y="13491"/>
                  </a:lnTo>
                  <a:lnTo>
                    <a:pt x="272316" y="12597"/>
                  </a:lnTo>
                  <a:lnTo>
                    <a:pt x="276522" y="11882"/>
                  </a:lnTo>
                  <a:lnTo>
                    <a:pt x="277578" y="11688"/>
                  </a:lnTo>
                  <a:lnTo>
                    <a:pt x="287706" y="12525"/>
                  </a:lnTo>
                  <a:lnTo>
                    <a:pt x="292117" y="13111"/>
                  </a:lnTo>
                  <a:lnTo>
                    <a:pt x="293651" y="13683"/>
                  </a:lnTo>
                  <a:lnTo>
                    <a:pt x="295650" y="15183"/>
                  </a:lnTo>
                  <a:lnTo>
                    <a:pt x="299334" y="18814"/>
                  </a:lnTo>
                  <a:lnTo>
                    <a:pt x="298388" y="18678"/>
                  </a:lnTo>
                  <a:lnTo>
                    <a:pt x="291602" y="19448"/>
                  </a:lnTo>
                  <a:lnTo>
                    <a:pt x="289016" y="20436"/>
                  </a:lnTo>
                  <a:lnTo>
                    <a:pt x="283232" y="24729"/>
                  </a:lnTo>
                  <a:lnTo>
                    <a:pt x="282001" y="24176"/>
                  </a:lnTo>
                  <a:lnTo>
                    <a:pt x="280614" y="23284"/>
                  </a:lnTo>
                  <a:lnTo>
                    <a:pt x="279438" y="23028"/>
                  </a:lnTo>
                  <a:lnTo>
                    <a:pt x="276894" y="24060"/>
                  </a:lnTo>
                  <a:lnTo>
                    <a:pt x="274359" y="25295"/>
                  </a:lnTo>
                  <a:lnTo>
                    <a:pt x="271558" y="27044"/>
                  </a:lnTo>
                  <a:lnTo>
                    <a:pt x="269252" y="28760"/>
                  </a:lnTo>
                  <a:lnTo>
                    <a:pt x="268498" y="29681"/>
                  </a:lnTo>
                  <a:lnTo>
                    <a:pt x="264877" y="33219"/>
                  </a:lnTo>
                  <a:lnTo>
                    <a:pt x="263698" y="33793"/>
                  </a:lnTo>
                  <a:lnTo>
                    <a:pt x="262648" y="34034"/>
                  </a:lnTo>
                  <a:lnTo>
                    <a:pt x="262225" y="33874"/>
                  </a:lnTo>
                  <a:lnTo>
                    <a:pt x="261774" y="32353"/>
                  </a:lnTo>
                  <a:lnTo>
                    <a:pt x="259554" y="28802"/>
                  </a:lnTo>
                  <a:lnTo>
                    <a:pt x="255991" y="24149"/>
                  </a:lnTo>
                  <a:lnTo>
                    <a:pt x="254950" y="23697"/>
                  </a:lnTo>
                  <a:lnTo>
                    <a:pt x="254238" y="23518"/>
                  </a:lnTo>
                  <a:lnTo>
                    <a:pt x="251597" y="23743"/>
                  </a:lnTo>
                  <a:lnTo>
                    <a:pt x="243920" y="25059"/>
                  </a:lnTo>
                  <a:lnTo>
                    <a:pt x="237448" y="26167"/>
                  </a:lnTo>
                  <a:lnTo>
                    <a:pt x="227528" y="28061"/>
                  </a:lnTo>
                  <a:lnTo>
                    <a:pt x="216876" y="29592"/>
                  </a:lnTo>
                  <a:lnTo>
                    <a:pt x="210305" y="30533"/>
                  </a:lnTo>
                  <a:lnTo>
                    <a:pt x="204591" y="30808"/>
                  </a:lnTo>
                  <a:lnTo>
                    <a:pt x="204595" y="35419"/>
                  </a:lnTo>
                  <a:lnTo>
                    <a:pt x="204610" y="44758"/>
                  </a:lnTo>
                  <a:lnTo>
                    <a:pt x="204624" y="54110"/>
                  </a:lnTo>
                  <a:lnTo>
                    <a:pt x="204636" y="63476"/>
                  </a:lnTo>
                  <a:lnTo>
                    <a:pt x="204651" y="72860"/>
                  </a:lnTo>
                  <a:lnTo>
                    <a:pt x="204665" y="82256"/>
                  </a:lnTo>
                  <a:lnTo>
                    <a:pt x="204680" y="91669"/>
                  </a:lnTo>
                  <a:lnTo>
                    <a:pt x="204692" y="101098"/>
                  </a:lnTo>
                  <a:lnTo>
                    <a:pt x="204706" y="110545"/>
                  </a:lnTo>
                  <a:lnTo>
                    <a:pt x="204710" y="114668"/>
                  </a:lnTo>
                  <a:lnTo>
                    <a:pt x="204522" y="115556"/>
                  </a:lnTo>
                  <a:lnTo>
                    <a:pt x="201244" y="115556"/>
                  </a:lnTo>
                  <a:lnTo>
                    <a:pt x="193831" y="115556"/>
                  </a:lnTo>
                  <a:lnTo>
                    <a:pt x="187592" y="115556"/>
                  </a:lnTo>
                  <a:lnTo>
                    <a:pt x="182550" y="115556"/>
                  </a:lnTo>
                  <a:lnTo>
                    <a:pt x="182557" y="121182"/>
                  </a:lnTo>
                  <a:lnTo>
                    <a:pt x="182563" y="127845"/>
                  </a:lnTo>
                  <a:lnTo>
                    <a:pt x="182570" y="134514"/>
                  </a:lnTo>
                  <a:lnTo>
                    <a:pt x="182576" y="141192"/>
                  </a:lnTo>
                  <a:lnTo>
                    <a:pt x="182585" y="147879"/>
                  </a:lnTo>
                  <a:lnTo>
                    <a:pt x="182593" y="154575"/>
                  </a:lnTo>
                  <a:lnTo>
                    <a:pt x="182600" y="161280"/>
                  </a:lnTo>
                  <a:lnTo>
                    <a:pt x="182606" y="167995"/>
                  </a:lnTo>
                  <a:lnTo>
                    <a:pt x="182613" y="174721"/>
                  </a:lnTo>
                  <a:lnTo>
                    <a:pt x="182619" y="179800"/>
                  </a:lnTo>
                  <a:lnTo>
                    <a:pt x="182619" y="180383"/>
                  </a:lnTo>
                  <a:lnTo>
                    <a:pt x="182619" y="190266"/>
                  </a:lnTo>
                  <a:lnTo>
                    <a:pt x="182619" y="200755"/>
                  </a:lnTo>
                  <a:lnTo>
                    <a:pt x="182619" y="211267"/>
                  </a:lnTo>
                  <a:lnTo>
                    <a:pt x="182619" y="221806"/>
                  </a:lnTo>
                  <a:lnTo>
                    <a:pt x="182619" y="232371"/>
                  </a:lnTo>
                  <a:lnTo>
                    <a:pt x="182619" y="242959"/>
                  </a:lnTo>
                  <a:lnTo>
                    <a:pt x="182619" y="253576"/>
                  </a:lnTo>
                  <a:lnTo>
                    <a:pt x="182619" y="264220"/>
                  </a:lnTo>
                  <a:lnTo>
                    <a:pt x="182619" y="267598"/>
                  </a:lnTo>
                  <a:lnTo>
                    <a:pt x="180350" y="267554"/>
                  </a:lnTo>
                  <a:lnTo>
                    <a:pt x="175787" y="268861"/>
                  </a:lnTo>
                  <a:lnTo>
                    <a:pt x="172876" y="270557"/>
                  </a:lnTo>
                  <a:lnTo>
                    <a:pt x="171617" y="272645"/>
                  </a:lnTo>
                  <a:lnTo>
                    <a:pt x="169944" y="273914"/>
                  </a:lnTo>
                  <a:lnTo>
                    <a:pt x="167853" y="274367"/>
                  </a:lnTo>
                  <a:lnTo>
                    <a:pt x="166931" y="275434"/>
                  </a:lnTo>
                  <a:lnTo>
                    <a:pt x="167180" y="277121"/>
                  </a:lnTo>
                  <a:lnTo>
                    <a:pt x="166374" y="278412"/>
                  </a:lnTo>
                  <a:lnTo>
                    <a:pt x="164515" y="279305"/>
                  </a:lnTo>
                  <a:lnTo>
                    <a:pt x="161516" y="279044"/>
                  </a:lnTo>
                  <a:lnTo>
                    <a:pt x="157374" y="277631"/>
                  </a:lnTo>
                  <a:lnTo>
                    <a:pt x="152103" y="277297"/>
                  </a:lnTo>
                  <a:lnTo>
                    <a:pt x="145700" y="278042"/>
                  </a:lnTo>
                  <a:lnTo>
                    <a:pt x="141099" y="277692"/>
                  </a:lnTo>
                  <a:lnTo>
                    <a:pt x="138298" y="276241"/>
                  </a:lnTo>
                  <a:lnTo>
                    <a:pt x="135325" y="275415"/>
                  </a:lnTo>
                  <a:lnTo>
                    <a:pt x="132178" y="275209"/>
                  </a:lnTo>
                  <a:lnTo>
                    <a:pt x="130354" y="274601"/>
                  </a:lnTo>
                  <a:lnTo>
                    <a:pt x="126620" y="273522"/>
                  </a:lnTo>
                  <a:lnTo>
                    <a:pt x="125907" y="271673"/>
                  </a:lnTo>
                  <a:lnTo>
                    <a:pt x="125469" y="270271"/>
                  </a:lnTo>
                  <a:lnTo>
                    <a:pt x="124407" y="268795"/>
                  </a:lnTo>
                  <a:lnTo>
                    <a:pt x="124290" y="267608"/>
                  </a:lnTo>
                  <a:lnTo>
                    <a:pt x="125124" y="266704"/>
                  </a:lnTo>
                  <a:lnTo>
                    <a:pt x="125245" y="265248"/>
                  </a:lnTo>
                  <a:lnTo>
                    <a:pt x="124646" y="263240"/>
                  </a:lnTo>
                  <a:lnTo>
                    <a:pt x="123614" y="262262"/>
                  </a:lnTo>
                  <a:lnTo>
                    <a:pt x="122150" y="262316"/>
                  </a:lnTo>
                  <a:lnTo>
                    <a:pt x="121239" y="261549"/>
                  </a:lnTo>
                  <a:lnTo>
                    <a:pt x="120882" y="259962"/>
                  </a:lnTo>
                  <a:lnTo>
                    <a:pt x="120019" y="258758"/>
                  </a:lnTo>
                  <a:lnTo>
                    <a:pt x="117959" y="257534"/>
                  </a:lnTo>
                  <a:lnTo>
                    <a:pt x="115240" y="258457"/>
                  </a:lnTo>
                  <a:lnTo>
                    <a:pt x="113957" y="259852"/>
                  </a:lnTo>
                  <a:lnTo>
                    <a:pt x="113204" y="262031"/>
                  </a:lnTo>
                  <a:lnTo>
                    <a:pt x="112517" y="263123"/>
                  </a:lnTo>
                  <a:lnTo>
                    <a:pt x="112171" y="264951"/>
                  </a:lnTo>
                  <a:lnTo>
                    <a:pt x="112016" y="266243"/>
                  </a:lnTo>
                  <a:lnTo>
                    <a:pt x="111314" y="267619"/>
                  </a:lnTo>
                  <a:lnTo>
                    <a:pt x="110591" y="268179"/>
                  </a:lnTo>
                  <a:lnTo>
                    <a:pt x="109848" y="267926"/>
                  </a:lnTo>
                  <a:lnTo>
                    <a:pt x="108449" y="268476"/>
                  </a:lnTo>
                  <a:lnTo>
                    <a:pt x="105374" y="270515"/>
                  </a:lnTo>
                  <a:lnTo>
                    <a:pt x="104499" y="271588"/>
                  </a:lnTo>
                  <a:lnTo>
                    <a:pt x="102012" y="269643"/>
                  </a:lnTo>
                  <a:lnTo>
                    <a:pt x="94760" y="262338"/>
                  </a:lnTo>
                  <a:lnTo>
                    <a:pt x="92191" y="260441"/>
                  </a:lnTo>
                  <a:lnTo>
                    <a:pt x="88390" y="255974"/>
                  </a:lnTo>
                  <a:lnTo>
                    <a:pt x="80042" y="242145"/>
                  </a:lnTo>
                  <a:lnTo>
                    <a:pt x="78850" y="239487"/>
                  </a:lnTo>
                  <a:lnTo>
                    <a:pt x="77261" y="232826"/>
                  </a:lnTo>
                  <a:lnTo>
                    <a:pt x="75428" y="227894"/>
                  </a:lnTo>
                  <a:lnTo>
                    <a:pt x="75227" y="225051"/>
                  </a:lnTo>
                  <a:lnTo>
                    <a:pt x="76101" y="223445"/>
                  </a:lnTo>
                  <a:lnTo>
                    <a:pt x="75565" y="221257"/>
                  </a:lnTo>
                  <a:lnTo>
                    <a:pt x="74626" y="219308"/>
                  </a:lnTo>
                  <a:lnTo>
                    <a:pt x="71778" y="216755"/>
                  </a:lnTo>
                  <a:lnTo>
                    <a:pt x="70970" y="208236"/>
                  </a:lnTo>
                  <a:lnTo>
                    <a:pt x="69068" y="202741"/>
                  </a:lnTo>
                  <a:lnTo>
                    <a:pt x="69476" y="198206"/>
                  </a:lnTo>
                  <a:lnTo>
                    <a:pt x="68567" y="194078"/>
                  </a:lnTo>
                  <a:lnTo>
                    <a:pt x="68478" y="191434"/>
                  </a:lnTo>
                  <a:lnTo>
                    <a:pt x="68889" y="186414"/>
                  </a:lnTo>
                  <a:lnTo>
                    <a:pt x="67360" y="180647"/>
                  </a:lnTo>
                  <a:lnTo>
                    <a:pt x="64263" y="175010"/>
                  </a:lnTo>
                  <a:lnTo>
                    <a:pt x="61469" y="166891"/>
                  </a:lnTo>
                  <a:lnTo>
                    <a:pt x="61068" y="163340"/>
                  </a:lnTo>
                  <a:lnTo>
                    <a:pt x="61366" y="153806"/>
                  </a:lnTo>
                  <a:lnTo>
                    <a:pt x="60826" y="149922"/>
                  </a:lnTo>
                  <a:lnTo>
                    <a:pt x="60856" y="145358"/>
                  </a:lnTo>
                  <a:lnTo>
                    <a:pt x="59750" y="140634"/>
                  </a:lnTo>
                  <a:lnTo>
                    <a:pt x="59297" y="138058"/>
                  </a:lnTo>
                  <a:lnTo>
                    <a:pt x="60074" y="136019"/>
                  </a:lnTo>
                  <a:lnTo>
                    <a:pt x="60534" y="136663"/>
                  </a:lnTo>
                  <a:lnTo>
                    <a:pt x="61340" y="136970"/>
                  </a:lnTo>
                  <a:lnTo>
                    <a:pt x="61875" y="134264"/>
                  </a:lnTo>
                  <a:lnTo>
                    <a:pt x="62009" y="131875"/>
                  </a:lnTo>
                  <a:lnTo>
                    <a:pt x="60612" y="125981"/>
                  </a:lnTo>
                  <a:lnTo>
                    <a:pt x="57496" y="119960"/>
                  </a:lnTo>
                  <a:lnTo>
                    <a:pt x="49787" y="110163"/>
                  </a:lnTo>
                  <a:lnTo>
                    <a:pt x="47904" y="106434"/>
                  </a:lnTo>
                  <a:lnTo>
                    <a:pt x="46827" y="103346"/>
                  </a:lnTo>
                  <a:lnTo>
                    <a:pt x="38230" y="90480"/>
                  </a:lnTo>
                  <a:lnTo>
                    <a:pt x="34554" y="81419"/>
                  </a:lnTo>
                  <a:lnTo>
                    <a:pt x="31989" y="73603"/>
                  </a:lnTo>
                  <a:lnTo>
                    <a:pt x="29197" y="70003"/>
                  </a:lnTo>
                  <a:lnTo>
                    <a:pt x="16286" y="44718"/>
                  </a:lnTo>
                  <a:lnTo>
                    <a:pt x="13423" y="40695"/>
                  </a:lnTo>
                  <a:lnTo>
                    <a:pt x="8270" y="35886"/>
                  </a:lnTo>
                  <a:lnTo>
                    <a:pt x="7065" y="34280"/>
                  </a:lnTo>
                  <a:lnTo>
                    <a:pt x="5079" y="29703"/>
                  </a:lnTo>
                  <a:lnTo>
                    <a:pt x="1199" y="23565"/>
                  </a:lnTo>
                  <a:lnTo>
                    <a:pt x="261" y="17842"/>
                  </a:lnTo>
                  <a:lnTo>
                    <a:pt x="0" y="11364"/>
                  </a:lnTo>
                  <a:lnTo>
                    <a:pt x="473" y="6408"/>
                  </a:lnTo>
                  <a:lnTo>
                    <a:pt x="3999" y="5892"/>
                  </a:lnTo>
                  <a:lnTo>
                    <a:pt x="6463" y="4571"/>
                  </a:lnTo>
                  <a:lnTo>
                    <a:pt x="8683" y="4480"/>
                  </a:lnTo>
                  <a:lnTo>
                    <a:pt x="10873" y="5514"/>
                  </a:lnTo>
                  <a:lnTo>
                    <a:pt x="13196" y="5592"/>
                  </a:lnTo>
                  <a:lnTo>
                    <a:pt x="14099" y="5421"/>
                  </a:lnTo>
                  <a:lnTo>
                    <a:pt x="18275" y="5576"/>
                  </a:lnTo>
                  <a:lnTo>
                    <a:pt x="20672" y="4389"/>
                  </a:lnTo>
                  <a:lnTo>
                    <a:pt x="23516" y="3198"/>
                  </a:lnTo>
                  <a:lnTo>
                    <a:pt x="25155" y="2160"/>
                  </a:lnTo>
                  <a:lnTo>
                    <a:pt x="27452" y="1087"/>
                  </a:lnTo>
                  <a:lnTo>
                    <a:pt x="30504" y="0"/>
                  </a:lnTo>
                  <a:lnTo>
                    <a:pt x="32235" y="91"/>
                  </a:lnTo>
                  <a:lnTo>
                    <a:pt x="34362" y="498"/>
                  </a:lnTo>
                  <a:lnTo>
                    <a:pt x="37193" y="913"/>
                  </a:lnTo>
                  <a:lnTo>
                    <a:pt x="38791" y="1646"/>
                  </a:lnTo>
                  <a:lnTo>
                    <a:pt x="40687" y="3949"/>
                  </a:lnTo>
                  <a:lnTo>
                    <a:pt x="43620" y="6050"/>
                  </a:lnTo>
                  <a:lnTo>
                    <a:pt x="45779" y="7300"/>
                  </a:lnTo>
                  <a:lnTo>
                    <a:pt x="48260" y="8948"/>
                  </a:lnTo>
                  <a:lnTo>
                    <a:pt x="49007" y="9586"/>
                  </a:lnTo>
                  <a:lnTo>
                    <a:pt x="50100" y="9937"/>
                  </a:lnTo>
                  <a:lnTo>
                    <a:pt x="50765" y="10044"/>
                  </a:lnTo>
                  <a:lnTo>
                    <a:pt x="55373" y="9791"/>
                  </a:lnTo>
                  <a:lnTo>
                    <a:pt x="59549" y="9561"/>
                  </a:lnTo>
                  <a:lnTo>
                    <a:pt x="64043" y="9568"/>
                  </a:lnTo>
                  <a:lnTo>
                    <a:pt x="72504" y="9582"/>
                  </a:lnTo>
                  <a:lnTo>
                    <a:pt x="80964" y="9595"/>
                  </a:lnTo>
                  <a:lnTo>
                    <a:pt x="89425" y="9606"/>
                  </a:lnTo>
                  <a:lnTo>
                    <a:pt x="97885" y="9619"/>
                  </a:lnTo>
                  <a:lnTo>
                    <a:pt x="106345" y="9633"/>
                  </a:lnTo>
                  <a:lnTo>
                    <a:pt x="114806" y="9646"/>
                  </a:lnTo>
                  <a:lnTo>
                    <a:pt x="123266" y="9660"/>
                  </a:lnTo>
                  <a:lnTo>
                    <a:pt x="131725" y="9673"/>
                  </a:lnTo>
                  <a:lnTo>
                    <a:pt x="135186" y="9677"/>
                  </a:lnTo>
                  <a:lnTo>
                    <a:pt x="141232" y="9751"/>
                  </a:lnTo>
                  <a:lnTo>
                    <a:pt x="147592" y="9828"/>
                  </a:lnTo>
                  <a:lnTo>
                    <a:pt x="148296" y="9960"/>
                  </a:lnTo>
                  <a:lnTo>
                    <a:pt x="149006" y="10402"/>
                  </a:lnTo>
                  <a:lnTo>
                    <a:pt x="149587" y="10816"/>
                  </a:lnTo>
                  <a:lnTo>
                    <a:pt x="151833" y="13716"/>
                  </a:lnTo>
                  <a:lnTo>
                    <a:pt x="154705" y="16753"/>
                  </a:lnTo>
                  <a:lnTo>
                    <a:pt x="157091" y="18192"/>
                  </a:lnTo>
                  <a:lnTo>
                    <a:pt x="159950" y="19041"/>
                  </a:lnTo>
                  <a:lnTo>
                    <a:pt x="162630" y="19364"/>
                  </a:lnTo>
                  <a:lnTo>
                    <a:pt x="165128" y="19154"/>
                  </a:lnTo>
                  <a:lnTo>
                    <a:pt x="169279" y="19542"/>
                  </a:lnTo>
                  <a:lnTo>
                    <a:pt x="175076" y="20527"/>
                  </a:lnTo>
                  <a:lnTo>
                    <a:pt x="181101" y="20817"/>
                  </a:lnTo>
                  <a:lnTo>
                    <a:pt x="187348" y="20413"/>
                  </a:lnTo>
                  <a:lnTo>
                    <a:pt x="191741" y="20955"/>
                  </a:lnTo>
                  <a:lnTo>
                    <a:pt x="194276" y="22441"/>
                  </a:lnTo>
                  <a:lnTo>
                    <a:pt x="196874" y="23449"/>
                  </a:lnTo>
                  <a:lnTo>
                    <a:pt x="199536" y="23975"/>
                  </a:lnTo>
                  <a:lnTo>
                    <a:pt x="203136" y="23663"/>
                  </a:lnTo>
                  <a:lnTo>
                    <a:pt x="207673" y="22515"/>
                  </a:lnTo>
                  <a:lnTo>
                    <a:pt x="211529" y="22680"/>
                  </a:lnTo>
                  <a:lnTo>
                    <a:pt x="213317" y="23514"/>
                  </a:lnTo>
                  <a:lnTo>
                    <a:pt x="214382" y="23540"/>
                  </a:lnTo>
                  <a:lnTo>
                    <a:pt x="221050" y="22332"/>
                  </a:lnTo>
                  <a:lnTo>
                    <a:pt x="226409" y="21360"/>
                  </a:lnTo>
                  <a:lnTo>
                    <a:pt x="234445" y="19816"/>
                  </a:lnTo>
                  <a:lnTo>
                    <a:pt x="241074" y="18542"/>
                  </a:lnTo>
                  <a:lnTo>
                    <a:pt x="250897" y="16653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97" name="ee4p_NE_1_37365">
              <a:extLst>
                <a:ext uri="{FF2B5EF4-FFF2-40B4-BE49-F238E27FC236}">
                  <a16:creationId xmlns:a16="http://schemas.microsoft.com/office/drawing/2014/main" id="{A713CC38-2B85-E6EE-9966-53DC7F154118}"/>
                </a:ext>
              </a:extLst>
            </p:cNvPr>
            <p:cNvSpPr>
              <a:spLocks noChangeAspect="1"/>
            </p:cNvSpPr>
            <p:nvPr>
              <p:custDataLst>
                <p:tags r:id="rId351"/>
              </p:custDataLst>
            </p:nvPr>
          </p:nvSpPr>
          <p:spPr>
            <a:xfrm>
              <a:off x="6519252" y="3994440"/>
              <a:ext cx="438738" cy="348116"/>
            </a:xfrm>
            <a:custGeom>
              <a:avLst/>
              <a:gdLst/>
              <a:ahLst/>
              <a:cxnLst/>
              <a:rect l="0" t="0" r="0" b="0"/>
              <a:pathLst>
                <a:path w="349357" h="269849">
                  <a:moveTo>
                    <a:pt x="327594" y="12171"/>
                  </a:moveTo>
                  <a:lnTo>
                    <a:pt x="330025" y="25619"/>
                  </a:lnTo>
                  <a:lnTo>
                    <a:pt x="331867" y="37140"/>
                  </a:lnTo>
                  <a:lnTo>
                    <a:pt x="331990" y="44469"/>
                  </a:lnTo>
                  <a:lnTo>
                    <a:pt x="332079" y="46378"/>
                  </a:lnTo>
                  <a:lnTo>
                    <a:pt x="332830" y="47673"/>
                  </a:lnTo>
                  <a:lnTo>
                    <a:pt x="334551" y="48967"/>
                  </a:lnTo>
                  <a:lnTo>
                    <a:pt x="341487" y="59534"/>
                  </a:lnTo>
                  <a:lnTo>
                    <a:pt x="340006" y="61369"/>
                  </a:lnTo>
                  <a:lnTo>
                    <a:pt x="341040" y="64637"/>
                  </a:lnTo>
                  <a:lnTo>
                    <a:pt x="342839" y="66043"/>
                  </a:lnTo>
                  <a:lnTo>
                    <a:pt x="348606" y="72325"/>
                  </a:lnTo>
                  <a:lnTo>
                    <a:pt x="349356" y="73561"/>
                  </a:lnTo>
                  <a:lnTo>
                    <a:pt x="349038" y="74552"/>
                  </a:lnTo>
                  <a:lnTo>
                    <a:pt x="345000" y="81931"/>
                  </a:lnTo>
                  <a:lnTo>
                    <a:pt x="344312" y="83737"/>
                  </a:lnTo>
                  <a:lnTo>
                    <a:pt x="343506" y="93131"/>
                  </a:lnTo>
                  <a:lnTo>
                    <a:pt x="342938" y="99749"/>
                  </a:lnTo>
                  <a:lnTo>
                    <a:pt x="342156" y="108821"/>
                  </a:lnTo>
                  <a:lnTo>
                    <a:pt x="341226" y="119660"/>
                  </a:lnTo>
                  <a:lnTo>
                    <a:pt x="340474" y="128792"/>
                  </a:lnTo>
                  <a:lnTo>
                    <a:pt x="339483" y="140849"/>
                  </a:lnTo>
                  <a:lnTo>
                    <a:pt x="338546" y="152233"/>
                  </a:lnTo>
                  <a:lnTo>
                    <a:pt x="332748" y="158473"/>
                  </a:lnTo>
                  <a:lnTo>
                    <a:pt x="322456" y="169536"/>
                  </a:lnTo>
                  <a:lnTo>
                    <a:pt x="314082" y="178525"/>
                  </a:lnTo>
                  <a:lnTo>
                    <a:pt x="309887" y="184535"/>
                  </a:lnTo>
                  <a:lnTo>
                    <a:pt x="301681" y="196268"/>
                  </a:lnTo>
                  <a:lnTo>
                    <a:pt x="298038" y="203844"/>
                  </a:lnTo>
                  <a:lnTo>
                    <a:pt x="295192" y="207800"/>
                  </a:lnTo>
                  <a:lnTo>
                    <a:pt x="293745" y="209490"/>
                  </a:lnTo>
                  <a:lnTo>
                    <a:pt x="295017" y="215045"/>
                  </a:lnTo>
                  <a:lnTo>
                    <a:pt x="297241" y="224731"/>
                  </a:lnTo>
                  <a:lnTo>
                    <a:pt x="293274" y="224795"/>
                  </a:lnTo>
                  <a:lnTo>
                    <a:pt x="290994" y="225491"/>
                  </a:lnTo>
                  <a:lnTo>
                    <a:pt x="288120" y="227694"/>
                  </a:lnTo>
                  <a:lnTo>
                    <a:pt x="284904" y="228561"/>
                  </a:lnTo>
                  <a:lnTo>
                    <a:pt x="280996" y="230486"/>
                  </a:lnTo>
                  <a:lnTo>
                    <a:pt x="278526" y="232031"/>
                  </a:lnTo>
                  <a:lnTo>
                    <a:pt x="276200" y="233242"/>
                  </a:lnTo>
                  <a:lnTo>
                    <a:pt x="273002" y="236216"/>
                  </a:lnTo>
                  <a:lnTo>
                    <a:pt x="271963" y="238478"/>
                  </a:lnTo>
                  <a:lnTo>
                    <a:pt x="268776" y="238930"/>
                  </a:lnTo>
                  <a:lnTo>
                    <a:pt x="264330" y="238553"/>
                  </a:lnTo>
                  <a:lnTo>
                    <a:pt x="261501" y="236273"/>
                  </a:lnTo>
                  <a:lnTo>
                    <a:pt x="254941" y="233891"/>
                  </a:lnTo>
                  <a:lnTo>
                    <a:pt x="250689" y="232927"/>
                  </a:lnTo>
                  <a:lnTo>
                    <a:pt x="248717" y="232633"/>
                  </a:lnTo>
                  <a:lnTo>
                    <a:pt x="238700" y="232230"/>
                  </a:lnTo>
                  <a:lnTo>
                    <a:pt x="228020" y="233159"/>
                  </a:lnTo>
                  <a:lnTo>
                    <a:pt x="222574" y="234266"/>
                  </a:lnTo>
                  <a:lnTo>
                    <a:pt x="221581" y="234511"/>
                  </a:lnTo>
                  <a:lnTo>
                    <a:pt x="218495" y="235950"/>
                  </a:lnTo>
                  <a:lnTo>
                    <a:pt x="215934" y="237545"/>
                  </a:lnTo>
                  <a:lnTo>
                    <a:pt x="209004" y="244842"/>
                  </a:lnTo>
                  <a:lnTo>
                    <a:pt x="199842" y="244599"/>
                  </a:lnTo>
                  <a:lnTo>
                    <a:pt x="194448" y="243790"/>
                  </a:lnTo>
                  <a:lnTo>
                    <a:pt x="189870" y="242651"/>
                  </a:lnTo>
                  <a:lnTo>
                    <a:pt x="183357" y="239245"/>
                  </a:lnTo>
                  <a:lnTo>
                    <a:pt x="175374" y="234038"/>
                  </a:lnTo>
                  <a:lnTo>
                    <a:pt x="172295" y="233327"/>
                  </a:lnTo>
                  <a:lnTo>
                    <a:pt x="169524" y="232918"/>
                  </a:lnTo>
                  <a:lnTo>
                    <a:pt x="168600" y="232987"/>
                  </a:lnTo>
                  <a:lnTo>
                    <a:pt x="159073" y="238176"/>
                  </a:lnTo>
                  <a:lnTo>
                    <a:pt x="157235" y="238062"/>
                  </a:lnTo>
                  <a:lnTo>
                    <a:pt x="154987" y="238645"/>
                  </a:lnTo>
                  <a:lnTo>
                    <a:pt x="153506" y="239932"/>
                  </a:lnTo>
                  <a:lnTo>
                    <a:pt x="152415" y="240582"/>
                  </a:lnTo>
                  <a:lnTo>
                    <a:pt x="151273" y="240686"/>
                  </a:lnTo>
                  <a:lnTo>
                    <a:pt x="149772" y="240402"/>
                  </a:lnTo>
                  <a:lnTo>
                    <a:pt x="148299" y="239614"/>
                  </a:lnTo>
                  <a:lnTo>
                    <a:pt x="146833" y="238165"/>
                  </a:lnTo>
                  <a:lnTo>
                    <a:pt x="142903" y="232393"/>
                  </a:lnTo>
                  <a:lnTo>
                    <a:pt x="142094" y="231384"/>
                  </a:lnTo>
                  <a:lnTo>
                    <a:pt x="140416" y="229667"/>
                  </a:lnTo>
                  <a:lnTo>
                    <a:pt x="137591" y="227006"/>
                  </a:lnTo>
                  <a:lnTo>
                    <a:pt x="135678" y="225763"/>
                  </a:lnTo>
                  <a:lnTo>
                    <a:pt x="134514" y="225443"/>
                  </a:lnTo>
                  <a:lnTo>
                    <a:pt x="133123" y="225653"/>
                  </a:lnTo>
                  <a:lnTo>
                    <a:pt x="125471" y="223362"/>
                  </a:lnTo>
                  <a:lnTo>
                    <a:pt x="117816" y="220941"/>
                  </a:lnTo>
                  <a:lnTo>
                    <a:pt x="116131" y="221249"/>
                  </a:lnTo>
                  <a:lnTo>
                    <a:pt x="114933" y="221752"/>
                  </a:lnTo>
                  <a:lnTo>
                    <a:pt x="112285" y="223546"/>
                  </a:lnTo>
                  <a:lnTo>
                    <a:pt x="109167" y="223872"/>
                  </a:lnTo>
                  <a:lnTo>
                    <a:pt x="105205" y="223728"/>
                  </a:lnTo>
                  <a:lnTo>
                    <a:pt x="103030" y="223489"/>
                  </a:lnTo>
                  <a:lnTo>
                    <a:pt x="99526" y="224087"/>
                  </a:lnTo>
                  <a:lnTo>
                    <a:pt x="97196" y="224794"/>
                  </a:lnTo>
                  <a:lnTo>
                    <a:pt x="94142" y="226017"/>
                  </a:lnTo>
                  <a:lnTo>
                    <a:pt x="90180" y="229314"/>
                  </a:lnTo>
                  <a:lnTo>
                    <a:pt x="89044" y="229741"/>
                  </a:lnTo>
                  <a:lnTo>
                    <a:pt x="88087" y="230290"/>
                  </a:lnTo>
                  <a:lnTo>
                    <a:pt x="86757" y="239339"/>
                  </a:lnTo>
                  <a:lnTo>
                    <a:pt x="85682" y="242055"/>
                  </a:lnTo>
                  <a:lnTo>
                    <a:pt x="83671" y="245642"/>
                  </a:lnTo>
                  <a:lnTo>
                    <a:pt x="79722" y="249076"/>
                  </a:lnTo>
                  <a:lnTo>
                    <a:pt x="77012" y="251147"/>
                  </a:lnTo>
                  <a:lnTo>
                    <a:pt x="76949" y="253947"/>
                  </a:lnTo>
                  <a:lnTo>
                    <a:pt x="76735" y="258517"/>
                  </a:lnTo>
                  <a:lnTo>
                    <a:pt x="76699" y="261659"/>
                  </a:lnTo>
                  <a:lnTo>
                    <a:pt x="76878" y="263704"/>
                  </a:lnTo>
                  <a:lnTo>
                    <a:pt x="76424" y="264678"/>
                  </a:lnTo>
                  <a:lnTo>
                    <a:pt x="76241" y="265567"/>
                  </a:lnTo>
                  <a:lnTo>
                    <a:pt x="76388" y="266902"/>
                  </a:lnTo>
                  <a:lnTo>
                    <a:pt x="77027" y="267531"/>
                  </a:lnTo>
                  <a:lnTo>
                    <a:pt x="77411" y="268365"/>
                  </a:lnTo>
                  <a:lnTo>
                    <a:pt x="77154" y="269052"/>
                  </a:lnTo>
                  <a:lnTo>
                    <a:pt x="75878" y="269848"/>
                  </a:lnTo>
                  <a:lnTo>
                    <a:pt x="74470" y="267805"/>
                  </a:lnTo>
                  <a:lnTo>
                    <a:pt x="72658" y="266359"/>
                  </a:lnTo>
                  <a:lnTo>
                    <a:pt x="70672" y="265720"/>
                  </a:lnTo>
                  <a:lnTo>
                    <a:pt x="69326" y="264673"/>
                  </a:lnTo>
                  <a:lnTo>
                    <a:pt x="68625" y="263222"/>
                  </a:lnTo>
                  <a:lnTo>
                    <a:pt x="66020" y="260391"/>
                  </a:lnTo>
                  <a:lnTo>
                    <a:pt x="60017" y="254789"/>
                  </a:lnTo>
                  <a:lnTo>
                    <a:pt x="59400" y="254656"/>
                  </a:lnTo>
                  <a:lnTo>
                    <a:pt x="58407" y="254427"/>
                  </a:lnTo>
                  <a:lnTo>
                    <a:pt x="56709" y="255106"/>
                  </a:lnTo>
                  <a:lnTo>
                    <a:pt x="55666" y="256022"/>
                  </a:lnTo>
                  <a:lnTo>
                    <a:pt x="54939" y="256382"/>
                  </a:lnTo>
                  <a:lnTo>
                    <a:pt x="53833" y="256436"/>
                  </a:lnTo>
                  <a:lnTo>
                    <a:pt x="50978" y="257144"/>
                  </a:lnTo>
                  <a:lnTo>
                    <a:pt x="48694" y="258061"/>
                  </a:lnTo>
                  <a:lnTo>
                    <a:pt x="48633" y="258813"/>
                  </a:lnTo>
                  <a:lnTo>
                    <a:pt x="49726" y="263055"/>
                  </a:lnTo>
                  <a:lnTo>
                    <a:pt x="49206" y="265348"/>
                  </a:lnTo>
                  <a:lnTo>
                    <a:pt x="48193" y="264251"/>
                  </a:lnTo>
                  <a:lnTo>
                    <a:pt x="44900" y="259979"/>
                  </a:lnTo>
                  <a:lnTo>
                    <a:pt x="42621" y="256804"/>
                  </a:lnTo>
                  <a:lnTo>
                    <a:pt x="42213" y="256099"/>
                  </a:lnTo>
                  <a:lnTo>
                    <a:pt x="41892" y="255008"/>
                  </a:lnTo>
                  <a:lnTo>
                    <a:pt x="42116" y="254533"/>
                  </a:lnTo>
                  <a:lnTo>
                    <a:pt x="43019" y="254203"/>
                  </a:lnTo>
                  <a:lnTo>
                    <a:pt x="45107" y="253782"/>
                  </a:lnTo>
                  <a:lnTo>
                    <a:pt x="45496" y="253453"/>
                  </a:lnTo>
                  <a:lnTo>
                    <a:pt x="45603" y="252582"/>
                  </a:lnTo>
                  <a:lnTo>
                    <a:pt x="45277" y="250957"/>
                  </a:lnTo>
                  <a:lnTo>
                    <a:pt x="44133" y="248756"/>
                  </a:lnTo>
                  <a:lnTo>
                    <a:pt x="42913" y="247300"/>
                  </a:lnTo>
                  <a:lnTo>
                    <a:pt x="42233" y="247014"/>
                  </a:lnTo>
                  <a:lnTo>
                    <a:pt x="40985" y="246964"/>
                  </a:lnTo>
                  <a:lnTo>
                    <a:pt x="39631" y="247161"/>
                  </a:lnTo>
                  <a:lnTo>
                    <a:pt x="37083" y="248948"/>
                  </a:lnTo>
                  <a:lnTo>
                    <a:pt x="35953" y="249276"/>
                  </a:lnTo>
                  <a:lnTo>
                    <a:pt x="33327" y="249129"/>
                  </a:lnTo>
                  <a:lnTo>
                    <a:pt x="30980" y="248779"/>
                  </a:lnTo>
                  <a:lnTo>
                    <a:pt x="29555" y="247857"/>
                  </a:lnTo>
                  <a:lnTo>
                    <a:pt x="25314" y="244311"/>
                  </a:lnTo>
                  <a:lnTo>
                    <a:pt x="20628" y="240561"/>
                  </a:lnTo>
                  <a:lnTo>
                    <a:pt x="18663" y="240028"/>
                  </a:lnTo>
                  <a:lnTo>
                    <a:pt x="18207" y="239644"/>
                  </a:lnTo>
                  <a:lnTo>
                    <a:pt x="17892" y="236755"/>
                  </a:lnTo>
                  <a:lnTo>
                    <a:pt x="17974" y="233288"/>
                  </a:lnTo>
                  <a:lnTo>
                    <a:pt x="18233" y="232380"/>
                  </a:lnTo>
                  <a:lnTo>
                    <a:pt x="20188" y="232922"/>
                  </a:lnTo>
                  <a:lnTo>
                    <a:pt x="22267" y="233173"/>
                  </a:lnTo>
                  <a:lnTo>
                    <a:pt x="22937" y="232545"/>
                  </a:lnTo>
                  <a:lnTo>
                    <a:pt x="21274" y="231311"/>
                  </a:lnTo>
                  <a:lnTo>
                    <a:pt x="18883" y="230062"/>
                  </a:lnTo>
                  <a:lnTo>
                    <a:pt x="17996" y="228169"/>
                  </a:lnTo>
                  <a:lnTo>
                    <a:pt x="17307" y="227511"/>
                  </a:lnTo>
                  <a:lnTo>
                    <a:pt x="16232" y="226840"/>
                  </a:lnTo>
                  <a:lnTo>
                    <a:pt x="15001" y="226492"/>
                  </a:lnTo>
                  <a:lnTo>
                    <a:pt x="13757" y="225960"/>
                  </a:lnTo>
                  <a:lnTo>
                    <a:pt x="12910" y="225409"/>
                  </a:lnTo>
                  <a:lnTo>
                    <a:pt x="11513" y="225164"/>
                  </a:lnTo>
                  <a:lnTo>
                    <a:pt x="10045" y="224758"/>
                  </a:lnTo>
                  <a:lnTo>
                    <a:pt x="7927" y="221687"/>
                  </a:lnTo>
                  <a:lnTo>
                    <a:pt x="5866" y="218704"/>
                  </a:lnTo>
                  <a:lnTo>
                    <a:pt x="4647" y="216353"/>
                  </a:lnTo>
                  <a:lnTo>
                    <a:pt x="4223" y="214941"/>
                  </a:lnTo>
                  <a:lnTo>
                    <a:pt x="4834" y="212533"/>
                  </a:lnTo>
                  <a:lnTo>
                    <a:pt x="4217" y="211580"/>
                  </a:lnTo>
                  <a:lnTo>
                    <a:pt x="1917" y="209134"/>
                  </a:lnTo>
                  <a:lnTo>
                    <a:pt x="0" y="206859"/>
                  </a:lnTo>
                  <a:lnTo>
                    <a:pt x="468" y="203344"/>
                  </a:lnTo>
                  <a:lnTo>
                    <a:pt x="859" y="200410"/>
                  </a:lnTo>
                  <a:lnTo>
                    <a:pt x="882" y="198552"/>
                  </a:lnTo>
                  <a:lnTo>
                    <a:pt x="1185" y="197503"/>
                  </a:lnTo>
                  <a:lnTo>
                    <a:pt x="1433" y="196323"/>
                  </a:lnTo>
                  <a:lnTo>
                    <a:pt x="2705" y="195950"/>
                  </a:lnTo>
                  <a:lnTo>
                    <a:pt x="5951" y="195976"/>
                  </a:lnTo>
                  <a:lnTo>
                    <a:pt x="12267" y="196522"/>
                  </a:lnTo>
                  <a:lnTo>
                    <a:pt x="17326" y="195906"/>
                  </a:lnTo>
                  <a:lnTo>
                    <a:pt x="17605" y="195798"/>
                  </a:lnTo>
                  <a:lnTo>
                    <a:pt x="21170" y="192650"/>
                  </a:lnTo>
                  <a:lnTo>
                    <a:pt x="25126" y="189344"/>
                  </a:lnTo>
                  <a:lnTo>
                    <a:pt x="31073" y="189023"/>
                  </a:lnTo>
                  <a:lnTo>
                    <a:pt x="37491" y="188678"/>
                  </a:lnTo>
                  <a:lnTo>
                    <a:pt x="42550" y="188505"/>
                  </a:lnTo>
                  <a:lnTo>
                    <a:pt x="49905" y="188255"/>
                  </a:lnTo>
                  <a:lnTo>
                    <a:pt x="55850" y="188041"/>
                  </a:lnTo>
                  <a:lnTo>
                    <a:pt x="62736" y="187790"/>
                  </a:lnTo>
                  <a:lnTo>
                    <a:pt x="62945" y="186266"/>
                  </a:lnTo>
                  <a:lnTo>
                    <a:pt x="63362" y="185891"/>
                  </a:lnTo>
                  <a:lnTo>
                    <a:pt x="64043" y="185838"/>
                  </a:lnTo>
                  <a:lnTo>
                    <a:pt x="69104" y="186655"/>
                  </a:lnTo>
                  <a:lnTo>
                    <a:pt x="73863" y="187442"/>
                  </a:lnTo>
                  <a:lnTo>
                    <a:pt x="74222" y="184573"/>
                  </a:lnTo>
                  <a:lnTo>
                    <a:pt x="78403" y="180982"/>
                  </a:lnTo>
                  <a:lnTo>
                    <a:pt x="80767" y="180249"/>
                  </a:lnTo>
                  <a:lnTo>
                    <a:pt x="81352" y="179622"/>
                  </a:lnTo>
                  <a:lnTo>
                    <a:pt x="82104" y="178408"/>
                  </a:lnTo>
                  <a:lnTo>
                    <a:pt x="82568" y="176534"/>
                  </a:lnTo>
                  <a:lnTo>
                    <a:pt x="82773" y="175201"/>
                  </a:lnTo>
                  <a:lnTo>
                    <a:pt x="83654" y="174094"/>
                  </a:lnTo>
                  <a:lnTo>
                    <a:pt x="84298" y="172055"/>
                  </a:lnTo>
                  <a:lnTo>
                    <a:pt x="85153" y="168490"/>
                  </a:lnTo>
                  <a:lnTo>
                    <a:pt x="87506" y="164745"/>
                  </a:lnTo>
                  <a:lnTo>
                    <a:pt x="88852" y="159657"/>
                  </a:lnTo>
                  <a:lnTo>
                    <a:pt x="89053" y="154739"/>
                  </a:lnTo>
                  <a:lnTo>
                    <a:pt x="89312" y="150997"/>
                  </a:lnTo>
                  <a:lnTo>
                    <a:pt x="90013" y="150231"/>
                  </a:lnTo>
                  <a:lnTo>
                    <a:pt x="89992" y="143584"/>
                  </a:lnTo>
                  <a:lnTo>
                    <a:pt x="89970" y="136891"/>
                  </a:lnTo>
                  <a:lnTo>
                    <a:pt x="89953" y="131228"/>
                  </a:lnTo>
                  <a:lnTo>
                    <a:pt x="89929" y="124175"/>
                  </a:lnTo>
                  <a:lnTo>
                    <a:pt x="89910" y="117979"/>
                  </a:lnTo>
                  <a:lnTo>
                    <a:pt x="89888" y="111259"/>
                  </a:lnTo>
                  <a:lnTo>
                    <a:pt x="89871" y="105220"/>
                  </a:lnTo>
                  <a:lnTo>
                    <a:pt x="89858" y="101216"/>
                  </a:lnTo>
                  <a:lnTo>
                    <a:pt x="94680" y="100259"/>
                  </a:lnTo>
                  <a:lnTo>
                    <a:pt x="99668" y="99267"/>
                  </a:lnTo>
                  <a:lnTo>
                    <a:pt x="106967" y="97815"/>
                  </a:lnTo>
                  <a:lnTo>
                    <a:pt x="114868" y="96245"/>
                  </a:lnTo>
                  <a:lnTo>
                    <a:pt x="123484" y="94531"/>
                  </a:lnTo>
                  <a:lnTo>
                    <a:pt x="125436" y="93499"/>
                  </a:lnTo>
                  <a:lnTo>
                    <a:pt x="131938" y="87692"/>
                  </a:lnTo>
                  <a:lnTo>
                    <a:pt x="134872" y="85069"/>
                  </a:lnTo>
                  <a:lnTo>
                    <a:pt x="140703" y="79852"/>
                  </a:lnTo>
                  <a:lnTo>
                    <a:pt x="145205" y="75822"/>
                  </a:lnTo>
                  <a:lnTo>
                    <a:pt x="150925" y="70697"/>
                  </a:lnTo>
                  <a:lnTo>
                    <a:pt x="156985" y="65533"/>
                  </a:lnTo>
                  <a:lnTo>
                    <a:pt x="161813" y="61411"/>
                  </a:lnTo>
                  <a:lnTo>
                    <a:pt x="169407" y="56734"/>
                  </a:lnTo>
                  <a:lnTo>
                    <a:pt x="180859" y="49676"/>
                  </a:lnTo>
                  <a:lnTo>
                    <a:pt x="192310" y="42609"/>
                  </a:lnTo>
                  <a:lnTo>
                    <a:pt x="203759" y="35532"/>
                  </a:lnTo>
                  <a:lnTo>
                    <a:pt x="215208" y="28445"/>
                  </a:lnTo>
                  <a:lnTo>
                    <a:pt x="226659" y="21349"/>
                  </a:lnTo>
                  <a:lnTo>
                    <a:pt x="238111" y="14243"/>
                  </a:lnTo>
                  <a:lnTo>
                    <a:pt x="249560" y="7126"/>
                  </a:lnTo>
                  <a:lnTo>
                    <a:pt x="261011" y="0"/>
                  </a:lnTo>
                  <a:lnTo>
                    <a:pt x="272529" y="2714"/>
                  </a:lnTo>
                  <a:lnTo>
                    <a:pt x="283471" y="5291"/>
                  </a:lnTo>
                  <a:lnTo>
                    <a:pt x="294475" y="7882"/>
                  </a:lnTo>
                  <a:lnTo>
                    <a:pt x="297071" y="9296"/>
                  </a:lnTo>
                  <a:lnTo>
                    <a:pt x="302909" y="14363"/>
                  </a:lnTo>
                  <a:lnTo>
                    <a:pt x="310383" y="20843"/>
                  </a:lnTo>
                  <a:lnTo>
                    <a:pt x="310711" y="20938"/>
                  </a:lnTo>
                  <a:lnTo>
                    <a:pt x="311048" y="20966"/>
                  </a:lnTo>
                  <a:lnTo>
                    <a:pt x="318233" y="17148"/>
                  </a:lnTo>
                  <a:lnTo>
                    <a:pt x="327591" y="12169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98" name="ee4p_NG_1_37365">
              <a:extLst>
                <a:ext uri="{FF2B5EF4-FFF2-40B4-BE49-F238E27FC236}">
                  <a16:creationId xmlns:a16="http://schemas.microsoft.com/office/drawing/2014/main" id="{2E23585E-F27C-8410-FAF4-2F3681B71C41}"/>
                </a:ext>
              </a:extLst>
            </p:cNvPr>
            <p:cNvSpPr>
              <a:spLocks noChangeAspect="1"/>
            </p:cNvSpPr>
            <p:nvPr>
              <p:custDataLst>
                <p:tags r:id="rId352"/>
              </p:custDataLst>
            </p:nvPr>
          </p:nvSpPr>
          <p:spPr>
            <a:xfrm>
              <a:off x="6589290" y="4279462"/>
              <a:ext cx="331597" cy="276140"/>
            </a:xfrm>
            <a:custGeom>
              <a:avLst/>
              <a:gdLst>
                <a:gd name="connsiteX0" fmla="*/ 268974 w 707252"/>
                <a:gd name="connsiteY0" fmla="*/ 558525 h 573359"/>
                <a:gd name="connsiteX1" fmla="*/ 271583 w 707252"/>
                <a:gd name="connsiteY1" fmla="*/ 560213 h 573359"/>
                <a:gd name="connsiteX2" fmla="*/ 274931 w 707252"/>
                <a:gd name="connsiteY2" fmla="*/ 560909 h 573359"/>
                <a:gd name="connsiteX3" fmla="*/ 273324 w 707252"/>
                <a:gd name="connsiteY3" fmla="*/ 565005 h 573359"/>
                <a:gd name="connsiteX4" fmla="*/ 267587 w 707252"/>
                <a:gd name="connsiteY4" fmla="*/ 566815 h 573359"/>
                <a:gd name="connsiteX5" fmla="*/ 263826 w 707252"/>
                <a:gd name="connsiteY5" fmla="*/ 566373 h 573359"/>
                <a:gd name="connsiteX6" fmla="*/ 166193 w 707252"/>
                <a:gd name="connsiteY6" fmla="*/ 0 h 573359"/>
                <a:gd name="connsiteX7" fmla="*/ 186697 w 707252"/>
                <a:gd name="connsiteY7" fmla="*/ 6485 h 573359"/>
                <a:gd name="connsiteX8" fmla="*/ 207194 w 707252"/>
                <a:gd name="connsiteY8" fmla="*/ 12621 h 573359"/>
                <a:gd name="connsiteX9" fmla="*/ 210920 w 707252"/>
                <a:gd name="connsiteY9" fmla="*/ 12059 h 573359"/>
                <a:gd name="connsiteX10" fmla="*/ 214037 w 707252"/>
                <a:gd name="connsiteY10" fmla="*/ 12916 h 573359"/>
                <a:gd name="connsiteX11" fmla="*/ 219161 w 707252"/>
                <a:gd name="connsiteY11" fmla="*/ 16246 h 573359"/>
                <a:gd name="connsiteX12" fmla="*/ 226728 w 707252"/>
                <a:gd name="connsiteY12" fmla="*/ 23373 h 573359"/>
                <a:gd name="connsiteX13" fmla="*/ 231223 w 707252"/>
                <a:gd name="connsiteY13" fmla="*/ 27972 h 573359"/>
                <a:gd name="connsiteX14" fmla="*/ 233390 w 707252"/>
                <a:gd name="connsiteY14" fmla="*/ 30675 h 573359"/>
                <a:gd name="connsiteX15" fmla="*/ 243917 w 707252"/>
                <a:gd name="connsiteY15" fmla="*/ 46135 h 573359"/>
                <a:gd name="connsiteX16" fmla="*/ 247843 w 707252"/>
                <a:gd name="connsiteY16" fmla="*/ 50017 h 573359"/>
                <a:gd name="connsiteX17" fmla="*/ 251789 w 707252"/>
                <a:gd name="connsiteY17" fmla="*/ 52127 h 573359"/>
                <a:gd name="connsiteX18" fmla="*/ 255809 w 707252"/>
                <a:gd name="connsiteY18" fmla="*/ 52888 h 573359"/>
                <a:gd name="connsiteX19" fmla="*/ 258868 w 707252"/>
                <a:gd name="connsiteY19" fmla="*/ 52609 h 573359"/>
                <a:gd name="connsiteX20" fmla="*/ 261791 w 707252"/>
                <a:gd name="connsiteY20" fmla="*/ 50868 h 573359"/>
                <a:gd name="connsiteX21" fmla="*/ 265757 w 707252"/>
                <a:gd name="connsiteY21" fmla="*/ 47421 h 573359"/>
                <a:gd name="connsiteX22" fmla="*/ 271779 w 707252"/>
                <a:gd name="connsiteY22" fmla="*/ 45860 h 573359"/>
                <a:gd name="connsiteX23" fmla="*/ 276702 w 707252"/>
                <a:gd name="connsiteY23" fmla="*/ 46165 h 573359"/>
                <a:gd name="connsiteX24" fmla="*/ 302220 w 707252"/>
                <a:gd name="connsiteY24" fmla="*/ 32266 h 573359"/>
                <a:gd name="connsiteX25" fmla="*/ 304695 w 707252"/>
                <a:gd name="connsiteY25" fmla="*/ 32081 h 573359"/>
                <a:gd name="connsiteX26" fmla="*/ 312118 w 707252"/>
                <a:gd name="connsiteY26" fmla="*/ 33177 h 573359"/>
                <a:gd name="connsiteX27" fmla="*/ 320365 w 707252"/>
                <a:gd name="connsiteY27" fmla="*/ 35081 h 573359"/>
                <a:gd name="connsiteX28" fmla="*/ 341748 w 707252"/>
                <a:gd name="connsiteY28" fmla="*/ 49028 h 573359"/>
                <a:gd name="connsiteX29" fmla="*/ 359193 w 707252"/>
                <a:gd name="connsiteY29" fmla="*/ 58151 h 573359"/>
                <a:gd name="connsiteX30" fmla="*/ 371456 w 707252"/>
                <a:gd name="connsiteY30" fmla="*/ 61202 h 573359"/>
                <a:gd name="connsiteX31" fmla="*/ 385904 w 707252"/>
                <a:gd name="connsiteY31" fmla="*/ 63369 h 573359"/>
                <a:gd name="connsiteX32" fmla="*/ 410444 w 707252"/>
                <a:gd name="connsiteY32" fmla="*/ 64020 h 573359"/>
                <a:gd name="connsiteX33" fmla="*/ 429007 w 707252"/>
                <a:gd name="connsiteY33" fmla="*/ 44475 h 573359"/>
                <a:gd name="connsiteX34" fmla="*/ 435867 w 707252"/>
                <a:gd name="connsiteY34" fmla="*/ 40202 h 573359"/>
                <a:gd name="connsiteX35" fmla="*/ 444133 w 707252"/>
                <a:gd name="connsiteY35" fmla="*/ 36348 h 573359"/>
                <a:gd name="connsiteX36" fmla="*/ 446792 w 707252"/>
                <a:gd name="connsiteY36" fmla="*/ 35692 h 573359"/>
                <a:gd name="connsiteX37" fmla="*/ 461380 w 707252"/>
                <a:gd name="connsiteY37" fmla="*/ 32727 h 573359"/>
                <a:gd name="connsiteX38" fmla="*/ 489987 w 707252"/>
                <a:gd name="connsiteY38" fmla="*/ 30238 h 573359"/>
                <a:gd name="connsiteX39" fmla="*/ 516818 w 707252"/>
                <a:gd name="connsiteY39" fmla="*/ 31318 h 573359"/>
                <a:gd name="connsiteX40" fmla="*/ 522100 w 707252"/>
                <a:gd name="connsiteY40" fmla="*/ 32105 h 573359"/>
                <a:gd name="connsiteX41" fmla="*/ 533489 w 707252"/>
                <a:gd name="connsiteY41" fmla="*/ 34687 h 573359"/>
                <a:gd name="connsiteX42" fmla="*/ 551060 w 707252"/>
                <a:gd name="connsiteY42" fmla="*/ 41068 h 573359"/>
                <a:gd name="connsiteX43" fmla="*/ 558638 w 707252"/>
                <a:gd name="connsiteY43" fmla="*/ 47175 h 573359"/>
                <a:gd name="connsiteX44" fmla="*/ 570547 w 707252"/>
                <a:gd name="connsiteY44" fmla="*/ 48185 h 573359"/>
                <a:gd name="connsiteX45" fmla="*/ 579083 w 707252"/>
                <a:gd name="connsiteY45" fmla="*/ 46974 h 573359"/>
                <a:gd name="connsiteX46" fmla="*/ 581866 w 707252"/>
                <a:gd name="connsiteY46" fmla="*/ 40915 h 573359"/>
                <a:gd name="connsiteX47" fmla="*/ 590432 w 707252"/>
                <a:gd name="connsiteY47" fmla="*/ 32949 h 573359"/>
                <a:gd name="connsiteX48" fmla="*/ 596662 w 707252"/>
                <a:gd name="connsiteY48" fmla="*/ 29705 h 573359"/>
                <a:gd name="connsiteX49" fmla="*/ 603278 w 707252"/>
                <a:gd name="connsiteY49" fmla="*/ 25567 h 573359"/>
                <a:gd name="connsiteX50" fmla="*/ 613746 w 707252"/>
                <a:gd name="connsiteY50" fmla="*/ 20411 h 573359"/>
                <a:gd name="connsiteX51" fmla="*/ 622360 w 707252"/>
                <a:gd name="connsiteY51" fmla="*/ 18088 h 573359"/>
                <a:gd name="connsiteX52" fmla="*/ 630059 w 707252"/>
                <a:gd name="connsiteY52" fmla="*/ 12188 h 573359"/>
                <a:gd name="connsiteX53" fmla="*/ 636166 w 707252"/>
                <a:gd name="connsiteY53" fmla="*/ 10323 h 573359"/>
                <a:gd name="connsiteX54" fmla="*/ 646791 w 707252"/>
                <a:gd name="connsiteY54" fmla="*/ 10152 h 573359"/>
                <a:gd name="connsiteX55" fmla="*/ 656097 w 707252"/>
                <a:gd name="connsiteY55" fmla="*/ 23124 h 573359"/>
                <a:gd name="connsiteX56" fmla="*/ 666098 w 707252"/>
                <a:gd name="connsiteY56" fmla="*/ 37050 h 573359"/>
                <a:gd name="connsiteX57" fmla="*/ 673896 w 707252"/>
                <a:gd name="connsiteY57" fmla="*/ 47893 h 573359"/>
                <a:gd name="connsiteX58" fmla="*/ 679588 w 707252"/>
                <a:gd name="connsiteY58" fmla="*/ 75926 h 573359"/>
                <a:gd name="connsiteX59" fmla="*/ 680193 w 707252"/>
                <a:gd name="connsiteY59" fmla="*/ 81262 h 573359"/>
                <a:gd name="connsiteX60" fmla="*/ 680627 w 707252"/>
                <a:gd name="connsiteY60" fmla="*/ 83667 h 573359"/>
                <a:gd name="connsiteX61" fmla="*/ 681055 w 707252"/>
                <a:gd name="connsiteY61" fmla="*/ 85885 h 573359"/>
                <a:gd name="connsiteX62" fmla="*/ 681803 w 707252"/>
                <a:gd name="connsiteY62" fmla="*/ 89699 h 573359"/>
                <a:gd name="connsiteX63" fmla="*/ 686268 w 707252"/>
                <a:gd name="connsiteY63" fmla="*/ 91339 h 573359"/>
                <a:gd name="connsiteX64" fmla="*/ 694713 w 707252"/>
                <a:gd name="connsiteY64" fmla="*/ 92083 h 573359"/>
                <a:gd name="connsiteX65" fmla="*/ 700844 w 707252"/>
                <a:gd name="connsiteY65" fmla="*/ 94842 h 573359"/>
                <a:gd name="connsiteX66" fmla="*/ 704517 w 707252"/>
                <a:gd name="connsiteY66" fmla="*/ 99420 h 573359"/>
                <a:gd name="connsiteX67" fmla="*/ 704873 w 707252"/>
                <a:gd name="connsiteY67" fmla="*/ 100181 h 573359"/>
                <a:gd name="connsiteX68" fmla="*/ 706812 w 707252"/>
                <a:gd name="connsiteY68" fmla="*/ 103692 h 573359"/>
                <a:gd name="connsiteX69" fmla="*/ 707252 w 707252"/>
                <a:gd name="connsiteY69" fmla="*/ 106234 h 573359"/>
                <a:gd name="connsiteX70" fmla="*/ 706721 w 707252"/>
                <a:gd name="connsiteY70" fmla="*/ 113568 h 573359"/>
                <a:gd name="connsiteX71" fmla="*/ 705489 w 707252"/>
                <a:gd name="connsiteY71" fmla="*/ 122983 h 573359"/>
                <a:gd name="connsiteX72" fmla="*/ 703384 w 707252"/>
                <a:gd name="connsiteY72" fmla="*/ 129055 h 573359"/>
                <a:gd name="connsiteX73" fmla="*/ 704557 w 707252"/>
                <a:gd name="connsiteY73" fmla="*/ 137311 h 573359"/>
                <a:gd name="connsiteX74" fmla="*/ 704187 w 707252"/>
                <a:gd name="connsiteY74" fmla="*/ 140836 h 573359"/>
                <a:gd name="connsiteX75" fmla="*/ 703261 w 707252"/>
                <a:gd name="connsiteY75" fmla="*/ 143244 h 573359"/>
                <a:gd name="connsiteX76" fmla="*/ 699489 w 707252"/>
                <a:gd name="connsiteY76" fmla="*/ 146013 h 573359"/>
                <a:gd name="connsiteX77" fmla="*/ 694360 w 707252"/>
                <a:gd name="connsiteY77" fmla="*/ 148710 h 573359"/>
                <a:gd name="connsiteX78" fmla="*/ 682092 w 707252"/>
                <a:gd name="connsiteY78" fmla="*/ 156687 h 573359"/>
                <a:gd name="connsiteX79" fmla="*/ 678591 w 707252"/>
                <a:gd name="connsiteY79" fmla="*/ 157863 h 573359"/>
                <a:gd name="connsiteX80" fmla="*/ 673467 w 707252"/>
                <a:gd name="connsiteY80" fmla="*/ 158075 h 573359"/>
                <a:gd name="connsiteX81" fmla="*/ 669007 w 707252"/>
                <a:gd name="connsiteY81" fmla="*/ 160062 h 573359"/>
                <a:gd name="connsiteX82" fmla="*/ 663714 w 707252"/>
                <a:gd name="connsiteY82" fmla="*/ 164367 h 573359"/>
                <a:gd name="connsiteX83" fmla="*/ 652333 w 707252"/>
                <a:gd name="connsiteY83" fmla="*/ 180366 h 573359"/>
                <a:gd name="connsiteX84" fmla="*/ 642586 w 707252"/>
                <a:gd name="connsiteY84" fmla="*/ 196423 h 573359"/>
                <a:gd name="connsiteX85" fmla="*/ 639222 w 707252"/>
                <a:gd name="connsiteY85" fmla="*/ 209704 h 573359"/>
                <a:gd name="connsiteX86" fmla="*/ 635432 w 707252"/>
                <a:gd name="connsiteY86" fmla="*/ 222381 h 573359"/>
                <a:gd name="connsiteX87" fmla="*/ 626866 w 707252"/>
                <a:gd name="connsiteY87" fmla="*/ 230470 h 573359"/>
                <a:gd name="connsiteX88" fmla="*/ 625674 w 707252"/>
                <a:gd name="connsiteY88" fmla="*/ 235024 h 573359"/>
                <a:gd name="connsiteX89" fmla="*/ 625315 w 707252"/>
                <a:gd name="connsiteY89" fmla="*/ 237662 h 573359"/>
                <a:gd name="connsiteX90" fmla="*/ 625020 w 707252"/>
                <a:gd name="connsiteY90" fmla="*/ 243759 h 573359"/>
                <a:gd name="connsiteX91" fmla="*/ 623981 w 707252"/>
                <a:gd name="connsiteY91" fmla="*/ 253852 h 573359"/>
                <a:gd name="connsiteX92" fmla="*/ 622650 w 707252"/>
                <a:gd name="connsiteY92" fmla="*/ 258716 h 573359"/>
                <a:gd name="connsiteX93" fmla="*/ 621273 w 707252"/>
                <a:gd name="connsiteY93" fmla="*/ 260157 h 573359"/>
                <a:gd name="connsiteX94" fmla="*/ 612029 w 707252"/>
                <a:gd name="connsiteY94" fmla="*/ 263224 h 573359"/>
                <a:gd name="connsiteX95" fmla="*/ 606702 w 707252"/>
                <a:gd name="connsiteY95" fmla="*/ 266931 h 573359"/>
                <a:gd name="connsiteX96" fmla="*/ 603514 w 707252"/>
                <a:gd name="connsiteY96" fmla="*/ 274265 h 573359"/>
                <a:gd name="connsiteX97" fmla="*/ 602346 w 707252"/>
                <a:gd name="connsiteY97" fmla="*/ 282193 h 573359"/>
                <a:gd name="connsiteX98" fmla="*/ 600479 w 707252"/>
                <a:gd name="connsiteY98" fmla="*/ 291228 h 573359"/>
                <a:gd name="connsiteX99" fmla="*/ 599421 w 707252"/>
                <a:gd name="connsiteY99" fmla="*/ 299156 h 573359"/>
                <a:gd name="connsiteX100" fmla="*/ 597980 w 707252"/>
                <a:gd name="connsiteY100" fmla="*/ 303260 h 573359"/>
                <a:gd name="connsiteX101" fmla="*/ 594953 w 707252"/>
                <a:gd name="connsiteY101" fmla="*/ 307570 h 573359"/>
                <a:gd name="connsiteX102" fmla="*/ 590242 w 707252"/>
                <a:gd name="connsiteY102" fmla="*/ 312217 h 573359"/>
                <a:gd name="connsiteX103" fmla="*/ 586163 w 707252"/>
                <a:gd name="connsiteY103" fmla="*/ 314821 h 573359"/>
                <a:gd name="connsiteX104" fmla="*/ 575550 w 707252"/>
                <a:gd name="connsiteY104" fmla="*/ 316524 h 573359"/>
                <a:gd name="connsiteX105" fmla="*/ 570089 w 707252"/>
                <a:gd name="connsiteY105" fmla="*/ 327013 h 573359"/>
                <a:gd name="connsiteX106" fmla="*/ 565473 w 707252"/>
                <a:gd name="connsiteY106" fmla="*/ 335207 h 573359"/>
                <a:gd name="connsiteX107" fmla="*/ 565342 w 707252"/>
                <a:gd name="connsiteY107" fmla="*/ 338483 h 573359"/>
                <a:gd name="connsiteX108" fmla="*/ 560888 w 707252"/>
                <a:gd name="connsiteY108" fmla="*/ 355465 h 573359"/>
                <a:gd name="connsiteX109" fmla="*/ 553144 w 707252"/>
                <a:gd name="connsiteY109" fmla="*/ 368258 h 573359"/>
                <a:gd name="connsiteX110" fmla="*/ 552632 w 707252"/>
                <a:gd name="connsiteY110" fmla="*/ 372774 h 573359"/>
                <a:gd name="connsiteX111" fmla="*/ 552598 w 707252"/>
                <a:gd name="connsiteY111" fmla="*/ 376481 h 573359"/>
                <a:gd name="connsiteX112" fmla="*/ 542912 w 707252"/>
                <a:gd name="connsiteY112" fmla="*/ 387736 h 573359"/>
                <a:gd name="connsiteX113" fmla="*/ 540349 w 707252"/>
                <a:gd name="connsiteY113" fmla="*/ 391052 h 573359"/>
                <a:gd name="connsiteX114" fmla="*/ 537874 w 707252"/>
                <a:gd name="connsiteY114" fmla="*/ 395386 h 573359"/>
                <a:gd name="connsiteX115" fmla="*/ 540314 w 707252"/>
                <a:gd name="connsiteY115" fmla="*/ 399573 h 573359"/>
                <a:gd name="connsiteX116" fmla="*/ 543049 w 707252"/>
                <a:gd name="connsiteY116" fmla="*/ 403379 h 573359"/>
                <a:gd name="connsiteX117" fmla="*/ 543442 w 707252"/>
                <a:gd name="connsiteY117" fmla="*/ 404664 h 573359"/>
                <a:gd name="connsiteX118" fmla="*/ 539036 w 707252"/>
                <a:gd name="connsiteY118" fmla="*/ 408248 h 573359"/>
                <a:gd name="connsiteX119" fmla="*/ 531365 w 707252"/>
                <a:gd name="connsiteY119" fmla="*/ 414476 h 573359"/>
                <a:gd name="connsiteX120" fmla="*/ 526779 w 707252"/>
                <a:gd name="connsiteY120" fmla="*/ 418205 h 573359"/>
                <a:gd name="connsiteX121" fmla="*/ 525767 w 707252"/>
                <a:gd name="connsiteY121" fmla="*/ 420243 h 573359"/>
                <a:gd name="connsiteX122" fmla="*/ 525094 w 707252"/>
                <a:gd name="connsiteY122" fmla="*/ 429604 h 573359"/>
                <a:gd name="connsiteX123" fmla="*/ 523760 w 707252"/>
                <a:gd name="connsiteY123" fmla="*/ 432117 h 573359"/>
                <a:gd name="connsiteX124" fmla="*/ 520704 w 707252"/>
                <a:gd name="connsiteY124" fmla="*/ 435545 h 573359"/>
                <a:gd name="connsiteX125" fmla="*/ 516218 w 707252"/>
                <a:gd name="connsiteY125" fmla="*/ 439320 h 573359"/>
                <a:gd name="connsiteX126" fmla="*/ 511648 w 707252"/>
                <a:gd name="connsiteY126" fmla="*/ 442250 h 573359"/>
                <a:gd name="connsiteX127" fmla="*/ 506476 w 707252"/>
                <a:gd name="connsiteY127" fmla="*/ 444280 h 573359"/>
                <a:gd name="connsiteX128" fmla="*/ 501504 w 707252"/>
                <a:gd name="connsiteY128" fmla="*/ 445030 h 573359"/>
                <a:gd name="connsiteX129" fmla="*/ 498727 w 707252"/>
                <a:gd name="connsiteY129" fmla="*/ 443854 h 573359"/>
                <a:gd name="connsiteX130" fmla="*/ 497141 w 707252"/>
                <a:gd name="connsiteY130" fmla="*/ 441010 h 573359"/>
                <a:gd name="connsiteX131" fmla="*/ 494347 w 707252"/>
                <a:gd name="connsiteY131" fmla="*/ 429567 h 573359"/>
                <a:gd name="connsiteX132" fmla="*/ 492936 w 707252"/>
                <a:gd name="connsiteY132" fmla="*/ 427116 h 573359"/>
                <a:gd name="connsiteX133" fmla="*/ 489708 w 707252"/>
                <a:gd name="connsiteY133" fmla="*/ 424888 h 573359"/>
                <a:gd name="connsiteX134" fmla="*/ 483330 w 707252"/>
                <a:gd name="connsiteY134" fmla="*/ 418628 h 573359"/>
                <a:gd name="connsiteX135" fmla="*/ 476881 w 707252"/>
                <a:gd name="connsiteY135" fmla="*/ 412290 h 573359"/>
                <a:gd name="connsiteX136" fmla="*/ 469102 w 707252"/>
                <a:gd name="connsiteY136" fmla="*/ 407839 h 573359"/>
                <a:gd name="connsiteX137" fmla="*/ 467436 w 707252"/>
                <a:gd name="connsiteY137" fmla="*/ 408157 h 573359"/>
                <a:gd name="connsiteX138" fmla="*/ 466145 w 707252"/>
                <a:gd name="connsiteY138" fmla="*/ 409363 h 573359"/>
                <a:gd name="connsiteX139" fmla="*/ 463935 w 707252"/>
                <a:gd name="connsiteY139" fmla="*/ 415730 h 573359"/>
                <a:gd name="connsiteX140" fmla="*/ 461760 w 707252"/>
                <a:gd name="connsiteY140" fmla="*/ 418063 h 573359"/>
                <a:gd name="connsiteX141" fmla="*/ 457665 w 707252"/>
                <a:gd name="connsiteY141" fmla="*/ 418869 h 573359"/>
                <a:gd name="connsiteX142" fmla="*/ 450550 w 707252"/>
                <a:gd name="connsiteY142" fmla="*/ 418925 h 573359"/>
                <a:gd name="connsiteX143" fmla="*/ 445362 w 707252"/>
                <a:gd name="connsiteY143" fmla="*/ 418044 h 573359"/>
                <a:gd name="connsiteX144" fmla="*/ 444184 w 707252"/>
                <a:gd name="connsiteY144" fmla="*/ 416782 h 573359"/>
                <a:gd name="connsiteX145" fmla="*/ 443131 w 707252"/>
                <a:gd name="connsiteY145" fmla="*/ 414021 h 573359"/>
                <a:gd name="connsiteX146" fmla="*/ 441695 w 707252"/>
                <a:gd name="connsiteY146" fmla="*/ 411806 h 573359"/>
                <a:gd name="connsiteX147" fmla="*/ 435494 w 707252"/>
                <a:gd name="connsiteY147" fmla="*/ 416271 h 573359"/>
                <a:gd name="connsiteX148" fmla="*/ 425744 w 707252"/>
                <a:gd name="connsiteY148" fmla="*/ 423299 h 573359"/>
                <a:gd name="connsiteX149" fmla="*/ 422573 w 707252"/>
                <a:gd name="connsiteY149" fmla="*/ 424448 h 573359"/>
                <a:gd name="connsiteX150" fmla="*/ 420157 w 707252"/>
                <a:gd name="connsiteY150" fmla="*/ 425863 h 573359"/>
                <a:gd name="connsiteX151" fmla="*/ 416940 w 707252"/>
                <a:gd name="connsiteY151" fmla="*/ 432417 h 573359"/>
                <a:gd name="connsiteX152" fmla="*/ 413053 w 707252"/>
                <a:gd name="connsiteY152" fmla="*/ 439437 h 573359"/>
                <a:gd name="connsiteX153" fmla="*/ 407964 w 707252"/>
                <a:gd name="connsiteY153" fmla="*/ 443099 h 573359"/>
                <a:gd name="connsiteX154" fmla="*/ 403001 w 707252"/>
                <a:gd name="connsiteY154" fmla="*/ 446177 h 573359"/>
                <a:gd name="connsiteX155" fmla="*/ 400156 w 707252"/>
                <a:gd name="connsiteY155" fmla="*/ 448869 h 573359"/>
                <a:gd name="connsiteX156" fmla="*/ 396077 w 707252"/>
                <a:gd name="connsiteY156" fmla="*/ 452064 h 573359"/>
                <a:gd name="connsiteX157" fmla="*/ 388105 w 707252"/>
                <a:gd name="connsiteY157" fmla="*/ 460001 h 573359"/>
                <a:gd name="connsiteX158" fmla="*/ 377528 w 707252"/>
                <a:gd name="connsiteY158" fmla="*/ 470527 h 573359"/>
                <a:gd name="connsiteX159" fmla="*/ 373797 w 707252"/>
                <a:gd name="connsiteY159" fmla="*/ 475957 h 573359"/>
                <a:gd name="connsiteX160" fmla="*/ 370119 w 707252"/>
                <a:gd name="connsiteY160" fmla="*/ 484081 h 573359"/>
                <a:gd name="connsiteX161" fmla="*/ 367973 w 707252"/>
                <a:gd name="connsiteY161" fmla="*/ 493073 h 573359"/>
                <a:gd name="connsiteX162" fmla="*/ 365624 w 707252"/>
                <a:gd name="connsiteY162" fmla="*/ 502930 h 573359"/>
                <a:gd name="connsiteX163" fmla="*/ 362177 w 707252"/>
                <a:gd name="connsiteY163" fmla="*/ 518744 h 573359"/>
                <a:gd name="connsiteX164" fmla="*/ 357123 w 707252"/>
                <a:gd name="connsiteY164" fmla="*/ 527688 h 573359"/>
                <a:gd name="connsiteX165" fmla="*/ 352674 w 707252"/>
                <a:gd name="connsiteY165" fmla="*/ 534804 h 573359"/>
                <a:gd name="connsiteX166" fmla="*/ 349395 w 707252"/>
                <a:gd name="connsiteY166" fmla="*/ 540395 h 573359"/>
                <a:gd name="connsiteX167" fmla="*/ 347659 w 707252"/>
                <a:gd name="connsiteY167" fmla="*/ 545002 h 573359"/>
                <a:gd name="connsiteX168" fmla="*/ 346941 w 707252"/>
                <a:gd name="connsiteY168" fmla="*/ 544846 h 573359"/>
                <a:gd name="connsiteX169" fmla="*/ 345230 w 707252"/>
                <a:gd name="connsiteY169" fmla="*/ 546812 h 573359"/>
                <a:gd name="connsiteX170" fmla="*/ 340285 w 707252"/>
                <a:gd name="connsiteY170" fmla="*/ 545535 h 573359"/>
                <a:gd name="connsiteX171" fmla="*/ 338051 w 707252"/>
                <a:gd name="connsiteY171" fmla="*/ 541528 h 573359"/>
                <a:gd name="connsiteX172" fmla="*/ 334998 w 707252"/>
                <a:gd name="connsiteY172" fmla="*/ 540874 h 573359"/>
                <a:gd name="connsiteX173" fmla="*/ 329705 w 707252"/>
                <a:gd name="connsiteY173" fmla="*/ 534984 h 573359"/>
                <a:gd name="connsiteX174" fmla="*/ 328585 w 707252"/>
                <a:gd name="connsiteY174" fmla="*/ 535964 h 573359"/>
                <a:gd name="connsiteX175" fmla="*/ 334165 w 707252"/>
                <a:gd name="connsiteY175" fmla="*/ 550886 h 573359"/>
                <a:gd name="connsiteX176" fmla="*/ 332094 w 707252"/>
                <a:gd name="connsiteY176" fmla="*/ 556731 h 573359"/>
                <a:gd name="connsiteX177" fmla="*/ 316425 w 707252"/>
                <a:gd name="connsiteY177" fmla="*/ 556865 h 573359"/>
                <a:gd name="connsiteX178" fmla="*/ 302938 w 707252"/>
                <a:gd name="connsiteY178" fmla="*/ 558828 h 573359"/>
                <a:gd name="connsiteX179" fmla="*/ 293665 w 707252"/>
                <a:gd name="connsiteY179" fmla="*/ 558646 h 573359"/>
                <a:gd name="connsiteX180" fmla="*/ 289010 w 707252"/>
                <a:gd name="connsiteY180" fmla="*/ 556533 h 573359"/>
                <a:gd name="connsiteX181" fmla="*/ 286945 w 707252"/>
                <a:gd name="connsiteY181" fmla="*/ 550940 h 573359"/>
                <a:gd name="connsiteX182" fmla="*/ 286152 w 707252"/>
                <a:gd name="connsiteY182" fmla="*/ 551516 h 573359"/>
                <a:gd name="connsiteX183" fmla="*/ 285683 w 707252"/>
                <a:gd name="connsiteY183" fmla="*/ 554516 h 573359"/>
                <a:gd name="connsiteX184" fmla="*/ 282745 w 707252"/>
                <a:gd name="connsiteY184" fmla="*/ 556873 h 573359"/>
                <a:gd name="connsiteX185" fmla="*/ 272352 w 707252"/>
                <a:gd name="connsiteY185" fmla="*/ 557320 h 573359"/>
                <a:gd name="connsiteX186" fmla="*/ 267753 w 707252"/>
                <a:gd name="connsiteY186" fmla="*/ 553498 h 573359"/>
                <a:gd name="connsiteX187" fmla="*/ 264030 w 707252"/>
                <a:gd name="connsiteY187" fmla="*/ 549223 h 573359"/>
                <a:gd name="connsiteX188" fmla="*/ 260044 w 707252"/>
                <a:gd name="connsiteY188" fmla="*/ 547321 h 573359"/>
                <a:gd name="connsiteX189" fmla="*/ 260657 w 707252"/>
                <a:gd name="connsiteY189" fmla="*/ 549121 h 573359"/>
                <a:gd name="connsiteX190" fmla="*/ 265232 w 707252"/>
                <a:gd name="connsiteY190" fmla="*/ 553292 h 573359"/>
                <a:gd name="connsiteX191" fmla="*/ 264670 w 707252"/>
                <a:gd name="connsiteY191" fmla="*/ 559294 h 573359"/>
                <a:gd name="connsiteX192" fmla="*/ 256302 w 707252"/>
                <a:gd name="connsiteY192" fmla="*/ 566243 h 573359"/>
                <a:gd name="connsiteX193" fmla="*/ 250961 w 707252"/>
                <a:gd name="connsiteY193" fmla="*/ 566636 h 573359"/>
                <a:gd name="connsiteX194" fmla="*/ 247683 w 707252"/>
                <a:gd name="connsiteY194" fmla="*/ 563644 h 573359"/>
                <a:gd name="connsiteX195" fmla="*/ 245982 w 707252"/>
                <a:gd name="connsiteY195" fmla="*/ 558756 h 573359"/>
                <a:gd name="connsiteX196" fmla="*/ 245127 w 707252"/>
                <a:gd name="connsiteY196" fmla="*/ 551527 h 573359"/>
                <a:gd name="connsiteX197" fmla="*/ 242928 w 707252"/>
                <a:gd name="connsiteY197" fmla="*/ 546812 h 573359"/>
                <a:gd name="connsiteX198" fmla="*/ 241750 w 707252"/>
                <a:gd name="connsiteY198" fmla="*/ 546812 h 573359"/>
                <a:gd name="connsiteX199" fmla="*/ 242834 w 707252"/>
                <a:gd name="connsiteY199" fmla="*/ 551128 h 573359"/>
                <a:gd name="connsiteX200" fmla="*/ 243199 w 707252"/>
                <a:gd name="connsiteY200" fmla="*/ 554652 h 573359"/>
                <a:gd name="connsiteX201" fmla="*/ 243252 w 707252"/>
                <a:gd name="connsiteY201" fmla="*/ 561981 h 573359"/>
                <a:gd name="connsiteX202" fmla="*/ 247238 w 707252"/>
                <a:gd name="connsiteY202" fmla="*/ 567665 h 573359"/>
                <a:gd name="connsiteX203" fmla="*/ 241117 w 707252"/>
                <a:gd name="connsiteY203" fmla="*/ 569433 h 573359"/>
                <a:gd name="connsiteX204" fmla="*/ 238637 w 707252"/>
                <a:gd name="connsiteY204" fmla="*/ 569500 h 573359"/>
                <a:gd name="connsiteX205" fmla="*/ 233773 w 707252"/>
                <a:gd name="connsiteY205" fmla="*/ 569631 h 573359"/>
                <a:gd name="connsiteX206" fmla="*/ 232841 w 707252"/>
                <a:gd name="connsiteY206" fmla="*/ 567520 h 573359"/>
                <a:gd name="connsiteX207" fmla="*/ 231911 w 707252"/>
                <a:gd name="connsiteY207" fmla="*/ 562809 h 573359"/>
                <a:gd name="connsiteX208" fmla="*/ 230631 w 707252"/>
                <a:gd name="connsiteY208" fmla="*/ 561574 h 573359"/>
                <a:gd name="connsiteX209" fmla="*/ 229128 w 707252"/>
                <a:gd name="connsiteY209" fmla="*/ 569561 h 573359"/>
                <a:gd name="connsiteX210" fmla="*/ 225895 w 707252"/>
                <a:gd name="connsiteY210" fmla="*/ 570124 h 573359"/>
                <a:gd name="connsiteX211" fmla="*/ 223651 w 707252"/>
                <a:gd name="connsiteY211" fmla="*/ 570051 h 573359"/>
                <a:gd name="connsiteX212" fmla="*/ 214037 w 707252"/>
                <a:gd name="connsiteY212" fmla="*/ 571790 h 573359"/>
                <a:gd name="connsiteX213" fmla="*/ 211897 w 707252"/>
                <a:gd name="connsiteY213" fmla="*/ 571458 h 573359"/>
                <a:gd name="connsiteX214" fmla="*/ 211439 w 707252"/>
                <a:gd name="connsiteY214" fmla="*/ 569971 h 573359"/>
                <a:gd name="connsiteX215" fmla="*/ 212586 w 707252"/>
                <a:gd name="connsiteY215" fmla="*/ 567764 h 573359"/>
                <a:gd name="connsiteX216" fmla="*/ 212331 w 707252"/>
                <a:gd name="connsiteY216" fmla="*/ 564177 h 573359"/>
                <a:gd name="connsiteX217" fmla="*/ 208994 w 707252"/>
                <a:gd name="connsiteY217" fmla="*/ 566944 h 573359"/>
                <a:gd name="connsiteX218" fmla="*/ 208455 w 707252"/>
                <a:gd name="connsiteY218" fmla="*/ 572476 h 573359"/>
                <a:gd name="connsiteX219" fmla="*/ 206545 w 707252"/>
                <a:gd name="connsiteY219" fmla="*/ 573359 h 573359"/>
                <a:gd name="connsiteX220" fmla="*/ 200816 w 707252"/>
                <a:gd name="connsiteY220" fmla="*/ 572575 h 573359"/>
                <a:gd name="connsiteX221" fmla="*/ 194546 w 707252"/>
                <a:gd name="connsiteY221" fmla="*/ 569727 h 573359"/>
                <a:gd name="connsiteX222" fmla="*/ 190739 w 707252"/>
                <a:gd name="connsiteY222" fmla="*/ 566810 h 573359"/>
                <a:gd name="connsiteX223" fmla="*/ 184354 w 707252"/>
                <a:gd name="connsiteY223" fmla="*/ 562763 h 573359"/>
                <a:gd name="connsiteX224" fmla="*/ 171866 w 707252"/>
                <a:gd name="connsiteY224" fmla="*/ 551411 h 573359"/>
                <a:gd name="connsiteX225" fmla="*/ 169841 w 707252"/>
                <a:gd name="connsiteY225" fmla="*/ 546309 h 573359"/>
                <a:gd name="connsiteX226" fmla="*/ 166268 w 707252"/>
                <a:gd name="connsiteY226" fmla="*/ 540041 h 573359"/>
                <a:gd name="connsiteX227" fmla="*/ 163595 w 707252"/>
                <a:gd name="connsiteY227" fmla="*/ 533685 h 573359"/>
                <a:gd name="connsiteX228" fmla="*/ 159754 w 707252"/>
                <a:gd name="connsiteY228" fmla="*/ 522810 h 573359"/>
                <a:gd name="connsiteX229" fmla="*/ 160935 w 707252"/>
                <a:gd name="connsiteY229" fmla="*/ 522022 h 573359"/>
                <a:gd name="connsiteX230" fmla="*/ 163831 w 707252"/>
                <a:gd name="connsiteY230" fmla="*/ 522955 h 573359"/>
                <a:gd name="connsiteX231" fmla="*/ 165242 w 707252"/>
                <a:gd name="connsiteY231" fmla="*/ 521334 h 573359"/>
                <a:gd name="connsiteX232" fmla="*/ 160049 w 707252"/>
                <a:gd name="connsiteY232" fmla="*/ 520150 h 573359"/>
                <a:gd name="connsiteX233" fmla="*/ 158969 w 707252"/>
                <a:gd name="connsiteY233" fmla="*/ 518891 h 573359"/>
                <a:gd name="connsiteX234" fmla="*/ 158621 w 707252"/>
                <a:gd name="connsiteY234" fmla="*/ 515074 h 573359"/>
                <a:gd name="connsiteX235" fmla="*/ 158846 w 707252"/>
                <a:gd name="connsiteY235" fmla="*/ 510414 h 573359"/>
                <a:gd name="connsiteX236" fmla="*/ 163067 w 707252"/>
                <a:gd name="connsiteY236" fmla="*/ 508774 h 573359"/>
                <a:gd name="connsiteX237" fmla="*/ 166718 w 707252"/>
                <a:gd name="connsiteY237" fmla="*/ 507987 h 573359"/>
                <a:gd name="connsiteX238" fmla="*/ 168553 w 707252"/>
                <a:gd name="connsiteY238" fmla="*/ 505150 h 573359"/>
                <a:gd name="connsiteX239" fmla="*/ 169611 w 707252"/>
                <a:gd name="connsiteY239" fmla="*/ 502308 h 573359"/>
                <a:gd name="connsiteX240" fmla="*/ 159904 w 707252"/>
                <a:gd name="connsiteY240" fmla="*/ 506613 h 573359"/>
                <a:gd name="connsiteX241" fmla="*/ 150818 w 707252"/>
                <a:gd name="connsiteY241" fmla="*/ 501738 h 573359"/>
                <a:gd name="connsiteX242" fmla="*/ 148852 w 707252"/>
                <a:gd name="connsiteY242" fmla="*/ 498783 h 573359"/>
                <a:gd name="connsiteX243" fmla="*/ 149835 w 707252"/>
                <a:gd name="connsiteY243" fmla="*/ 496517 h 573359"/>
                <a:gd name="connsiteX244" fmla="*/ 154172 w 707252"/>
                <a:gd name="connsiteY244" fmla="*/ 496172 h 573359"/>
                <a:gd name="connsiteX245" fmla="*/ 160378 w 707252"/>
                <a:gd name="connsiteY245" fmla="*/ 496351 h 573359"/>
                <a:gd name="connsiteX246" fmla="*/ 164099 w 707252"/>
                <a:gd name="connsiteY246" fmla="*/ 494139 h 573359"/>
                <a:gd name="connsiteX247" fmla="*/ 161814 w 707252"/>
                <a:gd name="connsiteY247" fmla="*/ 493367 h 573359"/>
                <a:gd name="connsiteX248" fmla="*/ 157799 w 707252"/>
                <a:gd name="connsiteY248" fmla="*/ 493450 h 573359"/>
                <a:gd name="connsiteX249" fmla="*/ 156317 w 707252"/>
                <a:gd name="connsiteY249" fmla="*/ 491988 h 573359"/>
                <a:gd name="connsiteX250" fmla="*/ 156441 w 707252"/>
                <a:gd name="connsiteY250" fmla="*/ 488447 h 573359"/>
                <a:gd name="connsiteX251" fmla="*/ 155139 w 707252"/>
                <a:gd name="connsiteY251" fmla="*/ 489232 h 573359"/>
                <a:gd name="connsiteX252" fmla="*/ 153414 w 707252"/>
                <a:gd name="connsiteY252" fmla="*/ 492366 h 573359"/>
                <a:gd name="connsiteX253" fmla="*/ 147291 w 707252"/>
                <a:gd name="connsiteY253" fmla="*/ 494674 h 573359"/>
                <a:gd name="connsiteX254" fmla="*/ 143709 w 707252"/>
                <a:gd name="connsiteY254" fmla="*/ 492366 h 573359"/>
                <a:gd name="connsiteX255" fmla="*/ 143345 w 707252"/>
                <a:gd name="connsiteY255" fmla="*/ 487223 h 573359"/>
                <a:gd name="connsiteX256" fmla="*/ 142566 w 707252"/>
                <a:gd name="connsiteY256" fmla="*/ 484908 h 573359"/>
                <a:gd name="connsiteX257" fmla="*/ 139544 w 707252"/>
                <a:gd name="connsiteY257" fmla="*/ 483100 h 573359"/>
                <a:gd name="connsiteX258" fmla="*/ 128822 w 707252"/>
                <a:gd name="connsiteY258" fmla="*/ 469501 h 573359"/>
                <a:gd name="connsiteX259" fmla="*/ 115352 w 707252"/>
                <a:gd name="connsiteY259" fmla="*/ 458155 h 573359"/>
                <a:gd name="connsiteX260" fmla="*/ 103371 w 707252"/>
                <a:gd name="connsiteY260" fmla="*/ 450342 h 573359"/>
                <a:gd name="connsiteX261" fmla="*/ 85280 w 707252"/>
                <a:gd name="connsiteY261" fmla="*/ 446608 h 573359"/>
                <a:gd name="connsiteX262" fmla="*/ 47418 w 707252"/>
                <a:gd name="connsiteY262" fmla="*/ 446755 h 573359"/>
                <a:gd name="connsiteX263" fmla="*/ 45294 w 707252"/>
                <a:gd name="connsiteY263" fmla="*/ 445676 h 573359"/>
                <a:gd name="connsiteX264" fmla="*/ 47614 w 707252"/>
                <a:gd name="connsiteY264" fmla="*/ 443878 h 573359"/>
                <a:gd name="connsiteX265" fmla="*/ 50941 w 707252"/>
                <a:gd name="connsiteY265" fmla="*/ 442681 h 573359"/>
                <a:gd name="connsiteX266" fmla="*/ 63115 w 707252"/>
                <a:gd name="connsiteY266" fmla="*/ 436352 h 573359"/>
                <a:gd name="connsiteX267" fmla="*/ 61063 w 707252"/>
                <a:gd name="connsiteY267" fmla="*/ 435513 h 573359"/>
                <a:gd name="connsiteX268" fmla="*/ 48407 w 707252"/>
                <a:gd name="connsiteY268" fmla="*/ 439475 h 573359"/>
                <a:gd name="connsiteX269" fmla="*/ 44073 w 707252"/>
                <a:gd name="connsiteY269" fmla="*/ 439853 h 573359"/>
                <a:gd name="connsiteX270" fmla="*/ 38469 w 707252"/>
                <a:gd name="connsiteY270" fmla="*/ 447468 h 573359"/>
                <a:gd name="connsiteX271" fmla="*/ 5119 w 707252"/>
                <a:gd name="connsiteY271" fmla="*/ 448729 h 573359"/>
                <a:gd name="connsiteX272" fmla="*/ 1208 w 707252"/>
                <a:gd name="connsiteY272" fmla="*/ 449115 h 573359"/>
                <a:gd name="connsiteX273" fmla="*/ 1302 w 707252"/>
                <a:gd name="connsiteY273" fmla="*/ 445638 h 573359"/>
                <a:gd name="connsiteX274" fmla="*/ 2938 w 707252"/>
                <a:gd name="connsiteY274" fmla="*/ 435647 h 573359"/>
                <a:gd name="connsiteX275" fmla="*/ 4007 w 707252"/>
                <a:gd name="connsiteY275" fmla="*/ 431718 h 573359"/>
                <a:gd name="connsiteX276" fmla="*/ 5247 w 707252"/>
                <a:gd name="connsiteY276" fmla="*/ 428745 h 573359"/>
                <a:gd name="connsiteX277" fmla="*/ 3962 w 707252"/>
                <a:gd name="connsiteY277" fmla="*/ 425179 h 573359"/>
                <a:gd name="connsiteX278" fmla="*/ 2708 w 707252"/>
                <a:gd name="connsiteY278" fmla="*/ 420350 h 573359"/>
                <a:gd name="connsiteX279" fmla="*/ 2095 w 707252"/>
                <a:gd name="connsiteY279" fmla="*/ 412767 h 573359"/>
                <a:gd name="connsiteX280" fmla="*/ 3654 w 707252"/>
                <a:gd name="connsiteY280" fmla="*/ 410413 h 573359"/>
                <a:gd name="connsiteX281" fmla="*/ 4187 w 707252"/>
                <a:gd name="connsiteY281" fmla="*/ 407549 h 573359"/>
                <a:gd name="connsiteX282" fmla="*/ 3822 w 707252"/>
                <a:gd name="connsiteY282" fmla="*/ 403068 h 573359"/>
                <a:gd name="connsiteX283" fmla="*/ 3817 w 707252"/>
                <a:gd name="connsiteY283" fmla="*/ 388074 h 573359"/>
                <a:gd name="connsiteX284" fmla="*/ 4725 w 707252"/>
                <a:gd name="connsiteY284" fmla="*/ 386440 h 573359"/>
                <a:gd name="connsiteX285" fmla="*/ 5802 w 707252"/>
                <a:gd name="connsiteY285" fmla="*/ 385197 h 573359"/>
                <a:gd name="connsiteX286" fmla="*/ 5871 w 707252"/>
                <a:gd name="connsiteY286" fmla="*/ 383204 h 573359"/>
                <a:gd name="connsiteX287" fmla="*/ 3847 w 707252"/>
                <a:gd name="connsiteY287" fmla="*/ 379331 h 573359"/>
                <a:gd name="connsiteX288" fmla="*/ 1972 w 707252"/>
                <a:gd name="connsiteY288" fmla="*/ 374900 h 573359"/>
                <a:gd name="connsiteX289" fmla="*/ 2036 w 707252"/>
                <a:gd name="connsiteY289" fmla="*/ 368536 h 573359"/>
                <a:gd name="connsiteX290" fmla="*/ 1283 w 707252"/>
                <a:gd name="connsiteY290" fmla="*/ 362370 h 573359"/>
                <a:gd name="connsiteX291" fmla="*/ 0 w 707252"/>
                <a:gd name="connsiteY291" fmla="*/ 359563 h 573359"/>
                <a:gd name="connsiteX292" fmla="*/ 967 w 707252"/>
                <a:gd name="connsiteY292" fmla="*/ 349069 h 573359"/>
                <a:gd name="connsiteX293" fmla="*/ 1508 w 707252"/>
                <a:gd name="connsiteY293" fmla="*/ 335764 h 573359"/>
                <a:gd name="connsiteX294" fmla="*/ 1013 w 707252"/>
                <a:gd name="connsiteY294" fmla="*/ 329869 h 573359"/>
                <a:gd name="connsiteX295" fmla="*/ 2226 w 707252"/>
                <a:gd name="connsiteY295" fmla="*/ 325690 h 573359"/>
                <a:gd name="connsiteX296" fmla="*/ 2880 w 707252"/>
                <a:gd name="connsiteY296" fmla="*/ 315423 h 573359"/>
                <a:gd name="connsiteX297" fmla="*/ 2775 w 707252"/>
                <a:gd name="connsiteY297" fmla="*/ 305371 h 573359"/>
                <a:gd name="connsiteX298" fmla="*/ 5258 w 707252"/>
                <a:gd name="connsiteY298" fmla="*/ 289492 h 573359"/>
                <a:gd name="connsiteX299" fmla="*/ 12557 w 707252"/>
                <a:gd name="connsiteY299" fmla="*/ 288724 h 573359"/>
                <a:gd name="connsiteX300" fmla="*/ 21257 w 707252"/>
                <a:gd name="connsiteY300" fmla="*/ 287384 h 573359"/>
                <a:gd name="connsiteX301" fmla="*/ 25138 w 707252"/>
                <a:gd name="connsiteY301" fmla="*/ 281146 h 573359"/>
                <a:gd name="connsiteX302" fmla="*/ 27364 w 707252"/>
                <a:gd name="connsiteY302" fmla="*/ 273244 h 573359"/>
                <a:gd name="connsiteX303" fmla="*/ 26657 w 707252"/>
                <a:gd name="connsiteY303" fmla="*/ 265417 h 573359"/>
                <a:gd name="connsiteX304" fmla="*/ 28347 w 707252"/>
                <a:gd name="connsiteY304" fmla="*/ 262843 h 573359"/>
                <a:gd name="connsiteX305" fmla="*/ 31829 w 707252"/>
                <a:gd name="connsiteY305" fmla="*/ 258606 h 573359"/>
                <a:gd name="connsiteX306" fmla="*/ 38110 w 707252"/>
                <a:gd name="connsiteY306" fmla="*/ 252544 h 573359"/>
                <a:gd name="connsiteX307" fmla="*/ 37856 w 707252"/>
                <a:gd name="connsiteY307" fmla="*/ 245883 h 573359"/>
                <a:gd name="connsiteX308" fmla="*/ 39592 w 707252"/>
                <a:gd name="connsiteY308" fmla="*/ 243831 h 573359"/>
                <a:gd name="connsiteX309" fmla="*/ 42570 w 707252"/>
                <a:gd name="connsiteY309" fmla="*/ 242286 h 573359"/>
                <a:gd name="connsiteX310" fmla="*/ 46832 w 707252"/>
                <a:gd name="connsiteY310" fmla="*/ 241490 h 573359"/>
                <a:gd name="connsiteX311" fmla="*/ 51600 w 707252"/>
                <a:gd name="connsiteY311" fmla="*/ 238177 h 573359"/>
                <a:gd name="connsiteX312" fmla="*/ 54254 w 707252"/>
                <a:gd name="connsiteY312" fmla="*/ 232364 h 573359"/>
                <a:gd name="connsiteX313" fmla="*/ 56852 w 707252"/>
                <a:gd name="connsiteY313" fmla="*/ 223056 h 573359"/>
                <a:gd name="connsiteX314" fmla="*/ 52743 w 707252"/>
                <a:gd name="connsiteY314" fmla="*/ 216580 h 573359"/>
                <a:gd name="connsiteX315" fmla="*/ 52826 w 707252"/>
                <a:gd name="connsiteY315" fmla="*/ 215138 h 573359"/>
                <a:gd name="connsiteX316" fmla="*/ 54375 w 707252"/>
                <a:gd name="connsiteY316" fmla="*/ 211654 h 573359"/>
                <a:gd name="connsiteX317" fmla="*/ 56892 w 707252"/>
                <a:gd name="connsiteY317" fmla="*/ 208164 h 573359"/>
                <a:gd name="connsiteX318" fmla="*/ 58888 w 707252"/>
                <a:gd name="connsiteY318" fmla="*/ 207039 h 573359"/>
                <a:gd name="connsiteX319" fmla="*/ 63519 w 707252"/>
                <a:gd name="connsiteY319" fmla="*/ 207941 h 573359"/>
                <a:gd name="connsiteX320" fmla="*/ 64307 w 707252"/>
                <a:gd name="connsiteY320" fmla="*/ 207647 h 573359"/>
                <a:gd name="connsiteX321" fmla="*/ 65019 w 707252"/>
                <a:gd name="connsiteY321" fmla="*/ 206554 h 573359"/>
                <a:gd name="connsiteX322" fmla="*/ 68019 w 707252"/>
                <a:gd name="connsiteY322" fmla="*/ 196281 h 573359"/>
                <a:gd name="connsiteX323" fmla="*/ 67738 w 707252"/>
                <a:gd name="connsiteY323" fmla="*/ 193506 h 573359"/>
                <a:gd name="connsiteX324" fmla="*/ 63420 w 707252"/>
                <a:gd name="connsiteY324" fmla="*/ 186620 h 573359"/>
                <a:gd name="connsiteX325" fmla="*/ 62716 w 707252"/>
                <a:gd name="connsiteY325" fmla="*/ 181726 h 573359"/>
                <a:gd name="connsiteX326" fmla="*/ 62081 w 707252"/>
                <a:gd name="connsiteY326" fmla="*/ 174446 h 573359"/>
                <a:gd name="connsiteX327" fmla="*/ 61028 w 707252"/>
                <a:gd name="connsiteY327" fmla="*/ 167993 h 573359"/>
                <a:gd name="connsiteX328" fmla="*/ 59777 w 707252"/>
                <a:gd name="connsiteY328" fmla="*/ 165553 h 573359"/>
                <a:gd name="connsiteX329" fmla="*/ 57466 w 707252"/>
                <a:gd name="connsiteY329" fmla="*/ 163496 h 573359"/>
                <a:gd name="connsiteX330" fmla="*/ 56434 w 707252"/>
                <a:gd name="connsiteY330" fmla="*/ 162162 h 573359"/>
                <a:gd name="connsiteX331" fmla="*/ 47488 w 707252"/>
                <a:gd name="connsiteY331" fmla="*/ 149056 h 573359"/>
                <a:gd name="connsiteX332" fmla="*/ 47649 w 707252"/>
                <a:gd name="connsiteY332" fmla="*/ 142826 h 573359"/>
                <a:gd name="connsiteX333" fmla="*/ 51404 w 707252"/>
                <a:gd name="connsiteY333" fmla="*/ 134868 h 573359"/>
                <a:gd name="connsiteX334" fmla="*/ 53860 w 707252"/>
                <a:gd name="connsiteY334" fmla="*/ 131000 h 573359"/>
                <a:gd name="connsiteX335" fmla="*/ 57278 w 707252"/>
                <a:gd name="connsiteY335" fmla="*/ 128868 h 573359"/>
                <a:gd name="connsiteX336" fmla="*/ 57967 w 707252"/>
                <a:gd name="connsiteY336" fmla="*/ 127028 h 573359"/>
                <a:gd name="connsiteX337" fmla="*/ 56938 w 707252"/>
                <a:gd name="connsiteY337" fmla="*/ 124794 h 573359"/>
                <a:gd name="connsiteX338" fmla="*/ 55226 w 707252"/>
                <a:gd name="connsiteY338" fmla="*/ 123109 h 573359"/>
                <a:gd name="connsiteX339" fmla="*/ 54833 w 707252"/>
                <a:gd name="connsiteY339" fmla="*/ 119533 h 573359"/>
                <a:gd name="connsiteX340" fmla="*/ 55323 w 707252"/>
                <a:gd name="connsiteY340" fmla="*/ 117152 h 573359"/>
                <a:gd name="connsiteX341" fmla="*/ 56539 w 707252"/>
                <a:gd name="connsiteY341" fmla="*/ 114543 h 573359"/>
                <a:gd name="connsiteX342" fmla="*/ 56059 w 707252"/>
                <a:gd name="connsiteY342" fmla="*/ 109065 h 573359"/>
                <a:gd name="connsiteX343" fmla="*/ 56156 w 707252"/>
                <a:gd name="connsiteY343" fmla="*/ 100649 h 573359"/>
                <a:gd name="connsiteX344" fmla="*/ 56729 w 707252"/>
                <a:gd name="connsiteY344" fmla="*/ 88408 h 573359"/>
                <a:gd name="connsiteX345" fmla="*/ 56898 w 707252"/>
                <a:gd name="connsiteY345" fmla="*/ 80908 h 573359"/>
                <a:gd name="connsiteX346" fmla="*/ 64157 w 707252"/>
                <a:gd name="connsiteY346" fmla="*/ 75361 h 573359"/>
                <a:gd name="connsiteX347" fmla="*/ 74734 w 707252"/>
                <a:gd name="connsiteY347" fmla="*/ 66163 h 573359"/>
                <a:gd name="connsiteX348" fmla="*/ 80121 w 707252"/>
                <a:gd name="connsiteY348" fmla="*/ 56555 h 573359"/>
                <a:gd name="connsiteX349" fmla="*/ 83000 w 707252"/>
                <a:gd name="connsiteY349" fmla="*/ 49280 h 573359"/>
                <a:gd name="connsiteX350" fmla="*/ 86563 w 707252"/>
                <a:gd name="connsiteY350" fmla="*/ 25042 h 573359"/>
                <a:gd name="connsiteX351" fmla="*/ 89126 w 707252"/>
                <a:gd name="connsiteY351" fmla="*/ 23571 h 573359"/>
                <a:gd name="connsiteX352" fmla="*/ 92169 w 707252"/>
                <a:gd name="connsiteY352" fmla="*/ 22428 h 573359"/>
                <a:gd name="connsiteX353" fmla="*/ 102781 w 707252"/>
                <a:gd name="connsiteY353" fmla="*/ 13596 h 573359"/>
                <a:gd name="connsiteX354" fmla="*/ 110962 w 707252"/>
                <a:gd name="connsiteY354" fmla="*/ 10321 h 573359"/>
                <a:gd name="connsiteX355" fmla="*/ 117203 w 707252"/>
                <a:gd name="connsiteY355" fmla="*/ 8427 h 573359"/>
                <a:gd name="connsiteX356" fmla="*/ 126588 w 707252"/>
                <a:gd name="connsiteY356" fmla="*/ 6825 h 573359"/>
                <a:gd name="connsiteX357" fmla="*/ 132414 w 707252"/>
                <a:gd name="connsiteY357" fmla="*/ 7465 h 573359"/>
                <a:gd name="connsiteX358" fmla="*/ 143026 w 707252"/>
                <a:gd name="connsiteY358" fmla="*/ 7851 h 573359"/>
                <a:gd name="connsiteX359" fmla="*/ 151378 w 707252"/>
                <a:gd name="connsiteY359" fmla="*/ 6978 h 573359"/>
                <a:gd name="connsiteX360" fmla="*/ 158471 w 707252"/>
                <a:gd name="connsiteY360" fmla="*/ 2172 h 573359"/>
                <a:gd name="connsiteX361" fmla="*/ 161680 w 707252"/>
                <a:gd name="connsiteY361" fmla="*/ 825 h 573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</a:cxnLst>
              <a:rect l="l" t="t" r="r" b="b"/>
              <a:pathLst>
                <a:path w="707252" h="573359">
                  <a:moveTo>
                    <a:pt x="268974" y="558525"/>
                  </a:moveTo>
                  <a:lnTo>
                    <a:pt x="271583" y="560213"/>
                  </a:lnTo>
                  <a:lnTo>
                    <a:pt x="274931" y="560909"/>
                  </a:lnTo>
                  <a:lnTo>
                    <a:pt x="273324" y="565005"/>
                  </a:lnTo>
                  <a:lnTo>
                    <a:pt x="267587" y="566815"/>
                  </a:lnTo>
                  <a:lnTo>
                    <a:pt x="263826" y="566373"/>
                  </a:lnTo>
                  <a:close/>
                  <a:moveTo>
                    <a:pt x="166193" y="0"/>
                  </a:moveTo>
                  <a:lnTo>
                    <a:pt x="186697" y="6485"/>
                  </a:lnTo>
                  <a:lnTo>
                    <a:pt x="207194" y="12621"/>
                  </a:lnTo>
                  <a:lnTo>
                    <a:pt x="210920" y="12059"/>
                  </a:lnTo>
                  <a:lnTo>
                    <a:pt x="214037" y="12916"/>
                  </a:lnTo>
                  <a:lnTo>
                    <a:pt x="219161" y="16246"/>
                  </a:lnTo>
                  <a:lnTo>
                    <a:pt x="226728" y="23373"/>
                  </a:lnTo>
                  <a:lnTo>
                    <a:pt x="231223" y="27972"/>
                  </a:lnTo>
                  <a:lnTo>
                    <a:pt x="233390" y="30675"/>
                  </a:lnTo>
                  <a:lnTo>
                    <a:pt x="243917" y="46135"/>
                  </a:lnTo>
                  <a:lnTo>
                    <a:pt x="247843" y="50017"/>
                  </a:lnTo>
                  <a:lnTo>
                    <a:pt x="251789" y="52127"/>
                  </a:lnTo>
                  <a:lnTo>
                    <a:pt x="255809" y="52888"/>
                  </a:lnTo>
                  <a:lnTo>
                    <a:pt x="258868" y="52609"/>
                  </a:lnTo>
                  <a:lnTo>
                    <a:pt x="261791" y="50868"/>
                  </a:lnTo>
                  <a:lnTo>
                    <a:pt x="265757" y="47421"/>
                  </a:lnTo>
                  <a:lnTo>
                    <a:pt x="271779" y="45860"/>
                  </a:lnTo>
                  <a:lnTo>
                    <a:pt x="276702" y="46165"/>
                  </a:lnTo>
                  <a:lnTo>
                    <a:pt x="302220" y="32266"/>
                  </a:lnTo>
                  <a:lnTo>
                    <a:pt x="304695" y="32081"/>
                  </a:lnTo>
                  <a:lnTo>
                    <a:pt x="312118" y="33177"/>
                  </a:lnTo>
                  <a:lnTo>
                    <a:pt x="320365" y="35081"/>
                  </a:lnTo>
                  <a:lnTo>
                    <a:pt x="341748" y="49028"/>
                  </a:lnTo>
                  <a:lnTo>
                    <a:pt x="359193" y="58151"/>
                  </a:lnTo>
                  <a:lnTo>
                    <a:pt x="371456" y="61202"/>
                  </a:lnTo>
                  <a:lnTo>
                    <a:pt x="385904" y="63369"/>
                  </a:lnTo>
                  <a:lnTo>
                    <a:pt x="410444" y="64020"/>
                  </a:lnTo>
                  <a:lnTo>
                    <a:pt x="429007" y="44475"/>
                  </a:lnTo>
                  <a:lnTo>
                    <a:pt x="435867" y="40202"/>
                  </a:lnTo>
                  <a:lnTo>
                    <a:pt x="444133" y="36348"/>
                  </a:lnTo>
                  <a:lnTo>
                    <a:pt x="446792" y="35692"/>
                  </a:lnTo>
                  <a:lnTo>
                    <a:pt x="461380" y="32727"/>
                  </a:lnTo>
                  <a:lnTo>
                    <a:pt x="489987" y="30238"/>
                  </a:lnTo>
                  <a:lnTo>
                    <a:pt x="516818" y="31318"/>
                  </a:lnTo>
                  <a:lnTo>
                    <a:pt x="522100" y="32105"/>
                  </a:lnTo>
                  <a:lnTo>
                    <a:pt x="533489" y="34687"/>
                  </a:lnTo>
                  <a:lnTo>
                    <a:pt x="551060" y="41068"/>
                  </a:lnTo>
                  <a:lnTo>
                    <a:pt x="558638" y="47175"/>
                  </a:lnTo>
                  <a:lnTo>
                    <a:pt x="570547" y="48185"/>
                  </a:lnTo>
                  <a:lnTo>
                    <a:pt x="579083" y="46974"/>
                  </a:lnTo>
                  <a:lnTo>
                    <a:pt x="581866" y="40915"/>
                  </a:lnTo>
                  <a:lnTo>
                    <a:pt x="590432" y="32949"/>
                  </a:lnTo>
                  <a:lnTo>
                    <a:pt x="596662" y="29705"/>
                  </a:lnTo>
                  <a:lnTo>
                    <a:pt x="603278" y="25567"/>
                  </a:lnTo>
                  <a:lnTo>
                    <a:pt x="613746" y="20411"/>
                  </a:lnTo>
                  <a:lnTo>
                    <a:pt x="622360" y="18088"/>
                  </a:lnTo>
                  <a:lnTo>
                    <a:pt x="630059" y="12188"/>
                  </a:lnTo>
                  <a:lnTo>
                    <a:pt x="636166" y="10323"/>
                  </a:lnTo>
                  <a:lnTo>
                    <a:pt x="646791" y="10152"/>
                  </a:lnTo>
                  <a:lnTo>
                    <a:pt x="656097" y="23124"/>
                  </a:lnTo>
                  <a:lnTo>
                    <a:pt x="666098" y="37050"/>
                  </a:lnTo>
                  <a:lnTo>
                    <a:pt x="673896" y="47893"/>
                  </a:lnTo>
                  <a:lnTo>
                    <a:pt x="679588" y="75926"/>
                  </a:lnTo>
                  <a:lnTo>
                    <a:pt x="680193" y="81262"/>
                  </a:lnTo>
                  <a:lnTo>
                    <a:pt x="680627" y="83667"/>
                  </a:lnTo>
                  <a:lnTo>
                    <a:pt x="681055" y="85885"/>
                  </a:lnTo>
                  <a:lnTo>
                    <a:pt x="681803" y="89699"/>
                  </a:lnTo>
                  <a:lnTo>
                    <a:pt x="686268" y="91339"/>
                  </a:lnTo>
                  <a:lnTo>
                    <a:pt x="694713" y="92083"/>
                  </a:lnTo>
                  <a:lnTo>
                    <a:pt x="700844" y="94842"/>
                  </a:lnTo>
                  <a:lnTo>
                    <a:pt x="704517" y="99420"/>
                  </a:lnTo>
                  <a:lnTo>
                    <a:pt x="704873" y="100181"/>
                  </a:lnTo>
                  <a:lnTo>
                    <a:pt x="706812" y="103692"/>
                  </a:lnTo>
                  <a:lnTo>
                    <a:pt x="707252" y="106234"/>
                  </a:lnTo>
                  <a:lnTo>
                    <a:pt x="706721" y="113568"/>
                  </a:lnTo>
                  <a:lnTo>
                    <a:pt x="705489" y="122983"/>
                  </a:lnTo>
                  <a:lnTo>
                    <a:pt x="703384" y="129055"/>
                  </a:lnTo>
                  <a:lnTo>
                    <a:pt x="704557" y="137311"/>
                  </a:lnTo>
                  <a:lnTo>
                    <a:pt x="704187" y="140836"/>
                  </a:lnTo>
                  <a:lnTo>
                    <a:pt x="703261" y="143244"/>
                  </a:lnTo>
                  <a:lnTo>
                    <a:pt x="699489" y="146013"/>
                  </a:lnTo>
                  <a:lnTo>
                    <a:pt x="694360" y="148710"/>
                  </a:lnTo>
                  <a:lnTo>
                    <a:pt x="682092" y="156687"/>
                  </a:lnTo>
                  <a:lnTo>
                    <a:pt x="678591" y="157863"/>
                  </a:lnTo>
                  <a:lnTo>
                    <a:pt x="673467" y="158075"/>
                  </a:lnTo>
                  <a:lnTo>
                    <a:pt x="669007" y="160062"/>
                  </a:lnTo>
                  <a:lnTo>
                    <a:pt x="663714" y="164367"/>
                  </a:lnTo>
                  <a:lnTo>
                    <a:pt x="652333" y="180366"/>
                  </a:lnTo>
                  <a:lnTo>
                    <a:pt x="642586" y="196423"/>
                  </a:lnTo>
                  <a:lnTo>
                    <a:pt x="639222" y="209704"/>
                  </a:lnTo>
                  <a:lnTo>
                    <a:pt x="635432" y="222381"/>
                  </a:lnTo>
                  <a:lnTo>
                    <a:pt x="626866" y="230470"/>
                  </a:lnTo>
                  <a:lnTo>
                    <a:pt x="625674" y="235024"/>
                  </a:lnTo>
                  <a:lnTo>
                    <a:pt x="625315" y="237662"/>
                  </a:lnTo>
                  <a:lnTo>
                    <a:pt x="625020" y="243759"/>
                  </a:lnTo>
                  <a:lnTo>
                    <a:pt x="623981" y="253852"/>
                  </a:lnTo>
                  <a:lnTo>
                    <a:pt x="622650" y="258716"/>
                  </a:lnTo>
                  <a:lnTo>
                    <a:pt x="621273" y="260157"/>
                  </a:lnTo>
                  <a:lnTo>
                    <a:pt x="612029" y="263224"/>
                  </a:lnTo>
                  <a:lnTo>
                    <a:pt x="606702" y="266931"/>
                  </a:lnTo>
                  <a:lnTo>
                    <a:pt x="603514" y="274265"/>
                  </a:lnTo>
                  <a:lnTo>
                    <a:pt x="602346" y="282193"/>
                  </a:lnTo>
                  <a:lnTo>
                    <a:pt x="600479" y="291228"/>
                  </a:lnTo>
                  <a:lnTo>
                    <a:pt x="599421" y="299156"/>
                  </a:lnTo>
                  <a:lnTo>
                    <a:pt x="597980" y="303260"/>
                  </a:lnTo>
                  <a:lnTo>
                    <a:pt x="594953" y="307570"/>
                  </a:lnTo>
                  <a:lnTo>
                    <a:pt x="590242" y="312217"/>
                  </a:lnTo>
                  <a:lnTo>
                    <a:pt x="586163" y="314821"/>
                  </a:lnTo>
                  <a:lnTo>
                    <a:pt x="575550" y="316524"/>
                  </a:lnTo>
                  <a:lnTo>
                    <a:pt x="570089" y="327013"/>
                  </a:lnTo>
                  <a:lnTo>
                    <a:pt x="565473" y="335207"/>
                  </a:lnTo>
                  <a:lnTo>
                    <a:pt x="565342" y="338483"/>
                  </a:lnTo>
                  <a:lnTo>
                    <a:pt x="560888" y="355465"/>
                  </a:lnTo>
                  <a:lnTo>
                    <a:pt x="553144" y="368258"/>
                  </a:lnTo>
                  <a:lnTo>
                    <a:pt x="552632" y="372774"/>
                  </a:lnTo>
                  <a:lnTo>
                    <a:pt x="552598" y="376481"/>
                  </a:lnTo>
                  <a:lnTo>
                    <a:pt x="542912" y="387736"/>
                  </a:lnTo>
                  <a:lnTo>
                    <a:pt x="540349" y="391052"/>
                  </a:lnTo>
                  <a:lnTo>
                    <a:pt x="537874" y="395386"/>
                  </a:lnTo>
                  <a:lnTo>
                    <a:pt x="540314" y="399573"/>
                  </a:lnTo>
                  <a:lnTo>
                    <a:pt x="543049" y="403379"/>
                  </a:lnTo>
                  <a:lnTo>
                    <a:pt x="543442" y="404664"/>
                  </a:lnTo>
                  <a:lnTo>
                    <a:pt x="539036" y="408248"/>
                  </a:lnTo>
                  <a:lnTo>
                    <a:pt x="531365" y="414476"/>
                  </a:lnTo>
                  <a:lnTo>
                    <a:pt x="526779" y="418205"/>
                  </a:lnTo>
                  <a:lnTo>
                    <a:pt x="525767" y="420243"/>
                  </a:lnTo>
                  <a:lnTo>
                    <a:pt x="525094" y="429604"/>
                  </a:lnTo>
                  <a:lnTo>
                    <a:pt x="523760" y="432117"/>
                  </a:lnTo>
                  <a:lnTo>
                    <a:pt x="520704" y="435545"/>
                  </a:lnTo>
                  <a:lnTo>
                    <a:pt x="516218" y="439320"/>
                  </a:lnTo>
                  <a:lnTo>
                    <a:pt x="511648" y="442250"/>
                  </a:lnTo>
                  <a:lnTo>
                    <a:pt x="506476" y="444280"/>
                  </a:lnTo>
                  <a:lnTo>
                    <a:pt x="501504" y="445030"/>
                  </a:lnTo>
                  <a:lnTo>
                    <a:pt x="498727" y="443854"/>
                  </a:lnTo>
                  <a:lnTo>
                    <a:pt x="497141" y="441010"/>
                  </a:lnTo>
                  <a:lnTo>
                    <a:pt x="494347" y="429567"/>
                  </a:lnTo>
                  <a:lnTo>
                    <a:pt x="492936" y="427116"/>
                  </a:lnTo>
                  <a:lnTo>
                    <a:pt x="489708" y="424888"/>
                  </a:lnTo>
                  <a:lnTo>
                    <a:pt x="483330" y="418628"/>
                  </a:lnTo>
                  <a:lnTo>
                    <a:pt x="476881" y="412290"/>
                  </a:lnTo>
                  <a:lnTo>
                    <a:pt x="469102" y="407839"/>
                  </a:lnTo>
                  <a:lnTo>
                    <a:pt x="467436" y="408157"/>
                  </a:lnTo>
                  <a:lnTo>
                    <a:pt x="466145" y="409363"/>
                  </a:lnTo>
                  <a:lnTo>
                    <a:pt x="463935" y="415730"/>
                  </a:lnTo>
                  <a:lnTo>
                    <a:pt x="461760" y="418063"/>
                  </a:lnTo>
                  <a:lnTo>
                    <a:pt x="457665" y="418869"/>
                  </a:lnTo>
                  <a:lnTo>
                    <a:pt x="450550" y="418925"/>
                  </a:lnTo>
                  <a:lnTo>
                    <a:pt x="445362" y="418044"/>
                  </a:lnTo>
                  <a:lnTo>
                    <a:pt x="444184" y="416782"/>
                  </a:lnTo>
                  <a:lnTo>
                    <a:pt x="443131" y="414021"/>
                  </a:lnTo>
                  <a:lnTo>
                    <a:pt x="441695" y="411806"/>
                  </a:lnTo>
                  <a:lnTo>
                    <a:pt x="435494" y="416271"/>
                  </a:lnTo>
                  <a:lnTo>
                    <a:pt x="425744" y="423299"/>
                  </a:lnTo>
                  <a:lnTo>
                    <a:pt x="422573" y="424448"/>
                  </a:lnTo>
                  <a:lnTo>
                    <a:pt x="420157" y="425863"/>
                  </a:lnTo>
                  <a:lnTo>
                    <a:pt x="416940" y="432417"/>
                  </a:lnTo>
                  <a:lnTo>
                    <a:pt x="413053" y="439437"/>
                  </a:lnTo>
                  <a:lnTo>
                    <a:pt x="407964" y="443099"/>
                  </a:lnTo>
                  <a:lnTo>
                    <a:pt x="403001" y="446177"/>
                  </a:lnTo>
                  <a:lnTo>
                    <a:pt x="400156" y="448869"/>
                  </a:lnTo>
                  <a:lnTo>
                    <a:pt x="396077" y="452064"/>
                  </a:lnTo>
                  <a:lnTo>
                    <a:pt x="388105" y="460001"/>
                  </a:lnTo>
                  <a:lnTo>
                    <a:pt x="377528" y="470527"/>
                  </a:lnTo>
                  <a:lnTo>
                    <a:pt x="373797" y="475957"/>
                  </a:lnTo>
                  <a:lnTo>
                    <a:pt x="370119" y="484081"/>
                  </a:lnTo>
                  <a:lnTo>
                    <a:pt x="367973" y="493073"/>
                  </a:lnTo>
                  <a:lnTo>
                    <a:pt x="365624" y="502930"/>
                  </a:lnTo>
                  <a:lnTo>
                    <a:pt x="362177" y="518744"/>
                  </a:lnTo>
                  <a:lnTo>
                    <a:pt x="357123" y="527688"/>
                  </a:lnTo>
                  <a:lnTo>
                    <a:pt x="352674" y="534804"/>
                  </a:lnTo>
                  <a:lnTo>
                    <a:pt x="349395" y="540395"/>
                  </a:lnTo>
                  <a:lnTo>
                    <a:pt x="347659" y="545002"/>
                  </a:lnTo>
                  <a:lnTo>
                    <a:pt x="346941" y="544846"/>
                  </a:lnTo>
                  <a:lnTo>
                    <a:pt x="345230" y="546812"/>
                  </a:lnTo>
                  <a:lnTo>
                    <a:pt x="340285" y="545535"/>
                  </a:lnTo>
                  <a:lnTo>
                    <a:pt x="338051" y="541528"/>
                  </a:lnTo>
                  <a:lnTo>
                    <a:pt x="334998" y="540874"/>
                  </a:lnTo>
                  <a:lnTo>
                    <a:pt x="329705" y="534984"/>
                  </a:lnTo>
                  <a:lnTo>
                    <a:pt x="328585" y="535964"/>
                  </a:lnTo>
                  <a:lnTo>
                    <a:pt x="334165" y="550886"/>
                  </a:lnTo>
                  <a:lnTo>
                    <a:pt x="332094" y="556731"/>
                  </a:lnTo>
                  <a:lnTo>
                    <a:pt x="316425" y="556865"/>
                  </a:lnTo>
                  <a:lnTo>
                    <a:pt x="302938" y="558828"/>
                  </a:lnTo>
                  <a:lnTo>
                    <a:pt x="293665" y="558646"/>
                  </a:lnTo>
                  <a:lnTo>
                    <a:pt x="289010" y="556533"/>
                  </a:lnTo>
                  <a:lnTo>
                    <a:pt x="286945" y="550940"/>
                  </a:lnTo>
                  <a:lnTo>
                    <a:pt x="286152" y="551516"/>
                  </a:lnTo>
                  <a:lnTo>
                    <a:pt x="285683" y="554516"/>
                  </a:lnTo>
                  <a:lnTo>
                    <a:pt x="282745" y="556873"/>
                  </a:lnTo>
                  <a:lnTo>
                    <a:pt x="272352" y="557320"/>
                  </a:lnTo>
                  <a:lnTo>
                    <a:pt x="267753" y="553498"/>
                  </a:lnTo>
                  <a:lnTo>
                    <a:pt x="264030" y="549223"/>
                  </a:lnTo>
                  <a:lnTo>
                    <a:pt x="260044" y="547321"/>
                  </a:lnTo>
                  <a:lnTo>
                    <a:pt x="260657" y="549121"/>
                  </a:lnTo>
                  <a:lnTo>
                    <a:pt x="265232" y="553292"/>
                  </a:lnTo>
                  <a:lnTo>
                    <a:pt x="264670" y="559294"/>
                  </a:lnTo>
                  <a:lnTo>
                    <a:pt x="256302" y="566243"/>
                  </a:lnTo>
                  <a:lnTo>
                    <a:pt x="250961" y="566636"/>
                  </a:lnTo>
                  <a:lnTo>
                    <a:pt x="247683" y="563644"/>
                  </a:lnTo>
                  <a:lnTo>
                    <a:pt x="245982" y="558756"/>
                  </a:lnTo>
                  <a:lnTo>
                    <a:pt x="245127" y="551527"/>
                  </a:lnTo>
                  <a:lnTo>
                    <a:pt x="242928" y="546812"/>
                  </a:lnTo>
                  <a:lnTo>
                    <a:pt x="241750" y="546812"/>
                  </a:lnTo>
                  <a:lnTo>
                    <a:pt x="242834" y="551128"/>
                  </a:lnTo>
                  <a:lnTo>
                    <a:pt x="243199" y="554652"/>
                  </a:lnTo>
                  <a:lnTo>
                    <a:pt x="243252" y="561981"/>
                  </a:lnTo>
                  <a:lnTo>
                    <a:pt x="247238" y="567665"/>
                  </a:lnTo>
                  <a:lnTo>
                    <a:pt x="241117" y="569433"/>
                  </a:lnTo>
                  <a:lnTo>
                    <a:pt x="238637" y="569500"/>
                  </a:lnTo>
                  <a:lnTo>
                    <a:pt x="233773" y="569631"/>
                  </a:lnTo>
                  <a:lnTo>
                    <a:pt x="232841" y="567520"/>
                  </a:lnTo>
                  <a:lnTo>
                    <a:pt x="231911" y="562809"/>
                  </a:lnTo>
                  <a:lnTo>
                    <a:pt x="230631" y="561574"/>
                  </a:lnTo>
                  <a:lnTo>
                    <a:pt x="229128" y="569561"/>
                  </a:lnTo>
                  <a:lnTo>
                    <a:pt x="225895" y="570124"/>
                  </a:lnTo>
                  <a:lnTo>
                    <a:pt x="223651" y="570051"/>
                  </a:lnTo>
                  <a:lnTo>
                    <a:pt x="214037" y="571790"/>
                  </a:lnTo>
                  <a:lnTo>
                    <a:pt x="211897" y="571458"/>
                  </a:lnTo>
                  <a:lnTo>
                    <a:pt x="211439" y="569971"/>
                  </a:lnTo>
                  <a:lnTo>
                    <a:pt x="212586" y="567764"/>
                  </a:lnTo>
                  <a:lnTo>
                    <a:pt x="212331" y="564177"/>
                  </a:lnTo>
                  <a:lnTo>
                    <a:pt x="208994" y="566944"/>
                  </a:lnTo>
                  <a:lnTo>
                    <a:pt x="208455" y="572476"/>
                  </a:lnTo>
                  <a:lnTo>
                    <a:pt x="206545" y="573359"/>
                  </a:lnTo>
                  <a:lnTo>
                    <a:pt x="200816" y="572575"/>
                  </a:lnTo>
                  <a:lnTo>
                    <a:pt x="194546" y="569727"/>
                  </a:lnTo>
                  <a:lnTo>
                    <a:pt x="190739" y="566810"/>
                  </a:lnTo>
                  <a:lnTo>
                    <a:pt x="184354" y="562763"/>
                  </a:lnTo>
                  <a:lnTo>
                    <a:pt x="171866" y="551411"/>
                  </a:lnTo>
                  <a:lnTo>
                    <a:pt x="169841" y="546309"/>
                  </a:lnTo>
                  <a:lnTo>
                    <a:pt x="166268" y="540041"/>
                  </a:lnTo>
                  <a:lnTo>
                    <a:pt x="163595" y="533685"/>
                  </a:lnTo>
                  <a:lnTo>
                    <a:pt x="159754" y="522810"/>
                  </a:lnTo>
                  <a:lnTo>
                    <a:pt x="160935" y="522022"/>
                  </a:lnTo>
                  <a:lnTo>
                    <a:pt x="163831" y="522955"/>
                  </a:lnTo>
                  <a:lnTo>
                    <a:pt x="165242" y="521334"/>
                  </a:lnTo>
                  <a:lnTo>
                    <a:pt x="160049" y="520150"/>
                  </a:lnTo>
                  <a:lnTo>
                    <a:pt x="158969" y="518891"/>
                  </a:lnTo>
                  <a:lnTo>
                    <a:pt x="158621" y="515074"/>
                  </a:lnTo>
                  <a:lnTo>
                    <a:pt x="158846" y="510414"/>
                  </a:lnTo>
                  <a:lnTo>
                    <a:pt x="163067" y="508774"/>
                  </a:lnTo>
                  <a:lnTo>
                    <a:pt x="166718" y="507987"/>
                  </a:lnTo>
                  <a:lnTo>
                    <a:pt x="168553" y="505150"/>
                  </a:lnTo>
                  <a:lnTo>
                    <a:pt x="169611" y="502308"/>
                  </a:lnTo>
                  <a:lnTo>
                    <a:pt x="159904" y="506613"/>
                  </a:lnTo>
                  <a:lnTo>
                    <a:pt x="150818" y="501738"/>
                  </a:lnTo>
                  <a:lnTo>
                    <a:pt x="148852" y="498783"/>
                  </a:lnTo>
                  <a:lnTo>
                    <a:pt x="149835" y="496517"/>
                  </a:lnTo>
                  <a:lnTo>
                    <a:pt x="154172" y="496172"/>
                  </a:lnTo>
                  <a:lnTo>
                    <a:pt x="160378" y="496351"/>
                  </a:lnTo>
                  <a:lnTo>
                    <a:pt x="164099" y="494139"/>
                  </a:lnTo>
                  <a:lnTo>
                    <a:pt x="161814" y="493367"/>
                  </a:lnTo>
                  <a:lnTo>
                    <a:pt x="157799" y="493450"/>
                  </a:lnTo>
                  <a:lnTo>
                    <a:pt x="156317" y="491988"/>
                  </a:lnTo>
                  <a:lnTo>
                    <a:pt x="156441" y="488447"/>
                  </a:lnTo>
                  <a:lnTo>
                    <a:pt x="155139" y="489232"/>
                  </a:lnTo>
                  <a:lnTo>
                    <a:pt x="153414" y="492366"/>
                  </a:lnTo>
                  <a:lnTo>
                    <a:pt x="147291" y="494674"/>
                  </a:lnTo>
                  <a:lnTo>
                    <a:pt x="143709" y="492366"/>
                  </a:lnTo>
                  <a:lnTo>
                    <a:pt x="143345" y="487223"/>
                  </a:lnTo>
                  <a:lnTo>
                    <a:pt x="142566" y="484908"/>
                  </a:lnTo>
                  <a:lnTo>
                    <a:pt x="139544" y="483100"/>
                  </a:lnTo>
                  <a:lnTo>
                    <a:pt x="128822" y="469501"/>
                  </a:lnTo>
                  <a:lnTo>
                    <a:pt x="115352" y="458155"/>
                  </a:lnTo>
                  <a:lnTo>
                    <a:pt x="103371" y="450342"/>
                  </a:lnTo>
                  <a:lnTo>
                    <a:pt x="85280" y="446608"/>
                  </a:lnTo>
                  <a:lnTo>
                    <a:pt x="47418" y="446755"/>
                  </a:lnTo>
                  <a:lnTo>
                    <a:pt x="45294" y="445676"/>
                  </a:lnTo>
                  <a:lnTo>
                    <a:pt x="47614" y="443878"/>
                  </a:lnTo>
                  <a:lnTo>
                    <a:pt x="50941" y="442681"/>
                  </a:lnTo>
                  <a:lnTo>
                    <a:pt x="63115" y="436352"/>
                  </a:lnTo>
                  <a:lnTo>
                    <a:pt x="61063" y="435513"/>
                  </a:lnTo>
                  <a:lnTo>
                    <a:pt x="48407" y="439475"/>
                  </a:lnTo>
                  <a:lnTo>
                    <a:pt x="44073" y="439853"/>
                  </a:lnTo>
                  <a:lnTo>
                    <a:pt x="38469" y="447468"/>
                  </a:lnTo>
                  <a:lnTo>
                    <a:pt x="5119" y="448729"/>
                  </a:lnTo>
                  <a:lnTo>
                    <a:pt x="1208" y="449115"/>
                  </a:lnTo>
                  <a:lnTo>
                    <a:pt x="1302" y="445638"/>
                  </a:lnTo>
                  <a:lnTo>
                    <a:pt x="2938" y="435647"/>
                  </a:lnTo>
                  <a:lnTo>
                    <a:pt x="4007" y="431718"/>
                  </a:lnTo>
                  <a:lnTo>
                    <a:pt x="5247" y="428745"/>
                  </a:lnTo>
                  <a:lnTo>
                    <a:pt x="3962" y="425179"/>
                  </a:lnTo>
                  <a:lnTo>
                    <a:pt x="2708" y="420350"/>
                  </a:lnTo>
                  <a:lnTo>
                    <a:pt x="2095" y="412767"/>
                  </a:lnTo>
                  <a:lnTo>
                    <a:pt x="3654" y="410413"/>
                  </a:lnTo>
                  <a:lnTo>
                    <a:pt x="4187" y="407549"/>
                  </a:lnTo>
                  <a:lnTo>
                    <a:pt x="3822" y="403068"/>
                  </a:lnTo>
                  <a:lnTo>
                    <a:pt x="3817" y="388074"/>
                  </a:lnTo>
                  <a:lnTo>
                    <a:pt x="4725" y="386440"/>
                  </a:lnTo>
                  <a:lnTo>
                    <a:pt x="5802" y="385197"/>
                  </a:lnTo>
                  <a:lnTo>
                    <a:pt x="5871" y="383204"/>
                  </a:lnTo>
                  <a:lnTo>
                    <a:pt x="3847" y="379331"/>
                  </a:lnTo>
                  <a:lnTo>
                    <a:pt x="1972" y="374900"/>
                  </a:lnTo>
                  <a:lnTo>
                    <a:pt x="2036" y="368536"/>
                  </a:lnTo>
                  <a:lnTo>
                    <a:pt x="1283" y="362370"/>
                  </a:lnTo>
                  <a:lnTo>
                    <a:pt x="0" y="359563"/>
                  </a:lnTo>
                  <a:lnTo>
                    <a:pt x="967" y="349069"/>
                  </a:lnTo>
                  <a:lnTo>
                    <a:pt x="1508" y="335764"/>
                  </a:lnTo>
                  <a:lnTo>
                    <a:pt x="1013" y="329869"/>
                  </a:lnTo>
                  <a:lnTo>
                    <a:pt x="2226" y="325690"/>
                  </a:lnTo>
                  <a:lnTo>
                    <a:pt x="2880" y="315423"/>
                  </a:lnTo>
                  <a:lnTo>
                    <a:pt x="2775" y="305371"/>
                  </a:lnTo>
                  <a:lnTo>
                    <a:pt x="5258" y="289492"/>
                  </a:lnTo>
                  <a:lnTo>
                    <a:pt x="12557" y="288724"/>
                  </a:lnTo>
                  <a:lnTo>
                    <a:pt x="21257" y="287384"/>
                  </a:lnTo>
                  <a:lnTo>
                    <a:pt x="25138" y="281146"/>
                  </a:lnTo>
                  <a:lnTo>
                    <a:pt x="27364" y="273244"/>
                  </a:lnTo>
                  <a:lnTo>
                    <a:pt x="26657" y="265417"/>
                  </a:lnTo>
                  <a:lnTo>
                    <a:pt x="28347" y="262843"/>
                  </a:lnTo>
                  <a:lnTo>
                    <a:pt x="31829" y="258606"/>
                  </a:lnTo>
                  <a:lnTo>
                    <a:pt x="38110" y="252544"/>
                  </a:lnTo>
                  <a:lnTo>
                    <a:pt x="37856" y="245883"/>
                  </a:lnTo>
                  <a:lnTo>
                    <a:pt x="39592" y="243831"/>
                  </a:lnTo>
                  <a:lnTo>
                    <a:pt x="42570" y="242286"/>
                  </a:lnTo>
                  <a:lnTo>
                    <a:pt x="46832" y="241490"/>
                  </a:lnTo>
                  <a:lnTo>
                    <a:pt x="51600" y="238177"/>
                  </a:lnTo>
                  <a:lnTo>
                    <a:pt x="54254" y="232364"/>
                  </a:lnTo>
                  <a:lnTo>
                    <a:pt x="56852" y="223056"/>
                  </a:lnTo>
                  <a:lnTo>
                    <a:pt x="52743" y="216580"/>
                  </a:lnTo>
                  <a:lnTo>
                    <a:pt x="52826" y="215138"/>
                  </a:lnTo>
                  <a:lnTo>
                    <a:pt x="54375" y="211654"/>
                  </a:lnTo>
                  <a:lnTo>
                    <a:pt x="56892" y="208164"/>
                  </a:lnTo>
                  <a:lnTo>
                    <a:pt x="58888" y="207039"/>
                  </a:lnTo>
                  <a:lnTo>
                    <a:pt x="63519" y="207941"/>
                  </a:lnTo>
                  <a:lnTo>
                    <a:pt x="64307" y="207647"/>
                  </a:lnTo>
                  <a:lnTo>
                    <a:pt x="65019" y="206554"/>
                  </a:lnTo>
                  <a:lnTo>
                    <a:pt x="68019" y="196281"/>
                  </a:lnTo>
                  <a:lnTo>
                    <a:pt x="67738" y="193506"/>
                  </a:lnTo>
                  <a:lnTo>
                    <a:pt x="63420" y="186620"/>
                  </a:lnTo>
                  <a:lnTo>
                    <a:pt x="62716" y="181726"/>
                  </a:lnTo>
                  <a:lnTo>
                    <a:pt x="62081" y="174446"/>
                  </a:lnTo>
                  <a:lnTo>
                    <a:pt x="61028" y="167993"/>
                  </a:lnTo>
                  <a:lnTo>
                    <a:pt x="59777" y="165553"/>
                  </a:lnTo>
                  <a:lnTo>
                    <a:pt x="57466" y="163496"/>
                  </a:lnTo>
                  <a:lnTo>
                    <a:pt x="56434" y="162162"/>
                  </a:lnTo>
                  <a:lnTo>
                    <a:pt x="47488" y="149056"/>
                  </a:lnTo>
                  <a:lnTo>
                    <a:pt x="47649" y="142826"/>
                  </a:lnTo>
                  <a:lnTo>
                    <a:pt x="51404" y="134868"/>
                  </a:lnTo>
                  <a:lnTo>
                    <a:pt x="53860" y="131000"/>
                  </a:lnTo>
                  <a:lnTo>
                    <a:pt x="57278" y="128868"/>
                  </a:lnTo>
                  <a:lnTo>
                    <a:pt x="57967" y="127028"/>
                  </a:lnTo>
                  <a:lnTo>
                    <a:pt x="56938" y="124794"/>
                  </a:lnTo>
                  <a:lnTo>
                    <a:pt x="55226" y="123109"/>
                  </a:lnTo>
                  <a:lnTo>
                    <a:pt x="54833" y="119533"/>
                  </a:lnTo>
                  <a:lnTo>
                    <a:pt x="55323" y="117152"/>
                  </a:lnTo>
                  <a:lnTo>
                    <a:pt x="56539" y="114543"/>
                  </a:lnTo>
                  <a:lnTo>
                    <a:pt x="56059" y="109065"/>
                  </a:lnTo>
                  <a:lnTo>
                    <a:pt x="56156" y="100649"/>
                  </a:lnTo>
                  <a:lnTo>
                    <a:pt x="56729" y="88408"/>
                  </a:lnTo>
                  <a:lnTo>
                    <a:pt x="56898" y="80908"/>
                  </a:lnTo>
                  <a:lnTo>
                    <a:pt x="64157" y="75361"/>
                  </a:lnTo>
                  <a:lnTo>
                    <a:pt x="74734" y="66163"/>
                  </a:lnTo>
                  <a:lnTo>
                    <a:pt x="80121" y="56555"/>
                  </a:lnTo>
                  <a:lnTo>
                    <a:pt x="83000" y="49280"/>
                  </a:lnTo>
                  <a:lnTo>
                    <a:pt x="86563" y="25042"/>
                  </a:lnTo>
                  <a:lnTo>
                    <a:pt x="89126" y="23571"/>
                  </a:lnTo>
                  <a:lnTo>
                    <a:pt x="92169" y="22428"/>
                  </a:lnTo>
                  <a:lnTo>
                    <a:pt x="102781" y="13596"/>
                  </a:lnTo>
                  <a:lnTo>
                    <a:pt x="110962" y="10321"/>
                  </a:lnTo>
                  <a:lnTo>
                    <a:pt x="117203" y="8427"/>
                  </a:lnTo>
                  <a:lnTo>
                    <a:pt x="126588" y="6825"/>
                  </a:lnTo>
                  <a:lnTo>
                    <a:pt x="132414" y="7465"/>
                  </a:lnTo>
                  <a:lnTo>
                    <a:pt x="143026" y="7851"/>
                  </a:lnTo>
                  <a:lnTo>
                    <a:pt x="151378" y="6978"/>
                  </a:lnTo>
                  <a:lnTo>
                    <a:pt x="158471" y="2172"/>
                  </a:lnTo>
                  <a:lnTo>
                    <a:pt x="161680" y="825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99" name="ee4p_RW_1_37365">
              <a:extLst>
                <a:ext uri="{FF2B5EF4-FFF2-40B4-BE49-F238E27FC236}">
                  <a16:creationId xmlns:a16="http://schemas.microsoft.com/office/drawing/2014/main" id="{358B198B-F3BC-579D-9753-BBE0F9EC19F2}"/>
                </a:ext>
              </a:extLst>
            </p:cNvPr>
            <p:cNvSpPr>
              <a:spLocks noChangeAspect="1"/>
            </p:cNvSpPr>
            <p:nvPr>
              <p:custDataLst>
                <p:tags r:id="rId353"/>
              </p:custDataLst>
            </p:nvPr>
          </p:nvSpPr>
          <p:spPr>
            <a:xfrm>
              <a:off x="7316058" y="4708015"/>
              <a:ext cx="56066" cy="49812"/>
            </a:xfrm>
            <a:custGeom>
              <a:avLst/>
              <a:gdLst/>
              <a:ahLst/>
              <a:cxnLst/>
              <a:rect l="0" t="0" r="0" b="0"/>
              <a:pathLst>
                <a:path w="44644" h="38613">
                  <a:moveTo>
                    <a:pt x="36537" y="93"/>
                  </a:moveTo>
                  <a:lnTo>
                    <a:pt x="35809" y="441"/>
                  </a:lnTo>
                  <a:lnTo>
                    <a:pt x="35658" y="1505"/>
                  </a:lnTo>
                  <a:lnTo>
                    <a:pt x="36496" y="3209"/>
                  </a:lnTo>
                  <a:lnTo>
                    <a:pt x="39234" y="6732"/>
                  </a:lnTo>
                  <a:lnTo>
                    <a:pt x="40976" y="7380"/>
                  </a:lnTo>
                  <a:lnTo>
                    <a:pt x="42114" y="8749"/>
                  </a:lnTo>
                  <a:lnTo>
                    <a:pt x="43228" y="11058"/>
                  </a:lnTo>
                  <a:lnTo>
                    <a:pt x="43559" y="13946"/>
                  </a:lnTo>
                  <a:lnTo>
                    <a:pt x="43099" y="17419"/>
                  </a:lnTo>
                  <a:lnTo>
                    <a:pt x="43373" y="20003"/>
                  </a:lnTo>
                  <a:lnTo>
                    <a:pt x="44380" y="21696"/>
                  </a:lnTo>
                  <a:lnTo>
                    <a:pt x="44643" y="23893"/>
                  </a:lnTo>
                  <a:lnTo>
                    <a:pt x="44166" y="26594"/>
                  </a:lnTo>
                  <a:lnTo>
                    <a:pt x="43585" y="28210"/>
                  </a:lnTo>
                  <a:lnTo>
                    <a:pt x="42898" y="28746"/>
                  </a:lnTo>
                  <a:lnTo>
                    <a:pt x="42121" y="28945"/>
                  </a:lnTo>
                  <a:lnTo>
                    <a:pt x="41067" y="28763"/>
                  </a:lnTo>
                  <a:lnTo>
                    <a:pt x="39780" y="28992"/>
                  </a:lnTo>
                  <a:lnTo>
                    <a:pt x="38381" y="29500"/>
                  </a:lnTo>
                  <a:lnTo>
                    <a:pt x="37502" y="29573"/>
                  </a:lnTo>
                  <a:lnTo>
                    <a:pt x="36956" y="29474"/>
                  </a:lnTo>
                  <a:lnTo>
                    <a:pt x="35923" y="29042"/>
                  </a:lnTo>
                  <a:lnTo>
                    <a:pt x="34293" y="27646"/>
                  </a:lnTo>
                  <a:lnTo>
                    <a:pt x="31252" y="28418"/>
                  </a:lnTo>
                  <a:lnTo>
                    <a:pt x="30430" y="28400"/>
                  </a:lnTo>
                  <a:lnTo>
                    <a:pt x="29313" y="29064"/>
                  </a:lnTo>
                  <a:lnTo>
                    <a:pt x="28407" y="29880"/>
                  </a:lnTo>
                  <a:lnTo>
                    <a:pt x="27854" y="29938"/>
                  </a:lnTo>
                  <a:lnTo>
                    <a:pt x="27292" y="29826"/>
                  </a:lnTo>
                  <a:lnTo>
                    <a:pt x="24673" y="28180"/>
                  </a:lnTo>
                  <a:lnTo>
                    <a:pt x="23716" y="28234"/>
                  </a:lnTo>
                  <a:lnTo>
                    <a:pt x="23323" y="32860"/>
                  </a:lnTo>
                  <a:lnTo>
                    <a:pt x="22885" y="35427"/>
                  </a:lnTo>
                  <a:lnTo>
                    <a:pt x="22345" y="36572"/>
                  </a:lnTo>
                  <a:lnTo>
                    <a:pt x="20471" y="37679"/>
                  </a:lnTo>
                  <a:lnTo>
                    <a:pt x="18583" y="38305"/>
                  </a:lnTo>
                  <a:lnTo>
                    <a:pt x="17551" y="38262"/>
                  </a:lnTo>
                  <a:lnTo>
                    <a:pt x="13401" y="38608"/>
                  </a:lnTo>
                  <a:lnTo>
                    <a:pt x="11777" y="38612"/>
                  </a:lnTo>
                  <a:lnTo>
                    <a:pt x="10883" y="38234"/>
                  </a:lnTo>
                  <a:lnTo>
                    <a:pt x="9717" y="35613"/>
                  </a:lnTo>
                  <a:lnTo>
                    <a:pt x="7517" y="34446"/>
                  </a:lnTo>
                  <a:lnTo>
                    <a:pt x="5405" y="33901"/>
                  </a:lnTo>
                  <a:lnTo>
                    <a:pt x="4545" y="34053"/>
                  </a:lnTo>
                  <a:lnTo>
                    <a:pt x="3781" y="35425"/>
                  </a:lnTo>
                  <a:lnTo>
                    <a:pt x="3466" y="36656"/>
                  </a:lnTo>
                  <a:lnTo>
                    <a:pt x="1419" y="35811"/>
                  </a:lnTo>
                  <a:lnTo>
                    <a:pt x="803" y="34772"/>
                  </a:lnTo>
                  <a:lnTo>
                    <a:pt x="747" y="33013"/>
                  </a:lnTo>
                  <a:lnTo>
                    <a:pt x="0" y="30604"/>
                  </a:lnTo>
                  <a:lnTo>
                    <a:pt x="414" y="29578"/>
                  </a:lnTo>
                  <a:lnTo>
                    <a:pt x="1218" y="28914"/>
                  </a:lnTo>
                  <a:lnTo>
                    <a:pt x="2917" y="27642"/>
                  </a:lnTo>
                  <a:lnTo>
                    <a:pt x="5502" y="25881"/>
                  </a:lnTo>
                  <a:lnTo>
                    <a:pt x="6057" y="25038"/>
                  </a:lnTo>
                  <a:lnTo>
                    <a:pt x="6422" y="23638"/>
                  </a:lnTo>
                  <a:lnTo>
                    <a:pt x="6258" y="20381"/>
                  </a:lnTo>
                  <a:lnTo>
                    <a:pt x="6009" y="17631"/>
                  </a:lnTo>
                  <a:lnTo>
                    <a:pt x="6316" y="16652"/>
                  </a:lnTo>
                  <a:lnTo>
                    <a:pt x="7495" y="14527"/>
                  </a:lnTo>
                  <a:lnTo>
                    <a:pt x="9078" y="12352"/>
                  </a:lnTo>
                  <a:lnTo>
                    <a:pt x="10924" y="10052"/>
                  </a:lnTo>
                  <a:lnTo>
                    <a:pt x="12036" y="9827"/>
                  </a:lnTo>
                  <a:lnTo>
                    <a:pt x="13496" y="8956"/>
                  </a:lnTo>
                  <a:lnTo>
                    <a:pt x="15040" y="7667"/>
                  </a:lnTo>
                  <a:lnTo>
                    <a:pt x="15906" y="7183"/>
                  </a:lnTo>
                  <a:lnTo>
                    <a:pt x="16629" y="7166"/>
                  </a:lnTo>
                  <a:lnTo>
                    <a:pt x="21399" y="6026"/>
                  </a:lnTo>
                  <a:lnTo>
                    <a:pt x="21874" y="6382"/>
                  </a:lnTo>
                  <a:lnTo>
                    <a:pt x="22643" y="8596"/>
                  </a:lnTo>
                  <a:lnTo>
                    <a:pt x="23049" y="8918"/>
                  </a:lnTo>
                  <a:lnTo>
                    <a:pt x="23714" y="8997"/>
                  </a:lnTo>
                  <a:lnTo>
                    <a:pt x="25051" y="8490"/>
                  </a:lnTo>
                  <a:lnTo>
                    <a:pt x="27506" y="6758"/>
                  </a:lnTo>
                  <a:lnTo>
                    <a:pt x="28577" y="5706"/>
                  </a:lnTo>
                  <a:lnTo>
                    <a:pt x="29838" y="4227"/>
                  </a:lnTo>
                  <a:lnTo>
                    <a:pt x="31449" y="2560"/>
                  </a:lnTo>
                  <a:lnTo>
                    <a:pt x="32347" y="1106"/>
                  </a:lnTo>
                  <a:lnTo>
                    <a:pt x="33226" y="255"/>
                  </a:lnTo>
                  <a:lnTo>
                    <a:pt x="34377" y="0"/>
                  </a:lnTo>
                  <a:lnTo>
                    <a:pt x="35651" y="65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00" name="ee4p_EH_1_37365">
              <a:extLst>
                <a:ext uri="{FF2B5EF4-FFF2-40B4-BE49-F238E27FC236}">
                  <a16:creationId xmlns:a16="http://schemas.microsoft.com/office/drawing/2014/main" id="{58A6940E-5677-5DDC-693C-AD307BA6A0C8}"/>
                </a:ext>
              </a:extLst>
            </p:cNvPr>
            <p:cNvSpPr>
              <a:spLocks noChangeAspect="1"/>
            </p:cNvSpPr>
            <p:nvPr>
              <p:custDataLst>
                <p:tags r:id="rId354"/>
              </p:custDataLst>
            </p:nvPr>
          </p:nvSpPr>
          <p:spPr>
            <a:xfrm>
              <a:off x="6039879" y="3868405"/>
              <a:ext cx="233726" cy="207251"/>
            </a:xfrm>
            <a:custGeom>
              <a:avLst/>
              <a:gdLst/>
              <a:ahLst/>
              <a:cxnLst/>
              <a:rect l="0" t="0" r="0" b="0"/>
              <a:pathLst>
                <a:path w="186111" h="160655">
                  <a:moveTo>
                    <a:pt x="186083" y="8835"/>
                  </a:moveTo>
                  <a:lnTo>
                    <a:pt x="186088" y="12802"/>
                  </a:lnTo>
                  <a:lnTo>
                    <a:pt x="186094" y="17511"/>
                  </a:lnTo>
                  <a:lnTo>
                    <a:pt x="186099" y="22220"/>
                  </a:lnTo>
                  <a:lnTo>
                    <a:pt x="186105" y="27569"/>
                  </a:lnTo>
                  <a:lnTo>
                    <a:pt x="186110" y="32891"/>
                  </a:lnTo>
                  <a:lnTo>
                    <a:pt x="186110" y="36768"/>
                  </a:lnTo>
                  <a:lnTo>
                    <a:pt x="186108" y="39464"/>
                  </a:lnTo>
                  <a:lnTo>
                    <a:pt x="181610" y="39464"/>
                  </a:lnTo>
                  <a:lnTo>
                    <a:pt x="177491" y="39464"/>
                  </a:lnTo>
                  <a:lnTo>
                    <a:pt x="173372" y="39464"/>
                  </a:lnTo>
                  <a:lnTo>
                    <a:pt x="169251" y="39464"/>
                  </a:lnTo>
                  <a:lnTo>
                    <a:pt x="165131" y="39464"/>
                  </a:lnTo>
                  <a:lnTo>
                    <a:pt x="161011" y="39465"/>
                  </a:lnTo>
                  <a:lnTo>
                    <a:pt x="156891" y="39465"/>
                  </a:lnTo>
                  <a:lnTo>
                    <a:pt x="152772" y="39465"/>
                  </a:lnTo>
                  <a:lnTo>
                    <a:pt x="148652" y="39465"/>
                  </a:lnTo>
                  <a:lnTo>
                    <a:pt x="144532" y="39465"/>
                  </a:lnTo>
                  <a:lnTo>
                    <a:pt x="140412" y="39465"/>
                  </a:lnTo>
                  <a:lnTo>
                    <a:pt x="136292" y="39465"/>
                  </a:lnTo>
                  <a:lnTo>
                    <a:pt x="132173" y="39465"/>
                  </a:lnTo>
                  <a:lnTo>
                    <a:pt x="128053" y="39466"/>
                  </a:lnTo>
                  <a:lnTo>
                    <a:pt x="123932" y="39466"/>
                  </a:lnTo>
                  <a:lnTo>
                    <a:pt x="119812" y="39466"/>
                  </a:lnTo>
                  <a:lnTo>
                    <a:pt x="115693" y="39466"/>
                  </a:lnTo>
                  <a:lnTo>
                    <a:pt x="112384" y="39466"/>
                  </a:lnTo>
                  <a:lnTo>
                    <a:pt x="112384" y="42282"/>
                  </a:lnTo>
                  <a:lnTo>
                    <a:pt x="112384" y="45500"/>
                  </a:lnTo>
                  <a:lnTo>
                    <a:pt x="112384" y="48715"/>
                  </a:lnTo>
                  <a:lnTo>
                    <a:pt x="112384" y="51927"/>
                  </a:lnTo>
                  <a:lnTo>
                    <a:pt x="112384" y="55138"/>
                  </a:lnTo>
                  <a:lnTo>
                    <a:pt x="112384" y="58346"/>
                  </a:lnTo>
                  <a:lnTo>
                    <a:pt x="112384" y="61552"/>
                  </a:lnTo>
                  <a:lnTo>
                    <a:pt x="112384" y="64755"/>
                  </a:lnTo>
                  <a:lnTo>
                    <a:pt x="112384" y="67956"/>
                  </a:lnTo>
                  <a:lnTo>
                    <a:pt x="112384" y="71155"/>
                  </a:lnTo>
                  <a:lnTo>
                    <a:pt x="112384" y="74353"/>
                  </a:lnTo>
                  <a:lnTo>
                    <a:pt x="112384" y="77548"/>
                  </a:lnTo>
                  <a:lnTo>
                    <a:pt x="112384" y="80741"/>
                  </a:lnTo>
                  <a:lnTo>
                    <a:pt x="112384" y="83931"/>
                  </a:lnTo>
                  <a:lnTo>
                    <a:pt x="112384" y="87120"/>
                  </a:lnTo>
                  <a:lnTo>
                    <a:pt x="112384" y="90307"/>
                  </a:lnTo>
                  <a:lnTo>
                    <a:pt x="112384" y="93491"/>
                  </a:lnTo>
                  <a:lnTo>
                    <a:pt x="112384" y="96329"/>
                  </a:lnTo>
                  <a:lnTo>
                    <a:pt x="112227" y="98872"/>
                  </a:lnTo>
                  <a:lnTo>
                    <a:pt x="110901" y="99623"/>
                  </a:lnTo>
                  <a:lnTo>
                    <a:pt x="107744" y="100976"/>
                  </a:lnTo>
                  <a:lnTo>
                    <a:pt x="104499" y="102364"/>
                  </a:lnTo>
                  <a:lnTo>
                    <a:pt x="100376" y="102999"/>
                  </a:lnTo>
                  <a:lnTo>
                    <a:pt x="99026" y="103453"/>
                  </a:lnTo>
                  <a:lnTo>
                    <a:pt x="96391" y="105287"/>
                  </a:lnTo>
                  <a:lnTo>
                    <a:pt x="92932" y="107694"/>
                  </a:lnTo>
                  <a:lnTo>
                    <a:pt x="89936" y="109775"/>
                  </a:lnTo>
                  <a:lnTo>
                    <a:pt x="87959" y="112481"/>
                  </a:lnTo>
                  <a:lnTo>
                    <a:pt x="87243" y="113962"/>
                  </a:lnTo>
                  <a:lnTo>
                    <a:pt x="86951" y="115528"/>
                  </a:lnTo>
                  <a:lnTo>
                    <a:pt x="87184" y="117016"/>
                  </a:lnTo>
                  <a:lnTo>
                    <a:pt x="88259" y="120006"/>
                  </a:lnTo>
                  <a:lnTo>
                    <a:pt x="88547" y="121512"/>
                  </a:lnTo>
                  <a:lnTo>
                    <a:pt x="88714" y="124133"/>
                  </a:lnTo>
                  <a:lnTo>
                    <a:pt x="88897" y="126985"/>
                  </a:lnTo>
                  <a:lnTo>
                    <a:pt x="89094" y="130056"/>
                  </a:lnTo>
                  <a:lnTo>
                    <a:pt x="89292" y="133130"/>
                  </a:lnTo>
                  <a:lnTo>
                    <a:pt x="89500" y="136398"/>
                  </a:lnTo>
                  <a:lnTo>
                    <a:pt x="89709" y="139666"/>
                  </a:lnTo>
                  <a:lnTo>
                    <a:pt x="89920" y="142949"/>
                  </a:lnTo>
                  <a:lnTo>
                    <a:pt x="90078" y="145386"/>
                  </a:lnTo>
                  <a:lnTo>
                    <a:pt x="90274" y="148460"/>
                  </a:lnTo>
                  <a:lnTo>
                    <a:pt x="86930" y="148463"/>
                  </a:lnTo>
                  <a:lnTo>
                    <a:pt x="81860" y="148469"/>
                  </a:lnTo>
                  <a:lnTo>
                    <a:pt x="76790" y="148476"/>
                  </a:lnTo>
                  <a:lnTo>
                    <a:pt x="71719" y="148482"/>
                  </a:lnTo>
                  <a:lnTo>
                    <a:pt x="66648" y="148488"/>
                  </a:lnTo>
                  <a:lnTo>
                    <a:pt x="61578" y="148495"/>
                  </a:lnTo>
                  <a:lnTo>
                    <a:pt x="56508" y="148501"/>
                  </a:lnTo>
                  <a:lnTo>
                    <a:pt x="51436" y="148507"/>
                  </a:lnTo>
                  <a:lnTo>
                    <a:pt x="46366" y="148514"/>
                  </a:lnTo>
                  <a:lnTo>
                    <a:pt x="41296" y="148521"/>
                  </a:lnTo>
                  <a:lnTo>
                    <a:pt x="36225" y="148526"/>
                  </a:lnTo>
                  <a:lnTo>
                    <a:pt x="31156" y="148533"/>
                  </a:lnTo>
                  <a:lnTo>
                    <a:pt x="26084" y="148540"/>
                  </a:lnTo>
                  <a:lnTo>
                    <a:pt x="21014" y="148546"/>
                  </a:lnTo>
                  <a:lnTo>
                    <a:pt x="15944" y="148552"/>
                  </a:lnTo>
                  <a:lnTo>
                    <a:pt x="10873" y="148559"/>
                  </a:lnTo>
                  <a:lnTo>
                    <a:pt x="5803" y="148565"/>
                  </a:lnTo>
                  <a:lnTo>
                    <a:pt x="2968" y="148568"/>
                  </a:lnTo>
                  <a:lnTo>
                    <a:pt x="2053" y="152888"/>
                  </a:lnTo>
                  <a:lnTo>
                    <a:pt x="1247" y="155994"/>
                  </a:lnTo>
                  <a:lnTo>
                    <a:pt x="770" y="158515"/>
                  </a:lnTo>
                  <a:lnTo>
                    <a:pt x="1122" y="160654"/>
                  </a:lnTo>
                  <a:lnTo>
                    <a:pt x="0" y="159483"/>
                  </a:lnTo>
                  <a:lnTo>
                    <a:pt x="1971" y="147461"/>
                  </a:lnTo>
                  <a:lnTo>
                    <a:pt x="2116" y="146452"/>
                  </a:lnTo>
                  <a:lnTo>
                    <a:pt x="2118" y="146451"/>
                  </a:lnTo>
                  <a:lnTo>
                    <a:pt x="3265" y="146231"/>
                  </a:lnTo>
                  <a:lnTo>
                    <a:pt x="8133" y="145304"/>
                  </a:lnTo>
                  <a:lnTo>
                    <a:pt x="11449" y="145056"/>
                  </a:lnTo>
                  <a:lnTo>
                    <a:pt x="20076" y="145056"/>
                  </a:lnTo>
                  <a:lnTo>
                    <a:pt x="23389" y="144604"/>
                  </a:lnTo>
                  <a:lnTo>
                    <a:pt x="26047" y="144604"/>
                  </a:lnTo>
                  <a:lnTo>
                    <a:pt x="29804" y="144830"/>
                  </a:lnTo>
                  <a:lnTo>
                    <a:pt x="32902" y="145304"/>
                  </a:lnTo>
                  <a:lnTo>
                    <a:pt x="36216" y="145756"/>
                  </a:lnTo>
                  <a:lnTo>
                    <a:pt x="39974" y="145756"/>
                  </a:lnTo>
                  <a:lnTo>
                    <a:pt x="43072" y="145982"/>
                  </a:lnTo>
                  <a:lnTo>
                    <a:pt x="47046" y="145982"/>
                  </a:lnTo>
                  <a:lnTo>
                    <a:pt x="49928" y="145756"/>
                  </a:lnTo>
                  <a:lnTo>
                    <a:pt x="51915" y="144604"/>
                  </a:lnTo>
                  <a:lnTo>
                    <a:pt x="53686" y="142298"/>
                  </a:lnTo>
                  <a:lnTo>
                    <a:pt x="54344" y="140443"/>
                  </a:lnTo>
                  <a:lnTo>
                    <a:pt x="55015" y="138814"/>
                  </a:lnTo>
                  <a:lnTo>
                    <a:pt x="54787" y="137184"/>
                  </a:lnTo>
                  <a:lnTo>
                    <a:pt x="54571" y="136256"/>
                  </a:lnTo>
                  <a:lnTo>
                    <a:pt x="55673" y="135101"/>
                  </a:lnTo>
                  <a:lnTo>
                    <a:pt x="57000" y="133243"/>
                  </a:lnTo>
                  <a:lnTo>
                    <a:pt x="58329" y="132089"/>
                  </a:lnTo>
                  <a:lnTo>
                    <a:pt x="58771" y="131160"/>
                  </a:lnTo>
                  <a:lnTo>
                    <a:pt x="60100" y="130230"/>
                  </a:lnTo>
                  <a:lnTo>
                    <a:pt x="61643" y="128598"/>
                  </a:lnTo>
                  <a:lnTo>
                    <a:pt x="62528" y="127442"/>
                  </a:lnTo>
                  <a:lnTo>
                    <a:pt x="63630" y="125831"/>
                  </a:lnTo>
                  <a:lnTo>
                    <a:pt x="63856" y="124424"/>
                  </a:lnTo>
                  <a:lnTo>
                    <a:pt x="64300" y="122563"/>
                  </a:lnTo>
                  <a:lnTo>
                    <a:pt x="64300" y="119316"/>
                  </a:lnTo>
                  <a:lnTo>
                    <a:pt x="64741" y="115362"/>
                  </a:lnTo>
                  <a:lnTo>
                    <a:pt x="65401" y="112793"/>
                  </a:lnTo>
                  <a:lnTo>
                    <a:pt x="65843" y="110700"/>
                  </a:lnTo>
                  <a:lnTo>
                    <a:pt x="66286" y="107445"/>
                  </a:lnTo>
                  <a:lnTo>
                    <a:pt x="67615" y="101841"/>
                  </a:lnTo>
                  <a:lnTo>
                    <a:pt x="68056" y="100200"/>
                  </a:lnTo>
                  <a:lnTo>
                    <a:pt x="68943" y="97645"/>
                  </a:lnTo>
                  <a:lnTo>
                    <a:pt x="70044" y="95295"/>
                  </a:lnTo>
                  <a:lnTo>
                    <a:pt x="70928" y="93651"/>
                  </a:lnTo>
                  <a:lnTo>
                    <a:pt x="72041" y="92258"/>
                  </a:lnTo>
                  <a:lnTo>
                    <a:pt x="73585" y="91322"/>
                  </a:lnTo>
                  <a:lnTo>
                    <a:pt x="76014" y="90385"/>
                  </a:lnTo>
                  <a:lnTo>
                    <a:pt x="77784" y="89449"/>
                  </a:lnTo>
                  <a:lnTo>
                    <a:pt x="79998" y="88512"/>
                  </a:lnTo>
                  <a:lnTo>
                    <a:pt x="81984" y="87803"/>
                  </a:lnTo>
                  <a:lnTo>
                    <a:pt x="83756" y="86866"/>
                  </a:lnTo>
                  <a:lnTo>
                    <a:pt x="84424" y="85951"/>
                  </a:lnTo>
                  <a:lnTo>
                    <a:pt x="85525" y="84304"/>
                  </a:lnTo>
                  <a:lnTo>
                    <a:pt x="87070" y="81261"/>
                  </a:lnTo>
                  <a:lnTo>
                    <a:pt x="87955" y="79384"/>
                  </a:lnTo>
                  <a:lnTo>
                    <a:pt x="89283" y="77024"/>
                  </a:lnTo>
                  <a:lnTo>
                    <a:pt x="90828" y="75397"/>
                  </a:lnTo>
                  <a:lnTo>
                    <a:pt x="91786" y="74765"/>
                  </a:lnTo>
                  <a:lnTo>
                    <a:pt x="92598" y="74228"/>
                  </a:lnTo>
                  <a:lnTo>
                    <a:pt x="94596" y="73036"/>
                  </a:lnTo>
                  <a:lnTo>
                    <a:pt x="97024" y="71637"/>
                  </a:lnTo>
                  <a:lnTo>
                    <a:pt x="98796" y="70467"/>
                  </a:lnTo>
                  <a:lnTo>
                    <a:pt x="100339" y="69274"/>
                  </a:lnTo>
                  <a:lnTo>
                    <a:pt x="101667" y="68356"/>
                  </a:lnTo>
                  <a:lnTo>
                    <a:pt x="103211" y="66933"/>
                  </a:lnTo>
                  <a:lnTo>
                    <a:pt x="103881" y="65762"/>
                  </a:lnTo>
                  <a:lnTo>
                    <a:pt x="104766" y="63648"/>
                  </a:lnTo>
                  <a:lnTo>
                    <a:pt x="105868" y="60339"/>
                  </a:lnTo>
                  <a:lnTo>
                    <a:pt x="106754" y="56820"/>
                  </a:lnTo>
                  <a:lnTo>
                    <a:pt x="107638" y="53044"/>
                  </a:lnTo>
                  <a:lnTo>
                    <a:pt x="108297" y="50694"/>
                  </a:lnTo>
                  <a:lnTo>
                    <a:pt x="108967" y="47860"/>
                  </a:lnTo>
                  <a:lnTo>
                    <a:pt x="109851" y="45715"/>
                  </a:lnTo>
                  <a:lnTo>
                    <a:pt x="110511" y="43361"/>
                  </a:lnTo>
                  <a:lnTo>
                    <a:pt x="110952" y="42415"/>
                  </a:lnTo>
                  <a:lnTo>
                    <a:pt x="110952" y="41237"/>
                  </a:lnTo>
                  <a:lnTo>
                    <a:pt x="111396" y="39575"/>
                  </a:lnTo>
                  <a:lnTo>
                    <a:pt x="111489" y="39444"/>
                  </a:lnTo>
                  <a:lnTo>
                    <a:pt x="112065" y="38628"/>
                  </a:lnTo>
                  <a:lnTo>
                    <a:pt x="113609" y="38166"/>
                  </a:lnTo>
                  <a:lnTo>
                    <a:pt x="115379" y="37680"/>
                  </a:lnTo>
                  <a:lnTo>
                    <a:pt x="118165" y="37311"/>
                  </a:lnTo>
                  <a:lnTo>
                    <a:pt x="118975" y="36895"/>
                  </a:lnTo>
                  <a:lnTo>
                    <a:pt x="119396" y="35508"/>
                  </a:lnTo>
                  <a:lnTo>
                    <a:pt x="119721" y="34305"/>
                  </a:lnTo>
                  <a:lnTo>
                    <a:pt x="120767" y="32362"/>
                  </a:lnTo>
                  <a:lnTo>
                    <a:pt x="121944" y="30812"/>
                  </a:lnTo>
                  <a:lnTo>
                    <a:pt x="122625" y="29863"/>
                  </a:lnTo>
                  <a:lnTo>
                    <a:pt x="123543" y="28219"/>
                  </a:lnTo>
                  <a:lnTo>
                    <a:pt x="124449" y="27038"/>
                  </a:lnTo>
                  <a:lnTo>
                    <a:pt x="126014" y="25532"/>
                  </a:lnTo>
                  <a:lnTo>
                    <a:pt x="127385" y="24350"/>
                  </a:lnTo>
                  <a:lnTo>
                    <a:pt x="127851" y="23145"/>
                  </a:lnTo>
                  <a:lnTo>
                    <a:pt x="127851" y="21707"/>
                  </a:lnTo>
                  <a:lnTo>
                    <a:pt x="126868" y="20547"/>
                  </a:lnTo>
                  <a:lnTo>
                    <a:pt x="126176" y="18413"/>
                  </a:lnTo>
                  <a:lnTo>
                    <a:pt x="129027" y="17763"/>
                  </a:lnTo>
                  <a:lnTo>
                    <a:pt x="131532" y="17043"/>
                  </a:lnTo>
                  <a:lnTo>
                    <a:pt x="133821" y="16346"/>
                  </a:lnTo>
                  <a:lnTo>
                    <a:pt x="136564" y="15394"/>
                  </a:lnTo>
                  <a:lnTo>
                    <a:pt x="138614" y="15394"/>
                  </a:lnTo>
                  <a:lnTo>
                    <a:pt x="140213" y="15162"/>
                  </a:lnTo>
                  <a:lnTo>
                    <a:pt x="142502" y="15626"/>
                  </a:lnTo>
                  <a:lnTo>
                    <a:pt x="144779" y="15858"/>
                  </a:lnTo>
                  <a:lnTo>
                    <a:pt x="146378" y="16579"/>
                  </a:lnTo>
                  <a:lnTo>
                    <a:pt x="149120" y="17995"/>
                  </a:lnTo>
                  <a:lnTo>
                    <a:pt x="151408" y="18946"/>
                  </a:lnTo>
                  <a:lnTo>
                    <a:pt x="152780" y="18946"/>
                  </a:lnTo>
                  <a:lnTo>
                    <a:pt x="154248" y="18482"/>
                  </a:lnTo>
                  <a:lnTo>
                    <a:pt x="155491" y="17809"/>
                  </a:lnTo>
                  <a:lnTo>
                    <a:pt x="156246" y="17763"/>
                  </a:lnTo>
                  <a:lnTo>
                    <a:pt x="157391" y="18250"/>
                  </a:lnTo>
                  <a:lnTo>
                    <a:pt x="159173" y="19202"/>
                  </a:lnTo>
                  <a:lnTo>
                    <a:pt x="160996" y="19202"/>
                  </a:lnTo>
                  <a:lnTo>
                    <a:pt x="162821" y="18946"/>
                  </a:lnTo>
                  <a:lnTo>
                    <a:pt x="164192" y="17763"/>
                  </a:lnTo>
                  <a:lnTo>
                    <a:pt x="166481" y="15858"/>
                  </a:lnTo>
                  <a:lnTo>
                    <a:pt x="168306" y="14442"/>
                  </a:lnTo>
                  <a:lnTo>
                    <a:pt x="169948" y="13536"/>
                  </a:lnTo>
                  <a:lnTo>
                    <a:pt x="171276" y="13303"/>
                  </a:lnTo>
                  <a:lnTo>
                    <a:pt x="172766" y="13303"/>
                  </a:lnTo>
                  <a:lnTo>
                    <a:pt x="174472" y="13257"/>
                  </a:lnTo>
                  <a:lnTo>
                    <a:pt x="177214" y="13489"/>
                  </a:lnTo>
                  <a:lnTo>
                    <a:pt x="179039" y="13489"/>
                  </a:lnTo>
                  <a:lnTo>
                    <a:pt x="181534" y="13164"/>
                  </a:lnTo>
                  <a:lnTo>
                    <a:pt x="183617" y="12769"/>
                  </a:lnTo>
                  <a:lnTo>
                    <a:pt x="184524" y="12048"/>
                  </a:lnTo>
                  <a:lnTo>
                    <a:pt x="184524" y="11095"/>
                  </a:lnTo>
                  <a:lnTo>
                    <a:pt x="184070" y="9677"/>
                  </a:lnTo>
                  <a:lnTo>
                    <a:pt x="183574" y="8304"/>
                  </a:lnTo>
                  <a:lnTo>
                    <a:pt x="183444" y="7048"/>
                  </a:lnTo>
                  <a:lnTo>
                    <a:pt x="183747" y="5722"/>
                  </a:lnTo>
                  <a:lnTo>
                    <a:pt x="184070" y="4673"/>
                  </a:lnTo>
                  <a:lnTo>
                    <a:pt x="183845" y="2997"/>
                  </a:lnTo>
                  <a:lnTo>
                    <a:pt x="183196" y="1016"/>
                  </a:lnTo>
                  <a:lnTo>
                    <a:pt x="183110" y="13"/>
                  </a:lnTo>
                  <a:lnTo>
                    <a:pt x="183109" y="0"/>
                  </a:lnTo>
                  <a:lnTo>
                    <a:pt x="186083" y="0"/>
                  </a:lnTo>
                  <a:lnTo>
                    <a:pt x="186083" y="3965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01" name="ee4p_SD_1_37365">
              <a:extLst>
                <a:ext uri="{FF2B5EF4-FFF2-40B4-BE49-F238E27FC236}">
                  <a16:creationId xmlns:a16="http://schemas.microsoft.com/office/drawing/2014/main" id="{1EF9F376-E7E1-A79F-B92B-684F5C5269BF}"/>
                </a:ext>
              </a:extLst>
            </p:cNvPr>
            <p:cNvSpPr>
              <a:spLocks noChangeAspect="1"/>
            </p:cNvSpPr>
            <p:nvPr>
              <p:custDataLst>
                <p:tags r:id="rId355"/>
              </p:custDataLst>
            </p:nvPr>
          </p:nvSpPr>
          <p:spPr>
            <a:xfrm>
              <a:off x="7120774" y="4033960"/>
              <a:ext cx="466087" cy="395935"/>
            </a:xfrm>
            <a:custGeom>
              <a:avLst/>
              <a:gdLst/>
              <a:ahLst/>
              <a:cxnLst/>
              <a:rect l="0" t="0" r="0" b="0"/>
              <a:pathLst>
                <a:path w="371135" h="306917">
                  <a:moveTo>
                    <a:pt x="213186" y="2734"/>
                  </a:moveTo>
                  <a:lnTo>
                    <a:pt x="212480" y="4794"/>
                  </a:lnTo>
                  <a:lnTo>
                    <a:pt x="216619" y="4794"/>
                  </a:lnTo>
                  <a:lnTo>
                    <a:pt x="223875" y="4793"/>
                  </a:lnTo>
                  <a:lnTo>
                    <a:pt x="231128" y="4791"/>
                  </a:lnTo>
                  <a:lnTo>
                    <a:pt x="238386" y="4791"/>
                  </a:lnTo>
                  <a:lnTo>
                    <a:pt x="245639" y="4788"/>
                  </a:lnTo>
                  <a:lnTo>
                    <a:pt x="252895" y="4787"/>
                  </a:lnTo>
                  <a:lnTo>
                    <a:pt x="260150" y="4786"/>
                  </a:lnTo>
                  <a:lnTo>
                    <a:pt x="267406" y="4785"/>
                  </a:lnTo>
                  <a:lnTo>
                    <a:pt x="274659" y="4784"/>
                  </a:lnTo>
                  <a:lnTo>
                    <a:pt x="281914" y="4783"/>
                  </a:lnTo>
                  <a:lnTo>
                    <a:pt x="289170" y="4782"/>
                  </a:lnTo>
                  <a:lnTo>
                    <a:pt x="296426" y="4781"/>
                  </a:lnTo>
                  <a:lnTo>
                    <a:pt x="303681" y="4780"/>
                  </a:lnTo>
                  <a:lnTo>
                    <a:pt x="310934" y="4778"/>
                  </a:lnTo>
                  <a:lnTo>
                    <a:pt x="318192" y="4777"/>
                  </a:lnTo>
                  <a:lnTo>
                    <a:pt x="325446" y="4776"/>
                  </a:lnTo>
                  <a:lnTo>
                    <a:pt x="332701" y="4774"/>
                  </a:lnTo>
                  <a:lnTo>
                    <a:pt x="332950" y="10059"/>
                  </a:lnTo>
                  <a:lnTo>
                    <a:pt x="333930" y="14281"/>
                  </a:lnTo>
                  <a:lnTo>
                    <a:pt x="337340" y="20310"/>
                  </a:lnTo>
                  <a:lnTo>
                    <a:pt x="340227" y="23551"/>
                  </a:lnTo>
                  <a:lnTo>
                    <a:pt x="341263" y="25338"/>
                  </a:lnTo>
                  <a:lnTo>
                    <a:pt x="341365" y="26167"/>
                  </a:lnTo>
                  <a:lnTo>
                    <a:pt x="341233" y="26935"/>
                  </a:lnTo>
                  <a:lnTo>
                    <a:pt x="340354" y="26052"/>
                  </a:lnTo>
                  <a:lnTo>
                    <a:pt x="338875" y="25448"/>
                  </a:lnTo>
                  <a:lnTo>
                    <a:pt x="338665" y="28266"/>
                  </a:lnTo>
                  <a:lnTo>
                    <a:pt x="339013" y="30272"/>
                  </a:lnTo>
                  <a:lnTo>
                    <a:pt x="339363" y="34033"/>
                  </a:lnTo>
                  <a:lnTo>
                    <a:pt x="340576" y="38074"/>
                  </a:lnTo>
                  <a:lnTo>
                    <a:pt x="339700" y="41804"/>
                  </a:lnTo>
                  <a:lnTo>
                    <a:pt x="339816" y="48118"/>
                  </a:lnTo>
                  <a:lnTo>
                    <a:pt x="341352" y="55681"/>
                  </a:lnTo>
                  <a:lnTo>
                    <a:pt x="341038" y="60506"/>
                  </a:lnTo>
                  <a:lnTo>
                    <a:pt x="343539" y="71745"/>
                  </a:lnTo>
                  <a:lnTo>
                    <a:pt x="345966" y="77974"/>
                  </a:lnTo>
                  <a:lnTo>
                    <a:pt x="347301" y="79508"/>
                  </a:lnTo>
                  <a:lnTo>
                    <a:pt x="348800" y="80325"/>
                  </a:lnTo>
                  <a:lnTo>
                    <a:pt x="351682" y="80854"/>
                  </a:lnTo>
                  <a:lnTo>
                    <a:pt x="355930" y="84021"/>
                  </a:lnTo>
                  <a:lnTo>
                    <a:pt x="359294" y="87363"/>
                  </a:lnTo>
                  <a:lnTo>
                    <a:pt x="360490" y="89111"/>
                  </a:lnTo>
                  <a:lnTo>
                    <a:pt x="362118" y="91028"/>
                  </a:lnTo>
                  <a:lnTo>
                    <a:pt x="363233" y="90686"/>
                  </a:lnTo>
                  <a:lnTo>
                    <a:pt x="363917" y="90176"/>
                  </a:lnTo>
                  <a:lnTo>
                    <a:pt x="365019" y="91722"/>
                  </a:lnTo>
                  <a:lnTo>
                    <a:pt x="370350" y="95059"/>
                  </a:lnTo>
                  <a:lnTo>
                    <a:pt x="371134" y="96609"/>
                  </a:lnTo>
                  <a:lnTo>
                    <a:pt x="369218" y="98128"/>
                  </a:lnTo>
                  <a:lnTo>
                    <a:pt x="366999" y="100743"/>
                  </a:lnTo>
                  <a:lnTo>
                    <a:pt x="366440" y="101782"/>
                  </a:lnTo>
                  <a:lnTo>
                    <a:pt x="366183" y="102401"/>
                  </a:lnTo>
                  <a:lnTo>
                    <a:pt x="365921" y="103175"/>
                  </a:lnTo>
                  <a:lnTo>
                    <a:pt x="365338" y="103944"/>
                  </a:lnTo>
                  <a:lnTo>
                    <a:pt x="364066" y="105006"/>
                  </a:lnTo>
                  <a:lnTo>
                    <a:pt x="363568" y="105469"/>
                  </a:lnTo>
                  <a:lnTo>
                    <a:pt x="363263" y="106197"/>
                  </a:lnTo>
                  <a:lnTo>
                    <a:pt x="362501" y="106671"/>
                  </a:lnTo>
                  <a:lnTo>
                    <a:pt x="361672" y="106697"/>
                  </a:lnTo>
                  <a:lnTo>
                    <a:pt x="360942" y="107023"/>
                  </a:lnTo>
                  <a:lnTo>
                    <a:pt x="359845" y="107526"/>
                  </a:lnTo>
                  <a:lnTo>
                    <a:pt x="358216" y="107268"/>
                  </a:lnTo>
                  <a:lnTo>
                    <a:pt x="356554" y="107726"/>
                  </a:lnTo>
                  <a:lnTo>
                    <a:pt x="355945" y="108304"/>
                  </a:lnTo>
                  <a:lnTo>
                    <a:pt x="354627" y="108807"/>
                  </a:lnTo>
                  <a:lnTo>
                    <a:pt x="353308" y="108915"/>
                  </a:lnTo>
                  <a:lnTo>
                    <a:pt x="352846" y="109086"/>
                  </a:lnTo>
                  <a:lnTo>
                    <a:pt x="351598" y="109941"/>
                  </a:lnTo>
                  <a:lnTo>
                    <a:pt x="350067" y="111131"/>
                  </a:lnTo>
                  <a:lnTo>
                    <a:pt x="348281" y="111888"/>
                  </a:lnTo>
                  <a:lnTo>
                    <a:pt x="347651" y="112136"/>
                  </a:lnTo>
                  <a:lnTo>
                    <a:pt x="346826" y="112955"/>
                  </a:lnTo>
                  <a:lnTo>
                    <a:pt x="345560" y="117041"/>
                  </a:lnTo>
                  <a:lnTo>
                    <a:pt x="344634" y="118110"/>
                  </a:lnTo>
                  <a:lnTo>
                    <a:pt x="343073" y="118215"/>
                  </a:lnTo>
                  <a:lnTo>
                    <a:pt x="341047" y="118220"/>
                  </a:lnTo>
                  <a:lnTo>
                    <a:pt x="339294" y="118572"/>
                  </a:lnTo>
                  <a:lnTo>
                    <a:pt x="336906" y="118120"/>
                  </a:lnTo>
                  <a:lnTo>
                    <a:pt x="335744" y="118174"/>
                  </a:lnTo>
                  <a:lnTo>
                    <a:pt x="335439" y="119046"/>
                  </a:lnTo>
                  <a:lnTo>
                    <a:pt x="335010" y="122549"/>
                  </a:lnTo>
                  <a:lnTo>
                    <a:pt x="335074" y="124049"/>
                  </a:lnTo>
                  <a:lnTo>
                    <a:pt x="334124" y="125827"/>
                  </a:lnTo>
                  <a:lnTo>
                    <a:pt x="333064" y="128048"/>
                  </a:lnTo>
                  <a:lnTo>
                    <a:pt x="333455" y="131799"/>
                  </a:lnTo>
                  <a:lnTo>
                    <a:pt x="333638" y="135507"/>
                  </a:lnTo>
                  <a:lnTo>
                    <a:pt x="331695" y="141086"/>
                  </a:lnTo>
                  <a:lnTo>
                    <a:pt x="331421" y="142364"/>
                  </a:lnTo>
                  <a:lnTo>
                    <a:pt x="329453" y="146786"/>
                  </a:lnTo>
                  <a:lnTo>
                    <a:pt x="328452" y="148428"/>
                  </a:lnTo>
                  <a:lnTo>
                    <a:pt x="325949" y="156676"/>
                  </a:lnTo>
                  <a:lnTo>
                    <a:pt x="324971" y="159210"/>
                  </a:lnTo>
                  <a:lnTo>
                    <a:pt x="322869" y="161880"/>
                  </a:lnTo>
                  <a:lnTo>
                    <a:pt x="323343" y="166221"/>
                  </a:lnTo>
                  <a:lnTo>
                    <a:pt x="323843" y="170822"/>
                  </a:lnTo>
                  <a:lnTo>
                    <a:pt x="324318" y="175161"/>
                  </a:lnTo>
                  <a:lnTo>
                    <a:pt x="325027" y="181649"/>
                  </a:lnTo>
                  <a:lnTo>
                    <a:pt x="323250" y="187701"/>
                  </a:lnTo>
                  <a:lnTo>
                    <a:pt x="323319" y="191000"/>
                  </a:lnTo>
                  <a:lnTo>
                    <a:pt x="322071" y="195865"/>
                  </a:lnTo>
                  <a:lnTo>
                    <a:pt x="321090" y="198112"/>
                  </a:lnTo>
                  <a:lnTo>
                    <a:pt x="320218" y="199449"/>
                  </a:lnTo>
                  <a:lnTo>
                    <a:pt x="319482" y="200824"/>
                  </a:lnTo>
                  <a:lnTo>
                    <a:pt x="318125" y="203855"/>
                  </a:lnTo>
                  <a:lnTo>
                    <a:pt x="316974" y="207853"/>
                  </a:lnTo>
                  <a:lnTo>
                    <a:pt x="316465" y="211949"/>
                  </a:lnTo>
                  <a:lnTo>
                    <a:pt x="316426" y="214327"/>
                  </a:lnTo>
                  <a:lnTo>
                    <a:pt x="316201" y="215412"/>
                  </a:lnTo>
                  <a:lnTo>
                    <a:pt x="315810" y="216098"/>
                  </a:lnTo>
                  <a:lnTo>
                    <a:pt x="313159" y="216551"/>
                  </a:lnTo>
                  <a:lnTo>
                    <a:pt x="309466" y="217033"/>
                  </a:lnTo>
                  <a:lnTo>
                    <a:pt x="307475" y="217568"/>
                  </a:lnTo>
                  <a:lnTo>
                    <a:pt x="306141" y="218406"/>
                  </a:lnTo>
                  <a:lnTo>
                    <a:pt x="304502" y="220347"/>
                  </a:lnTo>
                  <a:lnTo>
                    <a:pt x="301263" y="225661"/>
                  </a:lnTo>
                  <a:lnTo>
                    <a:pt x="299563" y="228915"/>
                  </a:lnTo>
                  <a:lnTo>
                    <a:pt x="296903" y="233368"/>
                  </a:lnTo>
                  <a:lnTo>
                    <a:pt x="293804" y="236518"/>
                  </a:lnTo>
                  <a:lnTo>
                    <a:pt x="293150" y="238048"/>
                  </a:lnTo>
                  <a:lnTo>
                    <a:pt x="292640" y="240899"/>
                  </a:lnTo>
                  <a:lnTo>
                    <a:pt x="291496" y="245406"/>
                  </a:lnTo>
                  <a:lnTo>
                    <a:pt x="290453" y="248611"/>
                  </a:lnTo>
                  <a:lnTo>
                    <a:pt x="290638" y="251185"/>
                  </a:lnTo>
                  <a:lnTo>
                    <a:pt x="289661" y="255653"/>
                  </a:lnTo>
                  <a:lnTo>
                    <a:pt x="289805" y="257830"/>
                  </a:lnTo>
                  <a:lnTo>
                    <a:pt x="288719" y="259043"/>
                  </a:lnTo>
                  <a:lnTo>
                    <a:pt x="287257" y="260192"/>
                  </a:lnTo>
                  <a:lnTo>
                    <a:pt x="286264" y="260483"/>
                  </a:lnTo>
                  <a:lnTo>
                    <a:pt x="284134" y="259169"/>
                  </a:lnTo>
                  <a:lnTo>
                    <a:pt x="282515" y="257835"/>
                  </a:lnTo>
                  <a:lnTo>
                    <a:pt x="281854" y="257486"/>
                  </a:lnTo>
                  <a:lnTo>
                    <a:pt x="280442" y="258320"/>
                  </a:lnTo>
                  <a:lnTo>
                    <a:pt x="278749" y="259551"/>
                  </a:lnTo>
                  <a:lnTo>
                    <a:pt x="276814" y="262440"/>
                  </a:lnTo>
                  <a:lnTo>
                    <a:pt x="275305" y="265358"/>
                  </a:lnTo>
                  <a:lnTo>
                    <a:pt x="276171" y="271538"/>
                  </a:lnTo>
                  <a:lnTo>
                    <a:pt x="276091" y="272895"/>
                  </a:lnTo>
                  <a:lnTo>
                    <a:pt x="275654" y="274371"/>
                  </a:lnTo>
                  <a:lnTo>
                    <a:pt x="273305" y="278976"/>
                  </a:lnTo>
                  <a:lnTo>
                    <a:pt x="272726" y="280430"/>
                  </a:lnTo>
                  <a:lnTo>
                    <a:pt x="271869" y="283192"/>
                  </a:lnTo>
                  <a:lnTo>
                    <a:pt x="270962" y="288016"/>
                  </a:lnTo>
                  <a:lnTo>
                    <a:pt x="270936" y="289175"/>
                  </a:lnTo>
                  <a:lnTo>
                    <a:pt x="270936" y="289175"/>
                  </a:lnTo>
                  <a:lnTo>
                    <a:pt x="270906" y="289175"/>
                  </a:lnTo>
                  <a:lnTo>
                    <a:pt x="266797" y="289159"/>
                  </a:lnTo>
                  <a:lnTo>
                    <a:pt x="266730" y="289130"/>
                  </a:lnTo>
                  <a:lnTo>
                    <a:pt x="266663" y="289066"/>
                  </a:lnTo>
                  <a:lnTo>
                    <a:pt x="266602" y="288959"/>
                  </a:lnTo>
                  <a:lnTo>
                    <a:pt x="266529" y="288813"/>
                  </a:lnTo>
                  <a:lnTo>
                    <a:pt x="266367" y="288179"/>
                  </a:lnTo>
                  <a:lnTo>
                    <a:pt x="266285" y="287193"/>
                  </a:lnTo>
                  <a:lnTo>
                    <a:pt x="266423" y="285488"/>
                  </a:lnTo>
                  <a:lnTo>
                    <a:pt x="266885" y="283461"/>
                  </a:lnTo>
                  <a:lnTo>
                    <a:pt x="268306" y="280612"/>
                  </a:lnTo>
                  <a:lnTo>
                    <a:pt x="268380" y="280376"/>
                  </a:lnTo>
                  <a:lnTo>
                    <a:pt x="268397" y="280243"/>
                  </a:lnTo>
                  <a:lnTo>
                    <a:pt x="268397" y="280089"/>
                  </a:lnTo>
                  <a:lnTo>
                    <a:pt x="268265" y="279581"/>
                  </a:lnTo>
                  <a:lnTo>
                    <a:pt x="268101" y="279141"/>
                  </a:lnTo>
                  <a:lnTo>
                    <a:pt x="268019" y="278476"/>
                  </a:lnTo>
                  <a:lnTo>
                    <a:pt x="268265" y="276997"/>
                  </a:lnTo>
                  <a:lnTo>
                    <a:pt x="268289" y="276538"/>
                  </a:lnTo>
                  <a:lnTo>
                    <a:pt x="268254" y="275947"/>
                  </a:lnTo>
                  <a:lnTo>
                    <a:pt x="268144" y="275573"/>
                  </a:lnTo>
                  <a:lnTo>
                    <a:pt x="267153" y="273105"/>
                  </a:lnTo>
                  <a:lnTo>
                    <a:pt x="266825" y="272713"/>
                  </a:lnTo>
                  <a:lnTo>
                    <a:pt x="257248" y="264851"/>
                  </a:lnTo>
                  <a:lnTo>
                    <a:pt x="255497" y="262719"/>
                  </a:lnTo>
                  <a:lnTo>
                    <a:pt x="255309" y="262572"/>
                  </a:lnTo>
                  <a:lnTo>
                    <a:pt x="255073" y="262459"/>
                  </a:lnTo>
                  <a:lnTo>
                    <a:pt x="250211" y="260668"/>
                  </a:lnTo>
                  <a:lnTo>
                    <a:pt x="249973" y="260488"/>
                  </a:lnTo>
                  <a:lnTo>
                    <a:pt x="250003" y="260225"/>
                  </a:lnTo>
                  <a:lnTo>
                    <a:pt x="250154" y="259884"/>
                  </a:lnTo>
                  <a:lnTo>
                    <a:pt x="250740" y="258850"/>
                  </a:lnTo>
                  <a:lnTo>
                    <a:pt x="250821" y="258576"/>
                  </a:lnTo>
                  <a:lnTo>
                    <a:pt x="250904" y="258157"/>
                  </a:lnTo>
                  <a:lnTo>
                    <a:pt x="248712" y="241561"/>
                  </a:lnTo>
                  <a:lnTo>
                    <a:pt x="248718" y="241234"/>
                  </a:lnTo>
                  <a:lnTo>
                    <a:pt x="248818" y="241017"/>
                  </a:lnTo>
                  <a:lnTo>
                    <a:pt x="248900" y="240884"/>
                  </a:lnTo>
                  <a:lnTo>
                    <a:pt x="249189" y="240531"/>
                  </a:lnTo>
                  <a:lnTo>
                    <a:pt x="249442" y="240164"/>
                  </a:lnTo>
                  <a:lnTo>
                    <a:pt x="249731" y="239524"/>
                  </a:lnTo>
                  <a:lnTo>
                    <a:pt x="249804" y="239283"/>
                  </a:lnTo>
                  <a:lnTo>
                    <a:pt x="250107" y="236315"/>
                  </a:lnTo>
                  <a:lnTo>
                    <a:pt x="250083" y="233714"/>
                  </a:lnTo>
                  <a:lnTo>
                    <a:pt x="251366" y="229376"/>
                  </a:lnTo>
                  <a:lnTo>
                    <a:pt x="251504" y="227531"/>
                  </a:lnTo>
                  <a:lnTo>
                    <a:pt x="240947" y="227400"/>
                  </a:lnTo>
                  <a:lnTo>
                    <a:pt x="240882" y="227495"/>
                  </a:lnTo>
                  <a:lnTo>
                    <a:pt x="240873" y="227609"/>
                  </a:lnTo>
                  <a:lnTo>
                    <a:pt x="240901" y="227739"/>
                  </a:lnTo>
                  <a:lnTo>
                    <a:pt x="240917" y="227878"/>
                  </a:lnTo>
                  <a:lnTo>
                    <a:pt x="240908" y="228169"/>
                  </a:lnTo>
                  <a:lnTo>
                    <a:pt x="240824" y="228707"/>
                  </a:lnTo>
                  <a:lnTo>
                    <a:pt x="240802" y="228991"/>
                  </a:lnTo>
                  <a:lnTo>
                    <a:pt x="240813" y="229281"/>
                  </a:lnTo>
                  <a:lnTo>
                    <a:pt x="240973" y="230320"/>
                  </a:lnTo>
                  <a:lnTo>
                    <a:pt x="241251" y="231103"/>
                  </a:lnTo>
                  <a:lnTo>
                    <a:pt x="241296" y="231363"/>
                  </a:lnTo>
                  <a:lnTo>
                    <a:pt x="241310" y="231648"/>
                  </a:lnTo>
                  <a:lnTo>
                    <a:pt x="241275" y="232188"/>
                  </a:lnTo>
                  <a:lnTo>
                    <a:pt x="226583" y="232254"/>
                  </a:lnTo>
                  <a:lnTo>
                    <a:pt x="232400" y="238771"/>
                  </a:lnTo>
                  <a:lnTo>
                    <a:pt x="232469" y="238904"/>
                  </a:lnTo>
                  <a:lnTo>
                    <a:pt x="232571" y="239258"/>
                  </a:lnTo>
                  <a:lnTo>
                    <a:pt x="232611" y="239518"/>
                  </a:lnTo>
                  <a:lnTo>
                    <a:pt x="232722" y="241810"/>
                  </a:lnTo>
                  <a:lnTo>
                    <a:pt x="232409" y="245435"/>
                  </a:lnTo>
                  <a:lnTo>
                    <a:pt x="232478" y="247765"/>
                  </a:lnTo>
                  <a:lnTo>
                    <a:pt x="232817" y="249279"/>
                  </a:lnTo>
                  <a:lnTo>
                    <a:pt x="234391" y="252255"/>
                  </a:lnTo>
                  <a:lnTo>
                    <a:pt x="234289" y="252811"/>
                  </a:lnTo>
                  <a:lnTo>
                    <a:pt x="233920" y="253512"/>
                  </a:lnTo>
                  <a:lnTo>
                    <a:pt x="223503" y="262354"/>
                  </a:lnTo>
                  <a:lnTo>
                    <a:pt x="223214" y="262771"/>
                  </a:lnTo>
                  <a:lnTo>
                    <a:pt x="221763" y="266455"/>
                  </a:lnTo>
                  <a:lnTo>
                    <a:pt x="220385" y="268598"/>
                  </a:lnTo>
                  <a:lnTo>
                    <a:pt x="219772" y="269211"/>
                  </a:lnTo>
                  <a:lnTo>
                    <a:pt x="217353" y="272218"/>
                  </a:lnTo>
                  <a:lnTo>
                    <a:pt x="207845" y="281639"/>
                  </a:lnTo>
                  <a:lnTo>
                    <a:pt x="206288" y="282271"/>
                  </a:lnTo>
                  <a:lnTo>
                    <a:pt x="201553" y="282529"/>
                  </a:lnTo>
                  <a:lnTo>
                    <a:pt x="199048" y="282597"/>
                  </a:lnTo>
                  <a:lnTo>
                    <a:pt x="198763" y="282668"/>
                  </a:lnTo>
                  <a:lnTo>
                    <a:pt x="198338" y="282831"/>
                  </a:lnTo>
                  <a:lnTo>
                    <a:pt x="198077" y="283074"/>
                  </a:lnTo>
                  <a:lnTo>
                    <a:pt x="197768" y="283256"/>
                  </a:lnTo>
                  <a:lnTo>
                    <a:pt x="197463" y="283158"/>
                  </a:lnTo>
                  <a:lnTo>
                    <a:pt x="197109" y="282902"/>
                  </a:lnTo>
                  <a:lnTo>
                    <a:pt x="191255" y="277627"/>
                  </a:lnTo>
                  <a:lnTo>
                    <a:pt x="180827" y="270961"/>
                  </a:lnTo>
                  <a:lnTo>
                    <a:pt x="179830" y="271568"/>
                  </a:lnTo>
                  <a:lnTo>
                    <a:pt x="173928" y="274434"/>
                  </a:lnTo>
                  <a:lnTo>
                    <a:pt x="172710" y="275178"/>
                  </a:lnTo>
                  <a:lnTo>
                    <a:pt x="172036" y="275704"/>
                  </a:lnTo>
                  <a:lnTo>
                    <a:pt x="172002" y="278912"/>
                  </a:lnTo>
                  <a:lnTo>
                    <a:pt x="170974" y="280544"/>
                  </a:lnTo>
                  <a:lnTo>
                    <a:pt x="169111" y="282323"/>
                  </a:lnTo>
                  <a:lnTo>
                    <a:pt x="164008" y="283451"/>
                  </a:lnTo>
                  <a:lnTo>
                    <a:pt x="161354" y="284419"/>
                  </a:lnTo>
                  <a:lnTo>
                    <a:pt x="158639" y="285859"/>
                  </a:lnTo>
                  <a:lnTo>
                    <a:pt x="158197" y="286219"/>
                  </a:lnTo>
                  <a:lnTo>
                    <a:pt x="158197" y="286215"/>
                  </a:lnTo>
                  <a:lnTo>
                    <a:pt x="157152" y="287213"/>
                  </a:lnTo>
                  <a:lnTo>
                    <a:pt x="155098" y="289229"/>
                  </a:lnTo>
                  <a:lnTo>
                    <a:pt x="154876" y="290797"/>
                  </a:lnTo>
                  <a:lnTo>
                    <a:pt x="155211" y="292196"/>
                  </a:lnTo>
                  <a:lnTo>
                    <a:pt x="137618" y="292139"/>
                  </a:lnTo>
                  <a:lnTo>
                    <a:pt x="136454" y="291020"/>
                  </a:lnTo>
                  <a:lnTo>
                    <a:pt x="134012" y="286093"/>
                  </a:lnTo>
                  <a:lnTo>
                    <a:pt x="133902" y="286050"/>
                  </a:lnTo>
                  <a:lnTo>
                    <a:pt x="132109" y="286356"/>
                  </a:lnTo>
                  <a:lnTo>
                    <a:pt x="116065" y="285777"/>
                  </a:lnTo>
                  <a:lnTo>
                    <a:pt x="113772" y="286294"/>
                  </a:lnTo>
                  <a:lnTo>
                    <a:pt x="109187" y="288334"/>
                  </a:lnTo>
                  <a:lnTo>
                    <a:pt x="106877" y="288670"/>
                  </a:lnTo>
                  <a:lnTo>
                    <a:pt x="104504" y="287740"/>
                  </a:lnTo>
                  <a:lnTo>
                    <a:pt x="96061" y="277918"/>
                  </a:lnTo>
                  <a:lnTo>
                    <a:pt x="94236" y="276745"/>
                  </a:lnTo>
                  <a:lnTo>
                    <a:pt x="93573" y="276113"/>
                  </a:lnTo>
                  <a:lnTo>
                    <a:pt x="92325" y="274401"/>
                  </a:lnTo>
                  <a:lnTo>
                    <a:pt x="90524" y="273376"/>
                  </a:lnTo>
                  <a:lnTo>
                    <a:pt x="89913" y="272629"/>
                  </a:lnTo>
                  <a:lnTo>
                    <a:pt x="89721" y="271582"/>
                  </a:lnTo>
                  <a:lnTo>
                    <a:pt x="89775" y="269427"/>
                  </a:lnTo>
                  <a:lnTo>
                    <a:pt x="89177" y="268077"/>
                  </a:lnTo>
                  <a:lnTo>
                    <a:pt x="87846" y="267763"/>
                  </a:lnTo>
                  <a:lnTo>
                    <a:pt x="76505" y="270043"/>
                  </a:lnTo>
                  <a:lnTo>
                    <a:pt x="74881" y="269788"/>
                  </a:lnTo>
                  <a:lnTo>
                    <a:pt x="72499" y="270192"/>
                  </a:lnTo>
                  <a:lnTo>
                    <a:pt x="71681" y="270595"/>
                  </a:lnTo>
                  <a:lnTo>
                    <a:pt x="70722" y="271891"/>
                  </a:lnTo>
                  <a:lnTo>
                    <a:pt x="70528" y="273229"/>
                  </a:lnTo>
                  <a:lnTo>
                    <a:pt x="70558" y="274584"/>
                  </a:lnTo>
                  <a:lnTo>
                    <a:pt x="70265" y="275923"/>
                  </a:lnTo>
                  <a:lnTo>
                    <a:pt x="69401" y="277406"/>
                  </a:lnTo>
                  <a:lnTo>
                    <a:pt x="66168" y="280738"/>
                  </a:lnTo>
                  <a:lnTo>
                    <a:pt x="65451" y="282188"/>
                  </a:lnTo>
                  <a:lnTo>
                    <a:pt x="65604" y="285856"/>
                  </a:lnTo>
                  <a:lnTo>
                    <a:pt x="65393" y="287706"/>
                  </a:lnTo>
                  <a:lnTo>
                    <a:pt x="64901" y="288564"/>
                  </a:lnTo>
                  <a:lnTo>
                    <a:pt x="63493" y="289974"/>
                  </a:lnTo>
                  <a:lnTo>
                    <a:pt x="62983" y="290786"/>
                  </a:lnTo>
                  <a:lnTo>
                    <a:pt x="62746" y="291927"/>
                  </a:lnTo>
                  <a:lnTo>
                    <a:pt x="62668" y="294340"/>
                  </a:lnTo>
                  <a:lnTo>
                    <a:pt x="62417" y="295473"/>
                  </a:lnTo>
                  <a:lnTo>
                    <a:pt x="60653" y="298313"/>
                  </a:lnTo>
                  <a:lnTo>
                    <a:pt x="60237" y="299314"/>
                  </a:lnTo>
                  <a:lnTo>
                    <a:pt x="60135" y="301363"/>
                  </a:lnTo>
                  <a:lnTo>
                    <a:pt x="59850" y="301986"/>
                  </a:lnTo>
                  <a:lnTo>
                    <a:pt x="54726" y="303605"/>
                  </a:lnTo>
                  <a:lnTo>
                    <a:pt x="52810" y="304639"/>
                  </a:lnTo>
                  <a:lnTo>
                    <a:pt x="51636" y="306233"/>
                  </a:lnTo>
                  <a:lnTo>
                    <a:pt x="51346" y="306916"/>
                  </a:lnTo>
                  <a:lnTo>
                    <a:pt x="51346" y="306916"/>
                  </a:lnTo>
                  <a:lnTo>
                    <a:pt x="49152" y="306344"/>
                  </a:lnTo>
                  <a:lnTo>
                    <a:pt x="46362" y="305934"/>
                  </a:lnTo>
                  <a:lnTo>
                    <a:pt x="40996" y="305427"/>
                  </a:lnTo>
                  <a:lnTo>
                    <a:pt x="38872" y="304684"/>
                  </a:lnTo>
                  <a:lnTo>
                    <a:pt x="37857" y="303570"/>
                  </a:lnTo>
                  <a:lnTo>
                    <a:pt x="38178" y="300731"/>
                  </a:lnTo>
                  <a:lnTo>
                    <a:pt x="37651" y="300120"/>
                  </a:lnTo>
                  <a:lnTo>
                    <a:pt x="36790" y="299615"/>
                  </a:lnTo>
                  <a:lnTo>
                    <a:pt x="36209" y="298385"/>
                  </a:lnTo>
                  <a:lnTo>
                    <a:pt x="36330" y="296908"/>
                  </a:lnTo>
                  <a:lnTo>
                    <a:pt x="39156" y="293627"/>
                  </a:lnTo>
                  <a:lnTo>
                    <a:pt x="39744" y="291871"/>
                  </a:lnTo>
                  <a:lnTo>
                    <a:pt x="40189" y="285775"/>
                  </a:lnTo>
                  <a:lnTo>
                    <a:pt x="40487" y="283623"/>
                  </a:lnTo>
                  <a:lnTo>
                    <a:pt x="40266" y="281111"/>
                  </a:lnTo>
                  <a:lnTo>
                    <a:pt x="38027" y="276485"/>
                  </a:lnTo>
                  <a:lnTo>
                    <a:pt x="36073" y="273265"/>
                  </a:lnTo>
                  <a:lnTo>
                    <a:pt x="32881" y="268491"/>
                  </a:lnTo>
                  <a:lnTo>
                    <a:pt x="31633" y="266930"/>
                  </a:lnTo>
                  <a:lnTo>
                    <a:pt x="25188" y="260357"/>
                  </a:lnTo>
                  <a:lnTo>
                    <a:pt x="24445" y="259384"/>
                  </a:lnTo>
                  <a:lnTo>
                    <a:pt x="22881" y="256602"/>
                  </a:lnTo>
                  <a:lnTo>
                    <a:pt x="23650" y="254156"/>
                  </a:lnTo>
                  <a:lnTo>
                    <a:pt x="24598" y="250507"/>
                  </a:lnTo>
                  <a:lnTo>
                    <a:pt x="24710" y="248825"/>
                  </a:lnTo>
                  <a:lnTo>
                    <a:pt x="24265" y="247085"/>
                  </a:lnTo>
                  <a:lnTo>
                    <a:pt x="22637" y="245778"/>
                  </a:lnTo>
                  <a:lnTo>
                    <a:pt x="21186" y="245628"/>
                  </a:lnTo>
                  <a:lnTo>
                    <a:pt x="20536" y="244959"/>
                  </a:lnTo>
                  <a:lnTo>
                    <a:pt x="19284" y="243999"/>
                  </a:lnTo>
                  <a:lnTo>
                    <a:pt x="18038" y="243254"/>
                  </a:lnTo>
                  <a:lnTo>
                    <a:pt x="16934" y="241822"/>
                  </a:lnTo>
                  <a:lnTo>
                    <a:pt x="16166" y="239813"/>
                  </a:lnTo>
                  <a:lnTo>
                    <a:pt x="16710" y="232626"/>
                  </a:lnTo>
                  <a:lnTo>
                    <a:pt x="16343" y="231665"/>
                  </a:lnTo>
                  <a:lnTo>
                    <a:pt x="14695" y="231401"/>
                  </a:lnTo>
                  <a:lnTo>
                    <a:pt x="14311" y="230885"/>
                  </a:lnTo>
                  <a:lnTo>
                    <a:pt x="14377" y="229506"/>
                  </a:lnTo>
                  <a:lnTo>
                    <a:pt x="13488" y="225407"/>
                  </a:lnTo>
                  <a:lnTo>
                    <a:pt x="12492" y="222016"/>
                  </a:lnTo>
                  <a:lnTo>
                    <a:pt x="13028" y="220143"/>
                  </a:lnTo>
                  <a:lnTo>
                    <a:pt x="11655" y="217582"/>
                  </a:lnTo>
                  <a:lnTo>
                    <a:pt x="9025" y="216480"/>
                  </a:lnTo>
                  <a:lnTo>
                    <a:pt x="6543" y="216815"/>
                  </a:lnTo>
                  <a:lnTo>
                    <a:pt x="3878" y="217325"/>
                  </a:lnTo>
                  <a:lnTo>
                    <a:pt x="2274" y="217184"/>
                  </a:lnTo>
                  <a:lnTo>
                    <a:pt x="1168" y="216707"/>
                  </a:lnTo>
                  <a:lnTo>
                    <a:pt x="400" y="215767"/>
                  </a:lnTo>
                  <a:lnTo>
                    <a:pt x="0" y="214659"/>
                  </a:lnTo>
                  <a:lnTo>
                    <a:pt x="365" y="212991"/>
                  </a:lnTo>
                  <a:lnTo>
                    <a:pt x="1823" y="209929"/>
                  </a:lnTo>
                  <a:lnTo>
                    <a:pt x="3647" y="207409"/>
                  </a:lnTo>
                  <a:lnTo>
                    <a:pt x="7357" y="205115"/>
                  </a:lnTo>
                  <a:lnTo>
                    <a:pt x="8344" y="203894"/>
                  </a:lnTo>
                  <a:lnTo>
                    <a:pt x="8908" y="202538"/>
                  </a:lnTo>
                  <a:lnTo>
                    <a:pt x="9007" y="200981"/>
                  </a:lnTo>
                  <a:lnTo>
                    <a:pt x="8759" y="199342"/>
                  </a:lnTo>
                  <a:lnTo>
                    <a:pt x="8338" y="197846"/>
                  </a:lnTo>
                  <a:lnTo>
                    <a:pt x="7245" y="195857"/>
                  </a:lnTo>
                  <a:lnTo>
                    <a:pt x="6243" y="193517"/>
                  </a:lnTo>
                  <a:lnTo>
                    <a:pt x="6217" y="191951"/>
                  </a:lnTo>
                  <a:lnTo>
                    <a:pt x="6699" y="190817"/>
                  </a:lnTo>
                  <a:lnTo>
                    <a:pt x="7692" y="189455"/>
                  </a:lnTo>
                  <a:lnTo>
                    <a:pt x="9659" y="187920"/>
                  </a:lnTo>
                  <a:lnTo>
                    <a:pt x="10132" y="187613"/>
                  </a:lnTo>
                  <a:lnTo>
                    <a:pt x="11367" y="186790"/>
                  </a:lnTo>
                  <a:lnTo>
                    <a:pt x="12447" y="186189"/>
                  </a:lnTo>
                  <a:lnTo>
                    <a:pt x="15140" y="184567"/>
                  </a:lnTo>
                  <a:lnTo>
                    <a:pt x="15773" y="183791"/>
                  </a:lnTo>
                  <a:lnTo>
                    <a:pt x="15544" y="182858"/>
                  </a:lnTo>
                  <a:lnTo>
                    <a:pt x="14883" y="182095"/>
                  </a:lnTo>
                  <a:lnTo>
                    <a:pt x="13799" y="181031"/>
                  </a:lnTo>
                  <a:lnTo>
                    <a:pt x="13579" y="179724"/>
                  </a:lnTo>
                  <a:lnTo>
                    <a:pt x="13261" y="177488"/>
                  </a:lnTo>
                  <a:lnTo>
                    <a:pt x="12702" y="176067"/>
                  </a:lnTo>
                  <a:lnTo>
                    <a:pt x="12300" y="175022"/>
                  </a:lnTo>
                  <a:lnTo>
                    <a:pt x="13067" y="174238"/>
                  </a:lnTo>
                  <a:lnTo>
                    <a:pt x="14207" y="173151"/>
                  </a:lnTo>
                  <a:lnTo>
                    <a:pt x="15628" y="172487"/>
                  </a:lnTo>
                  <a:lnTo>
                    <a:pt x="17834" y="171915"/>
                  </a:lnTo>
                  <a:lnTo>
                    <a:pt x="18698" y="171138"/>
                  </a:lnTo>
                  <a:lnTo>
                    <a:pt x="18953" y="169644"/>
                  </a:lnTo>
                  <a:lnTo>
                    <a:pt x="18882" y="168224"/>
                  </a:lnTo>
                  <a:lnTo>
                    <a:pt x="19672" y="167163"/>
                  </a:lnTo>
                  <a:lnTo>
                    <a:pt x="20741" y="164896"/>
                  </a:lnTo>
                  <a:lnTo>
                    <a:pt x="21601" y="163862"/>
                  </a:lnTo>
                  <a:lnTo>
                    <a:pt x="23039" y="162682"/>
                  </a:lnTo>
                  <a:lnTo>
                    <a:pt x="24479" y="161201"/>
                  </a:lnTo>
                  <a:lnTo>
                    <a:pt x="25120" y="159482"/>
                  </a:lnTo>
                  <a:lnTo>
                    <a:pt x="25302" y="157826"/>
                  </a:lnTo>
                  <a:lnTo>
                    <a:pt x="24514" y="152806"/>
                  </a:lnTo>
                  <a:lnTo>
                    <a:pt x="26179" y="150706"/>
                  </a:lnTo>
                  <a:lnTo>
                    <a:pt x="28301" y="148968"/>
                  </a:lnTo>
                  <a:lnTo>
                    <a:pt x="31359" y="149089"/>
                  </a:lnTo>
                  <a:lnTo>
                    <a:pt x="36103" y="148709"/>
                  </a:lnTo>
                  <a:lnTo>
                    <a:pt x="39331" y="147984"/>
                  </a:lnTo>
                  <a:lnTo>
                    <a:pt x="41635" y="148007"/>
                  </a:lnTo>
                  <a:lnTo>
                    <a:pt x="46894" y="148946"/>
                  </a:lnTo>
                  <a:lnTo>
                    <a:pt x="47319" y="148721"/>
                  </a:lnTo>
                  <a:lnTo>
                    <a:pt x="47442" y="148538"/>
                  </a:lnTo>
                  <a:lnTo>
                    <a:pt x="47721" y="147209"/>
                  </a:lnTo>
                  <a:lnTo>
                    <a:pt x="47718" y="143856"/>
                  </a:lnTo>
                  <a:lnTo>
                    <a:pt x="47710" y="133736"/>
                  </a:lnTo>
                  <a:lnTo>
                    <a:pt x="47701" y="123602"/>
                  </a:lnTo>
                  <a:lnTo>
                    <a:pt x="47695" y="113452"/>
                  </a:lnTo>
                  <a:lnTo>
                    <a:pt x="47686" y="103287"/>
                  </a:lnTo>
                  <a:lnTo>
                    <a:pt x="47677" y="93105"/>
                  </a:lnTo>
                  <a:lnTo>
                    <a:pt x="47669" y="82908"/>
                  </a:lnTo>
                  <a:lnTo>
                    <a:pt x="47660" y="72694"/>
                  </a:lnTo>
                  <a:lnTo>
                    <a:pt x="47652" y="62463"/>
                  </a:lnTo>
                  <a:lnTo>
                    <a:pt x="47652" y="59596"/>
                  </a:lnTo>
                  <a:lnTo>
                    <a:pt x="47652" y="56729"/>
                  </a:lnTo>
                  <a:lnTo>
                    <a:pt x="47652" y="53860"/>
                  </a:lnTo>
                  <a:lnTo>
                    <a:pt x="47652" y="50989"/>
                  </a:lnTo>
                  <a:lnTo>
                    <a:pt x="53106" y="50991"/>
                  </a:lnTo>
                  <a:lnTo>
                    <a:pt x="58561" y="50995"/>
                  </a:lnTo>
                  <a:lnTo>
                    <a:pt x="64017" y="50998"/>
                  </a:lnTo>
                  <a:lnTo>
                    <a:pt x="69470" y="51000"/>
                  </a:lnTo>
                  <a:lnTo>
                    <a:pt x="69541" y="50958"/>
                  </a:lnTo>
                  <a:lnTo>
                    <a:pt x="69608" y="50918"/>
                  </a:lnTo>
                  <a:lnTo>
                    <a:pt x="69677" y="50877"/>
                  </a:lnTo>
                  <a:lnTo>
                    <a:pt x="69746" y="50836"/>
                  </a:lnTo>
                  <a:lnTo>
                    <a:pt x="69751" y="39361"/>
                  </a:lnTo>
                  <a:lnTo>
                    <a:pt x="69755" y="27863"/>
                  </a:lnTo>
                  <a:lnTo>
                    <a:pt x="69759" y="16341"/>
                  </a:lnTo>
                  <a:lnTo>
                    <a:pt x="69763" y="4794"/>
                  </a:lnTo>
                  <a:lnTo>
                    <a:pt x="78211" y="4795"/>
                  </a:lnTo>
                  <a:lnTo>
                    <a:pt x="86659" y="4797"/>
                  </a:lnTo>
                  <a:lnTo>
                    <a:pt x="95106" y="4798"/>
                  </a:lnTo>
                  <a:lnTo>
                    <a:pt x="103554" y="4800"/>
                  </a:lnTo>
                  <a:lnTo>
                    <a:pt x="112001" y="4801"/>
                  </a:lnTo>
                  <a:lnTo>
                    <a:pt x="120449" y="4802"/>
                  </a:lnTo>
                  <a:lnTo>
                    <a:pt x="128896" y="4803"/>
                  </a:lnTo>
                  <a:lnTo>
                    <a:pt x="137342" y="4805"/>
                  </a:lnTo>
                  <a:lnTo>
                    <a:pt x="145791" y="4807"/>
                  </a:lnTo>
                  <a:lnTo>
                    <a:pt x="154239" y="4808"/>
                  </a:lnTo>
                  <a:lnTo>
                    <a:pt x="162684" y="4809"/>
                  </a:lnTo>
                  <a:lnTo>
                    <a:pt x="171132" y="4811"/>
                  </a:lnTo>
                  <a:lnTo>
                    <a:pt x="179581" y="4811"/>
                  </a:lnTo>
                  <a:lnTo>
                    <a:pt x="188027" y="4814"/>
                  </a:lnTo>
                  <a:lnTo>
                    <a:pt x="196474" y="4816"/>
                  </a:lnTo>
                  <a:lnTo>
                    <a:pt x="204922" y="4817"/>
                  </a:lnTo>
                  <a:lnTo>
                    <a:pt x="207498" y="4817"/>
                  </a:lnTo>
                  <a:lnTo>
                    <a:pt x="208636" y="4645"/>
                  </a:lnTo>
                  <a:lnTo>
                    <a:pt x="210799" y="320"/>
                  </a:lnTo>
                  <a:lnTo>
                    <a:pt x="211724" y="0"/>
                  </a:lnTo>
                  <a:lnTo>
                    <a:pt x="213138" y="253"/>
                  </a:lnTo>
                  <a:lnTo>
                    <a:pt x="213622" y="1268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02" name="ee4p_SS_1_37365">
              <a:extLst>
                <a:ext uri="{FF2B5EF4-FFF2-40B4-BE49-F238E27FC236}">
                  <a16:creationId xmlns:a16="http://schemas.microsoft.com/office/drawing/2014/main" id="{D8AF1336-0CC7-E6D1-F0AD-26C4FF663A88}"/>
                </a:ext>
              </a:extLst>
            </p:cNvPr>
            <p:cNvSpPr>
              <a:spLocks noChangeAspect="1"/>
            </p:cNvSpPr>
            <p:nvPr>
              <p:custDataLst>
                <p:tags r:id="rId356"/>
              </p:custDataLst>
            </p:nvPr>
          </p:nvSpPr>
          <p:spPr>
            <a:xfrm>
              <a:off x="7185257" y="4327315"/>
              <a:ext cx="308824" cy="250761"/>
            </a:xfrm>
            <a:custGeom>
              <a:avLst/>
              <a:gdLst/>
              <a:ahLst/>
              <a:cxnLst/>
              <a:rect l="0" t="0" r="0" b="0"/>
              <a:pathLst>
                <a:path w="245910" h="194383">
                  <a:moveTo>
                    <a:pt x="216960" y="53212"/>
                  </a:moveTo>
                  <a:lnTo>
                    <a:pt x="215539" y="56061"/>
                  </a:lnTo>
                  <a:lnTo>
                    <a:pt x="215077" y="58088"/>
                  </a:lnTo>
                  <a:lnTo>
                    <a:pt x="214939" y="59793"/>
                  </a:lnTo>
                  <a:lnTo>
                    <a:pt x="215021" y="60779"/>
                  </a:lnTo>
                  <a:lnTo>
                    <a:pt x="215183" y="61413"/>
                  </a:lnTo>
                  <a:lnTo>
                    <a:pt x="215256" y="61559"/>
                  </a:lnTo>
                  <a:lnTo>
                    <a:pt x="215317" y="61666"/>
                  </a:lnTo>
                  <a:lnTo>
                    <a:pt x="215384" y="61730"/>
                  </a:lnTo>
                  <a:lnTo>
                    <a:pt x="215451" y="61759"/>
                  </a:lnTo>
                  <a:lnTo>
                    <a:pt x="219560" y="61775"/>
                  </a:lnTo>
                  <a:lnTo>
                    <a:pt x="219590" y="61775"/>
                  </a:lnTo>
                  <a:lnTo>
                    <a:pt x="219590" y="61775"/>
                  </a:lnTo>
                  <a:lnTo>
                    <a:pt x="219569" y="62679"/>
                  </a:lnTo>
                  <a:lnTo>
                    <a:pt x="219733" y="67194"/>
                  </a:lnTo>
                  <a:lnTo>
                    <a:pt x="219875" y="71146"/>
                  </a:lnTo>
                  <a:lnTo>
                    <a:pt x="220109" y="77595"/>
                  </a:lnTo>
                  <a:lnTo>
                    <a:pt x="220113" y="79277"/>
                  </a:lnTo>
                  <a:lnTo>
                    <a:pt x="219953" y="81373"/>
                  </a:lnTo>
                  <a:lnTo>
                    <a:pt x="219471" y="82197"/>
                  </a:lnTo>
                  <a:lnTo>
                    <a:pt x="218299" y="83381"/>
                  </a:lnTo>
                  <a:lnTo>
                    <a:pt x="216831" y="84463"/>
                  </a:lnTo>
                  <a:lnTo>
                    <a:pt x="213110" y="84739"/>
                  </a:lnTo>
                  <a:lnTo>
                    <a:pt x="210009" y="84706"/>
                  </a:lnTo>
                  <a:lnTo>
                    <a:pt x="207809" y="84465"/>
                  </a:lnTo>
                  <a:lnTo>
                    <a:pt x="204803" y="84368"/>
                  </a:lnTo>
                  <a:lnTo>
                    <a:pt x="201966" y="84602"/>
                  </a:lnTo>
                  <a:lnTo>
                    <a:pt x="200931" y="85511"/>
                  </a:lnTo>
                  <a:lnTo>
                    <a:pt x="199404" y="88747"/>
                  </a:lnTo>
                  <a:lnTo>
                    <a:pt x="197193" y="93433"/>
                  </a:lnTo>
                  <a:lnTo>
                    <a:pt x="196029" y="95413"/>
                  </a:lnTo>
                  <a:lnTo>
                    <a:pt x="195727" y="96570"/>
                  </a:lnTo>
                  <a:lnTo>
                    <a:pt x="196074" y="97259"/>
                  </a:lnTo>
                  <a:lnTo>
                    <a:pt x="197536" y="98256"/>
                  </a:lnTo>
                  <a:lnTo>
                    <a:pt x="200747" y="99659"/>
                  </a:lnTo>
                  <a:lnTo>
                    <a:pt x="204425" y="100480"/>
                  </a:lnTo>
                  <a:lnTo>
                    <a:pt x="207167" y="100835"/>
                  </a:lnTo>
                  <a:lnTo>
                    <a:pt x="209040" y="101221"/>
                  </a:lnTo>
                  <a:lnTo>
                    <a:pt x="210480" y="101653"/>
                  </a:lnTo>
                  <a:lnTo>
                    <a:pt x="215705" y="105244"/>
                  </a:lnTo>
                  <a:lnTo>
                    <a:pt x="217375" y="106910"/>
                  </a:lnTo>
                  <a:lnTo>
                    <a:pt x="218314" y="108391"/>
                  </a:lnTo>
                  <a:lnTo>
                    <a:pt x="218530" y="109969"/>
                  </a:lnTo>
                  <a:lnTo>
                    <a:pt x="219284" y="111553"/>
                  </a:lnTo>
                  <a:lnTo>
                    <a:pt x="222294" y="114690"/>
                  </a:lnTo>
                  <a:lnTo>
                    <a:pt x="224039" y="116506"/>
                  </a:lnTo>
                  <a:lnTo>
                    <a:pt x="228573" y="118826"/>
                  </a:lnTo>
                  <a:lnTo>
                    <a:pt x="230307" y="121459"/>
                  </a:lnTo>
                  <a:lnTo>
                    <a:pt x="231987" y="122740"/>
                  </a:lnTo>
                  <a:lnTo>
                    <a:pt x="233576" y="124114"/>
                  </a:lnTo>
                  <a:lnTo>
                    <a:pt x="234429" y="126167"/>
                  </a:lnTo>
                  <a:lnTo>
                    <a:pt x="236394" y="132111"/>
                  </a:lnTo>
                  <a:lnTo>
                    <a:pt x="237716" y="135225"/>
                  </a:lnTo>
                  <a:lnTo>
                    <a:pt x="239068" y="137772"/>
                  </a:lnTo>
                  <a:lnTo>
                    <a:pt x="239612" y="141916"/>
                  </a:lnTo>
                  <a:lnTo>
                    <a:pt x="240681" y="143766"/>
                  </a:lnTo>
                  <a:lnTo>
                    <a:pt x="241786" y="146024"/>
                  </a:lnTo>
                  <a:lnTo>
                    <a:pt x="243611" y="148063"/>
                  </a:lnTo>
                  <a:lnTo>
                    <a:pt x="245557" y="149619"/>
                  </a:lnTo>
                  <a:lnTo>
                    <a:pt x="245909" y="150035"/>
                  </a:lnTo>
                  <a:lnTo>
                    <a:pt x="241843" y="154036"/>
                  </a:lnTo>
                  <a:lnTo>
                    <a:pt x="237284" y="158521"/>
                  </a:lnTo>
                  <a:lnTo>
                    <a:pt x="232011" y="163709"/>
                  </a:lnTo>
                  <a:lnTo>
                    <a:pt x="226269" y="169357"/>
                  </a:lnTo>
                  <a:lnTo>
                    <a:pt x="221773" y="173823"/>
                  </a:lnTo>
                  <a:lnTo>
                    <a:pt x="217334" y="178228"/>
                  </a:lnTo>
                  <a:lnTo>
                    <a:pt x="212149" y="183432"/>
                  </a:lnTo>
                  <a:lnTo>
                    <a:pt x="208321" y="187275"/>
                  </a:lnTo>
                  <a:lnTo>
                    <a:pt x="207681" y="187820"/>
                  </a:lnTo>
                  <a:lnTo>
                    <a:pt x="206571" y="188530"/>
                  </a:lnTo>
                  <a:lnTo>
                    <a:pt x="202922" y="188546"/>
                  </a:lnTo>
                  <a:lnTo>
                    <a:pt x="199158" y="188095"/>
                  </a:lnTo>
                  <a:lnTo>
                    <a:pt x="195690" y="185759"/>
                  </a:lnTo>
                  <a:lnTo>
                    <a:pt x="192170" y="187568"/>
                  </a:lnTo>
                  <a:lnTo>
                    <a:pt x="189938" y="188139"/>
                  </a:lnTo>
                  <a:lnTo>
                    <a:pt x="188607" y="188350"/>
                  </a:lnTo>
                  <a:lnTo>
                    <a:pt x="185463" y="188643"/>
                  </a:lnTo>
                  <a:lnTo>
                    <a:pt x="181063" y="189612"/>
                  </a:lnTo>
                  <a:lnTo>
                    <a:pt x="179067" y="190827"/>
                  </a:lnTo>
                  <a:lnTo>
                    <a:pt x="177988" y="191790"/>
                  </a:lnTo>
                  <a:lnTo>
                    <a:pt x="177093" y="193556"/>
                  </a:lnTo>
                  <a:lnTo>
                    <a:pt x="176644" y="193740"/>
                  </a:lnTo>
                  <a:lnTo>
                    <a:pt x="175837" y="193530"/>
                  </a:lnTo>
                  <a:lnTo>
                    <a:pt x="174705" y="192822"/>
                  </a:lnTo>
                  <a:lnTo>
                    <a:pt x="172351" y="191796"/>
                  </a:lnTo>
                  <a:lnTo>
                    <a:pt x="171168" y="189548"/>
                  </a:lnTo>
                  <a:lnTo>
                    <a:pt x="170071" y="188189"/>
                  </a:lnTo>
                  <a:lnTo>
                    <a:pt x="169173" y="187477"/>
                  </a:lnTo>
                  <a:lnTo>
                    <a:pt x="165433" y="189717"/>
                  </a:lnTo>
                  <a:lnTo>
                    <a:pt x="163626" y="190245"/>
                  </a:lnTo>
                  <a:lnTo>
                    <a:pt x="162140" y="190181"/>
                  </a:lnTo>
                  <a:lnTo>
                    <a:pt x="159430" y="188916"/>
                  </a:lnTo>
                  <a:lnTo>
                    <a:pt x="156435" y="187846"/>
                  </a:lnTo>
                  <a:lnTo>
                    <a:pt x="154895" y="187854"/>
                  </a:lnTo>
                  <a:lnTo>
                    <a:pt x="152589" y="189195"/>
                  </a:lnTo>
                  <a:lnTo>
                    <a:pt x="149965" y="191209"/>
                  </a:lnTo>
                  <a:lnTo>
                    <a:pt x="148611" y="193200"/>
                  </a:lnTo>
                  <a:lnTo>
                    <a:pt x="147957" y="194382"/>
                  </a:lnTo>
                  <a:lnTo>
                    <a:pt x="147477" y="193439"/>
                  </a:lnTo>
                  <a:lnTo>
                    <a:pt x="147037" y="192558"/>
                  </a:lnTo>
                  <a:lnTo>
                    <a:pt x="146158" y="191427"/>
                  </a:lnTo>
                  <a:lnTo>
                    <a:pt x="144891" y="190987"/>
                  </a:lnTo>
                  <a:lnTo>
                    <a:pt x="143735" y="191207"/>
                  </a:lnTo>
                  <a:lnTo>
                    <a:pt x="142388" y="191427"/>
                  </a:lnTo>
                  <a:lnTo>
                    <a:pt x="141783" y="190795"/>
                  </a:lnTo>
                  <a:lnTo>
                    <a:pt x="141654" y="189241"/>
                  </a:lnTo>
                  <a:lnTo>
                    <a:pt x="141287" y="187818"/>
                  </a:lnTo>
                  <a:lnTo>
                    <a:pt x="140654" y="186744"/>
                  </a:lnTo>
                  <a:lnTo>
                    <a:pt x="138717" y="185677"/>
                  </a:lnTo>
                  <a:lnTo>
                    <a:pt x="133724" y="183506"/>
                  </a:lnTo>
                  <a:lnTo>
                    <a:pt x="129887" y="179172"/>
                  </a:lnTo>
                  <a:lnTo>
                    <a:pt x="127955" y="177159"/>
                  </a:lnTo>
                  <a:lnTo>
                    <a:pt x="126545" y="175859"/>
                  </a:lnTo>
                  <a:lnTo>
                    <a:pt x="124547" y="172452"/>
                  </a:lnTo>
                  <a:lnTo>
                    <a:pt x="122269" y="170104"/>
                  </a:lnTo>
                  <a:lnTo>
                    <a:pt x="119509" y="169016"/>
                  </a:lnTo>
                  <a:lnTo>
                    <a:pt x="117687" y="169553"/>
                  </a:lnTo>
                  <a:lnTo>
                    <a:pt x="115812" y="172066"/>
                  </a:lnTo>
                  <a:lnTo>
                    <a:pt x="112275" y="174425"/>
                  </a:lnTo>
                  <a:lnTo>
                    <a:pt x="110651" y="174508"/>
                  </a:lnTo>
                  <a:lnTo>
                    <a:pt x="108572" y="173228"/>
                  </a:lnTo>
                  <a:lnTo>
                    <a:pt x="105961" y="172317"/>
                  </a:lnTo>
                  <a:lnTo>
                    <a:pt x="101267" y="171920"/>
                  </a:lnTo>
                  <a:lnTo>
                    <a:pt x="99332" y="173038"/>
                  </a:lnTo>
                  <a:lnTo>
                    <a:pt x="96794" y="174847"/>
                  </a:lnTo>
                  <a:lnTo>
                    <a:pt x="94644" y="175926"/>
                  </a:lnTo>
                  <a:lnTo>
                    <a:pt x="93309" y="176048"/>
                  </a:lnTo>
                  <a:lnTo>
                    <a:pt x="92068" y="175618"/>
                  </a:lnTo>
                  <a:lnTo>
                    <a:pt x="90658" y="175386"/>
                  </a:lnTo>
                  <a:lnTo>
                    <a:pt x="89438" y="175348"/>
                  </a:lnTo>
                  <a:lnTo>
                    <a:pt x="86928" y="173696"/>
                  </a:lnTo>
                  <a:lnTo>
                    <a:pt x="85628" y="172487"/>
                  </a:lnTo>
                  <a:lnTo>
                    <a:pt x="84763" y="171319"/>
                  </a:lnTo>
                  <a:lnTo>
                    <a:pt x="83346" y="170525"/>
                  </a:lnTo>
                  <a:lnTo>
                    <a:pt x="81688" y="169864"/>
                  </a:lnTo>
                  <a:lnTo>
                    <a:pt x="80504" y="168825"/>
                  </a:lnTo>
                  <a:lnTo>
                    <a:pt x="79915" y="167527"/>
                  </a:lnTo>
                  <a:lnTo>
                    <a:pt x="78982" y="165863"/>
                  </a:lnTo>
                  <a:lnTo>
                    <a:pt x="77764" y="164363"/>
                  </a:lnTo>
                  <a:lnTo>
                    <a:pt x="73935" y="161668"/>
                  </a:lnTo>
                  <a:lnTo>
                    <a:pt x="72791" y="160081"/>
                  </a:lnTo>
                  <a:lnTo>
                    <a:pt x="71996" y="158529"/>
                  </a:lnTo>
                  <a:lnTo>
                    <a:pt x="70429" y="156819"/>
                  </a:lnTo>
                  <a:lnTo>
                    <a:pt x="68755" y="154529"/>
                  </a:lnTo>
                  <a:lnTo>
                    <a:pt x="68219" y="151178"/>
                  </a:lnTo>
                  <a:lnTo>
                    <a:pt x="68144" y="148478"/>
                  </a:lnTo>
                  <a:lnTo>
                    <a:pt x="67796" y="147229"/>
                  </a:lnTo>
                  <a:lnTo>
                    <a:pt x="67086" y="145979"/>
                  </a:lnTo>
                  <a:lnTo>
                    <a:pt x="66261" y="144919"/>
                  </a:lnTo>
                  <a:lnTo>
                    <a:pt x="64922" y="143723"/>
                  </a:lnTo>
                  <a:lnTo>
                    <a:pt x="61802" y="141991"/>
                  </a:lnTo>
                  <a:lnTo>
                    <a:pt x="58578" y="139981"/>
                  </a:lnTo>
                  <a:lnTo>
                    <a:pt x="57028" y="138811"/>
                  </a:lnTo>
                  <a:lnTo>
                    <a:pt x="54093" y="138383"/>
                  </a:lnTo>
                  <a:lnTo>
                    <a:pt x="52337" y="137236"/>
                  </a:lnTo>
                  <a:lnTo>
                    <a:pt x="50860" y="134711"/>
                  </a:lnTo>
                  <a:lnTo>
                    <a:pt x="50264" y="132687"/>
                  </a:lnTo>
                  <a:lnTo>
                    <a:pt x="48778" y="131117"/>
                  </a:lnTo>
                  <a:lnTo>
                    <a:pt x="48144" y="129977"/>
                  </a:lnTo>
                  <a:lnTo>
                    <a:pt x="47790" y="128666"/>
                  </a:lnTo>
                  <a:lnTo>
                    <a:pt x="48966" y="124670"/>
                  </a:lnTo>
                  <a:lnTo>
                    <a:pt x="47258" y="123254"/>
                  </a:lnTo>
                  <a:lnTo>
                    <a:pt x="44710" y="121417"/>
                  </a:lnTo>
                  <a:lnTo>
                    <a:pt x="42888" y="119409"/>
                  </a:lnTo>
                  <a:lnTo>
                    <a:pt x="41773" y="117563"/>
                  </a:lnTo>
                  <a:lnTo>
                    <a:pt x="38511" y="115126"/>
                  </a:lnTo>
                  <a:lnTo>
                    <a:pt x="31383" y="111486"/>
                  </a:lnTo>
                  <a:lnTo>
                    <a:pt x="27271" y="109159"/>
                  </a:lnTo>
                  <a:lnTo>
                    <a:pt x="25021" y="107068"/>
                  </a:lnTo>
                  <a:lnTo>
                    <a:pt x="23058" y="105025"/>
                  </a:lnTo>
                  <a:lnTo>
                    <a:pt x="22864" y="104183"/>
                  </a:lnTo>
                  <a:lnTo>
                    <a:pt x="24131" y="102143"/>
                  </a:lnTo>
                  <a:lnTo>
                    <a:pt x="24323" y="100462"/>
                  </a:lnTo>
                  <a:lnTo>
                    <a:pt x="23285" y="98608"/>
                  </a:lnTo>
                  <a:lnTo>
                    <a:pt x="19014" y="95117"/>
                  </a:lnTo>
                  <a:lnTo>
                    <a:pt x="15610" y="91274"/>
                  </a:lnTo>
                  <a:lnTo>
                    <a:pt x="13032" y="90072"/>
                  </a:lnTo>
                  <a:lnTo>
                    <a:pt x="6826" y="89005"/>
                  </a:lnTo>
                  <a:lnTo>
                    <a:pt x="5045" y="88583"/>
                  </a:lnTo>
                  <a:lnTo>
                    <a:pt x="3185" y="87849"/>
                  </a:lnTo>
                  <a:lnTo>
                    <a:pt x="1350" y="86118"/>
                  </a:lnTo>
                  <a:lnTo>
                    <a:pt x="721" y="84070"/>
                  </a:lnTo>
                  <a:lnTo>
                    <a:pt x="1626" y="80794"/>
                  </a:lnTo>
                  <a:lnTo>
                    <a:pt x="1050" y="79789"/>
                  </a:lnTo>
                  <a:lnTo>
                    <a:pt x="0" y="79516"/>
                  </a:lnTo>
                  <a:lnTo>
                    <a:pt x="0" y="79516"/>
                  </a:lnTo>
                  <a:lnTo>
                    <a:pt x="290" y="78833"/>
                  </a:lnTo>
                  <a:lnTo>
                    <a:pt x="1464" y="77239"/>
                  </a:lnTo>
                  <a:lnTo>
                    <a:pt x="3380" y="76205"/>
                  </a:lnTo>
                  <a:lnTo>
                    <a:pt x="8504" y="74586"/>
                  </a:lnTo>
                  <a:lnTo>
                    <a:pt x="8789" y="73963"/>
                  </a:lnTo>
                  <a:lnTo>
                    <a:pt x="8891" y="71914"/>
                  </a:lnTo>
                  <a:lnTo>
                    <a:pt x="9307" y="70913"/>
                  </a:lnTo>
                  <a:lnTo>
                    <a:pt x="11071" y="68073"/>
                  </a:lnTo>
                  <a:lnTo>
                    <a:pt x="11322" y="66940"/>
                  </a:lnTo>
                  <a:lnTo>
                    <a:pt x="11400" y="64527"/>
                  </a:lnTo>
                  <a:lnTo>
                    <a:pt x="11637" y="63386"/>
                  </a:lnTo>
                  <a:lnTo>
                    <a:pt x="12147" y="62574"/>
                  </a:lnTo>
                  <a:lnTo>
                    <a:pt x="13555" y="61164"/>
                  </a:lnTo>
                  <a:lnTo>
                    <a:pt x="14047" y="60306"/>
                  </a:lnTo>
                  <a:lnTo>
                    <a:pt x="14258" y="58456"/>
                  </a:lnTo>
                  <a:lnTo>
                    <a:pt x="14105" y="54788"/>
                  </a:lnTo>
                  <a:lnTo>
                    <a:pt x="14822" y="53338"/>
                  </a:lnTo>
                  <a:lnTo>
                    <a:pt x="18055" y="50006"/>
                  </a:lnTo>
                  <a:lnTo>
                    <a:pt x="18919" y="48523"/>
                  </a:lnTo>
                  <a:lnTo>
                    <a:pt x="19212" y="47184"/>
                  </a:lnTo>
                  <a:lnTo>
                    <a:pt x="19182" y="45829"/>
                  </a:lnTo>
                  <a:lnTo>
                    <a:pt x="19376" y="44491"/>
                  </a:lnTo>
                  <a:lnTo>
                    <a:pt x="20335" y="43195"/>
                  </a:lnTo>
                  <a:lnTo>
                    <a:pt x="21153" y="42792"/>
                  </a:lnTo>
                  <a:lnTo>
                    <a:pt x="23535" y="42388"/>
                  </a:lnTo>
                  <a:lnTo>
                    <a:pt x="25159" y="42643"/>
                  </a:lnTo>
                  <a:lnTo>
                    <a:pt x="36500" y="40363"/>
                  </a:lnTo>
                  <a:lnTo>
                    <a:pt x="37831" y="40677"/>
                  </a:lnTo>
                  <a:lnTo>
                    <a:pt x="38429" y="42027"/>
                  </a:lnTo>
                  <a:lnTo>
                    <a:pt x="38375" y="44182"/>
                  </a:lnTo>
                  <a:lnTo>
                    <a:pt x="38567" y="45229"/>
                  </a:lnTo>
                  <a:lnTo>
                    <a:pt x="39178" y="45976"/>
                  </a:lnTo>
                  <a:lnTo>
                    <a:pt x="40979" y="47001"/>
                  </a:lnTo>
                  <a:lnTo>
                    <a:pt x="42227" y="48713"/>
                  </a:lnTo>
                  <a:lnTo>
                    <a:pt x="42890" y="49345"/>
                  </a:lnTo>
                  <a:lnTo>
                    <a:pt x="44715" y="50518"/>
                  </a:lnTo>
                  <a:lnTo>
                    <a:pt x="53158" y="60340"/>
                  </a:lnTo>
                  <a:lnTo>
                    <a:pt x="55531" y="61270"/>
                  </a:lnTo>
                  <a:lnTo>
                    <a:pt x="57841" y="60934"/>
                  </a:lnTo>
                  <a:lnTo>
                    <a:pt x="62426" y="58894"/>
                  </a:lnTo>
                  <a:lnTo>
                    <a:pt x="64719" y="58377"/>
                  </a:lnTo>
                  <a:lnTo>
                    <a:pt x="80763" y="58956"/>
                  </a:lnTo>
                  <a:lnTo>
                    <a:pt x="82556" y="58650"/>
                  </a:lnTo>
                  <a:lnTo>
                    <a:pt x="82666" y="58693"/>
                  </a:lnTo>
                  <a:lnTo>
                    <a:pt x="85108" y="63620"/>
                  </a:lnTo>
                  <a:lnTo>
                    <a:pt x="86272" y="64739"/>
                  </a:lnTo>
                  <a:lnTo>
                    <a:pt x="103865" y="64796"/>
                  </a:lnTo>
                  <a:lnTo>
                    <a:pt x="103530" y="63397"/>
                  </a:lnTo>
                  <a:lnTo>
                    <a:pt x="103752" y="61829"/>
                  </a:lnTo>
                  <a:lnTo>
                    <a:pt x="105806" y="59813"/>
                  </a:lnTo>
                  <a:lnTo>
                    <a:pt x="106851" y="58815"/>
                  </a:lnTo>
                  <a:lnTo>
                    <a:pt x="106851" y="58819"/>
                  </a:lnTo>
                  <a:lnTo>
                    <a:pt x="107293" y="58459"/>
                  </a:lnTo>
                  <a:lnTo>
                    <a:pt x="110008" y="57019"/>
                  </a:lnTo>
                  <a:lnTo>
                    <a:pt x="112662" y="56051"/>
                  </a:lnTo>
                  <a:lnTo>
                    <a:pt x="117765" y="54923"/>
                  </a:lnTo>
                  <a:lnTo>
                    <a:pt x="119628" y="53144"/>
                  </a:lnTo>
                  <a:lnTo>
                    <a:pt x="120656" y="51512"/>
                  </a:lnTo>
                  <a:lnTo>
                    <a:pt x="120690" y="48304"/>
                  </a:lnTo>
                  <a:lnTo>
                    <a:pt x="121364" y="47778"/>
                  </a:lnTo>
                  <a:lnTo>
                    <a:pt x="122582" y="47034"/>
                  </a:lnTo>
                  <a:lnTo>
                    <a:pt x="128484" y="44168"/>
                  </a:lnTo>
                  <a:lnTo>
                    <a:pt x="129481" y="43561"/>
                  </a:lnTo>
                  <a:lnTo>
                    <a:pt x="139909" y="50227"/>
                  </a:lnTo>
                  <a:lnTo>
                    <a:pt x="145763" y="55502"/>
                  </a:lnTo>
                  <a:lnTo>
                    <a:pt x="146117" y="55758"/>
                  </a:lnTo>
                  <a:lnTo>
                    <a:pt x="146422" y="55856"/>
                  </a:lnTo>
                  <a:lnTo>
                    <a:pt x="146731" y="55674"/>
                  </a:lnTo>
                  <a:lnTo>
                    <a:pt x="146992" y="55431"/>
                  </a:lnTo>
                  <a:lnTo>
                    <a:pt x="147417" y="55268"/>
                  </a:lnTo>
                  <a:lnTo>
                    <a:pt x="147702" y="55197"/>
                  </a:lnTo>
                  <a:lnTo>
                    <a:pt x="150207" y="55129"/>
                  </a:lnTo>
                  <a:lnTo>
                    <a:pt x="154942" y="54871"/>
                  </a:lnTo>
                  <a:lnTo>
                    <a:pt x="156499" y="54239"/>
                  </a:lnTo>
                  <a:lnTo>
                    <a:pt x="166007" y="44818"/>
                  </a:lnTo>
                  <a:lnTo>
                    <a:pt x="168426" y="41811"/>
                  </a:lnTo>
                  <a:lnTo>
                    <a:pt x="169039" y="41198"/>
                  </a:lnTo>
                  <a:lnTo>
                    <a:pt x="170417" y="39055"/>
                  </a:lnTo>
                  <a:lnTo>
                    <a:pt x="171868" y="35371"/>
                  </a:lnTo>
                  <a:lnTo>
                    <a:pt x="172157" y="34954"/>
                  </a:lnTo>
                  <a:lnTo>
                    <a:pt x="182574" y="26112"/>
                  </a:lnTo>
                  <a:lnTo>
                    <a:pt x="182943" y="25411"/>
                  </a:lnTo>
                  <a:lnTo>
                    <a:pt x="183045" y="24855"/>
                  </a:lnTo>
                  <a:lnTo>
                    <a:pt x="181471" y="21879"/>
                  </a:lnTo>
                  <a:lnTo>
                    <a:pt x="181132" y="20365"/>
                  </a:lnTo>
                  <a:lnTo>
                    <a:pt x="181063" y="18035"/>
                  </a:lnTo>
                  <a:lnTo>
                    <a:pt x="181376" y="14410"/>
                  </a:lnTo>
                  <a:lnTo>
                    <a:pt x="181265" y="12118"/>
                  </a:lnTo>
                  <a:lnTo>
                    <a:pt x="181225" y="11858"/>
                  </a:lnTo>
                  <a:lnTo>
                    <a:pt x="181123" y="11504"/>
                  </a:lnTo>
                  <a:lnTo>
                    <a:pt x="181054" y="11371"/>
                  </a:lnTo>
                  <a:lnTo>
                    <a:pt x="175237" y="4854"/>
                  </a:lnTo>
                  <a:lnTo>
                    <a:pt x="189929" y="4788"/>
                  </a:lnTo>
                  <a:lnTo>
                    <a:pt x="189964" y="4248"/>
                  </a:lnTo>
                  <a:lnTo>
                    <a:pt x="189950" y="3963"/>
                  </a:lnTo>
                  <a:lnTo>
                    <a:pt x="189905" y="3703"/>
                  </a:lnTo>
                  <a:lnTo>
                    <a:pt x="189627" y="2920"/>
                  </a:lnTo>
                  <a:lnTo>
                    <a:pt x="189467" y="1881"/>
                  </a:lnTo>
                  <a:lnTo>
                    <a:pt x="189456" y="1591"/>
                  </a:lnTo>
                  <a:lnTo>
                    <a:pt x="189478" y="1307"/>
                  </a:lnTo>
                  <a:lnTo>
                    <a:pt x="189562" y="769"/>
                  </a:lnTo>
                  <a:lnTo>
                    <a:pt x="189571" y="478"/>
                  </a:lnTo>
                  <a:lnTo>
                    <a:pt x="189555" y="339"/>
                  </a:lnTo>
                  <a:lnTo>
                    <a:pt x="189527" y="209"/>
                  </a:lnTo>
                  <a:lnTo>
                    <a:pt x="189536" y="95"/>
                  </a:lnTo>
                  <a:lnTo>
                    <a:pt x="189601" y="0"/>
                  </a:lnTo>
                  <a:lnTo>
                    <a:pt x="200158" y="131"/>
                  </a:lnTo>
                  <a:lnTo>
                    <a:pt x="200020" y="1976"/>
                  </a:lnTo>
                  <a:lnTo>
                    <a:pt x="198737" y="6314"/>
                  </a:lnTo>
                  <a:lnTo>
                    <a:pt x="198761" y="8915"/>
                  </a:lnTo>
                  <a:lnTo>
                    <a:pt x="198458" y="11883"/>
                  </a:lnTo>
                  <a:lnTo>
                    <a:pt x="198385" y="12124"/>
                  </a:lnTo>
                  <a:lnTo>
                    <a:pt x="198096" y="12764"/>
                  </a:lnTo>
                  <a:lnTo>
                    <a:pt x="197843" y="13131"/>
                  </a:lnTo>
                  <a:lnTo>
                    <a:pt x="197554" y="13484"/>
                  </a:lnTo>
                  <a:lnTo>
                    <a:pt x="197472" y="13617"/>
                  </a:lnTo>
                  <a:lnTo>
                    <a:pt x="197372" y="13834"/>
                  </a:lnTo>
                  <a:lnTo>
                    <a:pt x="197366" y="14161"/>
                  </a:lnTo>
                  <a:lnTo>
                    <a:pt x="199558" y="30757"/>
                  </a:lnTo>
                  <a:lnTo>
                    <a:pt x="199475" y="31176"/>
                  </a:lnTo>
                  <a:lnTo>
                    <a:pt x="199394" y="31450"/>
                  </a:lnTo>
                  <a:lnTo>
                    <a:pt x="198808" y="32484"/>
                  </a:lnTo>
                  <a:lnTo>
                    <a:pt x="198657" y="32825"/>
                  </a:lnTo>
                  <a:lnTo>
                    <a:pt x="198627" y="33088"/>
                  </a:lnTo>
                  <a:lnTo>
                    <a:pt x="198865" y="33268"/>
                  </a:lnTo>
                  <a:lnTo>
                    <a:pt x="203727" y="35059"/>
                  </a:lnTo>
                  <a:lnTo>
                    <a:pt x="203963" y="35172"/>
                  </a:lnTo>
                  <a:lnTo>
                    <a:pt x="204151" y="35319"/>
                  </a:lnTo>
                  <a:lnTo>
                    <a:pt x="205902" y="37451"/>
                  </a:lnTo>
                  <a:lnTo>
                    <a:pt x="215479" y="45313"/>
                  </a:lnTo>
                  <a:lnTo>
                    <a:pt x="215807" y="45705"/>
                  </a:lnTo>
                  <a:lnTo>
                    <a:pt x="216798" y="48173"/>
                  </a:lnTo>
                  <a:lnTo>
                    <a:pt x="216908" y="48547"/>
                  </a:lnTo>
                  <a:lnTo>
                    <a:pt x="216943" y="49138"/>
                  </a:lnTo>
                  <a:lnTo>
                    <a:pt x="216919" y="49597"/>
                  </a:lnTo>
                  <a:lnTo>
                    <a:pt x="216673" y="51076"/>
                  </a:lnTo>
                  <a:lnTo>
                    <a:pt x="216755" y="51741"/>
                  </a:lnTo>
                  <a:lnTo>
                    <a:pt x="216919" y="52181"/>
                  </a:lnTo>
                  <a:lnTo>
                    <a:pt x="217051" y="52689"/>
                  </a:lnTo>
                  <a:lnTo>
                    <a:pt x="217051" y="52843"/>
                  </a:lnTo>
                  <a:lnTo>
                    <a:pt x="217034" y="52976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03" name="ee4p_SN_1_37365">
              <a:extLst>
                <a:ext uri="{FF2B5EF4-FFF2-40B4-BE49-F238E27FC236}">
                  <a16:creationId xmlns:a16="http://schemas.microsoft.com/office/drawing/2014/main" id="{9708FBD5-4BEC-FC70-21A5-E940E8160010}"/>
                </a:ext>
              </a:extLst>
            </p:cNvPr>
            <p:cNvSpPr>
              <a:spLocks noChangeAspect="1"/>
            </p:cNvSpPr>
            <p:nvPr>
              <p:custDataLst>
                <p:tags r:id="rId357"/>
              </p:custDataLst>
            </p:nvPr>
          </p:nvSpPr>
          <p:spPr>
            <a:xfrm>
              <a:off x="6027747" y="4197556"/>
              <a:ext cx="170873" cy="126723"/>
            </a:xfrm>
            <a:custGeom>
              <a:avLst/>
              <a:gdLst/>
              <a:ahLst/>
              <a:cxnLst/>
              <a:rect l="0" t="0" r="0" b="0"/>
              <a:pathLst>
                <a:path w="136062" h="98232">
                  <a:moveTo>
                    <a:pt x="116200" y="42368"/>
                  </a:moveTo>
                  <a:lnTo>
                    <a:pt x="118280" y="46002"/>
                  </a:lnTo>
                  <a:lnTo>
                    <a:pt x="117831" y="47741"/>
                  </a:lnTo>
                  <a:lnTo>
                    <a:pt x="117354" y="50281"/>
                  </a:lnTo>
                  <a:lnTo>
                    <a:pt x="118530" y="52130"/>
                  </a:lnTo>
                  <a:lnTo>
                    <a:pt x="119908" y="53334"/>
                  </a:lnTo>
                  <a:lnTo>
                    <a:pt x="120893" y="54442"/>
                  </a:lnTo>
                  <a:lnTo>
                    <a:pt x="121980" y="55969"/>
                  </a:lnTo>
                  <a:lnTo>
                    <a:pt x="122157" y="59006"/>
                  </a:lnTo>
                  <a:lnTo>
                    <a:pt x="121960" y="61196"/>
                  </a:lnTo>
                  <a:lnTo>
                    <a:pt x="122668" y="62186"/>
                  </a:lnTo>
                  <a:lnTo>
                    <a:pt x="123269" y="63436"/>
                  </a:lnTo>
                  <a:lnTo>
                    <a:pt x="123149" y="64480"/>
                  </a:lnTo>
                  <a:lnTo>
                    <a:pt x="122754" y="65401"/>
                  </a:lnTo>
                  <a:lnTo>
                    <a:pt x="121428" y="66622"/>
                  </a:lnTo>
                  <a:lnTo>
                    <a:pt x="121206" y="68892"/>
                  </a:lnTo>
                  <a:lnTo>
                    <a:pt x="123354" y="71643"/>
                  </a:lnTo>
                  <a:lnTo>
                    <a:pt x="124736" y="73139"/>
                  </a:lnTo>
                  <a:lnTo>
                    <a:pt x="124722" y="73997"/>
                  </a:lnTo>
                  <a:lnTo>
                    <a:pt x="125107" y="74937"/>
                  </a:lnTo>
                  <a:lnTo>
                    <a:pt x="126126" y="76033"/>
                  </a:lnTo>
                  <a:lnTo>
                    <a:pt x="126753" y="75775"/>
                  </a:lnTo>
                  <a:lnTo>
                    <a:pt x="127441" y="74880"/>
                  </a:lnTo>
                  <a:lnTo>
                    <a:pt x="127750" y="74262"/>
                  </a:lnTo>
                  <a:lnTo>
                    <a:pt x="129603" y="74536"/>
                  </a:lnTo>
                  <a:lnTo>
                    <a:pt x="130476" y="74817"/>
                  </a:lnTo>
                  <a:lnTo>
                    <a:pt x="131662" y="76613"/>
                  </a:lnTo>
                  <a:lnTo>
                    <a:pt x="132097" y="77807"/>
                  </a:lnTo>
                  <a:lnTo>
                    <a:pt x="132382" y="79308"/>
                  </a:lnTo>
                  <a:lnTo>
                    <a:pt x="133620" y="81181"/>
                  </a:lnTo>
                  <a:lnTo>
                    <a:pt x="134696" y="82502"/>
                  </a:lnTo>
                  <a:lnTo>
                    <a:pt x="134921" y="83325"/>
                  </a:lnTo>
                  <a:lnTo>
                    <a:pt x="135885" y="84440"/>
                  </a:lnTo>
                  <a:lnTo>
                    <a:pt x="135287" y="86915"/>
                  </a:lnTo>
                  <a:lnTo>
                    <a:pt x="135354" y="88182"/>
                  </a:lnTo>
                  <a:lnTo>
                    <a:pt x="134697" y="91505"/>
                  </a:lnTo>
                  <a:lnTo>
                    <a:pt x="134553" y="93074"/>
                  </a:lnTo>
                  <a:lnTo>
                    <a:pt x="134593" y="93653"/>
                  </a:lnTo>
                  <a:lnTo>
                    <a:pt x="136061" y="94836"/>
                  </a:lnTo>
                  <a:lnTo>
                    <a:pt x="135906" y="96516"/>
                  </a:lnTo>
                  <a:lnTo>
                    <a:pt x="134417" y="96220"/>
                  </a:lnTo>
                  <a:lnTo>
                    <a:pt x="131831" y="96024"/>
                  </a:lnTo>
                  <a:lnTo>
                    <a:pt x="126648" y="96900"/>
                  </a:lnTo>
                  <a:lnTo>
                    <a:pt x="124869" y="96540"/>
                  </a:lnTo>
                  <a:lnTo>
                    <a:pt x="121468" y="96659"/>
                  </a:lnTo>
                  <a:lnTo>
                    <a:pt x="119044" y="97140"/>
                  </a:lnTo>
                  <a:lnTo>
                    <a:pt x="115965" y="98231"/>
                  </a:lnTo>
                  <a:lnTo>
                    <a:pt x="113580" y="97960"/>
                  </a:lnTo>
                  <a:lnTo>
                    <a:pt x="112291" y="97100"/>
                  </a:lnTo>
                  <a:lnTo>
                    <a:pt x="110592" y="97158"/>
                  </a:lnTo>
                  <a:lnTo>
                    <a:pt x="108677" y="96700"/>
                  </a:lnTo>
                  <a:lnTo>
                    <a:pt x="106638" y="95871"/>
                  </a:lnTo>
                  <a:lnTo>
                    <a:pt x="104774" y="95450"/>
                  </a:lnTo>
                  <a:lnTo>
                    <a:pt x="102765" y="93920"/>
                  </a:lnTo>
                  <a:lnTo>
                    <a:pt x="101825" y="93645"/>
                  </a:lnTo>
                  <a:lnTo>
                    <a:pt x="101165" y="94047"/>
                  </a:lnTo>
                  <a:lnTo>
                    <a:pt x="100610" y="94557"/>
                  </a:lnTo>
                  <a:lnTo>
                    <a:pt x="100029" y="94872"/>
                  </a:lnTo>
                  <a:lnTo>
                    <a:pt x="98938" y="94595"/>
                  </a:lnTo>
                  <a:lnTo>
                    <a:pt x="98527" y="93555"/>
                  </a:lnTo>
                  <a:lnTo>
                    <a:pt x="98869" y="92550"/>
                  </a:lnTo>
                  <a:lnTo>
                    <a:pt x="98971" y="91786"/>
                  </a:lnTo>
                  <a:lnTo>
                    <a:pt x="98459" y="91371"/>
                  </a:lnTo>
                  <a:lnTo>
                    <a:pt x="97231" y="91232"/>
                  </a:lnTo>
                  <a:lnTo>
                    <a:pt x="95249" y="91235"/>
                  </a:lnTo>
                  <a:lnTo>
                    <a:pt x="92055" y="90920"/>
                  </a:lnTo>
                  <a:lnTo>
                    <a:pt x="91320" y="90726"/>
                  </a:lnTo>
                  <a:lnTo>
                    <a:pt x="84167" y="90464"/>
                  </a:lnTo>
                  <a:lnTo>
                    <a:pt x="76747" y="90433"/>
                  </a:lnTo>
                  <a:lnTo>
                    <a:pt x="70458" y="90408"/>
                  </a:lnTo>
                  <a:lnTo>
                    <a:pt x="62522" y="90373"/>
                  </a:lnTo>
                  <a:lnTo>
                    <a:pt x="56940" y="90351"/>
                  </a:lnTo>
                  <a:lnTo>
                    <a:pt x="51732" y="90329"/>
                  </a:lnTo>
                  <a:lnTo>
                    <a:pt x="47712" y="92372"/>
                  </a:lnTo>
                  <a:lnTo>
                    <a:pt x="43358" y="94586"/>
                  </a:lnTo>
                  <a:lnTo>
                    <a:pt x="37504" y="95764"/>
                  </a:lnTo>
                  <a:lnTo>
                    <a:pt x="30768" y="95326"/>
                  </a:lnTo>
                  <a:lnTo>
                    <a:pt x="28616" y="95643"/>
                  </a:lnTo>
                  <a:lnTo>
                    <a:pt x="26388" y="96626"/>
                  </a:lnTo>
                  <a:lnTo>
                    <a:pt x="24751" y="97340"/>
                  </a:lnTo>
                  <a:lnTo>
                    <a:pt x="22428" y="97768"/>
                  </a:lnTo>
                  <a:lnTo>
                    <a:pt x="19430" y="97415"/>
                  </a:lnTo>
                  <a:lnTo>
                    <a:pt x="18217" y="97629"/>
                  </a:lnTo>
                  <a:lnTo>
                    <a:pt x="17464" y="96621"/>
                  </a:lnTo>
                  <a:lnTo>
                    <a:pt x="16601" y="94987"/>
                  </a:lnTo>
                  <a:lnTo>
                    <a:pt x="17144" y="93791"/>
                  </a:lnTo>
                  <a:lnTo>
                    <a:pt x="18972" y="93021"/>
                  </a:lnTo>
                  <a:lnTo>
                    <a:pt x="21723" y="92015"/>
                  </a:lnTo>
                  <a:lnTo>
                    <a:pt x="23164" y="92532"/>
                  </a:lnTo>
                  <a:lnTo>
                    <a:pt x="24007" y="92557"/>
                  </a:lnTo>
                  <a:lnTo>
                    <a:pt x="24163" y="91912"/>
                  </a:lnTo>
                  <a:lnTo>
                    <a:pt x="23894" y="91567"/>
                  </a:lnTo>
                  <a:lnTo>
                    <a:pt x="21821" y="90691"/>
                  </a:lnTo>
                  <a:lnTo>
                    <a:pt x="20741" y="89535"/>
                  </a:lnTo>
                  <a:lnTo>
                    <a:pt x="19852" y="90212"/>
                  </a:lnTo>
                  <a:lnTo>
                    <a:pt x="19085" y="91630"/>
                  </a:lnTo>
                  <a:lnTo>
                    <a:pt x="18446" y="92053"/>
                  </a:lnTo>
                  <a:lnTo>
                    <a:pt x="17507" y="92451"/>
                  </a:lnTo>
                  <a:lnTo>
                    <a:pt x="16975" y="91486"/>
                  </a:lnTo>
                  <a:lnTo>
                    <a:pt x="16744" y="90548"/>
                  </a:lnTo>
                  <a:lnTo>
                    <a:pt x="17174" y="89825"/>
                  </a:lnTo>
                  <a:lnTo>
                    <a:pt x="16953" y="85759"/>
                  </a:lnTo>
                  <a:lnTo>
                    <a:pt x="17209" y="83591"/>
                  </a:lnTo>
                  <a:lnTo>
                    <a:pt x="17077" y="81694"/>
                  </a:lnTo>
                  <a:lnTo>
                    <a:pt x="18377" y="80444"/>
                  </a:lnTo>
                  <a:lnTo>
                    <a:pt x="19610" y="79670"/>
                  </a:lnTo>
                  <a:lnTo>
                    <a:pt x="24429" y="79599"/>
                  </a:lnTo>
                  <a:lnTo>
                    <a:pt x="28908" y="79532"/>
                  </a:lnTo>
                  <a:lnTo>
                    <a:pt x="33225" y="79575"/>
                  </a:lnTo>
                  <a:lnTo>
                    <a:pt x="37621" y="79618"/>
                  </a:lnTo>
                  <a:lnTo>
                    <a:pt x="38060" y="75823"/>
                  </a:lnTo>
                  <a:lnTo>
                    <a:pt x="39450" y="75526"/>
                  </a:lnTo>
                  <a:lnTo>
                    <a:pt x="41533" y="75133"/>
                  </a:lnTo>
                  <a:lnTo>
                    <a:pt x="45414" y="74671"/>
                  </a:lnTo>
                  <a:lnTo>
                    <a:pt x="49739" y="74229"/>
                  </a:lnTo>
                  <a:lnTo>
                    <a:pt x="50661" y="73484"/>
                  </a:lnTo>
                  <a:lnTo>
                    <a:pt x="51378" y="72224"/>
                  </a:lnTo>
                  <a:lnTo>
                    <a:pt x="51832" y="71095"/>
                  </a:lnTo>
                  <a:lnTo>
                    <a:pt x="52727" y="70616"/>
                  </a:lnTo>
                  <a:lnTo>
                    <a:pt x="53937" y="70996"/>
                  </a:lnTo>
                  <a:lnTo>
                    <a:pt x="55524" y="71588"/>
                  </a:lnTo>
                  <a:lnTo>
                    <a:pt x="57168" y="72505"/>
                  </a:lnTo>
                  <a:lnTo>
                    <a:pt x="59052" y="73355"/>
                  </a:lnTo>
                  <a:lnTo>
                    <a:pt x="60308" y="73889"/>
                  </a:lnTo>
                  <a:lnTo>
                    <a:pt x="63323" y="75226"/>
                  </a:lnTo>
                  <a:lnTo>
                    <a:pt x="68482" y="77089"/>
                  </a:lnTo>
                  <a:lnTo>
                    <a:pt x="72724" y="77833"/>
                  </a:lnTo>
                  <a:lnTo>
                    <a:pt x="77851" y="76471"/>
                  </a:lnTo>
                  <a:lnTo>
                    <a:pt x="81552" y="75595"/>
                  </a:lnTo>
                  <a:lnTo>
                    <a:pt x="82012" y="73963"/>
                  </a:lnTo>
                  <a:lnTo>
                    <a:pt x="81435" y="72371"/>
                  </a:lnTo>
                  <a:lnTo>
                    <a:pt x="78680" y="70910"/>
                  </a:lnTo>
                  <a:lnTo>
                    <a:pt x="74931" y="71075"/>
                  </a:lnTo>
                  <a:lnTo>
                    <a:pt x="73780" y="71466"/>
                  </a:lnTo>
                  <a:lnTo>
                    <a:pt x="72033" y="71952"/>
                  </a:lnTo>
                  <a:lnTo>
                    <a:pt x="70982" y="72145"/>
                  </a:lnTo>
                  <a:lnTo>
                    <a:pt x="69215" y="71805"/>
                  </a:lnTo>
                  <a:lnTo>
                    <a:pt x="66970" y="70544"/>
                  </a:lnTo>
                  <a:lnTo>
                    <a:pt x="65558" y="69273"/>
                  </a:lnTo>
                  <a:lnTo>
                    <a:pt x="63583" y="68677"/>
                  </a:lnTo>
                  <a:lnTo>
                    <a:pt x="61242" y="68081"/>
                  </a:lnTo>
                  <a:lnTo>
                    <a:pt x="57488" y="65465"/>
                  </a:lnTo>
                  <a:lnTo>
                    <a:pt x="55527" y="64997"/>
                  </a:lnTo>
                  <a:lnTo>
                    <a:pt x="53673" y="64859"/>
                  </a:lnTo>
                  <a:lnTo>
                    <a:pt x="50108" y="65377"/>
                  </a:lnTo>
                  <a:lnTo>
                    <a:pt x="46630" y="66777"/>
                  </a:lnTo>
                  <a:lnTo>
                    <a:pt x="44799" y="69947"/>
                  </a:lnTo>
                  <a:lnTo>
                    <a:pt x="41316" y="69900"/>
                  </a:lnTo>
                  <a:lnTo>
                    <a:pt x="33921" y="69800"/>
                  </a:lnTo>
                  <a:lnTo>
                    <a:pt x="27129" y="69707"/>
                  </a:lnTo>
                  <a:lnTo>
                    <a:pt x="21523" y="69923"/>
                  </a:lnTo>
                  <a:lnTo>
                    <a:pt x="20959" y="67620"/>
                  </a:lnTo>
                  <a:lnTo>
                    <a:pt x="19631" y="65786"/>
                  </a:lnTo>
                  <a:lnTo>
                    <a:pt x="17474" y="64221"/>
                  </a:lnTo>
                  <a:lnTo>
                    <a:pt x="16998" y="62768"/>
                  </a:lnTo>
                  <a:lnTo>
                    <a:pt x="17729" y="61500"/>
                  </a:lnTo>
                  <a:lnTo>
                    <a:pt x="19813" y="60457"/>
                  </a:lnTo>
                  <a:lnTo>
                    <a:pt x="20289" y="59712"/>
                  </a:lnTo>
                  <a:lnTo>
                    <a:pt x="19197" y="59823"/>
                  </a:lnTo>
                  <a:lnTo>
                    <a:pt x="17546" y="60494"/>
                  </a:lnTo>
                  <a:lnTo>
                    <a:pt x="16449" y="60532"/>
                  </a:lnTo>
                  <a:lnTo>
                    <a:pt x="16316" y="58522"/>
                  </a:lnTo>
                  <a:lnTo>
                    <a:pt x="14486" y="55927"/>
                  </a:lnTo>
                  <a:lnTo>
                    <a:pt x="12423" y="51531"/>
                  </a:lnTo>
                  <a:lnTo>
                    <a:pt x="10088" y="49729"/>
                  </a:lnTo>
                  <a:lnTo>
                    <a:pt x="8128" y="46172"/>
                  </a:lnTo>
                  <a:lnTo>
                    <a:pt x="6081" y="44806"/>
                  </a:lnTo>
                  <a:lnTo>
                    <a:pt x="4198" y="44169"/>
                  </a:lnTo>
                  <a:lnTo>
                    <a:pt x="2591" y="44300"/>
                  </a:lnTo>
                  <a:lnTo>
                    <a:pt x="2004" y="45924"/>
                  </a:lnTo>
                  <a:lnTo>
                    <a:pt x="0" y="43585"/>
                  </a:lnTo>
                  <a:lnTo>
                    <a:pt x="2738" y="42748"/>
                  </a:lnTo>
                  <a:lnTo>
                    <a:pt x="8590" y="39814"/>
                  </a:lnTo>
                  <a:lnTo>
                    <a:pt x="15307" y="31403"/>
                  </a:lnTo>
                  <a:lnTo>
                    <a:pt x="21336" y="21431"/>
                  </a:lnTo>
                  <a:lnTo>
                    <a:pt x="22121" y="19075"/>
                  </a:lnTo>
                  <a:lnTo>
                    <a:pt x="22855" y="17285"/>
                  </a:lnTo>
                  <a:lnTo>
                    <a:pt x="23341" y="13207"/>
                  </a:lnTo>
                  <a:lnTo>
                    <a:pt x="24205" y="10772"/>
                  </a:lnTo>
                  <a:lnTo>
                    <a:pt x="25015" y="10310"/>
                  </a:lnTo>
                  <a:lnTo>
                    <a:pt x="26038" y="8443"/>
                  </a:lnTo>
                  <a:lnTo>
                    <a:pt x="27272" y="5170"/>
                  </a:lnTo>
                  <a:lnTo>
                    <a:pt x="28671" y="3353"/>
                  </a:lnTo>
                  <a:lnTo>
                    <a:pt x="30234" y="2995"/>
                  </a:lnTo>
                  <a:lnTo>
                    <a:pt x="31451" y="3153"/>
                  </a:lnTo>
                  <a:lnTo>
                    <a:pt x="32320" y="3827"/>
                  </a:lnTo>
                  <a:lnTo>
                    <a:pt x="34863" y="4243"/>
                  </a:lnTo>
                  <a:lnTo>
                    <a:pt x="39082" y="4403"/>
                  </a:lnTo>
                  <a:lnTo>
                    <a:pt x="42341" y="3915"/>
                  </a:lnTo>
                  <a:lnTo>
                    <a:pt x="44643" y="2779"/>
                  </a:lnTo>
                  <a:lnTo>
                    <a:pt x="47666" y="2202"/>
                  </a:lnTo>
                  <a:lnTo>
                    <a:pt x="51413" y="2188"/>
                  </a:lnTo>
                  <a:lnTo>
                    <a:pt x="53383" y="1711"/>
                  </a:lnTo>
                  <a:lnTo>
                    <a:pt x="53578" y="772"/>
                  </a:lnTo>
                  <a:lnTo>
                    <a:pt x="54066" y="489"/>
                  </a:lnTo>
                  <a:lnTo>
                    <a:pt x="54847" y="862"/>
                  </a:lnTo>
                  <a:lnTo>
                    <a:pt x="55584" y="714"/>
                  </a:lnTo>
                  <a:lnTo>
                    <a:pt x="56275" y="45"/>
                  </a:lnTo>
                  <a:lnTo>
                    <a:pt x="56963" y="0"/>
                  </a:lnTo>
                  <a:lnTo>
                    <a:pt x="57647" y="577"/>
                  </a:lnTo>
                  <a:lnTo>
                    <a:pt x="60784" y="750"/>
                  </a:lnTo>
                  <a:lnTo>
                    <a:pt x="66378" y="521"/>
                  </a:lnTo>
                  <a:lnTo>
                    <a:pt x="71545" y="2241"/>
                  </a:lnTo>
                  <a:lnTo>
                    <a:pt x="76287" y="5907"/>
                  </a:lnTo>
                  <a:lnTo>
                    <a:pt x="78732" y="8353"/>
                  </a:lnTo>
                  <a:lnTo>
                    <a:pt x="78885" y="9576"/>
                  </a:lnTo>
                  <a:lnTo>
                    <a:pt x="79671" y="10809"/>
                  </a:lnTo>
                  <a:lnTo>
                    <a:pt x="81089" y="12051"/>
                  </a:lnTo>
                  <a:lnTo>
                    <a:pt x="82386" y="12281"/>
                  </a:lnTo>
                  <a:lnTo>
                    <a:pt x="83562" y="11499"/>
                  </a:lnTo>
                  <a:lnTo>
                    <a:pt x="84484" y="11583"/>
                  </a:lnTo>
                  <a:lnTo>
                    <a:pt x="85153" y="12533"/>
                  </a:lnTo>
                  <a:lnTo>
                    <a:pt x="86505" y="12728"/>
                  </a:lnTo>
                  <a:lnTo>
                    <a:pt x="88009" y="12144"/>
                  </a:lnTo>
                  <a:lnTo>
                    <a:pt x="89082" y="12345"/>
                  </a:lnTo>
                  <a:lnTo>
                    <a:pt x="89278" y="12910"/>
                  </a:lnTo>
                  <a:lnTo>
                    <a:pt x="89525" y="13211"/>
                  </a:lnTo>
                  <a:lnTo>
                    <a:pt x="90251" y="13345"/>
                  </a:lnTo>
                  <a:lnTo>
                    <a:pt x="91234" y="14069"/>
                  </a:lnTo>
                  <a:lnTo>
                    <a:pt x="92607" y="16013"/>
                  </a:lnTo>
                  <a:lnTo>
                    <a:pt x="93725" y="18725"/>
                  </a:lnTo>
                  <a:lnTo>
                    <a:pt x="94587" y="22202"/>
                  </a:lnTo>
                  <a:lnTo>
                    <a:pt x="95728" y="24093"/>
                  </a:lnTo>
                  <a:lnTo>
                    <a:pt x="97144" y="24401"/>
                  </a:lnTo>
                  <a:lnTo>
                    <a:pt x="97965" y="25115"/>
                  </a:lnTo>
                  <a:lnTo>
                    <a:pt x="98128" y="25942"/>
                  </a:lnTo>
                  <a:lnTo>
                    <a:pt x="98539" y="26503"/>
                  </a:lnTo>
                  <a:lnTo>
                    <a:pt x="99219" y="26817"/>
                  </a:lnTo>
                  <a:lnTo>
                    <a:pt x="100418" y="26630"/>
                  </a:lnTo>
                  <a:lnTo>
                    <a:pt x="101822" y="27804"/>
                  </a:lnTo>
                  <a:lnTo>
                    <a:pt x="103329" y="30352"/>
                  </a:lnTo>
                  <a:lnTo>
                    <a:pt x="103567" y="31501"/>
                  </a:lnTo>
                  <a:lnTo>
                    <a:pt x="103330" y="32117"/>
                  </a:lnTo>
                  <a:lnTo>
                    <a:pt x="103421" y="32567"/>
                  </a:lnTo>
                  <a:lnTo>
                    <a:pt x="104423" y="32997"/>
                  </a:lnTo>
                  <a:lnTo>
                    <a:pt x="105371" y="33831"/>
                  </a:lnTo>
                  <a:lnTo>
                    <a:pt x="106147" y="35084"/>
                  </a:lnTo>
                  <a:lnTo>
                    <a:pt x="107819" y="36196"/>
                  </a:lnTo>
                  <a:lnTo>
                    <a:pt x="110386" y="37170"/>
                  </a:lnTo>
                  <a:lnTo>
                    <a:pt x="112236" y="38625"/>
                  </a:lnTo>
                  <a:lnTo>
                    <a:pt x="113368" y="40560"/>
                  </a:lnTo>
                  <a:lnTo>
                    <a:pt x="115715" y="42188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04" name="ee4p_SL_1_37365">
              <a:extLst>
                <a:ext uri="{FF2B5EF4-FFF2-40B4-BE49-F238E27FC236}">
                  <a16:creationId xmlns:a16="http://schemas.microsoft.com/office/drawing/2014/main" id="{F4D0781F-36FF-BB99-808B-F1C89A6F16D0}"/>
                </a:ext>
              </a:extLst>
            </p:cNvPr>
            <p:cNvSpPr>
              <a:spLocks noChangeAspect="1"/>
            </p:cNvSpPr>
            <p:nvPr>
              <p:custDataLst>
                <p:tags r:id="rId358"/>
              </p:custDataLst>
            </p:nvPr>
          </p:nvSpPr>
          <p:spPr>
            <a:xfrm>
              <a:off x="6145572" y="4391604"/>
              <a:ext cx="83571" cy="88768"/>
            </a:xfrm>
            <a:custGeom>
              <a:avLst/>
              <a:gdLst>
                <a:gd name="connsiteX0" fmla="*/ 40125 w 178246"/>
                <a:gd name="connsiteY0" fmla="*/ 140811 h 184310"/>
                <a:gd name="connsiteX1" fmla="*/ 44330 w 178246"/>
                <a:gd name="connsiteY1" fmla="*/ 142587 h 184310"/>
                <a:gd name="connsiteX2" fmla="*/ 46208 w 178246"/>
                <a:gd name="connsiteY2" fmla="*/ 144074 h 184310"/>
                <a:gd name="connsiteX3" fmla="*/ 46909 w 178246"/>
                <a:gd name="connsiteY3" fmla="*/ 146892 h 184310"/>
                <a:gd name="connsiteX4" fmla="*/ 45404 w 178246"/>
                <a:gd name="connsiteY4" fmla="*/ 152774 h 184310"/>
                <a:gd name="connsiteX5" fmla="*/ 44542 w 178246"/>
                <a:gd name="connsiteY5" fmla="*/ 154327 h 184310"/>
                <a:gd name="connsiteX6" fmla="*/ 40602 w 178246"/>
                <a:gd name="connsiteY6" fmla="*/ 150500 h 184310"/>
                <a:gd name="connsiteX7" fmla="*/ 20202 w 178246"/>
                <a:gd name="connsiteY7" fmla="*/ 144762 h 184310"/>
                <a:gd name="connsiteX8" fmla="*/ 25958 w 178246"/>
                <a:gd name="connsiteY8" fmla="*/ 141714 h 184310"/>
                <a:gd name="connsiteX9" fmla="*/ 119584 w 178246"/>
                <a:gd name="connsiteY9" fmla="*/ 0 h 184310"/>
                <a:gd name="connsiteX10" fmla="*/ 123610 w 178246"/>
                <a:gd name="connsiteY10" fmla="*/ 1122 h 184310"/>
                <a:gd name="connsiteX11" fmla="*/ 125080 w 178246"/>
                <a:gd name="connsiteY11" fmla="*/ 4256 h 184310"/>
                <a:gd name="connsiteX12" fmla="*/ 128940 w 178246"/>
                <a:gd name="connsiteY12" fmla="*/ 9171 h 184310"/>
                <a:gd name="connsiteX13" fmla="*/ 132979 w 178246"/>
                <a:gd name="connsiteY13" fmla="*/ 12568 h 184310"/>
                <a:gd name="connsiteX14" fmla="*/ 137977 w 178246"/>
                <a:gd name="connsiteY14" fmla="*/ 20022 h 184310"/>
                <a:gd name="connsiteX15" fmla="*/ 143798 w 178246"/>
                <a:gd name="connsiteY15" fmla="*/ 28698 h 184310"/>
                <a:gd name="connsiteX16" fmla="*/ 150090 w 178246"/>
                <a:gd name="connsiteY16" fmla="*/ 36533 h 184310"/>
                <a:gd name="connsiteX17" fmla="*/ 154121 w 178246"/>
                <a:gd name="connsiteY17" fmla="*/ 40778 h 184310"/>
                <a:gd name="connsiteX18" fmla="*/ 154584 w 178246"/>
                <a:gd name="connsiteY18" fmla="*/ 42267 h 184310"/>
                <a:gd name="connsiteX19" fmla="*/ 154292 w 178246"/>
                <a:gd name="connsiteY19" fmla="*/ 43952 h 184310"/>
                <a:gd name="connsiteX20" fmla="*/ 152302 w 178246"/>
                <a:gd name="connsiteY20" fmla="*/ 47933 h 184310"/>
                <a:gd name="connsiteX21" fmla="*/ 150601 w 178246"/>
                <a:gd name="connsiteY21" fmla="*/ 52240 h 184310"/>
                <a:gd name="connsiteX22" fmla="*/ 150775 w 178246"/>
                <a:gd name="connsiteY22" fmla="*/ 53858 h 184310"/>
                <a:gd name="connsiteX23" fmla="*/ 151970 w 178246"/>
                <a:gd name="connsiteY23" fmla="*/ 54669 h 184310"/>
                <a:gd name="connsiteX24" fmla="*/ 158538 w 178246"/>
                <a:gd name="connsiteY24" fmla="*/ 56011 h 184310"/>
                <a:gd name="connsiteX25" fmla="*/ 159140 w 178246"/>
                <a:gd name="connsiteY25" fmla="*/ 60811 h 184310"/>
                <a:gd name="connsiteX26" fmla="*/ 159148 w 178246"/>
                <a:gd name="connsiteY26" fmla="*/ 67448 h 184310"/>
                <a:gd name="connsiteX27" fmla="*/ 162339 w 178246"/>
                <a:gd name="connsiteY27" fmla="*/ 73644 h 184310"/>
                <a:gd name="connsiteX28" fmla="*/ 165373 w 178246"/>
                <a:gd name="connsiteY28" fmla="*/ 78192 h 184310"/>
                <a:gd name="connsiteX29" fmla="*/ 165221 w 178246"/>
                <a:gd name="connsiteY29" fmla="*/ 79818 h 184310"/>
                <a:gd name="connsiteX30" fmla="*/ 157796 w 178246"/>
                <a:gd name="connsiteY30" fmla="*/ 87594 h 184310"/>
                <a:gd name="connsiteX31" fmla="*/ 154900 w 178246"/>
                <a:gd name="connsiteY31" fmla="*/ 95311 h 184310"/>
                <a:gd name="connsiteX32" fmla="*/ 153432 w 178246"/>
                <a:gd name="connsiteY32" fmla="*/ 97480 h 184310"/>
                <a:gd name="connsiteX33" fmla="*/ 152840 w 178246"/>
                <a:gd name="connsiteY33" fmla="*/ 99208 h 184310"/>
                <a:gd name="connsiteX34" fmla="*/ 154332 w 178246"/>
                <a:gd name="connsiteY34" fmla="*/ 100017 h 184310"/>
                <a:gd name="connsiteX35" fmla="*/ 156365 w 178246"/>
                <a:gd name="connsiteY35" fmla="*/ 99503 h 184310"/>
                <a:gd name="connsiteX36" fmla="*/ 159245 w 178246"/>
                <a:gd name="connsiteY36" fmla="*/ 100148 h 184310"/>
                <a:gd name="connsiteX37" fmla="*/ 161988 w 178246"/>
                <a:gd name="connsiteY37" fmla="*/ 100376 h 184310"/>
                <a:gd name="connsiteX38" fmla="*/ 165617 w 178246"/>
                <a:gd name="connsiteY38" fmla="*/ 97606 h 184310"/>
                <a:gd name="connsiteX39" fmla="*/ 171657 w 178246"/>
                <a:gd name="connsiteY39" fmla="*/ 90519 h 184310"/>
                <a:gd name="connsiteX40" fmla="*/ 173693 w 178246"/>
                <a:gd name="connsiteY40" fmla="*/ 89651 h 184310"/>
                <a:gd name="connsiteX41" fmla="*/ 178246 w 178246"/>
                <a:gd name="connsiteY41" fmla="*/ 90267 h 184310"/>
                <a:gd name="connsiteX42" fmla="*/ 178096 w 178246"/>
                <a:gd name="connsiteY42" fmla="*/ 92120 h 184310"/>
                <a:gd name="connsiteX43" fmla="*/ 176382 w 178246"/>
                <a:gd name="connsiteY43" fmla="*/ 100662 h 184310"/>
                <a:gd name="connsiteX44" fmla="*/ 173709 w 178246"/>
                <a:gd name="connsiteY44" fmla="*/ 107991 h 184310"/>
                <a:gd name="connsiteX45" fmla="*/ 171947 w 178246"/>
                <a:gd name="connsiteY45" fmla="*/ 109799 h 184310"/>
                <a:gd name="connsiteX46" fmla="*/ 164412 w 178246"/>
                <a:gd name="connsiteY46" fmla="*/ 111725 h 184310"/>
                <a:gd name="connsiteX47" fmla="*/ 161208 w 178246"/>
                <a:gd name="connsiteY47" fmla="*/ 114952 h 184310"/>
                <a:gd name="connsiteX48" fmla="*/ 158441 w 178246"/>
                <a:gd name="connsiteY48" fmla="*/ 125367 h 184310"/>
                <a:gd name="connsiteX49" fmla="*/ 156671 w 178246"/>
                <a:gd name="connsiteY49" fmla="*/ 133531 h 184310"/>
                <a:gd name="connsiteX50" fmla="*/ 154075 w 178246"/>
                <a:gd name="connsiteY50" fmla="*/ 134899 h 184310"/>
                <a:gd name="connsiteX51" fmla="*/ 143013 w 178246"/>
                <a:gd name="connsiteY51" fmla="*/ 146704 h 184310"/>
                <a:gd name="connsiteX52" fmla="*/ 135778 w 178246"/>
                <a:gd name="connsiteY52" fmla="*/ 151182 h 184310"/>
                <a:gd name="connsiteX53" fmla="*/ 130732 w 178246"/>
                <a:gd name="connsiteY53" fmla="*/ 155021 h 184310"/>
                <a:gd name="connsiteX54" fmla="*/ 125953 w 178246"/>
                <a:gd name="connsiteY54" fmla="*/ 160032 h 184310"/>
                <a:gd name="connsiteX55" fmla="*/ 119937 w 178246"/>
                <a:gd name="connsiteY55" fmla="*/ 164902 h 184310"/>
                <a:gd name="connsiteX56" fmla="*/ 113482 w 178246"/>
                <a:gd name="connsiteY56" fmla="*/ 173114 h 184310"/>
                <a:gd name="connsiteX57" fmla="*/ 108870 w 178246"/>
                <a:gd name="connsiteY57" fmla="*/ 181651 h 184310"/>
                <a:gd name="connsiteX58" fmla="*/ 105730 w 178246"/>
                <a:gd name="connsiteY58" fmla="*/ 184310 h 184310"/>
                <a:gd name="connsiteX59" fmla="*/ 103362 w 178246"/>
                <a:gd name="connsiteY59" fmla="*/ 181905 h 184310"/>
                <a:gd name="connsiteX60" fmla="*/ 92351 w 178246"/>
                <a:gd name="connsiteY60" fmla="*/ 173476 h 184310"/>
                <a:gd name="connsiteX61" fmla="*/ 80756 w 178246"/>
                <a:gd name="connsiteY61" fmla="*/ 167824 h 184310"/>
                <a:gd name="connsiteX62" fmla="*/ 56033 w 178246"/>
                <a:gd name="connsiteY62" fmla="*/ 158401 h 184310"/>
                <a:gd name="connsiteX63" fmla="*/ 47799 w 178246"/>
                <a:gd name="connsiteY63" fmla="*/ 155755 h 184310"/>
                <a:gd name="connsiteX64" fmla="*/ 48093 w 178246"/>
                <a:gd name="connsiteY64" fmla="*/ 152406 h 184310"/>
                <a:gd name="connsiteX65" fmla="*/ 50933 w 178246"/>
                <a:gd name="connsiteY65" fmla="*/ 146302 h 184310"/>
                <a:gd name="connsiteX66" fmla="*/ 46328 w 178246"/>
                <a:gd name="connsiteY66" fmla="*/ 139113 h 184310"/>
                <a:gd name="connsiteX67" fmla="*/ 48117 w 178246"/>
                <a:gd name="connsiteY67" fmla="*/ 133895 h 184310"/>
                <a:gd name="connsiteX68" fmla="*/ 46328 w 178246"/>
                <a:gd name="connsiteY68" fmla="*/ 133890 h 184310"/>
                <a:gd name="connsiteX69" fmla="*/ 42790 w 178246"/>
                <a:gd name="connsiteY69" fmla="*/ 137034 h 184310"/>
                <a:gd name="connsiteX70" fmla="*/ 35244 w 178246"/>
                <a:gd name="connsiteY70" fmla="*/ 136124 h 184310"/>
                <a:gd name="connsiteX71" fmla="*/ 30249 w 178246"/>
                <a:gd name="connsiteY71" fmla="*/ 131642 h 184310"/>
                <a:gd name="connsiteX72" fmla="*/ 26167 w 178246"/>
                <a:gd name="connsiteY72" fmla="*/ 129998 h 184310"/>
                <a:gd name="connsiteX73" fmla="*/ 24386 w 178246"/>
                <a:gd name="connsiteY73" fmla="*/ 127737 h 184310"/>
                <a:gd name="connsiteX74" fmla="*/ 21769 w 178246"/>
                <a:gd name="connsiteY74" fmla="*/ 115906 h 184310"/>
                <a:gd name="connsiteX75" fmla="*/ 19886 w 178246"/>
                <a:gd name="connsiteY75" fmla="*/ 110533 h 184310"/>
                <a:gd name="connsiteX76" fmla="*/ 16101 w 178246"/>
                <a:gd name="connsiteY76" fmla="*/ 107217 h 184310"/>
                <a:gd name="connsiteX77" fmla="*/ 8513 w 178246"/>
                <a:gd name="connsiteY77" fmla="*/ 106402 h 184310"/>
                <a:gd name="connsiteX78" fmla="*/ 5384 w 178246"/>
                <a:gd name="connsiteY78" fmla="*/ 99173 h 184310"/>
                <a:gd name="connsiteX79" fmla="*/ 1181 w 178246"/>
                <a:gd name="connsiteY79" fmla="*/ 93572 h 184310"/>
                <a:gd name="connsiteX80" fmla="*/ 1862 w 178246"/>
                <a:gd name="connsiteY80" fmla="*/ 90122 h 184310"/>
                <a:gd name="connsiteX81" fmla="*/ 5293 w 178246"/>
                <a:gd name="connsiteY81" fmla="*/ 90320 h 184310"/>
                <a:gd name="connsiteX82" fmla="*/ 7980 w 178246"/>
                <a:gd name="connsiteY82" fmla="*/ 92825 h 184310"/>
                <a:gd name="connsiteX83" fmla="*/ 12300 w 178246"/>
                <a:gd name="connsiteY83" fmla="*/ 93870 h 184310"/>
                <a:gd name="connsiteX84" fmla="*/ 17676 w 178246"/>
                <a:gd name="connsiteY84" fmla="*/ 87803 h 184310"/>
                <a:gd name="connsiteX85" fmla="*/ 22492 w 178246"/>
                <a:gd name="connsiteY85" fmla="*/ 84516 h 184310"/>
                <a:gd name="connsiteX86" fmla="*/ 23606 w 178246"/>
                <a:gd name="connsiteY86" fmla="*/ 81639 h 184310"/>
                <a:gd name="connsiteX87" fmla="*/ 23020 w 178246"/>
                <a:gd name="connsiteY87" fmla="*/ 80062 h 184310"/>
                <a:gd name="connsiteX88" fmla="*/ 20095 w 178246"/>
                <a:gd name="connsiteY88" fmla="*/ 82513 h 184310"/>
                <a:gd name="connsiteX89" fmla="*/ 12107 w 178246"/>
                <a:gd name="connsiteY89" fmla="*/ 81880 h 184310"/>
                <a:gd name="connsiteX90" fmla="*/ 10130 w 178246"/>
                <a:gd name="connsiteY90" fmla="*/ 84088 h 184310"/>
                <a:gd name="connsiteX91" fmla="*/ 6565 w 178246"/>
                <a:gd name="connsiteY91" fmla="*/ 84795 h 184310"/>
                <a:gd name="connsiteX92" fmla="*/ 3806 w 178246"/>
                <a:gd name="connsiteY92" fmla="*/ 77694 h 184310"/>
                <a:gd name="connsiteX93" fmla="*/ 3938 w 178246"/>
                <a:gd name="connsiteY93" fmla="*/ 73515 h 184310"/>
                <a:gd name="connsiteX94" fmla="*/ 5079 w 178246"/>
                <a:gd name="connsiteY94" fmla="*/ 68911 h 184310"/>
                <a:gd name="connsiteX95" fmla="*/ 13128 w 178246"/>
                <a:gd name="connsiteY95" fmla="*/ 68121 h 184310"/>
                <a:gd name="connsiteX96" fmla="*/ 13813 w 178246"/>
                <a:gd name="connsiteY96" fmla="*/ 66640 h 184310"/>
                <a:gd name="connsiteX97" fmla="*/ 8231 w 178246"/>
                <a:gd name="connsiteY97" fmla="*/ 65651 h 184310"/>
                <a:gd name="connsiteX98" fmla="*/ 1246 w 178246"/>
                <a:gd name="connsiteY98" fmla="*/ 60297 h 184310"/>
                <a:gd name="connsiteX99" fmla="*/ 0 w 178246"/>
                <a:gd name="connsiteY99" fmla="*/ 56608 h 184310"/>
                <a:gd name="connsiteX100" fmla="*/ 3461 w 178246"/>
                <a:gd name="connsiteY100" fmla="*/ 55360 h 184310"/>
                <a:gd name="connsiteX101" fmla="*/ 6771 w 178246"/>
                <a:gd name="connsiteY101" fmla="*/ 55909 h 184310"/>
                <a:gd name="connsiteX102" fmla="*/ 9643 w 178246"/>
                <a:gd name="connsiteY102" fmla="*/ 56705 h 184310"/>
                <a:gd name="connsiteX103" fmla="*/ 12755 w 178246"/>
                <a:gd name="connsiteY103" fmla="*/ 55390 h 184310"/>
                <a:gd name="connsiteX104" fmla="*/ 15675 w 178246"/>
                <a:gd name="connsiteY104" fmla="*/ 53362 h 184310"/>
                <a:gd name="connsiteX105" fmla="*/ 17416 w 178246"/>
                <a:gd name="connsiteY105" fmla="*/ 50772 h 184310"/>
                <a:gd name="connsiteX106" fmla="*/ 19776 w 178246"/>
                <a:gd name="connsiteY106" fmla="*/ 43821 h 184310"/>
                <a:gd name="connsiteX107" fmla="*/ 27337 w 178246"/>
                <a:gd name="connsiteY107" fmla="*/ 41496 h 184310"/>
                <a:gd name="connsiteX108" fmla="*/ 31794 w 178246"/>
                <a:gd name="connsiteY108" fmla="*/ 37235 h 184310"/>
                <a:gd name="connsiteX109" fmla="*/ 36027 w 178246"/>
                <a:gd name="connsiteY109" fmla="*/ 30629 h 184310"/>
                <a:gd name="connsiteX110" fmla="*/ 37966 w 178246"/>
                <a:gd name="connsiteY110" fmla="*/ 25982 h 184310"/>
                <a:gd name="connsiteX111" fmla="*/ 39712 w 178246"/>
                <a:gd name="connsiteY111" fmla="*/ 23668 h 184310"/>
                <a:gd name="connsiteX112" fmla="*/ 40813 w 178246"/>
                <a:gd name="connsiteY112" fmla="*/ 21661 h 184310"/>
                <a:gd name="connsiteX113" fmla="*/ 41627 w 178246"/>
                <a:gd name="connsiteY113" fmla="*/ 19454 h 184310"/>
                <a:gd name="connsiteX114" fmla="*/ 43521 w 178246"/>
                <a:gd name="connsiteY114" fmla="*/ 17432 h 184310"/>
                <a:gd name="connsiteX115" fmla="*/ 45506 w 178246"/>
                <a:gd name="connsiteY115" fmla="*/ 12517 h 184310"/>
                <a:gd name="connsiteX116" fmla="*/ 46861 w 178246"/>
                <a:gd name="connsiteY116" fmla="*/ 8036 h 184310"/>
                <a:gd name="connsiteX117" fmla="*/ 51214 w 178246"/>
                <a:gd name="connsiteY117" fmla="*/ 5882 h 184310"/>
                <a:gd name="connsiteX118" fmla="*/ 60112 w 178246"/>
                <a:gd name="connsiteY118" fmla="*/ 3991 h 184310"/>
                <a:gd name="connsiteX119" fmla="*/ 68132 w 178246"/>
                <a:gd name="connsiteY119" fmla="*/ 7243 h 184310"/>
                <a:gd name="connsiteX120" fmla="*/ 81139 w 178246"/>
                <a:gd name="connsiteY120" fmla="*/ 4412 h 184310"/>
                <a:gd name="connsiteX121" fmla="*/ 81830 w 178246"/>
                <a:gd name="connsiteY121" fmla="*/ 209 h 184310"/>
                <a:gd name="connsiteX122" fmla="*/ 93736 w 178246"/>
                <a:gd name="connsiteY122" fmla="*/ 139 h 184310"/>
                <a:gd name="connsiteX123" fmla="*/ 107841 w 178246"/>
                <a:gd name="connsiteY123" fmla="*/ 64 h 184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</a:cxnLst>
              <a:rect l="l" t="t" r="r" b="b"/>
              <a:pathLst>
                <a:path w="178246" h="184310">
                  <a:moveTo>
                    <a:pt x="40125" y="140811"/>
                  </a:moveTo>
                  <a:lnTo>
                    <a:pt x="44330" y="142587"/>
                  </a:lnTo>
                  <a:lnTo>
                    <a:pt x="46208" y="144074"/>
                  </a:lnTo>
                  <a:lnTo>
                    <a:pt x="46909" y="146892"/>
                  </a:lnTo>
                  <a:lnTo>
                    <a:pt x="45404" y="152774"/>
                  </a:lnTo>
                  <a:lnTo>
                    <a:pt x="44542" y="154327"/>
                  </a:lnTo>
                  <a:lnTo>
                    <a:pt x="40602" y="150500"/>
                  </a:lnTo>
                  <a:lnTo>
                    <a:pt x="20202" y="144762"/>
                  </a:lnTo>
                  <a:lnTo>
                    <a:pt x="25958" y="141714"/>
                  </a:lnTo>
                  <a:close/>
                  <a:moveTo>
                    <a:pt x="119584" y="0"/>
                  </a:moveTo>
                  <a:lnTo>
                    <a:pt x="123610" y="1122"/>
                  </a:lnTo>
                  <a:lnTo>
                    <a:pt x="125080" y="4256"/>
                  </a:lnTo>
                  <a:lnTo>
                    <a:pt x="128940" y="9171"/>
                  </a:lnTo>
                  <a:lnTo>
                    <a:pt x="132979" y="12568"/>
                  </a:lnTo>
                  <a:lnTo>
                    <a:pt x="137977" y="20022"/>
                  </a:lnTo>
                  <a:lnTo>
                    <a:pt x="143798" y="28698"/>
                  </a:lnTo>
                  <a:lnTo>
                    <a:pt x="150090" y="36533"/>
                  </a:lnTo>
                  <a:lnTo>
                    <a:pt x="154121" y="40778"/>
                  </a:lnTo>
                  <a:lnTo>
                    <a:pt x="154584" y="42267"/>
                  </a:lnTo>
                  <a:lnTo>
                    <a:pt x="154292" y="43952"/>
                  </a:lnTo>
                  <a:lnTo>
                    <a:pt x="152302" y="47933"/>
                  </a:lnTo>
                  <a:lnTo>
                    <a:pt x="150601" y="52240"/>
                  </a:lnTo>
                  <a:lnTo>
                    <a:pt x="150775" y="53858"/>
                  </a:lnTo>
                  <a:lnTo>
                    <a:pt x="151970" y="54669"/>
                  </a:lnTo>
                  <a:lnTo>
                    <a:pt x="158538" y="56011"/>
                  </a:lnTo>
                  <a:lnTo>
                    <a:pt x="159140" y="60811"/>
                  </a:lnTo>
                  <a:lnTo>
                    <a:pt x="159148" y="67448"/>
                  </a:lnTo>
                  <a:lnTo>
                    <a:pt x="162339" y="73644"/>
                  </a:lnTo>
                  <a:lnTo>
                    <a:pt x="165373" y="78192"/>
                  </a:lnTo>
                  <a:lnTo>
                    <a:pt x="165221" y="79818"/>
                  </a:lnTo>
                  <a:lnTo>
                    <a:pt x="157796" y="87594"/>
                  </a:lnTo>
                  <a:lnTo>
                    <a:pt x="154900" y="95311"/>
                  </a:lnTo>
                  <a:lnTo>
                    <a:pt x="153432" y="97480"/>
                  </a:lnTo>
                  <a:lnTo>
                    <a:pt x="152840" y="99208"/>
                  </a:lnTo>
                  <a:lnTo>
                    <a:pt x="154332" y="100017"/>
                  </a:lnTo>
                  <a:lnTo>
                    <a:pt x="156365" y="99503"/>
                  </a:lnTo>
                  <a:lnTo>
                    <a:pt x="159245" y="100148"/>
                  </a:lnTo>
                  <a:lnTo>
                    <a:pt x="161988" y="100376"/>
                  </a:lnTo>
                  <a:lnTo>
                    <a:pt x="165617" y="97606"/>
                  </a:lnTo>
                  <a:lnTo>
                    <a:pt x="171657" y="90519"/>
                  </a:lnTo>
                  <a:lnTo>
                    <a:pt x="173693" y="89651"/>
                  </a:lnTo>
                  <a:lnTo>
                    <a:pt x="178246" y="90267"/>
                  </a:lnTo>
                  <a:lnTo>
                    <a:pt x="178096" y="92120"/>
                  </a:lnTo>
                  <a:lnTo>
                    <a:pt x="176382" y="100662"/>
                  </a:lnTo>
                  <a:lnTo>
                    <a:pt x="173709" y="107991"/>
                  </a:lnTo>
                  <a:lnTo>
                    <a:pt x="171947" y="109799"/>
                  </a:lnTo>
                  <a:lnTo>
                    <a:pt x="164412" y="111725"/>
                  </a:lnTo>
                  <a:lnTo>
                    <a:pt x="161208" y="114952"/>
                  </a:lnTo>
                  <a:lnTo>
                    <a:pt x="158441" y="125367"/>
                  </a:lnTo>
                  <a:lnTo>
                    <a:pt x="156671" y="133531"/>
                  </a:lnTo>
                  <a:lnTo>
                    <a:pt x="154075" y="134899"/>
                  </a:lnTo>
                  <a:lnTo>
                    <a:pt x="143013" y="146704"/>
                  </a:lnTo>
                  <a:lnTo>
                    <a:pt x="135778" y="151182"/>
                  </a:lnTo>
                  <a:lnTo>
                    <a:pt x="130732" y="155021"/>
                  </a:lnTo>
                  <a:lnTo>
                    <a:pt x="125953" y="160032"/>
                  </a:lnTo>
                  <a:lnTo>
                    <a:pt x="119937" y="164902"/>
                  </a:lnTo>
                  <a:lnTo>
                    <a:pt x="113482" y="173114"/>
                  </a:lnTo>
                  <a:lnTo>
                    <a:pt x="108870" y="181651"/>
                  </a:lnTo>
                  <a:lnTo>
                    <a:pt x="105730" y="184310"/>
                  </a:lnTo>
                  <a:lnTo>
                    <a:pt x="103362" y="181905"/>
                  </a:lnTo>
                  <a:lnTo>
                    <a:pt x="92351" y="173476"/>
                  </a:lnTo>
                  <a:lnTo>
                    <a:pt x="80756" y="167824"/>
                  </a:lnTo>
                  <a:lnTo>
                    <a:pt x="56033" y="158401"/>
                  </a:lnTo>
                  <a:lnTo>
                    <a:pt x="47799" y="155755"/>
                  </a:lnTo>
                  <a:lnTo>
                    <a:pt x="48093" y="152406"/>
                  </a:lnTo>
                  <a:lnTo>
                    <a:pt x="50933" y="146302"/>
                  </a:lnTo>
                  <a:lnTo>
                    <a:pt x="46328" y="139113"/>
                  </a:lnTo>
                  <a:lnTo>
                    <a:pt x="48117" y="133895"/>
                  </a:lnTo>
                  <a:lnTo>
                    <a:pt x="46328" y="133890"/>
                  </a:lnTo>
                  <a:lnTo>
                    <a:pt x="42790" y="137034"/>
                  </a:lnTo>
                  <a:lnTo>
                    <a:pt x="35244" y="136124"/>
                  </a:lnTo>
                  <a:lnTo>
                    <a:pt x="30249" y="131642"/>
                  </a:lnTo>
                  <a:lnTo>
                    <a:pt x="26167" y="129998"/>
                  </a:lnTo>
                  <a:lnTo>
                    <a:pt x="24386" y="127737"/>
                  </a:lnTo>
                  <a:lnTo>
                    <a:pt x="21769" y="115906"/>
                  </a:lnTo>
                  <a:lnTo>
                    <a:pt x="19886" y="110533"/>
                  </a:lnTo>
                  <a:lnTo>
                    <a:pt x="16101" y="107217"/>
                  </a:lnTo>
                  <a:lnTo>
                    <a:pt x="8513" y="106402"/>
                  </a:lnTo>
                  <a:lnTo>
                    <a:pt x="5384" y="99173"/>
                  </a:lnTo>
                  <a:lnTo>
                    <a:pt x="1181" y="93572"/>
                  </a:lnTo>
                  <a:lnTo>
                    <a:pt x="1862" y="90122"/>
                  </a:lnTo>
                  <a:lnTo>
                    <a:pt x="5293" y="90320"/>
                  </a:lnTo>
                  <a:lnTo>
                    <a:pt x="7980" y="92825"/>
                  </a:lnTo>
                  <a:lnTo>
                    <a:pt x="12300" y="93870"/>
                  </a:lnTo>
                  <a:lnTo>
                    <a:pt x="17676" y="87803"/>
                  </a:lnTo>
                  <a:lnTo>
                    <a:pt x="22492" y="84516"/>
                  </a:lnTo>
                  <a:lnTo>
                    <a:pt x="23606" y="81639"/>
                  </a:lnTo>
                  <a:lnTo>
                    <a:pt x="23020" y="80062"/>
                  </a:lnTo>
                  <a:lnTo>
                    <a:pt x="20095" y="82513"/>
                  </a:lnTo>
                  <a:lnTo>
                    <a:pt x="12107" y="81880"/>
                  </a:lnTo>
                  <a:lnTo>
                    <a:pt x="10130" y="84088"/>
                  </a:lnTo>
                  <a:lnTo>
                    <a:pt x="6565" y="84795"/>
                  </a:lnTo>
                  <a:lnTo>
                    <a:pt x="3806" y="77694"/>
                  </a:lnTo>
                  <a:lnTo>
                    <a:pt x="3938" y="73515"/>
                  </a:lnTo>
                  <a:lnTo>
                    <a:pt x="5079" y="68911"/>
                  </a:lnTo>
                  <a:lnTo>
                    <a:pt x="13128" y="68121"/>
                  </a:lnTo>
                  <a:lnTo>
                    <a:pt x="13813" y="66640"/>
                  </a:lnTo>
                  <a:lnTo>
                    <a:pt x="8231" y="65651"/>
                  </a:lnTo>
                  <a:lnTo>
                    <a:pt x="1246" y="60297"/>
                  </a:lnTo>
                  <a:lnTo>
                    <a:pt x="0" y="56608"/>
                  </a:lnTo>
                  <a:lnTo>
                    <a:pt x="3461" y="55360"/>
                  </a:lnTo>
                  <a:lnTo>
                    <a:pt x="6771" y="55909"/>
                  </a:lnTo>
                  <a:lnTo>
                    <a:pt x="9643" y="56705"/>
                  </a:lnTo>
                  <a:lnTo>
                    <a:pt x="12755" y="55390"/>
                  </a:lnTo>
                  <a:lnTo>
                    <a:pt x="15675" y="53362"/>
                  </a:lnTo>
                  <a:lnTo>
                    <a:pt x="17416" y="50772"/>
                  </a:lnTo>
                  <a:lnTo>
                    <a:pt x="19776" y="43821"/>
                  </a:lnTo>
                  <a:lnTo>
                    <a:pt x="27337" y="41496"/>
                  </a:lnTo>
                  <a:lnTo>
                    <a:pt x="31794" y="37235"/>
                  </a:lnTo>
                  <a:lnTo>
                    <a:pt x="36027" y="30629"/>
                  </a:lnTo>
                  <a:lnTo>
                    <a:pt x="37966" y="25982"/>
                  </a:lnTo>
                  <a:lnTo>
                    <a:pt x="39712" y="23668"/>
                  </a:lnTo>
                  <a:lnTo>
                    <a:pt x="40813" y="21661"/>
                  </a:lnTo>
                  <a:lnTo>
                    <a:pt x="41627" y="19454"/>
                  </a:lnTo>
                  <a:lnTo>
                    <a:pt x="43521" y="17432"/>
                  </a:lnTo>
                  <a:lnTo>
                    <a:pt x="45506" y="12517"/>
                  </a:lnTo>
                  <a:lnTo>
                    <a:pt x="46861" y="8036"/>
                  </a:lnTo>
                  <a:lnTo>
                    <a:pt x="51214" y="5882"/>
                  </a:lnTo>
                  <a:lnTo>
                    <a:pt x="60112" y="3991"/>
                  </a:lnTo>
                  <a:lnTo>
                    <a:pt x="68132" y="7243"/>
                  </a:lnTo>
                  <a:lnTo>
                    <a:pt x="81139" y="4412"/>
                  </a:lnTo>
                  <a:lnTo>
                    <a:pt x="81830" y="209"/>
                  </a:lnTo>
                  <a:lnTo>
                    <a:pt x="93736" y="139"/>
                  </a:lnTo>
                  <a:lnTo>
                    <a:pt x="107841" y="64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05" name="ee4p_SO_1_37365">
              <a:extLst>
                <a:ext uri="{FF2B5EF4-FFF2-40B4-BE49-F238E27FC236}">
                  <a16:creationId xmlns:a16="http://schemas.microsoft.com/office/drawing/2014/main" id="{E885BDAE-F73E-BB85-08C3-FBE20641B1D0}"/>
                </a:ext>
              </a:extLst>
            </p:cNvPr>
            <p:cNvSpPr>
              <a:spLocks noChangeAspect="1"/>
            </p:cNvSpPr>
            <p:nvPr>
              <p:custDataLst>
                <p:tags r:id="rId359"/>
              </p:custDataLst>
            </p:nvPr>
          </p:nvSpPr>
          <p:spPr>
            <a:xfrm>
              <a:off x="7652256" y="4334242"/>
              <a:ext cx="289518" cy="391812"/>
            </a:xfrm>
            <a:custGeom>
              <a:avLst/>
              <a:gdLst>
                <a:gd name="connsiteX0" fmla="*/ 135133 w 617505"/>
                <a:gd name="connsiteY0" fmla="*/ 29051 h 813530"/>
                <a:gd name="connsiteX1" fmla="*/ 146696 w 617505"/>
                <a:gd name="connsiteY1" fmla="*/ 38249 h 813530"/>
                <a:gd name="connsiteX2" fmla="*/ 157946 w 617505"/>
                <a:gd name="connsiteY2" fmla="*/ 56897 h 813530"/>
                <a:gd name="connsiteX3" fmla="*/ 171071 w 617505"/>
                <a:gd name="connsiteY3" fmla="*/ 71948 h 813530"/>
                <a:gd name="connsiteX4" fmla="*/ 189162 w 617505"/>
                <a:gd name="connsiteY4" fmla="*/ 85933 h 813530"/>
                <a:gd name="connsiteX5" fmla="*/ 196335 w 617505"/>
                <a:gd name="connsiteY5" fmla="*/ 90655 h 813530"/>
                <a:gd name="connsiteX6" fmla="*/ 202686 w 617505"/>
                <a:gd name="connsiteY6" fmla="*/ 93149 h 813530"/>
                <a:gd name="connsiteX7" fmla="*/ 235642 w 617505"/>
                <a:gd name="connsiteY7" fmla="*/ 92760 h 813530"/>
                <a:gd name="connsiteX8" fmla="*/ 259021 w 617505"/>
                <a:gd name="connsiteY8" fmla="*/ 80005 h 813530"/>
                <a:gd name="connsiteX9" fmla="*/ 280238 w 617505"/>
                <a:gd name="connsiteY9" fmla="*/ 70772 h 813530"/>
                <a:gd name="connsiteX10" fmla="*/ 287392 w 617505"/>
                <a:gd name="connsiteY10" fmla="*/ 68854 h 813530"/>
                <a:gd name="connsiteX11" fmla="*/ 299700 w 617505"/>
                <a:gd name="connsiteY11" fmla="*/ 71383 h 813530"/>
                <a:gd name="connsiteX12" fmla="*/ 313285 w 617505"/>
                <a:gd name="connsiteY12" fmla="*/ 72138 h 813530"/>
                <a:gd name="connsiteX13" fmla="*/ 325508 w 617505"/>
                <a:gd name="connsiteY13" fmla="*/ 74948 h 813530"/>
                <a:gd name="connsiteX14" fmla="*/ 331714 w 617505"/>
                <a:gd name="connsiteY14" fmla="*/ 74241 h 813530"/>
                <a:gd name="connsiteX15" fmla="*/ 355904 w 617505"/>
                <a:gd name="connsiteY15" fmla="*/ 63492 h 813530"/>
                <a:gd name="connsiteX16" fmla="*/ 371104 w 617505"/>
                <a:gd name="connsiteY16" fmla="*/ 53032 h 813530"/>
                <a:gd name="connsiteX17" fmla="*/ 381462 w 617505"/>
                <a:gd name="connsiteY17" fmla="*/ 48591 h 813530"/>
                <a:gd name="connsiteX18" fmla="*/ 385542 w 617505"/>
                <a:gd name="connsiteY18" fmla="*/ 48543 h 813530"/>
                <a:gd name="connsiteX19" fmla="*/ 399677 w 617505"/>
                <a:gd name="connsiteY19" fmla="*/ 52309 h 813530"/>
                <a:gd name="connsiteX20" fmla="*/ 417845 w 617505"/>
                <a:gd name="connsiteY20" fmla="*/ 50670 h 813530"/>
                <a:gd name="connsiteX21" fmla="*/ 442699 w 617505"/>
                <a:gd name="connsiteY21" fmla="*/ 41627 h 813530"/>
                <a:gd name="connsiteX22" fmla="*/ 450617 w 617505"/>
                <a:gd name="connsiteY22" fmla="*/ 39805 h 813530"/>
                <a:gd name="connsiteX23" fmla="*/ 456649 w 617505"/>
                <a:gd name="connsiteY23" fmla="*/ 39677 h 813530"/>
                <a:gd name="connsiteX24" fmla="*/ 470195 w 617505"/>
                <a:gd name="connsiteY24" fmla="*/ 43740 h 813530"/>
                <a:gd name="connsiteX25" fmla="*/ 472295 w 617505"/>
                <a:gd name="connsiteY25" fmla="*/ 43526 h 813530"/>
                <a:gd name="connsiteX26" fmla="*/ 472289 w 617505"/>
                <a:gd name="connsiteY26" fmla="*/ 60082 h 813530"/>
                <a:gd name="connsiteX27" fmla="*/ 472289 w 617505"/>
                <a:gd name="connsiteY27" fmla="*/ 76145 h 813530"/>
                <a:gd name="connsiteX28" fmla="*/ 472284 w 617505"/>
                <a:gd name="connsiteY28" fmla="*/ 92969 h 813530"/>
                <a:gd name="connsiteX29" fmla="*/ 472278 w 617505"/>
                <a:gd name="connsiteY29" fmla="*/ 120478 h 813530"/>
                <a:gd name="connsiteX30" fmla="*/ 472278 w 617505"/>
                <a:gd name="connsiteY30" fmla="*/ 130397 h 813530"/>
                <a:gd name="connsiteX31" fmla="*/ 472265 w 617505"/>
                <a:gd name="connsiteY31" fmla="*/ 144952 h 813530"/>
                <a:gd name="connsiteX32" fmla="*/ 472265 w 617505"/>
                <a:gd name="connsiteY32" fmla="*/ 151667 h 813530"/>
                <a:gd name="connsiteX33" fmla="*/ 463707 w 617505"/>
                <a:gd name="connsiteY33" fmla="*/ 164752 h 813530"/>
                <a:gd name="connsiteX34" fmla="*/ 453226 w 617505"/>
                <a:gd name="connsiteY34" fmla="*/ 180759 h 813530"/>
                <a:gd name="connsiteX35" fmla="*/ 442091 w 617505"/>
                <a:gd name="connsiteY35" fmla="*/ 197767 h 813530"/>
                <a:gd name="connsiteX36" fmla="*/ 432861 w 617505"/>
                <a:gd name="connsiteY36" fmla="*/ 211862 h 813530"/>
                <a:gd name="connsiteX37" fmla="*/ 424212 w 617505"/>
                <a:gd name="connsiteY37" fmla="*/ 225051 h 813530"/>
                <a:gd name="connsiteX38" fmla="*/ 415416 w 617505"/>
                <a:gd name="connsiteY38" fmla="*/ 238470 h 813530"/>
                <a:gd name="connsiteX39" fmla="*/ 395246 w 617505"/>
                <a:gd name="connsiteY39" fmla="*/ 238470 h 813530"/>
                <a:gd name="connsiteX40" fmla="*/ 375580 w 617505"/>
                <a:gd name="connsiteY40" fmla="*/ 238470 h 813530"/>
                <a:gd name="connsiteX41" fmla="*/ 356188 w 617505"/>
                <a:gd name="connsiteY41" fmla="*/ 238470 h 813530"/>
                <a:gd name="connsiteX42" fmla="*/ 352711 w 617505"/>
                <a:gd name="connsiteY42" fmla="*/ 236737 h 813530"/>
                <a:gd name="connsiteX43" fmla="*/ 336433 w 617505"/>
                <a:gd name="connsiteY43" fmla="*/ 231252 h 813530"/>
                <a:gd name="connsiteX44" fmla="*/ 315779 w 617505"/>
                <a:gd name="connsiteY44" fmla="*/ 224288 h 813530"/>
                <a:gd name="connsiteX45" fmla="*/ 290151 w 617505"/>
                <a:gd name="connsiteY45" fmla="*/ 215647 h 813530"/>
                <a:gd name="connsiteX46" fmla="*/ 271918 w 617505"/>
                <a:gd name="connsiteY46" fmla="*/ 209497 h 813530"/>
                <a:gd name="connsiteX47" fmla="*/ 252461 w 617505"/>
                <a:gd name="connsiteY47" fmla="*/ 203065 h 813530"/>
                <a:gd name="connsiteX48" fmla="*/ 232715 w 617505"/>
                <a:gd name="connsiteY48" fmla="*/ 196541 h 813530"/>
                <a:gd name="connsiteX49" fmla="*/ 217227 w 617505"/>
                <a:gd name="connsiteY49" fmla="*/ 191414 h 813530"/>
                <a:gd name="connsiteX50" fmla="*/ 197931 w 617505"/>
                <a:gd name="connsiteY50" fmla="*/ 185031 h 813530"/>
                <a:gd name="connsiteX51" fmla="*/ 181145 w 617505"/>
                <a:gd name="connsiteY51" fmla="*/ 179481 h 813530"/>
                <a:gd name="connsiteX52" fmla="*/ 178833 w 617505"/>
                <a:gd name="connsiteY52" fmla="*/ 178120 h 813530"/>
                <a:gd name="connsiteX53" fmla="*/ 169531 w 617505"/>
                <a:gd name="connsiteY53" fmla="*/ 169643 h 813530"/>
                <a:gd name="connsiteX54" fmla="*/ 157314 w 617505"/>
                <a:gd name="connsiteY54" fmla="*/ 158497 h 813530"/>
                <a:gd name="connsiteX55" fmla="*/ 154978 w 617505"/>
                <a:gd name="connsiteY55" fmla="*/ 158299 h 813530"/>
                <a:gd name="connsiteX56" fmla="*/ 149142 w 617505"/>
                <a:gd name="connsiteY56" fmla="*/ 155985 h 813530"/>
                <a:gd name="connsiteX57" fmla="*/ 143918 w 617505"/>
                <a:gd name="connsiteY57" fmla="*/ 149961 h 813530"/>
                <a:gd name="connsiteX58" fmla="*/ 138518 w 617505"/>
                <a:gd name="connsiteY58" fmla="*/ 142265 h 813530"/>
                <a:gd name="connsiteX59" fmla="*/ 133502 w 617505"/>
                <a:gd name="connsiteY59" fmla="*/ 132636 h 813530"/>
                <a:gd name="connsiteX60" fmla="*/ 131321 w 617505"/>
                <a:gd name="connsiteY60" fmla="*/ 126071 h 813530"/>
                <a:gd name="connsiteX61" fmla="*/ 124646 w 617505"/>
                <a:gd name="connsiteY61" fmla="*/ 123306 h 813530"/>
                <a:gd name="connsiteX62" fmla="*/ 121437 w 617505"/>
                <a:gd name="connsiteY62" fmla="*/ 118140 h 813530"/>
                <a:gd name="connsiteX63" fmla="*/ 115381 w 617505"/>
                <a:gd name="connsiteY63" fmla="*/ 110468 h 813530"/>
                <a:gd name="connsiteX64" fmla="*/ 111181 w 617505"/>
                <a:gd name="connsiteY64" fmla="*/ 106745 h 813530"/>
                <a:gd name="connsiteX65" fmla="*/ 109689 w 617505"/>
                <a:gd name="connsiteY65" fmla="*/ 103496 h 813530"/>
                <a:gd name="connsiteX66" fmla="*/ 107753 w 617505"/>
                <a:gd name="connsiteY66" fmla="*/ 96778 h 813530"/>
                <a:gd name="connsiteX67" fmla="*/ 104287 w 617505"/>
                <a:gd name="connsiteY67" fmla="*/ 89466 h 813530"/>
                <a:gd name="connsiteX68" fmla="*/ 100973 w 617505"/>
                <a:gd name="connsiteY68" fmla="*/ 84926 h 813530"/>
                <a:gd name="connsiteX69" fmla="*/ 100215 w 617505"/>
                <a:gd name="connsiteY69" fmla="*/ 82984 h 813530"/>
                <a:gd name="connsiteX70" fmla="*/ 100400 w 617505"/>
                <a:gd name="connsiteY70" fmla="*/ 81703 h 813530"/>
                <a:gd name="connsiteX71" fmla="*/ 106531 w 617505"/>
                <a:gd name="connsiteY71" fmla="*/ 71790 h 813530"/>
                <a:gd name="connsiteX72" fmla="*/ 109296 w 617505"/>
                <a:gd name="connsiteY72" fmla="*/ 68249 h 813530"/>
                <a:gd name="connsiteX73" fmla="*/ 112443 w 617505"/>
                <a:gd name="connsiteY73" fmla="*/ 64820 h 813530"/>
                <a:gd name="connsiteX74" fmla="*/ 115006 w 617505"/>
                <a:gd name="connsiteY74" fmla="*/ 61403 h 813530"/>
                <a:gd name="connsiteX75" fmla="*/ 115989 w 617505"/>
                <a:gd name="connsiteY75" fmla="*/ 59062 h 813530"/>
                <a:gd name="connsiteX76" fmla="*/ 123444 w 617505"/>
                <a:gd name="connsiteY76" fmla="*/ 47372 h 813530"/>
                <a:gd name="connsiteX77" fmla="*/ 130003 w 617505"/>
                <a:gd name="connsiteY77" fmla="*/ 37095 h 813530"/>
                <a:gd name="connsiteX78" fmla="*/ 582089 w 617505"/>
                <a:gd name="connsiteY78" fmla="*/ 0 h 813530"/>
                <a:gd name="connsiteX79" fmla="*/ 605722 w 617505"/>
                <a:gd name="connsiteY79" fmla="*/ 8513 h 813530"/>
                <a:gd name="connsiteX80" fmla="*/ 609485 w 617505"/>
                <a:gd name="connsiteY80" fmla="*/ 9188 h 813530"/>
                <a:gd name="connsiteX81" fmla="*/ 608122 w 617505"/>
                <a:gd name="connsiteY81" fmla="*/ 14333 h 813530"/>
                <a:gd name="connsiteX82" fmla="*/ 607313 w 617505"/>
                <a:gd name="connsiteY82" fmla="*/ 19578 h 813530"/>
                <a:gd name="connsiteX83" fmla="*/ 602464 w 617505"/>
                <a:gd name="connsiteY83" fmla="*/ 28730 h 813530"/>
                <a:gd name="connsiteX84" fmla="*/ 599381 w 617505"/>
                <a:gd name="connsiteY84" fmla="*/ 38898 h 813530"/>
                <a:gd name="connsiteX85" fmla="*/ 601631 w 617505"/>
                <a:gd name="connsiteY85" fmla="*/ 54423 h 813530"/>
                <a:gd name="connsiteX86" fmla="*/ 602719 w 617505"/>
                <a:gd name="connsiteY86" fmla="*/ 79580 h 813530"/>
                <a:gd name="connsiteX87" fmla="*/ 602164 w 617505"/>
                <a:gd name="connsiteY87" fmla="*/ 83231 h 813530"/>
                <a:gd name="connsiteX88" fmla="*/ 600603 w 617505"/>
                <a:gd name="connsiteY88" fmla="*/ 86828 h 813530"/>
                <a:gd name="connsiteX89" fmla="*/ 599949 w 617505"/>
                <a:gd name="connsiteY89" fmla="*/ 89659 h 813530"/>
                <a:gd name="connsiteX90" fmla="*/ 597399 w 617505"/>
                <a:gd name="connsiteY90" fmla="*/ 90653 h 813530"/>
                <a:gd name="connsiteX91" fmla="*/ 596277 w 617505"/>
                <a:gd name="connsiteY91" fmla="*/ 92279 h 813530"/>
                <a:gd name="connsiteX92" fmla="*/ 598133 w 617505"/>
                <a:gd name="connsiteY92" fmla="*/ 92927 h 813530"/>
                <a:gd name="connsiteX93" fmla="*/ 605542 w 617505"/>
                <a:gd name="connsiteY93" fmla="*/ 90187 h 813530"/>
                <a:gd name="connsiteX94" fmla="*/ 605381 w 617505"/>
                <a:gd name="connsiteY94" fmla="*/ 87187 h 813530"/>
                <a:gd name="connsiteX95" fmla="*/ 605821 w 617505"/>
                <a:gd name="connsiteY95" fmla="*/ 85703 h 813530"/>
                <a:gd name="connsiteX96" fmla="*/ 611904 w 617505"/>
                <a:gd name="connsiteY96" fmla="*/ 89051 h 813530"/>
                <a:gd name="connsiteX97" fmla="*/ 616254 w 617505"/>
                <a:gd name="connsiteY97" fmla="*/ 90455 h 813530"/>
                <a:gd name="connsiteX98" fmla="*/ 617505 w 617505"/>
                <a:gd name="connsiteY98" fmla="*/ 93607 h 813530"/>
                <a:gd name="connsiteX99" fmla="*/ 617167 w 617505"/>
                <a:gd name="connsiteY99" fmla="*/ 95766 h 813530"/>
                <a:gd name="connsiteX100" fmla="*/ 610272 w 617505"/>
                <a:gd name="connsiteY100" fmla="*/ 94772 h 813530"/>
                <a:gd name="connsiteX101" fmla="*/ 606758 w 617505"/>
                <a:gd name="connsiteY101" fmla="*/ 93101 h 813530"/>
                <a:gd name="connsiteX102" fmla="*/ 596518 w 617505"/>
                <a:gd name="connsiteY102" fmla="*/ 95849 h 813530"/>
                <a:gd name="connsiteX103" fmla="*/ 590248 w 617505"/>
                <a:gd name="connsiteY103" fmla="*/ 98817 h 813530"/>
                <a:gd name="connsiteX104" fmla="*/ 588375 w 617505"/>
                <a:gd name="connsiteY104" fmla="*/ 103751 h 813530"/>
                <a:gd name="connsiteX105" fmla="*/ 586910 w 617505"/>
                <a:gd name="connsiteY105" fmla="*/ 123427 h 813530"/>
                <a:gd name="connsiteX106" fmla="*/ 584489 w 617505"/>
                <a:gd name="connsiteY106" fmla="*/ 136204 h 813530"/>
                <a:gd name="connsiteX107" fmla="*/ 584025 w 617505"/>
                <a:gd name="connsiteY107" fmla="*/ 153076 h 813530"/>
                <a:gd name="connsiteX108" fmla="*/ 575743 w 617505"/>
                <a:gd name="connsiteY108" fmla="*/ 164246 h 813530"/>
                <a:gd name="connsiteX109" fmla="*/ 572950 w 617505"/>
                <a:gd name="connsiteY109" fmla="*/ 172121 h 813530"/>
                <a:gd name="connsiteX110" fmla="*/ 560618 w 617505"/>
                <a:gd name="connsiteY110" fmla="*/ 187884 h 813530"/>
                <a:gd name="connsiteX111" fmla="*/ 554186 w 617505"/>
                <a:gd name="connsiteY111" fmla="*/ 201349 h 813530"/>
                <a:gd name="connsiteX112" fmla="*/ 552086 w 617505"/>
                <a:gd name="connsiteY112" fmla="*/ 207922 h 813530"/>
                <a:gd name="connsiteX113" fmla="*/ 541252 w 617505"/>
                <a:gd name="connsiteY113" fmla="*/ 226385 h 813530"/>
                <a:gd name="connsiteX114" fmla="*/ 526399 w 617505"/>
                <a:gd name="connsiteY114" fmla="*/ 240525 h 813530"/>
                <a:gd name="connsiteX115" fmla="*/ 521021 w 617505"/>
                <a:gd name="connsiteY115" fmla="*/ 258581 h 813530"/>
                <a:gd name="connsiteX116" fmla="*/ 515688 w 617505"/>
                <a:gd name="connsiteY116" fmla="*/ 269898 h 813530"/>
                <a:gd name="connsiteX117" fmla="*/ 509696 w 617505"/>
                <a:gd name="connsiteY117" fmla="*/ 280173 h 813530"/>
                <a:gd name="connsiteX118" fmla="*/ 496576 w 617505"/>
                <a:gd name="connsiteY118" fmla="*/ 298414 h 813530"/>
                <a:gd name="connsiteX119" fmla="*/ 489850 w 617505"/>
                <a:gd name="connsiteY119" fmla="*/ 311100 h 813530"/>
                <a:gd name="connsiteX120" fmla="*/ 481421 w 617505"/>
                <a:gd name="connsiteY120" fmla="*/ 333077 h 813530"/>
                <a:gd name="connsiteX121" fmla="*/ 478855 w 617505"/>
                <a:gd name="connsiteY121" fmla="*/ 347003 h 813530"/>
                <a:gd name="connsiteX122" fmla="*/ 455147 w 617505"/>
                <a:gd name="connsiteY122" fmla="*/ 387369 h 813530"/>
                <a:gd name="connsiteX123" fmla="*/ 430563 w 617505"/>
                <a:gd name="connsiteY123" fmla="*/ 419538 h 813530"/>
                <a:gd name="connsiteX124" fmla="*/ 415242 w 617505"/>
                <a:gd name="connsiteY124" fmla="*/ 446583 h 813530"/>
                <a:gd name="connsiteX125" fmla="*/ 387768 w 617505"/>
                <a:gd name="connsiteY125" fmla="*/ 477957 h 813530"/>
                <a:gd name="connsiteX126" fmla="*/ 350298 w 617505"/>
                <a:gd name="connsiteY126" fmla="*/ 518438 h 813530"/>
                <a:gd name="connsiteX127" fmla="*/ 301278 w 617505"/>
                <a:gd name="connsiteY127" fmla="*/ 566480 h 813530"/>
                <a:gd name="connsiteX128" fmla="*/ 287957 w 617505"/>
                <a:gd name="connsiteY128" fmla="*/ 576278 h 813530"/>
                <a:gd name="connsiteX129" fmla="*/ 234295 w 617505"/>
                <a:gd name="connsiteY129" fmla="*/ 605887 h 813530"/>
                <a:gd name="connsiteX130" fmla="*/ 199498 w 617505"/>
                <a:gd name="connsiteY130" fmla="*/ 630720 h 813530"/>
                <a:gd name="connsiteX131" fmla="*/ 181729 w 617505"/>
                <a:gd name="connsiteY131" fmla="*/ 647605 h 813530"/>
                <a:gd name="connsiteX132" fmla="*/ 163065 w 617505"/>
                <a:gd name="connsiteY132" fmla="*/ 662300 h 813530"/>
                <a:gd name="connsiteX133" fmla="*/ 148263 w 617505"/>
                <a:gd name="connsiteY133" fmla="*/ 676290 h 813530"/>
                <a:gd name="connsiteX134" fmla="*/ 103513 w 617505"/>
                <a:gd name="connsiteY134" fmla="*/ 723515 h 813530"/>
                <a:gd name="connsiteX135" fmla="*/ 98898 w 617505"/>
                <a:gd name="connsiteY135" fmla="*/ 727964 h 813530"/>
                <a:gd name="connsiteX136" fmla="*/ 94548 w 617505"/>
                <a:gd name="connsiteY136" fmla="*/ 732151 h 813530"/>
                <a:gd name="connsiteX137" fmla="*/ 88912 w 617505"/>
                <a:gd name="connsiteY137" fmla="*/ 740152 h 813530"/>
                <a:gd name="connsiteX138" fmla="*/ 84993 w 617505"/>
                <a:gd name="connsiteY138" fmla="*/ 743320 h 813530"/>
                <a:gd name="connsiteX139" fmla="*/ 74303 w 617505"/>
                <a:gd name="connsiteY139" fmla="*/ 756820 h 813530"/>
                <a:gd name="connsiteX140" fmla="*/ 67628 w 617505"/>
                <a:gd name="connsiteY140" fmla="*/ 763819 h 813530"/>
                <a:gd name="connsiteX141" fmla="*/ 60144 w 617505"/>
                <a:gd name="connsiteY141" fmla="*/ 770743 h 813530"/>
                <a:gd name="connsiteX142" fmla="*/ 56968 w 617505"/>
                <a:gd name="connsiteY142" fmla="*/ 775632 h 813530"/>
                <a:gd name="connsiteX143" fmla="*/ 54718 w 617505"/>
                <a:gd name="connsiteY143" fmla="*/ 781259 h 813530"/>
                <a:gd name="connsiteX144" fmla="*/ 52227 w 617505"/>
                <a:gd name="connsiteY144" fmla="*/ 784391 h 813530"/>
                <a:gd name="connsiteX145" fmla="*/ 45477 w 617505"/>
                <a:gd name="connsiteY145" fmla="*/ 797818 h 813530"/>
                <a:gd name="connsiteX146" fmla="*/ 39541 w 617505"/>
                <a:gd name="connsiteY146" fmla="*/ 806609 h 813530"/>
                <a:gd name="connsiteX147" fmla="*/ 33659 w 617505"/>
                <a:gd name="connsiteY147" fmla="*/ 813530 h 813530"/>
                <a:gd name="connsiteX148" fmla="*/ 33948 w 617505"/>
                <a:gd name="connsiteY148" fmla="*/ 808664 h 813530"/>
                <a:gd name="connsiteX149" fmla="*/ 33016 w 617505"/>
                <a:gd name="connsiteY149" fmla="*/ 806239 h 813530"/>
                <a:gd name="connsiteX150" fmla="*/ 27394 w 617505"/>
                <a:gd name="connsiteY150" fmla="*/ 798967 h 813530"/>
                <a:gd name="connsiteX151" fmla="*/ 16902 w 617505"/>
                <a:gd name="connsiteY151" fmla="*/ 785403 h 813530"/>
                <a:gd name="connsiteX152" fmla="*/ 8965 w 617505"/>
                <a:gd name="connsiteY152" fmla="*/ 775152 h 813530"/>
                <a:gd name="connsiteX153" fmla="*/ 847 w 617505"/>
                <a:gd name="connsiteY153" fmla="*/ 764658 h 813530"/>
                <a:gd name="connsiteX154" fmla="*/ 817 w 617505"/>
                <a:gd name="connsiteY154" fmla="*/ 756271 h 813530"/>
                <a:gd name="connsiteX155" fmla="*/ 718 w 617505"/>
                <a:gd name="connsiteY155" fmla="*/ 731313 h 813530"/>
                <a:gd name="connsiteX156" fmla="*/ 523 w 617505"/>
                <a:gd name="connsiteY156" fmla="*/ 681398 h 813530"/>
                <a:gd name="connsiteX157" fmla="*/ 332 w 617505"/>
                <a:gd name="connsiteY157" fmla="*/ 631478 h 813530"/>
                <a:gd name="connsiteX158" fmla="*/ 134 w 617505"/>
                <a:gd name="connsiteY158" fmla="*/ 581547 h 813530"/>
                <a:gd name="connsiteX159" fmla="*/ 38 w 617505"/>
                <a:gd name="connsiteY159" fmla="*/ 556572 h 813530"/>
                <a:gd name="connsiteX160" fmla="*/ 0 w 617505"/>
                <a:gd name="connsiteY160" fmla="*/ 546362 h 813530"/>
                <a:gd name="connsiteX161" fmla="*/ 847 w 617505"/>
                <a:gd name="connsiteY161" fmla="*/ 544712 h 813530"/>
                <a:gd name="connsiteX162" fmla="*/ 10101 w 617505"/>
                <a:gd name="connsiteY162" fmla="*/ 535546 h 813530"/>
                <a:gd name="connsiteX163" fmla="*/ 22350 w 617505"/>
                <a:gd name="connsiteY163" fmla="*/ 523417 h 813530"/>
                <a:gd name="connsiteX164" fmla="*/ 38443 w 617505"/>
                <a:gd name="connsiteY164" fmla="*/ 500363 h 813530"/>
                <a:gd name="connsiteX165" fmla="*/ 47178 w 617505"/>
                <a:gd name="connsiteY165" fmla="*/ 487841 h 813530"/>
                <a:gd name="connsiteX166" fmla="*/ 54463 w 617505"/>
                <a:gd name="connsiteY166" fmla="*/ 477395 h 813530"/>
                <a:gd name="connsiteX167" fmla="*/ 56322 w 617505"/>
                <a:gd name="connsiteY167" fmla="*/ 474218 h 813530"/>
                <a:gd name="connsiteX168" fmla="*/ 62764 w 617505"/>
                <a:gd name="connsiteY168" fmla="*/ 467891 h 813530"/>
                <a:gd name="connsiteX169" fmla="*/ 74863 w 617505"/>
                <a:gd name="connsiteY169" fmla="*/ 464112 h 813530"/>
                <a:gd name="connsiteX170" fmla="*/ 82371 w 617505"/>
                <a:gd name="connsiteY170" fmla="*/ 463482 h 813530"/>
                <a:gd name="connsiteX171" fmla="*/ 108222 w 617505"/>
                <a:gd name="connsiteY171" fmla="*/ 458749 h 813530"/>
                <a:gd name="connsiteX172" fmla="*/ 112073 w 617505"/>
                <a:gd name="connsiteY172" fmla="*/ 456839 h 813530"/>
                <a:gd name="connsiteX173" fmla="*/ 114329 w 617505"/>
                <a:gd name="connsiteY173" fmla="*/ 454651 h 813530"/>
                <a:gd name="connsiteX174" fmla="*/ 116474 w 617505"/>
                <a:gd name="connsiteY174" fmla="*/ 449653 h 813530"/>
                <a:gd name="connsiteX175" fmla="*/ 121513 w 617505"/>
                <a:gd name="connsiteY175" fmla="*/ 442648 h 813530"/>
                <a:gd name="connsiteX176" fmla="*/ 128008 w 617505"/>
                <a:gd name="connsiteY176" fmla="*/ 437832 h 813530"/>
                <a:gd name="connsiteX177" fmla="*/ 140345 w 617505"/>
                <a:gd name="connsiteY177" fmla="*/ 431546 h 813530"/>
                <a:gd name="connsiteX178" fmla="*/ 152444 w 617505"/>
                <a:gd name="connsiteY178" fmla="*/ 426208 h 813530"/>
                <a:gd name="connsiteX179" fmla="*/ 155123 w 617505"/>
                <a:gd name="connsiteY179" fmla="*/ 425337 h 813530"/>
                <a:gd name="connsiteX180" fmla="*/ 169676 w 617505"/>
                <a:gd name="connsiteY180" fmla="*/ 421986 h 813530"/>
                <a:gd name="connsiteX181" fmla="*/ 173246 w 617505"/>
                <a:gd name="connsiteY181" fmla="*/ 420837 h 813530"/>
                <a:gd name="connsiteX182" fmla="*/ 179133 w 617505"/>
                <a:gd name="connsiteY182" fmla="*/ 419664 h 813530"/>
                <a:gd name="connsiteX183" fmla="*/ 181458 w 617505"/>
                <a:gd name="connsiteY183" fmla="*/ 419637 h 813530"/>
                <a:gd name="connsiteX184" fmla="*/ 201679 w 617505"/>
                <a:gd name="connsiteY184" fmla="*/ 420813 h 813530"/>
                <a:gd name="connsiteX185" fmla="*/ 217498 w 617505"/>
                <a:gd name="connsiteY185" fmla="*/ 421729 h 813530"/>
                <a:gd name="connsiteX186" fmla="*/ 233787 w 617505"/>
                <a:gd name="connsiteY186" fmla="*/ 422669 h 813530"/>
                <a:gd name="connsiteX187" fmla="*/ 235498 w 617505"/>
                <a:gd name="connsiteY187" fmla="*/ 421951 h 813530"/>
                <a:gd name="connsiteX188" fmla="*/ 246887 w 617505"/>
                <a:gd name="connsiteY188" fmla="*/ 409501 h 813530"/>
                <a:gd name="connsiteX189" fmla="*/ 264989 w 617505"/>
                <a:gd name="connsiteY189" fmla="*/ 389680 h 813530"/>
                <a:gd name="connsiteX190" fmla="*/ 276547 w 617505"/>
                <a:gd name="connsiteY190" fmla="*/ 377037 h 813530"/>
                <a:gd name="connsiteX191" fmla="*/ 294397 w 617505"/>
                <a:gd name="connsiteY191" fmla="*/ 357489 h 813530"/>
                <a:gd name="connsiteX192" fmla="*/ 308127 w 617505"/>
                <a:gd name="connsiteY192" fmla="*/ 343374 h 813530"/>
                <a:gd name="connsiteX193" fmla="*/ 323301 w 617505"/>
                <a:gd name="connsiteY193" fmla="*/ 327758 h 813530"/>
                <a:gd name="connsiteX194" fmla="*/ 338038 w 617505"/>
                <a:gd name="connsiteY194" fmla="*/ 313484 h 813530"/>
                <a:gd name="connsiteX195" fmla="*/ 355770 w 617505"/>
                <a:gd name="connsiteY195" fmla="*/ 296301 h 813530"/>
                <a:gd name="connsiteX196" fmla="*/ 366940 w 617505"/>
                <a:gd name="connsiteY196" fmla="*/ 285477 h 813530"/>
                <a:gd name="connsiteX197" fmla="*/ 384297 w 617505"/>
                <a:gd name="connsiteY197" fmla="*/ 268650 h 813530"/>
                <a:gd name="connsiteX198" fmla="*/ 400810 w 617505"/>
                <a:gd name="connsiteY198" fmla="*/ 252638 h 813530"/>
                <a:gd name="connsiteX199" fmla="*/ 415416 w 617505"/>
                <a:gd name="connsiteY199" fmla="*/ 238471 h 813530"/>
                <a:gd name="connsiteX200" fmla="*/ 424213 w 617505"/>
                <a:gd name="connsiteY200" fmla="*/ 225051 h 813530"/>
                <a:gd name="connsiteX201" fmla="*/ 432862 w 617505"/>
                <a:gd name="connsiteY201" fmla="*/ 211862 h 813530"/>
                <a:gd name="connsiteX202" fmla="*/ 442092 w 617505"/>
                <a:gd name="connsiteY202" fmla="*/ 197768 h 813530"/>
                <a:gd name="connsiteX203" fmla="*/ 453227 w 617505"/>
                <a:gd name="connsiteY203" fmla="*/ 180759 h 813530"/>
                <a:gd name="connsiteX204" fmla="*/ 463708 w 617505"/>
                <a:gd name="connsiteY204" fmla="*/ 164752 h 813530"/>
                <a:gd name="connsiteX205" fmla="*/ 472266 w 617505"/>
                <a:gd name="connsiteY205" fmla="*/ 151667 h 813530"/>
                <a:gd name="connsiteX206" fmla="*/ 472266 w 617505"/>
                <a:gd name="connsiteY206" fmla="*/ 144952 h 813530"/>
                <a:gd name="connsiteX207" fmla="*/ 472279 w 617505"/>
                <a:gd name="connsiteY207" fmla="*/ 130397 h 813530"/>
                <a:gd name="connsiteX208" fmla="*/ 472279 w 617505"/>
                <a:gd name="connsiteY208" fmla="*/ 120478 h 813530"/>
                <a:gd name="connsiteX209" fmla="*/ 472284 w 617505"/>
                <a:gd name="connsiteY209" fmla="*/ 92970 h 813530"/>
                <a:gd name="connsiteX210" fmla="*/ 472290 w 617505"/>
                <a:gd name="connsiteY210" fmla="*/ 76146 h 813530"/>
                <a:gd name="connsiteX211" fmla="*/ 472290 w 617505"/>
                <a:gd name="connsiteY211" fmla="*/ 60083 h 813530"/>
                <a:gd name="connsiteX212" fmla="*/ 472295 w 617505"/>
                <a:gd name="connsiteY212" fmla="*/ 43526 h 813530"/>
                <a:gd name="connsiteX213" fmla="*/ 479613 w 617505"/>
                <a:gd name="connsiteY213" fmla="*/ 42785 h 813530"/>
                <a:gd name="connsiteX214" fmla="*/ 498931 w 617505"/>
                <a:gd name="connsiteY214" fmla="*/ 38475 h 813530"/>
                <a:gd name="connsiteX215" fmla="*/ 513963 w 617505"/>
                <a:gd name="connsiteY215" fmla="*/ 31982 h 813530"/>
                <a:gd name="connsiteX216" fmla="*/ 541680 w 617505"/>
                <a:gd name="connsiteY216" fmla="*/ 27281 h 813530"/>
                <a:gd name="connsiteX217" fmla="*/ 562774 w 617505"/>
                <a:gd name="connsiteY217" fmla="*/ 15383 h 813530"/>
                <a:gd name="connsiteX218" fmla="*/ 566454 w 617505"/>
                <a:gd name="connsiteY218" fmla="*/ 9640 h 813530"/>
                <a:gd name="connsiteX219" fmla="*/ 572826 w 617505"/>
                <a:gd name="connsiteY219" fmla="*/ 2397 h 813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</a:cxnLst>
              <a:rect l="l" t="t" r="r" b="b"/>
              <a:pathLst>
                <a:path w="617505" h="813530">
                  <a:moveTo>
                    <a:pt x="135133" y="29051"/>
                  </a:moveTo>
                  <a:lnTo>
                    <a:pt x="146696" y="38249"/>
                  </a:lnTo>
                  <a:lnTo>
                    <a:pt x="157946" y="56897"/>
                  </a:lnTo>
                  <a:lnTo>
                    <a:pt x="171071" y="71948"/>
                  </a:lnTo>
                  <a:lnTo>
                    <a:pt x="189162" y="85933"/>
                  </a:lnTo>
                  <a:lnTo>
                    <a:pt x="196335" y="90655"/>
                  </a:lnTo>
                  <a:lnTo>
                    <a:pt x="202686" y="93149"/>
                  </a:lnTo>
                  <a:lnTo>
                    <a:pt x="235642" y="92760"/>
                  </a:lnTo>
                  <a:lnTo>
                    <a:pt x="259021" y="80005"/>
                  </a:lnTo>
                  <a:lnTo>
                    <a:pt x="280238" y="70772"/>
                  </a:lnTo>
                  <a:lnTo>
                    <a:pt x="287392" y="68854"/>
                  </a:lnTo>
                  <a:lnTo>
                    <a:pt x="299700" y="71383"/>
                  </a:lnTo>
                  <a:lnTo>
                    <a:pt x="313285" y="72138"/>
                  </a:lnTo>
                  <a:lnTo>
                    <a:pt x="325508" y="74948"/>
                  </a:lnTo>
                  <a:lnTo>
                    <a:pt x="331714" y="74241"/>
                  </a:lnTo>
                  <a:lnTo>
                    <a:pt x="355904" y="63492"/>
                  </a:lnTo>
                  <a:lnTo>
                    <a:pt x="371104" y="53032"/>
                  </a:lnTo>
                  <a:lnTo>
                    <a:pt x="381462" y="48591"/>
                  </a:lnTo>
                  <a:lnTo>
                    <a:pt x="385542" y="48543"/>
                  </a:lnTo>
                  <a:lnTo>
                    <a:pt x="399677" y="52309"/>
                  </a:lnTo>
                  <a:lnTo>
                    <a:pt x="417845" y="50670"/>
                  </a:lnTo>
                  <a:lnTo>
                    <a:pt x="442699" y="41627"/>
                  </a:lnTo>
                  <a:lnTo>
                    <a:pt x="450617" y="39805"/>
                  </a:lnTo>
                  <a:lnTo>
                    <a:pt x="456649" y="39677"/>
                  </a:lnTo>
                  <a:lnTo>
                    <a:pt x="470195" y="43740"/>
                  </a:lnTo>
                  <a:lnTo>
                    <a:pt x="472295" y="43526"/>
                  </a:lnTo>
                  <a:lnTo>
                    <a:pt x="472289" y="60082"/>
                  </a:lnTo>
                  <a:lnTo>
                    <a:pt x="472289" y="76145"/>
                  </a:lnTo>
                  <a:lnTo>
                    <a:pt x="472284" y="92969"/>
                  </a:lnTo>
                  <a:lnTo>
                    <a:pt x="472278" y="120478"/>
                  </a:lnTo>
                  <a:lnTo>
                    <a:pt x="472278" y="130397"/>
                  </a:lnTo>
                  <a:lnTo>
                    <a:pt x="472265" y="144952"/>
                  </a:lnTo>
                  <a:lnTo>
                    <a:pt x="472265" y="151667"/>
                  </a:lnTo>
                  <a:lnTo>
                    <a:pt x="463707" y="164752"/>
                  </a:lnTo>
                  <a:lnTo>
                    <a:pt x="453226" y="180759"/>
                  </a:lnTo>
                  <a:lnTo>
                    <a:pt x="442091" y="197767"/>
                  </a:lnTo>
                  <a:lnTo>
                    <a:pt x="432861" y="211862"/>
                  </a:lnTo>
                  <a:lnTo>
                    <a:pt x="424212" y="225051"/>
                  </a:lnTo>
                  <a:lnTo>
                    <a:pt x="415416" y="238470"/>
                  </a:lnTo>
                  <a:lnTo>
                    <a:pt x="395246" y="238470"/>
                  </a:lnTo>
                  <a:lnTo>
                    <a:pt x="375580" y="238470"/>
                  </a:lnTo>
                  <a:lnTo>
                    <a:pt x="356188" y="238470"/>
                  </a:lnTo>
                  <a:lnTo>
                    <a:pt x="352711" y="236737"/>
                  </a:lnTo>
                  <a:lnTo>
                    <a:pt x="336433" y="231252"/>
                  </a:lnTo>
                  <a:lnTo>
                    <a:pt x="315779" y="224288"/>
                  </a:lnTo>
                  <a:lnTo>
                    <a:pt x="290151" y="215647"/>
                  </a:lnTo>
                  <a:lnTo>
                    <a:pt x="271918" y="209497"/>
                  </a:lnTo>
                  <a:lnTo>
                    <a:pt x="252461" y="203065"/>
                  </a:lnTo>
                  <a:lnTo>
                    <a:pt x="232715" y="196541"/>
                  </a:lnTo>
                  <a:lnTo>
                    <a:pt x="217227" y="191414"/>
                  </a:lnTo>
                  <a:lnTo>
                    <a:pt x="197931" y="185031"/>
                  </a:lnTo>
                  <a:lnTo>
                    <a:pt x="181145" y="179481"/>
                  </a:lnTo>
                  <a:lnTo>
                    <a:pt x="178833" y="178120"/>
                  </a:lnTo>
                  <a:lnTo>
                    <a:pt x="169531" y="169643"/>
                  </a:lnTo>
                  <a:lnTo>
                    <a:pt x="157314" y="158497"/>
                  </a:lnTo>
                  <a:lnTo>
                    <a:pt x="154978" y="158299"/>
                  </a:lnTo>
                  <a:lnTo>
                    <a:pt x="149142" y="155985"/>
                  </a:lnTo>
                  <a:lnTo>
                    <a:pt x="143918" y="149961"/>
                  </a:lnTo>
                  <a:lnTo>
                    <a:pt x="138518" y="142265"/>
                  </a:lnTo>
                  <a:lnTo>
                    <a:pt x="133502" y="132636"/>
                  </a:lnTo>
                  <a:lnTo>
                    <a:pt x="131321" y="126071"/>
                  </a:lnTo>
                  <a:lnTo>
                    <a:pt x="124646" y="123306"/>
                  </a:lnTo>
                  <a:lnTo>
                    <a:pt x="121437" y="118140"/>
                  </a:lnTo>
                  <a:lnTo>
                    <a:pt x="115381" y="110468"/>
                  </a:lnTo>
                  <a:lnTo>
                    <a:pt x="111181" y="106745"/>
                  </a:lnTo>
                  <a:lnTo>
                    <a:pt x="109689" y="103496"/>
                  </a:lnTo>
                  <a:lnTo>
                    <a:pt x="107753" y="96778"/>
                  </a:lnTo>
                  <a:lnTo>
                    <a:pt x="104287" y="89466"/>
                  </a:lnTo>
                  <a:lnTo>
                    <a:pt x="100973" y="84926"/>
                  </a:lnTo>
                  <a:lnTo>
                    <a:pt x="100215" y="82984"/>
                  </a:lnTo>
                  <a:lnTo>
                    <a:pt x="100400" y="81703"/>
                  </a:lnTo>
                  <a:lnTo>
                    <a:pt x="106531" y="71790"/>
                  </a:lnTo>
                  <a:lnTo>
                    <a:pt x="109296" y="68249"/>
                  </a:lnTo>
                  <a:lnTo>
                    <a:pt x="112443" y="64820"/>
                  </a:lnTo>
                  <a:lnTo>
                    <a:pt x="115006" y="61403"/>
                  </a:lnTo>
                  <a:lnTo>
                    <a:pt x="115989" y="59062"/>
                  </a:lnTo>
                  <a:lnTo>
                    <a:pt x="123444" y="47372"/>
                  </a:lnTo>
                  <a:lnTo>
                    <a:pt x="130003" y="37095"/>
                  </a:lnTo>
                  <a:close/>
                  <a:moveTo>
                    <a:pt x="582089" y="0"/>
                  </a:moveTo>
                  <a:lnTo>
                    <a:pt x="605722" y="8513"/>
                  </a:lnTo>
                  <a:lnTo>
                    <a:pt x="609485" y="9188"/>
                  </a:lnTo>
                  <a:lnTo>
                    <a:pt x="608122" y="14333"/>
                  </a:lnTo>
                  <a:lnTo>
                    <a:pt x="607313" y="19578"/>
                  </a:lnTo>
                  <a:lnTo>
                    <a:pt x="602464" y="28730"/>
                  </a:lnTo>
                  <a:lnTo>
                    <a:pt x="599381" y="38898"/>
                  </a:lnTo>
                  <a:lnTo>
                    <a:pt x="601631" y="54423"/>
                  </a:lnTo>
                  <a:lnTo>
                    <a:pt x="602719" y="79580"/>
                  </a:lnTo>
                  <a:lnTo>
                    <a:pt x="602164" y="83231"/>
                  </a:lnTo>
                  <a:lnTo>
                    <a:pt x="600603" y="86828"/>
                  </a:lnTo>
                  <a:lnTo>
                    <a:pt x="599949" y="89659"/>
                  </a:lnTo>
                  <a:lnTo>
                    <a:pt x="597399" y="90653"/>
                  </a:lnTo>
                  <a:lnTo>
                    <a:pt x="596277" y="92279"/>
                  </a:lnTo>
                  <a:lnTo>
                    <a:pt x="598133" y="92927"/>
                  </a:lnTo>
                  <a:lnTo>
                    <a:pt x="605542" y="90187"/>
                  </a:lnTo>
                  <a:lnTo>
                    <a:pt x="605381" y="87187"/>
                  </a:lnTo>
                  <a:lnTo>
                    <a:pt x="605821" y="85703"/>
                  </a:lnTo>
                  <a:lnTo>
                    <a:pt x="611904" y="89051"/>
                  </a:lnTo>
                  <a:lnTo>
                    <a:pt x="616254" y="90455"/>
                  </a:lnTo>
                  <a:lnTo>
                    <a:pt x="617505" y="93607"/>
                  </a:lnTo>
                  <a:lnTo>
                    <a:pt x="617167" y="95766"/>
                  </a:lnTo>
                  <a:lnTo>
                    <a:pt x="610272" y="94772"/>
                  </a:lnTo>
                  <a:lnTo>
                    <a:pt x="606758" y="93101"/>
                  </a:lnTo>
                  <a:lnTo>
                    <a:pt x="596518" y="95849"/>
                  </a:lnTo>
                  <a:lnTo>
                    <a:pt x="590248" y="98817"/>
                  </a:lnTo>
                  <a:lnTo>
                    <a:pt x="588375" y="103751"/>
                  </a:lnTo>
                  <a:lnTo>
                    <a:pt x="586910" y="123427"/>
                  </a:lnTo>
                  <a:lnTo>
                    <a:pt x="584489" y="136204"/>
                  </a:lnTo>
                  <a:lnTo>
                    <a:pt x="584025" y="153076"/>
                  </a:lnTo>
                  <a:lnTo>
                    <a:pt x="575743" y="164246"/>
                  </a:lnTo>
                  <a:lnTo>
                    <a:pt x="572950" y="172121"/>
                  </a:lnTo>
                  <a:lnTo>
                    <a:pt x="560618" y="187884"/>
                  </a:lnTo>
                  <a:lnTo>
                    <a:pt x="554186" y="201349"/>
                  </a:lnTo>
                  <a:lnTo>
                    <a:pt x="552086" y="207922"/>
                  </a:lnTo>
                  <a:lnTo>
                    <a:pt x="541252" y="226385"/>
                  </a:lnTo>
                  <a:lnTo>
                    <a:pt x="526399" y="240525"/>
                  </a:lnTo>
                  <a:lnTo>
                    <a:pt x="521021" y="258581"/>
                  </a:lnTo>
                  <a:lnTo>
                    <a:pt x="515688" y="269898"/>
                  </a:lnTo>
                  <a:lnTo>
                    <a:pt x="509696" y="280173"/>
                  </a:lnTo>
                  <a:lnTo>
                    <a:pt x="496576" y="298414"/>
                  </a:lnTo>
                  <a:lnTo>
                    <a:pt x="489850" y="311100"/>
                  </a:lnTo>
                  <a:lnTo>
                    <a:pt x="481421" y="333077"/>
                  </a:lnTo>
                  <a:lnTo>
                    <a:pt x="478855" y="347003"/>
                  </a:lnTo>
                  <a:lnTo>
                    <a:pt x="455147" y="387369"/>
                  </a:lnTo>
                  <a:lnTo>
                    <a:pt x="430563" y="419538"/>
                  </a:lnTo>
                  <a:lnTo>
                    <a:pt x="415242" y="446583"/>
                  </a:lnTo>
                  <a:lnTo>
                    <a:pt x="387768" y="477957"/>
                  </a:lnTo>
                  <a:lnTo>
                    <a:pt x="350298" y="518438"/>
                  </a:lnTo>
                  <a:lnTo>
                    <a:pt x="301278" y="566480"/>
                  </a:lnTo>
                  <a:lnTo>
                    <a:pt x="287957" y="576278"/>
                  </a:lnTo>
                  <a:lnTo>
                    <a:pt x="234295" y="605887"/>
                  </a:lnTo>
                  <a:lnTo>
                    <a:pt x="199498" y="630720"/>
                  </a:lnTo>
                  <a:lnTo>
                    <a:pt x="181729" y="647605"/>
                  </a:lnTo>
                  <a:lnTo>
                    <a:pt x="163065" y="662300"/>
                  </a:lnTo>
                  <a:lnTo>
                    <a:pt x="148263" y="676290"/>
                  </a:lnTo>
                  <a:lnTo>
                    <a:pt x="103513" y="723515"/>
                  </a:lnTo>
                  <a:lnTo>
                    <a:pt x="98898" y="727964"/>
                  </a:lnTo>
                  <a:lnTo>
                    <a:pt x="94548" y="732151"/>
                  </a:lnTo>
                  <a:lnTo>
                    <a:pt x="88912" y="740152"/>
                  </a:lnTo>
                  <a:lnTo>
                    <a:pt x="84993" y="743320"/>
                  </a:lnTo>
                  <a:lnTo>
                    <a:pt x="74303" y="756820"/>
                  </a:lnTo>
                  <a:lnTo>
                    <a:pt x="67628" y="763819"/>
                  </a:lnTo>
                  <a:lnTo>
                    <a:pt x="60144" y="770743"/>
                  </a:lnTo>
                  <a:lnTo>
                    <a:pt x="56968" y="775632"/>
                  </a:lnTo>
                  <a:lnTo>
                    <a:pt x="54718" y="781259"/>
                  </a:lnTo>
                  <a:lnTo>
                    <a:pt x="52227" y="784391"/>
                  </a:lnTo>
                  <a:lnTo>
                    <a:pt x="45477" y="797818"/>
                  </a:lnTo>
                  <a:lnTo>
                    <a:pt x="39541" y="806609"/>
                  </a:lnTo>
                  <a:lnTo>
                    <a:pt x="33659" y="813530"/>
                  </a:lnTo>
                  <a:lnTo>
                    <a:pt x="33948" y="808664"/>
                  </a:lnTo>
                  <a:lnTo>
                    <a:pt x="33016" y="806239"/>
                  </a:lnTo>
                  <a:lnTo>
                    <a:pt x="27394" y="798967"/>
                  </a:lnTo>
                  <a:lnTo>
                    <a:pt x="16902" y="785403"/>
                  </a:lnTo>
                  <a:lnTo>
                    <a:pt x="8965" y="775152"/>
                  </a:lnTo>
                  <a:lnTo>
                    <a:pt x="847" y="764658"/>
                  </a:lnTo>
                  <a:lnTo>
                    <a:pt x="817" y="756271"/>
                  </a:lnTo>
                  <a:lnTo>
                    <a:pt x="718" y="731313"/>
                  </a:lnTo>
                  <a:lnTo>
                    <a:pt x="523" y="681398"/>
                  </a:lnTo>
                  <a:lnTo>
                    <a:pt x="332" y="631478"/>
                  </a:lnTo>
                  <a:lnTo>
                    <a:pt x="134" y="581547"/>
                  </a:lnTo>
                  <a:lnTo>
                    <a:pt x="38" y="556572"/>
                  </a:lnTo>
                  <a:lnTo>
                    <a:pt x="0" y="546362"/>
                  </a:lnTo>
                  <a:lnTo>
                    <a:pt x="847" y="544712"/>
                  </a:lnTo>
                  <a:lnTo>
                    <a:pt x="10101" y="535546"/>
                  </a:lnTo>
                  <a:lnTo>
                    <a:pt x="22350" y="523417"/>
                  </a:lnTo>
                  <a:lnTo>
                    <a:pt x="38443" y="500363"/>
                  </a:lnTo>
                  <a:lnTo>
                    <a:pt x="47178" y="487841"/>
                  </a:lnTo>
                  <a:lnTo>
                    <a:pt x="54463" y="477395"/>
                  </a:lnTo>
                  <a:lnTo>
                    <a:pt x="56322" y="474218"/>
                  </a:lnTo>
                  <a:lnTo>
                    <a:pt x="62764" y="467891"/>
                  </a:lnTo>
                  <a:lnTo>
                    <a:pt x="74863" y="464112"/>
                  </a:lnTo>
                  <a:lnTo>
                    <a:pt x="82371" y="463482"/>
                  </a:lnTo>
                  <a:lnTo>
                    <a:pt x="108222" y="458749"/>
                  </a:lnTo>
                  <a:lnTo>
                    <a:pt x="112073" y="456839"/>
                  </a:lnTo>
                  <a:lnTo>
                    <a:pt x="114329" y="454651"/>
                  </a:lnTo>
                  <a:lnTo>
                    <a:pt x="116474" y="449653"/>
                  </a:lnTo>
                  <a:lnTo>
                    <a:pt x="121513" y="442648"/>
                  </a:lnTo>
                  <a:lnTo>
                    <a:pt x="128008" y="437832"/>
                  </a:lnTo>
                  <a:lnTo>
                    <a:pt x="140345" y="431546"/>
                  </a:lnTo>
                  <a:lnTo>
                    <a:pt x="152444" y="426208"/>
                  </a:lnTo>
                  <a:lnTo>
                    <a:pt x="155123" y="425337"/>
                  </a:lnTo>
                  <a:lnTo>
                    <a:pt x="169676" y="421986"/>
                  </a:lnTo>
                  <a:lnTo>
                    <a:pt x="173246" y="420837"/>
                  </a:lnTo>
                  <a:lnTo>
                    <a:pt x="179133" y="419664"/>
                  </a:lnTo>
                  <a:lnTo>
                    <a:pt x="181458" y="419637"/>
                  </a:lnTo>
                  <a:lnTo>
                    <a:pt x="201679" y="420813"/>
                  </a:lnTo>
                  <a:lnTo>
                    <a:pt x="217498" y="421729"/>
                  </a:lnTo>
                  <a:lnTo>
                    <a:pt x="233787" y="422669"/>
                  </a:lnTo>
                  <a:lnTo>
                    <a:pt x="235498" y="421951"/>
                  </a:lnTo>
                  <a:lnTo>
                    <a:pt x="246887" y="409501"/>
                  </a:lnTo>
                  <a:lnTo>
                    <a:pt x="264989" y="389680"/>
                  </a:lnTo>
                  <a:lnTo>
                    <a:pt x="276547" y="377037"/>
                  </a:lnTo>
                  <a:lnTo>
                    <a:pt x="294397" y="357489"/>
                  </a:lnTo>
                  <a:lnTo>
                    <a:pt x="308127" y="343374"/>
                  </a:lnTo>
                  <a:lnTo>
                    <a:pt x="323301" y="327758"/>
                  </a:lnTo>
                  <a:lnTo>
                    <a:pt x="338038" y="313484"/>
                  </a:lnTo>
                  <a:lnTo>
                    <a:pt x="355770" y="296301"/>
                  </a:lnTo>
                  <a:lnTo>
                    <a:pt x="366940" y="285477"/>
                  </a:lnTo>
                  <a:lnTo>
                    <a:pt x="384297" y="268650"/>
                  </a:lnTo>
                  <a:lnTo>
                    <a:pt x="400810" y="252638"/>
                  </a:lnTo>
                  <a:lnTo>
                    <a:pt x="415416" y="238471"/>
                  </a:lnTo>
                  <a:lnTo>
                    <a:pt x="424213" y="225051"/>
                  </a:lnTo>
                  <a:lnTo>
                    <a:pt x="432862" y="211862"/>
                  </a:lnTo>
                  <a:lnTo>
                    <a:pt x="442092" y="197768"/>
                  </a:lnTo>
                  <a:lnTo>
                    <a:pt x="453227" y="180759"/>
                  </a:lnTo>
                  <a:lnTo>
                    <a:pt x="463708" y="164752"/>
                  </a:lnTo>
                  <a:lnTo>
                    <a:pt x="472266" y="151667"/>
                  </a:lnTo>
                  <a:lnTo>
                    <a:pt x="472266" y="144952"/>
                  </a:lnTo>
                  <a:lnTo>
                    <a:pt x="472279" y="130397"/>
                  </a:lnTo>
                  <a:lnTo>
                    <a:pt x="472279" y="120478"/>
                  </a:lnTo>
                  <a:lnTo>
                    <a:pt x="472284" y="92970"/>
                  </a:lnTo>
                  <a:lnTo>
                    <a:pt x="472290" y="76146"/>
                  </a:lnTo>
                  <a:lnTo>
                    <a:pt x="472290" y="60083"/>
                  </a:lnTo>
                  <a:lnTo>
                    <a:pt x="472295" y="43526"/>
                  </a:lnTo>
                  <a:lnTo>
                    <a:pt x="479613" y="42785"/>
                  </a:lnTo>
                  <a:lnTo>
                    <a:pt x="498931" y="38475"/>
                  </a:lnTo>
                  <a:lnTo>
                    <a:pt x="513963" y="31982"/>
                  </a:lnTo>
                  <a:lnTo>
                    <a:pt x="541680" y="27281"/>
                  </a:lnTo>
                  <a:lnTo>
                    <a:pt x="562774" y="15383"/>
                  </a:lnTo>
                  <a:lnTo>
                    <a:pt x="566454" y="9640"/>
                  </a:lnTo>
                  <a:lnTo>
                    <a:pt x="572826" y="2397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06" name="ee4p_ST_1_37365">
              <a:extLst>
                <a:ext uri="{FF2B5EF4-FFF2-40B4-BE49-F238E27FC236}">
                  <a16:creationId xmlns:a16="http://schemas.microsoft.com/office/drawing/2014/main" id="{788CAEE2-CF78-EE4E-B473-97BB7912C580}"/>
                </a:ext>
              </a:extLst>
            </p:cNvPr>
            <p:cNvSpPr>
              <a:spLocks noChangeAspect="1"/>
            </p:cNvSpPr>
            <p:nvPr>
              <p:custDataLst>
                <p:tags r:id="rId360"/>
              </p:custDataLst>
            </p:nvPr>
          </p:nvSpPr>
          <p:spPr>
            <a:xfrm>
              <a:off x="6694317" y="4629217"/>
              <a:ext cx="27330" cy="47121"/>
            </a:xfrm>
            <a:custGeom>
              <a:avLst/>
              <a:gdLst>
                <a:gd name="connsiteX0" fmla="*/ 12956 w 58290"/>
                <a:gd name="connsiteY0" fmla="*/ 76692 h 97839"/>
                <a:gd name="connsiteX1" fmla="*/ 16679 w 58290"/>
                <a:gd name="connsiteY1" fmla="*/ 81358 h 97839"/>
                <a:gd name="connsiteX2" fmla="*/ 16692 w 58290"/>
                <a:gd name="connsiteY2" fmla="*/ 86225 h 97839"/>
                <a:gd name="connsiteX3" fmla="*/ 11360 w 58290"/>
                <a:gd name="connsiteY3" fmla="*/ 93497 h 97839"/>
                <a:gd name="connsiteX4" fmla="*/ 5253 w 58290"/>
                <a:gd name="connsiteY4" fmla="*/ 97839 h 97839"/>
                <a:gd name="connsiteX5" fmla="*/ 3054 w 58290"/>
                <a:gd name="connsiteY5" fmla="*/ 96717 h 97839"/>
                <a:gd name="connsiteX6" fmla="*/ 1706 w 58290"/>
                <a:gd name="connsiteY6" fmla="*/ 93693 h 97839"/>
                <a:gd name="connsiteX7" fmla="*/ 0 w 58290"/>
                <a:gd name="connsiteY7" fmla="*/ 87179 h 97839"/>
                <a:gd name="connsiteX8" fmla="*/ 555 w 58290"/>
                <a:gd name="connsiteY8" fmla="*/ 84053 h 97839"/>
                <a:gd name="connsiteX9" fmla="*/ 3327 w 58290"/>
                <a:gd name="connsiteY9" fmla="*/ 80490 h 97839"/>
                <a:gd name="connsiteX10" fmla="*/ 9340 w 58290"/>
                <a:gd name="connsiteY10" fmla="*/ 76939 h 97839"/>
                <a:gd name="connsiteX11" fmla="*/ 56046 w 58290"/>
                <a:gd name="connsiteY11" fmla="*/ 0 h 97839"/>
                <a:gd name="connsiteX12" fmla="*/ 57382 w 58290"/>
                <a:gd name="connsiteY12" fmla="*/ 951 h 97839"/>
                <a:gd name="connsiteX13" fmla="*/ 58175 w 58290"/>
                <a:gd name="connsiteY13" fmla="*/ 2199 h 97839"/>
                <a:gd name="connsiteX14" fmla="*/ 58290 w 58290"/>
                <a:gd name="connsiteY14" fmla="*/ 4028 h 97839"/>
                <a:gd name="connsiteX15" fmla="*/ 56600 w 58290"/>
                <a:gd name="connsiteY15" fmla="*/ 7783 h 97839"/>
                <a:gd name="connsiteX16" fmla="*/ 54398 w 58290"/>
                <a:gd name="connsiteY16" fmla="*/ 9334 h 97839"/>
                <a:gd name="connsiteX17" fmla="*/ 51776 w 58290"/>
                <a:gd name="connsiteY17" fmla="*/ 8030 h 97839"/>
                <a:gd name="connsiteX18" fmla="*/ 51082 w 58290"/>
                <a:gd name="connsiteY18" fmla="*/ 5670 h 97839"/>
                <a:gd name="connsiteX19" fmla="*/ 54455 w 58290"/>
                <a:gd name="connsiteY19" fmla="*/ 1122 h 97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58290" h="97839">
                  <a:moveTo>
                    <a:pt x="12956" y="76692"/>
                  </a:moveTo>
                  <a:lnTo>
                    <a:pt x="16679" y="81358"/>
                  </a:lnTo>
                  <a:lnTo>
                    <a:pt x="16692" y="86225"/>
                  </a:lnTo>
                  <a:lnTo>
                    <a:pt x="11360" y="93497"/>
                  </a:lnTo>
                  <a:lnTo>
                    <a:pt x="5253" y="97839"/>
                  </a:lnTo>
                  <a:lnTo>
                    <a:pt x="3054" y="96717"/>
                  </a:lnTo>
                  <a:lnTo>
                    <a:pt x="1706" y="93693"/>
                  </a:lnTo>
                  <a:lnTo>
                    <a:pt x="0" y="87179"/>
                  </a:lnTo>
                  <a:lnTo>
                    <a:pt x="555" y="84053"/>
                  </a:lnTo>
                  <a:lnTo>
                    <a:pt x="3327" y="80490"/>
                  </a:lnTo>
                  <a:lnTo>
                    <a:pt x="9340" y="76939"/>
                  </a:lnTo>
                  <a:close/>
                  <a:moveTo>
                    <a:pt x="56046" y="0"/>
                  </a:moveTo>
                  <a:lnTo>
                    <a:pt x="57382" y="951"/>
                  </a:lnTo>
                  <a:lnTo>
                    <a:pt x="58175" y="2199"/>
                  </a:lnTo>
                  <a:lnTo>
                    <a:pt x="58290" y="4028"/>
                  </a:lnTo>
                  <a:lnTo>
                    <a:pt x="56600" y="7783"/>
                  </a:lnTo>
                  <a:lnTo>
                    <a:pt x="54398" y="9334"/>
                  </a:lnTo>
                  <a:lnTo>
                    <a:pt x="51776" y="8030"/>
                  </a:lnTo>
                  <a:lnTo>
                    <a:pt x="51082" y="5670"/>
                  </a:lnTo>
                  <a:lnTo>
                    <a:pt x="54455" y="1122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07" name="ee4p_SZ_1_37365">
              <a:extLst>
                <a:ext uri="{FF2B5EF4-FFF2-40B4-BE49-F238E27FC236}">
                  <a16:creationId xmlns:a16="http://schemas.microsoft.com/office/drawing/2014/main" id="{1022B9D3-C423-BA5A-5BC4-AF4999CFF1A9}"/>
                </a:ext>
              </a:extLst>
            </p:cNvPr>
            <p:cNvSpPr>
              <a:spLocks noChangeAspect="1"/>
            </p:cNvSpPr>
            <p:nvPr>
              <p:custDataLst>
                <p:tags r:id="rId361"/>
              </p:custDataLst>
            </p:nvPr>
          </p:nvSpPr>
          <p:spPr>
            <a:xfrm>
              <a:off x="7369648" y="5428362"/>
              <a:ext cx="36808" cy="47953"/>
            </a:xfrm>
            <a:custGeom>
              <a:avLst/>
              <a:gdLst/>
              <a:ahLst/>
              <a:cxnLst/>
              <a:rect l="0" t="0" r="0" b="0"/>
              <a:pathLst>
                <a:path w="29309" h="37172">
                  <a:moveTo>
                    <a:pt x="25667" y="5073"/>
                  </a:moveTo>
                  <a:lnTo>
                    <a:pt x="26114" y="5420"/>
                  </a:lnTo>
                  <a:lnTo>
                    <a:pt x="28150" y="6510"/>
                  </a:lnTo>
                  <a:lnTo>
                    <a:pt x="28334" y="8682"/>
                  </a:lnTo>
                  <a:lnTo>
                    <a:pt x="28138" y="11165"/>
                  </a:lnTo>
                  <a:lnTo>
                    <a:pt x="27727" y="12734"/>
                  </a:lnTo>
                  <a:lnTo>
                    <a:pt x="27881" y="14295"/>
                  </a:lnTo>
                  <a:lnTo>
                    <a:pt x="28535" y="16728"/>
                  </a:lnTo>
                  <a:lnTo>
                    <a:pt x="29154" y="18393"/>
                  </a:lnTo>
                  <a:lnTo>
                    <a:pt x="29308" y="25977"/>
                  </a:lnTo>
                  <a:lnTo>
                    <a:pt x="28617" y="25629"/>
                  </a:lnTo>
                  <a:lnTo>
                    <a:pt x="27360" y="25304"/>
                  </a:lnTo>
                  <a:lnTo>
                    <a:pt x="26695" y="25455"/>
                  </a:lnTo>
                  <a:lnTo>
                    <a:pt x="26086" y="28857"/>
                  </a:lnTo>
                  <a:lnTo>
                    <a:pt x="25619" y="33925"/>
                  </a:lnTo>
                  <a:lnTo>
                    <a:pt x="25892" y="37074"/>
                  </a:lnTo>
                  <a:lnTo>
                    <a:pt x="21119" y="37171"/>
                  </a:lnTo>
                  <a:lnTo>
                    <a:pt x="15082" y="36827"/>
                  </a:lnTo>
                  <a:lnTo>
                    <a:pt x="10759" y="35466"/>
                  </a:lnTo>
                  <a:lnTo>
                    <a:pt x="6101" y="32465"/>
                  </a:lnTo>
                  <a:lnTo>
                    <a:pt x="3330" y="27792"/>
                  </a:lnTo>
                  <a:lnTo>
                    <a:pt x="2119" y="24858"/>
                  </a:lnTo>
                  <a:lnTo>
                    <a:pt x="426" y="24689"/>
                  </a:lnTo>
                  <a:lnTo>
                    <a:pt x="152" y="24190"/>
                  </a:lnTo>
                  <a:lnTo>
                    <a:pt x="0" y="20615"/>
                  </a:lnTo>
                  <a:lnTo>
                    <a:pt x="35" y="16862"/>
                  </a:lnTo>
                  <a:lnTo>
                    <a:pt x="350" y="15867"/>
                  </a:lnTo>
                  <a:lnTo>
                    <a:pt x="3488" y="11253"/>
                  </a:lnTo>
                  <a:lnTo>
                    <a:pt x="5436" y="8389"/>
                  </a:lnTo>
                  <a:lnTo>
                    <a:pt x="6647" y="5619"/>
                  </a:lnTo>
                  <a:lnTo>
                    <a:pt x="9284" y="2372"/>
                  </a:lnTo>
                  <a:lnTo>
                    <a:pt x="12111" y="298"/>
                  </a:lnTo>
                  <a:lnTo>
                    <a:pt x="13160" y="0"/>
                  </a:lnTo>
                  <a:lnTo>
                    <a:pt x="13879" y="86"/>
                  </a:lnTo>
                  <a:lnTo>
                    <a:pt x="18861" y="2938"/>
                  </a:lnTo>
                  <a:lnTo>
                    <a:pt x="23970" y="5641"/>
                  </a:lnTo>
                  <a:lnTo>
                    <a:pt x="25080" y="5337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08" name="ee4p_TD_1_37365">
              <a:extLst>
                <a:ext uri="{FF2B5EF4-FFF2-40B4-BE49-F238E27FC236}">
                  <a16:creationId xmlns:a16="http://schemas.microsoft.com/office/drawing/2014/main" id="{9C452CB5-3E45-90A3-F580-495E5E4BDA8B}"/>
                </a:ext>
              </a:extLst>
            </p:cNvPr>
            <p:cNvSpPr>
              <a:spLocks noChangeAspect="1"/>
            </p:cNvSpPr>
            <p:nvPr>
              <p:custDataLst>
                <p:tags r:id="rId362"/>
              </p:custDataLst>
            </p:nvPr>
          </p:nvSpPr>
          <p:spPr>
            <a:xfrm>
              <a:off x="6888149" y="3996629"/>
              <a:ext cx="292556" cy="467438"/>
            </a:xfrm>
            <a:custGeom>
              <a:avLst/>
              <a:gdLst/>
              <a:ahLst/>
              <a:cxnLst/>
              <a:rect l="0" t="0" r="0" b="0"/>
              <a:pathLst>
                <a:path w="232956" h="362344">
                  <a:moveTo>
                    <a:pt x="232886" y="91401"/>
                  </a:moveTo>
                  <a:lnTo>
                    <a:pt x="232894" y="101632"/>
                  </a:lnTo>
                  <a:lnTo>
                    <a:pt x="232903" y="111846"/>
                  </a:lnTo>
                  <a:lnTo>
                    <a:pt x="232911" y="122043"/>
                  </a:lnTo>
                  <a:lnTo>
                    <a:pt x="232920" y="132225"/>
                  </a:lnTo>
                  <a:lnTo>
                    <a:pt x="232929" y="142390"/>
                  </a:lnTo>
                  <a:lnTo>
                    <a:pt x="232935" y="152540"/>
                  </a:lnTo>
                  <a:lnTo>
                    <a:pt x="232944" y="162674"/>
                  </a:lnTo>
                  <a:lnTo>
                    <a:pt x="232952" y="172794"/>
                  </a:lnTo>
                  <a:lnTo>
                    <a:pt x="232955" y="176147"/>
                  </a:lnTo>
                  <a:lnTo>
                    <a:pt x="232676" y="177476"/>
                  </a:lnTo>
                  <a:lnTo>
                    <a:pt x="232553" y="177659"/>
                  </a:lnTo>
                  <a:lnTo>
                    <a:pt x="232128" y="177884"/>
                  </a:lnTo>
                  <a:lnTo>
                    <a:pt x="226869" y="176945"/>
                  </a:lnTo>
                  <a:lnTo>
                    <a:pt x="224565" y="176922"/>
                  </a:lnTo>
                  <a:lnTo>
                    <a:pt x="221337" y="177647"/>
                  </a:lnTo>
                  <a:lnTo>
                    <a:pt x="216593" y="178027"/>
                  </a:lnTo>
                  <a:lnTo>
                    <a:pt x="213535" y="177906"/>
                  </a:lnTo>
                  <a:lnTo>
                    <a:pt x="211413" y="179644"/>
                  </a:lnTo>
                  <a:lnTo>
                    <a:pt x="209748" y="181744"/>
                  </a:lnTo>
                  <a:lnTo>
                    <a:pt x="210536" y="186764"/>
                  </a:lnTo>
                  <a:lnTo>
                    <a:pt x="210354" y="188420"/>
                  </a:lnTo>
                  <a:lnTo>
                    <a:pt x="209713" y="190139"/>
                  </a:lnTo>
                  <a:lnTo>
                    <a:pt x="208273" y="191620"/>
                  </a:lnTo>
                  <a:lnTo>
                    <a:pt x="206835" y="192800"/>
                  </a:lnTo>
                  <a:lnTo>
                    <a:pt x="205975" y="193834"/>
                  </a:lnTo>
                  <a:lnTo>
                    <a:pt x="204906" y="196101"/>
                  </a:lnTo>
                  <a:lnTo>
                    <a:pt x="204116" y="197162"/>
                  </a:lnTo>
                  <a:lnTo>
                    <a:pt x="204187" y="198582"/>
                  </a:lnTo>
                  <a:lnTo>
                    <a:pt x="203932" y="200076"/>
                  </a:lnTo>
                  <a:lnTo>
                    <a:pt x="203068" y="200853"/>
                  </a:lnTo>
                  <a:lnTo>
                    <a:pt x="200862" y="201425"/>
                  </a:lnTo>
                  <a:lnTo>
                    <a:pt x="199441" y="202089"/>
                  </a:lnTo>
                  <a:lnTo>
                    <a:pt x="198301" y="203176"/>
                  </a:lnTo>
                  <a:lnTo>
                    <a:pt x="197534" y="203960"/>
                  </a:lnTo>
                  <a:lnTo>
                    <a:pt x="197936" y="205005"/>
                  </a:lnTo>
                  <a:lnTo>
                    <a:pt x="198495" y="206426"/>
                  </a:lnTo>
                  <a:lnTo>
                    <a:pt x="198813" y="208662"/>
                  </a:lnTo>
                  <a:lnTo>
                    <a:pt x="199033" y="209969"/>
                  </a:lnTo>
                  <a:lnTo>
                    <a:pt x="200117" y="211033"/>
                  </a:lnTo>
                  <a:lnTo>
                    <a:pt x="200778" y="211796"/>
                  </a:lnTo>
                  <a:lnTo>
                    <a:pt x="201007" y="212729"/>
                  </a:lnTo>
                  <a:lnTo>
                    <a:pt x="200374" y="213505"/>
                  </a:lnTo>
                  <a:lnTo>
                    <a:pt x="197681" y="215127"/>
                  </a:lnTo>
                  <a:lnTo>
                    <a:pt x="196601" y="215728"/>
                  </a:lnTo>
                  <a:lnTo>
                    <a:pt x="195366" y="216551"/>
                  </a:lnTo>
                  <a:lnTo>
                    <a:pt x="194893" y="216858"/>
                  </a:lnTo>
                  <a:lnTo>
                    <a:pt x="192926" y="218393"/>
                  </a:lnTo>
                  <a:lnTo>
                    <a:pt x="191933" y="219755"/>
                  </a:lnTo>
                  <a:lnTo>
                    <a:pt x="191451" y="220889"/>
                  </a:lnTo>
                  <a:lnTo>
                    <a:pt x="191477" y="222455"/>
                  </a:lnTo>
                  <a:lnTo>
                    <a:pt x="192479" y="224795"/>
                  </a:lnTo>
                  <a:lnTo>
                    <a:pt x="193572" y="226784"/>
                  </a:lnTo>
                  <a:lnTo>
                    <a:pt x="193993" y="228280"/>
                  </a:lnTo>
                  <a:lnTo>
                    <a:pt x="194241" y="229919"/>
                  </a:lnTo>
                  <a:lnTo>
                    <a:pt x="194142" y="231476"/>
                  </a:lnTo>
                  <a:lnTo>
                    <a:pt x="193578" y="232832"/>
                  </a:lnTo>
                  <a:lnTo>
                    <a:pt x="192591" y="234053"/>
                  </a:lnTo>
                  <a:lnTo>
                    <a:pt x="188881" y="236347"/>
                  </a:lnTo>
                  <a:lnTo>
                    <a:pt x="187057" y="238867"/>
                  </a:lnTo>
                  <a:lnTo>
                    <a:pt x="185599" y="241929"/>
                  </a:lnTo>
                  <a:lnTo>
                    <a:pt x="185234" y="243597"/>
                  </a:lnTo>
                  <a:lnTo>
                    <a:pt x="185634" y="244705"/>
                  </a:lnTo>
                  <a:lnTo>
                    <a:pt x="186402" y="245645"/>
                  </a:lnTo>
                  <a:lnTo>
                    <a:pt x="187508" y="246122"/>
                  </a:lnTo>
                  <a:lnTo>
                    <a:pt x="189112" y="246263"/>
                  </a:lnTo>
                  <a:lnTo>
                    <a:pt x="191777" y="245753"/>
                  </a:lnTo>
                  <a:lnTo>
                    <a:pt x="194259" y="245418"/>
                  </a:lnTo>
                  <a:lnTo>
                    <a:pt x="196889" y="246520"/>
                  </a:lnTo>
                  <a:lnTo>
                    <a:pt x="198262" y="249081"/>
                  </a:lnTo>
                  <a:lnTo>
                    <a:pt x="197726" y="250954"/>
                  </a:lnTo>
                  <a:lnTo>
                    <a:pt x="198722" y="254345"/>
                  </a:lnTo>
                  <a:lnTo>
                    <a:pt x="199611" y="258444"/>
                  </a:lnTo>
                  <a:lnTo>
                    <a:pt x="199545" y="259823"/>
                  </a:lnTo>
                  <a:lnTo>
                    <a:pt x="199929" y="260339"/>
                  </a:lnTo>
                  <a:lnTo>
                    <a:pt x="201577" y="260603"/>
                  </a:lnTo>
                  <a:lnTo>
                    <a:pt x="201944" y="261564"/>
                  </a:lnTo>
                  <a:lnTo>
                    <a:pt x="201400" y="268751"/>
                  </a:lnTo>
                  <a:lnTo>
                    <a:pt x="202168" y="270760"/>
                  </a:lnTo>
                  <a:lnTo>
                    <a:pt x="203272" y="272192"/>
                  </a:lnTo>
                  <a:lnTo>
                    <a:pt x="204518" y="272937"/>
                  </a:lnTo>
                  <a:lnTo>
                    <a:pt x="205770" y="273897"/>
                  </a:lnTo>
                  <a:lnTo>
                    <a:pt x="206420" y="274566"/>
                  </a:lnTo>
                  <a:lnTo>
                    <a:pt x="207871" y="274716"/>
                  </a:lnTo>
                  <a:lnTo>
                    <a:pt x="209499" y="276023"/>
                  </a:lnTo>
                  <a:lnTo>
                    <a:pt x="209944" y="277763"/>
                  </a:lnTo>
                  <a:lnTo>
                    <a:pt x="209832" y="279445"/>
                  </a:lnTo>
                  <a:lnTo>
                    <a:pt x="208884" y="283094"/>
                  </a:lnTo>
                  <a:lnTo>
                    <a:pt x="208115" y="285540"/>
                  </a:lnTo>
                  <a:lnTo>
                    <a:pt x="207171" y="285372"/>
                  </a:lnTo>
                  <a:lnTo>
                    <a:pt x="205243" y="284771"/>
                  </a:lnTo>
                  <a:lnTo>
                    <a:pt x="202896" y="284250"/>
                  </a:lnTo>
                  <a:lnTo>
                    <a:pt x="200017" y="283827"/>
                  </a:lnTo>
                  <a:lnTo>
                    <a:pt x="197275" y="284828"/>
                  </a:lnTo>
                  <a:lnTo>
                    <a:pt x="194314" y="286111"/>
                  </a:lnTo>
                  <a:lnTo>
                    <a:pt x="193380" y="287068"/>
                  </a:lnTo>
                  <a:lnTo>
                    <a:pt x="192552" y="287634"/>
                  </a:lnTo>
                  <a:lnTo>
                    <a:pt x="191246" y="287545"/>
                  </a:lnTo>
                  <a:lnTo>
                    <a:pt x="190052" y="287709"/>
                  </a:lnTo>
                  <a:lnTo>
                    <a:pt x="189402" y="288619"/>
                  </a:lnTo>
                  <a:lnTo>
                    <a:pt x="188320" y="289634"/>
                  </a:lnTo>
                  <a:lnTo>
                    <a:pt x="184044" y="291732"/>
                  </a:lnTo>
                  <a:lnTo>
                    <a:pt x="183142" y="292495"/>
                  </a:lnTo>
                  <a:lnTo>
                    <a:pt x="182608" y="293253"/>
                  </a:lnTo>
                  <a:lnTo>
                    <a:pt x="182608" y="294078"/>
                  </a:lnTo>
                  <a:lnTo>
                    <a:pt x="183043" y="295783"/>
                  </a:lnTo>
                  <a:lnTo>
                    <a:pt x="183034" y="297907"/>
                  </a:lnTo>
                  <a:lnTo>
                    <a:pt x="182081" y="299621"/>
                  </a:lnTo>
                  <a:lnTo>
                    <a:pt x="180976" y="300773"/>
                  </a:lnTo>
                  <a:lnTo>
                    <a:pt x="179717" y="301214"/>
                  </a:lnTo>
                  <a:lnTo>
                    <a:pt x="178661" y="301454"/>
                  </a:lnTo>
                  <a:lnTo>
                    <a:pt x="177972" y="302172"/>
                  </a:lnTo>
                  <a:lnTo>
                    <a:pt x="175741" y="306064"/>
                  </a:lnTo>
                  <a:lnTo>
                    <a:pt x="174779" y="306784"/>
                  </a:lnTo>
                  <a:lnTo>
                    <a:pt x="172820" y="306662"/>
                  </a:lnTo>
                  <a:lnTo>
                    <a:pt x="167195" y="312497"/>
                  </a:lnTo>
                  <a:lnTo>
                    <a:pt x="166635" y="314214"/>
                  </a:lnTo>
                  <a:lnTo>
                    <a:pt x="164575" y="316649"/>
                  </a:lnTo>
                  <a:lnTo>
                    <a:pt x="161971" y="319359"/>
                  </a:lnTo>
                  <a:lnTo>
                    <a:pt x="159648" y="320664"/>
                  </a:lnTo>
                  <a:lnTo>
                    <a:pt x="159460" y="321169"/>
                  </a:lnTo>
                  <a:lnTo>
                    <a:pt x="158836" y="321685"/>
                  </a:lnTo>
                  <a:lnTo>
                    <a:pt x="157408" y="322274"/>
                  </a:lnTo>
                  <a:lnTo>
                    <a:pt x="152437" y="325570"/>
                  </a:lnTo>
                  <a:lnTo>
                    <a:pt x="146480" y="325434"/>
                  </a:lnTo>
                  <a:lnTo>
                    <a:pt x="143845" y="326728"/>
                  </a:lnTo>
                  <a:lnTo>
                    <a:pt x="141284" y="327303"/>
                  </a:lnTo>
                  <a:lnTo>
                    <a:pt x="137540" y="327938"/>
                  </a:lnTo>
                  <a:lnTo>
                    <a:pt x="136415" y="327878"/>
                  </a:lnTo>
                  <a:lnTo>
                    <a:pt x="131612" y="328144"/>
                  </a:lnTo>
                  <a:lnTo>
                    <a:pt x="125979" y="328048"/>
                  </a:lnTo>
                  <a:lnTo>
                    <a:pt x="123819" y="328514"/>
                  </a:lnTo>
                  <a:lnTo>
                    <a:pt x="121794" y="329766"/>
                  </a:lnTo>
                  <a:lnTo>
                    <a:pt x="120291" y="330861"/>
                  </a:lnTo>
                  <a:lnTo>
                    <a:pt x="120070" y="331229"/>
                  </a:lnTo>
                  <a:lnTo>
                    <a:pt x="120297" y="331691"/>
                  </a:lnTo>
                  <a:lnTo>
                    <a:pt x="120241" y="332057"/>
                  </a:lnTo>
                  <a:lnTo>
                    <a:pt x="124180" y="334744"/>
                  </a:lnTo>
                  <a:lnTo>
                    <a:pt x="125165" y="336065"/>
                  </a:lnTo>
                  <a:lnTo>
                    <a:pt x="124173" y="337342"/>
                  </a:lnTo>
                  <a:lnTo>
                    <a:pt x="123698" y="337532"/>
                  </a:lnTo>
                  <a:lnTo>
                    <a:pt x="123642" y="337607"/>
                  </a:lnTo>
                  <a:lnTo>
                    <a:pt x="123001" y="338625"/>
                  </a:lnTo>
                  <a:lnTo>
                    <a:pt x="120692" y="341656"/>
                  </a:lnTo>
                  <a:lnTo>
                    <a:pt x="117177" y="345247"/>
                  </a:lnTo>
                  <a:lnTo>
                    <a:pt x="115380" y="346272"/>
                  </a:lnTo>
                  <a:lnTo>
                    <a:pt x="114659" y="346940"/>
                  </a:lnTo>
                  <a:lnTo>
                    <a:pt x="113731" y="349320"/>
                  </a:lnTo>
                  <a:lnTo>
                    <a:pt x="113124" y="349651"/>
                  </a:lnTo>
                  <a:lnTo>
                    <a:pt x="110712" y="349959"/>
                  </a:lnTo>
                  <a:lnTo>
                    <a:pt x="105931" y="350219"/>
                  </a:lnTo>
                  <a:lnTo>
                    <a:pt x="99325" y="350996"/>
                  </a:lnTo>
                  <a:lnTo>
                    <a:pt x="95361" y="351255"/>
                  </a:lnTo>
                  <a:lnTo>
                    <a:pt x="92897" y="351037"/>
                  </a:lnTo>
                  <a:lnTo>
                    <a:pt x="89431" y="352679"/>
                  </a:lnTo>
                  <a:lnTo>
                    <a:pt x="88187" y="353099"/>
                  </a:lnTo>
                  <a:lnTo>
                    <a:pt x="87429" y="353241"/>
                  </a:lnTo>
                  <a:lnTo>
                    <a:pt x="83998" y="354833"/>
                  </a:lnTo>
                  <a:lnTo>
                    <a:pt x="81145" y="357304"/>
                  </a:lnTo>
                  <a:lnTo>
                    <a:pt x="80128" y="357773"/>
                  </a:lnTo>
                  <a:lnTo>
                    <a:pt x="76112" y="358821"/>
                  </a:lnTo>
                  <a:lnTo>
                    <a:pt x="74516" y="360519"/>
                  </a:lnTo>
                  <a:lnTo>
                    <a:pt x="73778" y="360660"/>
                  </a:lnTo>
                  <a:lnTo>
                    <a:pt x="71204" y="358419"/>
                  </a:lnTo>
                  <a:lnTo>
                    <a:pt x="69448" y="356382"/>
                  </a:lnTo>
                  <a:lnTo>
                    <a:pt x="68591" y="354324"/>
                  </a:lnTo>
                  <a:lnTo>
                    <a:pt x="68483" y="353665"/>
                  </a:lnTo>
                  <a:lnTo>
                    <a:pt x="67995" y="353788"/>
                  </a:lnTo>
                  <a:lnTo>
                    <a:pt x="66583" y="354699"/>
                  </a:lnTo>
                  <a:lnTo>
                    <a:pt x="65367" y="355737"/>
                  </a:lnTo>
                  <a:lnTo>
                    <a:pt x="64803" y="357712"/>
                  </a:lnTo>
                  <a:lnTo>
                    <a:pt x="60651" y="359049"/>
                  </a:lnTo>
                  <a:lnTo>
                    <a:pt x="57103" y="360190"/>
                  </a:lnTo>
                  <a:lnTo>
                    <a:pt x="55488" y="361625"/>
                  </a:lnTo>
                  <a:lnTo>
                    <a:pt x="52998" y="362343"/>
                  </a:lnTo>
                  <a:lnTo>
                    <a:pt x="49819" y="362051"/>
                  </a:lnTo>
                  <a:lnTo>
                    <a:pt x="47342" y="361459"/>
                  </a:lnTo>
                  <a:lnTo>
                    <a:pt x="44928" y="361265"/>
                  </a:lnTo>
                  <a:lnTo>
                    <a:pt x="46086" y="359472"/>
                  </a:lnTo>
                  <a:lnTo>
                    <a:pt x="46533" y="358136"/>
                  </a:lnTo>
                  <a:lnTo>
                    <a:pt x="46647" y="356500"/>
                  </a:lnTo>
                  <a:lnTo>
                    <a:pt x="46470" y="355391"/>
                  </a:lnTo>
                  <a:lnTo>
                    <a:pt x="45025" y="354838"/>
                  </a:lnTo>
                  <a:lnTo>
                    <a:pt x="44108" y="353968"/>
                  </a:lnTo>
                  <a:lnTo>
                    <a:pt x="42030" y="348807"/>
                  </a:lnTo>
                  <a:lnTo>
                    <a:pt x="39892" y="343498"/>
                  </a:lnTo>
                  <a:lnTo>
                    <a:pt x="36882" y="338266"/>
                  </a:lnTo>
                  <a:lnTo>
                    <a:pt x="33604" y="334926"/>
                  </a:lnTo>
                  <a:lnTo>
                    <a:pt x="31233" y="332891"/>
                  </a:lnTo>
                  <a:lnTo>
                    <a:pt x="30471" y="332631"/>
                  </a:lnTo>
                  <a:lnTo>
                    <a:pt x="29255" y="331988"/>
                  </a:lnTo>
                  <a:lnTo>
                    <a:pt x="28405" y="331397"/>
                  </a:lnTo>
                  <a:lnTo>
                    <a:pt x="24056" y="327841"/>
                  </a:lnTo>
                  <a:lnTo>
                    <a:pt x="19549" y="323867"/>
                  </a:lnTo>
                  <a:lnTo>
                    <a:pt x="18394" y="322048"/>
                  </a:lnTo>
                  <a:lnTo>
                    <a:pt x="16135" y="319340"/>
                  </a:lnTo>
                  <a:lnTo>
                    <a:pt x="13619" y="316546"/>
                  </a:lnTo>
                  <a:lnTo>
                    <a:pt x="12311" y="315275"/>
                  </a:lnTo>
                  <a:lnTo>
                    <a:pt x="11698" y="312981"/>
                  </a:lnTo>
                  <a:lnTo>
                    <a:pt x="13438" y="310909"/>
                  </a:lnTo>
                  <a:lnTo>
                    <a:pt x="15291" y="308288"/>
                  </a:lnTo>
                  <a:lnTo>
                    <a:pt x="17579" y="306548"/>
                  </a:lnTo>
                  <a:lnTo>
                    <a:pt x="20542" y="306429"/>
                  </a:lnTo>
                  <a:lnTo>
                    <a:pt x="25422" y="307143"/>
                  </a:lnTo>
                  <a:lnTo>
                    <a:pt x="30683" y="307397"/>
                  </a:lnTo>
                  <a:lnTo>
                    <a:pt x="35895" y="306855"/>
                  </a:lnTo>
                  <a:lnTo>
                    <a:pt x="37247" y="306478"/>
                  </a:lnTo>
                  <a:lnTo>
                    <a:pt x="38584" y="306508"/>
                  </a:lnTo>
                  <a:lnTo>
                    <a:pt x="41389" y="307116"/>
                  </a:lnTo>
                  <a:lnTo>
                    <a:pt x="46273" y="306981"/>
                  </a:lnTo>
                  <a:lnTo>
                    <a:pt x="48793" y="305921"/>
                  </a:lnTo>
                  <a:lnTo>
                    <a:pt x="46075" y="304119"/>
                  </a:lnTo>
                  <a:lnTo>
                    <a:pt x="43155" y="301251"/>
                  </a:lnTo>
                  <a:lnTo>
                    <a:pt x="40417" y="298112"/>
                  </a:lnTo>
                  <a:lnTo>
                    <a:pt x="38757" y="295271"/>
                  </a:lnTo>
                  <a:lnTo>
                    <a:pt x="37236" y="291605"/>
                  </a:lnTo>
                  <a:lnTo>
                    <a:pt x="35831" y="287075"/>
                  </a:lnTo>
                  <a:lnTo>
                    <a:pt x="34973" y="281199"/>
                  </a:lnTo>
                  <a:lnTo>
                    <a:pt x="35103" y="277868"/>
                  </a:lnTo>
                  <a:lnTo>
                    <a:pt x="35539" y="275493"/>
                  </a:lnTo>
                  <a:lnTo>
                    <a:pt x="37010" y="271625"/>
                  </a:lnTo>
                  <a:lnTo>
                    <a:pt x="36038" y="269355"/>
                  </a:lnTo>
                  <a:lnTo>
                    <a:pt x="36252" y="267522"/>
                  </a:lnTo>
                  <a:lnTo>
                    <a:pt x="36109" y="264806"/>
                  </a:lnTo>
                  <a:lnTo>
                    <a:pt x="35636" y="263425"/>
                  </a:lnTo>
                  <a:lnTo>
                    <a:pt x="33734" y="258912"/>
                  </a:lnTo>
                  <a:lnTo>
                    <a:pt x="33356" y="258419"/>
                  </a:lnTo>
                  <a:lnTo>
                    <a:pt x="31674" y="255299"/>
                  </a:lnTo>
                  <a:lnTo>
                    <a:pt x="30931" y="250076"/>
                  </a:lnTo>
                  <a:lnTo>
                    <a:pt x="29033" y="246628"/>
                  </a:lnTo>
                  <a:lnTo>
                    <a:pt x="25982" y="244958"/>
                  </a:lnTo>
                  <a:lnTo>
                    <a:pt x="24246" y="242930"/>
                  </a:lnTo>
                  <a:lnTo>
                    <a:pt x="23615" y="239345"/>
                  </a:lnTo>
                  <a:lnTo>
                    <a:pt x="22410" y="238400"/>
                  </a:lnTo>
                  <a:lnTo>
                    <a:pt x="17614" y="237150"/>
                  </a:lnTo>
                  <a:lnTo>
                    <a:pt x="13615" y="237124"/>
                  </a:lnTo>
                  <a:lnTo>
                    <a:pt x="10704" y="233076"/>
                  </a:lnTo>
                  <a:lnTo>
                    <a:pt x="6970" y="227877"/>
                  </a:lnTo>
                  <a:lnTo>
                    <a:pt x="3496" y="223034"/>
                  </a:lnTo>
                  <a:lnTo>
                    <a:pt x="1272" y="213348"/>
                  </a:lnTo>
                  <a:lnTo>
                    <a:pt x="0" y="207793"/>
                  </a:lnTo>
                  <a:lnTo>
                    <a:pt x="1447" y="206103"/>
                  </a:lnTo>
                  <a:lnTo>
                    <a:pt x="4293" y="202147"/>
                  </a:lnTo>
                  <a:lnTo>
                    <a:pt x="7936" y="194571"/>
                  </a:lnTo>
                  <a:lnTo>
                    <a:pt x="16142" y="182838"/>
                  </a:lnTo>
                  <a:lnTo>
                    <a:pt x="20337" y="176828"/>
                  </a:lnTo>
                  <a:lnTo>
                    <a:pt x="28711" y="167839"/>
                  </a:lnTo>
                  <a:lnTo>
                    <a:pt x="39003" y="156776"/>
                  </a:lnTo>
                  <a:lnTo>
                    <a:pt x="44801" y="150536"/>
                  </a:lnTo>
                  <a:lnTo>
                    <a:pt x="45738" y="139152"/>
                  </a:lnTo>
                  <a:lnTo>
                    <a:pt x="46729" y="127095"/>
                  </a:lnTo>
                  <a:lnTo>
                    <a:pt x="47481" y="117963"/>
                  </a:lnTo>
                  <a:lnTo>
                    <a:pt x="48411" y="107124"/>
                  </a:lnTo>
                  <a:lnTo>
                    <a:pt x="49193" y="98052"/>
                  </a:lnTo>
                  <a:lnTo>
                    <a:pt x="49761" y="91434"/>
                  </a:lnTo>
                  <a:lnTo>
                    <a:pt x="50567" y="82040"/>
                  </a:lnTo>
                  <a:lnTo>
                    <a:pt x="51255" y="80234"/>
                  </a:lnTo>
                  <a:lnTo>
                    <a:pt x="55293" y="72855"/>
                  </a:lnTo>
                  <a:lnTo>
                    <a:pt x="55611" y="71864"/>
                  </a:lnTo>
                  <a:lnTo>
                    <a:pt x="54861" y="70628"/>
                  </a:lnTo>
                  <a:lnTo>
                    <a:pt x="49094" y="64346"/>
                  </a:lnTo>
                  <a:lnTo>
                    <a:pt x="47295" y="62940"/>
                  </a:lnTo>
                  <a:lnTo>
                    <a:pt x="46261" y="59672"/>
                  </a:lnTo>
                  <a:lnTo>
                    <a:pt x="47742" y="57837"/>
                  </a:lnTo>
                  <a:lnTo>
                    <a:pt x="40806" y="47270"/>
                  </a:lnTo>
                  <a:lnTo>
                    <a:pt x="39085" y="45976"/>
                  </a:lnTo>
                  <a:lnTo>
                    <a:pt x="38334" y="44681"/>
                  </a:lnTo>
                  <a:lnTo>
                    <a:pt x="38245" y="42772"/>
                  </a:lnTo>
                  <a:lnTo>
                    <a:pt x="38122" y="35443"/>
                  </a:lnTo>
                  <a:lnTo>
                    <a:pt x="36280" y="23922"/>
                  </a:lnTo>
                  <a:lnTo>
                    <a:pt x="33849" y="10474"/>
                  </a:lnTo>
                  <a:lnTo>
                    <a:pt x="41996" y="6639"/>
                  </a:lnTo>
                  <a:lnTo>
                    <a:pt x="48180" y="3722"/>
                  </a:lnTo>
                  <a:lnTo>
                    <a:pt x="56073" y="0"/>
                  </a:lnTo>
                  <a:lnTo>
                    <a:pt x="63391" y="3814"/>
                  </a:lnTo>
                  <a:lnTo>
                    <a:pt x="73985" y="9331"/>
                  </a:lnTo>
                  <a:lnTo>
                    <a:pt x="84579" y="14842"/>
                  </a:lnTo>
                  <a:lnTo>
                    <a:pt x="95171" y="20347"/>
                  </a:lnTo>
                  <a:lnTo>
                    <a:pt x="105765" y="25846"/>
                  </a:lnTo>
                  <a:lnTo>
                    <a:pt x="116359" y="31339"/>
                  </a:lnTo>
                  <a:lnTo>
                    <a:pt x="126950" y="36827"/>
                  </a:lnTo>
                  <a:lnTo>
                    <a:pt x="137544" y="42309"/>
                  </a:lnTo>
                  <a:lnTo>
                    <a:pt x="148138" y="47785"/>
                  </a:lnTo>
                  <a:lnTo>
                    <a:pt x="158732" y="53257"/>
                  </a:lnTo>
                  <a:lnTo>
                    <a:pt x="169326" y="58721"/>
                  </a:lnTo>
                  <a:lnTo>
                    <a:pt x="179920" y="64182"/>
                  </a:lnTo>
                  <a:lnTo>
                    <a:pt x="190514" y="69636"/>
                  </a:lnTo>
                  <a:lnTo>
                    <a:pt x="201106" y="75085"/>
                  </a:lnTo>
                  <a:lnTo>
                    <a:pt x="211700" y="80529"/>
                  </a:lnTo>
                  <a:lnTo>
                    <a:pt x="222294" y="85967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09" name="ee4p_TG_1_37365">
              <a:extLst>
                <a:ext uri="{FF2B5EF4-FFF2-40B4-BE49-F238E27FC236}">
                  <a16:creationId xmlns:a16="http://schemas.microsoft.com/office/drawing/2014/main" id="{A1566265-6F19-3F7F-C56E-556260C1E21F}"/>
                </a:ext>
              </a:extLst>
            </p:cNvPr>
            <p:cNvSpPr>
              <a:spLocks noChangeAspect="1"/>
            </p:cNvSpPr>
            <p:nvPr>
              <p:custDataLst>
                <p:tags r:id="rId363"/>
              </p:custDataLst>
            </p:nvPr>
          </p:nvSpPr>
          <p:spPr>
            <a:xfrm>
              <a:off x="6512196" y="4359331"/>
              <a:ext cx="51878" cy="144447"/>
            </a:xfrm>
            <a:custGeom>
              <a:avLst/>
              <a:gdLst/>
              <a:ahLst/>
              <a:cxnLst/>
              <a:rect l="0" t="0" r="0" b="0"/>
              <a:pathLst>
                <a:path w="41309" h="111971">
                  <a:moveTo>
                    <a:pt x="21906" y="2738"/>
                  </a:moveTo>
                  <a:lnTo>
                    <a:pt x="21338" y="5143"/>
                  </a:lnTo>
                  <a:lnTo>
                    <a:pt x="20167" y="8121"/>
                  </a:lnTo>
                  <a:lnTo>
                    <a:pt x="19407" y="9068"/>
                  </a:lnTo>
                  <a:lnTo>
                    <a:pt x="18874" y="16302"/>
                  </a:lnTo>
                  <a:lnTo>
                    <a:pt x="19241" y="16907"/>
                  </a:lnTo>
                  <a:lnTo>
                    <a:pt x="19511" y="17086"/>
                  </a:lnTo>
                  <a:lnTo>
                    <a:pt x="23184" y="19533"/>
                  </a:lnTo>
                  <a:lnTo>
                    <a:pt x="28002" y="22742"/>
                  </a:lnTo>
                  <a:lnTo>
                    <a:pt x="31405" y="25007"/>
                  </a:lnTo>
                  <a:lnTo>
                    <a:pt x="31688" y="25767"/>
                  </a:lnTo>
                  <a:lnTo>
                    <a:pt x="31737" y="30516"/>
                  </a:lnTo>
                  <a:lnTo>
                    <a:pt x="31781" y="34592"/>
                  </a:lnTo>
                  <a:lnTo>
                    <a:pt x="32485" y="36924"/>
                  </a:lnTo>
                  <a:lnTo>
                    <a:pt x="32636" y="39184"/>
                  </a:lnTo>
                  <a:lnTo>
                    <a:pt x="33489" y="40894"/>
                  </a:lnTo>
                  <a:lnTo>
                    <a:pt x="36629" y="44188"/>
                  </a:lnTo>
                  <a:lnTo>
                    <a:pt x="37378" y="46132"/>
                  </a:lnTo>
                  <a:lnTo>
                    <a:pt x="37458" y="52351"/>
                  </a:lnTo>
                  <a:lnTo>
                    <a:pt x="37520" y="57067"/>
                  </a:lnTo>
                  <a:lnTo>
                    <a:pt x="37918" y="63485"/>
                  </a:lnTo>
                  <a:lnTo>
                    <a:pt x="37918" y="68844"/>
                  </a:lnTo>
                  <a:lnTo>
                    <a:pt x="37918" y="75615"/>
                  </a:lnTo>
                  <a:lnTo>
                    <a:pt x="37920" y="83546"/>
                  </a:lnTo>
                  <a:lnTo>
                    <a:pt x="37920" y="91810"/>
                  </a:lnTo>
                  <a:lnTo>
                    <a:pt x="35847" y="91919"/>
                  </a:lnTo>
                  <a:lnTo>
                    <a:pt x="36976" y="94483"/>
                  </a:lnTo>
                  <a:lnTo>
                    <a:pt x="37170" y="96809"/>
                  </a:lnTo>
                  <a:lnTo>
                    <a:pt x="37438" y="97569"/>
                  </a:lnTo>
                  <a:lnTo>
                    <a:pt x="36877" y="98694"/>
                  </a:lnTo>
                  <a:lnTo>
                    <a:pt x="37341" y="100409"/>
                  </a:lnTo>
                  <a:lnTo>
                    <a:pt x="38242" y="101045"/>
                  </a:lnTo>
                  <a:lnTo>
                    <a:pt x="40539" y="104493"/>
                  </a:lnTo>
                  <a:lnTo>
                    <a:pt x="41308" y="107415"/>
                  </a:lnTo>
                  <a:lnTo>
                    <a:pt x="37615" y="108387"/>
                  </a:lnTo>
                  <a:lnTo>
                    <a:pt x="37874" y="109143"/>
                  </a:lnTo>
                  <a:lnTo>
                    <a:pt x="30975" y="110695"/>
                  </a:lnTo>
                  <a:lnTo>
                    <a:pt x="28246" y="111970"/>
                  </a:lnTo>
                  <a:lnTo>
                    <a:pt x="28198" y="110736"/>
                  </a:lnTo>
                  <a:lnTo>
                    <a:pt x="27194" y="110514"/>
                  </a:lnTo>
                  <a:lnTo>
                    <a:pt x="25974" y="110097"/>
                  </a:lnTo>
                  <a:lnTo>
                    <a:pt x="25209" y="109457"/>
                  </a:lnTo>
                  <a:lnTo>
                    <a:pt x="24154" y="107994"/>
                  </a:lnTo>
                  <a:lnTo>
                    <a:pt x="23773" y="106845"/>
                  </a:lnTo>
                  <a:lnTo>
                    <a:pt x="22165" y="106662"/>
                  </a:lnTo>
                  <a:lnTo>
                    <a:pt x="20180" y="105378"/>
                  </a:lnTo>
                  <a:lnTo>
                    <a:pt x="18289" y="103909"/>
                  </a:lnTo>
                  <a:lnTo>
                    <a:pt x="17632" y="102439"/>
                  </a:lnTo>
                  <a:lnTo>
                    <a:pt x="17814" y="101761"/>
                  </a:lnTo>
                  <a:lnTo>
                    <a:pt x="17522" y="101063"/>
                  </a:lnTo>
                  <a:lnTo>
                    <a:pt x="16870" y="100801"/>
                  </a:lnTo>
                  <a:lnTo>
                    <a:pt x="15166" y="97478"/>
                  </a:lnTo>
                  <a:lnTo>
                    <a:pt x="14112" y="96138"/>
                  </a:lnTo>
                  <a:lnTo>
                    <a:pt x="13616" y="95062"/>
                  </a:lnTo>
                  <a:lnTo>
                    <a:pt x="13788" y="94231"/>
                  </a:lnTo>
                  <a:lnTo>
                    <a:pt x="13560" y="93109"/>
                  </a:lnTo>
                  <a:lnTo>
                    <a:pt x="13892" y="92202"/>
                  </a:lnTo>
                  <a:lnTo>
                    <a:pt x="14808" y="91659"/>
                  </a:lnTo>
                  <a:lnTo>
                    <a:pt x="15095" y="90995"/>
                  </a:lnTo>
                  <a:lnTo>
                    <a:pt x="15177" y="89603"/>
                  </a:lnTo>
                  <a:lnTo>
                    <a:pt x="15693" y="86716"/>
                  </a:lnTo>
                  <a:lnTo>
                    <a:pt x="16030" y="83891"/>
                  </a:lnTo>
                  <a:lnTo>
                    <a:pt x="15063" y="83109"/>
                  </a:lnTo>
                  <a:lnTo>
                    <a:pt x="13875" y="82889"/>
                  </a:lnTo>
                  <a:lnTo>
                    <a:pt x="13262" y="82080"/>
                  </a:lnTo>
                  <a:lnTo>
                    <a:pt x="13026" y="80746"/>
                  </a:lnTo>
                  <a:lnTo>
                    <a:pt x="13050" y="79595"/>
                  </a:lnTo>
                  <a:lnTo>
                    <a:pt x="15376" y="75562"/>
                  </a:lnTo>
                  <a:lnTo>
                    <a:pt x="14898" y="66272"/>
                  </a:lnTo>
                  <a:lnTo>
                    <a:pt x="15244" y="64853"/>
                  </a:lnTo>
                  <a:lnTo>
                    <a:pt x="16302" y="63875"/>
                  </a:lnTo>
                  <a:lnTo>
                    <a:pt x="17209" y="62745"/>
                  </a:lnTo>
                  <a:lnTo>
                    <a:pt x="17170" y="61618"/>
                  </a:lnTo>
                  <a:lnTo>
                    <a:pt x="15620" y="58840"/>
                  </a:lnTo>
                  <a:lnTo>
                    <a:pt x="12681" y="56710"/>
                  </a:lnTo>
                  <a:lnTo>
                    <a:pt x="11178" y="54985"/>
                  </a:lnTo>
                  <a:lnTo>
                    <a:pt x="10366" y="53442"/>
                  </a:lnTo>
                  <a:lnTo>
                    <a:pt x="10232" y="52611"/>
                  </a:lnTo>
                  <a:lnTo>
                    <a:pt x="12014" y="51398"/>
                  </a:lnTo>
                  <a:lnTo>
                    <a:pt x="12802" y="50558"/>
                  </a:lnTo>
                  <a:lnTo>
                    <a:pt x="12901" y="49589"/>
                  </a:lnTo>
                  <a:lnTo>
                    <a:pt x="12173" y="47822"/>
                  </a:lnTo>
                  <a:lnTo>
                    <a:pt x="12301" y="44677"/>
                  </a:lnTo>
                  <a:lnTo>
                    <a:pt x="12987" y="42316"/>
                  </a:lnTo>
                  <a:lnTo>
                    <a:pt x="13692" y="39259"/>
                  </a:lnTo>
                  <a:lnTo>
                    <a:pt x="13618" y="38363"/>
                  </a:lnTo>
                  <a:lnTo>
                    <a:pt x="11890" y="36538"/>
                  </a:lnTo>
                  <a:lnTo>
                    <a:pt x="10955" y="36289"/>
                  </a:lnTo>
                  <a:lnTo>
                    <a:pt x="10198" y="36421"/>
                  </a:lnTo>
                  <a:lnTo>
                    <a:pt x="8392" y="37619"/>
                  </a:lnTo>
                  <a:lnTo>
                    <a:pt x="7742" y="37749"/>
                  </a:lnTo>
                  <a:lnTo>
                    <a:pt x="7334" y="37395"/>
                  </a:lnTo>
                  <a:lnTo>
                    <a:pt x="7155" y="36912"/>
                  </a:lnTo>
                  <a:lnTo>
                    <a:pt x="7785" y="36197"/>
                  </a:lnTo>
                  <a:lnTo>
                    <a:pt x="7557" y="35303"/>
                  </a:lnTo>
                  <a:lnTo>
                    <a:pt x="8086" y="34523"/>
                  </a:lnTo>
                  <a:lnTo>
                    <a:pt x="9232" y="34167"/>
                  </a:lnTo>
                  <a:lnTo>
                    <a:pt x="9569" y="33775"/>
                  </a:lnTo>
                  <a:lnTo>
                    <a:pt x="8025" y="33400"/>
                  </a:lnTo>
                  <a:lnTo>
                    <a:pt x="7844" y="32870"/>
                  </a:lnTo>
                  <a:lnTo>
                    <a:pt x="7954" y="32352"/>
                  </a:lnTo>
                  <a:lnTo>
                    <a:pt x="8399" y="32254"/>
                  </a:lnTo>
                  <a:lnTo>
                    <a:pt x="8887" y="32283"/>
                  </a:lnTo>
                  <a:lnTo>
                    <a:pt x="9157" y="31913"/>
                  </a:lnTo>
                  <a:lnTo>
                    <a:pt x="9392" y="29316"/>
                  </a:lnTo>
                  <a:lnTo>
                    <a:pt x="9580" y="28409"/>
                  </a:lnTo>
                  <a:lnTo>
                    <a:pt x="9774" y="26616"/>
                  </a:lnTo>
                  <a:lnTo>
                    <a:pt x="10014" y="19658"/>
                  </a:lnTo>
                  <a:lnTo>
                    <a:pt x="10366" y="18941"/>
                  </a:lnTo>
                  <a:lnTo>
                    <a:pt x="10416" y="18420"/>
                  </a:lnTo>
                  <a:lnTo>
                    <a:pt x="9332" y="18083"/>
                  </a:lnTo>
                  <a:lnTo>
                    <a:pt x="6771" y="16216"/>
                  </a:lnTo>
                  <a:lnTo>
                    <a:pt x="5272" y="14780"/>
                  </a:lnTo>
                  <a:lnTo>
                    <a:pt x="3968" y="13308"/>
                  </a:lnTo>
                  <a:lnTo>
                    <a:pt x="2866" y="12341"/>
                  </a:lnTo>
                  <a:lnTo>
                    <a:pt x="718" y="10849"/>
                  </a:lnTo>
                  <a:lnTo>
                    <a:pt x="85" y="9900"/>
                  </a:lnTo>
                  <a:lnTo>
                    <a:pt x="0" y="8951"/>
                  </a:lnTo>
                  <a:lnTo>
                    <a:pt x="654" y="7048"/>
                  </a:lnTo>
                  <a:lnTo>
                    <a:pt x="1687" y="5018"/>
                  </a:lnTo>
                  <a:lnTo>
                    <a:pt x="2202" y="2117"/>
                  </a:lnTo>
                  <a:lnTo>
                    <a:pt x="1889" y="1344"/>
                  </a:lnTo>
                  <a:lnTo>
                    <a:pt x="477" y="0"/>
                  </a:lnTo>
                  <a:lnTo>
                    <a:pt x="5516" y="1029"/>
                  </a:lnTo>
                  <a:lnTo>
                    <a:pt x="12700" y="2766"/>
                  </a:lnTo>
                  <a:lnTo>
                    <a:pt x="12845" y="3075"/>
                  </a:lnTo>
                  <a:lnTo>
                    <a:pt x="12888" y="3594"/>
                  </a:lnTo>
                  <a:lnTo>
                    <a:pt x="14136" y="3585"/>
                  </a:lnTo>
                  <a:lnTo>
                    <a:pt x="16212" y="2966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10" name="ee4p_TN_1_37365">
              <a:extLst>
                <a:ext uri="{FF2B5EF4-FFF2-40B4-BE49-F238E27FC236}">
                  <a16:creationId xmlns:a16="http://schemas.microsoft.com/office/drawing/2014/main" id="{D1E3DF97-15C7-C92B-6CAB-476E0DCE42BE}"/>
                </a:ext>
              </a:extLst>
            </p:cNvPr>
            <p:cNvSpPr>
              <a:spLocks noChangeAspect="1"/>
            </p:cNvSpPr>
            <p:nvPr>
              <p:custDataLst>
                <p:tags r:id="rId364"/>
              </p:custDataLst>
            </p:nvPr>
          </p:nvSpPr>
          <p:spPr>
            <a:xfrm>
              <a:off x="6722849" y="3560718"/>
              <a:ext cx="112197" cy="227857"/>
            </a:xfrm>
            <a:custGeom>
              <a:avLst/>
              <a:gdLst>
                <a:gd name="connsiteX0" fmla="*/ 202938 w 239302"/>
                <a:gd name="connsiteY0" fmla="*/ 232350 h 473106"/>
                <a:gd name="connsiteX1" fmla="*/ 208617 w 239302"/>
                <a:gd name="connsiteY1" fmla="*/ 236995 h 473106"/>
                <a:gd name="connsiteX2" fmla="*/ 209549 w 239302"/>
                <a:gd name="connsiteY2" fmla="*/ 238211 h 473106"/>
                <a:gd name="connsiteX3" fmla="*/ 209788 w 239302"/>
                <a:gd name="connsiteY3" fmla="*/ 239539 h 473106"/>
                <a:gd name="connsiteX4" fmla="*/ 207149 w 239302"/>
                <a:gd name="connsiteY4" fmla="*/ 242140 h 473106"/>
                <a:gd name="connsiteX5" fmla="*/ 205049 w 239302"/>
                <a:gd name="connsiteY5" fmla="*/ 243726 h 473106"/>
                <a:gd name="connsiteX6" fmla="*/ 203493 w 239302"/>
                <a:gd name="connsiteY6" fmla="*/ 244034 h 473106"/>
                <a:gd name="connsiteX7" fmla="*/ 200630 w 239302"/>
                <a:gd name="connsiteY7" fmla="*/ 245844 h 473106"/>
                <a:gd name="connsiteX8" fmla="*/ 199114 w 239302"/>
                <a:gd name="connsiteY8" fmla="*/ 246045 h 473106"/>
                <a:gd name="connsiteX9" fmla="*/ 194812 w 239302"/>
                <a:gd name="connsiteY9" fmla="*/ 244018 h 473106"/>
                <a:gd name="connsiteX10" fmla="*/ 193167 w 239302"/>
                <a:gd name="connsiteY10" fmla="*/ 244031 h 473106"/>
                <a:gd name="connsiteX11" fmla="*/ 191099 w 239302"/>
                <a:gd name="connsiteY11" fmla="*/ 242606 h 473106"/>
                <a:gd name="connsiteX12" fmla="*/ 191798 w 239302"/>
                <a:gd name="connsiteY12" fmla="*/ 234846 h 473106"/>
                <a:gd name="connsiteX13" fmla="*/ 192468 w 239302"/>
                <a:gd name="connsiteY13" fmla="*/ 232647 h 473106"/>
                <a:gd name="connsiteX14" fmla="*/ 222655 w 239302"/>
                <a:gd name="connsiteY14" fmla="*/ 170447 h 473106"/>
                <a:gd name="connsiteX15" fmla="*/ 224206 w 239302"/>
                <a:gd name="connsiteY15" fmla="*/ 171661 h 473106"/>
                <a:gd name="connsiteX16" fmla="*/ 224026 w 239302"/>
                <a:gd name="connsiteY16" fmla="*/ 174902 h 473106"/>
                <a:gd name="connsiteX17" fmla="*/ 214881 w 239302"/>
                <a:gd name="connsiteY17" fmla="*/ 179731 h 473106"/>
                <a:gd name="connsiteX18" fmla="*/ 216622 w 239302"/>
                <a:gd name="connsiteY18" fmla="*/ 175520 h 473106"/>
                <a:gd name="connsiteX19" fmla="*/ 129851 w 239302"/>
                <a:gd name="connsiteY19" fmla="*/ 0 h 473106"/>
                <a:gd name="connsiteX20" fmla="*/ 134051 w 239302"/>
                <a:gd name="connsiteY20" fmla="*/ 691 h 473106"/>
                <a:gd name="connsiteX21" fmla="*/ 138762 w 239302"/>
                <a:gd name="connsiteY21" fmla="*/ 2146 h 473106"/>
                <a:gd name="connsiteX22" fmla="*/ 137404 w 239302"/>
                <a:gd name="connsiteY22" fmla="*/ 5855 h 473106"/>
                <a:gd name="connsiteX23" fmla="*/ 135535 w 239302"/>
                <a:gd name="connsiteY23" fmla="*/ 8804 h 473106"/>
                <a:gd name="connsiteX24" fmla="*/ 138277 w 239302"/>
                <a:gd name="connsiteY24" fmla="*/ 13993 h 473106"/>
                <a:gd name="connsiteX25" fmla="*/ 142194 w 239302"/>
                <a:gd name="connsiteY25" fmla="*/ 10835 h 473106"/>
                <a:gd name="connsiteX26" fmla="*/ 141186 w 239302"/>
                <a:gd name="connsiteY26" fmla="*/ 8708 h 473106"/>
                <a:gd name="connsiteX27" fmla="*/ 140961 w 239302"/>
                <a:gd name="connsiteY27" fmla="*/ 5888 h 473106"/>
                <a:gd name="connsiteX28" fmla="*/ 147626 w 239302"/>
                <a:gd name="connsiteY28" fmla="*/ 5641 h 473106"/>
                <a:gd name="connsiteX29" fmla="*/ 153508 w 239302"/>
                <a:gd name="connsiteY29" fmla="*/ 6086 h 473106"/>
                <a:gd name="connsiteX30" fmla="*/ 159963 w 239302"/>
                <a:gd name="connsiteY30" fmla="*/ 9185 h 473106"/>
                <a:gd name="connsiteX31" fmla="*/ 159510 w 239302"/>
                <a:gd name="connsiteY31" fmla="*/ 20909 h 473106"/>
                <a:gd name="connsiteX32" fmla="*/ 168117 w 239302"/>
                <a:gd name="connsiteY32" fmla="*/ 32384 h 473106"/>
                <a:gd name="connsiteX33" fmla="*/ 165700 w 239302"/>
                <a:gd name="connsiteY33" fmla="*/ 38089 h 473106"/>
                <a:gd name="connsiteX34" fmla="*/ 172750 w 239302"/>
                <a:gd name="connsiteY34" fmla="*/ 41467 h 473106"/>
                <a:gd name="connsiteX35" fmla="*/ 179021 w 239302"/>
                <a:gd name="connsiteY35" fmla="*/ 37419 h 473106"/>
                <a:gd name="connsiteX36" fmla="*/ 182165 w 239302"/>
                <a:gd name="connsiteY36" fmla="*/ 31425 h 473106"/>
                <a:gd name="connsiteX37" fmla="*/ 193713 w 239302"/>
                <a:gd name="connsiteY37" fmla="*/ 27967 h 473106"/>
                <a:gd name="connsiteX38" fmla="*/ 204679 w 239302"/>
                <a:gd name="connsiteY38" fmla="*/ 19178 h 473106"/>
                <a:gd name="connsiteX39" fmla="*/ 210751 w 239302"/>
                <a:gd name="connsiteY39" fmla="*/ 18276 h 473106"/>
                <a:gd name="connsiteX40" fmla="*/ 212122 w 239302"/>
                <a:gd name="connsiteY40" fmla="*/ 25486 h 473106"/>
                <a:gd name="connsiteX41" fmla="*/ 215061 w 239302"/>
                <a:gd name="connsiteY41" fmla="*/ 31792 h 473106"/>
                <a:gd name="connsiteX42" fmla="*/ 210906 w 239302"/>
                <a:gd name="connsiteY42" fmla="*/ 34012 h 473106"/>
                <a:gd name="connsiteX43" fmla="*/ 205613 w 239302"/>
                <a:gd name="connsiteY43" fmla="*/ 40706 h 473106"/>
                <a:gd name="connsiteX44" fmla="*/ 195604 w 239302"/>
                <a:gd name="connsiteY44" fmla="*/ 57677 h 473106"/>
                <a:gd name="connsiteX45" fmla="*/ 186376 w 239302"/>
                <a:gd name="connsiteY45" fmla="*/ 62662 h 473106"/>
                <a:gd name="connsiteX46" fmla="*/ 179466 w 239302"/>
                <a:gd name="connsiteY46" fmla="*/ 69187 h 473106"/>
                <a:gd name="connsiteX47" fmla="*/ 177234 w 239302"/>
                <a:gd name="connsiteY47" fmla="*/ 73826 h 473106"/>
                <a:gd name="connsiteX48" fmla="*/ 176557 w 239302"/>
                <a:gd name="connsiteY48" fmla="*/ 79223 h 473106"/>
                <a:gd name="connsiteX49" fmla="*/ 178287 w 239302"/>
                <a:gd name="connsiteY49" fmla="*/ 88880 h 473106"/>
                <a:gd name="connsiteX50" fmla="*/ 183325 w 239302"/>
                <a:gd name="connsiteY50" fmla="*/ 98686 h 473106"/>
                <a:gd name="connsiteX51" fmla="*/ 189138 w 239302"/>
                <a:gd name="connsiteY51" fmla="*/ 104611 h 473106"/>
                <a:gd name="connsiteX52" fmla="*/ 194747 w 239302"/>
                <a:gd name="connsiteY52" fmla="*/ 106462 h 473106"/>
                <a:gd name="connsiteX53" fmla="*/ 207813 w 239302"/>
                <a:gd name="connsiteY53" fmla="*/ 115783 h 473106"/>
                <a:gd name="connsiteX54" fmla="*/ 207601 w 239302"/>
                <a:gd name="connsiteY54" fmla="*/ 121325 h 473106"/>
                <a:gd name="connsiteX55" fmla="*/ 209428 w 239302"/>
                <a:gd name="connsiteY55" fmla="*/ 127906 h 473106"/>
                <a:gd name="connsiteX56" fmla="*/ 210121 w 239302"/>
                <a:gd name="connsiteY56" fmla="*/ 135896 h 473106"/>
                <a:gd name="connsiteX57" fmla="*/ 214672 w 239302"/>
                <a:gd name="connsiteY57" fmla="*/ 142268 h 473106"/>
                <a:gd name="connsiteX58" fmla="*/ 204944 w 239302"/>
                <a:gd name="connsiteY58" fmla="*/ 156146 h 473106"/>
                <a:gd name="connsiteX59" fmla="*/ 199635 w 239302"/>
                <a:gd name="connsiteY59" fmla="*/ 166158 h 473106"/>
                <a:gd name="connsiteX60" fmla="*/ 189253 w 239302"/>
                <a:gd name="connsiteY60" fmla="*/ 179945 h 473106"/>
                <a:gd name="connsiteX61" fmla="*/ 180009 w 239302"/>
                <a:gd name="connsiteY61" fmla="*/ 188891 h 473106"/>
                <a:gd name="connsiteX62" fmla="*/ 160199 w 239302"/>
                <a:gd name="connsiteY62" fmla="*/ 202163 h 473106"/>
                <a:gd name="connsiteX63" fmla="*/ 155340 w 239302"/>
                <a:gd name="connsiteY63" fmla="*/ 206567 h 473106"/>
                <a:gd name="connsiteX64" fmla="*/ 152171 w 239302"/>
                <a:gd name="connsiteY64" fmla="*/ 211134 h 473106"/>
                <a:gd name="connsiteX65" fmla="*/ 150701 w 239302"/>
                <a:gd name="connsiteY65" fmla="*/ 215888 h 473106"/>
                <a:gd name="connsiteX66" fmla="*/ 151234 w 239302"/>
                <a:gd name="connsiteY66" fmla="*/ 221486 h 473106"/>
                <a:gd name="connsiteX67" fmla="*/ 157745 w 239302"/>
                <a:gd name="connsiteY67" fmla="*/ 235217 h 473106"/>
                <a:gd name="connsiteX68" fmla="*/ 166410 w 239302"/>
                <a:gd name="connsiteY68" fmla="*/ 243314 h 473106"/>
                <a:gd name="connsiteX69" fmla="*/ 175239 w 239302"/>
                <a:gd name="connsiteY69" fmla="*/ 247685 h 473106"/>
                <a:gd name="connsiteX70" fmla="*/ 190571 w 239302"/>
                <a:gd name="connsiteY70" fmla="*/ 245923 h 473106"/>
                <a:gd name="connsiteX71" fmla="*/ 190046 w 239302"/>
                <a:gd name="connsiteY71" fmla="*/ 251194 h 473106"/>
                <a:gd name="connsiteX72" fmla="*/ 191139 w 239302"/>
                <a:gd name="connsiteY72" fmla="*/ 257518 h 473106"/>
                <a:gd name="connsiteX73" fmla="*/ 197380 w 239302"/>
                <a:gd name="connsiteY73" fmla="*/ 257221 h 473106"/>
                <a:gd name="connsiteX74" fmla="*/ 201542 w 239302"/>
                <a:gd name="connsiteY74" fmla="*/ 256238 h 473106"/>
                <a:gd name="connsiteX75" fmla="*/ 205072 w 239302"/>
                <a:gd name="connsiteY75" fmla="*/ 250088 h 473106"/>
                <a:gd name="connsiteX76" fmla="*/ 212567 w 239302"/>
                <a:gd name="connsiteY76" fmla="*/ 254299 h 473106"/>
                <a:gd name="connsiteX77" fmla="*/ 216459 w 239302"/>
                <a:gd name="connsiteY77" fmla="*/ 267148 h 473106"/>
                <a:gd name="connsiteX78" fmla="*/ 222804 w 239302"/>
                <a:gd name="connsiteY78" fmla="*/ 271149 h 473106"/>
                <a:gd name="connsiteX79" fmla="*/ 223546 w 239302"/>
                <a:gd name="connsiteY79" fmla="*/ 272641 h 473106"/>
                <a:gd name="connsiteX80" fmla="*/ 221307 w 239302"/>
                <a:gd name="connsiteY80" fmla="*/ 273619 h 473106"/>
                <a:gd name="connsiteX81" fmla="*/ 219561 w 239302"/>
                <a:gd name="connsiteY81" fmla="*/ 275100 h 473106"/>
                <a:gd name="connsiteX82" fmla="*/ 221436 w 239302"/>
                <a:gd name="connsiteY82" fmla="*/ 276134 h 473106"/>
                <a:gd name="connsiteX83" fmla="*/ 227583 w 239302"/>
                <a:gd name="connsiteY83" fmla="*/ 277733 h 473106"/>
                <a:gd name="connsiteX84" fmla="*/ 231285 w 239302"/>
                <a:gd name="connsiteY84" fmla="*/ 276710 h 473106"/>
                <a:gd name="connsiteX85" fmla="*/ 237445 w 239302"/>
                <a:gd name="connsiteY85" fmla="*/ 279555 h 473106"/>
                <a:gd name="connsiteX86" fmla="*/ 237317 w 239302"/>
                <a:gd name="connsiteY86" fmla="*/ 281301 h 473106"/>
                <a:gd name="connsiteX87" fmla="*/ 235230 w 239302"/>
                <a:gd name="connsiteY87" fmla="*/ 293861 h 473106"/>
                <a:gd name="connsiteX88" fmla="*/ 234756 w 239302"/>
                <a:gd name="connsiteY88" fmla="*/ 298377 h 473106"/>
                <a:gd name="connsiteX89" fmla="*/ 234443 w 239302"/>
                <a:gd name="connsiteY89" fmla="*/ 306019 h 473106"/>
                <a:gd name="connsiteX90" fmla="*/ 234443 w 239302"/>
                <a:gd name="connsiteY90" fmla="*/ 315198 h 473106"/>
                <a:gd name="connsiteX91" fmla="*/ 239176 w 239302"/>
                <a:gd name="connsiteY91" fmla="*/ 322955 h 473106"/>
                <a:gd name="connsiteX92" fmla="*/ 239302 w 239302"/>
                <a:gd name="connsiteY92" fmla="*/ 326354 h 473106"/>
                <a:gd name="connsiteX93" fmla="*/ 237467 w 239302"/>
                <a:gd name="connsiteY93" fmla="*/ 330286 h 473106"/>
                <a:gd name="connsiteX94" fmla="*/ 228764 w 239302"/>
                <a:gd name="connsiteY94" fmla="*/ 334794 h 473106"/>
                <a:gd name="connsiteX95" fmla="*/ 217525 w 239302"/>
                <a:gd name="connsiteY95" fmla="*/ 340617 h 473106"/>
                <a:gd name="connsiteX96" fmla="*/ 207866 w 239302"/>
                <a:gd name="connsiteY96" fmla="*/ 346143 h 473106"/>
                <a:gd name="connsiteX97" fmla="*/ 197275 w 239302"/>
                <a:gd name="connsiteY97" fmla="*/ 352191 h 473106"/>
                <a:gd name="connsiteX98" fmla="*/ 194031 w 239302"/>
                <a:gd name="connsiteY98" fmla="*/ 356099 h 473106"/>
                <a:gd name="connsiteX99" fmla="*/ 188784 w 239302"/>
                <a:gd name="connsiteY99" fmla="*/ 359107 h 473106"/>
                <a:gd name="connsiteX100" fmla="*/ 184394 w 239302"/>
                <a:gd name="connsiteY100" fmla="*/ 362118 h 473106"/>
                <a:gd name="connsiteX101" fmla="*/ 183601 w 239302"/>
                <a:gd name="connsiteY101" fmla="*/ 364992 h 473106"/>
                <a:gd name="connsiteX102" fmla="*/ 180532 w 239302"/>
                <a:gd name="connsiteY102" fmla="*/ 370451 h 473106"/>
                <a:gd name="connsiteX103" fmla="*/ 176508 w 239302"/>
                <a:gd name="connsiteY103" fmla="*/ 374814 h 473106"/>
                <a:gd name="connsiteX104" fmla="*/ 166458 w 239302"/>
                <a:gd name="connsiteY104" fmla="*/ 376858 h 473106"/>
                <a:gd name="connsiteX105" fmla="*/ 164594 w 239302"/>
                <a:gd name="connsiteY105" fmla="*/ 378160 h 473106"/>
                <a:gd name="connsiteX106" fmla="*/ 159939 w 239302"/>
                <a:gd name="connsiteY106" fmla="*/ 384704 h 473106"/>
                <a:gd name="connsiteX107" fmla="*/ 157799 w 239302"/>
                <a:gd name="connsiteY107" fmla="*/ 387278 h 473106"/>
                <a:gd name="connsiteX108" fmla="*/ 155139 w 239302"/>
                <a:gd name="connsiteY108" fmla="*/ 392646 h 473106"/>
                <a:gd name="connsiteX109" fmla="*/ 158557 w 239302"/>
                <a:gd name="connsiteY109" fmla="*/ 406563 h 473106"/>
                <a:gd name="connsiteX110" fmla="*/ 162743 w 239302"/>
                <a:gd name="connsiteY110" fmla="*/ 420853 h 473106"/>
                <a:gd name="connsiteX111" fmla="*/ 163555 w 239302"/>
                <a:gd name="connsiteY111" fmla="*/ 426810 h 473106"/>
                <a:gd name="connsiteX112" fmla="*/ 163496 w 239302"/>
                <a:gd name="connsiteY112" fmla="*/ 431760 h 473106"/>
                <a:gd name="connsiteX113" fmla="*/ 161147 w 239302"/>
                <a:gd name="connsiteY113" fmla="*/ 437085 h 473106"/>
                <a:gd name="connsiteX114" fmla="*/ 155793 w 239302"/>
                <a:gd name="connsiteY114" fmla="*/ 444722 h 473106"/>
                <a:gd name="connsiteX115" fmla="*/ 151871 w 239302"/>
                <a:gd name="connsiteY115" fmla="*/ 450312 h 473106"/>
                <a:gd name="connsiteX116" fmla="*/ 144334 w 239302"/>
                <a:gd name="connsiteY116" fmla="*/ 460375 h 473106"/>
                <a:gd name="connsiteX117" fmla="*/ 142113 w 239302"/>
                <a:gd name="connsiteY117" fmla="*/ 462848 h 473106"/>
                <a:gd name="connsiteX118" fmla="*/ 136925 w 239302"/>
                <a:gd name="connsiteY118" fmla="*/ 465778 h 473106"/>
                <a:gd name="connsiteX119" fmla="*/ 126888 w 239302"/>
                <a:gd name="connsiteY119" fmla="*/ 469670 h 473106"/>
                <a:gd name="connsiteX120" fmla="*/ 119828 w 239302"/>
                <a:gd name="connsiteY120" fmla="*/ 473106 h 473106"/>
                <a:gd name="connsiteX121" fmla="*/ 116230 w 239302"/>
                <a:gd name="connsiteY121" fmla="*/ 457772 h 473106"/>
                <a:gd name="connsiteX122" fmla="*/ 113153 w 239302"/>
                <a:gd name="connsiteY122" fmla="*/ 444668 h 473106"/>
                <a:gd name="connsiteX123" fmla="*/ 110619 w 239302"/>
                <a:gd name="connsiteY123" fmla="*/ 433847 h 473106"/>
                <a:gd name="connsiteX124" fmla="*/ 106154 w 239302"/>
                <a:gd name="connsiteY124" fmla="*/ 414770 h 473106"/>
                <a:gd name="connsiteX125" fmla="*/ 102371 w 239302"/>
                <a:gd name="connsiteY125" fmla="*/ 398541 h 473106"/>
                <a:gd name="connsiteX126" fmla="*/ 98595 w 239302"/>
                <a:gd name="connsiteY126" fmla="*/ 382330 h 473106"/>
                <a:gd name="connsiteX127" fmla="*/ 95164 w 239302"/>
                <a:gd name="connsiteY127" fmla="*/ 367590 h 473106"/>
                <a:gd name="connsiteX128" fmla="*/ 91711 w 239302"/>
                <a:gd name="connsiteY128" fmla="*/ 352738 h 473106"/>
                <a:gd name="connsiteX129" fmla="*/ 90224 w 239302"/>
                <a:gd name="connsiteY129" fmla="*/ 350571 h 473106"/>
                <a:gd name="connsiteX130" fmla="*/ 79864 w 239302"/>
                <a:gd name="connsiteY130" fmla="*/ 343553 h 473106"/>
                <a:gd name="connsiteX131" fmla="*/ 70320 w 239302"/>
                <a:gd name="connsiteY131" fmla="*/ 337082 h 473106"/>
                <a:gd name="connsiteX132" fmla="*/ 60385 w 239302"/>
                <a:gd name="connsiteY132" fmla="*/ 329716 h 473106"/>
                <a:gd name="connsiteX133" fmla="*/ 49620 w 239302"/>
                <a:gd name="connsiteY133" fmla="*/ 321726 h 473106"/>
                <a:gd name="connsiteX134" fmla="*/ 47890 w 239302"/>
                <a:gd name="connsiteY134" fmla="*/ 311654 h 473106"/>
                <a:gd name="connsiteX135" fmla="*/ 42367 w 239302"/>
                <a:gd name="connsiteY135" fmla="*/ 296438 h 473106"/>
                <a:gd name="connsiteX136" fmla="*/ 36538 w 239302"/>
                <a:gd name="connsiteY136" fmla="*/ 287936 h 473106"/>
                <a:gd name="connsiteX137" fmla="*/ 34350 w 239302"/>
                <a:gd name="connsiteY137" fmla="*/ 285702 h 473106"/>
                <a:gd name="connsiteX138" fmla="*/ 22604 w 239302"/>
                <a:gd name="connsiteY138" fmla="*/ 280206 h 473106"/>
                <a:gd name="connsiteX139" fmla="*/ 15817 w 239302"/>
                <a:gd name="connsiteY139" fmla="*/ 276166 h 473106"/>
                <a:gd name="connsiteX140" fmla="*/ 13961 w 239302"/>
                <a:gd name="connsiteY140" fmla="*/ 273823 h 473106"/>
                <a:gd name="connsiteX141" fmla="*/ 12648 w 239302"/>
                <a:gd name="connsiteY141" fmla="*/ 267606 h 473106"/>
                <a:gd name="connsiteX142" fmla="*/ 7813 w 239302"/>
                <a:gd name="connsiteY142" fmla="*/ 255247 h 473106"/>
                <a:gd name="connsiteX143" fmla="*/ 2296 w 239302"/>
                <a:gd name="connsiteY143" fmla="*/ 244002 h 473106"/>
                <a:gd name="connsiteX144" fmla="*/ 271 w 239302"/>
                <a:gd name="connsiteY144" fmla="*/ 236387 h 473106"/>
                <a:gd name="connsiteX145" fmla="*/ 0 w 239302"/>
                <a:gd name="connsiteY145" fmla="*/ 226801 h 473106"/>
                <a:gd name="connsiteX146" fmla="*/ 1080 w 239302"/>
                <a:gd name="connsiteY146" fmla="*/ 219874 h 473106"/>
                <a:gd name="connsiteX147" fmla="*/ 3488 w 239302"/>
                <a:gd name="connsiteY147" fmla="*/ 216909 h 473106"/>
                <a:gd name="connsiteX148" fmla="*/ 14981 w 239302"/>
                <a:gd name="connsiteY148" fmla="*/ 208273 h 473106"/>
                <a:gd name="connsiteX149" fmla="*/ 20295 w 239302"/>
                <a:gd name="connsiteY149" fmla="*/ 197875 h 473106"/>
                <a:gd name="connsiteX150" fmla="*/ 26877 w 239302"/>
                <a:gd name="connsiteY150" fmla="*/ 193972 h 473106"/>
                <a:gd name="connsiteX151" fmla="*/ 32574 w 239302"/>
                <a:gd name="connsiteY151" fmla="*/ 191031 h 473106"/>
                <a:gd name="connsiteX152" fmla="*/ 37184 w 239302"/>
                <a:gd name="connsiteY152" fmla="*/ 187608 h 473106"/>
                <a:gd name="connsiteX153" fmla="*/ 41293 w 239302"/>
                <a:gd name="connsiteY153" fmla="*/ 182098 h 473106"/>
                <a:gd name="connsiteX154" fmla="*/ 44421 w 239302"/>
                <a:gd name="connsiteY154" fmla="*/ 176222 h 473106"/>
                <a:gd name="connsiteX155" fmla="*/ 44960 w 239302"/>
                <a:gd name="connsiteY155" fmla="*/ 169868 h 473106"/>
                <a:gd name="connsiteX156" fmla="*/ 46272 w 239302"/>
                <a:gd name="connsiteY156" fmla="*/ 159778 h 473106"/>
                <a:gd name="connsiteX157" fmla="*/ 48359 w 239302"/>
                <a:gd name="connsiteY157" fmla="*/ 152725 h 473106"/>
                <a:gd name="connsiteX158" fmla="*/ 53223 w 239302"/>
                <a:gd name="connsiteY158" fmla="*/ 144717 h 473106"/>
                <a:gd name="connsiteX159" fmla="*/ 51187 w 239302"/>
                <a:gd name="connsiteY159" fmla="*/ 138283 h 473106"/>
                <a:gd name="connsiteX160" fmla="*/ 48613 w 239302"/>
                <a:gd name="connsiteY160" fmla="*/ 131321 h 473106"/>
                <a:gd name="connsiteX161" fmla="*/ 49360 w 239302"/>
                <a:gd name="connsiteY161" fmla="*/ 119262 h 473106"/>
                <a:gd name="connsiteX162" fmla="*/ 48712 w 239302"/>
                <a:gd name="connsiteY162" fmla="*/ 114361 h 473106"/>
                <a:gd name="connsiteX163" fmla="*/ 46631 w 239302"/>
                <a:gd name="connsiteY163" fmla="*/ 110021 h 473106"/>
                <a:gd name="connsiteX164" fmla="*/ 44507 w 239302"/>
                <a:gd name="connsiteY164" fmla="*/ 104455 h 473106"/>
                <a:gd name="connsiteX165" fmla="*/ 44426 w 239302"/>
                <a:gd name="connsiteY165" fmla="*/ 99813 h 473106"/>
                <a:gd name="connsiteX166" fmla="*/ 46473 w 239302"/>
                <a:gd name="connsiteY166" fmla="*/ 87623 h 473106"/>
                <a:gd name="connsiteX167" fmla="*/ 48043 w 239302"/>
                <a:gd name="connsiteY167" fmla="*/ 78302 h 473106"/>
                <a:gd name="connsiteX168" fmla="*/ 50528 w 239302"/>
                <a:gd name="connsiteY168" fmla="*/ 66163 h 473106"/>
                <a:gd name="connsiteX169" fmla="*/ 49655 w 239302"/>
                <a:gd name="connsiteY169" fmla="*/ 62761 h 473106"/>
                <a:gd name="connsiteX170" fmla="*/ 47804 w 239302"/>
                <a:gd name="connsiteY170" fmla="*/ 60222 h 473106"/>
                <a:gd name="connsiteX171" fmla="*/ 42241 w 239302"/>
                <a:gd name="connsiteY171" fmla="*/ 57541 h 473106"/>
                <a:gd name="connsiteX172" fmla="*/ 42171 w 239302"/>
                <a:gd name="connsiteY172" fmla="*/ 55925 h 473106"/>
                <a:gd name="connsiteX173" fmla="*/ 43543 w 239302"/>
                <a:gd name="connsiteY173" fmla="*/ 54139 h 473106"/>
                <a:gd name="connsiteX174" fmla="*/ 51766 w 239302"/>
                <a:gd name="connsiteY174" fmla="*/ 48214 h 473106"/>
                <a:gd name="connsiteX175" fmla="*/ 56185 w 239302"/>
                <a:gd name="connsiteY175" fmla="*/ 39501 h 473106"/>
                <a:gd name="connsiteX176" fmla="*/ 59887 w 239302"/>
                <a:gd name="connsiteY176" fmla="*/ 37682 h 473106"/>
                <a:gd name="connsiteX177" fmla="*/ 65485 w 239302"/>
                <a:gd name="connsiteY177" fmla="*/ 34524 h 473106"/>
                <a:gd name="connsiteX178" fmla="*/ 65271 w 239302"/>
                <a:gd name="connsiteY178" fmla="*/ 31125 h 473106"/>
                <a:gd name="connsiteX179" fmla="*/ 64023 w 239302"/>
                <a:gd name="connsiteY179" fmla="*/ 27495 h 473106"/>
                <a:gd name="connsiteX180" fmla="*/ 78650 w 239302"/>
                <a:gd name="connsiteY180" fmla="*/ 23381 h 473106"/>
                <a:gd name="connsiteX181" fmla="*/ 92589 w 239302"/>
                <a:gd name="connsiteY181" fmla="*/ 12595 h 473106"/>
                <a:gd name="connsiteX182" fmla="*/ 97513 w 239302"/>
                <a:gd name="connsiteY182" fmla="*/ 9951 h 473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</a:cxnLst>
              <a:rect l="l" t="t" r="r" b="b"/>
              <a:pathLst>
                <a:path w="239302" h="473106">
                  <a:moveTo>
                    <a:pt x="202938" y="232350"/>
                  </a:moveTo>
                  <a:lnTo>
                    <a:pt x="208617" y="236995"/>
                  </a:lnTo>
                  <a:lnTo>
                    <a:pt x="209549" y="238211"/>
                  </a:lnTo>
                  <a:lnTo>
                    <a:pt x="209788" y="239539"/>
                  </a:lnTo>
                  <a:lnTo>
                    <a:pt x="207149" y="242140"/>
                  </a:lnTo>
                  <a:lnTo>
                    <a:pt x="205049" y="243726"/>
                  </a:lnTo>
                  <a:lnTo>
                    <a:pt x="203493" y="244034"/>
                  </a:lnTo>
                  <a:lnTo>
                    <a:pt x="200630" y="245844"/>
                  </a:lnTo>
                  <a:lnTo>
                    <a:pt x="199114" y="246045"/>
                  </a:lnTo>
                  <a:lnTo>
                    <a:pt x="194812" y="244018"/>
                  </a:lnTo>
                  <a:lnTo>
                    <a:pt x="193167" y="244031"/>
                  </a:lnTo>
                  <a:lnTo>
                    <a:pt x="191099" y="242606"/>
                  </a:lnTo>
                  <a:lnTo>
                    <a:pt x="191798" y="234846"/>
                  </a:lnTo>
                  <a:lnTo>
                    <a:pt x="192468" y="232647"/>
                  </a:lnTo>
                  <a:close/>
                  <a:moveTo>
                    <a:pt x="222655" y="170447"/>
                  </a:moveTo>
                  <a:lnTo>
                    <a:pt x="224206" y="171661"/>
                  </a:lnTo>
                  <a:lnTo>
                    <a:pt x="224026" y="174902"/>
                  </a:lnTo>
                  <a:lnTo>
                    <a:pt x="214881" y="179731"/>
                  </a:lnTo>
                  <a:lnTo>
                    <a:pt x="216622" y="175520"/>
                  </a:lnTo>
                  <a:close/>
                  <a:moveTo>
                    <a:pt x="129851" y="0"/>
                  </a:moveTo>
                  <a:lnTo>
                    <a:pt x="134051" y="691"/>
                  </a:lnTo>
                  <a:lnTo>
                    <a:pt x="138762" y="2146"/>
                  </a:lnTo>
                  <a:lnTo>
                    <a:pt x="137404" y="5855"/>
                  </a:lnTo>
                  <a:lnTo>
                    <a:pt x="135535" y="8804"/>
                  </a:lnTo>
                  <a:lnTo>
                    <a:pt x="138277" y="13993"/>
                  </a:lnTo>
                  <a:lnTo>
                    <a:pt x="142194" y="10835"/>
                  </a:lnTo>
                  <a:lnTo>
                    <a:pt x="141186" y="8708"/>
                  </a:lnTo>
                  <a:lnTo>
                    <a:pt x="140961" y="5888"/>
                  </a:lnTo>
                  <a:lnTo>
                    <a:pt x="147626" y="5641"/>
                  </a:lnTo>
                  <a:lnTo>
                    <a:pt x="153508" y="6086"/>
                  </a:lnTo>
                  <a:lnTo>
                    <a:pt x="159963" y="9185"/>
                  </a:lnTo>
                  <a:lnTo>
                    <a:pt x="159510" y="20909"/>
                  </a:lnTo>
                  <a:lnTo>
                    <a:pt x="168117" y="32384"/>
                  </a:lnTo>
                  <a:lnTo>
                    <a:pt x="165700" y="38089"/>
                  </a:lnTo>
                  <a:lnTo>
                    <a:pt x="172750" y="41467"/>
                  </a:lnTo>
                  <a:lnTo>
                    <a:pt x="179021" y="37419"/>
                  </a:lnTo>
                  <a:lnTo>
                    <a:pt x="182165" y="31425"/>
                  </a:lnTo>
                  <a:lnTo>
                    <a:pt x="193713" y="27967"/>
                  </a:lnTo>
                  <a:lnTo>
                    <a:pt x="204679" y="19178"/>
                  </a:lnTo>
                  <a:lnTo>
                    <a:pt x="210751" y="18276"/>
                  </a:lnTo>
                  <a:lnTo>
                    <a:pt x="212122" y="25486"/>
                  </a:lnTo>
                  <a:lnTo>
                    <a:pt x="215061" y="31792"/>
                  </a:lnTo>
                  <a:lnTo>
                    <a:pt x="210906" y="34012"/>
                  </a:lnTo>
                  <a:lnTo>
                    <a:pt x="205613" y="40706"/>
                  </a:lnTo>
                  <a:lnTo>
                    <a:pt x="195604" y="57677"/>
                  </a:lnTo>
                  <a:lnTo>
                    <a:pt x="186376" y="62662"/>
                  </a:lnTo>
                  <a:lnTo>
                    <a:pt x="179466" y="69187"/>
                  </a:lnTo>
                  <a:lnTo>
                    <a:pt x="177234" y="73826"/>
                  </a:lnTo>
                  <a:lnTo>
                    <a:pt x="176557" y="79223"/>
                  </a:lnTo>
                  <a:lnTo>
                    <a:pt x="178287" y="88880"/>
                  </a:lnTo>
                  <a:lnTo>
                    <a:pt x="183325" y="98686"/>
                  </a:lnTo>
                  <a:lnTo>
                    <a:pt x="189138" y="104611"/>
                  </a:lnTo>
                  <a:lnTo>
                    <a:pt x="194747" y="106462"/>
                  </a:lnTo>
                  <a:lnTo>
                    <a:pt x="207813" y="115783"/>
                  </a:lnTo>
                  <a:lnTo>
                    <a:pt x="207601" y="121325"/>
                  </a:lnTo>
                  <a:lnTo>
                    <a:pt x="209428" y="127906"/>
                  </a:lnTo>
                  <a:lnTo>
                    <a:pt x="210121" y="135896"/>
                  </a:lnTo>
                  <a:lnTo>
                    <a:pt x="214672" y="142268"/>
                  </a:lnTo>
                  <a:lnTo>
                    <a:pt x="204944" y="156146"/>
                  </a:lnTo>
                  <a:lnTo>
                    <a:pt x="199635" y="166158"/>
                  </a:lnTo>
                  <a:lnTo>
                    <a:pt x="189253" y="179945"/>
                  </a:lnTo>
                  <a:lnTo>
                    <a:pt x="180009" y="188891"/>
                  </a:lnTo>
                  <a:lnTo>
                    <a:pt x="160199" y="202163"/>
                  </a:lnTo>
                  <a:lnTo>
                    <a:pt x="155340" y="206567"/>
                  </a:lnTo>
                  <a:lnTo>
                    <a:pt x="152171" y="211134"/>
                  </a:lnTo>
                  <a:lnTo>
                    <a:pt x="150701" y="215888"/>
                  </a:lnTo>
                  <a:lnTo>
                    <a:pt x="151234" y="221486"/>
                  </a:lnTo>
                  <a:lnTo>
                    <a:pt x="157745" y="235217"/>
                  </a:lnTo>
                  <a:lnTo>
                    <a:pt x="166410" y="243314"/>
                  </a:lnTo>
                  <a:lnTo>
                    <a:pt x="175239" y="247685"/>
                  </a:lnTo>
                  <a:lnTo>
                    <a:pt x="190571" y="245923"/>
                  </a:lnTo>
                  <a:lnTo>
                    <a:pt x="190046" y="251194"/>
                  </a:lnTo>
                  <a:lnTo>
                    <a:pt x="191139" y="257518"/>
                  </a:lnTo>
                  <a:lnTo>
                    <a:pt x="197380" y="257221"/>
                  </a:lnTo>
                  <a:lnTo>
                    <a:pt x="201542" y="256238"/>
                  </a:lnTo>
                  <a:lnTo>
                    <a:pt x="205072" y="250088"/>
                  </a:lnTo>
                  <a:lnTo>
                    <a:pt x="212567" y="254299"/>
                  </a:lnTo>
                  <a:lnTo>
                    <a:pt x="216459" y="267148"/>
                  </a:lnTo>
                  <a:lnTo>
                    <a:pt x="222804" y="271149"/>
                  </a:lnTo>
                  <a:lnTo>
                    <a:pt x="223546" y="272641"/>
                  </a:lnTo>
                  <a:lnTo>
                    <a:pt x="221307" y="273619"/>
                  </a:lnTo>
                  <a:lnTo>
                    <a:pt x="219561" y="275100"/>
                  </a:lnTo>
                  <a:lnTo>
                    <a:pt x="221436" y="276134"/>
                  </a:lnTo>
                  <a:lnTo>
                    <a:pt x="227583" y="277733"/>
                  </a:lnTo>
                  <a:lnTo>
                    <a:pt x="231285" y="276710"/>
                  </a:lnTo>
                  <a:lnTo>
                    <a:pt x="237445" y="279555"/>
                  </a:lnTo>
                  <a:lnTo>
                    <a:pt x="237317" y="281301"/>
                  </a:lnTo>
                  <a:lnTo>
                    <a:pt x="235230" y="293861"/>
                  </a:lnTo>
                  <a:lnTo>
                    <a:pt x="234756" y="298377"/>
                  </a:lnTo>
                  <a:lnTo>
                    <a:pt x="234443" y="306019"/>
                  </a:lnTo>
                  <a:lnTo>
                    <a:pt x="234443" y="315198"/>
                  </a:lnTo>
                  <a:lnTo>
                    <a:pt x="239176" y="322955"/>
                  </a:lnTo>
                  <a:lnTo>
                    <a:pt x="239302" y="326354"/>
                  </a:lnTo>
                  <a:lnTo>
                    <a:pt x="237467" y="330286"/>
                  </a:lnTo>
                  <a:lnTo>
                    <a:pt x="228764" y="334794"/>
                  </a:lnTo>
                  <a:lnTo>
                    <a:pt x="217525" y="340617"/>
                  </a:lnTo>
                  <a:lnTo>
                    <a:pt x="207866" y="346143"/>
                  </a:lnTo>
                  <a:lnTo>
                    <a:pt x="197275" y="352191"/>
                  </a:lnTo>
                  <a:lnTo>
                    <a:pt x="194031" y="356099"/>
                  </a:lnTo>
                  <a:lnTo>
                    <a:pt x="188784" y="359107"/>
                  </a:lnTo>
                  <a:lnTo>
                    <a:pt x="184394" y="362118"/>
                  </a:lnTo>
                  <a:lnTo>
                    <a:pt x="183601" y="364992"/>
                  </a:lnTo>
                  <a:lnTo>
                    <a:pt x="180532" y="370451"/>
                  </a:lnTo>
                  <a:lnTo>
                    <a:pt x="176508" y="374814"/>
                  </a:lnTo>
                  <a:lnTo>
                    <a:pt x="166458" y="376858"/>
                  </a:lnTo>
                  <a:lnTo>
                    <a:pt x="164594" y="378160"/>
                  </a:lnTo>
                  <a:lnTo>
                    <a:pt x="159939" y="384704"/>
                  </a:lnTo>
                  <a:lnTo>
                    <a:pt x="157799" y="387278"/>
                  </a:lnTo>
                  <a:lnTo>
                    <a:pt x="155139" y="392646"/>
                  </a:lnTo>
                  <a:lnTo>
                    <a:pt x="158557" y="406563"/>
                  </a:lnTo>
                  <a:lnTo>
                    <a:pt x="162743" y="420853"/>
                  </a:lnTo>
                  <a:lnTo>
                    <a:pt x="163555" y="426810"/>
                  </a:lnTo>
                  <a:lnTo>
                    <a:pt x="163496" y="431760"/>
                  </a:lnTo>
                  <a:lnTo>
                    <a:pt x="161147" y="437085"/>
                  </a:lnTo>
                  <a:lnTo>
                    <a:pt x="155793" y="444722"/>
                  </a:lnTo>
                  <a:lnTo>
                    <a:pt x="151871" y="450312"/>
                  </a:lnTo>
                  <a:lnTo>
                    <a:pt x="144334" y="460375"/>
                  </a:lnTo>
                  <a:lnTo>
                    <a:pt x="142113" y="462848"/>
                  </a:lnTo>
                  <a:lnTo>
                    <a:pt x="136925" y="465778"/>
                  </a:lnTo>
                  <a:lnTo>
                    <a:pt x="126888" y="469670"/>
                  </a:lnTo>
                  <a:lnTo>
                    <a:pt x="119828" y="473106"/>
                  </a:lnTo>
                  <a:lnTo>
                    <a:pt x="116230" y="457772"/>
                  </a:lnTo>
                  <a:lnTo>
                    <a:pt x="113153" y="444668"/>
                  </a:lnTo>
                  <a:lnTo>
                    <a:pt x="110619" y="433847"/>
                  </a:lnTo>
                  <a:lnTo>
                    <a:pt x="106154" y="414770"/>
                  </a:lnTo>
                  <a:lnTo>
                    <a:pt x="102371" y="398541"/>
                  </a:lnTo>
                  <a:lnTo>
                    <a:pt x="98595" y="382330"/>
                  </a:lnTo>
                  <a:lnTo>
                    <a:pt x="95164" y="367590"/>
                  </a:lnTo>
                  <a:lnTo>
                    <a:pt x="91711" y="352738"/>
                  </a:lnTo>
                  <a:lnTo>
                    <a:pt x="90224" y="350571"/>
                  </a:lnTo>
                  <a:lnTo>
                    <a:pt x="79864" y="343553"/>
                  </a:lnTo>
                  <a:lnTo>
                    <a:pt x="70320" y="337082"/>
                  </a:lnTo>
                  <a:lnTo>
                    <a:pt x="60385" y="329716"/>
                  </a:lnTo>
                  <a:lnTo>
                    <a:pt x="49620" y="321726"/>
                  </a:lnTo>
                  <a:lnTo>
                    <a:pt x="47890" y="311654"/>
                  </a:lnTo>
                  <a:lnTo>
                    <a:pt x="42367" y="296438"/>
                  </a:lnTo>
                  <a:lnTo>
                    <a:pt x="36538" y="287936"/>
                  </a:lnTo>
                  <a:lnTo>
                    <a:pt x="34350" y="285702"/>
                  </a:lnTo>
                  <a:lnTo>
                    <a:pt x="22604" y="280206"/>
                  </a:lnTo>
                  <a:lnTo>
                    <a:pt x="15817" y="276166"/>
                  </a:lnTo>
                  <a:lnTo>
                    <a:pt x="13961" y="273823"/>
                  </a:lnTo>
                  <a:lnTo>
                    <a:pt x="12648" y="267606"/>
                  </a:lnTo>
                  <a:lnTo>
                    <a:pt x="7813" y="255247"/>
                  </a:lnTo>
                  <a:lnTo>
                    <a:pt x="2296" y="244002"/>
                  </a:lnTo>
                  <a:lnTo>
                    <a:pt x="271" y="236387"/>
                  </a:lnTo>
                  <a:lnTo>
                    <a:pt x="0" y="226801"/>
                  </a:lnTo>
                  <a:lnTo>
                    <a:pt x="1080" y="219874"/>
                  </a:lnTo>
                  <a:lnTo>
                    <a:pt x="3488" y="216909"/>
                  </a:lnTo>
                  <a:lnTo>
                    <a:pt x="14981" y="208273"/>
                  </a:lnTo>
                  <a:lnTo>
                    <a:pt x="20295" y="197875"/>
                  </a:lnTo>
                  <a:lnTo>
                    <a:pt x="26877" y="193972"/>
                  </a:lnTo>
                  <a:lnTo>
                    <a:pt x="32574" y="191031"/>
                  </a:lnTo>
                  <a:lnTo>
                    <a:pt x="37184" y="187608"/>
                  </a:lnTo>
                  <a:lnTo>
                    <a:pt x="41293" y="182098"/>
                  </a:lnTo>
                  <a:lnTo>
                    <a:pt x="44421" y="176222"/>
                  </a:lnTo>
                  <a:lnTo>
                    <a:pt x="44960" y="169868"/>
                  </a:lnTo>
                  <a:lnTo>
                    <a:pt x="46272" y="159778"/>
                  </a:lnTo>
                  <a:lnTo>
                    <a:pt x="48359" y="152725"/>
                  </a:lnTo>
                  <a:lnTo>
                    <a:pt x="53223" y="144717"/>
                  </a:lnTo>
                  <a:lnTo>
                    <a:pt x="51187" y="138283"/>
                  </a:lnTo>
                  <a:lnTo>
                    <a:pt x="48613" y="131321"/>
                  </a:lnTo>
                  <a:lnTo>
                    <a:pt x="49360" y="119262"/>
                  </a:lnTo>
                  <a:lnTo>
                    <a:pt x="48712" y="114361"/>
                  </a:lnTo>
                  <a:lnTo>
                    <a:pt x="46631" y="110021"/>
                  </a:lnTo>
                  <a:lnTo>
                    <a:pt x="44507" y="104455"/>
                  </a:lnTo>
                  <a:lnTo>
                    <a:pt x="44426" y="99813"/>
                  </a:lnTo>
                  <a:lnTo>
                    <a:pt x="46473" y="87623"/>
                  </a:lnTo>
                  <a:lnTo>
                    <a:pt x="48043" y="78302"/>
                  </a:lnTo>
                  <a:lnTo>
                    <a:pt x="50528" y="66163"/>
                  </a:lnTo>
                  <a:lnTo>
                    <a:pt x="49655" y="62761"/>
                  </a:lnTo>
                  <a:lnTo>
                    <a:pt x="47804" y="60222"/>
                  </a:lnTo>
                  <a:lnTo>
                    <a:pt x="42241" y="57541"/>
                  </a:lnTo>
                  <a:lnTo>
                    <a:pt x="42171" y="55925"/>
                  </a:lnTo>
                  <a:lnTo>
                    <a:pt x="43543" y="54139"/>
                  </a:lnTo>
                  <a:lnTo>
                    <a:pt x="51766" y="48214"/>
                  </a:lnTo>
                  <a:lnTo>
                    <a:pt x="56185" y="39501"/>
                  </a:lnTo>
                  <a:lnTo>
                    <a:pt x="59887" y="37682"/>
                  </a:lnTo>
                  <a:lnTo>
                    <a:pt x="65485" y="34524"/>
                  </a:lnTo>
                  <a:lnTo>
                    <a:pt x="65271" y="31125"/>
                  </a:lnTo>
                  <a:lnTo>
                    <a:pt x="64023" y="27495"/>
                  </a:lnTo>
                  <a:lnTo>
                    <a:pt x="78650" y="23381"/>
                  </a:lnTo>
                  <a:lnTo>
                    <a:pt x="92589" y="12595"/>
                  </a:lnTo>
                  <a:lnTo>
                    <a:pt x="97513" y="9951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11" name="ee4p_TZ_1_37365">
              <a:extLst>
                <a:ext uri="{FF2B5EF4-FFF2-40B4-BE49-F238E27FC236}">
                  <a16:creationId xmlns:a16="http://schemas.microsoft.com/office/drawing/2014/main" id="{B9786A51-EDDF-0D26-7B24-F7A9D5B2809D}"/>
                </a:ext>
              </a:extLst>
            </p:cNvPr>
            <p:cNvSpPr>
              <a:spLocks noChangeAspect="1"/>
            </p:cNvSpPr>
            <p:nvPr>
              <p:custDataLst>
                <p:tags r:id="rId365"/>
              </p:custDataLst>
            </p:nvPr>
          </p:nvSpPr>
          <p:spPr>
            <a:xfrm>
              <a:off x="7328993" y="4706071"/>
              <a:ext cx="309354" cy="307330"/>
            </a:xfrm>
            <a:custGeom>
              <a:avLst/>
              <a:gdLst>
                <a:gd name="connsiteX0" fmla="*/ 626855 w 659812"/>
                <a:gd name="connsiteY0" fmla="*/ 394984 h 638119"/>
                <a:gd name="connsiteX1" fmla="*/ 626297 w 659812"/>
                <a:gd name="connsiteY1" fmla="*/ 399685 h 638119"/>
                <a:gd name="connsiteX2" fmla="*/ 621956 w 659812"/>
                <a:gd name="connsiteY2" fmla="*/ 409965 h 638119"/>
                <a:gd name="connsiteX3" fmla="*/ 618249 w 659812"/>
                <a:gd name="connsiteY3" fmla="*/ 410635 h 638119"/>
                <a:gd name="connsiteX4" fmla="*/ 615257 w 659812"/>
                <a:gd name="connsiteY4" fmla="*/ 414540 h 638119"/>
                <a:gd name="connsiteX5" fmla="*/ 612053 w 659812"/>
                <a:gd name="connsiteY5" fmla="*/ 415320 h 638119"/>
                <a:gd name="connsiteX6" fmla="*/ 610805 w 659812"/>
                <a:gd name="connsiteY6" fmla="*/ 414564 h 638119"/>
                <a:gd name="connsiteX7" fmla="*/ 608836 w 659812"/>
                <a:gd name="connsiteY7" fmla="*/ 412079 h 638119"/>
                <a:gd name="connsiteX8" fmla="*/ 612254 w 659812"/>
                <a:gd name="connsiteY8" fmla="*/ 409960 h 638119"/>
                <a:gd name="connsiteX9" fmla="*/ 615570 w 659812"/>
                <a:gd name="connsiteY9" fmla="*/ 405846 h 638119"/>
                <a:gd name="connsiteX10" fmla="*/ 623268 w 659812"/>
                <a:gd name="connsiteY10" fmla="*/ 399814 h 638119"/>
                <a:gd name="connsiteX11" fmla="*/ 625893 w 659812"/>
                <a:gd name="connsiteY11" fmla="*/ 395833 h 638119"/>
                <a:gd name="connsiteX12" fmla="*/ 591425 w 659812"/>
                <a:gd name="connsiteY12" fmla="*/ 280334 h 638119"/>
                <a:gd name="connsiteX13" fmla="*/ 594283 w 659812"/>
                <a:gd name="connsiteY13" fmla="*/ 285657 h 638119"/>
                <a:gd name="connsiteX14" fmla="*/ 594937 w 659812"/>
                <a:gd name="connsiteY14" fmla="*/ 293955 h 638119"/>
                <a:gd name="connsiteX15" fmla="*/ 598791 w 659812"/>
                <a:gd name="connsiteY15" fmla="*/ 303718 h 638119"/>
                <a:gd name="connsiteX16" fmla="*/ 602021 w 659812"/>
                <a:gd name="connsiteY16" fmla="*/ 306737 h 638119"/>
                <a:gd name="connsiteX17" fmla="*/ 602533 w 659812"/>
                <a:gd name="connsiteY17" fmla="*/ 307235 h 638119"/>
                <a:gd name="connsiteX18" fmla="*/ 607068 w 659812"/>
                <a:gd name="connsiteY18" fmla="*/ 319889 h 638119"/>
                <a:gd name="connsiteX19" fmla="*/ 606481 w 659812"/>
                <a:gd name="connsiteY19" fmla="*/ 322257 h 638119"/>
                <a:gd name="connsiteX20" fmla="*/ 603283 w 659812"/>
                <a:gd name="connsiteY20" fmla="*/ 323708 h 638119"/>
                <a:gd name="connsiteX21" fmla="*/ 601611 w 659812"/>
                <a:gd name="connsiteY21" fmla="*/ 323832 h 638119"/>
                <a:gd name="connsiteX22" fmla="*/ 599621 w 659812"/>
                <a:gd name="connsiteY22" fmla="*/ 321812 h 638119"/>
                <a:gd name="connsiteX23" fmla="*/ 598218 w 659812"/>
                <a:gd name="connsiteY23" fmla="*/ 317537 h 638119"/>
                <a:gd name="connsiteX24" fmla="*/ 595788 w 659812"/>
                <a:gd name="connsiteY24" fmla="*/ 318552 h 638119"/>
                <a:gd name="connsiteX25" fmla="*/ 591647 w 659812"/>
                <a:gd name="connsiteY25" fmla="*/ 313449 h 638119"/>
                <a:gd name="connsiteX26" fmla="*/ 587547 w 659812"/>
                <a:gd name="connsiteY26" fmla="*/ 313206 h 638119"/>
                <a:gd name="connsiteX27" fmla="*/ 583925 w 659812"/>
                <a:gd name="connsiteY27" fmla="*/ 307115 h 638119"/>
                <a:gd name="connsiteX28" fmla="*/ 585342 w 659812"/>
                <a:gd name="connsiteY28" fmla="*/ 301803 h 638119"/>
                <a:gd name="connsiteX29" fmla="*/ 584520 w 659812"/>
                <a:gd name="connsiteY29" fmla="*/ 292760 h 638119"/>
                <a:gd name="connsiteX30" fmla="*/ 588939 w 659812"/>
                <a:gd name="connsiteY30" fmla="*/ 288126 h 638119"/>
                <a:gd name="connsiteX31" fmla="*/ 624361 w 659812"/>
                <a:gd name="connsiteY31" fmla="*/ 231882 h 638119"/>
                <a:gd name="connsiteX32" fmla="*/ 624715 w 659812"/>
                <a:gd name="connsiteY32" fmla="*/ 234874 h 638119"/>
                <a:gd name="connsiteX33" fmla="*/ 623807 w 659812"/>
                <a:gd name="connsiteY33" fmla="*/ 237689 h 638119"/>
                <a:gd name="connsiteX34" fmla="*/ 624002 w 659812"/>
                <a:gd name="connsiteY34" fmla="*/ 246668 h 638119"/>
                <a:gd name="connsiteX35" fmla="*/ 623649 w 659812"/>
                <a:gd name="connsiteY35" fmla="*/ 252622 h 638119"/>
                <a:gd name="connsiteX36" fmla="*/ 620265 w 659812"/>
                <a:gd name="connsiteY36" fmla="*/ 260878 h 638119"/>
                <a:gd name="connsiteX37" fmla="*/ 617507 w 659812"/>
                <a:gd name="connsiteY37" fmla="*/ 263811 h 638119"/>
                <a:gd name="connsiteX38" fmla="*/ 615037 w 659812"/>
                <a:gd name="connsiteY38" fmla="*/ 262959 h 638119"/>
                <a:gd name="connsiteX39" fmla="*/ 613015 w 659812"/>
                <a:gd name="connsiteY39" fmla="*/ 261601 h 638119"/>
                <a:gd name="connsiteX40" fmla="*/ 611434 w 659812"/>
                <a:gd name="connsiteY40" fmla="*/ 259340 h 638119"/>
                <a:gd name="connsiteX41" fmla="*/ 614651 w 659812"/>
                <a:gd name="connsiteY41" fmla="*/ 244201 h 638119"/>
                <a:gd name="connsiteX42" fmla="*/ 613015 w 659812"/>
                <a:gd name="connsiteY42" fmla="*/ 233122 h 638119"/>
                <a:gd name="connsiteX43" fmla="*/ 619371 w 659812"/>
                <a:gd name="connsiteY43" fmla="*/ 234183 h 638119"/>
                <a:gd name="connsiteX44" fmla="*/ 87998 w 659812"/>
                <a:gd name="connsiteY44" fmla="*/ 0 h 638119"/>
                <a:gd name="connsiteX45" fmla="*/ 88856 w 659812"/>
                <a:gd name="connsiteY45" fmla="*/ 241 h 638119"/>
                <a:gd name="connsiteX46" fmla="*/ 90104 w 659812"/>
                <a:gd name="connsiteY46" fmla="*/ 421 h 638119"/>
                <a:gd name="connsiteX47" fmla="*/ 96321 w 659812"/>
                <a:gd name="connsiteY47" fmla="*/ 421 h 638119"/>
                <a:gd name="connsiteX48" fmla="*/ 106853 w 659812"/>
                <a:gd name="connsiteY48" fmla="*/ 421 h 638119"/>
                <a:gd name="connsiteX49" fmla="*/ 117382 w 659812"/>
                <a:gd name="connsiteY49" fmla="*/ 421 h 638119"/>
                <a:gd name="connsiteX50" fmla="*/ 127914 w 659812"/>
                <a:gd name="connsiteY50" fmla="*/ 421 h 638119"/>
                <a:gd name="connsiteX51" fmla="*/ 138441 w 659812"/>
                <a:gd name="connsiteY51" fmla="*/ 421 h 638119"/>
                <a:gd name="connsiteX52" fmla="*/ 148968 w 659812"/>
                <a:gd name="connsiteY52" fmla="*/ 421 h 638119"/>
                <a:gd name="connsiteX53" fmla="*/ 159500 w 659812"/>
                <a:gd name="connsiteY53" fmla="*/ 421 h 638119"/>
                <a:gd name="connsiteX54" fmla="*/ 170026 w 659812"/>
                <a:gd name="connsiteY54" fmla="*/ 421 h 638119"/>
                <a:gd name="connsiteX55" fmla="*/ 180553 w 659812"/>
                <a:gd name="connsiteY55" fmla="*/ 421 h 638119"/>
                <a:gd name="connsiteX56" fmla="*/ 191088 w 659812"/>
                <a:gd name="connsiteY56" fmla="*/ 421 h 638119"/>
                <a:gd name="connsiteX57" fmla="*/ 201614 w 659812"/>
                <a:gd name="connsiteY57" fmla="*/ 421 h 638119"/>
                <a:gd name="connsiteX58" fmla="*/ 212141 w 659812"/>
                <a:gd name="connsiteY58" fmla="*/ 421 h 638119"/>
                <a:gd name="connsiteX59" fmla="*/ 222673 w 659812"/>
                <a:gd name="connsiteY59" fmla="*/ 421 h 638119"/>
                <a:gd name="connsiteX60" fmla="*/ 233200 w 659812"/>
                <a:gd name="connsiteY60" fmla="*/ 421 h 638119"/>
                <a:gd name="connsiteX61" fmla="*/ 243726 w 659812"/>
                <a:gd name="connsiteY61" fmla="*/ 421 h 638119"/>
                <a:gd name="connsiteX62" fmla="*/ 254261 w 659812"/>
                <a:gd name="connsiteY62" fmla="*/ 421 h 638119"/>
                <a:gd name="connsiteX63" fmla="*/ 264788 w 659812"/>
                <a:gd name="connsiteY63" fmla="*/ 421 h 638119"/>
                <a:gd name="connsiteX64" fmla="*/ 271254 w 659812"/>
                <a:gd name="connsiteY64" fmla="*/ 421 h 638119"/>
                <a:gd name="connsiteX65" fmla="*/ 275764 w 659812"/>
                <a:gd name="connsiteY65" fmla="*/ 421 h 638119"/>
                <a:gd name="connsiteX66" fmla="*/ 280039 w 659812"/>
                <a:gd name="connsiteY66" fmla="*/ 2660 h 638119"/>
                <a:gd name="connsiteX67" fmla="*/ 284783 w 659812"/>
                <a:gd name="connsiteY67" fmla="*/ 5309 h 638119"/>
                <a:gd name="connsiteX68" fmla="*/ 297402 w 659812"/>
                <a:gd name="connsiteY68" fmla="*/ 12362 h 638119"/>
                <a:gd name="connsiteX69" fmla="*/ 310031 w 659812"/>
                <a:gd name="connsiteY69" fmla="*/ 19406 h 638119"/>
                <a:gd name="connsiteX70" fmla="*/ 322655 w 659812"/>
                <a:gd name="connsiteY70" fmla="*/ 26459 h 638119"/>
                <a:gd name="connsiteX71" fmla="*/ 335282 w 659812"/>
                <a:gd name="connsiteY71" fmla="*/ 33506 h 638119"/>
                <a:gd name="connsiteX72" fmla="*/ 347908 w 659812"/>
                <a:gd name="connsiteY72" fmla="*/ 40559 h 638119"/>
                <a:gd name="connsiteX73" fmla="*/ 360530 w 659812"/>
                <a:gd name="connsiteY73" fmla="*/ 47611 h 638119"/>
                <a:gd name="connsiteX74" fmla="*/ 373156 w 659812"/>
                <a:gd name="connsiteY74" fmla="*/ 54659 h 638119"/>
                <a:gd name="connsiteX75" fmla="*/ 385783 w 659812"/>
                <a:gd name="connsiteY75" fmla="*/ 61711 h 638119"/>
                <a:gd name="connsiteX76" fmla="*/ 398402 w 659812"/>
                <a:gd name="connsiteY76" fmla="*/ 68766 h 638119"/>
                <a:gd name="connsiteX77" fmla="*/ 411023 w 659812"/>
                <a:gd name="connsiteY77" fmla="*/ 75814 h 638119"/>
                <a:gd name="connsiteX78" fmla="*/ 423658 w 659812"/>
                <a:gd name="connsiteY78" fmla="*/ 82864 h 638119"/>
                <a:gd name="connsiteX79" fmla="*/ 436276 w 659812"/>
                <a:gd name="connsiteY79" fmla="*/ 89916 h 638119"/>
                <a:gd name="connsiteX80" fmla="*/ 448903 w 659812"/>
                <a:gd name="connsiteY80" fmla="*/ 96972 h 638119"/>
                <a:gd name="connsiteX81" fmla="*/ 461530 w 659812"/>
                <a:gd name="connsiteY81" fmla="*/ 104022 h 638119"/>
                <a:gd name="connsiteX82" fmla="*/ 474156 w 659812"/>
                <a:gd name="connsiteY82" fmla="*/ 111079 h 638119"/>
                <a:gd name="connsiteX83" fmla="*/ 486783 w 659812"/>
                <a:gd name="connsiteY83" fmla="*/ 118130 h 638119"/>
                <a:gd name="connsiteX84" fmla="*/ 492804 w 659812"/>
                <a:gd name="connsiteY84" fmla="*/ 121499 h 638119"/>
                <a:gd name="connsiteX85" fmla="*/ 493712 w 659812"/>
                <a:gd name="connsiteY85" fmla="*/ 122959 h 638119"/>
                <a:gd name="connsiteX86" fmla="*/ 494760 w 659812"/>
                <a:gd name="connsiteY86" fmla="*/ 129385 h 638119"/>
                <a:gd name="connsiteX87" fmla="*/ 495419 w 659812"/>
                <a:gd name="connsiteY87" fmla="*/ 133403 h 638119"/>
                <a:gd name="connsiteX88" fmla="*/ 495054 w 659812"/>
                <a:gd name="connsiteY88" fmla="*/ 136936 h 638119"/>
                <a:gd name="connsiteX89" fmla="*/ 491711 w 659812"/>
                <a:gd name="connsiteY89" fmla="*/ 142952 h 638119"/>
                <a:gd name="connsiteX90" fmla="*/ 490723 w 659812"/>
                <a:gd name="connsiteY90" fmla="*/ 146096 h 638119"/>
                <a:gd name="connsiteX91" fmla="*/ 490694 w 659812"/>
                <a:gd name="connsiteY91" fmla="*/ 148279 h 638119"/>
                <a:gd name="connsiteX92" fmla="*/ 491513 w 659812"/>
                <a:gd name="connsiteY92" fmla="*/ 149136 h 638119"/>
                <a:gd name="connsiteX93" fmla="*/ 494361 w 659812"/>
                <a:gd name="connsiteY93" fmla="*/ 149447 h 638119"/>
                <a:gd name="connsiteX94" fmla="*/ 496785 w 659812"/>
                <a:gd name="connsiteY94" fmla="*/ 150872 h 638119"/>
                <a:gd name="connsiteX95" fmla="*/ 497679 w 659812"/>
                <a:gd name="connsiteY95" fmla="*/ 151994 h 638119"/>
                <a:gd name="connsiteX96" fmla="*/ 499530 w 659812"/>
                <a:gd name="connsiteY96" fmla="*/ 156524 h 638119"/>
                <a:gd name="connsiteX97" fmla="*/ 501890 w 659812"/>
                <a:gd name="connsiteY97" fmla="*/ 158795 h 638119"/>
                <a:gd name="connsiteX98" fmla="*/ 507223 w 659812"/>
                <a:gd name="connsiteY98" fmla="*/ 162642 h 638119"/>
                <a:gd name="connsiteX99" fmla="*/ 516317 w 659812"/>
                <a:gd name="connsiteY99" fmla="*/ 169199 h 638119"/>
                <a:gd name="connsiteX100" fmla="*/ 525410 w 659812"/>
                <a:gd name="connsiteY100" fmla="*/ 175753 h 638119"/>
                <a:gd name="connsiteX101" fmla="*/ 534501 w 659812"/>
                <a:gd name="connsiteY101" fmla="*/ 182313 h 638119"/>
                <a:gd name="connsiteX102" fmla="*/ 543592 w 659812"/>
                <a:gd name="connsiteY102" fmla="*/ 188870 h 638119"/>
                <a:gd name="connsiteX103" fmla="*/ 552686 w 659812"/>
                <a:gd name="connsiteY103" fmla="*/ 195424 h 638119"/>
                <a:gd name="connsiteX104" fmla="*/ 561779 w 659812"/>
                <a:gd name="connsiteY104" fmla="*/ 201984 h 638119"/>
                <a:gd name="connsiteX105" fmla="*/ 570870 w 659812"/>
                <a:gd name="connsiteY105" fmla="*/ 208544 h 638119"/>
                <a:gd name="connsiteX106" fmla="*/ 579964 w 659812"/>
                <a:gd name="connsiteY106" fmla="*/ 215104 h 638119"/>
                <a:gd name="connsiteX107" fmla="*/ 584389 w 659812"/>
                <a:gd name="connsiteY107" fmla="*/ 218294 h 638119"/>
                <a:gd name="connsiteX108" fmla="*/ 586261 w 659812"/>
                <a:gd name="connsiteY108" fmla="*/ 219191 h 638119"/>
                <a:gd name="connsiteX109" fmla="*/ 585083 w 659812"/>
                <a:gd name="connsiteY109" fmla="*/ 224181 h 638119"/>
                <a:gd name="connsiteX110" fmla="*/ 580425 w 659812"/>
                <a:gd name="connsiteY110" fmla="*/ 236294 h 638119"/>
                <a:gd name="connsiteX111" fmla="*/ 580160 w 659812"/>
                <a:gd name="connsiteY111" fmla="*/ 241337 h 638119"/>
                <a:gd name="connsiteX112" fmla="*/ 578338 w 659812"/>
                <a:gd name="connsiteY112" fmla="*/ 247276 h 638119"/>
                <a:gd name="connsiteX113" fmla="*/ 576578 w 659812"/>
                <a:gd name="connsiteY113" fmla="*/ 251202 h 638119"/>
                <a:gd name="connsiteX114" fmla="*/ 571837 w 659812"/>
                <a:gd name="connsiteY114" fmla="*/ 268249 h 638119"/>
                <a:gd name="connsiteX115" fmla="*/ 567857 w 659812"/>
                <a:gd name="connsiteY115" fmla="*/ 274629 h 638119"/>
                <a:gd name="connsiteX116" fmla="*/ 562420 w 659812"/>
                <a:gd name="connsiteY116" fmla="*/ 289583 h 638119"/>
                <a:gd name="connsiteX117" fmla="*/ 561560 w 659812"/>
                <a:gd name="connsiteY117" fmla="*/ 301023 h 638119"/>
                <a:gd name="connsiteX118" fmla="*/ 564554 w 659812"/>
                <a:gd name="connsiteY118" fmla="*/ 309035 h 638119"/>
                <a:gd name="connsiteX119" fmla="*/ 565666 w 659812"/>
                <a:gd name="connsiteY119" fmla="*/ 316548 h 638119"/>
                <a:gd name="connsiteX120" fmla="*/ 572028 w 659812"/>
                <a:gd name="connsiteY120" fmla="*/ 323912 h 638119"/>
                <a:gd name="connsiteX121" fmla="*/ 577117 w 659812"/>
                <a:gd name="connsiteY121" fmla="*/ 326542 h 638119"/>
                <a:gd name="connsiteX122" fmla="*/ 580559 w 659812"/>
                <a:gd name="connsiteY122" fmla="*/ 329912 h 638119"/>
                <a:gd name="connsiteX123" fmla="*/ 586655 w 659812"/>
                <a:gd name="connsiteY123" fmla="*/ 337602 h 638119"/>
                <a:gd name="connsiteX124" fmla="*/ 590143 w 659812"/>
                <a:gd name="connsiteY124" fmla="*/ 345319 h 638119"/>
                <a:gd name="connsiteX125" fmla="*/ 601103 w 659812"/>
                <a:gd name="connsiteY125" fmla="*/ 349106 h 638119"/>
                <a:gd name="connsiteX126" fmla="*/ 605472 w 659812"/>
                <a:gd name="connsiteY126" fmla="*/ 357760 h 638119"/>
                <a:gd name="connsiteX127" fmla="*/ 603881 w 659812"/>
                <a:gd name="connsiteY127" fmla="*/ 363717 h 638119"/>
                <a:gd name="connsiteX128" fmla="*/ 598797 w 659812"/>
                <a:gd name="connsiteY128" fmla="*/ 368654 h 638119"/>
                <a:gd name="connsiteX129" fmla="*/ 594043 w 659812"/>
                <a:gd name="connsiteY129" fmla="*/ 376652 h 638119"/>
                <a:gd name="connsiteX130" fmla="*/ 590212 w 659812"/>
                <a:gd name="connsiteY130" fmla="*/ 387160 h 638119"/>
                <a:gd name="connsiteX131" fmla="*/ 590127 w 659812"/>
                <a:gd name="connsiteY131" fmla="*/ 403234 h 638119"/>
                <a:gd name="connsiteX132" fmla="*/ 592701 w 659812"/>
                <a:gd name="connsiteY132" fmla="*/ 400791 h 638119"/>
                <a:gd name="connsiteX133" fmla="*/ 598500 w 659812"/>
                <a:gd name="connsiteY133" fmla="*/ 404729 h 638119"/>
                <a:gd name="connsiteX134" fmla="*/ 599247 w 659812"/>
                <a:gd name="connsiteY134" fmla="*/ 416573 h 638119"/>
                <a:gd name="connsiteX135" fmla="*/ 593266 w 659812"/>
                <a:gd name="connsiteY135" fmla="*/ 430362 h 638119"/>
                <a:gd name="connsiteX136" fmla="*/ 591426 w 659812"/>
                <a:gd name="connsiteY136" fmla="*/ 436810 h 638119"/>
                <a:gd name="connsiteX137" fmla="*/ 591131 w 659812"/>
                <a:gd name="connsiteY137" fmla="*/ 442349 h 638119"/>
                <a:gd name="connsiteX138" fmla="*/ 595476 w 659812"/>
                <a:gd name="connsiteY138" fmla="*/ 458870 h 638119"/>
                <a:gd name="connsiteX139" fmla="*/ 602051 w 659812"/>
                <a:gd name="connsiteY139" fmla="*/ 467286 h 638119"/>
                <a:gd name="connsiteX140" fmla="*/ 601561 w 659812"/>
                <a:gd name="connsiteY140" fmla="*/ 469919 h 638119"/>
                <a:gd name="connsiteX141" fmla="*/ 599855 w 659812"/>
                <a:gd name="connsiteY141" fmla="*/ 472129 h 638119"/>
                <a:gd name="connsiteX142" fmla="*/ 611110 w 659812"/>
                <a:gd name="connsiteY142" fmla="*/ 487027 h 638119"/>
                <a:gd name="connsiteX143" fmla="*/ 610173 w 659812"/>
                <a:gd name="connsiteY143" fmla="*/ 499989 h 638119"/>
                <a:gd name="connsiteX144" fmla="*/ 614389 w 659812"/>
                <a:gd name="connsiteY144" fmla="*/ 510084 h 638119"/>
                <a:gd name="connsiteX145" fmla="*/ 616240 w 659812"/>
                <a:gd name="connsiteY145" fmla="*/ 518832 h 638119"/>
                <a:gd name="connsiteX146" fmla="*/ 619017 w 659812"/>
                <a:gd name="connsiteY146" fmla="*/ 525547 h 638119"/>
                <a:gd name="connsiteX147" fmla="*/ 619548 w 659812"/>
                <a:gd name="connsiteY147" fmla="*/ 530178 h 638119"/>
                <a:gd name="connsiteX148" fmla="*/ 616079 w 659812"/>
                <a:gd name="connsiteY148" fmla="*/ 535316 h 638119"/>
                <a:gd name="connsiteX149" fmla="*/ 624286 w 659812"/>
                <a:gd name="connsiteY149" fmla="*/ 536602 h 638119"/>
                <a:gd name="connsiteX150" fmla="*/ 629110 w 659812"/>
                <a:gd name="connsiteY150" fmla="*/ 540807 h 638119"/>
                <a:gd name="connsiteX151" fmla="*/ 631384 w 659812"/>
                <a:gd name="connsiteY151" fmla="*/ 544833 h 638119"/>
                <a:gd name="connsiteX152" fmla="*/ 637312 w 659812"/>
                <a:gd name="connsiteY152" fmla="*/ 544659 h 638119"/>
                <a:gd name="connsiteX153" fmla="*/ 640523 w 659812"/>
                <a:gd name="connsiteY153" fmla="*/ 547410 h 638119"/>
                <a:gd name="connsiteX154" fmla="*/ 645149 w 659812"/>
                <a:gd name="connsiteY154" fmla="*/ 549684 h 638119"/>
                <a:gd name="connsiteX155" fmla="*/ 655381 w 659812"/>
                <a:gd name="connsiteY155" fmla="*/ 556439 h 638119"/>
                <a:gd name="connsiteX156" fmla="*/ 658151 w 659812"/>
                <a:gd name="connsiteY156" fmla="*/ 559835 h 638119"/>
                <a:gd name="connsiteX157" fmla="*/ 659158 w 659812"/>
                <a:gd name="connsiteY157" fmla="*/ 561793 h 638119"/>
                <a:gd name="connsiteX158" fmla="*/ 659812 w 659812"/>
                <a:gd name="connsiteY158" fmla="*/ 563074 h 638119"/>
                <a:gd name="connsiteX159" fmla="*/ 652933 w 659812"/>
                <a:gd name="connsiteY159" fmla="*/ 568294 h 638119"/>
                <a:gd name="connsiteX160" fmla="*/ 642200 w 659812"/>
                <a:gd name="connsiteY160" fmla="*/ 576434 h 638119"/>
                <a:gd name="connsiteX161" fmla="*/ 631684 w 659812"/>
                <a:gd name="connsiteY161" fmla="*/ 584422 h 638119"/>
                <a:gd name="connsiteX162" fmla="*/ 621522 w 659812"/>
                <a:gd name="connsiteY162" fmla="*/ 589910 h 638119"/>
                <a:gd name="connsiteX163" fmla="*/ 614258 w 659812"/>
                <a:gd name="connsiteY163" fmla="*/ 592449 h 638119"/>
                <a:gd name="connsiteX164" fmla="*/ 606500 w 659812"/>
                <a:gd name="connsiteY164" fmla="*/ 593872 h 638119"/>
                <a:gd name="connsiteX165" fmla="*/ 599137 w 659812"/>
                <a:gd name="connsiteY165" fmla="*/ 597231 h 638119"/>
                <a:gd name="connsiteX166" fmla="*/ 592173 w 659812"/>
                <a:gd name="connsiteY166" fmla="*/ 602505 h 638119"/>
                <a:gd name="connsiteX167" fmla="*/ 583256 w 659812"/>
                <a:gd name="connsiteY167" fmla="*/ 605162 h 638119"/>
                <a:gd name="connsiteX168" fmla="*/ 572387 w 659812"/>
                <a:gd name="connsiteY168" fmla="*/ 605186 h 638119"/>
                <a:gd name="connsiteX169" fmla="*/ 560968 w 659812"/>
                <a:gd name="connsiteY169" fmla="*/ 608882 h 638119"/>
                <a:gd name="connsiteX170" fmla="*/ 549632 w 659812"/>
                <a:gd name="connsiteY170" fmla="*/ 615862 h 638119"/>
                <a:gd name="connsiteX171" fmla="*/ 543027 w 659812"/>
                <a:gd name="connsiteY171" fmla="*/ 619939 h 638119"/>
                <a:gd name="connsiteX172" fmla="*/ 532562 w 659812"/>
                <a:gd name="connsiteY172" fmla="*/ 613813 h 638119"/>
                <a:gd name="connsiteX173" fmla="*/ 524358 w 659812"/>
                <a:gd name="connsiteY173" fmla="*/ 611869 h 638119"/>
                <a:gd name="connsiteX174" fmla="*/ 514921 w 659812"/>
                <a:gd name="connsiteY174" fmla="*/ 612072 h 638119"/>
                <a:gd name="connsiteX175" fmla="*/ 509173 w 659812"/>
                <a:gd name="connsiteY175" fmla="*/ 612828 h 638119"/>
                <a:gd name="connsiteX176" fmla="*/ 507108 w 659812"/>
                <a:gd name="connsiteY176" fmla="*/ 614146 h 638119"/>
                <a:gd name="connsiteX177" fmla="*/ 505316 w 659812"/>
                <a:gd name="connsiteY177" fmla="*/ 617890 h 638119"/>
                <a:gd name="connsiteX178" fmla="*/ 503789 w 659812"/>
                <a:gd name="connsiteY178" fmla="*/ 624059 h 638119"/>
                <a:gd name="connsiteX179" fmla="*/ 497599 w 659812"/>
                <a:gd name="connsiteY179" fmla="*/ 629981 h 638119"/>
                <a:gd name="connsiteX180" fmla="*/ 486753 w 659812"/>
                <a:gd name="connsiteY180" fmla="*/ 635649 h 638119"/>
                <a:gd name="connsiteX181" fmla="*/ 476754 w 659812"/>
                <a:gd name="connsiteY181" fmla="*/ 637773 h 638119"/>
                <a:gd name="connsiteX182" fmla="*/ 467602 w 659812"/>
                <a:gd name="connsiteY182" fmla="*/ 636335 h 638119"/>
                <a:gd name="connsiteX183" fmla="*/ 461414 w 659812"/>
                <a:gd name="connsiteY183" fmla="*/ 633975 h 638119"/>
                <a:gd name="connsiteX184" fmla="*/ 458176 w 659812"/>
                <a:gd name="connsiteY184" fmla="*/ 630675 h 638119"/>
                <a:gd name="connsiteX185" fmla="*/ 453422 w 659812"/>
                <a:gd name="connsiteY185" fmla="*/ 629161 h 638119"/>
                <a:gd name="connsiteX186" fmla="*/ 447127 w 659812"/>
                <a:gd name="connsiteY186" fmla="*/ 629419 h 638119"/>
                <a:gd name="connsiteX187" fmla="*/ 441114 w 659812"/>
                <a:gd name="connsiteY187" fmla="*/ 631765 h 638119"/>
                <a:gd name="connsiteX188" fmla="*/ 435352 w 659812"/>
                <a:gd name="connsiteY188" fmla="*/ 636201 h 638119"/>
                <a:gd name="connsiteX189" fmla="*/ 426159 w 659812"/>
                <a:gd name="connsiteY189" fmla="*/ 638119 h 638119"/>
                <a:gd name="connsiteX190" fmla="*/ 413546 w 659812"/>
                <a:gd name="connsiteY190" fmla="*/ 637527 h 638119"/>
                <a:gd name="connsiteX191" fmla="*/ 406772 w 659812"/>
                <a:gd name="connsiteY191" fmla="*/ 635386 h 638119"/>
                <a:gd name="connsiteX192" fmla="*/ 405835 w 659812"/>
                <a:gd name="connsiteY192" fmla="*/ 631698 h 638119"/>
                <a:gd name="connsiteX193" fmla="*/ 400311 w 659812"/>
                <a:gd name="connsiteY193" fmla="*/ 627380 h 638119"/>
                <a:gd name="connsiteX194" fmla="*/ 390189 w 659812"/>
                <a:gd name="connsiteY194" fmla="*/ 622425 h 638119"/>
                <a:gd name="connsiteX195" fmla="*/ 382735 w 659812"/>
                <a:gd name="connsiteY195" fmla="*/ 622318 h 638119"/>
                <a:gd name="connsiteX196" fmla="*/ 377951 w 659812"/>
                <a:gd name="connsiteY196" fmla="*/ 627070 h 638119"/>
                <a:gd name="connsiteX197" fmla="*/ 373585 w 659812"/>
                <a:gd name="connsiteY197" fmla="*/ 630064 h 638119"/>
                <a:gd name="connsiteX198" fmla="*/ 369639 w 659812"/>
                <a:gd name="connsiteY198" fmla="*/ 631283 h 638119"/>
                <a:gd name="connsiteX199" fmla="*/ 366088 w 659812"/>
                <a:gd name="connsiteY199" fmla="*/ 631430 h 638119"/>
                <a:gd name="connsiteX200" fmla="*/ 362948 w 659812"/>
                <a:gd name="connsiteY200" fmla="*/ 630517 h 638119"/>
                <a:gd name="connsiteX201" fmla="*/ 360988 w 659812"/>
                <a:gd name="connsiteY201" fmla="*/ 630134 h 638119"/>
                <a:gd name="connsiteX202" fmla="*/ 347030 w 659812"/>
                <a:gd name="connsiteY202" fmla="*/ 629630 h 638119"/>
                <a:gd name="connsiteX203" fmla="*/ 333814 w 659812"/>
                <a:gd name="connsiteY203" fmla="*/ 629828 h 638119"/>
                <a:gd name="connsiteX204" fmla="*/ 333409 w 659812"/>
                <a:gd name="connsiteY204" fmla="*/ 627766 h 638119"/>
                <a:gd name="connsiteX205" fmla="*/ 332483 w 659812"/>
                <a:gd name="connsiteY205" fmla="*/ 622950 h 638119"/>
                <a:gd name="connsiteX206" fmla="*/ 329734 w 659812"/>
                <a:gd name="connsiteY206" fmla="*/ 618755 h 638119"/>
                <a:gd name="connsiteX207" fmla="*/ 327364 w 659812"/>
                <a:gd name="connsiteY207" fmla="*/ 616259 h 638119"/>
                <a:gd name="connsiteX208" fmla="*/ 324420 w 659812"/>
                <a:gd name="connsiteY208" fmla="*/ 615600 h 638119"/>
                <a:gd name="connsiteX209" fmla="*/ 322818 w 659812"/>
                <a:gd name="connsiteY209" fmla="*/ 615646 h 638119"/>
                <a:gd name="connsiteX210" fmla="*/ 321533 w 659812"/>
                <a:gd name="connsiteY210" fmla="*/ 613712 h 638119"/>
                <a:gd name="connsiteX211" fmla="*/ 320011 w 659812"/>
                <a:gd name="connsiteY211" fmla="*/ 609437 h 638119"/>
                <a:gd name="connsiteX212" fmla="*/ 317764 w 659812"/>
                <a:gd name="connsiteY212" fmla="*/ 605797 h 638119"/>
                <a:gd name="connsiteX213" fmla="*/ 314777 w 659812"/>
                <a:gd name="connsiteY213" fmla="*/ 602780 h 638119"/>
                <a:gd name="connsiteX214" fmla="*/ 312991 w 659812"/>
                <a:gd name="connsiteY214" fmla="*/ 599981 h 638119"/>
                <a:gd name="connsiteX215" fmla="*/ 312383 w 659812"/>
                <a:gd name="connsiteY215" fmla="*/ 597405 h 638119"/>
                <a:gd name="connsiteX216" fmla="*/ 312857 w 659812"/>
                <a:gd name="connsiteY216" fmla="*/ 594573 h 638119"/>
                <a:gd name="connsiteX217" fmla="*/ 315621 w 659812"/>
                <a:gd name="connsiteY217" fmla="*/ 587540 h 638119"/>
                <a:gd name="connsiteX218" fmla="*/ 316497 w 659812"/>
                <a:gd name="connsiteY218" fmla="*/ 582724 h 638119"/>
                <a:gd name="connsiteX219" fmla="*/ 316184 w 659812"/>
                <a:gd name="connsiteY219" fmla="*/ 577787 h 638119"/>
                <a:gd name="connsiteX220" fmla="*/ 314686 w 659812"/>
                <a:gd name="connsiteY220" fmla="*/ 572727 h 638119"/>
                <a:gd name="connsiteX221" fmla="*/ 311550 w 659812"/>
                <a:gd name="connsiteY221" fmla="*/ 566711 h 638119"/>
                <a:gd name="connsiteX222" fmla="*/ 311903 w 659812"/>
                <a:gd name="connsiteY222" fmla="*/ 564981 h 638119"/>
                <a:gd name="connsiteX223" fmla="*/ 310840 w 659812"/>
                <a:gd name="connsiteY223" fmla="*/ 560875 h 638119"/>
                <a:gd name="connsiteX224" fmla="*/ 310730 w 659812"/>
                <a:gd name="connsiteY224" fmla="*/ 558006 h 638119"/>
                <a:gd name="connsiteX225" fmla="*/ 311336 w 659812"/>
                <a:gd name="connsiteY225" fmla="*/ 554422 h 638119"/>
                <a:gd name="connsiteX226" fmla="*/ 310741 w 659812"/>
                <a:gd name="connsiteY226" fmla="*/ 549710 h 638119"/>
                <a:gd name="connsiteX227" fmla="*/ 308033 w 659812"/>
                <a:gd name="connsiteY227" fmla="*/ 539663 h 638119"/>
                <a:gd name="connsiteX228" fmla="*/ 308033 w 659812"/>
                <a:gd name="connsiteY228" fmla="*/ 537092 h 638119"/>
                <a:gd name="connsiteX229" fmla="*/ 305178 w 659812"/>
                <a:gd name="connsiteY229" fmla="*/ 532228 h 638119"/>
                <a:gd name="connsiteX230" fmla="*/ 296403 w 659812"/>
                <a:gd name="connsiteY230" fmla="*/ 520729 h 638119"/>
                <a:gd name="connsiteX231" fmla="*/ 295993 w 659812"/>
                <a:gd name="connsiteY231" fmla="*/ 519237 h 638119"/>
                <a:gd name="connsiteX232" fmla="*/ 282230 w 659812"/>
                <a:gd name="connsiteY232" fmla="*/ 507655 h 638119"/>
                <a:gd name="connsiteX233" fmla="*/ 276726 w 659812"/>
                <a:gd name="connsiteY233" fmla="*/ 505123 h 638119"/>
                <a:gd name="connsiteX234" fmla="*/ 274741 w 659812"/>
                <a:gd name="connsiteY234" fmla="*/ 507293 h 638119"/>
                <a:gd name="connsiteX235" fmla="*/ 273999 w 659812"/>
                <a:gd name="connsiteY235" fmla="*/ 509299 h 638119"/>
                <a:gd name="connsiteX236" fmla="*/ 274578 w 659812"/>
                <a:gd name="connsiteY236" fmla="*/ 513006 h 638119"/>
                <a:gd name="connsiteX237" fmla="*/ 274243 w 659812"/>
                <a:gd name="connsiteY237" fmla="*/ 514852 h 638119"/>
                <a:gd name="connsiteX238" fmla="*/ 273664 w 659812"/>
                <a:gd name="connsiteY238" fmla="*/ 515685 h 638119"/>
                <a:gd name="connsiteX239" fmla="*/ 270402 w 659812"/>
                <a:gd name="connsiteY239" fmla="*/ 515564 h 638119"/>
                <a:gd name="connsiteX240" fmla="*/ 268350 w 659812"/>
                <a:gd name="connsiteY240" fmla="*/ 515136 h 638119"/>
                <a:gd name="connsiteX241" fmla="*/ 263138 w 659812"/>
                <a:gd name="connsiteY241" fmla="*/ 512026 h 638119"/>
                <a:gd name="connsiteX242" fmla="*/ 259077 w 659812"/>
                <a:gd name="connsiteY242" fmla="*/ 511263 h 638119"/>
                <a:gd name="connsiteX243" fmla="*/ 249003 w 659812"/>
                <a:gd name="connsiteY243" fmla="*/ 511822 h 638119"/>
                <a:gd name="connsiteX244" fmla="*/ 245462 w 659812"/>
                <a:gd name="connsiteY244" fmla="*/ 512551 h 638119"/>
                <a:gd name="connsiteX245" fmla="*/ 242687 w 659812"/>
                <a:gd name="connsiteY245" fmla="*/ 511852 h 638119"/>
                <a:gd name="connsiteX246" fmla="*/ 237354 w 659812"/>
                <a:gd name="connsiteY246" fmla="*/ 506540 h 638119"/>
                <a:gd name="connsiteX247" fmla="*/ 231100 w 659812"/>
                <a:gd name="connsiteY247" fmla="*/ 505426 h 638119"/>
                <a:gd name="connsiteX248" fmla="*/ 225486 w 659812"/>
                <a:gd name="connsiteY248" fmla="*/ 505153 h 638119"/>
                <a:gd name="connsiteX249" fmla="*/ 216218 w 659812"/>
                <a:gd name="connsiteY249" fmla="*/ 499123 h 638119"/>
                <a:gd name="connsiteX250" fmla="*/ 214043 w 659812"/>
                <a:gd name="connsiteY250" fmla="*/ 499405 h 638119"/>
                <a:gd name="connsiteX251" fmla="*/ 213014 w 659812"/>
                <a:gd name="connsiteY251" fmla="*/ 499865 h 638119"/>
                <a:gd name="connsiteX252" fmla="*/ 209658 w 659812"/>
                <a:gd name="connsiteY252" fmla="*/ 498280 h 638119"/>
                <a:gd name="connsiteX253" fmla="*/ 203342 w 659812"/>
                <a:gd name="connsiteY253" fmla="*/ 494779 h 638119"/>
                <a:gd name="connsiteX254" fmla="*/ 194564 w 659812"/>
                <a:gd name="connsiteY254" fmla="*/ 491685 h 638119"/>
                <a:gd name="connsiteX255" fmla="*/ 187381 w 659812"/>
                <a:gd name="connsiteY255" fmla="*/ 488232 h 638119"/>
                <a:gd name="connsiteX256" fmla="*/ 184185 w 659812"/>
                <a:gd name="connsiteY256" fmla="*/ 484868 h 638119"/>
                <a:gd name="connsiteX257" fmla="*/ 177443 w 659812"/>
                <a:gd name="connsiteY257" fmla="*/ 483585 h 638119"/>
                <a:gd name="connsiteX258" fmla="*/ 171612 w 659812"/>
                <a:gd name="connsiteY258" fmla="*/ 483031 h 638119"/>
                <a:gd name="connsiteX259" fmla="*/ 166215 w 659812"/>
                <a:gd name="connsiteY259" fmla="*/ 479913 h 638119"/>
                <a:gd name="connsiteX260" fmla="*/ 160622 w 659812"/>
                <a:gd name="connsiteY260" fmla="*/ 479557 h 638119"/>
                <a:gd name="connsiteX261" fmla="*/ 155128 w 659812"/>
                <a:gd name="connsiteY261" fmla="*/ 478758 h 638119"/>
                <a:gd name="connsiteX262" fmla="*/ 153901 w 659812"/>
                <a:gd name="connsiteY262" fmla="*/ 476693 h 638119"/>
                <a:gd name="connsiteX263" fmla="*/ 153711 w 659812"/>
                <a:gd name="connsiteY263" fmla="*/ 472083 h 638119"/>
                <a:gd name="connsiteX264" fmla="*/ 151785 w 659812"/>
                <a:gd name="connsiteY264" fmla="*/ 470875 h 638119"/>
                <a:gd name="connsiteX265" fmla="*/ 147754 w 659812"/>
                <a:gd name="connsiteY265" fmla="*/ 469700 h 638119"/>
                <a:gd name="connsiteX266" fmla="*/ 143410 w 659812"/>
                <a:gd name="connsiteY266" fmla="*/ 469756 h 638119"/>
                <a:gd name="connsiteX267" fmla="*/ 140760 w 659812"/>
                <a:gd name="connsiteY267" fmla="*/ 470420 h 638119"/>
                <a:gd name="connsiteX268" fmla="*/ 139199 w 659812"/>
                <a:gd name="connsiteY268" fmla="*/ 470088 h 638119"/>
                <a:gd name="connsiteX269" fmla="*/ 135596 w 659812"/>
                <a:gd name="connsiteY269" fmla="*/ 467372 h 638119"/>
                <a:gd name="connsiteX270" fmla="*/ 132245 w 659812"/>
                <a:gd name="connsiteY270" fmla="*/ 463922 h 638119"/>
                <a:gd name="connsiteX271" fmla="*/ 130981 w 659812"/>
                <a:gd name="connsiteY271" fmla="*/ 458420 h 638119"/>
                <a:gd name="connsiteX272" fmla="*/ 125908 w 659812"/>
                <a:gd name="connsiteY272" fmla="*/ 454879 h 638119"/>
                <a:gd name="connsiteX273" fmla="*/ 120066 w 659812"/>
                <a:gd name="connsiteY273" fmla="*/ 452083 h 638119"/>
                <a:gd name="connsiteX274" fmla="*/ 103823 w 659812"/>
                <a:gd name="connsiteY274" fmla="*/ 452372 h 638119"/>
                <a:gd name="connsiteX275" fmla="*/ 101279 w 659812"/>
                <a:gd name="connsiteY275" fmla="*/ 451523 h 638119"/>
                <a:gd name="connsiteX276" fmla="*/ 97427 w 659812"/>
                <a:gd name="connsiteY276" fmla="*/ 448737 h 638119"/>
                <a:gd name="connsiteX277" fmla="*/ 92903 w 659812"/>
                <a:gd name="connsiteY277" fmla="*/ 444130 h 638119"/>
                <a:gd name="connsiteX278" fmla="*/ 89271 w 659812"/>
                <a:gd name="connsiteY278" fmla="*/ 438872 h 638119"/>
                <a:gd name="connsiteX279" fmla="*/ 86078 w 659812"/>
                <a:gd name="connsiteY279" fmla="*/ 431731 h 638119"/>
                <a:gd name="connsiteX280" fmla="*/ 84562 w 659812"/>
                <a:gd name="connsiteY280" fmla="*/ 427429 h 638119"/>
                <a:gd name="connsiteX281" fmla="*/ 82770 w 659812"/>
                <a:gd name="connsiteY281" fmla="*/ 422107 h 638119"/>
                <a:gd name="connsiteX282" fmla="*/ 78795 w 659812"/>
                <a:gd name="connsiteY282" fmla="*/ 414152 h 638119"/>
                <a:gd name="connsiteX283" fmla="*/ 73173 w 659812"/>
                <a:gd name="connsiteY283" fmla="*/ 402891 h 638119"/>
                <a:gd name="connsiteX284" fmla="*/ 68836 w 659812"/>
                <a:gd name="connsiteY284" fmla="*/ 393669 h 638119"/>
                <a:gd name="connsiteX285" fmla="*/ 64162 w 659812"/>
                <a:gd name="connsiteY285" fmla="*/ 383753 h 638119"/>
                <a:gd name="connsiteX286" fmla="*/ 62252 w 659812"/>
                <a:gd name="connsiteY286" fmla="*/ 376489 h 638119"/>
                <a:gd name="connsiteX287" fmla="*/ 58620 w 659812"/>
                <a:gd name="connsiteY287" fmla="*/ 368456 h 638119"/>
                <a:gd name="connsiteX288" fmla="*/ 52668 w 659812"/>
                <a:gd name="connsiteY288" fmla="*/ 358585 h 638119"/>
                <a:gd name="connsiteX289" fmla="*/ 49655 w 659812"/>
                <a:gd name="connsiteY289" fmla="*/ 354726 h 638119"/>
                <a:gd name="connsiteX290" fmla="*/ 46366 w 659812"/>
                <a:gd name="connsiteY290" fmla="*/ 351276 h 638119"/>
                <a:gd name="connsiteX291" fmla="*/ 37811 w 659812"/>
                <a:gd name="connsiteY291" fmla="*/ 344614 h 638119"/>
                <a:gd name="connsiteX292" fmla="*/ 28117 w 659812"/>
                <a:gd name="connsiteY292" fmla="*/ 337998 h 638119"/>
                <a:gd name="connsiteX293" fmla="*/ 22875 w 659812"/>
                <a:gd name="connsiteY293" fmla="*/ 333536 h 638119"/>
                <a:gd name="connsiteX294" fmla="*/ 15825 w 659812"/>
                <a:gd name="connsiteY294" fmla="*/ 320306 h 638119"/>
                <a:gd name="connsiteX295" fmla="*/ 12876 w 659812"/>
                <a:gd name="connsiteY295" fmla="*/ 315514 h 638119"/>
                <a:gd name="connsiteX296" fmla="*/ 10830 w 659812"/>
                <a:gd name="connsiteY296" fmla="*/ 307085 h 638119"/>
                <a:gd name="connsiteX297" fmla="*/ 9279 w 659812"/>
                <a:gd name="connsiteY297" fmla="*/ 298342 h 638119"/>
                <a:gd name="connsiteX298" fmla="*/ 9914 w 659812"/>
                <a:gd name="connsiteY298" fmla="*/ 294801 h 638119"/>
                <a:gd name="connsiteX299" fmla="*/ 16168 w 659812"/>
                <a:gd name="connsiteY299" fmla="*/ 283543 h 638119"/>
                <a:gd name="connsiteX300" fmla="*/ 16797 w 659812"/>
                <a:gd name="connsiteY300" fmla="*/ 280374 h 638119"/>
                <a:gd name="connsiteX301" fmla="*/ 16034 w 659812"/>
                <a:gd name="connsiteY301" fmla="*/ 276105 h 638119"/>
                <a:gd name="connsiteX302" fmla="*/ 12967 w 659812"/>
                <a:gd name="connsiteY302" fmla="*/ 267134 h 638119"/>
                <a:gd name="connsiteX303" fmla="*/ 10677 w 659812"/>
                <a:gd name="connsiteY303" fmla="*/ 261263 h 638119"/>
                <a:gd name="connsiteX304" fmla="*/ 9064 w 659812"/>
                <a:gd name="connsiteY304" fmla="*/ 256254 h 638119"/>
                <a:gd name="connsiteX305" fmla="*/ 5727 w 659812"/>
                <a:gd name="connsiteY305" fmla="*/ 247913 h 638119"/>
                <a:gd name="connsiteX306" fmla="*/ 1147 w 659812"/>
                <a:gd name="connsiteY306" fmla="*/ 236449 h 638119"/>
                <a:gd name="connsiteX307" fmla="*/ 0 w 659812"/>
                <a:gd name="connsiteY307" fmla="*/ 231445 h 638119"/>
                <a:gd name="connsiteX308" fmla="*/ 134 w 659812"/>
                <a:gd name="connsiteY308" fmla="*/ 227695 h 638119"/>
                <a:gd name="connsiteX309" fmla="*/ 2615 w 659812"/>
                <a:gd name="connsiteY309" fmla="*/ 217796 h 638119"/>
                <a:gd name="connsiteX310" fmla="*/ 4784 w 659812"/>
                <a:gd name="connsiteY310" fmla="*/ 207577 h 638119"/>
                <a:gd name="connsiteX311" fmla="*/ 4725 w 659812"/>
                <a:gd name="connsiteY311" fmla="*/ 204764 h 638119"/>
                <a:gd name="connsiteX312" fmla="*/ 23357 w 659812"/>
                <a:gd name="connsiteY312" fmla="*/ 205153 h 638119"/>
                <a:gd name="connsiteX313" fmla="*/ 26421 w 659812"/>
                <a:gd name="connsiteY313" fmla="*/ 202911 h 638119"/>
                <a:gd name="connsiteX314" fmla="*/ 36948 w 659812"/>
                <a:gd name="connsiteY314" fmla="*/ 196340 h 638119"/>
                <a:gd name="connsiteX315" fmla="*/ 48790 w 659812"/>
                <a:gd name="connsiteY315" fmla="*/ 183170 h 638119"/>
                <a:gd name="connsiteX316" fmla="*/ 51155 w 659812"/>
                <a:gd name="connsiteY316" fmla="*/ 177684 h 638119"/>
                <a:gd name="connsiteX317" fmla="*/ 55979 w 659812"/>
                <a:gd name="connsiteY317" fmla="*/ 169239 h 638119"/>
                <a:gd name="connsiteX318" fmla="*/ 60709 w 659812"/>
                <a:gd name="connsiteY318" fmla="*/ 165044 h 638119"/>
                <a:gd name="connsiteX319" fmla="*/ 62526 w 659812"/>
                <a:gd name="connsiteY319" fmla="*/ 162138 h 638119"/>
                <a:gd name="connsiteX320" fmla="*/ 63763 w 659812"/>
                <a:gd name="connsiteY320" fmla="*/ 157579 h 638119"/>
                <a:gd name="connsiteX321" fmla="*/ 65244 w 659812"/>
                <a:gd name="connsiteY321" fmla="*/ 153722 h 638119"/>
                <a:gd name="connsiteX322" fmla="*/ 71456 w 659812"/>
                <a:gd name="connsiteY322" fmla="*/ 148006 h 638119"/>
                <a:gd name="connsiteX323" fmla="*/ 77501 w 659812"/>
                <a:gd name="connsiteY323" fmla="*/ 143629 h 638119"/>
                <a:gd name="connsiteX324" fmla="*/ 77067 w 659812"/>
                <a:gd name="connsiteY324" fmla="*/ 141851 h 638119"/>
                <a:gd name="connsiteX325" fmla="*/ 76256 w 659812"/>
                <a:gd name="connsiteY325" fmla="*/ 140530 h 638119"/>
                <a:gd name="connsiteX326" fmla="*/ 77153 w 659812"/>
                <a:gd name="connsiteY326" fmla="*/ 139400 h 638119"/>
                <a:gd name="connsiteX327" fmla="*/ 80456 w 659812"/>
                <a:gd name="connsiteY327" fmla="*/ 137147 h 638119"/>
                <a:gd name="connsiteX328" fmla="*/ 86876 w 659812"/>
                <a:gd name="connsiteY328" fmla="*/ 135087 h 638119"/>
                <a:gd name="connsiteX329" fmla="*/ 88130 w 659812"/>
                <a:gd name="connsiteY329" fmla="*/ 130697 h 638119"/>
                <a:gd name="connsiteX330" fmla="*/ 88114 w 659812"/>
                <a:gd name="connsiteY330" fmla="*/ 125707 h 638119"/>
                <a:gd name="connsiteX331" fmla="*/ 87074 w 659812"/>
                <a:gd name="connsiteY331" fmla="*/ 122919 h 638119"/>
                <a:gd name="connsiteX332" fmla="*/ 87270 w 659812"/>
                <a:gd name="connsiteY332" fmla="*/ 119705 h 638119"/>
                <a:gd name="connsiteX333" fmla="*/ 86287 w 659812"/>
                <a:gd name="connsiteY333" fmla="*/ 117910 h 638119"/>
                <a:gd name="connsiteX334" fmla="*/ 82092 w 659812"/>
                <a:gd name="connsiteY334" fmla="*/ 117457 h 638119"/>
                <a:gd name="connsiteX335" fmla="*/ 75865 w 659812"/>
                <a:gd name="connsiteY335" fmla="*/ 114969 h 638119"/>
                <a:gd name="connsiteX336" fmla="*/ 70577 w 659812"/>
                <a:gd name="connsiteY336" fmla="*/ 113921 h 638119"/>
                <a:gd name="connsiteX337" fmla="*/ 67055 w 659812"/>
                <a:gd name="connsiteY337" fmla="*/ 112475 h 638119"/>
                <a:gd name="connsiteX338" fmla="*/ 65748 w 659812"/>
                <a:gd name="connsiteY338" fmla="*/ 111369 h 638119"/>
                <a:gd name="connsiteX339" fmla="*/ 65185 w 659812"/>
                <a:gd name="connsiteY339" fmla="*/ 108374 h 638119"/>
                <a:gd name="connsiteX340" fmla="*/ 66211 w 659812"/>
                <a:gd name="connsiteY340" fmla="*/ 105117 h 638119"/>
                <a:gd name="connsiteX341" fmla="*/ 66755 w 659812"/>
                <a:gd name="connsiteY341" fmla="*/ 104180 h 638119"/>
                <a:gd name="connsiteX342" fmla="*/ 68108 w 659812"/>
                <a:gd name="connsiteY342" fmla="*/ 100689 h 638119"/>
                <a:gd name="connsiteX343" fmla="*/ 65799 w 659812"/>
                <a:gd name="connsiteY343" fmla="*/ 98587 h 638119"/>
                <a:gd name="connsiteX344" fmla="*/ 65199 w 659812"/>
                <a:gd name="connsiteY344" fmla="*/ 97564 h 638119"/>
                <a:gd name="connsiteX345" fmla="*/ 66251 w 659812"/>
                <a:gd name="connsiteY345" fmla="*/ 95895 h 638119"/>
                <a:gd name="connsiteX346" fmla="*/ 71681 w 659812"/>
                <a:gd name="connsiteY346" fmla="*/ 84800 h 638119"/>
                <a:gd name="connsiteX347" fmla="*/ 72862 w 659812"/>
                <a:gd name="connsiteY347" fmla="*/ 83249 h 638119"/>
                <a:gd name="connsiteX348" fmla="*/ 75216 w 659812"/>
                <a:gd name="connsiteY348" fmla="*/ 83054 h 638119"/>
                <a:gd name="connsiteX349" fmla="*/ 78964 w 659812"/>
                <a:gd name="connsiteY349" fmla="*/ 81693 h 638119"/>
                <a:gd name="connsiteX350" fmla="*/ 82411 w 659812"/>
                <a:gd name="connsiteY350" fmla="*/ 81080 h 638119"/>
                <a:gd name="connsiteX351" fmla="*/ 85234 w 659812"/>
                <a:gd name="connsiteY351" fmla="*/ 81567 h 638119"/>
                <a:gd name="connsiteX352" fmla="*/ 87315 w 659812"/>
                <a:gd name="connsiteY352" fmla="*/ 81034 h 638119"/>
                <a:gd name="connsiteX353" fmla="*/ 89156 w 659812"/>
                <a:gd name="connsiteY353" fmla="*/ 79599 h 638119"/>
                <a:gd name="connsiteX354" fmla="*/ 90712 w 659812"/>
                <a:gd name="connsiteY354" fmla="*/ 75270 h 638119"/>
                <a:gd name="connsiteX355" fmla="*/ 91990 w 659812"/>
                <a:gd name="connsiteY355" fmla="*/ 68035 h 638119"/>
                <a:gd name="connsiteX356" fmla="*/ 91285 w 659812"/>
                <a:gd name="connsiteY356" fmla="*/ 62150 h 638119"/>
                <a:gd name="connsiteX357" fmla="*/ 88588 w 659812"/>
                <a:gd name="connsiteY357" fmla="*/ 57616 h 638119"/>
                <a:gd name="connsiteX358" fmla="*/ 87854 w 659812"/>
                <a:gd name="connsiteY358" fmla="*/ 50694 h 638119"/>
                <a:gd name="connsiteX359" fmla="*/ 89086 w 659812"/>
                <a:gd name="connsiteY359" fmla="*/ 41392 h 638119"/>
                <a:gd name="connsiteX360" fmla="*/ 88199 w 659812"/>
                <a:gd name="connsiteY360" fmla="*/ 33656 h 638119"/>
                <a:gd name="connsiteX361" fmla="*/ 85215 w 659812"/>
                <a:gd name="connsiteY361" fmla="*/ 27471 h 638119"/>
                <a:gd name="connsiteX362" fmla="*/ 82167 w 659812"/>
                <a:gd name="connsiteY362" fmla="*/ 23804 h 638119"/>
                <a:gd name="connsiteX363" fmla="*/ 77501 w 659812"/>
                <a:gd name="connsiteY363" fmla="*/ 22069 h 638119"/>
                <a:gd name="connsiteX364" fmla="*/ 70167 w 659812"/>
                <a:gd name="connsiteY364" fmla="*/ 12632 h 638119"/>
                <a:gd name="connsiteX365" fmla="*/ 67923 w 659812"/>
                <a:gd name="connsiteY365" fmla="*/ 8068 h 638119"/>
                <a:gd name="connsiteX366" fmla="*/ 68327 w 659812"/>
                <a:gd name="connsiteY366" fmla="*/ 5218 h 638119"/>
                <a:gd name="connsiteX367" fmla="*/ 70277 w 659812"/>
                <a:gd name="connsiteY367" fmla="*/ 4286 h 638119"/>
                <a:gd name="connsiteX368" fmla="*/ 70867 w 659812"/>
                <a:gd name="connsiteY368" fmla="*/ 4002 h 638119"/>
                <a:gd name="connsiteX369" fmla="*/ 75533 w 659812"/>
                <a:gd name="connsiteY369" fmla="*/ 4430 h 638119"/>
                <a:gd name="connsiteX370" fmla="*/ 79917 w 659812"/>
                <a:gd name="connsiteY370" fmla="*/ 3343 h 638119"/>
                <a:gd name="connsiteX371" fmla="*/ 84018 w 659812"/>
                <a:gd name="connsiteY371" fmla="*/ 745 h 6381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</a:cxnLst>
              <a:rect l="l" t="t" r="r" b="b"/>
              <a:pathLst>
                <a:path w="659812" h="638119">
                  <a:moveTo>
                    <a:pt x="626855" y="394984"/>
                  </a:moveTo>
                  <a:lnTo>
                    <a:pt x="626297" y="399685"/>
                  </a:lnTo>
                  <a:lnTo>
                    <a:pt x="621956" y="409965"/>
                  </a:lnTo>
                  <a:lnTo>
                    <a:pt x="618249" y="410635"/>
                  </a:lnTo>
                  <a:lnTo>
                    <a:pt x="615257" y="414540"/>
                  </a:lnTo>
                  <a:lnTo>
                    <a:pt x="612053" y="415320"/>
                  </a:lnTo>
                  <a:lnTo>
                    <a:pt x="610805" y="414564"/>
                  </a:lnTo>
                  <a:lnTo>
                    <a:pt x="608836" y="412079"/>
                  </a:lnTo>
                  <a:lnTo>
                    <a:pt x="612254" y="409960"/>
                  </a:lnTo>
                  <a:lnTo>
                    <a:pt x="615570" y="405846"/>
                  </a:lnTo>
                  <a:lnTo>
                    <a:pt x="623268" y="399814"/>
                  </a:lnTo>
                  <a:lnTo>
                    <a:pt x="625893" y="395833"/>
                  </a:lnTo>
                  <a:close/>
                  <a:moveTo>
                    <a:pt x="591425" y="280334"/>
                  </a:moveTo>
                  <a:lnTo>
                    <a:pt x="594283" y="285657"/>
                  </a:lnTo>
                  <a:lnTo>
                    <a:pt x="594937" y="293955"/>
                  </a:lnTo>
                  <a:lnTo>
                    <a:pt x="598791" y="303718"/>
                  </a:lnTo>
                  <a:lnTo>
                    <a:pt x="602021" y="306737"/>
                  </a:lnTo>
                  <a:lnTo>
                    <a:pt x="602533" y="307235"/>
                  </a:lnTo>
                  <a:lnTo>
                    <a:pt x="607068" y="319889"/>
                  </a:lnTo>
                  <a:lnTo>
                    <a:pt x="606481" y="322257"/>
                  </a:lnTo>
                  <a:lnTo>
                    <a:pt x="603283" y="323708"/>
                  </a:lnTo>
                  <a:lnTo>
                    <a:pt x="601611" y="323832"/>
                  </a:lnTo>
                  <a:lnTo>
                    <a:pt x="599621" y="321812"/>
                  </a:lnTo>
                  <a:lnTo>
                    <a:pt x="598218" y="317537"/>
                  </a:lnTo>
                  <a:lnTo>
                    <a:pt x="595788" y="318552"/>
                  </a:lnTo>
                  <a:lnTo>
                    <a:pt x="591647" y="313449"/>
                  </a:lnTo>
                  <a:lnTo>
                    <a:pt x="587547" y="313206"/>
                  </a:lnTo>
                  <a:lnTo>
                    <a:pt x="583925" y="307115"/>
                  </a:lnTo>
                  <a:lnTo>
                    <a:pt x="585342" y="301803"/>
                  </a:lnTo>
                  <a:lnTo>
                    <a:pt x="584520" y="292760"/>
                  </a:lnTo>
                  <a:lnTo>
                    <a:pt x="588939" y="288126"/>
                  </a:lnTo>
                  <a:close/>
                  <a:moveTo>
                    <a:pt x="624361" y="231882"/>
                  </a:moveTo>
                  <a:lnTo>
                    <a:pt x="624715" y="234874"/>
                  </a:lnTo>
                  <a:lnTo>
                    <a:pt x="623807" y="237689"/>
                  </a:lnTo>
                  <a:lnTo>
                    <a:pt x="624002" y="246668"/>
                  </a:lnTo>
                  <a:lnTo>
                    <a:pt x="623649" y="252622"/>
                  </a:lnTo>
                  <a:lnTo>
                    <a:pt x="620265" y="260878"/>
                  </a:lnTo>
                  <a:lnTo>
                    <a:pt x="617507" y="263811"/>
                  </a:lnTo>
                  <a:lnTo>
                    <a:pt x="615037" y="262959"/>
                  </a:lnTo>
                  <a:lnTo>
                    <a:pt x="613015" y="261601"/>
                  </a:lnTo>
                  <a:lnTo>
                    <a:pt x="611434" y="259340"/>
                  </a:lnTo>
                  <a:lnTo>
                    <a:pt x="614651" y="244201"/>
                  </a:lnTo>
                  <a:lnTo>
                    <a:pt x="613015" y="233122"/>
                  </a:lnTo>
                  <a:lnTo>
                    <a:pt x="619371" y="234183"/>
                  </a:lnTo>
                  <a:close/>
                  <a:moveTo>
                    <a:pt x="87998" y="0"/>
                  </a:moveTo>
                  <a:lnTo>
                    <a:pt x="88856" y="241"/>
                  </a:lnTo>
                  <a:lnTo>
                    <a:pt x="90104" y="421"/>
                  </a:lnTo>
                  <a:lnTo>
                    <a:pt x="96321" y="421"/>
                  </a:lnTo>
                  <a:lnTo>
                    <a:pt x="106853" y="421"/>
                  </a:lnTo>
                  <a:lnTo>
                    <a:pt x="117382" y="421"/>
                  </a:lnTo>
                  <a:lnTo>
                    <a:pt x="127914" y="421"/>
                  </a:lnTo>
                  <a:lnTo>
                    <a:pt x="138441" y="421"/>
                  </a:lnTo>
                  <a:lnTo>
                    <a:pt x="148968" y="421"/>
                  </a:lnTo>
                  <a:lnTo>
                    <a:pt x="159500" y="421"/>
                  </a:lnTo>
                  <a:lnTo>
                    <a:pt x="170026" y="421"/>
                  </a:lnTo>
                  <a:lnTo>
                    <a:pt x="180553" y="421"/>
                  </a:lnTo>
                  <a:lnTo>
                    <a:pt x="191088" y="421"/>
                  </a:lnTo>
                  <a:lnTo>
                    <a:pt x="201614" y="421"/>
                  </a:lnTo>
                  <a:lnTo>
                    <a:pt x="212141" y="421"/>
                  </a:lnTo>
                  <a:lnTo>
                    <a:pt x="222673" y="421"/>
                  </a:lnTo>
                  <a:lnTo>
                    <a:pt x="233200" y="421"/>
                  </a:lnTo>
                  <a:lnTo>
                    <a:pt x="243726" y="421"/>
                  </a:lnTo>
                  <a:lnTo>
                    <a:pt x="254261" y="421"/>
                  </a:lnTo>
                  <a:lnTo>
                    <a:pt x="264788" y="421"/>
                  </a:lnTo>
                  <a:lnTo>
                    <a:pt x="271254" y="421"/>
                  </a:lnTo>
                  <a:lnTo>
                    <a:pt x="275764" y="421"/>
                  </a:lnTo>
                  <a:lnTo>
                    <a:pt x="280039" y="2660"/>
                  </a:lnTo>
                  <a:lnTo>
                    <a:pt x="284783" y="5309"/>
                  </a:lnTo>
                  <a:lnTo>
                    <a:pt x="297402" y="12362"/>
                  </a:lnTo>
                  <a:lnTo>
                    <a:pt x="310031" y="19406"/>
                  </a:lnTo>
                  <a:lnTo>
                    <a:pt x="322655" y="26459"/>
                  </a:lnTo>
                  <a:lnTo>
                    <a:pt x="335282" y="33506"/>
                  </a:lnTo>
                  <a:lnTo>
                    <a:pt x="347908" y="40559"/>
                  </a:lnTo>
                  <a:lnTo>
                    <a:pt x="360530" y="47611"/>
                  </a:lnTo>
                  <a:lnTo>
                    <a:pt x="373156" y="54659"/>
                  </a:lnTo>
                  <a:lnTo>
                    <a:pt x="385783" y="61711"/>
                  </a:lnTo>
                  <a:lnTo>
                    <a:pt x="398402" y="68766"/>
                  </a:lnTo>
                  <a:lnTo>
                    <a:pt x="411023" y="75814"/>
                  </a:lnTo>
                  <a:lnTo>
                    <a:pt x="423658" y="82864"/>
                  </a:lnTo>
                  <a:lnTo>
                    <a:pt x="436276" y="89916"/>
                  </a:lnTo>
                  <a:lnTo>
                    <a:pt x="448903" y="96972"/>
                  </a:lnTo>
                  <a:lnTo>
                    <a:pt x="461530" y="104022"/>
                  </a:lnTo>
                  <a:lnTo>
                    <a:pt x="474156" y="111079"/>
                  </a:lnTo>
                  <a:lnTo>
                    <a:pt x="486783" y="118130"/>
                  </a:lnTo>
                  <a:lnTo>
                    <a:pt x="492804" y="121499"/>
                  </a:lnTo>
                  <a:lnTo>
                    <a:pt x="493712" y="122959"/>
                  </a:lnTo>
                  <a:lnTo>
                    <a:pt x="494760" y="129385"/>
                  </a:lnTo>
                  <a:lnTo>
                    <a:pt x="495419" y="133403"/>
                  </a:lnTo>
                  <a:lnTo>
                    <a:pt x="495054" y="136936"/>
                  </a:lnTo>
                  <a:lnTo>
                    <a:pt x="491711" y="142952"/>
                  </a:lnTo>
                  <a:lnTo>
                    <a:pt x="490723" y="146096"/>
                  </a:lnTo>
                  <a:lnTo>
                    <a:pt x="490694" y="148279"/>
                  </a:lnTo>
                  <a:lnTo>
                    <a:pt x="491513" y="149136"/>
                  </a:lnTo>
                  <a:lnTo>
                    <a:pt x="494361" y="149447"/>
                  </a:lnTo>
                  <a:lnTo>
                    <a:pt x="496785" y="150872"/>
                  </a:lnTo>
                  <a:lnTo>
                    <a:pt x="497679" y="151994"/>
                  </a:lnTo>
                  <a:lnTo>
                    <a:pt x="499530" y="156524"/>
                  </a:lnTo>
                  <a:lnTo>
                    <a:pt x="501890" y="158795"/>
                  </a:lnTo>
                  <a:lnTo>
                    <a:pt x="507223" y="162642"/>
                  </a:lnTo>
                  <a:lnTo>
                    <a:pt x="516317" y="169199"/>
                  </a:lnTo>
                  <a:lnTo>
                    <a:pt x="525410" y="175753"/>
                  </a:lnTo>
                  <a:lnTo>
                    <a:pt x="534501" y="182313"/>
                  </a:lnTo>
                  <a:lnTo>
                    <a:pt x="543592" y="188870"/>
                  </a:lnTo>
                  <a:lnTo>
                    <a:pt x="552686" y="195424"/>
                  </a:lnTo>
                  <a:lnTo>
                    <a:pt x="561779" y="201984"/>
                  </a:lnTo>
                  <a:lnTo>
                    <a:pt x="570870" y="208544"/>
                  </a:lnTo>
                  <a:lnTo>
                    <a:pt x="579964" y="215104"/>
                  </a:lnTo>
                  <a:lnTo>
                    <a:pt x="584389" y="218294"/>
                  </a:lnTo>
                  <a:lnTo>
                    <a:pt x="586261" y="219191"/>
                  </a:lnTo>
                  <a:lnTo>
                    <a:pt x="585083" y="224181"/>
                  </a:lnTo>
                  <a:lnTo>
                    <a:pt x="580425" y="236294"/>
                  </a:lnTo>
                  <a:lnTo>
                    <a:pt x="580160" y="241337"/>
                  </a:lnTo>
                  <a:lnTo>
                    <a:pt x="578338" y="247276"/>
                  </a:lnTo>
                  <a:lnTo>
                    <a:pt x="576578" y="251202"/>
                  </a:lnTo>
                  <a:lnTo>
                    <a:pt x="571837" y="268249"/>
                  </a:lnTo>
                  <a:lnTo>
                    <a:pt x="567857" y="274629"/>
                  </a:lnTo>
                  <a:lnTo>
                    <a:pt x="562420" y="289583"/>
                  </a:lnTo>
                  <a:lnTo>
                    <a:pt x="561560" y="301023"/>
                  </a:lnTo>
                  <a:lnTo>
                    <a:pt x="564554" y="309035"/>
                  </a:lnTo>
                  <a:lnTo>
                    <a:pt x="565666" y="316548"/>
                  </a:lnTo>
                  <a:lnTo>
                    <a:pt x="572028" y="323912"/>
                  </a:lnTo>
                  <a:lnTo>
                    <a:pt x="577117" y="326542"/>
                  </a:lnTo>
                  <a:lnTo>
                    <a:pt x="580559" y="329912"/>
                  </a:lnTo>
                  <a:lnTo>
                    <a:pt x="586655" y="337602"/>
                  </a:lnTo>
                  <a:lnTo>
                    <a:pt x="590143" y="345319"/>
                  </a:lnTo>
                  <a:lnTo>
                    <a:pt x="601103" y="349106"/>
                  </a:lnTo>
                  <a:lnTo>
                    <a:pt x="605472" y="357760"/>
                  </a:lnTo>
                  <a:lnTo>
                    <a:pt x="603881" y="363717"/>
                  </a:lnTo>
                  <a:lnTo>
                    <a:pt x="598797" y="368654"/>
                  </a:lnTo>
                  <a:lnTo>
                    <a:pt x="594043" y="376652"/>
                  </a:lnTo>
                  <a:lnTo>
                    <a:pt x="590212" y="387160"/>
                  </a:lnTo>
                  <a:lnTo>
                    <a:pt x="590127" y="403234"/>
                  </a:lnTo>
                  <a:lnTo>
                    <a:pt x="592701" y="400791"/>
                  </a:lnTo>
                  <a:lnTo>
                    <a:pt x="598500" y="404729"/>
                  </a:lnTo>
                  <a:lnTo>
                    <a:pt x="599247" y="416573"/>
                  </a:lnTo>
                  <a:lnTo>
                    <a:pt x="593266" y="430362"/>
                  </a:lnTo>
                  <a:lnTo>
                    <a:pt x="591426" y="436810"/>
                  </a:lnTo>
                  <a:lnTo>
                    <a:pt x="591131" y="442349"/>
                  </a:lnTo>
                  <a:lnTo>
                    <a:pt x="595476" y="458870"/>
                  </a:lnTo>
                  <a:lnTo>
                    <a:pt x="602051" y="467286"/>
                  </a:lnTo>
                  <a:lnTo>
                    <a:pt x="601561" y="469919"/>
                  </a:lnTo>
                  <a:lnTo>
                    <a:pt x="599855" y="472129"/>
                  </a:lnTo>
                  <a:lnTo>
                    <a:pt x="611110" y="487027"/>
                  </a:lnTo>
                  <a:lnTo>
                    <a:pt x="610173" y="499989"/>
                  </a:lnTo>
                  <a:lnTo>
                    <a:pt x="614389" y="510084"/>
                  </a:lnTo>
                  <a:lnTo>
                    <a:pt x="616240" y="518832"/>
                  </a:lnTo>
                  <a:lnTo>
                    <a:pt x="619017" y="525547"/>
                  </a:lnTo>
                  <a:lnTo>
                    <a:pt x="619548" y="530178"/>
                  </a:lnTo>
                  <a:lnTo>
                    <a:pt x="616079" y="535316"/>
                  </a:lnTo>
                  <a:lnTo>
                    <a:pt x="624286" y="536602"/>
                  </a:lnTo>
                  <a:lnTo>
                    <a:pt x="629110" y="540807"/>
                  </a:lnTo>
                  <a:lnTo>
                    <a:pt x="631384" y="544833"/>
                  </a:lnTo>
                  <a:lnTo>
                    <a:pt x="637312" y="544659"/>
                  </a:lnTo>
                  <a:lnTo>
                    <a:pt x="640523" y="547410"/>
                  </a:lnTo>
                  <a:lnTo>
                    <a:pt x="645149" y="549684"/>
                  </a:lnTo>
                  <a:lnTo>
                    <a:pt x="655381" y="556439"/>
                  </a:lnTo>
                  <a:lnTo>
                    <a:pt x="658151" y="559835"/>
                  </a:lnTo>
                  <a:lnTo>
                    <a:pt x="659158" y="561793"/>
                  </a:lnTo>
                  <a:lnTo>
                    <a:pt x="659812" y="563074"/>
                  </a:lnTo>
                  <a:lnTo>
                    <a:pt x="652933" y="568294"/>
                  </a:lnTo>
                  <a:lnTo>
                    <a:pt x="642200" y="576434"/>
                  </a:lnTo>
                  <a:lnTo>
                    <a:pt x="631684" y="584422"/>
                  </a:lnTo>
                  <a:lnTo>
                    <a:pt x="621522" y="589910"/>
                  </a:lnTo>
                  <a:lnTo>
                    <a:pt x="614258" y="592449"/>
                  </a:lnTo>
                  <a:lnTo>
                    <a:pt x="606500" y="593872"/>
                  </a:lnTo>
                  <a:lnTo>
                    <a:pt x="599137" y="597231"/>
                  </a:lnTo>
                  <a:lnTo>
                    <a:pt x="592173" y="602505"/>
                  </a:lnTo>
                  <a:lnTo>
                    <a:pt x="583256" y="605162"/>
                  </a:lnTo>
                  <a:lnTo>
                    <a:pt x="572387" y="605186"/>
                  </a:lnTo>
                  <a:lnTo>
                    <a:pt x="560968" y="608882"/>
                  </a:lnTo>
                  <a:lnTo>
                    <a:pt x="549632" y="615862"/>
                  </a:lnTo>
                  <a:lnTo>
                    <a:pt x="543027" y="619939"/>
                  </a:lnTo>
                  <a:lnTo>
                    <a:pt x="532562" y="613813"/>
                  </a:lnTo>
                  <a:lnTo>
                    <a:pt x="524358" y="611869"/>
                  </a:lnTo>
                  <a:lnTo>
                    <a:pt x="514921" y="612072"/>
                  </a:lnTo>
                  <a:lnTo>
                    <a:pt x="509173" y="612828"/>
                  </a:lnTo>
                  <a:lnTo>
                    <a:pt x="507108" y="614146"/>
                  </a:lnTo>
                  <a:lnTo>
                    <a:pt x="505316" y="617890"/>
                  </a:lnTo>
                  <a:lnTo>
                    <a:pt x="503789" y="624059"/>
                  </a:lnTo>
                  <a:lnTo>
                    <a:pt x="497599" y="629981"/>
                  </a:lnTo>
                  <a:lnTo>
                    <a:pt x="486753" y="635649"/>
                  </a:lnTo>
                  <a:lnTo>
                    <a:pt x="476754" y="637773"/>
                  </a:lnTo>
                  <a:lnTo>
                    <a:pt x="467602" y="636335"/>
                  </a:lnTo>
                  <a:lnTo>
                    <a:pt x="461414" y="633975"/>
                  </a:lnTo>
                  <a:lnTo>
                    <a:pt x="458176" y="630675"/>
                  </a:lnTo>
                  <a:lnTo>
                    <a:pt x="453422" y="629161"/>
                  </a:lnTo>
                  <a:lnTo>
                    <a:pt x="447127" y="629419"/>
                  </a:lnTo>
                  <a:lnTo>
                    <a:pt x="441114" y="631765"/>
                  </a:lnTo>
                  <a:lnTo>
                    <a:pt x="435352" y="636201"/>
                  </a:lnTo>
                  <a:lnTo>
                    <a:pt x="426159" y="638119"/>
                  </a:lnTo>
                  <a:lnTo>
                    <a:pt x="413546" y="637527"/>
                  </a:lnTo>
                  <a:lnTo>
                    <a:pt x="406772" y="635386"/>
                  </a:lnTo>
                  <a:lnTo>
                    <a:pt x="405835" y="631698"/>
                  </a:lnTo>
                  <a:lnTo>
                    <a:pt x="400311" y="627380"/>
                  </a:lnTo>
                  <a:lnTo>
                    <a:pt x="390189" y="622425"/>
                  </a:lnTo>
                  <a:lnTo>
                    <a:pt x="382735" y="622318"/>
                  </a:lnTo>
                  <a:lnTo>
                    <a:pt x="377951" y="627070"/>
                  </a:lnTo>
                  <a:lnTo>
                    <a:pt x="373585" y="630064"/>
                  </a:lnTo>
                  <a:lnTo>
                    <a:pt x="369639" y="631283"/>
                  </a:lnTo>
                  <a:lnTo>
                    <a:pt x="366088" y="631430"/>
                  </a:lnTo>
                  <a:lnTo>
                    <a:pt x="362948" y="630517"/>
                  </a:lnTo>
                  <a:lnTo>
                    <a:pt x="360988" y="630134"/>
                  </a:lnTo>
                  <a:lnTo>
                    <a:pt x="347030" y="629630"/>
                  </a:lnTo>
                  <a:lnTo>
                    <a:pt x="333814" y="629828"/>
                  </a:lnTo>
                  <a:lnTo>
                    <a:pt x="333409" y="627766"/>
                  </a:lnTo>
                  <a:lnTo>
                    <a:pt x="332483" y="622950"/>
                  </a:lnTo>
                  <a:lnTo>
                    <a:pt x="329734" y="618755"/>
                  </a:lnTo>
                  <a:lnTo>
                    <a:pt x="327364" y="616259"/>
                  </a:lnTo>
                  <a:lnTo>
                    <a:pt x="324420" y="615600"/>
                  </a:lnTo>
                  <a:lnTo>
                    <a:pt x="322818" y="615646"/>
                  </a:lnTo>
                  <a:lnTo>
                    <a:pt x="321533" y="613712"/>
                  </a:lnTo>
                  <a:lnTo>
                    <a:pt x="320011" y="609437"/>
                  </a:lnTo>
                  <a:lnTo>
                    <a:pt x="317764" y="605797"/>
                  </a:lnTo>
                  <a:lnTo>
                    <a:pt x="314777" y="602780"/>
                  </a:lnTo>
                  <a:lnTo>
                    <a:pt x="312991" y="599981"/>
                  </a:lnTo>
                  <a:lnTo>
                    <a:pt x="312383" y="597405"/>
                  </a:lnTo>
                  <a:lnTo>
                    <a:pt x="312857" y="594573"/>
                  </a:lnTo>
                  <a:lnTo>
                    <a:pt x="315621" y="587540"/>
                  </a:lnTo>
                  <a:lnTo>
                    <a:pt x="316497" y="582724"/>
                  </a:lnTo>
                  <a:lnTo>
                    <a:pt x="316184" y="577787"/>
                  </a:lnTo>
                  <a:lnTo>
                    <a:pt x="314686" y="572727"/>
                  </a:lnTo>
                  <a:lnTo>
                    <a:pt x="311550" y="566711"/>
                  </a:lnTo>
                  <a:lnTo>
                    <a:pt x="311903" y="564981"/>
                  </a:lnTo>
                  <a:lnTo>
                    <a:pt x="310840" y="560875"/>
                  </a:lnTo>
                  <a:lnTo>
                    <a:pt x="310730" y="558006"/>
                  </a:lnTo>
                  <a:lnTo>
                    <a:pt x="311336" y="554422"/>
                  </a:lnTo>
                  <a:lnTo>
                    <a:pt x="310741" y="549710"/>
                  </a:lnTo>
                  <a:lnTo>
                    <a:pt x="308033" y="539663"/>
                  </a:lnTo>
                  <a:lnTo>
                    <a:pt x="308033" y="537092"/>
                  </a:lnTo>
                  <a:lnTo>
                    <a:pt x="305178" y="532228"/>
                  </a:lnTo>
                  <a:lnTo>
                    <a:pt x="296403" y="520729"/>
                  </a:lnTo>
                  <a:lnTo>
                    <a:pt x="295993" y="519237"/>
                  </a:lnTo>
                  <a:lnTo>
                    <a:pt x="282230" y="507655"/>
                  </a:lnTo>
                  <a:lnTo>
                    <a:pt x="276726" y="505123"/>
                  </a:lnTo>
                  <a:lnTo>
                    <a:pt x="274741" y="507293"/>
                  </a:lnTo>
                  <a:lnTo>
                    <a:pt x="273999" y="509299"/>
                  </a:lnTo>
                  <a:lnTo>
                    <a:pt x="274578" y="513006"/>
                  </a:lnTo>
                  <a:lnTo>
                    <a:pt x="274243" y="514852"/>
                  </a:lnTo>
                  <a:lnTo>
                    <a:pt x="273664" y="515685"/>
                  </a:lnTo>
                  <a:lnTo>
                    <a:pt x="270402" y="515564"/>
                  </a:lnTo>
                  <a:lnTo>
                    <a:pt x="268350" y="515136"/>
                  </a:lnTo>
                  <a:lnTo>
                    <a:pt x="263138" y="512026"/>
                  </a:lnTo>
                  <a:lnTo>
                    <a:pt x="259077" y="511263"/>
                  </a:lnTo>
                  <a:lnTo>
                    <a:pt x="249003" y="511822"/>
                  </a:lnTo>
                  <a:lnTo>
                    <a:pt x="245462" y="512551"/>
                  </a:lnTo>
                  <a:lnTo>
                    <a:pt x="242687" y="511852"/>
                  </a:lnTo>
                  <a:lnTo>
                    <a:pt x="237354" y="506540"/>
                  </a:lnTo>
                  <a:lnTo>
                    <a:pt x="231100" y="505426"/>
                  </a:lnTo>
                  <a:lnTo>
                    <a:pt x="225486" y="505153"/>
                  </a:lnTo>
                  <a:lnTo>
                    <a:pt x="216218" y="499123"/>
                  </a:lnTo>
                  <a:lnTo>
                    <a:pt x="214043" y="499405"/>
                  </a:lnTo>
                  <a:lnTo>
                    <a:pt x="213014" y="499865"/>
                  </a:lnTo>
                  <a:lnTo>
                    <a:pt x="209658" y="498280"/>
                  </a:lnTo>
                  <a:lnTo>
                    <a:pt x="203342" y="494779"/>
                  </a:lnTo>
                  <a:lnTo>
                    <a:pt x="194564" y="491685"/>
                  </a:lnTo>
                  <a:lnTo>
                    <a:pt x="187381" y="488232"/>
                  </a:lnTo>
                  <a:lnTo>
                    <a:pt x="184185" y="484868"/>
                  </a:lnTo>
                  <a:lnTo>
                    <a:pt x="177443" y="483585"/>
                  </a:lnTo>
                  <a:lnTo>
                    <a:pt x="171612" y="483031"/>
                  </a:lnTo>
                  <a:lnTo>
                    <a:pt x="166215" y="479913"/>
                  </a:lnTo>
                  <a:lnTo>
                    <a:pt x="160622" y="479557"/>
                  </a:lnTo>
                  <a:lnTo>
                    <a:pt x="155128" y="478758"/>
                  </a:lnTo>
                  <a:lnTo>
                    <a:pt x="153901" y="476693"/>
                  </a:lnTo>
                  <a:lnTo>
                    <a:pt x="153711" y="472083"/>
                  </a:lnTo>
                  <a:lnTo>
                    <a:pt x="151785" y="470875"/>
                  </a:lnTo>
                  <a:lnTo>
                    <a:pt x="147754" y="469700"/>
                  </a:lnTo>
                  <a:lnTo>
                    <a:pt x="143410" y="469756"/>
                  </a:lnTo>
                  <a:lnTo>
                    <a:pt x="140760" y="470420"/>
                  </a:lnTo>
                  <a:lnTo>
                    <a:pt x="139199" y="470088"/>
                  </a:lnTo>
                  <a:lnTo>
                    <a:pt x="135596" y="467372"/>
                  </a:lnTo>
                  <a:lnTo>
                    <a:pt x="132245" y="463922"/>
                  </a:lnTo>
                  <a:lnTo>
                    <a:pt x="130981" y="458420"/>
                  </a:lnTo>
                  <a:lnTo>
                    <a:pt x="125908" y="454879"/>
                  </a:lnTo>
                  <a:lnTo>
                    <a:pt x="120066" y="452083"/>
                  </a:lnTo>
                  <a:lnTo>
                    <a:pt x="103823" y="452372"/>
                  </a:lnTo>
                  <a:lnTo>
                    <a:pt x="101279" y="451523"/>
                  </a:lnTo>
                  <a:lnTo>
                    <a:pt x="97427" y="448737"/>
                  </a:lnTo>
                  <a:lnTo>
                    <a:pt x="92903" y="444130"/>
                  </a:lnTo>
                  <a:lnTo>
                    <a:pt x="89271" y="438872"/>
                  </a:lnTo>
                  <a:lnTo>
                    <a:pt x="86078" y="431731"/>
                  </a:lnTo>
                  <a:lnTo>
                    <a:pt x="84562" y="427429"/>
                  </a:lnTo>
                  <a:lnTo>
                    <a:pt x="82770" y="422107"/>
                  </a:lnTo>
                  <a:lnTo>
                    <a:pt x="78795" y="414152"/>
                  </a:lnTo>
                  <a:lnTo>
                    <a:pt x="73173" y="402891"/>
                  </a:lnTo>
                  <a:lnTo>
                    <a:pt x="68836" y="393669"/>
                  </a:lnTo>
                  <a:lnTo>
                    <a:pt x="64162" y="383753"/>
                  </a:lnTo>
                  <a:lnTo>
                    <a:pt x="62252" y="376489"/>
                  </a:lnTo>
                  <a:lnTo>
                    <a:pt x="58620" y="368456"/>
                  </a:lnTo>
                  <a:lnTo>
                    <a:pt x="52668" y="358585"/>
                  </a:lnTo>
                  <a:lnTo>
                    <a:pt x="49655" y="354726"/>
                  </a:lnTo>
                  <a:lnTo>
                    <a:pt x="46366" y="351276"/>
                  </a:lnTo>
                  <a:lnTo>
                    <a:pt x="37811" y="344614"/>
                  </a:lnTo>
                  <a:lnTo>
                    <a:pt x="28117" y="337998"/>
                  </a:lnTo>
                  <a:lnTo>
                    <a:pt x="22875" y="333536"/>
                  </a:lnTo>
                  <a:lnTo>
                    <a:pt x="15825" y="320306"/>
                  </a:lnTo>
                  <a:lnTo>
                    <a:pt x="12876" y="315514"/>
                  </a:lnTo>
                  <a:lnTo>
                    <a:pt x="10830" y="307085"/>
                  </a:lnTo>
                  <a:lnTo>
                    <a:pt x="9279" y="298342"/>
                  </a:lnTo>
                  <a:lnTo>
                    <a:pt x="9914" y="294801"/>
                  </a:lnTo>
                  <a:lnTo>
                    <a:pt x="16168" y="283543"/>
                  </a:lnTo>
                  <a:lnTo>
                    <a:pt x="16797" y="280374"/>
                  </a:lnTo>
                  <a:lnTo>
                    <a:pt x="16034" y="276105"/>
                  </a:lnTo>
                  <a:lnTo>
                    <a:pt x="12967" y="267134"/>
                  </a:lnTo>
                  <a:lnTo>
                    <a:pt x="10677" y="261263"/>
                  </a:lnTo>
                  <a:lnTo>
                    <a:pt x="9064" y="256254"/>
                  </a:lnTo>
                  <a:lnTo>
                    <a:pt x="5727" y="247913"/>
                  </a:lnTo>
                  <a:lnTo>
                    <a:pt x="1147" y="236449"/>
                  </a:lnTo>
                  <a:lnTo>
                    <a:pt x="0" y="231445"/>
                  </a:lnTo>
                  <a:lnTo>
                    <a:pt x="134" y="227695"/>
                  </a:lnTo>
                  <a:lnTo>
                    <a:pt x="2615" y="217796"/>
                  </a:lnTo>
                  <a:lnTo>
                    <a:pt x="4784" y="207577"/>
                  </a:lnTo>
                  <a:lnTo>
                    <a:pt x="4725" y="204764"/>
                  </a:lnTo>
                  <a:lnTo>
                    <a:pt x="23357" y="205153"/>
                  </a:lnTo>
                  <a:lnTo>
                    <a:pt x="26421" y="202911"/>
                  </a:lnTo>
                  <a:lnTo>
                    <a:pt x="36948" y="196340"/>
                  </a:lnTo>
                  <a:lnTo>
                    <a:pt x="48790" y="183170"/>
                  </a:lnTo>
                  <a:lnTo>
                    <a:pt x="51155" y="177684"/>
                  </a:lnTo>
                  <a:lnTo>
                    <a:pt x="55979" y="169239"/>
                  </a:lnTo>
                  <a:lnTo>
                    <a:pt x="60709" y="165044"/>
                  </a:lnTo>
                  <a:lnTo>
                    <a:pt x="62526" y="162138"/>
                  </a:lnTo>
                  <a:lnTo>
                    <a:pt x="63763" y="157579"/>
                  </a:lnTo>
                  <a:lnTo>
                    <a:pt x="65244" y="153722"/>
                  </a:lnTo>
                  <a:lnTo>
                    <a:pt x="71456" y="148006"/>
                  </a:lnTo>
                  <a:lnTo>
                    <a:pt x="77501" y="143629"/>
                  </a:lnTo>
                  <a:lnTo>
                    <a:pt x="77067" y="141851"/>
                  </a:lnTo>
                  <a:lnTo>
                    <a:pt x="76256" y="140530"/>
                  </a:lnTo>
                  <a:lnTo>
                    <a:pt x="77153" y="139400"/>
                  </a:lnTo>
                  <a:lnTo>
                    <a:pt x="80456" y="137147"/>
                  </a:lnTo>
                  <a:lnTo>
                    <a:pt x="86876" y="135087"/>
                  </a:lnTo>
                  <a:lnTo>
                    <a:pt x="88130" y="130697"/>
                  </a:lnTo>
                  <a:lnTo>
                    <a:pt x="88114" y="125707"/>
                  </a:lnTo>
                  <a:lnTo>
                    <a:pt x="87074" y="122919"/>
                  </a:lnTo>
                  <a:lnTo>
                    <a:pt x="87270" y="119705"/>
                  </a:lnTo>
                  <a:lnTo>
                    <a:pt x="86287" y="117910"/>
                  </a:lnTo>
                  <a:lnTo>
                    <a:pt x="82092" y="117457"/>
                  </a:lnTo>
                  <a:lnTo>
                    <a:pt x="75865" y="114969"/>
                  </a:lnTo>
                  <a:lnTo>
                    <a:pt x="70577" y="113921"/>
                  </a:lnTo>
                  <a:lnTo>
                    <a:pt x="67055" y="112475"/>
                  </a:lnTo>
                  <a:lnTo>
                    <a:pt x="65748" y="111369"/>
                  </a:lnTo>
                  <a:lnTo>
                    <a:pt x="65185" y="108374"/>
                  </a:lnTo>
                  <a:lnTo>
                    <a:pt x="66211" y="105117"/>
                  </a:lnTo>
                  <a:lnTo>
                    <a:pt x="66755" y="104180"/>
                  </a:lnTo>
                  <a:lnTo>
                    <a:pt x="68108" y="100689"/>
                  </a:lnTo>
                  <a:lnTo>
                    <a:pt x="65799" y="98587"/>
                  </a:lnTo>
                  <a:lnTo>
                    <a:pt x="65199" y="97564"/>
                  </a:lnTo>
                  <a:lnTo>
                    <a:pt x="66251" y="95895"/>
                  </a:lnTo>
                  <a:lnTo>
                    <a:pt x="71681" y="84800"/>
                  </a:lnTo>
                  <a:lnTo>
                    <a:pt x="72862" y="83249"/>
                  </a:lnTo>
                  <a:lnTo>
                    <a:pt x="75216" y="83054"/>
                  </a:lnTo>
                  <a:lnTo>
                    <a:pt x="78964" y="81693"/>
                  </a:lnTo>
                  <a:lnTo>
                    <a:pt x="82411" y="81080"/>
                  </a:lnTo>
                  <a:lnTo>
                    <a:pt x="85234" y="81567"/>
                  </a:lnTo>
                  <a:lnTo>
                    <a:pt x="87315" y="81034"/>
                  </a:lnTo>
                  <a:lnTo>
                    <a:pt x="89156" y="79599"/>
                  </a:lnTo>
                  <a:lnTo>
                    <a:pt x="90712" y="75270"/>
                  </a:lnTo>
                  <a:lnTo>
                    <a:pt x="91990" y="68035"/>
                  </a:lnTo>
                  <a:lnTo>
                    <a:pt x="91285" y="62150"/>
                  </a:lnTo>
                  <a:lnTo>
                    <a:pt x="88588" y="57616"/>
                  </a:lnTo>
                  <a:lnTo>
                    <a:pt x="87854" y="50694"/>
                  </a:lnTo>
                  <a:lnTo>
                    <a:pt x="89086" y="41392"/>
                  </a:lnTo>
                  <a:lnTo>
                    <a:pt x="88199" y="33656"/>
                  </a:lnTo>
                  <a:lnTo>
                    <a:pt x="85215" y="27471"/>
                  </a:lnTo>
                  <a:lnTo>
                    <a:pt x="82167" y="23804"/>
                  </a:lnTo>
                  <a:lnTo>
                    <a:pt x="77501" y="22069"/>
                  </a:lnTo>
                  <a:lnTo>
                    <a:pt x="70167" y="12632"/>
                  </a:lnTo>
                  <a:lnTo>
                    <a:pt x="67923" y="8068"/>
                  </a:lnTo>
                  <a:lnTo>
                    <a:pt x="68327" y="5218"/>
                  </a:lnTo>
                  <a:lnTo>
                    <a:pt x="70277" y="4286"/>
                  </a:lnTo>
                  <a:lnTo>
                    <a:pt x="70867" y="4002"/>
                  </a:lnTo>
                  <a:lnTo>
                    <a:pt x="75533" y="4430"/>
                  </a:lnTo>
                  <a:lnTo>
                    <a:pt x="79917" y="3343"/>
                  </a:lnTo>
                  <a:lnTo>
                    <a:pt x="84018" y="745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12" name="ee4p_UG_1_37365">
              <a:extLst>
                <a:ext uri="{FF2B5EF4-FFF2-40B4-BE49-F238E27FC236}">
                  <a16:creationId xmlns:a16="http://schemas.microsoft.com/office/drawing/2014/main" id="{609E6F2D-169B-9AD5-6A01-5371DB0740DF}"/>
                </a:ext>
              </a:extLst>
            </p:cNvPr>
            <p:cNvSpPr>
              <a:spLocks noChangeAspect="1"/>
            </p:cNvSpPr>
            <p:nvPr>
              <p:custDataLst>
                <p:tags r:id="rId366"/>
              </p:custDataLst>
            </p:nvPr>
          </p:nvSpPr>
          <p:spPr>
            <a:xfrm>
              <a:off x="7335615" y="4557235"/>
              <a:ext cx="150409" cy="162387"/>
            </a:xfrm>
            <a:custGeom>
              <a:avLst/>
              <a:gdLst/>
              <a:ahLst/>
              <a:cxnLst/>
              <a:rect l="0" t="0" r="0" b="0"/>
              <a:pathLst>
                <a:path w="119767" h="125878">
                  <a:moveTo>
                    <a:pt x="95996" y="115530"/>
                  </a:moveTo>
                  <a:lnTo>
                    <a:pt x="93582" y="115530"/>
                  </a:lnTo>
                  <a:lnTo>
                    <a:pt x="89652" y="115530"/>
                  </a:lnTo>
                  <a:lnTo>
                    <a:pt x="85719" y="115530"/>
                  </a:lnTo>
                  <a:lnTo>
                    <a:pt x="81789" y="115530"/>
                  </a:lnTo>
                  <a:lnTo>
                    <a:pt x="77859" y="115530"/>
                  </a:lnTo>
                  <a:lnTo>
                    <a:pt x="73927" y="115530"/>
                  </a:lnTo>
                  <a:lnTo>
                    <a:pt x="69997" y="115530"/>
                  </a:lnTo>
                  <a:lnTo>
                    <a:pt x="66067" y="115530"/>
                  </a:lnTo>
                  <a:lnTo>
                    <a:pt x="62134" y="115530"/>
                  </a:lnTo>
                  <a:lnTo>
                    <a:pt x="58204" y="115530"/>
                  </a:lnTo>
                  <a:lnTo>
                    <a:pt x="54274" y="115530"/>
                  </a:lnTo>
                  <a:lnTo>
                    <a:pt x="50342" y="115530"/>
                  </a:lnTo>
                  <a:lnTo>
                    <a:pt x="46412" y="115530"/>
                  </a:lnTo>
                  <a:lnTo>
                    <a:pt x="42482" y="115530"/>
                  </a:lnTo>
                  <a:lnTo>
                    <a:pt x="38550" y="115530"/>
                  </a:lnTo>
                  <a:lnTo>
                    <a:pt x="34619" y="115530"/>
                  </a:lnTo>
                  <a:lnTo>
                    <a:pt x="30687" y="115530"/>
                  </a:lnTo>
                  <a:lnTo>
                    <a:pt x="28366" y="115530"/>
                  </a:lnTo>
                  <a:lnTo>
                    <a:pt x="27900" y="115463"/>
                  </a:lnTo>
                  <a:lnTo>
                    <a:pt x="27580" y="115373"/>
                  </a:lnTo>
                  <a:lnTo>
                    <a:pt x="26094" y="115651"/>
                  </a:lnTo>
                  <a:lnTo>
                    <a:pt x="24563" y="116621"/>
                  </a:lnTo>
                  <a:lnTo>
                    <a:pt x="22926" y="117027"/>
                  </a:lnTo>
                  <a:lnTo>
                    <a:pt x="21184" y="116867"/>
                  </a:lnTo>
                  <a:lnTo>
                    <a:pt x="20964" y="116973"/>
                  </a:lnTo>
                  <a:lnTo>
                    <a:pt x="20078" y="116945"/>
                  </a:lnTo>
                  <a:lnTo>
                    <a:pt x="18804" y="116880"/>
                  </a:lnTo>
                  <a:lnTo>
                    <a:pt x="17653" y="117135"/>
                  </a:lnTo>
                  <a:lnTo>
                    <a:pt x="16774" y="117986"/>
                  </a:lnTo>
                  <a:lnTo>
                    <a:pt x="15876" y="119440"/>
                  </a:lnTo>
                  <a:lnTo>
                    <a:pt x="14265" y="121107"/>
                  </a:lnTo>
                  <a:lnTo>
                    <a:pt x="13004" y="122586"/>
                  </a:lnTo>
                  <a:lnTo>
                    <a:pt x="11933" y="123638"/>
                  </a:lnTo>
                  <a:lnTo>
                    <a:pt x="9478" y="125370"/>
                  </a:lnTo>
                  <a:lnTo>
                    <a:pt x="8141" y="125877"/>
                  </a:lnTo>
                  <a:lnTo>
                    <a:pt x="7476" y="125798"/>
                  </a:lnTo>
                  <a:lnTo>
                    <a:pt x="7070" y="125476"/>
                  </a:lnTo>
                  <a:lnTo>
                    <a:pt x="6301" y="123262"/>
                  </a:lnTo>
                  <a:lnTo>
                    <a:pt x="5826" y="122906"/>
                  </a:lnTo>
                  <a:lnTo>
                    <a:pt x="1056" y="124046"/>
                  </a:lnTo>
                  <a:lnTo>
                    <a:pt x="333" y="124063"/>
                  </a:lnTo>
                  <a:lnTo>
                    <a:pt x="400" y="123375"/>
                  </a:lnTo>
                  <a:lnTo>
                    <a:pt x="48" y="118169"/>
                  </a:lnTo>
                  <a:lnTo>
                    <a:pt x="0" y="114984"/>
                  </a:lnTo>
                  <a:lnTo>
                    <a:pt x="622" y="112989"/>
                  </a:lnTo>
                  <a:lnTo>
                    <a:pt x="985" y="110689"/>
                  </a:lnTo>
                  <a:lnTo>
                    <a:pt x="1024" y="108659"/>
                  </a:lnTo>
                  <a:lnTo>
                    <a:pt x="1900" y="105208"/>
                  </a:lnTo>
                  <a:lnTo>
                    <a:pt x="1577" y="103139"/>
                  </a:lnTo>
                  <a:lnTo>
                    <a:pt x="2708" y="95884"/>
                  </a:lnTo>
                  <a:lnTo>
                    <a:pt x="3006" y="94703"/>
                  </a:lnTo>
                  <a:lnTo>
                    <a:pt x="3445" y="91198"/>
                  </a:lnTo>
                  <a:lnTo>
                    <a:pt x="4153" y="90117"/>
                  </a:lnTo>
                  <a:lnTo>
                    <a:pt x="4775" y="89694"/>
                  </a:lnTo>
                  <a:lnTo>
                    <a:pt x="5589" y="87543"/>
                  </a:lnTo>
                  <a:lnTo>
                    <a:pt x="7154" y="84108"/>
                  </a:lnTo>
                  <a:lnTo>
                    <a:pt x="8238" y="82338"/>
                  </a:lnTo>
                  <a:lnTo>
                    <a:pt x="8003" y="78470"/>
                  </a:lnTo>
                  <a:lnTo>
                    <a:pt x="8176" y="75840"/>
                  </a:lnTo>
                  <a:lnTo>
                    <a:pt x="8424" y="75257"/>
                  </a:lnTo>
                  <a:lnTo>
                    <a:pt x="10735" y="74278"/>
                  </a:lnTo>
                  <a:lnTo>
                    <a:pt x="13732" y="71846"/>
                  </a:lnTo>
                  <a:lnTo>
                    <a:pt x="14997" y="68986"/>
                  </a:lnTo>
                  <a:lnTo>
                    <a:pt x="16788" y="67162"/>
                  </a:lnTo>
                  <a:lnTo>
                    <a:pt x="20253" y="65978"/>
                  </a:lnTo>
                  <a:lnTo>
                    <a:pt x="20260" y="65973"/>
                  </a:lnTo>
                  <a:lnTo>
                    <a:pt x="30530" y="56158"/>
                  </a:lnTo>
                  <a:lnTo>
                    <a:pt x="35310" y="50867"/>
                  </a:lnTo>
                  <a:lnTo>
                    <a:pt x="37388" y="48156"/>
                  </a:lnTo>
                  <a:lnTo>
                    <a:pt x="37461" y="47185"/>
                  </a:lnTo>
                  <a:lnTo>
                    <a:pt x="37859" y="45906"/>
                  </a:lnTo>
                  <a:lnTo>
                    <a:pt x="37025" y="44909"/>
                  </a:lnTo>
                  <a:lnTo>
                    <a:pt x="36032" y="44004"/>
                  </a:lnTo>
                  <a:lnTo>
                    <a:pt x="35699" y="43168"/>
                  </a:lnTo>
                  <a:lnTo>
                    <a:pt x="34842" y="42752"/>
                  </a:lnTo>
                  <a:lnTo>
                    <a:pt x="33616" y="42769"/>
                  </a:lnTo>
                  <a:lnTo>
                    <a:pt x="32801" y="42162"/>
                  </a:lnTo>
                  <a:lnTo>
                    <a:pt x="31879" y="40971"/>
                  </a:lnTo>
                  <a:lnTo>
                    <a:pt x="30957" y="40221"/>
                  </a:lnTo>
                  <a:lnTo>
                    <a:pt x="28042" y="40283"/>
                  </a:lnTo>
                  <a:lnTo>
                    <a:pt x="25799" y="39068"/>
                  </a:lnTo>
                  <a:lnTo>
                    <a:pt x="25827" y="37411"/>
                  </a:lnTo>
                  <a:lnTo>
                    <a:pt x="26703" y="34143"/>
                  </a:lnTo>
                  <a:lnTo>
                    <a:pt x="28409" y="30402"/>
                  </a:lnTo>
                  <a:lnTo>
                    <a:pt x="28500" y="29370"/>
                  </a:lnTo>
                  <a:lnTo>
                    <a:pt x="28260" y="28488"/>
                  </a:lnTo>
                  <a:lnTo>
                    <a:pt x="27850" y="27734"/>
                  </a:lnTo>
                  <a:lnTo>
                    <a:pt x="27079" y="26986"/>
                  </a:lnTo>
                  <a:lnTo>
                    <a:pt x="26360" y="26091"/>
                  </a:lnTo>
                  <a:lnTo>
                    <a:pt x="26919" y="23400"/>
                  </a:lnTo>
                  <a:lnTo>
                    <a:pt x="27992" y="20761"/>
                  </a:lnTo>
                  <a:lnTo>
                    <a:pt x="28871" y="19444"/>
                  </a:lnTo>
                  <a:lnTo>
                    <a:pt x="29731" y="17965"/>
                  </a:lnTo>
                  <a:lnTo>
                    <a:pt x="29484" y="16753"/>
                  </a:lnTo>
                  <a:lnTo>
                    <a:pt x="28230" y="16154"/>
                  </a:lnTo>
                  <a:lnTo>
                    <a:pt x="28884" y="14972"/>
                  </a:lnTo>
                  <a:lnTo>
                    <a:pt x="30238" y="12981"/>
                  </a:lnTo>
                  <a:lnTo>
                    <a:pt x="32862" y="10967"/>
                  </a:lnTo>
                  <a:lnTo>
                    <a:pt x="35168" y="9626"/>
                  </a:lnTo>
                  <a:lnTo>
                    <a:pt x="36708" y="9618"/>
                  </a:lnTo>
                  <a:lnTo>
                    <a:pt x="39703" y="10688"/>
                  </a:lnTo>
                  <a:lnTo>
                    <a:pt x="42413" y="11953"/>
                  </a:lnTo>
                  <a:lnTo>
                    <a:pt x="43899" y="12017"/>
                  </a:lnTo>
                  <a:lnTo>
                    <a:pt x="45706" y="11489"/>
                  </a:lnTo>
                  <a:lnTo>
                    <a:pt x="49446" y="9249"/>
                  </a:lnTo>
                  <a:lnTo>
                    <a:pt x="50344" y="9961"/>
                  </a:lnTo>
                  <a:lnTo>
                    <a:pt x="51441" y="11320"/>
                  </a:lnTo>
                  <a:lnTo>
                    <a:pt x="52624" y="13568"/>
                  </a:lnTo>
                  <a:lnTo>
                    <a:pt x="54978" y="14594"/>
                  </a:lnTo>
                  <a:lnTo>
                    <a:pt x="56110" y="15302"/>
                  </a:lnTo>
                  <a:lnTo>
                    <a:pt x="56917" y="15512"/>
                  </a:lnTo>
                  <a:lnTo>
                    <a:pt x="57366" y="15328"/>
                  </a:lnTo>
                  <a:lnTo>
                    <a:pt x="58261" y="13562"/>
                  </a:lnTo>
                  <a:lnTo>
                    <a:pt x="59340" y="12599"/>
                  </a:lnTo>
                  <a:lnTo>
                    <a:pt x="61336" y="11384"/>
                  </a:lnTo>
                  <a:lnTo>
                    <a:pt x="65736" y="10415"/>
                  </a:lnTo>
                  <a:lnTo>
                    <a:pt x="68880" y="10122"/>
                  </a:lnTo>
                  <a:lnTo>
                    <a:pt x="70211" y="9911"/>
                  </a:lnTo>
                  <a:lnTo>
                    <a:pt x="72443" y="9340"/>
                  </a:lnTo>
                  <a:lnTo>
                    <a:pt x="75963" y="7531"/>
                  </a:lnTo>
                  <a:lnTo>
                    <a:pt x="79431" y="9867"/>
                  </a:lnTo>
                  <a:lnTo>
                    <a:pt x="83195" y="10318"/>
                  </a:lnTo>
                  <a:lnTo>
                    <a:pt x="86844" y="10302"/>
                  </a:lnTo>
                  <a:lnTo>
                    <a:pt x="87954" y="9592"/>
                  </a:lnTo>
                  <a:lnTo>
                    <a:pt x="88594" y="9047"/>
                  </a:lnTo>
                  <a:lnTo>
                    <a:pt x="92422" y="5204"/>
                  </a:lnTo>
                  <a:lnTo>
                    <a:pt x="97607" y="0"/>
                  </a:lnTo>
                  <a:lnTo>
                    <a:pt x="101055" y="7332"/>
                  </a:lnTo>
                  <a:lnTo>
                    <a:pt x="102243" y="7762"/>
                  </a:lnTo>
                  <a:lnTo>
                    <a:pt x="102077" y="8402"/>
                  </a:lnTo>
                  <a:lnTo>
                    <a:pt x="101785" y="9019"/>
                  </a:lnTo>
                  <a:lnTo>
                    <a:pt x="104041" y="10787"/>
                  </a:lnTo>
                  <a:lnTo>
                    <a:pt x="106823" y="11709"/>
                  </a:lnTo>
                  <a:lnTo>
                    <a:pt x="107814" y="12615"/>
                  </a:lnTo>
                  <a:lnTo>
                    <a:pt x="107905" y="13597"/>
                  </a:lnTo>
                  <a:lnTo>
                    <a:pt x="106968" y="17882"/>
                  </a:lnTo>
                  <a:lnTo>
                    <a:pt x="107141" y="19103"/>
                  </a:lnTo>
                  <a:lnTo>
                    <a:pt x="108039" y="23398"/>
                  </a:lnTo>
                  <a:lnTo>
                    <a:pt x="109691" y="24361"/>
                  </a:lnTo>
                  <a:lnTo>
                    <a:pt x="111163" y="28682"/>
                  </a:lnTo>
                  <a:lnTo>
                    <a:pt x="114128" y="30514"/>
                  </a:lnTo>
                  <a:lnTo>
                    <a:pt x="114554" y="31042"/>
                  </a:lnTo>
                  <a:lnTo>
                    <a:pt x="115238" y="33137"/>
                  </a:lnTo>
                  <a:lnTo>
                    <a:pt x="116145" y="35430"/>
                  </a:lnTo>
                  <a:lnTo>
                    <a:pt x="116858" y="35962"/>
                  </a:lnTo>
                  <a:lnTo>
                    <a:pt x="117290" y="36096"/>
                  </a:lnTo>
                  <a:lnTo>
                    <a:pt x="118164" y="38530"/>
                  </a:lnTo>
                  <a:lnTo>
                    <a:pt x="117661" y="39897"/>
                  </a:lnTo>
                  <a:lnTo>
                    <a:pt x="118345" y="44050"/>
                  </a:lnTo>
                  <a:lnTo>
                    <a:pt x="119453" y="47762"/>
                  </a:lnTo>
                  <a:lnTo>
                    <a:pt x="119751" y="52197"/>
                  </a:lnTo>
                  <a:lnTo>
                    <a:pt x="119766" y="54149"/>
                  </a:lnTo>
                  <a:lnTo>
                    <a:pt x="119727" y="55344"/>
                  </a:lnTo>
                  <a:lnTo>
                    <a:pt x="119479" y="57031"/>
                  </a:lnTo>
                  <a:lnTo>
                    <a:pt x="118948" y="58006"/>
                  </a:lnTo>
                  <a:lnTo>
                    <a:pt x="118000" y="58952"/>
                  </a:lnTo>
                  <a:lnTo>
                    <a:pt x="116953" y="60445"/>
                  </a:lnTo>
                  <a:lnTo>
                    <a:pt x="116037" y="62044"/>
                  </a:lnTo>
                  <a:lnTo>
                    <a:pt x="115463" y="62830"/>
                  </a:lnTo>
                  <a:lnTo>
                    <a:pt x="115910" y="65225"/>
                  </a:lnTo>
                  <a:lnTo>
                    <a:pt x="115795" y="65852"/>
                  </a:lnTo>
                  <a:lnTo>
                    <a:pt x="115551" y="66157"/>
                  </a:lnTo>
                  <a:lnTo>
                    <a:pt x="114206" y="66521"/>
                  </a:lnTo>
                  <a:lnTo>
                    <a:pt x="112489" y="67162"/>
                  </a:lnTo>
                  <a:lnTo>
                    <a:pt x="111446" y="67800"/>
                  </a:lnTo>
                  <a:lnTo>
                    <a:pt x="109971" y="69014"/>
                  </a:lnTo>
                  <a:lnTo>
                    <a:pt x="108788" y="70327"/>
                  </a:lnTo>
                  <a:lnTo>
                    <a:pt x="107220" y="74194"/>
                  </a:lnTo>
                  <a:lnTo>
                    <a:pt x="104605" y="77203"/>
                  </a:lnTo>
                  <a:lnTo>
                    <a:pt x="104163" y="78194"/>
                  </a:lnTo>
                  <a:lnTo>
                    <a:pt x="101694" y="79990"/>
                  </a:lnTo>
                  <a:lnTo>
                    <a:pt x="100606" y="82203"/>
                  </a:lnTo>
                  <a:lnTo>
                    <a:pt x="99917" y="84915"/>
                  </a:lnTo>
                  <a:lnTo>
                    <a:pt x="98958" y="86860"/>
                  </a:lnTo>
                  <a:lnTo>
                    <a:pt x="96879" y="89530"/>
                  </a:lnTo>
                  <a:lnTo>
                    <a:pt x="96400" y="93748"/>
                  </a:lnTo>
                  <a:lnTo>
                    <a:pt x="96464" y="102170"/>
                  </a:lnTo>
                  <a:lnTo>
                    <a:pt x="95925" y="111762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13" name="ee4p_ZA_1_37365">
              <a:extLst>
                <a:ext uri="{FF2B5EF4-FFF2-40B4-BE49-F238E27FC236}">
                  <a16:creationId xmlns:a16="http://schemas.microsoft.com/office/drawing/2014/main" id="{4B40D39E-28F9-3A02-0A5B-E3ED148F4F39}"/>
                </a:ext>
              </a:extLst>
            </p:cNvPr>
            <p:cNvSpPr>
              <a:spLocks noChangeAspect="1"/>
            </p:cNvSpPr>
            <p:nvPr>
              <p:custDataLst>
                <p:tags r:id="rId367"/>
              </p:custDataLst>
            </p:nvPr>
          </p:nvSpPr>
          <p:spPr>
            <a:xfrm>
              <a:off x="6971437" y="5319736"/>
              <a:ext cx="456489" cy="391718"/>
            </a:xfrm>
            <a:custGeom>
              <a:avLst/>
              <a:gdLst/>
              <a:ahLst/>
              <a:cxnLst/>
              <a:rect l="l" t="t" r="r" b="b"/>
              <a:pathLst>
                <a:path w="363492" h="303648">
                  <a:moveTo>
                    <a:pt x="269286" y="151782"/>
                  </a:moveTo>
                  <a:lnTo>
                    <a:pt x="268349" y="152080"/>
                  </a:lnTo>
                  <a:lnTo>
                    <a:pt x="265883" y="152600"/>
                  </a:lnTo>
                  <a:lnTo>
                    <a:pt x="260593" y="154651"/>
                  </a:lnTo>
                  <a:lnTo>
                    <a:pt x="257315" y="156542"/>
                  </a:lnTo>
                  <a:lnTo>
                    <a:pt x="254562" y="158786"/>
                  </a:lnTo>
                  <a:lnTo>
                    <a:pt x="251698" y="159645"/>
                  </a:lnTo>
                  <a:lnTo>
                    <a:pt x="249601" y="160390"/>
                  </a:lnTo>
                  <a:lnTo>
                    <a:pt x="247941" y="162962"/>
                  </a:lnTo>
                  <a:lnTo>
                    <a:pt x="246388" y="165357"/>
                  </a:lnTo>
                  <a:lnTo>
                    <a:pt x="244993" y="167516"/>
                  </a:lnTo>
                  <a:lnTo>
                    <a:pt x="244194" y="168491"/>
                  </a:lnTo>
                  <a:lnTo>
                    <a:pt x="243465" y="169121"/>
                  </a:lnTo>
                  <a:lnTo>
                    <a:pt x="242732" y="170503"/>
                  </a:lnTo>
                  <a:lnTo>
                    <a:pt x="241228" y="172799"/>
                  </a:lnTo>
                  <a:lnTo>
                    <a:pt x="239850" y="174345"/>
                  </a:lnTo>
                  <a:lnTo>
                    <a:pt x="237923" y="175187"/>
                  </a:lnTo>
                  <a:lnTo>
                    <a:pt x="235442" y="176276"/>
                  </a:lnTo>
                  <a:lnTo>
                    <a:pt x="234596" y="176910"/>
                  </a:lnTo>
                  <a:lnTo>
                    <a:pt x="234481" y="177839"/>
                  </a:lnTo>
                  <a:lnTo>
                    <a:pt x="235367" y="180006"/>
                  </a:lnTo>
                  <a:lnTo>
                    <a:pt x="236222" y="182097"/>
                  </a:lnTo>
                  <a:lnTo>
                    <a:pt x="237617" y="184542"/>
                  </a:lnTo>
                  <a:lnTo>
                    <a:pt x="238638" y="186333"/>
                  </a:lnTo>
                  <a:lnTo>
                    <a:pt x="240251" y="188521"/>
                  </a:lnTo>
                  <a:lnTo>
                    <a:pt x="241195" y="189803"/>
                  </a:lnTo>
                  <a:lnTo>
                    <a:pt x="241070" y="191954"/>
                  </a:lnTo>
                  <a:lnTo>
                    <a:pt x="241387" y="192726"/>
                  </a:lnTo>
                  <a:lnTo>
                    <a:pt x="241927" y="193617"/>
                  </a:lnTo>
                  <a:lnTo>
                    <a:pt x="242372" y="193844"/>
                  </a:lnTo>
                  <a:lnTo>
                    <a:pt x="242877" y="194164"/>
                  </a:lnTo>
                  <a:lnTo>
                    <a:pt x="244216" y="194782"/>
                  </a:lnTo>
                  <a:lnTo>
                    <a:pt x="244538" y="195194"/>
                  </a:lnTo>
                  <a:lnTo>
                    <a:pt x="245477" y="195929"/>
                  </a:lnTo>
                  <a:lnTo>
                    <a:pt x="246375" y="197268"/>
                  </a:lnTo>
                  <a:lnTo>
                    <a:pt x="248077" y="199111"/>
                  </a:lnTo>
                  <a:lnTo>
                    <a:pt x="249990" y="200512"/>
                  </a:lnTo>
                  <a:lnTo>
                    <a:pt x="253279" y="201091"/>
                  </a:lnTo>
                  <a:lnTo>
                    <a:pt x="255851" y="201540"/>
                  </a:lnTo>
                  <a:lnTo>
                    <a:pt x="256706" y="201267"/>
                  </a:lnTo>
                  <a:lnTo>
                    <a:pt x="257580" y="200138"/>
                  </a:lnTo>
                  <a:lnTo>
                    <a:pt x="258295" y="198693"/>
                  </a:lnTo>
                  <a:lnTo>
                    <a:pt x="258524" y="196867"/>
                  </a:lnTo>
                  <a:lnTo>
                    <a:pt x="259345" y="195896"/>
                  </a:lnTo>
                  <a:lnTo>
                    <a:pt x="262424" y="191254"/>
                  </a:lnTo>
                  <a:lnTo>
                    <a:pt x="264119" y="189536"/>
                  </a:lnTo>
                  <a:lnTo>
                    <a:pt x="265158" y="189413"/>
                  </a:lnTo>
                  <a:lnTo>
                    <a:pt x="266497" y="189084"/>
                  </a:lnTo>
                  <a:lnTo>
                    <a:pt x="268200" y="188942"/>
                  </a:lnTo>
                  <a:lnTo>
                    <a:pt x="269477" y="189079"/>
                  </a:lnTo>
                  <a:lnTo>
                    <a:pt x="269753" y="189027"/>
                  </a:lnTo>
                  <a:lnTo>
                    <a:pt x="271744" y="188431"/>
                  </a:lnTo>
                  <a:lnTo>
                    <a:pt x="275374" y="186894"/>
                  </a:lnTo>
                  <a:lnTo>
                    <a:pt x="277015" y="185948"/>
                  </a:lnTo>
                  <a:lnTo>
                    <a:pt x="278202" y="185178"/>
                  </a:lnTo>
                  <a:lnTo>
                    <a:pt x="279729" y="184003"/>
                  </a:lnTo>
                  <a:lnTo>
                    <a:pt x="280258" y="181153"/>
                  </a:lnTo>
                  <a:lnTo>
                    <a:pt x="280705" y="178731"/>
                  </a:lnTo>
                  <a:lnTo>
                    <a:pt x="281876" y="177540"/>
                  </a:lnTo>
                  <a:lnTo>
                    <a:pt x="283072" y="176748"/>
                  </a:lnTo>
                  <a:lnTo>
                    <a:pt x="284052" y="175493"/>
                  </a:lnTo>
                  <a:lnTo>
                    <a:pt x="285274" y="172479"/>
                  </a:lnTo>
                  <a:lnTo>
                    <a:pt x="286112" y="169531"/>
                  </a:lnTo>
                  <a:lnTo>
                    <a:pt x="286201" y="168326"/>
                  </a:lnTo>
                  <a:lnTo>
                    <a:pt x="285762" y="167091"/>
                  </a:lnTo>
                  <a:lnTo>
                    <a:pt x="284990" y="165771"/>
                  </a:lnTo>
                  <a:lnTo>
                    <a:pt x="284225" y="163994"/>
                  </a:lnTo>
                  <a:lnTo>
                    <a:pt x="283305" y="163716"/>
                  </a:lnTo>
                  <a:lnTo>
                    <a:pt x="281498" y="162720"/>
                  </a:lnTo>
                  <a:lnTo>
                    <a:pt x="278844" y="160718"/>
                  </a:lnTo>
                  <a:lnTo>
                    <a:pt x="276538" y="158980"/>
                  </a:lnTo>
                  <a:lnTo>
                    <a:pt x="274382" y="156448"/>
                  </a:lnTo>
                  <a:lnTo>
                    <a:pt x="273497" y="156035"/>
                  </a:lnTo>
                  <a:lnTo>
                    <a:pt x="271409" y="154325"/>
                  </a:lnTo>
                  <a:lnTo>
                    <a:pt x="270511" y="153343"/>
                  </a:lnTo>
                  <a:lnTo>
                    <a:pt x="269880" y="152168"/>
                  </a:lnTo>
                  <a:close/>
                  <a:moveTo>
                    <a:pt x="292223" y="0"/>
                  </a:moveTo>
                  <a:lnTo>
                    <a:pt x="297514" y="880"/>
                  </a:lnTo>
                  <a:lnTo>
                    <a:pt x="303884" y="3363"/>
                  </a:lnTo>
                  <a:lnTo>
                    <a:pt x="309848" y="4243"/>
                  </a:lnTo>
                  <a:lnTo>
                    <a:pt x="315409" y="3520"/>
                  </a:lnTo>
                  <a:lnTo>
                    <a:pt x="319930" y="3354"/>
                  </a:lnTo>
                  <a:lnTo>
                    <a:pt x="323409" y="3751"/>
                  </a:lnTo>
                  <a:lnTo>
                    <a:pt x="326148" y="4613"/>
                  </a:lnTo>
                  <a:lnTo>
                    <a:pt x="328151" y="5941"/>
                  </a:lnTo>
                  <a:lnTo>
                    <a:pt x="328268" y="7164"/>
                  </a:lnTo>
                  <a:lnTo>
                    <a:pt x="328423" y="7720"/>
                  </a:lnTo>
                  <a:lnTo>
                    <a:pt x="329481" y="10952"/>
                  </a:lnTo>
                  <a:lnTo>
                    <a:pt x="331058" y="15782"/>
                  </a:lnTo>
                  <a:lnTo>
                    <a:pt x="332105" y="20245"/>
                  </a:lnTo>
                  <a:lnTo>
                    <a:pt x="333543" y="26373"/>
                  </a:lnTo>
                  <a:lnTo>
                    <a:pt x="333498" y="29788"/>
                  </a:lnTo>
                  <a:lnTo>
                    <a:pt x="333850" y="31108"/>
                  </a:lnTo>
                  <a:lnTo>
                    <a:pt x="335143" y="32758"/>
                  </a:lnTo>
                  <a:lnTo>
                    <a:pt x="336724" y="35592"/>
                  </a:lnTo>
                  <a:lnTo>
                    <a:pt x="337264" y="37202"/>
                  </a:lnTo>
                  <a:lnTo>
                    <a:pt x="337795" y="38406"/>
                  </a:lnTo>
                  <a:lnTo>
                    <a:pt x="339466" y="40691"/>
                  </a:lnTo>
                  <a:lnTo>
                    <a:pt x="340764" y="44156"/>
                  </a:lnTo>
                  <a:lnTo>
                    <a:pt x="341863" y="48749"/>
                  </a:lnTo>
                  <a:lnTo>
                    <a:pt x="342805" y="50954"/>
                  </a:lnTo>
                  <a:lnTo>
                    <a:pt x="343159" y="52037"/>
                  </a:lnTo>
                  <a:lnTo>
                    <a:pt x="343584" y="54012"/>
                  </a:lnTo>
                  <a:lnTo>
                    <a:pt x="343526" y="58183"/>
                  </a:lnTo>
                  <a:lnTo>
                    <a:pt x="343552" y="63018"/>
                  </a:lnTo>
                  <a:lnTo>
                    <a:pt x="343582" y="68424"/>
                  </a:lnTo>
                  <a:lnTo>
                    <a:pt x="343610" y="72891"/>
                  </a:lnTo>
                  <a:lnTo>
                    <a:pt x="343442" y="75153"/>
                  </a:lnTo>
                  <a:lnTo>
                    <a:pt x="343556" y="81581"/>
                  </a:lnTo>
                  <a:lnTo>
                    <a:pt x="342135" y="84935"/>
                  </a:lnTo>
                  <a:lnTo>
                    <a:pt x="342312" y="87568"/>
                  </a:lnTo>
                  <a:lnTo>
                    <a:pt x="342753" y="89276"/>
                  </a:lnTo>
                  <a:lnTo>
                    <a:pt x="342166" y="89540"/>
                  </a:lnTo>
                  <a:lnTo>
                    <a:pt x="341056" y="89844"/>
                  </a:lnTo>
                  <a:lnTo>
                    <a:pt x="335947" y="87141"/>
                  </a:lnTo>
                  <a:lnTo>
                    <a:pt x="330965" y="84289"/>
                  </a:lnTo>
                  <a:lnTo>
                    <a:pt x="330246" y="84203"/>
                  </a:lnTo>
                  <a:lnTo>
                    <a:pt x="329197" y="84501"/>
                  </a:lnTo>
                  <a:lnTo>
                    <a:pt x="326370" y="86575"/>
                  </a:lnTo>
                  <a:lnTo>
                    <a:pt x="323733" y="89822"/>
                  </a:lnTo>
                  <a:lnTo>
                    <a:pt x="322522" y="92592"/>
                  </a:lnTo>
                  <a:lnTo>
                    <a:pt x="320574" y="95456"/>
                  </a:lnTo>
                  <a:lnTo>
                    <a:pt x="317436" y="100070"/>
                  </a:lnTo>
                  <a:lnTo>
                    <a:pt x="317121" y="101065"/>
                  </a:lnTo>
                  <a:lnTo>
                    <a:pt x="317086" y="104818"/>
                  </a:lnTo>
                  <a:lnTo>
                    <a:pt x="317238" y="108393"/>
                  </a:lnTo>
                  <a:lnTo>
                    <a:pt x="317512" y="108892"/>
                  </a:lnTo>
                  <a:lnTo>
                    <a:pt x="319205" y="109061"/>
                  </a:lnTo>
                  <a:lnTo>
                    <a:pt x="320416" y="111995"/>
                  </a:lnTo>
                  <a:lnTo>
                    <a:pt x="323187" y="116668"/>
                  </a:lnTo>
                  <a:lnTo>
                    <a:pt x="327845" y="119669"/>
                  </a:lnTo>
                  <a:lnTo>
                    <a:pt x="332168" y="121030"/>
                  </a:lnTo>
                  <a:lnTo>
                    <a:pt x="338205" y="121374"/>
                  </a:lnTo>
                  <a:lnTo>
                    <a:pt x="342978" y="121277"/>
                  </a:lnTo>
                  <a:lnTo>
                    <a:pt x="342705" y="118128"/>
                  </a:lnTo>
                  <a:lnTo>
                    <a:pt x="343172" y="113060"/>
                  </a:lnTo>
                  <a:lnTo>
                    <a:pt x="343781" y="109658"/>
                  </a:lnTo>
                  <a:lnTo>
                    <a:pt x="344446" y="109507"/>
                  </a:lnTo>
                  <a:lnTo>
                    <a:pt x="345703" y="109832"/>
                  </a:lnTo>
                  <a:lnTo>
                    <a:pt x="346394" y="110180"/>
                  </a:lnTo>
                  <a:lnTo>
                    <a:pt x="348311" y="110038"/>
                  </a:lnTo>
                  <a:lnTo>
                    <a:pt x="351715" y="110707"/>
                  </a:lnTo>
                  <a:lnTo>
                    <a:pt x="354461" y="110632"/>
                  </a:lnTo>
                  <a:lnTo>
                    <a:pt x="356917" y="110567"/>
                  </a:lnTo>
                  <a:lnTo>
                    <a:pt x="361069" y="110454"/>
                  </a:lnTo>
                  <a:lnTo>
                    <a:pt x="363492" y="110414"/>
                  </a:lnTo>
                  <a:lnTo>
                    <a:pt x="362674" y="115903"/>
                  </a:lnTo>
                  <a:lnTo>
                    <a:pt x="359506" y="124511"/>
                  </a:lnTo>
                  <a:lnTo>
                    <a:pt x="358426" y="128464"/>
                  </a:lnTo>
                  <a:lnTo>
                    <a:pt x="355722" y="142624"/>
                  </a:lnTo>
                  <a:lnTo>
                    <a:pt x="352194" y="149779"/>
                  </a:lnTo>
                  <a:lnTo>
                    <a:pt x="350216" y="152736"/>
                  </a:lnTo>
                  <a:lnTo>
                    <a:pt x="344500" y="157974"/>
                  </a:lnTo>
                  <a:lnTo>
                    <a:pt x="342911" y="159037"/>
                  </a:lnTo>
                  <a:lnTo>
                    <a:pt x="341499" y="159718"/>
                  </a:lnTo>
                  <a:lnTo>
                    <a:pt x="338994" y="160319"/>
                  </a:lnTo>
                  <a:lnTo>
                    <a:pt x="329197" y="170939"/>
                  </a:lnTo>
                  <a:lnTo>
                    <a:pt x="325543" y="176071"/>
                  </a:lnTo>
                  <a:lnTo>
                    <a:pt x="322302" y="183564"/>
                  </a:lnTo>
                  <a:lnTo>
                    <a:pt x="319080" y="187683"/>
                  </a:lnTo>
                  <a:lnTo>
                    <a:pt x="314346" y="196486"/>
                  </a:lnTo>
                  <a:lnTo>
                    <a:pt x="310116" y="203297"/>
                  </a:lnTo>
                  <a:lnTo>
                    <a:pt x="306057" y="209515"/>
                  </a:lnTo>
                  <a:lnTo>
                    <a:pt x="299036" y="218097"/>
                  </a:lnTo>
                  <a:lnTo>
                    <a:pt x="295920" y="220581"/>
                  </a:lnTo>
                  <a:lnTo>
                    <a:pt x="293817" y="221719"/>
                  </a:lnTo>
                  <a:lnTo>
                    <a:pt x="288239" y="226714"/>
                  </a:lnTo>
                  <a:lnTo>
                    <a:pt x="280388" y="234758"/>
                  </a:lnTo>
                  <a:lnTo>
                    <a:pt x="274376" y="241903"/>
                  </a:lnTo>
                  <a:lnTo>
                    <a:pt x="265387" y="250029"/>
                  </a:lnTo>
                  <a:lnTo>
                    <a:pt x="260183" y="253592"/>
                  </a:lnTo>
                  <a:lnTo>
                    <a:pt x="252368" y="260615"/>
                  </a:lnTo>
                  <a:lnTo>
                    <a:pt x="250189" y="261654"/>
                  </a:lnTo>
                  <a:lnTo>
                    <a:pt x="241381" y="268196"/>
                  </a:lnTo>
                  <a:lnTo>
                    <a:pt x="235049" y="272174"/>
                  </a:lnTo>
                  <a:lnTo>
                    <a:pt x="224794" y="276791"/>
                  </a:lnTo>
                  <a:lnTo>
                    <a:pt x="220722" y="278085"/>
                  </a:lnTo>
                  <a:lnTo>
                    <a:pt x="210994" y="276888"/>
                  </a:lnTo>
                  <a:lnTo>
                    <a:pt x="206932" y="277527"/>
                  </a:lnTo>
                  <a:lnTo>
                    <a:pt x="203540" y="280320"/>
                  </a:lnTo>
                  <a:lnTo>
                    <a:pt x="203224" y="284334"/>
                  </a:lnTo>
                  <a:lnTo>
                    <a:pt x="201810" y="284936"/>
                  </a:lnTo>
                  <a:lnTo>
                    <a:pt x="199666" y="284757"/>
                  </a:lnTo>
                  <a:lnTo>
                    <a:pt x="192866" y="283081"/>
                  </a:lnTo>
                  <a:lnTo>
                    <a:pt x="189178" y="283402"/>
                  </a:lnTo>
                  <a:lnTo>
                    <a:pt x="187025" y="285543"/>
                  </a:lnTo>
                  <a:lnTo>
                    <a:pt x="185291" y="288260"/>
                  </a:lnTo>
                  <a:lnTo>
                    <a:pt x="180168" y="288399"/>
                  </a:lnTo>
                  <a:lnTo>
                    <a:pt x="171047" y="285587"/>
                  </a:lnTo>
                  <a:lnTo>
                    <a:pt x="160320" y="283878"/>
                  </a:lnTo>
                  <a:lnTo>
                    <a:pt x="157836" y="283688"/>
                  </a:lnTo>
                  <a:lnTo>
                    <a:pt x="152636" y="285772"/>
                  </a:lnTo>
                  <a:lnTo>
                    <a:pt x="150818" y="286075"/>
                  </a:lnTo>
                  <a:lnTo>
                    <a:pt x="143243" y="285629"/>
                  </a:lnTo>
                  <a:lnTo>
                    <a:pt x="139041" y="284312"/>
                  </a:lnTo>
                  <a:lnTo>
                    <a:pt x="135022" y="284307"/>
                  </a:lnTo>
                  <a:lnTo>
                    <a:pt x="131941" y="285395"/>
                  </a:lnTo>
                  <a:lnTo>
                    <a:pt x="128205" y="285777"/>
                  </a:lnTo>
                  <a:lnTo>
                    <a:pt x="118110" y="293335"/>
                  </a:lnTo>
                  <a:lnTo>
                    <a:pt x="112897" y="293344"/>
                  </a:lnTo>
                  <a:lnTo>
                    <a:pt x="108399" y="294221"/>
                  </a:lnTo>
                  <a:lnTo>
                    <a:pt x="106169" y="294192"/>
                  </a:lnTo>
                  <a:lnTo>
                    <a:pt x="101995" y="293135"/>
                  </a:lnTo>
                  <a:lnTo>
                    <a:pt x="100440" y="293206"/>
                  </a:lnTo>
                  <a:lnTo>
                    <a:pt x="98065" y="293680"/>
                  </a:lnTo>
                  <a:lnTo>
                    <a:pt x="95685" y="295012"/>
                  </a:lnTo>
                  <a:lnTo>
                    <a:pt x="90269" y="295590"/>
                  </a:lnTo>
                  <a:lnTo>
                    <a:pt x="88164" y="296725"/>
                  </a:lnTo>
                  <a:lnTo>
                    <a:pt x="79008" y="303648"/>
                  </a:lnTo>
                  <a:lnTo>
                    <a:pt x="76922" y="303372"/>
                  </a:lnTo>
                  <a:lnTo>
                    <a:pt x="75235" y="302920"/>
                  </a:lnTo>
                  <a:lnTo>
                    <a:pt x="70481" y="302837"/>
                  </a:lnTo>
                  <a:lnTo>
                    <a:pt x="65097" y="299148"/>
                  </a:lnTo>
                  <a:lnTo>
                    <a:pt x="63035" y="299382"/>
                  </a:lnTo>
                  <a:lnTo>
                    <a:pt x="63588" y="298277"/>
                  </a:lnTo>
                  <a:lnTo>
                    <a:pt x="63754" y="296321"/>
                  </a:lnTo>
                  <a:lnTo>
                    <a:pt x="62618" y="294939"/>
                  </a:lnTo>
                  <a:lnTo>
                    <a:pt x="61849" y="294323"/>
                  </a:lnTo>
                  <a:lnTo>
                    <a:pt x="59737" y="294437"/>
                  </a:lnTo>
                  <a:lnTo>
                    <a:pt x="58615" y="292772"/>
                  </a:lnTo>
                  <a:lnTo>
                    <a:pt x="55382" y="292614"/>
                  </a:lnTo>
                  <a:lnTo>
                    <a:pt x="54263" y="293035"/>
                  </a:lnTo>
                  <a:lnTo>
                    <a:pt x="52711" y="293120"/>
                  </a:lnTo>
                  <a:lnTo>
                    <a:pt x="52573" y="291436"/>
                  </a:lnTo>
                  <a:lnTo>
                    <a:pt x="52696" y="290376"/>
                  </a:lnTo>
                  <a:lnTo>
                    <a:pt x="52601" y="288746"/>
                  </a:lnTo>
                  <a:lnTo>
                    <a:pt x="52212" y="286749"/>
                  </a:lnTo>
                  <a:lnTo>
                    <a:pt x="50960" y="286112"/>
                  </a:lnTo>
                  <a:lnTo>
                    <a:pt x="49998" y="285845"/>
                  </a:lnTo>
                  <a:lnTo>
                    <a:pt x="47710" y="285981"/>
                  </a:lnTo>
                  <a:lnTo>
                    <a:pt x="46133" y="286194"/>
                  </a:lnTo>
                  <a:lnTo>
                    <a:pt x="45393" y="286775"/>
                  </a:lnTo>
                  <a:lnTo>
                    <a:pt x="44546" y="288238"/>
                  </a:lnTo>
                  <a:lnTo>
                    <a:pt x="44535" y="292692"/>
                  </a:lnTo>
                  <a:lnTo>
                    <a:pt x="43402" y="291414"/>
                  </a:lnTo>
                  <a:lnTo>
                    <a:pt x="42113" y="288746"/>
                  </a:lnTo>
                  <a:lnTo>
                    <a:pt x="41700" y="285903"/>
                  </a:lnTo>
                  <a:lnTo>
                    <a:pt x="42164" y="282543"/>
                  </a:lnTo>
                  <a:lnTo>
                    <a:pt x="44611" y="281269"/>
                  </a:lnTo>
                  <a:lnTo>
                    <a:pt x="44421" y="279001"/>
                  </a:lnTo>
                  <a:lnTo>
                    <a:pt x="43903" y="277036"/>
                  </a:lnTo>
                  <a:lnTo>
                    <a:pt x="41171" y="272007"/>
                  </a:lnTo>
                  <a:lnTo>
                    <a:pt x="40104" y="269709"/>
                  </a:lnTo>
                  <a:lnTo>
                    <a:pt x="37785" y="268152"/>
                  </a:lnTo>
                  <a:lnTo>
                    <a:pt x="35982" y="264406"/>
                  </a:lnTo>
                  <a:lnTo>
                    <a:pt x="34164" y="263047"/>
                  </a:lnTo>
                  <a:lnTo>
                    <a:pt x="33408" y="260429"/>
                  </a:lnTo>
                  <a:lnTo>
                    <a:pt x="31635" y="258334"/>
                  </a:lnTo>
                  <a:lnTo>
                    <a:pt x="31035" y="255027"/>
                  </a:lnTo>
                  <a:lnTo>
                    <a:pt x="32013" y="253130"/>
                  </a:lnTo>
                  <a:lnTo>
                    <a:pt x="33559" y="252097"/>
                  </a:lnTo>
                  <a:lnTo>
                    <a:pt x="35135" y="253736"/>
                  </a:lnTo>
                  <a:lnTo>
                    <a:pt x="37092" y="253096"/>
                  </a:lnTo>
                  <a:lnTo>
                    <a:pt x="39875" y="250707"/>
                  </a:lnTo>
                  <a:lnTo>
                    <a:pt x="41521" y="247084"/>
                  </a:lnTo>
                  <a:lnTo>
                    <a:pt x="41622" y="241296"/>
                  </a:lnTo>
                  <a:lnTo>
                    <a:pt x="41199" y="237685"/>
                  </a:lnTo>
                  <a:lnTo>
                    <a:pt x="38990" y="228373"/>
                  </a:lnTo>
                  <a:lnTo>
                    <a:pt x="37947" y="226236"/>
                  </a:lnTo>
                  <a:lnTo>
                    <a:pt x="32970" y="219589"/>
                  </a:lnTo>
                  <a:lnTo>
                    <a:pt x="27196" y="210707"/>
                  </a:lnTo>
                  <a:lnTo>
                    <a:pt x="19890" y="196744"/>
                  </a:lnTo>
                  <a:lnTo>
                    <a:pt x="16396" y="188379"/>
                  </a:lnTo>
                  <a:lnTo>
                    <a:pt x="11110" y="171549"/>
                  </a:lnTo>
                  <a:lnTo>
                    <a:pt x="6455" y="162057"/>
                  </a:lnTo>
                  <a:lnTo>
                    <a:pt x="734" y="153216"/>
                  </a:lnTo>
                  <a:lnTo>
                    <a:pt x="0" y="152642"/>
                  </a:lnTo>
                  <a:lnTo>
                    <a:pt x="875" y="151569"/>
                  </a:lnTo>
                  <a:lnTo>
                    <a:pt x="3950" y="149530"/>
                  </a:lnTo>
                  <a:lnTo>
                    <a:pt x="5349" y="148980"/>
                  </a:lnTo>
                  <a:lnTo>
                    <a:pt x="6092" y="149233"/>
                  </a:lnTo>
                  <a:lnTo>
                    <a:pt x="6815" y="148673"/>
                  </a:lnTo>
                  <a:lnTo>
                    <a:pt x="7517" y="147297"/>
                  </a:lnTo>
                  <a:lnTo>
                    <a:pt x="7672" y="146005"/>
                  </a:lnTo>
                  <a:lnTo>
                    <a:pt x="8018" y="144177"/>
                  </a:lnTo>
                  <a:lnTo>
                    <a:pt x="8705" y="143085"/>
                  </a:lnTo>
                  <a:lnTo>
                    <a:pt x="9458" y="140906"/>
                  </a:lnTo>
                  <a:lnTo>
                    <a:pt x="10741" y="139511"/>
                  </a:lnTo>
                  <a:lnTo>
                    <a:pt x="13460" y="138588"/>
                  </a:lnTo>
                  <a:lnTo>
                    <a:pt x="15520" y="139812"/>
                  </a:lnTo>
                  <a:lnTo>
                    <a:pt x="16383" y="141016"/>
                  </a:lnTo>
                  <a:lnTo>
                    <a:pt x="16740" y="142603"/>
                  </a:lnTo>
                  <a:lnTo>
                    <a:pt x="17651" y="143370"/>
                  </a:lnTo>
                  <a:lnTo>
                    <a:pt x="19115" y="143316"/>
                  </a:lnTo>
                  <a:lnTo>
                    <a:pt x="20147" y="144294"/>
                  </a:lnTo>
                  <a:lnTo>
                    <a:pt x="20746" y="146302"/>
                  </a:lnTo>
                  <a:lnTo>
                    <a:pt x="20625" y="147758"/>
                  </a:lnTo>
                  <a:lnTo>
                    <a:pt x="19791" y="148662"/>
                  </a:lnTo>
                  <a:lnTo>
                    <a:pt x="19908" y="149849"/>
                  </a:lnTo>
                  <a:lnTo>
                    <a:pt x="20970" y="151325"/>
                  </a:lnTo>
                  <a:lnTo>
                    <a:pt x="21408" y="152727"/>
                  </a:lnTo>
                  <a:lnTo>
                    <a:pt x="22121" y="154576"/>
                  </a:lnTo>
                  <a:lnTo>
                    <a:pt x="25855" y="155655"/>
                  </a:lnTo>
                  <a:lnTo>
                    <a:pt x="27679" y="156263"/>
                  </a:lnTo>
                  <a:lnTo>
                    <a:pt x="30826" y="156469"/>
                  </a:lnTo>
                  <a:lnTo>
                    <a:pt x="33799" y="157295"/>
                  </a:lnTo>
                  <a:lnTo>
                    <a:pt x="36600" y="158746"/>
                  </a:lnTo>
                  <a:lnTo>
                    <a:pt x="41201" y="159096"/>
                  </a:lnTo>
                  <a:lnTo>
                    <a:pt x="47604" y="158351"/>
                  </a:lnTo>
                  <a:lnTo>
                    <a:pt x="52875" y="158685"/>
                  </a:lnTo>
                  <a:lnTo>
                    <a:pt x="57017" y="160098"/>
                  </a:lnTo>
                  <a:lnTo>
                    <a:pt x="60016" y="160359"/>
                  </a:lnTo>
                  <a:lnTo>
                    <a:pt x="61875" y="159466"/>
                  </a:lnTo>
                  <a:lnTo>
                    <a:pt x="62681" y="158175"/>
                  </a:lnTo>
                  <a:lnTo>
                    <a:pt x="62432" y="156488"/>
                  </a:lnTo>
                  <a:lnTo>
                    <a:pt x="63354" y="155421"/>
                  </a:lnTo>
                  <a:lnTo>
                    <a:pt x="65445" y="154968"/>
                  </a:lnTo>
                  <a:lnTo>
                    <a:pt x="67118" y="153699"/>
                  </a:lnTo>
                  <a:lnTo>
                    <a:pt x="68377" y="151611"/>
                  </a:lnTo>
                  <a:lnTo>
                    <a:pt x="71288" y="149915"/>
                  </a:lnTo>
                  <a:lnTo>
                    <a:pt x="75851" y="148608"/>
                  </a:lnTo>
                  <a:lnTo>
                    <a:pt x="78120" y="148652"/>
                  </a:lnTo>
                  <a:lnTo>
                    <a:pt x="78120" y="145274"/>
                  </a:lnTo>
                  <a:lnTo>
                    <a:pt x="78120" y="134630"/>
                  </a:lnTo>
                  <a:lnTo>
                    <a:pt x="78120" y="124013"/>
                  </a:lnTo>
                  <a:lnTo>
                    <a:pt x="78120" y="113425"/>
                  </a:lnTo>
                  <a:lnTo>
                    <a:pt x="78120" y="102860"/>
                  </a:lnTo>
                  <a:lnTo>
                    <a:pt x="78120" y="92321"/>
                  </a:lnTo>
                  <a:lnTo>
                    <a:pt x="78120" y="81809"/>
                  </a:lnTo>
                  <a:lnTo>
                    <a:pt x="78120" y="71320"/>
                  </a:lnTo>
                  <a:lnTo>
                    <a:pt x="78120" y="61437"/>
                  </a:lnTo>
                  <a:lnTo>
                    <a:pt x="79185" y="62148"/>
                  </a:lnTo>
                  <a:lnTo>
                    <a:pt x="86185" y="67390"/>
                  </a:lnTo>
                  <a:lnTo>
                    <a:pt x="88075" y="70149"/>
                  </a:lnTo>
                  <a:lnTo>
                    <a:pt x="89014" y="71897"/>
                  </a:lnTo>
                  <a:lnTo>
                    <a:pt x="92025" y="78260"/>
                  </a:lnTo>
                  <a:lnTo>
                    <a:pt x="94268" y="83973"/>
                  </a:lnTo>
                  <a:lnTo>
                    <a:pt x="96091" y="88284"/>
                  </a:lnTo>
                  <a:lnTo>
                    <a:pt x="96229" y="90256"/>
                  </a:lnTo>
                  <a:lnTo>
                    <a:pt x="96486" y="92185"/>
                  </a:lnTo>
                  <a:lnTo>
                    <a:pt x="96743" y="93133"/>
                  </a:lnTo>
                  <a:lnTo>
                    <a:pt x="96574" y="94182"/>
                  </a:lnTo>
                  <a:lnTo>
                    <a:pt x="95292" y="96532"/>
                  </a:lnTo>
                  <a:lnTo>
                    <a:pt x="93983" y="98331"/>
                  </a:lnTo>
                  <a:lnTo>
                    <a:pt x="92411" y="100790"/>
                  </a:lnTo>
                  <a:lnTo>
                    <a:pt x="92260" y="104040"/>
                  </a:lnTo>
                  <a:lnTo>
                    <a:pt x="92735" y="107869"/>
                  </a:lnTo>
                  <a:lnTo>
                    <a:pt x="93700" y="109776"/>
                  </a:lnTo>
                  <a:lnTo>
                    <a:pt x="94912" y="110402"/>
                  </a:lnTo>
                  <a:lnTo>
                    <a:pt x="97810" y="109451"/>
                  </a:lnTo>
                  <a:lnTo>
                    <a:pt x="99645" y="109744"/>
                  </a:lnTo>
                  <a:lnTo>
                    <a:pt x="102234" y="110472"/>
                  </a:lnTo>
                  <a:lnTo>
                    <a:pt x="110725" y="110022"/>
                  </a:lnTo>
                  <a:lnTo>
                    <a:pt x="111751" y="110256"/>
                  </a:lnTo>
                  <a:lnTo>
                    <a:pt x="114955" y="110530"/>
                  </a:lnTo>
                  <a:lnTo>
                    <a:pt x="116026" y="110214"/>
                  </a:lnTo>
                  <a:lnTo>
                    <a:pt x="116985" y="109405"/>
                  </a:lnTo>
                  <a:lnTo>
                    <a:pt x="118095" y="107106"/>
                  </a:lnTo>
                  <a:lnTo>
                    <a:pt x="119088" y="106353"/>
                  </a:lnTo>
                  <a:lnTo>
                    <a:pt x="120887" y="105963"/>
                  </a:lnTo>
                  <a:lnTo>
                    <a:pt x="123018" y="105344"/>
                  </a:lnTo>
                  <a:lnTo>
                    <a:pt x="124787" y="104023"/>
                  </a:lnTo>
                  <a:lnTo>
                    <a:pt x="127588" y="99486"/>
                  </a:lnTo>
                  <a:lnTo>
                    <a:pt x="133189" y="95463"/>
                  </a:lnTo>
                  <a:lnTo>
                    <a:pt x="134908" y="94501"/>
                  </a:lnTo>
                  <a:lnTo>
                    <a:pt x="135992" y="93419"/>
                  </a:lnTo>
                  <a:lnTo>
                    <a:pt x="136934" y="91963"/>
                  </a:lnTo>
                  <a:lnTo>
                    <a:pt x="138896" y="86905"/>
                  </a:lnTo>
                  <a:lnTo>
                    <a:pt x="140380" y="82695"/>
                  </a:lnTo>
                  <a:lnTo>
                    <a:pt x="140885" y="80712"/>
                  </a:lnTo>
                  <a:lnTo>
                    <a:pt x="142209" y="77475"/>
                  </a:lnTo>
                  <a:lnTo>
                    <a:pt x="143811" y="75409"/>
                  </a:lnTo>
                  <a:lnTo>
                    <a:pt x="145376" y="74320"/>
                  </a:lnTo>
                  <a:lnTo>
                    <a:pt x="146160" y="74041"/>
                  </a:lnTo>
                  <a:lnTo>
                    <a:pt x="148177" y="73485"/>
                  </a:lnTo>
                  <a:lnTo>
                    <a:pt x="150771" y="72964"/>
                  </a:lnTo>
                  <a:lnTo>
                    <a:pt x="153496" y="73549"/>
                  </a:lnTo>
                  <a:lnTo>
                    <a:pt x="156420" y="74799"/>
                  </a:lnTo>
                  <a:lnTo>
                    <a:pt x="159719" y="76910"/>
                  </a:lnTo>
                  <a:lnTo>
                    <a:pt x="163097" y="79521"/>
                  </a:lnTo>
                  <a:lnTo>
                    <a:pt x="164651" y="80848"/>
                  </a:lnTo>
                  <a:lnTo>
                    <a:pt x="166327" y="81443"/>
                  </a:lnTo>
                  <a:lnTo>
                    <a:pt x="169311" y="81650"/>
                  </a:lnTo>
                  <a:lnTo>
                    <a:pt x="171267" y="81604"/>
                  </a:lnTo>
                  <a:lnTo>
                    <a:pt x="174310" y="84201"/>
                  </a:lnTo>
                  <a:lnTo>
                    <a:pt x="175850" y="84364"/>
                  </a:lnTo>
                  <a:lnTo>
                    <a:pt x="179292" y="85151"/>
                  </a:lnTo>
                  <a:lnTo>
                    <a:pt x="183544" y="85961"/>
                  </a:lnTo>
                  <a:lnTo>
                    <a:pt x="186221" y="85869"/>
                  </a:lnTo>
                  <a:lnTo>
                    <a:pt x="189089" y="84464"/>
                  </a:lnTo>
                  <a:lnTo>
                    <a:pt x="191158" y="84404"/>
                  </a:lnTo>
                  <a:lnTo>
                    <a:pt x="193831" y="84517"/>
                  </a:lnTo>
                  <a:lnTo>
                    <a:pt x="196768" y="84132"/>
                  </a:lnTo>
                  <a:lnTo>
                    <a:pt x="198923" y="83530"/>
                  </a:lnTo>
                  <a:lnTo>
                    <a:pt x="200570" y="82310"/>
                  </a:lnTo>
                  <a:lnTo>
                    <a:pt x="202022" y="80975"/>
                  </a:lnTo>
                  <a:lnTo>
                    <a:pt x="203689" y="77003"/>
                  </a:lnTo>
                  <a:lnTo>
                    <a:pt x="204650" y="73807"/>
                  </a:lnTo>
                  <a:lnTo>
                    <a:pt x="206137" y="70135"/>
                  </a:lnTo>
                  <a:lnTo>
                    <a:pt x="207962" y="65163"/>
                  </a:lnTo>
                  <a:lnTo>
                    <a:pt x="208612" y="61701"/>
                  </a:lnTo>
                  <a:lnTo>
                    <a:pt x="209281" y="60748"/>
                  </a:lnTo>
                  <a:lnTo>
                    <a:pt x="211929" y="59690"/>
                  </a:lnTo>
                  <a:lnTo>
                    <a:pt x="214118" y="58963"/>
                  </a:lnTo>
                  <a:lnTo>
                    <a:pt x="220007" y="57603"/>
                  </a:lnTo>
                  <a:lnTo>
                    <a:pt x="221214" y="56878"/>
                  </a:lnTo>
                  <a:lnTo>
                    <a:pt x="222316" y="55248"/>
                  </a:lnTo>
                  <a:lnTo>
                    <a:pt x="224885" y="52484"/>
                  </a:lnTo>
                  <a:lnTo>
                    <a:pt x="228055" y="50177"/>
                  </a:lnTo>
                  <a:lnTo>
                    <a:pt x="229690" y="48857"/>
                  </a:lnTo>
                  <a:lnTo>
                    <a:pt x="232687" y="37679"/>
                  </a:lnTo>
                  <a:lnTo>
                    <a:pt x="233050" y="36302"/>
                  </a:lnTo>
                  <a:lnTo>
                    <a:pt x="235229" y="33342"/>
                  </a:lnTo>
                  <a:lnTo>
                    <a:pt x="236574" y="32092"/>
                  </a:lnTo>
                  <a:lnTo>
                    <a:pt x="237440" y="32069"/>
                  </a:lnTo>
                  <a:lnTo>
                    <a:pt x="238671" y="31289"/>
                  </a:lnTo>
                  <a:lnTo>
                    <a:pt x="240266" y="29752"/>
                  </a:lnTo>
                  <a:lnTo>
                    <a:pt x="242165" y="28803"/>
                  </a:lnTo>
                  <a:lnTo>
                    <a:pt x="244365" y="28447"/>
                  </a:lnTo>
                  <a:lnTo>
                    <a:pt x="245790" y="27426"/>
                  </a:lnTo>
                  <a:lnTo>
                    <a:pt x="246442" y="25747"/>
                  </a:lnTo>
                  <a:lnTo>
                    <a:pt x="247574" y="24931"/>
                  </a:lnTo>
                  <a:lnTo>
                    <a:pt x="249187" y="24977"/>
                  </a:lnTo>
                  <a:lnTo>
                    <a:pt x="250105" y="24444"/>
                  </a:lnTo>
                  <a:lnTo>
                    <a:pt x="250331" y="23328"/>
                  </a:lnTo>
                  <a:lnTo>
                    <a:pt x="251305" y="22373"/>
                  </a:lnTo>
                  <a:lnTo>
                    <a:pt x="253028" y="21579"/>
                  </a:lnTo>
                  <a:lnTo>
                    <a:pt x="253931" y="20639"/>
                  </a:lnTo>
                  <a:lnTo>
                    <a:pt x="254013" y="19553"/>
                  </a:lnTo>
                  <a:lnTo>
                    <a:pt x="256067" y="16914"/>
                  </a:lnTo>
                  <a:lnTo>
                    <a:pt x="260096" y="12722"/>
                  </a:lnTo>
                  <a:lnTo>
                    <a:pt x="263890" y="10389"/>
                  </a:lnTo>
                  <a:lnTo>
                    <a:pt x="267453" y="9914"/>
                  </a:lnTo>
                  <a:lnTo>
                    <a:pt x="270828" y="9042"/>
                  </a:lnTo>
                  <a:lnTo>
                    <a:pt x="274020" y="7773"/>
                  </a:lnTo>
                  <a:lnTo>
                    <a:pt x="276363" y="5780"/>
                  </a:lnTo>
                  <a:lnTo>
                    <a:pt x="277859" y="3068"/>
                  </a:lnTo>
                  <a:lnTo>
                    <a:pt x="280433" y="1556"/>
                  </a:lnTo>
                  <a:lnTo>
                    <a:pt x="285629" y="1107"/>
                  </a:lnTo>
                  <a:lnTo>
                    <a:pt x="285907" y="1080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14" name="ee4p_ZM_1_37365">
              <a:extLst>
                <a:ext uri="{FF2B5EF4-FFF2-40B4-BE49-F238E27FC236}">
                  <a16:creationId xmlns:a16="http://schemas.microsoft.com/office/drawing/2014/main" id="{DE6B8066-C7F0-5D9E-F64B-AD4836E3ADF8}"/>
                </a:ext>
              </a:extLst>
            </p:cNvPr>
            <p:cNvSpPr>
              <a:spLocks noChangeAspect="1"/>
            </p:cNvSpPr>
            <p:nvPr>
              <p:custDataLst>
                <p:tags r:id="rId368"/>
              </p:custDataLst>
            </p:nvPr>
          </p:nvSpPr>
          <p:spPr>
            <a:xfrm>
              <a:off x="7125040" y="4911929"/>
              <a:ext cx="324419" cy="285936"/>
            </a:xfrm>
            <a:custGeom>
              <a:avLst/>
              <a:gdLst/>
              <a:ahLst/>
              <a:cxnLst/>
              <a:rect l="0" t="0" r="0" b="0"/>
              <a:pathLst>
                <a:path w="258328" h="221649">
                  <a:moveTo>
                    <a:pt x="241929" y="27043"/>
                  </a:moveTo>
                  <a:lnTo>
                    <a:pt x="242005" y="27635"/>
                  </a:lnTo>
                  <a:lnTo>
                    <a:pt x="242618" y="28755"/>
                  </a:lnTo>
                  <a:lnTo>
                    <a:pt x="243255" y="29561"/>
                  </a:lnTo>
                  <a:lnTo>
                    <a:pt x="243305" y="30751"/>
                  </a:lnTo>
                  <a:lnTo>
                    <a:pt x="243611" y="31849"/>
                  </a:lnTo>
                  <a:lnTo>
                    <a:pt x="244535" y="32121"/>
                  </a:lnTo>
                  <a:lnTo>
                    <a:pt x="245302" y="32191"/>
                  </a:lnTo>
                  <a:lnTo>
                    <a:pt x="246010" y="31398"/>
                  </a:lnTo>
                  <a:lnTo>
                    <a:pt x="246973" y="31417"/>
                  </a:lnTo>
                  <a:lnTo>
                    <a:pt x="248027" y="31923"/>
                  </a:lnTo>
                  <a:lnTo>
                    <a:pt x="248403" y="33191"/>
                  </a:lnTo>
                  <a:lnTo>
                    <a:pt x="249228" y="34900"/>
                  </a:lnTo>
                  <a:lnTo>
                    <a:pt x="250564" y="36066"/>
                  </a:lnTo>
                  <a:lnTo>
                    <a:pt x="251461" y="37191"/>
                  </a:lnTo>
                  <a:lnTo>
                    <a:pt x="251154" y="39240"/>
                  </a:lnTo>
                  <a:lnTo>
                    <a:pt x="250588" y="41116"/>
                  </a:lnTo>
                  <a:lnTo>
                    <a:pt x="252402" y="42967"/>
                  </a:lnTo>
                  <a:lnTo>
                    <a:pt x="254758" y="44728"/>
                  </a:lnTo>
                  <a:lnTo>
                    <a:pt x="255395" y="45509"/>
                  </a:lnTo>
                  <a:lnTo>
                    <a:pt x="255587" y="48120"/>
                  </a:lnTo>
                  <a:lnTo>
                    <a:pt x="255943" y="49008"/>
                  </a:lnTo>
                  <a:lnTo>
                    <a:pt x="257545" y="51182"/>
                  </a:lnTo>
                  <a:lnTo>
                    <a:pt x="258327" y="52625"/>
                  </a:lnTo>
                  <a:lnTo>
                    <a:pt x="258273" y="53461"/>
                  </a:lnTo>
                  <a:lnTo>
                    <a:pt x="253976" y="57768"/>
                  </a:lnTo>
                  <a:lnTo>
                    <a:pt x="252614" y="58185"/>
                  </a:lnTo>
                  <a:lnTo>
                    <a:pt x="251326" y="58429"/>
                  </a:lnTo>
                  <a:lnTo>
                    <a:pt x="250173" y="59316"/>
                  </a:lnTo>
                  <a:lnTo>
                    <a:pt x="249478" y="60234"/>
                  </a:lnTo>
                  <a:lnTo>
                    <a:pt x="249731" y="60719"/>
                  </a:lnTo>
                  <a:lnTo>
                    <a:pt x="250184" y="62198"/>
                  </a:lnTo>
                  <a:lnTo>
                    <a:pt x="251189" y="64525"/>
                  </a:lnTo>
                  <a:lnTo>
                    <a:pt x="252097" y="66153"/>
                  </a:lnTo>
                  <a:lnTo>
                    <a:pt x="251340" y="68195"/>
                  </a:lnTo>
                  <a:lnTo>
                    <a:pt x="249634" y="71661"/>
                  </a:lnTo>
                  <a:lnTo>
                    <a:pt x="248846" y="71969"/>
                  </a:lnTo>
                  <a:lnTo>
                    <a:pt x="248705" y="74594"/>
                  </a:lnTo>
                  <a:lnTo>
                    <a:pt x="249228" y="75553"/>
                  </a:lnTo>
                  <a:lnTo>
                    <a:pt x="250074" y="76303"/>
                  </a:lnTo>
                  <a:lnTo>
                    <a:pt x="250420" y="78089"/>
                  </a:lnTo>
                  <a:lnTo>
                    <a:pt x="250446" y="80536"/>
                  </a:lnTo>
                  <a:lnTo>
                    <a:pt x="250355" y="82513"/>
                  </a:lnTo>
                  <a:lnTo>
                    <a:pt x="249279" y="87545"/>
                  </a:lnTo>
                  <a:lnTo>
                    <a:pt x="251221" y="91936"/>
                  </a:lnTo>
                  <a:lnTo>
                    <a:pt x="251882" y="92416"/>
                  </a:lnTo>
                  <a:lnTo>
                    <a:pt x="254566" y="92447"/>
                  </a:lnTo>
                  <a:lnTo>
                    <a:pt x="255028" y="92822"/>
                  </a:lnTo>
                  <a:lnTo>
                    <a:pt x="254384" y="94071"/>
                  </a:lnTo>
                  <a:lnTo>
                    <a:pt x="253223" y="95352"/>
                  </a:lnTo>
                  <a:lnTo>
                    <a:pt x="252499" y="96012"/>
                  </a:lnTo>
                  <a:lnTo>
                    <a:pt x="249083" y="97509"/>
                  </a:lnTo>
                  <a:lnTo>
                    <a:pt x="244177" y="99170"/>
                  </a:lnTo>
                  <a:lnTo>
                    <a:pt x="243151" y="100762"/>
                  </a:lnTo>
                  <a:lnTo>
                    <a:pt x="242497" y="103077"/>
                  </a:lnTo>
                  <a:lnTo>
                    <a:pt x="243048" y="104433"/>
                  </a:lnTo>
                  <a:lnTo>
                    <a:pt x="243700" y="105217"/>
                  </a:lnTo>
                  <a:lnTo>
                    <a:pt x="243488" y="107236"/>
                  </a:lnTo>
                  <a:lnTo>
                    <a:pt x="243060" y="109368"/>
                  </a:lnTo>
                  <a:lnTo>
                    <a:pt x="243205" y="111046"/>
                  </a:lnTo>
                  <a:lnTo>
                    <a:pt x="242983" y="112533"/>
                  </a:lnTo>
                  <a:lnTo>
                    <a:pt x="242341" y="113262"/>
                  </a:lnTo>
                  <a:lnTo>
                    <a:pt x="241482" y="115504"/>
                  </a:lnTo>
                  <a:lnTo>
                    <a:pt x="240424" y="117754"/>
                  </a:lnTo>
                  <a:lnTo>
                    <a:pt x="239588" y="118783"/>
                  </a:lnTo>
                  <a:lnTo>
                    <a:pt x="238358" y="119853"/>
                  </a:lnTo>
                  <a:lnTo>
                    <a:pt x="236412" y="120757"/>
                  </a:lnTo>
                  <a:lnTo>
                    <a:pt x="236448" y="121206"/>
                  </a:lnTo>
                  <a:lnTo>
                    <a:pt x="238653" y="122246"/>
                  </a:lnTo>
                  <a:lnTo>
                    <a:pt x="239221" y="122965"/>
                  </a:lnTo>
                  <a:lnTo>
                    <a:pt x="239426" y="123455"/>
                  </a:lnTo>
                  <a:lnTo>
                    <a:pt x="238953" y="123933"/>
                  </a:lnTo>
                  <a:lnTo>
                    <a:pt x="238506" y="124600"/>
                  </a:lnTo>
                  <a:lnTo>
                    <a:pt x="239521" y="125288"/>
                  </a:lnTo>
                  <a:lnTo>
                    <a:pt x="240763" y="125869"/>
                  </a:lnTo>
                  <a:lnTo>
                    <a:pt x="241938" y="127367"/>
                  </a:lnTo>
                  <a:lnTo>
                    <a:pt x="242983" y="129462"/>
                  </a:lnTo>
                  <a:lnTo>
                    <a:pt x="243285" y="130196"/>
                  </a:lnTo>
                  <a:lnTo>
                    <a:pt x="243525" y="130484"/>
                  </a:lnTo>
                  <a:lnTo>
                    <a:pt x="243905" y="130519"/>
                  </a:lnTo>
                  <a:lnTo>
                    <a:pt x="244637" y="130211"/>
                  </a:lnTo>
                  <a:lnTo>
                    <a:pt x="245991" y="129064"/>
                  </a:lnTo>
                  <a:lnTo>
                    <a:pt x="246973" y="128653"/>
                  </a:lnTo>
                  <a:lnTo>
                    <a:pt x="248161" y="130286"/>
                  </a:lnTo>
                  <a:lnTo>
                    <a:pt x="243415" y="131900"/>
                  </a:lnTo>
                  <a:lnTo>
                    <a:pt x="240925" y="132745"/>
                  </a:lnTo>
                  <a:lnTo>
                    <a:pt x="233821" y="135161"/>
                  </a:lnTo>
                  <a:lnTo>
                    <a:pt x="227621" y="137269"/>
                  </a:lnTo>
                  <a:lnTo>
                    <a:pt x="226008" y="137671"/>
                  </a:lnTo>
                  <a:lnTo>
                    <a:pt x="222793" y="138702"/>
                  </a:lnTo>
                  <a:lnTo>
                    <a:pt x="221192" y="139332"/>
                  </a:lnTo>
                  <a:lnTo>
                    <a:pt x="215593" y="141175"/>
                  </a:lnTo>
                  <a:lnTo>
                    <a:pt x="213252" y="142092"/>
                  </a:lnTo>
                  <a:lnTo>
                    <a:pt x="211369" y="143005"/>
                  </a:lnTo>
                  <a:lnTo>
                    <a:pt x="206740" y="144372"/>
                  </a:lnTo>
                  <a:lnTo>
                    <a:pt x="202369" y="145658"/>
                  </a:lnTo>
                  <a:lnTo>
                    <a:pt x="197599" y="146983"/>
                  </a:lnTo>
                  <a:lnTo>
                    <a:pt x="192252" y="148470"/>
                  </a:lnTo>
                  <a:lnTo>
                    <a:pt x="189253" y="149540"/>
                  </a:lnTo>
                  <a:lnTo>
                    <a:pt x="187227" y="150467"/>
                  </a:lnTo>
                  <a:lnTo>
                    <a:pt x="182490" y="152339"/>
                  </a:lnTo>
                  <a:lnTo>
                    <a:pt x="182267" y="152796"/>
                  </a:lnTo>
                  <a:lnTo>
                    <a:pt x="182338" y="154070"/>
                  </a:lnTo>
                  <a:lnTo>
                    <a:pt x="182939" y="156700"/>
                  </a:lnTo>
                  <a:lnTo>
                    <a:pt x="184122" y="159091"/>
                  </a:lnTo>
                  <a:lnTo>
                    <a:pt x="185115" y="160467"/>
                  </a:lnTo>
                  <a:lnTo>
                    <a:pt x="185763" y="164002"/>
                  </a:lnTo>
                  <a:lnTo>
                    <a:pt x="186122" y="167109"/>
                  </a:lnTo>
                  <a:lnTo>
                    <a:pt x="182906" y="167118"/>
                  </a:lnTo>
                  <a:lnTo>
                    <a:pt x="177251" y="167131"/>
                  </a:lnTo>
                  <a:lnTo>
                    <a:pt x="171384" y="167144"/>
                  </a:lnTo>
                  <a:lnTo>
                    <a:pt x="166027" y="168326"/>
                  </a:lnTo>
                  <a:lnTo>
                    <a:pt x="161617" y="170131"/>
                  </a:lnTo>
                  <a:lnTo>
                    <a:pt x="156370" y="172958"/>
                  </a:lnTo>
                  <a:lnTo>
                    <a:pt x="154655" y="174067"/>
                  </a:lnTo>
                  <a:lnTo>
                    <a:pt x="153329" y="174921"/>
                  </a:lnTo>
                  <a:lnTo>
                    <a:pt x="152500" y="176017"/>
                  </a:lnTo>
                  <a:lnTo>
                    <a:pt x="152083" y="178425"/>
                  </a:lnTo>
                  <a:lnTo>
                    <a:pt x="152083" y="182144"/>
                  </a:lnTo>
                  <a:lnTo>
                    <a:pt x="151552" y="184822"/>
                  </a:lnTo>
                  <a:lnTo>
                    <a:pt x="149956" y="187275"/>
                  </a:lnTo>
                  <a:lnTo>
                    <a:pt x="149959" y="187270"/>
                  </a:lnTo>
                  <a:lnTo>
                    <a:pt x="141980" y="190243"/>
                  </a:lnTo>
                  <a:lnTo>
                    <a:pt x="136760" y="192674"/>
                  </a:lnTo>
                  <a:lnTo>
                    <a:pt x="131640" y="195549"/>
                  </a:lnTo>
                  <a:lnTo>
                    <a:pt x="127756" y="199284"/>
                  </a:lnTo>
                  <a:lnTo>
                    <a:pt x="125106" y="203876"/>
                  </a:lnTo>
                  <a:lnTo>
                    <a:pt x="120710" y="209567"/>
                  </a:lnTo>
                  <a:lnTo>
                    <a:pt x="116240" y="214501"/>
                  </a:lnTo>
                  <a:lnTo>
                    <a:pt x="111487" y="219750"/>
                  </a:lnTo>
                  <a:lnTo>
                    <a:pt x="106160" y="221648"/>
                  </a:lnTo>
                  <a:lnTo>
                    <a:pt x="101686" y="221215"/>
                  </a:lnTo>
                  <a:lnTo>
                    <a:pt x="96287" y="219086"/>
                  </a:lnTo>
                  <a:lnTo>
                    <a:pt x="92001" y="218685"/>
                  </a:lnTo>
                  <a:lnTo>
                    <a:pt x="88824" y="220011"/>
                  </a:lnTo>
                  <a:lnTo>
                    <a:pt x="85892" y="219603"/>
                  </a:lnTo>
                  <a:lnTo>
                    <a:pt x="83201" y="217464"/>
                  </a:lnTo>
                  <a:lnTo>
                    <a:pt x="80947" y="216686"/>
                  </a:lnTo>
                  <a:lnTo>
                    <a:pt x="79122" y="217265"/>
                  </a:lnTo>
                  <a:lnTo>
                    <a:pt x="76792" y="217165"/>
                  </a:lnTo>
                  <a:lnTo>
                    <a:pt x="72525" y="215989"/>
                  </a:lnTo>
                  <a:lnTo>
                    <a:pt x="68841" y="212358"/>
                  </a:lnTo>
                  <a:lnTo>
                    <a:pt x="66842" y="210858"/>
                  </a:lnTo>
                  <a:lnTo>
                    <a:pt x="65308" y="210286"/>
                  </a:lnTo>
                  <a:lnTo>
                    <a:pt x="60897" y="209700"/>
                  </a:lnTo>
                  <a:lnTo>
                    <a:pt x="50769" y="208863"/>
                  </a:lnTo>
                  <a:lnTo>
                    <a:pt x="49713" y="209057"/>
                  </a:lnTo>
                  <a:lnTo>
                    <a:pt x="45507" y="209772"/>
                  </a:lnTo>
                  <a:lnTo>
                    <a:pt x="40251" y="210666"/>
                  </a:lnTo>
                  <a:lnTo>
                    <a:pt x="35733" y="211561"/>
                  </a:lnTo>
                  <a:lnTo>
                    <a:pt x="30996" y="212501"/>
                  </a:lnTo>
                  <a:lnTo>
                    <a:pt x="26595" y="208712"/>
                  </a:lnTo>
                  <a:lnTo>
                    <a:pt x="21603" y="204415"/>
                  </a:lnTo>
                  <a:lnTo>
                    <a:pt x="16431" y="199624"/>
                  </a:lnTo>
                  <a:lnTo>
                    <a:pt x="12540" y="195869"/>
                  </a:lnTo>
                  <a:lnTo>
                    <a:pt x="10626" y="193706"/>
                  </a:lnTo>
                  <a:lnTo>
                    <a:pt x="7212" y="190851"/>
                  </a:lnTo>
                  <a:lnTo>
                    <a:pt x="4755" y="189456"/>
                  </a:lnTo>
                  <a:lnTo>
                    <a:pt x="3798" y="188752"/>
                  </a:lnTo>
                  <a:lnTo>
                    <a:pt x="1356" y="181160"/>
                  </a:lnTo>
                  <a:lnTo>
                    <a:pt x="19" y="174191"/>
                  </a:lnTo>
                  <a:lnTo>
                    <a:pt x="19" y="168945"/>
                  </a:lnTo>
                  <a:lnTo>
                    <a:pt x="17" y="161678"/>
                  </a:lnTo>
                  <a:lnTo>
                    <a:pt x="15" y="154419"/>
                  </a:lnTo>
                  <a:lnTo>
                    <a:pt x="13" y="147166"/>
                  </a:lnTo>
                  <a:lnTo>
                    <a:pt x="11" y="139921"/>
                  </a:lnTo>
                  <a:lnTo>
                    <a:pt x="9" y="132681"/>
                  </a:lnTo>
                  <a:lnTo>
                    <a:pt x="4" y="125449"/>
                  </a:lnTo>
                  <a:lnTo>
                    <a:pt x="4" y="118220"/>
                  </a:lnTo>
                  <a:lnTo>
                    <a:pt x="2" y="111000"/>
                  </a:lnTo>
                  <a:lnTo>
                    <a:pt x="0" y="107495"/>
                  </a:lnTo>
                  <a:lnTo>
                    <a:pt x="5100" y="107495"/>
                  </a:lnTo>
                  <a:lnTo>
                    <a:pt x="10881" y="107495"/>
                  </a:lnTo>
                  <a:lnTo>
                    <a:pt x="16925" y="107495"/>
                  </a:lnTo>
                  <a:lnTo>
                    <a:pt x="23496" y="107495"/>
                  </a:lnTo>
                  <a:lnTo>
                    <a:pt x="30067" y="107495"/>
                  </a:lnTo>
                  <a:lnTo>
                    <a:pt x="36638" y="107495"/>
                  </a:lnTo>
                  <a:lnTo>
                    <a:pt x="41223" y="107495"/>
                  </a:lnTo>
                  <a:lnTo>
                    <a:pt x="42423" y="107434"/>
                  </a:lnTo>
                  <a:lnTo>
                    <a:pt x="43872" y="107214"/>
                  </a:lnTo>
                  <a:lnTo>
                    <a:pt x="43985" y="106505"/>
                  </a:lnTo>
                  <a:lnTo>
                    <a:pt x="42091" y="102956"/>
                  </a:lnTo>
                  <a:lnTo>
                    <a:pt x="42182" y="101703"/>
                  </a:lnTo>
                  <a:lnTo>
                    <a:pt x="42687" y="99297"/>
                  </a:lnTo>
                  <a:lnTo>
                    <a:pt x="43469" y="97222"/>
                  </a:lnTo>
                  <a:lnTo>
                    <a:pt x="44498" y="94492"/>
                  </a:lnTo>
                  <a:lnTo>
                    <a:pt x="44613" y="92888"/>
                  </a:lnTo>
                  <a:lnTo>
                    <a:pt x="43781" y="87662"/>
                  </a:lnTo>
                  <a:lnTo>
                    <a:pt x="43857" y="84748"/>
                  </a:lnTo>
                  <a:lnTo>
                    <a:pt x="44103" y="81722"/>
                  </a:lnTo>
                  <a:lnTo>
                    <a:pt x="44334" y="78855"/>
                  </a:lnTo>
                  <a:lnTo>
                    <a:pt x="44049" y="76857"/>
                  </a:lnTo>
                  <a:lnTo>
                    <a:pt x="44399" y="75767"/>
                  </a:lnTo>
                  <a:lnTo>
                    <a:pt x="45015" y="74209"/>
                  </a:lnTo>
                  <a:lnTo>
                    <a:pt x="45338" y="72450"/>
                  </a:lnTo>
                  <a:lnTo>
                    <a:pt x="45723" y="71694"/>
                  </a:lnTo>
                  <a:lnTo>
                    <a:pt x="45606" y="70994"/>
                  </a:lnTo>
                  <a:lnTo>
                    <a:pt x="45257" y="69684"/>
                  </a:lnTo>
                  <a:lnTo>
                    <a:pt x="44913" y="66755"/>
                  </a:lnTo>
                  <a:lnTo>
                    <a:pt x="44431" y="62683"/>
                  </a:lnTo>
                  <a:lnTo>
                    <a:pt x="43950" y="59751"/>
                  </a:lnTo>
                  <a:lnTo>
                    <a:pt x="44751" y="59915"/>
                  </a:lnTo>
                  <a:lnTo>
                    <a:pt x="46425" y="60192"/>
                  </a:lnTo>
                  <a:lnTo>
                    <a:pt x="47237" y="61627"/>
                  </a:lnTo>
                  <a:lnTo>
                    <a:pt x="47709" y="63201"/>
                  </a:lnTo>
                  <a:lnTo>
                    <a:pt x="48830" y="63290"/>
                  </a:lnTo>
                  <a:lnTo>
                    <a:pt x="51765" y="64226"/>
                  </a:lnTo>
                  <a:lnTo>
                    <a:pt x="52777" y="65526"/>
                  </a:lnTo>
                  <a:lnTo>
                    <a:pt x="53453" y="68331"/>
                  </a:lnTo>
                  <a:lnTo>
                    <a:pt x="53048" y="69767"/>
                  </a:lnTo>
                  <a:lnTo>
                    <a:pt x="52101" y="70930"/>
                  </a:lnTo>
                  <a:lnTo>
                    <a:pt x="53048" y="71956"/>
                  </a:lnTo>
                  <a:lnTo>
                    <a:pt x="55008" y="72641"/>
                  </a:lnTo>
                  <a:lnTo>
                    <a:pt x="56157" y="72435"/>
                  </a:lnTo>
                  <a:lnTo>
                    <a:pt x="59467" y="70520"/>
                  </a:lnTo>
                  <a:lnTo>
                    <a:pt x="60791" y="70180"/>
                  </a:lnTo>
                  <a:lnTo>
                    <a:pt x="62521" y="69809"/>
                  </a:lnTo>
                  <a:lnTo>
                    <a:pt x="64080" y="69315"/>
                  </a:lnTo>
                  <a:lnTo>
                    <a:pt x="68483" y="68440"/>
                  </a:lnTo>
                  <a:lnTo>
                    <a:pt x="70891" y="68057"/>
                  </a:lnTo>
                  <a:lnTo>
                    <a:pt x="72242" y="67373"/>
                  </a:lnTo>
                  <a:lnTo>
                    <a:pt x="73188" y="67373"/>
                  </a:lnTo>
                  <a:lnTo>
                    <a:pt x="73864" y="67922"/>
                  </a:lnTo>
                  <a:lnTo>
                    <a:pt x="73255" y="69905"/>
                  </a:lnTo>
                  <a:lnTo>
                    <a:pt x="73052" y="71685"/>
                  </a:lnTo>
                  <a:lnTo>
                    <a:pt x="73894" y="75012"/>
                  </a:lnTo>
                  <a:lnTo>
                    <a:pt x="74529" y="76570"/>
                  </a:lnTo>
                  <a:lnTo>
                    <a:pt x="75943" y="77701"/>
                  </a:lnTo>
                  <a:lnTo>
                    <a:pt x="76974" y="78290"/>
                  </a:lnTo>
                  <a:lnTo>
                    <a:pt x="78122" y="79492"/>
                  </a:lnTo>
                  <a:lnTo>
                    <a:pt x="80487" y="79284"/>
                  </a:lnTo>
                  <a:lnTo>
                    <a:pt x="85706" y="80987"/>
                  </a:lnTo>
                  <a:lnTo>
                    <a:pt x="87291" y="81775"/>
                  </a:lnTo>
                  <a:lnTo>
                    <a:pt x="89489" y="82556"/>
                  </a:lnTo>
                  <a:lnTo>
                    <a:pt x="91046" y="82850"/>
                  </a:lnTo>
                  <a:lnTo>
                    <a:pt x="96425" y="83447"/>
                  </a:lnTo>
                  <a:lnTo>
                    <a:pt x="98416" y="83851"/>
                  </a:lnTo>
                  <a:lnTo>
                    <a:pt x="102102" y="84394"/>
                  </a:lnTo>
                  <a:lnTo>
                    <a:pt x="105050" y="84481"/>
                  </a:lnTo>
                  <a:lnTo>
                    <a:pt x="107136" y="84240"/>
                  </a:lnTo>
                  <a:lnTo>
                    <a:pt x="108604" y="83754"/>
                  </a:lnTo>
                  <a:lnTo>
                    <a:pt x="109498" y="83211"/>
                  </a:lnTo>
                  <a:lnTo>
                    <a:pt x="109913" y="82751"/>
                  </a:lnTo>
                  <a:lnTo>
                    <a:pt x="110515" y="81088"/>
                  </a:lnTo>
                  <a:lnTo>
                    <a:pt x="111616" y="77482"/>
                  </a:lnTo>
                  <a:lnTo>
                    <a:pt x="112046" y="76410"/>
                  </a:lnTo>
                  <a:lnTo>
                    <a:pt x="113137" y="75913"/>
                  </a:lnTo>
                  <a:lnTo>
                    <a:pt x="114547" y="75587"/>
                  </a:lnTo>
                  <a:lnTo>
                    <a:pt x="115370" y="76167"/>
                  </a:lnTo>
                  <a:lnTo>
                    <a:pt x="116292" y="80166"/>
                  </a:lnTo>
                  <a:lnTo>
                    <a:pt x="120395" y="83776"/>
                  </a:lnTo>
                  <a:lnTo>
                    <a:pt x="121796" y="86807"/>
                  </a:lnTo>
                  <a:lnTo>
                    <a:pt x="122822" y="89401"/>
                  </a:lnTo>
                  <a:lnTo>
                    <a:pt x="123716" y="90113"/>
                  </a:lnTo>
                  <a:lnTo>
                    <a:pt x="125275" y="91005"/>
                  </a:lnTo>
                  <a:lnTo>
                    <a:pt x="127762" y="91321"/>
                  </a:lnTo>
                  <a:lnTo>
                    <a:pt x="129986" y="91411"/>
                  </a:lnTo>
                  <a:lnTo>
                    <a:pt x="134662" y="93280"/>
                  </a:lnTo>
                  <a:lnTo>
                    <a:pt x="138386" y="94771"/>
                  </a:lnTo>
                  <a:lnTo>
                    <a:pt x="141049" y="95836"/>
                  </a:lnTo>
                  <a:lnTo>
                    <a:pt x="142269" y="96646"/>
                  </a:lnTo>
                  <a:lnTo>
                    <a:pt x="143122" y="97979"/>
                  </a:lnTo>
                  <a:lnTo>
                    <a:pt x="143630" y="99009"/>
                  </a:lnTo>
                  <a:lnTo>
                    <a:pt x="144443" y="101679"/>
                  </a:lnTo>
                  <a:lnTo>
                    <a:pt x="145320" y="103790"/>
                  </a:lnTo>
                  <a:lnTo>
                    <a:pt x="146748" y="104194"/>
                  </a:lnTo>
                  <a:lnTo>
                    <a:pt x="148020" y="104356"/>
                  </a:lnTo>
                  <a:lnTo>
                    <a:pt x="149283" y="105798"/>
                  </a:lnTo>
                  <a:lnTo>
                    <a:pt x="150235" y="107067"/>
                  </a:lnTo>
                  <a:lnTo>
                    <a:pt x="152129" y="110159"/>
                  </a:lnTo>
                  <a:lnTo>
                    <a:pt x="153519" y="112300"/>
                  </a:lnTo>
                  <a:lnTo>
                    <a:pt x="153975" y="114381"/>
                  </a:lnTo>
                  <a:lnTo>
                    <a:pt x="155566" y="115770"/>
                  </a:lnTo>
                  <a:lnTo>
                    <a:pt x="157719" y="116361"/>
                  </a:lnTo>
                  <a:lnTo>
                    <a:pt x="159715" y="116433"/>
                  </a:lnTo>
                  <a:lnTo>
                    <a:pt x="160861" y="115813"/>
                  </a:lnTo>
                  <a:lnTo>
                    <a:pt x="163694" y="114735"/>
                  </a:lnTo>
                  <a:lnTo>
                    <a:pt x="165897" y="113500"/>
                  </a:lnTo>
                  <a:lnTo>
                    <a:pt x="167506" y="113071"/>
                  </a:lnTo>
                  <a:lnTo>
                    <a:pt x="168456" y="113333"/>
                  </a:lnTo>
                  <a:lnTo>
                    <a:pt x="169188" y="114187"/>
                  </a:lnTo>
                  <a:lnTo>
                    <a:pt x="169572" y="115862"/>
                  </a:lnTo>
                  <a:lnTo>
                    <a:pt x="169663" y="116793"/>
                  </a:lnTo>
                  <a:lnTo>
                    <a:pt x="171231" y="117681"/>
                  </a:lnTo>
                  <a:lnTo>
                    <a:pt x="172393" y="117328"/>
                  </a:lnTo>
                  <a:lnTo>
                    <a:pt x="172837" y="116308"/>
                  </a:lnTo>
                  <a:lnTo>
                    <a:pt x="172863" y="115789"/>
                  </a:lnTo>
                  <a:lnTo>
                    <a:pt x="172859" y="111239"/>
                  </a:lnTo>
                  <a:lnTo>
                    <a:pt x="172855" y="107296"/>
                  </a:lnTo>
                  <a:lnTo>
                    <a:pt x="172848" y="103586"/>
                  </a:lnTo>
                  <a:lnTo>
                    <a:pt x="172844" y="99067"/>
                  </a:lnTo>
                  <a:lnTo>
                    <a:pt x="172842" y="95130"/>
                  </a:lnTo>
                  <a:lnTo>
                    <a:pt x="172837" y="91888"/>
                  </a:lnTo>
                  <a:lnTo>
                    <a:pt x="172833" y="88507"/>
                  </a:lnTo>
                  <a:lnTo>
                    <a:pt x="171827" y="88700"/>
                  </a:lnTo>
                  <a:lnTo>
                    <a:pt x="170553" y="89469"/>
                  </a:lnTo>
                  <a:lnTo>
                    <a:pt x="167629" y="89561"/>
                  </a:lnTo>
                  <a:lnTo>
                    <a:pt x="166489" y="90139"/>
                  </a:lnTo>
                  <a:lnTo>
                    <a:pt x="166130" y="91007"/>
                  </a:lnTo>
                  <a:lnTo>
                    <a:pt x="166357" y="92145"/>
                  </a:lnTo>
                  <a:lnTo>
                    <a:pt x="166415" y="93683"/>
                  </a:lnTo>
                  <a:lnTo>
                    <a:pt x="165988" y="94409"/>
                  </a:lnTo>
                  <a:lnTo>
                    <a:pt x="164705" y="94696"/>
                  </a:lnTo>
                  <a:lnTo>
                    <a:pt x="162852" y="94102"/>
                  </a:lnTo>
                  <a:lnTo>
                    <a:pt x="159479" y="93326"/>
                  </a:lnTo>
                  <a:lnTo>
                    <a:pt x="156674" y="92846"/>
                  </a:lnTo>
                  <a:lnTo>
                    <a:pt x="154664" y="90803"/>
                  </a:lnTo>
                  <a:lnTo>
                    <a:pt x="151935" y="87723"/>
                  </a:lnTo>
                  <a:lnTo>
                    <a:pt x="150153" y="86170"/>
                  </a:lnTo>
                  <a:lnTo>
                    <a:pt x="145845" y="82959"/>
                  </a:lnTo>
                  <a:lnTo>
                    <a:pt x="145115" y="82311"/>
                  </a:lnTo>
                  <a:lnTo>
                    <a:pt x="143809" y="80807"/>
                  </a:lnTo>
                  <a:lnTo>
                    <a:pt x="142688" y="78257"/>
                  </a:lnTo>
                  <a:lnTo>
                    <a:pt x="142139" y="76566"/>
                  </a:lnTo>
                  <a:lnTo>
                    <a:pt x="141617" y="75308"/>
                  </a:lnTo>
                  <a:lnTo>
                    <a:pt x="141038" y="73433"/>
                  </a:lnTo>
                  <a:lnTo>
                    <a:pt x="142077" y="70552"/>
                  </a:lnTo>
                  <a:lnTo>
                    <a:pt x="143539" y="65071"/>
                  </a:lnTo>
                  <a:lnTo>
                    <a:pt x="144592" y="61125"/>
                  </a:lnTo>
                  <a:lnTo>
                    <a:pt x="145173" y="58198"/>
                  </a:lnTo>
                  <a:lnTo>
                    <a:pt x="147266" y="55221"/>
                  </a:lnTo>
                  <a:lnTo>
                    <a:pt x="147413" y="52560"/>
                  </a:lnTo>
                  <a:lnTo>
                    <a:pt x="146570" y="49144"/>
                  </a:lnTo>
                  <a:lnTo>
                    <a:pt x="146786" y="47258"/>
                  </a:lnTo>
                  <a:lnTo>
                    <a:pt x="146927" y="42474"/>
                  </a:lnTo>
                  <a:lnTo>
                    <a:pt x="147046" y="38453"/>
                  </a:lnTo>
                  <a:lnTo>
                    <a:pt x="147071" y="36500"/>
                  </a:lnTo>
                  <a:lnTo>
                    <a:pt x="146499" y="33097"/>
                  </a:lnTo>
                  <a:lnTo>
                    <a:pt x="145091" y="29333"/>
                  </a:lnTo>
                  <a:lnTo>
                    <a:pt x="141988" y="24090"/>
                  </a:lnTo>
                  <a:lnTo>
                    <a:pt x="141999" y="22971"/>
                  </a:lnTo>
                  <a:lnTo>
                    <a:pt x="143847" y="21736"/>
                  </a:lnTo>
                  <a:lnTo>
                    <a:pt x="146771" y="19570"/>
                  </a:lnTo>
                  <a:lnTo>
                    <a:pt x="148203" y="18286"/>
                  </a:lnTo>
                  <a:lnTo>
                    <a:pt x="149918" y="16457"/>
                  </a:lnTo>
                  <a:lnTo>
                    <a:pt x="150686" y="15530"/>
                  </a:lnTo>
                  <a:lnTo>
                    <a:pt x="152366" y="13187"/>
                  </a:lnTo>
                  <a:lnTo>
                    <a:pt x="153433" y="11288"/>
                  </a:lnTo>
                  <a:lnTo>
                    <a:pt x="153802" y="8830"/>
                  </a:lnTo>
                  <a:lnTo>
                    <a:pt x="152999" y="6496"/>
                  </a:lnTo>
                  <a:lnTo>
                    <a:pt x="154638" y="6039"/>
                  </a:lnTo>
                  <a:lnTo>
                    <a:pt x="160019" y="5213"/>
                  </a:lnTo>
                  <a:lnTo>
                    <a:pt x="165949" y="4302"/>
                  </a:lnTo>
                  <a:lnTo>
                    <a:pt x="172194" y="3341"/>
                  </a:lnTo>
                  <a:lnTo>
                    <a:pt x="178499" y="2373"/>
                  </a:lnTo>
                  <a:lnTo>
                    <a:pt x="184606" y="1437"/>
                  </a:lnTo>
                  <a:lnTo>
                    <a:pt x="190143" y="587"/>
                  </a:lnTo>
                  <a:lnTo>
                    <a:pt x="193973" y="0"/>
                  </a:lnTo>
                  <a:lnTo>
                    <a:pt x="194539" y="1606"/>
                  </a:lnTo>
                  <a:lnTo>
                    <a:pt x="195731" y="4272"/>
                  </a:lnTo>
                  <a:lnTo>
                    <a:pt x="197087" y="6235"/>
                  </a:lnTo>
                  <a:lnTo>
                    <a:pt x="198776" y="7955"/>
                  </a:lnTo>
                  <a:lnTo>
                    <a:pt x="200214" y="8995"/>
                  </a:lnTo>
                  <a:lnTo>
                    <a:pt x="201164" y="9312"/>
                  </a:lnTo>
                  <a:lnTo>
                    <a:pt x="207228" y="9204"/>
                  </a:lnTo>
                  <a:lnTo>
                    <a:pt x="209409" y="10248"/>
                  </a:lnTo>
                  <a:lnTo>
                    <a:pt x="211303" y="11570"/>
                  </a:lnTo>
                  <a:lnTo>
                    <a:pt x="211775" y="13624"/>
                  </a:lnTo>
                  <a:lnTo>
                    <a:pt x="213026" y="14912"/>
                  </a:lnTo>
                  <a:lnTo>
                    <a:pt x="214371" y="15926"/>
                  </a:lnTo>
                  <a:lnTo>
                    <a:pt x="214954" y="16050"/>
                  </a:lnTo>
                  <a:lnTo>
                    <a:pt x="215943" y="15802"/>
                  </a:lnTo>
                  <a:lnTo>
                    <a:pt x="217565" y="15781"/>
                  </a:lnTo>
                  <a:lnTo>
                    <a:pt x="219070" y="16220"/>
                  </a:lnTo>
                  <a:lnTo>
                    <a:pt x="219789" y="16671"/>
                  </a:lnTo>
                  <a:lnTo>
                    <a:pt x="219860" y="18392"/>
                  </a:lnTo>
                  <a:lnTo>
                    <a:pt x="220318" y="19163"/>
                  </a:lnTo>
                  <a:lnTo>
                    <a:pt x="222369" y="19461"/>
                  </a:lnTo>
                  <a:lnTo>
                    <a:pt x="224457" y="19594"/>
                  </a:lnTo>
                  <a:lnTo>
                    <a:pt x="226472" y="20758"/>
                  </a:lnTo>
                  <a:lnTo>
                    <a:pt x="228649" y="20965"/>
                  </a:lnTo>
                  <a:lnTo>
                    <a:pt x="231166" y="21444"/>
                  </a:lnTo>
                  <a:lnTo>
                    <a:pt x="232359" y="22700"/>
                  </a:lnTo>
                  <a:lnTo>
                    <a:pt x="235041" y="23989"/>
                  </a:lnTo>
                  <a:lnTo>
                    <a:pt x="238318" y="25144"/>
                  </a:lnTo>
                  <a:lnTo>
                    <a:pt x="240676" y="26451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15" name="ee4p_ZW_1_37365">
              <a:extLst>
                <a:ext uri="{FF2B5EF4-FFF2-40B4-BE49-F238E27FC236}">
                  <a16:creationId xmlns:a16="http://schemas.microsoft.com/office/drawing/2014/main" id="{FBF63963-004E-9FE7-F098-0061C5D9E69E}"/>
                </a:ext>
              </a:extLst>
            </p:cNvPr>
            <p:cNvSpPr>
              <a:spLocks noChangeAspect="1"/>
            </p:cNvSpPr>
            <p:nvPr>
              <p:custDataLst>
                <p:tags r:id="rId369"/>
              </p:custDataLst>
            </p:nvPr>
          </p:nvSpPr>
          <p:spPr>
            <a:xfrm>
              <a:off x="7215155" y="5127506"/>
              <a:ext cx="216123" cy="199897"/>
            </a:xfrm>
            <a:custGeom>
              <a:avLst/>
              <a:gdLst/>
              <a:ahLst/>
              <a:cxnLst/>
              <a:rect l="0" t="0" r="0" b="0"/>
              <a:pathLst>
                <a:path w="172094" h="154954">
                  <a:moveTo>
                    <a:pt x="134085" y="154953"/>
                  </a:moveTo>
                  <a:lnTo>
                    <a:pt x="132082" y="153625"/>
                  </a:lnTo>
                  <a:lnTo>
                    <a:pt x="129343" y="152763"/>
                  </a:lnTo>
                  <a:lnTo>
                    <a:pt x="125864" y="152366"/>
                  </a:lnTo>
                  <a:lnTo>
                    <a:pt x="121343" y="152532"/>
                  </a:lnTo>
                  <a:lnTo>
                    <a:pt x="115782" y="153255"/>
                  </a:lnTo>
                  <a:lnTo>
                    <a:pt x="109818" y="152375"/>
                  </a:lnTo>
                  <a:lnTo>
                    <a:pt x="103448" y="149892"/>
                  </a:lnTo>
                  <a:lnTo>
                    <a:pt x="98157" y="149012"/>
                  </a:lnTo>
                  <a:lnTo>
                    <a:pt x="91841" y="150092"/>
                  </a:lnTo>
                  <a:lnTo>
                    <a:pt x="91563" y="150119"/>
                  </a:lnTo>
                  <a:lnTo>
                    <a:pt x="90466" y="149278"/>
                  </a:lnTo>
                  <a:lnTo>
                    <a:pt x="88740" y="147462"/>
                  </a:lnTo>
                  <a:lnTo>
                    <a:pt x="85858" y="147143"/>
                  </a:lnTo>
                  <a:lnTo>
                    <a:pt x="85076" y="146719"/>
                  </a:lnTo>
                  <a:lnTo>
                    <a:pt x="84433" y="146043"/>
                  </a:lnTo>
                  <a:lnTo>
                    <a:pt x="84011" y="145183"/>
                  </a:lnTo>
                  <a:lnTo>
                    <a:pt x="83845" y="144225"/>
                  </a:lnTo>
                  <a:lnTo>
                    <a:pt x="84320" y="141243"/>
                  </a:lnTo>
                  <a:lnTo>
                    <a:pt x="84061" y="140908"/>
                  </a:lnTo>
                  <a:lnTo>
                    <a:pt x="83290" y="140550"/>
                  </a:lnTo>
                  <a:lnTo>
                    <a:pt x="81711" y="140193"/>
                  </a:lnTo>
                  <a:lnTo>
                    <a:pt x="77917" y="138839"/>
                  </a:lnTo>
                  <a:lnTo>
                    <a:pt x="73148" y="137534"/>
                  </a:lnTo>
                  <a:lnTo>
                    <a:pt x="65400" y="136100"/>
                  </a:lnTo>
                  <a:lnTo>
                    <a:pt x="62392" y="135722"/>
                  </a:lnTo>
                  <a:lnTo>
                    <a:pt x="61694" y="135286"/>
                  </a:lnTo>
                  <a:lnTo>
                    <a:pt x="60822" y="134187"/>
                  </a:lnTo>
                  <a:lnTo>
                    <a:pt x="59336" y="130770"/>
                  </a:lnTo>
                  <a:lnTo>
                    <a:pt x="57937" y="128514"/>
                  </a:lnTo>
                  <a:lnTo>
                    <a:pt x="54605" y="125035"/>
                  </a:lnTo>
                  <a:lnTo>
                    <a:pt x="54074" y="123954"/>
                  </a:lnTo>
                  <a:lnTo>
                    <a:pt x="54240" y="121196"/>
                  </a:lnTo>
                  <a:lnTo>
                    <a:pt x="54486" y="118968"/>
                  </a:lnTo>
                  <a:lnTo>
                    <a:pt x="54844" y="117077"/>
                  </a:lnTo>
                  <a:lnTo>
                    <a:pt x="54682" y="115308"/>
                  </a:lnTo>
                  <a:lnTo>
                    <a:pt x="54635" y="113113"/>
                  </a:lnTo>
                  <a:lnTo>
                    <a:pt x="54741" y="111640"/>
                  </a:lnTo>
                  <a:lnTo>
                    <a:pt x="54292" y="111003"/>
                  </a:lnTo>
                  <a:lnTo>
                    <a:pt x="53082" y="110555"/>
                  </a:lnTo>
                  <a:lnTo>
                    <a:pt x="49640" y="110353"/>
                  </a:lnTo>
                  <a:lnTo>
                    <a:pt x="45479" y="110443"/>
                  </a:lnTo>
                  <a:lnTo>
                    <a:pt x="45343" y="108210"/>
                  </a:lnTo>
                  <a:lnTo>
                    <a:pt x="44948" y="104760"/>
                  </a:lnTo>
                  <a:lnTo>
                    <a:pt x="44168" y="102775"/>
                  </a:lnTo>
                  <a:lnTo>
                    <a:pt x="43212" y="101743"/>
                  </a:lnTo>
                  <a:lnTo>
                    <a:pt x="41301" y="100667"/>
                  </a:lnTo>
                  <a:lnTo>
                    <a:pt x="37429" y="99193"/>
                  </a:lnTo>
                  <a:lnTo>
                    <a:pt x="32156" y="96954"/>
                  </a:lnTo>
                  <a:lnTo>
                    <a:pt x="27653" y="93640"/>
                  </a:lnTo>
                  <a:lnTo>
                    <a:pt x="22488" y="89522"/>
                  </a:lnTo>
                  <a:lnTo>
                    <a:pt x="20875" y="88809"/>
                  </a:lnTo>
                  <a:lnTo>
                    <a:pt x="18971" y="84944"/>
                  </a:lnTo>
                  <a:lnTo>
                    <a:pt x="16068" y="78335"/>
                  </a:lnTo>
                  <a:lnTo>
                    <a:pt x="16256" y="76133"/>
                  </a:lnTo>
                  <a:lnTo>
                    <a:pt x="15818" y="75057"/>
                  </a:lnTo>
                  <a:lnTo>
                    <a:pt x="13000" y="71814"/>
                  </a:lnTo>
                  <a:lnTo>
                    <a:pt x="12376" y="70130"/>
                  </a:lnTo>
                  <a:lnTo>
                    <a:pt x="11879" y="68430"/>
                  </a:lnTo>
                  <a:lnTo>
                    <a:pt x="7392" y="63685"/>
                  </a:lnTo>
                  <a:lnTo>
                    <a:pt x="5865" y="61615"/>
                  </a:lnTo>
                  <a:lnTo>
                    <a:pt x="4704" y="58957"/>
                  </a:lnTo>
                  <a:lnTo>
                    <a:pt x="3546" y="56833"/>
                  </a:lnTo>
                  <a:lnTo>
                    <a:pt x="2570" y="55977"/>
                  </a:lnTo>
                  <a:lnTo>
                    <a:pt x="1292" y="54532"/>
                  </a:lnTo>
                  <a:lnTo>
                    <a:pt x="404" y="52884"/>
                  </a:lnTo>
                  <a:lnTo>
                    <a:pt x="0" y="51656"/>
                  </a:lnTo>
                  <a:lnTo>
                    <a:pt x="333" y="50009"/>
                  </a:lnTo>
                  <a:lnTo>
                    <a:pt x="769" y="48880"/>
                  </a:lnTo>
                  <a:lnTo>
                    <a:pt x="5036" y="50056"/>
                  </a:lnTo>
                  <a:lnTo>
                    <a:pt x="7366" y="50156"/>
                  </a:lnTo>
                  <a:lnTo>
                    <a:pt x="9191" y="49577"/>
                  </a:lnTo>
                  <a:lnTo>
                    <a:pt x="11445" y="50355"/>
                  </a:lnTo>
                  <a:lnTo>
                    <a:pt x="14136" y="52494"/>
                  </a:lnTo>
                  <a:lnTo>
                    <a:pt x="17068" y="52902"/>
                  </a:lnTo>
                  <a:lnTo>
                    <a:pt x="20245" y="51576"/>
                  </a:lnTo>
                  <a:lnTo>
                    <a:pt x="24531" y="51977"/>
                  </a:lnTo>
                  <a:lnTo>
                    <a:pt x="29930" y="54106"/>
                  </a:lnTo>
                  <a:lnTo>
                    <a:pt x="34404" y="54539"/>
                  </a:lnTo>
                  <a:lnTo>
                    <a:pt x="39731" y="52641"/>
                  </a:lnTo>
                  <a:lnTo>
                    <a:pt x="44484" y="47392"/>
                  </a:lnTo>
                  <a:lnTo>
                    <a:pt x="48954" y="42458"/>
                  </a:lnTo>
                  <a:lnTo>
                    <a:pt x="53350" y="36767"/>
                  </a:lnTo>
                  <a:lnTo>
                    <a:pt x="56000" y="32175"/>
                  </a:lnTo>
                  <a:lnTo>
                    <a:pt x="59884" y="28440"/>
                  </a:lnTo>
                  <a:lnTo>
                    <a:pt x="65004" y="25565"/>
                  </a:lnTo>
                  <a:lnTo>
                    <a:pt x="70224" y="23134"/>
                  </a:lnTo>
                  <a:lnTo>
                    <a:pt x="78203" y="20161"/>
                  </a:lnTo>
                  <a:lnTo>
                    <a:pt x="78200" y="20166"/>
                  </a:lnTo>
                  <a:lnTo>
                    <a:pt x="79796" y="17713"/>
                  </a:lnTo>
                  <a:lnTo>
                    <a:pt x="80327" y="15035"/>
                  </a:lnTo>
                  <a:lnTo>
                    <a:pt x="80327" y="11316"/>
                  </a:lnTo>
                  <a:lnTo>
                    <a:pt x="80744" y="8908"/>
                  </a:lnTo>
                  <a:lnTo>
                    <a:pt x="81573" y="7812"/>
                  </a:lnTo>
                  <a:lnTo>
                    <a:pt x="82899" y="6958"/>
                  </a:lnTo>
                  <a:lnTo>
                    <a:pt x="84614" y="5849"/>
                  </a:lnTo>
                  <a:lnTo>
                    <a:pt x="89861" y="3022"/>
                  </a:lnTo>
                  <a:lnTo>
                    <a:pt x="94271" y="1217"/>
                  </a:lnTo>
                  <a:lnTo>
                    <a:pt x="99628" y="35"/>
                  </a:lnTo>
                  <a:lnTo>
                    <a:pt x="105495" y="22"/>
                  </a:lnTo>
                  <a:lnTo>
                    <a:pt x="111150" y="9"/>
                  </a:lnTo>
                  <a:lnTo>
                    <a:pt x="114366" y="0"/>
                  </a:lnTo>
                  <a:lnTo>
                    <a:pt x="114411" y="3573"/>
                  </a:lnTo>
                  <a:lnTo>
                    <a:pt x="114659" y="7595"/>
                  </a:lnTo>
                  <a:lnTo>
                    <a:pt x="115288" y="7983"/>
                  </a:lnTo>
                  <a:lnTo>
                    <a:pt x="119542" y="8072"/>
                  </a:lnTo>
                  <a:lnTo>
                    <a:pt x="126366" y="8355"/>
                  </a:lnTo>
                  <a:lnTo>
                    <a:pt x="132943" y="8625"/>
                  </a:lnTo>
                  <a:lnTo>
                    <a:pt x="137143" y="11545"/>
                  </a:lnTo>
                  <a:lnTo>
                    <a:pt x="138551" y="12165"/>
                  </a:lnTo>
                  <a:lnTo>
                    <a:pt x="142924" y="12947"/>
                  </a:lnTo>
                  <a:lnTo>
                    <a:pt x="148501" y="17819"/>
                  </a:lnTo>
                  <a:lnTo>
                    <a:pt x="155211" y="18272"/>
                  </a:lnTo>
                  <a:lnTo>
                    <a:pt x="159825" y="19793"/>
                  </a:lnTo>
                  <a:lnTo>
                    <a:pt x="163891" y="21468"/>
                  </a:lnTo>
                  <a:lnTo>
                    <a:pt x="166234" y="23472"/>
                  </a:lnTo>
                  <a:lnTo>
                    <a:pt x="167748" y="23927"/>
                  </a:lnTo>
                  <a:lnTo>
                    <a:pt x="169797" y="24075"/>
                  </a:lnTo>
                  <a:lnTo>
                    <a:pt x="170795" y="24260"/>
                  </a:lnTo>
                  <a:lnTo>
                    <a:pt x="170570" y="25707"/>
                  </a:lnTo>
                  <a:lnTo>
                    <a:pt x="169208" y="28154"/>
                  </a:lnTo>
                  <a:lnTo>
                    <a:pt x="169387" y="31661"/>
                  </a:lnTo>
                  <a:lnTo>
                    <a:pt x="171266" y="36527"/>
                  </a:lnTo>
                  <a:lnTo>
                    <a:pt x="171518" y="40762"/>
                  </a:lnTo>
                  <a:lnTo>
                    <a:pt x="170942" y="48238"/>
                  </a:lnTo>
                  <a:lnTo>
                    <a:pt x="170961" y="55484"/>
                  </a:lnTo>
                  <a:lnTo>
                    <a:pt x="171162" y="58074"/>
                  </a:lnTo>
                  <a:lnTo>
                    <a:pt x="171469" y="59792"/>
                  </a:lnTo>
                  <a:lnTo>
                    <a:pt x="171864" y="60731"/>
                  </a:lnTo>
                  <a:lnTo>
                    <a:pt x="171790" y="61805"/>
                  </a:lnTo>
                  <a:lnTo>
                    <a:pt x="170672" y="64848"/>
                  </a:lnTo>
                  <a:lnTo>
                    <a:pt x="169769" y="68056"/>
                  </a:lnTo>
                  <a:lnTo>
                    <a:pt x="169739" y="69342"/>
                  </a:lnTo>
                  <a:lnTo>
                    <a:pt x="169391" y="70245"/>
                  </a:lnTo>
                  <a:lnTo>
                    <a:pt x="168726" y="71049"/>
                  </a:lnTo>
                  <a:lnTo>
                    <a:pt x="165796" y="72532"/>
                  </a:lnTo>
                  <a:lnTo>
                    <a:pt x="165293" y="73449"/>
                  </a:lnTo>
                  <a:lnTo>
                    <a:pt x="165304" y="75108"/>
                  </a:lnTo>
                  <a:lnTo>
                    <a:pt x="165675" y="76504"/>
                  </a:lnTo>
                  <a:lnTo>
                    <a:pt x="166774" y="77019"/>
                  </a:lnTo>
                  <a:lnTo>
                    <a:pt x="168100" y="77809"/>
                  </a:lnTo>
                  <a:lnTo>
                    <a:pt x="168622" y="78855"/>
                  </a:lnTo>
                  <a:lnTo>
                    <a:pt x="168627" y="79956"/>
                  </a:lnTo>
                  <a:lnTo>
                    <a:pt x="168206" y="81996"/>
                  </a:lnTo>
                  <a:lnTo>
                    <a:pt x="167027" y="85377"/>
                  </a:lnTo>
                  <a:lnTo>
                    <a:pt x="168201" y="89266"/>
                  </a:lnTo>
                  <a:lnTo>
                    <a:pt x="169521" y="91789"/>
                  </a:lnTo>
                  <a:lnTo>
                    <a:pt x="171339" y="94716"/>
                  </a:lnTo>
                  <a:lnTo>
                    <a:pt x="172093" y="96518"/>
                  </a:lnTo>
                  <a:lnTo>
                    <a:pt x="172052" y="97814"/>
                  </a:lnTo>
                  <a:lnTo>
                    <a:pt x="171784" y="99072"/>
                  </a:lnTo>
                  <a:lnTo>
                    <a:pt x="169061" y="104418"/>
                  </a:lnTo>
                  <a:lnTo>
                    <a:pt x="167098" y="107742"/>
                  </a:lnTo>
                  <a:lnTo>
                    <a:pt x="164703" y="111304"/>
                  </a:lnTo>
                  <a:lnTo>
                    <a:pt x="161536" y="113540"/>
                  </a:lnTo>
                  <a:lnTo>
                    <a:pt x="160719" y="114617"/>
                  </a:lnTo>
                  <a:lnTo>
                    <a:pt x="160393" y="115845"/>
                  </a:lnTo>
                  <a:lnTo>
                    <a:pt x="160508" y="118520"/>
                  </a:lnTo>
                  <a:lnTo>
                    <a:pt x="160361" y="121317"/>
                  </a:lnTo>
                  <a:lnTo>
                    <a:pt x="157651" y="125625"/>
                  </a:lnTo>
                  <a:lnTo>
                    <a:pt x="159335" y="129336"/>
                  </a:lnTo>
                  <a:lnTo>
                    <a:pt x="158951" y="129677"/>
                  </a:lnTo>
                  <a:lnTo>
                    <a:pt x="158037" y="130210"/>
                  </a:lnTo>
                  <a:lnTo>
                    <a:pt x="154137" y="134389"/>
                  </a:lnTo>
                  <a:lnTo>
                    <a:pt x="150192" y="138618"/>
                  </a:lnTo>
                  <a:lnTo>
                    <a:pt x="147309" y="141711"/>
                  </a:lnTo>
                  <a:lnTo>
                    <a:pt x="144032" y="145233"/>
                  </a:lnTo>
                  <a:lnTo>
                    <a:pt x="140356" y="149180"/>
                  </a:lnTo>
                  <a:lnTo>
                    <a:pt x="137216" y="152554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16" name="ee4p_IC_1_37365">
              <a:extLst>
                <a:ext uri="{FF2B5EF4-FFF2-40B4-BE49-F238E27FC236}">
                  <a16:creationId xmlns:a16="http://schemas.microsoft.com/office/drawing/2014/main" id="{DCBDBA7D-E1BD-8C27-9A91-0CF4456BF8EB}"/>
                </a:ext>
              </a:extLst>
            </p:cNvPr>
            <p:cNvSpPr>
              <a:spLocks noChangeAspect="1"/>
            </p:cNvSpPr>
            <p:nvPr>
              <p:custDataLst>
                <p:tags r:id="rId370"/>
              </p:custDataLst>
            </p:nvPr>
          </p:nvSpPr>
          <p:spPr>
            <a:xfrm>
              <a:off x="6010394" y="3819505"/>
              <a:ext cx="131560" cy="49210"/>
            </a:xfrm>
            <a:custGeom>
              <a:avLst/>
              <a:gdLst>
                <a:gd name="connsiteX0" fmla="*/ 13979 w 280599"/>
                <a:gd name="connsiteY0" fmla="*/ 89142 h 102175"/>
                <a:gd name="connsiteX1" fmla="*/ 16146 w 280599"/>
                <a:gd name="connsiteY1" fmla="*/ 91738 h 102175"/>
                <a:gd name="connsiteX2" fmla="*/ 10411 w 280599"/>
                <a:gd name="connsiteY2" fmla="*/ 102175 h 102175"/>
                <a:gd name="connsiteX3" fmla="*/ 3195 w 280599"/>
                <a:gd name="connsiteY3" fmla="*/ 98270 h 102175"/>
                <a:gd name="connsiteX4" fmla="*/ 1457 w 280599"/>
                <a:gd name="connsiteY4" fmla="*/ 96961 h 102175"/>
                <a:gd name="connsiteX5" fmla="*/ 0 w 280599"/>
                <a:gd name="connsiteY5" fmla="*/ 94815 h 102175"/>
                <a:gd name="connsiteX6" fmla="*/ 6940 w 280599"/>
                <a:gd name="connsiteY6" fmla="*/ 94392 h 102175"/>
                <a:gd name="connsiteX7" fmla="*/ 162585 w 280599"/>
                <a:gd name="connsiteY7" fmla="*/ 69334 h 102175"/>
                <a:gd name="connsiteX8" fmla="*/ 163469 w 280599"/>
                <a:gd name="connsiteY8" fmla="*/ 70103 h 102175"/>
                <a:gd name="connsiteX9" fmla="*/ 163108 w 280599"/>
                <a:gd name="connsiteY9" fmla="*/ 75029 h 102175"/>
                <a:gd name="connsiteX10" fmla="*/ 164500 w 280599"/>
                <a:gd name="connsiteY10" fmla="*/ 80005 h 102175"/>
                <a:gd name="connsiteX11" fmla="*/ 164144 w 280599"/>
                <a:gd name="connsiteY11" fmla="*/ 87570 h 102175"/>
                <a:gd name="connsiteX12" fmla="*/ 161326 w 280599"/>
                <a:gd name="connsiteY12" fmla="*/ 91668 h 102175"/>
                <a:gd name="connsiteX13" fmla="*/ 154062 w 280599"/>
                <a:gd name="connsiteY13" fmla="*/ 95744 h 102175"/>
                <a:gd name="connsiteX14" fmla="*/ 148354 w 280599"/>
                <a:gd name="connsiteY14" fmla="*/ 95013 h 102175"/>
                <a:gd name="connsiteX15" fmla="*/ 145124 w 280599"/>
                <a:gd name="connsiteY15" fmla="*/ 93369 h 102175"/>
                <a:gd name="connsiteX16" fmla="*/ 139379 w 280599"/>
                <a:gd name="connsiteY16" fmla="*/ 86747 h 102175"/>
                <a:gd name="connsiteX17" fmla="*/ 139250 w 280599"/>
                <a:gd name="connsiteY17" fmla="*/ 79898 h 102175"/>
                <a:gd name="connsiteX18" fmla="*/ 144495 w 280599"/>
                <a:gd name="connsiteY18" fmla="*/ 75433 h 102175"/>
                <a:gd name="connsiteX19" fmla="*/ 146755 w 280599"/>
                <a:gd name="connsiteY19" fmla="*/ 69672 h 102175"/>
                <a:gd name="connsiteX20" fmla="*/ 160376 w 280599"/>
                <a:gd name="connsiteY20" fmla="*/ 70772 h 102175"/>
                <a:gd name="connsiteX21" fmla="*/ 161565 w 280599"/>
                <a:gd name="connsiteY21" fmla="*/ 69661 h 102175"/>
                <a:gd name="connsiteX22" fmla="*/ 53421 w 280599"/>
                <a:gd name="connsiteY22" fmla="*/ 66522 h 102175"/>
                <a:gd name="connsiteX23" fmla="*/ 56040 w 280599"/>
                <a:gd name="connsiteY23" fmla="*/ 66774 h 102175"/>
                <a:gd name="connsiteX24" fmla="*/ 61060 w 280599"/>
                <a:gd name="connsiteY24" fmla="*/ 69552 h 102175"/>
                <a:gd name="connsiteX25" fmla="*/ 62592 w 280599"/>
                <a:gd name="connsiteY25" fmla="*/ 72426 h 102175"/>
                <a:gd name="connsiteX26" fmla="*/ 62750 w 280599"/>
                <a:gd name="connsiteY26" fmla="*/ 74199 h 102175"/>
                <a:gd name="connsiteX27" fmla="*/ 57800 w 280599"/>
                <a:gd name="connsiteY27" fmla="*/ 78139 h 102175"/>
                <a:gd name="connsiteX28" fmla="*/ 55387 w 280599"/>
                <a:gd name="connsiteY28" fmla="*/ 78680 h 102175"/>
                <a:gd name="connsiteX29" fmla="*/ 52513 w 280599"/>
                <a:gd name="connsiteY29" fmla="*/ 77095 h 102175"/>
                <a:gd name="connsiteX30" fmla="*/ 49494 w 280599"/>
                <a:gd name="connsiteY30" fmla="*/ 72005 h 102175"/>
                <a:gd name="connsiteX31" fmla="*/ 51540 w 280599"/>
                <a:gd name="connsiteY31" fmla="*/ 68244 h 102175"/>
                <a:gd name="connsiteX32" fmla="*/ 120643 w 280599"/>
                <a:gd name="connsiteY32" fmla="*/ 42586 h 102175"/>
                <a:gd name="connsiteX33" fmla="*/ 120910 w 280599"/>
                <a:gd name="connsiteY33" fmla="*/ 45650 h 102175"/>
                <a:gd name="connsiteX34" fmla="*/ 108155 w 280599"/>
                <a:gd name="connsiteY34" fmla="*/ 55181 h 102175"/>
                <a:gd name="connsiteX35" fmla="*/ 103197 w 280599"/>
                <a:gd name="connsiteY35" fmla="*/ 69840 h 102175"/>
                <a:gd name="connsiteX36" fmla="*/ 98574 w 280599"/>
                <a:gd name="connsiteY36" fmla="*/ 75578 h 102175"/>
                <a:gd name="connsiteX37" fmla="*/ 95818 w 280599"/>
                <a:gd name="connsiteY37" fmla="*/ 77490 h 102175"/>
                <a:gd name="connsiteX38" fmla="*/ 88993 w 280599"/>
                <a:gd name="connsiteY38" fmla="*/ 79086 h 102175"/>
                <a:gd name="connsiteX39" fmla="*/ 80895 w 280599"/>
                <a:gd name="connsiteY39" fmla="*/ 69985 h 102175"/>
                <a:gd name="connsiteX40" fmla="*/ 76674 w 280599"/>
                <a:gd name="connsiteY40" fmla="*/ 60744 h 102175"/>
                <a:gd name="connsiteX41" fmla="*/ 74346 w 280599"/>
                <a:gd name="connsiteY41" fmla="*/ 57768 h 102175"/>
                <a:gd name="connsiteX42" fmla="*/ 78032 w 280599"/>
                <a:gd name="connsiteY42" fmla="*/ 55424 h 102175"/>
                <a:gd name="connsiteX43" fmla="*/ 83424 w 280599"/>
                <a:gd name="connsiteY43" fmla="*/ 55829 h 102175"/>
                <a:gd name="connsiteX44" fmla="*/ 94985 w 280599"/>
                <a:gd name="connsiteY44" fmla="*/ 53860 h 102175"/>
                <a:gd name="connsiteX45" fmla="*/ 97320 w 280599"/>
                <a:gd name="connsiteY45" fmla="*/ 53075 h 102175"/>
                <a:gd name="connsiteX46" fmla="*/ 109071 w 280599"/>
                <a:gd name="connsiteY46" fmla="*/ 43727 h 102175"/>
                <a:gd name="connsiteX47" fmla="*/ 253158 w 280599"/>
                <a:gd name="connsiteY47" fmla="*/ 31735 h 102175"/>
                <a:gd name="connsiteX48" fmla="*/ 254878 w 280599"/>
                <a:gd name="connsiteY48" fmla="*/ 32163 h 102175"/>
                <a:gd name="connsiteX49" fmla="*/ 256661 w 280599"/>
                <a:gd name="connsiteY49" fmla="*/ 35177 h 102175"/>
                <a:gd name="connsiteX50" fmla="*/ 256635 w 280599"/>
                <a:gd name="connsiteY50" fmla="*/ 41994 h 102175"/>
                <a:gd name="connsiteX51" fmla="*/ 254537 w 280599"/>
                <a:gd name="connsiteY51" fmla="*/ 53292 h 102175"/>
                <a:gd name="connsiteX52" fmla="*/ 250686 w 280599"/>
                <a:gd name="connsiteY52" fmla="*/ 63296 h 102175"/>
                <a:gd name="connsiteX53" fmla="*/ 234767 w 280599"/>
                <a:gd name="connsiteY53" fmla="*/ 68696 h 102175"/>
                <a:gd name="connsiteX54" fmla="*/ 226724 w 280599"/>
                <a:gd name="connsiteY54" fmla="*/ 75957 h 102175"/>
                <a:gd name="connsiteX55" fmla="*/ 218669 w 280599"/>
                <a:gd name="connsiteY55" fmla="*/ 74267 h 102175"/>
                <a:gd name="connsiteX56" fmla="*/ 217295 w 280599"/>
                <a:gd name="connsiteY56" fmla="*/ 73078 h 102175"/>
                <a:gd name="connsiteX57" fmla="*/ 225363 w 280599"/>
                <a:gd name="connsiteY57" fmla="*/ 71233 h 102175"/>
                <a:gd name="connsiteX58" fmla="*/ 232683 w 280599"/>
                <a:gd name="connsiteY58" fmla="*/ 65709 h 102175"/>
                <a:gd name="connsiteX59" fmla="*/ 237384 w 280599"/>
                <a:gd name="connsiteY59" fmla="*/ 53463 h 102175"/>
                <a:gd name="connsiteX60" fmla="*/ 244742 w 280599"/>
                <a:gd name="connsiteY60" fmla="*/ 39920 h 102175"/>
                <a:gd name="connsiteX61" fmla="*/ 246223 w 280599"/>
                <a:gd name="connsiteY61" fmla="*/ 34180 h 102175"/>
                <a:gd name="connsiteX62" fmla="*/ 249137 w 280599"/>
                <a:gd name="connsiteY62" fmla="*/ 31944 h 102175"/>
                <a:gd name="connsiteX63" fmla="*/ 21499 w 280599"/>
                <a:gd name="connsiteY63" fmla="*/ 25165 h 102175"/>
                <a:gd name="connsiteX64" fmla="*/ 24641 w 280599"/>
                <a:gd name="connsiteY64" fmla="*/ 29041 h 102175"/>
                <a:gd name="connsiteX65" fmla="*/ 25704 w 280599"/>
                <a:gd name="connsiteY65" fmla="*/ 33037 h 102175"/>
                <a:gd name="connsiteX66" fmla="*/ 24223 w 280599"/>
                <a:gd name="connsiteY66" fmla="*/ 35346 h 102175"/>
                <a:gd name="connsiteX67" fmla="*/ 24649 w 280599"/>
                <a:gd name="connsiteY67" fmla="*/ 40012 h 102175"/>
                <a:gd name="connsiteX68" fmla="*/ 23843 w 280599"/>
                <a:gd name="connsiteY68" fmla="*/ 43029 h 102175"/>
                <a:gd name="connsiteX69" fmla="*/ 19324 w 280599"/>
                <a:gd name="connsiteY69" fmla="*/ 47904 h 102175"/>
                <a:gd name="connsiteX70" fmla="*/ 17837 w 280599"/>
                <a:gd name="connsiteY70" fmla="*/ 48388 h 102175"/>
                <a:gd name="connsiteX71" fmla="*/ 16490 w 280599"/>
                <a:gd name="connsiteY71" fmla="*/ 43318 h 102175"/>
                <a:gd name="connsiteX72" fmla="*/ 9464 w 280599"/>
                <a:gd name="connsiteY72" fmla="*/ 30862 h 102175"/>
                <a:gd name="connsiteX73" fmla="*/ 13726 w 280599"/>
                <a:gd name="connsiteY73" fmla="*/ 25307 h 102175"/>
                <a:gd name="connsiteX74" fmla="*/ 278194 w 280599"/>
                <a:gd name="connsiteY74" fmla="*/ 0 h 102175"/>
                <a:gd name="connsiteX75" fmla="*/ 280599 w 280599"/>
                <a:gd name="connsiteY75" fmla="*/ 2561 h 102175"/>
                <a:gd name="connsiteX76" fmla="*/ 278775 w 280599"/>
                <a:gd name="connsiteY76" fmla="*/ 5539 h 102175"/>
                <a:gd name="connsiteX77" fmla="*/ 277345 w 280599"/>
                <a:gd name="connsiteY77" fmla="*/ 14871 h 102175"/>
                <a:gd name="connsiteX78" fmla="*/ 272797 w 280599"/>
                <a:gd name="connsiteY78" fmla="*/ 17860 h 102175"/>
                <a:gd name="connsiteX79" fmla="*/ 263245 w 280599"/>
                <a:gd name="connsiteY79" fmla="*/ 21015 h 102175"/>
                <a:gd name="connsiteX80" fmla="*/ 259216 w 280599"/>
                <a:gd name="connsiteY80" fmla="*/ 25250 h 102175"/>
                <a:gd name="connsiteX81" fmla="*/ 254719 w 280599"/>
                <a:gd name="connsiteY81" fmla="*/ 23729 h 102175"/>
                <a:gd name="connsiteX82" fmla="*/ 256867 w 280599"/>
                <a:gd name="connsiteY82" fmla="*/ 14437 h 102175"/>
                <a:gd name="connsiteX83" fmla="*/ 258967 w 280599"/>
                <a:gd name="connsiteY83" fmla="*/ 11681 h 102175"/>
                <a:gd name="connsiteX84" fmla="*/ 267145 w 280599"/>
                <a:gd name="connsiteY84" fmla="*/ 7626 h 102175"/>
                <a:gd name="connsiteX85" fmla="*/ 273959 w 280599"/>
                <a:gd name="connsiteY85" fmla="*/ 5994 h 102175"/>
                <a:gd name="connsiteX86" fmla="*/ 275952 w 280599"/>
                <a:gd name="connsiteY86" fmla="*/ 1677 h 102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280599" h="102175">
                  <a:moveTo>
                    <a:pt x="13979" y="89142"/>
                  </a:moveTo>
                  <a:lnTo>
                    <a:pt x="16146" y="91738"/>
                  </a:lnTo>
                  <a:lnTo>
                    <a:pt x="10411" y="102175"/>
                  </a:lnTo>
                  <a:lnTo>
                    <a:pt x="3195" y="98270"/>
                  </a:lnTo>
                  <a:lnTo>
                    <a:pt x="1457" y="96961"/>
                  </a:lnTo>
                  <a:lnTo>
                    <a:pt x="0" y="94815"/>
                  </a:lnTo>
                  <a:lnTo>
                    <a:pt x="6940" y="94392"/>
                  </a:lnTo>
                  <a:close/>
                  <a:moveTo>
                    <a:pt x="162585" y="69334"/>
                  </a:moveTo>
                  <a:lnTo>
                    <a:pt x="163469" y="70103"/>
                  </a:lnTo>
                  <a:lnTo>
                    <a:pt x="163108" y="75029"/>
                  </a:lnTo>
                  <a:lnTo>
                    <a:pt x="164500" y="80005"/>
                  </a:lnTo>
                  <a:lnTo>
                    <a:pt x="164144" y="87570"/>
                  </a:lnTo>
                  <a:lnTo>
                    <a:pt x="161326" y="91668"/>
                  </a:lnTo>
                  <a:lnTo>
                    <a:pt x="154062" y="95744"/>
                  </a:lnTo>
                  <a:lnTo>
                    <a:pt x="148354" y="95013"/>
                  </a:lnTo>
                  <a:lnTo>
                    <a:pt x="145124" y="93369"/>
                  </a:lnTo>
                  <a:lnTo>
                    <a:pt x="139379" y="86747"/>
                  </a:lnTo>
                  <a:lnTo>
                    <a:pt x="139250" y="79898"/>
                  </a:lnTo>
                  <a:lnTo>
                    <a:pt x="144495" y="75433"/>
                  </a:lnTo>
                  <a:lnTo>
                    <a:pt x="146755" y="69672"/>
                  </a:lnTo>
                  <a:lnTo>
                    <a:pt x="160376" y="70772"/>
                  </a:lnTo>
                  <a:lnTo>
                    <a:pt x="161565" y="69661"/>
                  </a:lnTo>
                  <a:close/>
                  <a:moveTo>
                    <a:pt x="53421" y="66522"/>
                  </a:moveTo>
                  <a:lnTo>
                    <a:pt x="56040" y="66774"/>
                  </a:lnTo>
                  <a:lnTo>
                    <a:pt x="61060" y="69552"/>
                  </a:lnTo>
                  <a:lnTo>
                    <a:pt x="62592" y="72426"/>
                  </a:lnTo>
                  <a:lnTo>
                    <a:pt x="62750" y="74199"/>
                  </a:lnTo>
                  <a:lnTo>
                    <a:pt x="57800" y="78139"/>
                  </a:lnTo>
                  <a:lnTo>
                    <a:pt x="55387" y="78680"/>
                  </a:lnTo>
                  <a:lnTo>
                    <a:pt x="52513" y="77095"/>
                  </a:lnTo>
                  <a:lnTo>
                    <a:pt x="49494" y="72005"/>
                  </a:lnTo>
                  <a:lnTo>
                    <a:pt x="51540" y="68244"/>
                  </a:lnTo>
                  <a:close/>
                  <a:moveTo>
                    <a:pt x="120643" y="42586"/>
                  </a:moveTo>
                  <a:lnTo>
                    <a:pt x="120910" y="45650"/>
                  </a:lnTo>
                  <a:lnTo>
                    <a:pt x="108155" y="55181"/>
                  </a:lnTo>
                  <a:lnTo>
                    <a:pt x="103197" y="69840"/>
                  </a:lnTo>
                  <a:lnTo>
                    <a:pt x="98574" y="75578"/>
                  </a:lnTo>
                  <a:lnTo>
                    <a:pt x="95818" y="77490"/>
                  </a:lnTo>
                  <a:lnTo>
                    <a:pt x="88993" y="79086"/>
                  </a:lnTo>
                  <a:lnTo>
                    <a:pt x="80895" y="69985"/>
                  </a:lnTo>
                  <a:lnTo>
                    <a:pt x="76674" y="60744"/>
                  </a:lnTo>
                  <a:lnTo>
                    <a:pt x="74346" y="57768"/>
                  </a:lnTo>
                  <a:lnTo>
                    <a:pt x="78032" y="55424"/>
                  </a:lnTo>
                  <a:lnTo>
                    <a:pt x="83424" y="55829"/>
                  </a:lnTo>
                  <a:lnTo>
                    <a:pt x="94985" y="53860"/>
                  </a:lnTo>
                  <a:lnTo>
                    <a:pt x="97320" y="53075"/>
                  </a:lnTo>
                  <a:lnTo>
                    <a:pt x="109071" y="43727"/>
                  </a:lnTo>
                  <a:close/>
                  <a:moveTo>
                    <a:pt x="253158" y="31735"/>
                  </a:moveTo>
                  <a:lnTo>
                    <a:pt x="254878" y="32163"/>
                  </a:lnTo>
                  <a:lnTo>
                    <a:pt x="256661" y="35177"/>
                  </a:lnTo>
                  <a:lnTo>
                    <a:pt x="256635" y="41994"/>
                  </a:lnTo>
                  <a:lnTo>
                    <a:pt x="254537" y="53292"/>
                  </a:lnTo>
                  <a:lnTo>
                    <a:pt x="250686" y="63296"/>
                  </a:lnTo>
                  <a:lnTo>
                    <a:pt x="234767" y="68696"/>
                  </a:lnTo>
                  <a:lnTo>
                    <a:pt x="226724" y="75957"/>
                  </a:lnTo>
                  <a:lnTo>
                    <a:pt x="218669" y="74267"/>
                  </a:lnTo>
                  <a:lnTo>
                    <a:pt x="217295" y="73078"/>
                  </a:lnTo>
                  <a:lnTo>
                    <a:pt x="225363" y="71233"/>
                  </a:lnTo>
                  <a:lnTo>
                    <a:pt x="232683" y="65709"/>
                  </a:lnTo>
                  <a:lnTo>
                    <a:pt x="237384" y="53463"/>
                  </a:lnTo>
                  <a:lnTo>
                    <a:pt x="244742" y="39920"/>
                  </a:lnTo>
                  <a:lnTo>
                    <a:pt x="246223" y="34180"/>
                  </a:lnTo>
                  <a:lnTo>
                    <a:pt x="249137" y="31944"/>
                  </a:lnTo>
                  <a:close/>
                  <a:moveTo>
                    <a:pt x="21499" y="25165"/>
                  </a:moveTo>
                  <a:lnTo>
                    <a:pt x="24641" y="29041"/>
                  </a:lnTo>
                  <a:lnTo>
                    <a:pt x="25704" y="33037"/>
                  </a:lnTo>
                  <a:lnTo>
                    <a:pt x="24223" y="35346"/>
                  </a:lnTo>
                  <a:lnTo>
                    <a:pt x="24649" y="40012"/>
                  </a:lnTo>
                  <a:lnTo>
                    <a:pt x="23843" y="43029"/>
                  </a:lnTo>
                  <a:lnTo>
                    <a:pt x="19324" y="47904"/>
                  </a:lnTo>
                  <a:lnTo>
                    <a:pt x="17837" y="48388"/>
                  </a:lnTo>
                  <a:lnTo>
                    <a:pt x="16490" y="43318"/>
                  </a:lnTo>
                  <a:lnTo>
                    <a:pt x="9464" y="30862"/>
                  </a:lnTo>
                  <a:lnTo>
                    <a:pt x="13726" y="25307"/>
                  </a:lnTo>
                  <a:close/>
                  <a:moveTo>
                    <a:pt x="278194" y="0"/>
                  </a:moveTo>
                  <a:lnTo>
                    <a:pt x="280599" y="2561"/>
                  </a:lnTo>
                  <a:lnTo>
                    <a:pt x="278775" y="5539"/>
                  </a:lnTo>
                  <a:lnTo>
                    <a:pt x="277345" y="14871"/>
                  </a:lnTo>
                  <a:lnTo>
                    <a:pt x="272797" y="17860"/>
                  </a:lnTo>
                  <a:lnTo>
                    <a:pt x="263245" y="21015"/>
                  </a:lnTo>
                  <a:lnTo>
                    <a:pt x="259216" y="25250"/>
                  </a:lnTo>
                  <a:lnTo>
                    <a:pt x="254719" y="23729"/>
                  </a:lnTo>
                  <a:lnTo>
                    <a:pt x="256867" y="14437"/>
                  </a:lnTo>
                  <a:lnTo>
                    <a:pt x="258967" y="11681"/>
                  </a:lnTo>
                  <a:lnTo>
                    <a:pt x="267145" y="7626"/>
                  </a:lnTo>
                  <a:lnTo>
                    <a:pt x="273959" y="5994"/>
                  </a:lnTo>
                  <a:lnTo>
                    <a:pt x="275952" y="1677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17" name="ee4p_RE_1_37365">
              <a:extLst>
                <a:ext uri="{FF2B5EF4-FFF2-40B4-BE49-F238E27FC236}">
                  <a16:creationId xmlns:a16="http://schemas.microsoft.com/office/drawing/2014/main" id="{265A65E8-A514-36B6-AC94-E2158E7F94F7}"/>
                </a:ext>
              </a:extLst>
            </p:cNvPr>
            <p:cNvSpPr>
              <a:spLocks noChangeAspect="1"/>
            </p:cNvSpPr>
            <p:nvPr>
              <p:custDataLst>
                <p:tags r:id="rId371"/>
              </p:custDataLst>
            </p:nvPr>
          </p:nvSpPr>
          <p:spPr>
            <a:xfrm>
              <a:off x="8048479" y="5281480"/>
              <a:ext cx="16835" cy="15022"/>
            </a:xfrm>
            <a:custGeom>
              <a:avLst/>
              <a:gdLst>
                <a:gd name="connsiteX0" fmla="*/ 12892 w 35907"/>
                <a:gd name="connsiteY0" fmla="*/ 0 h 31192"/>
                <a:gd name="connsiteX1" fmla="*/ 21541 w 35907"/>
                <a:gd name="connsiteY1" fmla="*/ 895 h 31192"/>
                <a:gd name="connsiteX2" fmla="*/ 25417 w 35907"/>
                <a:gd name="connsiteY2" fmla="*/ 2542 h 31192"/>
                <a:gd name="connsiteX3" fmla="*/ 29992 w 35907"/>
                <a:gd name="connsiteY3" fmla="*/ 9672 h 31192"/>
                <a:gd name="connsiteX4" fmla="*/ 35907 w 35907"/>
                <a:gd name="connsiteY4" fmla="*/ 16918 h 31192"/>
                <a:gd name="connsiteX5" fmla="*/ 34924 w 35907"/>
                <a:gd name="connsiteY5" fmla="*/ 25540 h 31192"/>
                <a:gd name="connsiteX6" fmla="*/ 33437 w 35907"/>
                <a:gd name="connsiteY6" fmla="*/ 29351 h 31192"/>
                <a:gd name="connsiteX7" fmla="*/ 25074 w 35907"/>
                <a:gd name="connsiteY7" fmla="*/ 31192 h 31192"/>
                <a:gd name="connsiteX8" fmla="*/ 19238 w 35907"/>
                <a:gd name="connsiteY8" fmla="*/ 30527 h 31192"/>
                <a:gd name="connsiteX9" fmla="*/ 7693 w 35907"/>
                <a:gd name="connsiteY9" fmla="*/ 25280 h 31192"/>
                <a:gd name="connsiteX10" fmla="*/ 4594 w 35907"/>
                <a:gd name="connsiteY10" fmla="*/ 21795 h 31192"/>
                <a:gd name="connsiteX11" fmla="*/ 0 w 35907"/>
                <a:gd name="connsiteY11" fmla="*/ 11954 h 31192"/>
                <a:gd name="connsiteX12" fmla="*/ 1018 w 35907"/>
                <a:gd name="connsiteY12" fmla="*/ 8494 h 31192"/>
                <a:gd name="connsiteX13" fmla="*/ 4650 w 35907"/>
                <a:gd name="connsiteY13" fmla="*/ 2408 h 31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5907" h="31192">
                  <a:moveTo>
                    <a:pt x="12892" y="0"/>
                  </a:moveTo>
                  <a:lnTo>
                    <a:pt x="21541" y="895"/>
                  </a:lnTo>
                  <a:lnTo>
                    <a:pt x="25417" y="2542"/>
                  </a:lnTo>
                  <a:lnTo>
                    <a:pt x="29992" y="9672"/>
                  </a:lnTo>
                  <a:lnTo>
                    <a:pt x="35907" y="16918"/>
                  </a:lnTo>
                  <a:lnTo>
                    <a:pt x="34924" y="25540"/>
                  </a:lnTo>
                  <a:lnTo>
                    <a:pt x="33437" y="29351"/>
                  </a:lnTo>
                  <a:lnTo>
                    <a:pt x="25074" y="31192"/>
                  </a:lnTo>
                  <a:lnTo>
                    <a:pt x="19238" y="30527"/>
                  </a:lnTo>
                  <a:lnTo>
                    <a:pt x="7693" y="25280"/>
                  </a:lnTo>
                  <a:lnTo>
                    <a:pt x="4594" y="21795"/>
                  </a:lnTo>
                  <a:lnTo>
                    <a:pt x="0" y="11954"/>
                  </a:lnTo>
                  <a:lnTo>
                    <a:pt x="1018" y="8494"/>
                  </a:lnTo>
                  <a:lnTo>
                    <a:pt x="4650" y="2408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18" name="ee4p_YT_1_37365">
              <a:extLst>
                <a:ext uri="{FF2B5EF4-FFF2-40B4-BE49-F238E27FC236}">
                  <a16:creationId xmlns:a16="http://schemas.microsoft.com/office/drawing/2014/main" id="{B5C2F132-6278-D012-FD93-466B6E4A7128}"/>
                </a:ext>
              </a:extLst>
            </p:cNvPr>
            <p:cNvSpPr>
              <a:spLocks noChangeAspect="1"/>
            </p:cNvSpPr>
            <p:nvPr>
              <p:custDataLst>
                <p:tags r:id="rId372"/>
              </p:custDataLst>
            </p:nvPr>
          </p:nvSpPr>
          <p:spPr>
            <a:xfrm>
              <a:off x="7765504" y="5040515"/>
              <a:ext cx="5013" cy="9622"/>
            </a:xfrm>
            <a:custGeom>
              <a:avLst/>
              <a:gdLst>
                <a:gd name="connsiteX0" fmla="*/ 2949 w 10692"/>
                <a:gd name="connsiteY0" fmla="*/ 0 h 19979"/>
                <a:gd name="connsiteX1" fmla="*/ 5458 w 10692"/>
                <a:gd name="connsiteY1" fmla="*/ 3377 h 19979"/>
                <a:gd name="connsiteX2" fmla="*/ 6881 w 10692"/>
                <a:gd name="connsiteY2" fmla="*/ 3608 h 19979"/>
                <a:gd name="connsiteX3" fmla="*/ 10692 w 10692"/>
                <a:gd name="connsiteY3" fmla="*/ 5965 h 19979"/>
                <a:gd name="connsiteX4" fmla="*/ 9575 w 10692"/>
                <a:gd name="connsiteY4" fmla="*/ 10309 h 19979"/>
                <a:gd name="connsiteX5" fmla="*/ 9830 w 10692"/>
                <a:gd name="connsiteY5" fmla="*/ 11732 h 19979"/>
                <a:gd name="connsiteX6" fmla="*/ 8102 w 10692"/>
                <a:gd name="connsiteY6" fmla="*/ 16082 h 19979"/>
                <a:gd name="connsiteX7" fmla="*/ 8153 w 10692"/>
                <a:gd name="connsiteY7" fmla="*/ 19486 h 19979"/>
                <a:gd name="connsiteX8" fmla="*/ 4441 w 10692"/>
                <a:gd name="connsiteY8" fmla="*/ 19979 h 19979"/>
                <a:gd name="connsiteX9" fmla="*/ 2670 w 10692"/>
                <a:gd name="connsiteY9" fmla="*/ 18385 h 19979"/>
                <a:gd name="connsiteX10" fmla="*/ 1588 w 10692"/>
                <a:gd name="connsiteY10" fmla="*/ 14601 h 19979"/>
                <a:gd name="connsiteX11" fmla="*/ 2705 w 10692"/>
                <a:gd name="connsiteY11" fmla="*/ 10955 h 19979"/>
                <a:gd name="connsiteX12" fmla="*/ 3018 w 10692"/>
                <a:gd name="connsiteY12" fmla="*/ 8009 h 19979"/>
                <a:gd name="connsiteX13" fmla="*/ 0 w 10692"/>
                <a:gd name="connsiteY13" fmla="*/ 2903 h 199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692" h="19979">
                  <a:moveTo>
                    <a:pt x="2949" y="0"/>
                  </a:moveTo>
                  <a:lnTo>
                    <a:pt x="5458" y="3377"/>
                  </a:lnTo>
                  <a:lnTo>
                    <a:pt x="6881" y="3608"/>
                  </a:lnTo>
                  <a:lnTo>
                    <a:pt x="10692" y="5965"/>
                  </a:lnTo>
                  <a:lnTo>
                    <a:pt x="9575" y="10309"/>
                  </a:lnTo>
                  <a:lnTo>
                    <a:pt x="9830" y="11732"/>
                  </a:lnTo>
                  <a:lnTo>
                    <a:pt x="8102" y="16082"/>
                  </a:lnTo>
                  <a:lnTo>
                    <a:pt x="8153" y="19486"/>
                  </a:lnTo>
                  <a:lnTo>
                    <a:pt x="4441" y="19979"/>
                  </a:lnTo>
                  <a:lnTo>
                    <a:pt x="2670" y="18385"/>
                  </a:lnTo>
                  <a:lnTo>
                    <a:pt x="1588" y="14601"/>
                  </a:lnTo>
                  <a:lnTo>
                    <a:pt x="2705" y="10955"/>
                  </a:lnTo>
                  <a:lnTo>
                    <a:pt x="3018" y="8009"/>
                  </a:lnTo>
                  <a:lnTo>
                    <a:pt x="0" y="2903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19" name="ee4p_AR_1_37365">
              <a:extLst>
                <a:ext uri="{FF2B5EF4-FFF2-40B4-BE49-F238E27FC236}">
                  <a16:creationId xmlns:a16="http://schemas.microsoft.com/office/drawing/2014/main" id="{65640C63-AD75-5B2E-D05A-F507C9237F31}"/>
                </a:ext>
              </a:extLst>
            </p:cNvPr>
            <p:cNvSpPr>
              <a:spLocks noChangeAspect="1"/>
            </p:cNvSpPr>
            <p:nvPr>
              <p:custDataLst>
                <p:tags r:id="rId373"/>
              </p:custDataLst>
            </p:nvPr>
          </p:nvSpPr>
          <p:spPr>
            <a:xfrm>
              <a:off x="4471535" y="5307546"/>
              <a:ext cx="552825" cy="1120152"/>
            </a:xfrm>
            <a:custGeom>
              <a:avLst/>
              <a:gdLst>
                <a:gd name="connsiteX0" fmla="*/ 228894 w 504788"/>
                <a:gd name="connsiteY0" fmla="*/ 984590 h 995706"/>
                <a:gd name="connsiteX1" fmla="*/ 231694 w 504788"/>
                <a:gd name="connsiteY1" fmla="*/ 985403 h 995706"/>
                <a:gd name="connsiteX2" fmla="*/ 237229 w 504788"/>
                <a:gd name="connsiteY2" fmla="*/ 984792 h 995706"/>
                <a:gd name="connsiteX3" fmla="*/ 240150 w 504788"/>
                <a:gd name="connsiteY3" fmla="*/ 984782 h 995706"/>
                <a:gd name="connsiteX4" fmla="*/ 241427 w 504788"/>
                <a:gd name="connsiteY4" fmla="*/ 985070 h 995706"/>
                <a:gd name="connsiteX5" fmla="*/ 241998 w 504788"/>
                <a:gd name="connsiteY5" fmla="*/ 985509 h 995706"/>
                <a:gd name="connsiteX6" fmla="*/ 245814 w 504788"/>
                <a:gd name="connsiteY6" fmla="*/ 984826 h 995706"/>
                <a:gd name="connsiteX7" fmla="*/ 247500 w 504788"/>
                <a:gd name="connsiteY7" fmla="*/ 984902 h 995706"/>
                <a:gd name="connsiteX8" fmla="*/ 247065 w 504788"/>
                <a:gd name="connsiteY8" fmla="*/ 986408 h 995706"/>
                <a:gd name="connsiteX9" fmla="*/ 243550 w 504788"/>
                <a:gd name="connsiteY9" fmla="*/ 987908 h 995706"/>
                <a:gd name="connsiteX10" fmla="*/ 242102 w 504788"/>
                <a:gd name="connsiteY10" fmla="*/ 987272 h 995706"/>
                <a:gd name="connsiteX11" fmla="*/ 234633 w 504788"/>
                <a:gd name="connsiteY11" fmla="*/ 987410 h 995706"/>
                <a:gd name="connsiteX12" fmla="*/ 231327 w 504788"/>
                <a:gd name="connsiteY12" fmla="*/ 988951 h 995706"/>
                <a:gd name="connsiteX13" fmla="*/ 229922 w 504788"/>
                <a:gd name="connsiteY13" fmla="*/ 988938 h 995706"/>
                <a:gd name="connsiteX14" fmla="*/ 226660 w 504788"/>
                <a:gd name="connsiteY14" fmla="*/ 991141 h 995706"/>
                <a:gd name="connsiteX15" fmla="*/ 224273 w 504788"/>
                <a:gd name="connsiteY15" fmla="*/ 989749 h 995706"/>
                <a:gd name="connsiteX16" fmla="*/ 223617 w 504788"/>
                <a:gd name="connsiteY16" fmla="*/ 988467 h 995706"/>
                <a:gd name="connsiteX17" fmla="*/ 225344 w 504788"/>
                <a:gd name="connsiteY17" fmla="*/ 986644 h 995706"/>
                <a:gd name="connsiteX18" fmla="*/ 226970 w 504788"/>
                <a:gd name="connsiteY18" fmla="*/ 986607 h 995706"/>
                <a:gd name="connsiteX19" fmla="*/ 228079 w 504788"/>
                <a:gd name="connsiteY19" fmla="*/ 985872 h 995706"/>
                <a:gd name="connsiteX20" fmla="*/ 125422 w 504788"/>
                <a:gd name="connsiteY20" fmla="*/ 913099 h 995706"/>
                <a:gd name="connsiteX21" fmla="*/ 126911 w 504788"/>
                <a:gd name="connsiteY21" fmla="*/ 914545 h 995706"/>
                <a:gd name="connsiteX22" fmla="*/ 132806 w 504788"/>
                <a:gd name="connsiteY22" fmla="*/ 921572 h 995706"/>
                <a:gd name="connsiteX23" fmla="*/ 134341 w 504788"/>
                <a:gd name="connsiteY23" fmla="*/ 924451 h 995706"/>
                <a:gd name="connsiteX24" fmla="*/ 135307 w 504788"/>
                <a:gd name="connsiteY24" fmla="*/ 927812 h 995706"/>
                <a:gd name="connsiteX25" fmla="*/ 132951 w 504788"/>
                <a:gd name="connsiteY25" fmla="*/ 925674 h 995706"/>
                <a:gd name="connsiteX26" fmla="*/ 130463 w 504788"/>
                <a:gd name="connsiteY26" fmla="*/ 926899 h 995706"/>
                <a:gd name="connsiteX27" fmla="*/ 129237 w 504788"/>
                <a:gd name="connsiteY27" fmla="*/ 928909 h 995706"/>
                <a:gd name="connsiteX28" fmla="*/ 128189 w 504788"/>
                <a:gd name="connsiteY28" fmla="*/ 931093 h 995706"/>
                <a:gd name="connsiteX29" fmla="*/ 128197 w 504788"/>
                <a:gd name="connsiteY29" fmla="*/ 932629 h 995706"/>
                <a:gd name="connsiteX30" fmla="*/ 129008 w 504788"/>
                <a:gd name="connsiteY30" fmla="*/ 933975 h 995706"/>
                <a:gd name="connsiteX31" fmla="*/ 131427 w 504788"/>
                <a:gd name="connsiteY31" fmla="*/ 935146 h 995706"/>
                <a:gd name="connsiteX32" fmla="*/ 137309 w 504788"/>
                <a:gd name="connsiteY32" fmla="*/ 935543 h 995706"/>
                <a:gd name="connsiteX33" fmla="*/ 137741 w 504788"/>
                <a:gd name="connsiteY33" fmla="*/ 935977 h 995706"/>
                <a:gd name="connsiteX34" fmla="*/ 141179 w 504788"/>
                <a:gd name="connsiteY34" fmla="*/ 944439 h 995706"/>
                <a:gd name="connsiteX35" fmla="*/ 142909 w 504788"/>
                <a:gd name="connsiteY35" fmla="*/ 946330 h 995706"/>
                <a:gd name="connsiteX36" fmla="*/ 144917 w 504788"/>
                <a:gd name="connsiteY36" fmla="*/ 947834 h 995706"/>
                <a:gd name="connsiteX37" fmla="*/ 149557 w 504788"/>
                <a:gd name="connsiteY37" fmla="*/ 952164 h 995706"/>
                <a:gd name="connsiteX38" fmla="*/ 154007 w 504788"/>
                <a:gd name="connsiteY38" fmla="*/ 956846 h 995706"/>
                <a:gd name="connsiteX39" fmla="*/ 159290 w 504788"/>
                <a:gd name="connsiteY39" fmla="*/ 961291 h 995706"/>
                <a:gd name="connsiteX40" fmla="*/ 164990 w 504788"/>
                <a:gd name="connsiteY40" fmla="*/ 964714 h 995706"/>
                <a:gd name="connsiteX41" fmla="*/ 170172 w 504788"/>
                <a:gd name="connsiteY41" fmla="*/ 967311 h 995706"/>
                <a:gd name="connsiteX42" fmla="*/ 175117 w 504788"/>
                <a:gd name="connsiteY42" fmla="*/ 970489 h 995706"/>
                <a:gd name="connsiteX43" fmla="*/ 180392 w 504788"/>
                <a:gd name="connsiteY43" fmla="*/ 974944 h 995706"/>
                <a:gd name="connsiteX44" fmla="*/ 186133 w 504788"/>
                <a:gd name="connsiteY44" fmla="*/ 978181 h 995706"/>
                <a:gd name="connsiteX45" fmla="*/ 192297 w 504788"/>
                <a:gd name="connsiteY45" fmla="*/ 980474 h 995706"/>
                <a:gd name="connsiteX46" fmla="*/ 198521 w 504788"/>
                <a:gd name="connsiteY46" fmla="*/ 982385 h 995706"/>
                <a:gd name="connsiteX47" fmla="*/ 208101 w 504788"/>
                <a:gd name="connsiteY47" fmla="*/ 981638 h 995706"/>
                <a:gd name="connsiteX48" fmla="*/ 211076 w 504788"/>
                <a:gd name="connsiteY48" fmla="*/ 981847 h 995706"/>
                <a:gd name="connsiteX49" fmla="*/ 212926 w 504788"/>
                <a:gd name="connsiteY49" fmla="*/ 983253 h 995706"/>
                <a:gd name="connsiteX50" fmla="*/ 211066 w 504788"/>
                <a:gd name="connsiteY50" fmla="*/ 987142 h 995706"/>
                <a:gd name="connsiteX51" fmla="*/ 208691 w 504788"/>
                <a:gd name="connsiteY51" fmla="*/ 990274 h 995706"/>
                <a:gd name="connsiteX52" fmla="*/ 205518 w 504788"/>
                <a:gd name="connsiteY52" fmla="*/ 991566 h 995706"/>
                <a:gd name="connsiteX53" fmla="*/ 202166 w 504788"/>
                <a:gd name="connsiteY53" fmla="*/ 992041 h 995706"/>
                <a:gd name="connsiteX54" fmla="*/ 199138 w 504788"/>
                <a:gd name="connsiteY54" fmla="*/ 991979 h 995706"/>
                <a:gd name="connsiteX55" fmla="*/ 196115 w 504788"/>
                <a:gd name="connsiteY55" fmla="*/ 991401 h 995706"/>
                <a:gd name="connsiteX56" fmla="*/ 193280 w 504788"/>
                <a:gd name="connsiteY56" fmla="*/ 991732 h 995706"/>
                <a:gd name="connsiteX57" fmla="*/ 190571 w 504788"/>
                <a:gd name="connsiteY57" fmla="*/ 993049 h 995706"/>
                <a:gd name="connsiteX58" fmla="*/ 187746 w 504788"/>
                <a:gd name="connsiteY58" fmla="*/ 993703 h 995706"/>
                <a:gd name="connsiteX59" fmla="*/ 184837 w 504788"/>
                <a:gd name="connsiteY59" fmla="*/ 993789 h 995706"/>
                <a:gd name="connsiteX60" fmla="*/ 181999 w 504788"/>
                <a:gd name="connsiteY60" fmla="*/ 994905 h 995706"/>
                <a:gd name="connsiteX61" fmla="*/ 179147 w 504788"/>
                <a:gd name="connsiteY61" fmla="*/ 995706 h 995706"/>
                <a:gd name="connsiteX62" fmla="*/ 176192 w 504788"/>
                <a:gd name="connsiteY62" fmla="*/ 995042 h 995706"/>
                <a:gd name="connsiteX63" fmla="*/ 168515 w 504788"/>
                <a:gd name="connsiteY63" fmla="*/ 991928 h 995706"/>
                <a:gd name="connsiteX64" fmla="*/ 163529 w 504788"/>
                <a:gd name="connsiteY64" fmla="*/ 991186 h 995706"/>
                <a:gd name="connsiteX65" fmla="*/ 146637 w 504788"/>
                <a:gd name="connsiteY65" fmla="*/ 989947 h 995706"/>
                <a:gd name="connsiteX66" fmla="*/ 141215 w 504788"/>
                <a:gd name="connsiteY66" fmla="*/ 989236 h 995706"/>
                <a:gd name="connsiteX67" fmla="*/ 135813 w 504788"/>
                <a:gd name="connsiteY67" fmla="*/ 988152 h 995706"/>
                <a:gd name="connsiteX68" fmla="*/ 132984 w 504788"/>
                <a:gd name="connsiteY68" fmla="*/ 988107 h 995706"/>
                <a:gd name="connsiteX69" fmla="*/ 128945 w 504788"/>
                <a:gd name="connsiteY69" fmla="*/ 988807 h 995706"/>
                <a:gd name="connsiteX70" fmla="*/ 125708 w 504788"/>
                <a:gd name="connsiteY70" fmla="*/ 988721 h 995706"/>
                <a:gd name="connsiteX71" fmla="*/ 124831 w 504788"/>
                <a:gd name="connsiteY71" fmla="*/ 989419 h 995706"/>
                <a:gd name="connsiteX72" fmla="*/ 124977 w 504788"/>
                <a:gd name="connsiteY72" fmla="*/ 981488 h 995706"/>
                <a:gd name="connsiteX73" fmla="*/ 125172 w 504788"/>
                <a:gd name="connsiteY73" fmla="*/ 970853 h 995706"/>
                <a:gd name="connsiteX74" fmla="*/ 125212 w 504788"/>
                <a:gd name="connsiteY74" fmla="*/ 961400 h 995706"/>
                <a:gd name="connsiteX75" fmla="*/ 125251 w 504788"/>
                <a:gd name="connsiteY75" fmla="*/ 952225 h 995706"/>
                <a:gd name="connsiteX76" fmla="*/ 125292 w 504788"/>
                <a:gd name="connsiteY76" fmla="*/ 942757 h 995706"/>
                <a:gd name="connsiteX77" fmla="*/ 125334 w 504788"/>
                <a:gd name="connsiteY77" fmla="*/ 933319 h 995706"/>
                <a:gd name="connsiteX78" fmla="*/ 125377 w 504788"/>
                <a:gd name="connsiteY78" fmla="*/ 923267 h 995706"/>
                <a:gd name="connsiteX79" fmla="*/ 291174 w 504788"/>
                <a:gd name="connsiteY79" fmla="*/ 482721 h 995706"/>
                <a:gd name="connsiteX80" fmla="*/ 294379 w 504788"/>
                <a:gd name="connsiteY80" fmla="*/ 483491 h 995706"/>
                <a:gd name="connsiteX81" fmla="*/ 295889 w 504788"/>
                <a:gd name="connsiteY81" fmla="*/ 484186 h 995706"/>
                <a:gd name="connsiteX82" fmla="*/ 296683 w 504788"/>
                <a:gd name="connsiteY82" fmla="*/ 485262 h 995706"/>
                <a:gd name="connsiteX83" fmla="*/ 296932 w 504788"/>
                <a:gd name="connsiteY83" fmla="*/ 487133 h 995706"/>
                <a:gd name="connsiteX84" fmla="*/ 295612 w 504788"/>
                <a:gd name="connsiteY84" fmla="*/ 486912 h 995706"/>
                <a:gd name="connsiteX85" fmla="*/ 292478 w 504788"/>
                <a:gd name="connsiteY85" fmla="*/ 485114 h 995706"/>
                <a:gd name="connsiteX86" fmla="*/ 291421 w 504788"/>
                <a:gd name="connsiteY86" fmla="*/ 483431 h 995706"/>
                <a:gd name="connsiteX87" fmla="*/ 186524 w 504788"/>
                <a:gd name="connsiteY87" fmla="*/ 0 h 995706"/>
                <a:gd name="connsiteX88" fmla="*/ 187679 w 504788"/>
                <a:gd name="connsiteY88" fmla="*/ 82 h 995706"/>
                <a:gd name="connsiteX89" fmla="*/ 189608 w 504788"/>
                <a:gd name="connsiteY89" fmla="*/ 864 h 995706"/>
                <a:gd name="connsiteX90" fmla="*/ 190622 w 504788"/>
                <a:gd name="connsiteY90" fmla="*/ 2045 h 995706"/>
                <a:gd name="connsiteX91" fmla="*/ 195653 w 504788"/>
                <a:gd name="connsiteY91" fmla="*/ 5775 h 995706"/>
                <a:gd name="connsiteX92" fmla="*/ 197914 w 504788"/>
                <a:gd name="connsiteY92" fmla="*/ 7901 h 995706"/>
                <a:gd name="connsiteX93" fmla="*/ 200065 w 504788"/>
                <a:gd name="connsiteY93" fmla="*/ 8184 h 995706"/>
                <a:gd name="connsiteX94" fmla="*/ 204309 w 504788"/>
                <a:gd name="connsiteY94" fmla="*/ 7765 h 995706"/>
                <a:gd name="connsiteX95" fmla="*/ 205169 w 504788"/>
                <a:gd name="connsiteY95" fmla="*/ 7862 h 995706"/>
                <a:gd name="connsiteX96" fmla="*/ 215997 w 504788"/>
                <a:gd name="connsiteY96" fmla="*/ 7983 h 995706"/>
                <a:gd name="connsiteX97" fmla="*/ 217651 w 504788"/>
                <a:gd name="connsiteY97" fmla="*/ 8168 h 995706"/>
                <a:gd name="connsiteX98" fmla="*/ 221443 w 504788"/>
                <a:gd name="connsiteY98" fmla="*/ 9081 h 995706"/>
                <a:gd name="connsiteX99" fmla="*/ 223584 w 504788"/>
                <a:gd name="connsiteY99" fmla="*/ 9809 h 995706"/>
                <a:gd name="connsiteX100" fmla="*/ 225068 w 504788"/>
                <a:gd name="connsiteY100" fmla="*/ 10188 h 995706"/>
                <a:gd name="connsiteX101" fmla="*/ 227467 w 504788"/>
                <a:gd name="connsiteY101" fmla="*/ 11340 h 995706"/>
                <a:gd name="connsiteX102" fmla="*/ 229542 w 504788"/>
                <a:gd name="connsiteY102" fmla="*/ 15143 h 995706"/>
                <a:gd name="connsiteX103" fmla="*/ 230706 w 504788"/>
                <a:gd name="connsiteY103" fmla="*/ 18175 h 995706"/>
                <a:gd name="connsiteX104" fmla="*/ 231524 w 504788"/>
                <a:gd name="connsiteY104" fmla="*/ 20841 h 995706"/>
                <a:gd name="connsiteX105" fmla="*/ 233337 w 504788"/>
                <a:gd name="connsiteY105" fmla="*/ 25529 h 995706"/>
                <a:gd name="connsiteX106" fmla="*/ 234572 w 504788"/>
                <a:gd name="connsiteY106" fmla="*/ 27308 h 995706"/>
                <a:gd name="connsiteX107" fmla="*/ 235012 w 504788"/>
                <a:gd name="connsiteY107" fmla="*/ 26444 h 995706"/>
                <a:gd name="connsiteX108" fmla="*/ 236065 w 504788"/>
                <a:gd name="connsiteY108" fmla="*/ 21322 h 995706"/>
                <a:gd name="connsiteX109" fmla="*/ 237519 w 504788"/>
                <a:gd name="connsiteY109" fmla="*/ 18335 h 995706"/>
                <a:gd name="connsiteX110" fmla="*/ 239478 w 504788"/>
                <a:gd name="connsiteY110" fmla="*/ 14990 h 995706"/>
                <a:gd name="connsiteX111" fmla="*/ 243426 w 504788"/>
                <a:gd name="connsiteY111" fmla="*/ 7181 h 995706"/>
                <a:gd name="connsiteX112" fmla="*/ 244806 w 504788"/>
                <a:gd name="connsiteY112" fmla="*/ 6011 h 995706"/>
                <a:gd name="connsiteX113" fmla="*/ 246344 w 504788"/>
                <a:gd name="connsiteY113" fmla="*/ 5442 h 995706"/>
                <a:gd name="connsiteX114" fmla="*/ 247419 w 504788"/>
                <a:gd name="connsiteY114" fmla="*/ 5396 h 995706"/>
                <a:gd name="connsiteX115" fmla="*/ 248510 w 504788"/>
                <a:gd name="connsiteY115" fmla="*/ 5975 h 995706"/>
                <a:gd name="connsiteX116" fmla="*/ 249998 w 504788"/>
                <a:gd name="connsiteY116" fmla="*/ 5983 h 995706"/>
                <a:gd name="connsiteX117" fmla="*/ 251053 w 504788"/>
                <a:gd name="connsiteY117" fmla="*/ 5364 h 995706"/>
                <a:gd name="connsiteX118" fmla="*/ 261402 w 504788"/>
                <a:gd name="connsiteY118" fmla="*/ 5265 h 995706"/>
                <a:gd name="connsiteX119" fmla="*/ 272149 w 504788"/>
                <a:gd name="connsiteY119" fmla="*/ 5177 h 995706"/>
                <a:gd name="connsiteX120" fmla="*/ 272378 w 504788"/>
                <a:gd name="connsiteY120" fmla="*/ 5226 h 995706"/>
                <a:gd name="connsiteX121" fmla="*/ 272865 w 504788"/>
                <a:gd name="connsiteY121" fmla="*/ 6570 h 995706"/>
                <a:gd name="connsiteX122" fmla="*/ 274653 w 504788"/>
                <a:gd name="connsiteY122" fmla="*/ 9504 h 995706"/>
                <a:gd name="connsiteX123" fmla="*/ 276663 w 504788"/>
                <a:gd name="connsiteY123" fmla="*/ 11051 h 995706"/>
                <a:gd name="connsiteX124" fmla="*/ 277027 w 504788"/>
                <a:gd name="connsiteY124" fmla="*/ 11470 h 995706"/>
                <a:gd name="connsiteX125" fmla="*/ 277668 w 504788"/>
                <a:gd name="connsiteY125" fmla="*/ 12211 h 995706"/>
                <a:gd name="connsiteX126" fmla="*/ 277660 w 504788"/>
                <a:gd name="connsiteY126" fmla="*/ 12981 h 995706"/>
                <a:gd name="connsiteX127" fmla="*/ 279801 w 504788"/>
                <a:gd name="connsiteY127" fmla="*/ 14557 h 995706"/>
                <a:gd name="connsiteX128" fmla="*/ 284087 w 504788"/>
                <a:gd name="connsiteY128" fmla="*/ 16944 h 995706"/>
                <a:gd name="connsiteX129" fmla="*/ 288103 w 504788"/>
                <a:gd name="connsiteY129" fmla="*/ 21564 h 995706"/>
                <a:gd name="connsiteX130" fmla="*/ 291845 w 504788"/>
                <a:gd name="connsiteY130" fmla="*/ 28423 h 995706"/>
                <a:gd name="connsiteX131" fmla="*/ 295358 w 504788"/>
                <a:gd name="connsiteY131" fmla="*/ 33495 h 995706"/>
                <a:gd name="connsiteX132" fmla="*/ 298641 w 504788"/>
                <a:gd name="connsiteY132" fmla="*/ 36778 h 995706"/>
                <a:gd name="connsiteX133" fmla="*/ 301659 w 504788"/>
                <a:gd name="connsiteY133" fmla="*/ 39098 h 995706"/>
                <a:gd name="connsiteX134" fmla="*/ 304410 w 504788"/>
                <a:gd name="connsiteY134" fmla="*/ 40454 h 995706"/>
                <a:gd name="connsiteX135" fmla="*/ 305881 w 504788"/>
                <a:gd name="connsiteY135" fmla="*/ 41552 h 995706"/>
                <a:gd name="connsiteX136" fmla="*/ 306071 w 504788"/>
                <a:gd name="connsiteY136" fmla="*/ 42396 h 995706"/>
                <a:gd name="connsiteX137" fmla="*/ 308646 w 504788"/>
                <a:gd name="connsiteY137" fmla="*/ 44151 h 995706"/>
                <a:gd name="connsiteX138" fmla="*/ 313605 w 504788"/>
                <a:gd name="connsiteY138" fmla="*/ 46817 h 995706"/>
                <a:gd name="connsiteX139" fmla="*/ 316741 w 504788"/>
                <a:gd name="connsiteY139" fmla="*/ 49481 h 995706"/>
                <a:gd name="connsiteX140" fmla="*/ 318055 w 504788"/>
                <a:gd name="connsiteY140" fmla="*/ 52141 h 995706"/>
                <a:gd name="connsiteX141" fmla="*/ 322951 w 504788"/>
                <a:gd name="connsiteY141" fmla="*/ 54889 h 995706"/>
                <a:gd name="connsiteX142" fmla="*/ 331432 w 504788"/>
                <a:gd name="connsiteY142" fmla="*/ 57720 h 995706"/>
                <a:gd name="connsiteX143" fmla="*/ 337598 w 504788"/>
                <a:gd name="connsiteY143" fmla="*/ 59072 h 995706"/>
                <a:gd name="connsiteX144" fmla="*/ 341448 w 504788"/>
                <a:gd name="connsiteY144" fmla="*/ 58943 h 995706"/>
                <a:gd name="connsiteX145" fmla="*/ 346972 w 504788"/>
                <a:gd name="connsiteY145" fmla="*/ 61210 h 995706"/>
                <a:gd name="connsiteX146" fmla="*/ 354170 w 504788"/>
                <a:gd name="connsiteY146" fmla="*/ 65865 h 995706"/>
                <a:gd name="connsiteX147" fmla="*/ 358562 w 504788"/>
                <a:gd name="connsiteY147" fmla="*/ 69099 h 995706"/>
                <a:gd name="connsiteX148" fmla="*/ 360146 w 504788"/>
                <a:gd name="connsiteY148" fmla="*/ 70898 h 995706"/>
                <a:gd name="connsiteX149" fmla="*/ 364854 w 504788"/>
                <a:gd name="connsiteY149" fmla="*/ 73816 h 995706"/>
                <a:gd name="connsiteX150" fmla="*/ 376600 w 504788"/>
                <a:gd name="connsiteY150" fmla="*/ 79860 h 995706"/>
                <a:gd name="connsiteX151" fmla="*/ 381782 w 504788"/>
                <a:gd name="connsiteY151" fmla="*/ 81376 h 995706"/>
                <a:gd name="connsiteX152" fmla="*/ 384238 w 504788"/>
                <a:gd name="connsiteY152" fmla="*/ 82757 h 995706"/>
                <a:gd name="connsiteX153" fmla="*/ 385693 w 504788"/>
                <a:gd name="connsiteY153" fmla="*/ 84515 h 995706"/>
                <a:gd name="connsiteX154" fmla="*/ 387131 w 504788"/>
                <a:gd name="connsiteY154" fmla="*/ 85050 h 995706"/>
                <a:gd name="connsiteX155" fmla="*/ 388549 w 504788"/>
                <a:gd name="connsiteY155" fmla="*/ 84367 h 995706"/>
                <a:gd name="connsiteX156" fmla="*/ 391498 w 504788"/>
                <a:gd name="connsiteY156" fmla="*/ 84997 h 995706"/>
                <a:gd name="connsiteX157" fmla="*/ 395977 w 504788"/>
                <a:gd name="connsiteY157" fmla="*/ 86942 h 995706"/>
                <a:gd name="connsiteX158" fmla="*/ 399480 w 504788"/>
                <a:gd name="connsiteY158" fmla="*/ 89296 h 995706"/>
                <a:gd name="connsiteX159" fmla="*/ 403988 w 504788"/>
                <a:gd name="connsiteY159" fmla="*/ 94483 h 995706"/>
                <a:gd name="connsiteX160" fmla="*/ 405426 w 504788"/>
                <a:gd name="connsiteY160" fmla="*/ 96556 h 995706"/>
                <a:gd name="connsiteX161" fmla="*/ 406036 w 504788"/>
                <a:gd name="connsiteY161" fmla="*/ 98412 h 995706"/>
                <a:gd name="connsiteX162" fmla="*/ 405819 w 504788"/>
                <a:gd name="connsiteY162" fmla="*/ 100048 h 995706"/>
                <a:gd name="connsiteX163" fmla="*/ 404446 w 504788"/>
                <a:gd name="connsiteY163" fmla="*/ 101794 h 995706"/>
                <a:gd name="connsiteX164" fmla="*/ 401919 w 504788"/>
                <a:gd name="connsiteY164" fmla="*/ 103647 h 995706"/>
                <a:gd name="connsiteX165" fmla="*/ 401176 w 504788"/>
                <a:gd name="connsiteY165" fmla="*/ 104457 h 995706"/>
                <a:gd name="connsiteX166" fmla="*/ 401118 w 504788"/>
                <a:gd name="connsiteY166" fmla="*/ 105240 h 995706"/>
                <a:gd name="connsiteX167" fmla="*/ 400475 w 504788"/>
                <a:gd name="connsiteY167" fmla="*/ 106803 h 995706"/>
                <a:gd name="connsiteX168" fmla="*/ 398376 w 504788"/>
                <a:gd name="connsiteY168" fmla="*/ 110143 h 995706"/>
                <a:gd name="connsiteX169" fmla="*/ 397843 w 504788"/>
                <a:gd name="connsiteY169" fmla="*/ 111698 h 995706"/>
                <a:gd name="connsiteX170" fmla="*/ 397732 w 504788"/>
                <a:gd name="connsiteY170" fmla="*/ 112844 h 995706"/>
                <a:gd name="connsiteX171" fmla="*/ 396401 w 504788"/>
                <a:gd name="connsiteY171" fmla="*/ 114103 h 995706"/>
                <a:gd name="connsiteX172" fmla="*/ 392868 w 504788"/>
                <a:gd name="connsiteY172" fmla="*/ 116427 h 995706"/>
                <a:gd name="connsiteX173" fmla="*/ 392140 w 504788"/>
                <a:gd name="connsiteY173" fmla="*/ 117557 h 995706"/>
                <a:gd name="connsiteX174" fmla="*/ 391965 w 504788"/>
                <a:gd name="connsiteY174" fmla="*/ 118771 h 995706"/>
                <a:gd name="connsiteX175" fmla="*/ 391519 w 504788"/>
                <a:gd name="connsiteY175" fmla="*/ 119492 h 995706"/>
                <a:gd name="connsiteX176" fmla="*/ 391036 w 504788"/>
                <a:gd name="connsiteY176" fmla="*/ 119795 h 995706"/>
                <a:gd name="connsiteX177" fmla="*/ 390356 w 504788"/>
                <a:gd name="connsiteY177" fmla="*/ 121012 h 995706"/>
                <a:gd name="connsiteX178" fmla="*/ 389810 w 504788"/>
                <a:gd name="connsiteY178" fmla="*/ 123023 h 995706"/>
                <a:gd name="connsiteX179" fmla="*/ 389756 w 504788"/>
                <a:gd name="connsiteY179" fmla="*/ 125610 h 995706"/>
                <a:gd name="connsiteX180" fmla="*/ 390193 w 504788"/>
                <a:gd name="connsiteY180" fmla="*/ 128766 h 995706"/>
                <a:gd name="connsiteX181" fmla="*/ 390107 w 504788"/>
                <a:gd name="connsiteY181" fmla="*/ 129783 h 995706"/>
                <a:gd name="connsiteX182" fmla="*/ 389327 w 504788"/>
                <a:gd name="connsiteY182" fmla="*/ 130329 h 995706"/>
                <a:gd name="connsiteX183" fmla="*/ 388889 w 504788"/>
                <a:gd name="connsiteY183" fmla="*/ 131059 h 995706"/>
                <a:gd name="connsiteX184" fmla="*/ 388732 w 504788"/>
                <a:gd name="connsiteY184" fmla="*/ 132535 h 995706"/>
                <a:gd name="connsiteX185" fmla="*/ 388069 w 504788"/>
                <a:gd name="connsiteY185" fmla="*/ 133614 h 995706"/>
                <a:gd name="connsiteX186" fmla="*/ 386903 w 504788"/>
                <a:gd name="connsiteY186" fmla="*/ 134301 h 995706"/>
                <a:gd name="connsiteX187" fmla="*/ 386473 w 504788"/>
                <a:gd name="connsiteY187" fmla="*/ 135091 h 995706"/>
                <a:gd name="connsiteX188" fmla="*/ 386779 w 504788"/>
                <a:gd name="connsiteY188" fmla="*/ 135982 h 995706"/>
                <a:gd name="connsiteX189" fmla="*/ 385920 w 504788"/>
                <a:gd name="connsiteY189" fmla="*/ 136866 h 995706"/>
                <a:gd name="connsiteX190" fmla="*/ 383895 w 504788"/>
                <a:gd name="connsiteY190" fmla="*/ 137737 h 995706"/>
                <a:gd name="connsiteX191" fmla="*/ 382655 w 504788"/>
                <a:gd name="connsiteY191" fmla="*/ 139004 h 995706"/>
                <a:gd name="connsiteX192" fmla="*/ 382198 w 504788"/>
                <a:gd name="connsiteY192" fmla="*/ 140669 h 995706"/>
                <a:gd name="connsiteX193" fmla="*/ 381071 w 504788"/>
                <a:gd name="connsiteY193" fmla="*/ 142155 h 995706"/>
                <a:gd name="connsiteX194" fmla="*/ 379273 w 504788"/>
                <a:gd name="connsiteY194" fmla="*/ 143469 h 995706"/>
                <a:gd name="connsiteX195" fmla="*/ 378686 w 504788"/>
                <a:gd name="connsiteY195" fmla="*/ 145215 h 995706"/>
                <a:gd name="connsiteX196" fmla="*/ 379621 w 504788"/>
                <a:gd name="connsiteY196" fmla="*/ 148445 h 995706"/>
                <a:gd name="connsiteX197" fmla="*/ 390692 w 504788"/>
                <a:gd name="connsiteY197" fmla="*/ 147327 h 995706"/>
                <a:gd name="connsiteX198" fmla="*/ 399720 w 504788"/>
                <a:gd name="connsiteY198" fmla="*/ 148506 h 995706"/>
                <a:gd name="connsiteX199" fmla="*/ 410394 w 504788"/>
                <a:gd name="connsiteY199" fmla="*/ 151618 h 995706"/>
                <a:gd name="connsiteX200" fmla="*/ 417479 w 504788"/>
                <a:gd name="connsiteY200" fmla="*/ 152701 h 995706"/>
                <a:gd name="connsiteX201" fmla="*/ 420974 w 504788"/>
                <a:gd name="connsiteY201" fmla="*/ 151762 h 995706"/>
                <a:gd name="connsiteX202" fmla="*/ 423567 w 504788"/>
                <a:gd name="connsiteY202" fmla="*/ 151895 h 995706"/>
                <a:gd name="connsiteX203" fmla="*/ 425255 w 504788"/>
                <a:gd name="connsiteY203" fmla="*/ 153099 h 995706"/>
                <a:gd name="connsiteX204" fmla="*/ 427523 w 504788"/>
                <a:gd name="connsiteY204" fmla="*/ 153348 h 995706"/>
                <a:gd name="connsiteX205" fmla="*/ 430372 w 504788"/>
                <a:gd name="connsiteY205" fmla="*/ 152641 h 995706"/>
                <a:gd name="connsiteX206" fmla="*/ 432726 w 504788"/>
                <a:gd name="connsiteY206" fmla="*/ 153188 h 995706"/>
                <a:gd name="connsiteX207" fmla="*/ 434586 w 504788"/>
                <a:gd name="connsiteY207" fmla="*/ 154990 h 995706"/>
                <a:gd name="connsiteX208" fmla="*/ 436276 w 504788"/>
                <a:gd name="connsiteY208" fmla="*/ 154542 h 995706"/>
                <a:gd name="connsiteX209" fmla="*/ 437797 w 504788"/>
                <a:gd name="connsiteY209" fmla="*/ 151845 h 995706"/>
                <a:gd name="connsiteX210" fmla="*/ 439542 w 504788"/>
                <a:gd name="connsiteY210" fmla="*/ 149877 h 995706"/>
                <a:gd name="connsiteX211" fmla="*/ 441511 w 504788"/>
                <a:gd name="connsiteY211" fmla="*/ 148640 h 995706"/>
                <a:gd name="connsiteX212" fmla="*/ 443964 w 504788"/>
                <a:gd name="connsiteY212" fmla="*/ 148264 h 995706"/>
                <a:gd name="connsiteX213" fmla="*/ 446902 w 504788"/>
                <a:gd name="connsiteY213" fmla="*/ 148754 h 995706"/>
                <a:gd name="connsiteX214" fmla="*/ 449246 w 504788"/>
                <a:gd name="connsiteY214" fmla="*/ 149744 h 995706"/>
                <a:gd name="connsiteX215" fmla="*/ 450996 w 504788"/>
                <a:gd name="connsiteY215" fmla="*/ 151234 h 995706"/>
                <a:gd name="connsiteX216" fmla="*/ 452907 w 504788"/>
                <a:gd name="connsiteY216" fmla="*/ 151191 h 995706"/>
                <a:gd name="connsiteX217" fmla="*/ 454979 w 504788"/>
                <a:gd name="connsiteY217" fmla="*/ 149613 h 995706"/>
                <a:gd name="connsiteX218" fmla="*/ 455971 w 504788"/>
                <a:gd name="connsiteY218" fmla="*/ 147727 h 995706"/>
                <a:gd name="connsiteX219" fmla="*/ 455883 w 504788"/>
                <a:gd name="connsiteY219" fmla="*/ 145530 h 995706"/>
                <a:gd name="connsiteX220" fmla="*/ 456704 w 504788"/>
                <a:gd name="connsiteY220" fmla="*/ 143957 h 995706"/>
                <a:gd name="connsiteX221" fmla="*/ 458432 w 504788"/>
                <a:gd name="connsiteY221" fmla="*/ 143011 h 995706"/>
                <a:gd name="connsiteX222" fmla="*/ 459602 w 504788"/>
                <a:gd name="connsiteY222" fmla="*/ 141729 h 995706"/>
                <a:gd name="connsiteX223" fmla="*/ 460209 w 504788"/>
                <a:gd name="connsiteY223" fmla="*/ 140117 h 995706"/>
                <a:gd name="connsiteX224" fmla="*/ 462260 w 504788"/>
                <a:gd name="connsiteY224" fmla="*/ 139132 h 995706"/>
                <a:gd name="connsiteX225" fmla="*/ 465753 w 504788"/>
                <a:gd name="connsiteY225" fmla="*/ 138778 h 995706"/>
                <a:gd name="connsiteX226" fmla="*/ 467581 w 504788"/>
                <a:gd name="connsiteY226" fmla="*/ 137987 h 995706"/>
                <a:gd name="connsiteX227" fmla="*/ 467740 w 504788"/>
                <a:gd name="connsiteY227" fmla="*/ 136757 h 995706"/>
                <a:gd name="connsiteX228" fmla="*/ 468774 w 504788"/>
                <a:gd name="connsiteY228" fmla="*/ 135626 h 995706"/>
                <a:gd name="connsiteX229" fmla="*/ 470682 w 504788"/>
                <a:gd name="connsiteY229" fmla="*/ 134594 h 995706"/>
                <a:gd name="connsiteX230" fmla="*/ 471987 w 504788"/>
                <a:gd name="connsiteY230" fmla="*/ 133306 h 995706"/>
                <a:gd name="connsiteX231" fmla="*/ 472689 w 504788"/>
                <a:gd name="connsiteY231" fmla="*/ 131759 h 995706"/>
                <a:gd name="connsiteX232" fmla="*/ 473844 w 504788"/>
                <a:gd name="connsiteY232" fmla="*/ 130785 h 995706"/>
                <a:gd name="connsiteX233" fmla="*/ 475453 w 504788"/>
                <a:gd name="connsiteY233" fmla="*/ 130390 h 995706"/>
                <a:gd name="connsiteX234" fmla="*/ 477238 w 504788"/>
                <a:gd name="connsiteY234" fmla="*/ 127142 h 995706"/>
                <a:gd name="connsiteX235" fmla="*/ 479199 w 504788"/>
                <a:gd name="connsiteY235" fmla="*/ 121050 h 995706"/>
                <a:gd name="connsiteX236" fmla="*/ 480361 w 504788"/>
                <a:gd name="connsiteY236" fmla="*/ 112823 h 995706"/>
                <a:gd name="connsiteX237" fmla="*/ 480768 w 504788"/>
                <a:gd name="connsiteY237" fmla="*/ 101181 h 995706"/>
                <a:gd name="connsiteX238" fmla="*/ 482746 w 504788"/>
                <a:gd name="connsiteY238" fmla="*/ 101192 h 995706"/>
                <a:gd name="connsiteX239" fmla="*/ 483667 w 504788"/>
                <a:gd name="connsiteY239" fmla="*/ 102053 h 995706"/>
                <a:gd name="connsiteX240" fmla="*/ 485126 w 504788"/>
                <a:gd name="connsiteY240" fmla="*/ 102505 h 995706"/>
                <a:gd name="connsiteX241" fmla="*/ 486663 w 504788"/>
                <a:gd name="connsiteY241" fmla="*/ 101522 h 995706"/>
                <a:gd name="connsiteX242" fmla="*/ 487968 w 504788"/>
                <a:gd name="connsiteY242" fmla="*/ 101068 h 995706"/>
                <a:gd name="connsiteX243" fmla="*/ 490042 w 504788"/>
                <a:gd name="connsiteY243" fmla="*/ 101028 h 995706"/>
                <a:gd name="connsiteX244" fmla="*/ 491157 w 504788"/>
                <a:gd name="connsiteY244" fmla="*/ 99924 h 995706"/>
                <a:gd name="connsiteX245" fmla="*/ 492464 w 504788"/>
                <a:gd name="connsiteY245" fmla="*/ 99746 h 995706"/>
                <a:gd name="connsiteX246" fmla="*/ 493360 w 504788"/>
                <a:gd name="connsiteY246" fmla="*/ 100346 h 995706"/>
                <a:gd name="connsiteX247" fmla="*/ 494228 w 504788"/>
                <a:gd name="connsiteY247" fmla="*/ 101068 h 995706"/>
                <a:gd name="connsiteX248" fmla="*/ 496072 w 504788"/>
                <a:gd name="connsiteY248" fmla="*/ 101231 h 995706"/>
                <a:gd name="connsiteX249" fmla="*/ 497531 w 504788"/>
                <a:gd name="connsiteY249" fmla="*/ 103118 h 995706"/>
                <a:gd name="connsiteX250" fmla="*/ 499144 w 504788"/>
                <a:gd name="connsiteY250" fmla="*/ 103693 h 995706"/>
                <a:gd name="connsiteX251" fmla="*/ 499827 w 504788"/>
                <a:gd name="connsiteY251" fmla="*/ 105859 h 995706"/>
                <a:gd name="connsiteX252" fmla="*/ 500866 w 504788"/>
                <a:gd name="connsiteY252" fmla="*/ 111571 h 995706"/>
                <a:gd name="connsiteX253" fmla="*/ 502801 w 504788"/>
                <a:gd name="connsiteY253" fmla="*/ 114938 h 995706"/>
                <a:gd name="connsiteX254" fmla="*/ 504718 w 504788"/>
                <a:gd name="connsiteY254" fmla="*/ 118776 h 995706"/>
                <a:gd name="connsiteX255" fmla="*/ 504788 w 504788"/>
                <a:gd name="connsiteY255" fmla="*/ 120490 h 995706"/>
                <a:gd name="connsiteX256" fmla="*/ 503714 w 504788"/>
                <a:gd name="connsiteY256" fmla="*/ 122219 h 995706"/>
                <a:gd name="connsiteX257" fmla="*/ 503530 w 504788"/>
                <a:gd name="connsiteY257" fmla="*/ 124702 h 995706"/>
                <a:gd name="connsiteX258" fmla="*/ 502860 w 504788"/>
                <a:gd name="connsiteY258" fmla="*/ 130777 h 995706"/>
                <a:gd name="connsiteX259" fmla="*/ 502639 w 504788"/>
                <a:gd name="connsiteY259" fmla="*/ 133013 h 995706"/>
                <a:gd name="connsiteX260" fmla="*/ 503302 w 504788"/>
                <a:gd name="connsiteY260" fmla="*/ 134541 h 995706"/>
                <a:gd name="connsiteX261" fmla="*/ 503552 w 504788"/>
                <a:gd name="connsiteY261" fmla="*/ 136669 h 995706"/>
                <a:gd name="connsiteX262" fmla="*/ 502507 w 504788"/>
                <a:gd name="connsiteY262" fmla="*/ 139273 h 995706"/>
                <a:gd name="connsiteX263" fmla="*/ 500487 w 504788"/>
                <a:gd name="connsiteY263" fmla="*/ 143168 h 995706"/>
                <a:gd name="connsiteX264" fmla="*/ 498524 w 504788"/>
                <a:gd name="connsiteY264" fmla="*/ 144218 h 995706"/>
                <a:gd name="connsiteX265" fmla="*/ 498022 w 504788"/>
                <a:gd name="connsiteY265" fmla="*/ 144260 h 995706"/>
                <a:gd name="connsiteX266" fmla="*/ 495366 w 504788"/>
                <a:gd name="connsiteY266" fmla="*/ 146516 h 995706"/>
                <a:gd name="connsiteX267" fmla="*/ 493497 w 504788"/>
                <a:gd name="connsiteY267" fmla="*/ 147361 h 995706"/>
                <a:gd name="connsiteX268" fmla="*/ 492417 w 504788"/>
                <a:gd name="connsiteY268" fmla="*/ 146791 h 995706"/>
                <a:gd name="connsiteX269" fmla="*/ 491180 w 504788"/>
                <a:gd name="connsiteY269" fmla="*/ 147769 h 995706"/>
                <a:gd name="connsiteX270" fmla="*/ 489788 w 504788"/>
                <a:gd name="connsiteY270" fmla="*/ 150294 h 995706"/>
                <a:gd name="connsiteX271" fmla="*/ 488092 w 504788"/>
                <a:gd name="connsiteY271" fmla="*/ 151429 h 995706"/>
                <a:gd name="connsiteX272" fmla="*/ 485020 w 504788"/>
                <a:gd name="connsiteY272" fmla="*/ 152056 h 995706"/>
                <a:gd name="connsiteX273" fmla="*/ 484104 w 504788"/>
                <a:gd name="connsiteY273" fmla="*/ 152352 h 995706"/>
                <a:gd name="connsiteX274" fmla="*/ 482312 w 504788"/>
                <a:gd name="connsiteY274" fmla="*/ 152263 h 995706"/>
                <a:gd name="connsiteX275" fmla="*/ 480778 w 504788"/>
                <a:gd name="connsiteY275" fmla="*/ 152894 h 995706"/>
                <a:gd name="connsiteX276" fmla="*/ 479500 w 504788"/>
                <a:gd name="connsiteY276" fmla="*/ 154245 h 995706"/>
                <a:gd name="connsiteX277" fmla="*/ 478134 w 504788"/>
                <a:gd name="connsiteY277" fmla="*/ 154747 h 995706"/>
                <a:gd name="connsiteX278" fmla="*/ 476680 w 504788"/>
                <a:gd name="connsiteY278" fmla="*/ 154408 h 995706"/>
                <a:gd name="connsiteX279" fmla="*/ 475361 w 504788"/>
                <a:gd name="connsiteY279" fmla="*/ 154902 h 995706"/>
                <a:gd name="connsiteX280" fmla="*/ 474179 w 504788"/>
                <a:gd name="connsiteY280" fmla="*/ 156233 h 995706"/>
                <a:gd name="connsiteX281" fmla="*/ 473493 w 504788"/>
                <a:gd name="connsiteY281" fmla="*/ 157676 h 995706"/>
                <a:gd name="connsiteX282" fmla="*/ 473304 w 504788"/>
                <a:gd name="connsiteY282" fmla="*/ 159226 h 995706"/>
                <a:gd name="connsiteX283" fmla="*/ 472146 w 504788"/>
                <a:gd name="connsiteY283" fmla="*/ 160284 h 995706"/>
                <a:gd name="connsiteX284" fmla="*/ 470015 w 504788"/>
                <a:gd name="connsiteY284" fmla="*/ 160848 h 995706"/>
                <a:gd name="connsiteX285" fmla="*/ 469278 w 504788"/>
                <a:gd name="connsiteY285" fmla="*/ 161629 h 995706"/>
                <a:gd name="connsiteX286" fmla="*/ 469408 w 504788"/>
                <a:gd name="connsiteY286" fmla="*/ 162715 h 995706"/>
                <a:gd name="connsiteX287" fmla="*/ 468453 w 504788"/>
                <a:gd name="connsiteY287" fmla="*/ 163561 h 995706"/>
                <a:gd name="connsiteX288" fmla="*/ 464847 w 504788"/>
                <a:gd name="connsiteY288" fmla="*/ 164438 h 995706"/>
                <a:gd name="connsiteX289" fmla="*/ 462243 w 504788"/>
                <a:gd name="connsiteY289" fmla="*/ 166005 h 995706"/>
                <a:gd name="connsiteX290" fmla="*/ 460636 w 504788"/>
                <a:gd name="connsiteY290" fmla="*/ 168249 h 995706"/>
                <a:gd name="connsiteX291" fmla="*/ 458941 w 504788"/>
                <a:gd name="connsiteY291" fmla="*/ 169664 h 995706"/>
                <a:gd name="connsiteX292" fmla="*/ 456260 w 504788"/>
                <a:gd name="connsiteY292" fmla="*/ 170532 h 995706"/>
                <a:gd name="connsiteX293" fmla="*/ 452632 w 504788"/>
                <a:gd name="connsiteY293" fmla="*/ 172814 h 995706"/>
                <a:gd name="connsiteX294" fmla="*/ 452111 w 504788"/>
                <a:gd name="connsiteY294" fmla="*/ 174224 h 995706"/>
                <a:gd name="connsiteX295" fmla="*/ 453493 w 504788"/>
                <a:gd name="connsiteY295" fmla="*/ 175525 h 995706"/>
                <a:gd name="connsiteX296" fmla="*/ 453988 w 504788"/>
                <a:gd name="connsiteY296" fmla="*/ 176682 h 995706"/>
                <a:gd name="connsiteX297" fmla="*/ 453601 w 504788"/>
                <a:gd name="connsiteY297" fmla="*/ 177691 h 995706"/>
                <a:gd name="connsiteX298" fmla="*/ 452467 w 504788"/>
                <a:gd name="connsiteY298" fmla="*/ 177827 h 995706"/>
                <a:gd name="connsiteX299" fmla="*/ 450588 w 504788"/>
                <a:gd name="connsiteY299" fmla="*/ 177089 h 995706"/>
                <a:gd name="connsiteX300" fmla="*/ 449249 w 504788"/>
                <a:gd name="connsiteY300" fmla="*/ 176936 h 995706"/>
                <a:gd name="connsiteX301" fmla="*/ 448448 w 504788"/>
                <a:gd name="connsiteY301" fmla="*/ 177371 h 995706"/>
                <a:gd name="connsiteX302" fmla="*/ 448069 w 504788"/>
                <a:gd name="connsiteY302" fmla="*/ 178185 h 995706"/>
                <a:gd name="connsiteX303" fmla="*/ 448114 w 504788"/>
                <a:gd name="connsiteY303" fmla="*/ 179384 h 995706"/>
                <a:gd name="connsiteX304" fmla="*/ 447442 w 504788"/>
                <a:gd name="connsiteY304" fmla="*/ 180199 h 995706"/>
                <a:gd name="connsiteX305" fmla="*/ 446054 w 504788"/>
                <a:gd name="connsiteY305" fmla="*/ 180631 h 995706"/>
                <a:gd name="connsiteX306" fmla="*/ 445174 w 504788"/>
                <a:gd name="connsiteY306" fmla="*/ 181622 h 995706"/>
                <a:gd name="connsiteX307" fmla="*/ 444803 w 504788"/>
                <a:gd name="connsiteY307" fmla="*/ 183170 h 995706"/>
                <a:gd name="connsiteX308" fmla="*/ 443063 w 504788"/>
                <a:gd name="connsiteY308" fmla="*/ 185122 h 995706"/>
                <a:gd name="connsiteX309" fmla="*/ 439953 w 504788"/>
                <a:gd name="connsiteY309" fmla="*/ 187473 h 995706"/>
                <a:gd name="connsiteX310" fmla="*/ 437497 w 504788"/>
                <a:gd name="connsiteY310" fmla="*/ 190650 h 995706"/>
                <a:gd name="connsiteX311" fmla="*/ 435699 w 504788"/>
                <a:gd name="connsiteY311" fmla="*/ 194643 h 995706"/>
                <a:gd name="connsiteX312" fmla="*/ 433602 w 504788"/>
                <a:gd name="connsiteY312" fmla="*/ 197270 h 995706"/>
                <a:gd name="connsiteX313" fmla="*/ 431201 w 504788"/>
                <a:gd name="connsiteY313" fmla="*/ 198529 h 995706"/>
                <a:gd name="connsiteX314" fmla="*/ 429548 w 504788"/>
                <a:gd name="connsiteY314" fmla="*/ 200322 h 995706"/>
                <a:gd name="connsiteX315" fmla="*/ 428644 w 504788"/>
                <a:gd name="connsiteY315" fmla="*/ 202651 h 995706"/>
                <a:gd name="connsiteX316" fmla="*/ 426084 w 504788"/>
                <a:gd name="connsiteY316" fmla="*/ 206261 h 995706"/>
                <a:gd name="connsiteX317" fmla="*/ 421871 w 504788"/>
                <a:gd name="connsiteY317" fmla="*/ 211157 h 995706"/>
                <a:gd name="connsiteX318" fmla="*/ 418049 w 504788"/>
                <a:gd name="connsiteY318" fmla="*/ 214519 h 995706"/>
                <a:gd name="connsiteX319" fmla="*/ 414618 w 504788"/>
                <a:gd name="connsiteY319" fmla="*/ 216346 h 995706"/>
                <a:gd name="connsiteX320" fmla="*/ 412691 w 504788"/>
                <a:gd name="connsiteY320" fmla="*/ 218408 h 995706"/>
                <a:gd name="connsiteX321" fmla="*/ 412265 w 504788"/>
                <a:gd name="connsiteY321" fmla="*/ 220709 h 995706"/>
                <a:gd name="connsiteX322" fmla="*/ 410039 w 504788"/>
                <a:gd name="connsiteY322" fmla="*/ 223330 h 995706"/>
                <a:gd name="connsiteX323" fmla="*/ 406017 w 504788"/>
                <a:gd name="connsiteY323" fmla="*/ 226275 h 995706"/>
                <a:gd name="connsiteX324" fmla="*/ 404876 w 504788"/>
                <a:gd name="connsiteY324" fmla="*/ 227604 h 995706"/>
                <a:gd name="connsiteX325" fmla="*/ 403941 w 504788"/>
                <a:gd name="connsiteY325" fmla="*/ 228692 h 995706"/>
                <a:gd name="connsiteX326" fmla="*/ 403811 w 504788"/>
                <a:gd name="connsiteY326" fmla="*/ 230585 h 995706"/>
                <a:gd name="connsiteX327" fmla="*/ 402244 w 504788"/>
                <a:gd name="connsiteY327" fmla="*/ 233073 h 995706"/>
                <a:gd name="connsiteX328" fmla="*/ 399238 w 504788"/>
                <a:gd name="connsiteY328" fmla="*/ 236156 h 995706"/>
                <a:gd name="connsiteX329" fmla="*/ 398191 w 504788"/>
                <a:gd name="connsiteY329" fmla="*/ 238824 h 995706"/>
                <a:gd name="connsiteX330" fmla="*/ 399559 w 504788"/>
                <a:gd name="connsiteY330" fmla="*/ 242196 h 995706"/>
                <a:gd name="connsiteX331" fmla="*/ 399761 w 504788"/>
                <a:gd name="connsiteY331" fmla="*/ 246284 h 995706"/>
                <a:gd name="connsiteX332" fmla="*/ 399165 w 504788"/>
                <a:gd name="connsiteY332" fmla="*/ 247928 h 995706"/>
                <a:gd name="connsiteX333" fmla="*/ 397841 w 504788"/>
                <a:gd name="connsiteY333" fmla="*/ 248485 h 995706"/>
                <a:gd name="connsiteX334" fmla="*/ 397538 w 504788"/>
                <a:gd name="connsiteY334" fmla="*/ 249540 h 995706"/>
                <a:gd name="connsiteX335" fmla="*/ 398253 w 504788"/>
                <a:gd name="connsiteY335" fmla="*/ 251100 h 995706"/>
                <a:gd name="connsiteX336" fmla="*/ 398295 w 504788"/>
                <a:gd name="connsiteY336" fmla="*/ 253149 h 995706"/>
                <a:gd name="connsiteX337" fmla="*/ 397662 w 504788"/>
                <a:gd name="connsiteY337" fmla="*/ 255692 h 995706"/>
                <a:gd name="connsiteX338" fmla="*/ 396268 w 504788"/>
                <a:gd name="connsiteY338" fmla="*/ 258604 h 995706"/>
                <a:gd name="connsiteX339" fmla="*/ 394111 w 504788"/>
                <a:gd name="connsiteY339" fmla="*/ 261885 h 995706"/>
                <a:gd name="connsiteX340" fmla="*/ 393593 w 504788"/>
                <a:gd name="connsiteY340" fmla="*/ 264079 h 995706"/>
                <a:gd name="connsiteX341" fmla="*/ 394713 w 504788"/>
                <a:gd name="connsiteY341" fmla="*/ 265184 h 995706"/>
                <a:gd name="connsiteX342" fmla="*/ 395263 w 504788"/>
                <a:gd name="connsiteY342" fmla="*/ 266356 h 995706"/>
                <a:gd name="connsiteX343" fmla="*/ 395241 w 504788"/>
                <a:gd name="connsiteY343" fmla="*/ 267603 h 995706"/>
                <a:gd name="connsiteX344" fmla="*/ 394781 w 504788"/>
                <a:gd name="connsiteY344" fmla="*/ 269408 h 995706"/>
                <a:gd name="connsiteX345" fmla="*/ 393884 w 504788"/>
                <a:gd name="connsiteY345" fmla="*/ 271773 h 995706"/>
                <a:gd name="connsiteX346" fmla="*/ 392528 w 504788"/>
                <a:gd name="connsiteY346" fmla="*/ 273531 h 995706"/>
                <a:gd name="connsiteX347" fmla="*/ 390711 w 504788"/>
                <a:gd name="connsiteY347" fmla="*/ 274678 h 995706"/>
                <a:gd name="connsiteX348" fmla="*/ 390166 w 504788"/>
                <a:gd name="connsiteY348" fmla="*/ 276126 h 995706"/>
                <a:gd name="connsiteX349" fmla="*/ 390891 w 504788"/>
                <a:gd name="connsiteY349" fmla="*/ 277877 h 995706"/>
                <a:gd name="connsiteX350" fmla="*/ 390993 w 504788"/>
                <a:gd name="connsiteY350" fmla="*/ 279706 h 995706"/>
                <a:gd name="connsiteX351" fmla="*/ 390471 w 504788"/>
                <a:gd name="connsiteY351" fmla="*/ 281605 h 995706"/>
                <a:gd name="connsiteX352" fmla="*/ 390779 w 504788"/>
                <a:gd name="connsiteY352" fmla="*/ 283457 h 995706"/>
                <a:gd name="connsiteX353" fmla="*/ 391922 w 504788"/>
                <a:gd name="connsiteY353" fmla="*/ 285261 h 995706"/>
                <a:gd name="connsiteX354" fmla="*/ 391839 w 504788"/>
                <a:gd name="connsiteY354" fmla="*/ 287316 h 995706"/>
                <a:gd name="connsiteX355" fmla="*/ 389857 w 504788"/>
                <a:gd name="connsiteY355" fmla="*/ 291539 h 995706"/>
                <a:gd name="connsiteX356" fmla="*/ 389380 w 504788"/>
                <a:gd name="connsiteY356" fmla="*/ 294144 h 995706"/>
                <a:gd name="connsiteX357" fmla="*/ 390622 w 504788"/>
                <a:gd name="connsiteY357" fmla="*/ 305316 h 995706"/>
                <a:gd name="connsiteX358" fmla="*/ 389867 w 504788"/>
                <a:gd name="connsiteY358" fmla="*/ 306884 h 995706"/>
                <a:gd name="connsiteX359" fmla="*/ 388609 w 504788"/>
                <a:gd name="connsiteY359" fmla="*/ 308686 h 995706"/>
                <a:gd name="connsiteX360" fmla="*/ 387126 w 504788"/>
                <a:gd name="connsiteY360" fmla="*/ 308816 h 995706"/>
                <a:gd name="connsiteX361" fmla="*/ 385425 w 504788"/>
                <a:gd name="connsiteY361" fmla="*/ 308504 h 995706"/>
                <a:gd name="connsiteX362" fmla="*/ 384196 w 504788"/>
                <a:gd name="connsiteY362" fmla="*/ 309627 h 995706"/>
                <a:gd name="connsiteX363" fmla="*/ 383425 w 504788"/>
                <a:gd name="connsiteY363" fmla="*/ 314571 h 995706"/>
                <a:gd name="connsiteX364" fmla="*/ 381082 w 504788"/>
                <a:gd name="connsiteY364" fmla="*/ 325294 h 995706"/>
                <a:gd name="connsiteX365" fmla="*/ 381506 w 504788"/>
                <a:gd name="connsiteY365" fmla="*/ 327842 h 995706"/>
                <a:gd name="connsiteX366" fmla="*/ 383380 w 504788"/>
                <a:gd name="connsiteY366" fmla="*/ 331980 h 995706"/>
                <a:gd name="connsiteX367" fmla="*/ 384068 w 504788"/>
                <a:gd name="connsiteY367" fmla="*/ 334617 h 995706"/>
                <a:gd name="connsiteX368" fmla="*/ 384587 w 504788"/>
                <a:gd name="connsiteY368" fmla="*/ 336609 h 995706"/>
                <a:gd name="connsiteX369" fmla="*/ 385006 w 504788"/>
                <a:gd name="connsiteY369" fmla="*/ 340382 h 995706"/>
                <a:gd name="connsiteX370" fmla="*/ 383916 w 504788"/>
                <a:gd name="connsiteY370" fmla="*/ 342082 h 995706"/>
                <a:gd name="connsiteX371" fmla="*/ 382908 w 504788"/>
                <a:gd name="connsiteY371" fmla="*/ 342381 h 995706"/>
                <a:gd name="connsiteX372" fmla="*/ 381634 w 504788"/>
                <a:gd name="connsiteY372" fmla="*/ 343330 h 995706"/>
                <a:gd name="connsiteX373" fmla="*/ 383137 w 504788"/>
                <a:gd name="connsiteY373" fmla="*/ 347938 h 995706"/>
                <a:gd name="connsiteX374" fmla="*/ 384336 w 504788"/>
                <a:gd name="connsiteY374" fmla="*/ 350062 h 995706"/>
                <a:gd name="connsiteX375" fmla="*/ 387773 w 504788"/>
                <a:gd name="connsiteY375" fmla="*/ 354411 h 995706"/>
                <a:gd name="connsiteX376" fmla="*/ 400953 w 504788"/>
                <a:gd name="connsiteY376" fmla="*/ 360462 h 995706"/>
                <a:gd name="connsiteX377" fmla="*/ 406423 w 504788"/>
                <a:gd name="connsiteY377" fmla="*/ 364034 h 995706"/>
                <a:gd name="connsiteX378" fmla="*/ 412615 w 504788"/>
                <a:gd name="connsiteY378" fmla="*/ 368906 h 995706"/>
                <a:gd name="connsiteX379" fmla="*/ 415987 w 504788"/>
                <a:gd name="connsiteY379" fmla="*/ 373914 h 995706"/>
                <a:gd name="connsiteX380" fmla="*/ 416285 w 504788"/>
                <a:gd name="connsiteY380" fmla="*/ 378047 h 995706"/>
                <a:gd name="connsiteX381" fmla="*/ 411341 w 504788"/>
                <a:gd name="connsiteY381" fmla="*/ 384231 h 995706"/>
                <a:gd name="connsiteX382" fmla="*/ 410794 w 504788"/>
                <a:gd name="connsiteY382" fmla="*/ 389431 h 995706"/>
                <a:gd name="connsiteX383" fmla="*/ 411809 w 504788"/>
                <a:gd name="connsiteY383" fmla="*/ 393089 h 995706"/>
                <a:gd name="connsiteX384" fmla="*/ 413595 w 504788"/>
                <a:gd name="connsiteY384" fmla="*/ 396488 h 995706"/>
                <a:gd name="connsiteX385" fmla="*/ 418383 w 504788"/>
                <a:gd name="connsiteY385" fmla="*/ 400912 h 995706"/>
                <a:gd name="connsiteX386" fmla="*/ 421908 w 504788"/>
                <a:gd name="connsiteY386" fmla="*/ 402530 h 995706"/>
                <a:gd name="connsiteX387" fmla="*/ 426668 w 504788"/>
                <a:gd name="connsiteY387" fmla="*/ 402354 h 995706"/>
                <a:gd name="connsiteX388" fmla="*/ 427481 w 504788"/>
                <a:gd name="connsiteY388" fmla="*/ 403590 h 995706"/>
                <a:gd name="connsiteX389" fmla="*/ 427969 w 504788"/>
                <a:gd name="connsiteY389" fmla="*/ 404676 h 995706"/>
                <a:gd name="connsiteX390" fmla="*/ 428726 w 504788"/>
                <a:gd name="connsiteY390" fmla="*/ 413651 h 995706"/>
                <a:gd name="connsiteX391" fmla="*/ 428631 w 504788"/>
                <a:gd name="connsiteY391" fmla="*/ 417028 h 995706"/>
                <a:gd name="connsiteX392" fmla="*/ 427233 w 504788"/>
                <a:gd name="connsiteY392" fmla="*/ 420130 h 995706"/>
                <a:gd name="connsiteX393" fmla="*/ 418092 w 504788"/>
                <a:gd name="connsiteY393" fmla="*/ 434404 h 995706"/>
                <a:gd name="connsiteX394" fmla="*/ 410280 w 504788"/>
                <a:gd name="connsiteY394" fmla="*/ 443142 h 995706"/>
                <a:gd name="connsiteX395" fmla="*/ 407452 w 504788"/>
                <a:gd name="connsiteY395" fmla="*/ 447977 h 995706"/>
                <a:gd name="connsiteX396" fmla="*/ 406445 w 504788"/>
                <a:gd name="connsiteY396" fmla="*/ 453161 h 995706"/>
                <a:gd name="connsiteX397" fmla="*/ 403945 w 504788"/>
                <a:gd name="connsiteY397" fmla="*/ 455633 h 995706"/>
                <a:gd name="connsiteX398" fmla="*/ 390414 w 504788"/>
                <a:gd name="connsiteY398" fmla="*/ 463478 h 995706"/>
                <a:gd name="connsiteX399" fmla="*/ 369419 w 504788"/>
                <a:gd name="connsiteY399" fmla="*/ 470493 h 995706"/>
                <a:gd name="connsiteX400" fmla="*/ 352455 w 504788"/>
                <a:gd name="connsiteY400" fmla="*/ 474141 h 995706"/>
                <a:gd name="connsiteX401" fmla="*/ 348599 w 504788"/>
                <a:gd name="connsiteY401" fmla="*/ 475370 h 995706"/>
                <a:gd name="connsiteX402" fmla="*/ 321325 w 504788"/>
                <a:gd name="connsiteY402" fmla="*/ 479390 h 995706"/>
                <a:gd name="connsiteX403" fmla="*/ 316044 w 504788"/>
                <a:gd name="connsiteY403" fmla="*/ 479954 h 995706"/>
                <a:gd name="connsiteX404" fmla="*/ 309181 w 504788"/>
                <a:gd name="connsiteY404" fmla="*/ 479596 h 995706"/>
                <a:gd name="connsiteX405" fmla="*/ 303611 w 504788"/>
                <a:gd name="connsiteY405" fmla="*/ 480128 h 995706"/>
                <a:gd name="connsiteX406" fmla="*/ 297389 w 504788"/>
                <a:gd name="connsiteY406" fmla="*/ 479031 h 995706"/>
                <a:gd name="connsiteX407" fmla="*/ 291837 w 504788"/>
                <a:gd name="connsiteY407" fmla="*/ 477767 h 995706"/>
                <a:gd name="connsiteX408" fmla="*/ 288734 w 504788"/>
                <a:gd name="connsiteY408" fmla="*/ 474633 h 995706"/>
                <a:gd name="connsiteX409" fmla="*/ 285045 w 504788"/>
                <a:gd name="connsiteY409" fmla="*/ 474241 h 995706"/>
                <a:gd name="connsiteX410" fmla="*/ 284038 w 504788"/>
                <a:gd name="connsiteY410" fmla="*/ 475806 h 995706"/>
                <a:gd name="connsiteX411" fmla="*/ 285835 w 504788"/>
                <a:gd name="connsiteY411" fmla="*/ 479810 h 995706"/>
                <a:gd name="connsiteX412" fmla="*/ 284960 w 504788"/>
                <a:gd name="connsiteY412" fmla="*/ 484630 h 995706"/>
                <a:gd name="connsiteX413" fmla="*/ 286052 w 504788"/>
                <a:gd name="connsiteY413" fmla="*/ 487382 h 995706"/>
                <a:gd name="connsiteX414" fmla="*/ 288231 w 504788"/>
                <a:gd name="connsiteY414" fmla="*/ 487933 h 995706"/>
                <a:gd name="connsiteX415" fmla="*/ 290326 w 504788"/>
                <a:gd name="connsiteY415" fmla="*/ 489358 h 995706"/>
                <a:gd name="connsiteX416" fmla="*/ 292173 w 504788"/>
                <a:gd name="connsiteY416" fmla="*/ 491262 h 995706"/>
                <a:gd name="connsiteX417" fmla="*/ 288986 w 504788"/>
                <a:gd name="connsiteY417" fmla="*/ 491459 h 995706"/>
                <a:gd name="connsiteX418" fmla="*/ 290222 w 504788"/>
                <a:gd name="connsiteY418" fmla="*/ 492979 h 995706"/>
                <a:gd name="connsiteX419" fmla="*/ 291586 w 504788"/>
                <a:gd name="connsiteY419" fmla="*/ 493871 h 995706"/>
                <a:gd name="connsiteX420" fmla="*/ 291434 w 504788"/>
                <a:gd name="connsiteY420" fmla="*/ 497052 h 995706"/>
                <a:gd name="connsiteX421" fmla="*/ 290197 w 504788"/>
                <a:gd name="connsiteY421" fmla="*/ 504717 h 995706"/>
                <a:gd name="connsiteX422" fmla="*/ 287094 w 504788"/>
                <a:gd name="connsiteY422" fmla="*/ 506362 h 995706"/>
                <a:gd name="connsiteX423" fmla="*/ 286258 w 504788"/>
                <a:gd name="connsiteY423" fmla="*/ 506805 h 995706"/>
                <a:gd name="connsiteX424" fmla="*/ 285318 w 504788"/>
                <a:gd name="connsiteY424" fmla="*/ 508460 h 995706"/>
                <a:gd name="connsiteX425" fmla="*/ 283343 w 504788"/>
                <a:gd name="connsiteY425" fmla="*/ 515817 h 995706"/>
                <a:gd name="connsiteX426" fmla="*/ 282705 w 504788"/>
                <a:gd name="connsiteY426" fmla="*/ 520594 h 995706"/>
                <a:gd name="connsiteX427" fmla="*/ 283553 w 504788"/>
                <a:gd name="connsiteY427" fmla="*/ 523679 h 995706"/>
                <a:gd name="connsiteX428" fmla="*/ 287287 w 504788"/>
                <a:gd name="connsiteY428" fmla="*/ 530165 h 995706"/>
                <a:gd name="connsiteX429" fmla="*/ 285878 w 504788"/>
                <a:gd name="connsiteY429" fmla="*/ 534379 h 995706"/>
                <a:gd name="connsiteX430" fmla="*/ 283516 w 504788"/>
                <a:gd name="connsiteY430" fmla="*/ 536673 h 995706"/>
                <a:gd name="connsiteX431" fmla="*/ 273299 w 504788"/>
                <a:gd name="connsiteY431" fmla="*/ 541389 h 995706"/>
                <a:gd name="connsiteX432" fmla="*/ 269215 w 504788"/>
                <a:gd name="connsiteY432" fmla="*/ 543275 h 995706"/>
                <a:gd name="connsiteX433" fmla="*/ 262780 w 504788"/>
                <a:gd name="connsiteY433" fmla="*/ 544568 h 995706"/>
                <a:gd name="connsiteX434" fmla="*/ 252410 w 504788"/>
                <a:gd name="connsiteY434" fmla="*/ 544789 h 995706"/>
                <a:gd name="connsiteX435" fmla="*/ 248576 w 504788"/>
                <a:gd name="connsiteY435" fmla="*/ 544494 h 995706"/>
                <a:gd name="connsiteX436" fmla="*/ 239697 w 504788"/>
                <a:gd name="connsiteY436" fmla="*/ 540202 h 995706"/>
                <a:gd name="connsiteX437" fmla="*/ 233097 w 504788"/>
                <a:gd name="connsiteY437" fmla="*/ 537628 h 995706"/>
                <a:gd name="connsiteX438" fmla="*/ 227062 w 504788"/>
                <a:gd name="connsiteY438" fmla="*/ 535580 h 995706"/>
                <a:gd name="connsiteX439" fmla="*/ 221192 w 504788"/>
                <a:gd name="connsiteY439" fmla="*/ 534353 h 995706"/>
                <a:gd name="connsiteX440" fmla="*/ 222031 w 504788"/>
                <a:gd name="connsiteY440" fmla="*/ 533736 h 995706"/>
                <a:gd name="connsiteX441" fmla="*/ 222424 w 504788"/>
                <a:gd name="connsiteY441" fmla="*/ 532630 h 995706"/>
                <a:gd name="connsiteX442" fmla="*/ 220773 w 504788"/>
                <a:gd name="connsiteY442" fmla="*/ 532006 h 995706"/>
                <a:gd name="connsiteX443" fmla="*/ 219572 w 504788"/>
                <a:gd name="connsiteY443" fmla="*/ 531871 h 995706"/>
                <a:gd name="connsiteX444" fmla="*/ 215703 w 504788"/>
                <a:gd name="connsiteY444" fmla="*/ 534097 h 995706"/>
                <a:gd name="connsiteX445" fmla="*/ 214081 w 504788"/>
                <a:gd name="connsiteY445" fmla="*/ 536367 h 995706"/>
                <a:gd name="connsiteX446" fmla="*/ 213613 w 504788"/>
                <a:gd name="connsiteY446" fmla="*/ 538367 h 995706"/>
                <a:gd name="connsiteX447" fmla="*/ 213534 w 504788"/>
                <a:gd name="connsiteY447" fmla="*/ 543155 h 995706"/>
                <a:gd name="connsiteX448" fmla="*/ 214221 w 504788"/>
                <a:gd name="connsiteY448" fmla="*/ 547176 h 995706"/>
                <a:gd name="connsiteX449" fmla="*/ 217001 w 504788"/>
                <a:gd name="connsiteY449" fmla="*/ 557110 h 995706"/>
                <a:gd name="connsiteX450" fmla="*/ 217285 w 504788"/>
                <a:gd name="connsiteY450" fmla="*/ 562519 h 995706"/>
                <a:gd name="connsiteX451" fmla="*/ 215965 w 504788"/>
                <a:gd name="connsiteY451" fmla="*/ 569354 h 995706"/>
                <a:gd name="connsiteX452" fmla="*/ 217809 w 504788"/>
                <a:gd name="connsiteY452" fmla="*/ 573378 h 995706"/>
                <a:gd name="connsiteX453" fmla="*/ 220049 w 504788"/>
                <a:gd name="connsiteY453" fmla="*/ 575199 h 995706"/>
                <a:gd name="connsiteX454" fmla="*/ 225083 w 504788"/>
                <a:gd name="connsiteY454" fmla="*/ 576998 h 995706"/>
                <a:gd name="connsiteX455" fmla="*/ 227037 w 504788"/>
                <a:gd name="connsiteY455" fmla="*/ 578225 h 995706"/>
                <a:gd name="connsiteX456" fmla="*/ 229185 w 504788"/>
                <a:gd name="connsiteY456" fmla="*/ 578029 h 995706"/>
                <a:gd name="connsiteX457" fmla="*/ 229845 w 504788"/>
                <a:gd name="connsiteY457" fmla="*/ 578506 h 995706"/>
                <a:gd name="connsiteX458" fmla="*/ 229527 w 504788"/>
                <a:gd name="connsiteY458" fmla="*/ 579391 h 995706"/>
                <a:gd name="connsiteX459" fmla="*/ 228263 w 504788"/>
                <a:gd name="connsiteY459" fmla="*/ 581124 h 995706"/>
                <a:gd name="connsiteX460" fmla="*/ 228342 w 504788"/>
                <a:gd name="connsiteY460" fmla="*/ 582959 h 995706"/>
                <a:gd name="connsiteX461" fmla="*/ 232160 w 504788"/>
                <a:gd name="connsiteY461" fmla="*/ 583502 h 995706"/>
                <a:gd name="connsiteX462" fmla="*/ 236111 w 504788"/>
                <a:gd name="connsiteY462" fmla="*/ 583132 h 995706"/>
                <a:gd name="connsiteX463" fmla="*/ 240262 w 504788"/>
                <a:gd name="connsiteY463" fmla="*/ 582320 h 995706"/>
                <a:gd name="connsiteX464" fmla="*/ 241242 w 504788"/>
                <a:gd name="connsiteY464" fmla="*/ 581046 h 995706"/>
                <a:gd name="connsiteX465" fmla="*/ 241269 w 504788"/>
                <a:gd name="connsiteY465" fmla="*/ 578381 h 995706"/>
                <a:gd name="connsiteX466" fmla="*/ 236407 w 504788"/>
                <a:gd name="connsiteY466" fmla="*/ 577912 h 995706"/>
                <a:gd name="connsiteX467" fmla="*/ 237026 w 504788"/>
                <a:gd name="connsiteY467" fmla="*/ 576920 h 995706"/>
                <a:gd name="connsiteX468" fmla="*/ 240709 w 504788"/>
                <a:gd name="connsiteY468" fmla="*/ 575839 h 995706"/>
                <a:gd name="connsiteX469" fmla="*/ 245537 w 504788"/>
                <a:gd name="connsiteY469" fmla="*/ 574065 h 995706"/>
                <a:gd name="connsiteX470" fmla="*/ 248005 w 504788"/>
                <a:gd name="connsiteY470" fmla="*/ 573738 h 995706"/>
                <a:gd name="connsiteX471" fmla="*/ 249680 w 504788"/>
                <a:gd name="connsiteY471" fmla="*/ 574928 h 995706"/>
                <a:gd name="connsiteX472" fmla="*/ 250813 w 504788"/>
                <a:gd name="connsiteY472" fmla="*/ 576017 h 995706"/>
                <a:gd name="connsiteX473" fmla="*/ 252205 w 504788"/>
                <a:gd name="connsiteY473" fmla="*/ 578887 h 995706"/>
                <a:gd name="connsiteX474" fmla="*/ 253066 w 504788"/>
                <a:gd name="connsiteY474" fmla="*/ 582668 h 995706"/>
                <a:gd name="connsiteX475" fmla="*/ 253104 w 504788"/>
                <a:gd name="connsiteY475" fmla="*/ 587225 h 995706"/>
                <a:gd name="connsiteX476" fmla="*/ 252523 w 504788"/>
                <a:gd name="connsiteY476" fmla="*/ 591520 h 995706"/>
                <a:gd name="connsiteX477" fmla="*/ 251835 w 504788"/>
                <a:gd name="connsiteY477" fmla="*/ 593050 h 995706"/>
                <a:gd name="connsiteX478" fmla="*/ 250618 w 504788"/>
                <a:gd name="connsiteY478" fmla="*/ 594876 h 995706"/>
                <a:gd name="connsiteX479" fmla="*/ 241938 w 504788"/>
                <a:gd name="connsiteY479" fmla="*/ 597208 h 995706"/>
                <a:gd name="connsiteX480" fmla="*/ 239507 w 504788"/>
                <a:gd name="connsiteY480" fmla="*/ 596599 h 995706"/>
                <a:gd name="connsiteX481" fmla="*/ 237244 w 504788"/>
                <a:gd name="connsiteY481" fmla="*/ 593352 h 995706"/>
                <a:gd name="connsiteX482" fmla="*/ 236533 w 504788"/>
                <a:gd name="connsiteY482" fmla="*/ 589997 h 995706"/>
                <a:gd name="connsiteX483" fmla="*/ 234598 w 504788"/>
                <a:gd name="connsiteY483" fmla="*/ 587737 h 995706"/>
                <a:gd name="connsiteX484" fmla="*/ 230451 w 504788"/>
                <a:gd name="connsiteY484" fmla="*/ 585938 h 995706"/>
                <a:gd name="connsiteX485" fmla="*/ 226326 w 504788"/>
                <a:gd name="connsiteY485" fmla="*/ 586488 h 995706"/>
                <a:gd name="connsiteX486" fmla="*/ 222232 w 504788"/>
                <a:gd name="connsiteY486" fmla="*/ 589603 h 995706"/>
                <a:gd name="connsiteX487" fmla="*/ 218207 w 504788"/>
                <a:gd name="connsiteY487" fmla="*/ 590616 h 995706"/>
                <a:gd name="connsiteX488" fmla="*/ 216782 w 504788"/>
                <a:gd name="connsiteY488" fmla="*/ 593454 h 995706"/>
                <a:gd name="connsiteX489" fmla="*/ 226866 w 504788"/>
                <a:gd name="connsiteY489" fmla="*/ 598060 h 995706"/>
                <a:gd name="connsiteX490" fmla="*/ 231624 w 504788"/>
                <a:gd name="connsiteY490" fmla="*/ 599339 h 995706"/>
                <a:gd name="connsiteX491" fmla="*/ 233175 w 504788"/>
                <a:gd name="connsiteY491" fmla="*/ 599295 h 995706"/>
                <a:gd name="connsiteX492" fmla="*/ 234728 w 504788"/>
                <a:gd name="connsiteY492" fmla="*/ 599901 h 995706"/>
                <a:gd name="connsiteX493" fmla="*/ 233294 w 504788"/>
                <a:gd name="connsiteY493" fmla="*/ 601611 h 995706"/>
                <a:gd name="connsiteX494" fmla="*/ 231860 w 504788"/>
                <a:gd name="connsiteY494" fmla="*/ 602674 h 995706"/>
                <a:gd name="connsiteX495" fmla="*/ 224685 w 504788"/>
                <a:gd name="connsiteY495" fmla="*/ 605023 h 995706"/>
                <a:gd name="connsiteX496" fmla="*/ 221522 w 504788"/>
                <a:gd name="connsiteY496" fmla="*/ 606665 h 995706"/>
                <a:gd name="connsiteX497" fmla="*/ 217830 w 504788"/>
                <a:gd name="connsiteY497" fmla="*/ 609889 h 995706"/>
                <a:gd name="connsiteX498" fmla="*/ 212652 w 504788"/>
                <a:gd name="connsiteY498" fmla="*/ 616939 h 995706"/>
                <a:gd name="connsiteX499" fmla="*/ 211065 w 504788"/>
                <a:gd name="connsiteY499" fmla="*/ 618477 h 995706"/>
                <a:gd name="connsiteX500" fmla="*/ 210273 w 504788"/>
                <a:gd name="connsiteY500" fmla="*/ 620274 h 995706"/>
                <a:gd name="connsiteX501" fmla="*/ 209739 w 504788"/>
                <a:gd name="connsiteY501" fmla="*/ 625147 h 995706"/>
                <a:gd name="connsiteX502" fmla="*/ 211414 w 504788"/>
                <a:gd name="connsiteY502" fmla="*/ 633247 h 995706"/>
                <a:gd name="connsiteX503" fmla="*/ 209644 w 504788"/>
                <a:gd name="connsiteY503" fmla="*/ 636648 h 995706"/>
                <a:gd name="connsiteX504" fmla="*/ 210732 w 504788"/>
                <a:gd name="connsiteY504" fmla="*/ 640425 h 995706"/>
                <a:gd name="connsiteX505" fmla="*/ 210115 w 504788"/>
                <a:gd name="connsiteY505" fmla="*/ 642948 h 995706"/>
                <a:gd name="connsiteX506" fmla="*/ 208303 w 504788"/>
                <a:gd name="connsiteY506" fmla="*/ 646582 h 995706"/>
                <a:gd name="connsiteX507" fmla="*/ 201043 w 504788"/>
                <a:gd name="connsiteY507" fmla="*/ 652326 h 995706"/>
                <a:gd name="connsiteX508" fmla="*/ 199756 w 504788"/>
                <a:gd name="connsiteY508" fmla="*/ 656539 h 995706"/>
                <a:gd name="connsiteX509" fmla="*/ 202272 w 504788"/>
                <a:gd name="connsiteY509" fmla="*/ 659023 h 995706"/>
                <a:gd name="connsiteX510" fmla="*/ 202105 w 504788"/>
                <a:gd name="connsiteY510" fmla="*/ 661197 h 995706"/>
                <a:gd name="connsiteX511" fmla="*/ 201267 w 504788"/>
                <a:gd name="connsiteY511" fmla="*/ 663165 h 995706"/>
                <a:gd name="connsiteX512" fmla="*/ 198251 w 504788"/>
                <a:gd name="connsiteY512" fmla="*/ 663144 h 995706"/>
                <a:gd name="connsiteX513" fmla="*/ 187286 w 504788"/>
                <a:gd name="connsiteY513" fmla="*/ 661815 h 995706"/>
                <a:gd name="connsiteX514" fmla="*/ 183289 w 504788"/>
                <a:gd name="connsiteY514" fmla="*/ 663973 h 995706"/>
                <a:gd name="connsiteX515" fmla="*/ 179591 w 504788"/>
                <a:gd name="connsiteY515" fmla="*/ 666607 h 995706"/>
                <a:gd name="connsiteX516" fmla="*/ 178581 w 504788"/>
                <a:gd name="connsiteY516" fmla="*/ 667870 h 995706"/>
                <a:gd name="connsiteX517" fmla="*/ 177273 w 504788"/>
                <a:gd name="connsiteY517" fmla="*/ 668659 h 995706"/>
                <a:gd name="connsiteX518" fmla="*/ 169731 w 504788"/>
                <a:gd name="connsiteY518" fmla="*/ 670063 h 995706"/>
                <a:gd name="connsiteX519" fmla="*/ 168236 w 504788"/>
                <a:gd name="connsiteY519" fmla="*/ 670996 h 995706"/>
                <a:gd name="connsiteX520" fmla="*/ 160219 w 504788"/>
                <a:gd name="connsiteY520" fmla="*/ 681065 h 995706"/>
                <a:gd name="connsiteX521" fmla="*/ 156785 w 504788"/>
                <a:gd name="connsiteY521" fmla="*/ 687325 h 995706"/>
                <a:gd name="connsiteX522" fmla="*/ 152637 w 504788"/>
                <a:gd name="connsiteY522" fmla="*/ 693477 h 995706"/>
                <a:gd name="connsiteX523" fmla="*/ 151548 w 504788"/>
                <a:gd name="connsiteY523" fmla="*/ 696087 h 995706"/>
                <a:gd name="connsiteX524" fmla="*/ 151312 w 504788"/>
                <a:gd name="connsiteY524" fmla="*/ 699709 h 995706"/>
                <a:gd name="connsiteX525" fmla="*/ 151890 w 504788"/>
                <a:gd name="connsiteY525" fmla="*/ 702971 h 995706"/>
                <a:gd name="connsiteX526" fmla="*/ 152466 w 504788"/>
                <a:gd name="connsiteY526" fmla="*/ 705381 h 995706"/>
                <a:gd name="connsiteX527" fmla="*/ 153909 w 504788"/>
                <a:gd name="connsiteY527" fmla="*/ 708476 h 995706"/>
                <a:gd name="connsiteX528" fmla="*/ 156948 w 504788"/>
                <a:gd name="connsiteY528" fmla="*/ 712011 h 995706"/>
                <a:gd name="connsiteX529" fmla="*/ 172409 w 504788"/>
                <a:gd name="connsiteY529" fmla="*/ 726445 h 995706"/>
                <a:gd name="connsiteX530" fmla="*/ 175616 w 504788"/>
                <a:gd name="connsiteY530" fmla="*/ 727708 h 995706"/>
                <a:gd name="connsiteX531" fmla="*/ 192144 w 504788"/>
                <a:gd name="connsiteY531" fmla="*/ 729259 h 995706"/>
                <a:gd name="connsiteX532" fmla="*/ 195819 w 504788"/>
                <a:gd name="connsiteY532" fmla="*/ 731277 h 995706"/>
                <a:gd name="connsiteX533" fmla="*/ 197963 w 504788"/>
                <a:gd name="connsiteY533" fmla="*/ 734485 h 995706"/>
                <a:gd name="connsiteX534" fmla="*/ 198748 w 504788"/>
                <a:gd name="connsiteY534" fmla="*/ 737316 h 995706"/>
                <a:gd name="connsiteX535" fmla="*/ 197802 w 504788"/>
                <a:gd name="connsiteY535" fmla="*/ 744504 h 995706"/>
                <a:gd name="connsiteX536" fmla="*/ 196816 w 504788"/>
                <a:gd name="connsiteY536" fmla="*/ 746752 h 995706"/>
                <a:gd name="connsiteX537" fmla="*/ 194989 w 504788"/>
                <a:gd name="connsiteY537" fmla="*/ 748796 h 995706"/>
                <a:gd name="connsiteX538" fmla="*/ 191077 w 504788"/>
                <a:gd name="connsiteY538" fmla="*/ 751433 h 995706"/>
                <a:gd name="connsiteX539" fmla="*/ 186396 w 504788"/>
                <a:gd name="connsiteY539" fmla="*/ 752836 h 995706"/>
                <a:gd name="connsiteX540" fmla="*/ 187736 w 504788"/>
                <a:gd name="connsiteY540" fmla="*/ 753832 h 995706"/>
                <a:gd name="connsiteX541" fmla="*/ 189639 w 504788"/>
                <a:gd name="connsiteY541" fmla="*/ 753690 h 995706"/>
                <a:gd name="connsiteX542" fmla="*/ 193775 w 504788"/>
                <a:gd name="connsiteY542" fmla="*/ 752836 h 995706"/>
                <a:gd name="connsiteX543" fmla="*/ 195564 w 504788"/>
                <a:gd name="connsiteY543" fmla="*/ 753690 h 995706"/>
                <a:gd name="connsiteX544" fmla="*/ 196924 w 504788"/>
                <a:gd name="connsiteY544" fmla="*/ 756530 h 995706"/>
                <a:gd name="connsiteX545" fmla="*/ 194335 w 504788"/>
                <a:gd name="connsiteY545" fmla="*/ 757684 h 995706"/>
                <a:gd name="connsiteX546" fmla="*/ 193542 w 504788"/>
                <a:gd name="connsiteY546" fmla="*/ 759061 h 995706"/>
                <a:gd name="connsiteX547" fmla="*/ 191672 w 504788"/>
                <a:gd name="connsiteY547" fmla="*/ 761163 h 995706"/>
                <a:gd name="connsiteX548" fmla="*/ 182134 w 504788"/>
                <a:gd name="connsiteY548" fmla="*/ 769534 h 995706"/>
                <a:gd name="connsiteX549" fmla="*/ 176987 w 504788"/>
                <a:gd name="connsiteY549" fmla="*/ 772041 h 995706"/>
                <a:gd name="connsiteX550" fmla="*/ 172258 w 504788"/>
                <a:gd name="connsiteY550" fmla="*/ 775404 h 995706"/>
                <a:gd name="connsiteX551" fmla="*/ 165912 w 504788"/>
                <a:gd name="connsiteY551" fmla="*/ 778817 h 995706"/>
                <a:gd name="connsiteX552" fmla="*/ 163431 w 504788"/>
                <a:gd name="connsiteY552" fmla="*/ 780778 h 995706"/>
                <a:gd name="connsiteX553" fmla="*/ 160074 w 504788"/>
                <a:gd name="connsiteY553" fmla="*/ 784900 h 995706"/>
                <a:gd name="connsiteX554" fmla="*/ 154927 w 504788"/>
                <a:gd name="connsiteY554" fmla="*/ 789394 h 995706"/>
                <a:gd name="connsiteX555" fmla="*/ 149386 w 504788"/>
                <a:gd name="connsiteY555" fmla="*/ 799054 h 995706"/>
                <a:gd name="connsiteX556" fmla="*/ 149161 w 504788"/>
                <a:gd name="connsiteY556" fmla="*/ 800936 h 995706"/>
                <a:gd name="connsiteX557" fmla="*/ 149966 w 504788"/>
                <a:gd name="connsiteY557" fmla="*/ 802191 h 995706"/>
                <a:gd name="connsiteX558" fmla="*/ 146885 w 504788"/>
                <a:gd name="connsiteY558" fmla="*/ 819214 h 995706"/>
                <a:gd name="connsiteX559" fmla="*/ 145808 w 504788"/>
                <a:gd name="connsiteY559" fmla="*/ 821222 h 995706"/>
                <a:gd name="connsiteX560" fmla="*/ 143576 w 504788"/>
                <a:gd name="connsiteY560" fmla="*/ 823367 h 995706"/>
                <a:gd name="connsiteX561" fmla="*/ 137702 w 504788"/>
                <a:gd name="connsiteY561" fmla="*/ 826908 h 995706"/>
                <a:gd name="connsiteX562" fmla="*/ 134873 w 504788"/>
                <a:gd name="connsiteY562" fmla="*/ 827345 h 995706"/>
                <a:gd name="connsiteX563" fmla="*/ 131134 w 504788"/>
                <a:gd name="connsiteY563" fmla="*/ 825294 h 995706"/>
                <a:gd name="connsiteX564" fmla="*/ 129023 w 504788"/>
                <a:gd name="connsiteY564" fmla="*/ 823150 h 995706"/>
                <a:gd name="connsiteX565" fmla="*/ 126959 w 504788"/>
                <a:gd name="connsiteY565" fmla="*/ 819482 h 995706"/>
                <a:gd name="connsiteX566" fmla="*/ 124467 w 504788"/>
                <a:gd name="connsiteY566" fmla="*/ 815702 h 995706"/>
                <a:gd name="connsiteX567" fmla="*/ 124338 w 504788"/>
                <a:gd name="connsiteY567" fmla="*/ 817053 h 995706"/>
                <a:gd name="connsiteX568" fmla="*/ 125205 w 504788"/>
                <a:gd name="connsiteY568" fmla="*/ 819350 h 995706"/>
                <a:gd name="connsiteX569" fmla="*/ 124618 w 504788"/>
                <a:gd name="connsiteY569" fmla="*/ 821755 h 995706"/>
                <a:gd name="connsiteX570" fmla="*/ 118244 w 504788"/>
                <a:gd name="connsiteY570" fmla="*/ 822846 h 995706"/>
                <a:gd name="connsiteX571" fmla="*/ 116556 w 504788"/>
                <a:gd name="connsiteY571" fmla="*/ 823982 h 995706"/>
                <a:gd name="connsiteX572" fmla="*/ 122309 w 504788"/>
                <a:gd name="connsiteY572" fmla="*/ 823474 h 995706"/>
                <a:gd name="connsiteX573" fmla="*/ 126233 w 504788"/>
                <a:gd name="connsiteY573" fmla="*/ 824194 h 995706"/>
                <a:gd name="connsiteX574" fmla="*/ 127890 w 504788"/>
                <a:gd name="connsiteY574" fmla="*/ 825078 h 995706"/>
                <a:gd name="connsiteX575" fmla="*/ 129382 w 504788"/>
                <a:gd name="connsiteY575" fmla="*/ 826908 h 995706"/>
                <a:gd name="connsiteX576" fmla="*/ 130698 w 504788"/>
                <a:gd name="connsiteY576" fmla="*/ 829112 h 995706"/>
                <a:gd name="connsiteX577" fmla="*/ 129593 w 504788"/>
                <a:gd name="connsiteY577" fmla="*/ 830333 h 995706"/>
                <a:gd name="connsiteX578" fmla="*/ 126451 w 504788"/>
                <a:gd name="connsiteY578" fmla="*/ 831345 h 995706"/>
                <a:gd name="connsiteX579" fmla="*/ 122380 w 504788"/>
                <a:gd name="connsiteY579" fmla="*/ 833202 h 995706"/>
                <a:gd name="connsiteX580" fmla="*/ 117573 w 504788"/>
                <a:gd name="connsiteY580" fmla="*/ 836565 h 995706"/>
                <a:gd name="connsiteX581" fmla="*/ 114902 w 504788"/>
                <a:gd name="connsiteY581" fmla="*/ 840451 h 995706"/>
                <a:gd name="connsiteX582" fmla="*/ 113751 w 504788"/>
                <a:gd name="connsiteY582" fmla="*/ 843249 h 995706"/>
                <a:gd name="connsiteX583" fmla="*/ 112453 w 504788"/>
                <a:gd name="connsiteY583" fmla="*/ 848901 h 995706"/>
                <a:gd name="connsiteX584" fmla="*/ 112108 w 504788"/>
                <a:gd name="connsiteY584" fmla="*/ 852642 h 995706"/>
                <a:gd name="connsiteX585" fmla="*/ 110076 w 504788"/>
                <a:gd name="connsiteY585" fmla="*/ 855523 h 995706"/>
                <a:gd name="connsiteX586" fmla="*/ 106945 w 504788"/>
                <a:gd name="connsiteY586" fmla="*/ 858121 h 995706"/>
                <a:gd name="connsiteX587" fmla="*/ 107118 w 504788"/>
                <a:gd name="connsiteY587" fmla="*/ 858712 h 995706"/>
                <a:gd name="connsiteX588" fmla="*/ 109243 w 504788"/>
                <a:gd name="connsiteY588" fmla="*/ 857384 h 995706"/>
                <a:gd name="connsiteX589" fmla="*/ 110940 w 504788"/>
                <a:gd name="connsiteY589" fmla="*/ 856966 h 995706"/>
                <a:gd name="connsiteX590" fmla="*/ 112399 w 504788"/>
                <a:gd name="connsiteY590" fmla="*/ 860428 h 995706"/>
                <a:gd name="connsiteX591" fmla="*/ 114371 w 504788"/>
                <a:gd name="connsiteY591" fmla="*/ 867363 h 995706"/>
                <a:gd name="connsiteX592" fmla="*/ 115287 w 504788"/>
                <a:gd name="connsiteY592" fmla="*/ 872174 h 995706"/>
                <a:gd name="connsiteX593" fmla="*/ 115143 w 504788"/>
                <a:gd name="connsiteY593" fmla="*/ 873605 h 995706"/>
                <a:gd name="connsiteX594" fmla="*/ 114559 w 504788"/>
                <a:gd name="connsiteY594" fmla="*/ 875567 h 995706"/>
                <a:gd name="connsiteX595" fmla="*/ 110508 w 504788"/>
                <a:gd name="connsiteY595" fmla="*/ 876042 h 995706"/>
                <a:gd name="connsiteX596" fmla="*/ 106896 w 504788"/>
                <a:gd name="connsiteY596" fmla="*/ 875982 h 995706"/>
                <a:gd name="connsiteX597" fmla="*/ 104236 w 504788"/>
                <a:gd name="connsiteY597" fmla="*/ 876825 h 995706"/>
                <a:gd name="connsiteX598" fmla="*/ 105665 w 504788"/>
                <a:gd name="connsiteY598" fmla="*/ 877695 h 995706"/>
                <a:gd name="connsiteX599" fmla="*/ 108101 w 504788"/>
                <a:gd name="connsiteY599" fmla="*/ 877386 h 995706"/>
                <a:gd name="connsiteX600" fmla="*/ 111470 w 504788"/>
                <a:gd name="connsiteY600" fmla="*/ 879452 h 995706"/>
                <a:gd name="connsiteX601" fmla="*/ 115213 w 504788"/>
                <a:gd name="connsiteY601" fmla="*/ 878571 h 995706"/>
                <a:gd name="connsiteX602" fmla="*/ 116917 w 504788"/>
                <a:gd name="connsiteY602" fmla="*/ 879953 h 995706"/>
                <a:gd name="connsiteX603" fmla="*/ 118147 w 504788"/>
                <a:gd name="connsiteY603" fmla="*/ 881220 h 995706"/>
                <a:gd name="connsiteX604" fmla="*/ 123877 w 504788"/>
                <a:gd name="connsiteY604" fmla="*/ 891323 h 995706"/>
                <a:gd name="connsiteX605" fmla="*/ 128881 w 504788"/>
                <a:gd name="connsiteY605" fmla="*/ 897586 h 995706"/>
                <a:gd name="connsiteX606" fmla="*/ 131411 w 504788"/>
                <a:gd name="connsiteY606" fmla="*/ 901310 h 995706"/>
                <a:gd name="connsiteX607" fmla="*/ 130153 w 504788"/>
                <a:gd name="connsiteY607" fmla="*/ 902999 h 995706"/>
                <a:gd name="connsiteX608" fmla="*/ 129706 w 504788"/>
                <a:gd name="connsiteY608" fmla="*/ 900744 h 995706"/>
                <a:gd name="connsiteX609" fmla="*/ 126440 w 504788"/>
                <a:gd name="connsiteY609" fmla="*/ 900163 h 995706"/>
                <a:gd name="connsiteX610" fmla="*/ 123259 w 504788"/>
                <a:gd name="connsiteY610" fmla="*/ 899555 h 995706"/>
                <a:gd name="connsiteX611" fmla="*/ 117951 w 504788"/>
                <a:gd name="connsiteY611" fmla="*/ 897944 h 995706"/>
                <a:gd name="connsiteX612" fmla="*/ 110809 w 504788"/>
                <a:gd name="connsiteY612" fmla="*/ 895499 h 995706"/>
                <a:gd name="connsiteX613" fmla="*/ 103653 w 504788"/>
                <a:gd name="connsiteY613" fmla="*/ 895499 h 995706"/>
                <a:gd name="connsiteX614" fmla="*/ 97969 w 504788"/>
                <a:gd name="connsiteY614" fmla="*/ 893436 h 995706"/>
                <a:gd name="connsiteX615" fmla="*/ 91689 w 504788"/>
                <a:gd name="connsiteY615" fmla="*/ 891156 h 995706"/>
                <a:gd name="connsiteX616" fmla="*/ 78438 w 504788"/>
                <a:gd name="connsiteY616" fmla="*/ 890955 h 995706"/>
                <a:gd name="connsiteX617" fmla="*/ 66766 w 504788"/>
                <a:gd name="connsiteY617" fmla="*/ 890816 h 995706"/>
                <a:gd name="connsiteX618" fmla="*/ 54808 w 504788"/>
                <a:gd name="connsiteY618" fmla="*/ 890674 h 995706"/>
                <a:gd name="connsiteX619" fmla="*/ 47155 w 504788"/>
                <a:gd name="connsiteY619" fmla="*/ 890584 h 995706"/>
                <a:gd name="connsiteX620" fmla="*/ 42032 w 504788"/>
                <a:gd name="connsiteY620" fmla="*/ 890525 h 995706"/>
                <a:gd name="connsiteX621" fmla="*/ 40701 w 504788"/>
                <a:gd name="connsiteY621" fmla="*/ 889663 h 995706"/>
                <a:gd name="connsiteX622" fmla="*/ 41149 w 504788"/>
                <a:gd name="connsiteY622" fmla="*/ 886825 h 995706"/>
                <a:gd name="connsiteX623" fmla="*/ 39248 w 504788"/>
                <a:gd name="connsiteY623" fmla="*/ 884736 h 995706"/>
                <a:gd name="connsiteX624" fmla="*/ 36495 w 504788"/>
                <a:gd name="connsiteY624" fmla="*/ 882213 h 995706"/>
                <a:gd name="connsiteX625" fmla="*/ 33148 w 504788"/>
                <a:gd name="connsiteY625" fmla="*/ 880425 h 995706"/>
                <a:gd name="connsiteX626" fmla="*/ 31486 w 504788"/>
                <a:gd name="connsiteY626" fmla="*/ 878035 h 995706"/>
                <a:gd name="connsiteX627" fmla="*/ 29632 w 504788"/>
                <a:gd name="connsiteY627" fmla="*/ 875352 h 995706"/>
                <a:gd name="connsiteX628" fmla="*/ 30678 w 504788"/>
                <a:gd name="connsiteY628" fmla="*/ 872976 h 995706"/>
                <a:gd name="connsiteX629" fmla="*/ 32280 w 504788"/>
                <a:gd name="connsiteY629" fmla="*/ 867208 h 995706"/>
                <a:gd name="connsiteX630" fmla="*/ 32314 w 504788"/>
                <a:gd name="connsiteY630" fmla="*/ 864668 h 995706"/>
                <a:gd name="connsiteX631" fmla="*/ 30861 w 504788"/>
                <a:gd name="connsiteY631" fmla="*/ 862892 h 995706"/>
                <a:gd name="connsiteX632" fmla="*/ 30414 w 504788"/>
                <a:gd name="connsiteY632" fmla="*/ 860375 h 995706"/>
                <a:gd name="connsiteX633" fmla="*/ 30861 w 504788"/>
                <a:gd name="connsiteY633" fmla="*/ 859194 h 995706"/>
                <a:gd name="connsiteX634" fmla="*/ 32174 w 504788"/>
                <a:gd name="connsiteY634" fmla="*/ 858297 h 995706"/>
                <a:gd name="connsiteX635" fmla="*/ 32962 w 504788"/>
                <a:gd name="connsiteY635" fmla="*/ 854174 h 995706"/>
                <a:gd name="connsiteX636" fmla="*/ 32345 w 504788"/>
                <a:gd name="connsiteY636" fmla="*/ 850137 h 995706"/>
                <a:gd name="connsiteX637" fmla="*/ 31342 w 504788"/>
                <a:gd name="connsiteY637" fmla="*/ 846541 h 995706"/>
                <a:gd name="connsiteX638" fmla="*/ 30014 w 504788"/>
                <a:gd name="connsiteY638" fmla="*/ 844954 h 995706"/>
                <a:gd name="connsiteX639" fmla="*/ 28301 w 504788"/>
                <a:gd name="connsiteY639" fmla="*/ 844202 h 995706"/>
                <a:gd name="connsiteX640" fmla="*/ 27042 w 504788"/>
                <a:gd name="connsiteY640" fmla="*/ 844063 h 995706"/>
                <a:gd name="connsiteX641" fmla="*/ 24237 w 504788"/>
                <a:gd name="connsiteY641" fmla="*/ 845401 h 995706"/>
                <a:gd name="connsiteX642" fmla="*/ 19591 w 504788"/>
                <a:gd name="connsiteY642" fmla="*/ 845069 h 995706"/>
                <a:gd name="connsiteX643" fmla="*/ 18012 w 504788"/>
                <a:gd name="connsiteY643" fmla="*/ 845584 h 995706"/>
                <a:gd name="connsiteX644" fmla="*/ 15738 w 504788"/>
                <a:gd name="connsiteY644" fmla="*/ 847030 h 995706"/>
                <a:gd name="connsiteX645" fmla="*/ 12523 w 504788"/>
                <a:gd name="connsiteY645" fmla="*/ 849162 h 995706"/>
                <a:gd name="connsiteX646" fmla="*/ 10734 w 504788"/>
                <a:gd name="connsiteY646" fmla="*/ 848425 h 995706"/>
                <a:gd name="connsiteX647" fmla="*/ 10187 w 504788"/>
                <a:gd name="connsiteY647" fmla="*/ 846147 h 995706"/>
                <a:gd name="connsiteX648" fmla="*/ 8992 w 504788"/>
                <a:gd name="connsiteY648" fmla="*/ 844170 h 995706"/>
                <a:gd name="connsiteX649" fmla="*/ 8232 w 504788"/>
                <a:gd name="connsiteY649" fmla="*/ 842428 h 995706"/>
                <a:gd name="connsiteX650" fmla="*/ 7661 w 504788"/>
                <a:gd name="connsiteY650" fmla="*/ 839567 h 995706"/>
                <a:gd name="connsiteX651" fmla="*/ 6708 w 504788"/>
                <a:gd name="connsiteY651" fmla="*/ 835886 h 995706"/>
                <a:gd name="connsiteX652" fmla="*/ 4809 w 504788"/>
                <a:gd name="connsiteY652" fmla="*/ 831543 h 995706"/>
                <a:gd name="connsiteX653" fmla="*/ 1902 w 504788"/>
                <a:gd name="connsiteY653" fmla="*/ 828031 h 995706"/>
                <a:gd name="connsiteX654" fmla="*/ 1738 w 504788"/>
                <a:gd name="connsiteY654" fmla="*/ 824883 h 995706"/>
                <a:gd name="connsiteX655" fmla="*/ 1202 w 504788"/>
                <a:gd name="connsiteY655" fmla="*/ 820935 h 995706"/>
                <a:gd name="connsiteX656" fmla="*/ 2684 w 504788"/>
                <a:gd name="connsiteY656" fmla="*/ 817089 h 995706"/>
                <a:gd name="connsiteX657" fmla="*/ 1818 w 504788"/>
                <a:gd name="connsiteY657" fmla="*/ 813904 h 995706"/>
                <a:gd name="connsiteX658" fmla="*/ 0 w 504788"/>
                <a:gd name="connsiteY658" fmla="*/ 810109 h 995706"/>
                <a:gd name="connsiteX659" fmla="*/ 559 w 504788"/>
                <a:gd name="connsiteY659" fmla="*/ 806190 h 995706"/>
                <a:gd name="connsiteX660" fmla="*/ 2349 w 504788"/>
                <a:gd name="connsiteY660" fmla="*/ 804013 h 995706"/>
                <a:gd name="connsiteX661" fmla="*/ 2909 w 504788"/>
                <a:gd name="connsiteY661" fmla="*/ 801261 h 995706"/>
                <a:gd name="connsiteX662" fmla="*/ 11183 w 504788"/>
                <a:gd name="connsiteY662" fmla="*/ 800827 h 995706"/>
                <a:gd name="connsiteX663" fmla="*/ 10837 w 504788"/>
                <a:gd name="connsiteY663" fmla="*/ 797129 h 995706"/>
                <a:gd name="connsiteX664" fmla="*/ 12215 w 504788"/>
                <a:gd name="connsiteY664" fmla="*/ 794143 h 995706"/>
                <a:gd name="connsiteX665" fmla="*/ 13759 w 504788"/>
                <a:gd name="connsiteY665" fmla="*/ 791441 h 995706"/>
                <a:gd name="connsiteX666" fmla="*/ 15076 w 504788"/>
                <a:gd name="connsiteY666" fmla="*/ 790211 h 995706"/>
                <a:gd name="connsiteX667" fmla="*/ 18024 w 504788"/>
                <a:gd name="connsiteY667" fmla="*/ 789139 h 995706"/>
                <a:gd name="connsiteX668" fmla="*/ 21497 w 504788"/>
                <a:gd name="connsiteY668" fmla="*/ 787580 h 995706"/>
                <a:gd name="connsiteX669" fmla="*/ 23455 w 504788"/>
                <a:gd name="connsiteY669" fmla="*/ 785794 h 995706"/>
                <a:gd name="connsiteX670" fmla="*/ 24389 w 504788"/>
                <a:gd name="connsiteY670" fmla="*/ 784202 h 995706"/>
                <a:gd name="connsiteX671" fmla="*/ 24964 w 504788"/>
                <a:gd name="connsiteY671" fmla="*/ 782141 h 995706"/>
                <a:gd name="connsiteX672" fmla="*/ 25112 w 504788"/>
                <a:gd name="connsiteY672" fmla="*/ 779950 h 995706"/>
                <a:gd name="connsiteX673" fmla="*/ 24542 w 504788"/>
                <a:gd name="connsiteY673" fmla="*/ 775287 h 995706"/>
                <a:gd name="connsiteX674" fmla="*/ 25190 w 504788"/>
                <a:gd name="connsiteY674" fmla="*/ 773857 h 995706"/>
                <a:gd name="connsiteX675" fmla="*/ 27338 w 504788"/>
                <a:gd name="connsiteY675" fmla="*/ 771971 h 995706"/>
                <a:gd name="connsiteX676" fmla="*/ 30974 w 504788"/>
                <a:gd name="connsiteY676" fmla="*/ 770296 h 995706"/>
                <a:gd name="connsiteX677" fmla="*/ 32539 w 504788"/>
                <a:gd name="connsiteY677" fmla="*/ 765858 h 995706"/>
                <a:gd name="connsiteX678" fmla="*/ 31643 w 504788"/>
                <a:gd name="connsiteY678" fmla="*/ 761999 h 995706"/>
                <a:gd name="connsiteX679" fmla="*/ 29625 w 504788"/>
                <a:gd name="connsiteY679" fmla="*/ 758951 h 995706"/>
                <a:gd name="connsiteX680" fmla="*/ 27060 w 504788"/>
                <a:gd name="connsiteY680" fmla="*/ 757573 h 995706"/>
                <a:gd name="connsiteX681" fmla="*/ 26836 w 504788"/>
                <a:gd name="connsiteY681" fmla="*/ 754438 h 995706"/>
                <a:gd name="connsiteX682" fmla="*/ 27995 w 504788"/>
                <a:gd name="connsiteY682" fmla="*/ 751461 h 995706"/>
                <a:gd name="connsiteX683" fmla="*/ 29507 w 504788"/>
                <a:gd name="connsiteY683" fmla="*/ 748279 h 995706"/>
                <a:gd name="connsiteX684" fmla="*/ 31310 w 504788"/>
                <a:gd name="connsiteY684" fmla="*/ 744623 h 995706"/>
                <a:gd name="connsiteX685" fmla="*/ 31196 w 504788"/>
                <a:gd name="connsiteY685" fmla="*/ 742067 h 995706"/>
                <a:gd name="connsiteX686" fmla="*/ 32795 w 504788"/>
                <a:gd name="connsiteY686" fmla="*/ 740575 h 995706"/>
                <a:gd name="connsiteX687" fmla="*/ 37346 w 504788"/>
                <a:gd name="connsiteY687" fmla="*/ 737247 h 995706"/>
                <a:gd name="connsiteX688" fmla="*/ 38911 w 504788"/>
                <a:gd name="connsiteY688" fmla="*/ 733993 h 995706"/>
                <a:gd name="connsiteX689" fmla="*/ 40513 w 504788"/>
                <a:gd name="connsiteY689" fmla="*/ 733110 h 995706"/>
                <a:gd name="connsiteX690" fmla="*/ 42378 w 504788"/>
                <a:gd name="connsiteY690" fmla="*/ 732719 h 995706"/>
                <a:gd name="connsiteX691" fmla="*/ 42490 w 504788"/>
                <a:gd name="connsiteY691" fmla="*/ 730881 h 995706"/>
                <a:gd name="connsiteX692" fmla="*/ 41129 w 504788"/>
                <a:gd name="connsiteY692" fmla="*/ 729059 h 995706"/>
                <a:gd name="connsiteX693" fmla="*/ 40907 w 504788"/>
                <a:gd name="connsiteY693" fmla="*/ 726770 h 995706"/>
                <a:gd name="connsiteX694" fmla="*/ 41068 w 504788"/>
                <a:gd name="connsiteY694" fmla="*/ 724235 h 995706"/>
                <a:gd name="connsiteX695" fmla="*/ 41485 w 504788"/>
                <a:gd name="connsiteY695" fmla="*/ 720862 h 995706"/>
                <a:gd name="connsiteX696" fmla="*/ 43608 w 504788"/>
                <a:gd name="connsiteY696" fmla="*/ 719595 h 995706"/>
                <a:gd name="connsiteX697" fmla="*/ 46746 w 504788"/>
                <a:gd name="connsiteY697" fmla="*/ 716859 h 995706"/>
                <a:gd name="connsiteX698" fmla="*/ 47584 w 504788"/>
                <a:gd name="connsiteY698" fmla="*/ 715120 h 995706"/>
                <a:gd name="connsiteX699" fmla="*/ 47696 w 504788"/>
                <a:gd name="connsiteY699" fmla="*/ 712796 h 995706"/>
                <a:gd name="connsiteX700" fmla="*/ 46781 w 504788"/>
                <a:gd name="connsiteY700" fmla="*/ 708001 h 995706"/>
                <a:gd name="connsiteX701" fmla="*/ 46000 w 504788"/>
                <a:gd name="connsiteY701" fmla="*/ 704568 h 995706"/>
                <a:gd name="connsiteX702" fmla="*/ 45607 w 504788"/>
                <a:gd name="connsiteY702" fmla="*/ 703302 h 995706"/>
                <a:gd name="connsiteX703" fmla="*/ 44175 w 504788"/>
                <a:gd name="connsiteY703" fmla="*/ 700978 h 995706"/>
                <a:gd name="connsiteX704" fmla="*/ 43121 w 504788"/>
                <a:gd name="connsiteY704" fmla="*/ 699511 h 995706"/>
                <a:gd name="connsiteX705" fmla="*/ 44804 w 504788"/>
                <a:gd name="connsiteY705" fmla="*/ 697679 h 995706"/>
                <a:gd name="connsiteX706" fmla="*/ 47969 w 504788"/>
                <a:gd name="connsiteY706" fmla="*/ 695750 h 995706"/>
                <a:gd name="connsiteX707" fmla="*/ 49311 w 504788"/>
                <a:gd name="connsiteY707" fmla="*/ 692958 h 995706"/>
                <a:gd name="connsiteX708" fmla="*/ 48081 w 504788"/>
                <a:gd name="connsiteY708" fmla="*/ 690585 h 995706"/>
                <a:gd name="connsiteX709" fmla="*/ 46292 w 504788"/>
                <a:gd name="connsiteY709" fmla="*/ 689332 h 995706"/>
                <a:gd name="connsiteX710" fmla="*/ 45733 w 504788"/>
                <a:gd name="connsiteY710" fmla="*/ 685709 h 995706"/>
                <a:gd name="connsiteX711" fmla="*/ 46404 w 504788"/>
                <a:gd name="connsiteY711" fmla="*/ 681118 h 995706"/>
                <a:gd name="connsiteX712" fmla="*/ 47746 w 504788"/>
                <a:gd name="connsiteY712" fmla="*/ 679727 h 995706"/>
                <a:gd name="connsiteX713" fmla="*/ 52441 w 504788"/>
                <a:gd name="connsiteY713" fmla="*/ 679031 h 995706"/>
                <a:gd name="connsiteX714" fmla="*/ 52890 w 504788"/>
                <a:gd name="connsiteY714" fmla="*/ 676668 h 995706"/>
                <a:gd name="connsiteX715" fmla="*/ 56468 w 504788"/>
                <a:gd name="connsiteY715" fmla="*/ 673341 h 995706"/>
                <a:gd name="connsiteX716" fmla="*/ 56355 w 504788"/>
                <a:gd name="connsiteY716" fmla="*/ 670152 h 995706"/>
                <a:gd name="connsiteX717" fmla="*/ 54080 w 504788"/>
                <a:gd name="connsiteY717" fmla="*/ 668198 h 995706"/>
                <a:gd name="connsiteX718" fmla="*/ 51853 w 504788"/>
                <a:gd name="connsiteY718" fmla="*/ 665048 h 995706"/>
                <a:gd name="connsiteX719" fmla="*/ 50205 w 504788"/>
                <a:gd name="connsiteY719" fmla="*/ 662268 h 995706"/>
                <a:gd name="connsiteX720" fmla="*/ 44726 w 504788"/>
                <a:gd name="connsiteY720" fmla="*/ 660747 h 995706"/>
                <a:gd name="connsiteX721" fmla="*/ 38911 w 504788"/>
                <a:gd name="connsiteY721" fmla="*/ 659918 h 995706"/>
                <a:gd name="connsiteX722" fmla="*/ 38130 w 504788"/>
                <a:gd name="connsiteY722" fmla="*/ 657297 h 995706"/>
                <a:gd name="connsiteX723" fmla="*/ 38353 w 504788"/>
                <a:gd name="connsiteY723" fmla="*/ 655779 h 995706"/>
                <a:gd name="connsiteX724" fmla="*/ 41058 w 504788"/>
                <a:gd name="connsiteY724" fmla="*/ 656392 h 995706"/>
                <a:gd name="connsiteX725" fmla="*/ 45475 w 504788"/>
                <a:gd name="connsiteY725" fmla="*/ 655858 h 995706"/>
                <a:gd name="connsiteX726" fmla="*/ 48802 w 504788"/>
                <a:gd name="connsiteY726" fmla="*/ 655733 h 995706"/>
                <a:gd name="connsiteX727" fmla="*/ 51116 w 504788"/>
                <a:gd name="connsiteY727" fmla="*/ 655470 h 995706"/>
                <a:gd name="connsiteX728" fmla="*/ 53783 w 504788"/>
                <a:gd name="connsiteY728" fmla="*/ 655088 h 995706"/>
                <a:gd name="connsiteX729" fmla="*/ 56244 w 504788"/>
                <a:gd name="connsiteY729" fmla="*/ 656194 h 995706"/>
                <a:gd name="connsiteX730" fmla="*/ 58704 w 504788"/>
                <a:gd name="connsiteY730" fmla="*/ 655503 h 995706"/>
                <a:gd name="connsiteX731" fmla="*/ 59709 w 504788"/>
                <a:gd name="connsiteY731" fmla="*/ 651368 h 995706"/>
                <a:gd name="connsiteX732" fmla="*/ 61276 w 504788"/>
                <a:gd name="connsiteY732" fmla="*/ 649168 h 995706"/>
                <a:gd name="connsiteX733" fmla="*/ 61499 w 504788"/>
                <a:gd name="connsiteY733" fmla="*/ 647103 h 995706"/>
                <a:gd name="connsiteX734" fmla="*/ 59934 w 504788"/>
                <a:gd name="connsiteY734" fmla="*/ 645456 h 995706"/>
                <a:gd name="connsiteX735" fmla="*/ 57066 w 504788"/>
                <a:gd name="connsiteY735" fmla="*/ 644948 h 995706"/>
                <a:gd name="connsiteX736" fmla="*/ 44533 w 504788"/>
                <a:gd name="connsiteY736" fmla="*/ 643645 h 995706"/>
                <a:gd name="connsiteX737" fmla="*/ 44151 w 504788"/>
                <a:gd name="connsiteY737" fmla="*/ 641996 h 995706"/>
                <a:gd name="connsiteX738" fmla="*/ 44260 w 504788"/>
                <a:gd name="connsiteY738" fmla="*/ 639235 h 995706"/>
                <a:gd name="connsiteX739" fmla="*/ 44733 w 504788"/>
                <a:gd name="connsiteY739" fmla="*/ 636416 h 995706"/>
                <a:gd name="connsiteX740" fmla="*/ 44726 w 504788"/>
                <a:gd name="connsiteY740" fmla="*/ 635028 h 995706"/>
                <a:gd name="connsiteX741" fmla="*/ 45872 w 504788"/>
                <a:gd name="connsiteY741" fmla="*/ 633805 h 995706"/>
                <a:gd name="connsiteX742" fmla="*/ 47165 w 504788"/>
                <a:gd name="connsiteY742" fmla="*/ 631253 h 995706"/>
                <a:gd name="connsiteX743" fmla="*/ 48081 w 504788"/>
                <a:gd name="connsiteY743" fmla="*/ 629550 h 995706"/>
                <a:gd name="connsiteX744" fmla="*/ 47171 w 504788"/>
                <a:gd name="connsiteY744" fmla="*/ 627343 h 995706"/>
                <a:gd name="connsiteX745" fmla="*/ 45174 w 504788"/>
                <a:gd name="connsiteY745" fmla="*/ 624087 h 995706"/>
                <a:gd name="connsiteX746" fmla="*/ 46628 w 504788"/>
                <a:gd name="connsiteY746" fmla="*/ 622585 h 995706"/>
                <a:gd name="connsiteX747" fmla="*/ 46745 w 504788"/>
                <a:gd name="connsiteY747" fmla="*/ 620793 h 995706"/>
                <a:gd name="connsiteX748" fmla="*/ 46292 w 504788"/>
                <a:gd name="connsiteY748" fmla="*/ 619042 h 995706"/>
                <a:gd name="connsiteX749" fmla="*/ 44218 w 504788"/>
                <a:gd name="connsiteY749" fmla="*/ 617096 h 995706"/>
                <a:gd name="connsiteX750" fmla="*/ 42378 w 504788"/>
                <a:gd name="connsiteY750" fmla="*/ 614410 h 995706"/>
                <a:gd name="connsiteX751" fmla="*/ 42378 w 504788"/>
                <a:gd name="connsiteY751" fmla="*/ 611553 h 995706"/>
                <a:gd name="connsiteX752" fmla="*/ 44528 w 504788"/>
                <a:gd name="connsiteY752" fmla="*/ 610795 h 995706"/>
                <a:gd name="connsiteX753" fmla="*/ 45956 w 504788"/>
                <a:gd name="connsiteY753" fmla="*/ 609921 h 995706"/>
                <a:gd name="connsiteX754" fmla="*/ 46292 w 504788"/>
                <a:gd name="connsiteY754" fmla="*/ 608155 h 995706"/>
                <a:gd name="connsiteX755" fmla="*/ 45510 w 504788"/>
                <a:gd name="connsiteY755" fmla="*/ 605985 h 995706"/>
                <a:gd name="connsiteX756" fmla="*/ 42541 w 504788"/>
                <a:gd name="connsiteY756" fmla="*/ 605323 h 995706"/>
                <a:gd name="connsiteX757" fmla="*/ 38582 w 504788"/>
                <a:gd name="connsiteY757" fmla="*/ 603989 h 995706"/>
                <a:gd name="connsiteX758" fmla="*/ 37372 w 504788"/>
                <a:gd name="connsiteY758" fmla="*/ 602872 h 995706"/>
                <a:gd name="connsiteX759" fmla="*/ 36256 w 504788"/>
                <a:gd name="connsiteY759" fmla="*/ 600549 h 995706"/>
                <a:gd name="connsiteX760" fmla="*/ 37088 w 504788"/>
                <a:gd name="connsiteY760" fmla="*/ 594001 h 995706"/>
                <a:gd name="connsiteX761" fmla="*/ 36672 w 504788"/>
                <a:gd name="connsiteY761" fmla="*/ 590064 h 995706"/>
                <a:gd name="connsiteX762" fmla="*/ 36324 w 504788"/>
                <a:gd name="connsiteY762" fmla="*/ 587886 h 995706"/>
                <a:gd name="connsiteX763" fmla="*/ 37296 w 504788"/>
                <a:gd name="connsiteY763" fmla="*/ 586213 h 995706"/>
                <a:gd name="connsiteX764" fmla="*/ 38613 w 504788"/>
                <a:gd name="connsiteY764" fmla="*/ 584707 h 995706"/>
                <a:gd name="connsiteX765" fmla="*/ 37988 w 504788"/>
                <a:gd name="connsiteY765" fmla="*/ 581202 h 995706"/>
                <a:gd name="connsiteX766" fmla="*/ 36809 w 504788"/>
                <a:gd name="connsiteY766" fmla="*/ 579364 h 995706"/>
                <a:gd name="connsiteX767" fmla="*/ 37225 w 504788"/>
                <a:gd name="connsiteY767" fmla="*/ 577945 h 995706"/>
                <a:gd name="connsiteX768" fmla="*/ 38336 w 504788"/>
                <a:gd name="connsiteY768" fmla="*/ 576527 h 995706"/>
                <a:gd name="connsiteX769" fmla="*/ 39306 w 504788"/>
                <a:gd name="connsiteY769" fmla="*/ 574777 h 995706"/>
                <a:gd name="connsiteX770" fmla="*/ 40138 w 504788"/>
                <a:gd name="connsiteY770" fmla="*/ 574359 h 995706"/>
                <a:gd name="connsiteX771" fmla="*/ 41386 w 504788"/>
                <a:gd name="connsiteY771" fmla="*/ 575360 h 995706"/>
                <a:gd name="connsiteX772" fmla="*/ 43498 w 504788"/>
                <a:gd name="connsiteY772" fmla="*/ 574773 h 995706"/>
                <a:gd name="connsiteX773" fmla="*/ 46030 w 504788"/>
                <a:gd name="connsiteY773" fmla="*/ 573359 h 995706"/>
                <a:gd name="connsiteX774" fmla="*/ 46308 w 504788"/>
                <a:gd name="connsiteY774" fmla="*/ 571693 h 995706"/>
                <a:gd name="connsiteX775" fmla="*/ 45800 w 504788"/>
                <a:gd name="connsiteY775" fmla="*/ 569313 h 995706"/>
                <a:gd name="connsiteX776" fmla="*/ 43912 w 504788"/>
                <a:gd name="connsiteY776" fmla="*/ 563335 h 995706"/>
                <a:gd name="connsiteX777" fmla="*/ 42218 w 504788"/>
                <a:gd name="connsiteY777" fmla="*/ 559643 h 995706"/>
                <a:gd name="connsiteX778" fmla="*/ 42565 w 504788"/>
                <a:gd name="connsiteY778" fmla="*/ 558316 h 995706"/>
                <a:gd name="connsiteX779" fmla="*/ 43236 w 504788"/>
                <a:gd name="connsiteY779" fmla="*/ 556918 h 995706"/>
                <a:gd name="connsiteX780" fmla="*/ 42702 w 504788"/>
                <a:gd name="connsiteY780" fmla="*/ 551853 h 995706"/>
                <a:gd name="connsiteX781" fmla="*/ 42870 w 504788"/>
                <a:gd name="connsiteY781" fmla="*/ 548798 h 995706"/>
                <a:gd name="connsiteX782" fmla="*/ 42994 w 504788"/>
                <a:gd name="connsiteY782" fmla="*/ 539804 h 995706"/>
                <a:gd name="connsiteX783" fmla="*/ 43187 w 504788"/>
                <a:gd name="connsiteY783" fmla="*/ 536739 h 995706"/>
                <a:gd name="connsiteX784" fmla="*/ 41456 w 504788"/>
                <a:gd name="connsiteY784" fmla="*/ 533612 h 995706"/>
                <a:gd name="connsiteX785" fmla="*/ 41690 w 504788"/>
                <a:gd name="connsiteY785" fmla="*/ 530678 h 995706"/>
                <a:gd name="connsiteX786" fmla="*/ 42916 w 504788"/>
                <a:gd name="connsiteY786" fmla="*/ 528541 h 995706"/>
                <a:gd name="connsiteX787" fmla="*/ 44064 w 504788"/>
                <a:gd name="connsiteY787" fmla="*/ 525650 h 995706"/>
                <a:gd name="connsiteX788" fmla="*/ 44922 w 504788"/>
                <a:gd name="connsiteY788" fmla="*/ 523091 h 995706"/>
                <a:gd name="connsiteX789" fmla="*/ 45823 w 504788"/>
                <a:gd name="connsiteY789" fmla="*/ 521942 h 995706"/>
                <a:gd name="connsiteX790" fmla="*/ 47348 w 504788"/>
                <a:gd name="connsiteY790" fmla="*/ 521367 h 995706"/>
                <a:gd name="connsiteX791" fmla="*/ 47694 w 504788"/>
                <a:gd name="connsiteY791" fmla="*/ 519973 h 995706"/>
                <a:gd name="connsiteX792" fmla="*/ 47001 w 504788"/>
                <a:gd name="connsiteY792" fmla="*/ 518906 h 995706"/>
                <a:gd name="connsiteX793" fmla="*/ 45026 w 504788"/>
                <a:gd name="connsiteY793" fmla="*/ 517247 h 995706"/>
                <a:gd name="connsiteX794" fmla="*/ 44576 w 504788"/>
                <a:gd name="connsiteY794" fmla="*/ 515220 h 995706"/>
                <a:gd name="connsiteX795" fmla="*/ 44990 w 504788"/>
                <a:gd name="connsiteY795" fmla="*/ 513665 h 995706"/>
                <a:gd name="connsiteX796" fmla="*/ 45961 w 504788"/>
                <a:gd name="connsiteY796" fmla="*/ 512764 h 995706"/>
                <a:gd name="connsiteX797" fmla="*/ 47465 w 504788"/>
                <a:gd name="connsiteY797" fmla="*/ 512774 h 995706"/>
                <a:gd name="connsiteX798" fmla="*/ 48595 w 504788"/>
                <a:gd name="connsiteY798" fmla="*/ 510556 h 995706"/>
                <a:gd name="connsiteX799" fmla="*/ 48916 w 504788"/>
                <a:gd name="connsiteY799" fmla="*/ 507817 h 995706"/>
                <a:gd name="connsiteX800" fmla="*/ 49150 w 504788"/>
                <a:gd name="connsiteY800" fmla="*/ 506551 h 995706"/>
                <a:gd name="connsiteX801" fmla="*/ 48283 w 504788"/>
                <a:gd name="connsiteY801" fmla="*/ 504953 h 995706"/>
                <a:gd name="connsiteX802" fmla="*/ 47656 w 504788"/>
                <a:gd name="connsiteY802" fmla="*/ 501186 h 995706"/>
                <a:gd name="connsiteX803" fmla="*/ 47070 w 504788"/>
                <a:gd name="connsiteY803" fmla="*/ 499045 h 995706"/>
                <a:gd name="connsiteX804" fmla="*/ 47764 w 504788"/>
                <a:gd name="connsiteY804" fmla="*/ 498149 h 995706"/>
                <a:gd name="connsiteX805" fmla="*/ 48734 w 504788"/>
                <a:gd name="connsiteY805" fmla="*/ 497823 h 995706"/>
                <a:gd name="connsiteX806" fmla="*/ 50440 w 504788"/>
                <a:gd name="connsiteY806" fmla="*/ 498326 h 995706"/>
                <a:gd name="connsiteX807" fmla="*/ 51647 w 504788"/>
                <a:gd name="connsiteY807" fmla="*/ 498067 h 995706"/>
                <a:gd name="connsiteX808" fmla="*/ 51854 w 504788"/>
                <a:gd name="connsiteY808" fmla="*/ 496927 h 995706"/>
                <a:gd name="connsiteX809" fmla="*/ 51993 w 504788"/>
                <a:gd name="connsiteY809" fmla="*/ 495706 h 995706"/>
                <a:gd name="connsiteX810" fmla="*/ 52450 w 504788"/>
                <a:gd name="connsiteY810" fmla="*/ 494874 h 995706"/>
                <a:gd name="connsiteX811" fmla="*/ 53525 w 504788"/>
                <a:gd name="connsiteY811" fmla="*/ 492111 h 995706"/>
                <a:gd name="connsiteX812" fmla="*/ 54675 w 504788"/>
                <a:gd name="connsiteY812" fmla="*/ 488688 h 995706"/>
                <a:gd name="connsiteX813" fmla="*/ 54945 w 504788"/>
                <a:gd name="connsiteY813" fmla="*/ 486274 h 995706"/>
                <a:gd name="connsiteX814" fmla="*/ 54534 w 504788"/>
                <a:gd name="connsiteY814" fmla="*/ 479738 h 995706"/>
                <a:gd name="connsiteX815" fmla="*/ 55143 w 504788"/>
                <a:gd name="connsiteY815" fmla="*/ 478238 h 995706"/>
                <a:gd name="connsiteX816" fmla="*/ 56370 w 504788"/>
                <a:gd name="connsiteY816" fmla="*/ 476870 h 995706"/>
                <a:gd name="connsiteX817" fmla="*/ 58080 w 504788"/>
                <a:gd name="connsiteY817" fmla="*/ 475583 h 995706"/>
                <a:gd name="connsiteX818" fmla="*/ 60323 w 504788"/>
                <a:gd name="connsiteY818" fmla="*/ 474517 h 995706"/>
                <a:gd name="connsiteX819" fmla="*/ 63116 w 504788"/>
                <a:gd name="connsiteY819" fmla="*/ 472982 h 995706"/>
                <a:gd name="connsiteX820" fmla="*/ 66552 w 504788"/>
                <a:gd name="connsiteY820" fmla="*/ 472419 h 995706"/>
                <a:gd name="connsiteX821" fmla="*/ 67938 w 504788"/>
                <a:gd name="connsiteY821" fmla="*/ 470721 h 995706"/>
                <a:gd name="connsiteX822" fmla="*/ 68910 w 504788"/>
                <a:gd name="connsiteY822" fmla="*/ 468459 h 995706"/>
                <a:gd name="connsiteX823" fmla="*/ 69188 w 504788"/>
                <a:gd name="connsiteY823" fmla="*/ 466600 h 995706"/>
                <a:gd name="connsiteX824" fmla="*/ 67869 w 504788"/>
                <a:gd name="connsiteY824" fmla="*/ 465309 h 995706"/>
                <a:gd name="connsiteX825" fmla="*/ 66137 w 504788"/>
                <a:gd name="connsiteY825" fmla="*/ 463775 h 995706"/>
                <a:gd name="connsiteX826" fmla="*/ 65312 w 504788"/>
                <a:gd name="connsiteY826" fmla="*/ 459911 h 995706"/>
                <a:gd name="connsiteX827" fmla="*/ 64864 w 504788"/>
                <a:gd name="connsiteY827" fmla="*/ 456349 h 995706"/>
                <a:gd name="connsiteX828" fmla="*/ 64610 w 504788"/>
                <a:gd name="connsiteY828" fmla="*/ 451854 h 995706"/>
                <a:gd name="connsiteX829" fmla="*/ 62886 w 504788"/>
                <a:gd name="connsiteY829" fmla="*/ 447997 h 995706"/>
                <a:gd name="connsiteX830" fmla="*/ 61076 w 504788"/>
                <a:gd name="connsiteY830" fmla="*/ 443662 h 995706"/>
                <a:gd name="connsiteX831" fmla="*/ 60590 w 504788"/>
                <a:gd name="connsiteY831" fmla="*/ 439812 h 995706"/>
                <a:gd name="connsiteX832" fmla="*/ 61196 w 504788"/>
                <a:gd name="connsiteY832" fmla="*/ 437707 h 995706"/>
                <a:gd name="connsiteX833" fmla="*/ 61907 w 504788"/>
                <a:gd name="connsiteY833" fmla="*/ 434367 h 995706"/>
                <a:gd name="connsiteX834" fmla="*/ 61144 w 504788"/>
                <a:gd name="connsiteY834" fmla="*/ 432850 h 995706"/>
                <a:gd name="connsiteX835" fmla="*/ 60244 w 504788"/>
                <a:gd name="connsiteY835" fmla="*/ 430131 h 995706"/>
                <a:gd name="connsiteX836" fmla="*/ 61179 w 504788"/>
                <a:gd name="connsiteY836" fmla="*/ 428001 h 995706"/>
                <a:gd name="connsiteX837" fmla="*/ 62323 w 504788"/>
                <a:gd name="connsiteY837" fmla="*/ 424700 h 995706"/>
                <a:gd name="connsiteX838" fmla="*/ 62185 w 504788"/>
                <a:gd name="connsiteY838" fmla="*/ 423024 h 995706"/>
                <a:gd name="connsiteX839" fmla="*/ 61284 w 504788"/>
                <a:gd name="connsiteY839" fmla="*/ 419037 h 995706"/>
                <a:gd name="connsiteX840" fmla="*/ 60452 w 504788"/>
                <a:gd name="connsiteY840" fmla="*/ 416807 h 995706"/>
                <a:gd name="connsiteX841" fmla="*/ 61284 w 504788"/>
                <a:gd name="connsiteY841" fmla="*/ 414418 h 995706"/>
                <a:gd name="connsiteX842" fmla="*/ 62601 w 504788"/>
                <a:gd name="connsiteY842" fmla="*/ 412190 h 995706"/>
                <a:gd name="connsiteX843" fmla="*/ 63641 w 504788"/>
                <a:gd name="connsiteY843" fmla="*/ 410998 h 995706"/>
                <a:gd name="connsiteX844" fmla="*/ 63468 w 504788"/>
                <a:gd name="connsiteY844" fmla="*/ 409078 h 995706"/>
                <a:gd name="connsiteX845" fmla="*/ 63918 w 504788"/>
                <a:gd name="connsiteY845" fmla="*/ 407500 h 995706"/>
                <a:gd name="connsiteX846" fmla="*/ 65884 w 504788"/>
                <a:gd name="connsiteY846" fmla="*/ 406442 h 995706"/>
                <a:gd name="connsiteX847" fmla="*/ 67731 w 504788"/>
                <a:gd name="connsiteY847" fmla="*/ 404485 h 995706"/>
                <a:gd name="connsiteX848" fmla="*/ 69048 w 504788"/>
                <a:gd name="connsiteY848" fmla="*/ 404247 h 995706"/>
                <a:gd name="connsiteX849" fmla="*/ 70643 w 504788"/>
                <a:gd name="connsiteY849" fmla="*/ 404247 h 995706"/>
                <a:gd name="connsiteX850" fmla="*/ 71682 w 504788"/>
                <a:gd name="connsiteY850" fmla="*/ 403692 h 995706"/>
                <a:gd name="connsiteX851" fmla="*/ 72099 w 504788"/>
                <a:gd name="connsiteY851" fmla="*/ 402184 h 995706"/>
                <a:gd name="connsiteX852" fmla="*/ 72376 w 504788"/>
                <a:gd name="connsiteY852" fmla="*/ 400519 h 995706"/>
                <a:gd name="connsiteX853" fmla="*/ 74913 w 504788"/>
                <a:gd name="connsiteY853" fmla="*/ 398453 h 995706"/>
                <a:gd name="connsiteX854" fmla="*/ 76396 w 504788"/>
                <a:gd name="connsiteY854" fmla="*/ 396554 h 995706"/>
                <a:gd name="connsiteX855" fmla="*/ 79100 w 504788"/>
                <a:gd name="connsiteY855" fmla="*/ 396157 h 995706"/>
                <a:gd name="connsiteX856" fmla="*/ 80418 w 504788"/>
                <a:gd name="connsiteY856" fmla="*/ 394102 h 995706"/>
                <a:gd name="connsiteX857" fmla="*/ 80446 w 504788"/>
                <a:gd name="connsiteY857" fmla="*/ 391462 h 995706"/>
                <a:gd name="connsiteX858" fmla="*/ 80140 w 504788"/>
                <a:gd name="connsiteY858" fmla="*/ 388802 h 995706"/>
                <a:gd name="connsiteX859" fmla="*/ 81042 w 504788"/>
                <a:gd name="connsiteY859" fmla="*/ 385719 h 995706"/>
                <a:gd name="connsiteX860" fmla="*/ 80038 w 504788"/>
                <a:gd name="connsiteY860" fmla="*/ 381024 h 995706"/>
                <a:gd name="connsiteX861" fmla="*/ 80140 w 504788"/>
                <a:gd name="connsiteY861" fmla="*/ 378540 h 995706"/>
                <a:gd name="connsiteX862" fmla="*/ 79100 w 504788"/>
                <a:gd name="connsiteY862" fmla="*/ 376491 h 995706"/>
                <a:gd name="connsiteX863" fmla="*/ 79308 w 504788"/>
                <a:gd name="connsiteY863" fmla="*/ 374284 h 995706"/>
                <a:gd name="connsiteX864" fmla="*/ 78753 w 504788"/>
                <a:gd name="connsiteY864" fmla="*/ 372867 h 995706"/>
                <a:gd name="connsiteX865" fmla="*/ 77183 w 504788"/>
                <a:gd name="connsiteY865" fmla="*/ 372342 h 995706"/>
                <a:gd name="connsiteX866" fmla="*/ 76604 w 504788"/>
                <a:gd name="connsiteY866" fmla="*/ 370585 h 995706"/>
                <a:gd name="connsiteX867" fmla="*/ 77367 w 504788"/>
                <a:gd name="connsiteY867" fmla="*/ 369720 h 995706"/>
                <a:gd name="connsiteX868" fmla="*/ 78850 w 504788"/>
                <a:gd name="connsiteY868" fmla="*/ 369054 h 995706"/>
                <a:gd name="connsiteX869" fmla="*/ 80713 w 504788"/>
                <a:gd name="connsiteY869" fmla="*/ 367709 h 995706"/>
                <a:gd name="connsiteX870" fmla="*/ 82107 w 504788"/>
                <a:gd name="connsiteY870" fmla="*/ 361244 h 995706"/>
                <a:gd name="connsiteX871" fmla="*/ 82768 w 504788"/>
                <a:gd name="connsiteY871" fmla="*/ 359326 h 995706"/>
                <a:gd name="connsiteX872" fmla="*/ 83410 w 504788"/>
                <a:gd name="connsiteY872" fmla="*/ 357019 h 995706"/>
                <a:gd name="connsiteX873" fmla="*/ 83330 w 504788"/>
                <a:gd name="connsiteY873" fmla="*/ 355823 h 995706"/>
                <a:gd name="connsiteX874" fmla="*/ 84224 w 504788"/>
                <a:gd name="connsiteY874" fmla="*/ 354100 h 995706"/>
                <a:gd name="connsiteX875" fmla="*/ 85339 w 504788"/>
                <a:gd name="connsiteY875" fmla="*/ 351482 h 995706"/>
                <a:gd name="connsiteX876" fmla="*/ 87100 w 504788"/>
                <a:gd name="connsiteY876" fmla="*/ 348953 h 995706"/>
                <a:gd name="connsiteX877" fmla="*/ 88109 w 504788"/>
                <a:gd name="connsiteY877" fmla="*/ 347213 h 995706"/>
                <a:gd name="connsiteX878" fmla="*/ 89084 w 504788"/>
                <a:gd name="connsiteY878" fmla="*/ 344868 h 995706"/>
                <a:gd name="connsiteX879" fmla="*/ 89361 w 504788"/>
                <a:gd name="connsiteY879" fmla="*/ 343460 h 995706"/>
                <a:gd name="connsiteX880" fmla="*/ 90610 w 504788"/>
                <a:gd name="connsiteY880" fmla="*/ 342760 h 995706"/>
                <a:gd name="connsiteX881" fmla="*/ 92042 w 504788"/>
                <a:gd name="connsiteY881" fmla="*/ 342579 h 995706"/>
                <a:gd name="connsiteX882" fmla="*/ 93730 w 504788"/>
                <a:gd name="connsiteY882" fmla="*/ 342136 h 995706"/>
                <a:gd name="connsiteX883" fmla="*/ 94423 w 504788"/>
                <a:gd name="connsiteY883" fmla="*/ 341276 h 995706"/>
                <a:gd name="connsiteX884" fmla="*/ 94298 w 504788"/>
                <a:gd name="connsiteY884" fmla="*/ 340025 h 995706"/>
                <a:gd name="connsiteX885" fmla="*/ 94192 w 504788"/>
                <a:gd name="connsiteY885" fmla="*/ 337260 h 995706"/>
                <a:gd name="connsiteX886" fmla="*/ 93687 w 504788"/>
                <a:gd name="connsiteY886" fmla="*/ 332875 h 995706"/>
                <a:gd name="connsiteX887" fmla="*/ 93361 w 504788"/>
                <a:gd name="connsiteY887" fmla="*/ 327224 h 995706"/>
                <a:gd name="connsiteX888" fmla="*/ 93659 w 504788"/>
                <a:gd name="connsiteY888" fmla="*/ 323517 h 995706"/>
                <a:gd name="connsiteX889" fmla="*/ 94770 w 504788"/>
                <a:gd name="connsiteY889" fmla="*/ 319788 h 995706"/>
                <a:gd name="connsiteX890" fmla="*/ 95809 w 504788"/>
                <a:gd name="connsiteY890" fmla="*/ 317768 h 995706"/>
                <a:gd name="connsiteX891" fmla="*/ 95532 w 504788"/>
                <a:gd name="connsiteY891" fmla="*/ 316217 h 995706"/>
                <a:gd name="connsiteX892" fmla="*/ 95255 w 504788"/>
                <a:gd name="connsiteY892" fmla="*/ 314510 h 995706"/>
                <a:gd name="connsiteX893" fmla="*/ 93314 w 504788"/>
                <a:gd name="connsiteY893" fmla="*/ 313579 h 995706"/>
                <a:gd name="connsiteX894" fmla="*/ 91467 w 504788"/>
                <a:gd name="connsiteY894" fmla="*/ 314385 h 995706"/>
                <a:gd name="connsiteX895" fmla="*/ 90179 w 504788"/>
                <a:gd name="connsiteY895" fmla="*/ 314161 h 995706"/>
                <a:gd name="connsiteX896" fmla="*/ 88530 w 504788"/>
                <a:gd name="connsiteY896" fmla="*/ 312184 h 995706"/>
                <a:gd name="connsiteX897" fmla="*/ 88045 w 504788"/>
                <a:gd name="connsiteY897" fmla="*/ 310092 h 995706"/>
                <a:gd name="connsiteX898" fmla="*/ 88321 w 504788"/>
                <a:gd name="connsiteY898" fmla="*/ 307225 h 995706"/>
                <a:gd name="connsiteX899" fmla="*/ 89612 w 504788"/>
                <a:gd name="connsiteY899" fmla="*/ 305440 h 995706"/>
                <a:gd name="connsiteX900" fmla="*/ 90124 w 504788"/>
                <a:gd name="connsiteY900" fmla="*/ 303201 h 995706"/>
                <a:gd name="connsiteX901" fmla="*/ 89361 w 504788"/>
                <a:gd name="connsiteY901" fmla="*/ 302505 h 995706"/>
                <a:gd name="connsiteX902" fmla="*/ 87736 w 504788"/>
                <a:gd name="connsiteY902" fmla="*/ 301020 h 995706"/>
                <a:gd name="connsiteX903" fmla="*/ 86194 w 504788"/>
                <a:gd name="connsiteY903" fmla="*/ 295897 h 995706"/>
                <a:gd name="connsiteX904" fmla="*/ 86380 w 504788"/>
                <a:gd name="connsiteY904" fmla="*/ 291539 h 995706"/>
                <a:gd name="connsiteX905" fmla="*/ 84855 w 504788"/>
                <a:gd name="connsiteY905" fmla="*/ 290382 h 995706"/>
                <a:gd name="connsiteX906" fmla="*/ 84144 w 504788"/>
                <a:gd name="connsiteY906" fmla="*/ 286980 h 995706"/>
                <a:gd name="connsiteX907" fmla="*/ 82567 w 504788"/>
                <a:gd name="connsiteY907" fmla="*/ 285762 h 995706"/>
                <a:gd name="connsiteX908" fmla="*/ 81943 w 504788"/>
                <a:gd name="connsiteY908" fmla="*/ 283221 h 995706"/>
                <a:gd name="connsiteX909" fmla="*/ 81458 w 504788"/>
                <a:gd name="connsiteY909" fmla="*/ 280605 h 995706"/>
                <a:gd name="connsiteX910" fmla="*/ 81666 w 504788"/>
                <a:gd name="connsiteY910" fmla="*/ 279448 h 995706"/>
                <a:gd name="connsiteX911" fmla="*/ 83304 w 504788"/>
                <a:gd name="connsiteY911" fmla="*/ 279130 h 995706"/>
                <a:gd name="connsiteX912" fmla="*/ 84231 w 504788"/>
                <a:gd name="connsiteY912" fmla="*/ 277068 h 995706"/>
                <a:gd name="connsiteX913" fmla="*/ 83537 w 504788"/>
                <a:gd name="connsiteY913" fmla="*/ 275912 h 995706"/>
                <a:gd name="connsiteX914" fmla="*/ 82289 w 504788"/>
                <a:gd name="connsiteY914" fmla="*/ 274913 h 995706"/>
                <a:gd name="connsiteX915" fmla="*/ 80695 w 504788"/>
                <a:gd name="connsiteY915" fmla="*/ 274990 h 995706"/>
                <a:gd name="connsiteX916" fmla="*/ 79268 w 504788"/>
                <a:gd name="connsiteY916" fmla="*/ 273813 h 995706"/>
                <a:gd name="connsiteX917" fmla="*/ 77353 w 504788"/>
                <a:gd name="connsiteY917" fmla="*/ 268887 h 995706"/>
                <a:gd name="connsiteX918" fmla="*/ 75843 w 504788"/>
                <a:gd name="connsiteY918" fmla="*/ 266168 h 995706"/>
                <a:gd name="connsiteX919" fmla="*/ 76320 w 504788"/>
                <a:gd name="connsiteY919" fmla="*/ 262203 h 995706"/>
                <a:gd name="connsiteX920" fmla="*/ 76617 w 504788"/>
                <a:gd name="connsiteY920" fmla="*/ 259107 h 995706"/>
                <a:gd name="connsiteX921" fmla="*/ 77267 w 504788"/>
                <a:gd name="connsiteY921" fmla="*/ 256461 h 995706"/>
                <a:gd name="connsiteX922" fmla="*/ 77506 w 504788"/>
                <a:gd name="connsiteY922" fmla="*/ 254381 h 995706"/>
                <a:gd name="connsiteX923" fmla="*/ 78685 w 504788"/>
                <a:gd name="connsiteY923" fmla="*/ 253385 h 995706"/>
                <a:gd name="connsiteX924" fmla="*/ 79793 w 504788"/>
                <a:gd name="connsiteY924" fmla="*/ 253846 h 995706"/>
                <a:gd name="connsiteX925" fmla="*/ 80833 w 504788"/>
                <a:gd name="connsiteY925" fmla="*/ 253616 h 995706"/>
                <a:gd name="connsiteX926" fmla="*/ 81792 w 504788"/>
                <a:gd name="connsiteY926" fmla="*/ 251921 h 995706"/>
                <a:gd name="connsiteX927" fmla="*/ 82844 w 504788"/>
                <a:gd name="connsiteY927" fmla="*/ 250865 h 995706"/>
                <a:gd name="connsiteX928" fmla="*/ 82774 w 504788"/>
                <a:gd name="connsiteY928" fmla="*/ 250026 h 995706"/>
                <a:gd name="connsiteX929" fmla="*/ 82151 w 504788"/>
                <a:gd name="connsiteY929" fmla="*/ 249108 h 995706"/>
                <a:gd name="connsiteX930" fmla="*/ 81854 w 504788"/>
                <a:gd name="connsiteY930" fmla="*/ 247505 h 995706"/>
                <a:gd name="connsiteX931" fmla="*/ 82586 w 504788"/>
                <a:gd name="connsiteY931" fmla="*/ 245598 h 995706"/>
                <a:gd name="connsiteX932" fmla="*/ 83850 w 504788"/>
                <a:gd name="connsiteY932" fmla="*/ 241227 h 995706"/>
                <a:gd name="connsiteX933" fmla="*/ 85764 w 504788"/>
                <a:gd name="connsiteY933" fmla="*/ 236419 h 995706"/>
                <a:gd name="connsiteX934" fmla="*/ 86588 w 504788"/>
                <a:gd name="connsiteY934" fmla="*/ 234625 h 995706"/>
                <a:gd name="connsiteX935" fmla="*/ 86380 w 504788"/>
                <a:gd name="connsiteY935" fmla="*/ 233104 h 995706"/>
                <a:gd name="connsiteX936" fmla="*/ 86796 w 504788"/>
                <a:gd name="connsiteY936" fmla="*/ 232419 h 995706"/>
                <a:gd name="connsiteX937" fmla="*/ 88095 w 504788"/>
                <a:gd name="connsiteY937" fmla="*/ 233179 h 995706"/>
                <a:gd name="connsiteX938" fmla="*/ 91788 w 504788"/>
                <a:gd name="connsiteY938" fmla="*/ 232342 h 995706"/>
                <a:gd name="connsiteX939" fmla="*/ 93036 w 504788"/>
                <a:gd name="connsiteY939" fmla="*/ 230213 h 995706"/>
                <a:gd name="connsiteX940" fmla="*/ 93520 w 504788"/>
                <a:gd name="connsiteY940" fmla="*/ 228313 h 995706"/>
                <a:gd name="connsiteX941" fmla="*/ 94629 w 504788"/>
                <a:gd name="connsiteY941" fmla="*/ 227249 h 995706"/>
                <a:gd name="connsiteX942" fmla="*/ 94145 w 504788"/>
                <a:gd name="connsiteY942" fmla="*/ 225730 h 995706"/>
                <a:gd name="connsiteX943" fmla="*/ 92620 w 504788"/>
                <a:gd name="connsiteY943" fmla="*/ 225274 h 995706"/>
                <a:gd name="connsiteX944" fmla="*/ 91697 w 504788"/>
                <a:gd name="connsiteY944" fmla="*/ 224564 h 995706"/>
                <a:gd name="connsiteX945" fmla="*/ 92064 w 504788"/>
                <a:gd name="connsiteY945" fmla="*/ 222844 h 995706"/>
                <a:gd name="connsiteX946" fmla="*/ 92605 w 504788"/>
                <a:gd name="connsiteY946" fmla="*/ 218894 h 995706"/>
                <a:gd name="connsiteX947" fmla="*/ 92517 w 504788"/>
                <a:gd name="connsiteY947" fmla="*/ 215985 h 995706"/>
                <a:gd name="connsiteX948" fmla="*/ 91123 w 504788"/>
                <a:gd name="connsiteY948" fmla="*/ 209789 h 995706"/>
                <a:gd name="connsiteX949" fmla="*/ 90001 w 504788"/>
                <a:gd name="connsiteY949" fmla="*/ 203665 h 995706"/>
                <a:gd name="connsiteX950" fmla="*/ 90792 w 504788"/>
                <a:gd name="connsiteY950" fmla="*/ 201619 h 995706"/>
                <a:gd name="connsiteX951" fmla="*/ 93208 w 504788"/>
                <a:gd name="connsiteY951" fmla="*/ 198826 h 995706"/>
                <a:gd name="connsiteX952" fmla="*/ 95046 w 504788"/>
                <a:gd name="connsiteY952" fmla="*/ 197567 h 995706"/>
                <a:gd name="connsiteX953" fmla="*/ 95377 w 504788"/>
                <a:gd name="connsiteY953" fmla="*/ 195974 h 995706"/>
                <a:gd name="connsiteX954" fmla="*/ 97194 w 504788"/>
                <a:gd name="connsiteY954" fmla="*/ 188760 h 995706"/>
                <a:gd name="connsiteX955" fmla="*/ 97403 w 504788"/>
                <a:gd name="connsiteY955" fmla="*/ 184828 h 995706"/>
                <a:gd name="connsiteX956" fmla="*/ 98596 w 504788"/>
                <a:gd name="connsiteY956" fmla="*/ 182650 h 995706"/>
                <a:gd name="connsiteX957" fmla="*/ 99380 w 504788"/>
                <a:gd name="connsiteY957" fmla="*/ 178568 h 995706"/>
                <a:gd name="connsiteX958" fmla="*/ 102671 w 504788"/>
                <a:gd name="connsiteY958" fmla="*/ 175053 h 995706"/>
                <a:gd name="connsiteX959" fmla="*/ 103641 w 504788"/>
                <a:gd name="connsiteY959" fmla="*/ 172724 h 995706"/>
                <a:gd name="connsiteX960" fmla="*/ 104959 w 504788"/>
                <a:gd name="connsiteY960" fmla="*/ 172500 h 995706"/>
                <a:gd name="connsiteX961" fmla="*/ 105653 w 504788"/>
                <a:gd name="connsiteY961" fmla="*/ 171748 h 995706"/>
                <a:gd name="connsiteX962" fmla="*/ 107398 w 504788"/>
                <a:gd name="connsiteY962" fmla="*/ 169155 h 995706"/>
                <a:gd name="connsiteX963" fmla="*/ 109667 w 504788"/>
                <a:gd name="connsiteY963" fmla="*/ 166490 h 995706"/>
                <a:gd name="connsiteX964" fmla="*/ 111616 w 504788"/>
                <a:gd name="connsiteY964" fmla="*/ 165148 h 995706"/>
                <a:gd name="connsiteX965" fmla="*/ 112101 w 504788"/>
                <a:gd name="connsiteY965" fmla="*/ 163049 h 995706"/>
                <a:gd name="connsiteX966" fmla="*/ 113033 w 504788"/>
                <a:gd name="connsiteY966" fmla="*/ 160184 h 995706"/>
                <a:gd name="connsiteX967" fmla="*/ 114969 w 504788"/>
                <a:gd name="connsiteY967" fmla="*/ 155434 h 995706"/>
                <a:gd name="connsiteX968" fmla="*/ 116052 w 504788"/>
                <a:gd name="connsiteY968" fmla="*/ 152125 h 995706"/>
                <a:gd name="connsiteX969" fmla="*/ 117509 w 504788"/>
                <a:gd name="connsiteY969" fmla="*/ 150926 h 995706"/>
                <a:gd name="connsiteX970" fmla="*/ 119205 w 504788"/>
                <a:gd name="connsiteY970" fmla="*/ 146596 h 995706"/>
                <a:gd name="connsiteX971" fmla="*/ 119934 w 504788"/>
                <a:gd name="connsiteY971" fmla="*/ 144059 h 995706"/>
                <a:gd name="connsiteX972" fmla="*/ 121875 w 504788"/>
                <a:gd name="connsiteY972" fmla="*/ 143013 h 995706"/>
                <a:gd name="connsiteX973" fmla="*/ 123400 w 504788"/>
                <a:gd name="connsiteY973" fmla="*/ 142715 h 995706"/>
                <a:gd name="connsiteX974" fmla="*/ 124857 w 504788"/>
                <a:gd name="connsiteY974" fmla="*/ 143912 h 995706"/>
                <a:gd name="connsiteX975" fmla="*/ 126381 w 504788"/>
                <a:gd name="connsiteY975" fmla="*/ 143685 h 995706"/>
                <a:gd name="connsiteX976" fmla="*/ 127769 w 504788"/>
                <a:gd name="connsiteY976" fmla="*/ 142193 h 995706"/>
                <a:gd name="connsiteX977" fmla="*/ 131116 w 504788"/>
                <a:gd name="connsiteY977" fmla="*/ 141177 h 995706"/>
                <a:gd name="connsiteX978" fmla="*/ 132622 w 504788"/>
                <a:gd name="connsiteY978" fmla="*/ 140627 h 995706"/>
                <a:gd name="connsiteX979" fmla="*/ 133315 w 504788"/>
                <a:gd name="connsiteY979" fmla="*/ 139135 h 995706"/>
                <a:gd name="connsiteX980" fmla="*/ 133315 w 504788"/>
                <a:gd name="connsiteY980" fmla="*/ 136526 h 995706"/>
                <a:gd name="connsiteX981" fmla="*/ 131928 w 504788"/>
                <a:gd name="connsiteY981" fmla="*/ 134589 h 995706"/>
                <a:gd name="connsiteX982" fmla="*/ 129094 w 504788"/>
                <a:gd name="connsiteY982" fmla="*/ 130882 h 995706"/>
                <a:gd name="connsiteX983" fmla="*/ 126659 w 504788"/>
                <a:gd name="connsiteY983" fmla="*/ 126747 h 995706"/>
                <a:gd name="connsiteX984" fmla="*/ 126394 w 504788"/>
                <a:gd name="connsiteY984" fmla="*/ 125443 h 995706"/>
                <a:gd name="connsiteX985" fmla="*/ 126379 w 504788"/>
                <a:gd name="connsiteY985" fmla="*/ 124020 h 995706"/>
                <a:gd name="connsiteX986" fmla="*/ 126795 w 504788"/>
                <a:gd name="connsiteY986" fmla="*/ 122223 h 995706"/>
                <a:gd name="connsiteX987" fmla="*/ 127960 w 504788"/>
                <a:gd name="connsiteY987" fmla="*/ 120185 h 995706"/>
                <a:gd name="connsiteX988" fmla="*/ 130884 w 504788"/>
                <a:gd name="connsiteY988" fmla="*/ 116838 h 995706"/>
                <a:gd name="connsiteX989" fmla="*/ 130574 w 504788"/>
                <a:gd name="connsiteY989" fmla="*/ 114442 h 995706"/>
                <a:gd name="connsiteX990" fmla="*/ 128442 w 504788"/>
                <a:gd name="connsiteY990" fmla="*/ 105647 h 995706"/>
                <a:gd name="connsiteX991" fmla="*/ 127654 w 504788"/>
                <a:gd name="connsiteY991" fmla="*/ 103224 h 995706"/>
                <a:gd name="connsiteX992" fmla="*/ 126174 w 504788"/>
                <a:gd name="connsiteY992" fmla="*/ 98735 h 995706"/>
                <a:gd name="connsiteX993" fmla="*/ 126381 w 504788"/>
                <a:gd name="connsiteY993" fmla="*/ 96959 h 995706"/>
                <a:gd name="connsiteX994" fmla="*/ 127682 w 504788"/>
                <a:gd name="connsiteY994" fmla="*/ 92006 h 995706"/>
                <a:gd name="connsiteX995" fmla="*/ 128809 w 504788"/>
                <a:gd name="connsiteY995" fmla="*/ 90014 h 995706"/>
                <a:gd name="connsiteX996" fmla="*/ 130474 w 504788"/>
                <a:gd name="connsiteY996" fmla="*/ 89645 h 995706"/>
                <a:gd name="connsiteX997" fmla="*/ 131373 w 504788"/>
                <a:gd name="connsiteY997" fmla="*/ 88979 h 995706"/>
                <a:gd name="connsiteX998" fmla="*/ 131652 w 504788"/>
                <a:gd name="connsiteY998" fmla="*/ 88094 h 995706"/>
                <a:gd name="connsiteX999" fmla="*/ 130542 w 504788"/>
                <a:gd name="connsiteY999" fmla="*/ 86989 h 995706"/>
                <a:gd name="connsiteX1000" fmla="*/ 130058 w 504788"/>
                <a:gd name="connsiteY1000" fmla="*/ 85585 h 995706"/>
                <a:gd name="connsiteX1001" fmla="*/ 129570 w 504788"/>
                <a:gd name="connsiteY1001" fmla="*/ 83596 h 995706"/>
                <a:gd name="connsiteX1002" fmla="*/ 128030 w 504788"/>
                <a:gd name="connsiteY1002" fmla="*/ 82895 h 995706"/>
                <a:gd name="connsiteX1003" fmla="*/ 127144 w 504788"/>
                <a:gd name="connsiteY1003" fmla="*/ 81236 h 995706"/>
                <a:gd name="connsiteX1004" fmla="*/ 127144 w 504788"/>
                <a:gd name="connsiteY1004" fmla="*/ 78801 h 995706"/>
                <a:gd name="connsiteX1005" fmla="*/ 128533 w 504788"/>
                <a:gd name="connsiteY1005" fmla="*/ 75634 h 995706"/>
                <a:gd name="connsiteX1006" fmla="*/ 130058 w 504788"/>
                <a:gd name="connsiteY1006" fmla="*/ 74750 h 995706"/>
                <a:gd name="connsiteX1007" fmla="*/ 130680 w 504788"/>
                <a:gd name="connsiteY1007" fmla="*/ 73353 h 995706"/>
                <a:gd name="connsiteX1008" fmla="*/ 132314 w 504788"/>
                <a:gd name="connsiteY1008" fmla="*/ 72065 h 995706"/>
                <a:gd name="connsiteX1009" fmla="*/ 133801 w 504788"/>
                <a:gd name="connsiteY1009" fmla="*/ 71071 h 995706"/>
                <a:gd name="connsiteX1010" fmla="*/ 135048 w 504788"/>
                <a:gd name="connsiteY1010" fmla="*/ 69233 h 995706"/>
                <a:gd name="connsiteX1011" fmla="*/ 140193 w 504788"/>
                <a:gd name="connsiteY1011" fmla="*/ 66982 h 995706"/>
                <a:gd name="connsiteX1012" fmla="*/ 144279 w 504788"/>
                <a:gd name="connsiteY1012" fmla="*/ 65235 h 995706"/>
                <a:gd name="connsiteX1013" fmla="*/ 152252 w 504788"/>
                <a:gd name="connsiteY1013" fmla="*/ 61892 h 995706"/>
                <a:gd name="connsiteX1014" fmla="*/ 157719 w 504788"/>
                <a:gd name="connsiteY1014" fmla="*/ 59605 h 995706"/>
                <a:gd name="connsiteX1015" fmla="*/ 158242 w 504788"/>
                <a:gd name="connsiteY1015" fmla="*/ 58020 h 995706"/>
                <a:gd name="connsiteX1016" fmla="*/ 158659 w 504788"/>
                <a:gd name="connsiteY1016" fmla="*/ 56944 h 995706"/>
                <a:gd name="connsiteX1017" fmla="*/ 161194 w 504788"/>
                <a:gd name="connsiteY1017" fmla="*/ 48879 h 995706"/>
                <a:gd name="connsiteX1018" fmla="*/ 164475 w 504788"/>
                <a:gd name="connsiteY1018" fmla="*/ 38465 h 995706"/>
                <a:gd name="connsiteX1019" fmla="*/ 166528 w 504788"/>
                <a:gd name="connsiteY1019" fmla="*/ 31948 h 995706"/>
                <a:gd name="connsiteX1020" fmla="*/ 161810 w 504788"/>
                <a:gd name="connsiteY1020" fmla="*/ 27148 h 995706"/>
                <a:gd name="connsiteX1021" fmla="*/ 162645 w 504788"/>
                <a:gd name="connsiteY1021" fmla="*/ 25871 h 995706"/>
                <a:gd name="connsiteX1022" fmla="*/ 165346 w 504788"/>
                <a:gd name="connsiteY1022" fmla="*/ 22590 h 995706"/>
                <a:gd name="connsiteX1023" fmla="*/ 165901 w 504788"/>
                <a:gd name="connsiteY1023" fmla="*/ 19960 h 995706"/>
                <a:gd name="connsiteX1024" fmla="*/ 166976 w 504788"/>
                <a:gd name="connsiteY1024" fmla="*/ 18829 h 995706"/>
                <a:gd name="connsiteX1025" fmla="*/ 171814 w 504788"/>
                <a:gd name="connsiteY1025" fmla="*/ 16158 h 995706"/>
                <a:gd name="connsiteX1026" fmla="*/ 172647 w 504788"/>
                <a:gd name="connsiteY1026" fmla="*/ 14383 h 995706"/>
                <a:gd name="connsiteX1027" fmla="*/ 173074 w 504788"/>
                <a:gd name="connsiteY1027" fmla="*/ 12419 h 995706"/>
                <a:gd name="connsiteX1028" fmla="*/ 174061 w 504788"/>
                <a:gd name="connsiteY1028" fmla="*/ 11007 h 995706"/>
                <a:gd name="connsiteX1029" fmla="*/ 175905 w 504788"/>
                <a:gd name="connsiteY1029" fmla="*/ 10716 h 995706"/>
                <a:gd name="connsiteX1030" fmla="*/ 179252 w 504788"/>
                <a:gd name="connsiteY1030" fmla="*/ 9465 h 995706"/>
                <a:gd name="connsiteX1031" fmla="*/ 182848 w 504788"/>
                <a:gd name="connsiteY1031" fmla="*/ 8278 h 995706"/>
                <a:gd name="connsiteX1032" fmla="*/ 183930 w 504788"/>
                <a:gd name="connsiteY1032" fmla="*/ 6663 h 995706"/>
                <a:gd name="connsiteX1033" fmla="*/ 184953 w 504788"/>
                <a:gd name="connsiteY1033" fmla="*/ 3853 h 995706"/>
                <a:gd name="connsiteX1034" fmla="*/ 185829 w 504788"/>
                <a:gd name="connsiteY1034" fmla="*/ 742 h 995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</a:cxnLst>
              <a:rect l="l" t="t" r="r" b="b"/>
              <a:pathLst>
                <a:path w="504788" h="995706">
                  <a:moveTo>
                    <a:pt x="228894" y="984590"/>
                  </a:moveTo>
                  <a:lnTo>
                    <a:pt x="231694" y="985403"/>
                  </a:lnTo>
                  <a:lnTo>
                    <a:pt x="237229" y="984792"/>
                  </a:lnTo>
                  <a:lnTo>
                    <a:pt x="240150" y="984782"/>
                  </a:lnTo>
                  <a:lnTo>
                    <a:pt x="241427" y="985070"/>
                  </a:lnTo>
                  <a:lnTo>
                    <a:pt x="241998" y="985509"/>
                  </a:lnTo>
                  <a:lnTo>
                    <a:pt x="245814" y="984826"/>
                  </a:lnTo>
                  <a:lnTo>
                    <a:pt x="247500" y="984902"/>
                  </a:lnTo>
                  <a:lnTo>
                    <a:pt x="247065" y="986408"/>
                  </a:lnTo>
                  <a:lnTo>
                    <a:pt x="243550" y="987908"/>
                  </a:lnTo>
                  <a:lnTo>
                    <a:pt x="242102" y="987272"/>
                  </a:lnTo>
                  <a:lnTo>
                    <a:pt x="234633" y="987410"/>
                  </a:lnTo>
                  <a:lnTo>
                    <a:pt x="231327" y="988951"/>
                  </a:lnTo>
                  <a:lnTo>
                    <a:pt x="229922" y="988938"/>
                  </a:lnTo>
                  <a:lnTo>
                    <a:pt x="226660" y="991141"/>
                  </a:lnTo>
                  <a:lnTo>
                    <a:pt x="224273" y="989749"/>
                  </a:lnTo>
                  <a:lnTo>
                    <a:pt x="223617" y="988467"/>
                  </a:lnTo>
                  <a:lnTo>
                    <a:pt x="225344" y="986644"/>
                  </a:lnTo>
                  <a:lnTo>
                    <a:pt x="226970" y="986607"/>
                  </a:lnTo>
                  <a:lnTo>
                    <a:pt x="228079" y="985872"/>
                  </a:lnTo>
                  <a:close/>
                  <a:moveTo>
                    <a:pt x="125422" y="913099"/>
                  </a:moveTo>
                  <a:lnTo>
                    <a:pt x="126911" y="914545"/>
                  </a:lnTo>
                  <a:lnTo>
                    <a:pt x="132806" y="921572"/>
                  </a:lnTo>
                  <a:lnTo>
                    <a:pt x="134341" y="924451"/>
                  </a:lnTo>
                  <a:lnTo>
                    <a:pt x="135307" y="927812"/>
                  </a:lnTo>
                  <a:lnTo>
                    <a:pt x="132951" y="925674"/>
                  </a:lnTo>
                  <a:lnTo>
                    <a:pt x="130463" y="926899"/>
                  </a:lnTo>
                  <a:lnTo>
                    <a:pt x="129237" y="928909"/>
                  </a:lnTo>
                  <a:lnTo>
                    <a:pt x="128189" y="931093"/>
                  </a:lnTo>
                  <a:lnTo>
                    <a:pt x="128197" y="932629"/>
                  </a:lnTo>
                  <a:lnTo>
                    <a:pt x="129008" y="933975"/>
                  </a:lnTo>
                  <a:lnTo>
                    <a:pt x="131427" y="935146"/>
                  </a:lnTo>
                  <a:lnTo>
                    <a:pt x="137309" y="935543"/>
                  </a:lnTo>
                  <a:lnTo>
                    <a:pt x="137741" y="935977"/>
                  </a:lnTo>
                  <a:lnTo>
                    <a:pt x="141179" y="944439"/>
                  </a:lnTo>
                  <a:lnTo>
                    <a:pt x="142909" y="946330"/>
                  </a:lnTo>
                  <a:lnTo>
                    <a:pt x="144917" y="947834"/>
                  </a:lnTo>
                  <a:lnTo>
                    <a:pt x="149557" y="952164"/>
                  </a:lnTo>
                  <a:lnTo>
                    <a:pt x="154007" y="956846"/>
                  </a:lnTo>
                  <a:lnTo>
                    <a:pt x="159290" y="961291"/>
                  </a:lnTo>
                  <a:lnTo>
                    <a:pt x="164990" y="964714"/>
                  </a:lnTo>
                  <a:lnTo>
                    <a:pt x="170172" y="967311"/>
                  </a:lnTo>
                  <a:lnTo>
                    <a:pt x="175117" y="970489"/>
                  </a:lnTo>
                  <a:lnTo>
                    <a:pt x="180392" y="974944"/>
                  </a:lnTo>
                  <a:lnTo>
                    <a:pt x="186133" y="978181"/>
                  </a:lnTo>
                  <a:lnTo>
                    <a:pt x="192297" y="980474"/>
                  </a:lnTo>
                  <a:lnTo>
                    <a:pt x="198521" y="982385"/>
                  </a:lnTo>
                  <a:lnTo>
                    <a:pt x="208101" y="981638"/>
                  </a:lnTo>
                  <a:lnTo>
                    <a:pt x="211076" y="981847"/>
                  </a:lnTo>
                  <a:lnTo>
                    <a:pt x="212926" y="983253"/>
                  </a:lnTo>
                  <a:lnTo>
                    <a:pt x="211066" y="987142"/>
                  </a:lnTo>
                  <a:lnTo>
                    <a:pt x="208691" y="990274"/>
                  </a:lnTo>
                  <a:lnTo>
                    <a:pt x="205518" y="991566"/>
                  </a:lnTo>
                  <a:lnTo>
                    <a:pt x="202166" y="992041"/>
                  </a:lnTo>
                  <a:lnTo>
                    <a:pt x="199138" y="991979"/>
                  </a:lnTo>
                  <a:lnTo>
                    <a:pt x="196115" y="991401"/>
                  </a:lnTo>
                  <a:lnTo>
                    <a:pt x="193280" y="991732"/>
                  </a:lnTo>
                  <a:lnTo>
                    <a:pt x="190571" y="993049"/>
                  </a:lnTo>
                  <a:lnTo>
                    <a:pt x="187746" y="993703"/>
                  </a:lnTo>
                  <a:lnTo>
                    <a:pt x="184837" y="993789"/>
                  </a:lnTo>
                  <a:lnTo>
                    <a:pt x="181999" y="994905"/>
                  </a:lnTo>
                  <a:lnTo>
                    <a:pt x="179147" y="995706"/>
                  </a:lnTo>
                  <a:lnTo>
                    <a:pt x="176192" y="995042"/>
                  </a:lnTo>
                  <a:lnTo>
                    <a:pt x="168515" y="991928"/>
                  </a:lnTo>
                  <a:lnTo>
                    <a:pt x="163529" y="991186"/>
                  </a:lnTo>
                  <a:lnTo>
                    <a:pt x="146637" y="989947"/>
                  </a:lnTo>
                  <a:lnTo>
                    <a:pt x="141215" y="989236"/>
                  </a:lnTo>
                  <a:lnTo>
                    <a:pt x="135813" y="988152"/>
                  </a:lnTo>
                  <a:lnTo>
                    <a:pt x="132984" y="988107"/>
                  </a:lnTo>
                  <a:lnTo>
                    <a:pt x="128945" y="988807"/>
                  </a:lnTo>
                  <a:lnTo>
                    <a:pt x="125708" y="988721"/>
                  </a:lnTo>
                  <a:lnTo>
                    <a:pt x="124831" y="989419"/>
                  </a:lnTo>
                  <a:lnTo>
                    <a:pt x="124977" y="981488"/>
                  </a:lnTo>
                  <a:lnTo>
                    <a:pt x="125172" y="970853"/>
                  </a:lnTo>
                  <a:lnTo>
                    <a:pt x="125212" y="961400"/>
                  </a:lnTo>
                  <a:lnTo>
                    <a:pt x="125251" y="952225"/>
                  </a:lnTo>
                  <a:lnTo>
                    <a:pt x="125292" y="942757"/>
                  </a:lnTo>
                  <a:lnTo>
                    <a:pt x="125334" y="933319"/>
                  </a:lnTo>
                  <a:lnTo>
                    <a:pt x="125377" y="923267"/>
                  </a:lnTo>
                  <a:close/>
                  <a:moveTo>
                    <a:pt x="291174" y="482721"/>
                  </a:moveTo>
                  <a:lnTo>
                    <a:pt x="294379" y="483491"/>
                  </a:lnTo>
                  <a:lnTo>
                    <a:pt x="295889" y="484186"/>
                  </a:lnTo>
                  <a:lnTo>
                    <a:pt x="296683" y="485262"/>
                  </a:lnTo>
                  <a:lnTo>
                    <a:pt x="296932" y="487133"/>
                  </a:lnTo>
                  <a:lnTo>
                    <a:pt x="295612" y="486912"/>
                  </a:lnTo>
                  <a:lnTo>
                    <a:pt x="292478" y="485114"/>
                  </a:lnTo>
                  <a:lnTo>
                    <a:pt x="291421" y="483431"/>
                  </a:lnTo>
                  <a:close/>
                  <a:moveTo>
                    <a:pt x="186524" y="0"/>
                  </a:moveTo>
                  <a:lnTo>
                    <a:pt x="187679" y="82"/>
                  </a:lnTo>
                  <a:lnTo>
                    <a:pt x="189608" y="864"/>
                  </a:lnTo>
                  <a:lnTo>
                    <a:pt x="190622" y="2045"/>
                  </a:lnTo>
                  <a:lnTo>
                    <a:pt x="195653" y="5775"/>
                  </a:lnTo>
                  <a:lnTo>
                    <a:pt x="197914" y="7901"/>
                  </a:lnTo>
                  <a:lnTo>
                    <a:pt x="200065" y="8184"/>
                  </a:lnTo>
                  <a:lnTo>
                    <a:pt x="204309" y="7765"/>
                  </a:lnTo>
                  <a:lnTo>
                    <a:pt x="205169" y="7862"/>
                  </a:lnTo>
                  <a:lnTo>
                    <a:pt x="215997" y="7983"/>
                  </a:lnTo>
                  <a:lnTo>
                    <a:pt x="217651" y="8168"/>
                  </a:lnTo>
                  <a:lnTo>
                    <a:pt x="221443" y="9081"/>
                  </a:lnTo>
                  <a:lnTo>
                    <a:pt x="223584" y="9809"/>
                  </a:lnTo>
                  <a:lnTo>
                    <a:pt x="225068" y="10188"/>
                  </a:lnTo>
                  <a:lnTo>
                    <a:pt x="227467" y="11340"/>
                  </a:lnTo>
                  <a:lnTo>
                    <a:pt x="229542" y="15143"/>
                  </a:lnTo>
                  <a:lnTo>
                    <a:pt x="230706" y="18175"/>
                  </a:lnTo>
                  <a:lnTo>
                    <a:pt x="231524" y="20841"/>
                  </a:lnTo>
                  <a:lnTo>
                    <a:pt x="233337" y="25529"/>
                  </a:lnTo>
                  <a:lnTo>
                    <a:pt x="234572" y="27308"/>
                  </a:lnTo>
                  <a:lnTo>
                    <a:pt x="235012" y="26444"/>
                  </a:lnTo>
                  <a:lnTo>
                    <a:pt x="236065" y="21322"/>
                  </a:lnTo>
                  <a:lnTo>
                    <a:pt x="237519" y="18335"/>
                  </a:lnTo>
                  <a:lnTo>
                    <a:pt x="239478" y="14990"/>
                  </a:lnTo>
                  <a:lnTo>
                    <a:pt x="243426" y="7181"/>
                  </a:lnTo>
                  <a:lnTo>
                    <a:pt x="244806" y="6011"/>
                  </a:lnTo>
                  <a:lnTo>
                    <a:pt x="246344" y="5442"/>
                  </a:lnTo>
                  <a:lnTo>
                    <a:pt x="247419" y="5396"/>
                  </a:lnTo>
                  <a:lnTo>
                    <a:pt x="248510" y="5975"/>
                  </a:lnTo>
                  <a:lnTo>
                    <a:pt x="249998" y="5983"/>
                  </a:lnTo>
                  <a:lnTo>
                    <a:pt x="251053" y="5364"/>
                  </a:lnTo>
                  <a:lnTo>
                    <a:pt x="261402" y="5265"/>
                  </a:lnTo>
                  <a:lnTo>
                    <a:pt x="272149" y="5177"/>
                  </a:lnTo>
                  <a:lnTo>
                    <a:pt x="272378" y="5226"/>
                  </a:lnTo>
                  <a:lnTo>
                    <a:pt x="272865" y="6570"/>
                  </a:lnTo>
                  <a:lnTo>
                    <a:pt x="274653" y="9504"/>
                  </a:lnTo>
                  <a:lnTo>
                    <a:pt x="276663" y="11051"/>
                  </a:lnTo>
                  <a:lnTo>
                    <a:pt x="277027" y="11470"/>
                  </a:lnTo>
                  <a:lnTo>
                    <a:pt x="277668" y="12211"/>
                  </a:lnTo>
                  <a:lnTo>
                    <a:pt x="277660" y="12981"/>
                  </a:lnTo>
                  <a:lnTo>
                    <a:pt x="279801" y="14557"/>
                  </a:lnTo>
                  <a:lnTo>
                    <a:pt x="284087" y="16944"/>
                  </a:lnTo>
                  <a:lnTo>
                    <a:pt x="288103" y="21564"/>
                  </a:lnTo>
                  <a:lnTo>
                    <a:pt x="291845" y="28423"/>
                  </a:lnTo>
                  <a:lnTo>
                    <a:pt x="295358" y="33495"/>
                  </a:lnTo>
                  <a:lnTo>
                    <a:pt x="298641" y="36778"/>
                  </a:lnTo>
                  <a:lnTo>
                    <a:pt x="301659" y="39098"/>
                  </a:lnTo>
                  <a:lnTo>
                    <a:pt x="304410" y="40454"/>
                  </a:lnTo>
                  <a:lnTo>
                    <a:pt x="305881" y="41552"/>
                  </a:lnTo>
                  <a:lnTo>
                    <a:pt x="306071" y="42396"/>
                  </a:lnTo>
                  <a:lnTo>
                    <a:pt x="308646" y="44151"/>
                  </a:lnTo>
                  <a:lnTo>
                    <a:pt x="313605" y="46817"/>
                  </a:lnTo>
                  <a:lnTo>
                    <a:pt x="316741" y="49481"/>
                  </a:lnTo>
                  <a:lnTo>
                    <a:pt x="318055" y="52141"/>
                  </a:lnTo>
                  <a:lnTo>
                    <a:pt x="322951" y="54889"/>
                  </a:lnTo>
                  <a:lnTo>
                    <a:pt x="331432" y="57720"/>
                  </a:lnTo>
                  <a:lnTo>
                    <a:pt x="337598" y="59072"/>
                  </a:lnTo>
                  <a:lnTo>
                    <a:pt x="341448" y="58943"/>
                  </a:lnTo>
                  <a:lnTo>
                    <a:pt x="346972" y="61210"/>
                  </a:lnTo>
                  <a:lnTo>
                    <a:pt x="354170" y="65865"/>
                  </a:lnTo>
                  <a:lnTo>
                    <a:pt x="358562" y="69099"/>
                  </a:lnTo>
                  <a:lnTo>
                    <a:pt x="360146" y="70898"/>
                  </a:lnTo>
                  <a:lnTo>
                    <a:pt x="364854" y="73816"/>
                  </a:lnTo>
                  <a:lnTo>
                    <a:pt x="376600" y="79860"/>
                  </a:lnTo>
                  <a:lnTo>
                    <a:pt x="381782" y="81376"/>
                  </a:lnTo>
                  <a:lnTo>
                    <a:pt x="384238" y="82757"/>
                  </a:lnTo>
                  <a:lnTo>
                    <a:pt x="385693" y="84515"/>
                  </a:lnTo>
                  <a:lnTo>
                    <a:pt x="387131" y="85050"/>
                  </a:lnTo>
                  <a:lnTo>
                    <a:pt x="388549" y="84367"/>
                  </a:lnTo>
                  <a:lnTo>
                    <a:pt x="391498" y="84997"/>
                  </a:lnTo>
                  <a:lnTo>
                    <a:pt x="395977" y="86942"/>
                  </a:lnTo>
                  <a:lnTo>
                    <a:pt x="399480" y="89296"/>
                  </a:lnTo>
                  <a:lnTo>
                    <a:pt x="403988" y="94483"/>
                  </a:lnTo>
                  <a:lnTo>
                    <a:pt x="405426" y="96556"/>
                  </a:lnTo>
                  <a:lnTo>
                    <a:pt x="406036" y="98412"/>
                  </a:lnTo>
                  <a:lnTo>
                    <a:pt x="405819" y="100048"/>
                  </a:lnTo>
                  <a:lnTo>
                    <a:pt x="404446" y="101794"/>
                  </a:lnTo>
                  <a:lnTo>
                    <a:pt x="401919" y="103647"/>
                  </a:lnTo>
                  <a:lnTo>
                    <a:pt x="401176" y="104457"/>
                  </a:lnTo>
                  <a:lnTo>
                    <a:pt x="401118" y="105240"/>
                  </a:lnTo>
                  <a:lnTo>
                    <a:pt x="400475" y="106803"/>
                  </a:lnTo>
                  <a:lnTo>
                    <a:pt x="398376" y="110143"/>
                  </a:lnTo>
                  <a:lnTo>
                    <a:pt x="397843" y="111698"/>
                  </a:lnTo>
                  <a:lnTo>
                    <a:pt x="397732" y="112844"/>
                  </a:lnTo>
                  <a:lnTo>
                    <a:pt x="396401" y="114103"/>
                  </a:lnTo>
                  <a:lnTo>
                    <a:pt x="392868" y="116427"/>
                  </a:lnTo>
                  <a:lnTo>
                    <a:pt x="392140" y="117557"/>
                  </a:lnTo>
                  <a:lnTo>
                    <a:pt x="391965" y="118771"/>
                  </a:lnTo>
                  <a:lnTo>
                    <a:pt x="391519" y="119492"/>
                  </a:lnTo>
                  <a:lnTo>
                    <a:pt x="391036" y="119795"/>
                  </a:lnTo>
                  <a:lnTo>
                    <a:pt x="390356" y="121012"/>
                  </a:lnTo>
                  <a:lnTo>
                    <a:pt x="389810" y="123023"/>
                  </a:lnTo>
                  <a:lnTo>
                    <a:pt x="389756" y="125610"/>
                  </a:lnTo>
                  <a:lnTo>
                    <a:pt x="390193" y="128766"/>
                  </a:lnTo>
                  <a:lnTo>
                    <a:pt x="390107" y="129783"/>
                  </a:lnTo>
                  <a:lnTo>
                    <a:pt x="389327" y="130329"/>
                  </a:lnTo>
                  <a:lnTo>
                    <a:pt x="388889" y="131059"/>
                  </a:lnTo>
                  <a:lnTo>
                    <a:pt x="388732" y="132535"/>
                  </a:lnTo>
                  <a:lnTo>
                    <a:pt x="388069" y="133614"/>
                  </a:lnTo>
                  <a:lnTo>
                    <a:pt x="386903" y="134301"/>
                  </a:lnTo>
                  <a:lnTo>
                    <a:pt x="386473" y="135091"/>
                  </a:lnTo>
                  <a:lnTo>
                    <a:pt x="386779" y="135982"/>
                  </a:lnTo>
                  <a:lnTo>
                    <a:pt x="385920" y="136866"/>
                  </a:lnTo>
                  <a:lnTo>
                    <a:pt x="383895" y="137737"/>
                  </a:lnTo>
                  <a:lnTo>
                    <a:pt x="382655" y="139004"/>
                  </a:lnTo>
                  <a:lnTo>
                    <a:pt x="382198" y="140669"/>
                  </a:lnTo>
                  <a:lnTo>
                    <a:pt x="381071" y="142155"/>
                  </a:lnTo>
                  <a:lnTo>
                    <a:pt x="379273" y="143469"/>
                  </a:lnTo>
                  <a:lnTo>
                    <a:pt x="378686" y="145215"/>
                  </a:lnTo>
                  <a:lnTo>
                    <a:pt x="379621" y="148445"/>
                  </a:lnTo>
                  <a:lnTo>
                    <a:pt x="390692" y="147327"/>
                  </a:lnTo>
                  <a:lnTo>
                    <a:pt x="399720" y="148506"/>
                  </a:lnTo>
                  <a:lnTo>
                    <a:pt x="410394" y="151618"/>
                  </a:lnTo>
                  <a:lnTo>
                    <a:pt x="417479" y="152701"/>
                  </a:lnTo>
                  <a:lnTo>
                    <a:pt x="420974" y="151762"/>
                  </a:lnTo>
                  <a:lnTo>
                    <a:pt x="423567" y="151895"/>
                  </a:lnTo>
                  <a:lnTo>
                    <a:pt x="425255" y="153099"/>
                  </a:lnTo>
                  <a:lnTo>
                    <a:pt x="427523" y="153348"/>
                  </a:lnTo>
                  <a:lnTo>
                    <a:pt x="430372" y="152641"/>
                  </a:lnTo>
                  <a:lnTo>
                    <a:pt x="432726" y="153188"/>
                  </a:lnTo>
                  <a:lnTo>
                    <a:pt x="434586" y="154990"/>
                  </a:lnTo>
                  <a:lnTo>
                    <a:pt x="436276" y="154542"/>
                  </a:lnTo>
                  <a:lnTo>
                    <a:pt x="437797" y="151845"/>
                  </a:lnTo>
                  <a:lnTo>
                    <a:pt x="439542" y="149877"/>
                  </a:lnTo>
                  <a:lnTo>
                    <a:pt x="441511" y="148640"/>
                  </a:lnTo>
                  <a:lnTo>
                    <a:pt x="443964" y="148264"/>
                  </a:lnTo>
                  <a:lnTo>
                    <a:pt x="446902" y="148754"/>
                  </a:lnTo>
                  <a:lnTo>
                    <a:pt x="449246" y="149744"/>
                  </a:lnTo>
                  <a:lnTo>
                    <a:pt x="450996" y="151234"/>
                  </a:lnTo>
                  <a:lnTo>
                    <a:pt x="452907" y="151191"/>
                  </a:lnTo>
                  <a:lnTo>
                    <a:pt x="454979" y="149613"/>
                  </a:lnTo>
                  <a:lnTo>
                    <a:pt x="455971" y="147727"/>
                  </a:lnTo>
                  <a:lnTo>
                    <a:pt x="455883" y="145530"/>
                  </a:lnTo>
                  <a:lnTo>
                    <a:pt x="456704" y="143957"/>
                  </a:lnTo>
                  <a:lnTo>
                    <a:pt x="458432" y="143011"/>
                  </a:lnTo>
                  <a:lnTo>
                    <a:pt x="459602" y="141729"/>
                  </a:lnTo>
                  <a:lnTo>
                    <a:pt x="460209" y="140117"/>
                  </a:lnTo>
                  <a:lnTo>
                    <a:pt x="462260" y="139132"/>
                  </a:lnTo>
                  <a:lnTo>
                    <a:pt x="465753" y="138778"/>
                  </a:lnTo>
                  <a:lnTo>
                    <a:pt x="467581" y="137987"/>
                  </a:lnTo>
                  <a:lnTo>
                    <a:pt x="467740" y="136757"/>
                  </a:lnTo>
                  <a:lnTo>
                    <a:pt x="468774" y="135626"/>
                  </a:lnTo>
                  <a:lnTo>
                    <a:pt x="470682" y="134594"/>
                  </a:lnTo>
                  <a:lnTo>
                    <a:pt x="471987" y="133306"/>
                  </a:lnTo>
                  <a:lnTo>
                    <a:pt x="472689" y="131759"/>
                  </a:lnTo>
                  <a:lnTo>
                    <a:pt x="473844" y="130785"/>
                  </a:lnTo>
                  <a:lnTo>
                    <a:pt x="475453" y="130390"/>
                  </a:lnTo>
                  <a:lnTo>
                    <a:pt x="477238" y="127142"/>
                  </a:lnTo>
                  <a:lnTo>
                    <a:pt x="479199" y="121050"/>
                  </a:lnTo>
                  <a:lnTo>
                    <a:pt x="480361" y="112823"/>
                  </a:lnTo>
                  <a:lnTo>
                    <a:pt x="480768" y="101181"/>
                  </a:lnTo>
                  <a:lnTo>
                    <a:pt x="482746" y="101192"/>
                  </a:lnTo>
                  <a:lnTo>
                    <a:pt x="483667" y="102053"/>
                  </a:lnTo>
                  <a:lnTo>
                    <a:pt x="485126" y="102505"/>
                  </a:lnTo>
                  <a:lnTo>
                    <a:pt x="486663" y="101522"/>
                  </a:lnTo>
                  <a:lnTo>
                    <a:pt x="487968" y="101068"/>
                  </a:lnTo>
                  <a:lnTo>
                    <a:pt x="490042" y="101028"/>
                  </a:lnTo>
                  <a:lnTo>
                    <a:pt x="491157" y="99924"/>
                  </a:lnTo>
                  <a:lnTo>
                    <a:pt x="492464" y="99746"/>
                  </a:lnTo>
                  <a:lnTo>
                    <a:pt x="493360" y="100346"/>
                  </a:lnTo>
                  <a:lnTo>
                    <a:pt x="494228" y="101068"/>
                  </a:lnTo>
                  <a:lnTo>
                    <a:pt x="496072" y="101231"/>
                  </a:lnTo>
                  <a:lnTo>
                    <a:pt x="497531" y="103118"/>
                  </a:lnTo>
                  <a:lnTo>
                    <a:pt x="499144" y="103693"/>
                  </a:lnTo>
                  <a:lnTo>
                    <a:pt x="499827" y="105859"/>
                  </a:lnTo>
                  <a:lnTo>
                    <a:pt x="500866" y="111571"/>
                  </a:lnTo>
                  <a:lnTo>
                    <a:pt x="502801" y="114938"/>
                  </a:lnTo>
                  <a:lnTo>
                    <a:pt x="504718" y="118776"/>
                  </a:lnTo>
                  <a:lnTo>
                    <a:pt x="504788" y="120490"/>
                  </a:lnTo>
                  <a:lnTo>
                    <a:pt x="503714" y="122219"/>
                  </a:lnTo>
                  <a:lnTo>
                    <a:pt x="503530" y="124702"/>
                  </a:lnTo>
                  <a:lnTo>
                    <a:pt x="502860" y="130777"/>
                  </a:lnTo>
                  <a:lnTo>
                    <a:pt x="502639" y="133013"/>
                  </a:lnTo>
                  <a:lnTo>
                    <a:pt x="503302" y="134541"/>
                  </a:lnTo>
                  <a:lnTo>
                    <a:pt x="503552" y="136669"/>
                  </a:lnTo>
                  <a:lnTo>
                    <a:pt x="502507" y="139273"/>
                  </a:lnTo>
                  <a:lnTo>
                    <a:pt x="500487" y="143168"/>
                  </a:lnTo>
                  <a:lnTo>
                    <a:pt x="498524" y="144218"/>
                  </a:lnTo>
                  <a:lnTo>
                    <a:pt x="498022" y="144260"/>
                  </a:lnTo>
                  <a:lnTo>
                    <a:pt x="495366" y="146516"/>
                  </a:lnTo>
                  <a:lnTo>
                    <a:pt x="493497" y="147361"/>
                  </a:lnTo>
                  <a:lnTo>
                    <a:pt x="492417" y="146791"/>
                  </a:lnTo>
                  <a:lnTo>
                    <a:pt x="491180" y="147769"/>
                  </a:lnTo>
                  <a:lnTo>
                    <a:pt x="489788" y="150294"/>
                  </a:lnTo>
                  <a:lnTo>
                    <a:pt x="488092" y="151429"/>
                  </a:lnTo>
                  <a:lnTo>
                    <a:pt x="485020" y="152056"/>
                  </a:lnTo>
                  <a:lnTo>
                    <a:pt x="484104" y="152352"/>
                  </a:lnTo>
                  <a:lnTo>
                    <a:pt x="482312" y="152263"/>
                  </a:lnTo>
                  <a:lnTo>
                    <a:pt x="480778" y="152894"/>
                  </a:lnTo>
                  <a:lnTo>
                    <a:pt x="479500" y="154245"/>
                  </a:lnTo>
                  <a:lnTo>
                    <a:pt x="478134" y="154747"/>
                  </a:lnTo>
                  <a:lnTo>
                    <a:pt x="476680" y="154408"/>
                  </a:lnTo>
                  <a:lnTo>
                    <a:pt x="475361" y="154902"/>
                  </a:lnTo>
                  <a:lnTo>
                    <a:pt x="474179" y="156233"/>
                  </a:lnTo>
                  <a:lnTo>
                    <a:pt x="473493" y="157676"/>
                  </a:lnTo>
                  <a:lnTo>
                    <a:pt x="473304" y="159226"/>
                  </a:lnTo>
                  <a:lnTo>
                    <a:pt x="472146" y="160284"/>
                  </a:lnTo>
                  <a:lnTo>
                    <a:pt x="470015" y="160848"/>
                  </a:lnTo>
                  <a:lnTo>
                    <a:pt x="469278" y="161629"/>
                  </a:lnTo>
                  <a:lnTo>
                    <a:pt x="469408" y="162715"/>
                  </a:lnTo>
                  <a:lnTo>
                    <a:pt x="468453" y="163561"/>
                  </a:lnTo>
                  <a:lnTo>
                    <a:pt x="464847" y="164438"/>
                  </a:lnTo>
                  <a:lnTo>
                    <a:pt x="462243" y="166005"/>
                  </a:lnTo>
                  <a:lnTo>
                    <a:pt x="460636" y="168249"/>
                  </a:lnTo>
                  <a:lnTo>
                    <a:pt x="458941" y="169664"/>
                  </a:lnTo>
                  <a:lnTo>
                    <a:pt x="456260" y="170532"/>
                  </a:lnTo>
                  <a:lnTo>
                    <a:pt x="452632" y="172814"/>
                  </a:lnTo>
                  <a:lnTo>
                    <a:pt x="452111" y="174224"/>
                  </a:lnTo>
                  <a:lnTo>
                    <a:pt x="453493" y="175525"/>
                  </a:lnTo>
                  <a:lnTo>
                    <a:pt x="453988" y="176682"/>
                  </a:lnTo>
                  <a:lnTo>
                    <a:pt x="453601" y="177691"/>
                  </a:lnTo>
                  <a:lnTo>
                    <a:pt x="452467" y="177827"/>
                  </a:lnTo>
                  <a:lnTo>
                    <a:pt x="450588" y="177089"/>
                  </a:lnTo>
                  <a:lnTo>
                    <a:pt x="449249" y="176936"/>
                  </a:lnTo>
                  <a:lnTo>
                    <a:pt x="448448" y="177371"/>
                  </a:lnTo>
                  <a:lnTo>
                    <a:pt x="448069" y="178185"/>
                  </a:lnTo>
                  <a:lnTo>
                    <a:pt x="448114" y="179384"/>
                  </a:lnTo>
                  <a:lnTo>
                    <a:pt x="447442" y="180199"/>
                  </a:lnTo>
                  <a:lnTo>
                    <a:pt x="446054" y="180631"/>
                  </a:lnTo>
                  <a:lnTo>
                    <a:pt x="445174" y="181622"/>
                  </a:lnTo>
                  <a:lnTo>
                    <a:pt x="444803" y="183170"/>
                  </a:lnTo>
                  <a:lnTo>
                    <a:pt x="443063" y="185122"/>
                  </a:lnTo>
                  <a:lnTo>
                    <a:pt x="439953" y="187473"/>
                  </a:lnTo>
                  <a:lnTo>
                    <a:pt x="437497" y="190650"/>
                  </a:lnTo>
                  <a:lnTo>
                    <a:pt x="435699" y="194643"/>
                  </a:lnTo>
                  <a:lnTo>
                    <a:pt x="433602" y="197270"/>
                  </a:lnTo>
                  <a:lnTo>
                    <a:pt x="431201" y="198529"/>
                  </a:lnTo>
                  <a:lnTo>
                    <a:pt x="429548" y="200322"/>
                  </a:lnTo>
                  <a:lnTo>
                    <a:pt x="428644" y="202651"/>
                  </a:lnTo>
                  <a:lnTo>
                    <a:pt x="426084" y="206261"/>
                  </a:lnTo>
                  <a:lnTo>
                    <a:pt x="421871" y="211157"/>
                  </a:lnTo>
                  <a:lnTo>
                    <a:pt x="418049" y="214519"/>
                  </a:lnTo>
                  <a:lnTo>
                    <a:pt x="414618" y="216346"/>
                  </a:lnTo>
                  <a:lnTo>
                    <a:pt x="412691" y="218408"/>
                  </a:lnTo>
                  <a:lnTo>
                    <a:pt x="412265" y="220709"/>
                  </a:lnTo>
                  <a:lnTo>
                    <a:pt x="410039" y="223330"/>
                  </a:lnTo>
                  <a:lnTo>
                    <a:pt x="406017" y="226275"/>
                  </a:lnTo>
                  <a:lnTo>
                    <a:pt x="404876" y="227604"/>
                  </a:lnTo>
                  <a:lnTo>
                    <a:pt x="403941" y="228692"/>
                  </a:lnTo>
                  <a:lnTo>
                    <a:pt x="403811" y="230585"/>
                  </a:lnTo>
                  <a:lnTo>
                    <a:pt x="402244" y="233073"/>
                  </a:lnTo>
                  <a:lnTo>
                    <a:pt x="399238" y="236156"/>
                  </a:lnTo>
                  <a:lnTo>
                    <a:pt x="398191" y="238824"/>
                  </a:lnTo>
                  <a:lnTo>
                    <a:pt x="399559" y="242196"/>
                  </a:lnTo>
                  <a:lnTo>
                    <a:pt x="399761" y="246284"/>
                  </a:lnTo>
                  <a:lnTo>
                    <a:pt x="399165" y="247928"/>
                  </a:lnTo>
                  <a:lnTo>
                    <a:pt x="397841" y="248485"/>
                  </a:lnTo>
                  <a:lnTo>
                    <a:pt x="397538" y="249540"/>
                  </a:lnTo>
                  <a:lnTo>
                    <a:pt x="398253" y="251100"/>
                  </a:lnTo>
                  <a:lnTo>
                    <a:pt x="398295" y="253149"/>
                  </a:lnTo>
                  <a:lnTo>
                    <a:pt x="397662" y="255692"/>
                  </a:lnTo>
                  <a:lnTo>
                    <a:pt x="396268" y="258604"/>
                  </a:lnTo>
                  <a:lnTo>
                    <a:pt x="394111" y="261885"/>
                  </a:lnTo>
                  <a:lnTo>
                    <a:pt x="393593" y="264079"/>
                  </a:lnTo>
                  <a:lnTo>
                    <a:pt x="394713" y="265184"/>
                  </a:lnTo>
                  <a:lnTo>
                    <a:pt x="395263" y="266356"/>
                  </a:lnTo>
                  <a:lnTo>
                    <a:pt x="395241" y="267603"/>
                  </a:lnTo>
                  <a:lnTo>
                    <a:pt x="394781" y="269408"/>
                  </a:lnTo>
                  <a:lnTo>
                    <a:pt x="393884" y="271773"/>
                  </a:lnTo>
                  <a:lnTo>
                    <a:pt x="392528" y="273531"/>
                  </a:lnTo>
                  <a:lnTo>
                    <a:pt x="390711" y="274678"/>
                  </a:lnTo>
                  <a:lnTo>
                    <a:pt x="390166" y="276126"/>
                  </a:lnTo>
                  <a:lnTo>
                    <a:pt x="390891" y="277877"/>
                  </a:lnTo>
                  <a:lnTo>
                    <a:pt x="390993" y="279706"/>
                  </a:lnTo>
                  <a:lnTo>
                    <a:pt x="390471" y="281605"/>
                  </a:lnTo>
                  <a:lnTo>
                    <a:pt x="390779" y="283457"/>
                  </a:lnTo>
                  <a:lnTo>
                    <a:pt x="391922" y="285261"/>
                  </a:lnTo>
                  <a:lnTo>
                    <a:pt x="391839" y="287316"/>
                  </a:lnTo>
                  <a:lnTo>
                    <a:pt x="389857" y="291539"/>
                  </a:lnTo>
                  <a:lnTo>
                    <a:pt x="389380" y="294144"/>
                  </a:lnTo>
                  <a:lnTo>
                    <a:pt x="390622" y="305316"/>
                  </a:lnTo>
                  <a:lnTo>
                    <a:pt x="389867" y="306884"/>
                  </a:lnTo>
                  <a:lnTo>
                    <a:pt x="388609" y="308686"/>
                  </a:lnTo>
                  <a:lnTo>
                    <a:pt x="387126" y="308816"/>
                  </a:lnTo>
                  <a:lnTo>
                    <a:pt x="385425" y="308504"/>
                  </a:lnTo>
                  <a:lnTo>
                    <a:pt x="384196" y="309627"/>
                  </a:lnTo>
                  <a:lnTo>
                    <a:pt x="383425" y="314571"/>
                  </a:lnTo>
                  <a:lnTo>
                    <a:pt x="381082" y="325294"/>
                  </a:lnTo>
                  <a:lnTo>
                    <a:pt x="381506" y="327842"/>
                  </a:lnTo>
                  <a:lnTo>
                    <a:pt x="383380" y="331980"/>
                  </a:lnTo>
                  <a:lnTo>
                    <a:pt x="384068" y="334617"/>
                  </a:lnTo>
                  <a:lnTo>
                    <a:pt x="384587" y="336609"/>
                  </a:lnTo>
                  <a:lnTo>
                    <a:pt x="385006" y="340382"/>
                  </a:lnTo>
                  <a:lnTo>
                    <a:pt x="383916" y="342082"/>
                  </a:lnTo>
                  <a:lnTo>
                    <a:pt x="382908" y="342381"/>
                  </a:lnTo>
                  <a:lnTo>
                    <a:pt x="381634" y="343330"/>
                  </a:lnTo>
                  <a:lnTo>
                    <a:pt x="383137" y="347938"/>
                  </a:lnTo>
                  <a:lnTo>
                    <a:pt x="384336" y="350062"/>
                  </a:lnTo>
                  <a:lnTo>
                    <a:pt x="387773" y="354411"/>
                  </a:lnTo>
                  <a:lnTo>
                    <a:pt x="400953" y="360462"/>
                  </a:lnTo>
                  <a:lnTo>
                    <a:pt x="406423" y="364034"/>
                  </a:lnTo>
                  <a:lnTo>
                    <a:pt x="412615" y="368906"/>
                  </a:lnTo>
                  <a:lnTo>
                    <a:pt x="415987" y="373914"/>
                  </a:lnTo>
                  <a:lnTo>
                    <a:pt x="416285" y="378047"/>
                  </a:lnTo>
                  <a:lnTo>
                    <a:pt x="411341" y="384231"/>
                  </a:lnTo>
                  <a:lnTo>
                    <a:pt x="410794" y="389431"/>
                  </a:lnTo>
                  <a:lnTo>
                    <a:pt x="411809" y="393089"/>
                  </a:lnTo>
                  <a:lnTo>
                    <a:pt x="413595" y="396488"/>
                  </a:lnTo>
                  <a:lnTo>
                    <a:pt x="418383" y="400912"/>
                  </a:lnTo>
                  <a:lnTo>
                    <a:pt x="421908" y="402530"/>
                  </a:lnTo>
                  <a:lnTo>
                    <a:pt x="426668" y="402354"/>
                  </a:lnTo>
                  <a:lnTo>
                    <a:pt x="427481" y="403590"/>
                  </a:lnTo>
                  <a:lnTo>
                    <a:pt x="427969" y="404676"/>
                  </a:lnTo>
                  <a:lnTo>
                    <a:pt x="428726" y="413651"/>
                  </a:lnTo>
                  <a:lnTo>
                    <a:pt x="428631" y="417028"/>
                  </a:lnTo>
                  <a:lnTo>
                    <a:pt x="427233" y="420130"/>
                  </a:lnTo>
                  <a:lnTo>
                    <a:pt x="418092" y="434404"/>
                  </a:lnTo>
                  <a:lnTo>
                    <a:pt x="410280" y="443142"/>
                  </a:lnTo>
                  <a:lnTo>
                    <a:pt x="407452" y="447977"/>
                  </a:lnTo>
                  <a:lnTo>
                    <a:pt x="406445" y="453161"/>
                  </a:lnTo>
                  <a:lnTo>
                    <a:pt x="403945" y="455633"/>
                  </a:lnTo>
                  <a:lnTo>
                    <a:pt x="390414" y="463478"/>
                  </a:lnTo>
                  <a:lnTo>
                    <a:pt x="369419" y="470493"/>
                  </a:lnTo>
                  <a:lnTo>
                    <a:pt x="352455" y="474141"/>
                  </a:lnTo>
                  <a:lnTo>
                    <a:pt x="348599" y="475370"/>
                  </a:lnTo>
                  <a:lnTo>
                    <a:pt x="321325" y="479390"/>
                  </a:lnTo>
                  <a:lnTo>
                    <a:pt x="316044" y="479954"/>
                  </a:lnTo>
                  <a:lnTo>
                    <a:pt x="309181" y="479596"/>
                  </a:lnTo>
                  <a:lnTo>
                    <a:pt x="303611" y="480128"/>
                  </a:lnTo>
                  <a:lnTo>
                    <a:pt x="297389" y="479031"/>
                  </a:lnTo>
                  <a:lnTo>
                    <a:pt x="291837" y="477767"/>
                  </a:lnTo>
                  <a:lnTo>
                    <a:pt x="288734" y="474633"/>
                  </a:lnTo>
                  <a:lnTo>
                    <a:pt x="285045" y="474241"/>
                  </a:lnTo>
                  <a:lnTo>
                    <a:pt x="284038" y="475806"/>
                  </a:lnTo>
                  <a:lnTo>
                    <a:pt x="285835" y="479810"/>
                  </a:lnTo>
                  <a:lnTo>
                    <a:pt x="284960" y="484630"/>
                  </a:lnTo>
                  <a:lnTo>
                    <a:pt x="286052" y="487382"/>
                  </a:lnTo>
                  <a:lnTo>
                    <a:pt x="288231" y="487933"/>
                  </a:lnTo>
                  <a:lnTo>
                    <a:pt x="290326" y="489358"/>
                  </a:lnTo>
                  <a:lnTo>
                    <a:pt x="292173" y="491262"/>
                  </a:lnTo>
                  <a:lnTo>
                    <a:pt x="288986" y="491459"/>
                  </a:lnTo>
                  <a:lnTo>
                    <a:pt x="290222" y="492979"/>
                  </a:lnTo>
                  <a:lnTo>
                    <a:pt x="291586" y="493871"/>
                  </a:lnTo>
                  <a:lnTo>
                    <a:pt x="291434" y="497052"/>
                  </a:lnTo>
                  <a:lnTo>
                    <a:pt x="290197" y="504717"/>
                  </a:lnTo>
                  <a:lnTo>
                    <a:pt x="287094" y="506362"/>
                  </a:lnTo>
                  <a:lnTo>
                    <a:pt x="286258" y="506805"/>
                  </a:lnTo>
                  <a:lnTo>
                    <a:pt x="285318" y="508460"/>
                  </a:lnTo>
                  <a:lnTo>
                    <a:pt x="283343" y="515817"/>
                  </a:lnTo>
                  <a:lnTo>
                    <a:pt x="282705" y="520594"/>
                  </a:lnTo>
                  <a:lnTo>
                    <a:pt x="283553" y="523679"/>
                  </a:lnTo>
                  <a:lnTo>
                    <a:pt x="287287" y="530165"/>
                  </a:lnTo>
                  <a:lnTo>
                    <a:pt x="285878" y="534379"/>
                  </a:lnTo>
                  <a:lnTo>
                    <a:pt x="283516" y="536673"/>
                  </a:lnTo>
                  <a:lnTo>
                    <a:pt x="273299" y="541389"/>
                  </a:lnTo>
                  <a:lnTo>
                    <a:pt x="269215" y="543275"/>
                  </a:lnTo>
                  <a:lnTo>
                    <a:pt x="262780" y="544568"/>
                  </a:lnTo>
                  <a:lnTo>
                    <a:pt x="252410" y="544789"/>
                  </a:lnTo>
                  <a:lnTo>
                    <a:pt x="248576" y="544494"/>
                  </a:lnTo>
                  <a:lnTo>
                    <a:pt x="239697" y="540202"/>
                  </a:lnTo>
                  <a:lnTo>
                    <a:pt x="233097" y="537628"/>
                  </a:lnTo>
                  <a:lnTo>
                    <a:pt x="227062" y="535580"/>
                  </a:lnTo>
                  <a:lnTo>
                    <a:pt x="221192" y="534353"/>
                  </a:lnTo>
                  <a:lnTo>
                    <a:pt x="222031" y="533736"/>
                  </a:lnTo>
                  <a:lnTo>
                    <a:pt x="222424" y="532630"/>
                  </a:lnTo>
                  <a:lnTo>
                    <a:pt x="220773" y="532006"/>
                  </a:lnTo>
                  <a:lnTo>
                    <a:pt x="219572" y="531871"/>
                  </a:lnTo>
                  <a:lnTo>
                    <a:pt x="215703" y="534097"/>
                  </a:lnTo>
                  <a:lnTo>
                    <a:pt x="214081" y="536367"/>
                  </a:lnTo>
                  <a:lnTo>
                    <a:pt x="213613" y="538367"/>
                  </a:lnTo>
                  <a:lnTo>
                    <a:pt x="213534" y="543155"/>
                  </a:lnTo>
                  <a:lnTo>
                    <a:pt x="214221" y="547176"/>
                  </a:lnTo>
                  <a:lnTo>
                    <a:pt x="217001" y="557110"/>
                  </a:lnTo>
                  <a:lnTo>
                    <a:pt x="217285" y="562519"/>
                  </a:lnTo>
                  <a:lnTo>
                    <a:pt x="215965" y="569354"/>
                  </a:lnTo>
                  <a:lnTo>
                    <a:pt x="217809" y="573378"/>
                  </a:lnTo>
                  <a:lnTo>
                    <a:pt x="220049" y="575199"/>
                  </a:lnTo>
                  <a:lnTo>
                    <a:pt x="225083" y="576998"/>
                  </a:lnTo>
                  <a:lnTo>
                    <a:pt x="227037" y="578225"/>
                  </a:lnTo>
                  <a:lnTo>
                    <a:pt x="229185" y="578029"/>
                  </a:lnTo>
                  <a:lnTo>
                    <a:pt x="229845" y="578506"/>
                  </a:lnTo>
                  <a:lnTo>
                    <a:pt x="229527" y="579391"/>
                  </a:lnTo>
                  <a:lnTo>
                    <a:pt x="228263" y="581124"/>
                  </a:lnTo>
                  <a:lnTo>
                    <a:pt x="228342" y="582959"/>
                  </a:lnTo>
                  <a:lnTo>
                    <a:pt x="232160" y="583502"/>
                  </a:lnTo>
                  <a:lnTo>
                    <a:pt x="236111" y="583132"/>
                  </a:lnTo>
                  <a:lnTo>
                    <a:pt x="240262" y="582320"/>
                  </a:lnTo>
                  <a:lnTo>
                    <a:pt x="241242" y="581046"/>
                  </a:lnTo>
                  <a:lnTo>
                    <a:pt x="241269" y="578381"/>
                  </a:lnTo>
                  <a:lnTo>
                    <a:pt x="236407" y="577912"/>
                  </a:lnTo>
                  <a:lnTo>
                    <a:pt x="237026" y="576920"/>
                  </a:lnTo>
                  <a:lnTo>
                    <a:pt x="240709" y="575839"/>
                  </a:lnTo>
                  <a:lnTo>
                    <a:pt x="245537" y="574065"/>
                  </a:lnTo>
                  <a:lnTo>
                    <a:pt x="248005" y="573738"/>
                  </a:lnTo>
                  <a:lnTo>
                    <a:pt x="249680" y="574928"/>
                  </a:lnTo>
                  <a:lnTo>
                    <a:pt x="250813" y="576017"/>
                  </a:lnTo>
                  <a:lnTo>
                    <a:pt x="252205" y="578887"/>
                  </a:lnTo>
                  <a:lnTo>
                    <a:pt x="253066" y="582668"/>
                  </a:lnTo>
                  <a:lnTo>
                    <a:pt x="253104" y="587225"/>
                  </a:lnTo>
                  <a:lnTo>
                    <a:pt x="252523" y="591520"/>
                  </a:lnTo>
                  <a:lnTo>
                    <a:pt x="251835" y="593050"/>
                  </a:lnTo>
                  <a:lnTo>
                    <a:pt x="250618" y="594876"/>
                  </a:lnTo>
                  <a:lnTo>
                    <a:pt x="241938" y="597208"/>
                  </a:lnTo>
                  <a:lnTo>
                    <a:pt x="239507" y="596599"/>
                  </a:lnTo>
                  <a:lnTo>
                    <a:pt x="237244" y="593352"/>
                  </a:lnTo>
                  <a:lnTo>
                    <a:pt x="236533" y="589997"/>
                  </a:lnTo>
                  <a:lnTo>
                    <a:pt x="234598" y="587737"/>
                  </a:lnTo>
                  <a:lnTo>
                    <a:pt x="230451" y="585938"/>
                  </a:lnTo>
                  <a:lnTo>
                    <a:pt x="226326" y="586488"/>
                  </a:lnTo>
                  <a:lnTo>
                    <a:pt x="222232" y="589603"/>
                  </a:lnTo>
                  <a:lnTo>
                    <a:pt x="218207" y="590616"/>
                  </a:lnTo>
                  <a:lnTo>
                    <a:pt x="216782" y="593454"/>
                  </a:lnTo>
                  <a:lnTo>
                    <a:pt x="226866" y="598060"/>
                  </a:lnTo>
                  <a:lnTo>
                    <a:pt x="231624" y="599339"/>
                  </a:lnTo>
                  <a:lnTo>
                    <a:pt x="233175" y="599295"/>
                  </a:lnTo>
                  <a:lnTo>
                    <a:pt x="234728" y="599901"/>
                  </a:lnTo>
                  <a:lnTo>
                    <a:pt x="233294" y="601611"/>
                  </a:lnTo>
                  <a:lnTo>
                    <a:pt x="231860" y="602674"/>
                  </a:lnTo>
                  <a:lnTo>
                    <a:pt x="224685" y="605023"/>
                  </a:lnTo>
                  <a:lnTo>
                    <a:pt x="221522" y="606665"/>
                  </a:lnTo>
                  <a:lnTo>
                    <a:pt x="217830" y="609889"/>
                  </a:lnTo>
                  <a:lnTo>
                    <a:pt x="212652" y="616939"/>
                  </a:lnTo>
                  <a:lnTo>
                    <a:pt x="211065" y="618477"/>
                  </a:lnTo>
                  <a:lnTo>
                    <a:pt x="210273" y="620274"/>
                  </a:lnTo>
                  <a:lnTo>
                    <a:pt x="209739" y="625147"/>
                  </a:lnTo>
                  <a:lnTo>
                    <a:pt x="211414" y="633247"/>
                  </a:lnTo>
                  <a:lnTo>
                    <a:pt x="209644" y="636648"/>
                  </a:lnTo>
                  <a:lnTo>
                    <a:pt x="210732" y="640425"/>
                  </a:lnTo>
                  <a:lnTo>
                    <a:pt x="210115" y="642948"/>
                  </a:lnTo>
                  <a:lnTo>
                    <a:pt x="208303" y="646582"/>
                  </a:lnTo>
                  <a:lnTo>
                    <a:pt x="201043" y="652326"/>
                  </a:lnTo>
                  <a:lnTo>
                    <a:pt x="199756" y="656539"/>
                  </a:lnTo>
                  <a:lnTo>
                    <a:pt x="202272" y="659023"/>
                  </a:lnTo>
                  <a:lnTo>
                    <a:pt x="202105" y="661197"/>
                  </a:lnTo>
                  <a:lnTo>
                    <a:pt x="201267" y="663165"/>
                  </a:lnTo>
                  <a:lnTo>
                    <a:pt x="198251" y="663144"/>
                  </a:lnTo>
                  <a:lnTo>
                    <a:pt x="187286" y="661815"/>
                  </a:lnTo>
                  <a:lnTo>
                    <a:pt x="183289" y="663973"/>
                  </a:lnTo>
                  <a:lnTo>
                    <a:pt x="179591" y="666607"/>
                  </a:lnTo>
                  <a:lnTo>
                    <a:pt x="178581" y="667870"/>
                  </a:lnTo>
                  <a:lnTo>
                    <a:pt x="177273" y="668659"/>
                  </a:lnTo>
                  <a:lnTo>
                    <a:pt x="169731" y="670063"/>
                  </a:lnTo>
                  <a:lnTo>
                    <a:pt x="168236" y="670996"/>
                  </a:lnTo>
                  <a:lnTo>
                    <a:pt x="160219" y="681065"/>
                  </a:lnTo>
                  <a:lnTo>
                    <a:pt x="156785" y="687325"/>
                  </a:lnTo>
                  <a:lnTo>
                    <a:pt x="152637" y="693477"/>
                  </a:lnTo>
                  <a:lnTo>
                    <a:pt x="151548" y="696087"/>
                  </a:lnTo>
                  <a:lnTo>
                    <a:pt x="151312" y="699709"/>
                  </a:lnTo>
                  <a:lnTo>
                    <a:pt x="151890" y="702971"/>
                  </a:lnTo>
                  <a:lnTo>
                    <a:pt x="152466" y="705381"/>
                  </a:lnTo>
                  <a:lnTo>
                    <a:pt x="153909" y="708476"/>
                  </a:lnTo>
                  <a:lnTo>
                    <a:pt x="156948" y="712011"/>
                  </a:lnTo>
                  <a:lnTo>
                    <a:pt x="172409" y="726445"/>
                  </a:lnTo>
                  <a:lnTo>
                    <a:pt x="175616" y="727708"/>
                  </a:lnTo>
                  <a:lnTo>
                    <a:pt x="192144" y="729259"/>
                  </a:lnTo>
                  <a:lnTo>
                    <a:pt x="195819" y="731277"/>
                  </a:lnTo>
                  <a:lnTo>
                    <a:pt x="197963" y="734485"/>
                  </a:lnTo>
                  <a:lnTo>
                    <a:pt x="198748" y="737316"/>
                  </a:lnTo>
                  <a:lnTo>
                    <a:pt x="197802" y="744504"/>
                  </a:lnTo>
                  <a:lnTo>
                    <a:pt x="196816" y="746752"/>
                  </a:lnTo>
                  <a:lnTo>
                    <a:pt x="194989" y="748796"/>
                  </a:lnTo>
                  <a:lnTo>
                    <a:pt x="191077" y="751433"/>
                  </a:lnTo>
                  <a:lnTo>
                    <a:pt x="186396" y="752836"/>
                  </a:lnTo>
                  <a:lnTo>
                    <a:pt x="187736" y="753832"/>
                  </a:lnTo>
                  <a:lnTo>
                    <a:pt x="189639" y="753690"/>
                  </a:lnTo>
                  <a:lnTo>
                    <a:pt x="193775" y="752836"/>
                  </a:lnTo>
                  <a:lnTo>
                    <a:pt x="195564" y="753690"/>
                  </a:lnTo>
                  <a:lnTo>
                    <a:pt x="196924" y="756530"/>
                  </a:lnTo>
                  <a:lnTo>
                    <a:pt x="194335" y="757684"/>
                  </a:lnTo>
                  <a:lnTo>
                    <a:pt x="193542" y="759061"/>
                  </a:lnTo>
                  <a:lnTo>
                    <a:pt x="191672" y="761163"/>
                  </a:lnTo>
                  <a:lnTo>
                    <a:pt x="182134" y="769534"/>
                  </a:lnTo>
                  <a:lnTo>
                    <a:pt x="176987" y="772041"/>
                  </a:lnTo>
                  <a:lnTo>
                    <a:pt x="172258" y="775404"/>
                  </a:lnTo>
                  <a:lnTo>
                    <a:pt x="165912" y="778817"/>
                  </a:lnTo>
                  <a:lnTo>
                    <a:pt x="163431" y="780778"/>
                  </a:lnTo>
                  <a:lnTo>
                    <a:pt x="160074" y="784900"/>
                  </a:lnTo>
                  <a:lnTo>
                    <a:pt x="154927" y="789394"/>
                  </a:lnTo>
                  <a:lnTo>
                    <a:pt x="149386" y="799054"/>
                  </a:lnTo>
                  <a:lnTo>
                    <a:pt x="149161" y="800936"/>
                  </a:lnTo>
                  <a:lnTo>
                    <a:pt x="149966" y="802191"/>
                  </a:lnTo>
                  <a:lnTo>
                    <a:pt x="146885" y="819214"/>
                  </a:lnTo>
                  <a:lnTo>
                    <a:pt x="145808" y="821222"/>
                  </a:lnTo>
                  <a:lnTo>
                    <a:pt x="143576" y="823367"/>
                  </a:lnTo>
                  <a:lnTo>
                    <a:pt x="137702" y="826908"/>
                  </a:lnTo>
                  <a:lnTo>
                    <a:pt x="134873" y="827345"/>
                  </a:lnTo>
                  <a:lnTo>
                    <a:pt x="131134" y="825294"/>
                  </a:lnTo>
                  <a:lnTo>
                    <a:pt x="129023" y="823150"/>
                  </a:lnTo>
                  <a:lnTo>
                    <a:pt x="126959" y="819482"/>
                  </a:lnTo>
                  <a:lnTo>
                    <a:pt x="124467" y="815702"/>
                  </a:lnTo>
                  <a:lnTo>
                    <a:pt x="124338" y="817053"/>
                  </a:lnTo>
                  <a:lnTo>
                    <a:pt x="125205" y="819350"/>
                  </a:lnTo>
                  <a:lnTo>
                    <a:pt x="124618" y="821755"/>
                  </a:lnTo>
                  <a:lnTo>
                    <a:pt x="118244" y="822846"/>
                  </a:lnTo>
                  <a:lnTo>
                    <a:pt x="116556" y="823982"/>
                  </a:lnTo>
                  <a:lnTo>
                    <a:pt x="122309" y="823474"/>
                  </a:lnTo>
                  <a:lnTo>
                    <a:pt x="126233" y="824194"/>
                  </a:lnTo>
                  <a:lnTo>
                    <a:pt x="127890" y="825078"/>
                  </a:lnTo>
                  <a:lnTo>
                    <a:pt x="129382" y="826908"/>
                  </a:lnTo>
                  <a:lnTo>
                    <a:pt x="130698" y="829112"/>
                  </a:lnTo>
                  <a:lnTo>
                    <a:pt x="129593" y="830333"/>
                  </a:lnTo>
                  <a:lnTo>
                    <a:pt x="126451" y="831345"/>
                  </a:lnTo>
                  <a:lnTo>
                    <a:pt x="122380" y="833202"/>
                  </a:lnTo>
                  <a:lnTo>
                    <a:pt x="117573" y="836565"/>
                  </a:lnTo>
                  <a:lnTo>
                    <a:pt x="114902" y="840451"/>
                  </a:lnTo>
                  <a:lnTo>
                    <a:pt x="113751" y="843249"/>
                  </a:lnTo>
                  <a:lnTo>
                    <a:pt x="112453" y="848901"/>
                  </a:lnTo>
                  <a:lnTo>
                    <a:pt x="112108" y="852642"/>
                  </a:lnTo>
                  <a:lnTo>
                    <a:pt x="110076" y="855523"/>
                  </a:lnTo>
                  <a:lnTo>
                    <a:pt x="106945" y="858121"/>
                  </a:lnTo>
                  <a:lnTo>
                    <a:pt x="107118" y="858712"/>
                  </a:lnTo>
                  <a:lnTo>
                    <a:pt x="109243" y="857384"/>
                  </a:lnTo>
                  <a:lnTo>
                    <a:pt x="110940" y="856966"/>
                  </a:lnTo>
                  <a:lnTo>
                    <a:pt x="112399" y="860428"/>
                  </a:lnTo>
                  <a:lnTo>
                    <a:pt x="114371" y="867363"/>
                  </a:lnTo>
                  <a:lnTo>
                    <a:pt x="115287" y="872174"/>
                  </a:lnTo>
                  <a:lnTo>
                    <a:pt x="115143" y="873605"/>
                  </a:lnTo>
                  <a:lnTo>
                    <a:pt x="114559" y="875567"/>
                  </a:lnTo>
                  <a:lnTo>
                    <a:pt x="110508" y="876042"/>
                  </a:lnTo>
                  <a:lnTo>
                    <a:pt x="106896" y="875982"/>
                  </a:lnTo>
                  <a:lnTo>
                    <a:pt x="104236" y="876825"/>
                  </a:lnTo>
                  <a:lnTo>
                    <a:pt x="105665" y="877695"/>
                  </a:lnTo>
                  <a:lnTo>
                    <a:pt x="108101" y="877386"/>
                  </a:lnTo>
                  <a:lnTo>
                    <a:pt x="111470" y="879452"/>
                  </a:lnTo>
                  <a:lnTo>
                    <a:pt x="115213" y="878571"/>
                  </a:lnTo>
                  <a:lnTo>
                    <a:pt x="116917" y="879953"/>
                  </a:lnTo>
                  <a:lnTo>
                    <a:pt x="118147" y="881220"/>
                  </a:lnTo>
                  <a:lnTo>
                    <a:pt x="123877" y="891323"/>
                  </a:lnTo>
                  <a:lnTo>
                    <a:pt x="128881" y="897586"/>
                  </a:lnTo>
                  <a:lnTo>
                    <a:pt x="131411" y="901310"/>
                  </a:lnTo>
                  <a:lnTo>
                    <a:pt x="130153" y="902999"/>
                  </a:lnTo>
                  <a:lnTo>
                    <a:pt x="129706" y="900744"/>
                  </a:lnTo>
                  <a:lnTo>
                    <a:pt x="126440" y="900163"/>
                  </a:lnTo>
                  <a:lnTo>
                    <a:pt x="123259" y="899555"/>
                  </a:lnTo>
                  <a:lnTo>
                    <a:pt x="117951" y="897944"/>
                  </a:lnTo>
                  <a:lnTo>
                    <a:pt x="110809" y="895499"/>
                  </a:lnTo>
                  <a:lnTo>
                    <a:pt x="103653" y="895499"/>
                  </a:lnTo>
                  <a:lnTo>
                    <a:pt x="97969" y="893436"/>
                  </a:lnTo>
                  <a:lnTo>
                    <a:pt x="91689" y="891156"/>
                  </a:lnTo>
                  <a:lnTo>
                    <a:pt x="78438" y="890955"/>
                  </a:lnTo>
                  <a:lnTo>
                    <a:pt x="66766" y="890816"/>
                  </a:lnTo>
                  <a:lnTo>
                    <a:pt x="54808" y="890674"/>
                  </a:lnTo>
                  <a:lnTo>
                    <a:pt x="47155" y="890584"/>
                  </a:lnTo>
                  <a:lnTo>
                    <a:pt x="42032" y="890525"/>
                  </a:lnTo>
                  <a:lnTo>
                    <a:pt x="40701" y="889663"/>
                  </a:lnTo>
                  <a:lnTo>
                    <a:pt x="41149" y="886825"/>
                  </a:lnTo>
                  <a:lnTo>
                    <a:pt x="39248" y="884736"/>
                  </a:lnTo>
                  <a:lnTo>
                    <a:pt x="36495" y="882213"/>
                  </a:lnTo>
                  <a:lnTo>
                    <a:pt x="33148" y="880425"/>
                  </a:lnTo>
                  <a:lnTo>
                    <a:pt x="31486" y="878035"/>
                  </a:lnTo>
                  <a:lnTo>
                    <a:pt x="29632" y="875352"/>
                  </a:lnTo>
                  <a:lnTo>
                    <a:pt x="30678" y="872976"/>
                  </a:lnTo>
                  <a:lnTo>
                    <a:pt x="32280" y="867208"/>
                  </a:lnTo>
                  <a:lnTo>
                    <a:pt x="32314" y="864668"/>
                  </a:lnTo>
                  <a:lnTo>
                    <a:pt x="30861" y="862892"/>
                  </a:lnTo>
                  <a:lnTo>
                    <a:pt x="30414" y="860375"/>
                  </a:lnTo>
                  <a:lnTo>
                    <a:pt x="30861" y="859194"/>
                  </a:lnTo>
                  <a:lnTo>
                    <a:pt x="32174" y="858297"/>
                  </a:lnTo>
                  <a:lnTo>
                    <a:pt x="32962" y="854174"/>
                  </a:lnTo>
                  <a:lnTo>
                    <a:pt x="32345" y="850137"/>
                  </a:lnTo>
                  <a:lnTo>
                    <a:pt x="31342" y="846541"/>
                  </a:lnTo>
                  <a:lnTo>
                    <a:pt x="30014" y="844954"/>
                  </a:lnTo>
                  <a:lnTo>
                    <a:pt x="28301" y="844202"/>
                  </a:lnTo>
                  <a:lnTo>
                    <a:pt x="27042" y="844063"/>
                  </a:lnTo>
                  <a:lnTo>
                    <a:pt x="24237" y="845401"/>
                  </a:lnTo>
                  <a:lnTo>
                    <a:pt x="19591" y="845069"/>
                  </a:lnTo>
                  <a:lnTo>
                    <a:pt x="18012" y="845584"/>
                  </a:lnTo>
                  <a:lnTo>
                    <a:pt x="15738" y="847030"/>
                  </a:lnTo>
                  <a:lnTo>
                    <a:pt x="12523" y="849162"/>
                  </a:lnTo>
                  <a:lnTo>
                    <a:pt x="10734" y="848425"/>
                  </a:lnTo>
                  <a:lnTo>
                    <a:pt x="10187" y="846147"/>
                  </a:lnTo>
                  <a:lnTo>
                    <a:pt x="8992" y="844170"/>
                  </a:lnTo>
                  <a:lnTo>
                    <a:pt x="8232" y="842428"/>
                  </a:lnTo>
                  <a:lnTo>
                    <a:pt x="7661" y="839567"/>
                  </a:lnTo>
                  <a:lnTo>
                    <a:pt x="6708" y="835886"/>
                  </a:lnTo>
                  <a:lnTo>
                    <a:pt x="4809" y="831543"/>
                  </a:lnTo>
                  <a:lnTo>
                    <a:pt x="1902" y="828031"/>
                  </a:lnTo>
                  <a:lnTo>
                    <a:pt x="1738" y="824883"/>
                  </a:lnTo>
                  <a:lnTo>
                    <a:pt x="1202" y="820935"/>
                  </a:lnTo>
                  <a:lnTo>
                    <a:pt x="2684" y="817089"/>
                  </a:lnTo>
                  <a:lnTo>
                    <a:pt x="1818" y="813904"/>
                  </a:lnTo>
                  <a:lnTo>
                    <a:pt x="0" y="810109"/>
                  </a:lnTo>
                  <a:lnTo>
                    <a:pt x="559" y="806190"/>
                  </a:lnTo>
                  <a:lnTo>
                    <a:pt x="2349" y="804013"/>
                  </a:lnTo>
                  <a:lnTo>
                    <a:pt x="2909" y="801261"/>
                  </a:lnTo>
                  <a:lnTo>
                    <a:pt x="11183" y="800827"/>
                  </a:lnTo>
                  <a:lnTo>
                    <a:pt x="10837" y="797129"/>
                  </a:lnTo>
                  <a:lnTo>
                    <a:pt x="12215" y="794143"/>
                  </a:lnTo>
                  <a:lnTo>
                    <a:pt x="13759" y="791441"/>
                  </a:lnTo>
                  <a:lnTo>
                    <a:pt x="15076" y="790211"/>
                  </a:lnTo>
                  <a:lnTo>
                    <a:pt x="18024" y="789139"/>
                  </a:lnTo>
                  <a:lnTo>
                    <a:pt x="21497" y="787580"/>
                  </a:lnTo>
                  <a:lnTo>
                    <a:pt x="23455" y="785794"/>
                  </a:lnTo>
                  <a:lnTo>
                    <a:pt x="24389" y="784202"/>
                  </a:lnTo>
                  <a:lnTo>
                    <a:pt x="24964" y="782141"/>
                  </a:lnTo>
                  <a:lnTo>
                    <a:pt x="25112" y="779950"/>
                  </a:lnTo>
                  <a:lnTo>
                    <a:pt x="24542" y="775287"/>
                  </a:lnTo>
                  <a:lnTo>
                    <a:pt x="25190" y="773857"/>
                  </a:lnTo>
                  <a:lnTo>
                    <a:pt x="27338" y="771971"/>
                  </a:lnTo>
                  <a:lnTo>
                    <a:pt x="30974" y="770296"/>
                  </a:lnTo>
                  <a:lnTo>
                    <a:pt x="32539" y="765858"/>
                  </a:lnTo>
                  <a:lnTo>
                    <a:pt x="31643" y="761999"/>
                  </a:lnTo>
                  <a:lnTo>
                    <a:pt x="29625" y="758951"/>
                  </a:lnTo>
                  <a:lnTo>
                    <a:pt x="27060" y="757573"/>
                  </a:lnTo>
                  <a:lnTo>
                    <a:pt x="26836" y="754438"/>
                  </a:lnTo>
                  <a:lnTo>
                    <a:pt x="27995" y="751461"/>
                  </a:lnTo>
                  <a:lnTo>
                    <a:pt x="29507" y="748279"/>
                  </a:lnTo>
                  <a:lnTo>
                    <a:pt x="31310" y="744623"/>
                  </a:lnTo>
                  <a:lnTo>
                    <a:pt x="31196" y="742067"/>
                  </a:lnTo>
                  <a:lnTo>
                    <a:pt x="32795" y="740575"/>
                  </a:lnTo>
                  <a:lnTo>
                    <a:pt x="37346" y="737247"/>
                  </a:lnTo>
                  <a:lnTo>
                    <a:pt x="38911" y="733993"/>
                  </a:lnTo>
                  <a:lnTo>
                    <a:pt x="40513" y="733110"/>
                  </a:lnTo>
                  <a:lnTo>
                    <a:pt x="42378" y="732719"/>
                  </a:lnTo>
                  <a:lnTo>
                    <a:pt x="42490" y="730881"/>
                  </a:lnTo>
                  <a:lnTo>
                    <a:pt x="41129" y="729059"/>
                  </a:lnTo>
                  <a:lnTo>
                    <a:pt x="40907" y="726770"/>
                  </a:lnTo>
                  <a:lnTo>
                    <a:pt x="41068" y="724235"/>
                  </a:lnTo>
                  <a:lnTo>
                    <a:pt x="41485" y="720862"/>
                  </a:lnTo>
                  <a:lnTo>
                    <a:pt x="43608" y="719595"/>
                  </a:lnTo>
                  <a:lnTo>
                    <a:pt x="46746" y="716859"/>
                  </a:lnTo>
                  <a:lnTo>
                    <a:pt x="47584" y="715120"/>
                  </a:lnTo>
                  <a:lnTo>
                    <a:pt x="47696" y="712796"/>
                  </a:lnTo>
                  <a:lnTo>
                    <a:pt x="46781" y="708001"/>
                  </a:lnTo>
                  <a:lnTo>
                    <a:pt x="46000" y="704568"/>
                  </a:lnTo>
                  <a:lnTo>
                    <a:pt x="45607" y="703302"/>
                  </a:lnTo>
                  <a:lnTo>
                    <a:pt x="44175" y="700978"/>
                  </a:lnTo>
                  <a:lnTo>
                    <a:pt x="43121" y="699511"/>
                  </a:lnTo>
                  <a:lnTo>
                    <a:pt x="44804" y="697679"/>
                  </a:lnTo>
                  <a:lnTo>
                    <a:pt x="47969" y="695750"/>
                  </a:lnTo>
                  <a:lnTo>
                    <a:pt x="49311" y="692958"/>
                  </a:lnTo>
                  <a:lnTo>
                    <a:pt x="48081" y="690585"/>
                  </a:lnTo>
                  <a:lnTo>
                    <a:pt x="46292" y="689332"/>
                  </a:lnTo>
                  <a:lnTo>
                    <a:pt x="45733" y="685709"/>
                  </a:lnTo>
                  <a:lnTo>
                    <a:pt x="46404" y="681118"/>
                  </a:lnTo>
                  <a:lnTo>
                    <a:pt x="47746" y="679727"/>
                  </a:lnTo>
                  <a:lnTo>
                    <a:pt x="52441" y="679031"/>
                  </a:lnTo>
                  <a:lnTo>
                    <a:pt x="52890" y="676668"/>
                  </a:lnTo>
                  <a:lnTo>
                    <a:pt x="56468" y="673341"/>
                  </a:lnTo>
                  <a:lnTo>
                    <a:pt x="56355" y="670152"/>
                  </a:lnTo>
                  <a:lnTo>
                    <a:pt x="54080" y="668198"/>
                  </a:lnTo>
                  <a:lnTo>
                    <a:pt x="51853" y="665048"/>
                  </a:lnTo>
                  <a:lnTo>
                    <a:pt x="50205" y="662268"/>
                  </a:lnTo>
                  <a:lnTo>
                    <a:pt x="44726" y="660747"/>
                  </a:lnTo>
                  <a:lnTo>
                    <a:pt x="38911" y="659918"/>
                  </a:lnTo>
                  <a:lnTo>
                    <a:pt x="38130" y="657297"/>
                  </a:lnTo>
                  <a:lnTo>
                    <a:pt x="38353" y="655779"/>
                  </a:lnTo>
                  <a:lnTo>
                    <a:pt x="41058" y="656392"/>
                  </a:lnTo>
                  <a:lnTo>
                    <a:pt x="45475" y="655858"/>
                  </a:lnTo>
                  <a:lnTo>
                    <a:pt x="48802" y="655733"/>
                  </a:lnTo>
                  <a:lnTo>
                    <a:pt x="51116" y="655470"/>
                  </a:lnTo>
                  <a:lnTo>
                    <a:pt x="53783" y="655088"/>
                  </a:lnTo>
                  <a:lnTo>
                    <a:pt x="56244" y="656194"/>
                  </a:lnTo>
                  <a:lnTo>
                    <a:pt x="58704" y="655503"/>
                  </a:lnTo>
                  <a:lnTo>
                    <a:pt x="59709" y="651368"/>
                  </a:lnTo>
                  <a:lnTo>
                    <a:pt x="61276" y="649168"/>
                  </a:lnTo>
                  <a:lnTo>
                    <a:pt x="61499" y="647103"/>
                  </a:lnTo>
                  <a:lnTo>
                    <a:pt x="59934" y="645456"/>
                  </a:lnTo>
                  <a:lnTo>
                    <a:pt x="57066" y="644948"/>
                  </a:lnTo>
                  <a:lnTo>
                    <a:pt x="44533" y="643645"/>
                  </a:lnTo>
                  <a:lnTo>
                    <a:pt x="44151" y="641996"/>
                  </a:lnTo>
                  <a:lnTo>
                    <a:pt x="44260" y="639235"/>
                  </a:lnTo>
                  <a:lnTo>
                    <a:pt x="44733" y="636416"/>
                  </a:lnTo>
                  <a:lnTo>
                    <a:pt x="44726" y="635028"/>
                  </a:lnTo>
                  <a:lnTo>
                    <a:pt x="45872" y="633805"/>
                  </a:lnTo>
                  <a:lnTo>
                    <a:pt x="47165" y="631253"/>
                  </a:lnTo>
                  <a:lnTo>
                    <a:pt x="48081" y="629550"/>
                  </a:lnTo>
                  <a:lnTo>
                    <a:pt x="47171" y="627343"/>
                  </a:lnTo>
                  <a:lnTo>
                    <a:pt x="45174" y="624087"/>
                  </a:lnTo>
                  <a:lnTo>
                    <a:pt x="46628" y="622585"/>
                  </a:lnTo>
                  <a:lnTo>
                    <a:pt x="46745" y="620793"/>
                  </a:lnTo>
                  <a:lnTo>
                    <a:pt x="46292" y="619042"/>
                  </a:lnTo>
                  <a:lnTo>
                    <a:pt x="44218" y="617096"/>
                  </a:lnTo>
                  <a:lnTo>
                    <a:pt x="42378" y="614410"/>
                  </a:lnTo>
                  <a:lnTo>
                    <a:pt x="42378" y="611553"/>
                  </a:lnTo>
                  <a:lnTo>
                    <a:pt x="44528" y="610795"/>
                  </a:lnTo>
                  <a:lnTo>
                    <a:pt x="45956" y="609921"/>
                  </a:lnTo>
                  <a:lnTo>
                    <a:pt x="46292" y="608155"/>
                  </a:lnTo>
                  <a:lnTo>
                    <a:pt x="45510" y="605985"/>
                  </a:lnTo>
                  <a:lnTo>
                    <a:pt x="42541" y="605323"/>
                  </a:lnTo>
                  <a:lnTo>
                    <a:pt x="38582" y="603989"/>
                  </a:lnTo>
                  <a:lnTo>
                    <a:pt x="37372" y="602872"/>
                  </a:lnTo>
                  <a:lnTo>
                    <a:pt x="36256" y="600549"/>
                  </a:lnTo>
                  <a:lnTo>
                    <a:pt x="37088" y="594001"/>
                  </a:lnTo>
                  <a:lnTo>
                    <a:pt x="36672" y="590064"/>
                  </a:lnTo>
                  <a:lnTo>
                    <a:pt x="36324" y="587886"/>
                  </a:lnTo>
                  <a:lnTo>
                    <a:pt x="37296" y="586213"/>
                  </a:lnTo>
                  <a:lnTo>
                    <a:pt x="38613" y="584707"/>
                  </a:lnTo>
                  <a:lnTo>
                    <a:pt x="37988" y="581202"/>
                  </a:lnTo>
                  <a:lnTo>
                    <a:pt x="36809" y="579364"/>
                  </a:lnTo>
                  <a:lnTo>
                    <a:pt x="37225" y="577945"/>
                  </a:lnTo>
                  <a:lnTo>
                    <a:pt x="38336" y="576527"/>
                  </a:lnTo>
                  <a:lnTo>
                    <a:pt x="39306" y="574777"/>
                  </a:lnTo>
                  <a:lnTo>
                    <a:pt x="40138" y="574359"/>
                  </a:lnTo>
                  <a:lnTo>
                    <a:pt x="41386" y="575360"/>
                  </a:lnTo>
                  <a:lnTo>
                    <a:pt x="43498" y="574773"/>
                  </a:lnTo>
                  <a:lnTo>
                    <a:pt x="46030" y="573359"/>
                  </a:lnTo>
                  <a:lnTo>
                    <a:pt x="46308" y="571693"/>
                  </a:lnTo>
                  <a:lnTo>
                    <a:pt x="45800" y="569313"/>
                  </a:lnTo>
                  <a:lnTo>
                    <a:pt x="43912" y="563335"/>
                  </a:lnTo>
                  <a:lnTo>
                    <a:pt x="42218" y="559643"/>
                  </a:lnTo>
                  <a:lnTo>
                    <a:pt x="42565" y="558316"/>
                  </a:lnTo>
                  <a:lnTo>
                    <a:pt x="43236" y="556918"/>
                  </a:lnTo>
                  <a:lnTo>
                    <a:pt x="42702" y="551853"/>
                  </a:lnTo>
                  <a:lnTo>
                    <a:pt x="42870" y="548798"/>
                  </a:lnTo>
                  <a:lnTo>
                    <a:pt x="42994" y="539804"/>
                  </a:lnTo>
                  <a:lnTo>
                    <a:pt x="43187" y="536739"/>
                  </a:lnTo>
                  <a:lnTo>
                    <a:pt x="41456" y="533612"/>
                  </a:lnTo>
                  <a:lnTo>
                    <a:pt x="41690" y="530678"/>
                  </a:lnTo>
                  <a:lnTo>
                    <a:pt x="42916" y="528541"/>
                  </a:lnTo>
                  <a:lnTo>
                    <a:pt x="44064" y="525650"/>
                  </a:lnTo>
                  <a:lnTo>
                    <a:pt x="44922" y="523091"/>
                  </a:lnTo>
                  <a:lnTo>
                    <a:pt x="45823" y="521942"/>
                  </a:lnTo>
                  <a:lnTo>
                    <a:pt x="47348" y="521367"/>
                  </a:lnTo>
                  <a:lnTo>
                    <a:pt x="47694" y="519973"/>
                  </a:lnTo>
                  <a:lnTo>
                    <a:pt x="47001" y="518906"/>
                  </a:lnTo>
                  <a:lnTo>
                    <a:pt x="45026" y="517247"/>
                  </a:lnTo>
                  <a:lnTo>
                    <a:pt x="44576" y="515220"/>
                  </a:lnTo>
                  <a:lnTo>
                    <a:pt x="44990" y="513665"/>
                  </a:lnTo>
                  <a:lnTo>
                    <a:pt x="45961" y="512764"/>
                  </a:lnTo>
                  <a:lnTo>
                    <a:pt x="47465" y="512774"/>
                  </a:lnTo>
                  <a:lnTo>
                    <a:pt x="48595" y="510556"/>
                  </a:lnTo>
                  <a:lnTo>
                    <a:pt x="48916" y="507817"/>
                  </a:lnTo>
                  <a:lnTo>
                    <a:pt x="49150" y="506551"/>
                  </a:lnTo>
                  <a:lnTo>
                    <a:pt x="48283" y="504953"/>
                  </a:lnTo>
                  <a:lnTo>
                    <a:pt x="47656" y="501186"/>
                  </a:lnTo>
                  <a:lnTo>
                    <a:pt x="47070" y="499045"/>
                  </a:lnTo>
                  <a:lnTo>
                    <a:pt x="47764" y="498149"/>
                  </a:lnTo>
                  <a:lnTo>
                    <a:pt x="48734" y="497823"/>
                  </a:lnTo>
                  <a:lnTo>
                    <a:pt x="50440" y="498326"/>
                  </a:lnTo>
                  <a:lnTo>
                    <a:pt x="51647" y="498067"/>
                  </a:lnTo>
                  <a:lnTo>
                    <a:pt x="51854" y="496927"/>
                  </a:lnTo>
                  <a:lnTo>
                    <a:pt x="51993" y="495706"/>
                  </a:lnTo>
                  <a:lnTo>
                    <a:pt x="52450" y="494874"/>
                  </a:lnTo>
                  <a:lnTo>
                    <a:pt x="53525" y="492111"/>
                  </a:lnTo>
                  <a:lnTo>
                    <a:pt x="54675" y="488688"/>
                  </a:lnTo>
                  <a:lnTo>
                    <a:pt x="54945" y="486274"/>
                  </a:lnTo>
                  <a:lnTo>
                    <a:pt x="54534" y="479738"/>
                  </a:lnTo>
                  <a:lnTo>
                    <a:pt x="55143" y="478238"/>
                  </a:lnTo>
                  <a:lnTo>
                    <a:pt x="56370" y="476870"/>
                  </a:lnTo>
                  <a:lnTo>
                    <a:pt x="58080" y="475583"/>
                  </a:lnTo>
                  <a:lnTo>
                    <a:pt x="60323" y="474517"/>
                  </a:lnTo>
                  <a:lnTo>
                    <a:pt x="63116" y="472982"/>
                  </a:lnTo>
                  <a:lnTo>
                    <a:pt x="66552" y="472419"/>
                  </a:lnTo>
                  <a:lnTo>
                    <a:pt x="67938" y="470721"/>
                  </a:lnTo>
                  <a:lnTo>
                    <a:pt x="68910" y="468459"/>
                  </a:lnTo>
                  <a:lnTo>
                    <a:pt x="69188" y="466600"/>
                  </a:lnTo>
                  <a:lnTo>
                    <a:pt x="67869" y="465309"/>
                  </a:lnTo>
                  <a:lnTo>
                    <a:pt x="66137" y="463775"/>
                  </a:lnTo>
                  <a:lnTo>
                    <a:pt x="65312" y="459911"/>
                  </a:lnTo>
                  <a:lnTo>
                    <a:pt x="64864" y="456349"/>
                  </a:lnTo>
                  <a:lnTo>
                    <a:pt x="64610" y="451854"/>
                  </a:lnTo>
                  <a:lnTo>
                    <a:pt x="62886" y="447997"/>
                  </a:lnTo>
                  <a:lnTo>
                    <a:pt x="61076" y="443662"/>
                  </a:lnTo>
                  <a:lnTo>
                    <a:pt x="60590" y="439812"/>
                  </a:lnTo>
                  <a:lnTo>
                    <a:pt x="61196" y="437707"/>
                  </a:lnTo>
                  <a:lnTo>
                    <a:pt x="61907" y="434367"/>
                  </a:lnTo>
                  <a:lnTo>
                    <a:pt x="61144" y="432850"/>
                  </a:lnTo>
                  <a:lnTo>
                    <a:pt x="60244" y="430131"/>
                  </a:lnTo>
                  <a:lnTo>
                    <a:pt x="61179" y="428001"/>
                  </a:lnTo>
                  <a:lnTo>
                    <a:pt x="62323" y="424700"/>
                  </a:lnTo>
                  <a:lnTo>
                    <a:pt x="62185" y="423024"/>
                  </a:lnTo>
                  <a:lnTo>
                    <a:pt x="61284" y="419037"/>
                  </a:lnTo>
                  <a:lnTo>
                    <a:pt x="60452" y="416807"/>
                  </a:lnTo>
                  <a:lnTo>
                    <a:pt x="61284" y="414418"/>
                  </a:lnTo>
                  <a:lnTo>
                    <a:pt x="62601" y="412190"/>
                  </a:lnTo>
                  <a:lnTo>
                    <a:pt x="63641" y="410998"/>
                  </a:lnTo>
                  <a:lnTo>
                    <a:pt x="63468" y="409078"/>
                  </a:lnTo>
                  <a:lnTo>
                    <a:pt x="63918" y="407500"/>
                  </a:lnTo>
                  <a:lnTo>
                    <a:pt x="65884" y="406442"/>
                  </a:lnTo>
                  <a:lnTo>
                    <a:pt x="67731" y="404485"/>
                  </a:lnTo>
                  <a:lnTo>
                    <a:pt x="69048" y="404247"/>
                  </a:lnTo>
                  <a:lnTo>
                    <a:pt x="70643" y="404247"/>
                  </a:lnTo>
                  <a:lnTo>
                    <a:pt x="71682" y="403692"/>
                  </a:lnTo>
                  <a:lnTo>
                    <a:pt x="72099" y="402184"/>
                  </a:lnTo>
                  <a:lnTo>
                    <a:pt x="72376" y="400519"/>
                  </a:lnTo>
                  <a:lnTo>
                    <a:pt x="74913" y="398453"/>
                  </a:lnTo>
                  <a:lnTo>
                    <a:pt x="76396" y="396554"/>
                  </a:lnTo>
                  <a:lnTo>
                    <a:pt x="79100" y="396157"/>
                  </a:lnTo>
                  <a:lnTo>
                    <a:pt x="80418" y="394102"/>
                  </a:lnTo>
                  <a:lnTo>
                    <a:pt x="80446" y="391462"/>
                  </a:lnTo>
                  <a:lnTo>
                    <a:pt x="80140" y="388802"/>
                  </a:lnTo>
                  <a:lnTo>
                    <a:pt x="81042" y="385719"/>
                  </a:lnTo>
                  <a:lnTo>
                    <a:pt x="80038" y="381024"/>
                  </a:lnTo>
                  <a:lnTo>
                    <a:pt x="80140" y="378540"/>
                  </a:lnTo>
                  <a:lnTo>
                    <a:pt x="79100" y="376491"/>
                  </a:lnTo>
                  <a:lnTo>
                    <a:pt x="79308" y="374284"/>
                  </a:lnTo>
                  <a:lnTo>
                    <a:pt x="78753" y="372867"/>
                  </a:lnTo>
                  <a:lnTo>
                    <a:pt x="77183" y="372342"/>
                  </a:lnTo>
                  <a:lnTo>
                    <a:pt x="76604" y="370585"/>
                  </a:lnTo>
                  <a:lnTo>
                    <a:pt x="77367" y="369720"/>
                  </a:lnTo>
                  <a:lnTo>
                    <a:pt x="78850" y="369054"/>
                  </a:lnTo>
                  <a:lnTo>
                    <a:pt x="80713" y="367709"/>
                  </a:lnTo>
                  <a:lnTo>
                    <a:pt x="82107" y="361244"/>
                  </a:lnTo>
                  <a:lnTo>
                    <a:pt x="82768" y="359326"/>
                  </a:lnTo>
                  <a:lnTo>
                    <a:pt x="83410" y="357019"/>
                  </a:lnTo>
                  <a:lnTo>
                    <a:pt x="83330" y="355823"/>
                  </a:lnTo>
                  <a:lnTo>
                    <a:pt x="84224" y="354100"/>
                  </a:lnTo>
                  <a:lnTo>
                    <a:pt x="85339" y="351482"/>
                  </a:lnTo>
                  <a:lnTo>
                    <a:pt x="87100" y="348953"/>
                  </a:lnTo>
                  <a:lnTo>
                    <a:pt x="88109" y="347213"/>
                  </a:lnTo>
                  <a:lnTo>
                    <a:pt x="89084" y="344868"/>
                  </a:lnTo>
                  <a:lnTo>
                    <a:pt x="89361" y="343460"/>
                  </a:lnTo>
                  <a:lnTo>
                    <a:pt x="90610" y="342760"/>
                  </a:lnTo>
                  <a:lnTo>
                    <a:pt x="92042" y="342579"/>
                  </a:lnTo>
                  <a:lnTo>
                    <a:pt x="93730" y="342136"/>
                  </a:lnTo>
                  <a:lnTo>
                    <a:pt x="94423" y="341276"/>
                  </a:lnTo>
                  <a:lnTo>
                    <a:pt x="94298" y="340025"/>
                  </a:lnTo>
                  <a:lnTo>
                    <a:pt x="94192" y="337260"/>
                  </a:lnTo>
                  <a:lnTo>
                    <a:pt x="93687" y="332875"/>
                  </a:lnTo>
                  <a:lnTo>
                    <a:pt x="93361" y="327224"/>
                  </a:lnTo>
                  <a:lnTo>
                    <a:pt x="93659" y="323517"/>
                  </a:lnTo>
                  <a:lnTo>
                    <a:pt x="94770" y="319788"/>
                  </a:lnTo>
                  <a:lnTo>
                    <a:pt x="95809" y="317768"/>
                  </a:lnTo>
                  <a:lnTo>
                    <a:pt x="95532" y="316217"/>
                  </a:lnTo>
                  <a:lnTo>
                    <a:pt x="95255" y="314510"/>
                  </a:lnTo>
                  <a:lnTo>
                    <a:pt x="93314" y="313579"/>
                  </a:lnTo>
                  <a:lnTo>
                    <a:pt x="91467" y="314385"/>
                  </a:lnTo>
                  <a:lnTo>
                    <a:pt x="90179" y="314161"/>
                  </a:lnTo>
                  <a:lnTo>
                    <a:pt x="88530" y="312184"/>
                  </a:lnTo>
                  <a:lnTo>
                    <a:pt x="88045" y="310092"/>
                  </a:lnTo>
                  <a:lnTo>
                    <a:pt x="88321" y="307225"/>
                  </a:lnTo>
                  <a:lnTo>
                    <a:pt x="89612" y="305440"/>
                  </a:lnTo>
                  <a:lnTo>
                    <a:pt x="90124" y="303201"/>
                  </a:lnTo>
                  <a:lnTo>
                    <a:pt x="89361" y="302505"/>
                  </a:lnTo>
                  <a:lnTo>
                    <a:pt x="87736" y="301020"/>
                  </a:lnTo>
                  <a:lnTo>
                    <a:pt x="86194" y="295897"/>
                  </a:lnTo>
                  <a:lnTo>
                    <a:pt x="86380" y="291539"/>
                  </a:lnTo>
                  <a:lnTo>
                    <a:pt x="84855" y="290382"/>
                  </a:lnTo>
                  <a:lnTo>
                    <a:pt x="84144" y="286980"/>
                  </a:lnTo>
                  <a:lnTo>
                    <a:pt x="82567" y="285762"/>
                  </a:lnTo>
                  <a:lnTo>
                    <a:pt x="81943" y="283221"/>
                  </a:lnTo>
                  <a:lnTo>
                    <a:pt x="81458" y="280605"/>
                  </a:lnTo>
                  <a:lnTo>
                    <a:pt x="81666" y="279448"/>
                  </a:lnTo>
                  <a:lnTo>
                    <a:pt x="83304" y="279130"/>
                  </a:lnTo>
                  <a:lnTo>
                    <a:pt x="84231" y="277068"/>
                  </a:lnTo>
                  <a:lnTo>
                    <a:pt x="83537" y="275912"/>
                  </a:lnTo>
                  <a:lnTo>
                    <a:pt x="82289" y="274913"/>
                  </a:lnTo>
                  <a:lnTo>
                    <a:pt x="80695" y="274990"/>
                  </a:lnTo>
                  <a:lnTo>
                    <a:pt x="79268" y="273813"/>
                  </a:lnTo>
                  <a:lnTo>
                    <a:pt x="77353" y="268887"/>
                  </a:lnTo>
                  <a:lnTo>
                    <a:pt x="75843" y="266168"/>
                  </a:lnTo>
                  <a:lnTo>
                    <a:pt x="76320" y="262203"/>
                  </a:lnTo>
                  <a:lnTo>
                    <a:pt x="76617" y="259107"/>
                  </a:lnTo>
                  <a:lnTo>
                    <a:pt x="77267" y="256461"/>
                  </a:lnTo>
                  <a:lnTo>
                    <a:pt x="77506" y="254381"/>
                  </a:lnTo>
                  <a:lnTo>
                    <a:pt x="78685" y="253385"/>
                  </a:lnTo>
                  <a:lnTo>
                    <a:pt x="79793" y="253846"/>
                  </a:lnTo>
                  <a:lnTo>
                    <a:pt x="80833" y="253616"/>
                  </a:lnTo>
                  <a:lnTo>
                    <a:pt x="81792" y="251921"/>
                  </a:lnTo>
                  <a:lnTo>
                    <a:pt x="82844" y="250865"/>
                  </a:lnTo>
                  <a:lnTo>
                    <a:pt x="82774" y="250026"/>
                  </a:lnTo>
                  <a:lnTo>
                    <a:pt x="82151" y="249108"/>
                  </a:lnTo>
                  <a:lnTo>
                    <a:pt x="81854" y="247505"/>
                  </a:lnTo>
                  <a:lnTo>
                    <a:pt x="82586" y="245598"/>
                  </a:lnTo>
                  <a:lnTo>
                    <a:pt x="83850" y="241227"/>
                  </a:lnTo>
                  <a:lnTo>
                    <a:pt x="85764" y="236419"/>
                  </a:lnTo>
                  <a:lnTo>
                    <a:pt x="86588" y="234625"/>
                  </a:lnTo>
                  <a:lnTo>
                    <a:pt x="86380" y="233104"/>
                  </a:lnTo>
                  <a:lnTo>
                    <a:pt x="86796" y="232419"/>
                  </a:lnTo>
                  <a:lnTo>
                    <a:pt x="88095" y="233179"/>
                  </a:lnTo>
                  <a:lnTo>
                    <a:pt x="91788" y="232342"/>
                  </a:lnTo>
                  <a:lnTo>
                    <a:pt x="93036" y="230213"/>
                  </a:lnTo>
                  <a:lnTo>
                    <a:pt x="93520" y="228313"/>
                  </a:lnTo>
                  <a:lnTo>
                    <a:pt x="94629" y="227249"/>
                  </a:lnTo>
                  <a:lnTo>
                    <a:pt x="94145" y="225730"/>
                  </a:lnTo>
                  <a:lnTo>
                    <a:pt x="92620" y="225274"/>
                  </a:lnTo>
                  <a:lnTo>
                    <a:pt x="91697" y="224564"/>
                  </a:lnTo>
                  <a:lnTo>
                    <a:pt x="92064" y="222844"/>
                  </a:lnTo>
                  <a:lnTo>
                    <a:pt x="92605" y="218894"/>
                  </a:lnTo>
                  <a:lnTo>
                    <a:pt x="92517" y="215985"/>
                  </a:lnTo>
                  <a:lnTo>
                    <a:pt x="91123" y="209789"/>
                  </a:lnTo>
                  <a:lnTo>
                    <a:pt x="90001" y="203665"/>
                  </a:lnTo>
                  <a:lnTo>
                    <a:pt x="90792" y="201619"/>
                  </a:lnTo>
                  <a:lnTo>
                    <a:pt x="93208" y="198826"/>
                  </a:lnTo>
                  <a:lnTo>
                    <a:pt x="95046" y="197567"/>
                  </a:lnTo>
                  <a:lnTo>
                    <a:pt x="95377" y="195974"/>
                  </a:lnTo>
                  <a:lnTo>
                    <a:pt x="97194" y="188760"/>
                  </a:lnTo>
                  <a:lnTo>
                    <a:pt x="97403" y="184828"/>
                  </a:lnTo>
                  <a:lnTo>
                    <a:pt x="98596" y="182650"/>
                  </a:lnTo>
                  <a:lnTo>
                    <a:pt x="99380" y="178568"/>
                  </a:lnTo>
                  <a:lnTo>
                    <a:pt x="102671" y="175053"/>
                  </a:lnTo>
                  <a:lnTo>
                    <a:pt x="103641" y="172724"/>
                  </a:lnTo>
                  <a:lnTo>
                    <a:pt x="104959" y="172500"/>
                  </a:lnTo>
                  <a:lnTo>
                    <a:pt x="105653" y="171748"/>
                  </a:lnTo>
                  <a:lnTo>
                    <a:pt x="107398" y="169155"/>
                  </a:lnTo>
                  <a:lnTo>
                    <a:pt x="109667" y="166490"/>
                  </a:lnTo>
                  <a:lnTo>
                    <a:pt x="111616" y="165148"/>
                  </a:lnTo>
                  <a:lnTo>
                    <a:pt x="112101" y="163049"/>
                  </a:lnTo>
                  <a:lnTo>
                    <a:pt x="113033" y="160184"/>
                  </a:lnTo>
                  <a:lnTo>
                    <a:pt x="114969" y="155434"/>
                  </a:lnTo>
                  <a:lnTo>
                    <a:pt x="116052" y="152125"/>
                  </a:lnTo>
                  <a:lnTo>
                    <a:pt x="117509" y="150926"/>
                  </a:lnTo>
                  <a:lnTo>
                    <a:pt x="119205" y="146596"/>
                  </a:lnTo>
                  <a:lnTo>
                    <a:pt x="119934" y="144059"/>
                  </a:lnTo>
                  <a:lnTo>
                    <a:pt x="121875" y="143013"/>
                  </a:lnTo>
                  <a:lnTo>
                    <a:pt x="123400" y="142715"/>
                  </a:lnTo>
                  <a:lnTo>
                    <a:pt x="124857" y="143912"/>
                  </a:lnTo>
                  <a:lnTo>
                    <a:pt x="126381" y="143685"/>
                  </a:lnTo>
                  <a:lnTo>
                    <a:pt x="127769" y="142193"/>
                  </a:lnTo>
                  <a:lnTo>
                    <a:pt x="131116" y="141177"/>
                  </a:lnTo>
                  <a:lnTo>
                    <a:pt x="132622" y="140627"/>
                  </a:lnTo>
                  <a:lnTo>
                    <a:pt x="133315" y="139135"/>
                  </a:lnTo>
                  <a:lnTo>
                    <a:pt x="133315" y="136526"/>
                  </a:lnTo>
                  <a:lnTo>
                    <a:pt x="131928" y="134589"/>
                  </a:lnTo>
                  <a:lnTo>
                    <a:pt x="129094" y="130882"/>
                  </a:lnTo>
                  <a:lnTo>
                    <a:pt x="126659" y="126747"/>
                  </a:lnTo>
                  <a:lnTo>
                    <a:pt x="126394" y="125443"/>
                  </a:lnTo>
                  <a:lnTo>
                    <a:pt x="126379" y="124020"/>
                  </a:lnTo>
                  <a:lnTo>
                    <a:pt x="126795" y="122223"/>
                  </a:lnTo>
                  <a:lnTo>
                    <a:pt x="127960" y="120185"/>
                  </a:lnTo>
                  <a:lnTo>
                    <a:pt x="130884" y="116838"/>
                  </a:lnTo>
                  <a:lnTo>
                    <a:pt x="130574" y="114442"/>
                  </a:lnTo>
                  <a:lnTo>
                    <a:pt x="128442" y="105647"/>
                  </a:lnTo>
                  <a:lnTo>
                    <a:pt x="127654" y="103224"/>
                  </a:lnTo>
                  <a:lnTo>
                    <a:pt x="126174" y="98735"/>
                  </a:lnTo>
                  <a:lnTo>
                    <a:pt x="126381" y="96959"/>
                  </a:lnTo>
                  <a:lnTo>
                    <a:pt x="127682" y="92006"/>
                  </a:lnTo>
                  <a:lnTo>
                    <a:pt x="128809" y="90014"/>
                  </a:lnTo>
                  <a:lnTo>
                    <a:pt x="130474" y="89645"/>
                  </a:lnTo>
                  <a:lnTo>
                    <a:pt x="131373" y="88979"/>
                  </a:lnTo>
                  <a:lnTo>
                    <a:pt x="131652" y="88094"/>
                  </a:lnTo>
                  <a:lnTo>
                    <a:pt x="130542" y="86989"/>
                  </a:lnTo>
                  <a:lnTo>
                    <a:pt x="130058" y="85585"/>
                  </a:lnTo>
                  <a:lnTo>
                    <a:pt x="129570" y="83596"/>
                  </a:lnTo>
                  <a:lnTo>
                    <a:pt x="128030" y="82895"/>
                  </a:lnTo>
                  <a:lnTo>
                    <a:pt x="127144" y="81236"/>
                  </a:lnTo>
                  <a:lnTo>
                    <a:pt x="127144" y="78801"/>
                  </a:lnTo>
                  <a:lnTo>
                    <a:pt x="128533" y="75634"/>
                  </a:lnTo>
                  <a:lnTo>
                    <a:pt x="130058" y="74750"/>
                  </a:lnTo>
                  <a:lnTo>
                    <a:pt x="130680" y="73353"/>
                  </a:lnTo>
                  <a:lnTo>
                    <a:pt x="132314" y="72065"/>
                  </a:lnTo>
                  <a:lnTo>
                    <a:pt x="133801" y="71071"/>
                  </a:lnTo>
                  <a:lnTo>
                    <a:pt x="135048" y="69233"/>
                  </a:lnTo>
                  <a:lnTo>
                    <a:pt x="140193" y="66982"/>
                  </a:lnTo>
                  <a:lnTo>
                    <a:pt x="144279" y="65235"/>
                  </a:lnTo>
                  <a:lnTo>
                    <a:pt x="152252" y="61892"/>
                  </a:lnTo>
                  <a:lnTo>
                    <a:pt x="157719" y="59605"/>
                  </a:lnTo>
                  <a:lnTo>
                    <a:pt x="158242" y="58020"/>
                  </a:lnTo>
                  <a:lnTo>
                    <a:pt x="158659" y="56944"/>
                  </a:lnTo>
                  <a:lnTo>
                    <a:pt x="161194" y="48879"/>
                  </a:lnTo>
                  <a:lnTo>
                    <a:pt x="164475" y="38465"/>
                  </a:lnTo>
                  <a:lnTo>
                    <a:pt x="166528" y="31948"/>
                  </a:lnTo>
                  <a:lnTo>
                    <a:pt x="161810" y="27148"/>
                  </a:lnTo>
                  <a:lnTo>
                    <a:pt x="162645" y="25871"/>
                  </a:lnTo>
                  <a:lnTo>
                    <a:pt x="165346" y="22590"/>
                  </a:lnTo>
                  <a:lnTo>
                    <a:pt x="165901" y="19960"/>
                  </a:lnTo>
                  <a:lnTo>
                    <a:pt x="166976" y="18829"/>
                  </a:lnTo>
                  <a:lnTo>
                    <a:pt x="171814" y="16158"/>
                  </a:lnTo>
                  <a:lnTo>
                    <a:pt x="172647" y="14383"/>
                  </a:lnTo>
                  <a:lnTo>
                    <a:pt x="173074" y="12419"/>
                  </a:lnTo>
                  <a:lnTo>
                    <a:pt x="174061" y="11007"/>
                  </a:lnTo>
                  <a:lnTo>
                    <a:pt x="175905" y="10716"/>
                  </a:lnTo>
                  <a:lnTo>
                    <a:pt x="179252" y="9465"/>
                  </a:lnTo>
                  <a:lnTo>
                    <a:pt x="182848" y="8278"/>
                  </a:lnTo>
                  <a:lnTo>
                    <a:pt x="183930" y="6663"/>
                  </a:lnTo>
                  <a:lnTo>
                    <a:pt x="184953" y="3853"/>
                  </a:lnTo>
                  <a:lnTo>
                    <a:pt x="185829" y="742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20" name="ee4p_AG_1_37365">
              <a:extLst>
                <a:ext uri="{FF2B5EF4-FFF2-40B4-BE49-F238E27FC236}">
                  <a16:creationId xmlns:a16="http://schemas.microsoft.com/office/drawing/2014/main" id="{18B9A270-3BCE-31BE-3364-C0FDBB765B5C}"/>
                </a:ext>
              </a:extLst>
            </p:cNvPr>
            <p:cNvSpPr>
              <a:spLocks noChangeAspect="1"/>
            </p:cNvSpPr>
            <p:nvPr>
              <p:custDataLst>
                <p:tags r:id="rId374"/>
              </p:custDataLst>
            </p:nvPr>
          </p:nvSpPr>
          <p:spPr>
            <a:xfrm>
              <a:off x="4796136" y="4165250"/>
              <a:ext cx="5586" cy="21066"/>
            </a:xfrm>
            <a:custGeom>
              <a:avLst/>
              <a:gdLst>
                <a:gd name="connsiteX0" fmla="*/ 1771 w 5100"/>
                <a:gd name="connsiteY0" fmla="*/ 14243 h 18726"/>
                <a:gd name="connsiteX1" fmla="*/ 3768 w 5100"/>
                <a:gd name="connsiteY1" fmla="*/ 15039 h 18726"/>
                <a:gd name="connsiteX2" fmla="*/ 4537 w 5100"/>
                <a:gd name="connsiteY2" fmla="*/ 15911 h 18726"/>
                <a:gd name="connsiteX3" fmla="*/ 5100 w 5100"/>
                <a:gd name="connsiteY3" fmla="*/ 16084 h 18726"/>
                <a:gd name="connsiteX4" fmla="*/ 5089 w 5100"/>
                <a:gd name="connsiteY4" fmla="*/ 16830 h 18726"/>
                <a:gd name="connsiteX5" fmla="*/ 4873 w 5100"/>
                <a:gd name="connsiteY5" fmla="*/ 17376 h 18726"/>
                <a:gd name="connsiteX6" fmla="*/ 4337 w 5100"/>
                <a:gd name="connsiteY6" fmla="*/ 17687 h 18726"/>
                <a:gd name="connsiteX7" fmla="*/ 3524 w 5100"/>
                <a:gd name="connsiteY7" fmla="*/ 18726 h 18726"/>
                <a:gd name="connsiteX8" fmla="*/ 696 w 5100"/>
                <a:gd name="connsiteY8" fmla="*/ 18305 h 18726"/>
                <a:gd name="connsiteX9" fmla="*/ 129 w 5100"/>
                <a:gd name="connsiteY9" fmla="*/ 17006 h 18726"/>
                <a:gd name="connsiteX10" fmla="*/ 0 w 5100"/>
                <a:gd name="connsiteY10" fmla="*/ 16092 h 18726"/>
                <a:gd name="connsiteX11" fmla="*/ 879 w 5100"/>
                <a:gd name="connsiteY11" fmla="*/ 0 h 18726"/>
                <a:gd name="connsiteX12" fmla="*/ 1704 w 5100"/>
                <a:gd name="connsiteY12" fmla="*/ 450 h 18726"/>
                <a:gd name="connsiteX13" fmla="*/ 2799 w 5100"/>
                <a:gd name="connsiteY13" fmla="*/ 617 h 18726"/>
                <a:gd name="connsiteX14" fmla="*/ 3487 w 5100"/>
                <a:gd name="connsiteY14" fmla="*/ 1379 h 18726"/>
                <a:gd name="connsiteX15" fmla="*/ 3550 w 5100"/>
                <a:gd name="connsiteY15" fmla="*/ 3637 h 18726"/>
                <a:gd name="connsiteX16" fmla="*/ 3172 w 5100"/>
                <a:gd name="connsiteY16" fmla="*/ 4324 h 18726"/>
                <a:gd name="connsiteX17" fmla="*/ 1098 w 5100"/>
                <a:gd name="connsiteY17" fmla="*/ 3083 h 18726"/>
                <a:gd name="connsiteX18" fmla="*/ 465 w 5100"/>
                <a:gd name="connsiteY18" fmla="*/ 749 h 18726"/>
                <a:gd name="connsiteX19" fmla="*/ 532 w 5100"/>
                <a:gd name="connsiteY19" fmla="*/ 256 h 18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5100" h="18726">
                  <a:moveTo>
                    <a:pt x="1771" y="14243"/>
                  </a:moveTo>
                  <a:lnTo>
                    <a:pt x="3768" y="15039"/>
                  </a:lnTo>
                  <a:lnTo>
                    <a:pt x="4537" y="15911"/>
                  </a:lnTo>
                  <a:lnTo>
                    <a:pt x="5100" y="16084"/>
                  </a:lnTo>
                  <a:lnTo>
                    <a:pt x="5089" y="16830"/>
                  </a:lnTo>
                  <a:lnTo>
                    <a:pt x="4873" y="17376"/>
                  </a:lnTo>
                  <a:lnTo>
                    <a:pt x="4337" y="17687"/>
                  </a:lnTo>
                  <a:lnTo>
                    <a:pt x="3524" y="18726"/>
                  </a:lnTo>
                  <a:lnTo>
                    <a:pt x="696" y="18305"/>
                  </a:lnTo>
                  <a:lnTo>
                    <a:pt x="129" y="17006"/>
                  </a:lnTo>
                  <a:lnTo>
                    <a:pt x="0" y="16092"/>
                  </a:lnTo>
                  <a:close/>
                  <a:moveTo>
                    <a:pt x="879" y="0"/>
                  </a:moveTo>
                  <a:lnTo>
                    <a:pt x="1704" y="450"/>
                  </a:lnTo>
                  <a:lnTo>
                    <a:pt x="2799" y="617"/>
                  </a:lnTo>
                  <a:lnTo>
                    <a:pt x="3487" y="1379"/>
                  </a:lnTo>
                  <a:lnTo>
                    <a:pt x="3550" y="3637"/>
                  </a:lnTo>
                  <a:lnTo>
                    <a:pt x="3172" y="4324"/>
                  </a:lnTo>
                  <a:lnTo>
                    <a:pt x="1098" y="3083"/>
                  </a:lnTo>
                  <a:lnTo>
                    <a:pt x="465" y="749"/>
                  </a:lnTo>
                  <a:lnTo>
                    <a:pt x="532" y="256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21" name="ee4p_BS_1_37365">
              <a:extLst>
                <a:ext uri="{FF2B5EF4-FFF2-40B4-BE49-F238E27FC236}">
                  <a16:creationId xmlns:a16="http://schemas.microsoft.com/office/drawing/2014/main" id="{D7BCD65C-3ACA-7747-45C0-BAFEF01DEEBF}"/>
                </a:ext>
              </a:extLst>
            </p:cNvPr>
            <p:cNvSpPr>
              <a:spLocks noChangeAspect="1"/>
            </p:cNvSpPr>
            <p:nvPr>
              <p:custDataLst>
                <p:tags r:id="rId375"/>
              </p:custDataLst>
            </p:nvPr>
          </p:nvSpPr>
          <p:spPr>
            <a:xfrm>
              <a:off x="4321319" y="3888515"/>
              <a:ext cx="173235" cy="181325"/>
            </a:xfrm>
            <a:custGeom>
              <a:avLst/>
              <a:gdLst>
                <a:gd name="connsiteX0" fmla="*/ 150291 w 158182"/>
                <a:gd name="connsiteY0" fmla="*/ 151217 h 161181"/>
                <a:gd name="connsiteX1" fmla="*/ 151479 w 158182"/>
                <a:gd name="connsiteY1" fmla="*/ 151585 h 161181"/>
                <a:gd name="connsiteX2" fmla="*/ 151094 w 158182"/>
                <a:gd name="connsiteY2" fmla="*/ 154426 h 161181"/>
                <a:gd name="connsiteX3" fmla="*/ 150285 w 158182"/>
                <a:gd name="connsiteY3" fmla="*/ 156369 h 161181"/>
                <a:gd name="connsiteX4" fmla="*/ 147602 w 158182"/>
                <a:gd name="connsiteY4" fmla="*/ 160076 h 161181"/>
                <a:gd name="connsiteX5" fmla="*/ 141612 w 158182"/>
                <a:gd name="connsiteY5" fmla="*/ 161009 h 161181"/>
                <a:gd name="connsiteX6" fmla="*/ 135013 w 158182"/>
                <a:gd name="connsiteY6" fmla="*/ 161181 h 161181"/>
                <a:gd name="connsiteX7" fmla="*/ 134503 w 158182"/>
                <a:gd name="connsiteY7" fmla="*/ 160170 h 161181"/>
                <a:gd name="connsiteX8" fmla="*/ 134359 w 158182"/>
                <a:gd name="connsiteY8" fmla="*/ 159282 h 161181"/>
                <a:gd name="connsiteX9" fmla="*/ 134841 w 158182"/>
                <a:gd name="connsiteY9" fmla="*/ 157892 h 161181"/>
                <a:gd name="connsiteX10" fmla="*/ 134796 w 158182"/>
                <a:gd name="connsiteY10" fmla="*/ 157345 h 161181"/>
                <a:gd name="connsiteX11" fmla="*/ 134523 w 158182"/>
                <a:gd name="connsiteY11" fmla="*/ 156786 h 161181"/>
                <a:gd name="connsiteX12" fmla="*/ 136939 w 158182"/>
                <a:gd name="connsiteY12" fmla="*/ 156187 h 161181"/>
                <a:gd name="connsiteX13" fmla="*/ 138510 w 158182"/>
                <a:gd name="connsiteY13" fmla="*/ 154467 h 161181"/>
                <a:gd name="connsiteX14" fmla="*/ 141010 w 158182"/>
                <a:gd name="connsiteY14" fmla="*/ 154177 h 161181"/>
                <a:gd name="connsiteX15" fmla="*/ 144128 w 158182"/>
                <a:gd name="connsiteY15" fmla="*/ 155387 h 161181"/>
                <a:gd name="connsiteX16" fmla="*/ 145807 w 158182"/>
                <a:gd name="connsiteY16" fmla="*/ 155430 h 161181"/>
                <a:gd name="connsiteX17" fmla="*/ 148293 w 158182"/>
                <a:gd name="connsiteY17" fmla="*/ 154097 h 161181"/>
                <a:gd name="connsiteX18" fmla="*/ 151907 w 158182"/>
                <a:gd name="connsiteY18" fmla="*/ 144631 h 161181"/>
                <a:gd name="connsiteX19" fmla="*/ 153902 w 158182"/>
                <a:gd name="connsiteY19" fmla="*/ 146088 h 161181"/>
                <a:gd name="connsiteX20" fmla="*/ 150524 w 158182"/>
                <a:gd name="connsiteY20" fmla="*/ 147391 h 161181"/>
                <a:gd name="connsiteX21" fmla="*/ 150185 w 158182"/>
                <a:gd name="connsiteY21" fmla="*/ 145859 h 161181"/>
                <a:gd name="connsiteX22" fmla="*/ 148544 w 158182"/>
                <a:gd name="connsiteY22" fmla="*/ 120856 h 161181"/>
                <a:gd name="connsiteX23" fmla="*/ 150734 w 158182"/>
                <a:gd name="connsiteY23" fmla="*/ 121556 h 161181"/>
                <a:gd name="connsiteX24" fmla="*/ 152308 w 158182"/>
                <a:gd name="connsiteY24" fmla="*/ 121941 h 161181"/>
                <a:gd name="connsiteX25" fmla="*/ 153163 w 158182"/>
                <a:gd name="connsiteY25" fmla="*/ 121913 h 161181"/>
                <a:gd name="connsiteX26" fmla="*/ 156065 w 158182"/>
                <a:gd name="connsiteY26" fmla="*/ 122714 h 161181"/>
                <a:gd name="connsiteX27" fmla="*/ 157793 w 158182"/>
                <a:gd name="connsiteY27" fmla="*/ 123813 h 161181"/>
                <a:gd name="connsiteX28" fmla="*/ 158182 w 158182"/>
                <a:gd name="connsiteY28" fmla="*/ 124264 h 161181"/>
                <a:gd name="connsiteX29" fmla="*/ 157254 w 158182"/>
                <a:gd name="connsiteY29" fmla="*/ 125245 h 161181"/>
                <a:gd name="connsiteX30" fmla="*/ 154585 w 158182"/>
                <a:gd name="connsiteY30" fmla="*/ 123389 h 161181"/>
                <a:gd name="connsiteX31" fmla="*/ 152255 w 158182"/>
                <a:gd name="connsiteY31" fmla="*/ 123150 h 161181"/>
                <a:gd name="connsiteX32" fmla="*/ 148980 w 158182"/>
                <a:gd name="connsiteY32" fmla="*/ 123194 h 161181"/>
                <a:gd name="connsiteX33" fmla="*/ 147669 w 158182"/>
                <a:gd name="connsiteY33" fmla="*/ 122845 h 161181"/>
                <a:gd name="connsiteX34" fmla="*/ 130224 w 158182"/>
                <a:gd name="connsiteY34" fmla="*/ 113501 h 161181"/>
                <a:gd name="connsiteX35" fmla="*/ 129525 w 158182"/>
                <a:gd name="connsiteY35" fmla="*/ 114844 h 161181"/>
                <a:gd name="connsiteX36" fmla="*/ 130564 w 158182"/>
                <a:gd name="connsiteY36" fmla="*/ 118640 h 161181"/>
                <a:gd name="connsiteX37" fmla="*/ 127062 w 158182"/>
                <a:gd name="connsiteY37" fmla="*/ 123365 h 161181"/>
                <a:gd name="connsiteX38" fmla="*/ 124062 w 158182"/>
                <a:gd name="connsiteY38" fmla="*/ 124828 h 161181"/>
                <a:gd name="connsiteX39" fmla="*/ 121176 w 158182"/>
                <a:gd name="connsiteY39" fmla="*/ 127290 h 161181"/>
                <a:gd name="connsiteX40" fmla="*/ 119397 w 158182"/>
                <a:gd name="connsiteY40" fmla="*/ 128092 h 161181"/>
                <a:gd name="connsiteX41" fmla="*/ 119792 w 158182"/>
                <a:gd name="connsiteY41" fmla="*/ 126711 h 161181"/>
                <a:gd name="connsiteX42" fmla="*/ 123204 w 158182"/>
                <a:gd name="connsiteY42" fmla="*/ 124371 h 161181"/>
                <a:gd name="connsiteX43" fmla="*/ 125091 w 158182"/>
                <a:gd name="connsiteY43" fmla="*/ 122314 h 161181"/>
                <a:gd name="connsiteX44" fmla="*/ 126163 w 158182"/>
                <a:gd name="connsiteY44" fmla="*/ 121584 h 161181"/>
                <a:gd name="connsiteX45" fmla="*/ 126546 w 158182"/>
                <a:gd name="connsiteY45" fmla="*/ 121019 h 161181"/>
                <a:gd name="connsiteX46" fmla="*/ 128041 w 158182"/>
                <a:gd name="connsiteY46" fmla="*/ 120258 h 161181"/>
                <a:gd name="connsiteX47" fmla="*/ 128792 w 158182"/>
                <a:gd name="connsiteY47" fmla="*/ 118933 h 161181"/>
                <a:gd name="connsiteX48" fmla="*/ 128585 w 158182"/>
                <a:gd name="connsiteY48" fmla="*/ 117851 h 161181"/>
                <a:gd name="connsiteX49" fmla="*/ 127017 w 158182"/>
                <a:gd name="connsiteY49" fmla="*/ 116063 h 161181"/>
                <a:gd name="connsiteX50" fmla="*/ 127040 w 158182"/>
                <a:gd name="connsiteY50" fmla="*/ 114803 h 161181"/>
                <a:gd name="connsiteX51" fmla="*/ 127579 w 158182"/>
                <a:gd name="connsiteY51" fmla="*/ 113915 h 161181"/>
                <a:gd name="connsiteX52" fmla="*/ 118634 w 158182"/>
                <a:gd name="connsiteY52" fmla="*/ 110603 h 161181"/>
                <a:gd name="connsiteX53" fmla="*/ 120802 w 158182"/>
                <a:gd name="connsiteY53" fmla="*/ 111352 h 161181"/>
                <a:gd name="connsiteX54" fmla="*/ 121971 w 158182"/>
                <a:gd name="connsiteY54" fmla="*/ 112731 h 161181"/>
                <a:gd name="connsiteX55" fmla="*/ 124960 w 158182"/>
                <a:gd name="connsiteY55" fmla="*/ 113703 h 161181"/>
                <a:gd name="connsiteX56" fmla="*/ 125537 w 158182"/>
                <a:gd name="connsiteY56" fmla="*/ 114181 h 161181"/>
                <a:gd name="connsiteX57" fmla="*/ 123919 w 158182"/>
                <a:gd name="connsiteY57" fmla="*/ 115252 h 161181"/>
                <a:gd name="connsiteX58" fmla="*/ 120277 w 158182"/>
                <a:gd name="connsiteY58" fmla="*/ 113928 h 161181"/>
                <a:gd name="connsiteX59" fmla="*/ 119456 w 158182"/>
                <a:gd name="connsiteY59" fmla="*/ 114018 h 161181"/>
                <a:gd name="connsiteX60" fmla="*/ 118732 w 158182"/>
                <a:gd name="connsiteY60" fmla="*/ 112610 h 161181"/>
                <a:gd name="connsiteX61" fmla="*/ 118457 w 158182"/>
                <a:gd name="connsiteY61" fmla="*/ 111565 h 161181"/>
                <a:gd name="connsiteX62" fmla="*/ 93050 w 158182"/>
                <a:gd name="connsiteY62" fmla="*/ 88430 h 161181"/>
                <a:gd name="connsiteX63" fmla="*/ 95570 w 158182"/>
                <a:gd name="connsiteY63" fmla="*/ 91688 h 161181"/>
                <a:gd name="connsiteX64" fmla="*/ 96618 w 158182"/>
                <a:gd name="connsiteY64" fmla="*/ 94584 h 161181"/>
                <a:gd name="connsiteX65" fmla="*/ 98303 w 158182"/>
                <a:gd name="connsiteY65" fmla="*/ 97418 h 161181"/>
                <a:gd name="connsiteX66" fmla="*/ 99434 w 158182"/>
                <a:gd name="connsiteY66" fmla="*/ 102303 h 161181"/>
                <a:gd name="connsiteX67" fmla="*/ 102657 w 158182"/>
                <a:gd name="connsiteY67" fmla="*/ 103963 h 161181"/>
                <a:gd name="connsiteX68" fmla="*/ 104978 w 158182"/>
                <a:gd name="connsiteY68" fmla="*/ 106322 h 161181"/>
                <a:gd name="connsiteX69" fmla="*/ 105107 w 158182"/>
                <a:gd name="connsiteY69" fmla="*/ 109141 h 161181"/>
                <a:gd name="connsiteX70" fmla="*/ 104945 w 158182"/>
                <a:gd name="connsiteY70" fmla="*/ 109826 h 161181"/>
                <a:gd name="connsiteX71" fmla="*/ 101738 w 158182"/>
                <a:gd name="connsiteY71" fmla="*/ 104487 h 161181"/>
                <a:gd name="connsiteX72" fmla="*/ 97712 w 158182"/>
                <a:gd name="connsiteY72" fmla="*/ 103189 h 161181"/>
                <a:gd name="connsiteX73" fmla="*/ 95399 w 158182"/>
                <a:gd name="connsiteY73" fmla="*/ 101899 h 161181"/>
                <a:gd name="connsiteX74" fmla="*/ 95879 w 158182"/>
                <a:gd name="connsiteY74" fmla="*/ 101166 h 161181"/>
                <a:gd name="connsiteX75" fmla="*/ 97484 w 158182"/>
                <a:gd name="connsiteY75" fmla="*/ 100848 h 161181"/>
                <a:gd name="connsiteX76" fmla="*/ 97751 w 158182"/>
                <a:gd name="connsiteY76" fmla="*/ 99154 h 161181"/>
                <a:gd name="connsiteX77" fmla="*/ 97066 w 158182"/>
                <a:gd name="connsiteY77" fmla="*/ 97323 h 161181"/>
                <a:gd name="connsiteX78" fmla="*/ 94945 w 158182"/>
                <a:gd name="connsiteY78" fmla="*/ 93621 h 161181"/>
                <a:gd name="connsiteX79" fmla="*/ 93753 w 158182"/>
                <a:gd name="connsiteY79" fmla="*/ 91113 h 161181"/>
                <a:gd name="connsiteX80" fmla="*/ 93206 w 158182"/>
                <a:gd name="connsiteY80" fmla="*/ 90534 h 161181"/>
                <a:gd name="connsiteX81" fmla="*/ 75441 w 158182"/>
                <a:gd name="connsiteY81" fmla="*/ 88349 h 161181"/>
                <a:gd name="connsiteX82" fmla="*/ 77007 w 158182"/>
                <a:gd name="connsiteY82" fmla="*/ 88992 h 161181"/>
                <a:gd name="connsiteX83" fmla="*/ 80586 w 158182"/>
                <a:gd name="connsiteY83" fmla="*/ 91803 h 161181"/>
                <a:gd name="connsiteX84" fmla="*/ 81937 w 158182"/>
                <a:gd name="connsiteY84" fmla="*/ 93210 h 161181"/>
                <a:gd name="connsiteX85" fmla="*/ 84211 w 158182"/>
                <a:gd name="connsiteY85" fmla="*/ 94278 h 161181"/>
                <a:gd name="connsiteX86" fmla="*/ 83152 w 158182"/>
                <a:gd name="connsiteY86" fmla="*/ 94436 h 161181"/>
                <a:gd name="connsiteX87" fmla="*/ 81258 w 158182"/>
                <a:gd name="connsiteY87" fmla="*/ 93728 h 161181"/>
                <a:gd name="connsiteX88" fmla="*/ 76822 w 158182"/>
                <a:gd name="connsiteY88" fmla="*/ 90469 h 161181"/>
                <a:gd name="connsiteX89" fmla="*/ 74764 w 158182"/>
                <a:gd name="connsiteY89" fmla="*/ 90188 h 161181"/>
                <a:gd name="connsiteX90" fmla="*/ 114449 w 158182"/>
                <a:gd name="connsiteY90" fmla="*/ 76130 h 161181"/>
                <a:gd name="connsiteX91" fmla="*/ 114996 w 158182"/>
                <a:gd name="connsiteY91" fmla="*/ 76162 h 161181"/>
                <a:gd name="connsiteX92" fmla="*/ 115529 w 158182"/>
                <a:gd name="connsiteY92" fmla="*/ 77705 h 161181"/>
                <a:gd name="connsiteX93" fmla="*/ 113520 w 158182"/>
                <a:gd name="connsiteY93" fmla="*/ 80614 h 161181"/>
                <a:gd name="connsiteX94" fmla="*/ 112449 w 158182"/>
                <a:gd name="connsiteY94" fmla="*/ 80366 h 161181"/>
                <a:gd name="connsiteX95" fmla="*/ 113058 w 158182"/>
                <a:gd name="connsiteY95" fmla="*/ 76710 h 161181"/>
                <a:gd name="connsiteX96" fmla="*/ 32563 w 158182"/>
                <a:gd name="connsiteY96" fmla="*/ 71807 h 161181"/>
                <a:gd name="connsiteX97" fmla="*/ 33672 w 158182"/>
                <a:gd name="connsiteY97" fmla="*/ 72830 h 161181"/>
                <a:gd name="connsiteX98" fmla="*/ 33712 w 158182"/>
                <a:gd name="connsiteY98" fmla="*/ 73446 h 161181"/>
                <a:gd name="connsiteX99" fmla="*/ 31199 w 158182"/>
                <a:gd name="connsiteY99" fmla="*/ 75142 h 161181"/>
                <a:gd name="connsiteX100" fmla="*/ 33024 w 158182"/>
                <a:gd name="connsiteY100" fmla="*/ 76352 h 161181"/>
                <a:gd name="connsiteX101" fmla="*/ 34746 w 158182"/>
                <a:gd name="connsiteY101" fmla="*/ 73721 h 161181"/>
                <a:gd name="connsiteX102" fmla="*/ 36111 w 158182"/>
                <a:gd name="connsiteY102" fmla="*/ 75857 h 161181"/>
                <a:gd name="connsiteX103" fmla="*/ 36859 w 158182"/>
                <a:gd name="connsiteY103" fmla="*/ 79864 h 161181"/>
                <a:gd name="connsiteX104" fmla="*/ 36737 w 158182"/>
                <a:gd name="connsiteY104" fmla="*/ 80562 h 161181"/>
                <a:gd name="connsiteX105" fmla="*/ 36862 w 158182"/>
                <a:gd name="connsiteY105" fmla="*/ 81160 h 161181"/>
                <a:gd name="connsiteX106" fmla="*/ 37131 w 158182"/>
                <a:gd name="connsiteY106" fmla="*/ 81926 h 161181"/>
                <a:gd name="connsiteX107" fmla="*/ 37196 w 158182"/>
                <a:gd name="connsiteY107" fmla="*/ 83037 h 161181"/>
                <a:gd name="connsiteX108" fmla="*/ 35802 w 158182"/>
                <a:gd name="connsiteY108" fmla="*/ 86532 h 161181"/>
                <a:gd name="connsiteX109" fmla="*/ 30793 w 158182"/>
                <a:gd name="connsiteY109" fmla="*/ 86173 h 161181"/>
                <a:gd name="connsiteX110" fmla="*/ 30678 w 158182"/>
                <a:gd name="connsiteY110" fmla="*/ 83227 h 161181"/>
                <a:gd name="connsiteX111" fmla="*/ 29905 w 158182"/>
                <a:gd name="connsiteY111" fmla="*/ 82658 h 161181"/>
                <a:gd name="connsiteX112" fmla="*/ 28739 w 158182"/>
                <a:gd name="connsiteY112" fmla="*/ 78449 h 161181"/>
                <a:gd name="connsiteX113" fmla="*/ 27173 w 158182"/>
                <a:gd name="connsiteY113" fmla="*/ 77091 h 161181"/>
                <a:gd name="connsiteX114" fmla="*/ 24996 w 158182"/>
                <a:gd name="connsiteY114" fmla="*/ 73627 h 161181"/>
                <a:gd name="connsiteX115" fmla="*/ 26260 w 158182"/>
                <a:gd name="connsiteY115" fmla="*/ 72734 h 161181"/>
                <a:gd name="connsiteX116" fmla="*/ 27946 w 158182"/>
                <a:gd name="connsiteY116" fmla="*/ 73032 h 161181"/>
                <a:gd name="connsiteX117" fmla="*/ 28808 w 158182"/>
                <a:gd name="connsiteY117" fmla="*/ 72614 h 161181"/>
                <a:gd name="connsiteX118" fmla="*/ 31144 w 158182"/>
                <a:gd name="connsiteY118" fmla="*/ 72281 h 161181"/>
                <a:gd name="connsiteX119" fmla="*/ 83069 w 158182"/>
                <a:gd name="connsiteY119" fmla="*/ 60772 h 161181"/>
                <a:gd name="connsiteX120" fmla="*/ 84491 w 158182"/>
                <a:gd name="connsiteY120" fmla="*/ 61221 h 161181"/>
                <a:gd name="connsiteX121" fmla="*/ 87712 w 158182"/>
                <a:gd name="connsiteY121" fmla="*/ 67449 h 161181"/>
                <a:gd name="connsiteX122" fmla="*/ 87923 w 158182"/>
                <a:gd name="connsiteY122" fmla="*/ 68047 h 161181"/>
                <a:gd name="connsiteX123" fmla="*/ 93242 w 158182"/>
                <a:gd name="connsiteY123" fmla="*/ 74160 h 161181"/>
                <a:gd name="connsiteX124" fmla="*/ 93410 w 158182"/>
                <a:gd name="connsiteY124" fmla="*/ 75526 h 161181"/>
                <a:gd name="connsiteX125" fmla="*/ 91712 w 158182"/>
                <a:gd name="connsiteY125" fmla="*/ 75250 h 161181"/>
                <a:gd name="connsiteX126" fmla="*/ 89204 w 158182"/>
                <a:gd name="connsiteY126" fmla="*/ 75783 h 161181"/>
                <a:gd name="connsiteX127" fmla="*/ 88301 w 158182"/>
                <a:gd name="connsiteY127" fmla="*/ 75798 h 161181"/>
                <a:gd name="connsiteX128" fmla="*/ 88864 w 158182"/>
                <a:gd name="connsiteY128" fmla="*/ 74862 h 161181"/>
                <a:gd name="connsiteX129" fmla="*/ 90605 w 158182"/>
                <a:gd name="connsiteY129" fmla="*/ 73597 h 161181"/>
                <a:gd name="connsiteX130" fmla="*/ 90692 w 158182"/>
                <a:gd name="connsiteY130" fmla="*/ 72392 h 161181"/>
                <a:gd name="connsiteX131" fmla="*/ 88539 w 158182"/>
                <a:gd name="connsiteY131" fmla="*/ 70653 h 161181"/>
                <a:gd name="connsiteX132" fmla="*/ 86031 w 158182"/>
                <a:gd name="connsiteY132" fmla="*/ 66327 h 161181"/>
                <a:gd name="connsiteX133" fmla="*/ 84858 w 158182"/>
                <a:gd name="connsiteY133" fmla="*/ 65300 h 161181"/>
                <a:gd name="connsiteX134" fmla="*/ 84300 w 158182"/>
                <a:gd name="connsiteY134" fmla="*/ 63672 h 161181"/>
                <a:gd name="connsiteX135" fmla="*/ 82196 w 158182"/>
                <a:gd name="connsiteY135" fmla="*/ 61926 h 161181"/>
                <a:gd name="connsiteX136" fmla="*/ 82637 w 158182"/>
                <a:gd name="connsiteY136" fmla="*/ 60992 h 161181"/>
                <a:gd name="connsiteX137" fmla="*/ 42004 w 158182"/>
                <a:gd name="connsiteY137" fmla="*/ 50376 h 161181"/>
                <a:gd name="connsiteX138" fmla="*/ 43360 w 158182"/>
                <a:gd name="connsiteY138" fmla="*/ 51111 h 161181"/>
                <a:gd name="connsiteX139" fmla="*/ 43524 w 158182"/>
                <a:gd name="connsiteY139" fmla="*/ 51433 h 161181"/>
                <a:gd name="connsiteX140" fmla="*/ 41536 w 158182"/>
                <a:gd name="connsiteY140" fmla="*/ 52242 h 161181"/>
                <a:gd name="connsiteX141" fmla="*/ 38672 w 158182"/>
                <a:gd name="connsiteY141" fmla="*/ 52803 h 161181"/>
                <a:gd name="connsiteX142" fmla="*/ 36625 w 158182"/>
                <a:gd name="connsiteY142" fmla="*/ 52250 h 161181"/>
                <a:gd name="connsiteX143" fmla="*/ 36100 w 158182"/>
                <a:gd name="connsiteY143" fmla="*/ 51806 h 161181"/>
                <a:gd name="connsiteX144" fmla="*/ 36977 w 158182"/>
                <a:gd name="connsiteY144" fmla="*/ 51059 h 161181"/>
                <a:gd name="connsiteX145" fmla="*/ 38906 w 158182"/>
                <a:gd name="connsiteY145" fmla="*/ 50438 h 161181"/>
                <a:gd name="connsiteX146" fmla="*/ 20865 w 158182"/>
                <a:gd name="connsiteY146" fmla="*/ 47154 h 161181"/>
                <a:gd name="connsiteX147" fmla="*/ 24148 w 158182"/>
                <a:gd name="connsiteY147" fmla="*/ 48754 h 161181"/>
                <a:gd name="connsiteX148" fmla="*/ 25620 w 158182"/>
                <a:gd name="connsiteY148" fmla="*/ 50327 h 161181"/>
                <a:gd name="connsiteX149" fmla="*/ 25668 w 158182"/>
                <a:gd name="connsiteY149" fmla="*/ 52487 h 161181"/>
                <a:gd name="connsiteX150" fmla="*/ 27049 w 158182"/>
                <a:gd name="connsiteY150" fmla="*/ 54159 h 161181"/>
                <a:gd name="connsiteX151" fmla="*/ 29046 w 158182"/>
                <a:gd name="connsiteY151" fmla="*/ 58161 h 161181"/>
                <a:gd name="connsiteX152" fmla="*/ 31488 w 158182"/>
                <a:gd name="connsiteY152" fmla="*/ 60505 h 161181"/>
                <a:gd name="connsiteX153" fmla="*/ 31433 w 158182"/>
                <a:gd name="connsiteY153" fmla="*/ 63768 h 161181"/>
                <a:gd name="connsiteX154" fmla="*/ 31710 w 158182"/>
                <a:gd name="connsiteY154" fmla="*/ 66206 h 161181"/>
                <a:gd name="connsiteX155" fmla="*/ 31453 w 158182"/>
                <a:gd name="connsiteY155" fmla="*/ 67075 h 161181"/>
                <a:gd name="connsiteX156" fmla="*/ 28710 w 158182"/>
                <a:gd name="connsiteY156" fmla="*/ 68703 h 161181"/>
                <a:gd name="connsiteX157" fmla="*/ 28005 w 158182"/>
                <a:gd name="connsiteY157" fmla="*/ 69614 h 161181"/>
                <a:gd name="connsiteX158" fmla="*/ 25419 w 158182"/>
                <a:gd name="connsiteY158" fmla="*/ 70532 h 161181"/>
                <a:gd name="connsiteX159" fmla="*/ 23853 w 158182"/>
                <a:gd name="connsiteY159" fmla="*/ 71810 h 161181"/>
                <a:gd name="connsiteX160" fmla="*/ 23070 w 158182"/>
                <a:gd name="connsiteY160" fmla="*/ 69733 h 161181"/>
                <a:gd name="connsiteX161" fmla="*/ 21551 w 158182"/>
                <a:gd name="connsiteY161" fmla="*/ 68450 h 161181"/>
                <a:gd name="connsiteX162" fmla="*/ 21295 w 158182"/>
                <a:gd name="connsiteY162" fmla="*/ 66268 h 161181"/>
                <a:gd name="connsiteX163" fmla="*/ 20134 w 158182"/>
                <a:gd name="connsiteY163" fmla="*/ 67005 h 161181"/>
                <a:gd name="connsiteX164" fmla="*/ 18460 w 158182"/>
                <a:gd name="connsiteY164" fmla="*/ 66555 h 161181"/>
                <a:gd name="connsiteX165" fmla="*/ 15699 w 158182"/>
                <a:gd name="connsiteY165" fmla="*/ 64902 h 161181"/>
                <a:gd name="connsiteX166" fmla="*/ 13955 w 158182"/>
                <a:gd name="connsiteY166" fmla="*/ 62657 h 161181"/>
                <a:gd name="connsiteX167" fmla="*/ 16398 w 158182"/>
                <a:gd name="connsiteY167" fmla="*/ 62267 h 161181"/>
                <a:gd name="connsiteX168" fmla="*/ 16904 w 158182"/>
                <a:gd name="connsiteY168" fmla="*/ 63662 h 161181"/>
                <a:gd name="connsiteX169" fmla="*/ 18838 w 158182"/>
                <a:gd name="connsiteY169" fmla="*/ 61950 h 161181"/>
                <a:gd name="connsiteX170" fmla="*/ 18398 w 158182"/>
                <a:gd name="connsiteY170" fmla="*/ 61048 h 161181"/>
                <a:gd name="connsiteX171" fmla="*/ 18050 w 158182"/>
                <a:gd name="connsiteY171" fmla="*/ 60932 h 161181"/>
                <a:gd name="connsiteX172" fmla="*/ 17416 w 158182"/>
                <a:gd name="connsiteY172" fmla="*/ 59253 h 161181"/>
                <a:gd name="connsiteX173" fmla="*/ 20325 w 158182"/>
                <a:gd name="connsiteY173" fmla="*/ 54853 h 161181"/>
                <a:gd name="connsiteX174" fmla="*/ 20952 w 158182"/>
                <a:gd name="connsiteY174" fmla="*/ 52013 h 161181"/>
                <a:gd name="connsiteX175" fmla="*/ 19632 w 158182"/>
                <a:gd name="connsiteY175" fmla="*/ 47453 h 161181"/>
                <a:gd name="connsiteX176" fmla="*/ 57681 w 158182"/>
                <a:gd name="connsiteY176" fmla="*/ 37352 h 161181"/>
                <a:gd name="connsiteX177" fmla="*/ 59254 w 158182"/>
                <a:gd name="connsiteY177" fmla="*/ 39448 h 161181"/>
                <a:gd name="connsiteX178" fmla="*/ 63427 w 158182"/>
                <a:gd name="connsiteY178" fmla="*/ 42498 h 161181"/>
                <a:gd name="connsiteX179" fmla="*/ 66988 w 158182"/>
                <a:gd name="connsiteY179" fmla="*/ 43650 h 161181"/>
                <a:gd name="connsiteX180" fmla="*/ 70837 w 158182"/>
                <a:gd name="connsiteY180" fmla="*/ 47465 h 161181"/>
                <a:gd name="connsiteX181" fmla="*/ 72495 w 158182"/>
                <a:gd name="connsiteY181" fmla="*/ 48824 h 161181"/>
                <a:gd name="connsiteX182" fmla="*/ 72791 w 158182"/>
                <a:gd name="connsiteY182" fmla="*/ 50060 h 161181"/>
                <a:gd name="connsiteX183" fmla="*/ 72142 w 158182"/>
                <a:gd name="connsiteY183" fmla="*/ 55702 h 161181"/>
                <a:gd name="connsiteX184" fmla="*/ 71277 w 158182"/>
                <a:gd name="connsiteY184" fmla="*/ 59095 h 161181"/>
                <a:gd name="connsiteX185" fmla="*/ 71407 w 158182"/>
                <a:gd name="connsiteY185" fmla="*/ 62069 h 161181"/>
                <a:gd name="connsiteX186" fmla="*/ 70503 w 158182"/>
                <a:gd name="connsiteY186" fmla="*/ 61189 h 161181"/>
                <a:gd name="connsiteX187" fmla="*/ 69589 w 158182"/>
                <a:gd name="connsiteY187" fmla="*/ 59242 h 161181"/>
                <a:gd name="connsiteX188" fmla="*/ 68091 w 158182"/>
                <a:gd name="connsiteY188" fmla="*/ 58122 h 161181"/>
                <a:gd name="connsiteX189" fmla="*/ 67592 w 158182"/>
                <a:gd name="connsiteY189" fmla="*/ 57535 h 161181"/>
                <a:gd name="connsiteX190" fmla="*/ 70285 w 158182"/>
                <a:gd name="connsiteY190" fmla="*/ 57405 h 161181"/>
                <a:gd name="connsiteX191" fmla="*/ 70524 w 158182"/>
                <a:gd name="connsiteY191" fmla="*/ 54337 h 161181"/>
                <a:gd name="connsiteX192" fmla="*/ 71837 w 158182"/>
                <a:gd name="connsiteY192" fmla="*/ 51917 h 161181"/>
                <a:gd name="connsiteX193" fmla="*/ 71639 w 158182"/>
                <a:gd name="connsiteY193" fmla="*/ 49396 h 161181"/>
                <a:gd name="connsiteX194" fmla="*/ 68495 w 158182"/>
                <a:gd name="connsiteY194" fmla="*/ 46620 h 161181"/>
                <a:gd name="connsiteX195" fmla="*/ 66342 w 158182"/>
                <a:gd name="connsiteY195" fmla="*/ 44175 h 161181"/>
                <a:gd name="connsiteX196" fmla="*/ 63030 w 158182"/>
                <a:gd name="connsiteY196" fmla="*/ 43393 h 161181"/>
                <a:gd name="connsiteX197" fmla="*/ 59966 w 158182"/>
                <a:gd name="connsiteY197" fmla="*/ 40956 h 161181"/>
                <a:gd name="connsiteX198" fmla="*/ 58139 w 158182"/>
                <a:gd name="connsiteY198" fmla="*/ 40657 h 161181"/>
                <a:gd name="connsiteX199" fmla="*/ 55911 w 158182"/>
                <a:gd name="connsiteY199" fmla="*/ 41086 h 161181"/>
                <a:gd name="connsiteX200" fmla="*/ 56715 w 158182"/>
                <a:gd name="connsiteY200" fmla="*/ 39634 h 161181"/>
                <a:gd name="connsiteX201" fmla="*/ 57272 w 158182"/>
                <a:gd name="connsiteY201" fmla="*/ 37711 h 161181"/>
                <a:gd name="connsiteX202" fmla="*/ 9851 w 158182"/>
                <a:gd name="connsiteY202" fmla="*/ 3873 h 161181"/>
                <a:gd name="connsiteX203" fmla="*/ 12494 w 158182"/>
                <a:gd name="connsiteY203" fmla="*/ 5749 h 161181"/>
                <a:gd name="connsiteX204" fmla="*/ 15566 w 158182"/>
                <a:gd name="connsiteY204" fmla="*/ 6596 h 161181"/>
                <a:gd name="connsiteX205" fmla="*/ 17211 w 158182"/>
                <a:gd name="connsiteY205" fmla="*/ 6480 h 161181"/>
                <a:gd name="connsiteX206" fmla="*/ 18198 w 158182"/>
                <a:gd name="connsiteY206" fmla="*/ 5923 h 161181"/>
                <a:gd name="connsiteX207" fmla="*/ 22743 w 158182"/>
                <a:gd name="connsiteY207" fmla="*/ 6150 h 161181"/>
                <a:gd name="connsiteX208" fmla="*/ 26413 w 158182"/>
                <a:gd name="connsiteY208" fmla="*/ 5336 h 161181"/>
                <a:gd name="connsiteX209" fmla="*/ 26958 w 158182"/>
                <a:gd name="connsiteY209" fmla="*/ 6782 h 161181"/>
                <a:gd name="connsiteX210" fmla="*/ 26865 w 158182"/>
                <a:gd name="connsiteY210" fmla="*/ 7538 h 161181"/>
                <a:gd name="connsiteX211" fmla="*/ 19061 w 158182"/>
                <a:gd name="connsiteY211" fmla="*/ 8245 h 161181"/>
                <a:gd name="connsiteX212" fmla="*/ 11903 w 158182"/>
                <a:gd name="connsiteY212" fmla="*/ 10368 h 161181"/>
                <a:gd name="connsiteX213" fmla="*/ 7979 w 158182"/>
                <a:gd name="connsiteY213" fmla="*/ 11804 h 161181"/>
                <a:gd name="connsiteX214" fmla="*/ 6136 w 158182"/>
                <a:gd name="connsiteY214" fmla="*/ 11964 h 161181"/>
                <a:gd name="connsiteX215" fmla="*/ 4726 w 158182"/>
                <a:gd name="connsiteY215" fmla="*/ 11208 h 161181"/>
                <a:gd name="connsiteX216" fmla="*/ 0 w 158182"/>
                <a:gd name="connsiteY216" fmla="*/ 6826 h 161181"/>
                <a:gd name="connsiteX217" fmla="*/ 1263 w 158182"/>
                <a:gd name="connsiteY217" fmla="*/ 7264 h 161181"/>
                <a:gd name="connsiteX218" fmla="*/ 4756 w 158182"/>
                <a:gd name="connsiteY218" fmla="*/ 9740 h 161181"/>
                <a:gd name="connsiteX219" fmla="*/ 6925 w 158182"/>
                <a:gd name="connsiteY219" fmla="*/ 9289 h 161181"/>
                <a:gd name="connsiteX220" fmla="*/ 8935 w 158182"/>
                <a:gd name="connsiteY220" fmla="*/ 7651 h 161181"/>
                <a:gd name="connsiteX221" fmla="*/ 9242 w 158182"/>
                <a:gd name="connsiteY221" fmla="*/ 6414 h 161181"/>
                <a:gd name="connsiteX222" fmla="*/ 8942 w 158182"/>
                <a:gd name="connsiteY222" fmla="*/ 5828 h 161181"/>
                <a:gd name="connsiteX223" fmla="*/ 28479 w 158182"/>
                <a:gd name="connsiteY223" fmla="*/ 0 h 161181"/>
                <a:gd name="connsiteX224" fmla="*/ 30380 w 158182"/>
                <a:gd name="connsiteY224" fmla="*/ 120 h 161181"/>
                <a:gd name="connsiteX225" fmla="*/ 33308 w 158182"/>
                <a:gd name="connsiteY225" fmla="*/ 713 h 161181"/>
                <a:gd name="connsiteX226" fmla="*/ 36812 w 158182"/>
                <a:gd name="connsiteY226" fmla="*/ 1000 h 161181"/>
                <a:gd name="connsiteX227" fmla="*/ 38954 w 158182"/>
                <a:gd name="connsiteY227" fmla="*/ 2825 h 161181"/>
                <a:gd name="connsiteX228" fmla="*/ 41000 w 158182"/>
                <a:gd name="connsiteY228" fmla="*/ 5245 h 161181"/>
                <a:gd name="connsiteX229" fmla="*/ 42846 w 158182"/>
                <a:gd name="connsiteY229" fmla="*/ 6223 h 161181"/>
                <a:gd name="connsiteX230" fmla="*/ 43608 w 158182"/>
                <a:gd name="connsiteY230" fmla="*/ 6846 h 161181"/>
                <a:gd name="connsiteX231" fmla="*/ 43522 w 158182"/>
                <a:gd name="connsiteY231" fmla="*/ 7548 h 161181"/>
                <a:gd name="connsiteX232" fmla="*/ 43829 w 158182"/>
                <a:gd name="connsiteY232" fmla="*/ 8206 h 161181"/>
                <a:gd name="connsiteX233" fmla="*/ 46239 w 158182"/>
                <a:gd name="connsiteY233" fmla="*/ 9337 h 161181"/>
                <a:gd name="connsiteX234" fmla="*/ 48667 w 158182"/>
                <a:gd name="connsiteY234" fmla="*/ 11162 h 161181"/>
                <a:gd name="connsiteX235" fmla="*/ 49379 w 158182"/>
                <a:gd name="connsiteY235" fmla="*/ 16512 h 161181"/>
                <a:gd name="connsiteX236" fmla="*/ 46109 w 158182"/>
                <a:gd name="connsiteY236" fmla="*/ 19040 h 161181"/>
                <a:gd name="connsiteX237" fmla="*/ 45507 w 158182"/>
                <a:gd name="connsiteY237" fmla="*/ 26772 h 161181"/>
                <a:gd name="connsiteX238" fmla="*/ 44628 w 158182"/>
                <a:gd name="connsiteY238" fmla="*/ 28161 h 161181"/>
                <a:gd name="connsiteX239" fmla="*/ 44101 w 158182"/>
                <a:gd name="connsiteY239" fmla="*/ 28399 h 161181"/>
                <a:gd name="connsiteX240" fmla="*/ 41900 w 158182"/>
                <a:gd name="connsiteY240" fmla="*/ 25683 h 161181"/>
                <a:gd name="connsiteX241" fmla="*/ 40127 w 158182"/>
                <a:gd name="connsiteY241" fmla="*/ 24893 h 161181"/>
                <a:gd name="connsiteX242" fmla="*/ 42897 w 158182"/>
                <a:gd name="connsiteY242" fmla="*/ 22972 h 161181"/>
                <a:gd name="connsiteX243" fmla="*/ 44093 w 158182"/>
                <a:gd name="connsiteY243" fmla="*/ 21321 h 161181"/>
                <a:gd name="connsiteX244" fmla="*/ 44067 w 158182"/>
                <a:gd name="connsiteY244" fmla="*/ 17717 h 161181"/>
                <a:gd name="connsiteX245" fmla="*/ 44744 w 158182"/>
                <a:gd name="connsiteY245" fmla="*/ 15741 h 161181"/>
                <a:gd name="connsiteX246" fmla="*/ 44515 w 158182"/>
                <a:gd name="connsiteY246" fmla="*/ 14031 h 161181"/>
                <a:gd name="connsiteX247" fmla="*/ 45125 w 158182"/>
                <a:gd name="connsiteY247" fmla="*/ 12284 h 161181"/>
                <a:gd name="connsiteX248" fmla="*/ 44299 w 158182"/>
                <a:gd name="connsiteY248" fmla="*/ 10320 h 161181"/>
                <a:gd name="connsiteX249" fmla="*/ 41984 w 158182"/>
                <a:gd name="connsiteY249" fmla="*/ 8763 h 161181"/>
                <a:gd name="connsiteX250" fmla="*/ 37403 w 158182"/>
                <a:gd name="connsiteY250" fmla="*/ 2564 h 161181"/>
                <a:gd name="connsiteX251" fmla="*/ 30166 w 158182"/>
                <a:gd name="connsiteY251" fmla="*/ 1058 h 161181"/>
                <a:gd name="connsiteX252" fmla="*/ 26419 w 158182"/>
                <a:gd name="connsiteY252" fmla="*/ 995 h 161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</a:cxnLst>
              <a:rect l="l" t="t" r="r" b="b"/>
              <a:pathLst>
                <a:path w="158182" h="161181">
                  <a:moveTo>
                    <a:pt x="150291" y="151217"/>
                  </a:moveTo>
                  <a:lnTo>
                    <a:pt x="151479" y="151585"/>
                  </a:lnTo>
                  <a:lnTo>
                    <a:pt x="151094" y="154426"/>
                  </a:lnTo>
                  <a:lnTo>
                    <a:pt x="150285" y="156369"/>
                  </a:lnTo>
                  <a:lnTo>
                    <a:pt x="147602" y="160076"/>
                  </a:lnTo>
                  <a:lnTo>
                    <a:pt x="141612" y="161009"/>
                  </a:lnTo>
                  <a:lnTo>
                    <a:pt x="135013" y="161181"/>
                  </a:lnTo>
                  <a:lnTo>
                    <a:pt x="134503" y="160170"/>
                  </a:lnTo>
                  <a:lnTo>
                    <a:pt x="134359" y="159282"/>
                  </a:lnTo>
                  <a:lnTo>
                    <a:pt x="134841" y="157892"/>
                  </a:lnTo>
                  <a:lnTo>
                    <a:pt x="134796" y="157345"/>
                  </a:lnTo>
                  <a:lnTo>
                    <a:pt x="134523" y="156786"/>
                  </a:lnTo>
                  <a:lnTo>
                    <a:pt x="136939" y="156187"/>
                  </a:lnTo>
                  <a:lnTo>
                    <a:pt x="138510" y="154467"/>
                  </a:lnTo>
                  <a:lnTo>
                    <a:pt x="141010" y="154177"/>
                  </a:lnTo>
                  <a:lnTo>
                    <a:pt x="144128" y="155387"/>
                  </a:lnTo>
                  <a:lnTo>
                    <a:pt x="145807" y="155430"/>
                  </a:lnTo>
                  <a:lnTo>
                    <a:pt x="148293" y="154097"/>
                  </a:lnTo>
                  <a:close/>
                  <a:moveTo>
                    <a:pt x="151907" y="144631"/>
                  </a:moveTo>
                  <a:lnTo>
                    <a:pt x="153902" y="146088"/>
                  </a:lnTo>
                  <a:lnTo>
                    <a:pt x="150524" y="147391"/>
                  </a:lnTo>
                  <a:lnTo>
                    <a:pt x="150185" y="145859"/>
                  </a:lnTo>
                  <a:close/>
                  <a:moveTo>
                    <a:pt x="148544" y="120856"/>
                  </a:moveTo>
                  <a:lnTo>
                    <a:pt x="150734" y="121556"/>
                  </a:lnTo>
                  <a:lnTo>
                    <a:pt x="152308" y="121941"/>
                  </a:lnTo>
                  <a:lnTo>
                    <a:pt x="153163" y="121913"/>
                  </a:lnTo>
                  <a:lnTo>
                    <a:pt x="156065" y="122714"/>
                  </a:lnTo>
                  <a:lnTo>
                    <a:pt x="157793" y="123813"/>
                  </a:lnTo>
                  <a:lnTo>
                    <a:pt x="158182" y="124264"/>
                  </a:lnTo>
                  <a:lnTo>
                    <a:pt x="157254" y="125245"/>
                  </a:lnTo>
                  <a:lnTo>
                    <a:pt x="154585" y="123389"/>
                  </a:lnTo>
                  <a:lnTo>
                    <a:pt x="152255" y="123150"/>
                  </a:lnTo>
                  <a:lnTo>
                    <a:pt x="148980" y="123194"/>
                  </a:lnTo>
                  <a:lnTo>
                    <a:pt x="147669" y="122845"/>
                  </a:lnTo>
                  <a:close/>
                  <a:moveTo>
                    <a:pt x="130224" y="113501"/>
                  </a:moveTo>
                  <a:lnTo>
                    <a:pt x="129525" y="114844"/>
                  </a:lnTo>
                  <a:lnTo>
                    <a:pt x="130564" y="118640"/>
                  </a:lnTo>
                  <a:lnTo>
                    <a:pt x="127062" y="123365"/>
                  </a:lnTo>
                  <a:lnTo>
                    <a:pt x="124062" y="124828"/>
                  </a:lnTo>
                  <a:lnTo>
                    <a:pt x="121176" y="127290"/>
                  </a:lnTo>
                  <a:lnTo>
                    <a:pt x="119397" y="128092"/>
                  </a:lnTo>
                  <a:lnTo>
                    <a:pt x="119792" y="126711"/>
                  </a:lnTo>
                  <a:lnTo>
                    <a:pt x="123204" y="124371"/>
                  </a:lnTo>
                  <a:lnTo>
                    <a:pt x="125091" y="122314"/>
                  </a:lnTo>
                  <a:lnTo>
                    <a:pt x="126163" y="121584"/>
                  </a:lnTo>
                  <a:lnTo>
                    <a:pt x="126546" y="121019"/>
                  </a:lnTo>
                  <a:lnTo>
                    <a:pt x="128041" y="120258"/>
                  </a:lnTo>
                  <a:lnTo>
                    <a:pt x="128792" y="118933"/>
                  </a:lnTo>
                  <a:lnTo>
                    <a:pt x="128585" y="117851"/>
                  </a:lnTo>
                  <a:lnTo>
                    <a:pt x="127017" y="116063"/>
                  </a:lnTo>
                  <a:lnTo>
                    <a:pt x="127040" y="114803"/>
                  </a:lnTo>
                  <a:lnTo>
                    <a:pt x="127579" y="113915"/>
                  </a:lnTo>
                  <a:close/>
                  <a:moveTo>
                    <a:pt x="118634" y="110603"/>
                  </a:moveTo>
                  <a:lnTo>
                    <a:pt x="120802" y="111352"/>
                  </a:lnTo>
                  <a:lnTo>
                    <a:pt x="121971" y="112731"/>
                  </a:lnTo>
                  <a:lnTo>
                    <a:pt x="124960" y="113703"/>
                  </a:lnTo>
                  <a:lnTo>
                    <a:pt x="125537" y="114181"/>
                  </a:lnTo>
                  <a:lnTo>
                    <a:pt x="123919" y="115252"/>
                  </a:lnTo>
                  <a:lnTo>
                    <a:pt x="120277" y="113928"/>
                  </a:lnTo>
                  <a:lnTo>
                    <a:pt x="119456" y="114018"/>
                  </a:lnTo>
                  <a:lnTo>
                    <a:pt x="118732" y="112610"/>
                  </a:lnTo>
                  <a:lnTo>
                    <a:pt x="118457" y="111565"/>
                  </a:lnTo>
                  <a:close/>
                  <a:moveTo>
                    <a:pt x="93050" y="88430"/>
                  </a:moveTo>
                  <a:lnTo>
                    <a:pt x="95570" y="91688"/>
                  </a:lnTo>
                  <a:lnTo>
                    <a:pt x="96618" y="94584"/>
                  </a:lnTo>
                  <a:lnTo>
                    <a:pt x="98303" y="97418"/>
                  </a:lnTo>
                  <a:lnTo>
                    <a:pt x="99434" y="102303"/>
                  </a:lnTo>
                  <a:lnTo>
                    <a:pt x="102657" y="103963"/>
                  </a:lnTo>
                  <a:lnTo>
                    <a:pt x="104978" y="106322"/>
                  </a:lnTo>
                  <a:lnTo>
                    <a:pt x="105107" y="109141"/>
                  </a:lnTo>
                  <a:lnTo>
                    <a:pt x="104945" y="109826"/>
                  </a:lnTo>
                  <a:lnTo>
                    <a:pt x="101738" y="104487"/>
                  </a:lnTo>
                  <a:lnTo>
                    <a:pt x="97712" y="103189"/>
                  </a:lnTo>
                  <a:lnTo>
                    <a:pt x="95399" y="101899"/>
                  </a:lnTo>
                  <a:lnTo>
                    <a:pt x="95879" y="101166"/>
                  </a:lnTo>
                  <a:lnTo>
                    <a:pt x="97484" y="100848"/>
                  </a:lnTo>
                  <a:lnTo>
                    <a:pt x="97751" y="99154"/>
                  </a:lnTo>
                  <a:lnTo>
                    <a:pt x="97066" y="97323"/>
                  </a:lnTo>
                  <a:lnTo>
                    <a:pt x="94945" y="93621"/>
                  </a:lnTo>
                  <a:lnTo>
                    <a:pt x="93753" y="91113"/>
                  </a:lnTo>
                  <a:lnTo>
                    <a:pt x="93206" y="90534"/>
                  </a:lnTo>
                  <a:close/>
                  <a:moveTo>
                    <a:pt x="75441" y="88349"/>
                  </a:moveTo>
                  <a:lnTo>
                    <a:pt x="77007" y="88992"/>
                  </a:lnTo>
                  <a:lnTo>
                    <a:pt x="80586" y="91803"/>
                  </a:lnTo>
                  <a:lnTo>
                    <a:pt x="81937" y="93210"/>
                  </a:lnTo>
                  <a:lnTo>
                    <a:pt x="84211" y="94278"/>
                  </a:lnTo>
                  <a:lnTo>
                    <a:pt x="83152" y="94436"/>
                  </a:lnTo>
                  <a:lnTo>
                    <a:pt x="81258" y="93728"/>
                  </a:lnTo>
                  <a:lnTo>
                    <a:pt x="76822" y="90469"/>
                  </a:lnTo>
                  <a:lnTo>
                    <a:pt x="74764" y="90188"/>
                  </a:lnTo>
                  <a:close/>
                  <a:moveTo>
                    <a:pt x="114449" y="76130"/>
                  </a:moveTo>
                  <a:lnTo>
                    <a:pt x="114996" y="76162"/>
                  </a:lnTo>
                  <a:lnTo>
                    <a:pt x="115529" y="77705"/>
                  </a:lnTo>
                  <a:lnTo>
                    <a:pt x="113520" y="80614"/>
                  </a:lnTo>
                  <a:lnTo>
                    <a:pt x="112449" y="80366"/>
                  </a:lnTo>
                  <a:lnTo>
                    <a:pt x="113058" y="76710"/>
                  </a:lnTo>
                  <a:close/>
                  <a:moveTo>
                    <a:pt x="32563" y="71807"/>
                  </a:moveTo>
                  <a:lnTo>
                    <a:pt x="33672" y="72830"/>
                  </a:lnTo>
                  <a:lnTo>
                    <a:pt x="33712" y="73446"/>
                  </a:lnTo>
                  <a:lnTo>
                    <a:pt x="31199" y="75142"/>
                  </a:lnTo>
                  <a:lnTo>
                    <a:pt x="33024" y="76352"/>
                  </a:lnTo>
                  <a:lnTo>
                    <a:pt x="34746" y="73721"/>
                  </a:lnTo>
                  <a:lnTo>
                    <a:pt x="36111" y="75857"/>
                  </a:lnTo>
                  <a:lnTo>
                    <a:pt x="36859" y="79864"/>
                  </a:lnTo>
                  <a:lnTo>
                    <a:pt x="36737" y="80562"/>
                  </a:lnTo>
                  <a:lnTo>
                    <a:pt x="36862" y="81160"/>
                  </a:lnTo>
                  <a:lnTo>
                    <a:pt x="37131" y="81926"/>
                  </a:lnTo>
                  <a:lnTo>
                    <a:pt x="37196" y="83037"/>
                  </a:lnTo>
                  <a:lnTo>
                    <a:pt x="35802" y="86532"/>
                  </a:lnTo>
                  <a:lnTo>
                    <a:pt x="30793" y="86173"/>
                  </a:lnTo>
                  <a:lnTo>
                    <a:pt x="30678" y="83227"/>
                  </a:lnTo>
                  <a:lnTo>
                    <a:pt x="29905" y="82658"/>
                  </a:lnTo>
                  <a:lnTo>
                    <a:pt x="28739" y="78449"/>
                  </a:lnTo>
                  <a:lnTo>
                    <a:pt x="27173" y="77091"/>
                  </a:lnTo>
                  <a:lnTo>
                    <a:pt x="24996" y="73627"/>
                  </a:lnTo>
                  <a:lnTo>
                    <a:pt x="26260" y="72734"/>
                  </a:lnTo>
                  <a:lnTo>
                    <a:pt x="27946" y="73032"/>
                  </a:lnTo>
                  <a:lnTo>
                    <a:pt x="28808" y="72614"/>
                  </a:lnTo>
                  <a:lnTo>
                    <a:pt x="31144" y="72281"/>
                  </a:lnTo>
                  <a:close/>
                  <a:moveTo>
                    <a:pt x="83069" y="60772"/>
                  </a:moveTo>
                  <a:lnTo>
                    <a:pt x="84491" y="61221"/>
                  </a:lnTo>
                  <a:lnTo>
                    <a:pt x="87712" y="67449"/>
                  </a:lnTo>
                  <a:lnTo>
                    <a:pt x="87923" y="68047"/>
                  </a:lnTo>
                  <a:lnTo>
                    <a:pt x="93242" y="74160"/>
                  </a:lnTo>
                  <a:lnTo>
                    <a:pt x="93410" y="75526"/>
                  </a:lnTo>
                  <a:lnTo>
                    <a:pt x="91712" y="75250"/>
                  </a:lnTo>
                  <a:lnTo>
                    <a:pt x="89204" y="75783"/>
                  </a:lnTo>
                  <a:lnTo>
                    <a:pt x="88301" y="75798"/>
                  </a:lnTo>
                  <a:lnTo>
                    <a:pt x="88864" y="74862"/>
                  </a:lnTo>
                  <a:lnTo>
                    <a:pt x="90605" y="73597"/>
                  </a:lnTo>
                  <a:lnTo>
                    <a:pt x="90692" y="72392"/>
                  </a:lnTo>
                  <a:lnTo>
                    <a:pt x="88539" y="70653"/>
                  </a:lnTo>
                  <a:lnTo>
                    <a:pt x="86031" y="66327"/>
                  </a:lnTo>
                  <a:lnTo>
                    <a:pt x="84858" y="65300"/>
                  </a:lnTo>
                  <a:lnTo>
                    <a:pt x="84300" y="63672"/>
                  </a:lnTo>
                  <a:lnTo>
                    <a:pt x="82196" y="61926"/>
                  </a:lnTo>
                  <a:lnTo>
                    <a:pt x="82637" y="60992"/>
                  </a:lnTo>
                  <a:close/>
                  <a:moveTo>
                    <a:pt x="42004" y="50376"/>
                  </a:moveTo>
                  <a:lnTo>
                    <a:pt x="43360" y="51111"/>
                  </a:lnTo>
                  <a:lnTo>
                    <a:pt x="43524" y="51433"/>
                  </a:lnTo>
                  <a:lnTo>
                    <a:pt x="41536" y="52242"/>
                  </a:lnTo>
                  <a:lnTo>
                    <a:pt x="38672" y="52803"/>
                  </a:lnTo>
                  <a:lnTo>
                    <a:pt x="36625" y="52250"/>
                  </a:lnTo>
                  <a:lnTo>
                    <a:pt x="36100" y="51806"/>
                  </a:lnTo>
                  <a:lnTo>
                    <a:pt x="36977" y="51059"/>
                  </a:lnTo>
                  <a:lnTo>
                    <a:pt x="38906" y="50438"/>
                  </a:lnTo>
                  <a:close/>
                  <a:moveTo>
                    <a:pt x="20865" y="47154"/>
                  </a:moveTo>
                  <a:lnTo>
                    <a:pt x="24148" y="48754"/>
                  </a:lnTo>
                  <a:lnTo>
                    <a:pt x="25620" y="50327"/>
                  </a:lnTo>
                  <a:lnTo>
                    <a:pt x="25668" y="52487"/>
                  </a:lnTo>
                  <a:lnTo>
                    <a:pt x="27049" y="54159"/>
                  </a:lnTo>
                  <a:lnTo>
                    <a:pt x="29046" y="58161"/>
                  </a:lnTo>
                  <a:lnTo>
                    <a:pt x="31488" y="60505"/>
                  </a:lnTo>
                  <a:lnTo>
                    <a:pt x="31433" y="63768"/>
                  </a:lnTo>
                  <a:lnTo>
                    <a:pt x="31710" y="66206"/>
                  </a:lnTo>
                  <a:lnTo>
                    <a:pt x="31453" y="67075"/>
                  </a:lnTo>
                  <a:lnTo>
                    <a:pt x="28710" y="68703"/>
                  </a:lnTo>
                  <a:lnTo>
                    <a:pt x="28005" y="69614"/>
                  </a:lnTo>
                  <a:lnTo>
                    <a:pt x="25419" y="70532"/>
                  </a:lnTo>
                  <a:lnTo>
                    <a:pt x="23853" y="71810"/>
                  </a:lnTo>
                  <a:lnTo>
                    <a:pt x="23070" y="69733"/>
                  </a:lnTo>
                  <a:lnTo>
                    <a:pt x="21551" y="68450"/>
                  </a:lnTo>
                  <a:lnTo>
                    <a:pt x="21295" y="66268"/>
                  </a:lnTo>
                  <a:lnTo>
                    <a:pt x="20134" y="67005"/>
                  </a:lnTo>
                  <a:lnTo>
                    <a:pt x="18460" y="66555"/>
                  </a:lnTo>
                  <a:lnTo>
                    <a:pt x="15699" y="64902"/>
                  </a:lnTo>
                  <a:lnTo>
                    <a:pt x="13955" y="62657"/>
                  </a:lnTo>
                  <a:lnTo>
                    <a:pt x="16398" y="62267"/>
                  </a:lnTo>
                  <a:lnTo>
                    <a:pt x="16904" y="63662"/>
                  </a:lnTo>
                  <a:lnTo>
                    <a:pt x="18838" y="61950"/>
                  </a:lnTo>
                  <a:lnTo>
                    <a:pt x="18398" y="61048"/>
                  </a:lnTo>
                  <a:lnTo>
                    <a:pt x="18050" y="60932"/>
                  </a:lnTo>
                  <a:lnTo>
                    <a:pt x="17416" y="59253"/>
                  </a:lnTo>
                  <a:lnTo>
                    <a:pt x="20325" y="54853"/>
                  </a:lnTo>
                  <a:lnTo>
                    <a:pt x="20952" y="52013"/>
                  </a:lnTo>
                  <a:lnTo>
                    <a:pt x="19632" y="47453"/>
                  </a:lnTo>
                  <a:close/>
                  <a:moveTo>
                    <a:pt x="57681" y="37352"/>
                  </a:moveTo>
                  <a:lnTo>
                    <a:pt x="59254" y="39448"/>
                  </a:lnTo>
                  <a:lnTo>
                    <a:pt x="63427" y="42498"/>
                  </a:lnTo>
                  <a:lnTo>
                    <a:pt x="66988" y="43650"/>
                  </a:lnTo>
                  <a:lnTo>
                    <a:pt x="70837" y="47465"/>
                  </a:lnTo>
                  <a:lnTo>
                    <a:pt x="72495" y="48824"/>
                  </a:lnTo>
                  <a:lnTo>
                    <a:pt x="72791" y="50060"/>
                  </a:lnTo>
                  <a:lnTo>
                    <a:pt x="72142" y="55702"/>
                  </a:lnTo>
                  <a:lnTo>
                    <a:pt x="71277" y="59095"/>
                  </a:lnTo>
                  <a:lnTo>
                    <a:pt x="71407" y="62069"/>
                  </a:lnTo>
                  <a:lnTo>
                    <a:pt x="70503" y="61189"/>
                  </a:lnTo>
                  <a:lnTo>
                    <a:pt x="69589" y="59242"/>
                  </a:lnTo>
                  <a:lnTo>
                    <a:pt x="68091" y="58122"/>
                  </a:lnTo>
                  <a:lnTo>
                    <a:pt x="67592" y="57535"/>
                  </a:lnTo>
                  <a:lnTo>
                    <a:pt x="70285" y="57405"/>
                  </a:lnTo>
                  <a:lnTo>
                    <a:pt x="70524" y="54337"/>
                  </a:lnTo>
                  <a:lnTo>
                    <a:pt x="71837" y="51917"/>
                  </a:lnTo>
                  <a:lnTo>
                    <a:pt x="71639" y="49396"/>
                  </a:lnTo>
                  <a:lnTo>
                    <a:pt x="68495" y="46620"/>
                  </a:lnTo>
                  <a:lnTo>
                    <a:pt x="66342" y="44175"/>
                  </a:lnTo>
                  <a:lnTo>
                    <a:pt x="63030" y="43393"/>
                  </a:lnTo>
                  <a:lnTo>
                    <a:pt x="59966" y="40956"/>
                  </a:lnTo>
                  <a:lnTo>
                    <a:pt x="58139" y="40657"/>
                  </a:lnTo>
                  <a:lnTo>
                    <a:pt x="55911" y="41086"/>
                  </a:lnTo>
                  <a:lnTo>
                    <a:pt x="56715" y="39634"/>
                  </a:lnTo>
                  <a:lnTo>
                    <a:pt x="57272" y="37711"/>
                  </a:lnTo>
                  <a:close/>
                  <a:moveTo>
                    <a:pt x="9851" y="3873"/>
                  </a:moveTo>
                  <a:lnTo>
                    <a:pt x="12494" y="5749"/>
                  </a:lnTo>
                  <a:lnTo>
                    <a:pt x="15566" y="6596"/>
                  </a:lnTo>
                  <a:lnTo>
                    <a:pt x="17211" y="6480"/>
                  </a:lnTo>
                  <a:lnTo>
                    <a:pt x="18198" y="5923"/>
                  </a:lnTo>
                  <a:lnTo>
                    <a:pt x="22743" y="6150"/>
                  </a:lnTo>
                  <a:lnTo>
                    <a:pt x="26413" y="5336"/>
                  </a:lnTo>
                  <a:lnTo>
                    <a:pt x="26958" y="6782"/>
                  </a:lnTo>
                  <a:lnTo>
                    <a:pt x="26865" y="7538"/>
                  </a:lnTo>
                  <a:lnTo>
                    <a:pt x="19061" y="8245"/>
                  </a:lnTo>
                  <a:lnTo>
                    <a:pt x="11903" y="10368"/>
                  </a:lnTo>
                  <a:lnTo>
                    <a:pt x="7979" y="11804"/>
                  </a:lnTo>
                  <a:lnTo>
                    <a:pt x="6136" y="11964"/>
                  </a:lnTo>
                  <a:lnTo>
                    <a:pt x="4726" y="11208"/>
                  </a:lnTo>
                  <a:lnTo>
                    <a:pt x="0" y="6826"/>
                  </a:lnTo>
                  <a:lnTo>
                    <a:pt x="1263" y="7264"/>
                  </a:lnTo>
                  <a:lnTo>
                    <a:pt x="4756" y="9740"/>
                  </a:lnTo>
                  <a:lnTo>
                    <a:pt x="6925" y="9289"/>
                  </a:lnTo>
                  <a:lnTo>
                    <a:pt x="8935" y="7651"/>
                  </a:lnTo>
                  <a:lnTo>
                    <a:pt x="9242" y="6414"/>
                  </a:lnTo>
                  <a:lnTo>
                    <a:pt x="8942" y="5828"/>
                  </a:lnTo>
                  <a:close/>
                  <a:moveTo>
                    <a:pt x="28479" y="0"/>
                  </a:moveTo>
                  <a:lnTo>
                    <a:pt x="30380" y="120"/>
                  </a:lnTo>
                  <a:lnTo>
                    <a:pt x="33308" y="713"/>
                  </a:lnTo>
                  <a:lnTo>
                    <a:pt x="36812" y="1000"/>
                  </a:lnTo>
                  <a:lnTo>
                    <a:pt x="38954" y="2825"/>
                  </a:lnTo>
                  <a:lnTo>
                    <a:pt x="41000" y="5245"/>
                  </a:lnTo>
                  <a:lnTo>
                    <a:pt x="42846" y="6223"/>
                  </a:lnTo>
                  <a:lnTo>
                    <a:pt x="43608" y="6846"/>
                  </a:lnTo>
                  <a:lnTo>
                    <a:pt x="43522" y="7548"/>
                  </a:lnTo>
                  <a:lnTo>
                    <a:pt x="43829" y="8206"/>
                  </a:lnTo>
                  <a:lnTo>
                    <a:pt x="46239" y="9337"/>
                  </a:lnTo>
                  <a:lnTo>
                    <a:pt x="48667" y="11162"/>
                  </a:lnTo>
                  <a:lnTo>
                    <a:pt x="49379" y="16512"/>
                  </a:lnTo>
                  <a:lnTo>
                    <a:pt x="46109" y="19040"/>
                  </a:lnTo>
                  <a:lnTo>
                    <a:pt x="45507" y="26772"/>
                  </a:lnTo>
                  <a:lnTo>
                    <a:pt x="44628" y="28161"/>
                  </a:lnTo>
                  <a:lnTo>
                    <a:pt x="44101" y="28399"/>
                  </a:lnTo>
                  <a:lnTo>
                    <a:pt x="41900" y="25683"/>
                  </a:lnTo>
                  <a:lnTo>
                    <a:pt x="40127" y="24893"/>
                  </a:lnTo>
                  <a:lnTo>
                    <a:pt x="42897" y="22972"/>
                  </a:lnTo>
                  <a:lnTo>
                    <a:pt x="44093" y="21321"/>
                  </a:lnTo>
                  <a:lnTo>
                    <a:pt x="44067" y="17717"/>
                  </a:lnTo>
                  <a:lnTo>
                    <a:pt x="44744" y="15741"/>
                  </a:lnTo>
                  <a:lnTo>
                    <a:pt x="44515" y="14031"/>
                  </a:lnTo>
                  <a:lnTo>
                    <a:pt x="45125" y="12284"/>
                  </a:lnTo>
                  <a:lnTo>
                    <a:pt x="44299" y="10320"/>
                  </a:lnTo>
                  <a:lnTo>
                    <a:pt x="41984" y="8763"/>
                  </a:lnTo>
                  <a:lnTo>
                    <a:pt x="37403" y="2564"/>
                  </a:lnTo>
                  <a:lnTo>
                    <a:pt x="30166" y="1058"/>
                  </a:lnTo>
                  <a:lnTo>
                    <a:pt x="26419" y="995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22" name="ee4p_BZ_1_37365">
              <a:extLst>
                <a:ext uri="{FF2B5EF4-FFF2-40B4-BE49-F238E27FC236}">
                  <a16:creationId xmlns:a16="http://schemas.microsoft.com/office/drawing/2014/main" id="{45D29033-1838-5E40-03F2-18C74704E58C}"/>
                </a:ext>
              </a:extLst>
            </p:cNvPr>
            <p:cNvSpPr>
              <a:spLocks noChangeAspect="1"/>
            </p:cNvSpPr>
            <p:nvPr>
              <p:custDataLst>
                <p:tags r:id="rId376"/>
              </p:custDataLst>
            </p:nvPr>
          </p:nvSpPr>
          <p:spPr>
            <a:xfrm>
              <a:off x="4036633" y="4142617"/>
              <a:ext cx="40235" cy="76172"/>
            </a:xfrm>
            <a:custGeom>
              <a:avLst/>
              <a:gdLst>
                <a:gd name="connsiteX0" fmla="*/ 35781 w 36738"/>
                <a:gd name="connsiteY0" fmla="*/ 24506 h 67709"/>
                <a:gd name="connsiteX1" fmla="*/ 36738 w 36738"/>
                <a:gd name="connsiteY1" fmla="*/ 25083 h 67709"/>
                <a:gd name="connsiteX2" fmla="*/ 36497 w 36738"/>
                <a:gd name="connsiteY2" fmla="*/ 26249 h 67709"/>
                <a:gd name="connsiteX3" fmla="*/ 35108 w 36738"/>
                <a:gd name="connsiteY3" fmla="*/ 27732 h 67709"/>
                <a:gd name="connsiteX4" fmla="*/ 33155 w 36738"/>
                <a:gd name="connsiteY4" fmla="*/ 31385 h 67709"/>
                <a:gd name="connsiteX5" fmla="*/ 33031 w 36738"/>
                <a:gd name="connsiteY5" fmla="*/ 30342 h 67709"/>
                <a:gd name="connsiteX6" fmla="*/ 33843 w 36738"/>
                <a:gd name="connsiteY6" fmla="*/ 27638 h 67709"/>
                <a:gd name="connsiteX7" fmla="*/ 34944 w 36738"/>
                <a:gd name="connsiteY7" fmla="*/ 26688 h 67709"/>
                <a:gd name="connsiteX8" fmla="*/ 35626 w 36738"/>
                <a:gd name="connsiteY8" fmla="*/ 25688 h 67709"/>
                <a:gd name="connsiteX9" fmla="*/ 33957 w 36738"/>
                <a:gd name="connsiteY9" fmla="*/ 8581 h 67709"/>
                <a:gd name="connsiteX10" fmla="*/ 34957 w 36738"/>
                <a:gd name="connsiteY10" fmla="*/ 8604 h 67709"/>
                <a:gd name="connsiteX11" fmla="*/ 35219 w 36738"/>
                <a:gd name="connsiteY11" fmla="*/ 8962 h 67709"/>
                <a:gd name="connsiteX12" fmla="*/ 32632 w 36738"/>
                <a:gd name="connsiteY12" fmla="*/ 14603 h 67709"/>
                <a:gd name="connsiteX13" fmla="*/ 31427 w 36738"/>
                <a:gd name="connsiteY13" fmla="*/ 15090 h 67709"/>
                <a:gd name="connsiteX14" fmla="*/ 32418 w 36738"/>
                <a:gd name="connsiteY14" fmla="*/ 13580 h 67709"/>
                <a:gd name="connsiteX15" fmla="*/ 32562 w 36738"/>
                <a:gd name="connsiteY15" fmla="*/ 12610 h 67709"/>
                <a:gd name="connsiteX16" fmla="*/ 21936 w 36738"/>
                <a:gd name="connsiteY16" fmla="*/ 0 h 67709"/>
                <a:gd name="connsiteX17" fmla="*/ 23883 w 36738"/>
                <a:gd name="connsiteY17" fmla="*/ 260 h 67709"/>
                <a:gd name="connsiteX18" fmla="*/ 22523 w 36738"/>
                <a:gd name="connsiteY18" fmla="*/ 3237 h 67709"/>
                <a:gd name="connsiteX19" fmla="*/ 23883 w 36738"/>
                <a:gd name="connsiteY19" fmla="*/ 3624 h 67709"/>
                <a:gd name="connsiteX20" fmla="*/ 25110 w 36738"/>
                <a:gd name="connsiteY20" fmla="*/ 3346 h 67709"/>
                <a:gd name="connsiteX21" fmla="*/ 28076 w 36738"/>
                <a:gd name="connsiteY21" fmla="*/ 3451 h 67709"/>
                <a:gd name="connsiteX22" fmla="*/ 29217 w 36738"/>
                <a:gd name="connsiteY22" fmla="*/ 6715 h 67709"/>
                <a:gd name="connsiteX23" fmla="*/ 28914 w 36738"/>
                <a:gd name="connsiteY23" fmla="*/ 9452 h 67709"/>
                <a:gd name="connsiteX24" fmla="*/ 26119 w 36738"/>
                <a:gd name="connsiteY24" fmla="*/ 16665 h 67709"/>
                <a:gd name="connsiteX25" fmla="*/ 25764 w 36738"/>
                <a:gd name="connsiteY25" fmla="*/ 19143 h 67709"/>
                <a:gd name="connsiteX26" fmla="*/ 24489 w 36738"/>
                <a:gd name="connsiteY26" fmla="*/ 22844 h 67709"/>
                <a:gd name="connsiteX27" fmla="*/ 26220 w 36738"/>
                <a:gd name="connsiteY27" fmla="*/ 25282 h 67709"/>
                <a:gd name="connsiteX28" fmla="*/ 24604 w 36738"/>
                <a:gd name="connsiteY28" fmla="*/ 28522 h 67709"/>
                <a:gd name="connsiteX29" fmla="*/ 24056 w 36738"/>
                <a:gd name="connsiteY29" fmla="*/ 30608 h 67709"/>
                <a:gd name="connsiteX30" fmla="*/ 23925 w 36738"/>
                <a:gd name="connsiteY30" fmla="*/ 33756 h 67709"/>
                <a:gd name="connsiteX31" fmla="*/ 24740 w 36738"/>
                <a:gd name="connsiteY31" fmla="*/ 39735 h 67709"/>
                <a:gd name="connsiteX32" fmla="*/ 23432 w 36738"/>
                <a:gd name="connsiteY32" fmla="*/ 48344 h 67709"/>
                <a:gd name="connsiteX33" fmla="*/ 21121 w 36738"/>
                <a:gd name="connsiteY33" fmla="*/ 52100 h 67709"/>
                <a:gd name="connsiteX34" fmla="*/ 19687 w 36738"/>
                <a:gd name="connsiteY34" fmla="*/ 53528 h 67709"/>
                <a:gd name="connsiteX35" fmla="*/ 17122 w 36738"/>
                <a:gd name="connsiteY35" fmla="*/ 57260 h 67709"/>
                <a:gd name="connsiteX36" fmla="*/ 13753 w 36738"/>
                <a:gd name="connsiteY36" fmla="*/ 58372 h 67709"/>
                <a:gd name="connsiteX37" fmla="*/ 9088 w 36738"/>
                <a:gd name="connsiteY37" fmla="*/ 64382 h 67709"/>
                <a:gd name="connsiteX38" fmla="*/ 8261 w 36738"/>
                <a:gd name="connsiteY38" fmla="*/ 65959 h 67709"/>
                <a:gd name="connsiteX39" fmla="*/ 8709 w 36738"/>
                <a:gd name="connsiteY39" fmla="*/ 67659 h 67709"/>
                <a:gd name="connsiteX40" fmla="*/ 7617 w 36738"/>
                <a:gd name="connsiteY40" fmla="*/ 67679 h 67709"/>
                <a:gd name="connsiteX41" fmla="*/ 3143 w 36738"/>
                <a:gd name="connsiteY41" fmla="*/ 67397 h 67709"/>
                <a:gd name="connsiteX42" fmla="*/ 120 w 36738"/>
                <a:gd name="connsiteY42" fmla="*/ 67709 h 67709"/>
                <a:gd name="connsiteX43" fmla="*/ 0 w 36738"/>
                <a:gd name="connsiteY43" fmla="*/ 67560 h 67709"/>
                <a:gd name="connsiteX44" fmla="*/ 251 w 36738"/>
                <a:gd name="connsiteY44" fmla="*/ 61100 h 67709"/>
                <a:gd name="connsiteX45" fmla="*/ 636 w 36738"/>
                <a:gd name="connsiteY45" fmla="*/ 51097 h 67709"/>
                <a:gd name="connsiteX46" fmla="*/ 920 w 36738"/>
                <a:gd name="connsiteY46" fmla="*/ 43752 h 67709"/>
                <a:gd name="connsiteX47" fmla="*/ 1195 w 36738"/>
                <a:gd name="connsiteY47" fmla="*/ 36561 h 67709"/>
                <a:gd name="connsiteX48" fmla="*/ 1404 w 36738"/>
                <a:gd name="connsiteY48" fmla="*/ 31170 h 67709"/>
                <a:gd name="connsiteX49" fmla="*/ 1685 w 36738"/>
                <a:gd name="connsiteY49" fmla="*/ 23827 h 67709"/>
                <a:gd name="connsiteX50" fmla="*/ 1929 w 36738"/>
                <a:gd name="connsiteY50" fmla="*/ 17483 h 67709"/>
                <a:gd name="connsiteX51" fmla="*/ 1906 w 36738"/>
                <a:gd name="connsiteY51" fmla="*/ 15204 h 67709"/>
                <a:gd name="connsiteX52" fmla="*/ 2637 w 36738"/>
                <a:gd name="connsiteY52" fmla="*/ 13402 h 67709"/>
                <a:gd name="connsiteX53" fmla="*/ 4744 w 36738"/>
                <a:gd name="connsiteY53" fmla="*/ 12645 h 67709"/>
                <a:gd name="connsiteX54" fmla="*/ 7478 w 36738"/>
                <a:gd name="connsiteY54" fmla="*/ 14217 h 67709"/>
                <a:gd name="connsiteX55" fmla="*/ 8614 w 36738"/>
                <a:gd name="connsiteY55" fmla="*/ 14874 h 67709"/>
                <a:gd name="connsiteX56" fmla="*/ 9639 w 36738"/>
                <a:gd name="connsiteY56" fmla="*/ 14501 h 67709"/>
                <a:gd name="connsiteX57" fmla="*/ 10933 w 36738"/>
                <a:gd name="connsiteY57" fmla="*/ 13541 h 67709"/>
                <a:gd name="connsiteX58" fmla="*/ 12523 w 36738"/>
                <a:gd name="connsiteY58" fmla="*/ 10762 h 67709"/>
                <a:gd name="connsiteX59" fmla="*/ 16516 w 36738"/>
                <a:gd name="connsiteY59" fmla="*/ 5028 h 67709"/>
                <a:gd name="connsiteX60" fmla="*/ 18118 w 36738"/>
                <a:gd name="connsiteY60" fmla="*/ 955 h 67709"/>
                <a:gd name="connsiteX61" fmla="*/ 19682 w 36738"/>
                <a:gd name="connsiteY61" fmla="*/ 146 h 677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36738" h="67709">
                  <a:moveTo>
                    <a:pt x="35781" y="24506"/>
                  </a:moveTo>
                  <a:lnTo>
                    <a:pt x="36738" y="25083"/>
                  </a:lnTo>
                  <a:lnTo>
                    <a:pt x="36497" y="26249"/>
                  </a:lnTo>
                  <a:lnTo>
                    <a:pt x="35108" y="27732"/>
                  </a:lnTo>
                  <a:lnTo>
                    <a:pt x="33155" y="31385"/>
                  </a:lnTo>
                  <a:lnTo>
                    <a:pt x="33031" y="30342"/>
                  </a:lnTo>
                  <a:lnTo>
                    <a:pt x="33843" y="27638"/>
                  </a:lnTo>
                  <a:lnTo>
                    <a:pt x="34944" y="26688"/>
                  </a:lnTo>
                  <a:lnTo>
                    <a:pt x="35626" y="25688"/>
                  </a:lnTo>
                  <a:close/>
                  <a:moveTo>
                    <a:pt x="33957" y="8581"/>
                  </a:moveTo>
                  <a:lnTo>
                    <a:pt x="34957" y="8604"/>
                  </a:lnTo>
                  <a:lnTo>
                    <a:pt x="35219" y="8962"/>
                  </a:lnTo>
                  <a:lnTo>
                    <a:pt x="32632" y="14603"/>
                  </a:lnTo>
                  <a:lnTo>
                    <a:pt x="31427" y="15090"/>
                  </a:lnTo>
                  <a:lnTo>
                    <a:pt x="32418" y="13580"/>
                  </a:lnTo>
                  <a:lnTo>
                    <a:pt x="32562" y="12610"/>
                  </a:lnTo>
                  <a:close/>
                  <a:moveTo>
                    <a:pt x="21936" y="0"/>
                  </a:moveTo>
                  <a:lnTo>
                    <a:pt x="23883" y="260"/>
                  </a:lnTo>
                  <a:lnTo>
                    <a:pt x="22523" y="3237"/>
                  </a:lnTo>
                  <a:lnTo>
                    <a:pt x="23883" y="3624"/>
                  </a:lnTo>
                  <a:lnTo>
                    <a:pt x="25110" y="3346"/>
                  </a:lnTo>
                  <a:lnTo>
                    <a:pt x="28076" y="3451"/>
                  </a:lnTo>
                  <a:lnTo>
                    <a:pt x="29217" y="6715"/>
                  </a:lnTo>
                  <a:lnTo>
                    <a:pt x="28914" y="9452"/>
                  </a:lnTo>
                  <a:lnTo>
                    <a:pt x="26119" y="16665"/>
                  </a:lnTo>
                  <a:lnTo>
                    <a:pt x="25764" y="19143"/>
                  </a:lnTo>
                  <a:lnTo>
                    <a:pt x="24489" y="22844"/>
                  </a:lnTo>
                  <a:lnTo>
                    <a:pt x="26220" y="25282"/>
                  </a:lnTo>
                  <a:lnTo>
                    <a:pt x="24604" y="28522"/>
                  </a:lnTo>
                  <a:lnTo>
                    <a:pt x="24056" y="30608"/>
                  </a:lnTo>
                  <a:lnTo>
                    <a:pt x="23925" y="33756"/>
                  </a:lnTo>
                  <a:lnTo>
                    <a:pt x="24740" y="39735"/>
                  </a:lnTo>
                  <a:lnTo>
                    <a:pt x="23432" y="48344"/>
                  </a:lnTo>
                  <a:lnTo>
                    <a:pt x="21121" y="52100"/>
                  </a:lnTo>
                  <a:lnTo>
                    <a:pt x="19687" y="53528"/>
                  </a:lnTo>
                  <a:lnTo>
                    <a:pt x="17122" y="57260"/>
                  </a:lnTo>
                  <a:lnTo>
                    <a:pt x="13753" y="58372"/>
                  </a:lnTo>
                  <a:lnTo>
                    <a:pt x="9088" y="64382"/>
                  </a:lnTo>
                  <a:lnTo>
                    <a:pt x="8261" y="65959"/>
                  </a:lnTo>
                  <a:lnTo>
                    <a:pt x="8709" y="67659"/>
                  </a:lnTo>
                  <a:lnTo>
                    <a:pt x="7617" y="67679"/>
                  </a:lnTo>
                  <a:lnTo>
                    <a:pt x="3143" y="67397"/>
                  </a:lnTo>
                  <a:lnTo>
                    <a:pt x="120" y="67709"/>
                  </a:lnTo>
                  <a:lnTo>
                    <a:pt x="0" y="67560"/>
                  </a:lnTo>
                  <a:lnTo>
                    <a:pt x="251" y="61100"/>
                  </a:lnTo>
                  <a:lnTo>
                    <a:pt x="636" y="51097"/>
                  </a:lnTo>
                  <a:lnTo>
                    <a:pt x="920" y="43752"/>
                  </a:lnTo>
                  <a:lnTo>
                    <a:pt x="1195" y="36561"/>
                  </a:lnTo>
                  <a:lnTo>
                    <a:pt x="1404" y="31170"/>
                  </a:lnTo>
                  <a:lnTo>
                    <a:pt x="1685" y="23827"/>
                  </a:lnTo>
                  <a:lnTo>
                    <a:pt x="1929" y="17483"/>
                  </a:lnTo>
                  <a:lnTo>
                    <a:pt x="1906" y="15204"/>
                  </a:lnTo>
                  <a:lnTo>
                    <a:pt x="2637" y="13402"/>
                  </a:lnTo>
                  <a:lnTo>
                    <a:pt x="4744" y="12645"/>
                  </a:lnTo>
                  <a:lnTo>
                    <a:pt x="7478" y="14217"/>
                  </a:lnTo>
                  <a:lnTo>
                    <a:pt x="8614" y="14874"/>
                  </a:lnTo>
                  <a:lnTo>
                    <a:pt x="9639" y="14501"/>
                  </a:lnTo>
                  <a:lnTo>
                    <a:pt x="10933" y="13541"/>
                  </a:lnTo>
                  <a:lnTo>
                    <a:pt x="12523" y="10762"/>
                  </a:lnTo>
                  <a:lnTo>
                    <a:pt x="16516" y="5028"/>
                  </a:lnTo>
                  <a:lnTo>
                    <a:pt x="18118" y="955"/>
                  </a:lnTo>
                  <a:lnTo>
                    <a:pt x="19682" y="146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23" name="ee4p_BO_1_37365">
              <a:extLst>
                <a:ext uri="{FF2B5EF4-FFF2-40B4-BE49-F238E27FC236}">
                  <a16:creationId xmlns:a16="http://schemas.microsoft.com/office/drawing/2014/main" id="{31F956E0-87BE-2BE0-C071-AFAEEC9D029C}"/>
                </a:ext>
              </a:extLst>
            </p:cNvPr>
            <p:cNvSpPr>
              <a:spLocks noChangeAspect="1"/>
            </p:cNvSpPr>
            <p:nvPr>
              <p:custDataLst>
                <p:tags r:id="rId377"/>
              </p:custDataLst>
            </p:nvPr>
          </p:nvSpPr>
          <p:spPr>
            <a:xfrm>
              <a:off x="4580684" y="4953633"/>
              <a:ext cx="337400" cy="386561"/>
            </a:xfrm>
            <a:custGeom>
              <a:avLst/>
              <a:gdLst/>
              <a:ahLst/>
              <a:cxnLst/>
              <a:rect l="0" t="0" r="0" b="0"/>
              <a:pathLst>
                <a:path w="268664" h="299651">
                  <a:moveTo>
                    <a:pt x="253979" y="236513"/>
                  </a:moveTo>
                  <a:lnTo>
                    <a:pt x="254417" y="232698"/>
                  </a:lnTo>
                  <a:lnTo>
                    <a:pt x="253973" y="229388"/>
                  </a:lnTo>
                  <a:lnTo>
                    <a:pt x="253528" y="228537"/>
                  </a:lnTo>
                  <a:lnTo>
                    <a:pt x="247026" y="224590"/>
                  </a:lnTo>
                  <a:lnTo>
                    <a:pt x="241124" y="221011"/>
                  </a:lnTo>
                  <a:lnTo>
                    <a:pt x="233398" y="216329"/>
                  </a:lnTo>
                  <a:lnTo>
                    <a:pt x="223440" y="216457"/>
                  </a:lnTo>
                  <a:lnTo>
                    <a:pt x="213124" y="216589"/>
                  </a:lnTo>
                  <a:lnTo>
                    <a:pt x="203301" y="218682"/>
                  </a:lnTo>
                  <a:lnTo>
                    <a:pt x="193635" y="220742"/>
                  </a:lnTo>
                  <a:lnTo>
                    <a:pt x="189053" y="221717"/>
                  </a:lnTo>
                  <a:lnTo>
                    <a:pt x="179858" y="223679"/>
                  </a:lnTo>
                  <a:lnTo>
                    <a:pt x="174440" y="224572"/>
                  </a:lnTo>
                  <a:lnTo>
                    <a:pt x="173023" y="228344"/>
                  </a:lnTo>
                  <a:lnTo>
                    <a:pt x="170900" y="233999"/>
                  </a:lnTo>
                  <a:lnTo>
                    <a:pt x="168802" y="237305"/>
                  </a:lnTo>
                  <a:lnTo>
                    <a:pt x="166374" y="240779"/>
                  </a:lnTo>
                  <a:lnTo>
                    <a:pt x="162953" y="245679"/>
                  </a:lnTo>
                  <a:lnTo>
                    <a:pt x="162949" y="251637"/>
                  </a:lnTo>
                  <a:lnTo>
                    <a:pt x="162946" y="257300"/>
                  </a:lnTo>
                  <a:lnTo>
                    <a:pt x="160540" y="265293"/>
                  </a:lnTo>
                  <a:lnTo>
                    <a:pt x="158497" y="272090"/>
                  </a:lnTo>
                  <a:lnTo>
                    <a:pt x="156527" y="278660"/>
                  </a:lnTo>
                  <a:lnTo>
                    <a:pt x="155165" y="283192"/>
                  </a:lnTo>
                  <a:lnTo>
                    <a:pt x="154669" y="284347"/>
                  </a:lnTo>
                  <a:lnTo>
                    <a:pt x="154352" y="283981"/>
                  </a:lnTo>
                  <a:lnTo>
                    <a:pt x="152599" y="282632"/>
                  </a:lnTo>
                  <a:lnTo>
                    <a:pt x="151040" y="280074"/>
                  </a:lnTo>
                  <a:lnTo>
                    <a:pt x="150615" y="278902"/>
                  </a:lnTo>
                  <a:lnTo>
                    <a:pt x="150415" y="278859"/>
                  </a:lnTo>
                  <a:lnTo>
                    <a:pt x="141043" y="278936"/>
                  </a:lnTo>
                  <a:lnTo>
                    <a:pt x="132018" y="279022"/>
                  </a:lnTo>
                  <a:lnTo>
                    <a:pt x="131098" y="279562"/>
                  </a:lnTo>
                  <a:lnTo>
                    <a:pt x="129801" y="279555"/>
                  </a:lnTo>
                  <a:lnTo>
                    <a:pt x="128849" y="279050"/>
                  </a:lnTo>
                  <a:lnTo>
                    <a:pt x="127912" y="279090"/>
                  </a:lnTo>
                  <a:lnTo>
                    <a:pt x="126571" y="279586"/>
                  </a:lnTo>
                  <a:lnTo>
                    <a:pt x="125367" y="280606"/>
                  </a:lnTo>
                  <a:lnTo>
                    <a:pt x="121924" y="287416"/>
                  </a:lnTo>
                  <a:lnTo>
                    <a:pt x="120216" y="290333"/>
                  </a:lnTo>
                  <a:lnTo>
                    <a:pt x="118948" y="292938"/>
                  </a:lnTo>
                  <a:lnTo>
                    <a:pt x="118030" y="297405"/>
                  </a:lnTo>
                  <a:lnTo>
                    <a:pt x="117646" y="298158"/>
                  </a:lnTo>
                  <a:lnTo>
                    <a:pt x="116569" y="296607"/>
                  </a:lnTo>
                  <a:lnTo>
                    <a:pt x="114988" y="292519"/>
                  </a:lnTo>
                  <a:lnTo>
                    <a:pt x="114275" y="290194"/>
                  </a:lnTo>
                  <a:lnTo>
                    <a:pt x="113260" y="287550"/>
                  </a:lnTo>
                  <a:lnTo>
                    <a:pt x="111450" y="284233"/>
                  </a:lnTo>
                  <a:lnTo>
                    <a:pt x="109358" y="283229"/>
                  </a:lnTo>
                  <a:lnTo>
                    <a:pt x="108064" y="282898"/>
                  </a:lnTo>
                  <a:lnTo>
                    <a:pt x="106197" y="282263"/>
                  </a:lnTo>
                  <a:lnTo>
                    <a:pt x="102890" y="281467"/>
                  </a:lnTo>
                  <a:lnTo>
                    <a:pt x="101448" y="281306"/>
                  </a:lnTo>
                  <a:lnTo>
                    <a:pt x="92005" y="281200"/>
                  </a:lnTo>
                  <a:lnTo>
                    <a:pt x="91255" y="281116"/>
                  </a:lnTo>
                  <a:lnTo>
                    <a:pt x="87554" y="281481"/>
                  </a:lnTo>
                  <a:lnTo>
                    <a:pt x="85678" y="281234"/>
                  </a:lnTo>
                  <a:lnTo>
                    <a:pt x="83707" y="279380"/>
                  </a:lnTo>
                  <a:lnTo>
                    <a:pt x="79319" y="276128"/>
                  </a:lnTo>
                  <a:lnTo>
                    <a:pt x="78435" y="275098"/>
                  </a:lnTo>
                  <a:lnTo>
                    <a:pt x="76753" y="274416"/>
                  </a:lnTo>
                  <a:lnTo>
                    <a:pt x="75746" y="274344"/>
                  </a:lnTo>
                  <a:lnTo>
                    <a:pt x="75140" y="274991"/>
                  </a:lnTo>
                  <a:lnTo>
                    <a:pt x="74376" y="277704"/>
                  </a:lnTo>
                  <a:lnTo>
                    <a:pt x="73484" y="280155"/>
                  </a:lnTo>
                  <a:lnTo>
                    <a:pt x="72540" y="281563"/>
                  </a:lnTo>
                  <a:lnTo>
                    <a:pt x="69404" y="282598"/>
                  </a:lnTo>
                  <a:lnTo>
                    <a:pt x="66485" y="283689"/>
                  </a:lnTo>
                  <a:lnTo>
                    <a:pt x="64877" y="283943"/>
                  </a:lnTo>
                  <a:lnTo>
                    <a:pt x="64017" y="285174"/>
                  </a:lnTo>
                  <a:lnTo>
                    <a:pt x="63644" y="286887"/>
                  </a:lnTo>
                  <a:lnTo>
                    <a:pt x="62918" y="288435"/>
                  </a:lnTo>
                  <a:lnTo>
                    <a:pt x="58699" y="290764"/>
                  </a:lnTo>
                  <a:lnTo>
                    <a:pt x="57761" y="291750"/>
                  </a:lnTo>
                  <a:lnTo>
                    <a:pt x="57277" y="294044"/>
                  </a:lnTo>
                  <a:lnTo>
                    <a:pt x="54922" y="296905"/>
                  </a:lnTo>
                  <a:lnTo>
                    <a:pt x="54194" y="298019"/>
                  </a:lnTo>
                  <a:lnTo>
                    <a:pt x="50492" y="298799"/>
                  </a:lnTo>
                  <a:lnTo>
                    <a:pt x="45679" y="299650"/>
                  </a:lnTo>
                  <a:lnTo>
                    <a:pt x="42862" y="299591"/>
                  </a:lnTo>
                  <a:lnTo>
                    <a:pt x="40936" y="299365"/>
                  </a:lnTo>
                  <a:lnTo>
                    <a:pt x="40359" y="298858"/>
                  </a:lnTo>
                  <a:lnTo>
                    <a:pt x="39056" y="298049"/>
                  </a:lnTo>
                  <a:lnTo>
                    <a:pt x="38841" y="297146"/>
                  </a:lnTo>
                  <a:lnTo>
                    <a:pt x="38823" y="295866"/>
                  </a:lnTo>
                  <a:lnTo>
                    <a:pt x="39183" y="293571"/>
                  </a:lnTo>
                  <a:lnTo>
                    <a:pt x="39005" y="290380"/>
                  </a:lnTo>
                  <a:lnTo>
                    <a:pt x="37487" y="286669"/>
                  </a:lnTo>
                  <a:lnTo>
                    <a:pt x="37608" y="285474"/>
                  </a:lnTo>
                  <a:lnTo>
                    <a:pt x="37410" y="283657"/>
                  </a:lnTo>
                  <a:lnTo>
                    <a:pt x="36647" y="280248"/>
                  </a:lnTo>
                  <a:lnTo>
                    <a:pt x="34693" y="278524"/>
                  </a:lnTo>
                  <a:lnTo>
                    <a:pt x="34139" y="275691"/>
                  </a:lnTo>
                  <a:lnTo>
                    <a:pt x="33910" y="273196"/>
                  </a:lnTo>
                  <a:lnTo>
                    <a:pt x="32268" y="270081"/>
                  </a:lnTo>
                  <a:lnTo>
                    <a:pt x="32001" y="266116"/>
                  </a:lnTo>
                  <a:lnTo>
                    <a:pt x="32034" y="262716"/>
                  </a:lnTo>
                  <a:lnTo>
                    <a:pt x="29450" y="258771"/>
                  </a:lnTo>
                  <a:lnTo>
                    <a:pt x="26761" y="254580"/>
                  </a:lnTo>
                  <a:lnTo>
                    <a:pt x="24586" y="254012"/>
                  </a:lnTo>
                  <a:lnTo>
                    <a:pt x="24046" y="253511"/>
                  </a:lnTo>
                  <a:lnTo>
                    <a:pt x="23810" y="252307"/>
                  </a:lnTo>
                  <a:lnTo>
                    <a:pt x="23764" y="250445"/>
                  </a:lnTo>
                  <a:lnTo>
                    <a:pt x="23937" y="249314"/>
                  </a:lnTo>
                  <a:lnTo>
                    <a:pt x="25613" y="247483"/>
                  </a:lnTo>
                  <a:lnTo>
                    <a:pt x="25681" y="247199"/>
                  </a:lnTo>
                  <a:lnTo>
                    <a:pt x="25338" y="246821"/>
                  </a:lnTo>
                  <a:lnTo>
                    <a:pt x="21005" y="244076"/>
                  </a:lnTo>
                  <a:lnTo>
                    <a:pt x="19913" y="243284"/>
                  </a:lnTo>
                  <a:lnTo>
                    <a:pt x="19573" y="242307"/>
                  </a:lnTo>
                  <a:lnTo>
                    <a:pt x="19602" y="241428"/>
                  </a:lnTo>
                  <a:lnTo>
                    <a:pt x="20640" y="240528"/>
                  </a:lnTo>
                  <a:lnTo>
                    <a:pt x="21165" y="239862"/>
                  </a:lnTo>
                  <a:lnTo>
                    <a:pt x="20148" y="237908"/>
                  </a:lnTo>
                  <a:lnTo>
                    <a:pt x="20248" y="236141"/>
                  </a:lnTo>
                  <a:lnTo>
                    <a:pt x="19600" y="235383"/>
                  </a:lnTo>
                  <a:lnTo>
                    <a:pt x="19678" y="234814"/>
                  </a:lnTo>
                  <a:lnTo>
                    <a:pt x="20304" y="234327"/>
                  </a:lnTo>
                  <a:lnTo>
                    <a:pt x="23119" y="233759"/>
                  </a:lnTo>
                  <a:lnTo>
                    <a:pt x="23992" y="231968"/>
                  </a:lnTo>
                  <a:lnTo>
                    <a:pt x="24022" y="230479"/>
                  </a:lnTo>
                  <a:lnTo>
                    <a:pt x="23604" y="229426"/>
                  </a:lnTo>
                  <a:lnTo>
                    <a:pt x="20996" y="226764"/>
                  </a:lnTo>
                  <a:lnTo>
                    <a:pt x="20950" y="226313"/>
                  </a:lnTo>
                  <a:lnTo>
                    <a:pt x="23670" y="222616"/>
                  </a:lnTo>
                  <a:lnTo>
                    <a:pt x="25622" y="220188"/>
                  </a:lnTo>
                  <a:lnTo>
                    <a:pt x="26155" y="219692"/>
                  </a:lnTo>
                  <a:lnTo>
                    <a:pt x="25994" y="219168"/>
                  </a:lnTo>
                  <a:lnTo>
                    <a:pt x="25511" y="218525"/>
                  </a:lnTo>
                  <a:lnTo>
                    <a:pt x="24276" y="217588"/>
                  </a:lnTo>
                  <a:lnTo>
                    <a:pt x="22669" y="216569"/>
                  </a:lnTo>
                  <a:lnTo>
                    <a:pt x="21339" y="215323"/>
                  </a:lnTo>
                  <a:lnTo>
                    <a:pt x="19606" y="213485"/>
                  </a:lnTo>
                  <a:lnTo>
                    <a:pt x="17419" y="211906"/>
                  </a:lnTo>
                  <a:lnTo>
                    <a:pt x="15804" y="210344"/>
                  </a:lnTo>
                  <a:lnTo>
                    <a:pt x="14979" y="209033"/>
                  </a:lnTo>
                  <a:lnTo>
                    <a:pt x="14962" y="207697"/>
                  </a:lnTo>
                  <a:lnTo>
                    <a:pt x="14746" y="205483"/>
                  </a:lnTo>
                  <a:lnTo>
                    <a:pt x="13686" y="201895"/>
                  </a:lnTo>
                  <a:lnTo>
                    <a:pt x="13407" y="199467"/>
                  </a:lnTo>
                  <a:lnTo>
                    <a:pt x="12948" y="196789"/>
                  </a:lnTo>
                  <a:lnTo>
                    <a:pt x="12488" y="195043"/>
                  </a:lnTo>
                  <a:lnTo>
                    <a:pt x="12238" y="193347"/>
                  </a:lnTo>
                  <a:lnTo>
                    <a:pt x="11484" y="191519"/>
                  </a:lnTo>
                  <a:lnTo>
                    <a:pt x="11062" y="190185"/>
                  </a:lnTo>
                  <a:lnTo>
                    <a:pt x="11668" y="189242"/>
                  </a:lnTo>
                  <a:lnTo>
                    <a:pt x="12279" y="188510"/>
                  </a:lnTo>
                  <a:lnTo>
                    <a:pt x="12201" y="188049"/>
                  </a:lnTo>
                  <a:lnTo>
                    <a:pt x="8036" y="186093"/>
                  </a:lnTo>
                  <a:lnTo>
                    <a:pt x="7349" y="185598"/>
                  </a:lnTo>
                  <a:lnTo>
                    <a:pt x="6362" y="181685"/>
                  </a:lnTo>
                  <a:lnTo>
                    <a:pt x="3333" y="178216"/>
                  </a:lnTo>
                  <a:lnTo>
                    <a:pt x="2980" y="175629"/>
                  </a:lnTo>
                  <a:lnTo>
                    <a:pt x="2977" y="175602"/>
                  </a:lnTo>
                  <a:lnTo>
                    <a:pt x="2979" y="174588"/>
                  </a:lnTo>
                  <a:lnTo>
                    <a:pt x="2737" y="172962"/>
                  </a:lnTo>
                  <a:lnTo>
                    <a:pt x="1811" y="171684"/>
                  </a:lnTo>
                  <a:lnTo>
                    <a:pt x="439" y="170808"/>
                  </a:lnTo>
                  <a:lnTo>
                    <a:pt x="0" y="169763"/>
                  </a:lnTo>
                  <a:lnTo>
                    <a:pt x="461" y="168663"/>
                  </a:lnTo>
                  <a:lnTo>
                    <a:pt x="3149" y="166491"/>
                  </a:lnTo>
                  <a:lnTo>
                    <a:pt x="4586" y="166117"/>
                  </a:lnTo>
                  <a:lnTo>
                    <a:pt x="4967" y="165017"/>
                  </a:lnTo>
                  <a:lnTo>
                    <a:pt x="5842" y="164138"/>
                  </a:lnTo>
                  <a:lnTo>
                    <a:pt x="8369" y="160944"/>
                  </a:lnTo>
                  <a:lnTo>
                    <a:pt x="9860" y="158841"/>
                  </a:lnTo>
                  <a:lnTo>
                    <a:pt x="11348" y="157582"/>
                  </a:lnTo>
                  <a:lnTo>
                    <a:pt x="13072" y="156701"/>
                  </a:lnTo>
                  <a:lnTo>
                    <a:pt x="13821" y="155971"/>
                  </a:lnTo>
                  <a:lnTo>
                    <a:pt x="13430" y="153710"/>
                  </a:lnTo>
                  <a:lnTo>
                    <a:pt x="13551" y="152195"/>
                  </a:lnTo>
                  <a:lnTo>
                    <a:pt x="14140" y="151235"/>
                  </a:lnTo>
                  <a:lnTo>
                    <a:pt x="15870" y="150222"/>
                  </a:lnTo>
                  <a:lnTo>
                    <a:pt x="17423" y="149444"/>
                  </a:lnTo>
                  <a:lnTo>
                    <a:pt x="17755" y="149060"/>
                  </a:lnTo>
                  <a:lnTo>
                    <a:pt x="17621" y="148491"/>
                  </a:lnTo>
                  <a:lnTo>
                    <a:pt x="16192" y="147336"/>
                  </a:lnTo>
                  <a:lnTo>
                    <a:pt x="13256" y="146332"/>
                  </a:lnTo>
                  <a:lnTo>
                    <a:pt x="11311" y="146429"/>
                  </a:lnTo>
                  <a:lnTo>
                    <a:pt x="10122" y="145541"/>
                  </a:lnTo>
                  <a:lnTo>
                    <a:pt x="9467" y="144776"/>
                  </a:lnTo>
                  <a:lnTo>
                    <a:pt x="5613" y="135431"/>
                  </a:lnTo>
                  <a:lnTo>
                    <a:pt x="4971" y="133250"/>
                  </a:lnTo>
                  <a:lnTo>
                    <a:pt x="5024" y="132407"/>
                  </a:lnTo>
                  <a:lnTo>
                    <a:pt x="7603" y="127788"/>
                  </a:lnTo>
                  <a:lnTo>
                    <a:pt x="8655" y="126283"/>
                  </a:lnTo>
                  <a:lnTo>
                    <a:pt x="10465" y="124105"/>
                  </a:lnTo>
                  <a:lnTo>
                    <a:pt x="10141" y="123248"/>
                  </a:lnTo>
                  <a:lnTo>
                    <a:pt x="6966" y="119635"/>
                  </a:lnTo>
                  <a:lnTo>
                    <a:pt x="5993" y="117917"/>
                  </a:lnTo>
                  <a:lnTo>
                    <a:pt x="6014" y="116211"/>
                  </a:lnTo>
                  <a:lnTo>
                    <a:pt x="6330" y="114128"/>
                  </a:lnTo>
                  <a:lnTo>
                    <a:pt x="8175" y="113012"/>
                  </a:lnTo>
                  <a:lnTo>
                    <a:pt x="8699" y="111322"/>
                  </a:lnTo>
                  <a:lnTo>
                    <a:pt x="9084" y="109650"/>
                  </a:lnTo>
                  <a:lnTo>
                    <a:pt x="9872" y="109097"/>
                  </a:lnTo>
                  <a:lnTo>
                    <a:pt x="10681" y="108158"/>
                  </a:lnTo>
                  <a:lnTo>
                    <a:pt x="11631" y="106789"/>
                  </a:lnTo>
                  <a:lnTo>
                    <a:pt x="13111" y="105599"/>
                  </a:lnTo>
                  <a:lnTo>
                    <a:pt x="13988" y="104689"/>
                  </a:lnTo>
                  <a:lnTo>
                    <a:pt x="14179" y="102157"/>
                  </a:lnTo>
                  <a:lnTo>
                    <a:pt x="14902" y="101465"/>
                  </a:lnTo>
                  <a:lnTo>
                    <a:pt x="16925" y="100664"/>
                  </a:lnTo>
                  <a:lnTo>
                    <a:pt x="17133" y="100007"/>
                  </a:lnTo>
                  <a:lnTo>
                    <a:pt x="16673" y="98307"/>
                  </a:lnTo>
                  <a:lnTo>
                    <a:pt x="15661" y="96510"/>
                  </a:lnTo>
                  <a:lnTo>
                    <a:pt x="14847" y="95639"/>
                  </a:lnTo>
                  <a:lnTo>
                    <a:pt x="13769" y="91229"/>
                  </a:lnTo>
                  <a:lnTo>
                    <a:pt x="12639" y="89034"/>
                  </a:lnTo>
                  <a:lnTo>
                    <a:pt x="13110" y="88158"/>
                  </a:lnTo>
                  <a:lnTo>
                    <a:pt x="13891" y="87044"/>
                  </a:lnTo>
                  <a:lnTo>
                    <a:pt x="14645" y="84836"/>
                  </a:lnTo>
                  <a:lnTo>
                    <a:pt x="14892" y="82269"/>
                  </a:lnTo>
                  <a:lnTo>
                    <a:pt x="14709" y="72828"/>
                  </a:lnTo>
                  <a:lnTo>
                    <a:pt x="14751" y="70974"/>
                  </a:lnTo>
                  <a:lnTo>
                    <a:pt x="15743" y="69670"/>
                  </a:lnTo>
                  <a:lnTo>
                    <a:pt x="17204" y="68167"/>
                  </a:lnTo>
                  <a:lnTo>
                    <a:pt x="18440" y="67592"/>
                  </a:lnTo>
                  <a:lnTo>
                    <a:pt x="19606" y="66640"/>
                  </a:lnTo>
                  <a:lnTo>
                    <a:pt x="19521" y="64855"/>
                  </a:lnTo>
                  <a:lnTo>
                    <a:pt x="20290" y="63800"/>
                  </a:lnTo>
                  <a:lnTo>
                    <a:pt x="21238" y="62480"/>
                  </a:lnTo>
                  <a:lnTo>
                    <a:pt x="18287" y="57282"/>
                  </a:lnTo>
                  <a:lnTo>
                    <a:pt x="15693" y="52714"/>
                  </a:lnTo>
                  <a:lnTo>
                    <a:pt x="13257" y="48428"/>
                  </a:lnTo>
                  <a:lnTo>
                    <a:pt x="10437" y="43466"/>
                  </a:lnTo>
                  <a:lnTo>
                    <a:pt x="8580" y="40202"/>
                  </a:lnTo>
                  <a:lnTo>
                    <a:pt x="6273" y="36147"/>
                  </a:lnTo>
                  <a:lnTo>
                    <a:pt x="4248" y="32592"/>
                  </a:lnTo>
                  <a:lnTo>
                    <a:pt x="1484" y="27736"/>
                  </a:lnTo>
                  <a:lnTo>
                    <a:pt x="4051" y="27655"/>
                  </a:lnTo>
                  <a:lnTo>
                    <a:pt x="9225" y="27823"/>
                  </a:lnTo>
                  <a:lnTo>
                    <a:pt x="14242" y="28689"/>
                  </a:lnTo>
                  <a:lnTo>
                    <a:pt x="17632" y="29064"/>
                  </a:lnTo>
                  <a:lnTo>
                    <a:pt x="19053" y="29814"/>
                  </a:lnTo>
                  <a:lnTo>
                    <a:pt x="19366" y="31001"/>
                  </a:lnTo>
                  <a:lnTo>
                    <a:pt x="20304" y="31556"/>
                  </a:lnTo>
                  <a:lnTo>
                    <a:pt x="21390" y="31340"/>
                  </a:lnTo>
                  <a:lnTo>
                    <a:pt x="22622" y="31259"/>
                  </a:lnTo>
                  <a:lnTo>
                    <a:pt x="25371" y="30041"/>
                  </a:lnTo>
                  <a:lnTo>
                    <a:pt x="27590" y="29235"/>
                  </a:lnTo>
                  <a:lnTo>
                    <a:pt x="29511" y="28260"/>
                  </a:lnTo>
                  <a:lnTo>
                    <a:pt x="30495" y="27319"/>
                  </a:lnTo>
                  <a:lnTo>
                    <a:pt x="32882" y="24007"/>
                  </a:lnTo>
                  <a:lnTo>
                    <a:pt x="34805" y="22175"/>
                  </a:lnTo>
                  <a:lnTo>
                    <a:pt x="36574" y="21533"/>
                  </a:lnTo>
                  <a:lnTo>
                    <a:pt x="40039" y="21273"/>
                  </a:lnTo>
                  <a:lnTo>
                    <a:pt x="41129" y="21793"/>
                  </a:lnTo>
                  <a:lnTo>
                    <a:pt x="42543" y="21727"/>
                  </a:lnTo>
                  <a:lnTo>
                    <a:pt x="43762" y="19845"/>
                  </a:lnTo>
                  <a:lnTo>
                    <a:pt x="45624" y="17767"/>
                  </a:lnTo>
                  <a:lnTo>
                    <a:pt x="49283" y="15172"/>
                  </a:lnTo>
                  <a:lnTo>
                    <a:pt x="51146" y="14458"/>
                  </a:lnTo>
                  <a:lnTo>
                    <a:pt x="52301" y="13550"/>
                  </a:lnTo>
                  <a:lnTo>
                    <a:pt x="54291" y="13419"/>
                  </a:lnTo>
                  <a:lnTo>
                    <a:pt x="56037" y="12471"/>
                  </a:lnTo>
                  <a:lnTo>
                    <a:pt x="64473" y="5916"/>
                  </a:lnTo>
                  <a:lnTo>
                    <a:pt x="67893" y="4228"/>
                  </a:lnTo>
                  <a:lnTo>
                    <a:pt x="70025" y="3921"/>
                  </a:lnTo>
                  <a:lnTo>
                    <a:pt x="71787" y="3520"/>
                  </a:lnTo>
                  <a:lnTo>
                    <a:pt x="74787" y="2580"/>
                  </a:lnTo>
                  <a:lnTo>
                    <a:pt x="82280" y="1674"/>
                  </a:lnTo>
                  <a:lnTo>
                    <a:pt x="87098" y="1294"/>
                  </a:lnTo>
                  <a:lnTo>
                    <a:pt x="88639" y="2201"/>
                  </a:lnTo>
                  <a:lnTo>
                    <a:pt x="90373" y="1942"/>
                  </a:lnTo>
                  <a:lnTo>
                    <a:pt x="91848" y="475"/>
                  </a:lnTo>
                  <a:lnTo>
                    <a:pt x="93069" y="0"/>
                  </a:lnTo>
                  <a:lnTo>
                    <a:pt x="93967" y="43"/>
                  </a:lnTo>
                  <a:lnTo>
                    <a:pt x="95255" y="1781"/>
                  </a:lnTo>
                  <a:lnTo>
                    <a:pt x="95887" y="3620"/>
                  </a:lnTo>
                  <a:lnTo>
                    <a:pt x="95471" y="5024"/>
                  </a:lnTo>
                  <a:lnTo>
                    <a:pt x="95550" y="7065"/>
                  </a:lnTo>
                  <a:lnTo>
                    <a:pt x="96125" y="9741"/>
                  </a:lnTo>
                  <a:lnTo>
                    <a:pt x="95804" y="12115"/>
                  </a:lnTo>
                  <a:lnTo>
                    <a:pt x="93982" y="15226"/>
                  </a:lnTo>
                  <a:lnTo>
                    <a:pt x="93066" y="16494"/>
                  </a:lnTo>
                  <a:lnTo>
                    <a:pt x="92840" y="17800"/>
                  </a:lnTo>
                  <a:lnTo>
                    <a:pt x="92998" y="19561"/>
                  </a:lnTo>
                  <a:lnTo>
                    <a:pt x="93831" y="22435"/>
                  </a:lnTo>
                  <a:lnTo>
                    <a:pt x="95341" y="26417"/>
                  </a:lnTo>
                  <a:lnTo>
                    <a:pt x="95567" y="29371"/>
                  </a:lnTo>
                  <a:lnTo>
                    <a:pt x="94510" y="31285"/>
                  </a:lnTo>
                  <a:lnTo>
                    <a:pt x="94024" y="32939"/>
                  </a:lnTo>
                  <a:lnTo>
                    <a:pt x="94105" y="34328"/>
                  </a:lnTo>
                  <a:lnTo>
                    <a:pt x="94482" y="35305"/>
                  </a:lnTo>
                  <a:lnTo>
                    <a:pt x="95156" y="35867"/>
                  </a:lnTo>
                  <a:lnTo>
                    <a:pt x="95530" y="36980"/>
                  </a:lnTo>
                  <a:lnTo>
                    <a:pt x="95606" y="38646"/>
                  </a:lnTo>
                  <a:lnTo>
                    <a:pt x="96485" y="40256"/>
                  </a:lnTo>
                  <a:lnTo>
                    <a:pt x="98167" y="41814"/>
                  </a:lnTo>
                  <a:lnTo>
                    <a:pt x="98848" y="43300"/>
                  </a:lnTo>
                  <a:lnTo>
                    <a:pt x="98531" y="44716"/>
                  </a:lnTo>
                  <a:lnTo>
                    <a:pt x="98620" y="45600"/>
                  </a:lnTo>
                  <a:lnTo>
                    <a:pt x="99114" y="45950"/>
                  </a:lnTo>
                  <a:lnTo>
                    <a:pt x="99572" y="45663"/>
                  </a:lnTo>
                  <a:lnTo>
                    <a:pt x="100181" y="45276"/>
                  </a:lnTo>
                  <a:lnTo>
                    <a:pt x="100730" y="45414"/>
                  </a:lnTo>
                  <a:lnTo>
                    <a:pt x="101906" y="47391"/>
                  </a:lnTo>
                  <a:lnTo>
                    <a:pt x="102057" y="47794"/>
                  </a:lnTo>
                  <a:lnTo>
                    <a:pt x="102700" y="49423"/>
                  </a:lnTo>
                  <a:lnTo>
                    <a:pt x="102892" y="50660"/>
                  </a:lnTo>
                  <a:lnTo>
                    <a:pt x="104621" y="51350"/>
                  </a:lnTo>
                  <a:lnTo>
                    <a:pt x="106489" y="51895"/>
                  </a:lnTo>
                  <a:lnTo>
                    <a:pt x="107515" y="52548"/>
                  </a:lnTo>
                  <a:lnTo>
                    <a:pt x="109581" y="54502"/>
                  </a:lnTo>
                  <a:lnTo>
                    <a:pt x="111314" y="55790"/>
                  </a:lnTo>
                  <a:lnTo>
                    <a:pt x="113486" y="56846"/>
                  </a:lnTo>
                  <a:lnTo>
                    <a:pt x="114208" y="58534"/>
                  </a:lnTo>
                  <a:lnTo>
                    <a:pt x="115541" y="61083"/>
                  </a:lnTo>
                  <a:lnTo>
                    <a:pt x="119200" y="62061"/>
                  </a:lnTo>
                  <a:lnTo>
                    <a:pt x="123476" y="62550"/>
                  </a:lnTo>
                  <a:lnTo>
                    <a:pt x="126197" y="63102"/>
                  </a:lnTo>
                  <a:lnTo>
                    <a:pt x="129525" y="61749"/>
                  </a:lnTo>
                  <a:lnTo>
                    <a:pt x="131725" y="61942"/>
                  </a:lnTo>
                  <a:lnTo>
                    <a:pt x="134001" y="62861"/>
                  </a:lnTo>
                  <a:lnTo>
                    <a:pt x="134969" y="63484"/>
                  </a:lnTo>
                  <a:lnTo>
                    <a:pt x="136664" y="64798"/>
                  </a:lnTo>
                  <a:lnTo>
                    <a:pt x="139285" y="66480"/>
                  </a:lnTo>
                  <a:lnTo>
                    <a:pt x="141428" y="67105"/>
                  </a:lnTo>
                  <a:lnTo>
                    <a:pt x="142956" y="66168"/>
                  </a:lnTo>
                  <a:lnTo>
                    <a:pt x="144368" y="65842"/>
                  </a:lnTo>
                  <a:lnTo>
                    <a:pt x="145459" y="66234"/>
                  </a:lnTo>
                  <a:lnTo>
                    <a:pt x="146036" y="68059"/>
                  </a:lnTo>
                  <a:lnTo>
                    <a:pt x="146615" y="69299"/>
                  </a:lnTo>
                  <a:lnTo>
                    <a:pt x="147882" y="70232"/>
                  </a:lnTo>
                  <a:lnTo>
                    <a:pt x="150596" y="72629"/>
                  </a:lnTo>
                  <a:lnTo>
                    <a:pt x="152137" y="73608"/>
                  </a:lnTo>
                  <a:lnTo>
                    <a:pt x="153871" y="73542"/>
                  </a:lnTo>
                  <a:lnTo>
                    <a:pt x="157443" y="75114"/>
                  </a:lnTo>
                  <a:lnTo>
                    <a:pt x="161261" y="76647"/>
                  </a:lnTo>
                  <a:lnTo>
                    <a:pt x="163227" y="76900"/>
                  </a:lnTo>
                  <a:lnTo>
                    <a:pt x="165170" y="76676"/>
                  </a:lnTo>
                  <a:lnTo>
                    <a:pt x="166454" y="77262"/>
                  </a:lnTo>
                  <a:lnTo>
                    <a:pt x="166968" y="79111"/>
                  </a:lnTo>
                  <a:lnTo>
                    <a:pt x="170285" y="82807"/>
                  </a:lnTo>
                  <a:lnTo>
                    <a:pt x="171847" y="84251"/>
                  </a:lnTo>
                  <a:lnTo>
                    <a:pt x="173708" y="85493"/>
                  </a:lnTo>
                  <a:lnTo>
                    <a:pt x="178446" y="85476"/>
                  </a:lnTo>
                  <a:lnTo>
                    <a:pt x="179863" y="85845"/>
                  </a:lnTo>
                  <a:lnTo>
                    <a:pt x="181975" y="85515"/>
                  </a:lnTo>
                  <a:lnTo>
                    <a:pt x="188320" y="84884"/>
                  </a:lnTo>
                  <a:lnTo>
                    <a:pt x="189472" y="84687"/>
                  </a:lnTo>
                  <a:lnTo>
                    <a:pt x="193066" y="86300"/>
                  </a:lnTo>
                  <a:lnTo>
                    <a:pt x="197314" y="88618"/>
                  </a:lnTo>
                  <a:lnTo>
                    <a:pt x="200124" y="90441"/>
                  </a:lnTo>
                  <a:lnTo>
                    <a:pt x="202086" y="91444"/>
                  </a:lnTo>
                  <a:lnTo>
                    <a:pt x="203112" y="93079"/>
                  </a:lnTo>
                  <a:lnTo>
                    <a:pt x="203948" y="94783"/>
                  </a:lnTo>
                  <a:lnTo>
                    <a:pt x="204333" y="96614"/>
                  </a:lnTo>
                  <a:lnTo>
                    <a:pt x="203822" y="98435"/>
                  </a:lnTo>
                  <a:lnTo>
                    <a:pt x="203050" y="99166"/>
                  </a:lnTo>
                  <a:lnTo>
                    <a:pt x="202792" y="100346"/>
                  </a:lnTo>
                  <a:lnTo>
                    <a:pt x="203112" y="102113"/>
                  </a:lnTo>
                  <a:lnTo>
                    <a:pt x="204526" y="103686"/>
                  </a:lnTo>
                  <a:lnTo>
                    <a:pt x="205046" y="105625"/>
                  </a:lnTo>
                  <a:lnTo>
                    <a:pt x="205813" y="109051"/>
                  </a:lnTo>
                  <a:lnTo>
                    <a:pt x="206679" y="110136"/>
                  </a:lnTo>
                  <a:lnTo>
                    <a:pt x="207243" y="120761"/>
                  </a:lnTo>
                  <a:lnTo>
                    <a:pt x="204398" y="120851"/>
                  </a:lnTo>
                  <a:lnTo>
                    <a:pt x="200391" y="120977"/>
                  </a:lnTo>
                  <a:lnTo>
                    <a:pt x="201558" y="121991"/>
                  </a:lnTo>
                  <a:lnTo>
                    <a:pt x="204874" y="125952"/>
                  </a:lnTo>
                  <a:lnTo>
                    <a:pt x="207929" y="129603"/>
                  </a:lnTo>
                  <a:lnTo>
                    <a:pt x="208414" y="135471"/>
                  </a:lnTo>
                  <a:lnTo>
                    <a:pt x="208718" y="139171"/>
                  </a:lnTo>
                  <a:lnTo>
                    <a:pt x="209148" y="144391"/>
                  </a:lnTo>
                  <a:lnTo>
                    <a:pt x="209405" y="147504"/>
                  </a:lnTo>
                  <a:lnTo>
                    <a:pt x="217021" y="147786"/>
                  </a:lnTo>
                  <a:lnTo>
                    <a:pt x="225797" y="148109"/>
                  </a:lnTo>
                  <a:lnTo>
                    <a:pt x="236344" y="148499"/>
                  </a:lnTo>
                  <a:lnTo>
                    <a:pt x="245617" y="148841"/>
                  </a:lnTo>
                  <a:lnTo>
                    <a:pt x="246531" y="148805"/>
                  </a:lnTo>
                  <a:lnTo>
                    <a:pt x="248143" y="148380"/>
                  </a:lnTo>
                  <a:lnTo>
                    <a:pt x="249211" y="147828"/>
                  </a:lnTo>
                  <a:lnTo>
                    <a:pt x="249869" y="147846"/>
                  </a:lnTo>
                  <a:lnTo>
                    <a:pt x="249981" y="149107"/>
                  </a:lnTo>
                  <a:lnTo>
                    <a:pt x="249755" y="150703"/>
                  </a:lnTo>
                  <a:lnTo>
                    <a:pt x="249764" y="152533"/>
                  </a:lnTo>
                  <a:lnTo>
                    <a:pt x="247106" y="156153"/>
                  </a:lnTo>
                  <a:lnTo>
                    <a:pt x="246939" y="157300"/>
                  </a:lnTo>
                  <a:lnTo>
                    <a:pt x="247344" y="162076"/>
                  </a:lnTo>
                  <a:lnTo>
                    <a:pt x="248282" y="165940"/>
                  </a:lnTo>
                  <a:lnTo>
                    <a:pt x="248755" y="169438"/>
                  </a:lnTo>
                  <a:lnTo>
                    <a:pt x="249822" y="170528"/>
                  </a:lnTo>
                  <a:lnTo>
                    <a:pt x="252966" y="172372"/>
                  </a:lnTo>
                  <a:lnTo>
                    <a:pt x="257713" y="175785"/>
                  </a:lnTo>
                  <a:lnTo>
                    <a:pt x="259611" y="176228"/>
                  </a:lnTo>
                  <a:lnTo>
                    <a:pt x="261216" y="175767"/>
                  </a:lnTo>
                  <a:lnTo>
                    <a:pt x="262180" y="177156"/>
                  </a:lnTo>
                  <a:lnTo>
                    <a:pt x="262372" y="179407"/>
                  </a:lnTo>
                  <a:lnTo>
                    <a:pt x="264993" y="185694"/>
                  </a:lnTo>
                  <a:lnTo>
                    <a:pt x="266655" y="189688"/>
                  </a:lnTo>
                  <a:lnTo>
                    <a:pt x="267417" y="191077"/>
                  </a:lnTo>
                  <a:lnTo>
                    <a:pt x="268663" y="191798"/>
                  </a:lnTo>
                  <a:lnTo>
                    <a:pt x="268431" y="192316"/>
                  </a:lnTo>
                  <a:lnTo>
                    <a:pt x="267393" y="192525"/>
                  </a:lnTo>
                  <a:lnTo>
                    <a:pt x="266931" y="193275"/>
                  </a:lnTo>
                  <a:lnTo>
                    <a:pt x="265490" y="197749"/>
                  </a:lnTo>
                  <a:lnTo>
                    <a:pt x="263592" y="203657"/>
                  </a:lnTo>
                  <a:lnTo>
                    <a:pt x="262308" y="207802"/>
                  </a:lnTo>
                  <a:lnTo>
                    <a:pt x="263463" y="207869"/>
                  </a:lnTo>
                  <a:lnTo>
                    <a:pt x="263513" y="209020"/>
                  </a:lnTo>
                  <a:lnTo>
                    <a:pt x="263774" y="210776"/>
                  </a:lnTo>
                  <a:lnTo>
                    <a:pt x="262344" y="210993"/>
                  </a:lnTo>
                  <a:lnTo>
                    <a:pt x="261925" y="211622"/>
                  </a:lnTo>
                  <a:lnTo>
                    <a:pt x="260286" y="215028"/>
                  </a:lnTo>
                  <a:lnTo>
                    <a:pt x="258138" y="219495"/>
                  </a:lnTo>
                  <a:lnTo>
                    <a:pt x="255919" y="224112"/>
                  </a:lnTo>
                  <a:lnTo>
                    <a:pt x="254604" y="226851"/>
                  </a:lnTo>
                  <a:lnTo>
                    <a:pt x="256850" y="228878"/>
                  </a:lnTo>
                  <a:lnTo>
                    <a:pt x="260591" y="232256"/>
                  </a:lnTo>
                  <a:lnTo>
                    <a:pt x="259997" y="233195"/>
                  </a:lnTo>
                  <a:lnTo>
                    <a:pt x="258392" y="233662"/>
                  </a:lnTo>
                  <a:lnTo>
                    <a:pt x="257044" y="233994"/>
                  </a:lnTo>
                  <a:lnTo>
                    <a:pt x="256016" y="235264"/>
                  </a:lnTo>
                  <a:lnTo>
                    <a:pt x="255439" y="236201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24" name="ee4p_BR_1_37365">
              <a:extLst>
                <a:ext uri="{FF2B5EF4-FFF2-40B4-BE49-F238E27FC236}">
                  <a16:creationId xmlns:a16="http://schemas.microsoft.com/office/drawing/2014/main" id="{1D0B98E2-AFCE-E7AD-0E7C-A9AD2EB828E5}"/>
                </a:ext>
              </a:extLst>
            </p:cNvPr>
            <p:cNvSpPr>
              <a:spLocks noChangeAspect="1"/>
            </p:cNvSpPr>
            <p:nvPr>
              <p:custDataLst>
                <p:tags r:id="rId378"/>
              </p:custDataLst>
            </p:nvPr>
          </p:nvSpPr>
          <p:spPr>
            <a:xfrm>
              <a:off x="4459713" y="4525664"/>
              <a:ext cx="1088464" cy="1150352"/>
            </a:xfrm>
            <a:custGeom>
              <a:avLst/>
              <a:gdLst>
                <a:gd name="connsiteX0" fmla="*/ 648799 w 993885"/>
                <a:gd name="connsiteY0" fmla="*/ 845793 h 1022551"/>
                <a:gd name="connsiteX1" fmla="*/ 649736 w 993885"/>
                <a:gd name="connsiteY1" fmla="*/ 847211 h 1022551"/>
                <a:gd name="connsiteX2" fmla="*/ 648933 w 993885"/>
                <a:gd name="connsiteY2" fmla="*/ 850350 h 1022551"/>
                <a:gd name="connsiteX3" fmla="*/ 646723 w 993885"/>
                <a:gd name="connsiteY3" fmla="*/ 854202 h 1022551"/>
                <a:gd name="connsiteX4" fmla="*/ 646999 w 993885"/>
                <a:gd name="connsiteY4" fmla="*/ 855845 h 1022551"/>
                <a:gd name="connsiteX5" fmla="*/ 645257 w 993885"/>
                <a:gd name="connsiteY5" fmla="*/ 857083 h 1022551"/>
                <a:gd name="connsiteX6" fmla="*/ 645571 w 993885"/>
                <a:gd name="connsiteY6" fmla="*/ 850583 h 1022551"/>
                <a:gd name="connsiteX7" fmla="*/ 646509 w 993885"/>
                <a:gd name="connsiteY7" fmla="*/ 848415 h 1022551"/>
                <a:gd name="connsiteX8" fmla="*/ 647535 w 993885"/>
                <a:gd name="connsiteY8" fmla="*/ 846797 h 1022551"/>
                <a:gd name="connsiteX9" fmla="*/ 645633 w 993885"/>
                <a:gd name="connsiteY9" fmla="*/ 812307 h 1022551"/>
                <a:gd name="connsiteX10" fmla="*/ 646702 w 993885"/>
                <a:gd name="connsiteY10" fmla="*/ 813622 h 1022551"/>
                <a:gd name="connsiteX11" fmla="*/ 645852 w 993885"/>
                <a:gd name="connsiteY11" fmla="*/ 816187 h 1022551"/>
                <a:gd name="connsiteX12" fmla="*/ 644915 w 993885"/>
                <a:gd name="connsiteY12" fmla="*/ 817995 h 1022551"/>
                <a:gd name="connsiteX13" fmla="*/ 644500 w 993885"/>
                <a:gd name="connsiteY13" fmla="*/ 818590 h 1022551"/>
                <a:gd name="connsiteX14" fmla="*/ 644027 w 993885"/>
                <a:gd name="connsiteY14" fmla="*/ 818921 h 1022551"/>
                <a:gd name="connsiteX15" fmla="*/ 642437 w 993885"/>
                <a:gd name="connsiteY15" fmla="*/ 815548 h 1022551"/>
                <a:gd name="connsiteX16" fmla="*/ 727721 w 993885"/>
                <a:gd name="connsiteY16" fmla="*/ 746405 h 1022551"/>
                <a:gd name="connsiteX17" fmla="*/ 728484 w 993885"/>
                <a:gd name="connsiteY17" fmla="*/ 747060 h 1022551"/>
                <a:gd name="connsiteX18" fmla="*/ 729071 w 993885"/>
                <a:gd name="connsiteY18" fmla="*/ 747882 h 1022551"/>
                <a:gd name="connsiteX19" fmla="*/ 729476 w 993885"/>
                <a:gd name="connsiteY19" fmla="*/ 749030 h 1022551"/>
                <a:gd name="connsiteX20" fmla="*/ 729042 w 993885"/>
                <a:gd name="connsiteY20" fmla="*/ 749771 h 1022551"/>
                <a:gd name="connsiteX21" fmla="*/ 728788 w 993885"/>
                <a:gd name="connsiteY21" fmla="*/ 750741 h 1022551"/>
                <a:gd name="connsiteX22" fmla="*/ 728772 w 993885"/>
                <a:gd name="connsiteY22" fmla="*/ 752140 h 1022551"/>
                <a:gd name="connsiteX23" fmla="*/ 727716 w 993885"/>
                <a:gd name="connsiteY23" fmla="*/ 751428 h 1022551"/>
                <a:gd name="connsiteX24" fmla="*/ 724919 w 993885"/>
                <a:gd name="connsiteY24" fmla="*/ 751970 h 1022551"/>
                <a:gd name="connsiteX25" fmla="*/ 723941 w 993885"/>
                <a:gd name="connsiteY25" fmla="*/ 750914 h 1022551"/>
                <a:gd name="connsiteX26" fmla="*/ 754587 w 993885"/>
                <a:gd name="connsiteY26" fmla="*/ 728911 h 1022551"/>
                <a:gd name="connsiteX27" fmla="*/ 755156 w 993885"/>
                <a:gd name="connsiteY27" fmla="*/ 729146 h 1022551"/>
                <a:gd name="connsiteX28" fmla="*/ 755886 w 993885"/>
                <a:gd name="connsiteY28" fmla="*/ 729959 h 1022551"/>
                <a:gd name="connsiteX29" fmla="*/ 757467 w 993885"/>
                <a:gd name="connsiteY29" fmla="*/ 730724 h 1022551"/>
                <a:gd name="connsiteX30" fmla="*/ 758259 w 993885"/>
                <a:gd name="connsiteY30" fmla="*/ 731457 h 1022551"/>
                <a:gd name="connsiteX31" fmla="*/ 756796 w 993885"/>
                <a:gd name="connsiteY31" fmla="*/ 731385 h 1022551"/>
                <a:gd name="connsiteX32" fmla="*/ 755154 w 993885"/>
                <a:gd name="connsiteY32" fmla="*/ 732033 h 1022551"/>
                <a:gd name="connsiteX33" fmla="*/ 752629 w 993885"/>
                <a:gd name="connsiteY33" fmla="*/ 732607 h 1022551"/>
                <a:gd name="connsiteX34" fmla="*/ 751612 w 993885"/>
                <a:gd name="connsiteY34" fmla="*/ 731530 h 1022551"/>
                <a:gd name="connsiteX35" fmla="*/ 753795 w 993885"/>
                <a:gd name="connsiteY35" fmla="*/ 730037 h 1022551"/>
                <a:gd name="connsiteX36" fmla="*/ 888031 w 993885"/>
                <a:gd name="connsiteY36" fmla="*/ 475177 h 1022551"/>
                <a:gd name="connsiteX37" fmla="*/ 889882 w 993885"/>
                <a:gd name="connsiteY37" fmla="*/ 475246 h 1022551"/>
                <a:gd name="connsiteX38" fmla="*/ 889972 w 993885"/>
                <a:gd name="connsiteY38" fmla="*/ 477113 h 1022551"/>
                <a:gd name="connsiteX39" fmla="*/ 889102 w 993885"/>
                <a:gd name="connsiteY39" fmla="*/ 478633 h 1022551"/>
                <a:gd name="connsiteX40" fmla="*/ 888095 w 993885"/>
                <a:gd name="connsiteY40" fmla="*/ 478406 h 1022551"/>
                <a:gd name="connsiteX41" fmla="*/ 887699 w 993885"/>
                <a:gd name="connsiteY41" fmla="*/ 477388 h 1022551"/>
                <a:gd name="connsiteX42" fmla="*/ 886964 w 993885"/>
                <a:gd name="connsiteY42" fmla="*/ 476395 h 1022551"/>
                <a:gd name="connsiteX43" fmla="*/ 887360 w 993885"/>
                <a:gd name="connsiteY43" fmla="*/ 475619 h 1022551"/>
                <a:gd name="connsiteX44" fmla="*/ 895942 w 993885"/>
                <a:gd name="connsiteY44" fmla="*/ 461812 h 1022551"/>
                <a:gd name="connsiteX45" fmla="*/ 897301 w 993885"/>
                <a:gd name="connsiteY45" fmla="*/ 462942 h 1022551"/>
                <a:gd name="connsiteX46" fmla="*/ 897662 w 993885"/>
                <a:gd name="connsiteY46" fmla="*/ 464191 h 1022551"/>
                <a:gd name="connsiteX47" fmla="*/ 897639 w 993885"/>
                <a:gd name="connsiteY47" fmla="*/ 464709 h 1022551"/>
                <a:gd name="connsiteX48" fmla="*/ 894022 w 993885"/>
                <a:gd name="connsiteY48" fmla="*/ 467404 h 1022551"/>
                <a:gd name="connsiteX49" fmla="*/ 893029 w 993885"/>
                <a:gd name="connsiteY49" fmla="*/ 467960 h 1022551"/>
                <a:gd name="connsiteX50" fmla="*/ 892928 w 993885"/>
                <a:gd name="connsiteY50" fmla="*/ 466321 h 1022551"/>
                <a:gd name="connsiteX51" fmla="*/ 895518 w 993885"/>
                <a:gd name="connsiteY51" fmla="*/ 464254 h 1022551"/>
                <a:gd name="connsiteX52" fmla="*/ 748536 w 993885"/>
                <a:gd name="connsiteY52" fmla="*/ 202367 h 1022551"/>
                <a:gd name="connsiteX53" fmla="*/ 748388 w 993885"/>
                <a:gd name="connsiteY53" fmla="*/ 204199 h 1022551"/>
                <a:gd name="connsiteX54" fmla="*/ 748509 w 993885"/>
                <a:gd name="connsiteY54" fmla="*/ 204762 h 1022551"/>
                <a:gd name="connsiteX55" fmla="*/ 748083 w 993885"/>
                <a:gd name="connsiteY55" fmla="*/ 208002 h 1022551"/>
                <a:gd name="connsiteX56" fmla="*/ 745588 w 993885"/>
                <a:gd name="connsiteY56" fmla="*/ 210488 h 1022551"/>
                <a:gd name="connsiteX57" fmla="*/ 746410 w 993885"/>
                <a:gd name="connsiteY57" fmla="*/ 207604 h 1022551"/>
                <a:gd name="connsiteX58" fmla="*/ 745990 w 993885"/>
                <a:gd name="connsiteY58" fmla="*/ 205616 h 1022551"/>
                <a:gd name="connsiteX59" fmla="*/ 746314 w 993885"/>
                <a:gd name="connsiteY59" fmla="*/ 204077 h 1022551"/>
                <a:gd name="connsiteX60" fmla="*/ 748017 w 993885"/>
                <a:gd name="connsiteY60" fmla="*/ 202587 h 1022551"/>
                <a:gd name="connsiteX61" fmla="*/ 735929 w 993885"/>
                <a:gd name="connsiteY61" fmla="*/ 165578 h 1022551"/>
                <a:gd name="connsiteX62" fmla="*/ 738220 w 993885"/>
                <a:gd name="connsiteY62" fmla="*/ 165821 h 1022551"/>
                <a:gd name="connsiteX63" fmla="*/ 738352 w 993885"/>
                <a:gd name="connsiteY63" fmla="*/ 166861 h 1022551"/>
                <a:gd name="connsiteX64" fmla="*/ 736728 w 993885"/>
                <a:gd name="connsiteY64" fmla="*/ 168083 h 1022551"/>
                <a:gd name="connsiteX65" fmla="*/ 736203 w 993885"/>
                <a:gd name="connsiteY65" fmla="*/ 168711 h 1022551"/>
                <a:gd name="connsiteX66" fmla="*/ 734859 w 993885"/>
                <a:gd name="connsiteY66" fmla="*/ 168243 h 1022551"/>
                <a:gd name="connsiteX67" fmla="*/ 735103 w 993885"/>
                <a:gd name="connsiteY67" fmla="*/ 167543 h 1022551"/>
                <a:gd name="connsiteX68" fmla="*/ 735499 w 993885"/>
                <a:gd name="connsiteY68" fmla="*/ 167614 h 1022551"/>
                <a:gd name="connsiteX69" fmla="*/ 576810 w 993885"/>
                <a:gd name="connsiteY69" fmla="*/ 147171 h 1022551"/>
                <a:gd name="connsiteX70" fmla="*/ 579174 w 993885"/>
                <a:gd name="connsiteY70" fmla="*/ 150349 h 1022551"/>
                <a:gd name="connsiteX71" fmla="*/ 576243 w 993885"/>
                <a:gd name="connsiteY71" fmla="*/ 159353 h 1022551"/>
                <a:gd name="connsiteX72" fmla="*/ 575386 w 993885"/>
                <a:gd name="connsiteY72" fmla="*/ 159405 h 1022551"/>
                <a:gd name="connsiteX73" fmla="*/ 571456 w 993885"/>
                <a:gd name="connsiteY73" fmla="*/ 164154 h 1022551"/>
                <a:gd name="connsiteX74" fmla="*/ 567081 w 993885"/>
                <a:gd name="connsiteY74" fmla="*/ 167471 h 1022551"/>
                <a:gd name="connsiteX75" fmla="*/ 562141 w 993885"/>
                <a:gd name="connsiteY75" fmla="*/ 169801 h 1022551"/>
                <a:gd name="connsiteX76" fmla="*/ 559456 w 993885"/>
                <a:gd name="connsiteY76" fmla="*/ 170279 h 1022551"/>
                <a:gd name="connsiteX77" fmla="*/ 562912 w 993885"/>
                <a:gd name="connsiteY77" fmla="*/ 163937 h 1022551"/>
                <a:gd name="connsiteX78" fmla="*/ 566007 w 993885"/>
                <a:gd name="connsiteY78" fmla="*/ 160985 h 1022551"/>
                <a:gd name="connsiteX79" fmla="*/ 566051 w 993885"/>
                <a:gd name="connsiteY79" fmla="*/ 155125 h 1022551"/>
                <a:gd name="connsiteX80" fmla="*/ 569404 w 993885"/>
                <a:gd name="connsiteY80" fmla="*/ 149915 h 1022551"/>
                <a:gd name="connsiteX81" fmla="*/ 572488 w 993885"/>
                <a:gd name="connsiteY81" fmla="*/ 147793 h 1022551"/>
                <a:gd name="connsiteX82" fmla="*/ 602312 w 993885"/>
                <a:gd name="connsiteY82" fmla="*/ 136394 h 1022551"/>
                <a:gd name="connsiteX83" fmla="*/ 618023 w 993885"/>
                <a:gd name="connsiteY83" fmla="*/ 139254 h 1022551"/>
                <a:gd name="connsiteX84" fmla="*/ 620392 w 993885"/>
                <a:gd name="connsiteY84" fmla="*/ 139367 h 1022551"/>
                <a:gd name="connsiteX85" fmla="*/ 623747 w 993885"/>
                <a:gd name="connsiteY85" fmla="*/ 138886 h 1022551"/>
                <a:gd name="connsiteX86" fmla="*/ 625994 w 993885"/>
                <a:gd name="connsiteY86" fmla="*/ 137699 h 1022551"/>
                <a:gd name="connsiteX87" fmla="*/ 628509 w 993885"/>
                <a:gd name="connsiteY87" fmla="*/ 137466 h 1022551"/>
                <a:gd name="connsiteX88" fmla="*/ 630997 w 993885"/>
                <a:gd name="connsiteY88" fmla="*/ 137590 h 1022551"/>
                <a:gd name="connsiteX89" fmla="*/ 639375 w 993885"/>
                <a:gd name="connsiteY89" fmla="*/ 138908 h 1022551"/>
                <a:gd name="connsiteX90" fmla="*/ 644409 w 993885"/>
                <a:gd name="connsiteY90" fmla="*/ 139316 h 1022551"/>
                <a:gd name="connsiteX91" fmla="*/ 646250 w 993885"/>
                <a:gd name="connsiteY91" fmla="*/ 139737 h 1022551"/>
                <a:gd name="connsiteX92" fmla="*/ 648049 w 993885"/>
                <a:gd name="connsiteY92" fmla="*/ 140337 h 1022551"/>
                <a:gd name="connsiteX93" fmla="*/ 649363 w 993885"/>
                <a:gd name="connsiteY93" fmla="*/ 140983 h 1022551"/>
                <a:gd name="connsiteX94" fmla="*/ 649692 w 993885"/>
                <a:gd name="connsiteY94" fmla="*/ 142389 h 1022551"/>
                <a:gd name="connsiteX95" fmla="*/ 648466 w 993885"/>
                <a:gd name="connsiteY95" fmla="*/ 144638 h 1022551"/>
                <a:gd name="connsiteX96" fmla="*/ 647555 w 993885"/>
                <a:gd name="connsiteY96" fmla="*/ 147003 h 1022551"/>
                <a:gd name="connsiteX97" fmla="*/ 646706 w 993885"/>
                <a:gd name="connsiteY97" fmla="*/ 150304 h 1022551"/>
                <a:gd name="connsiteX98" fmla="*/ 646050 w 993885"/>
                <a:gd name="connsiteY98" fmla="*/ 150975 h 1022551"/>
                <a:gd name="connsiteX99" fmla="*/ 644952 w 993885"/>
                <a:gd name="connsiteY99" fmla="*/ 150799 h 1022551"/>
                <a:gd name="connsiteX100" fmla="*/ 645635 w 993885"/>
                <a:gd name="connsiteY100" fmla="*/ 153753 h 1022551"/>
                <a:gd name="connsiteX101" fmla="*/ 645386 w 993885"/>
                <a:gd name="connsiteY101" fmla="*/ 154934 h 1022551"/>
                <a:gd name="connsiteX102" fmla="*/ 644843 w 993885"/>
                <a:gd name="connsiteY102" fmla="*/ 156083 h 1022551"/>
                <a:gd name="connsiteX103" fmla="*/ 643495 w 993885"/>
                <a:gd name="connsiteY103" fmla="*/ 158469 h 1022551"/>
                <a:gd name="connsiteX104" fmla="*/ 641454 w 993885"/>
                <a:gd name="connsiteY104" fmla="*/ 161504 h 1022551"/>
                <a:gd name="connsiteX105" fmla="*/ 640847 w 993885"/>
                <a:gd name="connsiteY105" fmla="*/ 162140 h 1022551"/>
                <a:gd name="connsiteX106" fmla="*/ 639292 w 993885"/>
                <a:gd name="connsiteY106" fmla="*/ 163197 h 1022551"/>
                <a:gd name="connsiteX107" fmla="*/ 638028 w 993885"/>
                <a:gd name="connsiteY107" fmla="*/ 164546 h 1022551"/>
                <a:gd name="connsiteX108" fmla="*/ 638299 w 993885"/>
                <a:gd name="connsiteY108" fmla="*/ 165813 h 1022551"/>
                <a:gd name="connsiteX109" fmla="*/ 638931 w 993885"/>
                <a:gd name="connsiteY109" fmla="*/ 167092 h 1022551"/>
                <a:gd name="connsiteX110" fmla="*/ 638182 w 993885"/>
                <a:gd name="connsiteY110" fmla="*/ 168692 h 1022551"/>
                <a:gd name="connsiteX111" fmla="*/ 635766 w 993885"/>
                <a:gd name="connsiteY111" fmla="*/ 171032 h 1022551"/>
                <a:gd name="connsiteX112" fmla="*/ 634319 w 993885"/>
                <a:gd name="connsiteY112" fmla="*/ 171599 h 1022551"/>
                <a:gd name="connsiteX113" fmla="*/ 632988 w 993885"/>
                <a:gd name="connsiteY113" fmla="*/ 171837 h 1022551"/>
                <a:gd name="connsiteX114" fmla="*/ 631761 w 993885"/>
                <a:gd name="connsiteY114" fmla="*/ 171609 h 1022551"/>
                <a:gd name="connsiteX115" fmla="*/ 629583 w 993885"/>
                <a:gd name="connsiteY115" fmla="*/ 169264 h 1022551"/>
                <a:gd name="connsiteX116" fmla="*/ 629356 w 993885"/>
                <a:gd name="connsiteY116" fmla="*/ 171099 h 1022551"/>
                <a:gd name="connsiteX117" fmla="*/ 628770 w 993885"/>
                <a:gd name="connsiteY117" fmla="*/ 172977 h 1022551"/>
                <a:gd name="connsiteX118" fmla="*/ 628030 w 993885"/>
                <a:gd name="connsiteY118" fmla="*/ 174004 h 1022551"/>
                <a:gd name="connsiteX119" fmla="*/ 625220 w 993885"/>
                <a:gd name="connsiteY119" fmla="*/ 173895 h 1022551"/>
                <a:gd name="connsiteX120" fmla="*/ 623653 w 993885"/>
                <a:gd name="connsiteY120" fmla="*/ 172890 h 1022551"/>
                <a:gd name="connsiteX121" fmla="*/ 621117 w 993885"/>
                <a:gd name="connsiteY121" fmla="*/ 171775 h 1022551"/>
                <a:gd name="connsiteX122" fmla="*/ 620634 w 993885"/>
                <a:gd name="connsiteY122" fmla="*/ 174789 h 1022551"/>
                <a:gd name="connsiteX123" fmla="*/ 619056 w 993885"/>
                <a:gd name="connsiteY123" fmla="*/ 176868 h 1022551"/>
                <a:gd name="connsiteX124" fmla="*/ 617467 w 993885"/>
                <a:gd name="connsiteY124" fmla="*/ 177519 h 1022551"/>
                <a:gd name="connsiteX125" fmla="*/ 614977 w 993885"/>
                <a:gd name="connsiteY125" fmla="*/ 177957 h 1022551"/>
                <a:gd name="connsiteX126" fmla="*/ 613547 w 993885"/>
                <a:gd name="connsiteY126" fmla="*/ 178841 h 1022551"/>
                <a:gd name="connsiteX127" fmla="*/ 610855 w 993885"/>
                <a:gd name="connsiteY127" fmla="*/ 178151 h 1022551"/>
                <a:gd name="connsiteX128" fmla="*/ 608354 w 993885"/>
                <a:gd name="connsiteY128" fmla="*/ 176768 h 1022551"/>
                <a:gd name="connsiteX129" fmla="*/ 606940 w 993885"/>
                <a:gd name="connsiteY129" fmla="*/ 176649 h 1022551"/>
                <a:gd name="connsiteX130" fmla="*/ 605836 w 993885"/>
                <a:gd name="connsiteY130" fmla="*/ 177767 h 1022551"/>
                <a:gd name="connsiteX131" fmla="*/ 600025 w 993885"/>
                <a:gd name="connsiteY131" fmla="*/ 177972 h 1022551"/>
                <a:gd name="connsiteX132" fmla="*/ 597362 w 993885"/>
                <a:gd name="connsiteY132" fmla="*/ 179106 h 1022551"/>
                <a:gd name="connsiteX133" fmla="*/ 595735 w 993885"/>
                <a:gd name="connsiteY133" fmla="*/ 178785 h 1022551"/>
                <a:gd name="connsiteX134" fmla="*/ 593341 w 993885"/>
                <a:gd name="connsiteY134" fmla="*/ 176496 h 1022551"/>
                <a:gd name="connsiteX135" fmla="*/ 592957 w 993885"/>
                <a:gd name="connsiteY135" fmla="*/ 174973 h 1022551"/>
                <a:gd name="connsiteX136" fmla="*/ 591531 w 993885"/>
                <a:gd name="connsiteY136" fmla="*/ 171886 h 1022551"/>
                <a:gd name="connsiteX137" fmla="*/ 590253 w 993885"/>
                <a:gd name="connsiteY137" fmla="*/ 168220 h 1022551"/>
                <a:gd name="connsiteX138" fmla="*/ 589341 w 993885"/>
                <a:gd name="connsiteY138" fmla="*/ 164893 h 1022551"/>
                <a:gd name="connsiteX139" fmla="*/ 590109 w 993885"/>
                <a:gd name="connsiteY139" fmla="*/ 162014 h 1022551"/>
                <a:gd name="connsiteX140" fmla="*/ 591661 w 993885"/>
                <a:gd name="connsiteY140" fmla="*/ 162112 h 1022551"/>
                <a:gd name="connsiteX141" fmla="*/ 593497 w 993885"/>
                <a:gd name="connsiteY141" fmla="*/ 162539 h 1022551"/>
                <a:gd name="connsiteX142" fmla="*/ 593887 w 993885"/>
                <a:gd name="connsiteY142" fmla="*/ 162336 h 1022551"/>
                <a:gd name="connsiteX143" fmla="*/ 593977 w 993885"/>
                <a:gd name="connsiteY143" fmla="*/ 161416 h 1022551"/>
                <a:gd name="connsiteX144" fmla="*/ 593572 w 993885"/>
                <a:gd name="connsiteY144" fmla="*/ 160650 h 1022551"/>
                <a:gd name="connsiteX145" fmla="*/ 590614 w 993885"/>
                <a:gd name="connsiteY145" fmla="*/ 160771 h 1022551"/>
                <a:gd name="connsiteX146" fmla="*/ 588745 w 993885"/>
                <a:gd name="connsiteY146" fmla="*/ 159063 h 1022551"/>
                <a:gd name="connsiteX147" fmla="*/ 588420 w 993885"/>
                <a:gd name="connsiteY147" fmla="*/ 156423 h 1022551"/>
                <a:gd name="connsiteX148" fmla="*/ 588804 w 993885"/>
                <a:gd name="connsiteY148" fmla="*/ 150935 h 1022551"/>
                <a:gd name="connsiteX149" fmla="*/ 589048 w 993885"/>
                <a:gd name="connsiteY149" fmla="*/ 149809 h 1022551"/>
                <a:gd name="connsiteX150" fmla="*/ 590352 w 993885"/>
                <a:gd name="connsiteY150" fmla="*/ 148235 h 1022551"/>
                <a:gd name="connsiteX151" fmla="*/ 590779 w 993885"/>
                <a:gd name="connsiteY151" fmla="*/ 146844 h 1022551"/>
                <a:gd name="connsiteX152" fmla="*/ 590456 w 993885"/>
                <a:gd name="connsiteY152" fmla="*/ 145366 h 1022551"/>
                <a:gd name="connsiteX153" fmla="*/ 591016 w 993885"/>
                <a:gd name="connsiteY153" fmla="*/ 142684 h 1022551"/>
                <a:gd name="connsiteX154" fmla="*/ 592239 w 993885"/>
                <a:gd name="connsiteY154" fmla="*/ 140361 h 1022551"/>
                <a:gd name="connsiteX155" fmla="*/ 596903 w 993885"/>
                <a:gd name="connsiteY155" fmla="*/ 137434 h 1022551"/>
                <a:gd name="connsiteX156" fmla="*/ 589202 w 993885"/>
                <a:gd name="connsiteY156" fmla="*/ 134479 h 1022551"/>
                <a:gd name="connsiteX157" fmla="*/ 591694 w 993885"/>
                <a:gd name="connsiteY157" fmla="*/ 134914 h 1022551"/>
                <a:gd name="connsiteX158" fmla="*/ 592109 w 993885"/>
                <a:gd name="connsiteY158" fmla="*/ 136127 h 1022551"/>
                <a:gd name="connsiteX159" fmla="*/ 592052 w 993885"/>
                <a:gd name="connsiteY159" fmla="*/ 136781 h 1022551"/>
                <a:gd name="connsiteX160" fmla="*/ 585117 w 993885"/>
                <a:gd name="connsiteY160" fmla="*/ 141742 h 1022551"/>
                <a:gd name="connsiteX161" fmla="*/ 582768 w 993885"/>
                <a:gd name="connsiteY161" fmla="*/ 140114 h 1022551"/>
                <a:gd name="connsiteX162" fmla="*/ 582284 w 993885"/>
                <a:gd name="connsiteY162" fmla="*/ 139170 h 1022551"/>
                <a:gd name="connsiteX163" fmla="*/ 582683 w 993885"/>
                <a:gd name="connsiteY163" fmla="*/ 138220 h 1022551"/>
                <a:gd name="connsiteX164" fmla="*/ 582597 w 993885"/>
                <a:gd name="connsiteY164" fmla="*/ 137814 h 1022551"/>
                <a:gd name="connsiteX165" fmla="*/ 583375 w 993885"/>
                <a:gd name="connsiteY165" fmla="*/ 136112 h 1022551"/>
                <a:gd name="connsiteX166" fmla="*/ 587252 w 993885"/>
                <a:gd name="connsiteY166" fmla="*/ 134715 h 1022551"/>
                <a:gd name="connsiteX167" fmla="*/ 621197 w 993885"/>
                <a:gd name="connsiteY167" fmla="*/ 131321 h 1022551"/>
                <a:gd name="connsiteX168" fmla="*/ 623808 w 993885"/>
                <a:gd name="connsiteY168" fmla="*/ 131992 h 1022551"/>
                <a:gd name="connsiteX169" fmla="*/ 624522 w 993885"/>
                <a:gd name="connsiteY169" fmla="*/ 133415 h 1022551"/>
                <a:gd name="connsiteX170" fmla="*/ 624305 w 993885"/>
                <a:gd name="connsiteY170" fmla="*/ 134850 h 1022551"/>
                <a:gd name="connsiteX171" fmla="*/ 622707 w 993885"/>
                <a:gd name="connsiteY171" fmla="*/ 136293 h 1022551"/>
                <a:gd name="connsiteX172" fmla="*/ 615990 w 993885"/>
                <a:gd name="connsiteY172" fmla="*/ 137088 h 1022551"/>
                <a:gd name="connsiteX173" fmla="*/ 612915 w 993885"/>
                <a:gd name="connsiteY173" fmla="*/ 135823 h 1022551"/>
                <a:gd name="connsiteX174" fmla="*/ 613609 w 993885"/>
                <a:gd name="connsiteY174" fmla="*/ 134758 h 1022551"/>
                <a:gd name="connsiteX175" fmla="*/ 615901 w 993885"/>
                <a:gd name="connsiteY175" fmla="*/ 133060 h 1022551"/>
                <a:gd name="connsiteX176" fmla="*/ 618693 w 993885"/>
                <a:gd name="connsiteY176" fmla="*/ 131853 h 1022551"/>
                <a:gd name="connsiteX177" fmla="*/ 611674 w 993885"/>
                <a:gd name="connsiteY177" fmla="*/ 125720 h 1022551"/>
                <a:gd name="connsiteX178" fmla="*/ 615244 w 993885"/>
                <a:gd name="connsiteY178" fmla="*/ 126643 h 1022551"/>
                <a:gd name="connsiteX179" fmla="*/ 616283 w 993885"/>
                <a:gd name="connsiteY179" fmla="*/ 127967 h 1022551"/>
                <a:gd name="connsiteX180" fmla="*/ 612689 w 993885"/>
                <a:gd name="connsiteY180" fmla="*/ 133268 h 1022551"/>
                <a:gd name="connsiteX181" fmla="*/ 610709 w 993885"/>
                <a:gd name="connsiteY181" fmla="*/ 134030 h 1022551"/>
                <a:gd name="connsiteX182" fmla="*/ 608543 w 993885"/>
                <a:gd name="connsiteY182" fmla="*/ 134185 h 1022551"/>
                <a:gd name="connsiteX183" fmla="*/ 605738 w 993885"/>
                <a:gd name="connsiteY183" fmla="*/ 132605 h 1022551"/>
                <a:gd name="connsiteX184" fmla="*/ 601364 w 993885"/>
                <a:gd name="connsiteY184" fmla="*/ 132718 h 1022551"/>
                <a:gd name="connsiteX185" fmla="*/ 599999 w 993885"/>
                <a:gd name="connsiteY185" fmla="*/ 132344 h 1022551"/>
                <a:gd name="connsiteX186" fmla="*/ 599855 w 993885"/>
                <a:gd name="connsiteY186" fmla="*/ 130033 h 1022551"/>
                <a:gd name="connsiteX187" fmla="*/ 601692 w 993885"/>
                <a:gd name="connsiteY187" fmla="*/ 127566 h 1022551"/>
                <a:gd name="connsiteX188" fmla="*/ 605361 w 993885"/>
                <a:gd name="connsiteY188" fmla="*/ 127699 h 1022551"/>
                <a:gd name="connsiteX189" fmla="*/ 599154 w 993885"/>
                <a:gd name="connsiteY189" fmla="*/ 118461 h 1022551"/>
                <a:gd name="connsiteX190" fmla="*/ 599707 w 993885"/>
                <a:gd name="connsiteY190" fmla="*/ 118693 h 1022551"/>
                <a:gd name="connsiteX191" fmla="*/ 599920 w 993885"/>
                <a:gd name="connsiteY191" fmla="*/ 123767 h 1022551"/>
                <a:gd name="connsiteX192" fmla="*/ 600180 w 993885"/>
                <a:gd name="connsiteY192" fmla="*/ 126876 h 1022551"/>
                <a:gd name="connsiteX193" fmla="*/ 597801 w 993885"/>
                <a:gd name="connsiteY193" fmla="*/ 129912 h 1022551"/>
                <a:gd name="connsiteX194" fmla="*/ 597349 w 993885"/>
                <a:gd name="connsiteY194" fmla="*/ 133638 h 1022551"/>
                <a:gd name="connsiteX195" fmla="*/ 592785 w 993885"/>
                <a:gd name="connsiteY195" fmla="*/ 132064 h 1022551"/>
                <a:gd name="connsiteX196" fmla="*/ 593127 w 993885"/>
                <a:gd name="connsiteY196" fmla="*/ 128251 h 1022551"/>
                <a:gd name="connsiteX197" fmla="*/ 595263 w 993885"/>
                <a:gd name="connsiteY197" fmla="*/ 127182 h 1022551"/>
                <a:gd name="connsiteX198" fmla="*/ 597155 w 993885"/>
                <a:gd name="connsiteY198" fmla="*/ 125155 h 1022551"/>
                <a:gd name="connsiteX199" fmla="*/ 597802 w 993885"/>
                <a:gd name="connsiteY199" fmla="*/ 122669 h 1022551"/>
                <a:gd name="connsiteX200" fmla="*/ 597841 w 993885"/>
                <a:gd name="connsiteY200" fmla="*/ 119288 h 1022551"/>
                <a:gd name="connsiteX201" fmla="*/ 598543 w 993885"/>
                <a:gd name="connsiteY201" fmla="*/ 118701 h 1022551"/>
                <a:gd name="connsiteX202" fmla="*/ 607114 w 993885"/>
                <a:gd name="connsiteY202" fmla="*/ 117265 h 1022551"/>
                <a:gd name="connsiteX203" fmla="*/ 607674 w 993885"/>
                <a:gd name="connsiteY203" fmla="*/ 118360 h 1022551"/>
                <a:gd name="connsiteX204" fmla="*/ 607592 w 993885"/>
                <a:gd name="connsiteY204" fmla="*/ 120187 h 1022551"/>
                <a:gd name="connsiteX205" fmla="*/ 604729 w 993885"/>
                <a:gd name="connsiteY205" fmla="*/ 123478 h 1022551"/>
                <a:gd name="connsiteX206" fmla="*/ 601980 w 993885"/>
                <a:gd name="connsiteY206" fmla="*/ 124336 h 1022551"/>
                <a:gd name="connsiteX207" fmla="*/ 601468 w 993885"/>
                <a:gd name="connsiteY207" fmla="*/ 123533 h 1022551"/>
                <a:gd name="connsiteX208" fmla="*/ 601464 w 993885"/>
                <a:gd name="connsiteY208" fmla="*/ 120347 h 1022551"/>
                <a:gd name="connsiteX209" fmla="*/ 602237 w 993885"/>
                <a:gd name="connsiteY209" fmla="*/ 118599 h 1022551"/>
                <a:gd name="connsiteX210" fmla="*/ 605746 w 993885"/>
                <a:gd name="connsiteY210" fmla="*/ 118109 h 1022551"/>
                <a:gd name="connsiteX211" fmla="*/ 606106 w 993885"/>
                <a:gd name="connsiteY211" fmla="*/ 117596 h 1022551"/>
                <a:gd name="connsiteX212" fmla="*/ 597988 w 993885"/>
                <a:gd name="connsiteY212" fmla="*/ 78627 h 1022551"/>
                <a:gd name="connsiteX213" fmla="*/ 599411 w 993885"/>
                <a:gd name="connsiteY213" fmla="*/ 78806 h 1022551"/>
                <a:gd name="connsiteX214" fmla="*/ 599934 w 993885"/>
                <a:gd name="connsiteY214" fmla="*/ 79128 h 1022551"/>
                <a:gd name="connsiteX215" fmla="*/ 601200 w 993885"/>
                <a:gd name="connsiteY215" fmla="*/ 83242 h 1022551"/>
                <a:gd name="connsiteX216" fmla="*/ 601026 w 993885"/>
                <a:gd name="connsiteY216" fmla="*/ 84283 h 1022551"/>
                <a:gd name="connsiteX217" fmla="*/ 598495 w 993885"/>
                <a:gd name="connsiteY217" fmla="*/ 85441 h 1022551"/>
                <a:gd name="connsiteX218" fmla="*/ 597041 w 993885"/>
                <a:gd name="connsiteY218" fmla="*/ 84994 h 1022551"/>
                <a:gd name="connsiteX219" fmla="*/ 595700 w 993885"/>
                <a:gd name="connsiteY219" fmla="*/ 81975 h 1022551"/>
                <a:gd name="connsiteX220" fmla="*/ 596156 w 993885"/>
                <a:gd name="connsiteY220" fmla="*/ 79461 h 1022551"/>
                <a:gd name="connsiteX221" fmla="*/ 348915 w 993885"/>
                <a:gd name="connsiteY221" fmla="*/ 0 h 1022551"/>
                <a:gd name="connsiteX222" fmla="*/ 350434 w 993885"/>
                <a:gd name="connsiteY222" fmla="*/ 488 h 1022551"/>
                <a:gd name="connsiteX223" fmla="*/ 351441 w 993885"/>
                <a:gd name="connsiteY223" fmla="*/ 488 h 1022551"/>
                <a:gd name="connsiteX224" fmla="*/ 352355 w 993885"/>
                <a:gd name="connsiteY224" fmla="*/ 1621 h 1022551"/>
                <a:gd name="connsiteX225" fmla="*/ 353063 w 993885"/>
                <a:gd name="connsiteY225" fmla="*/ 2898 h 1022551"/>
                <a:gd name="connsiteX226" fmla="*/ 355279 w 993885"/>
                <a:gd name="connsiteY226" fmla="*/ 4452 h 1022551"/>
                <a:gd name="connsiteX227" fmla="*/ 355058 w 993885"/>
                <a:gd name="connsiteY227" fmla="*/ 6816 h 1022551"/>
                <a:gd name="connsiteX228" fmla="*/ 354650 w 993885"/>
                <a:gd name="connsiteY228" fmla="*/ 8909 h 1022551"/>
                <a:gd name="connsiteX229" fmla="*/ 354364 w 993885"/>
                <a:gd name="connsiteY229" fmla="*/ 11318 h 1022551"/>
                <a:gd name="connsiteX230" fmla="*/ 354236 w 993885"/>
                <a:gd name="connsiteY230" fmla="*/ 13153 h 1022551"/>
                <a:gd name="connsiteX231" fmla="*/ 353294 w 993885"/>
                <a:gd name="connsiteY231" fmla="*/ 15030 h 1022551"/>
                <a:gd name="connsiteX232" fmla="*/ 351884 w 993885"/>
                <a:gd name="connsiteY232" fmla="*/ 16782 h 1022551"/>
                <a:gd name="connsiteX233" fmla="*/ 351469 w 993885"/>
                <a:gd name="connsiteY233" fmla="*/ 17496 h 1022551"/>
                <a:gd name="connsiteX234" fmla="*/ 351274 w 993885"/>
                <a:gd name="connsiteY234" fmla="*/ 18419 h 1022551"/>
                <a:gd name="connsiteX235" fmla="*/ 352224 w 993885"/>
                <a:gd name="connsiteY235" fmla="*/ 18981 h 1022551"/>
                <a:gd name="connsiteX236" fmla="*/ 353901 w 993885"/>
                <a:gd name="connsiteY236" fmla="*/ 19148 h 1022551"/>
                <a:gd name="connsiteX237" fmla="*/ 355997 w 993885"/>
                <a:gd name="connsiteY237" fmla="*/ 19220 h 1022551"/>
                <a:gd name="connsiteX238" fmla="*/ 357422 w 993885"/>
                <a:gd name="connsiteY238" fmla="*/ 19764 h 1022551"/>
                <a:gd name="connsiteX239" fmla="*/ 359268 w 993885"/>
                <a:gd name="connsiteY239" fmla="*/ 19876 h 1022551"/>
                <a:gd name="connsiteX240" fmla="*/ 361488 w 993885"/>
                <a:gd name="connsiteY240" fmla="*/ 21382 h 1022551"/>
                <a:gd name="connsiteX241" fmla="*/ 362567 w 993885"/>
                <a:gd name="connsiteY241" fmla="*/ 22284 h 1022551"/>
                <a:gd name="connsiteX242" fmla="*/ 362657 w 993885"/>
                <a:gd name="connsiteY242" fmla="*/ 22985 h 1022551"/>
                <a:gd name="connsiteX243" fmla="*/ 361952 w 993885"/>
                <a:gd name="connsiteY243" fmla="*/ 24659 h 1022551"/>
                <a:gd name="connsiteX244" fmla="*/ 361671 w 993885"/>
                <a:gd name="connsiteY244" fmla="*/ 26205 h 1022551"/>
                <a:gd name="connsiteX245" fmla="*/ 362220 w 993885"/>
                <a:gd name="connsiteY245" fmla="*/ 27186 h 1022551"/>
                <a:gd name="connsiteX246" fmla="*/ 362872 w 993885"/>
                <a:gd name="connsiteY246" fmla="*/ 27891 h 1022551"/>
                <a:gd name="connsiteX247" fmla="*/ 364672 w 993885"/>
                <a:gd name="connsiteY247" fmla="*/ 31377 h 1022551"/>
                <a:gd name="connsiteX248" fmla="*/ 365529 w 993885"/>
                <a:gd name="connsiteY248" fmla="*/ 32590 h 1022551"/>
                <a:gd name="connsiteX249" fmla="*/ 366256 w 993885"/>
                <a:gd name="connsiteY249" fmla="*/ 32981 h 1022551"/>
                <a:gd name="connsiteX250" fmla="*/ 366424 w 993885"/>
                <a:gd name="connsiteY250" fmla="*/ 33653 h 1022551"/>
                <a:gd name="connsiteX251" fmla="*/ 365808 w 993885"/>
                <a:gd name="connsiteY251" fmla="*/ 34925 h 1022551"/>
                <a:gd name="connsiteX252" fmla="*/ 365072 w 993885"/>
                <a:gd name="connsiteY252" fmla="*/ 36544 h 1022551"/>
                <a:gd name="connsiteX253" fmla="*/ 363405 w 993885"/>
                <a:gd name="connsiteY253" fmla="*/ 38244 h 1022551"/>
                <a:gd name="connsiteX254" fmla="*/ 363181 w 993885"/>
                <a:gd name="connsiteY254" fmla="*/ 39587 h 1022551"/>
                <a:gd name="connsiteX255" fmla="*/ 361846 w 993885"/>
                <a:gd name="connsiteY255" fmla="*/ 40432 h 1022551"/>
                <a:gd name="connsiteX256" fmla="*/ 358734 w 993885"/>
                <a:gd name="connsiteY256" fmla="*/ 42439 h 1022551"/>
                <a:gd name="connsiteX257" fmla="*/ 359276 w 993885"/>
                <a:gd name="connsiteY257" fmla="*/ 45621 h 1022551"/>
                <a:gd name="connsiteX258" fmla="*/ 359383 w 993885"/>
                <a:gd name="connsiteY258" fmla="*/ 47235 h 1022551"/>
                <a:gd name="connsiteX259" fmla="*/ 359324 w 993885"/>
                <a:gd name="connsiteY259" fmla="*/ 48488 h 1022551"/>
                <a:gd name="connsiteX260" fmla="*/ 358262 w 993885"/>
                <a:gd name="connsiteY260" fmla="*/ 50167 h 1022551"/>
                <a:gd name="connsiteX261" fmla="*/ 356420 w 993885"/>
                <a:gd name="connsiteY261" fmla="*/ 55122 h 1022551"/>
                <a:gd name="connsiteX262" fmla="*/ 355745 w 993885"/>
                <a:gd name="connsiteY262" fmla="*/ 57593 h 1022551"/>
                <a:gd name="connsiteX263" fmla="*/ 355146 w 993885"/>
                <a:gd name="connsiteY263" fmla="*/ 63305 h 1022551"/>
                <a:gd name="connsiteX264" fmla="*/ 355186 w 993885"/>
                <a:gd name="connsiteY264" fmla="*/ 65219 h 1022551"/>
                <a:gd name="connsiteX265" fmla="*/ 356036 w 993885"/>
                <a:gd name="connsiteY265" fmla="*/ 67797 h 1022551"/>
                <a:gd name="connsiteX266" fmla="*/ 357841 w 993885"/>
                <a:gd name="connsiteY266" fmla="*/ 73516 h 1022551"/>
                <a:gd name="connsiteX267" fmla="*/ 358868 w 993885"/>
                <a:gd name="connsiteY267" fmla="*/ 74427 h 1022551"/>
                <a:gd name="connsiteX268" fmla="*/ 361249 w 993885"/>
                <a:gd name="connsiteY268" fmla="*/ 75770 h 1022551"/>
                <a:gd name="connsiteX269" fmla="*/ 361546 w 993885"/>
                <a:gd name="connsiteY269" fmla="*/ 79639 h 1022551"/>
                <a:gd name="connsiteX270" fmla="*/ 361336 w 993885"/>
                <a:gd name="connsiteY270" fmla="*/ 83677 h 1022551"/>
                <a:gd name="connsiteX271" fmla="*/ 361224 w 993885"/>
                <a:gd name="connsiteY271" fmla="*/ 85244 h 1022551"/>
                <a:gd name="connsiteX272" fmla="*/ 361617 w 993885"/>
                <a:gd name="connsiteY272" fmla="*/ 85916 h 1022551"/>
                <a:gd name="connsiteX273" fmla="*/ 362686 w 993885"/>
                <a:gd name="connsiteY273" fmla="*/ 86237 h 1022551"/>
                <a:gd name="connsiteX274" fmla="*/ 363447 w 993885"/>
                <a:gd name="connsiteY274" fmla="*/ 86723 h 1022551"/>
                <a:gd name="connsiteX275" fmla="*/ 363568 w 993885"/>
                <a:gd name="connsiteY275" fmla="*/ 87918 h 1022551"/>
                <a:gd name="connsiteX276" fmla="*/ 363495 w 993885"/>
                <a:gd name="connsiteY276" fmla="*/ 89159 h 1022551"/>
                <a:gd name="connsiteX277" fmla="*/ 365271 w 993885"/>
                <a:gd name="connsiteY277" fmla="*/ 89875 h 1022551"/>
                <a:gd name="connsiteX278" fmla="*/ 366815 w 993885"/>
                <a:gd name="connsiteY278" fmla="*/ 90333 h 1022551"/>
                <a:gd name="connsiteX279" fmla="*/ 368242 w 993885"/>
                <a:gd name="connsiteY279" fmla="*/ 92047 h 1022551"/>
                <a:gd name="connsiteX280" fmla="*/ 370822 w 993885"/>
                <a:gd name="connsiteY280" fmla="*/ 94712 h 1022551"/>
                <a:gd name="connsiteX281" fmla="*/ 371847 w 993885"/>
                <a:gd name="connsiteY281" fmla="*/ 95197 h 1022551"/>
                <a:gd name="connsiteX282" fmla="*/ 372361 w 993885"/>
                <a:gd name="connsiteY282" fmla="*/ 96304 h 1022551"/>
                <a:gd name="connsiteX283" fmla="*/ 374536 w 993885"/>
                <a:gd name="connsiteY283" fmla="*/ 98550 h 1022551"/>
                <a:gd name="connsiteX284" fmla="*/ 377854 w 993885"/>
                <a:gd name="connsiteY284" fmla="*/ 99371 h 1022551"/>
                <a:gd name="connsiteX285" fmla="*/ 381197 w 993885"/>
                <a:gd name="connsiteY285" fmla="*/ 100361 h 1022551"/>
                <a:gd name="connsiteX286" fmla="*/ 382514 w 993885"/>
                <a:gd name="connsiteY286" fmla="*/ 101775 h 1022551"/>
                <a:gd name="connsiteX287" fmla="*/ 383885 w 993885"/>
                <a:gd name="connsiteY287" fmla="*/ 102923 h 1022551"/>
                <a:gd name="connsiteX288" fmla="*/ 384917 w 993885"/>
                <a:gd name="connsiteY288" fmla="*/ 102982 h 1022551"/>
                <a:gd name="connsiteX289" fmla="*/ 385795 w 993885"/>
                <a:gd name="connsiteY289" fmla="*/ 102799 h 1022551"/>
                <a:gd name="connsiteX290" fmla="*/ 387237 w 993885"/>
                <a:gd name="connsiteY290" fmla="*/ 101809 h 1022551"/>
                <a:gd name="connsiteX291" fmla="*/ 388395 w 993885"/>
                <a:gd name="connsiteY291" fmla="*/ 100959 h 1022551"/>
                <a:gd name="connsiteX292" fmla="*/ 390412 w 993885"/>
                <a:gd name="connsiteY292" fmla="*/ 101007 h 1022551"/>
                <a:gd name="connsiteX293" fmla="*/ 392776 w 993885"/>
                <a:gd name="connsiteY293" fmla="*/ 100867 h 1022551"/>
                <a:gd name="connsiteX294" fmla="*/ 393186 w 993885"/>
                <a:gd name="connsiteY294" fmla="*/ 100167 h 1022551"/>
                <a:gd name="connsiteX295" fmla="*/ 393410 w 993885"/>
                <a:gd name="connsiteY295" fmla="*/ 99267 h 1022551"/>
                <a:gd name="connsiteX296" fmla="*/ 392924 w 993885"/>
                <a:gd name="connsiteY296" fmla="*/ 96961 h 1022551"/>
                <a:gd name="connsiteX297" fmla="*/ 393763 w 993885"/>
                <a:gd name="connsiteY297" fmla="*/ 96262 h 1022551"/>
                <a:gd name="connsiteX298" fmla="*/ 395718 w 993885"/>
                <a:gd name="connsiteY298" fmla="*/ 95869 h 1022551"/>
                <a:gd name="connsiteX299" fmla="*/ 396110 w 993885"/>
                <a:gd name="connsiteY299" fmla="*/ 94639 h 1022551"/>
                <a:gd name="connsiteX300" fmla="*/ 396559 w 993885"/>
                <a:gd name="connsiteY300" fmla="*/ 93968 h 1022551"/>
                <a:gd name="connsiteX301" fmla="*/ 397117 w 993885"/>
                <a:gd name="connsiteY301" fmla="*/ 93185 h 1022551"/>
                <a:gd name="connsiteX302" fmla="*/ 397788 w 993885"/>
                <a:gd name="connsiteY302" fmla="*/ 93074 h 1022551"/>
                <a:gd name="connsiteX303" fmla="*/ 398626 w 993885"/>
                <a:gd name="connsiteY303" fmla="*/ 93521 h 1022551"/>
                <a:gd name="connsiteX304" fmla="*/ 399912 w 993885"/>
                <a:gd name="connsiteY304" fmla="*/ 93801 h 1022551"/>
                <a:gd name="connsiteX305" fmla="*/ 401366 w 993885"/>
                <a:gd name="connsiteY305" fmla="*/ 94192 h 1022551"/>
                <a:gd name="connsiteX306" fmla="*/ 402148 w 993885"/>
                <a:gd name="connsiteY306" fmla="*/ 94975 h 1022551"/>
                <a:gd name="connsiteX307" fmla="*/ 403440 w 993885"/>
                <a:gd name="connsiteY307" fmla="*/ 95041 h 1022551"/>
                <a:gd name="connsiteX308" fmla="*/ 404876 w 993885"/>
                <a:gd name="connsiteY308" fmla="*/ 94892 h 1022551"/>
                <a:gd name="connsiteX309" fmla="*/ 405456 w 993885"/>
                <a:gd name="connsiteY309" fmla="*/ 94392 h 1022551"/>
                <a:gd name="connsiteX310" fmla="*/ 405879 w 993885"/>
                <a:gd name="connsiteY310" fmla="*/ 93521 h 1022551"/>
                <a:gd name="connsiteX311" fmla="*/ 406191 w 993885"/>
                <a:gd name="connsiteY311" fmla="*/ 91641 h 1022551"/>
                <a:gd name="connsiteX312" fmla="*/ 407116 w 993885"/>
                <a:gd name="connsiteY312" fmla="*/ 91586 h 1022551"/>
                <a:gd name="connsiteX313" fmla="*/ 408964 w 993885"/>
                <a:gd name="connsiteY313" fmla="*/ 91163 h 1022551"/>
                <a:gd name="connsiteX314" fmla="*/ 410936 w 993885"/>
                <a:gd name="connsiteY314" fmla="*/ 90333 h 1022551"/>
                <a:gd name="connsiteX315" fmla="*/ 413572 w 993885"/>
                <a:gd name="connsiteY315" fmla="*/ 90211 h 1022551"/>
                <a:gd name="connsiteX316" fmla="*/ 416039 w 993885"/>
                <a:gd name="connsiteY316" fmla="*/ 90230 h 1022551"/>
                <a:gd name="connsiteX317" fmla="*/ 417273 w 993885"/>
                <a:gd name="connsiteY317" fmla="*/ 89673 h 1022551"/>
                <a:gd name="connsiteX318" fmla="*/ 418422 w 993885"/>
                <a:gd name="connsiteY318" fmla="*/ 88460 h 1022551"/>
                <a:gd name="connsiteX319" fmla="*/ 420647 w 993885"/>
                <a:gd name="connsiteY319" fmla="*/ 85033 h 1022551"/>
                <a:gd name="connsiteX320" fmla="*/ 421811 w 993885"/>
                <a:gd name="connsiteY320" fmla="*/ 84243 h 1022551"/>
                <a:gd name="connsiteX321" fmla="*/ 423062 w 993885"/>
                <a:gd name="connsiteY321" fmla="*/ 83650 h 1022551"/>
                <a:gd name="connsiteX322" fmla="*/ 424124 w 993885"/>
                <a:gd name="connsiteY322" fmla="*/ 83758 h 1022551"/>
                <a:gd name="connsiteX323" fmla="*/ 426304 w 993885"/>
                <a:gd name="connsiteY323" fmla="*/ 83191 h 1022551"/>
                <a:gd name="connsiteX324" fmla="*/ 428097 w 993885"/>
                <a:gd name="connsiteY324" fmla="*/ 82369 h 1022551"/>
                <a:gd name="connsiteX325" fmla="*/ 428762 w 993885"/>
                <a:gd name="connsiteY325" fmla="*/ 82577 h 1022551"/>
                <a:gd name="connsiteX326" fmla="*/ 430158 w 993885"/>
                <a:gd name="connsiteY326" fmla="*/ 84336 h 1022551"/>
                <a:gd name="connsiteX327" fmla="*/ 430856 w 993885"/>
                <a:gd name="connsiteY327" fmla="*/ 84721 h 1022551"/>
                <a:gd name="connsiteX328" fmla="*/ 431884 w 993885"/>
                <a:gd name="connsiteY328" fmla="*/ 84844 h 1022551"/>
                <a:gd name="connsiteX329" fmla="*/ 435251 w 993885"/>
                <a:gd name="connsiteY329" fmla="*/ 85736 h 1022551"/>
                <a:gd name="connsiteX330" fmla="*/ 437038 w 993885"/>
                <a:gd name="connsiteY330" fmla="*/ 85458 h 1022551"/>
                <a:gd name="connsiteX331" fmla="*/ 438976 w 993885"/>
                <a:gd name="connsiteY331" fmla="*/ 84898 h 1022551"/>
                <a:gd name="connsiteX332" fmla="*/ 440837 w 993885"/>
                <a:gd name="connsiteY332" fmla="*/ 84685 h 1022551"/>
                <a:gd name="connsiteX333" fmla="*/ 442178 w 993885"/>
                <a:gd name="connsiteY333" fmla="*/ 85076 h 1022551"/>
                <a:gd name="connsiteX334" fmla="*/ 443143 w 993885"/>
                <a:gd name="connsiteY334" fmla="*/ 84568 h 1022551"/>
                <a:gd name="connsiteX335" fmla="*/ 444226 w 993885"/>
                <a:gd name="connsiteY335" fmla="*/ 84191 h 1022551"/>
                <a:gd name="connsiteX336" fmla="*/ 444986 w 993885"/>
                <a:gd name="connsiteY336" fmla="*/ 84440 h 1022551"/>
                <a:gd name="connsiteX337" fmla="*/ 446684 w 993885"/>
                <a:gd name="connsiteY337" fmla="*/ 84654 h 1022551"/>
                <a:gd name="connsiteX338" fmla="*/ 450708 w 993885"/>
                <a:gd name="connsiteY338" fmla="*/ 85633 h 1022551"/>
                <a:gd name="connsiteX339" fmla="*/ 455962 w 993885"/>
                <a:gd name="connsiteY339" fmla="*/ 86725 h 1022551"/>
                <a:gd name="connsiteX340" fmla="*/ 457398 w 993885"/>
                <a:gd name="connsiteY340" fmla="*/ 86349 h 1022551"/>
                <a:gd name="connsiteX341" fmla="*/ 458252 w 993885"/>
                <a:gd name="connsiteY341" fmla="*/ 85578 h 1022551"/>
                <a:gd name="connsiteX342" fmla="*/ 458455 w 993885"/>
                <a:gd name="connsiteY342" fmla="*/ 83316 h 1022551"/>
                <a:gd name="connsiteX343" fmla="*/ 458615 w 993885"/>
                <a:gd name="connsiteY343" fmla="*/ 81721 h 1022551"/>
                <a:gd name="connsiteX344" fmla="*/ 457432 w 993885"/>
                <a:gd name="connsiteY344" fmla="*/ 80311 h 1022551"/>
                <a:gd name="connsiteX345" fmla="*/ 455959 w 993885"/>
                <a:gd name="connsiteY345" fmla="*/ 78712 h 1022551"/>
                <a:gd name="connsiteX346" fmla="*/ 454601 w 993885"/>
                <a:gd name="connsiteY346" fmla="*/ 76718 h 1022551"/>
                <a:gd name="connsiteX347" fmla="*/ 452976 w 993885"/>
                <a:gd name="connsiteY347" fmla="*/ 76153 h 1022551"/>
                <a:gd name="connsiteX348" fmla="*/ 453186 w 993885"/>
                <a:gd name="connsiteY348" fmla="*/ 75125 h 1022551"/>
                <a:gd name="connsiteX349" fmla="*/ 454242 w 993885"/>
                <a:gd name="connsiteY349" fmla="*/ 74066 h 1022551"/>
                <a:gd name="connsiteX350" fmla="*/ 455324 w 993885"/>
                <a:gd name="connsiteY350" fmla="*/ 73480 h 1022551"/>
                <a:gd name="connsiteX351" fmla="*/ 455952 w 993885"/>
                <a:gd name="connsiteY351" fmla="*/ 72760 h 1022551"/>
                <a:gd name="connsiteX352" fmla="*/ 456632 w 993885"/>
                <a:gd name="connsiteY352" fmla="*/ 70103 h 1022551"/>
                <a:gd name="connsiteX353" fmla="*/ 457087 w 993885"/>
                <a:gd name="connsiteY353" fmla="*/ 69634 h 1022551"/>
                <a:gd name="connsiteX354" fmla="*/ 457546 w 993885"/>
                <a:gd name="connsiteY354" fmla="*/ 69520 h 1022551"/>
                <a:gd name="connsiteX355" fmla="*/ 458092 w 993885"/>
                <a:gd name="connsiteY355" fmla="*/ 69618 h 1022551"/>
                <a:gd name="connsiteX356" fmla="*/ 459162 w 993885"/>
                <a:gd name="connsiteY356" fmla="*/ 70306 h 1022551"/>
                <a:gd name="connsiteX357" fmla="*/ 463300 w 993885"/>
                <a:gd name="connsiteY357" fmla="*/ 72420 h 1022551"/>
                <a:gd name="connsiteX358" fmla="*/ 465115 w 993885"/>
                <a:gd name="connsiteY358" fmla="*/ 72100 h 1022551"/>
                <a:gd name="connsiteX359" fmla="*/ 472053 w 993885"/>
                <a:gd name="connsiteY359" fmla="*/ 71545 h 1022551"/>
                <a:gd name="connsiteX360" fmla="*/ 473102 w 993885"/>
                <a:gd name="connsiteY360" fmla="*/ 70324 h 1022551"/>
                <a:gd name="connsiteX361" fmla="*/ 474571 w 993885"/>
                <a:gd name="connsiteY361" fmla="*/ 70048 h 1022551"/>
                <a:gd name="connsiteX362" fmla="*/ 477065 w 993885"/>
                <a:gd name="connsiteY362" fmla="*/ 68833 h 1022551"/>
                <a:gd name="connsiteX363" fmla="*/ 478050 w 993885"/>
                <a:gd name="connsiteY363" fmla="*/ 68751 h 1022551"/>
                <a:gd name="connsiteX364" fmla="*/ 478931 w 993885"/>
                <a:gd name="connsiteY364" fmla="*/ 69044 h 1022551"/>
                <a:gd name="connsiteX365" fmla="*/ 480041 w 993885"/>
                <a:gd name="connsiteY365" fmla="*/ 68813 h 1022551"/>
                <a:gd name="connsiteX366" fmla="*/ 481676 w 993885"/>
                <a:gd name="connsiteY366" fmla="*/ 67681 h 1022551"/>
                <a:gd name="connsiteX367" fmla="*/ 482366 w 993885"/>
                <a:gd name="connsiteY367" fmla="*/ 67561 h 1022551"/>
                <a:gd name="connsiteX368" fmla="*/ 482626 w 993885"/>
                <a:gd name="connsiteY368" fmla="*/ 68813 h 1022551"/>
                <a:gd name="connsiteX369" fmla="*/ 483687 w 993885"/>
                <a:gd name="connsiteY369" fmla="*/ 70106 h 1022551"/>
                <a:gd name="connsiteX370" fmla="*/ 484966 w 993885"/>
                <a:gd name="connsiteY370" fmla="*/ 71299 h 1022551"/>
                <a:gd name="connsiteX371" fmla="*/ 485586 w 993885"/>
                <a:gd name="connsiteY371" fmla="*/ 71573 h 1022551"/>
                <a:gd name="connsiteX372" fmla="*/ 487736 w 993885"/>
                <a:gd name="connsiteY372" fmla="*/ 71187 h 1022551"/>
                <a:gd name="connsiteX373" fmla="*/ 488867 w 993885"/>
                <a:gd name="connsiteY373" fmla="*/ 71520 h 1022551"/>
                <a:gd name="connsiteX374" fmla="*/ 489357 w 993885"/>
                <a:gd name="connsiteY374" fmla="*/ 72629 h 1022551"/>
                <a:gd name="connsiteX375" fmla="*/ 489497 w 993885"/>
                <a:gd name="connsiteY375" fmla="*/ 73596 h 1022551"/>
                <a:gd name="connsiteX376" fmla="*/ 490398 w 993885"/>
                <a:gd name="connsiteY376" fmla="*/ 74415 h 1022551"/>
                <a:gd name="connsiteX377" fmla="*/ 491554 w 993885"/>
                <a:gd name="connsiteY377" fmla="*/ 74435 h 1022551"/>
                <a:gd name="connsiteX378" fmla="*/ 492171 w 993885"/>
                <a:gd name="connsiteY378" fmla="*/ 74764 h 1022551"/>
                <a:gd name="connsiteX379" fmla="*/ 493222 w 993885"/>
                <a:gd name="connsiteY379" fmla="*/ 75289 h 1022551"/>
                <a:gd name="connsiteX380" fmla="*/ 494119 w 993885"/>
                <a:gd name="connsiteY380" fmla="*/ 76497 h 1022551"/>
                <a:gd name="connsiteX381" fmla="*/ 496198 w 993885"/>
                <a:gd name="connsiteY381" fmla="*/ 77459 h 1022551"/>
                <a:gd name="connsiteX382" fmla="*/ 499750 w 993885"/>
                <a:gd name="connsiteY382" fmla="*/ 78811 h 1022551"/>
                <a:gd name="connsiteX383" fmla="*/ 501400 w 993885"/>
                <a:gd name="connsiteY383" fmla="*/ 78835 h 1022551"/>
                <a:gd name="connsiteX384" fmla="*/ 502937 w 993885"/>
                <a:gd name="connsiteY384" fmla="*/ 79247 h 1022551"/>
                <a:gd name="connsiteX385" fmla="*/ 503883 w 993885"/>
                <a:gd name="connsiteY385" fmla="*/ 79654 h 1022551"/>
                <a:gd name="connsiteX386" fmla="*/ 504905 w 993885"/>
                <a:gd name="connsiteY386" fmla="*/ 78906 h 1022551"/>
                <a:gd name="connsiteX387" fmla="*/ 508538 w 993885"/>
                <a:gd name="connsiteY387" fmla="*/ 76825 h 1022551"/>
                <a:gd name="connsiteX388" fmla="*/ 510309 w 993885"/>
                <a:gd name="connsiteY388" fmla="*/ 75664 h 1022551"/>
                <a:gd name="connsiteX389" fmla="*/ 511503 w 993885"/>
                <a:gd name="connsiteY389" fmla="*/ 74785 h 1022551"/>
                <a:gd name="connsiteX390" fmla="*/ 512398 w 993885"/>
                <a:gd name="connsiteY390" fmla="*/ 73946 h 1022551"/>
                <a:gd name="connsiteX391" fmla="*/ 513069 w 993885"/>
                <a:gd name="connsiteY391" fmla="*/ 73722 h 1022551"/>
                <a:gd name="connsiteX392" fmla="*/ 513516 w 993885"/>
                <a:gd name="connsiteY392" fmla="*/ 74225 h 1022551"/>
                <a:gd name="connsiteX393" fmla="*/ 513907 w 993885"/>
                <a:gd name="connsiteY393" fmla="*/ 74897 h 1022551"/>
                <a:gd name="connsiteX394" fmla="*/ 515201 w 993885"/>
                <a:gd name="connsiteY394" fmla="*/ 75293 h 1022551"/>
                <a:gd name="connsiteX395" fmla="*/ 518237 w 993885"/>
                <a:gd name="connsiteY395" fmla="*/ 76079 h 1022551"/>
                <a:gd name="connsiteX396" fmla="*/ 519631 w 993885"/>
                <a:gd name="connsiteY396" fmla="*/ 76303 h 1022551"/>
                <a:gd name="connsiteX397" fmla="*/ 521588 w 993885"/>
                <a:gd name="connsiteY397" fmla="*/ 75634 h 1022551"/>
                <a:gd name="connsiteX398" fmla="*/ 523256 w 993885"/>
                <a:gd name="connsiteY398" fmla="*/ 74499 h 1022551"/>
                <a:gd name="connsiteX399" fmla="*/ 524057 w 993885"/>
                <a:gd name="connsiteY399" fmla="*/ 74105 h 1022551"/>
                <a:gd name="connsiteX400" fmla="*/ 525298 w 993885"/>
                <a:gd name="connsiteY400" fmla="*/ 75235 h 1022551"/>
                <a:gd name="connsiteX401" fmla="*/ 526142 w 993885"/>
                <a:gd name="connsiteY401" fmla="*/ 76832 h 1022551"/>
                <a:gd name="connsiteX402" fmla="*/ 526710 w 993885"/>
                <a:gd name="connsiteY402" fmla="*/ 77526 h 1022551"/>
                <a:gd name="connsiteX403" fmla="*/ 527971 w 993885"/>
                <a:gd name="connsiteY403" fmla="*/ 77362 h 1022551"/>
                <a:gd name="connsiteX404" fmla="*/ 530451 w 993885"/>
                <a:gd name="connsiteY404" fmla="*/ 77607 h 1022551"/>
                <a:gd name="connsiteX405" fmla="*/ 532290 w 993885"/>
                <a:gd name="connsiteY405" fmla="*/ 78114 h 1022551"/>
                <a:gd name="connsiteX406" fmla="*/ 533429 w 993885"/>
                <a:gd name="connsiteY406" fmla="*/ 78068 h 1022551"/>
                <a:gd name="connsiteX407" fmla="*/ 534985 w 993885"/>
                <a:gd name="connsiteY407" fmla="*/ 77358 h 1022551"/>
                <a:gd name="connsiteX408" fmla="*/ 535822 w 993885"/>
                <a:gd name="connsiteY408" fmla="*/ 75959 h 1022551"/>
                <a:gd name="connsiteX409" fmla="*/ 538030 w 993885"/>
                <a:gd name="connsiteY409" fmla="*/ 74677 h 1022551"/>
                <a:gd name="connsiteX410" fmla="*/ 540128 w 993885"/>
                <a:gd name="connsiteY410" fmla="*/ 73498 h 1022551"/>
                <a:gd name="connsiteX411" fmla="*/ 541331 w 993885"/>
                <a:gd name="connsiteY411" fmla="*/ 71924 h 1022551"/>
                <a:gd name="connsiteX412" fmla="*/ 543111 w 993885"/>
                <a:gd name="connsiteY412" fmla="*/ 69306 h 1022551"/>
                <a:gd name="connsiteX413" fmla="*/ 543707 w 993885"/>
                <a:gd name="connsiteY413" fmla="*/ 68183 h 1022551"/>
                <a:gd name="connsiteX414" fmla="*/ 543829 w 993885"/>
                <a:gd name="connsiteY414" fmla="*/ 66293 h 1022551"/>
                <a:gd name="connsiteX415" fmla="*/ 546334 w 993885"/>
                <a:gd name="connsiteY415" fmla="*/ 60799 h 1022551"/>
                <a:gd name="connsiteX416" fmla="*/ 547284 w 993885"/>
                <a:gd name="connsiteY416" fmla="*/ 59791 h 1022551"/>
                <a:gd name="connsiteX417" fmla="*/ 547842 w 993885"/>
                <a:gd name="connsiteY417" fmla="*/ 58057 h 1022551"/>
                <a:gd name="connsiteX418" fmla="*/ 548850 w 993885"/>
                <a:gd name="connsiteY418" fmla="*/ 56043 h 1022551"/>
                <a:gd name="connsiteX419" fmla="*/ 548850 w 993885"/>
                <a:gd name="connsiteY419" fmla="*/ 54364 h 1022551"/>
                <a:gd name="connsiteX420" fmla="*/ 549579 w 993885"/>
                <a:gd name="connsiteY420" fmla="*/ 52739 h 1022551"/>
                <a:gd name="connsiteX421" fmla="*/ 551016 w 993885"/>
                <a:gd name="connsiteY421" fmla="*/ 51334 h 1022551"/>
                <a:gd name="connsiteX422" fmla="*/ 552076 w 993885"/>
                <a:gd name="connsiteY422" fmla="*/ 50456 h 1022551"/>
                <a:gd name="connsiteX423" fmla="*/ 553771 w 993885"/>
                <a:gd name="connsiteY423" fmla="*/ 48095 h 1022551"/>
                <a:gd name="connsiteX424" fmla="*/ 554949 w 993885"/>
                <a:gd name="connsiteY424" fmla="*/ 45871 h 1022551"/>
                <a:gd name="connsiteX425" fmla="*/ 557906 w 993885"/>
                <a:gd name="connsiteY425" fmla="*/ 40931 h 1022551"/>
                <a:gd name="connsiteX426" fmla="*/ 558132 w 993885"/>
                <a:gd name="connsiteY426" fmla="*/ 39532 h 1022551"/>
                <a:gd name="connsiteX427" fmla="*/ 559305 w 993885"/>
                <a:gd name="connsiteY427" fmla="*/ 38692 h 1022551"/>
                <a:gd name="connsiteX428" fmla="*/ 559696 w 993885"/>
                <a:gd name="connsiteY428" fmla="*/ 37629 h 1022551"/>
                <a:gd name="connsiteX429" fmla="*/ 560949 w 993885"/>
                <a:gd name="connsiteY429" fmla="*/ 36318 h 1022551"/>
                <a:gd name="connsiteX430" fmla="*/ 562268 w 993885"/>
                <a:gd name="connsiteY430" fmla="*/ 35277 h 1022551"/>
                <a:gd name="connsiteX431" fmla="*/ 562831 w 993885"/>
                <a:gd name="connsiteY431" fmla="*/ 33744 h 1022551"/>
                <a:gd name="connsiteX432" fmla="*/ 563799 w 993885"/>
                <a:gd name="connsiteY432" fmla="*/ 32151 h 1022551"/>
                <a:gd name="connsiteX433" fmla="*/ 565920 w 993885"/>
                <a:gd name="connsiteY433" fmla="*/ 30956 h 1022551"/>
                <a:gd name="connsiteX434" fmla="*/ 566703 w 993885"/>
                <a:gd name="connsiteY434" fmla="*/ 30409 h 1022551"/>
                <a:gd name="connsiteX435" fmla="*/ 569106 w 993885"/>
                <a:gd name="connsiteY435" fmla="*/ 26027 h 1022551"/>
                <a:gd name="connsiteX436" fmla="*/ 569379 w 993885"/>
                <a:gd name="connsiteY436" fmla="*/ 24069 h 1022551"/>
                <a:gd name="connsiteX437" fmla="*/ 571547 w 993885"/>
                <a:gd name="connsiteY437" fmla="*/ 23995 h 1022551"/>
                <a:gd name="connsiteX438" fmla="*/ 574956 w 993885"/>
                <a:gd name="connsiteY438" fmla="*/ 26257 h 1022551"/>
                <a:gd name="connsiteX439" fmla="*/ 577673 w 993885"/>
                <a:gd name="connsiteY439" fmla="*/ 29588 h 1022551"/>
                <a:gd name="connsiteX440" fmla="*/ 581316 w 993885"/>
                <a:gd name="connsiteY440" fmla="*/ 40302 h 1022551"/>
                <a:gd name="connsiteX441" fmla="*/ 581921 w 993885"/>
                <a:gd name="connsiteY441" fmla="*/ 50198 h 1022551"/>
                <a:gd name="connsiteX442" fmla="*/ 583398 w 993885"/>
                <a:gd name="connsiteY442" fmla="*/ 55383 h 1022551"/>
                <a:gd name="connsiteX443" fmla="*/ 587631 w 993885"/>
                <a:gd name="connsiteY443" fmla="*/ 66187 h 1022551"/>
                <a:gd name="connsiteX444" fmla="*/ 587903 w 993885"/>
                <a:gd name="connsiteY444" fmla="*/ 68185 h 1022551"/>
                <a:gd name="connsiteX445" fmla="*/ 588583 w 993885"/>
                <a:gd name="connsiteY445" fmla="*/ 70603 h 1022551"/>
                <a:gd name="connsiteX446" fmla="*/ 589920 w 993885"/>
                <a:gd name="connsiteY446" fmla="*/ 73165 h 1022551"/>
                <a:gd name="connsiteX447" fmla="*/ 591396 w 993885"/>
                <a:gd name="connsiteY447" fmla="*/ 77388 h 1022551"/>
                <a:gd name="connsiteX448" fmla="*/ 591451 w 993885"/>
                <a:gd name="connsiteY448" fmla="*/ 78172 h 1022551"/>
                <a:gd name="connsiteX449" fmla="*/ 590491 w 993885"/>
                <a:gd name="connsiteY449" fmla="*/ 79323 h 1022551"/>
                <a:gd name="connsiteX450" fmla="*/ 591898 w 993885"/>
                <a:gd name="connsiteY450" fmla="*/ 79402 h 1022551"/>
                <a:gd name="connsiteX451" fmla="*/ 593172 w 993885"/>
                <a:gd name="connsiteY451" fmla="*/ 80082 h 1022551"/>
                <a:gd name="connsiteX452" fmla="*/ 594004 w 993885"/>
                <a:gd name="connsiteY452" fmla="*/ 82760 h 1022551"/>
                <a:gd name="connsiteX453" fmla="*/ 595055 w 993885"/>
                <a:gd name="connsiteY453" fmla="*/ 84568 h 1022551"/>
                <a:gd name="connsiteX454" fmla="*/ 596970 w 993885"/>
                <a:gd name="connsiteY454" fmla="*/ 87047 h 1022551"/>
                <a:gd name="connsiteX455" fmla="*/ 600890 w 993885"/>
                <a:gd name="connsiteY455" fmla="*/ 87856 h 1022551"/>
                <a:gd name="connsiteX456" fmla="*/ 603849 w 993885"/>
                <a:gd name="connsiteY456" fmla="*/ 88152 h 1022551"/>
                <a:gd name="connsiteX457" fmla="*/ 607219 w 993885"/>
                <a:gd name="connsiteY457" fmla="*/ 89554 h 1022551"/>
                <a:gd name="connsiteX458" fmla="*/ 609693 w 993885"/>
                <a:gd name="connsiteY458" fmla="*/ 91351 h 1022551"/>
                <a:gd name="connsiteX459" fmla="*/ 611609 w 993885"/>
                <a:gd name="connsiteY459" fmla="*/ 97437 h 1022551"/>
                <a:gd name="connsiteX460" fmla="*/ 610984 w 993885"/>
                <a:gd name="connsiteY460" fmla="*/ 101262 h 1022551"/>
                <a:gd name="connsiteX461" fmla="*/ 611171 w 993885"/>
                <a:gd name="connsiteY461" fmla="*/ 103953 h 1022551"/>
                <a:gd name="connsiteX462" fmla="*/ 610180 w 993885"/>
                <a:gd name="connsiteY462" fmla="*/ 105006 h 1022551"/>
                <a:gd name="connsiteX463" fmla="*/ 607408 w 993885"/>
                <a:gd name="connsiteY463" fmla="*/ 106768 h 1022551"/>
                <a:gd name="connsiteX464" fmla="*/ 606806 w 993885"/>
                <a:gd name="connsiteY464" fmla="*/ 107704 h 1022551"/>
                <a:gd name="connsiteX465" fmla="*/ 601140 w 993885"/>
                <a:gd name="connsiteY465" fmla="*/ 112251 h 1022551"/>
                <a:gd name="connsiteX466" fmla="*/ 599902 w 993885"/>
                <a:gd name="connsiteY466" fmla="*/ 114399 h 1022551"/>
                <a:gd name="connsiteX467" fmla="*/ 596867 w 993885"/>
                <a:gd name="connsiteY467" fmla="*/ 117283 h 1022551"/>
                <a:gd name="connsiteX468" fmla="*/ 593861 w 993885"/>
                <a:gd name="connsiteY468" fmla="*/ 122781 h 1022551"/>
                <a:gd name="connsiteX469" fmla="*/ 589460 w 993885"/>
                <a:gd name="connsiteY469" fmla="*/ 127800 h 1022551"/>
                <a:gd name="connsiteX470" fmla="*/ 587906 w 993885"/>
                <a:gd name="connsiteY470" fmla="*/ 129067 h 1022551"/>
                <a:gd name="connsiteX471" fmla="*/ 585528 w 993885"/>
                <a:gd name="connsiteY471" fmla="*/ 129362 h 1022551"/>
                <a:gd name="connsiteX472" fmla="*/ 584084 w 993885"/>
                <a:gd name="connsiteY472" fmla="*/ 130140 h 1022551"/>
                <a:gd name="connsiteX473" fmla="*/ 580665 w 993885"/>
                <a:gd name="connsiteY473" fmla="*/ 134235 h 1022551"/>
                <a:gd name="connsiteX474" fmla="*/ 576077 w 993885"/>
                <a:gd name="connsiteY474" fmla="*/ 135603 h 1022551"/>
                <a:gd name="connsiteX475" fmla="*/ 575655 w 993885"/>
                <a:gd name="connsiteY475" fmla="*/ 137977 h 1022551"/>
                <a:gd name="connsiteX476" fmla="*/ 573002 w 993885"/>
                <a:gd name="connsiteY476" fmla="*/ 143400 h 1022551"/>
                <a:gd name="connsiteX477" fmla="*/ 570665 w 993885"/>
                <a:gd name="connsiteY477" fmla="*/ 146362 h 1022551"/>
                <a:gd name="connsiteX478" fmla="*/ 569176 w 993885"/>
                <a:gd name="connsiteY478" fmla="*/ 147367 h 1022551"/>
                <a:gd name="connsiteX479" fmla="*/ 565434 w 993885"/>
                <a:gd name="connsiteY479" fmla="*/ 152773 h 1022551"/>
                <a:gd name="connsiteX480" fmla="*/ 564955 w 993885"/>
                <a:gd name="connsiteY480" fmla="*/ 155135 h 1022551"/>
                <a:gd name="connsiteX481" fmla="*/ 564978 w 993885"/>
                <a:gd name="connsiteY481" fmla="*/ 159268 h 1022551"/>
                <a:gd name="connsiteX482" fmla="*/ 562479 w 993885"/>
                <a:gd name="connsiteY482" fmla="*/ 161787 h 1022551"/>
                <a:gd name="connsiteX483" fmla="*/ 559880 w 993885"/>
                <a:gd name="connsiteY483" fmla="*/ 163387 h 1022551"/>
                <a:gd name="connsiteX484" fmla="*/ 559555 w 993885"/>
                <a:gd name="connsiteY484" fmla="*/ 166923 h 1022551"/>
                <a:gd name="connsiteX485" fmla="*/ 558379 w 993885"/>
                <a:gd name="connsiteY485" fmla="*/ 168132 h 1022551"/>
                <a:gd name="connsiteX486" fmla="*/ 557375 w 993885"/>
                <a:gd name="connsiteY486" fmla="*/ 168920 h 1022551"/>
                <a:gd name="connsiteX487" fmla="*/ 552080 w 993885"/>
                <a:gd name="connsiteY487" fmla="*/ 167993 h 1022551"/>
                <a:gd name="connsiteX488" fmla="*/ 543861 w 993885"/>
                <a:gd name="connsiteY488" fmla="*/ 171837 h 1022551"/>
                <a:gd name="connsiteX489" fmla="*/ 541052 w 993885"/>
                <a:gd name="connsiteY489" fmla="*/ 172792 h 1022551"/>
                <a:gd name="connsiteX490" fmla="*/ 550025 w 993885"/>
                <a:gd name="connsiteY490" fmla="*/ 172991 h 1022551"/>
                <a:gd name="connsiteX491" fmla="*/ 552906 w 993885"/>
                <a:gd name="connsiteY491" fmla="*/ 175034 h 1022551"/>
                <a:gd name="connsiteX492" fmla="*/ 559223 w 993885"/>
                <a:gd name="connsiteY492" fmla="*/ 173680 h 1022551"/>
                <a:gd name="connsiteX493" fmla="*/ 566863 w 993885"/>
                <a:gd name="connsiteY493" fmla="*/ 168801 h 1022551"/>
                <a:gd name="connsiteX494" fmla="*/ 569780 w 993885"/>
                <a:gd name="connsiteY494" fmla="*/ 167780 h 1022551"/>
                <a:gd name="connsiteX495" fmla="*/ 575710 w 993885"/>
                <a:gd name="connsiteY495" fmla="*/ 164470 h 1022551"/>
                <a:gd name="connsiteX496" fmla="*/ 578119 w 993885"/>
                <a:gd name="connsiteY496" fmla="*/ 162262 h 1022551"/>
                <a:gd name="connsiteX497" fmla="*/ 582515 w 993885"/>
                <a:gd name="connsiteY497" fmla="*/ 159615 h 1022551"/>
                <a:gd name="connsiteX498" fmla="*/ 583451 w 993885"/>
                <a:gd name="connsiteY498" fmla="*/ 158454 h 1022551"/>
                <a:gd name="connsiteX499" fmla="*/ 585914 w 993885"/>
                <a:gd name="connsiteY499" fmla="*/ 157218 h 1022551"/>
                <a:gd name="connsiteX500" fmla="*/ 587249 w 993885"/>
                <a:gd name="connsiteY500" fmla="*/ 158791 h 1022551"/>
                <a:gd name="connsiteX501" fmla="*/ 587352 w 993885"/>
                <a:gd name="connsiteY501" fmla="*/ 159786 h 1022551"/>
                <a:gd name="connsiteX502" fmla="*/ 585332 w 993885"/>
                <a:gd name="connsiteY502" fmla="*/ 161722 h 1022551"/>
                <a:gd name="connsiteX503" fmla="*/ 585857 w 993885"/>
                <a:gd name="connsiteY503" fmla="*/ 162971 h 1022551"/>
                <a:gd name="connsiteX504" fmla="*/ 587191 w 993885"/>
                <a:gd name="connsiteY504" fmla="*/ 164538 h 1022551"/>
                <a:gd name="connsiteX505" fmla="*/ 587673 w 993885"/>
                <a:gd name="connsiteY505" fmla="*/ 166698 h 1022551"/>
                <a:gd name="connsiteX506" fmla="*/ 587848 w 993885"/>
                <a:gd name="connsiteY506" fmla="*/ 168342 h 1022551"/>
                <a:gd name="connsiteX507" fmla="*/ 588672 w 993885"/>
                <a:gd name="connsiteY507" fmla="*/ 171225 h 1022551"/>
                <a:gd name="connsiteX508" fmla="*/ 591390 w 993885"/>
                <a:gd name="connsiteY508" fmla="*/ 175129 h 1022551"/>
                <a:gd name="connsiteX509" fmla="*/ 591483 w 993885"/>
                <a:gd name="connsiteY509" fmla="*/ 176419 h 1022551"/>
                <a:gd name="connsiteX510" fmla="*/ 591109 w 993885"/>
                <a:gd name="connsiteY510" fmla="*/ 178118 h 1022551"/>
                <a:gd name="connsiteX511" fmla="*/ 592409 w 993885"/>
                <a:gd name="connsiteY511" fmla="*/ 179522 h 1022551"/>
                <a:gd name="connsiteX512" fmla="*/ 593758 w 993885"/>
                <a:gd name="connsiteY512" fmla="*/ 180355 h 1022551"/>
                <a:gd name="connsiteX513" fmla="*/ 598381 w 993885"/>
                <a:gd name="connsiteY513" fmla="*/ 184557 h 1022551"/>
                <a:gd name="connsiteX514" fmla="*/ 602002 w 993885"/>
                <a:gd name="connsiteY514" fmla="*/ 182208 h 1022551"/>
                <a:gd name="connsiteX515" fmla="*/ 604227 w 993885"/>
                <a:gd name="connsiteY515" fmla="*/ 181529 h 1022551"/>
                <a:gd name="connsiteX516" fmla="*/ 605649 w 993885"/>
                <a:gd name="connsiteY516" fmla="*/ 180549 h 1022551"/>
                <a:gd name="connsiteX517" fmla="*/ 608626 w 993885"/>
                <a:gd name="connsiteY517" fmla="*/ 179896 h 1022551"/>
                <a:gd name="connsiteX518" fmla="*/ 611066 w 993885"/>
                <a:gd name="connsiteY518" fmla="*/ 180880 h 1022551"/>
                <a:gd name="connsiteX519" fmla="*/ 615718 w 993885"/>
                <a:gd name="connsiteY519" fmla="*/ 182294 h 1022551"/>
                <a:gd name="connsiteX520" fmla="*/ 619120 w 993885"/>
                <a:gd name="connsiteY520" fmla="*/ 180794 h 1022551"/>
                <a:gd name="connsiteX521" fmla="*/ 626009 w 993885"/>
                <a:gd name="connsiteY521" fmla="*/ 177357 h 1022551"/>
                <a:gd name="connsiteX522" fmla="*/ 623855 w 993885"/>
                <a:gd name="connsiteY522" fmla="*/ 183442 h 1022551"/>
                <a:gd name="connsiteX523" fmla="*/ 622295 w 993885"/>
                <a:gd name="connsiteY523" fmla="*/ 189021 h 1022551"/>
                <a:gd name="connsiteX524" fmla="*/ 621107 w 993885"/>
                <a:gd name="connsiteY524" fmla="*/ 191272 h 1022551"/>
                <a:gd name="connsiteX525" fmla="*/ 619932 w 993885"/>
                <a:gd name="connsiteY525" fmla="*/ 197352 h 1022551"/>
                <a:gd name="connsiteX526" fmla="*/ 618766 w 993885"/>
                <a:gd name="connsiteY526" fmla="*/ 198975 h 1022551"/>
                <a:gd name="connsiteX527" fmla="*/ 617823 w 993885"/>
                <a:gd name="connsiteY527" fmla="*/ 200829 h 1022551"/>
                <a:gd name="connsiteX528" fmla="*/ 619361 w 993885"/>
                <a:gd name="connsiteY528" fmla="*/ 200182 h 1022551"/>
                <a:gd name="connsiteX529" fmla="*/ 620677 w 993885"/>
                <a:gd name="connsiteY529" fmla="*/ 199305 h 1022551"/>
                <a:gd name="connsiteX530" fmla="*/ 622362 w 993885"/>
                <a:gd name="connsiteY530" fmla="*/ 196963 h 1022551"/>
                <a:gd name="connsiteX531" fmla="*/ 623625 w 993885"/>
                <a:gd name="connsiteY531" fmla="*/ 192898 h 1022551"/>
                <a:gd name="connsiteX532" fmla="*/ 628611 w 993885"/>
                <a:gd name="connsiteY532" fmla="*/ 182044 h 1022551"/>
                <a:gd name="connsiteX533" fmla="*/ 630038 w 993885"/>
                <a:gd name="connsiteY533" fmla="*/ 181081 h 1022551"/>
                <a:gd name="connsiteX534" fmla="*/ 634183 w 993885"/>
                <a:gd name="connsiteY534" fmla="*/ 179845 h 1022551"/>
                <a:gd name="connsiteX535" fmla="*/ 641316 w 993885"/>
                <a:gd name="connsiteY535" fmla="*/ 171169 h 1022551"/>
                <a:gd name="connsiteX536" fmla="*/ 644105 w 993885"/>
                <a:gd name="connsiteY536" fmla="*/ 171196 h 1022551"/>
                <a:gd name="connsiteX537" fmla="*/ 645890 w 993885"/>
                <a:gd name="connsiteY537" fmla="*/ 173193 h 1022551"/>
                <a:gd name="connsiteX538" fmla="*/ 647580 w 993885"/>
                <a:gd name="connsiteY538" fmla="*/ 174370 h 1022551"/>
                <a:gd name="connsiteX539" fmla="*/ 648014 w 993885"/>
                <a:gd name="connsiteY539" fmla="*/ 171998 h 1022551"/>
                <a:gd name="connsiteX540" fmla="*/ 650449 w 993885"/>
                <a:gd name="connsiteY540" fmla="*/ 171028 h 1022551"/>
                <a:gd name="connsiteX541" fmla="*/ 647872 w 993885"/>
                <a:gd name="connsiteY541" fmla="*/ 169853 h 1022551"/>
                <a:gd name="connsiteX542" fmla="*/ 647451 w 993885"/>
                <a:gd name="connsiteY542" fmla="*/ 168788 h 1022551"/>
                <a:gd name="connsiteX543" fmla="*/ 647205 w 993885"/>
                <a:gd name="connsiteY543" fmla="*/ 167013 h 1022551"/>
                <a:gd name="connsiteX544" fmla="*/ 648959 w 993885"/>
                <a:gd name="connsiteY544" fmla="*/ 164613 h 1022551"/>
                <a:gd name="connsiteX545" fmla="*/ 647914 w 993885"/>
                <a:gd name="connsiteY545" fmla="*/ 162490 h 1022551"/>
                <a:gd name="connsiteX546" fmla="*/ 651547 w 993885"/>
                <a:gd name="connsiteY546" fmla="*/ 159810 h 1022551"/>
                <a:gd name="connsiteX547" fmla="*/ 651266 w 993885"/>
                <a:gd name="connsiteY547" fmla="*/ 157800 h 1022551"/>
                <a:gd name="connsiteX548" fmla="*/ 652563 w 993885"/>
                <a:gd name="connsiteY548" fmla="*/ 156141 h 1022551"/>
                <a:gd name="connsiteX549" fmla="*/ 654203 w 993885"/>
                <a:gd name="connsiteY549" fmla="*/ 154437 h 1022551"/>
                <a:gd name="connsiteX550" fmla="*/ 656061 w 993885"/>
                <a:gd name="connsiteY550" fmla="*/ 153607 h 1022551"/>
                <a:gd name="connsiteX551" fmla="*/ 656401 w 993885"/>
                <a:gd name="connsiteY551" fmla="*/ 152143 h 1022551"/>
                <a:gd name="connsiteX552" fmla="*/ 657573 w 993885"/>
                <a:gd name="connsiteY552" fmla="*/ 151539 h 1022551"/>
                <a:gd name="connsiteX553" fmla="*/ 658493 w 993885"/>
                <a:gd name="connsiteY553" fmla="*/ 151321 h 1022551"/>
                <a:gd name="connsiteX554" fmla="*/ 660309 w 993885"/>
                <a:gd name="connsiteY554" fmla="*/ 152959 h 1022551"/>
                <a:gd name="connsiteX555" fmla="*/ 662276 w 993885"/>
                <a:gd name="connsiteY555" fmla="*/ 151024 h 1022551"/>
                <a:gd name="connsiteX556" fmla="*/ 664196 w 993885"/>
                <a:gd name="connsiteY556" fmla="*/ 150266 h 1022551"/>
                <a:gd name="connsiteX557" fmla="*/ 665056 w 993885"/>
                <a:gd name="connsiteY557" fmla="*/ 150603 h 1022551"/>
                <a:gd name="connsiteX558" fmla="*/ 666127 w 993885"/>
                <a:gd name="connsiteY558" fmla="*/ 151458 h 1022551"/>
                <a:gd name="connsiteX559" fmla="*/ 667252 w 993885"/>
                <a:gd name="connsiteY559" fmla="*/ 151821 h 1022551"/>
                <a:gd name="connsiteX560" fmla="*/ 668166 w 993885"/>
                <a:gd name="connsiteY560" fmla="*/ 151669 h 1022551"/>
                <a:gd name="connsiteX561" fmla="*/ 670543 w 993885"/>
                <a:gd name="connsiteY561" fmla="*/ 150430 h 1022551"/>
                <a:gd name="connsiteX562" fmla="*/ 672739 w 993885"/>
                <a:gd name="connsiteY562" fmla="*/ 152423 h 1022551"/>
                <a:gd name="connsiteX563" fmla="*/ 674059 w 993885"/>
                <a:gd name="connsiteY563" fmla="*/ 152865 h 1022551"/>
                <a:gd name="connsiteX564" fmla="*/ 673698 w 993885"/>
                <a:gd name="connsiteY564" fmla="*/ 151748 h 1022551"/>
                <a:gd name="connsiteX565" fmla="*/ 673002 w 993885"/>
                <a:gd name="connsiteY565" fmla="*/ 150710 h 1022551"/>
                <a:gd name="connsiteX566" fmla="*/ 673542 w 993885"/>
                <a:gd name="connsiteY566" fmla="*/ 149865 h 1022551"/>
                <a:gd name="connsiteX567" fmla="*/ 674581 w 993885"/>
                <a:gd name="connsiteY567" fmla="*/ 149333 h 1022551"/>
                <a:gd name="connsiteX568" fmla="*/ 677865 w 993885"/>
                <a:gd name="connsiteY568" fmla="*/ 149809 h 1022551"/>
                <a:gd name="connsiteX569" fmla="*/ 679590 w 993885"/>
                <a:gd name="connsiteY569" fmla="*/ 150697 h 1022551"/>
                <a:gd name="connsiteX570" fmla="*/ 681458 w 993885"/>
                <a:gd name="connsiteY570" fmla="*/ 152344 h 1022551"/>
                <a:gd name="connsiteX571" fmla="*/ 684052 w 993885"/>
                <a:gd name="connsiteY571" fmla="*/ 152466 h 1022551"/>
                <a:gd name="connsiteX572" fmla="*/ 686087 w 993885"/>
                <a:gd name="connsiteY572" fmla="*/ 152293 h 1022551"/>
                <a:gd name="connsiteX573" fmla="*/ 687371 w 993885"/>
                <a:gd name="connsiteY573" fmla="*/ 153219 h 1022551"/>
                <a:gd name="connsiteX574" fmla="*/ 689462 w 993885"/>
                <a:gd name="connsiteY574" fmla="*/ 153213 h 1022551"/>
                <a:gd name="connsiteX575" fmla="*/ 690509 w 993885"/>
                <a:gd name="connsiteY575" fmla="*/ 154655 h 1022551"/>
                <a:gd name="connsiteX576" fmla="*/ 693691 w 993885"/>
                <a:gd name="connsiteY576" fmla="*/ 156680 h 1022551"/>
                <a:gd name="connsiteX577" fmla="*/ 694380 w 993885"/>
                <a:gd name="connsiteY577" fmla="*/ 158055 h 1022551"/>
                <a:gd name="connsiteX578" fmla="*/ 696940 w 993885"/>
                <a:gd name="connsiteY578" fmla="*/ 158721 h 1022551"/>
                <a:gd name="connsiteX579" fmla="*/ 699338 w 993885"/>
                <a:gd name="connsiteY579" fmla="*/ 159563 h 1022551"/>
                <a:gd name="connsiteX580" fmla="*/ 701896 w 993885"/>
                <a:gd name="connsiteY580" fmla="*/ 159793 h 1022551"/>
                <a:gd name="connsiteX581" fmla="*/ 704475 w 993885"/>
                <a:gd name="connsiteY581" fmla="*/ 159593 h 1022551"/>
                <a:gd name="connsiteX582" fmla="*/ 704580 w 993885"/>
                <a:gd name="connsiteY582" fmla="*/ 161331 h 1022551"/>
                <a:gd name="connsiteX583" fmla="*/ 706472 w 993885"/>
                <a:gd name="connsiteY583" fmla="*/ 161801 h 1022551"/>
                <a:gd name="connsiteX584" fmla="*/ 708900 w 993885"/>
                <a:gd name="connsiteY584" fmla="*/ 161414 h 1022551"/>
                <a:gd name="connsiteX585" fmla="*/ 710735 w 993885"/>
                <a:gd name="connsiteY585" fmla="*/ 163552 h 1022551"/>
                <a:gd name="connsiteX586" fmla="*/ 715640 w 993885"/>
                <a:gd name="connsiteY586" fmla="*/ 165160 h 1022551"/>
                <a:gd name="connsiteX587" fmla="*/ 719039 w 993885"/>
                <a:gd name="connsiteY587" fmla="*/ 167622 h 1022551"/>
                <a:gd name="connsiteX588" fmla="*/ 721266 w 993885"/>
                <a:gd name="connsiteY588" fmla="*/ 167186 h 1022551"/>
                <a:gd name="connsiteX589" fmla="*/ 723760 w 993885"/>
                <a:gd name="connsiteY589" fmla="*/ 167835 h 1022551"/>
                <a:gd name="connsiteX590" fmla="*/ 726437 w 993885"/>
                <a:gd name="connsiteY590" fmla="*/ 173189 h 1022551"/>
                <a:gd name="connsiteX591" fmla="*/ 727042 w 993885"/>
                <a:gd name="connsiteY591" fmla="*/ 176992 h 1022551"/>
                <a:gd name="connsiteX592" fmla="*/ 728235 w 993885"/>
                <a:gd name="connsiteY592" fmla="*/ 176466 h 1022551"/>
                <a:gd name="connsiteX593" fmla="*/ 729338 w 993885"/>
                <a:gd name="connsiteY593" fmla="*/ 174765 h 1022551"/>
                <a:gd name="connsiteX594" fmla="*/ 730771 w 993885"/>
                <a:gd name="connsiteY594" fmla="*/ 171658 h 1022551"/>
                <a:gd name="connsiteX595" fmla="*/ 733451 w 993885"/>
                <a:gd name="connsiteY595" fmla="*/ 170629 h 1022551"/>
                <a:gd name="connsiteX596" fmla="*/ 734734 w 993885"/>
                <a:gd name="connsiteY596" fmla="*/ 171822 h 1022551"/>
                <a:gd name="connsiteX597" fmla="*/ 737422 w 993885"/>
                <a:gd name="connsiteY597" fmla="*/ 173734 h 1022551"/>
                <a:gd name="connsiteX598" fmla="*/ 739740 w 993885"/>
                <a:gd name="connsiteY598" fmla="*/ 175835 h 1022551"/>
                <a:gd name="connsiteX599" fmla="*/ 740717 w 993885"/>
                <a:gd name="connsiteY599" fmla="*/ 177182 h 1022551"/>
                <a:gd name="connsiteX600" fmla="*/ 742459 w 993885"/>
                <a:gd name="connsiteY600" fmla="*/ 177402 h 1022551"/>
                <a:gd name="connsiteX601" fmla="*/ 741004 w 993885"/>
                <a:gd name="connsiteY601" fmla="*/ 179059 h 1022551"/>
                <a:gd name="connsiteX602" fmla="*/ 742464 w 993885"/>
                <a:gd name="connsiteY602" fmla="*/ 178894 h 1022551"/>
                <a:gd name="connsiteX603" fmla="*/ 744230 w 993885"/>
                <a:gd name="connsiteY603" fmla="*/ 177714 h 1022551"/>
                <a:gd name="connsiteX604" fmla="*/ 745742 w 993885"/>
                <a:gd name="connsiteY604" fmla="*/ 180150 h 1022551"/>
                <a:gd name="connsiteX605" fmla="*/ 746881 w 993885"/>
                <a:gd name="connsiteY605" fmla="*/ 182800 h 1022551"/>
                <a:gd name="connsiteX606" fmla="*/ 747108 w 993885"/>
                <a:gd name="connsiteY606" fmla="*/ 185500 h 1022551"/>
                <a:gd name="connsiteX607" fmla="*/ 746037 w 993885"/>
                <a:gd name="connsiteY607" fmla="*/ 187051 h 1022551"/>
                <a:gd name="connsiteX608" fmla="*/ 745093 w 993885"/>
                <a:gd name="connsiteY608" fmla="*/ 188022 h 1022551"/>
                <a:gd name="connsiteX609" fmla="*/ 744044 w 993885"/>
                <a:gd name="connsiteY609" fmla="*/ 189935 h 1022551"/>
                <a:gd name="connsiteX610" fmla="*/ 742805 w 993885"/>
                <a:gd name="connsiteY610" fmla="*/ 190279 h 1022551"/>
                <a:gd name="connsiteX611" fmla="*/ 741567 w 993885"/>
                <a:gd name="connsiteY611" fmla="*/ 190898 h 1022551"/>
                <a:gd name="connsiteX612" fmla="*/ 742978 w 993885"/>
                <a:gd name="connsiteY612" fmla="*/ 192290 h 1022551"/>
                <a:gd name="connsiteX613" fmla="*/ 743948 w 993885"/>
                <a:gd name="connsiteY613" fmla="*/ 193631 h 1022551"/>
                <a:gd name="connsiteX614" fmla="*/ 746063 w 993885"/>
                <a:gd name="connsiteY614" fmla="*/ 190008 h 1022551"/>
                <a:gd name="connsiteX615" fmla="*/ 747550 w 993885"/>
                <a:gd name="connsiteY615" fmla="*/ 188991 h 1022551"/>
                <a:gd name="connsiteX616" fmla="*/ 749703 w 993885"/>
                <a:gd name="connsiteY616" fmla="*/ 188426 h 1022551"/>
                <a:gd name="connsiteX617" fmla="*/ 750822 w 993885"/>
                <a:gd name="connsiteY617" fmla="*/ 191002 h 1022551"/>
                <a:gd name="connsiteX618" fmla="*/ 751063 w 993885"/>
                <a:gd name="connsiteY618" fmla="*/ 193436 h 1022551"/>
                <a:gd name="connsiteX619" fmla="*/ 747556 w 993885"/>
                <a:gd name="connsiteY619" fmla="*/ 194448 h 1022551"/>
                <a:gd name="connsiteX620" fmla="*/ 747542 w 993885"/>
                <a:gd name="connsiteY620" fmla="*/ 196371 h 1022551"/>
                <a:gd name="connsiteX621" fmla="*/ 746494 w 993885"/>
                <a:gd name="connsiteY621" fmla="*/ 197462 h 1022551"/>
                <a:gd name="connsiteX622" fmla="*/ 745809 w 993885"/>
                <a:gd name="connsiteY622" fmla="*/ 198711 h 1022551"/>
                <a:gd name="connsiteX623" fmla="*/ 745257 w 993885"/>
                <a:gd name="connsiteY623" fmla="*/ 201334 h 1022551"/>
                <a:gd name="connsiteX624" fmla="*/ 744542 w 993885"/>
                <a:gd name="connsiteY624" fmla="*/ 203507 h 1022551"/>
                <a:gd name="connsiteX625" fmla="*/ 742453 w 993885"/>
                <a:gd name="connsiteY625" fmla="*/ 213145 h 1022551"/>
                <a:gd name="connsiteX626" fmla="*/ 742411 w 993885"/>
                <a:gd name="connsiteY626" fmla="*/ 214731 h 1022551"/>
                <a:gd name="connsiteX627" fmla="*/ 744956 w 993885"/>
                <a:gd name="connsiteY627" fmla="*/ 213034 h 1022551"/>
                <a:gd name="connsiteX628" fmla="*/ 749650 w 993885"/>
                <a:gd name="connsiteY628" fmla="*/ 208124 h 1022551"/>
                <a:gd name="connsiteX629" fmla="*/ 751080 w 993885"/>
                <a:gd name="connsiteY629" fmla="*/ 202895 h 1022551"/>
                <a:gd name="connsiteX630" fmla="*/ 752931 w 993885"/>
                <a:gd name="connsiteY630" fmla="*/ 197739 h 1022551"/>
                <a:gd name="connsiteX631" fmla="*/ 754948 w 993885"/>
                <a:gd name="connsiteY631" fmla="*/ 196118 h 1022551"/>
                <a:gd name="connsiteX632" fmla="*/ 756196 w 993885"/>
                <a:gd name="connsiteY632" fmla="*/ 196117 h 1022551"/>
                <a:gd name="connsiteX633" fmla="*/ 758068 w 993885"/>
                <a:gd name="connsiteY633" fmla="*/ 196681 h 1022551"/>
                <a:gd name="connsiteX634" fmla="*/ 758175 w 993885"/>
                <a:gd name="connsiteY634" fmla="*/ 198371 h 1022551"/>
                <a:gd name="connsiteX635" fmla="*/ 757888 w 993885"/>
                <a:gd name="connsiteY635" fmla="*/ 199347 h 1022551"/>
                <a:gd name="connsiteX636" fmla="*/ 755886 w 993885"/>
                <a:gd name="connsiteY636" fmla="*/ 201911 h 1022551"/>
                <a:gd name="connsiteX637" fmla="*/ 755034 w 993885"/>
                <a:gd name="connsiteY637" fmla="*/ 203317 h 1022551"/>
                <a:gd name="connsiteX638" fmla="*/ 755859 w 993885"/>
                <a:gd name="connsiteY638" fmla="*/ 204702 h 1022551"/>
                <a:gd name="connsiteX639" fmla="*/ 760408 w 993885"/>
                <a:gd name="connsiteY639" fmla="*/ 200455 h 1022551"/>
                <a:gd name="connsiteX640" fmla="*/ 762446 w 993885"/>
                <a:gd name="connsiteY640" fmla="*/ 198965 h 1022551"/>
                <a:gd name="connsiteX641" fmla="*/ 764181 w 993885"/>
                <a:gd name="connsiteY641" fmla="*/ 199268 h 1022551"/>
                <a:gd name="connsiteX642" fmla="*/ 767626 w 993885"/>
                <a:gd name="connsiteY642" fmla="*/ 197308 h 1022551"/>
                <a:gd name="connsiteX643" fmla="*/ 774560 w 993885"/>
                <a:gd name="connsiteY643" fmla="*/ 196899 h 1022551"/>
                <a:gd name="connsiteX644" fmla="*/ 775081 w 993885"/>
                <a:gd name="connsiteY644" fmla="*/ 194657 h 1022551"/>
                <a:gd name="connsiteX645" fmla="*/ 776464 w 993885"/>
                <a:gd name="connsiteY645" fmla="*/ 193703 h 1022551"/>
                <a:gd name="connsiteX646" fmla="*/ 780276 w 993885"/>
                <a:gd name="connsiteY646" fmla="*/ 193955 h 1022551"/>
                <a:gd name="connsiteX647" fmla="*/ 787706 w 993885"/>
                <a:gd name="connsiteY647" fmla="*/ 195960 h 1022551"/>
                <a:gd name="connsiteX648" fmla="*/ 790354 w 993885"/>
                <a:gd name="connsiteY648" fmla="*/ 197597 h 1022551"/>
                <a:gd name="connsiteX649" fmla="*/ 794319 w 993885"/>
                <a:gd name="connsiteY649" fmla="*/ 199121 h 1022551"/>
                <a:gd name="connsiteX650" fmla="*/ 796407 w 993885"/>
                <a:gd name="connsiteY650" fmla="*/ 200933 h 1022551"/>
                <a:gd name="connsiteX651" fmla="*/ 805128 w 993885"/>
                <a:gd name="connsiteY651" fmla="*/ 204256 h 1022551"/>
                <a:gd name="connsiteX652" fmla="*/ 811460 w 993885"/>
                <a:gd name="connsiteY652" fmla="*/ 204613 h 1022551"/>
                <a:gd name="connsiteX653" fmla="*/ 814598 w 993885"/>
                <a:gd name="connsiteY653" fmla="*/ 203104 h 1022551"/>
                <a:gd name="connsiteX654" fmla="*/ 818509 w 993885"/>
                <a:gd name="connsiteY654" fmla="*/ 204685 h 1022551"/>
                <a:gd name="connsiteX655" fmla="*/ 820582 w 993885"/>
                <a:gd name="connsiteY655" fmla="*/ 206453 h 1022551"/>
                <a:gd name="connsiteX656" fmla="*/ 824644 w 993885"/>
                <a:gd name="connsiteY656" fmla="*/ 207415 h 1022551"/>
                <a:gd name="connsiteX657" fmla="*/ 828745 w 993885"/>
                <a:gd name="connsiteY657" fmla="*/ 207916 h 1022551"/>
                <a:gd name="connsiteX658" fmla="*/ 831881 w 993885"/>
                <a:gd name="connsiteY658" fmla="*/ 206645 h 1022551"/>
                <a:gd name="connsiteX659" fmla="*/ 839969 w 993885"/>
                <a:gd name="connsiteY659" fmla="*/ 206226 h 1022551"/>
                <a:gd name="connsiteX660" fmla="*/ 850137 w 993885"/>
                <a:gd name="connsiteY660" fmla="*/ 204348 h 1022551"/>
                <a:gd name="connsiteX661" fmla="*/ 856202 w 993885"/>
                <a:gd name="connsiteY661" fmla="*/ 204794 h 1022551"/>
                <a:gd name="connsiteX662" fmla="*/ 863065 w 993885"/>
                <a:gd name="connsiteY662" fmla="*/ 206021 h 1022551"/>
                <a:gd name="connsiteX663" fmla="*/ 867956 w 993885"/>
                <a:gd name="connsiteY663" fmla="*/ 209175 h 1022551"/>
                <a:gd name="connsiteX664" fmla="*/ 872074 w 993885"/>
                <a:gd name="connsiteY664" fmla="*/ 210962 h 1022551"/>
                <a:gd name="connsiteX665" fmla="*/ 874564 w 993885"/>
                <a:gd name="connsiteY665" fmla="*/ 212721 h 1022551"/>
                <a:gd name="connsiteX666" fmla="*/ 878584 w 993885"/>
                <a:gd name="connsiteY666" fmla="*/ 214543 h 1022551"/>
                <a:gd name="connsiteX667" fmla="*/ 887162 w 993885"/>
                <a:gd name="connsiteY667" fmla="*/ 219440 h 1022551"/>
                <a:gd name="connsiteX668" fmla="*/ 890163 w 993885"/>
                <a:gd name="connsiteY668" fmla="*/ 222270 h 1022551"/>
                <a:gd name="connsiteX669" fmla="*/ 895483 w 993885"/>
                <a:gd name="connsiteY669" fmla="*/ 226129 h 1022551"/>
                <a:gd name="connsiteX670" fmla="*/ 900818 w 993885"/>
                <a:gd name="connsiteY670" fmla="*/ 227748 h 1022551"/>
                <a:gd name="connsiteX671" fmla="*/ 903706 w 993885"/>
                <a:gd name="connsiteY671" fmla="*/ 231784 h 1022551"/>
                <a:gd name="connsiteX672" fmla="*/ 905989 w 993885"/>
                <a:gd name="connsiteY672" fmla="*/ 233602 h 1022551"/>
                <a:gd name="connsiteX673" fmla="*/ 911645 w 993885"/>
                <a:gd name="connsiteY673" fmla="*/ 240418 h 1022551"/>
                <a:gd name="connsiteX674" fmla="*/ 918064 w 993885"/>
                <a:gd name="connsiteY674" fmla="*/ 245190 h 1022551"/>
                <a:gd name="connsiteX675" fmla="*/ 922358 w 993885"/>
                <a:gd name="connsiteY675" fmla="*/ 249962 h 1022551"/>
                <a:gd name="connsiteX676" fmla="*/ 930595 w 993885"/>
                <a:gd name="connsiteY676" fmla="*/ 253036 h 1022551"/>
                <a:gd name="connsiteX677" fmla="*/ 933811 w 993885"/>
                <a:gd name="connsiteY677" fmla="*/ 258101 h 1022551"/>
                <a:gd name="connsiteX678" fmla="*/ 939384 w 993885"/>
                <a:gd name="connsiteY678" fmla="*/ 258719 h 1022551"/>
                <a:gd name="connsiteX679" fmla="*/ 941760 w 993885"/>
                <a:gd name="connsiteY679" fmla="*/ 259479 h 1022551"/>
                <a:gd name="connsiteX680" fmla="*/ 944645 w 993885"/>
                <a:gd name="connsiteY680" fmla="*/ 261616 h 1022551"/>
                <a:gd name="connsiteX681" fmla="*/ 948617 w 993885"/>
                <a:gd name="connsiteY681" fmla="*/ 262808 h 1022551"/>
                <a:gd name="connsiteX682" fmla="*/ 953790 w 993885"/>
                <a:gd name="connsiteY682" fmla="*/ 262470 h 1022551"/>
                <a:gd name="connsiteX683" fmla="*/ 959494 w 993885"/>
                <a:gd name="connsiteY683" fmla="*/ 262711 h 1022551"/>
                <a:gd name="connsiteX684" fmla="*/ 964106 w 993885"/>
                <a:gd name="connsiteY684" fmla="*/ 261710 h 1022551"/>
                <a:gd name="connsiteX685" fmla="*/ 975020 w 993885"/>
                <a:gd name="connsiteY685" fmla="*/ 263617 h 1022551"/>
                <a:gd name="connsiteX686" fmla="*/ 976738 w 993885"/>
                <a:gd name="connsiteY686" fmla="*/ 264548 h 1022551"/>
                <a:gd name="connsiteX687" fmla="*/ 978997 w 993885"/>
                <a:gd name="connsiteY687" fmla="*/ 266705 h 1022551"/>
                <a:gd name="connsiteX688" fmla="*/ 982982 w 993885"/>
                <a:gd name="connsiteY688" fmla="*/ 274737 h 1022551"/>
                <a:gd name="connsiteX689" fmla="*/ 985358 w 993885"/>
                <a:gd name="connsiteY689" fmla="*/ 283653 h 1022551"/>
                <a:gd name="connsiteX690" fmla="*/ 986531 w 993885"/>
                <a:gd name="connsiteY690" fmla="*/ 290477 h 1022551"/>
                <a:gd name="connsiteX691" fmla="*/ 989251 w 993885"/>
                <a:gd name="connsiteY691" fmla="*/ 295781 h 1022551"/>
                <a:gd name="connsiteX692" fmla="*/ 990737 w 993885"/>
                <a:gd name="connsiteY692" fmla="*/ 305745 h 1022551"/>
                <a:gd name="connsiteX693" fmla="*/ 991998 w 993885"/>
                <a:gd name="connsiteY693" fmla="*/ 308883 h 1022551"/>
                <a:gd name="connsiteX694" fmla="*/ 992097 w 993885"/>
                <a:gd name="connsiteY694" fmla="*/ 311295 h 1022551"/>
                <a:gd name="connsiteX695" fmla="*/ 993164 w 993885"/>
                <a:gd name="connsiteY695" fmla="*/ 311842 h 1022551"/>
                <a:gd name="connsiteX696" fmla="*/ 993885 w 993885"/>
                <a:gd name="connsiteY696" fmla="*/ 318570 h 1022551"/>
                <a:gd name="connsiteX697" fmla="*/ 993602 w 993885"/>
                <a:gd name="connsiteY697" fmla="*/ 321283 h 1022551"/>
                <a:gd name="connsiteX698" fmla="*/ 992558 w 993885"/>
                <a:gd name="connsiteY698" fmla="*/ 324813 h 1022551"/>
                <a:gd name="connsiteX699" fmla="*/ 992480 w 993885"/>
                <a:gd name="connsiteY699" fmla="*/ 326387 h 1022551"/>
                <a:gd name="connsiteX700" fmla="*/ 992634 w 993885"/>
                <a:gd name="connsiteY700" fmla="*/ 327388 h 1022551"/>
                <a:gd name="connsiteX701" fmla="*/ 992172 w 993885"/>
                <a:gd name="connsiteY701" fmla="*/ 328862 h 1022551"/>
                <a:gd name="connsiteX702" fmla="*/ 992030 w 993885"/>
                <a:gd name="connsiteY702" fmla="*/ 330275 h 1022551"/>
                <a:gd name="connsiteX703" fmla="*/ 993087 w 993885"/>
                <a:gd name="connsiteY703" fmla="*/ 333445 h 1022551"/>
                <a:gd name="connsiteX704" fmla="*/ 993144 w 993885"/>
                <a:gd name="connsiteY704" fmla="*/ 335990 h 1022551"/>
                <a:gd name="connsiteX705" fmla="*/ 991728 w 993885"/>
                <a:gd name="connsiteY705" fmla="*/ 339069 h 1022551"/>
                <a:gd name="connsiteX706" fmla="*/ 989798 w 993885"/>
                <a:gd name="connsiteY706" fmla="*/ 347121 h 1022551"/>
                <a:gd name="connsiteX707" fmla="*/ 984952 w 993885"/>
                <a:gd name="connsiteY707" fmla="*/ 360479 h 1022551"/>
                <a:gd name="connsiteX708" fmla="*/ 980309 w 993885"/>
                <a:gd name="connsiteY708" fmla="*/ 368150 h 1022551"/>
                <a:gd name="connsiteX709" fmla="*/ 973813 w 993885"/>
                <a:gd name="connsiteY709" fmla="*/ 376077 h 1022551"/>
                <a:gd name="connsiteX710" fmla="*/ 969580 w 993885"/>
                <a:gd name="connsiteY710" fmla="*/ 380220 h 1022551"/>
                <a:gd name="connsiteX711" fmla="*/ 967903 w 993885"/>
                <a:gd name="connsiteY711" fmla="*/ 380642 h 1022551"/>
                <a:gd name="connsiteX712" fmla="*/ 966364 w 993885"/>
                <a:gd name="connsiteY712" fmla="*/ 379823 h 1022551"/>
                <a:gd name="connsiteX713" fmla="*/ 967455 w 993885"/>
                <a:gd name="connsiteY713" fmla="*/ 382010 h 1022551"/>
                <a:gd name="connsiteX714" fmla="*/ 966500 w 993885"/>
                <a:gd name="connsiteY714" fmla="*/ 383934 h 1022551"/>
                <a:gd name="connsiteX715" fmla="*/ 962201 w 993885"/>
                <a:gd name="connsiteY715" fmla="*/ 389776 h 1022551"/>
                <a:gd name="connsiteX716" fmla="*/ 957927 w 993885"/>
                <a:gd name="connsiteY716" fmla="*/ 393600 h 1022551"/>
                <a:gd name="connsiteX717" fmla="*/ 953495 w 993885"/>
                <a:gd name="connsiteY717" fmla="*/ 400236 h 1022551"/>
                <a:gd name="connsiteX718" fmla="*/ 953158 w 993885"/>
                <a:gd name="connsiteY718" fmla="*/ 400386 h 1022551"/>
                <a:gd name="connsiteX719" fmla="*/ 947476 w 993885"/>
                <a:gd name="connsiteY719" fmla="*/ 402949 h 1022551"/>
                <a:gd name="connsiteX720" fmla="*/ 944114 w 993885"/>
                <a:gd name="connsiteY720" fmla="*/ 405045 h 1022551"/>
                <a:gd name="connsiteX721" fmla="*/ 939817 w 993885"/>
                <a:gd name="connsiteY721" fmla="*/ 408859 h 1022551"/>
                <a:gd name="connsiteX722" fmla="*/ 935871 w 993885"/>
                <a:gd name="connsiteY722" fmla="*/ 414872 h 1022551"/>
                <a:gd name="connsiteX723" fmla="*/ 935057 w 993885"/>
                <a:gd name="connsiteY723" fmla="*/ 415647 h 1022551"/>
                <a:gd name="connsiteX724" fmla="*/ 933604 w 993885"/>
                <a:gd name="connsiteY724" fmla="*/ 415222 h 1022551"/>
                <a:gd name="connsiteX725" fmla="*/ 933644 w 993885"/>
                <a:gd name="connsiteY725" fmla="*/ 418278 h 1022551"/>
                <a:gd name="connsiteX726" fmla="*/ 930248 w 993885"/>
                <a:gd name="connsiteY726" fmla="*/ 423117 h 1022551"/>
                <a:gd name="connsiteX727" fmla="*/ 929212 w 993885"/>
                <a:gd name="connsiteY727" fmla="*/ 423834 h 1022551"/>
                <a:gd name="connsiteX728" fmla="*/ 929241 w 993885"/>
                <a:gd name="connsiteY728" fmla="*/ 422463 h 1022551"/>
                <a:gd name="connsiteX729" fmla="*/ 929830 w 993885"/>
                <a:gd name="connsiteY729" fmla="*/ 421419 h 1022551"/>
                <a:gd name="connsiteX730" fmla="*/ 930105 w 993885"/>
                <a:gd name="connsiteY730" fmla="*/ 420308 h 1022551"/>
                <a:gd name="connsiteX731" fmla="*/ 930080 w 993885"/>
                <a:gd name="connsiteY731" fmla="*/ 418987 h 1022551"/>
                <a:gd name="connsiteX732" fmla="*/ 929131 w 993885"/>
                <a:gd name="connsiteY732" fmla="*/ 419948 h 1022551"/>
                <a:gd name="connsiteX733" fmla="*/ 927121 w 993885"/>
                <a:gd name="connsiteY733" fmla="*/ 423573 h 1022551"/>
                <a:gd name="connsiteX734" fmla="*/ 927797 w 993885"/>
                <a:gd name="connsiteY734" fmla="*/ 426232 h 1022551"/>
                <a:gd name="connsiteX735" fmla="*/ 926339 w 993885"/>
                <a:gd name="connsiteY735" fmla="*/ 430249 h 1022551"/>
                <a:gd name="connsiteX736" fmla="*/ 920776 w 993885"/>
                <a:gd name="connsiteY736" fmla="*/ 441725 h 1022551"/>
                <a:gd name="connsiteX737" fmla="*/ 913966 w 993885"/>
                <a:gd name="connsiteY737" fmla="*/ 451388 h 1022551"/>
                <a:gd name="connsiteX738" fmla="*/ 912395 w 993885"/>
                <a:gd name="connsiteY738" fmla="*/ 454370 h 1022551"/>
                <a:gd name="connsiteX739" fmla="*/ 906804 w 993885"/>
                <a:gd name="connsiteY739" fmla="*/ 460886 h 1022551"/>
                <a:gd name="connsiteX740" fmla="*/ 902696 w 993885"/>
                <a:gd name="connsiteY740" fmla="*/ 464030 h 1022551"/>
                <a:gd name="connsiteX741" fmla="*/ 901541 w 993885"/>
                <a:gd name="connsiteY741" fmla="*/ 464053 h 1022551"/>
                <a:gd name="connsiteX742" fmla="*/ 900232 w 993885"/>
                <a:gd name="connsiteY742" fmla="*/ 463784 h 1022551"/>
                <a:gd name="connsiteX743" fmla="*/ 899573 w 993885"/>
                <a:gd name="connsiteY743" fmla="*/ 458775 h 1022551"/>
                <a:gd name="connsiteX744" fmla="*/ 896299 w 993885"/>
                <a:gd name="connsiteY744" fmla="*/ 455744 h 1022551"/>
                <a:gd name="connsiteX745" fmla="*/ 895362 w 993885"/>
                <a:gd name="connsiteY745" fmla="*/ 455210 h 1022551"/>
                <a:gd name="connsiteX746" fmla="*/ 894021 w 993885"/>
                <a:gd name="connsiteY746" fmla="*/ 458421 h 1022551"/>
                <a:gd name="connsiteX747" fmla="*/ 892903 w 993885"/>
                <a:gd name="connsiteY747" fmla="*/ 459301 h 1022551"/>
                <a:gd name="connsiteX748" fmla="*/ 891286 w 993885"/>
                <a:gd name="connsiteY748" fmla="*/ 459492 h 1022551"/>
                <a:gd name="connsiteX749" fmla="*/ 893014 w 993885"/>
                <a:gd name="connsiteY749" fmla="*/ 460892 h 1022551"/>
                <a:gd name="connsiteX750" fmla="*/ 893518 w 993885"/>
                <a:gd name="connsiteY750" fmla="*/ 462510 h 1022551"/>
                <a:gd name="connsiteX751" fmla="*/ 891757 w 993885"/>
                <a:gd name="connsiteY751" fmla="*/ 465749 h 1022551"/>
                <a:gd name="connsiteX752" fmla="*/ 891702 w 993885"/>
                <a:gd name="connsiteY752" fmla="*/ 468696 h 1022551"/>
                <a:gd name="connsiteX753" fmla="*/ 888561 w 993885"/>
                <a:gd name="connsiteY753" fmla="*/ 471943 h 1022551"/>
                <a:gd name="connsiteX754" fmla="*/ 886742 w 993885"/>
                <a:gd name="connsiteY754" fmla="*/ 474319 h 1022551"/>
                <a:gd name="connsiteX755" fmla="*/ 885818 w 993885"/>
                <a:gd name="connsiteY755" fmla="*/ 477296 h 1022551"/>
                <a:gd name="connsiteX756" fmla="*/ 885261 w 993885"/>
                <a:gd name="connsiteY756" fmla="*/ 480076 h 1022551"/>
                <a:gd name="connsiteX757" fmla="*/ 886642 w 993885"/>
                <a:gd name="connsiteY757" fmla="*/ 479317 h 1022551"/>
                <a:gd name="connsiteX758" fmla="*/ 887296 w 993885"/>
                <a:gd name="connsiteY758" fmla="*/ 479902 h 1022551"/>
                <a:gd name="connsiteX759" fmla="*/ 887815 w 993885"/>
                <a:gd name="connsiteY759" fmla="*/ 480769 h 1022551"/>
                <a:gd name="connsiteX760" fmla="*/ 887496 w 993885"/>
                <a:gd name="connsiteY760" fmla="*/ 482048 h 1022551"/>
                <a:gd name="connsiteX761" fmla="*/ 886483 w 993885"/>
                <a:gd name="connsiteY761" fmla="*/ 484464 h 1022551"/>
                <a:gd name="connsiteX762" fmla="*/ 886642 w 993885"/>
                <a:gd name="connsiteY762" fmla="*/ 490483 h 1022551"/>
                <a:gd name="connsiteX763" fmla="*/ 886306 w 993885"/>
                <a:gd name="connsiteY763" fmla="*/ 491851 h 1022551"/>
                <a:gd name="connsiteX764" fmla="*/ 887311 w 993885"/>
                <a:gd name="connsiteY764" fmla="*/ 493330 h 1022551"/>
                <a:gd name="connsiteX765" fmla="*/ 888375 w 993885"/>
                <a:gd name="connsiteY765" fmla="*/ 490803 h 1022551"/>
                <a:gd name="connsiteX766" fmla="*/ 888989 w 993885"/>
                <a:gd name="connsiteY766" fmla="*/ 491508 h 1022551"/>
                <a:gd name="connsiteX767" fmla="*/ 886015 w 993885"/>
                <a:gd name="connsiteY767" fmla="*/ 507656 h 1022551"/>
                <a:gd name="connsiteX768" fmla="*/ 887187 w 993885"/>
                <a:gd name="connsiteY768" fmla="*/ 514932 h 1022551"/>
                <a:gd name="connsiteX769" fmla="*/ 887623 w 993885"/>
                <a:gd name="connsiteY769" fmla="*/ 523183 h 1022551"/>
                <a:gd name="connsiteX770" fmla="*/ 888966 w 993885"/>
                <a:gd name="connsiteY770" fmla="*/ 531243 h 1022551"/>
                <a:gd name="connsiteX771" fmla="*/ 890436 w 993885"/>
                <a:gd name="connsiteY771" fmla="*/ 538455 h 1022551"/>
                <a:gd name="connsiteX772" fmla="*/ 890553 w 993885"/>
                <a:gd name="connsiteY772" fmla="*/ 539034 h 1022551"/>
                <a:gd name="connsiteX773" fmla="*/ 888521 w 993885"/>
                <a:gd name="connsiteY773" fmla="*/ 547414 h 1022551"/>
                <a:gd name="connsiteX774" fmla="*/ 885924 w 993885"/>
                <a:gd name="connsiteY774" fmla="*/ 555689 h 1022551"/>
                <a:gd name="connsiteX775" fmla="*/ 884356 w 993885"/>
                <a:gd name="connsiteY775" fmla="*/ 562442 h 1022551"/>
                <a:gd name="connsiteX776" fmla="*/ 883369 w 993885"/>
                <a:gd name="connsiteY776" fmla="*/ 569744 h 1022551"/>
                <a:gd name="connsiteX777" fmla="*/ 882381 w 993885"/>
                <a:gd name="connsiteY777" fmla="*/ 573255 h 1022551"/>
                <a:gd name="connsiteX778" fmla="*/ 882068 w 993885"/>
                <a:gd name="connsiteY778" fmla="*/ 576850 h 1022551"/>
                <a:gd name="connsiteX779" fmla="*/ 883200 w 993885"/>
                <a:gd name="connsiteY779" fmla="*/ 585376 h 1022551"/>
                <a:gd name="connsiteX780" fmla="*/ 883621 w 993885"/>
                <a:gd name="connsiteY780" fmla="*/ 586993 h 1022551"/>
                <a:gd name="connsiteX781" fmla="*/ 880468 w 993885"/>
                <a:gd name="connsiteY781" fmla="*/ 590799 h 1022551"/>
                <a:gd name="connsiteX782" fmla="*/ 877064 w 993885"/>
                <a:gd name="connsiteY782" fmla="*/ 592646 h 1022551"/>
                <a:gd name="connsiteX783" fmla="*/ 875184 w 993885"/>
                <a:gd name="connsiteY783" fmla="*/ 594482 h 1022551"/>
                <a:gd name="connsiteX784" fmla="*/ 871024 w 993885"/>
                <a:gd name="connsiteY784" fmla="*/ 601349 h 1022551"/>
                <a:gd name="connsiteX785" fmla="*/ 868768 w 993885"/>
                <a:gd name="connsiteY785" fmla="*/ 611510 h 1022551"/>
                <a:gd name="connsiteX786" fmla="*/ 868714 w 993885"/>
                <a:gd name="connsiteY786" fmla="*/ 616921 h 1022551"/>
                <a:gd name="connsiteX787" fmla="*/ 869781 w 993885"/>
                <a:gd name="connsiteY787" fmla="*/ 628270 h 1022551"/>
                <a:gd name="connsiteX788" fmla="*/ 868980 w 993885"/>
                <a:gd name="connsiteY788" fmla="*/ 632903 h 1022551"/>
                <a:gd name="connsiteX789" fmla="*/ 867664 w 993885"/>
                <a:gd name="connsiteY789" fmla="*/ 636007 h 1022551"/>
                <a:gd name="connsiteX790" fmla="*/ 866107 w 993885"/>
                <a:gd name="connsiteY790" fmla="*/ 638044 h 1022551"/>
                <a:gd name="connsiteX791" fmla="*/ 862136 w 993885"/>
                <a:gd name="connsiteY791" fmla="*/ 640491 h 1022551"/>
                <a:gd name="connsiteX792" fmla="*/ 858577 w 993885"/>
                <a:gd name="connsiteY792" fmla="*/ 646456 h 1022551"/>
                <a:gd name="connsiteX793" fmla="*/ 857030 w 993885"/>
                <a:gd name="connsiteY793" fmla="*/ 652731 h 1022551"/>
                <a:gd name="connsiteX794" fmla="*/ 854592 w 993885"/>
                <a:gd name="connsiteY794" fmla="*/ 655017 h 1022551"/>
                <a:gd name="connsiteX795" fmla="*/ 854093 w 993885"/>
                <a:gd name="connsiteY795" fmla="*/ 658534 h 1022551"/>
                <a:gd name="connsiteX796" fmla="*/ 852131 w 993885"/>
                <a:gd name="connsiteY796" fmla="*/ 662331 h 1022551"/>
                <a:gd name="connsiteX797" fmla="*/ 847043 w 993885"/>
                <a:gd name="connsiteY797" fmla="*/ 668002 h 1022551"/>
                <a:gd name="connsiteX798" fmla="*/ 843735 w 993885"/>
                <a:gd name="connsiteY798" fmla="*/ 669653 h 1022551"/>
                <a:gd name="connsiteX799" fmla="*/ 842157 w 993885"/>
                <a:gd name="connsiteY799" fmla="*/ 671237 h 1022551"/>
                <a:gd name="connsiteX800" fmla="*/ 841156 w 993885"/>
                <a:gd name="connsiteY800" fmla="*/ 674555 h 1022551"/>
                <a:gd name="connsiteX801" fmla="*/ 837967 w 993885"/>
                <a:gd name="connsiteY801" fmla="*/ 680030 h 1022551"/>
                <a:gd name="connsiteX802" fmla="*/ 835615 w 993885"/>
                <a:gd name="connsiteY802" fmla="*/ 687132 h 1022551"/>
                <a:gd name="connsiteX803" fmla="*/ 836227 w 993885"/>
                <a:gd name="connsiteY803" fmla="*/ 689554 h 1022551"/>
                <a:gd name="connsiteX804" fmla="*/ 836266 w 993885"/>
                <a:gd name="connsiteY804" fmla="*/ 689926 h 1022551"/>
                <a:gd name="connsiteX805" fmla="*/ 837122 w 993885"/>
                <a:gd name="connsiteY805" fmla="*/ 698149 h 1022551"/>
                <a:gd name="connsiteX806" fmla="*/ 836806 w 993885"/>
                <a:gd name="connsiteY806" fmla="*/ 700243 h 1022551"/>
                <a:gd name="connsiteX807" fmla="*/ 833707 w 993885"/>
                <a:gd name="connsiteY807" fmla="*/ 702514 h 1022551"/>
                <a:gd name="connsiteX808" fmla="*/ 822033 w 993885"/>
                <a:gd name="connsiteY808" fmla="*/ 706754 h 1022551"/>
                <a:gd name="connsiteX809" fmla="*/ 818924 w 993885"/>
                <a:gd name="connsiteY809" fmla="*/ 708512 h 1022551"/>
                <a:gd name="connsiteX810" fmla="*/ 811953 w 993885"/>
                <a:gd name="connsiteY810" fmla="*/ 715735 h 1022551"/>
                <a:gd name="connsiteX811" fmla="*/ 811519 w 993885"/>
                <a:gd name="connsiteY811" fmla="*/ 717441 h 1022551"/>
                <a:gd name="connsiteX812" fmla="*/ 811809 w 993885"/>
                <a:gd name="connsiteY812" fmla="*/ 719876 h 1022551"/>
                <a:gd name="connsiteX813" fmla="*/ 812956 w 993885"/>
                <a:gd name="connsiteY813" fmla="*/ 721276 h 1022551"/>
                <a:gd name="connsiteX814" fmla="*/ 811775 w 993885"/>
                <a:gd name="connsiteY814" fmla="*/ 722793 h 1022551"/>
                <a:gd name="connsiteX815" fmla="*/ 810382 w 993885"/>
                <a:gd name="connsiteY815" fmla="*/ 725517 h 1022551"/>
                <a:gd name="connsiteX816" fmla="*/ 808352 w 993885"/>
                <a:gd name="connsiteY816" fmla="*/ 725349 h 1022551"/>
                <a:gd name="connsiteX817" fmla="*/ 796724 w 993885"/>
                <a:gd name="connsiteY817" fmla="*/ 725355 h 1022551"/>
                <a:gd name="connsiteX818" fmla="*/ 790429 w 993885"/>
                <a:gd name="connsiteY818" fmla="*/ 726218 h 1022551"/>
                <a:gd name="connsiteX819" fmla="*/ 787158 w 993885"/>
                <a:gd name="connsiteY819" fmla="*/ 726051 h 1022551"/>
                <a:gd name="connsiteX820" fmla="*/ 785690 w 993885"/>
                <a:gd name="connsiteY820" fmla="*/ 725396 h 1022551"/>
                <a:gd name="connsiteX821" fmla="*/ 784043 w 993885"/>
                <a:gd name="connsiteY821" fmla="*/ 724326 h 1022551"/>
                <a:gd name="connsiteX822" fmla="*/ 783548 w 993885"/>
                <a:gd name="connsiteY822" fmla="*/ 722926 h 1022551"/>
                <a:gd name="connsiteX823" fmla="*/ 784441 w 993885"/>
                <a:gd name="connsiteY823" fmla="*/ 720806 h 1022551"/>
                <a:gd name="connsiteX824" fmla="*/ 783914 w 993885"/>
                <a:gd name="connsiteY824" fmla="*/ 719542 h 1022551"/>
                <a:gd name="connsiteX825" fmla="*/ 782188 w 993885"/>
                <a:gd name="connsiteY825" fmla="*/ 719591 h 1022551"/>
                <a:gd name="connsiteX826" fmla="*/ 780295 w 993885"/>
                <a:gd name="connsiteY826" fmla="*/ 720191 h 1022551"/>
                <a:gd name="connsiteX827" fmla="*/ 779966 w 993885"/>
                <a:gd name="connsiteY827" fmla="*/ 721458 h 1022551"/>
                <a:gd name="connsiteX828" fmla="*/ 780101 w 993885"/>
                <a:gd name="connsiteY828" fmla="*/ 722357 h 1022551"/>
                <a:gd name="connsiteX829" fmla="*/ 780805 w 993885"/>
                <a:gd name="connsiteY829" fmla="*/ 723675 h 1022551"/>
                <a:gd name="connsiteX830" fmla="*/ 781192 w 993885"/>
                <a:gd name="connsiteY830" fmla="*/ 725289 h 1022551"/>
                <a:gd name="connsiteX831" fmla="*/ 780416 w 993885"/>
                <a:gd name="connsiteY831" fmla="*/ 726695 h 1022551"/>
                <a:gd name="connsiteX832" fmla="*/ 776732 w 993885"/>
                <a:gd name="connsiteY832" fmla="*/ 726878 h 1022551"/>
                <a:gd name="connsiteX833" fmla="*/ 772591 w 993885"/>
                <a:gd name="connsiteY833" fmla="*/ 728170 h 1022551"/>
                <a:gd name="connsiteX834" fmla="*/ 767425 w 993885"/>
                <a:gd name="connsiteY834" fmla="*/ 728710 h 1022551"/>
                <a:gd name="connsiteX835" fmla="*/ 763310 w 993885"/>
                <a:gd name="connsiteY835" fmla="*/ 729642 h 1022551"/>
                <a:gd name="connsiteX836" fmla="*/ 761408 w 993885"/>
                <a:gd name="connsiteY836" fmla="*/ 728462 h 1022551"/>
                <a:gd name="connsiteX837" fmla="*/ 763310 w 993885"/>
                <a:gd name="connsiteY837" fmla="*/ 727872 h 1022551"/>
                <a:gd name="connsiteX838" fmla="*/ 766033 w 993885"/>
                <a:gd name="connsiteY838" fmla="*/ 728160 h 1022551"/>
                <a:gd name="connsiteX839" fmla="*/ 768961 w 993885"/>
                <a:gd name="connsiteY839" fmla="*/ 727184 h 1022551"/>
                <a:gd name="connsiteX840" fmla="*/ 768277 w 993885"/>
                <a:gd name="connsiteY840" fmla="*/ 726030 h 1022551"/>
                <a:gd name="connsiteX841" fmla="*/ 764137 w 993885"/>
                <a:gd name="connsiteY841" fmla="*/ 724541 h 1022551"/>
                <a:gd name="connsiteX842" fmla="*/ 759541 w 993885"/>
                <a:gd name="connsiteY842" fmla="*/ 725453 h 1022551"/>
                <a:gd name="connsiteX843" fmla="*/ 756992 w 993885"/>
                <a:gd name="connsiteY843" fmla="*/ 727225 h 1022551"/>
                <a:gd name="connsiteX844" fmla="*/ 751416 w 993885"/>
                <a:gd name="connsiteY844" fmla="*/ 727063 h 1022551"/>
                <a:gd name="connsiteX845" fmla="*/ 744586 w 993885"/>
                <a:gd name="connsiteY845" fmla="*/ 728413 h 1022551"/>
                <a:gd name="connsiteX846" fmla="*/ 743472 w 993885"/>
                <a:gd name="connsiteY846" fmla="*/ 729789 h 1022551"/>
                <a:gd name="connsiteX847" fmla="*/ 743658 w 993885"/>
                <a:gd name="connsiteY847" fmla="*/ 732455 h 1022551"/>
                <a:gd name="connsiteX848" fmla="*/ 744995 w 993885"/>
                <a:gd name="connsiteY848" fmla="*/ 733040 h 1022551"/>
                <a:gd name="connsiteX849" fmla="*/ 746299 w 993885"/>
                <a:gd name="connsiteY849" fmla="*/ 734258 h 1022551"/>
                <a:gd name="connsiteX850" fmla="*/ 745047 w 993885"/>
                <a:gd name="connsiteY850" fmla="*/ 735392 h 1022551"/>
                <a:gd name="connsiteX851" fmla="*/ 743827 w 993885"/>
                <a:gd name="connsiteY851" fmla="*/ 735893 h 1022551"/>
                <a:gd name="connsiteX852" fmla="*/ 736614 w 993885"/>
                <a:gd name="connsiteY852" fmla="*/ 737133 h 1022551"/>
                <a:gd name="connsiteX853" fmla="*/ 729925 w 993885"/>
                <a:gd name="connsiteY853" fmla="*/ 742332 h 1022551"/>
                <a:gd name="connsiteX854" fmla="*/ 727137 w 993885"/>
                <a:gd name="connsiteY854" fmla="*/ 742979 h 1022551"/>
                <a:gd name="connsiteX855" fmla="*/ 724655 w 993885"/>
                <a:gd name="connsiteY855" fmla="*/ 745274 h 1022551"/>
                <a:gd name="connsiteX856" fmla="*/ 724399 w 993885"/>
                <a:gd name="connsiteY856" fmla="*/ 747235 h 1022551"/>
                <a:gd name="connsiteX857" fmla="*/ 723615 w 993885"/>
                <a:gd name="connsiteY857" fmla="*/ 748416 h 1022551"/>
                <a:gd name="connsiteX858" fmla="*/ 722023 w 993885"/>
                <a:gd name="connsiteY858" fmla="*/ 748477 h 1022551"/>
                <a:gd name="connsiteX859" fmla="*/ 718535 w 993885"/>
                <a:gd name="connsiteY859" fmla="*/ 747406 h 1022551"/>
                <a:gd name="connsiteX860" fmla="*/ 714009 w 993885"/>
                <a:gd name="connsiteY860" fmla="*/ 747374 h 1022551"/>
                <a:gd name="connsiteX861" fmla="*/ 710740 w 993885"/>
                <a:gd name="connsiteY861" fmla="*/ 748228 h 1022551"/>
                <a:gd name="connsiteX862" fmla="*/ 694037 w 993885"/>
                <a:gd name="connsiteY862" fmla="*/ 756680 h 1022551"/>
                <a:gd name="connsiteX863" fmla="*/ 688040 w 993885"/>
                <a:gd name="connsiteY863" fmla="*/ 760065 h 1022551"/>
                <a:gd name="connsiteX864" fmla="*/ 681196 w 993885"/>
                <a:gd name="connsiteY864" fmla="*/ 766974 h 1022551"/>
                <a:gd name="connsiteX865" fmla="*/ 669660 w 993885"/>
                <a:gd name="connsiteY865" fmla="*/ 774728 h 1022551"/>
                <a:gd name="connsiteX866" fmla="*/ 663600 w 993885"/>
                <a:gd name="connsiteY866" fmla="*/ 779362 h 1022551"/>
                <a:gd name="connsiteX867" fmla="*/ 662449 w 993885"/>
                <a:gd name="connsiteY867" fmla="*/ 780564 h 1022551"/>
                <a:gd name="connsiteX868" fmla="*/ 661492 w 993885"/>
                <a:gd name="connsiteY868" fmla="*/ 780630 h 1022551"/>
                <a:gd name="connsiteX869" fmla="*/ 659593 w 993885"/>
                <a:gd name="connsiteY869" fmla="*/ 781597 h 1022551"/>
                <a:gd name="connsiteX870" fmla="*/ 660349 w 993885"/>
                <a:gd name="connsiteY870" fmla="*/ 782398 h 1022551"/>
                <a:gd name="connsiteX871" fmla="*/ 661643 w 993885"/>
                <a:gd name="connsiteY871" fmla="*/ 782472 h 1022551"/>
                <a:gd name="connsiteX872" fmla="*/ 661109 w 993885"/>
                <a:gd name="connsiteY872" fmla="*/ 785175 h 1022551"/>
                <a:gd name="connsiteX873" fmla="*/ 658701 w 993885"/>
                <a:gd name="connsiteY873" fmla="*/ 787024 h 1022551"/>
                <a:gd name="connsiteX874" fmla="*/ 654179 w 993885"/>
                <a:gd name="connsiteY874" fmla="*/ 791883 h 1022551"/>
                <a:gd name="connsiteX875" fmla="*/ 653172 w 993885"/>
                <a:gd name="connsiteY875" fmla="*/ 791526 h 1022551"/>
                <a:gd name="connsiteX876" fmla="*/ 654604 w 993885"/>
                <a:gd name="connsiteY876" fmla="*/ 789000 h 1022551"/>
                <a:gd name="connsiteX877" fmla="*/ 652384 w 993885"/>
                <a:gd name="connsiteY877" fmla="*/ 788905 h 1022551"/>
                <a:gd name="connsiteX878" fmla="*/ 649113 w 993885"/>
                <a:gd name="connsiteY878" fmla="*/ 787978 h 1022551"/>
                <a:gd name="connsiteX879" fmla="*/ 647693 w 993885"/>
                <a:gd name="connsiteY879" fmla="*/ 789024 h 1022551"/>
                <a:gd name="connsiteX880" fmla="*/ 648476 w 993885"/>
                <a:gd name="connsiteY880" fmla="*/ 791526 h 1022551"/>
                <a:gd name="connsiteX881" fmla="*/ 647245 w 993885"/>
                <a:gd name="connsiteY881" fmla="*/ 792598 h 1022551"/>
                <a:gd name="connsiteX882" fmla="*/ 645014 w 993885"/>
                <a:gd name="connsiteY882" fmla="*/ 792720 h 1022551"/>
                <a:gd name="connsiteX883" fmla="*/ 642990 w 993885"/>
                <a:gd name="connsiteY883" fmla="*/ 792424 h 1022551"/>
                <a:gd name="connsiteX884" fmla="*/ 640764 w 993885"/>
                <a:gd name="connsiteY884" fmla="*/ 790592 h 1022551"/>
                <a:gd name="connsiteX885" fmla="*/ 641768 w 993885"/>
                <a:gd name="connsiteY885" fmla="*/ 793911 h 1022551"/>
                <a:gd name="connsiteX886" fmla="*/ 646462 w 993885"/>
                <a:gd name="connsiteY886" fmla="*/ 794718 h 1022551"/>
                <a:gd name="connsiteX887" fmla="*/ 648419 w 993885"/>
                <a:gd name="connsiteY887" fmla="*/ 795500 h 1022551"/>
                <a:gd name="connsiteX888" fmla="*/ 649147 w 993885"/>
                <a:gd name="connsiteY888" fmla="*/ 796776 h 1022551"/>
                <a:gd name="connsiteX889" fmla="*/ 645496 w 993885"/>
                <a:gd name="connsiteY889" fmla="*/ 802695 h 1022551"/>
                <a:gd name="connsiteX890" fmla="*/ 642437 w 993885"/>
                <a:gd name="connsiteY890" fmla="*/ 803465 h 1022551"/>
                <a:gd name="connsiteX891" fmla="*/ 642102 w 993885"/>
                <a:gd name="connsiteY891" fmla="*/ 804301 h 1022551"/>
                <a:gd name="connsiteX892" fmla="*/ 643779 w 993885"/>
                <a:gd name="connsiteY892" fmla="*/ 804296 h 1022551"/>
                <a:gd name="connsiteX893" fmla="*/ 644705 w 993885"/>
                <a:gd name="connsiteY893" fmla="*/ 805935 h 1022551"/>
                <a:gd name="connsiteX894" fmla="*/ 643613 w 993885"/>
                <a:gd name="connsiteY894" fmla="*/ 812554 h 1022551"/>
                <a:gd name="connsiteX895" fmla="*/ 642102 w 993885"/>
                <a:gd name="connsiteY895" fmla="*/ 813814 h 1022551"/>
                <a:gd name="connsiteX896" fmla="*/ 641221 w 993885"/>
                <a:gd name="connsiteY896" fmla="*/ 813845 h 1022551"/>
                <a:gd name="connsiteX897" fmla="*/ 640346 w 993885"/>
                <a:gd name="connsiteY897" fmla="*/ 814978 h 1022551"/>
                <a:gd name="connsiteX898" fmla="*/ 641552 w 993885"/>
                <a:gd name="connsiteY898" fmla="*/ 817143 h 1022551"/>
                <a:gd name="connsiteX899" fmla="*/ 642796 w 993885"/>
                <a:gd name="connsiteY899" fmla="*/ 818722 h 1022551"/>
                <a:gd name="connsiteX900" fmla="*/ 642630 w 993885"/>
                <a:gd name="connsiteY900" fmla="*/ 821786 h 1022551"/>
                <a:gd name="connsiteX901" fmla="*/ 642166 w 993885"/>
                <a:gd name="connsiteY901" fmla="*/ 824324 h 1022551"/>
                <a:gd name="connsiteX902" fmla="*/ 642135 w 993885"/>
                <a:gd name="connsiteY902" fmla="*/ 826788 h 1022551"/>
                <a:gd name="connsiteX903" fmla="*/ 643708 w 993885"/>
                <a:gd name="connsiteY903" fmla="*/ 831560 h 1022551"/>
                <a:gd name="connsiteX904" fmla="*/ 644272 w 993885"/>
                <a:gd name="connsiteY904" fmla="*/ 836465 h 1022551"/>
                <a:gd name="connsiteX905" fmla="*/ 644907 w 993885"/>
                <a:gd name="connsiteY905" fmla="*/ 838250 h 1022551"/>
                <a:gd name="connsiteX906" fmla="*/ 645267 w 993885"/>
                <a:gd name="connsiteY906" fmla="*/ 840231 h 1022551"/>
                <a:gd name="connsiteX907" fmla="*/ 644219 w 993885"/>
                <a:gd name="connsiteY907" fmla="*/ 842084 h 1022551"/>
                <a:gd name="connsiteX908" fmla="*/ 644816 w 993885"/>
                <a:gd name="connsiteY908" fmla="*/ 845059 h 1022551"/>
                <a:gd name="connsiteX909" fmla="*/ 643026 w 993885"/>
                <a:gd name="connsiteY909" fmla="*/ 850121 h 1022551"/>
                <a:gd name="connsiteX910" fmla="*/ 643961 w 993885"/>
                <a:gd name="connsiteY910" fmla="*/ 857440 h 1022551"/>
                <a:gd name="connsiteX911" fmla="*/ 643577 w 993885"/>
                <a:gd name="connsiteY911" fmla="*/ 864304 h 1022551"/>
                <a:gd name="connsiteX912" fmla="*/ 642876 w 993885"/>
                <a:gd name="connsiteY912" fmla="*/ 867917 h 1022551"/>
                <a:gd name="connsiteX913" fmla="*/ 641741 w 993885"/>
                <a:gd name="connsiteY913" fmla="*/ 870745 h 1022551"/>
                <a:gd name="connsiteX914" fmla="*/ 639103 w 993885"/>
                <a:gd name="connsiteY914" fmla="*/ 874387 h 1022551"/>
                <a:gd name="connsiteX915" fmla="*/ 639043 w 993885"/>
                <a:gd name="connsiteY915" fmla="*/ 878035 h 1022551"/>
                <a:gd name="connsiteX916" fmla="*/ 633364 w 993885"/>
                <a:gd name="connsiteY916" fmla="*/ 881430 h 1022551"/>
                <a:gd name="connsiteX917" fmla="*/ 627084 w 993885"/>
                <a:gd name="connsiteY917" fmla="*/ 886184 h 1022551"/>
                <a:gd name="connsiteX918" fmla="*/ 621287 w 993885"/>
                <a:gd name="connsiteY918" fmla="*/ 891817 h 1022551"/>
                <a:gd name="connsiteX919" fmla="*/ 615047 w 993885"/>
                <a:gd name="connsiteY919" fmla="*/ 899767 h 1022551"/>
                <a:gd name="connsiteX920" fmla="*/ 607760 w 993885"/>
                <a:gd name="connsiteY920" fmla="*/ 911887 h 1022551"/>
                <a:gd name="connsiteX921" fmla="*/ 601012 w 993885"/>
                <a:gd name="connsiteY921" fmla="*/ 929241 h 1022551"/>
                <a:gd name="connsiteX922" fmla="*/ 592886 w 993885"/>
                <a:gd name="connsiteY922" fmla="*/ 942393 h 1022551"/>
                <a:gd name="connsiteX923" fmla="*/ 589635 w 993885"/>
                <a:gd name="connsiteY923" fmla="*/ 947153 h 1022551"/>
                <a:gd name="connsiteX924" fmla="*/ 585243 w 993885"/>
                <a:gd name="connsiteY924" fmla="*/ 952475 h 1022551"/>
                <a:gd name="connsiteX925" fmla="*/ 579402 w 993885"/>
                <a:gd name="connsiteY925" fmla="*/ 958690 h 1022551"/>
                <a:gd name="connsiteX926" fmla="*/ 571576 w 993885"/>
                <a:gd name="connsiteY926" fmla="*/ 964917 h 1022551"/>
                <a:gd name="connsiteX927" fmla="*/ 563012 w 993885"/>
                <a:gd name="connsiteY927" fmla="*/ 970473 h 1022551"/>
                <a:gd name="connsiteX928" fmla="*/ 559917 w 993885"/>
                <a:gd name="connsiteY928" fmla="*/ 972981 h 1022551"/>
                <a:gd name="connsiteX929" fmla="*/ 556899 w 993885"/>
                <a:gd name="connsiteY929" fmla="*/ 976506 h 1022551"/>
                <a:gd name="connsiteX930" fmla="*/ 556145 w 993885"/>
                <a:gd name="connsiteY930" fmla="*/ 975049 h 1022551"/>
                <a:gd name="connsiteX931" fmla="*/ 556799 w 993885"/>
                <a:gd name="connsiteY931" fmla="*/ 972644 h 1022551"/>
                <a:gd name="connsiteX932" fmla="*/ 556383 w 993885"/>
                <a:gd name="connsiteY932" fmla="*/ 970843 h 1022551"/>
                <a:gd name="connsiteX933" fmla="*/ 556290 w 993885"/>
                <a:gd name="connsiteY933" fmla="*/ 968509 h 1022551"/>
                <a:gd name="connsiteX934" fmla="*/ 558017 w 993885"/>
                <a:gd name="connsiteY934" fmla="*/ 968077 h 1022551"/>
                <a:gd name="connsiteX935" fmla="*/ 560603 w 993885"/>
                <a:gd name="connsiteY935" fmla="*/ 969559 h 1022551"/>
                <a:gd name="connsiteX936" fmla="*/ 561919 w 993885"/>
                <a:gd name="connsiteY936" fmla="*/ 968556 h 1022551"/>
                <a:gd name="connsiteX937" fmla="*/ 562878 w 993885"/>
                <a:gd name="connsiteY937" fmla="*/ 967562 h 1022551"/>
                <a:gd name="connsiteX938" fmla="*/ 565991 w 993885"/>
                <a:gd name="connsiteY938" fmla="*/ 966943 h 1022551"/>
                <a:gd name="connsiteX939" fmla="*/ 571936 w 993885"/>
                <a:gd name="connsiteY939" fmla="*/ 960847 h 1022551"/>
                <a:gd name="connsiteX940" fmla="*/ 576348 w 993885"/>
                <a:gd name="connsiteY940" fmla="*/ 958594 h 1022551"/>
                <a:gd name="connsiteX941" fmla="*/ 578830 w 993885"/>
                <a:gd name="connsiteY941" fmla="*/ 954751 h 1022551"/>
                <a:gd name="connsiteX942" fmla="*/ 579255 w 993885"/>
                <a:gd name="connsiteY942" fmla="*/ 952710 h 1022551"/>
                <a:gd name="connsiteX943" fmla="*/ 579157 w 993885"/>
                <a:gd name="connsiteY943" fmla="*/ 948573 h 1022551"/>
                <a:gd name="connsiteX944" fmla="*/ 580563 w 993885"/>
                <a:gd name="connsiteY944" fmla="*/ 947524 h 1022551"/>
                <a:gd name="connsiteX945" fmla="*/ 583755 w 993885"/>
                <a:gd name="connsiteY945" fmla="*/ 947885 h 1022551"/>
                <a:gd name="connsiteX946" fmla="*/ 584406 w 993885"/>
                <a:gd name="connsiteY946" fmla="*/ 946708 h 1022551"/>
                <a:gd name="connsiteX947" fmla="*/ 584129 w 993885"/>
                <a:gd name="connsiteY947" fmla="*/ 945404 h 1022551"/>
                <a:gd name="connsiteX948" fmla="*/ 584750 w 993885"/>
                <a:gd name="connsiteY948" fmla="*/ 942563 h 1022551"/>
                <a:gd name="connsiteX949" fmla="*/ 589077 w 993885"/>
                <a:gd name="connsiteY949" fmla="*/ 940041 h 1022551"/>
                <a:gd name="connsiteX950" fmla="*/ 591127 w 993885"/>
                <a:gd name="connsiteY950" fmla="*/ 936997 h 1022551"/>
                <a:gd name="connsiteX951" fmla="*/ 590443 w 993885"/>
                <a:gd name="connsiteY951" fmla="*/ 929247 h 1022551"/>
                <a:gd name="connsiteX952" fmla="*/ 591236 w 993885"/>
                <a:gd name="connsiteY952" fmla="*/ 928899 h 1022551"/>
                <a:gd name="connsiteX953" fmla="*/ 593016 w 993885"/>
                <a:gd name="connsiteY953" fmla="*/ 930106 h 1022551"/>
                <a:gd name="connsiteX954" fmla="*/ 593851 w 993885"/>
                <a:gd name="connsiteY954" fmla="*/ 929605 h 1022551"/>
                <a:gd name="connsiteX955" fmla="*/ 594748 w 993885"/>
                <a:gd name="connsiteY955" fmla="*/ 926212 h 1022551"/>
                <a:gd name="connsiteX956" fmla="*/ 594317 w 993885"/>
                <a:gd name="connsiteY956" fmla="*/ 924453 h 1022551"/>
                <a:gd name="connsiteX957" fmla="*/ 592221 w 993885"/>
                <a:gd name="connsiteY957" fmla="*/ 923986 h 1022551"/>
                <a:gd name="connsiteX958" fmla="*/ 584977 w 993885"/>
                <a:gd name="connsiteY958" fmla="*/ 927809 h 1022551"/>
                <a:gd name="connsiteX959" fmla="*/ 582618 w 993885"/>
                <a:gd name="connsiteY959" fmla="*/ 927652 h 1022551"/>
                <a:gd name="connsiteX960" fmla="*/ 582226 w 993885"/>
                <a:gd name="connsiteY960" fmla="*/ 924649 h 1022551"/>
                <a:gd name="connsiteX961" fmla="*/ 578704 w 993885"/>
                <a:gd name="connsiteY961" fmla="*/ 923269 h 1022551"/>
                <a:gd name="connsiteX962" fmla="*/ 577327 w 993885"/>
                <a:gd name="connsiteY962" fmla="*/ 920779 h 1022551"/>
                <a:gd name="connsiteX963" fmla="*/ 576914 w 993885"/>
                <a:gd name="connsiteY963" fmla="*/ 919072 h 1022551"/>
                <a:gd name="connsiteX964" fmla="*/ 575692 w 993885"/>
                <a:gd name="connsiteY964" fmla="*/ 918375 h 1022551"/>
                <a:gd name="connsiteX965" fmla="*/ 575769 w 993885"/>
                <a:gd name="connsiteY965" fmla="*/ 921323 h 1022551"/>
                <a:gd name="connsiteX966" fmla="*/ 576105 w 993885"/>
                <a:gd name="connsiteY966" fmla="*/ 924189 h 1022551"/>
                <a:gd name="connsiteX967" fmla="*/ 579262 w 993885"/>
                <a:gd name="connsiteY967" fmla="*/ 927529 h 1022551"/>
                <a:gd name="connsiteX968" fmla="*/ 578494 w 993885"/>
                <a:gd name="connsiteY968" fmla="*/ 928855 h 1022551"/>
                <a:gd name="connsiteX969" fmla="*/ 576997 w 993885"/>
                <a:gd name="connsiteY969" fmla="*/ 930404 h 1022551"/>
                <a:gd name="connsiteX970" fmla="*/ 575955 w 993885"/>
                <a:gd name="connsiteY970" fmla="*/ 933848 h 1022551"/>
                <a:gd name="connsiteX971" fmla="*/ 576072 w 993885"/>
                <a:gd name="connsiteY971" fmla="*/ 938318 h 1022551"/>
                <a:gd name="connsiteX972" fmla="*/ 575227 w 993885"/>
                <a:gd name="connsiteY972" fmla="*/ 936955 h 1022551"/>
                <a:gd name="connsiteX973" fmla="*/ 574144 w 993885"/>
                <a:gd name="connsiteY973" fmla="*/ 936169 h 1022551"/>
                <a:gd name="connsiteX974" fmla="*/ 573704 w 993885"/>
                <a:gd name="connsiteY974" fmla="*/ 940976 h 1022551"/>
                <a:gd name="connsiteX975" fmla="*/ 571608 w 993885"/>
                <a:gd name="connsiteY975" fmla="*/ 942816 h 1022551"/>
                <a:gd name="connsiteX976" fmla="*/ 570945 w 993885"/>
                <a:gd name="connsiteY976" fmla="*/ 944624 h 1022551"/>
                <a:gd name="connsiteX977" fmla="*/ 571493 w 993885"/>
                <a:gd name="connsiteY977" fmla="*/ 946722 h 1022551"/>
                <a:gd name="connsiteX978" fmla="*/ 570412 w 993885"/>
                <a:gd name="connsiteY978" fmla="*/ 948171 h 1022551"/>
                <a:gd name="connsiteX979" fmla="*/ 565072 w 993885"/>
                <a:gd name="connsiteY979" fmla="*/ 952066 h 1022551"/>
                <a:gd name="connsiteX980" fmla="*/ 559750 w 993885"/>
                <a:gd name="connsiteY980" fmla="*/ 954727 h 1022551"/>
                <a:gd name="connsiteX981" fmla="*/ 558591 w 993885"/>
                <a:gd name="connsiteY981" fmla="*/ 955985 h 1022551"/>
                <a:gd name="connsiteX982" fmla="*/ 558024 w 993885"/>
                <a:gd name="connsiteY982" fmla="*/ 958959 h 1022551"/>
                <a:gd name="connsiteX983" fmla="*/ 557210 w 993885"/>
                <a:gd name="connsiteY983" fmla="*/ 962016 h 1022551"/>
                <a:gd name="connsiteX984" fmla="*/ 554855 w 993885"/>
                <a:gd name="connsiteY984" fmla="*/ 964706 h 1022551"/>
                <a:gd name="connsiteX985" fmla="*/ 552985 w 993885"/>
                <a:gd name="connsiteY985" fmla="*/ 970058 h 1022551"/>
                <a:gd name="connsiteX986" fmla="*/ 553037 w 993885"/>
                <a:gd name="connsiteY986" fmla="*/ 972364 h 1022551"/>
                <a:gd name="connsiteX987" fmla="*/ 553657 w 993885"/>
                <a:gd name="connsiteY987" fmla="*/ 975764 h 1022551"/>
                <a:gd name="connsiteX988" fmla="*/ 554663 w 993885"/>
                <a:gd name="connsiteY988" fmla="*/ 977995 h 1022551"/>
                <a:gd name="connsiteX989" fmla="*/ 553071 w 993885"/>
                <a:gd name="connsiteY989" fmla="*/ 979488 h 1022551"/>
                <a:gd name="connsiteX990" fmla="*/ 550930 w 993885"/>
                <a:gd name="connsiteY990" fmla="*/ 982387 h 1022551"/>
                <a:gd name="connsiteX991" fmla="*/ 549230 w 993885"/>
                <a:gd name="connsiteY991" fmla="*/ 985658 h 1022551"/>
                <a:gd name="connsiteX992" fmla="*/ 544999 w 993885"/>
                <a:gd name="connsiteY992" fmla="*/ 997959 h 1022551"/>
                <a:gd name="connsiteX993" fmla="*/ 541355 w 993885"/>
                <a:gd name="connsiteY993" fmla="*/ 1005389 h 1022551"/>
                <a:gd name="connsiteX994" fmla="*/ 538549 w 993885"/>
                <a:gd name="connsiteY994" fmla="*/ 1009036 h 1022551"/>
                <a:gd name="connsiteX995" fmla="*/ 534544 w 993885"/>
                <a:gd name="connsiteY995" fmla="*/ 1012882 h 1022551"/>
                <a:gd name="connsiteX996" fmla="*/ 523139 w 993885"/>
                <a:gd name="connsiteY996" fmla="*/ 1022551 h 1022551"/>
                <a:gd name="connsiteX997" fmla="*/ 522456 w 993885"/>
                <a:gd name="connsiteY997" fmla="*/ 1022413 h 1022551"/>
                <a:gd name="connsiteX998" fmla="*/ 520783 w 993885"/>
                <a:gd name="connsiteY998" fmla="*/ 1021633 h 1022551"/>
                <a:gd name="connsiteX999" fmla="*/ 519381 w 993885"/>
                <a:gd name="connsiteY999" fmla="*/ 1020704 h 1022551"/>
                <a:gd name="connsiteX1000" fmla="*/ 519064 w 993885"/>
                <a:gd name="connsiteY1000" fmla="*/ 1020084 h 1022551"/>
                <a:gd name="connsiteX1001" fmla="*/ 518905 w 993885"/>
                <a:gd name="connsiteY1001" fmla="*/ 1019158 h 1022551"/>
                <a:gd name="connsiteX1002" fmla="*/ 519089 w 993885"/>
                <a:gd name="connsiteY1002" fmla="*/ 1015674 h 1022551"/>
                <a:gd name="connsiteX1003" fmla="*/ 519064 w 993885"/>
                <a:gd name="connsiteY1003" fmla="*/ 1006327 h 1022551"/>
                <a:gd name="connsiteX1004" fmla="*/ 519558 w 993885"/>
                <a:gd name="connsiteY1004" fmla="*/ 1004565 h 1022551"/>
                <a:gd name="connsiteX1005" fmla="*/ 520293 w 993885"/>
                <a:gd name="connsiteY1005" fmla="*/ 1003428 h 1022551"/>
                <a:gd name="connsiteX1006" fmla="*/ 522516 w 993885"/>
                <a:gd name="connsiteY1006" fmla="*/ 1001779 h 1022551"/>
                <a:gd name="connsiteX1007" fmla="*/ 524674 w 993885"/>
                <a:gd name="connsiteY1007" fmla="*/ 999422 h 1022551"/>
                <a:gd name="connsiteX1008" fmla="*/ 527109 w 993885"/>
                <a:gd name="connsiteY1008" fmla="*/ 996425 h 1022551"/>
                <a:gd name="connsiteX1009" fmla="*/ 529352 w 993885"/>
                <a:gd name="connsiteY1009" fmla="*/ 994040 h 1022551"/>
                <a:gd name="connsiteX1010" fmla="*/ 528549 w 993885"/>
                <a:gd name="connsiteY1010" fmla="*/ 992441 h 1022551"/>
                <a:gd name="connsiteX1011" fmla="*/ 526674 w 993885"/>
                <a:gd name="connsiteY1011" fmla="*/ 990896 h 1022551"/>
                <a:gd name="connsiteX1012" fmla="*/ 523339 w 993885"/>
                <a:gd name="connsiteY1012" fmla="*/ 989647 h 1022551"/>
                <a:gd name="connsiteX1013" fmla="*/ 520127 w 993885"/>
                <a:gd name="connsiteY1013" fmla="*/ 987448 h 1022551"/>
                <a:gd name="connsiteX1014" fmla="*/ 517280 w 993885"/>
                <a:gd name="connsiteY1014" fmla="*/ 984622 h 1022551"/>
                <a:gd name="connsiteX1015" fmla="*/ 515963 w 993885"/>
                <a:gd name="connsiteY1015" fmla="*/ 981682 h 1022551"/>
                <a:gd name="connsiteX1016" fmla="*/ 514759 w 993885"/>
                <a:gd name="connsiteY1016" fmla="*/ 978517 h 1022551"/>
                <a:gd name="connsiteX1017" fmla="*/ 513606 w 993885"/>
                <a:gd name="connsiteY1017" fmla="*/ 976016 h 1022551"/>
                <a:gd name="connsiteX1018" fmla="*/ 513223 w 993885"/>
                <a:gd name="connsiteY1018" fmla="*/ 974873 h 1022551"/>
                <a:gd name="connsiteX1019" fmla="*/ 512098 w 993885"/>
                <a:gd name="connsiteY1019" fmla="*/ 974398 h 1022551"/>
                <a:gd name="connsiteX1020" fmla="*/ 510311 w 993885"/>
                <a:gd name="connsiteY1020" fmla="*/ 973122 h 1022551"/>
                <a:gd name="connsiteX1021" fmla="*/ 509194 w 993885"/>
                <a:gd name="connsiteY1021" fmla="*/ 971935 h 1022551"/>
                <a:gd name="connsiteX1022" fmla="*/ 507557 w 993885"/>
                <a:gd name="connsiteY1022" fmla="*/ 971255 h 1022551"/>
                <a:gd name="connsiteX1023" fmla="*/ 504634 w 993885"/>
                <a:gd name="connsiteY1023" fmla="*/ 970508 h 1022551"/>
                <a:gd name="connsiteX1024" fmla="*/ 501588 w 993885"/>
                <a:gd name="connsiteY1024" fmla="*/ 969205 h 1022551"/>
                <a:gd name="connsiteX1025" fmla="*/ 497800 w 993885"/>
                <a:gd name="connsiteY1025" fmla="*/ 966112 h 1022551"/>
                <a:gd name="connsiteX1026" fmla="*/ 495068 w 993885"/>
                <a:gd name="connsiteY1026" fmla="*/ 962681 h 1022551"/>
                <a:gd name="connsiteX1027" fmla="*/ 493719 w 993885"/>
                <a:gd name="connsiteY1027" fmla="*/ 960417 h 1022551"/>
                <a:gd name="connsiteX1028" fmla="*/ 492280 w 993885"/>
                <a:gd name="connsiteY1028" fmla="*/ 958824 h 1022551"/>
                <a:gd name="connsiteX1029" fmla="*/ 484462 w 993885"/>
                <a:gd name="connsiteY1029" fmla="*/ 956193 h 1022551"/>
                <a:gd name="connsiteX1030" fmla="*/ 480910 w 993885"/>
                <a:gd name="connsiteY1030" fmla="*/ 953052 h 1022551"/>
                <a:gd name="connsiteX1031" fmla="*/ 479513 w 993885"/>
                <a:gd name="connsiteY1031" fmla="*/ 954030 h 1022551"/>
                <a:gd name="connsiteX1032" fmla="*/ 477424 w 993885"/>
                <a:gd name="connsiteY1032" fmla="*/ 953068 h 1022551"/>
                <a:gd name="connsiteX1033" fmla="*/ 475367 w 993885"/>
                <a:gd name="connsiteY1033" fmla="*/ 951558 h 1022551"/>
                <a:gd name="connsiteX1034" fmla="*/ 474750 w 993885"/>
                <a:gd name="connsiteY1034" fmla="*/ 950398 h 1022551"/>
                <a:gd name="connsiteX1035" fmla="*/ 473881 w 993885"/>
                <a:gd name="connsiteY1035" fmla="*/ 949212 h 1022551"/>
                <a:gd name="connsiteX1036" fmla="*/ 473063 w 993885"/>
                <a:gd name="connsiteY1036" fmla="*/ 947849 h 1022551"/>
                <a:gd name="connsiteX1037" fmla="*/ 472542 w 993885"/>
                <a:gd name="connsiteY1037" fmla="*/ 946542 h 1022551"/>
                <a:gd name="connsiteX1038" fmla="*/ 470425 w 993885"/>
                <a:gd name="connsiteY1038" fmla="*/ 944259 h 1022551"/>
                <a:gd name="connsiteX1039" fmla="*/ 467692 w 993885"/>
                <a:gd name="connsiteY1039" fmla="*/ 941789 h 1022551"/>
                <a:gd name="connsiteX1040" fmla="*/ 466534 w 993885"/>
                <a:gd name="connsiteY1040" fmla="*/ 941086 h 1022551"/>
                <a:gd name="connsiteX1041" fmla="*/ 465922 w 993885"/>
                <a:gd name="connsiteY1041" fmla="*/ 941290 h 1022551"/>
                <a:gd name="connsiteX1042" fmla="*/ 465330 w 993885"/>
                <a:gd name="connsiteY1042" fmla="*/ 942238 h 1022551"/>
                <a:gd name="connsiteX1043" fmla="*/ 464956 w 993885"/>
                <a:gd name="connsiteY1043" fmla="*/ 943155 h 1022551"/>
                <a:gd name="connsiteX1044" fmla="*/ 463924 w 993885"/>
                <a:gd name="connsiteY1044" fmla="*/ 943760 h 1022551"/>
                <a:gd name="connsiteX1045" fmla="*/ 462647 w 993885"/>
                <a:gd name="connsiteY1045" fmla="*/ 944891 h 1022551"/>
                <a:gd name="connsiteX1046" fmla="*/ 461343 w 993885"/>
                <a:gd name="connsiteY1046" fmla="*/ 946277 h 1022551"/>
                <a:gd name="connsiteX1047" fmla="*/ 459671 w 993885"/>
                <a:gd name="connsiteY1047" fmla="*/ 947197 h 1022551"/>
                <a:gd name="connsiteX1048" fmla="*/ 457685 w 993885"/>
                <a:gd name="connsiteY1048" fmla="*/ 947511 h 1022551"/>
                <a:gd name="connsiteX1049" fmla="*/ 456349 w 993885"/>
                <a:gd name="connsiteY1049" fmla="*/ 947464 h 1022551"/>
                <a:gd name="connsiteX1050" fmla="*/ 456075 w 993885"/>
                <a:gd name="connsiteY1050" fmla="*/ 946918 h 1022551"/>
                <a:gd name="connsiteX1051" fmla="*/ 456000 w 993885"/>
                <a:gd name="connsiteY1051" fmla="*/ 945025 h 1022551"/>
                <a:gd name="connsiteX1052" fmla="*/ 456493 w 993885"/>
                <a:gd name="connsiteY1052" fmla="*/ 940706 h 1022551"/>
                <a:gd name="connsiteX1053" fmla="*/ 455330 w 993885"/>
                <a:gd name="connsiteY1053" fmla="*/ 939045 h 1022551"/>
                <a:gd name="connsiteX1054" fmla="*/ 453784 w 993885"/>
                <a:gd name="connsiteY1054" fmla="*/ 937264 h 1022551"/>
                <a:gd name="connsiteX1055" fmla="*/ 452000 w 993885"/>
                <a:gd name="connsiteY1055" fmla="*/ 934884 h 1022551"/>
                <a:gd name="connsiteX1056" fmla="*/ 446142 w 993885"/>
                <a:gd name="connsiteY1056" fmla="*/ 929845 h 1022551"/>
                <a:gd name="connsiteX1057" fmla="*/ 438169 w 993885"/>
                <a:gd name="connsiteY1057" fmla="*/ 922598 h 1022551"/>
                <a:gd name="connsiteX1058" fmla="*/ 435353 w 993885"/>
                <a:gd name="connsiteY1058" fmla="*/ 920385 h 1022551"/>
                <a:gd name="connsiteX1059" fmla="*/ 432702 w 993885"/>
                <a:gd name="connsiteY1059" fmla="*/ 920214 h 1022551"/>
                <a:gd name="connsiteX1060" fmla="*/ 430282 w 993885"/>
                <a:gd name="connsiteY1060" fmla="*/ 920461 h 1022551"/>
                <a:gd name="connsiteX1061" fmla="*/ 428056 w 993885"/>
                <a:gd name="connsiteY1061" fmla="*/ 921419 h 1022551"/>
                <a:gd name="connsiteX1062" fmla="*/ 426372 w 993885"/>
                <a:gd name="connsiteY1062" fmla="*/ 924765 h 1022551"/>
                <a:gd name="connsiteX1063" fmla="*/ 425674 w 993885"/>
                <a:gd name="connsiteY1063" fmla="*/ 925281 h 1022551"/>
                <a:gd name="connsiteX1064" fmla="*/ 421378 w 993885"/>
                <a:gd name="connsiteY1064" fmla="*/ 925205 h 1022551"/>
                <a:gd name="connsiteX1065" fmla="*/ 417107 w 993885"/>
                <a:gd name="connsiteY1065" fmla="*/ 924664 h 1022551"/>
                <a:gd name="connsiteX1066" fmla="*/ 415672 w 993885"/>
                <a:gd name="connsiteY1066" fmla="*/ 922623 h 1022551"/>
                <a:gd name="connsiteX1067" fmla="*/ 416813 w 993885"/>
                <a:gd name="connsiteY1067" fmla="*/ 921294 h 1022551"/>
                <a:gd name="connsiteX1068" fmla="*/ 420836 w 993885"/>
                <a:gd name="connsiteY1068" fmla="*/ 918349 h 1022551"/>
                <a:gd name="connsiteX1069" fmla="*/ 423062 w 993885"/>
                <a:gd name="connsiteY1069" fmla="*/ 915727 h 1022551"/>
                <a:gd name="connsiteX1070" fmla="*/ 423487 w 993885"/>
                <a:gd name="connsiteY1070" fmla="*/ 913427 h 1022551"/>
                <a:gd name="connsiteX1071" fmla="*/ 425415 w 993885"/>
                <a:gd name="connsiteY1071" fmla="*/ 911364 h 1022551"/>
                <a:gd name="connsiteX1072" fmla="*/ 428846 w 993885"/>
                <a:gd name="connsiteY1072" fmla="*/ 909537 h 1022551"/>
                <a:gd name="connsiteX1073" fmla="*/ 432668 w 993885"/>
                <a:gd name="connsiteY1073" fmla="*/ 906175 h 1022551"/>
                <a:gd name="connsiteX1074" fmla="*/ 436881 w 993885"/>
                <a:gd name="connsiteY1074" fmla="*/ 901280 h 1022551"/>
                <a:gd name="connsiteX1075" fmla="*/ 439440 w 993885"/>
                <a:gd name="connsiteY1075" fmla="*/ 897670 h 1022551"/>
                <a:gd name="connsiteX1076" fmla="*/ 440345 w 993885"/>
                <a:gd name="connsiteY1076" fmla="*/ 895341 h 1022551"/>
                <a:gd name="connsiteX1077" fmla="*/ 441998 w 993885"/>
                <a:gd name="connsiteY1077" fmla="*/ 893548 h 1022551"/>
                <a:gd name="connsiteX1078" fmla="*/ 444399 w 993885"/>
                <a:gd name="connsiteY1078" fmla="*/ 892288 h 1022551"/>
                <a:gd name="connsiteX1079" fmla="*/ 446496 w 993885"/>
                <a:gd name="connsiteY1079" fmla="*/ 889661 h 1022551"/>
                <a:gd name="connsiteX1080" fmla="*/ 448294 w 993885"/>
                <a:gd name="connsiteY1080" fmla="*/ 885668 h 1022551"/>
                <a:gd name="connsiteX1081" fmla="*/ 450749 w 993885"/>
                <a:gd name="connsiteY1081" fmla="*/ 882492 h 1022551"/>
                <a:gd name="connsiteX1082" fmla="*/ 453859 w 993885"/>
                <a:gd name="connsiteY1082" fmla="*/ 880140 h 1022551"/>
                <a:gd name="connsiteX1083" fmla="*/ 455600 w 993885"/>
                <a:gd name="connsiteY1083" fmla="*/ 878188 h 1022551"/>
                <a:gd name="connsiteX1084" fmla="*/ 455970 w 993885"/>
                <a:gd name="connsiteY1084" fmla="*/ 876640 h 1022551"/>
                <a:gd name="connsiteX1085" fmla="*/ 456851 w 993885"/>
                <a:gd name="connsiteY1085" fmla="*/ 875650 h 1022551"/>
                <a:gd name="connsiteX1086" fmla="*/ 458239 w 993885"/>
                <a:gd name="connsiteY1086" fmla="*/ 875217 h 1022551"/>
                <a:gd name="connsiteX1087" fmla="*/ 458911 w 993885"/>
                <a:gd name="connsiteY1087" fmla="*/ 874403 h 1022551"/>
                <a:gd name="connsiteX1088" fmla="*/ 458866 w 993885"/>
                <a:gd name="connsiteY1088" fmla="*/ 873204 h 1022551"/>
                <a:gd name="connsiteX1089" fmla="*/ 459244 w 993885"/>
                <a:gd name="connsiteY1089" fmla="*/ 872389 h 1022551"/>
                <a:gd name="connsiteX1090" fmla="*/ 460046 w 993885"/>
                <a:gd name="connsiteY1090" fmla="*/ 871955 h 1022551"/>
                <a:gd name="connsiteX1091" fmla="*/ 461385 w 993885"/>
                <a:gd name="connsiteY1091" fmla="*/ 872107 h 1022551"/>
                <a:gd name="connsiteX1092" fmla="*/ 463264 w 993885"/>
                <a:gd name="connsiteY1092" fmla="*/ 872846 h 1022551"/>
                <a:gd name="connsiteX1093" fmla="*/ 464398 w 993885"/>
                <a:gd name="connsiteY1093" fmla="*/ 872709 h 1022551"/>
                <a:gd name="connsiteX1094" fmla="*/ 464785 w 993885"/>
                <a:gd name="connsiteY1094" fmla="*/ 871700 h 1022551"/>
                <a:gd name="connsiteX1095" fmla="*/ 464290 w 993885"/>
                <a:gd name="connsiteY1095" fmla="*/ 870543 h 1022551"/>
                <a:gd name="connsiteX1096" fmla="*/ 462908 w 993885"/>
                <a:gd name="connsiteY1096" fmla="*/ 869243 h 1022551"/>
                <a:gd name="connsiteX1097" fmla="*/ 463429 w 993885"/>
                <a:gd name="connsiteY1097" fmla="*/ 867832 h 1022551"/>
                <a:gd name="connsiteX1098" fmla="*/ 467057 w 993885"/>
                <a:gd name="connsiteY1098" fmla="*/ 865550 h 1022551"/>
                <a:gd name="connsiteX1099" fmla="*/ 469738 w 993885"/>
                <a:gd name="connsiteY1099" fmla="*/ 864682 h 1022551"/>
                <a:gd name="connsiteX1100" fmla="*/ 471433 w 993885"/>
                <a:gd name="connsiteY1100" fmla="*/ 863267 h 1022551"/>
                <a:gd name="connsiteX1101" fmla="*/ 473039 w 993885"/>
                <a:gd name="connsiteY1101" fmla="*/ 861023 h 1022551"/>
                <a:gd name="connsiteX1102" fmla="*/ 475643 w 993885"/>
                <a:gd name="connsiteY1102" fmla="*/ 859457 h 1022551"/>
                <a:gd name="connsiteX1103" fmla="*/ 479250 w 993885"/>
                <a:gd name="connsiteY1103" fmla="*/ 858579 h 1022551"/>
                <a:gd name="connsiteX1104" fmla="*/ 480205 w 993885"/>
                <a:gd name="connsiteY1104" fmla="*/ 857733 h 1022551"/>
                <a:gd name="connsiteX1105" fmla="*/ 480074 w 993885"/>
                <a:gd name="connsiteY1105" fmla="*/ 856647 h 1022551"/>
                <a:gd name="connsiteX1106" fmla="*/ 480812 w 993885"/>
                <a:gd name="connsiteY1106" fmla="*/ 855866 h 1022551"/>
                <a:gd name="connsiteX1107" fmla="*/ 482942 w 993885"/>
                <a:gd name="connsiteY1107" fmla="*/ 855302 h 1022551"/>
                <a:gd name="connsiteX1108" fmla="*/ 484101 w 993885"/>
                <a:gd name="connsiteY1108" fmla="*/ 854245 h 1022551"/>
                <a:gd name="connsiteX1109" fmla="*/ 484290 w 993885"/>
                <a:gd name="connsiteY1109" fmla="*/ 852695 h 1022551"/>
                <a:gd name="connsiteX1110" fmla="*/ 484975 w 993885"/>
                <a:gd name="connsiteY1110" fmla="*/ 851252 h 1022551"/>
                <a:gd name="connsiteX1111" fmla="*/ 486158 w 993885"/>
                <a:gd name="connsiteY1111" fmla="*/ 849921 h 1022551"/>
                <a:gd name="connsiteX1112" fmla="*/ 487476 w 993885"/>
                <a:gd name="connsiteY1112" fmla="*/ 849426 h 1022551"/>
                <a:gd name="connsiteX1113" fmla="*/ 488931 w 993885"/>
                <a:gd name="connsiteY1113" fmla="*/ 849766 h 1022551"/>
                <a:gd name="connsiteX1114" fmla="*/ 490296 w 993885"/>
                <a:gd name="connsiteY1114" fmla="*/ 849264 h 1022551"/>
                <a:gd name="connsiteX1115" fmla="*/ 491575 w 993885"/>
                <a:gd name="connsiteY1115" fmla="*/ 847913 h 1022551"/>
                <a:gd name="connsiteX1116" fmla="*/ 493109 w 993885"/>
                <a:gd name="connsiteY1116" fmla="*/ 847282 h 1022551"/>
                <a:gd name="connsiteX1117" fmla="*/ 494900 w 993885"/>
                <a:gd name="connsiteY1117" fmla="*/ 847370 h 1022551"/>
                <a:gd name="connsiteX1118" fmla="*/ 495817 w 993885"/>
                <a:gd name="connsiteY1118" fmla="*/ 847074 h 1022551"/>
                <a:gd name="connsiteX1119" fmla="*/ 498889 w 993885"/>
                <a:gd name="connsiteY1119" fmla="*/ 846447 h 1022551"/>
                <a:gd name="connsiteX1120" fmla="*/ 500585 w 993885"/>
                <a:gd name="connsiteY1120" fmla="*/ 845313 h 1022551"/>
                <a:gd name="connsiteX1121" fmla="*/ 501977 w 993885"/>
                <a:gd name="connsiteY1121" fmla="*/ 842788 h 1022551"/>
                <a:gd name="connsiteX1122" fmla="*/ 503214 w 993885"/>
                <a:gd name="connsiteY1122" fmla="*/ 841810 h 1022551"/>
                <a:gd name="connsiteX1123" fmla="*/ 504294 w 993885"/>
                <a:gd name="connsiteY1123" fmla="*/ 842380 h 1022551"/>
                <a:gd name="connsiteX1124" fmla="*/ 506162 w 993885"/>
                <a:gd name="connsiteY1124" fmla="*/ 841535 h 1022551"/>
                <a:gd name="connsiteX1125" fmla="*/ 508819 w 993885"/>
                <a:gd name="connsiteY1125" fmla="*/ 839279 h 1022551"/>
                <a:gd name="connsiteX1126" fmla="*/ 509320 w 993885"/>
                <a:gd name="connsiteY1126" fmla="*/ 839237 h 1022551"/>
                <a:gd name="connsiteX1127" fmla="*/ 511284 w 993885"/>
                <a:gd name="connsiteY1127" fmla="*/ 838186 h 1022551"/>
                <a:gd name="connsiteX1128" fmla="*/ 513304 w 993885"/>
                <a:gd name="connsiteY1128" fmla="*/ 834292 h 1022551"/>
                <a:gd name="connsiteX1129" fmla="*/ 514349 w 993885"/>
                <a:gd name="connsiteY1129" fmla="*/ 831688 h 1022551"/>
                <a:gd name="connsiteX1130" fmla="*/ 514099 w 993885"/>
                <a:gd name="connsiteY1130" fmla="*/ 829559 h 1022551"/>
                <a:gd name="connsiteX1131" fmla="*/ 513436 w 993885"/>
                <a:gd name="connsiteY1131" fmla="*/ 828032 h 1022551"/>
                <a:gd name="connsiteX1132" fmla="*/ 513657 w 993885"/>
                <a:gd name="connsiteY1132" fmla="*/ 825796 h 1022551"/>
                <a:gd name="connsiteX1133" fmla="*/ 514327 w 993885"/>
                <a:gd name="connsiteY1133" fmla="*/ 819721 h 1022551"/>
                <a:gd name="connsiteX1134" fmla="*/ 514510 w 993885"/>
                <a:gd name="connsiteY1134" fmla="*/ 817238 h 1022551"/>
                <a:gd name="connsiteX1135" fmla="*/ 515585 w 993885"/>
                <a:gd name="connsiteY1135" fmla="*/ 815509 h 1022551"/>
                <a:gd name="connsiteX1136" fmla="*/ 515515 w 993885"/>
                <a:gd name="connsiteY1136" fmla="*/ 813794 h 1022551"/>
                <a:gd name="connsiteX1137" fmla="*/ 513598 w 993885"/>
                <a:gd name="connsiteY1137" fmla="*/ 809956 h 1022551"/>
                <a:gd name="connsiteX1138" fmla="*/ 511663 w 993885"/>
                <a:gd name="connsiteY1138" fmla="*/ 806590 h 1022551"/>
                <a:gd name="connsiteX1139" fmla="*/ 510624 w 993885"/>
                <a:gd name="connsiteY1139" fmla="*/ 800878 h 1022551"/>
                <a:gd name="connsiteX1140" fmla="*/ 509941 w 993885"/>
                <a:gd name="connsiteY1140" fmla="*/ 798712 h 1022551"/>
                <a:gd name="connsiteX1141" fmla="*/ 508327 w 993885"/>
                <a:gd name="connsiteY1141" fmla="*/ 798137 h 1022551"/>
                <a:gd name="connsiteX1142" fmla="*/ 506869 w 993885"/>
                <a:gd name="connsiteY1142" fmla="*/ 796250 h 1022551"/>
                <a:gd name="connsiteX1143" fmla="*/ 505025 w 993885"/>
                <a:gd name="connsiteY1143" fmla="*/ 796087 h 1022551"/>
                <a:gd name="connsiteX1144" fmla="*/ 504157 w 993885"/>
                <a:gd name="connsiteY1144" fmla="*/ 795364 h 1022551"/>
                <a:gd name="connsiteX1145" fmla="*/ 503261 w 993885"/>
                <a:gd name="connsiteY1145" fmla="*/ 794765 h 1022551"/>
                <a:gd name="connsiteX1146" fmla="*/ 501954 w 993885"/>
                <a:gd name="connsiteY1146" fmla="*/ 794942 h 1022551"/>
                <a:gd name="connsiteX1147" fmla="*/ 500839 w 993885"/>
                <a:gd name="connsiteY1147" fmla="*/ 796047 h 1022551"/>
                <a:gd name="connsiteX1148" fmla="*/ 498765 w 993885"/>
                <a:gd name="connsiteY1148" fmla="*/ 796087 h 1022551"/>
                <a:gd name="connsiteX1149" fmla="*/ 497460 w 993885"/>
                <a:gd name="connsiteY1149" fmla="*/ 796541 h 1022551"/>
                <a:gd name="connsiteX1150" fmla="*/ 495923 w 993885"/>
                <a:gd name="connsiteY1150" fmla="*/ 797524 h 1022551"/>
                <a:gd name="connsiteX1151" fmla="*/ 494463 w 993885"/>
                <a:gd name="connsiteY1151" fmla="*/ 797072 h 1022551"/>
                <a:gd name="connsiteX1152" fmla="*/ 493543 w 993885"/>
                <a:gd name="connsiteY1152" fmla="*/ 796211 h 1022551"/>
                <a:gd name="connsiteX1153" fmla="*/ 491565 w 993885"/>
                <a:gd name="connsiteY1153" fmla="*/ 796199 h 1022551"/>
                <a:gd name="connsiteX1154" fmla="*/ 491700 w 993885"/>
                <a:gd name="connsiteY1154" fmla="*/ 792321 h 1022551"/>
                <a:gd name="connsiteX1155" fmla="*/ 495184 w 993885"/>
                <a:gd name="connsiteY1155" fmla="*/ 786577 h 1022551"/>
                <a:gd name="connsiteX1156" fmla="*/ 496119 w 993885"/>
                <a:gd name="connsiteY1156" fmla="*/ 783906 h 1022551"/>
                <a:gd name="connsiteX1157" fmla="*/ 495666 w 993885"/>
                <a:gd name="connsiteY1157" fmla="*/ 782393 h 1022551"/>
                <a:gd name="connsiteX1158" fmla="*/ 496709 w 993885"/>
                <a:gd name="connsiteY1158" fmla="*/ 777058 h 1022551"/>
                <a:gd name="connsiteX1159" fmla="*/ 499245 w 993885"/>
                <a:gd name="connsiteY1159" fmla="*/ 767914 h 1022551"/>
                <a:gd name="connsiteX1160" fmla="*/ 500055 w 993885"/>
                <a:gd name="connsiteY1160" fmla="*/ 761940 h 1022551"/>
                <a:gd name="connsiteX1161" fmla="*/ 499135 w 993885"/>
                <a:gd name="connsiteY1161" fmla="*/ 759122 h 1022551"/>
                <a:gd name="connsiteX1162" fmla="*/ 499111 w 993885"/>
                <a:gd name="connsiteY1162" fmla="*/ 757157 h 1022551"/>
                <a:gd name="connsiteX1163" fmla="*/ 500413 w 993885"/>
                <a:gd name="connsiteY1163" fmla="*/ 755484 h 1022551"/>
                <a:gd name="connsiteX1164" fmla="*/ 501049 w 993885"/>
                <a:gd name="connsiteY1164" fmla="*/ 754985 h 1022551"/>
                <a:gd name="connsiteX1165" fmla="*/ 497779 w 993885"/>
                <a:gd name="connsiteY1165" fmla="*/ 752943 h 1022551"/>
                <a:gd name="connsiteX1166" fmla="*/ 496018 w 993885"/>
                <a:gd name="connsiteY1166" fmla="*/ 751079 h 1022551"/>
                <a:gd name="connsiteX1167" fmla="*/ 493752 w 993885"/>
                <a:gd name="connsiteY1167" fmla="*/ 749748 h 1022551"/>
                <a:gd name="connsiteX1168" fmla="*/ 491320 w 993885"/>
                <a:gd name="connsiteY1168" fmla="*/ 748684 h 1022551"/>
                <a:gd name="connsiteX1169" fmla="*/ 490147 w 993885"/>
                <a:gd name="connsiteY1169" fmla="*/ 749126 h 1022551"/>
                <a:gd name="connsiteX1170" fmla="*/ 488889 w 993885"/>
                <a:gd name="connsiteY1170" fmla="*/ 749748 h 1022551"/>
                <a:gd name="connsiteX1171" fmla="*/ 486457 w 993885"/>
                <a:gd name="connsiteY1171" fmla="*/ 750723 h 1022551"/>
                <a:gd name="connsiteX1172" fmla="*/ 483689 w 993885"/>
                <a:gd name="connsiteY1172" fmla="*/ 752411 h 1022551"/>
                <a:gd name="connsiteX1173" fmla="*/ 482264 w 993885"/>
                <a:gd name="connsiteY1173" fmla="*/ 753032 h 1022551"/>
                <a:gd name="connsiteX1174" fmla="*/ 479748 w 993885"/>
                <a:gd name="connsiteY1174" fmla="*/ 753654 h 1022551"/>
                <a:gd name="connsiteX1175" fmla="*/ 476897 w 993885"/>
                <a:gd name="connsiteY1175" fmla="*/ 754186 h 1022551"/>
                <a:gd name="connsiteX1176" fmla="*/ 474550 w 993885"/>
                <a:gd name="connsiteY1176" fmla="*/ 753831 h 1022551"/>
                <a:gd name="connsiteX1177" fmla="*/ 472536 w 993885"/>
                <a:gd name="connsiteY1177" fmla="*/ 753475 h 1022551"/>
                <a:gd name="connsiteX1178" fmla="*/ 471278 w 993885"/>
                <a:gd name="connsiteY1178" fmla="*/ 752411 h 1022551"/>
                <a:gd name="connsiteX1179" fmla="*/ 470607 w 993885"/>
                <a:gd name="connsiteY1179" fmla="*/ 750101 h 1022551"/>
                <a:gd name="connsiteX1180" fmla="*/ 470607 w 993885"/>
                <a:gd name="connsiteY1180" fmla="*/ 748149 h 1022551"/>
                <a:gd name="connsiteX1181" fmla="*/ 470189 w 993885"/>
                <a:gd name="connsiteY1181" fmla="*/ 745310 h 1022551"/>
                <a:gd name="connsiteX1182" fmla="*/ 468678 w 993885"/>
                <a:gd name="connsiteY1182" fmla="*/ 743716 h 1022551"/>
                <a:gd name="connsiteX1183" fmla="*/ 468175 w 993885"/>
                <a:gd name="connsiteY1183" fmla="*/ 742476 h 1022551"/>
                <a:gd name="connsiteX1184" fmla="*/ 468091 w 993885"/>
                <a:gd name="connsiteY1184" fmla="*/ 740969 h 1022551"/>
                <a:gd name="connsiteX1185" fmla="*/ 468260 w 993885"/>
                <a:gd name="connsiteY1185" fmla="*/ 739287 h 1022551"/>
                <a:gd name="connsiteX1186" fmla="*/ 468678 w 993885"/>
                <a:gd name="connsiteY1186" fmla="*/ 738048 h 1022551"/>
                <a:gd name="connsiteX1187" fmla="*/ 468427 w 993885"/>
                <a:gd name="connsiteY1187" fmla="*/ 736542 h 1022551"/>
                <a:gd name="connsiteX1188" fmla="*/ 467755 w 993885"/>
                <a:gd name="connsiteY1188" fmla="*/ 735478 h 1022551"/>
                <a:gd name="connsiteX1189" fmla="*/ 467924 w 993885"/>
                <a:gd name="connsiteY1189" fmla="*/ 733620 h 1022551"/>
                <a:gd name="connsiteX1190" fmla="*/ 467589 w 993885"/>
                <a:gd name="connsiteY1190" fmla="*/ 731055 h 1022551"/>
                <a:gd name="connsiteX1191" fmla="*/ 466582 w 993885"/>
                <a:gd name="connsiteY1191" fmla="*/ 729462 h 1022551"/>
                <a:gd name="connsiteX1192" fmla="*/ 466078 w 993885"/>
                <a:gd name="connsiteY1192" fmla="*/ 727607 h 1022551"/>
                <a:gd name="connsiteX1193" fmla="*/ 466078 w 993885"/>
                <a:gd name="connsiteY1193" fmla="*/ 725750 h 1022551"/>
                <a:gd name="connsiteX1194" fmla="*/ 465324 w 993885"/>
                <a:gd name="connsiteY1194" fmla="*/ 723896 h 1022551"/>
                <a:gd name="connsiteX1195" fmla="*/ 465239 w 993885"/>
                <a:gd name="connsiteY1195" fmla="*/ 721864 h 1022551"/>
                <a:gd name="connsiteX1196" fmla="*/ 465911 w 993885"/>
                <a:gd name="connsiteY1196" fmla="*/ 720011 h 1022551"/>
                <a:gd name="connsiteX1197" fmla="*/ 466162 w 993885"/>
                <a:gd name="connsiteY1197" fmla="*/ 718158 h 1022551"/>
                <a:gd name="connsiteX1198" fmla="*/ 465408 w 993885"/>
                <a:gd name="connsiteY1198" fmla="*/ 716835 h 1022551"/>
                <a:gd name="connsiteX1199" fmla="*/ 463982 w 993885"/>
                <a:gd name="connsiteY1199" fmla="*/ 716040 h 1022551"/>
                <a:gd name="connsiteX1200" fmla="*/ 462892 w 993885"/>
                <a:gd name="connsiteY1200" fmla="*/ 713923 h 1022551"/>
                <a:gd name="connsiteX1201" fmla="*/ 462723 w 993885"/>
                <a:gd name="connsiteY1201" fmla="*/ 711189 h 1022551"/>
                <a:gd name="connsiteX1202" fmla="*/ 461550 w 993885"/>
                <a:gd name="connsiteY1202" fmla="*/ 709691 h 1022551"/>
                <a:gd name="connsiteX1203" fmla="*/ 460292 w 993885"/>
                <a:gd name="connsiteY1203" fmla="*/ 708458 h 1022551"/>
                <a:gd name="connsiteX1204" fmla="*/ 458867 w 993885"/>
                <a:gd name="connsiteY1204" fmla="*/ 708458 h 1022551"/>
                <a:gd name="connsiteX1205" fmla="*/ 456686 w 993885"/>
                <a:gd name="connsiteY1205" fmla="*/ 707753 h 1022551"/>
                <a:gd name="connsiteX1206" fmla="*/ 454757 w 993885"/>
                <a:gd name="connsiteY1206" fmla="*/ 707841 h 1022551"/>
                <a:gd name="connsiteX1207" fmla="*/ 451654 w 993885"/>
                <a:gd name="connsiteY1207" fmla="*/ 707753 h 1022551"/>
                <a:gd name="connsiteX1208" fmla="*/ 450229 w 993885"/>
                <a:gd name="connsiteY1208" fmla="*/ 707314 h 1022551"/>
                <a:gd name="connsiteX1209" fmla="*/ 449475 w 993885"/>
                <a:gd name="connsiteY1209" fmla="*/ 706342 h 1022551"/>
                <a:gd name="connsiteX1210" fmla="*/ 447545 w 993885"/>
                <a:gd name="connsiteY1210" fmla="*/ 705022 h 1022551"/>
                <a:gd name="connsiteX1211" fmla="*/ 446455 w 993885"/>
                <a:gd name="connsiteY1211" fmla="*/ 702735 h 1022551"/>
                <a:gd name="connsiteX1212" fmla="*/ 445113 w 993885"/>
                <a:gd name="connsiteY1212" fmla="*/ 702295 h 1022551"/>
                <a:gd name="connsiteX1213" fmla="*/ 443186 w 993885"/>
                <a:gd name="connsiteY1213" fmla="*/ 702997 h 1022551"/>
                <a:gd name="connsiteX1214" fmla="*/ 442515 w 993885"/>
                <a:gd name="connsiteY1214" fmla="*/ 703878 h 1022551"/>
                <a:gd name="connsiteX1215" fmla="*/ 441759 w 993885"/>
                <a:gd name="connsiteY1215" fmla="*/ 705111 h 1022551"/>
                <a:gd name="connsiteX1216" fmla="*/ 440417 w 993885"/>
                <a:gd name="connsiteY1216" fmla="*/ 706520 h 1022551"/>
                <a:gd name="connsiteX1217" fmla="*/ 438657 w 993885"/>
                <a:gd name="connsiteY1217" fmla="*/ 706432 h 1022551"/>
                <a:gd name="connsiteX1218" fmla="*/ 436812 w 993885"/>
                <a:gd name="connsiteY1218" fmla="*/ 707224 h 1022551"/>
                <a:gd name="connsiteX1219" fmla="*/ 435050 w 993885"/>
                <a:gd name="connsiteY1219" fmla="*/ 707314 h 1022551"/>
                <a:gd name="connsiteX1220" fmla="*/ 432702 w 993885"/>
                <a:gd name="connsiteY1220" fmla="*/ 707490 h 1022551"/>
                <a:gd name="connsiteX1221" fmla="*/ 430354 w 993885"/>
                <a:gd name="connsiteY1221" fmla="*/ 706785 h 1022551"/>
                <a:gd name="connsiteX1222" fmla="*/ 427503 w 993885"/>
                <a:gd name="connsiteY1222" fmla="*/ 705991 h 1022551"/>
                <a:gd name="connsiteX1223" fmla="*/ 425071 w 993885"/>
                <a:gd name="connsiteY1223" fmla="*/ 705464 h 1022551"/>
                <a:gd name="connsiteX1224" fmla="*/ 422722 w 993885"/>
                <a:gd name="connsiteY1224" fmla="*/ 705991 h 1022551"/>
                <a:gd name="connsiteX1225" fmla="*/ 421130 w 993885"/>
                <a:gd name="connsiteY1225" fmla="*/ 705550 h 1022551"/>
                <a:gd name="connsiteX1226" fmla="*/ 419032 w 993885"/>
                <a:gd name="connsiteY1226" fmla="*/ 705287 h 1022551"/>
                <a:gd name="connsiteX1227" fmla="*/ 416685 w 993885"/>
                <a:gd name="connsiteY1227" fmla="*/ 705111 h 1022551"/>
                <a:gd name="connsiteX1228" fmla="*/ 414840 w 993885"/>
                <a:gd name="connsiteY1228" fmla="*/ 703701 h 1022551"/>
                <a:gd name="connsiteX1229" fmla="*/ 412827 w 993885"/>
                <a:gd name="connsiteY1229" fmla="*/ 702909 h 1022551"/>
                <a:gd name="connsiteX1230" fmla="*/ 411738 w 993885"/>
                <a:gd name="connsiteY1230" fmla="*/ 703174 h 1022551"/>
                <a:gd name="connsiteX1231" fmla="*/ 410311 w 993885"/>
                <a:gd name="connsiteY1231" fmla="*/ 704055 h 1022551"/>
                <a:gd name="connsiteX1232" fmla="*/ 408802 w 993885"/>
                <a:gd name="connsiteY1232" fmla="*/ 703878 h 1022551"/>
                <a:gd name="connsiteX1233" fmla="*/ 406874 w 993885"/>
                <a:gd name="connsiteY1233" fmla="*/ 703174 h 1022551"/>
                <a:gd name="connsiteX1234" fmla="*/ 406118 w 993885"/>
                <a:gd name="connsiteY1234" fmla="*/ 701503 h 1022551"/>
                <a:gd name="connsiteX1235" fmla="*/ 406286 w 993885"/>
                <a:gd name="connsiteY1235" fmla="*/ 700446 h 1022551"/>
                <a:gd name="connsiteX1236" fmla="*/ 406706 w 993885"/>
                <a:gd name="connsiteY1236" fmla="*/ 699391 h 1022551"/>
                <a:gd name="connsiteX1237" fmla="*/ 407460 w 993885"/>
                <a:gd name="connsiteY1237" fmla="*/ 697894 h 1022551"/>
                <a:gd name="connsiteX1238" fmla="*/ 407040 w 993885"/>
                <a:gd name="connsiteY1238" fmla="*/ 696311 h 1022551"/>
                <a:gd name="connsiteX1239" fmla="*/ 407208 w 993885"/>
                <a:gd name="connsiteY1239" fmla="*/ 694906 h 1022551"/>
                <a:gd name="connsiteX1240" fmla="*/ 407544 w 993885"/>
                <a:gd name="connsiteY1240" fmla="*/ 693674 h 1022551"/>
                <a:gd name="connsiteX1241" fmla="*/ 407879 w 993885"/>
                <a:gd name="connsiteY1241" fmla="*/ 692270 h 1022551"/>
                <a:gd name="connsiteX1242" fmla="*/ 407627 w 993885"/>
                <a:gd name="connsiteY1242" fmla="*/ 690952 h 1022551"/>
                <a:gd name="connsiteX1243" fmla="*/ 407544 w 993885"/>
                <a:gd name="connsiteY1243" fmla="*/ 689546 h 1022551"/>
                <a:gd name="connsiteX1244" fmla="*/ 407376 w 993885"/>
                <a:gd name="connsiteY1244" fmla="*/ 688230 h 1022551"/>
                <a:gd name="connsiteX1245" fmla="*/ 407125 w 993885"/>
                <a:gd name="connsiteY1245" fmla="*/ 686824 h 1022551"/>
                <a:gd name="connsiteX1246" fmla="*/ 408130 w 993885"/>
                <a:gd name="connsiteY1246" fmla="*/ 684806 h 1022551"/>
                <a:gd name="connsiteX1247" fmla="*/ 408969 w 993885"/>
                <a:gd name="connsiteY1247" fmla="*/ 683137 h 1022551"/>
                <a:gd name="connsiteX1248" fmla="*/ 408466 w 993885"/>
                <a:gd name="connsiteY1248" fmla="*/ 681736 h 1022551"/>
                <a:gd name="connsiteX1249" fmla="*/ 408634 w 993885"/>
                <a:gd name="connsiteY1249" fmla="*/ 680769 h 1022551"/>
                <a:gd name="connsiteX1250" fmla="*/ 409305 w 993885"/>
                <a:gd name="connsiteY1250" fmla="*/ 679190 h 1022551"/>
                <a:gd name="connsiteX1251" fmla="*/ 410143 w 993885"/>
                <a:gd name="connsiteY1251" fmla="*/ 677265 h 1022551"/>
                <a:gd name="connsiteX1252" fmla="*/ 410060 w 993885"/>
                <a:gd name="connsiteY1252" fmla="*/ 673671 h 1022551"/>
                <a:gd name="connsiteX1253" fmla="*/ 409305 w 993885"/>
                <a:gd name="connsiteY1253" fmla="*/ 671568 h 1022551"/>
                <a:gd name="connsiteX1254" fmla="*/ 408488 w 993885"/>
                <a:gd name="connsiteY1254" fmla="*/ 670999 h 1022551"/>
                <a:gd name="connsiteX1255" fmla="*/ 408278 w 993885"/>
                <a:gd name="connsiteY1255" fmla="*/ 670363 h 1022551"/>
                <a:gd name="connsiteX1256" fmla="*/ 408676 w 993885"/>
                <a:gd name="connsiteY1256" fmla="*/ 669534 h 1022551"/>
                <a:gd name="connsiteX1257" fmla="*/ 408243 w 993885"/>
                <a:gd name="connsiteY1257" fmla="*/ 668678 h 1022551"/>
                <a:gd name="connsiteX1258" fmla="*/ 408075 w 993885"/>
                <a:gd name="connsiteY1258" fmla="*/ 667804 h 1022551"/>
                <a:gd name="connsiteX1259" fmla="*/ 408509 w 993885"/>
                <a:gd name="connsiteY1259" fmla="*/ 667040 h 1022551"/>
                <a:gd name="connsiteX1260" fmla="*/ 407907 w 993885"/>
                <a:gd name="connsiteY1260" fmla="*/ 665528 h 1022551"/>
                <a:gd name="connsiteX1261" fmla="*/ 406706 w 993885"/>
                <a:gd name="connsiteY1261" fmla="*/ 665091 h 1022551"/>
                <a:gd name="connsiteX1262" fmla="*/ 406286 w 993885"/>
                <a:gd name="connsiteY1262" fmla="*/ 664654 h 1022551"/>
                <a:gd name="connsiteX1263" fmla="*/ 405867 w 993885"/>
                <a:gd name="connsiteY1263" fmla="*/ 662992 h 1022551"/>
                <a:gd name="connsiteX1264" fmla="*/ 405531 w 993885"/>
                <a:gd name="connsiteY1264" fmla="*/ 661069 h 1022551"/>
                <a:gd name="connsiteX1265" fmla="*/ 405698 w 993885"/>
                <a:gd name="connsiteY1265" fmla="*/ 659581 h 1022551"/>
                <a:gd name="connsiteX1266" fmla="*/ 405111 w 993885"/>
                <a:gd name="connsiteY1266" fmla="*/ 658271 h 1022551"/>
                <a:gd name="connsiteX1267" fmla="*/ 404273 w 993885"/>
                <a:gd name="connsiteY1267" fmla="*/ 657486 h 1022551"/>
                <a:gd name="connsiteX1268" fmla="*/ 403435 w 993885"/>
                <a:gd name="connsiteY1268" fmla="*/ 656088 h 1022551"/>
                <a:gd name="connsiteX1269" fmla="*/ 402595 w 993885"/>
                <a:gd name="connsiteY1269" fmla="*/ 655039 h 1022551"/>
                <a:gd name="connsiteX1270" fmla="*/ 402261 w 993885"/>
                <a:gd name="connsiteY1270" fmla="*/ 653555 h 1022551"/>
                <a:gd name="connsiteX1271" fmla="*/ 401704 w 993885"/>
                <a:gd name="connsiteY1271" fmla="*/ 651637 h 1022551"/>
                <a:gd name="connsiteX1272" fmla="*/ 403378 w 993885"/>
                <a:gd name="connsiteY1272" fmla="*/ 651279 h 1022551"/>
                <a:gd name="connsiteX1273" fmla="*/ 404040 w 993885"/>
                <a:gd name="connsiteY1273" fmla="*/ 650205 h 1022551"/>
                <a:gd name="connsiteX1274" fmla="*/ 405219 w 993885"/>
                <a:gd name="connsiteY1274" fmla="*/ 648748 h 1022551"/>
                <a:gd name="connsiteX1275" fmla="*/ 406765 w 993885"/>
                <a:gd name="connsiteY1275" fmla="*/ 648368 h 1022551"/>
                <a:gd name="connsiteX1276" fmla="*/ 408605 w 993885"/>
                <a:gd name="connsiteY1276" fmla="*/ 647832 h 1022551"/>
                <a:gd name="connsiteX1277" fmla="*/ 409286 w 993885"/>
                <a:gd name="connsiteY1277" fmla="*/ 646755 h 1022551"/>
                <a:gd name="connsiteX1278" fmla="*/ 404996 w 993885"/>
                <a:gd name="connsiteY1278" fmla="*/ 642882 h 1022551"/>
                <a:gd name="connsiteX1279" fmla="*/ 402421 w 993885"/>
                <a:gd name="connsiteY1279" fmla="*/ 640557 h 1022551"/>
                <a:gd name="connsiteX1280" fmla="*/ 403929 w 993885"/>
                <a:gd name="connsiteY1280" fmla="*/ 637416 h 1022551"/>
                <a:gd name="connsiteX1281" fmla="*/ 406473 w 993885"/>
                <a:gd name="connsiteY1281" fmla="*/ 632122 h 1022551"/>
                <a:gd name="connsiteX1282" fmla="*/ 408937 w 993885"/>
                <a:gd name="connsiteY1282" fmla="*/ 627000 h 1022551"/>
                <a:gd name="connsiteX1283" fmla="*/ 410816 w 993885"/>
                <a:gd name="connsiteY1283" fmla="*/ 623094 h 1022551"/>
                <a:gd name="connsiteX1284" fmla="*/ 411296 w 993885"/>
                <a:gd name="connsiteY1284" fmla="*/ 622373 h 1022551"/>
                <a:gd name="connsiteX1285" fmla="*/ 412936 w 993885"/>
                <a:gd name="connsiteY1285" fmla="*/ 622124 h 1022551"/>
                <a:gd name="connsiteX1286" fmla="*/ 412637 w 993885"/>
                <a:gd name="connsiteY1286" fmla="*/ 620110 h 1022551"/>
                <a:gd name="connsiteX1287" fmla="*/ 412580 w 993885"/>
                <a:gd name="connsiteY1287" fmla="*/ 618790 h 1022551"/>
                <a:gd name="connsiteX1288" fmla="*/ 411255 w 993885"/>
                <a:gd name="connsiteY1288" fmla="*/ 618713 h 1022551"/>
                <a:gd name="connsiteX1289" fmla="*/ 412728 w 993885"/>
                <a:gd name="connsiteY1289" fmla="*/ 613960 h 1022551"/>
                <a:gd name="connsiteX1290" fmla="*/ 414904 w 993885"/>
                <a:gd name="connsiteY1290" fmla="*/ 607185 h 1022551"/>
                <a:gd name="connsiteX1291" fmla="*/ 416556 w 993885"/>
                <a:gd name="connsiteY1291" fmla="*/ 602055 h 1022551"/>
                <a:gd name="connsiteX1292" fmla="*/ 417086 w 993885"/>
                <a:gd name="connsiteY1292" fmla="*/ 601195 h 1022551"/>
                <a:gd name="connsiteX1293" fmla="*/ 418277 w 993885"/>
                <a:gd name="connsiteY1293" fmla="*/ 600955 h 1022551"/>
                <a:gd name="connsiteX1294" fmla="*/ 418543 w 993885"/>
                <a:gd name="connsiteY1294" fmla="*/ 600361 h 1022551"/>
                <a:gd name="connsiteX1295" fmla="*/ 417114 w 993885"/>
                <a:gd name="connsiteY1295" fmla="*/ 599535 h 1022551"/>
                <a:gd name="connsiteX1296" fmla="*/ 416240 w 993885"/>
                <a:gd name="connsiteY1296" fmla="*/ 597942 h 1022551"/>
                <a:gd name="connsiteX1297" fmla="*/ 414334 w 993885"/>
                <a:gd name="connsiteY1297" fmla="*/ 593362 h 1022551"/>
                <a:gd name="connsiteX1298" fmla="*/ 411329 w 993885"/>
                <a:gd name="connsiteY1298" fmla="*/ 586152 h 1022551"/>
                <a:gd name="connsiteX1299" fmla="*/ 411108 w 993885"/>
                <a:gd name="connsiteY1299" fmla="*/ 583571 h 1022551"/>
                <a:gd name="connsiteX1300" fmla="*/ 410003 w 993885"/>
                <a:gd name="connsiteY1300" fmla="*/ 581978 h 1022551"/>
                <a:gd name="connsiteX1301" fmla="*/ 408162 w 993885"/>
                <a:gd name="connsiteY1301" fmla="*/ 582507 h 1022551"/>
                <a:gd name="connsiteX1302" fmla="*/ 405986 w 993885"/>
                <a:gd name="connsiteY1302" fmla="*/ 581999 h 1022551"/>
                <a:gd name="connsiteX1303" fmla="*/ 400543 w 993885"/>
                <a:gd name="connsiteY1303" fmla="*/ 578085 h 1022551"/>
                <a:gd name="connsiteX1304" fmla="*/ 396937 w 993885"/>
                <a:gd name="connsiteY1304" fmla="*/ 575971 h 1022551"/>
                <a:gd name="connsiteX1305" fmla="*/ 395714 w 993885"/>
                <a:gd name="connsiteY1305" fmla="*/ 574721 h 1022551"/>
                <a:gd name="connsiteX1306" fmla="*/ 395171 w 993885"/>
                <a:gd name="connsiteY1306" fmla="*/ 570710 h 1022551"/>
                <a:gd name="connsiteX1307" fmla="*/ 394096 w 993885"/>
                <a:gd name="connsiteY1307" fmla="*/ 566279 h 1022551"/>
                <a:gd name="connsiteX1308" fmla="*/ 393631 w 993885"/>
                <a:gd name="connsiteY1308" fmla="*/ 560802 h 1022551"/>
                <a:gd name="connsiteX1309" fmla="*/ 393823 w 993885"/>
                <a:gd name="connsiteY1309" fmla="*/ 559487 h 1022551"/>
                <a:gd name="connsiteX1310" fmla="*/ 396871 w 993885"/>
                <a:gd name="connsiteY1310" fmla="*/ 555335 h 1022551"/>
                <a:gd name="connsiteX1311" fmla="*/ 396860 w 993885"/>
                <a:gd name="connsiteY1311" fmla="*/ 553237 h 1022551"/>
                <a:gd name="connsiteX1312" fmla="*/ 397120 w 993885"/>
                <a:gd name="connsiteY1312" fmla="*/ 551407 h 1022551"/>
                <a:gd name="connsiteX1313" fmla="*/ 396991 w 993885"/>
                <a:gd name="connsiteY1313" fmla="*/ 549961 h 1022551"/>
                <a:gd name="connsiteX1314" fmla="*/ 396237 w 993885"/>
                <a:gd name="connsiteY1314" fmla="*/ 549940 h 1022551"/>
                <a:gd name="connsiteX1315" fmla="*/ 395012 w 993885"/>
                <a:gd name="connsiteY1315" fmla="*/ 550573 h 1022551"/>
                <a:gd name="connsiteX1316" fmla="*/ 393163 w 993885"/>
                <a:gd name="connsiteY1316" fmla="*/ 551060 h 1022551"/>
                <a:gd name="connsiteX1317" fmla="*/ 392115 w 993885"/>
                <a:gd name="connsiteY1317" fmla="*/ 551102 h 1022551"/>
                <a:gd name="connsiteX1318" fmla="*/ 381482 w 993885"/>
                <a:gd name="connsiteY1318" fmla="*/ 550710 h 1022551"/>
                <a:gd name="connsiteX1319" fmla="*/ 369387 w 993885"/>
                <a:gd name="connsiteY1319" fmla="*/ 550262 h 1022551"/>
                <a:gd name="connsiteX1320" fmla="*/ 359324 w 993885"/>
                <a:gd name="connsiteY1320" fmla="*/ 549892 h 1022551"/>
                <a:gd name="connsiteX1321" fmla="*/ 350590 w 993885"/>
                <a:gd name="connsiteY1321" fmla="*/ 549569 h 1022551"/>
                <a:gd name="connsiteX1322" fmla="*/ 350296 w 993885"/>
                <a:gd name="connsiteY1322" fmla="*/ 545999 h 1022551"/>
                <a:gd name="connsiteX1323" fmla="*/ 349802 w 993885"/>
                <a:gd name="connsiteY1323" fmla="*/ 540013 h 1022551"/>
                <a:gd name="connsiteX1324" fmla="*/ 349454 w 993885"/>
                <a:gd name="connsiteY1324" fmla="*/ 535770 h 1022551"/>
                <a:gd name="connsiteX1325" fmla="*/ 348898 w 993885"/>
                <a:gd name="connsiteY1325" fmla="*/ 529041 h 1022551"/>
                <a:gd name="connsiteX1326" fmla="*/ 345394 w 993885"/>
                <a:gd name="connsiteY1326" fmla="*/ 524855 h 1022551"/>
                <a:gd name="connsiteX1327" fmla="*/ 341592 w 993885"/>
                <a:gd name="connsiteY1327" fmla="*/ 520312 h 1022551"/>
                <a:gd name="connsiteX1328" fmla="*/ 340254 w 993885"/>
                <a:gd name="connsiteY1328" fmla="*/ 519150 h 1022551"/>
                <a:gd name="connsiteX1329" fmla="*/ 344849 w 993885"/>
                <a:gd name="connsiteY1329" fmla="*/ 519005 h 1022551"/>
                <a:gd name="connsiteX1330" fmla="*/ 348111 w 993885"/>
                <a:gd name="connsiteY1330" fmla="*/ 518902 h 1022551"/>
                <a:gd name="connsiteX1331" fmla="*/ 347464 w 993885"/>
                <a:gd name="connsiteY1331" fmla="*/ 506718 h 1022551"/>
                <a:gd name="connsiteX1332" fmla="*/ 346471 w 993885"/>
                <a:gd name="connsiteY1332" fmla="*/ 505474 h 1022551"/>
                <a:gd name="connsiteX1333" fmla="*/ 345592 w 993885"/>
                <a:gd name="connsiteY1333" fmla="*/ 501545 h 1022551"/>
                <a:gd name="connsiteX1334" fmla="*/ 344995 w 993885"/>
                <a:gd name="connsiteY1334" fmla="*/ 499322 h 1022551"/>
                <a:gd name="connsiteX1335" fmla="*/ 343374 w 993885"/>
                <a:gd name="connsiteY1335" fmla="*/ 497518 h 1022551"/>
                <a:gd name="connsiteX1336" fmla="*/ 343007 w 993885"/>
                <a:gd name="connsiteY1336" fmla="*/ 495492 h 1022551"/>
                <a:gd name="connsiteX1337" fmla="*/ 343303 w 993885"/>
                <a:gd name="connsiteY1337" fmla="*/ 494139 h 1022551"/>
                <a:gd name="connsiteX1338" fmla="*/ 344188 w 993885"/>
                <a:gd name="connsiteY1338" fmla="*/ 493300 h 1022551"/>
                <a:gd name="connsiteX1339" fmla="*/ 344774 w 993885"/>
                <a:gd name="connsiteY1339" fmla="*/ 491212 h 1022551"/>
                <a:gd name="connsiteX1340" fmla="*/ 344333 w 993885"/>
                <a:gd name="connsiteY1340" fmla="*/ 489112 h 1022551"/>
                <a:gd name="connsiteX1341" fmla="*/ 343374 w 993885"/>
                <a:gd name="connsiteY1341" fmla="*/ 487158 h 1022551"/>
                <a:gd name="connsiteX1342" fmla="*/ 342197 w 993885"/>
                <a:gd name="connsiteY1342" fmla="*/ 485284 h 1022551"/>
                <a:gd name="connsiteX1343" fmla="*/ 339948 w 993885"/>
                <a:gd name="connsiteY1343" fmla="*/ 484133 h 1022551"/>
                <a:gd name="connsiteX1344" fmla="*/ 336725 w 993885"/>
                <a:gd name="connsiteY1344" fmla="*/ 482043 h 1022551"/>
                <a:gd name="connsiteX1345" fmla="*/ 331854 w 993885"/>
                <a:gd name="connsiteY1345" fmla="*/ 479385 h 1022551"/>
                <a:gd name="connsiteX1346" fmla="*/ 327733 w 993885"/>
                <a:gd name="connsiteY1346" fmla="*/ 477535 h 1022551"/>
                <a:gd name="connsiteX1347" fmla="*/ 326412 w 993885"/>
                <a:gd name="connsiteY1347" fmla="*/ 477761 h 1022551"/>
                <a:gd name="connsiteX1348" fmla="*/ 319136 w 993885"/>
                <a:gd name="connsiteY1348" fmla="*/ 478485 h 1022551"/>
                <a:gd name="connsiteX1349" fmla="*/ 316714 w 993885"/>
                <a:gd name="connsiteY1349" fmla="*/ 478863 h 1022551"/>
                <a:gd name="connsiteX1350" fmla="*/ 315089 w 993885"/>
                <a:gd name="connsiteY1350" fmla="*/ 478440 h 1022551"/>
                <a:gd name="connsiteX1351" fmla="*/ 309656 w 993885"/>
                <a:gd name="connsiteY1351" fmla="*/ 478459 h 1022551"/>
                <a:gd name="connsiteX1352" fmla="*/ 307522 w 993885"/>
                <a:gd name="connsiteY1352" fmla="*/ 477035 h 1022551"/>
                <a:gd name="connsiteX1353" fmla="*/ 305731 w 993885"/>
                <a:gd name="connsiteY1353" fmla="*/ 475379 h 1022551"/>
                <a:gd name="connsiteX1354" fmla="*/ 301927 w 993885"/>
                <a:gd name="connsiteY1354" fmla="*/ 471141 h 1022551"/>
                <a:gd name="connsiteX1355" fmla="*/ 301338 w 993885"/>
                <a:gd name="connsiteY1355" fmla="*/ 469021 h 1022551"/>
                <a:gd name="connsiteX1356" fmla="*/ 299865 w 993885"/>
                <a:gd name="connsiteY1356" fmla="*/ 468349 h 1022551"/>
                <a:gd name="connsiteX1357" fmla="*/ 297637 w 993885"/>
                <a:gd name="connsiteY1357" fmla="*/ 468606 h 1022551"/>
                <a:gd name="connsiteX1358" fmla="*/ 295383 w 993885"/>
                <a:gd name="connsiteY1358" fmla="*/ 468316 h 1022551"/>
                <a:gd name="connsiteX1359" fmla="*/ 291004 w 993885"/>
                <a:gd name="connsiteY1359" fmla="*/ 466558 h 1022551"/>
                <a:gd name="connsiteX1360" fmla="*/ 286908 w 993885"/>
                <a:gd name="connsiteY1360" fmla="*/ 464755 h 1022551"/>
                <a:gd name="connsiteX1361" fmla="*/ 284920 w 993885"/>
                <a:gd name="connsiteY1361" fmla="*/ 464831 h 1022551"/>
                <a:gd name="connsiteX1362" fmla="*/ 283153 w 993885"/>
                <a:gd name="connsiteY1362" fmla="*/ 463708 h 1022551"/>
                <a:gd name="connsiteX1363" fmla="*/ 280041 w 993885"/>
                <a:gd name="connsiteY1363" fmla="*/ 460959 h 1022551"/>
                <a:gd name="connsiteX1364" fmla="*/ 278588 w 993885"/>
                <a:gd name="connsiteY1364" fmla="*/ 459889 h 1022551"/>
                <a:gd name="connsiteX1365" fmla="*/ 277924 w 993885"/>
                <a:gd name="connsiteY1365" fmla="*/ 458468 h 1022551"/>
                <a:gd name="connsiteX1366" fmla="*/ 277262 w 993885"/>
                <a:gd name="connsiteY1366" fmla="*/ 456375 h 1022551"/>
                <a:gd name="connsiteX1367" fmla="*/ 276011 w 993885"/>
                <a:gd name="connsiteY1367" fmla="*/ 455925 h 1022551"/>
                <a:gd name="connsiteX1368" fmla="*/ 274392 w 993885"/>
                <a:gd name="connsiteY1368" fmla="*/ 456299 h 1022551"/>
                <a:gd name="connsiteX1369" fmla="*/ 272640 w 993885"/>
                <a:gd name="connsiteY1369" fmla="*/ 457374 h 1022551"/>
                <a:gd name="connsiteX1370" fmla="*/ 270182 w 993885"/>
                <a:gd name="connsiteY1370" fmla="*/ 456657 h 1022551"/>
                <a:gd name="connsiteX1371" fmla="*/ 267177 w 993885"/>
                <a:gd name="connsiteY1371" fmla="*/ 454728 h 1022551"/>
                <a:gd name="connsiteX1372" fmla="*/ 265233 w 993885"/>
                <a:gd name="connsiteY1372" fmla="*/ 453221 h 1022551"/>
                <a:gd name="connsiteX1373" fmla="*/ 264123 w 993885"/>
                <a:gd name="connsiteY1373" fmla="*/ 452507 h 1022551"/>
                <a:gd name="connsiteX1374" fmla="*/ 261513 w 993885"/>
                <a:gd name="connsiteY1374" fmla="*/ 451453 h 1022551"/>
                <a:gd name="connsiteX1375" fmla="*/ 258990 w 993885"/>
                <a:gd name="connsiteY1375" fmla="*/ 451232 h 1022551"/>
                <a:gd name="connsiteX1376" fmla="*/ 255174 w 993885"/>
                <a:gd name="connsiteY1376" fmla="*/ 452783 h 1022551"/>
                <a:gd name="connsiteX1377" fmla="*/ 252054 w 993885"/>
                <a:gd name="connsiteY1377" fmla="*/ 452150 h 1022551"/>
                <a:gd name="connsiteX1378" fmla="*/ 247150 w 993885"/>
                <a:gd name="connsiteY1378" fmla="*/ 451590 h 1022551"/>
                <a:gd name="connsiteX1379" fmla="*/ 242955 w 993885"/>
                <a:gd name="connsiteY1379" fmla="*/ 450468 h 1022551"/>
                <a:gd name="connsiteX1380" fmla="*/ 241426 w 993885"/>
                <a:gd name="connsiteY1380" fmla="*/ 447545 h 1022551"/>
                <a:gd name="connsiteX1381" fmla="*/ 240598 w 993885"/>
                <a:gd name="connsiteY1381" fmla="*/ 445609 h 1022551"/>
                <a:gd name="connsiteX1382" fmla="*/ 238107 w 993885"/>
                <a:gd name="connsiteY1382" fmla="*/ 444398 h 1022551"/>
                <a:gd name="connsiteX1383" fmla="*/ 236120 w 993885"/>
                <a:gd name="connsiteY1383" fmla="*/ 442921 h 1022551"/>
                <a:gd name="connsiteX1384" fmla="*/ 233751 w 993885"/>
                <a:gd name="connsiteY1384" fmla="*/ 440681 h 1022551"/>
                <a:gd name="connsiteX1385" fmla="*/ 232574 w 993885"/>
                <a:gd name="connsiteY1385" fmla="*/ 439932 h 1022551"/>
                <a:gd name="connsiteX1386" fmla="*/ 230432 w 993885"/>
                <a:gd name="connsiteY1386" fmla="*/ 439307 h 1022551"/>
                <a:gd name="connsiteX1387" fmla="*/ 228450 w 993885"/>
                <a:gd name="connsiteY1387" fmla="*/ 438516 h 1022551"/>
                <a:gd name="connsiteX1388" fmla="*/ 228230 w 993885"/>
                <a:gd name="connsiteY1388" fmla="*/ 437097 h 1022551"/>
                <a:gd name="connsiteX1389" fmla="*/ 227492 w 993885"/>
                <a:gd name="connsiteY1389" fmla="*/ 435229 h 1022551"/>
                <a:gd name="connsiteX1390" fmla="*/ 227319 w 993885"/>
                <a:gd name="connsiteY1390" fmla="*/ 434767 h 1022551"/>
                <a:gd name="connsiteX1391" fmla="*/ 225971 w 993885"/>
                <a:gd name="connsiteY1391" fmla="*/ 432500 h 1022551"/>
                <a:gd name="connsiteX1392" fmla="*/ 225341 w 993885"/>
                <a:gd name="connsiteY1392" fmla="*/ 432342 h 1022551"/>
                <a:gd name="connsiteX1393" fmla="*/ 224643 w 993885"/>
                <a:gd name="connsiteY1393" fmla="*/ 432786 h 1022551"/>
                <a:gd name="connsiteX1394" fmla="*/ 224117 w 993885"/>
                <a:gd name="connsiteY1394" fmla="*/ 433115 h 1022551"/>
                <a:gd name="connsiteX1395" fmla="*/ 223551 w 993885"/>
                <a:gd name="connsiteY1395" fmla="*/ 432713 h 1022551"/>
                <a:gd name="connsiteX1396" fmla="*/ 223449 w 993885"/>
                <a:gd name="connsiteY1396" fmla="*/ 431700 h 1022551"/>
                <a:gd name="connsiteX1397" fmla="*/ 223812 w 993885"/>
                <a:gd name="connsiteY1397" fmla="*/ 430076 h 1022551"/>
                <a:gd name="connsiteX1398" fmla="*/ 223031 w 993885"/>
                <a:gd name="connsiteY1398" fmla="*/ 428372 h 1022551"/>
                <a:gd name="connsiteX1399" fmla="*/ 221103 w 993885"/>
                <a:gd name="connsiteY1399" fmla="*/ 426585 h 1022551"/>
                <a:gd name="connsiteX1400" fmla="*/ 220095 w 993885"/>
                <a:gd name="connsiteY1400" fmla="*/ 424739 h 1022551"/>
                <a:gd name="connsiteX1401" fmla="*/ 220008 w 993885"/>
                <a:gd name="connsiteY1401" fmla="*/ 422829 h 1022551"/>
                <a:gd name="connsiteX1402" fmla="*/ 219579 w 993885"/>
                <a:gd name="connsiteY1402" fmla="*/ 421552 h 1022551"/>
                <a:gd name="connsiteX1403" fmla="*/ 218806 w 993885"/>
                <a:gd name="connsiteY1403" fmla="*/ 420908 h 1022551"/>
                <a:gd name="connsiteX1404" fmla="*/ 218374 w 993885"/>
                <a:gd name="connsiteY1404" fmla="*/ 419788 h 1022551"/>
                <a:gd name="connsiteX1405" fmla="*/ 218281 w 993885"/>
                <a:gd name="connsiteY1405" fmla="*/ 418195 h 1022551"/>
                <a:gd name="connsiteX1406" fmla="*/ 218838 w 993885"/>
                <a:gd name="connsiteY1406" fmla="*/ 416298 h 1022551"/>
                <a:gd name="connsiteX1407" fmla="*/ 220050 w 993885"/>
                <a:gd name="connsiteY1407" fmla="*/ 414103 h 1022551"/>
                <a:gd name="connsiteX1408" fmla="*/ 219791 w 993885"/>
                <a:gd name="connsiteY1408" fmla="*/ 410716 h 1022551"/>
                <a:gd name="connsiteX1409" fmla="*/ 218059 w 993885"/>
                <a:gd name="connsiteY1409" fmla="*/ 406150 h 1022551"/>
                <a:gd name="connsiteX1410" fmla="*/ 217104 w 993885"/>
                <a:gd name="connsiteY1410" fmla="*/ 402854 h 1022551"/>
                <a:gd name="connsiteX1411" fmla="*/ 216923 w 993885"/>
                <a:gd name="connsiteY1411" fmla="*/ 400835 h 1022551"/>
                <a:gd name="connsiteX1412" fmla="*/ 217182 w 993885"/>
                <a:gd name="connsiteY1412" fmla="*/ 399337 h 1022551"/>
                <a:gd name="connsiteX1413" fmla="*/ 218232 w 993885"/>
                <a:gd name="connsiteY1413" fmla="*/ 397883 h 1022551"/>
                <a:gd name="connsiteX1414" fmla="*/ 220322 w 993885"/>
                <a:gd name="connsiteY1414" fmla="*/ 394316 h 1022551"/>
                <a:gd name="connsiteX1415" fmla="*/ 220690 w 993885"/>
                <a:gd name="connsiteY1415" fmla="*/ 391593 h 1022551"/>
                <a:gd name="connsiteX1416" fmla="*/ 220031 w 993885"/>
                <a:gd name="connsiteY1416" fmla="*/ 388525 h 1022551"/>
                <a:gd name="connsiteX1417" fmla="*/ 219940 w 993885"/>
                <a:gd name="connsiteY1417" fmla="*/ 386184 h 1022551"/>
                <a:gd name="connsiteX1418" fmla="*/ 220417 w 993885"/>
                <a:gd name="connsiteY1418" fmla="*/ 384574 h 1022551"/>
                <a:gd name="connsiteX1419" fmla="*/ 219692 w 993885"/>
                <a:gd name="connsiteY1419" fmla="*/ 382465 h 1022551"/>
                <a:gd name="connsiteX1420" fmla="*/ 218215 w 993885"/>
                <a:gd name="connsiteY1420" fmla="*/ 380472 h 1022551"/>
                <a:gd name="connsiteX1421" fmla="*/ 217186 w 993885"/>
                <a:gd name="connsiteY1421" fmla="*/ 380423 h 1022551"/>
                <a:gd name="connsiteX1422" fmla="*/ 215785 w 993885"/>
                <a:gd name="connsiteY1422" fmla="*/ 380968 h 1022551"/>
                <a:gd name="connsiteX1423" fmla="*/ 214094 w 993885"/>
                <a:gd name="connsiteY1423" fmla="*/ 382650 h 1022551"/>
                <a:gd name="connsiteX1424" fmla="*/ 212106 w 993885"/>
                <a:gd name="connsiteY1424" fmla="*/ 382947 h 1022551"/>
                <a:gd name="connsiteX1425" fmla="*/ 210338 w 993885"/>
                <a:gd name="connsiteY1425" fmla="*/ 381907 h 1022551"/>
                <a:gd name="connsiteX1426" fmla="*/ 204814 w 993885"/>
                <a:gd name="connsiteY1426" fmla="*/ 382343 h 1022551"/>
                <a:gd name="connsiteX1427" fmla="*/ 196221 w 993885"/>
                <a:gd name="connsiteY1427" fmla="*/ 383382 h 1022551"/>
                <a:gd name="connsiteX1428" fmla="*/ 192781 w 993885"/>
                <a:gd name="connsiteY1428" fmla="*/ 384459 h 1022551"/>
                <a:gd name="connsiteX1429" fmla="*/ 190760 w 993885"/>
                <a:gd name="connsiteY1429" fmla="*/ 384919 h 1022551"/>
                <a:gd name="connsiteX1430" fmla="*/ 188316 w 993885"/>
                <a:gd name="connsiteY1430" fmla="*/ 385271 h 1022551"/>
                <a:gd name="connsiteX1431" fmla="*/ 184394 w 993885"/>
                <a:gd name="connsiteY1431" fmla="*/ 387207 h 1022551"/>
                <a:gd name="connsiteX1432" fmla="*/ 174720 w 993885"/>
                <a:gd name="connsiteY1432" fmla="*/ 394724 h 1022551"/>
                <a:gd name="connsiteX1433" fmla="*/ 172718 w 993885"/>
                <a:gd name="connsiteY1433" fmla="*/ 395811 h 1022551"/>
                <a:gd name="connsiteX1434" fmla="*/ 170436 w 993885"/>
                <a:gd name="connsiteY1434" fmla="*/ 395961 h 1022551"/>
                <a:gd name="connsiteX1435" fmla="*/ 169112 w 993885"/>
                <a:gd name="connsiteY1435" fmla="*/ 397002 h 1022551"/>
                <a:gd name="connsiteX1436" fmla="*/ 166975 w 993885"/>
                <a:gd name="connsiteY1436" fmla="*/ 397821 h 1022551"/>
                <a:gd name="connsiteX1437" fmla="*/ 162779 w 993885"/>
                <a:gd name="connsiteY1437" fmla="*/ 400797 h 1022551"/>
                <a:gd name="connsiteX1438" fmla="*/ 160644 w 993885"/>
                <a:gd name="connsiteY1438" fmla="*/ 403180 h 1022551"/>
                <a:gd name="connsiteX1439" fmla="*/ 159246 w 993885"/>
                <a:gd name="connsiteY1439" fmla="*/ 405338 h 1022551"/>
                <a:gd name="connsiteX1440" fmla="*/ 157625 w 993885"/>
                <a:gd name="connsiteY1440" fmla="*/ 405413 h 1022551"/>
                <a:gd name="connsiteX1441" fmla="*/ 156375 w 993885"/>
                <a:gd name="connsiteY1441" fmla="*/ 404817 h 1022551"/>
                <a:gd name="connsiteX1442" fmla="*/ 152402 w 993885"/>
                <a:gd name="connsiteY1442" fmla="*/ 405115 h 1022551"/>
                <a:gd name="connsiteX1443" fmla="*/ 150373 w 993885"/>
                <a:gd name="connsiteY1443" fmla="*/ 405852 h 1022551"/>
                <a:gd name="connsiteX1444" fmla="*/ 148168 w 993885"/>
                <a:gd name="connsiteY1444" fmla="*/ 407952 h 1022551"/>
                <a:gd name="connsiteX1445" fmla="*/ 145431 w 993885"/>
                <a:gd name="connsiteY1445" fmla="*/ 411750 h 1022551"/>
                <a:gd name="connsiteX1446" fmla="*/ 144302 w 993885"/>
                <a:gd name="connsiteY1446" fmla="*/ 412829 h 1022551"/>
                <a:gd name="connsiteX1447" fmla="*/ 142099 w 993885"/>
                <a:gd name="connsiteY1447" fmla="*/ 413947 h 1022551"/>
                <a:gd name="connsiteX1448" fmla="*/ 139555 w 993885"/>
                <a:gd name="connsiteY1448" fmla="*/ 414872 h 1022551"/>
                <a:gd name="connsiteX1449" fmla="*/ 136403 w 993885"/>
                <a:gd name="connsiteY1449" fmla="*/ 416268 h 1022551"/>
                <a:gd name="connsiteX1450" fmla="*/ 134990 w 993885"/>
                <a:gd name="connsiteY1450" fmla="*/ 416361 h 1022551"/>
                <a:gd name="connsiteX1451" fmla="*/ 133744 w 993885"/>
                <a:gd name="connsiteY1451" fmla="*/ 416609 h 1022551"/>
                <a:gd name="connsiteX1452" fmla="*/ 132669 w 993885"/>
                <a:gd name="connsiteY1452" fmla="*/ 415972 h 1022551"/>
                <a:gd name="connsiteX1453" fmla="*/ 132310 w 993885"/>
                <a:gd name="connsiteY1453" fmla="*/ 414611 h 1022551"/>
                <a:gd name="connsiteX1454" fmla="*/ 130680 w 993885"/>
                <a:gd name="connsiteY1454" fmla="*/ 413751 h 1022551"/>
                <a:gd name="connsiteX1455" fmla="*/ 126793 w 993885"/>
                <a:gd name="connsiteY1455" fmla="*/ 413321 h 1022551"/>
                <a:gd name="connsiteX1456" fmla="*/ 121040 w 993885"/>
                <a:gd name="connsiteY1456" fmla="*/ 412328 h 1022551"/>
                <a:gd name="connsiteX1457" fmla="*/ 115107 w 993885"/>
                <a:gd name="connsiteY1457" fmla="*/ 412136 h 1022551"/>
                <a:gd name="connsiteX1458" fmla="*/ 112163 w 993885"/>
                <a:gd name="connsiteY1458" fmla="*/ 412228 h 1022551"/>
                <a:gd name="connsiteX1459" fmla="*/ 109744 w 993885"/>
                <a:gd name="connsiteY1459" fmla="*/ 412289 h 1022551"/>
                <a:gd name="connsiteX1460" fmla="*/ 105541 w 993885"/>
                <a:gd name="connsiteY1460" fmla="*/ 411757 h 1022551"/>
                <a:gd name="connsiteX1461" fmla="*/ 102484 w 993885"/>
                <a:gd name="connsiteY1461" fmla="*/ 411668 h 1022551"/>
                <a:gd name="connsiteX1462" fmla="*/ 99797 w 993885"/>
                <a:gd name="connsiteY1462" fmla="*/ 413015 h 1022551"/>
                <a:gd name="connsiteX1463" fmla="*/ 95898 w 993885"/>
                <a:gd name="connsiteY1463" fmla="*/ 414689 h 1022551"/>
                <a:gd name="connsiteX1464" fmla="*/ 94115 w 993885"/>
                <a:gd name="connsiteY1464" fmla="*/ 415115 h 1022551"/>
                <a:gd name="connsiteX1465" fmla="*/ 92807 w 993885"/>
                <a:gd name="connsiteY1465" fmla="*/ 415178 h 1022551"/>
                <a:gd name="connsiteX1466" fmla="*/ 91531 w 993885"/>
                <a:gd name="connsiteY1466" fmla="*/ 414969 h 1022551"/>
                <a:gd name="connsiteX1467" fmla="*/ 90045 w 993885"/>
                <a:gd name="connsiteY1467" fmla="*/ 414103 h 1022551"/>
                <a:gd name="connsiteX1468" fmla="*/ 87957 w 993885"/>
                <a:gd name="connsiteY1468" fmla="*/ 412103 h 1022551"/>
                <a:gd name="connsiteX1469" fmla="*/ 86353 w 993885"/>
                <a:gd name="connsiteY1469" fmla="*/ 412872 h 1022551"/>
                <a:gd name="connsiteX1470" fmla="*/ 85191 w 993885"/>
                <a:gd name="connsiteY1470" fmla="*/ 413729 h 1022551"/>
                <a:gd name="connsiteX1471" fmla="*/ 85211 w 993885"/>
                <a:gd name="connsiteY1471" fmla="*/ 409382 h 1022551"/>
                <a:gd name="connsiteX1472" fmla="*/ 85242 w 993885"/>
                <a:gd name="connsiteY1472" fmla="*/ 402849 h 1022551"/>
                <a:gd name="connsiteX1473" fmla="*/ 85267 w 993885"/>
                <a:gd name="connsiteY1473" fmla="*/ 397089 h 1022551"/>
                <a:gd name="connsiteX1474" fmla="*/ 85288 w 993885"/>
                <a:gd name="connsiteY1474" fmla="*/ 392484 h 1022551"/>
                <a:gd name="connsiteX1475" fmla="*/ 85312 w 993885"/>
                <a:gd name="connsiteY1475" fmla="*/ 387112 h 1022551"/>
                <a:gd name="connsiteX1476" fmla="*/ 85329 w 993885"/>
                <a:gd name="connsiteY1476" fmla="*/ 383322 h 1022551"/>
                <a:gd name="connsiteX1477" fmla="*/ 86422 w 993885"/>
                <a:gd name="connsiteY1477" fmla="*/ 381882 h 1022551"/>
                <a:gd name="connsiteX1478" fmla="*/ 87095 w 993885"/>
                <a:gd name="connsiteY1478" fmla="*/ 380273 h 1022551"/>
                <a:gd name="connsiteX1479" fmla="*/ 86285 w 993885"/>
                <a:gd name="connsiteY1479" fmla="*/ 378122 h 1022551"/>
                <a:gd name="connsiteX1480" fmla="*/ 86462 w 993885"/>
                <a:gd name="connsiteY1480" fmla="*/ 376149 h 1022551"/>
                <a:gd name="connsiteX1481" fmla="*/ 87021 w 993885"/>
                <a:gd name="connsiteY1481" fmla="*/ 374778 h 1022551"/>
                <a:gd name="connsiteX1482" fmla="*/ 87758 w 993885"/>
                <a:gd name="connsiteY1482" fmla="*/ 373439 h 1022551"/>
                <a:gd name="connsiteX1483" fmla="*/ 86064 w 993885"/>
                <a:gd name="connsiteY1483" fmla="*/ 374109 h 1022551"/>
                <a:gd name="connsiteX1484" fmla="*/ 85329 w 993885"/>
                <a:gd name="connsiteY1484" fmla="*/ 374481 h 1022551"/>
                <a:gd name="connsiteX1485" fmla="*/ 84427 w 993885"/>
                <a:gd name="connsiteY1485" fmla="*/ 375498 h 1022551"/>
                <a:gd name="connsiteX1486" fmla="*/ 82245 w 993885"/>
                <a:gd name="connsiteY1486" fmla="*/ 376872 h 1022551"/>
                <a:gd name="connsiteX1487" fmla="*/ 80781 w 993885"/>
                <a:gd name="connsiteY1487" fmla="*/ 378243 h 1022551"/>
                <a:gd name="connsiteX1488" fmla="*/ 79051 w 993885"/>
                <a:gd name="connsiteY1488" fmla="*/ 379363 h 1022551"/>
                <a:gd name="connsiteX1489" fmla="*/ 76864 w 993885"/>
                <a:gd name="connsiteY1489" fmla="*/ 381837 h 1022551"/>
                <a:gd name="connsiteX1490" fmla="*/ 75063 w 993885"/>
                <a:gd name="connsiteY1490" fmla="*/ 383195 h 1022551"/>
                <a:gd name="connsiteX1491" fmla="*/ 73199 w 993885"/>
                <a:gd name="connsiteY1491" fmla="*/ 384057 h 1022551"/>
                <a:gd name="connsiteX1492" fmla="*/ 70089 w 993885"/>
                <a:gd name="connsiteY1492" fmla="*/ 386965 h 1022551"/>
                <a:gd name="connsiteX1493" fmla="*/ 67516 w 993885"/>
                <a:gd name="connsiteY1493" fmla="*/ 387542 h 1022551"/>
                <a:gd name="connsiteX1494" fmla="*/ 60705 w 993885"/>
                <a:gd name="connsiteY1494" fmla="*/ 387989 h 1022551"/>
                <a:gd name="connsiteX1495" fmla="*/ 53620 w 993885"/>
                <a:gd name="connsiteY1495" fmla="*/ 387978 h 1022551"/>
                <a:gd name="connsiteX1496" fmla="*/ 47141 w 993885"/>
                <a:gd name="connsiteY1496" fmla="*/ 387967 h 1022551"/>
                <a:gd name="connsiteX1497" fmla="*/ 46161 w 993885"/>
                <a:gd name="connsiteY1497" fmla="*/ 387929 h 1022551"/>
                <a:gd name="connsiteX1498" fmla="*/ 46225 w 993885"/>
                <a:gd name="connsiteY1498" fmla="*/ 385534 h 1022551"/>
                <a:gd name="connsiteX1499" fmla="*/ 46383 w 993885"/>
                <a:gd name="connsiteY1499" fmla="*/ 383843 h 1022551"/>
                <a:gd name="connsiteX1500" fmla="*/ 44174 w 993885"/>
                <a:gd name="connsiteY1500" fmla="*/ 382057 h 1022551"/>
                <a:gd name="connsiteX1501" fmla="*/ 44025 w 993885"/>
                <a:gd name="connsiteY1501" fmla="*/ 379860 h 1022551"/>
                <a:gd name="connsiteX1502" fmla="*/ 43437 w 993885"/>
                <a:gd name="connsiteY1502" fmla="*/ 378344 h 1022551"/>
                <a:gd name="connsiteX1503" fmla="*/ 42701 w 993885"/>
                <a:gd name="connsiteY1503" fmla="*/ 376487 h 1022551"/>
                <a:gd name="connsiteX1504" fmla="*/ 41155 w 993885"/>
                <a:gd name="connsiteY1504" fmla="*/ 375297 h 1022551"/>
                <a:gd name="connsiteX1505" fmla="*/ 38982 w 993885"/>
                <a:gd name="connsiteY1505" fmla="*/ 374838 h 1022551"/>
                <a:gd name="connsiteX1506" fmla="*/ 35413 w 993885"/>
                <a:gd name="connsiteY1506" fmla="*/ 373811 h 1022551"/>
                <a:gd name="connsiteX1507" fmla="*/ 30119 w 993885"/>
                <a:gd name="connsiteY1507" fmla="*/ 372745 h 1022551"/>
                <a:gd name="connsiteX1508" fmla="*/ 25060 w 993885"/>
                <a:gd name="connsiteY1508" fmla="*/ 372670 h 1022551"/>
                <a:gd name="connsiteX1509" fmla="*/ 20099 w 993885"/>
                <a:gd name="connsiteY1509" fmla="*/ 372772 h 1022551"/>
                <a:gd name="connsiteX1510" fmla="*/ 23131 w 993885"/>
                <a:gd name="connsiteY1510" fmla="*/ 369046 h 1022551"/>
                <a:gd name="connsiteX1511" fmla="*/ 26160 w 993885"/>
                <a:gd name="connsiteY1511" fmla="*/ 365324 h 1022551"/>
                <a:gd name="connsiteX1512" fmla="*/ 26067 w 993885"/>
                <a:gd name="connsiteY1512" fmla="*/ 362079 h 1022551"/>
                <a:gd name="connsiteX1513" fmla="*/ 23622 w 993885"/>
                <a:gd name="connsiteY1513" fmla="*/ 359258 h 1022551"/>
                <a:gd name="connsiteX1514" fmla="*/ 22302 w 993885"/>
                <a:gd name="connsiteY1514" fmla="*/ 357502 h 1022551"/>
                <a:gd name="connsiteX1515" fmla="*/ 20258 w 993885"/>
                <a:gd name="connsiteY1515" fmla="*/ 355082 h 1022551"/>
                <a:gd name="connsiteX1516" fmla="*/ 17740 w 993885"/>
                <a:gd name="connsiteY1516" fmla="*/ 353413 h 1022551"/>
                <a:gd name="connsiteX1517" fmla="*/ 16364 w 993885"/>
                <a:gd name="connsiteY1517" fmla="*/ 351191 h 1022551"/>
                <a:gd name="connsiteX1518" fmla="*/ 16491 w 993885"/>
                <a:gd name="connsiteY1518" fmla="*/ 349841 h 1022551"/>
                <a:gd name="connsiteX1519" fmla="*/ 16271 w 993885"/>
                <a:gd name="connsiteY1519" fmla="*/ 348951 h 1022551"/>
                <a:gd name="connsiteX1520" fmla="*/ 15314 w 993885"/>
                <a:gd name="connsiteY1520" fmla="*/ 348432 h 1022551"/>
                <a:gd name="connsiteX1521" fmla="*/ 14356 w 993885"/>
                <a:gd name="connsiteY1521" fmla="*/ 347618 h 1022551"/>
                <a:gd name="connsiteX1522" fmla="*/ 13032 w 993885"/>
                <a:gd name="connsiteY1522" fmla="*/ 346727 h 1022551"/>
                <a:gd name="connsiteX1523" fmla="*/ 11486 w 993885"/>
                <a:gd name="connsiteY1523" fmla="*/ 345542 h 1022551"/>
                <a:gd name="connsiteX1524" fmla="*/ 11486 w 993885"/>
                <a:gd name="connsiteY1524" fmla="*/ 344356 h 1022551"/>
                <a:gd name="connsiteX1525" fmla="*/ 10896 w 993885"/>
                <a:gd name="connsiteY1525" fmla="*/ 343095 h 1022551"/>
                <a:gd name="connsiteX1526" fmla="*/ 9939 w 993885"/>
                <a:gd name="connsiteY1526" fmla="*/ 341615 h 1022551"/>
                <a:gd name="connsiteX1527" fmla="*/ 9939 w 993885"/>
                <a:gd name="connsiteY1527" fmla="*/ 340428 h 1022551"/>
                <a:gd name="connsiteX1528" fmla="*/ 9056 w 993885"/>
                <a:gd name="connsiteY1528" fmla="*/ 338576 h 1022551"/>
                <a:gd name="connsiteX1529" fmla="*/ 8100 w 993885"/>
                <a:gd name="connsiteY1529" fmla="*/ 337243 h 1022551"/>
                <a:gd name="connsiteX1530" fmla="*/ 7142 w 993885"/>
                <a:gd name="connsiteY1530" fmla="*/ 336353 h 1022551"/>
                <a:gd name="connsiteX1531" fmla="*/ 5743 w 993885"/>
                <a:gd name="connsiteY1531" fmla="*/ 335096 h 1022551"/>
                <a:gd name="connsiteX1532" fmla="*/ 5816 w 993885"/>
                <a:gd name="connsiteY1532" fmla="*/ 334057 h 1022551"/>
                <a:gd name="connsiteX1533" fmla="*/ 6847 w 993885"/>
                <a:gd name="connsiteY1533" fmla="*/ 333538 h 1022551"/>
                <a:gd name="connsiteX1534" fmla="*/ 7290 w 993885"/>
                <a:gd name="connsiteY1534" fmla="*/ 332355 h 1022551"/>
                <a:gd name="connsiteX1535" fmla="*/ 7142 w 993885"/>
                <a:gd name="connsiteY1535" fmla="*/ 331169 h 1022551"/>
                <a:gd name="connsiteX1536" fmla="*/ 5963 w 993885"/>
                <a:gd name="connsiteY1536" fmla="*/ 330430 h 1022551"/>
                <a:gd name="connsiteX1537" fmla="*/ 4564 w 993885"/>
                <a:gd name="connsiteY1537" fmla="*/ 330058 h 1022551"/>
                <a:gd name="connsiteX1538" fmla="*/ 2725 w 993885"/>
                <a:gd name="connsiteY1538" fmla="*/ 327911 h 1022551"/>
                <a:gd name="connsiteX1539" fmla="*/ 1399 w 993885"/>
                <a:gd name="connsiteY1539" fmla="*/ 326801 h 1022551"/>
                <a:gd name="connsiteX1540" fmla="*/ 516 w 993885"/>
                <a:gd name="connsiteY1540" fmla="*/ 326133 h 1022551"/>
                <a:gd name="connsiteX1541" fmla="*/ 0 w 993885"/>
                <a:gd name="connsiteY1541" fmla="*/ 325393 h 1022551"/>
                <a:gd name="connsiteX1542" fmla="*/ 516 w 993885"/>
                <a:gd name="connsiteY1542" fmla="*/ 324876 h 1022551"/>
                <a:gd name="connsiteX1543" fmla="*/ 1106 w 993885"/>
                <a:gd name="connsiteY1543" fmla="*/ 324134 h 1022551"/>
                <a:gd name="connsiteX1544" fmla="*/ 1252 w 993885"/>
                <a:gd name="connsiteY1544" fmla="*/ 322951 h 1022551"/>
                <a:gd name="connsiteX1545" fmla="*/ 958 w 993885"/>
                <a:gd name="connsiteY1545" fmla="*/ 321841 h 1022551"/>
                <a:gd name="connsiteX1546" fmla="*/ 958 w 993885"/>
                <a:gd name="connsiteY1546" fmla="*/ 320877 h 1022551"/>
                <a:gd name="connsiteX1547" fmla="*/ 1842 w 993885"/>
                <a:gd name="connsiteY1547" fmla="*/ 320580 h 1022551"/>
                <a:gd name="connsiteX1548" fmla="*/ 2798 w 993885"/>
                <a:gd name="connsiteY1548" fmla="*/ 320731 h 1022551"/>
                <a:gd name="connsiteX1549" fmla="*/ 3755 w 993885"/>
                <a:gd name="connsiteY1549" fmla="*/ 320138 h 1022551"/>
                <a:gd name="connsiteX1550" fmla="*/ 5007 w 993885"/>
                <a:gd name="connsiteY1550" fmla="*/ 319916 h 1022551"/>
                <a:gd name="connsiteX1551" fmla="*/ 6406 w 993885"/>
                <a:gd name="connsiteY1551" fmla="*/ 319767 h 1022551"/>
                <a:gd name="connsiteX1552" fmla="*/ 7142 w 993885"/>
                <a:gd name="connsiteY1552" fmla="*/ 319102 h 1022551"/>
                <a:gd name="connsiteX1553" fmla="*/ 7067 w 993885"/>
                <a:gd name="connsiteY1553" fmla="*/ 317918 h 1022551"/>
                <a:gd name="connsiteX1554" fmla="*/ 6185 w 993885"/>
                <a:gd name="connsiteY1554" fmla="*/ 315623 h 1022551"/>
                <a:gd name="connsiteX1555" fmla="*/ 5302 w 993885"/>
                <a:gd name="connsiteY1555" fmla="*/ 314662 h 1022551"/>
                <a:gd name="connsiteX1556" fmla="*/ 5007 w 993885"/>
                <a:gd name="connsiteY1556" fmla="*/ 313256 h 1022551"/>
                <a:gd name="connsiteX1557" fmla="*/ 5726 w 993885"/>
                <a:gd name="connsiteY1557" fmla="*/ 310547 h 1022551"/>
                <a:gd name="connsiteX1558" fmla="*/ 6187 w 993885"/>
                <a:gd name="connsiteY1558" fmla="*/ 308820 h 1022551"/>
                <a:gd name="connsiteX1559" fmla="*/ 7798 w 993885"/>
                <a:gd name="connsiteY1559" fmla="*/ 306987 h 1022551"/>
                <a:gd name="connsiteX1560" fmla="*/ 12733 w 993885"/>
                <a:gd name="connsiteY1560" fmla="*/ 303056 h 1022551"/>
                <a:gd name="connsiteX1561" fmla="*/ 17156 w 993885"/>
                <a:gd name="connsiteY1561" fmla="*/ 300388 h 1022551"/>
                <a:gd name="connsiteX1562" fmla="*/ 19316 w 993885"/>
                <a:gd name="connsiteY1562" fmla="*/ 300117 h 1022551"/>
                <a:gd name="connsiteX1563" fmla="*/ 20910 w 993885"/>
                <a:gd name="connsiteY1563" fmla="*/ 299128 h 1022551"/>
                <a:gd name="connsiteX1564" fmla="*/ 21927 w 993885"/>
                <a:gd name="connsiteY1564" fmla="*/ 297616 h 1022551"/>
                <a:gd name="connsiteX1565" fmla="*/ 22206 w 993885"/>
                <a:gd name="connsiteY1565" fmla="*/ 295963 h 1022551"/>
                <a:gd name="connsiteX1566" fmla="*/ 21977 w 993885"/>
                <a:gd name="connsiteY1566" fmla="*/ 294523 h 1022551"/>
                <a:gd name="connsiteX1567" fmla="*/ 21156 w 993885"/>
                <a:gd name="connsiteY1567" fmla="*/ 292393 h 1022551"/>
                <a:gd name="connsiteX1568" fmla="*/ 20173 w 993885"/>
                <a:gd name="connsiteY1568" fmla="*/ 289741 h 1022551"/>
                <a:gd name="connsiteX1569" fmla="*/ 19436 w 993885"/>
                <a:gd name="connsiteY1569" fmla="*/ 288265 h 1022551"/>
                <a:gd name="connsiteX1570" fmla="*/ 20100 w 993885"/>
                <a:gd name="connsiteY1570" fmla="*/ 286491 h 1022551"/>
                <a:gd name="connsiteX1571" fmla="*/ 21279 w 993885"/>
                <a:gd name="connsiteY1571" fmla="*/ 284065 h 1022551"/>
                <a:gd name="connsiteX1572" fmla="*/ 23683 w 993885"/>
                <a:gd name="connsiteY1572" fmla="*/ 280405 h 1022551"/>
                <a:gd name="connsiteX1573" fmla="*/ 25920 w 993885"/>
                <a:gd name="connsiteY1573" fmla="*/ 276471 h 1022551"/>
                <a:gd name="connsiteX1574" fmla="*/ 26164 w 993885"/>
                <a:gd name="connsiteY1574" fmla="*/ 275321 h 1022551"/>
                <a:gd name="connsiteX1575" fmla="*/ 26450 w 993885"/>
                <a:gd name="connsiteY1575" fmla="*/ 272918 h 1022551"/>
                <a:gd name="connsiteX1576" fmla="*/ 27481 w 993885"/>
                <a:gd name="connsiteY1576" fmla="*/ 268019 h 1022551"/>
                <a:gd name="connsiteX1577" fmla="*/ 28051 w 993885"/>
                <a:gd name="connsiteY1577" fmla="*/ 265367 h 1022551"/>
                <a:gd name="connsiteX1578" fmla="*/ 27755 w 993885"/>
                <a:gd name="connsiteY1578" fmla="*/ 264337 h 1022551"/>
                <a:gd name="connsiteX1579" fmla="*/ 28273 w 993885"/>
                <a:gd name="connsiteY1579" fmla="*/ 263449 h 1022551"/>
                <a:gd name="connsiteX1580" fmla="*/ 29670 w 993885"/>
                <a:gd name="connsiteY1580" fmla="*/ 262711 h 1022551"/>
                <a:gd name="connsiteX1581" fmla="*/ 33049 w 993885"/>
                <a:gd name="connsiteY1581" fmla="*/ 262036 h 1022551"/>
                <a:gd name="connsiteX1582" fmla="*/ 35340 w 993885"/>
                <a:gd name="connsiteY1582" fmla="*/ 260571 h 1022551"/>
                <a:gd name="connsiteX1583" fmla="*/ 38873 w 993885"/>
                <a:gd name="connsiteY1583" fmla="*/ 257818 h 1022551"/>
                <a:gd name="connsiteX1584" fmla="*/ 41819 w 993885"/>
                <a:gd name="connsiteY1584" fmla="*/ 254889 h 1022551"/>
                <a:gd name="connsiteX1585" fmla="*/ 44254 w 993885"/>
                <a:gd name="connsiteY1585" fmla="*/ 253947 h 1022551"/>
                <a:gd name="connsiteX1586" fmla="*/ 48673 w 993885"/>
                <a:gd name="connsiteY1586" fmla="*/ 251237 h 1022551"/>
                <a:gd name="connsiteX1587" fmla="*/ 51212 w 993885"/>
                <a:gd name="connsiteY1587" fmla="*/ 249517 h 1022551"/>
                <a:gd name="connsiteX1588" fmla="*/ 52207 w 993885"/>
                <a:gd name="connsiteY1588" fmla="*/ 248977 h 1022551"/>
                <a:gd name="connsiteX1589" fmla="*/ 54702 w 993885"/>
                <a:gd name="connsiteY1589" fmla="*/ 247734 h 1022551"/>
                <a:gd name="connsiteX1590" fmla="*/ 59174 w 993885"/>
                <a:gd name="connsiteY1590" fmla="*/ 247299 h 1022551"/>
                <a:gd name="connsiteX1591" fmla="*/ 62902 w 993885"/>
                <a:gd name="connsiteY1591" fmla="*/ 246853 h 1022551"/>
                <a:gd name="connsiteX1592" fmla="*/ 65009 w 993885"/>
                <a:gd name="connsiteY1592" fmla="*/ 246037 h 1022551"/>
                <a:gd name="connsiteX1593" fmla="*/ 68089 w 993885"/>
                <a:gd name="connsiteY1593" fmla="*/ 245698 h 1022551"/>
                <a:gd name="connsiteX1594" fmla="*/ 70163 w 993885"/>
                <a:gd name="connsiteY1594" fmla="*/ 244781 h 1022551"/>
                <a:gd name="connsiteX1595" fmla="*/ 72465 w 993885"/>
                <a:gd name="connsiteY1595" fmla="*/ 244756 h 1022551"/>
                <a:gd name="connsiteX1596" fmla="*/ 76789 w 993885"/>
                <a:gd name="connsiteY1596" fmla="*/ 243824 h 1022551"/>
                <a:gd name="connsiteX1597" fmla="*/ 78262 w 993885"/>
                <a:gd name="connsiteY1597" fmla="*/ 242422 h 1022551"/>
                <a:gd name="connsiteX1598" fmla="*/ 79520 w 993885"/>
                <a:gd name="connsiteY1598" fmla="*/ 240753 h 1022551"/>
                <a:gd name="connsiteX1599" fmla="*/ 81205 w 993885"/>
                <a:gd name="connsiteY1599" fmla="*/ 239324 h 1022551"/>
                <a:gd name="connsiteX1600" fmla="*/ 83182 w 993885"/>
                <a:gd name="connsiteY1600" fmla="*/ 238957 h 1022551"/>
                <a:gd name="connsiteX1601" fmla="*/ 85388 w 993885"/>
                <a:gd name="connsiteY1601" fmla="*/ 239205 h 1022551"/>
                <a:gd name="connsiteX1602" fmla="*/ 88022 w 993885"/>
                <a:gd name="connsiteY1602" fmla="*/ 239177 h 1022551"/>
                <a:gd name="connsiteX1603" fmla="*/ 91218 w 993885"/>
                <a:gd name="connsiteY1603" fmla="*/ 238733 h 1022551"/>
                <a:gd name="connsiteX1604" fmla="*/ 92764 w 993885"/>
                <a:gd name="connsiteY1604" fmla="*/ 239840 h 1022551"/>
                <a:gd name="connsiteX1605" fmla="*/ 93443 w 993885"/>
                <a:gd name="connsiteY1605" fmla="*/ 241194 h 1022551"/>
                <a:gd name="connsiteX1606" fmla="*/ 95414 w 993885"/>
                <a:gd name="connsiteY1606" fmla="*/ 242571 h 1022551"/>
                <a:gd name="connsiteX1607" fmla="*/ 96813 w 993885"/>
                <a:gd name="connsiteY1607" fmla="*/ 242495 h 1022551"/>
                <a:gd name="connsiteX1608" fmla="*/ 98212 w 993885"/>
                <a:gd name="connsiteY1608" fmla="*/ 242201 h 1022551"/>
                <a:gd name="connsiteX1609" fmla="*/ 100126 w 993885"/>
                <a:gd name="connsiteY1609" fmla="*/ 243382 h 1022551"/>
                <a:gd name="connsiteX1610" fmla="*/ 101378 w 993885"/>
                <a:gd name="connsiteY1610" fmla="*/ 243233 h 1022551"/>
                <a:gd name="connsiteX1611" fmla="*/ 102188 w 993885"/>
                <a:gd name="connsiteY1611" fmla="*/ 242571 h 1022551"/>
                <a:gd name="connsiteX1612" fmla="*/ 102343 w 993885"/>
                <a:gd name="connsiteY1612" fmla="*/ 240913 h 1022551"/>
                <a:gd name="connsiteX1613" fmla="*/ 102792 w 993885"/>
                <a:gd name="connsiteY1613" fmla="*/ 240015 h 1022551"/>
                <a:gd name="connsiteX1614" fmla="*/ 103734 w 993885"/>
                <a:gd name="connsiteY1614" fmla="*/ 234834 h 1022551"/>
                <a:gd name="connsiteX1615" fmla="*/ 105287 w 993885"/>
                <a:gd name="connsiteY1615" fmla="*/ 226285 h 1022551"/>
                <a:gd name="connsiteX1616" fmla="*/ 106698 w 993885"/>
                <a:gd name="connsiteY1616" fmla="*/ 218534 h 1022551"/>
                <a:gd name="connsiteX1617" fmla="*/ 108259 w 993885"/>
                <a:gd name="connsiteY1617" fmla="*/ 209958 h 1022551"/>
                <a:gd name="connsiteX1618" fmla="*/ 109870 w 993885"/>
                <a:gd name="connsiteY1618" fmla="*/ 201101 h 1022551"/>
                <a:gd name="connsiteX1619" fmla="*/ 111502 w 993885"/>
                <a:gd name="connsiteY1619" fmla="*/ 192134 h 1022551"/>
                <a:gd name="connsiteX1620" fmla="*/ 112842 w 993885"/>
                <a:gd name="connsiteY1620" fmla="*/ 184777 h 1022551"/>
                <a:gd name="connsiteX1621" fmla="*/ 113993 w 993885"/>
                <a:gd name="connsiteY1621" fmla="*/ 178453 h 1022551"/>
                <a:gd name="connsiteX1622" fmla="*/ 114699 w 993885"/>
                <a:gd name="connsiteY1622" fmla="*/ 174573 h 1022551"/>
                <a:gd name="connsiteX1623" fmla="*/ 115807 w 993885"/>
                <a:gd name="connsiteY1623" fmla="*/ 169494 h 1022551"/>
                <a:gd name="connsiteX1624" fmla="*/ 116239 w 993885"/>
                <a:gd name="connsiteY1624" fmla="*/ 165031 h 1022551"/>
                <a:gd name="connsiteX1625" fmla="*/ 116686 w 993885"/>
                <a:gd name="connsiteY1625" fmla="*/ 163744 h 1022551"/>
                <a:gd name="connsiteX1626" fmla="*/ 116403 w 993885"/>
                <a:gd name="connsiteY1626" fmla="*/ 162661 h 1022551"/>
                <a:gd name="connsiteX1627" fmla="*/ 115446 w 993885"/>
                <a:gd name="connsiteY1627" fmla="*/ 161123 h 1022551"/>
                <a:gd name="connsiteX1628" fmla="*/ 115457 w 993885"/>
                <a:gd name="connsiteY1628" fmla="*/ 160447 h 1022551"/>
                <a:gd name="connsiteX1629" fmla="*/ 115568 w 993885"/>
                <a:gd name="connsiteY1629" fmla="*/ 159550 h 1022551"/>
                <a:gd name="connsiteX1630" fmla="*/ 115457 w 993885"/>
                <a:gd name="connsiteY1630" fmla="*/ 158768 h 1022551"/>
                <a:gd name="connsiteX1631" fmla="*/ 114450 w 993885"/>
                <a:gd name="connsiteY1631" fmla="*/ 157931 h 1022551"/>
                <a:gd name="connsiteX1632" fmla="*/ 113668 w 993885"/>
                <a:gd name="connsiteY1632" fmla="*/ 157425 h 1022551"/>
                <a:gd name="connsiteX1633" fmla="*/ 113052 w 993885"/>
                <a:gd name="connsiteY1633" fmla="*/ 156700 h 1022551"/>
                <a:gd name="connsiteX1634" fmla="*/ 112772 w 993885"/>
                <a:gd name="connsiteY1634" fmla="*/ 155693 h 1022551"/>
                <a:gd name="connsiteX1635" fmla="*/ 112270 w 993885"/>
                <a:gd name="connsiteY1635" fmla="*/ 154687 h 1022551"/>
                <a:gd name="connsiteX1636" fmla="*/ 112046 w 993885"/>
                <a:gd name="connsiteY1636" fmla="*/ 153624 h 1022551"/>
                <a:gd name="connsiteX1637" fmla="*/ 111319 w 993885"/>
                <a:gd name="connsiteY1637" fmla="*/ 152786 h 1022551"/>
                <a:gd name="connsiteX1638" fmla="*/ 111096 w 993885"/>
                <a:gd name="connsiteY1638" fmla="*/ 151723 h 1022551"/>
                <a:gd name="connsiteX1639" fmla="*/ 111599 w 993885"/>
                <a:gd name="connsiteY1639" fmla="*/ 150717 h 1022551"/>
                <a:gd name="connsiteX1640" fmla="*/ 111823 w 993885"/>
                <a:gd name="connsiteY1640" fmla="*/ 149655 h 1022551"/>
                <a:gd name="connsiteX1641" fmla="*/ 111599 w 993885"/>
                <a:gd name="connsiteY1641" fmla="*/ 148647 h 1022551"/>
                <a:gd name="connsiteX1642" fmla="*/ 111319 w 993885"/>
                <a:gd name="connsiteY1642" fmla="*/ 147473 h 1022551"/>
                <a:gd name="connsiteX1643" fmla="*/ 110760 w 993885"/>
                <a:gd name="connsiteY1643" fmla="*/ 146356 h 1022551"/>
                <a:gd name="connsiteX1644" fmla="*/ 109910 w 993885"/>
                <a:gd name="connsiteY1644" fmla="*/ 145676 h 1022551"/>
                <a:gd name="connsiteX1645" fmla="*/ 107881 w 993885"/>
                <a:gd name="connsiteY1645" fmla="*/ 144918 h 1022551"/>
                <a:gd name="connsiteX1646" fmla="*/ 105841 w 993885"/>
                <a:gd name="connsiteY1646" fmla="*/ 143113 h 1022551"/>
                <a:gd name="connsiteX1647" fmla="*/ 103437 w 993885"/>
                <a:gd name="connsiteY1647" fmla="*/ 141494 h 1022551"/>
                <a:gd name="connsiteX1648" fmla="*/ 100361 w 993885"/>
                <a:gd name="connsiteY1648" fmla="*/ 138418 h 1022551"/>
                <a:gd name="connsiteX1649" fmla="*/ 99690 w 993885"/>
                <a:gd name="connsiteY1649" fmla="*/ 136964 h 1022551"/>
                <a:gd name="connsiteX1650" fmla="*/ 99680 w 993885"/>
                <a:gd name="connsiteY1650" fmla="*/ 132973 h 1022551"/>
                <a:gd name="connsiteX1651" fmla="*/ 99812 w 993885"/>
                <a:gd name="connsiteY1651" fmla="*/ 128641 h 1022551"/>
                <a:gd name="connsiteX1652" fmla="*/ 100010 w 993885"/>
                <a:gd name="connsiteY1652" fmla="*/ 122099 h 1022551"/>
                <a:gd name="connsiteX1653" fmla="*/ 100111 w 993885"/>
                <a:gd name="connsiteY1653" fmla="*/ 118772 h 1022551"/>
                <a:gd name="connsiteX1654" fmla="*/ 101847 w 993885"/>
                <a:gd name="connsiteY1654" fmla="*/ 118588 h 1022551"/>
                <a:gd name="connsiteX1655" fmla="*/ 103378 w 993885"/>
                <a:gd name="connsiteY1655" fmla="*/ 118498 h 1022551"/>
                <a:gd name="connsiteX1656" fmla="*/ 104976 w 993885"/>
                <a:gd name="connsiteY1656" fmla="*/ 118267 h 1022551"/>
                <a:gd name="connsiteX1657" fmla="*/ 106369 w 993885"/>
                <a:gd name="connsiteY1657" fmla="*/ 118040 h 1022551"/>
                <a:gd name="connsiteX1658" fmla="*/ 107646 w 993885"/>
                <a:gd name="connsiteY1658" fmla="*/ 117561 h 1022551"/>
                <a:gd name="connsiteX1659" fmla="*/ 108606 w 993885"/>
                <a:gd name="connsiteY1659" fmla="*/ 116967 h 1022551"/>
                <a:gd name="connsiteX1660" fmla="*/ 109749 w 993885"/>
                <a:gd name="connsiteY1660" fmla="*/ 116579 h 1022551"/>
                <a:gd name="connsiteX1661" fmla="*/ 110639 w 993885"/>
                <a:gd name="connsiteY1661" fmla="*/ 116716 h 1022551"/>
                <a:gd name="connsiteX1662" fmla="*/ 111529 w 993885"/>
                <a:gd name="connsiteY1662" fmla="*/ 116192 h 1022551"/>
                <a:gd name="connsiteX1663" fmla="*/ 112513 w 993885"/>
                <a:gd name="connsiteY1663" fmla="*/ 115688 h 1022551"/>
                <a:gd name="connsiteX1664" fmla="*/ 113470 w 993885"/>
                <a:gd name="connsiteY1664" fmla="*/ 115278 h 1022551"/>
                <a:gd name="connsiteX1665" fmla="*/ 114864 w 993885"/>
                <a:gd name="connsiteY1665" fmla="*/ 114935 h 1022551"/>
                <a:gd name="connsiteX1666" fmla="*/ 116165 w 993885"/>
                <a:gd name="connsiteY1666" fmla="*/ 115734 h 1022551"/>
                <a:gd name="connsiteX1667" fmla="*/ 116896 w 993885"/>
                <a:gd name="connsiteY1667" fmla="*/ 116533 h 1022551"/>
                <a:gd name="connsiteX1668" fmla="*/ 117741 w 993885"/>
                <a:gd name="connsiteY1668" fmla="*/ 116921 h 1022551"/>
                <a:gd name="connsiteX1669" fmla="*/ 118539 w 993885"/>
                <a:gd name="connsiteY1669" fmla="*/ 116830 h 1022551"/>
                <a:gd name="connsiteX1670" fmla="*/ 119088 w 993885"/>
                <a:gd name="connsiteY1670" fmla="*/ 116899 h 1022551"/>
                <a:gd name="connsiteX1671" fmla="*/ 119658 w 993885"/>
                <a:gd name="connsiteY1671" fmla="*/ 117538 h 1022551"/>
                <a:gd name="connsiteX1672" fmla="*/ 120389 w 993885"/>
                <a:gd name="connsiteY1672" fmla="*/ 117584 h 1022551"/>
                <a:gd name="connsiteX1673" fmla="*/ 121439 w 993885"/>
                <a:gd name="connsiteY1673" fmla="*/ 117470 h 1022551"/>
                <a:gd name="connsiteX1674" fmla="*/ 122421 w 993885"/>
                <a:gd name="connsiteY1674" fmla="*/ 117333 h 1022551"/>
                <a:gd name="connsiteX1675" fmla="*/ 122878 w 993885"/>
                <a:gd name="connsiteY1675" fmla="*/ 117150 h 1022551"/>
                <a:gd name="connsiteX1676" fmla="*/ 122947 w 993885"/>
                <a:gd name="connsiteY1676" fmla="*/ 116739 h 1022551"/>
                <a:gd name="connsiteX1677" fmla="*/ 122696 w 993885"/>
                <a:gd name="connsiteY1677" fmla="*/ 116031 h 1022551"/>
                <a:gd name="connsiteX1678" fmla="*/ 122353 w 993885"/>
                <a:gd name="connsiteY1678" fmla="*/ 115368 h 1022551"/>
                <a:gd name="connsiteX1679" fmla="*/ 122626 w 993885"/>
                <a:gd name="connsiteY1679" fmla="*/ 114342 h 1022551"/>
                <a:gd name="connsiteX1680" fmla="*/ 122650 w 993885"/>
                <a:gd name="connsiteY1680" fmla="*/ 113108 h 1022551"/>
                <a:gd name="connsiteX1681" fmla="*/ 122696 w 993885"/>
                <a:gd name="connsiteY1681" fmla="*/ 111534 h 1022551"/>
                <a:gd name="connsiteX1682" fmla="*/ 121919 w 993885"/>
                <a:gd name="connsiteY1682" fmla="*/ 110665 h 1022551"/>
                <a:gd name="connsiteX1683" fmla="*/ 121143 w 993885"/>
                <a:gd name="connsiteY1683" fmla="*/ 109021 h 1022551"/>
                <a:gd name="connsiteX1684" fmla="*/ 120275 w 993885"/>
                <a:gd name="connsiteY1684" fmla="*/ 107695 h 1022551"/>
                <a:gd name="connsiteX1685" fmla="*/ 118929 w 993885"/>
                <a:gd name="connsiteY1685" fmla="*/ 106806 h 1022551"/>
                <a:gd name="connsiteX1686" fmla="*/ 117672 w 993885"/>
                <a:gd name="connsiteY1686" fmla="*/ 106463 h 1022551"/>
                <a:gd name="connsiteX1687" fmla="*/ 116622 w 993885"/>
                <a:gd name="connsiteY1687" fmla="*/ 107011 h 1022551"/>
                <a:gd name="connsiteX1688" fmla="*/ 115640 w 993885"/>
                <a:gd name="connsiteY1688" fmla="*/ 107101 h 1022551"/>
                <a:gd name="connsiteX1689" fmla="*/ 114910 w 993885"/>
                <a:gd name="connsiteY1689" fmla="*/ 106600 h 1022551"/>
                <a:gd name="connsiteX1690" fmla="*/ 113722 w 993885"/>
                <a:gd name="connsiteY1690" fmla="*/ 106577 h 1022551"/>
                <a:gd name="connsiteX1691" fmla="*/ 112443 w 993885"/>
                <a:gd name="connsiteY1691" fmla="*/ 106418 h 1022551"/>
                <a:gd name="connsiteX1692" fmla="*/ 111091 w 993885"/>
                <a:gd name="connsiteY1692" fmla="*/ 106229 h 1022551"/>
                <a:gd name="connsiteX1693" fmla="*/ 108654 w 993885"/>
                <a:gd name="connsiteY1693" fmla="*/ 106588 h 1022551"/>
                <a:gd name="connsiteX1694" fmla="*/ 107784 w 993885"/>
                <a:gd name="connsiteY1694" fmla="*/ 106143 h 1022551"/>
                <a:gd name="connsiteX1695" fmla="*/ 106597 w 993885"/>
                <a:gd name="connsiteY1695" fmla="*/ 106097 h 1022551"/>
                <a:gd name="connsiteX1696" fmla="*/ 105228 w 993885"/>
                <a:gd name="connsiteY1696" fmla="*/ 106576 h 1022551"/>
                <a:gd name="connsiteX1697" fmla="*/ 105262 w 993885"/>
                <a:gd name="connsiteY1697" fmla="*/ 100254 h 1022551"/>
                <a:gd name="connsiteX1698" fmla="*/ 105295 w 993885"/>
                <a:gd name="connsiteY1698" fmla="*/ 94293 h 1022551"/>
                <a:gd name="connsiteX1699" fmla="*/ 105317 w 993885"/>
                <a:gd name="connsiteY1699" fmla="*/ 90112 h 1022551"/>
                <a:gd name="connsiteX1700" fmla="*/ 106551 w 993885"/>
                <a:gd name="connsiteY1700" fmla="*/ 90202 h 1022551"/>
                <a:gd name="connsiteX1701" fmla="*/ 108081 w 993885"/>
                <a:gd name="connsiteY1701" fmla="*/ 89449 h 1022551"/>
                <a:gd name="connsiteX1702" fmla="*/ 110353 w 993885"/>
                <a:gd name="connsiteY1702" fmla="*/ 89332 h 1022551"/>
                <a:gd name="connsiteX1703" fmla="*/ 112097 w 993885"/>
                <a:gd name="connsiteY1703" fmla="*/ 88538 h 1022551"/>
                <a:gd name="connsiteX1704" fmla="*/ 113068 w 993885"/>
                <a:gd name="connsiteY1704" fmla="*/ 88475 h 1022551"/>
                <a:gd name="connsiteX1705" fmla="*/ 114913 w 993885"/>
                <a:gd name="connsiteY1705" fmla="*/ 88864 h 1022551"/>
                <a:gd name="connsiteX1706" fmla="*/ 116836 w 993885"/>
                <a:gd name="connsiteY1706" fmla="*/ 89679 h 1022551"/>
                <a:gd name="connsiteX1707" fmla="*/ 118728 w 993885"/>
                <a:gd name="connsiteY1707" fmla="*/ 89794 h 1022551"/>
                <a:gd name="connsiteX1708" fmla="*/ 123684 w 993885"/>
                <a:gd name="connsiteY1708" fmla="*/ 89793 h 1022551"/>
                <a:gd name="connsiteX1709" fmla="*/ 129036 w 993885"/>
                <a:gd name="connsiteY1709" fmla="*/ 89791 h 1022551"/>
                <a:gd name="connsiteX1710" fmla="*/ 134987 w 993885"/>
                <a:gd name="connsiteY1710" fmla="*/ 89788 h 1022551"/>
                <a:gd name="connsiteX1711" fmla="*/ 140947 w 993885"/>
                <a:gd name="connsiteY1711" fmla="*/ 89786 h 1022551"/>
                <a:gd name="connsiteX1712" fmla="*/ 146118 w 993885"/>
                <a:gd name="connsiteY1712" fmla="*/ 89783 h 1022551"/>
                <a:gd name="connsiteX1713" fmla="*/ 147714 w 993885"/>
                <a:gd name="connsiteY1713" fmla="*/ 89831 h 1022551"/>
                <a:gd name="connsiteX1714" fmla="*/ 146783 w 993885"/>
                <a:gd name="connsiteY1714" fmla="*/ 88442 h 1022551"/>
                <a:gd name="connsiteX1715" fmla="*/ 145701 w 993885"/>
                <a:gd name="connsiteY1715" fmla="*/ 86642 h 1022551"/>
                <a:gd name="connsiteX1716" fmla="*/ 146120 w 993885"/>
                <a:gd name="connsiteY1716" fmla="*/ 85226 h 1022551"/>
                <a:gd name="connsiteX1717" fmla="*/ 146654 w 993885"/>
                <a:gd name="connsiteY1717" fmla="*/ 83799 h 1022551"/>
                <a:gd name="connsiteX1718" fmla="*/ 147277 w 993885"/>
                <a:gd name="connsiteY1718" fmla="*/ 83052 h 1022551"/>
                <a:gd name="connsiteX1719" fmla="*/ 148888 w 993885"/>
                <a:gd name="connsiteY1719" fmla="*/ 83846 h 1022551"/>
                <a:gd name="connsiteX1720" fmla="*/ 150238 w 993885"/>
                <a:gd name="connsiteY1720" fmla="*/ 86272 h 1022551"/>
                <a:gd name="connsiteX1721" fmla="*/ 151358 w 993885"/>
                <a:gd name="connsiteY1721" fmla="*/ 88100 h 1022551"/>
                <a:gd name="connsiteX1722" fmla="*/ 152451 w 993885"/>
                <a:gd name="connsiteY1722" fmla="*/ 89001 h 1022551"/>
                <a:gd name="connsiteX1723" fmla="*/ 153809 w 993885"/>
                <a:gd name="connsiteY1723" fmla="*/ 89104 h 1022551"/>
                <a:gd name="connsiteX1724" fmla="*/ 155347 w 993885"/>
                <a:gd name="connsiteY1724" fmla="*/ 88796 h 1022551"/>
                <a:gd name="connsiteX1725" fmla="*/ 156880 w 993885"/>
                <a:gd name="connsiteY1725" fmla="*/ 88048 h 1022551"/>
                <a:gd name="connsiteX1726" fmla="*/ 159497 w 993885"/>
                <a:gd name="connsiteY1726" fmla="*/ 84699 h 1022551"/>
                <a:gd name="connsiteX1727" fmla="*/ 162099 w 993885"/>
                <a:gd name="connsiteY1727" fmla="*/ 81835 h 1022551"/>
                <a:gd name="connsiteX1728" fmla="*/ 163448 w 993885"/>
                <a:gd name="connsiteY1728" fmla="*/ 80873 h 1022551"/>
                <a:gd name="connsiteX1729" fmla="*/ 164878 w 993885"/>
                <a:gd name="connsiteY1729" fmla="*/ 79986 h 1022551"/>
                <a:gd name="connsiteX1730" fmla="*/ 165940 w 993885"/>
                <a:gd name="connsiteY1730" fmla="*/ 79651 h 1022551"/>
                <a:gd name="connsiteX1731" fmla="*/ 167394 w 993885"/>
                <a:gd name="connsiteY1731" fmla="*/ 79764 h 1022551"/>
                <a:gd name="connsiteX1732" fmla="*/ 168623 w 993885"/>
                <a:gd name="connsiteY1732" fmla="*/ 80547 h 1022551"/>
                <a:gd name="connsiteX1733" fmla="*/ 169418 w 993885"/>
                <a:gd name="connsiteY1733" fmla="*/ 81910 h 1022551"/>
                <a:gd name="connsiteX1734" fmla="*/ 172329 w 993885"/>
                <a:gd name="connsiteY1734" fmla="*/ 86660 h 1022551"/>
                <a:gd name="connsiteX1735" fmla="*/ 174524 w 993885"/>
                <a:gd name="connsiteY1735" fmla="*/ 90241 h 1022551"/>
                <a:gd name="connsiteX1736" fmla="*/ 175263 w 993885"/>
                <a:gd name="connsiteY1736" fmla="*/ 92475 h 1022551"/>
                <a:gd name="connsiteX1737" fmla="*/ 175310 w 993885"/>
                <a:gd name="connsiteY1737" fmla="*/ 97927 h 1022551"/>
                <a:gd name="connsiteX1738" fmla="*/ 175173 w 993885"/>
                <a:gd name="connsiteY1738" fmla="*/ 102760 h 1022551"/>
                <a:gd name="connsiteX1739" fmla="*/ 175461 w 993885"/>
                <a:gd name="connsiteY1739" fmla="*/ 103384 h 1022551"/>
                <a:gd name="connsiteX1740" fmla="*/ 175893 w 993885"/>
                <a:gd name="connsiteY1740" fmla="*/ 103563 h 1022551"/>
                <a:gd name="connsiteX1741" fmla="*/ 180691 w 993885"/>
                <a:gd name="connsiteY1741" fmla="*/ 102430 h 1022551"/>
                <a:gd name="connsiteX1742" fmla="*/ 187207 w 993885"/>
                <a:gd name="connsiteY1742" fmla="*/ 108285 h 1022551"/>
                <a:gd name="connsiteX1743" fmla="*/ 192020 w 993885"/>
                <a:gd name="connsiteY1743" fmla="*/ 112608 h 1022551"/>
                <a:gd name="connsiteX1744" fmla="*/ 194102 w 993885"/>
                <a:gd name="connsiteY1744" fmla="*/ 113990 h 1022551"/>
                <a:gd name="connsiteX1745" fmla="*/ 195254 w 993885"/>
                <a:gd name="connsiteY1745" fmla="*/ 114376 h 1022551"/>
                <a:gd name="connsiteX1746" fmla="*/ 198056 w 993885"/>
                <a:gd name="connsiteY1746" fmla="*/ 114088 h 1022551"/>
                <a:gd name="connsiteX1747" fmla="*/ 201381 w 993885"/>
                <a:gd name="connsiteY1747" fmla="*/ 113529 h 1022551"/>
                <a:gd name="connsiteX1748" fmla="*/ 202997 w 993885"/>
                <a:gd name="connsiteY1748" fmla="*/ 112910 h 1022551"/>
                <a:gd name="connsiteX1749" fmla="*/ 204784 w 993885"/>
                <a:gd name="connsiteY1749" fmla="*/ 111556 h 1022551"/>
                <a:gd name="connsiteX1750" fmla="*/ 207688 w 993885"/>
                <a:gd name="connsiteY1750" fmla="*/ 109677 h 1022551"/>
                <a:gd name="connsiteX1751" fmla="*/ 210052 w 993885"/>
                <a:gd name="connsiteY1751" fmla="*/ 108644 h 1022551"/>
                <a:gd name="connsiteX1752" fmla="*/ 210982 w 993885"/>
                <a:gd name="connsiteY1752" fmla="*/ 108505 h 1022551"/>
                <a:gd name="connsiteX1753" fmla="*/ 211914 w 993885"/>
                <a:gd name="connsiteY1753" fmla="*/ 108838 h 1022551"/>
                <a:gd name="connsiteX1754" fmla="*/ 213908 w 993885"/>
                <a:gd name="connsiteY1754" fmla="*/ 109960 h 1022551"/>
                <a:gd name="connsiteX1755" fmla="*/ 214999 w 993885"/>
                <a:gd name="connsiteY1755" fmla="*/ 112056 h 1022551"/>
                <a:gd name="connsiteX1756" fmla="*/ 213992 w 993885"/>
                <a:gd name="connsiteY1756" fmla="*/ 114489 h 1022551"/>
                <a:gd name="connsiteX1757" fmla="*/ 214160 w 993885"/>
                <a:gd name="connsiteY1757" fmla="*/ 115998 h 1022551"/>
                <a:gd name="connsiteX1758" fmla="*/ 216257 w 993885"/>
                <a:gd name="connsiteY1758" fmla="*/ 115915 h 1022551"/>
                <a:gd name="connsiteX1759" fmla="*/ 217934 w 993885"/>
                <a:gd name="connsiteY1759" fmla="*/ 113399 h 1022551"/>
                <a:gd name="connsiteX1760" fmla="*/ 219111 w 993885"/>
                <a:gd name="connsiteY1760" fmla="*/ 111417 h 1022551"/>
                <a:gd name="connsiteX1761" fmla="*/ 221567 w 993885"/>
                <a:gd name="connsiteY1761" fmla="*/ 109813 h 1022551"/>
                <a:gd name="connsiteX1762" fmla="*/ 223959 w 993885"/>
                <a:gd name="connsiteY1762" fmla="*/ 107522 h 1022551"/>
                <a:gd name="connsiteX1763" fmla="*/ 225629 w 993885"/>
                <a:gd name="connsiteY1763" fmla="*/ 105345 h 1022551"/>
                <a:gd name="connsiteX1764" fmla="*/ 227586 w 993885"/>
                <a:gd name="connsiteY1764" fmla="*/ 104067 h 1022551"/>
                <a:gd name="connsiteX1765" fmla="*/ 230540 w 993885"/>
                <a:gd name="connsiteY1765" fmla="*/ 102513 h 1022551"/>
                <a:gd name="connsiteX1766" fmla="*/ 232876 w 993885"/>
                <a:gd name="connsiteY1766" fmla="*/ 101565 h 1022551"/>
                <a:gd name="connsiteX1767" fmla="*/ 235067 w 993885"/>
                <a:gd name="connsiteY1767" fmla="*/ 101661 h 1022551"/>
                <a:gd name="connsiteX1768" fmla="*/ 236693 w 993885"/>
                <a:gd name="connsiteY1768" fmla="*/ 100634 h 1022551"/>
                <a:gd name="connsiteX1769" fmla="*/ 238799 w 993885"/>
                <a:gd name="connsiteY1769" fmla="*/ 98706 h 1022551"/>
                <a:gd name="connsiteX1770" fmla="*/ 240272 w 993885"/>
                <a:gd name="connsiteY1770" fmla="*/ 97156 h 1022551"/>
                <a:gd name="connsiteX1771" fmla="*/ 241293 w 993885"/>
                <a:gd name="connsiteY1771" fmla="*/ 96603 h 1022551"/>
                <a:gd name="connsiteX1772" fmla="*/ 243344 w 993885"/>
                <a:gd name="connsiteY1772" fmla="*/ 96753 h 1022551"/>
                <a:gd name="connsiteX1773" fmla="*/ 245903 w 993885"/>
                <a:gd name="connsiteY1773" fmla="*/ 96540 h 1022551"/>
                <a:gd name="connsiteX1774" fmla="*/ 248418 w 993885"/>
                <a:gd name="connsiteY1774" fmla="*/ 94657 h 1022551"/>
                <a:gd name="connsiteX1775" fmla="*/ 250705 w 993885"/>
                <a:gd name="connsiteY1775" fmla="*/ 92380 h 1022551"/>
                <a:gd name="connsiteX1776" fmla="*/ 251917 w 993885"/>
                <a:gd name="connsiteY1776" fmla="*/ 88545 h 1022551"/>
                <a:gd name="connsiteX1777" fmla="*/ 252718 w 993885"/>
                <a:gd name="connsiteY1777" fmla="*/ 85148 h 1022551"/>
                <a:gd name="connsiteX1778" fmla="*/ 253401 w 993885"/>
                <a:gd name="connsiteY1778" fmla="*/ 84458 h 1022551"/>
                <a:gd name="connsiteX1779" fmla="*/ 254231 w 993885"/>
                <a:gd name="connsiteY1779" fmla="*/ 83915 h 1022551"/>
                <a:gd name="connsiteX1780" fmla="*/ 255211 w 993885"/>
                <a:gd name="connsiteY1780" fmla="*/ 83560 h 1022551"/>
                <a:gd name="connsiteX1781" fmla="*/ 257560 w 993885"/>
                <a:gd name="connsiteY1781" fmla="*/ 83314 h 1022551"/>
                <a:gd name="connsiteX1782" fmla="*/ 261677 w 993885"/>
                <a:gd name="connsiteY1782" fmla="*/ 81502 h 1022551"/>
                <a:gd name="connsiteX1783" fmla="*/ 264513 w 993885"/>
                <a:gd name="connsiteY1783" fmla="*/ 79667 h 1022551"/>
                <a:gd name="connsiteX1784" fmla="*/ 267210 w 993885"/>
                <a:gd name="connsiteY1784" fmla="*/ 79273 h 1022551"/>
                <a:gd name="connsiteX1785" fmla="*/ 268006 w 993885"/>
                <a:gd name="connsiteY1785" fmla="*/ 78778 h 1022551"/>
                <a:gd name="connsiteX1786" fmla="*/ 268984 w 993885"/>
                <a:gd name="connsiteY1786" fmla="*/ 77079 h 1022551"/>
                <a:gd name="connsiteX1787" fmla="*/ 269468 w 993885"/>
                <a:gd name="connsiteY1787" fmla="*/ 74087 h 1022551"/>
                <a:gd name="connsiteX1788" fmla="*/ 269103 w 993885"/>
                <a:gd name="connsiteY1788" fmla="*/ 72274 h 1022551"/>
                <a:gd name="connsiteX1789" fmla="*/ 264149 w 993885"/>
                <a:gd name="connsiteY1789" fmla="*/ 71715 h 1022551"/>
                <a:gd name="connsiteX1790" fmla="*/ 260905 w 993885"/>
                <a:gd name="connsiteY1790" fmla="*/ 71713 h 1022551"/>
                <a:gd name="connsiteX1791" fmla="*/ 255540 w 993885"/>
                <a:gd name="connsiteY1791" fmla="*/ 71246 h 1022551"/>
                <a:gd name="connsiteX1792" fmla="*/ 252985 w 993885"/>
                <a:gd name="connsiteY1792" fmla="*/ 70499 h 1022551"/>
                <a:gd name="connsiteX1793" fmla="*/ 252436 w 993885"/>
                <a:gd name="connsiteY1793" fmla="*/ 69979 h 1022551"/>
                <a:gd name="connsiteX1794" fmla="*/ 252378 w 993885"/>
                <a:gd name="connsiteY1794" fmla="*/ 69403 h 1022551"/>
                <a:gd name="connsiteX1795" fmla="*/ 252889 w 993885"/>
                <a:gd name="connsiteY1795" fmla="*/ 68110 h 1022551"/>
                <a:gd name="connsiteX1796" fmla="*/ 253387 w 993885"/>
                <a:gd name="connsiteY1796" fmla="*/ 65679 h 1022551"/>
                <a:gd name="connsiteX1797" fmla="*/ 252658 w 993885"/>
                <a:gd name="connsiteY1797" fmla="*/ 62389 h 1022551"/>
                <a:gd name="connsiteX1798" fmla="*/ 249977 w 993885"/>
                <a:gd name="connsiteY1798" fmla="*/ 57227 h 1022551"/>
                <a:gd name="connsiteX1799" fmla="*/ 248068 w 993885"/>
                <a:gd name="connsiteY1799" fmla="*/ 52156 h 1022551"/>
                <a:gd name="connsiteX1800" fmla="*/ 247817 w 993885"/>
                <a:gd name="connsiteY1800" fmla="*/ 48621 h 1022551"/>
                <a:gd name="connsiteX1801" fmla="*/ 247859 w 993885"/>
                <a:gd name="connsiteY1801" fmla="*/ 44883 h 1022551"/>
                <a:gd name="connsiteX1802" fmla="*/ 248010 w 993885"/>
                <a:gd name="connsiteY1802" fmla="*/ 42441 h 1022551"/>
                <a:gd name="connsiteX1803" fmla="*/ 246637 w 993885"/>
                <a:gd name="connsiteY1803" fmla="*/ 40530 h 1022551"/>
                <a:gd name="connsiteX1804" fmla="*/ 239216 w 993885"/>
                <a:gd name="connsiteY1804" fmla="*/ 34510 h 1022551"/>
                <a:gd name="connsiteX1805" fmla="*/ 236653 w 993885"/>
                <a:gd name="connsiteY1805" fmla="*/ 31665 h 1022551"/>
                <a:gd name="connsiteX1806" fmla="*/ 235801 w 993885"/>
                <a:gd name="connsiteY1806" fmla="*/ 29697 h 1022551"/>
                <a:gd name="connsiteX1807" fmla="*/ 232878 w 993885"/>
                <a:gd name="connsiteY1807" fmla="*/ 26065 h 1022551"/>
                <a:gd name="connsiteX1808" fmla="*/ 233619 w 993885"/>
                <a:gd name="connsiteY1808" fmla="*/ 24954 h 1022551"/>
                <a:gd name="connsiteX1809" fmla="*/ 235303 w 993885"/>
                <a:gd name="connsiteY1809" fmla="*/ 24995 h 1022551"/>
                <a:gd name="connsiteX1810" fmla="*/ 236742 w 993885"/>
                <a:gd name="connsiteY1810" fmla="*/ 25942 h 1022551"/>
                <a:gd name="connsiteX1811" fmla="*/ 238056 w 993885"/>
                <a:gd name="connsiteY1811" fmla="*/ 27960 h 1022551"/>
                <a:gd name="connsiteX1812" fmla="*/ 239002 w 993885"/>
                <a:gd name="connsiteY1812" fmla="*/ 28412 h 1022551"/>
                <a:gd name="connsiteX1813" fmla="*/ 240291 w 993885"/>
                <a:gd name="connsiteY1813" fmla="*/ 28409 h 1022551"/>
                <a:gd name="connsiteX1814" fmla="*/ 247134 w 993885"/>
                <a:gd name="connsiteY1814" fmla="*/ 28401 h 1022551"/>
                <a:gd name="connsiteX1815" fmla="*/ 248736 w 993885"/>
                <a:gd name="connsiteY1815" fmla="*/ 28743 h 1022551"/>
                <a:gd name="connsiteX1816" fmla="*/ 249704 w 993885"/>
                <a:gd name="connsiteY1816" fmla="*/ 29422 h 1022551"/>
                <a:gd name="connsiteX1817" fmla="*/ 250530 w 993885"/>
                <a:gd name="connsiteY1817" fmla="*/ 30263 h 1022551"/>
                <a:gd name="connsiteX1818" fmla="*/ 251756 w 993885"/>
                <a:gd name="connsiteY1818" fmla="*/ 32615 h 1022551"/>
                <a:gd name="connsiteX1819" fmla="*/ 253072 w 993885"/>
                <a:gd name="connsiteY1819" fmla="*/ 33765 h 1022551"/>
                <a:gd name="connsiteX1820" fmla="*/ 255781 w 993885"/>
                <a:gd name="connsiteY1820" fmla="*/ 33725 h 1022551"/>
                <a:gd name="connsiteX1821" fmla="*/ 260033 w 993885"/>
                <a:gd name="connsiteY1821" fmla="*/ 33677 h 1022551"/>
                <a:gd name="connsiteX1822" fmla="*/ 262417 w 993885"/>
                <a:gd name="connsiteY1822" fmla="*/ 33467 h 1022551"/>
                <a:gd name="connsiteX1823" fmla="*/ 263844 w 993885"/>
                <a:gd name="connsiteY1823" fmla="*/ 34122 h 1022551"/>
                <a:gd name="connsiteX1824" fmla="*/ 265615 w 993885"/>
                <a:gd name="connsiteY1824" fmla="*/ 34664 h 1022551"/>
                <a:gd name="connsiteX1825" fmla="*/ 269343 w 993885"/>
                <a:gd name="connsiteY1825" fmla="*/ 33416 h 1022551"/>
                <a:gd name="connsiteX1826" fmla="*/ 270385 w 993885"/>
                <a:gd name="connsiteY1826" fmla="*/ 33389 h 1022551"/>
                <a:gd name="connsiteX1827" fmla="*/ 271500 w 993885"/>
                <a:gd name="connsiteY1827" fmla="*/ 33939 h 1022551"/>
                <a:gd name="connsiteX1828" fmla="*/ 275519 w 993885"/>
                <a:gd name="connsiteY1828" fmla="*/ 38149 h 1022551"/>
                <a:gd name="connsiteX1829" fmla="*/ 277824 w 993885"/>
                <a:gd name="connsiteY1829" fmla="*/ 39927 h 1022551"/>
                <a:gd name="connsiteX1830" fmla="*/ 279768 w 993885"/>
                <a:gd name="connsiteY1830" fmla="*/ 42275 h 1022551"/>
                <a:gd name="connsiteX1831" fmla="*/ 282600 w 993885"/>
                <a:gd name="connsiteY1831" fmla="*/ 42288 h 1022551"/>
                <a:gd name="connsiteX1832" fmla="*/ 284942 w 993885"/>
                <a:gd name="connsiteY1832" fmla="*/ 40270 h 1022551"/>
                <a:gd name="connsiteX1833" fmla="*/ 285568 w 993885"/>
                <a:gd name="connsiteY1833" fmla="*/ 33480 h 1022551"/>
                <a:gd name="connsiteX1834" fmla="*/ 286273 w 993885"/>
                <a:gd name="connsiteY1834" fmla="*/ 31510 h 1022551"/>
                <a:gd name="connsiteX1835" fmla="*/ 287459 w 993885"/>
                <a:gd name="connsiteY1835" fmla="*/ 30958 h 1022551"/>
                <a:gd name="connsiteX1836" fmla="*/ 288868 w 993885"/>
                <a:gd name="connsiteY1836" fmla="*/ 30891 h 1022551"/>
                <a:gd name="connsiteX1837" fmla="*/ 290537 w 993885"/>
                <a:gd name="connsiteY1837" fmla="*/ 29823 h 1022551"/>
                <a:gd name="connsiteX1838" fmla="*/ 292347 w 993885"/>
                <a:gd name="connsiteY1838" fmla="*/ 28447 h 1022551"/>
                <a:gd name="connsiteX1839" fmla="*/ 293917 w 993885"/>
                <a:gd name="connsiteY1839" fmla="*/ 27984 h 1022551"/>
                <a:gd name="connsiteX1840" fmla="*/ 300447 w 993885"/>
                <a:gd name="connsiteY1840" fmla="*/ 29466 h 1022551"/>
                <a:gd name="connsiteX1841" fmla="*/ 302261 w 993885"/>
                <a:gd name="connsiteY1841" fmla="*/ 28757 h 1022551"/>
                <a:gd name="connsiteX1842" fmla="*/ 308873 w 993885"/>
                <a:gd name="connsiteY1842" fmla="*/ 26961 h 1022551"/>
                <a:gd name="connsiteX1843" fmla="*/ 315633 w 993885"/>
                <a:gd name="connsiteY1843" fmla="*/ 24655 h 1022551"/>
                <a:gd name="connsiteX1844" fmla="*/ 317530 w 993885"/>
                <a:gd name="connsiteY1844" fmla="*/ 21748 h 1022551"/>
                <a:gd name="connsiteX1845" fmla="*/ 320366 w 993885"/>
                <a:gd name="connsiteY1845" fmla="*/ 20967 h 1022551"/>
                <a:gd name="connsiteX1846" fmla="*/ 322584 w 993885"/>
                <a:gd name="connsiteY1846" fmla="*/ 18835 h 1022551"/>
                <a:gd name="connsiteX1847" fmla="*/ 324375 w 993885"/>
                <a:gd name="connsiteY1847" fmla="*/ 19060 h 1022551"/>
                <a:gd name="connsiteX1848" fmla="*/ 327088 w 993885"/>
                <a:gd name="connsiteY1848" fmla="*/ 19145 h 1022551"/>
                <a:gd name="connsiteX1849" fmla="*/ 328766 w 993885"/>
                <a:gd name="connsiteY1849" fmla="*/ 18773 h 1022551"/>
                <a:gd name="connsiteX1850" fmla="*/ 329614 w 993885"/>
                <a:gd name="connsiteY1850" fmla="*/ 18368 h 1022551"/>
                <a:gd name="connsiteX1851" fmla="*/ 330538 w 993885"/>
                <a:gd name="connsiteY1851" fmla="*/ 17366 h 1022551"/>
                <a:gd name="connsiteX1852" fmla="*/ 332063 w 993885"/>
                <a:gd name="connsiteY1852" fmla="*/ 14518 h 1022551"/>
                <a:gd name="connsiteX1853" fmla="*/ 333910 w 993885"/>
                <a:gd name="connsiteY1853" fmla="*/ 13440 h 1022551"/>
                <a:gd name="connsiteX1854" fmla="*/ 336234 w 993885"/>
                <a:gd name="connsiteY1854" fmla="*/ 12299 h 1022551"/>
                <a:gd name="connsiteX1855" fmla="*/ 337822 w 993885"/>
                <a:gd name="connsiteY1855" fmla="*/ 10953 h 1022551"/>
                <a:gd name="connsiteX1856" fmla="*/ 339129 w 993885"/>
                <a:gd name="connsiteY1856" fmla="*/ 9290 h 1022551"/>
                <a:gd name="connsiteX1857" fmla="*/ 339731 w 993885"/>
                <a:gd name="connsiteY1857" fmla="*/ 7845 h 1022551"/>
                <a:gd name="connsiteX1858" fmla="*/ 339715 w 993885"/>
                <a:gd name="connsiteY1858" fmla="*/ 6696 h 1022551"/>
                <a:gd name="connsiteX1859" fmla="*/ 338941 w 993885"/>
                <a:gd name="connsiteY1859" fmla="*/ 4475 h 1022551"/>
                <a:gd name="connsiteX1860" fmla="*/ 338004 w 993885"/>
                <a:gd name="connsiteY1860" fmla="*/ 2380 h 1022551"/>
                <a:gd name="connsiteX1861" fmla="*/ 336989 w 993885"/>
                <a:gd name="connsiteY1861" fmla="*/ 1688 h 1022551"/>
                <a:gd name="connsiteX1862" fmla="*/ 336224 w 993885"/>
                <a:gd name="connsiteY1862" fmla="*/ 1422 h 1022551"/>
                <a:gd name="connsiteX1863" fmla="*/ 338526 w 993885"/>
                <a:gd name="connsiteY1863" fmla="*/ 936 h 1022551"/>
                <a:gd name="connsiteX1864" fmla="*/ 340427 w 993885"/>
                <a:gd name="connsiteY1864" fmla="*/ 1665 h 1022551"/>
                <a:gd name="connsiteX1865" fmla="*/ 343390 w 993885"/>
                <a:gd name="connsiteY1865" fmla="*/ 1777 h 1022551"/>
                <a:gd name="connsiteX1866" fmla="*/ 344677 w 993885"/>
                <a:gd name="connsiteY1866" fmla="*/ 1216 h 1022551"/>
                <a:gd name="connsiteX1867" fmla="*/ 346542 w 993885"/>
                <a:gd name="connsiteY1867" fmla="*/ 1491 h 1022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</a:cxnLst>
              <a:rect l="l" t="t" r="r" b="b"/>
              <a:pathLst>
                <a:path w="993885" h="1022551">
                  <a:moveTo>
                    <a:pt x="648799" y="845793"/>
                  </a:moveTo>
                  <a:lnTo>
                    <a:pt x="649736" y="847211"/>
                  </a:lnTo>
                  <a:lnTo>
                    <a:pt x="648933" y="850350"/>
                  </a:lnTo>
                  <a:lnTo>
                    <a:pt x="646723" y="854202"/>
                  </a:lnTo>
                  <a:lnTo>
                    <a:pt x="646999" y="855845"/>
                  </a:lnTo>
                  <a:lnTo>
                    <a:pt x="645257" y="857083"/>
                  </a:lnTo>
                  <a:lnTo>
                    <a:pt x="645571" y="850583"/>
                  </a:lnTo>
                  <a:lnTo>
                    <a:pt x="646509" y="848415"/>
                  </a:lnTo>
                  <a:lnTo>
                    <a:pt x="647535" y="846797"/>
                  </a:lnTo>
                  <a:close/>
                  <a:moveTo>
                    <a:pt x="645633" y="812307"/>
                  </a:moveTo>
                  <a:lnTo>
                    <a:pt x="646702" y="813622"/>
                  </a:lnTo>
                  <a:lnTo>
                    <a:pt x="645852" y="816187"/>
                  </a:lnTo>
                  <a:lnTo>
                    <a:pt x="644915" y="817995"/>
                  </a:lnTo>
                  <a:lnTo>
                    <a:pt x="644500" y="818590"/>
                  </a:lnTo>
                  <a:lnTo>
                    <a:pt x="644027" y="818921"/>
                  </a:lnTo>
                  <a:lnTo>
                    <a:pt x="642437" y="815548"/>
                  </a:lnTo>
                  <a:close/>
                  <a:moveTo>
                    <a:pt x="727721" y="746405"/>
                  </a:moveTo>
                  <a:lnTo>
                    <a:pt x="728484" y="747060"/>
                  </a:lnTo>
                  <a:lnTo>
                    <a:pt x="729071" y="747882"/>
                  </a:lnTo>
                  <a:lnTo>
                    <a:pt x="729476" y="749030"/>
                  </a:lnTo>
                  <a:lnTo>
                    <a:pt x="729042" y="749771"/>
                  </a:lnTo>
                  <a:lnTo>
                    <a:pt x="728788" y="750741"/>
                  </a:lnTo>
                  <a:lnTo>
                    <a:pt x="728772" y="752140"/>
                  </a:lnTo>
                  <a:lnTo>
                    <a:pt x="727716" y="751428"/>
                  </a:lnTo>
                  <a:lnTo>
                    <a:pt x="724919" y="751970"/>
                  </a:lnTo>
                  <a:lnTo>
                    <a:pt x="723941" y="750914"/>
                  </a:lnTo>
                  <a:close/>
                  <a:moveTo>
                    <a:pt x="754587" y="728911"/>
                  </a:moveTo>
                  <a:lnTo>
                    <a:pt x="755156" y="729146"/>
                  </a:lnTo>
                  <a:lnTo>
                    <a:pt x="755886" y="729959"/>
                  </a:lnTo>
                  <a:lnTo>
                    <a:pt x="757467" y="730724"/>
                  </a:lnTo>
                  <a:lnTo>
                    <a:pt x="758259" y="731457"/>
                  </a:lnTo>
                  <a:lnTo>
                    <a:pt x="756796" y="731385"/>
                  </a:lnTo>
                  <a:lnTo>
                    <a:pt x="755154" y="732033"/>
                  </a:lnTo>
                  <a:lnTo>
                    <a:pt x="752629" y="732607"/>
                  </a:lnTo>
                  <a:lnTo>
                    <a:pt x="751612" y="731530"/>
                  </a:lnTo>
                  <a:lnTo>
                    <a:pt x="753795" y="730037"/>
                  </a:lnTo>
                  <a:close/>
                  <a:moveTo>
                    <a:pt x="888031" y="475177"/>
                  </a:moveTo>
                  <a:lnTo>
                    <a:pt x="889882" y="475246"/>
                  </a:lnTo>
                  <a:lnTo>
                    <a:pt x="889972" y="477113"/>
                  </a:lnTo>
                  <a:lnTo>
                    <a:pt x="889102" y="478633"/>
                  </a:lnTo>
                  <a:lnTo>
                    <a:pt x="888095" y="478406"/>
                  </a:lnTo>
                  <a:lnTo>
                    <a:pt x="887699" y="477388"/>
                  </a:lnTo>
                  <a:lnTo>
                    <a:pt x="886964" y="476395"/>
                  </a:lnTo>
                  <a:lnTo>
                    <a:pt x="887360" y="475619"/>
                  </a:lnTo>
                  <a:close/>
                  <a:moveTo>
                    <a:pt x="895942" y="461812"/>
                  </a:moveTo>
                  <a:lnTo>
                    <a:pt x="897301" y="462942"/>
                  </a:lnTo>
                  <a:lnTo>
                    <a:pt x="897662" y="464191"/>
                  </a:lnTo>
                  <a:lnTo>
                    <a:pt x="897639" y="464709"/>
                  </a:lnTo>
                  <a:lnTo>
                    <a:pt x="894022" y="467404"/>
                  </a:lnTo>
                  <a:lnTo>
                    <a:pt x="893029" y="467960"/>
                  </a:lnTo>
                  <a:lnTo>
                    <a:pt x="892928" y="466321"/>
                  </a:lnTo>
                  <a:lnTo>
                    <a:pt x="895518" y="464254"/>
                  </a:lnTo>
                  <a:close/>
                  <a:moveTo>
                    <a:pt x="748536" y="202367"/>
                  </a:moveTo>
                  <a:lnTo>
                    <a:pt x="748388" y="204199"/>
                  </a:lnTo>
                  <a:lnTo>
                    <a:pt x="748509" y="204762"/>
                  </a:lnTo>
                  <a:lnTo>
                    <a:pt x="748083" y="208002"/>
                  </a:lnTo>
                  <a:lnTo>
                    <a:pt x="745588" y="210488"/>
                  </a:lnTo>
                  <a:lnTo>
                    <a:pt x="746410" y="207604"/>
                  </a:lnTo>
                  <a:lnTo>
                    <a:pt x="745990" y="205616"/>
                  </a:lnTo>
                  <a:lnTo>
                    <a:pt x="746314" y="204077"/>
                  </a:lnTo>
                  <a:lnTo>
                    <a:pt x="748017" y="202587"/>
                  </a:lnTo>
                  <a:close/>
                  <a:moveTo>
                    <a:pt x="735929" y="165578"/>
                  </a:moveTo>
                  <a:lnTo>
                    <a:pt x="738220" y="165821"/>
                  </a:lnTo>
                  <a:lnTo>
                    <a:pt x="738352" y="166861"/>
                  </a:lnTo>
                  <a:lnTo>
                    <a:pt x="736728" y="168083"/>
                  </a:lnTo>
                  <a:lnTo>
                    <a:pt x="736203" y="168711"/>
                  </a:lnTo>
                  <a:lnTo>
                    <a:pt x="734859" y="168243"/>
                  </a:lnTo>
                  <a:lnTo>
                    <a:pt x="735103" y="167543"/>
                  </a:lnTo>
                  <a:lnTo>
                    <a:pt x="735499" y="167614"/>
                  </a:lnTo>
                  <a:close/>
                  <a:moveTo>
                    <a:pt x="576810" y="147171"/>
                  </a:moveTo>
                  <a:lnTo>
                    <a:pt x="579174" y="150349"/>
                  </a:lnTo>
                  <a:lnTo>
                    <a:pt x="576243" y="159353"/>
                  </a:lnTo>
                  <a:lnTo>
                    <a:pt x="575386" y="159405"/>
                  </a:lnTo>
                  <a:lnTo>
                    <a:pt x="571456" y="164154"/>
                  </a:lnTo>
                  <a:lnTo>
                    <a:pt x="567081" y="167471"/>
                  </a:lnTo>
                  <a:lnTo>
                    <a:pt x="562141" y="169801"/>
                  </a:lnTo>
                  <a:lnTo>
                    <a:pt x="559456" y="170279"/>
                  </a:lnTo>
                  <a:lnTo>
                    <a:pt x="562912" y="163937"/>
                  </a:lnTo>
                  <a:lnTo>
                    <a:pt x="566007" y="160985"/>
                  </a:lnTo>
                  <a:lnTo>
                    <a:pt x="566051" y="155125"/>
                  </a:lnTo>
                  <a:lnTo>
                    <a:pt x="569404" y="149915"/>
                  </a:lnTo>
                  <a:lnTo>
                    <a:pt x="572488" y="147793"/>
                  </a:lnTo>
                  <a:close/>
                  <a:moveTo>
                    <a:pt x="602312" y="136394"/>
                  </a:moveTo>
                  <a:lnTo>
                    <a:pt x="618023" y="139254"/>
                  </a:lnTo>
                  <a:lnTo>
                    <a:pt x="620392" y="139367"/>
                  </a:lnTo>
                  <a:lnTo>
                    <a:pt x="623747" y="138886"/>
                  </a:lnTo>
                  <a:lnTo>
                    <a:pt x="625994" y="137699"/>
                  </a:lnTo>
                  <a:lnTo>
                    <a:pt x="628509" y="137466"/>
                  </a:lnTo>
                  <a:lnTo>
                    <a:pt x="630997" y="137590"/>
                  </a:lnTo>
                  <a:lnTo>
                    <a:pt x="639375" y="138908"/>
                  </a:lnTo>
                  <a:lnTo>
                    <a:pt x="644409" y="139316"/>
                  </a:lnTo>
                  <a:lnTo>
                    <a:pt x="646250" y="139737"/>
                  </a:lnTo>
                  <a:lnTo>
                    <a:pt x="648049" y="140337"/>
                  </a:lnTo>
                  <a:lnTo>
                    <a:pt x="649363" y="140983"/>
                  </a:lnTo>
                  <a:lnTo>
                    <a:pt x="649692" y="142389"/>
                  </a:lnTo>
                  <a:lnTo>
                    <a:pt x="648466" y="144638"/>
                  </a:lnTo>
                  <a:lnTo>
                    <a:pt x="647555" y="147003"/>
                  </a:lnTo>
                  <a:lnTo>
                    <a:pt x="646706" y="150304"/>
                  </a:lnTo>
                  <a:lnTo>
                    <a:pt x="646050" y="150975"/>
                  </a:lnTo>
                  <a:lnTo>
                    <a:pt x="644952" y="150799"/>
                  </a:lnTo>
                  <a:lnTo>
                    <a:pt x="645635" y="153753"/>
                  </a:lnTo>
                  <a:lnTo>
                    <a:pt x="645386" y="154934"/>
                  </a:lnTo>
                  <a:lnTo>
                    <a:pt x="644843" y="156083"/>
                  </a:lnTo>
                  <a:lnTo>
                    <a:pt x="643495" y="158469"/>
                  </a:lnTo>
                  <a:lnTo>
                    <a:pt x="641454" y="161504"/>
                  </a:lnTo>
                  <a:lnTo>
                    <a:pt x="640847" y="162140"/>
                  </a:lnTo>
                  <a:lnTo>
                    <a:pt x="639292" y="163197"/>
                  </a:lnTo>
                  <a:lnTo>
                    <a:pt x="638028" y="164546"/>
                  </a:lnTo>
                  <a:lnTo>
                    <a:pt x="638299" y="165813"/>
                  </a:lnTo>
                  <a:lnTo>
                    <a:pt x="638931" y="167092"/>
                  </a:lnTo>
                  <a:lnTo>
                    <a:pt x="638182" y="168692"/>
                  </a:lnTo>
                  <a:lnTo>
                    <a:pt x="635766" y="171032"/>
                  </a:lnTo>
                  <a:lnTo>
                    <a:pt x="634319" y="171599"/>
                  </a:lnTo>
                  <a:lnTo>
                    <a:pt x="632988" y="171837"/>
                  </a:lnTo>
                  <a:lnTo>
                    <a:pt x="631761" y="171609"/>
                  </a:lnTo>
                  <a:lnTo>
                    <a:pt x="629583" y="169264"/>
                  </a:lnTo>
                  <a:lnTo>
                    <a:pt x="629356" y="171099"/>
                  </a:lnTo>
                  <a:lnTo>
                    <a:pt x="628770" y="172977"/>
                  </a:lnTo>
                  <a:lnTo>
                    <a:pt x="628030" y="174004"/>
                  </a:lnTo>
                  <a:lnTo>
                    <a:pt x="625220" y="173895"/>
                  </a:lnTo>
                  <a:lnTo>
                    <a:pt x="623653" y="172890"/>
                  </a:lnTo>
                  <a:lnTo>
                    <a:pt x="621117" y="171775"/>
                  </a:lnTo>
                  <a:lnTo>
                    <a:pt x="620634" y="174789"/>
                  </a:lnTo>
                  <a:lnTo>
                    <a:pt x="619056" y="176868"/>
                  </a:lnTo>
                  <a:lnTo>
                    <a:pt x="617467" y="177519"/>
                  </a:lnTo>
                  <a:lnTo>
                    <a:pt x="614977" y="177957"/>
                  </a:lnTo>
                  <a:lnTo>
                    <a:pt x="613547" y="178841"/>
                  </a:lnTo>
                  <a:lnTo>
                    <a:pt x="610855" y="178151"/>
                  </a:lnTo>
                  <a:lnTo>
                    <a:pt x="608354" y="176768"/>
                  </a:lnTo>
                  <a:lnTo>
                    <a:pt x="606940" y="176649"/>
                  </a:lnTo>
                  <a:lnTo>
                    <a:pt x="605836" y="177767"/>
                  </a:lnTo>
                  <a:lnTo>
                    <a:pt x="600025" y="177972"/>
                  </a:lnTo>
                  <a:lnTo>
                    <a:pt x="597362" y="179106"/>
                  </a:lnTo>
                  <a:lnTo>
                    <a:pt x="595735" y="178785"/>
                  </a:lnTo>
                  <a:lnTo>
                    <a:pt x="593341" y="176496"/>
                  </a:lnTo>
                  <a:lnTo>
                    <a:pt x="592957" y="174973"/>
                  </a:lnTo>
                  <a:lnTo>
                    <a:pt x="591531" y="171886"/>
                  </a:lnTo>
                  <a:lnTo>
                    <a:pt x="590253" y="168220"/>
                  </a:lnTo>
                  <a:lnTo>
                    <a:pt x="589341" y="164893"/>
                  </a:lnTo>
                  <a:lnTo>
                    <a:pt x="590109" y="162014"/>
                  </a:lnTo>
                  <a:lnTo>
                    <a:pt x="591661" y="162112"/>
                  </a:lnTo>
                  <a:lnTo>
                    <a:pt x="593497" y="162539"/>
                  </a:lnTo>
                  <a:lnTo>
                    <a:pt x="593887" y="162336"/>
                  </a:lnTo>
                  <a:lnTo>
                    <a:pt x="593977" y="161416"/>
                  </a:lnTo>
                  <a:lnTo>
                    <a:pt x="593572" y="160650"/>
                  </a:lnTo>
                  <a:lnTo>
                    <a:pt x="590614" y="160771"/>
                  </a:lnTo>
                  <a:lnTo>
                    <a:pt x="588745" y="159063"/>
                  </a:lnTo>
                  <a:lnTo>
                    <a:pt x="588420" y="156423"/>
                  </a:lnTo>
                  <a:lnTo>
                    <a:pt x="588804" y="150935"/>
                  </a:lnTo>
                  <a:lnTo>
                    <a:pt x="589048" y="149809"/>
                  </a:lnTo>
                  <a:lnTo>
                    <a:pt x="590352" y="148235"/>
                  </a:lnTo>
                  <a:lnTo>
                    <a:pt x="590779" y="146844"/>
                  </a:lnTo>
                  <a:lnTo>
                    <a:pt x="590456" y="145366"/>
                  </a:lnTo>
                  <a:lnTo>
                    <a:pt x="591016" y="142684"/>
                  </a:lnTo>
                  <a:lnTo>
                    <a:pt x="592239" y="140361"/>
                  </a:lnTo>
                  <a:lnTo>
                    <a:pt x="596903" y="137434"/>
                  </a:lnTo>
                  <a:close/>
                  <a:moveTo>
                    <a:pt x="589202" y="134479"/>
                  </a:moveTo>
                  <a:lnTo>
                    <a:pt x="591694" y="134914"/>
                  </a:lnTo>
                  <a:lnTo>
                    <a:pt x="592109" y="136127"/>
                  </a:lnTo>
                  <a:lnTo>
                    <a:pt x="592052" y="136781"/>
                  </a:lnTo>
                  <a:lnTo>
                    <a:pt x="585117" y="141742"/>
                  </a:lnTo>
                  <a:lnTo>
                    <a:pt x="582768" y="140114"/>
                  </a:lnTo>
                  <a:lnTo>
                    <a:pt x="582284" y="139170"/>
                  </a:lnTo>
                  <a:lnTo>
                    <a:pt x="582683" y="138220"/>
                  </a:lnTo>
                  <a:lnTo>
                    <a:pt x="582597" y="137814"/>
                  </a:lnTo>
                  <a:lnTo>
                    <a:pt x="583375" y="136112"/>
                  </a:lnTo>
                  <a:lnTo>
                    <a:pt x="587252" y="134715"/>
                  </a:lnTo>
                  <a:close/>
                  <a:moveTo>
                    <a:pt x="621197" y="131321"/>
                  </a:moveTo>
                  <a:lnTo>
                    <a:pt x="623808" y="131992"/>
                  </a:lnTo>
                  <a:lnTo>
                    <a:pt x="624522" y="133415"/>
                  </a:lnTo>
                  <a:lnTo>
                    <a:pt x="624305" y="134850"/>
                  </a:lnTo>
                  <a:lnTo>
                    <a:pt x="622707" y="136293"/>
                  </a:lnTo>
                  <a:lnTo>
                    <a:pt x="615990" y="137088"/>
                  </a:lnTo>
                  <a:lnTo>
                    <a:pt x="612915" y="135823"/>
                  </a:lnTo>
                  <a:lnTo>
                    <a:pt x="613609" y="134758"/>
                  </a:lnTo>
                  <a:lnTo>
                    <a:pt x="615901" y="133060"/>
                  </a:lnTo>
                  <a:lnTo>
                    <a:pt x="618693" y="131853"/>
                  </a:lnTo>
                  <a:close/>
                  <a:moveTo>
                    <a:pt x="611674" y="125720"/>
                  </a:moveTo>
                  <a:lnTo>
                    <a:pt x="615244" y="126643"/>
                  </a:lnTo>
                  <a:lnTo>
                    <a:pt x="616283" y="127967"/>
                  </a:lnTo>
                  <a:lnTo>
                    <a:pt x="612689" y="133268"/>
                  </a:lnTo>
                  <a:lnTo>
                    <a:pt x="610709" y="134030"/>
                  </a:lnTo>
                  <a:lnTo>
                    <a:pt x="608543" y="134185"/>
                  </a:lnTo>
                  <a:lnTo>
                    <a:pt x="605738" y="132605"/>
                  </a:lnTo>
                  <a:lnTo>
                    <a:pt x="601364" y="132718"/>
                  </a:lnTo>
                  <a:lnTo>
                    <a:pt x="599999" y="132344"/>
                  </a:lnTo>
                  <a:lnTo>
                    <a:pt x="599855" y="130033"/>
                  </a:lnTo>
                  <a:lnTo>
                    <a:pt x="601692" y="127566"/>
                  </a:lnTo>
                  <a:lnTo>
                    <a:pt x="605361" y="127699"/>
                  </a:lnTo>
                  <a:close/>
                  <a:moveTo>
                    <a:pt x="599154" y="118461"/>
                  </a:moveTo>
                  <a:lnTo>
                    <a:pt x="599707" y="118693"/>
                  </a:lnTo>
                  <a:lnTo>
                    <a:pt x="599920" y="123767"/>
                  </a:lnTo>
                  <a:lnTo>
                    <a:pt x="600180" y="126876"/>
                  </a:lnTo>
                  <a:lnTo>
                    <a:pt x="597801" y="129912"/>
                  </a:lnTo>
                  <a:lnTo>
                    <a:pt x="597349" y="133638"/>
                  </a:lnTo>
                  <a:lnTo>
                    <a:pt x="592785" y="132064"/>
                  </a:lnTo>
                  <a:lnTo>
                    <a:pt x="593127" y="128251"/>
                  </a:lnTo>
                  <a:lnTo>
                    <a:pt x="595263" y="127182"/>
                  </a:lnTo>
                  <a:lnTo>
                    <a:pt x="597155" y="125155"/>
                  </a:lnTo>
                  <a:lnTo>
                    <a:pt x="597802" y="122669"/>
                  </a:lnTo>
                  <a:lnTo>
                    <a:pt x="597841" y="119288"/>
                  </a:lnTo>
                  <a:lnTo>
                    <a:pt x="598543" y="118701"/>
                  </a:lnTo>
                  <a:close/>
                  <a:moveTo>
                    <a:pt x="607114" y="117265"/>
                  </a:moveTo>
                  <a:lnTo>
                    <a:pt x="607674" y="118360"/>
                  </a:lnTo>
                  <a:lnTo>
                    <a:pt x="607592" y="120187"/>
                  </a:lnTo>
                  <a:lnTo>
                    <a:pt x="604729" y="123478"/>
                  </a:lnTo>
                  <a:lnTo>
                    <a:pt x="601980" y="124336"/>
                  </a:lnTo>
                  <a:lnTo>
                    <a:pt x="601468" y="123533"/>
                  </a:lnTo>
                  <a:lnTo>
                    <a:pt x="601464" y="120347"/>
                  </a:lnTo>
                  <a:lnTo>
                    <a:pt x="602237" y="118599"/>
                  </a:lnTo>
                  <a:lnTo>
                    <a:pt x="605746" y="118109"/>
                  </a:lnTo>
                  <a:lnTo>
                    <a:pt x="606106" y="117596"/>
                  </a:lnTo>
                  <a:close/>
                  <a:moveTo>
                    <a:pt x="597988" y="78627"/>
                  </a:moveTo>
                  <a:lnTo>
                    <a:pt x="599411" y="78806"/>
                  </a:lnTo>
                  <a:lnTo>
                    <a:pt x="599934" y="79128"/>
                  </a:lnTo>
                  <a:lnTo>
                    <a:pt x="601200" y="83242"/>
                  </a:lnTo>
                  <a:lnTo>
                    <a:pt x="601026" y="84283"/>
                  </a:lnTo>
                  <a:lnTo>
                    <a:pt x="598495" y="85441"/>
                  </a:lnTo>
                  <a:lnTo>
                    <a:pt x="597041" y="84994"/>
                  </a:lnTo>
                  <a:lnTo>
                    <a:pt x="595700" y="81975"/>
                  </a:lnTo>
                  <a:lnTo>
                    <a:pt x="596156" y="79461"/>
                  </a:lnTo>
                  <a:close/>
                  <a:moveTo>
                    <a:pt x="348915" y="0"/>
                  </a:moveTo>
                  <a:lnTo>
                    <a:pt x="350434" y="488"/>
                  </a:lnTo>
                  <a:lnTo>
                    <a:pt x="351441" y="488"/>
                  </a:lnTo>
                  <a:lnTo>
                    <a:pt x="352355" y="1621"/>
                  </a:lnTo>
                  <a:lnTo>
                    <a:pt x="353063" y="2898"/>
                  </a:lnTo>
                  <a:lnTo>
                    <a:pt x="355279" y="4452"/>
                  </a:lnTo>
                  <a:lnTo>
                    <a:pt x="355058" y="6816"/>
                  </a:lnTo>
                  <a:lnTo>
                    <a:pt x="354650" y="8909"/>
                  </a:lnTo>
                  <a:lnTo>
                    <a:pt x="354364" y="11318"/>
                  </a:lnTo>
                  <a:lnTo>
                    <a:pt x="354236" y="13153"/>
                  </a:lnTo>
                  <a:lnTo>
                    <a:pt x="353294" y="15030"/>
                  </a:lnTo>
                  <a:lnTo>
                    <a:pt x="351884" y="16782"/>
                  </a:lnTo>
                  <a:lnTo>
                    <a:pt x="351469" y="17496"/>
                  </a:lnTo>
                  <a:lnTo>
                    <a:pt x="351274" y="18419"/>
                  </a:lnTo>
                  <a:lnTo>
                    <a:pt x="352224" y="18981"/>
                  </a:lnTo>
                  <a:lnTo>
                    <a:pt x="353901" y="19148"/>
                  </a:lnTo>
                  <a:lnTo>
                    <a:pt x="355997" y="19220"/>
                  </a:lnTo>
                  <a:lnTo>
                    <a:pt x="357422" y="19764"/>
                  </a:lnTo>
                  <a:lnTo>
                    <a:pt x="359268" y="19876"/>
                  </a:lnTo>
                  <a:lnTo>
                    <a:pt x="361488" y="21382"/>
                  </a:lnTo>
                  <a:lnTo>
                    <a:pt x="362567" y="22284"/>
                  </a:lnTo>
                  <a:lnTo>
                    <a:pt x="362657" y="22985"/>
                  </a:lnTo>
                  <a:lnTo>
                    <a:pt x="361952" y="24659"/>
                  </a:lnTo>
                  <a:lnTo>
                    <a:pt x="361671" y="26205"/>
                  </a:lnTo>
                  <a:lnTo>
                    <a:pt x="362220" y="27186"/>
                  </a:lnTo>
                  <a:lnTo>
                    <a:pt x="362872" y="27891"/>
                  </a:lnTo>
                  <a:lnTo>
                    <a:pt x="364672" y="31377"/>
                  </a:lnTo>
                  <a:lnTo>
                    <a:pt x="365529" y="32590"/>
                  </a:lnTo>
                  <a:lnTo>
                    <a:pt x="366256" y="32981"/>
                  </a:lnTo>
                  <a:lnTo>
                    <a:pt x="366424" y="33653"/>
                  </a:lnTo>
                  <a:lnTo>
                    <a:pt x="365808" y="34925"/>
                  </a:lnTo>
                  <a:lnTo>
                    <a:pt x="365072" y="36544"/>
                  </a:lnTo>
                  <a:lnTo>
                    <a:pt x="363405" y="38244"/>
                  </a:lnTo>
                  <a:lnTo>
                    <a:pt x="363181" y="39587"/>
                  </a:lnTo>
                  <a:lnTo>
                    <a:pt x="361846" y="40432"/>
                  </a:lnTo>
                  <a:lnTo>
                    <a:pt x="358734" y="42439"/>
                  </a:lnTo>
                  <a:lnTo>
                    <a:pt x="359276" y="45621"/>
                  </a:lnTo>
                  <a:lnTo>
                    <a:pt x="359383" y="47235"/>
                  </a:lnTo>
                  <a:lnTo>
                    <a:pt x="359324" y="48488"/>
                  </a:lnTo>
                  <a:lnTo>
                    <a:pt x="358262" y="50167"/>
                  </a:lnTo>
                  <a:lnTo>
                    <a:pt x="356420" y="55122"/>
                  </a:lnTo>
                  <a:lnTo>
                    <a:pt x="355745" y="57593"/>
                  </a:lnTo>
                  <a:lnTo>
                    <a:pt x="355146" y="63305"/>
                  </a:lnTo>
                  <a:lnTo>
                    <a:pt x="355186" y="65219"/>
                  </a:lnTo>
                  <a:lnTo>
                    <a:pt x="356036" y="67797"/>
                  </a:lnTo>
                  <a:lnTo>
                    <a:pt x="357841" y="73516"/>
                  </a:lnTo>
                  <a:lnTo>
                    <a:pt x="358868" y="74427"/>
                  </a:lnTo>
                  <a:lnTo>
                    <a:pt x="361249" y="75770"/>
                  </a:lnTo>
                  <a:lnTo>
                    <a:pt x="361546" y="79639"/>
                  </a:lnTo>
                  <a:lnTo>
                    <a:pt x="361336" y="83677"/>
                  </a:lnTo>
                  <a:lnTo>
                    <a:pt x="361224" y="85244"/>
                  </a:lnTo>
                  <a:lnTo>
                    <a:pt x="361617" y="85916"/>
                  </a:lnTo>
                  <a:lnTo>
                    <a:pt x="362686" y="86237"/>
                  </a:lnTo>
                  <a:lnTo>
                    <a:pt x="363447" y="86723"/>
                  </a:lnTo>
                  <a:lnTo>
                    <a:pt x="363568" y="87918"/>
                  </a:lnTo>
                  <a:lnTo>
                    <a:pt x="363495" y="89159"/>
                  </a:lnTo>
                  <a:lnTo>
                    <a:pt x="365271" y="89875"/>
                  </a:lnTo>
                  <a:lnTo>
                    <a:pt x="366815" y="90333"/>
                  </a:lnTo>
                  <a:lnTo>
                    <a:pt x="368242" y="92047"/>
                  </a:lnTo>
                  <a:lnTo>
                    <a:pt x="370822" y="94712"/>
                  </a:lnTo>
                  <a:lnTo>
                    <a:pt x="371847" y="95197"/>
                  </a:lnTo>
                  <a:lnTo>
                    <a:pt x="372361" y="96304"/>
                  </a:lnTo>
                  <a:lnTo>
                    <a:pt x="374536" y="98550"/>
                  </a:lnTo>
                  <a:lnTo>
                    <a:pt x="377854" y="99371"/>
                  </a:lnTo>
                  <a:lnTo>
                    <a:pt x="381197" y="100361"/>
                  </a:lnTo>
                  <a:lnTo>
                    <a:pt x="382514" y="101775"/>
                  </a:lnTo>
                  <a:lnTo>
                    <a:pt x="383885" y="102923"/>
                  </a:lnTo>
                  <a:lnTo>
                    <a:pt x="384917" y="102982"/>
                  </a:lnTo>
                  <a:lnTo>
                    <a:pt x="385795" y="102799"/>
                  </a:lnTo>
                  <a:lnTo>
                    <a:pt x="387237" y="101809"/>
                  </a:lnTo>
                  <a:lnTo>
                    <a:pt x="388395" y="100959"/>
                  </a:lnTo>
                  <a:lnTo>
                    <a:pt x="390412" y="101007"/>
                  </a:lnTo>
                  <a:lnTo>
                    <a:pt x="392776" y="100867"/>
                  </a:lnTo>
                  <a:lnTo>
                    <a:pt x="393186" y="100167"/>
                  </a:lnTo>
                  <a:lnTo>
                    <a:pt x="393410" y="99267"/>
                  </a:lnTo>
                  <a:lnTo>
                    <a:pt x="392924" y="96961"/>
                  </a:lnTo>
                  <a:lnTo>
                    <a:pt x="393763" y="96262"/>
                  </a:lnTo>
                  <a:lnTo>
                    <a:pt x="395718" y="95869"/>
                  </a:lnTo>
                  <a:lnTo>
                    <a:pt x="396110" y="94639"/>
                  </a:lnTo>
                  <a:lnTo>
                    <a:pt x="396559" y="93968"/>
                  </a:lnTo>
                  <a:lnTo>
                    <a:pt x="397117" y="93185"/>
                  </a:lnTo>
                  <a:lnTo>
                    <a:pt x="397788" y="93074"/>
                  </a:lnTo>
                  <a:lnTo>
                    <a:pt x="398626" y="93521"/>
                  </a:lnTo>
                  <a:lnTo>
                    <a:pt x="399912" y="93801"/>
                  </a:lnTo>
                  <a:lnTo>
                    <a:pt x="401366" y="94192"/>
                  </a:lnTo>
                  <a:lnTo>
                    <a:pt x="402148" y="94975"/>
                  </a:lnTo>
                  <a:lnTo>
                    <a:pt x="403440" y="95041"/>
                  </a:lnTo>
                  <a:lnTo>
                    <a:pt x="404876" y="94892"/>
                  </a:lnTo>
                  <a:lnTo>
                    <a:pt x="405456" y="94392"/>
                  </a:lnTo>
                  <a:lnTo>
                    <a:pt x="405879" y="93521"/>
                  </a:lnTo>
                  <a:lnTo>
                    <a:pt x="406191" y="91641"/>
                  </a:lnTo>
                  <a:lnTo>
                    <a:pt x="407116" y="91586"/>
                  </a:lnTo>
                  <a:lnTo>
                    <a:pt x="408964" y="91163"/>
                  </a:lnTo>
                  <a:lnTo>
                    <a:pt x="410936" y="90333"/>
                  </a:lnTo>
                  <a:lnTo>
                    <a:pt x="413572" y="90211"/>
                  </a:lnTo>
                  <a:lnTo>
                    <a:pt x="416039" y="90230"/>
                  </a:lnTo>
                  <a:lnTo>
                    <a:pt x="417273" y="89673"/>
                  </a:lnTo>
                  <a:lnTo>
                    <a:pt x="418422" y="88460"/>
                  </a:lnTo>
                  <a:lnTo>
                    <a:pt x="420647" y="85033"/>
                  </a:lnTo>
                  <a:lnTo>
                    <a:pt x="421811" y="84243"/>
                  </a:lnTo>
                  <a:lnTo>
                    <a:pt x="423062" y="83650"/>
                  </a:lnTo>
                  <a:lnTo>
                    <a:pt x="424124" y="83758"/>
                  </a:lnTo>
                  <a:lnTo>
                    <a:pt x="426304" y="83191"/>
                  </a:lnTo>
                  <a:lnTo>
                    <a:pt x="428097" y="82369"/>
                  </a:lnTo>
                  <a:lnTo>
                    <a:pt x="428762" y="82577"/>
                  </a:lnTo>
                  <a:lnTo>
                    <a:pt x="430158" y="84336"/>
                  </a:lnTo>
                  <a:lnTo>
                    <a:pt x="430856" y="84721"/>
                  </a:lnTo>
                  <a:lnTo>
                    <a:pt x="431884" y="84844"/>
                  </a:lnTo>
                  <a:lnTo>
                    <a:pt x="435251" y="85736"/>
                  </a:lnTo>
                  <a:lnTo>
                    <a:pt x="437038" y="85458"/>
                  </a:lnTo>
                  <a:lnTo>
                    <a:pt x="438976" y="84898"/>
                  </a:lnTo>
                  <a:lnTo>
                    <a:pt x="440837" y="84685"/>
                  </a:lnTo>
                  <a:lnTo>
                    <a:pt x="442178" y="85076"/>
                  </a:lnTo>
                  <a:lnTo>
                    <a:pt x="443143" y="84568"/>
                  </a:lnTo>
                  <a:lnTo>
                    <a:pt x="444226" y="84191"/>
                  </a:lnTo>
                  <a:lnTo>
                    <a:pt x="444986" y="84440"/>
                  </a:lnTo>
                  <a:lnTo>
                    <a:pt x="446684" y="84654"/>
                  </a:lnTo>
                  <a:lnTo>
                    <a:pt x="450708" y="85633"/>
                  </a:lnTo>
                  <a:lnTo>
                    <a:pt x="455962" y="86725"/>
                  </a:lnTo>
                  <a:lnTo>
                    <a:pt x="457398" y="86349"/>
                  </a:lnTo>
                  <a:lnTo>
                    <a:pt x="458252" y="85578"/>
                  </a:lnTo>
                  <a:lnTo>
                    <a:pt x="458455" y="83316"/>
                  </a:lnTo>
                  <a:lnTo>
                    <a:pt x="458615" y="81721"/>
                  </a:lnTo>
                  <a:lnTo>
                    <a:pt x="457432" y="80311"/>
                  </a:lnTo>
                  <a:lnTo>
                    <a:pt x="455959" y="78712"/>
                  </a:lnTo>
                  <a:lnTo>
                    <a:pt x="454601" y="76718"/>
                  </a:lnTo>
                  <a:lnTo>
                    <a:pt x="452976" y="76153"/>
                  </a:lnTo>
                  <a:lnTo>
                    <a:pt x="453186" y="75125"/>
                  </a:lnTo>
                  <a:lnTo>
                    <a:pt x="454242" y="74066"/>
                  </a:lnTo>
                  <a:lnTo>
                    <a:pt x="455324" y="73480"/>
                  </a:lnTo>
                  <a:lnTo>
                    <a:pt x="455952" y="72760"/>
                  </a:lnTo>
                  <a:lnTo>
                    <a:pt x="456632" y="70103"/>
                  </a:lnTo>
                  <a:lnTo>
                    <a:pt x="457087" y="69634"/>
                  </a:lnTo>
                  <a:lnTo>
                    <a:pt x="457546" y="69520"/>
                  </a:lnTo>
                  <a:lnTo>
                    <a:pt x="458092" y="69618"/>
                  </a:lnTo>
                  <a:lnTo>
                    <a:pt x="459162" y="70306"/>
                  </a:lnTo>
                  <a:lnTo>
                    <a:pt x="463300" y="72420"/>
                  </a:lnTo>
                  <a:lnTo>
                    <a:pt x="465115" y="72100"/>
                  </a:lnTo>
                  <a:lnTo>
                    <a:pt x="472053" y="71545"/>
                  </a:lnTo>
                  <a:lnTo>
                    <a:pt x="473102" y="70324"/>
                  </a:lnTo>
                  <a:lnTo>
                    <a:pt x="474571" y="70048"/>
                  </a:lnTo>
                  <a:lnTo>
                    <a:pt x="477065" y="68833"/>
                  </a:lnTo>
                  <a:lnTo>
                    <a:pt x="478050" y="68751"/>
                  </a:lnTo>
                  <a:lnTo>
                    <a:pt x="478931" y="69044"/>
                  </a:lnTo>
                  <a:lnTo>
                    <a:pt x="480041" y="68813"/>
                  </a:lnTo>
                  <a:lnTo>
                    <a:pt x="481676" y="67681"/>
                  </a:lnTo>
                  <a:lnTo>
                    <a:pt x="482366" y="67561"/>
                  </a:lnTo>
                  <a:lnTo>
                    <a:pt x="482626" y="68813"/>
                  </a:lnTo>
                  <a:lnTo>
                    <a:pt x="483687" y="70106"/>
                  </a:lnTo>
                  <a:lnTo>
                    <a:pt x="484966" y="71299"/>
                  </a:lnTo>
                  <a:lnTo>
                    <a:pt x="485586" y="71573"/>
                  </a:lnTo>
                  <a:lnTo>
                    <a:pt x="487736" y="71187"/>
                  </a:lnTo>
                  <a:lnTo>
                    <a:pt x="488867" y="71520"/>
                  </a:lnTo>
                  <a:lnTo>
                    <a:pt x="489357" y="72629"/>
                  </a:lnTo>
                  <a:lnTo>
                    <a:pt x="489497" y="73596"/>
                  </a:lnTo>
                  <a:lnTo>
                    <a:pt x="490398" y="74415"/>
                  </a:lnTo>
                  <a:lnTo>
                    <a:pt x="491554" y="74435"/>
                  </a:lnTo>
                  <a:lnTo>
                    <a:pt x="492171" y="74764"/>
                  </a:lnTo>
                  <a:lnTo>
                    <a:pt x="493222" y="75289"/>
                  </a:lnTo>
                  <a:lnTo>
                    <a:pt x="494119" y="76497"/>
                  </a:lnTo>
                  <a:lnTo>
                    <a:pt x="496198" y="77459"/>
                  </a:lnTo>
                  <a:lnTo>
                    <a:pt x="499750" y="78811"/>
                  </a:lnTo>
                  <a:lnTo>
                    <a:pt x="501400" y="78835"/>
                  </a:lnTo>
                  <a:lnTo>
                    <a:pt x="502937" y="79247"/>
                  </a:lnTo>
                  <a:lnTo>
                    <a:pt x="503883" y="79654"/>
                  </a:lnTo>
                  <a:lnTo>
                    <a:pt x="504905" y="78906"/>
                  </a:lnTo>
                  <a:lnTo>
                    <a:pt x="508538" y="76825"/>
                  </a:lnTo>
                  <a:lnTo>
                    <a:pt x="510309" y="75664"/>
                  </a:lnTo>
                  <a:lnTo>
                    <a:pt x="511503" y="74785"/>
                  </a:lnTo>
                  <a:lnTo>
                    <a:pt x="512398" y="73946"/>
                  </a:lnTo>
                  <a:lnTo>
                    <a:pt x="513069" y="73722"/>
                  </a:lnTo>
                  <a:lnTo>
                    <a:pt x="513516" y="74225"/>
                  </a:lnTo>
                  <a:lnTo>
                    <a:pt x="513907" y="74897"/>
                  </a:lnTo>
                  <a:lnTo>
                    <a:pt x="515201" y="75293"/>
                  </a:lnTo>
                  <a:lnTo>
                    <a:pt x="518237" y="76079"/>
                  </a:lnTo>
                  <a:lnTo>
                    <a:pt x="519631" y="76303"/>
                  </a:lnTo>
                  <a:lnTo>
                    <a:pt x="521588" y="75634"/>
                  </a:lnTo>
                  <a:lnTo>
                    <a:pt x="523256" y="74499"/>
                  </a:lnTo>
                  <a:lnTo>
                    <a:pt x="524057" y="74105"/>
                  </a:lnTo>
                  <a:lnTo>
                    <a:pt x="525298" y="75235"/>
                  </a:lnTo>
                  <a:lnTo>
                    <a:pt x="526142" y="76832"/>
                  </a:lnTo>
                  <a:lnTo>
                    <a:pt x="526710" y="77526"/>
                  </a:lnTo>
                  <a:lnTo>
                    <a:pt x="527971" y="77362"/>
                  </a:lnTo>
                  <a:lnTo>
                    <a:pt x="530451" y="77607"/>
                  </a:lnTo>
                  <a:lnTo>
                    <a:pt x="532290" y="78114"/>
                  </a:lnTo>
                  <a:lnTo>
                    <a:pt x="533429" y="78068"/>
                  </a:lnTo>
                  <a:lnTo>
                    <a:pt x="534985" y="77358"/>
                  </a:lnTo>
                  <a:lnTo>
                    <a:pt x="535822" y="75959"/>
                  </a:lnTo>
                  <a:lnTo>
                    <a:pt x="538030" y="74677"/>
                  </a:lnTo>
                  <a:lnTo>
                    <a:pt x="540128" y="73498"/>
                  </a:lnTo>
                  <a:lnTo>
                    <a:pt x="541331" y="71924"/>
                  </a:lnTo>
                  <a:lnTo>
                    <a:pt x="543111" y="69306"/>
                  </a:lnTo>
                  <a:lnTo>
                    <a:pt x="543707" y="68183"/>
                  </a:lnTo>
                  <a:lnTo>
                    <a:pt x="543829" y="66293"/>
                  </a:lnTo>
                  <a:lnTo>
                    <a:pt x="546334" y="60799"/>
                  </a:lnTo>
                  <a:lnTo>
                    <a:pt x="547284" y="59791"/>
                  </a:lnTo>
                  <a:lnTo>
                    <a:pt x="547842" y="58057"/>
                  </a:lnTo>
                  <a:lnTo>
                    <a:pt x="548850" y="56043"/>
                  </a:lnTo>
                  <a:lnTo>
                    <a:pt x="548850" y="54364"/>
                  </a:lnTo>
                  <a:lnTo>
                    <a:pt x="549579" y="52739"/>
                  </a:lnTo>
                  <a:lnTo>
                    <a:pt x="551016" y="51334"/>
                  </a:lnTo>
                  <a:lnTo>
                    <a:pt x="552076" y="50456"/>
                  </a:lnTo>
                  <a:lnTo>
                    <a:pt x="553771" y="48095"/>
                  </a:lnTo>
                  <a:lnTo>
                    <a:pt x="554949" y="45871"/>
                  </a:lnTo>
                  <a:lnTo>
                    <a:pt x="557906" y="40931"/>
                  </a:lnTo>
                  <a:lnTo>
                    <a:pt x="558132" y="39532"/>
                  </a:lnTo>
                  <a:lnTo>
                    <a:pt x="559305" y="38692"/>
                  </a:lnTo>
                  <a:lnTo>
                    <a:pt x="559696" y="37629"/>
                  </a:lnTo>
                  <a:lnTo>
                    <a:pt x="560949" y="36318"/>
                  </a:lnTo>
                  <a:lnTo>
                    <a:pt x="562268" y="35277"/>
                  </a:lnTo>
                  <a:lnTo>
                    <a:pt x="562831" y="33744"/>
                  </a:lnTo>
                  <a:lnTo>
                    <a:pt x="563799" y="32151"/>
                  </a:lnTo>
                  <a:lnTo>
                    <a:pt x="565920" y="30956"/>
                  </a:lnTo>
                  <a:lnTo>
                    <a:pt x="566703" y="30409"/>
                  </a:lnTo>
                  <a:lnTo>
                    <a:pt x="569106" y="26027"/>
                  </a:lnTo>
                  <a:lnTo>
                    <a:pt x="569379" y="24069"/>
                  </a:lnTo>
                  <a:lnTo>
                    <a:pt x="571547" y="23995"/>
                  </a:lnTo>
                  <a:lnTo>
                    <a:pt x="574956" y="26257"/>
                  </a:lnTo>
                  <a:lnTo>
                    <a:pt x="577673" y="29588"/>
                  </a:lnTo>
                  <a:lnTo>
                    <a:pt x="581316" y="40302"/>
                  </a:lnTo>
                  <a:lnTo>
                    <a:pt x="581921" y="50198"/>
                  </a:lnTo>
                  <a:lnTo>
                    <a:pt x="583398" y="55383"/>
                  </a:lnTo>
                  <a:lnTo>
                    <a:pt x="587631" y="66187"/>
                  </a:lnTo>
                  <a:lnTo>
                    <a:pt x="587903" y="68185"/>
                  </a:lnTo>
                  <a:lnTo>
                    <a:pt x="588583" y="70603"/>
                  </a:lnTo>
                  <a:lnTo>
                    <a:pt x="589920" y="73165"/>
                  </a:lnTo>
                  <a:lnTo>
                    <a:pt x="591396" y="77388"/>
                  </a:lnTo>
                  <a:lnTo>
                    <a:pt x="591451" y="78172"/>
                  </a:lnTo>
                  <a:lnTo>
                    <a:pt x="590491" y="79323"/>
                  </a:lnTo>
                  <a:lnTo>
                    <a:pt x="591898" y="79402"/>
                  </a:lnTo>
                  <a:lnTo>
                    <a:pt x="593172" y="80082"/>
                  </a:lnTo>
                  <a:lnTo>
                    <a:pt x="594004" y="82760"/>
                  </a:lnTo>
                  <a:lnTo>
                    <a:pt x="595055" y="84568"/>
                  </a:lnTo>
                  <a:lnTo>
                    <a:pt x="596970" y="87047"/>
                  </a:lnTo>
                  <a:lnTo>
                    <a:pt x="600890" y="87856"/>
                  </a:lnTo>
                  <a:lnTo>
                    <a:pt x="603849" y="88152"/>
                  </a:lnTo>
                  <a:lnTo>
                    <a:pt x="607219" y="89554"/>
                  </a:lnTo>
                  <a:lnTo>
                    <a:pt x="609693" y="91351"/>
                  </a:lnTo>
                  <a:lnTo>
                    <a:pt x="611609" y="97437"/>
                  </a:lnTo>
                  <a:lnTo>
                    <a:pt x="610984" y="101262"/>
                  </a:lnTo>
                  <a:lnTo>
                    <a:pt x="611171" y="103953"/>
                  </a:lnTo>
                  <a:lnTo>
                    <a:pt x="610180" y="105006"/>
                  </a:lnTo>
                  <a:lnTo>
                    <a:pt x="607408" y="106768"/>
                  </a:lnTo>
                  <a:lnTo>
                    <a:pt x="606806" y="107704"/>
                  </a:lnTo>
                  <a:lnTo>
                    <a:pt x="601140" y="112251"/>
                  </a:lnTo>
                  <a:lnTo>
                    <a:pt x="599902" y="114399"/>
                  </a:lnTo>
                  <a:lnTo>
                    <a:pt x="596867" y="117283"/>
                  </a:lnTo>
                  <a:lnTo>
                    <a:pt x="593861" y="122781"/>
                  </a:lnTo>
                  <a:lnTo>
                    <a:pt x="589460" y="127800"/>
                  </a:lnTo>
                  <a:lnTo>
                    <a:pt x="587906" y="129067"/>
                  </a:lnTo>
                  <a:lnTo>
                    <a:pt x="585528" y="129362"/>
                  </a:lnTo>
                  <a:lnTo>
                    <a:pt x="584084" y="130140"/>
                  </a:lnTo>
                  <a:lnTo>
                    <a:pt x="580665" y="134235"/>
                  </a:lnTo>
                  <a:lnTo>
                    <a:pt x="576077" y="135603"/>
                  </a:lnTo>
                  <a:lnTo>
                    <a:pt x="575655" y="137977"/>
                  </a:lnTo>
                  <a:lnTo>
                    <a:pt x="573002" y="143400"/>
                  </a:lnTo>
                  <a:lnTo>
                    <a:pt x="570665" y="146362"/>
                  </a:lnTo>
                  <a:lnTo>
                    <a:pt x="569176" y="147367"/>
                  </a:lnTo>
                  <a:lnTo>
                    <a:pt x="565434" y="152773"/>
                  </a:lnTo>
                  <a:lnTo>
                    <a:pt x="564955" y="155135"/>
                  </a:lnTo>
                  <a:lnTo>
                    <a:pt x="564978" y="159268"/>
                  </a:lnTo>
                  <a:lnTo>
                    <a:pt x="562479" y="161787"/>
                  </a:lnTo>
                  <a:lnTo>
                    <a:pt x="559880" y="163387"/>
                  </a:lnTo>
                  <a:lnTo>
                    <a:pt x="559555" y="166923"/>
                  </a:lnTo>
                  <a:lnTo>
                    <a:pt x="558379" y="168132"/>
                  </a:lnTo>
                  <a:lnTo>
                    <a:pt x="557375" y="168920"/>
                  </a:lnTo>
                  <a:lnTo>
                    <a:pt x="552080" y="167993"/>
                  </a:lnTo>
                  <a:lnTo>
                    <a:pt x="543861" y="171837"/>
                  </a:lnTo>
                  <a:lnTo>
                    <a:pt x="541052" y="172792"/>
                  </a:lnTo>
                  <a:lnTo>
                    <a:pt x="550025" y="172991"/>
                  </a:lnTo>
                  <a:lnTo>
                    <a:pt x="552906" y="175034"/>
                  </a:lnTo>
                  <a:lnTo>
                    <a:pt x="559223" y="173680"/>
                  </a:lnTo>
                  <a:lnTo>
                    <a:pt x="566863" y="168801"/>
                  </a:lnTo>
                  <a:lnTo>
                    <a:pt x="569780" y="167780"/>
                  </a:lnTo>
                  <a:lnTo>
                    <a:pt x="575710" y="164470"/>
                  </a:lnTo>
                  <a:lnTo>
                    <a:pt x="578119" y="162262"/>
                  </a:lnTo>
                  <a:lnTo>
                    <a:pt x="582515" y="159615"/>
                  </a:lnTo>
                  <a:lnTo>
                    <a:pt x="583451" y="158454"/>
                  </a:lnTo>
                  <a:lnTo>
                    <a:pt x="585914" y="157218"/>
                  </a:lnTo>
                  <a:lnTo>
                    <a:pt x="587249" y="158791"/>
                  </a:lnTo>
                  <a:lnTo>
                    <a:pt x="587352" y="159786"/>
                  </a:lnTo>
                  <a:lnTo>
                    <a:pt x="585332" y="161722"/>
                  </a:lnTo>
                  <a:lnTo>
                    <a:pt x="585857" y="162971"/>
                  </a:lnTo>
                  <a:lnTo>
                    <a:pt x="587191" y="164538"/>
                  </a:lnTo>
                  <a:lnTo>
                    <a:pt x="587673" y="166698"/>
                  </a:lnTo>
                  <a:lnTo>
                    <a:pt x="587848" y="168342"/>
                  </a:lnTo>
                  <a:lnTo>
                    <a:pt x="588672" y="171225"/>
                  </a:lnTo>
                  <a:lnTo>
                    <a:pt x="591390" y="175129"/>
                  </a:lnTo>
                  <a:lnTo>
                    <a:pt x="591483" y="176419"/>
                  </a:lnTo>
                  <a:lnTo>
                    <a:pt x="591109" y="178118"/>
                  </a:lnTo>
                  <a:lnTo>
                    <a:pt x="592409" y="179522"/>
                  </a:lnTo>
                  <a:lnTo>
                    <a:pt x="593758" y="180355"/>
                  </a:lnTo>
                  <a:lnTo>
                    <a:pt x="598381" y="184557"/>
                  </a:lnTo>
                  <a:lnTo>
                    <a:pt x="602002" y="182208"/>
                  </a:lnTo>
                  <a:lnTo>
                    <a:pt x="604227" y="181529"/>
                  </a:lnTo>
                  <a:lnTo>
                    <a:pt x="605649" y="180549"/>
                  </a:lnTo>
                  <a:lnTo>
                    <a:pt x="608626" y="179896"/>
                  </a:lnTo>
                  <a:lnTo>
                    <a:pt x="611066" y="180880"/>
                  </a:lnTo>
                  <a:lnTo>
                    <a:pt x="615718" y="182294"/>
                  </a:lnTo>
                  <a:lnTo>
                    <a:pt x="619120" y="180794"/>
                  </a:lnTo>
                  <a:lnTo>
                    <a:pt x="626009" y="177357"/>
                  </a:lnTo>
                  <a:lnTo>
                    <a:pt x="623855" y="183442"/>
                  </a:lnTo>
                  <a:lnTo>
                    <a:pt x="622295" y="189021"/>
                  </a:lnTo>
                  <a:lnTo>
                    <a:pt x="621107" y="191272"/>
                  </a:lnTo>
                  <a:lnTo>
                    <a:pt x="619932" y="197352"/>
                  </a:lnTo>
                  <a:lnTo>
                    <a:pt x="618766" y="198975"/>
                  </a:lnTo>
                  <a:lnTo>
                    <a:pt x="617823" y="200829"/>
                  </a:lnTo>
                  <a:lnTo>
                    <a:pt x="619361" y="200182"/>
                  </a:lnTo>
                  <a:lnTo>
                    <a:pt x="620677" y="199305"/>
                  </a:lnTo>
                  <a:lnTo>
                    <a:pt x="622362" y="196963"/>
                  </a:lnTo>
                  <a:lnTo>
                    <a:pt x="623625" y="192898"/>
                  </a:lnTo>
                  <a:lnTo>
                    <a:pt x="628611" y="182044"/>
                  </a:lnTo>
                  <a:lnTo>
                    <a:pt x="630038" y="181081"/>
                  </a:lnTo>
                  <a:lnTo>
                    <a:pt x="634183" y="179845"/>
                  </a:lnTo>
                  <a:lnTo>
                    <a:pt x="641316" y="171169"/>
                  </a:lnTo>
                  <a:lnTo>
                    <a:pt x="644105" y="171196"/>
                  </a:lnTo>
                  <a:lnTo>
                    <a:pt x="645890" y="173193"/>
                  </a:lnTo>
                  <a:lnTo>
                    <a:pt x="647580" y="174370"/>
                  </a:lnTo>
                  <a:lnTo>
                    <a:pt x="648014" y="171998"/>
                  </a:lnTo>
                  <a:lnTo>
                    <a:pt x="650449" y="171028"/>
                  </a:lnTo>
                  <a:lnTo>
                    <a:pt x="647872" y="169853"/>
                  </a:lnTo>
                  <a:lnTo>
                    <a:pt x="647451" y="168788"/>
                  </a:lnTo>
                  <a:lnTo>
                    <a:pt x="647205" y="167013"/>
                  </a:lnTo>
                  <a:lnTo>
                    <a:pt x="648959" y="164613"/>
                  </a:lnTo>
                  <a:lnTo>
                    <a:pt x="647914" y="162490"/>
                  </a:lnTo>
                  <a:lnTo>
                    <a:pt x="651547" y="159810"/>
                  </a:lnTo>
                  <a:lnTo>
                    <a:pt x="651266" y="157800"/>
                  </a:lnTo>
                  <a:lnTo>
                    <a:pt x="652563" y="156141"/>
                  </a:lnTo>
                  <a:lnTo>
                    <a:pt x="654203" y="154437"/>
                  </a:lnTo>
                  <a:lnTo>
                    <a:pt x="656061" y="153607"/>
                  </a:lnTo>
                  <a:lnTo>
                    <a:pt x="656401" y="152143"/>
                  </a:lnTo>
                  <a:lnTo>
                    <a:pt x="657573" y="151539"/>
                  </a:lnTo>
                  <a:lnTo>
                    <a:pt x="658493" y="151321"/>
                  </a:lnTo>
                  <a:lnTo>
                    <a:pt x="660309" y="152959"/>
                  </a:lnTo>
                  <a:lnTo>
                    <a:pt x="662276" y="151024"/>
                  </a:lnTo>
                  <a:lnTo>
                    <a:pt x="664196" y="150266"/>
                  </a:lnTo>
                  <a:lnTo>
                    <a:pt x="665056" y="150603"/>
                  </a:lnTo>
                  <a:lnTo>
                    <a:pt x="666127" y="151458"/>
                  </a:lnTo>
                  <a:lnTo>
                    <a:pt x="667252" y="151821"/>
                  </a:lnTo>
                  <a:lnTo>
                    <a:pt x="668166" y="151669"/>
                  </a:lnTo>
                  <a:lnTo>
                    <a:pt x="670543" y="150430"/>
                  </a:lnTo>
                  <a:lnTo>
                    <a:pt x="672739" y="152423"/>
                  </a:lnTo>
                  <a:lnTo>
                    <a:pt x="674059" y="152865"/>
                  </a:lnTo>
                  <a:lnTo>
                    <a:pt x="673698" y="151748"/>
                  </a:lnTo>
                  <a:lnTo>
                    <a:pt x="673002" y="150710"/>
                  </a:lnTo>
                  <a:lnTo>
                    <a:pt x="673542" y="149865"/>
                  </a:lnTo>
                  <a:lnTo>
                    <a:pt x="674581" y="149333"/>
                  </a:lnTo>
                  <a:lnTo>
                    <a:pt x="677865" y="149809"/>
                  </a:lnTo>
                  <a:lnTo>
                    <a:pt x="679590" y="150697"/>
                  </a:lnTo>
                  <a:lnTo>
                    <a:pt x="681458" y="152344"/>
                  </a:lnTo>
                  <a:lnTo>
                    <a:pt x="684052" y="152466"/>
                  </a:lnTo>
                  <a:lnTo>
                    <a:pt x="686087" y="152293"/>
                  </a:lnTo>
                  <a:lnTo>
                    <a:pt x="687371" y="153219"/>
                  </a:lnTo>
                  <a:lnTo>
                    <a:pt x="689462" y="153213"/>
                  </a:lnTo>
                  <a:lnTo>
                    <a:pt x="690509" y="154655"/>
                  </a:lnTo>
                  <a:lnTo>
                    <a:pt x="693691" y="156680"/>
                  </a:lnTo>
                  <a:lnTo>
                    <a:pt x="694380" y="158055"/>
                  </a:lnTo>
                  <a:lnTo>
                    <a:pt x="696940" y="158721"/>
                  </a:lnTo>
                  <a:lnTo>
                    <a:pt x="699338" y="159563"/>
                  </a:lnTo>
                  <a:lnTo>
                    <a:pt x="701896" y="159793"/>
                  </a:lnTo>
                  <a:lnTo>
                    <a:pt x="704475" y="159593"/>
                  </a:lnTo>
                  <a:lnTo>
                    <a:pt x="704580" y="161331"/>
                  </a:lnTo>
                  <a:lnTo>
                    <a:pt x="706472" y="161801"/>
                  </a:lnTo>
                  <a:lnTo>
                    <a:pt x="708900" y="161414"/>
                  </a:lnTo>
                  <a:lnTo>
                    <a:pt x="710735" y="163552"/>
                  </a:lnTo>
                  <a:lnTo>
                    <a:pt x="715640" y="165160"/>
                  </a:lnTo>
                  <a:lnTo>
                    <a:pt x="719039" y="167622"/>
                  </a:lnTo>
                  <a:lnTo>
                    <a:pt x="721266" y="167186"/>
                  </a:lnTo>
                  <a:lnTo>
                    <a:pt x="723760" y="167835"/>
                  </a:lnTo>
                  <a:lnTo>
                    <a:pt x="726437" y="173189"/>
                  </a:lnTo>
                  <a:lnTo>
                    <a:pt x="727042" y="176992"/>
                  </a:lnTo>
                  <a:lnTo>
                    <a:pt x="728235" y="176466"/>
                  </a:lnTo>
                  <a:lnTo>
                    <a:pt x="729338" y="174765"/>
                  </a:lnTo>
                  <a:lnTo>
                    <a:pt x="730771" y="171658"/>
                  </a:lnTo>
                  <a:lnTo>
                    <a:pt x="733451" y="170629"/>
                  </a:lnTo>
                  <a:lnTo>
                    <a:pt x="734734" y="171822"/>
                  </a:lnTo>
                  <a:lnTo>
                    <a:pt x="737422" y="173734"/>
                  </a:lnTo>
                  <a:lnTo>
                    <a:pt x="739740" y="175835"/>
                  </a:lnTo>
                  <a:lnTo>
                    <a:pt x="740717" y="177182"/>
                  </a:lnTo>
                  <a:lnTo>
                    <a:pt x="742459" y="177402"/>
                  </a:lnTo>
                  <a:lnTo>
                    <a:pt x="741004" y="179059"/>
                  </a:lnTo>
                  <a:lnTo>
                    <a:pt x="742464" y="178894"/>
                  </a:lnTo>
                  <a:lnTo>
                    <a:pt x="744230" y="177714"/>
                  </a:lnTo>
                  <a:lnTo>
                    <a:pt x="745742" y="180150"/>
                  </a:lnTo>
                  <a:lnTo>
                    <a:pt x="746881" y="182800"/>
                  </a:lnTo>
                  <a:lnTo>
                    <a:pt x="747108" y="185500"/>
                  </a:lnTo>
                  <a:lnTo>
                    <a:pt x="746037" y="187051"/>
                  </a:lnTo>
                  <a:lnTo>
                    <a:pt x="745093" y="188022"/>
                  </a:lnTo>
                  <a:lnTo>
                    <a:pt x="744044" y="189935"/>
                  </a:lnTo>
                  <a:lnTo>
                    <a:pt x="742805" y="190279"/>
                  </a:lnTo>
                  <a:lnTo>
                    <a:pt x="741567" y="190898"/>
                  </a:lnTo>
                  <a:lnTo>
                    <a:pt x="742978" y="192290"/>
                  </a:lnTo>
                  <a:lnTo>
                    <a:pt x="743948" y="193631"/>
                  </a:lnTo>
                  <a:lnTo>
                    <a:pt x="746063" y="190008"/>
                  </a:lnTo>
                  <a:lnTo>
                    <a:pt x="747550" y="188991"/>
                  </a:lnTo>
                  <a:lnTo>
                    <a:pt x="749703" y="188426"/>
                  </a:lnTo>
                  <a:lnTo>
                    <a:pt x="750822" y="191002"/>
                  </a:lnTo>
                  <a:lnTo>
                    <a:pt x="751063" y="193436"/>
                  </a:lnTo>
                  <a:lnTo>
                    <a:pt x="747556" y="194448"/>
                  </a:lnTo>
                  <a:lnTo>
                    <a:pt x="747542" y="196371"/>
                  </a:lnTo>
                  <a:lnTo>
                    <a:pt x="746494" y="197462"/>
                  </a:lnTo>
                  <a:lnTo>
                    <a:pt x="745809" y="198711"/>
                  </a:lnTo>
                  <a:lnTo>
                    <a:pt x="745257" y="201334"/>
                  </a:lnTo>
                  <a:lnTo>
                    <a:pt x="744542" y="203507"/>
                  </a:lnTo>
                  <a:lnTo>
                    <a:pt x="742453" y="213145"/>
                  </a:lnTo>
                  <a:lnTo>
                    <a:pt x="742411" y="214731"/>
                  </a:lnTo>
                  <a:lnTo>
                    <a:pt x="744956" y="213034"/>
                  </a:lnTo>
                  <a:lnTo>
                    <a:pt x="749650" y="208124"/>
                  </a:lnTo>
                  <a:lnTo>
                    <a:pt x="751080" y="202895"/>
                  </a:lnTo>
                  <a:lnTo>
                    <a:pt x="752931" y="197739"/>
                  </a:lnTo>
                  <a:lnTo>
                    <a:pt x="754948" y="196118"/>
                  </a:lnTo>
                  <a:lnTo>
                    <a:pt x="756196" y="196117"/>
                  </a:lnTo>
                  <a:lnTo>
                    <a:pt x="758068" y="196681"/>
                  </a:lnTo>
                  <a:lnTo>
                    <a:pt x="758175" y="198371"/>
                  </a:lnTo>
                  <a:lnTo>
                    <a:pt x="757888" y="199347"/>
                  </a:lnTo>
                  <a:lnTo>
                    <a:pt x="755886" y="201911"/>
                  </a:lnTo>
                  <a:lnTo>
                    <a:pt x="755034" y="203317"/>
                  </a:lnTo>
                  <a:lnTo>
                    <a:pt x="755859" y="204702"/>
                  </a:lnTo>
                  <a:lnTo>
                    <a:pt x="760408" y="200455"/>
                  </a:lnTo>
                  <a:lnTo>
                    <a:pt x="762446" y="198965"/>
                  </a:lnTo>
                  <a:lnTo>
                    <a:pt x="764181" y="199268"/>
                  </a:lnTo>
                  <a:lnTo>
                    <a:pt x="767626" y="197308"/>
                  </a:lnTo>
                  <a:lnTo>
                    <a:pt x="774560" y="196899"/>
                  </a:lnTo>
                  <a:lnTo>
                    <a:pt x="775081" y="194657"/>
                  </a:lnTo>
                  <a:lnTo>
                    <a:pt x="776464" y="193703"/>
                  </a:lnTo>
                  <a:lnTo>
                    <a:pt x="780276" y="193955"/>
                  </a:lnTo>
                  <a:lnTo>
                    <a:pt x="787706" y="195960"/>
                  </a:lnTo>
                  <a:lnTo>
                    <a:pt x="790354" y="197597"/>
                  </a:lnTo>
                  <a:lnTo>
                    <a:pt x="794319" y="199121"/>
                  </a:lnTo>
                  <a:lnTo>
                    <a:pt x="796407" y="200933"/>
                  </a:lnTo>
                  <a:lnTo>
                    <a:pt x="805128" y="204256"/>
                  </a:lnTo>
                  <a:lnTo>
                    <a:pt x="811460" y="204613"/>
                  </a:lnTo>
                  <a:lnTo>
                    <a:pt x="814598" y="203104"/>
                  </a:lnTo>
                  <a:lnTo>
                    <a:pt x="818509" y="204685"/>
                  </a:lnTo>
                  <a:lnTo>
                    <a:pt x="820582" y="206453"/>
                  </a:lnTo>
                  <a:lnTo>
                    <a:pt x="824644" y="207415"/>
                  </a:lnTo>
                  <a:lnTo>
                    <a:pt x="828745" y="207916"/>
                  </a:lnTo>
                  <a:lnTo>
                    <a:pt x="831881" y="206645"/>
                  </a:lnTo>
                  <a:lnTo>
                    <a:pt x="839969" y="206226"/>
                  </a:lnTo>
                  <a:lnTo>
                    <a:pt x="850137" y="204348"/>
                  </a:lnTo>
                  <a:lnTo>
                    <a:pt x="856202" y="204794"/>
                  </a:lnTo>
                  <a:lnTo>
                    <a:pt x="863065" y="206021"/>
                  </a:lnTo>
                  <a:lnTo>
                    <a:pt x="867956" y="209175"/>
                  </a:lnTo>
                  <a:lnTo>
                    <a:pt x="872074" y="210962"/>
                  </a:lnTo>
                  <a:lnTo>
                    <a:pt x="874564" y="212721"/>
                  </a:lnTo>
                  <a:lnTo>
                    <a:pt x="878584" y="214543"/>
                  </a:lnTo>
                  <a:lnTo>
                    <a:pt x="887162" y="219440"/>
                  </a:lnTo>
                  <a:lnTo>
                    <a:pt x="890163" y="222270"/>
                  </a:lnTo>
                  <a:lnTo>
                    <a:pt x="895483" y="226129"/>
                  </a:lnTo>
                  <a:lnTo>
                    <a:pt x="900818" y="227748"/>
                  </a:lnTo>
                  <a:lnTo>
                    <a:pt x="903706" y="231784"/>
                  </a:lnTo>
                  <a:lnTo>
                    <a:pt x="905989" y="233602"/>
                  </a:lnTo>
                  <a:lnTo>
                    <a:pt x="911645" y="240418"/>
                  </a:lnTo>
                  <a:lnTo>
                    <a:pt x="918064" y="245190"/>
                  </a:lnTo>
                  <a:lnTo>
                    <a:pt x="922358" y="249962"/>
                  </a:lnTo>
                  <a:lnTo>
                    <a:pt x="930595" y="253036"/>
                  </a:lnTo>
                  <a:lnTo>
                    <a:pt x="933811" y="258101"/>
                  </a:lnTo>
                  <a:lnTo>
                    <a:pt x="939384" y="258719"/>
                  </a:lnTo>
                  <a:lnTo>
                    <a:pt x="941760" y="259479"/>
                  </a:lnTo>
                  <a:lnTo>
                    <a:pt x="944645" y="261616"/>
                  </a:lnTo>
                  <a:lnTo>
                    <a:pt x="948617" y="262808"/>
                  </a:lnTo>
                  <a:lnTo>
                    <a:pt x="953790" y="262470"/>
                  </a:lnTo>
                  <a:lnTo>
                    <a:pt x="959494" y="262711"/>
                  </a:lnTo>
                  <a:lnTo>
                    <a:pt x="964106" y="261710"/>
                  </a:lnTo>
                  <a:lnTo>
                    <a:pt x="975020" y="263617"/>
                  </a:lnTo>
                  <a:lnTo>
                    <a:pt x="976738" y="264548"/>
                  </a:lnTo>
                  <a:lnTo>
                    <a:pt x="978997" y="266705"/>
                  </a:lnTo>
                  <a:lnTo>
                    <a:pt x="982982" y="274737"/>
                  </a:lnTo>
                  <a:lnTo>
                    <a:pt x="985358" y="283653"/>
                  </a:lnTo>
                  <a:lnTo>
                    <a:pt x="986531" y="290477"/>
                  </a:lnTo>
                  <a:lnTo>
                    <a:pt x="989251" y="295781"/>
                  </a:lnTo>
                  <a:lnTo>
                    <a:pt x="990737" y="305745"/>
                  </a:lnTo>
                  <a:lnTo>
                    <a:pt x="991998" y="308883"/>
                  </a:lnTo>
                  <a:lnTo>
                    <a:pt x="992097" y="311295"/>
                  </a:lnTo>
                  <a:lnTo>
                    <a:pt x="993164" y="311842"/>
                  </a:lnTo>
                  <a:lnTo>
                    <a:pt x="993885" y="318570"/>
                  </a:lnTo>
                  <a:lnTo>
                    <a:pt x="993602" y="321283"/>
                  </a:lnTo>
                  <a:lnTo>
                    <a:pt x="992558" y="324813"/>
                  </a:lnTo>
                  <a:lnTo>
                    <a:pt x="992480" y="326387"/>
                  </a:lnTo>
                  <a:lnTo>
                    <a:pt x="992634" y="327388"/>
                  </a:lnTo>
                  <a:lnTo>
                    <a:pt x="992172" y="328862"/>
                  </a:lnTo>
                  <a:lnTo>
                    <a:pt x="992030" y="330275"/>
                  </a:lnTo>
                  <a:lnTo>
                    <a:pt x="993087" y="333445"/>
                  </a:lnTo>
                  <a:lnTo>
                    <a:pt x="993144" y="335990"/>
                  </a:lnTo>
                  <a:lnTo>
                    <a:pt x="991728" y="339069"/>
                  </a:lnTo>
                  <a:lnTo>
                    <a:pt x="989798" y="347121"/>
                  </a:lnTo>
                  <a:lnTo>
                    <a:pt x="984952" y="360479"/>
                  </a:lnTo>
                  <a:lnTo>
                    <a:pt x="980309" y="368150"/>
                  </a:lnTo>
                  <a:lnTo>
                    <a:pt x="973813" y="376077"/>
                  </a:lnTo>
                  <a:lnTo>
                    <a:pt x="969580" y="380220"/>
                  </a:lnTo>
                  <a:lnTo>
                    <a:pt x="967903" y="380642"/>
                  </a:lnTo>
                  <a:lnTo>
                    <a:pt x="966364" y="379823"/>
                  </a:lnTo>
                  <a:lnTo>
                    <a:pt x="967455" y="382010"/>
                  </a:lnTo>
                  <a:lnTo>
                    <a:pt x="966500" y="383934"/>
                  </a:lnTo>
                  <a:lnTo>
                    <a:pt x="962201" y="389776"/>
                  </a:lnTo>
                  <a:lnTo>
                    <a:pt x="957927" y="393600"/>
                  </a:lnTo>
                  <a:lnTo>
                    <a:pt x="953495" y="400236"/>
                  </a:lnTo>
                  <a:lnTo>
                    <a:pt x="953158" y="400386"/>
                  </a:lnTo>
                  <a:lnTo>
                    <a:pt x="947476" y="402949"/>
                  </a:lnTo>
                  <a:lnTo>
                    <a:pt x="944114" y="405045"/>
                  </a:lnTo>
                  <a:lnTo>
                    <a:pt x="939817" y="408859"/>
                  </a:lnTo>
                  <a:lnTo>
                    <a:pt x="935871" y="414872"/>
                  </a:lnTo>
                  <a:lnTo>
                    <a:pt x="935057" y="415647"/>
                  </a:lnTo>
                  <a:lnTo>
                    <a:pt x="933604" y="415222"/>
                  </a:lnTo>
                  <a:lnTo>
                    <a:pt x="933644" y="418278"/>
                  </a:lnTo>
                  <a:lnTo>
                    <a:pt x="930248" y="423117"/>
                  </a:lnTo>
                  <a:lnTo>
                    <a:pt x="929212" y="423834"/>
                  </a:lnTo>
                  <a:lnTo>
                    <a:pt x="929241" y="422463"/>
                  </a:lnTo>
                  <a:lnTo>
                    <a:pt x="929830" y="421419"/>
                  </a:lnTo>
                  <a:lnTo>
                    <a:pt x="930105" y="420308"/>
                  </a:lnTo>
                  <a:lnTo>
                    <a:pt x="930080" y="418987"/>
                  </a:lnTo>
                  <a:lnTo>
                    <a:pt x="929131" y="419948"/>
                  </a:lnTo>
                  <a:lnTo>
                    <a:pt x="927121" y="423573"/>
                  </a:lnTo>
                  <a:lnTo>
                    <a:pt x="927797" y="426232"/>
                  </a:lnTo>
                  <a:lnTo>
                    <a:pt x="926339" y="430249"/>
                  </a:lnTo>
                  <a:lnTo>
                    <a:pt x="920776" y="441725"/>
                  </a:lnTo>
                  <a:lnTo>
                    <a:pt x="913966" y="451388"/>
                  </a:lnTo>
                  <a:lnTo>
                    <a:pt x="912395" y="454370"/>
                  </a:lnTo>
                  <a:lnTo>
                    <a:pt x="906804" y="460886"/>
                  </a:lnTo>
                  <a:lnTo>
                    <a:pt x="902696" y="464030"/>
                  </a:lnTo>
                  <a:lnTo>
                    <a:pt x="901541" y="464053"/>
                  </a:lnTo>
                  <a:lnTo>
                    <a:pt x="900232" y="463784"/>
                  </a:lnTo>
                  <a:lnTo>
                    <a:pt x="899573" y="458775"/>
                  </a:lnTo>
                  <a:lnTo>
                    <a:pt x="896299" y="455744"/>
                  </a:lnTo>
                  <a:lnTo>
                    <a:pt x="895362" y="455210"/>
                  </a:lnTo>
                  <a:lnTo>
                    <a:pt x="894021" y="458421"/>
                  </a:lnTo>
                  <a:lnTo>
                    <a:pt x="892903" y="459301"/>
                  </a:lnTo>
                  <a:lnTo>
                    <a:pt x="891286" y="459492"/>
                  </a:lnTo>
                  <a:lnTo>
                    <a:pt x="893014" y="460892"/>
                  </a:lnTo>
                  <a:lnTo>
                    <a:pt x="893518" y="462510"/>
                  </a:lnTo>
                  <a:lnTo>
                    <a:pt x="891757" y="465749"/>
                  </a:lnTo>
                  <a:lnTo>
                    <a:pt x="891702" y="468696"/>
                  </a:lnTo>
                  <a:lnTo>
                    <a:pt x="888561" y="471943"/>
                  </a:lnTo>
                  <a:lnTo>
                    <a:pt x="886742" y="474319"/>
                  </a:lnTo>
                  <a:lnTo>
                    <a:pt x="885818" y="477296"/>
                  </a:lnTo>
                  <a:lnTo>
                    <a:pt x="885261" y="480076"/>
                  </a:lnTo>
                  <a:lnTo>
                    <a:pt x="886642" y="479317"/>
                  </a:lnTo>
                  <a:lnTo>
                    <a:pt x="887296" y="479902"/>
                  </a:lnTo>
                  <a:lnTo>
                    <a:pt x="887815" y="480769"/>
                  </a:lnTo>
                  <a:lnTo>
                    <a:pt x="887496" y="482048"/>
                  </a:lnTo>
                  <a:lnTo>
                    <a:pt x="886483" y="484464"/>
                  </a:lnTo>
                  <a:lnTo>
                    <a:pt x="886642" y="490483"/>
                  </a:lnTo>
                  <a:lnTo>
                    <a:pt x="886306" y="491851"/>
                  </a:lnTo>
                  <a:lnTo>
                    <a:pt x="887311" y="493330"/>
                  </a:lnTo>
                  <a:lnTo>
                    <a:pt x="888375" y="490803"/>
                  </a:lnTo>
                  <a:lnTo>
                    <a:pt x="888989" y="491508"/>
                  </a:lnTo>
                  <a:lnTo>
                    <a:pt x="886015" y="507656"/>
                  </a:lnTo>
                  <a:lnTo>
                    <a:pt x="887187" y="514932"/>
                  </a:lnTo>
                  <a:lnTo>
                    <a:pt x="887623" y="523183"/>
                  </a:lnTo>
                  <a:lnTo>
                    <a:pt x="888966" y="531243"/>
                  </a:lnTo>
                  <a:lnTo>
                    <a:pt x="890436" y="538455"/>
                  </a:lnTo>
                  <a:lnTo>
                    <a:pt x="890553" y="539034"/>
                  </a:lnTo>
                  <a:lnTo>
                    <a:pt x="888521" y="547414"/>
                  </a:lnTo>
                  <a:lnTo>
                    <a:pt x="885924" y="555689"/>
                  </a:lnTo>
                  <a:lnTo>
                    <a:pt x="884356" y="562442"/>
                  </a:lnTo>
                  <a:lnTo>
                    <a:pt x="883369" y="569744"/>
                  </a:lnTo>
                  <a:lnTo>
                    <a:pt x="882381" y="573255"/>
                  </a:lnTo>
                  <a:lnTo>
                    <a:pt x="882068" y="576850"/>
                  </a:lnTo>
                  <a:lnTo>
                    <a:pt x="883200" y="585376"/>
                  </a:lnTo>
                  <a:lnTo>
                    <a:pt x="883621" y="586993"/>
                  </a:lnTo>
                  <a:lnTo>
                    <a:pt x="880468" y="590799"/>
                  </a:lnTo>
                  <a:lnTo>
                    <a:pt x="877064" y="592646"/>
                  </a:lnTo>
                  <a:lnTo>
                    <a:pt x="875184" y="594482"/>
                  </a:lnTo>
                  <a:lnTo>
                    <a:pt x="871024" y="601349"/>
                  </a:lnTo>
                  <a:lnTo>
                    <a:pt x="868768" y="611510"/>
                  </a:lnTo>
                  <a:lnTo>
                    <a:pt x="868714" y="616921"/>
                  </a:lnTo>
                  <a:lnTo>
                    <a:pt x="869781" y="628270"/>
                  </a:lnTo>
                  <a:lnTo>
                    <a:pt x="868980" y="632903"/>
                  </a:lnTo>
                  <a:lnTo>
                    <a:pt x="867664" y="636007"/>
                  </a:lnTo>
                  <a:lnTo>
                    <a:pt x="866107" y="638044"/>
                  </a:lnTo>
                  <a:lnTo>
                    <a:pt x="862136" y="640491"/>
                  </a:lnTo>
                  <a:lnTo>
                    <a:pt x="858577" y="646456"/>
                  </a:lnTo>
                  <a:lnTo>
                    <a:pt x="857030" y="652731"/>
                  </a:lnTo>
                  <a:lnTo>
                    <a:pt x="854592" y="655017"/>
                  </a:lnTo>
                  <a:lnTo>
                    <a:pt x="854093" y="658534"/>
                  </a:lnTo>
                  <a:lnTo>
                    <a:pt x="852131" y="662331"/>
                  </a:lnTo>
                  <a:lnTo>
                    <a:pt x="847043" y="668002"/>
                  </a:lnTo>
                  <a:lnTo>
                    <a:pt x="843735" y="669653"/>
                  </a:lnTo>
                  <a:lnTo>
                    <a:pt x="842157" y="671237"/>
                  </a:lnTo>
                  <a:lnTo>
                    <a:pt x="841156" y="674555"/>
                  </a:lnTo>
                  <a:lnTo>
                    <a:pt x="837967" y="680030"/>
                  </a:lnTo>
                  <a:lnTo>
                    <a:pt x="835615" y="687132"/>
                  </a:lnTo>
                  <a:lnTo>
                    <a:pt x="836227" y="689554"/>
                  </a:lnTo>
                  <a:lnTo>
                    <a:pt x="836266" y="689926"/>
                  </a:lnTo>
                  <a:lnTo>
                    <a:pt x="837122" y="698149"/>
                  </a:lnTo>
                  <a:lnTo>
                    <a:pt x="836806" y="700243"/>
                  </a:lnTo>
                  <a:lnTo>
                    <a:pt x="833707" y="702514"/>
                  </a:lnTo>
                  <a:lnTo>
                    <a:pt x="822033" y="706754"/>
                  </a:lnTo>
                  <a:lnTo>
                    <a:pt x="818924" y="708512"/>
                  </a:lnTo>
                  <a:lnTo>
                    <a:pt x="811953" y="715735"/>
                  </a:lnTo>
                  <a:lnTo>
                    <a:pt x="811519" y="717441"/>
                  </a:lnTo>
                  <a:lnTo>
                    <a:pt x="811809" y="719876"/>
                  </a:lnTo>
                  <a:lnTo>
                    <a:pt x="812956" y="721276"/>
                  </a:lnTo>
                  <a:lnTo>
                    <a:pt x="811775" y="722793"/>
                  </a:lnTo>
                  <a:lnTo>
                    <a:pt x="810382" y="725517"/>
                  </a:lnTo>
                  <a:lnTo>
                    <a:pt x="808352" y="725349"/>
                  </a:lnTo>
                  <a:lnTo>
                    <a:pt x="796724" y="725355"/>
                  </a:lnTo>
                  <a:lnTo>
                    <a:pt x="790429" y="726218"/>
                  </a:lnTo>
                  <a:lnTo>
                    <a:pt x="787158" y="726051"/>
                  </a:lnTo>
                  <a:lnTo>
                    <a:pt x="785690" y="725396"/>
                  </a:lnTo>
                  <a:lnTo>
                    <a:pt x="784043" y="724326"/>
                  </a:lnTo>
                  <a:lnTo>
                    <a:pt x="783548" y="722926"/>
                  </a:lnTo>
                  <a:lnTo>
                    <a:pt x="784441" y="720806"/>
                  </a:lnTo>
                  <a:lnTo>
                    <a:pt x="783914" y="719542"/>
                  </a:lnTo>
                  <a:lnTo>
                    <a:pt x="782188" y="719591"/>
                  </a:lnTo>
                  <a:lnTo>
                    <a:pt x="780295" y="720191"/>
                  </a:lnTo>
                  <a:lnTo>
                    <a:pt x="779966" y="721458"/>
                  </a:lnTo>
                  <a:lnTo>
                    <a:pt x="780101" y="722357"/>
                  </a:lnTo>
                  <a:lnTo>
                    <a:pt x="780805" y="723675"/>
                  </a:lnTo>
                  <a:lnTo>
                    <a:pt x="781192" y="725289"/>
                  </a:lnTo>
                  <a:lnTo>
                    <a:pt x="780416" y="726695"/>
                  </a:lnTo>
                  <a:lnTo>
                    <a:pt x="776732" y="726878"/>
                  </a:lnTo>
                  <a:lnTo>
                    <a:pt x="772591" y="728170"/>
                  </a:lnTo>
                  <a:lnTo>
                    <a:pt x="767425" y="728710"/>
                  </a:lnTo>
                  <a:lnTo>
                    <a:pt x="763310" y="729642"/>
                  </a:lnTo>
                  <a:lnTo>
                    <a:pt x="761408" y="728462"/>
                  </a:lnTo>
                  <a:lnTo>
                    <a:pt x="763310" y="727872"/>
                  </a:lnTo>
                  <a:lnTo>
                    <a:pt x="766033" y="728160"/>
                  </a:lnTo>
                  <a:lnTo>
                    <a:pt x="768961" y="727184"/>
                  </a:lnTo>
                  <a:lnTo>
                    <a:pt x="768277" y="726030"/>
                  </a:lnTo>
                  <a:lnTo>
                    <a:pt x="764137" y="724541"/>
                  </a:lnTo>
                  <a:lnTo>
                    <a:pt x="759541" y="725453"/>
                  </a:lnTo>
                  <a:lnTo>
                    <a:pt x="756992" y="727225"/>
                  </a:lnTo>
                  <a:lnTo>
                    <a:pt x="751416" y="727063"/>
                  </a:lnTo>
                  <a:lnTo>
                    <a:pt x="744586" y="728413"/>
                  </a:lnTo>
                  <a:lnTo>
                    <a:pt x="743472" y="729789"/>
                  </a:lnTo>
                  <a:lnTo>
                    <a:pt x="743658" y="732455"/>
                  </a:lnTo>
                  <a:lnTo>
                    <a:pt x="744995" y="733040"/>
                  </a:lnTo>
                  <a:lnTo>
                    <a:pt x="746299" y="734258"/>
                  </a:lnTo>
                  <a:lnTo>
                    <a:pt x="745047" y="735392"/>
                  </a:lnTo>
                  <a:lnTo>
                    <a:pt x="743827" y="735893"/>
                  </a:lnTo>
                  <a:lnTo>
                    <a:pt x="736614" y="737133"/>
                  </a:lnTo>
                  <a:lnTo>
                    <a:pt x="729925" y="742332"/>
                  </a:lnTo>
                  <a:lnTo>
                    <a:pt x="727137" y="742979"/>
                  </a:lnTo>
                  <a:lnTo>
                    <a:pt x="724655" y="745274"/>
                  </a:lnTo>
                  <a:lnTo>
                    <a:pt x="724399" y="747235"/>
                  </a:lnTo>
                  <a:lnTo>
                    <a:pt x="723615" y="748416"/>
                  </a:lnTo>
                  <a:lnTo>
                    <a:pt x="722023" y="748477"/>
                  </a:lnTo>
                  <a:lnTo>
                    <a:pt x="718535" y="747406"/>
                  </a:lnTo>
                  <a:lnTo>
                    <a:pt x="714009" y="747374"/>
                  </a:lnTo>
                  <a:lnTo>
                    <a:pt x="710740" y="748228"/>
                  </a:lnTo>
                  <a:lnTo>
                    <a:pt x="694037" y="756680"/>
                  </a:lnTo>
                  <a:lnTo>
                    <a:pt x="688040" y="760065"/>
                  </a:lnTo>
                  <a:lnTo>
                    <a:pt x="681196" y="766974"/>
                  </a:lnTo>
                  <a:lnTo>
                    <a:pt x="669660" y="774728"/>
                  </a:lnTo>
                  <a:lnTo>
                    <a:pt x="663600" y="779362"/>
                  </a:lnTo>
                  <a:lnTo>
                    <a:pt x="662449" y="780564"/>
                  </a:lnTo>
                  <a:lnTo>
                    <a:pt x="661492" y="780630"/>
                  </a:lnTo>
                  <a:lnTo>
                    <a:pt x="659593" y="781597"/>
                  </a:lnTo>
                  <a:lnTo>
                    <a:pt x="660349" y="782398"/>
                  </a:lnTo>
                  <a:lnTo>
                    <a:pt x="661643" y="782472"/>
                  </a:lnTo>
                  <a:lnTo>
                    <a:pt x="661109" y="785175"/>
                  </a:lnTo>
                  <a:lnTo>
                    <a:pt x="658701" y="787024"/>
                  </a:lnTo>
                  <a:lnTo>
                    <a:pt x="654179" y="791883"/>
                  </a:lnTo>
                  <a:lnTo>
                    <a:pt x="653172" y="791526"/>
                  </a:lnTo>
                  <a:lnTo>
                    <a:pt x="654604" y="789000"/>
                  </a:lnTo>
                  <a:lnTo>
                    <a:pt x="652384" y="788905"/>
                  </a:lnTo>
                  <a:lnTo>
                    <a:pt x="649113" y="787978"/>
                  </a:lnTo>
                  <a:lnTo>
                    <a:pt x="647693" y="789024"/>
                  </a:lnTo>
                  <a:lnTo>
                    <a:pt x="648476" y="791526"/>
                  </a:lnTo>
                  <a:lnTo>
                    <a:pt x="647245" y="792598"/>
                  </a:lnTo>
                  <a:lnTo>
                    <a:pt x="645014" y="792720"/>
                  </a:lnTo>
                  <a:lnTo>
                    <a:pt x="642990" y="792424"/>
                  </a:lnTo>
                  <a:lnTo>
                    <a:pt x="640764" y="790592"/>
                  </a:lnTo>
                  <a:lnTo>
                    <a:pt x="641768" y="793911"/>
                  </a:lnTo>
                  <a:lnTo>
                    <a:pt x="646462" y="794718"/>
                  </a:lnTo>
                  <a:lnTo>
                    <a:pt x="648419" y="795500"/>
                  </a:lnTo>
                  <a:lnTo>
                    <a:pt x="649147" y="796776"/>
                  </a:lnTo>
                  <a:lnTo>
                    <a:pt x="645496" y="802695"/>
                  </a:lnTo>
                  <a:lnTo>
                    <a:pt x="642437" y="803465"/>
                  </a:lnTo>
                  <a:lnTo>
                    <a:pt x="642102" y="804301"/>
                  </a:lnTo>
                  <a:lnTo>
                    <a:pt x="643779" y="804296"/>
                  </a:lnTo>
                  <a:lnTo>
                    <a:pt x="644705" y="805935"/>
                  </a:lnTo>
                  <a:lnTo>
                    <a:pt x="643613" y="812554"/>
                  </a:lnTo>
                  <a:lnTo>
                    <a:pt x="642102" y="813814"/>
                  </a:lnTo>
                  <a:lnTo>
                    <a:pt x="641221" y="813845"/>
                  </a:lnTo>
                  <a:lnTo>
                    <a:pt x="640346" y="814978"/>
                  </a:lnTo>
                  <a:lnTo>
                    <a:pt x="641552" y="817143"/>
                  </a:lnTo>
                  <a:lnTo>
                    <a:pt x="642796" y="818722"/>
                  </a:lnTo>
                  <a:lnTo>
                    <a:pt x="642630" y="821786"/>
                  </a:lnTo>
                  <a:lnTo>
                    <a:pt x="642166" y="824324"/>
                  </a:lnTo>
                  <a:lnTo>
                    <a:pt x="642135" y="826788"/>
                  </a:lnTo>
                  <a:lnTo>
                    <a:pt x="643708" y="831560"/>
                  </a:lnTo>
                  <a:lnTo>
                    <a:pt x="644272" y="836465"/>
                  </a:lnTo>
                  <a:lnTo>
                    <a:pt x="644907" y="838250"/>
                  </a:lnTo>
                  <a:lnTo>
                    <a:pt x="645267" y="840231"/>
                  </a:lnTo>
                  <a:lnTo>
                    <a:pt x="644219" y="842084"/>
                  </a:lnTo>
                  <a:lnTo>
                    <a:pt x="644816" y="845059"/>
                  </a:lnTo>
                  <a:lnTo>
                    <a:pt x="643026" y="850121"/>
                  </a:lnTo>
                  <a:lnTo>
                    <a:pt x="643961" y="857440"/>
                  </a:lnTo>
                  <a:lnTo>
                    <a:pt x="643577" y="864304"/>
                  </a:lnTo>
                  <a:lnTo>
                    <a:pt x="642876" y="867917"/>
                  </a:lnTo>
                  <a:lnTo>
                    <a:pt x="641741" y="870745"/>
                  </a:lnTo>
                  <a:lnTo>
                    <a:pt x="639103" y="874387"/>
                  </a:lnTo>
                  <a:lnTo>
                    <a:pt x="639043" y="878035"/>
                  </a:lnTo>
                  <a:lnTo>
                    <a:pt x="633364" y="881430"/>
                  </a:lnTo>
                  <a:lnTo>
                    <a:pt x="627084" y="886184"/>
                  </a:lnTo>
                  <a:lnTo>
                    <a:pt x="621287" y="891817"/>
                  </a:lnTo>
                  <a:lnTo>
                    <a:pt x="615047" y="899767"/>
                  </a:lnTo>
                  <a:lnTo>
                    <a:pt x="607760" y="911887"/>
                  </a:lnTo>
                  <a:lnTo>
                    <a:pt x="601012" y="929241"/>
                  </a:lnTo>
                  <a:lnTo>
                    <a:pt x="592886" y="942393"/>
                  </a:lnTo>
                  <a:lnTo>
                    <a:pt x="589635" y="947153"/>
                  </a:lnTo>
                  <a:lnTo>
                    <a:pt x="585243" y="952475"/>
                  </a:lnTo>
                  <a:lnTo>
                    <a:pt x="579402" y="958690"/>
                  </a:lnTo>
                  <a:lnTo>
                    <a:pt x="571576" y="964917"/>
                  </a:lnTo>
                  <a:lnTo>
                    <a:pt x="563012" y="970473"/>
                  </a:lnTo>
                  <a:lnTo>
                    <a:pt x="559917" y="972981"/>
                  </a:lnTo>
                  <a:lnTo>
                    <a:pt x="556899" y="976506"/>
                  </a:lnTo>
                  <a:lnTo>
                    <a:pt x="556145" y="975049"/>
                  </a:lnTo>
                  <a:lnTo>
                    <a:pt x="556799" y="972644"/>
                  </a:lnTo>
                  <a:lnTo>
                    <a:pt x="556383" y="970843"/>
                  </a:lnTo>
                  <a:lnTo>
                    <a:pt x="556290" y="968509"/>
                  </a:lnTo>
                  <a:lnTo>
                    <a:pt x="558017" y="968077"/>
                  </a:lnTo>
                  <a:lnTo>
                    <a:pt x="560603" y="969559"/>
                  </a:lnTo>
                  <a:lnTo>
                    <a:pt x="561919" y="968556"/>
                  </a:lnTo>
                  <a:lnTo>
                    <a:pt x="562878" y="967562"/>
                  </a:lnTo>
                  <a:lnTo>
                    <a:pt x="565991" y="966943"/>
                  </a:lnTo>
                  <a:lnTo>
                    <a:pt x="571936" y="960847"/>
                  </a:lnTo>
                  <a:lnTo>
                    <a:pt x="576348" y="958594"/>
                  </a:lnTo>
                  <a:lnTo>
                    <a:pt x="578830" y="954751"/>
                  </a:lnTo>
                  <a:lnTo>
                    <a:pt x="579255" y="952710"/>
                  </a:lnTo>
                  <a:lnTo>
                    <a:pt x="579157" y="948573"/>
                  </a:lnTo>
                  <a:lnTo>
                    <a:pt x="580563" y="947524"/>
                  </a:lnTo>
                  <a:lnTo>
                    <a:pt x="583755" y="947885"/>
                  </a:lnTo>
                  <a:lnTo>
                    <a:pt x="584406" y="946708"/>
                  </a:lnTo>
                  <a:lnTo>
                    <a:pt x="584129" y="945404"/>
                  </a:lnTo>
                  <a:lnTo>
                    <a:pt x="584750" y="942563"/>
                  </a:lnTo>
                  <a:lnTo>
                    <a:pt x="589077" y="940041"/>
                  </a:lnTo>
                  <a:lnTo>
                    <a:pt x="591127" y="936997"/>
                  </a:lnTo>
                  <a:lnTo>
                    <a:pt x="590443" y="929247"/>
                  </a:lnTo>
                  <a:lnTo>
                    <a:pt x="591236" y="928899"/>
                  </a:lnTo>
                  <a:lnTo>
                    <a:pt x="593016" y="930106"/>
                  </a:lnTo>
                  <a:lnTo>
                    <a:pt x="593851" y="929605"/>
                  </a:lnTo>
                  <a:lnTo>
                    <a:pt x="594748" y="926212"/>
                  </a:lnTo>
                  <a:lnTo>
                    <a:pt x="594317" y="924453"/>
                  </a:lnTo>
                  <a:lnTo>
                    <a:pt x="592221" y="923986"/>
                  </a:lnTo>
                  <a:lnTo>
                    <a:pt x="584977" y="927809"/>
                  </a:lnTo>
                  <a:lnTo>
                    <a:pt x="582618" y="927652"/>
                  </a:lnTo>
                  <a:lnTo>
                    <a:pt x="582226" y="924649"/>
                  </a:lnTo>
                  <a:lnTo>
                    <a:pt x="578704" y="923269"/>
                  </a:lnTo>
                  <a:lnTo>
                    <a:pt x="577327" y="920779"/>
                  </a:lnTo>
                  <a:lnTo>
                    <a:pt x="576914" y="919072"/>
                  </a:lnTo>
                  <a:lnTo>
                    <a:pt x="575692" y="918375"/>
                  </a:lnTo>
                  <a:lnTo>
                    <a:pt x="575769" y="921323"/>
                  </a:lnTo>
                  <a:lnTo>
                    <a:pt x="576105" y="924189"/>
                  </a:lnTo>
                  <a:lnTo>
                    <a:pt x="579262" y="927529"/>
                  </a:lnTo>
                  <a:lnTo>
                    <a:pt x="578494" y="928855"/>
                  </a:lnTo>
                  <a:lnTo>
                    <a:pt x="576997" y="930404"/>
                  </a:lnTo>
                  <a:lnTo>
                    <a:pt x="575955" y="933848"/>
                  </a:lnTo>
                  <a:lnTo>
                    <a:pt x="576072" y="938318"/>
                  </a:lnTo>
                  <a:lnTo>
                    <a:pt x="575227" y="936955"/>
                  </a:lnTo>
                  <a:lnTo>
                    <a:pt x="574144" y="936169"/>
                  </a:lnTo>
                  <a:lnTo>
                    <a:pt x="573704" y="940976"/>
                  </a:lnTo>
                  <a:lnTo>
                    <a:pt x="571608" y="942816"/>
                  </a:lnTo>
                  <a:lnTo>
                    <a:pt x="570945" y="944624"/>
                  </a:lnTo>
                  <a:lnTo>
                    <a:pt x="571493" y="946722"/>
                  </a:lnTo>
                  <a:lnTo>
                    <a:pt x="570412" y="948171"/>
                  </a:lnTo>
                  <a:lnTo>
                    <a:pt x="565072" y="952066"/>
                  </a:lnTo>
                  <a:lnTo>
                    <a:pt x="559750" y="954727"/>
                  </a:lnTo>
                  <a:lnTo>
                    <a:pt x="558591" y="955985"/>
                  </a:lnTo>
                  <a:lnTo>
                    <a:pt x="558024" y="958959"/>
                  </a:lnTo>
                  <a:lnTo>
                    <a:pt x="557210" y="962016"/>
                  </a:lnTo>
                  <a:lnTo>
                    <a:pt x="554855" y="964706"/>
                  </a:lnTo>
                  <a:lnTo>
                    <a:pt x="552985" y="970058"/>
                  </a:lnTo>
                  <a:lnTo>
                    <a:pt x="553037" y="972364"/>
                  </a:lnTo>
                  <a:lnTo>
                    <a:pt x="553657" y="975764"/>
                  </a:lnTo>
                  <a:lnTo>
                    <a:pt x="554663" y="977995"/>
                  </a:lnTo>
                  <a:lnTo>
                    <a:pt x="553071" y="979488"/>
                  </a:lnTo>
                  <a:lnTo>
                    <a:pt x="550930" y="982387"/>
                  </a:lnTo>
                  <a:lnTo>
                    <a:pt x="549230" y="985658"/>
                  </a:lnTo>
                  <a:lnTo>
                    <a:pt x="544999" y="997959"/>
                  </a:lnTo>
                  <a:lnTo>
                    <a:pt x="541355" y="1005389"/>
                  </a:lnTo>
                  <a:lnTo>
                    <a:pt x="538549" y="1009036"/>
                  </a:lnTo>
                  <a:lnTo>
                    <a:pt x="534544" y="1012882"/>
                  </a:lnTo>
                  <a:lnTo>
                    <a:pt x="523139" y="1022551"/>
                  </a:lnTo>
                  <a:lnTo>
                    <a:pt x="522456" y="1022413"/>
                  </a:lnTo>
                  <a:lnTo>
                    <a:pt x="520783" y="1021633"/>
                  </a:lnTo>
                  <a:lnTo>
                    <a:pt x="519381" y="1020704"/>
                  </a:lnTo>
                  <a:lnTo>
                    <a:pt x="519064" y="1020084"/>
                  </a:lnTo>
                  <a:lnTo>
                    <a:pt x="518905" y="1019158"/>
                  </a:lnTo>
                  <a:lnTo>
                    <a:pt x="519089" y="1015674"/>
                  </a:lnTo>
                  <a:lnTo>
                    <a:pt x="519064" y="1006327"/>
                  </a:lnTo>
                  <a:lnTo>
                    <a:pt x="519558" y="1004565"/>
                  </a:lnTo>
                  <a:lnTo>
                    <a:pt x="520293" y="1003428"/>
                  </a:lnTo>
                  <a:lnTo>
                    <a:pt x="522516" y="1001779"/>
                  </a:lnTo>
                  <a:lnTo>
                    <a:pt x="524674" y="999422"/>
                  </a:lnTo>
                  <a:lnTo>
                    <a:pt x="527109" y="996425"/>
                  </a:lnTo>
                  <a:lnTo>
                    <a:pt x="529352" y="994040"/>
                  </a:lnTo>
                  <a:lnTo>
                    <a:pt x="528549" y="992441"/>
                  </a:lnTo>
                  <a:lnTo>
                    <a:pt x="526674" y="990896"/>
                  </a:lnTo>
                  <a:lnTo>
                    <a:pt x="523339" y="989647"/>
                  </a:lnTo>
                  <a:lnTo>
                    <a:pt x="520127" y="987448"/>
                  </a:lnTo>
                  <a:lnTo>
                    <a:pt x="517280" y="984622"/>
                  </a:lnTo>
                  <a:lnTo>
                    <a:pt x="515963" y="981682"/>
                  </a:lnTo>
                  <a:lnTo>
                    <a:pt x="514759" y="978517"/>
                  </a:lnTo>
                  <a:lnTo>
                    <a:pt x="513606" y="976016"/>
                  </a:lnTo>
                  <a:lnTo>
                    <a:pt x="513223" y="974873"/>
                  </a:lnTo>
                  <a:lnTo>
                    <a:pt x="512098" y="974398"/>
                  </a:lnTo>
                  <a:lnTo>
                    <a:pt x="510311" y="973122"/>
                  </a:lnTo>
                  <a:lnTo>
                    <a:pt x="509194" y="971935"/>
                  </a:lnTo>
                  <a:lnTo>
                    <a:pt x="507557" y="971255"/>
                  </a:lnTo>
                  <a:lnTo>
                    <a:pt x="504634" y="970508"/>
                  </a:lnTo>
                  <a:lnTo>
                    <a:pt x="501588" y="969205"/>
                  </a:lnTo>
                  <a:lnTo>
                    <a:pt x="497800" y="966112"/>
                  </a:lnTo>
                  <a:lnTo>
                    <a:pt x="495068" y="962681"/>
                  </a:lnTo>
                  <a:lnTo>
                    <a:pt x="493719" y="960417"/>
                  </a:lnTo>
                  <a:lnTo>
                    <a:pt x="492280" y="958824"/>
                  </a:lnTo>
                  <a:lnTo>
                    <a:pt x="484462" y="956193"/>
                  </a:lnTo>
                  <a:lnTo>
                    <a:pt x="480910" y="953052"/>
                  </a:lnTo>
                  <a:lnTo>
                    <a:pt x="479513" y="954030"/>
                  </a:lnTo>
                  <a:lnTo>
                    <a:pt x="477424" y="953068"/>
                  </a:lnTo>
                  <a:lnTo>
                    <a:pt x="475367" y="951558"/>
                  </a:lnTo>
                  <a:lnTo>
                    <a:pt x="474750" y="950398"/>
                  </a:lnTo>
                  <a:lnTo>
                    <a:pt x="473881" y="949212"/>
                  </a:lnTo>
                  <a:lnTo>
                    <a:pt x="473063" y="947849"/>
                  </a:lnTo>
                  <a:lnTo>
                    <a:pt x="472542" y="946542"/>
                  </a:lnTo>
                  <a:lnTo>
                    <a:pt x="470425" y="944259"/>
                  </a:lnTo>
                  <a:lnTo>
                    <a:pt x="467692" y="941789"/>
                  </a:lnTo>
                  <a:lnTo>
                    <a:pt x="466534" y="941086"/>
                  </a:lnTo>
                  <a:lnTo>
                    <a:pt x="465922" y="941290"/>
                  </a:lnTo>
                  <a:lnTo>
                    <a:pt x="465330" y="942238"/>
                  </a:lnTo>
                  <a:lnTo>
                    <a:pt x="464956" y="943155"/>
                  </a:lnTo>
                  <a:lnTo>
                    <a:pt x="463924" y="943760"/>
                  </a:lnTo>
                  <a:lnTo>
                    <a:pt x="462647" y="944891"/>
                  </a:lnTo>
                  <a:lnTo>
                    <a:pt x="461343" y="946277"/>
                  </a:lnTo>
                  <a:lnTo>
                    <a:pt x="459671" y="947197"/>
                  </a:lnTo>
                  <a:lnTo>
                    <a:pt x="457685" y="947511"/>
                  </a:lnTo>
                  <a:lnTo>
                    <a:pt x="456349" y="947464"/>
                  </a:lnTo>
                  <a:lnTo>
                    <a:pt x="456075" y="946918"/>
                  </a:lnTo>
                  <a:lnTo>
                    <a:pt x="456000" y="945025"/>
                  </a:lnTo>
                  <a:lnTo>
                    <a:pt x="456493" y="940706"/>
                  </a:lnTo>
                  <a:lnTo>
                    <a:pt x="455330" y="939045"/>
                  </a:lnTo>
                  <a:lnTo>
                    <a:pt x="453784" y="937264"/>
                  </a:lnTo>
                  <a:lnTo>
                    <a:pt x="452000" y="934884"/>
                  </a:lnTo>
                  <a:lnTo>
                    <a:pt x="446142" y="929845"/>
                  </a:lnTo>
                  <a:lnTo>
                    <a:pt x="438169" y="922598"/>
                  </a:lnTo>
                  <a:lnTo>
                    <a:pt x="435353" y="920385"/>
                  </a:lnTo>
                  <a:lnTo>
                    <a:pt x="432702" y="920214"/>
                  </a:lnTo>
                  <a:lnTo>
                    <a:pt x="430282" y="920461"/>
                  </a:lnTo>
                  <a:lnTo>
                    <a:pt x="428056" y="921419"/>
                  </a:lnTo>
                  <a:lnTo>
                    <a:pt x="426372" y="924765"/>
                  </a:lnTo>
                  <a:lnTo>
                    <a:pt x="425674" y="925281"/>
                  </a:lnTo>
                  <a:lnTo>
                    <a:pt x="421378" y="925205"/>
                  </a:lnTo>
                  <a:lnTo>
                    <a:pt x="417107" y="924664"/>
                  </a:lnTo>
                  <a:lnTo>
                    <a:pt x="415672" y="922623"/>
                  </a:lnTo>
                  <a:lnTo>
                    <a:pt x="416813" y="921294"/>
                  </a:lnTo>
                  <a:lnTo>
                    <a:pt x="420836" y="918349"/>
                  </a:lnTo>
                  <a:lnTo>
                    <a:pt x="423062" y="915727"/>
                  </a:lnTo>
                  <a:lnTo>
                    <a:pt x="423487" y="913427"/>
                  </a:lnTo>
                  <a:lnTo>
                    <a:pt x="425415" y="911364"/>
                  </a:lnTo>
                  <a:lnTo>
                    <a:pt x="428846" y="909537"/>
                  </a:lnTo>
                  <a:lnTo>
                    <a:pt x="432668" y="906175"/>
                  </a:lnTo>
                  <a:lnTo>
                    <a:pt x="436881" y="901280"/>
                  </a:lnTo>
                  <a:lnTo>
                    <a:pt x="439440" y="897670"/>
                  </a:lnTo>
                  <a:lnTo>
                    <a:pt x="440345" y="895341"/>
                  </a:lnTo>
                  <a:lnTo>
                    <a:pt x="441998" y="893548"/>
                  </a:lnTo>
                  <a:lnTo>
                    <a:pt x="444399" y="892288"/>
                  </a:lnTo>
                  <a:lnTo>
                    <a:pt x="446496" y="889661"/>
                  </a:lnTo>
                  <a:lnTo>
                    <a:pt x="448294" y="885668"/>
                  </a:lnTo>
                  <a:lnTo>
                    <a:pt x="450749" y="882492"/>
                  </a:lnTo>
                  <a:lnTo>
                    <a:pt x="453859" y="880140"/>
                  </a:lnTo>
                  <a:lnTo>
                    <a:pt x="455600" y="878188"/>
                  </a:lnTo>
                  <a:lnTo>
                    <a:pt x="455970" y="876640"/>
                  </a:lnTo>
                  <a:lnTo>
                    <a:pt x="456851" y="875650"/>
                  </a:lnTo>
                  <a:lnTo>
                    <a:pt x="458239" y="875217"/>
                  </a:lnTo>
                  <a:lnTo>
                    <a:pt x="458911" y="874403"/>
                  </a:lnTo>
                  <a:lnTo>
                    <a:pt x="458866" y="873204"/>
                  </a:lnTo>
                  <a:lnTo>
                    <a:pt x="459244" y="872389"/>
                  </a:lnTo>
                  <a:lnTo>
                    <a:pt x="460046" y="871955"/>
                  </a:lnTo>
                  <a:lnTo>
                    <a:pt x="461385" y="872107"/>
                  </a:lnTo>
                  <a:lnTo>
                    <a:pt x="463264" y="872846"/>
                  </a:lnTo>
                  <a:lnTo>
                    <a:pt x="464398" y="872709"/>
                  </a:lnTo>
                  <a:lnTo>
                    <a:pt x="464785" y="871700"/>
                  </a:lnTo>
                  <a:lnTo>
                    <a:pt x="464290" y="870543"/>
                  </a:lnTo>
                  <a:lnTo>
                    <a:pt x="462908" y="869243"/>
                  </a:lnTo>
                  <a:lnTo>
                    <a:pt x="463429" y="867832"/>
                  </a:lnTo>
                  <a:lnTo>
                    <a:pt x="467057" y="865550"/>
                  </a:lnTo>
                  <a:lnTo>
                    <a:pt x="469738" y="864682"/>
                  </a:lnTo>
                  <a:lnTo>
                    <a:pt x="471433" y="863267"/>
                  </a:lnTo>
                  <a:lnTo>
                    <a:pt x="473039" y="861023"/>
                  </a:lnTo>
                  <a:lnTo>
                    <a:pt x="475643" y="859457"/>
                  </a:lnTo>
                  <a:lnTo>
                    <a:pt x="479250" y="858579"/>
                  </a:lnTo>
                  <a:lnTo>
                    <a:pt x="480205" y="857733"/>
                  </a:lnTo>
                  <a:lnTo>
                    <a:pt x="480074" y="856647"/>
                  </a:lnTo>
                  <a:lnTo>
                    <a:pt x="480812" y="855866"/>
                  </a:lnTo>
                  <a:lnTo>
                    <a:pt x="482942" y="855302"/>
                  </a:lnTo>
                  <a:lnTo>
                    <a:pt x="484101" y="854245"/>
                  </a:lnTo>
                  <a:lnTo>
                    <a:pt x="484290" y="852695"/>
                  </a:lnTo>
                  <a:lnTo>
                    <a:pt x="484975" y="851252"/>
                  </a:lnTo>
                  <a:lnTo>
                    <a:pt x="486158" y="849921"/>
                  </a:lnTo>
                  <a:lnTo>
                    <a:pt x="487476" y="849426"/>
                  </a:lnTo>
                  <a:lnTo>
                    <a:pt x="488931" y="849766"/>
                  </a:lnTo>
                  <a:lnTo>
                    <a:pt x="490296" y="849264"/>
                  </a:lnTo>
                  <a:lnTo>
                    <a:pt x="491575" y="847913"/>
                  </a:lnTo>
                  <a:lnTo>
                    <a:pt x="493109" y="847282"/>
                  </a:lnTo>
                  <a:lnTo>
                    <a:pt x="494900" y="847370"/>
                  </a:lnTo>
                  <a:lnTo>
                    <a:pt x="495817" y="847074"/>
                  </a:lnTo>
                  <a:lnTo>
                    <a:pt x="498889" y="846447"/>
                  </a:lnTo>
                  <a:lnTo>
                    <a:pt x="500585" y="845313"/>
                  </a:lnTo>
                  <a:lnTo>
                    <a:pt x="501977" y="842788"/>
                  </a:lnTo>
                  <a:lnTo>
                    <a:pt x="503214" y="841810"/>
                  </a:lnTo>
                  <a:lnTo>
                    <a:pt x="504294" y="842380"/>
                  </a:lnTo>
                  <a:lnTo>
                    <a:pt x="506162" y="841535"/>
                  </a:lnTo>
                  <a:lnTo>
                    <a:pt x="508819" y="839279"/>
                  </a:lnTo>
                  <a:lnTo>
                    <a:pt x="509320" y="839237"/>
                  </a:lnTo>
                  <a:lnTo>
                    <a:pt x="511284" y="838186"/>
                  </a:lnTo>
                  <a:lnTo>
                    <a:pt x="513304" y="834292"/>
                  </a:lnTo>
                  <a:lnTo>
                    <a:pt x="514349" y="831688"/>
                  </a:lnTo>
                  <a:lnTo>
                    <a:pt x="514099" y="829559"/>
                  </a:lnTo>
                  <a:lnTo>
                    <a:pt x="513436" y="828032"/>
                  </a:lnTo>
                  <a:lnTo>
                    <a:pt x="513657" y="825796"/>
                  </a:lnTo>
                  <a:lnTo>
                    <a:pt x="514327" y="819721"/>
                  </a:lnTo>
                  <a:lnTo>
                    <a:pt x="514510" y="817238"/>
                  </a:lnTo>
                  <a:lnTo>
                    <a:pt x="515585" y="815509"/>
                  </a:lnTo>
                  <a:lnTo>
                    <a:pt x="515515" y="813794"/>
                  </a:lnTo>
                  <a:lnTo>
                    <a:pt x="513598" y="809956"/>
                  </a:lnTo>
                  <a:lnTo>
                    <a:pt x="511663" y="806590"/>
                  </a:lnTo>
                  <a:lnTo>
                    <a:pt x="510624" y="800878"/>
                  </a:lnTo>
                  <a:lnTo>
                    <a:pt x="509941" y="798712"/>
                  </a:lnTo>
                  <a:lnTo>
                    <a:pt x="508327" y="798137"/>
                  </a:lnTo>
                  <a:lnTo>
                    <a:pt x="506869" y="796250"/>
                  </a:lnTo>
                  <a:lnTo>
                    <a:pt x="505025" y="796087"/>
                  </a:lnTo>
                  <a:lnTo>
                    <a:pt x="504157" y="795364"/>
                  </a:lnTo>
                  <a:lnTo>
                    <a:pt x="503261" y="794765"/>
                  </a:lnTo>
                  <a:lnTo>
                    <a:pt x="501954" y="794942"/>
                  </a:lnTo>
                  <a:lnTo>
                    <a:pt x="500839" y="796047"/>
                  </a:lnTo>
                  <a:lnTo>
                    <a:pt x="498765" y="796087"/>
                  </a:lnTo>
                  <a:lnTo>
                    <a:pt x="497460" y="796541"/>
                  </a:lnTo>
                  <a:lnTo>
                    <a:pt x="495923" y="797524"/>
                  </a:lnTo>
                  <a:lnTo>
                    <a:pt x="494463" y="797072"/>
                  </a:lnTo>
                  <a:lnTo>
                    <a:pt x="493543" y="796211"/>
                  </a:lnTo>
                  <a:lnTo>
                    <a:pt x="491565" y="796199"/>
                  </a:lnTo>
                  <a:lnTo>
                    <a:pt x="491700" y="792321"/>
                  </a:lnTo>
                  <a:lnTo>
                    <a:pt x="495184" y="786577"/>
                  </a:lnTo>
                  <a:lnTo>
                    <a:pt x="496119" y="783906"/>
                  </a:lnTo>
                  <a:lnTo>
                    <a:pt x="495666" y="782393"/>
                  </a:lnTo>
                  <a:lnTo>
                    <a:pt x="496709" y="777058"/>
                  </a:lnTo>
                  <a:lnTo>
                    <a:pt x="499245" y="767914"/>
                  </a:lnTo>
                  <a:lnTo>
                    <a:pt x="500055" y="761940"/>
                  </a:lnTo>
                  <a:lnTo>
                    <a:pt x="499135" y="759122"/>
                  </a:lnTo>
                  <a:lnTo>
                    <a:pt x="499111" y="757157"/>
                  </a:lnTo>
                  <a:lnTo>
                    <a:pt x="500413" y="755484"/>
                  </a:lnTo>
                  <a:lnTo>
                    <a:pt x="501049" y="754985"/>
                  </a:lnTo>
                  <a:lnTo>
                    <a:pt x="497779" y="752943"/>
                  </a:lnTo>
                  <a:lnTo>
                    <a:pt x="496018" y="751079"/>
                  </a:lnTo>
                  <a:lnTo>
                    <a:pt x="493752" y="749748"/>
                  </a:lnTo>
                  <a:lnTo>
                    <a:pt x="491320" y="748684"/>
                  </a:lnTo>
                  <a:lnTo>
                    <a:pt x="490147" y="749126"/>
                  </a:lnTo>
                  <a:lnTo>
                    <a:pt x="488889" y="749748"/>
                  </a:lnTo>
                  <a:lnTo>
                    <a:pt x="486457" y="750723"/>
                  </a:lnTo>
                  <a:lnTo>
                    <a:pt x="483689" y="752411"/>
                  </a:lnTo>
                  <a:lnTo>
                    <a:pt x="482264" y="753032"/>
                  </a:lnTo>
                  <a:lnTo>
                    <a:pt x="479748" y="753654"/>
                  </a:lnTo>
                  <a:lnTo>
                    <a:pt x="476897" y="754186"/>
                  </a:lnTo>
                  <a:lnTo>
                    <a:pt x="474550" y="753831"/>
                  </a:lnTo>
                  <a:lnTo>
                    <a:pt x="472536" y="753475"/>
                  </a:lnTo>
                  <a:lnTo>
                    <a:pt x="471278" y="752411"/>
                  </a:lnTo>
                  <a:lnTo>
                    <a:pt x="470607" y="750101"/>
                  </a:lnTo>
                  <a:lnTo>
                    <a:pt x="470607" y="748149"/>
                  </a:lnTo>
                  <a:lnTo>
                    <a:pt x="470189" y="745310"/>
                  </a:lnTo>
                  <a:lnTo>
                    <a:pt x="468678" y="743716"/>
                  </a:lnTo>
                  <a:lnTo>
                    <a:pt x="468175" y="742476"/>
                  </a:lnTo>
                  <a:lnTo>
                    <a:pt x="468091" y="740969"/>
                  </a:lnTo>
                  <a:lnTo>
                    <a:pt x="468260" y="739287"/>
                  </a:lnTo>
                  <a:lnTo>
                    <a:pt x="468678" y="738048"/>
                  </a:lnTo>
                  <a:lnTo>
                    <a:pt x="468427" y="736542"/>
                  </a:lnTo>
                  <a:lnTo>
                    <a:pt x="467755" y="735478"/>
                  </a:lnTo>
                  <a:lnTo>
                    <a:pt x="467924" y="733620"/>
                  </a:lnTo>
                  <a:lnTo>
                    <a:pt x="467589" y="731055"/>
                  </a:lnTo>
                  <a:lnTo>
                    <a:pt x="466582" y="729462"/>
                  </a:lnTo>
                  <a:lnTo>
                    <a:pt x="466078" y="727607"/>
                  </a:lnTo>
                  <a:lnTo>
                    <a:pt x="466078" y="725750"/>
                  </a:lnTo>
                  <a:lnTo>
                    <a:pt x="465324" y="723896"/>
                  </a:lnTo>
                  <a:lnTo>
                    <a:pt x="465239" y="721864"/>
                  </a:lnTo>
                  <a:lnTo>
                    <a:pt x="465911" y="720011"/>
                  </a:lnTo>
                  <a:lnTo>
                    <a:pt x="466162" y="718158"/>
                  </a:lnTo>
                  <a:lnTo>
                    <a:pt x="465408" y="716835"/>
                  </a:lnTo>
                  <a:lnTo>
                    <a:pt x="463982" y="716040"/>
                  </a:lnTo>
                  <a:lnTo>
                    <a:pt x="462892" y="713923"/>
                  </a:lnTo>
                  <a:lnTo>
                    <a:pt x="462723" y="711189"/>
                  </a:lnTo>
                  <a:lnTo>
                    <a:pt x="461550" y="709691"/>
                  </a:lnTo>
                  <a:lnTo>
                    <a:pt x="460292" y="708458"/>
                  </a:lnTo>
                  <a:lnTo>
                    <a:pt x="458867" y="708458"/>
                  </a:lnTo>
                  <a:lnTo>
                    <a:pt x="456686" y="707753"/>
                  </a:lnTo>
                  <a:lnTo>
                    <a:pt x="454757" y="707841"/>
                  </a:lnTo>
                  <a:lnTo>
                    <a:pt x="451654" y="707753"/>
                  </a:lnTo>
                  <a:lnTo>
                    <a:pt x="450229" y="707314"/>
                  </a:lnTo>
                  <a:lnTo>
                    <a:pt x="449475" y="706342"/>
                  </a:lnTo>
                  <a:lnTo>
                    <a:pt x="447545" y="705022"/>
                  </a:lnTo>
                  <a:lnTo>
                    <a:pt x="446455" y="702735"/>
                  </a:lnTo>
                  <a:lnTo>
                    <a:pt x="445113" y="702295"/>
                  </a:lnTo>
                  <a:lnTo>
                    <a:pt x="443186" y="702997"/>
                  </a:lnTo>
                  <a:lnTo>
                    <a:pt x="442515" y="703878"/>
                  </a:lnTo>
                  <a:lnTo>
                    <a:pt x="441759" y="705111"/>
                  </a:lnTo>
                  <a:lnTo>
                    <a:pt x="440417" y="706520"/>
                  </a:lnTo>
                  <a:lnTo>
                    <a:pt x="438657" y="706432"/>
                  </a:lnTo>
                  <a:lnTo>
                    <a:pt x="436812" y="707224"/>
                  </a:lnTo>
                  <a:lnTo>
                    <a:pt x="435050" y="707314"/>
                  </a:lnTo>
                  <a:lnTo>
                    <a:pt x="432702" y="707490"/>
                  </a:lnTo>
                  <a:lnTo>
                    <a:pt x="430354" y="706785"/>
                  </a:lnTo>
                  <a:lnTo>
                    <a:pt x="427503" y="705991"/>
                  </a:lnTo>
                  <a:lnTo>
                    <a:pt x="425071" y="705464"/>
                  </a:lnTo>
                  <a:lnTo>
                    <a:pt x="422722" y="705991"/>
                  </a:lnTo>
                  <a:lnTo>
                    <a:pt x="421130" y="705550"/>
                  </a:lnTo>
                  <a:lnTo>
                    <a:pt x="419032" y="705287"/>
                  </a:lnTo>
                  <a:lnTo>
                    <a:pt x="416685" y="705111"/>
                  </a:lnTo>
                  <a:lnTo>
                    <a:pt x="414840" y="703701"/>
                  </a:lnTo>
                  <a:lnTo>
                    <a:pt x="412827" y="702909"/>
                  </a:lnTo>
                  <a:lnTo>
                    <a:pt x="411738" y="703174"/>
                  </a:lnTo>
                  <a:lnTo>
                    <a:pt x="410311" y="704055"/>
                  </a:lnTo>
                  <a:lnTo>
                    <a:pt x="408802" y="703878"/>
                  </a:lnTo>
                  <a:lnTo>
                    <a:pt x="406874" y="703174"/>
                  </a:lnTo>
                  <a:lnTo>
                    <a:pt x="406118" y="701503"/>
                  </a:lnTo>
                  <a:lnTo>
                    <a:pt x="406286" y="700446"/>
                  </a:lnTo>
                  <a:lnTo>
                    <a:pt x="406706" y="699391"/>
                  </a:lnTo>
                  <a:lnTo>
                    <a:pt x="407460" y="697894"/>
                  </a:lnTo>
                  <a:lnTo>
                    <a:pt x="407040" y="696311"/>
                  </a:lnTo>
                  <a:lnTo>
                    <a:pt x="407208" y="694906"/>
                  </a:lnTo>
                  <a:lnTo>
                    <a:pt x="407544" y="693674"/>
                  </a:lnTo>
                  <a:lnTo>
                    <a:pt x="407879" y="692270"/>
                  </a:lnTo>
                  <a:lnTo>
                    <a:pt x="407627" y="690952"/>
                  </a:lnTo>
                  <a:lnTo>
                    <a:pt x="407544" y="689546"/>
                  </a:lnTo>
                  <a:lnTo>
                    <a:pt x="407376" y="688230"/>
                  </a:lnTo>
                  <a:lnTo>
                    <a:pt x="407125" y="686824"/>
                  </a:lnTo>
                  <a:lnTo>
                    <a:pt x="408130" y="684806"/>
                  </a:lnTo>
                  <a:lnTo>
                    <a:pt x="408969" y="683137"/>
                  </a:lnTo>
                  <a:lnTo>
                    <a:pt x="408466" y="681736"/>
                  </a:lnTo>
                  <a:lnTo>
                    <a:pt x="408634" y="680769"/>
                  </a:lnTo>
                  <a:lnTo>
                    <a:pt x="409305" y="679190"/>
                  </a:lnTo>
                  <a:lnTo>
                    <a:pt x="410143" y="677265"/>
                  </a:lnTo>
                  <a:lnTo>
                    <a:pt x="410060" y="673671"/>
                  </a:lnTo>
                  <a:lnTo>
                    <a:pt x="409305" y="671568"/>
                  </a:lnTo>
                  <a:lnTo>
                    <a:pt x="408488" y="670999"/>
                  </a:lnTo>
                  <a:lnTo>
                    <a:pt x="408278" y="670363"/>
                  </a:lnTo>
                  <a:lnTo>
                    <a:pt x="408676" y="669534"/>
                  </a:lnTo>
                  <a:lnTo>
                    <a:pt x="408243" y="668678"/>
                  </a:lnTo>
                  <a:lnTo>
                    <a:pt x="408075" y="667804"/>
                  </a:lnTo>
                  <a:lnTo>
                    <a:pt x="408509" y="667040"/>
                  </a:lnTo>
                  <a:lnTo>
                    <a:pt x="407907" y="665528"/>
                  </a:lnTo>
                  <a:lnTo>
                    <a:pt x="406706" y="665091"/>
                  </a:lnTo>
                  <a:lnTo>
                    <a:pt x="406286" y="664654"/>
                  </a:lnTo>
                  <a:lnTo>
                    <a:pt x="405867" y="662992"/>
                  </a:lnTo>
                  <a:lnTo>
                    <a:pt x="405531" y="661069"/>
                  </a:lnTo>
                  <a:lnTo>
                    <a:pt x="405698" y="659581"/>
                  </a:lnTo>
                  <a:lnTo>
                    <a:pt x="405111" y="658271"/>
                  </a:lnTo>
                  <a:lnTo>
                    <a:pt x="404273" y="657486"/>
                  </a:lnTo>
                  <a:lnTo>
                    <a:pt x="403435" y="656088"/>
                  </a:lnTo>
                  <a:lnTo>
                    <a:pt x="402595" y="655039"/>
                  </a:lnTo>
                  <a:lnTo>
                    <a:pt x="402261" y="653555"/>
                  </a:lnTo>
                  <a:lnTo>
                    <a:pt x="401704" y="651637"/>
                  </a:lnTo>
                  <a:lnTo>
                    <a:pt x="403378" y="651279"/>
                  </a:lnTo>
                  <a:lnTo>
                    <a:pt x="404040" y="650205"/>
                  </a:lnTo>
                  <a:lnTo>
                    <a:pt x="405219" y="648748"/>
                  </a:lnTo>
                  <a:lnTo>
                    <a:pt x="406765" y="648368"/>
                  </a:lnTo>
                  <a:lnTo>
                    <a:pt x="408605" y="647832"/>
                  </a:lnTo>
                  <a:lnTo>
                    <a:pt x="409286" y="646755"/>
                  </a:lnTo>
                  <a:lnTo>
                    <a:pt x="404996" y="642882"/>
                  </a:lnTo>
                  <a:lnTo>
                    <a:pt x="402421" y="640557"/>
                  </a:lnTo>
                  <a:lnTo>
                    <a:pt x="403929" y="637416"/>
                  </a:lnTo>
                  <a:lnTo>
                    <a:pt x="406473" y="632122"/>
                  </a:lnTo>
                  <a:lnTo>
                    <a:pt x="408937" y="627000"/>
                  </a:lnTo>
                  <a:lnTo>
                    <a:pt x="410816" y="623094"/>
                  </a:lnTo>
                  <a:lnTo>
                    <a:pt x="411296" y="622373"/>
                  </a:lnTo>
                  <a:lnTo>
                    <a:pt x="412936" y="622124"/>
                  </a:lnTo>
                  <a:lnTo>
                    <a:pt x="412637" y="620110"/>
                  </a:lnTo>
                  <a:lnTo>
                    <a:pt x="412580" y="618790"/>
                  </a:lnTo>
                  <a:lnTo>
                    <a:pt x="411255" y="618713"/>
                  </a:lnTo>
                  <a:lnTo>
                    <a:pt x="412728" y="613960"/>
                  </a:lnTo>
                  <a:lnTo>
                    <a:pt x="414904" y="607185"/>
                  </a:lnTo>
                  <a:lnTo>
                    <a:pt x="416556" y="602055"/>
                  </a:lnTo>
                  <a:lnTo>
                    <a:pt x="417086" y="601195"/>
                  </a:lnTo>
                  <a:lnTo>
                    <a:pt x="418277" y="600955"/>
                  </a:lnTo>
                  <a:lnTo>
                    <a:pt x="418543" y="600361"/>
                  </a:lnTo>
                  <a:lnTo>
                    <a:pt x="417114" y="599535"/>
                  </a:lnTo>
                  <a:lnTo>
                    <a:pt x="416240" y="597942"/>
                  </a:lnTo>
                  <a:lnTo>
                    <a:pt x="414334" y="593362"/>
                  </a:lnTo>
                  <a:lnTo>
                    <a:pt x="411329" y="586152"/>
                  </a:lnTo>
                  <a:lnTo>
                    <a:pt x="411108" y="583571"/>
                  </a:lnTo>
                  <a:lnTo>
                    <a:pt x="410003" y="581978"/>
                  </a:lnTo>
                  <a:lnTo>
                    <a:pt x="408162" y="582507"/>
                  </a:lnTo>
                  <a:lnTo>
                    <a:pt x="405986" y="581999"/>
                  </a:lnTo>
                  <a:lnTo>
                    <a:pt x="400543" y="578085"/>
                  </a:lnTo>
                  <a:lnTo>
                    <a:pt x="396937" y="575971"/>
                  </a:lnTo>
                  <a:lnTo>
                    <a:pt x="395714" y="574721"/>
                  </a:lnTo>
                  <a:lnTo>
                    <a:pt x="395171" y="570710"/>
                  </a:lnTo>
                  <a:lnTo>
                    <a:pt x="394096" y="566279"/>
                  </a:lnTo>
                  <a:lnTo>
                    <a:pt x="393631" y="560802"/>
                  </a:lnTo>
                  <a:lnTo>
                    <a:pt x="393823" y="559487"/>
                  </a:lnTo>
                  <a:lnTo>
                    <a:pt x="396871" y="555335"/>
                  </a:lnTo>
                  <a:lnTo>
                    <a:pt x="396860" y="553237"/>
                  </a:lnTo>
                  <a:lnTo>
                    <a:pt x="397120" y="551407"/>
                  </a:lnTo>
                  <a:lnTo>
                    <a:pt x="396991" y="549961"/>
                  </a:lnTo>
                  <a:lnTo>
                    <a:pt x="396237" y="549940"/>
                  </a:lnTo>
                  <a:lnTo>
                    <a:pt x="395012" y="550573"/>
                  </a:lnTo>
                  <a:lnTo>
                    <a:pt x="393163" y="551060"/>
                  </a:lnTo>
                  <a:lnTo>
                    <a:pt x="392115" y="551102"/>
                  </a:lnTo>
                  <a:lnTo>
                    <a:pt x="381482" y="550710"/>
                  </a:lnTo>
                  <a:lnTo>
                    <a:pt x="369387" y="550262"/>
                  </a:lnTo>
                  <a:lnTo>
                    <a:pt x="359324" y="549892"/>
                  </a:lnTo>
                  <a:lnTo>
                    <a:pt x="350590" y="549569"/>
                  </a:lnTo>
                  <a:lnTo>
                    <a:pt x="350296" y="545999"/>
                  </a:lnTo>
                  <a:lnTo>
                    <a:pt x="349802" y="540013"/>
                  </a:lnTo>
                  <a:lnTo>
                    <a:pt x="349454" y="535770"/>
                  </a:lnTo>
                  <a:lnTo>
                    <a:pt x="348898" y="529041"/>
                  </a:lnTo>
                  <a:lnTo>
                    <a:pt x="345394" y="524855"/>
                  </a:lnTo>
                  <a:lnTo>
                    <a:pt x="341592" y="520312"/>
                  </a:lnTo>
                  <a:lnTo>
                    <a:pt x="340254" y="519150"/>
                  </a:lnTo>
                  <a:lnTo>
                    <a:pt x="344849" y="519005"/>
                  </a:lnTo>
                  <a:lnTo>
                    <a:pt x="348111" y="518902"/>
                  </a:lnTo>
                  <a:lnTo>
                    <a:pt x="347464" y="506718"/>
                  </a:lnTo>
                  <a:lnTo>
                    <a:pt x="346471" y="505474"/>
                  </a:lnTo>
                  <a:lnTo>
                    <a:pt x="345592" y="501545"/>
                  </a:lnTo>
                  <a:lnTo>
                    <a:pt x="344995" y="499322"/>
                  </a:lnTo>
                  <a:lnTo>
                    <a:pt x="343374" y="497518"/>
                  </a:lnTo>
                  <a:lnTo>
                    <a:pt x="343007" y="495492"/>
                  </a:lnTo>
                  <a:lnTo>
                    <a:pt x="343303" y="494139"/>
                  </a:lnTo>
                  <a:lnTo>
                    <a:pt x="344188" y="493300"/>
                  </a:lnTo>
                  <a:lnTo>
                    <a:pt x="344774" y="491212"/>
                  </a:lnTo>
                  <a:lnTo>
                    <a:pt x="344333" y="489112"/>
                  </a:lnTo>
                  <a:lnTo>
                    <a:pt x="343374" y="487158"/>
                  </a:lnTo>
                  <a:lnTo>
                    <a:pt x="342197" y="485284"/>
                  </a:lnTo>
                  <a:lnTo>
                    <a:pt x="339948" y="484133"/>
                  </a:lnTo>
                  <a:lnTo>
                    <a:pt x="336725" y="482043"/>
                  </a:lnTo>
                  <a:lnTo>
                    <a:pt x="331854" y="479385"/>
                  </a:lnTo>
                  <a:lnTo>
                    <a:pt x="327733" y="477535"/>
                  </a:lnTo>
                  <a:lnTo>
                    <a:pt x="326412" y="477761"/>
                  </a:lnTo>
                  <a:lnTo>
                    <a:pt x="319136" y="478485"/>
                  </a:lnTo>
                  <a:lnTo>
                    <a:pt x="316714" y="478863"/>
                  </a:lnTo>
                  <a:lnTo>
                    <a:pt x="315089" y="478440"/>
                  </a:lnTo>
                  <a:lnTo>
                    <a:pt x="309656" y="478459"/>
                  </a:lnTo>
                  <a:lnTo>
                    <a:pt x="307522" y="477035"/>
                  </a:lnTo>
                  <a:lnTo>
                    <a:pt x="305731" y="475379"/>
                  </a:lnTo>
                  <a:lnTo>
                    <a:pt x="301927" y="471141"/>
                  </a:lnTo>
                  <a:lnTo>
                    <a:pt x="301338" y="469021"/>
                  </a:lnTo>
                  <a:lnTo>
                    <a:pt x="299865" y="468349"/>
                  </a:lnTo>
                  <a:lnTo>
                    <a:pt x="297637" y="468606"/>
                  </a:lnTo>
                  <a:lnTo>
                    <a:pt x="295383" y="468316"/>
                  </a:lnTo>
                  <a:lnTo>
                    <a:pt x="291004" y="466558"/>
                  </a:lnTo>
                  <a:lnTo>
                    <a:pt x="286908" y="464755"/>
                  </a:lnTo>
                  <a:lnTo>
                    <a:pt x="284920" y="464831"/>
                  </a:lnTo>
                  <a:lnTo>
                    <a:pt x="283153" y="463708"/>
                  </a:lnTo>
                  <a:lnTo>
                    <a:pt x="280041" y="460959"/>
                  </a:lnTo>
                  <a:lnTo>
                    <a:pt x="278588" y="459889"/>
                  </a:lnTo>
                  <a:lnTo>
                    <a:pt x="277924" y="458468"/>
                  </a:lnTo>
                  <a:lnTo>
                    <a:pt x="277262" y="456375"/>
                  </a:lnTo>
                  <a:lnTo>
                    <a:pt x="276011" y="455925"/>
                  </a:lnTo>
                  <a:lnTo>
                    <a:pt x="274392" y="456299"/>
                  </a:lnTo>
                  <a:lnTo>
                    <a:pt x="272640" y="457374"/>
                  </a:lnTo>
                  <a:lnTo>
                    <a:pt x="270182" y="456657"/>
                  </a:lnTo>
                  <a:lnTo>
                    <a:pt x="267177" y="454728"/>
                  </a:lnTo>
                  <a:lnTo>
                    <a:pt x="265233" y="453221"/>
                  </a:lnTo>
                  <a:lnTo>
                    <a:pt x="264123" y="452507"/>
                  </a:lnTo>
                  <a:lnTo>
                    <a:pt x="261513" y="451453"/>
                  </a:lnTo>
                  <a:lnTo>
                    <a:pt x="258990" y="451232"/>
                  </a:lnTo>
                  <a:lnTo>
                    <a:pt x="255174" y="452783"/>
                  </a:lnTo>
                  <a:lnTo>
                    <a:pt x="252054" y="452150"/>
                  </a:lnTo>
                  <a:lnTo>
                    <a:pt x="247150" y="451590"/>
                  </a:lnTo>
                  <a:lnTo>
                    <a:pt x="242955" y="450468"/>
                  </a:lnTo>
                  <a:lnTo>
                    <a:pt x="241426" y="447545"/>
                  </a:lnTo>
                  <a:lnTo>
                    <a:pt x="240598" y="445609"/>
                  </a:lnTo>
                  <a:lnTo>
                    <a:pt x="238107" y="444398"/>
                  </a:lnTo>
                  <a:lnTo>
                    <a:pt x="236120" y="442921"/>
                  </a:lnTo>
                  <a:lnTo>
                    <a:pt x="233751" y="440681"/>
                  </a:lnTo>
                  <a:lnTo>
                    <a:pt x="232574" y="439932"/>
                  </a:lnTo>
                  <a:lnTo>
                    <a:pt x="230432" y="439307"/>
                  </a:lnTo>
                  <a:lnTo>
                    <a:pt x="228450" y="438516"/>
                  </a:lnTo>
                  <a:lnTo>
                    <a:pt x="228230" y="437097"/>
                  </a:lnTo>
                  <a:lnTo>
                    <a:pt x="227492" y="435229"/>
                  </a:lnTo>
                  <a:lnTo>
                    <a:pt x="227319" y="434767"/>
                  </a:lnTo>
                  <a:lnTo>
                    <a:pt x="225971" y="432500"/>
                  </a:lnTo>
                  <a:lnTo>
                    <a:pt x="225341" y="432342"/>
                  </a:lnTo>
                  <a:lnTo>
                    <a:pt x="224643" y="432786"/>
                  </a:lnTo>
                  <a:lnTo>
                    <a:pt x="224117" y="433115"/>
                  </a:lnTo>
                  <a:lnTo>
                    <a:pt x="223551" y="432713"/>
                  </a:lnTo>
                  <a:lnTo>
                    <a:pt x="223449" y="431700"/>
                  </a:lnTo>
                  <a:lnTo>
                    <a:pt x="223812" y="430076"/>
                  </a:lnTo>
                  <a:lnTo>
                    <a:pt x="223031" y="428372"/>
                  </a:lnTo>
                  <a:lnTo>
                    <a:pt x="221103" y="426585"/>
                  </a:lnTo>
                  <a:lnTo>
                    <a:pt x="220095" y="424739"/>
                  </a:lnTo>
                  <a:lnTo>
                    <a:pt x="220008" y="422829"/>
                  </a:lnTo>
                  <a:lnTo>
                    <a:pt x="219579" y="421552"/>
                  </a:lnTo>
                  <a:lnTo>
                    <a:pt x="218806" y="420908"/>
                  </a:lnTo>
                  <a:lnTo>
                    <a:pt x="218374" y="419788"/>
                  </a:lnTo>
                  <a:lnTo>
                    <a:pt x="218281" y="418195"/>
                  </a:lnTo>
                  <a:lnTo>
                    <a:pt x="218838" y="416298"/>
                  </a:lnTo>
                  <a:lnTo>
                    <a:pt x="220050" y="414103"/>
                  </a:lnTo>
                  <a:lnTo>
                    <a:pt x="219791" y="410716"/>
                  </a:lnTo>
                  <a:lnTo>
                    <a:pt x="218059" y="406150"/>
                  </a:lnTo>
                  <a:lnTo>
                    <a:pt x="217104" y="402854"/>
                  </a:lnTo>
                  <a:lnTo>
                    <a:pt x="216923" y="400835"/>
                  </a:lnTo>
                  <a:lnTo>
                    <a:pt x="217182" y="399337"/>
                  </a:lnTo>
                  <a:lnTo>
                    <a:pt x="218232" y="397883"/>
                  </a:lnTo>
                  <a:lnTo>
                    <a:pt x="220322" y="394316"/>
                  </a:lnTo>
                  <a:lnTo>
                    <a:pt x="220690" y="391593"/>
                  </a:lnTo>
                  <a:lnTo>
                    <a:pt x="220031" y="388525"/>
                  </a:lnTo>
                  <a:lnTo>
                    <a:pt x="219940" y="386184"/>
                  </a:lnTo>
                  <a:lnTo>
                    <a:pt x="220417" y="384574"/>
                  </a:lnTo>
                  <a:lnTo>
                    <a:pt x="219692" y="382465"/>
                  </a:lnTo>
                  <a:lnTo>
                    <a:pt x="218215" y="380472"/>
                  </a:lnTo>
                  <a:lnTo>
                    <a:pt x="217186" y="380423"/>
                  </a:lnTo>
                  <a:lnTo>
                    <a:pt x="215785" y="380968"/>
                  </a:lnTo>
                  <a:lnTo>
                    <a:pt x="214094" y="382650"/>
                  </a:lnTo>
                  <a:lnTo>
                    <a:pt x="212106" y="382947"/>
                  </a:lnTo>
                  <a:lnTo>
                    <a:pt x="210338" y="381907"/>
                  </a:lnTo>
                  <a:lnTo>
                    <a:pt x="204814" y="382343"/>
                  </a:lnTo>
                  <a:lnTo>
                    <a:pt x="196221" y="383382"/>
                  </a:lnTo>
                  <a:lnTo>
                    <a:pt x="192781" y="384459"/>
                  </a:lnTo>
                  <a:lnTo>
                    <a:pt x="190760" y="384919"/>
                  </a:lnTo>
                  <a:lnTo>
                    <a:pt x="188316" y="385271"/>
                  </a:lnTo>
                  <a:lnTo>
                    <a:pt x="184394" y="387207"/>
                  </a:lnTo>
                  <a:lnTo>
                    <a:pt x="174720" y="394724"/>
                  </a:lnTo>
                  <a:lnTo>
                    <a:pt x="172718" y="395811"/>
                  </a:lnTo>
                  <a:lnTo>
                    <a:pt x="170436" y="395961"/>
                  </a:lnTo>
                  <a:lnTo>
                    <a:pt x="169112" y="397002"/>
                  </a:lnTo>
                  <a:lnTo>
                    <a:pt x="166975" y="397821"/>
                  </a:lnTo>
                  <a:lnTo>
                    <a:pt x="162779" y="400797"/>
                  </a:lnTo>
                  <a:lnTo>
                    <a:pt x="160644" y="403180"/>
                  </a:lnTo>
                  <a:lnTo>
                    <a:pt x="159246" y="405338"/>
                  </a:lnTo>
                  <a:lnTo>
                    <a:pt x="157625" y="405413"/>
                  </a:lnTo>
                  <a:lnTo>
                    <a:pt x="156375" y="404817"/>
                  </a:lnTo>
                  <a:lnTo>
                    <a:pt x="152402" y="405115"/>
                  </a:lnTo>
                  <a:lnTo>
                    <a:pt x="150373" y="405852"/>
                  </a:lnTo>
                  <a:lnTo>
                    <a:pt x="148168" y="407952"/>
                  </a:lnTo>
                  <a:lnTo>
                    <a:pt x="145431" y="411750"/>
                  </a:lnTo>
                  <a:lnTo>
                    <a:pt x="144302" y="412829"/>
                  </a:lnTo>
                  <a:lnTo>
                    <a:pt x="142099" y="413947"/>
                  </a:lnTo>
                  <a:lnTo>
                    <a:pt x="139555" y="414872"/>
                  </a:lnTo>
                  <a:lnTo>
                    <a:pt x="136403" y="416268"/>
                  </a:lnTo>
                  <a:lnTo>
                    <a:pt x="134990" y="416361"/>
                  </a:lnTo>
                  <a:lnTo>
                    <a:pt x="133744" y="416609"/>
                  </a:lnTo>
                  <a:lnTo>
                    <a:pt x="132669" y="415972"/>
                  </a:lnTo>
                  <a:lnTo>
                    <a:pt x="132310" y="414611"/>
                  </a:lnTo>
                  <a:lnTo>
                    <a:pt x="130680" y="413751"/>
                  </a:lnTo>
                  <a:lnTo>
                    <a:pt x="126793" y="413321"/>
                  </a:lnTo>
                  <a:lnTo>
                    <a:pt x="121040" y="412328"/>
                  </a:lnTo>
                  <a:lnTo>
                    <a:pt x="115107" y="412136"/>
                  </a:lnTo>
                  <a:lnTo>
                    <a:pt x="112163" y="412228"/>
                  </a:lnTo>
                  <a:lnTo>
                    <a:pt x="109744" y="412289"/>
                  </a:lnTo>
                  <a:lnTo>
                    <a:pt x="105541" y="411757"/>
                  </a:lnTo>
                  <a:lnTo>
                    <a:pt x="102484" y="411668"/>
                  </a:lnTo>
                  <a:lnTo>
                    <a:pt x="99797" y="413015"/>
                  </a:lnTo>
                  <a:lnTo>
                    <a:pt x="95898" y="414689"/>
                  </a:lnTo>
                  <a:lnTo>
                    <a:pt x="94115" y="415115"/>
                  </a:lnTo>
                  <a:lnTo>
                    <a:pt x="92807" y="415178"/>
                  </a:lnTo>
                  <a:lnTo>
                    <a:pt x="91531" y="414969"/>
                  </a:lnTo>
                  <a:lnTo>
                    <a:pt x="90045" y="414103"/>
                  </a:lnTo>
                  <a:lnTo>
                    <a:pt x="87957" y="412103"/>
                  </a:lnTo>
                  <a:lnTo>
                    <a:pt x="86353" y="412872"/>
                  </a:lnTo>
                  <a:lnTo>
                    <a:pt x="85191" y="413729"/>
                  </a:lnTo>
                  <a:lnTo>
                    <a:pt x="85211" y="409382"/>
                  </a:lnTo>
                  <a:lnTo>
                    <a:pt x="85242" y="402849"/>
                  </a:lnTo>
                  <a:lnTo>
                    <a:pt x="85267" y="397089"/>
                  </a:lnTo>
                  <a:lnTo>
                    <a:pt x="85288" y="392484"/>
                  </a:lnTo>
                  <a:lnTo>
                    <a:pt x="85312" y="387112"/>
                  </a:lnTo>
                  <a:lnTo>
                    <a:pt x="85329" y="383322"/>
                  </a:lnTo>
                  <a:lnTo>
                    <a:pt x="86422" y="381882"/>
                  </a:lnTo>
                  <a:lnTo>
                    <a:pt x="87095" y="380273"/>
                  </a:lnTo>
                  <a:lnTo>
                    <a:pt x="86285" y="378122"/>
                  </a:lnTo>
                  <a:lnTo>
                    <a:pt x="86462" y="376149"/>
                  </a:lnTo>
                  <a:lnTo>
                    <a:pt x="87021" y="374778"/>
                  </a:lnTo>
                  <a:lnTo>
                    <a:pt x="87758" y="373439"/>
                  </a:lnTo>
                  <a:lnTo>
                    <a:pt x="86064" y="374109"/>
                  </a:lnTo>
                  <a:lnTo>
                    <a:pt x="85329" y="374481"/>
                  </a:lnTo>
                  <a:lnTo>
                    <a:pt x="84427" y="375498"/>
                  </a:lnTo>
                  <a:lnTo>
                    <a:pt x="82245" y="376872"/>
                  </a:lnTo>
                  <a:lnTo>
                    <a:pt x="80781" y="378243"/>
                  </a:lnTo>
                  <a:lnTo>
                    <a:pt x="79051" y="379363"/>
                  </a:lnTo>
                  <a:lnTo>
                    <a:pt x="76864" y="381837"/>
                  </a:lnTo>
                  <a:lnTo>
                    <a:pt x="75063" y="383195"/>
                  </a:lnTo>
                  <a:lnTo>
                    <a:pt x="73199" y="384057"/>
                  </a:lnTo>
                  <a:lnTo>
                    <a:pt x="70089" y="386965"/>
                  </a:lnTo>
                  <a:lnTo>
                    <a:pt x="67516" y="387542"/>
                  </a:lnTo>
                  <a:lnTo>
                    <a:pt x="60705" y="387989"/>
                  </a:lnTo>
                  <a:lnTo>
                    <a:pt x="53620" y="387978"/>
                  </a:lnTo>
                  <a:lnTo>
                    <a:pt x="47141" y="387967"/>
                  </a:lnTo>
                  <a:lnTo>
                    <a:pt x="46161" y="387929"/>
                  </a:lnTo>
                  <a:lnTo>
                    <a:pt x="46225" y="385534"/>
                  </a:lnTo>
                  <a:lnTo>
                    <a:pt x="46383" y="383843"/>
                  </a:lnTo>
                  <a:lnTo>
                    <a:pt x="44174" y="382057"/>
                  </a:lnTo>
                  <a:lnTo>
                    <a:pt x="44025" y="379860"/>
                  </a:lnTo>
                  <a:lnTo>
                    <a:pt x="43437" y="378344"/>
                  </a:lnTo>
                  <a:lnTo>
                    <a:pt x="42701" y="376487"/>
                  </a:lnTo>
                  <a:lnTo>
                    <a:pt x="41155" y="375297"/>
                  </a:lnTo>
                  <a:lnTo>
                    <a:pt x="38982" y="374838"/>
                  </a:lnTo>
                  <a:lnTo>
                    <a:pt x="35413" y="373811"/>
                  </a:lnTo>
                  <a:lnTo>
                    <a:pt x="30119" y="372745"/>
                  </a:lnTo>
                  <a:lnTo>
                    <a:pt x="25060" y="372670"/>
                  </a:lnTo>
                  <a:lnTo>
                    <a:pt x="20099" y="372772"/>
                  </a:lnTo>
                  <a:lnTo>
                    <a:pt x="23131" y="369046"/>
                  </a:lnTo>
                  <a:lnTo>
                    <a:pt x="26160" y="365324"/>
                  </a:lnTo>
                  <a:lnTo>
                    <a:pt x="26067" y="362079"/>
                  </a:lnTo>
                  <a:lnTo>
                    <a:pt x="23622" y="359258"/>
                  </a:lnTo>
                  <a:lnTo>
                    <a:pt x="22302" y="357502"/>
                  </a:lnTo>
                  <a:lnTo>
                    <a:pt x="20258" y="355082"/>
                  </a:lnTo>
                  <a:lnTo>
                    <a:pt x="17740" y="353413"/>
                  </a:lnTo>
                  <a:lnTo>
                    <a:pt x="16364" y="351191"/>
                  </a:lnTo>
                  <a:lnTo>
                    <a:pt x="16491" y="349841"/>
                  </a:lnTo>
                  <a:lnTo>
                    <a:pt x="16271" y="348951"/>
                  </a:lnTo>
                  <a:lnTo>
                    <a:pt x="15314" y="348432"/>
                  </a:lnTo>
                  <a:lnTo>
                    <a:pt x="14356" y="347618"/>
                  </a:lnTo>
                  <a:lnTo>
                    <a:pt x="13032" y="346727"/>
                  </a:lnTo>
                  <a:lnTo>
                    <a:pt x="11486" y="345542"/>
                  </a:lnTo>
                  <a:lnTo>
                    <a:pt x="11486" y="344356"/>
                  </a:lnTo>
                  <a:lnTo>
                    <a:pt x="10896" y="343095"/>
                  </a:lnTo>
                  <a:lnTo>
                    <a:pt x="9939" y="341615"/>
                  </a:lnTo>
                  <a:lnTo>
                    <a:pt x="9939" y="340428"/>
                  </a:lnTo>
                  <a:lnTo>
                    <a:pt x="9056" y="338576"/>
                  </a:lnTo>
                  <a:lnTo>
                    <a:pt x="8100" y="337243"/>
                  </a:lnTo>
                  <a:lnTo>
                    <a:pt x="7142" y="336353"/>
                  </a:lnTo>
                  <a:lnTo>
                    <a:pt x="5743" y="335096"/>
                  </a:lnTo>
                  <a:lnTo>
                    <a:pt x="5816" y="334057"/>
                  </a:lnTo>
                  <a:lnTo>
                    <a:pt x="6847" y="333538"/>
                  </a:lnTo>
                  <a:lnTo>
                    <a:pt x="7290" y="332355"/>
                  </a:lnTo>
                  <a:lnTo>
                    <a:pt x="7142" y="331169"/>
                  </a:lnTo>
                  <a:lnTo>
                    <a:pt x="5963" y="330430"/>
                  </a:lnTo>
                  <a:lnTo>
                    <a:pt x="4564" y="330058"/>
                  </a:lnTo>
                  <a:lnTo>
                    <a:pt x="2725" y="327911"/>
                  </a:lnTo>
                  <a:lnTo>
                    <a:pt x="1399" y="326801"/>
                  </a:lnTo>
                  <a:lnTo>
                    <a:pt x="516" y="326133"/>
                  </a:lnTo>
                  <a:lnTo>
                    <a:pt x="0" y="325393"/>
                  </a:lnTo>
                  <a:lnTo>
                    <a:pt x="516" y="324876"/>
                  </a:lnTo>
                  <a:lnTo>
                    <a:pt x="1106" y="324134"/>
                  </a:lnTo>
                  <a:lnTo>
                    <a:pt x="1252" y="322951"/>
                  </a:lnTo>
                  <a:lnTo>
                    <a:pt x="958" y="321841"/>
                  </a:lnTo>
                  <a:lnTo>
                    <a:pt x="958" y="320877"/>
                  </a:lnTo>
                  <a:lnTo>
                    <a:pt x="1842" y="320580"/>
                  </a:lnTo>
                  <a:lnTo>
                    <a:pt x="2798" y="320731"/>
                  </a:lnTo>
                  <a:lnTo>
                    <a:pt x="3755" y="320138"/>
                  </a:lnTo>
                  <a:lnTo>
                    <a:pt x="5007" y="319916"/>
                  </a:lnTo>
                  <a:lnTo>
                    <a:pt x="6406" y="319767"/>
                  </a:lnTo>
                  <a:lnTo>
                    <a:pt x="7142" y="319102"/>
                  </a:lnTo>
                  <a:lnTo>
                    <a:pt x="7067" y="317918"/>
                  </a:lnTo>
                  <a:lnTo>
                    <a:pt x="6185" y="315623"/>
                  </a:lnTo>
                  <a:lnTo>
                    <a:pt x="5302" y="314662"/>
                  </a:lnTo>
                  <a:lnTo>
                    <a:pt x="5007" y="313256"/>
                  </a:lnTo>
                  <a:lnTo>
                    <a:pt x="5726" y="310547"/>
                  </a:lnTo>
                  <a:lnTo>
                    <a:pt x="6187" y="308820"/>
                  </a:lnTo>
                  <a:lnTo>
                    <a:pt x="7798" y="306987"/>
                  </a:lnTo>
                  <a:lnTo>
                    <a:pt x="12733" y="303056"/>
                  </a:lnTo>
                  <a:lnTo>
                    <a:pt x="17156" y="300388"/>
                  </a:lnTo>
                  <a:lnTo>
                    <a:pt x="19316" y="300117"/>
                  </a:lnTo>
                  <a:lnTo>
                    <a:pt x="20910" y="299128"/>
                  </a:lnTo>
                  <a:lnTo>
                    <a:pt x="21927" y="297616"/>
                  </a:lnTo>
                  <a:lnTo>
                    <a:pt x="22206" y="295963"/>
                  </a:lnTo>
                  <a:lnTo>
                    <a:pt x="21977" y="294523"/>
                  </a:lnTo>
                  <a:lnTo>
                    <a:pt x="21156" y="292393"/>
                  </a:lnTo>
                  <a:lnTo>
                    <a:pt x="20173" y="289741"/>
                  </a:lnTo>
                  <a:lnTo>
                    <a:pt x="19436" y="288265"/>
                  </a:lnTo>
                  <a:lnTo>
                    <a:pt x="20100" y="286491"/>
                  </a:lnTo>
                  <a:lnTo>
                    <a:pt x="21279" y="284065"/>
                  </a:lnTo>
                  <a:lnTo>
                    <a:pt x="23683" y="280405"/>
                  </a:lnTo>
                  <a:lnTo>
                    <a:pt x="25920" y="276471"/>
                  </a:lnTo>
                  <a:lnTo>
                    <a:pt x="26164" y="275321"/>
                  </a:lnTo>
                  <a:lnTo>
                    <a:pt x="26450" y="272918"/>
                  </a:lnTo>
                  <a:lnTo>
                    <a:pt x="27481" y="268019"/>
                  </a:lnTo>
                  <a:lnTo>
                    <a:pt x="28051" y="265367"/>
                  </a:lnTo>
                  <a:lnTo>
                    <a:pt x="27755" y="264337"/>
                  </a:lnTo>
                  <a:lnTo>
                    <a:pt x="28273" y="263449"/>
                  </a:lnTo>
                  <a:lnTo>
                    <a:pt x="29670" y="262711"/>
                  </a:lnTo>
                  <a:lnTo>
                    <a:pt x="33049" y="262036"/>
                  </a:lnTo>
                  <a:lnTo>
                    <a:pt x="35340" y="260571"/>
                  </a:lnTo>
                  <a:lnTo>
                    <a:pt x="38873" y="257818"/>
                  </a:lnTo>
                  <a:lnTo>
                    <a:pt x="41819" y="254889"/>
                  </a:lnTo>
                  <a:lnTo>
                    <a:pt x="44254" y="253947"/>
                  </a:lnTo>
                  <a:lnTo>
                    <a:pt x="48673" y="251237"/>
                  </a:lnTo>
                  <a:lnTo>
                    <a:pt x="51212" y="249517"/>
                  </a:lnTo>
                  <a:lnTo>
                    <a:pt x="52207" y="248977"/>
                  </a:lnTo>
                  <a:lnTo>
                    <a:pt x="54702" y="247734"/>
                  </a:lnTo>
                  <a:lnTo>
                    <a:pt x="59174" y="247299"/>
                  </a:lnTo>
                  <a:lnTo>
                    <a:pt x="62902" y="246853"/>
                  </a:lnTo>
                  <a:lnTo>
                    <a:pt x="65009" y="246037"/>
                  </a:lnTo>
                  <a:lnTo>
                    <a:pt x="68089" y="245698"/>
                  </a:lnTo>
                  <a:lnTo>
                    <a:pt x="70163" y="244781"/>
                  </a:lnTo>
                  <a:lnTo>
                    <a:pt x="72465" y="244756"/>
                  </a:lnTo>
                  <a:lnTo>
                    <a:pt x="76789" y="243824"/>
                  </a:lnTo>
                  <a:lnTo>
                    <a:pt x="78262" y="242422"/>
                  </a:lnTo>
                  <a:lnTo>
                    <a:pt x="79520" y="240753"/>
                  </a:lnTo>
                  <a:lnTo>
                    <a:pt x="81205" y="239324"/>
                  </a:lnTo>
                  <a:lnTo>
                    <a:pt x="83182" y="238957"/>
                  </a:lnTo>
                  <a:lnTo>
                    <a:pt x="85388" y="239205"/>
                  </a:lnTo>
                  <a:lnTo>
                    <a:pt x="88022" y="239177"/>
                  </a:lnTo>
                  <a:lnTo>
                    <a:pt x="91218" y="238733"/>
                  </a:lnTo>
                  <a:lnTo>
                    <a:pt x="92764" y="239840"/>
                  </a:lnTo>
                  <a:lnTo>
                    <a:pt x="93443" y="241194"/>
                  </a:lnTo>
                  <a:lnTo>
                    <a:pt x="95414" y="242571"/>
                  </a:lnTo>
                  <a:lnTo>
                    <a:pt x="96813" y="242495"/>
                  </a:lnTo>
                  <a:lnTo>
                    <a:pt x="98212" y="242201"/>
                  </a:lnTo>
                  <a:lnTo>
                    <a:pt x="100126" y="243382"/>
                  </a:lnTo>
                  <a:lnTo>
                    <a:pt x="101378" y="243233"/>
                  </a:lnTo>
                  <a:lnTo>
                    <a:pt x="102188" y="242571"/>
                  </a:lnTo>
                  <a:lnTo>
                    <a:pt x="102343" y="240913"/>
                  </a:lnTo>
                  <a:lnTo>
                    <a:pt x="102792" y="240015"/>
                  </a:lnTo>
                  <a:lnTo>
                    <a:pt x="103734" y="234834"/>
                  </a:lnTo>
                  <a:lnTo>
                    <a:pt x="105287" y="226285"/>
                  </a:lnTo>
                  <a:lnTo>
                    <a:pt x="106698" y="218534"/>
                  </a:lnTo>
                  <a:lnTo>
                    <a:pt x="108259" y="209958"/>
                  </a:lnTo>
                  <a:lnTo>
                    <a:pt x="109870" y="201101"/>
                  </a:lnTo>
                  <a:lnTo>
                    <a:pt x="111502" y="192134"/>
                  </a:lnTo>
                  <a:lnTo>
                    <a:pt x="112842" y="184777"/>
                  </a:lnTo>
                  <a:lnTo>
                    <a:pt x="113993" y="178453"/>
                  </a:lnTo>
                  <a:lnTo>
                    <a:pt x="114699" y="174573"/>
                  </a:lnTo>
                  <a:lnTo>
                    <a:pt x="115807" y="169494"/>
                  </a:lnTo>
                  <a:lnTo>
                    <a:pt x="116239" y="165031"/>
                  </a:lnTo>
                  <a:lnTo>
                    <a:pt x="116686" y="163744"/>
                  </a:lnTo>
                  <a:lnTo>
                    <a:pt x="116403" y="162661"/>
                  </a:lnTo>
                  <a:lnTo>
                    <a:pt x="115446" y="161123"/>
                  </a:lnTo>
                  <a:lnTo>
                    <a:pt x="115457" y="160447"/>
                  </a:lnTo>
                  <a:lnTo>
                    <a:pt x="115568" y="159550"/>
                  </a:lnTo>
                  <a:lnTo>
                    <a:pt x="115457" y="158768"/>
                  </a:lnTo>
                  <a:lnTo>
                    <a:pt x="114450" y="157931"/>
                  </a:lnTo>
                  <a:lnTo>
                    <a:pt x="113668" y="157425"/>
                  </a:lnTo>
                  <a:lnTo>
                    <a:pt x="113052" y="156700"/>
                  </a:lnTo>
                  <a:lnTo>
                    <a:pt x="112772" y="155693"/>
                  </a:lnTo>
                  <a:lnTo>
                    <a:pt x="112270" y="154687"/>
                  </a:lnTo>
                  <a:lnTo>
                    <a:pt x="112046" y="153624"/>
                  </a:lnTo>
                  <a:lnTo>
                    <a:pt x="111319" y="152786"/>
                  </a:lnTo>
                  <a:lnTo>
                    <a:pt x="111096" y="151723"/>
                  </a:lnTo>
                  <a:lnTo>
                    <a:pt x="111599" y="150717"/>
                  </a:lnTo>
                  <a:lnTo>
                    <a:pt x="111823" y="149655"/>
                  </a:lnTo>
                  <a:lnTo>
                    <a:pt x="111599" y="148647"/>
                  </a:lnTo>
                  <a:lnTo>
                    <a:pt x="111319" y="147473"/>
                  </a:lnTo>
                  <a:lnTo>
                    <a:pt x="110760" y="146356"/>
                  </a:lnTo>
                  <a:lnTo>
                    <a:pt x="109910" y="145676"/>
                  </a:lnTo>
                  <a:lnTo>
                    <a:pt x="107881" y="144918"/>
                  </a:lnTo>
                  <a:lnTo>
                    <a:pt x="105841" y="143113"/>
                  </a:lnTo>
                  <a:lnTo>
                    <a:pt x="103437" y="141494"/>
                  </a:lnTo>
                  <a:lnTo>
                    <a:pt x="100361" y="138418"/>
                  </a:lnTo>
                  <a:lnTo>
                    <a:pt x="99690" y="136964"/>
                  </a:lnTo>
                  <a:lnTo>
                    <a:pt x="99680" y="132973"/>
                  </a:lnTo>
                  <a:lnTo>
                    <a:pt x="99812" y="128641"/>
                  </a:lnTo>
                  <a:lnTo>
                    <a:pt x="100010" y="122099"/>
                  </a:lnTo>
                  <a:lnTo>
                    <a:pt x="100111" y="118772"/>
                  </a:lnTo>
                  <a:lnTo>
                    <a:pt x="101847" y="118588"/>
                  </a:lnTo>
                  <a:lnTo>
                    <a:pt x="103378" y="118498"/>
                  </a:lnTo>
                  <a:lnTo>
                    <a:pt x="104976" y="118267"/>
                  </a:lnTo>
                  <a:lnTo>
                    <a:pt x="106369" y="118040"/>
                  </a:lnTo>
                  <a:lnTo>
                    <a:pt x="107646" y="117561"/>
                  </a:lnTo>
                  <a:lnTo>
                    <a:pt x="108606" y="116967"/>
                  </a:lnTo>
                  <a:lnTo>
                    <a:pt x="109749" y="116579"/>
                  </a:lnTo>
                  <a:lnTo>
                    <a:pt x="110639" y="116716"/>
                  </a:lnTo>
                  <a:lnTo>
                    <a:pt x="111529" y="116192"/>
                  </a:lnTo>
                  <a:lnTo>
                    <a:pt x="112513" y="115688"/>
                  </a:lnTo>
                  <a:lnTo>
                    <a:pt x="113470" y="115278"/>
                  </a:lnTo>
                  <a:lnTo>
                    <a:pt x="114864" y="114935"/>
                  </a:lnTo>
                  <a:lnTo>
                    <a:pt x="116165" y="115734"/>
                  </a:lnTo>
                  <a:lnTo>
                    <a:pt x="116896" y="116533"/>
                  </a:lnTo>
                  <a:lnTo>
                    <a:pt x="117741" y="116921"/>
                  </a:lnTo>
                  <a:lnTo>
                    <a:pt x="118539" y="116830"/>
                  </a:lnTo>
                  <a:lnTo>
                    <a:pt x="119088" y="116899"/>
                  </a:lnTo>
                  <a:lnTo>
                    <a:pt x="119658" y="117538"/>
                  </a:lnTo>
                  <a:lnTo>
                    <a:pt x="120389" y="117584"/>
                  </a:lnTo>
                  <a:lnTo>
                    <a:pt x="121439" y="117470"/>
                  </a:lnTo>
                  <a:lnTo>
                    <a:pt x="122421" y="117333"/>
                  </a:lnTo>
                  <a:lnTo>
                    <a:pt x="122878" y="117150"/>
                  </a:lnTo>
                  <a:lnTo>
                    <a:pt x="122947" y="116739"/>
                  </a:lnTo>
                  <a:lnTo>
                    <a:pt x="122696" y="116031"/>
                  </a:lnTo>
                  <a:lnTo>
                    <a:pt x="122353" y="115368"/>
                  </a:lnTo>
                  <a:lnTo>
                    <a:pt x="122626" y="114342"/>
                  </a:lnTo>
                  <a:lnTo>
                    <a:pt x="122650" y="113108"/>
                  </a:lnTo>
                  <a:lnTo>
                    <a:pt x="122696" y="111534"/>
                  </a:lnTo>
                  <a:lnTo>
                    <a:pt x="121919" y="110665"/>
                  </a:lnTo>
                  <a:lnTo>
                    <a:pt x="121143" y="109021"/>
                  </a:lnTo>
                  <a:lnTo>
                    <a:pt x="120275" y="107695"/>
                  </a:lnTo>
                  <a:lnTo>
                    <a:pt x="118929" y="106806"/>
                  </a:lnTo>
                  <a:lnTo>
                    <a:pt x="117672" y="106463"/>
                  </a:lnTo>
                  <a:lnTo>
                    <a:pt x="116622" y="107011"/>
                  </a:lnTo>
                  <a:lnTo>
                    <a:pt x="115640" y="107101"/>
                  </a:lnTo>
                  <a:lnTo>
                    <a:pt x="114910" y="106600"/>
                  </a:lnTo>
                  <a:lnTo>
                    <a:pt x="113722" y="106577"/>
                  </a:lnTo>
                  <a:lnTo>
                    <a:pt x="112443" y="106418"/>
                  </a:lnTo>
                  <a:lnTo>
                    <a:pt x="111091" y="106229"/>
                  </a:lnTo>
                  <a:lnTo>
                    <a:pt x="108654" y="106588"/>
                  </a:lnTo>
                  <a:lnTo>
                    <a:pt x="107784" y="106143"/>
                  </a:lnTo>
                  <a:lnTo>
                    <a:pt x="106597" y="106097"/>
                  </a:lnTo>
                  <a:lnTo>
                    <a:pt x="105228" y="106576"/>
                  </a:lnTo>
                  <a:lnTo>
                    <a:pt x="105262" y="100254"/>
                  </a:lnTo>
                  <a:lnTo>
                    <a:pt x="105295" y="94293"/>
                  </a:lnTo>
                  <a:lnTo>
                    <a:pt x="105317" y="90112"/>
                  </a:lnTo>
                  <a:lnTo>
                    <a:pt x="106551" y="90202"/>
                  </a:lnTo>
                  <a:lnTo>
                    <a:pt x="108081" y="89449"/>
                  </a:lnTo>
                  <a:lnTo>
                    <a:pt x="110353" y="89332"/>
                  </a:lnTo>
                  <a:lnTo>
                    <a:pt x="112097" y="88538"/>
                  </a:lnTo>
                  <a:lnTo>
                    <a:pt x="113068" y="88475"/>
                  </a:lnTo>
                  <a:lnTo>
                    <a:pt x="114913" y="88864"/>
                  </a:lnTo>
                  <a:lnTo>
                    <a:pt x="116836" y="89679"/>
                  </a:lnTo>
                  <a:lnTo>
                    <a:pt x="118728" y="89794"/>
                  </a:lnTo>
                  <a:lnTo>
                    <a:pt x="123684" y="89793"/>
                  </a:lnTo>
                  <a:lnTo>
                    <a:pt x="129036" y="89791"/>
                  </a:lnTo>
                  <a:lnTo>
                    <a:pt x="134987" y="89788"/>
                  </a:lnTo>
                  <a:lnTo>
                    <a:pt x="140947" y="89786"/>
                  </a:lnTo>
                  <a:lnTo>
                    <a:pt x="146118" y="89783"/>
                  </a:lnTo>
                  <a:lnTo>
                    <a:pt x="147714" y="89831"/>
                  </a:lnTo>
                  <a:lnTo>
                    <a:pt x="146783" y="88442"/>
                  </a:lnTo>
                  <a:lnTo>
                    <a:pt x="145701" y="86642"/>
                  </a:lnTo>
                  <a:lnTo>
                    <a:pt x="146120" y="85226"/>
                  </a:lnTo>
                  <a:lnTo>
                    <a:pt x="146654" y="83799"/>
                  </a:lnTo>
                  <a:lnTo>
                    <a:pt x="147277" y="83052"/>
                  </a:lnTo>
                  <a:lnTo>
                    <a:pt x="148888" y="83846"/>
                  </a:lnTo>
                  <a:lnTo>
                    <a:pt x="150238" y="86272"/>
                  </a:lnTo>
                  <a:lnTo>
                    <a:pt x="151358" y="88100"/>
                  </a:lnTo>
                  <a:lnTo>
                    <a:pt x="152451" y="89001"/>
                  </a:lnTo>
                  <a:lnTo>
                    <a:pt x="153809" y="89104"/>
                  </a:lnTo>
                  <a:lnTo>
                    <a:pt x="155347" y="88796"/>
                  </a:lnTo>
                  <a:lnTo>
                    <a:pt x="156880" y="88048"/>
                  </a:lnTo>
                  <a:lnTo>
                    <a:pt x="159497" y="84699"/>
                  </a:lnTo>
                  <a:lnTo>
                    <a:pt x="162099" y="81835"/>
                  </a:lnTo>
                  <a:lnTo>
                    <a:pt x="163448" y="80873"/>
                  </a:lnTo>
                  <a:lnTo>
                    <a:pt x="164878" y="79986"/>
                  </a:lnTo>
                  <a:lnTo>
                    <a:pt x="165940" y="79651"/>
                  </a:lnTo>
                  <a:lnTo>
                    <a:pt x="167394" y="79764"/>
                  </a:lnTo>
                  <a:lnTo>
                    <a:pt x="168623" y="80547"/>
                  </a:lnTo>
                  <a:lnTo>
                    <a:pt x="169418" y="81910"/>
                  </a:lnTo>
                  <a:lnTo>
                    <a:pt x="172329" y="86660"/>
                  </a:lnTo>
                  <a:lnTo>
                    <a:pt x="174524" y="90241"/>
                  </a:lnTo>
                  <a:lnTo>
                    <a:pt x="175263" y="92475"/>
                  </a:lnTo>
                  <a:lnTo>
                    <a:pt x="175310" y="97927"/>
                  </a:lnTo>
                  <a:lnTo>
                    <a:pt x="175173" y="102760"/>
                  </a:lnTo>
                  <a:lnTo>
                    <a:pt x="175461" y="103384"/>
                  </a:lnTo>
                  <a:lnTo>
                    <a:pt x="175893" y="103563"/>
                  </a:lnTo>
                  <a:lnTo>
                    <a:pt x="180691" y="102430"/>
                  </a:lnTo>
                  <a:lnTo>
                    <a:pt x="187207" y="108285"/>
                  </a:lnTo>
                  <a:lnTo>
                    <a:pt x="192020" y="112608"/>
                  </a:lnTo>
                  <a:lnTo>
                    <a:pt x="194102" y="113990"/>
                  </a:lnTo>
                  <a:lnTo>
                    <a:pt x="195254" y="114376"/>
                  </a:lnTo>
                  <a:lnTo>
                    <a:pt x="198056" y="114088"/>
                  </a:lnTo>
                  <a:lnTo>
                    <a:pt x="201381" y="113529"/>
                  </a:lnTo>
                  <a:lnTo>
                    <a:pt x="202997" y="112910"/>
                  </a:lnTo>
                  <a:lnTo>
                    <a:pt x="204784" y="111556"/>
                  </a:lnTo>
                  <a:lnTo>
                    <a:pt x="207688" y="109677"/>
                  </a:lnTo>
                  <a:lnTo>
                    <a:pt x="210052" y="108644"/>
                  </a:lnTo>
                  <a:lnTo>
                    <a:pt x="210982" y="108505"/>
                  </a:lnTo>
                  <a:lnTo>
                    <a:pt x="211914" y="108838"/>
                  </a:lnTo>
                  <a:lnTo>
                    <a:pt x="213908" y="109960"/>
                  </a:lnTo>
                  <a:lnTo>
                    <a:pt x="214999" y="112056"/>
                  </a:lnTo>
                  <a:lnTo>
                    <a:pt x="213992" y="114489"/>
                  </a:lnTo>
                  <a:lnTo>
                    <a:pt x="214160" y="115998"/>
                  </a:lnTo>
                  <a:lnTo>
                    <a:pt x="216257" y="115915"/>
                  </a:lnTo>
                  <a:lnTo>
                    <a:pt x="217934" y="113399"/>
                  </a:lnTo>
                  <a:lnTo>
                    <a:pt x="219111" y="111417"/>
                  </a:lnTo>
                  <a:lnTo>
                    <a:pt x="221567" y="109813"/>
                  </a:lnTo>
                  <a:lnTo>
                    <a:pt x="223959" y="107522"/>
                  </a:lnTo>
                  <a:lnTo>
                    <a:pt x="225629" y="105345"/>
                  </a:lnTo>
                  <a:lnTo>
                    <a:pt x="227586" y="104067"/>
                  </a:lnTo>
                  <a:lnTo>
                    <a:pt x="230540" y="102513"/>
                  </a:lnTo>
                  <a:lnTo>
                    <a:pt x="232876" y="101565"/>
                  </a:lnTo>
                  <a:lnTo>
                    <a:pt x="235067" y="101661"/>
                  </a:lnTo>
                  <a:lnTo>
                    <a:pt x="236693" y="100634"/>
                  </a:lnTo>
                  <a:lnTo>
                    <a:pt x="238799" y="98706"/>
                  </a:lnTo>
                  <a:lnTo>
                    <a:pt x="240272" y="97156"/>
                  </a:lnTo>
                  <a:lnTo>
                    <a:pt x="241293" y="96603"/>
                  </a:lnTo>
                  <a:lnTo>
                    <a:pt x="243344" y="96753"/>
                  </a:lnTo>
                  <a:lnTo>
                    <a:pt x="245903" y="96540"/>
                  </a:lnTo>
                  <a:lnTo>
                    <a:pt x="248418" y="94657"/>
                  </a:lnTo>
                  <a:lnTo>
                    <a:pt x="250705" y="92380"/>
                  </a:lnTo>
                  <a:lnTo>
                    <a:pt x="251917" y="88545"/>
                  </a:lnTo>
                  <a:lnTo>
                    <a:pt x="252718" y="85148"/>
                  </a:lnTo>
                  <a:lnTo>
                    <a:pt x="253401" y="84458"/>
                  </a:lnTo>
                  <a:lnTo>
                    <a:pt x="254231" y="83915"/>
                  </a:lnTo>
                  <a:lnTo>
                    <a:pt x="255211" y="83560"/>
                  </a:lnTo>
                  <a:lnTo>
                    <a:pt x="257560" y="83314"/>
                  </a:lnTo>
                  <a:lnTo>
                    <a:pt x="261677" y="81502"/>
                  </a:lnTo>
                  <a:lnTo>
                    <a:pt x="264513" y="79667"/>
                  </a:lnTo>
                  <a:lnTo>
                    <a:pt x="267210" y="79273"/>
                  </a:lnTo>
                  <a:lnTo>
                    <a:pt x="268006" y="78778"/>
                  </a:lnTo>
                  <a:lnTo>
                    <a:pt x="268984" y="77079"/>
                  </a:lnTo>
                  <a:lnTo>
                    <a:pt x="269468" y="74087"/>
                  </a:lnTo>
                  <a:lnTo>
                    <a:pt x="269103" y="72274"/>
                  </a:lnTo>
                  <a:lnTo>
                    <a:pt x="264149" y="71715"/>
                  </a:lnTo>
                  <a:lnTo>
                    <a:pt x="260905" y="71713"/>
                  </a:lnTo>
                  <a:lnTo>
                    <a:pt x="255540" y="71246"/>
                  </a:lnTo>
                  <a:lnTo>
                    <a:pt x="252985" y="70499"/>
                  </a:lnTo>
                  <a:lnTo>
                    <a:pt x="252436" y="69979"/>
                  </a:lnTo>
                  <a:lnTo>
                    <a:pt x="252378" y="69403"/>
                  </a:lnTo>
                  <a:lnTo>
                    <a:pt x="252889" y="68110"/>
                  </a:lnTo>
                  <a:lnTo>
                    <a:pt x="253387" y="65679"/>
                  </a:lnTo>
                  <a:lnTo>
                    <a:pt x="252658" y="62389"/>
                  </a:lnTo>
                  <a:lnTo>
                    <a:pt x="249977" y="57227"/>
                  </a:lnTo>
                  <a:lnTo>
                    <a:pt x="248068" y="52156"/>
                  </a:lnTo>
                  <a:lnTo>
                    <a:pt x="247817" y="48621"/>
                  </a:lnTo>
                  <a:lnTo>
                    <a:pt x="247859" y="44883"/>
                  </a:lnTo>
                  <a:lnTo>
                    <a:pt x="248010" y="42441"/>
                  </a:lnTo>
                  <a:lnTo>
                    <a:pt x="246637" y="40530"/>
                  </a:lnTo>
                  <a:lnTo>
                    <a:pt x="239216" y="34510"/>
                  </a:lnTo>
                  <a:lnTo>
                    <a:pt x="236653" y="31665"/>
                  </a:lnTo>
                  <a:lnTo>
                    <a:pt x="235801" y="29697"/>
                  </a:lnTo>
                  <a:lnTo>
                    <a:pt x="232878" y="26065"/>
                  </a:lnTo>
                  <a:lnTo>
                    <a:pt x="233619" y="24954"/>
                  </a:lnTo>
                  <a:lnTo>
                    <a:pt x="235303" y="24995"/>
                  </a:lnTo>
                  <a:lnTo>
                    <a:pt x="236742" y="25942"/>
                  </a:lnTo>
                  <a:lnTo>
                    <a:pt x="238056" y="27960"/>
                  </a:lnTo>
                  <a:lnTo>
                    <a:pt x="239002" y="28412"/>
                  </a:lnTo>
                  <a:lnTo>
                    <a:pt x="240291" y="28409"/>
                  </a:lnTo>
                  <a:lnTo>
                    <a:pt x="247134" y="28401"/>
                  </a:lnTo>
                  <a:lnTo>
                    <a:pt x="248736" y="28743"/>
                  </a:lnTo>
                  <a:lnTo>
                    <a:pt x="249704" y="29422"/>
                  </a:lnTo>
                  <a:lnTo>
                    <a:pt x="250530" y="30263"/>
                  </a:lnTo>
                  <a:lnTo>
                    <a:pt x="251756" y="32615"/>
                  </a:lnTo>
                  <a:lnTo>
                    <a:pt x="253072" y="33765"/>
                  </a:lnTo>
                  <a:lnTo>
                    <a:pt x="255781" y="33725"/>
                  </a:lnTo>
                  <a:lnTo>
                    <a:pt x="260033" y="33677"/>
                  </a:lnTo>
                  <a:lnTo>
                    <a:pt x="262417" y="33467"/>
                  </a:lnTo>
                  <a:lnTo>
                    <a:pt x="263844" y="34122"/>
                  </a:lnTo>
                  <a:lnTo>
                    <a:pt x="265615" y="34664"/>
                  </a:lnTo>
                  <a:lnTo>
                    <a:pt x="269343" y="33416"/>
                  </a:lnTo>
                  <a:lnTo>
                    <a:pt x="270385" y="33389"/>
                  </a:lnTo>
                  <a:lnTo>
                    <a:pt x="271500" y="33939"/>
                  </a:lnTo>
                  <a:lnTo>
                    <a:pt x="275519" y="38149"/>
                  </a:lnTo>
                  <a:lnTo>
                    <a:pt x="277824" y="39927"/>
                  </a:lnTo>
                  <a:lnTo>
                    <a:pt x="279768" y="42275"/>
                  </a:lnTo>
                  <a:lnTo>
                    <a:pt x="282600" y="42288"/>
                  </a:lnTo>
                  <a:lnTo>
                    <a:pt x="284942" y="40270"/>
                  </a:lnTo>
                  <a:lnTo>
                    <a:pt x="285568" y="33480"/>
                  </a:lnTo>
                  <a:lnTo>
                    <a:pt x="286273" y="31510"/>
                  </a:lnTo>
                  <a:lnTo>
                    <a:pt x="287459" y="30958"/>
                  </a:lnTo>
                  <a:lnTo>
                    <a:pt x="288868" y="30891"/>
                  </a:lnTo>
                  <a:lnTo>
                    <a:pt x="290537" y="29823"/>
                  </a:lnTo>
                  <a:lnTo>
                    <a:pt x="292347" y="28447"/>
                  </a:lnTo>
                  <a:lnTo>
                    <a:pt x="293917" y="27984"/>
                  </a:lnTo>
                  <a:lnTo>
                    <a:pt x="300447" y="29466"/>
                  </a:lnTo>
                  <a:lnTo>
                    <a:pt x="302261" y="28757"/>
                  </a:lnTo>
                  <a:lnTo>
                    <a:pt x="308873" y="26961"/>
                  </a:lnTo>
                  <a:lnTo>
                    <a:pt x="315633" y="24655"/>
                  </a:lnTo>
                  <a:lnTo>
                    <a:pt x="317530" y="21748"/>
                  </a:lnTo>
                  <a:lnTo>
                    <a:pt x="320366" y="20967"/>
                  </a:lnTo>
                  <a:lnTo>
                    <a:pt x="322584" y="18835"/>
                  </a:lnTo>
                  <a:lnTo>
                    <a:pt x="324375" y="19060"/>
                  </a:lnTo>
                  <a:lnTo>
                    <a:pt x="327088" y="19145"/>
                  </a:lnTo>
                  <a:lnTo>
                    <a:pt x="328766" y="18773"/>
                  </a:lnTo>
                  <a:lnTo>
                    <a:pt x="329614" y="18368"/>
                  </a:lnTo>
                  <a:lnTo>
                    <a:pt x="330538" y="17366"/>
                  </a:lnTo>
                  <a:lnTo>
                    <a:pt x="332063" y="14518"/>
                  </a:lnTo>
                  <a:lnTo>
                    <a:pt x="333910" y="13440"/>
                  </a:lnTo>
                  <a:lnTo>
                    <a:pt x="336234" y="12299"/>
                  </a:lnTo>
                  <a:lnTo>
                    <a:pt x="337822" y="10953"/>
                  </a:lnTo>
                  <a:lnTo>
                    <a:pt x="339129" y="9290"/>
                  </a:lnTo>
                  <a:lnTo>
                    <a:pt x="339731" y="7845"/>
                  </a:lnTo>
                  <a:lnTo>
                    <a:pt x="339715" y="6696"/>
                  </a:lnTo>
                  <a:lnTo>
                    <a:pt x="338941" y="4475"/>
                  </a:lnTo>
                  <a:lnTo>
                    <a:pt x="338004" y="2380"/>
                  </a:lnTo>
                  <a:lnTo>
                    <a:pt x="336989" y="1688"/>
                  </a:lnTo>
                  <a:lnTo>
                    <a:pt x="336224" y="1422"/>
                  </a:lnTo>
                  <a:lnTo>
                    <a:pt x="338526" y="936"/>
                  </a:lnTo>
                  <a:lnTo>
                    <a:pt x="340427" y="1665"/>
                  </a:lnTo>
                  <a:lnTo>
                    <a:pt x="343390" y="1777"/>
                  </a:lnTo>
                  <a:lnTo>
                    <a:pt x="344677" y="1216"/>
                  </a:lnTo>
                  <a:lnTo>
                    <a:pt x="346542" y="1491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25" name="ee4p_BB_1_37365">
              <a:extLst>
                <a:ext uri="{FF2B5EF4-FFF2-40B4-BE49-F238E27FC236}">
                  <a16:creationId xmlns:a16="http://schemas.microsoft.com/office/drawing/2014/main" id="{33A56DEA-4FA5-98FF-E02A-1922FEBCD6CF}"/>
                </a:ext>
              </a:extLst>
            </p:cNvPr>
            <p:cNvSpPr>
              <a:spLocks noChangeAspect="1"/>
            </p:cNvSpPr>
            <p:nvPr>
              <p:custDataLst>
                <p:tags r:id="rId379"/>
              </p:custDataLst>
            </p:nvPr>
          </p:nvSpPr>
          <p:spPr>
            <a:xfrm>
              <a:off x="4858351" y="4293683"/>
              <a:ext cx="6085" cy="7414"/>
            </a:xfrm>
            <a:custGeom>
              <a:avLst/>
              <a:gdLst/>
              <a:ahLst/>
              <a:cxnLst/>
              <a:rect l="0" t="0" r="0" b="0"/>
              <a:pathLst>
                <a:path w="4845" h="5747">
                  <a:moveTo>
                    <a:pt x="3391" y="5301"/>
                  </a:moveTo>
                  <a:lnTo>
                    <a:pt x="2760" y="5746"/>
                  </a:lnTo>
                  <a:lnTo>
                    <a:pt x="782" y="4848"/>
                  </a:lnTo>
                  <a:lnTo>
                    <a:pt x="86" y="3765"/>
                  </a:lnTo>
                  <a:lnTo>
                    <a:pt x="0" y="327"/>
                  </a:lnTo>
                  <a:lnTo>
                    <a:pt x="1218" y="0"/>
                  </a:lnTo>
                  <a:lnTo>
                    <a:pt x="3511" y="2718"/>
                  </a:lnTo>
                  <a:lnTo>
                    <a:pt x="4844" y="3709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26" name="ee4p_CA_1_37365">
              <a:extLst>
                <a:ext uri="{FF2B5EF4-FFF2-40B4-BE49-F238E27FC236}">
                  <a16:creationId xmlns:a16="http://schemas.microsoft.com/office/drawing/2014/main" id="{E7439693-C01A-DB81-21A9-AFF37D109C4B}"/>
                </a:ext>
              </a:extLst>
            </p:cNvPr>
            <p:cNvSpPr>
              <a:spLocks noChangeAspect="1"/>
            </p:cNvSpPr>
            <p:nvPr>
              <p:custDataLst>
                <p:tags r:id="rId380"/>
              </p:custDataLst>
            </p:nvPr>
          </p:nvSpPr>
          <p:spPr>
            <a:xfrm>
              <a:off x="2599162" y="1468489"/>
              <a:ext cx="2453380" cy="1945108"/>
            </a:xfrm>
            <a:custGeom>
              <a:avLst/>
              <a:gdLst>
                <a:gd name="connsiteX0" fmla="*/ 2060840 w 2240198"/>
                <a:gd name="connsiteY0" fmla="*/ 1657574 h 1729012"/>
                <a:gd name="connsiteX1" fmla="*/ 2059307 w 2240198"/>
                <a:gd name="connsiteY1" fmla="*/ 1659536 h 1729012"/>
                <a:gd name="connsiteX2" fmla="*/ 2055892 w 2240198"/>
                <a:gd name="connsiteY2" fmla="*/ 1660643 h 1729012"/>
                <a:gd name="connsiteX3" fmla="*/ 2052965 w 2240198"/>
                <a:gd name="connsiteY3" fmla="*/ 1660558 h 1729012"/>
                <a:gd name="connsiteX4" fmla="*/ 2051025 w 2240198"/>
                <a:gd name="connsiteY4" fmla="*/ 1659551 h 1729012"/>
                <a:gd name="connsiteX5" fmla="*/ 2050943 w 2240198"/>
                <a:gd name="connsiteY5" fmla="*/ 1659110 h 1729012"/>
                <a:gd name="connsiteX6" fmla="*/ 2055544 w 2240198"/>
                <a:gd name="connsiteY6" fmla="*/ 1659536 h 1729012"/>
                <a:gd name="connsiteX7" fmla="*/ 2057310 w 2240198"/>
                <a:gd name="connsiteY7" fmla="*/ 1659302 h 1729012"/>
                <a:gd name="connsiteX8" fmla="*/ 1896449 w 2240198"/>
                <a:gd name="connsiteY8" fmla="*/ 1645474 h 1729012"/>
                <a:gd name="connsiteX9" fmla="*/ 1894841 w 2240198"/>
                <a:gd name="connsiteY9" fmla="*/ 1648580 h 1729012"/>
                <a:gd name="connsiteX10" fmla="*/ 1893565 w 2240198"/>
                <a:gd name="connsiteY10" fmla="*/ 1649668 h 1729012"/>
                <a:gd name="connsiteX11" fmla="*/ 1893875 w 2240198"/>
                <a:gd name="connsiteY11" fmla="*/ 1648601 h 1729012"/>
                <a:gd name="connsiteX12" fmla="*/ 1895432 w 2240198"/>
                <a:gd name="connsiteY12" fmla="*/ 1645880 h 1729012"/>
                <a:gd name="connsiteX13" fmla="*/ 1881444 w 2240198"/>
                <a:gd name="connsiteY13" fmla="*/ 1632571 h 1729012"/>
                <a:gd name="connsiteX14" fmla="*/ 1882882 w 2240198"/>
                <a:gd name="connsiteY14" fmla="*/ 1633008 h 1729012"/>
                <a:gd name="connsiteX15" fmla="*/ 1882680 w 2240198"/>
                <a:gd name="connsiteY15" fmla="*/ 1635560 h 1729012"/>
                <a:gd name="connsiteX16" fmla="*/ 1882449 w 2240198"/>
                <a:gd name="connsiteY16" fmla="*/ 1636436 h 1729012"/>
                <a:gd name="connsiteX17" fmla="*/ 1879037 w 2240198"/>
                <a:gd name="connsiteY17" fmla="*/ 1638087 h 1729012"/>
                <a:gd name="connsiteX18" fmla="*/ 1880364 w 2240198"/>
                <a:gd name="connsiteY18" fmla="*/ 1633868 h 1729012"/>
                <a:gd name="connsiteX19" fmla="*/ 2027907 w 2240198"/>
                <a:gd name="connsiteY19" fmla="*/ 1608328 h 1729012"/>
                <a:gd name="connsiteX20" fmla="*/ 2030785 w 2240198"/>
                <a:gd name="connsiteY20" fmla="*/ 1608646 h 1729012"/>
                <a:gd name="connsiteX21" fmla="*/ 2029757 w 2240198"/>
                <a:gd name="connsiteY21" fmla="*/ 1610278 h 1729012"/>
                <a:gd name="connsiteX22" fmla="*/ 2029540 w 2240198"/>
                <a:gd name="connsiteY22" fmla="*/ 1611083 h 1729012"/>
                <a:gd name="connsiteX23" fmla="*/ 2028493 w 2240198"/>
                <a:gd name="connsiteY23" fmla="*/ 1611342 h 1729012"/>
                <a:gd name="connsiteX24" fmla="*/ 2028249 w 2240198"/>
                <a:gd name="connsiteY24" fmla="*/ 1610891 h 1729012"/>
                <a:gd name="connsiteX25" fmla="*/ 2026634 w 2240198"/>
                <a:gd name="connsiteY25" fmla="*/ 1609591 h 1729012"/>
                <a:gd name="connsiteX26" fmla="*/ 2026493 w 2240198"/>
                <a:gd name="connsiteY26" fmla="*/ 1608944 h 1729012"/>
                <a:gd name="connsiteX27" fmla="*/ 1709776 w 2240198"/>
                <a:gd name="connsiteY27" fmla="*/ 1604634 h 1729012"/>
                <a:gd name="connsiteX28" fmla="*/ 1706658 w 2240198"/>
                <a:gd name="connsiteY28" fmla="*/ 1608072 h 1729012"/>
                <a:gd name="connsiteX29" fmla="*/ 1703600 w 2240198"/>
                <a:gd name="connsiteY29" fmla="*/ 1608722 h 1729012"/>
                <a:gd name="connsiteX30" fmla="*/ 1702540 w 2240198"/>
                <a:gd name="connsiteY30" fmla="*/ 1608448 h 1729012"/>
                <a:gd name="connsiteX31" fmla="*/ 1705914 w 2240198"/>
                <a:gd name="connsiteY31" fmla="*/ 1605348 h 1729012"/>
                <a:gd name="connsiteX32" fmla="*/ 1712217 w 2240198"/>
                <a:gd name="connsiteY32" fmla="*/ 1604310 h 1729012"/>
                <a:gd name="connsiteX33" fmla="*/ 1710624 w 2240198"/>
                <a:gd name="connsiteY33" fmla="*/ 1609303 h 1729012"/>
                <a:gd name="connsiteX34" fmla="*/ 1710301 w 2240198"/>
                <a:gd name="connsiteY34" fmla="*/ 1611086 h 1729012"/>
                <a:gd name="connsiteX35" fmla="*/ 1709924 w 2240198"/>
                <a:gd name="connsiteY35" fmla="*/ 1611739 h 1729012"/>
                <a:gd name="connsiteX36" fmla="*/ 1707970 w 2240198"/>
                <a:gd name="connsiteY36" fmla="*/ 1612368 h 1729012"/>
                <a:gd name="connsiteX37" fmla="*/ 1704628 w 2240198"/>
                <a:gd name="connsiteY37" fmla="*/ 1611785 h 1729012"/>
                <a:gd name="connsiteX38" fmla="*/ 1700955 w 2240198"/>
                <a:gd name="connsiteY38" fmla="*/ 1612594 h 1729012"/>
                <a:gd name="connsiteX39" fmla="*/ 1699932 w 2240198"/>
                <a:gd name="connsiteY39" fmla="*/ 1612611 h 1729012"/>
                <a:gd name="connsiteX40" fmla="*/ 1702661 w 2240198"/>
                <a:gd name="connsiteY40" fmla="*/ 1610271 h 1729012"/>
                <a:gd name="connsiteX41" fmla="*/ 1706857 w 2240198"/>
                <a:gd name="connsiteY41" fmla="*/ 1608830 h 1729012"/>
                <a:gd name="connsiteX42" fmla="*/ 1711041 w 2240198"/>
                <a:gd name="connsiteY42" fmla="*/ 1604423 h 1729012"/>
                <a:gd name="connsiteX43" fmla="*/ 1778054 w 2240198"/>
                <a:gd name="connsiteY43" fmla="*/ 1563265 h 1729012"/>
                <a:gd name="connsiteX44" fmla="*/ 1779419 w 2240198"/>
                <a:gd name="connsiteY44" fmla="*/ 1563289 h 1729012"/>
                <a:gd name="connsiteX45" fmla="*/ 1777196 w 2240198"/>
                <a:gd name="connsiteY45" fmla="*/ 1565714 h 1729012"/>
                <a:gd name="connsiteX46" fmla="*/ 1774349 w 2240198"/>
                <a:gd name="connsiteY46" fmla="*/ 1567204 h 1729012"/>
                <a:gd name="connsiteX47" fmla="*/ 1772044 w 2240198"/>
                <a:gd name="connsiteY47" fmla="*/ 1567463 h 1729012"/>
                <a:gd name="connsiteX48" fmla="*/ 1772594 w 2240198"/>
                <a:gd name="connsiteY48" fmla="*/ 1566353 h 1729012"/>
                <a:gd name="connsiteX49" fmla="*/ 1775741 w 2240198"/>
                <a:gd name="connsiteY49" fmla="*/ 1564375 h 1729012"/>
                <a:gd name="connsiteX50" fmla="*/ 2041521 w 2240198"/>
                <a:gd name="connsiteY50" fmla="*/ 1562829 h 1729012"/>
                <a:gd name="connsiteX51" fmla="*/ 2043571 w 2240198"/>
                <a:gd name="connsiteY51" fmla="*/ 1563028 h 1729012"/>
                <a:gd name="connsiteX52" fmla="*/ 2042984 w 2240198"/>
                <a:gd name="connsiteY52" fmla="*/ 1564327 h 1729012"/>
                <a:gd name="connsiteX53" fmla="*/ 2043134 w 2240198"/>
                <a:gd name="connsiteY53" fmla="*/ 1565597 h 1729012"/>
                <a:gd name="connsiteX54" fmla="*/ 2045510 w 2240198"/>
                <a:gd name="connsiteY54" fmla="*/ 1570561 h 1729012"/>
                <a:gd name="connsiteX55" fmla="*/ 2045480 w 2240198"/>
                <a:gd name="connsiteY55" fmla="*/ 1571545 h 1729012"/>
                <a:gd name="connsiteX56" fmla="*/ 2044183 w 2240198"/>
                <a:gd name="connsiteY56" fmla="*/ 1575490 h 1729012"/>
                <a:gd name="connsiteX57" fmla="*/ 2041689 w 2240198"/>
                <a:gd name="connsiteY57" fmla="*/ 1581851 h 1729012"/>
                <a:gd name="connsiteX58" fmla="*/ 2041048 w 2240198"/>
                <a:gd name="connsiteY58" fmla="*/ 1585353 h 1729012"/>
                <a:gd name="connsiteX59" fmla="*/ 2041382 w 2240198"/>
                <a:gd name="connsiteY59" fmla="*/ 1586404 h 1729012"/>
                <a:gd name="connsiteX60" fmla="*/ 2040370 w 2240198"/>
                <a:gd name="connsiteY60" fmla="*/ 1588173 h 1729012"/>
                <a:gd name="connsiteX61" fmla="*/ 2039295 w 2240198"/>
                <a:gd name="connsiteY61" fmla="*/ 1589518 h 1729012"/>
                <a:gd name="connsiteX62" fmla="*/ 2035036 w 2240198"/>
                <a:gd name="connsiteY62" fmla="*/ 1592038 h 1729012"/>
                <a:gd name="connsiteX63" fmla="*/ 2032862 w 2240198"/>
                <a:gd name="connsiteY63" fmla="*/ 1592627 h 1729012"/>
                <a:gd name="connsiteX64" fmla="*/ 2030792 w 2240198"/>
                <a:gd name="connsiteY64" fmla="*/ 1593562 h 1729012"/>
                <a:gd name="connsiteX65" fmla="*/ 2025899 w 2240198"/>
                <a:gd name="connsiteY65" fmla="*/ 1596725 h 1729012"/>
                <a:gd name="connsiteX66" fmla="*/ 2026757 w 2240198"/>
                <a:gd name="connsiteY66" fmla="*/ 1596966 h 1729012"/>
                <a:gd name="connsiteX67" fmla="*/ 2030174 w 2240198"/>
                <a:gd name="connsiteY67" fmla="*/ 1595431 h 1729012"/>
                <a:gd name="connsiteX68" fmla="*/ 2031982 w 2240198"/>
                <a:gd name="connsiteY68" fmla="*/ 1595497 h 1729012"/>
                <a:gd name="connsiteX69" fmla="*/ 2031902 w 2240198"/>
                <a:gd name="connsiteY69" fmla="*/ 1596600 h 1729012"/>
                <a:gd name="connsiteX70" fmla="*/ 2028964 w 2240198"/>
                <a:gd name="connsiteY70" fmla="*/ 1597800 h 1729012"/>
                <a:gd name="connsiteX71" fmla="*/ 2027613 w 2240198"/>
                <a:gd name="connsiteY71" fmla="*/ 1598702 h 1729012"/>
                <a:gd name="connsiteX72" fmla="*/ 2029310 w 2240198"/>
                <a:gd name="connsiteY72" fmla="*/ 1599537 h 1729012"/>
                <a:gd name="connsiteX73" fmla="*/ 2029287 w 2240198"/>
                <a:gd name="connsiteY73" fmla="*/ 1600101 h 1729012"/>
                <a:gd name="connsiteX74" fmla="*/ 2027247 w 2240198"/>
                <a:gd name="connsiteY74" fmla="*/ 1601459 h 1729012"/>
                <a:gd name="connsiteX75" fmla="*/ 2026230 w 2240198"/>
                <a:gd name="connsiteY75" fmla="*/ 1602931 h 1729012"/>
                <a:gd name="connsiteX76" fmla="*/ 2027069 w 2240198"/>
                <a:gd name="connsiteY76" fmla="*/ 1604353 h 1729012"/>
                <a:gd name="connsiteX77" fmla="*/ 2030331 w 2240198"/>
                <a:gd name="connsiteY77" fmla="*/ 1602953 h 1729012"/>
                <a:gd name="connsiteX78" fmla="*/ 2031669 w 2240198"/>
                <a:gd name="connsiteY78" fmla="*/ 1602940 h 1729012"/>
                <a:gd name="connsiteX79" fmla="*/ 2033482 w 2240198"/>
                <a:gd name="connsiteY79" fmla="*/ 1603257 h 1729012"/>
                <a:gd name="connsiteX80" fmla="*/ 2035211 w 2240198"/>
                <a:gd name="connsiteY80" fmla="*/ 1602836 h 1729012"/>
                <a:gd name="connsiteX81" fmla="*/ 2036195 w 2240198"/>
                <a:gd name="connsiteY81" fmla="*/ 1602143 h 1729012"/>
                <a:gd name="connsiteX82" fmla="*/ 2041944 w 2240198"/>
                <a:gd name="connsiteY82" fmla="*/ 1596668 h 1729012"/>
                <a:gd name="connsiteX83" fmla="*/ 2042243 w 2240198"/>
                <a:gd name="connsiteY83" fmla="*/ 1595966 h 1729012"/>
                <a:gd name="connsiteX84" fmla="*/ 2036048 w 2240198"/>
                <a:gd name="connsiteY84" fmla="*/ 1597098 h 1729012"/>
                <a:gd name="connsiteX85" fmla="*/ 2035328 w 2240198"/>
                <a:gd name="connsiteY85" fmla="*/ 1596349 h 1729012"/>
                <a:gd name="connsiteX86" fmla="*/ 2039388 w 2240198"/>
                <a:gd name="connsiteY86" fmla="*/ 1593028 h 1729012"/>
                <a:gd name="connsiteX87" fmla="*/ 2039069 w 2240198"/>
                <a:gd name="connsiteY87" fmla="*/ 1591278 h 1729012"/>
                <a:gd name="connsiteX88" fmla="*/ 2041118 w 2240198"/>
                <a:gd name="connsiteY88" fmla="*/ 1588512 h 1729012"/>
                <a:gd name="connsiteX89" fmla="*/ 2042996 w 2240198"/>
                <a:gd name="connsiteY89" fmla="*/ 1586869 h 1729012"/>
                <a:gd name="connsiteX90" fmla="*/ 2044375 w 2240198"/>
                <a:gd name="connsiteY90" fmla="*/ 1585949 h 1729012"/>
                <a:gd name="connsiteX91" fmla="*/ 2046367 w 2240198"/>
                <a:gd name="connsiteY91" fmla="*/ 1585103 h 1729012"/>
                <a:gd name="connsiteX92" fmla="*/ 2047738 w 2240198"/>
                <a:gd name="connsiteY92" fmla="*/ 1586409 h 1729012"/>
                <a:gd name="connsiteX93" fmla="*/ 2048180 w 2240198"/>
                <a:gd name="connsiteY93" fmla="*/ 1588776 h 1729012"/>
                <a:gd name="connsiteX94" fmla="*/ 2051576 w 2240198"/>
                <a:gd name="connsiteY94" fmla="*/ 1588444 h 1729012"/>
                <a:gd name="connsiteX95" fmla="*/ 2054899 w 2240198"/>
                <a:gd name="connsiteY95" fmla="*/ 1588920 h 1729012"/>
                <a:gd name="connsiteX96" fmla="*/ 2057344 w 2240198"/>
                <a:gd name="connsiteY96" fmla="*/ 1589919 h 1729012"/>
                <a:gd name="connsiteX97" fmla="*/ 2057725 w 2240198"/>
                <a:gd name="connsiteY97" fmla="*/ 1590494 h 1729012"/>
                <a:gd name="connsiteX98" fmla="*/ 2057756 w 2240198"/>
                <a:gd name="connsiteY98" fmla="*/ 1591396 h 1729012"/>
                <a:gd name="connsiteX99" fmla="*/ 2056942 w 2240198"/>
                <a:gd name="connsiteY99" fmla="*/ 1593022 h 1729012"/>
                <a:gd name="connsiteX100" fmla="*/ 2055594 w 2240198"/>
                <a:gd name="connsiteY100" fmla="*/ 1594359 h 1729012"/>
                <a:gd name="connsiteX101" fmla="*/ 2058282 w 2240198"/>
                <a:gd name="connsiteY101" fmla="*/ 1596078 h 1729012"/>
                <a:gd name="connsiteX102" fmla="*/ 2057923 w 2240198"/>
                <a:gd name="connsiteY102" fmla="*/ 1596825 h 1729012"/>
                <a:gd name="connsiteX103" fmla="*/ 2053521 w 2240198"/>
                <a:gd name="connsiteY103" fmla="*/ 1598757 h 1729012"/>
                <a:gd name="connsiteX104" fmla="*/ 2051020 w 2240198"/>
                <a:gd name="connsiteY104" fmla="*/ 1600704 h 1729012"/>
                <a:gd name="connsiteX105" fmla="*/ 2048722 w 2240198"/>
                <a:gd name="connsiteY105" fmla="*/ 1603101 h 1729012"/>
                <a:gd name="connsiteX106" fmla="*/ 2044132 w 2240198"/>
                <a:gd name="connsiteY106" fmla="*/ 1605891 h 1729012"/>
                <a:gd name="connsiteX107" fmla="*/ 2036858 w 2240198"/>
                <a:gd name="connsiteY107" fmla="*/ 1607904 h 1729012"/>
                <a:gd name="connsiteX108" fmla="*/ 2034557 w 2240198"/>
                <a:gd name="connsiteY108" fmla="*/ 1607904 h 1729012"/>
                <a:gd name="connsiteX109" fmla="*/ 2031822 w 2240198"/>
                <a:gd name="connsiteY109" fmla="*/ 1607277 h 1729012"/>
                <a:gd name="connsiteX110" fmla="*/ 2029107 w 2240198"/>
                <a:gd name="connsiteY110" fmla="*/ 1607420 h 1729012"/>
                <a:gd name="connsiteX111" fmla="*/ 2026444 w 2240198"/>
                <a:gd name="connsiteY111" fmla="*/ 1608170 h 1729012"/>
                <a:gd name="connsiteX112" fmla="*/ 2023838 w 2240198"/>
                <a:gd name="connsiteY112" fmla="*/ 1608088 h 1729012"/>
                <a:gd name="connsiteX113" fmla="*/ 2022573 w 2240198"/>
                <a:gd name="connsiteY113" fmla="*/ 1608481 h 1729012"/>
                <a:gd name="connsiteX114" fmla="*/ 2021372 w 2240198"/>
                <a:gd name="connsiteY114" fmla="*/ 1608439 h 1729012"/>
                <a:gd name="connsiteX115" fmla="*/ 2020364 w 2240198"/>
                <a:gd name="connsiteY115" fmla="*/ 1607662 h 1729012"/>
                <a:gd name="connsiteX116" fmla="*/ 2018211 w 2240198"/>
                <a:gd name="connsiteY116" fmla="*/ 1605435 h 1729012"/>
                <a:gd name="connsiteX117" fmla="*/ 2017160 w 2240198"/>
                <a:gd name="connsiteY117" fmla="*/ 1603948 h 1729012"/>
                <a:gd name="connsiteX118" fmla="*/ 2016006 w 2240198"/>
                <a:gd name="connsiteY118" fmla="*/ 1596827 h 1729012"/>
                <a:gd name="connsiteX119" fmla="*/ 2016379 w 2240198"/>
                <a:gd name="connsiteY119" fmla="*/ 1593082 h 1729012"/>
                <a:gd name="connsiteX120" fmla="*/ 2018203 w 2240198"/>
                <a:gd name="connsiteY120" fmla="*/ 1589575 h 1729012"/>
                <a:gd name="connsiteX121" fmla="*/ 2020903 w 2240198"/>
                <a:gd name="connsiteY121" fmla="*/ 1587243 h 1729012"/>
                <a:gd name="connsiteX122" fmla="*/ 2022467 w 2240198"/>
                <a:gd name="connsiteY122" fmla="*/ 1585379 h 1729012"/>
                <a:gd name="connsiteX123" fmla="*/ 2029009 w 2240198"/>
                <a:gd name="connsiteY123" fmla="*/ 1574305 h 1729012"/>
                <a:gd name="connsiteX124" fmla="*/ 2030290 w 2240198"/>
                <a:gd name="connsiteY124" fmla="*/ 1571786 h 1729012"/>
                <a:gd name="connsiteX125" fmla="*/ 2031857 w 2240198"/>
                <a:gd name="connsiteY125" fmla="*/ 1569637 h 1729012"/>
                <a:gd name="connsiteX126" fmla="*/ 2034659 w 2240198"/>
                <a:gd name="connsiteY126" fmla="*/ 1567509 h 1729012"/>
                <a:gd name="connsiteX127" fmla="*/ 2038286 w 2240198"/>
                <a:gd name="connsiteY127" fmla="*/ 1563915 h 1729012"/>
                <a:gd name="connsiteX128" fmla="*/ 2039442 w 2240198"/>
                <a:gd name="connsiteY128" fmla="*/ 1563178 h 1729012"/>
                <a:gd name="connsiteX129" fmla="*/ 1952660 w 2240198"/>
                <a:gd name="connsiteY129" fmla="*/ 1561168 h 1729012"/>
                <a:gd name="connsiteX130" fmla="*/ 1952565 w 2240198"/>
                <a:gd name="connsiteY130" fmla="*/ 1563724 h 1729012"/>
                <a:gd name="connsiteX131" fmla="*/ 1952965 w 2240198"/>
                <a:gd name="connsiteY131" fmla="*/ 1565924 h 1729012"/>
                <a:gd name="connsiteX132" fmla="*/ 1950267 w 2240198"/>
                <a:gd name="connsiteY132" fmla="*/ 1570318 h 1729012"/>
                <a:gd name="connsiteX133" fmla="*/ 1954955 w 2240198"/>
                <a:gd name="connsiteY133" fmla="*/ 1574667 h 1729012"/>
                <a:gd name="connsiteX134" fmla="*/ 1955557 w 2240198"/>
                <a:gd name="connsiteY134" fmla="*/ 1575628 h 1729012"/>
                <a:gd name="connsiteX135" fmla="*/ 1955952 w 2240198"/>
                <a:gd name="connsiteY135" fmla="*/ 1576795 h 1729012"/>
                <a:gd name="connsiteX136" fmla="*/ 1955649 w 2240198"/>
                <a:gd name="connsiteY136" fmla="*/ 1577868 h 1729012"/>
                <a:gd name="connsiteX137" fmla="*/ 1954890 w 2240198"/>
                <a:gd name="connsiteY137" fmla="*/ 1578820 h 1729012"/>
                <a:gd name="connsiteX138" fmla="*/ 1956716 w 2240198"/>
                <a:gd name="connsiteY138" fmla="*/ 1579293 h 1729012"/>
                <a:gd name="connsiteX139" fmla="*/ 1957281 w 2240198"/>
                <a:gd name="connsiteY139" fmla="*/ 1580095 h 1729012"/>
                <a:gd name="connsiteX140" fmla="*/ 1957967 w 2240198"/>
                <a:gd name="connsiteY140" fmla="*/ 1580543 h 1729012"/>
                <a:gd name="connsiteX141" fmla="*/ 1959164 w 2240198"/>
                <a:gd name="connsiteY141" fmla="*/ 1579720 h 1729012"/>
                <a:gd name="connsiteX142" fmla="*/ 1960573 w 2240198"/>
                <a:gd name="connsiteY142" fmla="*/ 1577127 h 1729012"/>
                <a:gd name="connsiteX143" fmla="*/ 1964303 w 2240198"/>
                <a:gd name="connsiteY143" fmla="*/ 1577806 h 1729012"/>
                <a:gd name="connsiteX144" fmla="*/ 1966277 w 2240198"/>
                <a:gd name="connsiteY144" fmla="*/ 1578975 h 1729012"/>
                <a:gd name="connsiteX145" fmla="*/ 1967377 w 2240198"/>
                <a:gd name="connsiteY145" fmla="*/ 1578717 h 1729012"/>
                <a:gd name="connsiteX146" fmla="*/ 1968504 w 2240198"/>
                <a:gd name="connsiteY146" fmla="*/ 1578836 h 1729012"/>
                <a:gd name="connsiteX147" fmla="*/ 1970598 w 2240198"/>
                <a:gd name="connsiteY147" fmla="*/ 1580366 h 1729012"/>
                <a:gd name="connsiteX148" fmla="*/ 1974571 w 2240198"/>
                <a:gd name="connsiteY148" fmla="*/ 1581574 h 1729012"/>
                <a:gd name="connsiteX149" fmla="*/ 1978765 w 2240198"/>
                <a:gd name="connsiteY149" fmla="*/ 1581399 h 1729012"/>
                <a:gd name="connsiteX150" fmla="*/ 1985154 w 2240198"/>
                <a:gd name="connsiteY150" fmla="*/ 1580681 h 1729012"/>
                <a:gd name="connsiteX151" fmla="*/ 1985917 w 2240198"/>
                <a:gd name="connsiteY151" fmla="*/ 1580391 h 1729012"/>
                <a:gd name="connsiteX152" fmla="*/ 1992481 w 2240198"/>
                <a:gd name="connsiteY152" fmla="*/ 1579791 h 1729012"/>
                <a:gd name="connsiteX153" fmla="*/ 1999060 w 2240198"/>
                <a:gd name="connsiteY153" fmla="*/ 1579507 h 1729012"/>
                <a:gd name="connsiteX154" fmla="*/ 2001325 w 2240198"/>
                <a:gd name="connsiteY154" fmla="*/ 1580190 h 1729012"/>
                <a:gd name="connsiteX155" fmla="*/ 2002171 w 2240198"/>
                <a:gd name="connsiteY155" fmla="*/ 1580827 h 1729012"/>
                <a:gd name="connsiteX156" fmla="*/ 2002606 w 2240198"/>
                <a:gd name="connsiteY156" fmla="*/ 1581595 h 1729012"/>
                <a:gd name="connsiteX157" fmla="*/ 1998853 w 2240198"/>
                <a:gd name="connsiteY157" fmla="*/ 1583700 h 1729012"/>
                <a:gd name="connsiteX158" fmla="*/ 1995095 w 2240198"/>
                <a:gd name="connsiteY158" fmla="*/ 1586147 h 1729012"/>
                <a:gd name="connsiteX159" fmla="*/ 1989870 w 2240198"/>
                <a:gd name="connsiteY159" fmla="*/ 1588543 h 1729012"/>
                <a:gd name="connsiteX160" fmla="*/ 1989211 w 2240198"/>
                <a:gd name="connsiteY160" fmla="*/ 1589715 h 1729012"/>
                <a:gd name="connsiteX161" fmla="*/ 1989536 w 2240198"/>
                <a:gd name="connsiteY161" fmla="*/ 1591871 h 1729012"/>
                <a:gd name="connsiteX162" fmla="*/ 1989433 w 2240198"/>
                <a:gd name="connsiteY162" fmla="*/ 1594067 h 1729012"/>
                <a:gd name="connsiteX163" fmla="*/ 1990465 w 2240198"/>
                <a:gd name="connsiteY163" fmla="*/ 1594248 h 1729012"/>
                <a:gd name="connsiteX164" fmla="*/ 1991086 w 2240198"/>
                <a:gd name="connsiteY164" fmla="*/ 1594983 h 1729012"/>
                <a:gd name="connsiteX165" fmla="*/ 1989735 w 2240198"/>
                <a:gd name="connsiteY165" fmla="*/ 1595693 h 1729012"/>
                <a:gd name="connsiteX166" fmla="*/ 1984364 w 2240198"/>
                <a:gd name="connsiteY166" fmla="*/ 1596023 h 1729012"/>
                <a:gd name="connsiteX167" fmla="*/ 1982800 w 2240198"/>
                <a:gd name="connsiteY167" fmla="*/ 1595823 h 1729012"/>
                <a:gd name="connsiteX168" fmla="*/ 1980937 w 2240198"/>
                <a:gd name="connsiteY168" fmla="*/ 1594931 h 1729012"/>
                <a:gd name="connsiteX169" fmla="*/ 1980299 w 2240198"/>
                <a:gd name="connsiteY169" fmla="*/ 1592812 h 1729012"/>
                <a:gd name="connsiteX170" fmla="*/ 1977989 w 2240198"/>
                <a:gd name="connsiteY170" fmla="*/ 1593123 h 1729012"/>
                <a:gd name="connsiteX171" fmla="*/ 1977292 w 2240198"/>
                <a:gd name="connsiteY171" fmla="*/ 1592864 h 1729012"/>
                <a:gd name="connsiteX172" fmla="*/ 1980526 w 2240198"/>
                <a:gd name="connsiteY172" fmla="*/ 1591058 h 1729012"/>
                <a:gd name="connsiteX173" fmla="*/ 1979053 w 2240198"/>
                <a:gd name="connsiteY173" fmla="*/ 1588787 h 1729012"/>
                <a:gd name="connsiteX174" fmla="*/ 1977470 w 2240198"/>
                <a:gd name="connsiteY174" fmla="*/ 1588953 h 1729012"/>
                <a:gd name="connsiteX175" fmla="*/ 1976423 w 2240198"/>
                <a:gd name="connsiteY175" fmla="*/ 1587875 h 1729012"/>
                <a:gd name="connsiteX176" fmla="*/ 1976509 w 2240198"/>
                <a:gd name="connsiteY176" fmla="*/ 1586418 h 1729012"/>
                <a:gd name="connsiteX177" fmla="*/ 1977976 w 2240198"/>
                <a:gd name="connsiteY177" fmla="*/ 1585709 h 1729012"/>
                <a:gd name="connsiteX178" fmla="*/ 1978398 w 2240198"/>
                <a:gd name="connsiteY178" fmla="*/ 1584940 h 1729012"/>
                <a:gd name="connsiteX179" fmla="*/ 1976410 w 2240198"/>
                <a:gd name="connsiteY179" fmla="*/ 1585606 h 1729012"/>
                <a:gd name="connsiteX180" fmla="*/ 1974886 w 2240198"/>
                <a:gd name="connsiteY180" fmla="*/ 1586957 h 1729012"/>
                <a:gd name="connsiteX181" fmla="*/ 1972914 w 2240198"/>
                <a:gd name="connsiteY181" fmla="*/ 1587468 h 1729012"/>
                <a:gd name="connsiteX182" fmla="*/ 1970986 w 2240198"/>
                <a:gd name="connsiteY182" fmla="*/ 1588635 h 1729012"/>
                <a:gd name="connsiteX183" fmla="*/ 1973978 w 2240198"/>
                <a:gd name="connsiteY183" fmla="*/ 1589004 h 1729012"/>
                <a:gd name="connsiteX184" fmla="*/ 1972440 w 2240198"/>
                <a:gd name="connsiteY184" fmla="*/ 1589907 h 1729012"/>
                <a:gd name="connsiteX185" fmla="*/ 1970838 w 2240198"/>
                <a:gd name="connsiteY185" fmla="*/ 1590116 h 1729012"/>
                <a:gd name="connsiteX186" fmla="*/ 1963426 w 2240198"/>
                <a:gd name="connsiteY186" fmla="*/ 1588341 h 1729012"/>
                <a:gd name="connsiteX187" fmla="*/ 1961599 w 2240198"/>
                <a:gd name="connsiteY187" fmla="*/ 1587667 h 1729012"/>
                <a:gd name="connsiteX188" fmla="*/ 1959297 w 2240198"/>
                <a:gd name="connsiteY188" fmla="*/ 1585807 h 1729012"/>
                <a:gd name="connsiteX189" fmla="*/ 1957554 w 2240198"/>
                <a:gd name="connsiteY189" fmla="*/ 1583320 h 1729012"/>
                <a:gd name="connsiteX190" fmla="*/ 1958499 w 2240198"/>
                <a:gd name="connsiteY190" fmla="*/ 1583223 h 1729012"/>
                <a:gd name="connsiteX191" fmla="*/ 1958821 w 2240198"/>
                <a:gd name="connsiteY191" fmla="*/ 1582777 h 1729012"/>
                <a:gd name="connsiteX192" fmla="*/ 1958616 w 2240198"/>
                <a:gd name="connsiteY192" fmla="*/ 1582356 h 1729012"/>
                <a:gd name="connsiteX193" fmla="*/ 1956031 w 2240198"/>
                <a:gd name="connsiteY193" fmla="*/ 1582021 h 1729012"/>
                <a:gd name="connsiteX194" fmla="*/ 1951996 w 2240198"/>
                <a:gd name="connsiteY194" fmla="*/ 1582127 h 1729012"/>
                <a:gd name="connsiteX195" fmla="*/ 1949685 w 2240198"/>
                <a:gd name="connsiteY195" fmla="*/ 1581472 h 1729012"/>
                <a:gd name="connsiteX196" fmla="*/ 1949794 w 2240198"/>
                <a:gd name="connsiteY196" fmla="*/ 1577121 h 1729012"/>
                <a:gd name="connsiteX197" fmla="*/ 1949047 w 2240198"/>
                <a:gd name="connsiteY197" fmla="*/ 1575923 h 1729012"/>
                <a:gd name="connsiteX198" fmla="*/ 1946521 w 2240198"/>
                <a:gd name="connsiteY198" fmla="*/ 1574912 h 1729012"/>
                <a:gd name="connsiteX199" fmla="*/ 1942657 w 2240198"/>
                <a:gd name="connsiteY199" fmla="*/ 1574611 h 1729012"/>
                <a:gd name="connsiteX200" fmla="*/ 1942274 w 2240198"/>
                <a:gd name="connsiteY200" fmla="*/ 1572993 h 1729012"/>
                <a:gd name="connsiteX201" fmla="*/ 1943505 w 2240198"/>
                <a:gd name="connsiteY201" fmla="*/ 1570516 h 1729012"/>
                <a:gd name="connsiteX202" fmla="*/ 1945397 w 2240198"/>
                <a:gd name="connsiteY202" fmla="*/ 1568391 h 1729012"/>
                <a:gd name="connsiteX203" fmla="*/ 1946836 w 2240198"/>
                <a:gd name="connsiteY203" fmla="*/ 1566299 h 1729012"/>
                <a:gd name="connsiteX204" fmla="*/ 1948517 w 2240198"/>
                <a:gd name="connsiteY204" fmla="*/ 1564583 h 1729012"/>
                <a:gd name="connsiteX205" fmla="*/ 2016544 w 2240198"/>
                <a:gd name="connsiteY205" fmla="*/ 1542368 h 1729012"/>
                <a:gd name="connsiteX206" fmla="*/ 2018536 w 2240198"/>
                <a:gd name="connsiteY206" fmla="*/ 1542663 h 1729012"/>
                <a:gd name="connsiteX207" fmla="*/ 2016506 w 2240198"/>
                <a:gd name="connsiteY207" fmla="*/ 1545035 h 1729012"/>
                <a:gd name="connsiteX208" fmla="*/ 2013801 w 2240198"/>
                <a:gd name="connsiteY208" fmla="*/ 1545164 h 1729012"/>
                <a:gd name="connsiteX209" fmla="*/ 2011219 w 2240198"/>
                <a:gd name="connsiteY209" fmla="*/ 1547136 h 1729012"/>
                <a:gd name="connsiteX210" fmla="*/ 2009525 w 2240198"/>
                <a:gd name="connsiteY210" fmla="*/ 1549321 h 1729012"/>
                <a:gd name="connsiteX211" fmla="*/ 2007488 w 2240198"/>
                <a:gd name="connsiteY211" fmla="*/ 1550567 h 1729012"/>
                <a:gd name="connsiteX212" fmla="*/ 2006083 w 2240198"/>
                <a:gd name="connsiteY212" fmla="*/ 1552090 h 1729012"/>
                <a:gd name="connsiteX213" fmla="*/ 2005386 w 2240198"/>
                <a:gd name="connsiteY213" fmla="*/ 1554021 h 1729012"/>
                <a:gd name="connsiteX214" fmla="*/ 2006284 w 2240198"/>
                <a:gd name="connsiteY214" fmla="*/ 1554630 h 1729012"/>
                <a:gd name="connsiteX215" fmla="*/ 2007887 w 2240198"/>
                <a:gd name="connsiteY215" fmla="*/ 1554565 h 1729012"/>
                <a:gd name="connsiteX216" fmla="*/ 2008975 w 2240198"/>
                <a:gd name="connsiteY216" fmla="*/ 1554813 h 1729012"/>
                <a:gd name="connsiteX217" fmla="*/ 2007425 w 2240198"/>
                <a:gd name="connsiteY217" fmla="*/ 1556007 h 1729012"/>
                <a:gd name="connsiteX218" fmla="*/ 2004456 w 2240198"/>
                <a:gd name="connsiteY218" fmla="*/ 1556123 h 1729012"/>
                <a:gd name="connsiteX219" fmla="*/ 2002997 w 2240198"/>
                <a:gd name="connsiteY219" fmla="*/ 1555633 h 1729012"/>
                <a:gd name="connsiteX220" fmla="*/ 2005117 w 2240198"/>
                <a:gd name="connsiteY220" fmla="*/ 1549502 h 1729012"/>
                <a:gd name="connsiteX221" fmla="*/ 2007587 w 2240198"/>
                <a:gd name="connsiteY221" fmla="*/ 1548089 h 1729012"/>
                <a:gd name="connsiteX222" fmla="*/ 2012646 w 2240198"/>
                <a:gd name="connsiteY222" fmla="*/ 1544073 h 1729012"/>
                <a:gd name="connsiteX223" fmla="*/ 2014668 w 2240198"/>
                <a:gd name="connsiteY223" fmla="*/ 1542851 h 1729012"/>
                <a:gd name="connsiteX224" fmla="*/ 2202810 w 2240198"/>
                <a:gd name="connsiteY224" fmla="*/ 1542367 h 1729012"/>
                <a:gd name="connsiteX225" fmla="*/ 2202318 w 2240198"/>
                <a:gd name="connsiteY225" fmla="*/ 1544742 h 1729012"/>
                <a:gd name="connsiteX226" fmla="*/ 2200300 w 2240198"/>
                <a:gd name="connsiteY226" fmla="*/ 1548982 h 1729012"/>
                <a:gd name="connsiteX227" fmla="*/ 2199059 w 2240198"/>
                <a:gd name="connsiteY227" fmla="*/ 1550101 h 1729012"/>
                <a:gd name="connsiteX228" fmla="*/ 2197794 w 2240198"/>
                <a:gd name="connsiteY228" fmla="*/ 1550051 h 1729012"/>
                <a:gd name="connsiteX229" fmla="*/ 2197943 w 2240198"/>
                <a:gd name="connsiteY229" fmla="*/ 1549072 h 1729012"/>
                <a:gd name="connsiteX230" fmla="*/ 2199501 w 2240198"/>
                <a:gd name="connsiteY230" fmla="*/ 1547171 h 1729012"/>
                <a:gd name="connsiteX231" fmla="*/ 2200294 w 2240198"/>
                <a:gd name="connsiteY231" fmla="*/ 1545809 h 1729012"/>
                <a:gd name="connsiteX232" fmla="*/ 2200323 w 2240198"/>
                <a:gd name="connsiteY232" fmla="*/ 1544986 h 1729012"/>
                <a:gd name="connsiteX233" fmla="*/ 2200610 w 2240198"/>
                <a:gd name="connsiteY233" fmla="*/ 1544356 h 1729012"/>
                <a:gd name="connsiteX234" fmla="*/ 2201791 w 2240198"/>
                <a:gd name="connsiteY234" fmla="*/ 1543648 h 1729012"/>
                <a:gd name="connsiteX235" fmla="*/ 1939600 w 2240198"/>
                <a:gd name="connsiteY235" fmla="*/ 1534624 h 1729012"/>
                <a:gd name="connsiteX236" fmla="*/ 1938958 w 2240198"/>
                <a:gd name="connsiteY236" fmla="*/ 1536981 h 1729012"/>
                <a:gd name="connsiteX237" fmla="*/ 1936742 w 2240198"/>
                <a:gd name="connsiteY237" fmla="*/ 1538978 h 1729012"/>
                <a:gd name="connsiteX238" fmla="*/ 1935643 w 2240198"/>
                <a:gd name="connsiteY238" fmla="*/ 1539117 h 1729012"/>
                <a:gd name="connsiteX239" fmla="*/ 1935138 w 2240198"/>
                <a:gd name="connsiteY239" fmla="*/ 1538923 h 1729012"/>
                <a:gd name="connsiteX240" fmla="*/ 1935748 w 2240198"/>
                <a:gd name="connsiteY240" fmla="*/ 1537633 h 1729012"/>
                <a:gd name="connsiteX241" fmla="*/ 1935677 w 2240198"/>
                <a:gd name="connsiteY241" fmla="*/ 1535390 h 1729012"/>
                <a:gd name="connsiteX242" fmla="*/ 1937507 w 2240198"/>
                <a:gd name="connsiteY242" fmla="*/ 1535085 h 1729012"/>
                <a:gd name="connsiteX243" fmla="*/ 1938174 w 2240198"/>
                <a:gd name="connsiteY243" fmla="*/ 1535286 h 1729012"/>
                <a:gd name="connsiteX244" fmla="*/ 1939813 w 2240198"/>
                <a:gd name="connsiteY244" fmla="*/ 1530517 h 1729012"/>
                <a:gd name="connsiteX245" fmla="*/ 1940294 w 2240198"/>
                <a:gd name="connsiteY245" fmla="*/ 1530737 h 1729012"/>
                <a:gd name="connsiteX246" fmla="*/ 1940425 w 2240198"/>
                <a:gd name="connsiteY246" fmla="*/ 1532292 h 1729012"/>
                <a:gd name="connsiteX247" fmla="*/ 1937503 w 2240198"/>
                <a:gd name="connsiteY247" fmla="*/ 1533963 h 1729012"/>
                <a:gd name="connsiteX248" fmla="*/ 1938785 w 2240198"/>
                <a:gd name="connsiteY248" fmla="*/ 1531448 h 1729012"/>
                <a:gd name="connsiteX249" fmla="*/ 1939322 w 2240198"/>
                <a:gd name="connsiteY249" fmla="*/ 1530798 h 1729012"/>
                <a:gd name="connsiteX250" fmla="*/ 441704 w 2240198"/>
                <a:gd name="connsiteY250" fmla="*/ 1500853 h 1729012"/>
                <a:gd name="connsiteX251" fmla="*/ 442404 w 2240198"/>
                <a:gd name="connsiteY251" fmla="*/ 1500974 h 1729012"/>
                <a:gd name="connsiteX252" fmla="*/ 444606 w 2240198"/>
                <a:gd name="connsiteY252" fmla="*/ 1502761 h 1729012"/>
                <a:gd name="connsiteX253" fmla="*/ 444107 w 2240198"/>
                <a:gd name="connsiteY253" fmla="*/ 1503470 h 1729012"/>
                <a:gd name="connsiteX254" fmla="*/ 445751 w 2240198"/>
                <a:gd name="connsiteY254" fmla="*/ 1505178 h 1729012"/>
                <a:gd name="connsiteX255" fmla="*/ 446156 w 2240198"/>
                <a:gd name="connsiteY255" fmla="*/ 1506396 h 1729012"/>
                <a:gd name="connsiteX256" fmla="*/ 445430 w 2240198"/>
                <a:gd name="connsiteY256" fmla="*/ 1506448 h 1729012"/>
                <a:gd name="connsiteX257" fmla="*/ 444368 w 2240198"/>
                <a:gd name="connsiteY257" fmla="*/ 1507286 h 1729012"/>
                <a:gd name="connsiteX258" fmla="*/ 443801 w 2240198"/>
                <a:gd name="connsiteY258" fmla="*/ 1507175 h 1729012"/>
                <a:gd name="connsiteX259" fmla="*/ 443347 w 2240198"/>
                <a:gd name="connsiteY259" fmla="*/ 1506589 h 1729012"/>
                <a:gd name="connsiteX260" fmla="*/ 438993 w 2240198"/>
                <a:gd name="connsiteY260" fmla="*/ 1495311 h 1729012"/>
                <a:gd name="connsiteX261" fmla="*/ 444239 w 2240198"/>
                <a:gd name="connsiteY261" fmla="*/ 1499907 h 1729012"/>
                <a:gd name="connsiteX262" fmla="*/ 446887 w 2240198"/>
                <a:gd name="connsiteY262" fmla="*/ 1501426 h 1729012"/>
                <a:gd name="connsiteX263" fmla="*/ 447028 w 2240198"/>
                <a:gd name="connsiteY263" fmla="*/ 1502149 h 1729012"/>
                <a:gd name="connsiteX264" fmla="*/ 446711 w 2240198"/>
                <a:gd name="connsiteY264" fmla="*/ 1502506 h 1729012"/>
                <a:gd name="connsiteX265" fmla="*/ 442750 w 2240198"/>
                <a:gd name="connsiteY265" fmla="*/ 1500194 h 1729012"/>
                <a:gd name="connsiteX266" fmla="*/ 440099 w 2240198"/>
                <a:gd name="connsiteY266" fmla="*/ 1497161 h 1729012"/>
                <a:gd name="connsiteX267" fmla="*/ 1913868 w 2240198"/>
                <a:gd name="connsiteY267" fmla="*/ 1489703 h 1729012"/>
                <a:gd name="connsiteX268" fmla="*/ 1917094 w 2240198"/>
                <a:gd name="connsiteY268" fmla="*/ 1489838 h 1729012"/>
                <a:gd name="connsiteX269" fmla="*/ 1931289 w 2240198"/>
                <a:gd name="connsiteY269" fmla="*/ 1492144 h 1729012"/>
                <a:gd name="connsiteX270" fmla="*/ 1938100 w 2240198"/>
                <a:gd name="connsiteY270" fmla="*/ 1494995 h 1729012"/>
                <a:gd name="connsiteX271" fmla="*/ 1945857 w 2240198"/>
                <a:gd name="connsiteY271" fmla="*/ 1500981 h 1729012"/>
                <a:gd name="connsiteX272" fmla="*/ 1947013 w 2240198"/>
                <a:gd name="connsiteY272" fmla="*/ 1502558 h 1729012"/>
                <a:gd name="connsiteX273" fmla="*/ 1947201 w 2240198"/>
                <a:gd name="connsiteY273" fmla="*/ 1504760 h 1729012"/>
                <a:gd name="connsiteX274" fmla="*/ 1943095 w 2240198"/>
                <a:gd name="connsiteY274" fmla="*/ 1503690 h 1729012"/>
                <a:gd name="connsiteX275" fmla="*/ 1939470 w 2240198"/>
                <a:gd name="connsiteY275" fmla="*/ 1503620 h 1729012"/>
                <a:gd name="connsiteX276" fmla="*/ 1941984 w 2240198"/>
                <a:gd name="connsiteY276" fmla="*/ 1504844 h 1729012"/>
                <a:gd name="connsiteX277" fmla="*/ 1946255 w 2240198"/>
                <a:gd name="connsiteY277" fmla="*/ 1508515 h 1729012"/>
                <a:gd name="connsiteX278" fmla="*/ 1946061 w 2240198"/>
                <a:gd name="connsiteY278" fmla="*/ 1513100 h 1729012"/>
                <a:gd name="connsiteX279" fmla="*/ 1943650 w 2240198"/>
                <a:gd name="connsiteY279" fmla="*/ 1517237 h 1729012"/>
                <a:gd name="connsiteX280" fmla="*/ 1936440 w 2240198"/>
                <a:gd name="connsiteY280" fmla="*/ 1519275 h 1729012"/>
                <a:gd name="connsiteX281" fmla="*/ 1934600 w 2240198"/>
                <a:gd name="connsiteY281" fmla="*/ 1520896 h 1729012"/>
                <a:gd name="connsiteX282" fmla="*/ 1933110 w 2240198"/>
                <a:gd name="connsiteY282" fmla="*/ 1523574 h 1729012"/>
                <a:gd name="connsiteX283" fmla="*/ 1931651 w 2240198"/>
                <a:gd name="connsiteY283" fmla="*/ 1524598 h 1729012"/>
                <a:gd name="connsiteX284" fmla="*/ 1928155 w 2240198"/>
                <a:gd name="connsiteY284" fmla="*/ 1525786 h 1729012"/>
                <a:gd name="connsiteX285" fmla="*/ 1926224 w 2240198"/>
                <a:gd name="connsiteY285" fmla="*/ 1527523 h 1729012"/>
                <a:gd name="connsiteX286" fmla="*/ 1920561 w 2240198"/>
                <a:gd name="connsiteY286" fmla="*/ 1530275 h 1729012"/>
                <a:gd name="connsiteX287" fmla="*/ 1918010 w 2240198"/>
                <a:gd name="connsiteY287" fmla="*/ 1530602 h 1729012"/>
                <a:gd name="connsiteX288" fmla="*/ 1915072 w 2240198"/>
                <a:gd name="connsiteY288" fmla="*/ 1529943 h 1729012"/>
                <a:gd name="connsiteX289" fmla="*/ 1908003 w 2240198"/>
                <a:gd name="connsiteY289" fmla="*/ 1527348 h 1729012"/>
                <a:gd name="connsiteX290" fmla="*/ 1903641 w 2240198"/>
                <a:gd name="connsiteY290" fmla="*/ 1524845 h 1729012"/>
                <a:gd name="connsiteX291" fmla="*/ 1901464 w 2240198"/>
                <a:gd name="connsiteY291" fmla="*/ 1526212 h 1729012"/>
                <a:gd name="connsiteX292" fmla="*/ 1899675 w 2240198"/>
                <a:gd name="connsiteY292" fmla="*/ 1527638 h 1729012"/>
                <a:gd name="connsiteX293" fmla="*/ 1895478 w 2240198"/>
                <a:gd name="connsiteY293" fmla="*/ 1527163 h 1729012"/>
                <a:gd name="connsiteX294" fmla="*/ 1893561 w 2240198"/>
                <a:gd name="connsiteY294" fmla="*/ 1527793 h 1729012"/>
                <a:gd name="connsiteX295" fmla="*/ 1890399 w 2240198"/>
                <a:gd name="connsiteY295" fmla="*/ 1527090 h 1729012"/>
                <a:gd name="connsiteX296" fmla="*/ 1883922 w 2240198"/>
                <a:gd name="connsiteY296" fmla="*/ 1530235 h 1729012"/>
                <a:gd name="connsiteX297" fmla="*/ 1885769 w 2240198"/>
                <a:gd name="connsiteY297" fmla="*/ 1530603 h 1729012"/>
                <a:gd name="connsiteX298" fmla="*/ 1890910 w 2240198"/>
                <a:gd name="connsiteY298" fmla="*/ 1528796 h 1729012"/>
                <a:gd name="connsiteX299" fmla="*/ 1892664 w 2240198"/>
                <a:gd name="connsiteY299" fmla="*/ 1529000 h 1729012"/>
                <a:gd name="connsiteX300" fmla="*/ 1896453 w 2240198"/>
                <a:gd name="connsiteY300" fmla="*/ 1531332 h 1729012"/>
                <a:gd name="connsiteX301" fmla="*/ 1905602 w 2240198"/>
                <a:gd name="connsiteY301" fmla="*/ 1533839 h 1729012"/>
                <a:gd name="connsiteX302" fmla="*/ 1907977 w 2240198"/>
                <a:gd name="connsiteY302" fmla="*/ 1535496 h 1729012"/>
                <a:gd name="connsiteX303" fmla="*/ 1910240 w 2240198"/>
                <a:gd name="connsiteY303" fmla="*/ 1540777 h 1729012"/>
                <a:gd name="connsiteX304" fmla="*/ 1911742 w 2240198"/>
                <a:gd name="connsiteY304" fmla="*/ 1541620 h 1729012"/>
                <a:gd name="connsiteX305" fmla="*/ 1914880 w 2240198"/>
                <a:gd name="connsiteY305" fmla="*/ 1541072 h 1729012"/>
                <a:gd name="connsiteX306" fmla="*/ 1918417 w 2240198"/>
                <a:gd name="connsiteY306" fmla="*/ 1538462 h 1729012"/>
                <a:gd name="connsiteX307" fmla="*/ 1921353 w 2240198"/>
                <a:gd name="connsiteY307" fmla="*/ 1537063 h 1729012"/>
                <a:gd name="connsiteX308" fmla="*/ 1927097 w 2240198"/>
                <a:gd name="connsiteY308" fmla="*/ 1535914 h 1729012"/>
                <a:gd name="connsiteX309" fmla="*/ 1925963 w 2240198"/>
                <a:gd name="connsiteY309" fmla="*/ 1537651 h 1729012"/>
                <a:gd name="connsiteX310" fmla="*/ 1930334 w 2240198"/>
                <a:gd name="connsiteY310" fmla="*/ 1537516 h 1729012"/>
                <a:gd name="connsiteX311" fmla="*/ 1934664 w 2240198"/>
                <a:gd name="connsiteY311" fmla="*/ 1539851 h 1729012"/>
                <a:gd name="connsiteX312" fmla="*/ 1933064 w 2240198"/>
                <a:gd name="connsiteY312" fmla="*/ 1541507 h 1729012"/>
                <a:gd name="connsiteX313" fmla="*/ 1930888 w 2240198"/>
                <a:gd name="connsiteY313" fmla="*/ 1544845 h 1729012"/>
                <a:gd name="connsiteX314" fmla="*/ 1929365 w 2240198"/>
                <a:gd name="connsiteY314" fmla="*/ 1551319 h 1729012"/>
                <a:gd name="connsiteX315" fmla="*/ 1924955 w 2240198"/>
                <a:gd name="connsiteY315" fmla="*/ 1555649 h 1729012"/>
                <a:gd name="connsiteX316" fmla="*/ 1919053 w 2240198"/>
                <a:gd name="connsiteY316" fmla="*/ 1559900 h 1729012"/>
                <a:gd name="connsiteX317" fmla="*/ 1920541 w 2240198"/>
                <a:gd name="connsiteY317" fmla="*/ 1560924 h 1729012"/>
                <a:gd name="connsiteX318" fmla="*/ 1922268 w 2240198"/>
                <a:gd name="connsiteY318" fmla="*/ 1561554 h 1729012"/>
                <a:gd name="connsiteX319" fmla="*/ 1926065 w 2240198"/>
                <a:gd name="connsiteY319" fmla="*/ 1560296 h 1729012"/>
                <a:gd name="connsiteX320" fmla="*/ 1928599 w 2240198"/>
                <a:gd name="connsiteY320" fmla="*/ 1560381 h 1729012"/>
                <a:gd name="connsiteX321" fmla="*/ 1931414 w 2240198"/>
                <a:gd name="connsiteY321" fmla="*/ 1561194 h 1729012"/>
                <a:gd name="connsiteX322" fmla="*/ 1930541 w 2240198"/>
                <a:gd name="connsiteY322" fmla="*/ 1564491 h 1729012"/>
                <a:gd name="connsiteX323" fmla="*/ 1929529 w 2240198"/>
                <a:gd name="connsiteY323" fmla="*/ 1566725 h 1729012"/>
                <a:gd name="connsiteX324" fmla="*/ 1930117 w 2240198"/>
                <a:gd name="connsiteY324" fmla="*/ 1568805 h 1729012"/>
                <a:gd name="connsiteX325" fmla="*/ 1931787 w 2240198"/>
                <a:gd name="connsiteY325" fmla="*/ 1572769 h 1729012"/>
                <a:gd name="connsiteX326" fmla="*/ 1934090 w 2240198"/>
                <a:gd name="connsiteY326" fmla="*/ 1573637 h 1729012"/>
                <a:gd name="connsiteX327" fmla="*/ 1935013 w 2240198"/>
                <a:gd name="connsiteY327" fmla="*/ 1578708 h 1729012"/>
                <a:gd name="connsiteX328" fmla="*/ 1936233 w 2240198"/>
                <a:gd name="connsiteY328" fmla="*/ 1581468 h 1729012"/>
                <a:gd name="connsiteX329" fmla="*/ 1936069 w 2240198"/>
                <a:gd name="connsiteY329" fmla="*/ 1583681 h 1729012"/>
                <a:gd name="connsiteX330" fmla="*/ 1938376 w 2240198"/>
                <a:gd name="connsiteY330" fmla="*/ 1585096 h 1729012"/>
                <a:gd name="connsiteX331" fmla="*/ 1938765 w 2240198"/>
                <a:gd name="connsiteY331" fmla="*/ 1587354 h 1729012"/>
                <a:gd name="connsiteX332" fmla="*/ 1947124 w 2240198"/>
                <a:gd name="connsiteY332" fmla="*/ 1587993 h 1729012"/>
                <a:gd name="connsiteX333" fmla="*/ 1948818 w 2240198"/>
                <a:gd name="connsiteY333" fmla="*/ 1588861 h 1729012"/>
                <a:gd name="connsiteX334" fmla="*/ 1954627 w 2240198"/>
                <a:gd name="connsiteY334" fmla="*/ 1589719 h 1729012"/>
                <a:gd name="connsiteX335" fmla="*/ 1955725 w 2240198"/>
                <a:gd name="connsiteY335" fmla="*/ 1590341 h 1729012"/>
                <a:gd name="connsiteX336" fmla="*/ 1956757 w 2240198"/>
                <a:gd name="connsiteY336" fmla="*/ 1591579 h 1729012"/>
                <a:gd name="connsiteX337" fmla="*/ 1951066 w 2240198"/>
                <a:gd name="connsiteY337" fmla="*/ 1594299 h 1729012"/>
                <a:gd name="connsiteX338" fmla="*/ 1955673 w 2240198"/>
                <a:gd name="connsiteY338" fmla="*/ 1596265 h 1729012"/>
                <a:gd name="connsiteX339" fmla="*/ 1960030 w 2240198"/>
                <a:gd name="connsiteY339" fmla="*/ 1599468 h 1729012"/>
                <a:gd name="connsiteX340" fmla="*/ 1963457 w 2240198"/>
                <a:gd name="connsiteY340" fmla="*/ 1598837 h 1729012"/>
                <a:gd name="connsiteX341" fmla="*/ 1964940 w 2240198"/>
                <a:gd name="connsiteY341" fmla="*/ 1598940 h 1729012"/>
                <a:gd name="connsiteX342" fmla="*/ 1968774 w 2240198"/>
                <a:gd name="connsiteY342" fmla="*/ 1600945 h 1729012"/>
                <a:gd name="connsiteX343" fmla="*/ 1969842 w 2240198"/>
                <a:gd name="connsiteY343" fmla="*/ 1601937 h 1729012"/>
                <a:gd name="connsiteX344" fmla="*/ 1970428 w 2240198"/>
                <a:gd name="connsiteY344" fmla="*/ 1602819 h 1729012"/>
                <a:gd name="connsiteX345" fmla="*/ 1972352 w 2240198"/>
                <a:gd name="connsiteY345" fmla="*/ 1602630 h 1729012"/>
                <a:gd name="connsiteX346" fmla="*/ 1975116 w 2240198"/>
                <a:gd name="connsiteY346" fmla="*/ 1601857 h 1729012"/>
                <a:gd name="connsiteX347" fmla="*/ 1980114 w 2240198"/>
                <a:gd name="connsiteY347" fmla="*/ 1602048 h 1729012"/>
                <a:gd name="connsiteX348" fmla="*/ 1985442 w 2240198"/>
                <a:gd name="connsiteY348" fmla="*/ 1603179 h 1729012"/>
                <a:gd name="connsiteX349" fmla="*/ 1984994 w 2240198"/>
                <a:gd name="connsiteY349" fmla="*/ 1604902 h 1729012"/>
                <a:gd name="connsiteX350" fmla="*/ 1984189 w 2240198"/>
                <a:gd name="connsiteY350" fmla="*/ 1606094 h 1729012"/>
                <a:gd name="connsiteX351" fmla="*/ 1988358 w 2240198"/>
                <a:gd name="connsiteY351" fmla="*/ 1605701 h 1729012"/>
                <a:gd name="connsiteX352" fmla="*/ 1990960 w 2240198"/>
                <a:gd name="connsiteY352" fmla="*/ 1606926 h 1729012"/>
                <a:gd name="connsiteX353" fmla="*/ 1991867 w 2240198"/>
                <a:gd name="connsiteY353" fmla="*/ 1606337 h 1729012"/>
                <a:gd name="connsiteX354" fmla="*/ 1992510 w 2240198"/>
                <a:gd name="connsiteY354" fmla="*/ 1605576 h 1729012"/>
                <a:gd name="connsiteX355" fmla="*/ 1997688 w 2240198"/>
                <a:gd name="connsiteY355" fmla="*/ 1603485 h 1729012"/>
                <a:gd name="connsiteX356" fmla="*/ 2004336 w 2240198"/>
                <a:gd name="connsiteY356" fmla="*/ 1599146 h 1729012"/>
                <a:gd name="connsiteX357" fmla="*/ 2005146 w 2240198"/>
                <a:gd name="connsiteY357" fmla="*/ 1599684 h 1729012"/>
                <a:gd name="connsiteX358" fmla="*/ 2005449 w 2240198"/>
                <a:gd name="connsiteY358" fmla="*/ 1601329 h 1729012"/>
                <a:gd name="connsiteX359" fmla="*/ 2006321 w 2240198"/>
                <a:gd name="connsiteY359" fmla="*/ 1604011 h 1729012"/>
                <a:gd name="connsiteX360" fmla="*/ 2008875 w 2240198"/>
                <a:gd name="connsiteY360" fmla="*/ 1605860 h 1729012"/>
                <a:gd name="connsiteX361" fmla="*/ 2011908 w 2240198"/>
                <a:gd name="connsiteY361" fmla="*/ 1606284 h 1729012"/>
                <a:gd name="connsiteX362" fmla="*/ 2016082 w 2240198"/>
                <a:gd name="connsiteY362" fmla="*/ 1604870 h 1729012"/>
                <a:gd name="connsiteX363" fmla="*/ 2017721 w 2240198"/>
                <a:gd name="connsiteY363" fmla="*/ 1606092 h 1729012"/>
                <a:gd name="connsiteX364" fmla="*/ 2019677 w 2240198"/>
                <a:gd name="connsiteY364" fmla="*/ 1608445 h 1729012"/>
                <a:gd name="connsiteX365" fmla="*/ 2021540 w 2240198"/>
                <a:gd name="connsiteY365" fmla="*/ 1611523 h 1729012"/>
                <a:gd name="connsiteX366" fmla="*/ 2021415 w 2240198"/>
                <a:gd name="connsiteY366" fmla="*/ 1612623 h 1729012"/>
                <a:gd name="connsiteX367" fmla="*/ 2019027 w 2240198"/>
                <a:gd name="connsiteY367" fmla="*/ 1613582 h 1729012"/>
                <a:gd name="connsiteX368" fmla="*/ 2016876 w 2240198"/>
                <a:gd name="connsiteY368" fmla="*/ 1614964 h 1729012"/>
                <a:gd name="connsiteX369" fmla="*/ 2025858 w 2240198"/>
                <a:gd name="connsiteY369" fmla="*/ 1615531 h 1729012"/>
                <a:gd name="connsiteX370" fmla="*/ 2026770 w 2240198"/>
                <a:gd name="connsiteY370" fmla="*/ 1616112 h 1729012"/>
                <a:gd name="connsiteX371" fmla="*/ 2027765 w 2240198"/>
                <a:gd name="connsiteY371" fmla="*/ 1617320 h 1729012"/>
                <a:gd name="connsiteX372" fmla="*/ 2026849 w 2240198"/>
                <a:gd name="connsiteY372" fmla="*/ 1618544 h 1729012"/>
                <a:gd name="connsiteX373" fmla="*/ 2026001 w 2240198"/>
                <a:gd name="connsiteY373" fmla="*/ 1619153 h 1729012"/>
                <a:gd name="connsiteX374" fmla="*/ 2024372 w 2240198"/>
                <a:gd name="connsiteY374" fmla="*/ 1618441 h 1729012"/>
                <a:gd name="connsiteX375" fmla="*/ 2021369 w 2240198"/>
                <a:gd name="connsiteY375" fmla="*/ 1619089 h 1729012"/>
                <a:gd name="connsiteX376" fmla="*/ 2018745 w 2240198"/>
                <a:gd name="connsiteY376" fmla="*/ 1620672 h 1729012"/>
                <a:gd name="connsiteX377" fmla="*/ 2015940 w 2240198"/>
                <a:gd name="connsiteY377" fmla="*/ 1621553 h 1729012"/>
                <a:gd name="connsiteX378" fmla="*/ 2014143 w 2240198"/>
                <a:gd name="connsiteY378" fmla="*/ 1621654 h 1729012"/>
                <a:gd name="connsiteX379" fmla="*/ 2012149 w 2240198"/>
                <a:gd name="connsiteY379" fmla="*/ 1622384 h 1729012"/>
                <a:gd name="connsiteX380" fmla="*/ 2010328 w 2240198"/>
                <a:gd name="connsiteY380" fmla="*/ 1623515 h 1729012"/>
                <a:gd name="connsiteX381" fmla="*/ 2008434 w 2240198"/>
                <a:gd name="connsiteY381" fmla="*/ 1623831 h 1729012"/>
                <a:gd name="connsiteX382" fmla="*/ 2002528 w 2240198"/>
                <a:gd name="connsiteY382" fmla="*/ 1626651 h 1729012"/>
                <a:gd name="connsiteX383" fmla="*/ 1996488 w 2240198"/>
                <a:gd name="connsiteY383" fmla="*/ 1628469 h 1729012"/>
                <a:gd name="connsiteX384" fmla="*/ 1990175 w 2240198"/>
                <a:gd name="connsiteY384" fmla="*/ 1631375 h 1729012"/>
                <a:gd name="connsiteX385" fmla="*/ 1983733 w 2240198"/>
                <a:gd name="connsiteY385" fmla="*/ 1633206 h 1729012"/>
                <a:gd name="connsiteX386" fmla="*/ 1977045 w 2240198"/>
                <a:gd name="connsiteY386" fmla="*/ 1635404 h 1729012"/>
                <a:gd name="connsiteX387" fmla="*/ 1975589 w 2240198"/>
                <a:gd name="connsiteY387" fmla="*/ 1635599 h 1729012"/>
                <a:gd name="connsiteX388" fmla="*/ 1973904 w 2240198"/>
                <a:gd name="connsiteY388" fmla="*/ 1635513 h 1729012"/>
                <a:gd name="connsiteX389" fmla="*/ 1970085 w 2240198"/>
                <a:gd name="connsiteY389" fmla="*/ 1637660 h 1729012"/>
                <a:gd name="connsiteX390" fmla="*/ 1968196 w 2240198"/>
                <a:gd name="connsiteY390" fmla="*/ 1637368 h 1729012"/>
                <a:gd name="connsiteX391" fmla="*/ 1966268 w 2240198"/>
                <a:gd name="connsiteY391" fmla="*/ 1637742 h 1729012"/>
                <a:gd name="connsiteX392" fmla="*/ 1964050 w 2240198"/>
                <a:gd name="connsiteY392" fmla="*/ 1637270 h 1729012"/>
                <a:gd name="connsiteX393" fmla="*/ 1962536 w 2240198"/>
                <a:gd name="connsiteY393" fmla="*/ 1636391 h 1729012"/>
                <a:gd name="connsiteX394" fmla="*/ 1963697 w 2240198"/>
                <a:gd name="connsiteY394" fmla="*/ 1638658 h 1729012"/>
                <a:gd name="connsiteX395" fmla="*/ 1964037 w 2240198"/>
                <a:gd name="connsiteY395" fmla="*/ 1640744 h 1729012"/>
                <a:gd name="connsiteX396" fmla="*/ 1963457 w 2240198"/>
                <a:gd name="connsiteY396" fmla="*/ 1641658 h 1729012"/>
                <a:gd name="connsiteX397" fmla="*/ 1962391 w 2240198"/>
                <a:gd name="connsiteY397" fmla="*/ 1642734 h 1729012"/>
                <a:gd name="connsiteX398" fmla="*/ 1958553 w 2240198"/>
                <a:gd name="connsiteY398" fmla="*/ 1642533 h 1729012"/>
                <a:gd name="connsiteX399" fmla="*/ 1957044 w 2240198"/>
                <a:gd name="connsiteY399" fmla="*/ 1641778 h 1729012"/>
                <a:gd name="connsiteX400" fmla="*/ 1955251 w 2240198"/>
                <a:gd name="connsiteY400" fmla="*/ 1640664 h 1729012"/>
                <a:gd name="connsiteX401" fmla="*/ 1954430 w 2240198"/>
                <a:gd name="connsiteY401" fmla="*/ 1638869 h 1729012"/>
                <a:gd name="connsiteX402" fmla="*/ 1952503 w 2240198"/>
                <a:gd name="connsiteY402" fmla="*/ 1637587 h 1729012"/>
                <a:gd name="connsiteX403" fmla="*/ 1951357 w 2240198"/>
                <a:gd name="connsiteY403" fmla="*/ 1639367 h 1729012"/>
                <a:gd name="connsiteX404" fmla="*/ 1951364 w 2240198"/>
                <a:gd name="connsiteY404" fmla="*/ 1640694 h 1729012"/>
                <a:gd name="connsiteX405" fmla="*/ 1949937 w 2240198"/>
                <a:gd name="connsiteY405" fmla="*/ 1642501 h 1729012"/>
                <a:gd name="connsiteX406" fmla="*/ 1948261 w 2240198"/>
                <a:gd name="connsiteY406" fmla="*/ 1639406 h 1729012"/>
                <a:gd name="connsiteX407" fmla="*/ 1945241 w 2240198"/>
                <a:gd name="connsiteY407" fmla="*/ 1640539 h 1729012"/>
                <a:gd name="connsiteX408" fmla="*/ 1943911 w 2240198"/>
                <a:gd name="connsiteY408" fmla="*/ 1643828 h 1729012"/>
                <a:gd name="connsiteX409" fmla="*/ 1944578 w 2240198"/>
                <a:gd name="connsiteY409" fmla="*/ 1644767 h 1729012"/>
                <a:gd name="connsiteX410" fmla="*/ 1945505 w 2240198"/>
                <a:gd name="connsiteY410" fmla="*/ 1647279 h 1729012"/>
                <a:gd name="connsiteX411" fmla="*/ 1944012 w 2240198"/>
                <a:gd name="connsiteY411" fmla="*/ 1648590 h 1729012"/>
                <a:gd name="connsiteX412" fmla="*/ 1942906 w 2240198"/>
                <a:gd name="connsiteY412" fmla="*/ 1648229 h 1729012"/>
                <a:gd name="connsiteX413" fmla="*/ 1940609 w 2240198"/>
                <a:gd name="connsiteY413" fmla="*/ 1651912 h 1729012"/>
                <a:gd name="connsiteX414" fmla="*/ 1937828 w 2240198"/>
                <a:gd name="connsiteY414" fmla="*/ 1653253 h 1729012"/>
                <a:gd name="connsiteX415" fmla="*/ 1934959 w 2240198"/>
                <a:gd name="connsiteY415" fmla="*/ 1657001 h 1729012"/>
                <a:gd name="connsiteX416" fmla="*/ 1931560 w 2240198"/>
                <a:gd name="connsiteY416" fmla="*/ 1659854 h 1729012"/>
                <a:gd name="connsiteX417" fmla="*/ 1930630 w 2240198"/>
                <a:gd name="connsiteY417" fmla="*/ 1661760 h 1729012"/>
                <a:gd name="connsiteX418" fmla="*/ 1924938 w 2240198"/>
                <a:gd name="connsiteY418" fmla="*/ 1666117 h 1729012"/>
                <a:gd name="connsiteX419" fmla="*/ 1922776 w 2240198"/>
                <a:gd name="connsiteY419" fmla="*/ 1665987 h 1729012"/>
                <a:gd name="connsiteX420" fmla="*/ 1921182 w 2240198"/>
                <a:gd name="connsiteY420" fmla="*/ 1666130 h 1729012"/>
                <a:gd name="connsiteX421" fmla="*/ 1918782 w 2240198"/>
                <a:gd name="connsiteY421" fmla="*/ 1667945 h 1729012"/>
                <a:gd name="connsiteX422" fmla="*/ 1918409 w 2240198"/>
                <a:gd name="connsiteY422" fmla="*/ 1671608 h 1729012"/>
                <a:gd name="connsiteX423" fmla="*/ 1917350 w 2240198"/>
                <a:gd name="connsiteY423" fmla="*/ 1671124 h 1729012"/>
                <a:gd name="connsiteX424" fmla="*/ 1916274 w 2240198"/>
                <a:gd name="connsiteY424" fmla="*/ 1671244 h 1729012"/>
                <a:gd name="connsiteX425" fmla="*/ 1915718 w 2240198"/>
                <a:gd name="connsiteY425" fmla="*/ 1672393 h 1729012"/>
                <a:gd name="connsiteX426" fmla="*/ 1914926 w 2240198"/>
                <a:gd name="connsiteY426" fmla="*/ 1672583 h 1729012"/>
                <a:gd name="connsiteX427" fmla="*/ 1912827 w 2240198"/>
                <a:gd name="connsiteY427" fmla="*/ 1671495 h 1729012"/>
                <a:gd name="connsiteX428" fmla="*/ 1910355 w 2240198"/>
                <a:gd name="connsiteY428" fmla="*/ 1672089 h 1729012"/>
                <a:gd name="connsiteX429" fmla="*/ 1908423 w 2240198"/>
                <a:gd name="connsiteY429" fmla="*/ 1671264 h 1729012"/>
                <a:gd name="connsiteX430" fmla="*/ 1905959 w 2240198"/>
                <a:gd name="connsiteY430" fmla="*/ 1665895 h 1729012"/>
                <a:gd name="connsiteX431" fmla="*/ 1904650 w 2240198"/>
                <a:gd name="connsiteY431" fmla="*/ 1664011 h 1729012"/>
                <a:gd name="connsiteX432" fmla="*/ 1902330 w 2240198"/>
                <a:gd name="connsiteY432" fmla="*/ 1663404 h 1729012"/>
                <a:gd name="connsiteX433" fmla="*/ 1901728 w 2240198"/>
                <a:gd name="connsiteY433" fmla="*/ 1664541 h 1729012"/>
                <a:gd name="connsiteX434" fmla="*/ 1900828 w 2240198"/>
                <a:gd name="connsiteY434" fmla="*/ 1665653 h 1729012"/>
                <a:gd name="connsiteX435" fmla="*/ 1898594 w 2240198"/>
                <a:gd name="connsiteY435" fmla="*/ 1663436 h 1729012"/>
                <a:gd name="connsiteX436" fmla="*/ 1896902 w 2240198"/>
                <a:gd name="connsiteY436" fmla="*/ 1655190 h 1729012"/>
                <a:gd name="connsiteX437" fmla="*/ 1896888 w 2240198"/>
                <a:gd name="connsiteY437" fmla="*/ 1653197 h 1729012"/>
                <a:gd name="connsiteX438" fmla="*/ 1899258 w 2240198"/>
                <a:gd name="connsiteY438" fmla="*/ 1646239 h 1729012"/>
                <a:gd name="connsiteX439" fmla="*/ 1905129 w 2240198"/>
                <a:gd name="connsiteY439" fmla="*/ 1639963 h 1729012"/>
                <a:gd name="connsiteX440" fmla="*/ 1903256 w 2240198"/>
                <a:gd name="connsiteY440" fmla="*/ 1639752 h 1729012"/>
                <a:gd name="connsiteX441" fmla="*/ 1898071 w 2240198"/>
                <a:gd name="connsiteY441" fmla="*/ 1644107 h 1729012"/>
                <a:gd name="connsiteX442" fmla="*/ 1898606 w 2240198"/>
                <a:gd name="connsiteY442" fmla="*/ 1643054 h 1729012"/>
                <a:gd name="connsiteX443" fmla="*/ 1899485 w 2240198"/>
                <a:gd name="connsiteY443" fmla="*/ 1641955 h 1729012"/>
                <a:gd name="connsiteX444" fmla="*/ 1901233 w 2240198"/>
                <a:gd name="connsiteY444" fmla="*/ 1640185 h 1729012"/>
                <a:gd name="connsiteX445" fmla="*/ 1903886 w 2240198"/>
                <a:gd name="connsiteY445" fmla="*/ 1638519 h 1729012"/>
                <a:gd name="connsiteX446" fmla="*/ 1907419 w 2240198"/>
                <a:gd name="connsiteY446" fmla="*/ 1637547 h 1729012"/>
                <a:gd name="connsiteX447" fmla="*/ 1909850 w 2240198"/>
                <a:gd name="connsiteY447" fmla="*/ 1637399 h 1729012"/>
                <a:gd name="connsiteX448" fmla="*/ 1911526 w 2240198"/>
                <a:gd name="connsiteY448" fmla="*/ 1636479 h 1729012"/>
                <a:gd name="connsiteX449" fmla="*/ 1913953 w 2240198"/>
                <a:gd name="connsiteY449" fmla="*/ 1634846 h 1729012"/>
                <a:gd name="connsiteX450" fmla="*/ 1914404 w 2240198"/>
                <a:gd name="connsiteY450" fmla="*/ 1633979 h 1729012"/>
                <a:gd name="connsiteX451" fmla="*/ 1912252 w 2240198"/>
                <a:gd name="connsiteY451" fmla="*/ 1634975 h 1729012"/>
                <a:gd name="connsiteX452" fmla="*/ 1908674 w 2240198"/>
                <a:gd name="connsiteY452" fmla="*/ 1635957 h 1729012"/>
                <a:gd name="connsiteX453" fmla="*/ 1909591 w 2240198"/>
                <a:gd name="connsiteY453" fmla="*/ 1634670 h 1729012"/>
                <a:gd name="connsiteX454" fmla="*/ 1910487 w 2240198"/>
                <a:gd name="connsiteY454" fmla="*/ 1633981 h 1729012"/>
                <a:gd name="connsiteX455" fmla="*/ 1929600 w 2240198"/>
                <a:gd name="connsiteY455" fmla="*/ 1622689 h 1729012"/>
                <a:gd name="connsiteX456" fmla="*/ 1933446 w 2240198"/>
                <a:gd name="connsiteY456" fmla="*/ 1620825 h 1729012"/>
                <a:gd name="connsiteX457" fmla="*/ 1941114 w 2240198"/>
                <a:gd name="connsiteY457" fmla="*/ 1618442 h 1729012"/>
                <a:gd name="connsiteX458" fmla="*/ 1942179 w 2240198"/>
                <a:gd name="connsiteY458" fmla="*/ 1616881 h 1729012"/>
                <a:gd name="connsiteX459" fmla="*/ 1941132 w 2240198"/>
                <a:gd name="connsiteY459" fmla="*/ 1615883 h 1729012"/>
                <a:gd name="connsiteX460" fmla="*/ 1944109 w 2240198"/>
                <a:gd name="connsiteY460" fmla="*/ 1616768 h 1729012"/>
                <a:gd name="connsiteX461" fmla="*/ 1943863 w 2240198"/>
                <a:gd name="connsiteY461" fmla="*/ 1618060 h 1729012"/>
                <a:gd name="connsiteX462" fmla="*/ 1943396 w 2240198"/>
                <a:gd name="connsiteY462" fmla="*/ 1619003 h 1729012"/>
                <a:gd name="connsiteX463" fmla="*/ 1943222 w 2240198"/>
                <a:gd name="connsiteY463" fmla="*/ 1620603 h 1729012"/>
                <a:gd name="connsiteX464" fmla="*/ 1943513 w 2240198"/>
                <a:gd name="connsiteY464" fmla="*/ 1622142 h 1729012"/>
                <a:gd name="connsiteX465" fmla="*/ 1946536 w 2240198"/>
                <a:gd name="connsiteY465" fmla="*/ 1622893 h 1729012"/>
                <a:gd name="connsiteX466" fmla="*/ 1949060 w 2240198"/>
                <a:gd name="connsiteY466" fmla="*/ 1625756 h 1729012"/>
                <a:gd name="connsiteX467" fmla="*/ 1947863 w 2240198"/>
                <a:gd name="connsiteY467" fmla="*/ 1621867 h 1729012"/>
                <a:gd name="connsiteX468" fmla="*/ 1950133 w 2240198"/>
                <a:gd name="connsiteY468" fmla="*/ 1619666 h 1729012"/>
                <a:gd name="connsiteX469" fmla="*/ 1958877 w 2240198"/>
                <a:gd name="connsiteY469" fmla="*/ 1616718 h 1729012"/>
                <a:gd name="connsiteX470" fmla="*/ 1966182 w 2240198"/>
                <a:gd name="connsiteY470" fmla="*/ 1616397 h 1729012"/>
                <a:gd name="connsiteX471" fmla="*/ 1968520 w 2240198"/>
                <a:gd name="connsiteY471" fmla="*/ 1615023 h 1729012"/>
                <a:gd name="connsiteX472" fmla="*/ 1962271 w 2240198"/>
                <a:gd name="connsiteY472" fmla="*/ 1614100 h 1729012"/>
                <a:gd name="connsiteX473" fmla="*/ 1954868 w 2240198"/>
                <a:gd name="connsiteY473" fmla="*/ 1614603 h 1729012"/>
                <a:gd name="connsiteX474" fmla="*/ 1950286 w 2240198"/>
                <a:gd name="connsiteY474" fmla="*/ 1613573 h 1729012"/>
                <a:gd name="connsiteX475" fmla="*/ 1943965 w 2240198"/>
                <a:gd name="connsiteY475" fmla="*/ 1614245 h 1729012"/>
                <a:gd name="connsiteX476" fmla="*/ 1937276 w 2240198"/>
                <a:gd name="connsiteY476" fmla="*/ 1613599 h 1729012"/>
                <a:gd name="connsiteX477" fmla="*/ 1935225 w 2240198"/>
                <a:gd name="connsiteY477" fmla="*/ 1614452 h 1729012"/>
                <a:gd name="connsiteX478" fmla="*/ 1933562 w 2240198"/>
                <a:gd name="connsiteY478" fmla="*/ 1616295 h 1729012"/>
                <a:gd name="connsiteX479" fmla="*/ 1931401 w 2240198"/>
                <a:gd name="connsiteY479" fmla="*/ 1615481 h 1729012"/>
                <a:gd name="connsiteX480" fmla="*/ 1930356 w 2240198"/>
                <a:gd name="connsiteY480" fmla="*/ 1615345 h 1729012"/>
                <a:gd name="connsiteX481" fmla="*/ 1929348 w 2240198"/>
                <a:gd name="connsiteY481" fmla="*/ 1614708 h 1729012"/>
                <a:gd name="connsiteX482" fmla="*/ 1931516 w 2240198"/>
                <a:gd name="connsiteY482" fmla="*/ 1611537 h 1729012"/>
                <a:gd name="connsiteX483" fmla="*/ 1938295 w 2240198"/>
                <a:gd name="connsiteY483" fmla="*/ 1606811 h 1729012"/>
                <a:gd name="connsiteX484" fmla="*/ 1942427 w 2240198"/>
                <a:gd name="connsiteY484" fmla="*/ 1602696 h 1729012"/>
                <a:gd name="connsiteX485" fmla="*/ 1943592 w 2240198"/>
                <a:gd name="connsiteY485" fmla="*/ 1601832 h 1729012"/>
                <a:gd name="connsiteX486" fmla="*/ 1944517 w 2240198"/>
                <a:gd name="connsiteY486" fmla="*/ 1600173 h 1729012"/>
                <a:gd name="connsiteX487" fmla="*/ 1942250 w 2240198"/>
                <a:gd name="connsiteY487" fmla="*/ 1600451 h 1729012"/>
                <a:gd name="connsiteX488" fmla="*/ 1940268 w 2240198"/>
                <a:gd name="connsiteY488" fmla="*/ 1601101 h 1729012"/>
                <a:gd name="connsiteX489" fmla="*/ 1938896 w 2240198"/>
                <a:gd name="connsiteY489" fmla="*/ 1599196 h 1729012"/>
                <a:gd name="connsiteX490" fmla="*/ 1936452 w 2240198"/>
                <a:gd name="connsiteY490" fmla="*/ 1596664 h 1729012"/>
                <a:gd name="connsiteX491" fmla="*/ 1936216 w 2240198"/>
                <a:gd name="connsiteY491" fmla="*/ 1597718 h 1729012"/>
                <a:gd name="connsiteX492" fmla="*/ 1937443 w 2240198"/>
                <a:gd name="connsiteY492" fmla="*/ 1600869 h 1729012"/>
                <a:gd name="connsiteX493" fmla="*/ 1932755 w 2240198"/>
                <a:gd name="connsiteY493" fmla="*/ 1606402 h 1729012"/>
                <a:gd name="connsiteX494" fmla="*/ 1929728 w 2240198"/>
                <a:gd name="connsiteY494" fmla="*/ 1606796 h 1729012"/>
                <a:gd name="connsiteX495" fmla="*/ 1925686 w 2240198"/>
                <a:gd name="connsiteY495" fmla="*/ 1609372 h 1729012"/>
                <a:gd name="connsiteX496" fmla="*/ 1919980 w 2240198"/>
                <a:gd name="connsiteY496" fmla="*/ 1611614 h 1729012"/>
                <a:gd name="connsiteX497" fmla="*/ 1913319 w 2240198"/>
                <a:gd name="connsiteY497" fmla="*/ 1615888 h 1729012"/>
                <a:gd name="connsiteX498" fmla="*/ 1904712 w 2240198"/>
                <a:gd name="connsiteY498" fmla="*/ 1619484 h 1729012"/>
                <a:gd name="connsiteX499" fmla="*/ 1902908 w 2240198"/>
                <a:gd name="connsiteY499" fmla="*/ 1619498 h 1729012"/>
                <a:gd name="connsiteX500" fmla="*/ 1899000 w 2240198"/>
                <a:gd name="connsiteY500" fmla="*/ 1616539 h 1729012"/>
                <a:gd name="connsiteX501" fmla="*/ 1900093 w 2240198"/>
                <a:gd name="connsiteY501" fmla="*/ 1615191 h 1729012"/>
                <a:gd name="connsiteX502" fmla="*/ 1901109 w 2240198"/>
                <a:gd name="connsiteY502" fmla="*/ 1613362 h 1729012"/>
                <a:gd name="connsiteX503" fmla="*/ 1900138 w 2240198"/>
                <a:gd name="connsiteY503" fmla="*/ 1613889 h 1729012"/>
                <a:gd name="connsiteX504" fmla="*/ 1899507 w 2240198"/>
                <a:gd name="connsiteY504" fmla="*/ 1614682 h 1729012"/>
                <a:gd name="connsiteX505" fmla="*/ 1897149 w 2240198"/>
                <a:gd name="connsiteY505" fmla="*/ 1615955 h 1729012"/>
                <a:gd name="connsiteX506" fmla="*/ 1899062 w 2240198"/>
                <a:gd name="connsiteY506" fmla="*/ 1618414 h 1729012"/>
                <a:gd name="connsiteX507" fmla="*/ 1898138 w 2240198"/>
                <a:gd name="connsiteY507" fmla="*/ 1619336 h 1729012"/>
                <a:gd name="connsiteX508" fmla="*/ 1895404 w 2240198"/>
                <a:gd name="connsiteY508" fmla="*/ 1620548 h 1729012"/>
                <a:gd name="connsiteX509" fmla="*/ 1892858 w 2240198"/>
                <a:gd name="connsiteY509" fmla="*/ 1622301 h 1729012"/>
                <a:gd name="connsiteX510" fmla="*/ 1890630 w 2240198"/>
                <a:gd name="connsiteY510" fmla="*/ 1623471 h 1729012"/>
                <a:gd name="connsiteX511" fmla="*/ 1888828 w 2240198"/>
                <a:gd name="connsiteY511" fmla="*/ 1621982 h 1729012"/>
                <a:gd name="connsiteX512" fmla="*/ 1883851 w 2240198"/>
                <a:gd name="connsiteY512" fmla="*/ 1623863 h 1729012"/>
                <a:gd name="connsiteX513" fmla="*/ 1879661 w 2240198"/>
                <a:gd name="connsiteY513" fmla="*/ 1624368 h 1729012"/>
                <a:gd name="connsiteX514" fmla="*/ 1878754 w 2240198"/>
                <a:gd name="connsiteY514" fmla="*/ 1623416 h 1729012"/>
                <a:gd name="connsiteX515" fmla="*/ 1878488 w 2240198"/>
                <a:gd name="connsiteY515" fmla="*/ 1621911 h 1729012"/>
                <a:gd name="connsiteX516" fmla="*/ 1877021 w 2240198"/>
                <a:gd name="connsiteY516" fmla="*/ 1621548 h 1729012"/>
                <a:gd name="connsiteX517" fmla="*/ 1874294 w 2240198"/>
                <a:gd name="connsiteY517" fmla="*/ 1621963 h 1729012"/>
                <a:gd name="connsiteX518" fmla="*/ 1873261 w 2240198"/>
                <a:gd name="connsiteY518" fmla="*/ 1621163 h 1729012"/>
                <a:gd name="connsiteX519" fmla="*/ 1872091 w 2240198"/>
                <a:gd name="connsiteY519" fmla="*/ 1620768 h 1729012"/>
                <a:gd name="connsiteX520" fmla="*/ 1871019 w 2240198"/>
                <a:gd name="connsiteY520" fmla="*/ 1620437 h 1729012"/>
                <a:gd name="connsiteX521" fmla="*/ 1870097 w 2240198"/>
                <a:gd name="connsiteY521" fmla="*/ 1620179 h 1729012"/>
                <a:gd name="connsiteX522" fmla="*/ 1869563 w 2240198"/>
                <a:gd name="connsiteY522" fmla="*/ 1620621 h 1729012"/>
                <a:gd name="connsiteX523" fmla="*/ 1869056 w 2240198"/>
                <a:gd name="connsiteY523" fmla="*/ 1621210 h 1729012"/>
                <a:gd name="connsiteX524" fmla="*/ 1868432 w 2240198"/>
                <a:gd name="connsiteY524" fmla="*/ 1621654 h 1729012"/>
                <a:gd name="connsiteX525" fmla="*/ 1867122 w 2240198"/>
                <a:gd name="connsiteY525" fmla="*/ 1621027 h 1729012"/>
                <a:gd name="connsiteX526" fmla="*/ 1866289 w 2240198"/>
                <a:gd name="connsiteY526" fmla="*/ 1619884 h 1729012"/>
                <a:gd name="connsiteX527" fmla="*/ 1864951 w 2240198"/>
                <a:gd name="connsiteY527" fmla="*/ 1618706 h 1729012"/>
                <a:gd name="connsiteX528" fmla="*/ 1864444 w 2240198"/>
                <a:gd name="connsiteY528" fmla="*/ 1617819 h 1729012"/>
                <a:gd name="connsiteX529" fmla="*/ 1864713 w 2240198"/>
                <a:gd name="connsiteY529" fmla="*/ 1616787 h 1729012"/>
                <a:gd name="connsiteX530" fmla="*/ 1865307 w 2240198"/>
                <a:gd name="connsiteY530" fmla="*/ 1615791 h 1729012"/>
                <a:gd name="connsiteX531" fmla="*/ 1865576 w 2240198"/>
                <a:gd name="connsiteY531" fmla="*/ 1614611 h 1729012"/>
                <a:gd name="connsiteX532" fmla="*/ 1864921 w 2240198"/>
                <a:gd name="connsiteY532" fmla="*/ 1613247 h 1729012"/>
                <a:gd name="connsiteX533" fmla="*/ 1864326 w 2240198"/>
                <a:gd name="connsiteY533" fmla="*/ 1612471 h 1729012"/>
                <a:gd name="connsiteX534" fmla="*/ 1863909 w 2240198"/>
                <a:gd name="connsiteY534" fmla="*/ 1611583 h 1729012"/>
                <a:gd name="connsiteX535" fmla="*/ 1864058 w 2240198"/>
                <a:gd name="connsiteY535" fmla="*/ 1610735 h 1729012"/>
                <a:gd name="connsiteX536" fmla="*/ 1864891 w 2240198"/>
                <a:gd name="connsiteY536" fmla="*/ 1610326 h 1729012"/>
                <a:gd name="connsiteX537" fmla="*/ 1865665 w 2240198"/>
                <a:gd name="connsiteY537" fmla="*/ 1609808 h 1729012"/>
                <a:gd name="connsiteX538" fmla="*/ 1865932 w 2240198"/>
                <a:gd name="connsiteY538" fmla="*/ 1608700 h 1729012"/>
                <a:gd name="connsiteX539" fmla="*/ 1865456 w 2240198"/>
                <a:gd name="connsiteY539" fmla="*/ 1607517 h 1729012"/>
                <a:gd name="connsiteX540" fmla="*/ 1864087 w 2240198"/>
                <a:gd name="connsiteY540" fmla="*/ 1607034 h 1729012"/>
                <a:gd name="connsiteX541" fmla="*/ 1862956 w 2240198"/>
                <a:gd name="connsiteY541" fmla="*/ 1607219 h 1729012"/>
                <a:gd name="connsiteX542" fmla="*/ 1861320 w 2240198"/>
                <a:gd name="connsiteY542" fmla="*/ 1606961 h 1729012"/>
                <a:gd name="connsiteX543" fmla="*/ 1859744 w 2240198"/>
                <a:gd name="connsiteY543" fmla="*/ 1606221 h 1729012"/>
                <a:gd name="connsiteX544" fmla="*/ 1858703 w 2240198"/>
                <a:gd name="connsiteY544" fmla="*/ 1605369 h 1729012"/>
                <a:gd name="connsiteX545" fmla="*/ 1857899 w 2240198"/>
                <a:gd name="connsiteY545" fmla="*/ 1604886 h 1729012"/>
                <a:gd name="connsiteX546" fmla="*/ 1857274 w 2240198"/>
                <a:gd name="connsiteY546" fmla="*/ 1604886 h 1729012"/>
                <a:gd name="connsiteX547" fmla="*/ 1856530 w 2240198"/>
                <a:gd name="connsiteY547" fmla="*/ 1604406 h 1729012"/>
                <a:gd name="connsiteX548" fmla="*/ 1856084 w 2240198"/>
                <a:gd name="connsiteY548" fmla="*/ 1603591 h 1729012"/>
                <a:gd name="connsiteX549" fmla="*/ 1856144 w 2240198"/>
                <a:gd name="connsiteY549" fmla="*/ 1602256 h 1729012"/>
                <a:gd name="connsiteX550" fmla="*/ 1856351 w 2240198"/>
                <a:gd name="connsiteY550" fmla="*/ 1601442 h 1729012"/>
                <a:gd name="connsiteX551" fmla="*/ 1856768 w 2240198"/>
                <a:gd name="connsiteY551" fmla="*/ 1600736 h 1729012"/>
                <a:gd name="connsiteX552" fmla="*/ 1856797 w 2240198"/>
                <a:gd name="connsiteY552" fmla="*/ 1599957 h 1729012"/>
                <a:gd name="connsiteX553" fmla="*/ 1856620 w 2240198"/>
                <a:gd name="connsiteY553" fmla="*/ 1599399 h 1729012"/>
                <a:gd name="connsiteX554" fmla="*/ 1856591 w 2240198"/>
                <a:gd name="connsiteY554" fmla="*/ 1598957 h 1729012"/>
                <a:gd name="connsiteX555" fmla="*/ 1856708 w 2240198"/>
                <a:gd name="connsiteY555" fmla="*/ 1598399 h 1729012"/>
                <a:gd name="connsiteX556" fmla="*/ 1856977 w 2240198"/>
                <a:gd name="connsiteY556" fmla="*/ 1597286 h 1729012"/>
                <a:gd name="connsiteX557" fmla="*/ 1856530 w 2240198"/>
                <a:gd name="connsiteY557" fmla="*/ 1596470 h 1729012"/>
                <a:gd name="connsiteX558" fmla="*/ 1856484 w 2240198"/>
                <a:gd name="connsiteY558" fmla="*/ 1593639 h 1729012"/>
                <a:gd name="connsiteX559" fmla="*/ 1856396 w 2240198"/>
                <a:gd name="connsiteY559" fmla="*/ 1588338 h 1729012"/>
                <a:gd name="connsiteX560" fmla="*/ 1856331 w 2240198"/>
                <a:gd name="connsiteY560" fmla="*/ 1584272 h 1729012"/>
                <a:gd name="connsiteX561" fmla="*/ 1856248 w 2240198"/>
                <a:gd name="connsiteY561" fmla="*/ 1579151 h 1729012"/>
                <a:gd name="connsiteX562" fmla="*/ 1856200 w 2240198"/>
                <a:gd name="connsiteY562" fmla="*/ 1575417 h 1729012"/>
                <a:gd name="connsiteX563" fmla="*/ 1856133 w 2240198"/>
                <a:gd name="connsiteY563" fmla="*/ 1570176 h 1729012"/>
                <a:gd name="connsiteX564" fmla="*/ 1856069 w 2240198"/>
                <a:gd name="connsiteY564" fmla="*/ 1565196 h 1729012"/>
                <a:gd name="connsiteX565" fmla="*/ 1855969 w 2240198"/>
                <a:gd name="connsiteY565" fmla="*/ 1560489 h 1729012"/>
                <a:gd name="connsiteX566" fmla="*/ 1852722 w 2240198"/>
                <a:gd name="connsiteY566" fmla="*/ 1557771 h 1729012"/>
                <a:gd name="connsiteX567" fmla="*/ 1848616 w 2240198"/>
                <a:gd name="connsiteY567" fmla="*/ 1554331 h 1729012"/>
                <a:gd name="connsiteX568" fmla="*/ 1845099 w 2240198"/>
                <a:gd name="connsiteY568" fmla="*/ 1552048 h 1729012"/>
                <a:gd name="connsiteX569" fmla="*/ 1843187 w 2240198"/>
                <a:gd name="connsiteY569" fmla="*/ 1551774 h 1729012"/>
                <a:gd name="connsiteX570" fmla="*/ 1841992 w 2240198"/>
                <a:gd name="connsiteY570" fmla="*/ 1552094 h 1729012"/>
                <a:gd name="connsiteX571" fmla="*/ 1841513 w 2240198"/>
                <a:gd name="connsiteY571" fmla="*/ 1553005 h 1729012"/>
                <a:gd name="connsiteX572" fmla="*/ 1838889 w 2240198"/>
                <a:gd name="connsiteY572" fmla="*/ 1553980 h 1729012"/>
                <a:gd name="connsiteX573" fmla="*/ 1834118 w 2240198"/>
                <a:gd name="connsiteY573" fmla="*/ 1555017 h 1729012"/>
                <a:gd name="connsiteX574" fmla="*/ 1830057 w 2240198"/>
                <a:gd name="connsiteY574" fmla="*/ 1556626 h 1729012"/>
                <a:gd name="connsiteX575" fmla="*/ 1828569 w 2240198"/>
                <a:gd name="connsiteY575" fmla="*/ 1556642 h 1729012"/>
                <a:gd name="connsiteX576" fmla="*/ 1827306 w 2240198"/>
                <a:gd name="connsiteY576" fmla="*/ 1556373 h 1729012"/>
                <a:gd name="connsiteX577" fmla="*/ 1825634 w 2240198"/>
                <a:gd name="connsiteY577" fmla="*/ 1555565 h 1729012"/>
                <a:gd name="connsiteX578" fmla="*/ 1824482 w 2240198"/>
                <a:gd name="connsiteY578" fmla="*/ 1554370 h 1729012"/>
                <a:gd name="connsiteX579" fmla="*/ 1824085 w 2240198"/>
                <a:gd name="connsiteY579" fmla="*/ 1552299 h 1729012"/>
                <a:gd name="connsiteX580" fmla="*/ 1824440 w 2240198"/>
                <a:gd name="connsiteY580" fmla="*/ 1549455 h 1729012"/>
                <a:gd name="connsiteX581" fmla="*/ 1822005 w 2240198"/>
                <a:gd name="connsiteY581" fmla="*/ 1548872 h 1729012"/>
                <a:gd name="connsiteX582" fmla="*/ 1819555 w 2240198"/>
                <a:gd name="connsiteY582" fmla="*/ 1548286 h 1729012"/>
                <a:gd name="connsiteX583" fmla="*/ 1818052 w 2240198"/>
                <a:gd name="connsiteY583" fmla="*/ 1550248 h 1729012"/>
                <a:gd name="connsiteX584" fmla="*/ 1816614 w 2240198"/>
                <a:gd name="connsiteY584" fmla="*/ 1551898 h 1729012"/>
                <a:gd name="connsiteX585" fmla="*/ 1813759 w 2240198"/>
                <a:gd name="connsiteY585" fmla="*/ 1555493 h 1729012"/>
                <a:gd name="connsiteX586" fmla="*/ 1809745 w 2240198"/>
                <a:gd name="connsiteY586" fmla="*/ 1560536 h 1729012"/>
                <a:gd name="connsiteX587" fmla="*/ 1807519 w 2240198"/>
                <a:gd name="connsiteY587" fmla="*/ 1563305 h 1729012"/>
                <a:gd name="connsiteX588" fmla="*/ 1803610 w 2240198"/>
                <a:gd name="connsiteY588" fmla="*/ 1568163 h 1729012"/>
                <a:gd name="connsiteX589" fmla="*/ 1800162 w 2240198"/>
                <a:gd name="connsiteY589" fmla="*/ 1572441 h 1729012"/>
                <a:gd name="connsiteX590" fmla="*/ 1799388 w 2240198"/>
                <a:gd name="connsiteY590" fmla="*/ 1576825 h 1729012"/>
                <a:gd name="connsiteX591" fmla="*/ 1798654 w 2240198"/>
                <a:gd name="connsiteY591" fmla="*/ 1580975 h 1729012"/>
                <a:gd name="connsiteX592" fmla="*/ 1795801 w 2240198"/>
                <a:gd name="connsiteY592" fmla="*/ 1584130 h 1729012"/>
                <a:gd name="connsiteX593" fmla="*/ 1794062 w 2240198"/>
                <a:gd name="connsiteY593" fmla="*/ 1587019 h 1729012"/>
                <a:gd name="connsiteX594" fmla="*/ 1793285 w 2240198"/>
                <a:gd name="connsiteY594" fmla="*/ 1590221 h 1729012"/>
                <a:gd name="connsiteX595" fmla="*/ 1792636 w 2240198"/>
                <a:gd name="connsiteY595" fmla="*/ 1593157 h 1729012"/>
                <a:gd name="connsiteX596" fmla="*/ 1792587 w 2240198"/>
                <a:gd name="connsiteY596" fmla="*/ 1595613 h 1729012"/>
                <a:gd name="connsiteX597" fmla="*/ 1793077 w 2240198"/>
                <a:gd name="connsiteY597" fmla="*/ 1596901 h 1729012"/>
                <a:gd name="connsiteX598" fmla="*/ 1792846 w 2240198"/>
                <a:gd name="connsiteY598" fmla="*/ 1597946 h 1729012"/>
                <a:gd name="connsiteX599" fmla="*/ 1791902 w 2240198"/>
                <a:gd name="connsiteY599" fmla="*/ 1599149 h 1729012"/>
                <a:gd name="connsiteX600" fmla="*/ 1790016 w 2240198"/>
                <a:gd name="connsiteY600" fmla="*/ 1601241 h 1729012"/>
                <a:gd name="connsiteX601" fmla="*/ 1789680 w 2240198"/>
                <a:gd name="connsiteY601" fmla="*/ 1603252 h 1729012"/>
                <a:gd name="connsiteX602" fmla="*/ 1788526 w 2240198"/>
                <a:gd name="connsiteY602" fmla="*/ 1604244 h 1729012"/>
                <a:gd name="connsiteX603" fmla="*/ 1785235 w 2240198"/>
                <a:gd name="connsiteY603" fmla="*/ 1606227 h 1729012"/>
                <a:gd name="connsiteX604" fmla="*/ 1782551 w 2240198"/>
                <a:gd name="connsiteY604" fmla="*/ 1609148 h 1729012"/>
                <a:gd name="connsiteX605" fmla="*/ 1782420 w 2240198"/>
                <a:gd name="connsiteY605" fmla="*/ 1610801 h 1729012"/>
                <a:gd name="connsiteX606" fmla="*/ 1782808 w 2240198"/>
                <a:gd name="connsiteY606" fmla="*/ 1612173 h 1729012"/>
                <a:gd name="connsiteX607" fmla="*/ 1782866 w 2240198"/>
                <a:gd name="connsiteY607" fmla="*/ 1613024 h 1729012"/>
                <a:gd name="connsiteX608" fmla="*/ 1782331 w 2240198"/>
                <a:gd name="connsiteY608" fmla="*/ 1613618 h 1729012"/>
                <a:gd name="connsiteX609" fmla="*/ 1781256 w 2240198"/>
                <a:gd name="connsiteY609" fmla="*/ 1613579 h 1729012"/>
                <a:gd name="connsiteX610" fmla="*/ 1780093 w 2240198"/>
                <a:gd name="connsiteY610" fmla="*/ 1613764 h 1729012"/>
                <a:gd name="connsiteX611" fmla="*/ 1779114 w 2240198"/>
                <a:gd name="connsiteY611" fmla="*/ 1614980 h 1729012"/>
                <a:gd name="connsiteX612" fmla="*/ 1779139 w 2240198"/>
                <a:gd name="connsiteY612" fmla="*/ 1616725 h 1729012"/>
                <a:gd name="connsiteX613" fmla="*/ 1778424 w 2240198"/>
                <a:gd name="connsiteY613" fmla="*/ 1617982 h 1729012"/>
                <a:gd name="connsiteX614" fmla="*/ 1777588 w 2240198"/>
                <a:gd name="connsiteY614" fmla="*/ 1618241 h 1729012"/>
                <a:gd name="connsiteX615" fmla="*/ 1776871 w 2240198"/>
                <a:gd name="connsiteY615" fmla="*/ 1617352 h 1729012"/>
                <a:gd name="connsiteX616" fmla="*/ 1776011 w 2240198"/>
                <a:gd name="connsiteY616" fmla="*/ 1616020 h 1729012"/>
                <a:gd name="connsiteX617" fmla="*/ 1775003 w 2240198"/>
                <a:gd name="connsiteY617" fmla="*/ 1615889 h 1729012"/>
                <a:gd name="connsiteX618" fmla="*/ 1773473 w 2240198"/>
                <a:gd name="connsiteY618" fmla="*/ 1616773 h 1729012"/>
                <a:gd name="connsiteX619" fmla="*/ 1771586 w 2240198"/>
                <a:gd name="connsiteY619" fmla="*/ 1618229 h 1729012"/>
                <a:gd name="connsiteX620" fmla="*/ 1769889 w 2240198"/>
                <a:gd name="connsiteY620" fmla="*/ 1618306 h 1729012"/>
                <a:gd name="connsiteX621" fmla="*/ 1766702 w 2240198"/>
                <a:gd name="connsiteY621" fmla="*/ 1617372 h 1729012"/>
                <a:gd name="connsiteX622" fmla="*/ 1764375 w 2240198"/>
                <a:gd name="connsiteY622" fmla="*/ 1620193 h 1729012"/>
                <a:gd name="connsiteX623" fmla="*/ 1761879 w 2240198"/>
                <a:gd name="connsiteY623" fmla="*/ 1626241 h 1729012"/>
                <a:gd name="connsiteX624" fmla="*/ 1751327 w 2240198"/>
                <a:gd name="connsiteY624" fmla="*/ 1626257 h 1729012"/>
                <a:gd name="connsiteX625" fmla="*/ 1740776 w 2240198"/>
                <a:gd name="connsiteY625" fmla="*/ 1626272 h 1729012"/>
                <a:gd name="connsiteX626" fmla="*/ 1730224 w 2240198"/>
                <a:gd name="connsiteY626" fmla="*/ 1626287 h 1729012"/>
                <a:gd name="connsiteX627" fmla="*/ 1719673 w 2240198"/>
                <a:gd name="connsiteY627" fmla="*/ 1626303 h 1729012"/>
                <a:gd name="connsiteX628" fmla="*/ 1709122 w 2240198"/>
                <a:gd name="connsiteY628" fmla="*/ 1626316 h 1729012"/>
                <a:gd name="connsiteX629" fmla="*/ 1698570 w 2240198"/>
                <a:gd name="connsiteY629" fmla="*/ 1626331 h 1729012"/>
                <a:gd name="connsiteX630" fmla="*/ 1688019 w 2240198"/>
                <a:gd name="connsiteY630" fmla="*/ 1626346 h 1729012"/>
                <a:gd name="connsiteX631" fmla="*/ 1682114 w 2240198"/>
                <a:gd name="connsiteY631" fmla="*/ 1626355 h 1729012"/>
                <a:gd name="connsiteX632" fmla="*/ 1680957 w 2240198"/>
                <a:gd name="connsiteY632" fmla="*/ 1626358 h 1729012"/>
                <a:gd name="connsiteX633" fmla="*/ 1684572 w 2240198"/>
                <a:gd name="connsiteY633" fmla="*/ 1625173 h 1729012"/>
                <a:gd name="connsiteX634" fmla="*/ 1692110 w 2240198"/>
                <a:gd name="connsiteY634" fmla="*/ 1620571 h 1729012"/>
                <a:gd name="connsiteX635" fmla="*/ 1697670 w 2240198"/>
                <a:gd name="connsiteY635" fmla="*/ 1618903 h 1729012"/>
                <a:gd name="connsiteX636" fmla="*/ 1704900 w 2240198"/>
                <a:gd name="connsiteY636" fmla="*/ 1614059 h 1729012"/>
                <a:gd name="connsiteX637" fmla="*/ 1710137 w 2240198"/>
                <a:gd name="connsiteY637" fmla="*/ 1613126 h 1729012"/>
                <a:gd name="connsiteX638" fmla="*/ 1711133 w 2240198"/>
                <a:gd name="connsiteY638" fmla="*/ 1612059 h 1729012"/>
                <a:gd name="connsiteX639" fmla="*/ 1712012 w 2240198"/>
                <a:gd name="connsiteY639" fmla="*/ 1608032 h 1729012"/>
                <a:gd name="connsiteX640" fmla="*/ 1712490 w 2240198"/>
                <a:gd name="connsiteY640" fmla="*/ 1606596 h 1729012"/>
                <a:gd name="connsiteX641" fmla="*/ 1714936 w 2240198"/>
                <a:gd name="connsiteY641" fmla="*/ 1602634 h 1729012"/>
                <a:gd name="connsiteX642" fmla="*/ 1717872 w 2240198"/>
                <a:gd name="connsiteY642" fmla="*/ 1599288 h 1729012"/>
                <a:gd name="connsiteX643" fmla="*/ 1720242 w 2240198"/>
                <a:gd name="connsiteY643" fmla="*/ 1594657 h 1729012"/>
                <a:gd name="connsiteX644" fmla="*/ 1724543 w 2240198"/>
                <a:gd name="connsiteY644" fmla="*/ 1591692 h 1729012"/>
                <a:gd name="connsiteX645" fmla="*/ 1731047 w 2240198"/>
                <a:gd name="connsiteY645" fmla="*/ 1589211 h 1729012"/>
                <a:gd name="connsiteX646" fmla="*/ 1737063 w 2240198"/>
                <a:gd name="connsiteY646" fmla="*/ 1583786 h 1729012"/>
                <a:gd name="connsiteX647" fmla="*/ 1740360 w 2240198"/>
                <a:gd name="connsiteY647" fmla="*/ 1582130 h 1729012"/>
                <a:gd name="connsiteX648" fmla="*/ 1743555 w 2240198"/>
                <a:gd name="connsiteY648" fmla="*/ 1580943 h 1729012"/>
                <a:gd name="connsiteX649" fmla="*/ 1744897 w 2240198"/>
                <a:gd name="connsiteY649" fmla="*/ 1578733 h 1729012"/>
                <a:gd name="connsiteX650" fmla="*/ 1746874 w 2240198"/>
                <a:gd name="connsiteY650" fmla="*/ 1577470 h 1729012"/>
                <a:gd name="connsiteX651" fmla="*/ 1752157 w 2240198"/>
                <a:gd name="connsiteY651" fmla="*/ 1574897 h 1729012"/>
                <a:gd name="connsiteX652" fmla="*/ 1757980 w 2240198"/>
                <a:gd name="connsiteY652" fmla="*/ 1574201 h 1729012"/>
                <a:gd name="connsiteX653" fmla="*/ 1763864 w 2240198"/>
                <a:gd name="connsiteY653" fmla="*/ 1572064 h 1729012"/>
                <a:gd name="connsiteX654" fmla="*/ 1768378 w 2240198"/>
                <a:gd name="connsiteY654" fmla="*/ 1570931 h 1729012"/>
                <a:gd name="connsiteX655" fmla="*/ 1771147 w 2240198"/>
                <a:gd name="connsiteY655" fmla="*/ 1568924 h 1729012"/>
                <a:gd name="connsiteX656" fmla="*/ 1775172 w 2240198"/>
                <a:gd name="connsiteY656" fmla="*/ 1567867 h 1729012"/>
                <a:gd name="connsiteX657" fmla="*/ 1787185 w 2240198"/>
                <a:gd name="connsiteY657" fmla="*/ 1562099 h 1729012"/>
                <a:gd name="connsiteX658" fmla="*/ 1790517 w 2240198"/>
                <a:gd name="connsiteY658" fmla="*/ 1559395 h 1729012"/>
                <a:gd name="connsiteX659" fmla="*/ 1794836 w 2240198"/>
                <a:gd name="connsiteY659" fmla="*/ 1553849 h 1729012"/>
                <a:gd name="connsiteX660" fmla="*/ 1798593 w 2240198"/>
                <a:gd name="connsiteY660" fmla="*/ 1551025 h 1729012"/>
                <a:gd name="connsiteX661" fmla="*/ 1799922 w 2240198"/>
                <a:gd name="connsiteY661" fmla="*/ 1548014 h 1729012"/>
                <a:gd name="connsiteX662" fmla="*/ 1805372 w 2240198"/>
                <a:gd name="connsiteY662" fmla="*/ 1543121 h 1729012"/>
                <a:gd name="connsiteX663" fmla="*/ 1810980 w 2240198"/>
                <a:gd name="connsiteY663" fmla="*/ 1536661 h 1729012"/>
                <a:gd name="connsiteX664" fmla="*/ 1813769 w 2240198"/>
                <a:gd name="connsiteY664" fmla="*/ 1532020 h 1729012"/>
                <a:gd name="connsiteX665" fmla="*/ 1817945 w 2240198"/>
                <a:gd name="connsiteY665" fmla="*/ 1529440 h 1729012"/>
                <a:gd name="connsiteX666" fmla="*/ 1826041 w 2240198"/>
                <a:gd name="connsiteY666" fmla="*/ 1522051 h 1729012"/>
                <a:gd name="connsiteX667" fmla="*/ 1830387 w 2240198"/>
                <a:gd name="connsiteY667" fmla="*/ 1519096 h 1729012"/>
                <a:gd name="connsiteX668" fmla="*/ 1832153 w 2240198"/>
                <a:gd name="connsiteY668" fmla="*/ 1518758 h 1729012"/>
                <a:gd name="connsiteX669" fmla="*/ 1837074 w 2240198"/>
                <a:gd name="connsiteY669" fmla="*/ 1516128 h 1729012"/>
                <a:gd name="connsiteX670" fmla="*/ 1840129 w 2240198"/>
                <a:gd name="connsiteY670" fmla="*/ 1513383 h 1729012"/>
                <a:gd name="connsiteX671" fmla="*/ 1845031 w 2240198"/>
                <a:gd name="connsiteY671" fmla="*/ 1510624 h 1729012"/>
                <a:gd name="connsiteX672" fmla="*/ 1853885 w 2240198"/>
                <a:gd name="connsiteY672" fmla="*/ 1507217 h 1729012"/>
                <a:gd name="connsiteX673" fmla="*/ 1862204 w 2240198"/>
                <a:gd name="connsiteY673" fmla="*/ 1503135 h 1729012"/>
                <a:gd name="connsiteX674" fmla="*/ 1873448 w 2240198"/>
                <a:gd name="connsiteY674" fmla="*/ 1499598 h 1729012"/>
                <a:gd name="connsiteX675" fmla="*/ 1886617 w 2240198"/>
                <a:gd name="connsiteY675" fmla="*/ 1494288 h 1729012"/>
                <a:gd name="connsiteX676" fmla="*/ 1897265 w 2240198"/>
                <a:gd name="connsiteY676" fmla="*/ 1491444 h 1729012"/>
                <a:gd name="connsiteX677" fmla="*/ 1904754 w 2240198"/>
                <a:gd name="connsiteY677" fmla="*/ 1491032 h 1729012"/>
                <a:gd name="connsiteX678" fmla="*/ 375112 w 2240198"/>
                <a:gd name="connsiteY678" fmla="*/ 1485971 h 1729012"/>
                <a:gd name="connsiteX679" fmla="*/ 377476 w 2240198"/>
                <a:gd name="connsiteY679" fmla="*/ 1486456 h 1729012"/>
                <a:gd name="connsiteX680" fmla="*/ 378065 w 2240198"/>
                <a:gd name="connsiteY680" fmla="*/ 1486818 h 1729012"/>
                <a:gd name="connsiteX681" fmla="*/ 378777 w 2240198"/>
                <a:gd name="connsiteY681" fmla="*/ 1489786 h 1729012"/>
                <a:gd name="connsiteX682" fmla="*/ 375663 w 2240198"/>
                <a:gd name="connsiteY682" fmla="*/ 1489310 h 1729012"/>
                <a:gd name="connsiteX683" fmla="*/ 374577 w 2240198"/>
                <a:gd name="connsiteY683" fmla="*/ 1488735 h 1729012"/>
                <a:gd name="connsiteX684" fmla="*/ 374531 w 2240198"/>
                <a:gd name="connsiteY684" fmla="*/ 1487309 h 1729012"/>
                <a:gd name="connsiteX685" fmla="*/ 2191880 w 2240198"/>
                <a:gd name="connsiteY685" fmla="*/ 1477687 h 1729012"/>
                <a:gd name="connsiteX686" fmla="*/ 2192425 w 2240198"/>
                <a:gd name="connsiteY686" fmla="*/ 1478067 h 1729012"/>
                <a:gd name="connsiteX687" fmla="*/ 2192002 w 2240198"/>
                <a:gd name="connsiteY687" fmla="*/ 1479092 h 1729012"/>
                <a:gd name="connsiteX688" fmla="*/ 2188089 w 2240198"/>
                <a:gd name="connsiteY688" fmla="*/ 1481009 h 1729012"/>
                <a:gd name="connsiteX689" fmla="*/ 2187199 w 2240198"/>
                <a:gd name="connsiteY689" fmla="*/ 1481763 h 1729012"/>
                <a:gd name="connsiteX690" fmla="*/ 2186116 w 2240198"/>
                <a:gd name="connsiteY690" fmla="*/ 1482146 h 1729012"/>
                <a:gd name="connsiteX691" fmla="*/ 2185305 w 2240198"/>
                <a:gd name="connsiteY691" fmla="*/ 1481543 h 1729012"/>
                <a:gd name="connsiteX692" fmla="*/ 2184163 w 2240198"/>
                <a:gd name="connsiteY692" fmla="*/ 1479514 h 1729012"/>
                <a:gd name="connsiteX693" fmla="*/ 2184370 w 2240198"/>
                <a:gd name="connsiteY693" fmla="*/ 1478839 h 1729012"/>
                <a:gd name="connsiteX694" fmla="*/ 2185443 w 2240198"/>
                <a:gd name="connsiteY694" fmla="*/ 1478747 h 1729012"/>
                <a:gd name="connsiteX695" fmla="*/ 2186060 w 2240198"/>
                <a:gd name="connsiteY695" fmla="*/ 1479015 h 1729012"/>
                <a:gd name="connsiteX696" fmla="*/ 2186216 w 2240198"/>
                <a:gd name="connsiteY696" fmla="*/ 1479646 h 1729012"/>
                <a:gd name="connsiteX697" fmla="*/ 2186686 w 2240198"/>
                <a:gd name="connsiteY697" fmla="*/ 1479966 h 1729012"/>
                <a:gd name="connsiteX698" fmla="*/ 2187471 w 2240198"/>
                <a:gd name="connsiteY698" fmla="*/ 1479973 h 1729012"/>
                <a:gd name="connsiteX699" fmla="*/ 2190370 w 2240198"/>
                <a:gd name="connsiteY699" fmla="*/ 1477998 h 1729012"/>
                <a:gd name="connsiteX700" fmla="*/ 2202568 w 2240198"/>
                <a:gd name="connsiteY700" fmla="*/ 1473740 h 1729012"/>
                <a:gd name="connsiteX701" fmla="*/ 2203684 w 2240198"/>
                <a:gd name="connsiteY701" fmla="*/ 1473963 h 1729012"/>
                <a:gd name="connsiteX702" fmla="*/ 2205556 w 2240198"/>
                <a:gd name="connsiteY702" fmla="*/ 1476106 h 1729012"/>
                <a:gd name="connsiteX703" fmla="*/ 2206551 w 2240198"/>
                <a:gd name="connsiteY703" fmla="*/ 1476684 h 1729012"/>
                <a:gd name="connsiteX704" fmla="*/ 2200016 w 2240198"/>
                <a:gd name="connsiteY704" fmla="*/ 1479000 h 1729012"/>
                <a:gd name="connsiteX705" fmla="*/ 2199234 w 2240198"/>
                <a:gd name="connsiteY705" fmla="*/ 1479154 h 1729012"/>
                <a:gd name="connsiteX706" fmla="*/ 2198805 w 2240198"/>
                <a:gd name="connsiteY706" fmla="*/ 1478879 h 1729012"/>
                <a:gd name="connsiteX707" fmla="*/ 2198738 w 2240198"/>
                <a:gd name="connsiteY707" fmla="*/ 1476721 h 1729012"/>
                <a:gd name="connsiteX708" fmla="*/ 2199020 w 2240198"/>
                <a:gd name="connsiteY708" fmla="*/ 1475051 h 1729012"/>
                <a:gd name="connsiteX709" fmla="*/ 2199493 w 2240198"/>
                <a:gd name="connsiteY709" fmla="*/ 1474802 h 1729012"/>
                <a:gd name="connsiteX710" fmla="*/ 2201005 w 2240198"/>
                <a:gd name="connsiteY710" fmla="*/ 1475808 h 1729012"/>
                <a:gd name="connsiteX711" fmla="*/ 415309 w 2240198"/>
                <a:gd name="connsiteY711" fmla="*/ 1472951 h 1729012"/>
                <a:gd name="connsiteX712" fmla="*/ 417239 w 2240198"/>
                <a:gd name="connsiteY712" fmla="*/ 1473286 h 1729012"/>
                <a:gd name="connsiteX713" fmla="*/ 420426 w 2240198"/>
                <a:gd name="connsiteY713" fmla="*/ 1474513 h 1729012"/>
                <a:gd name="connsiteX714" fmla="*/ 423275 w 2240198"/>
                <a:gd name="connsiteY714" fmla="*/ 1476507 h 1729012"/>
                <a:gd name="connsiteX715" fmla="*/ 427218 w 2240198"/>
                <a:gd name="connsiteY715" fmla="*/ 1480993 h 1729012"/>
                <a:gd name="connsiteX716" fmla="*/ 427569 w 2240198"/>
                <a:gd name="connsiteY716" fmla="*/ 1481678 h 1729012"/>
                <a:gd name="connsiteX717" fmla="*/ 421927 w 2240198"/>
                <a:gd name="connsiteY717" fmla="*/ 1479115 h 1729012"/>
                <a:gd name="connsiteX718" fmla="*/ 419520 w 2240198"/>
                <a:gd name="connsiteY718" fmla="*/ 1477598 h 1729012"/>
                <a:gd name="connsiteX719" fmla="*/ 418589 w 2240198"/>
                <a:gd name="connsiteY719" fmla="*/ 1476501 h 1729012"/>
                <a:gd name="connsiteX720" fmla="*/ 417983 w 2240198"/>
                <a:gd name="connsiteY720" fmla="*/ 1475880 h 1729012"/>
                <a:gd name="connsiteX721" fmla="*/ 415114 w 2240198"/>
                <a:gd name="connsiteY721" fmla="*/ 1474252 h 1729012"/>
                <a:gd name="connsiteX722" fmla="*/ 414636 w 2240198"/>
                <a:gd name="connsiteY722" fmla="*/ 1473504 h 1729012"/>
                <a:gd name="connsiteX723" fmla="*/ 359454 w 2240198"/>
                <a:gd name="connsiteY723" fmla="*/ 1469738 h 1729012"/>
                <a:gd name="connsiteX724" fmla="*/ 361683 w 2240198"/>
                <a:gd name="connsiteY724" fmla="*/ 1470686 h 1729012"/>
                <a:gd name="connsiteX725" fmla="*/ 362698 w 2240198"/>
                <a:gd name="connsiteY725" fmla="*/ 1471848 h 1729012"/>
                <a:gd name="connsiteX726" fmla="*/ 363920 w 2240198"/>
                <a:gd name="connsiteY726" fmla="*/ 1473918 h 1729012"/>
                <a:gd name="connsiteX727" fmla="*/ 364472 w 2240198"/>
                <a:gd name="connsiteY727" fmla="*/ 1476248 h 1729012"/>
                <a:gd name="connsiteX728" fmla="*/ 364533 w 2240198"/>
                <a:gd name="connsiteY728" fmla="*/ 1477842 h 1729012"/>
                <a:gd name="connsiteX729" fmla="*/ 364142 w 2240198"/>
                <a:gd name="connsiteY729" fmla="*/ 1478533 h 1729012"/>
                <a:gd name="connsiteX730" fmla="*/ 363148 w 2240198"/>
                <a:gd name="connsiteY730" fmla="*/ 1478680 h 1729012"/>
                <a:gd name="connsiteX731" fmla="*/ 361550 w 2240198"/>
                <a:gd name="connsiteY731" fmla="*/ 1478281 h 1729012"/>
                <a:gd name="connsiteX732" fmla="*/ 359754 w 2240198"/>
                <a:gd name="connsiteY732" fmla="*/ 1477338 h 1729012"/>
                <a:gd name="connsiteX733" fmla="*/ 356601 w 2240198"/>
                <a:gd name="connsiteY733" fmla="*/ 1474820 h 1729012"/>
                <a:gd name="connsiteX734" fmla="*/ 356280 w 2240198"/>
                <a:gd name="connsiteY734" fmla="*/ 1474251 h 1729012"/>
                <a:gd name="connsiteX735" fmla="*/ 356564 w 2240198"/>
                <a:gd name="connsiteY735" fmla="*/ 1473763 h 1729012"/>
                <a:gd name="connsiteX736" fmla="*/ 357455 w 2240198"/>
                <a:gd name="connsiteY736" fmla="*/ 1473357 h 1729012"/>
                <a:gd name="connsiteX737" fmla="*/ 357658 w 2240198"/>
                <a:gd name="connsiteY737" fmla="*/ 1472693 h 1729012"/>
                <a:gd name="connsiteX738" fmla="*/ 356924 w 2240198"/>
                <a:gd name="connsiteY738" fmla="*/ 1470881 h 1729012"/>
                <a:gd name="connsiteX739" fmla="*/ 1946316 w 2240198"/>
                <a:gd name="connsiteY739" fmla="*/ 1467356 h 1729012"/>
                <a:gd name="connsiteX740" fmla="*/ 1949163 w 2240198"/>
                <a:gd name="connsiteY740" fmla="*/ 1467447 h 1729012"/>
                <a:gd name="connsiteX741" fmla="*/ 1958578 w 2240198"/>
                <a:gd name="connsiteY741" fmla="*/ 1469643 h 1729012"/>
                <a:gd name="connsiteX742" fmla="*/ 1970450 w 2240198"/>
                <a:gd name="connsiteY742" fmla="*/ 1471571 h 1729012"/>
                <a:gd name="connsiteX743" fmla="*/ 1975601 w 2240198"/>
                <a:gd name="connsiteY743" fmla="*/ 1473029 h 1729012"/>
                <a:gd name="connsiteX744" fmla="*/ 1981440 w 2240198"/>
                <a:gd name="connsiteY744" fmla="*/ 1475248 h 1729012"/>
                <a:gd name="connsiteX745" fmla="*/ 1987147 w 2240198"/>
                <a:gd name="connsiteY745" fmla="*/ 1477937 h 1729012"/>
                <a:gd name="connsiteX746" fmla="*/ 1999837 w 2240198"/>
                <a:gd name="connsiteY746" fmla="*/ 1485074 h 1729012"/>
                <a:gd name="connsiteX747" fmla="*/ 2002118 w 2240198"/>
                <a:gd name="connsiteY747" fmla="*/ 1485643 h 1729012"/>
                <a:gd name="connsiteX748" fmla="*/ 2007847 w 2240198"/>
                <a:gd name="connsiteY748" fmla="*/ 1489132 h 1729012"/>
                <a:gd name="connsiteX749" fmla="*/ 2009907 w 2240198"/>
                <a:gd name="connsiteY749" fmla="*/ 1491750 h 1729012"/>
                <a:gd name="connsiteX750" fmla="*/ 2010914 w 2240198"/>
                <a:gd name="connsiteY750" fmla="*/ 1493873 h 1729012"/>
                <a:gd name="connsiteX751" fmla="*/ 2009663 w 2240198"/>
                <a:gd name="connsiteY751" fmla="*/ 1494962 h 1729012"/>
                <a:gd name="connsiteX752" fmla="*/ 2008253 w 2240198"/>
                <a:gd name="connsiteY752" fmla="*/ 1495351 h 1729012"/>
                <a:gd name="connsiteX753" fmla="*/ 1997643 w 2240198"/>
                <a:gd name="connsiteY753" fmla="*/ 1495836 h 1729012"/>
                <a:gd name="connsiteX754" fmla="*/ 1989196 w 2240198"/>
                <a:gd name="connsiteY754" fmla="*/ 1493812 h 1729012"/>
                <a:gd name="connsiteX755" fmla="*/ 1982934 w 2240198"/>
                <a:gd name="connsiteY755" fmla="*/ 1492834 h 1729012"/>
                <a:gd name="connsiteX756" fmla="*/ 1976800 w 2240198"/>
                <a:gd name="connsiteY756" fmla="*/ 1491055 h 1729012"/>
                <a:gd name="connsiteX757" fmla="*/ 1963505 w 2240198"/>
                <a:gd name="connsiteY757" fmla="*/ 1485330 h 1729012"/>
                <a:gd name="connsiteX758" fmla="*/ 1961982 w 2240198"/>
                <a:gd name="connsiteY758" fmla="*/ 1483337 h 1729012"/>
                <a:gd name="connsiteX759" fmla="*/ 1960706 w 2240198"/>
                <a:gd name="connsiteY759" fmla="*/ 1480889 h 1729012"/>
                <a:gd name="connsiteX760" fmla="*/ 1958161 w 2240198"/>
                <a:gd name="connsiteY760" fmla="*/ 1478659 h 1729012"/>
                <a:gd name="connsiteX761" fmla="*/ 1955415 w 2240198"/>
                <a:gd name="connsiteY761" fmla="*/ 1476823 h 1729012"/>
                <a:gd name="connsiteX762" fmla="*/ 1941339 w 2240198"/>
                <a:gd name="connsiteY762" fmla="*/ 1471213 h 1729012"/>
                <a:gd name="connsiteX763" fmla="*/ 1940193 w 2240198"/>
                <a:gd name="connsiteY763" fmla="*/ 1469255 h 1729012"/>
                <a:gd name="connsiteX764" fmla="*/ 1943039 w 2240198"/>
                <a:gd name="connsiteY764" fmla="*/ 1467966 h 1729012"/>
                <a:gd name="connsiteX765" fmla="*/ 405989 w 2240198"/>
                <a:gd name="connsiteY765" fmla="*/ 1458319 h 1729012"/>
                <a:gd name="connsiteX766" fmla="*/ 407332 w 2240198"/>
                <a:gd name="connsiteY766" fmla="*/ 1460019 h 1729012"/>
                <a:gd name="connsiteX767" fmla="*/ 407877 w 2240198"/>
                <a:gd name="connsiteY767" fmla="*/ 1461158 h 1729012"/>
                <a:gd name="connsiteX768" fmla="*/ 408103 w 2240198"/>
                <a:gd name="connsiteY768" fmla="*/ 1462735 h 1729012"/>
                <a:gd name="connsiteX769" fmla="*/ 408077 w 2240198"/>
                <a:gd name="connsiteY769" fmla="*/ 1463156 h 1729012"/>
                <a:gd name="connsiteX770" fmla="*/ 406321 w 2240198"/>
                <a:gd name="connsiteY770" fmla="*/ 1464537 h 1729012"/>
                <a:gd name="connsiteX771" fmla="*/ 405717 w 2240198"/>
                <a:gd name="connsiteY771" fmla="*/ 1464829 h 1729012"/>
                <a:gd name="connsiteX772" fmla="*/ 405098 w 2240198"/>
                <a:gd name="connsiteY772" fmla="*/ 1461075 h 1729012"/>
                <a:gd name="connsiteX773" fmla="*/ 405866 w 2240198"/>
                <a:gd name="connsiteY773" fmla="*/ 1459711 h 1729012"/>
                <a:gd name="connsiteX774" fmla="*/ 406085 w 2240198"/>
                <a:gd name="connsiteY774" fmla="*/ 1459025 h 1729012"/>
                <a:gd name="connsiteX775" fmla="*/ 399140 w 2240198"/>
                <a:gd name="connsiteY775" fmla="*/ 1451652 h 1729012"/>
                <a:gd name="connsiteX776" fmla="*/ 400787 w 2240198"/>
                <a:gd name="connsiteY776" fmla="*/ 1452586 h 1729012"/>
                <a:gd name="connsiteX777" fmla="*/ 402219 w 2240198"/>
                <a:gd name="connsiteY777" fmla="*/ 1454249 h 1729012"/>
                <a:gd name="connsiteX778" fmla="*/ 402550 w 2240198"/>
                <a:gd name="connsiteY778" fmla="*/ 1454895 h 1729012"/>
                <a:gd name="connsiteX779" fmla="*/ 403439 w 2240198"/>
                <a:gd name="connsiteY779" fmla="*/ 1456639 h 1729012"/>
                <a:gd name="connsiteX780" fmla="*/ 403881 w 2240198"/>
                <a:gd name="connsiteY780" fmla="*/ 1458203 h 1729012"/>
                <a:gd name="connsiteX781" fmla="*/ 402892 w 2240198"/>
                <a:gd name="connsiteY781" fmla="*/ 1460100 h 1729012"/>
                <a:gd name="connsiteX782" fmla="*/ 401088 w 2240198"/>
                <a:gd name="connsiteY782" fmla="*/ 1462299 h 1729012"/>
                <a:gd name="connsiteX783" fmla="*/ 400810 w 2240198"/>
                <a:gd name="connsiteY783" fmla="*/ 1464048 h 1729012"/>
                <a:gd name="connsiteX784" fmla="*/ 399176 w 2240198"/>
                <a:gd name="connsiteY784" fmla="*/ 1461209 h 1729012"/>
                <a:gd name="connsiteX785" fmla="*/ 396668 w 2240198"/>
                <a:gd name="connsiteY785" fmla="*/ 1455186 h 1729012"/>
                <a:gd name="connsiteX786" fmla="*/ 397001 w 2240198"/>
                <a:gd name="connsiteY786" fmla="*/ 1453776 h 1729012"/>
                <a:gd name="connsiteX787" fmla="*/ 398121 w 2240198"/>
                <a:gd name="connsiteY787" fmla="*/ 1451777 h 1729012"/>
                <a:gd name="connsiteX788" fmla="*/ 2167335 w 2240198"/>
                <a:gd name="connsiteY788" fmla="*/ 1438870 h 1729012"/>
                <a:gd name="connsiteX789" fmla="*/ 2168804 w 2240198"/>
                <a:gd name="connsiteY789" fmla="*/ 1439032 h 1729012"/>
                <a:gd name="connsiteX790" fmla="*/ 2168716 w 2240198"/>
                <a:gd name="connsiteY790" fmla="*/ 1439715 h 1729012"/>
                <a:gd name="connsiteX791" fmla="*/ 2167929 w 2240198"/>
                <a:gd name="connsiteY791" fmla="*/ 1440844 h 1729012"/>
                <a:gd name="connsiteX792" fmla="*/ 2167109 w 2240198"/>
                <a:gd name="connsiteY792" fmla="*/ 1441594 h 1729012"/>
                <a:gd name="connsiteX793" fmla="*/ 2166259 w 2240198"/>
                <a:gd name="connsiteY793" fmla="*/ 1441961 h 1729012"/>
                <a:gd name="connsiteX794" fmla="*/ 2165470 w 2240198"/>
                <a:gd name="connsiteY794" fmla="*/ 1441950 h 1729012"/>
                <a:gd name="connsiteX795" fmla="*/ 2164746 w 2240198"/>
                <a:gd name="connsiteY795" fmla="*/ 1441556 h 1729012"/>
                <a:gd name="connsiteX796" fmla="*/ 2164630 w 2240198"/>
                <a:gd name="connsiteY796" fmla="*/ 1440909 h 1729012"/>
                <a:gd name="connsiteX797" fmla="*/ 2165376 w 2240198"/>
                <a:gd name="connsiteY797" fmla="*/ 1439556 h 1729012"/>
                <a:gd name="connsiteX798" fmla="*/ 331766 w 2240198"/>
                <a:gd name="connsiteY798" fmla="*/ 1436887 h 1729012"/>
                <a:gd name="connsiteX799" fmla="*/ 336964 w 2240198"/>
                <a:gd name="connsiteY799" fmla="*/ 1438217 h 1729012"/>
                <a:gd name="connsiteX800" fmla="*/ 350041 w 2240198"/>
                <a:gd name="connsiteY800" fmla="*/ 1444239 h 1729012"/>
                <a:gd name="connsiteX801" fmla="*/ 362628 w 2240198"/>
                <a:gd name="connsiteY801" fmla="*/ 1448400 h 1729012"/>
                <a:gd name="connsiteX802" fmla="*/ 375231 w 2240198"/>
                <a:gd name="connsiteY802" fmla="*/ 1450454 h 1729012"/>
                <a:gd name="connsiteX803" fmla="*/ 384478 w 2240198"/>
                <a:gd name="connsiteY803" fmla="*/ 1452883 h 1729012"/>
                <a:gd name="connsiteX804" fmla="*/ 390157 w 2240198"/>
                <a:gd name="connsiteY804" fmla="*/ 1453623 h 1729012"/>
                <a:gd name="connsiteX805" fmla="*/ 392208 w 2240198"/>
                <a:gd name="connsiteY805" fmla="*/ 1454158 h 1729012"/>
                <a:gd name="connsiteX806" fmla="*/ 393534 w 2240198"/>
                <a:gd name="connsiteY806" fmla="*/ 1455011 h 1729012"/>
                <a:gd name="connsiteX807" fmla="*/ 395096 w 2240198"/>
                <a:gd name="connsiteY807" fmla="*/ 1457075 h 1729012"/>
                <a:gd name="connsiteX808" fmla="*/ 397796 w 2240198"/>
                <a:gd name="connsiteY808" fmla="*/ 1461983 h 1729012"/>
                <a:gd name="connsiteX809" fmla="*/ 399844 w 2240198"/>
                <a:gd name="connsiteY809" fmla="*/ 1465112 h 1729012"/>
                <a:gd name="connsiteX810" fmla="*/ 404073 w 2240198"/>
                <a:gd name="connsiteY810" fmla="*/ 1470536 h 1729012"/>
                <a:gd name="connsiteX811" fmla="*/ 407414 w 2240198"/>
                <a:gd name="connsiteY811" fmla="*/ 1474385 h 1729012"/>
                <a:gd name="connsiteX812" fmla="*/ 408175 w 2240198"/>
                <a:gd name="connsiteY812" fmla="*/ 1475912 h 1729012"/>
                <a:gd name="connsiteX813" fmla="*/ 407470 w 2240198"/>
                <a:gd name="connsiteY813" fmla="*/ 1476403 h 1729012"/>
                <a:gd name="connsiteX814" fmla="*/ 407515 w 2240198"/>
                <a:gd name="connsiteY814" fmla="*/ 1477303 h 1729012"/>
                <a:gd name="connsiteX815" fmla="*/ 410052 w 2240198"/>
                <a:gd name="connsiteY815" fmla="*/ 1481028 h 1729012"/>
                <a:gd name="connsiteX816" fmla="*/ 414812 w 2240198"/>
                <a:gd name="connsiteY816" fmla="*/ 1484365 h 1729012"/>
                <a:gd name="connsiteX817" fmla="*/ 418538 w 2240198"/>
                <a:gd name="connsiteY817" fmla="*/ 1485955 h 1729012"/>
                <a:gd name="connsiteX818" fmla="*/ 426400 w 2240198"/>
                <a:gd name="connsiteY818" fmla="*/ 1488573 h 1729012"/>
                <a:gd name="connsiteX819" fmla="*/ 431220 w 2240198"/>
                <a:gd name="connsiteY819" fmla="*/ 1491086 h 1729012"/>
                <a:gd name="connsiteX820" fmla="*/ 432707 w 2240198"/>
                <a:gd name="connsiteY820" fmla="*/ 1492831 h 1729012"/>
                <a:gd name="connsiteX821" fmla="*/ 434803 w 2240198"/>
                <a:gd name="connsiteY821" fmla="*/ 1494522 h 1729012"/>
                <a:gd name="connsiteX822" fmla="*/ 435677 w 2240198"/>
                <a:gd name="connsiteY822" fmla="*/ 1495692 h 1729012"/>
                <a:gd name="connsiteX823" fmla="*/ 437395 w 2240198"/>
                <a:gd name="connsiteY823" fmla="*/ 1500021 h 1729012"/>
                <a:gd name="connsiteX824" fmla="*/ 440583 w 2240198"/>
                <a:gd name="connsiteY824" fmla="*/ 1504178 h 1729012"/>
                <a:gd name="connsiteX825" fmla="*/ 443867 w 2240198"/>
                <a:gd name="connsiteY825" fmla="*/ 1512067 h 1729012"/>
                <a:gd name="connsiteX826" fmla="*/ 444480 w 2240198"/>
                <a:gd name="connsiteY826" fmla="*/ 1511409 h 1729012"/>
                <a:gd name="connsiteX827" fmla="*/ 444858 w 2240198"/>
                <a:gd name="connsiteY827" fmla="*/ 1509059 h 1729012"/>
                <a:gd name="connsiteX828" fmla="*/ 445235 w 2240198"/>
                <a:gd name="connsiteY828" fmla="*/ 1508535 h 1729012"/>
                <a:gd name="connsiteX829" fmla="*/ 445934 w 2240198"/>
                <a:gd name="connsiteY829" fmla="*/ 1508284 h 1729012"/>
                <a:gd name="connsiteX830" fmla="*/ 446583 w 2240198"/>
                <a:gd name="connsiteY830" fmla="*/ 1509196 h 1729012"/>
                <a:gd name="connsiteX831" fmla="*/ 447181 w 2240198"/>
                <a:gd name="connsiteY831" fmla="*/ 1511274 h 1729012"/>
                <a:gd name="connsiteX832" fmla="*/ 449274 w 2240198"/>
                <a:gd name="connsiteY832" fmla="*/ 1516196 h 1729012"/>
                <a:gd name="connsiteX833" fmla="*/ 448592 w 2240198"/>
                <a:gd name="connsiteY833" fmla="*/ 1517632 h 1729012"/>
                <a:gd name="connsiteX834" fmla="*/ 447988 w 2240198"/>
                <a:gd name="connsiteY834" fmla="*/ 1517780 h 1729012"/>
                <a:gd name="connsiteX835" fmla="*/ 445164 w 2240198"/>
                <a:gd name="connsiteY835" fmla="*/ 1517106 h 1729012"/>
                <a:gd name="connsiteX836" fmla="*/ 444182 w 2240198"/>
                <a:gd name="connsiteY836" fmla="*/ 1517988 h 1729012"/>
                <a:gd name="connsiteX837" fmla="*/ 442867 w 2240198"/>
                <a:gd name="connsiteY837" fmla="*/ 1519779 h 1729012"/>
                <a:gd name="connsiteX838" fmla="*/ 441937 w 2240198"/>
                <a:gd name="connsiteY838" fmla="*/ 1520499 h 1729012"/>
                <a:gd name="connsiteX839" fmla="*/ 441392 w 2240198"/>
                <a:gd name="connsiteY839" fmla="*/ 1520150 h 1729012"/>
                <a:gd name="connsiteX840" fmla="*/ 433220 w 2240198"/>
                <a:gd name="connsiteY840" fmla="*/ 1518427 h 1729012"/>
                <a:gd name="connsiteX841" fmla="*/ 428191 w 2240198"/>
                <a:gd name="connsiteY841" fmla="*/ 1516808 h 1729012"/>
                <a:gd name="connsiteX842" fmla="*/ 421573 w 2240198"/>
                <a:gd name="connsiteY842" fmla="*/ 1514244 h 1729012"/>
                <a:gd name="connsiteX843" fmla="*/ 413632 w 2240198"/>
                <a:gd name="connsiteY843" fmla="*/ 1511572 h 1729012"/>
                <a:gd name="connsiteX844" fmla="*/ 409097 w 2240198"/>
                <a:gd name="connsiteY844" fmla="*/ 1509737 h 1729012"/>
                <a:gd name="connsiteX845" fmla="*/ 405320 w 2240198"/>
                <a:gd name="connsiteY845" fmla="*/ 1507851 h 1729012"/>
                <a:gd name="connsiteX846" fmla="*/ 402696 w 2240198"/>
                <a:gd name="connsiteY846" fmla="*/ 1506242 h 1729012"/>
                <a:gd name="connsiteX847" fmla="*/ 402200 w 2240198"/>
                <a:gd name="connsiteY847" fmla="*/ 1504876 h 1729012"/>
                <a:gd name="connsiteX848" fmla="*/ 402317 w 2240198"/>
                <a:gd name="connsiteY848" fmla="*/ 1504230 h 1729012"/>
                <a:gd name="connsiteX849" fmla="*/ 407410 w 2240198"/>
                <a:gd name="connsiteY849" fmla="*/ 1499853 h 1729012"/>
                <a:gd name="connsiteX850" fmla="*/ 409570 w 2240198"/>
                <a:gd name="connsiteY850" fmla="*/ 1497500 h 1729012"/>
                <a:gd name="connsiteX851" fmla="*/ 410396 w 2240198"/>
                <a:gd name="connsiteY851" fmla="*/ 1495699 h 1729012"/>
                <a:gd name="connsiteX852" fmla="*/ 410822 w 2240198"/>
                <a:gd name="connsiteY852" fmla="*/ 1493791 h 1729012"/>
                <a:gd name="connsiteX853" fmla="*/ 410508 w 2240198"/>
                <a:gd name="connsiteY853" fmla="*/ 1491459 h 1729012"/>
                <a:gd name="connsiteX854" fmla="*/ 410302 w 2240198"/>
                <a:gd name="connsiteY854" fmla="*/ 1491641 h 1729012"/>
                <a:gd name="connsiteX855" fmla="*/ 409846 w 2240198"/>
                <a:gd name="connsiteY855" fmla="*/ 1493872 h 1729012"/>
                <a:gd name="connsiteX856" fmla="*/ 409096 w 2240198"/>
                <a:gd name="connsiteY856" fmla="*/ 1495855 h 1729012"/>
                <a:gd name="connsiteX857" fmla="*/ 408180 w 2240198"/>
                <a:gd name="connsiteY857" fmla="*/ 1497411 h 1729012"/>
                <a:gd name="connsiteX858" fmla="*/ 407600 w 2240198"/>
                <a:gd name="connsiteY858" fmla="*/ 1497960 h 1729012"/>
                <a:gd name="connsiteX859" fmla="*/ 401492 w 2240198"/>
                <a:gd name="connsiteY859" fmla="*/ 1498719 h 1729012"/>
                <a:gd name="connsiteX860" fmla="*/ 396559 w 2240198"/>
                <a:gd name="connsiteY860" fmla="*/ 1498483 h 1729012"/>
                <a:gd name="connsiteX861" fmla="*/ 394085 w 2240198"/>
                <a:gd name="connsiteY861" fmla="*/ 1500353 h 1729012"/>
                <a:gd name="connsiteX862" fmla="*/ 393346 w 2240198"/>
                <a:gd name="connsiteY862" fmla="*/ 1500591 h 1729012"/>
                <a:gd name="connsiteX863" fmla="*/ 391986 w 2240198"/>
                <a:gd name="connsiteY863" fmla="*/ 1499968 h 1729012"/>
                <a:gd name="connsiteX864" fmla="*/ 389009 w 2240198"/>
                <a:gd name="connsiteY864" fmla="*/ 1497472 h 1729012"/>
                <a:gd name="connsiteX865" fmla="*/ 384749 w 2240198"/>
                <a:gd name="connsiteY865" fmla="*/ 1495419 h 1729012"/>
                <a:gd name="connsiteX866" fmla="*/ 385169 w 2240198"/>
                <a:gd name="connsiteY866" fmla="*/ 1494915 h 1729012"/>
                <a:gd name="connsiteX867" fmla="*/ 387949 w 2240198"/>
                <a:gd name="connsiteY867" fmla="*/ 1493866 h 1729012"/>
                <a:gd name="connsiteX868" fmla="*/ 389422 w 2240198"/>
                <a:gd name="connsiteY868" fmla="*/ 1492340 h 1729012"/>
                <a:gd name="connsiteX869" fmla="*/ 389158 w 2240198"/>
                <a:gd name="connsiteY869" fmla="*/ 1492097 h 1729012"/>
                <a:gd name="connsiteX870" fmla="*/ 388167 w 2240198"/>
                <a:gd name="connsiteY870" fmla="*/ 1492190 h 1729012"/>
                <a:gd name="connsiteX871" fmla="*/ 387297 w 2240198"/>
                <a:gd name="connsiteY871" fmla="*/ 1491879 h 1729012"/>
                <a:gd name="connsiteX872" fmla="*/ 385563 w 2240198"/>
                <a:gd name="connsiteY872" fmla="*/ 1489899 h 1729012"/>
                <a:gd name="connsiteX873" fmla="*/ 384573 w 2240198"/>
                <a:gd name="connsiteY873" fmla="*/ 1489359 h 1729012"/>
                <a:gd name="connsiteX874" fmla="*/ 382470 w 2240198"/>
                <a:gd name="connsiteY874" fmla="*/ 1490250 h 1729012"/>
                <a:gd name="connsiteX875" fmla="*/ 381626 w 2240198"/>
                <a:gd name="connsiteY875" fmla="*/ 1490298 h 1729012"/>
                <a:gd name="connsiteX876" fmla="*/ 380810 w 2240198"/>
                <a:gd name="connsiteY876" fmla="*/ 1488989 h 1729012"/>
                <a:gd name="connsiteX877" fmla="*/ 381981 w 2240198"/>
                <a:gd name="connsiteY877" fmla="*/ 1485971 h 1729012"/>
                <a:gd name="connsiteX878" fmla="*/ 382039 w 2240198"/>
                <a:gd name="connsiteY878" fmla="*/ 1485259 h 1729012"/>
                <a:gd name="connsiteX879" fmla="*/ 379886 w 2240198"/>
                <a:gd name="connsiteY879" fmla="*/ 1486359 h 1729012"/>
                <a:gd name="connsiteX880" fmla="*/ 379175 w 2240198"/>
                <a:gd name="connsiteY880" fmla="*/ 1485998 h 1729012"/>
                <a:gd name="connsiteX881" fmla="*/ 378502 w 2240198"/>
                <a:gd name="connsiteY881" fmla="*/ 1485018 h 1729012"/>
                <a:gd name="connsiteX882" fmla="*/ 377869 w 2240198"/>
                <a:gd name="connsiteY882" fmla="*/ 1484608 h 1729012"/>
                <a:gd name="connsiteX883" fmla="*/ 376119 w 2240198"/>
                <a:gd name="connsiteY883" fmla="*/ 1484809 h 1729012"/>
                <a:gd name="connsiteX884" fmla="*/ 374223 w 2240198"/>
                <a:gd name="connsiteY884" fmla="*/ 1483904 h 1729012"/>
                <a:gd name="connsiteX885" fmla="*/ 373562 w 2240198"/>
                <a:gd name="connsiteY885" fmla="*/ 1484259 h 1729012"/>
                <a:gd name="connsiteX886" fmla="*/ 373310 w 2240198"/>
                <a:gd name="connsiteY886" fmla="*/ 1485564 h 1729012"/>
                <a:gd name="connsiteX887" fmla="*/ 372680 w 2240198"/>
                <a:gd name="connsiteY887" fmla="*/ 1485898 h 1729012"/>
                <a:gd name="connsiteX888" fmla="*/ 369787 w 2240198"/>
                <a:gd name="connsiteY888" fmla="*/ 1483695 h 1729012"/>
                <a:gd name="connsiteX889" fmla="*/ 369128 w 2240198"/>
                <a:gd name="connsiteY889" fmla="*/ 1483626 h 1729012"/>
                <a:gd name="connsiteX890" fmla="*/ 367726 w 2240198"/>
                <a:gd name="connsiteY890" fmla="*/ 1485310 h 1729012"/>
                <a:gd name="connsiteX891" fmla="*/ 367237 w 2240198"/>
                <a:gd name="connsiteY891" fmla="*/ 1485413 h 1729012"/>
                <a:gd name="connsiteX892" fmla="*/ 366492 w 2240198"/>
                <a:gd name="connsiteY892" fmla="*/ 1484685 h 1729012"/>
                <a:gd name="connsiteX893" fmla="*/ 366107 w 2240198"/>
                <a:gd name="connsiteY893" fmla="*/ 1480594 h 1729012"/>
                <a:gd name="connsiteX894" fmla="*/ 366265 w 2240198"/>
                <a:gd name="connsiteY894" fmla="*/ 1479430 h 1729012"/>
                <a:gd name="connsiteX895" fmla="*/ 366661 w 2240198"/>
                <a:gd name="connsiteY895" fmla="*/ 1479039 h 1729012"/>
                <a:gd name="connsiteX896" fmla="*/ 369173 w 2240198"/>
                <a:gd name="connsiteY896" fmla="*/ 1478090 h 1729012"/>
                <a:gd name="connsiteX897" fmla="*/ 376399 w 2240198"/>
                <a:gd name="connsiteY897" fmla="*/ 1477073 h 1729012"/>
                <a:gd name="connsiteX898" fmla="*/ 377001 w 2240198"/>
                <a:gd name="connsiteY898" fmla="*/ 1476342 h 1729012"/>
                <a:gd name="connsiteX899" fmla="*/ 371588 w 2240198"/>
                <a:gd name="connsiteY899" fmla="*/ 1476721 h 1729012"/>
                <a:gd name="connsiteX900" fmla="*/ 370178 w 2240198"/>
                <a:gd name="connsiteY900" fmla="*/ 1476163 h 1729012"/>
                <a:gd name="connsiteX901" fmla="*/ 368666 w 2240198"/>
                <a:gd name="connsiteY901" fmla="*/ 1474762 h 1729012"/>
                <a:gd name="connsiteX902" fmla="*/ 367083 w 2240198"/>
                <a:gd name="connsiteY902" fmla="*/ 1474783 h 1729012"/>
                <a:gd name="connsiteX903" fmla="*/ 366245 w 2240198"/>
                <a:gd name="connsiteY903" fmla="*/ 1474327 h 1729012"/>
                <a:gd name="connsiteX904" fmla="*/ 365367 w 2240198"/>
                <a:gd name="connsiteY904" fmla="*/ 1473314 h 1729012"/>
                <a:gd name="connsiteX905" fmla="*/ 363079 w 2240198"/>
                <a:gd name="connsiteY905" fmla="*/ 1469603 h 1729012"/>
                <a:gd name="connsiteX906" fmla="*/ 361520 w 2240198"/>
                <a:gd name="connsiteY906" fmla="*/ 1468662 h 1729012"/>
                <a:gd name="connsiteX907" fmla="*/ 358864 w 2240198"/>
                <a:gd name="connsiteY907" fmla="*/ 1468071 h 1729012"/>
                <a:gd name="connsiteX908" fmla="*/ 357496 w 2240198"/>
                <a:gd name="connsiteY908" fmla="*/ 1467365 h 1729012"/>
                <a:gd name="connsiteX909" fmla="*/ 356919 w 2240198"/>
                <a:gd name="connsiteY909" fmla="*/ 1467677 h 1729012"/>
                <a:gd name="connsiteX910" fmla="*/ 356364 w 2240198"/>
                <a:gd name="connsiteY910" fmla="*/ 1468736 h 1729012"/>
                <a:gd name="connsiteX911" fmla="*/ 355625 w 2240198"/>
                <a:gd name="connsiteY911" fmla="*/ 1469393 h 1729012"/>
                <a:gd name="connsiteX912" fmla="*/ 353808 w 2240198"/>
                <a:gd name="connsiteY912" fmla="*/ 1469766 h 1729012"/>
                <a:gd name="connsiteX913" fmla="*/ 352147 w 2240198"/>
                <a:gd name="connsiteY913" fmla="*/ 1469494 h 1729012"/>
                <a:gd name="connsiteX914" fmla="*/ 350847 w 2240198"/>
                <a:gd name="connsiteY914" fmla="*/ 1468479 h 1729012"/>
                <a:gd name="connsiteX915" fmla="*/ 350077 w 2240198"/>
                <a:gd name="connsiteY915" fmla="*/ 1467198 h 1729012"/>
                <a:gd name="connsiteX916" fmla="*/ 349782 w 2240198"/>
                <a:gd name="connsiteY916" fmla="*/ 1465767 h 1729012"/>
                <a:gd name="connsiteX917" fmla="*/ 350502 w 2240198"/>
                <a:gd name="connsiteY917" fmla="*/ 1463851 h 1729012"/>
                <a:gd name="connsiteX918" fmla="*/ 350490 w 2240198"/>
                <a:gd name="connsiteY918" fmla="*/ 1463094 h 1729012"/>
                <a:gd name="connsiteX919" fmla="*/ 350167 w 2240198"/>
                <a:gd name="connsiteY919" fmla="*/ 1462208 h 1729012"/>
                <a:gd name="connsiteX920" fmla="*/ 349576 w 2240198"/>
                <a:gd name="connsiteY920" fmla="*/ 1461492 h 1729012"/>
                <a:gd name="connsiteX921" fmla="*/ 348710 w 2240198"/>
                <a:gd name="connsiteY921" fmla="*/ 1460945 h 1729012"/>
                <a:gd name="connsiteX922" fmla="*/ 348239 w 2240198"/>
                <a:gd name="connsiteY922" fmla="*/ 1461232 h 1729012"/>
                <a:gd name="connsiteX923" fmla="*/ 348159 w 2240198"/>
                <a:gd name="connsiteY923" fmla="*/ 1462351 h 1729012"/>
                <a:gd name="connsiteX924" fmla="*/ 347690 w 2240198"/>
                <a:gd name="connsiteY924" fmla="*/ 1463170 h 1729012"/>
                <a:gd name="connsiteX925" fmla="*/ 346185 w 2240198"/>
                <a:gd name="connsiteY925" fmla="*/ 1463796 h 1729012"/>
                <a:gd name="connsiteX926" fmla="*/ 344954 w 2240198"/>
                <a:gd name="connsiteY926" fmla="*/ 1462701 h 1729012"/>
                <a:gd name="connsiteX927" fmla="*/ 344146 w 2240198"/>
                <a:gd name="connsiteY927" fmla="*/ 1461182 h 1729012"/>
                <a:gd name="connsiteX928" fmla="*/ 343200 w 2240198"/>
                <a:gd name="connsiteY928" fmla="*/ 1460101 h 1729012"/>
                <a:gd name="connsiteX929" fmla="*/ 337933 w 2240198"/>
                <a:gd name="connsiteY929" fmla="*/ 1460105 h 1729012"/>
                <a:gd name="connsiteX930" fmla="*/ 335508 w 2240198"/>
                <a:gd name="connsiteY930" fmla="*/ 1461504 h 1729012"/>
                <a:gd name="connsiteX931" fmla="*/ 334346 w 2240198"/>
                <a:gd name="connsiteY931" fmla="*/ 1461617 h 1729012"/>
                <a:gd name="connsiteX932" fmla="*/ 333139 w 2240198"/>
                <a:gd name="connsiteY932" fmla="*/ 1461285 h 1729012"/>
                <a:gd name="connsiteX933" fmla="*/ 332908 w 2240198"/>
                <a:gd name="connsiteY933" fmla="*/ 1460544 h 1729012"/>
                <a:gd name="connsiteX934" fmla="*/ 334044 w 2240198"/>
                <a:gd name="connsiteY934" fmla="*/ 1458510 h 1729012"/>
                <a:gd name="connsiteX935" fmla="*/ 333766 w 2240198"/>
                <a:gd name="connsiteY935" fmla="*/ 1455794 h 1729012"/>
                <a:gd name="connsiteX936" fmla="*/ 333470 w 2240198"/>
                <a:gd name="connsiteY936" fmla="*/ 1455113 h 1729012"/>
                <a:gd name="connsiteX937" fmla="*/ 331040 w 2240198"/>
                <a:gd name="connsiteY937" fmla="*/ 1454698 h 1729012"/>
                <a:gd name="connsiteX938" fmla="*/ 330627 w 2240198"/>
                <a:gd name="connsiteY938" fmla="*/ 1454041 h 1729012"/>
                <a:gd name="connsiteX939" fmla="*/ 332074 w 2240198"/>
                <a:gd name="connsiteY939" fmla="*/ 1450741 h 1729012"/>
                <a:gd name="connsiteX940" fmla="*/ 332882 w 2240198"/>
                <a:gd name="connsiteY940" fmla="*/ 1450117 h 1729012"/>
                <a:gd name="connsiteX941" fmla="*/ 333960 w 2240198"/>
                <a:gd name="connsiteY941" fmla="*/ 1449882 h 1729012"/>
                <a:gd name="connsiteX942" fmla="*/ 338780 w 2240198"/>
                <a:gd name="connsiteY942" fmla="*/ 1449613 h 1729012"/>
                <a:gd name="connsiteX943" fmla="*/ 340385 w 2240198"/>
                <a:gd name="connsiteY943" fmla="*/ 1450085 h 1729012"/>
                <a:gd name="connsiteX944" fmla="*/ 342708 w 2240198"/>
                <a:gd name="connsiteY944" fmla="*/ 1452090 h 1729012"/>
                <a:gd name="connsiteX945" fmla="*/ 342636 w 2240198"/>
                <a:gd name="connsiteY945" fmla="*/ 1451336 h 1729012"/>
                <a:gd name="connsiteX946" fmla="*/ 341756 w 2240198"/>
                <a:gd name="connsiteY946" fmla="*/ 1449060 h 1729012"/>
                <a:gd name="connsiteX947" fmla="*/ 341631 w 2240198"/>
                <a:gd name="connsiteY947" fmla="*/ 1447693 h 1729012"/>
                <a:gd name="connsiteX948" fmla="*/ 343230 w 2240198"/>
                <a:gd name="connsiteY948" fmla="*/ 1446149 h 1729012"/>
                <a:gd name="connsiteX949" fmla="*/ 341701 w 2240198"/>
                <a:gd name="connsiteY949" fmla="*/ 1445696 h 1729012"/>
                <a:gd name="connsiteX950" fmla="*/ 335989 w 2240198"/>
                <a:gd name="connsiteY950" fmla="*/ 1445340 h 1729012"/>
                <a:gd name="connsiteX951" fmla="*/ 336034 w 2240198"/>
                <a:gd name="connsiteY951" fmla="*/ 1446328 h 1729012"/>
                <a:gd name="connsiteX952" fmla="*/ 336505 w 2240198"/>
                <a:gd name="connsiteY952" fmla="*/ 1447727 h 1729012"/>
                <a:gd name="connsiteX953" fmla="*/ 333118 w 2240198"/>
                <a:gd name="connsiteY953" fmla="*/ 1448955 h 1729012"/>
                <a:gd name="connsiteX954" fmla="*/ 330609 w 2240198"/>
                <a:gd name="connsiteY954" fmla="*/ 1449163 h 1729012"/>
                <a:gd name="connsiteX955" fmla="*/ 328208 w 2240198"/>
                <a:gd name="connsiteY955" fmla="*/ 1448968 h 1729012"/>
                <a:gd name="connsiteX956" fmla="*/ 326248 w 2240198"/>
                <a:gd name="connsiteY956" fmla="*/ 1448233 h 1729012"/>
                <a:gd name="connsiteX957" fmla="*/ 322906 w 2240198"/>
                <a:gd name="connsiteY957" fmla="*/ 1445277 h 1729012"/>
                <a:gd name="connsiteX958" fmla="*/ 320816 w 2240198"/>
                <a:gd name="connsiteY958" fmla="*/ 1442364 h 1729012"/>
                <a:gd name="connsiteX959" fmla="*/ 320913 w 2240198"/>
                <a:gd name="connsiteY959" fmla="*/ 1440773 h 1729012"/>
                <a:gd name="connsiteX960" fmla="*/ 322060 w 2240198"/>
                <a:gd name="connsiteY960" fmla="*/ 1439106 h 1729012"/>
                <a:gd name="connsiteX961" fmla="*/ 323563 w 2240198"/>
                <a:gd name="connsiteY961" fmla="*/ 1437968 h 1729012"/>
                <a:gd name="connsiteX962" fmla="*/ 327119 w 2240198"/>
                <a:gd name="connsiteY962" fmla="*/ 1436980 h 1729012"/>
                <a:gd name="connsiteX963" fmla="*/ 2167478 w 2240198"/>
                <a:gd name="connsiteY963" fmla="*/ 1412171 h 1729012"/>
                <a:gd name="connsiteX964" fmla="*/ 2168115 w 2240198"/>
                <a:gd name="connsiteY964" fmla="*/ 1412391 h 1729012"/>
                <a:gd name="connsiteX965" fmla="*/ 2169212 w 2240198"/>
                <a:gd name="connsiteY965" fmla="*/ 1413320 h 1729012"/>
                <a:gd name="connsiteX966" fmla="*/ 2169072 w 2240198"/>
                <a:gd name="connsiteY966" fmla="*/ 1414189 h 1729012"/>
                <a:gd name="connsiteX967" fmla="*/ 2167204 w 2240198"/>
                <a:gd name="connsiteY967" fmla="*/ 1417545 h 1729012"/>
                <a:gd name="connsiteX968" fmla="*/ 2165911 w 2240198"/>
                <a:gd name="connsiteY968" fmla="*/ 1419174 h 1729012"/>
                <a:gd name="connsiteX969" fmla="*/ 2164711 w 2240198"/>
                <a:gd name="connsiteY969" fmla="*/ 1419700 h 1729012"/>
                <a:gd name="connsiteX970" fmla="*/ 2162175 w 2240198"/>
                <a:gd name="connsiteY970" fmla="*/ 1420179 h 1729012"/>
                <a:gd name="connsiteX971" fmla="*/ 2156840 w 2240198"/>
                <a:gd name="connsiteY971" fmla="*/ 1420706 h 1729012"/>
                <a:gd name="connsiteX972" fmla="*/ 2154559 w 2240198"/>
                <a:gd name="connsiteY972" fmla="*/ 1421199 h 1729012"/>
                <a:gd name="connsiteX973" fmla="*/ 2154233 w 2240198"/>
                <a:gd name="connsiteY973" fmla="*/ 1423434 h 1729012"/>
                <a:gd name="connsiteX974" fmla="*/ 2154570 w 2240198"/>
                <a:gd name="connsiteY974" fmla="*/ 1424610 h 1729012"/>
                <a:gd name="connsiteX975" fmla="*/ 2155350 w 2240198"/>
                <a:gd name="connsiteY975" fmla="*/ 1425537 h 1729012"/>
                <a:gd name="connsiteX976" fmla="*/ 2156341 w 2240198"/>
                <a:gd name="connsiteY976" fmla="*/ 1425801 h 1729012"/>
                <a:gd name="connsiteX977" fmla="*/ 2158554 w 2240198"/>
                <a:gd name="connsiteY977" fmla="*/ 1425247 h 1729012"/>
                <a:gd name="connsiteX978" fmla="*/ 2159376 w 2240198"/>
                <a:gd name="connsiteY978" fmla="*/ 1425342 h 1729012"/>
                <a:gd name="connsiteX979" fmla="*/ 2160037 w 2240198"/>
                <a:gd name="connsiteY979" fmla="*/ 1425809 h 1729012"/>
                <a:gd name="connsiteX980" fmla="*/ 2160533 w 2240198"/>
                <a:gd name="connsiteY980" fmla="*/ 1426648 h 1729012"/>
                <a:gd name="connsiteX981" fmla="*/ 2160790 w 2240198"/>
                <a:gd name="connsiteY981" fmla="*/ 1427813 h 1729012"/>
                <a:gd name="connsiteX982" fmla="*/ 2160806 w 2240198"/>
                <a:gd name="connsiteY982" fmla="*/ 1429302 h 1729012"/>
                <a:gd name="connsiteX983" fmla="*/ 2160419 w 2240198"/>
                <a:gd name="connsiteY983" fmla="*/ 1431105 h 1729012"/>
                <a:gd name="connsiteX984" fmla="*/ 2158609 w 2240198"/>
                <a:gd name="connsiteY984" fmla="*/ 1435321 h 1729012"/>
                <a:gd name="connsiteX985" fmla="*/ 2156311 w 2240198"/>
                <a:gd name="connsiteY985" fmla="*/ 1437651 h 1729012"/>
                <a:gd name="connsiteX986" fmla="*/ 2153366 w 2240198"/>
                <a:gd name="connsiteY986" fmla="*/ 1439547 h 1729012"/>
                <a:gd name="connsiteX987" fmla="*/ 2152646 w 2240198"/>
                <a:gd name="connsiteY987" fmla="*/ 1440271 h 1729012"/>
                <a:gd name="connsiteX988" fmla="*/ 2152275 w 2240198"/>
                <a:gd name="connsiteY988" fmla="*/ 1441122 h 1729012"/>
                <a:gd name="connsiteX989" fmla="*/ 2151908 w 2240198"/>
                <a:gd name="connsiteY989" fmla="*/ 1443886 h 1729012"/>
                <a:gd name="connsiteX990" fmla="*/ 2150384 w 2240198"/>
                <a:gd name="connsiteY990" fmla="*/ 1446093 h 1729012"/>
                <a:gd name="connsiteX991" fmla="*/ 2145651 w 2240198"/>
                <a:gd name="connsiteY991" fmla="*/ 1451680 h 1729012"/>
                <a:gd name="connsiteX992" fmla="*/ 2143827 w 2240198"/>
                <a:gd name="connsiteY992" fmla="*/ 1452909 h 1729012"/>
                <a:gd name="connsiteX993" fmla="*/ 2143816 w 2240198"/>
                <a:gd name="connsiteY993" fmla="*/ 1453891 h 1729012"/>
                <a:gd name="connsiteX994" fmla="*/ 2143077 w 2240198"/>
                <a:gd name="connsiteY994" fmla="*/ 1456538 h 1729012"/>
                <a:gd name="connsiteX995" fmla="*/ 2141671 w 2240198"/>
                <a:gd name="connsiteY995" fmla="*/ 1458666 h 1729012"/>
                <a:gd name="connsiteX996" fmla="*/ 2137750 w 2240198"/>
                <a:gd name="connsiteY996" fmla="*/ 1463541 h 1729012"/>
                <a:gd name="connsiteX997" fmla="*/ 2136779 w 2240198"/>
                <a:gd name="connsiteY997" fmla="*/ 1465262 h 1729012"/>
                <a:gd name="connsiteX998" fmla="*/ 2136341 w 2240198"/>
                <a:gd name="connsiteY998" fmla="*/ 1466624 h 1729012"/>
                <a:gd name="connsiteX999" fmla="*/ 2136402 w 2240198"/>
                <a:gd name="connsiteY999" fmla="*/ 1468544 h 1729012"/>
                <a:gd name="connsiteX1000" fmla="*/ 2136226 w 2240198"/>
                <a:gd name="connsiteY1000" fmla="*/ 1469390 h 1729012"/>
                <a:gd name="connsiteX1001" fmla="*/ 2135328 w 2240198"/>
                <a:gd name="connsiteY1001" fmla="*/ 1471015 h 1729012"/>
                <a:gd name="connsiteX1002" fmla="*/ 2134077 w 2240198"/>
                <a:gd name="connsiteY1002" fmla="*/ 1472533 h 1729012"/>
                <a:gd name="connsiteX1003" fmla="*/ 2133830 w 2240198"/>
                <a:gd name="connsiteY1003" fmla="*/ 1473274 h 1729012"/>
                <a:gd name="connsiteX1004" fmla="*/ 2134323 w 2240198"/>
                <a:gd name="connsiteY1004" fmla="*/ 1474618 h 1729012"/>
                <a:gd name="connsiteX1005" fmla="*/ 2134828 w 2240198"/>
                <a:gd name="connsiteY1005" fmla="*/ 1475087 h 1729012"/>
                <a:gd name="connsiteX1006" fmla="*/ 2134888 w 2240198"/>
                <a:gd name="connsiteY1006" fmla="*/ 1476308 h 1729012"/>
                <a:gd name="connsiteX1007" fmla="*/ 2134500 w 2240198"/>
                <a:gd name="connsiteY1007" fmla="*/ 1478282 h 1729012"/>
                <a:gd name="connsiteX1008" fmla="*/ 2136159 w 2240198"/>
                <a:gd name="connsiteY1008" fmla="*/ 1477025 h 1729012"/>
                <a:gd name="connsiteX1009" fmla="*/ 2139864 w 2240198"/>
                <a:gd name="connsiteY1009" fmla="*/ 1472535 h 1729012"/>
                <a:gd name="connsiteX1010" fmla="*/ 2142646 w 2240198"/>
                <a:gd name="connsiteY1010" fmla="*/ 1469829 h 1729012"/>
                <a:gd name="connsiteX1011" fmla="*/ 2144506 w 2240198"/>
                <a:gd name="connsiteY1011" fmla="*/ 1468911 h 1729012"/>
                <a:gd name="connsiteX1012" fmla="*/ 2145803 w 2240198"/>
                <a:gd name="connsiteY1012" fmla="*/ 1467711 h 1729012"/>
                <a:gd name="connsiteX1013" fmla="*/ 2147188 w 2240198"/>
                <a:gd name="connsiteY1013" fmla="*/ 1465061 h 1729012"/>
                <a:gd name="connsiteX1014" fmla="*/ 2149083 w 2240198"/>
                <a:gd name="connsiteY1014" fmla="*/ 1462533 h 1729012"/>
                <a:gd name="connsiteX1015" fmla="*/ 2150799 w 2240198"/>
                <a:gd name="connsiteY1015" fmla="*/ 1461708 h 1729012"/>
                <a:gd name="connsiteX1016" fmla="*/ 2151585 w 2240198"/>
                <a:gd name="connsiteY1016" fmla="*/ 1462193 h 1729012"/>
                <a:gd name="connsiteX1017" fmla="*/ 2152251 w 2240198"/>
                <a:gd name="connsiteY1017" fmla="*/ 1463436 h 1729012"/>
                <a:gd name="connsiteX1018" fmla="*/ 2152116 w 2240198"/>
                <a:gd name="connsiteY1018" fmla="*/ 1465015 h 1729012"/>
                <a:gd name="connsiteX1019" fmla="*/ 2151185 w 2240198"/>
                <a:gd name="connsiteY1019" fmla="*/ 1466930 h 1729012"/>
                <a:gd name="connsiteX1020" fmla="*/ 2151257 w 2240198"/>
                <a:gd name="connsiteY1020" fmla="*/ 1467498 h 1729012"/>
                <a:gd name="connsiteX1021" fmla="*/ 2153445 w 2240198"/>
                <a:gd name="connsiteY1021" fmla="*/ 1466092 h 1729012"/>
                <a:gd name="connsiteX1022" fmla="*/ 2157199 w 2240198"/>
                <a:gd name="connsiteY1022" fmla="*/ 1464928 h 1729012"/>
                <a:gd name="connsiteX1023" fmla="*/ 2158559 w 2240198"/>
                <a:gd name="connsiteY1023" fmla="*/ 1465082 h 1729012"/>
                <a:gd name="connsiteX1024" fmla="*/ 2161313 w 2240198"/>
                <a:gd name="connsiteY1024" fmla="*/ 1466826 h 1729012"/>
                <a:gd name="connsiteX1025" fmla="*/ 2163602 w 2240198"/>
                <a:gd name="connsiteY1025" fmla="*/ 1466624 h 1729012"/>
                <a:gd name="connsiteX1026" fmla="*/ 2167264 w 2240198"/>
                <a:gd name="connsiteY1026" fmla="*/ 1465610 h 1729012"/>
                <a:gd name="connsiteX1027" fmla="*/ 2167951 w 2240198"/>
                <a:gd name="connsiteY1027" fmla="*/ 1466075 h 1729012"/>
                <a:gd name="connsiteX1028" fmla="*/ 2167341 w 2240198"/>
                <a:gd name="connsiteY1028" fmla="*/ 1467609 h 1729012"/>
                <a:gd name="connsiteX1029" fmla="*/ 2165903 w 2240198"/>
                <a:gd name="connsiteY1029" fmla="*/ 1469077 h 1729012"/>
                <a:gd name="connsiteX1030" fmla="*/ 2162508 w 2240198"/>
                <a:gd name="connsiteY1030" fmla="*/ 1471171 h 1729012"/>
                <a:gd name="connsiteX1031" fmla="*/ 2154333 w 2240198"/>
                <a:gd name="connsiteY1031" fmla="*/ 1475275 h 1729012"/>
                <a:gd name="connsiteX1032" fmla="*/ 2151793 w 2240198"/>
                <a:gd name="connsiteY1032" fmla="*/ 1478095 h 1729012"/>
                <a:gd name="connsiteX1033" fmla="*/ 2152275 w 2240198"/>
                <a:gd name="connsiteY1033" fmla="*/ 1478010 h 1729012"/>
                <a:gd name="connsiteX1034" fmla="*/ 2154038 w 2240198"/>
                <a:gd name="connsiteY1034" fmla="*/ 1476801 h 1729012"/>
                <a:gd name="connsiteX1035" fmla="*/ 2155892 w 2240198"/>
                <a:gd name="connsiteY1035" fmla="*/ 1476151 h 1729012"/>
                <a:gd name="connsiteX1036" fmla="*/ 2157836 w 2240198"/>
                <a:gd name="connsiteY1036" fmla="*/ 1476060 h 1729012"/>
                <a:gd name="connsiteX1037" fmla="*/ 2158648 w 2240198"/>
                <a:gd name="connsiteY1037" fmla="*/ 1476414 h 1729012"/>
                <a:gd name="connsiteX1038" fmla="*/ 2158332 w 2240198"/>
                <a:gd name="connsiteY1038" fmla="*/ 1477212 h 1729012"/>
                <a:gd name="connsiteX1039" fmla="*/ 2158085 w 2240198"/>
                <a:gd name="connsiteY1039" fmla="*/ 1479376 h 1729012"/>
                <a:gd name="connsiteX1040" fmla="*/ 2153133 w 2240198"/>
                <a:gd name="connsiteY1040" fmla="*/ 1483600 h 1729012"/>
                <a:gd name="connsiteX1041" fmla="*/ 2154303 w 2240198"/>
                <a:gd name="connsiteY1041" fmla="*/ 1483438 h 1729012"/>
                <a:gd name="connsiteX1042" fmla="*/ 2160032 w 2240198"/>
                <a:gd name="connsiteY1042" fmla="*/ 1481515 h 1729012"/>
                <a:gd name="connsiteX1043" fmla="*/ 2163509 w 2240198"/>
                <a:gd name="connsiteY1043" fmla="*/ 1484169 h 1729012"/>
                <a:gd name="connsiteX1044" fmla="*/ 2168286 w 2240198"/>
                <a:gd name="connsiteY1044" fmla="*/ 1483253 h 1729012"/>
                <a:gd name="connsiteX1045" fmla="*/ 2171171 w 2240198"/>
                <a:gd name="connsiteY1045" fmla="*/ 1482356 h 1729012"/>
                <a:gd name="connsiteX1046" fmla="*/ 2171090 w 2240198"/>
                <a:gd name="connsiteY1046" fmla="*/ 1482910 h 1729012"/>
                <a:gd name="connsiteX1047" fmla="*/ 2171715 w 2240198"/>
                <a:gd name="connsiteY1047" fmla="*/ 1484068 h 1729012"/>
                <a:gd name="connsiteX1048" fmla="*/ 2171693 w 2240198"/>
                <a:gd name="connsiteY1048" fmla="*/ 1485937 h 1729012"/>
                <a:gd name="connsiteX1049" fmla="*/ 2171986 w 2240198"/>
                <a:gd name="connsiteY1049" fmla="*/ 1486199 h 1729012"/>
                <a:gd name="connsiteX1050" fmla="*/ 2173352 w 2240198"/>
                <a:gd name="connsiteY1050" fmla="*/ 1485572 h 1729012"/>
                <a:gd name="connsiteX1051" fmla="*/ 2173600 w 2240198"/>
                <a:gd name="connsiteY1051" fmla="*/ 1484889 h 1729012"/>
                <a:gd name="connsiteX1052" fmla="*/ 2173528 w 2240198"/>
                <a:gd name="connsiteY1052" fmla="*/ 1481564 h 1729012"/>
                <a:gd name="connsiteX1053" fmla="*/ 2173950 w 2240198"/>
                <a:gd name="connsiteY1053" fmla="*/ 1481231 h 1729012"/>
                <a:gd name="connsiteX1054" fmla="*/ 2174883 w 2240198"/>
                <a:gd name="connsiteY1054" fmla="*/ 1481750 h 1729012"/>
                <a:gd name="connsiteX1055" fmla="*/ 2175454 w 2240198"/>
                <a:gd name="connsiteY1055" fmla="*/ 1482609 h 1729012"/>
                <a:gd name="connsiteX1056" fmla="*/ 2175625 w 2240198"/>
                <a:gd name="connsiteY1056" fmla="*/ 1485029 h 1729012"/>
                <a:gd name="connsiteX1057" fmla="*/ 2174999 w 2240198"/>
                <a:gd name="connsiteY1057" fmla="*/ 1487454 h 1729012"/>
                <a:gd name="connsiteX1058" fmla="*/ 2174129 w 2240198"/>
                <a:gd name="connsiteY1058" fmla="*/ 1489677 h 1729012"/>
                <a:gd name="connsiteX1059" fmla="*/ 2172020 w 2240198"/>
                <a:gd name="connsiteY1059" fmla="*/ 1492920 h 1729012"/>
                <a:gd name="connsiteX1060" fmla="*/ 2172287 w 2240198"/>
                <a:gd name="connsiteY1060" fmla="*/ 1494314 h 1729012"/>
                <a:gd name="connsiteX1061" fmla="*/ 2171749 w 2240198"/>
                <a:gd name="connsiteY1061" fmla="*/ 1495825 h 1729012"/>
                <a:gd name="connsiteX1062" fmla="*/ 2172215 w 2240198"/>
                <a:gd name="connsiteY1062" fmla="*/ 1495876 h 1729012"/>
                <a:gd name="connsiteX1063" fmla="*/ 2174305 w 2240198"/>
                <a:gd name="connsiteY1063" fmla="*/ 1494466 h 1729012"/>
                <a:gd name="connsiteX1064" fmla="*/ 2174431 w 2240198"/>
                <a:gd name="connsiteY1064" fmla="*/ 1493887 h 1729012"/>
                <a:gd name="connsiteX1065" fmla="*/ 2174269 w 2240198"/>
                <a:gd name="connsiteY1065" fmla="*/ 1492542 h 1729012"/>
                <a:gd name="connsiteX1066" fmla="*/ 2174504 w 2240198"/>
                <a:gd name="connsiteY1066" fmla="*/ 1491881 h 1729012"/>
                <a:gd name="connsiteX1067" fmla="*/ 2176238 w 2240198"/>
                <a:gd name="connsiteY1067" fmla="*/ 1490417 h 1729012"/>
                <a:gd name="connsiteX1068" fmla="*/ 2179102 w 2240198"/>
                <a:gd name="connsiteY1068" fmla="*/ 1488680 h 1729012"/>
                <a:gd name="connsiteX1069" fmla="*/ 2180040 w 2240198"/>
                <a:gd name="connsiteY1069" fmla="*/ 1488416 h 1729012"/>
                <a:gd name="connsiteX1070" fmla="*/ 2180440 w 2240198"/>
                <a:gd name="connsiteY1070" fmla="*/ 1488822 h 1729012"/>
                <a:gd name="connsiteX1071" fmla="*/ 2180300 w 2240198"/>
                <a:gd name="connsiteY1071" fmla="*/ 1489894 h 1729012"/>
                <a:gd name="connsiteX1072" fmla="*/ 2181144 w 2240198"/>
                <a:gd name="connsiteY1072" fmla="*/ 1489640 h 1729012"/>
                <a:gd name="connsiteX1073" fmla="*/ 2182972 w 2240198"/>
                <a:gd name="connsiteY1073" fmla="*/ 1488059 h 1729012"/>
                <a:gd name="connsiteX1074" fmla="*/ 2184668 w 2240198"/>
                <a:gd name="connsiteY1074" fmla="*/ 1487101 h 1729012"/>
                <a:gd name="connsiteX1075" fmla="*/ 2186235 w 2240198"/>
                <a:gd name="connsiteY1075" fmla="*/ 1486771 h 1729012"/>
                <a:gd name="connsiteX1076" fmla="*/ 2187864 w 2240198"/>
                <a:gd name="connsiteY1076" fmla="*/ 1485683 h 1729012"/>
                <a:gd name="connsiteX1077" fmla="*/ 2189557 w 2240198"/>
                <a:gd name="connsiteY1077" fmla="*/ 1483843 h 1729012"/>
                <a:gd name="connsiteX1078" fmla="*/ 2191378 w 2240198"/>
                <a:gd name="connsiteY1078" fmla="*/ 1482320 h 1729012"/>
                <a:gd name="connsiteX1079" fmla="*/ 2193326 w 2240198"/>
                <a:gd name="connsiteY1079" fmla="*/ 1481119 h 1729012"/>
                <a:gd name="connsiteX1080" fmla="*/ 2194163 w 2240198"/>
                <a:gd name="connsiteY1080" fmla="*/ 1481038 h 1729012"/>
                <a:gd name="connsiteX1081" fmla="*/ 2193874 w 2240198"/>
                <a:gd name="connsiteY1081" fmla="*/ 1483028 h 1729012"/>
                <a:gd name="connsiteX1082" fmla="*/ 2194258 w 2240198"/>
                <a:gd name="connsiteY1082" fmla="*/ 1485290 h 1729012"/>
                <a:gd name="connsiteX1083" fmla="*/ 2194309 w 2240198"/>
                <a:gd name="connsiteY1083" fmla="*/ 1487221 h 1729012"/>
                <a:gd name="connsiteX1084" fmla="*/ 2194695 w 2240198"/>
                <a:gd name="connsiteY1084" fmla="*/ 1487626 h 1729012"/>
                <a:gd name="connsiteX1085" fmla="*/ 2196195 w 2240198"/>
                <a:gd name="connsiteY1085" fmla="*/ 1485567 h 1729012"/>
                <a:gd name="connsiteX1086" fmla="*/ 2197030 w 2240198"/>
                <a:gd name="connsiteY1086" fmla="*/ 1484813 h 1729012"/>
                <a:gd name="connsiteX1087" fmla="*/ 2198029 w 2240198"/>
                <a:gd name="connsiteY1087" fmla="*/ 1484515 h 1729012"/>
                <a:gd name="connsiteX1088" fmla="*/ 2199194 w 2240198"/>
                <a:gd name="connsiteY1088" fmla="*/ 1484673 h 1729012"/>
                <a:gd name="connsiteX1089" fmla="*/ 2207132 w 2240198"/>
                <a:gd name="connsiteY1089" fmla="*/ 1483932 h 1729012"/>
                <a:gd name="connsiteX1090" fmla="*/ 2209549 w 2240198"/>
                <a:gd name="connsiteY1090" fmla="*/ 1484442 h 1729012"/>
                <a:gd name="connsiteX1091" fmla="*/ 2212273 w 2240198"/>
                <a:gd name="connsiteY1091" fmla="*/ 1485790 h 1729012"/>
                <a:gd name="connsiteX1092" fmla="*/ 2215710 w 2240198"/>
                <a:gd name="connsiteY1092" fmla="*/ 1487883 h 1729012"/>
                <a:gd name="connsiteX1093" fmla="*/ 2216975 w 2240198"/>
                <a:gd name="connsiteY1093" fmla="*/ 1489769 h 1729012"/>
                <a:gd name="connsiteX1094" fmla="*/ 2217216 w 2240198"/>
                <a:gd name="connsiteY1094" fmla="*/ 1492147 h 1729012"/>
                <a:gd name="connsiteX1095" fmla="*/ 2216876 w 2240198"/>
                <a:gd name="connsiteY1095" fmla="*/ 1493801 h 1729012"/>
                <a:gd name="connsiteX1096" fmla="*/ 2214399 w 2240198"/>
                <a:gd name="connsiteY1096" fmla="*/ 1495887 h 1729012"/>
                <a:gd name="connsiteX1097" fmla="*/ 2212195 w 2240198"/>
                <a:gd name="connsiteY1097" fmla="*/ 1497268 h 1729012"/>
                <a:gd name="connsiteX1098" fmla="*/ 2210895 w 2240198"/>
                <a:gd name="connsiteY1098" fmla="*/ 1498642 h 1729012"/>
                <a:gd name="connsiteX1099" fmla="*/ 2210500 w 2240198"/>
                <a:gd name="connsiteY1099" fmla="*/ 1500017 h 1729012"/>
                <a:gd name="connsiteX1100" fmla="*/ 2209985 w 2240198"/>
                <a:gd name="connsiteY1100" fmla="*/ 1500864 h 1729012"/>
                <a:gd name="connsiteX1101" fmla="*/ 2208514 w 2240198"/>
                <a:gd name="connsiteY1101" fmla="*/ 1502050 h 1729012"/>
                <a:gd name="connsiteX1102" fmla="*/ 2201971 w 2240198"/>
                <a:gd name="connsiteY1102" fmla="*/ 1505364 h 1729012"/>
                <a:gd name="connsiteX1103" fmla="*/ 2203537 w 2240198"/>
                <a:gd name="connsiteY1103" fmla="*/ 1505460 h 1729012"/>
                <a:gd name="connsiteX1104" fmla="*/ 2207311 w 2240198"/>
                <a:gd name="connsiteY1104" fmla="*/ 1504741 h 1729012"/>
                <a:gd name="connsiteX1105" fmla="*/ 2209791 w 2240198"/>
                <a:gd name="connsiteY1105" fmla="*/ 1504593 h 1729012"/>
                <a:gd name="connsiteX1106" fmla="*/ 2209920 w 2240198"/>
                <a:gd name="connsiteY1106" fmla="*/ 1505071 h 1729012"/>
                <a:gd name="connsiteX1107" fmla="*/ 2208931 w 2240198"/>
                <a:gd name="connsiteY1107" fmla="*/ 1506013 h 1729012"/>
                <a:gd name="connsiteX1108" fmla="*/ 2207036 w 2240198"/>
                <a:gd name="connsiteY1108" fmla="*/ 1506958 h 1729012"/>
                <a:gd name="connsiteX1109" fmla="*/ 2206832 w 2240198"/>
                <a:gd name="connsiteY1109" fmla="*/ 1507413 h 1729012"/>
                <a:gd name="connsiteX1110" fmla="*/ 2206921 w 2240198"/>
                <a:gd name="connsiteY1110" fmla="*/ 1508007 h 1729012"/>
                <a:gd name="connsiteX1111" fmla="*/ 2208948 w 2240198"/>
                <a:gd name="connsiteY1111" fmla="*/ 1508725 h 1729012"/>
                <a:gd name="connsiteX1112" fmla="*/ 2211535 w 2240198"/>
                <a:gd name="connsiteY1112" fmla="*/ 1508375 h 1729012"/>
                <a:gd name="connsiteX1113" fmla="*/ 2213717 w 2240198"/>
                <a:gd name="connsiteY1113" fmla="*/ 1508883 h 1729012"/>
                <a:gd name="connsiteX1114" fmla="*/ 2213506 w 2240198"/>
                <a:gd name="connsiteY1114" fmla="*/ 1509675 h 1729012"/>
                <a:gd name="connsiteX1115" fmla="*/ 2211776 w 2240198"/>
                <a:gd name="connsiteY1115" fmla="*/ 1512255 h 1729012"/>
                <a:gd name="connsiteX1116" fmla="*/ 2211268 w 2240198"/>
                <a:gd name="connsiteY1116" fmla="*/ 1513881 h 1729012"/>
                <a:gd name="connsiteX1117" fmla="*/ 2208963 w 2240198"/>
                <a:gd name="connsiteY1117" fmla="*/ 1515242 h 1729012"/>
                <a:gd name="connsiteX1118" fmla="*/ 2204342 w 2240198"/>
                <a:gd name="connsiteY1118" fmla="*/ 1517379 h 1729012"/>
                <a:gd name="connsiteX1119" fmla="*/ 2203158 w 2240198"/>
                <a:gd name="connsiteY1119" fmla="*/ 1518199 h 1729012"/>
                <a:gd name="connsiteX1120" fmla="*/ 2203417 w 2240198"/>
                <a:gd name="connsiteY1120" fmla="*/ 1518369 h 1729012"/>
                <a:gd name="connsiteX1121" fmla="*/ 2207658 w 2240198"/>
                <a:gd name="connsiteY1121" fmla="*/ 1516801 h 1729012"/>
                <a:gd name="connsiteX1122" fmla="*/ 2209794 w 2240198"/>
                <a:gd name="connsiteY1122" fmla="*/ 1516404 h 1729012"/>
                <a:gd name="connsiteX1123" fmla="*/ 2211149 w 2240198"/>
                <a:gd name="connsiteY1123" fmla="*/ 1516392 h 1729012"/>
                <a:gd name="connsiteX1124" fmla="*/ 2212681 w 2240198"/>
                <a:gd name="connsiteY1124" fmla="*/ 1514877 h 1729012"/>
                <a:gd name="connsiteX1125" fmla="*/ 2215076 w 2240198"/>
                <a:gd name="connsiteY1125" fmla="*/ 1514375 h 1729012"/>
                <a:gd name="connsiteX1126" fmla="*/ 2217419 w 2240198"/>
                <a:gd name="connsiteY1126" fmla="*/ 1515332 h 1729012"/>
                <a:gd name="connsiteX1127" fmla="*/ 2220987 w 2240198"/>
                <a:gd name="connsiteY1127" fmla="*/ 1512716 h 1729012"/>
                <a:gd name="connsiteX1128" fmla="*/ 2222261 w 2240198"/>
                <a:gd name="connsiteY1128" fmla="*/ 1512376 h 1729012"/>
                <a:gd name="connsiteX1129" fmla="*/ 2224432 w 2240198"/>
                <a:gd name="connsiteY1129" fmla="*/ 1512679 h 1729012"/>
                <a:gd name="connsiteX1130" fmla="*/ 2225832 w 2240198"/>
                <a:gd name="connsiteY1130" fmla="*/ 1512205 h 1729012"/>
                <a:gd name="connsiteX1131" fmla="*/ 2228187 w 2240198"/>
                <a:gd name="connsiteY1131" fmla="*/ 1510423 h 1729012"/>
                <a:gd name="connsiteX1132" fmla="*/ 2229965 w 2240198"/>
                <a:gd name="connsiteY1132" fmla="*/ 1509561 h 1729012"/>
                <a:gd name="connsiteX1133" fmla="*/ 2230334 w 2240198"/>
                <a:gd name="connsiteY1133" fmla="*/ 1509639 h 1729012"/>
                <a:gd name="connsiteX1134" fmla="*/ 2230717 w 2240198"/>
                <a:gd name="connsiteY1134" fmla="*/ 1510353 h 1729012"/>
                <a:gd name="connsiteX1135" fmla="*/ 2230890 w 2240198"/>
                <a:gd name="connsiteY1135" fmla="*/ 1512408 h 1729012"/>
                <a:gd name="connsiteX1136" fmla="*/ 2230470 w 2240198"/>
                <a:gd name="connsiteY1136" fmla="*/ 1514223 h 1729012"/>
                <a:gd name="connsiteX1137" fmla="*/ 2229890 w 2240198"/>
                <a:gd name="connsiteY1137" fmla="*/ 1515379 h 1729012"/>
                <a:gd name="connsiteX1138" fmla="*/ 2227974 w 2240198"/>
                <a:gd name="connsiteY1138" fmla="*/ 1517931 h 1729012"/>
                <a:gd name="connsiteX1139" fmla="*/ 2226799 w 2240198"/>
                <a:gd name="connsiteY1139" fmla="*/ 1518824 h 1729012"/>
                <a:gd name="connsiteX1140" fmla="*/ 2225709 w 2240198"/>
                <a:gd name="connsiteY1140" fmla="*/ 1519161 h 1729012"/>
                <a:gd name="connsiteX1141" fmla="*/ 2223779 w 2240198"/>
                <a:gd name="connsiteY1141" fmla="*/ 1519026 h 1729012"/>
                <a:gd name="connsiteX1142" fmla="*/ 2222940 w 2240198"/>
                <a:gd name="connsiteY1142" fmla="*/ 1519422 h 1729012"/>
                <a:gd name="connsiteX1143" fmla="*/ 2221134 w 2240198"/>
                <a:gd name="connsiteY1143" fmla="*/ 1521423 h 1729012"/>
                <a:gd name="connsiteX1144" fmla="*/ 2217947 w 2240198"/>
                <a:gd name="connsiteY1144" fmla="*/ 1523450 h 1729012"/>
                <a:gd name="connsiteX1145" fmla="*/ 2215955 w 2240198"/>
                <a:gd name="connsiteY1145" fmla="*/ 1524234 h 1729012"/>
                <a:gd name="connsiteX1146" fmla="*/ 2217212 w 2240198"/>
                <a:gd name="connsiteY1146" fmla="*/ 1525333 h 1729012"/>
                <a:gd name="connsiteX1147" fmla="*/ 2217678 w 2240198"/>
                <a:gd name="connsiteY1147" fmla="*/ 1527452 h 1729012"/>
                <a:gd name="connsiteX1148" fmla="*/ 2216978 w 2240198"/>
                <a:gd name="connsiteY1148" fmla="*/ 1528111 h 1729012"/>
                <a:gd name="connsiteX1149" fmla="*/ 2213559 w 2240198"/>
                <a:gd name="connsiteY1149" fmla="*/ 1528764 h 1729012"/>
                <a:gd name="connsiteX1150" fmla="*/ 2213410 w 2240198"/>
                <a:gd name="connsiteY1150" fmla="*/ 1529123 h 1729012"/>
                <a:gd name="connsiteX1151" fmla="*/ 2212192 w 2240198"/>
                <a:gd name="connsiteY1151" fmla="*/ 1529590 h 1729012"/>
                <a:gd name="connsiteX1152" fmla="*/ 2209367 w 2240198"/>
                <a:gd name="connsiteY1152" fmla="*/ 1530325 h 1729012"/>
                <a:gd name="connsiteX1153" fmla="*/ 2211295 w 2240198"/>
                <a:gd name="connsiteY1153" fmla="*/ 1530648 h 1729012"/>
                <a:gd name="connsiteX1154" fmla="*/ 2214858 w 2240198"/>
                <a:gd name="connsiteY1154" fmla="*/ 1530129 h 1729012"/>
                <a:gd name="connsiteX1155" fmla="*/ 2215233 w 2240198"/>
                <a:gd name="connsiteY1155" fmla="*/ 1530488 h 1729012"/>
                <a:gd name="connsiteX1156" fmla="*/ 2214742 w 2240198"/>
                <a:gd name="connsiteY1156" fmla="*/ 1531977 h 1729012"/>
                <a:gd name="connsiteX1157" fmla="*/ 2213794 w 2240198"/>
                <a:gd name="connsiteY1157" fmla="*/ 1533511 h 1729012"/>
                <a:gd name="connsiteX1158" fmla="*/ 2209568 w 2240198"/>
                <a:gd name="connsiteY1158" fmla="*/ 1537449 h 1729012"/>
                <a:gd name="connsiteX1159" fmla="*/ 2209516 w 2240198"/>
                <a:gd name="connsiteY1159" fmla="*/ 1537846 h 1729012"/>
                <a:gd name="connsiteX1160" fmla="*/ 2210175 w 2240198"/>
                <a:gd name="connsiteY1160" fmla="*/ 1539773 h 1729012"/>
                <a:gd name="connsiteX1161" fmla="*/ 2210996 w 2240198"/>
                <a:gd name="connsiteY1161" fmla="*/ 1541232 h 1729012"/>
                <a:gd name="connsiteX1162" fmla="*/ 2212015 w 2240198"/>
                <a:gd name="connsiteY1162" fmla="*/ 1542262 h 1729012"/>
                <a:gd name="connsiteX1163" fmla="*/ 2214368 w 2240198"/>
                <a:gd name="connsiteY1163" fmla="*/ 1542321 h 1729012"/>
                <a:gd name="connsiteX1164" fmla="*/ 2216108 w 2240198"/>
                <a:gd name="connsiteY1164" fmla="*/ 1541868 h 1729012"/>
                <a:gd name="connsiteX1165" fmla="*/ 2218643 w 2240198"/>
                <a:gd name="connsiteY1165" fmla="*/ 1539238 h 1729012"/>
                <a:gd name="connsiteX1166" fmla="*/ 2224248 w 2240198"/>
                <a:gd name="connsiteY1166" fmla="*/ 1531032 h 1729012"/>
                <a:gd name="connsiteX1167" fmla="*/ 2229250 w 2240198"/>
                <a:gd name="connsiteY1167" fmla="*/ 1528744 h 1729012"/>
                <a:gd name="connsiteX1168" fmla="*/ 2233420 w 2240198"/>
                <a:gd name="connsiteY1168" fmla="*/ 1526200 h 1729012"/>
                <a:gd name="connsiteX1169" fmla="*/ 2234376 w 2240198"/>
                <a:gd name="connsiteY1169" fmla="*/ 1526716 h 1729012"/>
                <a:gd name="connsiteX1170" fmla="*/ 2234814 w 2240198"/>
                <a:gd name="connsiteY1170" fmla="*/ 1527304 h 1729012"/>
                <a:gd name="connsiteX1171" fmla="*/ 2234662 w 2240198"/>
                <a:gd name="connsiteY1171" fmla="*/ 1527921 h 1729012"/>
                <a:gd name="connsiteX1172" fmla="*/ 2232559 w 2240198"/>
                <a:gd name="connsiteY1172" fmla="*/ 1530014 h 1729012"/>
                <a:gd name="connsiteX1173" fmla="*/ 2231461 w 2240198"/>
                <a:gd name="connsiteY1173" fmla="*/ 1531740 h 1729012"/>
                <a:gd name="connsiteX1174" fmla="*/ 2228606 w 2240198"/>
                <a:gd name="connsiteY1174" fmla="*/ 1537042 h 1729012"/>
                <a:gd name="connsiteX1175" fmla="*/ 2227515 w 2240198"/>
                <a:gd name="connsiteY1175" fmla="*/ 1539537 h 1729012"/>
                <a:gd name="connsiteX1176" fmla="*/ 2226966 w 2240198"/>
                <a:gd name="connsiteY1176" fmla="*/ 1542169 h 1729012"/>
                <a:gd name="connsiteX1177" fmla="*/ 2227111 w 2240198"/>
                <a:gd name="connsiteY1177" fmla="*/ 1546705 h 1729012"/>
                <a:gd name="connsiteX1178" fmla="*/ 2227419 w 2240198"/>
                <a:gd name="connsiteY1178" fmla="*/ 1547488 h 1729012"/>
                <a:gd name="connsiteX1179" fmla="*/ 2228311 w 2240198"/>
                <a:gd name="connsiteY1179" fmla="*/ 1548539 h 1729012"/>
                <a:gd name="connsiteX1180" fmla="*/ 2229975 w 2240198"/>
                <a:gd name="connsiteY1180" fmla="*/ 1547639 h 1729012"/>
                <a:gd name="connsiteX1181" fmla="*/ 2232811 w 2240198"/>
                <a:gd name="connsiteY1181" fmla="*/ 1545394 h 1729012"/>
                <a:gd name="connsiteX1182" fmla="*/ 2234632 w 2240198"/>
                <a:gd name="connsiteY1182" fmla="*/ 1543249 h 1729012"/>
                <a:gd name="connsiteX1183" fmla="*/ 2236058 w 2240198"/>
                <a:gd name="connsiteY1183" fmla="*/ 1539754 h 1729012"/>
                <a:gd name="connsiteX1184" fmla="*/ 2236933 w 2240198"/>
                <a:gd name="connsiteY1184" fmla="*/ 1538412 h 1729012"/>
                <a:gd name="connsiteX1185" fmla="*/ 2237885 w 2240198"/>
                <a:gd name="connsiteY1185" fmla="*/ 1538428 h 1729012"/>
                <a:gd name="connsiteX1186" fmla="*/ 2238734 w 2240198"/>
                <a:gd name="connsiteY1186" fmla="*/ 1539191 h 1729012"/>
                <a:gd name="connsiteX1187" fmla="*/ 2238940 w 2240198"/>
                <a:gd name="connsiteY1187" fmla="*/ 1540878 h 1729012"/>
                <a:gd name="connsiteX1188" fmla="*/ 2239729 w 2240198"/>
                <a:gd name="connsiteY1188" fmla="*/ 1543174 h 1729012"/>
                <a:gd name="connsiteX1189" fmla="*/ 2240198 w 2240198"/>
                <a:gd name="connsiteY1189" fmla="*/ 1545505 h 1729012"/>
                <a:gd name="connsiteX1190" fmla="*/ 2239822 w 2240198"/>
                <a:gd name="connsiteY1190" fmla="*/ 1548065 h 1729012"/>
                <a:gd name="connsiteX1191" fmla="*/ 2239438 w 2240198"/>
                <a:gd name="connsiteY1191" fmla="*/ 1549465 h 1729012"/>
                <a:gd name="connsiteX1192" fmla="*/ 2233638 w 2240198"/>
                <a:gd name="connsiteY1192" fmla="*/ 1559835 h 1729012"/>
                <a:gd name="connsiteX1193" fmla="*/ 2234254 w 2240198"/>
                <a:gd name="connsiteY1193" fmla="*/ 1561672 h 1729012"/>
                <a:gd name="connsiteX1194" fmla="*/ 2234407 w 2240198"/>
                <a:gd name="connsiteY1194" fmla="*/ 1562786 h 1729012"/>
                <a:gd name="connsiteX1195" fmla="*/ 2234226 w 2240198"/>
                <a:gd name="connsiteY1195" fmla="*/ 1563969 h 1729012"/>
                <a:gd name="connsiteX1196" fmla="*/ 2232388 w 2240198"/>
                <a:gd name="connsiteY1196" fmla="*/ 1568914 h 1729012"/>
                <a:gd name="connsiteX1197" fmla="*/ 2230607 w 2240198"/>
                <a:gd name="connsiteY1197" fmla="*/ 1571999 h 1729012"/>
                <a:gd name="connsiteX1198" fmla="*/ 2229647 w 2240198"/>
                <a:gd name="connsiteY1198" fmla="*/ 1573324 h 1729012"/>
                <a:gd name="connsiteX1199" fmla="*/ 2228505 w 2240198"/>
                <a:gd name="connsiteY1199" fmla="*/ 1574136 h 1729012"/>
                <a:gd name="connsiteX1200" fmla="*/ 2227183 w 2240198"/>
                <a:gd name="connsiteY1200" fmla="*/ 1574433 h 1729012"/>
                <a:gd name="connsiteX1201" fmla="*/ 2225998 w 2240198"/>
                <a:gd name="connsiteY1201" fmla="*/ 1573986 h 1729012"/>
                <a:gd name="connsiteX1202" fmla="*/ 2224954 w 2240198"/>
                <a:gd name="connsiteY1202" fmla="*/ 1572800 h 1729012"/>
                <a:gd name="connsiteX1203" fmla="*/ 2224031 w 2240198"/>
                <a:gd name="connsiteY1203" fmla="*/ 1572183 h 1729012"/>
                <a:gd name="connsiteX1204" fmla="*/ 2223226 w 2240198"/>
                <a:gd name="connsiteY1204" fmla="*/ 1572140 h 1729012"/>
                <a:gd name="connsiteX1205" fmla="*/ 2221737 w 2240198"/>
                <a:gd name="connsiteY1205" fmla="*/ 1572362 h 1729012"/>
                <a:gd name="connsiteX1206" fmla="*/ 2217822 w 2240198"/>
                <a:gd name="connsiteY1206" fmla="*/ 1574878 h 1729012"/>
                <a:gd name="connsiteX1207" fmla="*/ 2217019 w 2240198"/>
                <a:gd name="connsiteY1207" fmla="*/ 1575013 h 1729012"/>
                <a:gd name="connsiteX1208" fmla="*/ 2216462 w 2240198"/>
                <a:gd name="connsiteY1208" fmla="*/ 1574676 h 1729012"/>
                <a:gd name="connsiteX1209" fmla="*/ 2215788 w 2240198"/>
                <a:gd name="connsiteY1209" fmla="*/ 1573355 h 1729012"/>
                <a:gd name="connsiteX1210" fmla="*/ 2216326 w 2240198"/>
                <a:gd name="connsiteY1210" fmla="*/ 1566707 h 1729012"/>
                <a:gd name="connsiteX1211" fmla="*/ 2216675 w 2240198"/>
                <a:gd name="connsiteY1211" fmla="*/ 1564507 h 1729012"/>
                <a:gd name="connsiteX1212" fmla="*/ 2215895 w 2240198"/>
                <a:gd name="connsiteY1212" fmla="*/ 1562808 h 1729012"/>
                <a:gd name="connsiteX1213" fmla="*/ 2216719 w 2240198"/>
                <a:gd name="connsiteY1213" fmla="*/ 1559957 h 1729012"/>
                <a:gd name="connsiteX1214" fmla="*/ 2216749 w 2240198"/>
                <a:gd name="connsiteY1214" fmla="*/ 1558873 h 1729012"/>
                <a:gd name="connsiteX1215" fmla="*/ 2216270 w 2240198"/>
                <a:gd name="connsiteY1215" fmla="*/ 1558464 h 1729012"/>
                <a:gd name="connsiteX1216" fmla="*/ 2215281 w 2240198"/>
                <a:gd name="connsiteY1216" fmla="*/ 1558731 h 1729012"/>
                <a:gd name="connsiteX1217" fmla="*/ 2213785 w 2240198"/>
                <a:gd name="connsiteY1217" fmla="*/ 1560165 h 1729012"/>
                <a:gd name="connsiteX1218" fmla="*/ 2211782 w 2240198"/>
                <a:gd name="connsiteY1218" fmla="*/ 1562761 h 1729012"/>
                <a:gd name="connsiteX1219" fmla="*/ 2209609 w 2240198"/>
                <a:gd name="connsiteY1219" fmla="*/ 1565078 h 1729012"/>
                <a:gd name="connsiteX1220" fmla="*/ 2205817 w 2240198"/>
                <a:gd name="connsiteY1220" fmla="*/ 1568269 h 1729012"/>
                <a:gd name="connsiteX1221" fmla="*/ 2204133 w 2240198"/>
                <a:gd name="connsiteY1221" fmla="*/ 1568896 h 1729012"/>
                <a:gd name="connsiteX1222" fmla="*/ 2203464 w 2240198"/>
                <a:gd name="connsiteY1222" fmla="*/ 1568739 h 1729012"/>
                <a:gd name="connsiteX1223" fmla="*/ 2202692 w 2240198"/>
                <a:gd name="connsiteY1223" fmla="*/ 1568302 h 1729012"/>
                <a:gd name="connsiteX1224" fmla="*/ 2201656 w 2240198"/>
                <a:gd name="connsiteY1224" fmla="*/ 1566966 h 1729012"/>
                <a:gd name="connsiteX1225" fmla="*/ 2201666 w 2240198"/>
                <a:gd name="connsiteY1225" fmla="*/ 1565789 h 1729012"/>
                <a:gd name="connsiteX1226" fmla="*/ 2202125 w 2240198"/>
                <a:gd name="connsiteY1226" fmla="*/ 1564181 h 1729012"/>
                <a:gd name="connsiteX1227" fmla="*/ 2203711 w 2240198"/>
                <a:gd name="connsiteY1227" fmla="*/ 1560380 h 1729012"/>
                <a:gd name="connsiteX1228" fmla="*/ 2206808 w 2240198"/>
                <a:gd name="connsiteY1228" fmla="*/ 1554745 h 1729012"/>
                <a:gd name="connsiteX1229" fmla="*/ 2209380 w 2240198"/>
                <a:gd name="connsiteY1229" fmla="*/ 1550729 h 1729012"/>
                <a:gd name="connsiteX1230" fmla="*/ 2209877 w 2240198"/>
                <a:gd name="connsiteY1230" fmla="*/ 1549015 h 1729012"/>
                <a:gd name="connsiteX1231" fmla="*/ 2209156 w 2240198"/>
                <a:gd name="connsiteY1231" fmla="*/ 1548267 h 1729012"/>
                <a:gd name="connsiteX1232" fmla="*/ 2208575 w 2240198"/>
                <a:gd name="connsiteY1232" fmla="*/ 1546795 h 1729012"/>
                <a:gd name="connsiteX1233" fmla="*/ 2207588 w 2240198"/>
                <a:gd name="connsiteY1233" fmla="*/ 1542436 h 1729012"/>
                <a:gd name="connsiteX1234" fmla="*/ 2206339 w 2240198"/>
                <a:gd name="connsiteY1234" fmla="*/ 1538840 h 1729012"/>
                <a:gd name="connsiteX1235" fmla="*/ 2204862 w 2240198"/>
                <a:gd name="connsiteY1235" fmla="*/ 1537245 h 1729012"/>
                <a:gd name="connsiteX1236" fmla="*/ 2201196 w 2240198"/>
                <a:gd name="connsiteY1236" fmla="*/ 1535495 h 1729012"/>
                <a:gd name="connsiteX1237" fmla="*/ 2200523 w 2240198"/>
                <a:gd name="connsiteY1237" fmla="*/ 1535917 h 1729012"/>
                <a:gd name="connsiteX1238" fmla="*/ 2200129 w 2240198"/>
                <a:gd name="connsiteY1238" fmla="*/ 1538340 h 1729012"/>
                <a:gd name="connsiteX1239" fmla="*/ 2195799 w 2240198"/>
                <a:gd name="connsiteY1239" fmla="*/ 1545296 h 1729012"/>
                <a:gd name="connsiteX1240" fmla="*/ 2195044 w 2240198"/>
                <a:gd name="connsiteY1240" fmla="*/ 1548308 h 1729012"/>
                <a:gd name="connsiteX1241" fmla="*/ 2194500 w 2240198"/>
                <a:gd name="connsiteY1241" fmla="*/ 1549424 h 1729012"/>
                <a:gd name="connsiteX1242" fmla="*/ 2193683 w 2240198"/>
                <a:gd name="connsiteY1242" fmla="*/ 1550187 h 1729012"/>
                <a:gd name="connsiteX1243" fmla="*/ 2191796 w 2240198"/>
                <a:gd name="connsiteY1243" fmla="*/ 1551109 h 1729012"/>
                <a:gd name="connsiteX1244" fmla="*/ 2192308 w 2240198"/>
                <a:gd name="connsiteY1244" fmla="*/ 1549504 h 1729012"/>
                <a:gd name="connsiteX1245" fmla="*/ 2194314 w 2240198"/>
                <a:gd name="connsiteY1245" fmla="*/ 1545929 h 1729012"/>
                <a:gd name="connsiteX1246" fmla="*/ 2194043 w 2240198"/>
                <a:gd name="connsiteY1246" fmla="*/ 1545580 h 1729012"/>
                <a:gd name="connsiteX1247" fmla="*/ 2191492 w 2240198"/>
                <a:gd name="connsiteY1247" fmla="*/ 1548454 h 1729012"/>
                <a:gd name="connsiteX1248" fmla="*/ 2189549 w 2240198"/>
                <a:gd name="connsiteY1248" fmla="*/ 1550048 h 1729012"/>
                <a:gd name="connsiteX1249" fmla="*/ 2187177 w 2240198"/>
                <a:gd name="connsiteY1249" fmla="*/ 1550457 h 1729012"/>
                <a:gd name="connsiteX1250" fmla="*/ 2185737 w 2240198"/>
                <a:gd name="connsiteY1250" fmla="*/ 1550355 h 1729012"/>
                <a:gd name="connsiteX1251" fmla="*/ 2184339 w 2240198"/>
                <a:gd name="connsiteY1251" fmla="*/ 1550793 h 1729012"/>
                <a:gd name="connsiteX1252" fmla="*/ 2178411 w 2240198"/>
                <a:gd name="connsiteY1252" fmla="*/ 1557569 h 1729012"/>
                <a:gd name="connsiteX1253" fmla="*/ 2178188 w 2240198"/>
                <a:gd name="connsiteY1253" fmla="*/ 1559824 h 1729012"/>
                <a:gd name="connsiteX1254" fmla="*/ 2177163 w 2240198"/>
                <a:gd name="connsiteY1254" fmla="*/ 1561670 h 1729012"/>
                <a:gd name="connsiteX1255" fmla="*/ 2174240 w 2240198"/>
                <a:gd name="connsiteY1255" fmla="*/ 1565004 h 1729012"/>
                <a:gd name="connsiteX1256" fmla="*/ 2172699 w 2240198"/>
                <a:gd name="connsiteY1256" fmla="*/ 1566157 h 1729012"/>
                <a:gd name="connsiteX1257" fmla="*/ 2170529 w 2240198"/>
                <a:gd name="connsiteY1257" fmla="*/ 1566362 h 1729012"/>
                <a:gd name="connsiteX1258" fmla="*/ 2168551 w 2240198"/>
                <a:gd name="connsiteY1258" fmla="*/ 1565787 h 1729012"/>
                <a:gd name="connsiteX1259" fmla="*/ 2167247 w 2240198"/>
                <a:gd name="connsiteY1259" fmla="*/ 1565891 h 1729012"/>
                <a:gd name="connsiteX1260" fmla="*/ 2164163 w 2240198"/>
                <a:gd name="connsiteY1260" fmla="*/ 1566932 h 1729012"/>
                <a:gd name="connsiteX1261" fmla="*/ 2160710 w 2240198"/>
                <a:gd name="connsiteY1261" fmla="*/ 1567386 h 1729012"/>
                <a:gd name="connsiteX1262" fmla="*/ 2159284 w 2240198"/>
                <a:gd name="connsiteY1262" fmla="*/ 1567175 h 1729012"/>
                <a:gd name="connsiteX1263" fmla="*/ 2158375 w 2240198"/>
                <a:gd name="connsiteY1263" fmla="*/ 1566747 h 1729012"/>
                <a:gd name="connsiteX1264" fmla="*/ 2156618 w 2240198"/>
                <a:gd name="connsiteY1264" fmla="*/ 1565454 h 1729012"/>
                <a:gd name="connsiteX1265" fmla="*/ 2156407 w 2240198"/>
                <a:gd name="connsiteY1265" fmla="*/ 1564535 h 1729012"/>
                <a:gd name="connsiteX1266" fmla="*/ 2156501 w 2240198"/>
                <a:gd name="connsiteY1266" fmla="*/ 1563996 h 1729012"/>
                <a:gd name="connsiteX1267" fmla="*/ 2157395 w 2240198"/>
                <a:gd name="connsiteY1267" fmla="*/ 1562600 h 1729012"/>
                <a:gd name="connsiteX1268" fmla="*/ 2159446 w 2240198"/>
                <a:gd name="connsiteY1268" fmla="*/ 1560846 h 1729012"/>
                <a:gd name="connsiteX1269" fmla="*/ 2161133 w 2240198"/>
                <a:gd name="connsiteY1269" fmla="*/ 1560192 h 1729012"/>
                <a:gd name="connsiteX1270" fmla="*/ 2165235 w 2240198"/>
                <a:gd name="connsiteY1270" fmla="*/ 1559310 h 1729012"/>
                <a:gd name="connsiteX1271" fmla="*/ 2168241 w 2240198"/>
                <a:gd name="connsiteY1271" fmla="*/ 1557995 h 1729012"/>
                <a:gd name="connsiteX1272" fmla="*/ 2170530 w 2240198"/>
                <a:gd name="connsiteY1272" fmla="*/ 1556043 h 1729012"/>
                <a:gd name="connsiteX1273" fmla="*/ 2171553 w 2240198"/>
                <a:gd name="connsiteY1273" fmla="*/ 1554853 h 1729012"/>
                <a:gd name="connsiteX1274" fmla="*/ 2175866 w 2240198"/>
                <a:gd name="connsiteY1274" fmla="*/ 1548736 h 1729012"/>
                <a:gd name="connsiteX1275" fmla="*/ 2181322 w 2240198"/>
                <a:gd name="connsiteY1275" fmla="*/ 1546576 h 1729012"/>
                <a:gd name="connsiteX1276" fmla="*/ 2184012 w 2240198"/>
                <a:gd name="connsiteY1276" fmla="*/ 1544813 h 1729012"/>
                <a:gd name="connsiteX1277" fmla="*/ 2185893 w 2240198"/>
                <a:gd name="connsiteY1277" fmla="*/ 1542576 h 1729012"/>
                <a:gd name="connsiteX1278" fmla="*/ 2186166 w 2240198"/>
                <a:gd name="connsiteY1278" fmla="*/ 1541789 h 1729012"/>
                <a:gd name="connsiteX1279" fmla="*/ 2183468 w 2240198"/>
                <a:gd name="connsiteY1279" fmla="*/ 1542926 h 1729012"/>
                <a:gd name="connsiteX1280" fmla="*/ 2182074 w 2240198"/>
                <a:gd name="connsiteY1280" fmla="*/ 1543204 h 1729012"/>
                <a:gd name="connsiteX1281" fmla="*/ 2179816 w 2240198"/>
                <a:gd name="connsiteY1281" fmla="*/ 1542783 h 1729012"/>
                <a:gd name="connsiteX1282" fmla="*/ 2178813 w 2240198"/>
                <a:gd name="connsiteY1282" fmla="*/ 1542021 h 1729012"/>
                <a:gd name="connsiteX1283" fmla="*/ 2175719 w 2240198"/>
                <a:gd name="connsiteY1283" fmla="*/ 1542263 h 1729012"/>
                <a:gd name="connsiteX1284" fmla="*/ 2171416 w 2240198"/>
                <a:gd name="connsiteY1284" fmla="*/ 1541907 h 1729012"/>
                <a:gd name="connsiteX1285" fmla="*/ 2170795 w 2240198"/>
                <a:gd name="connsiteY1285" fmla="*/ 1542494 h 1729012"/>
                <a:gd name="connsiteX1286" fmla="*/ 2170239 w 2240198"/>
                <a:gd name="connsiteY1286" fmla="*/ 1545474 h 1729012"/>
                <a:gd name="connsiteX1287" fmla="*/ 2169682 w 2240198"/>
                <a:gd name="connsiteY1287" fmla="*/ 1547054 h 1729012"/>
                <a:gd name="connsiteX1288" fmla="*/ 2169024 w 2240198"/>
                <a:gd name="connsiteY1288" fmla="*/ 1547585 h 1729012"/>
                <a:gd name="connsiteX1289" fmla="*/ 2168060 w 2240198"/>
                <a:gd name="connsiteY1289" fmla="*/ 1547898 h 1729012"/>
                <a:gd name="connsiteX1290" fmla="*/ 2166096 w 2240198"/>
                <a:gd name="connsiteY1290" fmla="*/ 1548213 h 1729012"/>
                <a:gd name="connsiteX1291" fmla="*/ 2161060 w 2240198"/>
                <a:gd name="connsiteY1291" fmla="*/ 1547150 h 1729012"/>
                <a:gd name="connsiteX1292" fmla="*/ 2160131 w 2240198"/>
                <a:gd name="connsiteY1292" fmla="*/ 1546569 h 1729012"/>
                <a:gd name="connsiteX1293" fmla="*/ 2158845 w 2240198"/>
                <a:gd name="connsiteY1293" fmla="*/ 1546127 h 1729012"/>
                <a:gd name="connsiteX1294" fmla="*/ 2153285 w 2240198"/>
                <a:gd name="connsiteY1294" fmla="*/ 1547097 h 1729012"/>
                <a:gd name="connsiteX1295" fmla="*/ 2152121 w 2240198"/>
                <a:gd name="connsiteY1295" fmla="*/ 1547004 h 1729012"/>
                <a:gd name="connsiteX1296" fmla="*/ 2153225 w 2240198"/>
                <a:gd name="connsiteY1296" fmla="*/ 1546306 h 1729012"/>
                <a:gd name="connsiteX1297" fmla="*/ 2158718 w 2240198"/>
                <a:gd name="connsiteY1297" fmla="*/ 1544123 h 1729012"/>
                <a:gd name="connsiteX1298" fmla="*/ 2159294 w 2240198"/>
                <a:gd name="connsiteY1298" fmla="*/ 1537818 h 1729012"/>
                <a:gd name="connsiteX1299" fmla="*/ 2158951 w 2240198"/>
                <a:gd name="connsiteY1299" fmla="*/ 1536807 h 1729012"/>
                <a:gd name="connsiteX1300" fmla="*/ 2157415 w 2240198"/>
                <a:gd name="connsiteY1300" fmla="*/ 1537687 h 1729012"/>
                <a:gd name="connsiteX1301" fmla="*/ 2154837 w 2240198"/>
                <a:gd name="connsiteY1301" fmla="*/ 1538597 h 1729012"/>
                <a:gd name="connsiteX1302" fmla="*/ 2153074 w 2240198"/>
                <a:gd name="connsiteY1302" fmla="*/ 1538334 h 1729012"/>
                <a:gd name="connsiteX1303" fmla="*/ 2152268 w 2240198"/>
                <a:gd name="connsiteY1303" fmla="*/ 1537776 h 1729012"/>
                <a:gd name="connsiteX1304" fmla="*/ 2151529 w 2240198"/>
                <a:gd name="connsiteY1304" fmla="*/ 1538248 h 1729012"/>
                <a:gd name="connsiteX1305" fmla="*/ 2149736 w 2240198"/>
                <a:gd name="connsiteY1305" fmla="*/ 1541575 h 1729012"/>
                <a:gd name="connsiteX1306" fmla="*/ 2148678 w 2240198"/>
                <a:gd name="connsiteY1306" fmla="*/ 1541992 h 1729012"/>
                <a:gd name="connsiteX1307" fmla="*/ 2147087 w 2240198"/>
                <a:gd name="connsiteY1307" fmla="*/ 1542119 h 1729012"/>
                <a:gd name="connsiteX1308" fmla="*/ 2143695 w 2240198"/>
                <a:gd name="connsiteY1308" fmla="*/ 1543329 h 1729012"/>
                <a:gd name="connsiteX1309" fmla="*/ 2137032 w 2240198"/>
                <a:gd name="connsiteY1309" fmla="*/ 1544124 h 1729012"/>
                <a:gd name="connsiteX1310" fmla="*/ 2135718 w 2240198"/>
                <a:gd name="connsiteY1310" fmla="*/ 1545003 h 1729012"/>
                <a:gd name="connsiteX1311" fmla="*/ 2131196 w 2240198"/>
                <a:gd name="connsiteY1311" fmla="*/ 1544698 h 1729012"/>
                <a:gd name="connsiteX1312" fmla="*/ 2117987 w 2240198"/>
                <a:gd name="connsiteY1312" fmla="*/ 1542873 h 1729012"/>
                <a:gd name="connsiteX1313" fmla="*/ 2113261 w 2240198"/>
                <a:gd name="connsiteY1313" fmla="*/ 1543057 h 1729012"/>
                <a:gd name="connsiteX1314" fmla="*/ 2107574 w 2240198"/>
                <a:gd name="connsiteY1314" fmla="*/ 1541942 h 1729012"/>
                <a:gd name="connsiteX1315" fmla="*/ 2106523 w 2240198"/>
                <a:gd name="connsiteY1315" fmla="*/ 1541461 h 1729012"/>
                <a:gd name="connsiteX1316" fmla="*/ 2098567 w 2240198"/>
                <a:gd name="connsiteY1316" fmla="*/ 1541657 h 1729012"/>
                <a:gd name="connsiteX1317" fmla="*/ 2096186 w 2240198"/>
                <a:gd name="connsiteY1317" fmla="*/ 1541398 h 1729012"/>
                <a:gd name="connsiteX1318" fmla="*/ 2096345 w 2240198"/>
                <a:gd name="connsiteY1318" fmla="*/ 1540012 h 1729012"/>
                <a:gd name="connsiteX1319" fmla="*/ 2096093 w 2240198"/>
                <a:gd name="connsiteY1319" fmla="*/ 1539657 h 1729012"/>
                <a:gd name="connsiteX1320" fmla="*/ 2093782 w 2240198"/>
                <a:gd name="connsiteY1320" fmla="*/ 1541188 h 1729012"/>
                <a:gd name="connsiteX1321" fmla="*/ 2091731 w 2240198"/>
                <a:gd name="connsiteY1321" fmla="*/ 1542181 h 1729012"/>
                <a:gd name="connsiteX1322" fmla="*/ 2089088 w 2240198"/>
                <a:gd name="connsiteY1322" fmla="*/ 1543031 h 1729012"/>
                <a:gd name="connsiteX1323" fmla="*/ 2080771 w 2240198"/>
                <a:gd name="connsiteY1323" fmla="*/ 1544505 h 1729012"/>
                <a:gd name="connsiteX1324" fmla="*/ 2076314 w 2240198"/>
                <a:gd name="connsiteY1324" fmla="*/ 1544819 h 1729012"/>
                <a:gd name="connsiteX1325" fmla="*/ 2073719 w 2240198"/>
                <a:gd name="connsiteY1325" fmla="*/ 1543794 h 1729012"/>
                <a:gd name="connsiteX1326" fmla="*/ 2072691 w 2240198"/>
                <a:gd name="connsiteY1326" fmla="*/ 1542774 h 1729012"/>
                <a:gd name="connsiteX1327" fmla="*/ 2071148 w 2240198"/>
                <a:gd name="connsiteY1327" fmla="*/ 1539461 h 1729012"/>
                <a:gd name="connsiteX1328" fmla="*/ 2070089 w 2240198"/>
                <a:gd name="connsiteY1328" fmla="*/ 1535304 h 1729012"/>
                <a:gd name="connsiteX1329" fmla="*/ 2070098 w 2240198"/>
                <a:gd name="connsiteY1329" fmla="*/ 1534552 h 1729012"/>
                <a:gd name="connsiteX1330" fmla="*/ 2070635 w 2240198"/>
                <a:gd name="connsiteY1330" fmla="*/ 1533108 h 1729012"/>
                <a:gd name="connsiteX1331" fmla="*/ 2072379 w 2240198"/>
                <a:gd name="connsiteY1331" fmla="*/ 1531106 h 1729012"/>
                <a:gd name="connsiteX1332" fmla="*/ 2080271 w 2240198"/>
                <a:gd name="connsiteY1332" fmla="*/ 1525802 h 1729012"/>
                <a:gd name="connsiteX1333" fmla="*/ 2086617 w 2240198"/>
                <a:gd name="connsiteY1333" fmla="*/ 1520426 h 1729012"/>
                <a:gd name="connsiteX1334" fmla="*/ 2089294 w 2240198"/>
                <a:gd name="connsiteY1334" fmla="*/ 1517623 h 1729012"/>
                <a:gd name="connsiteX1335" fmla="*/ 2091890 w 2240198"/>
                <a:gd name="connsiteY1335" fmla="*/ 1516624 h 1729012"/>
                <a:gd name="connsiteX1336" fmla="*/ 2096127 w 2240198"/>
                <a:gd name="connsiteY1336" fmla="*/ 1514294 h 1729012"/>
                <a:gd name="connsiteX1337" fmla="*/ 2096262 w 2240198"/>
                <a:gd name="connsiteY1337" fmla="*/ 1514020 h 1729012"/>
                <a:gd name="connsiteX1338" fmla="*/ 2092153 w 2240198"/>
                <a:gd name="connsiteY1338" fmla="*/ 1514315 h 1729012"/>
                <a:gd name="connsiteX1339" fmla="*/ 2089265 w 2240198"/>
                <a:gd name="connsiteY1339" fmla="*/ 1513670 h 1729012"/>
                <a:gd name="connsiteX1340" fmla="*/ 2086313 w 2240198"/>
                <a:gd name="connsiteY1340" fmla="*/ 1513415 h 1729012"/>
                <a:gd name="connsiteX1341" fmla="*/ 2080703 w 2240198"/>
                <a:gd name="connsiteY1341" fmla="*/ 1514031 h 1729012"/>
                <a:gd name="connsiteX1342" fmla="*/ 2075049 w 2240198"/>
                <a:gd name="connsiteY1342" fmla="*/ 1514031 h 1729012"/>
                <a:gd name="connsiteX1343" fmla="*/ 2075027 w 2240198"/>
                <a:gd name="connsiteY1343" fmla="*/ 1512836 h 1729012"/>
                <a:gd name="connsiteX1344" fmla="*/ 2077670 w 2240198"/>
                <a:gd name="connsiteY1344" fmla="*/ 1510582 h 1729012"/>
                <a:gd name="connsiteX1345" fmla="*/ 2083290 w 2240198"/>
                <a:gd name="connsiteY1345" fmla="*/ 1506710 h 1729012"/>
                <a:gd name="connsiteX1346" fmla="*/ 2083862 w 2240198"/>
                <a:gd name="connsiteY1346" fmla="*/ 1506698 h 1729012"/>
                <a:gd name="connsiteX1347" fmla="*/ 2082141 w 2240198"/>
                <a:gd name="connsiteY1347" fmla="*/ 1508501 h 1729012"/>
                <a:gd name="connsiteX1348" fmla="*/ 2081650 w 2240198"/>
                <a:gd name="connsiteY1348" fmla="*/ 1509848 h 1729012"/>
                <a:gd name="connsiteX1349" fmla="*/ 2082391 w 2240198"/>
                <a:gd name="connsiteY1349" fmla="*/ 1510744 h 1729012"/>
                <a:gd name="connsiteX1350" fmla="*/ 2083249 w 2240198"/>
                <a:gd name="connsiteY1350" fmla="*/ 1511311 h 1729012"/>
                <a:gd name="connsiteX1351" fmla="*/ 2086468 w 2240198"/>
                <a:gd name="connsiteY1351" fmla="*/ 1511548 h 1729012"/>
                <a:gd name="connsiteX1352" fmla="*/ 2087206 w 2240198"/>
                <a:gd name="connsiteY1352" fmla="*/ 1510766 h 1729012"/>
                <a:gd name="connsiteX1353" fmla="*/ 2088367 w 2240198"/>
                <a:gd name="connsiteY1353" fmla="*/ 1506614 h 1729012"/>
                <a:gd name="connsiteX1354" fmla="*/ 2090800 w 2240198"/>
                <a:gd name="connsiteY1354" fmla="*/ 1501799 h 1729012"/>
                <a:gd name="connsiteX1355" fmla="*/ 2092115 w 2240198"/>
                <a:gd name="connsiteY1355" fmla="*/ 1498321 h 1729012"/>
                <a:gd name="connsiteX1356" fmla="*/ 2094400 w 2240198"/>
                <a:gd name="connsiteY1356" fmla="*/ 1495665 h 1729012"/>
                <a:gd name="connsiteX1357" fmla="*/ 2095540 w 2240198"/>
                <a:gd name="connsiteY1357" fmla="*/ 1495266 h 1729012"/>
                <a:gd name="connsiteX1358" fmla="*/ 2096552 w 2240198"/>
                <a:gd name="connsiteY1358" fmla="*/ 1495762 h 1729012"/>
                <a:gd name="connsiteX1359" fmla="*/ 2099915 w 2240198"/>
                <a:gd name="connsiteY1359" fmla="*/ 1496400 h 1729012"/>
                <a:gd name="connsiteX1360" fmla="*/ 2103375 w 2240198"/>
                <a:gd name="connsiteY1360" fmla="*/ 1498833 h 1729012"/>
                <a:gd name="connsiteX1361" fmla="*/ 2104494 w 2240198"/>
                <a:gd name="connsiteY1361" fmla="*/ 1499038 h 1729012"/>
                <a:gd name="connsiteX1362" fmla="*/ 2104875 w 2240198"/>
                <a:gd name="connsiteY1362" fmla="*/ 1498821 h 1729012"/>
                <a:gd name="connsiteX1363" fmla="*/ 2103606 w 2240198"/>
                <a:gd name="connsiteY1363" fmla="*/ 1498106 h 1729012"/>
                <a:gd name="connsiteX1364" fmla="*/ 2102560 w 2240198"/>
                <a:gd name="connsiteY1364" fmla="*/ 1496962 h 1729012"/>
                <a:gd name="connsiteX1365" fmla="*/ 2102126 w 2240198"/>
                <a:gd name="connsiteY1365" fmla="*/ 1495891 h 1729012"/>
                <a:gd name="connsiteX1366" fmla="*/ 2103390 w 2240198"/>
                <a:gd name="connsiteY1366" fmla="*/ 1492531 h 1729012"/>
                <a:gd name="connsiteX1367" fmla="*/ 2104872 w 2240198"/>
                <a:gd name="connsiteY1367" fmla="*/ 1491563 h 1729012"/>
                <a:gd name="connsiteX1368" fmla="*/ 2105140 w 2240198"/>
                <a:gd name="connsiteY1368" fmla="*/ 1490902 h 1729012"/>
                <a:gd name="connsiteX1369" fmla="*/ 2102179 w 2240198"/>
                <a:gd name="connsiteY1369" fmla="*/ 1490888 h 1729012"/>
                <a:gd name="connsiteX1370" fmla="*/ 2099794 w 2240198"/>
                <a:gd name="connsiteY1370" fmla="*/ 1489947 h 1729012"/>
                <a:gd name="connsiteX1371" fmla="*/ 2099084 w 2240198"/>
                <a:gd name="connsiteY1371" fmla="*/ 1488424 h 1729012"/>
                <a:gd name="connsiteX1372" fmla="*/ 2099224 w 2240198"/>
                <a:gd name="connsiteY1372" fmla="*/ 1485746 h 1729012"/>
                <a:gd name="connsiteX1373" fmla="*/ 2100001 w 2240198"/>
                <a:gd name="connsiteY1373" fmla="*/ 1484144 h 1729012"/>
                <a:gd name="connsiteX1374" fmla="*/ 2101911 w 2240198"/>
                <a:gd name="connsiteY1374" fmla="*/ 1482028 h 1729012"/>
                <a:gd name="connsiteX1375" fmla="*/ 2104234 w 2240198"/>
                <a:gd name="connsiteY1375" fmla="*/ 1480621 h 1729012"/>
                <a:gd name="connsiteX1376" fmla="*/ 2105618 w 2240198"/>
                <a:gd name="connsiteY1376" fmla="*/ 1480981 h 1729012"/>
                <a:gd name="connsiteX1377" fmla="*/ 2108285 w 2240198"/>
                <a:gd name="connsiteY1377" fmla="*/ 1482880 h 1729012"/>
                <a:gd name="connsiteX1378" fmla="*/ 2109926 w 2240198"/>
                <a:gd name="connsiteY1378" fmla="*/ 1482348 h 1729012"/>
                <a:gd name="connsiteX1379" fmla="*/ 2109736 w 2240198"/>
                <a:gd name="connsiteY1379" fmla="*/ 1481738 h 1729012"/>
                <a:gd name="connsiteX1380" fmla="*/ 2107235 w 2240198"/>
                <a:gd name="connsiteY1380" fmla="*/ 1478713 h 1729012"/>
                <a:gd name="connsiteX1381" fmla="*/ 2106433 w 2240198"/>
                <a:gd name="connsiteY1381" fmla="*/ 1476471 h 1729012"/>
                <a:gd name="connsiteX1382" fmla="*/ 2106507 w 2240198"/>
                <a:gd name="connsiteY1382" fmla="*/ 1475402 h 1729012"/>
                <a:gd name="connsiteX1383" fmla="*/ 2111925 w 2240198"/>
                <a:gd name="connsiteY1383" fmla="*/ 1464692 h 1729012"/>
                <a:gd name="connsiteX1384" fmla="*/ 2114575 w 2240198"/>
                <a:gd name="connsiteY1384" fmla="*/ 1458930 h 1729012"/>
                <a:gd name="connsiteX1385" fmla="*/ 2118187 w 2240198"/>
                <a:gd name="connsiteY1385" fmla="*/ 1450127 h 1729012"/>
                <a:gd name="connsiteX1386" fmla="*/ 2119022 w 2240198"/>
                <a:gd name="connsiteY1386" fmla="*/ 1448724 h 1729012"/>
                <a:gd name="connsiteX1387" fmla="*/ 2120852 w 2240198"/>
                <a:gd name="connsiteY1387" fmla="*/ 1446122 h 1729012"/>
                <a:gd name="connsiteX1388" fmla="*/ 2121609 w 2240198"/>
                <a:gd name="connsiteY1388" fmla="*/ 1445413 h 1729012"/>
                <a:gd name="connsiteX1389" fmla="*/ 2123971 w 2240198"/>
                <a:gd name="connsiteY1389" fmla="*/ 1445408 h 1729012"/>
                <a:gd name="connsiteX1390" fmla="*/ 2125438 w 2240198"/>
                <a:gd name="connsiteY1390" fmla="*/ 1445091 h 1729012"/>
                <a:gd name="connsiteX1391" fmla="*/ 2123294 w 2240198"/>
                <a:gd name="connsiteY1391" fmla="*/ 1443940 h 1729012"/>
                <a:gd name="connsiteX1392" fmla="*/ 2122525 w 2240198"/>
                <a:gd name="connsiteY1392" fmla="*/ 1443138 h 1729012"/>
                <a:gd name="connsiteX1393" fmla="*/ 2122435 w 2240198"/>
                <a:gd name="connsiteY1393" fmla="*/ 1442293 h 1729012"/>
                <a:gd name="connsiteX1394" fmla="*/ 2123021 w 2240198"/>
                <a:gd name="connsiteY1394" fmla="*/ 1441407 h 1729012"/>
                <a:gd name="connsiteX1395" fmla="*/ 2123851 w 2240198"/>
                <a:gd name="connsiteY1395" fmla="*/ 1440751 h 1729012"/>
                <a:gd name="connsiteX1396" fmla="*/ 2126653 w 2240198"/>
                <a:gd name="connsiteY1396" fmla="*/ 1439332 h 1729012"/>
                <a:gd name="connsiteX1397" fmla="*/ 2128641 w 2240198"/>
                <a:gd name="connsiteY1397" fmla="*/ 1436995 h 1729012"/>
                <a:gd name="connsiteX1398" fmla="*/ 2129847 w 2240198"/>
                <a:gd name="connsiteY1398" fmla="*/ 1434241 h 1729012"/>
                <a:gd name="connsiteX1399" fmla="*/ 2129668 w 2240198"/>
                <a:gd name="connsiteY1399" fmla="*/ 1433301 h 1729012"/>
                <a:gd name="connsiteX1400" fmla="*/ 2129046 w 2240198"/>
                <a:gd name="connsiteY1400" fmla="*/ 1432365 h 1729012"/>
                <a:gd name="connsiteX1401" fmla="*/ 2129080 w 2240198"/>
                <a:gd name="connsiteY1401" fmla="*/ 1431857 h 1729012"/>
                <a:gd name="connsiteX1402" fmla="*/ 2130590 w 2240198"/>
                <a:gd name="connsiteY1402" fmla="*/ 1431282 h 1729012"/>
                <a:gd name="connsiteX1403" fmla="*/ 2134425 w 2240198"/>
                <a:gd name="connsiteY1403" fmla="*/ 1428005 h 1729012"/>
                <a:gd name="connsiteX1404" fmla="*/ 2134924 w 2240198"/>
                <a:gd name="connsiteY1404" fmla="*/ 1427377 h 1729012"/>
                <a:gd name="connsiteX1405" fmla="*/ 2136325 w 2240198"/>
                <a:gd name="connsiteY1405" fmla="*/ 1422996 h 1729012"/>
                <a:gd name="connsiteX1406" fmla="*/ 2138044 w 2240198"/>
                <a:gd name="connsiteY1406" fmla="*/ 1421051 h 1729012"/>
                <a:gd name="connsiteX1407" fmla="*/ 2139652 w 2240198"/>
                <a:gd name="connsiteY1407" fmla="*/ 1420053 h 1729012"/>
                <a:gd name="connsiteX1408" fmla="*/ 2142213 w 2240198"/>
                <a:gd name="connsiteY1408" fmla="*/ 1418812 h 1729012"/>
                <a:gd name="connsiteX1409" fmla="*/ 2150089 w 2240198"/>
                <a:gd name="connsiteY1409" fmla="*/ 1415804 h 1729012"/>
                <a:gd name="connsiteX1410" fmla="*/ 2154699 w 2240198"/>
                <a:gd name="connsiteY1410" fmla="*/ 1413116 h 1729012"/>
                <a:gd name="connsiteX1411" fmla="*/ 2157829 w 2240198"/>
                <a:gd name="connsiteY1411" fmla="*/ 1413266 h 1729012"/>
                <a:gd name="connsiteX1412" fmla="*/ 2158750 w 2240198"/>
                <a:gd name="connsiteY1412" fmla="*/ 1415141 h 1729012"/>
                <a:gd name="connsiteX1413" fmla="*/ 2163197 w 2240198"/>
                <a:gd name="connsiteY1413" fmla="*/ 1416386 h 1729012"/>
                <a:gd name="connsiteX1414" fmla="*/ 2163979 w 2240198"/>
                <a:gd name="connsiteY1414" fmla="*/ 1415049 h 1729012"/>
                <a:gd name="connsiteX1415" fmla="*/ 2162938 w 2240198"/>
                <a:gd name="connsiteY1415" fmla="*/ 1413418 h 1729012"/>
                <a:gd name="connsiteX1416" fmla="*/ 2163806 w 2240198"/>
                <a:gd name="connsiteY1416" fmla="*/ 1412761 h 1729012"/>
                <a:gd name="connsiteX1417" fmla="*/ 328882 w 2240198"/>
                <a:gd name="connsiteY1417" fmla="*/ 1408389 h 1729012"/>
                <a:gd name="connsiteX1418" fmla="*/ 329721 w 2240198"/>
                <a:gd name="connsiteY1418" fmla="*/ 1408544 h 1729012"/>
                <a:gd name="connsiteX1419" fmla="*/ 330021 w 2240198"/>
                <a:gd name="connsiteY1419" fmla="*/ 1409564 h 1729012"/>
                <a:gd name="connsiteX1420" fmla="*/ 331398 w 2240198"/>
                <a:gd name="connsiteY1420" fmla="*/ 1411865 h 1729012"/>
                <a:gd name="connsiteX1421" fmla="*/ 331807 w 2240198"/>
                <a:gd name="connsiteY1421" fmla="*/ 1412540 h 1729012"/>
                <a:gd name="connsiteX1422" fmla="*/ 331810 w 2240198"/>
                <a:gd name="connsiteY1422" fmla="*/ 1415212 h 1729012"/>
                <a:gd name="connsiteX1423" fmla="*/ 331598 w 2240198"/>
                <a:gd name="connsiteY1423" fmla="*/ 1416301 h 1729012"/>
                <a:gd name="connsiteX1424" fmla="*/ 331177 w 2240198"/>
                <a:gd name="connsiteY1424" fmla="*/ 1416863 h 1729012"/>
                <a:gd name="connsiteX1425" fmla="*/ 330163 w 2240198"/>
                <a:gd name="connsiteY1425" fmla="*/ 1416862 h 1729012"/>
                <a:gd name="connsiteX1426" fmla="*/ 328558 w 2240198"/>
                <a:gd name="connsiteY1426" fmla="*/ 1416295 h 1729012"/>
                <a:gd name="connsiteX1427" fmla="*/ 327360 w 2240198"/>
                <a:gd name="connsiteY1427" fmla="*/ 1415046 h 1729012"/>
                <a:gd name="connsiteX1428" fmla="*/ 325915 w 2240198"/>
                <a:gd name="connsiteY1428" fmla="*/ 1411147 h 1729012"/>
                <a:gd name="connsiteX1429" fmla="*/ 326077 w 2240198"/>
                <a:gd name="connsiteY1429" fmla="*/ 1410476 h 1729012"/>
                <a:gd name="connsiteX1430" fmla="*/ 326575 w 2240198"/>
                <a:gd name="connsiteY1430" fmla="*/ 1409794 h 1729012"/>
                <a:gd name="connsiteX1431" fmla="*/ 2173754 w 2240198"/>
                <a:gd name="connsiteY1431" fmla="*/ 1398683 h 1729012"/>
                <a:gd name="connsiteX1432" fmla="*/ 2173260 w 2240198"/>
                <a:gd name="connsiteY1432" fmla="*/ 1400892 h 1729012"/>
                <a:gd name="connsiteX1433" fmla="*/ 2171543 w 2240198"/>
                <a:gd name="connsiteY1433" fmla="*/ 1402258 h 1729012"/>
                <a:gd name="connsiteX1434" fmla="*/ 2170335 w 2240198"/>
                <a:gd name="connsiteY1434" fmla="*/ 1402286 h 1729012"/>
                <a:gd name="connsiteX1435" fmla="*/ 2170063 w 2240198"/>
                <a:gd name="connsiteY1435" fmla="*/ 1401906 h 1729012"/>
                <a:gd name="connsiteX1436" fmla="*/ 2170567 w 2240198"/>
                <a:gd name="connsiteY1436" fmla="*/ 1400604 h 1729012"/>
                <a:gd name="connsiteX1437" fmla="*/ 2171918 w 2240198"/>
                <a:gd name="connsiteY1437" fmla="*/ 1399101 h 1729012"/>
                <a:gd name="connsiteX1438" fmla="*/ 1563659 w 2240198"/>
                <a:gd name="connsiteY1438" fmla="*/ 1395189 h 1729012"/>
                <a:gd name="connsiteX1439" fmla="*/ 1565272 w 2240198"/>
                <a:gd name="connsiteY1439" fmla="*/ 1395573 h 1729012"/>
                <a:gd name="connsiteX1440" fmla="*/ 1565298 w 2240198"/>
                <a:gd name="connsiteY1440" fmla="*/ 1396108 h 1729012"/>
                <a:gd name="connsiteX1441" fmla="*/ 1564123 w 2240198"/>
                <a:gd name="connsiteY1441" fmla="*/ 1397707 h 1729012"/>
                <a:gd name="connsiteX1442" fmla="*/ 1563809 w 2240198"/>
                <a:gd name="connsiteY1442" fmla="*/ 1398780 h 1729012"/>
                <a:gd name="connsiteX1443" fmla="*/ 1563236 w 2240198"/>
                <a:gd name="connsiteY1443" fmla="*/ 1399593 h 1729012"/>
                <a:gd name="connsiteX1444" fmla="*/ 1562406 w 2240198"/>
                <a:gd name="connsiteY1444" fmla="*/ 1400147 h 1729012"/>
                <a:gd name="connsiteX1445" fmla="*/ 1561359 w 2240198"/>
                <a:gd name="connsiteY1445" fmla="*/ 1400387 h 1729012"/>
                <a:gd name="connsiteX1446" fmla="*/ 1558950 w 2240198"/>
                <a:gd name="connsiteY1446" fmla="*/ 1400114 h 1729012"/>
                <a:gd name="connsiteX1447" fmla="*/ 1557015 w 2240198"/>
                <a:gd name="connsiteY1447" fmla="*/ 1399263 h 1729012"/>
                <a:gd name="connsiteX1448" fmla="*/ 1555826 w 2240198"/>
                <a:gd name="connsiteY1448" fmla="*/ 1398177 h 1729012"/>
                <a:gd name="connsiteX1449" fmla="*/ 251130 w 2240198"/>
                <a:gd name="connsiteY1449" fmla="*/ 1393406 h 1729012"/>
                <a:gd name="connsiteX1450" fmla="*/ 253348 w 2240198"/>
                <a:gd name="connsiteY1450" fmla="*/ 1395287 h 1729012"/>
                <a:gd name="connsiteX1451" fmla="*/ 252875 w 2240198"/>
                <a:gd name="connsiteY1451" fmla="*/ 1399820 h 1729012"/>
                <a:gd name="connsiteX1452" fmla="*/ 252419 w 2240198"/>
                <a:gd name="connsiteY1452" fmla="*/ 1399885 h 1729012"/>
                <a:gd name="connsiteX1453" fmla="*/ 251576 w 2240198"/>
                <a:gd name="connsiteY1453" fmla="*/ 1399183 h 1729012"/>
                <a:gd name="connsiteX1454" fmla="*/ 250996 w 2240198"/>
                <a:gd name="connsiteY1454" fmla="*/ 1398049 h 1729012"/>
                <a:gd name="connsiteX1455" fmla="*/ 250643 w 2240198"/>
                <a:gd name="connsiteY1455" fmla="*/ 1395092 h 1729012"/>
                <a:gd name="connsiteX1456" fmla="*/ 250902 w 2240198"/>
                <a:gd name="connsiteY1456" fmla="*/ 1393884 h 1729012"/>
                <a:gd name="connsiteX1457" fmla="*/ 323418 w 2240198"/>
                <a:gd name="connsiteY1457" fmla="*/ 1371791 h 1729012"/>
                <a:gd name="connsiteX1458" fmla="*/ 323388 w 2240198"/>
                <a:gd name="connsiteY1458" fmla="*/ 1373269 h 1729012"/>
                <a:gd name="connsiteX1459" fmla="*/ 322128 w 2240198"/>
                <a:gd name="connsiteY1459" fmla="*/ 1379865 h 1729012"/>
                <a:gd name="connsiteX1460" fmla="*/ 321477 w 2240198"/>
                <a:gd name="connsiteY1460" fmla="*/ 1382911 h 1729012"/>
                <a:gd name="connsiteX1461" fmla="*/ 320976 w 2240198"/>
                <a:gd name="connsiteY1461" fmla="*/ 1384033 h 1729012"/>
                <a:gd name="connsiteX1462" fmla="*/ 320338 w 2240198"/>
                <a:gd name="connsiteY1462" fmla="*/ 1384892 h 1729012"/>
                <a:gd name="connsiteX1463" fmla="*/ 318394 w 2240198"/>
                <a:gd name="connsiteY1463" fmla="*/ 1385348 h 1729012"/>
                <a:gd name="connsiteX1464" fmla="*/ 319041 w 2240198"/>
                <a:gd name="connsiteY1464" fmla="*/ 1383520 h 1729012"/>
                <a:gd name="connsiteX1465" fmla="*/ 319229 w 2240198"/>
                <a:gd name="connsiteY1465" fmla="*/ 1382438 h 1729012"/>
                <a:gd name="connsiteX1466" fmla="*/ 318879 w 2240198"/>
                <a:gd name="connsiteY1466" fmla="*/ 1381419 h 1729012"/>
                <a:gd name="connsiteX1467" fmla="*/ 318634 w 2240198"/>
                <a:gd name="connsiteY1467" fmla="*/ 1379451 h 1729012"/>
                <a:gd name="connsiteX1468" fmla="*/ 318536 w 2240198"/>
                <a:gd name="connsiteY1468" fmla="*/ 1374802 h 1729012"/>
                <a:gd name="connsiteX1469" fmla="*/ 320435 w 2240198"/>
                <a:gd name="connsiteY1469" fmla="*/ 1371877 h 1729012"/>
                <a:gd name="connsiteX1470" fmla="*/ 298096 w 2240198"/>
                <a:gd name="connsiteY1470" fmla="*/ 1370871 h 1729012"/>
                <a:gd name="connsiteX1471" fmla="*/ 298879 w 2240198"/>
                <a:gd name="connsiteY1471" fmla="*/ 1371123 h 1729012"/>
                <a:gd name="connsiteX1472" fmla="*/ 299611 w 2240198"/>
                <a:gd name="connsiteY1472" fmla="*/ 1371556 h 1729012"/>
                <a:gd name="connsiteX1473" fmla="*/ 304484 w 2240198"/>
                <a:gd name="connsiteY1473" fmla="*/ 1375988 h 1729012"/>
                <a:gd name="connsiteX1474" fmla="*/ 305844 w 2240198"/>
                <a:gd name="connsiteY1474" fmla="*/ 1378073 h 1729012"/>
                <a:gd name="connsiteX1475" fmla="*/ 305933 w 2240198"/>
                <a:gd name="connsiteY1475" fmla="*/ 1381170 h 1729012"/>
                <a:gd name="connsiteX1476" fmla="*/ 305125 w 2240198"/>
                <a:gd name="connsiteY1476" fmla="*/ 1382731 h 1729012"/>
                <a:gd name="connsiteX1477" fmla="*/ 301737 w 2240198"/>
                <a:gd name="connsiteY1477" fmla="*/ 1378973 h 1729012"/>
                <a:gd name="connsiteX1478" fmla="*/ 300502 w 2240198"/>
                <a:gd name="connsiteY1478" fmla="*/ 1377916 h 1729012"/>
                <a:gd name="connsiteX1479" fmla="*/ 297980 w 2240198"/>
                <a:gd name="connsiteY1479" fmla="*/ 1373920 h 1729012"/>
                <a:gd name="connsiteX1480" fmla="*/ 297542 w 2240198"/>
                <a:gd name="connsiteY1480" fmla="*/ 1372203 h 1729012"/>
                <a:gd name="connsiteX1481" fmla="*/ 297650 w 2240198"/>
                <a:gd name="connsiteY1481" fmla="*/ 1371229 h 1729012"/>
                <a:gd name="connsiteX1482" fmla="*/ 291626 w 2240198"/>
                <a:gd name="connsiteY1482" fmla="*/ 1357923 h 1729012"/>
                <a:gd name="connsiteX1483" fmla="*/ 292377 w 2240198"/>
                <a:gd name="connsiteY1483" fmla="*/ 1358107 h 1729012"/>
                <a:gd name="connsiteX1484" fmla="*/ 292902 w 2240198"/>
                <a:gd name="connsiteY1484" fmla="*/ 1358392 h 1729012"/>
                <a:gd name="connsiteX1485" fmla="*/ 295621 w 2240198"/>
                <a:gd name="connsiteY1485" fmla="*/ 1362585 h 1729012"/>
                <a:gd name="connsiteX1486" fmla="*/ 296377 w 2240198"/>
                <a:gd name="connsiteY1486" fmla="*/ 1364666 h 1729012"/>
                <a:gd name="connsiteX1487" fmla="*/ 295997 w 2240198"/>
                <a:gd name="connsiteY1487" fmla="*/ 1364940 h 1729012"/>
                <a:gd name="connsiteX1488" fmla="*/ 294949 w 2240198"/>
                <a:gd name="connsiteY1488" fmla="*/ 1364480 h 1729012"/>
                <a:gd name="connsiteX1489" fmla="*/ 293942 w 2240198"/>
                <a:gd name="connsiteY1489" fmla="*/ 1363583 h 1729012"/>
                <a:gd name="connsiteX1490" fmla="*/ 292217 w 2240198"/>
                <a:gd name="connsiteY1490" fmla="*/ 1361039 h 1729012"/>
                <a:gd name="connsiteX1491" fmla="*/ 291649 w 2240198"/>
                <a:gd name="connsiteY1491" fmla="*/ 1359968 h 1729012"/>
                <a:gd name="connsiteX1492" fmla="*/ 291280 w 2240198"/>
                <a:gd name="connsiteY1492" fmla="*/ 1358232 h 1729012"/>
                <a:gd name="connsiteX1493" fmla="*/ 1512935 w 2240198"/>
                <a:gd name="connsiteY1493" fmla="*/ 1356685 h 1729012"/>
                <a:gd name="connsiteX1494" fmla="*/ 1518000 w 2240198"/>
                <a:gd name="connsiteY1494" fmla="*/ 1357322 h 1729012"/>
                <a:gd name="connsiteX1495" fmla="*/ 1523964 w 2240198"/>
                <a:gd name="connsiteY1495" fmla="*/ 1363121 h 1729012"/>
                <a:gd name="connsiteX1496" fmla="*/ 1527388 w 2240198"/>
                <a:gd name="connsiteY1496" fmla="*/ 1367032 h 1729012"/>
                <a:gd name="connsiteX1497" fmla="*/ 1528780 w 2240198"/>
                <a:gd name="connsiteY1497" fmla="*/ 1370174 h 1729012"/>
                <a:gd name="connsiteX1498" fmla="*/ 1528803 w 2240198"/>
                <a:gd name="connsiteY1498" fmla="*/ 1371688 h 1729012"/>
                <a:gd name="connsiteX1499" fmla="*/ 1528241 w 2240198"/>
                <a:gd name="connsiteY1499" fmla="*/ 1373062 h 1729012"/>
                <a:gd name="connsiteX1500" fmla="*/ 1526449 w 2240198"/>
                <a:gd name="connsiteY1500" fmla="*/ 1373516 h 1729012"/>
                <a:gd name="connsiteX1501" fmla="*/ 1521188 w 2240198"/>
                <a:gd name="connsiteY1501" fmla="*/ 1372604 h 1729012"/>
                <a:gd name="connsiteX1502" fmla="*/ 1518988 w 2240198"/>
                <a:gd name="connsiteY1502" fmla="*/ 1371945 h 1729012"/>
                <a:gd name="connsiteX1503" fmla="*/ 1512506 w 2240198"/>
                <a:gd name="connsiteY1503" fmla="*/ 1369475 h 1729012"/>
                <a:gd name="connsiteX1504" fmla="*/ 1500162 w 2240198"/>
                <a:gd name="connsiteY1504" fmla="*/ 1365842 h 1729012"/>
                <a:gd name="connsiteX1505" fmla="*/ 1495954 w 2240198"/>
                <a:gd name="connsiteY1505" fmla="*/ 1364037 h 1729012"/>
                <a:gd name="connsiteX1506" fmla="*/ 1495086 w 2240198"/>
                <a:gd name="connsiteY1506" fmla="*/ 1362683 h 1729012"/>
                <a:gd name="connsiteX1507" fmla="*/ 1497321 w 2240198"/>
                <a:gd name="connsiteY1507" fmla="*/ 1359854 h 1729012"/>
                <a:gd name="connsiteX1508" fmla="*/ 1498583 w 2240198"/>
                <a:gd name="connsiteY1508" fmla="*/ 1358706 h 1729012"/>
                <a:gd name="connsiteX1509" fmla="*/ 1499953 w 2240198"/>
                <a:gd name="connsiteY1509" fmla="*/ 1357994 h 1729012"/>
                <a:gd name="connsiteX1510" fmla="*/ 230972 w 2240198"/>
                <a:gd name="connsiteY1510" fmla="*/ 1356439 h 1729012"/>
                <a:gd name="connsiteX1511" fmla="*/ 231978 w 2240198"/>
                <a:gd name="connsiteY1511" fmla="*/ 1356498 h 1729012"/>
                <a:gd name="connsiteX1512" fmla="*/ 234506 w 2240198"/>
                <a:gd name="connsiteY1512" fmla="*/ 1357674 h 1729012"/>
                <a:gd name="connsiteX1513" fmla="*/ 237077 w 2240198"/>
                <a:gd name="connsiteY1513" fmla="*/ 1360860 h 1729012"/>
                <a:gd name="connsiteX1514" fmla="*/ 237842 w 2240198"/>
                <a:gd name="connsiteY1514" fmla="*/ 1363708 h 1729012"/>
                <a:gd name="connsiteX1515" fmla="*/ 237526 w 2240198"/>
                <a:gd name="connsiteY1515" fmla="*/ 1367069 h 1729012"/>
                <a:gd name="connsiteX1516" fmla="*/ 233454 w 2240198"/>
                <a:gd name="connsiteY1516" fmla="*/ 1368342 h 1729012"/>
                <a:gd name="connsiteX1517" fmla="*/ 231313 w 2240198"/>
                <a:gd name="connsiteY1517" fmla="*/ 1367327 h 1729012"/>
                <a:gd name="connsiteX1518" fmla="*/ 230383 w 2240198"/>
                <a:gd name="connsiteY1518" fmla="*/ 1367516 h 1729012"/>
                <a:gd name="connsiteX1519" fmla="*/ 228978 w 2240198"/>
                <a:gd name="connsiteY1519" fmla="*/ 1368521 h 1729012"/>
                <a:gd name="connsiteX1520" fmla="*/ 230686 w 2240198"/>
                <a:gd name="connsiteY1520" fmla="*/ 1368970 h 1729012"/>
                <a:gd name="connsiteX1521" fmla="*/ 233079 w 2240198"/>
                <a:gd name="connsiteY1521" fmla="*/ 1370616 h 1729012"/>
                <a:gd name="connsiteX1522" fmla="*/ 235176 w 2240198"/>
                <a:gd name="connsiteY1522" fmla="*/ 1372749 h 1729012"/>
                <a:gd name="connsiteX1523" fmla="*/ 238136 w 2240198"/>
                <a:gd name="connsiteY1523" fmla="*/ 1373132 h 1729012"/>
                <a:gd name="connsiteX1524" fmla="*/ 242075 w 2240198"/>
                <a:gd name="connsiteY1524" fmla="*/ 1374620 h 1729012"/>
                <a:gd name="connsiteX1525" fmla="*/ 239094 w 2240198"/>
                <a:gd name="connsiteY1525" fmla="*/ 1377300 h 1729012"/>
                <a:gd name="connsiteX1526" fmla="*/ 238644 w 2240198"/>
                <a:gd name="connsiteY1526" fmla="*/ 1378841 h 1729012"/>
                <a:gd name="connsiteX1527" fmla="*/ 242363 w 2240198"/>
                <a:gd name="connsiteY1527" fmla="*/ 1383104 h 1729012"/>
                <a:gd name="connsiteX1528" fmla="*/ 242716 w 2240198"/>
                <a:gd name="connsiteY1528" fmla="*/ 1384168 h 1729012"/>
                <a:gd name="connsiteX1529" fmla="*/ 243906 w 2240198"/>
                <a:gd name="connsiteY1529" fmla="*/ 1384386 h 1729012"/>
                <a:gd name="connsiteX1530" fmla="*/ 246680 w 2240198"/>
                <a:gd name="connsiteY1530" fmla="*/ 1384042 h 1729012"/>
                <a:gd name="connsiteX1531" fmla="*/ 247033 w 2240198"/>
                <a:gd name="connsiteY1531" fmla="*/ 1384379 h 1729012"/>
                <a:gd name="connsiteX1532" fmla="*/ 247026 w 2240198"/>
                <a:gd name="connsiteY1532" fmla="*/ 1385262 h 1729012"/>
                <a:gd name="connsiteX1533" fmla="*/ 245326 w 2240198"/>
                <a:gd name="connsiteY1533" fmla="*/ 1387731 h 1729012"/>
                <a:gd name="connsiteX1534" fmla="*/ 245506 w 2240198"/>
                <a:gd name="connsiteY1534" fmla="*/ 1388223 h 1729012"/>
                <a:gd name="connsiteX1535" fmla="*/ 247046 w 2240198"/>
                <a:gd name="connsiteY1535" fmla="*/ 1388611 h 1729012"/>
                <a:gd name="connsiteX1536" fmla="*/ 250002 w 2240198"/>
                <a:gd name="connsiteY1536" fmla="*/ 1388630 h 1729012"/>
                <a:gd name="connsiteX1537" fmla="*/ 250673 w 2240198"/>
                <a:gd name="connsiteY1537" fmla="*/ 1391079 h 1729012"/>
                <a:gd name="connsiteX1538" fmla="*/ 248001 w 2240198"/>
                <a:gd name="connsiteY1538" fmla="*/ 1393305 h 1729012"/>
                <a:gd name="connsiteX1539" fmla="*/ 242921 w 2240198"/>
                <a:gd name="connsiteY1539" fmla="*/ 1390437 h 1729012"/>
                <a:gd name="connsiteX1540" fmla="*/ 240657 w 2240198"/>
                <a:gd name="connsiteY1540" fmla="*/ 1387576 h 1729012"/>
                <a:gd name="connsiteX1541" fmla="*/ 239366 w 2240198"/>
                <a:gd name="connsiteY1541" fmla="*/ 1384924 h 1729012"/>
                <a:gd name="connsiteX1542" fmla="*/ 237803 w 2240198"/>
                <a:gd name="connsiteY1542" fmla="*/ 1383423 h 1729012"/>
                <a:gd name="connsiteX1543" fmla="*/ 233088 w 2240198"/>
                <a:gd name="connsiteY1543" fmla="*/ 1380089 h 1729012"/>
                <a:gd name="connsiteX1544" fmla="*/ 225923 w 2240198"/>
                <a:gd name="connsiteY1544" fmla="*/ 1372873 h 1729012"/>
                <a:gd name="connsiteX1545" fmla="*/ 224076 w 2240198"/>
                <a:gd name="connsiteY1545" fmla="*/ 1371828 h 1729012"/>
                <a:gd name="connsiteX1546" fmla="*/ 222213 w 2240198"/>
                <a:gd name="connsiteY1546" fmla="*/ 1368968 h 1729012"/>
                <a:gd name="connsiteX1547" fmla="*/ 221670 w 2240198"/>
                <a:gd name="connsiteY1547" fmla="*/ 1367590 h 1729012"/>
                <a:gd name="connsiteX1548" fmla="*/ 221717 w 2240198"/>
                <a:gd name="connsiteY1548" fmla="*/ 1366667 h 1729012"/>
                <a:gd name="connsiteX1549" fmla="*/ 222442 w 2240198"/>
                <a:gd name="connsiteY1549" fmla="*/ 1366179 h 1729012"/>
                <a:gd name="connsiteX1550" fmla="*/ 224587 w 2240198"/>
                <a:gd name="connsiteY1550" fmla="*/ 1365858 h 1729012"/>
                <a:gd name="connsiteX1551" fmla="*/ 224617 w 2240198"/>
                <a:gd name="connsiteY1551" fmla="*/ 1364421 h 1729012"/>
                <a:gd name="connsiteX1552" fmla="*/ 216377 w 2240198"/>
                <a:gd name="connsiteY1552" fmla="*/ 1361928 h 1729012"/>
                <a:gd name="connsiteX1553" fmla="*/ 215461 w 2240198"/>
                <a:gd name="connsiteY1553" fmla="*/ 1361418 h 1729012"/>
                <a:gd name="connsiteX1554" fmla="*/ 214398 w 2240198"/>
                <a:gd name="connsiteY1554" fmla="*/ 1359672 h 1729012"/>
                <a:gd name="connsiteX1555" fmla="*/ 214970 w 2240198"/>
                <a:gd name="connsiteY1555" fmla="*/ 1359417 h 1729012"/>
                <a:gd name="connsiteX1556" fmla="*/ 219503 w 2240198"/>
                <a:gd name="connsiteY1556" fmla="*/ 1359721 h 1729012"/>
                <a:gd name="connsiteX1557" fmla="*/ 224359 w 2240198"/>
                <a:gd name="connsiteY1557" fmla="*/ 1358882 h 1729012"/>
                <a:gd name="connsiteX1558" fmla="*/ 227351 w 2240198"/>
                <a:gd name="connsiteY1558" fmla="*/ 1358239 h 1729012"/>
                <a:gd name="connsiteX1559" fmla="*/ 228529 w 2240198"/>
                <a:gd name="connsiteY1559" fmla="*/ 1357454 h 1729012"/>
                <a:gd name="connsiteX1560" fmla="*/ 303488 w 2240198"/>
                <a:gd name="connsiteY1560" fmla="*/ 1354768 h 1729012"/>
                <a:gd name="connsiteX1561" fmla="*/ 305085 w 2240198"/>
                <a:gd name="connsiteY1561" fmla="*/ 1354961 h 1729012"/>
                <a:gd name="connsiteX1562" fmla="*/ 307938 w 2240198"/>
                <a:gd name="connsiteY1562" fmla="*/ 1356538 h 1729012"/>
                <a:gd name="connsiteX1563" fmla="*/ 310913 w 2240198"/>
                <a:gd name="connsiteY1563" fmla="*/ 1358250 h 1729012"/>
                <a:gd name="connsiteX1564" fmla="*/ 313645 w 2240198"/>
                <a:gd name="connsiteY1564" fmla="*/ 1360532 h 1729012"/>
                <a:gd name="connsiteX1565" fmla="*/ 315679 w 2240198"/>
                <a:gd name="connsiteY1565" fmla="*/ 1366466 h 1729012"/>
                <a:gd name="connsiteX1566" fmla="*/ 316843 w 2240198"/>
                <a:gd name="connsiteY1566" fmla="*/ 1377391 h 1729012"/>
                <a:gd name="connsiteX1567" fmla="*/ 316758 w 2240198"/>
                <a:gd name="connsiteY1567" fmla="*/ 1380877 h 1729012"/>
                <a:gd name="connsiteX1568" fmla="*/ 315061 w 2240198"/>
                <a:gd name="connsiteY1568" fmla="*/ 1383155 h 1729012"/>
                <a:gd name="connsiteX1569" fmla="*/ 313865 w 2240198"/>
                <a:gd name="connsiteY1569" fmla="*/ 1386969 h 1729012"/>
                <a:gd name="connsiteX1570" fmla="*/ 312471 w 2240198"/>
                <a:gd name="connsiteY1570" fmla="*/ 1388680 h 1729012"/>
                <a:gd name="connsiteX1571" fmla="*/ 311154 w 2240198"/>
                <a:gd name="connsiteY1571" fmla="*/ 1386401 h 1729012"/>
                <a:gd name="connsiteX1572" fmla="*/ 311036 w 2240198"/>
                <a:gd name="connsiteY1572" fmla="*/ 1382613 h 1729012"/>
                <a:gd name="connsiteX1573" fmla="*/ 310685 w 2240198"/>
                <a:gd name="connsiteY1573" fmla="*/ 1379598 h 1729012"/>
                <a:gd name="connsiteX1574" fmla="*/ 310253 w 2240198"/>
                <a:gd name="connsiteY1574" fmla="*/ 1378153 h 1729012"/>
                <a:gd name="connsiteX1575" fmla="*/ 310763 w 2240198"/>
                <a:gd name="connsiteY1575" fmla="*/ 1372510 h 1729012"/>
                <a:gd name="connsiteX1576" fmla="*/ 310172 w 2240198"/>
                <a:gd name="connsiteY1576" fmla="*/ 1372926 h 1729012"/>
                <a:gd name="connsiteX1577" fmla="*/ 308610 w 2240198"/>
                <a:gd name="connsiteY1577" fmla="*/ 1375403 h 1729012"/>
                <a:gd name="connsiteX1578" fmla="*/ 306871 w 2240198"/>
                <a:gd name="connsiteY1578" fmla="*/ 1375574 h 1729012"/>
                <a:gd name="connsiteX1579" fmla="*/ 303751 w 2240198"/>
                <a:gd name="connsiteY1579" fmla="*/ 1372765 h 1729012"/>
                <a:gd name="connsiteX1580" fmla="*/ 302183 w 2240198"/>
                <a:gd name="connsiteY1580" fmla="*/ 1370487 h 1729012"/>
                <a:gd name="connsiteX1581" fmla="*/ 301925 w 2240198"/>
                <a:gd name="connsiteY1581" fmla="*/ 1368109 h 1729012"/>
                <a:gd name="connsiteX1582" fmla="*/ 299869 w 2240198"/>
                <a:gd name="connsiteY1582" fmla="*/ 1365601 h 1729012"/>
                <a:gd name="connsiteX1583" fmla="*/ 299657 w 2240198"/>
                <a:gd name="connsiteY1583" fmla="*/ 1364718 h 1729012"/>
                <a:gd name="connsiteX1584" fmla="*/ 299825 w 2240198"/>
                <a:gd name="connsiteY1584" fmla="*/ 1363782 h 1729012"/>
                <a:gd name="connsiteX1585" fmla="*/ 301515 w 2240198"/>
                <a:gd name="connsiteY1585" fmla="*/ 1361283 h 1729012"/>
                <a:gd name="connsiteX1586" fmla="*/ 302199 w 2240198"/>
                <a:gd name="connsiteY1586" fmla="*/ 1359597 h 1729012"/>
                <a:gd name="connsiteX1587" fmla="*/ 302800 w 2240198"/>
                <a:gd name="connsiteY1587" fmla="*/ 1356122 h 1729012"/>
                <a:gd name="connsiteX1588" fmla="*/ 298292 w 2240198"/>
                <a:gd name="connsiteY1588" fmla="*/ 1353040 h 1729012"/>
                <a:gd name="connsiteX1589" fmla="*/ 299381 w 2240198"/>
                <a:gd name="connsiteY1589" fmla="*/ 1354311 h 1729012"/>
                <a:gd name="connsiteX1590" fmla="*/ 299844 w 2240198"/>
                <a:gd name="connsiteY1590" fmla="*/ 1355485 h 1729012"/>
                <a:gd name="connsiteX1591" fmla="*/ 300079 w 2240198"/>
                <a:gd name="connsiteY1591" fmla="*/ 1360347 h 1729012"/>
                <a:gd name="connsiteX1592" fmla="*/ 299939 w 2240198"/>
                <a:gd name="connsiteY1592" fmla="*/ 1360592 h 1729012"/>
                <a:gd name="connsiteX1593" fmla="*/ 297311 w 2240198"/>
                <a:gd name="connsiteY1593" fmla="*/ 1360585 h 1729012"/>
                <a:gd name="connsiteX1594" fmla="*/ 296580 w 2240198"/>
                <a:gd name="connsiteY1594" fmla="*/ 1360234 h 1729012"/>
                <a:gd name="connsiteX1595" fmla="*/ 296119 w 2240198"/>
                <a:gd name="connsiteY1595" fmla="*/ 1359512 h 1729012"/>
                <a:gd name="connsiteX1596" fmla="*/ 295932 w 2240198"/>
                <a:gd name="connsiteY1596" fmla="*/ 1358417 h 1729012"/>
                <a:gd name="connsiteX1597" fmla="*/ 296361 w 2240198"/>
                <a:gd name="connsiteY1597" fmla="*/ 1357098 h 1729012"/>
                <a:gd name="connsiteX1598" fmla="*/ 297915 w 2240198"/>
                <a:gd name="connsiteY1598" fmla="*/ 1354577 h 1729012"/>
                <a:gd name="connsiteX1599" fmla="*/ 297963 w 2240198"/>
                <a:gd name="connsiteY1599" fmla="*/ 1353501 h 1729012"/>
                <a:gd name="connsiteX1600" fmla="*/ 1545533 w 2240198"/>
                <a:gd name="connsiteY1600" fmla="*/ 1351854 h 1729012"/>
                <a:gd name="connsiteX1601" fmla="*/ 1547439 w 2240198"/>
                <a:gd name="connsiteY1601" fmla="*/ 1352275 h 1729012"/>
                <a:gd name="connsiteX1602" fmla="*/ 1548360 w 2240198"/>
                <a:gd name="connsiteY1602" fmla="*/ 1353933 h 1729012"/>
                <a:gd name="connsiteX1603" fmla="*/ 1548333 w 2240198"/>
                <a:gd name="connsiteY1603" fmla="*/ 1354963 h 1729012"/>
                <a:gd name="connsiteX1604" fmla="*/ 1546689 w 2240198"/>
                <a:gd name="connsiteY1604" fmla="*/ 1354763 h 1729012"/>
                <a:gd name="connsiteX1605" fmla="*/ 1545796 w 2240198"/>
                <a:gd name="connsiteY1605" fmla="*/ 1354174 h 1729012"/>
                <a:gd name="connsiteX1606" fmla="*/ 1545072 w 2240198"/>
                <a:gd name="connsiteY1606" fmla="*/ 1353246 h 1729012"/>
                <a:gd name="connsiteX1607" fmla="*/ 1544916 w 2240198"/>
                <a:gd name="connsiteY1607" fmla="*/ 1352549 h 1729012"/>
                <a:gd name="connsiteX1608" fmla="*/ 267514 w 2240198"/>
                <a:gd name="connsiteY1608" fmla="*/ 1342638 h 1729012"/>
                <a:gd name="connsiteX1609" fmla="*/ 268963 w 2240198"/>
                <a:gd name="connsiteY1609" fmla="*/ 1343010 h 1729012"/>
                <a:gd name="connsiteX1610" fmla="*/ 274029 w 2240198"/>
                <a:gd name="connsiteY1610" fmla="*/ 1345457 h 1729012"/>
                <a:gd name="connsiteX1611" fmla="*/ 278077 w 2240198"/>
                <a:gd name="connsiteY1611" fmla="*/ 1347827 h 1729012"/>
                <a:gd name="connsiteX1612" fmla="*/ 280377 w 2240198"/>
                <a:gd name="connsiteY1612" fmla="*/ 1349372 h 1729012"/>
                <a:gd name="connsiteX1613" fmla="*/ 285192 w 2240198"/>
                <a:gd name="connsiteY1613" fmla="*/ 1355979 h 1729012"/>
                <a:gd name="connsiteX1614" fmla="*/ 284834 w 2240198"/>
                <a:gd name="connsiteY1614" fmla="*/ 1356927 h 1729012"/>
                <a:gd name="connsiteX1615" fmla="*/ 282815 w 2240198"/>
                <a:gd name="connsiteY1615" fmla="*/ 1358626 h 1729012"/>
                <a:gd name="connsiteX1616" fmla="*/ 282308 w 2240198"/>
                <a:gd name="connsiteY1616" fmla="*/ 1358743 h 1729012"/>
                <a:gd name="connsiteX1617" fmla="*/ 280639 w 2240198"/>
                <a:gd name="connsiteY1617" fmla="*/ 1358326 h 1729012"/>
                <a:gd name="connsiteX1618" fmla="*/ 275136 w 2240198"/>
                <a:gd name="connsiteY1618" fmla="*/ 1352501 h 1729012"/>
                <a:gd name="connsiteX1619" fmla="*/ 271224 w 2240198"/>
                <a:gd name="connsiteY1619" fmla="*/ 1350373 h 1729012"/>
                <a:gd name="connsiteX1620" fmla="*/ 268559 w 2240198"/>
                <a:gd name="connsiteY1620" fmla="*/ 1347491 h 1729012"/>
                <a:gd name="connsiteX1621" fmla="*/ 265851 w 2240198"/>
                <a:gd name="connsiteY1621" fmla="*/ 1345645 h 1729012"/>
                <a:gd name="connsiteX1622" fmla="*/ 267615 w 2240198"/>
                <a:gd name="connsiteY1622" fmla="*/ 1326741 h 1729012"/>
                <a:gd name="connsiteX1623" fmla="*/ 268900 w 2240198"/>
                <a:gd name="connsiteY1623" fmla="*/ 1326856 h 1729012"/>
                <a:gd name="connsiteX1624" fmla="*/ 270966 w 2240198"/>
                <a:gd name="connsiteY1624" fmla="*/ 1328205 h 1729012"/>
                <a:gd name="connsiteX1625" fmla="*/ 271406 w 2240198"/>
                <a:gd name="connsiteY1625" fmla="*/ 1328599 h 1729012"/>
                <a:gd name="connsiteX1626" fmla="*/ 272984 w 2240198"/>
                <a:gd name="connsiteY1626" fmla="*/ 1331280 h 1729012"/>
                <a:gd name="connsiteX1627" fmla="*/ 272198 w 2240198"/>
                <a:gd name="connsiteY1627" fmla="*/ 1332530 h 1729012"/>
                <a:gd name="connsiteX1628" fmla="*/ 270416 w 2240198"/>
                <a:gd name="connsiteY1628" fmla="*/ 1334486 h 1729012"/>
                <a:gd name="connsiteX1629" fmla="*/ 269232 w 2240198"/>
                <a:gd name="connsiteY1629" fmla="*/ 1335261 h 1729012"/>
                <a:gd name="connsiteX1630" fmla="*/ 268649 w 2240198"/>
                <a:gd name="connsiteY1630" fmla="*/ 1334860 h 1729012"/>
                <a:gd name="connsiteX1631" fmla="*/ 267051 w 2240198"/>
                <a:gd name="connsiteY1631" fmla="*/ 1334642 h 1729012"/>
                <a:gd name="connsiteX1632" fmla="*/ 265346 w 2240198"/>
                <a:gd name="connsiteY1632" fmla="*/ 1332694 h 1729012"/>
                <a:gd name="connsiteX1633" fmla="*/ 264019 w 2240198"/>
                <a:gd name="connsiteY1633" fmla="*/ 1331915 h 1729012"/>
                <a:gd name="connsiteX1634" fmla="*/ 263137 w 2240198"/>
                <a:gd name="connsiteY1634" fmla="*/ 1331876 h 1729012"/>
                <a:gd name="connsiteX1635" fmla="*/ 262700 w 2240198"/>
                <a:gd name="connsiteY1635" fmla="*/ 1332580 h 1729012"/>
                <a:gd name="connsiteX1636" fmla="*/ 262588 w 2240198"/>
                <a:gd name="connsiteY1636" fmla="*/ 1333521 h 1729012"/>
                <a:gd name="connsiteX1637" fmla="*/ 262800 w 2240198"/>
                <a:gd name="connsiteY1637" fmla="*/ 1334704 h 1729012"/>
                <a:gd name="connsiteX1638" fmla="*/ 262653 w 2240198"/>
                <a:gd name="connsiteY1638" fmla="*/ 1335240 h 1729012"/>
                <a:gd name="connsiteX1639" fmla="*/ 262150 w 2240198"/>
                <a:gd name="connsiteY1639" fmla="*/ 1335135 h 1729012"/>
                <a:gd name="connsiteX1640" fmla="*/ 261645 w 2240198"/>
                <a:gd name="connsiteY1640" fmla="*/ 1334583 h 1729012"/>
                <a:gd name="connsiteX1641" fmla="*/ 261145 w 2240198"/>
                <a:gd name="connsiteY1641" fmla="*/ 1333585 h 1729012"/>
                <a:gd name="connsiteX1642" fmla="*/ 261041 w 2240198"/>
                <a:gd name="connsiteY1642" fmla="*/ 1332567 h 1729012"/>
                <a:gd name="connsiteX1643" fmla="*/ 261334 w 2240198"/>
                <a:gd name="connsiteY1643" fmla="*/ 1331533 h 1729012"/>
                <a:gd name="connsiteX1644" fmla="*/ 262572 w 2240198"/>
                <a:gd name="connsiteY1644" fmla="*/ 1330142 h 1729012"/>
                <a:gd name="connsiteX1645" fmla="*/ 266433 w 2240198"/>
                <a:gd name="connsiteY1645" fmla="*/ 1327257 h 1729012"/>
                <a:gd name="connsiteX1646" fmla="*/ 201679 w 2240198"/>
                <a:gd name="connsiteY1646" fmla="*/ 1324304 h 1729012"/>
                <a:gd name="connsiteX1647" fmla="*/ 203122 w 2240198"/>
                <a:gd name="connsiteY1647" fmla="*/ 1324343 h 1729012"/>
                <a:gd name="connsiteX1648" fmla="*/ 205617 w 2240198"/>
                <a:gd name="connsiteY1648" fmla="*/ 1324937 h 1729012"/>
                <a:gd name="connsiteX1649" fmla="*/ 211640 w 2240198"/>
                <a:gd name="connsiteY1649" fmla="*/ 1325400 h 1729012"/>
                <a:gd name="connsiteX1650" fmla="*/ 213960 w 2240198"/>
                <a:gd name="connsiteY1650" fmla="*/ 1327450 h 1729012"/>
                <a:gd name="connsiteX1651" fmla="*/ 219528 w 2240198"/>
                <a:gd name="connsiteY1651" fmla="*/ 1326147 h 1729012"/>
                <a:gd name="connsiteX1652" fmla="*/ 220569 w 2240198"/>
                <a:gd name="connsiteY1652" fmla="*/ 1326397 h 1729012"/>
                <a:gd name="connsiteX1653" fmla="*/ 221628 w 2240198"/>
                <a:gd name="connsiteY1653" fmla="*/ 1327182 h 1729012"/>
                <a:gd name="connsiteX1654" fmla="*/ 222787 w 2240198"/>
                <a:gd name="connsiteY1654" fmla="*/ 1328850 h 1729012"/>
                <a:gd name="connsiteX1655" fmla="*/ 224050 w 2240198"/>
                <a:gd name="connsiteY1655" fmla="*/ 1331396 h 1729012"/>
                <a:gd name="connsiteX1656" fmla="*/ 224328 w 2240198"/>
                <a:gd name="connsiteY1656" fmla="*/ 1334176 h 1729012"/>
                <a:gd name="connsiteX1657" fmla="*/ 223823 w 2240198"/>
                <a:gd name="connsiteY1657" fmla="*/ 1335171 h 1729012"/>
                <a:gd name="connsiteX1658" fmla="*/ 222823 w 2240198"/>
                <a:gd name="connsiteY1658" fmla="*/ 1336275 h 1729012"/>
                <a:gd name="connsiteX1659" fmla="*/ 213938 w 2240198"/>
                <a:gd name="connsiteY1659" fmla="*/ 1340682 h 1729012"/>
                <a:gd name="connsiteX1660" fmla="*/ 213704 w 2240198"/>
                <a:gd name="connsiteY1660" fmla="*/ 1341106 h 1729012"/>
                <a:gd name="connsiteX1661" fmla="*/ 213882 w 2240198"/>
                <a:gd name="connsiteY1661" fmla="*/ 1341502 h 1729012"/>
                <a:gd name="connsiteX1662" fmla="*/ 214705 w 2240198"/>
                <a:gd name="connsiteY1662" fmla="*/ 1341926 h 1729012"/>
                <a:gd name="connsiteX1663" fmla="*/ 216486 w 2240198"/>
                <a:gd name="connsiteY1663" fmla="*/ 1341870 h 1729012"/>
                <a:gd name="connsiteX1664" fmla="*/ 223521 w 2240198"/>
                <a:gd name="connsiteY1664" fmla="*/ 1340779 h 1729012"/>
                <a:gd name="connsiteX1665" fmla="*/ 223909 w 2240198"/>
                <a:gd name="connsiteY1665" fmla="*/ 1340017 h 1729012"/>
                <a:gd name="connsiteX1666" fmla="*/ 224402 w 2240198"/>
                <a:gd name="connsiteY1666" fmla="*/ 1336544 h 1729012"/>
                <a:gd name="connsiteX1667" fmla="*/ 225371 w 2240198"/>
                <a:gd name="connsiteY1667" fmla="*/ 1334698 h 1729012"/>
                <a:gd name="connsiteX1668" fmla="*/ 225458 w 2240198"/>
                <a:gd name="connsiteY1668" fmla="*/ 1333305 h 1729012"/>
                <a:gd name="connsiteX1669" fmla="*/ 224816 w 2240198"/>
                <a:gd name="connsiteY1669" fmla="*/ 1329983 h 1729012"/>
                <a:gd name="connsiteX1670" fmla="*/ 224853 w 2240198"/>
                <a:gd name="connsiteY1670" fmla="*/ 1328646 h 1729012"/>
                <a:gd name="connsiteX1671" fmla="*/ 229762 w 2240198"/>
                <a:gd name="connsiteY1671" fmla="*/ 1328377 h 1729012"/>
                <a:gd name="connsiteX1672" fmla="*/ 232836 w 2240198"/>
                <a:gd name="connsiteY1672" fmla="*/ 1327147 h 1729012"/>
                <a:gd name="connsiteX1673" fmla="*/ 235972 w 2240198"/>
                <a:gd name="connsiteY1673" fmla="*/ 1324853 h 1729012"/>
                <a:gd name="connsiteX1674" fmla="*/ 236690 w 2240198"/>
                <a:gd name="connsiteY1674" fmla="*/ 1324916 h 1729012"/>
                <a:gd name="connsiteX1675" fmla="*/ 236239 w 2240198"/>
                <a:gd name="connsiteY1675" fmla="*/ 1329045 h 1729012"/>
                <a:gd name="connsiteX1676" fmla="*/ 235804 w 2240198"/>
                <a:gd name="connsiteY1676" fmla="*/ 1330312 h 1729012"/>
                <a:gd name="connsiteX1677" fmla="*/ 232797 w 2240198"/>
                <a:gd name="connsiteY1677" fmla="*/ 1335346 h 1729012"/>
                <a:gd name="connsiteX1678" fmla="*/ 231072 w 2240198"/>
                <a:gd name="connsiteY1678" fmla="*/ 1339769 h 1729012"/>
                <a:gd name="connsiteX1679" fmla="*/ 230231 w 2240198"/>
                <a:gd name="connsiteY1679" fmla="*/ 1344135 h 1729012"/>
                <a:gd name="connsiteX1680" fmla="*/ 230086 w 2240198"/>
                <a:gd name="connsiteY1680" fmla="*/ 1351345 h 1729012"/>
                <a:gd name="connsiteX1681" fmla="*/ 229342 w 2240198"/>
                <a:gd name="connsiteY1681" fmla="*/ 1353777 h 1729012"/>
                <a:gd name="connsiteX1682" fmla="*/ 227975 w 2240198"/>
                <a:gd name="connsiteY1682" fmla="*/ 1355276 h 1729012"/>
                <a:gd name="connsiteX1683" fmla="*/ 219457 w 2240198"/>
                <a:gd name="connsiteY1683" fmla="*/ 1357893 h 1729012"/>
                <a:gd name="connsiteX1684" fmla="*/ 215065 w 2240198"/>
                <a:gd name="connsiteY1684" fmla="*/ 1357727 h 1729012"/>
                <a:gd name="connsiteX1685" fmla="*/ 211151 w 2240198"/>
                <a:gd name="connsiteY1685" fmla="*/ 1355345 h 1729012"/>
                <a:gd name="connsiteX1686" fmla="*/ 209308 w 2240198"/>
                <a:gd name="connsiteY1686" fmla="*/ 1353714 h 1729012"/>
                <a:gd name="connsiteX1687" fmla="*/ 210701 w 2240198"/>
                <a:gd name="connsiteY1687" fmla="*/ 1351736 h 1729012"/>
                <a:gd name="connsiteX1688" fmla="*/ 211659 w 2240198"/>
                <a:gd name="connsiteY1688" fmla="*/ 1351643 h 1729012"/>
                <a:gd name="connsiteX1689" fmla="*/ 214412 w 2240198"/>
                <a:gd name="connsiteY1689" fmla="*/ 1352032 h 1729012"/>
                <a:gd name="connsiteX1690" fmla="*/ 216538 w 2240198"/>
                <a:gd name="connsiteY1690" fmla="*/ 1352771 h 1729012"/>
                <a:gd name="connsiteX1691" fmla="*/ 217486 w 2240198"/>
                <a:gd name="connsiteY1691" fmla="*/ 1352803 h 1729012"/>
                <a:gd name="connsiteX1692" fmla="*/ 217324 w 2240198"/>
                <a:gd name="connsiteY1692" fmla="*/ 1352337 h 1729012"/>
                <a:gd name="connsiteX1693" fmla="*/ 211270 w 2240198"/>
                <a:gd name="connsiteY1693" fmla="*/ 1348604 h 1729012"/>
                <a:gd name="connsiteX1694" fmla="*/ 206835 w 2240198"/>
                <a:gd name="connsiteY1694" fmla="*/ 1346907 h 1729012"/>
                <a:gd name="connsiteX1695" fmla="*/ 205492 w 2240198"/>
                <a:gd name="connsiteY1695" fmla="*/ 1345006 h 1729012"/>
                <a:gd name="connsiteX1696" fmla="*/ 205452 w 2240198"/>
                <a:gd name="connsiteY1696" fmla="*/ 1343530 h 1729012"/>
                <a:gd name="connsiteX1697" fmla="*/ 205103 w 2240198"/>
                <a:gd name="connsiteY1697" fmla="*/ 1342706 h 1729012"/>
                <a:gd name="connsiteX1698" fmla="*/ 201581 w 2240198"/>
                <a:gd name="connsiteY1698" fmla="*/ 1337545 h 1729012"/>
                <a:gd name="connsiteX1699" fmla="*/ 200890 w 2240198"/>
                <a:gd name="connsiteY1699" fmla="*/ 1335502 h 1729012"/>
                <a:gd name="connsiteX1700" fmla="*/ 200430 w 2240198"/>
                <a:gd name="connsiteY1700" fmla="*/ 1332610 h 1729012"/>
                <a:gd name="connsiteX1701" fmla="*/ 200423 w 2240198"/>
                <a:gd name="connsiteY1701" fmla="*/ 1329643 h 1729012"/>
                <a:gd name="connsiteX1702" fmla="*/ 201286 w 2240198"/>
                <a:gd name="connsiteY1702" fmla="*/ 1324824 h 1729012"/>
                <a:gd name="connsiteX1703" fmla="*/ 255981 w 2240198"/>
                <a:gd name="connsiteY1703" fmla="*/ 1307771 h 1729012"/>
                <a:gd name="connsiteX1704" fmla="*/ 259271 w 2240198"/>
                <a:gd name="connsiteY1704" fmla="*/ 1308223 h 1729012"/>
                <a:gd name="connsiteX1705" fmla="*/ 259754 w 2240198"/>
                <a:gd name="connsiteY1705" fmla="*/ 1308403 h 1729012"/>
                <a:gd name="connsiteX1706" fmla="*/ 259871 w 2240198"/>
                <a:gd name="connsiteY1706" fmla="*/ 1308896 h 1729012"/>
                <a:gd name="connsiteX1707" fmla="*/ 259618 w 2240198"/>
                <a:gd name="connsiteY1707" fmla="*/ 1309702 h 1729012"/>
                <a:gd name="connsiteX1708" fmla="*/ 258559 w 2240198"/>
                <a:gd name="connsiteY1708" fmla="*/ 1310856 h 1729012"/>
                <a:gd name="connsiteX1709" fmla="*/ 255465 w 2240198"/>
                <a:gd name="connsiteY1709" fmla="*/ 1313123 h 1729012"/>
                <a:gd name="connsiteX1710" fmla="*/ 254879 w 2240198"/>
                <a:gd name="connsiteY1710" fmla="*/ 1313168 h 1729012"/>
                <a:gd name="connsiteX1711" fmla="*/ 254658 w 2240198"/>
                <a:gd name="connsiteY1711" fmla="*/ 1312436 h 1729012"/>
                <a:gd name="connsiteX1712" fmla="*/ 254799 w 2240198"/>
                <a:gd name="connsiteY1712" fmla="*/ 1310924 h 1729012"/>
                <a:gd name="connsiteX1713" fmla="*/ 255602 w 2240198"/>
                <a:gd name="connsiteY1713" fmla="*/ 1308364 h 1729012"/>
                <a:gd name="connsiteX1714" fmla="*/ 273547 w 2240198"/>
                <a:gd name="connsiteY1714" fmla="*/ 1293912 h 1729012"/>
                <a:gd name="connsiteX1715" fmla="*/ 273805 w 2240198"/>
                <a:gd name="connsiteY1715" fmla="*/ 1296691 h 1729012"/>
                <a:gd name="connsiteX1716" fmla="*/ 270116 w 2240198"/>
                <a:gd name="connsiteY1716" fmla="*/ 1301352 h 1729012"/>
                <a:gd name="connsiteX1717" fmla="*/ 265397 w 2240198"/>
                <a:gd name="connsiteY1717" fmla="*/ 1303666 h 1729012"/>
                <a:gd name="connsiteX1718" fmla="*/ 264386 w 2240198"/>
                <a:gd name="connsiteY1718" fmla="*/ 1302930 h 1729012"/>
                <a:gd name="connsiteX1719" fmla="*/ 266468 w 2240198"/>
                <a:gd name="connsiteY1719" fmla="*/ 1300663 h 1729012"/>
                <a:gd name="connsiteX1720" fmla="*/ 271049 w 2240198"/>
                <a:gd name="connsiteY1720" fmla="*/ 1296728 h 1729012"/>
                <a:gd name="connsiteX1721" fmla="*/ 2026360 w 2240198"/>
                <a:gd name="connsiteY1721" fmla="*/ 1254296 h 1729012"/>
                <a:gd name="connsiteX1722" fmla="*/ 2027334 w 2240198"/>
                <a:gd name="connsiteY1722" fmla="*/ 1254710 h 1729012"/>
                <a:gd name="connsiteX1723" fmla="*/ 2029416 w 2240198"/>
                <a:gd name="connsiteY1723" fmla="*/ 1255799 h 1729012"/>
                <a:gd name="connsiteX1724" fmla="*/ 2029696 w 2240198"/>
                <a:gd name="connsiteY1724" fmla="*/ 1256457 h 1729012"/>
                <a:gd name="connsiteX1725" fmla="*/ 2028704 w 2240198"/>
                <a:gd name="connsiteY1725" fmla="*/ 1257927 h 1729012"/>
                <a:gd name="connsiteX1726" fmla="*/ 2029004 w 2240198"/>
                <a:gd name="connsiteY1726" fmla="*/ 1258792 h 1729012"/>
                <a:gd name="connsiteX1727" fmla="*/ 2025091 w 2240198"/>
                <a:gd name="connsiteY1727" fmla="*/ 1258168 h 1729012"/>
                <a:gd name="connsiteX1728" fmla="*/ 2023714 w 2240198"/>
                <a:gd name="connsiteY1728" fmla="*/ 1257622 h 1729012"/>
                <a:gd name="connsiteX1729" fmla="*/ 2023599 w 2240198"/>
                <a:gd name="connsiteY1729" fmla="*/ 1257048 h 1729012"/>
                <a:gd name="connsiteX1730" fmla="*/ 2023793 w 2240198"/>
                <a:gd name="connsiteY1730" fmla="*/ 1256151 h 1729012"/>
                <a:gd name="connsiteX1731" fmla="*/ 2024569 w 2240198"/>
                <a:gd name="connsiteY1731" fmla="*/ 1255100 h 1729012"/>
                <a:gd name="connsiteX1732" fmla="*/ 1579136 w 2240198"/>
                <a:gd name="connsiteY1732" fmla="*/ 1243590 h 1729012"/>
                <a:gd name="connsiteX1733" fmla="*/ 1580550 w 2240198"/>
                <a:gd name="connsiteY1733" fmla="*/ 1243611 h 1729012"/>
                <a:gd name="connsiteX1734" fmla="*/ 1580843 w 2240198"/>
                <a:gd name="connsiteY1734" fmla="*/ 1247966 h 1729012"/>
                <a:gd name="connsiteX1735" fmla="*/ 1580446 w 2240198"/>
                <a:gd name="connsiteY1735" fmla="*/ 1250007 h 1729012"/>
                <a:gd name="connsiteX1736" fmla="*/ 1579499 w 2240198"/>
                <a:gd name="connsiteY1736" fmla="*/ 1251714 h 1729012"/>
                <a:gd name="connsiteX1737" fmla="*/ 1578201 w 2240198"/>
                <a:gd name="connsiteY1737" fmla="*/ 1253090 h 1729012"/>
                <a:gd name="connsiteX1738" fmla="*/ 1576548 w 2240198"/>
                <a:gd name="connsiteY1738" fmla="*/ 1254135 h 1729012"/>
                <a:gd name="connsiteX1739" fmla="*/ 1575261 w 2240198"/>
                <a:gd name="connsiteY1739" fmla="*/ 1254632 h 1729012"/>
                <a:gd name="connsiteX1740" fmla="*/ 1574335 w 2240198"/>
                <a:gd name="connsiteY1740" fmla="*/ 1254583 h 1729012"/>
                <a:gd name="connsiteX1741" fmla="*/ 1574507 w 2240198"/>
                <a:gd name="connsiteY1741" fmla="*/ 1253381 h 1729012"/>
                <a:gd name="connsiteX1742" fmla="*/ 1575779 w 2240198"/>
                <a:gd name="connsiteY1742" fmla="*/ 1251027 h 1729012"/>
                <a:gd name="connsiteX1743" fmla="*/ 1576500 w 2240198"/>
                <a:gd name="connsiteY1743" fmla="*/ 1248955 h 1729012"/>
                <a:gd name="connsiteX1744" fmla="*/ 1576675 w 2240198"/>
                <a:gd name="connsiteY1744" fmla="*/ 1247167 h 1729012"/>
                <a:gd name="connsiteX1745" fmla="*/ 1577237 w 2240198"/>
                <a:gd name="connsiteY1745" fmla="*/ 1245599 h 1729012"/>
                <a:gd name="connsiteX1746" fmla="*/ 1578188 w 2240198"/>
                <a:gd name="connsiteY1746" fmla="*/ 1244255 h 1729012"/>
                <a:gd name="connsiteX1747" fmla="*/ 1557450 w 2240198"/>
                <a:gd name="connsiteY1747" fmla="*/ 1242613 h 1729012"/>
                <a:gd name="connsiteX1748" fmla="*/ 1556111 w 2240198"/>
                <a:gd name="connsiteY1748" fmla="*/ 1245483 h 1729012"/>
                <a:gd name="connsiteX1749" fmla="*/ 1554706 w 2240198"/>
                <a:gd name="connsiteY1749" fmla="*/ 1247628 h 1729012"/>
                <a:gd name="connsiteX1750" fmla="*/ 1547362 w 2240198"/>
                <a:gd name="connsiteY1750" fmla="*/ 1251924 h 1729012"/>
                <a:gd name="connsiteX1751" fmla="*/ 1546069 w 2240198"/>
                <a:gd name="connsiteY1751" fmla="*/ 1252197 h 1729012"/>
                <a:gd name="connsiteX1752" fmla="*/ 1544540 w 2240198"/>
                <a:gd name="connsiteY1752" fmla="*/ 1251679 h 1729012"/>
                <a:gd name="connsiteX1753" fmla="*/ 1545336 w 2240198"/>
                <a:gd name="connsiteY1753" fmla="*/ 1249044 h 1729012"/>
                <a:gd name="connsiteX1754" fmla="*/ 1546665 w 2240198"/>
                <a:gd name="connsiteY1754" fmla="*/ 1247946 h 1729012"/>
                <a:gd name="connsiteX1755" fmla="*/ 1549977 w 2240198"/>
                <a:gd name="connsiteY1755" fmla="*/ 1246851 h 1729012"/>
                <a:gd name="connsiteX1756" fmla="*/ 1550542 w 2240198"/>
                <a:gd name="connsiteY1756" fmla="*/ 1246178 h 1729012"/>
                <a:gd name="connsiteX1757" fmla="*/ 1551601 w 2240198"/>
                <a:gd name="connsiteY1757" fmla="*/ 1245843 h 1729012"/>
                <a:gd name="connsiteX1758" fmla="*/ 1553154 w 2240198"/>
                <a:gd name="connsiteY1758" fmla="*/ 1245843 h 1729012"/>
                <a:gd name="connsiteX1759" fmla="*/ 1554883 w 2240198"/>
                <a:gd name="connsiteY1759" fmla="*/ 1244857 h 1729012"/>
                <a:gd name="connsiteX1760" fmla="*/ 1556788 w 2240198"/>
                <a:gd name="connsiteY1760" fmla="*/ 1242884 h 1729012"/>
                <a:gd name="connsiteX1761" fmla="*/ 1565243 w 2240198"/>
                <a:gd name="connsiteY1761" fmla="*/ 1237787 h 1729012"/>
                <a:gd name="connsiteX1762" fmla="*/ 1565529 w 2240198"/>
                <a:gd name="connsiteY1762" fmla="*/ 1237959 h 1729012"/>
                <a:gd name="connsiteX1763" fmla="*/ 1565919 w 2240198"/>
                <a:gd name="connsiteY1763" fmla="*/ 1238946 h 1729012"/>
                <a:gd name="connsiteX1764" fmla="*/ 1566814 w 2240198"/>
                <a:gd name="connsiteY1764" fmla="*/ 1239643 h 1729012"/>
                <a:gd name="connsiteX1765" fmla="*/ 1568216 w 2240198"/>
                <a:gd name="connsiteY1765" fmla="*/ 1240051 h 1729012"/>
                <a:gd name="connsiteX1766" fmla="*/ 1569018 w 2240198"/>
                <a:gd name="connsiteY1766" fmla="*/ 1240685 h 1729012"/>
                <a:gd name="connsiteX1767" fmla="*/ 1569609 w 2240198"/>
                <a:gd name="connsiteY1767" fmla="*/ 1242342 h 1729012"/>
                <a:gd name="connsiteX1768" fmla="*/ 1570179 w 2240198"/>
                <a:gd name="connsiteY1768" fmla="*/ 1243072 h 1729012"/>
                <a:gd name="connsiteX1769" fmla="*/ 1572277 w 2240198"/>
                <a:gd name="connsiteY1769" fmla="*/ 1243690 h 1729012"/>
                <a:gd name="connsiteX1770" fmla="*/ 1573084 w 2240198"/>
                <a:gd name="connsiteY1770" fmla="*/ 1244219 h 1729012"/>
                <a:gd name="connsiteX1771" fmla="*/ 1573664 w 2240198"/>
                <a:gd name="connsiteY1771" fmla="*/ 1246026 h 1729012"/>
                <a:gd name="connsiteX1772" fmla="*/ 1573610 w 2240198"/>
                <a:gd name="connsiteY1772" fmla="*/ 1246978 h 1729012"/>
                <a:gd name="connsiteX1773" fmla="*/ 1573895 w 2240198"/>
                <a:gd name="connsiteY1773" fmla="*/ 1247588 h 1729012"/>
                <a:gd name="connsiteX1774" fmla="*/ 1574518 w 2240198"/>
                <a:gd name="connsiteY1774" fmla="*/ 1247858 h 1729012"/>
                <a:gd name="connsiteX1775" fmla="*/ 1573783 w 2240198"/>
                <a:gd name="connsiteY1775" fmla="*/ 1249808 h 1729012"/>
                <a:gd name="connsiteX1776" fmla="*/ 1571695 w 2240198"/>
                <a:gd name="connsiteY1776" fmla="*/ 1253431 h 1729012"/>
                <a:gd name="connsiteX1777" fmla="*/ 1570023 w 2240198"/>
                <a:gd name="connsiteY1777" fmla="*/ 1256906 h 1729012"/>
                <a:gd name="connsiteX1778" fmla="*/ 1567701 w 2240198"/>
                <a:gd name="connsiteY1778" fmla="*/ 1263438 h 1729012"/>
                <a:gd name="connsiteX1779" fmla="*/ 1566373 w 2240198"/>
                <a:gd name="connsiteY1779" fmla="*/ 1263671 h 1729012"/>
                <a:gd name="connsiteX1780" fmla="*/ 1565213 w 2240198"/>
                <a:gd name="connsiteY1780" fmla="*/ 1262102 h 1729012"/>
                <a:gd name="connsiteX1781" fmla="*/ 1568543 w 2240198"/>
                <a:gd name="connsiteY1781" fmla="*/ 1254453 h 1729012"/>
                <a:gd name="connsiteX1782" fmla="*/ 1568700 w 2240198"/>
                <a:gd name="connsiteY1782" fmla="*/ 1253600 h 1729012"/>
                <a:gd name="connsiteX1783" fmla="*/ 1568543 w 2240198"/>
                <a:gd name="connsiteY1783" fmla="*/ 1252868 h 1729012"/>
                <a:gd name="connsiteX1784" fmla="*/ 1567532 w 2240198"/>
                <a:gd name="connsiteY1784" fmla="*/ 1251740 h 1729012"/>
                <a:gd name="connsiteX1785" fmla="*/ 1566525 w 2240198"/>
                <a:gd name="connsiteY1785" fmla="*/ 1253037 h 1729012"/>
                <a:gd name="connsiteX1786" fmla="*/ 1561819 w 2240198"/>
                <a:gd name="connsiteY1786" fmla="*/ 1261659 h 1729012"/>
                <a:gd name="connsiteX1787" fmla="*/ 1560605 w 2240198"/>
                <a:gd name="connsiteY1787" fmla="*/ 1263040 h 1729012"/>
                <a:gd name="connsiteX1788" fmla="*/ 1559596 w 2240198"/>
                <a:gd name="connsiteY1788" fmla="*/ 1263805 h 1729012"/>
                <a:gd name="connsiteX1789" fmla="*/ 1558794 w 2240198"/>
                <a:gd name="connsiteY1789" fmla="*/ 1263952 h 1729012"/>
                <a:gd name="connsiteX1790" fmla="*/ 1556792 w 2240198"/>
                <a:gd name="connsiteY1790" fmla="*/ 1263772 h 1729012"/>
                <a:gd name="connsiteX1791" fmla="*/ 1552759 w 2240198"/>
                <a:gd name="connsiteY1791" fmla="*/ 1266229 h 1729012"/>
                <a:gd name="connsiteX1792" fmla="*/ 1559536 w 2240198"/>
                <a:gd name="connsiteY1792" fmla="*/ 1256001 h 1729012"/>
                <a:gd name="connsiteX1793" fmla="*/ 1559607 w 2240198"/>
                <a:gd name="connsiteY1793" fmla="*/ 1255221 h 1729012"/>
                <a:gd name="connsiteX1794" fmla="*/ 1558338 w 2240198"/>
                <a:gd name="connsiteY1794" fmla="*/ 1254742 h 1729012"/>
                <a:gd name="connsiteX1795" fmla="*/ 1557836 w 2240198"/>
                <a:gd name="connsiteY1795" fmla="*/ 1255007 h 1729012"/>
                <a:gd name="connsiteX1796" fmla="*/ 1552344 w 2240198"/>
                <a:gd name="connsiteY1796" fmla="*/ 1261456 h 1729012"/>
                <a:gd name="connsiteX1797" fmla="*/ 1549214 w 2240198"/>
                <a:gd name="connsiteY1797" fmla="*/ 1263938 h 1729012"/>
                <a:gd name="connsiteX1798" fmla="*/ 1547110 w 2240198"/>
                <a:gd name="connsiteY1798" fmla="*/ 1263184 h 1729012"/>
                <a:gd name="connsiteX1799" fmla="*/ 1546585 w 2240198"/>
                <a:gd name="connsiteY1799" fmla="*/ 1262510 h 1729012"/>
                <a:gd name="connsiteX1800" fmla="*/ 1546774 w 2240198"/>
                <a:gd name="connsiteY1800" fmla="*/ 1261759 h 1729012"/>
                <a:gd name="connsiteX1801" fmla="*/ 1552118 w 2240198"/>
                <a:gd name="connsiteY1801" fmla="*/ 1255250 h 1729012"/>
                <a:gd name="connsiteX1802" fmla="*/ 1557030 w 2240198"/>
                <a:gd name="connsiteY1802" fmla="*/ 1250582 h 1729012"/>
                <a:gd name="connsiteX1803" fmla="*/ 1559084 w 2240198"/>
                <a:gd name="connsiteY1803" fmla="*/ 1247639 h 1729012"/>
                <a:gd name="connsiteX1804" fmla="*/ 1559919 w 2240198"/>
                <a:gd name="connsiteY1804" fmla="*/ 1244862 h 1729012"/>
                <a:gd name="connsiteX1805" fmla="*/ 1560286 w 2240198"/>
                <a:gd name="connsiteY1805" fmla="*/ 1242830 h 1729012"/>
                <a:gd name="connsiteX1806" fmla="*/ 1560260 w 2240198"/>
                <a:gd name="connsiteY1806" fmla="*/ 1240590 h 1729012"/>
                <a:gd name="connsiteX1807" fmla="*/ 1560514 w 2240198"/>
                <a:gd name="connsiteY1807" fmla="*/ 1239973 h 1729012"/>
                <a:gd name="connsiteX1808" fmla="*/ 1560800 w 2240198"/>
                <a:gd name="connsiteY1808" fmla="*/ 1240087 h 1729012"/>
                <a:gd name="connsiteX1809" fmla="*/ 1561113 w 2240198"/>
                <a:gd name="connsiteY1809" fmla="*/ 1240935 h 1729012"/>
                <a:gd name="connsiteX1810" fmla="*/ 1561196 w 2240198"/>
                <a:gd name="connsiteY1810" fmla="*/ 1243294 h 1729012"/>
                <a:gd name="connsiteX1811" fmla="*/ 1560074 w 2240198"/>
                <a:gd name="connsiteY1811" fmla="*/ 1248129 h 1729012"/>
                <a:gd name="connsiteX1812" fmla="*/ 1559173 w 2240198"/>
                <a:gd name="connsiteY1812" fmla="*/ 1250506 h 1729012"/>
                <a:gd name="connsiteX1813" fmla="*/ 1558098 w 2240198"/>
                <a:gd name="connsiteY1813" fmla="*/ 1252463 h 1729012"/>
                <a:gd name="connsiteX1814" fmla="*/ 1558551 w 2240198"/>
                <a:gd name="connsiteY1814" fmla="*/ 1252890 h 1729012"/>
                <a:gd name="connsiteX1815" fmla="*/ 1560529 w 2240198"/>
                <a:gd name="connsiteY1815" fmla="*/ 1251779 h 1729012"/>
                <a:gd name="connsiteX1816" fmla="*/ 1562195 w 2240198"/>
                <a:gd name="connsiteY1816" fmla="*/ 1249435 h 1729012"/>
                <a:gd name="connsiteX1817" fmla="*/ 1563545 w 2240198"/>
                <a:gd name="connsiteY1817" fmla="*/ 1245851 h 1729012"/>
                <a:gd name="connsiteX1818" fmla="*/ 1564409 w 2240198"/>
                <a:gd name="connsiteY1818" fmla="*/ 1242732 h 1729012"/>
                <a:gd name="connsiteX1819" fmla="*/ 1558132 w 2240198"/>
                <a:gd name="connsiteY1819" fmla="*/ 1230631 h 1729012"/>
                <a:gd name="connsiteX1820" fmla="*/ 1559188 w 2240198"/>
                <a:gd name="connsiteY1820" fmla="*/ 1231617 h 1729012"/>
                <a:gd name="connsiteX1821" fmla="*/ 1559699 w 2240198"/>
                <a:gd name="connsiteY1821" fmla="*/ 1232655 h 1729012"/>
                <a:gd name="connsiteX1822" fmla="*/ 1559924 w 2240198"/>
                <a:gd name="connsiteY1822" fmla="*/ 1233675 h 1729012"/>
                <a:gd name="connsiteX1823" fmla="*/ 1559863 w 2240198"/>
                <a:gd name="connsiteY1823" fmla="*/ 1234682 h 1729012"/>
                <a:gd name="connsiteX1824" fmla="*/ 1559561 w 2240198"/>
                <a:gd name="connsiteY1824" fmla="*/ 1235376 h 1729012"/>
                <a:gd name="connsiteX1825" fmla="*/ 1559011 w 2240198"/>
                <a:gd name="connsiteY1825" fmla="*/ 1235758 h 1729012"/>
                <a:gd name="connsiteX1826" fmla="*/ 1558117 w 2240198"/>
                <a:gd name="connsiteY1826" fmla="*/ 1236221 h 1729012"/>
                <a:gd name="connsiteX1827" fmla="*/ 1557510 w 2240198"/>
                <a:gd name="connsiteY1827" fmla="*/ 1236182 h 1729012"/>
                <a:gd name="connsiteX1828" fmla="*/ 1558186 w 2240198"/>
                <a:gd name="connsiteY1828" fmla="*/ 1232986 h 1729012"/>
                <a:gd name="connsiteX1829" fmla="*/ 1557400 w 2240198"/>
                <a:gd name="connsiteY1829" fmla="*/ 1231855 h 1729012"/>
                <a:gd name="connsiteX1830" fmla="*/ 1557354 w 2240198"/>
                <a:gd name="connsiteY1830" fmla="*/ 1231273 h 1729012"/>
                <a:gd name="connsiteX1831" fmla="*/ 1557695 w 2240198"/>
                <a:gd name="connsiteY1831" fmla="*/ 1230740 h 1729012"/>
                <a:gd name="connsiteX1832" fmla="*/ 1549376 w 2240198"/>
                <a:gd name="connsiteY1832" fmla="*/ 1228224 h 1729012"/>
                <a:gd name="connsiteX1833" fmla="*/ 1550330 w 2240198"/>
                <a:gd name="connsiteY1833" fmla="*/ 1228288 h 1729012"/>
                <a:gd name="connsiteX1834" fmla="*/ 1551189 w 2240198"/>
                <a:gd name="connsiteY1834" fmla="*/ 1229026 h 1729012"/>
                <a:gd name="connsiteX1835" fmla="*/ 1550977 w 2240198"/>
                <a:gd name="connsiteY1835" fmla="*/ 1230006 h 1729012"/>
                <a:gd name="connsiteX1836" fmla="*/ 1550166 w 2240198"/>
                <a:gd name="connsiteY1836" fmla="*/ 1231503 h 1729012"/>
                <a:gd name="connsiteX1837" fmla="*/ 1549469 w 2240198"/>
                <a:gd name="connsiteY1837" fmla="*/ 1232133 h 1729012"/>
                <a:gd name="connsiteX1838" fmla="*/ 1548223 w 2240198"/>
                <a:gd name="connsiteY1838" fmla="*/ 1231424 h 1729012"/>
                <a:gd name="connsiteX1839" fmla="*/ 1548171 w 2240198"/>
                <a:gd name="connsiteY1839" fmla="*/ 1229613 h 1729012"/>
                <a:gd name="connsiteX1840" fmla="*/ 2007055 w 2240198"/>
                <a:gd name="connsiteY1840" fmla="*/ 1202264 h 1729012"/>
                <a:gd name="connsiteX1841" fmla="*/ 2009711 w 2240198"/>
                <a:gd name="connsiteY1841" fmla="*/ 1203169 h 1729012"/>
                <a:gd name="connsiteX1842" fmla="*/ 2011843 w 2240198"/>
                <a:gd name="connsiteY1842" fmla="*/ 1204252 h 1729012"/>
                <a:gd name="connsiteX1843" fmla="*/ 2012401 w 2240198"/>
                <a:gd name="connsiteY1843" fmla="*/ 1208224 h 1729012"/>
                <a:gd name="connsiteX1844" fmla="*/ 2008400 w 2240198"/>
                <a:gd name="connsiteY1844" fmla="*/ 1207991 h 1729012"/>
                <a:gd name="connsiteX1845" fmla="*/ 2003830 w 2240198"/>
                <a:gd name="connsiteY1845" fmla="*/ 1205329 h 1729012"/>
                <a:gd name="connsiteX1846" fmla="*/ 2002924 w 2240198"/>
                <a:gd name="connsiteY1846" fmla="*/ 1203391 h 1729012"/>
                <a:gd name="connsiteX1847" fmla="*/ 2003025 w 2240198"/>
                <a:gd name="connsiteY1847" fmla="*/ 1203058 h 1729012"/>
                <a:gd name="connsiteX1848" fmla="*/ 2003633 w 2240198"/>
                <a:gd name="connsiteY1848" fmla="*/ 1202724 h 1729012"/>
                <a:gd name="connsiteX1849" fmla="*/ 2004793 w 2240198"/>
                <a:gd name="connsiteY1849" fmla="*/ 1203186 h 1729012"/>
                <a:gd name="connsiteX1850" fmla="*/ 2005921 w 2240198"/>
                <a:gd name="connsiteY1850" fmla="*/ 1202491 h 1729012"/>
                <a:gd name="connsiteX1851" fmla="*/ 1553321 w 2240198"/>
                <a:gd name="connsiteY1851" fmla="*/ 1201218 h 1729012"/>
                <a:gd name="connsiteX1852" fmla="*/ 1553723 w 2240198"/>
                <a:gd name="connsiteY1852" fmla="*/ 1201341 h 1729012"/>
                <a:gd name="connsiteX1853" fmla="*/ 1554059 w 2240198"/>
                <a:gd name="connsiteY1853" fmla="*/ 1203153 h 1729012"/>
                <a:gd name="connsiteX1854" fmla="*/ 1553982 w 2240198"/>
                <a:gd name="connsiteY1854" fmla="*/ 1204595 h 1729012"/>
                <a:gd name="connsiteX1855" fmla="*/ 1553583 w 2240198"/>
                <a:gd name="connsiteY1855" fmla="*/ 1204888 h 1729012"/>
                <a:gd name="connsiteX1856" fmla="*/ 1552494 w 2240198"/>
                <a:gd name="connsiteY1856" fmla="*/ 1204634 h 1729012"/>
                <a:gd name="connsiteX1857" fmla="*/ 1552067 w 2240198"/>
                <a:gd name="connsiteY1857" fmla="*/ 1207038 h 1729012"/>
                <a:gd name="connsiteX1858" fmla="*/ 1551651 w 2240198"/>
                <a:gd name="connsiteY1858" fmla="*/ 1207263 h 1729012"/>
                <a:gd name="connsiteX1859" fmla="*/ 1550895 w 2240198"/>
                <a:gd name="connsiteY1859" fmla="*/ 1205782 h 1729012"/>
                <a:gd name="connsiteX1860" fmla="*/ 1551462 w 2240198"/>
                <a:gd name="connsiteY1860" fmla="*/ 1204515 h 1729012"/>
                <a:gd name="connsiteX1861" fmla="*/ 1551379 w 2240198"/>
                <a:gd name="connsiteY1861" fmla="*/ 1203642 h 1729012"/>
                <a:gd name="connsiteX1862" fmla="*/ 1551590 w 2240198"/>
                <a:gd name="connsiteY1862" fmla="*/ 1202997 h 1729012"/>
                <a:gd name="connsiteX1863" fmla="*/ 1552680 w 2240198"/>
                <a:gd name="connsiteY1863" fmla="*/ 1201555 h 1729012"/>
                <a:gd name="connsiteX1864" fmla="*/ 1820765 w 2240198"/>
                <a:gd name="connsiteY1864" fmla="*/ 1144342 h 1729012"/>
                <a:gd name="connsiteX1865" fmla="*/ 1820800 w 2240198"/>
                <a:gd name="connsiteY1865" fmla="*/ 1146337 h 1729012"/>
                <a:gd name="connsiteX1866" fmla="*/ 1821134 w 2240198"/>
                <a:gd name="connsiteY1866" fmla="*/ 1147087 h 1729012"/>
                <a:gd name="connsiteX1867" fmla="*/ 1821779 w 2240198"/>
                <a:gd name="connsiteY1867" fmla="*/ 1147429 h 1729012"/>
                <a:gd name="connsiteX1868" fmla="*/ 1821655 w 2240198"/>
                <a:gd name="connsiteY1868" fmla="*/ 1148300 h 1729012"/>
                <a:gd name="connsiteX1869" fmla="*/ 1820114 w 2240198"/>
                <a:gd name="connsiteY1869" fmla="*/ 1151012 h 1729012"/>
                <a:gd name="connsiteX1870" fmla="*/ 1818064 w 2240198"/>
                <a:gd name="connsiteY1870" fmla="*/ 1150675 h 1729012"/>
                <a:gd name="connsiteX1871" fmla="*/ 1817326 w 2240198"/>
                <a:gd name="connsiteY1871" fmla="*/ 1151234 h 1729012"/>
                <a:gd name="connsiteX1872" fmla="*/ 1816768 w 2240198"/>
                <a:gd name="connsiteY1872" fmla="*/ 1151267 h 1729012"/>
                <a:gd name="connsiteX1873" fmla="*/ 1817694 w 2240198"/>
                <a:gd name="connsiteY1873" fmla="*/ 1148721 h 1729012"/>
                <a:gd name="connsiteX1874" fmla="*/ 1817815 w 2240198"/>
                <a:gd name="connsiteY1874" fmla="*/ 1147009 h 1729012"/>
                <a:gd name="connsiteX1875" fmla="*/ 1817347 w 2240198"/>
                <a:gd name="connsiteY1875" fmla="*/ 1145273 h 1729012"/>
                <a:gd name="connsiteX1876" fmla="*/ 1818025 w 2240198"/>
                <a:gd name="connsiteY1876" fmla="*/ 1144389 h 1729012"/>
                <a:gd name="connsiteX1877" fmla="*/ 1541469 w 2240198"/>
                <a:gd name="connsiteY1877" fmla="*/ 1122610 h 1729012"/>
                <a:gd name="connsiteX1878" fmla="*/ 1542553 w 2240198"/>
                <a:gd name="connsiteY1878" fmla="*/ 1123204 h 1729012"/>
                <a:gd name="connsiteX1879" fmla="*/ 1542152 w 2240198"/>
                <a:gd name="connsiteY1879" fmla="*/ 1124162 h 1729012"/>
                <a:gd name="connsiteX1880" fmla="*/ 1540695 w 2240198"/>
                <a:gd name="connsiteY1880" fmla="*/ 1125616 h 1729012"/>
                <a:gd name="connsiteX1881" fmla="*/ 1539561 w 2240198"/>
                <a:gd name="connsiteY1881" fmla="*/ 1126399 h 1729012"/>
                <a:gd name="connsiteX1882" fmla="*/ 1538749 w 2240198"/>
                <a:gd name="connsiteY1882" fmla="*/ 1126515 h 1729012"/>
                <a:gd name="connsiteX1883" fmla="*/ 1538561 w 2240198"/>
                <a:gd name="connsiteY1883" fmla="*/ 1126057 h 1729012"/>
                <a:gd name="connsiteX1884" fmla="*/ 1539213 w 2240198"/>
                <a:gd name="connsiteY1884" fmla="*/ 1124513 h 1729012"/>
                <a:gd name="connsiteX1885" fmla="*/ 1540286 w 2240198"/>
                <a:gd name="connsiteY1885" fmla="*/ 1124326 h 1729012"/>
                <a:gd name="connsiteX1886" fmla="*/ 1547912 w 2240198"/>
                <a:gd name="connsiteY1886" fmla="*/ 1116856 h 1729012"/>
                <a:gd name="connsiteX1887" fmla="*/ 1549364 w 2240198"/>
                <a:gd name="connsiteY1887" fmla="*/ 1117756 h 1729012"/>
                <a:gd name="connsiteX1888" fmla="*/ 1548071 w 2240198"/>
                <a:gd name="connsiteY1888" fmla="*/ 1119389 h 1729012"/>
                <a:gd name="connsiteX1889" fmla="*/ 1545165 w 2240198"/>
                <a:gd name="connsiteY1889" fmla="*/ 1120868 h 1729012"/>
                <a:gd name="connsiteX1890" fmla="*/ 1542556 w 2240198"/>
                <a:gd name="connsiteY1890" fmla="*/ 1121129 h 1729012"/>
                <a:gd name="connsiteX1891" fmla="*/ 1543695 w 2240198"/>
                <a:gd name="connsiteY1891" fmla="*/ 1118888 h 1729012"/>
                <a:gd name="connsiteX1892" fmla="*/ 1544673 w 2240198"/>
                <a:gd name="connsiteY1892" fmla="*/ 1117805 h 1729012"/>
                <a:gd name="connsiteX1893" fmla="*/ 1545750 w 2240198"/>
                <a:gd name="connsiteY1893" fmla="*/ 1117112 h 1729012"/>
                <a:gd name="connsiteX1894" fmla="*/ 1936108 w 2240198"/>
                <a:gd name="connsiteY1894" fmla="*/ 1092618 h 1729012"/>
                <a:gd name="connsiteX1895" fmla="*/ 1938993 w 2240198"/>
                <a:gd name="connsiteY1895" fmla="*/ 1095413 h 1729012"/>
                <a:gd name="connsiteX1896" fmla="*/ 1939822 w 2240198"/>
                <a:gd name="connsiteY1896" fmla="*/ 1095839 h 1729012"/>
                <a:gd name="connsiteX1897" fmla="*/ 1942175 w 2240198"/>
                <a:gd name="connsiteY1897" fmla="*/ 1098247 h 1729012"/>
                <a:gd name="connsiteX1898" fmla="*/ 1941290 w 2240198"/>
                <a:gd name="connsiteY1898" fmla="*/ 1100885 h 1729012"/>
                <a:gd name="connsiteX1899" fmla="*/ 1938342 w 2240198"/>
                <a:gd name="connsiteY1899" fmla="*/ 1099917 h 1729012"/>
                <a:gd name="connsiteX1900" fmla="*/ 1933785 w 2240198"/>
                <a:gd name="connsiteY1900" fmla="*/ 1097922 h 1729012"/>
                <a:gd name="connsiteX1901" fmla="*/ 1931983 w 2240198"/>
                <a:gd name="connsiteY1901" fmla="*/ 1096596 h 1729012"/>
                <a:gd name="connsiteX1902" fmla="*/ 1931354 w 2240198"/>
                <a:gd name="connsiteY1902" fmla="*/ 1095144 h 1729012"/>
                <a:gd name="connsiteX1903" fmla="*/ 1931287 w 2240198"/>
                <a:gd name="connsiteY1903" fmla="*/ 1093136 h 1729012"/>
                <a:gd name="connsiteX1904" fmla="*/ 1932653 w 2240198"/>
                <a:gd name="connsiteY1904" fmla="*/ 1092808 h 1729012"/>
                <a:gd name="connsiteX1905" fmla="*/ 1848848 w 2240198"/>
                <a:gd name="connsiteY1905" fmla="*/ 1089819 h 1729012"/>
                <a:gd name="connsiteX1906" fmla="*/ 1851627 w 2240198"/>
                <a:gd name="connsiteY1906" fmla="*/ 1090485 h 1729012"/>
                <a:gd name="connsiteX1907" fmla="*/ 1853245 w 2240198"/>
                <a:gd name="connsiteY1907" fmla="*/ 1091654 h 1729012"/>
                <a:gd name="connsiteX1908" fmla="*/ 1854935 w 2240198"/>
                <a:gd name="connsiteY1908" fmla="*/ 1093603 h 1729012"/>
                <a:gd name="connsiteX1909" fmla="*/ 1855663 w 2240198"/>
                <a:gd name="connsiteY1909" fmla="*/ 1095104 h 1729012"/>
                <a:gd name="connsiteX1910" fmla="*/ 1855020 w 2240198"/>
                <a:gd name="connsiteY1910" fmla="*/ 1097311 h 1729012"/>
                <a:gd name="connsiteX1911" fmla="*/ 1853039 w 2240198"/>
                <a:gd name="connsiteY1911" fmla="*/ 1099283 h 1729012"/>
                <a:gd name="connsiteX1912" fmla="*/ 1850758 w 2240198"/>
                <a:gd name="connsiteY1912" fmla="*/ 1100626 h 1729012"/>
                <a:gd name="connsiteX1913" fmla="*/ 1845142 w 2240198"/>
                <a:gd name="connsiteY1913" fmla="*/ 1103051 h 1729012"/>
                <a:gd name="connsiteX1914" fmla="*/ 1842852 w 2240198"/>
                <a:gd name="connsiteY1914" fmla="*/ 1103355 h 1729012"/>
                <a:gd name="connsiteX1915" fmla="*/ 1841809 w 2240198"/>
                <a:gd name="connsiteY1915" fmla="*/ 1102551 h 1729012"/>
                <a:gd name="connsiteX1916" fmla="*/ 1841742 w 2240198"/>
                <a:gd name="connsiteY1916" fmla="*/ 1100240 h 1729012"/>
                <a:gd name="connsiteX1917" fmla="*/ 1842492 w 2240198"/>
                <a:gd name="connsiteY1917" fmla="*/ 1098495 h 1729012"/>
                <a:gd name="connsiteX1918" fmla="*/ 1845117 w 2240198"/>
                <a:gd name="connsiteY1918" fmla="*/ 1094873 h 1729012"/>
                <a:gd name="connsiteX1919" fmla="*/ 1847472 w 2240198"/>
                <a:gd name="connsiteY1919" fmla="*/ 1090806 h 1729012"/>
                <a:gd name="connsiteX1920" fmla="*/ 1591378 w 2240198"/>
                <a:gd name="connsiteY1920" fmla="*/ 1080975 h 1729012"/>
                <a:gd name="connsiteX1921" fmla="*/ 1590435 w 2240198"/>
                <a:gd name="connsiteY1921" fmla="*/ 1082310 h 1729012"/>
                <a:gd name="connsiteX1922" fmla="*/ 1588063 w 2240198"/>
                <a:gd name="connsiteY1922" fmla="*/ 1083363 h 1729012"/>
                <a:gd name="connsiteX1923" fmla="*/ 1584026 w 2240198"/>
                <a:gd name="connsiteY1923" fmla="*/ 1084431 h 1729012"/>
                <a:gd name="connsiteX1924" fmla="*/ 1580546 w 2240198"/>
                <a:gd name="connsiteY1924" fmla="*/ 1084877 h 1729012"/>
                <a:gd name="connsiteX1925" fmla="*/ 1580540 w 2240198"/>
                <a:gd name="connsiteY1925" fmla="*/ 1084324 h 1729012"/>
                <a:gd name="connsiteX1926" fmla="*/ 1581987 w 2240198"/>
                <a:gd name="connsiteY1926" fmla="*/ 1082753 h 1729012"/>
                <a:gd name="connsiteX1927" fmla="*/ 1587375 w 2240198"/>
                <a:gd name="connsiteY1927" fmla="*/ 1081380 h 1729012"/>
                <a:gd name="connsiteX1928" fmla="*/ 1923849 w 2240198"/>
                <a:gd name="connsiteY1928" fmla="*/ 1047462 h 1729012"/>
                <a:gd name="connsiteX1929" fmla="*/ 1928295 w 2240198"/>
                <a:gd name="connsiteY1929" fmla="*/ 1047485 h 1729012"/>
                <a:gd name="connsiteX1930" fmla="*/ 1932474 w 2240198"/>
                <a:gd name="connsiteY1930" fmla="*/ 1048376 h 1729012"/>
                <a:gd name="connsiteX1931" fmla="*/ 1933319 w 2240198"/>
                <a:gd name="connsiteY1931" fmla="*/ 1049332 h 1729012"/>
                <a:gd name="connsiteX1932" fmla="*/ 1935518 w 2240198"/>
                <a:gd name="connsiteY1932" fmla="*/ 1051067 h 1729012"/>
                <a:gd name="connsiteX1933" fmla="*/ 1934976 w 2240198"/>
                <a:gd name="connsiteY1933" fmla="*/ 1053152 h 1729012"/>
                <a:gd name="connsiteX1934" fmla="*/ 1934838 w 2240198"/>
                <a:gd name="connsiteY1934" fmla="*/ 1055785 h 1729012"/>
                <a:gd name="connsiteX1935" fmla="*/ 1933928 w 2240198"/>
                <a:gd name="connsiteY1935" fmla="*/ 1057067 h 1729012"/>
                <a:gd name="connsiteX1936" fmla="*/ 1932526 w 2240198"/>
                <a:gd name="connsiteY1936" fmla="*/ 1058041 h 1729012"/>
                <a:gd name="connsiteX1937" fmla="*/ 1931384 w 2240198"/>
                <a:gd name="connsiteY1937" fmla="*/ 1059870 h 1729012"/>
                <a:gd name="connsiteX1938" fmla="*/ 1930771 w 2240198"/>
                <a:gd name="connsiteY1938" fmla="*/ 1060321 h 1729012"/>
                <a:gd name="connsiteX1939" fmla="*/ 1930188 w 2240198"/>
                <a:gd name="connsiteY1939" fmla="*/ 1060219 h 1729012"/>
                <a:gd name="connsiteX1940" fmla="*/ 1928300 w 2240198"/>
                <a:gd name="connsiteY1940" fmla="*/ 1058154 h 1729012"/>
                <a:gd name="connsiteX1941" fmla="*/ 1925761 w 2240198"/>
                <a:gd name="connsiteY1941" fmla="*/ 1057316 h 1729012"/>
                <a:gd name="connsiteX1942" fmla="*/ 1924819 w 2240198"/>
                <a:gd name="connsiteY1942" fmla="*/ 1056503 h 1729012"/>
                <a:gd name="connsiteX1943" fmla="*/ 1917152 w 2240198"/>
                <a:gd name="connsiteY1943" fmla="*/ 1052239 h 1729012"/>
                <a:gd name="connsiteX1944" fmla="*/ 1916318 w 2240198"/>
                <a:gd name="connsiteY1944" fmla="*/ 1050367 h 1729012"/>
                <a:gd name="connsiteX1945" fmla="*/ 1916182 w 2240198"/>
                <a:gd name="connsiteY1945" fmla="*/ 1048870 h 1729012"/>
                <a:gd name="connsiteX1946" fmla="*/ 1918730 w 2240198"/>
                <a:gd name="connsiteY1946" fmla="*/ 1048141 h 1729012"/>
                <a:gd name="connsiteX1947" fmla="*/ 1215239 w 2240198"/>
                <a:gd name="connsiteY1947" fmla="*/ 1037739 h 1729012"/>
                <a:gd name="connsiteX1948" fmla="*/ 1217338 w 2240198"/>
                <a:gd name="connsiteY1948" fmla="*/ 1039508 h 1729012"/>
                <a:gd name="connsiteX1949" fmla="*/ 1217162 w 2240198"/>
                <a:gd name="connsiteY1949" fmla="*/ 1040376 h 1729012"/>
                <a:gd name="connsiteX1950" fmla="*/ 1216046 w 2240198"/>
                <a:gd name="connsiteY1950" fmla="*/ 1041289 h 1729012"/>
                <a:gd name="connsiteX1951" fmla="*/ 1215010 w 2240198"/>
                <a:gd name="connsiteY1951" fmla="*/ 1041382 h 1729012"/>
                <a:gd name="connsiteX1952" fmla="*/ 1212684 w 2240198"/>
                <a:gd name="connsiteY1952" fmla="*/ 1039390 h 1729012"/>
                <a:gd name="connsiteX1953" fmla="*/ 1212174 w 2240198"/>
                <a:gd name="connsiteY1953" fmla="*/ 1038381 h 1729012"/>
                <a:gd name="connsiteX1954" fmla="*/ 1922730 w 2240198"/>
                <a:gd name="connsiteY1954" fmla="*/ 1037418 h 1729012"/>
                <a:gd name="connsiteX1955" fmla="*/ 1923954 w 2240198"/>
                <a:gd name="connsiteY1955" fmla="*/ 1037456 h 1729012"/>
                <a:gd name="connsiteX1956" fmla="*/ 1925406 w 2240198"/>
                <a:gd name="connsiteY1956" fmla="*/ 1038090 h 1729012"/>
                <a:gd name="connsiteX1957" fmla="*/ 1926365 w 2240198"/>
                <a:gd name="connsiteY1957" fmla="*/ 1039925 h 1729012"/>
                <a:gd name="connsiteX1958" fmla="*/ 1926936 w 2240198"/>
                <a:gd name="connsiteY1958" fmla="*/ 1040268 h 1729012"/>
                <a:gd name="connsiteX1959" fmla="*/ 1927620 w 2240198"/>
                <a:gd name="connsiteY1959" fmla="*/ 1039864 h 1729012"/>
                <a:gd name="connsiteX1960" fmla="*/ 1928140 w 2240198"/>
                <a:gd name="connsiteY1960" fmla="*/ 1040213 h 1729012"/>
                <a:gd name="connsiteX1961" fmla="*/ 1928492 w 2240198"/>
                <a:gd name="connsiteY1961" fmla="*/ 1041318 h 1729012"/>
                <a:gd name="connsiteX1962" fmla="*/ 1929079 w 2240198"/>
                <a:gd name="connsiteY1962" fmla="*/ 1042084 h 1729012"/>
                <a:gd name="connsiteX1963" fmla="*/ 1930559 w 2240198"/>
                <a:gd name="connsiteY1963" fmla="*/ 1043082 h 1729012"/>
                <a:gd name="connsiteX1964" fmla="*/ 1931057 w 2240198"/>
                <a:gd name="connsiteY1964" fmla="*/ 1043794 h 1729012"/>
                <a:gd name="connsiteX1965" fmla="*/ 1931017 w 2240198"/>
                <a:gd name="connsiteY1965" fmla="*/ 1044509 h 1729012"/>
                <a:gd name="connsiteX1966" fmla="*/ 1929762 w 2240198"/>
                <a:gd name="connsiteY1966" fmla="*/ 1045609 h 1729012"/>
                <a:gd name="connsiteX1967" fmla="*/ 1928972 w 2240198"/>
                <a:gd name="connsiteY1967" fmla="*/ 1045639 h 1729012"/>
                <a:gd name="connsiteX1968" fmla="*/ 1922932 w 2240198"/>
                <a:gd name="connsiteY1968" fmla="*/ 1043101 h 1729012"/>
                <a:gd name="connsiteX1969" fmla="*/ 1921301 w 2240198"/>
                <a:gd name="connsiteY1969" fmla="*/ 1040512 h 1729012"/>
                <a:gd name="connsiteX1970" fmla="*/ 1921172 w 2240198"/>
                <a:gd name="connsiteY1970" fmla="*/ 1039197 h 1729012"/>
                <a:gd name="connsiteX1971" fmla="*/ 1921801 w 2240198"/>
                <a:gd name="connsiteY1971" fmla="*/ 1037998 h 1729012"/>
                <a:gd name="connsiteX1972" fmla="*/ 1556997 w 2240198"/>
                <a:gd name="connsiteY1972" fmla="*/ 1018976 h 1729012"/>
                <a:gd name="connsiteX1973" fmla="*/ 1558323 w 2240198"/>
                <a:gd name="connsiteY1973" fmla="*/ 1019036 h 1729012"/>
                <a:gd name="connsiteX1974" fmla="*/ 1560329 w 2240198"/>
                <a:gd name="connsiteY1974" fmla="*/ 1020107 h 1729012"/>
                <a:gd name="connsiteX1975" fmla="*/ 1563630 w 2240198"/>
                <a:gd name="connsiteY1975" fmla="*/ 1023680 h 1729012"/>
                <a:gd name="connsiteX1976" fmla="*/ 1564887 w 2240198"/>
                <a:gd name="connsiteY1976" fmla="*/ 1025489 h 1729012"/>
                <a:gd name="connsiteX1977" fmla="*/ 1565253 w 2240198"/>
                <a:gd name="connsiteY1977" fmla="*/ 1027911 h 1729012"/>
                <a:gd name="connsiteX1978" fmla="*/ 1564380 w 2240198"/>
                <a:gd name="connsiteY1978" fmla="*/ 1031145 h 1729012"/>
                <a:gd name="connsiteX1979" fmla="*/ 1563938 w 2240198"/>
                <a:gd name="connsiteY1979" fmla="*/ 1034178 h 1729012"/>
                <a:gd name="connsiteX1980" fmla="*/ 1562712 w 2240198"/>
                <a:gd name="connsiteY1980" fmla="*/ 1036459 h 1729012"/>
                <a:gd name="connsiteX1981" fmla="*/ 1560432 w 2240198"/>
                <a:gd name="connsiteY1981" fmla="*/ 1039338 h 1729012"/>
                <a:gd name="connsiteX1982" fmla="*/ 1558412 w 2240198"/>
                <a:gd name="connsiteY1982" fmla="*/ 1042698 h 1729012"/>
                <a:gd name="connsiteX1983" fmla="*/ 1556649 w 2240198"/>
                <a:gd name="connsiteY1983" fmla="*/ 1046532 h 1729012"/>
                <a:gd name="connsiteX1984" fmla="*/ 1555194 w 2240198"/>
                <a:gd name="connsiteY1984" fmla="*/ 1049068 h 1729012"/>
                <a:gd name="connsiteX1985" fmla="*/ 1554039 w 2240198"/>
                <a:gd name="connsiteY1985" fmla="*/ 1050309 h 1729012"/>
                <a:gd name="connsiteX1986" fmla="*/ 1552795 w 2240198"/>
                <a:gd name="connsiteY1986" fmla="*/ 1050953 h 1729012"/>
                <a:gd name="connsiteX1987" fmla="*/ 1551457 w 2240198"/>
                <a:gd name="connsiteY1987" fmla="*/ 1051005 h 1729012"/>
                <a:gd name="connsiteX1988" fmla="*/ 1549423 w 2240198"/>
                <a:gd name="connsiteY1988" fmla="*/ 1049625 h 1729012"/>
                <a:gd name="connsiteX1989" fmla="*/ 1546689 w 2240198"/>
                <a:gd name="connsiteY1989" fmla="*/ 1046808 h 1729012"/>
                <a:gd name="connsiteX1990" fmla="*/ 1544462 w 2240198"/>
                <a:gd name="connsiteY1990" fmla="*/ 1045082 h 1729012"/>
                <a:gd name="connsiteX1991" fmla="*/ 1541598 w 2240198"/>
                <a:gd name="connsiteY1991" fmla="*/ 1043898 h 1729012"/>
                <a:gd name="connsiteX1992" fmla="*/ 1540070 w 2240198"/>
                <a:gd name="connsiteY1992" fmla="*/ 1042299 h 1729012"/>
                <a:gd name="connsiteX1993" fmla="*/ 1539791 w 2240198"/>
                <a:gd name="connsiteY1993" fmla="*/ 1040724 h 1729012"/>
                <a:gd name="connsiteX1994" fmla="*/ 1539698 w 2240198"/>
                <a:gd name="connsiteY1994" fmla="*/ 1035609 h 1729012"/>
                <a:gd name="connsiteX1995" fmla="*/ 1539819 w 2240198"/>
                <a:gd name="connsiteY1995" fmla="*/ 1033060 h 1729012"/>
                <a:gd name="connsiteX1996" fmla="*/ 1540201 w 2240198"/>
                <a:gd name="connsiteY1996" fmla="*/ 1030928 h 1729012"/>
                <a:gd name="connsiteX1997" fmla="*/ 1540844 w 2240198"/>
                <a:gd name="connsiteY1997" fmla="*/ 1029217 h 1729012"/>
                <a:gd name="connsiteX1998" fmla="*/ 1542267 w 2240198"/>
                <a:gd name="connsiteY1998" fmla="*/ 1026859 h 1729012"/>
                <a:gd name="connsiteX1999" fmla="*/ 1546247 w 2240198"/>
                <a:gd name="connsiteY1999" fmla="*/ 1021742 h 1729012"/>
                <a:gd name="connsiteX2000" fmla="*/ 1548652 w 2240198"/>
                <a:gd name="connsiteY2000" fmla="*/ 1019778 h 1729012"/>
                <a:gd name="connsiteX2001" fmla="*/ 1550139 w 2240198"/>
                <a:gd name="connsiteY2001" fmla="*/ 1019326 h 1729012"/>
                <a:gd name="connsiteX2002" fmla="*/ 1554083 w 2240198"/>
                <a:gd name="connsiteY2002" fmla="*/ 1019694 h 1729012"/>
                <a:gd name="connsiteX2003" fmla="*/ 1555680 w 2240198"/>
                <a:gd name="connsiteY2003" fmla="*/ 1019564 h 1729012"/>
                <a:gd name="connsiteX2004" fmla="*/ 1931607 w 2240198"/>
                <a:gd name="connsiteY2004" fmla="*/ 1013237 h 1729012"/>
                <a:gd name="connsiteX2005" fmla="*/ 1936476 w 2240198"/>
                <a:gd name="connsiteY2005" fmla="*/ 1013661 h 1729012"/>
                <a:gd name="connsiteX2006" fmla="*/ 1939430 w 2240198"/>
                <a:gd name="connsiteY2006" fmla="*/ 1013510 h 1729012"/>
                <a:gd name="connsiteX2007" fmla="*/ 1940705 w 2240198"/>
                <a:gd name="connsiteY2007" fmla="*/ 1014137 h 1729012"/>
                <a:gd name="connsiteX2008" fmla="*/ 1941896 w 2240198"/>
                <a:gd name="connsiteY2008" fmla="*/ 1016052 h 1729012"/>
                <a:gd name="connsiteX2009" fmla="*/ 1940368 w 2240198"/>
                <a:gd name="connsiteY2009" fmla="*/ 1018793 h 1729012"/>
                <a:gd name="connsiteX2010" fmla="*/ 1938639 w 2240198"/>
                <a:gd name="connsiteY2010" fmla="*/ 1019836 h 1729012"/>
                <a:gd name="connsiteX2011" fmla="*/ 1935827 w 2240198"/>
                <a:gd name="connsiteY2011" fmla="*/ 1020143 h 1729012"/>
                <a:gd name="connsiteX2012" fmla="*/ 1931265 w 2240198"/>
                <a:gd name="connsiteY2012" fmla="*/ 1019251 h 1729012"/>
                <a:gd name="connsiteX2013" fmla="*/ 1929645 w 2240198"/>
                <a:gd name="connsiteY2013" fmla="*/ 1018668 h 1729012"/>
                <a:gd name="connsiteX2014" fmla="*/ 1928243 w 2240198"/>
                <a:gd name="connsiteY2014" fmla="*/ 1017198 h 1729012"/>
                <a:gd name="connsiteX2015" fmla="*/ 1928896 w 2240198"/>
                <a:gd name="connsiteY2015" fmla="*/ 1016146 h 1729012"/>
                <a:gd name="connsiteX2016" fmla="*/ 1931148 w 2240198"/>
                <a:gd name="connsiteY2016" fmla="*/ 1015786 h 1729012"/>
                <a:gd name="connsiteX2017" fmla="*/ 1931524 w 2240198"/>
                <a:gd name="connsiteY2017" fmla="*/ 1015359 h 1729012"/>
                <a:gd name="connsiteX2018" fmla="*/ 1930947 w 2240198"/>
                <a:gd name="connsiteY2018" fmla="*/ 1014551 h 1729012"/>
                <a:gd name="connsiteX2019" fmla="*/ 1930975 w 2240198"/>
                <a:gd name="connsiteY2019" fmla="*/ 1013846 h 1729012"/>
                <a:gd name="connsiteX2020" fmla="*/ 1684626 w 2240198"/>
                <a:gd name="connsiteY2020" fmla="*/ 1006334 h 1729012"/>
                <a:gd name="connsiteX2021" fmla="*/ 1686231 w 2240198"/>
                <a:gd name="connsiteY2021" fmla="*/ 1006604 h 1729012"/>
                <a:gd name="connsiteX2022" fmla="*/ 1688922 w 2240198"/>
                <a:gd name="connsiteY2022" fmla="*/ 1007819 h 1729012"/>
                <a:gd name="connsiteX2023" fmla="*/ 1696170 w 2240198"/>
                <a:gd name="connsiteY2023" fmla="*/ 1008432 h 1729012"/>
                <a:gd name="connsiteX2024" fmla="*/ 1698506 w 2240198"/>
                <a:gd name="connsiteY2024" fmla="*/ 1009129 h 1729012"/>
                <a:gd name="connsiteX2025" fmla="*/ 1699232 w 2240198"/>
                <a:gd name="connsiteY2025" fmla="*/ 1010181 h 1729012"/>
                <a:gd name="connsiteX2026" fmla="*/ 1698921 w 2240198"/>
                <a:gd name="connsiteY2026" fmla="*/ 1010880 h 1729012"/>
                <a:gd name="connsiteX2027" fmla="*/ 1697574 w 2240198"/>
                <a:gd name="connsiteY2027" fmla="*/ 1011225 h 1729012"/>
                <a:gd name="connsiteX2028" fmla="*/ 1692504 w 2240198"/>
                <a:gd name="connsiteY2028" fmla="*/ 1010739 h 1729012"/>
                <a:gd name="connsiteX2029" fmla="*/ 1686267 w 2240198"/>
                <a:gd name="connsiteY2029" fmla="*/ 1008888 h 1729012"/>
                <a:gd name="connsiteX2030" fmla="*/ 1683047 w 2240198"/>
                <a:gd name="connsiteY2030" fmla="*/ 1007148 h 1729012"/>
                <a:gd name="connsiteX2031" fmla="*/ 1683212 w 2240198"/>
                <a:gd name="connsiteY2031" fmla="*/ 1006610 h 1729012"/>
                <a:gd name="connsiteX2032" fmla="*/ 1771582 w 2240198"/>
                <a:gd name="connsiteY2032" fmla="*/ 1000598 h 1729012"/>
                <a:gd name="connsiteX2033" fmla="*/ 1774655 w 2240198"/>
                <a:gd name="connsiteY2033" fmla="*/ 1001100 h 1729012"/>
                <a:gd name="connsiteX2034" fmla="*/ 1779195 w 2240198"/>
                <a:gd name="connsiteY2034" fmla="*/ 1002102 h 1729012"/>
                <a:gd name="connsiteX2035" fmla="*/ 1783260 w 2240198"/>
                <a:gd name="connsiteY2035" fmla="*/ 1003412 h 1729012"/>
                <a:gd name="connsiteX2036" fmla="*/ 1789134 w 2240198"/>
                <a:gd name="connsiteY2036" fmla="*/ 1006316 h 1729012"/>
                <a:gd name="connsiteX2037" fmla="*/ 1791056 w 2240198"/>
                <a:gd name="connsiteY2037" fmla="*/ 1009005 h 1729012"/>
                <a:gd name="connsiteX2038" fmla="*/ 1792965 w 2240198"/>
                <a:gd name="connsiteY2038" fmla="*/ 1010976 h 1729012"/>
                <a:gd name="connsiteX2039" fmla="*/ 1793541 w 2240198"/>
                <a:gd name="connsiteY2039" fmla="*/ 1012474 h 1729012"/>
                <a:gd name="connsiteX2040" fmla="*/ 1793040 w 2240198"/>
                <a:gd name="connsiteY2040" fmla="*/ 1013125 h 1729012"/>
                <a:gd name="connsiteX2041" fmla="*/ 1791811 w 2240198"/>
                <a:gd name="connsiteY2041" fmla="*/ 1013633 h 1729012"/>
                <a:gd name="connsiteX2042" fmla="*/ 1790054 w 2240198"/>
                <a:gd name="connsiteY2042" fmla="*/ 1013787 h 1729012"/>
                <a:gd name="connsiteX2043" fmla="*/ 1786628 w 2240198"/>
                <a:gd name="connsiteY2043" fmla="*/ 1013490 h 1729012"/>
                <a:gd name="connsiteX2044" fmla="*/ 1782949 w 2240198"/>
                <a:gd name="connsiteY2044" fmla="*/ 1012667 h 1729012"/>
                <a:gd name="connsiteX2045" fmla="*/ 1780933 w 2240198"/>
                <a:gd name="connsiteY2045" fmla="*/ 1011731 h 1729012"/>
                <a:gd name="connsiteX2046" fmla="*/ 1779120 w 2240198"/>
                <a:gd name="connsiteY2046" fmla="*/ 1009707 h 1729012"/>
                <a:gd name="connsiteX2047" fmla="*/ 1778773 w 2240198"/>
                <a:gd name="connsiteY2047" fmla="*/ 1007481 h 1729012"/>
                <a:gd name="connsiteX2048" fmla="*/ 1775353 w 2240198"/>
                <a:gd name="connsiteY2048" fmla="*/ 1004176 h 1729012"/>
                <a:gd name="connsiteX2049" fmla="*/ 1771530 w 2240198"/>
                <a:gd name="connsiteY2049" fmla="*/ 1003060 h 1729012"/>
                <a:gd name="connsiteX2050" fmla="*/ 1769420 w 2240198"/>
                <a:gd name="connsiteY2050" fmla="*/ 1000759 h 1729012"/>
                <a:gd name="connsiteX2051" fmla="*/ 1492804 w 2240198"/>
                <a:gd name="connsiteY2051" fmla="*/ 996636 h 1729012"/>
                <a:gd name="connsiteX2052" fmla="*/ 1494874 w 2240198"/>
                <a:gd name="connsiteY2052" fmla="*/ 996919 h 1729012"/>
                <a:gd name="connsiteX2053" fmla="*/ 1496069 w 2240198"/>
                <a:gd name="connsiteY2053" fmla="*/ 997570 h 1729012"/>
                <a:gd name="connsiteX2054" fmla="*/ 1497081 w 2240198"/>
                <a:gd name="connsiteY2054" fmla="*/ 998682 h 1729012"/>
                <a:gd name="connsiteX2055" fmla="*/ 1497385 w 2240198"/>
                <a:gd name="connsiteY2055" fmla="*/ 1000357 h 1729012"/>
                <a:gd name="connsiteX2056" fmla="*/ 1496984 w 2240198"/>
                <a:gd name="connsiteY2056" fmla="*/ 1002596 h 1729012"/>
                <a:gd name="connsiteX2057" fmla="*/ 1496330 w 2240198"/>
                <a:gd name="connsiteY2057" fmla="*/ 1004630 h 1729012"/>
                <a:gd name="connsiteX2058" fmla="*/ 1495427 w 2240198"/>
                <a:gd name="connsiteY2058" fmla="*/ 1006461 h 1729012"/>
                <a:gd name="connsiteX2059" fmla="*/ 1493197 w 2240198"/>
                <a:gd name="connsiteY2059" fmla="*/ 1009541 h 1729012"/>
                <a:gd name="connsiteX2060" fmla="*/ 1486242 w 2240198"/>
                <a:gd name="connsiteY2060" fmla="*/ 1014800 h 1729012"/>
                <a:gd name="connsiteX2061" fmla="*/ 1483633 w 2240198"/>
                <a:gd name="connsiteY2061" fmla="*/ 1017661 h 1729012"/>
                <a:gd name="connsiteX2062" fmla="*/ 1481672 w 2240198"/>
                <a:gd name="connsiteY2062" fmla="*/ 1019370 h 1729012"/>
                <a:gd name="connsiteX2063" fmla="*/ 1470324 w 2240198"/>
                <a:gd name="connsiteY2063" fmla="*/ 1026972 h 1729012"/>
                <a:gd name="connsiteX2064" fmla="*/ 1468915 w 2240198"/>
                <a:gd name="connsiteY2064" fmla="*/ 1027346 h 1729012"/>
                <a:gd name="connsiteX2065" fmla="*/ 1467436 w 2240198"/>
                <a:gd name="connsiteY2065" fmla="*/ 1027200 h 1729012"/>
                <a:gd name="connsiteX2066" fmla="*/ 1464325 w 2240198"/>
                <a:gd name="connsiteY2066" fmla="*/ 1026066 h 1729012"/>
                <a:gd name="connsiteX2067" fmla="*/ 1461171 w 2240198"/>
                <a:gd name="connsiteY2067" fmla="*/ 1025863 h 1729012"/>
                <a:gd name="connsiteX2068" fmla="*/ 1453004 w 2240198"/>
                <a:gd name="connsiteY2068" fmla="*/ 1028920 h 1729012"/>
                <a:gd name="connsiteX2069" fmla="*/ 1452611 w 2240198"/>
                <a:gd name="connsiteY2069" fmla="*/ 1028397 h 1729012"/>
                <a:gd name="connsiteX2070" fmla="*/ 1452250 w 2240198"/>
                <a:gd name="connsiteY2070" fmla="*/ 1025115 h 1729012"/>
                <a:gd name="connsiteX2071" fmla="*/ 1451431 w 2240198"/>
                <a:gd name="connsiteY2071" fmla="*/ 1023293 h 1729012"/>
                <a:gd name="connsiteX2072" fmla="*/ 1447825 w 2240198"/>
                <a:gd name="connsiteY2072" fmla="*/ 1019399 h 1729012"/>
                <a:gd name="connsiteX2073" fmla="*/ 1447590 w 2240198"/>
                <a:gd name="connsiteY2073" fmla="*/ 1018490 h 1729012"/>
                <a:gd name="connsiteX2074" fmla="*/ 1447638 w 2240198"/>
                <a:gd name="connsiteY2074" fmla="*/ 1017363 h 1729012"/>
                <a:gd name="connsiteX2075" fmla="*/ 1447923 w 2240198"/>
                <a:gd name="connsiteY2075" fmla="*/ 1016484 h 1729012"/>
                <a:gd name="connsiteX2076" fmla="*/ 1451986 w 2240198"/>
                <a:gd name="connsiteY2076" fmla="*/ 1012838 h 1729012"/>
                <a:gd name="connsiteX2077" fmla="*/ 1461180 w 2240198"/>
                <a:gd name="connsiteY2077" fmla="*/ 999527 h 1729012"/>
                <a:gd name="connsiteX2078" fmla="*/ 1463385 w 2240198"/>
                <a:gd name="connsiteY2078" fmla="*/ 998867 h 1729012"/>
                <a:gd name="connsiteX2079" fmla="*/ 1467912 w 2240198"/>
                <a:gd name="connsiteY2079" fmla="*/ 1000354 h 1729012"/>
                <a:gd name="connsiteX2080" fmla="*/ 1470059 w 2240198"/>
                <a:gd name="connsiteY2080" fmla="*/ 1000832 h 1729012"/>
                <a:gd name="connsiteX2081" fmla="*/ 1471593 w 2240198"/>
                <a:gd name="connsiteY2081" fmla="*/ 1000759 h 1729012"/>
                <a:gd name="connsiteX2082" fmla="*/ 1478168 w 2240198"/>
                <a:gd name="connsiteY2082" fmla="*/ 997954 h 1729012"/>
                <a:gd name="connsiteX2083" fmla="*/ 1484425 w 2240198"/>
                <a:gd name="connsiteY2083" fmla="*/ 998286 h 1729012"/>
                <a:gd name="connsiteX2084" fmla="*/ 1490129 w 2240198"/>
                <a:gd name="connsiteY2084" fmla="*/ 996646 h 1729012"/>
                <a:gd name="connsiteX2085" fmla="*/ 1591551 w 2240198"/>
                <a:gd name="connsiteY2085" fmla="*/ 976194 h 1729012"/>
                <a:gd name="connsiteX2086" fmla="*/ 1599182 w 2240198"/>
                <a:gd name="connsiteY2086" fmla="*/ 976620 h 1729012"/>
                <a:gd name="connsiteX2087" fmla="*/ 1600634 w 2240198"/>
                <a:gd name="connsiteY2087" fmla="*/ 976956 h 1729012"/>
                <a:gd name="connsiteX2088" fmla="*/ 1602779 w 2240198"/>
                <a:gd name="connsiteY2088" fmla="*/ 978669 h 1729012"/>
                <a:gd name="connsiteX2089" fmla="*/ 1605020 w 2240198"/>
                <a:gd name="connsiteY2089" fmla="*/ 978547 h 1729012"/>
                <a:gd name="connsiteX2090" fmla="*/ 1606261 w 2240198"/>
                <a:gd name="connsiteY2090" fmla="*/ 979944 h 1729012"/>
                <a:gd name="connsiteX2091" fmla="*/ 1609210 w 2240198"/>
                <a:gd name="connsiteY2091" fmla="*/ 984302 h 1729012"/>
                <a:gd name="connsiteX2092" fmla="*/ 1609493 w 2240198"/>
                <a:gd name="connsiteY2092" fmla="*/ 985026 h 1729012"/>
                <a:gd name="connsiteX2093" fmla="*/ 1609355 w 2240198"/>
                <a:gd name="connsiteY2093" fmla="*/ 986436 h 1729012"/>
                <a:gd name="connsiteX2094" fmla="*/ 1607804 w 2240198"/>
                <a:gd name="connsiteY2094" fmla="*/ 988241 h 1729012"/>
                <a:gd name="connsiteX2095" fmla="*/ 1606187 w 2240198"/>
                <a:gd name="connsiteY2095" fmla="*/ 989192 h 1729012"/>
                <a:gd name="connsiteX2096" fmla="*/ 1602795 w 2240198"/>
                <a:gd name="connsiteY2096" fmla="*/ 990589 h 1729012"/>
                <a:gd name="connsiteX2097" fmla="*/ 1598966 w 2240198"/>
                <a:gd name="connsiteY2097" fmla="*/ 991194 h 1729012"/>
                <a:gd name="connsiteX2098" fmla="*/ 1596888 w 2240198"/>
                <a:gd name="connsiteY2098" fmla="*/ 990218 h 1729012"/>
                <a:gd name="connsiteX2099" fmla="*/ 1591017 w 2240198"/>
                <a:gd name="connsiteY2099" fmla="*/ 986189 h 1729012"/>
                <a:gd name="connsiteX2100" fmla="*/ 1585621 w 2240198"/>
                <a:gd name="connsiteY2100" fmla="*/ 981469 h 1729012"/>
                <a:gd name="connsiteX2101" fmla="*/ 1583896 w 2240198"/>
                <a:gd name="connsiteY2101" fmla="*/ 978833 h 1729012"/>
                <a:gd name="connsiteX2102" fmla="*/ 1584643 w 2240198"/>
                <a:gd name="connsiteY2102" fmla="*/ 977735 h 1729012"/>
                <a:gd name="connsiteX2103" fmla="*/ 1586927 w 2240198"/>
                <a:gd name="connsiteY2103" fmla="*/ 976980 h 1729012"/>
                <a:gd name="connsiteX2104" fmla="*/ 1619473 w 2240198"/>
                <a:gd name="connsiteY2104" fmla="*/ 968460 h 1729012"/>
                <a:gd name="connsiteX2105" fmla="*/ 1628856 w 2240198"/>
                <a:gd name="connsiteY2105" fmla="*/ 972820 h 1729012"/>
                <a:gd name="connsiteX2106" fmla="*/ 1631676 w 2240198"/>
                <a:gd name="connsiteY2106" fmla="*/ 975632 h 1729012"/>
                <a:gd name="connsiteX2107" fmla="*/ 1631039 w 2240198"/>
                <a:gd name="connsiteY2107" fmla="*/ 980026 h 1729012"/>
                <a:gd name="connsiteX2108" fmla="*/ 1628361 w 2240198"/>
                <a:gd name="connsiteY2108" fmla="*/ 980423 h 1729012"/>
                <a:gd name="connsiteX2109" fmla="*/ 1624844 w 2240198"/>
                <a:gd name="connsiteY2109" fmla="*/ 979529 h 1729012"/>
                <a:gd name="connsiteX2110" fmla="*/ 1621412 w 2240198"/>
                <a:gd name="connsiteY2110" fmla="*/ 977790 h 1729012"/>
                <a:gd name="connsiteX2111" fmla="*/ 1613614 w 2240198"/>
                <a:gd name="connsiteY2111" fmla="*/ 972228 h 1729012"/>
                <a:gd name="connsiteX2112" fmla="*/ 1607212 w 2240198"/>
                <a:gd name="connsiteY2112" fmla="*/ 954123 h 1729012"/>
                <a:gd name="connsiteX2113" fmla="*/ 1608426 w 2240198"/>
                <a:gd name="connsiteY2113" fmla="*/ 954397 h 1729012"/>
                <a:gd name="connsiteX2114" fmla="*/ 1608573 w 2240198"/>
                <a:gd name="connsiteY2114" fmla="*/ 954736 h 1729012"/>
                <a:gd name="connsiteX2115" fmla="*/ 1606583 w 2240198"/>
                <a:gd name="connsiteY2115" fmla="*/ 955957 h 1729012"/>
                <a:gd name="connsiteX2116" fmla="*/ 1604758 w 2240198"/>
                <a:gd name="connsiteY2116" fmla="*/ 957825 h 1729012"/>
                <a:gd name="connsiteX2117" fmla="*/ 1599313 w 2240198"/>
                <a:gd name="connsiteY2117" fmla="*/ 957166 h 1729012"/>
                <a:gd name="connsiteX2118" fmla="*/ 1598574 w 2240198"/>
                <a:gd name="connsiteY2118" fmla="*/ 956599 h 1729012"/>
                <a:gd name="connsiteX2119" fmla="*/ 1598370 w 2240198"/>
                <a:gd name="connsiteY2119" fmla="*/ 955916 h 1729012"/>
                <a:gd name="connsiteX2120" fmla="*/ 1599248 w 2240198"/>
                <a:gd name="connsiteY2120" fmla="*/ 955030 h 1729012"/>
                <a:gd name="connsiteX2121" fmla="*/ 1604840 w 2240198"/>
                <a:gd name="connsiteY2121" fmla="*/ 954186 h 1729012"/>
                <a:gd name="connsiteX2122" fmla="*/ 1405947 w 2240198"/>
                <a:gd name="connsiteY2122" fmla="*/ 876655 h 1729012"/>
                <a:gd name="connsiteX2123" fmla="*/ 1406750 w 2240198"/>
                <a:gd name="connsiteY2123" fmla="*/ 876827 h 1729012"/>
                <a:gd name="connsiteX2124" fmla="*/ 1407448 w 2240198"/>
                <a:gd name="connsiteY2124" fmla="*/ 877449 h 1729012"/>
                <a:gd name="connsiteX2125" fmla="*/ 1408794 w 2240198"/>
                <a:gd name="connsiteY2125" fmla="*/ 879715 h 1729012"/>
                <a:gd name="connsiteX2126" fmla="*/ 1413898 w 2240198"/>
                <a:gd name="connsiteY2126" fmla="*/ 881806 h 1729012"/>
                <a:gd name="connsiteX2127" fmla="*/ 1415544 w 2240198"/>
                <a:gd name="connsiteY2127" fmla="*/ 883837 h 1729012"/>
                <a:gd name="connsiteX2128" fmla="*/ 1416707 w 2240198"/>
                <a:gd name="connsiteY2128" fmla="*/ 886089 h 1729012"/>
                <a:gd name="connsiteX2129" fmla="*/ 1417341 w 2240198"/>
                <a:gd name="connsiteY2129" fmla="*/ 889014 h 1729012"/>
                <a:gd name="connsiteX2130" fmla="*/ 1416708 w 2240198"/>
                <a:gd name="connsiteY2130" fmla="*/ 890290 h 1729012"/>
                <a:gd name="connsiteX2131" fmla="*/ 1414273 w 2240198"/>
                <a:gd name="connsiteY2131" fmla="*/ 892218 h 1729012"/>
                <a:gd name="connsiteX2132" fmla="*/ 1413856 w 2240198"/>
                <a:gd name="connsiteY2132" fmla="*/ 893030 h 1729012"/>
                <a:gd name="connsiteX2133" fmla="*/ 1413928 w 2240198"/>
                <a:gd name="connsiteY2133" fmla="*/ 893692 h 1729012"/>
                <a:gd name="connsiteX2134" fmla="*/ 1418591 w 2240198"/>
                <a:gd name="connsiteY2134" fmla="*/ 896720 h 1729012"/>
                <a:gd name="connsiteX2135" fmla="*/ 1422050 w 2240198"/>
                <a:gd name="connsiteY2135" fmla="*/ 904027 h 1729012"/>
                <a:gd name="connsiteX2136" fmla="*/ 1422925 w 2240198"/>
                <a:gd name="connsiteY2136" fmla="*/ 904528 h 1729012"/>
                <a:gd name="connsiteX2137" fmla="*/ 1424016 w 2240198"/>
                <a:gd name="connsiteY2137" fmla="*/ 904242 h 1729012"/>
                <a:gd name="connsiteX2138" fmla="*/ 1425812 w 2240198"/>
                <a:gd name="connsiteY2138" fmla="*/ 902198 h 1729012"/>
                <a:gd name="connsiteX2139" fmla="*/ 1429838 w 2240198"/>
                <a:gd name="connsiteY2139" fmla="*/ 896309 h 1729012"/>
                <a:gd name="connsiteX2140" fmla="*/ 1430968 w 2240198"/>
                <a:gd name="connsiteY2140" fmla="*/ 895755 h 1729012"/>
                <a:gd name="connsiteX2141" fmla="*/ 1432662 w 2240198"/>
                <a:gd name="connsiteY2141" fmla="*/ 895845 h 1729012"/>
                <a:gd name="connsiteX2142" fmla="*/ 1438614 w 2240198"/>
                <a:gd name="connsiteY2142" fmla="*/ 899631 h 1729012"/>
                <a:gd name="connsiteX2143" fmla="*/ 1440805 w 2240198"/>
                <a:gd name="connsiteY2143" fmla="*/ 901741 h 1729012"/>
                <a:gd name="connsiteX2144" fmla="*/ 1441984 w 2240198"/>
                <a:gd name="connsiteY2144" fmla="*/ 904674 h 1729012"/>
                <a:gd name="connsiteX2145" fmla="*/ 1443217 w 2240198"/>
                <a:gd name="connsiteY2145" fmla="*/ 905817 h 1729012"/>
                <a:gd name="connsiteX2146" fmla="*/ 1447902 w 2240198"/>
                <a:gd name="connsiteY2146" fmla="*/ 907329 h 1729012"/>
                <a:gd name="connsiteX2147" fmla="*/ 1452403 w 2240198"/>
                <a:gd name="connsiteY2147" fmla="*/ 907834 h 1729012"/>
                <a:gd name="connsiteX2148" fmla="*/ 1458281 w 2240198"/>
                <a:gd name="connsiteY2148" fmla="*/ 909371 h 1729012"/>
                <a:gd name="connsiteX2149" fmla="*/ 1460401 w 2240198"/>
                <a:gd name="connsiteY2149" fmla="*/ 910522 h 1729012"/>
                <a:gd name="connsiteX2150" fmla="*/ 1465089 w 2240198"/>
                <a:gd name="connsiteY2150" fmla="*/ 916124 h 1729012"/>
                <a:gd name="connsiteX2151" fmla="*/ 1465629 w 2240198"/>
                <a:gd name="connsiteY2151" fmla="*/ 916466 h 1729012"/>
                <a:gd name="connsiteX2152" fmla="*/ 1470964 w 2240198"/>
                <a:gd name="connsiteY2152" fmla="*/ 918752 h 1729012"/>
                <a:gd name="connsiteX2153" fmla="*/ 1479152 w 2240198"/>
                <a:gd name="connsiteY2153" fmla="*/ 923836 h 1729012"/>
                <a:gd name="connsiteX2154" fmla="*/ 1481228 w 2240198"/>
                <a:gd name="connsiteY2154" fmla="*/ 924590 h 1729012"/>
                <a:gd name="connsiteX2155" fmla="*/ 1489192 w 2240198"/>
                <a:gd name="connsiteY2155" fmla="*/ 926262 h 1729012"/>
                <a:gd name="connsiteX2156" fmla="*/ 1492052 w 2240198"/>
                <a:gd name="connsiteY2156" fmla="*/ 927510 h 1729012"/>
                <a:gd name="connsiteX2157" fmla="*/ 1494813 w 2240198"/>
                <a:gd name="connsiteY2157" fmla="*/ 929409 h 1729012"/>
                <a:gd name="connsiteX2158" fmla="*/ 1497884 w 2240198"/>
                <a:gd name="connsiteY2158" fmla="*/ 932880 h 1729012"/>
                <a:gd name="connsiteX2159" fmla="*/ 1501477 w 2240198"/>
                <a:gd name="connsiteY2159" fmla="*/ 938327 h 1729012"/>
                <a:gd name="connsiteX2160" fmla="*/ 1504293 w 2240198"/>
                <a:gd name="connsiteY2160" fmla="*/ 947007 h 1729012"/>
                <a:gd name="connsiteX2161" fmla="*/ 1504515 w 2240198"/>
                <a:gd name="connsiteY2161" fmla="*/ 948718 h 1729012"/>
                <a:gd name="connsiteX2162" fmla="*/ 1504173 w 2240198"/>
                <a:gd name="connsiteY2162" fmla="*/ 949731 h 1729012"/>
                <a:gd name="connsiteX2163" fmla="*/ 1503157 w 2240198"/>
                <a:gd name="connsiteY2163" fmla="*/ 950812 h 1729012"/>
                <a:gd name="connsiteX2164" fmla="*/ 1498550 w 2240198"/>
                <a:gd name="connsiteY2164" fmla="*/ 954364 h 1729012"/>
                <a:gd name="connsiteX2165" fmla="*/ 1498944 w 2240198"/>
                <a:gd name="connsiteY2165" fmla="*/ 954965 h 1729012"/>
                <a:gd name="connsiteX2166" fmla="*/ 1503279 w 2240198"/>
                <a:gd name="connsiteY2166" fmla="*/ 954743 h 1729012"/>
                <a:gd name="connsiteX2167" fmla="*/ 1512927 w 2240198"/>
                <a:gd name="connsiteY2167" fmla="*/ 952560 h 1729012"/>
                <a:gd name="connsiteX2168" fmla="*/ 1518799 w 2240198"/>
                <a:gd name="connsiteY2168" fmla="*/ 954126 h 1729012"/>
                <a:gd name="connsiteX2169" fmla="*/ 1520840 w 2240198"/>
                <a:gd name="connsiteY2169" fmla="*/ 954372 h 1729012"/>
                <a:gd name="connsiteX2170" fmla="*/ 1521310 w 2240198"/>
                <a:gd name="connsiteY2170" fmla="*/ 954281 h 1729012"/>
                <a:gd name="connsiteX2171" fmla="*/ 1523437 w 2240198"/>
                <a:gd name="connsiteY2171" fmla="*/ 951559 h 1729012"/>
                <a:gd name="connsiteX2172" fmla="*/ 1525774 w 2240198"/>
                <a:gd name="connsiteY2172" fmla="*/ 951987 h 1729012"/>
                <a:gd name="connsiteX2173" fmla="*/ 1529189 w 2240198"/>
                <a:gd name="connsiteY2173" fmla="*/ 954626 h 1729012"/>
                <a:gd name="connsiteX2174" fmla="*/ 1531389 w 2240198"/>
                <a:gd name="connsiteY2174" fmla="*/ 956759 h 1729012"/>
                <a:gd name="connsiteX2175" fmla="*/ 1532370 w 2240198"/>
                <a:gd name="connsiteY2175" fmla="*/ 958382 h 1729012"/>
                <a:gd name="connsiteX2176" fmla="*/ 1532108 w 2240198"/>
                <a:gd name="connsiteY2176" fmla="*/ 959299 h 1729012"/>
                <a:gd name="connsiteX2177" fmla="*/ 1529850 w 2240198"/>
                <a:gd name="connsiteY2177" fmla="*/ 959612 h 1729012"/>
                <a:gd name="connsiteX2178" fmla="*/ 1535369 w 2240198"/>
                <a:gd name="connsiteY2178" fmla="*/ 961168 h 1729012"/>
                <a:gd name="connsiteX2179" fmla="*/ 1540168 w 2240198"/>
                <a:gd name="connsiteY2179" fmla="*/ 963629 h 1729012"/>
                <a:gd name="connsiteX2180" fmla="*/ 1539135 w 2240198"/>
                <a:gd name="connsiteY2180" fmla="*/ 965231 h 1729012"/>
                <a:gd name="connsiteX2181" fmla="*/ 1534014 w 2240198"/>
                <a:gd name="connsiteY2181" fmla="*/ 968793 h 1729012"/>
                <a:gd name="connsiteX2182" fmla="*/ 1528746 w 2240198"/>
                <a:gd name="connsiteY2182" fmla="*/ 971905 h 1729012"/>
                <a:gd name="connsiteX2183" fmla="*/ 1522616 w 2240198"/>
                <a:gd name="connsiteY2183" fmla="*/ 976566 h 1729012"/>
                <a:gd name="connsiteX2184" fmla="*/ 1521086 w 2240198"/>
                <a:gd name="connsiteY2184" fmla="*/ 977276 h 1729012"/>
                <a:gd name="connsiteX2185" fmla="*/ 1520261 w 2240198"/>
                <a:gd name="connsiteY2185" fmla="*/ 977316 h 1729012"/>
                <a:gd name="connsiteX2186" fmla="*/ 1516882 w 2240198"/>
                <a:gd name="connsiteY2186" fmla="*/ 976448 h 1729012"/>
                <a:gd name="connsiteX2187" fmla="*/ 1512012 w 2240198"/>
                <a:gd name="connsiteY2187" fmla="*/ 974247 h 1729012"/>
                <a:gd name="connsiteX2188" fmla="*/ 1497011 w 2240198"/>
                <a:gd name="connsiteY2188" fmla="*/ 969168 h 1729012"/>
                <a:gd name="connsiteX2189" fmla="*/ 1492380 w 2240198"/>
                <a:gd name="connsiteY2189" fmla="*/ 968093 h 1729012"/>
                <a:gd name="connsiteX2190" fmla="*/ 1486494 w 2240198"/>
                <a:gd name="connsiteY2190" fmla="*/ 967464 h 1729012"/>
                <a:gd name="connsiteX2191" fmla="*/ 1485642 w 2240198"/>
                <a:gd name="connsiteY2191" fmla="*/ 966267 h 1729012"/>
                <a:gd name="connsiteX2192" fmla="*/ 1484238 w 2240198"/>
                <a:gd name="connsiteY2192" fmla="*/ 958582 h 1729012"/>
                <a:gd name="connsiteX2193" fmla="*/ 1481590 w 2240198"/>
                <a:gd name="connsiteY2193" fmla="*/ 957219 h 1729012"/>
                <a:gd name="connsiteX2194" fmla="*/ 1472508 w 2240198"/>
                <a:gd name="connsiteY2194" fmla="*/ 955611 h 1729012"/>
                <a:gd name="connsiteX2195" fmla="*/ 1469865 w 2240198"/>
                <a:gd name="connsiteY2195" fmla="*/ 954688 h 1729012"/>
                <a:gd name="connsiteX2196" fmla="*/ 1469745 w 2240198"/>
                <a:gd name="connsiteY2196" fmla="*/ 953141 h 1729012"/>
                <a:gd name="connsiteX2197" fmla="*/ 1470315 w 2240198"/>
                <a:gd name="connsiteY2197" fmla="*/ 950483 h 1729012"/>
                <a:gd name="connsiteX2198" fmla="*/ 1469073 w 2240198"/>
                <a:gd name="connsiteY2198" fmla="*/ 949184 h 1729012"/>
                <a:gd name="connsiteX2199" fmla="*/ 1466020 w 2240198"/>
                <a:gd name="connsiteY2199" fmla="*/ 949246 h 1729012"/>
                <a:gd name="connsiteX2200" fmla="*/ 1463018 w 2240198"/>
                <a:gd name="connsiteY2200" fmla="*/ 949802 h 1729012"/>
                <a:gd name="connsiteX2201" fmla="*/ 1458190 w 2240198"/>
                <a:gd name="connsiteY2201" fmla="*/ 951610 h 1729012"/>
                <a:gd name="connsiteX2202" fmla="*/ 1455927 w 2240198"/>
                <a:gd name="connsiteY2202" fmla="*/ 953277 h 1729012"/>
                <a:gd name="connsiteX2203" fmla="*/ 1455078 w 2240198"/>
                <a:gd name="connsiteY2203" fmla="*/ 955085 h 1729012"/>
                <a:gd name="connsiteX2204" fmla="*/ 1454548 w 2240198"/>
                <a:gd name="connsiteY2204" fmla="*/ 958952 h 1729012"/>
                <a:gd name="connsiteX2205" fmla="*/ 1453949 w 2240198"/>
                <a:gd name="connsiteY2205" fmla="*/ 960778 h 1729012"/>
                <a:gd name="connsiteX2206" fmla="*/ 1452258 w 2240198"/>
                <a:gd name="connsiteY2206" fmla="*/ 963168 h 1729012"/>
                <a:gd name="connsiteX2207" fmla="*/ 1444808 w 2240198"/>
                <a:gd name="connsiteY2207" fmla="*/ 969352 h 1729012"/>
                <a:gd name="connsiteX2208" fmla="*/ 1441779 w 2240198"/>
                <a:gd name="connsiteY2208" fmla="*/ 971208 h 1729012"/>
                <a:gd name="connsiteX2209" fmla="*/ 1438765 w 2240198"/>
                <a:gd name="connsiteY2209" fmla="*/ 971740 h 1729012"/>
                <a:gd name="connsiteX2210" fmla="*/ 1437569 w 2240198"/>
                <a:gd name="connsiteY2210" fmla="*/ 972330 h 1729012"/>
                <a:gd name="connsiteX2211" fmla="*/ 1435543 w 2240198"/>
                <a:gd name="connsiteY2211" fmla="*/ 974607 h 1729012"/>
                <a:gd name="connsiteX2212" fmla="*/ 1432533 w 2240198"/>
                <a:gd name="connsiteY2212" fmla="*/ 980182 h 1729012"/>
                <a:gd name="connsiteX2213" fmla="*/ 1431307 w 2240198"/>
                <a:gd name="connsiteY2213" fmla="*/ 981785 h 1729012"/>
                <a:gd name="connsiteX2214" fmla="*/ 1429321 w 2240198"/>
                <a:gd name="connsiteY2214" fmla="*/ 983416 h 1729012"/>
                <a:gd name="connsiteX2215" fmla="*/ 1425196 w 2240198"/>
                <a:gd name="connsiteY2215" fmla="*/ 985905 h 1729012"/>
                <a:gd name="connsiteX2216" fmla="*/ 1420987 w 2240198"/>
                <a:gd name="connsiteY2216" fmla="*/ 987890 h 1729012"/>
                <a:gd name="connsiteX2217" fmla="*/ 1413974 w 2240198"/>
                <a:gd name="connsiteY2217" fmla="*/ 990201 h 1729012"/>
                <a:gd name="connsiteX2218" fmla="*/ 1410057 w 2240198"/>
                <a:gd name="connsiteY2218" fmla="*/ 990983 h 1729012"/>
                <a:gd name="connsiteX2219" fmla="*/ 1407448 w 2240198"/>
                <a:gd name="connsiteY2219" fmla="*/ 990209 h 1729012"/>
                <a:gd name="connsiteX2220" fmla="*/ 1405657 w 2240198"/>
                <a:gd name="connsiteY2220" fmla="*/ 984948 h 1729012"/>
                <a:gd name="connsiteX2221" fmla="*/ 1401904 w 2240198"/>
                <a:gd name="connsiteY2221" fmla="*/ 969429 h 1729012"/>
                <a:gd name="connsiteX2222" fmla="*/ 1401281 w 2240198"/>
                <a:gd name="connsiteY2222" fmla="*/ 968375 h 1729012"/>
                <a:gd name="connsiteX2223" fmla="*/ 1400514 w 2240198"/>
                <a:gd name="connsiteY2223" fmla="*/ 967723 h 1729012"/>
                <a:gd name="connsiteX2224" fmla="*/ 1399608 w 2240198"/>
                <a:gd name="connsiteY2224" fmla="*/ 967474 h 1729012"/>
                <a:gd name="connsiteX2225" fmla="*/ 1387010 w 2240198"/>
                <a:gd name="connsiteY2225" fmla="*/ 969476 h 1729012"/>
                <a:gd name="connsiteX2226" fmla="*/ 1380059 w 2240198"/>
                <a:gd name="connsiteY2226" fmla="*/ 969254 h 1729012"/>
                <a:gd name="connsiteX2227" fmla="*/ 1373182 w 2240198"/>
                <a:gd name="connsiteY2227" fmla="*/ 972752 h 1729012"/>
                <a:gd name="connsiteX2228" fmla="*/ 1371449 w 2240198"/>
                <a:gd name="connsiteY2228" fmla="*/ 973005 h 1729012"/>
                <a:gd name="connsiteX2229" fmla="*/ 1367957 w 2240198"/>
                <a:gd name="connsiteY2229" fmla="*/ 972893 h 1729012"/>
                <a:gd name="connsiteX2230" fmla="*/ 1365448 w 2240198"/>
                <a:gd name="connsiteY2230" fmla="*/ 972336 h 1729012"/>
                <a:gd name="connsiteX2231" fmla="*/ 1364807 w 2240198"/>
                <a:gd name="connsiteY2231" fmla="*/ 971955 h 1729012"/>
                <a:gd name="connsiteX2232" fmla="*/ 1364384 w 2240198"/>
                <a:gd name="connsiteY2232" fmla="*/ 970441 h 1729012"/>
                <a:gd name="connsiteX2233" fmla="*/ 1364509 w 2240198"/>
                <a:gd name="connsiteY2233" fmla="*/ 968854 h 1729012"/>
                <a:gd name="connsiteX2234" fmla="*/ 1365384 w 2240198"/>
                <a:gd name="connsiteY2234" fmla="*/ 967137 h 1729012"/>
                <a:gd name="connsiteX2235" fmla="*/ 1368490 w 2240198"/>
                <a:gd name="connsiteY2235" fmla="*/ 962481 h 1729012"/>
                <a:gd name="connsiteX2236" fmla="*/ 1371023 w 2240198"/>
                <a:gd name="connsiteY2236" fmla="*/ 959604 h 1729012"/>
                <a:gd name="connsiteX2237" fmla="*/ 1372189 w 2240198"/>
                <a:gd name="connsiteY2237" fmla="*/ 958713 h 1729012"/>
                <a:gd name="connsiteX2238" fmla="*/ 1383962 w 2240198"/>
                <a:gd name="connsiteY2238" fmla="*/ 953541 h 1729012"/>
                <a:gd name="connsiteX2239" fmla="*/ 1386831 w 2240198"/>
                <a:gd name="connsiteY2239" fmla="*/ 951836 h 1729012"/>
                <a:gd name="connsiteX2240" fmla="*/ 1388264 w 2240198"/>
                <a:gd name="connsiteY2240" fmla="*/ 950084 h 1729012"/>
                <a:gd name="connsiteX2241" fmla="*/ 1388261 w 2240198"/>
                <a:gd name="connsiteY2241" fmla="*/ 948283 h 1729012"/>
                <a:gd name="connsiteX2242" fmla="*/ 1387704 w 2240198"/>
                <a:gd name="connsiteY2242" fmla="*/ 945977 h 1729012"/>
                <a:gd name="connsiteX2243" fmla="*/ 1385667 w 2240198"/>
                <a:gd name="connsiteY2243" fmla="*/ 940343 h 1729012"/>
                <a:gd name="connsiteX2244" fmla="*/ 1385150 w 2240198"/>
                <a:gd name="connsiteY2244" fmla="*/ 935186 h 1729012"/>
                <a:gd name="connsiteX2245" fmla="*/ 1385166 w 2240198"/>
                <a:gd name="connsiteY2245" fmla="*/ 932618 h 1729012"/>
                <a:gd name="connsiteX2246" fmla="*/ 1385937 w 2240198"/>
                <a:gd name="connsiteY2246" fmla="*/ 928670 h 1729012"/>
                <a:gd name="connsiteX2247" fmla="*/ 1388884 w 2240198"/>
                <a:gd name="connsiteY2247" fmla="*/ 919071 h 1729012"/>
                <a:gd name="connsiteX2248" fmla="*/ 1389882 w 2240198"/>
                <a:gd name="connsiteY2248" fmla="*/ 914381 h 1729012"/>
                <a:gd name="connsiteX2249" fmla="*/ 1391760 w 2240198"/>
                <a:gd name="connsiteY2249" fmla="*/ 897555 h 1729012"/>
                <a:gd name="connsiteX2250" fmla="*/ 1392764 w 2240198"/>
                <a:gd name="connsiteY2250" fmla="*/ 892713 h 1729012"/>
                <a:gd name="connsiteX2251" fmla="*/ 1394223 w 2240198"/>
                <a:gd name="connsiteY2251" fmla="*/ 888283 h 1729012"/>
                <a:gd name="connsiteX2252" fmla="*/ 1395628 w 2240198"/>
                <a:gd name="connsiteY2252" fmla="*/ 885617 h 1729012"/>
                <a:gd name="connsiteX2253" fmla="*/ 1399373 w 2240198"/>
                <a:gd name="connsiteY2253" fmla="*/ 880283 h 1729012"/>
                <a:gd name="connsiteX2254" fmla="*/ 1402287 w 2240198"/>
                <a:gd name="connsiteY2254" fmla="*/ 878141 h 1729012"/>
                <a:gd name="connsiteX2255" fmla="*/ 1419215 w 2240198"/>
                <a:gd name="connsiteY2255" fmla="*/ 872177 h 1729012"/>
                <a:gd name="connsiteX2256" fmla="*/ 1421570 w 2240198"/>
                <a:gd name="connsiteY2256" fmla="*/ 872888 h 1729012"/>
                <a:gd name="connsiteX2257" fmla="*/ 1422044 w 2240198"/>
                <a:gd name="connsiteY2257" fmla="*/ 873371 h 1729012"/>
                <a:gd name="connsiteX2258" fmla="*/ 1422815 w 2240198"/>
                <a:gd name="connsiteY2258" fmla="*/ 874417 h 1729012"/>
                <a:gd name="connsiteX2259" fmla="*/ 1423321 w 2240198"/>
                <a:gd name="connsiteY2259" fmla="*/ 875698 h 1729012"/>
                <a:gd name="connsiteX2260" fmla="*/ 1426165 w 2240198"/>
                <a:gd name="connsiteY2260" fmla="*/ 879155 h 1729012"/>
                <a:gd name="connsiteX2261" fmla="*/ 1427829 w 2240198"/>
                <a:gd name="connsiteY2261" fmla="*/ 881904 h 1729012"/>
                <a:gd name="connsiteX2262" fmla="*/ 1430088 w 2240198"/>
                <a:gd name="connsiteY2262" fmla="*/ 887571 h 1729012"/>
                <a:gd name="connsiteX2263" fmla="*/ 1430098 w 2240198"/>
                <a:gd name="connsiteY2263" fmla="*/ 888649 h 1729012"/>
                <a:gd name="connsiteX2264" fmla="*/ 1429489 w 2240198"/>
                <a:gd name="connsiteY2264" fmla="*/ 889792 h 1729012"/>
                <a:gd name="connsiteX2265" fmla="*/ 1428259 w 2240198"/>
                <a:gd name="connsiteY2265" fmla="*/ 891002 h 1729012"/>
                <a:gd name="connsiteX2266" fmla="*/ 1426934 w 2240198"/>
                <a:gd name="connsiteY2266" fmla="*/ 891471 h 1729012"/>
                <a:gd name="connsiteX2267" fmla="*/ 1425517 w 2240198"/>
                <a:gd name="connsiteY2267" fmla="*/ 891206 h 1729012"/>
                <a:gd name="connsiteX2268" fmla="*/ 1424316 w 2240198"/>
                <a:gd name="connsiteY2268" fmla="*/ 890003 h 1729012"/>
                <a:gd name="connsiteX2269" fmla="*/ 1423336 w 2240198"/>
                <a:gd name="connsiteY2269" fmla="*/ 887855 h 1729012"/>
                <a:gd name="connsiteX2270" fmla="*/ 1421758 w 2240198"/>
                <a:gd name="connsiteY2270" fmla="*/ 886245 h 1729012"/>
                <a:gd name="connsiteX2271" fmla="*/ 1418187 w 2240198"/>
                <a:gd name="connsiteY2271" fmla="*/ 884235 h 1729012"/>
                <a:gd name="connsiteX2272" fmla="*/ 1417569 w 2240198"/>
                <a:gd name="connsiteY2272" fmla="*/ 883448 h 1729012"/>
                <a:gd name="connsiteX2273" fmla="*/ 1416556 w 2240198"/>
                <a:gd name="connsiteY2273" fmla="*/ 880748 h 1729012"/>
                <a:gd name="connsiteX2274" fmla="*/ 1416359 w 2240198"/>
                <a:gd name="connsiteY2274" fmla="*/ 878050 h 1729012"/>
                <a:gd name="connsiteX2275" fmla="*/ 1415595 w 2240198"/>
                <a:gd name="connsiteY2275" fmla="*/ 875604 h 1729012"/>
                <a:gd name="connsiteX2276" fmla="*/ 1415557 w 2240198"/>
                <a:gd name="connsiteY2276" fmla="*/ 874403 h 1729012"/>
                <a:gd name="connsiteX2277" fmla="*/ 1416218 w 2240198"/>
                <a:gd name="connsiteY2277" fmla="*/ 872600 h 1729012"/>
                <a:gd name="connsiteX2278" fmla="*/ 1435044 w 2240198"/>
                <a:gd name="connsiteY2278" fmla="*/ 867745 h 1729012"/>
                <a:gd name="connsiteX2279" fmla="*/ 1442268 w 2240198"/>
                <a:gd name="connsiteY2279" fmla="*/ 869979 h 1729012"/>
                <a:gd name="connsiteX2280" fmla="*/ 1446626 w 2240198"/>
                <a:gd name="connsiteY2280" fmla="*/ 872092 h 1729012"/>
                <a:gd name="connsiteX2281" fmla="*/ 1450771 w 2240198"/>
                <a:gd name="connsiteY2281" fmla="*/ 874681 h 1729012"/>
                <a:gd name="connsiteX2282" fmla="*/ 1452940 w 2240198"/>
                <a:gd name="connsiteY2282" fmla="*/ 876593 h 1729012"/>
                <a:gd name="connsiteX2283" fmla="*/ 1453136 w 2240198"/>
                <a:gd name="connsiteY2283" fmla="*/ 877839 h 1729012"/>
                <a:gd name="connsiteX2284" fmla="*/ 1452597 w 2240198"/>
                <a:gd name="connsiteY2284" fmla="*/ 879079 h 1729012"/>
                <a:gd name="connsiteX2285" fmla="*/ 1451323 w 2240198"/>
                <a:gd name="connsiteY2285" fmla="*/ 880317 h 1729012"/>
                <a:gd name="connsiteX2286" fmla="*/ 1452316 w 2240198"/>
                <a:gd name="connsiteY2286" fmla="*/ 881755 h 1729012"/>
                <a:gd name="connsiteX2287" fmla="*/ 1455574 w 2240198"/>
                <a:gd name="connsiteY2287" fmla="*/ 883396 h 1729012"/>
                <a:gd name="connsiteX2288" fmla="*/ 1458822 w 2240198"/>
                <a:gd name="connsiteY2288" fmla="*/ 884325 h 1729012"/>
                <a:gd name="connsiteX2289" fmla="*/ 1464051 w 2240198"/>
                <a:gd name="connsiteY2289" fmla="*/ 884822 h 1729012"/>
                <a:gd name="connsiteX2290" fmla="*/ 1464797 w 2240198"/>
                <a:gd name="connsiteY2290" fmla="*/ 885166 h 1729012"/>
                <a:gd name="connsiteX2291" fmla="*/ 1464793 w 2240198"/>
                <a:gd name="connsiteY2291" fmla="*/ 885936 h 1729012"/>
                <a:gd name="connsiteX2292" fmla="*/ 1464039 w 2240198"/>
                <a:gd name="connsiteY2292" fmla="*/ 887135 h 1729012"/>
                <a:gd name="connsiteX2293" fmla="*/ 1462295 w 2240198"/>
                <a:gd name="connsiteY2293" fmla="*/ 888667 h 1729012"/>
                <a:gd name="connsiteX2294" fmla="*/ 1461052 w 2240198"/>
                <a:gd name="connsiteY2294" fmla="*/ 888712 h 1729012"/>
                <a:gd name="connsiteX2295" fmla="*/ 1458162 w 2240198"/>
                <a:gd name="connsiteY2295" fmla="*/ 887629 h 1729012"/>
                <a:gd name="connsiteX2296" fmla="*/ 1457105 w 2240198"/>
                <a:gd name="connsiteY2296" fmla="*/ 887078 h 1729012"/>
                <a:gd name="connsiteX2297" fmla="*/ 1455937 w 2240198"/>
                <a:gd name="connsiteY2297" fmla="*/ 885851 h 1729012"/>
                <a:gd name="connsiteX2298" fmla="*/ 1455345 w 2240198"/>
                <a:gd name="connsiteY2298" fmla="*/ 885736 h 1729012"/>
                <a:gd name="connsiteX2299" fmla="*/ 1454588 w 2240198"/>
                <a:gd name="connsiteY2299" fmla="*/ 886148 h 1729012"/>
                <a:gd name="connsiteX2300" fmla="*/ 1454385 w 2240198"/>
                <a:gd name="connsiteY2300" fmla="*/ 886689 h 1729012"/>
                <a:gd name="connsiteX2301" fmla="*/ 1454734 w 2240198"/>
                <a:gd name="connsiteY2301" fmla="*/ 887363 h 1729012"/>
                <a:gd name="connsiteX2302" fmla="*/ 1454255 w 2240198"/>
                <a:gd name="connsiteY2302" fmla="*/ 887555 h 1729012"/>
                <a:gd name="connsiteX2303" fmla="*/ 1450756 w 2240198"/>
                <a:gd name="connsiteY2303" fmla="*/ 887090 h 1729012"/>
                <a:gd name="connsiteX2304" fmla="*/ 1450205 w 2240198"/>
                <a:gd name="connsiteY2304" fmla="*/ 886697 h 1729012"/>
                <a:gd name="connsiteX2305" fmla="*/ 1450485 w 2240198"/>
                <a:gd name="connsiteY2305" fmla="*/ 885376 h 1729012"/>
                <a:gd name="connsiteX2306" fmla="*/ 1452926 w 2240198"/>
                <a:gd name="connsiteY2306" fmla="*/ 883448 h 1729012"/>
                <a:gd name="connsiteX2307" fmla="*/ 1450781 w 2240198"/>
                <a:gd name="connsiteY2307" fmla="*/ 882854 h 1729012"/>
                <a:gd name="connsiteX2308" fmla="*/ 1450095 w 2240198"/>
                <a:gd name="connsiteY2308" fmla="*/ 882141 h 1729012"/>
                <a:gd name="connsiteX2309" fmla="*/ 1446915 w 2240198"/>
                <a:gd name="connsiteY2309" fmla="*/ 883354 h 1729012"/>
                <a:gd name="connsiteX2310" fmla="*/ 1445153 w 2240198"/>
                <a:gd name="connsiteY2310" fmla="*/ 883643 h 1729012"/>
                <a:gd name="connsiteX2311" fmla="*/ 1442370 w 2240198"/>
                <a:gd name="connsiteY2311" fmla="*/ 882798 h 1729012"/>
                <a:gd name="connsiteX2312" fmla="*/ 1442074 w 2240198"/>
                <a:gd name="connsiteY2312" fmla="*/ 878380 h 1729012"/>
                <a:gd name="connsiteX2313" fmla="*/ 1441737 w 2240198"/>
                <a:gd name="connsiteY2313" fmla="*/ 876768 h 1729012"/>
                <a:gd name="connsiteX2314" fmla="*/ 1440469 w 2240198"/>
                <a:gd name="connsiteY2314" fmla="*/ 875671 h 1729012"/>
                <a:gd name="connsiteX2315" fmla="*/ 1439715 w 2240198"/>
                <a:gd name="connsiteY2315" fmla="*/ 874513 h 1729012"/>
                <a:gd name="connsiteX2316" fmla="*/ 1438500 w 2240198"/>
                <a:gd name="connsiteY2316" fmla="*/ 873639 h 1729012"/>
                <a:gd name="connsiteX2317" fmla="*/ 1435984 w 2240198"/>
                <a:gd name="connsiteY2317" fmla="*/ 872751 h 1729012"/>
                <a:gd name="connsiteX2318" fmla="*/ 1433943 w 2240198"/>
                <a:gd name="connsiteY2318" fmla="*/ 870543 h 1729012"/>
                <a:gd name="connsiteX2319" fmla="*/ 1433517 w 2240198"/>
                <a:gd name="connsiteY2319" fmla="*/ 869541 h 1729012"/>
                <a:gd name="connsiteX2320" fmla="*/ 1433797 w 2240198"/>
                <a:gd name="connsiteY2320" fmla="*/ 868786 h 1729012"/>
                <a:gd name="connsiteX2321" fmla="*/ 1465089 w 2240198"/>
                <a:gd name="connsiteY2321" fmla="*/ 859091 h 1729012"/>
                <a:gd name="connsiteX2322" fmla="*/ 1467593 w 2240198"/>
                <a:gd name="connsiteY2322" fmla="*/ 861355 h 1729012"/>
                <a:gd name="connsiteX2323" fmla="*/ 1470119 w 2240198"/>
                <a:gd name="connsiteY2323" fmla="*/ 861867 h 1729012"/>
                <a:gd name="connsiteX2324" fmla="*/ 1472039 w 2240198"/>
                <a:gd name="connsiteY2324" fmla="*/ 861813 h 1729012"/>
                <a:gd name="connsiteX2325" fmla="*/ 1472465 w 2240198"/>
                <a:gd name="connsiteY2325" fmla="*/ 862428 h 1729012"/>
                <a:gd name="connsiteX2326" fmla="*/ 1470449 w 2240198"/>
                <a:gd name="connsiteY2326" fmla="*/ 864488 h 1729012"/>
                <a:gd name="connsiteX2327" fmla="*/ 1469206 w 2240198"/>
                <a:gd name="connsiteY2327" fmla="*/ 864874 h 1729012"/>
                <a:gd name="connsiteX2328" fmla="*/ 1466974 w 2240198"/>
                <a:gd name="connsiteY2328" fmla="*/ 863402 h 1729012"/>
                <a:gd name="connsiteX2329" fmla="*/ 1465301 w 2240198"/>
                <a:gd name="connsiteY2329" fmla="*/ 861598 h 1729012"/>
                <a:gd name="connsiteX2330" fmla="*/ 1464827 w 2240198"/>
                <a:gd name="connsiteY2330" fmla="*/ 860504 h 1729012"/>
                <a:gd name="connsiteX2331" fmla="*/ 1464694 w 2240198"/>
                <a:gd name="connsiteY2331" fmla="*/ 859299 h 1729012"/>
                <a:gd name="connsiteX2332" fmla="*/ 834464 w 2240198"/>
                <a:gd name="connsiteY2332" fmla="*/ 830693 h 1729012"/>
                <a:gd name="connsiteX2333" fmla="*/ 837665 w 2240198"/>
                <a:gd name="connsiteY2333" fmla="*/ 831031 h 1729012"/>
                <a:gd name="connsiteX2334" fmla="*/ 841746 w 2240198"/>
                <a:gd name="connsiteY2334" fmla="*/ 830975 h 1729012"/>
                <a:gd name="connsiteX2335" fmla="*/ 841040 w 2240198"/>
                <a:gd name="connsiteY2335" fmla="*/ 834273 h 1729012"/>
                <a:gd name="connsiteX2336" fmla="*/ 839473 w 2240198"/>
                <a:gd name="connsiteY2336" fmla="*/ 836383 h 1729012"/>
                <a:gd name="connsiteX2337" fmla="*/ 838237 w 2240198"/>
                <a:gd name="connsiteY2337" fmla="*/ 836982 h 1729012"/>
                <a:gd name="connsiteX2338" fmla="*/ 837699 w 2240198"/>
                <a:gd name="connsiteY2338" fmla="*/ 835829 h 1729012"/>
                <a:gd name="connsiteX2339" fmla="*/ 835301 w 2240198"/>
                <a:gd name="connsiteY2339" fmla="*/ 833184 h 1729012"/>
                <a:gd name="connsiteX2340" fmla="*/ 1991298 w 2240198"/>
                <a:gd name="connsiteY2340" fmla="*/ 822780 h 1729012"/>
                <a:gd name="connsiteX2341" fmla="*/ 1992641 w 2240198"/>
                <a:gd name="connsiteY2341" fmla="*/ 822847 h 1729012"/>
                <a:gd name="connsiteX2342" fmla="*/ 1993159 w 2240198"/>
                <a:gd name="connsiteY2342" fmla="*/ 823282 h 1729012"/>
                <a:gd name="connsiteX2343" fmla="*/ 1990921 w 2240198"/>
                <a:gd name="connsiteY2343" fmla="*/ 825172 h 1729012"/>
                <a:gd name="connsiteX2344" fmla="*/ 1985928 w 2240198"/>
                <a:gd name="connsiteY2344" fmla="*/ 828508 h 1729012"/>
                <a:gd name="connsiteX2345" fmla="*/ 1982787 w 2240198"/>
                <a:gd name="connsiteY2345" fmla="*/ 829683 h 1729012"/>
                <a:gd name="connsiteX2346" fmla="*/ 1981108 w 2240198"/>
                <a:gd name="connsiteY2346" fmla="*/ 828238 h 1729012"/>
                <a:gd name="connsiteX2347" fmla="*/ 1982288 w 2240198"/>
                <a:gd name="connsiteY2347" fmla="*/ 827831 h 1729012"/>
                <a:gd name="connsiteX2348" fmla="*/ 1984015 w 2240198"/>
                <a:gd name="connsiteY2348" fmla="*/ 826101 h 1729012"/>
                <a:gd name="connsiteX2349" fmla="*/ 1986363 w 2240198"/>
                <a:gd name="connsiteY2349" fmla="*/ 824572 h 1729012"/>
                <a:gd name="connsiteX2350" fmla="*/ 1987354 w 2240198"/>
                <a:gd name="connsiteY2350" fmla="*/ 823341 h 1729012"/>
                <a:gd name="connsiteX2351" fmla="*/ 835573 w 2240198"/>
                <a:gd name="connsiteY2351" fmla="*/ 802324 h 1729012"/>
                <a:gd name="connsiteX2352" fmla="*/ 837046 w 2240198"/>
                <a:gd name="connsiteY2352" fmla="*/ 804175 h 1729012"/>
                <a:gd name="connsiteX2353" fmla="*/ 837451 w 2240198"/>
                <a:gd name="connsiteY2353" fmla="*/ 807318 h 1729012"/>
                <a:gd name="connsiteX2354" fmla="*/ 837085 w 2240198"/>
                <a:gd name="connsiteY2354" fmla="*/ 808863 h 1729012"/>
                <a:gd name="connsiteX2355" fmla="*/ 838545 w 2240198"/>
                <a:gd name="connsiteY2355" fmla="*/ 810463 h 1729012"/>
                <a:gd name="connsiteX2356" fmla="*/ 839220 w 2240198"/>
                <a:gd name="connsiteY2356" fmla="*/ 810870 h 1729012"/>
                <a:gd name="connsiteX2357" fmla="*/ 839580 w 2240198"/>
                <a:gd name="connsiteY2357" fmla="*/ 812156 h 1729012"/>
                <a:gd name="connsiteX2358" fmla="*/ 839354 w 2240198"/>
                <a:gd name="connsiteY2358" fmla="*/ 813681 h 1729012"/>
                <a:gd name="connsiteX2359" fmla="*/ 838076 w 2240198"/>
                <a:gd name="connsiteY2359" fmla="*/ 817277 h 1729012"/>
                <a:gd name="connsiteX2360" fmla="*/ 837588 w 2240198"/>
                <a:gd name="connsiteY2360" fmla="*/ 816941 h 1729012"/>
                <a:gd name="connsiteX2361" fmla="*/ 836715 w 2240198"/>
                <a:gd name="connsiteY2361" fmla="*/ 815226 h 1729012"/>
                <a:gd name="connsiteX2362" fmla="*/ 834955 w 2240198"/>
                <a:gd name="connsiteY2362" fmla="*/ 814402 h 1729012"/>
                <a:gd name="connsiteX2363" fmla="*/ 832955 w 2240198"/>
                <a:gd name="connsiteY2363" fmla="*/ 812491 h 1729012"/>
                <a:gd name="connsiteX2364" fmla="*/ 832982 w 2240198"/>
                <a:gd name="connsiteY2364" fmla="*/ 808379 h 1729012"/>
                <a:gd name="connsiteX2365" fmla="*/ 833751 w 2240198"/>
                <a:gd name="connsiteY2365" fmla="*/ 806506 h 1729012"/>
                <a:gd name="connsiteX2366" fmla="*/ 833581 w 2240198"/>
                <a:gd name="connsiteY2366" fmla="*/ 803896 h 1729012"/>
                <a:gd name="connsiteX2367" fmla="*/ 807239 w 2240198"/>
                <a:gd name="connsiteY2367" fmla="*/ 788542 h 1729012"/>
                <a:gd name="connsiteX2368" fmla="*/ 810092 w 2240198"/>
                <a:gd name="connsiteY2368" fmla="*/ 788998 h 1729012"/>
                <a:gd name="connsiteX2369" fmla="*/ 812206 w 2240198"/>
                <a:gd name="connsiteY2369" fmla="*/ 788657 h 1729012"/>
                <a:gd name="connsiteX2370" fmla="*/ 813750 w 2240198"/>
                <a:gd name="connsiteY2370" fmla="*/ 790411 h 1729012"/>
                <a:gd name="connsiteX2371" fmla="*/ 814349 w 2240198"/>
                <a:gd name="connsiteY2371" fmla="*/ 792189 h 1729012"/>
                <a:gd name="connsiteX2372" fmla="*/ 814150 w 2240198"/>
                <a:gd name="connsiteY2372" fmla="*/ 792801 h 1729012"/>
                <a:gd name="connsiteX2373" fmla="*/ 813483 w 2240198"/>
                <a:gd name="connsiteY2373" fmla="*/ 793046 h 1729012"/>
                <a:gd name="connsiteX2374" fmla="*/ 809018 w 2240198"/>
                <a:gd name="connsiteY2374" fmla="*/ 791081 h 1729012"/>
                <a:gd name="connsiteX2375" fmla="*/ 807362 w 2240198"/>
                <a:gd name="connsiteY2375" fmla="*/ 789877 h 1729012"/>
                <a:gd name="connsiteX2376" fmla="*/ 806803 w 2240198"/>
                <a:gd name="connsiteY2376" fmla="*/ 788863 h 1729012"/>
                <a:gd name="connsiteX2377" fmla="*/ 1689312 w 2240198"/>
                <a:gd name="connsiteY2377" fmla="*/ 783700 h 1729012"/>
                <a:gd name="connsiteX2378" fmla="*/ 1696108 w 2240198"/>
                <a:gd name="connsiteY2378" fmla="*/ 785134 h 1729012"/>
                <a:gd name="connsiteX2379" fmla="*/ 1701956 w 2240198"/>
                <a:gd name="connsiteY2379" fmla="*/ 786819 h 1729012"/>
                <a:gd name="connsiteX2380" fmla="*/ 1709479 w 2240198"/>
                <a:gd name="connsiteY2380" fmla="*/ 787107 h 1729012"/>
                <a:gd name="connsiteX2381" fmla="*/ 1711768 w 2240198"/>
                <a:gd name="connsiteY2381" fmla="*/ 787747 h 1729012"/>
                <a:gd name="connsiteX2382" fmla="*/ 1712643 w 2240198"/>
                <a:gd name="connsiteY2382" fmla="*/ 788215 h 1729012"/>
                <a:gd name="connsiteX2383" fmla="*/ 1713252 w 2240198"/>
                <a:gd name="connsiteY2383" fmla="*/ 789081 h 1729012"/>
                <a:gd name="connsiteX2384" fmla="*/ 1714105 w 2240198"/>
                <a:gd name="connsiteY2384" fmla="*/ 793052 h 1729012"/>
                <a:gd name="connsiteX2385" fmla="*/ 1714191 w 2240198"/>
                <a:gd name="connsiteY2385" fmla="*/ 795171 h 1729012"/>
                <a:gd name="connsiteX2386" fmla="*/ 1713963 w 2240198"/>
                <a:gd name="connsiteY2386" fmla="*/ 796770 h 1729012"/>
                <a:gd name="connsiteX2387" fmla="*/ 1708523 w 2240198"/>
                <a:gd name="connsiteY2387" fmla="*/ 797171 h 1729012"/>
                <a:gd name="connsiteX2388" fmla="*/ 1696166 w 2240198"/>
                <a:gd name="connsiteY2388" fmla="*/ 797228 h 1729012"/>
                <a:gd name="connsiteX2389" fmla="*/ 1689446 w 2240198"/>
                <a:gd name="connsiteY2389" fmla="*/ 796921 h 1729012"/>
                <a:gd name="connsiteX2390" fmla="*/ 1686742 w 2240198"/>
                <a:gd name="connsiteY2390" fmla="*/ 796258 h 1729012"/>
                <a:gd name="connsiteX2391" fmla="*/ 1684393 w 2240198"/>
                <a:gd name="connsiteY2391" fmla="*/ 795226 h 1729012"/>
                <a:gd name="connsiteX2392" fmla="*/ 1681724 w 2240198"/>
                <a:gd name="connsiteY2392" fmla="*/ 791884 h 1729012"/>
                <a:gd name="connsiteX2393" fmla="*/ 1680016 w 2240198"/>
                <a:gd name="connsiteY2393" fmla="*/ 788436 h 1729012"/>
                <a:gd name="connsiteX2394" fmla="*/ 1679933 w 2240198"/>
                <a:gd name="connsiteY2394" fmla="*/ 786971 h 1729012"/>
                <a:gd name="connsiteX2395" fmla="*/ 1680385 w 2240198"/>
                <a:gd name="connsiteY2395" fmla="*/ 785648 h 1729012"/>
                <a:gd name="connsiteX2396" fmla="*/ 1681017 w 2240198"/>
                <a:gd name="connsiteY2396" fmla="*/ 784850 h 1729012"/>
                <a:gd name="connsiteX2397" fmla="*/ 799562 w 2240198"/>
                <a:gd name="connsiteY2397" fmla="*/ 783501 h 1729012"/>
                <a:gd name="connsiteX2398" fmla="*/ 802793 w 2240198"/>
                <a:gd name="connsiteY2398" fmla="*/ 785776 h 1729012"/>
                <a:gd name="connsiteX2399" fmla="*/ 803254 w 2240198"/>
                <a:gd name="connsiteY2399" fmla="*/ 787194 h 1729012"/>
                <a:gd name="connsiteX2400" fmla="*/ 803265 w 2240198"/>
                <a:gd name="connsiteY2400" fmla="*/ 788172 h 1729012"/>
                <a:gd name="connsiteX2401" fmla="*/ 802308 w 2240198"/>
                <a:gd name="connsiteY2401" fmla="*/ 788314 h 1729012"/>
                <a:gd name="connsiteX2402" fmla="*/ 798832 w 2240198"/>
                <a:gd name="connsiteY2402" fmla="*/ 785725 h 1729012"/>
                <a:gd name="connsiteX2403" fmla="*/ 1376852 w 2240198"/>
                <a:gd name="connsiteY2403" fmla="*/ 774423 h 1729012"/>
                <a:gd name="connsiteX2404" fmla="*/ 1380204 w 2240198"/>
                <a:gd name="connsiteY2404" fmla="*/ 775207 h 1729012"/>
                <a:gd name="connsiteX2405" fmla="*/ 1383196 w 2240198"/>
                <a:gd name="connsiteY2405" fmla="*/ 777931 h 1729012"/>
                <a:gd name="connsiteX2406" fmla="*/ 1383977 w 2240198"/>
                <a:gd name="connsiteY2406" fmla="*/ 779769 h 1729012"/>
                <a:gd name="connsiteX2407" fmla="*/ 1383744 w 2240198"/>
                <a:gd name="connsiteY2407" fmla="*/ 781724 h 1729012"/>
                <a:gd name="connsiteX2408" fmla="*/ 1384005 w 2240198"/>
                <a:gd name="connsiteY2408" fmla="*/ 784552 h 1729012"/>
                <a:gd name="connsiteX2409" fmla="*/ 1384757 w 2240198"/>
                <a:gd name="connsiteY2409" fmla="*/ 788257 h 1729012"/>
                <a:gd name="connsiteX2410" fmla="*/ 1384958 w 2240198"/>
                <a:gd name="connsiteY2410" fmla="*/ 790939 h 1729012"/>
                <a:gd name="connsiteX2411" fmla="*/ 1384603 w 2240198"/>
                <a:gd name="connsiteY2411" fmla="*/ 792606 h 1729012"/>
                <a:gd name="connsiteX2412" fmla="*/ 1383323 w 2240198"/>
                <a:gd name="connsiteY2412" fmla="*/ 795731 h 1729012"/>
                <a:gd name="connsiteX2413" fmla="*/ 1382239 w 2240198"/>
                <a:gd name="connsiteY2413" fmla="*/ 797181 h 1729012"/>
                <a:gd name="connsiteX2414" fmla="*/ 1380809 w 2240198"/>
                <a:gd name="connsiteY2414" fmla="*/ 798543 h 1729012"/>
                <a:gd name="connsiteX2415" fmla="*/ 1379555 w 2240198"/>
                <a:gd name="connsiteY2415" fmla="*/ 799247 h 1729012"/>
                <a:gd name="connsiteX2416" fmla="*/ 1378474 w 2240198"/>
                <a:gd name="connsiteY2416" fmla="*/ 799294 h 1729012"/>
                <a:gd name="connsiteX2417" fmla="*/ 1376755 w 2240198"/>
                <a:gd name="connsiteY2417" fmla="*/ 798631 h 1729012"/>
                <a:gd name="connsiteX2418" fmla="*/ 1372821 w 2240198"/>
                <a:gd name="connsiteY2418" fmla="*/ 796013 h 1729012"/>
                <a:gd name="connsiteX2419" fmla="*/ 1372025 w 2240198"/>
                <a:gd name="connsiteY2419" fmla="*/ 794881 h 1729012"/>
                <a:gd name="connsiteX2420" fmla="*/ 1371624 w 2240198"/>
                <a:gd name="connsiteY2420" fmla="*/ 793558 h 1729012"/>
                <a:gd name="connsiteX2421" fmla="*/ 1371621 w 2240198"/>
                <a:gd name="connsiteY2421" fmla="*/ 792041 h 1729012"/>
                <a:gd name="connsiteX2422" fmla="*/ 1371973 w 2240198"/>
                <a:gd name="connsiteY2422" fmla="*/ 790470 h 1729012"/>
                <a:gd name="connsiteX2423" fmla="*/ 1373177 w 2240198"/>
                <a:gd name="connsiteY2423" fmla="*/ 787328 h 1729012"/>
                <a:gd name="connsiteX2424" fmla="*/ 1370878 w 2240198"/>
                <a:gd name="connsiteY2424" fmla="*/ 784828 h 1729012"/>
                <a:gd name="connsiteX2425" fmla="*/ 1370318 w 2240198"/>
                <a:gd name="connsiteY2425" fmla="*/ 783404 h 1729012"/>
                <a:gd name="connsiteX2426" fmla="*/ 1370588 w 2240198"/>
                <a:gd name="connsiteY2426" fmla="*/ 782598 h 1729012"/>
                <a:gd name="connsiteX2427" fmla="*/ 1371869 w 2240198"/>
                <a:gd name="connsiteY2427" fmla="*/ 780668 h 1729012"/>
                <a:gd name="connsiteX2428" fmla="*/ 1372218 w 2240198"/>
                <a:gd name="connsiteY2428" fmla="*/ 779461 h 1729012"/>
                <a:gd name="connsiteX2429" fmla="*/ 1373508 w 2240198"/>
                <a:gd name="connsiteY2429" fmla="*/ 777747 h 1729012"/>
                <a:gd name="connsiteX2430" fmla="*/ 1651604 w 2240198"/>
                <a:gd name="connsiteY2430" fmla="*/ 773055 h 1729012"/>
                <a:gd name="connsiteX2431" fmla="*/ 1656439 w 2240198"/>
                <a:gd name="connsiteY2431" fmla="*/ 773682 h 1729012"/>
                <a:gd name="connsiteX2432" fmla="*/ 1669676 w 2240198"/>
                <a:gd name="connsiteY2432" fmla="*/ 777557 h 1729012"/>
                <a:gd name="connsiteX2433" fmla="*/ 1670961 w 2240198"/>
                <a:gd name="connsiteY2433" fmla="*/ 778963 h 1729012"/>
                <a:gd name="connsiteX2434" fmla="*/ 1671595 w 2240198"/>
                <a:gd name="connsiteY2434" fmla="*/ 780220 h 1729012"/>
                <a:gd name="connsiteX2435" fmla="*/ 1671966 w 2240198"/>
                <a:gd name="connsiteY2435" fmla="*/ 781615 h 1729012"/>
                <a:gd name="connsiteX2436" fmla="*/ 1671995 w 2240198"/>
                <a:gd name="connsiteY2436" fmla="*/ 784488 h 1729012"/>
                <a:gd name="connsiteX2437" fmla="*/ 1671729 w 2240198"/>
                <a:gd name="connsiteY2437" fmla="*/ 785638 h 1729012"/>
                <a:gd name="connsiteX2438" fmla="*/ 1670436 w 2240198"/>
                <a:gd name="connsiteY2438" fmla="*/ 788417 h 1729012"/>
                <a:gd name="connsiteX2439" fmla="*/ 1670347 w 2240198"/>
                <a:gd name="connsiteY2439" fmla="*/ 789289 h 1729012"/>
                <a:gd name="connsiteX2440" fmla="*/ 1671386 w 2240198"/>
                <a:gd name="connsiteY2440" fmla="*/ 798577 h 1729012"/>
                <a:gd name="connsiteX2441" fmla="*/ 1671281 w 2240198"/>
                <a:gd name="connsiteY2441" fmla="*/ 803628 h 1729012"/>
                <a:gd name="connsiteX2442" fmla="*/ 1670348 w 2240198"/>
                <a:gd name="connsiteY2442" fmla="*/ 807839 h 1729012"/>
                <a:gd name="connsiteX2443" fmla="*/ 1668455 w 2240198"/>
                <a:gd name="connsiteY2443" fmla="*/ 811209 h 1729012"/>
                <a:gd name="connsiteX2444" fmla="*/ 1665601 w 2240198"/>
                <a:gd name="connsiteY2444" fmla="*/ 813740 h 1729012"/>
                <a:gd name="connsiteX2445" fmla="*/ 1663431 w 2240198"/>
                <a:gd name="connsiteY2445" fmla="*/ 815191 h 1729012"/>
                <a:gd name="connsiteX2446" fmla="*/ 1653797 w 2240198"/>
                <a:gd name="connsiteY2446" fmla="*/ 818767 h 1729012"/>
                <a:gd name="connsiteX2447" fmla="*/ 1646978 w 2240198"/>
                <a:gd name="connsiteY2447" fmla="*/ 819692 h 1729012"/>
                <a:gd name="connsiteX2448" fmla="*/ 1639781 w 2240198"/>
                <a:gd name="connsiteY2448" fmla="*/ 819860 h 1729012"/>
                <a:gd name="connsiteX2449" fmla="*/ 1630624 w 2240198"/>
                <a:gd name="connsiteY2449" fmla="*/ 820816 h 1729012"/>
                <a:gd name="connsiteX2450" fmla="*/ 1626443 w 2240198"/>
                <a:gd name="connsiteY2450" fmla="*/ 820616 h 1729012"/>
                <a:gd name="connsiteX2451" fmla="*/ 1624279 w 2240198"/>
                <a:gd name="connsiteY2451" fmla="*/ 820196 h 1729012"/>
                <a:gd name="connsiteX2452" fmla="*/ 1622740 w 2240198"/>
                <a:gd name="connsiteY2452" fmla="*/ 819480 h 1729012"/>
                <a:gd name="connsiteX2453" fmla="*/ 1620938 w 2240198"/>
                <a:gd name="connsiteY2453" fmla="*/ 817216 h 1729012"/>
                <a:gd name="connsiteX2454" fmla="*/ 1618880 w 2240198"/>
                <a:gd name="connsiteY2454" fmla="*/ 813399 h 1729012"/>
                <a:gd name="connsiteX2455" fmla="*/ 1617177 w 2240198"/>
                <a:gd name="connsiteY2455" fmla="*/ 809095 h 1729012"/>
                <a:gd name="connsiteX2456" fmla="*/ 1615145 w 2240198"/>
                <a:gd name="connsiteY2456" fmla="*/ 801449 h 1729012"/>
                <a:gd name="connsiteX2457" fmla="*/ 1615106 w 2240198"/>
                <a:gd name="connsiteY2457" fmla="*/ 800540 h 1729012"/>
                <a:gd name="connsiteX2458" fmla="*/ 1617068 w 2240198"/>
                <a:gd name="connsiteY2458" fmla="*/ 794295 h 1729012"/>
                <a:gd name="connsiteX2459" fmla="*/ 1619671 w 2240198"/>
                <a:gd name="connsiteY2459" fmla="*/ 790079 h 1729012"/>
                <a:gd name="connsiteX2460" fmla="*/ 1624265 w 2240198"/>
                <a:gd name="connsiteY2460" fmla="*/ 783809 h 1729012"/>
                <a:gd name="connsiteX2461" fmla="*/ 1629451 w 2240198"/>
                <a:gd name="connsiteY2461" fmla="*/ 777679 h 1729012"/>
                <a:gd name="connsiteX2462" fmla="*/ 1630768 w 2240198"/>
                <a:gd name="connsiteY2462" fmla="*/ 776666 h 1729012"/>
                <a:gd name="connsiteX2463" fmla="*/ 1633112 w 2240198"/>
                <a:gd name="connsiteY2463" fmla="*/ 775591 h 1729012"/>
                <a:gd name="connsiteX2464" fmla="*/ 1638979 w 2240198"/>
                <a:gd name="connsiteY2464" fmla="*/ 773850 h 1729012"/>
                <a:gd name="connsiteX2465" fmla="*/ 1643839 w 2240198"/>
                <a:gd name="connsiteY2465" fmla="*/ 774283 h 1729012"/>
                <a:gd name="connsiteX2466" fmla="*/ 1645981 w 2240198"/>
                <a:gd name="connsiteY2466" fmla="*/ 774063 h 1729012"/>
                <a:gd name="connsiteX2467" fmla="*/ 1648657 w 2240198"/>
                <a:gd name="connsiteY2467" fmla="*/ 773252 h 1729012"/>
                <a:gd name="connsiteX2468" fmla="*/ 1573353 w 2240198"/>
                <a:gd name="connsiteY2468" fmla="*/ 772344 h 1729012"/>
                <a:gd name="connsiteX2469" fmla="*/ 1575480 w 2240198"/>
                <a:gd name="connsiteY2469" fmla="*/ 774218 h 1729012"/>
                <a:gd name="connsiteX2470" fmla="*/ 1576498 w 2240198"/>
                <a:gd name="connsiteY2470" fmla="*/ 776063 h 1729012"/>
                <a:gd name="connsiteX2471" fmla="*/ 1572589 w 2240198"/>
                <a:gd name="connsiteY2471" fmla="*/ 779360 h 1729012"/>
                <a:gd name="connsiteX2472" fmla="*/ 1570526 w 2240198"/>
                <a:gd name="connsiteY2472" fmla="*/ 779843 h 1729012"/>
                <a:gd name="connsiteX2473" fmla="*/ 1567738 w 2240198"/>
                <a:gd name="connsiteY2473" fmla="*/ 777517 h 1729012"/>
                <a:gd name="connsiteX2474" fmla="*/ 1567719 w 2240198"/>
                <a:gd name="connsiteY2474" fmla="*/ 776226 h 1729012"/>
                <a:gd name="connsiteX2475" fmla="*/ 1568259 w 2240198"/>
                <a:gd name="connsiteY2475" fmla="*/ 773124 h 1729012"/>
                <a:gd name="connsiteX2476" fmla="*/ 915235 w 2240198"/>
                <a:gd name="connsiteY2476" fmla="*/ 762287 h 1729012"/>
                <a:gd name="connsiteX2477" fmla="*/ 920480 w 2240198"/>
                <a:gd name="connsiteY2477" fmla="*/ 762512 h 1729012"/>
                <a:gd name="connsiteX2478" fmla="*/ 922976 w 2240198"/>
                <a:gd name="connsiteY2478" fmla="*/ 763180 h 1729012"/>
                <a:gd name="connsiteX2479" fmla="*/ 926269 w 2240198"/>
                <a:gd name="connsiteY2479" fmla="*/ 765733 h 1729012"/>
                <a:gd name="connsiteX2480" fmla="*/ 926968 w 2240198"/>
                <a:gd name="connsiteY2480" fmla="*/ 767177 h 1729012"/>
                <a:gd name="connsiteX2481" fmla="*/ 927072 w 2240198"/>
                <a:gd name="connsiteY2481" fmla="*/ 768108 h 1729012"/>
                <a:gd name="connsiteX2482" fmla="*/ 926648 w 2240198"/>
                <a:gd name="connsiteY2482" fmla="*/ 768915 h 1729012"/>
                <a:gd name="connsiteX2483" fmla="*/ 924530 w 2240198"/>
                <a:gd name="connsiteY2483" fmla="*/ 770023 h 1729012"/>
                <a:gd name="connsiteX2484" fmla="*/ 923128 w 2240198"/>
                <a:gd name="connsiteY2484" fmla="*/ 770186 h 1729012"/>
                <a:gd name="connsiteX2485" fmla="*/ 920504 w 2240198"/>
                <a:gd name="connsiteY2485" fmla="*/ 769481 h 1729012"/>
                <a:gd name="connsiteX2486" fmla="*/ 916658 w 2240198"/>
                <a:gd name="connsiteY2486" fmla="*/ 767913 h 1729012"/>
                <a:gd name="connsiteX2487" fmla="*/ 913765 w 2240198"/>
                <a:gd name="connsiteY2487" fmla="*/ 766251 h 1729012"/>
                <a:gd name="connsiteX2488" fmla="*/ 911825 w 2240198"/>
                <a:gd name="connsiteY2488" fmla="*/ 764500 h 1729012"/>
                <a:gd name="connsiteX2489" fmla="*/ 911582 w 2240198"/>
                <a:gd name="connsiteY2489" fmla="*/ 763289 h 1729012"/>
                <a:gd name="connsiteX2490" fmla="*/ 913036 w 2240198"/>
                <a:gd name="connsiteY2490" fmla="*/ 762621 h 1729012"/>
                <a:gd name="connsiteX2491" fmla="*/ 1668511 w 2240198"/>
                <a:gd name="connsiteY2491" fmla="*/ 757246 h 1729012"/>
                <a:gd name="connsiteX2492" fmla="*/ 1671682 w 2240198"/>
                <a:gd name="connsiteY2492" fmla="*/ 757748 h 1729012"/>
                <a:gd name="connsiteX2493" fmla="*/ 1673992 w 2240198"/>
                <a:gd name="connsiteY2493" fmla="*/ 759386 h 1729012"/>
                <a:gd name="connsiteX2494" fmla="*/ 1676498 w 2240198"/>
                <a:gd name="connsiteY2494" fmla="*/ 763924 h 1729012"/>
                <a:gd name="connsiteX2495" fmla="*/ 1678167 w 2240198"/>
                <a:gd name="connsiteY2495" fmla="*/ 766133 h 1729012"/>
                <a:gd name="connsiteX2496" fmla="*/ 1678692 w 2240198"/>
                <a:gd name="connsiteY2496" fmla="*/ 767736 h 1729012"/>
                <a:gd name="connsiteX2497" fmla="*/ 1677862 w 2240198"/>
                <a:gd name="connsiteY2497" fmla="*/ 768494 h 1729012"/>
                <a:gd name="connsiteX2498" fmla="*/ 1677940 w 2240198"/>
                <a:gd name="connsiteY2498" fmla="*/ 769238 h 1729012"/>
                <a:gd name="connsiteX2499" fmla="*/ 1678321 w 2240198"/>
                <a:gd name="connsiteY2499" fmla="*/ 769697 h 1729012"/>
                <a:gd name="connsiteX2500" fmla="*/ 1678177 w 2240198"/>
                <a:gd name="connsiteY2500" fmla="*/ 770542 h 1729012"/>
                <a:gd name="connsiteX2501" fmla="*/ 1677508 w 2240198"/>
                <a:gd name="connsiteY2501" fmla="*/ 771776 h 1729012"/>
                <a:gd name="connsiteX2502" fmla="*/ 1676597 w 2240198"/>
                <a:gd name="connsiteY2502" fmla="*/ 772534 h 1729012"/>
                <a:gd name="connsiteX2503" fmla="*/ 1674607 w 2240198"/>
                <a:gd name="connsiteY2503" fmla="*/ 772817 h 1729012"/>
                <a:gd name="connsiteX2504" fmla="*/ 1671737 w 2240198"/>
                <a:gd name="connsiteY2504" fmla="*/ 770100 h 1729012"/>
                <a:gd name="connsiteX2505" fmla="*/ 1665711 w 2240198"/>
                <a:gd name="connsiteY2505" fmla="*/ 767011 h 1729012"/>
                <a:gd name="connsiteX2506" fmla="*/ 1663427 w 2240198"/>
                <a:gd name="connsiteY2506" fmla="*/ 764766 h 1729012"/>
                <a:gd name="connsiteX2507" fmla="*/ 1663346 w 2240198"/>
                <a:gd name="connsiteY2507" fmla="*/ 763681 h 1729012"/>
                <a:gd name="connsiteX2508" fmla="*/ 1663530 w 2240198"/>
                <a:gd name="connsiteY2508" fmla="*/ 761977 h 1729012"/>
                <a:gd name="connsiteX2509" fmla="*/ 1664190 w 2240198"/>
                <a:gd name="connsiteY2509" fmla="*/ 759894 h 1729012"/>
                <a:gd name="connsiteX2510" fmla="*/ 1666289 w 2240198"/>
                <a:gd name="connsiteY2510" fmla="*/ 757614 h 1729012"/>
                <a:gd name="connsiteX2511" fmla="*/ 988614 w 2240198"/>
                <a:gd name="connsiteY2511" fmla="*/ 751529 h 1729012"/>
                <a:gd name="connsiteX2512" fmla="*/ 993305 w 2240198"/>
                <a:gd name="connsiteY2512" fmla="*/ 752699 h 1729012"/>
                <a:gd name="connsiteX2513" fmla="*/ 995056 w 2240198"/>
                <a:gd name="connsiteY2513" fmla="*/ 753776 h 1729012"/>
                <a:gd name="connsiteX2514" fmla="*/ 995725 w 2240198"/>
                <a:gd name="connsiteY2514" fmla="*/ 754714 h 1729012"/>
                <a:gd name="connsiteX2515" fmla="*/ 996012 w 2240198"/>
                <a:gd name="connsiteY2515" fmla="*/ 756008 h 1729012"/>
                <a:gd name="connsiteX2516" fmla="*/ 995748 w 2240198"/>
                <a:gd name="connsiteY2516" fmla="*/ 759186 h 1729012"/>
                <a:gd name="connsiteX2517" fmla="*/ 994169 w 2240198"/>
                <a:gd name="connsiteY2517" fmla="*/ 759860 h 1729012"/>
                <a:gd name="connsiteX2518" fmla="*/ 992860 w 2240198"/>
                <a:gd name="connsiteY2518" fmla="*/ 762088 h 1729012"/>
                <a:gd name="connsiteX2519" fmla="*/ 991813 w 2240198"/>
                <a:gd name="connsiteY2519" fmla="*/ 762148 h 1729012"/>
                <a:gd name="connsiteX2520" fmla="*/ 990357 w 2240198"/>
                <a:gd name="connsiteY2520" fmla="*/ 761361 h 1729012"/>
                <a:gd name="connsiteX2521" fmla="*/ 982199 w 2240198"/>
                <a:gd name="connsiteY2521" fmla="*/ 758678 h 1729012"/>
                <a:gd name="connsiteX2522" fmla="*/ 981140 w 2240198"/>
                <a:gd name="connsiteY2522" fmla="*/ 757869 h 1729012"/>
                <a:gd name="connsiteX2523" fmla="*/ 982094 w 2240198"/>
                <a:gd name="connsiteY2523" fmla="*/ 756740 h 1729012"/>
                <a:gd name="connsiteX2524" fmla="*/ 985065 w 2240198"/>
                <a:gd name="connsiteY2524" fmla="*/ 755285 h 1729012"/>
                <a:gd name="connsiteX2525" fmla="*/ 987067 w 2240198"/>
                <a:gd name="connsiteY2525" fmla="*/ 753802 h 1729012"/>
                <a:gd name="connsiteX2526" fmla="*/ 1026473 w 2240198"/>
                <a:gd name="connsiteY2526" fmla="*/ 742226 h 1729012"/>
                <a:gd name="connsiteX2527" fmla="*/ 1029169 w 2240198"/>
                <a:gd name="connsiteY2527" fmla="*/ 742536 h 1729012"/>
                <a:gd name="connsiteX2528" fmla="*/ 1031299 w 2240198"/>
                <a:gd name="connsiteY2528" fmla="*/ 743892 h 1729012"/>
                <a:gd name="connsiteX2529" fmla="*/ 1032338 w 2240198"/>
                <a:gd name="connsiteY2529" fmla="*/ 745664 h 1729012"/>
                <a:gd name="connsiteX2530" fmla="*/ 1034419 w 2240198"/>
                <a:gd name="connsiteY2530" fmla="*/ 747062 h 1729012"/>
                <a:gd name="connsiteX2531" fmla="*/ 1035141 w 2240198"/>
                <a:gd name="connsiteY2531" fmla="*/ 748049 h 1729012"/>
                <a:gd name="connsiteX2532" fmla="*/ 1034157 w 2240198"/>
                <a:gd name="connsiteY2532" fmla="*/ 752356 h 1729012"/>
                <a:gd name="connsiteX2533" fmla="*/ 1033357 w 2240198"/>
                <a:gd name="connsiteY2533" fmla="*/ 753755 h 1729012"/>
                <a:gd name="connsiteX2534" fmla="*/ 1032364 w 2240198"/>
                <a:gd name="connsiteY2534" fmla="*/ 754153 h 1729012"/>
                <a:gd name="connsiteX2535" fmla="*/ 1030392 w 2240198"/>
                <a:gd name="connsiteY2535" fmla="*/ 755800 h 1729012"/>
                <a:gd name="connsiteX2536" fmla="*/ 1029592 w 2240198"/>
                <a:gd name="connsiteY2536" fmla="*/ 756020 h 1729012"/>
                <a:gd name="connsiteX2537" fmla="*/ 1028443 w 2240198"/>
                <a:gd name="connsiteY2537" fmla="*/ 754972 h 1729012"/>
                <a:gd name="connsiteX2538" fmla="*/ 1027477 w 2240198"/>
                <a:gd name="connsiteY2538" fmla="*/ 753263 h 1729012"/>
                <a:gd name="connsiteX2539" fmla="*/ 1027066 w 2240198"/>
                <a:gd name="connsiteY2539" fmla="*/ 752995 h 1729012"/>
                <a:gd name="connsiteX2540" fmla="*/ 1026454 w 2240198"/>
                <a:gd name="connsiteY2540" fmla="*/ 753065 h 1729012"/>
                <a:gd name="connsiteX2541" fmla="*/ 1025126 w 2240198"/>
                <a:gd name="connsiteY2541" fmla="*/ 754153 h 1729012"/>
                <a:gd name="connsiteX2542" fmla="*/ 1024539 w 2240198"/>
                <a:gd name="connsiteY2542" fmla="*/ 754138 h 1729012"/>
                <a:gd name="connsiteX2543" fmla="*/ 1024047 w 2240198"/>
                <a:gd name="connsiteY2543" fmla="*/ 753408 h 1729012"/>
                <a:gd name="connsiteX2544" fmla="*/ 1023808 w 2240198"/>
                <a:gd name="connsiteY2544" fmla="*/ 751947 h 1729012"/>
                <a:gd name="connsiteX2545" fmla="*/ 1023827 w 2240198"/>
                <a:gd name="connsiteY2545" fmla="*/ 749761 h 1729012"/>
                <a:gd name="connsiteX2546" fmla="*/ 1024454 w 2240198"/>
                <a:gd name="connsiteY2546" fmla="*/ 746388 h 1729012"/>
                <a:gd name="connsiteX2547" fmla="*/ 1024493 w 2240198"/>
                <a:gd name="connsiteY2547" fmla="*/ 745156 h 1729012"/>
                <a:gd name="connsiteX2548" fmla="*/ 1024159 w 2240198"/>
                <a:gd name="connsiteY2548" fmla="*/ 744219 h 1729012"/>
                <a:gd name="connsiteX2549" fmla="*/ 1024436 w 2240198"/>
                <a:gd name="connsiteY2549" fmla="*/ 743365 h 1729012"/>
                <a:gd name="connsiteX2550" fmla="*/ 1025327 w 2240198"/>
                <a:gd name="connsiteY2550" fmla="*/ 742592 h 1729012"/>
                <a:gd name="connsiteX2551" fmla="*/ 1035784 w 2240198"/>
                <a:gd name="connsiteY2551" fmla="*/ 738024 h 1729012"/>
                <a:gd name="connsiteX2552" fmla="*/ 1037820 w 2240198"/>
                <a:gd name="connsiteY2552" fmla="*/ 738827 h 1729012"/>
                <a:gd name="connsiteX2553" fmla="*/ 1038770 w 2240198"/>
                <a:gd name="connsiteY2553" fmla="*/ 739935 h 1729012"/>
                <a:gd name="connsiteX2554" fmla="*/ 1039524 w 2240198"/>
                <a:gd name="connsiteY2554" fmla="*/ 741690 h 1729012"/>
                <a:gd name="connsiteX2555" fmla="*/ 1039802 w 2240198"/>
                <a:gd name="connsiteY2555" fmla="*/ 743183 h 1729012"/>
                <a:gd name="connsiteX2556" fmla="*/ 1039209 w 2240198"/>
                <a:gd name="connsiteY2556" fmla="*/ 745828 h 1729012"/>
                <a:gd name="connsiteX2557" fmla="*/ 1036083 w 2240198"/>
                <a:gd name="connsiteY2557" fmla="*/ 745120 h 1729012"/>
                <a:gd name="connsiteX2558" fmla="*/ 1034704 w 2240198"/>
                <a:gd name="connsiteY2558" fmla="*/ 744165 h 1729012"/>
                <a:gd name="connsiteX2559" fmla="*/ 1033530 w 2240198"/>
                <a:gd name="connsiteY2559" fmla="*/ 741990 h 1729012"/>
                <a:gd name="connsiteX2560" fmla="*/ 1033394 w 2240198"/>
                <a:gd name="connsiteY2560" fmla="*/ 741438 h 1729012"/>
                <a:gd name="connsiteX2561" fmla="*/ 1033655 w 2240198"/>
                <a:gd name="connsiteY2561" fmla="*/ 740607 h 1729012"/>
                <a:gd name="connsiteX2562" fmla="*/ 1034926 w 2240198"/>
                <a:gd name="connsiteY2562" fmla="*/ 738713 h 1729012"/>
                <a:gd name="connsiteX2563" fmla="*/ 1276424 w 2240198"/>
                <a:gd name="connsiteY2563" fmla="*/ 727098 h 1729012"/>
                <a:gd name="connsiteX2564" fmla="*/ 1278024 w 2240198"/>
                <a:gd name="connsiteY2564" fmla="*/ 727381 h 1729012"/>
                <a:gd name="connsiteX2565" fmla="*/ 1279542 w 2240198"/>
                <a:gd name="connsiteY2565" fmla="*/ 729315 h 1729012"/>
                <a:gd name="connsiteX2566" fmla="*/ 1280283 w 2240198"/>
                <a:gd name="connsiteY2566" fmla="*/ 730843 h 1729012"/>
                <a:gd name="connsiteX2567" fmla="*/ 1280924 w 2240198"/>
                <a:gd name="connsiteY2567" fmla="*/ 732800 h 1729012"/>
                <a:gd name="connsiteX2568" fmla="*/ 1280741 w 2240198"/>
                <a:gd name="connsiteY2568" fmla="*/ 733939 h 1729012"/>
                <a:gd name="connsiteX2569" fmla="*/ 1278665 w 2240198"/>
                <a:gd name="connsiteY2569" fmla="*/ 734460 h 1729012"/>
                <a:gd name="connsiteX2570" fmla="*/ 1277363 w 2240198"/>
                <a:gd name="connsiteY2570" fmla="*/ 732608 h 1729012"/>
                <a:gd name="connsiteX2571" fmla="*/ 1276307 w 2240198"/>
                <a:gd name="connsiteY2571" fmla="*/ 732226 h 1729012"/>
                <a:gd name="connsiteX2572" fmla="*/ 1275839 w 2240198"/>
                <a:gd name="connsiteY2572" fmla="*/ 730989 h 1729012"/>
                <a:gd name="connsiteX2573" fmla="*/ 1273666 w 2240198"/>
                <a:gd name="connsiteY2573" fmla="*/ 730747 h 1729012"/>
                <a:gd name="connsiteX2574" fmla="*/ 1273815 w 2240198"/>
                <a:gd name="connsiteY2574" fmla="*/ 728807 h 1729012"/>
                <a:gd name="connsiteX2575" fmla="*/ 1274406 w 2240198"/>
                <a:gd name="connsiteY2575" fmla="*/ 727852 h 1729012"/>
                <a:gd name="connsiteX2576" fmla="*/ 1585895 w 2240198"/>
                <a:gd name="connsiteY2576" fmla="*/ 726411 h 1729012"/>
                <a:gd name="connsiteX2577" fmla="*/ 1589074 w 2240198"/>
                <a:gd name="connsiteY2577" fmla="*/ 726566 h 1729012"/>
                <a:gd name="connsiteX2578" fmla="*/ 1589887 w 2240198"/>
                <a:gd name="connsiteY2578" fmla="*/ 726894 h 1729012"/>
                <a:gd name="connsiteX2579" fmla="*/ 1590598 w 2240198"/>
                <a:gd name="connsiteY2579" fmla="*/ 727677 h 1729012"/>
                <a:gd name="connsiteX2580" fmla="*/ 1591570 w 2240198"/>
                <a:gd name="connsiteY2580" fmla="*/ 729763 h 1729012"/>
                <a:gd name="connsiteX2581" fmla="*/ 1591701 w 2240198"/>
                <a:gd name="connsiteY2581" fmla="*/ 730237 h 1729012"/>
                <a:gd name="connsiteX2582" fmla="*/ 1590229 w 2240198"/>
                <a:gd name="connsiteY2582" fmla="*/ 732082 h 1729012"/>
                <a:gd name="connsiteX2583" fmla="*/ 1586376 w 2240198"/>
                <a:gd name="connsiteY2583" fmla="*/ 734917 h 1729012"/>
                <a:gd name="connsiteX2584" fmla="*/ 1583993 w 2240198"/>
                <a:gd name="connsiteY2584" fmla="*/ 737286 h 1729012"/>
                <a:gd name="connsiteX2585" fmla="*/ 1583516 w 2240198"/>
                <a:gd name="connsiteY2585" fmla="*/ 738060 h 1729012"/>
                <a:gd name="connsiteX2586" fmla="*/ 1583299 w 2240198"/>
                <a:gd name="connsiteY2586" fmla="*/ 739059 h 1729012"/>
                <a:gd name="connsiteX2587" fmla="*/ 1582402 w 2240198"/>
                <a:gd name="connsiteY2587" fmla="*/ 740269 h 1729012"/>
                <a:gd name="connsiteX2588" fmla="*/ 1579620 w 2240198"/>
                <a:gd name="connsiteY2588" fmla="*/ 743177 h 1729012"/>
                <a:gd name="connsiteX2589" fmla="*/ 1577749 w 2240198"/>
                <a:gd name="connsiteY2589" fmla="*/ 745983 h 1729012"/>
                <a:gd name="connsiteX2590" fmla="*/ 1575886 w 2240198"/>
                <a:gd name="connsiteY2590" fmla="*/ 747528 h 1729012"/>
                <a:gd name="connsiteX2591" fmla="*/ 1570791 w 2240198"/>
                <a:gd name="connsiteY2591" fmla="*/ 748981 h 1729012"/>
                <a:gd name="connsiteX2592" fmla="*/ 1566808 w 2240198"/>
                <a:gd name="connsiteY2592" fmla="*/ 750640 h 1729012"/>
                <a:gd name="connsiteX2593" fmla="*/ 1565057 w 2240198"/>
                <a:gd name="connsiteY2593" fmla="*/ 750938 h 1729012"/>
                <a:gd name="connsiteX2594" fmla="*/ 1562986 w 2240198"/>
                <a:gd name="connsiteY2594" fmla="*/ 750099 h 1729012"/>
                <a:gd name="connsiteX2595" fmla="*/ 1562249 w 2240198"/>
                <a:gd name="connsiteY2595" fmla="*/ 748658 h 1729012"/>
                <a:gd name="connsiteX2596" fmla="*/ 1561861 w 2240198"/>
                <a:gd name="connsiteY2596" fmla="*/ 747201 h 1729012"/>
                <a:gd name="connsiteX2597" fmla="*/ 1562232 w 2240198"/>
                <a:gd name="connsiteY2597" fmla="*/ 746451 h 1729012"/>
                <a:gd name="connsiteX2598" fmla="*/ 1563155 w 2240198"/>
                <a:gd name="connsiteY2598" fmla="*/ 745742 h 1729012"/>
                <a:gd name="connsiteX2599" fmla="*/ 1564410 w 2240198"/>
                <a:gd name="connsiteY2599" fmla="*/ 744125 h 1729012"/>
                <a:gd name="connsiteX2600" fmla="*/ 1565996 w 2240198"/>
                <a:gd name="connsiteY2600" fmla="*/ 741593 h 1729012"/>
                <a:gd name="connsiteX2601" fmla="*/ 1568474 w 2240198"/>
                <a:gd name="connsiteY2601" fmla="*/ 739895 h 1729012"/>
                <a:gd name="connsiteX2602" fmla="*/ 1573913 w 2240198"/>
                <a:gd name="connsiteY2602" fmla="*/ 738317 h 1729012"/>
                <a:gd name="connsiteX2603" fmla="*/ 1574685 w 2240198"/>
                <a:gd name="connsiteY2603" fmla="*/ 737760 h 1729012"/>
                <a:gd name="connsiteX2604" fmla="*/ 1577117 w 2240198"/>
                <a:gd name="connsiteY2604" fmla="*/ 733314 h 1729012"/>
                <a:gd name="connsiteX2605" fmla="*/ 1577936 w 2240198"/>
                <a:gd name="connsiteY2605" fmla="*/ 732551 h 1729012"/>
                <a:gd name="connsiteX2606" fmla="*/ 1580720 w 2240198"/>
                <a:gd name="connsiteY2606" fmla="*/ 732098 h 1729012"/>
                <a:gd name="connsiteX2607" fmla="*/ 1581019 w 2240198"/>
                <a:gd name="connsiteY2607" fmla="*/ 731524 h 1729012"/>
                <a:gd name="connsiteX2608" fmla="*/ 1580034 w 2240198"/>
                <a:gd name="connsiteY2608" fmla="*/ 730426 h 1729012"/>
                <a:gd name="connsiteX2609" fmla="*/ 1580034 w 2240198"/>
                <a:gd name="connsiteY2609" fmla="*/ 729293 h 1729012"/>
                <a:gd name="connsiteX2610" fmla="*/ 1581019 w 2240198"/>
                <a:gd name="connsiteY2610" fmla="*/ 728124 h 1729012"/>
                <a:gd name="connsiteX2611" fmla="*/ 1582376 w 2240198"/>
                <a:gd name="connsiteY2611" fmla="*/ 727257 h 1729012"/>
                <a:gd name="connsiteX2612" fmla="*/ 1287435 w 2240198"/>
                <a:gd name="connsiteY2612" fmla="*/ 724326 h 1729012"/>
                <a:gd name="connsiteX2613" fmla="*/ 1288164 w 2240198"/>
                <a:gd name="connsiteY2613" fmla="*/ 725085 h 1729012"/>
                <a:gd name="connsiteX2614" fmla="*/ 1288733 w 2240198"/>
                <a:gd name="connsiteY2614" fmla="*/ 727862 h 1729012"/>
                <a:gd name="connsiteX2615" fmla="*/ 1286453 w 2240198"/>
                <a:gd name="connsiteY2615" fmla="*/ 731626 h 1729012"/>
                <a:gd name="connsiteX2616" fmla="*/ 1285739 w 2240198"/>
                <a:gd name="connsiteY2616" fmla="*/ 732300 h 1729012"/>
                <a:gd name="connsiteX2617" fmla="*/ 1284856 w 2240198"/>
                <a:gd name="connsiteY2617" fmla="*/ 732550 h 1729012"/>
                <a:gd name="connsiteX2618" fmla="*/ 1283999 w 2240198"/>
                <a:gd name="connsiteY2618" fmla="*/ 732086 h 1729012"/>
                <a:gd name="connsiteX2619" fmla="*/ 1281447 w 2240198"/>
                <a:gd name="connsiteY2619" fmla="*/ 729131 h 1729012"/>
                <a:gd name="connsiteX2620" fmla="*/ 1280754 w 2240198"/>
                <a:gd name="connsiteY2620" fmla="*/ 727289 h 1729012"/>
                <a:gd name="connsiteX2621" fmla="*/ 1281690 w 2240198"/>
                <a:gd name="connsiteY2621" fmla="*/ 726367 h 1729012"/>
                <a:gd name="connsiteX2622" fmla="*/ 1283665 w 2240198"/>
                <a:gd name="connsiteY2622" fmla="*/ 725214 h 1729012"/>
                <a:gd name="connsiteX2623" fmla="*/ 1285065 w 2240198"/>
                <a:gd name="connsiteY2623" fmla="*/ 724654 h 1729012"/>
                <a:gd name="connsiteX2624" fmla="*/ 1286819 w 2240198"/>
                <a:gd name="connsiteY2624" fmla="*/ 725138 h 1729012"/>
                <a:gd name="connsiteX2625" fmla="*/ 1618108 w 2240198"/>
                <a:gd name="connsiteY2625" fmla="*/ 724145 h 1729012"/>
                <a:gd name="connsiteX2626" fmla="*/ 1620095 w 2240198"/>
                <a:gd name="connsiteY2626" fmla="*/ 724264 h 1729012"/>
                <a:gd name="connsiteX2627" fmla="*/ 1623013 w 2240198"/>
                <a:gd name="connsiteY2627" fmla="*/ 725413 h 1729012"/>
                <a:gd name="connsiteX2628" fmla="*/ 1629311 w 2240198"/>
                <a:gd name="connsiteY2628" fmla="*/ 725761 h 1729012"/>
                <a:gd name="connsiteX2629" fmla="*/ 1630874 w 2240198"/>
                <a:gd name="connsiteY2629" fmla="*/ 726818 h 1729012"/>
                <a:gd name="connsiteX2630" fmla="*/ 1631260 w 2240198"/>
                <a:gd name="connsiteY2630" fmla="*/ 727456 h 1729012"/>
                <a:gd name="connsiteX2631" fmla="*/ 1631230 w 2240198"/>
                <a:gd name="connsiteY2631" fmla="*/ 728242 h 1729012"/>
                <a:gd name="connsiteX2632" fmla="*/ 1630788 w 2240198"/>
                <a:gd name="connsiteY2632" fmla="*/ 729177 h 1729012"/>
                <a:gd name="connsiteX2633" fmla="*/ 1627673 w 2240198"/>
                <a:gd name="connsiteY2633" fmla="*/ 731902 h 1729012"/>
                <a:gd name="connsiteX2634" fmla="*/ 1626177 w 2240198"/>
                <a:gd name="connsiteY2634" fmla="*/ 733772 h 1729012"/>
                <a:gd name="connsiteX2635" fmla="*/ 1625114 w 2240198"/>
                <a:gd name="connsiteY2635" fmla="*/ 736010 h 1729012"/>
                <a:gd name="connsiteX2636" fmla="*/ 1622981 w 2240198"/>
                <a:gd name="connsiteY2636" fmla="*/ 737389 h 1729012"/>
                <a:gd name="connsiteX2637" fmla="*/ 1619779 w 2240198"/>
                <a:gd name="connsiteY2637" fmla="*/ 737907 h 1729012"/>
                <a:gd name="connsiteX2638" fmla="*/ 1617410 w 2240198"/>
                <a:gd name="connsiteY2638" fmla="*/ 737641 h 1729012"/>
                <a:gd name="connsiteX2639" fmla="*/ 1615875 w 2240198"/>
                <a:gd name="connsiteY2639" fmla="*/ 736591 h 1729012"/>
                <a:gd name="connsiteX2640" fmla="*/ 1614701 w 2240198"/>
                <a:gd name="connsiteY2640" fmla="*/ 735166 h 1729012"/>
                <a:gd name="connsiteX2641" fmla="*/ 1613243 w 2240198"/>
                <a:gd name="connsiteY2641" fmla="*/ 731576 h 1729012"/>
                <a:gd name="connsiteX2642" fmla="*/ 1613784 w 2240198"/>
                <a:gd name="connsiteY2642" fmla="*/ 729901 h 1729012"/>
                <a:gd name="connsiteX2643" fmla="*/ 1613951 w 2240198"/>
                <a:gd name="connsiteY2643" fmla="*/ 726896 h 1729012"/>
                <a:gd name="connsiteX2644" fmla="*/ 1614219 w 2240198"/>
                <a:gd name="connsiteY2644" fmla="*/ 725768 h 1729012"/>
                <a:gd name="connsiteX2645" fmla="*/ 1614782 w 2240198"/>
                <a:gd name="connsiteY2645" fmla="*/ 725210 h 1729012"/>
                <a:gd name="connsiteX2646" fmla="*/ 1006375 w 2240198"/>
                <a:gd name="connsiteY2646" fmla="*/ 718040 h 1729012"/>
                <a:gd name="connsiteX2647" fmla="*/ 1008100 w 2240198"/>
                <a:gd name="connsiteY2647" fmla="*/ 718155 h 1729012"/>
                <a:gd name="connsiteX2648" fmla="*/ 1011815 w 2240198"/>
                <a:gd name="connsiteY2648" fmla="*/ 719627 h 1729012"/>
                <a:gd name="connsiteX2649" fmla="*/ 1013520 w 2240198"/>
                <a:gd name="connsiteY2649" fmla="*/ 721661 h 1729012"/>
                <a:gd name="connsiteX2650" fmla="*/ 1014294 w 2240198"/>
                <a:gd name="connsiteY2650" fmla="*/ 723166 h 1729012"/>
                <a:gd name="connsiteX2651" fmla="*/ 1013062 w 2240198"/>
                <a:gd name="connsiteY2651" fmla="*/ 723390 h 1729012"/>
                <a:gd name="connsiteX2652" fmla="*/ 1012107 w 2240198"/>
                <a:gd name="connsiteY2652" fmla="*/ 723998 h 1729012"/>
                <a:gd name="connsiteX2653" fmla="*/ 1011091 w 2240198"/>
                <a:gd name="connsiteY2653" fmla="*/ 725283 h 1729012"/>
                <a:gd name="connsiteX2654" fmla="*/ 1009954 w 2240198"/>
                <a:gd name="connsiteY2654" fmla="*/ 726072 h 1729012"/>
                <a:gd name="connsiteX2655" fmla="*/ 1007881 w 2240198"/>
                <a:gd name="connsiteY2655" fmla="*/ 726457 h 1729012"/>
                <a:gd name="connsiteX2656" fmla="*/ 1007501 w 2240198"/>
                <a:gd name="connsiteY2656" fmla="*/ 726363 h 1729012"/>
                <a:gd name="connsiteX2657" fmla="*/ 1007678 w 2240198"/>
                <a:gd name="connsiteY2657" fmla="*/ 725143 h 1729012"/>
                <a:gd name="connsiteX2658" fmla="*/ 1007523 w 2240198"/>
                <a:gd name="connsiteY2658" fmla="*/ 724529 h 1729012"/>
                <a:gd name="connsiteX2659" fmla="*/ 1006968 w 2240198"/>
                <a:gd name="connsiteY2659" fmla="*/ 724092 h 1729012"/>
                <a:gd name="connsiteX2660" fmla="*/ 1008787 w 2240198"/>
                <a:gd name="connsiteY2660" fmla="*/ 723120 h 1729012"/>
                <a:gd name="connsiteX2661" fmla="*/ 1009053 w 2240198"/>
                <a:gd name="connsiteY2661" fmla="*/ 722362 h 1729012"/>
                <a:gd name="connsiteX2662" fmla="*/ 1008474 w 2240198"/>
                <a:gd name="connsiteY2662" fmla="*/ 721780 h 1729012"/>
                <a:gd name="connsiteX2663" fmla="*/ 1005981 w 2240198"/>
                <a:gd name="connsiteY2663" fmla="*/ 720674 h 1729012"/>
                <a:gd name="connsiteX2664" fmla="*/ 1005270 w 2240198"/>
                <a:gd name="connsiteY2664" fmla="*/ 719675 h 1729012"/>
                <a:gd name="connsiteX2665" fmla="*/ 1005400 w 2240198"/>
                <a:gd name="connsiteY2665" fmla="*/ 718797 h 1729012"/>
                <a:gd name="connsiteX2666" fmla="*/ 1146220 w 2240198"/>
                <a:gd name="connsiteY2666" fmla="*/ 715807 h 1729012"/>
                <a:gd name="connsiteX2667" fmla="*/ 1148530 w 2240198"/>
                <a:gd name="connsiteY2667" fmla="*/ 715870 h 1729012"/>
                <a:gd name="connsiteX2668" fmla="*/ 1151171 w 2240198"/>
                <a:gd name="connsiteY2668" fmla="*/ 716883 h 1729012"/>
                <a:gd name="connsiteX2669" fmla="*/ 1153423 w 2240198"/>
                <a:gd name="connsiteY2669" fmla="*/ 718150 h 1729012"/>
                <a:gd name="connsiteX2670" fmla="*/ 1156790 w 2240198"/>
                <a:gd name="connsiteY2670" fmla="*/ 721161 h 1729012"/>
                <a:gd name="connsiteX2671" fmla="*/ 1156760 w 2240198"/>
                <a:gd name="connsiteY2671" fmla="*/ 722620 h 1729012"/>
                <a:gd name="connsiteX2672" fmla="*/ 1156321 w 2240198"/>
                <a:gd name="connsiteY2672" fmla="*/ 725054 h 1729012"/>
                <a:gd name="connsiteX2673" fmla="*/ 1155355 w 2240198"/>
                <a:gd name="connsiteY2673" fmla="*/ 726905 h 1729012"/>
                <a:gd name="connsiteX2674" fmla="*/ 1153865 w 2240198"/>
                <a:gd name="connsiteY2674" fmla="*/ 728175 h 1729012"/>
                <a:gd name="connsiteX2675" fmla="*/ 1151778 w 2240198"/>
                <a:gd name="connsiteY2675" fmla="*/ 728812 h 1729012"/>
                <a:gd name="connsiteX2676" fmla="*/ 1149095 w 2240198"/>
                <a:gd name="connsiteY2676" fmla="*/ 728819 h 1729012"/>
                <a:gd name="connsiteX2677" fmla="*/ 1147934 w 2240198"/>
                <a:gd name="connsiteY2677" fmla="*/ 728288 h 1729012"/>
                <a:gd name="connsiteX2678" fmla="*/ 1148803 w 2240198"/>
                <a:gd name="connsiteY2678" fmla="*/ 726409 h 1729012"/>
                <a:gd name="connsiteX2679" fmla="*/ 1149455 w 2240198"/>
                <a:gd name="connsiteY2679" fmla="*/ 725851 h 1729012"/>
                <a:gd name="connsiteX2680" fmla="*/ 1149565 w 2240198"/>
                <a:gd name="connsiteY2680" fmla="*/ 724194 h 1729012"/>
                <a:gd name="connsiteX2681" fmla="*/ 1149134 w 2240198"/>
                <a:gd name="connsiteY2681" fmla="*/ 721444 h 1729012"/>
                <a:gd name="connsiteX2682" fmla="*/ 1148594 w 2240198"/>
                <a:gd name="connsiteY2682" fmla="*/ 719748 h 1729012"/>
                <a:gd name="connsiteX2683" fmla="*/ 1147085 w 2240198"/>
                <a:gd name="connsiteY2683" fmla="*/ 718779 h 1729012"/>
                <a:gd name="connsiteX2684" fmla="*/ 1146006 w 2240198"/>
                <a:gd name="connsiteY2684" fmla="*/ 718740 h 1729012"/>
                <a:gd name="connsiteX2685" fmla="*/ 1145712 w 2240198"/>
                <a:gd name="connsiteY2685" fmla="*/ 719635 h 1729012"/>
                <a:gd name="connsiteX2686" fmla="*/ 1146205 w 2240198"/>
                <a:gd name="connsiteY2686" fmla="*/ 721466 h 1729012"/>
                <a:gd name="connsiteX2687" fmla="*/ 1145863 w 2240198"/>
                <a:gd name="connsiteY2687" fmla="*/ 723833 h 1729012"/>
                <a:gd name="connsiteX2688" fmla="*/ 1144687 w 2240198"/>
                <a:gd name="connsiteY2688" fmla="*/ 726737 h 1729012"/>
                <a:gd name="connsiteX2689" fmla="*/ 1143792 w 2240198"/>
                <a:gd name="connsiteY2689" fmla="*/ 728100 h 1729012"/>
                <a:gd name="connsiteX2690" fmla="*/ 1142205 w 2240198"/>
                <a:gd name="connsiteY2690" fmla="*/ 727412 h 1729012"/>
                <a:gd name="connsiteX2691" fmla="*/ 1141447 w 2240198"/>
                <a:gd name="connsiteY2691" fmla="*/ 726304 h 1729012"/>
                <a:gd name="connsiteX2692" fmla="*/ 1141650 w 2240198"/>
                <a:gd name="connsiteY2692" fmla="*/ 724475 h 1729012"/>
                <a:gd name="connsiteX2693" fmla="*/ 1141224 w 2240198"/>
                <a:gd name="connsiteY2693" fmla="*/ 722817 h 1729012"/>
                <a:gd name="connsiteX2694" fmla="*/ 1141627 w 2240198"/>
                <a:gd name="connsiteY2694" fmla="*/ 721060 h 1729012"/>
                <a:gd name="connsiteX2695" fmla="*/ 1142708 w 2240198"/>
                <a:gd name="connsiteY2695" fmla="*/ 718446 h 1729012"/>
                <a:gd name="connsiteX2696" fmla="*/ 1144240 w 2240198"/>
                <a:gd name="connsiteY2696" fmla="*/ 716695 h 1729012"/>
                <a:gd name="connsiteX2697" fmla="*/ 47228 w 2240198"/>
                <a:gd name="connsiteY2697" fmla="*/ 714732 h 1729012"/>
                <a:gd name="connsiteX2698" fmla="*/ 48925 w 2240198"/>
                <a:gd name="connsiteY2698" fmla="*/ 714820 h 1729012"/>
                <a:gd name="connsiteX2699" fmla="*/ 52503 w 2240198"/>
                <a:gd name="connsiteY2699" fmla="*/ 716202 h 1729012"/>
                <a:gd name="connsiteX2700" fmla="*/ 53839 w 2240198"/>
                <a:gd name="connsiteY2700" fmla="*/ 717428 h 1729012"/>
                <a:gd name="connsiteX2701" fmla="*/ 49674 w 2240198"/>
                <a:gd name="connsiteY2701" fmla="*/ 718004 h 1729012"/>
                <a:gd name="connsiteX2702" fmla="*/ 47579 w 2240198"/>
                <a:gd name="connsiteY2702" fmla="*/ 719693 h 1729012"/>
                <a:gd name="connsiteX2703" fmla="*/ 44251 w 2240198"/>
                <a:gd name="connsiteY2703" fmla="*/ 717928 h 1729012"/>
                <a:gd name="connsiteX2704" fmla="*/ 43378 w 2240198"/>
                <a:gd name="connsiteY2704" fmla="*/ 717061 h 1729012"/>
                <a:gd name="connsiteX2705" fmla="*/ 1853383 w 2240198"/>
                <a:gd name="connsiteY2705" fmla="*/ 713281 h 1729012"/>
                <a:gd name="connsiteX2706" fmla="*/ 1855404 w 2240198"/>
                <a:gd name="connsiteY2706" fmla="*/ 713588 h 1729012"/>
                <a:gd name="connsiteX2707" fmla="*/ 1857294 w 2240198"/>
                <a:gd name="connsiteY2707" fmla="*/ 715549 h 1729012"/>
                <a:gd name="connsiteX2708" fmla="*/ 1855004 w 2240198"/>
                <a:gd name="connsiteY2708" fmla="*/ 717336 h 1729012"/>
                <a:gd name="connsiteX2709" fmla="*/ 1853235 w 2240198"/>
                <a:gd name="connsiteY2709" fmla="*/ 719618 h 1729012"/>
                <a:gd name="connsiteX2710" fmla="*/ 1852586 w 2240198"/>
                <a:gd name="connsiteY2710" fmla="*/ 719892 h 1729012"/>
                <a:gd name="connsiteX2711" fmla="*/ 1845940 w 2240198"/>
                <a:gd name="connsiteY2711" fmla="*/ 717845 h 1729012"/>
                <a:gd name="connsiteX2712" fmla="*/ 1845457 w 2240198"/>
                <a:gd name="connsiteY2712" fmla="*/ 716211 h 1729012"/>
                <a:gd name="connsiteX2713" fmla="*/ 1848706 w 2240198"/>
                <a:gd name="connsiteY2713" fmla="*/ 714398 h 1729012"/>
                <a:gd name="connsiteX2714" fmla="*/ 1851347 w 2240198"/>
                <a:gd name="connsiteY2714" fmla="*/ 713420 h 1729012"/>
                <a:gd name="connsiteX2715" fmla="*/ 1592417 w 2240198"/>
                <a:gd name="connsiteY2715" fmla="*/ 710681 h 1729012"/>
                <a:gd name="connsiteX2716" fmla="*/ 1593824 w 2240198"/>
                <a:gd name="connsiteY2716" fmla="*/ 710695 h 1729012"/>
                <a:gd name="connsiteX2717" fmla="*/ 1596769 w 2240198"/>
                <a:gd name="connsiteY2717" fmla="*/ 711791 h 1729012"/>
                <a:gd name="connsiteX2718" fmla="*/ 1598069 w 2240198"/>
                <a:gd name="connsiteY2718" fmla="*/ 714043 h 1729012"/>
                <a:gd name="connsiteX2719" fmla="*/ 1598289 w 2240198"/>
                <a:gd name="connsiteY2719" fmla="*/ 715211 h 1729012"/>
                <a:gd name="connsiteX2720" fmla="*/ 1596492 w 2240198"/>
                <a:gd name="connsiteY2720" fmla="*/ 716587 h 1729012"/>
                <a:gd name="connsiteX2721" fmla="*/ 1589716 w 2240198"/>
                <a:gd name="connsiteY2721" fmla="*/ 719130 h 1729012"/>
                <a:gd name="connsiteX2722" fmla="*/ 1585587 w 2240198"/>
                <a:gd name="connsiteY2722" fmla="*/ 721343 h 1729012"/>
                <a:gd name="connsiteX2723" fmla="*/ 1583500 w 2240198"/>
                <a:gd name="connsiteY2723" fmla="*/ 721836 h 1729012"/>
                <a:gd name="connsiteX2724" fmla="*/ 1580719 w 2240198"/>
                <a:gd name="connsiteY2724" fmla="*/ 721339 h 1729012"/>
                <a:gd name="connsiteX2725" fmla="*/ 1577340 w 2240198"/>
                <a:gd name="connsiteY2725" fmla="*/ 722366 h 1729012"/>
                <a:gd name="connsiteX2726" fmla="*/ 1575999 w 2240198"/>
                <a:gd name="connsiteY2726" fmla="*/ 722228 h 1729012"/>
                <a:gd name="connsiteX2727" fmla="*/ 1577492 w 2240198"/>
                <a:gd name="connsiteY2727" fmla="*/ 720418 h 1729012"/>
                <a:gd name="connsiteX2728" fmla="*/ 1582836 w 2240198"/>
                <a:gd name="connsiteY2728" fmla="*/ 715217 h 1729012"/>
                <a:gd name="connsiteX2729" fmla="*/ 1587317 w 2240198"/>
                <a:gd name="connsiteY2729" fmla="*/ 714685 h 1729012"/>
                <a:gd name="connsiteX2730" fmla="*/ 1588778 w 2240198"/>
                <a:gd name="connsiteY2730" fmla="*/ 713597 h 1729012"/>
                <a:gd name="connsiteX2731" fmla="*/ 1590013 w 2240198"/>
                <a:gd name="connsiteY2731" fmla="*/ 713942 h 1729012"/>
                <a:gd name="connsiteX2732" fmla="*/ 1590728 w 2240198"/>
                <a:gd name="connsiteY2732" fmla="*/ 713041 h 1729012"/>
                <a:gd name="connsiteX2733" fmla="*/ 1590852 w 2240198"/>
                <a:gd name="connsiteY2733" fmla="*/ 711703 h 1729012"/>
                <a:gd name="connsiteX2734" fmla="*/ 1557089 w 2240198"/>
                <a:gd name="connsiteY2734" fmla="*/ 707477 h 1729012"/>
                <a:gd name="connsiteX2735" fmla="*/ 1561230 w 2240198"/>
                <a:gd name="connsiteY2735" fmla="*/ 708502 h 1729012"/>
                <a:gd name="connsiteX2736" fmla="*/ 1562254 w 2240198"/>
                <a:gd name="connsiteY2736" fmla="*/ 711090 h 1729012"/>
                <a:gd name="connsiteX2737" fmla="*/ 1562896 w 2240198"/>
                <a:gd name="connsiteY2737" fmla="*/ 711906 h 1729012"/>
                <a:gd name="connsiteX2738" fmla="*/ 1561945 w 2240198"/>
                <a:gd name="connsiteY2738" fmla="*/ 713130 h 1729012"/>
                <a:gd name="connsiteX2739" fmla="*/ 1558133 w 2240198"/>
                <a:gd name="connsiteY2739" fmla="*/ 715576 h 1729012"/>
                <a:gd name="connsiteX2740" fmla="*/ 1549794 w 2240198"/>
                <a:gd name="connsiteY2740" fmla="*/ 716573 h 1729012"/>
                <a:gd name="connsiteX2741" fmla="*/ 1545590 w 2240198"/>
                <a:gd name="connsiteY2741" fmla="*/ 715420 h 1729012"/>
                <a:gd name="connsiteX2742" fmla="*/ 1547525 w 2240198"/>
                <a:gd name="connsiteY2742" fmla="*/ 718926 h 1729012"/>
                <a:gd name="connsiteX2743" fmla="*/ 1547949 w 2240198"/>
                <a:gd name="connsiteY2743" fmla="*/ 720403 h 1729012"/>
                <a:gd name="connsiteX2744" fmla="*/ 1547357 w 2240198"/>
                <a:gd name="connsiteY2744" fmla="*/ 721023 h 1729012"/>
                <a:gd name="connsiteX2745" fmla="*/ 1545606 w 2240198"/>
                <a:gd name="connsiteY2745" fmla="*/ 720834 h 1729012"/>
                <a:gd name="connsiteX2746" fmla="*/ 1542700 w 2240198"/>
                <a:gd name="connsiteY2746" fmla="*/ 719843 h 1729012"/>
                <a:gd name="connsiteX2747" fmla="*/ 1541029 w 2240198"/>
                <a:gd name="connsiteY2747" fmla="*/ 718654 h 1729012"/>
                <a:gd name="connsiteX2748" fmla="*/ 1540595 w 2240198"/>
                <a:gd name="connsiteY2748" fmla="*/ 717271 h 1729012"/>
                <a:gd name="connsiteX2749" fmla="*/ 1539981 w 2240198"/>
                <a:gd name="connsiteY2749" fmla="*/ 716964 h 1729012"/>
                <a:gd name="connsiteX2750" fmla="*/ 1539194 w 2240198"/>
                <a:gd name="connsiteY2750" fmla="*/ 717734 h 1729012"/>
                <a:gd name="connsiteX2751" fmla="*/ 1538436 w 2240198"/>
                <a:gd name="connsiteY2751" fmla="*/ 717559 h 1729012"/>
                <a:gd name="connsiteX2752" fmla="*/ 1536706 w 2240198"/>
                <a:gd name="connsiteY2752" fmla="*/ 715497 h 1729012"/>
                <a:gd name="connsiteX2753" fmla="*/ 1535433 w 2240198"/>
                <a:gd name="connsiteY2753" fmla="*/ 714728 h 1729012"/>
                <a:gd name="connsiteX2754" fmla="*/ 1527061 w 2240198"/>
                <a:gd name="connsiteY2754" fmla="*/ 713498 h 1729012"/>
                <a:gd name="connsiteX2755" fmla="*/ 1526641 w 2240198"/>
                <a:gd name="connsiteY2755" fmla="*/ 712946 h 1729012"/>
                <a:gd name="connsiteX2756" fmla="*/ 1527078 w 2240198"/>
                <a:gd name="connsiteY2756" fmla="*/ 711995 h 1729012"/>
                <a:gd name="connsiteX2757" fmla="*/ 1528369 w 2240198"/>
                <a:gd name="connsiteY2757" fmla="*/ 710640 h 1729012"/>
                <a:gd name="connsiteX2758" fmla="*/ 1530248 w 2240198"/>
                <a:gd name="connsiteY2758" fmla="*/ 710181 h 1729012"/>
                <a:gd name="connsiteX2759" fmla="*/ 1534980 w 2240198"/>
                <a:gd name="connsiteY2759" fmla="*/ 710789 h 1729012"/>
                <a:gd name="connsiteX2760" fmla="*/ 1535367 w 2240198"/>
                <a:gd name="connsiteY2760" fmla="*/ 710444 h 1729012"/>
                <a:gd name="connsiteX2761" fmla="*/ 1535680 w 2240198"/>
                <a:gd name="connsiteY2761" fmla="*/ 708732 h 1729012"/>
                <a:gd name="connsiteX2762" fmla="*/ 1536038 w 2240198"/>
                <a:gd name="connsiteY2762" fmla="*/ 708060 h 1729012"/>
                <a:gd name="connsiteX2763" fmla="*/ 1539316 w 2240198"/>
                <a:gd name="connsiteY2763" fmla="*/ 708232 h 1729012"/>
                <a:gd name="connsiteX2764" fmla="*/ 1541377 w 2240198"/>
                <a:gd name="connsiteY2764" fmla="*/ 707862 h 1729012"/>
                <a:gd name="connsiteX2765" fmla="*/ 1542513 w 2240198"/>
                <a:gd name="connsiteY2765" fmla="*/ 708744 h 1729012"/>
                <a:gd name="connsiteX2766" fmla="*/ 1543635 w 2240198"/>
                <a:gd name="connsiteY2766" fmla="*/ 710782 h 1729012"/>
                <a:gd name="connsiteX2767" fmla="*/ 1545227 w 2240198"/>
                <a:gd name="connsiteY2767" fmla="*/ 710410 h 1729012"/>
                <a:gd name="connsiteX2768" fmla="*/ 1547533 w 2240198"/>
                <a:gd name="connsiteY2768" fmla="*/ 710705 h 1729012"/>
                <a:gd name="connsiteX2769" fmla="*/ 1550101 w 2240198"/>
                <a:gd name="connsiteY2769" fmla="*/ 709959 h 1729012"/>
                <a:gd name="connsiteX2770" fmla="*/ 1554024 w 2240198"/>
                <a:gd name="connsiteY2770" fmla="*/ 708146 h 1729012"/>
                <a:gd name="connsiteX2771" fmla="*/ 1095685 w 2240198"/>
                <a:gd name="connsiteY2771" fmla="*/ 705167 h 1729012"/>
                <a:gd name="connsiteX2772" fmla="*/ 1098208 w 2240198"/>
                <a:gd name="connsiteY2772" fmla="*/ 706088 h 1729012"/>
                <a:gd name="connsiteX2773" fmla="*/ 1100410 w 2240198"/>
                <a:gd name="connsiteY2773" fmla="*/ 707853 h 1729012"/>
                <a:gd name="connsiteX2774" fmla="*/ 1105303 w 2240198"/>
                <a:gd name="connsiteY2774" fmla="*/ 710728 h 1729012"/>
                <a:gd name="connsiteX2775" fmla="*/ 1106034 w 2240198"/>
                <a:gd name="connsiteY2775" fmla="*/ 711904 h 1729012"/>
                <a:gd name="connsiteX2776" fmla="*/ 1105955 w 2240198"/>
                <a:gd name="connsiteY2776" fmla="*/ 712452 h 1729012"/>
                <a:gd name="connsiteX2777" fmla="*/ 1104066 w 2240198"/>
                <a:gd name="connsiteY2777" fmla="*/ 713241 h 1729012"/>
                <a:gd name="connsiteX2778" fmla="*/ 1103831 w 2240198"/>
                <a:gd name="connsiteY2778" fmla="*/ 713959 h 1729012"/>
                <a:gd name="connsiteX2779" fmla="*/ 1104591 w 2240198"/>
                <a:gd name="connsiteY2779" fmla="*/ 715045 h 1729012"/>
                <a:gd name="connsiteX2780" fmla="*/ 1105372 w 2240198"/>
                <a:gd name="connsiteY2780" fmla="*/ 715581 h 1729012"/>
                <a:gd name="connsiteX2781" fmla="*/ 1106842 w 2240198"/>
                <a:gd name="connsiteY2781" fmla="*/ 715126 h 1729012"/>
                <a:gd name="connsiteX2782" fmla="*/ 1107981 w 2240198"/>
                <a:gd name="connsiteY2782" fmla="*/ 713657 h 1729012"/>
                <a:gd name="connsiteX2783" fmla="*/ 1108674 w 2240198"/>
                <a:gd name="connsiteY2783" fmla="*/ 713380 h 1729012"/>
                <a:gd name="connsiteX2784" fmla="*/ 1109748 w 2240198"/>
                <a:gd name="connsiteY2784" fmla="*/ 713657 h 1729012"/>
                <a:gd name="connsiteX2785" fmla="*/ 1113292 w 2240198"/>
                <a:gd name="connsiteY2785" fmla="*/ 716290 h 1729012"/>
                <a:gd name="connsiteX2786" fmla="*/ 1116012 w 2240198"/>
                <a:gd name="connsiteY2786" fmla="*/ 719051 h 1729012"/>
                <a:gd name="connsiteX2787" fmla="*/ 1118899 w 2240198"/>
                <a:gd name="connsiteY2787" fmla="*/ 721008 h 1729012"/>
                <a:gd name="connsiteX2788" fmla="*/ 1123480 w 2240198"/>
                <a:gd name="connsiteY2788" fmla="*/ 722754 h 1729012"/>
                <a:gd name="connsiteX2789" fmla="*/ 1133485 w 2240198"/>
                <a:gd name="connsiteY2789" fmla="*/ 728431 h 1729012"/>
                <a:gd name="connsiteX2790" fmla="*/ 1136431 w 2240198"/>
                <a:gd name="connsiteY2790" fmla="*/ 732261 h 1729012"/>
                <a:gd name="connsiteX2791" fmla="*/ 1139544 w 2240198"/>
                <a:gd name="connsiteY2791" fmla="*/ 738204 h 1729012"/>
                <a:gd name="connsiteX2792" fmla="*/ 1142324 w 2240198"/>
                <a:gd name="connsiteY2792" fmla="*/ 742730 h 1729012"/>
                <a:gd name="connsiteX2793" fmla="*/ 1144770 w 2240198"/>
                <a:gd name="connsiteY2793" fmla="*/ 745847 h 1729012"/>
                <a:gd name="connsiteX2794" fmla="*/ 1147395 w 2240198"/>
                <a:gd name="connsiteY2794" fmla="*/ 748328 h 1729012"/>
                <a:gd name="connsiteX2795" fmla="*/ 1151601 w 2240198"/>
                <a:gd name="connsiteY2795" fmla="*/ 751099 h 1729012"/>
                <a:gd name="connsiteX2796" fmla="*/ 1155353 w 2240198"/>
                <a:gd name="connsiteY2796" fmla="*/ 749083 h 1729012"/>
                <a:gd name="connsiteX2797" fmla="*/ 1156960 w 2240198"/>
                <a:gd name="connsiteY2797" fmla="*/ 748572 h 1729012"/>
                <a:gd name="connsiteX2798" fmla="*/ 1158345 w 2240198"/>
                <a:gd name="connsiteY2798" fmla="*/ 749411 h 1729012"/>
                <a:gd name="connsiteX2799" fmla="*/ 1159657 w 2240198"/>
                <a:gd name="connsiteY2799" fmla="*/ 751499 h 1729012"/>
                <a:gd name="connsiteX2800" fmla="*/ 1158963 w 2240198"/>
                <a:gd name="connsiteY2800" fmla="*/ 752431 h 1729012"/>
                <a:gd name="connsiteX2801" fmla="*/ 1157332 w 2240198"/>
                <a:gd name="connsiteY2801" fmla="*/ 753611 h 1729012"/>
                <a:gd name="connsiteX2802" fmla="*/ 1154642 w 2240198"/>
                <a:gd name="connsiteY2802" fmla="*/ 754986 h 1729012"/>
                <a:gd name="connsiteX2803" fmla="*/ 1150873 w 2240198"/>
                <a:gd name="connsiteY2803" fmla="*/ 755084 h 1729012"/>
                <a:gd name="connsiteX2804" fmla="*/ 1149061 w 2240198"/>
                <a:gd name="connsiteY2804" fmla="*/ 755490 h 1729012"/>
                <a:gd name="connsiteX2805" fmla="*/ 1146107 w 2240198"/>
                <a:gd name="connsiteY2805" fmla="*/ 757671 h 1729012"/>
                <a:gd name="connsiteX2806" fmla="*/ 1143762 w 2240198"/>
                <a:gd name="connsiteY2806" fmla="*/ 760285 h 1729012"/>
                <a:gd name="connsiteX2807" fmla="*/ 1140481 w 2240198"/>
                <a:gd name="connsiteY2807" fmla="*/ 761165 h 1729012"/>
                <a:gd name="connsiteX2808" fmla="*/ 1134305 w 2240198"/>
                <a:gd name="connsiteY2808" fmla="*/ 765541 h 1729012"/>
                <a:gd name="connsiteX2809" fmla="*/ 1130908 w 2240198"/>
                <a:gd name="connsiteY2809" fmla="*/ 767178 h 1729012"/>
                <a:gd name="connsiteX2810" fmla="*/ 1125907 w 2240198"/>
                <a:gd name="connsiteY2810" fmla="*/ 767611 h 1729012"/>
                <a:gd name="connsiteX2811" fmla="*/ 1115522 w 2240198"/>
                <a:gd name="connsiteY2811" fmla="*/ 764187 h 1729012"/>
                <a:gd name="connsiteX2812" fmla="*/ 1109049 w 2240198"/>
                <a:gd name="connsiteY2812" fmla="*/ 764668 h 1729012"/>
                <a:gd name="connsiteX2813" fmla="*/ 1103766 w 2240198"/>
                <a:gd name="connsiteY2813" fmla="*/ 763966 h 1729012"/>
                <a:gd name="connsiteX2814" fmla="*/ 1097864 w 2240198"/>
                <a:gd name="connsiteY2814" fmla="*/ 760342 h 1729012"/>
                <a:gd name="connsiteX2815" fmla="*/ 1093285 w 2240198"/>
                <a:gd name="connsiteY2815" fmla="*/ 758289 h 1729012"/>
                <a:gd name="connsiteX2816" fmla="*/ 1084418 w 2240198"/>
                <a:gd name="connsiteY2816" fmla="*/ 755335 h 1729012"/>
                <a:gd name="connsiteX2817" fmla="*/ 1083837 w 2240198"/>
                <a:gd name="connsiteY2817" fmla="*/ 754897 h 1729012"/>
                <a:gd name="connsiteX2818" fmla="*/ 1083454 w 2240198"/>
                <a:gd name="connsiteY2818" fmla="*/ 753897 h 1729012"/>
                <a:gd name="connsiteX2819" fmla="*/ 1083274 w 2240198"/>
                <a:gd name="connsiteY2819" fmla="*/ 752335 h 1729012"/>
                <a:gd name="connsiteX2820" fmla="*/ 1082871 w 2240198"/>
                <a:gd name="connsiteY2820" fmla="*/ 751291 h 1729012"/>
                <a:gd name="connsiteX2821" fmla="*/ 1082250 w 2240198"/>
                <a:gd name="connsiteY2821" fmla="*/ 750761 h 1729012"/>
                <a:gd name="connsiteX2822" fmla="*/ 1080854 w 2240198"/>
                <a:gd name="connsiteY2822" fmla="*/ 750807 h 1729012"/>
                <a:gd name="connsiteX2823" fmla="*/ 1079428 w 2240198"/>
                <a:gd name="connsiteY2823" fmla="*/ 751840 h 1729012"/>
                <a:gd name="connsiteX2824" fmla="*/ 1076694 w 2240198"/>
                <a:gd name="connsiteY2824" fmla="*/ 752731 h 1729012"/>
                <a:gd name="connsiteX2825" fmla="*/ 1072532 w 2240198"/>
                <a:gd name="connsiteY2825" fmla="*/ 752530 h 1729012"/>
                <a:gd name="connsiteX2826" fmla="*/ 1070721 w 2240198"/>
                <a:gd name="connsiteY2826" fmla="*/ 751911 h 1729012"/>
                <a:gd name="connsiteX2827" fmla="*/ 1069341 w 2240198"/>
                <a:gd name="connsiteY2827" fmla="*/ 750943 h 1729012"/>
                <a:gd name="connsiteX2828" fmla="*/ 1068594 w 2240198"/>
                <a:gd name="connsiteY2828" fmla="*/ 749803 h 1729012"/>
                <a:gd name="connsiteX2829" fmla="*/ 1068477 w 2240198"/>
                <a:gd name="connsiteY2829" fmla="*/ 748498 h 1729012"/>
                <a:gd name="connsiteX2830" fmla="*/ 1068094 w 2240198"/>
                <a:gd name="connsiteY2830" fmla="*/ 747494 h 1729012"/>
                <a:gd name="connsiteX2831" fmla="*/ 1067444 w 2240198"/>
                <a:gd name="connsiteY2831" fmla="*/ 746785 h 1729012"/>
                <a:gd name="connsiteX2832" fmla="*/ 1065935 w 2240198"/>
                <a:gd name="connsiteY2832" fmla="*/ 746766 h 1729012"/>
                <a:gd name="connsiteX2833" fmla="*/ 1063567 w 2240198"/>
                <a:gd name="connsiteY2833" fmla="*/ 747439 h 1729012"/>
                <a:gd name="connsiteX2834" fmla="*/ 1062642 w 2240198"/>
                <a:gd name="connsiteY2834" fmla="*/ 748273 h 1729012"/>
                <a:gd name="connsiteX2835" fmla="*/ 1063161 w 2240198"/>
                <a:gd name="connsiteY2835" fmla="*/ 749262 h 1729012"/>
                <a:gd name="connsiteX2836" fmla="*/ 1062724 w 2240198"/>
                <a:gd name="connsiteY2836" fmla="*/ 749848 h 1729012"/>
                <a:gd name="connsiteX2837" fmla="*/ 1058581 w 2240198"/>
                <a:gd name="connsiteY2837" fmla="*/ 749855 h 1729012"/>
                <a:gd name="connsiteX2838" fmla="*/ 1056959 w 2240198"/>
                <a:gd name="connsiteY2838" fmla="*/ 749276 h 1729012"/>
                <a:gd name="connsiteX2839" fmla="*/ 1053842 w 2240198"/>
                <a:gd name="connsiteY2839" fmla="*/ 747439 h 1729012"/>
                <a:gd name="connsiteX2840" fmla="*/ 1052479 w 2240198"/>
                <a:gd name="connsiteY2840" fmla="*/ 745580 h 1729012"/>
                <a:gd name="connsiteX2841" fmla="*/ 1050719 w 2240198"/>
                <a:gd name="connsiteY2841" fmla="*/ 742267 h 1729012"/>
                <a:gd name="connsiteX2842" fmla="*/ 1050888 w 2240198"/>
                <a:gd name="connsiteY2842" fmla="*/ 741372 h 1729012"/>
                <a:gd name="connsiteX2843" fmla="*/ 1052007 w 2240198"/>
                <a:gd name="connsiteY2843" fmla="*/ 739354 h 1729012"/>
                <a:gd name="connsiteX2844" fmla="*/ 1053466 w 2240198"/>
                <a:gd name="connsiteY2844" fmla="*/ 737947 h 1729012"/>
                <a:gd name="connsiteX2845" fmla="*/ 1062854 w 2240198"/>
                <a:gd name="connsiteY2845" fmla="*/ 737121 h 1729012"/>
                <a:gd name="connsiteX2846" fmla="*/ 1067247 w 2240198"/>
                <a:gd name="connsiteY2846" fmla="*/ 736327 h 1729012"/>
                <a:gd name="connsiteX2847" fmla="*/ 1072029 w 2240198"/>
                <a:gd name="connsiteY2847" fmla="*/ 734027 h 1729012"/>
                <a:gd name="connsiteX2848" fmla="*/ 1077610 w 2240198"/>
                <a:gd name="connsiteY2848" fmla="*/ 730044 h 1729012"/>
                <a:gd name="connsiteX2849" fmla="*/ 1078817 w 2240198"/>
                <a:gd name="connsiteY2849" fmla="*/ 728865 h 1729012"/>
                <a:gd name="connsiteX2850" fmla="*/ 1078958 w 2240198"/>
                <a:gd name="connsiteY2850" fmla="*/ 727998 h 1729012"/>
                <a:gd name="connsiteX2851" fmla="*/ 1078547 w 2240198"/>
                <a:gd name="connsiteY2851" fmla="*/ 727060 h 1729012"/>
                <a:gd name="connsiteX2852" fmla="*/ 1076803 w 2240198"/>
                <a:gd name="connsiteY2852" fmla="*/ 724762 h 1729012"/>
                <a:gd name="connsiteX2853" fmla="*/ 1076215 w 2240198"/>
                <a:gd name="connsiteY2853" fmla="*/ 723188 h 1729012"/>
                <a:gd name="connsiteX2854" fmla="*/ 1076769 w 2240198"/>
                <a:gd name="connsiteY2854" fmla="*/ 722444 h 1729012"/>
                <a:gd name="connsiteX2855" fmla="*/ 1079008 w 2240198"/>
                <a:gd name="connsiteY2855" fmla="*/ 722376 h 1729012"/>
                <a:gd name="connsiteX2856" fmla="*/ 1077831 w 2240198"/>
                <a:gd name="connsiteY2856" fmla="*/ 721486 h 1729012"/>
                <a:gd name="connsiteX2857" fmla="*/ 1076828 w 2240198"/>
                <a:gd name="connsiteY2857" fmla="*/ 720226 h 1729012"/>
                <a:gd name="connsiteX2858" fmla="*/ 1076476 w 2240198"/>
                <a:gd name="connsiteY2858" fmla="*/ 719438 h 1729012"/>
                <a:gd name="connsiteX2859" fmla="*/ 1076534 w 2240198"/>
                <a:gd name="connsiteY2859" fmla="*/ 718184 h 1729012"/>
                <a:gd name="connsiteX2860" fmla="*/ 1078313 w 2240198"/>
                <a:gd name="connsiteY2860" fmla="*/ 717906 h 1729012"/>
                <a:gd name="connsiteX2861" fmla="*/ 1080506 w 2240198"/>
                <a:gd name="connsiteY2861" fmla="*/ 718537 h 1729012"/>
                <a:gd name="connsiteX2862" fmla="*/ 1084741 w 2240198"/>
                <a:gd name="connsiteY2862" fmla="*/ 722152 h 1729012"/>
                <a:gd name="connsiteX2863" fmla="*/ 1086429 w 2240198"/>
                <a:gd name="connsiteY2863" fmla="*/ 722855 h 1729012"/>
                <a:gd name="connsiteX2864" fmla="*/ 1089330 w 2240198"/>
                <a:gd name="connsiteY2864" fmla="*/ 723402 h 1729012"/>
                <a:gd name="connsiteX2865" fmla="*/ 1086245 w 2240198"/>
                <a:gd name="connsiteY2865" fmla="*/ 720909 h 1729012"/>
                <a:gd name="connsiteX2866" fmla="*/ 1083055 w 2240198"/>
                <a:gd name="connsiteY2866" fmla="*/ 715660 h 1729012"/>
                <a:gd name="connsiteX2867" fmla="*/ 1082657 w 2240198"/>
                <a:gd name="connsiteY2867" fmla="*/ 713847 h 1729012"/>
                <a:gd name="connsiteX2868" fmla="*/ 1082740 w 2240198"/>
                <a:gd name="connsiteY2868" fmla="*/ 712838 h 1729012"/>
                <a:gd name="connsiteX2869" fmla="*/ 1083577 w 2240198"/>
                <a:gd name="connsiteY2869" fmla="*/ 710009 h 1729012"/>
                <a:gd name="connsiteX2870" fmla="*/ 1084327 w 2240198"/>
                <a:gd name="connsiteY2870" fmla="*/ 708854 h 1729012"/>
                <a:gd name="connsiteX2871" fmla="*/ 1085294 w 2240198"/>
                <a:gd name="connsiteY2871" fmla="*/ 708088 h 1729012"/>
                <a:gd name="connsiteX2872" fmla="*/ 1088330 w 2240198"/>
                <a:gd name="connsiteY2872" fmla="*/ 706458 h 1729012"/>
                <a:gd name="connsiteX2873" fmla="*/ 1093194 w 2240198"/>
                <a:gd name="connsiteY2873" fmla="*/ 705320 h 1729012"/>
                <a:gd name="connsiteX2874" fmla="*/ 1366579 w 2240198"/>
                <a:gd name="connsiteY2874" fmla="*/ 692240 h 1729012"/>
                <a:gd name="connsiteX2875" fmla="*/ 1371504 w 2240198"/>
                <a:gd name="connsiteY2875" fmla="*/ 693761 h 1729012"/>
                <a:gd name="connsiteX2876" fmla="*/ 1374402 w 2240198"/>
                <a:gd name="connsiteY2876" fmla="*/ 694123 h 1729012"/>
                <a:gd name="connsiteX2877" fmla="*/ 1377129 w 2240198"/>
                <a:gd name="connsiteY2877" fmla="*/ 693679 h 1729012"/>
                <a:gd name="connsiteX2878" fmla="*/ 1379119 w 2240198"/>
                <a:gd name="connsiteY2878" fmla="*/ 694102 h 1729012"/>
                <a:gd name="connsiteX2879" fmla="*/ 1380371 w 2240198"/>
                <a:gd name="connsiteY2879" fmla="*/ 695396 h 1729012"/>
                <a:gd name="connsiteX2880" fmla="*/ 1381194 w 2240198"/>
                <a:gd name="connsiteY2880" fmla="*/ 696740 h 1729012"/>
                <a:gd name="connsiteX2881" fmla="*/ 1381592 w 2240198"/>
                <a:gd name="connsiteY2881" fmla="*/ 698129 h 1729012"/>
                <a:gd name="connsiteX2882" fmla="*/ 1380515 w 2240198"/>
                <a:gd name="connsiteY2882" fmla="*/ 699114 h 1729012"/>
                <a:gd name="connsiteX2883" fmla="*/ 1376036 w 2240198"/>
                <a:gd name="connsiteY2883" fmla="*/ 699975 h 1729012"/>
                <a:gd name="connsiteX2884" fmla="*/ 1372978 w 2240198"/>
                <a:gd name="connsiteY2884" fmla="*/ 699548 h 1729012"/>
                <a:gd name="connsiteX2885" fmla="*/ 1369705 w 2240198"/>
                <a:gd name="connsiteY2885" fmla="*/ 698397 h 1729012"/>
                <a:gd name="connsiteX2886" fmla="*/ 1368189 w 2240198"/>
                <a:gd name="connsiteY2886" fmla="*/ 698908 h 1729012"/>
                <a:gd name="connsiteX2887" fmla="*/ 1364461 w 2240198"/>
                <a:gd name="connsiteY2887" fmla="*/ 698060 h 1729012"/>
                <a:gd name="connsiteX2888" fmla="*/ 1362608 w 2240198"/>
                <a:gd name="connsiteY2888" fmla="*/ 696909 h 1729012"/>
                <a:gd name="connsiteX2889" fmla="*/ 1361103 w 2240198"/>
                <a:gd name="connsiteY2889" fmla="*/ 695265 h 1729012"/>
                <a:gd name="connsiteX2890" fmla="*/ 1361106 w 2240198"/>
                <a:gd name="connsiteY2890" fmla="*/ 694260 h 1729012"/>
                <a:gd name="connsiteX2891" fmla="*/ 1365037 w 2240198"/>
                <a:gd name="connsiteY2891" fmla="*/ 693124 h 1729012"/>
                <a:gd name="connsiteX2892" fmla="*/ 1023557 w 2240198"/>
                <a:gd name="connsiteY2892" fmla="*/ 668293 h 1729012"/>
                <a:gd name="connsiteX2893" fmla="*/ 1026026 w 2240198"/>
                <a:gd name="connsiteY2893" fmla="*/ 668371 h 1729012"/>
                <a:gd name="connsiteX2894" fmla="*/ 1028664 w 2240198"/>
                <a:gd name="connsiteY2894" fmla="*/ 669254 h 1729012"/>
                <a:gd name="connsiteX2895" fmla="*/ 1032665 w 2240198"/>
                <a:gd name="connsiteY2895" fmla="*/ 671771 h 1729012"/>
                <a:gd name="connsiteX2896" fmla="*/ 1031525 w 2240198"/>
                <a:gd name="connsiteY2896" fmla="*/ 672517 h 1729012"/>
                <a:gd name="connsiteX2897" fmla="*/ 1031470 w 2240198"/>
                <a:gd name="connsiteY2897" fmla="*/ 674166 h 1729012"/>
                <a:gd name="connsiteX2898" fmla="*/ 1031919 w 2240198"/>
                <a:gd name="connsiteY2898" fmla="*/ 675727 h 1729012"/>
                <a:gd name="connsiteX2899" fmla="*/ 1031848 w 2240198"/>
                <a:gd name="connsiteY2899" fmla="*/ 676303 h 1729012"/>
                <a:gd name="connsiteX2900" fmla="*/ 1031521 w 2240198"/>
                <a:gd name="connsiteY2900" fmla="*/ 676675 h 1729012"/>
                <a:gd name="connsiteX2901" fmla="*/ 1026043 w 2240198"/>
                <a:gd name="connsiteY2901" fmla="*/ 674965 h 1729012"/>
                <a:gd name="connsiteX2902" fmla="*/ 1023929 w 2240198"/>
                <a:gd name="connsiteY2902" fmla="*/ 673961 h 1729012"/>
                <a:gd name="connsiteX2903" fmla="*/ 1023242 w 2240198"/>
                <a:gd name="connsiteY2903" fmla="*/ 673216 h 1729012"/>
                <a:gd name="connsiteX2904" fmla="*/ 1022755 w 2240198"/>
                <a:gd name="connsiteY2904" fmla="*/ 671697 h 1729012"/>
                <a:gd name="connsiteX2905" fmla="*/ 1022467 w 2240198"/>
                <a:gd name="connsiteY2905" fmla="*/ 669402 h 1729012"/>
                <a:gd name="connsiteX2906" fmla="*/ 1176307 w 2240198"/>
                <a:gd name="connsiteY2906" fmla="*/ 606891 h 1729012"/>
                <a:gd name="connsiteX2907" fmla="*/ 1177678 w 2240198"/>
                <a:gd name="connsiteY2907" fmla="*/ 607265 h 1729012"/>
                <a:gd name="connsiteX2908" fmla="*/ 1179352 w 2240198"/>
                <a:gd name="connsiteY2908" fmla="*/ 610262 h 1729012"/>
                <a:gd name="connsiteX2909" fmla="*/ 1179663 w 2240198"/>
                <a:gd name="connsiteY2909" fmla="*/ 613423 h 1729012"/>
                <a:gd name="connsiteX2910" fmla="*/ 1183985 w 2240198"/>
                <a:gd name="connsiteY2910" fmla="*/ 617366 h 1729012"/>
                <a:gd name="connsiteX2911" fmla="*/ 1187462 w 2240198"/>
                <a:gd name="connsiteY2911" fmla="*/ 617670 h 1729012"/>
                <a:gd name="connsiteX2912" fmla="*/ 1189623 w 2240198"/>
                <a:gd name="connsiteY2912" fmla="*/ 617072 h 1729012"/>
                <a:gd name="connsiteX2913" fmla="*/ 1196616 w 2240198"/>
                <a:gd name="connsiteY2913" fmla="*/ 617302 h 1729012"/>
                <a:gd name="connsiteX2914" fmla="*/ 1198237 w 2240198"/>
                <a:gd name="connsiteY2914" fmla="*/ 618405 h 1729012"/>
                <a:gd name="connsiteX2915" fmla="*/ 1198120 w 2240198"/>
                <a:gd name="connsiteY2915" fmla="*/ 619636 h 1729012"/>
                <a:gd name="connsiteX2916" fmla="*/ 1197341 w 2240198"/>
                <a:gd name="connsiteY2916" fmla="*/ 621626 h 1729012"/>
                <a:gd name="connsiteX2917" fmla="*/ 1197818 w 2240198"/>
                <a:gd name="connsiteY2917" fmla="*/ 623330 h 1729012"/>
                <a:gd name="connsiteX2918" fmla="*/ 1202558 w 2240198"/>
                <a:gd name="connsiteY2918" fmla="*/ 626583 h 1729012"/>
                <a:gd name="connsiteX2919" fmla="*/ 1206828 w 2240198"/>
                <a:gd name="connsiteY2919" fmla="*/ 628831 h 1729012"/>
                <a:gd name="connsiteX2920" fmla="*/ 1210660 w 2240198"/>
                <a:gd name="connsiteY2920" fmla="*/ 631634 h 1729012"/>
                <a:gd name="connsiteX2921" fmla="*/ 1216367 w 2240198"/>
                <a:gd name="connsiteY2921" fmla="*/ 637479 h 1729012"/>
                <a:gd name="connsiteX2922" fmla="*/ 1217602 w 2240198"/>
                <a:gd name="connsiteY2922" fmla="*/ 639127 h 1729012"/>
                <a:gd name="connsiteX2923" fmla="*/ 1218461 w 2240198"/>
                <a:gd name="connsiteY2923" fmla="*/ 640909 h 1729012"/>
                <a:gd name="connsiteX2924" fmla="*/ 1219945 w 2240198"/>
                <a:gd name="connsiteY2924" fmla="*/ 647406 h 1729012"/>
                <a:gd name="connsiteX2925" fmla="*/ 1220134 w 2240198"/>
                <a:gd name="connsiteY2925" fmla="*/ 649867 h 1729012"/>
                <a:gd name="connsiteX2926" fmla="*/ 1219589 w 2240198"/>
                <a:gd name="connsiteY2926" fmla="*/ 656963 h 1729012"/>
                <a:gd name="connsiteX2927" fmla="*/ 1219139 w 2240198"/>
                <a:gd name="connsiteY2927" fmla="*/ 658301 h 1729012"/>
                <a:gd name="connsiteX2928" fmla="*/ 1217631 w 2240198"/>
                <a:gd name="connsiteY2928" fmla="*/ 659911 h 1729012"/>
                <a:gd name="connsiteX2929" fmla="*/ 1218151 w 2240198"/>
                <a:gd name="connsiteY2929" fmla="*/ 660562 h 1729012"/>
                <a:gd name="connsiteX2930" fmla="*/ 1222662 w 2240198"/>
                <a:gd name="connsiteY2930" fmla="*/ 662407 h 1729012"/>
                <a:gd name="connsiteX2931" fmla="*/ 1226246 w 2240198"/>
                <a:gd name="connsiteY2931" fmla="*/ 666063 h 1729012"/>
                <a:gd name="connsiteX2932" fmla="*/ 1228128 w 2240198"/>
                <a:gd name="connsiteY2932" fmla="*/ 667240 h 1729012"/>
                <a:gd name="connsiteX2933" fmla="*/ 1232666 w 2240198"/>
                <a:gd name="connsiteY2933" fmla="*/ 669207 h 1729012"/>
                <a:gd name="connsiteX2934" fmla="*/ 1233494 w 2240198"/>
                <a:gd name="connsiteY2934" fmla="*/ 669949 h 1729012"/>
                <a:gd name="connsiteX2935" fmla="*/ 1234519 w 2240198"/>
                <a:gd name="connsiteY2935" fmla="*/ 671178 h 1729012"/>
                <a:gd name="connsiteX2936" fmla="*/ 1237079 w 2240198"/>
                <a:gd name="connsiteY2936" fmla="*/ 676435 h 1729012"/>
                <a:gd name="connsiteX2937" fmla="*/ 1241271 w 2240198"/>
                <a:gd name="connsiteY2937" fmla="*/ 681162 h 1729012"/>
                <a:gd name="connsiteX2938" fmla="*/ 1241573 w 2240198"/>
                <a:gd name="connsiteY2938" fmla="*/ 682179 h 1729012"/>
                <a:gd name="connsiteX2939" fmla="*/ 1240675 w 2240198"/>
                <a:gd name="connsiteY2939" fmla="*/ 684400 h 1729012"/>
                <a:gd name="connsiteX2940" fmla="*/ 1241316 w 2240198"/>
                <a:gd name="connsiteY2940" fmla="*/ 685104 h 1729012"/>
                <a:gd name="connsiteX2941" fmla="*/ 1242934 w 2240198"/>
                <a:gd name="connsiteY2941" fmla="*/ 685915 h 1729012"/>
                <a:gd name="connsiteX2942" fmla="*/ 1244387 w 2240198"/>
                <a:gd name="connsiteY2942" fmla="*/ 685494 h 1729012"/>
                <a:gd name="connsiteX2943" fmla="*/ 1245672 w 2240198"/>
                <a:gd name="connsiteY2943" fmla="*/ 683834 h 1729012"/>
                <a:gd name="connsiteX2944" fmla="*/ 1247070 w 2240198"/>
                <a:gd name="connsiteY2944" fmla="*/ 683354 h 1729012"/>
                <a:gd name="connsiteX2945" fmla="*/ 1248581 w 2240198"/>
                <a:gd name="connsiteY2945" fmla="*/ 684056 h 1729012"/>
                <a:gd name="connsiteX2946" fmla="*/ 1249727 w 2240198"/>
                <a:gd name="connsiteY2946" fmla="*/ 685291 h 1729012"/>
                <a:gd name="connsiteX2947" fmla="*/ 1251288 w 2240198"/>
                <a:gd name="connsiteY2947" fmla="*/ 688313 h 1729012"/>
                <a:gd name="connsiteX2948" fmla="*/ 1253570 w 2240198"/>
                <a:gd name="connsiteY2948" fmla="*/ 690803 h 1729012"/>
                <a:gd name="connsiteX2949" fmla="*/ 1253379 w 2240198"/>
                <a:gd name="connsiteY2949" fmla="*/ 691563 h 1729012"/>
                <a:gd name="connsiteX2950" fmla="*/ 1252250 w 2240198"/>
                <a:gd name="connsiteY2950" fmla="*/ 692188 h 1729012"/>
                <a:gd name="connsiteX2951" fmla="*/ 1246102 w 2240198"/>
                <a:gd name="connsiteY2951" fmla="*/ 692878 h 1729012"/>
                <a:gd name="connsiteX2952" fmla="*/ 1242644 w 2240198"/>
                <a:gd name="connsiteY2952" fmla="*/ 692399 h 1729012"/>
                <a:gd name="connsiteX2953" fmla="*/ 1239447 w 2240198"/>
                <a:gd name="connsiteY2953" fmla="*/ 691183 h 1729012"/>
                <a:gd name="connsiteX2954" fmla="*/ 1237226 w 2240198"/>
                <a:gd name="connsiteY2954" fmla="*/ 689927 h 1729012"/>
                <a:gd name="connsiteX2955" fmla="*/ 1235155 w 2240198"/>
                <a:gd name="connsiteY2955" fmla="*/ 687999 h 1729012"/>
                <a:gd name="connsiteX2956" fmla="*/ 1234390 w 2240198"/>
                <a:gd name="connsiteY2956" fmla="*/ 688204 h 1729012"/>
                <a:gd name="connsiteX2957" fmla="*/ 1233305 w 2240198"/>
                <a:gd name="connsiteY2957" fmla="*/ 689776 h 1729012"/>
                <a:gd name="connsiteX2958" fmla="*/ 1230988 w 2240198"/>
                <a:gd name="connsiteY2958" fmla="*/ 692069 h 1729012"/>
                <a:gd name="connsiteX2959" fmla="*/ 1229537 w 2240198"/>
                <a:gd name="connsiteY2959" fmla="*/ 694187 h 1729012"/>
                <a:gd name="connsiteX2960" fmla="*/ 1231213 w 2240198"/>
                <a:gd name="connsiteY2960" fmla="*/ 695128 h 1729012"/>
                <a:gd name="connsiteX2961" fmla="*/ 1239297 w 2240198"/>
                <a:gd name="connsiteY2961" fmla="*/ 695066 h 1729012"/>
                <a:gd name="connsiteX2962" fmla="*/ 1241053 w 2240198"/>
                <a:gd name="connsiteY2962" fmla="*/ 695660 h 1729012"/>
                <a:gd name="connsiteX2963" fmla="*/ 1243107 w 2240198"/>
                <a:gd name="connsiteY2963" fmla="*/ 697147 h 1729012"/>
                <a:gd name="connsiteX2964" fmla="*/ 1240766 w 2240198"/>
                <a:gd name="connsiteY2964" fmla="*/ 699627 h 1729012"/>
                <a:gd name="connsiteX2965" fmla="*/ 1235296 w 2240198"/>
                <a:gd name="connsiteY2965" fmla="*/ 703788 h 1729012"/>
                <a:gd name="connsiteX2966" fmla="*/ 1223475 w 2240198"/>
                <a:gd name="connsiteY2966" fmla="*/ 711835 h 1729012"/>
                <a:gd name="connsiteX2967" fmla="*/ 1220005 w 2240198"/>
                <a:gd name="connsiteY2967" fmla="*/ 713895 h 1729012"/>
                <a:gd name="connsiteX2968" fmla="*/ 1220848 w 2240198"/>
                <a:gd name="connsiteY2968" fmla="*/ 714495 h 1729012"/>
                <a:gd name="connsiteX2969" fmla="*/ 1222165 w 2240198"/>
                <a:gd name="connsiteY2969" fmla="*/ 714649 h 1729012"/>
                <a:gd name="connsiteX2970" fmla="*/ 1226217 w 2240198"/>
                <a:gd name="connsiteY2970" fmla="*/ 714297 h 1729012"/>
                <a:gd name="connsiteX2971" fmla="*/ 1230005 w 2240198"/>
                <a:gd name="connsiteY2971" fmla="*/ 713220 h 1729012"/>
                <a:gd name="connsiteX2972" fmla="*/ 1234613 w 2240198"/>
                <a:gd name="connsiteY2972" fmla="*/ 713684 h 1729012"/>
                <a:gd name="connsiteX2973" fmla="*/ 1236665 w 2240198"/>
                <a:gd name="connsiteY2973" fmla="*/ 714563 h 1729012"/>
                <a:gd name="connsiteX2974" fmla="*/ 1235967 w 2240198"/>
                <a:gd name="connsiteY2974" fmla="*/ 715421 h 1729012"/>
                <a:gd name="connsiteX2975" fmla="*/ 1237215 w 2240198"/>
                <a:gd name="connsiteY2975" fmla="*/ 716816 h 1729012"/>
                <a:gd name="connsiteX2976" fmla="*/ 1244749 w 2240198"/>
                <a:gd name="connsiteY2976" fmla="*/ 720055 h 1729012"/>
                <a:gd name="connsiteX2977" fmla="*/ 1249512 w 2240198"/>
                <a:gd name="connsiteY2977" fmla="*/ 719410 h 1729012"/>
                <a:gd name="connsiteX2978" fmla="*/ 1254374 w 2240198"/>
                <a:gd name="connsiteY2978" fmla="*/ 716288 h 1729012"/>
                <a:gd name="connsiteX2979" fmla="*/ 1258131 w 2240198"/>
                <a:gd name="connsiteY2979" fmla="*/ 714739 h 1729012"/>
                <a:gd name="connsiteX2980" fmla="*/ 1262755 w 2240198"/>
                <a:gd name="connsiteY2980" fmla="*/ 714950 h 1729012"/>
                <a:gd name="connsiteX2981" fmla="*/ 1264048 w 2240198"/>
                <a:gd name="connsiteY2981" fmla="*/ 715293 h 1729012"/>
                <a:gd name="connsiteX2982" fmla="*/ 1263555 w 2240198"/>
                <a:gd name="connsiteY2982" fmla="*/ 716051 h 1729012"/>
                <a:gd name="connsiteX2983" fmla="*/ 1260139 w 2240198"/>
                <a:gd name="connsiteY2983" fmla="*/ 717805 h 1729012"/>
                <a:gd name="connsiteX2984" fmla="*/ 1257049 w 2240198"/>
                <a:gd name="connsiteY2984" fmla="*/ 719755 h 1729012"/>
                <a:gd name="connsiteX2985" fmla="*/ 1256718 w 2240198"/>
                <a:gd name="connsiteY2985" fmla="*/ 720305 h 1729012"/>
                <a:gd name="connsiteX2986" fmla="*/ 1260568 w 2240198"/>
                <a:gd name="connsiteY2986" fmla="*/ 719517 h 1729012"/>
                <a:gd name="connsiteX2987" fmla="*/ 1269136 w 2240198"/>
                <a:gd name="connsiteY2987" fmla="*/ 720763 h 1729012"/>
                <a:gd name="connsiteX2988" fmla="*/ 1273306 w 2240198"/>
                <a:gd name="connsiteY2988" fmla="*/ 721072 h 1729012"/>
                <a:gd name="connsiteX2989" fmla="*/ 1276326 w 2240198"/>
                <a:gd name="connsiteY2989" fmla="*/ 720760 h 1729012"/>
                <a:gd name="connsiteX2990" fmla="*/ 1279158 w 2240198"/>
                <a:gd name="connsiteY2990" fmla="*/ 721256 h 1729012"/>
                <a:gd name="connsiteX2991" fmla="*/ 1281806 w 2240198"/>
                <a:gd name="connsiteY2991" fmla="*/ 722560 h 1729012"/>
                <a:gd name="connsiteX2992" fmla="*/ 1282692 w 2240198"/>
                <a:gd name="connsiteY2992" fmla="*/ 723387 h 1729012"/>
                <a:gd name="connsiteX2993" fmla="*/ 1280214 w 2240198"/>
                <a:gd name="connsiteY2993" fmla="*/ 723920 h 1729012"/>
                <a:gd name="connsiteX2994" fmla="*/ 1277875 w 2240198"/>
                <a:gd name="connsiteY2994" fmla="*/ 723910 h 1729012"/>
                <a:gd name="connsiteX2995" fmla="*/ 1275887 w 2240198"/>
                <a:gd name="connsiteY2995" fmla="*/ 724698 h 1729012"/>
                <a:gd name="connsiteX2996" fmla="*/ 1274249 w 2240198"/>
                <a:gd name="connsiteY2996" fmla="*/ 726278 h 1729012"/>
                <a:gd name="connsiteX2997" fmla="*/ 1273082 w 2240198"/>
                <a:gd name="connsiteY2997" fmla="*/ 728325 h 1729012"/>
                <a:gd name="connsiteX2998" fmla="*/ 1272383 w 2240198"/>
                <a:gd name="connsiteY2998" fmla="*/ 730841 h 1729012"/>
                <a:gd name="connsiteX2999" fmla="*/ 1270605 w 2240198"/>
                <a:gd name="connsiteY2999" fmla="*/ 731878 h 1729012"/>
                <a:gd name="connsiteX3000" fmla="*/ 1267747 w 2240198"/>
                <a:gd name="connsiteY3000" fmla="*/ 731439 h 1729012"/>
                <a:gd name="connsiteX3001" fmla="*/ 1266626 w 2240198"/>
                <a:gd name="connsiteY3001" fmla="*/ 730728 h 1729012"/>
                <a:gd name="connsiteX3002" fmla="*/ 1267243 w 2240198"/>
                <a:gd name="connsiteY3002" fmla="*/ 729735 h 1729012"/>
                <a:gd name="connsiteX3003" fmla="*/ 1266409 w 2240198"/>
                <a:gd name="connsiteY3003" fmla="*/ 729592 h 1729012"/>
                <a:gd name="connsiteX3004" fmla="*/ 1264125 w 2240198"/>
                <a:gd name="connsiteY3004" fmla="*/ 730300 h 1729012"/>
                <a:gd name="connsiteX3005" fmla="*/ 1262346 w 2240198"/>
                <a:gd name="connsiteY3005" fmla="*/ 730322 h 1729012"/>
                <a:gd name="connsiteX3006" fmla="*/ 1261859 w 2240198"/>
                <a:gd name="connsiteY3006" fmla="*/ 731061 h 1729012"/>
                <a:gd name="connsiteX3007" fmla="*/ 1274344 w 2240198"/>
                <a:gd name="connsiteY3007" fmla="*/ 739075 h 1729012"/>
                <a:gd name="connsiteX3008" fmla="*/ 1278338 w 2240198"/>
                <a:gd name="connsiteY3008" fmla="*/ 746144 h 1729012"/>
                <a:gd name="connsiteX3009" fmla="*/ 1281084 w 2240198"/>
                <a:gd name="connsiteY3009" fmla="*/ 749059 h 1729012"/>
                <a:gd name="connsiteX3010" fmla="*/ 1281353 w 2240198"/>
                <a:gd name="connsiteY3010" fmla="*/ 749829 h 1729012"/>
                <a:gd name="connsiteX3011" fmla="*/ 1279563 w 2240198"/>
                <a:gd name="connsiteY3011" fmla="*/ 751786 h 1729012"/>
                <a:gd name="connsiteX3012" fmla="*/ 1279474 w 2240198"/>
                <a:gd name="connsiteY3012" fmla="*/ 753273 h 1729012"/>
                <a:gd name="connsiteX3013" fmla="*/ 1280293 w 2240198"/>
                <a:gd name="connsiteY3013" fmla="*/ 757565 h 1729012"/>
                <a:gd name="connsiteX3014" fmla="*/ 1279912 w 2240198"/>
                <a:gd name="connsiteY3014" fmla="*/ 760988 h 1729012"/>
                <a:gd name="connsiteX3015" fmla="*/ 1278685 w 2240198"/>
                <a:gd name="connsiteY3015" fmla="*/ 767001 h 1729012"/>
                <a:gd name="connsiteX3016" fmla="*/ 1279834 w 2240198"/>
                <a:gd name="connsiteY3016" fmla="*/ 768868 h 1729012"/>
                <a:gd name="connsiteX3017" fmla="*/ 1282503 w 2240198"/>
                <a:gd name="connsiteY3017" fmla="*/ 770514 h 1729012"/>
                <a:gd name="connsiteX3018" fmla="*/ 1284099 w 2240198"/>
                <a:gd name="connsiteY3018" fmla="*/ 772621 h 1729012"/>
                <a:gd name="connsiteX3019" fmla="*/ 1285185 w 2240198"/>
                <a:gd name="connsiteY3019" fmla="*/ 773340 h 1729012"/>
                <a:gd name="connsiteX3020" fmla="*/ 1285996 w 2240198"/>
                <a:gd name="connsiteY3020" fmla="*/ 775035 h 1729012"/>
                <a:gd name="connsiteX3021" fmla="*/ 1286948 w 2240198"/>
                <a:gd name="connsiteY3021" fmla="*/ 776095 h 1729012"/>
                <a:gd name="connsiteX3022" fmla="*/ 1288037 w 2240198"/>
                <a:gd name="connsiteY3022" fmla="*/ 776532 h 1729012"/>
                <a:gd name="connsiteX3023" fmla="*/ 1288807 w 2240198"/>
                <a:gd name="connsiteY3023" fmla="*/ 775974 h 1729012"/>
                <a:gd name="connsiteX3024" fmla="*/ 1289253 w 2240198"/>
                <a:gd name="connsiteY3024" fmla="*/ 774427 h 1729012"/>
                <a:gd name="connsiteX3025" fmla="*/ 1290278 w 2240198"/>
                <a:gd name="connsiteY3025" fmla="*/ 772978 h 1729012"/>
                <a:gd name="connsiteX3026" fmla="*/ 1293094 w 2240198"/>
                <a:gd name="connsiteY3026" fmla="*/ 770369 h 1729012"/>
                <a:gd name="connsiteX3027" fmla="*/ 1295823 w 2240198"/>
                <a:gd name="connsiteY3027" fmla="*/ 766294 h 1729012"/>
                <a:gd name="connsiteX3028" fmla="*/ 1296286 w 2240198"/>
                <a:gd name="connsiteY3028" fmla="*/ 764941 h 1729012"/>
                <a:gd name="connsiteX3029" fmla="*/ 1295852 w 2240198"/>
                <a:gd name="connsiteY3029" fmla="*/ 761733 h 1729012"/>
                <a:gd name="connsiteX3030" fmla="*/ 1296165 w 2240198"/>
                <a:gd name="connsiteY3030" fmla="*/ 760358 h 1729012"/>
                <a:gd name="connsiteX3031" fmla="*/ 1298729 w 2240198"/>
                <a:gd name="connsiteY3031" fmla="*/ 755485 h 1729012"/>
                <a:gd name="connsiteX3032" fmla="*/ 1299548 w 2240198"/>
                <a:gd name="connsiteY3032" fmla="*/ 752101 h 1729012"/>
                <a:gd name="connsiteX3033" fmla="*/ 1300325 w 2240198"/>
                <a:gd name="connsiteY3033" fmla="*/ 746822 h 1729012"/>
                <a:gd name="connsiteX3034" fmla="*/ 1301683 w 2240198"/>
                <a:gd name="connsiteY3034" fmla="*/ 743136 h 1729012"/>
                <a:gd name="connsiteX3035" fmla="*/ 1304589 w 2240198"/>
                <a:gd name="connsiteY3035" fmla="*/ 740009 h 1729012"/>
                <a:gd name="connsiteX3036" fmla="*/ 1309663 w 2240198"/>
                <a:gd name="connsiteY3036" fmla="*/ 733676 h 1729012"/>
                <a:gd name="connsiteX3037" fmla="*/ 1311498 w 2240198"/>
                <a:gd name="connsiteY3037" fmla="*/ 732405 h 1729012"/>
                <a:gd name="connsiteX3038" fmla="*/ 1313553 w 2240198"/>
                <a:gd name="connsiteY3038" fmla="*/ 731779 h 1729012"/>
                <a:gd name="connsiteX3039" fmla="*/ 1317147 w 2240198"/>
                <a:gd name="connsiteY3039" fmla="*/ 731929 h 1729012"/>
                <a:gd name="connsiteX3040" fmla="*/ 1319765 w 2240198"/>
                <a:gd name="connsiteY3040" fmla="*/ 733971 h 1729012"/>
                <a:gd name="connsiteX3041" fmla="*/ 1323288 w 2240198"/>
                <a:gd name="connsiteY3041" fmla="*/ 737739 h 1729012"/>
                <a:gd name="connsiteX3042" fmla="*/ 1327771 w 2240198"/>
                <a:gd name="connsiteY3042" fmla="*/ 741169 h 1729012"/>
                <a:gd name="connsiteX3043" fmla="*/ 1335941 w 2240198"/>
                <a:gd name="connsiteY3043" fmla="*/ 745808 h 1729012"/>
                <a:gd name="connsiteX3044" fmla="*/ 1338275 w 2240198"/>
                <a:gd name="connsiteY3044" fmla="*/ 747556 h 1729012"/>
                <a:gd name="connsiteX3045" fmla="*/ 1342894 w 2240198"/>
                <a:gd name="connsiteY3045" fmla="*/ 752133 h 1729012"/>
                <a:gd name="connsiteX3046" fmla="*/ 1344846 w 2240198"/>
                <a:gd name="connsiteY3046" fmla="*/ 756664 h 1729012"/>
                <a:gd name="connsiteX3047" fmla="*/ 1346186 w 2240198"/>
                <a:gd name="connsiteY3047" fmla="*/ 763041 h 1729012"/>
                <a:gd name="connsiteX3048" fmla="*/ 1347341 w 2240198"/>
                <a:gd name="connsiteY3048" fmla="*/ 766872 h 1729012"/>
                <a:gd name="connsiteX3049" fmla="*/ 1348310 w 2240198"/>
                <a:gd name="connsiteY3049" fmla="*/ 768170 h 1729012"/>
                <a:gd name="connsiteX3050" fmla="*/ 1348753 w 2240198"/>
                <a:gd name="connsiteY3050" fmla="*/ 770101 h 1729012"/>
                <a:gd name="connsiteX3051" fmla="*/ 1348669 w 2240198"/>
                <a:gd name="connsiteY3051" fmla="*/ 772665 h 1729012"/>
                <a:gd name="connsiteX3052" fmla="*/ 1348305 w 2240198"/>
                <a:gd name="connsiteY3052" fmla="*/ 774671 h 1729012"/>
                <a:gd name="connsiteX3053" fmla="*/ 1347663 w 2240198"/>
                <a:gd name="connsiteY3053" fmla="*/ 776119 h 1729012"/>
                <a:gd name="connsiteX3054" fmla="*/ 1346663 w 2240198"/>
                <a:gd name="connsiteY3054" fmla="*/ 776939 h 1729012"/>
                <a:gd name="connsiteX3055" fmla="*/ 1344171 w 2240198"/>
                <a:gd name="connsiteY3055" fmla="*/ 777206 h 1729012"/>
                <a:gd name="connsiteX3056" fmla="*/ 1341125 w 2240198"/>
                <a:gd name="connsiteY3056" fmla="*/ 776807 h 1729012"/>
                <a:gd name="connsiteX3057" fmla="*/ 1340245 w 2240198"/>
                <a:gd name="connsiteY3057" fmla="*/ 776157 h 1729012"/>
                <a:gd name="connsiteX3058" fmla="*/ 1338641 w 2240198"/>
                <a:gd name="connsiteY3058" fmla="*/ 773141 h 1729012"/>
                <a:gd name="connsiteX3059" fmla="*/ 1337977 w 2240198"/>
                <a:gd name="connsiteY3059" fmla="*/ 772957 h 1729012"/>
                <a:gd name="connsiteX3060" fmla="*/ 1335144 w 2240198"/>
                <a:gd name="connsiteY3060" fmla="*/ 775182 h 1729012"/>
                <a:gd name="connsiteX3061" fmla="*/ 1334797 w 2240198"/>
                <a:gd name="connsiteY3061" fmla="*/ 776427 h 1729012"/>
                <a:gd name="connsiteX3062" fmla="*/ 1335838 w 2240198"/>
                <a:gd name="connsiteY3062" fmla="*/ 780542 h 1729012"/>
                <a:gd name="connsiteX3063" fmla="*/ 1335699 w 2240198"/>
                <a:gd name="connsiteY3063" fmla="*/ 788264 h 1729012"/>
                <a:gd name="connsiteX3064" fmla="*/ 1335985 w 2240198"/>
                <a:gd name="connsiteY3064" fmla="*/ 789937 h 1729012"/>
                <a:gd name="connsiteX3065" fmla="*/ 1338976 w 2240198"/>
                <a:gd name="connsiteY3065" fmla="*/ 797952 h 1729012"/>
                <a:gd name="connsiteX3066" fmla="*/ 1344014 w 2240198"/>
                <a:gd name="connsiteY3066" fmla="*/ 804020 h 1729012"/>
                <a:gd name="connsiteX3067" fmla="*/ 1356643 w 2240198"/>
                <a:gd name="connsiteY3067" fmla="*/ 815681 h 1729012"/>
                <a:gd name="connsiteX3068" fmla="*/ 1357361 w 2240198"/>
                <a:gd name="connsiteY3068" fmla="*/ 817002 h 1729012"/>
                <a:gd name="connsiteX3069" fmla="*/ 1358701 w 2240198"/>
                <a:gd name="connsiteY3069" fmla="*/ 821746 h 1729012"/>
                <a:gd name="connsiteX3070" fmla="*/ 1359361 w 2240198"/>
                <a:gd name="connsiteY3070" fmla="*/ 822737 h 1729012"/>
                <a:gd name="connsiteX3071" fmla="*/ 1360186 w 2240198"/>
                <a:gd name="connsiteY3071" fmla="*/ 823330 h 1729012"/>
                <a:gd name="connsiteX3072" fmla="*/ 1361178 w 2240198"/>
                <a:gd name="connsiteY3072" fmla="*/ 823518 h 1729012"/>
                <a:gd name="connsiteX3073" fmla="*/ 1362548 w 2240198"/>
                <a:gd name="connsiteY3073" fmla="*/ 823047 h 1729012"/>
                <a:gd name="connsiteX3074" fmla="*/ 1367188 w 2240198"/>
                <a:gd name="connsiteY3074" fmla="*/ 819445 h 1729012"/>
                <a:gd name="connsiteX3075" fmla="*/ 1371228 w 2240198"/>
                <a:gd name="connsiteY3075" fmla="*/ 815641 h 1729012"/>
                <a:gd name="connsiteX3076" fmla="*/ 1374046 w 2240198"/>
                <a:gd name="connsiteY3076" fmla="*/ 813656 h 1729012"/>
                <a:gd name="connsiteX3077" fmla="*/ 1375642 w 2240198"/>
                <a:gd name="connsiteY3077" fmla="*/ 813496 h 1729012"/>
                <a:gd name="connsiteX3078" fmla="*/ 1377361 w 2240198"/>
                <a:gd name="connsiteY3078" fmla="*/ 812797 h 1729012"/>
                <a:gd name="connsiteX3079" fmla="*/ 1379204 w 2240198"/>
                <a:gd name="connsiteY3079" fmla="*/ 811569 h 1729012"/>
                <a:gd name="connsiteX3080" fmla="*/ 1380435 w 2240198"/>
                <a:gd name="connsiteY3080" fmla="*/ 810219 h 1729012"/>
                <a:gd name="connsiteX3081" fmla="*/ 1381053 w 2240198"/>
                <a:gd name="connsiteY3081" fmla="*/ 808752 h 1729012"/>
                <a:gd name="connsiteX3082" fmla="*/ 1381888 w 2240198"/>
                <a:gd name="connsiteY3082" fmla="*/ 802993 h 1729012"/>
                <a:gd name="connsiteX3083" fmla="*/ 1382597 w 2240198"/>
                <a:gd name="connsiteY3083" fmla="*/ 800236 h 1729012"/>
                <a:gd name="connsiteX3084" fmla="*/ 1384562 w 2240198"/>
                <a:gd name="connsiteY3084" fmla="*/ 796466 h 1729012"/>
                <a:gd name="connsiteX3085" fmla="*/ 1385281 w 2240198"/>
                <a:gd name="connsiteY3085" fmla="*/ 795393 h 1729012"/>
                <a:gd name="connsiteX3086" fmla="*/ 1395049 w 2240198"/>
                <a:gd name="connsiteY3086" fmla="*/ 785798 h 1729012"/>
                <a:gd name="connsiteX3087" fmla="*/ 1395857 w 2240198"/>
                <a:gd name="connsiteY3087" fmla="*/ 784617 h 1729012"/>
                <a:gd name="connsiteX3088" fmla="*/ 1400009 w 2240198"/>
                <a:gd name="connsiteY3088" fmla="*/ 773441 h 1729012"/>
                <a:gd name="connsiteX3089" fmla="*/ 1401473 w 2240198"/>
                <a:gd name="connsiteY3089" fmla="*/ 768306 h 1729012"/>
                <a:gd name="connsiteX3090" fmla="*/ 1401684 w 2240198"/>
                <a:gd name="connsiteY3090" fmla="*/ 765207 h 1729012"/>
                <a:gd name="connsiteX3091" fmla="*/ 1401124 w 2240198"/>
                <a:gd name="connsiteY3091" fmla="*/ 762444 h 1729012"/>
                <a:gd name="connsiteX3092" fmla="*/ 1401404 w 2240198"/>
                <a:gd name="connsiteY3092" fmla="*/ 760157 h 1729012"/>
                <a:gd name="connsiteX3093" fmla="*/ 1402521 w 2240198"/>
                <a:gd name="connsiteY3093" fmla="*/ 758357 h 1729012"/>
                <a:gd name="connsiteX3094" fmla="*/ 1403703 w 2240198"/>
                <a:gd name="connsiteY3094" fmla="*/ 757086 h 1729012"/>
                <a:gd name="connsiteX3095" fmla="*/ 1405749 w 2240198"/>
                <a:gd name="connsiteY3095" fmla="*/ 755801 h 1729012"/>
                <a:gd name="connsiteX3096" fmla="*/ 1406882 w 2240198"/>
                <a:gd name="connsiteY3096" fmla="*/ 753988 h 1729012"/>
                <a:gd name="connsiteX3097" fmla="*/ 1407560 w 2240198"/>
                <a:gd name="connsiteY3097" fmla="*/ 753804 h 1729012"/>
                <a:gd name="connsiteX3098" fmla="*/ 1409234 w 2240198"/>
                <a:gd name="connsiteY3098" fmla="*/ 753790 h 1729012"/>
                <a:gd name="connsiteX3099" fmla="*/ 1411439 w 2240198"/>
                <a:gd name="connsiteY3099" fmla="*/ 755028 h 1729012"/>
                <a:gd name="connsiteX3100" fmla="*/ 1413036 w 2240198"/>
                <a:gd name="connsiteY3100" fmla="*/ 755247 h 1729012"/>
                <a:gd name="connsiteX3101" fmla="*/ 1423370 w 2240198"/>
                <a:gd name="connsiteY3101" fmla="*/ 753833 h 1729012"/>
                <a:gd name="connsiteX3102" fmla="*/ 1423372 w 2240198"/>
                <a:gd name="connsiteY3102" fmla="*/ 753078 h 1729012"/>
                <a:gd name="connsiteX3103" fmla="*/ 1417308 w 2240198"/>
                <a:gd name="connsiteY3103" fmla="*/ 750703 h 1729012"/>
                <a:gd name="connsiteX3104" fmla="*/ 1417365 w 2240198"/>
                <a:gd name="connsiteY3104" fmla="*/ 749511 h 1729012"/>
                <a:gd name="connsiteX3105" fmla="*/ 1417896 w 2240198"/>
                <a:gd name="connsiteY3105" fmla="*/ 747872 h 1729012"/>
                <a:gd name="connsiteX3106" fmla="*/ 1419801 w 2240198"/>
                <a:gd name="connsiteY3106" fmla="*/ 746040 h 1729012"/>
                <a:gd name="connsiteX3107" fmla="*/ 1422140 w 2240198"/>
                <a:gd name="connsiteY3107" fmla="*/ 745461 h 1729012"/>
                <a:gd name="connsiteX3108" fmla="*/ 1422667 w 2240198"/>
                <a:gd name="connsiteY3108" fmla="*/ 744294 h 1729012"/>
                <a:gd name="connsiteX3109" fmla="*/ 1422732 w 2240198"/>
                <a:gd name="connsiteY3109" fmla="*/ 742852 h 1729012"/>
                <a:gd name="connsiteX3110" fmla="*/ 1423506 w 2240198"/>
                <a:gd name="connsiteY3110" fmla="*/ 740495 h 1729012"/>
                <a:gd name="connsiteX3111" fmla="*/ 1422800 w 2240198"/>
                <a:gd name="connsiteY3111" fmla="*/ 739659 h 1729012"/>
                <a:gd name="connsiteX3112" fmla="*/ 1417133 w 2240198"/>
                <a:gd name="connsiteY3112" fmla="*/ 736403 h 1729012"/>
                <a:gd name="connsiteX3113" fmla="*/ 1413860 w 2240198"/>
                <a:gd name="connsiteY3113" fmla="*/ 736543 h 1729012"/>
                <a:gd name="connsiteX3114" fmla="*/ 1413026 w 2240198"/>
                <a:gd name="connsiteY3114" fmla="*/ 736115 h 1729012"/>
                <a:gd name="connsiteX3115" fmla="*/ 1410205 w 2240198"/>
                <a:gd name="connsiteY3115" fmla="*/ 733458 h 1729012"/>
                <a:gd name="connsiteX3116" fmla="*/ 1409171 w 2240198"/>
                <a:gd name="connsiteY3116" fmla="*/ 729592 h 1729012"/>
                <a:gd name="connsiteX3117" fmla="*/ 1409060 w 2240198"/>
                <a:gd name="connsiteY3117" fmla="*/ 728006 h 1729012"/>
                <a:gd name="connsiteX3118" fmla="*/ 1409453 w 2240198"/>
                <a:gd name="connsiteY3118" fmla="*/ 725454 h 1729012"/>
                <a:gd name="connsiteX3119" fmla="*/ 1409812 w 2240198"/>
                <a:gd name="connsiteY3119" fmla="*/ 724742 h 1729012"/>
                <a:gd name="connsiteX3120" fmla="*/ 1409636 w 2240198"/>
                <a:gd name="connsiteY3120" fmla="*/ 723589 h 1729012"/>
                <a:gd name="connsiteX3121" fmla="*/ 1408925 w 2240198"/>
                <a:gd name="connsiteY3121" fmla="*/ 721985 h 1729012"/>
                <a:gd name="connsiteX3122" fmla="*/ 1408867 w 2240198"/>
                <a:gd name="connsiteY3122" fmla="*/ 720563 h 1729012"/>
                <a:gd name="connsiteX3123" fmla="*/ 1409464 w 2240198"/>
                <a:gd name="connsiteY3123" fmla="*/ 719313 h 1729012"/>
                <a:gd name="connsiteX3124" fmla="*/ 1409104 w 2240198"/>
                <a:gd name="connsiteY3124" fmla="*/ 717834 h 1729012"/>
                <a:gd name="connsiteX3125" fmla="*/ 1407789 w 2240198"/>
                <a:gd name="connsiteY3125" fmla="*/ 716122 h 1729012"/>
                <a:gd name="connsiteX3126" fmla="*/ 1407272 w 2240198"/>
                <a:gd name="connsiteY3126" fmla="*/ 714647 h 1729012"/>
                <a:gd name="connsiteX3127" fmla="*/ 1408655 w 2240198"/>
                <a:gd name="connsiteY3127" fmla="*/ 710292 h 1729012"/>
                <a:gd name="connsiteX3128" fmla="*/ 1408701 w 2240198"/>
                <a:gd name="connsiteY3128" fmla="*/ 708955 h 1729012"/>
                <a:gd name="connsiteX3129" fmla="*/ 1407398 w 2240198"/>
                <a:gd name="connsiteY3129" fmla="*/ 707091 h 1729012"/>
                <a:gd name="connsiteX3130" fmla="*/ 1406451 w 2240198"/>
                <a:gd name="connsiteY3130" fmla="*/ 706368 h 1729012"/>
                <a:gd name="connsiteX3131" fmla="*/ 1407147 w 2240198"/>
                <a:gd name="connsiteY3131" fmla="*/ 705907 h 1729012"/>
                <a:gd name="connsiteX3132" fmla="*/ 1409485 w 2240198"/>
                <a:gd name="connsiteY3132" fmla="*/ 705715 h 1729012"/>
                <a:gd name="connsiteX3133" fmla="*/ 1412278 w 2240198"/>
                <a:gd name="connsiteY3133" fmla="*/ 706320 h 1729012"/>
                <a:gd name="connsiteX3134" fmla="*/ 1415528 w 2240198"/>
                <a:gd name="connsiteY3134" fmla="*/ 707720 h 1729012"/>
                <a:gd name="connsiteX3135" fmla="*/ 1419509 w 2240198"/>
                <a:gd name="connsiteY3135" fmla="*/ 707736 h 1729012"/>
                <a:gd name="connsiteX3136" fmla="*/ 1424222 w 2240198"/>
                <a:gd name="connsiteY3136" fmla="*/ 706368 h 1729012"/>
                <a:gd name="connsiteX3137" fmla="*/ 1429010 w 2240198"/>
                <a:gd name="connsiteY3137" fmla="*/ 705706 h 1729012"/>
                <a:gd name="connsiteX3138" fmla="*/ 1437284 w 2240198"/>
                <a:gd name="connsiteY3138" fmla="*/ 705977 h 1729012"/>
                <a:gd name="connsiteX3139" fmla="*/ 1439240 w 2240198"/>
                <a:gd name="connsiteY3139" fmla="*/ 706370 h 1729012"/>
                <a:gd name="connsiteX3140" fmla="*/ 1447468 w 2240198"/>
                <a:gd name="connsiteY3140" fmla="*/ 710418 h 1729012"/>
                <a:gd name="connsiteX3141" fmla="*/ 1453854 w 2240198"/>
                <a:gd name="connsiteY3141" fmla="*/ 712476 h 1729012"/>
                <a:gd name="connsiteX3142" fmla="*/ 1456734 w 2240198"/>
                <a:gd name="connsiteY3142" fmla="*/ 712285 h 1729012"/>
                <a:gd name="connsiteX3143" fmla="*/ 1470943 w 2240198"/>
                <a:gd name="connsiteY3143" fmla="*/ 713099 h 1729012"/>
                <a:gd name="connsiteX3144" fmla="*/ 1477175 w 2240198"/>
                <a:gd name="connsiteY3144" fmla="*/ 712683 h 1729012"/>
                <a:gd name="connsiteX3145" fmla="*/ 1480402 w 2240198"/>
                <a:gd name="connsiteY3145" fmla="*/ 712865 h 1729012"/>
                <a:gd name="connsiteX3146" fmla="*/ 1486593 w 2240198"/>
                <a:gd name="connsiteY3146" fmla="*/ 715084 h 1729012"/>
                <a:gd name="connsiteX3147" fmla="*/ 1486186 w 2240198"/>
                <a:gd name="connsiteY3147" fmla="*/ 716926 h 1729012"/>
                <a:gd name="connsiteX3148" fmla="*/ 1483511 w 2240198"/>
                <a:gd name="connsiteY3148" fmla="*/ 720010 h 1729012"/>
                <a:gd name="connsiteX3149" fmla="*/ 1480022 w 2240198"/>
                <a:gd name="connsiteY3149" fmla="*/ 720645 h 1729012"/>
                <a:gd name="connsiteX3150" fmla="*/ 1476941 w 2240198"/>
                <a:gd name="connsiteY3150" fmla="*/ 721710 h 1729012"/>
                <a:gd name="connsiteX3151" fmla="*/ 1479801 w 2240198"/>
                <a:gd name="connsiteY3151" fmla="*/ 723324 h 1729012"/>
                <a:gd name="connsiteX3152" fmla="*/ 1488223 w 2240198"/>
                <a:gd name="connsiteY3152" fmla="*/ 725493 h 1729012"/>
                <a:gd name="connsiteX3153" fmla="*/ 1490203 w 2240198"/>
                <a:gd name="connsiteY3153" fmla="*/ 728959 h 1729012"/>
                <a:gd name="connsiteX3154" fmla="*/ 1490802 w 2240198"/>
                <a:gd name="connsiteY3154" fmla="*/ 730549 h 1729012"/>
                <a:gd name="connsiteX3155" fmla="*/ 1489823 w 2240198"/>
                <a:gd name="connsiteY3155" fmla="*/ 731980 h 1729012"/>
                <a:gd name="connsiteX3156" fmla="*/ 1490312 w 2240198"/>
                <a:gd name="connsiteY3156" fmla="*/ 732700 h 1729012"/>
                <a:gd name="connsiteX3157" fmla="*/ 1492263 w 2240198"/>
                <a:gd name="connsiteY3157" fmla="*/ 732700 h 1729012"/>
                <a:gd name="connsiteX3158" fmla="*/ 1497303 w 2240198"/>
                <a:gd name="connsiteY3158" fmla="*/ 731484 h 1729012"/>
                <a:gd name="connsiteX3159" fmla="*/ 1502872 w 2240198"/>
                <a:gd name="connsiteY3159" fmla="*/ 732287 h 1729012"/>
                <a:gd name="connsiteX3160" fmla="*/ 1510982 w 2240198"/>
                <a:gd name="connsiteY3160" fmla="*/ 734964 h 1729012"/>
                <a:gd name="connsiteX3161" fmla="*/ 1511856 w 2240198"/>
                <a:gd name="connsiteY3161" fmla="*/ 735521 h 1729012"/>
                <a:gd name="connsiteX3162" fmla="*/ 1513283 w 2240198"/>
                <a:gd name="connsiteY3162" fmla="*/ 737604 h 1729012"/>
                <a:gd name="connsiteX3163" fmla="*/ 1513104 w 2240198"/>
                <a:gd name="connsiteY3163" fmla="*/ 738451 h 1729012"/>
                <a:gd name="connsiteX3164" fmla="*/ 1505933 w 2240198"/>
                <a:gd name="connsiteY3164" fmla="*/ 743650 h 1729012"/>
                <a:gd name="connsiteX3165" fmla="*/ 1502208 w 2240198"/>
                <a:gd name="connsiteY3165" fmla="*/ 745706 h 1729012"/>
                <a:gd name="connsiteX3166" fmla="*/ 1497307 w 2240198"/>
                <a:gd name="connsiteY3166" fmla="*/ 747821 h 1729012"/>
                <a:gd name="connsiteX3167" fmla="*/ 1497148 w 2240198"/>
                <a:gd name="connsiteY3167" fmla="*/ 748948 h 1729012"/>
                <a:gd name="connsiteX3168" fmla="*/ 1504019 w 2240198"/>
                <a:gd name="connsiteY3168" fmla="*/ 749157 h 1729012"/>
                <a:gd name="connsiteX3169" fmla="*/ 1509367 w 2240198"/>
                <a:gd name="connsiteY3169" fmla="*/ 749749 h 1729012"/>
                <a:gd name="connsiteX3170" fmla="*/ 1511778 w 2240198"/>
                <a:gd name="connsiteY3170" fmla="*/ 750436 h 1729012"/>
                <a:gd name="connsiteX3171" fmla="*/ 1513036 w 2240198"/>
                <a:gd name="connsiteY3171" fmla="*/ 751414 h 1729012"/>
                <a:gd name="connsiteX3172" fmla="*/ 1514755 w 2240198"/>
                <a:gd name="connsiteY3172" fmla="*/ 753511 h 1729012"/>
                <a:gd name="connsiteX3173" fmla="*/ 1515035 w 2240198"/>
                <a:gd name="connsiteY3173" fmla="*/ 755167 h 1729012"/>
                <a:gd name="connsiteX3174" fmla="*/ 1514866 w 2240198"/>
                <a:gd name="connsiteY3174" fmla="*/ 757408 h 1729012"/>
                <a:gd name="connsiteX3175" fmla="*/ 1514299 w 2240198"/>
                <a:gd name="connsiteY3175" fmla="*/ 758962 h 1729012"/>
                <a:gd name="connsiteX3176" fmla="*/ 1508078 w 2240198"/>
                <a:gd name="connsiteY3176" fmla="*/ 763426 h 1729012"/>
                <a:gd name="connsiteX3177" fmla="*/ 1505221 w 2240198"/>
                <a:gd name="connsiteY3177" fmla="*/ 764816 h 1729012"/>
                <a:gd name="connsiteX3178" fmla="*/ 1500356 w 2240198"/>
                <a:gd name="connsiteY3178" fmla="*/ 766466 h 1729012"/>
                <a:gd name="connsiteX3179" fmla="*/ 1498240 w 2240198"/>
                <a:gd name="connsiteY3179" fmla="*/ 767701 h 1729012"/>
                <a:gd name="connsiteX3180" fmla="*/ 1495916 w 2240198"/>
                <a:gd name="connsiteY3180" fmla="*/ 767532 h 1729012"/>
                <a:gd name="connsiteX3181" fmla="*/ 1493384 w 2240198"/>
                <a:gd name="connsiteY3181" fmla="*/ 765953 h 1729012"/>
                <a:gd name="connsiteX3182" fmla="*/ 1490752 w 2240198"/>
                <a:gd name="connsiteY3182" fmla="*/ 765614 h 1729012"/>
                <a:gd name="connsiteX3183" fmla="*/ 1486009 w 2240198"/>
                <a:gd name="connsiteY3183" fmla="*/ 766875 h 1729012"/>
                <a:gd name="connsiteX3184" fmla="*/ 1483435 w 2240198"/>
                <a:gd name="connsiteY3184" fmla="*/ 766830 h 1729012"/>
                <a:gd name="connsiteX3185" fmla="*/ 1482170 w 2240198"/>
                <a:gd name="connsiteY3185" fmla="*/ 767269 h 1729012"/>
                <a:gd name="connsiteX3186" fmla="*/ 1482067 w 2240198"/>
                <a:gd name="connsiteY3186" fmla="*/ 768241 h 1729012"/>
                <a:gd name="connsiteX3187" fmla="*/ 1484311 w 2240198"/>
                <a:gd name="connsiteY3187" fmla="*/ 771054 h 1729012"/>
                <a:gd name="connsiteX3188" fmla="*/ 1485609 w 2240198"/>
                <a:gd name="connsiteY3188" fmla="*/ 772162 h 1729012"/>
                <a:gd name="connsiteX3189" fmla="*/ 1486119 w 2240198"/>
                <a:gd name="connsiteY3189" fmla="*/ 772989 h 1729012"/>
                <a:gd name="connsiteX3190" fmla="*/ 1485160 w 2240198"/>
                <a:gd name="connsiteY3190" fmla="*/ 774380 h 1729012"/>
                <a:gd name="connsiteX3191" fmla="*/ 1485362 w 2240198"/>
                <a:gd name="connsiteY3191" fmla="*/ 774819 h 1729012"/>
                <a:gd name="connsiteX3192" fmla="*/ 1486127 w 2240198"/>
                <a:gd name="connsiteY3192" fmla="*/ 775314 h 1729012"/>
                <a:gd name="connsiteX3193" fmla="*/ 1490441 w 2240198"/>
                <a:gd name="connsiteY3193" fmla="*/ 781439 h 1729012"/>
                <a:gd name="connsiteX3194" fmla="*/ 1491349 w 2240198"/>
                <a:gd name="connsiteY3194" fmla="*/ 781913 h 1729012"/>
                <a:gd name="connsiteX3195" fmla="*/ 1492244 w 2240198"/>
                <a:gd name="connsiteY3195" fmla="*/ 781682 h 1729012"/>
                <a:gd name="connsiteX3196" fmla="*/ 1494112 w 2240198"/>
                <a:gd name="connsiteY3196" fmla="*/ 779934 h 1729012"/>
                <a:gd name="connsiteX3197" fmla="*/ 1495222 w 2240198"/>
                <a:gd name="connsiteY3197" fmla="*/ 779224 h 1729012"/>
                <a:gd name="connsiteX3198" fmla="*/ 1495763 w 2240198"/>
                <a:gd name="connsiteY3198" fmla="*/ 779313 h 1729012"/>
                <a:gd name="connsiteX3199" fmla="*/ 1495741 w 2240198"/>
                <a:gd name="connsiteY3199" fmla="*/ 780210 h 1729012"/>
                <a:gd name="connsiteX3200" fmla="*/ 1493751 w 2240198"/>
                <a:gd name="connsiteY3200" fmla="*/ 785532 h 1729012"/>
                <a:gd name="connsiteX3201" fmla="*/ 1493490 w 2240198"/>
                <a:gd name="connsiteY3201" fmla="*/ 786951 h 1729012"/>
                <a:gd name="connsiteX3202" fmla="*/ 1493533 w 2240198"/>
                <a:gd name="connsiteY3202" fmla="*/ 788217 h 1729012"/>
                <a:gd name="connsiteX3203" fmla="*/ 1494495 w 2240198"/>
                <a:gd name="connsiteY3203" fmla="*/ 790902 h 1729012"/>
                <a:gd name="connsiteX3204" fmla="*/ 1496677 w 2240198"/>
                <a:gd name="connsiteY3204" fmla="*/ 793778 h 1729012"/>
                <a:gd name="connsiteX3205" fmla="*/ 1499394 w 2240198"/>
                <a:gd name="connsiteY3205" fmla="*/ 796361 h 1729012"/>
                <a:gd name="connsiteX3206" fmla="*/ 1503469 w 2240198"/>
                <a:gd name="connsiteY3206" fmla="*/ 799836 h 1729012"/>
                <a:gd name="connsiteX3207" fmla="*/ 1508942 w 2240198"/>
                <a:gd name="connsiteY3207" fmla="*/ 803534 h 1729012"/>
                <a:gd name="connsiteX3208" fmla="*/ 1510982 w 2240198"/>
                <a:gd name="connsiteY3208" fmla="*/ 805331 h 1729012"/>
                <a:gd name="connsiteX3209" fmla="*/ 1513974 w 2240198"/>
                <a:gd name="connsiteY3209" fmla="*/ 809561 h 1729012"/>
                <a:gd name="connsiteX3210" fmla="*/ 1514588 w 2240198"/>
                <a:gd name="connsiteY3210" fmla="*/ 811178 h 1729012"/>
                <a:gd name="connsiteX3211" fmla="*/ 1513803 w 2240198"/>
                <a:gd name="connsiteY3211" fmla="*/ 815610 h 1729012"/>
                <a:gd name="connsiteX3212" fmla="*/ 1511619 w 2240198"/>
                <a:gd name="connsiteY3212" fmla="*/ 822844 h 1729012"/>
                <a:gd name="connsiteX3213" fmla="*/ 1510211 w 2240198"/>
                <a:gd name="connsiteY3213" fmla="*/ 826943 h 1729012"/>
                <a:gd name="connsiteX3214" fmla="*/ 1509581 w 2240198"/>
                <a:gd name="connsiteY3214" fmla="*/ 827928 h 1729012"/>
                <a:gd name="connsiteX3215" fmla="*/ 1505461 w 2240198"/>
                <a:gd name="connsiteY3215" fmla="*/ 830830 h 1729012"/>
                <a:gd name="connsiteX3216" fmla="*/ 1503120 w 2240198"/>
                <a:gd name="connsiteY3216" fmla="*/ 831510 h 1729012"/>
                <a:gd name="connsiteX3217" fmla="*/ 1499264 w 2240198"/>
                <a:gd name="connsiteY3217" fmla="*/ 831430 h 1729012"/>
                <a:gd name="connsiteX3218" fmla="*/ 1497968 w 2240198"/>
                <a:gd name="connsiteY3218" fmla="*/ 831996 h 1729012"/>
                <a:gd name="connsiteX3219" fmla="*/ 1495952 w 2240198"/>
                <a:gd name="connsiteY3219" fmla="*/ 834314 h 1729012"/>
                <a:gd name="connsiteX3220" fmla="*/ 1493210 w 2240198"/>
                <a:gd name="connsiteY3220" fmla="*/ 838377 h 1729012"/>
                <a:gd name="connsiteX3221" fmla="*/ 1491051 w 2240198"/>
                <a:gd name="connsiteY3221" fmla="*/ 840949 h 1729012"/>
                <a:gd name="connsiteX3222" fmla="*/ 1489474 w 2240198"/>
                <a:gd name="connsiteY3222" fmla="*/ 842035 h 1729012"/>
                <a:gd name="connsiteX3223" fmla="*/ 1486578 w 2240198"/>
                <a:gd name="connsiteY3223" fmla="*/ 843298 h 1729012"/>
                <a:gd name="connsiteX3224" fmla="*/ 1482041 w 2240198"/>
                <a:gd name="connsiteY3224" fmla="*/ 847036 h 1729012"/>
                <a:gd name="connsiteX3225" fmla="*/ 1479814 w 2240198"/>
                <a:gd name="connsiteY3225" fmla="*/ 848473 h 1729012"/>
                <a:gd name="connsiteX3226" fmla="*/ 1472020 w 2240198"/>
                <a:gd name="connsiteY3226" fmla="*/ 850028 h 1729012"/>
                <a:gd name="connsiteX3227" fmla="*/ 1465683 w 2240198"/>
                <a:gd name="connsiteY3227" fmla="*/ 855078 h 1729012"/>
                <a:gd name="connsiteX3228" fmla="*/ 1463158 w 2240198"/>
                <a:gd name="connsiteY3228" fmla="*/ 856742 h 1729012"/>
                <a:gd name="connsiteX3229" fmla="*/ 1460419 w 2240198"/>
                <a:gd name="connsiteY3229" fmla="*/ 857624 h 1729012"/>
                <a:gd name="connsiteX3230" fmla="*/ 1457460 w 2240198"/>
                <a:gd name="connsiteY3230" fmla="*/ 857729 h 1729012"/>
                <a:gd name="connsiteX3231" fmla="*/ 1455756 w 2240198"/>
                <a:gd name="connsiteY3231" fmla="*/ 856923 h 1729012"/>
                <a:gd name="connsiteX3232" fmla="*/ 1454791 w 2240198"/>
                <a:gd name="connsiteY3232" fmla="*/ 853843 h 1729012"/>
                <a:gd name="connsiteX3233" fmla="*/ 1454215 w 2240198"/>
                <a:gd name="connsiteY3233" fmla="*/ 852830 h 1729012"/>
                <a:gd name="connsiteX3234" fmla="*/ 1451980 w 2240198"/>
                <a:gd name="connsiteY3234" fmla="*/ 850724 h 1729012"/>
                <a:gd name="connsiteX3235" fmla="*/ 1447391 w 2240198"/>
                <a:gd name="connsiteY3235" fmla="*/ 844588 h 1729012"/>
                <a:gd name="connsiteX3236" fmla="*/ 1445417 w 2240198"/>
                <a:gd name="connsiteY3236" fmla="*/ 842486 h 1729012"/>
                <a:gd name="connsiteX3237" fmla="*/ 1444100 w 2240198"/>
                <a:gd name="connsiteY3237" fmla="*/ 842019 h 1729012"/>
                <a:gd name="connsiteX3238" fmla="*/ 1441452 w 2240198"/>
                <a:gd name="connsiteY3238" fmla="*/ 842352 h 1729012"/>
                <a:gd name="connsiteX3239" fmla="*/ 1440093 w 2240198"/>
                <a:gd name="connsiteY3239" fmla="*/ 842154 h 1729012"/>
                <a:gd name="connsiteX3240" fmla="*/ 1437143 w 2240198"/>
                <a:gd name="connsiteY3240" fmla="*/ 840221 h 1729012"/>
                <a:gd name="connsiteX3241" fmla="*/ 1436081 w 2240198"/>
                <a:gd name="connsiteY3241" fmla="*/ 838971 h 1729012"/>
                <a:gd name="connsiteX3242" fmla="*/ 1436212 w 2240198"/>
                <a:gd name="connsiteY3242" fmla="*/ 838485 h 1729012"/>
                <a:gd name="connsiteX3243" fmla="*/ 1438457 w 2240198"/>
                <a:gd name="connsiteY3243" fmla="*/ 837775 h 1729012"/>
                <a:gd name="connsiteX3244" fmla="*/ 1437498 w 2240198"/>
                <a:gd name="connsiteY3244" fmla="*/ 836773 h 1729012"/>
                <a:gd name="connsiteX3245" fmla="*/ 1433550 w 2240198"/>
                <a:gd name="connsiteY3245" fmla="*/ 834014 h 1729012"/>
                <a:gd name="connsiteX3246" fmla="*/ 1431913 w 2240198"/>
                <a:gd name="connsiteY3246" fmla="*/ 832568 h 1729012"/>
                <a:gd name="connsiteX3247" fmla="*/ 1431714 w 2240198"/>
                <a:gd name="connsiteY3247" fmla="*/ 832078 h 1729012"/>
                <a:gd name="connsiteX3248" fmla="*/ 1427806 w 2240198"/>
                <a:gd name="connsiteY3248" fmla="*/ 830206 h 1729012"/>
                <a:gd name="connsiteX3249" fmla="*/ 1423922 w 2240198"/>
                <a:gd name="connsiteY3249" fmla="*/ 829688 h 1729012"/>
                <a:gd name="connsiteX3250" fmla="*/ 1418996 w 2240198"/>
                <a:gd name="connsiteY3250" fmla="*/ 832793 h 1729012"/>
                <a:gd name="connsiteX3251" fmla="*/ 1417128 w 2240198"/>
                <a:gd name="connsiteY3251" fmla="*/ 834889 h 1729012"/>
                <a:gd name="connsiteX3252" fmla="*/ 1417190 w 2240198"/>
                <a:gd name="connsiteY3252" fmla="*/ 835572 h 1729012"/>
                <a:gd name="connsiteX3253" fmla="*/ 1419549 w 2240198"/>
                <a:gd name="connsiteY3253" fmla="*/ 836375 h 1729012"/>
                <a:gd name="connsiteX3254" fmla="*/ 1420570 w 2240198"/>
                <a:gd name="connsiteY3254" fmla="*/ 835984 h 1729012"/>
                <a:gd name="connsiteX3255" fmla="*/ 1422571 w 2240198"/>
                <a:gd name="connsiteY3255" fmla="*/ 834052 h 1729012"/>
                <a:gd name="connsiteX3256" fmla="*/ 1423628 w 2240198"/>
                <a:gd name="connsiteY3256" fmla="*/ 833450 h 1729012"/>
                <a:gd name="connsiteX3257" fmla="*/ 1426662 w 2240198"/>
                <a:gd name="connsiteY3257" fmla="*/ 833751 h 1729012"/>
                <a:gd name="connsiteX3258" fmla="*/ 1429175 w 2240198"/>
                <a:gd name="connsiteY3258" fmla="*/ 835085 h 1729012"/>
                <a:gd name="connsiteX3259" fmla="*/ 1430089 w 2240198"/>
                <a:gd name="connsiteY3259" fmla="*/ 836244 h 1729012"/>
                <a:gd name="connsiteX3260" fmla="*/ 1430420 w 2240198"/>
                <a:gd name="connsiteY3260" fmla="*/ 837033 h 1729012"/>
                <a:gd name="connsiteX3261" fmla="*/ 1437280 w 2240198"/>
                <a:gd name="connsiteY3261" fmla="*/ 843196 h 1729012"/>
                <a:gd name="connsiteX3262" fmla="*/ 1439713 w 2240198"/>
                <a:gd name="connsiteY3262" fmla="*/ 844443 h 1729012"/>
                <a:gd name="connsiteX3263" fmla="*/ 1440725 w 2240198"/>
                <a:gd name="connsiteY3263" fmla="*/ 845912 h 1729012"/>
                <a:gd name="connsiteX3264" fmla="*/ 1441495 w 2240198"/>
                <a:gd name="connsiteY3264" fmla="*/ 848357 h 1729012"/>
                <a:gd name="connsiteX3265" fmla="*/ 1442978 w 2240198"/>
                <a:gd name="connsiteY3265" fmla="*/ 851069 h 1729012"/>
                <a:gd name="connsiteX3266" fmla="*/ 1446275 w 2240198"/>
                <a:gd name="connsiteY3266" fmla="*/ 855540 h 1729012"/>
                <a:gd name="connsiteX3267" fmla="*/ 1449784 w 2240198"/>
                <a:gd name="connsiteY3267" fmla="*/ 861052 h 1729012"/>
                <a:gd name="connsiteX3268" fmla="*/ 1450501 w 2240198"/>
                <a:gd name="connsiteY3268" fmla="*/ 863223 h 1729012"/>
                <a:gd name="connsiteX3269" fmla="*/ 1448688 w 2240198"/>
                <a:gd name="connsiteY3269" fmla="*/ 864272 h 1729012"/>
                <a:gd name="connsiteX3270" fmla="*/ 1447775 w 2240198"/>
                <a:gd name="connsiteY3270" fmla="*/ 864348 h 1729012"/>
                <a:gd name="connsiteX3271" fmla="*/ 1445072 w 2240198"/>
                <a:gd name="connsiteY3271" fmla="*/ 863529 h 1729012"/>
                <a:gd name="connsiteX3272" fmla="*/ 1437936 w 2240198"/>
                <a:gd name="connsiteY3272" fmla="*/ 860977 h 1729012"/>
                <a:gd name="connsiteX3273" fmla="*/ 1437145 w 2240198"/>
                <a:gd name="connsiteY3273" fmla="*/ 861024 h 1729012"/>
                <a:gd name="connsiteX3274" fmla="*/ 1435264 w 2240198"/>
                <a:gd name="connsiteY3274" fmla="*/ 862370 h 1729012"/>
                <a:gd name="connsiteX3275" fmla="*/ 1433720 w 2240198"/>
                <a:gd name="connsiteY3275" fmla="*/ 865422 h 1729012"/>
                <a:gd name="connsiteX3276" fmla="*/ 1433237 w 2240198"/>
                <a:gd name="connsiteY3276" fmla="*/ 865715 h 1729012"/>
                <a:gd name="connsiteX3277" fmla="*/ 1429443 w 2240198"/>
                <a:gd name="connsiteY3277" fmla="*/ 864519 h 1729012"/>
                <a:gd name="connsiteX3278" fmla="*/ 1422334 w 2240198"/>
                <a:gd name="connsiteY3278" fmla="*/ 861838 h 1729012"/>
                <a:gd name="connsiteX3279" fmla="*/ 1417573 w 2240198"/>
                <a:gd name="connsiteY3279" fmla="*/ 859560 h 1729012"/>
                <a:gd name="connsiteX3280" fmla="*/ 1415156 w 2240198"/>
                <a:gd name="connsiteY3280" fmla="*/ 857690 h 1729012"/>
                <a:gd name="connsiteX3281" fmla="*/ 1412231 w 2240198"/>
                <a:gd name="connsiteY3281" fmla="*/ 854704 h 1729012"/>
                <a:gd name="connsiteX3282" fmla="*/ 1408798 w 2240198"/>
                <a:gd name="connsiteY3282" fmla="*/ 850598 h 1729012"/>
                <a:gd name="connsiteX3283" fmla="*/ 1404700 w 2240198"/>
                <a:gd name="connsiteY3283" fmla="*/ 849288 h 1729012"/>
                <a:gd name="connsiteX3284" fmla="*/ 1399935 w 2240198"/>
                <a:gd name="connsiteY3284" fmla="*/ 850785 h 1729012"/>
                <a:gd name="connsiteX3285" fmla="*/ 1393051 w 2240198"/>
                <a:gd name="connsiteY3285" fmla="*/ 851318 h 1729012"/>
                <a:gd name="connsiteX3286" fmla="*/ 1378599 w 2240198"/>
                <a:gd name="connsiteY3286" fmla="*/ 850852 h 1729012"/>
                <a:gd name="connsiteX3287" fmla="*/ 1376699 w 2240198"/>
                <a:gd name="connsiteY3287" fmla="*/ 851204 h 1729012"/>
                <a:gd name="connsiteX3288" fmla="*/ 1375965 w 2240198"/>
                <a:gd name="connsiteY3288" fmla="*/ 851719 h 1729012"/>
                <a:gd name="connsiteX3289" fmla="*/ 1377195 w 2240198"/>
                <a:gd name="connsiteY3289" fmla="*/ 853979 h 1729012"/>
                <a:gd name="connsiteX3290" fmla="*/ 1376902 w 2240198"/>
                <a:gd name="connsiteY3290" fmla="*/ 854601 h 1729012"/>
                <a:gd name="connsiteX3291" fmla="*/ 1375932 w 2240198"/>
                <a:gd name="connsiteY3291" fmla="*/ 855019 h 1729012"/>
                <a:gd name="connsiteX3292" fmla="*/ 1375714 w 2240198"/>
                <a:gd name="connsiteY3292" fmla="*/ 855687 h 1729012"/>
                <a:gd name="connsiteX3293" fmla="*/ 1377283 w 2240198"/>
                <a:gd name="connsiteY3293" fmla="*/ 858081 h 1729012"/>
                <a:gd name="connsiteX3294" fmla="*/ 1379827 w 2240198"/>
                <a:gd name="connsiteY3294" fmla="*/ 859705 h 1729012"/>
                <a:gd name="connsiteX3295" fmla="*/ 1387022 w 2240198"/>
                <a:gd name="connsiteY3295" fmla="*/ 861899 h 1729012"/>
                <a:gd name="connsiteX3296" fmla="*/ 1391788 w 2240198"/>
                <a:gd name="connsiteY3296" fmla="*/ 863778 h 1729012"/>
                <a:gd name="connsiteX3297" fmla="*/ 1394634 w 2240198"/>
                <a:gd name="connsiteY3297" fmla="*/ 865398 h 1729012"/>
                <a:gd name="connsiteX3298" fmla="*/ 1395562 w 2240198"/>
                <a:gd name="connsiteY3298" fmla="*/ 866761 h 1729012"/>
                <a:gd name="connsiteX3299" fmla="*/ 1395701 w 2240198"/>
                <a:gd name="connsiteY3299" fmla="*/ 868249 h 1729012"/>
                <a:gd name="connsiteX3300" fmla="*/ 1394345 w 2240198"/>
                <a:gd name="connsiteY3300" fmla="*/ 871212 h 1729012"/>
                <a:gd name="connsiteX3301" fmla="*/ 1393569 w 2240198"/>
                <a:gd name="connsiteY3301" fmla="*/ 872300 h 1729012"/>
                <a:gd name="connsiteX3302" fmla="*/ 1376856 w 2240198"/>
                <a:gd name="connsiteY3302" fmla="*/ 887022 h 1729012"/>
                <a:gd name="connsiteX3303" fmla="*/ 1370486 w 2240198"/>
                <a:gd name="connsiteY3303" fmla="*/ 892945 h 1729012"/>
                <a:gd name="connsiteX3304" fmla="*/ 1367242 w 2240198"/>
                <a:gd name="connsiteY3304" fmla="*/ 896579 h 1729012"/>
                <a:gd name="connsiteX3305" fmla="*/ 1364385 w 2240198"/>
                <a:gd name="connsiteY3305" fmla="*/ 898975 h 1729012"/>
                <a:gd name="connsiteX3306" fmla="*/ 1361909 w 2240198"/>
                <a:gd name="connsiteY3306" fmla="*/ 900145 h 1729012"/>
                <a:gd name="connsiteX3307" fmla="*/ 1357815 w 2240198"/>
                <a:gd name="connsiteY3307" fmla="*/ 900803 h 1729012"/>
                <a:gd name="connsiteX3308" fmla="*/ 1352104 w 2240198"/>
                <a:gd name="connsiteY3308" fmla="*/ 900952 h 1729012"/>
                <a:gd name="connsiteX3309" fmla="*/ 1344703 w 2240198"/>
                <a:gd name="connsiteY3309" fmla="*/ 900390 h 1729012"/>
                <a:gd name="connsiteX3310" fmla="*/ 1340875 w 2240198"/>
                <a:gd name="connsiteY3310" fmla="*/ 898497 h 1729012"/>
                <a:gd name="connsiteX3311" fmla="*/ 1333930 w 2240198"/>
                <a:gd name="connsiteY3311" fmla="*/ 893447 h 1729012"/>
                <a:gd name="connsiteX3312" fmla="*/ 1329066 w 2240198"/>
                <a:gd name="connsiteY3312" fmla="*/ 890475 h 1729012"/>
                <a:gd name="connsiteX3313" fmla="*/ 1326891 w 2240198"/>
                <a:gd name="connsiteY3313" fmla="*/ 889479 h 1729012"/>
                <a:gd name="connsiteX3314" fmla="*/ 1325079 w 2240198"/>
                <a:gd name="connsiteY3314" fmla="*/ 886679 h 1729012"/>
                <a:gd name="connsiteX3315" fmla="*/ 1323442 w 2240198"/>
                <a:gd name="connsiteY3315" fmla="*/ 886142 h 1729012"/>
                <a:gd name="connsiteX3316" fmla="*/ 1319952 w 2240198"/>
                <a:gd name="connsiteY3316" fmla="*/ 885668 h 1729012"/>
                <a:gd name="connsiteX3317" fmla="*/ 1316361 w 2240198"/>
                <a:gd name="connsiteY3317" fmla="*/ 884168 h 1729012"/>
                <a:gd name="connsiteX3318" fmla="*/ 1307927 w 2240198"/>
                <a:gd name="connsiteY3318" fmla="*/ 879078 h 1729012"/>
                <a:gd name="connsiteX3319" fmla="*/ 1303558 w 2240198"/>
                <a:gd name="connsiteY3319" fmla="*/ 877047 h 1729012"/>
                <a:gd name="connsiteX3320" fmla="*/ 1299584 w 2240198"/>
                <a:gd name="connsiteY3320" fmla="*/ 875928 h 1729012"/>
                <a:gd name="connsiteX3321" fmla="*/ 1296007 w 2240198"/>
                <a:gd name="connsiteY3321" fmla="*/ 875727 h 1729012"/>
                <a:gd name="connsiteX3322" fmla="*/ 1294650 w 2240198"/>
                <a:gd name="connsiteY3322" fmla="*/ 876030 h 1729012"/>
                <a:gd name="connsiteX3323" fmla="*/ 1297089 w 2240198"/>
                <a:gd name="connsiteY3323" fmla="*/ 878597 h 1729012"/>
                <a:gd name="connsiteX3324" fmla="*/ 1296026 w 2240198"/>
                <a:gd name="connsiteY3324" fmla="*/ 878753 h 1729012"/>
                <a:gd name="connsiteX3325" fmla="*/ 1293133 w 2240198"/>
                <a:gd name="connsiteY3325" fmla="*/ 878166 h 1729012"/>
                <a:gd name="connsiteX3326" fmla="*/ 1290273 w 2240198"/>
                <a:gd name="connsiteY3326" fmla="*/ 878173 h 1729012"/>
                <a:gd name="connsiteX3327" fmla="*/ 1285211 w 2240198"/>
                <a:gd name="connsiteY3327" fmla="*/ 876332 h 1729012"/>
                <a:gd name="connsiteX3328" fmla="*/ 1280214 w 2240198"/>
                <a:gd name="connsiteY3328" fmla="*/ 876578 h 1729012"/>
                <a:gd name="connsiteX3329" fmla="*/ 1276609 w 2240198"/>
                <a:gd name="connsiteY3329" fmla="*/ 876208 h 1729012"/>
                <a:gd name="connsiteX3330" fmla="*/ 1272292 w 2240198"/>
                <a:gd name="connsiteY3330" fmla="*/ 875181 h 1729012"/>
                <a:gd name="connsiteX3331" fmla="*/ 1267632 w 2240198"/>
                <a:gd name="connsiteY3331" fmla="*/ 874683 h 1729012"/>
                <a:gd name="connsiteX3332" fmla="*/ 1260128 w 2240198"/>
                <a:gd name="connsiteY3332" fmla="*/ 874733 h 1729012"/>
                <a:gd name="connsiteX3333" fmla="*/ 1257438 w 2240198"/>
                <a:gd name="connsiteY3333" fmla="*/ 874949 h 1729012"/>
                <a:gd name="connsiteX3334" fmla="*/ 1257040 w 2240198"/>
                <a:gd name="connsiteY3334" fmla="*/ 875431 h 1729012"/>
                <a:gd name="connsiteX3335" fmla="*/ 1260643 w 2240198"/>
                <a:gd name="connsiteY3335" fmla="*/ 877669 h 1729012"/>
                <a:gd name="connsiteX3336" fmla="*/ 1266831 w 2240198"/>
                <a:gd name="connsiteY3336" fmla="*/ 880372 h 1729012"/>
                <a:gd name="connsiteX3337" fmla="*/ 1266006 w 2240198"/>
                <a:gd name="connsiteY3337" fmla="*/ 878042 h 1729012"/>
                <a:gd name="connsiteX3338" fmla="*/ 1266227 w 2240198"/>
                <a:gd name="connsiteY3338" fmla="*/ 877441 h 1729012"/>
                <a:gd name="connsiteX3339" fmla="*/ 1268293 w 2240198"/>
                <a:gd name="connsiteY3339" fmla="*/ 876632 h 1729012"/>
                <a:gd name="connsiteX3340" fmla="*/ 1278096 w 2240198"/>
                <a:gd name="connsiteY3340" fmla="*/ 878072 h 1729012"/>
                <a:gd name="connsiteX3341" fmla="*/ 1289207 w 2240198"/>
                <a:gd name="connsiteY3341" fmla="*/ 881089 h 1729012"/>
                <a:gd name="connsiteX3342" fmla="*/ 1292023 w 2240198"/>
                <a:gd name="connsiteY3342" fmla="*/ 881385 h 1729012"/>
                <a:gd name="connsiteX3343" fmla="*/ 1295155 w 2240198"/>
                <a:gd name="connsiteY3343" fmla="*/ 882443 h 1729012"/>
                <a:gd name="connsiteX3344" fmla="*/ 1298605 w 2240198"/>
                <a:gd name="connsiteY3344" fmla="*/ 884262 h 1729012"/>
                <a:gd name="connsiteX3345" fmla="*/ 1303362 w 2240198"/>
                <a:gd name="connsiteY3345" fmla="*/ 887971 h 1729012"/>
                <a:gd name="connsiteX3346" fmla="*/ 1312457 w 2240198"/>
                <a:gd name="connsiteY3346" fmla="*/ 896347 h 1729012"/>
                <a:gd name="connsiteX3347" fmla="*/ 1315377 w 2240198"/>
                <a:gd name="connsiteY3347" fmla="*/ 898455 h 1729012"/>
                <a:gd name="connsiteX3348" fmla="*/ 1319245 w 2240198"/>
                <a:gd name="connsiteY3348" fmla="*/ 900417 h 1729012"/>
                <a:gd name="connsiteX3349" fmla="*/ 1338927 w 2240198"/>
                <a:gd name="connsiteY3349" fmla="*/ 903250 h 1729012"/>
                <a:gd name="connsiteX3350" fmla="*/ 1345729 w 2240198"/>
                <a:gd name="connsiteY3350" fmla="*/ 903232 h 1729012"/>
                <a:gd name="connsiteX3351" fmla="*/ 1359361 w 2240198"/>
                <a:gd name="connsiteY3351" fmla="*/ 904051 h 1729012"/>
                <a:gd name="connsiteX3352" fmla="*/ 1366560 w 2240198"/>
                <a:gd name="connsiteY3352" fmla="*/ 905529 h 1729012"/>
                <a:gd name="connsiteX3353" fmla="*/ 1368600 w 2240198"/>
                <a:gd name="connsiteY3353" fmla="*/ 906633 h 1729012"/>
                <a:gd name="connsiteX3354" fmla="*/ 1369231 w 2240198"/>
                <a:gd name="connsiteY3354" fmla="*/ 910329 h 1729012"/>
                <a:gd name="connsiteX3355" fmla="*/ 1368576 w 2240198"/>
                <a:gd name="connsiteY3355" fmla="*/ 912184 h 1729012"/>
                <a:gd name="connsiteX3356" fmla="*/ 1364661 w 2240198"/>
                <a:gd name="connsiteY3356" fmla="*/ 917818 h 1729012"/>
                <a:gd name="connsiteX3357" fmla="*/ 1362186 w 2240198"/>
                <a:gd name="connsiteY3357" fmla="*/ 921955 h 1729012"/>
                <a:gd name="connsiteX3358" fmla="*/ 1346858 w 2240198"/>
                <a:gd name="connsiteY3358" fmla="*/ 939369 h 1729012"/>
                <a:gd name="connsiteX3359" fmla="*/ 1344866 w 2240198"/>
                <a:gd name="connsiteY3359" fmla="*/ 943356 h 1729012"/>
                <a:gd name="connsiteX3360" fmla="*/ 1344004 w 2240198"/>
                <a:gd name="connsiteY3360" fmla="*/ 945736 h 1729012"/>
                <a:gd name="connsiteX3361" fmla="*/ 1341264 w 2240198"/>
                <a:gd name="connsiteY3361" fmla="*/ 948199 h 1729012"/>
                <a:gd name="connsiteX3362" fmla="*/ 1334334 w 2240198"/>
                <a:gd name="connsiteY3362" fmla="*/ 952015 h 1729012"/>
                <a:gd name="connsiteX3363" fmla="*/ 1327383 w 2240198"/>
                <a:gd name="connsiteY3363" fmla="*/ 955250 h 1729012"/>
                <a:gd name="connsiteX3364" fmla="*/ 1323208 w 2240198"/>
                <a:gd name="connsiteY3364" fmla="*/ 955943 h 1729012"/>
                <a:gd name="connsiteX3365" fmla="*/ 1319488 w 2240198"/>
                <a:gd name="connsiteY3365" fmla="*/ 955175 h 1729012"/>
                <a:gd name="connsiteX3366" fmla="*/ 1317074 w 2240198"/>
                <a:gd name="connsiteY3366" fmla="*/ 954236 h 1729012"/>
                <a:gd name="connsiteX3367" fmla="*/ 1313499 w 2240198"/>
                <a:gd name="connsiteY3367" fmla="*/ 951020 h 1729012"/>
                <a:gd name="connsiteX3368" fmla="*/ 1313275 w 2240198"/>
                <a:gd name="connsiteY3368" fmla="*/ 951360 h 1729012"/>
                <a:gd name="connsiteX3369" fmla="*/ 1315855 w 2240198"/>
                <a:gd name="connsiteY3369" fmla="*/ 956394 h 1729012"/>
                <a:gd name="connsiteX3370" fmla="*/ 1315251 w 2240198"/>
                <a:gd name="connsiteY3370" fmla="*/ 956903 h 1729012"/>
                <a:gd name="connsiteX3371" fmla="*/ 1313146 w 2240198"/>
                <a:gd name="connsiteY3371" fmla="*/ 956271 h 1729012"/>
                <a:gd name="connsiteX3372" fmla="*/ 1308354 w 2240198"/>
                <a:gd name="connsiteY3372" fmla="*/ 954010 h 1729012"/>
                <a:gd name="connsiteX3373" fmla="*/ 1306802 w 2240198"/>
                <a:gd name="connsiteY3373" fmla="*/ 954427 h 1729012"/>
                <a:gd name="connsiteX3374" fmla="*/ 1305885 w 2240198"/>
                <a:gd name="connsiteY3374" fmla="*/ 955042 h 1729012"/>
                <a:gd name="connsiteX3375" fmla="*/ 1304607 w 2240198"/>
                <a:gd name="connsiteY3375" fmla="*/ 955030 h 1729012"/>
                <a:gd name="connsiteX3376" fmla="*/ 1302971 w 2240198"/>
                <a:gd name="connsiteY3376" fmla="*/ 954389 h 1729012"/>
                <a:gd name="connsiteX3377" fmla="*/ 1300007 w 2240198"/>
                <a:gd name="connsiteY3377" fmla="*/ 952513 h 1729012"/>
                <a:gd name="connsiteX3378" fmla="*/ 1299219 w 2240198"/>
                <a:gd name="connsiteY3378" fmla="*/ 951598 h 1729012"/>
                <a:gd name="connsiteX3379" fmla="*/ 1298501 w 2240198"/>
                <a:gd name="connsiteY3379" fmla="*/ 948811 h 1729012"/>
                <a:gd name="connsiteX3380" fmla="*/ 1298014 w 2240198"/>
                <a:gd name="connsiteY3380" fmla="*/ 948311 h 1729012"/>
                <a:gd name="connsiteX3381" fmla="*/ 1292173 w 2240198"/>
                <a:gd name="connsiteY3381" fmla="*/ 949922 h 1729012"/>
                <a:gd name="connsiteX3382" fmla="*/ 1291200 w 2240198"/>
                <a:gd name="connsiteY3382" fmla="*/ 950455 h 1729012"/>
                <a:gd name="connsiteX3383" fmla="*/ 1293594 w 2240198"/>
                <a:gd name="connsiteY3383" fmla="*/ 951571 h 1729012"/>
                <a:gd name="connsiteX3384" fmla="*/ 1294407 w 2240198"/>
                <a:gd name="connsiteY3384" fmla="*/ 952364 h 1729012"/>
                <a:gd name="connsiteX3385" fmla="*/ 1296765 w 2240198"/>
                <a:gd name="connsiteY3385" fmla="*/ 956487 h 1729012"/>
                <a:gd name="connsiteX3386" fmla="*/ 1296889 w 2240198"/>
                <a:gd name="connsiteY3386" fmla="*/ 957370 h 1729012"/>
                <a:gd name="connsiteX3387" fmla="*/ 1295211 w 2240198"/>
                <a:gd name="connsiteY3387" fmla="*/ 957912 h 1729012"/>
                <a:gd name="connsiteX3388" fmla="*/ 1289631 w 2240198"/>
                <a:gd name="connsiteY3388" fmla="*/ 956358 h 1729012"/>
                <a:gd name="connsiteX3389" fmla="*/ 1288965 w 2240198"/>
                <a:gd name="connsiteY3389" fmla="*/ 956489 h 1729012"/>
                <a:gd name="connsiteX3390" fmla="*/ 1291718 w 2240198"/>
                <a:gd name="connsiteY3390" fmla="*/ 960582 h 1729012"/>
                <a:gd name="connsiteX3391" fmla="*/ 1292774 w 2240198"/>
                <a:gd name="connsiteY3391" fmla="*/ 962524 h 1729012"/>
                <a:gd name="connsiteX3392" fmla="*/ 1292889 w 2240198"/>
                <a:gd name="connsiteY3392" fmla="*/ 963535 h 1729012"/>
                <a:gd name="connsiteX3393" fmla="*/ 1289305 w 2240198"/>
                <a:gd name="connsiteY3393" fmla="*/ 968155 h 1729012"/>
                <a:gd name="connsiteX3394" fmla="*/ 1287010 w 2240198"/>
                <a:gd name="connsiteY3394" fmla="*/ 970075 h 1729012"/>
                <a:gd name="connsiteX3395" fmla="*/ 1283877 w 2240198"/>
                <a:gd name="connsiteY3395" fmla="*/ 970778 h 1729012"/>
                <a:gd name="connsiteX3396" fmla="*/ 1281915 w 2240198"/>
                <a:gd name="connsiteY3396" fmla="*/ 970306 h 1729012"/>
                <a:gd name="connsiteX3397" fmla="*/ 1279702 w 2240198"/>
                <a:gd name="connsiteY3397" fmla="*/ 969129 h 1729012"/>
                <a:gd name="connsiteX3398" fmla="*/ 1278108 w 2240198"/>
                <a:gd name="connsiteY3398" fmla="*/ 969296 h 1729012"/>
                <a:gd name="connsiteX3399" fmla="*/ 1277128 w 2240198"/>
                <a:gd name="connsiteY3399" fmla="*/ 970804 h 1729012"/>
                <a:gd name="connsiteX3400" fmla="*/ 1275307 w 2240198"/>
                <a:gd name="connsiteY3400" fmla="*/ 971884 h 1729012"/>
                <a:gd name="connsiteX3401" fmla="*/ 1272643 w 2240198"/>
                <a:gd name="connsiteY3401" fmla="*/ 972527 h 1729012"/>
                <a:gd name="connsiteX3402" fmla="*/ 1269252 w 2240198"/>
                <a:gd name="connsiteY3402" fmla="*/ 972248 h 1729012"/>
                <a:gd name="connsiteX3403" fmla="*/ 1265134 w 2240198"/>
                <a:gd name="connsiteY3403" fmla="*/ 971043 h 1729012"/>
                <a:gd name="connsiteX3404" fmla="*/ 1254211 w 2240198"/>
                <a:gd name="connsiteY3404" fmla="*/ 966708 h 1729012"/>
                <a:gd name="connsiteX3405" fmla="*/ 1250767 w 2240198"/>
                <a:gd name="connsiteY3405" fmla="*/ 966037 h 1729012"/>
                <a:gd name="connsiteX3406" fmla="*/ 1244393 w 2240198"/>
                <a:gd name="connsiteY3406" fmla="*/ 965438 h 1729012"/>
                <a:gd name="connsiteX3407" fmla="*/ 1243631 w 2240198"/>
                <a:gd name="connsiteY3407" fmla="*/ 964825 h 1729012"/>
                <a:gd name="connsiteX3408" fmla="*/ 1243687 w 2240198"/>
                <a:gd name="connsiteY3408" fmla="*/ 964240 h 1729012"/>
                <a:gd name="connsiteX3409" fmla="*/ 1244559 w 2240198"/>
                <a:gd name="connsiteY3409" fmla="*/ 963685 h 1729012"/>
                <a:gd name="connsiteX3410" fmla="*/ 1244319 w 2240198"/>
                <a:gd name="connsiteY3410" fmla="*/ 963207 h 1729012"/>
                <a:gd name="connsiteX3411" fmla="*/ 1242967 w 2240198"/>
                <a:gd name="connsiteY3411" fmla="*/ 962805 h 1729012"/>
                <a:gd name="connsiteX3412" fmla="*/ 1241563 w 2240198"/>
                <a:gd name="connsiteY3412" fmla="*/ 963183 h 1729012"/>
                <a:gd name="connsiteX3413" fmla="*/ 1240111 w 2240198"/>
                <a:gd name="connsiteY3413" fmla="*/ 964336 h 1729012"/>
                <a:gd name="connsiteX3414" fmla="*/ 1237566 w 2240198"/>
                <a:gd name="connsiteY3414" fmla="*/ 964677 h 1729012"/>
                <a:gd name="connsiteX3415" fmla="*/ 1233936 w 2240198"/>
                <a:gd name="connsiteY3415" fmla="*/ 964207 h 1729012"/>
                <a:gd name="connsiteX3416" fmla="*/ 1228568 w 2240198"/>
                <a:gd name="connsiteY3416" fmla="*/ 962517 h 1729012"/>
                <a:gd name="connsiteX3417" fmla="*/ 1217915 w 2240198"/>
                <a:gd name="connsiteY3417" fmla="*/ 958151 h 1729012"/>
                <a:gd name="connsiteX3418" fmla="*/ 1206264 w 2240198"/>
                <a:gd name="connsiteY3418" fmla="*/ 954463 h 1729012"/>
                <a:gd name="connsiteX3419" fmla="*/ 1199503 w 2240198"/>
                <a:gd name="connsiteY3419" fmla="*/ 949666 h 1729012"/>
                <a:gd name="connsiteX3420" fmla="*/ 1202029 w 2240198"/>
                <a:gd name="connsiteY3420" fmla="*/ 953987 h 1729012"/>
                <a:gd name="connsiteX3421" fmla="*/ 1201823 w 2240198"/>
                <a:gd name="connsiteY3421" fmla="*/ 955447 h 1729012"/>
                <a:gd name="connsiteX3422" fmla="*/ 1200532 w 2240198"/>
                <a:gd name="connsiteY3422" fmla="*/ 956730 h 1729012"/>
                <a:gd name="connsiteX3423" fmla="*/ 1200320 w 2240198"/>
                <a:gd name="connsiteY3423" fmla="*/ 957999 h 1729012"/>
                <a:gd name="connsiteX3424" fmla="*/ 1202965 w 2240198"/>
                <a:gd name="connsiteY3424" fmla="*/ 961074 h 1729012"/>
                <a:gd name="connsiteX3425" fmla="*/ 1206622 w 2240198"/>
                <a:gd name="connsiteY3425" fmla="*/ 962176 h 1729012"/>
                <a:gd name="connsiteX3426" fmla="*/ 1210309 w 2240198"/>
                <a:gd name="connsiteY3426" fmla="*/ 962060 h 1729012"/>
                <a:gd name="connsiteX3427" fmla="*/ 1210410 w 2240198"/>
                <a:gd name="connsiteY3427" fmla="*/ 961558 h 1729012"/>
                <a:gd name="connsiteX3428" fmla="*/ 1208872 w 2240198"/>
                <a:gd name="connsiteY3428" fmla="*/ 960793 h 1729012"/>
                <a:gd name="connsiteX3429" fmla="*/ 1207518 w 2240198"/>
                <a:gd name="connsiteY3429" fmla="*/ 959670 h 1729012"/>
                <a:gd name="connsiteX3430" fmla="*/ 1206869 w 2240198"/>
                <a:gd name="connsiteY3430" fmla="*/ 958007 h 1729012"/>
                <a:gd name="connsiteX3431" fmla="*/ 1207562 w 2240198"/>
                <a:gd name="connsiteY3431" fmla="*/ 957713 h 1729012"/>
                <a:gd name="connsiteX3432" fmla="*/ 1210810 w 2240198"/>
                <a:gd name="connsiteY3432" fmla="*/ 958585 h 1729012"/>
                <a:gd name="connsiteX3433" fmla="*/ 1212953 w 2240198"/>
                <a:gd name="connsiteY3433" fmla="*/ 959601 h 1729012"/>
                <a:gd name="connsiteX3434" fmla="*/ 1229097 w 2240198"/>
                <a:gd name="connsiteY3434" fmla="*/ 965272 h 1729012"/>
                <a:gd name="connsiteX3435" fmla="*/ 1233915 w 2240198"/>
                <a:gd name="connsiteY3435" fmla="*/ 966331 h 1729012"/>
                <a:gd name="connsiteX3436" fmla="*/ 1237534 w 2240198"/>
                <a:gd name="connsiteY3436" fmla="*/ 967423 h 1729012"/>
                <a:gd name="connsiteX3437" fmla="*/ 1238539 w 2240198"/>
                <a:gd name="connsiteY3437" fmla="*/ 968072 h 1729012"/>
                <a:gd name="connsiteX3438" fmla="*/ 1237317 w 2240198"/>
                <a:gd name="connsiteY3438" fmla="*/ 969477 h 1729012"/>
                <a:gd name="connsiteX3439" fmla="*/ 1230826 w 2240198"/>
                <a:gd name="connsiteY3439" fmla="*/ 972988 h 1729012"/>
                <a:gd name="connsiteX3440" fmla="*/ 1230724 w 2240198"/>
                <a:gd name="connsiteY3440" fmla="*/ 973565 h 1729012"/>
                <a:gd name="connsiteX3441" fmla="*/ 1235174 w 2240198"/>
                <a:gd name="connsiteY3441" fmla="*/ 973247 h 1729012"/>
                <a:gd name="connsiteX3442" fmla="*/ 1240574 w 2240198"/>
                <a:gd name="connsiteY3442" fmla="*/ 970152 h 1729012"/>
                <a:gd name="connsiteX3443" fmla="*/ 1243611 w 2240198"/>
                <a:gd name="connsiteY3443" fmla="*/ 968719 h 1729012"/>
                <a:gd name="connsiteX3444" fmla="*/ 1246527 w 2240198"/>
                <a:gd name="connsiteY3444" fmla="*/ 967836 h 1729012"/>
                <a:gd name="connsiteX3445" fmla="*/ 1250477 w 2240198"/>
                <a:gd name="connsiteY3445" fmla="*/ 969359 h 1729012"/>
                <a:gd name="connsiteX3446" fmla="*/ 1255466 w 2240198"/>
                <a:gd name="connsiteY3446" fmla="*/ 973278 h 1729012"/>
                <a:gd name="connsiteX3447" fmla="*/ 1259503 w 2240198"/>
                <a:gd name="connsiteY3447" fmla="*/ 975501 h 1729012"/>
                <a:gd name="connsiteX3448" fmla="*/ 1265260 w 2240198"/>
                <a:gd name="connsiteY3448" fmla="*/ 976742 h 1729012"/>
                <a:gd name="connsiteX3449" fmla="*/ 1268632 w 2240198"/>
                <a:gd name="connsiteY3449" fmla="*/ 978070 h 1729012"/>
                <a:gd name="connsiteX3450" fmla="*/ 1274300 w 2240198"/>
                <a:gd name="connsiteY3450" fmla="*/ 981723 h 1729012"/>
                <a:gd name="connsiteX3451" fmla="*/ 1275194 w 2240198"/>
                <a:gd name="connsiteY3451" fmla="*/ 983623 h 1729012"/>
                <a:gd name="connsiteX3452" fmla="*/ 1275716 w 2240198"/>
                <a:gd name="connsiteY3452" fmla="*/ 991348 h 1729012"/>
                <a:gd name="connsiteX3453" fmla="*/ 1275516 w 2240198"/>
                <a:gd name="connsiteY3453" fmla="*/ 993207 h 1729012"/>
                <a:gd name="connsiteX3454" fmla="*/ 1274780 w 2240198"/>
                <a:gd name="connsiteY3454" fmla="*/ 995054 h 1729012"/>
                <a:gd name="connsiteX3455" fmla="*/ 1273506 w 2240198"/>
                <a:gd name="connsiteY3455" fmla="*/ 996878 h 1729012"/>
                <a:gd name="connsiteX3456" fmla="*/ 1271139 w 2240198"/>
                <a:gd name="connsiteY3456" fmla="*/ 997898 h 1729012"/>
                <a:gd name="connsiteX3457" fmla="*/ 1267677 w 2240198"/>
                <a:gd name="connsiteY3457" fmla="*/ 998118 h 1729012"/>
                <a:gd name="connsiteX3458" fmla="*/ 1264959 w 2240198"/>
                <a:gd name="connsiteY3458" fmla="*/ 998867 h 1729012"/>
                <a:gd name="connsiteX3459" fmla="*/ 1259013 w 2240198"/>
                <a:gd name="connsiteY3459" fmla="*/ 1002943 h 1729012"/>
                <a:gd name="connsiteX3460" fmla="*/ 1256489 w 2240198"/>
                <a:gd name="connsiteY3460" fmla="*/ 1003531 h 1729012"/>
                <a:gd name="connsiteX3461" fmla="*/ 1245823 w 2240198"/>
                <a:gd name="connsiteY3461" fmla="*/ 1002315 h 1729012"/>
                <a:gd name="connsiteX3462" fmla="*/ 1241649 w 2240198"/>
                <a:gd name="connsiteY3462" fmla="*/ 1001176 h 1729012"/>
                <a:gd name="connsiteX3463" fmla="*/ 1239726 w 2240198"/>
                <a:gd name="connsiteY3463" fmla="*/ 1001244 h 1729012"/>
                <a:gd name="connsiteX3464" fmla="*/ 1238660 w 2240198"/>
                <a:gd name="connsiteY3464" fmla="*/ 1002143 h 1729012"/>
                <a:gd name="connsiteX3465" fmla="*/ 1237543 w 2240198"/>
                <a:gd name="connsiteY3465" fmla="*/ 1002549 h 1729012"/>
                <a:gd name="connsiteX3466" fmla="*/ 1233356 w 2240198"/>
                <a:gd name="connsiteY3466" fmla="*/ 1002923 h 1729012"/>
                <a:gd name="connsiteX3467" fmla="*/ 1232674 w 2240198"/>
                <a:gd name="connsiteY3467" fmla="*/ 1003657 h 1729012"/>
                <a:gd name="connsiteX3468" fmla="*/ 1232938 w 2240198"/>
                <a:gd name="connsiteY3468" fmla="*/ 1004785 h 1729012"/>
                <a:gd name="connsiteX3469" fmla="*/ 1233761 w 2240198"/>
                <a:gd name="connsiteY3469" fmla="*/ 1006314 h 1729012"/>
                <a:gd name="connsiteX3470" fmla="*/ 1234779 w 2240198"/>
                <a:gd name="connsiteY3470" fmla="*/ 1007191 h 1729012"/>
                <a:gd name="connsiteX3471" fmla="*/ 1236351 w 2240198"/>
                <a:gd name="connsiteY3471" fmla="*/ 1008300 h 1729012"/>
                <a:gd name="connsiteX3472" fmla="*/ 1238736 w 2240198"/>
                <a:gd name="connsiteY3472" fmla="*/ 1009027 h 1729012"/>
                <a:gd name="connsiteX3473" fmla="*/ 1243636 w 2240198"/>
                <a:gd name="connsiteY3473" fmla="*/ 1009838 h 1729012"/>
                <a:gd name="connsiteX3474" fmla="*/ 1244144 w 2240198"/>
                <a:gd name="connsiteY3474" fmla="*/ 1011909 h 1729012"/>
                <a:gd name="connsiteX3475" fmla="*/ 1243925 w 2240198"/>
                <a:gd name="connsiteY3475" fmla="*/ 1012576 h 1729012"/>
                <a:gd name="connsiteX3476" fmla="*/ 1242317 w 2240198"/>
                <a:gd name="connsiteY3476" fmla="*/ 1013957 h 1729012"/>
                <a:gd name="connsiteX3477" fmla="*/ 1240458 w 2240198"/>
                <a:gd name="connsiteY3477" fmla="*/ 1013816 h 1729012"/>
                <a:gd name="connsiteX3478" fmla="*/ 1237262 w 2240198"/>
                <a:gd name="connsiteY3478" fmla="*/ 1012186 h 1729012"/>
                <a:gd name="connsiteX3479" fmla="*/ 1235682 w 2240198"/>
                <a:gd name="connsiteY3479" fmla="*/ 1012123 h 1729012"/>
                <a:gd name="connsiteX3480" fmla="*/ 1234299 w 2240198"/>
                <a:gd name="connsiteY3480" fmla="*/ 1013006 h 1729012"/>
                <a:gd name="connsiteX3481" fmla="*/ 1232374 w 2240198"/>
                <a:gd name="connsiteY3481" fmla="*/ 1013298 h 1729012"/>
                <a:gd name="connsiteX3482" fmla="*/ 1229905 w 2240198"/>
                <a:gd name="connsiteY3482" fmla="*/ 1012997 h 1729012"/>
                <a:gd name="connsiteX3483" fmla="*/ 1228535 w 2240198"/>
                <a:gd name="connsiteY3483" fmla="*/ 1013712 h 1729012"/>
                <a:gd name="connsiteX3484" fmla="*/ 1228261 w 2240198"/>
                <a:gd name="connsiteY3484" fmla="*/ 1015442 h 1729012"/>
                <a:gd name="connsiteX3485" fmla="*/ 1227430 w 2240198"/>
                <a:gd name="connsiteY3485" fmla="*/ 1016737 h 1729012"/>
                <a:gd name="connsiteX3486" fmla="*/ 1224579 w 2240198"/>
                <a:gd name="connsiteY3486" fmla="*/ 1018780 h 1729012"/>
                <a:gd name="connsiteX3487" fmla="*/ 1223043 w 2240198"/>
                <a:gd name="connsiteY3487" fmla="*/ 1020286 h 1729012"/>
                <a:gd name="connsiteX3488" fmla="*/ 1223095 w 2240198"/>
                <a:gd name="connsiteY3488" fmla="*/ 1021468 h 1729012"/>
                <a:gd name="connsiteX3489" fmla="*/ 1224730 w 2240198"/>
                <a:gd name="connsiteY3489" fmla="*/ 1022322 h 1729012"/>
                <a:gd name="connsiteX3490" fmla="*/ 1226607 w 2240198"/>
                <a:gd name="connsiteY3490" fmla="*/ 1024256 h 1729012"/>
                <a:gd name="connsiteX3491" fmla="*/ 1228722 w 2240198"/>
                <a:gd name="connsiteY3491" fmla="*/ 1027270 h 1729012"/>
                <a:gd name="connsiteX3492" fmla="*/ 1229129 w 2240198"/>
                <a:gd name="connsiteY3492" fmla="*/ 1028601 h 1729012"/>
                <a:gd name="connsiteX3493" fmla="*/ 1227830 w 2240198"/>
                <a:gd name="connsiteY3493" fmla="*/ 1028250 h 1729012"/>
                <a:gd name="connsiteX3494" fmla="*/ 1226083 w 2240198"/>
                <a:gd name="connsiteY3494" fmla="*/ 1027056 h 1729012"/>
                <a:gd name="connsiteX3495" fmla="*/ 1223886 w 2240198"/>
                <a:gd name="connsiteY3495" fmla="*/ 1025016 h 1729012"/>
                <a:gd name="connsiteX3496" fmla="*/ 1220563 w 2240198"/>
                <a:gd name="connsiteY3496" fmla="*/ 1023188 h 1729012"/>
                <a:gd name="connsiteX3497" fmla="*/ 1213244 w 2240198"/>
                <a:gd name="connsiteY3497" fmla="*/ 1020803 h 1729012"/>
                <a:gd name="connsiteX3498" fmla="*/ 1211953 w 2240198"/>
                <a:gd name="connsiteY3498" fmla="*/ 1020877 h 1729012"/>
                <a:gd name="connsiteX3499" fmla="*/ 1212615 w 2240198"/>
                <a:gd name="connsiteY3499" fmla="*/ 1021483 h 1729012"/>
                <a:gd name="connsiteX3500" fmla="*/ 1217470 w 2240198"/>
                <a:gd name="connsiteY3500" fmla="*/ 1023985 h 1729012"/>
                <a:gd name="connsiteX3501" fmla="*/ 1219329 w 2240198"/>
                <a:gd name="connsiteY3501" fmla="*/ 1025595 h 1729012"/>
                <a:gd name="connsiteX3502" fmla="*/ 1219556 w 2240198"/>
                <a:gd name="connsiteY3502" fmla="*/ 1026767 h 1729012"/>
                <a:gd name="connsiteX3503" fmla="*/ 1215490 w 2240198"/>
                <a:gd name="connsiteY3503" fmla="*/ 1029332 h 1729012"/>
                <a:gd name="connsiteX3504" fmla="*/ 1215378 w 2240198"/>
                <a:gd name="connsiteY3504" fmla="*/ 1030192 h 1729012"/>
                <a:gd name="connsiteX3505" fmla="*/ 1216457 w 2240198"/>
                <a:gd name="connsiteY3505" fmla="*/ 1030944 h 1729012"/>
                <a:gd name="connsiteX3506" fmla="*/ 1216748 w 2240198"/>
                <a:gd name="connsiteY3506" fmla="*/ 1031569 h 1729012"/>
                <a:gd name="connsiteX3507" fmla="*/ 1215299 w 2240198"/>
                <a:gd name="connsiteY3507" fmla="*/ 1032828 h 1729012"/>
                <a:gd name="connsiteX3508" fmla="*/ 1212913 w 2240198"/>
                <a:gd name="connsiteY3508" fmla="*/ 1033882 h 1729012"/>
                <a:gd name="connsiteX3509" fmla="*/ 1208292 w 2240198"/>
                <a:gd name="connsiteY3509" fmla="*/ 1034033 h 1729012"/>
                <a:gd name="connsiteX3510" fmla="*/ 1207871 w 2240198"/>
                <a:gd name="connsiteY3510" fmla="*/ 1034629 h 1729012"/>
                <a:gd name="connsiteX3511" fmla="*/ 1209632 w 2240198"/>
                <a:gd name="connsiteY3511" fmla="*/ 1035919 h 1729012"/>
                <a:gd name="connsiteX3512" fmla="*/ 1210226 w 2240198"/>
                <a:gd name="connsiteY3512" fmla="*/ 1036720 h 1729012"/>
                <a:gd name="connsiteX3513" fmla="*/ 1208715 w 2240198"/>
                <a:gd name="connsiteY3513" fmla="*/ 1037821 h 1729012"/>
                <a:gd name="connsiteX3514" fmla="*/ 1207728 w 2240198"/>
                <a:gd name="connsiteY3514" fmla="*/ 1037976 h 1729012"/>
                <a:gd name="connsiteX3515" fmla="*/ 1202408 w 2240198"/>
                <a:gd name="connsiteY3515" fmla="*/ 1037465 h 1729012"/>
                <a:gd name="connsiteX3516" fmla="*/ 1203805 w 2240198"/>
                <a:gd name="connsiteY3516" fmla="*/ 1040215 h 1729012"/>
                <a:gd name="connsiteX3517" fmla="*/ 1204628 w 2240198"/>
                <a:gd name="connsiteY3517" fmla="*/ 1041180 h 1729012"/>
                <a:gd name="connsiteX3518" fmla="*/ 1206259 w 2240198"/>
                <a:gd name="connsiteY3518" fmla="*/ 1042538 h 1729012"/>
                <a:gd name="connsiteX3519" fmla="*/ 1209187 w 2240198"/>
                <a:gd name="connsiteY3519" fmla="*/ 1043798 h 1729012"/>
                <a:gd name="connsiteX3520" fmla="*/ 1209249 w 2240198"/>
                <a:gd name="connsiteY3520" fmla="*/ 1044285 h 1729012"/>
                <a:gd name="connsiteX3521" fmla="*/ 1208226 w 2240198"/>
                <a:gd name="connsiteY3521" fmla="*/ 1045366 h 1729012"/>
                <a:gd name="connsiteX3522" fmla="*/ 1206495 w 2240198"/>
                <a:gd name="connsiteY3522" fmla="*/ 1046680 h 1729012"/>
                <a:gd name="connsiteX3523" fmla="*/ 1199166 w 2240198"/>
                <a:gd name="connsiteY3523" fmla="*/ 1050698 h 1729012"/>
                <a:gd name="connsiteX3524" fmla="*/ 1194016 w 2240198"/>
                <a:gd name="connsiteY3524" fmla="*/ 1055399 h 1729012"/>
                <a:gd name="connsiteX3525" fmla="*/ 1193303 w 2240198"/>
                <a:gd name="connsiteY3525" fmla="*/ 1056866 h 1729012"/>
                <a:gd name="connsiteX3526" fmla="*/ 1194611 w 2240198"/>
                <a:gd name="connsiteY3526" fmla="*/ 1059950 h 1729012"/>
                <a:gd name="connsiteX3527" fmla="*/ 1194623 w 2240198"/>
                <a:gd name="connsiteY3527" fmla="*/ 1060725 h 1729012"/>
                <a:gd name="connsiteX3528" fmla="*/ 1193274 w 2240198"/>
                <a:gd name="connsiteY3528" fmla="*/ 1062119 h 1729012"/>
                <a:gd name="connsiteX3529" fmla="*/ 1190263 w 2240198"/>
                <a:gd name="connsiteY3529" fmla="*/ 1061740 h 1729012"/>
                <a:gd name="connsiteX3530" fmla="*/ 1189687 w 2240198"/>
                <a:gd name="connsiteY3530" fmla="*/ 1062287 h 1729012"/>
                <a:gd name="connsiteX3531" fmla="*/ 1190404 w 2240198"/>
                <a:gd name="connsiteY3531" fmla="*/ 1063737 h 1729012"/>
                <a:gd name="connsiteX3532" fmla="*/ 1190537 w 2240198"/>
                <a:gd name="connsiteY3532" fmla="*/ 1065857 h 1729012"/>
                <a:gd name="connsiteX3533" fmla="*/ 1190085 w 2240198"/>
                <a:gd name="connsiteY3533" fmla="*/ 1068653 h 1729012"/>
                <a:gd name="connsiteX3534" fmla="*/ 1187897 w 2240198"/>
                <a:gd name="connsiteY3534" fmla="*/ 1073026 h 1729012"/>
                <a:gd name="connsiteX3535" fmla="*/ 1183977 w 2240198"/>
                <a:gd name="connsiteY3535" fmla="*/ 1078966 h 1729012"/>
                <a:gd name="connsiteX3536" fmla="*/ 1180971 w 2240198"/>
                <a:gd name="connsiteY3536" fmla="*/ 1084349 h 1729012"/>
                <a:gd name="connsiteX3537" fmla="*/ 1178888 w 2240198"/>
                <a:gd name="connsiteY3537" fmla="*/ 1089181 h 1729012"/>
                <a:gd name="connsiteX3538" fmla="*/ 1177378 w 2240198"/>
                <a:gd name="connsiteY3538" fmla="*/ 1091573 h 1729012"/>
                <a:gd name="connsiteX3539" fmla="*/ 1174593 w 2240198"/>
                <a:gd name="connsiteY3539" fmla="*/ 1091737 h 1729012"/>
                <a:gd name="connsiteX3540" fmla="*/ 1172489 w 2240198"/>
                <a:gd name="connsiteY3540" fmla="*/ 1093243 h 1729012"/>
                <a:gd name="connsiteX3541" fmla="*/ 1173920 w 2240198"/>
                <a:gd name="connsiteY3541" fmla="*/ 1094035 h 1729012"/>
                <a:gd name="connsiteX3542" fmla="*/ 1174798 w 2240198"/>
                <a:gd name="connsiteY3542" fmla="*/ 1094959 h 1729012"/>
                <a:gd name="connsiteX3543" fmla="*/ 1175404 w 2240198"/>
                <a:gd name="connsiteY3543" fmla="*/ 1096367 h 1729012"/>
                <a:gd name="connsiteX3544" fmla="*/ 1174804 w 2240198"/>
                <a:gd name="connsiteY3544" fmla="*/ 1100762 h 1729012"/>
                <a:gd name="connsiteX3545" fmla="*/ 1172999 w 2240198"/>
                <a:gd name="connsiteY3545" fmla="*/ 1108126 h 1729012"/>
                <a:gd name="connsiteX3546" fmla="*/ 1171879 w 2240198"/>
                <a:gd name="connsiteY3546" fmla="*/ 1113966 h 1729012"/>
                <a:gd name="connsiteX3547" fmla="*/ 1172110 w 2240198"/>
                <a:gd name="connsiteY3547" fmla="*/ 1131895 h 1729012"/>
                <a:gd name="connsiteX3548" fmla="*/ 1171816 w 2240198"/>
                <a:gd name="connsiteY3548" fmla="*/ 1139785 h 1729012"/>
                <a:gd name="connsiteX3549" fmla="*/ 1171023 w 2240198"/>
                <a:gd name="connsiteY3549" fmla="*/ 1144149 h 1729012"/>
                <a:gd name="connsiteX3550" fmla="*/ 1169737 w 2240198"/>
                <a:gd name="connsiteY3550" fmla="*/ 1146517 h 1729012"/>
                <a:gd name="connsiteX3551" fmla="*/ 1167529 w 2240198"/>
                <a:gd name="connsiteY3551" fmla="*/ 1147232 h 1729012"/>
                <a:gd name="connsiteX3552" fmla="*/ 1170338 w 2240198"/>
                <a:gd name="connsiteY3552" fmla="*/ 1147922 h 1729012"/>
                <a:gd name="connsiteX3553" fmla="*/ 1172123 w 2240198"/>
                <a:gd name="connsiteY3553" fmla="*/ 1149034 h 1729012"/>
                <a:gd name="connsiteX3554" fmla="*/ 1172945 w 2240198"/>
                <a:gd name="connsiteY3554" fmla="*/ 1150719 h 1729012"/>
                <a:gd name="connsiteX3555" fmla="*/ 1173715 w 2240198"/>
                <a:gd name="connsiteY3555" fmla="*/ 1153408 h 1729012"/>
                <a:gd name="connsiteX3556" fmla="*/ 1174730 w 2240198"/>
                <a:gd name="connsiteY3556" fmla="*/ 1154646 h 1729012"/>
                <a:gd name="connsiteX3557" fmla="*/ 1175989 w 2240198"/>
                <a:gd name="connsiteY3557" fmla="*/ 1154436 h 1729012"/>
                <a:gd name="connsiteX3558" fmla="*/ 1177117 w 2240198"/>
                <a:gd name="connsiteY3558" fmla="*/ 1154706 h 1729012"/>
                <a:gd name="connsiteX3559" fmla="*/ 1178119 w 2240198"/>
                <a:gd name="connsiteY3559" fmla="*/ 1155454 h 1729012"/>
                <a:gd name="connsiteX3560" fmla="*/ 1181173 w 2240198"/>
                <a:gd name="connsiteY3560" fmla="*/ 1159282 h 1729012"/>
                <a:gd name="connsiteX3561" fmla="*/ 1184525 w 2240198"/>
                <a:gd name="connsiteY3561" fmla="*/ 1160378 h 1729012"/>
                <a:gd name="connsiteX3562" fmla="*/ 1184683 w 2240198"/>
                <a:gd name="connsiteY3562" fmla="*/ 1162498 h 1729012"/>
                <a:gd name="connsiteX3563" fmla="*/ 1183370 w 2240198"/>
                <a:gd name="connsiteY3563" fmla="*/ 1174345 h 1729012"/>
                <a:gd name="connsiteX3564" fmla="*/ 1183379 w 2240198"/>
                <a:gd name="connsiteY3564" fmla="*/ 1175887 h 1729012"/>
                <a:gd name="connsiteX3565" fmla="*/ 1184902 w 2240198"/>
                <a:gd name="connsiteY3565" fmla="*/ 1172906 h 1729012"/>
                <a:gd name="connsiteX3566" fmla="*/ 1186506 w 2240198"/>
                <a:gd name="connsiteY3566" fmla="*/ 1163707 h 1729012"/>
                <a:gd name="connsiteX3567" fmla="*/ 1188681 w 2240198"/>
                <a:gd name="connsiteY3567" fmla="*/ 1159609 h 1729012"/>
                <a:gd name="connsiteX3568" fmla="*/ 1190389 w 2240198"/>
                <a:gd name="connsiteY3568" fmla="*/ 1158743 h 1729012"/>
                <a:gd name="connsiteX3569" fmla="*/ 1197382 w 2240198"/>
                <a:gd name="connsiteY3569" fmla="*/ 1158276 h 1729012"/>
                <a:gd name="connsiteX3570" fmla="*/ 1204832 w 2240198"/>
                <a:gd name="connsiteY3570" fmla="*/ 1159320 h 1729012"/>
                <a:gd name="connsiteX3571" fmla="*/ 1207651 w 2240198"/>
                <a:gd name="connsiteY3571" fmla="*/ 1159449 h 1729012"/>
                <a:gd name="connsiteX3572" fmla="*/ 1210108 w 2240198"/>
                <a:gd name="connsiteY3572" fmla="*/ 1158877 h 1729012"/>
                <a:gd name="connsiteX3573" fmla="*/ 1212627 w 2240198"/>
                <a:gd name="connsiteY3573" fmla="*/ 1160020 h 1729012"/>
                <a:gd name="connsiteX3574" fmla="*/ 1213240 w 2240198"/>
                <a:gd name="connsiteY3574" fmla="*/ 1161175 h 1729012"/>
                <a:gd name="connsiteX3575" fmla="*/ 1213952 w 2240198"/>
                <a:gd name="connsiteY3575" fmla="*/ 1166006 h 1729012"/>
                <a:gd name="connsiteX3576" fmla="*/ 1214619 w 2240198"/>
                <a:gd name="connsiteY3576" fmla="*/ 1168769 h 1729012"/>
                <a:gd name="connsiteX3577" fmla="*/ 1219058 w 2240198"/>
                <a:gd name="connsiteY3577" fmla="*/ 1178577 h 1729012"/>
                <a:gd name="connsiteX3578" fmla="*/ 1221173 w 2240198"/>
                <a:gd name="connsiteY3578" fmla="*/ 1184053 h 1729012"/>
                <a:gd name="connsiteX3579" fmla="*/ 1223756 w 2240198"/>
                <a:gd name="connsiteY3579" fmla="*/ 1192572 h 1729012"/>
                <a:gd name="connsiteX3580" fmla="*/ 1224725 w 2240198"/>
                <a:gd name="connsiteY3580" fmla="*/ 1195002 h 1729012"/>
                <a:gd name="connsiteX3581" fmla="*/ 1230101 w 2240198"/>
                <a:gd name="connsiteY3581" fmla="*/ 1206308 h 1729012"/>
                <a:gd name="connsiteX3582" fmla="*/ 1231121 w 2240198"/>
                <a:gd name="connsiteY3582" fmla="*/ 1209361 h 1729012"/>
                <a:gd name="connsiteX3583" fmla="*/ 1231541 w 2240198"/>
                <a:gd name="connsiteY3583" fmla="*/ 1211712 h 1729012"/>
                <a:gd name="connsiteX3584" fmla="*/ 1231365 w 2240198"/>
                <a:gd name="connsiteY3584" fmla="*/ 1213360 h 1729012"/>
                <a:gd name="connsiteX3585" fmla="*/ 1230387 w 2240198"/>
                <a:gd name="connsiteY3585" fmla="*/ 1215898 h 1729012"/>
                <a:gd name="connsiteX3586" fmla="*/ 1228609 w 2240198"/>
                <a:gd name="connsiteY3586" fmla="*/ 1219324 h 1729012"/>
                <a:gd name="connsiteX3587" fmla="*/ 1226944 w 2240198"/>
                <a:gd name="connsiteY3587" fmla="*/ 1221933 h 1729012"/>
                <a:gd name="connsiteX3588" fmla="*/ 1225395 w 2240198"/>
                <a:gd name="connsiteY3588" fmla="*/ 1223726 h 1729012"/>
                <a:gd name="connsiteX3589" fmla="*/ 1223803 w 2240198"/>
                <a:gd name="connsiteY3589" fmla="*/ 1225063 h 1729012"/>
                <a:gd name="connsiteX3590" fmla="*/ 1222170 w 2240198"/>
                <a:gd name="connsiteY3590" fmla="*/ 1225944 h 1729012"/>
                <a:gd name="connsiteX3591" fmla="*/ 1222278 w 2240198"/>
                <a:gd name="connsiteY3591" fmla="*/ 1226173 h 1729012"/>
                <a:gd name="connsiteX3592" fmla="*/ 1224126 w 2240198"/>
                <a:gd name="connsiteY3592" fmla="*/ 1225755 h 1729012"/>
                <a:gd name="connsiteX3593" fmla="*/ 1226010 w 2240198"/>
                <a:gd name="connsiteY3593" fmla="*/ 1224858 h 1729012"/>
                <a:gd name="connsiteX3594" fmla="*/ 1229577 w 2240198"/>
                <a:gd name="connsiteY3594" fmla="*/ 1222538 h 1729012"/>
                <a:gd name="connsiteX3595" fmla="*/ 1230946 w 2240198"/>
                <a:gd name="connsiteY3595" fmla="*/ 1222017 h 1729012"/>
                <a:gd name="connsiteX3596" fmla="*/ 1234824 w 2240198"/>
                <a:gd name="connsiteY3596" fmla="*/ 1221685 h 1729012"/>
                <a:gd name="connsiteX3597" fmla="*/ 1234953 w 2240198"/>
                <a:gd name="connsiteY3597" fmla="*/ 1222522 h 1729012"/>
                <a:gd name="connsiteX3598" fmla="*/ 1233081 w 2240198"/>
                <a:gd name="connsiteY3598" fmla="*/ 1224248 h 1729012"/>
                <a:gd name="connsiteX3599" fmla="*/ 1233497 w 2240198"/>
                <a:gd name="connsiteY3599" fmla="*/ 1224413 h 1729012"/>
                <a:gd name="connsiteX3600" fmla="*/ 1236202 w 2240198"/>
                <a:gd name="connsiteY3600" fmla="*/ 1223022 h 1729012"/>
                <a:gd name="connsiteX3601" fmla="*/ 1242059 w 2240198"/>
                <a:gd name="connsiteY3601" fmla="*/ 1221035 h 1729012"/>
                <a:gd name="connsiteX3602" fmla="*/ 1265051 w 2240198"/>
                <a:gd name="connsiteY3602" fmla="*/ 1214590 h 1729012"/>
                <a:gd name="connsiteX3603" fmla="*/ 1270473 w 2240198"/>
                <a:gd name="connsiteY3603" fmla="*/ 1214019 h 1729012"/>
                <a:gd name="connsiteX3604" fmla="*/ 1278213 w 2240198"/>
                <a:gd name="connsiteY3604" fmla="*/ 1215199 h 1729012"/>
                <a:gd name="connsiteX3605" fmla="*/ 1284486 w 2240198"/>
                <a:gd name="connsiteY3605" fmla="*/ 1217939 h 1729012"/>
                <a:gd name="connsiteX3606" fmla="*/ 1291323 w 2240198"/>
                <a:gd name="connsiteY3606" fmla="*/ 1221466 h 1729012"/>
                <a:gd name="connsiteX3607" fmla="*/ 1298534 w 2240198"/>
                <a:gd name="connsiteY3607" fmla="*/ 1224023 h 1729012"/>
                <a:gd name="connsiteX3608" fmla="*/ 1309906 w 2240198"/>
                <a:gd name="connsiteY3608" fmla="*/ 1226411 h 1729012"/>
                <a:gd name="connsiteX3609" fmla="*/ 1313221 w 2240198"/>
                <a:gd name="connsiteY3609" fmla="*/ 1227554 h 1729012"/>
                <a:gd name="connsiteX3610" fmla="*/ 1319892 w 2240198"/>
                <a:gd name="connsiteY3610" fmla="*/ 1228731 h 1729012"/>
                <a:gd name="connsiteX3611" fmla="*/ 1322986 w 2240198"/>
                <a:gd name="connsiteY3611" fmla="*/ 1230070 h 1729012"/>
                <a:gd name="connsiteX3612" fmla="*/ 1326702 w 2240198"/>
                <a:gd name="connsiteY3612" fmla="*/ 1233292 h 1729012"/>
                <a:gd name="connsiteX3613" fmla="*/ 1332607 w 2240198"/>
                <a:gd name="connsiteY3613" fmla="*/ 1237489 h 1729012"/>
                <a:gd name="connsiteX3614" fmla="*/ 1337062 w 2240198"/>
                <a:gd name="connsiteY3614" fmla="*/ 1240119 h 1729012"/>
                <a:gd name="connsiteX3615" fmla="*/ 1342038 w 2240198"/>
                <a:gd name="connsiteY3615" fmla="*/ 1242581 h 1729012"/>
                <a:gd name="connsiteX3616" fmla="*/ 1347032 w 2240198"/>
                <a:gd name="connsiteY3616" fmla="*/ 1247098 h 1729012"/>
                <a:gd name="connsiteX3617" fmla="*/ 1355077 w 2240198"/>
                <a:gd name="connsiteY3617" fmla="*/ 1257319 h 1729012"/>
                <a:gd name="connsiteX3618" fmla="*/ 1357066 w 2240198"/>
                <a:gd name="connsiteY3618" fmla="*/ 1258573 h 1729012"/>
                <a:gd name="connsiteX3619" fmla="*/ 1362025 w 2240198"/>
                <a:gd name="connsiteY3619" fmla="*/ 1260239 h 1729012"/>
                <a:gd name="connsiteX3620" fmla="*/ 1371343 w 2240198"/>
                <a:gd name="connsiteY3620" fmla="*/ 1262386 h 1729012"/>
                <a:gd name="connsiteX3621" fmla="*/ 1385097 w 2240198"/>
                <a:gd name="connsiteY3621" fmla="*/ 1267424 h 1729012"/>
                <a:gd name="connsiteX3622" fmla="*/ 1391139 w 2240198"/>
                <a:gd name="connsiteY3622" fmla="*/ 1269396 h 1729012"/>
                <a:gd name="connsiteX3623" fmla="*/ 1395049 w 2240198"/>
                <a:gd name="connsiteY3623" fmla="*/ 1270178 h 1729012"/>
                <a:gd name="connsiteX3624" fmla="*/ 1398952 w 2240198"/>
                <a:gd name="connsiteY3624" fmla="*/ 1271564 h 1729012"/>
                <a:gd name="connsiteX3625" fmla="*/ 1402854 w 2240198"/>
                <a:gd name="connsiteY3625" fmla="*/ 1273550 h 1729012"/>
                <a:gd name="connsiteX3626" fmla="*/ 1405829 w 2240198"/>
                <a:gd name="connsiteY3626" fmla="*/ 1275713 h 1729012"/>
                <a:gd name="connsiteX3627" fmla="*/ 1407880 w 2240198"/>
                <a:gd name="connsiteY3627" fmla="*/ 1278053 h 1729012"/>
                <a:gd name="connsiteX3628" fmla="*/ 1409685 w 2240198"/>
                <a:gd name="connsiteY3628" fmla="*/ 1279582 h 1729012"/>
                <a:gd name="connsiteX3629" fmla="*/ 1412843 w 2240198"/>
                <a:gd name="connsiteY3629" fmla="*/ 1281278 h 1729012"/>
                <a:gd name="connsiteX3630" fmla="*/ 1414484 w 2240198"/>
                <a:gd name="connsiteY3630" fmla="*/ 1282493 h 1729012"/>
                <a:gd name="connsiteX3631" fmla="*/ 1414636 w 2240198"/>
                <a:gd name="connsiteY3631" fmla="*/ 1284318 h 1729012"/>
                <a:gd name="connsiteX3632" fmla="*/ 1410832 w 2240198"/>
                <a:gd name="connsiteY3632" fmla="*/ 1291457 h 1729012"/>
                <a:gd name="connsiteX3633" fmla="*/ 1410750 w 2240198"/>
                <a:gd name="connsiteY3633" fmla="*/ 1292027 h 1729012"/>
                <a:gd name="connsiteX3634" fmla="*/ 1414596 w 2240198"/>
                <a:gd name="connsiteY3634" fmla="*/ 1286904 h 1729012"/>
                <a:gd name="connsiteX3635" fmla="*/ 1416744 w 2240198"/>
                <a:gd name="connsiteY3635" fmla="*/ 1285423 h 1729012"/>
                <a:gd name="connsiteX3636" fmla="*/ 1418466 w 2240198"/>
                <a:gd name="connsiteY3636" fmla="*/ 1284736 h 1729012"/>
                <a:gd name="connsiteX3637" fmla="*/ 1422042 w 2240198"/>
                <a:gd name="connsiteY3637" fmla="*/ 1284817 h 1729012"/>
                <a:gd name="connsiteX3638" fmla="*/ 1427472 w 2240198"/>
                <a:gd name="connsiteY3638" fmla="*/ 1285671 h 1729012"/>
                <a:gd name="connsiteX3639" fmla="*/ 1432234 w 2240198"/>
                <a:gd name="connsiteY3639" fmla="*/ 1285682 h 1729012"/>
                <a:gd name="connsiteX3640" fmla="*/ 1436329 w 2240198"/>
                <a:gd name="connsiteY3640" fmla="*/ 1284846 h 1729012"/>
                <a:gd name="connsiteX3641" fmla="*/ 1439816 w 2240198"/>
                <a:gd name="connsiteY3641" fmla="*/ 1284471 h 1729012"/>
                <a:gd name="connsiteX3642" fmla="*/ 1442696 w 2240198"/>
                <a:gd name="connsiteY3642" fmla="*/ 1284553 h 1729012"/>
                <a:gd name="connsiteX3643" fmla="*/ 1444784 w 2240198"/>
                <a:gd name="connsiteY3643" fmla="*/ 1284305 h 1729012"/>
                <a:gd name="connsiteX3644" fmla="*/ 1446084 w 2240198"/>
                <a:gd name="connsiteY3644" fmla="*/ 1283726 h 1729012"/>
                <a:gd name="connsiteX3645" fmla="*/ 1447635 w 2240198"/>
                <a:gd name="connsiteY3645" fmla="*/ 1283709 h 1729012"/>
                <a:gd name="connsiteX3646" fmla="*/ 1453794 w 2240198"/>
                <a:gd name="connsiteY3646" fmla="*/ 1285484 h 1729012"/>
                <a:gd name="connsiteX3647" fmla="*/ 1456284 w 2240198"/>
                <a:gd name="connsiteY3647" fmla="*/ 1285579 h 1729012"/>
                <a:gd name="connsiteX3648" fmla="*/ 1465289 w 2240198"/>
                <a:gd name="connsiteY3648" fmla="*/ 1287249 h 1729012"/>
                <a:gd name="connsiteX3649" fmla="*/ 1471072 w 2240198"/>
                <a:gd name="connsiteY3649" fmla="*/ 1286655 h 1729012"/>
                <a:gd name="connsiteX3650" fmla="*/ 1472067 w 2240198"/>
                <a:gd name="connsiteY3650" fmla="*/ 1286979 h 1729012"/>
                <a:gd name="connsiteX3651" fmla="*/ 1474077 w 2240198"/>
                <a:gd name="connsiteY3651" fmla="*/ 1289153 h 1729012"/>
                <a:gd name="connsiteX3652" fmla="*/ 1475778 w 2240198"/>
                <a:gd name="connsiteY3652" fmla="*/ 1289323 h 1729012"/>
                <a:gd name="connsiteX3653" fmla="*/ 1478648 w 2240198"/>
                <a:gd name="connsiteY3653" fmla="*/ 1288983 h 1729012"/>
                <a:gd name="connsiteX3654" fmla="*/ 1481439 w 2240198"/>
                <a:gd name="connsiteY3654" fmla="*/ 1289577 h 1729012"/>
                <a:gd name="connsiteX3655" fmla="*/ 1486109 w 2240198"/>
                <a:gd name="connsiteY3655" fmla="*/ 1292432 h 1729012"/>
                <a:gd name="connsiteX3656" fmla="*/ 1488265 w 2240198"/>
                <a:gd name="connsiteY3656" fmla="*/ 1294889 h 1729012"/>
                <a:gd name="connsiteX3657" fmla="*/ 1490334 w 2240198"/>
                <a:gd name="connsiteY3657" fmla="*/ 1299898 h 1729012"/>
                <a:gd name="connsiteX3658" fmla="*/ 1490518 w 2240198"/>
                <a:gd name="connsiteY3658" fmla="*/ 1301391 h 1729012"/>
                <a:gd name="connsiteX3659" fmla="*/ 1486683 w 2240198"/>
                <a:gd name="connsiteY3659" fmla="*/ 1312967 h 1729012"/>
                <a:gd name="connsiteX3660" fmla="*/ 1485480 w 2240198"/>
                <a:gd name="connsiteY3660" fmla="*/ 1317434 h 1729012"/>
                <a:gd name="connsiteX3661" fmla="*/ 1485326 w 2240198"/>
                <a:gd name="connsiteY3661" fmla="*/ 1321318 h 1729012"/>
                <a:gd name="connsiteX3662" fmla="*/ 1486087 w 2240198"/>
                <a:gd name="connsiteY3662" fmla="*/ 1323555 h 1729012"/>
                <a:gd name="connsiteX3663" fmla="*/ 1489398 w 2240198"/>
                <a:gd name="connsiteY3663" fmla="*/ 1327299 h 1729012"/>
                <a:gd name="connsiteX3664" fmla="*/ 1489997 w 2240198"/>
                <a:gd name="connsiteY3664" fmla="*/ 1328280 h 1729012"/>
                <a:gd name="connsiteX3665" fmla="*/ 1491957 w 2240198"/>
                <a:gd name="connsiteY3665" fmla="*/ 1333812 h 1729012"/>
                <a:gd name="connsiteX3666" fmla="*/ 1492494 w 2240198"/>
                <a:gd name="connsiteY3666" fmla="*/ 1336176 h 1729012"/>
                <a:gd name="connsiteX3667" fmla="*/ 1492277 w 2240198"/>
                <a:gd name="connsiteY3667" fmla="*/ 1338883 h 1729012"/>
                <a:gd name="connsiteX3668" fmla="*/ 1491247 w 2240198"/>
                <a:gd name="connsiteY3668" fmla="*/ 1343338 h 1729012"/>
                <a:gd name="connsiteX3669" fmla="*/ 1491506 w 2240198"/>
                <a:gd name="connsiteY3669" fmla="*/ 1346730 h 1729012"/>
                <a:gd name="connsiteX3670" fmla="*/ 1492373 w 2240198"/>
                <a:gd name="connsiteY3670" fmla="*/ 1351849 h 1729012"/>
                <a:gd name="connsiteX3671" fmla="*/ 1492044 w 2240198"/>
                <a:gd name="connsiteY3671" fmla="*/ 1355312 h 1729012"/>
                <a:gd name="connsiteX3672" fmla="*/ 1490521 w 2240198"/>
                <a:gd name="connsiteY3672" fmla="*/ 1357126 h 1729012"/>
                <a:gd name="connsiteX3673" fmla="*/ 1489490 w 2240198"/>
                <a:gd name="connsiteY3673" fmla="*/ 1358905 h 1729012"/>
                <a:gd name="connsiteX3674" fmla="*/ 1488687 w 2240198"/>
                <a:gd name="connsiteY3674" fmla="*/ 1362127 h 1729012"/>
                <a:gd name="connsiteX3675" fmla="*/ 1488688 w 2240198"/>
                <a:gd name="connsiteY3675" fmla="*/ 1363344 h 1729012"/>
                <a:gd name="connsiteX3676" fmla="*/ 1489477 w 2240198"/>
                <a:gd name="connsiteY3676" fmla="*/ 1365733 h 1729012"/>
                <a:gd name="connsiteX3677" fmla="*/ 1490941 w 2240198"/>
                <a:gd name="connsiteY3677" fmla="*/ 1367086 h 1729012"/>
                <a:gd name="connsiteX3678" fmla="*/ 1493343 w 2240198"/>
                <a:gd name="connsiteY3678" fmla="*/ 1368605 h 1729012"/>
                <a:gd name="connsiteX3679" fmla="*/ 1495573 w 2240198"/>
                <a:gd name="connsiteY3679" fmla="*/ 1370858 h 1729012"/>
                <a:gd name="connsiteX3680" fmla="*/ 1499649 w 2240198"/>
                <a:gd name="connsiteY3680" fmla="*/ 1376341 h 1729012"/>
                <a:gd name="connsiteX3681" fmla="*/ 1502615 w 2240198"/>
                <a:gd name="connsiteY3681" fmla="*/ 1379341 h 1729012"/>
                <a:gd name="connsiteX3682" fmla="*/ 1506238 w 2240198"/>
                <a:gd name="connsiteY3682" fmla="*/ 1383811 h 1729012"/>
                <a:gd name="connsiteX3683" fmla="*/ 1506941 w 2240198"/>
                <a:gd name="connsiteY3683" fmla="*/ 1386036 h 1729012"/>
                <a:gd name="connsiteX3684" fmla="*/ 1505931 w 2240198"/>
                <a:gd name="connsiteY3684" fmla="*/ 1387509 h 1729012"/>
                <a:gd name="connsiteX3685" fmla="*/ 1504671 w 2240198"/>
                <a:gd name="connsiteY3685" fmla="*/ 1388535 h 1729012"/>
                <a:gd name="connsiteX3686" fmla="*/ 1501751 w 2240198"/>
                <a:gd name="connsiteY3686" fmla="*/ 1389907 h 1729012"/>
                <a:gd name="connsiteX3687" fmla="*/ 1500445 w 2240198"/>
                <a:gd name="connsiteY3687" fmla="*/ 1390906 h 1729012"/>
                <a:gd name="connsiteX3688" fmla="*/ 1500783 w 2240198"/>
                <a:gd name="connsiteY3688" fmla="*/ 1391145 h 1729012"/>
                <a:gd name="connsiteX3689" fmla="*/ 1505007 w 2240198"/>
                <a:gd name="connsiteY3689" fmla="*/ 1390401 h 1729012"/>
                <a:gd name="connsiteX3690" fmla="*/ 1507503 w 2240198"/>
                <a:gd name="connsiteY3690" fmla="*/ 1390479 h 1729012"/>
                <a:gd name="connsiteX3691" fmla="*/ 1509615 w 2240198"/>
                <a:gd name="connsiteY3691" fmla="*/ 1391576 h 1729012"/>
                <a:gd name="connsiteX3692" fmla="*/ 1511342 w 2240198"/>
                <a:gd name="connsiteY3692" fmla="*/ 1393692 h 1729012"/>
                <a:gd name="connsiteX3693" fmla="*/ 1514209 w 2240198"/>
                <a:gd name="connsiteY3693" fmla="*/ 1395492 h 1729012"/>
                <a:gd name="connsiteX3694" fmla="*/ 1518211 w 2240198"/>
                <a:gd name="connsiteY3694" fmla="*/ 1396979 h 1729012"/>
                <a:gd name="connsiteX3695" fmla="*/ 1522235 w 2240198"/>
                <a:gd name="connsiteY3695" fmla="*/ 1399461 h 1729012"/>
                <a:gd name="connsiteX3696" fmla="*/ 1528904 w 2240198"/>
                <a:gd name="connsiteY3696" fmla="*/ 1405348 h 1729012"/>
                <a:gd name="connsiteX3697" fmla="*/ 1530110 w 2240198"/>
                <a:gd name="connsiteY3697" fmla="*/ 1406701 h 1729012"/>
                <a:gd name="connsiteX3698" fmla="*/ 1531884 w 2240198"/>
                <a:gd name="connsiteY3698" fmla="*/ 1409779 h 1729012"/>
                <a:gd name="connsiteX3699" fmla="*/ 1534221 w 2240198"/>
                <a:gd name="connsiteY3699" fmla="*/ 1414575 h 1729012"/>
                <a:gd name="connsiteX3700" fmla="*/ 1535444 w 2240198"/>
                <a:gd name="connsiteY3700" fmla="*/ 1417704 h 1729012"/>
                <a:gd name="connsiteX3701" fmla="*/ 1535553 w 2240198"/>
                <a:gd name="connsiteY3701" fmla="*/ 1419174 h 1729012"/>
                <a:gd name="connsiteX3702" fmla="*/ 1534230 w 2240198"/>
                <a:gd name="connsiteY3702" fmla="*/ 1420650 h 1729012"/>
                <a:gd name="connsiteX3703" fmla="*/ 1529736 w 2240198"/>
                <a:gd name="connsiteY3703" fmla="*/ 1423338 h 1729012"/>
                <a:gd name="connsiteX3704" fmla="*/ 1525210 w 2240198"/>
                <a:gd name="connsiteY3704" fmla="*/ 1428030 h 1729012"/>
                <a:gd name="connsiteX3705" fmla="*/ 1526636 w 2240198"/>
                <a:gd name="connsiteY3705" fmla="*/ 1427801 h 1729012"/>
                <a:gd name="connsiteX3706" fmla="*/ 1529621 w 2240198"/>
                <a:gd name="connsiteY3706" fmla="*/ 1425819 h 1729012"/>
                <a:gd name="connsiteX3707" fmla="*/ 1534665 w 2240198"/>
                <a:gd name="connsiteY3707" fmla="*/ 1421907 h 1729012"/>
                <a:gd name="connsiteX3708" fmla="*/ 1537463 w 2240198"/>
                <a:gd name="connsiteY3708" fmla="*/ 1421148 h 1729012"/>
                <a:gd name="connsiteX3709" fmla="*/ 1540057 w 2240198"/>
                <a:gd name="connsiteY3709" fmla="*/ 1421603 h 1729012"/>
                <a:gd name="connsiteX3710" fmla="*/ 1544167 w 2240198"/>
                <a:gd name="connsiteY3710" fmla="*/ 1422729 h 1729012"/>
                <a:gd name="connsiteX3711" fmla="*/ 1547798 w 2240198"/>
                <a:gd name="connsiteY3711" fmla="*/ 1424332 h 1729012"/>
                <a:gd name="connsiteX3712" fmla="*/ 1550947 w 2240198"/>
                <a:gd name="connsiteY3712" fmla="*/ 1426408 h 1729012"/>
                <a:gd name="connsiteX3713" fmla="*/ 1555630 w 2240198"/>
                <a:gd name="connsiteY3713" fmla="*/ 1431958 h 1729012"/>
                <a:gd name="connsiteX3714" fmla="*/ 1560584 w 2240198"/>
                <a:gd name="connsiteY3714" fmla="*/ 1436384 h 1729012"/>
                <a:gd name="connsiteX3715" fmla="*/ 1563328 w 2240198"/>
                <a:gd name="connsiteY3715" fmla="*/ 1440159 h 1729012"/>
                <a:gd name="connsiteX3716" fmla="*/ 1562496 w 2240198"/>
                <a:gd name="connsiteY3716" fmla="*/ 1437758 h 1729012"/>
                <a:gd name="connsiteX3717" fmla="*/ 1560672 w 2240198"/>
                <a:gd name="connsiteY3717" fmla="*/ 1434990 h 1729012"/>
                <a:gd name="connsiteX3718" fmla="*/ 1556019 w 2240198"/>
                <a:gd name="connsiteY3718" fmla="*/ 1430577 h 1729012"/>
                <a:gd name="connsiteX3719" fmla="*/ 1554034 w 2240198"/>
                <a:gd name="connsiteY3719" fmla="*/ 1428279 h 1729012"/>
                <a:gd name="connsiteX3720" fmla="*/ 1553604 w 2240198"/>
                <a:gd name="connsiteY3720" fmla="*/ 1427175 h 1729012"/>
                <a:gd name="connsiteX3721" fmla="*/ 1553451 w 2240198"/>
                <a:gd name="connsiteY3721" fmla="*/ 1425973 h 1729012"/>
                <a:gd name="connsiteX3722" fmla="*/ 1553811 w 2240198"/>
                <a:gd name="connsiteY3722" fmla="*/ 1423777 h 1729012"/>
                <a:gd name="connsiteX3723" fmla="*/ 1554684 w 2240198"/>
                <a:gd name="connsiteY3723" fmla="*/ 1420587 h 1729012"/>
                <a:gd name="connsiteX3724" fmla="*/ 1555847 w 2240198"/>
                <a:gd name="connsiteY3724" fmla="*/ 1418334 h 1729012"/>
                <a:gd name="connsiteX3725" fmla="*/ 1557297 w 2240198"/>
                <a:gd name="connsiteY3725" fmla="*/ 1417023 h 1729012"/>
                <a:gd name="connsiteX3726" fmla="*/ 1558268 w 2240198"/>
                <a:gd name="connsiteY3726" fmla="*/ 1415629 h 1729012"/>
                <a:gd name="connsiteX3727" fmla="*/ 1558760 w 2240198"/>
                <a:gd name="connsiteY3727" fmla="*/ 1414150 h 1729012"/>
                <a:gd name="connsiteX3728" fmla="*/ 1559533 w 2240198"/>
                <a:gd name="connsiteY3728" fmla="*/ 1413063 h 1729012"/>
                <a:gd name="connsiteX3729" fmla="*/ 1563563 w 2240198"/>
                <a:gd name="connsiteY3729" fmla="*/ 1411098 h 1729012"/>
                <a:gd name="connsiteX3730" fmla="*/ 1564620 w 2240198"/>
                <a:gd name="connsiteY3730" fmla="*/ 1411279 h 1729012"/>
                <a:gd name="connsiteX3731" fmla="*/ 1565449 w 2240198"/>
                <a:gd name="connsiteY3731" fmla="*/ 1413668 h 1729012"/>
                <a:gd name="connsiteX3732" fmla="*/ 1566416 w 2240198"/>
                <a:gd name="connsiteY3732" fmla="*/ 1414164 h 1729012"/>
                <a:gd name="connsiteX3733" fmla="*/ 1568277 w 2240198"/>
                <a:gd name="connsiteY3733" fmla="*/ 1414537 h 1729012"/>
                <a:gd name="connsiteX3734" fmla="*/ 1569846 w 2240198"/>
                <a:gd name="connsiteY3734" fmla="*/ 1415364 h 1729012"/>
                <a:gd name="connsiteX3735" fmla="*/ 1571122 w 2240198"/>
                <a:gd name="connsiteY3735" fmla="*/ 1416642 h 1729012"/>
                <a:gd name="connsiteX3736" fmla="*/ 1572022 w 2240198"/>
                <a:gd name="connsiteY3736" fmla="*/ 1417936 h 1729012"/>
                <a:gd name="connsiteX3737" fmla="*/ 1572547 w 2240198"/>
                <a:gd name="connsiteY3737" fmla="*/ 1419248 h 1729012"/>
                <a:gd name="connsiteX3738" fmla="*/ 1573749 w 2240198"/>
                <a:gd name="connsiteY3738" fmla="*/ 1423526 h 1729012"/>
                <a:gd name="connsiteX3739" fmla="*/ 1574605 w 2240198"/>
                <a:gd name="connsiteY3739" fmla="*/ 1425503 h 1729012"/>
                <a:gd name="connsiteX3740" fmla="*/ 1574749 w 2240198"/>
                <a:gd name="connsiteY3740" fmla="*/ 1423105 h 1729012"/>
                <a:gd name="connsiteX3741" fmla="*/ 1575750 w 2240198"/>
                <a:gd name="connsiteY3741" fmla="*/ 1419330 h 1729012"/>
                <a:gd name="connsiteX3742" fmla="*/ 1576525 w 2240198"/>
                <a:gd name="connsiteY3742" fmla="*/ 1417780 h 1729012"/>
                <a:gd name="connsiteX3743" fmla="*/ 1578962 w 2240198"/>
                <a:gd name="connsiteY3743" fmla="*/ 1415507 h 1729012"/>
                <a:gd name="connsiteX3744" fmla="*/ 1578832 w 2240198"/>
                <a:gd name="connsiteY3744" fmla="*/ 1414524 h 1729012"/>
                <a:gd name="connsiteX3745" fmla="*/ 1577821 w 2240198"/>
                <a:gd name="connsiteY3745" fmla="*/ 1413203 h 1729012"/>
                <a:gd name="connsiteX3746" fmla="*/ 1572714 w 2240198"/>
                <a:gd name="connsiteY3746" fmla="*/ 1407532 h 1729012"/>
                <a:gd name="connsiteX3747" fmla="*/ 1572615 w 2240198"/>
                <a:gd name="connsiteY3747" fmla="*/ 1406153 h 1729012"/>
                <a:gd name="connsiteX3748" fmla="*/ 1573978 w 2240198"/>
                <a:gd name="connsiteY3748" fmla="*/ 1405332 h 1729012"/>
                <a:gd name="connsiteX3749" fmla="*/ 1574911 w 2240198"/>
                <a:gd name="connsiteY3749" fmla="*/ 1403766 h 1729012"/>
                <a:gd name="connsiteX3750" fmla="*/ 1575414 w 2240198"/>
                <a:gd name="connsiteY3750" fmla="*/ 1401453 h 1729012"/>
                <a:gd name="connsiteX3751" fmla="*/ 1576506 w 2240198"/>
                <a:gd name="connsiteY3751" fmla="*/ 1399774 h 1729012"/>
                <a:gd name="connsiteX3752" fmla="*/ 1579706 w 2240198"/>
                <a:gd name="connsiteY3752" fmla="*/ 1397410 h 1729012"/>
                <a:gd name="connsiteX3753" fmla="*/ 1582462 w 2240198"/>
                <a:gd name="connsiteY3753" fmla="*/ 1393778 h 1729012"/>
                <a:gd name="connsiteX3754" fmla="*/ 1583880 w 2240198"/>
                <a:gd name="connsiteY3754" fmla="*/ 1391278 h 1729012"/>
                <a:gd name="connsiteX3755" fmla="*/ 1585040 w 2240198"/>
                <a:gd name="connsiteY3755" fmla="*/ 1389958 h 1729012"/>
                <a:gd name="connsiteX3756" fmla="*/ 1586144 w 2240198"/>
                <a:gd name="connsiteY3756" fmla="*/ 1389642 h 1729012"/>
                <a:gd name="connsiteX3757" fmla="*/ 1584496 w 2240198"/>
                <a:gd name="connsiteY3757" fmla="*/ 1388630 h 1729012"/>
                <a:gd name="connsiteX3758" fmla="*/ 1584167 w 2240198"/>
                <a:gd name="connsiteY3758" fmla="*/ 1387964 h 1729012"/>
                <a:gd name="connsiteX3759" fmla="*/ 1584090 w 2240198"/>
                <a:gd name="connsiteY3759" fmla="*/ 1384950 h 1729012"/>
                <a:gd name="connsiteX3760" fmla="*/ 1583380 w 2240198"/>
                <a:gd name="connsiteY3760" fmla="*/ 1381789 h 1729012"/>
                <a:gd name="connsiteX3761" fmla="*/ 1582277 w 2240198"/>
                <a:gd name="connsiteY3761" fmla="*/ 1380314 h 1729012"/>
                <a:gd name="connsiteX3762" fmla="*/ 1579154 w 2240198"/>
                <a:gd name="connsiteY3762" fmla="*/ 1377150 h 1729012"/>
                <a:gd name="connsiteX3763" fmla="*/ 1578638 w 2240198"/>
                <a:gd name="connsiteY3763" fmla="*/ 1376206 h 1729012"/>
                <a:gd name="connsiteX3764" fmla="*/ 1578089 w 2240198"/>
                <a:gd name="connsiteY3764" fmla="*/ 1372624 h 1729012"/>
                <a:gd name="connsiteX3765" fmla="*/ 1578397 w 2240198"/>
                <a:gd name="connsiteY3765" fmla="*/ 1370832 h 1729012"/>
                <a:gd name="connsiteX3766" fmla="*/ 1579207 w 2240198"/>
                <a:gd name="connsiteY3766" fmla="*/ 1369323 h 1729012"/>
                <a:gd name="connsiteX3767" fmla="*/ 1578746 w 2240198"/>
                <a:gd name="connsiteY3767" fmla="*/ 1367864 h 1729012"/>
                <a:gd name="connsiteX3768" fmla="*/ 1575849 w 2240198"/>
                <a:gd name="connsiteY3768" fmla="*/ 1365220 h 1729012"/>
                <a:gd name="connsiteX3769" fmla="*/ 1574730 w 2240198"/>
                <a:gd name="connsiteY3769" fmla="*/ 1362909 h 1729012"/>
                <a:gd name="connsiteX3770" fmla="*/ 1573491 w 2240198"/>
                <a:gd name="connsiteY3770" fmla="*/ 1357309 h 1729012"/>
                <a:gd name="connsiteX3771" fmla="*/ 1572351 w 2240198"/>
                <a:gd name="connsiteY3771" fmla="*/ 1350271 h 1729012"/>
                <a:gd name="connsiteX3772" fmla="*/ 1571057 w 2240198"/>
                <a:gd name="connsiteY3772" fmla="*/ 1345084 h 1729012"/>
                <a:gd name="connsiteX3773" fmla="*/ 1569606 w 2240198"/>
                <a:gd name="connsiteY3773" fmla="*/ 1341756 h 1729012"/>
                <a:gd name="connsiteX3774" fmla="*/ 1569280 w 2240198"/>
                <a:gd name="connsiteY3774" fmla="*/ 1339658 h 1729012"/>
                <a:gd name="connsiteX3775" fmla="*/ 1570084 w 2240198"/>
                <a:gd name="connsiteY3775" fmla="*/ 1338788 h 1729012"/>
                <a:gd name="connsiteX3776" fmla="*/ 1571127 w 2240198"/>
                <a:gd name="connsiteY3776" fmla="*/ 1336163 h 1729012"/>
                <a:gd name="connsiteX3777" fmla="*/ 1572069 w 2240198"/>
                <a:gd name="connsiteY3777" fmla="*/ 1335518 h 1729012"/>
                <a:gd name="connsiteX3778" fmla="*/ 1573527 w 2240198"/>
                <a:gd name="connsiteY3778" fmla="*/ 1335691 h 1729012"/>
                <a:gd name="connsiteX3779" fmla="*/ 1573560 w 2240198"/>
                <a:gd name="connsiteY3779" fmla="*/ 1335390 h 1729012"/>
                <a:gd name="connsiteX3780" fmla="*/ 1571338 w 2240198"/>
                <a:gd name="connsiteY3780" fmla="*/ 1333973 h 1729012"/>
                <a:gd name="connsiteX3781" fmla="*/ 1570245 w 2240198"/>
                <a:gd name="connsiteY3781" fmla="*/ 1332190 h 1729012"/>
                <a:gd name="connsiteX3782" fmla="*/ 1570292 w 2240198"/>
                <a:gd name="connsiteY3782" fmla="*/ 1331528 h 1729012"/>
                <a:gd name="connsiteX3783" fmla="*/ 1572250 w 2240198"/>
                <a:gd name="connsiteY3783" fmla="*/ 1329752 h 1729012"/>
                <a:gd name="connsiteX3784" fmla="*/ 1571898 w 2240198"/>
                <a:gd name="connsiteY3784" fmla="*/ 1329005 h 1729012"/>
                <a:gd name="connsiteX3785" fmla="*/ 1570448 w 2240198"/>
                <a:gd name="connsiteY3785" fmla="*/ 1328032 h 1729012"/>
                <a:gd name="connsiteX3786" fmla="*/ 1566018 w 2240198"/>
                <a:gd name="connsiteY3786" fmla="*/ 1326398 h 1729012"/>
                <a:gd name="connsiteX3787" fmla="*/ 1567615 w 2240198"/>
                <a:gd name="connsiteY3787" fmla="*/ 1325768 h 1729012"/>
                <a:gd name="connsiteX3788" fmla="*/ 1568630 w 2240198"/>
                <a:gd name="connsiteY3788" fmla="*/ 1324365 h 1729012"/>
                <a:gd name="connsiteX3789" fmla="*/ 1568429 w 2240198"/>
                <a:gd name="connsiteY3789" fmla="*/ 1323946 h 1729012"/>
                <a:gd name="connsiteX3790" fmla="*/ 1566674 w 2240198"/>
                <a:gd name="connsiteY3790" fmla="*/ 1323373 h 1729012"/>
                <a:gd name="connsiteX3791" fmla="*/ 1564653 w 2240198"/>
                <a:gd name="connsiteY3791" fmla="*/ 1322286 h 1729012"/>
                <a:gd name="connsiteX3792" fmla="*/ 1563119 w 2240198"/>
                <a:gd name="connsiteY3792" fmla="*/ 1320662 h 1729012"/>
                <a:gd name="connsiteX3793" fmla="*/ 1561233 w 2240198"/>
                <a:gd name="connsiteY3793" fmla="*/ 1318105 h 1729012"/>
                <a:gd name="connsiteX3794" fmla="*/ 1560080 w 2240198"/>
                <a:gd name="connsiteY3794" fmla="*/ 1316072 h 1729012"/>
                <a:gd name="connsiteX3795" fmla="*/ 1558947 w 2240198"/>
                <a:gd name="connsiteY3795" fmla="*/ 1312685 h 1729012"/>
                <a:gd name="connsiteX3796" fmla="*/ 1556987 w 2240198"/>
                <a:gd name="connsiteY3796" fmla="*/ 1308828 h 1729012"/>
                <a:gd name="connsiteX3797" fmla="*/ 1556131 w 2240198"/>
                <a:gd name="connsiteY3797" fmla="*/ 1307866 h 1729012"/>
                <a:gd name="connsiteX3798" fmla="*/ 1555150 w 2240198"/>
                <a:gd name="connsiteY3798" fmla="*/ 1307244 h 1729012"/>
                <a:gd name="connsiteX3799" fmla="*/ 1554046 w 2240198"/>
                <a:gd name="connsiteY3799" fmla="*/ 1306957 h 1729012"/>
                <a:gd name="connsiteX3800" fmla="*/ 1554086 w 2240198"/>
                <a:gd name="connsiteY3800" fmla="*/ 1306367 h 1729012"/>
                <a:gd name="connsiteX3801" fmla="*/ 1555274 w 2240198"/>
                <a:gd name="connsiteY3801" fmla="*/ 1305467 h 1729012"/>
                <a:gd name="connsiteX3802" fmla="*/ 1574451 w 2240198"/>
                <a:gd name="connsiteY3802" fmla="*/ 1298998 h 1729012"/>
                <a:gd name="connsiteX3803" fmla="*/ 1576048 w 2240198"/>
                <a:gd name="connsiteY3803" fmla="*/ 1298065 h 1729012"/>
                <a:gd name="connsiteX3804" fmla="*/ 1585461 w 2240198"/>
                <a:gd name="connsiteY3804" fmla="*/ 1294435 h 1729012"/>
                <a:gd name="connsiteX3805" fmla="*/ 1589808 w 2240198"/>
                <a:gd name="connsiteY3805" fmla="*/ 1292407 h 1729012"/>
                <a:gd name="connsiteX3806" fmla="*/ 1594239 w 2240198"/>
                <a:gd name="connsiteY3806" fmla="*/ 1289485 h 1729012"/>
                <a:gd name="connsiteX3807" fmla="*/ 1600267 w 2240198"/>
                <a:gd name="connsiteY3807" fmla="*/ 1286477 h 1729012"/>
                <a:gd name="connsiteX3808" fmla="*/ 1603204 w 2240198"/>
                <a:gd name="connsiteY3808" fmla="*/ 1284537 h 1729012"/>
                <a:gd name="connsiteX3809" fmla="*/ 1605058 w 2240198"/>
                <a:gd name="connsiteY3809" fmla="*/ 1282663 h 1729012"/>
                <a:gd name="connsiteX3810" fmla="*/ 1614623 w 2240198"/>
                <a:gd name="connsiteY3810" fmla="*/ 1275168 h 1729012"/>
                <a:gd name="connsiteX3811" fmla="*/ 1618676 w 2240198"/>
                <a:gd name="connsiteY3811" fmla="*/ 1271330 h 1729012"/>
                <a:gd name="connsiteX3812" fmla="*/ 1621023 w 2240198"/>
                <a:gd name="connsiteY3812" fmla="*/ 1268027 h 1729012"/>
                <a:gd name="connsiteX3813" fmla="*/ 1624433 w 2240198"/>
                <a:gd name="connsiteY3813" fmla="*/ 1264074 h 1729012"/>
                <a:gd name="connsiteX3814" fmla="*/ 1628902 w 2240198"/>
                <a:gd name="connsiteY3814" fmla="*/ 1259461 h 1729012"/>
                <a:gd name="connsiteX3815" fmla="*/ 1631725 w 2240198"/>
                <a:gd name="connsiteY3815" fmla="*/ 1255498 h 1729012"/>
                <a:gd name="connsiteX3816" fmla="*/ 1632903 w 2240198"/>
                <a:gd name="connsiteY3816" fmla="*/ 1252192 h 1729012"/>
                <a:gd name="connsiteX3817" fmla="*/ 1634365 w 2240198"/>
                <a:gd name="connsiteY3817" fmla="*/ 1246481 h 1729012"/>
                <a:gd name="connsiteX3818" fmla="*/ 1634784 w 2240198"/>
                <a:gd name="connsiteY3818" fmla="*/ 1241405 h 1729012"/>
                <a:gd name="connsiteX3819" fmla="*/ 1635042 w 2240198"/>
                <a:gd name="connsiteY3819" fmla="*/ 1233945 h 1729012"/>
                <a:gd name="connsiteX3820" fmla="*/ 1634892 w 2240198"/>
                <a:gd name="connsiteY3820" fmla="*/ 1227266 h 1729012"/>
                <a:gd name="connsiteX3821" fmla="*/ 1633694 w 2240198"/>
                <a:gd name="connsiteY3821" fmla="*/ 1216773 h 1729012"/>
                <a:gd name="connsiteX3822" fmla="*/ 1632969 w 2240198"/>
                <a:gd name="connsiteY3822" fmla="*/ 1213461 h 1729012"/>
                <a:gd name="connsiteX3823" fmla="*/ 1631600 w 2240198"/>
                <a:gd name="connsiteY3823" fmla="*/ 1209517 h 1729012"/>
                <a:gd name="connsiteX3824" fmla="*/ 1628281 w 2240198"/>
                <a:gd name="connsiteY3824" fmla="*/ 1201561 h 1729012"/>
                <a:gd name="connsiteX3825" fmla="*/ 1627685 w 2240198"/>
                <a:gd name="connsiteY3825" fmla="*/ 1199389 h 1729012"/>
                <a:gd name="connsiteX3826" fmla="*/ 1625629 w 2240198"/>
                <a:gd name="connsiteY3826" fmla="*/ 1195723 h 1729012"/>
                <a:gd name="connsiteX3827" fmla="*/ 1618887 w 2240198"/>
                <a:gd name="connsiteY3827" fmla="*/ 1186149 h 1729012"/>
                <a:gd name="connsiteX3828" fmla="*/ 1610459 w 2240198"/>
                <a:gd name="connsiteY3828" fmla="*/ 1179653 h 1729012"/>
                <a:gd name="connsiteX3829" fmla="*/ 1608855 w 2240198"/>
                <a:gd name="connsiteY3829" fmla="*/ 1178019 h 1729012"/>
                <a:gd name="connsiteX3830" fmla="*/ 1605517 w 2240198"/>
                <a:gd name="connsiteY3830" fmla="*/ 1176109 h 1729012"/>
                <a:gd name="connsiteX3831" fmla="*/ 1600444 w 2240198"/>
                <a:gd name="connsiteY3831" fmla="*/ 1173915 h 1729012"/>
                <a:gd name="connsiteX3832" fmla="*/ 1597162 w 2240198"/>
                <a:gd name="connsiteY3832" fmla="*/ 1172125 h 1729012"/>
                <a:gd name="connsiteX3833" fmla="*/ 1588588 w 2240198"/>
                <a:gd name="connsiteY3833" fmla="*/ 1165403 h 1729012"/>
                <a:gd name="connsiteX3834" fmla="*/ 1585767 w 2240198"/>
                <a:gd name="connsiteY3834" fmla="*/ 1164596 h 1729012"/>
                <a:gd name="connsiteX3835" fmla="*/ 1584678 w 2240198"/>
                <a:gd name="connsiteY3835" fmla="*/ 1162863 h 1729012"/>
                <a:gd name="connsiteX3836" fmla="*/ 1584445 w 2240198"/>
                <a:gd name="connsiteY3836" fmla="*/ 1161628 h 1729012"/>
                <a:gd name="connsiteX3837" fmla="*/ 1584770 w 2240198"/>
                <a:gd name="connsiteY3837" fmla="*/ 1158405 h 1729012"/>
                <a:gd name="connsiteX3838" fmla="*/ 1585269 w 2240198"/>
                <a:gd name="connsiteY3838" fmla="*/ 1156172 h 1729012"/>
                <a:gd name="connsiteX3839" fmla="*/ 1585876 w 2240198"/>
                <a:gd name="connsiteY3839" fmla="*/ 1154526 h 1729012"/>
                <a:gd name="connsiteX3840" fmla="*/ 1586590 w 2240198"/>
                <a:gd name="connsiteY3840" fmla="*/ 1153466 h 1729012"/>
                <a:gd name="connsiteX3841" fmla="*/ 1591309 w 2240198"/>
                <a:gd name="connsiteY3841" fmla="*/ 1148493 h 1729012"/>
                <a:gd name="connsiteX3842" fmla="*/ 1593950 w 2240198"/>
                <a:gd name="connsiteY3842" fmla="*/ 1144507 h 1729012"/>
                <a:gd name="connsiteX3843" fmla="*/ 1595790 w 2240198"/>
                <a:gd name="connsiteY3843" fmla="*/ 1142320 h 1729012"/>
                <a:gd name="connsiteX3844" fmla="*/ 1597820 w 2240198"/>
                <a:gd name="connsiteY3844" fmla="*/ 1140624 h 1729012"/>
                <a:gd name="connsiteX3845" fmla="*/ 1601492 w 2240198"/>
                <a:gd name="connsiteY3845" fmla="*/ 1138393 h 1729012"/>
                <a:gd name="connsiteX3846" fmla="*/ 1603574 w 2240198"/>
                <a:gd name="connsiteY3846" fmla="*/ 1135579 h 1729012"/>
                <a:gd name="connsiteX3847" fmla="*/ 1603098 w 2240198"/>
                <a:gd name="connsiteY3847" fmla="*/ 1134439 h 1729012"/>
                <a:gd name="connsiteX3848" fmla="*/ 1601445 w 2240198"/>
                <a:gd name="connsiteY3848" fmla="*/ 1133195 h 1729012"/>
                <a:gd name="connsiteX3849" fmla="*/ 1601081 w 2240198"/>
                <a:gd name="connsiteY3849" fmla="*/ 1131983 h 1729012"/>
                <a:gd name="connsiteX3850" fmla="*/ 1603870 w 2240198"/>
                <a:gd name="connsiteY3850" fmla="*/ 1128885 h 1729012"/>
                <a:gd name="connsiteX3851" fmla="*/ 1604263 w 2240198"/>
                <a:gd name="connsiteY3851" fmla="*/ 1128026 h 1729012"/>
                <a:gd name="connsiteX3852" fmla="*/ 1603908 w 2240198"/>
                <a:gd name="connsiteY3852" fmla="*/ 1125105 h 1729012"/>
                <a:gd name="connsiteX3853" fmla="*/ 1604449 w 2240198"/>
                <a:gd name="connsiteY3853" fmla="*/ 1124449 h 1729012"/>
                <a:gd name="connsiteX3854" fmla="*/ 1607891 w 2240198"/>
                <a:gd name="connsiteY3854" fmla="*/ 1124275 h 1729012"/>
                <a:gd name="connsiteX3855" fmla="*/ 1612804 w 2240198"/>
                <a:gd name="connsiteY3855" fmla="*/ 1128467 h 1729012"/>
                <a:gd name="connsiteX3856" fmla="*/ 1614012 w 2240198"/>
                <a:gd name="connsiteY3856" fmla="*/ 1128101 h 1729012"/>
                <a:gd name="connsiteX3857" fmla="*/ 1612441 w 2240198"/>
                <a:gd name="connsiteY3857" fmla="*/ 1126947 h 1729012"/>
                <a:gd name="connsiteX3858" fmla="*/ 1610556 w 2240198"/>
                <a:gd name="connsiteY3858" fmla="*/ 1124122 h 1729012"/>
                <a:gd name="connsiteX3859" fmla="*/ 1610829 w 2240198"/>
                <a:gd name="connsiteY3859" fmla="*/ 1122948 h 1729012"/>
                <a:gd name="connsiteX3860" fmla="*/ 1614453 w 2240198"/>
                <a:gd name="connsiteY3860" fmla="*/ 1119892 h 1729012"/>
                <a:gd name="connsiteX3861" fmla="*/ 1614555 w 2240198"/>
                <a:gd name="connsiteY3861" fmla="*/ 1118503 h 1729012"/>
                <a:gd name="connsiteX3862" fmla="*/ 1613521 w 2240198"/>
                <a:gd name="connsiteY3862" fmla="*/ 1116576 h 1729012"/>
                <a:gd name="connsiteX3863" fmla="*/ 1613406 w 2240198"/>
                <a:gd name="connsiteY3863" fmla="*/ 1115034 h 1729012"/>
                <a:gd name="connsiteX3864" fmla="*/ 1615530 w 2240198"/>
                <a:gd name="connsiteY3864" fmla="*/ 1111363 h 1729012"/>
                <a:gd name="connsiteX3865" fmla="*/ 1614956 w 2240198"/>
                <a:gd name="connsiteY3865" fmla="*/ 1110591 h 1729012"/>
                <a:gd name="connsiteX3866" fmla="*/ 1608988 w 2240198"/>
                <a:gd name="connsiteY3866" fmla="*/ 1109880 h 1729012"/>
                <a:gd name="connsiteX3867" fmla="*/ 1608006 w 2240198"/>
                <a:gd name="connsiteY3867" fmla="*/ 1108854 h 1729012"/>
                <a:gd name="connsiteX3868" fmla="*/ 1608355 w 2240198"/>
                <a:gd name="connsiteY3868" fmla="*/ 1108369 h 1729012"/>
                <a:gd name="connsiteX3869" fmla="*/ 1611163 w 2240198"/>
                <a:gd name="connsiteY3869" fmla="*/ 1107134 h 1729012"/>
                <a:gd name="connsiteX3870" fmla="*/ 1611379 w 2240198"/>
                <a:gd name="connsiteY3870" fmla="*/ 1106666 h 1729012"/>
                <a:gd name="connsiteX3871" fmla="*/ 1606416 w 2240198"/>
                <a:gd name="connsiteY3871" fmla="*/ 1098422 h 1729012"/>
                <a:gd name="connsiteX3872" fmla="*/ 1605583 w 2240198"/>
                <a:gd name="connsiteY3872" fmla="*/ 1095959 h 1729012"/>
                <a:gd name="connsiteX3873" fmla="*/ 1607695 w 2240198"/>
                <a:gd name="connsiteY3873" fmla="*/ 1092919 h 1729012"/>
                <a:gd name="connsiteX3874" fmla="*/ 1610094 w 2240198"/>
                <a:gd name="connsiteY3874" fmla="*/ 1091544 h 1729012"/>
                <a:gd name="connsiteX3875" fmla="*/ 1609789 w 2240198"/>
                <a:gd name="connsiteY3875" fmla="*/ 1090762 h 1729012"/>
                <a:gd name="connsiteX3876" fmla="*/ 1606648 w 2240198"/>
                <a:gd name="connsiteY3876" fmla="*/ 1090621 h 1729012"/>
                <a:gd name="connsiteX3877" fmla="*/ 1604732 w 2240198"/>
                <a:gd name="connsiteY3877" fmla="*/ 1090205 h 1729012"/>
                <a:gd name="connsiteX3878" fmla="*/ 1602810 w 2240198"/>
                <a:gd name="connsiteY3878" fmla="*/ 1087830 h 1729012"/>
                <a:gd name="connsiteX3879" fmla="*/ 1603560 w 2240198"/>
                <a:gd name="connsiteY3879" fmla="*/ 1086329 h 1729012"/>
                <a:gd name="connsiteX3880" fmla="*/ 1604245 w 2240198"/>
                <a:gd name="connsiteY3880" fmla="*/ 1085642 h 1729012"/>
                <a:gd name="connsiteX3881" fmla="*/ 1606111 w 2240198"/>
                <a:gd name="connsiteY3881" fmla="*/ 1082095 h 1729012"/>
                <a:gd name="connsiteX3882" fmla="*/ 1607913 w 2240198"/>
                <a:gd name="connsiteY3882" fmla="*/ 1081362 h 1729012"/>
                <a:gd name="connsiteX3883" fmla="*/ 1607572 w 2240198"/>
                <a:gd name="connsiteY3883" fmla="*/ 1080725 h 1729012"/>
                <a:gd name="connsiteX3884" fmla="*/ 1600763 w 2240198"/>
                <a:gd name="connsiteY3884" fmla="*/ 1082235 h 1729012"/>
                <a:gd name="connsiteX3885" fmla="*/ 1597553 w 2240198"/>
                <a:gd name="connsiteY3885" fmla="*/ 1080993 h 1729012"/>
                <a:gd name="connsiteX3886" fmla="*/ 1594400 w 2240198"/>
                <a:gd name="connsiteY3886" fmla="*/ 1081322 h 1729012"/>
                <a:gd name="connsiteX3887" fmla="*/ 1592907 w 2240198"/>
                <a:gd name="connsiteY3887" fmla="*/ 1080957 h 1729012"/>
                <a:gd name="connsiteX3888" fmla="*/ 1593458 w 2240198"/>
                <a:gd name="connsiteY3888" fmla="*/ 1079688 h 1729012"/>
                <a:gd name="connsiteX3889" fmla="*/ 1599175 w 2240198"/>
                <a:gd name="connsiteY3889" fmla="*/ 1073904 h 1729012"/>
                <a:gd name="connsiteX3890" fmla="*/ 1601814 w 2240198"/>
                <a:gd name="connsiteY3890" fmla="*/ 1070768 h 1729012"/>
                <a:gd name="connsiteX3891" fmla="*/ 1603464 w 2240198"/>
                <a:gd name="connsiteY3891" fmla="*/ 1067934 h 1729012"/>
                <a:gd name="connsiteX3892" fmla="*/ 1604337 w 2240198"/>
                <a:gd name="connsiteY3892" fmla="*/ 1066047 h 1729012"/>
                <a:gd name="connsiteX3893" fmla="*/ 1604433 w 2240198"/>
                <a:gd name="connsiteY3893" fmla="*/ 1065109 h 1729012"/>
                <a:gd name="connsiteX3894" fmla="*/ 1603855 w 2240198"/>
                <a:gd name="connsiteY3894" fmla="*/ 1058828 h 1729012"/>
                <a:gd name="connsiteX3895" fmla="*/ 1604196 w 2240198"/>
                <a:gd name="connsiteY3895" fmla="*/ 1057110 h 1729012"/>
                <a:gd name="connsiteX3896" fmla="*/ 1606409 w 2240198"/>
                <a:gd name="connsiteY3896" fmla="*/ 1055508 h 1729012"/>
                <a:gd name="connsiteX3897" fmla="*/ 1609820 w 2240198"/>
                <a:gd name="connsiteY3897" fmla="*/ 1052495 h 1729012"/>
                <a:gd name="connsiteX3898" fmla="*/ 1605152 w 2240198"/>
                <a:gd name="connsiteY3898" fmla="*/ 1049770 h 1729012"/>
                <a:gd name="connsiteX3899" fmla="*/ 1602228 w 2240198"/>
                <a:gd name="connsiteY3899" fmla="*/ 1047110 h 1729012"/>
                <a:gd name="connsiteX3900" fmla="*/ 1600298 w 2240198"/>
                <a:gd name="connsiteY3900" fmla="*/ 1045789 h 1729012"/>
                <a:gd name="connsiteX3901" fmla="*/ 1598836 w 2240198"/>
                <a:gd name="connsiteY3901" fmla="*/ 1044496 h 1729012"/>
                <a:gd name="connsiteX3902" fmla="*/ 1596963 w 2240198"/>
                <a:gd name="connsiteY3902" fmla="*/ 1041759 h 1729012"/>
                <a:gd name="connsiteX3903" fmla="*/ 1595541 w 2240198"/>
                <a:gd name="connsiteY3903" fmla="*/ 1038194 h 1729012"/>
                <a:gd name="connsiteX3904" fmla="*/ 1594029 w 2240198"/>
                <a:gd name="connsiteY3904" fmla="*/ 1030994 h 1729012"/>
                <a:gd name="connsiteX3905" fmla="*/ 1593779 w 2240198"/>
                <a:gd name="connsiteY3905" fmla="*/ 1027019 h 1729012"/>
                <a:gd name="connsiteX3906" fmla="*/ 1594124 w 2240198"/>
                <a:gd name="connsiteY3906" fmla="*/ 1024129 h 1729012"/>
                <a:gd name="connsiteX3907" fmla="*/ 1594752 w 2240198"/>
                <a:gd name="connsiteY3907" fmla="*/ 1022720 h 1729012"/>
                <a:gd name="connsiteX3908" fmla="*/ 1595779 w 2240198"/>
                <a:gd name="connsiteY3908" fmla="*/ 1021252 h 1729012"/>
                <a:gd name="connsiteX3909" fmla="*/ 1600044 w 2240198"/>
                <a:gd name="connsiteY3909" fmla="*/ 1018451 h 1729012"/>
                <a:gd name="connsiteX3910" fmla="*/ 1607549 w 2240198"/>
                <a:gd name="connsiteY3910" fmla="*/ 1014317 h 1729012"/>
                <a:gd name="connsiteX3911" fmla="*/ 1613420 w 2240198"/>
                <a:gd name="connsiteY3911" fmla="*/ 1012694 h 1729012"/>
                <a:gd name="connsiteX3912" fmla="*/ 1617657 w 2240198"/>
                <a:gd name="connsiteY3912" fmla="*/ 1013584 h 1729012"/>
                <a:gd name="connsiteX3913" fmla="*/ 1625920 w 2240198"/>
                <a:gd name="connsiteY3913" fmla="*/ 1014554 h 1729012"/>
                <a:gd name="connsiteX3914" fmla="*/ 1632591 w 2240198"/>
                <a:gd name="connsiteY3914" fmla="*/ 1016910 h 1729012"/>
                <a:gd name="connsiteX3915" fmla="*/ 1652861 w 2240198"/>
                <a:gd name="connsiteY3915" fmla="*/ 1022808 h 1729012"/>
                <a:gd name="connsiteX3916" fmla="*/ 1656446 w 2240198"/>
                <a:gd name="connsiteY3916" fmla="*/ 1025416 h 1729012"/>
                <a:gd name="connsiteX3917" fmla="*/ 1653056 w 2240198"/>
                <a:gd name="connsiteY3917" fmla="*/ 1027619 h 1729012"/>
                <a:gd name="connsiteX3918" fmla="*/ 1653548 w 2240198"/>
                <a:gd name="connsiteY3918" fmla="*/ 1028161 h 1729012"/>
                <a:gd name="connsiteX3919" fmla="*/ 1661181 w 2240198"/>
                <a:gd name="connsiteY3919" fmla="*/ 1023966 h 1729012"/>
                <a:gd name="connsiteX3920" fmla="*/ 1663199 w 2240198"/>
                <a:gd name="connsiteY3920" fmla="*/ 1023154 h 1729012"/>
                <a:gd name="connsiteX3921" fmla="*/ 1664924 w 2240198"/>
                <a:gd name="connsiteY3921" fmla="*/ 1022956 h 1729012"/>
                <a:gd name="connsiteX3922" fmla="*/ 1670685 w 2240198"/>
                <a:gd name="connsiteY3922" fmla="*/ 1024582 h 1729012"/>
                <a:gd name="connsiteX3923" fmla="*/ 1672999 w 2240198"/>
                <a:gd name="connsiteY3923" fmla="*/ 1024829 h 1729012"/>
                <a:gd name="connsiteX3924" fmla="*/ 1675918 w 2240198"/>
                <a:gd name="connsiteY3924" fmla="*/ 1026182 h 1729012"/>
                <a:gd name="connsiteX3925" fmla="*/ 1682891 w 2240198"/>
                <a:gd name="connsiteY3925" fmla="*/ 1030668 h 1729012"/>
                <a:gd name="connsiteX3926" fmla="*/ 1683390 w 2240198"/>
                <a:gd name="connsiteY3926" fmla="*/ 1030295 h 1729012"/>
                <a:gd name="connsiteX3927" fmla="*/ 1681439 w 2240198"/>
                <a:gd name="connsiteY3927" fmla="*/ 1028010 h 1729012"/>
                <a:gd name="connsiteX3928" fmla="*/ 1682557 w 2240198"/>
                <a:gd name="connsiteY3928" fmla="*/ 1026924 h 1729012"/>
                <a:gd name="connsiteX3929" fmla="*/ 1688048 w 2240198"/>
                <a:gd name="connsiteY3929" fmla="*/ 1024540 h 1729012"/>
                <a:gd name="connsiteX3930" fmla="*/ 1693721 w 2240198"/>
                <a:gd name="connsiteY3930" fmla="*/ 1022592 h 1729012"/>
                <a:gd name="connsiteX3931" fmla="*/ 1697753 w 2240198"/>
                <a:gd name="connsiteY3931" fmla="*/ 1020678 h 1729012"/>
                <a:gd name="connsiteX3932" fmla="*/ 1702029 w 2240198"/>
                <a:gd name="connsiteY3932" fmla="*/ 1018144 h 1729012"/>
                <a:gd name="connsiteX3933" fmla="*/ 1704917 w 2240198"/>
                <a:gd name="connsiteY3933" fmla="*/ 1016788 h 1729012"/>
                <a:gd name="connsiteX3934" fmla="*/ 1706410 w 2240198"/>
                <a:gd name="connsiteY3934" fmla="*/ 1016615 h 1729012"/>
                <a:gd name="connsiteX3935" fmla="*/ 1708314 w 2240198"/>
                <a:gd name="connsiteY3935" fmla="*/ 1017362 h 1729012"/>
                <a:gd name="connsiteX3936" fmla="*/ 1713426 w 2240198"/>
                <a:gd name="connsiteY3936" fmla="*/ 1020724 h 1729012"/>
                <a:gd name="connsiteX3937" fmla="*/ 1716707 w 2240198"/>
                <a:gd name="connsiteY3937" fmla="*/ 1022447 h 1729012"/>
                <a:gd name="connsiteX3938" fmla="*/ 1719339 w 2240198"/>
                <a:gd name="connsiteY3938" fmla="*/ 1024252 h 1729012"/>
                <a:gd name="connsiteX3939" fmla="*/ 1723036 w 2240198"/>
                <a:gd name="connsiteY3939" fmla="*/ 1027430 h 1729012"/>
                <a:gd name="connsiteX3940" fmla="*/ 1724481 w 2240198"/>
                <a:gd name="connsiteY3940" fmla="*/ 1028129 h 1729012"/>
                <a:gd name="connsiteX3941" fmla="*/ 1727284 w 2240198"/>
                <a:gd name="connsiteY3941" fmla="*/ 1030287 h 1729012"/>
                <a:gd name="connsiteX3942" fmla="*/ 1731008 w 2240198"/>
                <a:gd name="connsiteY3942" fmla="*/ 1030064 h 1729012"/>
                <a:gd name="connsiteX3943" fmla="*/ 1732226 w 2240198"/>
                <a:gd name="connsiteY3943" fmla="*/ 1030321 h 1729012"/>
                <a:gd name="connsiteX3944" fmla="*/ 1732635 w 2240198"/>
                <a:gd name="connsiteY3944" fmla="*/ 1030739 h 1729012"/>
                <a:gd name="connsiteX3945" fmla="*/ 1733265 w 2240198"/>
                <a:gd name="connsiteY3945" fmla="*/ 1032199 h 1729012"/>
                <a:gd name="connsiteX3946" fmla="*/ 1733591 w 2240198"/>
                <a:gd name="connsiteY3946" fmla="*/ 1033132 h 1729012"/>
                <a:gd name="connsiteX3947" fmla="*/ 1733615 w 2240198"/>
                <a:gd name="connsiteY3947" fmla="*/ 1034132 h 1729012"/>
                <a:gd name="connsiteX3948" fmla="*/ 1732757 w 2240198"/>
                <a:gd name="connsiteY3948" fmla="*/ 1036945 h 1729012"/>
                <a:gd name="connsiteX3949" fmla="*/ 1730079 w 2240198"/>
                <a:gd name="connsiteY3949" fmla="*/ 1041432 h 1729012"/>
                <a:gd name="connsiteX3950" fmla="*/ 1731200 w 2240198"/>
                <a:gd name="connsiteY3950" fmla="*/ 1041503 h 1729012"/>
                <a:gd name="connsiteX3951" fmla="*/ 1732893 w 2240198"/>
                <a:gd name="connsiteY3951" fmla="*/ 1040542 h 1729012"/>
                <a:gd name="connsiteX3952" fmla="*/ 1735092 w 2240198"/>
                <a:gd name="connsiteY3952" fmla="*/ 1038829 h 1729012"/>
                <a:gd name="connsiteX3953" fmla="*/ 1736825 w 2240198"/>
                <a:gd name="connsiteY3953" fmla="*/ 1038223 h 1729012"/>
                <a:gd name="connsiteX3954" fmla="*/ 1740497 w 2240198"/>
                <a:gd name="connsiteY3954" fmla="*/ 1039584 h 1729012"/>
                <a:gd name="connsiteX3955" fmla="*/ 1743911 w 2240198"/>
                <a:gd name="connsiteY3955" fmla="*/ 1041777 h 1729012"/>
                <a:gd name="connsiteX3956" fmla="*/ 1745119 w 2240198"/>
                <a:gd name="connsiteY3956" fmla="*/ 1042939 h 1729012"/>
                <a:gd name="connsiteX3957" fmla="*/ 1746446 w 2240198"/>
                <a:gd name="connsiteY3957" fmla="*/ 1044833 h 1729012"/>
                <a:gd name="connsiteX3958" fmla="*/ 1747579 w 2240198"/>
                <a:gd name="connsiteY3958" fmla="*/ 1045806 h 1729012"/>
                <a:gd name="connsiteX3959" fmla="*/ 1748629 w 2240198"/>
                <a:gd name="connsiteY3959" fmla="*/ 1047674 h 1729012"/>
                <a:gd name="connsiteX3960" fmla="*/ 1748555 w 2240198"/>
                <a:gd name="connsiteY3960" fmla="*/ 1048281 h 1729012"/>
                <a:gd name="connsiteX3961" fmla="*/ 1747564 w 2240198"/>
                <a:gd name="connsiteY3961" fmla="*/ 1049186 h 1729012"/>
                <a:gd name="connsiteX3962" fmla="*/ 1743380 w 2240198"/>
                <a:gd name="connsiteY3962" fmla="*/ 1050716 h 1729012"/>
                <a:gd name="connsiteX3963" fmla="*/ 1744171 w 2240198"/>
                <a:gd name="connsiteY3963" fmla="*/ 1051292 h 1729012"/>
                <a:gd name="connsiteX3964" fmla="*/ 1749058 w 2240198"/>
                <a:gd name="connsiteY3964" fmla="*/ 1050332 h 1729012"/>
                <a:gd name="connsiteX3965" fmla="*/ 1750547 w 2240198"/>
                <a:gd name="connsiteY3965" fmla="*/ 1049386 h 1729012"/>
                <a:gd name="connsiteX3966" fmla="*/ 1751615 w 2240198"/>
                <a:gd name="connsiteY3966" fmla="*/ 1047803 h 1729012"/>
                <a:gd name="connsiteX3967" fmla="*/ 1753040 w 2240198"/>
                <a:gd name="connsiteY3967" fmla="*/ 1047353 h 1729012"/>
                <a:gd name="connsiteX3968" fmla="*/ 1758816 w 2240198"/>
                <a:gd name="connsiteY3968" fmla="*/ 1050128 h 1729012"/>
                <a:gd name="connsiteX3969" fmla="*/ 1759665 w 2240198"/>
                <a:gd name="connsiteY3969" fmla="*/ 1051092 h 1729012"/>
                <a:gd name="connsiteX3970" fmla="*/ 1759294 w 2240198"/>
                <a:gd name="connsiteY3970" fmla="*/ 1051849 h 1729012"/>
                <a:gd name="connsiteX3971" fmla="*/ 1758362 w 2240198"/>
                <a:gd name="connsiteY3971" fmla="*/ 1052703 h 1729012"/>
                <a:gd name="connsiteX3972" fmla="*/ 1755838 w 2240198"/>
                <a:gd name="connsiteY3972" fmla="*/ 1053641 h 1729012"/>
                <a:gd name="connsiteX3973" fmla="*/ 1753675 w 2240198"/>
                <a:gd name="connsiteY3973" fmla="*/ 1055999 h 1729012"/>
                <a:gd name="connsiteX3974" fmla="*/ 1753337 w 2240198"/>
                <a:gd name="connsiteY3974" fmla="*/ 1057015 h 1729012"/>
                <a:gd name="connsiteX3975" fmla="*/ 1754877 w 2240198"/>
                <a:gd name="connsiteY3975" fmla="*/ 1057736 h 1729012"/>
                <a:gd name="connsiteX3976" fmla="*/ 1758638 w 2240198"/>
                <a:gd name="connsiteY3976" fmla="*/ 1058048 h 1729012"/>
                <a:gd name="connsiteX3977" fmla="*/ 1758609 w 2240198"/>
                <a:gd name="connsiteY3977" fmla="*/ 1058607 h 1729012"/>
                <a:gd name="connsiteX3978" fmla="*/ 1756436 w 2240198"/>
                <a:gd name="connsiteY3978" fmla="*/ 1059640 h 1729012"/>
                <a:gd name="connsiteX3979" fmla="*/ 1756150 w 2240198"/>
                <a:gd name="connsiteY3979" fmla="*/ 1060987 h 1729012"/>
                <a:gd name="connsiteX3980" fmla="*/ 1761016 w 2240198"/>
                <a:gd name="connsiteY3980" fmla="*/ 1065781 h 1729012"/>
                <a:gd name="connsiteX3981" fmla="*/ 1764282 w 2240198"/>
                <a:gd name="connsiteY3981" fmla="*/ 1067879 h 1729012"/>
                <a:gd name="connsiteX3982" fmla="*/ 1766165 w 2240198"/>
                <a:gd name="connsiteY3982" fmla="*/ 1068263 h 1729012"/>
                <a:gd name="connsiteX3983" fmla="*/ 1770559 w 2240198"/>
                <a:gd name="connsiteY3983" fmla="*/ 1068357 h 1729012"/>
                <a:gd name="connsiteX3984" fmla="*/ 1774114 w 2240198"/>
                <a:gd name="connsiteY3984" fmla="*/ 1069168 h 1729012"/>
                <a:gd name="connsiteX3985" fmla="*/ 1782018 w 2240198"/>
                <a:gd name="connsiteY3985" fmla="*/ 1071880 h 1729012"/>
                <a:gd name="connsiteX3986" fmla="*/ 1786645 w 2240198"/>
                <a:gd name="connsiteY3986" fmla="*/ 1072370 h 1729012"/>
                <a:gd name="connsiteX3987" fmla="*/ 1790629 w 2240198"/>
                <a:gd name="connsiteY3987" fmla="*/ 1071542 h 1729012"/>
                <a:gd name="connsiteX3988" fmla="*/ 1793275 w 2240198"/>
                <a:gd name="connsiteY3988" fmla="*/ 1071361 h 1729012"/>
                <a:gd name="connsiteX3989" fmla="*/ 1795611 w 2240198"/>
                <a:gd name="connsiteY3989" fmla="*/ 1072444 h 1729012"/>
                <a:gd name="connsiteX3990" fmla="*/ 1796351 w 2240198"/>
                <a:gd name="connsiteY3990" fmla="*/ 1073210 h 1729012"/>
                <a:gd name="connsiteX3991" fmla="*/ 1796702 w 2240198"/>
                <a:gd name="connsiteY3991" fmla="*/ 1074732 h 1729012"/>
                <a:gd name="connsiteX3992" fmla="*/ 1796657 w 2240198"/>
                <a:gd name="connsiteY3992" fmla="*/ 1077013 h 1729012"/>
                <a:gd name="connsiteX3993" fmla="*/ 1797941 w 2240198"/>
                <a:gd name="connsiteY3993" fmla="*/ 1078610 h 1729012"/>
                <a:gd name="connsiteX3994" fmla="*/ 1800549 w 2240198"/>
                <a:gd name="connsiteY3994" fmla="*/ 1079523 h 1729012"/>
                <a:gd name="connsiteX3995" fmla="*/ 1802658 w 2240198"/>
                <a:gd name="connsiteY3995" fmla="*/ 1079384 h 1729012"/>
                <a:gd name="connsiteX3996" fmla="*/ 1805417 w 2240198"/>
                <a:gd name="connsiteY3996" fmla="*/ 1077594 h 1729012"/>
                <a:gd name="connsiteX3997" fmla="*/ 1807751 w 2240198"/>
                <a:gd name="connsiteY3997" fmla="*/ 1077288 h 1729012"/>
                <a:gd name="connsiteX3998" fmla="*/ 1808532 w 2240198"/>
                <a:gd name="connsiteY3998" fmla="*/ 1075946 h 1729012"/>
                <a:gd name="connsiteX3999" fmla="*/ 1809221 w 2240198"/>
                <a:gd name="connsiteY3999" fmla="*/ 1073460 h 1729012"/>
                <a:gd name="connsiteX4000" fmla="*/ 1809900 w 2240198"/>
                <a:gd name="connsiteY4000" fmla="*/ 1072098 h 1729012"/>
                <a:gd name="connsiteX4001" fmla="*/ 1811590 w 2240198"/>
                <a:gd name="connsiteY4001" fmla="*/ 1071707 h 1729012"/>
                <a:gd name="connsiteX4002" fmla="*/ 1812951 w 2240198"/>
                <a:gd name="connsiteY4002" fmla="*/ 1072448 h 1729012"/>
                <a:gd name="connsiteX4003" fmla="*/ 1813747 w 2240198"/>
                <a:gd name="connsiteY4003" fmla="*/ 1073584 h 1729012"/>
                <a:gd name="connsiteX4004" fmla="*/ 1815207 w 2240198"/>
                <a:gd name="connsiteY4004" fmla="*/ 1076987 h 1729012"/>
                <a:gd name="connsiteX4005" fmla="*/ 1815613 w 2240198"/>
                <a:gd name="connsiteY4005" fmla="*/ 1078510 h 1729012"/>
                <a:gd name="connsiteX4006" fmla="*/ 1815451 w 2240198"/>
                <a:gd name="connsiteY4006" fmla="*/ 1079897 h 1729012"/>
                <a:gd name="connsiteX4007" fmla="*/ 1814723 w 2240198"/>
                <a:gd name="connsiteY4007" fmla="*/ 1081144 h 1729012"/>
                <a:gd name="connsiteX4008" fmla="*/ 1813291 w 2240198"/>
                <a:gd name="connsiteY4008" fmla="*/ 1082475 h 1729012"/>
                <a:gd name="connsiteX4009" fmla="*/ 1811153 w 2240198"/>
                <a:gd name="connsiteY4009" fmla="*/ 1083888 h 1729012"/>
                <a:gd name="connsiteX4010" fmla="*/ 1809473 w 2240198"/>
                <a:gd name="connsiteY4010" fmla="*/ 1085917 h 1729012"/>
                <a:gd name="connsiteX4011" fmla="*/ 1807422 w 2240198"/>
                <a:gd name="connsiteY4011" fmla="*/ 1090600 h 1729012"/>
                <a:gd name="connsiteX4012" fmla="*/ 1806664 w 2240198"/>
                <a:gd name="connsiteY4012" fmla="*/ 1093656 h 1729012"/>
                <a:gd name="connsiteX4013" fmla="*/ 1806456 w 2240198"/>
                <a:gd name="connsiteY4013" fmla="*/ 1095458 h 1729012"/>
                <a:gd name="connsiteX4014" fmla="*/ 1806547 w 2240198"/>
                <a:gd name="connsiteY4014" fmla="*/ 1097430 h 1729012"/>
                <a:gd name="connsiteX4015" fmla="*/ 1806936 w 2240198"/>
                <a:gd name="connsiteY4015" fmla="*/ 1099573 h 1729012"/>
                <a:gd name="connsiteX4016" fmla="*/ 1807749 w 2240198"/>
                <a:gd name="connsiteY4016" fmla="*/ 1101338 h 1729012"/>
                <a:gd name="connsiteX4017" fmla="*/ 1809660 w 2240198"/>
                <a:gd name="connsiteY4017" fmla="*/ 1103833 h 1729012"/>
                <a:gd name="connsiteX4018" fmla="*/ 1809770 w 2240198"/>
                <a:gd name="connsiteY4018" fmla="*/ 1104661 h 1729012"/>
                <a:gd name="connsiteX4019" fmla="*/ 1809912 w 2240198"/>
                <a:gd name="connsiteY4019" fmla="*/ 1106679 h 1729012"/>
                <a:gd name="connsiteX4020" fmla="*/ 1809745 w 2240198"/>
                <a:gd name="connsiteY4020" fmla="*/ 1107566 h 1729012"/>
                <a:gd name="connsiteX4021" fmla="*/ 1808630 w 2240198"/>
                <a:gd name="connsiteY4021" fmla="*/ 1109320 h 1729012"/>
                <a:gd name="connsiteX4022" fmla="*/ 1805539 w 2240198"/>
                <a:gd name="connsiteY4022" fmla="*/ 1111070 h 1729012"/>
                <a:gd name="connsiteX4023" fmla="*/ 1801299 w 2240198"/>
                <a:gd name="connsiteY4023" fmla="*/ 1111522 h 1729012"/>
                <a:gd name="connsiteX4024" fmla="*/ 1787442 w 2240198"/>
                <a:gd name="connsiteY4024" fmla="*/ 1111622 h 1729012"/>
                <a:gd name="connsiteX4025" fmla="*/ 1783752 w 2240198"/>
                <a:gd name="connsiteY4025" fmla="*/ 1111204 h 1729012"/>
                <a:gd name="connsiteX4026" fmla="*/ 1784643 w 2240198"/>
                <a:gd name="connsiteY4026" fmla="*/ 1112794 h 1729012"/>
                <a:gd name="connsiteX4027" fmla="*/ 1788525 w 2240198"/>
                <a:gd name="connsiteY4027" fmla="*/ 1113302 h 1729012"/>
                <a:gd name="connsiteX4028" fmla="*/ 1792069 w 2240198"/>
                <a:gd name="connsiteY4028" fmla="*/ 1113281 h 1729012"/>
                <a:gd name="connsiteX4029" fmla="*/ 1805284 w 2240198"/>
                <a:gd name="connsiteY4029" fmla="*/ 1114286 h 1729012"/>
                <a:gd name="connsiteX4030" fmla="*/ 1807104 w 2240198"/>
                <a:gd name="connsiteY4030" fmla="*/ 1115303 h 1729012"/>
                <a:gd name="connsiteX4031" fmla="*/ 1808637 w 2240198"/>
                <a:gd name="connsiteY4031" fmla="*/ 1117091 h 1729012"/>
                <a:gd name="connsiteX4032" fmla="*/ 1809734 w 2240198"/>
                <a:gd name="connsiteY4032" fmla="*/ 1118940 h 1729012"/>
                <a:gd name="connsiteX4033" fmla="*/ 1810819 w 2240198"/>
                <a:gd name="connsiteY4033" fmla="*/ 1122698 h 1729012"/>
                <a:gd name="connsiteX4034" fmla="*/ 1811022 w 2240198"/>
                <a:gd name="connsiteY4034" fmla="*/ 1124479 h 1729012"/>
                <a:gd name="connsiteX4035" fmla="*/ 1810440 w 2240198"/>
                <a:gd name="connsiteY4035" fmla="*/ 1126454 h 1729012"/>
                <a:gd name="connsiteX4036" fmla="*/ 1809074 w 2240198"/>
                <a:gd name="connsiteY4036" fmla="*/ 1128623 h 1729012"/>
                <a:gd name="connsiteX4037" fmla="*/ 1808157 w 2240198"/>
                <a:gd name="connsiteY4037" fmla="*/ 1131507 h 1729012"/>
                <a:gd name="connsiteX4038" fmla="*/ 1807688 w 2240198"/>
                <a:gd name="connsiteY4038" fmla="*/ 1135110 h 1729012"/>
                <a:gd name="connsiteX4039" fmla="*/ 1808423 w 2240198"/>
                <a:gd name="connsiteY4039" fmla="*/ 1137016 h 1729012"/>
                <a:gd name="connsiteX4040" fmla="*/ 1815570 w 2240198"/>
                <a:gd name="connsiteY4040" fmla="*/ 1137164 h 1729012"/>
                <a:gd name="connsiteX4041" fmla="*/ 1816990 w 2240198"/>
                <a:gd name="connsiteY4041" fmla="*/ 1138467 h 1729012"/>
                <a:gd name="connsiteX4042" fmla="*/ 1816827 w 2240198"/>
                <a:gd name="connsiteY4042" fmla="*/ 1139436 h 1729012"/>
                <a:gd name="connsiteX4043" fmla="*/ 1814291 w 2240198"/>
                <a:gd name="connsiteY4043" fmla="*/ 1143075 h 1729012"/>
                <a:gd name="connsiteX4044" fmla="*/ 1814055 w 2240198"/>
                <a:gd name="connsiteY4044" fmla="*/ 1144107 h 1729012"/>
                <a:gd name="connsiteX4045" fmla="*/ 1815214 w 2240198"/>
                <a:gd name="connsiteY4045" fmla="*/ 1146559 h 1729012"/>
                <a:gd name="connsiteX4046" fmla="*/ 1815055 w 2240198"/>
                <a:gd name="connsiteY4046" fmla="*/ 1147256 h 1729012"/>
                <a:gd name="connsiteX4047" fmla="*/ 1814351 w 2240198"/>
                <a:gd name="connsiteY4047" fmla="*/ 1147967 h 1729012"/>
                <a:gd name="connsiteX4048" fmla="*/ 1813678 w 2240198"/>
                <a:gd name="connsiteY4048" fmla="*/ 1149803 h 1729012"/>
                <a:gd name="connsiteX4049" fmla="*/ 1813033 w 2240198"/>
                <a:gd name="connsiteY4049" fmla="*/ 1152762 h 1729012"/>
                <a:gd name="connsiteX4050" fmla="*/ 1812233 w 2240198"/>
                <a:gd name="connsiteY4050" fmla="*/ 1154678 h 1729012"/>
                <a:gd name="connsiteX4051" fmla="*/ 1810292 w 2240198"/>
                <a:gd name="connsiteY4051" fmla="*/ 1156158 h 1729012"/>
                <a:gd name="connsiteX4052" fmla="*/ 1809273 w 2240198"/>
                <a:gd name="connsiteY4052" fmla="*/ 1156482 h 1729012"/>
                <a:gd name="connsiteX4053" fmla="*/ 1808539 w 2240198"/>
                <a:gd name="connsiteY4053" fmla="*/ 1156088 h 1729012"/>
                <a:gd name="connsiteX4054" fmla="*/ 1806619 w 2240198"/>
                <a:gd name="connsiteY4054" fmla="*/ 1152056 h 1729012"/>
                <a:gd name="connsiteX4055" fmla="*/ 1805829 w 2240198"/>
                <a:gd name="connsiteY4055" fmla="*/ 1151455 h 1729012"/>
                <a:gd name="connsiteX4056" fmla="*/ 1805081 w 2240198"/>
                <a:gd name="connsiteY4056" fmla="*/ 1151834 h 1729012"/>
                <a:gd name="connsiteX4057" fmla="*/ 1804705 w 2240198"/>
                <a:gd name="connsiteY4057" fmla="*/ 1152460 h 1729012"/>
                <a:gd name="connsiteX4058" fmla="*/ 1804703 w 2240198"/>
                <a:gd name="connsiteY4058" fmla="*/ 1153331 h 1729012"/>
                <a:gd name="connsiteX4059" fmla="*/ 1804374 w 2240198"/>
                <a:gd name="connsiteY4059" fmla="*/ 1154234 h 1729012"/>
                <a:gd name="connsiteX4060" fmla="*/ 1803714 w 2240198"/>
                <a:gd name="connsiteY4060" fmla="*/ 1155165 h 1729012"/>
                <a:gd name="connsiteX4061" fmla="*/ 1800885 w 2240198"/>
                <a:gd name="connsiteY4061" fmla="*/ 1156647 h 1729012"/>
                <a:gd name="connsiteX4062" fmla="*/ 1796301 w 2240198"/>
                <a:gd name="connsiteY4062" fmla="*/ 1157649 h 1729012"/>
                <a:gd name="connsiteX4063" fmla="*/ 1796443 w 2240198"/>
                <a:gd name="connsiteY4063" fmla="*/ 1158721 h 1729012"/>
                <a:gd name="connsiteX4064" fmla="*/ 1799520 w 2240198"/>
                <a:gd name="connsiteY4064" fmla="*/ 1159294 h 1729012"/>
                <a:gd name="connsiteX4065" fmla="*/ 1803436 w 2240198"/>
                <a:gd name="connsiteY4065" fmla="*/ 1161086 h 1729012"/>
                <a:gd name="connsiteX4066" fmla="*/ 1805684 w 2240198"/>
                <a:gd name="connsiteY4066" fmla="*/ 1161370 h 1729012"/>
                <a:gd name="connsiteX4067" fmla="*/ 1809219 w 2240198"/>
                <a:gd name="connsiteY4067" fmla="*/ 1159923 h 1729012"/>
                <a:gd name="connsiteX4068" fmla="*/ 1816031 w 2240198"/>
                <a:gd name="connsiteY4068" fmla="*/ 1155367 h 1729012"/>
                <a:gd name="connsiteX4069" fmla="*/ 1818840 w 2240198"/>
                <a:gd name="connsiteY4069" fmla="*/ 1154131 h 1729012"/>
                <a:gd name="connsiteX4070" fmla="*/ 1821314 w 2240198"/>
                <a:gd name="connsiteY4070" fmla="*/ 1153657 h 1729012"/>
                <a:gd name="connsiteX4071" fmla="*/ 1824101 w 2240198"/>
                <a:gd name="connsiteY4071" fmla="*/ 1153598 h 1729012"/>
                <a:gd name="connsiteX4072" fmla="*/ 1827197 w 2240198"/>
                <a:gd name="connsiteY4072" fmla="*/ 1153945 h 1729012"/>
                <a:gd name="connsiteX4073" fmla="*/ 1833366 w 2240198"/>
                <a:gd name="connsiteY4073" fmla="*/ 1153362 h 1729012"/>
                <a:gd name="connsiteX4074" fmla="*/ 1834910 w 2240198"/>
                <a:gd name="connsiteY4074" fmla="*/ 1153797 h 1729012"/>
                <a:gd name="connsiteX4075" fmla="*/ 1836797 w 2240198"/>
                <a:gd name="connsiteY4075" fmla="*/ 1154802 h 1729012"/>
                <a:gd name="connsiteX4076" fmla="*/ 1839028 w 2240198"/>
                <a:gd name="connsiteY4076" fmla="*/ 1156382 h 1729012"/>
                <a:gd name="connsiteX4077" fmla="*/ 1840564 w 2240198"/>
                <a:gd name="connsiteY4077" fmla="*/ 1157899 h 1729012"/>
                <a:gd name="connsiteX4078" fmla="*/ 1841405 w 2240198"/>
                <a:gd name="connsiteY4078" fmla="*/ 1159356 h 1729012"/>
                <a:gd name="connsiteX4079" fmla="*/ 1842792 w 2240198"/>
                <a:gd name="connsiteY4079" fmla="*/ 1164856 h 1729012"/>
                <a:gd name="connsiteX4080" fmla="*/ 1844656 w 2240198"/>
                <a:gd name="connsiteY4080" fmla="*/ 1166294 h 1729012"/>
                <a:gd name="connsiteX4081" fmla="*/ 1845107 w 2240198"/>
                <a:gd name="connsiteY4081" fmla="*/ 1167349 h 1729012"/>
                <a:gd name="connsiteX4082" fmla="*/ 1845253 w 2240198"/>
                <a:gd name="connsiteY4082" fmla="*/ 1168964 h 1729012"/>
                <a:gd name="connsiteX4083" fmla="*/ 1845140 w 2240198"/>
                <a:gd name="connsiteY4083" fmla="*/ 1172123 h 1729012"/>
                <a:gd name="connsiteX4084" fmla="*/ 1843090 w 2240198"/>
                <a:gd name="connsiteY4084" fmla="*/ 1178488 h 1729012"/>
                <a:gd name="connsiteX4085" fmla="*/ 1842029 w 2240198"/>
                <a:gd name="connsiteY4085" fmla="*/ 1180836 h 1729012"/>
                <a:gd name="connsiteX4086" fmla="*/ 1839198 w 2240198"/>
                <a:gd name="connsiteY4086" fmla="*/ 1184037 h 1729012"/>
                <a:gd name="connsiteX4087" fmla="*/ 1835935 w 2240198"/>
                <a:gd name="connsiteY4087" fmla="*/ 1185489 h 1729012"/>
                <a:gd name="connsiteX4088" fmla="*/ 1830131 w 2240198"/>
                <a:gd name="connsiteY4088" fmla="*/ 1186850 h 1729012"/>
                <a:gd name="connsiteX4089" fmla="*/ 1827101 w 2240198"/>
                <a:gd name="connsiteY4089" fmla="*/ 1187992 h 1729012"/>
                <a:gd name="connsiteX4090" fmla="*/ 1824815 w 2240198"/>
                <a:gd name="connsiteY4090" fmla="*/ 1189563 h 1729012"/>
                <a:gd name="connsiteX4091" fmla="*/ 1824679 w 2240198"/>
                <a:gd name="connsiteY4091" fmla="*/ 1190428 h 1729012"/>
                <a:gd name="connsiteX4092" fmla="*/ 1831268 w 2240198"/>
                <a:gd name="connsiteY4092" fmla="*/ 1187733 h 1729012"/>
                <a:gd name="connsiteX4093" fmla="*/ 1838516 w 2240198"/>
                <a:gd name="connsiteY4093" fmla="*/ 1186415 h 1729012"/>
                <a:gd name="connsiteX4094" fmla="*/ 1840583 w 2240198"/>
                <a:gd name="connsiteY4094" fmla="*/ 1184941 h 1729012"/>
                <a:gd name="connsiteX4095" fmla="*/ 1842148 w 2240198"/>
                <a:gd name="connsiteY4095" fmla="*/ 1183507 h 1729012"/>
                <a:gd name="connsiteX4096" fmla="*/ 1843739 w 2240198"/>
                <a:gd name="connsiteY4096" fmla="*/ 1180303 h 1729012"/>
                <a:gd name="connsiteX4097" fmla="*/ 1846619 w 2240198"/>
                <a:gd name="connsiteY4097" fmla="*/ 1171998 h 1729012"/>
                <a:gd name="connsiteX4098" fmla="*/ 1848254 w 2240198"/>
                <a:gd name="connsiteY4098" fmla="*/ 1169380 h 1729012"/>
                <a:gd name="connsiteX4099" fmla="*/ 1850536 w 2240198"/>
                <a:gd name="connsiteY4099" fmla="*/ 1168937 h 1729012"/>
                <a:gd name="connsiteX4100" fmla="*/ 1851547 w 2240198"/>
                <a:gd name="connsiteY4100" fmla="*/ 1169828 h 1729012"/>
                <a:gd name="connsiteX4101" fmla="*/ 1853915 w 2240198"/>
                <a:gd name="connsiteY4101" fmla="*/ 1174704 h 1729012"/>
                <a:gd name="connsiteX4102" fmla="*/ 1853903 w 2240198"/>
                <a:gd name="connsiteY4102" fmla="*/ 1175947 h 1729012"/>
                <a:gd name="connsiteX4103" fmla="*/ 1853316 w 2240198"/>
                <a:gd name="connsiteY4103" fmla="*/ 1177000 h 1729012"/>
                <a:gd name="connsiteX4104" fmla="*/ 1849450 w 2240198"/>
                <a:gd name="connsiteY4104" fmla="*/ 1181730 h 1729012"/>
                <a:gd name="connsiteX4105" fmla="*/ 1850842 w 2240198"/>
                <a:gd name="connsiteY4105" fmla="*/ 1181248 h 1729012"/>
                <a:gd name="connsiteX4106" fmla="*/ 1854725 w 2240198"/>
                <a:gd name="connsiteY4106" fmla="*/ 1176801 h 1729012"/>
                <a:gd name="connsiteX4107" fmla="*/ 1855550 w 2240198"/>
                <a:gd name="connsiteY4107" fmla="*/ 1175412 h 1729012"/>
                <a:gd name="connsiteX4108" fmla="*/ 1856008 w 2240198"/>
                <a:gd name="connsiteY4108" fmla="*/ 1173370 h 1729012"/>
                <a:gd name="connsiteX4109" fmla="*/ 1857258 w 2240198"/>
                <a:gd name="connsiteY4109" fmla="*/ 1171924 h 1729012"/>
                <a:gd name="connsiteX4110" fmla="*/ 1857737 w 2240198"/>
                <a:gd name="connsiteY4110" fmla="*/ 1172632 h 1729012"/>
                <a:gd name="connsiteX4111" fmla="*/ 1858938 w 2240198"/>
                <a:gd name="connsiteY4111" fmla="*/ 1177864 h 1729012"/>
                <a:gd name="connsiteX4112" fmla="*/ 1858976 w 2240198"/>
                <a:gd name="connsiteY4112" fmla="*/ 1181683 h 1729012"/>
                <a:gd name="connsiteX4113" fmla="*/ 1859170 w 2240198"/>
                <a:gd name="connsiteY4113" fmla="*/ 1182907 h 1729012"/>
                <a:gd name="connsiteX4114" fmla="*/ 1858736 w 2240198"/>
                <a:gd name="connsiteY4114" fmla="*/ 1186523 h 1729012"/>
                <a:gd name="connsiteX4115" fmla="*/ 1859228 w 2240198"/>
                <a:gd name="connsiteY4115" fmla="*/ 1187171 h 1729012"/>
                <a:gd name="connsiteX4116" fmla="*/ 1860396 w 2240198"/>
                <a:gd name="connsiteY4116" fmla="*/ 1184044 h 1729012"/>
                <a:gd name="connsiteX4117" fmla="*/ 1860776 w 2240198"/>
                <a:gd name="connsiteY4117" fmla="*/ 1181680 h 1729012"/>
                <a:gd name="connsiteX4118" fmla="*/ 1861305 w 2240198"/>
                <a:gd name="connsiteY4118" fmla="*/ 1179992 h 1729012"/>
                <a:gd name="connsiteX4119" fmla="*/ 1861983 w 2240198"/>
                <a:gd name="connsiteY4119" fmla="*/ 1178984 h 1729012"/>
                <a:gd name="connsiteX4120" fmla="*/ 1866740 w 2240198"/>
                <a:gd name="connsiteY4120" fmla="*/ 1175790 h 1729012"/>
                <a:gd name="connsiteX4121" fmla="*/ 1872297 w 2240198"/>
                <a:gd name="connsiteY4121" fmla="*/ 1173189 h 1729012"/>
                <a:gd name="connsiteX4122" fmla="*/ 1875934 w 2240198"/>
                <a:gd name="connsiteY4122" fmla="*/ 1170876 h 1729012"/>
                <a:gd name="connsiteX4123" fmla="*/ 1878952 w 2240198"/>
                <a:gd name="connsiteY4123" fmla="*/ 1169771 h 1729012"/>
                <a:gd name="connsiteX4124" fmla="*/ 1883471 w 2240198"/>
                <a:gd name="connsiteY4124" fmla="*/ 1168725 h 1729012"/>
                <a:gd name="connsiteX4125" fmla="*/ 1886368 w 2240198"/>
                <a:gd name="connsiteY4125" fmla="*/ 1166580 h 1729012"/>
                <a:gd name="connsiteX4126" fmla="*/ 1887642 w 2240198"/>
                <a:gd name="connsiteY4126" fmla="*/ 1163326 h 1729012"/>
                <a:gd name="connsiteX4127" fmla="*/ 1888723 w 2240198"/>
                <a:gd name="connsiteY4127" fmla="*/ 1161073 h 1729012"/>
                <a:gd name="connsiteX4128" fmla="*/ 1889612 w 2240198"/>
                <a:gd name="connsiteY4128" fmla="*/ 1159825 h 1729012"/>
                <a:gd name="connsiteX4129" fmla="*/ 1892593 w 2240198"/>
                <a:gd name="connsiteY4129" fmla="*/ 1157585 h 1729012"/>
                <a:gd name="connsiteX4130" fmla="*/ 1894212 w 2240198"/>
                <a:gd name="connsiteY4130" fmla="*/ 1157459 h 1729012"/>
                <a:gd name="connsiteX4131" fmla="*/ 1895763 w 2240198"/>
                <a:gd name="connsiteY4131" fmla="*/ 1158286 h 1729012"/>
                <a:gd name="connsiteX4132" fmla="*/ 1897517 w 2240198"/>
                <a:gd name="connsiteY4132" fmla="*/ 1159966 h 1729012"/>
                <a:gd name="connsiteX4133" fmla="*/ 1899477 w 2240198"/>
                <a:gd name="connsiteY4133" fmla="*/ 1162495 h 1729012"/>
                <a:gd name="connsiteX4134" fmla="*/ 1900651 w 2240198"/>
                <a:gd name="connsiteY4134" fmla="*/ 1164478 h 1729012"/>
                <a:gd name="connsiteX4135" fmla="*/ 1901033 w 2240198"/>
                <a:gd name="connsiteY4135" fmla="*/ 1165917 h 1729012"/>
                <a:gd name="connsiteX4136" fmla="*/ 1901351 w 2240198"/>
                <a:gd name="connsiteY4136" fmla="*/ 1170954 h 1729012"/>
                <a:gd name="connsiteX4137" fmla="*/ 1901722 w 2240198"/>
                <a:gd name="connsiteY4137" fmla="*/ 1170939 h 1729012"/>
                <a:gd name="connsiteX4138" fmla="*/ 1903526 w 2240198"/>
                <a:gd name="connsiteY4138" fmla="*/ 1167093 h 1729012"/>
                <a:gd name="connsiteX4139" fmla="*/ 1903738 w 2240198"/>
                <a:gd name="connsiteY4139" fmla="*/ 1165725 h 1729012"/>
                <a:gd name="connsiteX4140" fmla="*/ 1903610 w 2240198"/>
                <a:gd name="connsiteY4140" fmla="*/ 1164280 h 1729012"/>
                <a:gd name="connsiteX4141" fmla="*/ 1903059 w 2240198"/>
                <a:gd name="connsiteY4141" fmla="*/ 1162835 h 1729012"/>
                <a:gd name="connsiteX4142" fmla="*/ 1901243 w 2240198"/>
                <a:gd name="connsiteY4142" fmla="*/ 1159682 h 1729012"/>
                <a:gd name="connsiteX4143" fmla="*/ 1900531 w 2240198"/>
                <a:gd name="connsiteY4143" fmla="*/ 1157706 h 1729012"/>
                <a:gd name="connsiteX4144" fmla="*/ 1900690 w 2240198"/>
                <a:gd name="connsiteY4144" fmla="*/ 1156486 h 1729012"/>
                <a:gd name="connsiteX4145" fmla="*/ 1902619 w 2240198"/>
                <a:gd name="connsiteY4145" fmla="*/ 1155796 h 1729012"/>
                <a:gd name="connsiteX4146" fmla="*/ 1905464 w 2240198"/>
                <a:gd name="connsiteY4146" fmla="*/ 1155519 h 1729012"/>
                <a:gd name="connsiteX4147" fmla="*/ 1905942 w 2240198"/>
                <a:gd name="connsiteY4147" fmla="*/ 1155003 h 1729012"/>
                <a:gd name="connsiteX4148" fmla="*/ 1903852 w 2240198"/>
                <a:gd name="connsiteY4148" fmla="*/ 1153695 h 1729012"/>
                <a:gd name="connsiteX4149" fmla="*/ 1903793 w 2240198"/>
                <a:gd name="connsiteY4149" fmla="*/ 1152986 h 1729012"/>
                <a:gd name="connsiteX4150" fmla="*/ 1905804 w 2240198"/>
                <a:gd name="connsiteY4150" fmla="*/ 1150658 h 1729012"/>
                <a:gd name="connsiteX4151" fmla="*/ 1906986 w 2240198"/>
                <a:gd name="connsiteY4151" fmla="*/ 1150531 h 1729012"/>
                <a:gd name="connsiteX4152" fmla="*/ 1909300 w 2240198"/>
                <a:gd name="connsiteY4152" fmla="*/ 1150899 h 1729012"/>
                <a:gd name="connsiteX4153" fmla="*/ 1908834 w 2240198"/>
                <a:gd name="connsiteY4153" fmla="*/ 1149706 h 1729012"/>
                <a:gd name="connsiteX4154" fmla="*/ 1908857 w 2240198"/>
                <a:gd name="connsiteY4154" fmla="*/ 1148915 h 1729012"/>
                <a:gd name="connsiteX4155" fmla="*/ 1909510 w 2240198"/>
                <a:gd name="connsiteY4155" fmla="*/ 1148607 h 1729012"/>
                <a:gd name="connsiteX4156" fmla="*/ 1913345 w 2240198"/>
                <a:gd name="connsiteY4156" fmla="*/ 1149360 h 1729012"/>
                <a:gd name="connsiteX4157" fmla="*/ 1913794 w 2240198"/>
                <a:gd name="connsiteY4157" fmla="*/ 1148450 h 1729012"/>
                <a:gd name="connsiteX4158" fmla="*/ 1917092 w 2240198"/>
                <a:gd name="connsiteY4158" fmla="*/ 1148368 h 1729012"/>
                <a:gd name="connsiteX4159" fmla="*/ 1917414 w 2240198"/>
                <a:gd name="connsiteY4159" fmla="*/ 1147554 h 1729012"/>
                <a:gd name="connsiteX4160" fmla="*/ 1914562 w 2240198"/>
                <a:gd name="connsiteY4160" fmla="*/ 1146393 h 1729012"/>
                <a:gd name="connsiteX4161" fmla="*/ 1911766 w 2240198"/>
                <a:gd name="connsiteY4161" fmla="*/ 1145667 h 1729012"/>
                <a:gd name="connsiteX4162" fmla="*/ 1910915 w 2240198"/>
                <a:gd name="connsiteY4162" fmla="*/ 1145032 h 1729012"/>
                <a:gd name="connsiteX4163" fmla="*/ 1910261 w 2240198"/>
                <a:gd name="connsiteY4163" fmla="*/ 1144095 h 1729012"/>
                <a:gd name="connsiteX4164" fmla="*/ 1909389 w 2240198"/>
                <a:gd name="connsiteY4164" fmla="*/ 1141829 h 1729012"/>
                <a:gd name="connsiteX4165" fmla="*/ 1909600 w 2240198"/>
                <a:gd name="connsiteY4165" fmla="*/ 1141227 h 1729012"/>
                <a:gd name="connsiteX4166" fmla="*/ 1910384 w 2240198"/>
                <a:gd name="connsiteY4166" fmla="*/ 1141216 h 1729012"/>
                <a:gd name="connsiteX4167" fmla="*/ 1911744 w 2240198"/>
                <a:gd name="connsiteY4167" fmla="*/ 1141836 h 1729012"/>
                <a:gd name="connsiteX4168" fmla="*/ 1912483 w 2240198"/>
                <a:gd name="connsiteY4168" fmla="*/ 1140643 h 1729012"/>
                <a:gd name="connsiteX4169" fmla="*/ 1913312 w 2240198"/>
                <a:gd name="connsiteY4169" fmla="*/ 1137842 h 1729012"/>
                <a:gd name="connsiteX4170" fmla="*/ 1914137 w 2240198"/>
                <a:gd name="connsiteY4170" fmla="*/ 1136691 h 1729012"/>
                <a:gd name="connsiteX4171" fmla="*/ 1916699 w 2240198"/>
                <a:gd name="connsiteY4171" fmla="*/ 1138019 h 1729012"/>
                <a:gd name="connsiteX4172" fmla="*/ 1916812 w 2240198"/>
                <a:gd name="connsiteY4172" fmla="*/ 1137448 h 1729012"/>
                <a:gd name="connsiteX4173" fmla="*/ 1914731 w 2240198"/>
                <a:gd name="connsiteY4173" fmla="*/ 1133036 h 1729012"/>
                <a:gd name="connsiteX4174" fmla="*/ 1915093 w 2240198"/>
                <a:gd name="connsiteY4174" fmla="*/ 1132188 h 1729012"/>
                <a:gd name="connsiteX4175" fmla="*/ 1918272 w 2240198"/>
                <a:gd name="connsiteY4175" fmla="*/ 1131868 h 1729012"/>
                <a:gd name="connsiteX4176" fmla="*/ 1920197 w 2240198"/>
                <a:gd name="connsiteY4176" fmla="*/ 1132420 h 1729012"/>
                <a:gd name="connsiteX4177" fmla="*/ 1925254 w 2240198"/>
                <a:gd name="connsiteY4177" fmla="*/ 1135655 h 1729012"/>
                <a:gd name="connsiteX4178" fmla="*/ 1926169 w 2240198"/>
                <a:gd name="connsiteY4178" fmla="*/ 1135284 h 1729012"/>
                <a:gd name="connsiteX4179" fmla="*/ 1925393 w 2240198"/>
                <a:gd name="connsiteY4179" fmla="*/ 1134398 h 1729012"/>
                <a:gd name="connsiteX4180" fmla="*/ 1922805 w 2240198"/>
                <a:gd name="connsiteY4180" fmla="*/ 1132491 h 1729012"/>
                <a:gd name="connsiteX4181" fmla="*/ 1920465 w 2240198"/>
                <a:gd name="connsiteY4181" fmla="*/ 1131242 h 1729012"/>
                <a:gd name="connsiteX4182" fmla="*/ 1918378 w 2240198"/>
                <a:gd name="connsiteY4182" fmla="*/ 1130657 h 1729012"/>
                <a:gd name="connsiteX4183" fmla="*/ 1916808 w 2240198"/>
                <a:gd name="connsiteY4183" fmla="*/ 1129592 h 1729012"/>
                <a:gd name="connsiteX4184" fmla="*/ 1915089 w 2240198"/>
                <a:gd name="connsiteY4184" fmla="*/ 1126676 h 1729012"/>
                <a:gd name="connsiteX4185" fmla="*/ 1914804 w 2240198"/>
                <a:gd name="connsiteY4185" fmla="*/ 1125474 h 1729012"/>
                <a:gd name="connsiteX4186" fmla="*/ 1914946 w 2240198"/>
                <a:gd name="connsiteY4186" fmla="*/ 1123908 h 1729012"/>
                <a:gd name="connsiteX4187" fmla="*/ 1916150 w 2240198"/>
                <a:gd name="connsiteY4187" fmla="*/ 1120652 h 1729012"/>
                <a:gd name="connsiteX4188" fmla="*/ 1916840 w 2240198"/>
                <a:gd name="connsiteY4188" fmla="*/ 1119946 h 1729012"/>
                <a:gd name="connsiteX4189" fmla="*/ 1918064 w 2240198"/>
                <a:gd name="connsiteY4189" fmla="*/ 1119422 h 1729012"/>
                <a:gd name="connsiteX4190" fmla="*/ 1919816 w 2240198"/>
                <a:gd name="connsiteY4190" fmla="*/ 1119082 h 1729012"/>
                <a:gd name="connsiteX4191" fmla="*/ 1921756 w 2240198"/>
                <a:gd name="connsiteY4191" fmla="*/ 1119405 h 1729012"/>
                <a:gd name="connsiteX4192" fmla="*/ 1925757 w 2240198"/>
                <a:gd name="connsiteY4192" fmla="*/ 1121548 h 1729012"/>
                <a:gd name="connsiteX4193" fmla="*/ 1926425 w 2240198"/>
                <a:gd name="connsiteY4193" fmla="*/ 1120871 h 1729012"/>
                <a:gd name="connsiteX4194" fmla="*/ 1924267 w 2240198"/>
                <a:gd name="connsiteY4194" fmla="*/ 1119704 h 1729012"/>
                <a:gd name="connsiteX4195" fmla="*/ 1923102 w 2240198"/>
                <a:gd name="connsiteY4195" fmla="*/ 1118626 h 1729012"/>
                <a:gd name="connsiteX4196" fmla="*/ 1922540 w 2240198"/>
                <a:gd name="connsiteY4196" fmla="*/ 1117245 h 1729012"/>
                <a:gd name="connsiteX4197" fmla="*/ 1922784 w 2240198"/>
                <a:gd name="connsiteY4197" fmla="*/ 1115681 h 1729012"/>
                <a:gd name="connsiteX4198" fmla="*/ 1924480 w 2240198"/>
                <a:gd name="connsiteY4198" fmla="*/ 1112447 h 1729012"/>
                <a:gd name="connsiteX4199" fmla="*/ 1925278 w 2240198"/>
                <a:gd name="connsiteY4199" fmla="*/ 1109840 h 1729012"/>
                <a:gd name="connsiteX4200" fmla="*/ 1928882 w 2240198"/>
                <a:gd name="connsiteY4200" fmla="*/ 1102629 h 1729012"/>
                <a:gd name="connsiteX4201" fmla="*/ 1929939 w 2240198"/>
                <a:gd name="connsiteY4201" fmla="*/ 1101316 h 1729012"/>
                <a:gd name="connsiteX4202" fmla="*/ 1931069 w 2240198"/>
                <a:gd name="connsiteY4202" fmla="*/ 1100487 h 1729012"/>
                <a:gd name="connsiteX4203" fmla="*/ 1931771 w 2240198"/>
                <a:gd name="connsiteY4203" fmla="*/ 1099620 h 1729012"/>
                <a:gd name="connsiteX4204" fmla="*/ 1934597 w 2240198"/>
                <a:gd name="connsiteY4204" fmla="*/ 1099426 h 1729012"/>
                <a:gd name="connsiteX4205" fmla="*/ 1939832 w 2240198"/>
                <a:gd name="connsiteY4205" fmla="*/ 1102011 h 1729012"/>
                <a:gd name="connsiteX4206" fmla="*/ 1941432 w 2240198"/>
                <a:gd name="connsiteY4206" fmla="*/ 1103537 h 1729012"/>
                <a:gd name="connsiteX4207" fmla="*/ 1941856 w 2240198"/>
                <a:gd name="connsiteY4207" fmla="*/ 1105694 h 1729012"/>
                <a:gd name="connsiteX4208" fmla="*/ 1939114 w 2240198"/>
                <a:gd name="connsiteY4208" fmla="*/ 1108613 h 1729012"/>
                <a:gd name="connsiteX4209" fmla="*/ 1934409 w 2240198"/>
                <a:gd name="connsiteY4209" fmla="*/ 1110789 h 1729012"/>
                <a:gd name="connsiteX4210" fmla="*/ 1933010 w 2240198"/>
                <a:gd name="connsiteY4210" fmla="*/ 1111739 h 1729012"/>
                <a:gd name="connsiteX4211" fmla="*/ 1933920 w 2240198"/>
                <a:gd name="connsiteY4211" fmla="*/ 1112290 h 1729012"/>
                <a:gd name="connsiteX4212" fmla="*/ 1938316 w 2240198"/>
                <a:gd name="connsiteY4212" fmla="*/ 1110552 h 1729012"/>
                <a:gd name="connsiteX4213" fmla="*/ 1942158 w 2240198"/>
                <a:gd name="connsiteY4213" fmla="*/ 1109741 h 1729012"/>
                <a:gd name="connsiteX4214" fmla="*/ 1945307 w 2240198"/>
                <a:gd name="connsiteY4214" fmla="*/ 1109769 h 1729012"/>
                <a:gd name="connsiteX4215" fmla="*/ 1947858 w 2240198"/>
                <a:gd name="connsiteY4215" fmla="*/ 1113223 h 1729012"/>
                <a:gd name="connsiteX4216" fmla="*/ 1948215 w 2240198"/>
                <a:gd name="connsiteY4216" fmla="*/ 1118007 h 1729012"/>
                <a:gd name="connsiteX4217" fmla="*/ 1946757 w 2240198"/>
                <a:gd name="connsiteY4217" fmla="*/ 1121985 h 1729012"/>
                <a:gd name="connsiteX4218" fmla="*/ 1948675 w 2240198"/>
                <a:gd name="connsiteY4218" fmla="*/ 1120007 h 1729012"/>
                <a:gd name="connsiteX4219" fmla="*/ 1951073 w 2240198"/>
                <a:gd name="connsiteY4219" fmla="*/ 1118913 h 1729012"/>
                <a:gd name="connsiteX4220" fmla="*/ 1953036 w 2240198"/>
                <a:gd name="connsiteY4220" fmla="*/ 1121513 h 1729012"/>
                <a:gd name="connsiteX4221" fmla="*/ 1953269 w 2240198"/>
                <a:gd name="connsiteY4221" fmla="*/ 1123630 h 1729012"/>
                <a:gd name="connsiteX4222" fmla="*/ 1954300 w 2240198"/>
                <a:gd name="connsiteY4222" fmla="*/ 1125616 h 1729012"/>
                <a:gd name="connsiteX4223" fmla="*/ 1956520 w 2240198"/>
                <a:gd name="connsiteY4223" fmla="*/ 1128272 h 1729012"/>
                <a:gd name="connsiteX4224" fmla="*/ 1958830 w 2240198"/>
                <a:gd name="connsiteY4224" fmla="*/ 1130598 h 1729012"/>
                <a:gd name="connsiteX4225" fmla="*/ 1956289 w 2240198"/>
                <a:gd name="connsiteY4225" fmla="*/ 1133035 h 1729012"/>
                <a:gd name="connsiteX4226" fmla="*/ 1953238 w 2240198"/>
                <a:gd name="connsiteY4226" fmla="*/ 1134489 h 1729012"/>
                <a:gd name="connsiteX4227" fmla="*/ 1953878 w 2240198"/>
                <a:gd name="connsiteY4227" fmla="*/ 1135573 h 1729012"/>
                <a:gd name="connsiteX4228" fmla="*/ 1958052 w 2240198"/>
                <a:gd name="connsiteY4228" fmla="*/ 1136734 h 1729012"/>
                <a:gd name="connsiteX4229" fmla="*/ 1958617 w 2240198"/>
                <a:gd name="connsiteY4229" fmla="*/ 1137882 h 1729012"/>
                <a:gd name="connsiteX4230" fmla="*/ 1958179 w 2240198"/>
                <a:gd name="connsiteY4230" fmla="*/ 1139438 h 1729012"/>
                <a:gd name="connsiteX4231" fmla="*/ 1958784 w 2240198"/>
                <a:gd name="connsiteY4231" fmla="*/ 1139431 h 1729012"/>
                <a:gd name="connsiteX4232" fmla="*/ 1961688 w 2240198"/>
                <a:gd name="connsiteY4232" fmla="*/ 1137026 h 1729012"/>
                <a:gd name="connsiteX4233" fmla="*/ 1964162 w 2240198"/>
                <a:gd name="connsiteY4233" fmla="*/ 1137349 h 1729012"/>
                <a:gd name="connsiteX4234" fmla="*/ 1967325 w 2240198"/>
                <a:gd name="connsiteY4234" fmla="*/ 1142537 h 1729012"/>
                <a:gd name="connsiteX4235" fmla="*/ 1965016 w 2240198"/>
                <a:gd name="connsiteY4235" fmla="*/ 1145501 h 1729012"/>
                <a:gd name="connsiteX4236" fmla="*/ 1961485 w 2240198"/>
                <a:gd name="connsiteY4236" fmla="*/ 1146856 h 1729012"/>
                <a:gd name="connsiteX4237" fmla="*/ 1958673 w 2240198"/>
                <a:gd name="connsiteY4237" fmla="*/ 1147433 h 1729012"/>
                <a:gd name="connsiteX4238" fmla="*/ 1954765 w 2240198"/>
                <a:gd name="connsiteY4238" fmla="*/ 1147354 h 1729012"/>
                <a:gd name="connsiteX4239" fmla="*/ 1953227 w 2240198"/>
                <a:gd name="connsiteY4239" fmla="*/ 1147794 h 1729012"/>
                <a:gd name="connsiteX4240" fmla="*/ 1953991 w 2240198"/>
                <a:gd name="connsiteY4240" fmla="*/ 1148780 h 1729012"/>
                <a:gd name="connsiteX4241" fmla="*/ 1957728 w 2240198"/>
                <a:gd name="connsiteY4241" fmla="*/ 1148795 h 1729012"/>
                <a:gd name="connsiteX4242" fmla="*/ 1963452 w 2240198"/>
                <a:gd name="connsiteY4242" fmla="*/ 1148047 h 1729012"/>
                <a:gd name="connsiteX4243" fmla="*/ 1967735 w 2240198"/>
                <a:gd name="connsiteY4243" fmla="*/ 1146828 h 1729012"/>
                <a:gd name="connsiteX4244" fmla="*/ 1969598 w 2240198"/>
                <a:gd name="connsiteY4244" fmla="*/ 1146756 h 1729012"/>
                <a:gd name="connsiteX4245" fmla="*/ 1971553 w 2240198"/>
                <a:gd name="connsiteY4245" fmla="*/ 1147252 h 1729012"/>
                <a:gd name="connsiteX4246" fmla="*/ 1972210 w 2240198"/>
                <a:gd name="connsiteY4246" fmla="*/ 1147668 h 1729012"/>
                <a:gd name="connsiteX4247" fmla="*/ 1970150 w 2240198"/>
                <a:gd name="connsiteY4247" fmla="*/ 1148518 h 1729012"/>
                <a:gd name="connsiteX4248" fmla="*/ 1969994 w 2240198"/>
                <a:gd name="connsiteY4248" fmla="*/ 1148815 h 1729012"/>
                <a:gd name="connsiteX4249" fmla="*/ 1970766 w 2240198"/>
                <a:gd name="connsiteY4249" fmla="*/ 1149684 h 1729012"/>
                <a:gd name="connsiteX4250" fmla="*/ 1972365 w 2240198"/>
                <a:gd name="connsiteY4250" fmla="*/ 1152489 h 1729012"/>
                <a:gd name="connsiteX4251" fmla="*/ 1972225 w 2240198"/>
                <a:gd name="connsiteY4251" fmla="*/ 1153120 h 1729012"/>
                <a:gd name="connsiteX4252" fmla="*/ 1970698 w 2240198"/>
                <a:gd name="connsiteY4252" fmla="*/ 1154747 h 1729012"/>
                <a:gd name="connsiteX4253" fmla="*/ 1973152 w 2240198"/>
                <a:gd name="connsiteY4253" fmla="*/ 1155105 h 1729012"/>
                <a:gd name="connsiteX4254" fmla="*/ 1976577 w 2240198"/>
                <a:gd name="connsiteY4254" fmla="*/ 1154345 h 1729012"/>
                <a:gd name="connsiteX4255" fmla="*/ 1977640 w 2240198"/>
                <a:gd name="connsiteY4255" fmla="*/ 1155193 h 1729012"/>
                <a:gd name="connsiteX4256" fmla="*/ 1979727 w 2240198"/>
                <a:gd name="connsiteY4256" fmla="*/ 1158556 h 1729012"/>
                <a:gd name="connsiteX4257" fmla="*/ 1981050 w 2240198"/>
                <a:gd name="connsiteY4257" fmla="*/ 1161996 h 1729012"/>
                <a:gd name="connsiteX4258" fmla="*/ 1975257 w 2240198"/>
                <a:gd name="connsiteY4258" fmla="*/ 1166698 h 1729012"/>
                <a:gd name="connsiteX4259" fmla="*/ 1972307 w 2240198"/>
                <a:gd name="connsiteY4259" fmla="*/ 1167669 h 1729012"/>
                <a:gd name="connsiteX4260" fmla="*/ 1967965 w 2240198"/>
                <a:gd name="connsiteY4260" fmla="*/ 1170150 h 1729012"/>
                <a:gd name="connsiteX4261" fmla="*/ 1966747 w 2240198"/>
                <a:gd name="connsiteY4261" fmla="*/ 1172138 h 1729012"/>
                <a:gd name="connsiteX4262" fmla="*/ 1964234 w 2240198"/>
                <a:gd name="connsiteY4262" fmla="*/ 1174685 h 1729012"/>
                <a:gd name="connsiteX4263" fmla="*/ 1965842 w 2240198"/>
                <a:gd name="connsiteY4263" fmla="*/ 1174657 h 1729012"/>
                <a:gd name="connsiteX4264" fmla="*/ 1970334 w 2240198"/>
                <a:gd name="connsiteY4264" fmla="*/ 1170569 h 1729012"/>
                <a:gd name="connsiteX4265" fmla="*/ 1972527 w 2240198"/>
                <a:gd name="connsiteY4265" fmla="*/ 1169617 h 1729012"/>
                <a:gd name="connsiteX4266" fmla="*/ 1974163 w 2240198"/>
                <a:gd name="connsiteY4266" fmla="*/ 1169857 h 1729012"/>
                <a:gd name="connsiteX4267" fmla="*/ 1974821 w 2240198"/>
                <a:gd name="connsiteY4267" fmla="*/ 1170549 h 1729012"/>
                <a:gd name="connsiteX4268" fmla="*/ 1974501 w 2240198"/>
                <a:gd name="connsiteY4268" fmla="*/ 1171693 h 1729012"/>
                <a:gd name="connsiteX4269" fmla="*/ 1975932 w 2240198"/>
                <a:gd name="connsiteY4269" fmla="*/ 1171547 h 1729012"/>
                <a:gd name="connsiteX4270" fmla="*/ 1981974 w 2240198"/>
                <a:gd name="connsiteY4270" fmla="*/ 1169156 h 1729012"/>
                <a:gd name="connsiteX4271" fmla="*/ 1984513 w 2240198"/>
                <a:gd name="connsiteY4271" fmla="*/ 1168681 h 1729012"/>
                <a:gd name="connsiteX4272" fmla="*/ 1987795 w 2240198"/>
                <a:gd name="connsiteY4272" fmla="*/ 1168527 h 1729012"/>
                <a:gd name="connsiteX4273" fmla="*/ 1988150 w 2240198"/>
                <a:gd name="connsiteY4273" fmla="*/ 1169355 h 1729012"/>
                <a:gd name="connsiteX4274" fmla="*/ 1986110 w 2240198"/>
                <a:gd name="connsiteY4274" fmla="*/ 1175081 h 1729012"/>
                <a:gd name="connsiteX4275" fmla="*/ 1982617 w 2240198"/>
                <a:gd name="connsiteY4275" fmla="*/ 1179466 h 1729012"/>
                <a:gd name="connsiteX4276" fmla="*/ 1976259 w 2240198"/>
                <a:gd name="connsiteY4276" fmla="*/ 1182167 h 1729012"/>
                <a:gd name="connsiteX4277" fmla="*/ 1974006 w 2240198"/>
                <a:gd name="connsiteY4277" fmla="*/ 1183748 h 1729012"/>
                <a:gd name="connsiteX4278" fmla="*/ 1971220 w 2240198"/>
                <a:gd name="connsiteY4278" fmla="*/ 1186304 h 1729012"/>
                <a:gd name="connsiteX4279" fmla="*/ 1972273 w 2240198"/>
                <a:gd name="connsiteY4279" fmla="*/ 1186765 h 1729012"/>
                <a:gd name="connsiteX4280" fmla="*/ 1978336 w 2240198"/>
                <a:gd name="connsiteY4280" fmla="*/ 1183411 h 1729012"/>
                <a:gd name="connsiteX4281" fmla="*/ 1982479 w 2240198"/>
                <a:gd name="connsiteY4281" fmla="*/ 1182088 h 1729012"/>
                <a:gd name="connsiteX4282" fmla="*/ 1988296 w 2240198"/>
                <a:gd name="connsiteY4282" fmla="*/ 1181025 h 1729012"/>
                <a:gd name="connsiteX4283" fmla="*/ 1990880 w 2240198"/>
                <a:gd name="connsiteY4283" fmla="*/ 1181174 h 1729012"/>
                <a:gd name="connsiteX4284" fmla="*/ 1995457 w 2240198"/>
                <a:gd name="connsiteY4284" fmla="*/ 1187864 h 1729012"/>
                <a:gd name="connsiteX4285" fmla="*/ 1998098 w 2240198"/>
                <a:gd name="connsiteY4285" fmla="*/ 1188512 h 1729012"/>
                <a:gd name="connsiteX4286" fmla="*/ 2000231 w 2240198"/>
                <a:gd name="connsiteY4286" fmla="*/ 1188164 h 1729012"/>
                <a:gd name="connsiteX4287" fmla="*/ 2004257 w 2240198"/>
                <a:gd name="connsiteY4287" fmla="*/ 1190087 h 1729012"/>
                <a:gd name="connsiteX4288" fmla="*/ 2005767 w 2240198"/>
                <a:gd name="connsiteY4288" fmla="*/ 1191938 h 1729012"/>
                <a:gd name="connsiteX4289" fmla="*/ 2005387 w 2240198"/>
                <a:gd name="connsiteY4289" fmla="*/ 1193269 h 1729012"/>
                <a:gd name="connsiteX4290" fmla="*/ 2004026 w 2240198"/>
                <a:gd name="connsiteY4290" fmla="*/ 1194066 h 1729012"/>
                <a:gd name="connsiteX4291" fmla="*/ 2003336 w 2240198"/>
                <a:gd name="connsiteY4291" fmla="*/ 1195308 h 1729012"/>
                <a:gd name="connsiteX4292" fmla="*/ 2004951 w 2240198"/>
                <a:gd name="connsiteY4292" fmla="*/ 1199002 h 1729012"/>
                <a:gd name="connsiteX4293" fmla="*/ 2004020 w 2240198"/>
                <a:gd name="connsiteY4293" fmla="*/ 1201074 h 1729012"/>
                <a:gd name="connsiteX4294" fmla="*/ 2001078 w 2240198"/>
                <a:gd name="connsiteY4294" fmla="*/ 1202901 h 1729012"/>
                <a:gd name="connsiteX4295" fmla="*/ 1998977 w 2240198"/>
                <a:gd name="connsiteY4295" fmla="*/ 1203827 h 1729012"/>
                <a:gd name="connsiteX4296" fmla="*/ 1996777 w 2240198"/>
                <a:gd name="connsiteY4296" fmla="*/ 1204112 h 1729012"/>
                <a:gd name="connsiteX4297" fmla="*/ 1994622 w 2240198"/>
                <a:gd name="connsiteY4297" fmla="*/ 1205727 h 1729012"/>
                <a:gd name="connsiteX4298" fmla="*/ 1993645 w 2240198"/>
                <a:gd name="connsiteY4298" fmla="*/ 1205966 h 1729012"/>
                <a:gd name="connsiteX4299" fmla="*/ 1990642 w 2240198"/>
                <a:gd name="connsiteY4299" fmla="*/ 1205557 h 1729012"/>
                <a:gd name="connsiteX4300" fmla="*/ 1991672 w 2240198"/>
                <a:gd name="connsiteY4300" fmla="*/ 1206550 h 1729012"/>
                <a:gd name="connsiteX4301" fmla="*/ 1993155 w 2240198"/>
                <a:gd name="connsiteY4301" fmla="*/ 1207053 h 1729012"/>
                <a:gd name="connsiteX4302" fmla="*/ 1995519 w 2240198"/>
                <a:gd name="connsiteY4302" fmla="*/ 1207327 h 1729012"/>
                <a:gd name="connsiteX4303" fmla="*/ 1998283 w 2240198"/>
                <a:gd name="connsiteY4303" fmla="*/ 1206819 h 1729012"/>
                <a:gd name="connsiteX4304" fmla="*/ 2000974 w 2240198"/>
                <a:gd name="connsiteY4304" fmla="*/ 1206883 h 1729012"/>
                <a:gd name="connsiteX4305" fmla="*/ 2005208 w 2240198"/>
                <a:gd name="connsiteY4305" fmla="*/ 1208052 h 1729012"/>
                <a:gd name="connsiteX4306" fmla="*/ 2006984 w 2240198"/>
                <a:gd name="connsiteY4306" fmla="*/ 1209491 h 1729012"/>
                <a:gd name="connsiteX4307" fmla="*/ 2007016 w 2240198"/>
                <a:gd name="connsiteY4307" fmla="*/ 1209888 h 1729012"/>
                <a:gd name="connsiteX4308" fmla="*/ 2006102 w 2240198"/>
                <a:gd name="connsiteY4308" fmla="*/ 1210710 h 1729012"/>
                <a:gd name="connsiteX4309" fmla="*/ 2004758 w 2240198"/>
                <a:gd name="connsiteY4309" fmla="*/ 1213385 h 1729012"/>
                <a:gd name="connsiteX4310" fmla="*/ 2003780 w 2240198"/>
                <a:gd name="connsiteY4310" fmla="*/ 1214346 h 1729012"/>
                <a:gd name="connsiteX4311" fmla="*/ 2004615 w 2240198"/>
                <a:gd name="connsiteY4311" fmla="*/ 1215066 h 1729012"/>
                <a:gd name="connsiteX4312" fmla="*/ 2006736 w 2240198"/>
                <a:gd name="connsiteY4312" fmla="*/ 1216177 h 1729012"/>
                <a:gd name="connsiteX4313" fmla="*/ 2008321 w 2240198"/>
                <a:gd name="connsiteY4313" fmla="*/ 1216589 h 1729012"/>
                <a:gd name="connsiteX4314" fmla="*/ 2010401 w 2240198"/>
                <a:gd name="connsiteY4314" fmla="*/ 1216228 h 1729012"/>
                <a:gd name="connsiteX4315" fmla="*/ 2012627 w 2240198"/>
                <a:gd name="connsiteY4315" fmla="*/ 1216701 h 1729012"/>
                <a:gd name="connsiteX4316" fmla="*/ 2020103 w 2240198"/>
                <a:gd name="connsiteY4316" fmla="*/ 1222964 h 1729012"/>
                <a:gd name="connsiteX4317" fmla="*/ 2019797 w 2240198"/>
                <a:gd name="connsiteY4317" fmla="*/ 1226188 h 1729012"/>
                <a:gd name="connsiteX4318" fmla="*/ 2018663 w 2240198"/>
                <a:gd name="connsiteY4318" fmla="*/ 1228671 h 1729012"/>
                <a:gd name="connsiteX4319" fmla="*/ 2019112 w 2240198"/>
                <a:gd name="connsiteY4319" fmla="*/ 1231459 h 1729012"/>
                <a:gd name="connsiteX4320" fmla="*/ 2019142 w 2240198"/>
                <a:gd name="connsiteY4320" fmla="*/ 1234890 h 1729012"/>
                <a:gd name="connsiteX4321" fmla="*/ 2015082 w 2240198"/>
                <a:gd name="connsiteY4321" fmla="*/ 1235834 h 1729012"/>
                <a:gd name="connsiteX4322" fmla="*/ 2001623 w 2240198"/>
                <a:gd name="connsiteY4322" fmla="*/ 1234230 h 1729012"/>
                <a:gd name="connsiteX4323" fmla="*/ 1993925 w 2240198"/>
                <a:gd name="connsiteY4323" fmla="*/ 1231777 h 1729012"/>
                <a:gd name="connsiteX4324" fmla="*/ 1993528 w 2240198"/>
                <a:gd name="connsiteY4324" fmla="*/ 1231030 h 1729012"/>
                <a:gd name="connsiteX4325" fmla="*/ 1995707 w 2240198"/>
                <a:gd name="connsiteY4325" fmla="*/ 1229399 h 1729012"/>
                <a:gd name="connsiteX4326" fmla="*/ 1993775 w 2240198"/>
                <a:gd name="connsiteY4326" fmla="*/ 1229278 h 1729012"/>
                <a:gd name="connsiteX4327" fmla="*/ 1991539 w 2240198"/>
                <a:gd name="connsiteY4327" fmla="*/ 1229919 h 1729012"/>
                <a:gd name="connsiteX4328" fmla="*/ 1990600 w 2240198"/>
                <a:gd name="connsiteY4328" fmla="*/ 1230524 h 1729012"/>
                <a:gd name="connsiteX4329" fmla="*/ 1993180 w 2240198"/>
                <a:gd name="connsiteY4329" fmla="*/ 1233113 h 1729012"/>
                <a:gd name="connsiteX4330" fmla="*/ 2000254 w 2240198"/>
                <a:gd name="connsiteY4330" fmla="*/ 1235393 h 1729012"/>
                <a:gd name="connsiteX4331" fmla="*/ 2003421 w 2240198"/>
                <a:gd name="connsiteY4331" fmla="*/ 1238134 h 1729012"/>
                <a:gd name="connsiteX4332" fmla="*/ 2006887 w 2240198"/>
                <a:gd name="connsiteY4332" fmla="*/ 1238369 h 1729012"/>
                <a:gd name="connsiteX4333" fmla="*/ 2007940 w 2240198"/>
                <a:gd name="connsiteY4333" fmla="*/ 1238865 h 1729012"/>
                <a:gd name="connsiteX4334" fmla="*/ 2009858 w 2240198"/>
                <a:gd name="connsiteY4334" fmla="*/ 1240467 h 1729012"/>
                <a:gd name="connsiteX4335" fmla="*/ 2009292 w 2240198"/>
                <a:gd name="connsiteY4335" fmla="*/ 1241018 h 1729012"/>
                <a:gd name="connsiteX4336" fmla="*/ 2005758 w 2240198"/>
                <a:gd name="connsiteY4336" fmla="*/ 1241209 h 1729012"/>
                <a:gd name="connsiteX4337" fmla="*/ 2002963 w 2240198"/>
                <a:gd name="connsiteY4337" fmla="*/ 1243063 h 1729012"/>
                <a:gd name="connsiteX4338" fmla="*/ 2004718 w 2240198"/>
                <a:gd name="connsiteY4338" fmla="*/ 1244152 h 1729012"/>
                <a:gd name="connsiteX4339" fmla="*/ 2011006 w 2240198"/>
                <a:gd name="connsiteY4339" fmla="*/ 1245105 h 1729012"/>
                <a:gd name="connsiteX4340" fmla="*/ 2015516 w 2240198"/>
                <a:gd name="connsiteY4340" fmla="*/ 1245348 h 1729012"/>
                <a:gd name="connsiteX4341" fmla="*/ 2017780 w 2240198"/>
                <a:gd name="connsiteY4341" fmla="*/ 1246414 h 1729012"/>
                <a:gd name="connsiteX4342" fmla="*/ 2015919 w 2240198"/>
                <a:gd name="connsiteY4342" fmla="*/ 1247601 h 1729012"/>
                <a:gd name="connsiteX4343" fmla="*/ 2010634 w 2240198"/>
                <a:gd name="connsiteY4343" fmla="*/ 1248995 h 1729012"/>
                <a:gd name="connsiteX4344" fmla="*/ 2010483 w 2240198"/>
                <a:gd name="connsiteY4344" fmla="*/ 1251068 h 1729012"/>
                <a:gd name="connsiteX4345" fmla="*/ 2014400 w 2240198"/>
                <a:gd name="connsiteY4345" fmla="*/ 1251897 h 1729012"/>
                <a:gd name="connsiteX4346" fmla="*/ 2017887 w 2240198"/>
                <a:gd name="connsiteY4346" fmla="*/ 1251394 h 1729012"/>
                <a:gd name="connsiteX4347" fmla="*/ 2019317 w 2240198"/>
                <a:gd name="connsiteY4347" fmla="*/ 1251603 h 1729012"/>
                <a:gd name="connsiteX4348" fmla="*/ 2020339 w 2240198"/>
                <a:gd name="connsiteY4348" fmla="*/ 1256608 h 1729012"/>
                <a:gd name="connsiteX4349" fmla="*/ 2020929 w 2240198"/>
                <a:gd name="connsiteY4349" fmla="*/ 1257647 h 1729012"/>
                <a:gd name="connsiteX4350" fmla="*/ 2017182 w 2240198"/>
                <a:gd name="connsiteY4350" fmla="*/ 1258535 h 1729012"/>
                <a:gd name="connsiteX4351" fmla="*/ 2017167 w 2240198"/>
                <a:gd name="connsiteY4351" fmla="*/ 1259487 h 1729012"/>
                <a:gd name="connsiteX4352" fmla="*/ 2019658 w 2240198"/>
                <a:gd name="connsiteY4352" fmla="*/ 1260273 h 1729012"/>
                <a:gd name="connsiteX4353" fmla="*/ 2023801 w 2240198"/>
                <a:gd name="connsiteY4353" fmla="*/ 1260928 h 1729012"/>
                <a:gd name="connsiteX4354" fmla="*/ 2025170 w 2240198"/>
                <a:gd name="connsiteY4354" fmla="*/ 1261824 h 1729012"/>
                <a:gd name="connsiteX4355" fmla="*/ 2025446 w 2240198"/>
                <a:gd name="connsiteY4355" fmla="*/ 1263312 h 1729012"/>
                <a:gd name="connsiteX4356" fmla="*/ 2026298 w 2240198"/>
                <a:gd name="connsiteY4356" fmla="*/ 1264105 h 1729012"/>
                <a:gd name="connsiteX4357" fmla="*/ 2028672 w 2240198"/>
                <a:gd name="connsiteY4357" fmla="*/ 1264248 h 1729012"/>
                <a:gd name="connsiteX4358" fmla="*/ 2031285 w 2240198"/>
                <a:gd name="connsiteY4358" fmla="*/ 1262398 h 1729012"/>
                <a:gd name="connsiteX4359" fmla="*/ 2032829 w 2240198"/>
                <a:gd name="connsiteY4359" fmla="*/ 1260839 h 1729012"/>
                <a:gd name="connsiteX4360" fmla="*/ 2035074 w 2240198"/>
                <a:gd name="connsiteY4360" fmla="*/ 1261425 h 1729012"/>
                <a:gd name="connsiteX4361" fmla="*/ 2035243 w 2240198"/>
                <a:gd name="connsiteY4361" fmla="*/ 1263370 h 1729012"/>
                <a:gd name="connsiteX4362" fmla="*/ 2037923 w 2240198"/>
                <a:gd name="connsiteY4362" fmla="*/ 1265579 h 1729012"/>
                <a:gd name="connsiteX4363" fmla="*/ 2038895 w 2240198"/>
                <a:gd name="connsiteY4363" fmla="*/ 1265942 h 1729012"/>
                <a:gd name="connsiteX4364" fmla="*/ 2039668 w 2240198"/>
                <a:gd name="connsiteY4364" fmla="*/ 1269071 h 1729012"/>
                <a:gd name="connsiteX4365" fmla="*/ 2041856 w 2240198"/>
                <a:gd name="connsiteY4365" fmla="*/ 1266288 h 1729012"/>
                <a:gd name="connsiteX4366" fmla="*/ 2043459 w 2240198"/>
                <a:gd name="connsiteY4366" fmla="*/ 1266877 h 1729012"/>
                <a:gd name="connsiteX4367" fmla="*/ 2045274 w 2240198"/>
                <a:gd name="connsiteY4367" fmla="*/ 1267017 h 1729012"/>
                <a:gd name="connsiteX4368" fmla="*/ 2044655 w 2240198"/>
                <a:gd name="connsiteY4368" fmla="*/ 1269709 h 1729012"/>
                <a:gd name="connsiteX4369" fmla="*/ 2043568 w 2240198"/>
                <a:gd name="connsiteY4369" fmla="*/ 1271827 h 1729012"/>
                <a:gd name="connsiteX4370" fmla="*/ 2044997 w 2240198"/>
                <a:gd name="connsiteY4370" fmla="*/ 1273149 h 1729012"/>
                <a:gd name="connsiteX4371" fmla="*/ 2046103 w 2240198"/>
                <a:gd name="connsiteY4371" fmla="*/ 1275116 h 1729012"/>
                <a:gd name="connsiteX4372" fmla="*/ 2049042 w 2240198"/>
                <a:gd name="connsiteY4372" fmla="*/ 1277817 h 1729012"/>
                <a:gd name="connsiteX4373" fmla="*/ 2048241 w 2240198"/>
                <a:gd name="connsiteY4373" fmla="*/ 1279113 h 1729012"/>
                <a:gd name="connsiteX4374" fmla="*/ 2044768 w 2240198"/>
                <a:gd name="connsiteY4374" fmla="*/ 1281880 h 1729012"/>
                <a:gd name="connsiteX4375" fmla="*/ 2042938 w 2240198"/>
                <a:gd name="connsiteY4375" fmla="*/ 1286252 h 1729012"/>
                <a:gd name="connsiteX4376" fmla="*/ 2042508 w 2240198"/>
                <a:gd name="connsiteY4376" fmla="*/ 1287766 h 1729012"/>
                <a:gd name="connsiteX4377" fmla="*/ 2040723 w 2240198"/>
                <a:gd name="connsiteY4377" fmla="*/ 1290273 h 1729012"/>
                <a:gd name="connsiteX4378" fmla="*/ 2038272 w 2240198"/>
                <a:gd name="connsiteY4378" fmla="*/ 1292701 h 1729012"/>
                <a:gd name="connsiteX4379" fmla="*/ 2039809 w 2240198"/>
                <a:gd name="connsiteY4379" fmla="*/ 1292445 h 1729012"/>
                <a:gd name="connsiteX4380" fmla="*/ 2045280 w 2240198"/>
                <a:gd name="connsiteY4380" fmla="*/ 1287978 h 1729012"/>
                <a:gd name="connsiteX4381" fmla="*/ 2048532 w 2240198"/>
                <a:gd name="connsiteY4381" fmla="*/ 1286477 h 1729012"/>
                <a:gd name="connsiteX4382" fmla="*/ 2055687 w 2240198"/>
                <a:gd name="connsiteY4382" fmla="*/ 1285664 h 1729012"/>
                <a:gd name="connsiteX4383" fmla="*/ 2057417 w 2240198"/>
                <a:gd name="connsiteY4383" fmla="*/ 1284410 h 1729012"/>
                <a:gd name="connsiteX4384" fmla="*/ 2060037 w 2240198"/>
                <a:gd name="connsiteY4384" fmla="*/ 1283889 h 1729012"/>
                <a:gd name="connsiteX4385" fmla="*/ 2061641 w 2240198"/>
                <a:gd name="connsiteY4385" fmla="*/ 1285320 h 1729012"/>
                <a:gd name="connsiteX4386" fmla="*/ 2061805 w 2240198"/>
                <a:gd name="connsiteY4386" fmla="*/ 1287894 h 1729012"/>
                <a:gd name="connsiteX4387" fmla="*/ 2063924 w 2240198"/>
                <a:gd name="connsiteY4387" fmla="*/ 1288706 h 1729012"/>
                <a:gd name="connsiteX4388" fmla="*/ 2066151 w 2240198"/>
                <a:gd name="connsiteY4388" fmla="*/ 1287858 h 1729012"/>
                <a:gd name="connsiteX4389" fmla="*/ 2068174 w 2240198"/>
                <a:gd name="connsiteY4389" fmla="*/ 1288616 h 1729012"/>
                <a:gd name="connsiteX4390" fmla="*/ 2066957 w 2240198"/>
                <a:gd name="connsiteY4390" fmla="*/ 1290231 h 1729012"/>
                <a:gd name="connsiteX4391" fmla="*/ 2060470 w 2240198"/>
                <a:gd name="connsiteY4391" fmla="*/ 1296848 h 1729012"/>
                <a:gd name="connsiteX4392" fmla="*/ 2058576 w 2240198"/>
                <a:gd name="connsiteY4392" fmla="*/ 1299500 h 1729012"/>
                <a:gd name="connsiteX4393" fmla="*/ 2058034 w 2240198"/>
                <a:gd name="connsiteY4393" fmla="*/ 1301374 h 1729012"/>
                <a:gd name="connsiteX4394" fmla="*/ 2060263 w 2240198"/>
                <a:gd name="connsiteY4394" fmla="*/ 1298804 h 1729012"/>
                <a:gd name="connsiteX4395" fmla="*/ 2068410 w 2240198"/>
                <a:gd name="connsiteY4395" fmla="*/ 1292867 h 1729012"/>
                <a:gd name="connsiteX4396" fmla="*/ 2069282 w 2240198"/>
                <a:gd name="connsiteY4396" fmla="*/ 1291978 h 1729012"/>
                <a:gd name="connsiteX4397" fmla="*/ 2071057 w 2240198"/>
                <a:gd name="connsiteY4397" fmla="*/ 1289431 h 1729012"/>
                <a:gd name="connsiteX4398" fmla="*/ 2072696 w 2240198"/>
                <a:gd name="connsiteY4398" fmla="*/ 1287766 h 1729012"/>
                <a:gd name="connsiteX4399" fmla="*/ 2077089 w 2240198"/>
                <a:gd name="connsiteY4399" fmla="*/ 1288357 h 1729012"/>
                <a:gd name="connsiteX4400" fmla="*/ 2079350 w 2240198"/>
                <a:gd name="connsiteY4400" fmla="*/ 1289550 h 1729012"/>
                <a:gd name="connsiteX4401" fmla="*/ 2080398 w 2240198"/>
                <a:gd name="connsiteY4401" fmla="*/ 1292881 h 1729012"/>
                <a:gd name="connsiteX4402" fmla="*/ 2082173 w 2240198"/>
                <a:gd name="connsiteY4402" fmla="*/ 1296507 h 1729012"/>
                <a:gd name="connsiteX4403" fmla="*/ 2084851 w 2240198"/>
                <a:gd name="connsiteY4403" fmla="*/ 1300515 h 1729012"/>
                <a:gd name="connsiteX4404" fmla="*/ 2091958 w 2240198"/>
                <a:gd name="connsiteY4404" fmla="*/ 1302459 h 1729012"/>
                <a:gd name="connsiteX4405" fmla="*/ 2094538 w 2240198"/>
                <a:gd name="connsiteY4405" fmla="*/ 1302774 h 1729012"/>
                <a:gd name="connsiteX4406" fmla="*/ 2098983 w 2240198"/>
                <a:gd name="connsiteY4406" fmla="*/ 1301418 h 1729012"/>
                <a:gd name="connsiteX4407" fmla="*/ 2099682 w 2240198"/>
                <a:gd name="connsiteY4407" fmla="*/ 1299546 h 1729012"/>
                <a:gd name="connsiteX4408" fmla="*/ 2103150 w 2240198"/>
                <a:gd name="connsiteY4408" fmla="*/ 1298973 h 1729012"/>
                <a:gd name="connsiteX4409" fmla="*/ 2105586 w 2240198"/>
                <a:gd name="connsiteY4409" fmla="*/ 1299201 h 1729012"/>
                <a:gd name="connsiteX4410" fmla="*/ 2106426 w 2240198"/>
                <a:gd name="connsiteY4410" fmla="*/ 1302809 h 1729012"/>
                <a:gd name="connsiteX4411" fmla="*/ 2109024 w 2240198"/>
                <a:gd name="connsiteY4411" fmla="*/ 1304722 h 1729012"/>
                <a:gd name="connsiteX4412" fmla="*/ 2111609 w 2240198"/>
                <a:gd name="connsiteY4412" fmla="*/ 1306300 h 1729012"/>
                <a:gd name="connsiteX4413" fmla="*/ 2114101 w 2240198"/>
                <a:gd name="connsiteY4413" fmla="*/ 1307120 h 1729012"/>
                <a:gd name="connsiteX4414" fmla="*/ 2117742 w 2240198"/>
                <a:gd name="connsiteY4414" fmla="*/ 1307473 h 1729012"/>
                <a:gd name="connsiteX4415" fmla="*/ 2119734 w 2240198"/>
                <a:gd name="connsiteY4415" fmla="*/ 1309206 h 1729012"/>
                <a:gd name="connsiteX4416" fmla="*/ 2119735 w 2240198"/>
                <a:gd name="connsiteY4416" fmla="*/ 1309923 h 1729012"/>
                <a:gd name="connsiteX4417" fmla="*/ 2117682 w 2240198"/>
                <a:gd name="connsiteY4417" fmla="*/ 1311778 h 1729012"/>
                <a:gd name="connsiteX4418" fmla="*/ 2115708 w 2240198"/>
                <a:gd name="connsiteY4418" fmla="*/ 1314475 h 1729012"/>
                <a:gd name="connsiteX4419" fmla="*/ 2112259 w 2240198"/>
                <a:gd name="connsiteY4419" fmla="*/ 1316358 h 1729012"/>
                <a:gd name="connsiteX4420" fmla="*/ 2107446 w 2240198"/>
                <a:gd name="connsiteY4420" fmla="*/ 1316445 h 1729012"/>
                <a:gd name="connsiteX4421" fmla="*/ 2100795 w 2240198"/>
                <a:gd name="connsiteY4421" fmla="*/ 1317621 h 1729012"/>
                <a:gd name="connsiteX4422" fmla="*/ 2100528 w 2240198"/>
                <a:gd name="connsiteY4422" fmla="*/ 1318686 h 1729012"/>
                <a:gd name="connsiteX4423" fmla="*/ 2099062 w 2240198"/>
                <a:gd name="connsiteY4423" fmla="*/ 1319856 h 1729012"/>
                <a:gd name="connsiteX4424" fmla="*/ 2095527 w 2240198"/>
                <a:gd name="connsiteY4424" fmla="*/ 1321013 h 1729012"/>
                <a:gd name="connsiteX4425" fmla="*/ 2093598 w 2240198"/>
                <a:gd name="connsiteY4425" fmla="*/ 1321892 h 1729012"/>
                <a:gd name="connsiteX4426" fmla="*/ 2090474 w 2240198"/>
                <a:gd name="connsiteY4426" fmla="*/ 1326254 h 1729012"/>
                <a:gd name="connsiteX4427" fmla="*/ 2088578 w 2240198"/>
                <a:gd name="connsiteY4427" fmla="*/ 1328114 h 1729012"/>
                <a:gd name="connsiteX4428" fmla="*/ 2086392 w 2240198"/>
                <a:gd name="connsiteY4428" fmla="*/ 1328469 h 1729012"/>
                <a:gd name="connsiteX4429" fmla="*/ 2083313 w 2240198"/>
                <a:gd name="connsiteY4429" fmla="*/ 1328291 h 1729012"/>
                <a:gd name="connsiteX4430" fmla="*/ 2081301 w 2240198"/>
                <a:gd name="connsiteY4430" fmla="*/ 1328688 h 1729012"/>
                <a:gd name="connsiteX4431" fmla="*/ 2079824 w 2240198"/>
                <a:gd name="connsiteY4431" fmla="*/ 1329482 h 1729012"/>
                <a:gd name="connsiteX4432" fmla="*/ 2078957 w 2240198"/>
                <a:gd name="connsiteY4432" fmla="*/ 1330665 h 1729012"/>
                <a:gd name="connsiteX4433" fmla="*/ 2078293 w 2240198"/>
                <a:gd name="connsiteY4433" fmla="*/ 1331104 h 1729012"/>
                <a:gd name="connsiteX4434" fmla="*/ 2074170 w 2240198"/>
                <a:gd name="connsiteY4434" fmla="*/ 1332305 h 1729012"/>
                <a:gd name="connsiteX4435" fmla="*/ 2066687 w 2240198"/>
                <a:gd name="connsiteY4435" fmla="*/ 1335601 h 1729012"/>
                <a:gd name="connsiteX4436" fmla="*/ 2062727 w 2240198"/>
                <a:gd name="connsiteY4436" fmla="*/ 1335702 h 1729012"/>
                <a:gd name="connsiteX4437" fmla="*/ 2060273 w 2240198"/>
                <a:gd name="connsiteY4437" fmla="*/ 1335319 h 1729012"/>
                <a:gd name="connsiteX4438" fmla="*/ 2058408 w 2240198"/>
                <a:gd name="connsiteY4438" fmla="*/ 1335592 h 1729012"/>
                <a:gd name="connsiteX4439" fmla="*/ 2057132 w 2240198"/>
                <a:gd name="connsiteY4439" fmla="*/ 1336518 h 1729012"/>
                <a:gd name="connsiteX4440" fmla="*/ 2053561 w 2240198"/>
                <a:gd name="connsiteY4440" fmla="*/ 1338120 h 1729012"/>
                <a:gd name="connsiteX4441" fmla="*/ 2052487 w 2240198"/>
                <a:gd name="connsiteY4441" fmla="*/ 1339099 h 1729012"/>
                <a:gd name="connsiteX4442" fmla="*/ 2051857 w 2240198"/>
                <a:gd name="connsiteY4442" fmla="*/ 1340218 h 1729012"/>
                <a:gd name="connsiteX4443" fmla="*/ 2051372 w 2240198"/>
                <a:gd name="connsiteY4443" fmla="*/ 1342532 h 1729012"/>
                <a:gd name="connsiteX4444" fmla="*/ 2050947 w 2240198"/>
                <a:gd name="connsiteY4444" fmla="*/ 1343367 h 1729012"/>
                <a:gd name="connsiteX4445" fmla="*/ 2050246 w 2240198"/>
                <a:gd name="connsiteY4445" fmla="*/ 1343850 h 1729012"/>
                <a:gd name="connsiteX4446" fmla="*/ 2047244 w 2240198"/>
                <a:gd name="connsiteY4446" fmla="*/ 1343368 h 1729012"/>
                <a:gd name="connsiteX4447" fmla="*/ 2043895 w 2240198"/>
                <a:gd name="connsiteY4447" fmla="*/ 1341870 h 1729012"/>
                <a:gd name="connsiteX4448" fmla="*/ 2044551 w 2240198"/>
                <a:gd name="connsiteY4448" fmla="*/ 1343458 h 1729012"/>
                <a:gd name="connsiteX4449" fmla="*/ 2049858 w 2240198"/>
                <a:gd name="connsiteY4449" fmla="*/ 1346139 h 1729012"/>
                <a:gd name="connsiteX4450" fmla="*/ 2051378 w 2240198"/>
                <a:gd name="connsiteY4450" fmla="*/ 1347625 h 1729012"/>
                <a:gd name="connsiteX4451" fmla="*/ 2049937 w 2240198"/>
                <a:gd name="connsiteY4451" fmla="*/ 1348909 h 1729012"/>
                <a:gd name="connsiteX4452" fmla="*/ 2046561 w 2240198"/>
                <a:gd name="connsiteY4452" fmla="*/ 1350923 h 1729012"/>
                <a:gd name="connsiteX4453" fmla="*/ 2046167 w 2240198"/>
                <a:gd name="connsiteY4453" fmla="*/ 1352005 h 1729012"/>
                <a:gd name="connsiteX4454" fmla="*/ 2047552 w 2240198"/>
                <a:gd name="connsiteY4454" fmla="*/ 1352575 h 1729012"/>
                <a:gd name="connsiteX4455" fmla="*/ 2047006 w 2240198"/>
                <a:gd name="connsiteY4455" fmla="*/ 1353488 h 1729012"/>
                <a:gd name="connsiteX4456" fmla="*/ 2045155 w 2240198"/>
                <a:gd name="connsiteY4456" fmla="*/ 1354456 h 1729012"/>
                <a:gd name="connsiteX4457" fmla="*/ 2045362 w 2240198"/>
                <a:gd name="connsiteY4457" fmla="*/ 1354855 h 1729012"/>
                <a:gd name="connsiteX4458" fmla="*/ 2045567 w 2240198"/>
                <a:gd name="connsiteY4458" fmla="*/ 1355245 h 1729012"/>
                <a:gd name="connsiteX4459" fmla="*/ 2050159 w 2240198"/>
                <a:gd name="connsiteY4459" fmla="*/ 1353851 h 1729012"/>
                <a:gd name="connsiteX4460" fmla="*/ 2054247 w 2240198"/>
                <a:gd name="connsiteY4460" fmla="*/ 1350876 h 1729012"/>
                <a:gd name="connsiteX4461" fmla="*/ 2056919 w 2240198"/>
                <a:gd name="connsiteY4461" fmla="*/ 1347863 h 1729012"/>
                <a:gd name="connsiteX4462" fmla="*/ 2058255 w 2240198"/>
                <a:gd name="connsiteY4462" fmla="*/ 1347018 h 1729012"/>
                <a:gd name="connsiteX4463" fmla="*/ 2063529 w 2240198"/>
                <a:gd name="connsiteY4463" fmla="*/ 1345902 h 1729012"/>
                <a:gd name="connsiteX4464" fmla="*/ 2066646 w 2240198"/>
                <a:gd name="connsiteY4464" fmla="*/ 1344590 h 1729012"/>
                <a:gd name="connsiteX4465" fmla="*/ 2071106 w 2240198"/>
                <a:gd name="connsiteY4465" fmla="*/ 1342202 h 1729012"/>
                <a:gd name="connsiteX4466" fmla="*/ 2075996 w 2240198"/>
                <a:gd name="connsiteY4466" fmla="*/ 1338731 h 1729012"/>
                <a:gd name="connsiteX4467" fmla="*/ 2081317 w 2240198"/>
                <a:gd name="connsiteY4467" fmla="*/ 1334174 h 1729012"/>
                <a:gd name="connsiteX4468" fmla="*/ 2088099 w 2240198"/>
                <a:gd name="connsiteY4468" fmla="*/ 1330609 h 1729012"/>
                <a:gd name="connsiteX4469" fmla="*/ 2096349 w 2240198"/>
                <a:gd name="connsiteY4469" fmla="*/ 1328036 h 1729012"/>
                <a:gd name="connsiteX4470" fmla="*/ 2102400 w 2240198"/>
                <a:gd name="connsiteY4470" fmla="*/ 1326725 h 1729012"/>
                <a:gd name="connsiteX4471" fmla="*/ 2106257 w 2240198"/>
                <a:gd name="connsiteY4471" fmla="*/ 1326666 h 1729012"/>
                <a:gd name="connsiteX4472" fmla="*/ 2106452 w 2240198"/>
                <a:gd name="connsiteY4472" fmla="*/ 1326234 h 1729012"/>
                <a:gd name="connsiteX4473" fmla="*/ 2102990 w 2240198"/>
                <a:gd name="connsiteY4473" fmla="*/ 1325427 h 1729012"/>
                <a:gd name="connsiteX4474" fmla="*/ 2100134 w 2240198"/>
                <a:gd name="connsiteY4474" fmla="*/ 1325268 h 1729012"/>
                <a:gd name="connsiteX4475" fmla="*/ 2096583 w 2240198"/>
                <a:gd name="connsiteY4475" fmla="*/ 1325855 h 1729012"/>
                <a:gd name="connsiteX4476" fmla="*/ 2095486 w 2240198"/>
                <a:gd name="connsiteY4476" fmla="*/ 1324460 h 1729012"/>
                <a:gd name="connsiteX4477" fmla="*/ 2095602 w 2240198"/>
                <a:gd name="connsiteY4477" fmla="*/ 1323852 h 1729012"/>
                <a:gd name="connsiteX4478" fmla="*/ 2096774 w 2240198"/>
                <a:gd name="connsiteY4478" fmla="*/ 1322815 h 1729012"/>
                <a:gd name="connsiteX4479" fmla="*/ 2099763 w 2240198"/>
                <a:gd name="connsiteY4479" fmla="*/ 1321890 h 1729012"/>
                <a:gd name="connsiteX4480" fmla="*/ 2114397 w 2240198"/>
                <a:gd name="connsiteY4480" fmla="*/ 1323184 h 1729012"/>
                <a:gd name="connsiteX4481" fmla="*/ 2119439 w 2240198"/>
                <a:gd name="connsiteY4481" fmla="*/ 1324172 h 1729012"/>
                <a:gd name="connsiteX4482" fmla="*/ 2124947 w 2240198"/>
                <a:gd name="connsiteY4482" fmla="*/ 1332469 h 1729012"/>
                <a:gd name="connsiteX4483" fmla="*/ 2126213 w 2240198"/>
                <a:gd name="connsiteY4483" fmla="*/ 1335131 h 1729012"/>
                <a:gd name="connsiteX4484" fmla="*/ 2126567 w 2240198"/>
                <a:gd name="connsiteY4484" fmla="*/ 1337069 h 1729012"/>
                <a:gd name="connsiteX4485" fmla="*/ 2126011 w 2240198"/>
                <a:gd name="connsiteY4485" fmla="*/ 1338282 h 1729012"/>
                <a:gd name="connsiteX4486" fmla="*/ 2123803 w 2240198"/>
                <a:gd name="connsiteY4486" fmla="*/ 1339718 h 1729012"/>
                <a:gd name="connsiteX4487" fmla="*/ 2117579 w 2240198"/>
                <a:gd name="connsiteY4487" fmla="*/ 1342571 h 1729012"/>
                <a:gd name="connsiteX4488" fmla="*/ 2116701 w 2240198"/>
                <a:gd name="connsiteY4488" fmla="*/ 1343321 h 1729012"/>
                <a:gd name="connsiteX4489" fmla="*/ 2116618 w 2240198"/>
                <a:gd name="connsiteY4489" fmla="*/ 1343720 h 1729012"/>
                <a:gd name="connsiteX4490" fmla="*/ 2119335 w 2240198"/>
                <a:gd name="connsiteY4490" fmla="*/ 1344296 h 1729012"/>
                <a:gd name="connsiteX4491" fmla="*/ 2120198 w 2240198"/>
                <a:gd name="connsiteY4491" fmla="*/ 1345081 h 1729012"/>
                <a:gd name="connsiteX4492" fmla="*/ 2121578 w 2240198"/>
                <a:gd name="connsiteY4492" fmla="*/ 1348243 h 1729012"/>
                <a:gd name="connsiteX4493" fmla="*/ 2124376 w 2240198"/>
                <a:gd name="connsiteY4493" fmla="*/ 1346189 h 1729012"/>
                <a:gd name="connsiteX4494" fmla="*/ 2129682 w 2240198"/>
                <a:gd name="connsiteY4494" fmla="*/ 1341203 h 1729012"/>
                <a:gd name="connsiteX4495" fmla="*/ 2134024 w 2240198"/>
                <a:gd name="connsiteY4495" fmla="*/ 1338887 h 1729012"/>
                <a:gd name="connsiteX4496" fmla="*/ 2137684 w 2240198"/>
                <a:gd name="connsiteY4496" fmla="*/ 1338255 h 1729012"/>
                <a:gd name="connsiteX4497" fmla="*/ 2142051 w 2240198"/>
                <a:gd name="connsiteY4497" fmla="*/ 1337950 h 1729012"/>
                <a:gd name="connsiteX4498" fmla="*/ 2143556 w 2240198"/>
                <a:gd name="connsiteY4498" fmla="*/ 1337999 h 1729012"/>
                <a:gd name="connsiteX4499" fmla="*/ 2144080 w 2240198"/>
                <a:gd name="connsiteY4499" fmla="*/ 1339619 h 1729012"/>
                <a:gd name="connsiteX4500" fmla="*/ 2146370 w 2240198"/>
                <a:gd name="connsiteY4500" fmla="*/ 1342869 h 1729012"/>
                <a:gd name="connsiteX4501" fmla="*/ 2148495 w 2240198"/>
                <a:gd name="connsiteY4501" fmla="*/ 1343713 h 1729012"/>
                <a:gd name="connsiteX4502" fmla="*/ 2152553 w 2240198"/>
                <a:gd name="connsiteY4502" fmla="*/ 1344146 h 1729012"/>
                <a:gd name="connsiteX4503" fmla="*/ 2156205 w 2240198"/>
                <a:gd name="connsiteY4503" fmla="*/ 1348172 h 1729012"/>
                <a:gd name="connsiteX4504" fmla="*/ 2157597 w 2240198"/>
                <a:gd name="connsiteY4504" fmla="*/ 1350944 h 1729012"/>
                <a:gd name="connsiteX4505" fmla="*/ 2158912 w 2240198"/>
                <a:gd name="connsiteY4505" fmla="*/ 1352564 h 1729012"/>
                <a:gd name="connsiteX4506" fmla="*/ 2158811 w 2240198"/>
                <a:gd name="connsiteY4506" fmla="*/ 1353654 h 1729012"/>
                <a:gd name="connsiteX4507" fmla="*/ 2159029 w 2240198"/>
                <a:gd name="connsiteY4507" fmla="*/ 1354566 h 1729012"/>
                <a:gd name="connsiteX4508" fmla="*/ 2159990 w 2240198"/>
                <a:gd name="connsiteY4508" fmla="*/ 1355946 h 1729012"/>
                <a:gd name="connsiteX4509" fmla="*/ 2160469 w 2240198"/>
                <a:gd name="connsiteY4509" fmla="*/ 1357110 h 1729012"/>
                <a:gd name="connsiteX4510" fmla="*/ 2160210 w 2240198"/>
                <a:gd name="connsiteY4510" fmla="*/ 1359771 h 1729012"/>
                <a:gd name="connsiteX4511" fmla="*/ 2158076 w 2240198"/>
                <a:gd name="connsiteY4511" fmla="*/ 1364383 h 1729012"/>
                <a:gd name="connsiteX4512" fmla="*/ 2159659 w 2240198"/>
                <a:gd name="connsiteY4512" fmla="*/ 1368570 h 1729012"/>
                <a:gd name="connsiteX4513" fmla="*/ 2158949 w 2240198"/>
                <a:gd name="connsiteY4513" fmla="*/ 1370456 h 1729012"/>
                <a:gd name="connsiteX4514" fmla="*/ 2158579 w 2240198"/>
                <a:gd name="connsiteY4514" fmla="*/ 1373458 h 1729012"/>
                <a:gd name="connsiteX4515" fmla="*/ 2159945 w 2240198"/>
                <a:gd name="connsiteY4515" fmla="*/ 1375461 h 1729012"/>
                <a:gd name="connsiteX4516" fmla="*/ 2160346 w 2240198"/>
                <a:gd name="connsiteY4516" fmla="*/ 1376623 h 1729012"/>
                <a:gd name="connsiteX4517" fmla="*/ 2159189 w 2240198"/>
                <a:gd name="connsiteY4517" fmla="*/ 1377301 h 1729012"/>
                <a:gd name="connsiteX4518" fmla="*/ 2151112 w 2240198"/>
                <a:gd name="connsiteY4518" fmla="*/ 1378961 h 1729012"/>
                <a:gd name="connsiteX4519" fmla="*/ 2147933 w 2240198"/>
                <a:gd name="connsiteY4519" fmla="*/ 1378993 h 1729012"/>
                <a:gd name="connsiteX4520" fmla="*/ 2147107 w 2240198"/>
                <a:gd name="connsiteY4520" fmla="*/ 1379992 h 1729012"/>
                <a:gd name="connsiteX4521" fmla="*/ 2149554 w 2240198"/>
                <a:gd name="connsiteY4521" fmla="*/ 1380284 h 1729012"/>
                <a:gd name="connsiteX4522" fmla="*/ 2154013 w 2240198"/>
                <a:gd name="connsiteY4522" fmla="*/ 1380236 h 1729012"/>
                <a:gd name="connsiteX4523" fmla="*/ 2159398 w 2240198"/>
                <a:gd name="connsiteY4523" fmla="*/ 1381252 h 1729012"/>
                <a:gd name="connsiteX4524" fmla="*/ 2161775 w 2240198"/>
                <a:gd name="connsiteY4524" fmla="*/ 1382381 h 1729012"/>
                <a:gd name="connsiteX4525" fmla="*/ 2162802 w 2240198"/>
                <a:gd name="connsiteY4525" fmla="*/ 1383958 h 1729012"/>
                <a:gd name="connsiteX4526" fmla="*/ 2162542 w 2240198"/>
                <a:gd name="connsiteY4526" fmla="*/ 1385212 h 1729012"/>
                <a:gd name="connsiteX4527" fmla="*/ 2160996 w 2240198"/>
                <a:gd name="connsiteY4527" fmla="*/ 1386140 h 1729012"/>
                <a:gd name="connsiteX4528" fmla="*/ 2157966 w 2240198"/>
                <a:gd name="connsiteY4528" fmla="*/ 1385958 h 1729012"/>
                <a:gd name="connsiteX4529" fmla="*/ 2155049 w 2240198"/>
                <a:gd name="connsiteY4529" fmla="*/ 1385110 h 1729012"/>
                <a:gd name="connsiteX4530" fmla="*/ 2155228 w 2240198"/>
                <a:gd name="connsiteY4530" fmla="*/ 1385931 h 1729012"/>
                <a:gd name="connsiteX4531" fmla="*/ 2159564 w 2240198"/>
                <a:gd name="connsiteY4531" fmla="*/ 1387974 h 1729012"/>
                <a:gd name="connsiteX4532" fmla="*/ 2160836 w 2240198"/>
                <a:gd name="connsiteY4532" fmla="*/ 1389011 h 1729012"/>
                <a:gd name="connsiteX4533" fmla="*/ 2163180 w 2240198"/>
                <a:gd name="connsiteY4533" fmla="*/ 1390315 h 1729012"/>
                <a:gd name="connsiteX4534" fmla="*/ 2163643 w 2240198"/>
                <a:gd name="connsiteY4534" fmla="*/ 1392065 h 1729012"/>
                <a:gd name="connsiteX4535" fmla="*/ 2163074 w 2240198"/>
                <a:gd name="connsiteY4535" fmla="*/ 1393843 h 1729012"/>
                <a:gd name="connsiteX4536" fmla="*/ 2154903 w 2240198"/>
                <a:gd name="connsiteY4536" fmla="*/ 1400915 h 1729012"/>
                <a:gd name="connsiteX4537" fmla="*/ 2148181 w 2240198"/>
                <a:gd name="connsiteY4537" fmla="*/ 1405392 h 1729012"/>
                <a:gd name="connsiteX4538" fmla="*/ 2141437 w 2240198"/>
                <a:gd name="connsiteY4538" fmla="*/ 1409315 h 1729012"/>
                <a:gd name="connsiteX4539" fmla="*/ 2130599 w 2240198"/>
                <a:gd name="connsiteY4539" fmla="*/ 1416848 h 1729012"/>
                <a:gd name="connsiteX4540" fmla="*/ 2129527 w 2240198"/>
                <a:gd name="connsiteY4540" fmla="*/ 1417214 h 1729012"/>
                <a:gd name="connsiteX4541" fmla="*/ 2127566 w 2240198"/>
                <a:gd name="connsiteY4541" fmla="*/ 1417358 h 1729012"/>
                <a:gd name="connsiteX4542" fmla="*/ 2122402 w 2240198"/>
                <a:gd name="connsiteY4542" fmla="*/ 1416154 h 1729012"/>
                <a:gd name="connsiteX4543" fmla="*/ 2118283 w 2240198"/>
                <a:gd name="connsiteY4543" fmla="*/ 1416462 h 1729012"/>
                <a:gd name="connsiteX4544" fmla="*/ 2110475 w 2240198"/>
                <a:gd name="connsiteY4544" fmla="*/ 1417916 h 1729012"/>
                <a:gd name="connsiteX4545" fmla="*/ 2108341 w 2240198"/>
                <a:gd name="connsiteY4545" fmla="*/ 1418805 h 1729012"/>
                <a:gd name="connsiteX4546" fmla="*/ 2104059 w 2240198"/>
                <a:gd name="connsiteY4546" fmla="*/ 1421410 h 1729012"/>
                <a:gd name="connsiteX4547" fmla="*/ 2102366 w 2240198"/>
                <a:gd name="connsiteY4547" fmla="*/ 1421784 h 1729012"/>
                <a:gd name="connsiteX4548" fmla="*/ 2097775 w 2240198"/>
                <a:gd name="connsiteY4548" fmla="*/ 1422314 h 1729012"/>
                <a:gd name="connsiteX4549" fmla="*/ 2093419 w 2240198"/>
                <a:gd name="connsiteY4549" fmla="*/ 1421954 h 1729012"/>
                <a:gd name="connsiteX4550" fmla="*/ 2091693 w 2240198"/>
                <a:gd name="connsiteY4550" fmla="*/ 1422319 h 1729012"/>
                <a:gd name="connsiteX4551" fmla="*/ 2089590 w 2240198"/>
                <a:gd name="connsiteY4551" fmla="*/ 1423594 h 1729012"/>
                <a:gd name="connsiteX4552" fmla="*/ 2089046 w 2240198"/>
                <a:gd name="connsiteY4552" fmla="*/ 1424268 h 1729012"/>
                <a:gd name="connsiteX4553" fmla="*/ 2088466 w 2240198"/>
                <a:gd name="connsiteY4553" fmla="*/ 1426464 h 1729012"/>
                <a:gd name="connsiteX4554" fmla="*/ 2077885 w 2240198"/>
                <a:gd name="connsiteY4554" fmla="*/ 1436267 h 1729012"/>
                <a:gd name="connsiteX4555" fmla="*/ 2075083 w 2240198"/>
                <a:gd name="connsiteY4555" fmla="*/ 1439584 h 1729012"/>
                <a:gd name="connsiteX4556" fmla="*/ 2069691 w 2240198"/>
                <a:gd name="connsiteY4556" fmla="*/ 1443071 h 1729012"/>
                <a:gd name="connsiteX4557" fmla="*/ 2063762 w 2240198"/>
                <a:gd name="connsiteY4557" fmla="*/ 1449182 h 1729012"/>
                <a:gd name="connsiteX4558" fmla="*/ 2058604 w 2240198"/>
                <a:gd name="connsiteY4558" fmla="*/ 1451638 h 1729012"/>
                <a:gd name="connsiteX4559" fmla="*/ 2056803 w 2240198"/>
                <a:gd name="connsiteY4559" fmla="*/ 1455024 h 1729012"/>
                <a:gd name="connsiteX4560" fmla="*/ 2051887 w 2240198"/>
                <a:gd name="connsiteY4560" fmla="*/ 1457078 h 1729012"/>
                <a:gd name="connsiteX4561" fmla="*/ 2042812 w 2240198"/>
                <a:gd name="connsiteY4561" fmla="*/ 1457600 h 1729012"/>
                <a:gd name="connsiteX4562" fmla="*/ 2038499 w 2240198"/>
                <a:gd name="connsiteY4562" fmla="*/ 1458188 h 1729012"/>
                <a:gd name="connsiteX4563" fmla="*/ 2033453 w 2240198"/>
                <a:gd name="connsiteY4563" fmla="*/ 1457236 h 1729012"/>
                <a:gd name="connsiteX4564" fmla="*/ 2029673 w 2240198"/>
                <a:gd name="connsiteY4564" fmla="*/ 1458710 h 1729012"/>
                <a:gd name="connsiteX4565" fmla="*/ 2023982 w 2240198"/>
                <a:gd name="connsiteY4565" fmla="*/ 1459171 h 1729012"/>
                <a:gd name="connsiteX4566" fmla="*/ 2021217 w 2240198"/>
                <a:gd name="connsiteY4566" fmla="*/ 1458824 h 1729012"/>
                <a:gd name="connsiteX4567" fmla="*/ 2010185 w 2240198"/>
                <a:gd name="connsiteY4567" fmla="*/ 1462071 h 1729012"/>
                <a:gd name="connsiteX4568" fmla="*/ 2007383 w 2240198"/>
                <a:gd name="connsiteY4568" fmla="*/ 1458989 h 1729012"/>
                <a:gd name="connsiteX4569" fmla="*/ 2005249 w 2240198"/>
                <a:gd name="connsiteY4569" fmla="*/ 1457799 h 1729012"/>
                <a:gd name="connsiteX4570" fmla="*/ 1999019 w 2240198"/>
                <a:gd name="connsiteY4570" fmla="*/ 1457597 h 1729012"/>
                <a:gd name="connsiteX4571" fmla="*/ 1994038 w 2240198"/>
                <a:gd name="connsiteY4571" fmla="*/ 1456323 h 1729012"/>
                <a:gd name="connsiteX4572" fmla="*/ 1989492 w 2240198"/>
                <a:gd name="connsiteY4572" fmla="*/ 1456084 h 1729012"/>
                <a:gd name="connsiteX4573" fmla="*/ 1985067 w 2240198"/>
                <a:gd name="connsiteY4573" fmla="*/ 1455514 h 1729012"/>
                <a:gd name="connsiteX4574" fmla="*/ 1982156 w 2240198"/>
                <a:gd name="connsiteY4574" fmla="*/ 1455521 h 1729012"/>
                <a:gd name="connsiteX4575" fmla="*/ 1979126 w 2240198"/>
                <a:gd name="connsiteY4575" fmla="*/ 1455857 h 1729012"/>
                <a:gd name="connsiteX4576" fmla="*/ 1974413 w 2240198"/>
                <a:gd name="connsiteY4576" fmla="*/ 1455775 h 1729012"/>
                <a:gd name="connsiteX4577" fmla="*/ 1971802 w 2240198"/>
                <a:gd name="connsiteY4577" fmla="*/ 1457476 h 1729012"/>
                <a:gd name="connsiteX4578" fmla="*/ 1962975 w 2240198"/>
                <a:gd name="connsiteY4578" fmla="*/ 1456957 h 1729012"/>
                <a:gd name="connsiteX4579" fmla="*/ 1959251 w 2240198"/>
                <a:gd name="connsiteY4579" fmla="*/ 1455415 h 1729012"/>
                <a:gd name="connsiteX4580" fmla="*/ 1956198 w 2240198"/>
                <a:gd name="connsiteY4580" fmla="*/ 1455093 h 1729012"/>
                <a:gd name="connsiteX4581" fmla="*/ 1952094 w 2240198"/>
                <a:gd name="connsiteY4581" fmla="*/ 1455438 h 1729012"/>
                <a:gd name="connsiteX4582" fmla="*/ 1948175 w 2240198"/>
                <a:gd name="connsiteY4582" fmla="*/ 1456585 h 1729012"/>
                <a:gd name="connsiteX4583" fmla="*/ 1939590 w 2240198"/>
                <a:gd name="connsiteY4583" fmla="*/ 1455272 h 1729012"/>
                <a:gd name="connsiteX4584" fmla="*/ 1930489 w 2240198"/>
                <a:gd name="connsiteY4584" fmla="*/ 1456383 h 1729012"/>
                <a:gd name="connsiteX4585" fmla="*/ 1922552 w 2240198"/>
                <a:gd name="connsiteY4585" fmla="*/ 1455639 h 1729012"/>
                <a:gd name="connsiteX4586" fmla="*/ 1920329 w 2240198"/>
                <a:gd name="connsiteY4586" fmla="*/ 1454904 h 1729012"/>
                <a:gd name="connsiteX4587" fmla="*/ 1907805 w 2240198"/>
                <a:gd name="connsiteY4587" fmla="*/ 1456922 h 1729012"/>
                <a:gd name="connsiteX4588" fmla="*/ 1902915 w 2240198"/>
                <a:gd name="connsiteY4588" fmla="*/ 1455764 h 1729012"/>
                <a:gd name="connsiteX4589" fmla="*/ 1898600 w 2240198"/>
                <a:gd name="connsiteY4589" fmla="*/ 1458855 h 1729012"/>
                <a:gd name="connsiteX4590" fmla="*/ 1895641 w 2240198"/>
                <a:gd name="connsiteY4590" fmla="*/ 1458213 h 1729012"/>
                <a:gd name="connsiteX4591" fmla="*/ 1892430 w 2240198"/>
                <a:gd name="connsiteY4591" fmla="*/ 1458668 h 1729012"/>
                <a:gd name="connsiteX4592" fmla="*/ 1891359 w 2240198"/>
                <a:gd name="connsiteY4592" fmla="*/ 1458084 h 1729012"/>
                <a:gd name="connsiteX4593" fmla="*/ 1889218 w 2240198"/>
                <a:gd name="connsiteY4593" fmla="*/ 1458495 h 1729012"/>
                <a:gd name="connsiteX4594" fmla="*/ 1887835 w 2240198"/>
                <a:gd name="connsiteY4594" fmla="*/ 1460176 h 1729012"/>
                <a:gd name="connsiteX4595" fmla="*/ 1886018 w 2240198"/>
                <a:gd name="connsiteY4595" fmla="*/ 1460368 h 1729012"/>
                <a:gd name="connsiteX4596" fmla="*/ 1882997 w 2240198"/>
                <a:gd name="connsiteY4596" fmla="*/ 1463347 h 1729012"/>
                <a:gd name="connsiteX4597" fmla="*/ 1877919 w 2240198"/>
                <a:gd name="connsiteY4597" fmla="*/ 1465725 h 1729012"/>
                <a:gd name="connsiteX4598" fmla="*/ 1870483 w 2240198"/>
                <a:gd name="connsiteY4598" fmla="*/ 1478668 h 1729012"/>
                <a:gd name="connsiteX4599" fmla="*/ 1869785 w 2240198"/>
                <a:gd name="connsiteY4599" fmla="*/ 1483626 h 1729012"/>
                <a:gd name="connsiteX4600" fmla="*/ 1866993 w 2240198"/>
                <a:gd name="connsiteY4600" fmla="*/ 1487003 h 1729012"/>
                <a:gd name="connsiteX4601" fmla="*/ 1864528 w 2240198"/>
                <a:gd name="connsiteY4601" fmla="*/ 1487457 h 1729012"/>
                <a:gd name="connsiteX4602" fmla="*/ 1862499 w 2240198"/>
                <a:gd name="connsiteY4602" fmla="*/ 1487534 h 1729012"/>
                <a:gd name="connsiteX4603" fmla="*/ 1849644 w 2240198"/>
                <a:gd name="connsiteY4603" fmla="*/ 1490012 h 1729012"/>
                <a:gd name="connsiteX4604" fmla="*/ 1843921 w 2240198"/>
                <a:gd name="connsiteY4604" fmla="*/ 1491967 h 1729012"/>
                <a:gd name="connsiteX4605" fmla="*/ 1845476 w 2240198"/>
                <a:gd name="connsiteY4605" fmla="*/ 1493525 h 1729012"/>
                <a:gd name="connsiteX4606" fmla="*/ 1843602 w 2240198"/>
                <a:gd name="connsiteY4606" fmla="*/ 1494682 h 1729012"/>
                <a:gd name="connsiteX4607" fmla="*/ 1840562 w 2240198"/>
                <a:gd name="connsiteY4607" fmla="*/ 1495168 h 1729012"/>
                <a:gd name="connsiteX4608" fmla="*/ 1837280 w 2240198"/>
                <a:gd name="connsiteY4608" fmla="*/ 1496588 h 1729012"/>
                <a:gd name="connsiteX4609" fmla="*/ 1835149 w 2240198"/>
                <a:gd name="connsiteY4609" fmla="*/ 1498191 h 1729012"/>
                <a:gd name="connsiteX4610" fmla="*/ 1834106 w 2240198"/>
                <a:gd name="connsiteY4610" fmla="*/ 1500404 h 1729012"/>
                <a:gd name="connsiteX4611" fmla="*/ 1827512 w 2240198"/>
                <a:gd name="connsiteY4611" fmla="*/ 1504018 h 1729012"/>
                <a:gd name="connsiteX4612" fmla="*/ 1819862 w 2240198"/>
                <a:gd name="connsiteY4612" fmla="*/ 1512343 h 1729012"/>
                <a:gd name="connsiteX4613" fmla="*/ 1816206 w 2240198"/>
                <a:gd name="connsiteY4613" fmla="*/ 1518433 h 1729012"/>
                <a:gd name="connsiteX4614" fmla="*/ 1811765 w 2240198"/>
                <a:gd name="connsiteY4614" fmla="*/ 1522836 h 1729012"/>
                <a:gd name="connsiteX4615" fmla="*/ 1808627 w 2240198"/>
                <a:gd name="connsiteY4615" fmla="*/ 1524511 h 1729012"/>
                <a:gd name="connsiteX4616" fmla="*/ 1806394 w 2240198"/>
                <a:gd name="connsiteY4616" fmla="*/ 1524771 h 1729012"/>
                <a:gd name="connsiteX4617" fmla="*/ 1804117 w 2240198"/>
                <a:gd name="connsiteY4617" fmla="*/ 1524245 h 1729012"/>
                <a:gd name="connsiteX4618" fmla="*/ 1800332 w 2240198"/>
                <a:gd name="connsiteY4618" fmla="*/ 1522183 h 1729012"/>
                <a:gd name="connsiteX4619" fmla="*/ 1797552 w 2240198"/>
                <a:gd name="connsiteY4619" fmla="*/ 1521955 h 1729012"/>
                <a:gd name="connsiteX4620" fmla="*/ 1790628 w 2240198"/>
                <a:gd name="connsiteY4620" fmla="*/ 1519080 h 1729012"/>
                <a:gd name="connsiteX4621" fmla="*/ 1774537 w 2240198"/>
                <a:gd name="connsiteY4621" fmla="*/ 1516183 h 1729012"/>
                <a:gd name="connsiteX4622" fmla="*/ 1776964 w 2240198"/>
                <a:gd name="connsiteY4622" fmla="*/ 1517267 h 1729012"/>
                <a:gd name="connsiteX4623" fmla="*/ 1779089 w 2240198"/>
                <a:gd name="connsiteY4623" fmla="*/ 1519051 h 1729012"/>
                <a:gd name="connsiteX4624" fmla="*/ 1783341 w 2240198"/>
                <a:gd name="connsiteY4624" fmla="*/ 1519511 h 1729012"/>
                <a:gd name="connsiteX4625" fmla="*/ 1787663 w 2240198"/>
                <a:gd name="connsiteY4625" fmla="*/ 1519474 h 1729012"/>
                <a:gd name="connsiteX4626" fmla="*/ 1796672 w 2240198"/>
                <a:gd name="connsiteY4626" fmla="*/ 1523072 h 1729012"/>
                <a:gd name="connsiteX4627" fmla="*/ 1801087 w 2240198"/>
                <a:gd name="connsiteY4627" fmla="*/ 1524297 h 1729012"/>
                <a:gd name="connsiteX4628" fmla="*/ 1803767 w 2240198"/>
                <a:gd name="connsiteY4628" fmla="*/ 1525383 h 1729012"/>
                <a:gd name="connsiteX4629" fmla="*/ 1806062 w 2240198"/>
                <a:gd name="connsiteY4629" fmla="*/ 1527787 h 1729012"/>
                <a:gd name="connsiteX4630" fmla="*/ 1804418 w 2240198"/>
                <a:gd name="connsiteY4630" fmla="*/ 1532496 h 1729012"/>
                <a:gd name="connsiteX4631" fmla="*/ 1802751 w 2240198"/>
                <a:gd name="connsiteY4631" fmla="*/ 1536386 h 1729012"/>
                <a:gd name="connsiteX4632" fmla="*/ 1800498 w 2240198"/>
                <a:gd name="connsiteY4632" fmla="*/ 1539366 h 1729012"/>
                <a:gd name="connsiteX4633" fmla="*/ 1792747 w 2240198"/>
                <a:gd name="connsiteY4633" fmla="*/ 1546998 h 1729012"/>
                <a:gd name="connsiteX4634" fmla="*/ 1788996 w 2240198"/>
                <a:gd name="connsiteY4634" fmla="*/ 1549558 h 1729012"/>
                <a:gd name="connsiteX4635" fmla="*/ 1782459 w 2240198"/>
                <a:gd name="connsiteY4635" fmla="*/ 1558663 h 1729012"/>
                <a:gd name="connsiteX4636" fmla="*/ 1775693 w 2240198"/>
                <a:gd name="connsiteY4636" fmla="*/ 1562927 h 1729012"/>
                <a:gd name="connsiteX4637" fmla="*/ 1772070 w 2240198"/>
                <a:gd name="connsiteY4637" fmla="*/ 1565541 h 1729012"/>
                <a:gd name="connsiteX4638" fmla="*/ 1768211 w 2240198"/>
                <a:gd name="connsiteY4638" fmla="*/ 1569664 h 1729012"/>
                <a:gd name="connsiteX4639" fmla="*/ 1759159 w 2240198"/>
                <a:gd name="connsiteY4639" fmla="*/ 1572778 h 1729012"/>
                <a:gd name="connsiteX4640" fmla="*/ 1755799 w 2240198"/>
                <a:gd name="connsiteY4640" fmla="*/ 1573570 h 1729012"/>
                <a:gd name="connsiteX4641" fmla="*/ 1752697 w 2240198"/>
                <a:gd name="connsiteY4641" fmla="*/ 1573147 h 1729012"/>
                <a:gd name="connsiteX4642" fmla="*/ 1748923 w 2240198"/>
                <a:gd name="connsiteY4642" fmla="*/ 1575678 h 1729012"/>
                <a:gd name="connsiteX4643" fmla="*/ 1744455 w 2240198"/>
                <a:gd name="connsiteY4643" fmla="*/ 1577224 h 1729012"/>
                <a:gd name="connsiteX4644" fmla="*/ 1743137 w 2240198"/>
                <a:gd name="connsiteY4644" fmla="*/ 1579576 h 1729012"/>
                <a:gd name="connsiteX4645" fmla="*/ 1732399 w 2240198"/>
                <a:gd name="connsiteY4645" fmla="*/ 1585864 h 1729012"/>
                <a:gd name="connsiteX4646" fmla="*/ 1728277 w 2240198"/>
                <a:gd name="connsiteY4646" fmla="*/ 1586654 h 1729012"/>
                <a:gd name="connsiteX4647" fmla="*/ 1724770 w 2240198"/>
                <a:gd name="connsiteY4647" fmla="*/ 1588327 h 1729012"/>
                <a:gd name="connsiteX4648" fmla="*/ 1723732 w 2240198"/>
                <a:gd name="connsiteY4648" fmla="*/ 1591164 h 1729012"/>
                <a:gd name="connsiteX4649" fmla="*/ 1720601 w 2240198"/>
                <a:gd name="connsiteY4649" fmla="*/ 1592875 h 1729012"/>
                <a:gd name="connsiteX4650" fmla="*/ 1719732 w 2240198"/>
                <a:gd name="connsiteY4650" fmla="*/ 1594183 h 1729012"/>
                <a:gd name="connsiteX4651" fmla="*/ 1717098 w 2240198"/>
                <a:gd name="connsiteY4651" fmla="*/ 1598144 h 1729012"/>
                <a:gd name="connsiteX4652" fmla="*/ 1712203 w 2240198"/>
                <a:gd name="connsiteY4652" fmla="*/ 1603252 h 1729012"/>
                <a:gd name="connsiteX4653" fmla="*/ 1706238 w 2240198"/>
                <a:gd name="connsiteY4653" fmla="*/ 1604107 h 1729012"/>
                <a:gd name="connsiteX4654" fmla="*/ 1704058 w 2240198"/>
                <a:gd name="connsiteY4654" fmla="*/ 1605882 h 1729012"/>
                <a:gd name="connsiteX4655" fmla="*/ 1701533 w 2240198"/>
                <a:gd name="connsiteY4655" fmla="*/ 1608745 h 1729012"/>
                <a:gd name="connsiteX4656" fmla="*/ 1697972 w 2240198"/>
                <a:gd name="connsiteY4656" fmla="*/ 1610708 h 1729012"/>
                <a:gd name="connsiteX4657" fmla="*/ 1690943 w 2240198"/>
                <a:gd name="connsiteY4657" fmla="*/ 1609789 h 1729012"/>
                <a:gd name="connsiteX4658" fmla="*/ 1692652 w 2240198"/>
                <a:gd name="connsiteY4658" fmla="*/ 1610992 h 1729012"/>
                <a:gd name="connsiteX4659" fmla="*/ 1698941 w 2240198"/>
                <a:gd name="connsiteY4659" fmla="*/ 1612865 h 1729012"/>
                <a:gd name="connsiteX4660" fmla="*/ 1699595 w 2240198"/>
                <a:gd name="connsiteY4660" fmla="*/ 1615643 h 1729012"/>
                <a:gd name="connsiteX4661" fmla="*/ 1696445 w 2240198"/>
                <a:gd name="connsiteY4661" fmla="*/ 1616306 h 1729012"/>
                <a:gd name="connsiteX4662" fmla="*/ 1689846 w 2240198"/>
                <a:gd name="connsiteY4662" fmla="*/ 1620003 h 1729012"/>
                <a:gd name="connsiteX4663" fmla="*/ 1680957 w 2240198"/>
                <a:gd name="connsiteY4663" fmla="*/ 1626358 h 1729012"/>
                <a:gd name="connsiteX4664" fmla="*/ 1679598 w 2240198"/>
                <a:gd name="connsiteY4664" fmla="*/ 1626507 h 1729012"/>
                <a:gd name="connsiteX4665" fmla="*/ 1677209 w 2240198"/>
                <a:gd name="connsiteY4665" fmla="*/ 1626355 h 1729012"/>
                <a:gd name="connsiteX4666" fmla="*/ 1673673 w 2240198"/>
                <a:gd name="connsiteY4666" fmla="*/ 1627415 h 1729012"/>
                <a:gd name="connsiteX4667" fmla="*/ 1669027 w 2240198"/>
                <a:gd name="connsiteY4667" fmla="*/ 1629630 h 1729012"/>
                <a:gd name="connsiteX4668" fmla="*/ 1663401 w 2240198"/>
                <a:gd name="connsiteY4668" fmla="*/ 1633607 h 1729012"/>
                <a:gd name="connsiteX4669" fmla="*/ 1653494 w 2240198"/>
                <a:gd name="connsiteY4669" fmla="*/ 1642201 h 1729012"/>
                <a:gd name="connsiteX4670" fmla="*/ 1652799 w 2240198"/>
                <a:gd name="connsiteY4670" fmla="*/ 1643107 h 1729012"/>
                <a:gd name="connsiteX4671" fmla="*/ 1651365 w 2240198"/>
                <a:gd name="connsiteY4671" fmla="*/ 1644697 h 1729012"/>
                <a:gd name="connsiteX4672" fmla="*/ 1647707 w 2240198"/>
                <a:gd name="connsiteY4672" fmla="*/ 1646392 h 1729012"/>
                <a:gd name="connsiteX4673" fmla="*/ 1644386 w 2240198"/>
                <a:gd name="connsiteY4673" fmla="*/ 1648218 h 1729012"/>
                <a:gd name="connsiteX4674" fmla="*/ 1643507 w 2240198"/>
                <a:gd name="connsiteY4674" fmla="*/ 1650137 h 1729012"/>
                <a:gd name="connsiteX4675" fmla="*/ 1641917 w 2240198"/>
                <a:gd name="connsiteY4675" fmla="*/ 1651012 h 1729012"/>
                <a:gd name="connsiteX4676" fmla="*/ 1636438 w 2240198"/>
                <a:gd name="connsiteY4676" fmla="*/ 1655875 h 1729012"/>
                <a:gd name="connsiteX4677" fmla="*/ 1633357 w 2240198"/>
                <a:gd name="connsiteY4677" fmla="*/ 1660011 h 1729012"/>
                <a:gd name="connsiteX4678" fmla="*/ 1630559 w 2240198"/>
                <a:gd name="connsiteY4678" fmla="*/ 1664334 h 1729012"/>
                <a:gd name="connsiteX4679" fmla="*/ 1627427 w 2240198"/>
                <a:gd name="connsiteY4679" fmla="*/ 1669160 h 1729012"/>
                <a:gd name="connsiteX4680" fmla="*/ 1621003 w 2240198"/>
                <a:gd name="connsiteY4680" fmla="*/ 1669221 h 1729012"/>
                <a:gd name="connsiteX4681" fmla="*/ 1616100 w 2240198"/>
                <a:gd name="connsiteY4681" fmla="*/ 1669201 h 1729012"/>
                <a:gd name="connsiteX4682" fmla="*/ 1607737 w 2240198"/>
                <a:gd name="connsiteY4682" fmla="*/ 1669167 h 1729012"/>
                <a:gd name="connsiteX4683" fmla="*/ 1600567 w 2240198"/>
                <a:gd name="connsiteY4683" fmla="*/ 1669138 h 1729012"/>
                <a:gd name="connsiteX4684" fmla="*/ 1592060 w 2240198"/>
                <a:gd name="connsiteY4684" fmla="*/ 1669103 h 1729012"/>
                <a:gd name="connsiteX4685" fmla="*/ 1585886 w 2240198"/>
                <a:gd name="connsiteY4685" fmla="*/ 1669078 h 1729012"/>
                <a:gd name="connsiteX4686" fmla="*/ 1579238 w 2240198"/>
                <a:gd name="connsiteY4686" fmla="*/ 1669281 h 1729012"/>
                <a:gd name="connsiteX4687" fmla="*/ 1576065 w 2240198"/>
                <a:gd name="connsiteY4687" fmla="*/ 1670566 h 1729012"/>
                <a:gd name="connsiteX4688" fmla="*/ 1572086 w 2240198"/>
                <a:gd name="connsiteY4688" fmla="*/ 1672302 h 1729012"/>
                <a:gd name="connsiteX4689" fmla="*/ 1567792 w 2240198"/>
                <a:gd name="connsiteY4689" fmla="*/ 1674174 h 1729012"/>
                <a:gd name="connsiteX4690" fmla="*/ 1570044 w 2240198"/>
                <a:gd name="connsiteY4690" fmla="*/ 1678343 h 1729012"/>
                <a:gd name="connsiteX4691" fmla="*/ 1570648 w 2240198"/>
                <a:gd name="connsiteY4691" fmla="*/ 1679986 h 1729012"/>
                <a:gd name="connsiteX4692" fmla="*/ 1570474 w 2240198"/>
                <a:gd name="connsiteY4692" fmla="*/ 1685281 h 1729012"/>
                <a:gd name="connsiteX4693" fmla="*/ 1570933 w 2240198"/>
                <a:gd name="connsiteY4693" fmla="*/ 1685859 h 1729012"/>
                <a:gd name="connsiteX4694" fmla="*/ 1571413 w 2240198"/>
                <a:gd name="connsiteY4694" fmla="*/ 1686644 h 1729012"/>
                <a:gd name="connsiteX4695" fmla="*/ 1571487 w 2240198"/>
                <a:gd name="connsiteY4695" fmla="*/ 1688010 h 1729012"/>
                <a:gd name="connsiteX4696" fmla="*/ 1571854 w 2240198"/>
                <a:gd name="connsiteY4696" fmla="*/ 1688635 h 1729012"/>
                <a:gd name="connsiteX4697" fmla="*/ 1572638 w 2240198"/>
                <a:gd name="connsiteY4697" fmla="*/ 1689139 h 1729012"/>
                <a:gd name="connsiteX4698" fmla="*/ 1573519 w 2240198"/>
                <a:gd name="connsiteY4698" fmla="*/ 1689731 h 1729012"/>
                <a:gd name="connsiteX4699" fmla="*/ 1574156 w 2240198"/>
                <a:gd name="connsiteY4699" fmla="*/ 1690534 h 1729012"/>
                <a:gd name="connsiteX4700" fmla="*/ 1574303 w 2240198"/>
                <a:gd name="connsiteY4700" fmla="*/ 1691334 h 1729012"/>
                <a:gd name="connsiteX4701" fmla="*/ 1573689 w 2240198"/>
                <a:gd name="connsiteY4701" fmla="*/ 1692729 h 1729012"/>
                <a:gd name="connsiteX4702" fmla="*/ 1571218 w 2240198"/>
                <a:gd name="connsiteY4702" fmla="*/ 1694612 h 1729012"/>
                <a:gd name="connsiteX4703" fmla="*/ 1567745 w 2240198"/>
                <a:gd name="connsiteY4703" fmla="*/ 1696262 h 1729012"/>
                <a:gd name="connsiteX4704" fmla="*/ 1560835 w 2240198"/>
                <a:gd name="connsiteY4704" fmla="*/ 1699236 h 1729012"/>
                <a:gd name="connsiteX4705" fmla="*/ 1552828 w 2240198"/>
                <a:gd name="connsiteY4705" fmla="*/ 1702680 h 1729012"/>
                <a:gd name="connsiteX4706" fmla="*/ 1545887 w 2240198"/>
                <a:gd name="connsiteY4706" fmla="*/ 1705661 h 1729012"/>
                <a:gd name="connsiteX4707" fmla="*/ 1540516 w 2240198"/>
                <a:gd name="connsiteY4707" fmla="*/ 1707967 h 1729012"/>
                <a:gd name="connsiteX4708" fmla="*/ 1529485 w 2240198"/>
                <a:gd name="connsiteY4708" fmla="*/ 1709990 h 1729012"/>
                <a:gd name="connsiteX4709" fmla="*/ 1520721 w 2240198"/>
                <a:gd name="connsiteY4709" fmla="*/ 1711596 h 1729012"/>
                <a:gd name="connsiteX4710" fmla="*/ 1514397 w 2240198"/>
                <a:gd name="connsiteY4710" fmla="*/ 1712755 h 1729012"/>
                <a:gd name="connsiteX4711" fmla="*/ 1508573 w 2240198"/>
                <a:gd name="connsiteY4711" fmla="*/ 1715977 h 1729012"/>
                <a:gd name="connsiteX4712" fmla="*/ 1502142 w 2240198"/>
                <a:gd name="connsiteY4712" fmla="*/ 1719530 h 1729012"/>
                <a:gd name="connsiteX4713" fmla="*/ 1496735 w 2240198"/>
                <a:gd name="connsiteY4713" fmla="*/ 1722515 h 1729012"/>
                <a:gd name="connsiteX4714" fmla="*/ 1490672 w 2240198"/>
                <a:gd name="connsiteY4714" fmla="*/ 1725859 h 1729012"/>
                <a:gd name="connsiteX4715" fmla="*/ 1484947 w 2240198"/>
                <a:gd name="connsiteY4715" fmla="*/ 1729012 h 1729012"/>
                <a:gd name="connsiteX4716" fmla="*/ 1478584 w 2240198"/>
                <a:gd name="connsiteY4716" fmla="*/ 1729002 h 1729012"/>
                <a:gd name="connsiteX4717" fmla="*/ 1474116 w 2240198"/>
                <a:gd name="connsiteY4717" fmla="*/ 1726638 h 1729012"/>
                <a:gd name="connsiteX4718" fmla="*/ 1469964 w 2240198"/>
                <a:gd name="connsiteY4718" fmla="*/ 1724210 h 1729012"/>
                <a:gd name="connsiteX4719" fmla="*/ 1467125 w 2240198"/>
                <a:gd name="connsiteY4719" fmla="*/ 1719862 h 1729012"/>
                <a:gd name="connsiteX4720" fmla="*/ 1466930 w 2240198"/>
                <a:gd name="connsiteY4720" fmla="*/ 1714805 h 1729012"/>
                <a:gd name="connsiteX4721" fmla="*/ 1467947 w 2240198"/>
                <a:gd name="connsiteY4721" fmla="*/ 1711488 h 1729012"/>
                <a:gd name="connsiteX4722" fmla="*/ 1468869 w 2240198"/>
                <a:gd name="connsiteY4722" fmla="*/ 1709974 h 1729012"/>
                <a:gd name="connsiteX4723" fmla="*/ 1470630 w 2240198"/>
                <a:gd name="connsiteY4723" fmla="*/ 1709014 h 1729012"/>
                <a:gd name="connsiteX4724" fmla="*/ 1474077 w 2240198"/>
                <a:gd name="connsiteY4724" fmla="*/ 1707380 h 1729012"/>
                <a:gd name="connsiteX4725" fmla="*/ 1477210 w 2240198"/>
                <a:gd name="connsiteY4725" fmla="*/ 1704072 h 1729012"/>
                <a:gd name="connsiteX4726" fmla="*/ 1479723 w 2240198"/>
                <a:gd name="connsiteY4726" fmla="*/ 1702095 h 1729012"/>
                <a:gd name="connsiteX4727" fmla="*/ 1482254 w 2240198"/>
                <a:gd name="connsiteY4727" fmla="*/ 1700056 h 1729012"/>
                <a:gd name="connsiteX4728" fmla="*/ 1483698 w 2240198"/>
                <a:gd name="connsiteY4728" fmla="*/ 1696538 h 1729012"/>
                <a:gd name="connsiteX4729" fmla="*/ 1485501 w 2240198"/>
                <a:gd name="connsiteY4729" fmla="*/ 1688009 h 1729012"/>
                <a:gd name="connsiteX4730" fmla="*/ 1485730 w 2240198"/>
                <a:gd name="connsiteY4730" fmla="*/ 1686309 h 1729012"/>
                <a:gd name="connsiteX4731" fmla="*/ 1488352 w 2240198"/>
                <a:gd name="connsiteY4731" fmla="*/ 1680444 h 1729012"/>
                <a:gd name="connsiteX4732" fmla="*/ 1491253 w 2240198"/>
                <a:gd name="connsiteY4732" fmla="*/ 1673941 h 1729012"/>
                <a:gd name="connsiteX4733" fmla="*/ 1492585 w 2240198"/>
                <a:gd name="connsiteY4733" fmla="*/ 1670950 h 1729012"/>
                <a:gd name="connsiteX4734" fmla="*/ 1491096 w 2240198"/>
                <a:gd name="connsiteY4734" fmla="*/ 1663175 h 1729012"/>
                <a:gd name="connsiteX4735" fmla="*/ 1489976 w 2240198"/>
                <a:gd name="connsiteY4735" fmla="*/ 1657187 h 1729012"/>
                <a:gd name="connsiteX4736" fmla="*/ 1488949 w 2240198"/>
                <a:gd name="connsiteY4736" fmla="*/ 1651692 h 1729012"/>
                <a:gd name="connsiteX4737" fmla="*/ 1487794 w 2240198"/>
                <a:gd name="connsiteY4737" fmla="*/ 1645490 h 1729012"/>
                <a:gd name="connsiteX4738" fmla="*/ 1486743 w 2240198"/>
                <a:gd name="connsiteY4738" fmla="*/ 1639833 h 1729012"/>
                <a:gd name="connsiteX4739" fmla="*/ 1485751 w 2240198"/>
                <a:gd name="connsiteY4739" fmla="*/ 1634493 h 1729012"/>
                <a:gd name="connsiteX4740" fmla="*/ 1484757 w 2240198"/>
                <a:gd name="connsiteY4740" fmla="*/ 1629125 h 1729012"/>
                <a:gd name="connsiteX4741" fmla="*/ 1483781 w 2240198"/>
                <a:gd name="connsiteY4741" fmla="*/ 1623852 h 1729012"/>
                <a:gd name="connsiteX4742" fmla="*/ 1483016 w 2240198"/>
                <a:gd name="connsiteY4742" fmla="*/ 1620066 h 1729012"/>
                <a:gd name="connsiteX4743" fmla="*/ 1482107 w 2240198"/>
                <a:gd name="connsiteY4743" fmla="*/ 1615572 h 1729012"/>
                <a:gd name="connsiteX4744" fmla="*/ 1476800 w 2240198"/>
                <a:gd name="connsiteY4744" fmla="*/ 1612414 h 1729012"/>
                <a:gd name="connsiteX4745" fmla="*/ 1472769 w 2240198"/>
                <a:gd name="connsiteY4745" fmla="*/ 1610200 h 1729012"/>
                <a:gd name="connsiteX4746" fmla="*/ 1466178 w 2240198"/>
                <a:gd name="connsiteY4746" fmla="*/ 1606581 h 1729012"/>
                <a:gd name="connsiteX4747" fmla="*/ 1460649 w 2240198"/>
                <a:gd name="connsiteY4747" fmla="*/ 1603543 h 1729012"/>
                <a:gd name="connsiteX4748" fmla="*/ 1455697 w 2240198"/>
                <a:gd name="connsiteY4748" fmla="*/ 1600760 h 1729012"/>
                <a:gd name="connsiteX4749" fmla="*/ 1458820 w 2240198"/>
                <a:gd name="connsiteY4749" fmla="*/ 1595143 h 1729012"/>
                <a:gd name="connsiteX4750" fmla="*/ 1458550 w 2240198"/>
                <a:gd name="connsiteY4750" fmla="*/ 1594223 h 1729012"/>
                <a:gd name="connsiteX4751" fmla="*/ 1457418 w 2240198"/>
                <a:gd name="connsiteY4751" fmla="*/ 1593115 h 1729012"/>
                <a:gd name="connsiteX4752" fmla="*/ 1455105 w 2240198"/>
                <a:gd name="connsiteY4752" fmla="*/ 1591273 h 1729012"/>
                <a:gd name="connsiteX4753" fmla="*/ 1453753 w 2240198"/>
                <a:gd name="connsiteY4753" fmla="*/ 1591085 h 1729012"/>
                <a:gd name="connsiteX4754" fmla="*/ 1451372 w 2240198"/>
                <a:gd name="connsiteY4754" fmla="*/ 1591518 h 1729012"/>
                <a:gd name="connsiteX4755" fmla="*/ 1447572 w 2240198"/>
                <a:gd name="connsiteY4755" fmla="*/ 1592665 h 1729012"/>
                <a:gd name="connsiteX4756" fmla="*/ 1445931 w 2240198"/>
                <a:gd name="connsiteY4756" fmla="*/ 1592285 h 1729012"/>
                <a:gd name="connsiteX4757" fmla="*/ 1444627 w 2240198"/>
                <a:gd name="connsiteY4757" fmla="*/ 1590315 h 1729012"/>
                <a:gd name="connsiteX4758" fmla="*/ 1443126 w 2240198"/>
                <a:gd name="connsiteY4758" fmla="*/ 1587794 h 1729012"/>
                <a:gd name="connsiteX4759" fmla="*/ 1442636 w 2240198"/>
                <a:gd name="connsiteY4759" fmla="*/ 1585821 h 1729012"/>
                <a:gd name="connsiteX4760" fmla="*/ 1442447 w 2240198"/>
                <a:gd name="connsiteY4760" fmla="*/ 1583210 h 1729012"/>
                <a:gd name="connsiteX4761" fmla="*/ 1441552 w 2240198"/>
                <a:gd name="connsiteY4761" fmla="*/ 1580857 h 1729012"/>
                <a:gd name="connsiteX4762" fmla="*/ 1442118 w 2240198"/>
                <a:gd name="connsiteY4762" fmla="*/ 1579622 h 1729012"/>
                <a:gd name="connsiteX4763" fmla="*/ 1442245 w 2240198"/>
                <a:gd name="connsiteY4763" fmla="*/ 1579007 h 1729012"/>
                <a:gd name="connsiteX4764" fmla="*/ 1442193 w 2240198"/>
                <a:gd name="connsiteY4764" fmla="*/ 1578232 h 1729012"/>
                <a:gd name="connsiteX4765" fmla="*/ 1441578 w 2240198"/>
                <a:gd name="connsiteY4765" fmla="*/ 1577738 h 1729012"/>
                <a:gd name="connsiteX4766" fmla="*/ 1440495 w 2240198"/>
                <a:gd name="connsiteY4766" fmla="*/ 1577522 h 1729012"/>
                <a:gd name="connsiteX4767" fmla="*/ 1436830 w 2240198"/>
                <a:gd name="connsiteY4767" fmla="*/ 1578511 h 1729012"/>
                <a:gd name="connsiteX4768" fmla="*/ 1435182 w 2240198"/>
                <a:gd name="connsiteY4768" fmla="*/ 1578603 h 1729012"/>
                <a:gd name="connsiteX4769" fmla="*/ 1434199 w 2240198"/>
                <a:gd name="connsiteY4769" fmla="*/ 1579159 h 1729012"/>
                <a:gd name="connsiteX4770" fmla="*/ 1432650 w 2240198"/>
                <a:gd name="connsiteY4770" fmla="*/ 1580314 h 1729012"/>
                <a:gd name="connsiteX4771" fmla="*/ 1431124 w 2240198"/>
                <a:gd name="connsiteY4771" fmla="*/ 1580457 h 1729012"/>
                <a:gd name="connsiteX4772" fmla="*/ 1428486 w 2240198"/>
                <a:gd name="connsiteY4772" fmla="*/ 1577722 h 1729012"/>
                <a:gd name="connsiteX4773" fmla="*/ 1425606 w 2240198"/>
                <a:gd name="connsiteY4773" fmla="*/ 1574726 h 1729012"/>
                <a:gd name="connsiteX4774" fmla="*/ 1424397 w 2240198"/>
                <a:gd name="connsiteY4774" fmla="*/ 1570593 h 1729012"/>
                <a:gd name="connsiteX4775" fmla="*/ 1423156 w 2240198"/>
                <a:gd name="connsiteY4775" fmla="*/ 1566343 h 1729012"/>
                <a:gd name="connsiteX4776" fmla="*/ 1418235 w 2240198"/>
                <a:gd name="connsiteY4776" fmla="*/ 1563784 h 1729012"/>
                <a:gd name="connsiteX4777" fmla="*/ 1413315 w 2240198"/>
                <a:gd name="connsiteY4777" fmla="*/ 1561221 h 1729012"/>
                <a:gd name="connsiteX4778" fmla="*/ 1408393 w 2240198"/>
                <a:gd name="connsiteY4778" fmla="*/ 1558659 h 1729012"/>
                <a:gd name="connsiteX4779" fmla="*/ 1403473 w 2240198"/>
                <a:gd name="connsiteY4779" fmla="*/ 1556092 h 1729012"/>
                <a:gd name="connsiteX4780" fmla="*/ 1398551 w 2240198"/>
                <a:gd name="connsiteY4780" fmla="*/ 1553524 h 1729012"/>
                <a:gd name="connsiteX4781" fmla="*/ 1393632 w 2240198"/>
                <a:gd name="connsiteY4781" fmla="*/ 1550953 h 1729012"/>
                <a:gd name="connsiteX4782" fmla="*/ 1388710 w 2240198"/>
                <a:gd name="connsiteY4782" fmla="*/ 1548380 h 1729012"/>
                <a:gd name="connsiteX4783" fmla="*/ 1383788 w 2240198"/>
                <a:gd name="connsiteY4783" fmla="*/ 1545805 h 1729012"/>
                <a:gd name="connsiteX4784" fmla="*/ 1382090 w 2240198"/>
                <a:gd name="connsiteY4784" fmla="*/ 1544951 h 1729012"/>
                <a:gd name="connsiteX4785" fmla="*/ 1377611 w 2240198"/>
                <a:gd name="connsiteY4785" fmla="*/ 1542702 h 1729012"/>
                <a:gd name="connsiteX4786" fmla="*/ 1371281 w 2240198"/>
                <a:gd name="connsiteY4786" fmla="*/ 1539517 h 1729012"/>
                <a:gd name="connsiteX4787" fmla="*/ 1364025 w 2240198"/>
                <a:gd name="connsiteY4787" fmla="*/ 1535861 h 1729012"/>
                <a:gd name="connsiteX4788" fmla="*/ 1356767 w 2240198"/>
                <a:gd name="connsiteY4788" fmla="*/ 1532199 h 1729012"/>
                <a:gd name="connsiteX4789" fmla="*/ 1350436 w 2240198"/>
                <a:gd name="connsiteY4789" fmla="*/ 1529002 h 1729012"/>
                <a:gd name="connsiteX4790" fmla="*/ 1345958 w 2240198"/>
                <a:gd name="connsiteY4790" fmla="*/ 1526741 h 1729012"/>
                <a:gd name="connsiteX4791" fmla="*/ 1344261 w 2240198"/>
                <a:gd name="connsiteY4791" fmla="*/ 1525882 h 1729012"/>
                <a:gd name="connsiteX4792" fmla="*/ 1339869 w 2240198"/>
                <a:gd name="connsiteY4792" fmla="*/ 1523661 h 1729012"/>
                <a:gd name="connsiteX4793" fmla="*/ 1334353 w 2240198"/>
                <a:gd name="connsiteY4793" fmla="*/ 1521139 h 1729012"/>
                <a:gd name="connsiteX4794" fmla="*/ 1328430 w 2240198"/>
                <a:gd name="connsiteY4794" fmla="*/ 1522408 h 1729012"/>
                <a:gd name="connsiteX4795" fmla="*/ 1321154 w 2240198"/>
                <a:gd name="connsiteY4795" fmla="*/ 1525920 h 1729012"/>
                <a:gd name="connsiteX4796" fmla="*/ 1316999 w 2240198"/>
                <a:gd name="connsiteY4796" fmla="*/ 1527926 h 1729012"/>
                <a:gd name="connsiteX4797" fmla="*/ 1313879 w 2240198"/>
                <a:gd name="connsiteY4797" fmla="*/ 1529428 h 1729012"/>
                <a:gd name="connsiteX4798" fmla="*/ 1311658 w 2240198"/>
                <a:gd name="connsiteY4798" fmla="*/ 1530317 h 1729012"/>
                <a:gd name="connsiteX4799" fmla="*/ 1307033 w 2240198"/>
                <a:gd name="connsiteY4799" fmla="*/ 1531084 h 1729012"/>
                <a:gd name="connsiteX4800" fmla="*/ 1304626 w 2240198"/>
                <a:gd name="connsiteY4800" fmla="*/ 1530966 h 1729012"/>
                <a:gd name="connsiteX4801" fmla="*/ 1298925 w 2240198"/>
                <a:gd name="connsiteY4801" fmla="*/ 1530467 h 1729012"/>
                <a:gd name="connsiteX4802" fmla="*/ 1295740 w 2240198"/>
                <a:gd name="connsiteY4802" fmla="*/ 1531109 h 1729012"/>
                <a:gd name="connsiteX4803" fmla="*/ 1293391 w 2240198"/>
                <a:gd name="connsiteY4803" fmla="*/ 1530467 h 1729012"/>
                <a:gd name="connsiteX4804" fmla="*/ 1292217 w 2240198"/>
                <a:gd name="connsiteY4804" fmla="*/ 1528432 h 1729012"/>
                <a:gd name="connsiteX4805" fmla="*/ 1290902 w 2240198"/>
                <a:gd name="connsiteY4805" fmla="*/ 1527138 h 1729012"/>
                <a:gd name="connsiteX4806" fmla="*/ 1285113 w 2240198"/>
                <a:gd name="connsiteY4806" fmla="*/ 1527752 h 1729012"/>
                <a:gd name="connsiteX4807" fmla="*/ 1277836 w 2240198"/>
                <a:gd name="connsiteY4807" fmla="*/ 1527317 h 1729012"/>
                <a:gd name="connsiteX4808" fmla="*/ 1274355 w 2240198"/>
                <a:gd name="connsiteY4808" fmla="*/ 1527577 h 1729012"/>
                <a:gd name="connsiteX4809" fmla="*/ 1273013 w 2240198"/>
                <a:gd name="connsiteY4809" fmla="*/ 1526719 h 1729012"/>
                <a:gd name="connsiteX4810" fmla="*/ 1271921 w 2240198"/>
                <a:gd name="connsiteY4810" fmla="*/ 1524467 h 1729012"/>
                <a:gd name="connsiteX4811" fmla="*/ 1270002 w 2240198"/>
                <a:gd name="connsiteY4811" fmla="*/ 1524188 h 1729012"/>
                <a:gd name="connsiteX4812" fmla="*/ 1266771 w 2240198"/>
                <a:gd name="connsiteY4812" fmla="*/ 1524688 h 1729012"/>
                <a:gd name="connsiteX4813" fmla="*/ 1262278 w 2240198"/>
                <a:gd name="connsiteY4813" fmla="*/ 1527577 h 1729012"/>
                <a:gd name="connsiteX4814" fmla="*/ 1258055 w 2240198"/>
                <a:gd name="connsiteY4814" fmla="*/ 1529068 h 1729012"/>
                <a:gd name="connsiteX4815" fmla="*/ 1254731 w 2240198"/>
                <a:gd name="connsiteY4815" fmla="*/ 1529076 h 1729012"/>
                <a:gd name="connsiteX4816" fmla="*/ 1251460 w 2240198"/>
                <a:gd name="connsiteY4816" fmla="*/ 1527577 h 1729012"/>
                <a:gd name="connsiteX4817" fmla="*/ 1246107 w 2240198"/>
                <a:gd name="connsiteY4817" fmla="*/ 1524563 h 1729012"/>
                <a:gd name="connsiteX4818" fmla="*/ 1242385 w 2240198"/>
                <a:gd name="connsiteY4818" fmla="*/ 1521179 h 1729012"/>
                <a:gd name="connsiteX4819" fmla="*/ 1238160 w 2240198"/>
                <a:gd name="connsiteY4819" fmla="*/ 1519994 h 1729012"/>
                <a:gd name="connsiteX4820" fmla="*/ 1234943 w 2240198"/>
                <a:gd name="connsiteY4820" fmla="*/ 1520301 h 1729012"/>
                <a:gd name="connsiteX4821" fmla="*/ 1233681 w 2240198"/>
                <a:gd name="connsiteY4821" fmla="*/ 1521998 h 1729012"/>
                <a:gd name="connsiteX4822" fmla="*/ 1232004 w 2240198"/>
                <a:gd name="connsiteY4822" fmla="*/ 1521998 h 1729012"/>
                <a:gd name="connsiteX4823" fmla="*/ 1230830 w 2240198"/>
                <a:gd name="connsiteY4823" fmla="*/ 1519100 h 1729012"/>
                <a:gd name="connsiteX4824" fmla="*/ 1229824 w 2240198"/>
                <a:gd name="connsiteY4824" fmla="*/ 1516843 h 1729012"/>
                <a:gd name="connsiteX4825" fmla="*/ 1227727 w 2240198"/>
                <a:gd name="connsiteY4825" fmla="*/ 1515876 h 1729012"/>
                <a:gd name="connsiteX4826" fmla="*/ 1223939 w 2240198"/>
                <a:gd name="connsiteY4826" fmla="*/ 1513704 h 1729012"/>
                <a:gd name="connsiteX4827" fmla="*/ 1221300 w 2240198"/>
                <a:gd name="connsiteY4827" fmla="*/ 1512534 h 1729012"/>
                <a:gd name="connsiteX4828" fmla="*/ 1217256 w 2240198"/>
                <a:gd name="connsiteY4828" fmla="*/ 1511100 h 1729012"/>
                <a:gd name="connsiteX4829" fmla="*/ 1215849 w 2240198"/>
                <a:gd name="connsiteY4829" fmla="*/ 1510837 h 1729012"/>
                <a:gd name="connsiteX4830" fmla="*/ 1213224 w 2240198"/>
                <a:gd name="connsiteY4830" fmla="*/ 1510659 h 1729012"/>
                <a:gd name="connsiteX4831" fmla="*/ 1210620 w 2240198"/>
                <a:gd name="connsiteY4831" fmla="*/ 1510545 h 1729012"/>
                <a:gd name="connsiteX4832" fmla="*/ 1207578 w 2240198"/>
                <a:gd name="connsiteY4832" fmla="*/ 1510945 h 1729012"/>
                <a:gd name="connsiteX4833" fmla="*/ 1205404 w 2240198"/>
                <a:gd name="connsiteY4833" fmla="*/ 1512745 h 1729012"/>
                <a:gd name="connsiteX4834" fmla="*/ 1202853 w 2240198"/>
                <a:gd name="connsiteY4834" fmla="*/ 1513539 h 1729012"/>
                <a:gd name="connsiteX4835" fmla="*/ 1199215 w 2240198"/>
                <a:gd name="connsiteY4835" fmla="*/ 1513912 h 1729012"/>
                <a:gd name="connsiteX4836" fmla="*/ 1196784 w 2240198"/>
                <a:gd name="connsiteY4836" fmla="*/ 1513148 h 1729012"/>
                <a:gd name="connsiteX4837" fmla="*/ 1195567 w 2240198"/>
                <a:gd name="connsiteY4837" fmla="*/ 1511248 h 1729012"/>
                <a:gd name="connsiteX4838" fmla="*/ 1190405 w 2240198"/>
                <a:gd name="connsiteY4838" fmla="*/ 1509561 h 1729012"/>
                <a:gd name="connsiteX4839" fmla="*/ 1181303 w 2240198"/>
                <a:gd name="connsiteY4839" fmla="*/ 1508092 h 1729012"/>
                <a:gd name="connsiteX4840" fmla="*/ 1176060 w 2240198"/>
                <a:gd name="connsiteY4840" fmla="*/ 1506835 h 1729012"/>
                <a:gd name="connsiteX4841" fmla="*/ 1174679 w 2240198"/>
                <a:gd name="connsiteY4841" fmla="*/ 1505797 h 1729012"/>
                <a:gd name="connsiteX4842" fmla="*/ 1173926 w 2240198"/>
                <a:gd name="connsiteY4842" fmla="*/ 1504685 h 1729012"/>
                <a:gd name="connsiteX4843" fmla="*/ 1173736 w 2240198"/>
                <a:gd name="connsiteY4843" fmla="*/ 1502905 h 1729012"/>
                <a:gd name="connsiteX4844" fmla="*/ 1173730 w 2240198"/>
                <a:gd name="connsiteY4844" fmla="*/ 1502892 h 1729012"/>
                <a:gd name="connsiteX4845" fmla="*/ 1171430 w 2240198"/>
                <a:gd name="connsiteY4845" fmla="*/ 1498330 h 1729012"/>
                <a:gd name="connsiteX4846" fmla="*/ 1170440 w 2240198"/>
                <a:gd name="connsiteY4846" fmla="*/ 1494523 h 1729012"/>
                <a:gd name="connsiteX4847" fmla="*/ 1169987 w 2240198"/>
                <a:gd name="connsiteY4847" fmla="*/ 1489952 h 1729012"/>
                <a:gd name="connsiteX4848" fmla="*/ 1170140 w 2240198"/>
                <a:gd name="connsiteY4848" fmla="*/ 1488443 h 1729012"/>
                <a:gd name="connsiteX4849" fmla="*/ 1169622 w 2240198"/>
                <a:gd name="connsiteY4849" fmla="*/ 1487968 h 1729012"/>
                <a:gd name="connsiteX4850" fmla="*/ 1167986 w 2240198"/>
                <a:gd name="connsiteY4850" fmla="*/ 1486971 h 1729012"/>
                <a:gd name="connsiteX4851" fmla="*/ 1162510 w 2240198"/>
                <a:gd name="connsiteY4851" fmla="*/ 1486304 h 1729012"/>
                <a:gd name="connsiteX4852" fmla="*/ 1162434 w 2240198"/>
                <a:gd name="connsiteY4852" fmla="*/ 1491773 h 1729012"/>
                <a:gd name="connsiteX4853" fmla="*/ 1162338 w 2240198"/>
                <a:gd name="connsiteY4853" fmla="*/ 1498696 h 1729012"/>
                <a:gd name="connsiteX4854" fmla="*/ 1156358 w 2240198"/>
                <a:gd name="connsiteY4854" fmla="*/ 1498650 h 1729012"/>
                <a:gd name="connsiteX4855" fmla="*/ 1145546 w 2240198"/>
                <a:gd name="connsiteY4855" fmla="*/ 1498650 h 1729012"/>
                <a:gd name="connsiteX4856" fmla="*/ 1134734 w 2240198"/>
                <a:gd name="connsiteY4856" fmla="*/ 1498650 h 1729012"/>
                <a:gd name="connsiteX4857" fmla="*/ 1123924 w 2240198"/>
                <a:gd name="connsiteY4857" fmla="*/ 1498650 h 1729012"/>
                <a:gd name="connsiteX4858" fmla="*/ 1113111 w 2240198"/>
                <a:gd name="connsiteY4858" fmla="*/ 1498650 h 1729012"/>
                <a:gd name="connsiteX4859" fmla="*/ 1102300 w 2240198"/>
                <a:gd name="connsiteY4859" fmla="*/ 1498650 h 1729012"/>
                <a:gd name="connsiteX4860" fmla="*/ 1091489 w 2240198"/>
                <a:gd name="connsiteY4860" fmla="*/ 1498650 h 1729012"/>
                <a:gd name="connsiteX4861" fmla="*/ 1080677 w 2240198"/>
                <a:gd name="connsiteY4861" fmla="*/ 1498650 h 1729012"/>
                <a:gd name="connsiteX4862" fmla="*/ 1069866 w 2240198"/>
                <a:gd name="connsiteY4862" fmla="*/ 1498650 h 1729012"/>
                <a:gd name="connsiteX4863" fmla="*/ 1059054 w 2240198"/>
                <a:gd name="connsiteY4863" fmla="*/ 1498651 h 1729012"/>
                <a:gd name="connsiteX4864" fmla="*/ 1048243 w 2240198"/>
                <a:gd name="connsiteY4864" fmla="*/ 1498651 h 1729012"/>
                <a:gd name="connsiteX4865" fmla="*/ 1037431 w 2240198"/>
                <a:gd name="connsiteY4865" fmla="*/ 1498651 h 1729012"/>
                <a:gd name="connsiteX4866" fmla="*/ 1026619 w 2240198"/>
                <a:gd name="connsiteY4866" fmla="*/ 1498651 h 1729012"/>
                <a:gd name="connsiteX4867" fmla="*/ 1015808 w 2240198"/>
                <a:gd name="connsiteY4867" fmla="*/ 1498651 h 1729012"/>
                <a:gd name="connsiteX4868" fmla="*/ 1004996 w 2240198"/>
                <a:gd name="connsiteY4868" fmla="*/ 1498651 h 1729012"/>
                <a:gd name="connsiteX4869" fmla="*/ 994184 w 2240198"/>
                <a:gd name="connsiteY4869" fmla="*/ 1498651 h 1729012"/>
                <a:gd name="connsiteX4870" fmla="*/ 983374 w 2240198"/>
                <a:gd name="connsiteY4870" fmla="*/ 1498651 h 1729012"/>
                <a:gd name="connsiteX4871" fmla="*/ 972562 w 2240198"/>
                <a:gd name="connsiteY4871" fmla="*/ 1498651 h 1729012"/>
                <a:gd name="connsiteX4872" fmla="*/ 961751 w 2240198"/>
                <a:gd name="connsiteY4872" fmla="*/ 1498651 h 1729012"/>
                <a:gd name="connsiteX4873" fmla="*/ 950939 w 2240198"/>
                <a:gd name="connsiteY4873" fmla="*/ 1498651 h 1729012"/>
                <a:gd name="connsiteX4874" fmla="*/ 940127 w 2240198"/>
                <a:gd name="connsiteY4874" fmla="*/ 1498651 h 1729012"/>
                <a:gd name="connsiteX4875" fmla="*/ 929316 w 2240198"/>
                <a:gd name="connsiteY4875" fmla="*/ 1498651 h 1729012"/>
                <a:gd name="connsiteX4876" fmla="*/ 918504 w 2240198"/>
                <a:gd name="connsiteY4876" fmla="*/ 1498651 h 1729012"/>
                <a:gd name="connsiteX4877" fmla="*/ 907693 w 2240198"/>
                <a:gd name="connsiteY4877" fmla="*/ 1498651 h 1729012"/>
                <a:gd name="connsiteX4878" fmla="*/ 896881 w 2240198"/>
                <a:gd name="connsiteY4878" fmla="*/ 1498651 h 1729012"/>
                <a:gd name="connsiteX4879" fmla="*/ 886069 w 2240198"/>
                <a:gd name="connsiteY4879" fmla="*/ 1498651 h 1729012"/>
                <a:gd name="connsiteX4880" fmla="*/ 875259 w 2240198"/>
                <a:gd name="connsiteY4880" fmla="*/ 1498651 h 1729012"/>
                <a:gd name="connsiteX4881" fmla="*/ 864447 w 2240198"/>
                <a:gd name="connsiteY4881" fmla="*/ 1498651 h 1729012"/>
                <a:gd name="connsiteX4882" fmla="*/ 853636 w 2240198"/>
                <a:gd name="connsiteY4882" fmla="*/ 1498651 h 1729012"/>
                <a:gd name="connsiteX4883" fmla="*/ 842824 w 2240198"/>
                <a:gd name="connsiteY4883" fmla="*/ 1498651 h 1729012"/>
                <a:gd name="connsiteX4884" fmla="*/ 832012 w 2240198"/>
                <a:gd name="connsiteY4884" fmla="*/ 1498651 h 1729012"/>
                <a:gd name="connsiteX4885" fmla="*/ 821201 w 2240198"/>
                <a:gd name="connsiteY4885" fmla="*/ 1498651 h 1729012"/>
                <a:gd name="connsiteX4886" fmla="*/ 810389 w 2240198"/>
                <a:gd name="connsiteY4886" fmla="*/ 1498651 h 1729012"/>
                <a:gd name="connsiteX4887" fmla="*/ 799577 w 2240198"/>
                <a:gd name="connsiteY4887" fmla="*/ 1498653 h 1729012"/>
                <a:gd name="connsiteX4888" fmla="*/ 788766 w 2240198"/>
                <a:gd name="connsiteY4888" fmla="*/ 1498653 h 1729012"/>
                <a:gd name="connsiteX4889" fmla="*/ 777954 w 2240198"/>
                <a:gd name="connsiteY4889" fmla="*/ 1498653 h 1729012"/>
                <a:gd name="connsiteX4890" fmla="*/ 767144 w 2240198"/>
                <a:gd name="connsiteY4890" fmla="*/ 1498653 h 1729012"/>
                <a:gd name="connsiteX4891" fmla="*/ 756332 w 2240198"/>
                <a:gd name="connsiteY4891" fmla="*/ 1498653 h 1729012"/>
                <a:gd name="connsiteX4892" fmla="*/ 745521 w 2240198"/>
                <a:gd name="connsiteY4892" fmla="*/ 1498653 h 1729012"/>
                <a:gd name="connsiteX4893" fmla="*/ 734709 w 2240198"/>
                <a:gd name="connsiteY4893" fmla="*/ 1498653 h 1729012"/>
                <a:gd name="connsiteX4894" fmla="*/ 723897 w 2240198"/>
                <a:gd name="connsiteY4894" fmla="*/ 1498653 h 1729012"/>
                <a:gd name="connsiteX4895" fmla="*/ 713086 w 2240198"/>
                <a:gd name="connsiteY4895" fmla="*/ 1498653 h 1729012"/>
                <a:gd name="connsiteX4896" fmla="*/ 702274 w 2240198"/>
                <a:gd name="connsiteY4896" fmla="*/ 1498653 h 1729012"/>
                <a:gd name="connsiteX4897" fmla="*/ 691462 w 2240198"/>
                <a:gd name="connsiteY4897" fmla="*/ 1498653 h 1729012"/>
                <a:gd name="connsiteX4898" fmla="*/ 680651 w 2240198"/>
                <a:gd name="connsiteY4898" fmla="*/ 1498653 h 1729012"/>
                <a:gd name="connsiteX4899" fmla="*/ 669841 w 2240198"/>
                <a:gd name="connsiteY4899" fmla="*/ 1498653 h 1729012"/>
                <a:gd name="connsiteX4900" fmla="*/ 659028 w 2240198"/>
                <a:gd name="connsiteY4900" fmla="*/ 1498653 h 1729012"/>
                <a:gd name="connsiteX4901" fmla="*/ 648217 w 2240198"/>
                <a:gd name="connsiteY4901" fmla="*/ 1498653 h 1729012"/>
                <a:gd name="connsiteX4902" fmla="*/ 637406 w 2240198"/>
                <a:gd name="connsiteY4902" fmla="*/ 1498653 h 1729012"/>
                <a:gd name="connsiteX4903" fmla="*/ 626594 w 2240198"/>
                <a:gd name="connsiteY4903" fmla="*/ 1498653 h 1729012"/>
                <a:gd name="connsiteX4904" fmla="*/ 615782 w 2240198"/>
                <a:gd name="connsiteY4904" fmla="*/ 1498653 h 1729012"/>
                <a:gd name="connsiteX4905" fmla="*/ 604971 w 2240198"/>
                <a:gd name="connsiteY4905" fmla="*/ 1498653 h 1729012"/>
                <a:gd name="connsiteX4906" fmla="*/ 594160 w 2240198"/>
                <a:gd name="connsiteY4906" fmla="*/ 1498653 h 1729012"/>
                <a:gd name="connsiteX4907" fmla="*/ 583347 w 2240198"/>
                <a:gd name="connsiteY4907" fmla="*/ 1498653 h 1729012"/>
                <a:gd name="connsiteX4908" fmla="*/ 572536 w 2240198"/>
                <a:gd name="connsiteY4908" fmla="*/ 1498653 h 1729012"/>
                <a:gd name="connsiteX4909" fmla="*/ 561725 w 2240198"/>
                <a:gd name="connsiteY4909" fmla="*/ 1498653 h 1729012"/>
                <a:gd name="connsiteX4910" fmla="*/ 550912 w 2240198"/>
                <a:gd name="connsiteY4910" fmla="*/ 1498653 h 1729012"/>
                <a:gd name="connsiteX4911" fmla="*/ 540102 w 2240198"/>
                <a:gd name="connsiteY4911" fmla="*/ 1498654 h 1729012"/>
                <a:gd name="connsiteX4912" fmla="*/ 529291 w 2240198"/>
                <a:gd name="connsiteY4912" fmla="*/ 1498654 h 1729012"/>
                <a:gd name="connsiteX4913" fmla="*/ 518478 w 2240198"/>
                <a:gd name="connsiteY4913" fmla="*/ 1498654 h 1729012"/>
                <a:gd name="connsiteX4914" fmla="*/ 507667 w 2240198"/>
                <a:gd name="connsiteY4914" fmla="*/ 1498654 h 1729012"/>
                <a:gd name="connsiteX4915" fmla="*/ 496856 w 2240198"/>
                <a:gd name="connsiteY4915" fmla="*/ 1498654 h 1729012"/>
                <a:gd name="connsiteX4916" fmla="*/ 486045 w 2240198"/>
                <a:gd name="connsiteY4916" fmla="*/ 1498654 h 1729012"/>
                <a:gd name="connsiteX4917" fmla="*/ 475232 w 2240198"/>
                <a:gd name="connsiteY4917" fmla="*/ 1498654 h 1729012"/>
                <a:gd name="connsiteX4918" fmla="*/ 464421 w 2240198"/>
                <a:gd name="connsiteY4918" fmla="*/ 1498654 h 1729012"/>
                <a:gd name="connsiteX4919" fmla="*/ 461825 w 2240198"/>
                <a:gd name="connsiteY4919" fmla="*/ 1498654 h 1729012"/>
                <a:gd name="connsiteX4920" fmla="*/ 460863 w 2240198"/>
                <a:gd name="connsiteY4920" fmla="*/ 1497496 h 1729012"/>
                <a:gd name="connsiteX4921" fmla="*/ 458391 w 2240198"/>
                <a:gd name="connsiteY4921" fmla="*/ 1495983 h 1729012"/>
                <a:gd name="connsiteX4922" fmla="*/ 457414 w 2240198"/>
                <a:gd name="connsiteY4922" fmla="*/ 1495984 h 1729012"/>
                <a:gd name="connsiteX4923" fmla="*/ 456411 w 2240198"/>
                <a:gd name="connsiteY4923" fmla="*/ 1496433 h 1729012"/>
                <a:gd name="connsiteX4924" fmla="*/ 455778 w 2240198"/>
                <a:gd name="connsiteY4924" fmla="*/ 1497165 h 1729012"/>
                <a:gd name="connsiteX4925" fmla="*/ 455221 w 2240198"/>
                <a:gd name="connsiteY4925" fmla="*/ 1498654 h 1729012"/>
                <a:gd name="connsiteX4926" fmla="*/ 454864 w 2240198"/>
                <a:gd name="connsiteY4926" fmla="*/ 1499154 h 1729012"/>
                <a:gd name="connsiteX4927" fmla="*/ 454509 w 2240198"/>
                <a:gd name="connsiteY4927" fmla="*/ 1499073 h 1729012"/>
                <a:gd name="connsiteX4928" fmla="*/ 454277 w 2240198"/>
                <a:gd name="connsiteY4928" fmla="*/ 1498654 h 1729012"/>
                <a:gd name="connsiteX4929" fmla="*/ 453486 w 2240198"/>
                <a:gd name="connsiteY4929" fmla="*/ 1496582 h 1729012"/>
                <a:gd name="connsiteX4930" fmla="*/ 453697 w 2240198"/>
                <a:gd name="connsiteY4930" fmla="*/ 1495656 h 1729012"/>
                <a:gd name="connsiteX4931" fmla="*/ 454509 w 2240198"/>
                <a:gd name="connsiteY4931" fmla="*/ 1494550 h 1729012"/>
                <a:gd name="connsiteX4932" fmla="*/ 454452 w 2240198"/>
                <a:gd name="connsiteY4932" fmla="*/ 1494149 h 1729012"/>
                <a:gd name="connsiteX4933" fmla="*/ 452661 w 2240198"/>
                <a:gd name="connsiteY4933" fmla="*/ 1494463 h 1729012"/>
                <a:gd name="connsiteX4934" fmla="*/ 451857 w 2240198"/>
                <a:gd name="connsiteY4934" fmla="*/ 1494186 h 1729012"/>
                <a:gd name="connsiteX4935" fmla="*/ 451490 w 2240198"/>
                <a:gd name="connsiteY4935" fmla="*/ 1493589 h 1729012"/>
                <a:gd name="connsiteX4936" fmla="*/ 451624 w 2240198"/>
                <a:gd name="connsiteY4936" fmla="*/ 1491234 h 1729012"/>
                <a:gd name="connsiteX4937" fmla="*/ 450651 w 2240198"/>
                <a:gd name="connsiteY4937" fmla="*/ 1489889 h 1729012"/>
                <a:gd name="connsiteX4938" fmla="*/ 451805 w 2240198"/>
                <a:gd name="connsiteY4938" fmla="*/ 1489324 h 1729012"/>
                <a:gd name="connsiteX4939" fmla="*/ 454763 w 2240198"/>
                <a:gd name="connsiteY4939" fmla="*/ 1488871 h 1729012"/>
                <a:gd name="connsiteX4940" fmla="*/ 457796 w 2240198"/>
                <a:gd name="connsiteY4940" fmla="*/ 1488814 h 1729012"/>
                <a:gd name="connsiteX4941" fmla="*/ 458675 w 2240198"/>
                <a:gd name="connsiteY4941" fmla="*/ 1487832 h 1729012"/>
                <a:gd name="connsiteX4942" fmla="*/ 459535 w 2240198"/>
                <a:gd name="connsiteY4942" fmla="*/ 1485343 h 1729012"/>
                <a:gd name="connsiteX4943" fmla="*/ 457370 w 2240198"/>
                <a:gd name="connsiteY4943" fmla="*/ 1487630 h 1729012"/>
                <a:gd name="connsiteX4944" fmla="*/ 456075 w 2240198"/>
                <a:gd name="connsiteY4944" fmla="*/ 1487865 h 1729012"/>
                <a:gd name="connsiteX4945" fmla="*/ 452050 w 2240198"/>
                <a:gd name="connsiteY4945" fmla="*/ 1487011 h 1729012"/>
                <a:gd name="connsiteX4946" fmla="*/ 449452 w 2240198"/>
                <a:gd name="connsiteY4946" fmla="*/ 1487149 h 1729012"/>
                <a:gd name="connsiteX4947" fmla="*/ 449102 w 2240198"/>
                <a:gd name="connsiteY4947" fmla="*/ 1486640 h 1729012"/>
                <a:gd name="connsiteX4948" fmla="*/ 449210 w 2240198"/>
                <a:gd name="connsiteY4948" fmla="*/ 1486131 h 1729012"/>
                <a:gd name="connsiteX4949" fmla="*/ 449774 w 2240198"/>
                <a:gd name="connsiteY4949" fmla="*/ 1485621 h 1729012"/>
                <a:gd name="connsiteX4950" fmla="*/ 450188 w 2240198"/>
                <a:gd name="connsiteY4950" fmla="*/ 1483894 h 1729012"/>
                <a:gd name="connsiteX4951" fmla="*/ 450814 w 2240198"/>
                <a:gd name="connsiteY4951" fmla="*/ 1479040 h 1729012"/>
                <a:gd name="connsiteX4952" fmla="*/ 451634 w 2240198"/>
                <a:gd name="connsiteY4952" fmla="*/ 1477267 h 1729012"/>
                <a:gd name="connsiteX4953" fmla="*/ 451915 w 2240198"/>
                <a:gd name="connsiteY4953" fmla="*/ 1476303 h 1729012"/>
                <a:gd name="connsiteX4954" fmla="*/ 451714 w 2240198"/>
                <a:gd name="connsiteY4954" fmla="*/ 1476079 h 1729012"/>
                <a:gd name="connsiteX4955" fmla="*/ 448228 w 2240198"/>
                <a:gd name="connsiteY4955" fmla="*/ 1479461 h 1729012"/>
                <a:gd name="connsiteX4956" fmla="*/ 447932 w 2240198"/>
                <a:gd name="connsiteY4956" fmla="*/ 1480534 h 1729012"/>
                <a:gd name="connsiteX4957" fmla="*/ 448293 w 2240198"/>
                <a:gd name="connsiteY4957" fmla="*/ 1481459 h 1729012"/>
                <a:gd name="connsiteX4958" fmla="*/ 447959 w 2240198"/>
                <a:gd name="connsiteY4958" fmla="*/ 1483362 h 1729012"/>
                <a:gd name="connsiteX4959" fmla="*/ 446352 w 2240198"/>
                <a:gd name="connsiteY4959" fmla="*/ 1483931 h 1729012"/>
                <a:gd name="connsiteX4960" fmla="*/ 445389 w 2240198"/>
                <a:gd name="connsiteY4960" fmla="*/ 1483621 h 1729012"/>
                <a:gd name="connsiteX4961" fmla="*/ 443583 w 2240198"/>
                <a:gd name="connsiteY4961" fmla="*/ 1485228 h 1729012"/>
                <a:gd name="connsiteX4962" fmla="*/ 443015 w 2240198"/>
                <a:gd name="connsiteY4962" fmla="*/ 1485396 h 1729012"/>
                <a:gd name="connsiteX4963" fmla="*/ 434690 w 2240198"/>
                <a:gd name="connsiteY4963" fmla="*/ 1482583 h 1729012"/>
                <a:gd name="connsiteX4964" fmla="*/ 433855 w 2240198"/>
                <a:gd name="connsiteY4964" fmla="*/ 1482192 h 1729012"/>
                <a:gd name="connsiteX4965" fmla="*/ 432422 w 2240198"/>
                <a:gd name="connsiteY4965" fmla="*/ 1480876 h 1729012"/>
                <a:gd name="connsiteX4966" fmla="*/ 430387 w 2240198"/>
                <a:gd name="connsiteY4966" fmla="*/ 1478630 h 1729012"/>
                <a:gd name="connsiteX4967" fmla="*/ 429748 w 2240198"/>
                <a:gd name="connsiteY4967" fmla="*/ 1476691 h 1729012"/>
                <a:gd name="connsiteX4968" fmla="*/ 430503 w 2240198"/>
                <a:gd name="connsiteY4968" fmla="*/ 1475056 h 1729012"/>
                <a:gd name="connsiteX4969" fmla="*/ 431299 w 2240198"/>
                <a:gd name="connsiteY4969" fmla="*/ 1474236 h 1729012"/>
                <a:gd name="connsiteX4970" fmla="*/ 432138 w 2240198"/>
                <a:gd name="connsiteY4970" fmla="*/ 1474236 h 1729012"/>
                <a:gd name="connsiteX4971" fmla="*/ 433071 w 2240198"/>
                <a:gd name="connsiteY4971" fmla="*/ 1474852 h 1729012"/>
                <a:gd name="connsiteX4972" fmla="*/ 434989 w 2240198"/>
                <a:gd name="connsiteY4972" fmla="*/ 1477518 h 1729012"/>
                <a:gd name="connsiteX4973" fmla="*/ 435748 w 2240198"/>
                <a:gd name="connsiteY4973" fmla="*/ 1479168 h 1729012"/>
                <a:gd name="connsiteX4974" fmla="*/ 437729 w 2240198"/>
                <a:gd name="connsiteY4974" fmla="*/ 1478939 h 1729012"/>
                <a:gd name="connsiteX4975" fmla="*/ 440932 w 2240198"/>
                <a:gd name="connsiteY4975" fmla="*/ 1476829 h 1729012"/>
                <a:gd name="connsiteX4976" fmla="*/ 441700 w 2240198"/>
                <a:gd name="connsiteY4976" fmla="*/ 1476048 h 1729012"/>
                <a:gd name="connsiteX4977" fmla="*/ 438508 w 2240198"/>
                <a:gd name="connsiteY4977" fmla="*/ 1476850 h 1729012"/>
                <a:gd name="connsiteX4978" fmla="*/ 437130 w 2240198"/>
                <a:gd name="connsiteY4978" fmla="*/ 1476798 h 1729012"/>
                <a:gd name="connsiteX4979" fmla="*/ 435728 w 2240198"/>
                <a:gd name="connsiteY4979" fmla="*/ 1475920 h 1729012"/>
                <a:gd name="connsiteX4980" fmla="*/ 434297 w 2240198"/>
                <a:gd name="connsiteY4980" fmla="*/ 1474216 h 1729012"/>
                <a:gd name="connsiteX4981" fmla="*/ 433551 w 2240198"/>
                <a:gd name="connsiteY4981" fmla="*/ 1472279 h 1729012"/>
                <a:gd name="connsiteX4982" fmla="*/ 433540 w 2240198"/>
                <a:gd name="connsiteY4982" fmla="*/ 1466140 h 1729012"/>
                <a:gd name="connsiteX4983" fmla="*/ 434029 w 2240198"/>
                <a:gd name="connsiteY4983" fmla="*/ 1464952 h 1729012"/>
                <a:gd name="connsiteX4984" fmla="*/ 435580 w 2240198"/>
                <a:gd name="connsiteY4984" fmla="*/ 1464069 h 1729012"/>
                <a:gd name="connsiteX4985" fmla="*/ 436573 w 2240198"/>
                <a:gd name="connsiteY4985" fmla="*/ 1462603 h 1729012"/>
                <a:gd name="connsiteX4986" fmla="*/ 436496 w 2240198"/>
                <a:gd name="connsiteY4986" fmla="*/ 1461981 h 1729012"/>
                <a:gd name="connsiteX4987" fmla="*/ 435538 w 2240198"/>
                <a:gd name="connsiteY4987" fmla="*/ 1460738 h 1729012"/>
                <a:gd name="connsiteX4988" fmla="*/ 434152 w 2240198"/>
                <a:gd name="connsiteY4988" fmla="*/ 1459764 h 1729012"/>
                <a:gd name="connsiteX4989" fmla="*/ 432797 w 2240198"/>
                <a:gd name="connsiteY4989" fmla="*/ 1459277 h 1729012"/>
                <a:gd name="connsiteX4990" fmla="*/ 432485 w 2240198"/>
                <a:gd name="connsiteY4990" fmla="*/ 1459422 h 1729012"/>
                <a:gd name="connsiteX4991" fmla="*/ 434586 w 2240198"/>
                <a:gd name="connsiteY4991" fmla="*/ 1462119 h 1729012"/>
                <a:gd name="connsiteX4992" fmla="*/ 434517 w 2240198"/>
                <a:gd name="connsiteY4992" fmla="*/ 1463130 h 1729012"/>
                <a:gd name="connsiteX4993" fmla="*/ 432192 w 2240198"/>
                <a:gd name="connsiteY4993" fmla="*/ 1465756 h 1729012"/>
                <a:gd name="connsiteX4994" fmla="*/ 431838 w 2240198"/>
                <a:gd name="connsiteY4994" fmla="*/ 1466526 h 1729012"/>
                <a:gd name="connsiteX4995" fmla="*/ 431820 w 2240198"/>
                <a:gd name="connsiteY4995" fmla="*/ 1469089 h 1729012"/>
                <a:gd name="connsiteX4996" fmla="*/ 431495 w 2240198"/>
                <a:gd name="connsiteY4996" fmla="*/ 1469632 h 1729012"/>
                <a:gd name="connsiteX4997" fmla="*/ 429621 w 2240198"/>
                <a:gd name="connsiteY4997" fmla="*/ 1470357 h 1729012"/>
                <a:gd name="connsiteX4998" fmla="*/ 427522 w 2240198"/>
                <a:gd name="connsiteY4998" fmla="*/ 1472372 h 1729012"/>
                <a:gd name="connsiteX4999" fmla="*/ 423981 w 2240198"/>
                <a:gd name="connsiteY4999" fmla="*/ 1473049 h 1729012"/>
                <a:gd name="connsiteX5000" fmla="*/ 420651 w 2240198"/>
                <a:gd name="connsiteY5000" fmla="*/ 1472851 h 1729012"/>
                <a:gd name="connsiteX5001" fmla="*/ 418858 w 2240198"/>
                <a:gd name="connsiteY5001" fmla="*/ 1471858 h 1729012"/>
                <a:gd name="connsiteX5002" fmla="*/ 413305 w 2240198"/>
                <a:gd name="connsiteY5002" fmla="*/ 1466918 h 1729012"/>
                <a:gd name="connsiteX5003" fmla="*/ 411274 w 2240198"/>
                <a:gd name="connsiteY5003" fmla="*/ 1464851 h 1729012"/>
                <a:gd name="connsiteX5004" fmla="*/ 411226 w 2240198"/>
                <a:gd name="connsiteY5004" fmla="*/ 1463106 h 1729012"/>
                <a:gd name="connsiteX5005" fmla="*/ 407424 w 2240198"/>
                <a:gd name="connsiteY5005" fmla="*/ 1456962 h 1729012"/>
                <a:gd name="connsiteX5006" fmla="*/ 407446 w 2240198"/>
                <a:gd name="connsiteY5006" fmla="*/ 1455639 h 1729012"/>
                <a:gd name="connsiteX5007" fmla="*/ 406122 w 2240198"/>
                <a:gd name="connsiteY5007" fmla="*/ 1453721 h 1729012"/>
                <a:gd name="connsiteX5008" fmla="*/ 404650 w 2240198"/>
                <a:gd name="connsiteY5008" fmla="*/ 1453451 h 1729012"/>
                <a:gd name="connsiteX5009" fmla="*/ 404319 w 2240198"/>
                <a:gd name="connsiteY5009" fmla="*/ 1451625 h 1729012"/>
                <a:gd name="connsiteX5010" fmla="*/ 407359 w 2240198"/>
                <a:gd name="connsiteY5010" fmla="*/ 1447672 h 1729012"/>
                <a:gd name="connsiteX5011" fmla="*/ 409238 w 2240198"/>
                <a:gd name="connsiteY5011" fmla="*/ 1444342 h 1729012"/>
                <a:gd name="connsiteX5012" fmla="*/ 409452 w 2240198"/>
                <a:gd name="connsiteY5012" fmla="*/ 1443297 h 1729012"/>
                <a:gd name="connsiteX5013" fmla="*/ 409369 w 2240198"/>
                <a:gd name="connsiteY5013" fmla="*/ 1441672 h 1729012"/>
                <a:gd name="connsiteX5014" fmla="*/ 408914 w 2240198"/>
                <a:gd name="connsiteY5014" fmla="*/ 1438055 h 1729012"/>
                <a:gd name="connsiteX5015" fmla="*/ 409310 w 2240198"/>
                <a:gd name="connsiteY5015" fmla="*/ 1436491 h 1729012"/>
                <a:gd name="connsiteX5016" fmla="*/ 407439 w 2240198"/>
                <a:gd name="connsiteY5016" fmla="*/ 1438557 h 1729012"/>
                <a:gd name="connsiteX5017" fmla="*/ 407043 w 2240198"/>
                <a:gd name="connsiteY5017" fmla="*/ 1440090 h 1729012"/>
                <a:gd name="connsiteX5018" fmla="*/ 407505 w 2240198"/>
                <a:gd name="connsiteY5018" fmla="*/ 1441636 h 1729012"/>
                <a:gd name="connsiteX5019" fmla="*/ 407213 w 2240198"/>
                <a:gd name="connsiteY5019" fmla="*/ 1443396 h 1729012"/>
                <a:gd name="connsiteX5020" fmla="*/ 406126 w 2240198"/>
                <a:gd name="connsiteY5020" fmla="*/ 1445855 h 1729012"/>
                <a:gd name="connsiteX5021" fmla="*/ 404265 w 2240198"/>
                <a:gd name="connsiteY5021" fmla="*/ 1448456 h 1729012"/>
                <a:gd name="connsiteX5022" fmla="*/ 400435 w 2240198"/>
                <a:gd name="connsiteY5022" fmla="*/ 1449707 h 1729012"/>
                <a:gd name="connsiteX5023" fmla="*/ 393679 w 2240198"/>
                <a:gd name="connsiteY5023" fmla="*/ 1449012 h 1729012"/>
                <a:gd name="connsiteX5024" fmla="*/ 392895 w 2240198"/>
                <a:gd name="connsiteY5024" fmla="*/ 1448676 h 1729012"/>
                <a:gd name="connsiteX5025" fmla="*/ 392420 w 2240198"/>
                <a:gd name="connsiteY5025" fmla="*/ 1447781 h 1729012"/>
                <a:gd name="connsiteX5026" fmla="*/ 392080 w 2240198"/>
                <a:gd name="connsiteY5026" fmla="*/ 1443951 h 1729012"/>
                <a:gd name="connsiteX5027" fmla="*/ 391668 w 2240198"/>
                <a:gd name="connsiteY5027" fmla="*/ 1444424 h 1729012"/>
                <a:gd name="connsiteX5028" fmla="*/ 390901 w 2240198"/>
                <a:gd name="connsiteY5028" fmla="*/ 1446465 h 1729012"/>
                <a:gd name="connsiteX5029" fmla="*/ 390284 w 2240198"/>
                <a:gd name="connsiteY5029" fmla="*/ 1449382 h 1729012"/>
                <a:gd name="connsiteX5030" fmla="*/ 389494 w 2240198"/>
                <a:gd name="connsiteY5030" fmla="*/ 1450043 h 1729012"/>
                <a:gd name="connsiteX5031" fmla="*/ 388069 w 2240198"/>
                <a:gd name="connsiteY5031" fmla="*/ 1450098 h 1729012"/>
                <a:gd name="connsiteX5032" fmla="*/ 386961 w 2240198"/>
                <a:gd name="connsiteY5032" fmla="*/ 1449631 h 1729012"/>
                <a:gd name="connsiteX5033" fmla="*/ 386170 w 2240198"/>
                <a:gd name="connsiteY5033" fmla="*/ 1448645 h 1729012"/>
                <a:gd name="connsiteX5034" fmla="*/ 384467 w 2240198"/>
                <a:gd name="connsiteY5034" fmla="*/ 1448563 h 1729012"/>
                <a:gd name="connsiteX5035" fmla="*/ 381286 w 2240198"/>
                <a:gd name="connsiteY5035" fmla="*/ 1449339 h 1729012"/>
                <a:gd name="connsiteX5036" fmla="*/ 379788 w 2240198"/>
                <a:gd name="connsiteY5036" fmla="*/ 1449027 h 1729012"/>
                <a:gd name="connsiteX5037" fmla="*/ 378008 w 2240198"/>
                <a:gd name="connsiteY5037" fmla="*/ 1448997 h 1729012"/>
                <a:gd name="connsiteX5038" fmla="*/ 374401 w 2240198"/>
                <a:gd name="connsiteY5038" fmla="*/ 1448143 h 1729012"/>
                <a:gd name="connsiteX5039" fmla="*/ 370143 w 2240198"/>
                <a:gd name="connsiteY5039" fmla="*/ 1447922 h 1729012"/>
                <a:gd name="connsiteX5040" fmla="*/ 368991 w 2240198"/>
                <a:gd name="connsiteY5040" fmla="*/ 1447262 h 1729012"/>
                <a:gd name="connsiteX5041" fmla="*/ 369054 w 2240198"/>
                <a:gd name="connsiteY5041" fmla="*/ 1445995 h 1729012"/>
                <a:gd name="connsiteX5042" fmla="*/ 369849 w 2240198"/>
                <a:gd name="connsiteY5042" fmla="*/ 1445354 h 1729012"/>
                <a:gd name="connsiteX5043" fmla="*/ 374342 w 2240198"/>
                <a:gd name="connsiteY5043" fmla="*/ 1444792 h 1729012"/>
                <a:gd name="connsiteX5044" fmla="*/ 378695 w 2240198"/>
                <a:gd name="connsiteY5044" fmla="*/ 1443442 h 1729012"/>
                <a:gd name="connsiteX5045" fmla="*/ 382996 w 2240198"/>
                <a:gd name="connsiteY5045" fmla="*/ 1442773 h 1729012"/>
                <a:gd name="connsiteX5046" fmla="*/ 382832 w 2240198"/>
                <a:gd name="connsiteY5046" fmla="*/ 1442086 h 1729012"/>
                <a:gd name="connsiteX5047" fmla="*/ 380889 w 2240198"/>
                <a:gd name="connsiteY5047" fmla="*/ 1441871 h 1729012"/>
                <a:gd name="connsiteX5048" fmla="*/ 371010 w 2240198"/>
                <a:gd name="connsiteY5048" fmla="*/ 1443360 h 1729012"/>
                <a:gd name="connsiteX5049" fmla="*/ 367899 w 2240198"/>
                <a:gd name="connsiteY5049" fmla="*/ 1443181 h 1729012"/>
                <a:gd name="connsiteX5050" fmla="*/ 367357 w 2240198"/>
                <a:gd name="connsiteY5050" fmla="*/ 1442939 h 1729012"/>
                <a:gd name="connsiteX5051" fmla="*/ 367282 w 2240198"/>
                <a:gd name="connsiteY5051" fmla="*/ 1441434 h 1729012"/>
                <a:gd name="connsiteX5052" fmla="*/ 368427 w 2240198"/>
                <a:gd name="connsiteY5052" fmla="*/ 1440004 h 1729012"/>
                <a:gd name="connsiteX5053" fmla="*/ 370330 w 2240198"/>
                <a:gd name="connsiteY5053" fmla="*/ 1438674 h 1729012"/>
                <a:gd name="connsiteX5054" fmla="*/ 370901 w 2240198"/>
                <a:gd name="connsiteY5054" fmla="*/ 1437663 h 1729012"/>
                <a:gd name="connsiteX5055" fmla="*/ 369796 w 2240198"/>
                <a:gd name="connsiteY5055" fmla="*/ 1437233 h 1729012"/>
                <a:gd name="connsiteX5056" fmla="*/ 368021 w 2240198"/>
                <a:gd name="connsiteY5056" fmla="*/ 1437513 h 1729012"/>
                <a:gd name="connsiteX5057" fmla="*/ 367170 w 2240198"/>
                <a:gd name="connsiteY5057" fmla="*/ 1436703 h 1729012"/>
                <a:gd name="connsiteX5058" fmla="*/ 368112 w 2240198"/>
                <a:gd name="connsiteY5058" fmla="*/ 1433543 h 1729012"/>
                <a:gd name="connsiteX5059" fmla="*/ 367282 w 2240198"/>
                <a:gd name="connsiteY5059" fmla="*/ 1430316 h 1729012"/>
                <a:gd name="connsiteX5060" fmla="*/ 366127 w 2240198"/>
                <a:gd name="connsiteY5060" fmla="*/ 1433376 h 1729012"/>
                <a:gd name="connsiteX5061" fmla="*/ 364380 w 2240198"/>
                <a:gd name="connsiteY5061" fmla="*/ 1435061 h 1729012"/>
                <a:gd name="connsiteX5062" fmla="*/ 356047 w 2240198"/>
                <a:gd name="connsiteY5062" fmla="*/ 1435779 h 1729012"/>
                <a:gd name="connsiteX5063" fmla="*/ 354687 w 2240198"/>
                <a:gd name="connsiteY5063" fmla="*/ 1436678 h 1729012"/>
                <a:gd name="connsiteX5064" fmla="*/ 353584 w 2240198"/>
                <a:gd name="connsiteY5064" fmla="*/ 1436654 h 1729012"/>
                <a:gd name="connsiteX5065" fmla="*/ 348262 w 2240198"/>
                <a:gd name="connsiteY5065" fmla="*/ 1435030 h 1729012"/>
                <a:gd name="connsiteX5066" fmla="*/ 345992 w 2240198"/>
                <a:gd name="connsiteY5066" fmla="*/ 1434043 h 1729012"/>
                <a:gd name="connsiteX5067" fmla="*/ 343856 w 2240198"/>
                <a:gd name="connsiteY5067" fmla="*/ 1432575 h 1729012"/>
                <a:gd name="connsiteX5068" fmla="*/ 340062 w 2240198"/>
                <a:gd name="connsiteY5068" fmla="*/ 1429286 h 1729012"/>
                <a:gd name="connsiteX5069" fmla="*/ 337088 w 2240198"/>
                <a:gd name="connsiteY5069" fmla="*/ 1427152 h 1729012"/>
                <a:gd name="connsiteX5070" fmla="*/ 336931 w 2240198"/>
                <a:gd name="connsiteY5070" fmla="*/ 1423206 h 1729012"/>
                <a:gd name="connsiteX5071" fmla="*/ 337569 w 2240198"/>
                <a:gd name="connsiteY5071" fmla="*/ 1420691 h 1729012"/>
                <a:gd name="connsiteX5072" fmla="*/ 339000 w 2240198"/>
                <a:gd name="connsiteY5072" fmla="*/ 1417870 h 1729012"/>
                <a:gd name="connsiteX5073" fmla="*/ 344402 w 2240198"/>
                <a:gd name="connsiteY5073" fmla="*/ 1411777 h 1729012"/>
                <a:gd name="connsiteX5074" fmla="*/ 346255 w 2240198"/>
                <a:gd name="connsiteY5074" fmla="*/ 1410619 h 1729012"/>
                <a:gd name="connsiteX5075" fmla="*/ 347927 w 2240198"/>
                <a:gd name="connsiteY5075" fmla="*/ 1410223 h 1729012"/>
                <a:gd name="connsiteX5076" fmla="*/ 355852 w 2240198"/>
                <a:gd name="connsiteY5076" fmla="*/ 1409689 h 1729012"/>
                <a:gd name="connsiteX5077" fmla="*/ 361753 w 2240198"/>
                <a:gd name="connsiteY5077" fmla="*/ 1408921 h 1729012"/>
                <a:gd name="connsiteX5078" fmla="*/ 362868 w 2240198"/>
                <a:gd name="connsiteY5078" fmla="*/ 1408558 h 1729012"/>
                <a:gd name="connsiteX5079" fmla="*/ 354179 w 2240198"/>
                <a:gd name="connsiteY5079" fmla="*/ 1408108 h 1729012"/>
                <a:gd name="connsiteX5080" fmla="*/ 346455 w 2240198"/>
                <a:gd name="connsiteY5080" fmla="*/ 1408424 h 1729012"/>
                <a:gd name="connsiteX5081" fmla="*/ 343817 w 2240198"/>
                <a:gd name="connsiteY5081" fmla="*/ 1409384 h 1729012"/>
                <a:gd name="connsiteX5082" fmla="*/ 340445 w 2240198"/>
                <a:gd name="connsiteY5082" fmla="*/ 1413300 h 1729012"/>
                <a:gd name="connsiteX5083" fmla="*/ 339587 w 2240198"/>
                <a:gd name="connsiteY5083" fmla="*/ 1414947 h 1729012"/>
                <a:gd name="connsiteX5084" fmla="*/ 338692 w 2240198"/>
                <a:gd name="connsiteY5084" fmla="*/ 1416147 h 1729012"/>
                <a:gd name="connsiteX5085" fmla="*/ 338087 w 2240198"/>
                <a:gd name="connsiteY5085" fmla="*/ 1416177 h 1729012"/>
                <a:gd name="connsiteX5086" fmla="*/ 336938 w 2240198"/>
                <a:gd name="connsiteY5086" fmla="*/ 1415751 h 1729012"/>
                <a:gd name="connsiteX5087" fmla="*/ 336566 w 2240198"/>
                <a:gd name="connsiteY5087" fmla="*/ 1415235 h 1729012"/>
                <a:gd name="connsiteX5088" fmla="*/ 336089 w 2240198"/>
                <a:gd name="connsiteY5088" fmla="*/ 1413953 h 1729012"/>
                <a:gd name="connsiteX5089" fmla="*/ 334278 w 2240198"/>
                <a:gd name="connsiteY5089" fmla="*/ 1411918 h 1729012"/>
                <a:gd name="connsiteX5090" fmla="*/ 333477 w 2240198"/>
                <a:gd name="connsiteY5090" fmla="*/ 1409578 h 1729012"/>
                <a:gd name="connsiteX5091" fmla="*/ 333005 w 2240198"/>
                <a:gd name="connsiteY5091" fmla="*/ 1406129 h 1729012"/>
                <a:gd name="connsiteX5092" fmla="*/ 333155 w 2240198"/>
                <a:gd name="connsiteY5092" fmla="*/ 1404589 h 1729012"/>
                <a:gd name="connsiteX5093" fmla="*/ 333998 w 2240198"/>
                <a:gd name="connsiteY5093" fmla="*/ 1402619 h 1729012"/>
                <a:gd name="connsiteX5094" fmla="*/ 336593 w 2240198"/>
                <a:gd name="connsiteY5094" fmla="*/ 1398749 h 1729012"/>
                <a:gd name="connsiteX5095" fmla="*/ 333267 w 2240198"/>
                <a:gd name="connsiteY5095" fmla="*/ 1398849 h 1729012"/>
                <a:gd name="connsiteX5096" fmla="*/ 333661 w 2240198"/>
                <a:gd name="connsiteY5096" fmla="*/ 1395585 h 1729012"/>
                <a:gd name="connsiteX5097" fmla="*/ 334876 w 2240198"/>
                <a:gd name="connsiteY5097" fmla="*/ 1392035 h 1729012"/>
                <a:gd name="connsiteX5098" fmla="*/ 337970 w 2240198"/>
                <a:gd name="connsiteY5098" fmla="*/ 1389929 h 1729012"/>
                <a:gd name="connsiteX5099" fmla="*/ 341105 w 2240198"/>
                <a:gd name="connsiteY5099" fmla="*/ 1388409 h 1729012"/>
                <a:gd name="connsiteX5100" fmla="*/ 343939 w 2240198"/>
                <a:gd name="connsiteY5100" fmla="*/ 1386416 h 1729012"/>
                <a:gd name="connsiteX5101" fmla="*/ 348902 w 2240198"/>
                <a:gd name="connsiteY5101" fmla="*/ 1385089 h 1729012"/>
                <a:gd name="connsiteX5102" fmla="*/ 350587 w 2240198"/>
                <a:gd name="connsiteY5102" fmla="*/ 1387823 h 1729012"/>
                <a:gd name="connsiteX5103" fmla="*/ 354842 w 2240198"/>
                <a:gd name="connsiteY5103" fmla="*/ 1388645 h 1729012"/>
                <a:gd name="connsiteX5104" fmla="*/ 356071 w 2240198"/>
                <a:gd name="connsiteY5104" fmla="*/ 1389874 h 1729012"/>
                <a:gd name="connsiteX5105" fmla="*/ 357579 w 2240198"/>
                <a:gd name="connsiteY5105" fmla="*/ 1392125 h 1729012"/>
                <a:gd name="connsiteX5106" fmla="*/ 359448 w 2240198"/>
                <a:gd name="connsiteY5106" fmla="*/ 1394272 h 1729012"/>
                <a:gd name="connsiteX5107" fmla="*/ 361673 w 2240198"/>
                <a:gd name="connsiteY5107" fmla="*/ 1396317 h 1729012"/>
                <a:gd name="connsiteX5108" fmla="*/ 362297 w 2240198"/>
                <a:gd name="connsiteY5108" fmla="*/ 1396460 h 1729012"/>
                <a:gd name="connsiteX5109" fmla="*/ 361316 w 2240198"/>
                <a:gd name="connsiteY5109" fmla="*/ 1394707 h 1729012"/>
                <a:gd name="connsiteX5110" fmla="*/ 357700 w 2240198"/>
                <a:gd name="connsiteY5110" fmla="*/ 1390863 h 1729012"/>
                <a:gd name="connsiteX5111" fmla="*/ 357543 w 2240198"/>
                <a:gd name="connsiteY5111" fmla="*/ 1389507 h 1729012"/>
                <a:gd name="connsiteX5112" fmla="*/ 356611 w 2240198"/>
                <a:gd name="connsiteY5112" fmla="*/ 1388035 h 1729012"/>
                <a:gd name="connsiteX5113" fmla="*/ 351822 w 2240198"/>
                <a:gd name="connsiteY5113" fmla="*/ 1385913 h 1729012"/>
                <a:gd name="connsiteX5114" fmla="*/ 350972 w 2240198"/>
                <a:gd name="connsiteY5114" fmla="*/ 1385097 h 1729012"/>
                <a:gd name="connsiteX5115" fmla="*/ 350124 w 2240198"/>
                <a:gd name="connsiteY5115" fmla="*/ 1382956 h 1729012"/>
                <a:gd name="connsiteX5116" fmla="*/ 349763 w 2240198"/>
                <a:gd name="connsiteY5116" fmla="*/ 1381572 h 1729012"/>
                <a:gd name="connsiteX5117" fmla="*/ 350300 w 2240198"/>
                <a:gd name="connsiteY5117" fmla="*/ 1380226 h 1729012"/>
                <a:gd name="connsiteX5118" fmla="*/ 355165 w 2240198"/>
                <a:gd name="connsiteY5118" fmla="*/ 1376120 h 1729012"/>
                <a:gd name="connsiteX5119" fmla="*/ 356277 w 2240198"/>
                <a:gd name="connsiteY5119" fmla="*/ 1373953 h 1729012"/>
                <a:gd name="connsiteX5120" fmla="*/ 356276 w 2240198"/>
                <a:gd name="connsiteY5120" fmla="*/ 1372934 h 1729012"/>
                <a:gd name="connsiteX5121" fmla="*/ 355896 w 2240198"/>
                <a:gd name="connsiteY5121" fmla="*/ 1371781 h 1729012"/>
                <a:gd name="connsiteX5122" fmla="*/ 354834 w 2240198"/>
                <a:gd name="connsiteY5122" fmla="*/ 1369798 h 1729012"/>
                <a:gd name="connsiteX5123" fmla="*/ 354553 w 2240198"/>
                <a:gd name="connsiteY5123" fmla="*/ 1369801 h 1729012"/>
                <a:gd name="connsiteX5124" fmla="*/ 354881 w 2240198"/>
                <a:gd name="connsiteY5124" fmla="*/ 1372811 h 1729012"/>
                <a:gd name="connsiteX5125" fmla="*/ 354708 w 2240198"/>
                <a:gd name="connsiteY5125" fmla="*/ 1373997 h 1729012"/>
                <a:gd name="connsiteX5126" fmla="*/ 354159 w 2240198"/>
                <a:gd name="connsiteY5126" fmla="*/ 1375304 h 1729012"/>
                <a:gd name="connsiteX5127" fmla="*/ 353365 w 2240198"/>
                <a:gd name="connsiteY5127" fmla="*/ 1376297 h 1729012"/>
                <a:gd name="connsiteX5128" fmla="*/ 352328 w 2240198"/>
                <a:gd name="connsiteY5128" fmla="*/ 1376977 h 1729012"/>
                <a:gd name="connsiteX5129" fmla="*/ 341878 w 2240198"/>
                <a:gd name="connsiteY5129" fmla="*/ 1386309 h 1729012"/>
                <a:gd name="connsiteX5130" fmla="*/ 340837 w 2240198"/>
                <a:gd name="connsiteY5130" fmla="*/ 1386856 h 1729012"/>
                <a:gd name="connsiteX5131" fmla="*/ 336955 w 2240198"/>
                <a:gd name="connsiteY5131" fmla="*/ 1387698 h 1729012"/>
                <a:gd name="connsiteX5132" fmla="*/ 334963 w 2240198"/>
                <a:gd name="connsiteY5132" fmla="*/ 1388690 h 1729012"/>
                <a:gd name="connsiteX5133" fmla="*/ 333888 w 2240198"/>
                <a:gd name="connsiteY5133" fmla="*/ 1389996 h 1729012"/>
                <a:gd name="connsiteX5134" fmla="*/ 332166 w 2240198"/>
                <a:gd name="connsiteY5134" fmla="*/ 1393398 h 1729012"/>
                <a:gd name="connsiteX5135" fmla="*/ 329803 w 2240198"/>
                <a:gd name="connsiteY5135" fmla="*/ 1400196 h 1729012"/>
                <a:gd name="connsiteX5136" fmla="*/ 327095 w 2240198"/>
                <a:gd name="connsiteY5136" fmla="*/ 1405684 h 1729012"/>
                <a:gd name="connsiteX5137" fmla="*/ 324779 w 2240198"/>
                <a:gd name="connsiteY5137" fmla="*/ 1398577 h 1729012"/>
                <a:gd name="connsiteX5138" fmla="*/ 320619 w 2240198"/>
                <a:gd name="connsiteY5138" fmla="*/ 1393127 h 1729012"/>
                <a:gd name="connsiteX5139" fmla="*/ 328735 w 2240198"/>
                <a:gd name="connsiteY5139" fmla="*/ 1387709 h 1729012"/>
                <a:gd name="connsiteX5140" fmla="*/ 328948 w 2240198"/>
                <a:gd name="connsiteY5140" fmla="*/ 1386881 h 1729012"/>
                <a:gd name="connsiteX5141" fmla="*/ 328159 w 2240198"/>
                <a:gd name="connsiteY5141" fmla="*/ 1383984 h 1729012"/>
                <a:gd name="connsiteX5142" fmla="*/ 328380 w 2240198"/>
                <a:gd name="connsiteY5142" fmla="*/ 1383104 h 1729012"/>
                <a:gd name="connsiteX5143" fmla="*/ 329147 w 2240198"/>
                <a:gd name="connsiteY5143" fmla="*/ 1381830 h 1729012"/>
                <a:gd name="connsiteX5144" fmla="*/ 331202 w 2240198"/>
                <a:gd name="connsiteY5144" fmla="*/ 1379970 h 1729012"/>
                <a:gd name="connsiteX5145" fmla="*/ 331123 w 2240198"/>
                <a:gd name="connsiteY5145" fmla="*/ 1379781 h 1729012"/>
                <a:gd name="connsiteX5146" fmla="*/ 328717 w 2240198"/>
                <a:gd name="connsiteY5146" fmla="*/ 1380450 h 1729012"/>
                <a:gd name="connsiteX5147" fmla="*/ 325021 w 2240198"/>
                <a:gd name="connsiteY5147" fmla="*/ 1384652 h 1729012"/>
                <a:gd name="connsiteX5148" fmla="*/ 323578 w 2240198"/>
                <a:gd name="connsiteY5148" fmla="*/ 1386003 h 1729012"/>
                <a:gd name="connsiteX5149" fmla="*/ 322802 w 2240198"/>
                <a:gd name="connsiteY5149" fmla="*/ 1386183 h 1729012"/>
                <a:gd name="connsiteX5150" fmla="*/ 322711 w 2240198"/>
                <a:gd name="connsiteY5150" fmla="*/ 1383712 h 1729012"/>
                <a:gd name="connsiteX5151" fmla="*/ 324698 w 2240198"/>
                <a:gd name="connsiteY5151" fmla="*/ 1377302 h 1729012"/>
                <a:gd name="connsiteX5152" fmla="*/ 326331 w 2240198"/>
                <a:gd name="connsiteY5152" fmla="*/ 1371058 h 1729012"/>
                <a:gd name="connsiteX5153" fmla="*/ 326928 w 2240198"/>
                <a:gd name="connsiteY5153" fmla="*/ 1369268 h 1729012"/>
                <a:gd name="connsiteX5154" fmla="*/ 328336 w 2240198"/>
                <a:gd name="connsiteY5154" fmla="*/ 1367463 h 1729012"/>
                <a:gd name="connsiteX5155" fmla="*/ 327000 w 2240198"/>
                <a:gd name="connsiteY5155" fmla="*/ 1367594 h 1729012"/>
                <a:gd name="connsiteX5156" fmla="*/ 320431 w 2240198"/>
                <a:gd name="connsiteY5156" fmla="*/ 1370373 h 1729012"/>
                <a:gd name="connsiteX5157" fmla="*/ 318227 w 2240198"/>
                <a:gd name="connsiteY5157" fmla="*/ 1368631 h 1729012"/>
                <a:gd name="connsiteX5158" fmla="*/ 316382 w 2240198"/>
                <a:gd name="connsiteY5158" fmla="*/ 1359563 h 1729012"/>
                <a:gd name="connsiteX5159" fmla="*/ 313146 w 2240198"/>
                <a:gd name="connsiteY5159" fmla="*/ 1356012 h 1729012"/>
                <a:gd name="connsiteX5160" fmla="*/ 307663 w 2240198"/>
                <a:gd name="connsiteY5160" fmla="*/ 1353107 h 1729012"/>
                <a:gd name="connsiteX5161" fmla="*/ 302280 w 2240198"/>
                <a:gd name="connsiteY5161" fmla="*/ 1351757 h 1729012"/>
                <a:gd name="connsiteX5162" fmla="*/ 301046 w 2240198"/>
                <a:gd name="connsiteY5162" fmla="*/ 1349168 h 1729012"/>
                <a:gd name="connsiteX5163" fmla="*/ 299980 w 2240198"/>
                <a:gd name="connsiteY5163" fmla="*/ 1346014 h 1729012"/>
                <a:gd name="connsiteX5164" fmla="*/ 301429 w 2240198"/>
                <a:gd name="connsiteY5164" fmla="*/ 1342294 h 1729012"/>
                <a:gd name="connsiteX5165" fmla="*/ 303787 w 2240198"/>
                <a:gd name="connsiteY5165" fmla="*/ 1340527 h 1729012"/>
                <a:gd name="connsiteX5166" fmla="*/ 305964 w 2240198"/>
                <a:gd name="connsiteY5166" fmla="*/ 1339727 h 1729012"/>
                <a:gd name="connsiteX5167" fmla="*/ 308018 w 2240198"/>
                <a:gd name="connsiteY5167" fmla="*/ 1340096 h 1729012"/>
                <a:gd name="connsiteX5168" fmla="*/ 308123 w 2240198"/>
                <a:gd name="connsiteY5168" fmla="*/ 1341460 h 1729012"/>
                <a:gd name="connsiteX5169" fmla="*/ 306724 w 2240198"/>
                <a:gd name="connsiteY5169" fmla="*/ 1345124 h 1729012"/>
                <a:gd name="connsiteX5170" fmla="*/ 308564 w 2240198"/>
                <a:gd name="connsiteY5170" fmla="*/ 1345467 h 1729012"/>
                <a:gd name="connsiteX5171" fmla="*/ 315940 w 2240198"/>
                <a:gd name="connsiteY5171" fmla="*/ 1349915 h 1729012"/>
                <a:gd name="connsiteX5172" fmla="*/ 317552 w 2240198"/>
                <a:gd name="connsiteY5172" fmla="*/ 1350272 h 1729012"/>
                <a:gd name="connsiteX5173" fmla="*/ 320608 w 2240198"/>
                <a:gd name="connsiteY5173" fmla="*/ 1348563 h 1729012"/>
                <a:gd name="connsiteX5174" fmla="*/ 322307 w 2240198"/>
                <a:gd name="connsiteY5174" fmla="*/ 1348630 h 1729012"/>
                <a:gd name="connsiteX5175" fmla="*/ 326322 w 2240198"/>
                <a:gd name="connsiteY5175" fmla="*/ 1350014 h 1729012"/>
                <a:gd name="connsiteX5176" fmla="*/ 327679 w 2240198"/>
                <a:gd name="connsiteY5176" fmla="*/ 1351683 h 1729012"/>
                <a:gd name="connsiteX5177" fmla="*/ 331517 w 2240198"/>
                <a:gd name="connsiteY5177" fmla="*/ 1354949 h 1729012"/>
                <a:gd name="connsiteX5178" fmla="*/ 330953 w 2240198"/>
                <a:gd name="connsiteY5178" fmla="*/ 1353049 h 1729012"/>
                <a:gd name="connsiteX5179" fmla="*/ 326768 w 2240198"/>
                <a:gd name="connsiteY5179" fmla="*/ 1349042 h 1729012"/>
                <a:gd name="connsiteX5180" fmla="*/ 324433 w 2240198"/>
                <a:gd name="connsiteY5180" fmla="*/ 1347755 h 1729012"/>
                <a:gd name="connsiteX5181" fmla="*/ 320327 w 2240198"/>
                <a:gd name="connsiteY5181" fmla="*/ 1347507 h 1729012"/>
                <a:gd name="connsiteX5182" fmla="*/ 317779 w 2240198"/>
                <a:gd name="connsiteY5182" fmla="*/ 1348180 h 1729012"/>
                <a:gd name="connsiteX5183" fmla="*/ 316711 w 2240198"/>
                <a:gd name="connsiteY5183" fmla="*/ 1347985 h 1729012"/>
                <a:gd name="connsiteX5184" fmla="*/ 314465 w 2240198"/>
                <a:gd name="connsiteY5184" fmla="*/ 1346964 h 1729012"/>
                <a:gd name="connsiteX5185" fmla="*/ 312558 w 2240198"/>
                <a:gd name="connsiteY5185" fmla="*/ 1345288 h 1729012"/>
                <a:gd name="connsiteX5186" fmla="*/ 310651 w 2240198"/>
                <a:gd name="connsiteY5186" fmla="*/ 1341610 h 1729012"/>
                <a:gd name="connsiteX5187" fmla="*/ 310217 w 2240198"/>
                <a:gd name="connsiteY5187" fmla="*/ 1339900 h 1729012"/>
                <a:gd name="connsiteX5188" fmla="*/ 310324 w 2240198"/>
                <a:gd name="connsiteY5188" fmla="*/ 1338630 h 1729012"/>
                <a:gd name="connsiteX5189" fmla="*/ 310773 w 2240198"/>
                <a:gd name="connsiteY5189" fmla="*/ 1337475 h 1729012"/>
                <a:gd name="connsiteX5190" fmla="*/ 311563 w 2240198"/>
                <a:gd name="connsiteY5190" fmla="*/ 1336440 h 1729012"/>
                <a:gd name="connsiteX5191" fmla="*/ 313132 w 2240198"/>
                <a:gd name="connsiteY5191" fmla="*/ 1335688 h 1729012"/>
                <a:gd name="connsiteX5192" fmla="*/ 315476 w 2240198"/>
                <a:gd name="connsiteY5192" fmla="*/ 1335223 h 1729012"/>
                <a:gd name="connsiteX5193" fmla="*/ 316194 w 2240198"/>
                <a:gd name="connsiteY5193" fmla="*/ 1334770 h 1729012"/>
                <a:gd name="connsiteX5194" fmla="*/ 313184 w 2240198"/>
                <a:gd name="connsiteY5194" fmla="*/ 1332661 h 1729012"/>
                <a:gd name="connsiteX5195" fmla="*/ 311816 w 2240198"/>
                <a:gd name="connsiteY5195" fmla="*/ 1332669 h 1729012"/>
                <a:gd name="connsiteX5196" fmla="*/ 307115 w 2240198"/>
                <a:gd name="connsiteY5196" fmla="*/ 1335754 h 1729012"/>
                <a:gd name="connsiteX5197" fmla="*/ 306161 w 2240198"/>
                <a:gd name="connsiteY5197" fmla="*/ 1335996 h 1729012"/>
                <a:gd name="connsiteX5198" fmla="*/ 305751 w 2240198"/>
                <a:gd name="connsiteY5198" fmla="*/ 1335397 h 1729012"/>
                <a:gd name="connsiteX5199" fmla="*/ 305361 w 2240198"/>
                <a:gd name="connsiteY5199" fmla="*/ 1335348 h 1729012"/>
                <a:gd name="connsiteX5200" fmla="*/ 303977 w 2240198"/>
                <a:gd name="connsiteY5200" fmla="*/ 1336875 h 1729012"/>
                <a:gd name="connsiteX5201" fmla="*/ 302901 w 2240198"/>
                <a:gd name="connsiteY5201" fmla="*/ 1337558 h 1729012"/>
                <a:gd name="connsiteX5202" fmla="*/ 299054 w 2240198"/>
                <a:gd name="connsiteY5202" fmla="*/ 1342276 h 1729012"/>
                <a:gd name="connsiteX5203" fmla="*/ 298454 w 2240198"/>
                <a:gd name="connsiteY5203" fmla="*/ 1344532 h 1729012"/>
                <a:gd name="connsiteX5204" fmla="*/ 298237 w 2240198"/>
                <a:gd name="connsiteY5204" fmla="*/ 1347899 h 1729012"/>
                <a:gd name="connsiteX5205" fmla="*/ 297792 w 2240198"/>
                <a:gd name="connsiteY5205" fmla="*/ 1350008 h 1729012"/>
                <a:gd name="connsiteX5206" fmla="*/ 297123 w 2240198"/>
                <a:gd name="connsiteY5206" fmla="*/ 1350864 h 1729012"/>
                <a:gd name="connsiteX5207" fmla="*/ 292606 w 2240198"/>
                <a:gd name="connsiteY5207" fmla="*/ 1352471 h 1729012"/>
                <a:gd name="connsiteX5208" fmla="*/ 290037 w 2240198"/>
                <a:gd name="connsiteY5208" fmla="*/ 1355750 h 1729012"/>
                <a:gd name="connsiteX5209" fmla="*/ 286918 w 2240198"/>
                <a:gd name="connsiteY5209" fmla="*/ 1352920 h 1729012"/>
                <a:gd name="connsiteX5210" fmla="*/ 283493 w 2240198"/>
                <a:gd name="connsiteY5210" fmla="*/ 1350189 h 1729012"/>
                <a:gd name="connsiteX5211" fmla="*/ 281210 w 2240198"/>
                <a:gd name="connsiteY5211" fmla="*/ 1345399 h 1729012"/>
                <a:gd name="connsiteX5212" fmla="*/ 277088 w 2240198"/>
                <a:gd name="connsiteY5212" fmla="*/ 1344560 h 1729012"/>
                <a:gd name="connsiteX5213" fmla="*/ 272299 w 2240198"/>
                <a:gd name="connsiteY5213" fmla="*/ 1341842 h 1729012"/>
                <a:gd name="connsiteX5214" fmla="*/ 270474 w 2240198"/>
                <a:gd name="connsiteY5214" fmla="*/ 1339425 h 1729012"/>
                <a:gd name="connsiteX5215" fmla="*/ 273069 w 2240198"/>
                <a:gd name="connsiteY5215" fmla="*/ 1334447 h 1729012"/>
                <a:gd name="connsiteX5216" fmla="*/ 276795 w 2240198"/>
                <a:gd name="connsiteY5216" fmla="*/ 1330682 h 1729012"/>
                <a:gd name="connsiteX5217" fmla="*/ 277364 w 2240198"/>
                <a:gd name="connsiteY5217" fmla="*/ 1326162 h 1729012"/>
                <a:gd name="connsiteX5218" fmla="*/ 277876 w 2240198"/>
                <a:gd name="connsiteY5218" fmla="*/ 1325190 h 1729012"/>
                <a:gd name="connsiteX5219" fmla="*/ 284279 w 2240198"/>
                <a:gd name="connsiteY5219" fmla="*/ 1324066 h 1729012"/>
                <a:gd name="connsiteX5220" fmla="*/ 288457 w 2240198"/>
                <a:gd name="connsiteY5220" fmla="*/ 1321818 h 1729012"/>
                <a:gd name="connsiteX5221" fmla="*/ 284173 w 2240198"/>
                <a:gd name="connsiteY5221" fmla="*/ 1321613 h 1729012"/>
                <a:gd name="connsiteX5222" fmla="*/ 281549 w 2240198"/>
                <a:gd name="connsiteY5222" fmla="*/ 1321953 h 1729012"/>
                <a:gd name="connsiteX5223" fmla="*/ 276838 w 2240198"/>
                <a:gd name="connsiteY5223" fmla="*/ 1323522 h 1729012"/>
                <a:gd name="connsiteX5224" fmla="*/ 271613 w 2240198"/>
                <a:gd name="connsiteY5224" fmla="*/ 1320418 h 1729012"/>
                <a:gd name="connsiteX5225" fmla="*/ 268913 w 2240198"/>
                <a:gd name="connsiteY5225" fmla="*/ 1317578 h 1729012"/>
                <a:gd name="connsiteX5226" fmla="*/ 268065 w 2240198"/>
                <a:gd name="connsiteY5226" fmla="*/ 1315154 h 1729012"/>
                <a:gd name="connsiteX5227" fmla="*/ 268997 w 2240198"/>
                <a:gd name="connsiteY5227" fmla="*/ 1313103 h 1729012"/>
                <a:gd name="connsiteX5228" fmla="*/ 269120 w 2240198"/>
                <a:gd name="connsiteY5228" fmla="*/ 1311011 h 1729012"/>
                <a:gd name="connsiteX5229" fmla="*/ 269592 w 2240198"/>
                <a:gd name="connsiteY5229" fmla="*/ 1308184 h 1729012"/>
                <a:gd name="connsiteX5230" fmla="*/ 270087 w 2240198"/>
                <a:gd name="connsiteY5230" fmla="*/ 1306946 h 1729012"/>
                <a:gd name="connsiteX5231" fmla="*/ 271184 w 2240198"/>
                <a:gd name="connsiteY5231" fmla="*/ 1305367 h 1729012"/>
                <a:gd name="connsiteX5232" fmla="*/ 273422 w 2240198"/>
                <a:gd name="connsiteY5232" fmla="*/ 1304314 h 1729012"/>
                <a:gd name="connsiteX5233" fmla="*/ 275403 w 2240198"/>
                <a:gd name="connsiteY5233" fmla="*/ 1301064 h 1729012"/>
                <a:gd name="connsiteX5234" fmla="*/ 276219 w 2240198"/>
                <a:gd name="connsiteY5234" fmla="*/ 1298795 h 1729012"/>
                <a:gd name="connsiteX5235" fmla="*/ 280280 w 2240198"/>
                <a:gd name="connsiteY5235" fmla="*/ 1291965 h 1729012"/>
                <a:gd name="connsiteX5236" fmla="*/ 281760 w 2240198"/>
                <a:gd name="connsiteY5236" fmla="*/ 1289014 h 1729012"/>
                <a:gd name="connsiteX5237" fmla="*/ 284533 w 2240198"/>
                <a:gd name="connsiteY5237" fmla="*/ 1284919 h 1729012"/>
                <a:gd name="connsiteX5238" fmla="*/ 290115 w 2240198"/>
                <a:gd name="connsiteY5238" fmla="*/ 1278468 h 1729012"/>
                <a:gd name="connsiteX5239" fmla="*/ 288353 w 2240198"/>
                <a:gd name="connsiteY5239" fmla="*/ 1278834 h 1729012"/>
                <a:gd name="connsiteX5240" fmla="*/ 287427 w 2240198"/>
                <a:gd name="connsiteY5240" fmla="*/ 1279386 h 1729012"/>
                <a:gd name="connsiteX5241" fmla="*/ 286548 w 2240198"/>
                <a:gd name="connsiteY5241" fmla="*/ 1279318 h 1729012"/>
                <a:gd name="connsiteX5242" fmla="*/ 285715 w 2240198"/>
                <a:gd name="connsiteY5242" fmla="*/ 1278629 h 1729012"/>
                <a:gd name="connsiteX5243" fmla="*/ 284922 w 2240198"/>
                <a:gd name="connsiteY5243" fmla="*/ 1277202 h 1729012"/>
                <a:gd name="connsiteX5244" fmla="*/ 284168 w 2240198"/>
                <a:gd name="connsiteY5244" fmla="*/ 1275025 h 1729012"/>
                <a:gd name="connsiteX5245" fmla="*/ 283743 w 2240198"/>
                <a:gd name="connsiteY5245" fmla="*/ 1275981 h 1729012"/>
                <a:gd name="connsiteX5246" fmla="*/ 283650 w 2240198"/>
                <a:gd name="connsiteY5246" fmla="*/ 1280063 h 1729012"/>
                <a:gd name="connsiteX5247" fmla="*/ 283088 w 2240198"/>
                <a:gd name="connsiteY5247" fmla="*/ 1283552 h 1729012"/>
                <a:gd name="connsiteX5248" fmla="*/ 282089 w 2240198"/>
                <a:gd name="connsiteY5248" fmla="*/ 1285975 h 1729012"/>
                <a:gd name="connsiteX5249" fmla="*/ 279350 w 2240198"/>
                <a:gd name="connsiteY5249" fmla="*/ 1290892 h 1729012"/>
                <a:gd name="connsiteX5250" fmla="*/ 277744 w 2240198"/>
                <a:gd name="connsiteY5250" fmla="*/ 1292805 h 1729012"/>
                <a:gd name="connsiteX5251" fmla="*/ 276647 w 2240198"/>
                <a:gd name="connsiteY5251" fmla="*/ 1291023 h 1729012"/>
                <a:gd name="connsiteX5252" fmla="*/ 277493 w 2240198"/>
                <a:gd name="connsiteY5252" fmla="*/ 1287949 h 1729012"/>
                <a:gd name="connsiteX5253" fmla="*/ 279079 w 2240198"/>
                <a:gd name="connsiteY5253" fmla="*/ 1285500 h 1729012"/>
                <a:gd name="connsiteX5254" fmla="*/ 279351 w 2240198"/>
                <a:gd name="connsiteY5254" fmla="*/ 1282145 h 1729012"/>
                <a:gd name="connsiteX5255" fmla="*/ 277858 w 2240198"/>
                <a:gd name="connsiteY5255" fmla="*/ 1278136 h 1729012"/>
                <a:gd name="connsiteX5256" fmla="*/ 276946 w 2240198"/>
                <a:gd name="connsiteY5256" fmla="*/ 1274907 h 1729012"/>
                <a:gd name="connsiteX5257" fmla="*/ 276617 w 2240198"/>
                <a:gd name="connsiteY5257" fmla="*/ 1272456 h 1729012"/>
                <a:gd name="connsiteX5258" fmla="*/ 276574 w 2240198"/>
                <a:gd name="connsiteY5258" fmla="*/ 1270218 h 1729012"/>
                <a:gd name="connsiteX5259" fmla="*/ 276815 w 2240198"/>
                <a:gd name="connsiteY5259" fmla="*/ 1268191 h 1729012"/>
                <a:gd name="connsiteX5260" fmla="*/ 277444 w 2240198"/>
                <a:gd name="connsiteY5260" fmla="*/ 1265982 h 1729012"/>
                <a:gd name="connsiteX5261" fmla="*/ 278459 w 2240198"/>
                <a:gd name="connsiteY5261" fmla="*/ 1263591 h 1729012"/>
                <a:gd name="connsiteX5262" fmla="*/ 278338 w 2240198"/>
                <a:gd name="connsiteY5262" fmla="*/ 1263325 h 1729012"/>
                <a:gd name="connsiteX5263" fmla="*/ 278617 w 2240198"/>
                <a:gd name="connsiteY5263" fmla="*/ 1261100 h 1729012"/>
                <a:gd name="connsiteX5264" fmla="*/ 278393 w 2240198"/>
                <a:gd name="connsiteY5264" fmla="*/ 1258815 h 1729012"/>
                <a:gd name="connsiteX5265" fmla="*/ 277555 w 2240198"/>
                <a:gd name="connsiteY5265" fmla="*/ 1257002 h 1729012"/>
                <a:gd name="connsiteX5266" fmla="*/ 276493 w 2240198"/>
                <a:gd name="connsiteY5266" fmla="*/ 1255426 h 1729012"/>
                <a:gd name="connsiteX5267" fmla="*/ 273530 w 2240198"/>
                <a:gd name="connsiteY5267" fmla="*/ 1256372 h 1729012"/>
                <a:gd name="connsiteX5268" fmla="*/ 268498 w 2240198"/>
                <a:gd name="connsiteY5268" fmla="*/ 1254951 h 1729012"/>
                <a:gd name="connsiteX5269" fmla="*/ 266877 w 2240198"/>
                <a:gd name="connsiteY5269" fmla="*/ 1251081 h 1729012"/>
                <a:gd name="connsiteX5270" fmla="*/ 262516 w 2240198"/>
                <a:gd name="connsiteY5270" fmla="*/ 1249894 h 1729012"/>
                <a:gd name="connsiteX5271" fmla="*/ 260167 w 2240198"/>
                <a:gd name="connsiteY5271" fmla="*/ 1247126 h 1729012"/>
                <a:gd name="connsiteX5272" fmla="*/ 255388 w 2240198"/>
                <a:gd name="connsiteY5272" fmla="*/ 1245769 h 1729012"/>
                <a:gd name="connsiteX5273" fmla="*/ 251515 w 2240198"/>
                <a:gd name="connsiteY5273" fmla="*/ 1244826 h 1729012"/>
                <a:gd name="connsiteX5274" fmla="*/ 248561 w 2240198"/>
                <a:gd name="connsiteY5274" fmla="*/ 1243231 h 1729012"/>
                <a:gd name="connsiteX5275" fmla="*/ 245104 w 2240198"/>
                <a:gd name="connsiteY5275" fmla="*/ 1241359 h 1729012"/>
                <a:gd name="connsiteX5276" fmla="*/ 241653 w 2240198"/>
                <a:gd name="connsiteY5276" fmla="*/ 1239362 h 1729012"/>
                <a:gd name="connsiteX5277" fmla="*/ 239036 w 2240198"/>
                <a:gd name="connsiteY5277" fmla="*/ 1237845 h 1729012"/>
                <a:gd name="connsiteX5278" fmla="*/ 237098 w 2240198"/>
                <a:gd name="connsiteY5278" fmla="*/ 1237943 h 1729012"/>
                <a:gd name="connsiteX5279" fmla="*/ 232717 w 2240198"/>
                <a:gd name="connsiteY5279" fmla="*/ 1238163 h 1729012"/>
                <a:gd name="connsiteX5280" fmla="*/ 232494 w 2240198"/>
                <a:gd name="connsiteY5280" fmla="*/ 1234744 h 1729012"/>
                <a:gd name="connsiteX5281" fmla="*/ 231153 w 2240198"/>
                <a:gd name="connsiteY5281" fmla="*/ 1232675 h 1729012"/>
                <a:gd name="connsiteX5282" fmla="*/ 231655 w 2240198"/>
                <a:gd name="connsiteY5282" fmla="*/ 1230845 h 1729012"/>
                <a:gd name="connsiteX5283" fmla="*/ 229213 w 2240198"/>
                <a:gd name="connsiteY5283" fmla="*/ 1229909 h 1729012"/>
                <a:gd name="connsiteX5284" fmla="*/ 225617 w 2240198"/>
                <a:gd name="connsiteY5284" fmla="*/ 1228532 h 1729012"/>
                <a:gd name="connsiteX5285" fmla="*/ 226667 w 2240198"/>
                <a:gd name="connsiteY5285" fmla="*/ 1225037 h 1729012"/>
                <a:gd name="connsiteX5286" fmla="*/ 227462 w 2240198"/>
                <a:gd name="connsiteY5286" fmla="*/ 1222385 h 1729012"/>
                <a:gd name="connsiteX5287" fmla="*/ 224280 w 2240198"/>
                <a:gd name="connsiteY5287" fmla="*/ 1221600 h 1729012"/>
                <a:gd name="connsiteX5288" fmla="*/ 219692 w 2240198"/>
                <a:gd name="connsiteY5288" fmla="*/ 1220467 h 1729012"/>
                <a:gd name="connsiteX5289" fmla="*/ 221178 w 2240198"/>
                <a:gd name="connsiteY5289" fmla="*/ 1218074 h 1729012"/>
                <a:gd name="connsiteX5290" fmla="*/ 222375 w 2240198"/>
                <a:gd name="connsiteY5290" fmla="*/ 1216142 h 1729012"/>
                <a:gd name="connsiteX5291" fmla="*/ 220613 w 2240198"/>
                <a:gd name="connsiteY5291" fmla="*/ 1213314 h 1729012"/>
                <a:gd name="connsiteX5292" fmla="*/ 217042 w 2240198"/>
                <a:gd name="connsiteY5292" fmla="*/ 1208564 h 1729012"/>
                <a:gd name="connsiteX5293" fmla="*/ 214303 w 2240198"/>
                <a:gd name="connsiteY5293" fmla="*/ 1205165 h 1729012"/>
                <a:gd name="connsiteX5294" fmla="*/ 210728 w 2240198"/>
                <a:gd name="connsiteY5294" fmla="*/ 1199860 h 1729012"/>
                <a:gd name="connsiteX5295" fmla="*/ 207583 w 2240198"/>
                <a:gd name="connsiteY5295" fmla="*/ 1195188 h 1729012"/>
                <a:gd name="connsiteX5296" fmla="*/ 205014 w 2240198"/>
                <a:gd name="connsiteY5296" fmla="*/ 1191362 h 1729012"/>
                <a:gd name="connsiteX5297" fmla="*/ 202869 w 2240198"/>
                <a:gd name="connsiteY5297" fmla="*/ 1188720 h 1729012"/>
                <a:gd name="connsiteX5298" fmla="*/ 199852 w 2240198"/>
                <a:gd name="connsiteY5298" fmla="*/ 1183984 h 1729012"/>
                <a:gd name="connsiteX5299" fmla="*/ 195925 w 2240198"/>
                <a:gd name="connsiteY5299" fmla="*/ 1178637 h 1729012"/>
                <a:gd name="connsiteX5300" fmla="*/ 192190 w 2240198"/>
                <a:gd name="connsiteY5300" fmla="*/ 1174421 h 1729012"/>
                <a:gd name="connsiteX5301" fmla="*/ 192735 w 2240198"/>
                <a:gd name="connsiteY5301" fmla="*/ 1171692 h 1729012"/>
                <a:gd name="connsiteX5302" fmla="*/ 189051 w 2240198"/>
                <a:gd name="connsiteY5302" fmla="*/ 1168264 h 1729012"/>
                <a:gd name="connsiteX5303" fmla="*/ 185816 w 2240198"/>
                <a:gd name="connsiteY5303" fmla="*/ 1164791 h 1729012"/>
                <a:gd name="connsiteX5304" fmla="*/ 182094 w 2240198"/>
                <a:gd name="connsiteY5304" fmla="*/ 1160786 h 1729012"/>
                <a:gd name="connsiteX5305" fmla="*/ 178418 w 2240198"/>
                <a:gd name="connsiteY5305" fmla="*/ 1158823 h 1729012"/>
                <a:gd name="connsiteX5306" fmla="*/ 175794 w 2240198"/>
                <a:gd name="connsiteY5306" fmla="*/ 1157422 h 1729012"/>
                <a:gd name="connsiteX5307" fmla="*/ 172009 w 2240198"/>
                <a:gd name="connsiteY5307" fmla="*/ 1155398 h 1729012"/>
                <a:gd name="connsiteX5308" fmla="*/ 170019 w 2240198"/>
                <a:gd name="connsiteY5308" fmla="*/ 1153588 h 1729012"/>
                <a:gd name="connsiteX5309" fmla="*/ 169190 w 2240198"/>
                <a:gd name="connsiteY5309" fmla="*/ 1152052 h 1729012"/>
                <a:gd name="connsiteX5310" fmla="*/ 168331 w 2240198"/>
                <a:gd name="connsiteY5310" fmla="*/ 1150968 h 1729012"/>
                <a:gd name="connsiteX5311" fmla="*/ 167583 w 2240198"/>
                <a:gd name="connsiteY5311" fmla="*/ 1149460 h 1729012"/>
                <a:gd name="connsiteX5312" fmla="*/ 167148 w 2240198"/>
                <a:gd name="connsiteY5312" fmla="*/ 1147702 h 1729012"/>
                <a:gd name="connsiteX5313" fmla="*/ 166373 w 2240198"/>
                <a:gd name="connsiteY5313" fmla="*/ 1146615 h 1729012"/>
                <a:gd name="connsiteX5314" fmla="*/ 161778 w 2240198"/>
                <a:gd name="connsiteY5314" fmla="*/ 1143999 h 1729012"/>
                <a:gd name="connsiteX5315" fmla="*/ 160377 w 2240198"/>
                <a:gd name="connsiteY5315" fmla="*/ 1142355 h 1729012"/>
                <a:gd name="connsiteX5316" fmla="*/ 157202 w 2240198"/>
                <a:gd name="connsiteY5316" fmla="*/ 1140455 h 1729012"/>
                <a:gd name="connsiteX5317" fmla="*/ 154544 w 2240198"/>
                <a:gd name="connsiteY5317" fmla="*/ 1139661 h 1729012"/>
                <a:gd name="connsiteX5318" fmla="*/ 153619 w 2240198"/>
                <a:gd name="connsiteY5318" fmla="*/ 1139020 h 1729012"/>
                <a:gd name="connsiteX5319" fmla="*/ 150385 w 2240198"/>
                <a:gd name="connsiteY5319" fmla="*/ 1133273 h 1729012"/>
                <a:gd name="connsiteX5320" fmla="*/ 150903 w 2240198"/>
                <a:gd name="connsiteY5320" fmla="*/ 1131220 h 1729012"/>
                <a:gd name="connsiteX5321" fmla="*/ 151262 w 2240198"/>
                <a:gd name="connsiteY5321" fmla="*/ 1129166 h 1729012"/>
                <a:gd name="connsiteX5322" fmla="*/ 150899 w 2240198"/>
                <a:gd name="connsiteY5322" fmla="*/ 1128112 h 1729012"/>
                <a:gd name="connsiteX5323" fmla="*/ 145579 w 2240198"/>
                <a:gd name="connsiteY5323" fmla="*/ 1123728 h 1729012"/>
                <a:gd name="connsiteX5324" fmla="*/ 142865 w 2240198"/>
                <a:gd name="connsiteY5324" fmla="*/ 1121906 h 1729012"/>
                <a:gd name="connsiteX5325" fmla="*/ 140124 w 2240198"/>
                <a:gd name="connsiteY5325" fmla="*/ 1120019 h 1729012"/>
                <a:gd name="connsiteX5326" fmla="*/ 134377 w 2240198"/>
                <a:gd name="connsiteY5326" fmla="*/ 1122455 h 1729012"/>
                <a:gd name="connsiteX5327" fmla="*/ 128493 w 2240198"/>
                <a:gd name="connsiteY5327" fmla="*/ 1124948 h 1729012"/>
                <a:gd name="connsiteX5328" fmla="*/ 124372 w 2240198"/>
                <a:gd name="connsiteY5328" fmla="*/ 1125863 h 1729012"/>
                <a:gd name="connsiteX5329" fmla="*/ 118676 w 2240198"/>
                <a:gd name="connsiteY5329" fmla="*/ 1127127 h 1729012"/>
                <a:gd name="connsiteX5330" fmla="*/ 120570 w 2240198"/>
                <a:gd name="connsiteY5330" fmla="*/ 1129834 h 1729012"/>
                <a:gd name="connsiteX5331" fmla="*/ 119787 w 2240198"/>
                <a:gd name="connsiteY5331" fmla="*/ 1131812 h 1729012"/>
                <a:gd name="connsiteX5332" fmla="*/ 118016 w 2240198"/>
                <a:gd name="connsiteY5332" fmla="*/ 1132724 h 1729012"/>
                <a:gd name="connsiteX5333" fmla="*/ 115011 w 2240198"/>
                <a:gd name="connsiteY5333" fmla="*/ 1132610 h 1729012"/>
                <a:gd name="connsiteX5334" fmla="*/ 115001 w 2240198"/>
                <a:gd name="connsiteY5334" fmla="*/ 1139333 h 1729012"/>
                <a:gd name="connsiteX5335" fmla="*/ 112160 w 2240198"/>
                <a:gd name="connsiteY5335" fmla="*/ 1144114 h 1729012"/>
                <a:gd name="connsiteX5336" fmla="*/ 106215 w 2240198"/>
                <a:gd name="connsiteY5336" fmla="*/ 1144197 h 1729012"/>
                <a:gd name="connsiteX5337" fmla="*/ 103019 w 2240198"/>
                <a:gd name="connsiteY5337" fmla="*/ 1145840 h 1729012"/>
                <a:gd name="connsiteX5338" fmla="*/ 98279 w 2240198"/>
                <a:gd name="connsiteY5338" fmla="*/ 1148273 h 1729012"/>
                <a:gd name="connsiteX5339" fmla="*/ 94442 w 2240198"/>
                <a:gd name="connsiteY5339" fmla="*/ 1150243 h 1729012"/>
                <a:gd name="connsiteX5340" fmla="*/ 90359 w 2240198"/>
                <a:gd name="connsiteY5340" fmla="*/ 1153415 h 1729012"/>
                <a:gd name="connsiteX5341" fmla="*/ 88272 w 2240198"/>
                <a:gd name="connsiteY5341" fmla="*/ 1152959 h 1729012"/>
                <a:gd name="connsiteX5342" fmla="*/ 89203 w 2240198"/>
                <a:gd name="connsiteY5342" fmla="*/ 1150131 h 1729012"/>
                <a:gd name="connsiteX5343" fmla="*/ 87693 w 2240198"/>
                <a:gd name="connsiteY5343" fmla="*/ 1145341 h 1729012"/>
                <a:gd name="connsiteX5344" fmla="*/ 86435 w 2240198"/>
                <a:gd name="connsiteY5344" fmla="*/ 1141344 h 1729012"/>
                <a:gd name="connsiteX5345" fmla="*/ 83816 w 2240198"/>
                <a:gd name="connsiteY5345" fmla="*/ 1139288 h 1729012"/>
                <a:gd name="connsiteX5346" fmla="*/ 79406 w 2240198"/>
                <a:gd name="connsiteY5346" fmla="*/ 1135821 h 1729012"/>
                <a:gd name="connsiteX5347" fmla="*/ 76095 w 2240198"/>
                <a:gd name="connsiteY5347" fmla="*/ 1133217 h 1729012"/>
                <a:gd name="connsiteX5348" fmla="*/ 71371 w 2240198"/>
                <a:gd name="connsiteY5348" fmla="*/ 1129495 h 1729012"/>
                <a:gd name="connsiteX5349" fmla="*/ 68069 w 2240198"/>
                <a:gd name="connsiteY5349" fmla="*/ 1126889 h 1729012"/>
                <a:gd name="connsiteX5350" fmla="*/ 64621 w 2240198"/>
                <a:gd name="connsiteY5350" fmla="*/ 1124166 h 1729012"/>
                <a:gd name="connsiteX5351" fmla="*/ 60091 w 2240198"/>
                <a:gd name="connsiteY5351" fmla="*/ 1120586 h 1729012"/>
                <a:gd name="connsiteX5352" fmla="*/ 58235 w 2240198"/>
                <a:gd name="connsiteY5352" fmla="*/ 1115935 h 1729012"/>
                <a:gd name="connsiteX5353" fmla="*/ 54095 w 2240198"/>
                <a:gd name="connsiteY5353" fmla="*/ 1114252 h 1729012"/>
                <a:gd name="connsiteX5354" fmla="*/ 49665 w 2240198"/>
                <a:gd name="connsiteY5354" fmla="*/ 1112453 h 1729012"/>
                <a:gd name="connsiteX5355" fmla="*/ 46073 w 2240198"/>
                <a:gd name="connsiteY5355" fmla="*/ 1109028 h 1729012"/>
                <a:gd name="connsiteX5356" fmla="*/ 47294 w 2240198"/>
                <a:gd name="connsiteY5356" fmla="*/ 1105644 h 1729012"/>
                <a:gd name="connsiteX5357" fmla="*/ 48757 w 2240198"/>
                <a:gd name="connsiteY5357" fmla="*/ 1101586 h 1729012"/>
                <a:gd name="connsiteX5358" fmla="*/ 48757 w 2240198"/>
                <a:gd name="connsiteY5358" fmla="*/ 1099139 h 1729012"/>
                <a:gd name="connsiteX5359" fmla="*/ 44814 w 2240198"/>
                <a:gd name="connsiteY5359" fmla="*/ 1099289 h 1729012"/>
                <a:gd name="connsiteX5360" fmla="*/ 38901 w 2240198"/>
                <a:gd name="connsiteY5360" fmla="*/ 1099519 h 1729012"/>
                <a:gd name="connsiteX5361" fmla="*/ 33618 w 2240198"/>
                <a:gd name="connsiteY5361" fmla="*/ 1099725 h 1729012"/>
                <a:gd name="connsiteX5362" fmla="*/ 29704 w 2240198"/>
                <a:gd name="connsiteY5362" fmla="*/ 1102596 h 1729012"/>
                <a:gd name="connsiteX5363" fmla="*/ 26088 w 2240198"/>
                <a:gd name="connsiteY5363" fmla="*/ 1105247 h 1729012"/>
                <a:gd name="connsiteX5364" fmla="*/ 20417 w 2240198"/>
                <a:gd name="connsiteY5364" fmla="*/ 1103181 h 1729012"/>
                <a:gd name="connsiteX5365" fmla="*/ 13928 w 2240198"/>
                <a:gd name="connsiteY5365" fmla="*/ 1100814 h 1729012"/>
                <a:gd name="connsiteX5366" fmla="*/ 12087 w 2240198"/>
                <a:gd name="connsiteY5366" fmla="*/ 1103909 h 1729012"/>
                <a:gd name="connsiteX5367" fmla="*/ 6071 w 2240198"/>
                <a:gd name="connsiteY5367" fmla="*/ 1102359 h 1729012"/>
                <a:gd name="connsiteX5368" fmla="*/ 0 w 2240198"/>
                <a:gd name="connsiteY5368" fmla="*/ 1100793 h 1729012"/>
                <a:gd name="connsiteX5369" fmla="*/ 0 w 2240198"/>
                <a:gd name="connsiteY5369" fmla="*/ 1089644 h 1729012"/>
                <a:gd name="connsiteX5370" fmla="*/ 0 w 2240198"/>
                <a:gd name="connsiteY5370" fmla="*/ 1078440 h 1729012"/>
                <a:gd name="connsiteX5371" fmla="*/ 0 w 2240198"/>
                <a:gd name="connsiteY5371" fmla="*/ 1067188 h 1729012"/>
                <a:gd name="connsiteX5372" fmla="*/ 0 w 2240198"/>
                <a:gd name="connsiteY5372" fmla="*/ 1055881 h 1729012"/>
                <a:gd name="connsiteX5373" fmla="*/ 0 w 2240198"/>
                <a:gd name="connsiteY5373" fmla="*/ 1044519 h 1729012"/>
                <a:gd name="connsiteX5374" fmla="*/ 0 w 2240198"/>
                <a:gd name="connsiteY5374" fmla="*/ 1033106 h 1729012"/>
                <a:gd name="connsiteX5375" fmla="*/ 0 w 2240198"/>
                <a:gd name="connsiteY5375" fmla="*/ 1021634 h 1729012"/>
                <a:gd name="connsiteX5376" fmla="*/ 0 w 2240198"/>
                <a:gd name="connsiteY5376" fmla="*/ 1010110 h 1729012"/>
                <a:gd name="connsiteX5377" fmla="*/ 0 w 2240198"/>
                <a:gd name="connsiteY5377" fmla="*/ 998529 h 1729012"/>
                <a:gd name="connsiteX5378" fmla="*/ 0 w 2240198"/>
                <a:gd name="connsiteY5378" fmla="*/ 986891 h 1729012"/>
                <a:gd name="connsiteX5379" fmla="*/ 0 w 2240198"/>
                <a:gd name="connsiteY5379" fmla="*/ 975196 h 1729012"/>
                <a:gd name="connsiteX5380" fmla="*/ 0 w 2240198"/>
                <a:gd name="connsiteY5380" fmla="*/ 963438 h 1729012"/>
                <a:gd name="connsiteX5381" fmla="*/ 0 w 2240198"/>
                <a:gd name="connsiteY5381" fmla="*/ 951625 h 1729012"/>
                <a:gd name="connsiteX5382" fmla="*/ 0 w 2240198"/>
                <a:gd name="connsiteY5382" fmla="*/ 939748 h 1729012"/>
                <a:gd name="connsiteX5383" fmla="*/ 0 w 2240198"/>
                <a:gd name="connsiteY5383" fmla="*/ 927813 h 1729012"/>
                <a:gd name="connsiteX5384" fmla="*/ 0 w 2240198"/>
                <a:gd name="connsiteY5384" fmla="*/ 915813 h 1729012"/>
                <a:gd name="connsiteX5385" fmla="*/ 0 w 2240198"/>
                <a:gd name="connsiteY5385" fmla="*/ 903753 h 1729012"/>
                <a:gd name="connsiteX5386" fmla="*/ 0 w 2240198"/>
                <a:gd name="connsiteY5386" fmla="*/ 891630 h 1729012"/>
                <a:gd name="connsiteX5387" fmla="*/ 0 w 2240198"/>
                <a:gd name="connsiteY5387" fmla="*/ 879439 h 1729012"/>
                <a:gd name="connsiteX5388" fmla="*/ 0 w 2240198"/>
                <a:gd name="connsiteY5388" fmla="*/ 867185 h 1729012"/>
                <a:gd name="connsiteX5389" fmla="*/ 0 w 2240198"/>
                <a:gd name="connsiteY5389" fmla="*/ 854866 h 1729012"/>
                <a:gd name="connsiteX5390" fmla="*/ 0 w 2240198"/>
                <a:gd name="connsiteY5390" fmla="*/ 842475 h 1729012"/>
                <a:gd name="connsiteX5391" fmla="*/ 0 w 2240198"/>
                <a:gd name="connsiteY5391" fmla="*/ 830020 h 1729012"/>
                <a:gd name="connsiteX5392" fmla="*/ 0 w 2240198"/>
                <a:gd name="connsiteY5392" fmla="*/ 817495 h 1729012"/>
                <a:gd name="connsiteX5393" fmla="*/ 0 w 2240198"/>
                <a:gd name="connsiteY5393" fmla="*/ 804899 h 1729012"/>
                <a:gd name="connsiteX5394" fmla="*/ 0 w 2240198"/>
                <a:gd name="connsiteY5394" fmla="*/ 792233 h 1729012"/>
                <a:gd name="connsiteX5395" fmla="*/ 0 w 2240198"/>
                <a:gd name="connsiteY5395" fmla="*/ 779495 h 1729012"/>
                <a:gd name="connsiteX5396" fmla="*/ 0 w 2240198"/>
                <a:gd name="connsiteY5396" fmla="*/ 766681 h 1729012"/>
                <a:gd name="connsiteX5397" fmla="*/ 0 w 2240198"/>
                <a:gd name="connsiteY5397" fmla="*/ 753795 h 1729012"/>
                <a:gd name="connsiteX5398" fmla="*/ 0 w 2240198"/>
                <a:gd name="connsiteY5398" fmla="*/ 740835 h 1729012"/>
                <a:gd name="connsiteX5399" fmla="*/ 0 w 2240198"/>
                <a:gd name="connsiteY5399" fmla="*/ 727794 h 1729012"/>
                <a:gd name="connsiteX5400" fmla="*/ 0 w 2240198"/>
                <a:gd name="connsiteY5400" fmla="*/ 714680 h 1729012"/>
                <a:gd name="connsiteX5401" fmla="*/ 3604 w 2240198"/>
                <a:gd name="connsiteY5401" fmla="*/ 715379 h 1729012"/>
                <a:gd name="connsiteX5402" fmla="*/ 15138 w 2240198"/>
                <a:gd name="connsiteY5402" fmla="*/ 716852 h 1729012"/>
                <a:gd name="connsiteX5403" fmla="*/ 26004 w 2240198"/>
                <a:gd name="connsiteY5403" fmla="*/ 715988 h 1729012"/>
                <a:gd name="connsiteX5404" fmla="*/ 46163 w 2240198"/>
                <a:gd name="connsiteY5404" fmla="*/ 720760 h 1729012"/>
                <a:gd name="connsiteX5405" fmla="*/ 58630 w 2240198"/>
                <a:gd name="connsiteY5405" fmla="*/ 729665 h 1729012"/>
                <a:gd name="connsiteX5406" fmla="*/ 68745 w 2240198"/>
                <a:gd name="connsiteY5406" fmla="*/ 734031 h 1729012"/>
                <a:gd name="connsiteX5407" fmla="*/ 72868 w 2240198"/>
                <a:gd name="connsiteY5407" fmla="*/ 737023 h 1729012"/>
                <a:gd name="connsiteX5408" fmla="*/ 79434 w 2240198"/>
                <a:gd name="connsiteY5408" fmla="*/ 739657 h 1729012"/>
                <a:gd name="connsiteX5409" fmla="*/ 94889 w 2240198"/>
                <a:gd name="connsiteY5409" fmla="*/ 745378 h 1729012"/>
                <a:gd name="connsiteX5410" fmla="*/ 99694 w 2240198"/>
                <a:gd name="connsiteY5410" fmla="*/ 745965 h 1729012"/>
                <a:gd name="connsiteX5411" fmla="*/ 108647 w 2240198"/>
                <a:gd name="connsiteY5411" fmla="*/ 748704 h 1729012"/>
                <a:gd name="connsiteX5412" fmla="*/ 114191 w 2240198"/>
                <a:gd name="connsiteY5412" fmla="*/ 748342 h 1729012"/>
                <a:gd name="connsiteX5413" fmla="*/ 123733 w 2240198"/>
                <a:gd name="connsiteY5413" fmla="*/ 749011 h 1729012"/>
                <a:gd name="connsiteX5414" fmla="*/ 130217 w 2240198"/>
                <a:gd name="connsiteY5414" fmla="*/ 751209 h 1729012"/>
                <a:gd name="connsiteX5415" fmla="*/ 143009 w 2240198"/>
                <a:gd name="connsiteY5415" fmla="*/ 757231 h 1729012"/>
                <a:gd name="connsiteX5416" fmla="*/ 145630 w 2240198"/>
                <a:gd name="connsiteY5416" fmla="*/ 757766 h 1729012"/>
                <a:gd name="connsiteX5417" fmla="*/ 146330 w 2240198"/>
                <a:gd name="connsiteY5417" fmla="*/ 757326 h 1729012"/>
                <a:gd name="connsiteX5418" fmla="*/ 141874 w 2240198"/>
                <a:gd name="connsiteY5418" fmla="*/ 751371 h 1729012"/>
                <a:gd name="connsiteX5419" fmla="*/ 141174 w 2240198"/>
                <a:gd name="connsiteY5419" fmla="*/ 750794 h 1729012"/>
                <a:gd name="connsiteX5420" fmla="*/ 136016 w 2240198"/>
                <a:gd name="connsiteY5420" fmla="*/ 748567 h 1729012"/>
                <a:gd name="connsiteX5421" fmla="*/ 129972 w 2240198"/>
                <a:gd name="connsiteY5421" fmla="*/ 747470 h 1729012"/>
                <a:gd name="connsiteX5422" fmla="*/ 129506 w 2240198"/>
                <a:gd name="connsiteY5422" fmla="*/ 747039 h 1729012"/>
                <a:gd name="connsiteX5423" fmla="*/ 128382 w 2240198"/>
                <a:gd name="connsiteY5423" fmla="*/ 744932 h 1729012"/>
                <a:gd name="connsiteX5424" fmla="*/ 128744 w 2240198"/>
                <a:gd name="connsiteY5424" fmla="*/ 744112 h 1729012"/>
                <a:gd name="connsiteX5425" fmla="*/ 130061 w 2240198"/>
                <a:gd name="connsiteY5425" fmla="*/ 743739 h 1729012"/>
                <a:gd name="connsiteX5426" fmla="*/ 134564 w 2240198"/>
                <a:gd name="connsiteY5426" fmla="*/ 743757 h 1729012"/>
                <a:gd name="connsiteX5427" fmla="*/ 137232 w 2240198"/>
                <a:gd name="connsiteY5427" fmla="*/ 743418 h 1729012"/>
                <a:gd name="connsiteX5428" fmla="*/ 137599 w 2240198"/>
                <a:gd name="connsiteY5428" fmla="*/ 742587 h 1729012"/>
                <a:gd name="connsiteX5429" fmla="*/ 135678 w 2240198"/>
                <a:gd name="connsiteY5429" fmla="*/ 742394 h 1729012"/>
                <a:gd name="connsiteX5430" fmla="*/ 133362 w 2240198"/>
                <a:gd name="connsiteY5430" fmla="*/ 741588 h 1729012"/>
                <a:gd name="connsiteX5431" fmla="*/ 130647 w 2240198"/>
                <a:gd name="connsiteY5431" fmla="*/ 740165 h 1729012"/>
                <a:gd name="connsiteX5432" fmla="*/ 129112 w 2240198"/>
                <a:gd name="connsiteY5432" fmla="*/ 738827 h 1729012"/>
                <a:gd name="connsiteX5433" fmla="*/ 134660 w 2240198"/>
                <a:gd name="connsiteY5433" fmla="*/ 729916 h 1729012"/>
                <a:gd name="connsiteX5434" fmla="*/ 136599 w 2240198"/>
                <a:gd name="connsiteY5434" fmla="*/ 730817 h 1729012"/>
                <a:gd name="connsiteX5435" fmla="*/ 139526 w 2240198"/>
                <a:gd name="connsiteY5435" fmla="*/ 728754 h 1729012"/>
                <a:gd name="connsiteX5436" fmla="*/ 144767 w 2240198"/>
                <a:gd name="connsiteY5436" fmla="*/ 730064 h 1729012"/>
                <a:gd name="connsiteX5437" fmla="*/ 145727 w 2240198"/>
                <a:gd name="connsiteY5437" fmla="*/ 729350 h 1729012"/>
                <a:gd name="connsiteX5438" fmla="*/ 146366 w 2240198"/>
                <a:gd name="connsiteY5438" fmla="*/ 724813 h 1729012"/>
                <a:gd name="connsiteX5439" fmla="*/ 147146 w 2240198"/>
                <a:gd name="connsiteY5439" fmla="*/ 723718 h 1729012"/>
                <a:gd name="connsiteX5440" fmla="*/ 148622 w 2240198"/>
                <a:gd name="connsiteY5440" fmla="*/ 722901 h 1729012"/>
                <a:gd name="connsiteX5441" fmla="*/ 155923 w 2240198"/>
                <a:gd name="connsiteY5441" fmla="*/ 722091 h 1729012"/>
                <a:gd name="connsiteX5442" fmla="*/ 165026 w 2240198"/>
                <a:gd name="connsiteY5442" fmla="*/ 722897 h 1729012"/>
                <a:gd name="connsiteX5443" fmla="*/ 165966 w 2240198"/>
                <a:gd name="connsiteY5443" fmla="*/ 722461 h 1729012"/>
                <a:gd name="connsiteX5444" fmla="*/ 165094 w 2240198"/>
                <a:gd name="connsiteY5444" fmla="*/ 719423 h 1729012"/>
                <a:gd name="connsiteX5445" fmla="*/ 164989 w 2240198"/>
                <a:gd name="connsiteY5445" fmla="*/ 718227 h 1729012"/>
                <a:gd name="connsiteX5446" fmla="*/ 165538 w 2240198"/>
                <a:gd name="connsiteY5446" fmla="*/ 715489 h 1729012"/>
                <a:gd name="connsiteX5447" fmla="*/ 166101 w 2240198"/>
                <a:gd name="connsiteY5447" fmla="*/ 714018 h 1729012"/>
                <a:gd name="connsiteX5448" fmla="*/ 167180 w 2240198"/>
                <a:gd name="connsiteY5448" fmla="*/ 713284 h 1729012"/>
                <a:gd name="connsiteX5449" fmla="*/ 171411 w 2240198"/>
                <a:gd name="connsiteY5449" fmla="*/ 713866 h 1729012"/>
                <a:gd name="connsiteX5450" fmla="*/ 172734 w 2240198"/>
                <a:gd name="connsiteY5450" fmla="*/ 715218 h 1729012"/>
                <a:gd name="connsiteX5451" fmla="*/ 174150 w 2240198"/>
                <a:gd name="connsiteY5451" fmla="*/ 717538 h 1729012"/>
                <a:gd name="connsiteX5452" fmla="*/ 175584 w 2240198"/>
                <a:gd name="connsiteY5452" fmla="*/ 718859 h 1729012"/>
                <a:gd name="connsiteX5453" fmla="*/ 180086 w 2240198"/>
                <a:gd name="connsiteY5453" fmla="*/ 720190 h 1729012"/>
                <a:gd name="connsiteX5454" fmla="*/ 180597 w 2240198"/>
                <a:gd name="connsiteY5454" fmla="*/ 721111 h 1729012"/>
                <a:gd name="connsiteX5455" fmla="*/ 178881 w 2240198"/>
                <a:gd name="connsiteY5455" fmla="*/ 724620 h 1729012"/>
                <a:gd name="connsiteX5456" fmla="*/ 177082 w 2240198"/>
                <a:gd name="connsiteY5456" fmla="*/ 726457 h 1729012"/>
                <a:gd name="connsiteX5457" fmla="*/ 173364 w 2240198"/>
                <a:gd name="connsiteY5457" fmla="*/ 731284 h 1729012"/>
                <a:gd name="connsiteX5458" fmla="*/ 173129 w 2240198"/>
                <a:gd name="connsiteY5458" fmla="*/ 732523 h 1729012"/>
                <a:gd name="connsiteX5459" fmla="*/ 178866 w 2240198"/>
                <a:gd name="connsiteY5459" fmla="*/ 730357 h 1729012"/>
                <a:gd name="connsiteX5460" fmla="*/ 185307 w 2240198"/>
                <a:gd name="connsiteY5460" fmla="*/ 727355 h 1729012"/>
                <a:gd name="connsiteX5461" fmla="*/ 190838 w 2240198"/>
                <a:gd name="connsiteY5461" fmla="*/ 725700 h 1729012"/>
                <a:gd name="connsiteX5462" fmla="*/ 195459 w 2240198"/>
                <a:gd name="connsiteY5462" fmla="*/ 725397 h 1729012"/>
                <a:gd name="connsiteX5463" fmla="*/ 198769 w 2240198"/>
                <a:gd name="connsiteY5463" fmla="*/ 724423 h 1729012"/>
                <a:gd name="connsiteX5464" fmla="*/ 200764 w 2240198"/>
                <a:gd name="connsiteY5464" fmla="*/ 722774 h 1729012"/>
                <a:gd name="connsiteX5465" fmla="*/ 202188 w 2240198"/>
                <a:gd name="connsiteY5465" fmla="*/ 721087 h 1729012"/>
                <a:gd name="connsiteX5466" fmla="*/ 205052 w 2240198"/>
                <a:gd name="connsiteY5466" fmla="*/ 715631 h 1729012"/>
                <a:gd name="connsiteX5467" fmla="*/ 206954 w 2240198"/>
                <a:gd name="connsiteY5467" fmla="*/ 714685 h 1729012"/>
                <a:gd name="connsiteX5468" fmla="*/ 214903 w 2240198"/>
                <a:gd name="connsiteY5468" fmla="*/ 715019 h 1729012"/>
                <a:gd name="connsiteX5469" fmla="*/ 216792 w 2240198"/>
                <a:gd name="connsiteY5469" fmla="*/ 714854 h 1729012"/>
                <a:gd name="connsiteX5470" fmla="*/ 218020 w 2240198"/>
                <a:gd name="connsiteY5470" fmla="*/ 714322 h 1729012"/>
                <a:gd name="connsiteX5471" fmla="*/ 217796 w 2240198"/>
                <a:gd name="connsiteY5471" fmla="*/ 713631 h 1729012"/>
                <a:gd name="connsiteX5472" fmla="*/ 216116 w 2240198"/>
                <a:gd name="connsiteY5472" fmla="*/ 712784 h 1729012"/>
                <a:gd name="connsiteX5473" fmla="*/ 213850 w 2240198"/>
                <a:gd name="connsiteY5473" fmla="*/ 712546 h 1729012"/>
                <a:gd name="connsiteX5474" fmla="*/ 213793 w 2240198"/>
                <a:gd name="connsiteY5474" fmla="*/ 712161 h 1729012"/>
                <a:gd name="connsiteX5475" fmla="*/ 214631 w 2240198"/>
                <a:gd name="connsiteY5475" fmla="*/ 711266 h 1729012"/>
                <a:gd name="connsiteX5476" fmla="*/ 215875 w 2240198"/>
                <a:gd name="connsiteY5476" fmla="*/ 710746 h 1729012"/>
                <a:gd name="connsiteX5477" fmla="*/ 219793 w 2240198"/>
                <a:gd name="connsiteY5477" fmla="*/ 710127 h 1729012"/>
                <a:gd name="connsiteX5478" fmla="*/ 222368 w 2240198"/>
                <a:gd name="connsiteY5478" fmla="*/ 712096 h 1729012"/>
                <a:gd name="connsiteX5479" fmla="*/ 224118 w 2240198"/>
                <a:gd name="connsiteY5479" fmla="*/ 712238 h 1729012"/>
                <a:gd name="connsiteX5480" fmla="*/ 229932 w 2240198"/>
                <a:gd name="connsiteY5480" fmla="*/ 710052 h 1729012"/>
                <a:gd name="connsiteX5481" fmla="*/ 238865 w 2240198"/>
                <a:gd name="connsiteY5481" fmla="*/ 704240 h 1729012"/>
                <a:gd name="connsiteX5482" fmla="*/ 242438 w 2240198"/>
                <a:gd name="connsiteY5482" fmla="*/ 702620 h 1729012"/>
                <a:gd name="connsiteX5483" fmla="*/ 245531 w 2240198"/>
                <a:gd name="connsiteY5483" fmla="*/ 702337 h 1729012"/>
                <a:gd name="connsiteX5484" fmla="*/ 248144 w 2240198"/>
                <a:gd name="connsiteY5484" fmla="*/ 703396 h 1729012"/>
                <a:gd name="connsiteX5485" fmla="*/ 250160 w 2240198"/>
                <a:gd name="connsiteY5485" fmla="*/ 703119 h 1729012"/>
                <a:gd name="connsiteX5486" fmla="*/ 252811 w 2240198"/>
                <a:gd name="connsiteY5486" fmla="*/ 699832 h 1729012"/>
                <a:gd name="connsiteX5487" fmla="*/ 253856 w 2240198"/>
                <a:gd name="connsiteY5487" fmla="*/ 698081 h 1729012"/>
                <a:gd name="connsiteX5488" fmla="*/ 255490 w 2240198"/>
                <a:gd name="connsiteY5488" fmla="*/ 696560 h 1729012"/>
                <a:gd name="connsiteX5489" fmla="*/ 262100 w 2240198"/>
                <a:gd name="connsiteY5489" fmla="*/ 693132 h 1729012"/>
                <a:gd name="connsiteX5490" fmla="*/ 266336 w 2240198"/>
                <a:gd name="connsiteY5490" fmla="*/ 692400 h 1729012"/>
                <a:gd name="connsiteX5491" fmla="*/ 268923 w 2240198"/>
                <a:gd name="connsiteY5491" fmla="*/ 693033 h 1729012"/>
                <a:gd name="connsiteX5492" fmla="*/ 272003 w 2240198"/>
                <a:gd name="connsiteY5492" fmla="*/ 694453 h 1729012"/>
                <a:gd name="connsiteX5493" fmla="*/ 274538 w 2240198"/>
                <a:gd name="connsiteY5493" fmla="*/ 695004 h 1729012"/>
                <a:gd name="connsiteX5494" fmla="*/ 277876 w 2240198"/>
                <a:gd name="connsiteY5494" fmla="*/ 694586 h 1729012"/>
                <a:gd name="connsiteX5495" fmla="*/ 280369 w 2240198"/>
                <a:gd name="connsiteY5495" fmla="*/ 694775 h 1729012"/>
                <a:gd name="connsiteX5496" fmla="*/ 281559 w 2240198"/>
                <a:gd name="connsiteY5496" fmla="*/ 694083 h 1729012"/>
                <a:gd name="connsiteX5497" fmla="*/ 285818 w 2240198"/>
                <a:gd name="connsiteY5497" fmla="*/ 690174 h 1729012"/>
                <a:gd name="connsiteX5498" fmla="*/ 287199 w 2240198"/>
                <a:gd name="connsiteY5498" fmla="*/ 690134 h 1729012"/>
                <a:gd name="connsiteX5499" fmla="*/ 288534 w 2240198"/>
                <a:gd name="connsiteY5499" fmla="*/ 691287 h 1729012"/>
                <a:gd name="connsiteX5500" fmla="*/ 290678 w 2240198"/>
                <a:gd name="connsiteY5500" fmla="*/ 694128 h 1729012"/>
                <a:gd name="connsiteX5501" fmla="*/ 290685 w 2240198"/>
                <a:gd name="connsiteY5501" fmla="*/ 695546 h 1729012"/>
                <a:gd name="connsiteX5502" fmla="*/ 287893 w 2240198"/>
                <a:gd name="connsiteY5502" fmla="*/ 699004 h 1729012"/>
                <a:gd name="connsiteX5503" fmla="*/ 267340 w 2240198"/>
                <a:gd name="connsiteY5503" fmla="*/ 708855 h 1729012"/>
                <a:gd name="connsiteX5504" fmla="*/ 261008 w 2240198"/>
                <a:gd name="connsiteY5504" fmla="*/ 713095 h 1729012"/>
                <a:gd name="connsiteX5505" fmla="*/ 257876 w 2240198"/>
                <a:gd name="connsiteY5505" fmla="*/ 714649 h 1729012"/>
                <a:gd name="connsiteX5506" fmla="*/ 254630 w 2240198"/>
                <a:gd name="connsiteY5506" fmla="*/ 715523 h 1729012"/>
                <a:gd name="connsiteX5507" fmla="*/ 248345 w 2240198"/>
                <a:gd name="connsiteY5507" fmla="*/ 716256 h 1729012"/>
                <a:gd name="connsiteX5508" fmla="*/ 245850 w 2240198"/>
                <a:gd name="connsiteY5508" fmla="*/ 717116 h 1729012"/>
                <a:gd name="connsiteX5509" fmla="*/ 241626 w 2240198"/>
                <a:gd name="connsiteY5509" fmla="*/ 717887 h 1729012"/>
                <a:gd name="connsiteX5510" fmla="*/ 231740 w 2240198"/>
                <a:gd name="connsiteY5510" fmla="*/ 719241 h 1729012"/>
                <a:gd name="connsiteX5511" fmla="*/ 229839 w 2240198"/>
                <a:gd name="connsiteY5511" fmla="*/ 719899 h 1729012"/>
                <a:gd name="connsiteX5512" fmla="*/ 228547 w 2240198"/>
                <a:gd name="connsiteY5512" fmla="*/ 720666 h 1729012"/>
                <a:gd name="connsiteX5513" fmla="*/ 224996 w 2240198"/>
                <a:gd name="connsiteY5513" fmla="*/ 725836 h 1729012"/>
                <a:gd name="connsiteX5514" fmla="*/ 223271 w 2240198"/>
                <a:gd name="connsiteY5514" fmla="*/ 727521 h 1729012"/>
                <a:gd name="connsiteX5515" fmla="*/ 219875 w 2240198"/>
                <a:gd name="connsiteY5515" fmla="*/ 730060 h 1729012"/>
                <a:gd name="connsiteX5516" fmla="*/ 216060 w 2240198"/>
                <a:gd name="connsiteY5516" fmla="*/ 731615 h 1729012"/>
                <a:gd name="connsiteX5517" fmla="*/ 210848 w 2240198"/>
                <a:gd name="connsiteY5517" fmla="*/ 732209 h 1729012"/>
                <a:gd name="connsiteX5518" fmla="*/ 207533 w 2240198"/>
                <a:gd name="connsiteY5518" fmla="*/ 734624 h 1729012"/>
                <a:gd name="connsiteX5519" fmla="*/ 203717 w 2240198"/>
                <a:gd name="connsiteY5519" fmla="*/ 739274 h 1729012"/>
                <a:gd name="connsiteX5520" fmla="*/ 200637 w 2240198"/>
                <a:gd name="connsiteY5520" fmla="*/ 742507 h 1729012"/>
                <a:gd name="connsiteX5521" fmla="*/ 197119 w 2240198"/>
                <a:gd name="connsiteY5521" fmla="*/ 745244 h 1729012"/>
                <a:gd name="connsiteX5522" fmla="*/ 193297 w 2240198"/>
                <a:gd name="connsiteY5522" fmla="*/ 748814 h 1729012"/>
                <a:gd name="connsiteX5523" fmla="*/ 192299 w 2240198"/>
                <a:gd name="connsiteY5523" fmla="*/ 750692 h 1729012"/>
                <a:gd name="connsiteX5524" fmla="*/ 193438 w 2240198"/>
                <a:gd name="connsiteY5524" fmla="*/ 753163 h 1729012"/>
                <a:gd name="connsiteX5525" fmla="*/ 194072 w 2240198"/>
                <a:gd name="connsiteY5525" fmla="*/ 753985 h 1729012"/>
                <a:gd name="connsiteX5526" fmla="*/ 197914 w 2240198"/>
                <a:gd name="connsiteY5526" fmla="*/ 755313 h 1729012"/>
                <a:gd name="connsiteX5527" fmla="*/ 199405 w 2240198"/>
                <a:gd name="connsiteY5527" fmla="*/ 755015 h 1729012"/>
                <a:gd name="connsiteX5528" fmla="*/ 198032 w 2240198"/>
                <a:gd name="connsiteY5528" fmla="*/ 753692 h 1729012"/>
                <a:gd name="connsiteX5529" fmla="*/ 194803 w 2240198"/>
                <a:gd name="connsiteY5529" fmla="*/ 751780 h 1729012"/>
                <a:gd name="connsiteX5530" fmla="*/ 194369 w 2240198"/>
                <a:gd name="connsiteY5530" fmla="*/ 751092 h 1729012"/>
                <a:gd name="connsiteX5531" fmla="*/ 195197 w 2240198"/>
                <a:gd name="connsiteY5531" fmla="*/ 750553 h 1729012"/>
                <a:gd name="connsiteX5532" fmla="*/ 210360 w 2240198"/>
                <a:gd name="connsiteY5532" fmla="*/ 751994 h 1729012"/>
                <a:gd name="connsiteX5533" fmla="*/ 213615 w 2240198"/>
                <a:gd name="connsiteY5533" fmla="*/ 750536 h 1729012"/>
                <a:gd name="connsiteX5534" fmla="*/ 214755 w 2240198"/>
                <a:gd name="connsiteY5534" fmla="*/ 749303 h 1729012"/>
                <a:gd name="connsiteX5535" fmla="*/ 214512 w 2240198"/>
                <a:gd name="connsiteY5535" fmla="*/ 748669 h 1729012"/>
                <a:gd name="connsiteX5536" fmla="*/ 210402 w 2240198"/>
                <a:gd name="connsiteY5536" fmla="*/ 748405 h 1729012"/>
                <a:gd name="connsiteX5537" fmla="*/ 209520 w 2240198"/>
                <a:gd name="connsiteY5537" fmla="*/ 747227 h 1729012"/>
                <a:gd name="connsiteX5538" fmla="*/ 208871 w 2240198"/>
                <a:gd name="connsiteY5538" fmla="*/ 745008 h 1729012"/>
                <a:gd name="connsiteX5539" fmla="*/ 208735 w 2240198"/>
                <a:gd name="connsiteY5539" fmla="*/ 743244 h 1729012"/>
                <a:gd name="connsiteX5540" fmla="*/ 209106 w 2240198"/>
                <a:gd name="connsiteY5540" fmla="*/ 741936 h 1729012"/>
                <a:gd name="connsiteX5541" fmla="*/ 210032 w 2240198"/>
                <a:gd name="connsiteY5541" fmla="*/ 740264 h 1729012"/>
                <a:gd name="connsiteX5542" fmla="*/ 214439 w 2240198"/>
                <a:gd name="connsiteY5542" fmla="*/ 737528 h 1729012"/>
                <a:gd name="connsiteX5543" fmla="*/ 219183 w 2240198"/>
                <a:gd name="connsiteY5543" fmla="*/ 736355 h 1729012"/>
                <a:gd name="connsiteX5544" fmla="*/ 222836 w 2240198"/>
                <a:gd name="connsiteY5544" fmla="*/ 734807 h 1729012"/>
                <a:gd name="connsiteX5545" fmla="*/ 224854 w 2240198"/>
                <a:gd name="connsiteY5545" fmla="*/ 733342 h 1729012"/>
                <a:gd name="connsiteX5546" fmla="*/ 230300 w 2240198"/>
                <a:gd name="connsiteY5546" fmla="*/ 730839 h 1729012"/>
                <a:gd name="connsiteX5547" fmla="*/ 232486 w 2240198"/>
                <a:gd name="connsiteY5547" fmla="*/ 728807 h 1729012"/>
                <a:gd name="connsiteX5548" fmla="*/ 233664 w 2240198"/>
                <a:gd name="connsiteY5548" fmla="*/ 727227 h 1729012"/>
                <a:gd name="connsiteX5549" fmla="*/ 233814 w 2240198"/>
                <a:gd name="connsiteY5549" fmla="*/ 726440 h 1729012"/>
                <a:gd name="connsiteX5550" fmla="*/ 232822 w 2240198"/>
                <a:gd name="connsiteY5550" fmla="*/ 725869 h 1729012"/>
                <a:gd name="connsiteX5551" fmla="*/ 233628 w 2240198"/>
                <a:gd name="connsiteY5551" fmla="*/ 724508 h 1729012"/>
                <a:gd name="connsiteX5552" fmla="*/ 237598 w 2240198"/>
                <a:gd name="connsiteY5552" fmla="*/ 723293 h 1729012"/>
                <a:gd name="connsiteX5553" fmla="*/ 239344 w 2240198"/>
                <a:gd name="connsiteY5553" fmla="*/ 723190 h 1729012"/>
                <a:gd name="connsiteX5554" fmla="*/ 244923 w 2240198"/>
                <a:gd name="connsiteY5554" fmla="*/ 724355 h 1729012"/>
                <a:gd name="connsiteX5555" fmla="*/ 245934 w 2240198"/>
                <a:gd name="connsiteY5555" fmla="*/ 725265 h 1729012"/>
                <a:gd name="connsiteX5556" fmla="*/ 245385 w 2240198"/>
                <a:gd name="connsiteY5556" fmla="*/ 727678 h 1729012"/>
                <a:gd name="connsiteX5557" fmla="*/ 246166 w 2240198"/>
                <a:gd name="connsiteY5557" fmla="*/ 727565 h 1729012"/>
                <a:gd name="connsiteX5558" fmla="*/ 248317 w 2240198"/>
                <a:gd name="connsiteY5558" fmla="*/ 724500 h 1729012"/>
                <a:gd name="connsiteX5559" fmla="*/ 249518 w 2240198"/>
                <a:gd name="connsiteY5559" fmla="*/ 723477 h 1729012"/>
                <a:gd name="connsiteX5560" fmla="*/ 250756 w 2240198"/>
                <a:gd name="connsiteY5560" fmla="*/ 723275 h 1729012"/>
                <a:gd name="connsiteX5561" fmla="*/ 252010 w 2240198"/>
                <a:gd name="connsiteY5561" fmla="*/ 723670 h 1729012"/>
                <a:gd name="connsiteX5562" fmla="*/ 253278 w 2240198"/>
                <a:gd name="connsiteY5562" fmla="*/ 724655 h 1729012"/>
                <a:gd name="connsiteX5563" fmla="*/ 253966 w 2240198"/>
                <a:gd name="connsiteY5563" fmla="*/ 727603 h 1729012"/>
                <a:gd name="connsiteX5564" fmla="*/ 254075 w 2240198"/>
                <a:gd name="connsiteY5564" fmla="*/ 732503 h 1729012"/>
                <a:gd name="connsiteX5565" fmla="*/ 254362 w 2240198"/>
                <a:gd name="connsiteY5565" fmla="*/ 734476 h 1729012"/>
                <a:gd name="connsiteX5566" fmla="*/ 255790 w 2240198"/>
                <a:gd name="connsiteY5566" fmla="*/ 731092 h 1729012"/>
                <a:gd name="connsiteX5567" fmla="*/ 256787 w 2240198"/>
                <a:gd name="connsiteY5567" fmla="*/ 729520 h 1729012"/>
                <a:gd name="connsiteX5568" fmla="*/ 262221 w 2240198"/>
                <a:gd name="connsiteY5568" fmla="*/ 722297 h 1729012"/>
                <a:gd name="connsiteX5569" fmla="*/ 265891 w 2240198"/>
                <a:gd name="connsiteY5569" fmla="*/ 718328 h 1729012"/>
                <a:gd name="connsiteX5570" fmla="*/ 270009 w 2240198"/>
                <a:gd name="connsiteY5570" fmla="*/ 714453 h 1729012"/>
                <a:gd name="connsiteX5571" fmla="*/ 275992 w 2240198"/>
                <a:gd name="connsiteY5571" fmla="*/ 711558 h 1729012"/>
                <a:gd name="connsiteX5572" fmla="*/ 289824 w 2240198"/>
                <a:gd name="connsiteY5572" fmla="*/ 706745 h 1729012"/>
                <a:gd name="connsiteX5573" fmla="*/ 297616 w 2240198"/>
                <a:gd name="connsiteY5573" fmla="*/ 705448 h 1729012"/>
                <a:gd name="connsiteX5574" fmla="*/ 301564 w 2240198"/>
                <a:gd name="connsiteY5574" fmla="*/ 704249 h 1729012"/>
                <a:gd name="connsiteX5575" fmla="*/ 303496 w 2240198"/>
                <a:gd name="connsiteY5575" fmla="*/ 703206 h 1729012"/>
                <a:gd name="connsiteX5576" fmla="*/ 304728 w 2240198"/>
                <a:gd name="connsiteY5576" fmla="*/ 701917 h 1729012"/>
                <a:gd name="connsiteX5577" fmla="*/ 306894 w 2240198"/>
                <a:gd name="connsiteY5577" fmla="*/ 700436 h 1729012"/>
                <a:gd name="connsiteX5578" fmla="*/ 307279 w 2240198"/>
                <a:gd name="connsiteY5578" fmla="*/ 700557 h 1729012"/>
                <a:gd name="connsiteX5579" fmla="*/ 306441 w 2240198"/>
                <a:gd name="connsiteY5579" fmla="*/ 703663 h 1729012"/>
                <a:gd name="connsiteX5580" fmla="*/ 305887 w 2240198"/>
                <a:gd name="connsiteY5580" fmla="*/ 704563 h 1729012"/>
                <a:gd name="connsiteX5581" fmla="*/ 300823 w 2240198"/>
                <a:gd name="connsiteY5581" fmla="*/ 706483 h 1729012"/>
                <a:gd name="connsiteX5582" fmla="*/ 300327 w 2240198"/>
                <a:gd name="connsiteY5582" fmla="*/ 707948 h 1729012"/>
                <a:gd name="connsiteX5583" fmla="*/ 300876 w 2240198"/>
                <a:gd name="connsiteY5583" fmla="*/ 710207 h 1729012"/>
                <a:gd name="connsiteX5584" fmla="*/ 301752 w 2240198"/>
                <a:gd name="connsiteY5584" fmla="*/ 711694 h 1729012"/>
                <a:gd name="connsiteX5585" fmla="*/ 302953 w 2240198"/>
                <a:gd name="connsiteY5585" fmla="*/ 712415 h 1729012"/>
                <a:gd name="connsiteX5586" fmla="*/ 305055 w 2240198"/>
                <a:gd name="connsiteY5586" fmla="*/ 711904 h 1729012"/>
                <a:gd name="connsiteX5587" fmla="*/ 308058 w 2240198"/>
                <a:gd name="connsiteY5587" fmla="*/ 710162 h 1729012"/>
                <a:gd name="connsiteX5588" fmla="*/ 311797 w 2240198"/>
                <a:gd name="connsiteY5588" fmla="*/ 707493 h 1729012"/>
                <a:gd name="connsiteX5589" fmla="*/ 319881 w 2240198"/>
                <a:gd name="connsiteY5589" fmla="*/ 700708 h 1729012"/>
                <a:gd name="connsiteX5590" fmla="*/ 320580 w 2240198"/>
                <a:gd name="connsiteY5590" fmla="*/ 699463 h 1729012"/>
                <a:gd name="connsiteX5591" fmla="*/ 322622 w 2240198"/>
                <a:gd name="connsiteY5591" fmla="*/ 693994 h 1729012"/>
                <a:gd name="connsiteX5592" fmla="*/ 327256 w 2240198"/>
                <a:gd name="connsiteY5592" fmla="*/ 691574 h 1729012"/>
                <a:gd name="connsiteX5593" fmla="*/ 335647 w 2240198"/>
                <a:gd name="connsiteY5593" fmla="*/ 688817 h 1729012"/>
                <a:gd name="connsiteX5594" fmla="*/ 337705 w 2240198"/>
                <a:gd name="connsiteY5594" fmla="*/ 687064 h 1729012"/>
                <a:gd name="connsiteX5595" fmla="*/ 330345 w 2240198"/>
                <a:gd name="connsiteY5595" fmla="*/ 685579 h 1729012"/>
                <a:gd name="connsiteX5596" fmla="*/ 328820 w 2240198"/>
                <a:gd name="connsiteY5596" fmla="*/ 684556 h 1729012"/>
                <a:gd name="connsiteX5597" fmla="*/ 328580 w 2240198"/>
                <a:gd name="connsiteY5597" fmla="*/ 683943 h 1729012"/>
                <a:gd name="connsiteX5598" fmla="*/ 329968 w 2240198"/>
                <a:gd name="connsiteY5598" fmla="*/ 682373 h 1729012"/>
                <a:gd name="connsiteX5599" fmla="*/ 326606 w 2240198"/>
                <a:gd name="connsiteY5599" fmla="*/ 680809 h 1729012"/>
                <a:gd name="connsiteX5600" fmla="*/ 325373 w 2240198"/>
                <a:gd name="connsiteY5600" fmla="*/ 679844 h 1729012"/>
                <a:gd name="connsiteX5601" fmla="*/ 325426 w 2240198"/>
                <a:gd name="connsiteY5601" fmla="*/ 677037 h 1729012"/>
                <a:gd name="connsiteX5602" fmla="*/ 326459 w 2240198"/>
                <a:gd name="connsiteY5602" fmla="*/ 675019 h 1729012"/>
                <a:gd name="connsiteX5603" fmla="*/ 328661 w 2240198"/>
                <a:gd name="connsiteY5603" fmla="*/ 673066 h 1729012"/>
                <a:gd name="connsiteX5604" fmla="*/ 329915 w 2240198"/>
                <a:gd name="connsiteY5604" fmla="*/ 672725 h 1729012"/>
                <a:gd name="connsiteX5605" fmla="*/ 333196 w 2240198"/>
                <a:gd name="connsiteY5605" fmla="*/ 673862 h 1729012"/>
                <a:gd name="connsiteX5606" fmla="*/ 335954 w 2240198"/>
                <a:gd name="connsiteY5606" fmla="*/ 675325 h 1729012"/>
                <a:gd name="connsiteX5607" fmla="*/ 345488 w 2240198"/>
                <a:gd name="connsiteY5607" fmla="*/ 682117 h 1729012"/>
                <a:gd name="connsiteX5608" fmla="*/ 349313 w 2240198"/>
                <a:gd name="connsiteY5608" fmla="*/ 685431 h 1729012"/>
                <a:gd name="connsiteX5609" fmla="*/ 351532 w 2240198"/>
                <a:gd name="connsiteY5609" fmla="*/ 688022 h 1729012"/>
                <a:gd name="connsiteX5610" fmla="*/ 356900 w 2240198"/>
                <a:gd name="connsiteY5610" fmla="*/ 696101 h 1729012"/>
                <a:gd name="connsiteX5611" fmla="*/ 359266 w 2240198"/>
                <a:gd name="connsiteY5611" fmla="*/ 700756 h 1729012"/>
                <a:gd name="connsiteX5612" fmla="*/ 361162 w 2240198"/>
                <a:gd name="connsiteY5612" fmla="*/ 705540 h 1729012"/>
                <a:gd name="connsiteX5613" fmla="*/ 363033 w 2240198"/>
                <a:gd name="connsiteY5613" fmla="*/ 708986 h 1729012"/>
                <a:gd name="connsiteX5614" fmla="*/ 364878 w 2240198"/>
                <a:gd name="connsiteY5614" fmla="*/ 711096 h 1729012"/>
                <a:gd name="connsiteX5615" fmla="*/ 374049 w 2240198"/>
                <a:gd name="connsiteY5615" fmla="*/ 719426 h 1729012"/>
                <a:gd name="connsiteX5616" fmla="*/ 378782 w 2240198"/>
                <a:gd name="connsiteY5616" fmla="*/ 722935 h 1729012"/>
                <a:gd name="connsiteX5617" fmla="*/ 382747 w 2240198"/>
                <a:gd name="connsiteY5617" fmla="*/ 725110 h 1729012"/>
                <a:gd name="connsiteX5618" fmla="*/ 387302 w 2240198"/>
                <a:gd name="connsiteY5618" fmla="*/ 726838 h 1729012"/>
                <a:gd name="connsiteX5619" fmla="*/ 392446 w 2240198"/>
                <a:gd name="connsiteY5619" fmla="*/ 728110 h 1729012"/>
                <a:gd name="connsiteX5620" fmla="*/ 395949 w 2240198"/>
                <a:gd name="connsiteY5620" fmla="*/ 728214 h 1729012"/>
                <a:gd name="connsiteX5621" fmla="*/ 401398 w 2240198"/>
                <a:gd name="connsiteY5621" fmla="*/ 724688 h 1729012"/>
                <a:gd name="connsiteX5622" fmla="*/ 401526 w 2240198"/>
                <a:gd name="connsiteY5622" fmla="*/ 722365 h 1729012"/>
                <a:gd name="connsiteX5623" fmla="*/ 399123 w 2240198"/>
                <a:gd name="connsiteY5623" fmla="*/ 718486 h 1729012"/>
                <a:gd name="connsiteX5624" fmla="*/ 396706 w 2240198"/>
                <a:gd name="connsiteY5624" fmla="*/ 715796 h 1729012"/>
                <a:gd name="connsiteX5625" fmla="*/ 396995 w 2240198"/>
                <a:gd name="connsiteY5625" fmla="*/ 714154 h 1729012"/>
                <a:gd name="connsiteX5626" fmla="*/ 400193 w 2240198"/>
                <a:gd name="connsiteY5626" fmla="*/ 711003 h 1729012"/>
                <a:gd name="connsiteX5627" fmla="*/ 399978 w 2240198"/>
                <a:gd name="connsiteY5627" fmla="*/ 709904 h 1729012"/>
                <a:gd name="connsiteX5628" fmla="*/ 400655 w 2240198"/>
                <a:gd name="connsiteY5628" fmla="*/ 706650 h 1729012"/>
                <a:gd name="connsiteX5629" fmla="*/ 402865 w 2240198"/>
                <a:gd name="connsiteY5629" fmla="*/ 707273 h 1729012"/>
                <a:gd name="connsiteX5630" fmla="*/ 403738 w 2240198"/>
                <a:gd name="connsiteY5630" fmla="*/ 707146 h 1729012"/>
                <a:gd name="connsiteX5631" fmla="*/ 404970 w 2240198"/>
                <a:gd name="connsiteY5631" fmla="*/ 705950 h 1729012"/>
                <a:gd name="connsiteX5632" fmla="*/ 406561 w 2240198"/>
                <a:gd name="connsiteY5632" fmla="*/ 703686 h 1729012"/>
                <a:gd name="connsiteX5633" fmla="*/ 408567 w 2240198"/>
                <a:gd name="connsiteY5633" fmla="*/ 701811 h 1729012"/>
                <a:gd name="connsiteX5634" fmla="*/ 410988 w 2240198"/>
                <a:gd name="connsiteY5634" fmla="*/ 700329 h 1729012"/>
                <a:gd name="connsiteX5635" fmla="*/ 411641 w 2240198"/>
                <a:gd name="connsiteY5635" fmla="*/ 699353 h 1729012"/>
                <a:gd name="connsiteX5636" fmla="*/ 409241 w 2240198"/>
                <a:gd name="connsiteY5636" fmla="*/ 698652 h 1729012"/>
                <a:gd name="connsiteX5637" fmla="*/ 407784 w 2240198"/>
                <a:gd name="connsiteY5637" fmla="*/ 698649 h 1729012"/>
                <a:gd name="connsiteX5638" fmla="*/ 406704 w 2240198"/>
                <a:gd name="connsiteY5638" fmla="*/ 698331 h 1729012"/>
                <a:gd name="connsiteX5639" fmla="*/ 406000 w 2240198"/>
                <a:gd name="connsiteY5639" fmla="*/ 697695 h 1729012"/>
                <a:gd name="connsiteX5640" fmla="*/ 406962 w 2240198"/>
                <a:gd name="connsiteY5640" fmla="*/ 697008 h 1729012"/>
                <a:gd name="connsiteX5641" fmla="*/ 412219 w 2240198"/>
                <a:gd name="connsiteY5641" fmla="*/ 695263 h 1729012"/>
                <a:gd name="connsiteX5642" fmla="*/ 413203 w 2240198"/>
                <a:gd name="connsiteY5642" fmla="*/ 693590 h 1729012"/>
                <a:gd name="connsiteX5643" fmla="*/ 414886 w 2240198"/>
                <a:gd name="connsiteY5643" fmla="*/ 692478 h 1729012"/>
                <a:gd name="connsiteX5644" fmla="*/ 417038 w 2240198"/>
                <a:gd name="connsiteY5644" fmla="*/ 692034 h 1729012"/>
                <a:gd name="connsiteX5645" fmla="*/ 418369 w 2240198"/>
                <a:gd name="connsiteY5645" fmla="*/ 692494 h 1729012"/>
                <a:gd name="connsiteX5646" fmla="*/ 419842 w 2240198"/>
                <a:gd name="connsiteY5646" fmla="*/ 693881 h 1729012"/>
                <a:gd name="connsiteX5647" fmla="*/ 419918 w 2240198"/>
                <a:gd name="connsiteY5647" fmla="*/ 696092 h 1729012"/>
                <a:gd name="connsiteX5648" fmla="*/ 419267 w 2240198"/>
                <a:gd name="connsiteY5648" fmla="*/ 699692 h 1729012"/>
                <a:gd name="connsiteX5649" fmla="*/ 419146 w 2240198"/>
                <a:gd name="connsiteY5649" fmla="*/ 702594 h 1729012"/>
                <a:gd name="connsiteX5650" fmla="*/ 420794 w 2240198"/>
                <a:gd name="connsiteY5650" fmla="*/ 709422 h 1729012"/>
                <a:gd name="connsiteX5651" fmla="*/ 422254 w 2240198"/>
                <a:gd name="connsiteY5651" fmla="*/ 710907 h 1729012"/>
                <a:gd name="connsiteX5652" fmla="*/ 427953 w 2240198"/>
                <a:gd name="connsiteY5652" fmla="*/ 712914 h 1729012"/>
                <a:gd name="connsiteX5653" fmla="*/ 427601 w 2240198"/>
                <a:gd name="connsiteY5653" fmla="*/ 714571 h 1729012"/>
                <a:gd name="connsiteX5654" fmla="*/ 421011 w 2240198"/>
                <a:gd name="connsiteY5654" fmla="*/ 721734 h 1729012"/>
                <a:gd name="connsiteX5655" fmla="*/ 419604 w 2240198"/>
                <a:gd name="connsiteY5655" fmla="*/ 723484 h 1729012"/>
                <a:gd name="connsiteX5656" fmla="*/ 418908 w 2240198"/>
                <a:gd name="connsiteY5656" fmla="*/ 724814 h 1729012"/>
                <a:gd name="connsiteX5657" fmla="*/ 419143 w 2240198"/>
                <a:gd name="connsiteY5657" fmla="*/ 725939 h 1729012"/>
                <a:gd name="connsiteX5658" fmla="*/ 420307 w 2240198"/>
                <a:gd name="connsiteY5658" fmla="*/ 726862 h 1729012"/>
                <a:gd name="connsiteX5659" fmla="*/ 422539 w 2240198"/>
                <a:gd name="connsiteY5659" fmla="*/ 727516 h 1729012"/>
                <a:gd name="connsiteX5660" fmla="*/ 428280 w 2240198"/>
                <a:gd name="connsiteY5660" fmla="*/ 727782 h 1729012"/>
                <a:gd name="connsiteX5661" fmla="*/ 429853 w 2240198"/>
                <a:gd name="connsiteY5661" fmla="*/ 727157 h 1729012"/>
                <a:gd name="connsiteX5662" fmla="*/ 441023 w 2240198"/>
                <a:gd name="connsiteY5662" fmla="*/ 726951 h 1729012"/>
                <a:gd name="connsiteX5663" fmla="*/ 443070 w 2240198"/>
                <a:gd name="connsiteY5663" fmla="*/ 726417 h 1729012"/>
                <a:gd name="connsiteX5664" fmla="*/ 444794 w 2240198"/>
                <a:gd name="connsiteY5664" fmla="*/ 725044 h 1729012"/>
                <a:gd name="connsiteX5665" fmla="*/ 447304 w 2240198"/>
                <a:gd name="connsiteY5665" fmla="*/ 721609 h 1729012"/>
                <a:gd name="connsiteX5666" fmla="*/ 450156 w 2240198"/>
                <a:gd name="connsiteY5666" fmla="*/ 720559 h 1729012"/>
                <a:gd name="connsiteX5667" fmla="*/ 451050 w 2240198"/>
                <a:gd name="connsiteY5667" fmla="*/ 719594 h 1729012"/>
                <a:gd name="connsiteX5668" fmla="*/ 452805 w 2240198"/>
                <a:gd name="connsiteY5668" fmla="*/ 715504 h 1729012"/>
                <a:gd name="connsiteX5669" fmla="*/ 453669 w 2240198"/>
                <a:gd name="connsiteY5669" fmla="*/ 710744 h 1729012"/>
                <a:gd name="connsiteX5670" fmla="*/ 454526 w 2240198"/>
                <a:gd name="connsiteY5670" fmla="*/ 708743 h 1729012"/>
                <a:gd name="connsiteX5671" fmla="*/ 455815 w 2240198"/>
                <a:gd name="connsiteY5671" fmla="*/ 707500 h 1729012"/>
                <a:gd name="connsiteX5672" fmla="*/ 457567 w 2240198"/>
                <a:gd name="connsiteY5672" fmla="*/ 707101 h 1729012"/>
                <a:gd name="connsiteX5673" fmla="*/ 461911 w 2240198"/>
                <a:gd name="connsiteY5673" fmla="*/ 707571 h 1729012"/>
                <a:gd name="connsiteX5674" fmla="*/ 463952 w 2240198"/>
                <a:gd name="connsiteY5674" fmla="*/ 707167 h 1729012"/>
                <a:gd name="connsiteX5675" fmla="*/ 472000 w 2240198"/>
                <a:gd name="connsiteY5675" fmla="*/ 707571 h 1729012"/>
                <a:gd name="connsiteX5676" fmla="*/ 480048 w 2240198"/>
                <a:gd name="connsiteY5676" fmla="*/ 707222 h 1729012"/>
                <a:gd name="connsiteX5677" fmla="*/ 488371 w 2240198"/>
                <a:gd name="connsiteY5677" fmla="*/ 708064 h 1729012"/>
                <a:gd name="connsiteX5678" fmla="*/ 493715 w 2240198"/>
                <a:gd name="connsiteY5678" fmla="*/ 709045 h 1729012"/>
                <a:gd name="connsiteX5679" fmla="*/ 498656 w 2240198"/>
                <a:gd name="connsiteY5679" fmla="*/ 710589 h 1729012"/>
                <a:gd name="connsiteX5680" fmla="*/ 508134 w 2240198"/>
                <a:gd name="connsiteY5680" fmla="*/ 714247 h 1729012"/>
                <a:gd name="connsiteX5681" fmla="*/ 511881 w 2240198"/>
                <a:gd name="connsiteY5681" fmla="*/ 716207 h 1729012"/>
                <a:gd name="connsiteX5682" fmla="*/ 525120 w 2240198"/>
                <a:gd name="connsiteY5682" fmla="*/ 725020 h 1729012"/>
                <a:gd name="connsiteX5683" fmla="*/ 528988 w 2240198"/>
                <a:gd name="connsiteY5683" fmla="*/ 726812 h 1729012"/>
                <a:gd name="connsiteX5684" fmla="*/ 536270 w 2240198"/>
                <a:gd name="connsiteY5684" fmla="*/ 728522 h 1729012"/>
                <a:gd name="connsiteX5685" fmla="*/ 561223 w 2240198"/>
                <a:gd name="connsiteY5685" fmla="*/ 732328 h 1729012"/>
                <a:gd name="connsiteX5686" fmla="*/ 564363 w 2240198"/>
                <a:gd name="connsiteY5686" fmla="*/ 733351 h 1729012"/>
                <a:gd name="connsiteX5687" fmla="*/ 570937 w 2240198"/>
                <a:gd name="connsiteY5687" fmla="*/ 737338 h 1729012"/>
                <a:gd name="connsiteX5688" fmla="*/ 575467 w 2240198"/>
                <a:gd name="connsiteY5688" fmla="*/ 739662 h 1729012"/>
                <a:gd name="connsiteX5689" fmla="*/ 580837 w 2240198"/>
                <a:gd name="connsiteY5689" fmla="*/ 741877 h 1729012"/>
                <a:gd name="connsiteX5690" fmla="*/ 587553 w 2240198"/>
                <a:gd name="connsiteY5690" fmla="*/ 743789 h 1729012"/>
                <a:gd name="connsiteX5691" fmla="*/ 600714 w 2240198"/>
                <a:gd name="connsiteY5691" fmla="*/ 746675 h 1729012"/>
                <a:gd name="connsiteX5692" fmla="*/ 602853 w 2240198"/>
                <a:gd name="connsiteY5692" fmla="*/ 747628 h 1729012"/>
                <a:gd name="connsiteX5693" fmla="*/ 605267 w 2240198"/>
                <a:gd name="connsiteY5693" fmla="*/ 747907 h 1729012"/>
                <a:gd name="connsiteX5694" fmla="*/ 607955 w 2240198"/>
                <a:gd name="connsiteY5694" fmla="*/ 747514 h 1729012"/>
                <a:gd name="connsiteX5695" fmla="*/ 620019 w 2240198"/>
                <a:gd name="connsiteY5695" fmla="*/ 749162 h 1729012"/>
                <a:gd name="connsiteX5696" fmla="*/ 623198 w 2240198"/>
                <a:gd name="connsiteY5696" fmla="*/ 749083 h 1729012"/>
                <a:gd name="connsiteX5697" fmla="*/ 625492 w 2240198"/>
                <a:gd name="connsiteY5697" fmla="*/ 749392 h 1729012"/>
                <a:gd name="connsiteX5698" fmla="*/ 628317 w 2240198"/>
                <a:gd name="connsiteY5698" fmla="*/ 750580 h 1729012"/>
                <a:gd name="connsiteX5699" fmla="*/ 632455 w 2240198"/>
                <a:gd name="connsiteY5699" fmla="*/ 751014 h 1729012"/>
                <a:gd name="connsiteX5700" fmla="*/ 632310 w 2240198"/>
                <a:gd name="connsiteY5700" fmla="*/ 750199 h 1729012"/>
                <a:gd name="connsiteX5701" fmla="*/ 627584 w 2240198"/>
                <a:gd name="connsiteY5701" fmla="*/ 745654 h 1729012"/>
                <a:gd name="connsiteX5702" fmla="*/ 627792 w 2240198"/>
                <a:gd name="connsiteY5702" fmla="*/ 744937 h 1729012"/>
                <a:gd name="connsiteX5703" fmla="*/ 629735 w 2240198"/>
                <a:gd name="connsiteY5703" fmla="*/ 744880 h 1729012"/>
                <a:gd name="connsiteX5704" fmla="*/ 635585 w 2240198"/>
                <a:gd name="connsiteY5704" fmla="*/ 745645 h 1729012"/>
                <a:gd name="connsiteX5705" fmla="*/ 636924 w 2240198"/>
                <a:gd name="connsiteY5705" fmla="*/ 744348 h 1729012"/>
                <a:gd name="connsiteX5706" fmla="*/ 638874 w 2240198"/>
                <a:gd name="connsiteY5706" fmla="*/ 744379 h 1729012"/>
                <a:gd name="connsiteX5707" fmla="*/ 643316 w 2240198"/>
                <a:gd name="connsiteY5707" fmla="*/ 745003 h 1729012"/>
                <a:gd name="connsiteX5708" fmla="*/ 648105 w 2240198"/>
                <a:gd name="connsiteY5708" fmla="*/ 746408 h 1729012"/>
                <a:gd name="connsiteX5709" fmla="*/ 653238 w 2240198"/>
                <a:gd name="connsiteY5709" fmla="*/ 748584 h 1729012"/>
                <a:gd name="connsiteX5710" fmla="*/ 659479 w 2240198"/>
                <a:gd name="connsiteY5710" fmla="*/ 750436 h 1729012"/>
                <a:gd name="connsiteX5711" fmla="*/ 668951 w 2240198"/>
                <a:gd name="connsiteY5711" fmla="*/ 755037 h 1729012"/>
                <a:gd name="connsiteX5712" fmla="*/ 674182 w 2240198"/>
                <a:gd name="connsiteY5712" fmla="*/ 758859 h 1729012"/>
                <a:gd name="connsiteX5713" fmla="*/ 679144 w 2240198"/>
                <a:gd name="connsiteY5713" fmla="*/ 763598 h 1729012"/>
                <a:gd name="connsiteX5714" fmla="*/ 681866 w 2240198"/>
                <a:gd name="connsiteY5714" fmla="*/ 766885 h 1729012"/>
                <a:gd name="connsiteX5715" fmla="*/ 682342 w 2240198"/>
                <a:gd name="connsiteY5715" fmla="*/ 768729 h 1729012"/>
                <a:gd name="connsiteX5716" fmla="*/ 683380 w 2240198"/>
                <a:gd name="connsiteY5716" fmla="*/ 769640 h 1729012"/>
                <a:gd name="connsiteX5717" fmla="*/ 684976 w 2240198"/>
                <a:gd name="connsiteY5717" fmla="*/ 769625 h 1729012"/>
                <a:gd name="connsiteX5718" fmla="*/ 685579 w 2240198"/>
                <a:gd name="connsiteY5718" fmla="*/ 770324 h 1729012"/>
                <a:gd name="connsiteX5719" fmla="*/ 684149 w 2240198"/>
                <a:gd name="connsiteY5719" fmla="*/ 774384 h 1729012"/>
                <a:gd name="connsiteX5720" fmla="*/ 683326 w 2240198"/>
                <a:gd name="connsiteY5720" fmla="*/ 775396 h 1729012"/>
                <a:gd name="connsiteX5721" fmla="*/ 682244 w 2240198"/>
                <a:gd name="connsiteY5721" fmla="*/ 776123 h 1729012"/>
                <a:gd name="connsiteX5722" fmla="*/ 677709 w 2240198"/>
                <a:gd name="connsiteY5722" fmla="*/ 776953 h 1729012"/>
                <a:gd name="connsiteX5723" fmla="*/ 665272 w 2240198"/>
                <a:gd name="connsiteY5723" fmla="*/ 775974 h 1729012"/>
                <a:gd name="connsiteX5724" fmla="*/ 663068 w 2240198"/>
                <a:gd name="connsiteY5724" fmla="*/ 779253 h 1729012"/>
                <a:gd name="connsiteX5725" fmla="*/ 656098 w 2240198"/>
                <a:gd name="connsiteY5725" fmla="*/ 782016 h 1729012"/>
                <a:gd name="connsiteX5726" fmla="*/ 654859 w 2240198"/>
                <a:gd name="connsiteY5726" fmla="*/ 783223 h 1729012"/>
                <a:gd name="connsiteX5727" fmla="*/ 654584 w 2240198"/>
                <a:gd name="connsiteY5727" fmla="*/ 784105 h 1729012"/>
                <a:gd name="connsiteX5728" fmla="*/ 655082 w 2240198"/>
                <a:gd name="connsiteY5728" fmla="*/ 786966 h 1729012"/>
                <a:gd name="connsiteX5729" fmla="*/ 654202 w 2240198"/>
                <a:gd name="connsiteY5729" fmla="*/ 787843 h 1729012"/>
                <a:gd name="connsiteX5730" fmla="*/ 648497 w 2240198"/>
                <a:gd name="connsiteY5730" fmla="*/ 791104 h 1729012"/>
                <a:gd name="connsiteX5731" fmla="*/ 648303 w 2240198"/>
                <a:gd name="connsiteY5731" fmla="*/ 792024 h 1729012"/>
                <a:gd name="connsiteX5732" fmla="*/ 652006 w 2240198"/>
                <a:gd name="connsiteY5732" fmla="*/ 793357 h 1729012"/>
                <a:gd name="connsiteX5733" fmla="*/ 655942 w 2240198"/>
                <a:gd name="connsiteY5733" fmla="*/ 795637 h 1729012"/>
                <a:gd name="connsiteX5734" fmla="*/ 659036 w 2240198"/>
                <a:gd name="connsiteY5734" fmla="*/ 796193 h 1729012"/>
                <a:gd name="connsiteX5735" fmla="*/ 662952 w 2240198"/>
                <a:gd name="connsiteY5735" fmla="*/ 795881 h 1729012"/>
                <a:gd name="connsiteX5736" fmla="*/ 667867 w 2240198"/>
                <a:gd name="connsiteY5736" fmla="*/ 796678 h 1729012"/>
                <a:gd name="connsiteX5737" fmla="*/ 673789 w 2240198"/>
                <a:gd name="connsiteY5737" fmla="*/ 798585 h 1729012"/>
                <a:gd name="connsiteX5738" fmla="*/ 677904 w 2240198"/>
                <a:gd name="connsiteY5738" fmla="*/ 799455 h 1729012"/>
                <a:gd name="connsiteX5739" fmla="*/ 680221 w 2240198"/>
                <a:gd name="connsiteY5739" fmla="*/ 799288 h 1729012"/>
                <a:gd name="connsiteX5740" fmla="*/ 683381 w 2240198"/>
                <a:gd name="connsiteY5740" fmla="*/ 799639 h 1729012"/>
                <a:gd name="connsiteX5741" fmla="*/ 687384 w 2240198"/>
                <a:gd name="connsiteY5741" fmla="*/ 800507 h 1729012"/>
                <a:gd name="connsiteX5742" fmla="*/ 692742 w 2240198"/>
                <a:gd name="connsiteY5742" fmla="*/ 800807 h 1729012"/>
                <a:gd name="connsiteX5743" fmla="*/ 704582 w 2240198"/>
                <a:gd name="connsiteY5743" fmla="*/ 800728 h 1729012"/>
                <a:gd name="connsiteX5744" fmla="*/ 708132 w 2240198"/>
                <a:gd name="connsiteY5744" fmla="*/ 801382 h 1729012"/>
                <a:gd name="connsiteX5745" fmla="*/ 713089 w 2240198"/>
                <a:gd name="connsiteY5745" fmla="*/ 801675 h 1729012"/>
                <a:gd name="connsiteX5746" fmla="*/ 722634 w 2240198"/>
                <a:gd name="connsiteY5746" fmla="*/ 801587 h 1729012"/>
                <a:gd name="connsiteX5747" fmla="*/ 724355 w 2240198"/>
                <a:gd name="connsiteY5747" fmla="*/ 801464 h 1729012"/>
                <a:gd name="connsiteX5748" fmla="*/ 727413 w 2240198"/>
                <a:gd name="connsiteY5748" fmla="*/ 799956 h 1729012"/>
                <a:gd name="connsiteX5749" fmla="*/ 729386 w 2240198"/>
                <a:gd name="connsiteY5749" fmla="*/ 799457 h 1729012"/>
                <a:gd name="connsiteX5750" fmla="*/ 732820 w 2240198"/>
                <a:gd name="connsiteY5750" fmla="*/ 799430 h 1729012"/>
                <a:gd name="connsiteX5751" fmla="*/ 742719 w 2240198"/>
                <a:gd name="connsiteY5751" fmla="*/ 798321 h 1729012"/>
                <a:gd name="connsiteX5752" fmla="*/ 746147 w 2240198"/>
                <a:gd name="connsiteY5752" fmla="*/ 798342 h 1729012"/>
                <a:gd name="connsiteX5753" fmla="*/ 749317 w 2240198"/>
                <a:gd name="connsiteY5753" fmla="*/ 797503 h 1729012"/>
                <a:gd name="connsiteX5754" fmla="*/ 753371 w 2240198"/>
                <a:gd name="connsiteY5754" fmla="*/ 795809 h 1729012"/>
                <a:gd name="connsiteX5755" fmla="*/ 755872 w 2240198"/>
                <a:gd name="connsiteY5755" fmla="*/ 795491 h 1729012"/>
                <a:gd name="connsiteX5756" fmla="*/ 756820 w 2240198"/>
                <a:gd name="connsiteY5756" fmla="*/ 796546 h 1729012"/>
                <a:gd name="connsiteX5757" fmla="*/ 758529 w 2240198"/>
                <a:gd name="connsiteY5757" fmla="*/ 797006 h 1729012"/>
                <a:gd name="connsiteX5758" fmla="*/ 760998 w 2240198"/>
                <a:gd name="connsiteY5758" fmla="*/ 796868 h 1729012"/>
                <a:gd name="connsiteX5759" fmla="*/ 765693 w 2240198"/>
                <a:gd name="connsiteY5759" fmla="*/ 795067 h 1729012"/>
                <a:gd name="connsiteX5760" fmla="*/ 776670 w 2240198"/>
                <a:gd name="connsiteY5760" fmla="*/ 789769 h 1729012"/>
                <a:gd name="connsiteX5761" fmla="*/ 780618 w 2240198"/>
                <a:gd name="connsiteY5761" fmla="*/ 789778 h 1729012"/>
                <a:gd name="connsiteX5762" fmla="*/ 783517 w 2240198"/>
                <a:gd name="connsiteY5762" fmla="*/ 788113 h 1729012"/>
                <a:gd name="connsiteX5763" fmla="*/ 784227 w 2240198"/>
                <a:gd name="connsiteY5763" fmla="*/ 788083 h 1729012"/>
                <a:gd name="connsiteX5764" fmla="*/ 785024 w 2240198"/>
                <a:gd name="connsiteY5764" fmla="*/ 788768 h 1729012"/>
                <a:gd name="connsiteX5765" fmla="*/ 787711 w 2240198"/>
                <a:gd name="connsiteY5765" fmla="*/ 792653 h 1729012"/>
                <a:gd name="connsiteX5766" fmla="*/ 788530 w 2240198"/>
                <a:gd name="connsiteY5766" fmla="*/ 793277 h 1729012"/>
                <a:gd name="connsiteX5767" fmla="*/ 790378 w 2240198"/>
                <a:gd name="connsiteY5767" fmla="*/ 793611 h 1729012"/>
                <a:gd name="connsiteX5768" fmla="*/ 792183 w 2240198"/>
                <a:gd name="connsiteY5768" fmla="*/ 795596 h 1729012"/>
                <a:gd name="connsiteX5769" fmla="*/ 794062 w 2240198"/>
                <a:gd name="connsiteY5769" fmla="*/ 798562 h 1729012"/>
                <a:gd name="connsiteX5770" fmla="*/ 795474 w 2240198"/>
                <a:gd name="connsiteY5770" fmla="*/ 799387 h 1729012"/>
                <a:gd name="connsiteX5771" fmla="*/ 805770 w 2240198"/>
                <a:gd name="connsiteY5771" fmla="*/ 799515 h 1729012"/>
                <a:gd name="connsiteX5772" fmla="*/ 809398 w 2240198"/>
                <a:gd name="connsiteY5772" fmla="*/ 800339 h 1729012"/>
                <a:gd name="connsiteX5773" fmla="*/ 810494 w 2240198"/>
                <a:gd name="connsiteY5773" fmla="*/ 801187 h 1729012"/>
                <a:gd name="connsiteX5774" fmla="*/ 811598 w 2240198"/>
                <a:gd name="connsiteY5774" fmla="*/ 803526 h 1729012"/>
                <a:gd name="connsiteX5775" fmla="*/ 812278 w 2240198"/>
                <a:gd name="connsiteY5775" fmla="*/ 808052 h 1729012"/>
                <a:gd name="connsiteX5776" fmla="*/ 812729 w 2240198"/>
                <a:gd name="connsiteY5776" fmla="*/ 809710 h 1729012"/>
                <a:gd name="connsiteX5777" fmla="*/ 814223 w 2240198"/>
                <a:gd name="connsiteY5777" fmla="*/ 812118 h 1729012"/>
                <a:gd name="connsiteX5778" fmla="*/ 815210 w 2240198"/>
                <a:gd name="connsiteY5778" fmla="*/ 812812 h 1729012"/>
                <a:gd name="connsiteX5779" fmla="*/ 816145 w 2240198"/>
                <a:gd name="connsiteY5779" fmla="*/ 812144 h 1729012"/>
                <a:gd name="connsiteX5780" fmla="*/ 818681 w 2240198"/>
                <a:gd name="connsiteY5780" fmla="*/ 805873 h 1729012"/>
                <a:gd name="connsiteX5781" fmla="*/ 819567 w 2240198"/>
                <a:gd name="connsiteY5781" fmla="*/ 804863 h 1729012"/>
                <a:gd name="connsiteX5782" fmla="*/ 821263 w 2240198"/>
                <a:gd name="connsiteY5782" fmla="*/ 805215 h 1729012"/>
                <a:gd name="connsiteX5783" fmla="*/ 821780 w 2240198"/>
                <a:gd name="connsiteY5783" fmla="*/ 805526 h 1729012"/>
                <a:gd name="connsiteX5784" fmla="*/ 824352 w 2240198"/>
                <a:gd name="connsiteY5784" fmla="*/ 810169 h 1729012"/>
                <a:gd name="connsiteX5785" fmla="*/ 828017 w 2240198"/>
                <a:gd name="connsiteY5785" fmla="*/ 813611 h 1729012"/>
                <a:gd name="connsiteX5786" fmla="*/ 837100 w 2240198"/>
                <a:gd name="connsiteY5786" fmla="*/ 819933 h 1729012"/>
                <a:gd name="connsiteX5787" fmla="*/ 838576 w 2240198"/>
                <a:gd name="connsiteY5787" fmla="*/ 822246 h 1729012"/>
                <a:gd name="connsiteX5788" fmla="*/ 839117 w 2240198"/>
                <a:gd name="connsiteY5788" fmla="*/ 823959 h 1729012"/>
                <a:gd name="connsiteX5789" fmla="*/ 838603 w 2240198"/>
                <a:gd name="connsiteY5789" fmla="*/ 825490 h 1729012"/>
                <a:gd name="connsiteX5790" fmla="*/ 837035 w 2240198"/>
                <a:gd name="connsiteY5790" fmla="*/ 826846 h 1729012"/>
                <a:gd name="connsiteX5791" fmla="*/ 834573 w 2240198"/>
                <a:gd name="connsiteY5791" fmla="*/ 827932 h 1729012"/>
                <a:gd name="connsiteX5792" fmla="*/ 831216 w 2240198"/>
                <a:gd name="connsiteY5792" fmla="*/ 828753 h 1729012"/>
                <a:gd name="connsiteX5793" fmla="*/ 828083 w 2240198"/>
                <a:gd name="connsiteY5793" fmla="*/ 828457 h 1729012"/>
                <a:gd name="connsiteX5794" fmla="*/ 825174 w 2240198"/>
                <a:gd name="connsiteY5794" fmla="*/ 827049 h 1729012"/>
                <a:gd name="connsiteX5795" fmla="*/ 824236 w 2240198"/>
                <a:gd name="connsiteY5795" fmla="*/ 826968 h 1729012"/>
                <a:gd name="connsiteX5796" fmla="*/ 825270 w 2240198"/>
                <a:gd name="connsiteY5796" fmla="*/ 828223 h 1729012"/>
                <a:gd name="connsiteX5797" fmla="*/ 831283 w 2240198"/>
                <a:gd name="connsiteY5797" fmla="*/ 833424 h 1729012"/>
                <a:gd name="connsiteX5798" fmla="*/ 832817 w 2240198"/>
                <a:gd name="connsiteY5798" fmla="*/ 835499 h 1729012"/>
                <a:gd name="connsiteX5799" fmla="*/ 834241 w 2240198"/>
                <a:gd name="connsiteY5799" fmla="*/ 836875 h 1729012"/>
                <a:gd name="connsiteX5800" fmla="*/ 835556 w 2240198"/>
                <a:gd name="connsiteY5800" fmla="*/ 837557 h 1729012"/>
                <a:gd name="connsiteX5801" fmla="*/ 836770 w 2240198"/>
                <a:gd name="connsiteY5801" fmla="*/ 838679 h 1729012"/>
                <a:gd name="connsiteX5802" fmla="*/ 837880 w 2240198"/>
                <a:gd name="connsiteY5802" fmla="*/ 840242 h 1729012"/>
                <a:gd name="connsiteX5803" fmla="*/ 842876 w 2240198"/>
                <a:gd name="connsiteY5803" fmla="*/ 844390 h 1729012"/>
                <a:gd name="connsiteX5804" fmla="*/ 844298 w 2240198"/>
                <a:gd name="connsiteY5804" fmla="*/ 846369 h 1729012"/>
                <a:gd name="connsiteX5805" fmla="*/ 849991 w 2240198"/>
                <a:gd name="connsiteY5805" fmla="*/ 852526 h 1729012"/>
                <a:gd name="connsiteX5806" fmla="*/ 852695 w 2240198"/>
                <a:gd name="connsiteY5806" fmla="*/ 854944 h 1729012"/>
                <a:gd name="connsiteX5807" fmla="*/ 854783 w 2240198"/>
                <a:gd name="connsiteY5807" fmla="*/ 856332 h 1729012"/>
                <a:gd name="connsiteX5808" fmla="*/ 855592 w 2240198"/>
                <a:gd name="connsiteY5808" fmla="*/ 856470 h 1729012"/>
                <a:gd name="connsiteX5809" fmla="*/ 855119 w 2240198"/>
                <a:gd name="connsiteY5809" fmla="*/ 855356 h 1729012"/>
                <a:gd name="connsiteX5810" fmla="*/ 847858 w 2240198"/>
                <a:gd name="connsiteY5810" fmla="*/ 847157 h 1729012"/>
                <a:gd name="connsiteX5811" fmla="*/ 844159 w 2240198"/>
                <a:gd name="connsiteY5811" fmla="*/ 841996 h 1729012"/>
                <a:gd name="connsiteX5812" fmla="*/ 843639 w 2240198"/>
                <a:gd name="connsiteY5812" fmla="*/ 840756 h 1729012"/>
                <a:gd name="connsiteX5813" fmla="*/ 843401 w 2240198"/>
                <a:gd name="connsiteY5813" fmla="*/ 838860 h 1729012"/>
                <a:gd name="connsiteX5814" fmla="*/ 843256 w 2240198"/>
                <a:gd name="connsiteY5814" fmla="*/ 832561 h 1729012"/>
                <a:gd name="connsiteX5815" fmla="*/ 843785 w 2240198"/>
                <a:gd name="connsiteY5815" fmla="*/ 831593 h 1729012"/>
                <a:gd name="connsiteX5816" fmla="*/ 846293 w 2240198"/>
                <a:gd name="connsiteY5816" fmla="*/ 830782 h 1729012"/>
                <a:gd name="connsiteX5817" fmla="*/ 849512 w 2240198"/>
                <a:gd name="connsiteY5817" fmla="*/ 833641 h 1729012"/>
                <a:gd name="connsiteX5818" fmla="*/ 850729 w 2240198"/>
                <a:gd name="connsiteY5818" fmla="*/ 834044 h 1729012"/>
                <a:gd name="connsiteX5819" fmla="*/ 851550 w 2240198"/>
                <a:gd name="connsiteY5819" fmla="*/ 833874 h 1729012"/>
                <a:gd name="connsiteX5820" fmla="*/ 851975 w 2240198"/>
                <a:gd name="connsiteY5820" fmla="*/ 833137 h 1729012"/>
                <a:gd name="connsiteX5821" fmla="*/ 853824 w 2240198"/>
                <a:gd name="connsiteY5821" fmla="*/ 833820 h 1729012"/>
                <a:gd name="connsiteX5822" fmla="*/ 857094 w 2240198"/>
                <a:gd name="connsiteY5822" fmla="*/ 835928 h 1729012"/>
                <a:gd name="connsiteX5823" fmla="*/ 858203 w 2240198"/>
                <a:gd name="connsiteY5823" fmla="*/ 835963 h 1729012"/>
                <a:gd name="connsiteX5824" fmla="*/ 855736 w 2240198"/>
                <a:gd name="connsiteY5824" fmla="*/ 831926 h 1729012"/>
                <a:gd name="connsiteX5825" fmla="*/ 853972 w 2240198"/>
                <a:gd name="connsiteY5825" fmla="*/ 829951 h 1729012"/>
                <a:gd name="connsiteX5826" fmla="*/ 853350 w 2240198"/>
                <a:gd name="connsiteY5826" fmla="*/ 828574 h 1729012"/>
                <a:gd name="connsiteX5827" fmla="*/ 854991 w 2240198"/>
                <a:gd name="connsiteY5827" fmla="*/ 826498 h 1729012"/>
                <a:gd name="connsiteX5828" fmla="*/ 854095 w 2240198"/>
                <a:gd name="connsiteY5828" fmla="*/ 825449 h 1729012"/>
                <a:gd name="connsiteX5829" fmla="*/ 849940 w 2240198"/>
                <a:gd name="connsiteY5829" fmla="*/ 822392 h 1729012"/>
                <a:gd name="connsiteX5830" fmla="*/ 847782 w 2240198"/>
                <a:gd name="connsiteY5830" fmla="*/ 819218 h 1729012"/>
                <a:gd name="connsiteX5831" fmla="*/ 845840 w 2240198"/>
                <a:gd name="connsiteY5831" fmla="*/ 814414 h 1729012"/>
                <a:gd name="connsiteX5832" fmla="*/ 845666 w 2240198"/>
                <a:gd name="connsiteY5832" fmla="*/ 812544 h 1729012"/>
                <a:gd name="connsiteX5833" fmla="*/ 845984 w 2240198"/>
                <a:gd name="connsiteY5833" fmla="*/ 810561 h 1729012"/>
                <a:gd name="connsiteX5834" fmla="*/ 845691 w 2240198"/>
                <a:gd name="connsiteY5834" fmla="*/ 808963 h 1729012"/>
                <a:gd name="connsiteX5835" fmla="*/ 843077 w 2240198"/>
                <a:gd name="connsiteY5835" fmla="*/ 805699 h 1729012"/>
                <a:gd name="connsiteX5836" fmla="*/ 840235 w 2240198"/>
                <a:gd name="connsiteY5836" fmla="*/ 803435 h 1729012"/>
                <a:gd name="connsiteX5837" fmla="*/ 837979 w 2240198"/>
                <a:gd name="connsiteY5837" fmla="*/ 800805 h 1729012"/>
                <a:gd name="connsiteX5838" fmla="*/ 837522 w 2240198"/>
                <a:gd name="connsiteY5838" fmla="*/ 799417 h 1729012"/>
                <a:gd name="connsiteX5839" fmla="*/ 837869 w 2240198"/>
                <a:gd name="connsiteY5839" fmla="*/ 795663 h 1729012"/>
                <a:gd name="connsiteX5840" fmla="*/ 839580 w 2240198"/>
                <a:gd name="connsiteY5840" fmla="*/ 794023 h 1729012"/>
                <a:gd name="connsiteX5841" fmla="*/ 842822 w 2240198"/>
                <a:gd name="connsiteY5841" fmla="*/ 791829 h 1729012"/>
                <a:gd name="connsiteX5842" fmla="*/ 843696 w 2240198"/>
                <a:gd name="connsiteY5842" fmla="*/ 789567 h 1729012"/>
                <a:gd name="connsiteX5843" fmla="*/ 842204 w 2240198"/>
                <a:gd name="connsiteY5843" fmla="*/ 787230 h 1729012"/>
                <a:gd name="connsiteX5844" fmla="*/ 841929 w 2240198"/>
                <a:gd name="connsiteY5844" fmla="*/ 786167 h 1729012"/>
                <a:gd name="connsiteX5845" fmla="*/ 842874 w 2240198"/>
                <a:gd name="connsiteY5845" fmla="*/ 786372 h 1729012"/>
                <a:gd name="connsiteX5846" fmla="*/ 849255 w 2240198"/>
                <a:gd name="connsiteY5846" fmla="*/ 785198 h 1729012"/>
                <a:gd name="connsiteX5847" fmla="*/ 850857 w 2240198"/>
                <a:gd name="connsiteY5847" fmla="*/ 785611 h 1729012"/>
                <a:gd name="connsiteX5848" fmla="*/ 853268 w 2240198"/>
                <a:gd name="connsiteY5848" fmla="*/ 785108 h 1729012"/>
                <a:gd name="connsiteX5849" fmla="*/ 856488 w 2240198"/>
                <a:gd name="connsiteY5849" fmla="*/ 783685 h 1729012"/>
                <a:gd name="connsiteX5850" fmla="*/ 859007 w 2240198"/>
                <a:gd name="connsiteY5850" fmla="*/ 783047 h 1729012"/>
                <a:gd name="connsiteX5851" fmla="*/ 862332 w 2240198"/>
                <a:gd name="connsiteY5851" fmla="*/ 783140 h 1729012"/>
                <a:gd name="connsiteX5852" fmla="*/ 864135 w 2240198"/>
                <a:gd name="connsiteY5852" fmla="*/ 782797 h 1729012"/>
                <a:gd name="connsiteX5853" fmla="*/ 866338 w 2240198"/>
                <a:gd name="connsiteY5853" fmla="*/ 782166 h 1729012"/>
                <a:gd name="connsiteX5854" fmla="*/ 867478 w 2240198"/>
                <a:gd name="connsiteY5854" fmla="*/ 781457 h 1729012"/>
                <a:gd name="connsiteX5855" fmla="*/ 869499 w 2240198"/>
                <a:gd name="connsiteY5855" fmla="*/ 778750 h 1729012"/>
                <a:gd name="connsiteX5856" fmla="*/ 870578 w 2240198"/>
                <a:gd name="connsiteY5856" fmla="*/ 778345 h 1729012"/>
                <a:gd name="connsiteX5857" fmla="*/ 873965 w 2240198"/>
                <a:gd name="connsiteY5857" fmla="*/ 778641 h 1729012"/>
                <a:gd name="connsiteX5858" fmla="*/ 875876 w 2240198"/>
                <a:gd name="connsiteY5858" fmla="*/ 779236 h 1729012"/>
                <a:gd name="connsiteX5859" fmla="*/ 876770 w 2240198"/>
                <a:gd name="connsiteY5859" fmla="*/ 779021 h 1729012"/>
                <a:gd name="connsiteX5860" fmla="*/ 876637 w 2240198"/>
                <a:gd name="connsiteY5860" fmla="*/ 775174 h 1729012"/>
                <a:gd name="connsiteX5861" fmla="*/ 877273 w 2240198"/>
                <a:gd name="connsiteY5861" fmla="*/ 773821 h 1729012"/>
                <a:gd name="connsiteX5862" fmla="*/ 880650 w 2240198"/>
                <a:gd name="connsiteY5862" fmla="*/ 771021 h 1729012"/>
                <a:gd name="connsiteX5863" fmla="*/ 884177 w 2240198"/>
                <a:gd name="connsiteY5863" fmla="*/ 770727 h 1729012"/>
                <a:gd name="connsiteX5864" fmla="*/ 886530 w 2240198"/>
                <a:gd name="connsiteY5864" fmla="*/ 769961 h 1729012"/>
                <a:gd name="connsiteX5865" fmla="*/ 889224 w 2240198"/>
                <a:gd name="connsiteY5865" fmla="*/ 768389 h 1729012"/>
                <a:gd name="connsiteX5866" fmla="*/ 891155 w 2240198"/>
                <a:gd name="connsiteY5866" fmla="*/ 766982 h 1729012"/>
                <a:gd name="connsiteX5867" fmla="*/ 893075 w 2240198"/>
                <a:gd name="connsiteY5867" fmla="*/ 764720 h 1729012"/>
                <a:gd name="connsiteX5868" fmla="*/ 893861 w 2240198"/>
                <a:gd name="connsiteY5868" fmla="*/ 761826 h 1729012"/>
                <a:gd name="connsiteX5869" fmla="*/ 893250 w 2240198"/>
                <a:gd name="connsiteY5869" fmla="*/ 760995 h 1729012"/>
                <a:gd name="connsiteX5870" fmla="*/ 889246 w 2240198"/>
                <a:gd name="connsiteY5870" fmla="*/ 759875 h 1729012"/>
                <a:gd name="connsiteX5871" fmla="*/ 886839 w 2240198"/>
                <a:gd name="connsiteY5871" fmla="*/ 760456 h 1729012"/>
                <a:gd name="connsiteX5872" fmla="*/ 881510 w 2240198"/>
                <a:gd name="connsiteY5872" fmla="*/ 762518 h 1729012"/>
                <a:gd name="connsiteX5873" fmla="*/ 875913 w 2240198"/>
                <a:gd name="connsiteY5873" fmla="*/ 765165 h 1729012"/>
                <a:gd name="connsiteX5874" fmla="*/ 873751 w 2240198"/>
                <a:gd name="connsiteY5874" fmla="*/ 767621 h 1729012"/>
                <a:gd name="connsiteX5875" fmla="*/ 873159 w 2240198"/>
                <a:gd name="connsiteY5875" fmla="*/ 770768 h 1729012"/>
                <a:gd name="connsiteX5876" fmla="*/ 872098 w 2240198"/>
                <a:gd name="connsiteY5876" fmla="*/ 772154 h 1729012"/>
                <a:gd name="connsiteX5877" fmla="*/ 867739 w 2240198"/>
                <a:gd name="connsiteY5877" fmla="*/ 770840 h 1729012"/>
                <a:gd name="connsiteX5878" fmla="*/ 865880 w 2240198"/>
                <a:gd name="connsiteY5878" fmla="*/ 770862 h 1729012"/>
                <a:gd name="connsiteX5879" fmla="*/ 863546 w 2240198"/>
                <a:gd name="connsiteY5879" fmla="*/ 771409 h 1729012"/>
                <a:gd name="connsiteX5880" fmla="*/ 861072 w 2240198"/>
                <a:gd name="connsiteY5880" fmla="*/ 772616 h 1729012"/>
                <a:gd name="connsiteX5881" fmla="*/ 858464 w 2240198"/>
                <a:gd name="connsiteY5881" fmla="*/ 774485 h 1729012"/>
                <a:gd name="connsiteX5882" fmla="*/ 854611 w 2240198"/>
                <a:gd name="connsiteY5882" fmla="*/ 774826 h 1729012"/>
                <a:gd name="connsiteX5883" fmla="*/ 849514 w 2240198"/>
                <a:gd name="connsiteY5883" fmla="*/ 773638 h 1729012"/>
                <a:gd name="connsiteX5884" fmla="*/ 846466 w 2240198"/>
                <a:gd name="connsiteY5884" fmla="*/ 773308 h 1729012"/>
                <a:gd name="connsiteX5885" fmla="*/ 843369 w 2240198"/>
                <a:gd name="connsiteY5885" fmla="*/ 775294 h 1729012"/>
                <a:gd name="connsiteX5886" fmla="*/ 843554 w 2240198"/>
                <a:gd name="connsiteY5886" fmla="*/ 776768 h 1729012"/>
                <a:gd name="connsiteX5887" fmla="*/ 844988 w 2240198"/>
                <a:gd name="connsiteY5887" fmla="*/ 778918 h 1729012"/>
                <a:gd name="connsiteX5888" fmla="*/ 843555 w 2240198"/>
                <a:gd name="connsiteY5888" fmla="*/ 780195 h 1729012"/>
                <a:gd name="connsiteX5889" fmla="*/ 836125 w 2240198"/>
                <a:gd name="connsiteY5889" fmla="*/ 780666 h 1729012"/>
                <a:gd name="connsiteX5890" fmla="*/ 834162 w 2240198"/>
                <a:gd name="connsiteY5890" fmla="*/ 780389 h 1729012"/>
                <a:gd name="connsiteX5891" fmla="*/ 830196 w 2240198"/>
                <a:gd name="connsiteY5891" fmla="*/ 781236 h 1729012"/>
                <a:gd name="connsiteX5892" fmla="*/ 828629 w 2240198"/>
                <a:gd name="connsiteY5892" fmla="*/ 781053 h 1729012"/>
                <a:gd name="connsiteX5893" fmla="*/ 827486 w 2240198"/>
                <a:gd name="connsiteY5893" fmla="*/ 780029 h 1729012"/>
                <a:gd name="connsiteX5894" fmla="*/ 819406 w 2240198"/>
                <a:gd name="connsiteY5894" fmla="*/ 775662 h 1729012"/>
                <a:gd name="connsiteX5895" fmla="*/ 818606 w 2240198"/>
                <a:gd name="connsiteY5895" fmla="*/ 774780 h 1729012"/>
                <a:gd name="connsiteX5896" fmla="*/ 820563 w 2240198"/>
                <a:gd name="connsiteY5896" fmla="*/ 771226 h 1729012"/>
                <a:gd name="connsiteX5897" fmla="*/ 828048 w 2240198"/>
                <a:gd name="connsiteY5897" fmla="*/ 761582 h 1729012"/>
                <a:gd name="connsiteX5898" fmla="*/ 828867 w 2240198"/>
                <a:gd name="connsiteY5898" fmla="*/ 761009 h 1729012"/>
                <a:gd name="connsiteX5899" fmla="*/ 842738 w 2240198"/>
                <a:gd name="connsiteY5899" fmla="*/ 759328 h 1729012"/>
                <a:gd name="connsiteX5900" fmla="*/ 851117 w 2240198"/>
                <a:gd name="connsiteY5900" fmla="*/ 757565 h 1729012"/>
                <a:gd name="connsiteX5901" fmla="*/ 866464 w 2240198"/>
                <a:gd name="connsiteY5901" fmla="*/ 752233 h 1729012"/>
                <a:gd name="connsiteX5902" fmla="*/ 869436 w 2240198"/>
                <a:gd name="connsiteY5902" fmla="*/ 751791 h 1729012"/>
                <a:gd name="connsiteX5903" fmla="*/ 879305 w 2240198"/>
                <a:gd name="connsiteY5903" fmla="*/ 748247 h 1729012"/>
                <a:gd name="connsiteX5904" fmla="*/ 883357 w 2240198"/>
                <a:gd name="connsiteY5904" fmla="*/ 747341 h 1729012"/>
                <a:gd name="connsiteX5905" fmla="*/ 887130 w 2240198"/>
                <a:gd name="connsiteY5905" fmla="*/ 747955 h 1729012"/>
                <a:gd name="connsiteX5906" fmla="*/ 892650 w 2240198"/>
                <a:gd name="connsiteY5906" fmla="*/ 749784 h 1729012"/>
                <a:gd name="connsiteX5907" fmla="*/ 895499 w 2240198"/>
                <a:gd name="connsiteY5907" fmla="*/ 751405 h 1729012"/>
                <a:gd name="connsiteX5908" fmla="*/ 897516 w 2240198"/>
                <a:gd name="connsiteY5908" fmla="*/ 753430 h 1729012"/>
                <a:gd name="connsiteX5909" fmla="*/ 899195 w 2240198"/>
                <a:gd name="connsiteY5909" fmla="*/ 756250 h 1729012"/>
                <a:gd name="connsiteX5910" fmla="*/ 901298 w 2240198"/>
                <a:gd name="connsiteY5910" fmla="*/ 762452 h 1729012"/>
                <a:gd name="connsiteX5911" fmla="*/ 902016 w 2240198"/>
                <a:gd name="connsiteY5911" fmla="*/ 767724 h 1729012"/>
                <a:gd name="connsiteX5912" fmla="*/ 903313 w 2240198"/>
                <a:gd name="connsiteY5912" fmla="*/ 769676 h 1729012"/>
                <a:gd name="connsiteX5913" fmla="*/ 907940 w 2240198"/>
                <a:gd name="connsiteY5913" fmla="*/ 773339 h 1729012"/>
                <a:gd name="connsiteX5914" fmla="*/ 910314 w 2240198"/>
                <a:gd name="connsiteY5914" fmla="*/ 774757 h 1729012"/>
                <a:gd name="connsiteX5915" fmla="*/ 911778 w 2240198"/>
                <a:gd name="connsiteY5915" fmla="*/ 775200 h 1729012"/>
                <a:gd name="connsiteX5916" fmla="*/ 913041 w 2240198"/>
                <a:gd name="connsiteY5916" fmla="*/ 774344 h 1729012"/>
                <a:gd name="connsiteX5917" fmla="*/ 913903 w 2240198"/>
                <a:gd name="connsiteY5917" fmla="*/ 774207 h 1729012"/>
                <a:gd name="connsiteX5918" fmla="*/ 914487 w 2240198"/>
                <a:gd name="connsiteY5918" fmla="*/ 774537 h 1729012"/>
                <a:gd name="connsiteX5919" fmla="*/ 915116 w 2240198"/>
                <a:gd name="connsiteY5919" fmla="*/ 776837 h 1729012"/>
                <a:gd name="connsiteX5920" fmla="*/ 915940 w 2240198"/>
                <a:gd name="connsiteY5920" fmla="*/ 777067 h 1729012"/>
                <a:gd name="connsiteX5921" fmla="*/ 918725 w 2240198"/>
                <a:gd name="connsiteY5921" fmla="*/ 776782 h 1729012"/>
                <a:gd name="connsiteX5922" fmla="*/ 921677 w 2240198"/>
                <a:gd name="connsiteY5922" fmla="*/ 777730 h 1729012"/>
                <a:gd name="connsiteX5923" fmla="*/ 922104 w 2240198"/>
                <a:gd name="connsiteY5923" fmla="*/ 778438 h 1729012"/>
                <a:gd name="connsiteX5924" fmla="*/ 921476 w 2240198"/>
                <a:gd name="connsiteY5924" fmla="*/ 781285 h 1729012"/>
                <a:gd name="connsiteX5925" fmla="*/ 922311 w 2240198"/>
                <a:gd name="connsiteY5925" fmla="*/ 782477 h 1729012"/>
                <a:gd name="connsiteX5926" fmla="*/ 925896 w 2240198"/>
                <a:gd name="connsiteY5926" fmla="*/ 785021 h 1729012"/>
                <a:gd name="connsiteX5927" fmla="*/ 929347 w 2240198"/>
                <a:gd name="connsiteY5927" fmla="*/ 785979 h 1729012"/>
                <a:gd name="connsiteX5928" fmla="*/ 933333 w 2240198"/>
                <a:gd name="connsiteY5928" fmla="*/ 786416 h 1729012"/>
                <a:gd name="connsiteX5929" fmla="*/ 940736 w 2240198"/>
                <a:gd name="connsiteY5929" fmla="*/ 785986 h 1729012"/>
                <a:gd name="connsiteX5930" fmla="*/ 946932 w 2240198"/>
                <a:gd name="connsiteY5930" fmla="*/ 784763 h 1729012"/>
                <a:gd name="connsiteX5931" fmla="*/ 951575 w 2240198"/>
                <a:gd name="connsiteY5931" fmla="*/ 782759 h 1729012"/>
                <a:gd name="connsiteX5932" fmla="*/ 955400 w 2240198"/>
                <a:gd name="connsiteY5932" fmla="*/ 784994 h 1729012"/>
                <a:gd name="connsiteX5933" fmla="*/ 963044 w 2240198"/>
                <a:gd name="connsiteY5933" fmla="*/ 790377 h 1729012"/>
                <a:gd name="connsiteX5934" fmla="*/ 967614 w 2240198"/>
                <a:gd name="connsiteY5934" fmla="*/ 794180 h 1729012"/>
                <a:gd name="connsiteX5935" fmla="*/ 971406 w 2240198"/>
                <a:gd name="connsiteY5935" fmla="*/ 795968 h 1729012"/>
                <a:gd name="connsiteX5936" fmla="*/ 979087 w 2240198"/>
                <a:gd name="connsiteY5936" fmla="*/ 798109 h 1729012"/>
                <a:gd name="connsiteX5937" fmla="*/ 980830 w 2240198"/>
                <a:gd name="connsiteY5937" fmla="*/ 799260 h 1729012"/>
                <a:gd name="connsiteX5938" fmla="*/ 983633 w 2240198"/>
                <a:gd name="connsiteY5938" fmla="*/ 799387 h 1729012"/>
                <a:gd name="connsiteX5939" fmla="*/ 987501 w 2240198"/>
                <a:gd name="connsiteY5939" fmla="*/ 798494 h 1729012"/>
                <a:gd name="connsiteX5940" fmla="*/ 991904 w 2240198"/>
                <a:gd name="connsiteY5940" fmla="*/ 798842 h 1729012"/>
                <a:gd name="connsiteX5941" fmla="*/ 996842 w 2240198"/>
                <a:gd name="connsiteY5941" fmla="*/ 800430 h 1729012"/>
                <a:gd name="connsiteX5942" fmla="*/ 1000237 w 2240198"/>
                <a:gd name="connsiteY5942" fmla="*/ 801101 h 1729012"/>
                <a:gd name="connsiteX5943" fmla="*/ 1011866 w 2240198"/>
                <a:gd name="connsiteY5943" fmla="*/ 798103 h 1729012"/>
                <a:gd name="connsiteX5944" fmla="*/ 1013640 w 2240198"/>
                <a:gd name="connsiteY5944" fmla="*/ 797959 h 1729012"/>
                <a:gd name="connsiteX5945" fmla="*/ 1017971 w 2240198"/>
                <a:gd name="connsiteY5945" fmla="*/ 796514 h 1729012"/>
                <a:gd name="connsiteX5946" fmla="*/ 1020760 w 2240198"/>
                <a:gd name="connsiteY5946" fmla="*/ 796076 h 1729012"/>
                <a:gd name="connsiteX5947" fmla="*/ 1024043 w 2240198"/>
                <a:gd name="connsiteY5947" fmla="*/ 796111 h 1729012"/>
                <a:gd name="connsiteX5948" fmla="*/ 1026490 w 2240198"/>
                <a:gd name="connsiteY5948" fmla="*/ 795671 h 1729012"/>
                <a:gd name="connsiteX5949" fmla="*/ 1028101 w 2240198"/>
                <a:gd name="connsiteY5949" fmla="*/ 794757 h 1729012"/>
                <a:gd name="connsiteX5950" fmla="*/ 1034266 w 2240198"/>
                <a:gd name="connsiteY5950" fmla="*/ 794795 h 1729012"/>
                <a:gd name="connsiteX5951" fmla="*/ 1045422 w 2240198"/>
                <a:gd name="connsiteY5951" fmla="*/ 795826 h 1729012"/>
                <a:gd name="connsiteX5952" fmla="*/ 1053047 w 2240198"/>
                <a:gd name="connsiteY5952" fmla="*/ 797161 h 1729012"/>
                <a:gd name="connsiteX5953" fmla="*/ 1057578 w 2240198"/>
                <a:gd name="connsiteY5953" fmla="*/ 798842 h 1729012"/>
                <a:gd name="connsiteX5954" fmla="*/ 1061297 w 2240198"/>
                <a:gd name="connsiteY5954" fmla="*/ 799781 h 1729012"/>
                <a:gd name="connsiteX5955" fmla="*/ 1064205 w 2240198"/>
                <a:gd name="connsiteY5955" fmla="*/ 799988 h 1729012"/>
                <a:gd name="connsiteX5956" fmla="*/ 1067039 w 2240198"/>
                <a:gd name="connsiteY5956" fmla="*/ 799688 h 1729012"/>
                <a:gd name="connsiteX5957" fmla="*/ 1069796 w 2240198"/>
                <a:gd name="connsiteY5957" fmla="*/ 798879 h 1729012"/>
                <a:gd name="connsiteX5958" fmla="*/ 1072698 w 2240198"/>
                <a:gd name="connsiteY5958" fmla="*/ 797349 h 1729012"/>
                <a:gd name="connsiteX5959" fmla="*/ 1078897 w 2240198"/>
                <a:gd name="connsiteY5959" fmla="*/ 796561 h 1729012"/>
                <a:gd name="connsiteX5960" fmla="*/ 1079928 w 2240198"/>
                <a:gd name="connsiteY5960" fmla="*/ 796158 h 1729012"/>
                <a:gd name="connsiteX5961" fmla="*/ 1079801 w 2240198"/>
                <a:gd name="connsiteY5961" fmla="*/ 795321 h 1729012"/>
                <a:gd name="connsiteX5962" fmla="*/ 1078516 w 2240198"/>
                <a:gd name="connsiteY5962" fmla="*/ 794047 h 1729012"/>
                <a:gd name="connsiteX5963" fmla="*/ 1074999 w 2240198"/>
                <a:gd name="connsiteY5963" fmla="*/ 791630 h 1729012"/>
                <a:gd name="connsiteX5964" fmla="*/ 1072539 w 2240198"/>
                <a:gd name="connsiteY5964" fmla="*/ 789268 h 1729012"/>
                <a:gd name="connsiteX5965" fmla="*/ 1072066 w 2240198"/>
                <a:gd name="connsiteY5965" fmla="*/ 787767 h 1729012"/>
                <a:gd name="connsiteX5966" fmla="*/ 1072120 w 2240198"/>
                <a:gd name="connsiteY5966" fmla="*/ 785946 h 1729012"/>
                <a:gd name="connsiteX5967" fmla="*/ 1072886 w 2240198"/>
                <a:gd name="connsiteY5967" fmla="*/ 784893 h 1729012"/>
                <a:gd name="connsiteX5968" fmla="*/ 1074364 w 2240198"/>
                <a:gd name="connsiteY5968" fmla="*/ 784612 h 1729012"/>
                <a:gd name="connsiteX5969" fmla="*/ 1076690 w 2240198"/>
                <a:gd name="connsiteY5969" fmla="*/ 785743 h 1729012"/>
                <a:gd name="connsiteX5970" fmla="*/ 1079860 w 2240198"/>
                <a:gd name="connsiteY5970" fmla="*/ 788279 h 1729012"/>
                <a:gd name="connsiteX5971" fmla="*/ 1088792 w 2240198"/>
                <a:gd name="connsiteY5971" fmla="*/ 797785 h 1729012"/>
                <a:gd name="connsiteX5972" fmla="*/ 1090946 w 2240198"/>
                <a:gd name="connsiteY5972" fmla="*/ 799132 h 1729012"/>
                <a:gd name="connsiteX5973" fmla="*/ 1092134 w 2240198"/>
                <a:gd name="connsiteY5973" fmla="*/ 800337 h 1729012"/>
                <a:gd name="connsiteX5974" fmla="*/ 1100333 w 2240198"/>
                <a:gd name="connsiteY5974" fmla="*/ 803789 h 1729012"/>
                <a:gd name="connsiteX5975" fmla="*/ 1104199 w 2240198"/>
                <a:gd name="connsiteY5975" fmla="*/ 804396 h 1729012"/>
                <a:gd name="connsiteX5976" fmla="*/ 1108781 w 2240198"/>
                <a:gd name="connsiteY5976" fmla="*/ 802265 h 1729012"/>
                <a:gd name="connsiteX5977" fmla="*/ 1110805 w 2240198"/>
                <a:gd name="connsiteY5977" fmla="*/ 800938 h 1729012"/>
                <a:gd name="connsiteX5978" fmla="*/ 1111794 w 2240198"/>
                <a:gd name="connsiteY5978" fmla="*/ 799660 h 1729012"/>
                <a:gd name="connsiteX5979" fmla="*/ 1111749 w 2240198"/>
                <a:gd name="connsiteY5979" fmla="*/ 798429 h 1729012"/>
                <a:gd name="connsiteX5980" fmla="*/ 1112189 w 2240198"/>
                <a:gd name="connsiteY5980" fmla="*/ 796633 h 1729012"/>
                <a:gd name="connsiteX5981" fmla="*/ 1111727 w 2240198"/>
                <a:gd name="connsiteY5981" fmla="*/ 795518 h 1729012"/>
                <a:gd name="connsiteX5982" fmla="*/ 1110497 w 2240198"/>
                <a:gd name="connsiteY5982" fmla="*/ 794078 h 1729012"/>
                <a:gd name="connsiteX5983" fmla="*/ 1107212 w 2240198"/>
                <a:gd name="connsiteY5983" fmla="*/ 792067 h 1729012"/>
                <a:gd name="connsiteX5984" fmla="*/ 1101874 w 2240198"/>
                <a:gd name="connsiteY5984" fmla="*/ 789484 h 1729012"/>
                <a:gd name="connsiteX5985" fmla="*/ 1096993 w 2240198"/>
                <a:gd name="connsiteY5985" fmla="*/ 788725 h 1729012"/>
                <a:gd name="connsiteX5986" fmla="*/ 1092576 w 2240198"/>
                <a:gd name="connsiteY5986" fmla="*/ 789796 h 1729012"/>
                <a:gd name="connsiteX5987" fmla="*/ 1087577 w 2240198"/>
                <a:gd name="connsiteY5987" fmla="*/ 791995 h 1729012"/>
                <a:gd name="connsiteX5988" fmla="*/ 1085496 w 2240198"/>
                <a:gd name="connsiteY5988" fmla="*/ 791126 h 1729012"/>
                <a:gd name="connsiteX5989" fmla="*/ 1079263 w 2240198"/>
                <a:gd name="connsiteY5989" fmla="*/ 784955 h 1729012"/>
                <a:gd name="connsiteX5990" fmla="*/ 1077693 w 2240198"/>
                <a:gd name="connsiteY5990" fmla="*/ 782643 h 1729012"/>
                <a:gd name="connsiteX5991" fmla="*/ 1077694 w 2240198"/>
                <a:gd name="connsiteY5991" fmla="*/ 782005 h 1729012"/>
                <a:gd name="connsiteX5992" fmla="*/ 1080589 w 2240198"/>
                <a:gd name="connsiteY5992" fmla="*/ 782745 h 1729012"/>
                <a:gd name="connsiteX5993" fmla="*/ 1080722 w 2240198"/>
                <a:gd name="connsiteY5993" fmla="*/ 781997 h 1729012"/>
                <a:gd name="connsiteX5994" fmla="*/ 1078989 w 2240198"/>
                <a:gd name="connsiteY5994" fmla="*/ 779013 h 1729012"/>
                <a:gd name="connsiteX5995" fmla="*/ 1077921 w 2240198"/>
                <a:gd name="connsiteY5995" fmla="*/ 778013 h 1729012"/>
                <a:gd name="connsiteX5996" fmla="*/ 1074327 w 2240198"/>
                <a:gd name="connsiteY5996" fmla="*/ 773303 h 1729012"/>
                <a:gd name="connsiteX5997" fmla="*/ 1073884 w 2240198"/>
                <a:gd name="connsiteY5997" fmla="*/ 771885 h 1729012"/>
                <a:gd name="connsiteX5998" fmla="*/ 1076122 w 2240198"/>
                <a:gd name="connsiteY5998" fmla="*/ 771562 h 1729012"/>
                <a:gd name="connsiteX5999" fmla="*/ 1077137 w 2240198"/>
                <a:gd name="connsiteY5999" fmla="*/ 771012 h 1729012"/>
                <a:gd name="connsiteX6000" fmla="*/ 1078497 w 2240198"/>
                <a:gd name="connsiteY6000" fmla="*/ 771068 h 1729012"/>
                <a:gd name="connsiteX6001" fmla="*/ 1084837 w 2240198"/>
                <a:gd name="connsiteY6001" fmla="*/ 773905 h 1729012"/>
                <a:gd name="connsiteX6002" fmla="*/ 1088082 w 2240198"/>
                <a:gd name="connsiteY6002" fmla="*/ 772638 h 1729012"/>
                <a:gd name="connsiteX6003" fmla="*/ 1095596 w 2240198"/>
                <a:gd name="connsiteY6003" fmla="*/ 770827 h 1729012"/>
                <a:gd name="connsiteX6004" fmla="*/ 1092634 w 2240198"/>
                <a:gd name="connsiteY6004" fmla="*/ 768108 h 1729012"/>
                <a:gd name="connsiteX6005" fmla="*/ 1091928 w 2240198"/>
                <a:gd name="connsiteY6005" fmla="*/ 765428 h 1729012"/>
                <a:gd name="connsiteX6006" fmla="*/ 1092278 w 2240198"/>
                <a:gd name="connsiteY6006" fmla="*/ 764847 h 1729012"/>
                <a:gd name="connsiteX6007" fmla="*/ 1094725 w 2240198"/>
                <a:gd name="connsiteY6007" fmla="*/ 764447 h 1729012"/>
                <a:gd name="connsiteX6008" fmla="*/ 1099519 w 2240198"/>
                <a:gd name="connsiteY6008" fmla="*/ 766681 h 1729012"/>
                <a:gd name="connsiteX6009" fmla="*/ 1101838 w 2240198"/>
                <a:gd name="connsiteY6009" fmla="*/ 766990 h 1729012"/>
                <a:gd name="connsiteX6010" fmla="*/ 1103536 w 2240198"/>
                <a:gd name="connsiteY6010" fmla="*/ 766102 h 1729012"/>
                <a:gd name="connsiteX6011" fmla="*/ 1105329 w 2240198"/>
                <a:gd name="connsiteY6011" fmla="*/ 766041 h 1729012"/>
                <a:gd name="connsiteX6012" fmla="*/ 1107220 w 2240198"/>
                <a:gd name="connsiteY6012" fmla="*/ 766806 h 1729012"/>
                <a:gd name="connsiteX6013" fmla="*/ 1108992 w 2240198"/>
                <a:gd name="connsiteY6013" fmla="*/ 767958 h 1729012"/>
                <a:gd name="connsiteX6014" fmla="*/ 1112286 w 2240198"/>
                <a:gd name="connsiteY6014" fmla="*/ 771250 h 1729012"/>
                <a:gd name="connsiteX6015" fmla="*/ 1113914 w 2240198"/>
                <a:gd name="connsiteY6015" fmla="*/ 773228 h 1729012"/>
                <a:gd name="connsiteX6016" fmla="*/ 1115746 w 2240198"/>
                <a:gd name="connsiteY6016" fmla="*/ 776204 h 1729012"/>
                <a:gd name="connsiteX6017" fmla="*/ 1116325 w 2240198"/>
                <a:gd name="connsiteY6017" fmla="*/ 776622 h 1729012"/>
                <a:gd name="connsiteX6018" fmla="*/ 1125163 w 2240198"/>
                <a:gd name="connsiteY6018" fmla="*/ 776846 h 1729012"/>
                <a:gd name="connsiteX6019" fmla="*/ 1130170 w 2240198"/>
                <a:gd name="connsiteY6019" fmla="*/ 774204 h 1729012"/>
                <a:gd name="connsiteX6020" fmla="*/ 1130061 w 2240198"/>
                <a:gd name="connsiteY6020" fmla="*/ 775103 h 1729012"/>
                <a:gd name="connsiteX6021" fmla="*/ 1128915 w 2240198"/>
                <a:gd name="connsiteY6021" fmla="*/ 777173 h 1729012"/>
                <a:gd name="connsiteX6022" fmla="*/ 1122704 w 2240198"/>
                <a:gd name="connsiteY6022" fmla="*/ 785106 h 1729012"/>
                <a:gd name="connsiteX6023" fmla="*/ 1122782 w 2240198"/>
                <a:gd name="connsiteY6023" fmla="*/ 786085 h 1729012"/>
                <a:gd name="connsiteX6024" fmla="*/ 1126075 w 2240198"/>
                <a:gd name="connsiteY6024" fmla="*/ 785663 h 1729012"/>
                <a:gd name="connsiteX6025" fmla="*/ 1127619 w 2240198"/>
                <a:gd name="connsiteY6025" fmla="*/ 785024 h 1729012"/>
                <a:gd name="connsiteX6026" fmla="*/ 1128573 w 2240198"/>
                <a:gd name="connsiteY6026" fmla="*/ 784071 h 1729012"/>
                <a:gd name="connsiteX6027" fmla="*/ 1129397 w 2240198"/>
                <a:gd name="connsiteY6027" fmla="*/ 781851 h 1729012"/>
                <a:gd name="connsiteX6028" fmla="*/ 1129950 w 2240198"/>
                <a:gd name="connsiteY6028" fmla="*/ 781194 h 1729012"/>
                <a:gd name="connsiteX6029" fmla="*/ 1139174 w 2240198"/>
                <a:gd name="connsiteY6029" fmla="*/ 777448 h 1729012"/>
                <a:gd name="connsiteX6030" fmla="*/ 1141844 w 2240198"/>
                <a:gd name="connsiteY6030" fmla="*/ 776897 h 1729012"/>
                <a:gd name="connsiteX6031" fmla="*/ 1140178 w 2240198"/>
                <a:gd name="connsiteY6031" fmla="*/ 780892 h 1729012"/>
                <a:gd name="connsiteX6032" fmla="*/ 1136747 w 2240198"/>
                <a:gd name="connsiteY6032" fmla="*/ 795094 h 1729012"/>
                <a:gd name="connsiteX6033" fmla="*/ 1136050 w 2240198"/>
                <a:gd name="connsiteY6033" fmla="*/ 800033 h 1729012"/>
                <a:gd name="connsiteX6034" fmla="*/ 1135297 w 2240198"/>
                <a:gd name="connsiteY6034" fmla="*/ 801705 h 1729012"/>
                <a:gd name="connsiteX6035" fmla="*/ 1131674 w 2240198"/>
                <a:gd name="connsiteY6035" fmla="*/ 807124 h 1729012"/>
                <a:gd name="connsiteX6036" fmla="*/ 1131731 w 2240198"/>
                <a:gd name="connsiteY6036" fmla="*/ 809028 h 1729012"/>
                <a:gd name="connsiteX6037" fmla="*/ 1135694 w 2240198"/>
                <a:gd name="connsiteY6037" fmla="*/ 813573 h 1729012"/>
                <a:gd name="connsiteX6038" fmla="*/ 1136399 w 2240198"/>
                <a:gd name="connsiteY6038" fmla="*/ 814810 h 1729012"/>
                <a:gd name="connsiteX6039" fmla="*/ 1136800 w 2240198"/>
                <a:gd name="connsiteY6039" fmla="*/ 818534 h 1729012"/>
                <a:gd name="connsiteX6040" fmla="*/ 1137504 w 2240198"/>
                <a:gd name="connsiteY6040" fmla="*/ 819270 h 1729012"/>
                <a:gd name="connsiteX6041" fmla="*/ 1140772 w 2240198"/>
                <a:gd name="connsiteY6041" fmla="*/ 819311 h 1729012"/>
                <a:gd name="connsiteX6042" fmla="*/ 1144157 w 2240198"/>
                <a:gd name="connsiteY6042" fmla="*/ 818125 h 1729012"/>
                <a:gd name="connsiteX6043" fmla="*/ 1148193 w 2240198"/>
                <a:gd name="connsiteY6043" fmla="*/ 817338 h 1729012"/>
                <a:gd name="connsiteX6044" fmla="*/ 1148821 w 2240198"/>
                <a:gd name="connsiteY6044" fmla="*/ 818115 h 1729012"/>
                <a:gd name="connsiteX6045" fmla="*/ 1146605 w 2240198"/>
                <a:gd name="connsiteY6045" fmla="*/ 822619 h 1729012"/>
                <a:gd name="connsiteX6046" fmla="*/ 1146728 w 2240198"/>
                <a:gd name="connsiteY6046" fmla="*/ 823013 h 1729012"/>
                <a:gd name="connsiteX6047" fmla="*/ 1150564 w 2240198"/>
                <a:gd name="connsiteY6047" fmla="*/ 821857 h 1729012"/>
                <a:gd name="connsiteX6048" fmla="*/ 1152323 w 2240198"/>
                <a:gd name="connsiteY6048" fmla="*/ 821698 h 1729012"/>
                <a:gd name="connsiteX6049" fmla="*/ 1153042 w 2240198"/>
                <a:gd name="connsiteY6049" fmla="*/ 821959 h 1729012"/>
                <a:gd name="connsiteX6050" fmla="*/ 1155902 w 2240198"/>
                <a:gd name="connsiteY6050" fmla="*/ 824259 h 1729012"/>
                <a:gd name="connsiteX6051" fmla="*/ 1156188 w 2240198"/>
                <a:gd name="connsiteY6051" fmla="*/ 825972 h 1729012"/>
                <a:gd name="connsiteX6052" fmla="*/ 1156127 w 2240198"/>
                <a:gd name="connsiteY6052" fmla="*/ 828516 h 1729012"/>
                <a:gd name="connsiteX6053" fmla="*/ 1155826 w 2240198"/>
                <a:gd name="connsiteY6053" fmla="*/ 830350 h 1729012"/>
                <a:gd name="connsiteX6054" fmla="*/ 1154860 w 2240198"/>
                <a:gd name="connsiteY6054" fmla="*/ 831366 h 1729012"/>
                <a:gd name="connsiteX6055" fmla="*/ 1153712 w 2240198"/>
                <a:gd name="connsiteY6055" fmla="*/ 831775 h 1729012"/>
                <a:gd name="connsiteX6056" fmla="*/ 1152264 w 2240198"/>
                <a:gd name="connsiteY6056" fmla="*/ 832079 h 1729012"/>
                <a:gd name="connsiteX6057" fmla="*/ 1150964 w 2240198"/>
                <a:gd name="connsiteY6057" fmla="*/ 831954 h 1729012"/>
                <a:gd name="connsiteX6058" fmla="*/ 1146957 w 2240198"/>
                <a:gd name="connsiteY6058" fmla="*/ 832338 h 1729012"/>
                <a:gd name="connsiteX6059" fmla="*/ 1144595 w 2240198"/>
                <a:gd name="connsiteY6059" fmla="*/ 831848 h 1729012"/>
                <a:gd name="connsiteX6060" fmla="*/ 1142256 w 2240198"/>
                <a:gd name="connsiteY6060" fmla="*/ 830450 h 1729012"/>
                <a:gd name="connsiteX6061" fmla="*/ 1140596 w 2240198"/>
                <a:gd name="connsiteY6061" fmla="*/ 830114 h 1729012"/>
                <a:gd name="connsiteX6062" fmla="*/ 1138671 w 2240198"/>
                <a:gd name="connsiteY6062" fmla="*/ 831191 h 1729012"/>
                <a:gd name="connsiteX6063" fmla="*/ 1135625 w 2240198"/>
                <a:gd name="connsiteY6063" fmla="*/ 831014 h 1729012"/>
                <a:gd name="connsiteX6064" fmla="*/ 1132205 w 2240198"/>
                <a:gd name="connsiteY6064" fmla="*/ 827921 h 1729012"/>
                <a:gd name="connsiteX6065" fmla="*/ 1130841 w 2240198"/>
                <a:gd name="connsiteY6065" fmla="*/ 828213 h 1729012"/>
                <a:gd name="connsiteX6066" fmla="*/ 1130377 w 2240198"/>
                <a:gd name="connsiteY6066" fmla="*/ 828703 h 1729012"/>
                <a:gd name="connsiteX6067" fmla="*/ 1130434 w 2240198"/>
                <a:gd name="connsiteY6067" fmla="*/ 829370 h 1729012"/>
                <a:gd name="connsiteX6068" fmla="*/ 1131975 w 2240198"/>
                <a:gd name="connsiteY6068" fmla="*/ 831368 h 1729012"/>
                <a:gd name="connsiteX6069" fmla="*/ 1144000 w 2240198"/>
                <a:gd name="connsiteY6069" fmla="*/ 841940 h 1729012"/>
                <a:gd name="connsiteX6070" fmla="*/ 1145825 w 2240198"/>
                <a:gd name="connsiteY6070" fmla="*/ 844116 h 1729012"/>
                <a:gd name="connsiteX6071" fmla="*/ 1146229 w 2240198"/>
                <a:gd name="connsiteY6071" fmla="*/ 847241 h 1729012"/>
                <a:gd name="connsiteX6072" fmla="*/ 1146478 w 2240198"/>
                <a:gd name="connsiteY6072" fmla="*/ 847231 h 1729012"/>
                <a:gd name="connsiteX6073" fmla="*/ 1147603 w 2240198"/>
                <a:gd name="connsiteY6073" fmla="*/ 844105 h 1729012"/>
                <a:gd name="connsiteX6074" fmla="*/ 1146869 w 2240198"/>
                <a:gd name="connsiteY6074" fmla="*/ 842590 h 1729012"/>
                <a:gd name="connsiteX6075" fmla="*/ 1140682 w 2240198"/>
                <a:gd name="connsiteY6075" fmla="*/ 836444 h 1729012"/>
                <a:gd name="connsiteX6076" fmla="*/ 1139940 w 2240198"/>
                <a:gd name="connsiteY6076" fmla="*/ 834197 h 1729012"/>
                <a:gd name="connsiteX6077" fmla="*/ 1140156 w 2240198"/>
                <a:gd name="connsiteY6077" fmla="*/ 833585 h 1729012"/>
                <a:gd name="connsiteX6078" fmla="*/ 1141791 w 2240198"/>
                <a:gd name="connsiteY6078" fmla="*/ 832955 h 1729012"/>
                <a:gd name="connsiteX6079" fmla="*/ 1150598 w 2240198"/>
                <a:gd name="connsiteY6079" fmla="*/ 834491 h 1729012"/>
                <a:gd name="connsiteX6080" fmla="*/ 1154013 w 2240198"/>
                <a:gd name="connsiteY6080" fmla="*/ 834156 h 1729012"/>
                <a:gd name="connsiteX6081" fmla="*/ 1156313 w 2240198"/>
                <a:gd name="connsiteY6081" fmla="*/ 833073 h 1729012"/>
                <a:gd name="connsiteX6082" fmla="*/ 1157468 w 2240198"/>
                <a:gd name="connsiteY6082" fmla="*/ 831740 h 1729012"/>
                <a:gd name="connsiteX6083" fmla="*/ 1158306 w 2240198"/>
                <a:gd name="connsiteY6083" fmla="*/ 824390 h 1729012"/>
                <a:gd name="connsiteX6084" fmla="*/ 1159886 w 2240198"/>
                <a:gd name="connsiteY6084" fmla="*/ 819668 h 1729012"/>
                <a:gd name="connsiteX6085" fmla="*/ 1158952 w 2240198"/>
                <a:gd name="connsiteY6085" fmla="*/ 815436 h 1729012"/>
                <a:gd name="connsiteX6086" fmla="*/ 1156570 w 2240198"/>
                <a:gd name="connsiteY6086" fmla="*/ 808680 h 1729012"/>
                <a:gd name="connsiteX6087" fmla="*/ 1154698 w 2240198"/>
                <a:gd name="connsiteY6087" fmla="*/ 804690 h 1729012"/>
                <a:gd name="connsiteX6088" fmla="*/ 1150379 w 2240198"/>
                <a:gd name="connsiteY6088" fmla="*/ 800637 h 1729012"/>
                <a:gd name="connsiteX6089" fmla="*/ 1149954 w 2240198"/>
                <a:gd name="connsiteY6089" fmla="*/ 799182 h 1729012"/>
                <a:gd name="connsiteX6090" fmla="*/ 1154766 w 2240198"/>
                <a:gd name="connsiteY6090" fmla="*/ 786843 h 1729012"/>
                <a:gd name="connsiteX6091" fmla="*/ 1155632 w 2240198"/>
                <a:gd name="connsiteY6091" fmla="*/ 785802 h 1729012"/>
                <a:gd name="connsiteX6092" fmla="*/ 1156709 w 2240198"/>
                <a:gd name="connsiteY6092" fmla="*/ 785354 h 1729012"/>
                <a:gd name="connsiteX6093" fmla="*/ 1160495 w 2240198"/>
                <a:gd name="connsiteY6093" fmla="*/ 785173 h 1729012"/>
                <a:gd name="connsiteX6094" fmla="*/ 1163255 w 2240198"/>
                <a:gd name="connsiteY6094" fmla="*/ 784144 h 1729012"/>
                <a:gd name="connsiteX6095" fmla="*/ 1167583 w 2240198"/>
                <a:gd name="connsiteY6095" fmla="*/ 785583 h 1729012"/>
                <a:gd name="connsiteX6096" fmla="*/ 1169971 w 2240198"/>
                <a:gd name="connsiteY6096" fmla="*/ 785960 h 1729012"/>
                <a:gd name="connsiteX6097" fmla="*/ 1172928 w 2240198"/>
                <a:gd name="connsiteY6097" fmla="*/ 784684 h 1729012"/>
                <a:gd name="connsiteX6098" fmla="*/ 1179498 w 2240198"/>
                <a:gd name="connsiteY6098" fmla="*/ 779479 h 1729012"/>
                <a:gd name="connsiteX6099" fmla="*/ 1182071 w 2240198"/>
                <a:gd name="connsiteY6099" fmla="*/ 777865 h 1729012"/>
                <a:gd name="connsiteX6100" fmla="*/ 1185344 w 2240198"/>
                <a:gd name="connsiteY6100" fmla="*/ 774808 h 1729012"/>
                <a:gd name="connsiteX6101" fmla="*/ 1189316 w 2240198"/>
                <a:gd name="connsiteY6101" fmla="*/ 770309 h 1729012"/>
                <a:gd name="connsiteX6102" fmla="*/ 1193637 w 2240198"/>
                <a:gd name="connsiteY6102" fmla="*/ 767040 h 1729012"/>
                <a:gd name="connsiteX6103" fmla="*/ 1200635 w 2240198"/>
                <a:gd name="connsiteY6103" fmla="*/ 763992 h 1729012"/>
                <a:gd name="connsiteX6104" fmla="*/ 1204912 w 2240198"/>
                <a:gd name="connsiteY6104" fmla="*/ 761535 h 1729012"/>
                <a:gd name="connsiteX6105" fmla="*/ 1205777 w 2240198"/>
                <a:gd name="connsiteY6105" fmla="*/ 760652 h 1729012"/>
                <a:gd name="connsiteX6106" fmla="*/ 1201799 w 2240198"/>
                <a:gd name="connsiteY6106" fmla="*/ 760441 h 1729012"/>
                <a:gd name="connsiteX6107" fmla="*/ 1200832 w 2240198"/>
                <a:gd name="connsiteY6107" fmla="*/ 760026 h 1729012"/>
                <a:gd name="connsiteX6108" fmla="*/ 1200015 w 2240198"/>
                <a:gd name="connsiteY6108" fmla="*/ 757693 h 1729012"/>
                <a:gd name="connsiteX6109" fmla="*/ 1200429 w 2240198"/>
                <a:gd name="connsiteY6109" fmla="*/ 753372 h 1729012"/>
                <a:gd name="connsiteX6110" fmla="*/ 1200354 w 2240198"/>
                <a:gd name="connsiteY6110" fmla="*/ 750963 h 1729012"/>
                <a:gd name="connsiteX6111" fmla="*/ 1199882 w 2240198"/>
                <a:gd name="connsiteY6111" fmla="*/ 748788 h 1729012"/>
                <a:gd name="connsiteX6112" fmla="*/ 1199010 w 2240198"/>
                <a:gd name="connsiteY6112" fmla="*/ 746846 h 1729012"/>
                <a:gd name="connsiteX6113" fmla="*/ 1197744 w 2240198"/>
                <a:gd name="connsiteY6113" fmla="*/ 745136 h 1729012"/>
                <a:gd name="connsiteX6114" fmla="*/ 1196588 w 2240198"/>
                <a:gd name="connsiteY6114" fmla="*/ 744110 h 1729012"/>
                <a:gd name="connsiteX6115" fmla="*/ 1195546 w 2240198"/>
                <a:gd name="connsiteY6115" fmla="*/ 743769 h 1729012"/>
                <a:gd name="connsiteX6116" fmla="*/ 1194828 w 2240198"/>
                <a:gd name="connsiteY6116" fmla="*/ 743926 h 1729012"/>
                <a:gd name="connsiteX6117" fmla="*/ 1194438 w 2240198"/>
                <a:gd name="connsiteY6117" fmla="*/ 744577 h 1729012"/>
                <a:gd name="connsiteX6118" fmla="*/ 1193374 w 2240198"/>
                <a:gd name="connsiteY6118" fmla="*/ 748708 h 1729012"/>
                <a:gd name="connsiteX6119" fmla="*/ 1192017 w 2240198"/>
                <a:gd name="connsiteY6119" fmla="*/ 751741 h 1729012"/>
                <a:gd name="connsiteX6120" fmla="*/ 1190159 w 2240198"/>
                <a:gd name="connsiteY6120" fmla="*/ 753327 h 1729012"/>
                <a:gd name="connsiteX6121" fmla="*/ 1186303 w 2240198"/>
                <a:gd name="connsiteY6121" fmla="*/ 754398 h 1729012"/>
                <a:gd name="connsiteX6122" fmla="*/ 1179675 w 2240198"/>
                <a:gd name="connsiteY6122" fmla="*/ 755184 h 1729012"/>
                <a:gd name="connsiteX6123" fmla="*/ 1176926 w 2240198"/>
                <a:gd name="connsiteY6123" fmla="*/ 753735 h 1729012"/>
                <a:gd name="connsiteX6124" fmla="*/ 1176579 w 2240198"/>
                <a:gd name="connsiteY6124" fmla="*/ 752510 h 1729012"/>
                <a:gd name="connsiteX6125" fmla="*/ 1177539 w 2240198"/>
                <a:gd name="connsiteY6125" fmla="*/ 747706 h 1729012"/>
                <a:gd name="connsiteX6126" fmla="*/ 1179743 w 2240198"/>
                <a:gd name="connsiteY6126" fmla="*/ 745643 h 1729012"/>
                <a:gd name="connsiteX6127" fmla="*/ 1185805 w 2240198"/>
                <a:gd name="connsiteY6127" fmla="*/ 741572 h 1729012"/>
                <a:gd name="connsiteX6128" fmla="*/ 1189683 w 2240198"/>
                <a:gd name="connsiteY6128" fmla="*/ 738309 h 1729012"/>
                <a:gd name="connsiteX6129" fmla="*/ 1189746 w 2240198"/>
                <a:gd name="connsiteY6129" fmla="*/ 737741 h 1729012"/>
                <a:gd name="connsiteX6130" fmla="*/ 1186180 w 2240198"/>
                <a:gd name="connsiteY6130" fmla="*/ 737717 h 1729012"/>
                <a:gd name="connsiteX6131" fmla="*/ 1185329 w 2240198"/>
                <a:gd name="connsiteY6131" fmla="*/ 737045 h 1729012"/>
                <a:gd name="connsiteX6132" fmla="*/ 1184579 w 2240198"/>
                <a:gd name="connsiteY6132" fmla="*/ 733024 h 1729012"/>
                <a:gd name="connsiteX6133" fmla="*/ 1184786 w 2240198"/>
                <a:gd name="connsiteY6133" fmla="*/ 731522 h 1729012"/>
                <a:gd name="connsiteX6134" fmla="*/ 1185345 w 2240198"/>
                <a:gd name="connsiteY6134" fmla="*/ 729800 h 1729012"/>
                <a:gd name="connsiteX6135" fmla="*/ 1187839 w 2240198"/>
                <a:gd name="connsiteY6135" fmla="*/ 728549 h 1729012"/>
                <a:gd name="connsiteX6136" fmla="*/ 1195495 w 2240198"/>
                <a:gd name="connsiteY6136" fmla="*/ 727000 h 1729012"/>
                <a:gd name="connsiteX6137" fmla="*/ 1201453 w 2240198"/>
                <a:gd name="connsiteY6137" fmla="*/ 725180 h 1729012"/>
                <a:gd name="connsiteX6138" fmla="*/ 1201626 w 2240198"/>
                <a:gd name="connsiteY6138" fmla="*/ 725814 h 1729012"/>
                <a:gd name="connsiteX6139" fmla="*/ 1196850 w 2240198"/>
                <a:gd name="connsiteY6139" fmla="*/ 731269 h 1729012"/>
                <a:gd name="connsiteX6140" fmla="*/ 1196357 w 2240198"/>
                <a:gd name="connsiteY6140" fmla="*/ 732531 h 1729012"/>
                <a:gd name="connsiteX6141" fmla="*/ 1198180 w 2240198"/>
                <a:gd name="connsiteY6141" fmla="*/ 733715 h 1729012"/>
                <a:gd name="connsiteX6142" fmla="*/ 1202771 w 2240198"/>
                <a:gd name="connsiteY6142" fmla="*/ 730556 h 1729012"/>
                <a:gd name="connsiteX6143" fmla="*/ 1205735 w 2240198"/>
                <a:gd name="connsiteY6143" fmla="*/ 727948 h 1729012"/>
                <a:gd name="connsiteX6144" fmla="*/ 1206232 w 2240198"/>
                <a:gd name="connsiteY6144" fmla="*/ 727058 h 1729012"/>
                <a:gd name="connsiteX6145" fmla="*/ 1203542 w 2240198"/>
                <a:gd name="connsiteY6145" fmla="*/ 726732 h 1729012"/>
                <a:gd name="connsiteX6146" fmla="*/ 1203395 w 2240198"/>
                <a:gd name="connsiteY6146" fmla="*/ 725652 h 1729012"/>
                <a:gd name="connsiteX6147" fmla="*/ 1203914 w 2240198"/>
                <a:gd name="connsiteY6147" fmla="*/ 723670 h 1729012"/>
                <a:gd name="connsiteX6148" fmla="*/ 1203664 w 2240198"/>
                <a:gd name="connsiteY6148" fmla="*/ 722314 h 1729012"/>
                <a:gd name="connsiteX6149" fmla="*/ 1200683 w 2240198"/>
                <a:gd name="connsiteY6149" fmla="*/ 720602 h 1729012"/>
                <a:gd name="connsiteX6150" fmla="*/ 1197017 w 2240198"/>
                <a:gd name="connsiteY6150" fmla="*/ 721554 h 1729012"/>
                <a:gd name="connsiteX6151" fmla="*/ 1193957 w 2240198"/>
                <a:gd name="connsiteY6151" fmla="*/ 723357 h 1729012"/>
                <a:gd name="connsiteX6152" fmla="*/ 1191417 w 2240198"/>
                <a:gd name="connsiteY6152" fmla="*/ 723847 h 1729012"/>
                <a:gd name="connsiteX6153" fmla="*/ 1187666 w 2240198"/>
                <a:gd name="connsiteY6153" fmla="*/ 723882 h 1729012"/>
                <a:gd name="connsiteX6154" fmla="*/ 1184938 w 2240198"/>
                <a:gd name="connsiteY6154" fmla="*/ 723471 h 1729012"/>
                <a:gd name="connsiteX6155" fmla="*/ 1183230 w 2240198"/>
                <a:gd name="connsiteY6155" fmla="*/ 722612 h 1729012"/>
                <a:gd name="connsiteX6156" fmla="*/ 1181174 w 2240198"/>
                <a:gd name="connsiteY6156" fmla="*/ 720693 h 1729012"/>
                <a:gd name="connsiteX6157" fmla="*/ 1178773 w 2240198"/>
                <a:gd name="connsiteY6157" fmla="*/ 717709 h 1729012"/>
                <a:gd name="connsiteX6158" fmla="*/ 1175732 w 2240198"/>
                <a:gd name="connsiteY6158" fmla="*/ 714731 h 1729012"/>
                <a:gd name="connsiteX6159" fmla="*/ 1174656 w 2240198"/>
                <a:gd name="connsiteY6159" fmla="*/ 714405 h 1729012"/>
                <a:gd name="connsiteX6160" fmla="*/ 1173732 w 2240198"/>
                <a:gd name="connsiteY6160" fmla="*/ 714741 h 1729012"/>
                <a:gd name="connsiteX6161" fmla="*/ 1171791 w 2240198"/>
                <a:gd name="connsiteY6161" fmla="*/ 717619 h 1729012"/>
                <a:gd name="connsiteX6162" fmla="*/ 1170948 w 2240198"/>
                <a:gd name="connsiteY6162" fmla="*/ 717963 h 1729012"/>
                <a:gd name="connsiteX6163" fmla="*/ 1159041 w 2240198"/>
                <a:gd name="connsiteY6163" fmla="*/ 713933 h 1729012"/>
                <a:gd name="connsiteX6164" fmla="*/ 1153991 w 2240198"/>
                <a:gd name="connsiteY6164" fmla="*/ 711668 h 1729012"/>
                <a:gd name="connsiteX6165" fmla="*/ 1151547 w 2240198"/>
                <a:gd name="connsiteY6165" fmla="*/ 709950 h 1729012"/>
                <a:gd name="connsiteX6166" fmla="*/ 1148510 w 2240198"/>
                <a:gd name="connsiteY6166" fmla="*/ 708935 h 1729012"/>
                <a:gd name="connsiteX6167" fmla="*/ 1144877 w 2240198"/>
                <a:gd name="connsiteY6167" fmla="*/ 708625 h 1729012"/>
                <a:gd name="connsiteX6168" fmla="*/ 1141979 w 2240198"/>
                <a:gd name="connsiteY6168" fmla="*/ 707826 h 1729012"/>
                <a:gd name="connsiteX6169" fmla="*/ 1139819 w 2240198"/>
                <a:gd name="connsiteY6169" fmla="*/ 706544 h 1729012"/>
                <a:gd name="connsiteX6170" fmla="*/ 1138071 w 2240198"/>
                <a:gd name="connsiteY6170" fmla="*/ 704704 h 1729012"/>
                <a:gd name="connsiteX6171" fmla="*/ 1136735 w 2240198"/>
                <a:gd name="connsiteY6171" fmla="*/ 702302 h 1729012"/>
                <a:gd name="connsiteX6172" fmla="*/ 1134261 w 2240198"/>
                <a:gd name="connsiteY6172" fmla="*/ 699273 h 1729012"/>
                <a:gd name="connsiteX6173" fmla="*/ 1128606 w 2240198"/>
                <a:gd name="connsiteY6173" fmla="*/ 693231 h 1729012"/>
                <a:gd name="connsiteX6174" fmla="*/ 1127110 w 2240198"/>
                <a:gd name="connsiteY6174" fmla="*/ 689345 h 1729012"/>
                <a:gd name="connsiteX6175" fmla="*/ 1126902 w 2240198"/>
                <a:gd name="connsiteY6175" fmla="*/ 687854 h 1729012"/>
                <a:gd name="connsiteX6176" fmla="*/ 1127257 w 2240198"/>
                <a:gd name="connsiteY6176" fmla="*/ 684013 h 1729012"/>
                <a:gd name="connsiteX6177" fmla="*/ 1132557 w 2240198"/>
                <a:gd name="connsiteY6177" fmla="*/ 677477 h 1729012"/>
                <a:gd name="connsiteX6178" fmla="*/ 1133543 w 2240198"/>
                <a:gd name="connsiteY6178" fmla="*/ 675590 h 1729012"/>
                <a:gd name="connsiteX6179" fmla="*/ 1135350 w 2240198"/>
                <a:gd name="connsiteY6179" fmla="*/ 674199 h 1729012"/>
                <a:gd name="connsiteX6180" fmla="*/ 1137978 w 2240198"/>
                <a:gd name="connsiteY6180" fmla="*/ 673303 h 1729012"/>
                <a:gd name="connsiteX6181" fmla="*/ 1139870 w 2240198"/>
                <a:gd name="connsiteY6181" fmla="*/ 673035 h 1729012"/>
                <a:gd name="connsiteX6182" fmla="*/ 1144168 w 2240198"/>
                <a:gd name="connsiteY6182" fmla="*/ 673865 h 1729012"/>
                <a:gd name="connsiteX6183" fmla="*/ 1141594 w 2240198"/>
                <a:gd name="connsiteY6183" fmla="*/ 671836 h 1729012"/>
                <a:gd name="connsiteX6184" fmla="*/ 1141391 w 2240198"/>
                <a:gd name="connsiteY6184" fmla="*/ 670751 h 1729012"/>
                <a:gd name="connsiteX6185" fmla="*/ 1143973 w 2240198"/>
                <a:gd name="connsiteY6185" fmla="*/ 667190 h 1729012"/>
                <a:gd name="connsiteX6186" fmla="*/ 1143464 w 2240198"/>
                <a:gd name="connsiteY6186" fmla="*/ 667031 h 1729012"/>
                <a:gd name="connsiteX6187" fmla="*/ 1136364 w 2240198"/>
                <a:gd name="connsiteY6187" fmla="*/ 669766 h 1729012"/>
                <a:gd name="connsiteX6188" fmla="*/ 1134549 w 2240198"/>
                <a:gd name="connsiteY6188" fmla="*/ 669581 h 1729012"/>
                <a:gd name="connsiteX6189" fmla="*/ 1131991 w 2240198"/>
                <a:gd name="connsiteY6189" fmla="*/ 667909 h 1729012"/>
                <a:gd name="connsiteX6190" fmla="*/ 1127172 w 2240198"/>
                <a:gd name="connsiteY6190" fmla="*/ 661919 h 1729012"/>
                <a:gd name="connsiteX6191" fmla="*/ 1127118 w 2240198"/>
                <a:gd name="connsiteY6191" fmla="*/ 658179 h 1729012"/>
                <a:gd name="connsiteX6192" fmla="*/ 1128633 w 2240198"/>
                <a:gd name="connsiteY6192" fmla="*/ 652971 h 1729012"/>
                <a:gd name="connsiteX6193" fmla="*/ 1129164 w 2240198"/>
                <a:gd name="connsiteY6193" fmla="*/ 649848 h 1729012"/>
                <a:gd name="connsiteX6194" fmla="*/ 1127785 w 2240198"/>
                <a:gd name="connsiteY6194" fmla="*/ 647188 h 1729012"/>
                <a:gd name="connsiteX6195" fmla="*/ 1128300 w 2240198"/>
                <a:gd name="connsiteY6195" fmla="*/ 646439 h 1729012"/>
                <a:gd name="connsiteX6196" fmla="*/ 1129795 w 2240198"/>
                <a:gd name="connsiteY6196" fmla="*/ 645694 h 1729012"/>
                <a:gd name="connsiteX6197" fmla="*/ 1130423 w 2240198"/>
                <a:gd name="connsiteY6197" fmla="*/ 644892 h 1729012"/>
                <a:gd name="connsiteX6198" fmla="*/ 1129768 w 2240198"/>
                <a:gd name="connsiteY6198" fmla="*/ 641942 h 1729012"/>
                <a:gd name="connsiteX6199" fmla="*/ 1130804 w 2240198"/>
                <a:gd name="connsiteY6199" fmla="*/ 640371 h 1729012"/>
                <a:gd name="connsiteX6200" fmla="*/ 1134210 w 2240198"/>
                <a:gd name="connsiteY6200" fmla="*/ 637319 h 1729012"/>
                <a:gd name="connsiteX6201" fmla="*/ 1137551 w 2240198"/>
                <a:gd name="connsiteY6201" fmla="*/ 634645 h 1729012"/>
                <a:gd name="connsiteX6202" fmla="*/ 1139518 w 2240198"/>
                <a:gd name="connsiteY6202" fmla="*/ 633829 h 1729012"/>
                <a:gd name="connsiteX6203" fmla="*/ 1141233 w 2240198"/>
                <a:gd name="connsiteY6203" fmla="*/ 633980 h 1729012"/>
                <a:gd name="connsiteX6204" fmla="*/ 1143016 w 2240198"/>
                <a:gd name="connsiteY6204" fmla="*/ 634801 h 1729012"/>
                <a:gd name="connsiteX6205" fmla="*/ 1144872 w 2240198"/>
                <a:gd name="connsiteY6205" fmla="*/ 636294 h 1729012"/>
                <a:gd name="connsiteX6206" fmla="*/ 1148055 w 2240198"/>
                <a:gd name="connsiteY6206" fmla="*/ 637830 h 1729012"/>
                <a:gd name="connsiteX6207" fmla="*/ 1150408 w 2240198"/>
                <a:gd name="connsiteY6207" fmla="*/ 638267 h 1729012"/>
                <a:gd name="connsiteX6208" fmla="*/ 1152140 w 2240198"/>
                <a:gd name="connsiteY6208" fmla="*/ 637428 h 1729012"/>
                <a:gd name="connsiteX6209" fmla="*/ 1155100 w 2240198"/>
                <a:gd name="connsiteY6209" fmla="*/ 631669 h 1729012"/>
                <a:gd name="connsiteX6210" fmla="*/ 1156147 w 2240198"/>
                <a:gd name="connsiteY6210" fmla="*/ 630192 h 1729012"/>
                <a:gd name="connsiteX6211" fmla="*/ 1155154 w 2240198"/>
                <a:gd name="connsiteY6211" fmla="*/ 629550 h 1729012"/>
                <a:gd name="connsiteX6212" fmla="*/ 1149352 w 2240198"/>
                <a:gd name="connsiteY6212" fmla="*/ 629611 h 1729012"/>
                <a:gd name="connsiteX6213" fmla="*/ 1146837 w 2240198"/>
                <a:gd name="connsiteY6213" fmla="*/ 629134 h 1729012"/>
                <a:gd name="connsiteX6214" fmla="*/ 1145392 w 2240198"/>
                <a:gd name="connsiteY6214" fmla="*/ 628580 h 1729012"/>
                <a:gd name="connsiteX6215" fmla="*/ 1144329 w 2240198"/>
                <a:gd name="connsiteY6215" fmla="*/ 626375 h 1729012"/>
                <a:gd name="connsiteX6216" fmla="*/ 1145205 w 2240198"/>
                <a:gd name="connsiteY6216" fmla="*/ 625197 h 1729012"/>
                <a:gd name="connsiteX6217" fmla="*/ 1150830 w 2240198"/>
                <a:gd name="connsiteY6217" fmla="*/ 621106 h 1729012"/>
                <a:gd name="connsiteX6218" fmla="*/ 1153473 w 2240198"/>
                <a:gd name="connsiteY6218" fmla="*/ 616805 h 1729012"/>
                <a:gd name="connsiteX6219" fmla="*/ 1161345 w 2240198"/>
                <a:gd name="connsiteY6219" fmla="*/ 610821 h 1729012"/>
                <a:gd name="connsiteX6220" fmla="*/ 1169314 w 2240198"/>
                <a:gd name="connsiteY6220" fmla="*/ 608001 h 1729012"/>
                <a:gd name="connsiteX6221" fmla="*/ 1173170 w 2240198"/>
                <a:gd name="connsiteY6221" fmla="*/ 607076 h 1729012"/>
                <a:gd name="connsiteX6222" fmla="*/ 1119224 w 2240198"/>
                <a:gd name="connsiteY6222" fmla="*/ 549260 h 1729012"/>
                <a:gd name="connsiteX6223" fmla="*/ 1120979 w 2240198"/>
                <a:gd name="connsiteY6223" fmla="*/ 550394 h 1729012"/>
                <a:gd name="connsiteX6224" fmla="*/ 1121623 w 2240198"/>
                <a:gd name="connsiteY6224" fmla="*/ 551762 h 1729012"/>
                <a:gd name="connsiteX6225" fmla="*/ 1122214 w 2240198"/>
                <a:gd name="connsiteY6225" fmla="*/ 552298 h 1729012"/>
                <a:gd name="connsiteX6226" fmla="*/ 1124711 w 2240198"/>
                <a:gd name="connsiteY6226" fmla="*/ 553480 h 1729012"/>
                <a:gd name="connsiteX6227" fmla="*/ 1125915 w 2240198"/>
                <a:gd name="connsiteY6227" fmla="*/ 554841 h 1729012"/>
                <a:gd name="connsiteX6228" fmla="*/ 1125787 w 2240198"/>
                <a:gd name="connsiteY6228" fmla="*/ 556405 h 1729012"/>
                <a:gd name="connsiteX6229" fmla="*/ 1124979 w 2240198"/>
                <a:gd name="connsiteY6229" fmla="*/ 558784 h 1729012"/>
                <a:gd name="connsiteX6230" fmla="*/ 1124087 w 2240198"/>
                <a:gd name="connsiteY6230" fmla="*/ 560306 h 1729012"/>
                <a:gd name="connsiteX6231" fmla="*/ 1123108 w 2240198"/>
                <a:gd name="connsiteY6231" fmla="*/ 560982 h 1729012"/>
                <a:gd name="connsiteX6232" fmla="*/ 1121255 w 2240198"/>
                <a:gd name="connsiteY6232" fmla="*/ 561482 h 1729012"/>
                <a:gd name="connsiteX6233" fmla="*/ 1117160 w 2240198"/>
                <a:gd name="connsiteY6233" fmla="*/ 561960 h 1729012"/>
                <a:gd name="connsiteX6234" fmla="*/ 1113383 w 2240198"/>
                <a:gd name="connsiteY6234" fmla="*/ 558566 h 1729012"/>
                <a:gd name="connsiteX6235" fmla="*/ 1113259 w 2240198"/>
                <a:gd name="connsiteY6235" fmla="*/ 555395 h 1729012"/>
                <a:gd name="connsiteX6236" fmla="*/ 1113511 w 2240198"/>
                <a:gd name="connsiteY6236" fmla="*/ 553645 h 1729012"/>
                <a:gd name="connsiteX6237" fmla="*/ 1113979 w 2240198"/>
                <a:gd name="connsiteY6237" fmla="*/ 552109 h 1729012"/>
                <a:gd name="connsiteX6238" fmla="*/ 1115355 w 2240198"/>
                <a:gd name="connsiteY6238" fmla="*/ 550793 h 1729012"/>
                <a:gd name="connsiteX6239" fmla="*/ 668493 w 2240198"/>
                <a:gd name="connsiteY6239" fmla="*/ 540306 h 1729012"/>
                <a:gd name="connsiteX6240" fmla="*/ 677022 w 2240198"/>
                <a:gd name="connsiteY6240" fmla="*/ 542353 h 1729012"/>
                <a:gd name="connsiteX6241" fmla="*/ 679442 w 2240198"/>
                <a:gd name="connsiteY6241" fmla="*/ 543956 h 1729012"/>
                <a:gd name="connsiteX6242" fmla="*/ 680519 w 2240198"/>
                <a:gd name="connsiteY6242" fmla="*/ 545320 h 1729012"/>
                <a:gd name="connsiteX6243" fmla="*/ 681455 w 2240198"/>
                <a:gd name="connsiteY6243" fmla="*/ 547223 h 1729012"/>
                <a:gd name="connsiteX6244" fmla="*/ 682255 w 2240198"/>
                <a:gd name="connsiteY6244" fmla="*/ 549675 h 1729012"/>
                <a:gd name="connsiteX6245" fmla="*/ 683365 w 2240198"/>
                <a:gd name="connsiteY6245" fmla="*/ 554978 h 1729012"/>
                <a:gd name="connsiteX6246" fmla="*/ 683506 w 2240198"/>
                <a:gd name="connsiteY6246" fmla="*/ 557710 h 1729012"/>
                <a:gd name="connsiteX6247" fmla="*/ 683314 w 2240198"/>
                <a:gd name="connsiteY6247" fmla="*/ 560446 h 1729012"/>
                <a:gd name="connsiteX6248" fmla="*/ 682780 w 2240198"/>
                <a:gd name="connsiteY6248" fmla="*/ 562921 h 1729012"/>
                <a:gd name="connsiteX6249" fmla="*/ 681908 w 2240198"/>
                <a:gd name="connsiteY6249" fmla="*/ 565133 h 1729012"/>
                <a:gd name="connsiteX6250" fmla="*/ 680170 w 2240198"/>
                <a:gd name="connsiteY6250" fmla="*/ 567829 h 1729012"/>
                <a:gd name="connsiteX6251" fmla="*/ 677568 w 2240198"/>
                <a:gd name="connsiteY6251" fmla="*/ 571006 h 1729012"/>
                <a:gd name="connsiteX6252" fmla="*/ 672053 w 2240198"/>
                <a:gd name="connsiteY6252" fmla="*/ 576445 h 1729012"/>
                <a:gd name="connsiteX6253" fmla="*/ 671452 w 2240198"/>
                <a:gd name="connsiteY6253" fmla="*/ 578025 h 1729012"/>
                <a:gd name="connsiteX6254" fmla="*/ 673061 w 2240198"/>
                <a:gd name="connsiteY6254" fmla="*/ 578627 h 1729012"/>
                <a:gd name="connsiteX6255" fmla="*/ 675994 w 2240198"/>
                <a:gd name="connsiteY6255" fmla="*/ 578128 h 1729012"/>
                <a:gd name="connsiteX6256" fmla="*/ 680253 w 2240198"/>
                <a:gd name="connsiteY6256" fmla="*/ 576531 h 1729012"/>
                <a:gd name="connsiteX6257" fmla="*/ 685746 w 2240198"/>
                <a:gd name="connsiteY6257" fmla="*/ 575217 h 1729012"/>
                <a:gd name="connsiteX6258" fmla="*/ 692475 w 2240198"/>
                <a:gd name="connsiteY6258" fmla="*/ 574192 h 1729012"/>
                <a:gd name="connsiteX6259" fmla="*/ 694257 w 2240198"/>
                <a:gd name="connsiteY6259" fmla="*/ 575439 h 1729012"/>
                <a:gd name="connsiteX6260" fmla="*/ 695375 w 2240198"/>
                <a:gd name="connsiteY6260" fmla="*/ 575186 h 1729012"/>
                <a:gd name="connsiteX6261" fmla="*/ 697353 w 2240198"/>
                <a:gd name="connsiteY6261" fmla="*/ 573153 h 1729012"/>
                <a:gd name="connsiteX6262" fmla="*/ 697706 w 2240198"/>
                <a:gd name="connsiteY6262" fmla="*/ 571815 h 1729012"/>
                <a:gd name="connsiteX6263" fmla="*/ 697458 w 2240198"/>
                <a:gd name="connsiteY6263" fmla="*/ 570304 h 1729012"/>
                <a:gd name="connsiteX6264" fmla="*/ 697572 w 2240198"/>
                <a:gd name="connsiteY6264" fmla="*/ 567010 h 1729012"/>
                <a:gd name="connsiteX6265" fmla="*/ 698626 w 2240198"/>
                <a:gd name="connsiteY6265" fmla="*/ 565025 h 1729012"/>
                <a:gd name="connsiteX6266" fmla="*/ 702619 w 2240198"/>
                <a:gd name="connsiteY6266" fmla="*/ 560844 h 1729012"/>
                <a:gd name="connsiteX6267" fmla="*/ 704758 w 2240198"/>
                <a:gd name="connsiteY6267" fmla="*/ 559336 h 1729012"/>
                <a:gd name="connsiteX6268" fmla="*/ 708169 w 2240198"/>
                <a:gd name="connsiteY6268" fmla="*/ 558646 h 1729012"/>
                <a:gd name="connsiteX6269" fmla="*/ 716279 w 2240198"/>
                <a:gd name="connsiteY6269" fmla="*/ 559092 h 1729012"/>
                <a:gd name="connsiteX6270" fmla="*/ 723883 w 2240198"/>
                <a:gd name="connsiteY6270" fmla="*/ 561481 h 1729012"/>
                <a:gd name="connsiteX6271" fmla="*/ 734169 w 2240198"/>
                <a:gd name="connsiteY6271" fmla="*/ 563828 h 1729012"/>
                <a:gd name="connsiteX6272" fmla="*/ 749197 w 2240198"/>
                <a:gd name="connsiteY6272" fmla="*/ 569715 h 1729012"/>
                <a:gd name="connsiteX6273" fmla="*/ 753906 w 2240198"/>
                <a:gd name="connsiteY6273" fmla="*/ 572225 h 1729012"/>
                <a:gd name="connsiteX6274" fmla="*/ 754396 w 2240198"/>
                <a:gd name="connsiteY6274" fmla="*/ 574396 h 1729012"/>
                <a:gd name="connsiteX6275" fmla="*/ 751730 w 2240198"/>
                <a:gd name="connsiteY6275" fmla="*/ 579023 h 1729012"/>
                <a:gd name="connsiteX6276" fmla="*/ 745256 w 2240198"/>
                <a:gd name="connsiteY6276" fmla="*/ 585556 h 1729012"/>
                <a:gd name="connsiteX6277" fmla="*/ 740054 w 2240198"/>
                <a:gd name="connsiteY6277" fmla="*/ 587909 h 1729012"/>
                <a:gd name="connsiteX6278" fmla="*/ 738048 w 2240198"/>
                <a:gd name="connsiteY6278" fmla="*/ 589350 h 1729012"/>
                <a:gd name="connsiteX6279" fmla="*/ 741434 w 2240198"/>
                <a:gd name="connsiteY6279" fmla="*/ 590344 h 1729012"/>
                <a:gd name="connsiteX6280" fmla="*/ 743628 w 2240198"/>
                <a:gd name="connsiteY6280" fmla="*/ 592018 h 1729012"/>
                <a:gd name="connsiteX6281" fmla="*/ 746963 w 2240198"/>
                <a:gd name="connsiteY6281" fmla="*/ 589597 h 1729012"/>
                <a:gd name="connsiteX6282" fmla="*/ 749402 w 2240198"/>
                <a:gd name="connsiteY6282" fmla="*/ 586887 h 1729012"/>
                <a:gd name="connsiteX6283" fmla="*/ 752855 w 2240198"/>
                <a:gd name="connsiteY6283" fmla="*/ 584636 h 1729012"/>
                <a:gd name="connsiteX6284" fmla="*/ 754032 w 2240198"/>
                <a:gd name="connsiteY6284" fmla="*/ 584435 h 1729012"/>
                <a:gd name="connsiteX6285" fmla="*/ 754320 w 2240198"/>
                <a:gd name="connsiteY6285" fmla="*/ 584911 h 1729012"/>
                <a:gd name="connsiteX6286" fmla="*/ 753718 w 2240198"/>
                <a:gd name="connsiteY6286" fmla="*/ 586069 h 1729012"/>
                <a:gd name="connsiteX6287" fmla="*/ 753462 w 2240198"/>
                <a:gd name="connsiteY6287" fmla="*/ 587202 h 1729012"/>
                <a:gd name="connsiteX6288" fmla="*/ 753551 w 2240198"/>
                <a:gd name="connsiteY6288" fmla="*/ 588307 h 1729012"/>
                <a:gd name="connsiteX6289" fmla="*/ 753948 w 2240198"/>
                <a:gd name="connsiteY6289" fmla="*/ 588980 h 1729012"/>
                <a:gd name="connsiteX6290" fmla="*/ 756065 w 2240198"/>
                <a:gd name="connsiteY6290" fmla="*/ 589325 h 1729012"/>
                <a:gd name="connsiteX6291" fmla="*/ 757198 w 2240198"/>
                <a:gd name="connsiteY6291" fmla="*/ 588910 h 1729012"/>
                <a:gd name="connsiteX6292" fmla="*/ 761786 w 2240198"/>
                <a:gd name="connsiteY6292" fmla="*/ 585728 h 1729012"/>
                <a:gd name="connsiteX6293" fmla="*/ 766284 w 2240198"/>
                <a:gd name="connsiteY6293" fmla="*/ 580854 h 1729012"/>
                <a:gd name="connsiteX6294" fmla="*/ 773105 w 2240198"/>
                <a:gd name="connsiteY6294" fmla="*/ 577700 h 1729012"/>
                <a:gd name="connsiteX6295" fmla="*/ 774963 w 2240198"/>
                <a:gd name="connsiteY6295" fmla="*/ 576086 h 1729012"/>
                <a:gd name="connsiteX6296" fmla="*/ 780901 w 2240198"/>
                <a:gd name="connsiteY6296" fmla="*/ 574744 h 1729012"/>
                <a:gd name="connsiteX6297" fmla="*/ 780828 w 2240198"/>
                <a:gd name="connsiteY6297" fmla="*/ 573795 h 1729012"/>
                <a:gd name="connsiteX6298" fmla="*/ 781102 w 2240198"/>
                <a:gd name="connsiteY6298" fmla="*/ 570052 h 1729012"/>
                <a:gd name="connsiteX6299" fmla="*/ 779025 w 2240198"/>
                <a:gd name="connsiteY6299" fmla="*/ 568457 h 1729012"/>
                <a:gd name="connsiteX6300" fmla="*/ 772064 w 2240198"/>
                <a:gd name="connsiteY6300" fmla="*/ 565112 h 1729012"/>
                <a:gd name="connsiteX6301" fmla="*/ 768620 w 2240198"/>
                <a:gd name="connsiteY6301" fmla="*/ 561098 h 1729012"/>
                <a:gd name="connsiteX6302" fmla="*/ 769345 w 2240198"/>
                <a:gd name="connsiteY6302" fmla="*/ 558020 h 1729012"/>
                <a:gd name="connsiteX6303" fmla="*/ 773189 w 2240198"/>
                <a:gd name="connsiteY6303" fmla="*/ 558469 h 1729012"/>
                <a:gd name="connsiteX6304" fmla="*/ 783702 w 2240198"/>
                <a:gd name="connsiteY6304" fmla="*/ 558797 h 1729012"/>
                <a:gd name="connsiteX6305" fmla="*/ 785888 w 2240198"/>
                <a:gd name="connsiteY6305" fmla="*/ 559208 h 1729012"/>
                <a:gd name="connsiteX6306" fmla="*/ 795993 w 2240198"/>
                <a:gd name="connsiteY6306" fmla="*/ 564424 h 1729012"/>
                <a:gd name="connsiteX6307" fmla="*/ 799563 w 2240198"/>
                <a:gd name="connsiteY6307" fmla="*/ 567666 h 1729012"/>
                <a:gd name="connsiteX6308" fmla="*/ 802403 w 2240198"/>
                <a:gd name="connsiteY6308" fmla="*/ 569275 h 1729012"/>
                <a:gd name="connsiteX6309" fmla="*/ 808367 w 2240198"/>
                <a:gd name="connsiteY6309" fmla="*/ 571615 h 1729012"/>
                <a:gd name="connsiteX6310" fmla="*/ 810368 w 2240198"/>
                <a:gd name="connsiteY6310" fmla="*/ 573516 h 1729012"/>
                <a:gd name="connsiteX6311" fmla="*/ 811778 w 2240198"/>
                <a:gd name="connsiteY6311" fmla="*/ 574288 h 1729012"/>
                <a:gd name="connsiteX6312" fmla="*/ 812266 w 2240198"/>
                <a:gd name="connsiteY6312" fmla="*/ 575090 h 1729012"/>
                <a:gd name="connsiteX6313" fmla="*/ 811829 w 2240198"/>
                <a:gd name="connsiteY6313" fmla="*/ 575920 h 1729012"/>
                <a:gd name="connsiteX6314" fmla="*/ 811599 w 2240198"/>
                <a:gd name="connsiteY6314" fmla="*/ 577878 h 1729012"/>
                <a:gd name="connsiteX6315" fmla="*/ 812706 w 2240198"/>
                <a:gd name="connsiteY6315" fmla="*/ 578508 h 1729012"/>
                <a:gd name="connsiteX6316" fmla="*/ 816584 w 2240198"/>
                <a:gd name="connsiteY6316" fmla="*/ 579243 h 1729012"/>
                <a:gd name="connsiteX6317" fmla="*/ 817671 w 2240198"/>
                <a:gd name="connsiteY6317" fmla="*/ 580031 h 1729012"/>
                <a:gd name="connsiteX6318" fmla="*/ 819108 w 2240198"/>
                <a:gd name="connsiteY6318" fmla="*/ 582511 h 1729012"/>
                <a:gd name="connsiteX6319" fmla="*/ 820898 w 2240198"/>
                <a:gd name="connsiteY6319" fmla="*/ 586683 h 1729012"/>
                <a:gd name="connsiteX6320" fmla="*/ 822454 w 2240198"/>
                <a:gd name="connsiteY6320" fmla="*/ 591199 h 1729012"/>
                <a:gd name="connsiteX6321" fmla="*/ 824908 w 2240198"/>
                <a:gd name="connsiteY6321" fmla="*/ 599691 h 1729012"/>
                <a:gd name="connsiteX6322" fmla="*/ 829806 w 2240198"/>
                <a:gd name="connsiteY6322" fmla="*/ 610977 h 1729012"/>
                <a:gd name="connsiteX6323" fmla="*/ 831480 w 2240198"/>
                <a:gd name="connsiteY6323" fmla="*/ 618011 h 1729012"/>
                <a:gd name="connsiteX6324" fmla="*/ 832042 w 2240198"/>
                <a:gd name="connsiteY6324" fmla="*/ 619300 h 1729012"/>
                <a:gd name="connsiteX6325" fmla="*/ 833146 w 2240198"/>
                <a:gd name="connsiteY6325" fmla="*/ 620187 h 1729012"/>
                <a:gd name="connsiteX6326" fmla="*/ 836287 w 2240198"/>
                <a:gd name="connsiteY6326" fmla="*/ 621477 h 1729012"/>
                <a:gd name="connsiteX6327" fmla="*/ 838708 w 2240198"/>
                <a:gd name="connsiteY6327" fmla="*/ 623300 h 1729012"/>
                <a:gd name="connsiteX6328" fmla="*/ 841561 w 2240198"/>
                <a:gd name="connsiteY6328" fmla="*/ 623886 h 1729012"/>
                <a:gd name="connsiteX6329" fmla="*/ 842255 w 2240198"/>
                <a:gd name="connsiteY6329" fmla="*/ 623722 h 1729012"/>
                <a:gd name="connsiteX6330" fmla="*/ 842965 w 2240198"/>
                <a:gd name="connsiteY6330" fmla="*/ 622156 h 1729012"/>
                <a:gd name="connsiteX6331" fmla="*/ 844745 w 2240198"/>
                <a:gd name="connsiteY6331" fmla="*/ 619662 h 1729012"/>
                <a:gd name="connsiteX6332" fmla="*/ 853374 w 2240198"/>
                <a:gd name="connsiteY6332" fmla="*/ 614805 h 1729012"/>
                <a:gd name="connsiteX6333" fmla="*/ 853822 w 2240198"/>
                <a:gd name="connsiteY6333" fmla="*/ 614051 h 1729012"/>
                <a:gd name="connsiteX6334" fmla="*/ 852803 w 2240198"/>
                <a:gd name="connsiteY6334" fmla="*/ 612931 h 1729012"/>
                <a:gd name="connsiteX6335" fmla="*/ 852490 w 2240198"/>
                <a:gd name="connsiteY6335" fmla="*/ 612169 h 1729012"/>
                <a:gd name="connsiteX6336" fmla="*/ 852615 w 2240198"/>
                <a:gd name="connsiteY6336" fmla="*/ 611653 h 1729012"/>
                <a:gd name="connsiteX6337" fmla="*/ 854412 w 2240198"/>
                <a:gd name="connsiteY6337" fmla="*/ 611247 h 1729012"/>
                <a:gd name="connsiteX6338" fmla="*/ 848413 w 2240198"/>
                <a:gd name="connsiteY6338" fmla="*/ 605068 h 1729012"/>
                <a:gd name="connsiteX6339" fmla="*/ 844526 w 2240198"/>
                <a:gd name="connsiteY6339" fmla="*/ 599191 h 1729012"/>
                <a:gd name="connsiteX6340" fmla="*/ 842037 w 2240198"/>
                <a:gd name="connsiteY6340" fmla="*/ 591899 h 1729012"/>
                <a:gd name="connsiteX6341" fmla="*/ 841657 w 2240198"/>
                <a:gd name="connsiteY6341" fmla="*/ 589763 h 1729012"/>
                <a:gd name="connsiteX6342" fmla="*/ 841285 w 2240198"/>
                <a:gd name="connsiteY6342" fmla="*/ 585213 h 1729012"/>
                <a:gd name="connsiteX6343" fmla="*/ 840476 w 2240198"/>
                <a:gd name="connsiteY6343" fmla="*/ 584016 h 1729012"/>
                <a:gd name="connsiteX6344" fmla="*/ 839101 w 2240198"/>
                <a:gd name="connsiteY6344" fmla="*/ 582918 h 1729012"/>
                <a:gd name="connsiteX6345" fmla="*/ 838526 w 2240198"/>
                <a:gd name="connsiteY6345" fmla="*/ 581500 h 1729012"/>
                <a:gd name="connsiteX6346" fmla="*/ 838750 w 2240198"/>
                <a:gd name="connsiteY6346" fmla="*/ 579765 h 1729012"/>
                <a:gd name="connsiteX6347" fmla="*/ 838479 w 2240198"/>
                <a:gd name="connsiteY6347" fmla="*/ 578273 h 1729012"/>
                <a:gd name="connsiteX6348" fmla="*/ 836887 w 2240198"/>
                <a:gd name="connsiteY6348" fmla="*/ 575157 h 1729012"/>
                <a:gd name="connsiteX6349" fmla="*/ 830774 w 2240198"/>
                <a:gd name="connsiteY6349" fmla="*/ 553290 h 1729012"/>
                <a:gd name="connsiteX6350" fmla="*/ 830794 w 2240198"/>
                <a:gd name="connsiteY6350" fmla="*/ 551151 h 1729012"/>
                <a:gd name="connsiteX6351" fmla="*/ 831638 w 2240198"/>
                <a:gd name="connsiteY6351" fmla="*/ 549540 h 1729012"/>
                <a:gd name="connsiteX6352" fmla="*/ 833815 w 2240198"/>
                <a:gd name="connsiteY6352" fmla="*/ 548616 h 1729012"/>
                <a:gd name="connsiteX6353" fmla="*/ 837324 w 2240198"/>
                <a:gd name="connsiteY6353" fmla="*/ 548388 h 1729012"/>
                <a:gd name="connsiteX6354" fmla="*/ 838433 w 2240198"/>
                <a:gd name="connsiteY6354" fmla="*/ 547883 h 1729012"/>
                <a:gd name="connsiteX6355" fmla="*/ 837143 w 2240198"/>
                <a:gd name="connsiteY6355" fmla="*/ 547106 h 1729012"/>
                <a:gd name="connsiteX6356" fmla="*/ 834850 w 2240198"/>
                <a:gd name="connsiteY6356" fmla="*/ 544755 h 1729012"/>
                <a:gd name="connsiteX6357" fmla="*/ 834548 w 2240198"/>
                <a:gd name="connsiteY6357" fmla="*/ 543668 h 1729012"/>
                <a:gd name="connsiteX6358" fmla="*/ 836078 w 2240198"/>
                <a:gd name="connsiteY6358" fmla="*/ 541473 h 1729012"/>
                <a:gd name="connsiteX6359" fmla="*/ 843914 w 2240198"/>
                <a:gd name="connsiteY6359" fmla="*/ 542433 h 1729012"/>
                <a:gd name="connsiteX6360" fmla="*/ 849587 w 2240198"/>
                <a:gd name="connsiteY6360" fmla="*/ 544416 h 1729012"/>
                <a:gd name="connsiteX6361" fmla="*/ 859294 w 2240198"/>
                <a:gd name="connsiteY6361" fmla="*/ 549098 h 1729012"/>
                <a:gd name="connsiteX6362" fmla="*/ 860285 w 2240198"/>
                <a:gd name="connsiteY6362" fmla="*/ 548842 h 1729012"/>
                <a:gd name="connsiteX6363" fmla="*/ 861346 w 2240198"/>
                <a:gd name="connsiteY6363" fmla="*/ 546512 h 1729012"/>
                <a:gd name="connsiteX6364" fmla="*/ 863419 w 2240198"/>
                <a:gd name="connsiteY6364" fmla="*/ 545017 h 1729012"/>
                <a:gd name="connsiteX6365" fmla="*/ 866523 w 2240198"/>
                <a:gd name="connsiteY6365" fmla="*/ 545510 h 1729012"/>
                <a:gd name="connsiteX6366" fmla="*/ 875302 w 2240198"/>
                <a:gd name="connsiteY6366" fmla="*/ 548901 h 1729012"/>
                <a:gd name="connsiteX6367" fmla="*/ 885457 w 2240198"/>
                <a:gd name="connsiteY6367" fmla="*/ 554934 h 1729012"/>
                <a:gd name="connsiteX6368" fmla="*/ 892277 w 2240198"/>
                <a:gd name="connsiteY6368" fmla="*/ 557901 h 1729012"/>
                <a:gd name="connsiteX6369" fmla="*/ 897058 w 2240198"/>
                <a:gd name="connsiteY6369" fmla="*/ 561923 h 1729012"/>
                <a:gd name="connsiteX6370" fmla="*/ 900309 w 2240198"/>
                <a:gd name="connsiteY6370" fmla="*/ 565712 h 1729012"/>
                <a:gd name="connsiteX6371" fmla="*/ 902358 w 2240198"/>
                <a:gd name="connsiteY6371" fmla="*/ 568635 h 1729012"/>
                <a:gd name="connsiteX6372" fmla="*/ 902446 w 2240198"/>
                <a:gd name="connsiteY6372" fmla="*/ 569776 h 1729012"/>
                <a:gd name="connsiteX6373" fmla="*/ 901978 w 2240198"/>
                <a:gd name="connsiteY6373" fmla="*/ 570943 h 1729012"/>
                <a:gd name="connsiteX6374" fmla="*/ 902460 w 2240198"/>
                <a:gd name="connsiteY6374" fmla="*/ 572465 h 1729012"/>
                <a:gd name="connsiteX6375" fmla="*/ 903894 w 2240198"/>
                <a:gd name="connsiteY6375" fmla="*/ 574340 h 1729012"/>
                <a:gd name="connsiteX6376" fmla="*/ 904689 w 2240198"/>
                <a:gd name="connsiteY6376" fmla="*/ 576016 h 1729012"/>
                <a:gd name="connsiteX6377" fmla="*/ 905339 w 2240198"/>
                <a:gd name="connsiteY6377" fmla="*/ 579581 h 1729012"/>
                <a:gd name="connsiteX6378" fmla="*/ 906622 w 2240198"/>
                <a:gd name="connsiteY6378" fmla="*/ 584219 h 1729012"/>
                <a:gd name="connsiteX6379" fmla="*/ 906948 w 2240198"/>
                <a:gd name="connsiteY6379" fmla="*/ 586535 h 1729012"/>
                <a:gd name="connsiteX6380" fmla="*/ 915969 w 2240198"/>
                <a:gd name="connsiteY6380" fmla="*/ 607216 h 1729012"/>
                <a:gd name="connsiteX6381" fmla="*/ 917694 w 2240198"/>
                <a:gd name="connsiteY6381" fmla="*/ 610846 h 1729012"/>
                <a:gd name="connsiteX6382" fmla="*/ 918793 w 2240198"/>
                <a:gd name="connsiteY6382" fmla="*/ 612527 h 1729012"/>
                <a:gd name="connsiteX6383" fmla="*/ 925098 w 2240198"/>
                <a:gd name="connsiteY6383" fmla="*/ 620455 h 1729012"/>
                <a:gd name="connsiteX6384" fmla="*/ 928455 w 2240198"/>
                <a:gd name="connsiteY6384" fmla="*/ 626196 h 1729012"/>
                <a:gd name="connsiteX6385" fmla="*/ 928779 w 2240198"/>
                <a:gd name="connsiteY6385" fmla="*/ 630029 h 1729012"/>
                <a:gd name="connsiteX6386" fmla="*/ 929230 w 2240198"/>
                <a:gd name="connsiteY6386" fmla="*/ 631125 h 1729012"/>
                <a:gd name="connsiteX6387" fmla="*/ 929377 w 2240198"/>
                <a:gd name="connsiteY6387" fmla="*/ 632889 h 1729012"/>
                <a:gd name="connsiteX6388" fmla="*/ 929218 w 2240198"/>
                <a:gd name="connsiteY6388" fmla="*/ 635313 h 1729012"/>
                <a:gd name="connsiteX6389" fmla="*/ 928481 w 2240198"/>
                <a:gd name="connsiteY6389" fmla="*/ 637391 h 1729012"/>
                <a:gd name="connsiteX6390" fmla="*/ 927165 w 2240198"/>
                <a:gd name="connsiteY6390" fmla="*/ 639128 h 1729012"/>
                <a:gd name="connsiteX6391" fmla="*/ 925891 w 2240198"/>
                <a:gd name="connsiteY6391" fmla="*/ 641569 h 1729012"/>
                <a:gd name="connsiteX6392" fmla="*/ 923963 w 2240198"/>
                <a:gd name="connsiteY6392" fmla="*/ 646939 h 1729012"/>
                <a:gd name="connsiteX6393" fmla="*/ 923798 w 2240198"/>
                <a:gd name="connsiteY6393" fmla="*/ 648255 h 1729012"/>
                <a:gd name="connsiteX6394" fmla="*/ 925187 w 2240198"/>
                <a:gd name="connsiteY6394" fmla="*/ 650101 h 1729012"/>
                <a:gd name="connsiteX6395" fmla="*/ 934009 w 2240198"/>
                <a:gd name="connsiteY6395" fmla="*/ 656447 h 1729012"/>
                <a:gd name="connsiteX6396" fmla="*/ 939420 w 2240198"/>
                <a:gd name="connsiteY6396" fmla="*/ 664042 h 1729012"/>
                <a:gd name="connsiteX6397" fmla="*/ 941956 w 2240198"/>
                <a:gd name="connsiteY6397" fmla="*/ 665372 h 1729012"/>
                <a:gd name="connsiteX6398" fmla="*/ 948774 w 2240198"/>
                <a:gd name="connsiteY6398" fmla="*/ 670106 h 1729012"/>
                <a:gd name="connsiteX6399" fmla="*/ 956125 w 2240198"/>
                <a:gd name="connsiteY6399" fmla="*/ 672788 h 1729012"/>
                <a:gd name="connsiteX6400" fmla="*/ 958597 w 2240198"/>
                <a:gd name="connsiteY6400" fmla="*/ 673942 h 1729012"/>
                <a:gd name="connsiteX6401" fmla="*/ 960934 w 2240198"/>
                <a:gd name="connsiteY6401" fmla="*/ 675641 h 1729012"/>
                <a:gd name="connsiteX6402" fmla="*/ 961640 w 2240198"/>
                <a:gd name="connsiteY6402" fmla="*/ 675705 h 1729012"/>
                <a:gd name="connsiteX6403" fmla="*/ 963059 w 2240198"/>
                <a:gd name="connsiteY6403" fmla="*/ 675385 h 1729012"/>
                <a:gd name="connsiteX6404" fmla="*/ 963465 w 2240198"/>
                <a:gd name="connsiteY6404" fmla="*/ 674922 h 1729012"/>
                <a:gd name="connsiteX6405" fmla="*/ 963566 w 2240198"/>
                <a:gd name="connsiteY6405" fmla="*/ 674233 h 1729012"/>
                <a:gd name="connsiteX6406" fmla="*/ 961496 w 2240198"/>
                <a:gd name="connsiteY6406" fmla="*/ 670647 h 1729012"/>
                <a:gd name="connsiteX6407" fmla="*/ 961351 w 2240198"/>
                <a:gd name="connsiteY6407" fmla="*/ 669240 h 1729012"/>
                <a:gd name="connsiteX6408" fmla="*/ 962340 w 2240198"/>
                <a:gd name="connsiteY6408" fmla="*/ 668993 h 1729012"/>
                <a:gd name="connsiteX6409" fmla="*/ 969924 w 2240198"/>
                <a:gd name="connsiteY6409" fmla="*/ 675108 h 1729012"/>
                <a:gd name="connsiteX6410" fmla="*/ 974014 w 2240198"/>
                <a:gd name="connsiteY6410" fmla="*/ 677538 h 1729012"/>
                <a:gd name="connsiteX6411" fmla="*/ 979603 w 2240198"/>
                <a:gd name="connsiteY6411" fmla="*/ 680082 h 1729012"/>
                <a:gd name="connsiteX6412" fmla="*/ 989210 w 2240198"/>
                <a:gd name="connsiteY6412" fmla="*/ 685936 h 1729012"/>
                <a:gd name="connsiteX6413" fmla="*/ 990545 w 2240198"/>
                <a:gd name="connsiteY6413" fmla="*/ 686416 h 1729012"/>
                <a:gd name="connsiteX6414" fmla="*/ 995743 w 2240198"/>
                <a:gd name="connsiteY6414" fmla="*/ 685877 h 1729012"/>
                <a:gd name="connsiteX6415" fmla="*/ 997161 w 2240198"/>
                <a:gd name="connsiteY6415" fmla="*/ 686246 h 1729012"/>
                <a:gd name="connsiteX6416" fmla="*/ 998052 w 2240198"/>
                <a:gd name="connsiteY6416" fmla="*/ 686825 h 1729012"/>
                <a:gd name="connsiteX6417" fmla="*/ 998416 w 2240198"/>
                <a:gd name="connsiteY6417" fmla="*/ 687612 h 1729012"/>
                <a:gd name="connsiteX6418" fmla="*/ 998627 w 2240198"/>
                <a:gd name="connsiteY6418" fmla="*/ 691069 h 1729012"/>
                <a:gd name="connsiteX6419" fmla="*/ 1000049 w 2240198"/>
                <a:gd name="connsiteY6419" fmla="*/ 692771 h 1729012"/>
                <a:gd name="connsiteX6420" fmla="*/ 1008246 w 2240198"/>
                <a:gd name="connsiteY6420" fmla="*/ 692045 h 1729012"/>
                <a:gd name="connsiteX6421" fmla="*/ 1010543 w 2240198"/>
                <a:gd name="connsiteY6421" fmla="*/ 692197 h 1729012"/>
                <a:gd name="connsiteX6422" fmla="*/ 1012008 w 2240198"/>
                <a:gd name="connsiteY6422" fmla="*/ 692740 h 1729012"/>
                <a:gd name="connsiteX6423" fmla="*/ 1013227 w 2240198"/>
                <a:gd name="connsiteY6423" fmla="*/ 693872 h 1729012"/>
                <a:gd name="connsiteX6424" fmla="*/ 1014985 w 2240198"/>
                <a:gd name="connsiteY6424" fmla="*/ 697563 h 1729012"/>
                <a:gd name="connsiteX6425" fmla="*/ 1016615 w 2240198"/>
                <a:gd name="connsiteY6425" fmla="*/ 704825 h 1729012"/>
                <a:gd name="connsiteX6426" fmla="*/ 1016701 w 2240198"/>
                <a:gd name="connsiteY6426" fmla="*/ 707422 h 1729012"/>
                <a:gd name="connsiteX6427" fmla="*/ 1015955 w 2240198"/>
                <a:gd name="connsiteY6427" fmla="*/ 711772 h 1729012"/>
                <a:gd name="connsiteX6428" fmla="*/ 1014757 w 2240198"/>
                <a:gd name="connsiteY6428" fmla="*/ 713368 h 1729012"/>
                <a:gd name="connsiteX6429" fmla="*/ 1013202 w 2240198"/>
                <a:gd name="connsiteY6429" fmla="*/ 713873 h 1729012"/>
                <a:gd name="connsiteX6430" fmla="*/ 1008827 w 2240198"/>
                <a:gd name="connsiteY6430" fmla="*/ 713380 h 1729012"/>
                <a:gd name="connsiteX6431" fmla="*/ 1005757 w 2240198"/>
                <a:gd name="connsiteY6431" fmla="*/ 712000 h 1729012"/>
                <a:gd name="connsiteX6432" fmla="*/ 1004165 w 2240198"/>
                <a:gd name="connsiteY6432" fmla="*/ 710241 h 1729012"/>
                <a:gd name="connsiteX6433" fmla="*/ 1002728 w 2240198"/>
                <a:gd name="connsiteY6433" fmla="*/ 706420 h 1729012"/>
                <a:gd name="connsiteX6434" fmla="*/ 1002041 w 2240198"/>
                <a:gd name="connsiteY6434" fmla="*/ 705684 h 1729012"/>
                <a:gd name="connsiteX6435" fmla="*/ 1001418 w 2240198"/>
                <a:gd name="connsiteY6435" fmla="*/ 706453 h 1729012"/>
                <a:gd name="connsiteX6436" fmla="*/ 999981 w 2240198"/>
                <a:gd name="connsiteY6436" fmla="*/ 709953 h 1729012"/>
                <a:gd name="connsiteX6437" fmla="*/ 999032 w 2240198"/>
                <a:gd name="connsiteY6437" fmla="*/ 711502 h 1729012"/>
                <a:gd name="connsiteX6438" fmla="*/ 997888 w 2240198"/>
                <a:gd name="connsiteY6438" fmla="*/ 712529 h 1729012"/>
                <a:gd name="connsiteX6439" fmla="*/ 995709 w 2240198"/>
                <a:gd name="connsiteY6439" fmla="*/ 712275 h 1729012"/>
                <a:gd name="connsiteX6440" fmla="*/ 992497 w 2240198"/>
                <a:gd name="connsiteY6440" fmla="*/ 710746 h 1729012"/>
                <a:gd name="connsiteX6441" fmla="*/ 986470 w 2240198"/>
                <a:gd name="connsiteY6441" fmla="*/ 706840 h 1729012"/>
                <a:gd name="connsiteX6442" fmla="*/ 984336 w 2240198"/>
                <a:gd name="connsiteY6442" fmla="*/ 705876 h 1729012"/>
                <a:gd name="connsiteX6443" fmla="*/ 983011 w 2240198"/>
                <a:gd name="connsiteY6443" fmla="*/ 706043 h 1729012"/>
                <a:gd name="connsiteX6444" fmla="*/ 980127 w 2240198"/>
                <a:gd name="connsiteY6444" fmla="*/ 707365 h 1729012"/>
                <a:gd name="connsiteX6445" fmla="*/ 975679 w 2240198"/>
                <a:gd name="connsiteY6445" fmla="*/ 709839 h 1729012"/>
                <a:gd name="connsiteX6446" fmla="*/ 973843 w 2240198"/>
                <a:gd name="connsiteY6446" fmla="*/ 711655 h 1729012"/>
                <a:gd name="connsiteX6447" fmla="*/ 974621 w 2240198"/>
                <a:gd name="connsiteY6447" fmla="*/ 712814 h 1729012"/>
                <a:gd name="connsiteX6448" fmla="*/ 975135 w 2240198"/>
                <a:gd name="connsiteY6448" fmla="*/ 714273 h 1729012"/>
                <a:gd name="connsiteX6449" fmla="*/ 975391 w 2240198"/>
                <a:gd name="connsiteY6449" fmla="*/ 716029 h 1729012"/>
                <a:gd name="connsiteX6450" fmla="*/ 975238 w 2240198"/>
                <a:gd name="connsiteY6450" fmla="*/ 717321 h 1729012"/>
                <a:gd name="connsiteX6451" fmla="*/ 974674 w 2240198"/>
                <a:gd name="connsiteY6451" fmla="*/ 718152 h 1729012"/>
                <a:gd name="connsiteX6452" fmla="*/ 973204 w 2240198"/>
                <a:gd name="connsiteY6452" fmla="*/ 719144 h 1729012"/>
                <a:gd name="connsiteX6453" fmla="*/ 970098 w 2240198"/>
                <a:gd name="connsiteY6453" fmla="*/ 719313 h 1729012"/>
                <a:gd name="connsiteX6454" fmla="*/ 965630 w 2240198"/>
                <a:gd name="connsiteY6454" fmla="*/ 718554 h 1729012"/>
                <a:gd name="connsiteX6455" fmla="*/ 962096 w 2240198"/>
                <a:gd name="connsiteY6455" fmla="*/ 717204 h 1729012"/>
                <a:gd name="connsiteX6456" fmla="*/ 955908 w 2240198"/>
                <a:gd name="connsiteY6456" fmla="*/ 713619 h 1729012"/>
                <a:gd name="connsiteX6457" fmla="*/ 954486 w 2240198"/>
                <a:gd name="connsiteY6457" fmla="*/ 713123 h 1729012"/>
                <a:gd name="connsiteX6458" fmla="*/ 952573 w 2240198"/>
                <a:gd name="connsiteY6458" fmla="*/ 713919 h 1729012"/>
                <a:gd name="connsiteX6459" fmla="*/ 951809 w 2240198"/>
                <a:gd name="connsiteY6459" fmla="*/ 714963 h 1729012"/>
                <a:gd name="connsiteX6460" fmla="*/ 952998 w 2240198"/>
                <a:gd name="connsiteY6460" fmla="*/ 716451 h 1729012"/>
                <a:gd name="connsiteX6461" fmla="*/ 956141 w 2240198"/>
                <a:gd name="connsiteY6461" fmla="*/ 718383 h 1729012"/>
                <a:gd name="connsiteX6462" fmla="*/ 959985 w 2240198"/>
                <a:gd name="connsiteY6462" fmla="*/ 721580 h 1729012"/>
                <a:gd name="connsiteX6463" fmla="*/ 961014 w 2240198"/>
                <a:gd name="connsiteY6463" fmla="*/ 722204 h 1729012"/>
                <a:gd name="connsiteX6464" fmla="*/ 962006 w 2240198"/>
                <a:gd name="connsiteY6464" fmla="*/ 722135 h 1729012"/>
                <a:gd name="connsiteX6465" fmla="*/ 962356 w 2240198"/>
                <a:gd name="connsiteY6465" fmla="*/ 722723 h 1729012"/>
                <a:gd name="connsiteX6466" fmla="*/ 962790 w 2240198"/>
                <a:gd name="connsiteY6466" fmla="*/ 724440 h 1729012"/>
                <a:gd name="connsiteX6467" fmla="*/ 962588 w 2240198"/>
                <a:gd name="connsiteY6467" fmla="*/ 727393 h 1729012"/>
                <a:gd name="connsiteX6468" fmla="*/ 960740 w 2240198"/>
                <a:gd name="connsiteY6468" fmla="*/ 733275 h 1729012"/>
                <a:gd name="connsiteX6469" fmla="*/ 960548 w 2240198"/>
                <a:gd name="connsiteY6469" fmla="*/ 734675 h 1729012"/>
                <a:gd name="connsiteX6470" fmla="*/ 961306 w 2240198"/>
                <a:gd name="connsiteY6470" fmla="*/ 734344 h 1729012"/>
                <a:gd name="connsiteX6471" fmla="*/ 966536 w 2240198"/>
                <a:gd name="connsiteY6471" fmla="*/ 728568 h 1729012"/>
                <a:gd name="connsiteX6472" fmla="*/ 969240 w 2240198"/>
                <a:gd name="connsiteY6472" fmla="*/ 726944 h 1729012"/>
                <a:gd name="connsiteX6473" fmla="*/ 975096 w 2240198"/>
                <a:gd name="connsiteY6473" fmla="*/ 724396 h 1729012"/>
                <a:gd name="connsiteX6474" fmla="*/ 977625 w 2240198"/>
                <a:gd name="connsiteY6474" fmla="*/ 722520 h 1729012"/>
                <a:gd name="connsiteX6475" fmla="*/ 985114 w 2240198"/>
                <a:gd name="connsiteY6475" fmla="*/ 722010 h 1729012"/>
                <a:gd name="connsiteX6476" fmla="*/ 987788 w 2240198"/>
                <a:gd name="connsiteY6476" fmla="*/ 723034 h 1729012"/>
                <a:gd name="connsiteX6477" fmla="*/ 989505 w 2240198"/>
                <a:gd name="connsiteY6477" fmla="*/ 724817 h 1729012"/>
                <a:gd name="connsiteX6478" fmla="*/ 989574 w 2240198"/>
                <a:gd name="connsiteY6478" fmla="*/ 725625 h 1729012"/>
                <a:gd name="connsiteX6479" fmla="*/ 987612 w 2240198"/>
                <a:gd name="connsiteY6479" fmla="*/ 727711 h 1729012"/>
                <a:gd name="connsiteX6480" fmla="*/ 987256 w 2240198"/>
                <a:gd name="connsiteY6480" fmla="*/ 728756 h 1729012"/>
                <a:gd name="connsiteX6481" fmla="*/ 987155 w 2240198"/>
                <a:gd name="connsiteY6481" fmla="*/ 730075 h 1729012"/>
                <a:gd name="connsiteX6482" fmla="*/ 987330 w 2240198"/>
                <a:gd name="connsiteY6482" fmla="*/ 731258 h 1729012"/>
                <a:gd name="connsiteX6483" fmla="*/ 987784 w 2240198"/>
                <a:gd name="connsiteY6483" fmla="*/ 732306 h 1729012"/>
                <a:gd name="connsiteX6484" fmla="*/ 989131 w 2240198"/>
                <a:gd name="connsiteY6484" fmla="*/ 733272 h 1729012"/>
                <a:gd name="connsiteX6485" fmla="*/ 991511 w 2240198"/>
                <a:gd name="connsiteY6485" fmla="*/ 732850 h 1729012"/>
                <a:gd name="connsiteX6486" fmla="*/ 992177 w 2240198"/>
                <a:gd name="connsiteY6486" fmla="*/ 733098 h 1729012"/>
                <a:gd name="connsiteX6487" fmla="*/ 993454 w 2240198"/>
                <a:gd name="connsiteY6487" fmla="*/ 734118 h 1729012"/>
                <a:gd name="connsiteX6488" fmla="*/ 994297 w 2240198"/>
                <a:gd name="connsiteY6488" fmla="*/ 735699 h 1729012"/>
                <a:gd name="connsiteX6489" fmla="*/ 994334 w 2240198"/>
                <a:gd name="connsiteY6489" fmla="*/ 737899 h 1729012"/>
                <a:gd name="connsiteX6490" fmla="*/ 992576 w 2240198"/>
                <a:gd name="connsiteY6490" fmla="*/ 742719 h 1729012"/>
                <a:gd name="connsiteX6491" fmla="*/ 989445 w 2240198"/>
                <a:gd name="connsiteY6491" fmla="*/ 744294 h 1729012"/>
                <a:gd name="connsiteX6492" fmla="*/ 979855 w 2240198"/>
                <a:gd name="connsiteY6492" fmla="*/ 747209 h 1729012"/>
                <a:gd name="connsiteX6493" fmla="*/ 976569 w 2240198"/>
                <a:gd name="connsiteY6493" fmla="*/ 748715 h 1729012"/>
                <a:gd name="connsiteX6494" fmla="*/ 970232 w 2240198"/>
                <a:gd name="connsiteY6494" fmla="*/ 749774 h 1729012"/>
                <a:gd name="connsiteX6495" fmla="*/ 967784 w 2240198"/>
                <a:gd name="connsiteY6495" fmla="*/ 751180 h 1729012"/>
                <a:gd name="connsiteX6496" fmla="*/ 966258 w 2240198"/>
                <a:gd name="connsiteY6496" fmla="*/ 751607 h 1729012"/>
                <a:gd name="connsiteX6497" fmla="*/ 959483 w 2240198"/>
                <a:gd name="connsiteY6497" fmla="*/ 751382 h 1729012"/>
                <a:gd name="connsiteX6498" fmla="*/ 951724 w 2240198"/>
                <a:gd name="connsiteY6498" fmla="*/ 752274 h 1729012"/>
                <a:gd name="connsiteX6499" fmla="*/ 942796 w 2240198"/>
                <a:gd name="connsiteY6499" fmla="*/ 750528 h 1729012"/>
                <a:gd name="connsiteX6500" fmla="*/ 936532 w 2240198"/>
                <a:gd name="connsiteY6500" fmla="*/ 749749 h 1729012"/>
                <a:gd name="connsiteX6501" fmla="*/ 929298 w 2240198"/>
                <a:gd name="connsiteY6501" fmla="*/ 746973 h 1729012"/>
                <a:gd name="connsiteX6502" fmla="*/ 926572 w 2240198"/>
                <a:gd name="connsiteY6502" fmla="*/ 747673 h 1729012"/>
                <a:gd name="connsiteX6503" fmla="*/ 923751 w 2240198"/>
                <a:gd name="connsiteY6503" fmla="*/ 749459 h 1729012"/>
                <a:gd name="connsiteX6504" fmla="*/ 910200 w 2240198"/>
                <a:gd name="connsiteY6504" fmla="*/ 747318 h 1729012"/>
                <a:gd name="connsiteX6505" fmla="*/ 908591 w 2240198"/>
                <a:gd name="connsiteY6505" fmla="*/ 745766 h 1729012"/>
                <a:gd name="connsiteX6506" fmla="*/ 909122 w 2240198"/>
                <a:gd name="connsiteY6506" fmla="*/ 744756 h 1729012"/>
                <a:gd name="connsiteX6507" fmla="*/ 912335 w 2240198"/>
                <a:gd name="connsiteY6507" fmla="*/ 741451 h 1729012"/>
                <a:gd name="connsiteX6508" fmla="*/ 912539 w 2240198"/>
                <a:gd name="connsiteY6508" fmla="*/ 740758 h 1729012"/>
                <a:gd name="connsiteX6509" fmla="*/ 912388 w 2240198"/>
                <a:gd name="connsiteY6509" fmla="*/ 740172 h 1729012"/>
                <a:gd name="connsiteX6510" fmla="*/ 906231 w 2240198"/>
                <a:gd name="connsiteY6510" fmla="*/ 739604 h 1729012"/>
                <a:gd name="connsiteX6511" fmla="*/ 899368 w 2240198"/>
                <a:gd name="connsiteY6511" fmla="*/ 737843 h 1729012"/>
                <a:gd name="connsiteX6512" fmla="*/ 892473 w 2240198"/>
                <a:gd name="connsiteY6512" fmla="*/ 736969 h 1729012"/>
                <a:gd name="connsiteX6513" fmla="*/ 887314 w 2240198"/>
                <a:gd name="connsiteY6513" fmla="*/ 737217 h 1729012"/>
                <a:gd name="connsiteX6514" fmla="*/ 883955 w 2240198"/>
                <a:gd name="connsiteY6514" fmla="*/ 736574 h 1729012"/>
                <a:gd name="connsiteX6515" fmla="*/ 880677 w 2240198"/>
                <a:gd name="connsiteY6515" fmla="*/ 735123 h 1729012"/>
                <a:gd name="connsiteX6516" fmla="*/ 878876 w 2240198"/>
                <a:gd name="connsiteY6516" fmla="*/ 733794 h 1729012"/>
                <a:gd name="connsiteX6517" fmla="*/ 878553 w 2240198"/>
                <a:gd name="connsiteY6517" fmla="*/ 732594 h 1729012"/>
                <a:gd name="connsiteX6518" fmla="*/ 878508 w 2240198"/>
                <a:gd name="connsiteY6518" fmla="*/ 731281 h 1729012"/>
                <a:gd name="connsiteX6519" fmla="*/ 878800 w 2240198"/>
                <a:gd name="connsiteY6519" fmla="*/ 728643 h 1729012"/>
                <a:gd name="connsiteX6520" fmla="*/ 878365 w 2240198"/>
                <a:gd name="connsiteY6520" fmla="*/ 726789 h 1729012"/>
                <a:gd name="connsiteX6521" fmla="*/ 876879 w 2240198"/>
                <a:gd name="connsiteY6521" fmla="*/ 725324 h 1729012"/>
                <a:gd name="connsiteX6522" fmla="*/ 873840 w 2240198"/>
                <a:gd name="connsiteY6522" fmla="*/ 724011 h 1729012"/>
                <a:gd name="connsiteX6523" fmla="*/ 870816 w 2240198"/>
                <a:gd name="connsiteY6523" fmla="*/ 724167 h 1729012"/>
                <a:gd name="connsiteX6524" fmla="*/ 868258 w 2240198"/>
                <a:gd name="connsiteY6524" fmla="*/ 725621 h 1729012"/>
                <a:gd name="connsiteX6525" fmla="*/ 865827 w 2240198"/>
                <a:gd name="connsiteY6525" fmla="*/ 728300 h 1729012"/>
                <a:gd name="connsiteX6526" fmla="*/ 861324 w 2240198"/>
                <a:gd name="connsiteY6526" fmla="*/ 735738 h 1729012"/>
                <a:gd name="connsiteX6527" fmla="*/ 859064 w 2240198"/>
                <a:gd name="connsiteY6527" fmla="*/ 737008 h 1729012"/>
                <a:gd name="connsiteX6528" fmla="*/ 853210 w 2240198"/>
                <a:gd name="connsiteY6528" fmla="*/ 742376 h 1729012"/>
                <a:gd name="connsiteX6529" fmla="*/ 851017 w 2240198"/>
                <a:gd name="connsiteY6529" fmla="*/ 743689 h 1729012"/>
                <a:gd name="connsiteX6530" fmla="*/ 840279 w 2240198"/>
                <a:gd name="connsiteY6530" fmla="*/ 745811 h 1729012"/>
                <a:gd name="connsiteX6531" fmla="*/ 827559 w 2240198"/>
                <a:gd name="connsiteY6531" fmla="*/ 746680 h 1729012"/>
                <a:gd name="connsiteX6532" fmla="*/ 822804 w 2240198"/>
                <a:gd name="connsiteY6532" fmla="*/ 748337 h 1729012"/>
                <a:gd name="connsiteX6533" fmla="*/ 818294 w 2240198"/>
                <a:gd name="connsiteY6533" fmla="*/ 751438 h 1729012"/>
                <a:gd name="connsiteX6534" fmla="*/ 812830 w 2240198"/>
                <a:gd name="connsiteY6534" fmla="*/ 754430 h 1729012"/>
                <a:gd name="connsiteX6535" fmla="*/ 799487 w 2240198"/>
                <a:gd name="connsiteY6535" fmla="*/ 758102 h 1729012"/>
                <a:gd name="connsiteX6536" fmla="*/ 787154 w 2240198"/>
                <a:gd name="connsiteY6536" fmla="*/ 760150 h 1729012"/>
                <a:gd name="connsiteX6537" fmla="*/ 774245 w 2240198"/>
                <a:gd name="connsiteY6537" fmla="*/ 761044 h 1729012"/>
                <a:gd name="connsiteX6538" fmla="*/ 764598 w 2240198"/>
                <a:gd name="connsiteY6538" fmla="*/ 762436 h 1729012"/>
                <a:gd name="connsiteX6539" fmla="*/ 761829 w 2240198"/>
                <a:gd name="connsiteY6539" fmla="*/ 761741 h 1729012"/>
                <a:gd name="connsiteX6540" fmla="*/ 757510 w 2240198"/>
                <a:gd name="connsiteY6540" fmla="*/ 761999 h 1729012"/>
                <a:gd name="connsiteX6541" fmla="*/ 752861 w 2240198"/>
                <a:gd name="connsiteY6541" fmla="*/ 764038 h 1729012"/>
                <a:gd name="connsiteX6542" fmla="*/ 747609 w 2240198"/>
                <a:gd name="connsiteY6542" fmla="*/ 764434 h 1729012"/>
                <a:gd name="connsiteX6543" fmla="*/ 727657 w 2240198"/>
                <a:gd name="connsiteY6543" fmla="*/ 765175 h 1729012"/>
                <a:gd name="connsiteX6544" fmla="*/ 718496 w 2240198"/>
                <a:gd name="connsiteY6544" fmla="*/ 766537 h 1729012"/>
                <a:gd name="connsiteX6545" fmla="*/ 713475 w 2240198"/>
                <a:gd name="connsiteY6545" fmla="*/ 766896 h 1729012"/>
                <a:gd name="connsiteX6546" fmla="*/ 709538 w 2240198"/>
                <a:gd name="connsiteY6546" fmla="*/ 766709 h 1729012"/>
                <a:gd name="connsiteX6547" fmla="*/ 706794 w 2240198"/>
                <a:gd name="connsiteY6547" fmla="*/ 766146 h 1729012"/>
                <a:gd name="connsiteX6548" fmla="*/ 704166 w 2240198"/>
                <a:gd name="connsiteY6548" fmla="*/ 764331 h 1729012"/>
                <a:gd name="connsiteX6549" fmla="*/ 701460 w 2240198"/>
                <a:gd name="connsiteY6549" fmla="*/ 761539 h 1729012"/>
                <a:gd name="connsiteX6550" fmla="*/ 695964 w 2240198"/>
                <a:gd name="connsiteY6550" fmla="*/ 754087 h 1729012"/>
                <a:gd name="connsiteX6551" fmla="*/ 694392 w 2240198"/>
                <a:gd name="connsiteY6551" fmla="*/ 750950 h 1729012"/>
                <a:gd name="connsiteX6552" fmla="*/ 695008 w 2240198"/>
                <a:gd name="connsiteY6552" fmla="*/ 745567 h 1729012"/>
                <a:gd name="connsiteX6553" fmla="*/ 694602 w 2240198"/>
                <a:gd name="connsiteY6553" fmla="*/ 742443 h 1729012"/>
                <a:gd name="connsiteX6554" fmla="*/ 692774 w 2240198"/>
                <a:gd name="connsiteY6554" fmla="*/ 735685 h 1729012"/>
                <a:gd name="connsiteX6555" fmla="*/ 692432 w 2240198"/>
                <a:gd name="connsiteY6555" fmla="*/ 735103 h 1729012"/>
                <a:gd name="connsiteX6556" fmla="*/ 682814 w 2240198"/>
                <a:gd name="connsiteY6556" fmla="*/ 732590 h 1729012"/>
                <a:gd name="connsiteX6557" fmla="*/ 676487 w 2240198"/>
                <a:gd name="connsiteY6557" fmla="*/ 731794 h 1729012"/>
                <a:gd name="connsiteX6558" fmla="*/ 666950 w 2240198"/>
                <a:gd name="connsiteY6558" fmla="*/ 731633 h 1729012"/>
                <a:gd name="connsiteX6559" fmla="*/ 655288 w 2240198"/>
                <a:gd name="connsiteY6559" fmla="*/ 731990 h 1729012"/>
                <a:gd name="connsiteX6560" fmla="*/ 643646 w 2240198"/>
                <a:gd name="connsiteY6560" fmla="*/ 731177 h 1729012"/>
                <a:gd name="connsiteX6561" fmla="*/ 637494 w 2240198"/>
                <a:gd name="connsiteY6561" fmla="*/ 730256 h 1729012"/>
                <a:gd name="connsiteX6562" fmla="*/ 631388 w 2240198"/>
                <a:gd name="connsiteY6562" fmla="*/ 728754 h 1729012"/>
                <a:gd name="connsiteX6563" fmla="*/ 620943 w 2240198"/>
                <a:gd name="connsiteY6563" fmla="*/ 724839 h 1729012"/>
                <a:gd name="connsiteX6564" fmla="*/ 620352 w 2240198"/>
                <a:gd name="connsiteY6564" fmla="*/ 724437 h 1729012"/>
                <a:gd name="connsiteX6565" fmla="*/ 619541 w 2240198"/>
                <a:gd name="connsiteY6565" fmla="*/ 723131 h 1729012"/>
                <a:gd name="connsiteX6566" fmla="*/ 618509 w 2240198"/>
                <a:gd name="connsiteY6566" fmla="*/ 720918 h 1729012"/>
                <a:gd name="connsiteX6567" fmla="*/ 615909 w 2240198"/>
                <a:gd name="connsiteY6567" fmla="*/ 718034 h 1729012"/>
                <a:gd name="connsiteX6568" fmla="*/ 608791 w 2240198"/>
                <a:gd name="connsiteY6568" fmla="*/ 711588 h 1729012"/>
                <a:gd name="connsiteX6569" fmla="*/ 605970 w 2240198"/>
                <a:gd name="connsiteY6569" fmla="*/ 707760 h 1729012"/>
                <a:gd name="connsiteX6570" fmla="*/ 605514 w 2240198"/>
                <a:gd name="connsiteY6570" fmla="*/ 706783 h 1729012"/>
                <a:gd name="connsiteX6571" fmla="*/ 604838 w 2240198"/>
                <a:gd name="connsiteY6571" fmla="*/ 703967 h 1729012"/>
                <a:gd name="connsiteX6572" fmla="*/ 603941 w 2240198"/>
                <a:gd name="connsiteY6572" fmla="*/ 699306 h 1729012"/>
                <a:gd name="connsiteX6573" fmla="*/ 603652 w 2240198"/>
                <a:gd name="connsiteY6573" fmla="*/ 696448 h 1729012"/>
                <a:gd name="connsiteX6574" fmla="*/ 604480 w 2240198"/>
                <a:gd name="connsiteY6574" fmla="*/ 694703 h 1729012"/>
                <a:gd name="connsiteX6575" fmla="*/ 605173 w 2240198"/>
                <a:gd name="connsiteY6575" fmla="*/ 694356 h 1729012"/>
                <a:gd name="connsiteX6576" fmla="*/ 619921 w 2240198"/>
                <a:gd name="connsiteY6576" fmla="*/ 690950 h 1729012"/>
                <a:gd name="connsiteX6577" fmla="*/ 645904 w 2240198"/>
                <a:gd name="connsiteY6577" fmla="*/ 687210 h 1729012"/>
                <a:gd name="connsiteX6578" fmla="*/ 669657 w 2240198"/>
                <a:gd name="connsiteY6578" fmla="*/ 684688 h 1729012"/>
                <a:gd name="connsiteX6579" fmla="*/ 680442 w 2240198"/>
                <a:gd name="connsiteY6579" fmla="*/ 684915 h 1729012"/>
                <a:gd name="connsiteX6580" fmla="*/ 686792 w 2240198"/>
                <a:gd name="connsiteY6580" fmla="*/ 686098 h 1729012"/>
                <a:gd name="connsiteX6581" fmla="*/ 693157 w 2240198"/>
                <a:gd name="connsiteY6581" fmla="*/ 686638 h 1729012"/>
                <a:gd name="connsiteX6582" fmla="*/ 704690 w 2240198"/>
                <a:gd name="connsiteY6582" fmla="*/ 686905 h 1729012"/>
                <a:gd name="connsiteX6583" fmla="*/ 719214 w 2240198"/>
                <a:gd name="connsiteY6583" fmla="*/ 688663 h 1729012"/>
                <a:gd name="connsiteX6584" fmla="*/ 722133 w 2240198"/>
                <a:gd name="connsiteY6584" fmla="*/ 688512 h 1729012"/>
                <a:gd name="connsiteX6585" fmla="*/ 728646 w 2240198"/>
                <a:gd name="connsiteY6585" fmla="*/ 687322 h 1729012"/>
                <a:gd name="connsiteX6586" fmla="*/ 730580 w 2240198"/>
                <a:gd name="connsiteY6586" fmla="*/ 686369 h 1729012"/>
                <a:gd name="connsiteX6587" fmla="*/ 740874 w 2240198"/>
                <a:gd name="connsiteY6587" fmla="*/ 686491 h 1729012"/>
                <a:gd name="connsiteX6588" fmla="*/ 742872 w 2240198"/>
                <a:gd name="connsiteY6588" fmla="*/ 685905 h 1729012"/>
                <a:gd name="connsiteX6589" fmla="*/ 744706 w 2240198"/>
                <a:gd name="connsiteY6589" fmla="*/ 684852 h 1729012"/>
                <a:gd name="connsiteX6590" fmla="*/ 742341 w 2240198"/>
                <a:gd name="connsiteY6590" fmla="*/ 682879 h 1729012"/>
                <a:gd name="connsiteX6591" fmla="*/ 732494 w 2240198"/>
                <a:gd name="connsiteY6591" fmla="*/ 678543 h 1729012"/>
                <a:gd name="connsiteX6592" fmla="*/ 706343 w 2240198"/>
                <a:gd name="connsiteY6592" fmla="*/ 670772 h 1729012"/>
                <a:gd name="connsiteX6593" fmla="*/ 699965 w 2240198"/>
                <a:gd name="connsiteY6593" fmla="*/ 669117 h 1729012"/>
                <a:gd name="connsiteX6594" fmla="*/ 690830 w 2240198"/>
                <a:gd name="connsiteY6594" fmla="*/ 667354 h 1729012"/>
                <a:gd name="connsiteX6595" fmla="*/ 685537 w 2240198"/>
                <a:gd name="connsiteY6595" fmla="*/ 667103 h 1729012"/>
                <a:gd name="connsiteX6596" fmla="*/ 678790 w 2240198"/>
                <a:gd name="connsiteY6596" fmla="*/ 668111 h 1729012"/>
                <a:gd name="connsiteX6597" fmla="*/ 676274 w 2240198"/>
                <a:gd name="connsiteY6597" fmla="*/ 668066 h 1729012"/>
                <a:gd name="connsiteX6598" fmla="*/ 669649 w 2240198"/>
                <a:gd name="connsiteY6598" fmla="*/ 669584 h 1729012"/>
                <a:gd name="connsiteX6599" fmla="*/ 663358 w 2240198"/>
                <a:gd name="connsiteY6599" fmla="*/ 670542 h 1729012"/>
                <a:gd name="connsiteX6600" fmla="*/ 651428 w 2240198"/>
                <a:gd name="connsiteY6600" fmla="*/ 671469 h 1729012"/>
                <a:gd name="connsiteX6601" fmla="*/ 634194 w 2240198"/>
                <a:gd name="connsiteY6601" fmla="*/ 672154 h 1729012"/>
                <a:gd name="connsiteX6602" fmla="*/ 631781 w 2240198"/>
                <a:gd name="connsiteY6602" fmla="*/ 671952 h 1729012"/>
                <a:gd name="connsiteX6603" fmla="*/ 628237 w 2240198"/>
                <a:gd name="connsiteY6603" fmla="*/ 670770 h 1729012"/>
                <a:gd name="connsiteX6604" fmla="*/ 625665 w 2240198"/>
                <a:gd name="connsiteY6604" fmla="*/ 670434 h 1729012"/>
                <a:gd name="connsiteX6605" fmla="*/ 608796 w 2240198"/>
                <a:gd name="connsiteY6605" fmla="*/ 671356 h 1729012"/>
                <a:gd name="connsiteX6606" fmla="*/ 593721 w 2240198"/>
                <a:gd name="connsiteY6606" fmla="*/ 670167 h 1729012"/>
                <a:gd name="connsiteX6607" fmla="*/ 576555 w 2240198"/>
                <a:gd name="connsiteY6607" fmla="*/ 658244 h 1729012"/>
                <a:gd name="connsiteX6608" fmla="*/ 573704 w 2240198"/>
                <a:gd name="connsiteY6608" fmla="*/ 654573 h 1729012"/>
                <a:gd name="connsiteX6609" fmla="*/ 574312 w 2240198"/>
                <a:gd name="connsiteY6609" fmla="*/ 653077 h 1729012"/>
                <a:gd name="connsiteX6610" fmla="*/ 576428 w 2240198"/>
                <a:gd name="connsiteY6610" fmla="*/ 651470 h 1729012"/>
                <a:gd name="connsiteX6611" fmla="*/ 584928 w 2240198"/>
                <a:gd name="connsiteY6611" fmla="*/ 646834 h 1729012"/>
                <a:gd name="connsiteX6612" fmla="*/ 587965 w 2240198"/>
                <a:gd name="connsiteY6612" fmla="*/ 645730 h 1729012"/>
                <a:gd name="connsiteX6613" fmla="*/ 600647 w 2240198"/>
                <a:gd name="connsiteY6613" fmla="*/ 643235 h 1729012"/>
                <a:gd name="connsiteX6614" fmla="*/ 613290 w 2240198"/>
                <a:gd name="connsiteY6614" fmla="*/ 640215 h 1729012"/>
                <a:gd name="connsiteX6615" fmla="*/ 623275 w 2240198"/>
                <a:gd name="connsiteY6615" fmla="*/ 637370 h 1729012"/>
                <a:gd name="connsiteX6616" fmla="*/ 628177 w 2240198"/>
                <a:gd name="connsiteY6616" fmla="*/ 636382 h 1729012"/>
                <a:gd name="connsiteX6617" fmla="*/ 632897 w 2240198"/>
                <a:gd name="connsiteY6617" fmla="*/ 636266 h 1729012"/>
                <a:gd name="connsiteX6618" fmla="*/ 636711 w 2240198"/>
                <a:gd name="connsiteY6618" fmla="*/ 635327 h 1729012"/>
                <a:gd name="connsiteX6619" fmla="*/ 635935 w 2240198"/>
                <a:gd name="connsiteY6619" fmla="*/ 634426 h 1729012"/>
                <a:gd name="connsiteX6620" fmla="*/ 632814 w 2240198"/>
                <a:gd name="connsiteY6620" fmla="*/ 633397 h 1729012"/>
                <a:gd name="connsiteX6621" fmla="*/ 632849 w 2240198"/>
                <a:gd name="connsiteY6621" fmla="*/ 631938 h 1729012"/>
                <a:gd name="connsiteX6622" fmla="*/ 634463 w 2240198"/>
                <a:gd name="connsiteY6622" fmla="*/ 631238 h 1729012"/>
                <a:gd name="connsiteX6623" fmla="*/ 640715 w 2240198"/>
                <a:gd name="connsiteY6623" fmla="*/ 630497 h 1729012"/>
                <a:gd name="connsiteX6624" fmla="*/ 647355 w 2240198"/>
                <a:gd name="connsiteY6624" fmla="*/ 631399 h 1729012"/>
                <a:gd name="connsiteX6625" fmla="*/ 650673 w 2240198"/>
                <a:gd name="connsiteY6625" fmla="*/ 631092 h 1729012"/>
                <a:gd name="connsiteX6626" fmla="*/ 651626 w 2240198"/>
                <a:gd name="connsiteY6626" fmla="*/ 630096 h 1729012"/>
                <a:gd name="connsiteX6627" fmla="*/ 650746 w 2240198"/>
                <a:gd name="connsiteY6627" fmla="*/ 629291 h 1729012"/>
                <a:gd name="connsiteX6628" fmla="*/ 644444 w 2240198"/>
                <a:gd name="connsiteY6628" fmla="*/ 627628 h 1729012"/>
                <a:gd name="connsiteX6629" fmla="*/ 614179 w 2240198"/>
                <a:gd name="connsiteY6629" fmla="*/ 632411 h 1729012"/>
                <a:gd name="connsiteX6630" fmla="*/ 600059 w 2240198"/>
                <a:gd name="connsiteY6630" fmla="*/ 632859 h 1729012"/>
                <a:gd name="connsiteX6631" fmla="*/ 590266 w 2240198"/>
                <a:gd name="connsiteY6631" fmla="*/ 634912 h 1729012"/>
                <a:gd name="connsiteX6632" fmla="*/ 584883 w 2240198"/>
                <a:gd name="connsiteY6632" fmla="*/ 634845 h 1729012"/>
                <a:gd name="connsiteX6633" fmla="*/ 578479 w 2240198"/>
                <a:gd name="connsiteY6633" fmla="*/ 632797 h 1729012"/>
                <a:gd name="connsiteX6634" fmla="*/ 577625 w 2240198"/>
                <a:gd name="connsiteY6634" fmla="*/ 632183 h 1729012"/>
                <a:gd name="connsiteX6635" fmla="*/ 577508 w 2240198"/>
                <a:gd name="connsiteY6635" fmla="*/ 631341 h 1729012"/>
                <a:gd name="connsiteX6636" fmla="*/ 579490 w 2240198"/>
                <a:gd name="connsiteY6636" fmla="*/ 628596 h 1729012"/>
                <a:gd name="connsiteX6637" fmla="*/ 586333 w 2240198"/>
                <a:gd name="connsiteY6637" fmla="*/ 626951 h 1729012"/>
                <a:gd name="connsiteX6638" fmla="*/ 589784 w 2240198"/>
                <a:gd name="connsiteY6638" fmla="*/ 622330 h 1729012"/>
                <a:gd name="connsiteX6639" fmla="*/ 586102 w 2240198"/>
                <a:gd name="connsiteY6639" fmla="*/ 622250 h 1729012"/>
                <a:gd name="connsiteX6640" fmla="*/ 573829 w 2240198"/>
                <a:gd name="connsiteY6640" fmla="*/ 623240 h 1729012"/>
                <a:gd name="connsiteX6641" fmla="*/ 568467 w 2240198"/>
                <a:gd name="connsiteY6641" fmla="*/ 622814 h 1729012"/>
                <a:gd name="connsiteX6642" fmla="*/ 561231 w 2240198"/>
                <a:gd name="connsiteY6642" fmla="*/ 621040 h 1729012"/>
                <a:gd name="connsiteX6643" fmla="*/ 559109 w 2240198"/>
                <a:gd name="connsiteY6643" fmla="*/ 618926 h 1729012"/>
                <a:gd name="connsiteX6644" fmla="*/ 558206 w 2240198"/>
                <a:gd name="connsiteY6644" fmla="*/ 617396 h 1729012"/>
                <a:gd name="connsiteX6645" fmla="*/ 558053 w 2240198"/>
                <a:gd name="connsiteY6645" fmla="*/ 615570 h 1729012"/>
                <a:gd name="connsiteX6646" fmla="*/ 558296 w 2240198"/>
                <a:gd name="connsiteY6646" fmla="*/ 610378 h 1729012"/>
                <a:gd name="connsiteX6647" fmla="*/ 558913 w 2240198"/>
                <a:gd name="connsiteY6647" fmla="*/ 607583 h 1729012"/>
                <a:gd name="connsiteX6648" fmla="*/ 559298 w 2240198"/>
                <a:gd name="connsiteY6648" fmla="*/ 606952 h 1729012"/>
                <a:gd name="connsiteX6649" fmla="*/ 568294 w 2240198"/>
                <a:gd name="connsiteY6649" fmla="*/ 598328 h 1729012"/>
                <a:gd name="connsiteX6650" fmla="*/ 573903 w 2240198"/>
                <a:gd name="connsiteY6650" fmla="*/ 596523 h 1729012"/>
                <a:gd name="connsiteX6651" fmla="*/ 577838 w 2240198"/>
                <a:gd name="connsiteY6651" fmla="*/ 593792 h 1729012"/>
                <a:gd name="connsiteX6652" fmla="*/ 577990 w 2240198"/>
                <a:gd name="connsiteY6652" fmla="*/ 592648 h 1729012"/>
                <a:gd name="connsiteX6653" fmla="*/ 577016 w 2240198"/>
                <a:gd name="connsiteY6653" fmla="*/ 591499 h 1729012"/>
                <a:gd name="connsiteX6654" fmla="*/ 573350 w 2240198"/>
                <a:gd name="connsiteY6654" fmla="*/ 588710 h 1729012"/>
                <a:gd name="connsiteX6655" fmla="*/ 571875 w 2240198"/>
                <a:gd name="connsiteY6655" fmla="*/ 587293 h 1729012"/>
                <a:gd name="connsiteX6656" fmla="*/ 571047 w 2240198"/>
                <a:gd name="connsiteY6656" fmla="*/ 585933 h 1729012"/>
                <a:gd name="connsiteX6657" fmla="*/ 571673 w 2240198"/>
                <a:gd name="connsiteY6657" fmla="*/ 583791 h 1729012"/>
                <a:gd name="connsiteX6658" fmla="*/ 573755 w 2240198"/>
                <a:gd name="connsiteY6658" fmla="*/ 580854 h 1729012"/>
                <a:gd name="connsiteX6659" fmla="*/ 579876 w 2240198"/>
                <a:gd name="connsiteY6659" fmla="*/ 576111 h 1729012"/>
                <a:gd name="connsiteX6660" fmla="*/ 594618 w 2240198"/>
                <a:gd name="connsiteY6660" fmla="*/ 566574 h 1729012"/>
                <a:gd name="connsiteX6661" fmla="*/ 602104 w 2240198"/>
                <a:gd name="connsiteY6661" fmla="*/ 562555 h 1729012"/>
                <a:gd name="connsiteX6662" fmla="*/ 609325 w 2240198"/>
                <a:gd name="connsiteY6662" fmla="*/ 560384 h 1729012"/>
                <a:gd name="connsiteX6663" fmla="*/ 619429 w 2240198"/>
                <a:gd name="connsiteY6663" fmla="*/ 555757 h 1729012"/>
                <a:gd name="connsiteX6664" fmla="*/ 645318 w 2240198"/>
                <a:gd name="connsiteY6664" fmla="*/ 548061 h 1729012"/>
                <a:gd name="connsiteX6665" fmla="*/ 904822 w 2240198"/>
                <a:gd name="connsiteY6665" fmla="*/ 520966 h 1729012"/>
                <a:gd name="connsiteX6666" fmla="*/ 909983 w 2240198"/>
                <a:gd name="connsiteY6666" fmla="*/ 522084 h 1729012"/>
                <a:gd name="connsiteX6667" fmla="*/ 917077 w 2240198"/>
                <a:gd name="connsiteY6667" fmla="*/ 526863 h 1729012"/>
                <a:gd name="connsiteX6668" fmla="*/ 920028 w 2240198"/>
                <a:gd name="connsiteY6668" fmla="*/ 527401 h 1729012"/>
                <a:gd name="connsiteX6669" fmla="*/ 921791 w 2240198"/>
                <a:gd name="connsiteY6669" fmla="*/ 528476 h 1729012"/>
                <a:gd name="connsiteX6670" fmla="*/ 923343 w 2240198"/>
                <a:gd name="connsiteY6670" fmla="*/ 530258 h 1729012"/>
                <a:gd name="connsiteX6671" fmla="*/ 924167 w 2240198"/>
                <a:gd name="connsiteY6671" fmla="*/ 532070 h 1729012"/>
                <a:gd name="connsiteX6672" fmla="*/ 924236 w 2240198"/>
                <a:gd name="connsiteY6672" fmla="*/ 535767 h 1729012"/>
                <a:gd name="connsiteX6673" fmla="*/ 923462 w 2240198"/>
                <a:gd name="connsiteY6673" fmla="*/ 541222 h 1729012"/>
                <a:gd name="connsiteX6674" fmla="*/ 922477 w 2240198"/>
                <a:gd name="connsiteY6674" fmla="*/ 543308 h 1729012"/>
                <a:gd name="connsiteX6675" fmla="*/ 918183 w 2240198"/>
                <a:gd name="connsiteY6675" fmla="*/ 550290 h 1729012"/>
                <a:gd name="connsiteX6676" fmla="*/ 913680 w 2240198"/>
                <a:gd name="connsiteY6676" fmla="*/ 554122 h 1729012"/>
                <a:gd name="connsiteX6677" fmla="*/ 912819 w 2240198"/>
                <a:gd name="connsiteY6677" fmla="*/ 556599 h 1729012"/>
                <a:gd name="connsiteX6678" fmla="*/ 910993 w 2240198"/>
                <a:gd name="connsiteY6678" fmla="*/ 558561 h 1729012"/>
                <a:gd name="connsiteX6679" fmla="*/ 907797 w 2240198"/>
                <a:gd name="connsiteY6679" fmla="*/ 560965 h 1729012"/>
                <a:gd name="connsiteX6680" fmla="*/ 905559 w 2240198"/>
                <a:gd name="connsiteY6680" fmla="*/ 562288 h 1729012"/>
                <a:gd name="connsiteX6681" fmla="*/ 904280 w 2240198"/>
                <a:gd name="connsiteY6681" fmla="*/ 562531 h 1729012"/>
                <a:gd name="connsiteX6682" fmla="*/ 901878 w 2240198"/>
                <a:gd name="connsiteY6682" fmla="*/ 561415 h 1729012"/>
                <a:gd name="connsiteX6683" fmla="*/ 898355 w 2240198"/>
                <a:gd name="connsiteY6683" fmla="*/ 558935 h 1729012"/>
                <a:gd name="connsiteX6684" fmla="*/ 892595 w 2240198"/>
                <a:gd name="connsiteY6684" fmla="*/ 553896 h 1729012"/>
                <a:gd name="connsiteX6685" fmla="*/ 885726 w 2240198"/>
                <a:gd name="connsiteY6685" fmla="*/ 548892 h 1729012"/>
                <a:gd name="connsiteX6686" fmla="*/ 884671 w 2240198"/>
                <a:gd name="connsiteY6686" fmla="*/ 545890 h 1729012"/>
                <a:gd name="connsiteX6687" fmla="*/ 882963 w 2240198"/>
                <a:gd name="connsiteY6687" fmla="*/ 543650 h 1729012"/>
                <a:gd name="connsiteX6688" fmla="*/ 874197 w 2240198"/>
                <a:gd name="connsiteY6688" fmla="*/ 538318 h 1729012"/>
                <a:gd name="connsiteX6689" fmla="*/ 868501 w 2240198"/>
                <a:gd name="connsiteY6689" fmla="*/ 536151 h 1729012"/>
                <a:gd name="connsiteX6690" fmla="*/ 864161 w 2240198"/>
                <a:gd name="connsiteY6690" fmla="*/ 535070 h 1729012"/>
                <a:gd name="connsiteX6691" fmla="*/ 863448 w 2240198"/>
                <a:gd name="connsiteY6691" fmla="*/ 533575 h 1729012"/>
                <a:gd name="connsiteX6692" fmla="*/ 866457 w 2240198"/>
                <a:gd name="connsiteY6692" fmla="*/ 529228 h 1729012"/>
                <a:gd name="connsiteX6693" fmla="*/ 869910 w 2240198"/>
                <a:gd name="connsiteY6693" fmla="*/ 525749 h 1729012"/>
                <a:gd name="connsiteX6694" fmla="*/ 871960 w 2240198"/>
                <a:gd name="connsiteY6694" fmla="*/ 524487 h 1729012"/>
                <a:gd name="connsiteX6695" fmla="*/ 878346 w 2240198"/>
                <a:gd name="connsiteY6695" fmla="*/ 523356 h 1729012"/>
                <a:gd name="connsiteX6696" fmla="*/ 899894 w 2240198"/>
                <a:gd name="connsiteY6696" fmla="*/ 521034 h 1729012"/>
                <a:gd name="connsiteX6697" fmla="*/ 1531038 w 2240198"/>
                <a:gd name="connsiteY6697" fmla="*/ 520957 h 1729012"/>
                <a:gd name="connsiteX6698" fmla="*/ 1536339 w 2240198"/>
                <a:gd name="connsiteY6698" fmla="*/ 521051 h 1729012"/>
                <a:gd name="connsiteX6699" fmla="*/ 1543745 w 2240198"/>
                <a:gd name="connsiteY6699" fmla="*/ 523923 h 1729012"/>
                <a:gd name="connsiteX6700" fmla="*/ 1549600 w 2240198"/>
                <a:gd name="connsiteY6700" fmla="*/ 524197 h 1729012"/>
                <a:gd name="connsiteX6701" fmla="*/ 1558526 w 2240198"/>
                <a:gd name="connsiteY6701" fmla="*/ 526507 h 1729012"/>
                <a:gd name="connsiteX6702" fmla="*/ 1562849 w 2240198"/>
                <a:gd name="connsiteY6702" fmla="*/ 527153 h 1729012"/>
                <a:gd name="connsiteX6703" fmla="*/ 1590242 w 2240198"/>
                <a:gd name="connsiteY6703" fmla="*/ 525951 h 1729012"/>
                <a:gd name="connsiteX6704" fmla="*/ 1595910 w 2240198"/>
                <a:gd name="connsiteY6704" fmla="*/ 526843 h 1729012"/>
                <a:gd name="connsiteX6705" fmla="*/ 1613174 w 2240198"/>
                <a:gd name="connsiteY6705" fmla="*/ 532288 h 1729012"/>
                <a:gd name="connsiteX6706" fmla="*/ 1617626 w 2240198"/>
                <a:gd name="connsiteY6706" fmla="*/ 534104 h 1729012"/>
                <a:gd name="connsiteX6707" fmla="*/ 1619826 w 2240198"/>
                <a:gd name="connsiteY6707" fmla="*/ 536506 h 1729012"/>
                <a:gd name="connsiteX6708" fmla="*/ 1621811 w 2240198"/>
                <a:gd name="connsiteY6708" fmla="*/ 540289 h 1729012"/>
                <a:gd name="connsiteX6709" fmla="*/ 1622728 w 2240198"/>
                <a:gd name="connsiteY6709" fmla="*/ 541118 h 1729012"/>
                <a:gd name="connsiteX6710" fmla="*/ 1628982 w 2240198"/>
                <a:gd name="connsiteY6710" fmla="*/ 543362 h 1729012"/>
                <a:gd name="connsiteX6711" fmla="*/ 1631554 w 2240198"/>
                <a:gd name="connsiteY6711" fmla="*/ 546081 h 1729012"/>
                <a:gd name="connsiteX6712" fmla="*/ 1632458 w 2240198"/>
                <a:gd name="connsiteY6712" fmla="*/ 547484 h 1729012"/>
                <a:gd name="connsiteX6713" fmla="*/ 1633771 w 2240198"/>
                <a:gd name="connsiteY6713" fmla="*/ 550696 h 1729012"/>
                <a:gd name="connsiteX6714" fmla="*/ 1636595 w 2240198"/>
                <a:gd name="connsiteY6714" fmla="*/ 552514 h 1729012"/>
                <a:gd name="connsiteX6715" fmla="*/ 1639823 w 2240198"/>
                <a:gd name="connsiteY6715" fmla="*/ 553549 h 1729012"/>
                <a:gd name="connsiteX6716" fmla="*/ 1640878 w 2240198"/>
                <a:gd name="connsiteY6716" fmla="*/ 554494 h 1729012"/>
                <a:gd name="connsiteX6717" fmla="*/ 1640370 w 2240198"/>
                <a:gd name="connsiteY6717" fmla="*/ 558519 h 1729012"/>
                <a:gd name="connsiteX6718" fmla="*/ 1641747 w 2240198"/>
                <a:gd name="connsiteY6718" fmla="*/ 560389 h 1729012"/>
                <a:gd name="connsiteX6719" fmla="*/ 1644795 w 2240198"/>
                <a:gd name="connsiteY6719" fmla="*/ 562652 h 1729012"/>
                <a:gd name="connsiteX6720" fmla="*/ 1645938 w 2240198"/>
                <a:gd name="connsiteY6720" fmla="*/ 564159 h 1729012"/>
                <a:gd name="connsiteX6721" fmla="*/ 1643569 w 2240198"/>
                <a:gd name="connsiteY6721" fmla="*/ 565998 h 1729012"/>
                <a:gd name="connsiteX6722" fmla="*/ 1638064 w 2240198"/>
                <a:gd name="connsiteY6722" fmla="*/ 567078 h 1729012"/>
                <a:gd name="connsiteX6723" fmla="*/ 1622519 w 2240198"/>
                <a:gd name="connsiteY6723" fmla="*/ 565953 h 1729012"/>
                <a:gd name="connsiteX6724" fmla="*/ 1601667 w 2240198"/>
                <a:gd name="connsiteY6724" fmla="*/ 563404 h 1729012"/>
                <a:gd name="connsiteX6725" fmla="*/ 1589539 w 2240198"/>
                <a:gd name="connsiteY6725" fmla="*/ 564128 h 1729012"/>
                <a:gd name="connsiteX6726" fmla="*/ 1583458 w 2240198"/>
                <a:gd name="connsiteY6726" fmla="*/ 565292 h 1729012"/>
                <a:gd name="connsiteX6727" fmla="*/ 1568748 w 2240198"/>
                <a:gd name="connsiteY6727" fmla="*/ 569441 h 1729012"/>
                <a:gd name="connsiteX6728" fmla="*/ 1564053 w 2240198"/>
                <a:gd name="connsiteY6728" fmla="*/ 570110 h 1729012"/>
                <a:gd name="connsiteX6729" fmla="*/ 1559458 w 2240198"/>
                <a:gd name="connsiteY6729" fmla="*/ 570194 h 1729012"/>
                <a:gd name="connsiteX6730" fmla="*/ 1551341 w 2240198"/>
                <a:gd name="connsiteY6730" fmla="*/ 566805 h 1729012"/>
                <a:gd name="connsiteX6731" fmla="*/ 1548395 w 2240198"/>
                <a:gd name="connsiteY6731" fmla="*/ 565006 h 1729012"/>
                <a:gd name="connsiteX6732" fmla="*/ 1547421 w 2240198"/>
                <a:gd name="connsiteY6732" fmla="*/ 563614 h 1729012"/>
                <a:gd name="connsiteX6733" fmla="*/ 1545485 w 2240198"/>
                <a:gd name="connsiteY6733" fmla="*/ 559529 h 1729012"/>
                <a:gd name="connsiteX6734" fmla="*/ 1543891 w 2240198"/>
                <a:gd name="connsiteY6734" fmla="*/ 554628 h 1729012"/>
                <a:gd name="connsiteX6735" fmla="*/ 1543081 w 2240198"/>
                <a:gd name="connsiteY6735" fmla="*/ 550596 h 1729012"/>
                <a:gd name="connsiteX6736" fmla="*/ 1542146 w 2240198"/>
                <a:gd name="connsiteY6736" fmla="*/ 547519 h 1729012"/>
                <a:gd name="connsiteX6737" fmla="*/ 1539371 w 2240198"/>
                <a:gd name="connsiteY6737" fmla="*/ 546499 h 1729012"/>
                <a:gd name="connsiteX6738" fmla="*/ 1531126 w 2240198"/>
                <a:gd name="connsiteY6738" fmla="*/ 545272 h 1729012"/>
                <a:gd name="connsiteX6739" fmla="*/ 1528364 w 2240198"/>
                <a:gd name="connsiteY6739" fmla="*/ 543584 h 1729012"/>
                <a:gd name="connsiteX6740" fmla="*/ 1527107 w 2240198"/>
                <a:gd name="connsiteY6740" fmla="*/ 542184 h 1729012"/>
                <a:gd name="connsiteX6741" fmla="*/ 1525896 w 2240198"/>
                <a:gd name="connsiteY6741" fmla="*/ 539917 h 1729012"/>
                <a:gd name="connsiteX6742" fmla="*/ 1525927 w 2240198"/>
                <a:gd name="connsiteY6742" fmla="*/ 537557 h 1729012"/>
                <a:gd name="connsiteX6743" fmla="*/ 1526560 w 2240198"/>
                <a:gd name="connsiteY6743" fmla="*/ 535476 h 1729012"/>
                <a:gd name="connsiteX6744" fmla="*/ 1527093 w 2240198"/>
                <a:gd name="connsiteY6744" fmla="*/ 534965 h 1729012"/>
                <a:gd name="connsiteX6745" fmla="*/ 1528135 w 2240198"/>
                <a:gd name="connsiteY6745" fmla="*/ 534910 h 1729012"/>
                <a:gd name="connsiteX6746" fmla="*/ 1525824 w 2240198"/>
                <a:gd name="connsiteY6746" fmla="*/ 532385 h 1729012"/>
                <a:gd name="connsiteX6747" fmla="*/ 1525026 w 2240198"/>
                <a:gd name="connsiteY6747" fmla="*/ 529605 h 1729012"/>
                <a:gd name="connsiteX6748" fmla="*/ 1524968 w 2240198"/>
                <a:gd name="connsiteY6748" fmla="*/ 525718 h 1729012"/>
                <a:gd name="connsiteX6749" fmla="*/ 1525270 w 2240198"/>
                <a:gd name="connsiteY6749" fmla="*/ 523226 h 1729012"/>
                <a:gd name="connsiteX6750" fmla="*/ 1525929 w 2240198"/>
                <a:gd name="connsiteY6750" fmla="*/ 522133 h 1729012"/>
                <a:gd name="connsiteX6751" fmla="*/ 1527453 w 2240198"/>
                <a:gd name="connsiteY6751" fmla="*/ 521428 h 1729012"/>
                <a:gd name="connsiteX6752" fmla="*/ 1384351 w 2240198"/>
                <a:gd name="connsiteY6752" fmla="*/ 516645 h 1729012"/>
                <a:gd name="connsiteX6753" fmla="*/ 1395904 w 2240198"/>
                <a:gd name="connsiteY6753" fmla="*/ 516874 h 1729012"/>
                <a:gd name="connsiteX6754" fmla="*/ 1417210 w 2240198"/>
                <a:gd name="connsiteY6754" fmla="*/ 518945 h 1729012"/>
                <a:gd name="connsiteX6755" fmla="*/ 1419776 w 2240198"/>
                <a:gd name="connsiteY6755" fmla="*/ 520402 h 1729012"/>
                <a:gd name="connsiteX6756" fmla="*/ 1420427 w 2240198"/>
                <a:gd name="connsiteY6756" fmla="*/ 521135 h 1729012"/>
                <a:gd name="connsiteX6757" fmla="*/ 1421362 w 2240198"/>
                <a:gd name="connsiteY6757" fmla="*/ 523207 h 1729012"/>
                <a:gd name="connsiteX6758" fmla="*/ 1420658 w 2240198"/>
                <a:gd name="connsiteY6758" fmla="*/ 524528 h 1729012"/>
                <a:gd name="connsiteX6759" fmla="*/ 1414831 w 2240198"/>
                <a:gd name="connsiteY6759" fmla="*/ 529008 h 1729012"/>
                <a:gd name="connsiteX6760" fmla="*/ 1407496 w 2240198"/>
                <a:gd name="connsiteY6760" fmla="*/ 532727 h 1729012"/>
                <a:gd name="connsiteX6761" fmla="*/ 1402722 w 2240198"/>
                <a:gd name="connsiteY6761" fmla="*/ 535967 h 1729012"/>
                <a:gd name="connsiteX6762" fmla="*/ 1394642 w 2240198"/>
                <a:gd name="connsiteY6762" fmla="*/ 543239 h 1729012"/>
                <a:gd name="connsiteX6763" fmla="*/ 1392462 w 2240198"/>
                <a:gd name="connsiteY6763" fmla="*/ 545786 h 1729012"/>
                <a:gd name="connsiteX6764" fmla="*/ 1382449 w 2240198"/>
                <a:gd name="connsiteY6764" fmla="*/ 560340 h 1729012"/>
                <a:gd name="connsiteX6765" fmla="*/ 1380085 w 2240198"/>
                <a:gd name="connsiteY6765" fmla="*/ 562741 h 1729012"/>
                <a:gd name="connsiteX6766" fmla="*/ 1378697 w 2240198"/>
                <a:gd name="connsiteY6766" fmla="*/ 564659 h 1729012"/>
                <a:gd name="connsiteX6767" fmla="*/ 1377724 w 2240198"/>
                <a:gd name="connsiteY6767" fmla="*/ 569877 h 1729012"/>
                <a:gd name="connsiteX6768" fmla="*/ 1378014 w 2240198"/>
                <a:gd name="connsiteY6768" fmla="*/ 571730 h 1729012"/>
                <a:gd name="connsiteX6769" fmla="*/ 1379578 w 2240198"/>
                <a:gd name="connsiteY6769" fmla="*/ 574753 h 1729012"/>
                <a:gd name="connsiteX6770" fmla="*/ 1385012 w 2240198"/>
                <a:gd name="connsiteY6770" fmla="*/ 581296 h 1729012"/>
                <a:gd name="connsiteX6771" fmla="*/ 1386477 w 2240198"/>
                <a:gd name="connsiteY6771" fmla="*/ 584350 h 1729012"/>
                <a:gd name="connsiteX6772" fmla="*/ 1386440 w 2240198"/>
                <a:gd name="connsiteY6772" fmla="*/ 587153 h 1729012"/>
                <a:gd name="connsiteX6773" fmla="*/ 1385830 w 2240198"/>
                <a:gd name="connsiteY6773" fmla="*/ 593823 h 1729012"/>
                <a:gd name="connsiteX6774" fmla="*/ 1385756 w 2240198"/>
                <a:gd name="connsiteY6774" fmla="*/ 597196 h 1729012"/>
                <a:gd name="connsiteX6775" fmla="*/ 1386000 w 2240198"/>
                <a:gd name="connsiteY6775" fmla="*/ 600431 h 1729012"/>
                <a:gd name="connsiteX6776" fmla="*/ 1387121 w 2240198"/>
                <a:gd name="connsiteY6776" fmla="*/ 605048 h 1729012"/>
                <a:gd name="connsiteX6777" fmla="*/ 1389116 w 2240198"/>
                <a:gd name="connsiteY6777" fmla="*/ 611037 h 1729012"/>
                <a:gd name="connsiteX6778" fmla="*/ 1393740 w 2240198"/>
                <a:gd name="connsiteY6778" fmla="*/ 617081 h 1729012"/>
                <a:gd name="connsiteX6779" fmla="*/ 1400992 w 2240198"/>
                <a:gd name="connsiteY6779" fmla="*/ 623174 h 1729012"/>
                <a:gd name="connsiteX6780" fmla="*/ 1406392 w 2240198"/>
                <a:gd name="connsiteY6780" fmla="*/ 627205 h 1729012"/>
                <a:gd name="connsiteX6781" fmla="*/ 1411716 w 2240198"/>
                <a:gd name="connsiteY6781" fmla="*/ 630169 h 1729012"/>
                <a:gd name="connsiteX6782" fmla="*/ 1418016 w 2240198"/>
                <a:gd name="connsiteY6782" fmla="*/ 634547 h 1729012"/>
                <a:gd name="connsiteX6783" fmla="*/ 1419418 w 2240198"/>
                <a:gd name="connsiteY6783" fmla="*/ 636661 h 1729012"/>
                <a:gd name="connsiteX6784" fmla="*/ 1416523 w 2240198"/>
                <a:gd name="connsiteY6784" fmla="*/ 638983 h 1729012"/>
                <a:gd name="connsiteX6785" fmla="*/ 1409733 w 2240198"/>
                <a:gd name="connsiteY6785" fmla="*/ 642553 h 1729012"/>
                <a:gd name="connsiteX6786" fmla="*/ 1400811 w 2240198"/>
                <a:gd name="connsiteY6786" fmla="*/ 644079 h 1729012"/>
                <a:gd name="connsiteX6787" fmla="*/ 1396040 w 2240198"/>
                <a:gd name="connsiteY6787" fmla="*/ 645534 h 1729012"/>
                <a:gd name="connsiteX6788" fmla="*/ 1390106 w 2240198"/>
                <a:gd name="connsiteY6788" fmla="*/ 648634 h 1729012"/>
                <a:gd name="connsiteX6789" fmla="*/ 1382656 w 2240198"/>
                <a:gd name="connsiteY6789" fmla="*/ 651105 h 1729012"/>
                <a:gd name="connsiteX6790" fmla="*/ 1379712 w 2240198"/>
                <a:gd name="connsiteY6790" fmla="*/ 652580 h 1729012"/>
                <a:gd name="connsiteX6791" fmla="*/ 1380718 w 2240198"/>
                <a:gd name="connsiteY6791" fmla="*/ 653599 h 1729012"/>
                <a:gd name="connsiteX6792" fmla="*/ 1386509 w 2240198"/>
                <a:gd name="connsiteY6792" fmla="*/ 652301 h 1729012"/>
                <a:gd name="connsiteX6793" fmla="*/ 1391432 w 2240198"/>
                <a:gd name="connsiteY6793" fmla="*/ 650810 h 1729012"/>
                <a:gd name="connsiteX6794" fmla="*/ 1399104 w 2240198"/>
                <a:gd name="connsiteY6794" fmla="*/ 647250 h 1729012"/>
                <a:gd name="connsiteX6795" fmla="*/ 1403686 w 2240198"/>
                <a:gd name="connsiteY6795" fmla="*/ 646009 h 1729012"/>
                <a:gd name="connsiteX6796" fmla="*/ 1417607 w 2240198"/>
                <a:gd name="connsiteY6796" fmla="*/ 646031 h 1729012"/>
                <a:gd name="connsiteX6797" fmla="*/ 1419972 w 2240198"/>
                <a:gd name="connsiteY6797" fmla="*/ 646705 h 1729012"/>
                <a:gd name="connsiteX6798" fmla="*/ 1418928 w 2240198"/>
                <a:gd name="connsiteY6798" fmla="*/ 648833 h 1729012"/>
                <a:gd name="connsiteX6799" fmla="*/ 1418344 w 2240198"/>
                <a:gd name="connsiteY6799" fmla="*/ 649435 h 1729012"/>
                <a:gd name="connsiteX6800" fmla="*/ 1418804 w 2240198"/>
                <a:gd name="connsiteY6800" fmla="*/ 650359 h 1729012"/>
                <a:gd name="connsiteX6801" fmla="*/ 1420304 w 2240198"/>
                <a:gd name="connsiteY6801" fmla="*/ 651609 h 1729012"/>
                <a:gd name="connsiteX6802" fmla="*/ 1423300 w 2240198"/>
                <a:gd name="connsiteY6802" fmla="*/ 652996 h 1729012"/>
                <a:gd name="connsiteX6803" fmla="*/ 1424481 w 2240198"/>
                <a:gd name="connsiteY6803" fmla="*/ 651754 h 1729012"/>
                <a:gd name="connsiteX6804" fmla="*/ 1425347 w 2240198"/>
                <a:gd name="connsiteY6804" fmla="*/ 648756 h 1729012"/>
                <a:gd name="connsiteX6805" fmla="*/ 1427401 w 2240198"/>
                <a:gd name="connsiteY6805" fmla="*/ 636405 h 1729012"/>
                <a:gd name="connsiteX6806" fmla="*/ 1428270 w 2240198"/>
                <a:gd name="connsiteY6806" fmla="*/ 632666 h 1729012"/>
                <a:gd name="connsiteX6807" fmla="*/ 1428682 w 2240198"/>
                <a:gd name="connsiteY6807" fmla="*/ 629118 h 1729012"/>
                <a:gd name="connsiteX6808" fmla="*/ 1428634 w 2240198"/>
                <a:gd name="connsiteY6808" fmla="*/ 625766 h 1729012"/>
                <a:gd name="connsiteX6809" fmla="*/ 1427633 w 2240198"/>
                <a:gd name="connsiteY6809" fmla="*/ 623640 h 1729012"/>
                <a:gd name="connsiteX6810" fmla="*/ 1424066 w 2240198"/>
                <a:gd name="connsiteY6810" fmla="*/ 622362 h 1729012"/>
                <a:gd name="connsiteX6811" fmla="*/ 1419195 w 2240198"/>
                <a:gd name="connsiteY6811" fmla="*/ 622578 h 1729012"/>
                <a:gd name="connsiteX6812" fmla="*/ 1416693 w 2240198"/>
                <a:gd name="connsiteY6812" fmla="*/ 622241 h 1729012"/>
                <a:gd name="connsiteX6813" fmla="*/ 1413661 w 2240198"/>
                <a:gd name="connsiteY6813" fmla="*/ 621580 h 1729012"/>
                <a:gd name="connsiteX6814" fmla="*/ 1411414 w 2240198"/>
                <a:gd name="connsiteY6814" fmla="*/ 620547 h 1729012"/>
                <a:gd name="connsiteX6815" fmla="*/ 1409953 w 2240198"/>
                <a:gd name="connsiteY6815" fmla="*/ 619147 h 1729012"/>
                <a:gd name="connsiteX6816" fmla="*/ 1407042 w 2240198"/>
                <a:gd name="connsiteY6816" fmla="*/ 614933 h 1729012"/>
                <a:gd name="connsiteX6817" fmla="*/ 1404895 w 2240198"/>
                <a:gd name="connsiteY6817" fmla="*/ 612581 h 1729012"/>
                <a:gd name="connsiteX6818" fmla="*/ 1399389 w 2240198"/>
                <a:gd name="connsiteY6818" fmla="*/ 608329 h 1729012"/>
                <a:gd name="connsiteX6819" fmla="*/ 1396897 w 2240198"/>
                <a:gd name="connsiteY6819" fmla="*/ 606906 h 1729012"/>
                <a:gd name="connsiteX6820" fmla="*/ 1398152 w 2240198"/>
                <a:gd name="connsiteY6820" fmla="*/ 605229 h 1729012"/>
                <a:gd name="connsiteX6821" fmla="*/ 1403156 w 2240198"/>
                <a:gd name="connsiteY6821" fmla="*/ 603296 h 1729012"/>
                <a:gd name="connsiteX6822" fmla="*/ 1406173 w 2240198"/>
                <a:gd name="connsiteY6822" fmla="*/ 601458 h 1729012"/>
                <a:gd name="connsiteX6823" fmla="*/ 1409719 w 2240198"/>
                <a:gd name="connsiteY6823" fmla="*/ 596078 h 1729012"/>
                <a:gd name="connsiteX6824" fmla="*/ 1411850 w 2240198"/>
                <a:gd name="connsiteY6824" fmla="*/ 595207 h 1729012"/>
                <a:gd name="connsiteX6825" fmla="*/ 1419536 w 2240198"/>
                <a:gd name="connsiteY6825" fmla="*/ 595920 h 1729012"/>
                <a:gd name="connsiteX6826" fmla="*/ 1429939 w 2240198"/>
                <a:gd name="connsiteY6826" fmla="*/ 600132 h 1729012"/>
                <a:gd name="connsiteX6827" fmla="*/ 1436452 w 2240198"/>
                <a:gd name="connsiteY6827" fmla="*/ 603776 h 1729012"/>
                <a:gd name="connsiteX6828" fmla="*/ 1438174 w 2240198"/>
                <a:gd name="connsiteY6828" fmla="*/ 604163 h 1729012"/>
                <a:gd name="connsiteX6829" fmla="*/ 1438210 w 2240198"/>
                <a:gd name="connsiteY6829" fmla="*/ 603501 h 1729012"/>
                <a:gd name="connsiteX6830" fmla="*/ 1436558 w 2240198"/>
                <a:gd name="connsiteY6830" fmla="*/ 601796 h 1729012"/>
                <a:gd name="connsiteX6831" fmla="*/ 1429065 w 2240198"/>
                <a:gd name="connsiteY6831" fmla="*/ 597280 h 1729012"/>
                <a:gd name="connsiteX6832" fmla="*/ 1425653 w 2240198"/>
                <a:gd name="connsiteY6832" fmla="*/ 593988 h 1729012"/>
                <a:gd name="connsiteX6833" fmla="*/ 1424019 w 2240198"/>
                <a:gd name="connsiteY6833" fmla="*/ 591637 h 1729012"/>
                <a:gd name="connsiteX6834" fmla="*/ 1424803 w 2240198"/>
                <a:gd name="connsiteY6834" fmla="*/ 590618 h 1729012"/>
                <a:gd name="connsiteX6835" fmla="*/ 1429022 w 2240198"/>
                <a:gd name="connsiteY6835" fmla="*/ 589574 h 1729012"/>
                <a:gd name="connsiteX6836" fmla="*/ 1429570 w 2240198"/>
                <a:gd name="connsiteY6836" fmla="*/ 588375 h 1729012"/>
                <a:gd name="connsiteX6837" fmla="*/ 1423830 w 2240198"/>
                <a:gd name="connsiteY6837" fmla="*/ 586957 h 1729012"/>
                <a:gd name="connsiteX6838" fmla="*/ 1420921 w 2240198"/>
                <a:gd name="connsiteY6838" fmla="*/ 586988 h 1729012"/>
                <a:gd name="connsiteX6839" fmla="*/ 1418571 w 2240198"/>
                <a:gd name="connsiteY6839" fmla="*/ 588002 h 1729012"/>
                <a:gd name="connsiteX6840" fmla="*/ 1416046 w 2240198"/>
                <a:gd name="connsiteY6840" fmla="*/ 588072 h 1729012"/>
                <a:gd name="connsiteX6841" fmla="*/ 1411363 w 2240198"/>
                <a:gd name="connsiteY6841" fmla="*/ 586228 h 1729012"/>
                <a:gd name="connsiteX6842" fmla="*/ 1410090 w 2240198"/>
                <a:gd name="connsiteY6842" fmla="*/ 585155 h 1729012"/>
                <a:gd name="connsiteX6843" fmla="*/ 1407390 w 2240198"/>
                <a:gd name="connsiteY6843" fmla="*/ 581969 h 1729012"/>
                <a:gd name="connsiteX6844" fmla="*/ 1405972 w 2240198"/>
                <a:gd name="connsiteY6844" fmla="*/ 579192 h 1729012"/>
                <a:gd name="connsiteX6845" fmla="*/ 1404403 w 2240198"/>
                <a:gd name="connsiteY6845" fmla="*/ 577464 h 1729012"/>
                <a:gd name="connsiteX6846" fmla="*/ 1403837 w 2240198"/>
                <a:gd name="connsiteY6846" fmla="*/ 576093 h 1729012"/>
                <a:gd name="connsiteX6847" fmla="*/ 1403533 w 2240198"/>
                <a:gd name="connsiteY6847" fmla="*/ 571820 h 1729012"/>
                <a:gd name="connsiteX6848" fmla="*/ 1403668 w 2240198"/>
                <a:gd name="connsiteY6848" fmla="*/ 569304 h 1729012"/>
                <a:gd name="connsiteX6849" fmla="*/ 1404306 w 2240198"/>
                <a:gd name="connsiteY6849" fmla="*/ 567149 h 1729012"/>
                <a:gd name="connsiteX6850" fmla="*/ 1405442 w 2240198"/>
                <a:gd name="connsiteY6850" fmla="*/ 565354 h 1729012"/>
                <a:gd name="connsiteX6851" fmla="*/ 1408480 w 2240198"/>
                <a:gd name="connsiteY6851" fmla="*/ 562036 h 1729012"/>
                <a:gd name="connsiteX6852" fmla="*/ 1410184 w 2240198"/>
                <a:gd name="connsiteY6852" fmla="*/ 561076 h 1729012"/>
                <a:gd name="connsiteX6853" fmla="*/ 1413366 w 2240198"/>
                <a:gd name="connsiteY6853" fmla="*/ 560641 h 1729012"/>
                <a:gd name="connsiteX6854" fmla="*/ 1420277 w 2240198"/>
                <a:gd name="connsiteY6854" fmla="*/ 562290 h 1729012"/>
                <a:gd name="connsiteX6855" fmla="*/ 1438861 w 2240198"/>
                <a:gd name="connsiteY6855" fmla="*/ 568230 h 1729012"/>
                <a:gd name="connsiteX6856" fmla="*/ 1438414 w 2240198"/>
                <a:gd name="connsiteY6856" fmla="*/ 566318 h 1729012"/>
                <a:gd name="connsiteX6857" fmla="*/ 1417627 w 2240198"/>
                <a:gd name="connsiteY6857" fmla="*/ 558289 h 1729012"/>
                <a:gd name="connsiteX6858" fmla="*/ 1410278 w 2240198"/>
                <a:gd name="connsiteY6858" fmla="*/ 556218 h 1729012"/>
                <a:gd name="connsiteX6859" fmla="*/ 1408481 w 2240198"/>
                <a:gd name="connsiteY6859" fmla="*/ 553307 h 1729012"/>
                <a:gd name="connsiteX6860" fmla="*/ 1419546 w 2240198"/>
                <a:gd name="connsiteY6860" fmla="*/ 542119 h 1729012"/>
                <a:gd name="connsiteX6861" fmla="*/ 1429747 w 2240198"/>
                <a:gd name="connsiteY6861" fmla="*/ 539482 h 1729012"/>
                <a:gd name="connsiteX6862" fmla="*/ 1434819 w 2240198"/>
                <a:gd name="connsiteY6862" fmla="*/ 536212 h 1729012"/>
                <a:gd name="connsiteX6863" fmla="*/ 1443112 w 2240198"/>
                <a:gd name="connsiteY6863" fmla="*/ 536071 h 1729012"/>
                <a:gd name="connsiteX6864" fmla="*/ 1450899 w 2240198"/>
                <a:gd name="connsiteY6864" fmla="*/ 538147 h 1729012"/>
                <a:gd name="connsiteX6865" fmla="*/ 1451034 w 2240198"/>
                <a:gd name="connsiteY6865" fmla="*/ 537581 h 1729012"/>
                <a:gd name="connsiteX6866" fmla="*/ 1447523 w 2240198"/>
                <a:gd name="connsiteY6866" fmla="*/ 533672 h 1729012"/>
                <a:gd name="connsiteX6867" fmla="*/ 1447801 w 2240198"/>
                <a:gd name="connsiteY6867" fmla="*/ 532696 h 1729012"/>
                <a:gd name="connsiteX6868" fmla="*/ 1452219 w 2240198"/>
                <a:gd name="connsiteY6868" fmla="*/ 530366 h 1729012"/>
                <a:gd name="connsiteX6869" fmla="*/ 1460319 w 2240198"/>
                <a:gd name="connsiteY6869" fmla="*/ 527627 h 1729012"/>
                <a:gd name="connsiteX6870" fmla="*/ 1470205 w 2240198"/>
                <a:gd name="connsiteY6870" fmla="*/ 525450 h 1729012"/>
                <a:gd name="connsiteX6871" fmla="*/ 1472165 w 2240198"/>
                <a:gd name="connsiteY6871" fmla="*/ 524313 h 1729012"/>
                <a:gd name="connsiteX6872" fmla="*/ 1474697 w 2240198"/>
                <a:gd name="connsiteY6872" fmla="*/ 523512 h 1729012"/>
                <a:gd name="connsiteX6873" fmla="*/ 1479355 w 2240198"/>
                <a:gd name="connsiteY6873" fmla="*/ 522814 h 1729012"/>
                <a:gd name="connsiteX6874" fmla="*/ 1490939 w 2240198"/>
                <a:gd name="connsiteY6874" fmla="*/ 522476 h 1729012"/>
                <a:gd name="connsiteX6875" fmla="*/ 1497447 w 2240198"/>
                <a:gd name="connsiteY6875" fmla="*/ 522803 h 1729012"/>
                <a:gd name="connsiteX6876" fmla="*/ 1506087 w 2240198"/>
                <a:gd name="connsiteY6876" fmla="*/ 524467 h 1729012"/>
                <a:gd name="connsiteX6877" fmla="*/ 1511139 w 2240198"/>
                <a:gd name="connsiteY6877" fmla="*/ 527487 h 1729012"/>
                <a:gd name="connsiteX6878" fmla="*/ 1512713 w 2240198"/>
                <a:gd name="connsiteY6878" fmla="*/ 529292 h 1729012"/>
                <a:gd name="connsiteX6879" fmla="*/ 1515394 w 2240198"/>
                <a:gd name="connsiteY6879" fmla="*/ 535084 h 1729012"/>
                <a:gd name="connsiteX6880" fmla="*/ 1517589 w 2240198"/>
                <a:gd name="connsiteY6880" fmla="*/ 543166 h 1729012"/>
                <a:gd name="connsiteX6881" fmla="*/ 1520800 w 2240198"/>
                <a:gd name="connsiteY6881" fmla="*/ 546517 h 1729012"/>
                <a:gd name="connsiteX6882" fmla="*/ 1525958 w 2240198"/>
                <a:gd name="connsiteY6882" fmla="*/ 548368 h 1729012"/>
                <a:gd name="connsiteX6883" fmla="*/ 1529522 w 2240198"/>
                <a:gd name="connsiteY6883" fmla="*/ 550377 h 1729012"/>
                <a:gd name="connsiteX6884" fmla="*/ 1531492 w 2240198"/>
                <a:gd name="connsiteY6884" fmla="*/ 552544 h 1729012"/>
                <a:gd name="connsiteX6885" fmla="*/ 1532017 w 2240198"/>
                <a:gd name="connsiteY6885" fmla="*/ 555272 h 1729012"/>
                <a:gd name="connsiteX6886" fmla="*/ 1531095 w 2240198"/>
                <a:gd name="connsiteY6886" fmla="*/ 558554 h 1729012"/>
                <a:gd name="connsiteX6887" fmla="*/ 1531785 w 2240198"/>
                <a:gd name="connsiteY6887" fmla="*/ 561913 h 1729012"/>
                <a:gd name="connsiteX6888" fmla="*/ 1534092 w 2240198"/>
                <a:gd name="connsiteY6888" fmla="*/ 565345 h 1729012"/>
                <a:gd name="connsiteX6889" fmla="*/ 1535870 w 2240198"/>
                <a:gd name="connsiteY6889" fmla="*/ 567290 h 1729012"/>
                <a:gd name="connsiteX6890" fmla="*/ 1539764 w 2240198"/>
                <a:gd name="connsiteY6890" fmla="*/ 569510 h 1729012"/>
                <a:gd name="connsiteX6891" fmla="*/ 1539828 w 2240198"/>
                <a:gd name="connsiteY6891" fmla="*/ 570695 h 1729012"/>
                <a:gd name="connsiteX6892" fmla="*/ 1538613 w 2240198"/>
                <a:gd name="connsiteY6892" fmla="*/ 572044 h 1729012"/>
                <a:gd name="connsiteX6893" fmla="*/ 1536035 w 2240198"/>
                <a:gd name="connsiteY6893" fmla="*/ 573899 h 1729012"/>
                <a:gd name="connsiteX6894" fmla="*/ 1529675 w 2240198"/>
                <a:gd name="connsiteY6894" fmla="*/ 579669 h 1729012"/>
                <a:gd name="connsiteX6895" fmla="*/ 1521469 w 2240198"/>
                <a:gd name="connsiteY6895" fmla="*/ 586003 h 1729012"/>
                <a:gd name="connsiteX6896" fmla="*/ 1515622 w 2240198"/>
                <a:gd name="connsiteY6896" fmla="*/ 591466 h 1729012"/>
                <a:gd name="connsiteX6897" fmla="*/ 1515337 w 2240198"/>
                <a:gd name="connsiteY6897" fmla="*/ 593076 h 1729012"/>
                <a:gd name="connsiteX6898" fmla="*/ 1527503 w 2240198"/>
                <a:gd name="connsiteY6898" fmla="*/ 584525 h 1729012"/>
                <a:gd name="connsiteX6899" fmla="*/ 1531289 w 2240198"/>
                <a:gd name="connsiteY6899" fmla="*/ 584828 h 1729012"/>
                <a:gd name="connsiteX6900" fmla="*/ 1531461 w 2240198"/>
                <a:gd name="connsiteY6900" fmla="*/ 586025 h 1729012"/>
                <a:gd name="connsiteX6901" fmla="*/ 1528983 w 2240198"/>
                <a:gd name="connsiteY6901" fmla="*/ 590201 h 1729012"/>
                <a:gd name="connsiteX6902" fmla="*/ 1525963 w 2240198"/>
                <a:gd name="connsiteY6902" fmla="*/ 593918 h 1729012"/>
                <a:gd name="connsiteX6903" fmla="*/ 1522928 w 2240198"/>
                <a:gd name="connsiteY6903" fmla="*/ 596301 h 1729012"/>
                <a:gd name="connsiteX6904" fmla="*/ 1523483 w 2240198"/>
                <a:gd name="connsiteY6904" fmla="*/ 597199 h 1729012"/>
                <a:gd name="connsiteX6905" fmla="*/ 1529262 w 2240198"/>
                <a:gd name="connsiteY6905" fmla="*/ 601367 h 1729012"/>
                <a:gd name="connsiteX6906" fmla="*/ 1528201 w 2240198"/>
                <a:gd name="connsiteY6906" fmla="*/ 602053 h 1729012"/>
                <a:gd name="connsiteX6907" fmla="*/ 1525412 w 2240198"/>
                <a:gd name="connsiteY6907" fmla="*/ 601712 h 1729012"/>
                <a:gd name="connsiteX6908" fmla="*/ 1524267 w 2240198"/>
                <a:gd name="connsiteY6908" fmla="*/ 602087 h 1729012"/>
                <a:gd name="connsiteX6909" fmla="*/ 1523438 w 2240198"/>
                <a:gd name="connsiteY6909" fmla="*/ 602844 h 1729012"/>
                <a:gd name="connsiteX6910" fmla="*/ 1522923 w 2240198"/>
                <a:gd name="connsiteY6910" fmla="*/ 603985 h 1729012"/>
                <a:gd name="connsiteX6911" fmla="*/ 1522891 w 2240198"/>
                <a:gd name="connsiteY6911" fmla="*/ 605589 h 1729012"/>
                <a:gd name="connsiteX6912" fmla="*/ 1523337 w 2240198"/>
                <a:gd name="connsiteY6912" fmla="*/ 607654 h 1729012"/>
                <a:gd name="connsiteX6913" fmla="*/ 1523294 w 2240198"/>
                <a:gd name="connsiteY6913" fmla="*/ 609197 h 1729012"/>
                <a:gd name="connsiteX6914" fmla="*/ 1522758 w 2240198"/>
                <a:gd name="connsiteY6914" fmla="*/ 610214 h 1729012"/>
                <a:gd name="connsiteX6915" fmla="*/ 1523335 w 2240198"/>
                <a:gd name="connsiteY6915" fmla="*/ 610634 h 1729012"/>
                <a:gd name="connsiteX6916" fmla="*/ 1525027 w 2240198"/>
                <a:gd name="connsiteY6916" fmla="*/ 610456 h 1729012"/>
                <a:gd name="connsiteX6917" fmla="*/ 1526452 w 2240198"/>
                <a:gd name="connsiteY6917" fmla="*/ 609617 h 1729012"/>
                <a:gd name="connsiteX6918" fmla="*/ 1528907 w 2240198"/>
                <a:gd name="connsiteY6918" fmla="*/ 606830 h 1729012"/>
                <a:gd name="connsiteX6919" fmla="*/ 1537003 w 2240198"/>
                <a:gd name="connsiteY6919" fmla="*/ 599217 h 1729012"/>
                <a:gd name="connsiteX6920" fmla="*/ 1542180 w 2240198"/>
                <a:gd name="connsiteY6920" fmla="*/ 596366 h 1729012"/>
                <a:gd name="connsiteX6921" fmla="*/ 1543850 w 2240198"/>
                <a:gd name="connsiteY6921" fmla="*/ 596115 h 1729012"/>
                <a:gd name="connsiteX6922" fmla="*/ 1548611 w 2240198"/>
                <a:gd name="connsiteY6922" fmla="*/ 597974 h 1729012"/>
                <a:gd name="connsiteX6923" fmla="*/ 1549726 w 2240198"/>
                <a:gd name="connsiteY6923" fmla="*/ 597867 h 1729012"/>
                <a:gd name="connsiteX6924" fmla="*/ 1544489 w 2240198"/>
                <a:gd name="connsiteY6924" fmla="*/ 591983 h 1729012"/>
                <a:gd name="connsiteX6925" fmla="*/ 1544031 w 2240198"/>
                <a:gd name="connsiteY6925" fmla="*/ 590492 h 1729012"/>
                <a:gd name="connsiteX6926" fmla="*/ 1545095 w 2240198"/>
                <a:gd name="connsiteY6926" fmla="*/ 588291 h 1729012"/>
                <a:gd name="connsiteX6927" fmla="*/ 1545734 w 2240198"/>
                <a:gd name="connsiteY6927" fmla="*/ 587531 h 1729012"/>
                <a:gd name="connsiteX6928" fmla="*/ 1548652 w 2240198"/>
                <a:gd name="connsiteY6928" fmla="*/ 585910 h 1729012"/>
                <a:gd name="connsiteX6929" fmla="*/ 1551071 w 2240198"/>
                <a:gd name="connsiteY6929" fmla="*/ 585045 h 1729012"/>
                <a:gd name="connsiteX6930" fmla="*/ 1552426 w 2240198"/>
                <a:gd name="connsiteY6930" fmla="*/ 585407 h 1729012"/>
                <a:gd name="connsiteX6931" fmla="*/ 1554571 w 2240198"/>
                <a:gd name="connsiteY6931" fmla="*/ 588405 h 1729012"/>
                <a:gd name="connsiteX6932" fmla="*/ 1555570 w 2240198"/>
                <a:gd name="connsiteY6932" fmla="*/ 590492 h 1729012"/>
                <a:gd name="connsiteX6933" fmla="*/ 1557349 w 2240198"/>
                <a:gd name="connsiteY6933" fmla="*/ 591328 h 1729012"/>
                <a:gd name="connsiteX6934" fmla="*/ 1561311 w 2240198"/>
                <a:gd name="connsiteY6934" fmla="*/ 590247 h 1729012"/>
                <a:gd name="connsiteX6935" fmla="*/ 1563951 w 2240198"/>
                <a:gd name="connsiteY6935" fmla="*/ 587695 h 1729012"/>
                <a:gd name="connsiteX6936" fmla="*/ 1567221 w 2240198"/>
                <a:gd name="connsiteY6936" fmla="*/ 589370 h 1729012"/>
                <a:gd name="connsiteX6937" fmla="*/ 1572144 w 2240198"/>
                <a:gd name="connsiteY6937" fmla="*/ 593357 h 1729012"/>
                <a:gd name="connsiteX6938" fmla="*/ 1571695 w 2240198"/>
                <a:gd name="connsiteY6938" fmla="*/ 597343 h 1729012"/>
                <a:gd name="connsiteX6939" fmla="*/ 1571699 w 2240198"/>
                <a:gd name="connsiteY6939" fmla="*/ 601325 h 1729012"/>
                <a:gd name="connsiteX6940" fmla="*/ 1571953 w 2240198"/>
                <a:gd name="connsiteY6940" fmla="*/ 604236 h 1729012"/>
                <a:gd name="connsiteX6941" fmla="*/ 1577832 w 2240198"/>
                <a:gd name="connsiteY6941" fmla="*/ 609561 h 1729012"/>
                <a:gd name="connsiteX6942" fmla="*/ 1581926 w 2240198"/>
                <a:gd name="connsiteY6942" fmla="*/ 611893 h 1729012"/>
                <a:gd name="connsiteX6943" fmla="*/ 1582670 w 2240198"/>
                <a:gd name="connsiteY6943" fmla="*/ 611911 h 1729012"/>
                <a:gd name="connsiteX6944" fmla="*/ 1582575 w 2240198"/>
                <a:gd name="connsiteY6944" fmla="*/ 611113 h 1729012"/>
                <a:gd name="connsiteX6945" fmla="*/ 1581720 w 2240198"/>
                <a:gd name="connsiteY6945" fmla="*/ 609345 h 1729012"/>
                <a:gd name="connsiteX6946" fmla="*/ 1579475 w 2240198"/>
                <a:gd name="connsiteY6946" fmla="*/ 607574 h 1729012"/>
                <a:gd name="connsiteX6947" fmla="*/ 1577454 w 2240198"/>
                <a:gd name="connsiteY6947" fmla="*/ 604836 h 1729012"/>
                <a:gd name="connsiteX6948" fmla="*/ 1575630 w 2240198"/>
                <a:gd name="connsiteY6948" fmla="*/ 601492 h 1729012"/>
                <a:gd name="connsiteX6949" fmla="*/ 1576711 w 2240198"/>
                <a:gd name="connsiteY6949" fmla="*/ 593671 h 1729012"/>
                <a:gd name="connsiteX6950" fmla="*/ 1579775 w 2240198"/>
                <a:gd name="connsiteY6950" fmla="*/ 589574 h 1729012"/>
                <a:gd name="connsiteX6951" fmla="*/ 1582737 w 2240198"/>
                <a:gd name="connsiteY6951" fmla="*/ 590627 h 1729012"/>
                <a:gd name="connsiteX6952" fmla="*/ 1586633 w 2240198"/>
                <a:gd name="connsiteY6952" fmla="*/ 592988 h 1729012"/>
                <a:gd name="connsiteX6953" fmla="*/ 1589711 w 2240198"/>
                <a:gd name="connsiteY6953" fmla="*/ 593209 h 1729012"/>
                <a:gd name="connsiteX6954" fmla="*/ 1594557 w 2240198"/>
                <a:gd name="connsiteY6954" fmla="*/ 592963 h 1729012"/>
                <a:gd name="connsiteX6955" fmla="*/ 1604453 w 2240198"/>
                <a:gd name="connsiteY6955" fmla="*/ 597735 h 1729012"/>
                <a:gd name="connsiteX6956" fmla="*/ 1609767 w 2240198"/>
                <a:gd name="connsiteY6956" fmla="*/ 597840 h 1729012"/>
                <a:gd name="connsiteX6957" fmla="*/ 1609278 w 2240198"/>
                <a:gd name="connsiteY6957" fmla="*/ 595893 h 1729012"/>
                <a:gd name="connsiteX6958" fmla="*/ 1605253 w 2240198"/>
                <a:gd name="connsiteY6958" fmla="*/ 594956 h 1729012"/>
                <a:gd name="connsiteX6959" fmla="*/ 1599379 w 2240198"/>
                <a:gd name="connsiteY6959" fmla="*/ 592318 h 1729012"/>
                <a:gd name="connsiteX6960" fmla="*/ 1590223 w 2240198"/>
                <a:gd name="connsiteY6960" fmla="*/ 589174 h 1729012"/>
                <a:gd name="connsiteX6961" fmla="*/ 1586018 w 2240198"/>
                <a:gd name="connsiteY6961" fmla="*/ 585574 h 1729012"/>
                <a:gd name="connsiteX6962" fmla="*/ 1585227 w 2240198"/>
                <a:gd name="connsiteY6962" fmla="*/ 583883 h 1729012"/>
                <a:gd name="connsiteX6963" fmla="*/ 1585348 w 2240198"/>
                <a:gd name="connsiteY6963" fmla="*/ 582059 h 1729012"/>
                <a:gd name="connsiteX6964" fmla="*/ 1585871 w 2240198"/>
                <a:gd name="connsiteY6964" fmla="*/ 580450 h 1729012"/>
                <a:gd name="connsiteX6965" fmla="*/ 1586796 w 2240198"/>
                <a:gd name="connsiteY6965" fmla="*/ 579051 h 1729012"/>
                <a:gd name="connsiteX6966" fmla="*/ 1588626 w 2240198"/>
                <a:gd name="connsiteY6966" fmla="*/ 577677 h 1729012"/>
                <a:gd name="connsiteX6967" fmla="*/ 1597481 w 2240198"/>
                <a:gd name="connsiteY6967" fmla="*/ 573481 h 1729012"/>
                <a:gd name="connsiteX6968" fmla="*/ 1603764 w 2240198"/>
                <a:gd name="connsiteY6968" fmla="*/ 571696 h 1729012"/>
                <a:gd name="connsiteX6969" fmla="*/ 1608490 w 2240198"/>
                <a:gd name="connsiteY6969" fmla="*/ 571113 h 1729012"/>
                <a:gd name="connsiteX6970" fmla="*/ 1616388 w 2240198"/>
                <a:gd name="connsiteY6970" fmla="*/ 571160 h 1729012"/>
                <a:gd name="connsiteX6971" fmla="*/ 1625563 w 2240198"/>
                <a:gd name="connsiteY6971" fmla="*/ 571892 h 1729012"/>
                <a:gd name="connsiteX6972" fmla="*/ 1630522 w 2240198"/>
                <a:gd name="connsiteY6972" fmla="*/ 573122 h 1729012"/>
                <a:gd name="connsiteX6973" fmla="*/ 1636219 w 2240198"/>
                <a:gd name="connsiteY6973" fmla="*/ 576086 h 1729012"/>
                <a:gd name="connsiteX6974" fmla="*/ 1643433 w 2240198"/>
                <a:gd name="connsiteY6974" fmla="*/ 579017 h 1729012"/>
                <a:gd name="connsiteX6975" fmla="*/ 1646005 w 2240198"/>
                <a:gd name="connsiteY6975" fmla="*/ 579540 h 1729012"/>
                <a:gd name="connsiteX6976" fmla="*/ 1649012 w 2240198"/>
                <a:gd name="connsiteY6976" fmla="*/ 579473 h 1729012"/>
                <a:gd name="connsiteX6977" fmla="*/ 1652449 w 2240198"/>
                <a:gd name="connsiteY6977" fmla="*/ 578812 h 1729012"/>
                <a:gd name="connsiteX6978" fmla="*/ 1655717 w 2240198"/>
                <a:gd name="connsiteY6978" fmla="*/ 579051 h 1729012"/>
                <a:gd name="connsiteX6979" fmla="*/ 1666115 w 2240198"/>
                <a:gd name="connsiteY6979" fmla="*/ 583392 h 1729012"/>
                <a:gd name="connsiteX6980" fmla="*/ 1668864 w 2240198"/>
                <a:gd name="connsiteY6980" fmla="*/ 585621 h 1729012"/>
                <a:gd name="connsiteX6981" fmla="*/ 1670531 w 2240198"/>
                <a:gd name="connsiteY6981" fmla="*/ 588320 h 1729012"/>
                <a:gd name="connsiteX6982" fmla="*/ 1671763 w 2240198"/>
                <a:gd name="connsiteY6982" fmla="*/ 590936 h 1729012"/>
                <a:gd name="connsiteX6983" fmla="*/ 1672566 w 2240198"/>
                <a:gd name="connsiteY6983" fmla="*/ 593474 h 1729012"/>
                <a:gd name="connsiteX6984" fmla="*/ 1672240 w 2240198"/>
                <a:gd name="connsiteY6984" fmla="*/ 595530 h 1729012"/>
                <a:gd name="connsiteX6985" fmla="*/ 1663581 w 2240198"/>
                <a:gd name="connsiteY6985" fmla="*/ 604385 h 1729012"/>
                <a:gd name="connsiteX6986" fmla="*/ 1659813 w 2240198"/>
                <a:gd name="connsiteY6986" fmla="*/ 605892 h 1729012"/>
                <a:gd name="connsiteX6987" fmla="*/ 1657323 w 2240198"/>
                <a:gd name="connsiteY6987" fmla="*/ 609240 h 1729012"/>
                <a:gd name="connsiteX6988" fmla="*/ 1653610 w 2240198"/>
                <a:gd name="connsiteY6988" fmla="*/ 615567 h 1729012"/>
                <a:gd name="connsiteX6989" fmla="*/ 1650468 w 2240198"/>
                <a:gd name="connsiteY6989" fmla="*/ 618947 h 1729012"/>
                <a:gd name="connsiteX6990" fmla="*/ 1650177 w 2240198"/>
                <a:gd name="connsiteY6990" fmla="*/ 619608 h 1729012"/>
                <a:gd name="connsiteX6991" fmla="*/ 1650835 w 2240198"/>
                <a:gd name="connsiteY6991" fmla="*/ 619773 h 1729012"/>
                <a:gd name="connsiteX6992" fmla="*/ 1652731 w 2240198"/>
                <a:gd name="connsiteY6992" fmla="*/ 618260 h 1729012"/>
                <a:gd name="connsiteX6993" fmla="*/ 1655994 w 2240198"/>
                <a:gd name="connsiteY6993" fmla="*/ 613894 h 1729012"/>
                <a:gd name="connsiteX6994" fmla="*/ 1658365 w 2240198"/>
                <a:gd name="connsiteY6994" fmla="*/ 610125 h 1729012"/>
                <a:gd name="connsiteX6995" fmla="*/ 1662714 w 2240198"/>
                <a:gd name="connsiteY6995" fmla="*/ 607008 h 1729012"/>
                <a:gd name="connsiteX6996" fmla="*/ 1669832 w 2240198"/>
                <a:gd name="connsiteY6996" fmla="*/ 603285 h 1729012"/>
                <a:gd name="connsiteX6997" fmla="*/ 1676031 w 2240198"/>
                <a:gd name="connsiteY6997" fmla="*/ 601508 h 1729012"/>
                <a:gd name="connsiteX6998" fmla="*/ 1681312 w 2240198"/>
                <a:gd name="connsiteY6998" fmla="*/ 601678 h 1729012"/>
                <a:gd name="connsiteX6999" fmla="*/ 1685755 w 2240198"/>
                <a:gd name="connsiteY6999" fmla="*/ 602212 h 1729012"/>
                <a:gd name="connsiteX7000" fmla="*/ 1689362 w 2240198"/>
                <a:gd name="connsiteY7000" fmla="*/ 603117 h 1729012"/>
                <a:gd name="connsiteX7001" fmla="*/ 1691504 w 2240198"/>
                <a:gd name="connsiteY7001" fmla="*/ 603874 h 1729012"/>
                <a:gd name="connsiteX7002" fmla="*/ 1692178 w 2240198"/>
                <a:gd name="connsiteY7002" fmla="*/ 604484 h 1729012"/>
                <a:gd name="connsiteX7003" fmla="*/ 1693624 w 2240198"/>
                <a:gd name="connsiteY7003" fmla="*/ 607278 h 1729012"/>
                <a:gd name="connsiteX7004" fmla="*/ 1693541 w 2240198"/>
                <a:gd name="connsiteY7004" fmla="*/ 609169 h 1729012"/>
                <a:gd name="connsiteX7005" fmla="*/ 1692638 w 2240198"/>
                <a:gd name="connsiteY7005" fmla="*/ 611295 h 1729012"/>
                <a:gd name="connsiteX7006" fmla="*/ 1690927 w 2240198"/>
                <a:gd name="connsiteY7006" fmla="*/ 613701 h 1729012"/>
                <a:gd name="connsiteX7007" fmla="*/ 1683174 w 2240198"/>
                <a:gd name="connsiteY7007" fmla="*/ 616359 h 1729012"/>
                <a:gd name="connsiteX7008" fmla="*/ 1678924 w 2240198"/>
                <a:gd name="connsiteY7008" fmla="*/ 618444 h 1729012"/>
                <a:gd name="connsiteX7009" fmla="*/ 1676289 w 2240198"/>
                <a:gd name="connsiteY7009" fmla="*/ 619218 h 1729012"/>
                <a:gd name="connsiteX7010" fmla="*/ 1668382 w 2240198"/>
                <a:gd name="connsiteY7010" fmla="*/ 619990 h 1729012"/>
                <a:gd name="connsiteX7011" fmla="*/ 1668731 w 2240198"/>
                <a:gd name="connsiteY7011" fmla="*/ 620813 h 1729012"/>
                <a:gd name="connsiteX7012" fmla="*/ 1674603 w 2240198"/>
                <a:gd name="connsiteY7012" fmla="*/ 621947 h 1729012"/>
                <a:gd name="connsiteX7013" fmla="*/ 1681163 w 2240198"/>
                <a:gd name="connsiteY7013" fmla="*/ 621566 h 1729012"/>
                <a:gd name="connsiteX7014" fmla="*/ 1680995 w 2240198"/>
                <a:gd name="connsiteY7014" fmla="*/ 622913 h 1729012"/>
                <a:gd name="connsiteX7015" fmla="*/ 1677913 w 2240198"/>
                <a:gd name="connsiteY7015" fmla="*/ 626479 h 1729012"/>
                <a:gd name="connsiteX7016" fmla="*/ 1676915 w 2240198"/>
                <a:gd name="connsiteY7016" fmla="*/ 629579 h 1729012"/>
                <a:gd name="connsiteX7017" fmla="*/ 1677773 w 2240198"/>
                <a:gd name="connsiteY7017" fmla="*/ 632113 h 1729012"/>
                <a:gd name="connsiteX7018" fmla="*/ 1677615 w 2240198"/>
                <a:gd name="connsiteY7018" fmla="*/ 634169 h 1729012"/>
                <a:gd name="connsiteX7019" fmla="*/ 1675318 w 2240198"/>
                <a:gd name="connsiteY7019" fmla="*/ 638486 h 1729012"/>
                <a:gd name="connsiteX7020" fmla="*/ 1672679 w 2240198"/>
                <a:gd name="connsiteY7020" fmla="*/ 642378 h 1729012"/>
                <a:gd name="connsiteX7021" fmla="*/ 1673672 w 2240198"/>
                <a:gd name="connsiteY7021" fmla="*/ 642955 h 1729012"/>
                <a:gd name="connsiteX7022" fmla="*/ 1679688 w 2240198"/>
                <a:gd name="connsiteY7022" fmla="*/ 637364 h 1729012"/>
                <a:gd name="connsiteX7023" fmla="*/ 1681301 w 2240198"/>
                <a:gd name="connsiteY7023" fmla="*/ 631231 h 1729012"/>
                <a:gd name="connsiteX7024" fmla="*/ 1683729 w 2240198"/>
                <a:gd name="connsiteY7024" fmla="*/ 625825 h 1729012"/>
                <a:gd name="connsiteX7025" fmla="*/ 1686556 w 2240198"/>
                <a:gd name="connsiteY7025" fmla="*/ 622844 h 1729012"/>
                <a:gd name="connsiteX7026" fmla="*/ 1688685 w 2240198"/>
                <a:gd name="connsiteY7026" fmla="*/ 621711 h 1729012"/>
                <a:gd name="connsiteX7027" fmla="*/ 1695406 w 2240198"/>
                <a:gd name="connsiteY7027" fmla="*/ 621255 h 1729012"/>
                <a:gd name="connsiteX7028" fmla="*/ 1699133 w 2240198"/>
                <a:gd name="connsiteY7028" fmla="*/ 618085 h 1729012"/>
                <a:gd name="connsiteX7029" fmla="*/ 1702315 w 2240198"/>
                <a:gd name="connsiteY7029" fmla="*/ 617076 h 1729012"/>
                <a:gd name="connsiteX7030" fmla="*/ 1703646 w 2240198"/>
                <a:gd name="connsiteY7030" fmla="*/ 617058 h 1729012"/>
                <a:gd name="connsiteX7031" fmla="*/ 1706356 w 2240198"/>
                <a:gd name="connsiteY7031" fmla="*/ 618239 h 1729012"/>
                <a:gd name="connsiteX7032" fmla="*/ 1706194 w 2240198"/>
                <a:gd name="connsiteY7032" fmla="*/ 619484 h 1729012"/>
                <a:gd name="connsiteX7033" fmla="*/ 1702263 w 2240198"/>
                <a:gd name="connsiteY7033" fmla="*/ 625144 h 1729012"/>
                <a:gd name="connsiteX7034" fmla="*/ 1693930 w 2240198"/>
                <a:gd name="connsiteY7034" fmla="*/ 634282 h 1729012"/>
                <a:gd name="connsiteX7035" fmla="*/ 1697326 w 2240198"/>
                <a:gd name="connsiteY7035" fmla="*/ 633240 h 1729012"/>
                <a:gd name="connsiteX7036" fmla="*/ 1699629 w 2240198"/>
                <a:gd name="connsiteY7036" fmla="*/ 631070 h 1729012"/>
                <a:gd name="connsiteX7037" fmla="*/ 1702713 w 2240198"/>
                <a:gd name="connsiteY7037" fmla="*/ 628904 h 1729012"/>
                <a:gd name="connsiteX7038" fmla="*/ 1706214 w 2240198"/>
                <a:gd name="connsiteY7038" fmla="*/ 625696 h 1729012"/>
                <a:gd name="connsiteX7039" fmla="*/ 1708524 w 2240198"/>
                <a:gd name="connsiteY7039" fmla="*/ 628605 h 1729012"/>
                <a:gd name="connsiteX7040" fmla="*/ 1712077 w 2240198"/>
                <a:gd name="connsiteY7040" fmla="*/ 630772 h 1729012"/>
                <a:gd name="connsiteX7041" fmla="*/ 1714202 w 2240198"/>
                <a:gd name="connsiteY7041" fmla="*/ 635717 h 1729012"/>
                <a:gd name="connsiteX7042" fmla="*/ 1717635 w 2240198"/>
                <a:gd name="connsiteY7042" fmla="*/ 638095 h 1729012"/>
                <a:gd name="connsiteX7043" fmla="*/ 1719708 w 2240198"/>
                <a:gd name="connsiteY7043" fmla="*/ 639940 h 1729012"/>
                <a:gd name="connsiteX7044" fmla="*/ 1719415 w 2240198"/>
                <a:gd name="connsiteY7044" fmla="*/ 636818 h 1729012"/>
                <a:gd name="connsiteX7045" fmla="*/ 1716416 w 2240198"/>
                <a:gd name="connsiteY7045" fmla="*/ 630537 h 1729012"/>
                <a:gd name="connsiteX7046" fmla="*/ 1717234 w 2240198"/>
                <a:gd name="connsiteY7046" fmla="*/ 628021 h 1729012"/>
                <a:gd name="connsiteX7047" fmla="*/ 1719551 w 2240198"/>
                <a:gd name="connsiteY7047" fmla="*/ 626761 h 1729012"/>
                <a:gd name="connsiteX7048" fmla="*/ 1726774 w 2240198"/>
                <a:gd name="connsiteY7048" fmla="*/ 621463 h 1729012"/>
                <a:gd name="connsiteX7049" fmla="*/ 1731819 w 2240198"/>
                <a:gd name="connsiteY7049" fmla="*/ 623232 h 1729012"/>
                <a:gd name="connsiteX7050" fmla="*/ 1734923 w 2240198"/>
                <a:gd name="connsiteY7050" fmla="*/ 624797 h 1729012"/>
                <a:gd name="connsiteX7051" fmla="*/ 1736478 w 2240198"/>
                <a:gd name="connsiteY7051" fmla="*/ 624382 h 1729012"/>
                <a:gd name="connsiteX7052" fmla="*/ 1740400 w 2240198"/>
                <a:gd name="connsiteY7052" fmla="*/ 624600 h 1729012"/>
                <a:gd name="connsiteX7053" fmla="*/ 1746691 w 2240198"/>
                <a:gd name="connsiteY7053" fmla="*/ 625454 h 1729012"/>
                <a:gd name="connsiteX7054" fmla="*/ 1752810 w 2240198"/>
                <a:gd name="connsiteY7054" fmla="*/ 626932 h 1729012"/>
                <a:gd name="connsiteX7055" fmla="*/ 1758755 w 2240198"/>
                <a:gd name="connsiteY7055" fmla="*/ 629040 h 1729012"/>
                <a:gd name="connsiteX7056" fmla="*/ 1763339 w 2240198"/>
                <a:gd name="connsiteY7056" fmla="*/ 631498 h 1729012"/>
                <a:gd name="connsiteX7057" fmla="*/ 1766559 w 2240198"/>
                <a:gd name="connsiteY7057" fmla="*/ 634315 h 1729012"/>
                <a:gd name="connsiteX7058" fmla="*/ 1768508 w 2240198"/>
                <a:gd name="connsiteY7058" fmla="*/ 636259 h 1729012"/>
                <a:gd name="connsiteX7059" fmla="*/ 1769185 w 2240198"/>
                <a:gd name="connsiteY7059" fmla="*/ 637335 h 1729012"/>
                <a:gd name="connsiteX7060" fmla="*/ 1770272 w 2240198"/>
                <a:gd name="connsiteY7060" fmla="*/ 640134 h 1729012"/>
                <a:gd name="connsiteX7061" fmla="*/ 1769438 w 2240198"/>
                <a:gd name="connsiteY7061" fmla="*/ 641992 h 1729012"/>
                <a:gd name="connsiteX7062" fmla="*/ 1764945 w 2240198"/>
                <a:gd name="connsiteY7062" fmla="*/ 646267 h 1729012"/>
                <a:gd name="connsiteX7063" fmla="*/ 1762449 w 2240198"/>
                <a:gd name="connsiteY7063" fmla="*/ 648206 h 1729012"/>
                <a:gd name="connsiteX7064" fmla="*/ 1759963 w 2240198"/>
                <a:gd name="connsiteY7064" fmla="*/ 649075 h 1729012"/>
                <a:gd name="connsiteX7065" fmla="*/ 1753292 w 2240198"/>
                <a:gd name="connsiteY7065" fmla="*/ 648222 h 1729012"/>
                <a:gd name="connsiteX7066" fmla="*/ 1751218 w 2240198"/>
                <a:gd name="connsiteY7066" fmla="*/ 648708 h 1729012"/>
                <a:gd name="connsiteX7067" fmla="*/ 1749039 w 2240198"/>
                <a:gd name="connsiteY7067" fmla="*/ 650052 h 1729012"/>
                <a:gd name="connsiteX7068" fmla="*/ 1742096 w 2240198"/>
                <a:gd name="connsiteY7068" fmla="*/ 655911 h 1729012"/>
                <a:gd name="connsiteX7069" fmla="*/ 1738257 w 2240198"/>
                <a:gd name="connsiteY7069" fmla="*/ 658440 h 1729012"/>
                <a:gd name="connsiteX7070" fmla="*/ 1734480 w 2240198"/>
                <a:gd name="connsiteY7070" fmla="*/ 660050 h 1729012"/>
                <a:gd name="connsiteX7071" fmla="*/ 1733601 w 2240198"/>
                <a:gd name="connsiteY7071" fmla="*/ 660902 h 1729012"/>
                <a:gd name="connsiteX7072" fmla="*/ 1741720 w 2240198"/>
                <a:gd name="connsiteY7072" fmla="*/ 660821 h 1729012"/>
                <a:gd name="connsiteX7073" fmla="*/ 1743967 w 2240198"/>
                <a:gd name="connsiteY7073" fmla="*/ 659084 h 1729012"/>
                <a:gd name="connsiteX7074" fmla="*/ 1745841 w 2240198"/>
                <a:gd name="connsiteY7074" fmla="*/ 655825 h 1729012"/>
                <a:gd name="connsiteX7075" fmla="*/ 1749412 w 2240198"/>
                <a:gd name="connsiteY7075" fmla="*/ 652457 h 1729012"/>
                <a:gd name="connsiteX7076" fmla="*/ 1756173 w 2240198"/>
                <a:gd name="connsiteY7076" fmla="*/ 650908 h 1729012"/>
                <a:gd name="connsiteX7077" fmla="*/ 1765598 w 2240198"/>
                <a:gd name="connsiteY7077" fmla="*/ 654230 h 1729012"/>
                <a:gd name="connsiteX7078" fmla="*/ 1770279 w 2240198"/>
                <a:gd name="connsiteY7078" fmla="*/ 654097 h 1729012"/>
                <a:gd name="connsiteX7079" fmla="*/ 1773851 w 2240198"/>
                <a:gd name="connsiteY7079" fmla="*/ 650762 h 1729012"/>
                <a:gd name="connsiteX7080" fmla="*/ 1777840 w 2240198"/>
                <a:gd name="connsiteY7080" fmla="*/ 648489 h 1729012"/>
                <a:gd name="connsiteX7081" fmla="*/ 1779411 w 2240198"/>
                <a:gd name="connsiteY7081" fmla="*/ 648037 h 1729012"/>
                <a:gd name="connsiteX7082" fmla="*/ 1780263 w 2240198"/>
                <a:gd name="connsiteY7082" fmla="*/ 648290 h 1729012"/>
                <a:gd name="connsiteX7083" fmla="*/ 1783302 w 2240198"/>
                <a:gd name="connsiteY7083" fmla="*/ 650661 h 1729012"/>
                <a:gd name="connsiteX7084" fmla="*/ 1784218 w 2240198"/>
                <a:gd name="connsiteY7084" fmla="*/ 652774 h 1729012"/>
                <a:gd name="connsiteX7085" fmla="*/ 1784152 w 2240198"/>
                <a:gd name="connsiteY7085" fmla="*/ 657592 h 1729012"/>
                <a:gd name="connsiteX7086" fmla="*/ 1783743 w 2240198"/>
                <a:gd name="connsiteY7086" fmla="*/ 659049 h 1729012"/>
                <a:gd name="connsiteX7087" fmla="*/ 1781043 w 2240198"/>
                <a:gd name="connsiteY7087" fmla="*/ 662679 h 1729012"/>
                <a:gd name="connsiteX7088" fmla="*/ 1774449 w 2240198"/>
                <a:gd name="connsiteY7088" fmla="*/ 668118 h 1729012"/>
                <a:gd name="connsiteX7089" fmla="*/ 1770138 w 2240198"/>
                <a:gd name="connsiteY7089" fmla="*/ 670155 h 1729012"/>
                <a:gd name="connsiteX7090" fmla="*/ 1765353 w 2240198"/>
                <a:gd name="connsiteY7090" fmla="*/ 671250 h 1729012"/>
                <a:gd name="connsiteX7091" fmla="*/ 1760144 w 2240198"/>
                <a:gd name="connsiteY7091" fmla="*/ 673090 h 1729012"/>
                <a:gd name="connsiteX7092" fmla="*/ 1758306 w 2240198"/>
                <a:gd name="connsiteY7092" fmla="*/ 674572 h 1729012"/>
                <a:gd name="connsiteX7093" fmla="*/ 1756507 w 2240198"/>
                <a:gd name="connsiteY7093" fmla="*/ 676674 h 1729012"/>
                <a:gd name="connsiteX7094" fmla="*/ 1754712 w 2240198"/>
                <a:gd name="connsiteY7094" fmla="*/ 678079 h 1729012"/>
                <a:gd name="connsiteX7095" fmla="*/ 1752429 w 2240198"/>
                <a:gd name="connsiteY7095" fmla="*/ 679245 h 1729012"/>
                <a:gd name="connsiteX7096" fmla="*/ 1755417 w 2240198"/>
                <a:gd name="connsiteY7096" fmla="*/ 680954 h 1729012"/>
                <a:gd name="connsiteX7097" fmla="*/ 1756560 w 2240198"/>
                <a:gd name="connsiteY7097" fmla="*/ 680907 h 1729012"/>
                <a:gd name="connsiteX7098" fmla="*/ 1757665 w 2240198"/>
                <a:gd name="connsiteY7098" fmla="*/ 679884 h 1729012"/>
                <a:gd name="connsiteX7099" fmla="*/ 1760675 w 2240198"/>
                <a:gd name="connsiteY7099" fmla="*/ 675851 h 1729012"/>
                <a:gd name="connsiteX7100" fmla="*/ 1762914 w 2240198"/>
                <a:gd name="connsiteY7100" fmla="*/ 674092 h 1729012"/>
                <a:gd name="connsiteX7101" fmla="*/ 1764183 w 2240198"/>
                <a:gd name="connsiteY7101" fmla="*/ 673722 h 1729012"/>
                <a:gd name="connsiteX7102" fmla="*/ 1765490 w 2240198"/>
                <a:gd name="connsiteY7102" fmla="*/ 673890 h 1729012"/>
                <a:gd name="connsiteX7103" fmla="*/ 1766764 w 2240198"/>
                <a:gd name="connsiteY7103" fmla="*/ 674683 h 1729012"/>
                <a:gd name="connsiteX7104" fmla="*/ 1768006 w 2240198"/>
                <a:gd name="connsiteY7104" fmla="*/ 676098 h 1729012"/>
                <a:gd name="connsiteX7105" fmla="*/ 1767912 w 2240198"/>
                <a:gd name="connsiteY7105" fmla="*/ 679535 h 1729012"/>
                <a:gd name="connsiteX7106" fmla="*/ 1764112 w 2240198"/>
                <a:gd name="connsiteY7106" fmla="*/ 693099 h 1729012"/>
                <a:gd name="connsiteX7107" fmla="*/ 1764729 w 2240198"/>
                <a:gd name="connsiteY7107" fmla="*/ 693060 h 1729012"/>
                <a:gd name="connsiteX7108" fmla="*/ 1767062 w 2240198"/>
                <a:gd name="connsiteY7108" fmla="*/ 689389 h 1729012"/>
                <a:gd name="connsiteX7109" fmla="*/ 1773853 w 2240198"/>
                <a:gd name="connsiteY7109" fmla="*/ 675238 h 1729012"/>
                <a:gd name="connsiteX7110" fmla="*/ 1775513 w 2240198"/>
                <a:gd name="connsiteY7110" fmla="*/ 672394 h 1729012"/>
                <a:gd name="connsiteX7111" fmla="*/ 1778791 w 2240198"/>
                <a:gd name="connsiteY7111" fmla="*/ 669521 h 1729012"/>
                <a:gd name="connsiteX7112" fmla="*/ 1786134 w 2240198"/>
                <a:gd name="connsiteY7112" fmla="*/ 665165 h 1729012"/>
                <a:gd name="connsiteX7113" fmla="*/ 1791806 w 2240198"/>
                <a:gd name="connsiteY7113" fmla="*/ 662882 h 1729012"/>
                <a:gd name="connsiteX7114" fmla="*/ 1798209 w 2240198"/>
                <a:gd name="connsiteY7114" fmla="*/ 660959 h 1729012"/>
                <a:gd name="connsiteX7115" fmla="*/ 1801630 w 2240198"/>
                <a:gd name="connsiteY7115" fmla="*/ 660244 h 1729012"/>
                <a:gd name="connsiteX7116" fmla="*/ 1805538 w 2240198"/>
                <a:gd name="connsiteY7116" fmla="*/ 660726 h 1729012"/>
                <a:gd name="connsiteX7117" fmla="*/ 1808078 w 2240198"/>
                <a:gd name="connsiteY7117" fmla="*/ 662971 h 1729012"/>
                <a:gd name="connsiteX7118" fmla="*/ 1811511 w 2240198"/>
                <a:gd name="connsiteY7118" fmla="*/ 663375 h 1729012"/>
                <a:gd name="connsiteX7119" fmla="*/ 1815689 w 2240198"/>
                <a:gd name="connsiteY7119" fmla="*/ 662816 h 1729012"/>
                <a:gd name="connsiteX7120" fmla="*/ 1818385 w 2240198"/>
                <a:gd name="connsiteY7120" fmla="*/ 663085 h 1729012"/>
                <a:gd name="connsiteX7121" fmla="*/ 1821436 w 2240198"/>
                <a:gd name="connsiteY7121" fmla="*/ 663973 h 1729012"/>
                <a:gd name="connsiteX7122" fmla="*/ 1824047 w 2240198"/>
                <a:gd name="connsiteY7122" fmla="*/ 665635 h 1729012"/>
                <a:gd name="connsiteX7123" fmla="*/ 1828485 w 2240198"/>
                <a:gd name="connsiteY7123" fmla="*/ 667520 h 1729012"/>
                <a:gd name="connsiteX7124" fmla="*/ 1838499 w 2240198"/>
                <a:gd name="connsiteY7124" fmla="*/ 671053 h 1729012"/>
                <a:gd name="connsiteX7125" fmla="*/ 1839745 w 2240198"/>
                <a:gd name="connsiteY7125" fmla="*/ 671795 h 1729012"/>
                <a:gd name="connsiteX7126" fmla="*/ 1840906 w 2240198"/>
                <a:gd name="connsiteY7126" fmla="*/ 673131 h 1729012"/>
                <a:gd name="connsiteX7127" fmla="*/ 1841986 w 2240198"/>
                <a:gd name="connsiteY7127" fmla="*/ 675061 h 1729012"/>
                <a:gd name="connsiteX7128" fmla="*/ 1841852 w 2240198"/>
                <a:gd name="connsiteY7128" fmla="*/ 676969 h 1729012"/>
                <a:gd name="connsiteX7129" fmla="*/ 1840506 w 2240198"/>
                <a:gd name="connsiteY7129" fmla="*/ 678859 h 1729012"/>
                <a:gd name="connsiteX7130" fmla="*/ 1838834 w 2240198"/>
                <a:gd name="connsiteY7130" fmla="*/ 680009 h 1729012"/>
                <a:gd name="connsiteX7131" fmla="*/ 1836836 w 2240198"/>
                <a:gd name="connsiteY7131" fmla="*/ 680429 h 1729012"/>
                <a:gd name="connsiteX7132" fmla="*/ 1834770 w 2240198"/>
                <a:gd name="connsiteY7132" fmla="*/ 681456 h 1729012"/>
                <a:gd name="connsiteX7133" fmla="*/ 1830946 w 2240198"/>
                <a:gd name="connsiteY7133" fmla="*/ 684141 h 1729012"/>
                <a:gd name="connsiteX7134" fmla="*/ 1829697 w 2240198"/>
                <a:gd name="connsiteY7134" fmla="*/ 684596 h 1729012"/>
                <a:gd name="connsiteX7135" fmla="*/ 1823700 w 2240198"/>
                <a:gd name="connsiteY7135" fmla="*/ 685749 h 1729012"/>
                <a:gd name="connsiteX7136" fmla="*/ 1818139 w 2240198"/>
                <a:gd name="connsiteY7136" fmla="*/ 686314 h 1729012"/>
                <a:gd name="connsiteX7137" fmla="*/ 1814666 w 2240198"/>
                <a:gd name="connsiteY7137" fmla="*/ 687393 h 1729012"/>
                <a:gd name="connsiteX7138" fmla="*/ 1807991 w 2240198"/>
                <a:gd name="connsiteY7138" fmla="*/ 690300 h 1729012"/>
                <a:gd name="connsiteX7139" fmla="*/ 1798800 w 2240198"/>
                <a:gd name="connsiteY7139" fmla="*/ 695686 h 1729012"/>
                <a:gd name="connsiteX7140" fmla="*/ 1798894 w 2240198"/>
                <a:gd name="connsiteY7140" fmla="*/ 696968 h 1729012"/>
                <a:gd name="connsiteX7141" fmla="*/ 1802561 w 2240198"/>
                <a:gd name="connsiteY7141" fmla="*/ 697584 h 1729012"/>
                <a:gd name="connsiteX7142" fmla="*/ 1805533 w 2240198"/>
                <a:gd name="connsiteY7142" fmla="*/ 696773 h 1729012"/>
                <a:gd name="connsiteX7143" fmla="*/ 1809624 w 2240198"/>
                <a:gd name="connsiteY7143" fmla="*/ 693054 h 1729012"/>
                <a:gd name="connsiteX7144" fmla="*/ 1813466 w 2240198"/>
                <a:gd name="connsiteY7144" fmla="*/ 691631 h 1729012"/>
                <a:gd name="connsiteX7145" fmla="*/ 1819472 w 2240198"/>
                <a:gd name="connsiteY7145" fmla="*/ 690491 h 1729012"/>
                <a:gd name="connsiteX7146" fmla="*/ 1827779 w 2240198"/>
                <a:gd name="connsiteY7146" fmla="*/ 689496 h 1729012"/>
                <a:gd name="connsiteX7147" fmla="*/ 1831337 w 2240198"/>
                <a:gd name="connsiteY7147" fmla="*/ 689651 h 1729012"/>
                <a:gd name="connsiteX7148" fmla="*/ 1831979 w 2240198"/>
                <a:gd name="connsiteY7148" fmla="*/ 689851 h 1729012"/>
                <a:gd name="connsiteX7149" fmla="*/ 1832442 w 2240198"/>
                <a:gd name="connsiteY7149" fmla="*/ 690732 h 1729012"/>
                <a:gd name="connsiteX7150" fmla="*/ 1832730 w 2240198"/>
                <a:gd name="connsiteY7150" fmla="*/ 692287 h 1729012"/>
                <a:gd name="connsiteX7151" fmla="*/ 1831370 w 2240198"/>
                <a:gd name="connsiteY7151" fmla="*/ 694315 h 1729012"/>
                <a:gd name="connsiteX7152" fmla="*/ 1829793 w 2240198"/>
                <a:gd name="connsiteY7152" fmla="*/ 695274 h 1729012"/>
                <a:gd name="connsiteX7153" fmla="*/ 1825503 w 2240198"/>
                <a:gd name="connsiteY7153" fmla="*/ 699855 h 1729012"/>
                <a:gd name="connsiteX7154" fmla="*/ 1828324 w 2240198"/>
                <a:gd name="connsiteY7154" fmla="*/ 701043 h 1729012"/>
                <a:gd name="connsiteX7155" fmla="*/ 1832204 w 2240198"/>
                <a:gd name="connsiteY7155" fmla="*/ 701557 h 1729012"/>
                <a:gd name="connsiteX7156" fmla="*/ 1834417 w 2240198"/>
                <a:gd name="connsiteY7156" fmla="*/ 700331 h 1729012"/>
                <a:gd name="connsiteX7157" fmla="*/ 1836418 w 2240198"/>
                <a:gd name="connsiteY7157" fmla="*/ 697519 h 1729012"/>
                <a:gd name="connsiteX7158" fmla="*/ 1838662 w 2240198"/>
                <a:gd name="connsiteY7158" fmla="*/ 695959 h 1729012"/>
                <a:gd name="connsiteX7159" fmla="*/ 1841149 w 2240198"/>
                <a:gd name="connsiteY7159" fmla="*/ 695650 h 1729012"/>
                <a:gd name="connsiteX7160" fmla="*/ 1843335 w 2240198"/>
                <a:gd name="connsiteY7160" fmla="*/ 694935 h 1729012"/>
                <a:gd name="connsiteX7161" fmla="*/ 1845221 w 2240198"/>
                <a:gd name="connsiteY7161" fmla="*/ 693807 h 1729012"/>
                <a:gd name="connsiteX7162" fmla="*/ 1845734 w 2240198"/>
                <a:gd name="connsiteY7162" fmla="*/ 693070 h 1729012"/>
                <a:gd name="connsiteX7163" fmla="*/ 1842991 w 2240198"/>
                <a:gd name="connsiteY7163" fmla="*/ 691607 h 1729012"/>
                <a:gd name="connsiteX7164" fmla="*/ 1842773 w 2240198"/>
                <a:gd name="connsiteY7164" fmla="*/ 690716 h 1729012"/>
                <a:gd name="connsiteX7165" fmla="*/ 1843892 w 2240198"/>
                <a:gd name="connsiteY7165" fmla="*/ 688526 h 1729012"/>
                <a:gd name="connsiteX7166" fmla="*/ 1845909 w 2240198"/>
                <a:gd name="connsiteY7166" fmla="*/ 686099 h 1729012"/>
                <a:gd name="connsiteX7167" fmla="*/ 1848011 w 2240198"/>
                <a:gd name="connsiteY7167" fmla="*/ 684589 h 1729012"/>
                <a:gd name="connsiteX7168" fmla="*/ 1849572 w 2240198"/>
                <a:gd name="connsiteY7168" fmla="*/ 684469 h 1729012"/>
                <a:gd name="connsiteX7169" fmla="*/ 1854738 w 2240198"/>
                <a:gd name="connsiteY7169" fmla="*/ 686087 h 1729012"/>
                <a:gd name="connsiteX7170" fmla="*/ 1858271 w 2240198"/>
                <a:gd name="connsiteY7170" fmla="*/ 688911 h 1729012"/>
                <a:gd name="connsiteX7171" fmla="*/ 1867205 w 2240198"/>
                <a:gd name="connsiteY7171" fmla="*/ 697339 h 1729012"/>
                <a:gd name="connsiteX7172" fmla="*/ 1868353 w 2240198"/>
                <a:gd name="connsiteY7172" fmla="*/ 698972 h 1729012"/>
                <a:gd name="connsiteX7173" fmla="*/ 1871459 w 2240198"/>
                <a:gd name="connsiteY7173" fmla="*/ 705209 h 1729012"/>
                <a:gd name="connsiteX7174" fmla="*/ 1872049 w 2240198"/>
                <a:gd name="connsiteY7174" fmla="*/ 707975 h 1729012"/>
                <a:gd name="connsiteX7175" fmla="*/ 1871538 w 2240198"/>
                <a:gd name="connsiteY7175" fmla="*/ 709899 h 1729012"/>
                <a:gd name="connsiteX7176" fmla="*/ 1870807 w 2240198"/>
                <a:gd name="connsiteY7176" fmla="*/ 711078 h 1729012"/>
                <a:gd name="connsiteX7177" fmla="*/ 1869852 w 2240198"/>
                <a:gd name="connsiteY7177" fmla="*/ 711503 h 1729012"/>
                <a:gd name="connsiteX7178" fmla="*/ 1867888 w 2240198"/>
                <a:gd name="connsiteY7178" fmla="*/ 711516 h 1729012"/>
                <a:gd name="connsiteX7179" fmla="*/ 1855984 w 2240198"/>
                <a:gd name="connsiteY7179" fmla="*/ 708972 h 1729012"/>
                <a:gd name="connsiteX7180" fmla="*/ 1850552 w 2240198"/>
                <a:gd name="connsiteY7180" fmla="*/ 709303 h 1729012"/>
                <a:gd name="connsiteX7181" fmla="*/ 1848180 w 2240198"/>
                <a:gd name="connsiteY7181" fmla="*/ 710014 h 1729012"/>
                <a:gd name="connsiteX7182" fmla="*/ 1846266 w 2240198"/>
                <a:gd name="connsiteY7182" fmla="*/ 711083 h 1729012"/>
                <a:gd name="connsiteX7183" fmla="*/ 1844780 w 2240198"/>
                <a:gd name="connsiteY7183" fmla="*/ 712427 h 1729012"/>
                <a:gd name="connsiteX7184" fmla="*/ 1843723 w 2240198"/>
                <a:gd name="connsiteY7184" fmla="*/ 714053 h 1729012"/>
                <a:gd name="connsiteX7185" fmla="*/ 1841635 w 2240198"/>
                <a:gd name="connsiteY7185" fmla="*/ 714968 h 1729012"/>
                <a:gd name="connsiteX7186" fmla="*/ 1834083 w 2240198"/>
                <a:gd name="connsiteY7186" fmla="*/ 715000 h 1729012"/>
                <a:gd name="connsiteX7187" fmla="*/ 1829844 w 2240198"/>
                <a:gd name="connsiteY7187" fmla="*/ 715906 h 1729012"/>
                <a:gd name="connsiteX7188" fmla="*/ 1822556 w 2240198"/>
                <a:gd name="connsiteY7188" fmla="*/ 718111 h 1729012"/>
                <a:gd name="connsiteX7189" fmla="*/ 1819941 w 2240198"/>
                <a:gd name="connsiteY7189" fmla="*/ 719329 h 1729012"/>
                <a:gd name="connsiteX7190" fmla="*/ 1819355 w 2240198"/>
                <a:gd name="connsiteY7190" fmla="*/ 720922 h 1729012"/>
                <a:gd name="connsiteX7191" fmla="*/ 1823814 w 2240198"/>
                <a:gd name="connsiteY7191" fmla="*/ 720644 h 1729012"/>
                <a:gd name="connsiteX7192" fmla="*/ 1831159 w 2240198"/>
                <a:gd name="connsiteY7192" fmla="*/ 718573 h 1729012"/>
                <a:gd name="connsiteX7193" fmla="*/ 1838061 w 2240198"/>
                <a:gd name="connsiteY7193" fmla="*/ 717985 h 1729012"/>
                <a:gd name="connsiteX7194" fmla="*/ 1849596 w 2240198"/>
                <a:gd name="connsiteY7194" fmla="*/ 722540 h 1729012"/>
                <a:gd name="connsiteX7195" fmla="*/ 1853396 w 2240198"/>
                <a:gd name="connsiteY7195" fmla="*/ 723247 h 1729012"/>
                <a:gd name="connsiteX7196" fmla="*/ 1855511 w 2240198"/>
                <a:gd name="connsiteY7196" fmla="*/ 722592 h 1729012"/>
                <a:gd name="connsiteX7197" fmla="*/ 1858055 w 2240198"/>
                <a:gd name="connsiteY7197" fmla="*/ 722388 h 1729012"/>
                <a:gd name="connsiteX7198" fmla="*/ 1867275 w 2240198"/>
                <a:gd name="connsiteY7198" fmla="*/ 722691 h 1729012"/>
                <a:gd name="connsiteX7199" fmla="*/ 1870418 w 2240198"/>
                <a:gd name="connsiteY7199" fmla="*/ 723247 h 1729012"/>
                <a:gd name="connsiteX7200" fmla="*/ 1875090 w 2240198"/>
                <a:gd name="connsiteY7200" fmla="*/ 724991 h 1729012"/>
                <a:gd name="connsiteX7201" fmla="*/ 1882237 w 2240198"/>
                <a:gd name="connsiteY7201" fmla="*/ 728776 h 1729012"/>
                <a:gd name="connsiteX7202" fmla="*/ 1883609 w 2240198"/>
                <a:gd name="connsiteY7202" fmla="*/ 729884 h 1729012"/>
                <a:gd name="connsiteX7203" fmla="*/ 1884407 w 2240198"/>
                <a:gd name="connsiteY7203" fmla="*/ 731052 h 1729012"/>
                <a:gd name="connsiteX7204" fmla="*/ 1884635 w 2240198"/>
                <a:gd name="connsiteY7204" fmla="*/ 732272 h 1729012"/>
                <a:gd name="connsiteX7205" fmla="*/ 1884558 w 2240198"/>
                <a:gd name="connsiteY7205" fmla="*/ 735280 h 1729012"/>
                <a:gd name="connsiteX7206" fmla="*/ 1883845 w 2240198"/>
                <a:gd name="connsiteY7206" fmla="*/ 736298 h 1729012"/>
                <a:gd name="connsiteX7207" fmla="*/ 1881424 w 2240198"/>
                <a:gd name="connsiteY7207" fmla="*/ 736988 h 1729012"/>
                <a:gd name="connsiteX7208" fmla="*/ 1871152 w 2240198"/>
                <a:gd name="connsiteY7208" fmla="*/ 736189 h 1729012"/>
                <a:gd name="connsiteX7209" fmla="*/ 1868017 w 2240198"/>
                <a:gd name="connsiteY7209" fmla="*/ 735562 h 1729012"/>
                <a:gd name="connsiteX7210" fmla="*/ 1864159 w 2240198"/>
                <a:gd name="connsiteY7210" fmla="*/ 736352 h 1729012"/>
                <a:gd name="connsiteX7211" fmla="*/ 1861030 w 2240198"/>
                <a:gd name="connsiteY7211" fmla="*/ 736076 h 1729012"/>
                <a:gd name="connsiteX7212" fmla="*/ 1857028 w 2240198"/>
                <a:gd name="connsiteY7212" fmla="*/ 734870 h 1729012"/>
                <a:gd name="connsiteX7213" fmla="*/ 1852630 w 2240198"/>
                <a:gd name="connsiteY7213" fmla="*/ 732732 h 1729012"/>
                <a:gd name="connsiteX7214" fmla="*/ 1846045 w 2240198"/>
                <a:gd name="connsiteY7214" fmla="*/ 734761 h 1729012"/>
                <a:gd name="connsiteX7215" fmla="*/ 1840767 w 2240198"/>
                <a:gd name="connsiteY7215" fmla="*/ 733443 h 1729012"/>
                <a:gd name="connsiteX7216" fmla="*/ 1835377 w 2240198"/>
                <a:gd name="connsiteY7216" fmla="*/ 734612 h 1729012"/>
                <a:gd name="connsiteX7217" fmla="*/ 1824684 w 2240198"/>
                <a:gd name="connsiteY7217" fmla="*/ 739426 h 1729012"/>
                <a:gd name="connsiteX7218" fmla="*/ 1825880 w 2240198"/>
                <a:gd name="connsiteY7218" fmla="*/ 740256 h 1729012"/>
                <a:gd name="connsiteX7219" fmla="*/ 1840533 w 2240198"/>
                <a:gd name="connsiteY7219" fmla="*/ 736126 h 1729012"/>
                <a:gd name="connsiteX7220" fmla="*/ 1843362 w 2240198"/>
                <a:gd name="connsiteY7220" fmla="*/ 736378 h 1729012"/>
                <a:gd name="connsiteX7221" fmla="*/ 1847994 w 2240198"/>
                <a:gd name="connsiteY7221" fmla="*/ 737884 h 1729012"/>
                <a:gd name="connsiteX7222" fmla="*/ 1855315 w 2240198"/>
                <a:gd name="connsiteY7222" fmla="*/ 740852 h 1729012"/>
                <a:gd name="connsiteX7223" fmla="*/ 1857366 w 2240198"/>
                <a:gd name="connsiteY7223" fmla="*/ 742066 h 1729012"/>
                <a:gd name="connsiteX7224" fmla="*/ 1857383 w 2240198"/>
                <a:gd name="connsiteY7224" fmla="*/ 746722 h 1729012"/>
                <a:gd name="connsiteX7225" fmla="*/ 1856265 w 2240198"/>
                <a:gd name="connsiteY7225" fmla="*/ 749848 h 1729012"/>
                <a:gd name="connsiteX7226" fmla="*/ 1854032 w 2240198"/>
                <a:gd name="connsiteY7226" fmla="*/ 753361 h 1729012"/>
                <a:gd name="connsiteX7227" fmla="*/ 1850674 w 2240198"/>
                <a:gd name="connsiteY7227" fmla="*/ 752888 h 1729012"/>
                <a:gd name="connsiteX7228" fmla="*/ 1842849 w 2240198"/>
                <a:gd name="connsiteY7228" fmla="*/ 750703 h 1729012"/>
                <a:gd name="connsiteX7229" fmla="*/ 1839649 w 2240198"/>
                <a:gd name="connsiteY7229" fmla="*/ 750402 h 1729012"/>
                <a:gd name="connsiteX7230" fmla="*/ 1837308 w 2240198"/>
                <a:gd name="connsiteY7230" fmla="*/ 750759 h 1729012"/>
                <a:gd name="connsiteX7231" fmla="*/ 1834165 w 2240198"/>
                <a:gd name="connsiteY7231" fmla="*/ 752151 h 1729012"/>
                <a:gd name="connsiteX7232" fmla="*/ 1832680 w 2240198"/>
                <a:gd name="connsiteY7232" fmla="*/ 752201 h 1729012"/>
                <a:gd name="connsiteX7233" fmla="*/ 1820164 w 2240198"/>
                <a:gd name="connsiteY7233" fmla="*/ 749428 h 1729012"/>
                <a:gd name="connsiteX7234" fmla="*/ 1817351 w 2240198"/>
                <a:gd name="connsiteY7234" fmla="*/ 749297 h 1729012"/>
                <a:gd name="connsiteX7235" fmla="*/ 1817025 w 2240198"/>
                <a:gd name="connsiteY7235" fmla="*/ 749579 h 1729012"/>
                <a:gd name="connsiteX7236" fmla="*/ 1817623 w 2240198"/>
                <a:gd name="connsiteY7236" fmla="*/ 750130 h 1729012"/>
                <a:gd name="connsiteX7237" fmla="*/ 1828973 w 2240198"/>
                <a:gd name="connsiteY7237" fmla="*/ 754423 h 1729012"/>
                <a:gd name="connsiteX7238" fmla="*/ 1837362 w 2240198"/>
                <a:gd name="connsiteY7238" fmla="*/ 754892 h 1729012"/>
                <a:gd name="connsiteX7239" fmla="*/ 1842621 w 2240198"/>
                <a:gd name="connsiteY7239" fmla="*/ 755634 h 1729012"/>
                <a:gd name="connsiteX7240" fmla="*/ 1845735 w 2240198"/>
                <a:gd name="connsiteY7240" fmla="*/ 756941 h 1729012"/>
                <a:gd name="connsiteX7241" fmla="*/ 1847204 w 2240198"/>
                <a:gd name="connsiteY7241" fmla="*/ 757909 h 1729012"/>
                <a:gd name="connsiteX7242" fmla="*/ 1847308 w 2240198"/>
                <a:gd name="connsiteY7242" fmla="*/ 760775 h 1729012"/>
                <a:gd name="connsiteX7243" fmla="*/ 1850109 w 2240198"/>
                <a:gd name="connsiteY7243" fmla="*/ 763655 h 1729012"/>
                <a:gd name="connsiteX7244" fmla="*/ 1852630 w 2240198"/>
                <a:gd name="connsiteY7244" fmla="*/ 764825 h 1729012"/>
                <a:gd name="connsiteX7245" fmla="*/ 1854238 w 2240198"/>
                <a:gd name="connsiteY7245" fmla="*/ 764879 h 1729012"/>
                <a:gd name="connsiteX7246" fmla="*/ 1857003 w 2240198"/>
                <a:gd name="connsiteY7246" fmla="*/ 763819 h 1729012"/>
                <a:gd name="connsiteX7247" fmla="*/ 1859794 w 2240198"/>
                <a:gd name="connsiteY7247" fmla="*/ 763655 h 1729012"/>
                <a:gd name="connsiteX7248" fmla="*/ 1862051 w 2240198"/>
                <a:gd name="connsiteY7248" fmla="*/ 764393 h 1729012"/>
                <a:gd name="connsiteX7249" fmla="*/ 1864876 w 2240198"/>
                <a:gd name="connsiteY7249" fmla="*/ 765981 h 1729012"/>
                <a:gd name="connsiteX7250" fmla="*/ 1868294 w 2240198"/>
                <a:gd name="connsiteY7250" fmla="*/ 766425 h 1729012"/>
                <a:gd name="connsiteX7251" fmla="*/ 1871292 w 2240198"/>
                <a:gd name="connsiteY7251" fmla="*/ 767389 h 1729012"/>
                <a:gd name="connsiteX7252" fmla="*/ 1873607 w 2240198"/>
                <a:gd name="connsiteY7252" fmla="*/ 767583 h 1729012"/>
                <a:gd name="connsiteX7253" fmla="*/ 1880124 w 2240198"/>
                <a:gd name="connsiteY7253" fmla="*/ 767136 h 1729012"/>
                <a:gd name="connsiteX7254" fmla="*/ 1882949 w 2240198"/>
                <a:gd name="connsiteY7254" fmla="*/ 767746 h 1729012"/>
                <a:gd name="connsiteX7255" fmla="*/ 1883681 w 2240198"/>
                <a:gd name="connsiteY7255" fmla="*/ 768275 h 1729012"/>
                <a:gd name="connsiteX7256" fmla="*/ 1882451 w 2240198"/>
                <a:gd name="connsiteY7256" fmla="*/ 769200 h 1729012"/>
                <a:gd name="connsiteX7257" fmla="*/ 1876496 w 2240198"/>
                <a:gd name="connsiteY7257" fmla="*/ 771416 h 1729012"/>
                <a:gd name="connsiteX7258" fmla="*/ 1875591 w 2240198"/>
                <a:gd name="connsiteY7258" fmla="*/ 773526 h 1729012"/>
                <a:gd name="connsiteX7259" fmla="*/ 1878952 w 2240198"/>
                <a:gd name="connsiteY7259" fmla="*/ 776266 h 1729012"/>
                <a:gd name="connsiteX7260" fmla="*/ 1880712 w 2240198"/>
                <a:gd name="connsiteY7260" fmla="*/ 778362 h 1729012"/>
                <a:gd name="connsiteX7261" fmla="*/ 1880627 w 2240198"/>
                <a:gd name="connsiteY7261" fmla="*/ 779925 h 1729012"/>
                <a:gd name="connsiteX7262" fmla="*/ 1878832 w 2240198"/>
                <a:gd name="connsiteY7262" fmla="*/ 783481 h 1729012"/>
                <a:gd name="connsiteX7263" fmla="*/ 1878376 w 2240198"/>
                <a:gd name="connsiteY7263" fmla="*/ 784910 h 1729012"/>
                <a:gd name="connsiteX7264" fmla="*/ 1878967 w 2240198"/>
                <a:gd name="connsiteY7264" fmla="*/ 785026 h 1729012"/>
                <a:gd name="connsiteX7265" fmla="*/ 1883298 w 2240198"/>
                <a:gd name="connsiteY7265" fmla="*/ 782148 h 1729012"/>
                <a:gd name="connsiteX7266" fmla="*/ 1883973 w 2240198"/>
                <a:gd name="connsiteY7266" fmla="*/ 782517 h 1729012"/>
                <a:gd name="connsiteX7267" fmla="*/ 1884424 w 2240198"/>
                <a:gd name="connsiteY7267" fmla="*/ 786500 h 1729012"/>
                <a:gd name="connsiteX7268" fmla="*/ 1884979 w 2240198"/>
                <a:gd name="connsiteY7268" fmla="*/ 786274 h 1729012"/>
                <a:gd name="connsiteX7269" fmla="*/ 1886430 w 2240198"/>
                <a:gd name="connsiteY7269" fmla="*/ 782978 h 1729012"/>
                <a:gd name="connsiteX7270" fmla="*/ 1885784 w 2240198"/>
                <a:gd name="connsiteY7270" fmla="*/ 778580 h 1729012"/>
                <a:gd name="connsiteX7271" fmla="*/ 1888324 w 2240198"/>
                <a:gd name="connsiteY7271" fmla="*/ 776844 h 1729012"/>
                <a:gd name="connsiteX7272" fmla="*/ 1896397 w 2240198"/>
                <a:gd name="connsiteY7272" fmla="*/ 775526 h 1729012"/>
                <a:gd name="connsiteX7273" fmla="*/ 1895030 w 2240198"/>
                <a:gd name="connsiteY7273" fmla="*/ 782424 h 1729012"/>
                <a:gd name="connsiteX7274" fmla="*/ 1894817 w 2240198"/>
                <a:gd name="connsiteY7274" fmla="*/ 785998 h 1729012"/>
                <a:gd name="connsiteX7275" fmla="*/ 1891288 w 2240198"/>
                <a:gd name="connsiteY7275" fmla="*/ 791939 h 1729012"/>
                <a:gd name="connsiteX7276" fmla="*/ 1888345 w 2240198"/>
                <a:gd name="connsiteY7276" fmla="*/ 793851 h 1729012"/>
                <a:gd name="connsiteX7277" fmla="*/ 1888433 w 2240198"/>
                <a:gd name="connsiteY7277" fmla="*/ 794247 h 1729012"/>
                <a:gd name="connsiteX7278" fmla="*/ 1890526 w 2240198"/>
                <a:gd name="connsiteY7278" fmla="*/ 795001 h 1729012"/>
                <a:gd name="connsiteX7279" fmla="*/ 1891833 w 2240198"/>
                <a:gd name="connsiteY7279" fmla="*/ 795083 h 1729012"/>
                <a:gd name="connsiteX7280" fmla="*/ 1893086 w 2240198"/>
                <a:gd name="connsiteY7280" fmla="*/ 794157 h 1729012"/>
                <a:gd name="connsiteX7281" fmla="*/ 1896073 w 2240198"/>
                <a:gd name="connsiteY7281" fmla="*/ 789571 h 1729012"/>
                <a:gd name="connsiteX7282" fmla="*/ 1902142 w 2240198"/>
                <a:gd name="connsiteY7282" fmla="*/ 784786 h 1729012"/>
                <a:gd name="connsiteX7283" fmla="*/ 1903244 w 2240198"/>
                <a:gd name="connsiteY7283" fmla="*/ 784683 h 1729012"/>
                <a:gd name="connsiteX7284" fmla="*/ 1903203 w 2240198"/>
                <a:gd name="connsiteY7284" fmla="*/ 786415 h 1729012"/>
                <a:gd name="connsiteX7285" fmla="*/ 1902420 w 2240198"/>
                <a:gd name="connsiteY7285" fmla="*/ 789628 h 1729012"/>
                <a:gd name="connsiteX7286" fmla="*/ 1905222 w 2240198"/>
                <a:gd name="connsiteY7286" fmla="*/ 791133 h 1729012"/>
                <a:gd name="connsiteX7287" fmla="*/ 1907895 w 2240198"/>
                <a:gd name="connsiteY7287" fmla="*/ 789643 h 1729012"/>
                <a:gd name="connsiteX7288" fmla="*/ 1909347 w 2240198"/>
                <a:gd name="connsiteY7288" fmla="*/ 788354 h 1729012"/>
                <a:gd name="connsiteX7289" fmla="*/ 1912703 w 2240198"/>
                <a:gd name="connsiteY7289" fmla="*/ 788545 h 1729012"/>
                <a:gd name="connsiteX7290" fmla="*/ 1914231 w 2240198"/>
                <a:gd name="connsiteY7290" fmla="*/ 789156 h 1729012"/>
                <a:gd name="connsiteX7291" fmla="*/ 1914686 w 2240198"/>
                <a:gd name="connsiteY7291" fmla="*/ 790573 h 1729012"/>
                <a:gd name="connsiteX7292" fmla="*/ 1913143 w 2240198"/>
                <a:gd name="connsiteY7292" fmla="*/ 796497 h 1729012"/>
                <a:gd name="connsiteX7293" fmla="*/ 1913425 w 2240198"/>
                <a:gd name="connsiteY7293" fmla="*/ 797961 h 1729012"/>
                <a:gd name="connsiteX7294" fmla="*/ 1916965 w 2240198"/>
                <a:gd name="connsiteY7294" fmla="*/ 801893 h 1729012"/>
                <a:gd name="connsiteX7295" fmla="*/ 1917324 w 2240198"/>
                <a:gd name="connsiteY7295" fmla="*/ 801658 h 1729012"/>
                <a:gd name="connsiteX7296" fmla="*/ 1916655 w 2240198"/>
                <a:gd name="connsiteY7296" fmla="*/ 799761 h 1729012"/>
                <a:gd name="connsiteX7297" fmla="*/ 1915926 w 2240198"/>
                <a:gd name="connsiteY7297" fmla="*/ 795066 h 1729012"/>
                <a:gd name="connsiteX7298" fmla="*/ 1916608 w 2240198"/>
                <a:gd name="connsiteY7298" fmla="*/ 793029 h 1729012"/>
                <a:gd name="connsiteX7299" fmla="*/ 1919524 w 2240198"/>
                <a:gd name="connsiteY7299" fmla="*/ 790408 h 1729012"/>
                <a:gd name="connsiteX7300" fmla="*/ 1925506 w 2240198"/>
                <a:gd name="connsiteY7300" fmla="*/ 786632 h 1729012"/>
                <a:gd name="connsiteX7301" fmla="*/ 1927724 w 2240198"/>
                <a:gd name="connsiteY7301" fmla="*/ 785883 h 1729012"/>
                <a:gd name="connsiteX7302" fmla="*/ 1929109 w 2240198"/>
                <a:gd name="connsiteY7302" fmla="*/ 786396 h 1729012"/>
                <a:gd name="connsiteX7303" fmla="*/ 1931311 w 2240198"/>
                <a:gd name="connsiteY7303" fmla="*/ 788210 h 1729012"/>
                <a:gd name="connsiteX7304" fmla="*/ 1930624 w 2240198"/>
                <a:gd name="connsiteY7304" fmla="*/ 789293 h 1729012"/>
                <a:gd name="connsiteX7305" fmla="*/ 1928245 w 2240198"/>
                <a:gd name="connsiteY7305" fmla="*/ 790425 h 1729012"/>
                <a:gd name="connsiteX7306" fmla="*/ 1926479 w 2240198"/>
                <a:gd name="connsiteY7306" fmla="*/ 792472 h 1729012"/>
                <a:gd name="connsiteX7307" fmla="*/ 1925328 w 2240198"/>
                <a:gd name="connsiteY7307" fmla="*/ 795435 h 1729012"/>
                <a:gd name="connsiteX7308" fmla="*/ 1926604 w 2240198"/>
                <a:gd name="connsiteY7308" fmla="*/ 797010 h 1729012"/>
                <a:gd name="connsiteX7309" fmla="*/ 1931453 w 2240198"/>
                <a:gd name="connsiteY7309" fmla="*/ 797151 h 1729012"/>
                <a:gd name="connsiteX7310" fmla="*/ 1936323 w 2240198"/>
                <a:gd name="connsiteY7310" fmla="*/ 794723 h 1729012"/>
                <a:gd name="connsiteX7311" fmla="*/ 1939119 w 2240198"/>
                <a:gd name="connsiteY7311" fmla="*/ 795918 h 1729012"/>
                <a:gd name="connsiteX7312" fmla="*/ 1942444 w 2240198"/>
                <a:gd name="connsiteY7312" fmla="*/ 799074 h 1729012"/>
                <a:gd name="connsiteX7313" fmla="*/ 1948534 w 2240198"/>
                <a:gd name="connsiteY7313" fmla="*/ 804136 h 1729012"/>
                <a:gd name="connsiteX7314" fmla="*/ 1952003 w 2240198"/>
                <a:gd name="connsiteY7314" fmla="*/ 802757 h 1729012"/>
                <a:gd name="connsiteX7315" fmla="*/ 1956294 w 2240198"/>
                <a:gd name="connsiteY7315" fmla="*/ 806596 h 1729012"/>
                <a:gd name="connsiteX7316" fmla="*/ 1950530 w 2240198"/>
                <a:gd name="connsiteY7316" fmla="*/ 809638 h 1729012"/>
                <a:gd name="connsiteX7317" fmla="*/ 1952294 w 2240198"/>
                <a:gd name="connsiteY7317" fmla="*/ 816026 h 1729012"/>
                <a:gd name="connsiteX7318" fmla="*/ 1944806 w 2240198"/>
                <a:gd name="connsiteY7318" fmla="*/ 815761 h 1729012"/>
                <a:gd name="connsiteX7319" fmla="*/ 1940596 w 2240198"/>
                <a:gd name="connsiteY7319" fmla="*/ 816261 h 1729012"/>
                <a:gd name="connsiteX7320" fmla="*/ 1937776 w 2240198"/>
                <a:gd name="connsiteY7320" fmla="*/ 815688 h 1729012"/>
                <a:gd name="connsiteX7321" fmla="*/ 1934748 w 2240198"/>
                <a:gd name="connsiteY7321" fmla="*/ 815887 h 1729012"/>
                <a:gd name="connsiteX7322" fmla="*/ 1937554 w 2240198"/>
                <a:gd name="connsiteY7322" fmla="*/ 817393 h 1729012"/>
                <a:gd name="connsiteX7323" fmla="*/ 1942963 w 2240198"/>
                <a:gd name="connsiteY7323" fmla="*/ 818013 h 1729012"/>
                <a:gd name="connsiteX7324" fmla="*/ 1943457 w 2240198"/>
                <a:gd name="connsiteY7324" fmla="*/ 819943 h 1729012"/>
                <a:gd name="connsiteX7325" fmla="*/ 1947705 w 2240198"/>
                <a:gd name="connsiteY7325" fmla="*/ 819895 h 1729012"/>
                <a:gd name="connsiteX7326" fmla="*/ 1950893 w 2240198"/>
                <a:gd name="connsiteY7326" fmla="*/ 819525 h 1729012"/>
                <a:gd name="connsiteX7327" fmla="*/ 1956648 w 2240198"/>
                <a:gd name="connsiteY7327" fmla="*/ 819601 h 1729012"/>
                <a:gd name="connsiteX7328" fmla="*/ 1956955 w 2240198"/>
                <a:gd name="connsiteY7328" fmla="*/ 817386 h 1729012"/>
                <a:gd name="connsiteX7329" fmla="*/ 1960699 w 2240198"/>
                <a:gd name="connsiteY7329" fmla="*/ 816120 h 1729012"/>
                <a:gd name="connsiteX7330" fmla="*/ 1962851 w 2240198"/>
                <a:gd name="connsiteY7330" fmla="*/ 814726 h 1729012"/>
                <a:gd name="connsiteX7331" fmla="*/ 1964639 w 2240198"/>
                <a:gd name="connsiteY7331" fmla="*/ 815551 h 1729012"/>
                <a:gd name="connsiteX7332" fmla="*/ 1969844 w 2240198"/>
                <a:gd name="connsiteY7332" fmla="*/ 816498 h 1729012"/>
                <a:gd name="connsiteX7333" fmla="*/ 1976834 w 2240198"/>
                <a:gd name="connsiteY7333" fmla="*/ 820851 h 1729012"/>
                <a:gd name="connsiteX7334" fmla="*/ 1973754 w 2240198"/>
                <a:gd name="connsiteY7334" fmla="*/ 823452 h 1729012"/>
                <a:gd name="connsiteX7335" fmla="*/ 1972915 w 2240198"/>
                <a:gd name="connsiteY7335" fmla="*/ 825908 h 1729012"/>
                <a:gd name="connsiteX7336" fmla="*/ 1971880 w 2240198"/>
                <a:gd name="connsiteY7336" fmla="*/ 827986 h 1729012"/>
                <a:gd name="connsiteX7337" fmla="*/ 1971300 w 2240198"/>
                <a:gd name="connsiteY7337" fmla="*/ 829861 h 1729012"/>
                <a:gd name="connsiteX7338" fmla="*/ 1970073 w 2240198"/>
                <a:gd name="connsiteY7338" fmla="*/ 831151 h 1729012"/>
                <a:gd name="connsiteX7339" fmla="*/ 1960063 w 2240198"/>
                <a:gd name="connsiteY7339" fmla="*/ 838492 h 1729012"/>
                <a:gd name="connsiteX7340" fmla="*/ 1961720 w 2240198"/>
                <a:gd name="connsiteY7340" fmla="*/ 838559 h 1729012"/>
                <a:gd name="connsiteX7341" fmla="*/ 1965955 w 2240198"/>
                <a:gd name="connsiteY7341" fmla="*/ 836787 h 1729012"/>
                <a:gd name="connsiteX7342" fmla="*/ 1974209 w 2240198"/>
                <a:gd name="connsiteY7342" fmla="*/ 834146 h 1729012"/>
                <a:gd name="connsiteX7343" fmla="*/ 1978808 w 2240198"/>
                <a:gd name="connsiteY7343" fmla="*/ 833082 h 1729012"/>
                <a:gd name="connsiteX7344" fmla="*/ 1982078 w 2240198"/>
                <a:gd name="connsiteY7344" fmla="*/ 833789 h 1729012"/>
                <a:gd name="connsiteX7345" fmla="*/ 1983730 w 2240198"/>
                <a:gd name="connsiteY7345" fmla="*/ 833820 h 1729012"/>
                <a:gd name="connsiteX7346" fmla="*/ 1985194 w 2240198"/>
                <a:gd name="connsiteY7346" fmla="*/ 832876 h 1729012"/>
                <a:gd name="connsiteX7347" fmla="*/ 1987921 w 2240198"/>
                <a:gd name="connsiteY7347" fmla="*/ 833963 h 1729012"/>
                <a:gd name="connsiteX7348" fmla="*/ 1993579 w 2240198"/>
                <a:gd name="connsiteY7348" fmla="*/ 834955 h 1729012"/>
                <a:gd name="connsiteX7349" fmla="*/ 2000074 w 2240198"/>
                <a:gd name="connsiteY7349" fmla="*/ 828917 h 1729012"/>
                <a:gd name="connsiteX7350" fmla="*/ 2004005 w 2240198"/>
                <a:gd name="connsiteY7350" fmla="*/ 830102 h 1729012"/>
                <a:gd name="connsiteX7351" fmla="*/ 2007668 w 2240198"/>
                <a:gd name="connsiteY7351" fmla="*/ 833830 h 1729012"/>
                <a:gd name="connsiteX7352" fmla="*/ 2015514 w 2240198"/>
                <a:gd name="connsiteY7352" fmla="*/ 840362 h 1729012"/>
                <a:gd name="connsiteX7353" fmla="*/ 2019603 w 2240198"/>
                <a:gd name="connsiteY7353" fmla="*/ 844156 h 1729012"/>
                <a:gd name="connsiteX7354" fmla="*/ 2020965 w 2240198"/>
                <a:gd name="connsiteY7354" fmla="*/ 845875 h 1729012"/>
                <a:gd name="connsiteX7355" fmla="*/ 2020775 w 2240198"/>
                <a:gd name="connsiteY7355" fmla="*/ 847568 h 1729012"/>
                <a:gd name="connsiteX7356" fmla="*/ 2017077 w 2240198"/>
                <a:gd name="connsiteY7356" fmla="*/ 849359 h 1729012"/>
                <a:gd name="connsiteX7357" fmla="*/ 2015181 w 2240198"/>
                <a:gd name="connsiteY7357" fmla="*/ 849719 h 1729012"/>
                <a:gd name="connsiteX7358" fmla="*/ 2010203 w 2240198"/>
                <a:gd name="connsiteY7358" fmla="*/ 846339 h 1729012"/>
                <a:gd name="connsiteX7359" fmla="*/ 2005630 w 2240198"/>
                <a:gd name="connsiteY7359" fmla="*/ 844627 h 1729012"/>
                <a:gd name="connsiteX7360" fmla="*/ 2002847 w 2240198"/>
                <a:gd name="connsiteY7360" fmla="*/ 844811 h 1729012"/>
                <a:gd name="connsiteX7361" fmla="*/ 2000081 w 2240198"/>
                <a:gd name="connsiteY7361" fmla="*/ 846116 h 1729012"/>
                <a:gd name="connsiteX7362" fmla="*/ 2000943 w 2240198"/>
                <a:gd name="connsiteY7362" fmla="*/ 846843 h 1729012"/>
                <a:gd name="connsiteX7363" fmla="*/ 2012016 w 2240198"/>
                <a:gd name="connsiteY7363" fmla="*/ 852047 h 1729012"/>
                <a:gd name="connsiteX7364" fmla="*/ 2013948 w 2240198"/>
                <a:gd name="connsiteY7364" fmla="*/ 855880 h 1729012"/>
                <a:gd name="connsiteX7365" fmla="*/ 2014092 w 2240198"/>
                <a:gd name="connsiteY7365" fmla="*/ 857553 h 1729012"/>
                <a:gd name="connsiteX7366" fmla="*/ 2006690 w 2240198"/>
                <a:gd name="connsiteY7366" fmla="*/ 860087 h 1729012"/>
                <a:gd name="connsiteX7367" fmla="*/ 2004315 w 2240198"/>
                <a:gd name="connsiteY7367" fmla="*/ 860237 h 1729012"/>
                <a:gd name="connsiteX7368" fmla="*/ 1999191 w 2240198"/>
                <a:gd name="connsiteY7368" fmla="*/ 859027 h 1729012"/>
                <a:gd name="connsiteX7369" fmla="*/ 1996187 w 2240198"/>
                <a:gd name="connsiteY7369" fmla="*/ 856768 h 1729012"/>
                <a:gd name="connsiteX7370" fmla="*/ 1993712 w 2240198"/>
                <a:gd name="connsiteY7370" fmla="*/ 855950 h 1729012"/>
                <a:gd name="connsiteX7371" fmla="*/ 1990281 w 2240198"/>
                <a:gd name="connsiteY7371" fmla="*/ 855682 h 1729012"/>
                <a:gd name="connsiteX7372" fmla="*/ 1989183 w 2240198"/>
                <a:gd name="connsiteY7372" fmla="*/ 856120 h 1729012"/>
                <a:gd name="connsiteX7373" fmla="*/ 1992922 w 2240198"/>
                <a:gd name="connsiteY7373" fmla="*/ 859958 h 1729012"/>
                <a:gd name="connsiteX7374" fmla="*/ 1992563 w 2240198"/>
                <a:gd name="connsiteY7374" fmla="*/ 861112 h 1729012"/>
                <a:gd name="connsiteX7375" fmla="*/ 1990632 w 2240198"/>
                <a:gd name="connsiteY7375" fmla="*/ 861857 h 1729012"/>
                <a:gd name="connsiteX7376" fmla="*/ 1989678 w 2240198"/>
                <a:gd name="connsiteY7376" fmla="*/ 863705 h 1729012"/>
                <a:gd name="connsiteX7377" fmla="*/ 1997070 w 2240198"/>
                <a:gd name="connsiteY7377" fmla="*/ 867033 h 1729012"/>
                <a:gd name="connsiteX7378" fmla="*/ 2002602 w 2240198"/>
                <a:gd name="connsiteY7378" fmla="*/ 870413 h 1729012"/>
                <a:gd name="connsiteX7379" fmla="*/ 2003421 w 2240198"/>
                <a:gd name="connsiteY7379" fmla="*/ 871766 h 1729012"/>
                <a:gd name="connsiteX7380" fmla="*/ 1999692 w 2240198"/>
                <a:gd name="connsiteY7380" fmla="*/ 872769 h 1729012"/>
                <a:gd name="connsiteX7381" fmla="*/ 1997012 w 2240198"/>
                <a:gd name="connsiteY7381" fmla="*/ 873001 h 1729012"/>
                <a:gd name="connsiteX7382" fmla="*/ 1991348 w 2240198"/>
                <a:gd name="connsiteY7382" fmla="*/ 872513 h 1729012"/>
                <a:gd name="connsiteX7383" fmla="*/ 1988240 w 2240198"/>
                <a:gd name="connsiteY7383" fmla="*/ 871802 h 1729012"/>
                <a:gd name="connsiteX7384" fmla="*/ 1987382 w 2240198"/>
                <a:gd name="connsiteY7384" fmla="*/ 872564 h 1729012"/>
                <a:gd name="connsiteX7385" fmla="*/ 1990597 w 2240198"/>
                <a:gd name="connsiteY7385" fmla="*/ 874335 h 1729012"/>
                <a:gd name="connsiteX7386" fmla="*/ 1991838 w 2240198"/>
                <a:gd name="connsiteY7386" fmla="*/ 875530 h 1729012"/>
                <a:gd name="connsiteX7387" fmla="*/ 1992804 w 2240198"/>
                <a:gd name="connsiteY7387" fmla="*/ 877195 h 1729012"/>
                <a:gd name="connsiteX7388" fmla="*/ 1993366 w 2240198"/>
                <a:gd name="connsiteY7388" fmla="*/ 878763 h 1729012"/>
                <a:gd name="connsiteX7389" fmla="*/ 1993523 w 2240198"/>
                <a:gd name="connsiteY7389" fmla="*/ 880227 h 1729012"/>
                <a:gd name="connsiteX7390" fmla="*/ 1990894 w 2240198"/>
                <a:gd name="connsiteY7390" fmla="*/ 881431 h 1729012"/>
                <a:gd name="connsiteX7391" fmla="*/ 1987734 w 2240198"/>
                <a:gd name="connsiteY7391" fmla="*/ 884807 h 1729012"/>
                <a:gd name="connsiteX7392" fmla="*/ 1986502 w 2240198"/>
                <a:gd name="connsiteY7392" fmla="*/ 888297 h 1729012"/>
                <a:gd name="connsiteX7393" fmla="*/ 1983641 w 2240198"/>
                <a:gd name="connsiteY7393" fmla="*/ 888628 h 1729012"/>
                <a:gd name="connsiteX7394" fmla="*/ 1982485 w 2240198"/>
                <a:gd name="connsiteY7394" fmla="*/ 887973 h 1729012"/>
                <a:gd name="connsiteX7395" fmla="*/ 1978641 w 2240198"/>
                <a:gd name="connsiteY7395" fmla="*/ 889030 h 1729012"/>
                <a:gd name="connsiteX7396" fmla="*/ 1973568 w 2240198"/>
                <a:gd name="connsiteY7396" fmla="*/ 887573 h 1729012"/>
                <a:gd name="connsiteX7397" fmla="*/ 1971749 w 2240198"/>
                <a:gd name="connsiteY7397" fmla="*/ 885978 h 1729012"/>
                <a:gd name="connsiteX7398" fmla="*/ 1966220 w 2240198"/>
                <a:gd name="connsiteY7398" fmla="*/ 879402 h 1729012"/>
                <a:gd name="connsiteX7399" fmla="*/ 1966077 w 2240198"/>
                <a:gd name="connsiteY7399" fmla="*/ 880141 h 1729012"/>
                <a:gd name="connsiteX7400" fmla="*/ 1967461 w 2240198"/>
                <a:gd name="connsiteY7400" fmla="*/ 883465 h 1729012"/>
                <a:gd name="connsiteX7401" fmla="*/ 1967179 w 2240198"/>
                <a:gd name="connsiteY7401" fmla="*/ 885435 h 1729012"/>
                <a:gd name="connsiteX7402" fmla="*/ 1961321 w 2240198"/>
                <a:gd name="connsiteY7402" fmla="*/ 886865 h 1729012"/>
                <a:gd name="connsiteX7403" fmla="*/ 1961343 w 2240198"/>
                <a:gd name="connsiteY7403" fmla="*/ 887420 h 1729012"/>
                <a:gd name="connsiteX7404" fmla="*/ 1964940 w 2240198"/>
                <a:gd name="connsiteY7404" fmla="*/ 888460 h 1729012"/>
                <a:gd name="connsiteX7405" fmla="*/ 1969295 w 2240198"/>
                <a:gd name="connsiteY7405" fmla="*/ 889263 h 1729012"/>
                <a:gd name="connsiteX7406" fmla="*/ 1968615 w 2240198"/>
                <a:gd name="connsiteY7406" fmla="*/ 892324 h 1729012"/>
                <a:gd name="connsiteX7407" fmla="*/ 1968638 w 2240198"/>
                <a:gd name="connsiteY7407" fmla="*/ 905324 h 1729012"/>
                <a:gd name="connsiteX7408" fmla="*/ 1967663 w 2240198"/>
                <a:gd name="connsiteY7408" fmla="*/ 909922 h 1729012"/>
                <a:gd name="connsiteX7409" fmla="*/ 1965533 w 2240198"/>
                <a:gd name="connsiteY7409" fmla="*/ 913931 h 1729012"/>
                <a:gd name="connsiteX7410" fmla="*/ 1962471 w 2240198"/>
                <a:gd name="connsiteY7410" fmla="*/ 917766 h 1729012"/>
                <a:gd name="connsiteX7411" fmla="*/ 1959160 w 2240198"/>
                <a:gd name="connsiteY7411" fmla="*/ 915254 h 1729012"/>
                <a:gd name="connsiteX7412" fmla="*/ 1957837 w 2240198"/>
                <a:gd name="connsiteY7412" fmla="*/ 912689 h 1729012"/>
                <a:gd name="connsiteX7413" fmla="*/ 1956725 w 2240198"/>
                <a:gd name="connsiteY7413" fmla="*/ 911372 h 1729012"/>
                <a:gd name="connsiteX7414" fmla="*/ 1955142 w 2240198"/>
                <a:gd name="connsiteY7414" fmla="*/ 910301 h 1729012"/>
                <a:gd name="connsiteX7415" fmla="*/ 1953098 w 2240198"/>
                <a:gd name="connsiteY7415" fmla="*/ 909797 h 1729012"/>
                <a:gd name="connsiteX7416" fmla="*/ 1950938 w 2240198"/>
                <a:gd name="connsiteY7416" fmla="*/ 909778 h 1729012"/>
                <a:gd name="connsiteX7417" fmla="*/ 1948645 w 2240198"/>
                <a:gd name="connsiteY7417" fmla="*/ 912079 h 1729012"/>
                <a:gd name="connsiteX7418" fmla="*/ 1946145 w 2240198"/>
                <a:gd name="connsiteY7418" fmla="*/ 910094 h 1729012"/>
                <a:gd name="connsiteX7419" fmla="*/ 1943730 w 2240198"/>
                <a:gd name="connsiteY7419" fmla="*/ 907694 h 1729012"/>
                <a:gd name="connsiteX7420" fmla="*/ 1944641 w 2240198"/>
                <a:gd name="connsiteY7420" fmla="*/ 901399 h 1729012"/>
                <a:gd name="connsiteX7421" fmla="*/ 1945658 w 2240198"/>
                <a:gd name="connsiteY7421" fmla="*/ 898240 h 1729012"/>
                <a:gd name="connsiteX7422" fmla="*/ 1945251 w 2240198"/>
                <a:gd name="connsiteY7422" fmla="*/ 898264 h 1729012"/>
                <a:gd name="connsiteX7423" fmla="*/ 1943876 w 2240198"/>
                <a:gd name="connsiteY7423" fmla="*/ 899758 h 1729012"/>
                <a:gd name="connsiteX7424" fmla="*/ 1940582 w 2240198"/>
                <a:gd name="connsiteY7424" fmla="*/ 904373 h 1729012"/>
                <a:gd name="connsiteX7425" fmla="*/ 1938421 w 2240198"/>
                <a:gd name="connsiteY7425" fmla="*/ 909998 h 1729012"/>
                <a:gd name="connsiteX7426" fmla="*/ 1935625 w 2240198"/>
                <a:gd name="connsiteY7426" fmla="*/ 907837 h 1729012"/>
                <a:gd name="connsiteX7427" fmla="*/ 1933103 w 2240198"/>
                <a:gd name="connsiteY7427" fmla="*/ 905144 h 1729012"/>
                <a:gd name="connsiteX7428" fmla="*/ 1931021 w 2240198"/>
                <a:gd name="connsiteY7428" fmla="*/ 902435 h 1729012"/>
                <a:gd name="connsiteX7429" fmla="*/ 1927655 w 2240198"/>
                <a:gd name="connsiteY7429" fmla="*/ 899305 h 1729012"/>
                <a:gd name="connsiteX7430" fmla="*/ 1924388 w 2240198"/>
                <a:gd name="connsiteY7430" fmla="*/ 895625 h 1729012"/>
                <a:gd name="connsiteX7431" fmla="*/ 1922684 w 2240198"/>
                <a:gd name="connsiteY7431" fmla="*/ 891285 h 1729012"/>
                <a:gd name="connsiteX7432" fmla="*/ 1921891 w 2240198"/>
                <a:gd name="connsiteY7432" fmla="*/ 890392 h 1729012"/>
                <a:gd name="connsiteX7433" fmla="*/ 1919988 w 2240198"/>
                <a:gd name="connsiteY7433" fmla="*/ 886767 h 1729012"/>
                <a:gd name="connsiteX7434" fmla="*/ 1919241 w 2240198"/>
                <a:gd name="connsiteY7434" fmla="*/ 885730 h 1729012"/>
                <a:gd name="connsiteX7435" fmla="*/ 1918584 w 2240198"/>
                <a:gd name="connsiteY7435" fmla="*/ 885386 h 1729012"/>
                <a:gd name="connsiteX7436" fmla="*/ 1916955 w 2240198"/>
                <a:gd name="connsiteY7436" fmla="*/ 883122 h 1729012"/>
                <a:gd name="connsiteX7437" fmla="*/ 1917552 w 2240198"/>
                <a:gd name="connsiteY7437" fmla="*/ 880696 h 1729012"/>
                <a:gd name="connsiteX7438" fmla="*/ 1920117 w 2240198"/>
                <a:gd name="connsiteY7438" fmla="*/ 877827 h 1729012"/>
                <a:gd name="connsiteX7439" fmla="*/ 1922452 w 2240198"/>
                <a:gd name="connsiteY7439" fmla="*/ 875763 h 1729012"/>
                <a:gd name="connsiteX7440" fmla="*/ 1926322 w 2240198"/>
                <a:gd name="connsiteY7440" fmla="*/ 873728 h 1729012"/>
                <a:gd name="connsiteX7441" fmla="*/ 1930849 w 2240198"/>
                <a:gd name="connsiteY7441" fmla="*/ 872579 h 1729012"/>
                <a:gd name="connsiteX7442" fmla="*/ 1932907 w 2240198"/>
                <a:gd name="connsiteY7442" fmla="*/ 869949 h 1729012"/>
                <a:gd name="connsiteX7443" fmla="*/ 1935430 w 2240198"/>
                <a:gd name="connsiteY7443" fmla="*/ 865149 h 1729012"/>
                <a:gd name="connsiteX7444" fmla="*/ 1938195 w 2240198"/>
                <a:gd name="connsiteY7444" fmla="*/ 861803 h 1729012"/>
                <a:gd name="connsiteX7445" fmla="*/ 1941203 w 2240198"/>
                <a:gd name="connsiteY7445" fmla="*/ 859906 h 1729012"/>
                <a:gd name="connsiteX7446" fmla="*/ 1939706 w 2240198"/>
                <a:gd name="connsiteY7446" fmla="*/ 859554 h 1729012"/>
                <a:gd name="connsiteX7447" fmla="*/ 1935883 w 2240198"/>
                <a:gd name="connsiteY7447" fmla="*/ 861177 h 1729012"/>
                <a:gd name="connsiteX7448" fmla="*/ 1933196 w 2240198"/>
                <a:gd name="connsiteY7448" fmla="*/ 863541 h 1729012"/>
                <a:gd name="connsiteX7449" fmla="*/ 1929998 w 2240198"/>
                <a:gd name="connsiteY7449" fmla="*/ 867476 h 1729012"/>
                <a:gd name="connsiteX7450" fmla="*/ 1927026 w 2240198"/>
                <a:gd name="connsiteY7450" fmla="*/ 869984 h 1729012"/>
                <a:gd name="connsiteX7451" fmla="*/ 1919396 w 2240198"/>
                <a:gd name="connsiteY7451" fmla="*/ 872892 h 1729012"/>
                <a:gd name="connsiteX7452" fmla="*/ 1916602 w 2240198"/>
                <a:gd name="connsiteY7452" fmla="*/ 873473 h 1729012"/>
                <a:gd name="connsiteX7453" fmla="*/ 1913352 w 2240198"/>
                <a:gd name="connsiteY7453" fmla="*/ 873783 h 1729012"/>
                <a:gd name="connsiteX7454" fmla="*/ 1906201 w 2240198"/>
                <a:gd name="connsiteY7454" fmla="*/ 873376 h 1729012"/>
                <a:gd name="connsiteX7455" fmla="*/ 1904544 w 2240198"/>
                <a:gd name="connsiteY7455" fmla="*/ 872399 h 1729012"/>
                <a:gd name="connsiteX7456" fmla="*/ 1905405 w 2240198"/>
                <a:gd name="connsiteY7456" fmla="*/ 869619 h 1729012"/>
                <a:gd name="connsiteX7457" fmla="*/ 1910497 w 2240198"/>
                <a:gd name="connsiteY7457" fmla="*/ 864643 h 1729012"/>
                <a:gd name="connsiteX7458" fmla="*/ 1909684 w 2240198"/>
                <a:gd name="connsiteY7458" fmla="*/ 864291 h 1729012"/>
                <a:gd name="connsiteX7459" fmla="*/ 1907894 w 2240198"/>
                <a:gd name="connsiteY7459" fmla="*/ 866055 h 1729012"/>
                <a:gd name="connsiteX7460" fmla="*/ 1905435 w 2240198"/>
                <a:gd name="connsiteY7460" fmla="*/ 867273 h 1729012"/>
                <a:gd name="connsiteX7461" fmla="*/ 1903304 w 2240198"/>
                <a:gd name="connsiteY7461" fmla="*/ 867896 h 1729012"/>
                <a:gd name="connsiteX7462" fmla="*/ 1900167 w 2240198"/>
                <a:gd name="connsiteY7462" fmla="*/ 867673 h 1729012"/>
                <a:gd name="connsiteX7463" fmla="*/ 1896493 w 2240198"/>
                <a:gd name="connsiteY7463" fmla="*/ 864573 h 1729012"/>
                <a:gd name="connsiteX7464" fmla="*/ 1894749 w 2240198"/>
                <a:gd name="connsiteY7464" fmla="*/ 863617 h 1729012"/>
                <a:gd name="connsiteX7465" fmla="*/ 1891153 w 2240198"/>
                <a:gd name="connsiteY7465" fmla="*/ 862548 h 1729012"/>
                <a:gd name="connsiteX7466" fmla="*/ 1889689 w 2240198"/>
                <a:gd name="connsiteY7466" fmla="*/ 861484 h 1729012"/>
                <a:gd name="connsiteX7467" fmla="*/ 1883721 w 2240198"/>
                <a:gd name="connsiteY7467" fmla="*/ 853853 h 1729012"/>
                <a:gd name="connsiteX7468" fmla="*/ 1882518 w 2240198"/>
                <a:gd name="connsiteY7468" fmla="*/ 851820 h 1729012"/>
                <a:gd name="connsiteX7469" fmla="*/ 1881818 w 2240198"/>
                <a:gd name="connsiteY7469" fmla="*/ 849822 h 1729012"/>
                <a:gd name="connsiteX7470" fmla="*/ 1879903 w 2240198"/>
                <a:gd name="connsiteY7470" fmla="*/ 848141 h 1729012"/>
                <a:gd name="connsiteX7471" fmla="*/ 1876773 w 2240198"/>
                <a:gd name="connsiteY7471" fmla="*/ 846776 h 1729012"/>
                <a:gd name="connsiteX7472" fmla="*/ 1876052 w 2240198"/>
                <a:gd name="connsiteY7472" fmla="*/ 847000 h 1729012"/>
                <a:gd name="connsiteX7473" fmla="*/ 1877177 w 2240198"/>
                <a:gd name="connsiteY7473" fmla="*/ 848711 h 1729012"/>
                <a:gd name="connsiteX7474" fmla="*/ 1877212 w 2240198"/>
                <a:gd name="connsiteY7474" fmla="*/ 850182 h 1729012"/>
                <a:gd name="connsiteX7475" fmla="*/ 1874478 w 2240198"/>
                <a:gd name="connsiteY7475" fmla="*/ 851101 h 1729012"/>
                <a:gd name="connsiteX7476" fmla="*/ 1871618 w 2240198"/>
                <a:gd name="connsiteY7476" fmla="*/ 850782 h 1729012"/>
                <a:gd name="connsiteX7477" fmla="*/ 1868634 w 2240198"/>
                <a:gd name="connsiteY7477" fmla="*/ 849226 h 1729012"/>
                <a:gd name="connsiteX7478" fmla="*/ 1868371 w 2240198"/>
                <a:gd name="connsiteY7478" fmla="*/ 851317 h 1729012"/>
                <a:gd name="connsiteX7479" fmla="*/ 1871565 w 2240198"/>
                <a:gd name="connsiteY7479" fmla="*/ 855024 h 1729012"/>
                <a:gd name="connsiteX7480" fmla="*/ 1871615 w 2240198"/>
                <a:gd name="connsiteY7480" fmla="*/ 859713 h 1729012"/>
                <a:gd name="connsiteX7481" fmla="*/ 1870712 w 2240198"/>
                <a:gd name="connsiteY7481" fmla="*/ 860196 h 1729012"/>
                <a:gd name="connsiteX7482" fmla="*/ 1868535 w 2240198"/>
                <a:gd name="connsiteY7482" fmla="*/ 860472 h 1729012"/>
                <a:gd name="connsiteX7483" fmla="*/ 1867073 w 2240198"/>
                <a:gd name="connsiteY7483" fmla="*/ 859893 h 1729012"/>
                <a:gd name="connsiteX7484" fmla="*/ 1862233 w 2240198"/>
                <a:gd name="connsiteY7484" fmla="*/ 856390 h 1729012"/>
                <a:gd name="connsiteX7485" fmla="*/ 1857643 w 2240198"/>
                <a:gd name="connsiteY7485" fmla="*/ 853948 h 1729012"/>
                <a:gd name="connsiteX7486" fmla="*/ 1854405 w 2240198"/>
                <a:gd name="connsiteY7486" fmla="*/ 852597 h 1729012"/>
                <a:gd name="connsiteX7487" fmla="*/ 1854027 w 2240198"/>
                <a:gd name="connsiteY7487" fmla="*/ 853558 h 1729012"/>
                <a:gd name="connsiteX7488" fmla="*/ 1856127 w 2240198"/>
                <a:gd name="connsiteY7488" fmla="*/ 857788 h 1729012"/>
                <a:gd name="connsiteX7489" fmla="*/ 1858563 w 2240198"/>
                <a:gd name="connsiteY7489" fmla="*/ 861953 h 1729012"/>
                <a:gd name="connsiteX7490" fmla="*/ 1862550 w 2240198"/>
                <a:gd name="connsiteY7490" fmla="*/ 865381 h 1729012"/>
                <a:gd name="connsiteX7491" fmla="*/ 1868902 w 2240198"/>
                <a:gd name="connsiteY7491" fmla="*/ 869456 h 1729012"/>
                <a:gd name="connsiteX7492" fmla="*/ 1871782 w 2240198"/>
                <a:gd name="connsiteY7492" fmla="*/ 871802 h 1729012"/>
                <a:gd name="connsiteX7493" fmla="*/ 1869513 w 2240198"/>
                <a:gd name="connsiteY7493" fmla="*/ 875110 h 1729012"/>
                <a:gd name="connsiteX7494" fmla="*/ 1867541 w 2240198"/>
                <a:gd name="connsiteY7494" fmla="*/ 876191 h 1729012"/>
                <a:gd name="connsiteX7495" fmla="*/ 1866315 w 2240198"/>
                <a:gd name="connsiteY7495" fmla="*/ 876526 h 1729012"/>
                <a:gd name="connsiteX7496" fmla="*/ 1862461 w 2240198"/>
                <a:gd name="connsiteY7496" fmla="*/ 876530 h 1729012"/>
                <a:gd name="connsiteX7497" fmla="*/ 1855431 w 2240198"/>
                <a:gd name="connsiteY7497" fmla="*/ 874706 h 1729012"/>
                <a:gd name="connsiteX7498" fmla="*/ 1852130 w 2240198"/>
                <a:gd name="connsiteY7498" fmla="*/ 872667 h 1729012"/>
                <a:gd name="connsiteX7499" fmla="*/ 1847336 w 2240198"/>
                <a:gd name="connsiteY7499" fmla="*/ 867795 h 1729012"/>
                <a:gd name="connsiteX7500" fmla="*/ 1839409 w 2240198"/>
                <a:gd name="connsiteY7500" fmla="*/ 862769 h 1729012"/>
                <a:gd name="connsiteX7501" fmla="*/ 1837687 w 2240198"/>
                <a:gd name="connsiteY7501" fmla="*/ 862795 h 1729012"/>
                <a:gd name="connsiteX7502" fmla="*/ 1832080 w 2240198"/>
                <a:gd name="connsiteY7502" fmla="*/ 864841 h 1729012"/>
                <a:gd name="connsiteX7503" fmla="*/ 1832961 w 2240198"/>
                <a:gd name="connsiteY7503" fmla="*/ 865170 h 1729012"/>
                <a:gd name="connsiteX7504" fmla="*/ 1836575 w 2240198"/>
                <a:gd name="connsiteY7504" fmla="*/ 865318 h 1729012"/>
                <a:gd name="connsiteX7505" fmla="*/ 1839226 w 2240198"/>
                <a:gd name="connsiteY7505" fmla="*/ 865971 h 1729012"/>
                <a:gd name="connsiteX7506" fmla="*/ 1845563 w 2240198"/>
                <a:gd name="connsiteY7506" fmla="*/ 869937 h 1729012"/>
                <a:gd name="connsiteX7507" fmla="*/ 1846041 w 2240198"/>
                <a:gd name="connsiteY7507" fmla="*/ 871612 h 1729012"/>
                <a:gd name="connsiteX7508" fmla="*/ 1844460 w 2240198"/>
                <a:gd name="connsiteY7508" fmla="*/ 873473 h 1729012"/>
                <a:gd name="connsiteX7509" fmla="*/ 1844557 w 2240198"/>
                <a:gd name="connsiteY7509" fmla="*/ 875819 h 1729012"/>
                <a:gd name="connsiteX7510" fmla="*/ 1846336 w 2240198"/>
                <a:gd name="connsiteY7510" fmla="*/ 878651 h 1729012"/>
                <a:gd name="connsiteX7511" fmla="*/ 1848153 w 2240198"/>
                <a:gd name="connsiteY7511" fmla="*/ 880458 h 1729012"/>
                <a:gd name="connsiteX7512" fmla="*/ 1851880 w 2240198"/>
                <a:gd name="connsiteY7512" fmla="*/ 881733 h 1729012"/>
                <a:gd name="connsiteX7513" fmla="*/ 1853753 w 2240198"/>
                <a:gd name="connsiteY7513" fmla="*/ 881900 h 1729012"/>
                <a:gd name="connsiteX7514" fmla="*/ 1854456 w 2240198"/>
                <a:gd name="connsiteY7514" fmla="*/ 882718 h 1729012"/>
                <a:gd name="connsiteX7515" fmla="*/ 1852228 w 2240198"/>
                <a:gd name="connsiteY7515" fmla="*/ 888999 h 1729012"/>
                <a:gd name="connsiteX7516" fmla="*/ 1852039 w 2240198"/>
                <a:gd name="connsiteY7516" fmla="*/ 890713 h 1729012"/>
                <a:gd name="connsiteX7517" fmla="*/ 1852674 w 2240198"/>
                <a:gd name="connsiteY7517" fmla="*/ 891422 h 1729012"/>
                <a:gd name="connsiteX7518" fmla="*/ 1853452 w 2240198"/>
                <a:gd name="connsiteY7518" fmla="*/ 891481 h 1729012"/>
                <a:gd name="connsiteX7519" fmla="*/ 1858242 w 2240198"/>
                <a:gd name="connsiteY7519" fmla="*/ 888906 h 1729012"/>
                <a:gd name="connsiteX7520" fmla="*/ 1860247 w 2240198"/>
                <a:gd name="connsiteY7520" fmla="*/ 888277 h 1729012"/>
                <a:gd name="connsiteX7521" fmla="*/ 1861983 w 2240198"/>
                <a:gd name="connsiteY7521" fmla="*/ 888147 h 1729012"/>
                <a:gd name="connsiteX7522" fmla="*/ 1863999 w 2240198"/>
                <a:gd name="connsiteY7522" fmla="*/ 888869 h 1729012"/>
                <a:gd name="connsiteX7523" fmla="*/ 1866291 w 2240198"/>
                <a:gd name="connsiteY7523" fmla="*/ 890445 h 1729012"/>
                <a:gd name="connsiteX7524" fmla="*/ 1867643 w 2240198"/>
                <a:gd name="connsiteY7524" fmla="*/ 892068 h 1729012"/>
                <a:gd name="connsiteX7525" fmla="*/ 1868050 w 2240198"/>
                <a:gd name="connsiteY7525" fmla="*/ 893739 h 1729012"/>
                <a:gd name="connsiteX7526" fmla="*/ 1868732 w 2240198"/>
                <a:gd name="connsiteY7526" fmla="*/ 894831 h 1729012"/>
                <a:gd name="connsiteX7527" fmla="*/ 1873435 w 2240198"/>
                <a:gd name="connsiteY7527" fmla="*/ 896597 h 1729012"/>
                <a:gd name="connsiteX7528" fmla="*/ 1873004 w 2240198"/>
                <a:gd name="connsiteY7528" fmla="*/ 897421 h 1729012"/>
                <a:gd name="connsiteX7529" fmla="*/ 1868158 w 2240198"/>
                <a:gd name="connsiteY7529" fmla="*/ 900070 h 1729012"/>
                <a:gd name="connsiteX7530" fmla="*/ 1867893 w 2240198"/>
                <a:gd name="connsiteY7530" fmla="*/ 900488 h 1729012"/>
                <a:gd name="connsiteX7531" fmla="*/ 1868862 w 2240198"/>
                <a:gd name="connsiteY7531" fmla="*/ 900679 h 1729012"/>
                <a:gd name="connsiteX7532" fmla="*/ 1871924 w 2240198"/>
                <a:gd name="connsiteY7532" fmla="*/ 902259 h 1729012"/>
                <a:gd name="connsiteX7533" fmla="*/ 1874740 w 2240198"/>
                <a:gd name="connsiteY7533" fmla="*/ 904730 h 1729012"/>
                <a:gd name="connsiteX7534" fmla="*/ 1876462 w 2240198"/>
                <a:gd name="connsiteY7534" fmla="*/ 907669 h 1729012"/>
                <a:gd name="connsiteX7535" fmla="*/ 1876809 w 2240198"/>
                <a:gd name="connsiteY7535" fmla="*/ 909113 h 1729012"/>
                <a:gd name="connsiteX7536" fmla="*/ 1876790 w 2240198"/>
                <a:gd name="connsiteY7536" fmla="*/ 910484 h 1729012"/>
                <a:gd name="connsiteX7537" fmla="*/ 1877178 w 2240198"/>
                <a:gd name="connsiteY7537" fmla="*/ 911306 h 1729012"/>
                <a:gd name="connsiteX7538" fmla="*/ 1878670 w 2240198"/>
                <a:gd name="connsiteY7538" fmla="*/ 911454 h 1729012"/>
                <a:gd name="connsiteX7539" fmla="*/ 1879279 w 2240198"/>
                <a:gd name="connsiteY7539" fmla="*/ 910931 h 1729012"/>
                <a:gd name="connsiteX7540" fmla="*/ 1879960 w 2240198"/>
                <a:gd name="connsiteY7540" fmla="*/ 911030 h 1729012"/>
                <a:gd name="connsiteX7541" fmla="*/ 1880715 w 2240198"/>
                <a:gd name="connsiteY7541" fmla="*/ 911748 h 1729012"/>
                <a:gd name="connsiteX7542" fmla="*/ 1881508 w 2240198"/>
                <a:gd name="connsiteY7542" fmla="*/ 913995 h 1729012"/>
                <a:gd name="connsiteX7543" fmla="*/ 1883203 w 2240198"/>
                <a:gd name="connsiteY7543" fmla="*/ 920562 h 1729012"/>
                <a:gd name="connsiteX7544" fmla="*/ 1884098 w 2240198"/>
                <a:gd name="connsiteY7544" fmla="*/ 922405 h 1729012"/>
                <a:gd name="connsiteX7545" fmla="*/ 1884613 w 2240198"/>
                <a:gd name="connsiteY7545" fmla="*/ 922467 h 1729012"/>
                <a:gd name="connsiteX7546" fmla="*/ 1884877 w 2240198"/>
                <a:gd name="connsiteY7546" fmla="*/ 915883 h 1729012"/>
                <a:gd name="connsiteX7547" fmla="*/ 1885668 w 2240198"/>
                <a:gd name="connsiteY7547" fmla="*/ 914792 h 1729012"/>
                <a:gd name="connsiteX7548" fmla="*/ 1888654 w 2240198"/>
                <a:gd name="connsiteY7548" fmla="*/ 915960 h 1729012"/>
                <a:gd name="connsiteX7549" fmla="*/ 1893029 w 2240198"/>
                <a:gd name="connsiteY7549" fmla="*/ 918524 h 1729012"/>
                <a:gd name="connsiteX7550" fmla="*/ 1896110 w 2240198"/>
                <a:gd name="connsiteY7550" fmla="*/ 920806 h 1729012"/>
                <a:gd name="connsiteX7551" fmla="*/ 1896465 w 2240198"/>
                <a:gd name="connsiteY7551" fmla="*/ 921874 h 1729012"/>
                <a:gd name="connsiteX7552" fmla="*/ 1894138 w 2240198"/>
                <a:gd name="connsiteY7552" fmla="*/ 923941 h 1729012"/>
                <a:gd name="connsiteX7553" fmla="*/ 1894629 w 2240198"/>
                <a:gd name="connsiteY7553" fmla="*/ 924861 h 1729012"/>
                <a:gd name="connsiteX7554" fmla="*/ 1896340 w 2240198"/>
                <a:gd name="connsiteY7554" fmla="*/ 926211 h 1729012"/>
                <a:gd name="connsiteX7555" fmla="*/ 1897916 w 2240198"/>
                <a:gd name="connsiteY7555" fmla="*/ 925698 h 1729012"/>
                <a:gd name="connsiteX7556" fmla="*/ 1899056 w 2240198"/>
                <a:gd name="connsiteY7556" fmla="*/ 923389 h 1729012"/>
                <a:gd name="connsiteX7557" fmla="*/ 1901017 w 2240198"/>
                <a:gd name="connsiteY7557" fmla="*/ 921116 h 1729012"/>
                <a:gd name="connsiteX7558" fmla="*/ 1903342 w 2240198"/>
                <a:gd name="connsiteY7558" fmla="*/ 919507 h 1729012"/>
                <a:gd name="connsiteX7559" fmla="*/ 1907664 w 2240198"/>
                <a:gd name="connsiteY7559" fmla="*/ 920829 h 1729012"/>
                <a:gd name="connsiteX7560" fmla="*/ 1911247 w 2240198"/>
                <a:gd name="connsiteY7560" fmla="*/ 924228 h 1729012"/>
                <a:gd name="connsiteX7561" fmla="*/ 1911792 w 2240198"/>
                <a:gd name="connsiteY7561" fmla="*/ 925393 h 1729012"/>
                <a:gd name="connsiteX7562" fmla="*/ 1914126 w 2240198"/>
                <a:gd name="connsiteY7562" fmla="*/ 926862 h 1729012"/>
                <a:gd name="connsiteX7563" fmla="*/ 1916187 w 2240198"/>
                <a:gd name="connsiteY7563" fmla="*/ 926046 h 1729012"/>
                <a:gd name="connsiteX7564" fmla="*/ 1920171 w 2240198"/>
                <a:gd name="connsiteY7564" fmla="*/ 929931 h 1729012"/>
                <a:gd name="connsiteX7565" fmla="*/ 1918282 w 2240198"/>
                <a:gd name="connsiteY7565" fmla="*/ 931691 h 1729012"/>
                <a:gd name="connsiteX7566" fmla="*/ 1914137 w 2240198"/>
                <a:gd name="connsiteY7566" fmla="*/ 934246 h 1729012"/>
                <a:gd name="connsiteX7567" fmla="*/ 1913717 w 2240198"/>
                <a:gd name="connsiteY7567" fmla="*/ 935112 h 1729012"/>
                <a:gd name="connsiteX7568" fmla="*/ 1914715 w 2240198"/>
                <a:gd name="connsiteY7568" fmla="*/ 934914 h 1729012"/>
                <a:gd name="connsiteX7569" fmla="*/ 1922610 w 2240198"/>
                <a:gd name="connsiteY7569" fmla="*/ 934910 h 1729012"/>
                <a:gd name="connsiteX7570" fmla="*/ 1924743 w 2240198"/>
                <a:gd name="connsiteY7570" fmla="*/ 935937 h 1729012"/>
                <a:gd name="connsiteX7571" fmla="*/ 1925247 w 2240198"/>
                <a:gd name="connsiteY7571" fmla="*/ 937891 h 1729012"/>
                <a:gd name="connsiteX7572" fmla="*/ 1921738 w 2240198"/>
                <a:gd name="connsiteY7572" fmla="*/ 943324 h 1729012"/>
                <a:gd name="connsiteX7573" fmla="*/ 1918521 w 2240198"/>
                <a:gd name="connsiteY7573" fmla="*/ 942843 h 1729012"/>
                <a:gd name="connsiteX7574" fmla="*/ 1914272 w 2240198"/>
                <a:gd name="connsiteY7574" fmla="*/ 942712 h 1729012"/>
                <a:gd name="connsiteX7575" fmla="*/ 1912086 w 2240198"/>
                <a:gd name="connsiteY7575" fmla="*/ 943004 h 1729012"/>
                <a:gd name="connsiteX7576" fmla="*/ 1912425 w 2240198"/>
                <a:gd name="connsiteY7576" fmla="*/ 943707 h 1729012"/>
                <a:gd name="connsiteX7577" fmla="*/ 1918320 w 2240198"/>
                <a:gd name="connsiteY7577" fmla="*/ 946208 h 1729012"/>
                <a:gd name="connsiteX7578" fmla="*/ 1919988 w 2240198"/>
                <a:gd name="connsiteY7578" fmla="*/ 948267 h 1729012"/>
                <a:gd name="connsiteX7579" fmla="*/ 1922251 w 2240198"/>
                <a:gd name="connsiteY7579" fmla="*/ 950369 h 1729012"/>
                <a:gd name="connsiteX7580" fmla="*/ 1923346 w 2240198"/>
                <a:gd name="connsiteY7580" fmla="*/ 952099 h 1729012"/>
                <a:gd name="connsiteX7581" fmla="*/ 1923320 w 2240198"/>
                <a:gd name="connsiteY7581" fmla="*/ 952895 h 1729012"/>
                <a:gd name="connsiteX7582" fmla="*/ 1922390 w 2240198"/>
                <a:gd name="connsiteY7582" fmla="*/ 954091 h 1729012"/>
                <a:gd name="connsiteX7583" fmla="*/ 1922832 w 2240198"/>
                <a:gd name="connsiteY7583" fmla="*/ 954489 h 1729012"/>
                <a:gd name="connsiteX7584" fmla="*/ 1926871 w 2240198"/>
                <a:gd name="connsiteY7584" fmla="*/ 955271 h 1729012"/>
                <a:gd name="connsiteX7585" fmla="*/ 1929376 w 2240198"/>
                <a:gd name="connsiteY7585" fmla="*/ 954569 h 1729012"/>
                <a:gd name="connsiteX7586" fmla="*/ 1932520 w 2240198"/>
                <a:gd name="connsiteY7586" fmla="*/ 954303 h 1729012"/>
                <a:gd name="connsiteX7587" fmla="*/ 1935293 w 2240198"/>
                <a:gd name="connsiteY7587" fmla="*/ 954497 h 1729012"/>
                <a:gd name="connsiteX7588" fmla="*/ 1935514 w 2240198"/>
                <a:gd name="connsiteY7588" fmla="*/ 955241 h 1729012"/>
                <a:gd name="connsiteX7589" fmla="*/ 1935096 w 2240198"/>
                <a:gd name="connsiteY7589" fmla="*/ 957209 h 1729012"/>
                <a:gd name="connsiteX7590" fmla="*/ 1932257 w 2240198"/>
                <a:gd name="connsiteY7590" fmla="*/ 959028 h 1729012"/>
                <a:gd name="connsiteX7591" fmla="*/ 1933017 w 2240198"/>
                <a:gd name="connsiteY7591" fmla="*/ 959453 h 1729012"/>
                <a:gd name="connsiteX7592" fmla="*/ 1936351 w 2240198"/>
                <a:gd name="connsiteY7592" fmla="*/ 958930 h 1729012"/>
                <a:gd name="connsiteX7593" fmla="*/ 1937882 w 2240198"/>
                <a:gd name="connsiteY7593" fmla="*/ 959779 h 1729012"/>
                <a:gd name="connsiteX7594" fmla="*/ 1939855 w 2240198"/>
                <a:gd name="connsiteY7594" fmla="*/ 964098 h 1729012"/>
                <a:gd name="connsiteX7595" fmla="*/ 1942075 w 2240198"/>
                <a:gd name="connsiteY7595" fmla="*/ 967482 h 1729012"/>
                <a:gd name="connsiteX7596" fmla="*/ 1940268 w 2240198"/>
                <a:gd name="connsiteY7596" fmla="*/ 968258 h 1729012"/>
                <a:gd name="connsiteX7597" fmla="*/ 1938256 w 2240198"/>
                <a:gd name="connsiteY7597" fmla="*/ 968555 h 1729012"/>
                <a:gd name="connsiteX7598" fmla="*/ 1938542 w 2240198"/>
                <a:gd name="connsiteY7598" fmla="*/ 972862 h 1729012"/>
                <a:gd name="connsiteX7599" fmla="*/ 1939852 w 2240198"/>
                <a:gd name="connsiteY7599" fmla="*/ 977267 h 1729012"/>
                <a:gd name="connsiteX7600" fmla="*/ 1939866 w 2240198"/>
                <a:gd name="connsiteY7600" fmla="*/ 981481 h 1729012"/>
                <a:gd name="connsiteX7601" fmla="*/ 1939453 w 2240198"/>
                <a:gd name="connsiteY7601" fmla="*/ 985226 h 1729012"/>
                <a:gd name="connsiteX7602" fmla="*/ 1937614 w 2240198"/>
                <a:gd name="connsiteY7602" fmla="*/ 986056 h 1729012"/>
                <a:gd name="connsiteX7603" fmla="*/ 1935642 w 2240198"/>
                <a:gd name="connsiteY7603" fmla="*/ 985969 h 1729012"/>
                <a:gd name="connsiteX7604" fmla="*/ 1934858 w 2240198"/>
                <a:gd name="connsiteY7604" fmla="*/ 985029 h 1729012"/>
                <a:gd name="connsiteX7605" fmla="*/ 1930022 w 2240198"/>
                <a:gd name="connsiteY7605" fmla="*/ 973819 h 1729012"/>
                <a:gd name="connsiteX7606" fmla="*/ 1928831 w 2240198"/>
                <a:gd name="connsiteY7606" fmla="*/ 971789 h 1729012"/>
                <a:gd name="connsiteX7607" fmla="*/ 1927401 w 2240198"/>
                <a:gd name="connsiteY7607" fmla="*/ 970017 h 1729012"/>
                <a:gd name="connsiteX7608" fmla="*/ 1922275 w 2240198"/>
                <a:gd name="connsiteY7608" fmla="*/ 965149 h 1729012"/>
                <a:gd name="connsiteX7609" fmla="*/ 1922476 w 2240198"/>
                <a:gd name="connsiteY7609" fmla="*/ 965932 h 1729012"/>
                <a:gd name="connsiteX7610" fmla="*/ 1923745 w 2240198"/>
                <a:gd name="connsiteY7610" fmla="*/ 968177 h 1729012"/>
                <a:gd name="connsiteX7611" fmla="*/ 1924872 w 2240198"/>
                <a:gd name="connsiteY7611" fmla="*/ 971520 h 1729012"/>
                <a:gd name="connsiteX7612" fmla="*/ 1926345 w 2240198"/>
                <a:gd name="connsiteY7612" fmla="*/ 978175 h 1729012"/>
                <a:gd name="connsiteX7613" fmla="*/ 1927018 w 2240198"/>
                <a:gd name="connsiteY7613" fmla="*/ 982449 h 1729012"/>
                <a:gd name="connsiteX7614" fmla="*/ 1926716 w 2240198"/>
                <a:gd name="connsiteY7614" fmla="*/ 984072 h 1729012"/>
                <a:gd name="connsiteX7615" fmla="*/ 1925667 w 2240198"/>
                <a:gd name="connsiteY7615" fmla="*/ 984470 h 1729012"/>
                <a:gd name="connsiteX7616" fmla="*/ 1925391 w 2240198"/>
                <a:gd name="connsiteY7616" fmla="*/ 985245 h 1729012"/>
                <a:gd name="connsiteX7617" fmla="*/ 1925888 w 2240198"/>
                <a:gd name="connsiteY7617" fmla="*/ 986397 h 1729012"/>
                <a:gd name="connsiteX7618" fmla="*/ 1929807 w 2240198"/>
                <a:gd name="connsiteY7618" fmla="*/ 990746 h 1729012"/>
                <a:gd name="connsiteX7619" fmla="*/ 1931699 w 2240198"/>
                <a:gd name="connsiteY7619" fmla="*/ 993360 h 1729012"/>
                <a:gd name="connsiteX7620" fmla="*/ 1933038 w 2240198"/>
                <a:gd name="connsiteY7620" fmla="*/ 996076 h 1729012"/>
                <a:gd name="connsiteX7621" fmla="*/ 1934287 w 2240198"/>
                <a:gd name="connsiteY7621" fmla="*/ 997904 h 1729012"/>
                <a:gd name="connsiteX7622" fmla="*/ 1935447 w 2240198"/>
                <a:gd name="connsiteY7622" fmla="*/ 998851 h 1729012"/>
                <a:gd name="connsiteX7623" fmla="*/ 1935161 w 2240198"/>
                <a:gd name="connsiteY7623" fmla="*/ 999628 h 1729012"/>
                <a:gd name="connsiteX7624" fmla="*/ 1933431 w 2240198"/>
                <a:gd name="connsiteY7624" fmla="*/ 1000234 h 1729012"/>
                <a:gd name="connsiteX7625" fmla="*/ 1930468 w 2240198"/>
                <a:gd name="connsiteY7625" fmla="*/ 1000523 h 1729012"/>
                <a:gd name="connsiteX7626" fmla="*/ 1929085 w 2240198"/>
                <a:gd name="connsiteY7626" fmla="*/ 1000155 h 1729012"/>
                <a:gd name="connsiteX7627" fmla="*/ 1923768 w 2240198"/>
                <a:gd name="connsiteY7627" fmla="*/ 997644 h 1729012"/>
                <a:gd name="connsiteX7628" fmla="*/ 1923011 w 2240198"/>
                <a:gd name="connsiteY7628" fmla="*/ 998428 h 1729012"/>
                <a:gd name="connsiteX7629" fmla="*/ 1925958 w 2240198"/>
                <a:gd name="connsiteY7629" fmla="*/ 1007595 h 1729012"/>
                <a:gd name="connsiteX7630" fmla="*/ 1925867 w 2240198"/>
                <a:gd name="connsiteY7630" fmla="*/ 1009784 h 1729012"/>
                <a:gd name="connsiteX7631" fmla="*/ 1924388 w 2240198"/>
                <a:gd name="connsiteY7631" fmla="*/ 1010561 h 1729012"/>
                <a:gd name="connsiteX7632" fmla="*/ 1922567 w 2240198"/>
                <a:gd name="connsiteY7632" fmla="*/ 1009652 h 1729012"/>
                <a:gd name="connsiteX7633" fmla="*/ 1920399 w 2240198"/>
                <a:gd name="connsiteY7633" fmla="*/ 1007056 h 1729012"/>
                <a:gd name="connsiteX7634" fmla="*/ 1917085 w 2240198"/>
                <a:gd name="connsiteY7634" fmla="*/ 1004160 h 1729012"/>
                <a:gd name="connsiteX7635" fmla="*/ 1912625 w 2240198"/>
                <a:gd name="connsiteY7635" fmla="*/ 1000958 h 1729012"/>
                <a:gd name="connsiteX7636" fmla="*/ 1908365 w 2240198"/>
                <a:gd name="connsiteY7636" fmla="*/ 998453 h 1729012"/>
                <a:gd name="connsiteX7637" fmla="*/ 1907364 w 2240198"/>
                <a:gd name="connsiteY7637" fmla="*/ 998521 h 1729012"/>
                <a:gd name="connsiteX7638" fmla="*/ 1906711 w 2240198"/>
                <a:gd name="connsiteY7638" fmla="*/ 999264 h 1729012"/>
                <a:gd name="connsiteX7639" fmla="*/ 1906000 w 2240198"/>
                <a:gd name="connsiteY7639" fmla="*/ 999384 h 1729012"/>
                <a:gd name="connsiteX7640" fmla="*/ 1905230 w 2240198"/>
                <a:gd name="connsiteY7640" fmla="*/ 998884 h 1729012"/>
                <a:gd name="connsiteX7641" fmla="*/ 1903805 w 2240198"/>
                <a:gd name="connsiteY7641" fmla="*/ 997001 h 1729012"/>
                <a:gd name="connsiteX7642" fmla="*/ 1902319 w 2240198"/>
                <a:gd name="connsiteY7642" fmla="*/ 995723 h 1729012"/>
                <a:gd name="connsiteX7643" fmla="*/ 1896102 w 2240198"/>
                <a:gd name="connsiteY7643" fmla="*/ 991482 h 1729012"/>
                <a:gd name="connsiteX7644" fmla="*/ 1895464 w 2240198"/>
                <a:gd name="connsiteY7644" fmla="*/ 991438 h 1729012"/>
                <a:gd name="connsiteX7645" fmla="*/ 1896051 w 2240198"/>
                <a:gd name="connsiteY7645" fmla="*/ 992711 h 1729012"/>
                <a:gd name="connsiteX7646" fmla="*/ 1896684 w 2240198"/>
                <a:gd name="connsiteY7646" fmla="*/ 995500 h 1729012"/>
                <a:gd name="connsiteX7647" fmla="*/ 1895984 w 2240198"/>
                <a:gd name="connsiteY7647" fmla="*/ 996109 h 1729012"/>
                <a:gd name="connsiteX7648" fmla="*/ 1894359 w 2240198"/>
                <a:gd name="connsiteY7648" fmla="*/ 995881 h 1729012"/>
                <a:gd name="connsiteX7649" fmla="*/ 1891273 w 2240198"/>
                <a:gd name="connsiteY7649" fmla="*/ 994666 h 1729012"/>
                <a:gd name="connsiteX7650" fmla="*/ 1889197 w 2240198"/>
                <a:gd name="connsiteY7650" fmla="*/ 991876 h 1729012"/>
                <a:gd name="connsiteX7651" fmla="*/ 1886557 w 2240198"/>
                <a:gd name="connsiteY7651" fmla="*/ 987026 h 1729012"/>
                <a:gd name="connsiteX7652" fmla="*/ 1885175 w 2240198"/>
                <a:gd name="connsiteY7652" fmla="*/ 985193 h 1729012"/>
                <a:gd name="connsiteX7653" fmla="*/ 1885053 w 2240198"/>
                <a:gd name="connsiteY7653" fmla="*/ 986386 h 1729012"/>
                <a:gd name="connsiteX7654" fmla="*/ 1885786 w 2240198"/>
                <a:gd name="connsiteY7654" fmla="*/ 991008 h 1729012"/>
                <a:gd name="connsiteX7655" fmla="*/ 1885645 w 2240198"/>
                <a:gd name="connsiteY7655" fmla="*/ 992560 h 1729012"/>
                <a:gd name="connsiteX7656" fmla="*/ 1884097 w 2240198"/>
                <a:gd name="connsiteY7656" fmla="*/ 992982 h 1729012"/>
                <a:gd name="connsiteX7657" fmla="*/ 1883444 w 2240198"/>
                <a:gd name="connsiteY7657" fmla="*/ 992558 h 1729012"/>
                <a:gd name="connsiteX7658" fmla="*/ 1882803 w 2240198"/>
                <a:gd name="connsiteY7658" fmla="*/ 991326 h 1729012"/>
                <a:gd name="connsiteX7659" fmla="*/ 1882177 w 2240198"/>
                <a:gd name="connsiteY7659" fmla="*/ 989286 h 1729012"/>
                <a:gd name="connsiteX7660" fmla="*/ 1880701 w 2240198"/>
                <a:gd name="connsiteY7660" fmla="*/ 987735 h 1729012"/>
                <a:gd name="connsiteX7661" fmla="*/ 1878372 w 2240198"/>
                <a:gd name="connsiteY7661" fmla="*/ 986674 h 1729012"/>
                <a:gd name="connsiteX7662" fmla="*/ 1877068 w 2240198"/>
                <a:gd name="connsiteY7662" fmla="*/ 985560 h 1729012"/>
                <a:gd name="connsiteX7663" fmla="*/ 1876422 w 2240198"/>
                <a:gd name="connsiteY7663" fmla="*/ 983580 h 1729012"/>
                <a:gd name="connsiteX7664" fmla="*/ 1875972 w 2240198"/>
                <a:gd name="connsiteY7664" fmla="*/ 983125 h 1729012"/>
                <a:gd name="connsiteX7665" fmla="*/ 1871868 w 2240198"/>
                <a:gd name="connsiteY7665" fmla="*/ 983583 h 1729012"/>
                <a:gd name="connsiteX7666" fmla="*/ 1869809 w 2240198"/>
                <a:gd name="connsiteY7666" fmla="*/ 982156 h 1729012"/>
                <a:gd name="connsiteX7667" fmla="*/ 1863875 w 2240198"/>
                <a:gd name="connsiteY7667" fmla="*/ 976520 h 1729012"/>
                <a:gd name="connsiteX7668" fmla="*/ 1858443 w 2240198"/>
                <a:gd name="connsiteY7668" fmla="*/ 970395 h 1729012"/>
                <a:gd name="connsiteX7669" fmla="*/ 1855020 w 2240198"/>
                <a:gd name="connsiteY7669" fmla="*/ 967151 h 1729012"/>
                <a:gd name="connsiteX7670" fmla="*/ 1853777 w 2240198"/>
                <a:gd name="connsiteY7670" fmla="*/ 966378 h 1729012"/>
                <a:gd name="connsiteX7671" fmla="*/ 1855598 w 2240198"/>
                <a:gd name="connsiteY7671" fmla="*/ 970353 h 1729012"/>
                <a:gd name="connsiteX7672" fmla="*/ 1857599 w 2240198"/>
                <a:gd name="connsiteY7672" fmla="*/ 976205 h 1729012"/>
                <a:gd name="connsiteX7673" fmla="*/ 1858105 w 2240198"/>
                <a:gd name="connsiteY7673" fmla="*/ 978872 h 1729012"/>
                <a:gd name="connsiteX7674" fmla="*/ 1857186 w 2240198"/>
                <a:gd name="connsiteY7674" fmla="*/ 978993 h 1729012"/>
                <a:gd name="connsiteX7675" fmla="*/ 1855181 w 2240198"/>
                <a:gd name="connsiteY7675" fmla="*/ 977811 h 1729012"/>
                <a:gd name="connsiteX7676" fmla="*/ 1844894 w 2240198"/>
                <a:gd name="connsiteY7676" fmla="*/ 970270 h 1729012"/>
                <a:gd name="connsiteX7677" fmla="*/ 1838551 w 2240198"/>
                <a:gd name="connsiteY7677" fmla="*/ 966711 h 1729012"/>
                <a:gd name="connsiteX7678" fmla="*/ 1835024 w 2240198"/>
                <a:gd name="connsiteY7678" fmla="*/ 966081 h 1729012"/>
                <a:gd name="connsiteX7679" fmla="*/ 1829291 w 2240198"/>
                <a:gd name="connsiteY7679" fmla="*/ 965649 h 1729012"/>
                <a:gd name="connsiteX7680" fmla="*/ 1827968 w 2240198"/>
                <a:gd name="connsiteY7680" fmla="*/ 967607 h 1729012"/>
                <a:gd name="connsiteX7681" fmla="*/ 1831057 w 2240198"/>
                <a:gd name="connsiteY7681" fmla="*/ 971956 h 1729012"/>
                <a:gd name="connsiteX7682" fmla="*/ 1834067 w 2240198"/>
                <a:gd name="connsiteY7682" fmla="*/ 975226 h 1729012"/>
                <a:gd name="connsiteX7683" fmla="*/ 1836994 w 2240198"/>
                <a:gd name="connsiteY7683" fmla="*/ 977422 h 1729012"/>
                <a:gd name="connsiteX7684" fmla="*/ 1841588 w 2240198"/>
                <a:gd name="connsiteY7684" fmla="*/ 981697 h 1729012"/>
                <a:gd name="connsiteX7685" fmla="*/ 1845795 w 2240198"/>
                <a:gd name="connsiteY7685" fmla="*/ 987193 h 1729012"/>
                <a:gd name="connsiteX7686" fmla="*/ 1847488 w 2240198"/>
                <a:gd name="connsiteY7686" fmla="*/ 988885 h 1729012"/>
                <a:gd name="connsiteX7687" fmla="*/ 1853217 w 2240198"/>
                <a:gd name="connsiteY7687" fmla="*/ 991223 h 1729012"/>
                <a:gd name="connsiteX7688" fmla="*/ 1856206 w 2240198"/>
                <a:gd name="connsiteY7688" fmla="*/ 991844 h 1729012"/>
                <a:gd name="connsiteX7689" fmla="*/ 1859286 w 2240198"/>
                <a:gd name="connsiteY7689" fmla="*/ 992024 h 1729012"/>
                <a:gd name="connsiteX7690" fmla="*/ 1859567 w 2240198"/>
                <a:gd name="connsiteY7690" fmla="*/ 992857 h 1729012"/>
                <a:gd name="connsiteX7691" fmla="*/ 1858074 w 2240198"/>
                <a:gd name="connsiteY7691" fmla="*/ 994408 h 1729012"/>
                <a:gd name="connsiteX7692" fmla="*/ 1857740 w 2240198"/>
                <a:gd name="connsiteY7692" fmla="*/ 995368 h 1729012"/>
                <a:gd name="connsiteX7693" fmla="*/ 1864554 w 2240198"/>
                <a:gd name="connsiteY7693" fmla="*/ 997807 h 1729012"/>
                <a:gd name="connsiteX7694" fmla="*/ 1867129 w 2240198"/>
                <a:gd name="connsiteY7694" fmla="*/ 999162 h 1729012"/>
                <a:gd name="connsiteX7695" fmla="*/ 1869618 w 2240198"/>
                <a:gd name="connsiteY7695" fmla="*/ 1001408 h 1729012"/>
                <a:gd name="connsiteX7696" fmla="*/ 1871033 w 2240198"/>
                <a:gd name="connsiteY7696" fmla="*/ 1001966 h 1729012"/>
                <a:gd name="connsiteX7697" fmla="*/ 1876945 w 2240198"/>
                <a:gd name="connsiteY7697" fmla="*/ 1007620 h 1729012"/>
                <a:gd name="connsiteX7698" fmla="*/ 1878416 w 2240198"/>
                <a:gd name="connsiteY7698" fmla="*/ 1008520 h 1729012"/>
                <a:gd name="connsiteX7699" fmla="*/ 1883679 w 2240198"/>
                <a:gd name="connsiteY7699" fmla="*/ 1010351 h 1729012"/>
                <a:gd name="connsiteX7700" fmla="*/ 1885431 w 2240198"/>
                <a:gd name="connsiteY7700" fmla="*/ 1011527 h 1729012"/>
                <a:gd name="connsiteX7701" fmla="*/ 1888331 w 2240198"/>
                <a:gd name="connsiteY7701" fmla="*/ 1015163 h 1729012"/>
                <a:gd name="connsiteX7702" fmla="*/ 1890151 w 2240198"/>
                <a:gd name="connsiteY7702" fmla="*/ 1017009 h 1729012"/>
                <a:gd name="connsiteX7703" fmla="*/ 1892724 w 2240198"/>
                <a:gd name="connsiteY7703" fmla="*/ 1021391 h 1729012"/>
                <a:gd name="connsiteX7704" fmla="*/ 1894652 w 2240198"/>
                <a:gd name="connsiteY7704" fmla="*/ 1023326 h 1729012"/>
                <a:gd name="connsiteX7705" fmla="*/ 1899374 w 2240198"/>
                <a:gd name="connsiteY7705" fmla="*/ 1025538 h 1729012"/>
                <a:gd name="connsiteX7706" fmla="*/ 1901386 w 2240198"/>
                <a:gd name="connsiteY7706" fmla="*/ 1026171 h 1729012"/>
                <a:gd name="connsiteX7707" fmla="*/ 1902285 w 2240198"/>
                <a:gd name="connsiteY7707" fmla="*/ 1027012 h 1729012"/>
                <a:gd name="connsiteX7708" fmla="*/ 1901673 w 2240198"/>
                <a:gd name="connsiteY7708" fmla="*/ 1028997 h 1729012"/>
                <a:gd name="connsiteX7709" fmla="*/ 1901100 w 2240198"/>
                <a:gd name="connsiteY7709" fmla="*/ 1029824 h 1729012"/>
                <a:gd name="connsiteX7710" fmla="*/ 1898406 w 2240198"/>
                <a:gd name="connsiteY7710" fmla="*/ 1031188 h 1729012"/>
                <a:gd name="connsiteX7711" fmla="*/ 1898832 w 2240198"/>
                <a:gd name="connsiteY7711" fmla="*/ 1033088 h 1729012"/>
                <a:gd name="connsiteX7712" fmla="*/ 1900352 w 2240198"/>
                <a:gd name="connsiteY7712" fmla="*/ 1036470 h 1729012"/>
                <a:gd name="connsiteX7713" fmla="*/ 1900290 w 2240198"/>
                <a:gd name="connsiteY7713" fmla="*/ 1038565 h 1729012"/>
                <a:gd name="connsiteX7714" fmla="*/ 1898641 w 2240198"/>
                <a:gd name="connsiteY7714" fmla="*/ 1039378 h 1729012"/>
                <a:gd name="connsiteX7715" fmla="*/ 1895274 w 2240198"/>
                <a:gd name="connsiteY7715" fmla="*/ 1040346 h 1729012"/>
                <a:gd name="connsiteX7716" fmla="*/ 1893574 w 2240198"/>
                <a:gd name="connsiteY7716" fmla="*/ 1040268 h 1729012"/>
                <a:gd name="connsiteX7717" fmla="*/ 1891019 w 2240198"/>
                <a:gd name="connsiteY7717" fmla="*/ 1039469 h 1729012"/>
                <a:gd name="connsiteX7718" fmla="*/ 1887804 w 2240198"/>
                <a:gd name="connsiteY7718" fmla="*/ 1038108 h 1729012"/>
                <a:gd name="connsiteX7719" fmla="*/ 1881419 w 2240198"/>
                <a:gd name="connsiteY7719" fmla="*/ 1034705 h 1729012"/>
                <a:gd name="connsiteX7720" fmla="*/ 1871835 w 2240198"/>
                <a:gd name="connsiteY7720" fmla="*/ 1032345 h 1729012"/>
                <a:gd name="connsiteX7721" fmla="*/ 1868261 w 2240198"/>
                <a:gd name="connsiteY7721" fmla="*/ 1031085 h 1729012"/>
                <a:gd name="connsiteX7722" fmla="*/ 1867070 w 2240198"/>
                <a:gd name="connsiteY7722" fmla="*/ 1029946 h 1729012"/>
                <a:gd name="connsiteX7723" fmla="*/ 1865266 w 2240198"/>
                <a:gd name="connsiteY7723" fmla="*/ 1029272 h 1729012"/>
                <a:gd name="connsiteX7724" fmla="*/ 1841469 w 2240198"/>
                <a:gd name="connsiteY7724" fmla="*/ 1025980 h 1729012"/>
                <a:gd name="connsiteX7725" fmla="*/ 1837482 w 2240198"/>
                <a:gd name="connsiteY7725" fmla="*/ 1025176 h 1729012"/>
                <a:gd name="connsiteX7726" fmla="*/ 1835003 w 2240198"/>
                <a:gd name="connsiteY7726" fmla="*/ 1024167 h 1729012"/>
                <a:gd name="connsiteX7727" fmla="*/ 1832703 w 2240198"/>
                <a:gd name="connsiteY7727" fmla="*/ 1022685 h 1729012"/>
                <a:gd name="connsiteX7728" fmla="*/ 1823626 w 2240198"/>
                <a:gd name="connsiteY7728" fmla="*/ 1019293 h 1729012"/>
                <a:gd name="connsiteX7729" fmla="*/ 1822529 w 2240198"/>
                <a:gd name="connsiteY7729" fmla="*/ 1018553 h 1729012"/>
                <a:gd name="connsiteX7730" fmla="*/ 1816433 w 2240198"/>
                <a:gd name="connsiteY7730" fmla="*/ 1012718 h 1729012"/>
                <a:gd name="connsiteX7731" fmla="*/ 1811891 w 2240198"/>
                <a:gd name="connsiteY7731" fmla="*/ 1005888 h 1729012"/>
                <a:gd name="connsiteX7732" fmla="*/ 1810379 w 2240198"/>
                <a:gd name="connsiteY7732" fmla="*/ 1004971 h 1729012"/>
                <a:gd name="connsiteX7733" fmla="*/ 1805440 w 2240198"/>
                <a:gd name="connsiteY7733" fmla="*/ 1004070 h 1729012"/>
                <a:gd name="connsiteX7734" fmla="*/ 1801318 w 2240198"/>
                <a:gd name="connsiteY7734" fmla="*/ 1004636 h 1729012"/>
                <a:gd name="connsiteX7735" fmla="*/ 1798559 w 2240198"/>
                <a:gd name="connsiteY7735" fmla="*/ 1005387 h 1729012"/>
                <a:gd name="connsiteX7736" fmla="*/ 1794370 w 2240198"/>
                <a:gd name="connsiteY7736" fmla="*/ 1005143 h 1729012"/>
                <a:gd name="connsiteX7737" fmla="*/ 1791634 w 2240198"/>
                <a:gd name="connsiteY7737" fmla="*/ 1004028 h 1729012"/>
                <a:gd name="connsiteX7738" fmla="*/ 1785871 w 2240198"/>
                <a:gd name="connsiteY7738" fmla="*/ 1000947 h 1729012"/>
                <a:gd name="connsiteX7739" fmla="*/ 1780036 w 2240198"/>
                <a:gd name="connsiteY7739" fmla="*/ 999306 h 1729012"/>
                <a:gd name="connsiteX7740" fmla="*/ 1774947 w 2240198"/>
                <a:gd name="connsiteY7740" fmla="*/ 996614 h 1729012"/>
                <a:gd name="connsiteX7741" fmla="*/ 1772320 w 2240198"/>
                <a:gd name="connsiteY7741" fmla="*/ 995659 h 1729012"/>
                <a:gd name="connsiteX7742" fmla="*/ 1772562 w 2240198"/>
                <a:gd name="connsiteY7742" fmla="*/ 994966 h 1729012"/>
                <a:gd name="connsiteX7743" fmla="*/ 1776369 w 2240198"/>
                <a:gd name="connsiteY7743" fmla="*/ 990943 h 1729012"/>
                <a:gd name="connsiteX7744" fmla="*/ 1775187 w 2240198"/>
                <a:gd name="connsiteY7744" fmla="*/ 990999 h 1729012"/>
                <a:gd name="connsiteX7745" fmla="*/ 1768568 w 2240198"/>
                <a:gd name="connsiteY7745" fmla="*/ 994056 h 1729012"/>
                <a:gd name="connsiteX7746" fmla="*/ 1766195 w 2240198"/>
                <a:gd name="connsiteY7746" fmla="*/ 993118 h 1729012"/>
                <a:gd name="connsiteX7747" fmla="*/ 1762291 w 2240198"/>
                <a:gd name="connsiteY7747" fmla="*/ 990715 h 1729012"/>
                <a:gd name="connsiteX7748" fmla="*/ 1759353 w 2240198"/>
                <a:gd name="connsiteY7748" fmla="*/ 988291 h 1729012"/>
                <a:gd name="connsiteX7749" fmla="*/ 1753310 w 2240198"/>
                <a:gd name="connsiteY7749" fmla="*/ 981574 h 1729012"/>
                <a:gd name="connsiteX7750" fmla="*/ 1749842 w 2240198"/>
                <a:gd name="connsiteY7750" fmla="*/ 979135 h 1729012"/>
                <a:gd name="connsiteX7751" fmla="*/ 1750328 w 2240198"/>
                <a:gd name="connsiteY7751" fmla="*/ 978586 h 1729012"/>
                <a:gd name="connsiteX7752" fmla="*/ 1754229 w 2240198"/>
                <a:gd name="connsiteY7752" fmla="*/ 978364 h 1729012"/>
                <a:gd name="connsiteX7753" fmla="*/ 1757339 w 2240198"/>
                <a:gd name="connsiteY7753" fmla="*/ 978572 h 1729012"/>
                <a:gd name="connsiteX7754" fmla="*/ 1759426 w 2240198"/>
                <a:gd name="connsiteY7754" fmla="*/ 978017 h 1729012"/>
                <a:gd name="connsiteX7755" fmla="*/ 1763442 w 2240198"/>
                <a:gd name="connsiteY7755" fmla="*/ 975283 h 1729012"/>
                <a:gd name="connsiteX7756" fmla="*/ 1765178 w 2240198"/>
                <a:gd name="connsiteY7756" fmla="*/ 973566 h 1729012"/>
                <a:gd name="connsiteX7757" fmla="*/ 1765344 w 2240198"/>
                <a:gd name="connsiteY7757" fmla="*/ 972550 h 1729012"/>
                <a:gd name="connsiteX7758" fmla="*/ 1761981 w 2240198"/>
                <a:gd name="connsiteY7758" fmla="*/ 972299 h 1729012"/>
                <a:gd name="connsiteX7759" fmla="*/ 1761261 w 2240198"/>
                <a:gd name="connsiteY7759" fmla="*/ 971807 h 1729012"/>
                <a:gd name="connsiteX7760" fmla="*/ 1760659 w 2240198"/>
                <a:gd name="connsiteY7760" fmla="*/ 970684 h 1729012"/>
                <a:gd name="connsiteX7761" fmla="*/ 1759108 w 2240198"/>
                <a:gd name="connsiteY7761" fmla="*/ 969243 h 1729012"/>
                <a:gd name="connsiteX7762" fmla="*/ 1756610 w 2240198"/>
                <a:gd name="connsiteY7762" fmla="*/ 967489 h 1729012"/>
                <a:gd name="connsiteX7763" fmla="*/ 1753764 w 2240198"/>
                <a:gd name="connsiteY7763" fmla="*/ 966732 h 1729012"/>
                <a:gd name="connsiteX7764" fmla="*/ 1743991 w 2240198"/>
                <a:gd name="connsiteY7764" fmla="*/ 967379 h 1729012"/>
                <a:gd name="connsiteX7765" fmla="*/ 1742287 w 2240198"/>
                <a:gd name="connsiteY7765" fmla="*/ 966611 h 1729012"/>
                <a:gd name="connsiteX7766" fmla="*/ 1742323 w 2240198"/>
                <a:gd name="connsiteY7766" fmla="*/ 965442 h 1729012"/>
                <a:gd name="connsiteX7767" fmla="*/ 1744232 w 2240198"/>
                <a:gd name="connsiteY7767" fmla="*/ 962147 h 1729012"/>
                <a:gd name="connsiteX7768" fmla="*/ 1745271 w 2240198"/>
                <a:gd name="connsiteY7768" fmla="*/ 960815 h 1729012"/>
                <a:gd name="connsiteX7769" fmla="*/ 1745604 w 2240198"/>
                <a:gd name="connsiteY7769" fmla="*/ 960080 h 1729012"/>
                <a:gd name="connsiteX7770" fmla="*/ 1745226 w 2240198"/>
                <a:gd name="connsiteY7770" fmla="*/ 959938 h 1729012"/>
                <a:gd name="connsiteX7771" fmla="*/ 1743903 w 2240198"/>
                <a:gd name="connsiteY7771" fmla="*/ 960021 h 1729012"/>
                <a:gd name="connsiteX7772" fmla="*/ 1738235 w 2240198"/>
                <a:gd name="connsiteY7772" fmla="*/ 962977 h 1729012"/>
                <a:gd name="connsiteX7773" fmla="*/ 1737007 w 2240198"/>
                <a:gd name="connsiteY7773" fmla="*/ 962761 h 1729012"/>
                <a:gd name="connsiteX7774" fmla="*/ 1734782 w 2240198"/>
                <a:gd name="connsiteY7774" fmla="*/ 959640 h 1729012"/>
                <a:gd name="connsiteX7775" fmla="*/ 1733435 w 2240198"/>
                <a:gd name="connsiteY7775" fmla="*/ 956071 h 1729012"/>
                <a:gd name="connsiteX7776" fmla="*/ 1732451 w 2240198"/>
                <a:gd name="connsiteY7776" fmla="*/ 954819 h 1729012"/>
                <a:gd name="connsiteX7777" fmla="*/ 1731145 w 2240198"/>
                <a:gd name="connsiteY7777" fmla="*/ 954395 h 1729012"/>
                <a:gd name="connsiteX7778" fmla="*/ 1726490 w 2240198"/>
                <a:gd name="connsiteY7778" fmla="*/ 950881 h 1729012"/>
                <a:gd name="connsiteX7779" fmla="*/ 1719868 w 2240198"/>
                <a:gd name="connsiteY7779" fmla="*/ 944194 h 1729012"/>
                <a:gd name="connsiteX7780" fmla="*/ 1717434 w 2240198"/>
                <a:gd name="connsiteY7780" fmla="*/ 942094 h 1729012"/>
                <a:gd name="connsiteX7781" fmla="*/ 1714727 w 2240198"/>
                <a:gd name="connsiteY7781" fmla="*/ 940217 h 1729012"/>
                <a:gd name="connsiteX7782" fmla="*/ 1712763 w 2240198"/>
                <a:gd name="connsiteY7782" fmla="*/ 939415 h 1729012"/>
                <a:gd name="connsiteX7783" fmla="*/ 1713039 w 2240198"/>
                <a:gd name="connsiteY7783" fmla="*/ 938429 h 1729012"/>
                <a:gd name="connsiteX7784" fmla="*/ 1717235 w 2240198"/>
                <a:gd name="connsiteY7784" fmla="*/ 932846 h 1729012"/>
                <a:gd name="connsiteX7785" fmla="*/ 1717409 w 2240198"/>
                <a:gd name="connsiteY7785" fmla="*/ 931936 h 1729012"/>
                <a:gd name="connsiteX7786" fmla="*/ 1713814 w 2240198"/>
                <a:gd name="connsiteY7786" fmla="*/ 932277 h 1729012"/>
                <a:gd name="connsiteX7787" fmla="*/ 1708391 w 2240198"/>
                <a:gd name="connsiteY7787" fmla="*/ 931118 h 1729012"/>
                <a:gd name="connsiteX7788" fmla="*/ 1705818 w 2240198"/>
                <a:gd name="connsiteY7788" fmla="*/ 932519 h 1729012"/>
                <a:gd name="connsiteX7789" fmla="*/ 1704186 w 2240198"/>
                <a:gd name="connsiteY7789" fmla="*/ 932603 h 1729012"/>
                <a:gd name="connsiteX7790" fmla="*/ 1702282 w 2240198"/>
                <a:gd name="connsiteY7790" fmla="*/ 931821 h 1729012"/>
                <a:gd name="connsiteX7791" fmla="*/ 1701205 w 2240198"/>
                <a:gd name="connsiteY7791" fmla="*/ 932115 h 1729012"/>
                <a:gd name="connsiteX7792" fmla="*/ 1700190 w 2240198"/>
                <a:gd name="connsiteY7792" fmla="*/ 936702 h 1729012"/>
                <a:gd name="connsiteX7793" fmla="*/ 1699411 w 2240198"/>
                <a:gd name="connsiteY7793" fmla="*/ 937848 h 1729012"/>
                <a:gd name="connsiteX7794" fmla="*/ 1698283 w 2240198"/>
                <a:gd name="connsiteY7794" fmla="*/ 938462 h 1729012"/>
                <a:gd name="connsiteX7795" fmla="*/ 1697289 w 2240198"/>
                <a:gd name="connsiteY7795" fmla="*/ 938381 h 1729012"/>
                <a:gd name="connsiteX7796" fmla="*/ 1696429 w 2240198"/>
                <a:gd name="connsiteY7796" fmla="*/ 937605 h 1729012"/>
                <a:gd name="connsiteX7797" fmla="*/ 1696449 w 2240198"/>
                <a:gd name="connsiteY7797" fmla="*/ 936535 h 1729012"/>
                <a:gd name="connsiteX7798" fmla="*/ 1695624 w 2240198"/>
                <a:gd name="connsiteY7798" fmla="*/ 930902 h 1729012"/>
                <a:gd name="connsiteX7799" fmla="*/ 1693732 w 2240198"/>
                <a:gd name="connsiteY7799" fmla="*/ 930071 h 1729012"/>
                <a:gd name="connsiteX7800" fmla="*/ 1688387 w 2240198"/>
                <a:gd name="connsiteY7800" fmla="*/ 929852 h 1729012"/>
                <a:gd name="connsiteX7801" fmla="*/ 1687237 w 2240198"/>
                <a:gd name="connsiteY7801" fmla="*/ 929394 h 1729012"/>
                <a:gd name="connsiteX7802" fmla="*/ 1685937 w 2240198"/>
                <a:gd name="connsiteY7802" fmla="*/ 928351 h 1729012"/>
                <a:gd name="connsiteX7803" fmla="*/ 1684827 w 2240198"/>
                <a:gd name="connsiteY7803" fmla="*/ 926418 h 1729012"/>
                <a:gd name="connsiteX7804" fmla="*/ 1683907 w 2240198"/>
                <a:gd name="connsiteY7804" fmla="*/ 923595 h 1729012"/>
                <a:gd name="connsiteX7805" fmla="*/ 1682849 w 2240198"/>
                <a:gd name="connsiteY7805" fmla="*/ 922046 h 1729012"/>
                <a:gd name="connsiteX7806" fmla="*/ 1681655 w 2240198"/>
                <a:gd name="connsiteY7806" fmla="*/ 921770 h 1729012"/>
                <a:gd name="connsiteX7807" fmla="*/ 1680696 w 2240198"/>
                <a:gd name="connsiteY7807" fmla="*/ 921995 h 1729012"/>
                <a:gd name="connsiteX7808" fmla="*/ 1679971 w 2240198"/>
                <a:gd name="connsiteY7808" fmla="*/ 922727 h 1729012"/>
                <a:gd name="connsiteX7809" fmla="*/ 1678306 w 2240198"/>
                <a:gd name="connsiteY7809" fmla="*/ 923182 h 1729012"/>
                <a:gd name="connsiteX7810" fmla="*/ 1675698 w 2240198"/>
                <a:gd name="connsiteY7810" fmla="*/ 923357 h 1729012"/>
                <a:gd name="connsiteX7811" fmla="*/ 1675618 w 2240198"/>
                <a:gd name="connsiteY7811" fmla="*/ 924443 h 1729012"/>
                <a:gd name="connsiteX7812" fmla="*/ 1678063 w 2240198"/>
                <a:gd name="connsiteY7812" fmla="*/ 926437 h 1729012"/>
                <a:gd name="connsiteX7813" fmla="*/ 1680426 w 2240198"/>
                <a:gd name="connsiteY7813" fmla="*/ 929284 h 1729012"/>
                <a:gd name="connsiteX7814" fmla="*/ 1682703 w 2240198"/>
                <a:gd name="connsiteY7814" fmla="*/ 932975 h 1729012"/>
                <a:gd name="connsiteX7815" fmla="*/ 1681316 w 2240198"/>
                <a:gd name="connsiteY7815" fmla="*/ 935446 h 1729012"/>
                <a:gd name="connsiteX7816" fmla="*/ 1676265 w 2240198"/>
                <a:gd name="connsiteY7816" fmla="*/ 936706 h 1729012"/>
                <a:gd name="connsiteX7817" fmla="*/ 1671867 w 2240198"/>
                <a:gd name="connsiteY7817" fmla="*/ 937075 h 1729012"/>
                <a:gd name="connsiteX7818" fmla="*/ 1668123 w 2240198"/>
                <a:gd name="connsiteY7818" fmla="*/ 936556 h 1729012"/>
                <a:gd name="connsiteX7819" fmla="*/ 1665248 w 2240198"/>
                <a:gd name="connsiteY7819" fmla="*/ 935698 h 1729012"/>
                <a:gd name="connsiteX7820" fmla="*/ 1661207 w 2240198"/>
                <a:gd name="connsiteY7820" fmla="*/ 933643 h 1729012"/>
                <a:gd name="connsiteX7821" fmla="*/ 1655444 w 2240198"/>
                <a:gd name="connsiteY7821" fmla="*/ 934312 h 1729012"/>
                <a:gd name="connsiteX7822" fmla="*/ 1654134 w 2240198"/>
                <a:gd name="connsiteY7822" fmla="*/ 939715 h 1729012"/>
                <a:gd name="connsiteX7823" fmla="*/ 1652904 w 2240198"/>
                <a:gd name="connsiteY7823" fmla="*/ 940010 h 1729012"/>
                <a:gd name="connsiteX7824" fmla="*/ 1647412 w 2240198"/>
                <a:gd name="connsiteY7824" fmla="*/ 939872 h 1729012"/>
                <a:gd name="connsiteX7825" fmla="*/ 1645226 w 2240198"/>
                <a:gd name="connsiteY7825" fmla="*/ 940351 h 1729012"/>
                <a:gd name="connsiteX7826" fmla="*/ 1637904 w 2240198"/>
                <a:gd name="connsiteY7826" fmla="*/ 943328 h 1729012"/>
                <a:gd name="connsiteX7827" fmla="*/ 1635675 w 2240198"/>
                <a:gd name="connsiteY7827" fmla="*/ 943743 h 1729012"/>
                <a:gd name="connsiteX7828" fmla="*/ 1633981 w 2240198"/>
                <a:gd name="connsiteY7828" fmla="*/ 943392 h 1729012"/>
                <a:gd name="connsiteX7829" fmla="*/ 1632333 w 2240198"/>
                <a:gd name="connsiteY7829" fmla="*/ 944111 h 1729012"/>
                <a:gd name="connsiteX7830" fmla="*/ 1629865 w 2240198"/>
                <a:gd name="connsiteY7830" fmla="*/ 945814 h 1729012"/>
                <a:gd name="connsiteX7831" fmla="*/ 1626510 w 2240198"/>
                <a:gd name="connsiteY7831" fmla="*/ 945993 h 1729012"/>
                <a:gd name="connsiteX7832" fmla="*/ 1622266 w 2240198"/>
                <a:gd name="connsiteY7832" fmla="*/ 944643 h 1729012"/>
                <a:gd name="connsiteX7833" fmla="*/ 1618662 w 2240198"/>
                <a:gd name="connsiteY7833" fmla="*/ 944065 h 1729012"/>
                <a:gd name="connsiteX7834" fmla="*/ 1615699 w 2240198"/>
                <a:gd name="connsiteY7834" fmla="*/ 944256 h 1729012"/>
                <a:gd name="connsiteX7835" fmla="*/ 1612647 w 2240198"/>
                <a:gd name="connsiteY7835" fmla="*/ 943461 h 1729012"/>
                <a:gd name="connsiteX7836" fmla="*/ 1609506 w 2240198"/>
                <a:gd name="connsiteY7836" fmla="*/ 941677 h 1729012"/>
                <a:gd name="connsiteX7837" fmla="*/ 1606945 w 2240198"/>
                <a:gd name="connsiteY7837" fmla="*/ 940874 h 1729012"/>
                <a:gd name="connsiteX7838" fmla="*/ 1603579 w 2240198"/>
                <a:gd name="connsiteY7838" fmla="*/ 941009 h 1729012"/>
                <a:gd name="connsiteX7839" fmla="*/ 1602802 w 2240198"/>
                <a:gd name="connsiteY7839" fmla="*/ 940726 h 1729012"/>
                <a:gd name="connsiteX7840" fmla="*/ 1597890 w 2240198"/>
                <a:gd name="connsiteY7840" fmla="*/ 936896 h 1729012"/>
                <a:gd name="connsiteX7841" fmla="*/ 1596360 w 2240198"/>
                <a:gd name="connsiteY7841" fmla="*/ 935337 h 1729012"/>
                <a:gd name="connsiteX7842" fmla="*/ 1593080 w 2240198"/>
                <a:gd name="connsiteY7842" fmla="*/ 930496 h 1729012"/>
                <a:gd name="connsiteX7843" fmla="*/ 1592497 w 2240198"/>
                <a:gd name="connsiteY7843" fmla="*/ 928576 h 1729012"/>
                <a:gd name="connsiteX7844" fmla="*/ 1592412 w 2240198"/>
                <a:gd name="connsiteY7844" fmla="*/ 926524 h 1729012"/>
                <a:gd name="connsiteX7845" fmla="*/ 1592697 w 2240198"/>
                <a:gd name="connsiteY7845" fmla="*/ 925006 h 1729012"/>
                <a:gd name="connsiteX7846" fmla="*/ 1593839 w 2240198"/>
                <a:gd name="connsiteY7846" fmla="*/ 922711 h 1729012"/>
                <a:gd name="connsiteX7847" fmla="*/ 1595082 w 2240198"/>
                <a:gd name="connsiteY7847" fmla="*/ 917306 h 1729012"/>
                <a:gd name="connsiteX7848" fmla="*/ 1596105 w 2240198"/>
                <a:gd name="connsiteY7848" fmla="*/ 915510 h 1729012"/>
                <a:gd name="connsiteX7849" fmla="*/ 1597644 w 2240198"/>
                <a:gd name="connsiteY7849" fmla="*/ 913874 h 1729012"/>
                <a:gd name="connsiteX7850" fmla="*/ 1600646 w 2240198"/>
                <a:gd name="connsiteY7850" fmla="*/ 911799 h 1729012"/>
                <a:gd name="connsiteX7851" fmla="*/ 1611517 w 2240198"/>
                <a:gd name="connsiteY7851" fmla="*/ 908142 h 1729012"/>
                <a:gd name="connsiteX7852" fmla="*/ 1613713 w 2240198"/>
                <a:gd name="connsiteY7852" fmla="*/ 906697 h 1729012"/>
                <a:gd name="connsiteX7853" fmla="*/ 1613637 w 2240198"/>
                <a:gd name="connsiteY7853" fmla="*/ 905736 h 1729012"/>
                <a:gd name="connsiteX7854" fmla="*/ 1611161 w 2240198"/>
                <a:gd name="connsiteY7854" fmla="*/ 901250 h 1729012"/>
                <a:gd name="connsiteX7855" fmla="*/ 1611189 w 2240198"/>
                <a:gd name="connsiteY7855" fmla="*/ 900100 h 1729012"/>
                <a:gd name="connsiteX7856" fmla="*/ 1612019 w 2240198"/>
                <a:gd name="connsiteY7856" fmla="*/ 899429 h 1729012"/>
                <a:gd name="connsiteX7857" fmla="*/ 1613785 w 2240198"/>
                <a:gd name="connsiteY7857" fmla="*/ 896801 h 1729012"/>
                <a:gd name="connsiteX7858" fmla="*/ 1614578 w 2240198"/>
                <a:gd name="connsiteY7858" fmla="*/ 896067 h 1729012"/>
                <a:gd name="connsiteX7859" fmla="*/ 1616495 w 2240198"/>
                <a:gd name="connsiteY7859" fmla="*/ 895662 h 1729012"/>
                <a:gd name="connsiteX7860" fmla="*/ 1620476 w 2240198"/>
                <a:gd name="connsiteY7860" fmla="*/ 896991 h 1729012"/>
                <a:gd name="connsiteX7861" fmla="*/ 1623913 w 2240198"/>
                <a:gd name="connsiteY7861" fmla="*/ 897524 h 1729012"/>
                <a:gd name="connsiteX7862" fmla="*/ 1628469 w 2240198"/>
                <a:gd name="connsiteY7862" fmla="*/ 897698 h 1729012"/>
                <a:gd name="connsiteX7863" fmla="*/ 1636005 w 2240198"/>
                <a:gd name="connsiteY7863" fmla="*/ 899528 h 1729012"/>
                <a:gd name="connsiteX7864" fmla="*/ 1646520 w 2240198"/>
                <a:gd name="connsiteY7864" fmla="*/ 903020 h 1729012"/>
                <a:gd name="connsiteX7865" fmla="*/ 1652573 w 2240198"/>
                <a:gd name="connsiteY7865" fmla="*/ 905436 h 1729012"/>
                <a:gd name="connsiteX7866" fmla="*/ 1657141 w 2240198"/>
                <a:gd name="connsiteY7866" fmla="*/ 908999 h 1729012"/>
                <a:gd name="connsiteX7867" fmla="*/ 1660392 w 2240198"/>
                <a:gd name="connsiteY7867" fmla="*/ 912498 h 1729012"/>
                <a:gd name="connsiteX7868" fmla="*/ 1660858 w 2240198"/>
                <a:gd name="connsiteY7868" fmla="*/ 914267 h 1729012"/>
                <a:gd name="connsiteX7869" fmla="*/ 1659352 w 2240198"/>
                <a:gd name="connsiteY7869" fmla="*/ 916987 h 1729012"/>
                <a:gd name="connsiteX7870" fmla="*/ 1658593 w 2240198"/>
                <a:gd name="connsiteY7870" fmla="*/ 917782 h 1729012"/>
                <a:gd name="connsiteX7871" fmla="*/ 1658638 w 2240198"/>
                <a:gd name="connsiteY7871" fmla="*/ 918714 h 1729012"/>
                <a:gd name="connsiteX7872" fmla="*/ 1659484 w 2240198"/>
                <a:gd name="connsiteY7872" fmla="*/ 919775 h 1729012"/>
                <a:gd name="connsiteX7873" fmla="*/ 1662112 w 2240198"/>
                <a:gd name="connsiteY7873" fmla="*/ 921320 h 1729012"/>
                <a:gd name="connsiteX7874" fmla="*/ 1662745 w 2240198"/>
                <a:gd name="connsiteY7874" fmla="*/ 920734 h 1729012"/>
                <a:gd name="connsiteX7875" fmla="*/ 1662541 w 2240198"/>
                <a:gd name="connsiteY7875" fmla="*/ 918889 h 1729012"/>
                <a:gd name="connsiteX7876" fmla="*/ 1663086 w 2240198"/>
                <a:gd name="connsiteY7876" fmla="*/ 917336 h 1729012"/>
                <a:gd name="connsiteX7877" fmla="*/ 1664377 w 2240198"/>
                <a:gd name="connsiteY7877" fmla="*/ 916081 h 1729012"/>
                <a:gd name="connsiteX7878" fmla="*/ 1664520 w 2240198"/>
                <a:gd name="connsiteY7878" fmla="*/ 914445 h 1729012"/>
                <a:gd name="connsiteX7879" fmla="*/ 1663517 w 2240198"/>
                <a:gd name="connsiteY7879" fmla="*/ 912433 h 1729012"/>
                <a:gd name="connsiteX7880" fmla="*/ 1662272 w 2240198"/>
                <a:gd name="connsiteY7880" fmla="*/ 910696 h 1729012"/>
                <a:gd name="connsiteX7881" fmla="*/ 1660778 w 2240198"/>
                <a:gd name="connsiteY7881" fmla="*/ 909232 h 1729012"/>
                <a:gd name="connsiteX7882" fmla="*/ 1653976 w 2240198"/>
                <a:gd name="connsiteY7882" fmla="*/ 904195 h 1729012"/>
                <a:gd name="connsiteX7883" fmla="*/ 1653324 w 2240198"/>
                <a:gd name="connsiteY7883" fmla="*/ 902520 h 1729012"/>
                <a:gd name="connsiteX7884" fmla="*/ 1655608 w 2240198"/>
                <a:gd name="connsiteY7884" fmla="*/ 901766 h 1729012"/>
                <a:gd name="connsiteX7885" fmla="*/ 1665547 w 2240198"/>
                <a:gd name="connsiteY7885" fmla="*/ 903460 h 1729012"/>
                <a:gd name="connsiteX7886" fmla="*/ 1669358 w 2240198"/>
                <a:gd name="connsiteY7886" fmla="*/ 903081 h 1729012"/>
                <a:gd name="connsiteX7887" fmla="*/ 1670804 w 2240198"/>
                <a:gd name="connsiteY7887" fmla="*/ 901115 h 1729012"/>
                <a:gd name="connsiteX7888" fmla="*/ 1672365 w 2240198"/>
                <a:gd name="connsiteY7888" fmla="*/ 899766 h 1729012"/>
                <a:gd name="connsiteX7889" fmla="*/ 1674039 w 2240198"/>
                <a:gd name="connsiteY7889" fmla="*/ 899042 h 1729012"/>
                <a:gd name="connsiteX7890" fmla="*/ 1677383 w 2240198"/>
                <a:gd name="connsiteY7890" fmla="*/ 898726 h 1729012"/>
                <a:gd name="connsiteX7891" fmla="*/ 1682058 w 2240198"/>
                <a:gd name="connsiteY7891" fmla="*/ 899644 h 1729012"/>
                <a:gd name="connsiteX7892" fmla="*/ 1684354 w 2240198"/>
                <a:gd name="connsiteY7892" fmla="*/ 899779 h 1729012"/>
                <a:gd name="connsiteX7893" fmla="*/ 1686386 w 2240198"/>
                <a:gd name="connsiteY7893" fmla="*/ 899446 h 1729012"/>
                <a:gd name="connsiteX7894" fmla="*/ 1689024 w 2240198"/>
                <a:gd name="connsiteY7894" fmla="*/ 898373 h 1729012"/>
                <a:gd name="connsiteX7895" fmla="*/ 1692926 w 2240198"/>
                <a:gd name="connsiteY7895" fmla="*/ 894790 h 1729012"/>
                <a:gd name="connsiteX7896" fmla="*/ 1695421 w 2240198"/>
                <a:gd name="connsiteY7896" fmla="*/ 893976 h 1729012"/>
                <a:gd name="connsiteX7897" fmla="*/ 1699196 w 2240198"/>
                <a:gd name="connsiteY7897" fmla="*/ 893413 h 1729012"/>
                <a:gd name="connsiteX7898" fmla="*/ 1702027 w 2240198"/>
                <a:gd name="connsiteY7898" fmla="*/ 893337 h 1729012"/>
                <a:gd name="connsiteX7899" fmla="*/ 1707163 w 2240198"/>
                <a:gd name="connsiteY7899" fmla="*/ 894771 h 1729012"/>
                <a:gd name="connsiteX7900" fmla="*/ 1710322 w 2240198"/>
                <a:gd name="connsiteY7900" fmla="*/ 894733 h 1729012"/>
                <a:gd name="connsiteX7901" fmla="*/ 1710070 w 2240198"/>
                <a:gd name="connsiteY7901" fmla="*/ 892336 h 1729012"/>
                <a:gd name="connsiteX7902" fmla="*/ 1707974 w 2240198"/>
                <a:gd name="connsiteY7902" fmla="*/ 887744 h 1729012"/>
                <a:gd name="connsiteX7903" fmla="*/ 1705370 w 2240198"/>
                <a:gd name="connsiteY7903" fmla="*/ 883009 h 1729012"/>
                <a:gd name="connsiteX7904" fmla="*/ 1703342 w 2240198"/>
                <a:gd name="connsiteY7904" fmla="*/ 881403 h 1729012"/>
                <a:gd name="connsiteX7905" fmla="*/ 1698093 w 2240198"/>
                <a:gd name="connsiteY7905" fmla="*/ 878397 h 1729012"/>
                <a:gd name="connsiteX7906" fmla="*/ 1691929 w 2240198"/>
                <a:gd name="connsiteY7906" fmla="*/ 872712 h 1729012"/>
                <a:gd name="connsiteX7907" fmla="*/ 1688762 w 2240198"/>
                <a:gd name="connsiteY7907" fmla="*/ 869175 h 1729012"/>
                <a:gd name="connsiteX7908" fmla="*/ 1687928 w 2240198"/>
                <a:gd name="connsiteY7908" fmla="*/ 867408 h 1729012"/>
                <a:gd name="connsiteX7909" fmla="*/ 1688373 w 2240198"/>
                <a:gd name="connsiteY7909" fmla="*/ 866228 h 1729012"/>
                <a:gd name="connsiteX7910" fmla="*/ 1689426 w 2240198"/>
                <a:gd name="connsiteY7910" fmla="*/ 864500 h 1729012"/>
                <a:gd name="connsiteX7911" fmla="*/ 1700613 w 2240198"/>
                <a:gd name="connsiteY7911" fmla="*/ 858179 h 1729012"/>
                <a:gd name="connsiteX7912" fmla="*/ 1709474 w 2240198"/>
                <a:gd name="connsiteY7912" fmla="*/ 851886 h 1729012"/>
                <a:gd name="connsiteX7913" fmla="*/ 1713361 w 2240198"/>
                <a:gd name="connsiteY7913" fmla="*/ 848657 h 1729012"/>
                <a:gd name="connsiteX7914" fmla="*/ 1715227 w 2240198"/>
                <a:gd name="connsiteY7914" fmla="*/ 846404 h 1729012"/>
                <a:gd name="connsiteX7915" fmla="*/ 1717168 w 2240198"/>
                <a:gd name="connsiteY7915" fmla="*/ 844762 h 1729012"/>
                <a:gd name="connsiteX7916" fmla="*/ 1719189 w 2240198"/>
                <a:gd name="connsiteY7916" fmla="*/ 843733 h 1729012"/>
                <a:gd name="connsiteX7917" fmla="*/ 1723446 w 2240198"/>
                <a:gd name="connsiteY7917" fmla="*/ 842500 h 1729012"/>
                <a:gd name="connsiteX7918" fmla="*/ 1724660 w 2240198"/>
                <a:gd name="connsiteY7918" fmla="*/ 840918 h 1729012"/>
                <a:gd name="connsiteX7919" fmla="*/ 1724926 w 2240198"/>
                <a:gd name="connsiteY7919" fmla="*/ 838231 h 1729012"/>
                <a:gd name="connsiteX7920" fmla="*/ 1725638 w 2240198"/>
                <a:gd name="connsiteY7920" fmla="*/ 835897 h 1729012"/>
                <a:gd name="connsiteX7921" fmla="*/ 1729644 w 2240198"/>
                <a:gd name="connsiteY7921" fmla="*/ 829607 h 1729012"/>
                <a:gd name="connsiteX7922" fmla="*/ 1732713 w 2240198"/>
                <a:gd name="connsiteY7922" fmla="*/ 827903 h 1729012"/>
                <a:gd name="connsiteX7923" fmla="*/ 1737343 w 2240198"/>
                <a:gd name="connsiteY7923" fmla="*/ 826719 h 1729012"/>
                <a:gd name="connsiteX7924" fmla="*/ 1740391 w 2240198"/>
                <a:gd name="connsiteY7924" fmla="*/ 825208 h 1729012"/>
                <a:gd name="connsiteX7925" fmla="*/ 1744066 w 2240198"/>
                <a:gd name="connsiteY7925" fmla="*/ 820023 h 1729012"/>
                <a:gd name="connsiteX7926" fmla="*/ 1743708 w 2240198"/>
                <a:gd name="connsiteY7926" fmla="*/ 818729 h 1729012"/>
                <a:gd name="connsiteX7927" fmla="*/ 1742011 w 2240198"/>
                <a:gd name="connsiteY7927" fmla="*/ 817747 h 1729012"/>
                <a:gd name="connsiteX7928" fmla="*/ 1740697 w 2240198"/>
                <a:gd name="connsiteY7928" fmla="*/ 816259 h 1729012"/>
                <a:gd name="connsiteX7929" fmla="*/ 1735027 w 2240198"/>
                <a:gd name="connsiteY7929" fmla="*/ 802594 h 1729012"/>
                <a:gd name="connsiteX7930" fmla="*/ 1731254 w 2240198"/>
                <a:gd name="connsiteY7930" fmla="*/ 795965 h 1729012"/>
                <a:gd name="connsiteX7931" fmla="*/ 1726724 w 2240198"/>
                <a:gd name="connsiteY7931" fmla="*/ 790179 h 1729012"/>
                <a:gd name="connsiteX7932" fmla="*/ 1722680 w 2240198"/>
                <a:gd name="connsiteY7932" fmla="*/ 783109 h 1729012"/>
                <a:gd name="connsiteX7933" fmla="*/ 1715965 w 2240198"/>
                <a:gd name="connsiteY7933" fmla="*/ 776125 h 1729012"/>
                <a:gd name="connsiteX7934" fmla="*/ 1715884 w 2240198"/>
                <a:gd name="connsiteY7934" fmla="*/ 774275 h 1729012"/>
                <a:gd name="connsiteX7935" fmla="*/ 1717075 w 2240198"/>
                <a:gd name="connsiteY7935" fmla="*/ 772171 h 1729012"/>
                <a:gd name="connsiteX7936" fmla="*/ 1716507 w 2240198"/>
                <a:gd name="connsiteY7936" fmla="*/ 771695 h 1729012"/>
                <a:gd name="connsiteX7937" fmla="*/ 1709577 w 2240198"/>
                <a:gd name="connsiteY7937" fmla="*/ 774767 h 1729012"/>
                <a:gd name="connsiteX7938" fmla="*/ 1707946 w 2240198"/>
                <a:gd name="connsiteY7938" fmla="*/ 774908 h 1729012"/>
                <a:gd name="connsiteX7939" fmla="*/ 1705285 w 2240198"/>
                <a:gd name="connsiteY7939" fmla="*/ 773573 h 1729012"/>
                <a:gd name="connsiteX7940" fmla="*/ 1703483 w 2240198"/>
                <a:gd name="connsiteY7940" fmla="*/ 771909 h 1729012"/>
                <a:gd name="connsiteX7941" fmla="*/ 1701992 w 2240198"/>
                <a:gd name="connsiteY7941" fmla="*/ 768992 h 1729012"/>
                <a:gd name="connsiteX7942" fmla="*/ 1702144 w 2240198"/>
                <a:gd name="connsiteY7942" fmla="*/ 767465 h 1729012"/>
                <a:gd name="connsiteX7943" fmla="*/ 1703130 w 2240198"/>
                <a:gd name="connsiteY7943" fmla="*/ 766018 h 1729012"/>
                <a:gd name="connsiteX7944" fmla="*/ 1704447 w 2240198"/>
                <a:gd name="connsiteY7944" fmla="*/ 762454 h 1729012"/>
                <a:gd name="connsiteX7945" fmla="*/ 1704495 w 2240198"/>
                <a:gd name="connsiteY7945" fmla="*/ 760635 h 1729012"/>
                <a:gd name="connsiteX7946" fmla="*/ 1704043 w 2240198"/>
                <a:gd name="connsiteY7946" fmla="*/ 758899 h 1729012"/>
                <a:gd name="connsiteX7947" fmla="*/ 1703442 w 2240198"/>
                <a:gd name="connsiteY7947" fmla="*/ 757692 h 1729012"/>
                <a:gd name="connsiteX7948" fmla="*/ 1702696 w 2240198"/>
                <a:gd name="connsiteY7948" fmla="*/ 757012 h 1729012"/>
                <a:gd name="connsiteX7949" fmla="*/ 1700577 w 2240198"/>
                <a:gd name="connsiteY7949" fmla="*/ 756588 h 1729012"/>
                <a:gd name="connsiteX7950" fmla="*/ 1697081 w 2240198"/>
                <a:gd name="connsiteY7950" fmla="*/ 756413 h 1729012"/>
                <a:gd name="connsiteX7951" fmla="*/ 1695940 w 2240198"/>
                <a:gd name="connsiteY7951" fmla="*/ 757032 h 1729012"/>
                <a:gd name="connsiteX7952" fmla="*/ 1699792 w 2240198"/>
                <a:gd name="connsiteY7952" fmla="*/ 762421 h 1729012"/>
                <a:gd name="connsiteX7953" fmla="*/ 1699204 w 2240198"/>
                <a:gd name="connsiteY7953" fmla="*/ 763748 h 1729012"/>
                <a:gd name="connsiteX7954" fmla="*/ 1694296 w 2240198"/>
                <a:gd name="connsiteY7954" fmla="*/ 764328 h 1729012"/>
                <a:gd name="connsiteX7955" fmla="*/ 1692083 w 2240198"/>
                <a:gd name="connsiteY7955" fmla="*/ 764075 h 1729012"/>
                <a:gd name="connsiteX7956" fmla="*/ 1690058 w 2240198"/>
                <a:gd name="connsiteY7956" fmla="*/ 763421 h 1729012"/>
                <a:gd name="connsiteX7957" fmla="*/ 1688221 w 2240198"/>
                <a:gd name="connsiteY7957" fmla="*/ 762370 h 1729012"/>
                <a:gd name="connsiteX7958" fmla="*/ 1682502 w 2240198"/>
                <a:gd name="connsiteY7958" fmla="*/ 756741 h 1729012"/>
                <a:gd name="connsiteX7959" fmla="*/ 1681289 w 2240198"/>
                <a:gd name="connsiteY7959" fmla="*/ 754618 h 1729012"/>
                <a:gd name="connsiteX7960" fmla="*/ 1681676 w 2240198"/>
                <a:gd name="connsiteY7960" fmla="*/ 753083 h 1729012"/>
                <a:gd name="connsiteX7961" fmla="*/ 1681183 w 2240198"/>
                <a:gd name="connsiteY7961" fmla="*/ 752283 h 1729012"/>
                <a:gd name="connsiteX7962" fmla="*/ 1680016 w 2240198"/>
                <a:gd name="connsiteY7962" fmla="*/ 752797 h 1729012"/>
                <a:gd name="connsiteX7963" fmla="*/ 1678435 w 2240198"/>
                <a:gd name="connsiteY7963" fmla="*/ 752834 h 1729012"/>
                <a:gd name="connsiteX7964" fmla="*/ 1676289 w 2240198"/>
                <a:gd name="connsiteY7964" fmla="*/ 752291 h 1729012"/>
                <a:gd name="connsiteX7965" fmla="*/ 1675848 w 2240198"/>
                <a:gd name="connsiteY7965" fmla="*/ 751629 h 1729012"/>
                <a:gd name="connsiteX7966" fmla="*/ 1679854 w 2240198"/>
                <a:gd name="connsiteY7966" fmla="*/ 748574 h 1729012"/>
                <a:gd name="connsiteX7967" fmla="*/ 1680086 w 2240198"/>
                <a:gd name="connsiteY7967" fmla="*/ 747630 h 1729012"/>
                <a:gd name="connsiteX7968" fmla="*/ 1678238 w 2240198"/>
                <a:gd name="connsiteY7968" fmla="*/ 746620 h 1729012"/>
                <a:gd name="connsiteX7969" fmla="*/ 1675475 w 2240198"/>
                <a:gd name="connsiteY7969" fmla="*/ 746417 h 1729012"/>
                <a:gd name="connsiteX7970" fmla="*/ 1674742 w 2240198"/>
                <a:gd name="connsiteY7970" fmla="*/ 745513 h 1729012"/>
                <a:gd name="connsiteX7971" fmla="*/ 1675673 w 2240198"/>
                <a:gd name="connsiteY7971" fmla="*/ 744545 h 1729012"/>
                <a:gd name="connsiteX7972" fmla="*/ 1679424 w 2240198"/>
                <a:gd name="connsiteY7972" fmla="*/ 742866 h 1729012"/>
                <a:gd name="connsiteX7973" fmla="*/ 1680759 w 2240198"/>
                <a:gd name="connsiteY7973" fmla="*/ 741761 h 1729012"/>
                <a:gd name="connsiteX7974" fmla="*/ 1678508 w 2240198"/>
                <a:gd name="connsiteY7974" fmla="*/ 740927 h 1729012"/>
                <a:gd name="connsiteX7975" fmla="*/ 1677255 w 2240198"/>
                <a:gd name="connsiteY7975" fmla="*/ 740859 h 1729012"/>
                <a:gd name="connsiteX7976" fmla="*/ 1674731 w 2240198"/>
                <a:gd name="connsiteY7976" fmla="*/ 742691 h 1729012"/>
                <a:gd name="connsiteX7977" fmla="*/ 1670933 w 2240198"/>
                <a:gd name="connsiteY7977" fmla="*/ 746422 h 1729012"/>
                <a:gd name="connsiteX7978" fmla="*/ 1668168 w 2240198"/>
                <a:gd name="connsiteY7978" fmla="*/ 747806 h 1729012"/>
                <a:gd name="connsiteX7979" fmla="*/ 1664378 w 2240198"/>
                <a:gd name="connsiteY7979" fmla="*/ 746081 h 1729012"/>
                <a:gd name="connsiteX7980" fmla="*/ 1661988 w 2240198"/>
                <a:gd name="connsiteY7980" fmla="*/ 745504 h 1729012"/>
                <a:gd name="connsiteX7981" fmla="*/ 1660323 w 2240198"/>
                <a:gd name="connsiteY7981" fmla="*/ 745883 h 1729012"/>
                <a:gd name="connsiteX7982" fmla="*/ 1657778 w 2240198"/>
                <a:gd name="connsiteY7982" fmla="*/ 748766 h 1729012"/>
                <a:gd name="connsiteX7983" fmla="*/ 1652219 w 2240198"/>
                <a:gd name="connsiteY7983" fmla="*/ 750873 h 1729012"/>
                <a:gd name="connsiteX7984" fmla="*/ 1642268 w 2240198"/>
                <a:gd name="connsiteY7984" fmla="*/ 755835 h 1729012"/>
                <a:gd name="connsiteX7985" fmla="*/ 1637990 w 2240198"/>
                <a:gd name="connsiteY7985" fmla="*/ 757411 h 1729012"/>
                <a:gd name="connsiteX7986" fmla="*/ 1633385 w 2240198"/>
                <a:gd name="connsiteY7986" fmla="*/ 757129 h 1729012"/>
                <a:gd name="connsiteX7987" fmla="*/ 1632513 w 2240198"/>
                <a:gd name="connsiteY7987" fmla="*/ 756128 h 1729012"/>
                <a:gd name="connsiteX7988" fmla="*/ 1632593 w 2240198"/>
                <a:gd name="connsiteY7988" fmla="*/ 754428 h 1729012"/>
                <a:gd name="connsiteX7989" fmla="*/ 1632912 w 2240198"/>
                <a:gd name="connsiteY7989" fmla="*/ 753026 h 1729012"/>
                <a:gd name="connsiteX7990" fmla="*/ 1633468 w 2240198"/>
                <a:gd name="connsiteY7990" fmla="*/ 751930 h 1729012"/>
                <a:gd name="connsiteX7991" fmla="*/ 1633651 w 2240198"/>
                <a:gd name="connsiteY7991" fmla="*/ 750586 h 1729012"/>
                <a:gd name="connsiteX7992" fmla="*/ 1633318 w 2240198"/>
                <a:gd name="connsiteY7992" fmla="*/ 744919 h 1729012"/>
                <a:gd name="connsiteX7993" fmla="*/ 1634090 w 2240198"/>
                <a:gd name="connsiteY7993" fmla="*/ 743363 h 1729012"/>
                <a:gd name="connsiteX7994" fmla="*/ 1635664 w 2240198"/>
                <a:gd name="connsiteY7994" fmla="*/ 742432 h 1729012"/>
                <a:gd name="connsiteX7995" fmla="*/ 1638561 w 2240198"/>
                <a:gd name="connsiteY7995" fmla="*/ 741453 h 1729012"/>
                <a:gd name="connsiteX7996" fmla="*/ 1645957 w 2240198"/>
                <a:gd name="connsiteY7996" fmla="*/ 742621 h 1729012"/>
                <a:gd name="connsiteX7997" fmla="*/ 1649393 w 2240198"/>
                <a:gd name="connsiteY7997" fmla="*/ 742416 h 1729012"/>
                <a:gd name="connsiteX7998" fmla="*/ 1651804 w 2240198"/>
                <a:gd name="connsiteY7998" fmla="*/ 741104 h 1729012"/>
                <a:gd name="connsiteX7999" fmla="*/ 1654219 w 2240198"/>
                <a:gd name="connsiteY7999" fmla="*/ 739206 h 1729012"/>
                <a:gd name="connsiteX8000" fmla="*/ 1656638 w 2240198"/>
                <a:gd name="connsiteY8000" fmla="*/ 736715 h 1729012"/>
                <a:gd name="connsiteX8001" fmla="*/ 1657151 w 2240198"/>
                <a:gd name="connsiteY8001" fmla="*/ 734321 h 1729012"/>
                <a:gd name="connsiteX8002" fmla="*/ 1654582 w 2240198"/>
                <a:gd name="connsiteY8002" fmla="*/ 730435 h 1729012"/>
                <a:gd name="connsiteX8003" fmla="*/ 1653616 w 2240198"/>
                <a:gd name="connsiteY8003" fmla="*/ 729582 h 1729012"/>
                <a:gd name="connsiteX8004" fmla="*/ 1647041 w 2240198"/>
                <a:gd name="connsiteY8004" fmla="*/ 726551 h 1729012"/>
                <a:gd name="connsiteX8005" fmla="*/ 1643407 w 2240198"/>
                <a:gd name="connsiteY8005" fmla="*/ 725449 h 1729012"/>
                <a:gd name="connsiteX8006" fmla="*/ 1640201 w 2240198"/>
                <a:gd name="connsiteY8006" fmla="*/ 724972 h 1729012"/>
                <a:gd name="connsiteX8007" fmla="*/ 1637875 w 2240198"/>
                <a:gd name="connsiteY8007" fmla="*/ 724098 h 1729012"/>
                <a:gd name="connsiteX8008" fmla="*/ 1636430 w 2240198"/>
                <a:gd name="connsiteY8008" fmla="*/ 722829 h 1729012"/>
                <a:gd name="connsiteX8009" fmla="*/ 1635024 w 2240198"/>
                <a:gd name="connsiteY8009" fmla="*/ 720712 h 1729012"/>
                <a:gd name="connsiteX8010" fmla="*/ 1634909 w 2240198"/>
                <a:gd name="connsiteY8010" fmla="*/ 719272 h 1729012"/>
                <a:gd name="connsiteX8011" fmla="*/ 1635132 w 2240198"/>
                <a:gd name="connsiteY8011" fmla="*/ 717373 h 1729012"/>
                <a:gd name="connsiteX8012" fmla="*/ 1636473 w 2240198"/>
                <a:gd name="connsiteY8012" fmla="*/ 716066 h 1729012"/>
                <a:gd name="connsiteX8013" fmla="*/ 1642360 w 2240198"/>
                <a:gd name="connsiteY8013" fmla="*/ 714559 h 1729012"/>
                <a:gd name="connsiteX8014" fmla="*/ 1642283 w 2240198"/>
                <a:gd name="connsiteY8014" fmla="*/ 714170 h 1729012"/>
                <a:gd name="connsiteX8015" fmla="*/ 1637473 w 2240198"/>
                <a:gd name="connsiteY8015" fmla="*/ 713056 h 1729012"/>
                <a:gd name="connsiteX8016" fmla="*/ 1635204 w 2240198"/>
                <a:gd name="connsiteY8016" fmla="*/ 713186 h 1729012"/>
                <a:gd name="connsiteX8017" fmla="*/ 1633258 w 2240198"/>
                <a:gd name="connsiteY8017" fmla="*/ 714434 h 1729012"/>
                <a:gd name="connsiteX8018" fmla="*/ 1630811 w 2240198"/>
                <a:gd name="connsiteY8018" fmla="*/ 717358 h 1729012"/>
                <a:gd name="connsiteX8019" fmla="*/ 1629396 w 2240198"/>
                <a:gd name="connsiteY8019" fmla="*/ 718183 h 1729012"/>
                <a:gd name="connsiteX8020" fmla="*/ 1625003 w 2240198"/>
                <a:gd name="connsiteY8020" fmla="*/ 716462 h 1729012"/>
                <a:gd name="connsiteX8021" fmla="*/ 1622365 w 2240198"/>
                <a:gd name="connsiteY8021" fmla="*/ 716206 h 1729012"/>
                <a:gd name="connsiteX8022" fmla="*/ 1620583 w 2240198"/>
                <a:gd name="connsiteY8022" fmla="*/ 715385 h 1729012"/>
                <a:gd name="connsiteX8023" fmla="*/ 1619596 w 2240198"/>
                <a:gd name="connsiteY8023" fmla="*/ 714592 h 1729012"/>
                <a:gd name="connsiteX8024" fmla="*/ 1620198 w 2240198"/>
                <a:gd name="connsiteY8024" fmla="*/ 713780 h 1729012"/>
                <a:gd name="connsiteX8025" fmla="*/ 1622389 w 2240198"/>
                <a:gd name="connsiteY8025" fmla="*/ 712955 h 1729012"/>
                <a:gd name="connsiteX8026" fmla="*/ 1626195 w 2240198"/>
                <a:gd name="connsiteY8026" fmla="*/ 710427 h 1729012"/>
                <a:gd name="connsiteX8027" fmla="*/ 1626448 w 2240198"/>
                <a:gd name="connsiteY8027" fmla="*/ 709062 h 1729012"/>
                <a:gd name="connsiteX8028" fmla="*/ 1623820 w 2240198"/>
                <a:gd name="connsiteY8028" fmla="*/ 706828 h 1729012"/>
                <a:gd name="connsiteX8029" fmla="*/ 1622457 w 2240198"/>
                <a:gd name="connsiteY8029" fmla="*/ 706319 h 1729012"/>
                <a:gd name="connsiteX8030" fmla="*/ 1616968 w 2240198"/>
                <a:gd name="connsiteY8030" fmla="*/ 705485 h 1729012"/>
                <a:gd name="connsiteX8031" fmla="*/ 1610330 w 2240198"/>
                <a:gd name="connsiteY8031" fmla="*/ 706315 h 1729012"/>
                <a:gd name="connsiteX8032" fmla="*/ 1607861 w 2240198"/>
                <a:gd name="connsiteY8032" fmla="*/ 705892 h 1729012"/>
                <a:gd name="connsiteX8033" fmla="*/ 1606754 w 2240198"/>
                <a:gd name="connsiteY8033" fmla="*/ 703411 h 1729012"/>
                <a:gd name="connsiteX8034" fmla="*/ 1606052 w 2240198"/>
                <a:gd name="connsiteY8034" fmla="*/ 700455 h 1729012"/>
                <a:gd name="connsiteX8035" fmla="*/ 1605753 w 2240198"/>
                <a:gd name="connsiteY8035" fmla="*/ 697018 h 1729012"/>
                <a:gd name="connsiteX8036" fmla="*/ 1604557 w 2240198"/>
                <a:gd name="connsiteY8036" fmla="*/ 691143 h 1729012"/>
                <a:gd name="connsiteX8037" fmla="*/ 1603236 w 2240198"/>
                <a:gd name="connsiteY8037" fmla="*/ 688059 h 1729012"/>
                <a:gd name="connsiteX8038" fmla="*/ 1601499 w 2240198"/>
                <a:gd name="connsiteY8038" fmla="*/ 687669 h 1729012"/>
                <a:gd name="connsiteX8039" fmla="*/ 1593531 w 2240198"/>
                <a:gd name="connsiteY8039" fmla="*/ 688942 h 1729012"/>
                <a:gd name="connsiteX8040" fmla="*/ 1591638 w 2240198"/>
                <a:gd name="connsiteY8040" fmla="*/ 688957 h 1729012"/>
                <a:gd name="connsiteX8041" fmla="*/ 1590336 w 2240198"/>
                <a:gd name="connsiteY8041" fmla="*/ 688486 h 1729012"/>
                <a:gd name="connsiteX8042" fmla="*/ 1585063 w 2240198"/>
                <a:gd name="connsiteY8042" fmla="*/ 684544 h 1729012"/>
                <a:gd name="connsiteX8043" fmla="*/ 1582931 w 2240198"/>
                <a:gd name="connsiteY8043" fmla="*/ 683146 h 1729012"/>
                <a:gd name="connsiteX8044" fmla="*/ 1581749 w 2240198"/>
                <a:gd name="connsiteY8044" fmla="*/ 682816 h 1729012"/>
                <a:gd name="connsiteX8045" fmla="*/ 1577914 w 2240198"/>
                <a:gd name="connsiteY8045" fmla="*/ 678615 h 1729012"/>
                <a:gd name="connsiteX8046" fmla="*/ 1576440 w 2240198"/>
                <a:gd name="connsiteY8046" fmla="*/ 677797 h 1729012"/>
                <a:gd name="connsiteX8047" fmla="*/ 1574689 w 2240198"/>
                <a:gd name="connsiteY8047" fmla="*/ 675719 h 1729012"/>
                <a:gd name="connsiteX8048" fmla="*/ 1572662 w 2240198"/>
                <a:gd name="connsiteY8048" fmla="*/ 672380 h 1729012"/>
                <a:gd name="connsiteX8049" fmla="*/ 1570466 w 2240198"/>
                <a:gd name="connsiteY8049" fmla="*/ 671360 h 1729012"/>
                <a:gd name="connsiteX8050" fmla="*/ 1568100 w 2240198"/>
                <a:gd name="connsiteY8050" fmla="*/ 672661 h 1729012"/>
                <a:gd name="connsiteX8051" fmla="*/ 1565730 w 2240198"/>
                <a:gd name="connsiteY8051" fmla="*/ 674520 h 1729012"/>
                <a:gd name="connsiteX8052" fmla="*/ 1563360 w 2240198"/>
                <a:gd name="connsiteY8052" fmla="*/ 676940 h 1729012"/>
                <a:gd name="connsiteX8053" fmla="*/ 1562076 w 2240198"/>
                <a:gd name="connsiteY8053" fmla="*/ 678984 h 1729012"/>
                <a:gd name="connsiteX8054" fmla="*/ 1561875 w 2240198"/>
                <a:gd name="connsiteY8054" fmla="*/ 680655 h 1729012"/>
                <a:gd name="connsiteX8055" fmla="*/ 1563341 w 2240198"/>
                <a:gd name="connsiteY8055" fmla="*/ 681953 h 1729012"/>
                <a:gd name="connsiteX8056" fmla="*/ 1571706 w 2240198"/>
                <a:gd name="connsiteY8056" fmla="*/ 684105 h 1729012"/>
                <a:gd name="connsiteX8057" fmla="*/ 1573827 w 2240198"/>
                <a:gd name="connsiteY8057" fmla="*/ 685543 h 1729012"/>
                <a:gd name="connsiteX8058" fmla="*/ 1575628 w 2240198"/>
                <a:gd name="connsiteY8058" fmla="*/ 687905 h 1729012"/>
                <a:gd name="connsiteX8059" fmla="*/ 1576973 w 2240198"/>
                <a:gd name="connsiteY8059" fmla="*/ 690789 h 1729012"/>
                <a:gd name="connsiteX8060" fmla="*/ 1577859 w 2240198"/>
                <a:gd name="connsiteY8060" fmla="*/ 694197 h 1729012"/>
                <a:gd name="connsiteX8061" fmla="*/ 1577784 w 2240198"/>
                <a:gd name="connsiteY8061" fmla="*/ 696740 h 1729012"/>
                <a:gd name="connsiteX8062" fmla="*/ 1576745 w 2240198"/>
                <a:gd name="connsiteY8062" fmla="*/ 698428 h 1729012"/>
                <a:gd name="connsiteX8063" fmla="*/ 1574948 w 2240198"/>
                <a:gd name="connsiteY8063" fmla="*/ 699922 h 1729012"/>
                <a:gd name="connsiteX8064" fmla="*/ 1569796 w 2240198"/>
                <a:gd name="connsiteY8064" fmla="*/ 702284 h 1729012"/>
                <a:gd name="connsiteX8065" fmla="*/ 1564459 w 2240198"/>
                <a:gd name="connsiteY8065" fmla="*/ 703666 h 1729012"/>
                <a:gd name="connsiteX8066" fmla="*/ 1559081 w 2240198"/>
                <a:gd name="connsiteY8066" fmla="*/ 703992 h 1729012"/>
                <a:gd name="connsiteX8067" fmla="*/ 1556533 w 2240198"/>
                <a:gd name="connsiteY8067" fmla="*/ 703669 h 1729012"/>
                <a:gd name="connsiteX8068" fmla="*/ 1542684 w 2240198"/>
                <a:gd name="connsiteY8068" fmla="*/ 699084 h 1729012"/>
                <a:gd name="connsiteX8069" fmla="*/ 1540191 w 2240198"/>
                <a:gd name="connsiteY8069" fmla="*/ 699047 h 1729012"/>
                <a:gd name="connsiteX8070" fmla="*/ 1536986 w 2240198"/>
                <a:gd name="connsiteY8070" fmla="*/ 698428 h 1729012"/>
                <a:gd name="connsiteX8071" fmla="*/ 1529797 w 2240198"/>
                <a:gd name="connsiteY8071" fmla="*/ 696538 h 1729012"/>
                <a:gd name="connsiteX8072" fmla="*/ 1525854 w 2240198"/>
                <a:gd name="connsiteY8072" fmla="*/ 696331 h 1729012"/>
                <a:gd name="connsiteX8073" fmla="*/ 1518944 w 2240198"/>
                <a:gd name="connsiteY8073" fmla="*/ 694764 h 1729012"/>
                <a:gd name="connsiteX8074" fmla="*/ 1507249 w 2240198"/>
                <a:gd name="connsiteY8074" fmla="*/ 693852 h 1729012"/>
                <a:gd name="connsiteX8075" fmla="*/ 1504906 w 2240198"/>
                <a:gd name="connsiteY8075" fmla="*/ 694606 h 1729012"/>
                <a:gd name="connsiteX8076" fmla="*/ 1508017 w 2240198"/>
                <a:gd name="connsiteY8076" fmla="*/ 696721 h 1729012"/>
                <a:gd name="connsiteX8077" fmla="*/ 1510744 w 2240198"/>
                <a:gd name="connsiteY8077" fmla="*/ 697784 h 1729012"/>
                <a:gd name="connsiteX8078" fmla="*/ 1513082 w 2240198"/>
                <a:gd name="connsiteY8078" fmla="*/ 697796 h 1729012"/>
                <a:gd name="connsiteX8079" fmla="*/ 1516447 w 2240198"/>
                <a:gd name="connsiteY8079" fmla="*/ 699681 h 1729012"/>
                <a:gd name="connsiteX8080" fmla="*/ 1520835 w 2240198"/>
                <a:gd name="connsiteY8080" fmla="*/ 703431 h 1729012"/>
                <a:gd name="connsiteX8081" fmla="*/ 1523344 w 2240198"/>
                <a:gd name="connsiteY8081" fmla="*/ 705666 h 1729012"/>
                <a:gd name="connsiteX8082" fmla="*/ 1525422 w 2240198"/>
                <a:gd name="connsiteY8082" fmla="*/ 708328 h 1729012"/>
                <a:gd name="connsiteX8083" fmla="*/ 1525487 w 2240198"/>
                <a:gd name="connsiteY8083" fmla="*/ 709243 h 1729012"/>
                <a:gd name="connsiteX8084" fmla="*/ 1523422 w 2240198"/>
                <a:gd name="connsiteY8084" fmla="*/ 711069 h 1729012"/>
                <a:gd name="connsiteX8085" fmla="*/ 1507118 w 2240198"/>
                <a:gd name="connsiteY8085" fmla="*/ 701496 h 1729012"/>
                <a:gd name="connsiteX8086" fmla="*/ 1497153 w 2240198"/>
                <a:gd name="connsiteY8086" fmla="*/ 704845 h 1729012"/>
                <a:gd name="connsiteX8087" fmla="*/ 1492564 w 2240198"/>
                <a:gd name="connsiteY8087" fmla="*/ 706090 h 1729012"/>
                <a:gd name="connsiteX8088" fmla="*/ 1488630 w 2240198"/>
                <a:gd name="connsiteY8088" fmla="*/ 706284 h 1729012"/>
                <a:gd name="connsiteX8089" fmla="*/ 1483714 w 2240198"/>
                <a:gd name="connsiteY8089" fmla="*/ 704971 h 1729012"/>
                <a:gd name="connsiteX8090" fmla="*/ 1472616 w 2240198"/>
                <a:gd name="connsiteY8090" fmla="*/ 700345 h 1729012"/>
                <a:gd name="connsiteX8091" fmla="*/ 1468413 w 2240198"/>
                <a:gd name="connsiteY8091" fmla="*/ 698725 h 1729012"/>
                <a:gd name="connsiteX8092" fmla="*/ 1466922 w 2240198"/>
                <a:gd name="connsiteY8092" fmla="*/ 698490 h 1729012"/>
                <a:gd name="connsiteX8093" fmla="*/ 1457266 w 2240198"/>
                <a:gd name="connsiteY8093" fmla="*/ 700496 h 1729012"/>
                <a:gd name="connsiteX8094" fmla="*/ 1448942 w 2240198"/>
                <a:gd name="connsiteY8094" fmla="*/ 700590 h 1729012"/>
                <a:gd name="connsiteX8095" fmla="*/ 1432135 w 2240198"/>
                <a:gd name="connsiteY8095" fmla="*/ 698664 h 1729012"/>
                <a:gd name="connsiteX8096" fmla="*/ 1425967 w 2240198"/>
                <a:gd name="connsiteY8096" fmla="*/ 697375 h 1729012"/>
                <a:gd name="connsiteX8097" fmla="*/ 1424342 w 2240198"/>
                <a:gd name="connsiteY8097" fmla="*/ 696028 h 1729012"/>
                <a:gd name="connsiteX8098" fmla="*/ 1422317 w 2240198"/>
                <a:gd name="connsiteY8098" fmla="*/ 695351 h 1729012"/>
                <a:gd name="connsiteX8099" fmla="*/ 1418678 w 2240198"/>
                <a:gd name="connsiteY8099" fmla="*/ 695351 h 1729012"/>
                <a:gd name="connsiteX8100" fmla="*/ 1409049 w 2240198"/>
                <a:gd name="connsiteY8100" fmla="*/ 693845 h 1729012"/>
                <a:gd name="connsiteX8101" fmla="*/ 1400233 w 2240198"/>
                <a:gd name="connsiteY8101" fmla="*/ 697238 h 1729012"/>
                <a:gd name="connsiteX8102" fmla="*/ 1389630 w 2240198"/>
                <a:gd name="connsiteY8102" fmla="*/ 694130 h 1729012"/>
                <a:gd name="connsiteX8103" fmla="*/ 1386490 w 2240198"/>
                <a:gd name="connsiteY8103" fmla="*/ 692297 h 1729012"/>
                <a:gd name="connsiteX8104" fmla="*/ 1385492 w 2240198"/>
                <a:gd name="connsiteY8104" fmla="*/ 691040 h 1729012"/>
                <a:gd name="connsiteX8105" fmla="*/ 1382406 w 2240198"/>
                <a:gd name="connsiteY8105" fmla="*/ 685777 h 1729012"/>
                <a:gd name="connsiteX8106" fmla="*/ 1381983 w 2240198"/>
                <a:gd name="connsiteY8106" fmla="*/ 682955 h 1729012"/>
                <a:gd name="connsiteX8107" fmla="*/ 1382855 w 2240198"/>
                <a:gd name="connsiteY8107" fmla="*/ 680402 h 1729012"/>
                <a:gd name="connsiteX8108" fmla="*/ 1383727 w 2240198"/>
                <a:gd name="connsiteY8108" fmla="*/ 678650 h 1729012"/>
                <a:gd name="connsiteX8109" fmla="*/ 1384592 w 2240198"/>
                <a:gd name="connsiteY8109" fmla="*/ 677698 h 1729012"/>
                <a:gd name="connsiteX8110" fmla="*/ 1378826 w 2240198"/>
                <a:gd name="connsiteY8110" fmla="*/ 680629 h 1729012"/>
                <a:gd name="connsiteX8111" fmla="*/ 1376801 w 2240198"/>
                <a:gd name="connsiteY8111" fmla="*/ 681112 h 1729012"/>
                <a:gd name="connsiteX8112" fmla="*/ 1374136 w 2240198"/>
                <a:gd name="connsiteY8112" fmla="*/ 681223 h 1729012"/>
                <a:gd name="connsiteX8113" fmla="*/ 1366195 w 2240198"/>
                <a:gd name="connsiteY8113" fmla="*/ 680141 h 1729012"/>
                <a:gd name="connsiteX8114" fmla="*/ 1364939 w 2240198"/>
                <a:gd name="connsiteY8114" fmla="*/ 680695 h 1729012"/>
                <a:gd name="connsiteX8115" fmla="*/ 1365348 w 2240198"/>
                <a:gd name="connsiteY8115" fmla="*/ 681719 h 1729012"/>
                <a:gd name="connsiteX8116" fmla="*/ 1367423 w 2240198"/>
                <a:gd name="connsiteY8116" fmla="*/ 683210 h 1729012"/>
                <a:gd name="connsiteX8117" fmla="*/ 1367694 w 2240198"/>
                <a:gd name="connsiteY8117" fmla="*/ 684110 h 1729012"/>
                <a:gd name="connsiteX8118" fmla="*/ 1363267 w 2240198"/>
                <a:gd name="connsiteY8118" fmla="*/ 684811 h 1729012"/>
                <a:gd name="connsiteX8119" fmla="*/ 1356559 w 2240198"/>
                <a:gd name="connsiteY8119" fmla="*/ 684083 h 1729012"/>
                <a:gd name="connsiteX8120" fmla="*/ 1353635 w 2240198"/>
                <a:gd name="connsiteY8120" fmla="*/ 684400 h 1729012"/>
                <a:gd name="connsiteX8121" fmla="*/ 1352305 w 2240198"/>
                <a:gd name="connsiteY8121" fmla="*/ 684807 h 1729012"/>
                <a:gd name="connsiteX8122" fmla="*/ 1349282 w 2240198"/>
                <a:gd name="connsiteY8122" fmla="*/ 687160 h 1729012"/>
                <a:gd name="connsiteX8123" fmla="*/ 1348048 w 2240198"/>
                <a:gd name="connsiteY8123" fmla="*/ 687691 h 1729012"/>
                <a:gd name="connsiteX8124" fmla="*/ 1346461 w 2240198"/>
                <a:gd name="connsiteY8124" fmla="*/ 687449 h 1729012"/>
                <a:gd name="connsiteX8125" fmla="*/ 1339421 w 2240198"/>
                <a:gd name="connsiteY8125" fmla="*/ 682122 h 1729012"/>
                <a:gd name="connsiteX8126" fmla="*/ 1333747 w 2240198"/>
                <a:gd name="connsiteY8126" fmla="*/ 678744 h 1729012"/>
                <a:gd name="connsiteX8127" fmla="*/ 1327132 w 2240198"/>
                <a:gd name="connsiteY8127" fmla="*/ 677446 h 1729012"/>
                <a:gd name="connsiteX8128" fmla="*/ 1324096 w 2240198"/>
                <a:gd name="connsiteY8128" fmla="*/ 676364 h 1729012"/>
                <a:gd name="connsiteX8129" fmla="*/ 1322430 w 2240198"/>
                <a:gd name="connsiteY8129" fmla="*/ 675061 h 1729012"/>
                <a:gd name="connsiteX8130" fmla="*/ 1313304 w 2240198"/>
                <a:gd name="connsiteY8130" fmla="*/ 664177 h 1729012"/>
                <a:gd name="connsiteX8131" fmla="*/ 1312057 w 2240198"/>
                <a:gd name="connsiteY8131" fmla="*/ 661828 h 1729012"/>
                <a:gd name="connsiteX8132" fmla="*/ 1309166 w 2240198"/>
                <a:gd name="connsiteY8132" fmla="*/ 653258 h 1729012"/>
                <a:gd name="connsiteX8133" fmla="*/ 1308196 w 2240198"/>
                <a:gd name="connsiteY8133" fmla="*/ 651426 h 1729012"/>
                <a:gd name="connsiteX8134" fmla="*/ 1307026 w 2240198"/>
                <a:gd name="connsiteY8134" fmla="*/ 650220 h 1729012"/>
                <a:gd name="connsiteX8135" fmla="*/ 1309318 w 2240198"/>
                <a:gd name="connsiteY8135" fmla="*/ 649966 h 1729012"/>
                <a:gd name="connsiteX8136" fmla="*/ 1317949 w 2240198"/>
                <a:gd name="connsiteY8136" fmla="*/ 651012 h 1729012"/>
                <a:gd name="connsiteX8137" fmla="*/ 1326304 w 2240198"/>
                <a:gd name="connsiteY8137" fmla="*/ 650966 h 1729012"/>
                <a:gd name="connsiteX8138" fmla="*/ 1330842 w 2240198"/>
                <a:gd name="connsiteY8138" fmla="*/ 651663 h 1729012"/>
                <a:gd name="connsiteX8139" fmla="*/ 1336106 w 2240198"/>
                <a:gd name="connsiteY8139" fmla="*/ 653805 h 1729012"/>
                <a:gd name="connsiteX8140" fmla="*/ 1342964 w 2240198"/>
                <a:gd name="connsiteY8140" fmla="*/ 655333 h 1729012"/>
                <a:gd name="connsiteX8141" fmla="*/ 1347875 w 2240198"/>
                <a:gd name="connsiteY8141" fmla="*/ 655653 h 1729012"/>
                <a:gd name="connsiteX8142" fmla="*/ 1355748 w 2240198"/>
                <a:gd name="connsiteY8142" fmla="*/ 655089 h 1729012"/>
                <a:gd name="connsiteX8143" fmla="*/ 1364695 w 2240198"/>
                <a:gd name="connsiteY8143" fmla="*/ 653656 h 1729012"/>
                <a:gd name="connsiteX8144" fmla="*/ 1365747 w 2240198"/>
                <a:gd name="connsiteY8144" fmla="*/ 652541 h 1729012"/>
                <a:gd name="connsiteX8145" fmla="*/ 1359953 w 2240198"/>
                <a:gd name="connsiteY8145" fmla="*/ 650631 h 1729012"/>
                <a:gd name="connsiteX8146" fmla="*/ 1354787 w 2240198"/>
                <a:gd name="connsiteY8146" fmla="*/ 648092 h 1729012"/>
                <a:gd name="connsiteX8147" fmla="*/ 1350021 w 2240198"/>
                <a:gd name="connsiteY8147" fmla="*/ 644797 h 1729012"/>
                <a:gd name="connsiteX8148" fmla="*/ 1347176 w 2240198"/>
                <a:gd name="connsiteY8148" fmla="*/ 643400 h 1729012"/>
                <a:gd name="connsiteX8149" fmla="*/ 1342405 w 2240198"/>
                <a:gd name="connsiteY8149" fmla="*/ 642530 h 1729012"/>
                <a:gd name="connsiteX8150" fmla="*/ 1328995 w 2240198"/>
                <a:gd name="connsiteY8150" fmla="*/ 641924 h 1729012"/>
                <a:gd name="connsiteX8151" fmla="*/ 1316575 w 2240198"/>
                <a:gd name="connsiteY8151" fmla="*/ 639704 h 1729012"/>
                <a:gd name="connsiteX8152" fmla="*/ 1307995 w 2240198"/>
                <a:gd name="connsiteY8152" fmla="*/ 636708 h 1729012"/>
                <a:gd name="connsiteX8153" fmla="*/ 1301007 w 2240198"/>
                <a:gd name="connsiteY8153" fmla="*/ 633379 h 1729012"/>
                <a:gd name="connsiteX8154" fmla="*/ 1298165 w 2240198"/>
                <a:gd name="connsiteY8154" fmla="*/ 631565 h 1729012"/>
                <a:gd name="connsiteX8155" fmla="*/ 1297141 w 2240198"/>
                <a:gd name="connsiteY8155" fmla="*/ 630162 h 1729012"/>
                <a:gd name="connsiteX8156" fmla="*/ 1296057 w 2240198"/>
                <a:gd name="connsiteY8156" fmla="*/ 625784 h 1729012"/>
                <a:gd name="connsiteX8157" fmla="*/ 1294911 w 2240198"/>
                <a:gd name="connsiteY8157" fmla="*/ 618410 h 1729012"/>
                <a:gd name="connsiteX8158" fmla="*/ 1293804 w 2240198"/>
                <a:gd name="connsiteY8158" fmla="*/ 613448 h 1729012"/>
                <a:gd name="connsiteX8159" fmla="*/ 1292735 w 2240198"/>
                <a:gd name="connsiteY8159" fmla="*/ 610910 h 1729012"/>
                <a:gd name="connsiteX8160" fmla="*/ 1292591 w 2240198"/>
                <a:gd name="connsiteY8160" fmla="*/ 608691 h 1729012"/>
                <a:gd name="connsiteX8161" fmla="*/ 1294967 w 2240198"/>
                <a:gd name="connsiteY8161" fmla="*/ 603947 h 1729012"/>
                <a:gd name="connsiteX8162" fmla="*/ 1301755 w 2240198"/>
                <a:gd name="connsiteY8162" fmla="*/ 598781 h 1729012"/>
                <a:gd name="connsiteX8163" fmla="*/ 1301920 w 2240198"/>
                <a:gd name="connsiteY8163" fmla="*/ 597969 h 1729012"/>
                <a:gd name="connsiteX8164" fmla="*/ 1300569 w 2240198"/>
                <a:gd name="connsiteY8164" fmla="*/ 597727 h 1729012"/>
                <a:gd name="connsiteX8165" fmla="*/ 1297721 w 2240198"/>
                <a:gd name="connsiteY8165" fmla="*/ 596412 h 1729012"/>
                <a:gd name="connsiteX8166" fmla="*/ 1296813 w 2240198"/>
                <a:gd name="connsiteY8166" fmla="*/ 594484 h 1729012"/>
                <a:gd name="connsiteX8167" fmla="*/ 1296448 w 2240198"/>
                <a:gd name="connsiteY8167" fmla="*/ 591423 h 1729012"/>
                <a:gd name="connsiteX8168" fmla="*/ 1296425 w 2240198"/>
                <a:gd name="connsiteY8168" fmla="*/ 588822 h 1729012"/>
                <a:gd name="connsiteX8169" fmla="*/ 1296741 w 2240198"/>
                <a:gd name="connsiteY8169" fmla="*/ 586688 h 1729012"/>
                <a:gd name="connsiteX8170" fmla="*/ 1297874 w 2240198"/>
                <a:gd name="connsiteY8170" fmla="*/ 584021 h 1729012"/>
                <a:gd name="connsiteX8171" fmla="*/ 1300798 w 2240198"/>
                <a:gd name="connsiteY8171" fmla="*/ 579217 h 1729012"/>
                <a:gd name="connsiteX8172" fmla="*/ 1304985 w 2240198"/>
                <a:gd name="connsiteY8172" fmla="*/ 573373 h 1729012"/>
                <a:gd name="connsiteX8173" fmla="*/ 1309516 w 2240198"/>
                <a:gd name="connsiteY8173" fmla="*/ 567874 h 1729012"/>
                <a:gd name="connsiteX8174" fmla="*/ 1310292 w 2240198"/>
                <a:gd name="connsiteY8174" fmla="*/ 566071 h 1729012"/>
                <a:gd name="connsiteX8175" fmla="*/ 1310691 w 2240198"/>
                <a:gd name="connsiteY8175" fmla="*/ 561175 h 1729012"/>
                <a:gd name="connsiteX8176" fmla="*/ 1311292 w 2240198"/>
                <a:gd name="connsiteY8176" fmla="*/ 557597 h 1729012"/>
                <a:gd name="connsiteX8177" fmla="*/ 1311912 w 2240198"/>
                <a:gd name="connsiteY8177" fmla="*/ 555075 h 1729012"/>
                <a:gd name="connsiteX8178" fmla="*/ 1312872 w 2240198"/>
                <a:gd name="connsiteY8178" fmla="*/ 553182 h 1729012"/>
                <a:gd name="connsiteX8179" fmla="*/ 1315677 w 2240198"/>
                <a:gd name="connsiteY8179" fmla="*/ 549583 h 1729012"/>
                <a:gd name="connsiteX8180" fmla="*/ 1319174 w 2240198"/>
                <a:gd name="connsiteY8180" fmla="*/ 546164 h 1729012"/>
                <a:gd name="connsiteX8181" fmla="*/ 1324648 w 2240198"/>
                <a:gd name="connsiteY8181" fmla="*/ 543246 h 1729012"/>
                <a:gd name="connsiteX8182" fmla="*/ 1325114 w 2240198"/>
                <a:gd name="connsiteY8182" fmla="*/ 542164 h 1729012"/>
                <a:gd name="connsiteX8183" fmla="*/ 1325189 w 2240198"/>
                <a:gd name="connsiteY8183" fmla="*/ 540667 h 1729012"/>
                <a:gd name="connsiteX8184" fmla="*/ 1325504 w 2240198"/>
                <a:gd name="connsiteY8184" fmla="*/ 539549 h 1729012"/>
                <a:gd name="connsiteX8185" fmla="*/ 1326062 w 2240198"/>
                <a:gd name="connsiteY8185" fmla="*/ 538812 h 1729012"/>
                <a:gd name="connsiteX8186" fmla="*/ 1339632 w 2240198"/>
                <a:gd name="connsiteY8186" fmla="*/ 529413 h 1729012"/>
                <a:gd name="connsiteX8187" fmla="*/ 1345808 w 2240198"/>
                <a:gd name="connsiteY8187" fmla="*/ 525582 h 1729012"/>
                <a:gd name="connsiteX8188" fmla="*/ 1351049 w 2240198"/>
                <a:gd name="connsiteY8188" fmla="*/ 523144 h 1729012"/>
                <a:gd name="connsiteX8189" fmla="*/ 1357321 w 2240198"/>
                <a:gd name="connsiteY8189" fmla="*/ 521347 h 1729012"/>
                <a:gd name="connsiteX8190" fmla="*/ 1375163 w 2240198"/>
                <a:gd name="connsiteY8190" fmla="*/ 517671 h 1729012"/>
                <a:gd name="connsiteX8191" fmla="*/ 1039617 w 2240198"/>
                <a:gd name="connsiteY8191" fmla="*/ 512143 h 1729012"/>
                <a:gd name="connsiteX8192" fmla="*/ 1061016 w 2240198"/>
                <a:gd name="connsiteY8192" fmla="*/ 522716 h 1729012"/>
                <a:gd name="connsiteX8193" fmla="*/ 1064016 w 2240198"/>
                <a:gd name="connsiteY8193" fmla="*/ 521847 h 1729012"/>
                <a:gd name="connsiteX8194" fmla="*/ 1070486 w 2240198"/>
                <a:gd name="connsiteY8194" fmla="*/ 521292 h 1729012"/>
                <a:gd name="connsiteX8195" fmla="*/ 1077210 w 2240198"/>
                <a:gd name="connsiteY8195" fmla="*/ 519737 h 1729012"/>
                <a:gd name="connsiteX8196" fmla="*/ 1086527 w 2240198"/>
                <a:gd name="connsiteY8196" fmla="*/ 518449 h 1729012"/>
                <a:gd name="connsiteX8197" fmla="*/ 1092210 w 2240198"/>
                <a:gd name="connsiteY8197" fmla="*/ 516103 h 1729012"/>
                <a:gd name="connsiteX8198" fmla="*/ 1094633 w 2240198"/>
                <a:gd name="connsiteY8198" fmla="*/ 515433 h 1729012"/>
                <a:gd name="connsiteX8199" fmla="*/ 1098747 w 2240198"/>
                <a:gd name="connsiteY8199" fmla="*/ 515018 h 1729012"/>
                <a:gd name="connsiteX8200" fmla="*/ 1100982 w 2240198"/>
                <a:gd name="connsiteY8200" fmla="*/ 515027 h 1729012"/>
                <a:gd name="connsiteX8201" fmla="*/ 1107442 w 2240198"/>
                <a:gd name="connsiteY8201" fmla="*/ 516297 h 1729012"/>
                <a:gd name="connsiteX8202" fmla="*/ 1110036 w 2240198"/>
                <a:gd name="connsiteY8202" fmla="*/ 517188 h 1729012"/>
                <a:gd name="connsiteX8203" fmla="*/ 1111411 w 2240198"/>
                <a:gd name="connsiteY8203" fmla="*/ 518122 h 1729012"/>
                <a:gd name="connsiteX8204" fmla="*/ 1112902 w 2240198"/>
                <a:gd name="connsiteY8204" fmla="*/ 519824 h 1729012"/>
                <a:gd name="connsiteX8205" fmla="*/ 1115449 w 2240198"/>
                <a:gd name="connsiteY8205" fmla="*/ 523968 h 1729012"/>
                <a:gd name="connsiteX8206" fmla="*/ 1115821 w 2240198"/>
                <a:gd name="connsiteY8206" fmla="*/ 525504 h 1729012"/>
                <a:gd name="connsiteX8207" fmla="*/ 1115692 w 2240198"/>
                <a:gd name="connsiteY8207" fmla="*/ 525918 h 1729012"/>
                <a:gd name="connsiteX8208" fmla="*/ 1113336 w 2240198"/>
                <a:gd name="connsiteY8208" fmla="*/ 528459 h 1729012"/>
                <a:gd name="connsiteX8209" fmla="*/ 1111769 w 2240198"/>
                <a:gd name="connsiteY8209" fmla="*/ 529565 h 1729012"/>
                <a:gd name="connsiteX8210" fmla="*/ 1108528 w 2240198"/>
                <a:gd name="connsiteY8210" fmla="*/ 530617 h 1729012"/>
                <a:gd name="connsiteX8211" fmla="*/ 1105725 w 2240198"/>
                <a:gd name="connsiteY8211" fmla="*/ 530938 h 1729012"/>
                <a:gd name="connsiteX8212" fmla="*/ 1103315 w 2240198"/>
                <a:gd name="connsiteY8212" fmla="*/ 532780 h 1729012"/>
                <a:gd name="connsiteX8213" fmla="*/ 1100598 w 2240198"/>
                <a:gd name="connsiteY8213" fmla="*/ 532290 h 1729012"/>
                <a:gd name="connsiteX8214" fmla="*/ 1099865 w 2240198"/>
                <a:gd name="connsiteY8214" fmla="*/ 533971 h 1729012"/>
                <a:gd name="connsiteX8215" fmla="*/ 1100150 w 2240198"/>
                <a:gd name="connsiteY8215" fmla="*/ 534996 h 1729012"/>
                <a:gd name="connsiteX8216" fmla="*/ 1100880 w 2240198"/>
                <a:gd name="connsiteY8216" fmla="*/ 535495 h 1729012"/>
                <a:gd name="connsiteX8217" fmla="*/ 1102249 w 2240198"/>
                <a:gd name="connsiteY8217" fmla="*/ 535376 h 1729012"/>
                <a:gd name="connsiteX8218" fmla="*/ 1103814 w 2240198"/>
                <a:gd name="connsiteY8218" fmla="*/ 534659 h 1729012"/>
                <a:gd name="connsiteX8219" fmla="*/ 1106852 w 2240198"/>
                <a:gd name="connsiteY8219" fmla="*/ 535014 h 1729012"/>
                <a:gd name="connsiteX8220" fmla="*/ 1108455 w 2240198"/>
                <a:gd name="connsiteY8220" fmla="*/ 536115 h 1729012"/>
                <a:gd name="connsiteX8221" fmla="*/ 1109893 w 2240198"/>
                <a:gd name="connsiteY8221" fmla="*/ 537932 h 1729012"/>
                <a:gd name="connsiteX8222" fmla="*/ 1108824 w 2240198"/>
                <a:gd name="connsiteY8222" fmla="*/ 539615 h 1729012"/>
                <a:gd name="connsiteX8223" fmla="*/ 1103460 w 2240198"/>
                <a:gd name="connsiteY8223" fmla="*/ 541938 h 1729012"/>
                <a:gd name="connsiteX8224" fmla="*/ 1095553 w 2240198"/>
                <a:gd name="connsiteY8224" fmla="*/ 544566 h 1729012"/>
                <a:gd name="connsiteX8225" fmla="*/ 1085920 w 2240198"/>
                <a:gd name="connsiteY8225" fmla="*/ 552807 h 1729012"/>
                <a:gd name="connsiteX8226" fmla="*/ 1080855 w 2240198"/>
                <a:gd name="connsiteY8226" fmla="*/ 556254 h 1729012"/>
                <a:gd name="connsiteX8227" fmla="*/ 1079809 w 2240198"/>
                <a:gd name="connsiteY8227" fmla="*/ 557327 h 1729012"/>
                <a:gd name="connsiteX8228" fmla="*/ 1079298 w 2240198"/>
                <a:gd name="connsiteY8228" fmla="*/ 558405 h 1729012"/>
                <a:gd name="connsiteX8229" fmla="*/ 1079452 w 2240198"/>
                <a:gd name="connsiteY8229" fmla="*/ 560447 h 1729012"/>
                <a:gd name="connsiteX8230" fmla="*/ 1079684 w 2240198"/>
                <a:gd name="connsiteY8230" fmla="*/ 561270 h 1729012"/>
                <a:gd name="connsiteX8231" fmla="*/ 1081082 w 2240198"/>
                <a:gd name="connsiteY8231" fmla="*/ 561602 h 1729012"/>
                <a:gd name="connsiteX8232" fmla="*/ 1085793 w 2240198"/>
                <a:gd name="connsiteY8232" fmla="*/ 558753 h 1729012"/>
                <a:gd name="connsiteX8233" fmla="*/ 1088831 w 2240198"/>
                <a:gd name="connsiteY8233" fmla="*/ 557425 h 1729012"/>
                <a:gd name="connsiteX8234" fmla="*/ 1091915 w 2240198"/>
                <a:gd name="connsiteY8234" fmla="*/ 556693 h 1729012"/>
                <a:gd name="connsiteX8235" fmla="*/ 1097356 w 2240198"/>
                <a:gd name="connsiteY8235" fmla="*/ 556642 h 1729012"/>
                <a:gd name="connsiteX8236" fmla="*/ 1099600 w 2240198"/>
                <a:gd name="connsiteY8236" fmla="*/ 557080 h 1729012"/>
                <a:gd name="connsiteX8237" fmla="*/ 1103673 w 2240198"/>
                <a:gd name="connsiteY8237" fmla="*/ 558791 h 1729012"/>
                <a:gd name="connsiteX8238" fmla="*/ 1107399 w 2240198"/>
                <a:gd name="connsiteY8238" fmla="*/ 561422 h 1729012"/>
                <a:gd name="connsiteX8239" fmla="*/ 1108232 w 2240198"/>
                <a:gd name="connsiteY8239" fmla="*/ 562381 h 1729012"/>
                <a:gd name="connsiteX8240" fmla="*/ 1107876 w 2240198"/>
                <a:gd name="connsiteY8240" fmla="*/ 563341 h 1729012"/>
                <a:gd name="connsiteX8241" fmla="*/ 1106328 w 2240198"/>
                <a:gd name="connsiteY8241" fmla="*/ 564306 h 1729012"/>
                <a:gd name="connsiteX8242" fmla="*/ 1106158 w 2240198"/>
                <a:gd name="connsiteY8242" fmla="*/ 564943 h 1729012"/>
                <a:gd name="connsiteX8243" fmla="*/ 1109711 w 2240198"/>
                <a:gd name="connsiteY8243" fmla="*/ 566268 h 1729012"/>
                <a:gd name="connsiteX8244" fmla="*/ 1113630 w 2240198"/>
                <a:gd name="connsiteY8244" fmla="*/ 569862 h 1729012"/>
                <a:gd name="connsiteX8245" fmla="*/ 1113886 w 2240198"/>
                <a:gd name="connsiteY8245" fmla="*/ 572041 h 1729012"/>
                <a:gd name="connsiteX8246" fmla="*/ 1112173 w 2240198"/>
                <a:gd name="connsiteY8246" fmla="*/ 574195 h 1729012"/>
                <a:gd name="connsiteX8247" fmla="*/ 1111705 w 2240198"/>
                <a:gd name="connsiteY8247" fmla="*/ 575634 h 1729012"/>
                <a:gd name="connsiteX8248" fmla="*/ 1112486 w 2240198"/>
                <a:gd name="connsiteY8248" fmla="*/ 576363 h 1729012"/>
                <a:gd name="connsiteX8249" fmla="*/ 1114421 w 2240198"/>
                <a:gd name="connsiteY8249" fmla="*/ 575920 h 1729012"/>
                <a:gd name="connsiteX8250" fmla="*/ 1119055 w 2240198"/>
                <a:gd name="connsiteY8250" fmla="*/ 573510 h 1729012"/>
                <a:gd name="connsiteX8251" fmla="*/ 1124070 w 2240198"/>
                <a:gd name="connsiteY8251" fmla="*/ 572252 h 1729012"/>
                <a:gd name="connsiteX8252" fmla="*/ 1126078 w 2240198"/>
                <a:gd name="connsiteY8252" fmla="*/ 572392 h 1729012"/>
                <a:gd name="connsiteX8253" fmla="*/ 1127345 w 2240198"/>
                <a:gd name="connsiteY8253" fmla="*/ 572947 h 1729012"/>
                <a:gd name="connsiteX8254" fmla="*/ 1128686 w 2240198"/>
                <a:gd name="connsiteY8254" fmla="*/ 576253 h 1729012"/>
                <a:gd name="connsiteX8255" fmla="*/ 1129792 w 2240198"/>
                <a:gd name="connsiteY8255" fmla="*/ 579966 h 1729012"/>
                <a:gd name="connsiteX8256" fmla="*/ 1129931 w 2240198"/>
                <a:gd name="connsiteY8256" fmla="*/ 583084 h 1729012"/>
                <a:gd name="connsiteX8257" fmla="*/ 1129102 w 2240198"/>
                <a:gd name="connsiteY8257" fmla="*/ 585615 h 1729012"/>
                <a:gd name="connsiteX8258" fmla="*/ 1127909 w 2240198"/>
                <a:gd name="connsiteY8258" fmla="*/ 587585 h 1729012"/>
                <a:gd name="connsiteX8259" fmla="*/ 1124907 w 2240198"/>
                <a:gd name="connsiteY8259" fmla="*/ 590022 h 1729012"/>
                <a:gd name="connsiteX8260" fmla="*/ 1122188 w 2240198"/>
                <a:gd name="connsiteY8260" fmla="*/ 590948 h 1729012"/>
                <a:gd name="connsiteX8261" fmla="*/ 1120768 w 2240198"/>
                <a:gd name="connsiteY8261" fmla="*/ 590957 h 1729012"/>
                <a:gd name="connsiteX8262" fmla="*/ 1120909 w 2240198"/>
                <a:gd name="connsiteY8262" fmla="*/ 591369 h 1729012"/>
                <a:gd name="connsiteX8263" fmla="*/ 1124134 w 2240198"/>
                <a:gd name="connsiteY8263" fmla="*/ 593395 h 1729012"/>
                <a:gd name="connsiteX8264" fmla="*/ 1125482 w 2240198"/>
                <a:gd name="connsiteY8264" fmla="*/ 595012 h 1729012"/>
                <a:gd name="connsiteX8265" fmla="*/ 1126058 w 2240198"/>
                <a:gd name="connsiteY8265" fmla="*/ 596571 h 1729012"/>
                <a:gd name="connsiteX8266" fmla="*/ 1125862 w 2240198"/>
                <a:gd name="connsiteY8266" fmla="*/ 598074 h 1729012"/>
                <a:gd name="connsiteX8267" fmla="*/ 1125417 w 2240198"/>
                <a:gd name="connsiteY8267" fmla="*/ 599354 h 1729012"/>
                <a:gd name="connsiteX8268" fmla="*/ 1121660 w 2240198"/>
                <a:gd name="connsiteY8268" fmla="*/ 604094 h 1729012"/>
                <a:gd name="connsiteX8269" fmla="*/ 1121863 w 2240198"/>
                <a:gd name="connsiteY8269" fmla="*/ 604768 h 1729012"/>
                <a:gd name="connsiteX8270" fmla="*/ 1122904 w 2240198"/>
                <a:gd name="connsiteY8270" fmla="*/ 605079 h 1729012"/>
                <a:gd name="connsiteX8271" fmla="*/ 1125259 w 2240198"/>
                <a:gd name="connsiteY8271" fmla="*/ 607803 h 1729012"/>
                <a:gd name="connsiteX8272" fmla="*/ 1125536 w 2240198"/>
                <a:gd name="connsiteY8272" fmla="*/ 614118 h 1729012"/>
                <a:gd name="connsiteX8273" fmla="*/ 1117092 w 2240198"/>
                <a:gd name="connsiteY8273" fmla="*/ 616095 h 1729012"/>
                <a:gd name="connsiteX8274" fmla="*/ 1115109 w 2240198"/>
                <a:gd name="connsiteY8274" fmla="*/ 617561 h 1729012"/>
                <a:gd name="connsiteX8275" fmla="*/ 1112776 w 2240198"/>
                <a:gd name="connsiteY8275" fmla="*/ 619910 h 1729012"/>
                <a:gd name="connsiteX8276" fmla="*/ 1110100 w 2240198"/>
                <a:gd name="connsiteY8276" fmla="*/ 621665 h 1729012"/>
                <a:gd name="connsiteX8277" fmla="*/ 1104039 w 2240198"/>
                <a:gd name="connsiteY8277" fmla="*/ 623509 h 1729012"/>
                <a:gd name="connsiteX8278" fmla="*/ 1100970 w 2240198"/>
                <a:gd name="connsiteY8278" fmla="*/ 623723 h 1729012"/>
                <a:gd name="connsiteX8279" fmla="*/ 1085780 w 2240198"/>
                <a:gd name="connsiteY8279" fmla="*/ 622184 h 1729012"/>
                <a:gd name="connsiteX8280" fmla="*/ 1084243 w 2240198"/>
                <a:gd name="connsiteY8280" fmla="*/ 621289 h 1729012"/>
                <a:gd name="connsiteX8281" fmla="*/ 1083180 w 2240198"/>
                <a:gd name="connsiteY8281" fmla="*/ 619688 h 1729012"/>
                <a:gd name="connsiteX8282" fmla="*/ 1082592 w 2240198"/>
                <a:gd name="connsiteY8282" fmla="*/ 617385 h 1729012"/>
                <a:gd name="connsiteX8283" fmla="*/ 1082432 w 2240198"/>
                <a:gd name="connsiteY8283" fmla="*/ 615567 h 1729012"/>
                <a:gd name="connsiteX8284" fmla="*/ 1082703 w 2240198"/>
                <a:gd name="connsiteY8284" fmla="*/ 614247 h 1729012"/>
                <a:gd name="connsiteX8285" fmla="*/ 1082624 w 2240198"/>
                <a:gd name="connsiteY8285" fmla="*/ 613471 h 1729012"/>
                <a:gd name="connsiteX8286" fmla="*/ 1082195 w 2240198"/>
                <a:gd name="connsiteY8286" fmla="*/ 613245 h 1729012"/>
                <a:gd name="connsiteX8287" fmla="*/ 1080507 w 2240198"/>
                <a:gd name="connsiteY8287" fmla="*/ 614569 h 1729012"/>
                <a:gd name="connsiteX8288" fmla="*/ 1078743 w 2240198"/>
                <a:gd name="connsiteY8288" fmla="*/ 616975 h 1729012"/>
                <a:gd name="connsiteX8289" fmla="*/ 1079708 w 2240198"/>
                <a:gd name="connsiteY8289" fmla="*/ 619643 h 1729012"/>
                <a:gd name="connsiteX8290" fmla="*/ 1084509 w 2240198"/>
                <a:gd name="connsiteY8290" fmla="*/ 627040 h 1729012"/>
                <a:gd name="connsiteX8291" fmla="*/ 1085425 w 2240198"/>
                <a:gd name="connsiteY8291" fmla="*/ 630212 h 1729012"/>
                <a:gd name="connsiteX8292" fmla="*/ 1085557 w 2240198"/>
                <a:gd name="connsiteY8292" fmla="*/ 631558 h 1729012"/>
                <a:gd name="connsiteX8293" fmla="*/ 1085342 w 2240198"/>
                <a:gd name="connsiteY8293" fmla="*/ 632567 h 1729012"/>
                <a:gd name="connsiteX8294" fmla="*/ 1079923 w 2240198"/>
                <a:gd name="connsiteY8294" fmla="*/ 636865 h 1729012"/>
                <a:gd name="connsiteX8295" fmla="*/ 1076788 w 2240198"/>
                <a:gd name="connsiteY8295" fmla="*/ 638320 h 1729012"/>
                <a:gd name="connsiteX8296" fmla="*/ 1073569 w 2240198"/>
                <a:gd name="connsiteY8296" fmla="*/ 639044 h 1729012"/>
                <a:gd name="connsiteX8297" fmla="*/ 1070503 w 2240198"/>
                <a:gd name="connsiteY8297" fmla="*/ 638505 h 1729012"/>
                <a:gd name="connsiteX8298" fmla="*/ 1067588 w 2240198"/>
                <a:gd name="connsiteY8298" fmla="*/ 636702 h 1729012"/>
                <a:gd name="connsiteX8299" fmla="*/ 1065370 w 2240198"/>
                <a:gd name="connsiteY8299" fmla="*/ 635902 h 1729012"/>
                <a:gd name="connsiteX8300" fmla="*/ 1060784 w 2240198"/>
                <a:gd name="connsiteY8300" fmla="*/ 636009 h 1729012"/>
                <a:gd name="connsiteX8301" fmla="*/ 1059351 w 2240198"/>
                <a:gd name="connsiteY8301" fmla="*/ 635079 h 1729012"/>
                <a:gd name="connsiteX8302" fmla="*/ 1058019 w 2240198"/>
                <a:gd name="connsiteY8302" fmla="*/ 633346 h 1729012"/>
                <a:gd name="connsiteX8303" fmla="*/ 1054786 w 2240198"/>
                <a:gd name="connsiteY8303" fmla="*/ 627124 h 1729012"/>
                <a:gd name="connsiteX8304" fmla="*/ 1050278 w 2240198"/>
                <a:gd name="connsiteY8304" fmla="*/ 622695 h 1729012"/>
                <a:gd name="connsiteX8305" fmla="*/ 1046392 w 2240198"/>
                <a:gd name="connsiteY8305" fmla="*/ 617726 h 1729012"/>
                <a:gd name="connsiteX8306" fmla="*/ 1036518 w 2240198"/>
                <a:gd name="connsiteY8306" fmla="*/ 610452 h 1729012"/>
                <a:gd name="connsiteX8307" fmla="*/ 1031407 w 2240198"/>
                <a:gd name="connsiteY8307" fmla="*/ 606086 h 1729012"/>
                <a:gd name="connsiteX8308" fmla="*/ 1024592 w 2240198"/>
                <a:gd name="connsiteY8308" fmla="*/ 599047 h 1729012"/>
                <a:gd name="connsiteX8309" fmla="*/ 1021742 w 2240198"/>
                <a:gd name="connsiteY8309" fmla="*/ 597452 h 1729012"/>
                <a:gd name="connsiteX8310" fmla="*/ 1019376 w 2240198"/>
                <a:gd name="connsiteY8310" fmla="*/ 596811 h 1729012"/>
                <a:gd name="connsiteX8311" fmla="*/ 1014723 w 2240198"/>
                <a:gd name="connsiteY8311" fmla="*/ 596306 h 1729012"/>
                <a:gd name="connsiteX8312" fmla="*/ 1013644 w 2240198"/>
                <a:gd name="connsiteY8312" fmla="*/ 595426 h 1729012"/>
                <a:gd name="connsiteX8313" fmla="*/ 1011948 w 2240198"/>
                <a:gd name="connsiteY8313" fmla="*/ 593023 h 1729012"/>
                <a:gd name="connsiteX8314" fmla="*/ 1009021 w 2240198"/>
                <a:gd name="connsiteY8314" fmla="*/ 591215 h 1729012"/>
                <a:gd name="connsiteX8315" fmla="*/ 1007953 w 2240198"/>
                <a:gd name="connsiteY8315" fmla="*/ 590988 h 1729012"/>
                <a:gd name="connsiteX8316" fmla="*/ 1006228 w 2240198"/>
                <a:gd name="connsiteY8316" fmla="*/ 591414 h 1729012"/>
                <a:gd name="connsiteX8317" fmla="*/ 1001674 w 2240198"/>
                <a:gd name="connsiteY8317" fmla="*/ 593079 h 1729012"/>
                <a:gd name="connsiteX8318" fmla="*/ 995953 w 2240198"/>
                <a:gd name="connsiteY8318" fmla="*/ 591316 h 1729012"/>
                <a:gd name="connsiteX8319" fmla="*/ 994671 w 2240198"/>
                <a:gd name="connsiteY8319" fmla="*/ 590076 h 1729012"/>
                <a:gd name="connsiteX8320" fmla="*/ 993912 w 2240198"/>
                <a:gd name="connsiteY8320" fmla="*/ 587970 h 1729012"/>
                <a:gd name="connsiteX8321" fmla="*/ 993190 w 2240198"/>
                <a:gd name="connsiteY8321" fmla="*/ 586813 h 1729012"/>
                <a:gd name="connsiteX8322" fmla="*/ 991252 w 2240198"/>
                <a:gd name="connsiteY8322" fmla="*/ 585773 h 1729012"/>
                <a:gd name="connsiteX8323" fmla="*/ 989620 w 2240198"/>
                <a:gd name="connsiteY8323" fmla="*/ 583140 h 1729012"/>
                <a:gd name="connsiteX8324" fmla="*/ 978753 w 2240198"/>
                <a:gd name="connsiteY8324" fmla="*/ 577940 h 1729012"/>
                <a:gd name="connsiteX8325" fmla="*/ 972291 w 2240198"/>
                <a:gd name="connsiteY8325" fmla="*/ 571950 h 1729012"/>
                <a:gd name="connsiteX8326" fmla="*/ 970982 w 2240198"/>
                <a:gd name="connsiteY8326" fmla="*/ 569783 h 1729012"/>
                <a:gd name="connsiteX8327" fmla="*/ 970857 w 2240198"/>
                <a:gd name="connsiteY8327" fmla="*/ 568897 h 1729012"/>
                <a:gd name="connsiteX8328" fmla="*/ 971521 w 2240198"/>
                <a:gd name="connsiteY8328" fmla="*/ 566010 h 1729012"/>
                <a:gd name="connsiteX8329" fmla="*/ 973017 w 2240198"/>
                <a:gd name="connsiteY8329" fmla="*/ 562730 h 1729012"/>
                <a:gd name="connsiteX8330" fmla="*/ 974979 w 2240198"/>
                <a:gd name="connsiteY8330" fmla="*/ 559468 h 1729012"/>
                <a:gd name="connsiteX8331" fmla="*/ 976179 w 2240198"/>
                <a:gd name="connsiteY8331" fmla="*/ 558131 h 1729012"/>
                <a:gd name="connsiteX8332" fmla="*/ 980430 w 2240198"/>
                <a:gd name="connsiteY8332" fmla="*/ 555313 h 1729012"/>
                <a:gd name="connsiteX8333" fmla="*/ 983780 w 2240198"/>
                <a:gd name="connsiteY8333" fmla="*/ 554674 h 1729012"/>
                <a:gd name="connsiteX8334" fmla="*/ 988455 w 2240198"/>
                <a:gd name="connsiteY8334" fmla="*/ 555031 h 1729012"/>
                <a:gd name="connsiteX8335" fmla="*/ 990919 w 2240198"/>
                <a:gd name="connsiteY8335" fmla="*/ 555658 h 1729012"/>
                <a:gd name="connsiteX8336" fmla="*/ 993126 w 2240198"/>
                <a:gd name="connsiteY8336" fmla="*/ 557545 h 1729012"/>
                <a:gd name="connsiteX8337" fmla="*/ 994073 w 2240198"/>
                <a:gd name="connsiteY8337" fmla="*/ 559718 h 1729012"/>
                <a:gd name="connsiteX8338" fmla="*/ 995176 w 2240198"/>
                <a:gd name="connsiteY8338" fmla="*/ 561182 h 1729012"/>
                <a:gd name="connsiteX8339" fmla="*/ 998645 w 2240198"/>
                <a:gd name="connsiteY8339" fmla="*/ 562781 h 1729012"/>
                <a:gd name="connsiteX8340" fmla="*/ 1000526 w 2240198"/>
                <a:gd name="connsiteY8340" fmla="*/ 564069 h 1729012"/>
                <a:gd name="connsiteX8341" fmla="*/ 1003289 w 2240198"/>
                <a:gd name="connsiteY8341" fmla="*/ 567060 h 1729012"/>
                <a:gd name="connsiteX8342" fmla="*/ 1005420 w 2240198"/>
                <a:gd name="connsiteY8342" fmla="*/ 570659 h 1729012"/>
                <a:gd name="connsiteX8343" fmla="*/ 1007382 w 2240198"/>
                <a:gd name="connsiteY8343" fmla="*/ 571843 h 1729012"/>
                <a:gd name="connsiteX8344" fmla="*/ 1012088 w 2240198"/>
                <a:gd name="connsiteY8344" fmla="*/ 572247 h 1729012"/>
                <a:gd name="connsiteX8345" fmla="*/ 1016946 w 2240198"/>
                <a:gd name="connsiteY8345" fmla="*/ 571639 h 1729012"/>
                <a:gd name="connsiteX8346" fmla="*/ 1027374 w 2240198"/>
                <a:gd name="connsiteY8346" fmla="*/ 569376 h 1729012"/>
                <a:gd name="connsiteX8347" fmla="*/ 1027798 w 2240198"/>
                <a:gd name="connsiteY8347" fmla="*/ 569094 h 1729012"/>
                <a:gd name="connsiteX8348" fmla="*/ 1028443 w 2240198"/>
                <a:gd name="connsiteY8348" fmla="*/ 567744 h 1729012"/>
                <a:gd name="connsiteX8349" fmla="*/ 1029632 w 2240198"/>
                <a:gd name="connsiteY8349" fmla="*/ 559529 h 1729012"/>
                <a:gd name="connsiteX8350" fmla="*/ 1030346 w 2240198"/>
                <a:gd name="connsiteY8350" fmla="*/ 559494 h 1729012"/>
                <a:gd name="connsiteX8351" fmla="*/ 1033886 w 2240198"/>
                <a:gd name="connsiteY8351" fmla="*/ 563303 h 1729012"/>
                <a:gd name="connsiteX8352" fmla="*/ 1034891 w 2240198"/>
                <a:gd name="connsiteY8352" fmla="*/ 563720 h 1729012"/>
                <a:gd name="connsiteX8353" fmla="*/ 1036417 w 2240198"/>
                <a:gd name="connsiteY8353" fmla="*/ 562928 h 1729012"/>
                <a:gd name="connsiteX8354" fmla="*/ 1037323 w 2240198"/>
                <a:gd name="connsiteY8354" fmla="*/ 561078 h 1729012"/>
                <a:gd name="connsiteX8355" fmla="*/ 1037213 w 2240198"/>
                <a:gd name="connsiteY8355" fmla="*/ 560200 h 1729012"/>
                <a:gd name="connsiteX8356" fmla="*/ 1034988 w 2240198"/>
                <a:gd name="connsiteY8356" fmla="*/ 555738 h 1729012"/>
                <a:gd name="connsiteX8357" fmla="*/ 1033676 w 2240198"/>
                <a:gd name="connsiteY8357" fmla="*/ 553794 h 1729012"/>
                <a:gd name="connsiteX8358" fmla="*/ 1032499 w 2240198"/>
                <a:gd name="connsiteY8358" fmla="*/ 552587 h 1729012"/>
                <a:gd name="connsiteX8359" fmla="*/ 1031187 w 2240198"/>
                <a:gd name="connsiteY8359" fmla="*/ 552191 h 1729012"/>
                <a:gd name="connsiteX8360" fmla="*/ 1028352 w 2240198"/>
                <a:gd name="connsiteY8360" fmla="*/ 552575 h 1729012"/>
                <a:gd name="connsiteX8361" fmla="*/ 1026192 w 2240198"/>
                <a:gd name="connsiteY8361" fmla="*/ 551715 h 1729012"/>
                <a:gd name="connsiteX8362" fmla="*/ 1025715 w 2240198"/>
                <a:gd name="connsiteY8362" fmla="*/ 550479 h 1729012"/>
                <a:gd name="connsiteX8363" fmla="*/ 1026065 w 2240198"/>
                <a:gd name="connsiteY8363" fmla="*/ 548821 h 1729012"/>
                <a:gd name="connsiteX8364" fmla="*/ 1027259 w 2240198"/>
                <a:gd name="connsiteY8364" fmla="*/ 547067 h 1729012"/>
                <a:gd name="connsiteX8365" fmla="*/ 1028539 w 2240198"/>
                <a:gd name="connsiteY8365" fmla="*/ 546061 h 1729012"/>
                <a:gd name="connsiteX8366" fmla="*/ 1031026 w 2240198"/>
                <a:gd name="connsiteY8366" fmla="*/ 545546 h 1729012"/>
                <a:gd name="connsiteX8367" fmla="*/ 1033938 w 2240198"/>
                <a:gd name="connsiteY8367" fmla="*/ 546056 h 1729012"/>
                <a:gd name="connsiteX8368" fmla="*/ 1037967 w 2240198"/>
                <a:gd name="connsiteY8368" fmla="*/ 548178 h 1729012"/>
                <a:gd name="connsiteX8369" fmla="*/ 1040518 w 2240198"/>
                <a:gd name="connsiteY8369" fmla="*/ 548648 h 1729012"/>
                <a:gd name="connsiteX8370" fmla="*/ 1044099 w 2240198"/>
                <a:gd name="connsiteY8370" fmla="*/ 548042 h 1729012"/>
                <a:gd name="connsiteX8371" fmla="*/ 1039515 w 2240198"/>
                <a:gd name="connsiteY8371" fmla="*/ 546796 h 1729012"/>
                <a:gd name="connsiteX8372" fmla="*/ 1033125 w 2240198"/>
                <a:gd name="connsiteY8372" fmla="*/ 541889 h 1729012"/>
                <a:gd name="connsiteX8373" fmla="*/ 1030382 w 2240198"/>
                <a:gd name="connsiteY8373" fmla="*/ 540972 h 1729012"/>
                <a:gd name="connsiteX8374" fmla="*/ 1027038 w 2240198"/>
                <a:gd name="connsiteY8374" fmla="*/ 543079 h 1729012"/>
                <a:gd name="connsiteX8375" fmla="*/ 1024781 w 2240198"/>
                <a:gd name="connsiteY8375" fmla="*/ 543872 h 1729012"/>
                <a:gd name="connsiteX8376" fmla="*/ 1020513 w 2240198"/>
                <a:gd name="connsiteY8376" fmla="*/ 544899 h 1729012"/>
                <a:gd name="connsiteX8377" fmla="*/ 1017114 w 2240198"/>
                <a:gd name="connsiteY8377" fmla="*/ 545051 h 1729012"/>
                <a:gd name="connsiteX8378" fmla="*/ 1002877 w 2240198"/>
                <a:gd name="connsiteY8378" fmla="*/ 537459 h 1729012"/>
                <a:gd name="connsiteX8379" fmla="*/ 1002085 w 2240198"/>
                <a:gd name="connsiteY8379" fmla="*/ 536732 h 1729012"/>
                <a:gd name="connsiteX8380" fmla="*/ 1001043 w 2240198"/>
                <a:gd name="connsiteY8380" fmla="*/ 534750 h 1729012"/>
                <a:gd name="connsiteX8381" fmla="*/ 1001163 w 2240198"/>
                <a:gd name="connsiteY8381" fmla="*/ 533837 h 1729012"/>
                <a:gd name="connsiteX8382" fmla="*/ 1002568 w 2240198"/>
                <a:gd name="connsiteY8382" fmla="*/ 532426 h 1729012"/>
                <a:gd name="connsiteX8383" fmla="*/ 1006115 w 2240198"/>
                <a:gd name="connsiteY8383" fmla="*/ 530557 h 1729012"/>
                <a:gd name="connsiteX8384" fmla="*/ 1011394 w 2240198"/>
                <a:gd name="connsiteY8384" fmla="*/ 529386 h 1729012"/>
                <a:gd name="connsiteX8385" fmla="*/ 1014923 w 2240198"/>
                <a:gd name="connsiteY8385" fmla="*/ 529195 h 1729012"/>
                <a:gd name="connsiteX8386" fmla="*/ 1018009 w 2240198"/>
                <a:gd name="connsiteY8386" fmla="*/ 530590 h 1729012"/>
                <a:gd name="connsiteX8387" fmla="*/ 1022504 w 2240198"/>
                <a:gd name="connsiteY8387" fmla="*/ 534362 h 1729012"/>
                <a:gd name="connsiteX8388" fmla="*/ 1026437 w 2240198"/>
                <a:gd name="connsiteY8388" fmla="*/ 536563 h 1729012"/>
                <a:gd name="connsiteX8389" fmla="*/ 1026760 w 2240198"/>
                <a:gd name="connsiteY8389" fmla="*/ 535772 h 1729012"/>
                <a:gd name="connsiteX8390" fmla="*/ 1026065 w 2240198"/>
                <a:gd name="connsiteY8390" fmla="*/ 533607 h 1729012"/>
                <a:gd name="connsiteX8391" fmla="*/ 1024271 w 2240198"/>
                <a:gd name="connsiteY8391" fmla="*/ 530390 h 1729012"/>
                <a:gd name="connsiteX8392" fmla="*/ 1022983 w 2240198"/>
                <a:gd name="connsiteY8392" fmla="*/ 529508 h 1729012"/>
                <a:gd name="connsiteX8393" fmla="*/ 1019819 w 2240198"/>
                <a:gd name="connsiteY8393" fmla="*/ 528547 h 1729012"/>
                <a:gd name="connsiteX8394" fmla="*/ 1016889 w 2240198"/>
                <a:gd name="connsiteY8394" fmla="*/ 526332 h 1729012"/>
                <a:gd name="connsiteX8395" fmla="*/ 1015511 w 2240198"/>
                <a:gd name="connsiteY8395" fmla="*/ 524693 h 1729012"/>
                <a:gd name="connsiteX8396" fmla="*/ 1014777 w 2240198"/>
                <a:gd name="connsiteY8396" fmla="*/ 522933 h 1729012"/>
                <a:gd name="connsiteX8397" fmla="*/ 1014687 w 2240198"/>
                <a:gd name="connsiteY8397" fmla="*/ 521055 h 1729012"/>
                <a:gd name="connsiteX8398" fmla="*/ 1015247 w 2240198"/>
                <a:gd name="connsiteY8398" fmla="*/ 519771 h 1729012"/>
                <a:gd name="connsiteX8399" fmla="*/ 1016461 w 2240198"/>
                <a:gd name="connsiteY8399" fmla="*/ 519082 h 1729012"/>
                <a:gd name="connsiteX8400" fmla="*/ 1027403 w 2240198"/>
                <a:gd name="connsiteY8400" fmla="*/ 517201 h 1729012"/>
                <a:gd name="connsiteX8401" fmla="*/ 1035042 w 2240198"/>
                <a:gd name="connsiteY8401" fmla="*/ 519285 h 1729012"/>
                <a:gd name="connsiteX8402" fmla="*/ 1039890 w 2240198"/>
                <a:gd name="connsiteY8402" fmla="*/ 519585 h 1729012"/>
                <a:gd name="connsiteX8403" fmla="*/ 1041901 w 2240198"/>
                <a:gd name="connsiteY8403" fmla="*/ 517028 h 1729012"/>
                <a:gd name="connsiteX8404" fmla="*/ 1041200 w 2240198"/>
                <a:gd name="connsiteY8404" fmla="*/ 516529 h 1729012"/>
                <a:gd name="connsiteX8405" fmla="*/ 1038648 w 2240198"/>
                <a:gd name="connsiteY8405" fmla="*/ 517188 h 1729012"/>
                <a:gd name="connsiteX8406" fmla="*/ 1035766 w 2240198"/>
                <a:gd name="connsiteY8406" fmla="*/ 517173 h 1729012"/>
                <a:gd name="connsiteX8407" fmla="*/ 1033965 w 2240198"/>
                <a:gd name="connsiteY8407" fmla="*/ 515770 h 1729012"/>
                <a:gd name="connsiteX8408" fmla="*/ 1033908 w 2240198"/>
                <a:gd name="connsiteY8408" fmla="*/ 514950 h 1729012"/>
                <a:gd name="connsiteX8409" fmla="*/ 1036154 w 2240198"/>
                <a:gd name="connsiteY8409" fmla="*/ 512986 h 1729012"/>
                <a:gd name="connsiteX8410" fmla="*/ 1095439 w 2240198"/>
                <a:gd name="connsiteY8410" fmla="*/ 503781 h 1729012"/>
                <a:gd name="connsiteX8411" fmla="*/ 1098031 w 2240198"/>
                <a:gd name="connsiteY8411" fmla="*/ 504077 h 1729012"/>
                <a:gd name="connsiteX8412" fmla="*/ 1098812 w 2240198"/>
                <a:gd name="connsiteY8412" fmla="*/ 504998 h 1729012"/>
                <a:gd name="connsiteX8413" fmla="*/ 1099022 w 2240198"/>
                <a:gd name="connsiteY8413" fmla="*/ 505916 h 1729012"/>
                <a:gd name="connsiteX8414" fmla="*/ 1098662 w 2240198"/>
                <a:gd name="connsiteY8414" fmla="*/ 506839 h 1729012"/>
                <a:gd name="connsiteX8415" fmla="*/ 1096597 w 2240198"/>
                <a:gd name="connsiteY8415" fmla="*/ 509193 h 1729012"/>
                <a:gd name="connsiteX8416" fmla="*/ 1093902 w 2240198"/>
                <a:gd name="connsiteY8416" fmla="*/ 511027 h 1729012"/>
                <a:gd name="connsiteX8417" fmla="*/ 1086652 w 2240198"/>
                <a:gd name="connsiteY8417" fmla="*/ 514965 h 1729012"/>
                <a:gd name="connsiteX8418" fmla="*/ 1083524 w 2240198"/>
                <a:gd name="connsiteY8418" fmla="*/ 515968 h 1729012"/>
                <a:gd name="connsiteX8419" fmla="*/ 1076225 w 2240198"/>
                <a:gd name="connsiteY8419" fmla="*/ 517009 h 1729012"/>
                <a:gd name="connsiteX8420" fmla="*/ 1072856 w 2240198"/>
                <a:gd name="connsiteY8420" fmla="*/ 516562 h 1729012"/>
                <a:gd name="connsiteX8421" fmla="*/ 1071074 w 2240198"/>
                <a:gd name="connsiteY8421" fmla="*/ 517925 h 1729012"/>
                <a:gd name="connsiteX8422" fmla="*/ 1069673 w 2240198"/>
                <a:gd name="connsiteY8422" fmla="*/ 518503 h 1729012"/>
                <a:gd name="connsiteX8423" fmla="*/ 1065684 w 2240198"/>
                <a:gd name="connsiteY8423" fmla="*/ 518753 h 1729012"/>
                <a:gd name="connsiteX8424" fmla="*/ 1057466 w 2240198"/>
                <a:gd name="connsiteY8424" fmla="*/ 516291 h 1729012"/>
                <a:gd name="connsiteX8425" fmla="*/ 1055257 w 2240198"/>
                <a:gd name="connsiteY8425" fmla="*/ 515435 h 1729012"/>
                <a:gd name="connsiteX8426" fmla="*/ 1054449 w 2240198"/>
                <a:gd name="connsiteY8426" fmla="*/ 514640 h 1729012"/>
                <a:gd name="connsiteX8427" fmla="*/ 1054784 w 2240198"/>
                <a:gd name="connsiteY8427" fmla="*/ 513875 h 1729012"/>
                <a:gd name="connsiteX8428" fmla="*/ 1056259 w 2240198"/>
                <a:gd name="connsiteY8428" fmla="*/ 513141 h 1729012"/>
                <a:gd name="connsiteX8429" fmla="*/ 1062566 w 2240198"/>
                <a:gd name="connsiteY8429" fmla="*/ 512026 h 1729012"/>
                <a:gd name="connsiteX8430" fmla="*/ 1064903 w 2240198"/>
                <a:gd name="connsiteY8430" fmla="*/ 511202 h 1729012"/>
                <a:gd name="connsiteX8431" fmla="*/ 1065867 w 2240198"/>
                <a:gd name="connsiteY8431" fmla="*/ 510052 h 1729012"/>
                <a:gd name="connsiteX8432" fmla="*/ 1067444 w 2240198"/>
                <a:gd name="connsiteY8432" fmla="*/ 509125 h 1729012"/>
                <a:gd name="connsiteX8433" fmla="*/ 1069634 w 2240198"/>
                <a:gd name="connsiteY8433" fmla="*/ 508427 h 1729012"/>
                <a:gd name="connsiteX8434" fmla="*/ 1075546 w 2240198"/>
                <a:gd name="connsiteY8434" fmla="*/ 507756 h 1729012"/>
                <a:gd name="connsiteX8435" fmla="*/ 1088832 w 2240198"/>
                <a:gd name="connsiteY8435" fmla="*/ 504275 h 1729012"/>
                <a:gd name="connsiteX8436" fmla="*/ 1206756 w 2240198"/>
                <a:gd name="connsiteY8436" fmla="*/ 500596 h 1729012"/>
                <a:gd name="connsiteX8437" fmla="*/ 1212828 w 2240198"/>
                <a:gd name="connsiteY8437" fmla="*/ 501479 h 1729012"/>
                <a:gd name="connsiteX8438" fmla="*/ 1222789 w 2240198"/>
                <a:gd name="connsiteY8438" fmla="*/ 503828 h 1729012"/>
                <a:gd name="connsiteX8439" fmla="*/ 1227637 w 2240198"/>
                <a:gd name="connsiteY8439" fmla="*/ 505366 h 1729012"/>
                <a:gd name="connsiteX8440" fmla="*/ 1230020 w 2240198"/>
                <a:gd name="connsiteY8440" fmla="*/ 506392 h 1729012"/>
                <a:gd name="connsiteX8441" fmla="*/ 1234558 w 2240198"/>
                <a:gd name="connsiteY8441" fmla="*/ 509844 h 1729012"/>
                <a:gd name="connsiteX8442" fmla="*/ 1236869 w 2240198"/>
                <a:gd name="connsiteY8442" fmla="*/ 510835 h 1729012"/>
                <a:gd name="connsiteX8443" fmla="*/ 1245707 w 2240198"/>
                <a:gd name="connsiteY8443" fmla="*/ 508833 h 1729012"/>
                <a:gd name="connsiteX8444" fmla="*/ 1251888 w 2240198"/>
                <a:gd name="connsiteY8444" fmla="*/ 508090 h 1729012"/>
                <a:gd name="connsiteX8445" fmla="*/ 1265642 w 2240198"/>
                <a:gd name="connsiteY8445" fmla="*/ 509007 h 1729012"/>
                <a:gd name="connsiteX8446" fmla="*/ 1277320 w 2240198"/>
                <a:gd name="connsiteY8446" fmla="*/ 511857 h 1729012"/>
                <a:gd name="connsiteX8447" fmla="*/ 1281617 w 2240198"/>
                <a:gd name="connsiteY8447" fmla="*/ 513998 h 1729012"/>
                <a:gd name="connsiteX8448" fmla="*/ 1284238 w 2240198"/>
                <a:gd name="connsiteY8448" fmla="*/ 515961 h 1729012"/>
                <a:gd name="connsiteX8449" fmla="*/ 1283559 w 2240198"/>
                <a:gd name="connsiteY8449" fmla="*/ 518127 h 1729012"/>
                <a:gd name="connsiteX8450" fmla="*/ 1281409 w 2240198"/>
                <a:gd name="connsiteY8450" fmla="*/ 521621 h 1729012"/>
                <a:gd name="connsiteX8451" fmla="*/ 1278889 w 2240198"/>
                <a:gd name="connsiteY8451" fmla="*/ 524939 h 1729012"/>
                <a:gd name="connsiteX8452" fmla="*/ 1273843 w 2240198"/>
                <a:gd name="connsiteY8452" fmla="*/ 530133 h 1729012"/>
                <a:gd name="connsiteX8453" fmla="*/ 1269554 w 2240198"/>
                <a:gd name="connsiteY8453" fmla="*/ 532727 h 1729012"/>
                <a:gd name="connsiteX8454" fmla="*/ 1268495 w 2240198"/>
                <a:gd name="connsiteY8454" fmla="*/ 533972 h 1729012"/>
                <a:gd name="connsiteX8455" fmla="*/ 1267824 w 2240198"/>
                <a:gd name="connsiteY8455" fmla="*/ 535694 h 1729012"/>
                <a:gd name="connsiteX8456" fmla="*/ 1266159 w 2240198"/>
                <a:gd name="connsiteY8456" fmla="*/ 538214 h 1729012"/>
                <a:gd name="connsiteX8457" fmla="*/ 1261551 w 2240198"/>
                <a:gd name="connsiteY8457" fmla="*/ 543656 h 1729012"/>
                <a:gd name="connsiteX8458" fmla="*/ 1260322 w 2240198"/>
                <a:gd name="connsiteY8458" fmla="*/ 544586 h 1729012"/>
                <a:gd name="connsiteX8459" fmla="*/ 1253833 w 2240198"/>
                <a:gd name="connsiteY8459" fmla="*/ 546963 h 1729012"/>
                <a:gd name="connsiteX8460" fmla="*/ 1256056 w 2240198"/>
                <a:gd name="connsiteY8460" fmla="*/ 548027 h 1729012"/>
                <a:gd name="connsiteX8461" fmla="*/ 1257074 w 2240198"/>
                <a:gd name="connsiteY8461" fmla="*/ 548966 h 1729012"/>
                <a:gd name="connsiteX8462" fmla="*/ 1256219 w 2240198"/>
                <a:gd name="connsiteY8462" fmla="*/ 551372 h 1729012"/>
                <a:gd name="connsiteX8463" fmla="*/ 1252127 w 2240198"/>
                <a:gd name="connsiteY8463" fmla="*/ 557165 h 1729012"/>
                <a:gd name="connsiteX8464" fmla="*/ 1247883 w 2240198"/>
                <a:gd name="connsiteY8464" fmla="*/ 562509 h 1729012"/>
                <a:gd name="connsiteX8465" fmla="*/ 1244917 w 2240198"/>
                <a:gd name="connsiteY8465" fmla="*/ 565697 h 1729012"/>
                <a:gd name="connsiteX8466" fmla="*/ 1239526 w 2240198"/>
                <a:gd name="connsiteY8466" fmla="*/ 570299 h 1729012"/>
                <a:gd name="connsiteX8467" fmla="*/ 1236561 w 2240198"/>
                <a:gd name="connsiteY8467" fmla="*/ 571597 h 1729012"/>
                <a:gd name="connsiteX8468" fmla="*/ 1232578 w 2240198"/>
                <a:gd name="connsiteY8468" fmla="*/ 571998 h 1729012"/>
                <a:gd name="connsiteX8469" fmla="*/ 1208523 w 2240198"/>
                <a:gd name="connsiteY8469" fmla="*/ 567984 h 1729012"/>
                <a:gd name="connsiteX8470" fmla="*/ 1202487 w 2240198"/>
                <a:gd name="connsiteY8470" fmla="*/ 568049 h 1729012"/>
                <a:gd name="connsiteX8471" fmla="*/ 1186446 w 2240198"/>
                <a:gd name="connsiteY8471" fmla="*/ 570147 h 1729012"/>
                <a:gd name="connsiteX8472" fmla="*/ 1187957 w 2240198"/>
                <a:gd name="connsiteY8472" fmla="*/ 571172 h 1729012"/>
                <a:gd name="connsiteX8473" fmla="*/ 1193832 w 2240198"/>
                <a:gd name="connsiteY8473" fmla="*/ 572724 h 1729012"/>
                <a:gd name="connsiteX8474" fmla="*/ 1197622 w 2240198"/>
                <a:gd name="connsiteY8474" fmla="*/ 574413 h 1729012"/>
                <a:gd name="connsiteX8475" fmla="*/ 1202650 w 2240198"/>
                <a:gd name="connsiteY8475" fmla="*/ 579670 h 1729012"/>
                <a:gd name="connsiteX8476" fmla="*/ 1203304 w 2240198"/>
                <a:gd name="connsiteY8476" fmla="*/ 580979 h 1729012"/>
                <a:gd name="connsiteX8477" fmla="*/ 1203621 w 2240198"/>
                <a:gd name="connsiteY8477" fmla="*/ 582503 h 1729012"/>
                <a:gd name="connsiteX8478" fmla="*/ 1203427 w 2240198"/>
                <a:gd name="connsiteY8478" fmla="*/ 585489 h 1729012"/>
                <a:gd name="connsiteX8479" fmla="*/ 1203083 w 2240198"/>
                <a:gd name="connsiteY8479" fmla="*/ 586247 h 1729012"/>
                <a:gd name="connsiteX8480" fmla="*/ 1195085 w 2240198"/>
                <a:gd name="connsiteY8480" fmla="*/ 594281 h 1729012"/>
                <a:gd name="connsiteX8481" fmla="*/ 1192499 w 2240198"/>
                <a:gd name="connsiteY8481" fmla="*/ 600110 h 1729012"/>
                <a:gd name="connsiteX8482" fmla="*/ 1190851 w 2240198"/>
                <a:gd name="connsiteY8482" fmla="*/ 604908 h 1729012"/>
                <a:gd name="connsiteX8483" fmla="*/ 1188159 w 2240198"/>
                <a:gd name="connsiteY8483" fmla="*/ 606230 h 1729012"/>
                <a:gd name="connsiteX8484" fmla="*/ 1179197 w 2240198"/>
                <a:gd name="connsiteY8484" fmla="*/ 604205 h 1729012"/>
                <a:gd name="connsiteX8485" fmla="*/ 1176305 w 2240198"/>
                <a:gd name="connsiteY8485" fmla="*/ 604266 h 1729012"/>
                <a:gd name="connsiteX8486" fmla="*/ 1166249 w 2240198"/>
                <a:gd name="connsiteY8486" fmla="*/ 605665 h 1729012"/>
                <a:gd name="connsiteX8487" fmla="*/ 1161555 w 2240198"/>
                <a:gd name="connsiteY8487" fmla="*/ 604971 h 1729012"/>
                <a:gd name="connsiteX8488" fmla="*/ 1162218 w 2240198"/>
                <a:gd name="connsiteY8488" fmla="*/ 597734 h 1729012"/>
                <a:gd name="connsiteX8489" fmla="*/ 1161562 w 2240198"/>
                <a:gd name="connsiteY8489" fmla="*/ 589893 h 1729012"/>
                <a:gd name="connsiteX8490" fmla="*/ 1160083 w 2240198"/>
                <a:gd name="connsiteY8490" fmla="*/ 582384 h 1729012"/>
                <a:gd name="connsiteX8491" fmla="*/ 1152562 w 2240198"/>
                <a:gd name="connsiteY8491" fmla="*/ 568963 h 1729012"/>
                <a:gd name="connsiteX8492" fmla="*/ 1151732 w 2240198"/>
                <a:gd name="connsiteY8492" fmla="*/ 566573 h 1729012"/>
                <a:gd name="connsiteX8493" fmla="*/ 1151180 w 2240198"/>
                <a:gd name="connsiteY8493" fmla="*/ 564001 h 1729012"/>
                <a:gd name="connsiteX8494" fmla="*/ 1150900 w 2240198"/>
                <a:gd name="connsiteY8494" fmla="*/ 561242 h 1729012"/>
                <a:gd name="connsiteX8495" fmla="*/ 1150924 w 2240198"/>
                <a:gd name="connsiteY8495" fmla="*/ 558462 h 1729012"/>
                <a:gd name="connsiteX8496" fmla="*/ 1151447 w 2240198"/>
                <a:gd name="connsiteY8496" fmla="*/ 552832 h 1729012"/>
                <a:gd name="connsiteX8497" fmla="*/ 1151506 w 2240198"/>
                <a:gd name="connsiteY8497" fmla="*/ 549973 h 1729012"/>
                <a:gd name="connsiteX8498" fmla="*/ 1151129 w 2240198"/>
                <a:gd name="connsiteY8498" fmla="*/ 542499 h 1729012"/>
                <a:gd name="connsiteX8499" fmla="*/ 1150112 w 2240198"/>
                <a:gd name="connsiteY8499" fmla="*/ 531269 h 1729012"/>
                <a:gd name="connsiteX8500" fmla="*/ 1150017 w 2240198"/>
                <a:gd name="connsiteY8500" fmla="*/ 527292 h 1729012"/>
                <a:gd name="connsiteX8501" fmla="*/ 1150086 w 2240198"/>
                <a:gd name="connsiteY8501" fmla="*/ 525706 h 1729012"/>
                <a:gd name="connsiteX8502" fmla="*/ 1150399 w 2240198"/>
                <a:gd name="connsiteY8502" fmla="*/ 524495 h 1729012"/>
                <a:gd name="connsiteX8503" fmla="*/ 1152009 w 2240198"/>
                <a:gd name="connsiteY8503" fmla="*/ 522885 h 1729012"/>
                <a:gd name="connsiteX8504" fmla="*/ 1155102 w 2240198"/>
                <a:gd name="connsiteY8504" fmla="*/ 521729 h 1729012"/>
                <a:gd name="connsiteX8505" fmla="*/ 1156660 w 2240198"/>
                <a:gd name="connsiteY8505" fmla="*/ 521558 h 1729012"/>
                <a:gd name="connsiteX8506" fmla="*/ 1166546 w 2240198"/>
                <a:gd name="connsiteY8506" fmla="*/ 524972 h 1729012"/>
                <a:gd name="connsiteX8507" fmla="*/ 1171091 w 2240198"/>
                <a:gd name="connsiteY8507" fmla="*/ 526112 h 1729012"/>
                <a:gd name="connsiteX8508" fmla="*/ 1174115 w 2240198"/>
                <a:gd name="connsiteY8508" fmla="*/ 526061 h 1729012"/>
                <a:gd name="connsiteX8509" fmla="*/ 1174282 w 2240198"/>
                <a:gd name="connsiteY8509" fmla="*/ 525675 h 1729012"/>
                <a:gd name="connsiteX8510" fmla="*/ 1171591 w 2240198"/>
                <a:gd name="connsiteY8510" fmla="*/ 524955 h 1729012"/>
                <a:gd name="connsiteX8511" fmla="*/ 1169061 w 2240198"/>
                <a:gd name="connsiteY8511" fmla="*/ 523484 h 1729012"/>
                <a:gd name="connsiteX8512" fmla="*/ 1164939 w 2240198"/>
                <a:gd name="connsiteY8512" fmla="*/ 519097 h 1729012"/>
                <a:gd name="connsiteX8513" fmla="*/ 1163047 w 2240198"/>
                <a:gd name="connsiteY8513" fmla="*/ 515340 h 1729012"/>
                <a:gd name="connsiteX8514" fmla="*/ 1162668 w 2240198"/>
                <a:gd name="connsiteY8514" fmla="*/ 514096 h 1729012"/>
                <a:gd name="connsiteX8515" fmla="*/ 1162579 w 2240198"/>
                <a:gd name="connsiteY8515" fmla="*/ 512794 h 1729012"/>
                <a:gd name="connsiteX8516" fmla="*/ 1162776 w 2240198"/>
                <a:gd name="connsiteY8516" fmla="*/ 511432 h 1729012"/>
                <a:gd name="connsiteX8517" fmla="*/ 1163375 w 2240198"/>
                <a:gd name="connsiteY8517" fmla="*/ 510207 h 1729012"/>
                <a:gd name="connsiteX8518" fmla="*/ 1165438 w 2240198"/>
                <a:gd name="connsiteY8518" fmla="*/ 508284 h 1729012"/>
                <a:gd name="connsiteX8519" fmla="*/ 1167119 w 2240198"/>
                <a:gd name="connsiteY8519" fmla="*/ 507416 h 1729012"/>
                <a:gd name="connsiteX8520" fmla="*/ 1173320 w 2240198"/>
                <a:gd name="connsiteY8520" fmla="*/ 505205 h 1729012"/>
                <a:gd name="connsiteX8521" fmla="*/ 1179568 w 2240198"/>
                <a:gd name="connsiteY8521" fmla="*/ 503857 h 1729012"/>
                <a:gd name="connsiteX8522" fmla="*/ 1193355 w 2240198"/>
                <a:gd name="connsiteY8522" fmla="*/ 502940 h 1729012"/>
                <a:gd name="connsiteX8523" fmla="*/ 1197265 w 2240198"/>
                <a:gd name="connsiteY8523" fmla="*/ 503597 h 1729012"/>
                <a:gd name="connsiteX8524" fmla="*/ 1203234 w 2240198"/>
                <a:gd name="connsiteY8524" fmla="*/ 501174 h 1729012"/>
                <a:gd name="connsiteX8525" fmla="*/ 494399 w 2240198"/>
                <a:gd name="connsiteY8525" fmla="*/ 482297 h 1729012"/>
                <a:gd name="connsiteX8526" fmla="*/ 499189 w 2240198"/>
                <a:gd name="connsiteY8526" fmla="*/ 483056 h 1729012"/>
                <a:gd name="connsiteX8527" fmla="*/ 503919 w 2240198"/>
                <a:gd name="connsiteY8527" fmla="*/ 485049 h 1729012"/>
                <a:gd name="connsiteX8528" fmla="*/ 510183 w 2240198"/>
                <a:gd name="connsiteY8528" fmla="*/ 488527 h 1729012"/>
                <a:gd name="connsiteX8529" fmla="*/ 518479 w 2240198"/>
                <a:gd name="connsiteY8529" fmla="*/ 491916 h 1729012"/>
                <a:gd name="connsiteX8530" fmla="*/ 533969 w 2240198"/>
                <a:gd name="connsiteY8530" fmla="*/ 496865 h 1729012"/>
                <a:gd name="connsiteX8531" fmla="*/ 543629 w 2240198"/>
                <a:gd name="connsiteY8531" fmla="*/ 497906 h 1729012"/>
                <a:gd name="connsiteX8532" fmla="*/ 539755 w 2240198"/>
                <a:gd name="connsiteY8532" fmla="*/ 501843 h 1729012"/>
                <a:gd name="connsiteX8533" fmla="*/ 539209 w 2240198"/>
                <a:gd name="connsiteY8533" fmla="*/ 503022 h 1729012"/>
                <a:gd name="connsiteX8534" fmla="*/ 539224 w 2240198"/>
                <a:gd name="connsiteY8534" fmla="*/ 503881 h 1729012"/>
                <a:gd name="connsiteX8535" fmla="*/ 539421 w 2240198"/>
                <a:gd name="connsiteY8535" fmla="*/ 504089 h 1729012"/>
                <a:gd name="connsiteX8536" fmla="*/ 545950 w 2240198"/>
                <a:gd name="connsiteY8536" fmla="*/ 499478 h 1729012"/>
                <a:gd name="connsiteX8537" fmla="*/ 549912 w 2240198"/>
                <a:gd name="connsiteY8537" fmla="*/ 499227 h 1729012"/>
                <a:gd name="connsiteX8538" fmla="*/ 552673 w 2240198"/>
                <a:gd name="connsiteY8538" fmla="*/ 499639 h 1729012"/>
                <a:gd name="connsiteX8539" fmla="*/ 553548 w 2240198"/>
                <a:gd name="connsiteY8539" fmla="*/ 500226 h 1729012"/>
                <a:gd name="connsiteX8540" fmla="*/ 554102 w 2240198"/>
                <a:gd name="connsiteY8540" fmla="*/ 501137 h 1729012"/>
                <a:gd name="connsiteX8541" fmla="*/ 554376 w 2240198"/>
                <a:gd name="connsiteY8541" fmla="*/ 503139 h 1729012"/>
                <a:gd name="connsiteX8542" fmla="*/ 554551 w 2240198"/>
                <a:gd name="connsiteY8542" fmla="*/ 508086 h 1729012"/>
                <a:gd name="connsiteX8543" fmla="*/ 554903 w 2240198"/>
                <a:gd name="connsiteY8543" fmla="*/ 508697 h 1729012"/>
                <a:gd name="connsiteX8544" fmla="*/ 555802 w 2240198"/>
                <a:gd name="connsiteY8544" fmla="*/ 508416 h 1729012"/>
                <a:gd name="connsiteX8545" fmla="*/ 557244 w 2240198"/>
                <a:gd name="connsiteY8545" fmla="*/ 507250 h 1729012"/>
                <a:gd name="connsiteX8546" fmla="*/ 564382 w 2240198"/>
                <a:gd name="connsiteY8546" fmla="*/ 499932 h 1729012"/>
                <a:gd name="connsiteX8547" fmla="*/ 567396 w 2240198"/>
                <a:gd name="connsiteY8547" fmla="*/ 497920 h 1729012"/>
                <a:gd name="connsiteX8548" fmla="*/ 569457 w 2240198"/>
                <a:gd name="connsiteY8548" fmla="*/ 497317 h 1729012"/>
                <a:gd name="connsiteX8549" fmla="*/ 578188 w 2240198"/>
                <a:gd name="connsiteY8549" fmla="*/ 496215 h 1729012"/>
                <a:gd name="connsiteX8550" fmla="*/ 584117 w 2240198"/>
                <a:gd name="connsiteY8550" fmla="*/ 496249 h 1729012"/>
                <a:gd name="connsiteX8551" fmla="*/ 590668 w 2240198"/>
                <a:gd name="connsiteY8551" fmla="*/ 496933 h 1729012"/>
                <a:gd name="connsiteX8552" fmla="*/ 595553 w 2240198"/>
                <a:gd name="connsiteY8552" fmla="*/ 497959 h 1729012"/>
                <a:gd name="connsiteX8553" fmla="*/ 603565 w 2240198"/>
                <a:gd name="connsiteY8553" fmla="*/ 500974 h 1729012"/>
                <a:gd name="connsiteX8554" fmla="*/ 609865 w 2240198"/>
                <a:gd name="connsiteY8554" fmla="*/ 504438 h 1729012"/>
                <a:gd name="connsiteX8555" fmla="*/ 615647 w 2240198"/>
                <a:gd name="connsiteY8555" fmla="*/ 508121 h 1729012"/>
                <a:gd name="connsiteX8556" fmla="*/ 635036 w 2240198"/>
                <a:gd name="connsiteY8556" fmla="*/ 521912 h 1729012"/>
                <a:gd name="connsiteX8557" fmla="*/ 643236 w 2240198"/>
                <a:gd name="connsiteY8557" fmla="*/ 525964 h 1729012"/>
                <a:gd name="connsiteX8558" fmla="*/ 646371 w 2240198"/>
                <a:gd name="connsiteY8558" fmla="*/ 528262 h 1729012"/>
                <a:gd name="connsiteX8559" fmla="*/ 647767 w 2240198"/>
                <a:gd name="connsiteY8559" fmla="*/ 529934 h 1729012"/>
                <a:gd name="connsiteX8560" fmla="*/ 648987 w 2240198"/>
                <a:gd name="connsiteY8560" fmla="*/ 532030 h 1729012"/>
                <a:gd name="connsiteX8561" fmla="*/ 649360 w 2240198"/>
                <a:gd name="connsiteY8561" fmla="*/ 533987 h 1729012"/>
                <a:gd name="connsiteX8562" fmla="*/ 648884 w 2240198"/>
                <a:gd name="connsiteY8562" fmla="*/ 535804 h 1729012"/>
                <a:gd name="connsiteX8563" fmla="*/ 647989 w 2240198"/>
                <a:gd name="connsiteY8563" fmla="*/ 537072 h 1729012"/>
                <a:gd name="connsiteX8564" fmla="*/ 646023 w 2240198"/>
                <a:gd name="connsiteY8564" fmla="*/ 538154 h 1729012"/>
                <a:gd name="connsiteX8565" fmla="*/ 634160 w 2240198"/>
                <a:gd name="connsiteY8565" fmla="*/ 542717 h 1729012"/>
                <a:gd name="connsiteX8566" fmla="*/ 627914 w 2240198"/>
                <a:gd name="connsiteY8566" fmla="*/ 544113 h 1729012"/>
                <a:gd name="connsiteX8567" fmla="*/ 621729 w 2240198"/>
                <a:gd name="connsiteY8567" fmla="*/ 546127 h 1729012"/>
                <a:gd name="connsiteX8568" fmla="*/ 606948 w 2240198"/>
                <a:gd name="connsiteY8568" fmla="*/ 553219 h 1729012"/>
                <a:gd name="connsiteX8569" fmla="*/ 596831 w 2240198"/>
                <a:gd name="connsiteY8569" fmla="*/ 556589 h 1729012"/>
                <a:gd name="connsiteX8570" fmla="*/ 583677 w 2240198"/>
                <a:gd name="connsiteY8570" fmla="*/ 563144 h 1729012"/>
                <a:gd name="connsiteX8571" fmla="*/ 558870 w 2240198"/>
                <a:gd name="connsiteY8571" fmla="*/ 573648 h 1729012"/>
                <a:gd name="connsiteX8572" fmla="*/ 555918 w 2240198"/>
                <a:gd name="connsiteY8572" fmla="*/ 575750 h 1729012"/>
                <a:gd name="connsiteX8573" fmla="*/ 554559 w 2240198"/>
                <a:gd name="connsiteY8573" fmla="*/ 577261 h 1729012"/>
                <a:gd name="connsiteX8574" fmla="*/ 547555 w 2240198"/>
                <a:gd name="connsiteY8574" fmla="*/ 589146 h 1729012"/>
                <a:gd name="connsiteX8575" fmla="*/ 544891 w 2240198"/>
                <a:gd name="connsiteY8575" fmla="*/ 591897 h 1729012"/>
                <a:gd name="connsiteX8576" fmla="*/ 538434 w 2240198"/>
                <a:gd name="connsiteY8576" fmla="*/ 594697 h 1729012"/>
                <a:gd name="connsiteX8577" fmla="*/ 530262 w 2240198"/>
                <a:gd name="connsiteY8577" fmla="*/ 595397 h 1729012"/>
                <a:gd name="connsiteX8578" fmla="*/ 527977 w 2240198"/>
                <a:gd name="connsiteY8578" fmla="*/ 596182 h 1729012"/>
                <a:gd name="connsiteX8579" fmla="*/ 527608 w 2240198"/>
                <a:gd name="connsiteY8579" fmla="*/ 600262 h 1729012"/>
                <a:gd name="connsiteX8580" fmla="*/ 524678 w 2240198"/>
                <a:gd name="connsiteY8580" fmla="*/ 607021 h 1729012"/>
                <a:gd name="connsiteX8581" fmla="*/ 523251 w 2240198"/>
                <a:gd name="connsiteY8581" fmla="*/ 611560 h 1729012"/>
                <a:gd name="connsiteX8582" fmla="*/ 521301 w 2240198"/>
                <a:gd name="connsiteY8582" fmla="*/ 623668 h 1729012"/>
                <a:gd name="connsiteX8583" fmla="*/ 520851 w 2240198"/>
                <a:gd name="connsiteY8583" fmla="*/ 624876 h 1729012"/>
                <a:gd name="connsiteX8584" fmla="*/ 519362 w 2240198"/>
                <a:gd name="connsiteY8584" fmla="*/ 627110 h 1729012"/>
                <a:gd name="connsiteX8585" fmla="*/ 516834 w 2240198"/>
                <a:gd name="connsiteY8585" fmla="*/ 629531 h 1729012"/>
                <a:gd name="connsiteX8586" fmla="*/ 508948 w 2240198"/>
                <a:gd name="connsiteY8586" fmla="*/ 632315 h 1729012"/>
                <a:gd name="connsiteX8587" fmla="*/ 503130 w 2240198"/>
                <a:gd name="connsiteY8587" fmla="*/ 633776 h 1729012"/>
                <a:gd name="connsiteX8588" fmla="*/ 495210 w 2240198"/>
                <a:gd name="connsiteY8588" fmla="*/ 634989 h 1729012"/>
                <a:gd name="connsiteX8589" fmla="*/ 493316 w 2240198"/>
                <a:gd name="connsiteY8589" fmla="*/ 634159 h 1729012"/>
                <a:gd name="connsiteX8590" fmla="*/ 491406 w 2240198"/>
                <a:gd name="connsiteY8590" fmla="*/ 632251 h 1729012"/>
                <a:gd name="connsiteX8591" fmla="*/ 489415 w 2240198"/>
                <a:gd name="connsiteY8591" fmla="*/ 632085 h 1729012"/>
                <a:gd name="connsiteX8592" fmla="*/ 488181 w 2240198"/>
                <a:gd name="connsiteY8592" fmla="*/ 632383 h 1729012"/>
                <a:gd name="connsiteX8593" fmla="*/ 477854 w 2240198"/>
                <a:gd name="connsiteY8593" fmla="*/ 640730 h 1729012"/>
                <a:gd name="connsiteX8594" fmla="*/ 467892 w 2240198"/>
                <a:gd name="connsiteY8594" fmla="*/ 644097 h 1729012"/>
                <a:gd name="connsiteX8595" fmla="*/ 463575 w 2240198"/>
                <a:gd name="connsiteY8595" fmla="*/ 647135 h 1729012"/>
                <a:gd name="connsiteX8596" fmla="*/ 460528 w 2240198"/>
                <a:gd name="connsiteY8596" fmla="*/ 648561 h 1729012"/>
                <a:gd name="connsiteX8597" fmla="*/ 458079 w 2240198"/>
                <a:gd name="connsiteY8597" fmla="*/ 649000 h 1729012"/>
                <a:gd name="connsiteX8598" fmla="*/ 454043 w 2240198"/>
                <a:gd name="connsiteY8598" fmla="*/ 648731 h 1729012"/>
                <a:gd name="connsiteX8599" fmla="*/ 451130 w 2240198"/>
                <a:gd name="connsiteY8599" fmla="*/ 647354 h 1729012"/>
                <a:gd name="connsiteX8600" fmla="*/ 448489 w 2240198"/>
                <a:gd name="connsiteY8600" fmla="*/ 645230 h 1729012"/>
                <a:gd name="connsiteX8601" fmla="*/ 446496 w 2240198"/>
                <a:gd name="connsiteY8601" fmla="*/ 642920 h 1729012"/>
                <a:gd name="connsiteX8602" fmla="*/ 441378 w 2240198"/>
                <a:gd name="connsiteY8602" fmla="*/ 633392 h 1729012"/>
                <a:gd name="connsiteX8603" fmla="*/ 439180 w 2240198"/>
                <a:gd name="connsiteY8603" fmla="*/ 630123 h 1729012"/>
                <a:gd name="connsiteX8604" fmla="*/ 437311 w 2240198"/>
                <a:gd name="connsiteY8604" fmla="*/ 628488 h 1729012"/>
                <a:gd name="connsiteX8605" fmla="*/ 432297 w 2240198"/>
                <a:gd name="connsiteY8605" fmla="*/ 622651 h 1729012"/>
                <a:gd name="connsiteX8606" fmla="*/ 430915 w 2240198"/>
                <a:gd name="connsiteY8606" fmla="*/ 621479 h 1729012"/>
                <a:gd name="connsiteX8607" fmla="*/ 411843 w 2240198"/>
                <a:gd name="connsiteY8607" fmla="*/ 614055 h 1729012"/>
                <a:gd name="connsiteX8608" fmla="*/ 402559 w 2240198"/>
                <a:gd name="connsiteY8608" fmla="*/ 609880 h 1729012"/>
                <a:gd name="connsiteX8609" fmla="*/ 400314 w 2240198"/>
                <a:gd name="connsiteY8609" fmla="*/ 608406 h 1729012"/>
                <a:gd name="connsiteX8610" fmla="*/ 398234 w 2240198"/>
                <a:gd name="connsiteY8610" fmla="*/ 607544 h 1729012"/>
                <a:gd name="connsiteX8611" fmla="*/ 386310 w 2240198"/>
                <a:gd name="connsiteY8611" fmla="*/ 608121 h 1729012"/>
                <a:gd name="connsiteX8612" fmla="*/ 384733 w 2240198"/>
                <a:gd name="connsiteY8612" fmla="*/ 607895 h 1729012"/>
                <a:gd name="connsiteX8613" fmla="*/ 384322 w 2240198"/>
                <a:gd name="connsiteY8613" fmla="*/ 607278 h 1729012"/>
                <a:gd name="connsiteX8614" fmla="*/ 385733 w 2240198"/>
                <a:gd name="connsiteY8614" fmla="*/ 605085 h 1729012"/>
                <a:gd name="connsiteX8615" fmla="*/ 386290 w 2240198"/>
                <a:gd name="connsiteY8615" fmla="*/ 603700 h 1729012"/>
                <a:gd name="connsiteX8616" fmla="*/ 386473 w 2240198"/>
                <a:gd name="connsiteY8616" fmla="*/ 602341 h 1729012"/>
                <a:gd name="connsiteX8617" fmla="*/ 386268 w 2240198"/>
                <a:gd name="connsiteY8617" fmla="*/ 600148 h 1729012"/>
                <a:gd name="connsiteX8618" fmla="*/ 386420 w 2240198"/>
                <a:gd name="connsiteY8618" fmla="*/ 599752 h 1729012"/>
                <a:gd name="connsiteX8619" fmla="*/ 390953 w 2240198"/>
                <a:gd name="connsiteY8619" fmla="*/ 597588 h 1729012"/>
                <a:gd name="connsiteX8620" fmla="*/ 390218 w 2240198"/>
                <a:gd name="connsiteY8620" fmla="*/ 597139 h 1729012"/>
                <a:gd name="connsiteX8621" fmla="*/ 389686 w 2240198"/>
                <a:gd name="connsiteY8621" fmla="*/ 596293 h 1729012"/>
                <a:gd name="connsiteX8622" fmla="*/ 389356 w 2240198"/>
                <a:gd name="connsiteY8622" fmla="*/ 595046 h 1729012"/>
                <a:gd name="connsiteX8623" fmla="*/ 389850 w 2240198"/>
                <a:gd name="connsiteY8623" fmla="*/ 594175 h 1729012"/>
                <a:gd name="connsiteX8624" fmla="*/ 391164 w 2240198"/>
                <a:gd name="connsiteY8624" fmla="*/ 593678 h 1729012"/>
                <a:gd name="connsiteX8625" fmla="*/ 392764 w 2240198"/>
                <a:gd name="connsiteY8625" fmla="*/ 591657 h 1729012"/>
                <a:gd name="connsiteX8626" fmla="*/ 394648 w 2240198"/>
                <a:gd name="connsiteY8626" fmla="*/ 588110 h 1729012"/>
                <a:gd name="connsiteX8627" fmla="*/ 396050 w 2240198"/>
                <a:gd name="connsiteY8627" fmla="*/ 586117 h 1729012"/>
                <a:gd name="connsiteX8628" fmla="*/ 397998 w 2240198"/>
                <a:gd name="connsiteY8628" fmla="*/ 584832 h 1729012"/>
                <a:gd name="connsiteX8629" fmla="*/ 401488 w 2240198"/>
                <a:gd name="connsiteY8629" fmla="*/ 581394 h 1729012"/>
                <a:gd name="connsiteX8630" fmla="*/ 403977 w 2240198"/>
                <a:gd name="connsiteY8630" fmla="*/ 580004 h 1729012"/>
                <a:gd name="connsiteX8631" fmla="*/ 406083 w 2240198"/>
                <a:gd name="connsiteY8631" fmla="*/ 578261 h 1729012"/>
                <a:gd name="connsiteX8632" fmla="*/ 406145 w 2240198"/>
                <a:gd name="connsiteY8632" fmla="*/ 577475 h 1729012"/>
                <a:gd name="connsiteX8633" fmla="*/ 405286 w 2240198"/>
                <a:gd name="connsiteY8633" fmla="*/ 576870 h 1729012"/>
                <a:gd name="connsiteX8634" fmla="*/ 404990 w 2240198"/>
                <a:gd name="connsiteY8634" fmla="*/ 575538 h 1729012"/>
                <a:gd name="connsiteX8635" fmla="*/ 405382 w 2240198"/>
                <a:gd name="connsiteY8635" fmla="*/ 571373 h 1729012"/>
                <a:gd name="connsiteX8636" fmla="*/ 405365 w 2240198"/>
                <a:gd name="connsiteY8636" fmla="*/ 569225 h 1729012"/>
                <a:gd name="connsiteX8637" fmla="*/ 405747 w 2240198"/>
                <a:gd name="connsiteY8637" fmla="*/ 567431 h 1729012"/>
                <a:gd name="connsiteX8638" fmla="*/ 406526 w 2240198"/>
                <a:gd name="connsiteY8638" fmla="*/ 565986 h 1729012"/>
                <a:gd name="connsiteX8639" fmla="*/ 407510 w 2240198"/>
                <a:gd name="connsiteY8639" fmla="*/ 565027 h 1729012"/>
                <a:gd name="connsiteX8640" fmla="*/ 416340 w 2240198"/>
                <a:gd name="connsiteY8640" fmla="*/ 561997 h 1729012"/>
                <a:gd name="connsiteX8641" fmla="*/ 416788 w 2240198"/>
                <a:gd name="connsiteY8641" fmla="*/ 561118 h 1729012"/>
                <a:gd name="connsiteX8642" fmla="*/ 416892 w 2240198"/>
                <a:gd name="connsiteY8642" fmla="*/ 560108 h 1729012"/>
                <a:gd name="connsiteX8643" fmla="*/ 416654 w 2240198"/>
                <a:gd name="connsiteY8643" fmla="*/ 558962 h 1729012"/>
                <a:gd name="connsiteX8644" fmla="*/ 416196 w 2240198"/>
                <a:gd name="connsiteY8644" fmla="*/ 558158 h 1729012"/>
                <a:gd name="connsiteX8645" fmla="*/ 414800 w 2240198"/>
                <a:gd name="connsiteY8645" fmla="*/ 557500 h 1729012"/>
                <a:gd name="connsiteX8646" fmla="*/ 412439 w 2240198"/>
                <a:gd name="connsiteY8646" fmla="*/ 557318 h 1729012"/>
                <a:gd name="connsiteX8647" fmla="*/ 410395 w 2240198"/>
                <a:gd name="connsiteY8647" fmla="*/ 555569 h 1729012"/>
                <a:gd name="connsiteX8648" fmla="*/ 409904 w 2240198"/>
                <a:gd name="connsiteY8648" fmla="*/ 554723 h 1729012"/>
                <a:gd name="connsiteX8649" fmla="*/ 410725 w 2240198"/>
                <a:gd name="connsiteY8649" fmla="*/ 552326 h 1729012"/>
                <a:gd name="connsiteX8650" fmla="*/ 414709 w 2240198"/>
                <a:gd name="connsiteY8650" fmla="*/ 548501 h 1729012"/>
                <a:gd name="connsiteX8651" fmla="*/ 416051 w 2240198"/>
                <a:gd name="connsiteY8651" fmla="*/ 546610 h 1729012"/>
                <a:gd name="connsiteX8652" fmla="*/ 420356 w 2240198"/>
                <a:gd name="connsiteY8652" fmla="*/ 538057 h 1729012"/>
                <a:gd name="connsiteX8653" fmla="*/ 428218 w 2240198"/>
                <a:gd name="connsiteY8653" fmla="*/ 532741 h 1729012"/>
                <a:gd name="connsiteX8654" fmla="*/ 430348 w 2240198"/>
                <a:gd name="connsiteY8654" fmla="*/ 527010 h 1729012"/>
                <a:gd name="connsiteX8655" fmla="*/ 436253 w 2240198"/>
                <a:gd name="connsiteY8655" fmla="*/ 520915 h 1729012"/>
                <a:gd name="connsiteX8656" fmla="*/ 436239 w 2240198"/>
                <a:gd name="connsiteY8656" fmla="*/ 520071 h 1729012"/>
                <a:gd name="connsiteX8657" fmla="*/ 434331 w 2240198"/>
                <a:gd name="connsiteY8657" fmla="*/ 517986 h 1729012"/>
                <a:gd name="connsiteX8658" fmla="*/ 428881 w 2240198"/>
                <a:gd name="connsiteY8658" fmla="*/ 516542 h 1729012"/>
                <a:gd name="connsiteX8659" fmla="*/ 426257 w 2240198"/>
                <a:gd name="connsiteY8659" fmla="*/ 514313 h 1729012"/>
                <a:gd name="connsiteX8660" fmla="*/ 424502 w 2240198"/>
                <a:gd name="connsiteY8660" fmla="*/ 511779 h 1729012"/>
                <a:gd name="connsiteX8661" fmla="*/ 416524 w 2240198"/>
                <a:gd name="connsiteY8661" fmla="*/ 497143 h 1729012"/>
                <a:gd name="connsiteX8662" fmla="*/ 415160 w 2240198"/>
                <a:gd name="connsiteY8662" fmla="*/ 496052 h 1729012"/>
                <a:gd name="connsiteX8663" fmla="*/ 414757 w 2240198"/>
                <a:gd name="connsiteY8663" fmla="*/ 494341 h 1729012"/>
                <a:gd name="connsiteX8664" fmla="*/ 413127 w 2240198"/>
                <a:gd name="connsiteY8664" fmla="*/ 493210 h 1729012"/>
                <a:gd name="connsiteX8665" fmla="*/ 413459 w 2240198"/>
                <a:gd name="connsiteY8665" fmla="*/ 492153 h 1729012"/>
                <a:gd name="connsiteX8666" fmla="*/ 444594 w 2240198"/>
                <a:gd name="connsiteY8666" fmla="*/ 487758 h 1729012"/>
                <a:gd name="connsiteX8667" fmla="*/ 466024 w 2240198"/>
                <a:gd name="connsiteY8667" fmla="*/ 486355 h 1729012"/>
                <a:gd name="connsiteX8668" fmla="*/ 488218 w 2240198"/>
                <a:gd name="connsiteY8668" fmla="*/ 482523 h 1729012"/>
                <a:gd name="connsiteX8669" fmla="*/ 1105175 w 2240198"/>
                <a:gd name="connsiteY8669" fmla="*/ 478208 h 1729012"/>
                <a:gd name="connsiteX8670" fmla="*/ 1107666 w 2240198"/>
                <a:gd name="connsiteY8670" fmla="*/ 479644 h 1729012"/>
                <a:gd name="connsiteX8671" fmla="*/ 1108349 w 2240198"/>
                <a:gd name="connsiteY8671" fmla="*/ 480730 h 1729012"/>
                <a:gd name="connsiteX8672" fmla="*/ 1108030 w 2240198"/>
                <a:gd name="connsiteY8672" fmla="*/ 481568 h 1729012"/>
                <a:gd name="connsiteX8673" fmla="*/ 1106720 w 2240198"/>
                <a:gd name="connsiteY8673" fmla="*/ 483241 h 1729012"/>
                <a:gd name="connsiteX8674" fmla="*/ 1099098 w 2240198"/>
                <a:gd name="connsiteY8674" fmla="*/ 486279 h 1729012"/>
                <a:gd name="connsiteX8675" fmla="*/ 1097439 w 2240198"/>
                <a:gd name="connsiteY8675" fmla="*/ 485100 h 1729012"/>
                <a:gd name="connsiteX8676" fmla="*/ 1096718 w 2240198"/>
                <a:gd name="connsiteY8676" fmla="*/ 484031 h 1729012"/>
                <a:gd name="connsiteX8677" fmla="*/ 1102644 w 2240198"/>
                <a:gd name="connsiteY8677" fmla="*/ 479418 h 1729012"/>
                <a:gd name="connsiteX8678" fmla="*/ 1149702 w 2240198"/>
                <a:gd name="connsiteY8678" fmla="*/ 477688 h 1729012"/>
                <a:gd name="connsiteX8679" fmla="*/ 1153512 w 2240198"/>
                <a:gd name="connsiteY8679" fmla="*/ 477696 h 1729012"/>
                <a:gd name="connsiteX8680" fmla="*/ 1157509 w 2240198"/>
                <a:gd name="connsiteY8680" fmla="*/ 480263 h 1729012"/>
                <a:gd name="connsiteX8681" fmla="*/ 1159390 w 2240198"/>
                <a:gd name="connsiteY8681" fmla="*/ 482578 h 1729012"/>
                <a:gd name="connsiteX8682" fmla="*/ 1159490 w 2240198"/>
                <a:gd name="connsiteY8682" fmla="*/ 483598 h 1729012"/>
                <a:gd name="connsiteX8683" fmla="*/ 1158673 w 2240198"/>
                <a:gd name="connsiteY8683" fmla="*/ 484289 h 1729012"/>
                <a:gd name="connsiteX8684" fmla="*/ 1157511 w 2240198"/>
                <a:gd name="connsiteY8684" fmla="*/ 484541 h 1729012"/>
                <a:gd name="connsiteX8685" fmla="*/ 1155254 w 2240198"/>
                <a:gd name="connsiteY8685" fmla="*/ 484254 h 1729012"/>
                <a:gd name="connsiteX8686" fmla="*/ 1146741 w 2240198"/>
                <a:gd name="connsiteY8686" fmla="*/ 482017 h 1729012"/>
                <a:gd name="connsiteX8687" fmla="*/ 1145292 w 2240198"/>
                <a:gd name="connsiteY8687" fmla="*/ 481098 h 1729012"/>
                <a:gd name="connsiteX8688" fmla="*/ 1144877 w 2240198"/>
                <a:gd name="connsiteY8688" fmla="*/ 480424 h 1729012"/>
                <a:gd name="connsiteX8689" fmla="*/ 1146812 w 2240198"/>
                <a:gd name="connsiteY8689" fmla="*/ 479610 h 1729012"/>
                <a:gd name="connsiteX8690" fmla="*/ 1147543 w 2240198"/>
                <a:gd name="connsiteY8690" fmla="*/ 478742 h 1729012"/>
                <a:gd name="connsiteX8691" fmla="*/ 929461 w 2240198"/>
                <a:gd name="connsiteY8691" fmla="*/ 437438 h 1729012"/>
                <a:gd name="connsiteX8692" fmla="*/ 936347 w 2240198"/>
                <a:gd name="connsiteY8692" fmla="*/ 437717 h 1729012"/>
                <a:gd name="connsiteX8693" fmla="*/ 940345 w 2240198"/>
                <a:gd name="connsiteY8693" fmla="*/ 439390 h 1729012"/>
                <a:gd name="connsiteX8694" fmla="*/ 942013 w 2240198"/>
                <a:gd name="connsiteY8694" fmla="*/ 440467 h 1729012"/>
                <a:gd name="connsiteX8695" fmla="*/ 943207 w 2240198"/>
                <a:gd name="connsiteY8695" fmla="*/ 441760 h 1729012"/>
                <a:gd name="connsiteX8696" fmla="*/ 944379 w 2240198"/>
                <a:gd name="connsiteY8696" fmla="*/ 444645 h 1729012"/>
                <a:gd name="connsiteX8697" fmla="*/ 944668 w 2240198"/>
                <a:gd name="connsiteY8697" fmla="*/ 446515 h 1729012"/>
                <a:gd name="connsiteX8698" fmla="*/ 946678 w 2240198"/>
                <a:gd name="connsiteY8698" fmla="*/ 448644 h 1729012"/>
                <a:gd name="connsiteX8699" fmla="*/ 947279 w 2240198"/>
                <a:gd name="connsiteY8699" fmla="*/ 449873 h 1729012"/>
                <a:gd name="connsiteX8700" fmla="*/ 947315 w 2240198"/>
                <a:gd name="connsiteY8700" fmla="*/ 451076 h 1729012"/>
                <a:gd name="connsiteX8701" fmla="*/ 946753 w 2240198"/>
                <a:gd name="connsiteY8701" fmla="*/ 452292 h 1729012"/>
                <a:gd name="connsiteX8702" fmla="*/ 945600 w 2240198"/>
                <a:gd name="connsiteY8702" fmla="*/ 453517 h 1729012"/>
                <a:gd name="connsiteX8703" fmla="*/ 942958 w 2240198"/>
                <a:gd name="connsiteY8703" fmla="*/ 455309 h 1729012"/>
                <a:gd name="connsiteX8704" fmla="*/ 935200 w 2240198"/>
                <a:gd name="connsiteY8704" fmla="*/ 457513 h 1729012"/>
                <a:gd name="connsiteX8705" fmla="*/ 930413 w 2240198"/>
                <a:gd name="connsiteY8705" fmla="*/ 457786 h 1729012"/>
                <a:gd name="connsiteX8706" fmla="*/ 922156 w 2240198"/>
                <a:gd name="connsiteY8706" fmla="*/ 456246 h 1729012"/>
                <a:gd name="connsiteX8707" fmla="*/ 917242 w 2240198"/>
                <a:gd name="connsiteY8707" fmla="*/ 453276 h 1729012"/>
                <a:gd name="connsiteX8708" fmla="*/ 915739 w 2240198"/>
                <a:gd name="connsiteY8708" fmla="*/ 451850 h 1729012"/>
                <a:gd name="connsiteX8709" fmla="*/ 915886 w 2240198"/>
                <a:gd name="connsiteY8709" fmla="*/ 451201 h 1729012"/>
                <a:gd name="connsiteX8710" fmla="*/ 916735 w 2240198"/>
                <a:gd name="connsiteY8710" fmla="*/ 450561 h 1729012"/>
                <a:gd name="connsiteX8711" fmla="*/ 917922 w 2240198"/>
                <a:gd name="connsiteY8711" fmla="*/ 448627 h 1729012"/>
                <a:gd name="connsiteX8712" fmla="*/ 920735 w 2240198"/>
                <a:gd name="connsiteY8712" fmla="*/ 443029 h 1729012"/>
                <a:gd name="connsiteX8713" fmla="*/ 921789 w 2240198"/>
                <a:gd name="connsiteY8713" fmla="*/ 441543 h 1729012"/>
                <a:gd name="connsiteX8714" fmla="*/ 926217 w 2240198"/>
                <a:gd name="connsiteY8714" fmla="*/ 438304 h 1729012"/>
                <a:gd name="connsiteX8715" fmla="*/ 1169537 w 2240198"/>
                <a:gd name="connsiteY8715" fmla="*/ 427159 h 1729012"/>
                <a:gd name="connsiteX8716" fmla="*/ 1175358 w 2240198"/>
                <a:gd name="connsiteY8716" fmla="*/ 427519 h 1729012"/>
                <a:gd name="connsiteX8717" fmla="*/ 1180971 w 2240198"/>
                <a:gd name="connsiteY8717" fmla="*/ 429047 h 1729012"/>
                <a:gd name="connsiteX8718" fmla="*/ 1185296 w 2240198"/>
                <a:gd name="connsiteY8718" fmla="*/ 431580 h 1729012"/>
                <a:gd name="connsiteX8719" fmla="*/ 1194110 w 2240198"/>
                <a:gd name="connsiteY8719" fmla="*/ 437819 h 1729012"/>
                <a:gd name="connsiteX8720" fmla="*/ 1198122 w 2240198"/>
                <a:gd name="connsiteY8720" fmla="*/ 441581 h 1729012"/>
                <a:gd name="connsiteX8721" fmla="*/ 1200252 w 2240198"/>
                <a:gd name="connsiteY8721" fmla="*/ 445438 h 1729012"/>
                <a:gd name="connsiteX8722" fmla="*/ 1202170 w 2240198"/>
                <a:gd name="connsiteY8722" fmla="*/ 447647 h 1729012"/>
                <a:gd name="connsiteX8723" fmla="*/ 1204545 w 2240198"/>
                <a:gd name="connsiteY8723" fmla="*/ 452404 h 1729012"/>
                <a:gd name="connsiteX8724" fmla="*/ 1203678 w 2240198"/>
                <a:gd name="connsiteY8724" fmla="*/ 454262 h 1729012"/>
                <a:gd name="connsiteX8725" fmla="*/ 1203169 w 2240198"/>
                <a:gd name="connsiteY8725" fmla="*/ 456759 h 1729012"/>
                <a:gd name="connsiteX8726" fmla="*/ 1203403 w 2240198"/>
                <a:gd name="connsiteY8726" fmla="*/ 457939 h 1729012"/>
                <a:gd name="connsiteX8727" fmla="*/ 1205034 w 2240198"/>
                <a:gd name="connsiteY8727" fmla="*/ 461791 h 1729012"/>
                <a:gd name="connsiteX8728" fmla="*/ 1205329 w 2240198"/>
                <a:gd name="connsiteY8728" fmla="*/ 463341 h 1729012"/>
                <a:gd name="connsiteX8729" fmla="*/ 1205409 w 2240198"/>
                <a:gd name="connsiteY8729" fmla="*/ 466621 h 1729012"/>
                <a:gd name="connsiteX8730" fmla="*/ 1204715 w 2240198"/>
                <a:gd name="connsiteY8730" fmla="*/ 470888 h 1729012"/>
                <a:gd name="connsiteX8731" fmla="*/ 1204250 w 2240198"/>
                <a:gd name="connsiteY8731" fmla="*/ 471669 h 1729012"/>
                <a:gd name="connsiteX8732" fmla="*/ 1203580 w 2240198"/>
                <a:gd name="connsiteY8732" fmla="*/ 472030 h 1729012"/>
                <a:gd name="connsiteX8733" fmla="*/ 1203258 w 2240198"/>
                <a:gd name="connsiteY8733" fmla="*/ 473127 h 1729012"/>
                <a:gd name="connsiteX8734" fmla="*/ 1203287 w 2240198"/>
                <a:gd name="connsiteY8734" fmla="*/ 474964 h 1729012"/>
                <a:gd name="connsiteX8735" fmla="*/ 1202629 w 2240198"/>
                <a:gd name="connsiteY8735" fmla="*/ 476082 h 1729012"/>
                <a:gd name="connsiteX8736" fmla="*/ 1201284 w 2240198"/>
                <a:gd name="connsiteY8736" fmla="*/ 476482 h 1729012"/>
                <a:gd name="connsiteX8737" fmla="*/ 1192196 w 2240198"/>
                <a:gd name="connsiteY8737" fmla="*/ 477323 h 1729012"/>
                <a:gd name="connsiteX8738" fmla="*/ 1186579 w 2240198"/>
                <a:gd name="connsiteY8738" fmla="*/ 477160 h 1729012"/>
                <a:gd name="connsiteX8739" fmla="*/ 1178251 w 2240198"/>
                <a:gd name="connsiteY8739" fmla="*/ 477698 h 1729012"/>
                <a:gd name="connsiteX8740" fmla="*/ 1174125 w 2240198"/>
                <a:gd name="connsiteY8740" fmla="*/ 477423 h 1729012"/>
                <a:gd name="connsiteX8741" fmla="*/ 1171422 w 2240198"/>
                <a:gd name="connsiteY8741" fmla="*/ 476521 h 1729012"/>
                <a:gd name="connsiteX8742" fmla="*/ 1167494 w 2240198"/>
                <a:gd name="connsiteY8742" fmla="*/ 474517 h 1729012"/>
                <a:gd name="connsiteX8743" fmla="*/ 1159194 w 2240198"/>
                <a:gd name="connsiteY8743" fmla="*/ 469772 h 1729012"/>
                <a:gd name="connsiteX8744" fmla="*/ 1155007 w 2240198"/>
                <a:gd name="connsiteY8744" fmla="*/ 469607 h 1729012"/>
                <a:gd name="connsiteX8745" fmla="*/ 1144504 w 2240198"/>
                <a:gd name="connsiteY8745" fmla="*/ 467938 h 1729012"/>
                <a:gd name="connsiteX8746" fmla="*/ 1138702 w 2240198"/>
                <a:gd name="connsiteY8746" fmla="*/ 462775 h 1729012"/>
                <a:gd name="connsiteX8747" fmla="*/ 1136483 w 2240198"/>
                <a:gd name="connsiteY8747" fmla="*/ 461850 h 1729012"/>
                <a:gd name="connsiteX8748" fmla="*/ 1134243 w 2240198"/>
                <a:gd name="connsiteY8748" fmla="*/ 463393 h 1729012"/>
                <a:gd name="connsiteX8749" fmla="*/ 1133632 w 2240198"/>
                <a:gd name="connsiteY8749" fmla="*/ 463044 h 1729012"/>
                <a:gd name="connsiteX8750" fmla="*/ 1133014 w 2240198"/>
                <a:gd name="connsiteY8750" fmla="*/ 462006 h 1729012"/>
                <a:gd name="connsiteX8751" fmla="*/ 1132390 w 2240198"/>
                <a:gd name="connsiteY8751" fmla="*/ 460271 h 1729012"/>
                <a:gd name="connsiteX8752" fmla="*/ 1131296 w 2240198"/>
                <a:gd name="connsiteY8752" fmla="*/ 459383 h 1729012"/>
                <a:gd name="connsiteX8753" fmla="*/ 1126896 w 2240198"/>
                <a:gd name="connsiteY8753" fmla="*/ 459844 h 1729012"/>
                <a:gd name="connsiteX8754" fmla="*/ 1126101 w 2240198"/>
                <a:gd name="connsiteY8754" fmla="*/ 459261 h 1729012"/>
                <a:gd name="connsiteX8755" fmla="*/ 1125888 w 2240198"/>
                <a:gd name="connsiteY8755" fmla="*/ 457743 h 1729012"/>
                <a:gd name="connsiteX8756" fmla="*/ 1125955 w 2240198"/>
                <a:gd name="connsiteY8756" fmla="*/ 456420 h 1729012"/>
                <a:gd name="connsiteX8757" fmla="*/ 1126746 w 2240198"/>
                <a:gd name="connsiteY8757" fmla="*/ 454343 h 1729012"/>
                <a:gd name="connsiteX8758" fmla="*/ 1131384 w 2240198"/>
                <a:gd name="connsiteY8758" fmla="*/ 448608 h 1729012"/>
                <a:gd name="connsiteX8759" fmla="*/ 1133677 w 2240198"/>
                <a:gd name="connsiteY8759" fmla="*/ 448206 h 1729012"/>
                <a:gd name="connsiteX8760" fmla="*/ 1136518 w 2240198"/>
                <a:gd name="connsiteY8760" fmla="*/ 447145 h 1729012"/>
                <a:gd name="connsiteX8761" fmla="*/ 1138089 w 2240198"/>
                <a:gd name="connsiteY8761" fmla="*/ 444040 h 1729012"/>
                <a:gd name="connsiteX8762" fmla="*/ 1137925 w 2240198"/>
                <a:gd name="connsiteY8762" fmla="*/ 441107 h 1729012"/>
                <a:gd name="connsiteX8763" fmla="*/ 1142242 w 2240198"/>
                <a:gd name="connsiteY8763" fmla="*/ 436727 h 1729012"/>
                <a:gd name="connsiteX8764" fmla="*/ 1144814 w 2240198"/>
                <a:gd name="connsiteY8764" fmla="*/ 435434 h 1729012"/>
                <a:gd name="connsiteX8765" fmla="*/ 1149439 w 2240198"/>
                <a:gd name="connsiteY8765" fmla="*/ 432373 h 1729012"/>
                <a:gd name="connsiteX8766" fmla="*/ 1165193 w 2240198"/>
                <a:gd name="connsiteY8766" fmla="*/ 427581 h 1729012"/>
                <a:gd name="connsiteX8767" fmla="*/ 1131765 w 2240198"/>
                <a:gd name="connsiteY8767" fmla="*/ 425890 h 1729012"/>
                <a:gd name="connsiteX8768" fmla="*/ 1137405 w 2240198"/>
                <a:gd name="connsiteY8768" fmla="*/ 428008 h 1729012"/>
                <a:gd name="connsiteX8769" fmla="*/ 1140081 w 2240198"/>
                <a:gd name="connsiteY8769" fmla="*/ 429436 h 1729012"/>
                <a:gd name="connsiteX8770" fmla="*/ 1142110 w 2240198"/>
                <a:gd name="connsiteY8770" fmla="*/ 431053 h 1729012"/>
                <a:gd name="connsiteX8771" fmla="*/ 1141888 w 2240198"/>
                <a:gd name="connsiteY8771" fmla="*/ 431695 h 1729012"/>
                <a:gd name="connsiteX8772" fmla="*/ 1139099 w 2240198"/>
                <a:gd name="connsiteY8772" fmla="*/ 433325 h 1729012"/>
                <a:gd name="connsiteX8773" fmla="*/ 1137126 w 2240198"/>
                <a:gd name="connsiteY8773" fmla="*/ 435012 h 1729012"/>
                <a:gd name="connsiteX8774" fmla="*/ 1135092 w 2240198"/>
                <a:gd name="connsiteY8774" fmla="*/ 435137 h 1729012"/>
                <a:gd name="connsiteX8775" fmla="*/ 1132357 w 2240198"/>
                <a:gd name="connsiteY8775" fmla="*/ 433539 h 1729012"/>
                <a:gd name="connsiteX8776" fmla="*/ 1129387 w 2240198"/>
                <a:gd name="connsiteY8776" fmla="*/ 434140 h 1729012"/>
                <a:gd name="connsiteX8777" fmla="*/ 1125320 w 2240198"/>
                <a:gd name="connsiteY8777" fmla="*/ 437368 h 1729012"/>
                <a:gd name="connsiteX8778" fmla="*/ 1123874 w 2240198"/>
                <a:gd name="connsiteY8778" fmla="*/ 439269 h 1729012"/>
                <a:gd name="connsiteX8779" fmla="*/ 1122763 w 2240198"/>
                <a:gd name="connsiteY8779" fmla="*/ 439956 h 1729012"/>
                <a:gd name="connsiteX8780" fmla="*/ 1119357 w 2240198"/>
                <a:gd name="connsiteY8780" fmla="*/ 440551 h 1729012"/>
                <a:gd name="connsiteX8781" fmla="*/ 1117887 w 2240198"/>
                <a:gd name="connsiteY8781" fmla="*/ 440012 h 1729012"/>
                <a:gd name="connsiteX8782" fmla="*/ 1116505 w 2240198"/>
                <a:gd name="connsiteY8782" fmla="*/ 438324 h 1729012"/>
                <a:gd name="connsiteX8783" fmla="*/ 1115212 w 2240198"/>
                <a:gd name="connsiteY8783" fmla="*/ 435484 h 1729012"/>
                <a:gd name="connsiteX8784" fmla="*/ 1116170 w 2240198"/>
                <a:gd name="connsiteY8784" fmla="*/ 433340 h 1729012"/>
                <a:gd name="connsiteX8785" fmla="*/ 1119382 w 2240198"/>
                <a:gd name="connsiteY8785" fmla="*/ 431896 h 1729012"/>
                <a:gd name="connsiteX8786" fmla="*/ 1127833 w 2240198"/>
                <a:gd name="connsiteY8786" fmla="*/ 429546 h 1729012"/>
                <a:gd name="connsiteX8787" fmla="*/ 1130247 w 2240198"/>
                <a:gd name="connsiteY8787" fmla="*/ 428377 h 1729012"/>
                <a:gd name="connsiteX8788" fmla="*/ 1130512 w 2240198"/>
                <a:gd name="connsiteY8788" fmla="*/ 427123 h 1729012"/>
                <a:gd name="connsiteX8789" fmla="*/ 1131018 w 2240198"/>
                <a:gd name="connsiteY8789" fmla="*/ 426293 h 1729012"/>
                <a:gd name="connsiteX8790" fmla="*/ 509363 w 2240198"/>
                <a:gd name="connsiteY8790" fmla="*/ 411264 h 1729012"/>
                <a:gd name="connsiteX8791" fmla="*/ 510027 w 2240198"/>
                <a:gd name="connsiteY8791" fmla="*/ 411758 h 1729012"/>
                <a:gd name="connsiteX8792" fmla="*/ 510258 w 2240198"/>
                <a:gd name="connsiteY8792" fmla="*/ 412861 h 1729012"/>
                <a:gd name="connsiteX8793" fmla="*/ 509797 w 2240198"/>
                <a:gd name="connsiteY8793" fmla="*/ 416083 h 1729012"/>
                <a:gd name="connsiteX8794" fmla="*/ 509179 w 2240198"/>
                <a:gd name="connsiteY8794" fmla="*/ 417640 h 1729012"/>
                <a:gd name="connsiteX8795" fmla="*/ 508324 w 2240198"/>
                <a:gd name="connsiteY8795" fmla="*/ 418968 h 1729012"/>
                <a:gd name="connsiteX8796" fmla="*/ 507014 w 2240198"/>
                <a:gd name="connsiteY8796" fmla="*/ 420159 h 1729012"/>
                <a:gd name="connsiteX8797" fmla="*/ 505249 w 2240198"/>
                <a:gd name="connsiteY8797" fmla="*/ 421215 h 1729012"/>
                <a:gd name="connsiteX8798" fmla="*/ 503270 w 2240198"/>
                <a:gd name="connsiteY8798" fmla="*/ 421455 h 1729012"/>
                <a:gd name="connsiteX8799" fmla="*/ 501073 w 2240198"/>
                <a:gd name="connsiteY8799" fmla="*/ 420876 h 1729012"/>
                <a:gd name="connsiteX8800" fmla="*/ 501576 w 2240198"/>
                <a:gd name="connsiteY8800" fmla="*/ 419550 h 1729012"/>
                <a:gd name="connsiteX8801" fmla="*/ 506515 w 2240198"/>
                <a:gd name="connsiteY8801" fmla="*/ 415929 h 1729012"/>
                <a:gd name="connsiteX8802" fmla="*/ 506791 w 2240198"/>
                <a:gd name="connsiteY8802" fmla="*/ 414891 h 1729012"/>
                <a:gd name="connsiteX8803" fmla="*/ 506724 w 2240198"/>
                <a:gd name="connsiteY8803" fmla="*/ 414047 h 1729012"/>
                <a:gd name="connsiteX8804" fmla="*/ 506110 w 2240198"/>
                <a:gd name="connsiteY8804" fmla="*/ 413054 h 1729012"/>
                <a:gd name="connsiteX8805" fmla="*/ 507359 w 2240198"/>
                <a:gd name="connsiteY8805" fmla="*/ 411786 h 1729012"/>
                <a:gd name="connsiteX8806" fmla="*/ 1178166 w 2240198"/>
                <a:gd name="connsiteY8806" fmla="*/ 408203 h 1729012"/>
                <a:gd name="connsiteX8807" fmla="*/ 1179160 w 2240198"/>
                <a:gd name="connsiteY8807" fmla="*/ 408423 h 1729012"/>
                <a:gd name="connsiteX8808" fmla="*/ 1179854 w 2240198"/>
                <a:gd name="connsiteY8808" fmla="*/ 409501 h 1729012"/>
                <a:gd name="connsiteX8809" fmla="*/ 1180562 w 2240198"/>
                <a:gd name="connsiteY8809" fmla="*/ 412322 h 1729012"/>
                <a:gd name="connsiteX8810" fmla="*/ 1181312 w 2240198"/>
                <a:gd name="connsiteY8810" fmla="*/ 413993 h 1729012"/>
                <a:gd name="connsiteX8811" fmla="*/ 1183380 w 2240198"/>
                <a:gd name="connsiteY8811" fmla="*/ 417043 h 1729012"/>
                <a:gd name="connsiteX8812" fmla="*/ 1184292 w 2240198"/>
                <a:gd name="connsiteY8812" fmla="*/ 419003 h 1729012"/>
                <a:gd name="connsiteX8813" fmla="*/ 1184096 w 2240198"/>
                <a:gd name="connsiteY8813" fmla="*/ 419611 h 1729012"/>
                <a:gd name="connsiteX8814" fmla="*/ 1183449 w 2240198"/>
                <a:gd name="connsiteY8814" fmla="*/ 420148 h 1729012"/>
                <a:gd name="connsiteX8815" fmla="*/ 1178452 w 2240198"/>
                <a:gd name="connsiteY8815" fmla="*/ 421006 h 1729012"/>
                <a:gd name="connsiteX8816" fmla="*/ 1175972 w 2240198"/>
                <a:gd name="connsiteY8816" fmla="*/ 421029 h 1729012"/>
                <a:gd name="connsiteX8817" fmla="*/ 1172750 w 2240198"/>
                <a:gd name="connsiteY8817" fmla="*/ 419955 h 1729012"/>
                <a:gd name="connsiteX8818" fmla="*/ 1171840 w 2240198"/>
                <a:gd name="connsiteY8818" fmla="*/ 418831 h 1729012"/>
                <a:gd name="connsiteX8819" fmla="*/ 1171145 w 2240198"/>
                <a:gd name="connsiteY8819" fmla="*/ 417291 h 1729012"/>
                <a:gd name="connsiteX8820" fmla="*/ 1170666 w 2240198"/>
                <a:gd name="connsiteY8820" fmla="*/ 415333 h 1729012"/>
                <a:gd name="connsiteX8821" fmla="*/ 1169995 w 2240198"/>
                <a:gd name="connsiteY8821" fmla="*/ 413768 h 1729012"/>
                <a:gd name="connsiteX8822" fmla="*/ 1169133 w 2240198"/>
                <a:gd name="connsiteY8822" fmla="*/ 412594 h 1729012"/>
                <a:gd name="connsiteX8823" fmla="*/ 1168953 w 2240198"/>
                <a:gd name="connsiteY8823" fmla="*/ 411613 h 1729012"/>
                <a:gd name="connsiteX8824" fmla="*/ 1169456 w 2240198"/>
                <a:gd name="connsiteY8824" fmla="*/ 410824 h 1729012"/>
                <a:gd name="connsiteX8825" fmla="*/ 1170510 w 2240198"/>
                <a:gd name="connsiteY8825" fmla="*/ 410384 h 1729012"/>
                <a:gd name="connsiteX8826" fmla="*/ 1172918 w 2240198"/>
                <a:gd name="connsiteY8826" fmla="*/ 410240 h 1729012"/>
                <a:gd name="connsiteX8827" fmla="*/ 592540 w 2240198"/>
                <a:gd name="connsiteY8827" fmla="*/ 402027 h 1729012"/>
                <a:gd name="connsiteX8828" fmla="*/ 595610 w 2240198"/>
                <a:gd name="connsiteY8828" fmla="*/ 402845 h 1729012"/>
                <a:gd name="connsiteX8829" fmla="*/ 595953 w 2240198"/>
                <a:gd name="connsiteY8829" fmla="*/ 404002 h 1729012"/>
                <a:gd name="connsiteX8830" fmla="*/ 592726 w 2240198"/>
                <a:gd name="connsiteY8830" fmla="*/ 409786 h 1729012"/>
                <a:gd name="connsiteX8831" fmla="*/ 590454 w 2240198"/>
                <a:gd name="connsiteY8831" fmla="*/ 412113 h 1729012"/>
                <a:gd name="connsiteX8832" fmla="*/ 586020 w 2240198"/>
                <a:gd name="connsiteY8832" fmla="*/ 418104 h 1729012"/>
                <a:gd name="connsiteX8833" fmla="*/ 577507 w 2240198"/>
                <a:gd name="connsiteY8833" fmla="*/ 428129 h 1729012"/>
                <a:gd name="connsiteX8834" fmla="*/ 574932 w 2240198"/>
                <a:gd name="connsiteY8834" fmla="*/ 429749 h 1729012"/>
                <a:gd name="connsiteX8835" fmla="*/ 567686 w 2240198"/>
                <a:gd name="connsiteY8835" fmla="*/ 433053 h 1729012"/>
                <a:gd name="connsiteX8836" fmla="*/ 562531 w 2240198"/>
                <a:gd name="connsiteY8836" fmla="*/ 432709 h 1729012"/>
                <a:gd name="connsiteX8837" fmla="*/ 555697 w 2240198"/>
                <a:gd name="connsiteY8837" fmla="*/ 430282 h 1729012"/>
                <a:gd name="connsiteX8838" fmla="*/ 550134 w 2240198"/>
                <a:gd name="connsiteY8838" fmla="*/ 429458 h 1729012"/>
                <a:gd name="connsiteX8839" fmla="*/ 548176 w 2240198"/>
                <a:gd name="connsiteY8839" fmla="*/ 428652 h 1729012"/>
                <a:gd name="connsiteX8840" fmla="*/ 547890 w 2240198"/>
                <a:gd name="connsiteY8840" fmla="*/ 427812 h 1729012"/>
                <a:gd name="connsiteX8841" fmla="*/ 549776 w 2240198"/>
                <a:gd name="connsiteY8841" fmla="*/ 425483 h 1729012"/>
                <a:gd name="connsiteX8842" fmla="*/ 552143 w 2240198"/>
                <a:gd name="connsiteY8842" fmla="*/ 423623 h 1729012"/>
                <a:gd name="connsiteX8843" fmla="*/ 557807 w 2240198"/>
                <a:gd name="connsiteY8843" fmla="*/ 419960 h 1729012"/>
                <a:gd name="connsiteX8844" fmla="*/ 567376 w 2240198"/>
                <a:gd name="connsiteY8844" fmla="*/ 412884 h 1729012"/>
                <a:gd name="connsiteX8845" fmla="*/ 573641 w 2240198"/>
                <a:gd name="connsiteY8845" fmla="*/ 410201 h 1729012"/>
                <a:gd name="connsiteX8846" fmla="*/ 579786 w 2240198"/>
                <a:gd name="connsiteY8846" fmla="*/ 408304 h 1729012"/>
                <a:gd name="connsiteX8847" fmla="*/ 586057 w 2240198"/>
                <a:gd name="connsiteY8847" fmla="*/ 404060 h 1729012"/>
                <a:gd name="connsiteX8848" fmla="*/ 589527 w 2240198"/>
                <a:gd name="connsiteY8848" fmla="*/ 402165 h 1729012"/>
                <a:gd name="connsiteX8849" fmla="*/ 1571914 w 2240198"/>
                <a:gd name="connsiteY8849" fmla="*/ 400420 h 1729012"/>
                <a:gd name="connsiteX8850" fmla="*/ 1574029 w 2240198"/>
                <a:gd name="connsiteY8850" fmla="*/ 401006 h 1729012"/>
                <a:gd name="connsiteX8851" fmla="*/ 1576076 w 2240198"/>
                <a:gd name="connsiteY8851" fmla="*/ 402485 h 1729012"/>
                <a:gd name="connsiteX8852" fmla="*/ 1573509 w 2240198"/>
                <a:gd name="connsiteY8852" fmla="*/ 406695 h 1729012"/>
                <a:gd name="connsiteX8853" fmla="*/ 1570714 w 2240198"/>
                <a:gd name="connsiteY8853" fmla="*/ 408789 h 1729012"/>
                <a:gd name="connsiteX8854" fmla="*/ 1570550 w 2240198"/>
                <a:gd name="connsiteY8854" fmla="*/ 411865 h 1729012"/>
                <a:gd name="connsiteX8855" fmla="*/ 1570838 w 2240198"/>
                <a:gd name="connsiteY8855" fmla="*/ 414919 h 1729012"/>
                <a:gd name="connsiteX8856" fmla="*/ 1568995 w 2240198"/>
                <a:gd name="connsiteY8856" fmla="*/ 414780 h 1729012"/>
                <a:gd name="connsiteX8857" fmla="*/ 1563132 w 2240198"/>
                <a:gd name="connsiteY8857" fmla="*/ 416774 h 1729012"/>
                <a:gd name="connsiteX8858" fmla="*/ 1558344 w 2240198"/>
                <a:gd name="connsiteY8858" fmla="*/ 417060 h 1729012"/>
                <a:gd name="connsiteX8859" fmla="*/ 1555954 w 2240198"/>
                <a:gd name="connsiteY8859" fmla="*/ 416166 h 1729012"/>
                <a:gd name="connsiteX8860" fmla="*/ 1554433 w 2240198"/>
                <a:gd name="connsiteY8860" fmla="*/ 414076 h 1729012"/>
                <a:gd name="connsiteX8861" fmla="*/ 1558171 w 2240198"/>
                <a:gd name="connsiteY8861" fmla="*/ 410181 h 1729012"/>
                <a:gd name="connsiteX8862" fmla="*/ 1562469 w 2240198"/>
                <a:gd name="connsiteY8862" fmla="*/ 407454 h 1729012"/>
                <a:gd name="connsiteX8863" fmla="*/ 1567628 w 2240198"/>
                <a:gd name="connsiteY8863" fmla="*/ 403210 h 1729012"/>
                <a:gd name="connsiteX8864" fmla="*/ 961106 w 2240198"/>
                <a:gd name="connsiteY8864" fmla="*/ 391765 h 1729012"/>
                <a:gd name="connsiteX8865" fmla="*/ 970494 w 2240198"/>
                <a:gd name="connsiteY8865" fmla="*/ 391998 h 1729012"/>
                <a:gd name="connsiteX8866" fmla="*/ 974143 w 2240198"/>
                <a:gd name="connsiteY8866" fmla="*/ 393328 h 1729012"/>
                <a:gd name="connsiteX8867" fmla="*/ 975359 w 2240198"/>
                <a:gd name="connsiteY8867" fmla="*/ 397783 h 1729012"/>
                <a:gd name="connsiteX8868" fmla="*/ 976528 w 2240198"/>
                <a:gd name="connsiteY8868" fmla="*/ 403071 h 1729012"/>
                <a:gd name="connsiteX8869" fmla="*/ 978160 w 2240198"/>
                <a:gd name="connsiteY8869" fmla="*/ 403521 h 1729012"/>
                <a:gd name="connsiteX8870" fmla="*/ 983189 w 2240198"/>
                <a:gd name="connsiteY8870" fmla="*/ 407243 h 1729012"/>
                <a:gd name="connsiteX8871" fmla="*/ 988499 w 2240198"/>
                <a:gd name="connsiteY8871" fmla="*/ 410432 h 1729012"/>
                <a:gd name="connsiteX8872" fmla="*/ 988751 w 2240198"/>
                <a:gd name="connsiteY8872" fmla="*/ 411165 h 1729012"/>
                <a:gd name="connsiteX8873" fmla="*/ 987750 w 2240198"/>
                <a:gd name="connsiteY8873" fmla="*/ 411771 h 1729012"/>
                <a:gd name="connsiteX8874" fmla="*/ 980888 w 2240198"/>
                <a:gd name="connsiteY8874" fmla="*/ 413460 h 1729012"/>
                <a:gd name="connsiteX8875" fmla="*/ 978217 w 2240198"/>
                <a:gd name="connsiteY8875" fmla="*/ 414806 h 1729012"/>
                <a:gd name="connsiteX8876" fmla="*/ 975986 w 2240198"/>
                <a:gd name="connsiteY8876" fmla="*/ 417953 h 1729012"/>
                <a:gd name="connsiteX8877" fmla="*/ 974257 w 2240198"/>
                <a:gd name="connsiteY8877" fmla="*/ 419409 h 1729012"/>
                <a:gd name="connsiteX8878" fmla="*/ 965028 w 2240198"/>
                <a:gd name="connsiteY8878" fmla="*/ 420277 h 1729012"/>
                <a:gd name="connsiteX8879" fmla="*/ 955616 w 2240198"/>
                <a:gd name="connsiteY8879" fmla="*/ 420237 h 1729012"/>
                <a:gd name="connsiteX8880" fmla="*/ 957391 w 2240198"/>
                <a:gd name="connsiteY8880" fmla="*/ 417199 h 1729012"/>
                <a:gd name="connsiteX8881" fmla="*/ 962545 w 2240198"/>
                <a:gd name="connsiteY8881" fmla="*/ 412232 h 1729012"/>
                <a:gd name="connsiteX8882" fmla="*/ 958486 w 2240198"/>
                <a:gd name="connsiteY8882" fmla="*/ 410173 h 1729012"/>
                <a:gd name="connsiteX8883" fmla="*/ 944078 w 2240198"/>
                <a:gd name="connsiteY8883" fmla="*/ 413604 h 1729012"/>
                <a:gd name="connsiteX8884" fmla="*/ 938615 w 2240198"/>
                <a:gd name="connsiteY8884" fmla="*/ 411492 h 1729012"/>
                <a:gd name="connsiteX8885" fmla="*/ 943292 w 2240198"/>
                <a:gd name="connsiteY8885" fmla="*/ 406093 h 1729012"/>
                <a:gd name="connsiteX8886" fmla="*/ 938633 w 2240198"/>
                <a:gd name="connsiteY8886" fmla="*/ 405598 h 1729012"/>
                <a:gd name="connsiteX8887" fmla="*/ 932092 w 2240198"/>
                <a:gd name="connsiteY8887" fmla="*/ 405575 h 1729012"/>
                <a:gd name="connsiteX8888" fmla="*/ 927945 w 2240198"/>
                <a:gd name="connsiteY8888" fmla="*/ 402371 h 1729012"/>
                <a:gd name="connsiteX8889" fmla="*/ 929349 w 2240198"/>
                <a:gd name="connsiteY8889" fmla="*/ 398519 h 1729012"/>
                <a:gd name="connsiteX8890" fmla="*/ 937935 w 2240198"/>
                <a:gd name="connsiteY8890" fmla="*/ 396394 h 1729012"/>
                <a:gd name="connsiteX8891" fmla="*/ 949107 w 2240198"/>
                <a:gd name="connsiteY8891" fmla="*/ 394554 h 1729012"/>
                <a:gd name="connsiteX8892" fmla="*/ 933040 w 2240198"/>
                <a:gd name="connsiteY8892" fmla="*/ 373104 h 1729012"/>
                <a:gd name="connsiteX8893" fmla="*/ 936351 w 2240198"/>
                <a:gd name="connsiteY8893" fmla="*/ 373104 h 1729012"/>
                <a:gd name="connsiteX8894" fmla="*/ 938432 w 2240198"/>
                <a:gd name="connsiteY8894" fmla="*/ 373587 h 1729012"/>
                <a:gd name="connsiteX8895" fmla="*/ 939278 w 2240198"/>
                <a:gd name="connsiteY8895" fmla="*/ 374549 h 1729012"/>
                <a:gd name="connsiteX8896" fmla="*/ 939022 w 2240198"/>
                <a:gd name="connsiteY8896" fmla="*/ 375849 h 1729012"/>
                <a:gd name="connsiteX8897" fmla="*/ 937661 w 2240198"/>
                <a:gd name="connsiteY8897" fmla="*/ 377487 h 1729012"/>
                <a:gd name="connsiteX8898" fmla="*/ 938913 w 2240198"/>
                <a:gd name="connsiteY8898" fmla="*/ 377778 h 1729012"/>
                <a:gd name="connsiteX8899" fmla="*/ 942778 w 2240198"/>
                <a:gd name="connsiteY8899" fmla="*/ 376728 h 1729012"/>
                <a:gd name="connsiteX8900" fmla="*/ 945271 w 2240198"/>
                <a:gd name="connsiteY8900" fmla="*/ 376540 h 1729012"/>
                <a:gd name="connsiteX8901" fmla="*/ 948050 w 2240198"/>
                <a:gd name="connsiteY8901" fmla="*/ 378525 h 1729012"/>
                <a:gd name="connsiteX8902" fmla="*/ 948773 w 2240198"/>
                <a:gd name="connsiteY8902" fmla="*/ 379819 h 1729012"/>
                <a:gd name="connsiteX8903" fmla="*/ 958776 w 2240198"/>
                <a:gd name="connsiteY8903" fmla="*/ 383053 h 1729012"/>
                <a:gd name="connsiteX8904" fmla="*/ 962296 w 2240198"/>
                <a:gd name="connsiteY8904" fmla="*/ 384504 h 1729012"/>
                <a:gd name="connsiteX8905" fmla="*/ 962747 w 2240198"/>
                <a:gd name="connsiteY8905" fmla="*/ 385470 h 1729012"/>
                <a:gd name="connsiteX8906" fmla="*/ 961493 w 2240198"/>
                <a:gd name="connsiteY8906" fmla="*/ 386851 h 1729012"/>
                <a:gd name="connsiteX8907" fmla="*/ 958538 w 2240198"/>
                <a:gd name="connsiteY8907" fmla="*/ 388653 h 1729012"/>
                <a:gd name="connsiteX8908" fmla="*/ 955701 w 2240198"/>
                <a:gd name="connsiteY8908" fmla="*/ 389874 h 1729012"/>
                <a:gd name="connsiteX8909" fmla="*/ 951623 w 2240198"/>
                <a:gd name="connsiteY8909" fmla="*/ 390844 h 1729012"/>
                <a:gd name="connsiteX8910" fmla="*/ 931378 w 2240198"/>
                <a:gd name="connsiteY8910" fmla="*/ 390990 h 1729012"/>
                <a:gd name="connsiteX8911" fmla="*/ 929175 w 2240198"/>
                <a:gd name="connsiteY8911" fmla="*/ 390553 h 1729012"/>
                <a:gd name="connsiteX8912" fmla="*/ 927904 w 2240198"/>
                <a:gd name="connsiteY8912" fmla="*/ 388953 h 1729012"/>
                <a:gd name="connsiteX8913" fmla="*/ 925399 w 2240198"/>
                <a:gd name="connsiteY8913" fmla="*/ 382974 h 1729012"/>
                <a:gd name="connsiteX8914" fmla="*/ 923619 w 2240198"/>
                <a:gd name="connsiteY8914" fmla="*/ 379750 h 1729012"/>
                <a:gd name="connsiteX8915" fmla="*/ 922950 w 2240198"/>
                <a:gd name="connsiteY8915" fmla="*/ 377508 h 1729012"/>
                <a:gd name="connsiteX8916" fmla="*/ 923390 w 2240198"/>
                <a:gd name="connsiteY8916" fmla="*/ 376253 h 1729012"/>
                <a:gd name="connsiteX8917" fmla="*/ 925553 w 2240198"/>
                <a:gd name="connsiteY8917" fmla="*/ 374993 h 1729012"/>
                <a:gd name="connsiteX8918" fmla="*/ 1072354 w 2240198"/>
                <a:gd name="connsiteY8918" fmla="*/ 371638 h 1729012"/>
                <a:gd name="connsiteX8919" fmla="*/ 1077001 w 2240198"/>
                <a:gd name="connsiteY8919" fmla="*/ 373038 h 1729012"/>
                <a:gd name="connsiteX8920" fmla="*/ 1083059 w 2240198"/>
                <a:gd name="connsiteY8920" fmla="*/ 376664 h 1729012"/>
                <a:gd name="connsiteX8921" fmla="*/ 1084390 w 2240198"/>
                <a:gd name="connsiteY8921" fmla="*/ 377897 h 1729012"/>
                <a:gd name="connsiteX8922" fmla="*/ 1091208 w 2240198"/>
                <a:gd name="connsiteY8922" fmla="*/ 380134 h 1729012"/>
                <a:gd name="connsiteX8923" fmla="*/ 1095237 w 2240198"/>
                <a:gd name="connsiteY8923" fmla="*/ 380877 h 1729012"/>
                <a:gd name="connsiteX8924" fmla="*/ 1097330 w 2240198"/>
                <a:gd name="connsiteY8924" fmla="*/ 382072 h 1729012"/>
                <a:gd name="connsiteX8925" fmla="*/ 1097962 w 2240198"/>
                <a:gd name="connsiteY8925" fmla="*/ 383628 h 1729012"/>
                <a:gd name="connsiteX8926" fmla="*/ 1098246 w 2240198"/>
                <a:gd name="connsiteY8926" fmla="*/ 385977 h 1729012"/>
                <a:gd name="connsiteX8927" fmla="*/ 1097939 w 2240198"/>
                <a:gd name="connsiteY8927" fmla="*/ 387784 h 1729012"/>
                <a:gd name="connsiteX8928" fmla="*/ 1097044 w 2240198"/>
                <a:gd name="connsiteY8928" fmla="*/ 389058 h 1729012"/>
                <a:gd name="connsiteX8929" fmla="*/ 1097002 w 2240198"/>
                <a:gd name="connsiteY8929" fmla="*/ 390520 h 1729012"/>
                <a:gd name="connsiteX8930" fmla="*/ 1097813 w 2240198"/>
                <a:gd name="connsiteY8930" fmla="*/ 392172 h 1729012"/>
                <a:gd name="connsiteX8931" fmla="*/ 1101202 w 2240198"/>
                <a:gd name="connsiteY8931" fmla="*/ 396332 h 1729012"/>
                <a:gd name="connsiteX8932" fmla="*/ 1102279 w 2240198"/>
                <a:gd name="connsiteY8932" fmla="*/ 398561 h 1729012"/>
                <a:gd name="connsiteX8933" fmla="*/ 1102442 w 2240198"/>
                <a:gd name="connsiteY8933" fmla="*/ 400796 h 1729012"/>
                <a:gd name="connsiteX8934" fmla="*/ 1102270 w 2240198"/>
                <a:gd name="connsiteY8934" fmla="*/ 402323 h 1729012"/>
                <a:gd name="connsiteX8935" fmla="*/ 1100179 w 2240198"/>
                <a:gd name="connsiteY8935" fmla="*/ 405281 h 1729012"/>
                <a:gd name="connsiteX8936" fmla="*/ 1099253 w 2240198"/>
                <a:gd name="connsiteY8936" fmla="*/ 409102 h 1729012"/>
                <a:gd name="connsiteX8937" fmla="*/ 1099199 w 2240198"/>
                <a:gd name="connsiteY8937" fmla="*/ 411124 h 1729012"/>
                <a:gd name="connsiteX8938" fmla="*/ 1100444 w 2240198"/>
                <a:gd name="connsiteY8938" fmla="*/ 414279 h 1729012"/>
                <a:gd name="connsiteX8939" fmla="*/ 1100479 w 2240198"/>
                <a:gd name="connsiteY8939" fmla="*/ 415744 h 1729012"/>
                <a:gd name="connsiteX8940" fmla="*/ 1098131 w 2240198"/>
                <a:gd name="connsiteY8940" fmla="*/ 418254 h 1729012"/>
                <a:gd name="connsiteX8941" fmla="*/ 1093155 w 2240198"/>
                <a:gd name="connsiteY8941" fmla="*/ 420437 h 1729012"/>
                <a:gd name="connsiteX8942" fmla="*/ 1093858 w 2240198"/>
                <a:gd name="connsiteY8942" fmla="*/ 421587 h 1729012"/>
                <a:gd name="connsiteX8943" fmla="*/ 1104590 w 2240198"/>
                <a:gd name="connsiteY8943" fmla="*/ 424348 h 1729012"/>
                <a:gd name="connsiteX8944" fmla="*/ 1105402 w 2240198"/>
                <a:gd name="connsiteY8944" fmla="*/ 424970 h 1729012"/>
                <a:gd name="connsiteX8945" fmla="*/ 1105349 w 2240198"/>
                <a:gd name="connsiteY8945" fmla="*/ 431168 h 1729012"/>
                <a:gd name="connsiteX8946" fmla="*/ 1107215 w 2240198"/>
                <a:gd name="connsiteY8946" fmla="*/ 437957 h 1729012"/>
                <a:gd name="connsiteX8947" fmla="*/ 1106519 w 2240198"/>
                <a:gd name="connsiteY8947" fmla="*/ 438090 h 1729012"/>
                <a:gd name="connsiteX8948" fmla="*/ 1103938 w 2240198"/>
                <a:gd name="connsiteY8948" fmla="*/ 435967 h 1729012"/>
                <a:gd name="connsiteX8949" fmla="*/ 1099169 w 2240198"/>
                <a:gd name="connsiteY8949" fmla="*/ 433446 h 1729012"/>
                <a:gd name="connsiteX8950" fmla="*/ 1093467 w 2240198"/>
                <a:gd name="connsiteY8950" fmla="*/ 438147 h 1729012"/>
                <a:gd name="connsiteX8951" fmla="*/ 1094112 w 2240198"/>
                <a:gd name="connsiteY8951" fmla="*/ 446114 h 1729012"/>
                <a:gd name="connsiteX8952" fmla="*/ 1097862 w 2240198"/>
                <a:gd name="connsiteY8952" fmla="*/ 449657 h 1729012"/>
                <a:gd name="connsiteX8953" fmla="*/ 1099002 w 2240198"/>
                <a:gd name="connsiteY8953" fmla="*/ 451676 h 1729012"/>
                <a:gd name="connsiteX8954" fmla="*/ 1098637 w 2240198"/>
                <a:gd name="connsiteY8954" fmla="*/ 452890 h 1729012"/>
                <a:gd name="connsiteX8955" fmla="*/ 1095466 w 2240198"/>
                <a:gd name="connsiteY8955" fmla="*/ 453432 h 1729012"/>
                <a:gd name="connsiteX8956" fmla="*/ 1094367 w 2240198"/>
                <a:gd name="connsiteY8956" fmla="*/ 453169 h 1729012"/>
                <a:gd name="connsiteX8957" fmla="*/ 1091118 w 2240198"/>
                <a:gd name="connsiteY8957" fmla="*/ 451568 h 1729012"/>
                <a:gd name="connsiteX8958" fmla="*/ 1089229 w 2240198"/>
                <a:gd name="connsiteY8958" fmla="*/ 449146 h 1729012"/>
                <a:gd name="connsiteX8959" fmla="*/ 1088635 w 2240198"/>
                <a:gd name="connsiteY8959" fmla="*/ 449231 h 1729012"/>
                <a:gd name="connsiteX8960" fmla="*/ 1088053 w 2240198"/>
                <a:gd name="connsiteY8960" fmla="*/ 450400 h 1729012"/>
                <a:gd name="connsiteX8961" fmla="*/ 1088432 w 2240198"/>
                <a:gd name="connsiteY8961" fmla="*/ 451584 h 1729012"/>
                <a:gd name="connsiteX8962" fmla="*/ 1090632 w 2240198"/>
                <a:gd name="connsiteY8962" fmla="*/ 453734 h 1729012"/>
                <a:gd name="connsiteX8963" fmla="*/ 1091562 w 2240198"/>
                <a:gd name="connsiteY8963" fmla="*/ 456303 h 1729012"/>
                <a:gd name="connsiteX8964" fmla="*/ 1090587 w 2240198"/>
                <a:gd name="connsiteY8964" fmla="*/ 457032 h 1729012"/>
                <a:gd name="connsiteX8965" fmla="*/ 1087312 w 2240198"/>
                <a:gd name="connsiteY8965" fmla="*/ 457696 h 1729012"/>
                <a:gd name="connsiteX8966" fmla="*/ 1082895 w 2240198"/>
                <a:gd name="connsiteY8966" fmla="*/ 457724 h 1729012"/>
                <a:gd name="connsiteX8967" fmla="*/ 1075960 w 2240198"/>
                <a:gd name="connsiteY8967" fmla="*/ 458883 h 1729012"/>
                <a:gd name="connsiteX8968" fmla="*/ 1072540 w 2240198"/>
                <a:gd name="connsiteY8968" fmla="*/ 459061 h 1729012"/>
                <a:gd name="connsiteX8969" fmla="*/ 1069211 w 2240198"/>
                <a:gd name="connsiteY8969" fmla="*/ 458435 h 1729012"/>
                <a:gd name="connsiteX8970" fmla="*/ 1064768 w 2240198"/>
                <a:gd name="connsiteY8970" fmla="*/ 458286 h 1729012"/>
                <a:gd name="connsiteX8971" fmla="*/ 1061072 w 2240198"/>
                <a:gd name="connsiteY8971" fmla="*/ 458559 h 1729012"/>
                <a:gd name="connsiteX8972" fmla="*/ 1058811 w 2240198"/>
                <a:gd name="connsiteY8972" fmla="*/ 458048 h 1729012"/>
                <a:gd name="connsiteX8973" fmla="*/ 1056753 w 2240198"/>
                <a:gd name="connsiteY8973" fmla="*/ 456849 h 1729012"/>
                <a:gd name="connsiteX8974" fmla="*/ 1054356 w 2240198"/>
                <a:gd name="connsiteY8974" fmla="*/ 457137 h 1729012"/>
                <a:gd name="connsiteX8975" fmla="*/ 1049126 w 2240198"/>
                <a:gd name="connsiteY8975" fmla="*/ 460180 h 1729012"/>
                <a:gd name="connsiteX8976" fmla="*/ 1041019 w 2240198"/>
                <a:gd name="connsiteY8976" fmla="*/ 459212 h 1729012"/>
                <a:gd name="connsiteX8977" fmla="*/ 1033722 w 2240198"/>
                <a:gd name="connsiteY8977" fmla="*/ 458964 h 1729012"/>
                <a:gd name="connsiteX8978" fmla="*/ 1032255 w 2240198"/>
                <a:gd name="connsiteY8978" fmla="*/ 457950 h 1729012"/>
                <a:gd name="connsiteX8979" fmla="*/ 1030623 w 2240198"/>
                <a:gd name="connsiteY8979" fmla="*/ 455968 h 1729012"/>
                <a:gd name="connsiteX8980" fmla="*/ 1027406 w 2240198"/>
                <a:gd name="connsiteY8980" fmla="*/ 449778 h 1729012"/>
                <a:gd name="connsiteX8981" fmla="*/ 1028015 w 2240198"/>
                <a:gd name="connsiteY8981" fmla="*/ 448216 h 1729012"/>
                <a:gd name="connsiteX8982" fmla="*/ 1035811 w 2240198"/>
                <a:gd name="connsiteY8982" fmla="*/ 447372 h 1729012"/>
                <a:gd name="connsiteX8983" fmla="*/ 1035971 w 2240198"/>
                <a:gd name="connsiteY8983" fmla="*/ 446837 h 1729012"/>
                <a:gd name="connsiteX8984" fmla="*/ 1030434 w 2240198"/>
                <a:gd name="connsiteY8984" fmla="*/ 444620 h 1729012"/>
                <a:gd name="connsiteX8985" fmla="*/ 1024074 w 2240198"/>
                <a:gd name="connsiteY8985" fmla="*/ 442992 h 1729012"/>
                <a:gd name="connsiteX8986" fmla="*/ 1021126 w 2240198"/>
                <a:gd name="connsiteY8986" fmla="*/ 441709 h 1729012"/>
                <a:gd name="connsiteX8987" fmla="*/ 1021809 w 2240198"/>
                <a:gd name="connsiteY8987" fmla="*/ 439261 h 1729012"/>
                <a:gd name="connsiteX8988" fmla="*/ 1021614 w 2240198"/>
                <a:gd name="connsiteY8988" fmla="*/ 438647 h 1729012"/>
                <a:gd name="connsiteX8989" fmla="*/ 1032574 w 2240198"/>
                <a:gd name="connsiteY8989" fmla="*/ 435847 h 1729012"/>
                <a:gd name="connsiteX8990" fmla="*/ 1040545 w 2240198"/>
                <a:gd name="connsiteY8990" fmla="*/ 430325 h 1729012"/>
                <a:gd name="connsiteX8991" fmla="*/ 1045492 w 2240198"/>
                <a:gd name="connsiteY8991" fmla="*/ 428074 h 1729012"/>
                <a:gd name="connsiteX8992" fmla="*/ 1045852 w 2240198"/>
                <a:gd name="connsiteY8992" fmla="*/ 426986 h 1729012"/>
                <a:gd name="connsiteX8993" fmla="*/ 1050032 w 2240198"/>
                <a:gd name="connsiteY8993" fmla="*/ 425853 h 1729012"/>
                <a:gd name="connsiteX8994" fmla="*/ 1059712 w 2240198"/>
                <a:gd name="connsiteY8994" fmla="*/ 425172 h 1729012"/>
                <a:gd name="connsiteX8995" fmla="*/ 1060089 w 2240198"/>
                <a:gd name="connsiteY8995" fmla="*/ 423635 h 1729012"/>
                <a:gd name="connsiteX8996" fmla="*/ 1041817 w 2240198"/>
                <a:gd name="connsiteY8996" fmla="*/ 424519 h 1729012"/>
                <a:gd name="connsiteX8997" fmla="*/ 1016800 w 2240198"/>
                <a:gd name="connsiteY8997" fmla="*/ 427654 h 1729012"/>
                <a:gd name="connsiteX8998" fmla="*/ 1009064 w 2240198"/>
                <a:gd name="connsiteY8998" fmla="*/ 429198 h 1729012"/>
                <a:gd name="connsiteX8999" fmla="*/ 1002612 w 2240198"/>
                <a:gd name="connsiteY8999" fmla="*/ 428298 h 1729012"/>
                <a:gd name="connsiteX9000" fmla="*/ 975225 w 2240198"/>
                <a:gd name="connsiteY9000" fmla="*/ 433145 h 1729012"/>
                <a:gd name="connsiteX9001" fmla="*/ 974058 w 2240198"/>
                <a:gd name="connsiteY9001" fmla="*/ 433143 h 1729012"/>
                <a:gd name="connsiteX9002" fmla="*/ 971194 w 2240198"/>
                <a:gd name="connsiteY9002" fmla="*/ 431605 h 1729012"/>
                <a:gd name="connsiteX9003" fmla="*/ 968731 w 2240198"/>
                <a:gd name="connsiteY9003" fmla="*/ 428723 h 1729012"/>
                <a:gd name="connsiteX9004" fmla="*/ 970498 w 2240198"/>
                <a:gd name="connsiteY9004" fmla="*/ 426712 h 1729012"/>
                <a:gd name="connsiteX9005" fmla="*/ 978540 w 2240198"/>
                <a:gd name="connsiteY9005" fmla="*/ 422890 h 1729012"/>
                <a:gd name="connsiteX9006" fmla="*/ 982561 w 2240198"/>
                <a:gd name="connsiteY9006" fmla="*/ 419539 h 1729012"/>
                <a:gd name="connsiteX9007" fmla="*/ 982090 w 2240198"/>
                <a:gd name="connsiteY9007" fmla="*/ 417726 h 1729012"/>
                <a:gd name="connsiteX9008" fmla="*/ 985283 w 2240198"/>
                <a:gd name="connsiteY9008" fmla="*/ 414503 h 1729012"/>
                <a:gd name="connsiteX9009" fmla="*/ 990403 w 2240198"/>
                <a:gd name="connsiteY9009" fmla="*/ 414047 h 1729012"/>
                <a:gd name="connsiteX9010" fmla="*/ 999104 w 2240198"/>
                <a:gd name="connsiteY9010" fmla="*/ 416697 h 1729012"/>
                <a:gd name="connsiteX9011" fmla="*/ 1003628 w 2240198"/>
                <a:gd name="connsiteY9011" fmla="*/ 419321 h 1729012"/>
                <a:gd name="connsiteX9012" fmla="*/ 1007680 w 2240198"/>
                <a:gd name="connsiteY9012" fmla="*/ 420548 h 1729012"/>
                <a:gd name="connsiteX9013" fmla="*/ 1011282 w 2240198"/>
                <a:gd name="connsiteY9013" fmla="*/ 420305 h 1729012"/>
                <a:gd name="connsiteX9014" fmla="*/ 1014999 w 2240198"/>
                <a:gd name="connsiteY9014" fmla="*/ 418468 h 1729012"/>
                <a:gd name="connsiteX9015" fmla="*/ 1014058 w 2240198"/>
                <a:gd name="connsiteY9015" fmla="*/ 418264 h 1729012"/>
                <a:gd name="connsiteX9016" fmla="*/ 1007747 w 2240198"/>
                <a:gd name="connsiteY9016" fmla="*/ 419233 h 1729012"/>
                <a:gd name="connsiteX9017" fmla="*/ 1007006 w 2240198"/>
                <a:gd name="connsiteY9017" fmla="*/ 418951 h 1729012"/>
                <a:gd name="connsiteX9018" fmla="*/ 1003786 w 2240198"/>
                <a:gd name="connsiteY9018" fmla="*/ 416015 h 1729012"/>
                <a:gd name="connsiteX9019" fmla="*/ 1002384 w 2240198"/>
                <a:gd name="connsiteY9019" fmla="*/ 414146 h 1729012"/>
                <a:gd name="connsiteX9020" fmla="*/ 1001481 w 2240198"/>
                <a:gd name="connsiteY9020" fmla="*/ 412272 h 1729012"/>
                <a:gd name="connsiteX9021" fmla="*/ 1001432 w 2240198"/>
                <a:gd name="connsiteY9021" fmla="*/ 410948 h 1729012"/>
                <a:gd name="connsiteX9022" fmla="*/ 1003372 w 2240198"/>
                <a:gd name="connsiteY9022" fmla="*/ 408434 h 1729012"/>
                <a:gd name="connsiteX9023" fmla="*/ 996134 w 2240198"/>
                <a:gd name="connsiteY9023" fmla="*/ 407607 h 1729012"/>
                <a:gd name="connsiteX9024" fmla="*/ 993431 w 2240198"/>
                <a:gd name="connsiteY9024" fmla="*/ 405868 h 1729012"/>
                <a:gd name="connsiteX9025" fmla="*/ 992196 w 2240198"/>
                <a:gd name="connsiteY9025" fmla="*/ 403694 h 1729012"/>
                <a:gd name="connsiteX9026" fmla="*/ 992468 w 2240198"/>
                <a:gd name="connsiteY9026" fmla="*/ 402748 h 1729012"/>
                <a:gd name="connsiteX9027" fmla="*/ 994750 w 2240198"/>
                <a:gd name="connsiteY9027" fmla="*/ 400202 h 1729012"/>
                <a:gd name="connsiteX9028" fmla="*/ 1000897 w 2240198"/>
                <a:gd name="connsiteY9028" fmla="*/ 396694 h 1729012"/>
                <a:gd name="connsiteX9029" fmla="*/ 1000185 w 2240198"/>
                <a:gd name="connsiteY9029" fmla="*/ 395724 h 1729012"/>
                <a:gd name="connsiteX9030" fmla="*/ 991240 w 2240198"/>
                <a:gd name="connsiteY9030" fmla="*/ 395801 h 1729012"/>
                <a:gd name="connsiteX9031" fmla="*/ 989271 w 2240198"/>
                <a:gd name="connsiteY9031" fmla="*/ 395343 h 1729012"/>
                <a:gd name="connsiteX9032" fmla="*/ 985460 w 2240198"/>
                <a:gd name="connsiteY9032" fmla="*/ 393160 h 1729012"/>
                <a:gd name="connsiteX9033" fmla="*/ 986299 w 2240198"/>
                <a:gd name="connsiteY9033" fmla="*/ 390732 h 1729012"/>
                <a:gd name="connsiteX9034" fmla="*/ 989860 w 2240198"/>
                <a:gd name="connsiteY9034" fmla="*/ 387175 h 1729012"/>
                <a:gd name="connsiteX9035" fmla="*/ 992541 w 2240198"/>
                <a:gd name="connsiteY9035" fmla="*/ 385074 h 1729012"/>
                <a:gd name="connsiteX9036" fmla="*/ 994339 w 2240198"/>
                <a:gd name="connsiteY9036" fmla="*/ 384430 h 1729012"/>
                <a:gd name="connsiteX9037" fmla="*/ 997136 w 2240198"/>
                <a:gd name="connsiteY9037" fmla="*/ 384442 h 1729012"/>
                <a:gd name="connsiteX9038" fmla="*/ 1003781 w 2240198"/>
                <a:gd name="connsiteY9038" fmla="*/ 385815 h 1729012"/>
                <a:gd name="connsiteX9039" fmla="*/ 1005694 w 2240198"/>
                <a:gd name="connsiteY9039" fmla="*/ 386572 h 1729012"/>
                <a:gd name="connsiteX9040" fmla="*/ 1010783 w 2240198"/>
                <a:gd name="connsiteY9040" fmla="*/ 390001 h 1729012"/>
                <a:gd name="connsiteX9041" fmla="*/ 1012080 w 2240198"/>
                <a:gd name="connsiteY9041" fmla="*/ 391955 h 1729012"/>
                <a:gd name="connsiteX9042" fmla="*/ 1011921 w 2240198"/>
                <a:gd name="connsiteY9042" fmla="*/ 393836 h 1729012"/>
                <a:gd name="connsiteX9043" fmla="*/ 1012894 w 2240198"/>
                <a:gd name="connsiteY9043" fmla="*/ 395216 h 1729012"/>
                <a:gd name="connsiteX9044" fmla="*/ 1016843 w 2240198"/>
                <a:gd name="connsiteY9044" fmla="*/ 397227 h 1729012"/>
                <a:gd name="connsiteX9045" fmla="*/ 1033816 w 2240198"/>
                <a:gd name="connsiteY9045" fmla="*/ 407620 h 1729012"/>
                <a:gd name="connsiteX9046" fmla="*/ 1036985 w 2240198"/>
                <a:gd name="connsiteY9046" fmla="*/ 410073 h 1729012"/>
                <a:gd name="connsiteX9047" fmla="*/ 1039156 w 2240198"/>
                <a:gd name="connsiteY9047" fmla="*/ 411158 h 1729012"/>
                <a:gd name="connsiteX9048" fmla="*/ 1043076 w 2240198"/>
                <a:gd name="connsiteY9048" fmla="*/ 411953 h 1729012"/>
                <a:gd name="connsiteX9049" fmla="*/ 1045374 w 2240198"/>
                <a:gd name="connsiteY9049" fmla="*/ 411788 h 1729012"/>
                <a:gd name="connsiteX9050" fmla="*/ 1047240 w 2240198"/>
                <a:gd name="connsiteY9050" fmla="*/ 411059 h 1729012"/>
                <a:gd name="connsiteX9051" fmla="*/ 1047553 w 2240198"/>
                <a:gd name="connsiteY9051" fmla="*/ 410111 h 1729012"/>
                <a:gd name="connsiteX9052" fmla="*/ 1040215 w 2240198"/>
                <a:gd name="connsiteY9052" fmla="*/ 406485 h 1729012"/>
                <a:gd name="connsiteX9053" fmla="*/ 1038373 w 2240198"/>
                <a:gd name="connsiteY9053" fmla="*/ 404554 h 1729012"/>
                <a:gd name="connsiteX9054" fmla="*/ 1036805 w 2240198"/>
                <a:gd name="connsiteY9054" fmla="*/ 401916 h 1729012"/>
                <a:gd name="connsiteX9055" fmla="*/ 1037490 w 2240198"/>
                <a:gd name="connsiteY9055" fmla="*/ 401065 h 1729012"/>
                <a:gd name="connsiteX9056" fmla="*/ 1039621 w 2240198"/>
                <a:gd name="connsiteY9056" fmla="*/ 400771 h 1729012"/>
                <a:gd name="connsiteX9057" fmla="*/ 1044985 w 2240198"/>
                <a:gd name="connsiteY9057" fmla="*/ 401115 h 1729012"/>
                <a:gd name="connsiteX9058" fmla="*/ 1051303 w 2240198"/>
                <a:gd name="connsiteY9058" fmla="*/ 400401 h 1729012"/>
                <a:gd name="connsiteX9059" fmla="*/ 1044300 w 2240198"/>
                <a:gd name="connsiteY9059" fmla="*/ 399290 h 1729012"/>
                <a:gd name="connsiteX9060" fmla="*/ 1039727 w 2240198"/>
                <a:gd name="connsiteY9060" fmla="*/ 397814 h 1729012"/>
                <a:gd name="connsiteX9061" fmla="*/ 1035032 w 2240198"/>
                <a:gd name="connsiteY9061" fmla="*/ 397742 h 1729012"/>
                <a:gd name="connsiteX9062" fmla="*/ 1029163 w 2240198"/>
                <a:gd name="connsiteY9062" fmla="*/ 395374 h 1729012"/>
                <a:gd name="connsiteX9063" fmla="*/ 1029160 w 2240198"/>
                <a:gd name="connsiteY9063" fmla="*/ 394633 h 1729012"/>
                <a:gd name="connsiteX9064" fmla="*/ 1030598 w 2240198"/>
                <a:gd name="connsiteY9064" fmla="*/ 393878 h 1729012"/>
                <a:gd name="connsiteX9065" fmla="*/ 1038582 w 2240198"/>
                <a:gd name="connsiteY9065" fmla="*/ 392825 h 1729012"/>
                <a:gd name="connsiteX9066" fmla="*/ 1040094 w 2240198"/>
                <a:gd name="connsiteY9066" fmla="*/ 392372 h 1729012"/>
                <a:gd name="connsiteX9067" fmla="*/ 1040230 w 2240198"/>
                <a:gd name="connsiteY9067" fmla="*/ 391715 h 1729012"/>
                <a:gd name="connsiteX9068" fmla="*/ 1037589 w 2240198"/>
                <a:gd name="connsiteY9068" fmla="*/ 390126 h 1729012"/>
                <a:gd name="connsiteX9069" fmla="*/ 1035237 w 2240198"/>
                <a:gd name="connsiteY9069" fmla="*/ 389261 h 1729012"/>
                <a:gd name="connsiteX9070" fmla="*/ 1023167 w 2240198"/>
                <a:gd name="connsiteY9070" fmla="*/ 387336 h 1729012"/>
                <a:gd name="connsiteX9071" fmla="*/ 1018877 w 2240198"/>
                <a:gd name="connsiteY9071" fmla="*/ 385180 h 1729012"/>
                <a:gd name="connsiteX9072" fmla="*/ 1017513 w 2240198"/>
                <a:gd name="connsiteY9072" fmla="*/ 384150 h 1729012"/>
                <a:gd name="connsiteX9073" fmla="*/ 1017079 w 2240198"/>
                <a:gd name="connsiteY9073" fmla="*/ 383157 h 1729012"/>
                <a:gd name="connsiteX9074" fmla="*/ 1018627 w 2240198"/>
                <a:gd name="connsiteY9074" fmla="*/ 380609 h 1729012"/>
                <a:gd name="connsiteX9075" fmla="*/ 1025119 w 2240198"/>
                <a:gd name="connsiteY9075" fmla="*/ 377408 h 1729012"/>
                <a:gd name="connsiteX9076" fmla="*/ 1029829 w 2240198"/>
                <a:gd name="connsiteY9076" fmla="*/ 375881 h 1729012"/>
                <a:gd name="connsiteX9077" fmla="*/ 1037924 w 2240198"/>
                <a:gd name="connsiteY9077" fmla="*/ 374762 h 1729012"/>
                <a:gd name="connsiteX9078" fmla="*/ 1044380 w 2240198"/>
                <a:gd name="connsiteY9078" fmla="*/ 374896 h 1729012"/>
                <a:gd name="connsiteX9079" fmla="*/ 1048058 w 2240198"/>
                <a:gd name="connsiteY9079" fmla="*/ 375324 h 1729012"/>
                <a:gd name="connsiteX9080" fmla="*/ 1056667 w 2240198"/>
                <a:gd name="connsiteY9080" fmla="*/ 380747 h 1729012"/>
                <a:gd name="connsiteX9081" fmla="*/ 1060721 w 2240198"/>
                <a:gd name="connsiteY9081" fmla="*/ 384305 h 1729012"/>
                <a:gd name="connsiteX9082" fmla="*/ 1067803 w 2240198"/>
                <a:gd name="connsiteY9082" fmla="*/ 383678 h 1729012"/>
                <a:gd name="connsiteX9083" fmla="*/ 1065757 w 2240198"/>
                <a:gd name="connsiteY9083" fmla="*/ 379940 h 1729012"/>
                <a:gd name="connsiteX9084" fmla="*/ 1064422 w 2240198"/>
                <a:gd name="connsiteY9084" fmla="*/ 375829 h 1729012"/>
                <a:gd name="connsiteX9085" fmla="*/ 1066522 w 2240198"/>
                <a:gd name="connsiteY9085" fmla="*/ 374318 h 1729012"/>
                <a:gd name="connsiteX9086" fmla="*/ 1023905 w 2240198"/>
                <a:gd name="connsiteY9086" fmla="*/ 368535 h 1729012"/>
                <a:gd name="connsiteX9087" fmla="*/ 1027818 w 2240198"/>
                <a:gd name="connsiteY9087" fmla="*/ 368649 h 1729012"/>
                <a:gd name="connsiteX9088" fmla="*/ 1032842 w 2240198"/>
                <a:gd name="connsiteY9088" fmla="*/ 369506 h 1729012"/>
                <a:gd name="connsiteX9089" fmla="*/ 1020736 w 2240198"/>
                <a:gd name="connsiteY9089" fmla="*/ 374000 h 1729012"/>
                <a:gd name="connsiteX9090" fmla="*/ 1008576 w 2240198"/>
                <a:gd name="connsiteY9090" fmla="*/ 377686 h 1729012"/>
                <a:gd name="connsiteX9091" fmla="*/ 1002007 w 2240198"/>
                <a:gd name="connsiteY9091" fmla="*/ 377915 h 1729012"/>
                <a:gd name="connsiteX9092" fmla="*/ 998970 w 2240198"/>
                <a:gd name="connsiteY9092" fmla="*/ 377281 h 1729012"/>
                <a:gd name="connsiteX9093" fmla="*/ 998764 w 2240198"/>
                <a:gd name="connsiteY9093" fmla="*/ 376354 h 1729012"/>
                <a:gd name="connsiteX9094" fmla="*/ 1001391 w 2240198"/>
                <a:gd name="connsiteY9094" fmla="*/ 375133 h 1729012"/>
                <a:gd name="connsiteX9095" fmla="*/ 1010124 w 2240198"/>
                <a:gd name="connsiteY9095" fmla="*/ 373141 h 1729012"/>
                <a:gd name="connsiteX9096" fmla="*/ 1015269 w 2240198"/>
                <a:gd name="connsiteY9096" fmla="*/ 369504 h 1729012"/>
                <a:gd name="connsiteX9097" fmla="*/ 1017188 w 2240198"/>
                <a:gd name="connsiteY9097" fmla="*/ 369055 h 1729012"/>
                <a:gd name="connsiteX9098" fmla="*/ 815728 w 2240198"/>
                <a:gd name="connsiteY9098" fmla="*/ 364894 h 1729012"/>
                <a:gd name="connsiteX9099" fmla="*/ 822770 w 2240198"/>
                <a:gd name="connsiteY9099" fmla="*/ 368239 h 1729012"/>
                <a:gd name="connsiteX9100" fmla="*/ 824330 w 2240198"/>
                <a:gd name="connsiteY9100" fmla="*/ 368444 h 1729012"/>
                <a:gd name="connsiteX9101" fmla="*/ 824974 w 2240198"/>
                <a:gd name="connsiteY9101" fmla="*/ 369323 h 1729012"/>
                <a:gd name="connsiteX9102" fmla="*/ 824700 w 2240198"/>
                <a:gd name="connsiteY9102" fmla="*/ 370877 h 1729012"/>
                <a:gd name="connsiteX9103" fmla="*/ 823822 w 2240198"/>
                <a:gd name="connsiteY9103" fmla="*/ 372356 h 1729012"/>
                <a:gd name="connsiteX9104" fmla="*/ 821301 w 2240198"/>
                <a:gd name="connsiteY9104" fmla="*/ 375027 h 1729012"/>
                <a:gd name="connsiteX9105" fmla="*/ 820709 w 2240198"/>
                <a:gd name="connsiteY9105" fmla="*/ 376146 h 1729012"/>
                <a:gd name="connsiteX9106" fmla="*/ 820900 w 2240198"/>
                <a:gd name="connsiteY9106" fmla="*/ 377297 h 1729012"/>
                <a:gd name="connsiteX9107" fmla="*/ 822628 w 2240198"/>
                <a:gd name="connsiteY9107" fmla="*/ 379954 h 1729012"/>
                <a:gd name="connsiteX9108" fmla="*/ 823158 w 2240198"/>
                <a:gd name="connsiteY9108" fmla="*/ 381702 h 1729012"/>
                <a:gd name="connsiteX9109" fmla="*/ 823539 w 2240198"/>
                <a:gd name="connsiteY9109" fmla="*/ 384645 h 1729012"/>
                <a:gd name="connsiteX9110" fmla="*/ 823820 w 2240198"/>
                <a:gd name="connsiteY9110" fmla="*/ 385079 h 1729012"/>
                <a:gd name="connsiteX9111" fmla="*/ 828055 w 2240198"/>
                <a:gd name="connsiteY9111" fmla="*/ 387561 h 1729012"/>
                <a:gd name="connsiteX9112" fmla="*/ 831907 w 2240198"/>
                <a:gd name="connsiteY9112" fmla="*/ 390790 h 1729012"/>
                <a:gd name="connsiteX9113" fmla="*/ 833691 w 2240198"/>
                <a:gd name="connsiteY9113" fmla="*/ 395849 h 1729012"/>
                <a:gd name="connsiteX9114" fmla="*/ 832304 w 2240198"/>
                <a:gd name="connsiteY9114" fmla="*/ 397594 h 1729012"/>
                <a:gd name="connsiteX9115" fmla="*/ 829061 w 2240198"/>
                <a:gd name="connsiteY9115" fmla="*/ 399995 h 1729012"/>
                <a:gd name="connsiteX9116" fmla="*/ 827132 w 2240198"/>
                <a:gd name="connsiteY9116" fmla="*/ 401995 h 1729012"/>
                <a:gd name="connsiteX9117" fmla="*/ 826516 w 2240198"/>
                <a:gd name="connsiteY9117" fmla="*/ 403592 h 1729012"/>
                <a:gd name="connsiteX9118" fmla="*/ 827007 w 2240198"/>
                <a:gd name="connsiteY9118" fmla="*/ 404556 h 1729012"/>
                <a:gd name="connsiteX9119" fmla="*/ 829402 w 2240198"/>
                <a:gd name="connsiteY9119" fmla="*/ 405046 h 1729012"/>
                <a:gd name="connsiteX9120" fmla="*/ 832599 w 2240198"/>
                <a:gd name="connsiteY9120" fmla="*/ 405193 h 1729012"/>
                <a:gd name="connsiteX9121" fmla="*/ 836339 w 2240198"/>
                <a:gd name="connsiteY9121" fmla="*/ 404624 h 1729012"/>
                <a:gd name="connsiteX9122" fmla="*/ 840560 w 2240198"/>
                <a:gd name="connsiteY9122" fmla="*/ 405015 h 1729012"/>
                <a:gd name="connsiteX9123" fmla="*/ 842473 w 2240198"/>
                <a:gd name="connsiteY9123" fmla="*/ 406182 h 1729012"/>
                <a:gd name="connsiteX9124" fmla="*/ 843826 w 2240198"/>
                <a:gd name="connsiteY9124" fmla="*/ 408256 h 1729012"/>
                <a:gd name="connsiteX9125" fmla="*/ 843882 w 2240198"/>
                <a:gd name="connsiteY9125" fmla="*/ 409367 h 1729012"/>
                <a:gd name="connsiteX9126" fmla="*/ 843615 w 2240198"/>
                <a:gd name="connsiteY9126" fmla="*/ 410324 h 1729012"/>
                <a:gd name="connsiteX9127" fmla="*/ 843023 w 2240198"/>
                <a:gd name="connsiteY9127" fmla="*/ 411119 h 1729012"/>
                <a:gd name="connsiteX9128" fmla="*/ 837565 w 2240198"/>
                <a:gd name="connsiteY9128" fmla="*/ 416338 h 1729012"/>
                <a:gd name="connsiteX9129" fmla="*/ 836290 w 2240198"/>
                <a:gd name="connsiteY9129" fmla="*/ 418140 h 1729012"/>
                <a:gd name="connsiteX9130" fmla="*/ 838056 w 2240198"/>
                <a:gd name="connsiteY9130" fmla="*/ 418579 h 1729012"/>
                <a:gd name="connsiteX9131" fmla="*/ 838907 w 2240198"/>
                <a:gd name="connsiteY9131" fmla="*/ 418276 h 1729012"/>
                <a:gd name="connsiteX9132" fmla="*/ 844356 w 2240198"/>
                <a:gd name="connsiteY9132" fmla="*/ 414370 h 1729012"/>
                <a:gd name="connsiteX9133" fmla="*/ 848455 w 2240198"/>
                <a:gd name="connsiteY9133" fmla="*/ 413148 h 1729012"/>
                <a:gd name="connsiteX9134" fmla="*/ 851566 w 2240198"/>
                <a:gd name="connsiteY9134" fmla="*/ 412867 h 1729012"/>
                <a:gd name="connsiteX9135" fmla="*/ 856689 w 2240198"/>
                <a:gd name="connsiteY9135" fmla="*/ 413647 h 1729012"/>
                <a:gd name="connsiteX9136" fmla="*/ 858731 w 2240198"/>
                <a:gd name="connsiteY9136" fmla="*/ 414320 h 1729012"/>
                <a:gd name="connsiteX9137" fmla="*/ 860132 w 2240198"/>
                <a:gd name="connsiteY9137" fmla="*/ 415117 h 1729012"/>
                <a:gd name="connsiteX9138" fmla="*/ 860894 w 2240198"/>
                <a:gd name="connsiteY9138" fmla="*/ 416037 h 1729012"/>
                <a:gd name="connsiteX9139" fmla="*/ 862909 w 2240198"/>
                <a:gd name="connsiteY9139" fmla="*/ 419777 h 1729012"/>
                <a:gd name="connsiteX9140" fmla="*/ 864364 w 2240198"/>
                <a:gd name="connsiteY9140" fmla="*/ 424603 h 1729012"/>
                <a:gd name="connsiteX9141" fmla="*/ 864601 w 2240198"/>
                <a:gd name="connsiteY9141" fmla="*/ 424106 h 1729012"/>
                <a:gd name="connsiteX9142" fmla="*/ 864637 w 2240198"/>
                <a:gd name="connsiteY9142" fmla="*/ 421402 h 1729012"/>
                <a:gd name="connsiteX9143" fmla="*/ 864918 w 2240198"/>
                <a:gd name="connsiteY9143" fmla="*/ 419296 h 1729012"/>
                <a:gd name="connsiteX9144" fmla="*/ 869953 w 2240198"/>
                <a:gd name="connsiteY9144" fmla="*/ 417871 h 1729012"/>
                <a:gd name="connsiteX9145" fmla="*/ 870080 w 2240198"/>
                <a:gd name="connsiteY9145" fmla="*/ 417401 h 1729012"/>
                <a:gd name="connsiteX9146" fmla="*/ 868273 w 2240198"/>
                <a:gd name="connsiteY9146" fmla="*/ 416234 h 1729012"/>
                <a:gd name="connsiteX9147" fmla="*/ 866734 w 2240198"/>
                <a:gd name="connsiteY9147" fmla="*/ 414639 h 1729012"/>
                <a:gd name="connsiteX9148" fmla="*/ 865669 w 2240198"/>
                <a:gd name="connsiteY9148" fmla="*/ 411649 h 1729012"/>
                <a:gd name="connsiteX9149" fmla="*/ 866085 w 2240198"/>
                <a:gd name="connsiteY9149" fmla="*/ 410533 h 1729012"/>
                <a:gd name="connsiteX9150" fmla="*/ 867139 w 2240198"/>
                <a:gd name="connsiteY9150" fmla="*/ 409334 h 1729012"/>
                <a:gd name="connsiteX9151" fmla="*/ 870361 w 2240198"/>
                <a:gd name="connsiteY9151" fmla="*/ 406784 h 1729012"/>
                <a:gd name="connsiteX9152" fmla="*/ 874125 w 2240198"/>
                <a:gd name="connsiteY9152" fmla="*/ 405260 h 1729012"/>
                <a:gd name="connsiteX9153" fmla="*/ 877472 w 2240198"/>
                <a:gd name="connsiteY9153" fmla="*/ 404892 h 1729012"/>
                <a:gd name="connsiteX9154" fmla="*/ 889941 w 2240198"/>
                <a:gd name="connsiteY9154" fmla="*/ 407551 h 1729012"/>
                <a:gd name="connsiteX9155" fmla="*/ 894847 w 2240198"/>
                <a:gd name="connsiteY9155" fmla="*/ 409733 h 1729012"/>
                <a:gd name="connsiteX9156" fmla="*/ 896842 w 2240198"/>
                <a:gd name="connsiteY9156" fmla="*/ 410856 h 1729012"/>
                <a:gd name="connsiteX9157" fmla="*/ 897558 w 2240198"/>
                <a:gd name="connsiteY9157" fmla="*/ 411656 h 1729012"/>
                <a:gd name="connsiteX9158" fmla="*/ 898601 w 2240198"/>
                <a:gd name="connsiteY9158" fmla="*/ 414211 h 1729012"/>
                <a:gd name="connsiteX9159" fmla="*/ 900690 w 2240198"/>
                <a:gd name="connsiteY9159" fmla="*/ 421196 h 1729012"/>
                <a:gd name="connsiteX9160" fmla="*/ 900677 w 2240198"/>
                <a:gd name="connsiteY9160" fmla="*/ 423436 h 1729012"/>
                <a:gd name="connsiteX9161" fmla="*/ 899711 w 2240198"/>
                <a:gd name="connsiteY9161" fmla="*/ 427038 h 1729012"/>
                <a:gd name="connsiteX9162" fmla="*/ 895682 w 2240198"/>
                <a:gd name="connsiteY9162" fmla="*/ 433774 h 1729012"/>
                <a:gd name="connsiteX9163" fmla="*/ 895068 w 2240198"/>
                <a:gd name="connsiteY9163" fmla="*/ 438331 h 1729012"/>
                <a:gd name="connsiteX9164" fmla="*/ 891012 w 2240198"/>
                <a:gd name="connsiteY9164" fmla="*/ 449619 h 1729012"/>
                <a:gd name="connsiteX9165" fmla="*/ 888239 w 2240198"/>
                <a:gd name="connsiteY9165" fmla="*/ 452676 h 1729012"/>
                <a:gd name="connsiteX9166" fmla="*/ 885179 w 2240198"/>
                <a:gd name="connsiteY9166" fmla="*/ 454814 h 1729012"/>
                <a:gd name="connsiteX9167" fmla="*/ 872612 w 2240198"/>
                <a:gd name="connsiteY9167" fmla="*/ 458573 h 1729012"/>
                <a:gd name="connsiteX9168" fmla="*/ 863157 w 2240198"/>
                <a:gd name="connsiteY9168" fmla="*/ 462391 h 1729012"/>
                <a:gd name="connsiteX9169" fmla="*/ 860761 w 2240198"/>
                <a:gd name="connsiteY9169" fmla="*/ 462995 h 1729012"/>
                <a:gd name="connsiteX9170" fmla="*/ 858282 w 2240198"/>
                <a:gd name="connsiteY9170" fmla="*/ 463046 h 1729012"/>
                <a:gd name="connsiteX9171" fmla="*/ 850459 w 2240198"/>
                <a:gd name="connsiteY9171" fmla="*/ 461780 h 1729012"/>
                <a:gd name="connsiteX9172" fmla="*/ 841378 w 2240198"/>
                <a:gd name="connsiteY9172" fmla="*/ 459353 h 1729012"/>
                <a:gd name="connsiteX9173" fmla="*/ 836215 w 2240198"/>
                <a:gd name="connsiteY9173" fmla="*/ 460041 h 1729012"/>
                <a:gd name="connsiteX9174" fmla="*/ 831069 w 2240198"/>
                <a:gd name="connsiteY9174" fmla="*/ 461793 h 1729012"/>
                <a:gd name="connsiteX9175" fmla="*/ 827827 w 2240198"/>
                <a:gd name="connsiteY9175" fmla="*/ 462263 h 1729012"/>
                <a:gd name="connsiteX9176" fmla="*/ 824777 w 2240198"/>
                <a:gd name="connsiteY9176" fmla="*/ 462030 h 1729012"/>
                <a:gd name="connsiteX9177" fmla="*/ 821748 w 2240198"/>
                <a:gd name="connsiteY9177" fmla="*/ 461405 h 1729012"/>
                <a:gd name="connsiteX9178" fmla="*/ 817765 w 2240198"/>
                <a:gd name="connsiteY9178" fmla="*/ 459764 h 1729012"/>
                <a:gd name="connsiteX9179" fmla="*/ 819820 w 2240198"/>
                <a:gd name="connsiteY9179" fmla="*/ 459013 h 1729012"/>
                <a:gd name="connsiteX9180" fmla="*/ 820756 w 2240198"/>
                <a:gd name="connsiteY9180" fmla="*/ 458174 h 1729012"/>
                <a:gd name="connsiteX9181" fmla="*/ 819927 w 2240198"/>
                <a:gd name="connsiteY9181" fmla="*/ 457309 h 1729012"/>
                <a:gd name="connsiteX9182" fmla="*/ 815736 w 2240198"/>
                <a:gd name="connsiteY9182" fmla="*/ 456062 h 1729012"/>
                <a:gd name="connsiteX9183" fmla="*/ 811395 w 2240198"/>
                <a:gd name="connsiteY9183" fmla="*/ 458833 h 1729012"/>
                <a:gd name="connsiteX9184" fmla="*/ 798702 w 2240198"/>
                <a:gd name="connsiteY9184" fmla="*/ 465293 h 1729012"/>
                <a:gd name="connsiteX9185" fmla="*/ 781645 w 2240198"/>
                <a:gd name="connsiteY9185" fmla="*/ 467454 h 1729012"/>
                <a:gd name="connsiteX9186" fmla="*/ 776297 w 2240198"/>
                <a:gd name="connsiteY9186" fmla="*/ 468768 h 1729012"/>
                <a:gd name="connsiteX9187" fmla="*/ 772324 w 2240198"/>
                <a:gd name="connsiteY9187" fmla="*/ 470463 h 1729012"/>
                <a:gd name="connsiteX9188" fmla="*/ 770261 w 2240198"/>
                <a:gd name="connsiteY9188" fmla="*/ 471860 h 1729012"/>
                <a:gd name="connsiteX9189" fmla="*/ 767103 w 2240198"/>
                <a:gd name="connsiteY9189" fmla="*/ 475134 h 1729012"/>
                <a:gd name="connsiteX9190" fmla="*/ 762245 w 2240198"/>
                <a:gd name="connsiteY9190" fmla="*/ 477597 h 1729012"/>
                <a:gd name="connsiteX9191" fmla="*/ 753454 w 2240198"/>
                <a:gd name="connsiteY9191" fmla="*/ 480288 h 1729012"/>
                <a:gd name="connsiteX9192" fmla="*/ 742268 w 2240198"/>
                <a:gd name="connsiteY9192" fmla="*/ 484462 h 1729012"/>
                <a:gd name="connsiteX9193" fmla="*/ 722221 w 2240198"/>
                <a:gd name="connsiteY9193" fmla="*/ 488722 h 1729012"/>
                <a:gd name="connsiteX9194" fmla="*/ 709605 w 2240198"/>
                <a:gd name="connsiteY9194" fmla="*/ 489470 h 1729012"/>
                <a:gd name="connsiteX9195" fmla="*/ 696998 w 2240198"/>
                <a:gd name="connsiteY9195" fmla="*/ 488061 h 1729012"/>
                <a:gd name="connsiteX9196" fmla="*/ 693004 w 2240198"/>
                <a:gd name="connsiteY9196" fmla="*/ 486913 h 1729012"/>
                <a:gd name="connsiteX9197" fmla="*/ 688815 w 2240198"/>
                <a:gd name="connsiteY9197" fmla="*/ 485112 h 1729012"/>
                <a:gd name="connsiteX9198" fmla="*/ 680245 w 2240198"/>
                <a:gd name="connsiteY9198" fmla="*/ 480863 h 1729012"/>
                <a:gd name="connsiteX9199" fmla="*/ 677875 w 2240198"/>
                <a:gd name="connsiteY9199" fmla="*/ 479325 h 1729012"/>
                <a:gd name="connsiteX9200" fmla="*/ 675118 w 2240198"/>
                <a:gd name="connsiteY9200" fmla="*/ 475981 h 1729012"/>
                <a:gd name="connsiteX9201" fmla="*/ 676748 w 2240198"/>
                <a:gd name="connsiteY9201" fmla="*/ 473754 h 1729012"/>
                <a:gd name="connsiteX9202" fmla="*/ 681318 w 2240198"/>
                <a:gd name="connsiteY9202" fmla="*/ 471183 h 1729012"/>
                <a:gd name="connsiteX9203" fmla="*/ 688153 w 2240198"/>
                <a:gd name="connsiteY9203" fmla="*/ 468841 h 1729012"/>
                <a:gd name="connsiteX9204" fmla="*/ 701809 w 2240198"/>
                <a:gd name="connsiteY9204" fmla="*/ 465670 h 1729012"/>
                <a:gd name="connsiteX9205" fmla="*/ 714192 w 2240198"/>
                <a:gd name="connsiteY9205" fmla="*/ 460593 h 1729012"/>
                <a:gd name="connsiteX9206" fmla="*/ 718577 w 2240198"/>
                <a:gd name="connsiteY9206" fmla="*/ 459638 h 1729012"/>
                <a:gd name="connsiteX9207" fmla="*/ 730500 w 2240198"/>
                <a:gd name="connsiteY9207" fmla="*/ 458861 h 1729012"/>
                <a:gd name="connsiteX9208" fmla="*/ 736512 w 2240198"/>
                <a:gd name="connsiteY9208" fmla="*/ 459335 h 1729012"/>
                <a:gd name="connsiteX9209" fmla="*/ 740861 w 2240198"/>
                <a:gd name="connsiteY9209" fmla="*/ 459068 h 1729012"/>
                <a:gd name="connsiteX9210" fmla="*/ 743729 w 2240198"/>
                <a:gd name="connsiteY9210" fmla="*/ 458370 h 1729012"/>
                <a:gd name="connsiteX9211" fmla="*/ 747984 w 2240198"/>
                <a:gd name="connsiteY9211" fmla="*/ 456533 h 1729012"/>
                <a:gd name="connsiteX9212" fmla="*/ 754205 w 2240198"/>
                <a:gd name="connsiteY9212" fmla="*/ 452868 h 1729012"/>
                <a:gd name="connsiteX9213" fmla="*/ 758745 w 2240198"/>
                <a:gd name="connsiteY9213" fmla="*/ 449432 h 1729012"/>
                <a:gd name="connsiteX9214" fmla="*/ 759897 w 2240198"/>
                <a:gd name="connsiteY9214" fmla="*/ 447824 h 1729012"/>
                <a:gd name="connsiteX9215" fmla="*/ 758376 w 2240198"/>
                <a:gd name="connsiteY9215" fmla="*/ 446317 h 1729012"/>
                <a:gd name="connsiteX9216" fmla="*/ 756151 w 2240198"/>
                <a:gd name="connsiteY9216" fmla="*/ 446106 h 1729012"/>
                <a:gd name="connsiteX9217" fmla="*/ 748729 w 2240198"/>
                <a:gd name="connsiteY9217" fmla="*/ 449641 h 1729012"/>
                <a:gd name="connsiteX9218" fmla="*/ 745003 w 2240198"/>
                <a:gd name="connsiteY9218" fmla="*/ 450830 h 1729012"/>
                <a:gd name="connsiteX9219" fmla="*/ 740946 w 2240198"/>
                <a:gd name="connsiteY9219" fmla="*/ 450912 h 1729012"/>
                <a:gd name="connsiteX9220" fmla="*/ 735377 w 2240198"/>
                <a:gd name="connsiteY9220" fmla="*/ 452120 h 1729012"/>
                <a:gd name="connsiteX9221" fmla="*/ 729959 w 2240198"/>
                <a:gd name="connsiteY9221" fmla="*/ 452604 h 1729012"/>
                <a:gd name="connsiteX9222" fmla="*/ 728911 w 2240198"/>
                <a:gd name="connsiteY9222" fmla="*/ 452565 h 1729012"/>
                <a:gd name="connsiteX9223" fmla="*/ 723267 w 2240198"/>
                <a:gd name="connsiteY9223" fmla="*/ 449188 h 1729012"/>
                <a:gd name="connsiteX9224" fmla="*/ 720250 w 2240198"/>
                <a:gd name="connsiteY9224" fmla="*/ 448594 h 1729012"/>
                <a:gd name="connsiteX9225" fmla="*/ 718847 w 2240198"/>
                <a:gd name="connsiteY9225" fmla="*/ 448950 h 1729012"/>
                <a:gd name="connsiteX9226" fmla="*/ 717561 w 2240198"/>
                <a:gd name="connsiteY9226" fmla="*/ 449843 h 1729012"/>
                <a:gd name="connsiteX9227" fmla="*/ 715115 w 2240198"/>
                <a:gd name="connsiteY9227" fmla="*/ 452336 h 1729012"/>
                <a:gd name="connsiteX9228" fmla="*/ 713702 w 2240198"/>
                <a:gd name="connsiteY9228" fmla="*/ 453230 h 1729012"/>
                <a:gd name="connsiteX9229" fmla="*/ 711266 w 2240198"/>
                <a:gd name="connsiteY9229" fmla="*/ 453880 h 1729012"/>
                <a:gd name="connsiteX9230" fmla="*/ 701421 w 2240198"/>
                <a:gd name="connsiteY9230" fmla="*/ 454620 h 1729012"/>
                <a:gd name="connsiteX9231" fmla="*/ 691986 w 2240198"/>
                <a:gd name="connsiteY9231" fmla="*/ 455873 h 1729012"/>
                <a:gd name="connsiteX9232" fmla="*/ 689885 w 2240198"/>
                <a:gd name="connsiteY9232" fmla="*/ 455099 h 1729012"/>
                <a:gd name="connsiteX9233" fmla="*/ 688607 w 2240198"/>
                <a:gd name="connsiteY9233" fmla="*/ 453657 h 1729012"/>
                <a:gd name="connsiteX9234" fmla="*/ 688345 w 2240198"/>
                <a:gd name="connsiteY9234" fmla="*/ 452778 h 1729012"/>
                <a:gd name="connsiteX9235" fmla="*/ 688203 w 2240198"/>
                <a:gd name="connsiteY9235" fmla="*/ 449813 h 1729012"/>
                <a:gd name="connsiteX9236" fmla="*/ 687566 w 2240198"/>
                <a:gd name="connsiteY9236" fmla="*/ 448631 h 1729012"/>
                <a:gd name="connsiteX9237" fmla="*/ 688396 w 2240198"/>
                <a:gd name="connsiteY9237" fmla="*/ 446161 h 1729012"/>
                <a:gd name="connsiteX9238" fmla="*/ 689472 w 2240198"/>
                <a:gd name="connsiteY9238" fmla="*/ 444273 h 1729012"/>
                <a:gd name="connsiteX9239" fmla="*/ 690793 w 2240198"/>
                <a:gd name="connsiteY9239" fmla="*/ 442975 h 1729012"/>
                <a:gd name="connsiteX9240" fmla="*/ 697278 w 2240198"/>
                <a:gd name="connsiteY9240" fmla="*/ 439142 h 1729012"/>
                <a:gd name="connsiteX9241" fmla="*/ 698189 w 2240198"/>
                <a:gd name="connsiteY9241" fmla="*/ 438146 h 1729012"/>
                <a:gd name="connsiteX9242" fmla="*/ 695099 w 2240198"/>
                <a:gd name="connsiteY9242" fmla="*/ 438352 h 1729012"/>
                <a:gd name="connsiteX9243" fmla="*/ 687758 w 2240198"/>
                <a:gd name="connsiteY9243" fmla="*/ 440229 h 1729012"/>
                <a:gd name="connsiteX9244" fmla="*/ 686798 w 2240198"/>
                <a:gd name="connsiteY9244" fmla="*/ 439576 h 1729012"/>
                <a:gd name="connsiteX9245" fmla="*/ 685079 w 2240198"/>
                <a:gd name="connsiteY9245" fmla="*/ 437431 h 1729012"/>
                <a:gd name="connsiteX9246" fmla="*/ 684258 w 2240198"/>
                <a:gd name="connsiteY9246" fmla="*/ 437215 h 1729012"/>
                <a:gd name="connsiteX9247" fmla="*/ 683322 w 2240198"/>
                <a:gd name="connsiteY9247" fmla="*/ 438106 h 1729012"/>
                <a:gd name="connsiteX9248" fmla="*/ 682777 w 2240198"/>
                <a:gd name="connsiteY9248" fmla="*/ 439362 h 1729012"/>
                <a:gd name="connsiteX9249" fmla="*/ 681516 w 2240198"/>
                <a:gd name="connsiteY9249" fmla="*/ 444535 h 1729012"/>
                <a:gd name="connsiteX9250" fmla="*/ 680405 w 2240198"/>
                <a:gd name="connsiteY9250" fmla="*/ 447174 h 1729012"/>
                <a:gd name="connsiteX9251" fmla="*/ 677451 w 2240198"/>
                <a:gd name="connsiteY9251" fmla="*/ 446641 h 1729012"/>
                <a:gd name="connsiteX9252" fmla="*/ 673799 w 2240198"/>
                <a:gd name="connsiteY9252" fmla="*/ 445048 h 1729012"/>
                <a:gd name="connsiteX9253" fmla="*/ 672434 w 2240198"/>
                <a:gd name="connsiteY9253" fmla="*/ 444832 h 1729012"/>
                <a:gd name="connsiteX9254" fmla="*/ 671648 w 2240198"/>
                <a:gd name="connsiteY9254" fmla="*/ 445337 h 1729012"/>
                <a:gd name="connsiteX9255" fmla="*/ 671898 w 2240198"/>
                <a:gd name="connsiteY9255" fmla="*/ 446230 h 1729012"/>
                <a:gd name="connsiteX9256" fmla="*/ 675605 w 2240198"/>
                <a:gd name="connsiteY9256" fmla="*/ 450651 h 1729012"/>
                <a:gd name="connsiteX9257" fmla="*/ 675647 w 2240198"/>
                <a:gd name="connsiteY9257" fmla="*/ 452194 h 1729012"/>
                <a:gd name="connsiteX9258" fmla="*/ 673222 w 2240198"/>
                <a:gd name="connsiteY9258" fmla="*/ 454893 h 1729012"/>
                <a:gd name="connsiteX9259" fmla="*/ 662891 w 2240198"/>
                <a:gd name="connsiteY9259" fmla="*/ 459368 h 1729012"/>
                <a:gd name="connsiteX9260" fmla="*/ 658811 w 2240198"/>
                <a:gd name="connsiteY9260" fmla="*/ 460564 h 1729012"/>
                <a:gd name="connsiteX9261" fmla="*/ 657367 w 2240198"/>
                <a:gd name="connsiteY9261" fmla="*/ 460100 h 1729012"/>
                <a:gd name="connsiteX9262" fmla="*/ 656067 w 2240198"/>
                <a:gd name="connsiteY9262" fmla="*/ 458874 h 1729012"/>
                <a:gd name="connsiteX9263" fmla="*/ 654912 w 2240198"/>
                <a:gd name="connsiteY9263" fmla="*/ 456878 h 1729012"/>
                <a:gd name="connsiteX9264" fmla="*/ 652230 w 2240198"/>
                <a:gd name="connsiteY9264" fmla="*/ 454198 h 1729012"/>
                <a:gd name="connsiteX9265" fmla="*/ 650633 w 2240198"/>
                <a:gd name="connsiteY9265" fmla="*/ 453597 h 1729012"/>
                <a:gd name="connsiteX9266" fmla="*/ 648844 w 2240198"/>
                <a:gd name="connsiteY9266" fmla="*/ 453516 h 1729012"/>
                <a:gd name="connsiteX9267" fmla="*/ 647198 w 2240198"/>
                <a:gd name="connsiteY9267" fmla="*/ 454070 h 1729012"/>
                <a:gd name="connsiteX9268" fmla="*/ 645696 w 2240198"/>
                <a:gd name="connsiteY9268" fmla="*/ 455259 h 1729012"/>
                <a:gd name="connsiteX9269" fmla="*/ 644764 w 2240198"/>
                <a:gd name="connsiteY9269" fmla="*/ 456520 h 1729012"/>
                <a:gd name="connsiteX9270" fmla="*/ 643878 w 2240198"/>
                <a:gd name="connsiteY9270" fmla="*/ 458870 h 1729012"/>
                <a:gd name="connsiteX9271" fmla="*/ 641998 w 2240198"/>
                <a:gd name="connsiteY9271" fmla="*/ 460666 h 1729012"/>
                <a:gd name="connsiteX9272" fmla="*/ 640840 w 2240198"/>
                <a:gd name="connsiteY9272" fmla="*/ 460972 h 1729012"/>
                <a:gd name="connsiteX9273" fmla="*/ 630347 w 2240198"/>
                <a:gd name="connsiteY9273" fmla="*/ 457247 h 1729012"/>
                <a:gd name="connsiteX9274" fmla="*/ 621892 w 2240198"/>
                <a:gd name="connsiteY9274" fmla="*/ 450626 h 1729012"/>
                <a:gd name="connsiteX9275" fmla="*/ 612639 w 2240198"/>
                <a:gd name="connsiteY9275" fmla="*/ 451658 h 1729012"/>
                <a:gd name="connsiteX9276" fmla="*/ 608485 w 2240198"/>
                <a:gd name="connsiteY9276" fmla="*/ 451424 h 1729012"/>
                <a:gd name="connsiteX9277" fmla="*/ 595880 w 2240198"/>
                <a:gd name="connsiteY9277" fmla="*/ 448992 h 1729012"/>
                <a:gd name="connsiteX9278" fmla="*/ 594276 w 2240198"/>
                <a:gd name="connsiteY9278" fmla="*/ 447488 h 1729012"/>
                <a:gd name="connsiteX9279" fmla="*/ 593392 w 2240198"/>
                <a:gd name="connsiteY9279" fmla="*/ 445532 h 1729012"/>
                <a:gd name="connsiteX9280" fmla="*/ 593477 w 2240198"/>
                <a:gd name="connsiteY9280" fmla="*/ 444468 h 1729012"/>
                <a:gd name="connsiteX9281" fmla="*/ 594001 w 2240198"/>
                <a:gd name="connsiteY9281" fmla="*/ 443367 h 1729012"/>
                <a:gd name="connsiteX9282" fmla="*/ 595597 w 2240198"/>
                <a:gd name="connsiteY9282" fmla="*/ 441183 h 1729012"/>
                <a:gd name="connsiteX9283" fmla="*/ 598774 w 2240198"/>
                <a:gd name="connsiteY9283" fmla="*/ 437871 h 1729012"/>
                <a:gd name="connsiteX9284" fmla="*/ 600099 w 2240198"/>
                <a:gd name="connsiteY9284" fmla="*/ 436802 h 1729012"/>
                <a:gd name="connsiteX9285" fmla="*/ 602076 w 2240198"/>
                <a:gd name="connsiteY9285" fmla="*/ 435922 h 1729012"/>
                <a:gd name="connsiteX9286" fmla="*/ 604698 w 2240198"/>
                <a:gd name="connsiteY9286" fmla="*/ 435230 h 1729012"/>
                <a:gd name="connsiteX9287" fmla="*/ 611377 w 2240198"/>
                <a:gd name="connsiteY9287" fmla="*/ 434844 h 1729012"/>
                <a:gd name="connsiteX9288" fmla="*/ 628570 w 2240198"/>
                <a:gd name="connsiteY9288" fmla="*/ 434719 h 1729012"/>
                <a:gd name="connsiteX9289" fmla="*/ 632008 w 2240198"/>
                <a:gd name="connsiteY9289" fmla="*/ 434205 h 1729012"/>
                <a:gd name="connsiteX9290" fmla="*/ 650817 w 2240198"/>
                <a:gd name="connsiteY9290" fmla="*/ 427774 h 1729012"/>
                <a:gd name="connsiteX9291" fmla="*/ 652964 w 2240198"/>
                <a:gd name="connsiteY9291" fmla="*/ 426718 h 1729012"/>
                <a:gd name="connsiteX9292" fmla="*/ 655724 w 2240198"/>
                <a:gd name="connsiteY9292" fmla="*/ 424660 h 1729012"/>
                <a:gd name="connsiteX9293" fmla="*/ 656348 w 2240198"/>
                <a:gd name="connsiteY9293" fmla="*/ 423809 h 1729012"/>
                <a:gd name="connsiteX9294" fmla="*/ 656231 w 2240198"/>
                <a:gd name="connsiteY9294" fmla="*/ 423253 h 1729012"/>
                <a:gd name="connsiteX9295" fmla="*/ 633093 w 2240198"/>
                <a:gd name="connsiteY9295" fmla="*/ 428360 h 1729012"/>
                <a:gd name="connsiteX9296" fmla="*/ 623171 w 2240198"/>
                <a:gd name="connsiteY9296" fmla="*/ 429458 h 1729012"/>
                <a:gd name="connsiteX9297" fmla="*/ 607969 w 2240198"/>
                <a:gd name="connsiteY9297" fmla="*/ 428626 h 1729012"/>
                <a:gd name="connsiteX9298" fmla="*/ 605110 w 2240198"/>
                <a:gd name="connsiteY9298" fmla="*/ 427822 h 1729012"/>
                <a:gd name="connsiteX9299" fmla="*/ 604459 w 2240198"/>
                <a:gd name="connsiteY9299" fmla="*/ 426394 h 1729012"/>
                <a:gd name="connsiteX9300" fmla="*/ 607629 w 2240198"/>
                <a:gd name="connsiteY9300" fmla="*/ 422603 h 1729012"/>
                <a:gd name="connsiteX9301" fmla="*/ 609301 w 2240198"/>
                <a:gd name="connsiteY9301" fmla="*/ 421190 h 1729012"/>
                <a:gd name="connsiteX9302" fmla="*/ 613624 w 2240198"/>
                <a:gd name="connsiteY9302" fmla="*/ 419856 h 1729012"/>
                <a:gd name="connsiteX9303" fmla="*/ 624084 w 2240198"/>
                <a:gd name="connsiteY9303" fmla="*/ 417962 h 1729012"/>
                <a:gd name="connsiteX9304" fmla="*/ 638070 w 2240198"/>
                <a:gd name="connsiteY9304" fmla="*/ 416288 h 1729012"/>
                <a:gd name="connsiteX9305" fmla="*/ 647229 w 2240198"/>
                <a:gd name="connsiteY9305" fmla="*/ 416250 h 1729012"/>
                <a:gd name="connsiteX9306" fmla="*/ 654916 w 2240198"/>
                <a:gd name="connsiteY9306" fmla="*/ 414920 h 1729012"/>
                <a:gd name="connsiteX9307" fmla="*/ 659536 w 2240198"/>
                <a:gd name="connsiteY9307" fmla="*/ 413398 h 1729012"/>
                <a:gd name="connsiteX9308" fmla="*/ 644049 w 2240198"/>
                <a:gd name="connsiteY9308" fmla="*/ 413477 h 1729012"/>
                <a:gd name="connsiteX9309" fmla="*/ 625397 w 2240198"/>
                <a:gd name="connsiteY9309" fmla="*/ 414190 h 1729012"/>
                <a:gd name="connsiteX9310" fmla="*/ 622700 w 2240198"/>
                <a:gd name="connsiteY9310" fmla="*/ 413695 h 1729012"/>
                <a:gd name="connsiteX9311" fmla="*/ 617373 w 2240198"/>
                <a:gd name="connsiteY9311" fmla="*/ 411689 h 1729012"/>
                <a:gd name="connsiteX9312" fmla="*/ 617114 w 2240198"/>
                <a:gd name="connsiteY9312" fmla="*/ 410222 h 1729012"/>
                <a:gd name="connsiteX9313" fmla="*/ 619246 w 2240198"/>
                <a:gd name="connsiteY9313" fmla="*/ 408457 h 1729012"/>
                <a:gd name="connsiteX9314" fmla="*/ 620027 w 2240198"/>
                <a:gd name="connsiteY9314" fmla="*/ 407143 h 1729012"/>
                <a:gd name="connsiteX9315" fmla="*/ 618503 w 2240198"/>
                <a:gd name="connsiteY9315" fmla="*/ 404182 h 1729012"/>
                <a:gd name="connsiteX9316" fmla="*/ 618970 w 2240198"/>
                <a:gd name="connsiteY9316" fmla="*/ 403033 h 1729012"/>
                <a:gd name="connsiteX9317" fmla="*/ 622446 w 2240198"/>
                <a:gd name="connsiteY9317" fmla="*/ 400562 h 1729012"/>
                <a:gd name="connsiteX9318" fmla="*/ 628643 w 2240198"/>
                <a:gd name="connsiteY9318" fmla="*/ 397887 h 1729012"/>
                <a:gd name="connsiteX9319" fmla="*/ 632465 w 2240198"/>
                <a:gd name="connsiteY9319" fmla="*/ 397508 h 1729012"/>
                <a:gd name="connsiteX9320" fmla="*/ 639840 w 2240198"/>
                <a:gd name="connsiteY9320" fmla="*/ 398421 h 1729012"/>
                <a:gd name="connsiteX9321" fmla="*/ 660857 w 2240198"/>
                <a:gd name="connsiteY9321" fmla="*/ 399366 h 1729012"/>
                <a:gd name="connsiteX9322" fmla="*/ 664934 w 2240198"/>
                <a:gd name="connsiteY9322" fmla="*/ 399027 h 1729012"/>
                <a:gd name="connsiteX9323" fmla="*/ 662359 w 2240198"/>
                <a:gd name="connsiteY9323" fmla="*/ 397865 h 1729012"/>
                <a:gd name="connsiteX9324" fmla="*/ 658697 w 2240198"/>
                <a:gd name="connsiteY9324" fmla="*/ 396998 h 1729012"/>
                <a:gd name="connsiteX9325" fmla="*/ 642472 w 2240198"/>
                <a:gd name="connsiteY9325" fmla="*/ 395514 h 1729012"/>
                <a:gd name="connsiteX9326" fmla="*/ 639115 w 2240198"/>
                <a:gd name="connsiteY9326" fmla="*/ 394850 h 1729012"/>
                <a:gd name="connsiteX9327" fmla="*/ 638473 w 2240198"/>
                <a:gd name="connsiteY9327" fmla="*/ 393936 h 1729012"/>
                <a:gd name="connsiteX9328" fmla="*/ 638231 w 2240198"/>
                <a:gd name="connsiteY9328" fmla="*/ 392586 h 1729012"/>
                <a:gd name="connsiteX9329" fmla="*/ 638387 w 2240198"/>
                <a:gd name="connsiteY9329" fmla="*/ 390804 h 1729012"/>
                <a:gd name="connsiteX9330" fmla="*/ 639560 w 2240198"/>
                <a:gd name="connsiteY9330" fmla="*/ 388975 h 1729012"/>
                <a:gd name="connsiteX9331" fmla="*/ 644597 w 2240198"/>
                <a:gd name="connsiteY9331" fmla="*/ 385153 h 1729012"/>
                <a:gd name="connsiteX9332" fmla="*/ 659359 w 2240198"/>
                <a:gd name="connsiteY9332" fmla="*/ 382001 h 1729012"/>
                <a:gd name="connsiteX9333" fmla="*/ 665233 w 2240198"/>
                <a:gd name="connsiteY9333" fmla="*/ 381566 h 1729012"/>
                <a:gd name="connsiteX9334" fmla="*/ 671118 w 2240198"/>
                <a:gd name="connsiteY9334" fmla="*/ 381774 h 1729012"/>
                <a:gd name="connsiteX9335" fmla="*/ 677097 w 2240198"/>
                <a:gd name="connsiteY9335" fmla="*/ 383192 h 1729012"/>
                <a:gd name="connsiteX9336" fmla="*/ 679759 w 2240198"/>
                <a:gd name="connsiteY9336" fmla="*/ 384419 h 1729012"/>
                <a:gd name="connsiteX9337" fmla="*/ 681095 w 2240198"/>
                <a:gd name="connsiteY9337" fmla="*/ 385934 h 1729012"/>
                <a:gd name="connsiteX9338" fmla="*/ 681741 w 2240198"/>
                <a:gd name="connsiteY9338" fmla="*/ 387341 h 1729012"/>
                <a:gd name="connsiteX9339" fmla="*/ 681816 w 2240198"/>
                <a:gd name="connsiteY9339" fmla="*/ 389774 h 1729012"/>
                <a:gd name="connsiteX9340" fmla="*/ 682104 w 2240198"/>
                <a:gd name="connsiteY9340" fmla="*/ 390732 h 1729012"/>
                <a:gd name="connsiteX9341" fmla="*/ 683184 w 2240198"/>
                <a:gd name="connsiteY9341" fmla="*/ 392328 h 1729012"/>
                <a:gd name="connsiteX9342" fmla="*/ 686622 w 2240198"/>
                <a:gd name="connsiteY9342" fmla="*/ 396073 h 1729012"/>
                <a:gd name="connsiteX9343" fmla="*/ 689153 w 2240198"/>
                <a:gd name="connsiteY9343" fmla="*/ 397240 h 1729012"/>
                <a:gd name="connsiteX9344" fmla="*/ 700829 w 2240198"/>
                <a:gd name="connsiteY9344" fmla="*/ 395065 h 1729012"/>
                <a:gd name="connsiteX9345" fmla="*/ 705690 w 2240198"/>
                <a:gd name="connsiteY9345" fmla="*/ 394577 h 1729012"/>
                <a:gd name="connsiteX9346" fmla="*/ 710580 w 2240198"/>
                <a:gd name="connsiteY9346" fmla="*/ 395261 h 1729012"/>
                <a:gd name="connsiteX9347" fmla="*/ 717701 w 2240198"/>
                <a:gd name="connsiteY9347" fmla="*/ 397508 h 1729012"/>
                <a:gd name="connsiteX9348" fmla="*/ 726924 w 2240198"/>
                <a:gd name="connsiteY9348" fmla="*/ 404278 h 1729012"/>
                <a:gd name="connsiteX9349" fmla="*/ 738807 w 2240198"/>
                <a:gd name="connsiteY9349" fmla="*/ 411170 h 1729012"/>
                <a:gd name="connsiteX9350" fmla="*/ 738746 w 2240198"/>
                <a:gd name="connsiteY9350" fmla="*/ 412651 h 1729012"/>
                <a:gd name="connsiteX9351" fmla="*/ 734194 w 2240198"/>
                <a:gd name="connsiteY9351" fmla="*/ 414949 h 1729012"/>
                <a:gd name="connsiteX9352" fmla="*/ 733339 w 2240198"/>
                <a:gd name="connsiteY9352" fmla="*/ 415933 h 1729012"/>
                <a:gd name="connsiteX9353" fmla="*/ 733952 w 2240198"/>
                <a:gd name="connsiteY9353" fmla="*/ 416616 h 1729012"/>
                <a:gd name="connsiteX9354" fmla="*/ 738498 w 2240198"/>
                <a:gd name="connsiteY9354" fmla="*/ 417065 h 1729012"/>
                <a:gd name="connsiteX9355" fmla="*/ 742759 w 2240198"/>
                <a:gd name="connsiteY9355" fmla="*/ 416727 h 1729012"/>
                <a:gd name="connsiteX9356" fmla="*/ 746823 w 2240198"/>
                <a:gd name="connsiteY9356" fmla="*/ 417243 h 1729012"/>
                <a:gd name="connsiteX9357" fmla="*/ 747732 w 2240198"/>
                <a:gd name="connsiteY9357" fmla="*/ 417833 h 1729012"/>
                <a:gd name="connsiteX9358" fmla="*/ 749223 w 2240198"/>
                <a:gd name="connsiteY9358" fmla="*/ 420342 h 1729012"/>
                <a:gd name="connsiteX9359" fmla="*/ 751294 w 2240198"/>
                <a:gd name="connsiteY9359" fmla="*/ 424765 h 1729012"/>
                <a:gd name="connsiteX9360" fmla="*/ 753756 w 2240198"/>
                <a:gd name="connsiteY9360" fmla="*/ 428061 h 1729012"/>
                <a:gd name="connsiteX9361" fmla="*/ 756605 w 2240198"/>
                <a:gd name="connsiteY9361" fmla="*/ 430236 h 1729012"/>
                <a:gd name="connsiteX9362" fmla="*/ 759410 w 2240198"/>
                <a:gd name="connsiteY9362" fmla="*/ 431351 h 1729012"/>
                <a:gd name="connsiteX9363" fmla="*/ 763545 w 2240198"/>
                <a:gd name="connsiteY9363" fmla="*/ 431435 h 1729012"/>
                <a:gd name="connsiteX9364" fmla="*/ 767705 w 2240198"/>
                <a:gd name="connsiteY9364" fmla="*/ 430787 h 1729012"/>
                <a:gd name="connsiteX9365" fmla="*/ 774454 w 2240198"/>
                <a:gd name="connsiteY9365" fmla="*/ 431002 h 1729012"/>
                <a:gd name="connsiteX9366" fmla="*/ 809269 w 2240198"/>
                <a:gd name="connsiteY9366" fmla="*/ 433511 h 1729012"/>
                <a:gd name="connsiteX9367" fmla="*/ 811332 w 2240198"/>
                <a:gd name="connsiteY9367" fmla="*/ 433074 h 1729012"/>
                <a:gd name="connsiteX9368" fmla="*/ 812798 w 2240198"/>
                <a:gd name="connsiteY9368" fmla="*/ 431697 h 1729012"/>
                <a:gd name="connsiteX9369" fmla="*/ 813674 w 2240198"/>
                <a:gd name="connsiteY9369" fmla="*/ 429375 h 1729012"/>
                <a:gd name="connsiteX9370" fmla="*/ 814007 w 2240198"/>
                <a:gd name="connsiteY9370" fmla="*/ 427466 h 1729012"/>
                <a:gd name="connsiteX9371" fmla="*/ 813532 w 2240198"/>
                <a:gd name="connsiteY9371" fmla="*/ 424854 h 1729012"/>
                <a:gd name="connsiteX9372" fmla="*/ 812859 w 2240198"/>
                <a:gd name="connsiteY9372" fmla="*/ 423605 h 1729012"/>
                <a:gd name="connsiteX9373" fmla="*/ 791274 w 2240198"/>
                <a:gd name="connsiteY9373" fmla="*/ 415124 h 1729012"/>
                <a:gd name="connsiteX9374" fmla="*/ 789386 w 2240198"/>
                <a:gd name="connsiteY9374" fmla="*/ 411702 h 1729012"/>
                <a:gd name="connsiteX9375" fmla="*/ 799931 w 2240198"/>
                <a:gd name="connsiteY9375" fmla="*/ 406913 h 1729012"/>
                <a:gd name="connsiteX9376" fmla="*/ 800689 w 2240198"/>
                <a:gd name="connsiteY9376" fmla="*/ 405807 h 1729012"/>
                <a:gd name="connsiteX9377" fmla="*/ 800895 w 2240198"/>
                <a:gd name="connsiteY9377" fmla="*/ 404282 h 1729012"/>
                <a:gd name="connsiteX9378" fmla="*/ 800545 w 2240198"/>
                <a:gd name="connsiteY9378" fmla="*/ 402338 h 1729012"/>
                <a:gd name="connsiteX9379" fmla="*/ 799114 w 2240198"/>
                <a:gd name="connsiteY9379" fmla="*/ 400485 h 1729012"/>
                <a:gd name="connsiteX9380" fmla="*/ 793452 w 2240198"/>
                <a:gd name="connsiteY9380" fmla="*/ 396946 h 1729012"/>
                <a:gd name="connsiteX9381" fmla="*/ 788440 w 2240198"/>
                <a:gd name="connsiteY9381" fmla="*/ 396413 h 1729012"/>
                <a:gd name="connsiteX9382" fmla="*/ 781011 w 2240198"/>
                <a:gd name="connsiteY9382" fmla="*/ 392919 h 1729012"/>
                <a:gd name="connsiteX9383" fmla="*/ 779839 w 2240198"/>
                <a:gd name="connsiteY9383" fmla="*/ 392033 h 1729012"/>
                <a:gd name="connsiteX9384" fmla="*/ 778879 w 2240198"/>
                <a:gd name="connsiteY9384" fmla="*/ 390640 h 1729012"/>
                <a:gd name="connsiteX9385" fmla="*/ 778129 w 2240198"/>
                <a:gd name="connsiteY9385" fmla="*/ 388730 h 1729012"/>
                <a:gd name="connsiteX9386" fmla="*/ 778256 w 2240198"/>
                <a:gd name="connsiteY9386" fmla="*/ 387259 h 1729012"/>
                <a:gd name="connsiteX9387" fmla="*/ 779255 w 2240198"/>
                <a:gd name="connsiteY9387" fmla="*/ 386231 h 1729012"/>
                <a:gd name="connsiteX9388" fmla="*/ 786569 w 2240198"/>
                <a:gd name="connsiteY9388" fmla="*/ 382668 h 1729012"/>
                <a:gd name="connsiteX9389" fmla="*/ 789529 w 2240198"/>
                <a:gd name="connsiteY9389" fmla="*/ 380689 h 1729012"/>
                <a:gd name="connsiteX9390" fmla="*/ 798653 w 2240198"/>
                <a:gd name="connsiteY9390" fmla="*/ 371755 h 1729012"/>
                <a:gd name="connsiteX9391" fmla="*/ 802874 w 2240198"/>
                <a:gd name="connsiteY9391" fmla="*/ 368138 h 1729012"/>
                <a:gd name="connsiteX9392" fmla="*/ 805893 w 2240198"/>
                <a:gd name="connsiteY9392" fmla="*/ 366441 h 1729012"/>
                <a:gd name="connsiteX9393" fmla="*/ 808968 w 2240198"/>
                <a:gd name="connsiteY9393" fmla="*/ 365386 h 1729012"/>
                <a:gd name="connsiteX9394" fmla="*/ 1289773 w 2240198"/>
                <a:gd name="connsiteY9394" fmla="*/ 364055 h 1729012"/>
                <a:gd name="connsiteX9395" fmla="*/ 1294529 w 2240198"/>
                <a:gd name="connsiteY9395" fmla="*/ 364094 h 1729012"/>
                <a:gd name="connsiteX9396" fmla="*/ 1298946 w 2240198"/>
                <a:gd name="connsiteY9396" fmla="*/ 366969 h 1729012"/>
                <a:gd name="connsiteX9397" fmla="*/ 1300195 w 2240198"/>
                <a:gd name="connsiteY9397" fmla="*/ 367955 h 1729012"/>
                <a:gd name="connsiteX9398" fmla="*/ 1300953 w 2240198"/>
                <a:gd name="connsiteY9398" fmla="*/ 369135 h 1729012"/>
                <a:gd name="connsiteX9399" fmla="*/ 1300978 w 2240198"/>
                <a:gd name="connsiteY9399" fmla="*/ 370265 h 1729012"/>
                <a:gd name="connsiteX9400" fmla="*/ 1300618 w 2240198"/>
                <a:gd name="connsiteY9400" fmla="*/ 371252 h 1729012"/>
                <a:gd name="connsiteX9401" fmla="*/ 1298617 w 2240198"/>
                <a:gd name="connsiteY9401" fmla="*/ 373448 h 1729012"/>
                <a:gd name="connsiteX9402" fmla="*/ 1297740 w 2240198"/>
                <a:gd name="connsiteY9402" fmla="*/ 374981 h 1729012"/>
                <a:gd name="connsiteX9403" fmla="*/ 1297746 w 2240198"/>
                <a:gd name="connsiteY9403" fmla="*/ 376481 h 1729012"/>
                <a:gd name="connsiteX9404" fmla="*/ 1298180 w 2240198"/>
                <a:gd name="connsiteY9404" fmla="*/ 378649 h 1729012"/>
                <a:gd name="connsiteX9405" fmla="*/ 1298987 w 2240198"/>
                <a:gd name="connsiteY9405" fmla="*/ 380081 h 1729012"/>
                <a:gd name="connsiteX9406" fmla="*/ 1300169 w 2240198"/>
                <a:gd name="connsiteY9406" fmla="*/ 380772 h 1729012"/>
                <a:gd name="connsiteX9407" fmla="*/ 1300165 w 2240198"/>
                <a:gd name="connsiteY9407" fmla="*/ 381476 h 1729012"/>
                <a:gd name="connsiteX9408" fmla="*/ 1298978 w 2240198"/>
                <a:gd name="connsiteY9408" fmla="*/ 382191 h 1729012"/>
                <a:gd name="connsiteX9409" fmla="*/ 1295154 w 2240198"/>
                <a:gd name="connsiteY9409" fmla="*/ 381821 h 1729012"/>
                <a:gd name="connsiteX9410" fmla="*/ 1293886 w 2240198"/>
                <a:gd name="connsiteY9410" fmla="*/ 382522 h 1729012"/>
                <a:gd name="connsiteX9411" fmla="*/ 1291854 w 2240198"/>
                <a:gd name="connsiteY9411" fmla="*/ 382124 h 1729012"/>
                <a:gd name="connsiteX9412" fmla="*/ 1289057 w 2240198"/>
                <a:gd name="connsiteY9412" fmla="*/ 380625 h 1729012"/>
                <a:gd name="connsiteX9413" fmla="*/ 1285788 w 2240198"/>
                <a:gd name="connsiteY9413" fmla="*/ 377679 h 1729012"/>
                <a:gd name="connsiteX9414" fmla="*/ 1282048 w 2240198"/>
                <a:gd name="connsiteY9414" fmla="*/ 373281 h 1729012"/>
                <a:gd name="connsiteX9415" fmla="*/ 1279125 w 2240198"/>
                <a:gd name="connsiteY9415" fmla="*/ 369484 h 1729012"/>
                <a:gd name="connsiteX9416" fmla="*/ 1278967 w 2240198"/>
                <a:gd name="connsiteY9416" fmla="*/ 368439 h 1729012"/>
                <a:gd name="connsiteX9417" fmla="*/ 1279924 w 2240198"/>
                <a:gd name="connsiteY9417" fmla="*/ 366662 h 1729012"/>
                <a:gd name="connsiteX9418" fmla="*/ 1282847 w 2240198"/>
                <a:gd name="connsiteY9418" fmla="*/ 365478 h 1729012"/>
                <a:gd name="connsiteX9419" fmla="*/ 687424 w 2240198"/>
                <a:gd name="connsiteY9419" fmla="*/ 360978 h 1729012"/>
                <a:gd name="connsiteX9420" fmla="*/ 692093 w 2240198"/>
                <a:gd name="connsiteY9420" fmla="*/ 362143 h 1729012"/>
                <a:gd name="connsiteX9421" fmla="*/ 695189 w 2240198"/>
                <a:gd name="connsiteY9421" fmla="*/ 363505 h 1729012"/>
                <a:gd name="connsiteX9422" fmla="*/ 696937 w 2240198"/>
                <a:gd name="connsiteY9422" fmla="*/ 364687 h 1729012"/>
                <a:gd name="connsiteX9423" fmla="*/ 697670 w 2240198"/>
                <a:gd name="connsiteY9423" fmla="*/ 366904 h 1729012"/>
                <a:gd name="connsiteX9424" fmla="*/ 695815 w 2240198"/>
                <a:gd name="connsiteY9424" fmla="*/ 369023 h 1729012"/>
                <a:gd name="connsiteX9425" fmla="*/ 691968 w 2240198"/>
                <a:gd name="connsiteY9425" fmla="*/ 370755 h 1729012"/>
                <a:gd name="connsiteX9426" fmla="*/ 665623 w 2240198"/>
                <a:gd name="connsiteY9426" fmla="*/ 368196 h 1729012"/>
                <a:gd name="connsiteX9427" fmla="*/ 664181 w 2240198"/>
                <a:gd name="connsiteY9427" fmla="*/ 367391 h 1729012"/>
                <a:gd name="connsiteX9428" fmla="*/ 663498 w 2240198"/>
                <a:gd name="connsiteY9428" fmla="*/ 366299 h 1729012"/>
                <a:gd name="connsiteX9429" fmla="*/ 668269 w 2240198"/>
                <a:gd name="connsiteY9429" fmla="*/ 363308 h 1729012"/>
                <a:gd name="connsiteX9430" fmla="*/ 674030 w 2240198"/>
                <a:gd name="connsiteY9430" fmla="*/ 362016 h 1729012"/>
                <a:gd name="connsiteX9431" fmla="*/ 1144907 w 2240198"/>
                <a:gd name="connsiteY9431" fmla="*/ 351848 h 1729012"/>
                <a:gd name="connsiteX9432" fmla="*/ 1150265 w 2240198"/>
                <a:gd name="connsiteY9432" fmla="*/ 351979 h 1729012"/>
                <a:gd name="connsiteX9433" fmla="*/ 1163242 w 2240198"/>
                <a:gd name="connsiteY9433" fmla="*/ 354457 h 1729012"/>
                <a:gd name="connsiteX9434" fmla="*/ 1176182 w 2240198"/>
                <a:gd name="connsiteY9434" fmla="*/ 357600 h 1729012"/>
                <a:gd name="connsiteX9435" fmla="*/ 1184325 w 2240198"/>
                <a:gd name="connsiteY9435" fmla="*/ 360044 h 1729012"/>
                <a:gd name="connsiteX9436" fmla="*/ 1189066 w 2240198"/>
                <a:gd name="connsiteY9436" fmla="*/ 360506 h 1729012"/>
                <a:gd name="connsiteX9437" fmla="*/ 1193122 w 2240198"/>
                <a:gd name="connsiteY9437" fmla="*/ 359796 h 1729012"/>
                <a:gd name="connsiteX9438" fmla="*/ 1196598 w 2240198"/>
                <a:gd name="connsiteY9438" fmla="*/ 359952 h 1729012"/>
                <a:gd name="connsiteX9439" fmla="*/ 1201734 w 2240198"/>
                <a:gd name="connsiteY9439" fmla="*/ 362096 h 1729012"/>
                <a:gd name="connsiteX9440" fmla="*/ 1206492 w 2240198"/>
                <a:gd name="connsiteY9440" fmla="*/ 365369 h 1729012"/>
                <a:gd name="connsiteX9441" fmla="*/ 1210148 w 2240198"/>
                <a:gd name="connsiteY9441" fmla="*/ 366847 h 1729012"/>
                <a:gd name="connsiteX9442" fmla="*/ 1211328 w 2240198"/>
                <a:gd name="connsiteY9442" fmla="*/ 367593 h 1729012"/>
                <a:gd name="connsiteX9443" fmla="*/ 1211789 w 2240198"/>
                <a:gd name="connsiteY9443" fmla="*/ 368418 h 1729012"/>
                <a:gd name="connsiteX9444" fmla="*/ 1212362 w 2240198"/>
                <a:gd name="connsiteY9444" fmla="*/ 370889 h 1729012"/>
                <a:gd name="connsiteX9445" fmla="*/ 1212344 w 2240198"/>
                <a:gd name="connsiteY9445" fmla="*/ 372034 h 1729012"/>
                <a:gd name="connsiteX9446" fmla="*/ 1212074 w 2240198"/>
                <a:gd name="connsiteY9446" fmla="*/ 372948 h 1729012"/>
                <a:gd name="connsiteX9447" fmla="*/ 1210474 w 2240198"/>
                <a:gd name="connsiteY9447" fmla="*/ 375200 h 1729012"/>
                <a:gd name="connsiteX9448" fmla="*/ 1209129 w 2240198"/>
                <a:gd name="connsiteY9448" fmla="*/ 377985 h 1729012"/>
                <a:gd name="connsiteX9449" fmla="*/ 1206352 w 2240198"/>
                <a:gd name="connsiteY9449" fmla="*/ 380437 h 1729012"/>
                <a:gd name="connsiteX9450" fmla="*/ 1204874 w 2240198"/>
                <a:gd name="connsiteY9450" fmla="*/ 382285 h 1729012"/>
                <a:gd name="connsiteX9451" fmla="*/ 1203606 w 2240198"/>
                <a:gd name="connsiteY9451" fmla="*/ 384617 h 1729012"/>
                <a:gd name="connsiteX9452" fmla="*/ 1206463 w 2240198"/>
                <a:gd name="connsiteY9452" fmla="*/ 383228 h 1729012"/>
                <a:gd name="connsiteX9453" fmla="*/ 1217278 w 2240198"/>
                <a:gd name="connsiteY9453" fmla="*/ 375520 h 1729012"/>
                <a:gd name="connsiteX9454" fmla="*/ 1224355 w 2240198"/>
                <a:gd name="connsiteY9454" fmla="*/ 376439 h 1729012"/>
                <a:gd name="connsiteX9455" fmla="*/ 1234986 w 2240198"/>
                <a:gd name="connsiteY9455" fmla="*/ 375751 h 1729012"/>
                <a:gd name="connsiteX9456" fmla="*/ 1247856 w 2240198"/>
                <a:gd name="connsiteY9456" fmla="*/ 372595 h 1729012"/>
                <a:gd name="connsiteX9457" fmla="*/ 1253968 w 2240198"/>
                <a:gd name="connsiteY9457" fmla="*/ 372101 h 1729012"/>
                <a:gd name="connsiteX9458" fmla="*/ 1260139 w 2240198"/>
                <a:gd name="connsiteY9458" fmla="*/ 372331 h 1729012"/>
                <a:gd name="connsiteX9459" fmla="*/ 1264723 w 2240198"/>
                <a:gd name="connsiteY9459" fmla="*/ 373327 h 1729012"/>
                <a:gd name="connsiteX9460" fmla="*/ 1274507 w 2240198"/>
                <a:gd name="connsiteY9460" fmla="*/ 377580 h 1729012"/>
                <a:gd name="connsiteX9461" fmla="*/ 1277895 w 2240198"/>
                <a:gd name="connsiteY9461" fmla="*/ 379604 h 1729012"/>
                <a:gd name="connsiteX9462" fmla="*/ 1279167 w 2240198"/>
                <a:gd name="connsiteY9462" fmla="*/ 381037 h 1729012"/>
                <a:gd name="connsiteX9463" fmla="*/ 1279471 w 2240198"/>
                <a:gd name="connsiteY9463" fmla="*/ 382090 h 1729012"/>
                <a:gd name="connsiteX9464" fmla="*/ 1277469 w 2240198"/>
                <a:gd name="connsiteY9464" fmla="*/ 383723 h 1729012"/>
                <a:gd name="connsiteX9465" fmla="*/ 1271321 w 2240198"/>
                <a:gd name="connsiteY9465" fmla="*/ 382730 h 1729012"/>
                <a:gd name="connsiteX9466" fmla="*/ 1261205 w 2240198"/>
                <a:gd name="connsiteY9466" fmla="*/ 381854 h 1729012"/>
                <a:gd name="connsiteX9467" fmla="*/ 1259355 w 2240198"/>
                <a:gd name="connsiteY9467" fmla="*/ 381308 h 1729012"/>
                <a:gd name="connsiteX9468" fmla="*/ 1257779 w 2240198"/>
                <a:gd name="connsiteY9468" fmla="*/ 381352 h 1729012"/>
                <a:gd name="connsiteX9469" fmla="*/ 1256634 w 2240198"/>
                <a:gd name="connsiteY9469" fmla="*/ 381944 h 1729012"/>
                <a:gd name="connsiteX9470" fmla="*/ 1257348 w 2240198"/>
                <a:gd name="connsiteY9470" fmla="*/ 384189 h 1729012"/>
                <a:gd name="connsiteX9471" fmla="*/ 1259408 w 2240198"/>
                <a:gd name="connsiteY9471" fmla="*/ 384681 h 1729012"/>
                <a:gd name="connsiteX9472" fmla="*/ 1271556 w 2240198"/>
                <a:gd name="connsiteY9472" fmla="*/ 385164 h 1729012"/>
                <a:gd name="connsiteX9473" fmla="*/ 1311373 w 2240198"/>
                <a:gd name="connsiteY9473" fmla="*/ 392283 h 1729012"/>
                <a:gd name="connsiteX9474" fmla="*/ 1313032 w 2240198"/>
                <a:gd name="connsiteY9474" fmla="*/ 394554 h 1729012"/>
                <a:gd name="connsiteX9475" fmla="*/ 1312589 w 2240198"/>
                <a:gd name="connsiteY9475" fmla="*/ 395558 h 1729012"/>
                <a:gd name="connsiteX9476" fmla="*/ 1311180 w 2240198"/>
                <a:gd name="connsiteY9476" fmla="*/ 396671 h 1729012"/>
                <a:gd name="connsiteX9477" fmla="*/ 1308278 w 2240198"/>
                <a:gd name="connsiteY9477" fmla="*/ 398163 h 1729012"/>
                <a:gd name="connsiteX9478" fmla="*/ 1285318 w 2240198"/>
                <a:gd name="connsiteY9478" fmla="*/ 399789 h 1729012"/>
                <a:gd name="connsiteX9479" fmla="*/ 1272252 w 2240198"/>
                <a:gd name="connsiteY9479" fmla="*/ 398350 h 1729012"/>
                <a:gd name="connsiteX9480" fmla="*/ 1261271 w 2240198"/>
                <a:gd name="connsiteY9480" fmla="*/ 396030 h 1729012"/>
                <a:gd name="connsiteX9481" fmla="*/ 1257545 w 2240198"/>
                <a:gd name="connsiteY9481" fmla="*/ 396548 h 1729012"/>
                <a:gd name="connsiteX9482" fmla="*/ 1260788 w 2240198"/>
                <a:gd name="connsiteY9482" fmla="*/ 399690 h 1729012"/>
                <a:gd name="connsiteX9483" fmla="*/ 1267373 w 2240198"/>
                <a:gd name="connsiteY9483" fmla="*/ 400648 h 1729012"/>
                <a:gd name="connsiteX9484" fmla="*/ 1272885 w 2240198"/>
                <a:gd name="connsiteY9484" fmla="*/ 402503 h 1729012"/>
                <a:gd name="connsiteX9485" fmla="*/ 1275174 w 2240198"/>
                <a:gd name="connsiteY9485" fmla="*/ 404055 h 1729012"/>
                <a:gd name="connsiteX9486" fmla="*/ 1286857 w 2240198"/>
                <a:gd name="connsiteY9486" fmla="*/ 405237 h 1729012"/>
                <a:gd name="connsiteX9487" fmla="*/ 1288767 w 2240198"/>
                <a:gd name="connsiteY9487" fmla="*/ 406444 h 1729012"/>
                <a:gd name="connsiteX9488" fmla="*/ 1292400 w 2240198"/>
                <a:gd name="connsiteY9488" fmla="*/ 409530 h 1729012"/>
                <a:gd name="connsiteX9489" fmla="*/ 1295448 w 2240198"/>
                <a:gd name="connsiteY9489" fmla="*/ 409769 h 1729012"/>
                <a:gd name="connsiteX9490" fmla="*/ 1298468 w 2240198"/>
                <a:gd name="connsiteY9490" fmla="*/ 411920 h 1729012"/>
                <a:gd name="connsiteX9491" fmla="*/ 1300956 w 2240198"/>
                <a:gd name="connsiteY9491" fmla="*/ 415612 h 1729012"/>
                <a:gd name="connsiteX9492" fmla="*/ 1302104 w 2240198"/>
                <a:gd name="connsiteY9492" fmla="*/ 416106 h 1729012"/>
                <a:gd name="connsiteX9493" fmla="*/ 1305624 w 2240198"/>
                <a:gd name="connsiteY9493" fmla="*/ 415440 h 1729012"/>
                <a:gd name="connsiteX9494" fmla="*/ 1311548 w 2240198"/>
                <a:gd name="connsiteY9494" fmla="*/ 418642 h 1729012"/>
                <a:gd name="connsiteX9495" fmla="*/ 1313392 w 2240198"/>
                <a:gd name="connsiteY9495" fmla="*/ 420351 h 1729012"/>
                <a:gd name="connsiteX9496" fmla="*/ 1313400 w 2240198"/>
                <a:gd name="connsiteY9496" fmla="*/ 421629 h 1729012"/>
                <a:gd name="connsiteX9497" fmla="*/ 1312079 w 2240198"/>
                <a:gd name="connsiteY9497" fmla="*/ 423630 h 1729012"/>
                <a:gd name="connsiteX9498" fmla="*/ 1309428 w 2240198"/>
                <a:gd name="connsiteY9498" fmla="*/ 426347 h 1729012"/>
                <a:gd name="connsiteX9499" fmla="*/ 1302727 w 2240198"/>
                <a:gd name="connsiteY9499" fmla="*/ 429542 h 1729012"/>
                <a:gd name="connsiteX9500" fmla="*/ 1302206 w 2240198"/>
                <a:gd name="connsiteY9500" fmla="*/ 430503 h 1729012"/>
                <a:gd name="connsiteX9501" fmla="*/ 1310034 w 2240198"/>
                <a:gd name="connsiteY9501" fmla="*/ 430126 h 1729012"/>
                <a:gd name="connsiteX9502" fmla="*/ 1311476 w 2240198"/>
                <a:gd name="connsiteY9502" fmla="*/ 430551 h 1729012"/>
                <a:gd name="connsiteX9503" fmla="*/ 1320699 w 2240198"/>
                <a:gd name="connsiteY9503" fmla="*/ 436206 h 1729012"/>
                <a:gd name="connsiteX9504" fmla="*/ 1321912 w 2240198"/>
                <a:gd name="connsiteY9504" fmla="*/ 436310 h 1729012"/>
                <a:gd name="connsiteX9505" fmla="*/ 1322671 w 2240198"/>
                <a:gd name="connsiteY9505" fmla="*/ 435719 h 1729012"/>
                <a:gd name="connsiteX9506" fmla="*/ 1323554 w 2240198"/>
                <a:gd name="connsiteY9506" fmla="*/ 433717 h 1729012"/>
                <a:gd name="connsiteX9507" fmla="*/ 1323161 w 2240198"/>
                <a:gd name="connsiteY9507" fmla="*/ 431864 h 1729012"/>
                <a:gd name="connsiteX9508" fmla="*/ 1322034 w 2240198"/>
                <a:gd name="connsiteY9508" fmla="*/ 429291 h 1729012"/>
                <a:gd name="connsiteX9509" fmla="*/ 1322335 w 2240198"/>
                <a:gd name="connsiteY9509" fmla="*/ 427423 h 1729012"/>
                <a:gd name="connsiteX9510" fmla="*/ 1324066 w 2240198"/>
                <a:gd name="connsiteY9510" fmla="*/ 426261 h 1729012"/>
                <a:gd name="connsiteX9511" fmla="*/ 1325817 w 2240198"/>
                <a:gd name="connsiteY9511" fmla="*/ 425684 h 1729012"/>
                <a:gd name="connsiteX9512" fmla="*/ 1327589 w 2240198"/>
                <a:gd name="connsiteY9512" fmla="*/ 425694 h 1729012"/>
                <a:gd name="connsiteX9513" fmla="*/ 1329515 w 2240198"/>
                <a:gd name="connsiteY9513" fmla="*/ 426381 h 1729012"/>
                <a:gd name="connsiteX9514" fmla="*/ 1338839 w 2240198"/>
                <a:gd name="connsiteY9514" fmla="*/ 433228 h 1729012"/>
                <a:gd name="connsiteX9515" fmla="*/ 1350796 w 2240198"/>
                <a:gd name="connsiteY9515" fmla="*/ 429958 h 1729012"/>
                <a:gd name="connsiteX9516" fmla="*/ 1352979 w 2240198"/>
                <a:gd name="connsiteY9516" fmla="*/ 431427 h 1729012"/>
                <a:gd name="connsiteX9517" fmla="*/ 1354785 w 2240198"/>
                <a:gd name="connsiteY9517" fmla="*/ 434170 h 1729012"/>
                <a:gd name="connsiteX9518" fmla="*/ 1355630 w 2240198"/>
                <a:gd name="connsiteY9518" fmla="*/ 434622 h 1729012"/>
                <a:gd name="connsiteX9519" fmla="*/ 1360053 w 2240198"/>
                <a:gd name="connsiteY9519" fmla="*/ 429152 h 1729012"/>
                <a:gd name="connsiteX9520" fmla="*/ 1362785 w 2240198"/>
                <a:gd name="connsiteY9520" fmla="*/ 427793 h 1729012"/>
                <a:gd name="connsiteX9521" fmla="*/ 1374004 w 2240198"/>
                <a:gd name="connsiteY9521" fmla="*/ 434288 h 1729012"/>
                <a:gd name="connsiteX9522" fmla="*/ 1380844 w 2240198"/>
                <a:gd name="connsiteY9522" fmla="*/ 435724 h 1729012"/>
                <a:gd name="connsiteX9523" fmla="*/ 1383587 w 2240198"/>
                <a:gd name="connsiteY9523" fmla="*/ 437113 h 1729012"/>
                <a:gd name="connsiteX9524" fmla="*/ 1388664 w 2240198"/>
                <a:gd name="connsiteY9524" fmla="*/ 438647 h 1729012"/>
                <a:gd name="connsiteX9525" fmla="*/ 1395887 w 2240198"/>
                <a:gd name="connsiteY9525" fmla="*/ 439227 h 1729012"/>
                <a:gd name="connsiteX9526" fmla="*/ 1397076 w 2240198"/>
                <a:gd name="connsiteY9526" fmla="*/ 436822 h 1729012"/>
                <a:gd name="connsiteX9527" fmla="*/ 1392912 w 2240198"/>
                <a:gd name="connsiteY9527" fmla="*/ 433729 h 1729012"/>
                <a:gd name="connsiteX9528" fmla="*/ 1395341 w 2240198"/>
                <a:gd name="connsiteY9528" fmla="*/ 432371 h 1729012"/>
                <a:gd name="connsiteX9529" fmla="*/ 1405274 w 2240198"/>
                <a:gd name="connsiteY9529" fmla="*/ 429745 h 1729012"/>
                <a:gd name="connsiteX9530" fmla="*/ 1410572 w 2240198"/>
                <a:gd name="connsiteY9530" fmla="*/ 430114 h 1729012"/>
                <a:gd name="connsiteX9531" fmla="*/ 1420348 w 2240198"/>
                <a:gd name="connsiteY9531" fmla="*/ 426392 h 1729012"/>
                <a:gd name="connsiteX9532" fmla="*/ 1426346 w 2240198"/>
                <a:gd name="connsiteY9532" fmla="*/ 425888 h 1729012"/>
                <a:gd name="connsiteX9533" fmla="*/ 1430031 w 2240198"/>
                <a:gd name="connsiteY9533" fmla="*/ 425951 h 1729012"/>
                <a:gd name="connsiteX9534" fmla="*/ 1442132 w 2240198"/>
                <a:gd name="connsiteY9534" fmla="*/ 420317 h 1729012"/>
                <a:gd name="connsiteX9535" fmla="*/ 1445007 w 2240198"/>
                <a:gd name="connsiteY9535" fmla="*/ 419424 h 1729012"/>
                <a:gd name="connsiteX9536" fmla="*/ 1447094 w 2240198"/>
                <a:gd name="connsiteY9536" fmla="*/ 417407 h 1729012"/>
                <a:gd name="connsiteX9537" fmla="*/ 1451846 w 2240198"/>
                <a:gd name="connsiteY9537" fmla="*/ 417722 h 1729012"/>
                <a:gd name="connsiteX9538" fmla="*/ 1464713 w 2240198"/>
                <a:gd name="connsiteY9538" fmla="*/ 420929 h 1729012"/>
                <a:gd name="connsiteX9539" fmla="*/ 1468356 w 2240198"/>
                <a:gd name="connsiteY9539" fmla="*/ 420639 h 1729012"/>
                <a:gd name="connsiteX9540" fmla="*/ 1482048 w 2240198"/>
                <a:gd name="connsiteY9540" fmla="*/ 417443 h 1729012"/>
                <a:gd name="connsiteX9541" fmla="*/ 1487108 w 2240198"/>
                <a:gd name="connsiteY9541" fmla="*/ 416662 h 1729012"/>
                <a:gd name="connsiteX9542" fmla="*/ 1492185 w 2240198"/>
                <a:gd name="connsiteY9542" fmla="*/ 416780 h 1729012"/>
                <a:gd name="connsiteX9543" fmla="*/ 1505023 w 2240198"/>
                <a:gd name="connsiteY9543" fmla="*/ 418650 h 1729012"/>
                <a:gd name="connsiteX9544" fmla="*/ 1514629 w 2240198"/>
                <a:gd name="connsiteY9544" fmla="*/ 420661 h 1729012"/>
                <a:gd name="connsiteX9545" fmla="*/ 1517615 w 2240198"/>
                <a:gd name="connsiteY9545" fmla="*/ 421718 h 1729012"/>
                <a:gd name="connsiteX9546" fmla="*/ 1516553 w 2240198"/>
                <a:gd name="connsiteY9546" fmla="*/ 424358 h 1729012"/>
                <a:gd name="connsiteX9547" fmla="*/ 1517038 w 2240198"/>
                <a:gd name="connsiteY9547" fmla="*/ 425139 h 1729012"/>
                <a:gd name="connsiteX9548" fmla="*/ 1518283 w 2240198"/>
                <a:gd name="connsiteY9548" fmla="*/ 425709 h 1729012"/>
                <a:gd name="connsiteX9549" fmla="*/ 1521418 w 2240198"/>
                <a:gd name="connsiteY9549" fmla="*/ 426486 h 1729012"/>
                <a:gd name="connsiteX9550" fmla="*/ 1533413 w 2240198"/>
                <a:gd name="connsiteY9550" fmla="*/ 426535 h 1729012"/>
                <a:gd name="connsiteX9551" fmla="*/ 1538631 w 2240198"/>
                <a:gd name="connsiteY9551" fmla="*/ 427207 h 1729012"/>
                <a:gd name="connsiteX9552" fmla="*/ 1542779 w 2240198"/>
                <a:gd name="connsiteY9552" fmla="*/ 429675 h 1729012"/>
                <a:gd name="connsiteX9553" fmla="*/ 1543772 w 2240198"/>
                <a:gd name="connsiteY9553" fmla="*/ 430656 h 1729012"/>
                <a:gd name="connsiteX9554" fmla="*/ 1543606 w 2240198"/>
                <a:gd name="connsiteY9554" fmla="*/ 431680 h 1729012"/>
                <a:gd name="connsiteX9555" fmla="*/ 1539526 w 2240198"/>
                <a:gd name="connsiteY9555" fmla="*/ 434338 h 1729012"/>
                <a:gd name="connsiteX9556" fmla="*/ 1540190 w 2240198"/>
                <a:gd name="connsiteY9556" fmla="*/ 434899 h 1729012"/>
                <a:gd name="connsiteX9557" fmla="*/ 1544269 w 2240198"/>
                <a:gd name="connsiteY9557" fmla="*/ 435516 h 1729012"/>
                <a:gd name="connsiteX9558" fmla="*/ 1553445 w 2240198"/>
                <a:gd name="connsiteY9558" fmla="*/ 435821 h 1729012"/>
                <a:gd name="connsiteX9559" fmla="*/ 1555411 w 2240198"/>
                <a:gd name="connsiteY9559" fmla="*/ 436435 h 1729012"/>
                <a:gd name="connsiteX9560" fmla="*/ 1557298 w 2240198"/>
                <a:gd name="connsiteY9560" fmla="*/ 439746 h 1729012"/>
                <a:gd name="connsiteX9561" fmla="*/ 1559274 w 2240198"/>
                <a:gd name="connsiteY9561" fmla="*/ 444323 h 1729012"/>
                <a:gd name="connsiteX9562" fmla="*/ 1559243 w 2240198"/>
                <a:gd name="connsiteY9562" fmla="*/ 446138 h 1729012"/>
                <a:gd name="connsiteX9563" fmla="*/ 1556064 w 2240198"/>
                <a:gd name="connsiteY9563" fmla="*/ 449224 h 1729012"/>
                <a:gd name="connsiteX9564" fmla="*/ 1547373 w 2240198"/>
                <a:gd name="connsiteY9564" fmla="*/ 453333 h 1729012"/>
                <a:gd name="connsiteX9565" fmla="*/ 1537728 w 2240198"/>
                <a:gd name="connsiteY9565" fmla="*/ 456739 h 1729012"/>
                <a:gd name="connsiteX9566" fmla="*/ 1537109 w 2240198"/>
                <a:gd name="connsiteY9566" fmla="*/ 457621 h 1729012"/>
                <a:gd name="connsiteX9567" fmla="*/ 1540186 w 2240198"/>
                <a:gd name="connsiteY9567" fmla="*/ 459246 h 1729012"/>
                <a:gd name="connsiteX9568" fmla="*/ 1543364 w 2240198"/>
                <a:gd name="connsiteY9568" fmla="*/ 459959 h 1729012"/>
                <a:gd name="connsiteX9569" fmla="*/ 1545871 w 2240198"/>
                <a:gd name="connsiteY9569" fmla="*/ 459816 h 1729012"/>
                <a:gd name="connsiteX9570" fmla="*/ 1553564 w 2240198"/>
                <a:gd name="connsiteY9570" fmla="*/ 458268 h 1729012"/>
                <a:gd name="connsiteX9571" fmla="*/ 1555312 w 2240198"/>
                <a:gd name="connsiteY9571" fmla="*/ 458298 h 1729012"/>
                <a:gd name="connsiteX9572" fmla="*/ 1558844 w 2240198"/>
                <a:gd name="connsiteY9572" fmla="*/ 459878 h 1729012"/>
                <a:gd name="connsiteX9573" fmla="*/ 1560477 w 2240198"/>
                <a:gd name="connsiteY9573" fmla="*/ 461444 h 1729012"/>
                <a:gd name="connsiteX9574" fmla="*/ 1561972 w 2240198"/>
                <a:gd name="connsiteY9574" fmla="*/ 463529 h 1729012"/>
                <a:gd name="connsiteX9575" fmla="*/ 1559270 w 2240198"/>
                <a:gd name="connsiteY9575" fmla="*/ 465426 h 1729012"/>
                <a:gd name="connsiteX9576" fmla="*/ 1548202 w 2240198"/>
                <a:gd name="connsiteY9576" fmla="*/ 467775 h 1729012"/>
                <a:gd name="connsiteX9577" fmla="*/ 1541661 w 2240198"/>
                <a:gd name="connsiteY9577" fmla="*/ 464683 h 1729012"/>
                <a:gd name="connsiteX9578" fmla="*/ 1539461 w 2240198"/>
                <a:gd name="connsiteY9578" fmla="*/ 464000 h 1729012"/>
                <a:gd name="connsiteX9579" fmla="*/ 1537977 w 2240198"/>
                <a:gd name="connsiteY9579" fmla="*/ 464270 h 1729012"/>
                <a:gd name="connsiteX9580" fmla="*/ 1538819 w 2240198"/>
                <a:gd name="connsiteY9580" fmla="*/ 465625 h 1729012"/>
                <a:gd name="connsiteX9581" fmla="*/ 1541984 w 2240198"/>
                <a:gd name="connsiteY9581" fmla="*/ 468076 h 1729012"/>
                <a:gd name="connsiteX9582" fmla="*/ 1543018 w 2240198"/>
                <a:gd name="connsiteY9582" fmla="*/ 469691 h 1729012"/>
                <a:gd name="connsiteX9583" fmla="*/ 1541919 w 2240198"/>
                <a:gd name="connsiteY9583" fmla="*/ 470474 h 1729012"/>
                <a:gd name="connsiteX9584" fmla="*/ 1541401 w 2240198"/>
                <a:gd name="connsiteY9584" fmla="*/ 472023 h 1729012"/>
                <a:gd name="connsiteX9585" fmla="*/ 1541463 w 2240198"/>
                <a:gd name="connsiteY9585" fmla="*/ 474332 h 1729012"/>
                <a:gd name="connsiteX9586" fmla="*/ 1541200 w 2240198"/>
                <a:gd name="connsiteY9586" fmla="*/ 476677 h 1729012"/>
                <a:gd name="connsiteX9587" fmla="*/ 1540132 w 2240198"/>
                <a:gd name="connsiteY9587" fmla="*/ 480323 h 1729012"/>
                <a:gd name="connsiteX9588" fmla="*/ 1539752 w 2240198"/>
                <a:gd name="connsiteY9588" fmla="*/ 480468 h 1729012"/>
                <a:gd name="connsiteX9589" fmla="*/ 1515702 w 2240198"/>
                <a:gd name="connsiteY9589" fmla="*/ 481217 h 1729012"/>
                <a:gd name="connsiteX9590" fmla="*/ 1512804 w 2240198"/>
                <a:gd name="connsiteY9590" fmla="*/ 481877 h 1729012"/>
                <a:gd name="connsiteX9591" fmla="*/ 1506042 w 2240198"/>
                <a:gd name="connsiteY9591" fmla="*/ 484443 h 1729012"/>
                <a:gd name="connsiteX9592" fmla="*/ 1500929 w 2240198"/>
                <a:gd name="connsiteY9592" fmla="*/ 485732 h 1729012"/>
                <a:gd name="connsiteX9593" fmla="*/ 1497599 w 2240198"/>
                <a:gd name="connsiteY9593" fmla="*/ 485927 h 1729012"/>
                <a:gd name="connsiteX9594" fmla="*/ 1494344 w 2240198"/>
                <a:gd name="connsiteY9594" fmla="*/ 485458 h 1729012"/>
                <a:gd name="connsiteX9595" fmla="*/ 1485565 w 2240198"/>
                <a:gd name="connsiteY9595" fmla="*/ 482795 h 1729012"/>
                <a:gd name="connsiteX9596" fmla="*/ 1479717 w 2240198"/>
                <a:gd name="connsiteY9596" fmla="*/ 483297 h 1729012"/>
                <a:gd name="connsiteX9597" fmla="*/ 1477424 w 2240198"/>
                <a:gd name="connsiteY9597" fmla="*/ 483043 h 1729012"/>
                <a:gd name="connsiteX9598" fmla="*/ 1472473 w 2240198"/>
                <a:gd name="connsiteY9598" fmla="*/ 481271 h 1729012"/>
                <a:gd name="connsiteX9599" fmla="*/ 1471272 w 2240198"/>
                <a:gd name="connsiteY9599" fmla="*/ 480374 h 1729012"/>
                <a:gd name="connsiteX9600" fmla="*/ 1469264 w 2240198"/>
                <a:gd name="connsiteY9600" fmla="*/ 478047 h 1729012"/>
                <a:gd name="connsiteX9601" fmla="*/ 1467759 w 2240198"/>
                <a:gd name="connsiteY9601" fmla="*/ 474861 h 1729012"/>
                <a:gd name="connsiteX9602" fmla="*/ 1467878 w 2240198"/>
                <a:gd name="connsiteY9602" fmla="*/ 472896 h 1729012"/>
                <a:gd name="connsiteX9603" fmla="*/ 1468511 w 2240198"/>
                <a:gd name="connsiteY9603" fmla="*/ 470061 h 1729012"/>
                <a:gd name="connsiteX9604" fmla="*/ 1468122 w 2240198"/>
                <a:gd name="connsiteY9604" fmla="*/ 468638 h 1729012"/>
                <a:gd name="connsiteX9605" fmla="*/ 1466711 w 2240198"/>
                <a:gd name="connsiteY9605" fmla="*/ 468629 h 1729012"/>
                <a:gd name="connsiteX9606" fmla="*/ 1465138 w 2240198"/>
                <a:gd name="connsiteY9606" fmla="*/ 468039 h 1729012"/>
                <a:gd name="connsiteX9607" fmla="*/ 1460405 w 2240198"/>
                <a:gd name="connsiteY9607" fmla="*/ 465190 h 1729012"/>
                <a:gd name="connsiteX9608" fmla="*/ 1457488 w 2240198"/>
                <a:gd name="connsiteY9608" fmla="*/ 464347 h 1729012"/>
                <a:gd name="connsiteX9609" fmla="*/ 1456943 w 2240198"/>
                <a:gd name="connsiteY9609" fmla="*/ 464811 h 1729012"/>
                <a:gd name="connsiteX9610" fmla="*/ 1457799 w 2240198"/>
                <a:gd name="connsiteY9610" fmla="*/ 467040 h 1729012"/>
                <a:gd name="connsiteX9611" fmla="*/ 1458368 w 2240198"/>
                <a:gd name="connsiteY9611" fmla="*/ 467750 h 1729012"/>
                <a:gd name="connsiteX9612" fmla="*/ 1461490 w 2240198"/>
                <a:gd name="connsiteY9612" fmla="*/ 469377 h 1729012"/>
                <a:gd name="connsiteX9613" fmla="*/ 1462071 w 2240198"/>
                <a:gd name="connsiteY9613" fmla="*/ 471259 h 1729012"/>
                <a:gd name="connsiteX9614" fmla="*/ 1460742 w 2240198"/>
                <a:gd name="connsiteY9614" fmla="*/ 476016 h 1729012"/>
                <a:gd name="connsiteX9615" fmla="*/ 1460273 w 2240198"/>
                <a:gd name="connsiteY9615" fmla="*/ 476780 h 1729012"/>
                <a:gd name="connsiteX9616" fmla="*/ 1457239 w 2240198"/>
                <a:gd name="connsiteY9616" fmla="*/ 480262 h 1729012"/>
                <a:gd name="connsiteX9617" fmla="*/ 1454957 w 2240198"/>
                <a:gd name="connsiteY9617" fmla="*/ 481255 h 1729012"/>
                <a:gd name="connsiteX9618" fmla="*/ 1448714 w 2240198"/>
                <a:gd name="connsiteY9618" fmla="*/ 481330 h 1729012"/>
                <a:gd name="connsiteX9619" fmla="*/ 1439153 w 2240198"/>
                <a:gd name="connsiteY9619" fmla="*/ 483800 h 1729012"/>
                <a:gd name="connsiteX9620" fmla="*/ 1434578 w 2240198"/>
                <a:gd name="connsiteY9620" fmla="*/ 484154 h 1729012"/>
                <a:gd name="connsiteX9621" fmla="*/ 1428454 w 2240198"/>
                <a:gd name="connsiteY9621" fmla="*/ 483578 h 1729012"/>
                <a:gd name="connsiteX9622" fmla="*/ 1424620 w 2240198"/>
                <a:gd name="connsiteY9622" fmla="*/ 482455 h 1729012"/>
                <a:gd name="connsiteX9623" fmla="*/ 1422134 w 2240198"/>
                <a:gd name="connsiteY9623" fmla="*/ 481167 h 1729012"/>
                <a:gd name="connsiteX9624" fmla="*/ 1419720 w 2240198"/>
                <a:gd name="connsiteY9624" fmla="*/ 479332 h 1729012"/>
                <a:gd name="connsiteX9625" fmla="*/ 1418454 w 2240198"/>
                <a:gd name="connsiteY9625" fmla="*/ 479194 h 1729012"/>
                <a:gd name="connsiteX9626" fmla="*/ 1417812 w 2240198"/>
                <a:gd name="connsiteY9626" fmla="*/ 483172 h 1729012"/>
                <a:gd name="connsiteX9627" fmla="*/ 1416629 w 2240198"/>
                <a:gd name="connsiteY9627" fmla="*/ 483686 h 1729012"/>
                <a:gd name="connsiteX9628" fmla="*/ 1414578 w 2240198"/>
                <a:gd name="connsiteY9628" fmla="*/ 483625 h 1729012"/>
                <a:gd name="connsiteX9629" fmla="*/ 1411410 w 2240198"/>
                <a:gd name="connsiteY9629" fmla="*/ 482389 h 1729012"/>
                <a:gd name="connsiteX9630" fmla="*/ 1408797 w 2240198"/>
                <a:gd name="connsiteY9630" fmla="*/ 479513 h 1729012"/>
                <a:gd name="connsiteX9631" fmla="*/ 1407983 w 2240198"/>
                <a:gd name="connsiteY9631" fmla="*/ 479526 h 1729012"/>
                <a:gd name="connsiteX9632" fmla="*/ 1407621 w 2240198"/>
                <a:gd name="connsiteY9632" fmla="*/ 481200 h 1729012"/>
                <a:gd name="connsiteX9633" fmla="*/ 1407036 w 2240198"/>
                <a:gd name="connsiteY9633" fmla="*/ 482298 h 1729012"/>
                <a:gd name="connsiteX9634" fmla="*/ 1406231 w 2240198"/>
                <a:gd name="connsiteY9634" fmla="*/ 482817 h 1729012"/>
                <a:gd name="connsiteX9635" fmla="*/ 1399524 w 2240198"/>
                <a:gd name="connsiteY9635" fmla="*/ 484612 h 1729012"/>
                <a:gd name="connsiteX9636" fmla="*/ 1395781 w 2240198"/>
                <a:gd name="connsiteY9636" fmla="*/ 484621 h 1729012"/>
                <a:gd name="connsiteX9637" fmla="*/ 1391870 w 2240198"/>
                <a:gd name="connsiteY9637" fmla="*/ 482567 h 1729012"/>
                <a:gd name="connsiteX9638" fmla="*/ 1389307 w 2240198"/>
                <a:gd name="connsiteY9638" fmla="*/ 482776 h 1729012"/>
                <a:gd name="connsiteX9639" fmla="*/ 1386021 w 2240198"/>
                <a:gd name="connsiteY9639" fmla="*/ 483885 h 1729012"/>
                <a:gd name="connsiteX9640" fmla="*/ 1378037 w 2240198"/>
                <a:gd name="connsiteY9640" fmla="*/ 481781 h 1729012"/>
                <a:gd name="connsiteX9641" fmla="*/ 1376127 w 2240198"/>
                <a:gd name="connsiteY9641" fmla="*/ 481700 h 1729012"/>
                <a:gd name="connsiteX9642" fmla="*/ 1377765 w 2240198"/>
                <a:gd name="connsiteY9642" fmla="*/ 485106 h 1729012"/>
                <a:gd name="connsiteX9643" fmla="*/ 1375128 w 2240198"/>
                <a:gd name="connsiteY9643" fmla="*/ 485631 h 1729012"/>
                <a:gd name="connsiteX9644" fmla="*/ 1369433 w 2240198"/>
                <a:gd name="connsiteY9644" fmla="*/ 485546 h 1729012"/>
                <a:gd name="connsiteX9645" fmla="*/ 1360076 w 2240198"/>
                <a:gd name="connsiteY9645" fmla="*/ 484450 h 1729012"/>
                <a:gd name="connsiteX9646" fmla="*/ 1354274 w 2240198"/>
                <a:gd name="connsiteY9646" fmla="*/ 486045 h 1729012"/>
                <a:gd name="connsiteX9647" fmla="*/ 1343795 w 2240198"/>
                <a:gd name="connsiteY9647" fmla="*/ 485093 h 1729012"/>
                <a:gd name="connsiteX9648" fmla="*/ 1333216 w 2240198"/>
                <a:gd name="connsiteY9648" fmla="*/ 484854 h 1729012"/>
                <a:gd name="connsiteX9649" fmla="*/ 1331246 w 2240198"/>
                <a:gd name="connsiteY9649" fmla="*/ 484073 h 1729012"/>
                <a:gd name="connsiteX9650" fmla="*/ 1329853 w 2240198"/>
                <a:gd name="connsiteY9650" fmla="*/ 482482 h 1729012"/>
                <a:gd name="connsiteX9651" fmla="*/ 1329798 w 2240198"/>
                <a:gd name="connsiteY9651" fmla="*/ 481064 h 1729012"/>
                <a:gd name="connsiteX9652" fmla="*/ 1330311 w 2240198"/>
                <a:gd name="connsiteY9652" fmla="*/ 479102 h 1729012"/>
                <a:gd name="connsiteX9653" fmla="*/ 1331858 w 2240198"/>
                <a:gd name="connsiteY9653" fmla="*/ 476181 h 1729012"/>
                <a:gd name="connsiteX9654" fmla="*/ 1334442 w 2240198"/>
                <a:gd name="connsiteY9654" fmla="*/ 472291 h 1729012"/>
                <a:gd name="connsiteX9655" fmla="*/ 1335333 w 2240198"/>
                <a:gd name="connsiteY9655" fmla="*/ 470237 h 1729012"/>
                <a:gd name="connsiteX9656" fmla="*/ 1333003 w 2240198"/>
                <a:gd name="connsiteY9656" fmla="*/ 469287 h 1729012"/>
                <a:gd name="connsiteX9657" fmla="*/ 1331565 w 2240198"/>
                <a:gd name="connsiteY9657" fmla="*/ 468014 h 1729012"/>
                <a:gd name="connsiteX9658" fmla="*/ 1330378 w 2240198"/>
                <a:gd name="connsiteY9658" fmla="*/ 467872 h 1729012"/>
                <a:gd name="connsiteX9659" fmla="*/ 1326649 w 2240198"/>
                <a:gd name="connsiteY9659" fmla="*/ 469373 h 1729012"/>
                <a:gd name="connsiteX9660" fmla="*/ 1324220 w 2240198"/>
                <a:gd name="connsiteY9660" fmla="*/ 473750 h 1729012"/>
                <a:gd name="connsiteX9661" fmla="*/ 1322363 w 2240198"/>
                <a:gd name="connsiteY9661" fmla="*/ 475018 h 1729012"/>
                <a:gd name="connsiteX9662" fmla="*/ 1321543 w 2240198"/>
                <a:gd name="connsiteY9662" fmla="*/ 473956 h 1729012"/>
                <a:gd name="connsiteX9663" fmla="*/ 1320924 w 2240198"/>
                <a:gd name="connsiteY9663" fmla="*/ 471299 h 1729012"/>
                <a:gd name="connsiteX9664" fmla="*/ 1320105 w 2240198"/>
                <a:gd name="connsiteY9664" fmla="*/ 470004 h 1729012"/>
                <a:gd name="connsiteX9665" fmla="*/ 1319084 w 2240198"/>
                <a:gd name="connsiteY9665" fmla="*/ 470075 h 1729012"/>
                <a:gd name="connsiteX9666" fmla="*/ 1318089 w 2240198"/>
                <a:gd name="connsiteY9666" fmla="*/ 470784 h 1729012"/>
                <a:gd name="connsiteX9667" fmla="*/ 1317120 w 2240198"/>
                <a:gd name="connsiteY9667" fmla="*/ 472133 h 1729012"/>
                <a:gd name="connsiteX9668" fmla="*/ 1315664 w 2240198"/>
                <a:gd name="connsiteY9668" fmla="*/ 472622 h 1729012"/>
                <a:gd name="connsiteX9669" fmla="*/ 1313720 w 2240198"/>
                <a:gd name="connsiteY9669" fmla="*/ 472255 h 1729012"/>
                <a:gd name="connsiteX9670" fmla="*/ 1313030 w 2240198"/>
                <a:gd name="connsiteY9670" fmla="*/ 472914 h 1729012"/>
                <a:gd name="connsiteX9671" fmla="*/ 1313596 w 2240198"/>
                <a:gd name="connsiteY9671" fmla="*/ 474603 h 1729012"/>
                <a:gd name="connsiteX9672" fmla="*/ 1313793 w 2240198"/>
                <a:gd name="connsiteY9672" fmla="*/ 476183 h 1729012"/>
                <a:gd name="connsiteX9673" fmla="*/ 1313621 w 2240198"/>
                <a:gd name="connsiteY9673" fmla="*/ 477657 h 1729012"/>
                <a:gd name="connsiteX9674" fmla="*/ 1311947 w 2240198"/>
                <a:gd name="connsiteY9674" fmla="*/ 479082 h 1729012"/>
                <a:gd name="connsiteX9675" fmla="*/ 1307177 w 2240198"/>
                <a:gd name="connsiteY9675" fmla="*/ 481154 h 1729012"/>
                <a:gd name="connsiteX9676" fmla="*/ 1304420 w 2240198"/>
                <a:gd name="connsiteY9676" fmla="*/ 481816 h 1729012"/>
                <a:gd name="connsiteX9677" fmla="*/ 1297176 w 2240198"/>
                <a:gd name="connsiteY9677" fmla="*/ 482124 h 1729012"/>
                <a:gd name="connsiteX9678" fmla="*/ 1292842 w 2240198"/>
                <a:gd name="connsiteY9678" fmla="*/ 481506 h 1729012"/>
                <a:gd name="connsiteX9679" fmla="*/ 1284061 w 2240198"/>
                <a:gd name="connsiteY9679" fmla="*/ 479018 h 1729012"/>
                <a:gd name="connsiteX9680" fmla="*/ 1279201 w 2240198"/>
                <a:gd name="connsiteY9680" fmla="*/ 478903 h 1729012"/>
                <a:gd name="connsiteX9681" fmla="*/ 1273348 w 2240198"/>
                <a:gd name="connsiteY9681" fmla="*/ 474721 h 1729012"/>
                <a:gd name="connsiteX9682" fmla="*/ 1268716 w 2240198"/>
                <a:gd name="connsiteY9682" fmla="*/ 473754 h 1729012"/>
                <a:gd name="connsiteX9683" fmla="*/ 1268951 w 2240198"/>
                <a:gd name="connsiteY9683" fmla="*/ 472240 h 1729012"/>
                <a:gd name="connsiteX9684" fmla="*/ 1270976 w 2240198"/>
                <a:gd name="connsiteY9684" fmla="*/ 469420 h 1729012"/>
                <a:gd name="connsiteX9685" fmla="*/ 1270911 w 2240198"/>
                <a:gd name="connsiteY9685" fmla="*/ 468577 h 1729012"/>
                <a:gd name="connsiteX9686" fmla="*/ 1264581 w 2240198"/>
                <a:gd name="connsiteY9686" fmla="*/ 472687 h 1729012"/>
                <a:gd name="connsiteX9687" fmla="*/ 1263723 w 2240198"/>
                <a:gd name="connsiteY9687" fmla="*/ 473999 h 1729012"/>
                <a:gd name="connsiteX9688" fmla="*/ 1264461 w 2240198"/>
                <a:gd name="connsiteY9688" fmla="*/ 477038 h 1729012"/>
                <a:gd name="connsiteX9689" fmla="*/ 1263621 w 2240198"/>
                <a:gd name="connsiteY9689" fmla="*/ 477257 h 1729012"/>
                <a:gd name="connsiteX9690" fmla="*/ 1259267 w 2240198"/>
                <a:gd name="connsiteY9690" fmla="*/ 476164 h 1729012"/>
                <a:gd name="connsiteX9691" fmla="*/ 1254984 w 2240198"/>
                <a:gd name="connsiteY9691" fmla="*/ 476996 h 1729012"/>
                <a:gd name="connsiteX9692" fmla="*/ 1253951 w 2240198"/>
                <a:gd name="connsiteY9692" fmla="*/ 476751 h 1729012"/>
                <a:gd name="connsiteX9693" fmla="*/ 1250992 w 2240198"/>
                <a:gd name="connsiteY9693" fmla="*/ 474556 h 1729012"/>
                <a:gd name="connsiteX9694" fmla="*/ 1245787 w 2240198"/>
                <a:gd name="connsiteY9694" fmla="*/ 472322 h 1729012"/>
                <a:gd name="connsiteX9695" fmla="*/ 1243492 w 2240198"/>
                <a:gd name="connsiteY9695" fmla="*/ 469817 h 1729012"/>
                <a:gd name="connsiteX9696" fmla="*/ 1239916 w 2240198"/>
                <a:gd name="connsiteY9696" fmla="*/ 461972 h 1729012"/>
                <a:gd name="connsiteX9697" fmla="*/ 1238100 w 2240198"/>
                <a:gd name="connsiteY9697" fmla="*/ 456765 h 1729012"/>
                <a:gd name="connsiteX9698" fmla="*/ 1238327 w 2240198"/>
                <a:gd name="connsiteY9698" fmla="*/ 455699 h 1729012"/>
                <a:gd name="connsiteX9699" fmla="*/ 1240983 w 2240198"/>
                <a:gd name="connsiteY9699" fmla="*/ 454228 h 1729012"/>
                <a:gd name="connsiteX9700" fmla="*/ 1240582 w 2240198"/>
                <a:gd name="connsiteY9700" fmla="*/ 453081 h 1729012"/>
                <a:gd name="connsiteX9701" fmla="*/ 1237272 w 2240198"/>
                <a:gd name="connsiteY9701" fmla="*/ 450144 h 1729012"/>
                <a:gd name="connsiteX9702" fmla="*/ 1233707 w 2240198"/>
                <a:gd name="connsiteY9702" fmla="*/ 447670 h 1729012"/>
                <a:gd name="connsiteX9703" fmla="*/ 1232647 w 2240198"/>
                <a:gd name="connsiteY9703" fmla="*/ 445959 h 1729012"/>
                <a:gd name="connsiteX9704" fmla="*/ 1232162 w 2240198"/>
                <a:gd name="connsiteY9704" fmla="*/ 444227 h 1729012"/>
                <a:gd name="connsiteX9705" fmla="*/ 1231688 w 2240198"/>
                <a:gd name="connsiteY9705" fmla="*/ 441715 h 1729012"/>
                <a:gd name="connsiteX9706" fmla="*/ 1231665 w 2240198"/>
                <a:gd name="connsiteY9706" fmla="*/ 439856 h 1729012"/>
                <a:gd name="connsiteX9707" fmla="*/ 1232094 w 2240198"/>
                <a:gd name="connsiteY9707" fmla="*/ 438652 h 1729012"/>
                <a:gd name="connsiteX9708" fmla="*/ 1234132 w 2240198"/>
                <a:gd name="connsiteY9708" fmla="*/ 434899 h 1729012"/>
                <a:gd name="connsiteX9709" fmla="*/ 1239716 w 2240198"/>
                <a:gd name="connsiteY9709" fmla="*/ 428158 h 1729012"/>
                <a:gd name="connsiteX9710" fmla="*/ 1240470 w 2240198"/>
                <a:gd name="connsiteY9710" fmla="*/ 426929 h 1729012"/>
                <a:gd name="connsiteX9711" fmla="*/ 1240771 w 2240198"/>
                <a:gd name="connsiteY9711" fmla="*/ 425722 h 1729012"/>
                <a:gd name="connsiteX9712" fmla="*/ 1240002 w 2240198"/>
                <a:gd name="connsiteY9712" fmla="*/ 422144 h 1729012"/>
                <a:gd name="connsiteX9713" fmla="*/ 1238920 w 2240198"/>
                <a:gd name="connsiteY9713" fmla="*/ 418552 h 1729012"/>
                <a:gd name="connsiteX9714" fmla="*/ 1237824 w 2240198"/>
                <a:gd name="connsiteY9714" fmla="*/ 415979 h 1729012"/>
                <a:gd name="connsiteX9715" fmla="*/ 1234742 w 2240198"/>
                <a:gd name="connsiteY9715" fmla="*/ 412423 h 1729012"/>
                <a:gd name="connsiteX9716" fmla="*/ 1230505 w 2240198"/>
                <a:gd name="connsiteY9716" fmla="*/ 408721 h 1729012"/>
                <a:gd name="connsiteX9717" fmla="*/ 1224542 w 2240198"/>
                <a:gd name="connsiteY9717" fmla="*/ 402061 h 1729012"/>
                <a:gd name="connsiteX9718" fmla="*/ 1220120 w 2240198"/>
                <a:gd name="connsiteY9718" fmla="*/ 396867 h 1729012"/>
                <a:gd name="connsiteX9719" fmla="*/ 1214834 w 2240198"/>
                <a:gd name="connsiteY9719" fmla="*/ 389537 h 1729012"/>
                <a:gd name="connsiteX9720" fmla="*/ 1212285 w 2240198"/>
                <a:gd name="connsiteY9720" fmla="*/ 388907 h 1729012"/>
                <a:gd name="connsiteX9721" fmla="*/ 1209336 w 2240198"/>
                <a:gd name="connsiteY9721" fmla="*/ 389243 h 1729012"/>
                <a:gd name="connsiteX9722" fmla="*/ 1202962 w 2240198"/>
                <a:gd name="connsiteY9722" fmla="*/ 391769 h 1729012"/>
                <a:gd name="connsiteX9723" fmla="*/ 1200820 w 2240198"/>
                <a:gd name="connsiteY9723" fmla="*/ 392967 h 1729012"/>
                <a:gd name="connsiteX9724" fmla="*/ 1200294 w 2240198"/>
                <a:gd name="connsiteY9724" fmla="*/ 393772 h 1729012"/>
                <a:gd name="connsiteX9725" fmla="*/ 1195549 w 2240198"/>
                <a:gd name="connsiteY9725" fmla="*/ 393954 h 1729012"/>
                <a:gd name="connsiteX9726" fmla="*/ 1182103 w 2240198"/>
                <a:gd name="connsiteY9726" fmla="*/ 393292 h 1729012"/>
                <a:gd name="connsiteX9727" fmla="*/ 1176962 w 2240198"/>
                <a:gd name="connsiteY9727" fmla="*/ 392515 h 1729012"/>
                <a:gd name="connsiteX9728" fmla="*/ 1173123 w 2240198"/>
                <a:gd name="connsiteY9728" fmla="*/ 392719 h 1729012"/>
                <a:gd name="connsiteX9729" fmla="*/ 1166533 w 2240198"/>
                <a:gd name="connsiteY9729" fmla="*/ 394581 h 1729012"/>
                <a:gd name="connsiteX9730" fmla="*/ 1159504 w 2240198"/>
                <a:gd name="connsiteY9730" fmla="*/ 394230 h 1729012"/>
                <a:gd name="connsiteX9731" fmla="*/ 1155103 w 2240198"/>
                <a:gd name="connsiteY9731" fmla="*/ 389063 h 1729012"/>
                <a:gd name="connsiteX9732" fmla="*/ 1145107 w 2240198"/>
                <a:gd name="connsiteY9732" fmla="*/ 386275 h 1729012"/>
                <a:gd name="connsiteX9733" fmla="*/ 1142124 w 2240198"/>
                <a:gd name="connsiteY9733" fmla="*/ 384707 h 1729012"/>
                <a:gd name="connsiteX9734" fmla="*/ 1140085 w 2240198"/>
                <a:gd name="connsiteY9734" fmla="*/ 382566 h 1729012"/>
                <a:gd name="connsiteX9735" fmla="*/ 1140760 w 2240198"/>
                <a:gd name="connsiteY9735" fmla="*/ 381165 h 1729012"/>
                <a:gd name="connsiteX9736" fmla="*/ 1146445 w 2240198"/>
                <a:gd name="connsiteY9736" fmla="*/ 379907 h 1729012"/>
                <a:gd name="connsiteX9737" fmla="*/ 1148807 w 2240198"/>
                <a:gd name="connsiteY9737" fmla="*/ 378525 h 1729012"/>
                <a:gd name="connsiteX9738" fmla="*/ 1149941 w 2240198"/>
                <a:gd name="connsiteY9738" fmla="*/ 377405 h 1729012"/>
                <a:gd name="connsiteX9739" fmla="*/ 1144306 w 2240198"/>
                <a:gd name="connsiteY9739" fmla="*/ 378368 h 1729012"/>
                <a:gd name="connsiteX9740" fmla="*/ 1141818 w 2240198"/>
                <a:gd name="connsiteY9740" fmla="*/ 378199 h 1729012"/>
                <a:gd name="connsiteX9741" fmla="*/ 1124871 w 2240198"/>
                <a:gd name="connsiteY9741" fmla="*/ 371159 h 1729012"/>
                <a:gd name="connsiteX9742" fmla="*/ 1119649 w 2240198"/>
                <a:gd name="connsiteY9742" fmla="*/ 369915 h 1729012"/>
                <a:gd name="connsiteX9743" fmla="*/ 1118760 w 2240198"/>
                <a:gd name="connsiteY9743" fmla="*/ 369285 h 1729012"/>
                <a:gd name="connsiteX9744" fmla="*/ 1118322 w 2240198"/>
                <a:gd name="connsiteY9744" fmla="*/ 368454 h 1729012"/>
                <a:gd name="connsiteX9745" fmla="*/ 1118332 w 2240198"/>
                <a:gd name="connsiteY9745" fmla="*/ 367422 h 1729012"/>
                <a:gd name="connsiteX9746" fmla="*/ 1118827 w 2240198"/>
                <a:gd name="connsiteY9746" fmla="*/ 365869 h 1729012"/>
                <a:gd name="connsiteX9747" fmla="*/ 1123865 w 2240198"/>
                <a:gd name="connsiteY9747" fmla="*/ 367831 h 1729012"/>
                <a:gd name="connsiteX9748" fmla="*/ 1126124 w 2240198"/>
                <a:gd name="connsiteY9748" fmla="*/ 367976 h 1729012"/>
                <a:gd name="connsiteX9749" fmla="*/ 1129651 w 2240198"/>
                <a:gd name="connsiteY9749" fmla="*/ 367391 h 1729012"/>
                <a:gd name="connsiteX9750" fmla="*/ 1130909 w 2240198"/>
                <a:gd name="connsiteY9750" fmla="*/ 366164 h 1729012"/>
                <a:gd name="connsiteX9751" fmla="*/ 1130107 w 2240198"/>
                <a:gd name="connsiteY9751" fmla="*/ 365449 h 1729012"/>
                <a:gd name="connsiteX9752" fmla="*/ 1124331 w 2240198"/>
                <a:gd name="connsiteY9752" fmla="*/ 363087 h 1729012"/>
                <a:gd name="connsiteX9753" fmla="*/ 1121538 w 2240198"/>
                <a:gd name="connsiteY9753" fmla="*/ 361295 h 1729012"/>
                <a:gd name="connsiteX9754" fmla="*/ 1120464 w 2240198"/>
                <a:gd name="connsiteY9754" fmla="*/ 359989 h 1729012"/>
                <a:gd name="connsiteX9755" fmla="*/ 1121572 w 2240198"/>
                <a:gd name="connsiteY9755" fmla="*/ 358139 h 1729012"/>
                <a:gd name="connsiteX9756" fmla="*/ 1121864 w 2240198"/>
                <a:gd name="connsiteY9756" fmla="*/ 356886 h 1729012"/>
                <a:gd name="connsiteX9757" fmla="*/ 1123719 w 2240198"/>
                <a:gd name="connsiteY9757" fmla="*/ 356180 h 1729012"/>
                <a:gd name="connsiteX9758" fmla="*/ 1127143 w 2240198"/>
                <a:gd name="connsiteY9758" fmla="*/ 356024 h 1729012"/>
                <a:gd name="connsiteX9759" fmla="*/ 1131525 w 2240198"/>
                <a:gd name="connsiteY9759" fmla="*/ 355136 h 1729012"/>
                <a:gd name="connsiteX9760" fmla="*/ 1139538 w 2240198"/>
                <a:gd name="connsiteY9760" fmla="*/ 352712 h 1729012"/>
                <a:gd name="connsiteX9761" fmla="*/ 620997 w 2240198"/>
                <a:gd name="connsiteY9761" fmla="*/ 325978 h 1729012"/>
                <a:gd name="connsiteX9762" fmla="*/ 624768 w 2240198"/>
                <a:gd name="connsiteY9762" fmla="*/ 326237 h 1729012"/>
                <a:gd name="connsiteX9763" fmla="*/ 628666 w 2240198"/>
                <a:gd name="connsiteY9763" fmla="*/ 327687 h 1729012"/>
                <a:gd name="connsiteX9764" fmla="*/ 633760 w 2240198"/>
                <a:gd name="connsiteY9764" fmla="*/ 330676 h 1729012"/>
                <a:gd name="connsiteX9765" fmla="*/ 645342 w 2240198"/>
                <a:gd name="connsiteY9765" fmla="*/ 335922 h 1729012"/>
                <a:gd name="connsiteX9766" fmla="*/ 647260 w 2240198"/>
                <a:gd name="connsiteY9766" fmla="*/ 338019 h 1729012"/>
                <a:gd name="connsiteX9767" fmla="*/ 647397 w 2240198"/>
                <a:gd name="connsiteY9767" fmla="*/ 338861 h 1729012"/>
                <a:gd name="connsiteX9768" fmla="*/ 646472 w 2240198"/>
                <a:gd name="connsiteY9768" fmla="*/ 339748 h 1729012"/>
                <a:gd name="connsiteX9769" fmla="*/ 643499 w 2240198"/>
                <a:gd name="connsiteY9769" fmla="*/ 341156 h 1729012"/>
                <a:gd name="connsiteX9770" fmla="*/ 628543 w 2240198"/>
                <a:gd name="connsiteY9770" fmla="*/ 345858 h 1729012"/>
                <a:gd name="connsiteX9771" fmla="*/ 625616 w 2240198"/>
                <a:gd name="connsiteY9771" fmla="*/ 348062 h 1729012"/>
                <a:gd name="connsiteX9772" fmla="*/ 626718 w 2240198"/>
                <a:gd name="connsiteY9772" fmla="*/ 349955 h 1729012"/>
                <a:gd name="connsiteX9773" fmla="*/ 632110 w 2240198"/>
                <a:gd name="connsiteY9773" fmla="*/ 353783 h 1729012"/>
                <a:gd name="connsiteX9774" fmla="*/ 637593 w 2240198"/>
                <a:gd name="connsiteY9774" fmla="*/ 357021 h 1729012"/>
                <a:gd name="connsiteX9775" fmla="*/ 638779 w 2240198"/>
                <a:gd name="connsiteY9775" fmla="*/ 358625 h 1729012"/>
                <a:gd name="connsiteX9776" fmla="*/ 636171 w 2240198"/>
                <a:gd name="connsiteY9776" fmla="*/ 360256 h 1729012"/>
                <a:gd name="connsiteX9777" fmla="*/ 631180 w 2240198"/>
                <a:gd name="connsiteY9777" fmla="*/ 359736 h 1729012"/>
                <a:gd name="connsiteX9778" fmla="*/ 629316 w 2240198"/>
                <a:gd name="connsiteY9778" fmla="*/ 359878 h 1729012"/>
                <a:gd name="connsiteX9779" fmla="*/ 627555 w 2240198"/>
                <a:gd name="connsiteY9779" fmla="*/ 360631 h 1729012"/>
                <a:gd name="connsiteX9780" fmla="*/ 628030 w 2240198"/>
                <a:gd name="connsiteY9780" fmla="*/ 362071 h 1729012"/>
                <a:gd name="connsiteX9781" fmla="*/ 633552 w 2240198"/>
                <a:gd name="connsiteY9781" fmla="*/ 366837 h 1729012"/>
                <a:gd name="connsiteX9782" fmla="*/ 635369 w 2240198"/>
                <a:gd name="connsiteY9782" fmla="*/ 369395 h 1729012"/>
                <a:gd name="connsiteX9783" fmla="*/ 635325 w 2240198"/>
                <a:gd name="connsiteY9783" fmla="*/ 370716 h 1729012"/>
                <a:gd name="connsiteX9784" fmla="*/ 634348 w 2240198"/>
                <a:gd name="connsiteY9784" fmla="*/ 372005 h 1729012"/>
                <a:gd name="connsiteX9785" fmla="*/ 632031 w 2240198"/>
                <a:gd name="connsiteY9785" fmla="*/ 373771 h 1729012"/>
                <a:gd name="connsiteX9786" fmla="*/ 628373 w 2240198"/>
                <a:gd name="connsiteY9786" fmla="*/ 376012 h 1729012"/>
                <a:gd name="connsiteX9787" fmla="*/ 622106 w 2240198"/>
                <a:gd name="connsiteY9787" fmla="*/ 377802 h 1729012"/>
                <a:gd name="connsiteX9788" fmla="*/ 608626 w 2240198"/>
                <a:gd name="connsiteY9788" fmla="*/ 380203 h 1729012"/>
                <a:gd name="connsiteX9789" fmla="*/ 608181 w 2240198"/>
                <a:gd name="connsiteY9789" fmla="*/ 382072 h 1729012"/>
                <a:gd name="connsiteX9790" fmla="*/ 608269 w 2240198"/>
                <a:gd name="connsiteY9790" fmla="*/ 383493 h 1729012"/>
                <a:gd name="connsiteX9791" fmla="*/ 607943 w 2240198"/>
                <a:gd name="connsiteY9791" fmla="*/ 386939 h 1729012"/>
                <a:gd name="connsiteX9792" fmla="*/ 607478 w 2240198"/>
                <a:gd name="connsiteY9792" fmla="*/ 388535 h 1729012"/>
                <a:gd name="connsiteX9793" fmla="*/ 605874 w 2240198"/>
                <a:gd name="connsiteY9793" fmla="*/ 391219 h 1729012"/>
                <a:gd name="connsiteX9794" fmla="*/ 604704 w 2240198"/>
                <a:gd name="connsiteY9794" fmla="*/ 392472 h 1729012"/>
                <a:gd name="connsiteX9795" fmla="*/ 602684 w 2240198"/>
                <a:gd name="connsiteY9795" fmla="*/ 393333 h 1729012"/>
                <a:gd name="connsiteX9796" fmla="*/ 599810 w 2240198"/>
                <a:gd name="connsiteY9796" fmla="*/ 393803 h 1729012"/>
                <a:gd name="connsiteX9797" fmla="*/ 596121 w 2240198"/>
                <a:gd name="connsiteY9797" fmla="*/ 393796 h 1729012"/>
                <a:gd name="connsiteX9798" fmla="*/ 590036 w 2240198"/>
                <a:gd name="connsiteY9798" fmla="*/ 391489 h 1729012"/>
                <a:gd name="connsiteX9799" fmla="*/ 587272 w 2240198"/>
                <a:gd name="connsiteY9799" fmla="*/ 390018 h 1729012"/>
                <a:gd name="connsiteX9800" fmla="*/ 583428 w 2240198"/>
                <a:gd name="connsiteY9800" fmla="*/ 386819 h 1729012"/>
                <a:gd name="connsiteX9801" fmla="*/ 582738 w 2240198"/>
                <a:gd name="connsiteY9801" fmla="*/ 384679 h 1729012"/>
                <a:gd name="connsiteX9802" fmla="*/ 583113 w 2240198"/>
                <a:gd name="connsiteY9802" fmla="*/ 382041 h 1729012"/>
                <a:gd name="connsiteX9803" fmla="*/ 584127 w 2240198"/>
                <a:gd name="connsiteY9803" fmla="*/ 377967 h 1729012"/>
                <a:gd name="connsiteX9804" fmla="*/ 585798 w 2240198"/>
                <a:gd name="connsiteY9804" fmla="*/ 373794 h 1729012"/>
                <a:gd name="connsiteX9805" fmla="*/ 588129 w 2240198"/>
                <a:gd name="connsiteY9805" fmla="*/ 369518 h 1729012"/>
                <a:gd name="connsiteX9806" fmla="*/ 588817 w 2240198"/>
                <a:gd name="connsiteY9806" fmla="*/ 366850 h 1729012"/>
                <a:gd name="connsiteX9807" fmla="*/ 587867 w 2240198"/>
                <a:gd name="connsiteY9807" fmla="*/ 365799 h 1729012"/>
                <a:gd name="connsiteX9808" fmla="*/ 586272 w 2240198"/>
                <a:gd name="connsiteY9808" fmla="*/ 365746 h 1729012"/>
                <a:gd name="connsiteX9809" fmla="*/ 581312 w 2240198"/>
                <a:gd name="connsiteY9809" fmla="*/ 367481 h 1729012"/>
                <a:gd name="connsiteX9810" fmla="*/ 578109 w 2240198"/>
                <a:gd name="connsiteY9810" fmla="*/ 368111 h 1729012"/>
                <a:gd name="connsiteX9811" fmla="*/ 575628 w 2240198"/>
                <a:gd name="connsiteY9811" fmla="*/ 369372 h 1729012"/>
                <a:gd name="connsiteX9812" fmla="*/ 573871 w 2240198"/>
                <a:gd name="connsiteY9812" fmla="*/ 371262 h 1729012"/>
                <a:gd name="connsiteX9813" fmla="*/ 572876 w 2240198"/>
                <a:gd name="connsiteY9813" fmla="*/ 373307 h 1729012"/>
                <a:gd name="connsiteX9814" fmla="*/ 572321 w 2240198"/>
                <a:gd name="connsiteY9814" fmla="*/ 377231 h 1729012"/>
                <a:gd name="connsiteX9815" fmla="*/ 571380 w 2240198"/>
                <a:gd name="connsiteY9815" fmla="*/ 379373 h 1729012"/>
                <a:gd name="connsiteX9816" fmla="*/ 568704 w 2240198"/>
                <a:gd name="connsiteY9816" fmla="*/ 380540 h 1729012"/>
                <a:gd name="connsiteX9817" fmla="*/ 564701 w 2240198"/>
                <a:gd name="connsiteY9817" fmla="*/ 380520 h 1729012"/>
                <a:gd name="connsiteX9818" fmla="*/ 563183 w 2240198"/>
                <a:gd name="connsiteY9818" fmla="*/ 381184 h 1729012"/>
                <a:gd name="connsiteX9819" fmla="*/ 562439 w 2240198"/>
                <a:gd name="connsiteY9819" fmla="*/ 382612 h 1729012"/>
                <a:gd name="connsiteX9820" fmla="*/ 562976 w 2240198"/>
                <a:gd name="connsiteY9820" fmla="*/ 383773 h 1729012"/>
                <a:gd name="connsiteX9821" fmla="*/ 566923 w 2240198"/>
                <a:gd name="connsiteY9821" fmla="*/ 386203 h 1729012"/>
                <a:gd name="connsiteX9822" fmla="*/ 567415 w 2240198"/>
                <a:gd name="connsiteY9822" fmla="*/ 388915 h 1729012"/>
                <a:gd name="connsiteX9823" fmla="*/ 566936 w 2240198"/>
                <a:gd name="connsiteY9823" fmla="*/ 390550 h 1729012"/>
                <a:gd name="connsiteX9824" fmla="*/ 562671 w 2240198"/>
                <a:gd name="connsiteY9824" fmla="*/ 393566 h 1729012"/>
                <a:gd name="connsiteX9825" fmla="*/ 561669 w 2240198"/>
                <a:gd name="connsiteY9825" fmla="*/ 394575 h 1729012"/>
                <a:gd name="connsiteX9826" fmla="*/ 559024 w 2240198"/>
                <a:gd name="connsiteY9826" fmla="*/ 399285 h 1729012"/>
                <a:gd name="connsiteX9827" fmla="*/ 558048 w 2240198"/>
                <a:gd name="connsiteY9827" fmla="*/ 400475 h 1729012"/>
                <a:gd name="connsiteX9828" fmla="*/ 555847 w 2240198"/>
                <a:gd name="connsiteY9828" fmla="*/ 401560 h 1729012"/>
                <a:gd name="connsiteX9829" fmla="*/ 553628 w 2240198"/>
                <a:gd name="connsiteY9829" fmla="*/ 401432 h 1729012"/>
                <a:gd name="connsiteX9830" fmla="*/ 551574 w 2240198"/>
                <a:gd name="connsiteY9830" fmla="*/ 399714 h 1729012"/>
                <a:gd name="connsiteX9831" fmla="*/ 548565 w 2240198"/>
                <a:gd name="connsiteY9831" fmla="*/ 396459 h 1729012"/>
                <a:gd name="connsiteX9832" fmla="*/ 546539 w 2240198"/>
                <a:gd name="connsiteY9832" fmla="*/ 393655 h 1729012"/>
                <a:gd name="connsiteX9833" fmla="*/ 545499 w 2240198"/>
                <a:gd name="connsiteY9833" fmla="*/ 391303 h 1729012"/>
                <a:gd name="connsiteX9834" fmla="*/ 544614 w 2240198"/>
                <a:gd name="connsiteY9834" fmla="*/ 390256 h 1729012"/>
                <a:gd name="connsiteX9835" fmla="*/ 543178 w 2240198"/>
                <a:gd name="connsiteY9835" fmla="*/ 390978 h 1729012"/>
                <a:gd name="connsiteX9836" fmla="*/ 541440 w 2240198"/>
                <a:gd name="connsiteY9836" fmla="*/ 393420 h 1729012"/>
                <a:gd name="connsiteX9837" fmla="*/ 541393 w 2240198"/>
                <a:gd name="connsiteY9837" fmla="*/ 395314 h 1729012"/>
                <a:gd name="connsiteX9838" fmla="*/ 541771 w 2240198"/>
                <a:gd name="connsiteY9838" fmla="*/ 398125 h 1729012"/>
                <a:gd name="connsiteX9839" fmla="*/ 541675 w 2240198"/>
                <a:gd name="connsiteY9839" fmla="*/ 399858 h 1729012"/>
                <a:gd name="connsiteX9840" fmla="*/ 539140 w 2240198"/>
                <a:gd name="connsiteY9840" fmla="*/ 401891 h 1729012"/>
                <a:gd name="connsiteX9841" fmla="*/ 539505 w 2240198"/>
                <a:gd name="connsiteY9841" fmla="*/ 402817 h 1729012"/>
                <a:gd name="connsiteX9842" fmla="*/ 543956 w 2240198"/>
                <a:gd name="connsiteY9842" fmla="*/ 405312 h 1729012"/>
                <a:gd name="connsiteX9843" fmla="*/ 544527 w 2240198"/>
                <a:gd name="connsiteY9843" fmla="*/ 406430 h 1729012"/>
                <a:gd name="connsiteX9844" fmla="*/ 544553 w 2240198"/>
                <a:gd name="connsiteY9844" fmla="*/ 408163 h 1729012"/>
                <a:gd name="connsiteX9845" fmla="*/ 544259 w 2240198"/>
                <a:gd name="connsiteY9845" fmla="*/ 408945 h 1729012"/>
                <a:gd name="connsiteX9846" fmla="*/ 542479 w 2240198"/>
                <a:gd name="connsiteY9846" fmla="*/ 408820 h 1729012"/>
                <a:gd name="connsiteX9847" fmla="*/ 540978 w 2240198"/>
                <a:gd name="connsiteY9847" fmla="*/ 410823 h 1729012"/>
                <a:gd name="connsiteX9848" fmla="*/ 539262 w 2240198"/>
                <a:gd name="connsiteY9848" fmla="*/ 412409 h 1729012"/>
                <a:gd name="connsiteX9849" fmla="*/ 534747 w 2240198"/>
                <a:gd name="connsiteY9849" fmla="*/ 415342 h 1729012"/>
                <a:gd name="connsiteX9850" fmla="*/ 528467 w 2240198"/>
                <a:gd name="connsiteY9850" fmla="*/ 415699 h 1729012"/>
                <a:gd name="connsiteX9851" fmla="*/ 523273 w 2240198"/>
                <a:gd name="connsiteY9851" fmla="*/ 417107 h 1729012"/>
                <a:gd name="connsiteX9852" fmla="*/ 522169 w 2240198"/>
                <a:gd name="connsiteY9852" fmla="*/ 417061 h 1729012"/>
                <a:gd name="connsiteX9853" fmla="*/ 520917 w 2240198"/>
                <a:gd name="connsiteY9853" fmla="*/ 414756 h 1729012"/>
                <a:gd name="connsiteX9854" fmla="*/ 519509 w 2240198"/>
                <a:gd name="connsiteY9854" fmla="*/ 410182 h 1729012"/>
                <a:gd name="connsiteX9855" fmla="*/ 518256 w 2240198"/>
                <a:gd name="connsiteY9855" fmla="*/ 407579 h 1729012"/>
                <a:gd name="connsiteX9856" fmla="*/ 516382 w 2240198"/>
                <a:gd name="connsiteY9856" fmla="*/ 406249 h 1729012"/>
                <a:gd name="connsiteX9857" fmla="*/ 514061 w 2240198"/>
                <a:gd name="connsiteY9857" fmla="*/ 401038 h 1729012"/>
                <a:gd name="connsiteX9858" fmla="*/ 512973 w 2240198"/>
                <a:gd name="connsiteY9858" fmla="*/ 399357 h 1729012"/>
                <a:gd name="connsiteX9859" fmla="*/ 511913 w 2240198"/>
                <a:gd name="connsiteY9859" fmla="*/ 398678 h 1729012"/>
                <a:gd name="connsiteX9860" fmla="*/ 511026 w 2240198"/>
                <a:gd name="connsiteY9860" fmla="*/ 398503 h 1729012"/>
                <a:gd name="connsiteX9861" fmla="*/ 509715 w 2240198"/>
                <a:gd name="connsiteY9861" fmla="*/ 399507 h 1729012"/>
                <a:gd name="connsiteX9862" fmla="*/ 506692 w 2240198"/>
                <a:gd name="connsiteY9862" fmla="*/ 406964 h 1729012"/>
                <a:gd name="connsiteX9863" fmla="*/ 501768 w 2240198"/>
                <a:gd name="connsiteY9863" fmla="*/ 408865 h 1729012"/>
                <a:gd name="connsiteX9864" fmla="*/ 499063 w 2240198"/>
                <a:gd name="connsiteY9864" fmla="*/ 409213 h 1729012"/>
                <a:gd name="connsiteX9865" fmla="*/ 496329 w 2240198"/>
                <a:gd name="connsiteY9865" fmla="*/ 409000 h 1729012"/>
                <a:gd name="connsiteX9866" fmla="*/ 489571 w 2240198"/>
                <a:gd name="connsiteY9866" fmla="*/ 406962 h 1729012"/>
                <a:gd name="connsiteX9867" fmla="*/ 484152 w 2240198"/>
                <a:gd name="connsiteY9867" fmla="*/ 406211 h 1729012"/>
                <a:gd name="connsiteX9868" fmla="*/ 480369 w 2240198"/>
                <a:gd name="connsiteY9868" fmla="*/ 407072 h 1729012"/>
                <a:gd name="connsiteX9869" fmla="*/ 474148 w 2240198"/>
                <a:gd name="connsiteY9869" fmla="*/ 410106 h 1729012"/>
                <a:gd name="connsiteX9870" fmla="*/ 471670 w 2240198"/>
                <a:gd name="connsiteY9870" fmla="*/ 410915 h 1729012"/>
                <a:gd name="connsiteX9871" fmla="*/ 468308 w 2240198"/>
                <a:gd name="connsiteY9871" fmla="*/ 410567 h 1729012"/>
                <a:gd name="connsiteX9872" fmla="*/ 466837 w 2240198"/>
                <a:gd name="connsiteY9872" fmla="*/ 409421 h 1729012"/>
                <a:gd name="connsiteX9873" fmla="*/ 465585 w 2240198"/>
                <a:gd name="connsiteY9873" fmla="*/ 407546 h 1729012"/>
                <a:gd name="connsiteX9874" fmla="*/ 465446 w 2240198"/>
                <a:gd name="connsiteY9874" fmla="*/ 406406 h 1729012"/>
                <a:gd name="connsiteX9875" fmla="*/ 466424 w 2240198"/>
                <a:gd name="connsiteY9875" fmla="*/ 406008 h 1729012"/>
                <a:gd name="connsiteX9876" fmla="*/ 467974 w 2240198"/>
                <a:gd name="connsiteY9876" fmla="*/ 403829 h 1729012"/>
                <a:gd name="connsiteX9877" fmla="*/ 467925 w 2240198"/>
                <a:gd name="connsiteY9877" fmla="*/ 402954 h 1729012"/>
                <a:gd name="connsiteX9878" fmla="*/ 466392 w 2240198"/>
                <a:gd name="connsiteY9878" fmla="*/ 401697 h 1729012"/>
                <a:gd name="connsiteX9879" fmla="*/ 466371 w 2240198"/>
                <a:gd name="connsiteY9879" fmla="*/ 400715 h 1729012"/>
                <a:gd name="connsiteX9880" fmla="*/ 466918 w 2240198"/>
                <a:gd name="connsiteY9880" fmla="*/ 400052 h 1729012"/>
                <a:gd name="connsiteX9881" fmla="*/ 466796 w 2240198"/>
                <a:gd name="connsiteY9881" fmla="*/ 399578 h 1729012"/>
                <a:gd name="connsiteX9882" fmla="*/ 466004 w 2240198"/>
                <a:gd name="connsiteY9882" fmla="*/ 399295 h 1729012"/>
                <a:gd name="connsiteX9883" fmla="*/ 464464 w 2240198"/>
                <a:gd name="connsiteY9883" fmla="*/ 399560 h 1729012"/>
                <a:gd name="connsiteX9884" fmla="*/ 458934 w 2240198"/>
                <a:gd name="connsiteY9884" fmla="*/ 401005 h 1729012"/>
                <a:gd name="connsiteX9885" fmla="*/ 459555 w 2240198"/>
                <a:gd name="connsiteY9885" fmla="*/ 399435 h 1729012"/>
                <a:gd name="connsiteX9886" fmla="*/ 462198 w 2240198"/>
                <a:gd name="connsiteY9886" fmla="*/ 396151 h 1729012"/>
                <a:gd name="connsiteX9887" fmla="*/ 468656 w 2240198"/>
                <a:gd name="connsiteY9887" fmla="*/ 389581 h 1729012"/>
                <a:gd name="connsiteX9888" fmla="*/ 471098 w 2240198"/>
                <a:gd name="connsiteY9888" fmla="*/ 387644 h 1729012"/>
                <a:gd name="connsiteX9889" fmla="*/ 472560 w 2240198"/>
                <a:gd name="connsiteY9889" fmla="*/ 387059 h 1729012"/>
                <a:gd name="connsiteX9890" fmla="*/ 491619 w 2240198"/>
                <a:gd name="connsiteY9890" fmla="*/ 384946 h 1729012"/>
                <a:gd name="connsiteX9891" fmla="*/ 492953 w 2240198"/>
                <a:gd name="connsiteY9891" fmla="*/ 384314 h 1729012"/>
                <a:gd name="connsiteX9892" fmla="*/ 502011 w 2240198"/>
                <a:gd name="connsiteY9892" fmla="*/ 375427 h 1729012"/>
                <a:gd name="connsiteX9893" fmla="*/ 504595 w 2240198"/>
                <a:gd name="connsiteY9893" fmla="*/ 373389 h 1729012"/>
                <a:gd name="connsiteX9894" fmla="*/ 507243 w 2240198"/>
                <a:gd name="connsiteY9894" fmla="*/ 371766 h 1729012"/>
                <a:gd name="connsiteX9895" fmla="*/ 520231 w 2240198"/>
                <a:gd name="connsiteY9895" fmla="*/ 366376 h 1729012"/>
                <a:gd name="connsiteX9896" fmla="*/ 521441 w 2240198"/>
                <a:gd name="connsiteY9896" fmla="*/ 365143 h 1729012"/>
                <a:gd name="connsiteX9897" fmla="*/ 523469 w 2240198"/>
                <a:gd name="connsiteY9897" fmla="*/ 361402 h 1729012"/>
                <a:gd name="connsiteX9898" fmla="*/ 524653 w 2240198"/>
                <a:gd name="connsiteY9898" fmla="*/ 360462 h 1729012"/>
                <a:gd name="connsiteX9899" fmla="*/ 527458 w 2240198"/>
                <a:gd name="connsiteY9899" fmla="*/ 359038 h 1729012"/>
                <a:gd name="connsiteX9900" fmla="*/ 536819 w 2240198"/>
                <a:gd name="connsiteY9900" fmla="*/ 351439 h 1729012"/>
                <a:gd name="connsiteX9901" fmla="*/ 545347 w 2240198"/>
                <a:gd name="connsiteY9901" fmla="*/ 345929 h 1729012"/>
                <a:gd name="connsiteX9902" fmla="*/ 549679 w 2240198"/>
                <a:gd name="connsiteY9902" fmla="*/ 342510 h 1729012"/>
                <a:gd name="connsiteX9903" fmla="*/ 555608 w 2240198"/>
                <a:gd name="connsiteY9903" fmla="*/ 339053 h 1729012"/>
                <a:gd name="connsiteX9904" fmla="*/ 562458 w 2240198"/>
                <a:gd name="connsiteY9904" fmla="*/ 337567 h 1729012"/>
                <a:gd name="connsiteX9905" fmla="*/ 583119 w 2240198"/>
                <a:gd name="connsiteY9905" fmla="*/ 334958 h 1729012"/>
                <a:gd name="connsiteX9906" fmla="*/ 597993 w 2240198"/>
                <a:gd name="connsiteY9906" fmla="*/ 338391 h 1729012"/>
                <a:gd name="connsiteX9907" fmla="*/ 601530 w 2240198"/>
                <a:gd name="connsiteY9907" fmla="*/ 338607 h 1729012"/>
                <a:gd name="connsiteX9908" fmla="*/ 603262 w 2240198"/>
                <a:gd name="connsiteY9908" fmla="*/ 337636 h 1729012"/>
                <a:gd name="connsiteX9909" fmla="*/ 604829 w 2240198"/>
                <a:gd name="connsiteY9909" fmla="*/ 336054 h 1729012"/>
                <a:gd name="connsiteX9910" fmla="*/ 607051 w 2240198"/>
                <a:gd name="connsiteY9910" fmla="*/ 336718 h 1729012"/>
                <a:gd name="connsiteX9911" fmla="*/ 612573 w 2240198"/>
                <a:gd name="connsiteY9911" fmla="*/ 337199 h 1729012"/>
                <a:gd name="connsiteX9912" fmla="*/ 613797 w 2240198"/>
                <a:gd name="connsiteY9912" fmla="*/ 336821 h 1729012"/>
                <a:gd name="connsiteX9913" fmla="*/ 616122 w 2240198"/>
                <a:gd name="connsiteY9913" fmla="*/ 335027 h 1729012"/>
                <a:gd name="connsiteX9914" fmla="*/ 614533 w 2240198"/>
                <a:gd name="connsiteY9914" fmla="*/ 334041 h 1729012"/>
                <a:gd name="connsiteX9915" fmla="*/ 607851 w 2240198"/>
                <a:gd name="connsiteY9915" fmla="*/ 332228 h 1729012"/>
                <a:gd name="connsiteX9916" fmla="*/ 607446 w 2240198"/>
                <a:gd name="connsiteY9916" fmla="*/ 331306 h 1729012"/>
                <a:gd name="connsiteX9917" fmla="*/ 607599 w 2240198"/>
                <a:gd name="connsiteY9917" fmla="*/ 330434 h 1729012"/>
                <a:gd name="connsiteX9918" fmla="*/ 609946 w 2240198"/>
                <a:gd name="connsiteY9918" fmla="*/ 328343 h 1729012"/>
                <a:gd name="connsiteX9919" fmla="*/ 612783 w 2240198"/>
                <a:gd name="connsiteY9919" fmla="*/ 326993 h 1729012"/>
                <a:gd name="connsiteX9920" fmla="*/ 1271865 w 2240198"/>
                <a:gd name="connsiteY9920" fmla="*/ 320164 h 1729012"/>
                <a:gd name="connsiteX9921" fmla="*/ 1276119 w 2240198"/>
                <a:gd name="connsiteY9921" fmla="*/ 320508 h 1729012"/>
                <a:gd name="connsiteX9922" fmla="*/ 1282510 w 2240198"/>
                <a:gd name="connsiteY9922" fmla="*/ 321607 h 1729012"/>
                <a:gd name="connsiteX9923" fmla="*/ 1288871 w 2240198"/>
                <a:gd name="connsiteY9923" fmla="*/ 323431 h 1729012"/>
                <a:gd name="connsiteX9924" fmla="*/ 1297313 w 2240198"/>
                <a:gd name="connsiteY9924" fmla="*/ 329016 h 1729012"/>
                <a:gd name="connsiteX9925" fmla="*/ 1300343 w 2240198"/>
                <a:gd name="connsiteY9925" fmla="*/ 331674 h 1729012"/>
                <a:gd name="connsiteX9926" fmla="*/ 1300984 w 2240198"/>
                <a:gd name="connsiteY9926" fmla="*/ 335123 h 1729012"/>
                <a:gd name="connsiteX9927" fmla="*/ 1300974 w 2240198"/>
                <a:gd name="connsiteY9927" fmla="*/ 337231 h 1729012"/>
                <a:gd name="connsiteX9928" fmla="*/ 1300532 w 2240198"/>
                <a:gd name="connsiteY9928" fmla="*/ 338766 h 1729012"/>
                <a:gd name="connsiteX9929" fmla="*/ 1299653 w 2240198"/>
                <a:gd name="connsiteY9929" fmla="*/ 339724 h 1729012"/>
                <a:gd name="connsiteX9930" fmla="*/ 1297458 w 2240198"/>
                <a:gd name="connsiteY9930" fmla="*/ 341064 h 1729012"/>
                <a:gd name="connsiteX9931" fmla="*/ 1290829 w 2240198"/>
                <a:gd name="connsiteY9931" fmla="*/ 344134 h 1729012"/>
                <a:gd name="connsiteX9932" fmla="*/ 1287441 w 2240198"/>
                <a:gd name="connsiteY9932" fmla="*/ 344024 h 1729012"/>
                <a:gd name="connsiteX9933" fmla="*/ 1268046 w 2240198"/>
                <a:gd name="connsiteY9933" fmla="*/ 337740 h 1729012"/>
                <a:gd name="connsiteX9934" fmla="*/ 1264140 w 2240198"/>
                <a:gd name="connsiteY9934" fmla="*/ 334629 h 1729012"/>
                <a:gd name="connsiteX9935" fmla="*/ 1263396 w 2240198"/>
                <a:gd name="connsiteY9935" fmla="*/ 332530 h 1729012"/>
                <a:gd name="connsiteX9936" fmla="*/ 1263181 w 2240198"/>
                <a:gd name="connsiteY9936" fmla="*/ 329548 h 1729012"/>
                <a:gd name="connsiteX9937" fmla="*/ 1263242 w 2240198"/>
                <a:gd name="connsiteY9937" fmla="*/ 325461 h 1729012"/>
                <a:gd name="connsiteX9938" fmla="*/ 1264084 w 2240198"/>
                <a:gd name="connsiteY9938" fmla="*/ 322707 h 1729012"/>
                <a:gd name="connsiteX9939" fmla="*/ 1265107 w 2240198"/>
                <a:gd name="connsiteY9939" fmla="*/ 321749 h 1729012"/>
                <a:gd name="connsiteX9940" fmla="*/ 1267391 w 2240198"/>
                <a:gd name="connsiteY9940" fmla="*/ 320765 h 1729012"/>
                <a:gd name="connsiteX9941" fmla="*/ 891002 w 2240198"/>
                <a:gd name="connsiteY9941" fmla="*/ 314765 h 1729012"/>
                <a:gd name="connsiteX9942" fmla="*/ 897977 w 2240198"/>
                <a:gd name="connsiteY9942" fmla="*/ 315766 h 1729012"/>
                <a:gd name="connsiteX9943" fmla="*/ 901319 w 2240198"/>
                <a:gd name="connsiteY9943" fmla="*/ 317670 h 1729012"/>
                <a:gd name="connsiteX9944" fmla="*/ 905540 w 2240198"/>
                <a:gd name="connsiteY9944" fmla="*/ 320862 h 1729012"/>
                <a:gd name="connsiteX9945" fmla="*/ 911011 w 2240198"/>
                <a:gd name="connsiteY9945" fmla="*/ 325941 h 1729012"/>
                <a:gd name="connsiteX9946" fmla="*/ 912701 w 2240198"/>
                <a:gd name="connsiteY9946" fmla="*/ 328187 h 1729012"/>
                <a:gd name="connsiteX9947" fmla="*/ 913029 w 2240198"/>
                <a:gd name="connsiteY9947" fmla="*/ 331269 h 1729012"/>
                <a:gd name="connsiteX9948" fmla="*/ 914016 w 2240198"/>
                <a:gd name="connsiteY9948" fmla="*/ 332937 h 1729012"/>
                <a:gd name="connsiteX9949" fmla="*/ 918710 w 2240198"/>
                <a:gd name="connsiteY9949" fmla="*/ 333232 h 1729012"/>
                <a:gd name="connsiteX9950" fmla="*/ 924491 w 2240198"/>
                <a:gd name="connsiteY9950" fmla="*/ 337296 h 1729012"/>
                <a:gd name="connsiteX9951" fmla="*/ 925542 w 2240198"/>
                <a:gd name="connsiteY9951" fmla="*/ 338866 h 1729012"/>
                <a:gd name="connsiteX9952" fmla="*/ 926736 w 2240198"/>
                <a:gd name="connsiteY9952" fmla="*/ 342057 h 1729012"/>
                <a:gd name="connsiteX9953" fmla="*/ 926653 w 2240198"/>
                <a:gd name="connsiteY9953" fmla="*/ 343575 h 1729012"/>
                <a:gd name="connsiteX9954" fmla="*/ 925730 w 2240198"/>
                <a:gd name="connsiteY9954" fmla="*/ 346707 h 1729012"/>
                <a:gd name="connsiteX9955" fmla="*/ 924087 w 2240198"/>
                <a:gd name="connsiteY9955" fmla="*/ 347810 h 1729012"/>
                <a:gd name="connsiteX9956" fmla="*/ 920202 w 2240198"/>
                <a:gd name="connsiteY9956" fmla="*/ 348761 h 1729012"/>
                <a:gd name="connsiteX9957" fmla="*/ 912489 w 2240198"/>
                <a:gd name="connsiteY9957" fmla="*/ 346588 h 1729012"/>
                <a:gd name="connsiteX9958" fmla="*/ 907430 w 2240198"/>
                <a:gd name="connsiteY9958" fmla="*/ 345651 h 1729012"/>
                <a:gd name="connsiteX9959" fmla="*/ 903250 w 2240198"/>
                <a:gd name="connsiteY9959" fmla="*/ 341782 h 1729012"/>
                <a:gd name="connsiteX9960" fmla="*/ 898776 w 2240198"/>
                <a:gd name="connsiteY9960" fmla="*/ 336496 h 1729012"/>
                <a:gd name="connsiteX9961" fmla="*/ 895258 w 2240198"/>
                <a:gd name="connsiteY9961" fmla="*/ 330636 h 1729012"/>
                <a:gd name="connsiteX9962" fmla="*/ 893937 w 2240198"/>
                <a:gd name="connsiteY9962" fmla="*/ 327180 h 1729012"/>
                <a:gd name="connsiteX9963" fmla="*/ 891378 w 2240198"/>
                <a:gd name="connsiteY9963" fmla="*/ 325122 h 1729012"/>
                <a:gd name="connsiteX9964" fmla="*/ 890490 w 2240198"/>
                <a:gd name="connsiteY9964" fmla="*/ 321707 h 1729012"/>
                <a:gd name="connsiteX9965" fmla="*/ 885851 w 2240198"/>
                <a:gd name="connsiteY9965" fmla="*/ 316342 h 1729012"/>
                <a:gd name="connsiteX9966" fmla="*/ 886625 w 2240198"/>
                <a:gd name="connsiteY9966" fmla="*/ 315556 h 1729012"/>
                <a:gd name="connsiteX9967" fmla="*/ 1154166 w 2240198"/>
                <a:gd name="connsiteY9967" fmla="*/ 312719 h 1729012"/>
                <a:gd name="connsiteX9968" fmla="*/ 1160538 w 2240198"/>
                <a:gd name="connsiteY9968" fmla="*/ 314797 h 1729012"/>
                <a:gd name="connsiteX9969" fmla="*/ 1167465 w 2240198"/>
                <a:gd name="connsiteY9969" fmla="*/ 313695 h 1729012"/>
                <a:gd name="connsiteX9970" fmla="*/ 1174896 w 2240198"/>
                <a:gd name="connsiteY9970" fmla="*/ 313578 h 1729012"/>
                <a:gd name="connsiteX9971" fmla="*/ 1191431 w 2240198"/>
                <a:gd name="connsiteY9971" fmla="*/ 314464 h 1729012"/>
                <a:gd name="connsiteX9972" fmla="*/ 1202381 w 2240198"/>
                <a:gd name="connsiteY9972" fmla="*/ 313875 h 1729012"/>
                <a:gd name="connsiteX9973" fmla="*/ 1205216 w 2240198"/>
                <a:gd name="connsiteY9973" fmla="*/ 314226 h 1729012"/>
                <a:gd name="connsiteX9974" fmla="*/ 1209529 w 2240198"/>
                <a:gd name="connsiteY9974" fmla="*/ 315558 h 1729012"/>
                <a:gd name="connsiteX9975" fmla="*/ 1211817 w 2240198"/>
                <a:gd name="connsiteY9975" fmla="*/ 317166 h 1729012"/>
                <a:gd name="connsiteX9976" fmla="*/ 1213898 w 2240198"/>
                <a:gd name="connsiteY9976" fmla="*/ 319883 h 1729012"/>
                <a:gd name="connsiteX9977" fmla="*/ 1208561 w 2240198"/>
                <a:gd name="connsiteY9977" fmla="*/ 321535 h 1729012"/>
                <a:gd name="connsiteX9978" fmla="*/ 1203986 w 2240198"/>
                <a:gd name="connsiteY9978" fmla="*/ 329933 h 1729012"/>
                <a:gd name="connsiteX9979" fmla="*/ 1203368 w 2240198"/>
                <a:gd name="connsiteY9979" fmla="*/ 330351 h 1729012"/>
                <a:gd name="connsiteX9980" fmla="*/ 1198393 w 2240198"/>
                <a:gd name="connsiteY9980" fmla="*/ 330465 h 1729012"/>
                <a:gd name="connsiteX9981" fmla="*/ 1195958 w 2240198"/>
                <a:gd name="connsiteY9981" fmla="*/ 331129 h 1729012"/>
                <a:gd name="connsiteX9982" fmla="*/ 1181434 w 2240198"/>
                <a:gd name="connsiteY9982" fmla="*/ 329943 h 1729012"/>
                <a:gd name="connsiteX9983" fmla="*/ 1141420 w 2240198"/>
                <a:gd name="connsiteY9983" fmla="*/ 329408 h 1729012"/>
                <a:gd name="connsiteX9984" fmla="*/ 1139669 w 2240198"/>
                <a:gd name="connsiteY9984" fmla="*/ 328364 h 1729012"/>
                <a:gd name="connsiteX9985" fmla="*/ 1134401 w 2240198"/>
                <a:gd name="connsiteY9985" fmla="*/ 323439 h 1729012"/>
                <a:gd name="connsiteX9986" fmla="*/ 1134078 w 2240198"/>
                <a:gd name="connsiteY9986" fmla="*/ 321487 h 1729012"/>
                <a:gd name="connsiteX9987" fmla="*/ 1135027 w 2240198"/>
                <a:gd name="connsiteY9987" fmla="*/ 319210 h 1729012"/>
                <a:gd name="connsiteX9988" fmla="*/ 1136158 w 2240198"/>
                <a:gd name="connsiteY9988" fmla="*/ 317691 h 1729012"/>
                <a:gd name="connsiteX9989" fmla="*/ 1137466 w 2240198"/>
                <a:gd name="connsiteY9989" fmla="*/ 316940 h 1729012"/>
                <a:gd name="connsiteX9990" fmla="*/ 1149106 w 2240198"/>
                <a:gd name="connsiteY9990" fmla="*/ 313248 h 1729012"/>
                <a:gd name="connsiteX9991" fmla="*/ 991036 w 2240198"/>
                <a:gd name="connsiteY9991" fmla="*/ 306854 h 1729012"/>
                <a:gd name="connsiteX9992" fmla="*/ 998096 w 2240198"/>
                <a:gd name="connsiteY9992" fmla="*/ 307265 h 1729012"/>
                <a:gd name="connsiteX9993" fmla="*/ 1006144 w 2240198"/>
                <a:gd name="connsiteY9993" fmla="*/ 309334 h 1729012"/>
                <a:gd name="connsiteX9994" fmla="*/ 1009409 w 2240198"/>
                <a:gd name="connsiteY9994" fmla="*/ 310661 h 1729012"/>
                <a:gd name="connsiteX9995" fmla="*/ 1011073 w 2240198"/>
                <a:gd name="connsiteY9995" fmla="*/ 311598 h 1729012"/>
                <a:gd name="connsiteX9996" fmla="*/ 1013136 w 2240198"/>
                <a:gd name="connsiteY9996" fmla="*/ 313490 h 1729012"/>
                <a:gd name="connsiteX9997" fmla="*/ 1013813 w 2240198"/>
                <a:gd name="connsiteY9997" fmla="*/ 314327 h 1729012"/>
                <a:gd name="connsiteX9998" fmla="*/ 1014257 w 2240198"/>
                <a:gd name="connsiteY9998" fmla="*/ 315813 h 1729012"/>
                <a:gd name="connsiteX9999" fmla="*/ 1004226 w 2240198"/>
                <a:gd name="connsiteY9999" fmla="*/ 316142 h 1729012"/>
                <a:gd name="connsiteX10000" fmla="*/ 999487 w 2240198"/>
                <a:gd name="connsiteY10000" fmla="*/ 316726 h 1729012"/>
                <a:gd name="connsiteX10001" fmla="*/ 996723 w 2240198"/>
                <a:gd name="connsiteY10001" fmla="*/ 317906 h 1729012"/>
                <a:gd name="connsiteX10002" fmla="*/ 993237 w 2240198"/>
                <a:gd name="connsiteY10002" fmla="*/ 318407 h 1729012"/>
                <a:gd name="connsiteX10003" fmla="*/ 986928 w 2240198"/>
                <a:gd name="connsiteY10003" fmla="*/ 318144 h 1729012"/>
                <a:gd name="connsiteX10004" fmla="*/ 979372 w 2240198"/>
                <a:gd name="connsiteY10004" fmla="*/ 316193 h 1729012"/>
                <a:gd name="connsiteX10005" fmla="*/ 977334 w 2240198"/>
                <a:gd name="connsiteY10005" fmla="*/ 313907 h 1729012"/>
                <a:gd name="connsiteX10006" fmla="*/ 976907 w 2240198"/>
                <a:gd name="connsiteY10006" fmla="*/ 310287 h 1729012"/>
                <a:gd name="connsiteX10007" fmla="*/ 976996 w 2240198"/>
                <a:gd name="connsiteY10007" fmla="*/ 308279 h 1729012"/>
                <a:gd name="connsiteX10008" fmla="*/ 977601 w 2240198"/>
                <a:gd name="connsiteY10008" fmla="*/ 307891 h 1729012"/>
                <a:gd name="connsiteX10009" fmla="*/ 982279 w 2240198"/>
                <a:gd name="connsiteY10009" fmla="*/ 307414 h 1729012"/>
                <a:gd name="connsiteX10010" fmla="*/ 676299 w 2240198"/>
                <a:gd name="connsiteY10010" fmla="*/ 297118 h 1729012"/>
                <a:gd name="connsiteX10011" fmla="*/ 677149 w 2240198"/>
                <a:gd name="connsiteY10011" fmla="*/ 297906 h 1729012"/>
                <a:gd name="connsiteX10012" fmla="*/ 676997 w 2240198"/>
                <a:gd name="connsiteY10012" fmla="*/ 299575 h 1729012"/>
                <a:gd name="connsiteX10013" fmla="*/ 677581 w 2240198"/>
                <a:gd name="connsiteY10013" fmla="*/ 301132 h 1729012"/>
                <a:gd name="connsiteX10014" fmla="*/ 680088 w 2240198"/>
                <a:gd name="connsiteY10014" fmla="*/ 301463 h 1729012"/>
                <a:gd name="connsiteX10015" fmla="*/ 682465 w 2240198"/>
                <a:gd name="connsiteY10015" fmla="*/ 302574 h 1729012"/>
                <a:gd name="connsiteX10016" fmla="*/ 687269 w 2240198"/>
                <a:gd name="connsiteY10016" fmla="*/ 305982 h 1729012"/>
                <a:gd name="connsiteX10017" fmla="*/ 690559 w 2240198"/>
                <a:gd name="connsiteY10017" fmla="*/ 306638 h 1729012"/>
                <a:gd name="connsiteX10018" fmla="*/ 691741 w 2240198"/>
                <a:gd name="connsiteY10018" fmla="*/ 307383 h 1729012"/>
                <a:gd name="connsiteX10019" fmla="*/ 692367 w 2240198"/>
                <a:gd name="connsiteY10019" fmla="*/ 308527 h 1729012"/>
                <a:gd name="connsiteX10020" fmla="*/ 694365 w 2240198"/>
                <a:gd name="connsiteY10020" fmla="*/ 310517 h 1729012"/>
                <a:gd name="connsiteX10021" fmla="*/ 694328 w 2240198"/>
                <a:gd name="connsiteY10021" fmla="*/ 311549 h 1729012"/>
                <a:gd name="connsiteX10022" fmla="*/ 691629 w 2240198"/>
                <a:gd name="connsiteY10022" fmla="*/ 313602 h 1729012"/>
                <a:gd name="connsiteX10023" fmla="*/ 688925 w 2240198"/>
                <a:gd name="connsiteY10023" fmla="*/ 314751 h 1729012"/>
                <a:gd name="connsiteX10024" fmla="*/ 681990 w 2240198"/>
                <a:gd name="connsiteY10024" fmla="*/ 316596 h 1729012"/>
                <a:gd name="connsiteX10025" fmla="*/ 677394 w 2240198"/>
                <a:gd name="connsiteY10025" fmla="*/ 316553 h 1729012"/>
                <a:gd name="connsiteX10026" fmla="*/ 669250 w 2240198"/>
                <a:gd name="connsiteY10026" fmla="*/ 313953 h 1729012"/>
                <a:gd name="connsiteX10027" fmla="*/ 659816 w 2240198"/>
                <a:gd name="connsiteY10027" fmla="*/ 305990 h 1729012"/>
                <a:gd name="connsiteX10028" fmla="*/ 658576 w 2240198"/>
                <a:gd name="connsiteY10028" fmla="*/ 303143 h 1729012"/>
                <a:gd name="connsiteX10029" fmla="*/ 662098 w 2240198"/>
                <a:gd name="connsiteY10029" fmla="*/ 302630 h 1729012"/>
                <a:gd name="connsiteX10030" fmla="*/ 664658 w 2240198"/>
                <a:gd name="connsiteY10030" fmla="*/ 301754 h 1729012"/>
                <a:gd name="connsiteX10031" fmla="*/ 666256 w 2240198"/>
                <a:gd name="connsiteY10031" fmla="*/ 300517 h 1729012"/>
                <a:gd name="connsiteX10032" fmla="*/ 669288 w 2240198"/>
                <a:gd name="connsiteY10032" fmla="*/ 299158 h 1729012"/>
                <a:gd name="connsiteX10033" fmla="*/ 774487 w 2240198"/>
                <a:gd name="connsiteY10033" fmla="*/ 295709 h 1729012"/>
                <a:gd name="connsiteX10034" fmla="*/ 794802 w 2240198"/>
                <a:gd name="connsiteY10034" fmla="*/ 297026 h 1729012"/>
                <a:gd name="connsiteX10035" fmla="*/ 795679 w 2240198"/>
                <a:gd name="connsiteY10035" fmla="*/ 297272 h 1729012"/>
                <a:gd name="connsiteX10036" fmla="*/ 795762 w 2240198"/>
                <a:gd name="connsiteY10036" fmla="*/ 298254 h 1729012"/>
                <a:gd name="connsiteX10037" fmla="*/ 794231 w 2240198"/>
                <a:gd name="connsiteY10037" fmla="*/ 301405 h 1729012"/>
                <a:gd name="connsiteX10038" fmla="*/ 791888 w 2240198"/>
                <a:gd name="connsiteY10038" fmla="*/ 303696 h 1729012"/>
                <a:gd name="connsiteX10039" fmla="*/ 781042 w 2240198"/>
                <a:gd name="connsiteY10039" fmla="*/ 306569 h 1729012"/>
                <a:gd name="connsiteX10040" fmla="*/ 767056 w 2240198"/>
                <a:gd name="connsiteY10040" fmla="*/ 309166 h 1729012"/>
                <a:gd name="connsiteX10041" fmla="*/ 764152 w 2240198"/>
                <a:gd name="connsiteY10041" fmla="*/ 310425 h 1729012"/>
                <a:gd name="connsiteX10042" fmla="*/ 764383 w 2240198"/>
                <a:gd name="connsiteY10042" fmla="*/ 311175 h 1729012"/>
                <a:gd name="connsiteX10043" fmla="*/ 765522 w 2240198"/>
                <a:gd name="connsiteY10043" fmla="*/ 312111 h 1729012"/>
                <a:gd name="connsiteX10044" fmla="*/ 767861 w 2240198"/>
                <a:gd name="connsiteY10044" fmla="*/ 313294 h 1729012"/>
                <a:gd name="connsiteX10045" fmla="*/ 778693 w 2240198"/>
                <a:gd name="connsiteY10045" fmla="*/ 313026 h 1729012"/>
                <a:gd name="connsiteX10046" fmla="*/ 781304 w 2240198"/>
                <a:gd name="connsiteY10046" fmla="*/ 313536 h 1729012"/>
                <a:gd name="connsiteX10047" fmla="*/ 782229 w 2240198"/>
                <a:gd name="connsiteY10047" fmla="*/ 314301 h 1729012"/>
                <a:gd name="connsiteX10048" fmla="*/ 782783 w 2240198"/>
                <a:gd name="connsiteY10048" fmla="*/ 315418 h 1729012"/>
                <a:gd name="connsiteX10049" fmla="*/ 783120 w 2240198"/>
                <a:gd name="connsiteY10049" fmla="*/ 316875 h 1729012"/>
                <a:gd name="connsiteX10050" fmla="*/ 783137 w 2240198"/>
                <a:gd name="connsiteY10050" fmla="*/ 321805 h 1729012"/>
                <a:gd name="connsiteX10051" fmla="*/ 782565 w 2240198"/>
                <a:gd name="connsiteY10051" fmla="*/ 324652 h 1729012"/>
                <a:gd name="connsiteX10052" fmla="*/ 781069 w 2240198"/>
                <a:gd name="connsiteY10052" fmla="*/ 327227 h 1729012"/>
                <a:gd name="connsiteX10053" fmla="*/ 776680 w 2240198"/>
                <a:gd name="connsiteY10053" fmla="*/ 329058 h 1729012"/>
                <a:gd name="connsiteX10054" fmla="*/ 768786 w 2240198"/>
                <a:gd name="connsiteY10054" fmla="*/ 331472 h 1729012"/>
                <a:gd name="connsiteX10055" fmla="*/ 763433 w 2240198"/>
                <a:gd name="connsiteY10055" fmla="*/ 332545 h 1729012"/>
                <a:gd name="connsiteX10056" fmla="*/ 759212 w 2240198"/>
                <a:gd name="connsiteY10056" fmla="*/ 332159 h 1729012"/>
                <a:gd name="connsiteX10057" fmla="*/ 755009 w 2240198"/>
                <a:gd name="connsiteY10057" fmla="*/ 332409 h 1729012"/>
                <a:gd name="connsiteX10058" fmla="*/ 736607 w 2240198"/>
                <a:gd name="connsiteY10058" fmla="*/ 336950 h 1729012"/>
                <a:gd name="connsiteX10059" fmla="*/ 730914 w 2240198"/>
                <a:gd name="connsiteY10059" fmla="*/ 336974 h 1729012"/>
                <a:gd name="connsiteX10060" fmla="*/ 725939 w 2240198"/>
                <a:gd name="connsiteY10060" fmla="*/ 335878 h 1729012"/>
                <a:gd name="connsiteX10061" fmla="*/ 719065 w 2240198"/>
                <a:gd name="connsiteY10061" fmla="*/ 331590 h 1729012"/>
                <a:gd name="connsiteX10062" fmla="*/ 711919 w 2240198"/>
                <a:gd name="connsiteY10062" fmla="*/ 329904 h 1729012"/>
                <a:gd name="connsiteX10063" fmla="*/ 708865 w 2240198"/>
                <a:gd name="connsiteY10063" fmla="*/ 327971 h 1729012"/>
                <a:gd name="connsiteX10064" fmla="*/ 705865 w 2240198"/>
                <a:gd name="connsiteY10064" fmla="*/ 326916 h 1729012"/>
                <a:gd name="connsiteX10065" fmla="*/ 705035 w 2240198"/>
                <a:gd name="connsiteY10065" fmla="*/ 325371 h 1729012"/>
                <a:gd name="connsiteX10066" fmla="*/ 704745 w 2240198"/>
                <a:gd name="connsiteY10066" fmla="*/ 324217 h 1729012"/>
                <a:gd name="connsiteX10067" fmla="*/ 705250 w 2240198"/>
                <a:gd name="connsiteY10067" fmla="*/ 323156 h 1729012"/>
                <a:gd name="connsiteX10068" fmla="*/ 706548 w 2240198"/>
                <a:gd name="connsiteY10068" fmla="*/ 322194 h 1729012"/>
                <a:gd name="connsiteX10069" fmla="*/ 706974 w 2240198"/>
                <a:gd name="connsiteY10069" fmla="*/ 321376 h 1729012"/>
                <a:gd name="connsiteX10070" fmla="*/ 705779 w 2240198"/>
                <a:gd name="connsiteY10070" fmla="*/ 318998 h 1729012"/>
                <a:gd name="connsiteX10071" fmla="*/ 705227 w 2240198"/>
                <a:gd name="connsiteY10071" fmla="*/ 316726 h 1729012"/>
                <a:gd name="connsiteX10072" fmla="*/ 703154 w 2240198"/>
                <a:gd name="connsiteY10072" fmla="*/ 313458 h 1729012"/>
                <a:gd name="connsiteX10073" fmla="*/ 702846 w 2240198"/>
                <a:gd name="connsiteY10073" fmla="*/ 311574 h 1729012"/>
                <a:gd name="connsiteX10074" fmla="*/ 702858 w 2240198"/>
                <a:gd name="connsiteY10074" fmla="*/ 310342 h 1729012"/>
                <a:gd name="connsiteX10075" fmla="*/ 703204 w 2240198"/>
                <a:gd name="connsiteY10075" fmla="*/ 309012 h 1729012"/>
                <a:gd name="connsiteX10076" fmla="*/ 704576 w 2240198"/>
                <a:gd name="connsiteY10076" fmla="*/ 306641 h 1729012"/>
                <a:gd name="connsiteX10077" fmla="*/ 705289 w 2240198"/>
                <a:gd name="connsiteY10077" fmla="*/ 306158 h 1729012"/>
                <a:gd name="connsiteX10078" fmla="*/ 709484 w 2240198"/>
                <a:gd name="connsiteY10078" fmla="*/ 305788 h 1729012"/>
                <a:gd name="connsiteX10079" fmla="*/ 714988 w 2240198"/>
                <a:gd name="connsiteY10079" fmla="*/ 304561 h 1729012"/>
                <a:gd name="connsiteX10080" fmla="*/ 727666 w 2240198"/>
                <a:gd name="connsiteY10080" fmla="*/ 300995 h 1729012"/>
                <a:gd name="connsiteX10081" fmla="*/ 755507 w 2240198"/>
                <a:gd name="connsiteY10081" fmla="*/ 296538 h 1729012"/>
                <a:gd name="connsiteX10082" fmla="*/ 763960 w 2240198"/>
                <a:gd name="connsiteY10082" fmla="*/ 296950 h 1729012"/>
                <a:gd name="connsiteX10083" fmla="*/ 767659 w 2240198"/>
                <a:gd name="connsiteY10083" fmla="*/ 296075 h 1729012"/>
                <a:gd name="connsiteX10084" fmla="*/ 966341 w 2240198"/>
                <a:gd name="connsiteY10084" fmla="*/ 286468 h 1729012"/>
                <a:gd name="connsiteX10085" fmla="*/ 968021 w 2240198"/>
                <a:gd name="connsiteY10085" fmla="*/ 287637 h 1729012"/>
                <a:gd name="connsiteX10086" fmla="*/ 968966 w 2240198"/>
                <a:gd name="connsiteY10086" fmla="*/ 289392 h 1729012"/>
                <a:gd name="connsiteX10087" fmla="*/ 963512 w 2240198"/>
                <a:gd name="connsiteY10087" fmla="*/ 293337 h 1729012"/>
                <a:gd name="connsiteX10088" fmla="*/ 960600 w 2240198"/>
                <a:gd name="connsiteY10088" fmla="*/ 294440 h 1729012"/>
                <a:gd name="connsiteX10089" fmla="*/ 957201 w 2240198"/>
                <a:gd name="connsiteY10089" fmla="*/ 293793 h 1729012"/>
                <a:gd name="connsiteX10090" fmla="*/ 956725 w 2240198"/>
                <a:gd name="connsiteY10090" fmla="*/ 293106 h 1729012"/>
                <a:gd name="connsiteX10091" fmla="*/ 956660 w 2240198"/>
                <a:gd name="connsiteY10091" fmla="*/ 292275 h 1729012"/>
                <a:gd name="connsiteX10092" fmla="*/ 957003 w 2240198"/>
                <a:gd name="connsiteY10092" fmla="*/ 291300 h 1729012"/>
                <a:gd name="connsiteX10093" fmla="*/ 960796 w 2240198"/>
                <a:gd name="connsiteY10093" fmla="*/ 287867 h 1729012"/>
                <a:gd name="connsiteX10094" fmla="*/ 964274 w 2240198"/>
                <a:gd name="connsiteY10094" fmla="*/ 286689 h 1729012"/>
                <a:gd name="connsiteX10095" fmla="*/ 770430 w 2240198"/>
                <a:gd name="connsiteY10095" fmla="*/ 259466 h 1729012"/>
                <a:gd name="connsiteX10096" fmla="*/ 775762 w 2240198"/>
                <a:gd name="connsiteY10096" fmla="*/ 259531 h 1729012"/>
                <a:gd name="connsiteX10097" fmla="*/ 782540 w 2240198"/>
                <a:gd name="connsiteY10097" fmla="*/ 262445 h 1729012"/>
                <a:gd name="connsiteX10098" fmla="*/ 787601 w 2240198"/>
                <a:gd name="connsiteY10098" fmla="*/ 263894 h 1729012"/>
                <a:gd name="connsiteX10099" fmla="*/ 790769 w 2240198"/>
                <a:gd name="connsiteY10099" fmla="*/ 265458 h 1729012"/>
                <a:gd name="connsiteX10100" fmla="*/ 795206 w 2240198"/>
                <a:gd name="connsiteY10100" fmla="*/ 268703 h 1729012"/>
                <a:gd name="connsiteX10101" fmla="*/ 796730 w 2240198"/>
                <a:gd name="connsiteY10101" fmla="*/ 268638 h 1729012"/>
                <a:gd name="connsiteX10102" fmla="*/ 798675 w 2240198"/>
                <a:gd name="connsiteY10102" fmla="*/ 269237 h 1729012"/>
                <a:gd name="connsiteX10103" fmla="*/ 799610 w 2240198"/>
                <a:gd name="connsiteY10103" fmla="*/ 270087 h 1729012"/>
                <a:gd name="connsiteX10104" fmla="*/ 802275 w 2240198"/>
                <a:gd name="connsiteY10104" fmla="*/ 274213 h 1729012"/>
                <a:gd name="connsiteX10105" fmla="*/ 802783 w 2240198"/>
                <a:gd name="connsiteY10105" fmla="*/ 276257 h 1729012"/>
                <a:gd name="connsiteX10106" fmla="*/ 802938 w 2240198"/>
                <a:gd name="connsiteY10106" fmla="*/ 278889 h 1729012"/>
                <a:gd name="connsiteX10107" fmla="*/ 802531 w 2240198"/>
                <a:gd name="connsiteY10107" fmla="*/ 281091 h 1729012"/>
                <a:gd name="connsiteX10108" fmla="*/ 801557 w 2240198"/>
                <a:gd name="connsiteY10108" fmla="*/ 282858 h 1729012"/>
                <a:gd name="connsiteX10109" fmla="*/ 799174 w 2240198"/>
                <a:gd name="connsiteY10109" fmla="*/ 283978 h 1729012"/>
                <a:gd name="connsiteX10110" fmla="*/ 793486 w 2240198"/>
                <a:gd name="connsiteY10110" fmla="*/ 284675 h 1729012"/>
                <a:gd name="connsiteX10111" fmla="*/ 785548 w 2240198"/>
                <a:gd name="connsiteY10111" fmla="*/ 283624 h 1729012"/>
                <a:gd name="connsiteX10112" fmla="*/ 778662 w 2240198"/>
                <a:gd name="connsiteY10112" fmla="*/ 284982 h 1729012"/>
                <a:gd name="connsiteX10113" fmla="*/ 775494 w 2240198"/>
                <a:gd name="connsiteY10113" fmla="*/ 285160 h 1729012"/>
                <a:gd name="connsiteX10114" fmla="*/ 766956 w 2240198"/>
                <a:gd name="connsiteY10114" fmla="*/ 284289 h 1729012"/>
                <a:gd name="connsiteX10115" fmla="*/ 764802 w 2240198"/>
                <a:gd name="connsiteY10115" fmla="*/ 283651 h 1729012"/>
                <a:gd name="connsiteX10116" fmla="*/ 760068 w 2240198"/>
                <a:gd name="connsiteY10116" fmla="*/ 281147 h 1729012"/>
                <a:gd name="connsiteX10117" fmla="*/ 756457 w 2240198"/>
                <a:gd name="connsiteY10117" fmla="*/ 280116 h 1729012"/>
                <a:gd name="connsiteX10118" fmla="*/ 754939 w 2240198"/>
                <a:gd name="connsiteY10118" fmla="*/ 280667 h 1729012"/>
                <a:gd name="connsiteX10119" fmla="*/ 753127 w 2240198"/>
                <a:gd name="connsiteY10119" fmla="*/ 282864 h 1729012"/>
                <a:gd name="connsiteX10120" fmla="*/ 749715 w 2240198"/>
                <a:gd name="connsiteY10120" fmla="*/ 285580 h 1729012"/>
                <a:gd name="connsiteX10121" fmla="*/ 747625 w 2240198"/>
                <a:gd name="connsiteY10121" fmla="*/ 286278 h 1729012"/>
                <a:gd name="connsiteX10122" fmla="*/ 741483 w 2240198"/>
                <a:gd name="connsiteY10122" fmla="*/ 285823 h 1729012"/>
                <a:gd name="connsiteX10123" fmla="*/ 732061 w 2240198"/>
                <a:gd name="connsiteY10123" fmla="*/ 281233 h 1729012"/>
                <a:gd name="connsiteX10124" fmla="*/ 721245 w 2240198"/>
                <a:gd name="connsiteY10124" fmla="*/ 282591 h 1729012"/>
                <a:gd name="connsiteX10125" fmla="*/ 710036 w 2240198"/>
                <a:gd name="connsiteY10125" fmla="*/ 285273 h 1729012"/>
                <a:gd name="connsiteX10126" fmla="*/ 705659 w 2240198"/>
                <a:gd name="connsiteY10126" fmla="*/ 285777 h 1729012"/>
                <a:gd name="connsiteX10127" fmla="*/ 704378 w 2240198"/>
                <a:gd name="connsiteY10127" fmla="*/ 284998 h 1729012"/>
                <a:gd name="connsiteX10128" fmla="*/ 702615 w 2240198"/>
                <a:gd name="connsiteY10128" fmla="*/ 282986 h 1729012"/>
                <a:gd name="connsiteX10129" fmla="*/ 702891 w 2240198"/>
                <a:gd name="connsiteY10129" fmla="*/ 281968 h 1729012"/>
                <a:gd name="connsiteX10130" fmla="*/ 706231 w 2240198"/>
                <a:gd name="connsiteY10130" fmla="*/ 278893 h 1729012"/>
                <a:gd name="connsiteX10131" fmla="*/ 713689 w 2240198"/>
                <a:gd name="connsiteY10131" fmla="*/ 275656 h 1729012"/>
                <a:gd name="connsiteX10132" fmla="*/ 719141 w 2240198"/>
                <a:gd name="connsiteY10132" fmla="*/ 273829 h 1729012"/>
                <a:gd name="connsiteX10133" fmla="*/ 729963 w 2240198"/>
                <a:gd name="connsiteY10133" fmla="*/ 271164 h 1729012"/>
                <a:gd name="connsiteX10134" fmla="*/ 742774 w 2240198"/>
                <a:gd name="connsiteY10134" fmla="*/ 269669 h 1729012"/>
                <a:gd name="connsiteX10135" fmla="*/ 747564 w 2240198"/>
                <a:gd name="connsiteY10135" fmla="*/ 268084 h 1729012"/>
                <a:gd name="connsiteX10136" fmla="*/ 750595 w 2240198"/>
                <a:gd name="connsiteY10136" fmla="*/ 265811 h 1729012"/>
                <a:gd name="connsiteX10137" fmla="*/ 758933 w 2240198"/>
                <a:gd name="connsiteY10137" fmla="*/ 262224 h 1729012"/>
                <a:gd name="connsiteX10138" fmla="*/ 763849 w 2240198"/>
                <a:gd name="connsiteY10138" fmla="*/ 260737 h 1729012"/>
                <a:gd name="connsiteX10139" fmla="*/ 1089291 w 2240198"/>
                <a:gd name="connsiteY10139" fmla="*/ 256815 h 1729012"/>
                <a:gd name="connsiteX10140" fmla="*/ 1100626 w 2240198"/>
                <a:gd name="connsiteY10140" fmla="*/ 257343 h 1729012"/>
                <a:gd name="connsiteX10141" fmla="*/ 1106040 w 2240198"/>
                <a:gd name="connsiteY10141" fmla="*/ 258063 h 1729012"/>
                <a:gd name="connsiteX10142" fmla="*/ 1111441 w 2240198"/>
                <a:gd name="connsiteY10142" fmla="*/ 259474 h 1729012"/>
                <a:gd name="connsiteX10143" fmla="*/ 1117363 w 2240198"/>
                <a:gd name="connsiteY10143" fmla="*/ 261562 h 1729012"/>
                <a:gd name="connsiteX10144" fmla="*/ 1126205 w 2240198"/>
                <a:gd name="connsiteY10144" fmla="*/ 263412 h 1729012"/>
                <a:gd name="connsiteX10145" fmla="*/ 1129039 w 2240198"/>
                <a:gd name="connsiteY10145" fmla="*/ 264633 h 1729012"/>
                <a:gd name="connsiteX10146" fmla="*/ 1134364 w 2240198"/>
                <a:gd name="connsiteY10146" fmla="*/ 268521 h 1729012"/>
                <a:gd name="connsiteX10147" fmla="*/ 1134939 w 2240198"/>
                <a:gd name="connsiteY10147" fmla="*/ 269753 h 1729012"/>
                <a:gd name="connsiteX10148" fmla="*/ 1134588 w 2240198"/>
                <a:gd name="connsiteY10148" fmla="*/ 270979 h 1729012"/>
                <a:gd name="connsiteX10149" fmla="*/ 1135907 w 2240198"/>
                <a:gd name="connsiteY10149" fmla="*/ 272081 h 1729012"/>
                <a:gd name="connsiteX10150" fmla="*/ 1141891 w 2240198"/>
                <a:gd name="connsiteY10150" fmla="*/ 273533 h 1729012"/>
                <a:gd name="connsiteX10151" fmla="*/ 1152220 w 2240198"/>
                <a:gd name="connsiteY10151" fmla="*/ 272897 h 1729012"/>
                <a:gd name="connsiteX10152" fmla="*/ 1155977 w 2240198"/>
                <a:gd name="connsiteY10152" fmla="*/ 273953 h 1729012"/>
                <a:gd name="connsiteX10153" fmla="*/ 1165656 w 2240198"/>
                <a:gd name="connsiteY10153" fmla="*/ 277682 h 1729012"/>
                <a:gd name="connsiteX10154" fmla="*/ 1168594 w 2240198"/>
                <a:gd name="connsiteY10154" fmla="*/ 279881 h 1729012"/>
                <a:gd name="connsiteX10155" fmla="*/ 1169295 w 2240198"/>
                <a:gd name="connsiteY10155" fmla="*/ 281542 h 1729012"/>
                <a:gd name="connsiteX10156" fmla="*/ 1169310 w 2240198"/>
                <a:gd name="connsiteY10156" fmla="*/ 282386 h 1729012"/>
                <a:gd name="connsiteX10157" fmla="*/ 1166096 w 2240198"/>
                <a:gd name="connsiteY10157" fmla="*/ 284187 h 1729012"/>
                <a:gd name="connsiteX10158" fmla="*/ 1159655 w 2240198"/>
                <a:gd name="connsiteY10158" fmla="*/ 286941 h 1729012"/>
                <a:gd name="connsiteX10159" fmla="*/ 1158099 w 2240198"/>
                <a:gd name="connsiteY10159" fmla="*/ 289012 h 1729012"/>
                <a:gd name="connsiteX10160" fmla="*/ 1163843 w 2240198"/>
                <a:gd name="connsiteY10160" fmla="*/ 291597 h 1729012"/>
                <a:gd name="connsiteX10161" fmla="*/ 1166757 w 2240198"/>
                <a:gd name="connsiteY10161" fmla="*/ 293895 h 1729012"/>
                <a:gd name="connsiteX10162" fmla="*/ 1168070 w 2240198"/>
                <a:gd name="connsiteY10162" fmla="*/ 295536 h 1729012"/>
                <a:gd name="connsiteX10163" fmla="*/ 1168115 w 2240198"/>
                <a:gd name="connsiteY10163" fmla="*/ 297223 h 1729012"/>
                <a:gd name="connsiteX10164" fmla="*/ 1164241 w 2240198"/>
                <a:gd name="connsiteY10164" fmla="*/ 301771 h 1729012"/>
                <a:gd name="connsiteX10165" fmla="*/ 1161400 w 2240198"/>
                <a:gd name="connsiteY10165" fmla="*/ 303109 h 1729012"/>
                <a:gd name="connsiteX10166" fmla="*/ 1157053 w 2240198"/>
                <a:gd name="connsiteY10166" fmla="*/ 302964 h 1729012"/>
                <a:gd name="connsiteX10167" fmla="*/ 1154997 w 2240198"/>
                <a:gd name="connsiteY10167" fmla="*/ 303378 h 1729012"/>
                <a:gd name="connsiteX10168" fmla="*/ 1149439 w 2240198"/>
                <a:gd name="connsiteY10168" fmla="*/ 305497 h 1729012"/>
                <a:gd name="connsiteX10169" fmla="*/ 1140799 w 2240198"/>
                <a:gd name="connsiteY10169" fmla="*/ 307520 h 1729012"/>
                <a:gd name="connsiteX10170" fmla="*/ 1129000 w 2240198"/>
                <a:gd name="connsiteY10170" fmla="*/ 308352 h 1729012"/>
                <a:gd name="connsiteX10171" fmla="*/ 1125801 w 2240198"/>
                <a:gd name="connsiteY10171" fmla="*/ 309597 h 1729012"/>
                <a:gd name="connsiteX10172" fmla="*/ 1119944 w 2240198"/>
                <a:gd name="connsiteY10172" fmla="*/ 311636 h 1729012"/>
                <a:gd name="connsiteX10173" fmla="*/ 1115997 w 2240198"/>
                <a:gd name="connsiteY10173" fmla="*/ 311957 h 1729012"/>
                <a:gd name="connsiteX10174" fmla="*/ 1114708 w 2240198"/>
                <a:gd name="connsiteY10174" fmla="*/ 310790 h 1729012"/>
                <a:gd name="connsiteX10175" fmla="*/ 1114117 w 2240198"/>
                <a:gd name="connsiteY10175" fmla="*/ 309065 h 1729012"/>
                <a:gd name="connsiteX10176" fmla="*/ 1114418 w 2240198"/>
                <a:gd name="connsiteY10176" fmla="*/ 307872 h 1729012"/>
                <a:gd name="connsiteX10177" fmla="*/ 1115251 w 2240198"/>
                <a:gd name="connsiteY10177" fmla="*/ 306391 h 1729012"/>
                <a:gd name="connsiteX10178" fmla="*/ 1113369 w 2240198"/>
                <a:gd name="connsiteY10178" fmla="*/ 305003 h 1729012"/>
                <a:gd name="connsiteX10179" fmla="*/ 1104917 w 2240198"/>
                <a:gd name="connsiteY10179" fmla="*/ 302337 h 1729012"/>
                <a:gd name="connsiteX10180" fmla="*/ 1099993 w 2240198"/>
                <a:gd name="connsiteY10180" fmla="*/ 298615 h 1729012"/>
                <a:gd name="connsiteX10181" fmla="*/ 1099294 w 2240198"/>
                <a:gd name="connsiteY10181" fmla="*/ 297443 h 1729012"/>
                <a:gd name="connsiteX10182" fmla="*/ 1099047 w 2240198"/>
                <a:gd name="connsiteY10182" fmla="*/ 296402 h 1729012"/>
                <a:gd name="connsiteX10183" fmla="*/ 1109990 w 2240198"/>
                <a:gd name="connsiteY10183" fmla="*/ 295709 h 1729012"/>
                <a:gd name="connsiteX10184" fmla="*/ 1114698 w 2240198"/>
                <a:gd name="connsiteY10184" fmla="*/ 294957 h 1729012"/>
                <a:gd name="connsiteX10185" fmla="*/ 1116791 w 2240198"/>
                <a:gd name="connsiteY10185" fmla="*/ 293745 h 1729012"/>
                <a:gd name="connsiteX10186" fmla="*/ 1117137 w 2240198"/>
                <a:gd name="connsiteY10186" fmla="*/ 293040 h 1729012"/>
                <a:gd name="connsiteX10187" fmla="*/ 1115042 w 2240198"/>
                <a:gd name="connsiteY10187" fmla="*/ 292733 h 1729012"/>
                <a:gd name="connsiteX10188" fmla="*/ 1107544 w 2240198"/>
                <a:gd name="connsiteY10188" fmla="*/ 290214 h 1729012"/>
                <a:gd name="connsiteX10189" fmla="*/ 1094966 w 2240198"/>
                <a:gd name="connsiteY10189" fmla="*/ 288706 h 1729012"/>
                <a:gd name="connsiteX10190" fmla="*/ 1094367 w 2240198"/>
                <a:gd name="connsiteY10190" fmla="*/ 286957 h 1729012"/>
                <a:gd name="connsiteX10191" fmla="*/ 1089123 w 2240198"/>
                <a:gd name="connsiteY10191" fmla="*/ 283451 h 1729012"/>
                <a:gd name="connsiteX10192" fmla="*/ 1088622 w 2240198"/>
                <a:gd name="connsiteY10192" fmla="*/ 280113 h 1729012"/>
                <a:gd name="connsiteX10193" fmla="*/ 1087481 w 2240198"/>
                <a:gd name="connsiteY10193" fmla="*/ 279190 h 1729012"/>
                <a:gd name="connsiteX10194" fmla="*/ 1083914 w 2240198"/>
                <a:gd name="connsiteY10194" fmla="*/ 277739 h 1729012"/>
                <a:gd name="connsiteX10195" fmla="*/ 1083388 w 2240198"/>
                <a:gd name="connsiteY10195" fmla="*/ 277260 h 1729012"/>
                <a:gd name="connsiteX10196" fmla="*/ 1082332 w 2240198"/>
                <a:gd name="connsiteY10196" fmla="*/ 275102 h 1729012"/>
                <a:gd name="connsiteX10197" fmla="*/ 1082170 w 2240198"/>
                <a:gd name="connsiteY10197" fmla="*/ 273921 h 1729012"/>
                <a:gd name="connsiteX10198" fmla="*/ 1082375 w 2240198"/>
                <a:gd name="connsiteY10198" fmla="*/ 272848 h 1729012"/>
                <a:gd name="connsiteX10199" fmla="*/ 1088849 w 2240198"/>
                <a:gd name="connsiteY10199" fmla="*/ 270578 h 1729012"/>
                <a:gd name="connsiteX10200" fmla="*/ 1087945 w 2240198"/>
                <a:gd name="connsiteY10200" fmla="*/ 269005 h 1729012"/>
                <a:gd name="connsiteX10201" fmla="*/ 1083028 w 2240198"/>
                <a:gd name="connsiteY10201" fmla="*/ 263117 h 1729012"/>
                <a:gd name="connsiteX10202" fmla="*/ 1081737 w 2240198"/>
                <a:gd name="connsiteY10202" fmla="*/ 259834 h 1729012"/>
                <a:gd name="connsiteX10203" fmla="*/ 1081944 w 2240198"/>
                <a:gd name="connsiteY10203" fmla="*/ 258587 h 1729012"/>
                <a:gd name="connsiteX10204" fmla="*/ 1085000 w 2240198"/>
                <a:gd name="connsiteY10204" fmla="*/ 256854 h 1729012"/>
                <a:gd name="connsiteX10205" fmla="*/ 945686 w 2240198"/>
                <a:gd name="connsiteY10205" fmla="*/ 225995 h 1729012"/>
                <a:gd name="connsiteX10206" fmla="*/ 952794 w 2240198"/>
                <a:gd name="connsiteY10206" fmla="*/ 228063 h 1729012"/>
                <a:gd name="connsiteX10207" fmla="*/ 958738 w 2240198"/>
                <a:gd name="connsiteY10207" fmla="*/ 229215 h 1729012"/>
                <a:gd name="connsiteX10208" fmla="*/ 965768 w 2240198"/>
                <a:gd name="connsiteY10208" fmla="*/ 232852 h 1729012"/>
                <a:gd name="connsiteX10209" fmla="*/ 972413 w 2240198"/>
                <a:gd name="connsiteY10209" fmla="*/ 240540 h 1729012"/>
                <a:gd name="connsiteX10210" fmla="*/ 972752 w 2240198"/>
                <a:gd name="connsiteY10210" fmla="*/ 241522 h 1729012"/>
                <a:gd name="connsiteX10211" fmla="*/ 972786 w 2240198"/>
                <a:gd name="connsiteY10211" fmla="*/ 242796 h 1729012"/>
                <a:gd name="connsiteX10212" fmla="*/ 972518 w 2240198"/>
                <a:gd name="connsiteY10212" fmla="*/ 244363 h 1729012"/>
                <a:gd name="connsiteX10213" fmla="*/ 971638 w 2240198"/>
                <a:gd name="connsiteY10213" fmla="*/ 246395 h 1729012"/>
                <a:gd name="connsiteX10214" fmla="*/ 970431 w 2240198"/>
                <a:gd name="connsiteY10214" fmla="*/ 247614 h 1729012"/>
                <a:gd name="connsiteX10215" fmla="*/ 973851 w 2240198"/>
                <a:gd name="connsiteY10215" fmla="*/ 249095 h 1729012"/>
                <a:gd name="connsiteX10216" fmla="*/ 974228 w 2240198"/>
                <a:gd name="connsiteY10216" fmla="*/ 249816 h 1729012"/>
                <a:gd name="connsiteX10217" fmla="*/ 973923 w 2240198"/>
                <a:gd name="connsiteY10217" fmla="*/ 251455 h 1729012"/>
                <a:gd name="connsiteX10218" fmla="*/ 974343 w 2240198"/>
                <a:gd name="connsiteY10218" fmla="*/ 252662 h 1729012"/>
                <a:gd name="connsiteX10219" fmla="*/ 976412 w 2240198"/>
                <a:gd name="connsiteY10219" fmla="*/ 251468 h 1729012"/>
                <a:gd name="connsiteX10220" fmla="*/ 978181 w 2240198"/>
                <a:gd name="connsiteY10220" fmla="*/ 249644 h 1729012"/>
                <a:gd name="connsiteX10221" fmla="*/ 978625 w 2240198"/>
                <a:gd name="connsiteY10221" fmla="*/ 248470 h 1729012"/>
                <a:gd name="connsiteX10222" fmla="*/ 978984 w 2240198"/>
                <a:gd name="connsiteY10222" fmla="*/ 245310 h 1729012"/>
                <a:gd name="connsiteX10223" fmla="*/ 984172 w 2240198"/>
                <a:gd name="connsiteY10223" fmla="*/ 243731 h 1729012"/>
                <a:gd name="connsiteX10224" fmla="*/ 989622 w 2240198"/>
                <a:gd name="connsiteY10224" fmla="*/ 241431 h 1729012"/>
                <a:gd name="connsiteX10225" fmla="*/ 992184 w 2240198"/>
                <a:gd name="connsiteY10225" fmla="*/ 240914 h 1729012"/>
                <a:gd name="connsiteX10226" fmla="*/ 996467 w 2240198"/>
                <a:gd name="connsiteY10226" fmla="*/ 241448 h 1729012"/>
                <a:gd name="connsiteX10227" fmla="*/ 1006728 w 2240198"/>
                <a:gd name="connsiteY10227" fmla="*/ 246892 h 1729012"/>
                <a:gd name="connsiteX10228" fmla="*/ 1010644 w 2240198"/>
                <a:gd name="connsiteY10228" fmla="*/ 247414 h 1729012"/>
                <a:gd name="connsiteX10229" fmla="*/ 1012066 w 2240198"/>
                <a:gd name="connsiteY10229" fmla="*/ 248053 h 1729012"/>
                <a:gd name="connsiteX10230" fmla="*/ 1013367 w 2240198"/>
                <a:gd name="connsiteY10230" fmla="*/ 249317 h 1729012"/>
                <a:gd name="connsiteX10231" fmla="*/ 1013456 w 2240198"/>
                <a:gd name="connsiteY10231" fmla="*/ 250682 h 1729012"/>
                <a:gd name="connsiteX10232" fmla="*/ 1011371 w 2240198"/>
                <a:gd name="connsiteY10232" fmla="*/ 253843 h 1729012"/>
                <a:gd name="connsiteX10233" fmla="*/ 1010570 w 2240198"/>
                <a:gd name="connsiteY10233" fmla="*/ 255765 h 1729012"/>
                <a:gd name="connsiteX10234" fmla="*/ 1011061 w 2240198"/>
                <a:gd name="connsiteY10234" fmla="*/ 257014 h 1729012"/>
                <a:gd name="connsiteX10235" fmla="*/ 1016414 w 2240198"/>
                <a:gd name="connsiteY10235" fmla="*/ 258062 h 1729012"/>
                <a:gd name="connsiteX10236" fmla="*/ 1028623 w 2240198"/>
                <a:gd name="connsiteY10236" fmla="*/ 255970 h 1729012"/>
                <a:gd name="connsiteX10237" fmla="*/ 1039292 w 2240198"/>
                <a:gd name="connsiteY10237" fmla="*/ 261095 h 1729012"/>
                <a:gd name="connsiteX10238" fmla="*/ 1045198 w 2240198"/>
                <a:gd name="connsiteY10238" fmla="*/ 267170 h 1729012"/>
                <a:gd name="connsiteX10239" fmla="*/ 1049569 w 2240198"/>
                <a:gd name="connsiteY10239" fmla="*/ 269205 h 1729012"/>
                <a:gd name="connsiteX10240" fmla="*/ 1050262 w 2240198"/>
                <a:gd name="connsiteY10240" fmla="*/ 270303 h 1729012"/>
                <a:gd name="connsiteX10241" fmla="*/ 1049020 w 2240198"/>
                <a:gd name="connsiteY10241" fmla="*/ 271338 h 1729012"/>
                <a:gd name="connsiteX10242" fmla="*/ 1047776 w 2240198"/>
                <a:gd name="connsiteY10242" fmla="*/ 274177 h 1729012"/>
                <a:gd name="connsiteX10243" fmla="*/ 1044272 w 2240198"/>
                <a:gd name="connsiteY10243" fmla="*/ 276291 h 1729012"/>
                <a:gd name="connsiteX10244" fmla="*/ 1043525 w 2240198"/>
                <a:gd name="connsiteY10244" fmla="*/ 277241 h 1729012"/>
                <a:gd name="connsiteX10245" fmla="*/ 1045393 w 2240198"/>
                <a:gd name="connsiteY10245" fmla="*/ 279745 h 1729012"/>
                <a:gd name="connsiteX10246" fmla="*/ 1045532 w 2240198"/>
                <a:gd name="connsiteY10246" fmla="*/ 281318 h 1729012"/>
                <a:gd name="connsiteX10247" fmla="*/ 1045290 w 2240198"/>
                <a:gd name="connsiteY10247" fmla="*/ 283496 h 1729012"/>
                <a:gd name="connsiteX10248" fmla="*/ 1045971 w 2240198"/>
                <a:gd name="connsiteY10248" fmla="*/ 284718 h 1729012"/>
                <a:gd name="connsiteX10249" fmla="*/ 1050761 w 2240198"/>
                <a:gd name="connsiteY10249" fmla="*/ 286021 h 1729012"/>
                <a:gd name="connsiteX10250" fmla="*/ 1061686 w 2240198"/>
                <a:gd name="connsiteY10250" fmla="*/ 294925 h 1729012"/>
                <a:gd name="connsiteX10251" fmla="*/ 1063675 w 2240198"/>
                <a:gd name="connsiteY10251" fmla="*/ 297403 h 1729012"/>
                <a:gd name="connsiteX10252" fmla="*/ 1064906 w 2240198"/>
                <a:gd name="connsiteY10252" fmla="*/ 300493 h 1729012"/>
                <a:gd name="connsiteX10253" fmla="*/ 1065033 w 2240198"/>
                <a:gd name="connsiteY10253" fmla="*/ 301538 h 1729012"/>
                <a:gd name="connsiteX10254" fmla="*/ 1063471 w 2240198"/>
                <a:gd name="connsiteY10254" fmla="*/ 303247 h 1729012"/>
                <a:gd name="connsiteX10255" fmla="*/ 1061767 w 2240198"/>
                <a:gd name="connsiteY10255" fmla="*/ 308080 h 1729012"/>
                <a:gd name="connsiteX10256" fmla="*/ 1060802 w 2240198"/>
                <a:gd name="connsiteY10256" fmla="*/ 309182 h 1729012"/>
                <a:gd name="connsiteX10257" fmla="*/ 1056368 w 2240198"/>
                <a:gd name="connsiteY10257" fmla="*/ 310124 h 1729012"/>
                <a:gd name="connsiteX10258" fmla="*/ 1048309 w 2240198"/>
                <a:gd name="connsiteY10258" fmla="*/ 310973 h 1729012"/>
                <a:gd name="connsiteX10259" fmla="*/ 1040784 w 2240198"/>
                <a:gd name="connsiteY10259" fmla="*/ 312622 h 1729012"/>
                <a:gd name="connsiteX10260" fmla="*/ 1032702 w 2240198"/>
                <a:gd name="connsiteY10260" fmla="*/ 310502 h 1729012"/>
                <a:gd name="connsiteX10261" fmla="*/ 1024806 w 2240198"/>
                <a:gd name="connsiteY10261" fmla="*/ 307280 h 1729012"/>
                <a:gd name="connsiteX10262" fmla="*/ 1022417 w 2240198"/>
                <a:gd name="connsiteY10262" fmla="*/ 305158 h 1729012"/>
                <a:gd name="connsiteX10263" fmla="*/ 1020448 w 2240198"/>
                <a:gd name="connsiteY10263" fmla="*/ 302588 h 1729012"/>
                <a:gd name="connsiteX10264" fmla="*/ 1019933 w 2240198"/>
                <a:gd name="connsiteY10264" fmla="*/ 301584 h 1729012"/>
                <a:gd name="connsiteX10265" fmla="*/ 1019139 w 2240198"/>
                <a:gd name="connsiteY10265" fmla="*/ 297443 h 1729012"/>
                <a:gd name="connsiteX10266" fmla="*/ 1018718 w 2240198"/>
                <a:gd name="connsiteY10266" fmla="*/ 296559 h 1729012"/>
                <a:gd name="connsiteX10267" fmla="*/ 1015384 w 2240198"/>
                <a:gd name="connsiteY10267" fmla="*/ 294227 h 1729012"/>
                <a:gd name="connsiteX10268" fmla="*/ 1012430 w 2240198"/>
                <a:gd name="connsiteY10268" fmla="*/ 290730 h 1729012"/>
                <a:gd name="connsiteX10269" fmla="*/ 1006753 w 2240198"/>
                <a:gd name="connsiteY10269" fmla="*/ 290426 h 1729012"/>
                <a:gd name="connsiteX10270" fmla="*/ 993277 w 2240198"/>
                <a:gd name="connsiteY10270" fmla="*/ 286861 h 1729012"/>
                <a:gd name="connsiteX10271" fmla="*/ 987509 w 2240198"/>
                <a:gd name="connsiteY10271" fmla="*/ 286010 h 1729012"/>
                <a:gd name="connsiteX10272" fmla="*/ 981740 w 2240198"/>
                <a:gd name="connsiteY10272" fmla="*/ 286260 h 1729012"/>
                <a:gd name="connsiteX10273" fmla="*/ 973562 w 2240198"/>
                <a:gd name="connsiteY10273" fmla="*/ 287698 h 1729012"/>
                <a:gd name="connsiteX10274" fmla="*/ 972024 w 2240198"/>
                <a:gd name="connsiteY10274" fmla="*/ 287313 h 1729012"/>
                <a:gd name="connsiteX10275" fmla="*/ 970628 w 2240198"/>
                <a:gd name="connsiteY10275" fmla="*/ 286247 h 1729012"/>
                <a:gd name="connsiteX10276" fmla="*/ 969377 w 2240198"/>
                <a:gd name="connsiteY10276" fmla="*/ 284502 h 1729012"/>
                <a:gd name="connsiteX10277" fmla="*/ 969066 w 2240198"/>
                <a:gd name="connsiteY10277" fmla="*/ 283215 h 1729012"/>
                <a:gd name="connsiteX10278" fmla="*/ 970409 w 2240198"/>
                <a:gd name="connsiteY10278" fmla="*/ 280957 h 1729012"/>
                <a:gd name="connsiteX10279" fmla="*/ 946424 w 2240198"/>
                <a:gd name="connsiteY10279" fmla="*/ 283801 h 1729012"/>
                <a:gd name="connsiteX10280" fmla="*/ 939596 w 2240198"/>
                <a:gd name="connsiteY10280" fmla="*/ 287087 h 1729012"/>
                <a:gd name="connsiteX10281" fmla="*/ 930019 w 2240198"/>
                <a:gd name="connsiteY10281" fmla="*/ 286564 h 1729012"/>
                <a:gd name="connsiteX10282" fmla="*/ 925242 w 2240198"/>
                <a:gd name="connsiteY10282" fmla="*/ 285177 h 1729012"/>
                <a:gd name="connsiteX10283" fmla="*/ 918879 w 2240198"/>
                <a:gd name="connsiteY10283" fmla="*/ 282030 h 1729012"/>
                <a:gd name="connsiteX10284" fmla="*/ 915943 w 2240198"/>
                <a:gd name="connsiteY10284" fmla="*/ 279287 h 1729012"/>
                <a:gd name="connsiteX10285" fmla="*/ 913254 w 2240198"/>
                <a:gd name="connsiteY10285" fmla="*/ 275591 h 1729012"/>
                <a:gd name="connsiteX10286" fmla="*/ 912998 w 2240198"/>
                <a:gd name="connsiteY10286" fmla="*/ 272791 h 1729012"/>
                <a:gd name="connsiteX10287" fmla="*/ 915176 w 2240198"/>
                <a:gd name="connsiteY10287" fmla="*/ 270895 h 1729012"/>
                <a:gd name="connsiteX10288" fmla="*/ 917446 w 2240198"/>
                <a:gd name="connsiteY10288" fmla="*/ 269769 h 1729012"/>
                <a:gd name="connsiteX10289" fmla="*/ 919806 w 2240198"/>
                <a:gd name="connsiteY10289" fmla="*/ 269408 h 1729012"/>
                <a:gd name="connsiteX10290" fmla="*/ 932815 w 2240198"/>
                <a:gd name="connsiteY10290" fmla="*/ 271611 h 1729012"/>
                <a:gd name="connsiteX10291" fmla="*/ 944216 w 2240198"/>
                <a:gd name="connsiteY10291" fmla="*/ 272733 h 1729012"/>
                <a:gd name="connsiteX10292" fmla="*/ 949131 w 2240198"/>
                <a:gd name="connsiteY10292" fmla="*/ 271606 h 1729012"/>
                <a:gd name="connsiteX10293" fmla="*/ 951361 w 2240198"/>
                <a:gd name="connsiteY10293" fmla="*/ 268599 h 1729012"/>
                <a:gd name="connsiteX10294" fmla="*/ 948688 w 2240198"/>
                <a:gd name="connsiteY10294" fmla="*/ 266982 h 1729012"/>
                <a:gd name="connsiteX10295" fmla="*/ 937712 w 2240198"/>
                <a:gd name="connsiteY10295" fmla="*/ 266320 h 1729012"/>
                <a:gd name="connsiteX10296" fmla="*/ 940053 w 2240198"/>
                <a:gd name="connsiteY10296" fmla="*/ 264734 h 1729012"/>
                <a:gd name="connsiteX10297" fmla="*/ 949329 w 2240198"/>
                <a:gd name="connsiteY10297" fmla="*/ 263101 h 1729012"/>
                <a:gd name="connsiteX10298" fmla="*/ 954175 w 2240198"/>
                <a:gd name="connsiteY10298" fmla="*/ 260665 h 1729012"/>
                <a:gd name="connsiteX10299" fmla="*/ 953242 w 2240198"/>
                <a:gd name="connsiteY10299" fmla="*/ 259812 h 1729012"/>
                <a:gd name="connsiteX10300" fmla="*/ 950454 w 2240198"/>
                <a:gd name="connsiteY10300" fmla="*/ 258833 h 1729012"/>
                <a:gd name="connsiteX10301" fmla="*/ 938019 w 2240198"/>
                <a:gd name="connsiteY10301" fmla="*/ 259118 h 1729012"/>
                <a:gd name="connsiteX10302" fmla="*/ 933550 w 2240198"/>
                <a:gd name="connsiteY10302" fmla="*/ 258153 h 1729012"/>
                <a:gd name="connsiteX10303" fmla="*/ 933307 w 2240198"/>
                <a:gd name="connsiteY10303" fmla="*/ 257352 h 1729012"/>
                <a:gd name="connsiteX10304" fmla="*/ 934310 w 2240198"/>
                <a:gd name="connsiteY10304" fmla="*/ 256326 h 1729012"/>
                <a:gd name="connsiteX10305" fmla="*/ 941394 w 2240198"/>
                <a:gd name="connsiteY10305" fmla="*/ 251356 h 1729012"/>
                <a:gd name="connsiteX10306" fmla="*/ 941102 w 2240198"/>
                <a:gd name="connsiteY10306" fmla="*/ 250452 h 1729012"/>
                <a:gd name="connsiteX10307" fmla="*/ 938058 w 2240198"/>
                <a:gd name="connsiteY10307" fmla="*/ 248821 h 1729012"/>
                <a:gd name="connsiteX10308" fmla="*/ 935381 w 2240198"/>
                <a:gd name="connsiteY10308" fmla="*/ 246700 h 1729012"/>
                <a:gd name="connsiteX10309" fmla="*/ 934387 w 2240198"/>
                <a:gd name="connsiteY10309" fmla="*/ 246458 h 1729012"/>
                <a:gd name="connsiteX10310" fmla="*/ 928229 w 2240198"/>
                <a:gd name="connsiteY10310" fmla="*/ 248355 h 1729012"/>
                <a:gd name="connsiteX10311" fmla="*/ 919577 w 2240198"/>
                <a:gd name="connsiteY10311" fmla="*/ 255656 h 1729012"/>
                <a:gd name="connsiteX10312" fmla="*/ 917513 w 2240198"/>
                <a:gd name="connsiteY10312" fmla="*/ 256711 h 1729012"/>
                <a:gd name="connsiteX10313" fmla="*/ 915534 w 2240198"/>
                <a:gd name="connsiteY10313" fmla="*/ 256652 h 1729012"/>
                <a:gd name="connsiteX10314" fmla="*/ 913640 w 2240198"/>
                <a:gd name="connsiteY10314" fmla="*/ 255476 h 1729012"/>
                <a:gd name="connsiteX10315" fmla="*/ 913657 w 2240198"/>
                <a:gd name="connsiteY10315" fmla="*/ 253945 h 1729012"/>
                <a:gd name="connsiteX10316" fmla="*/ 915587 w 2240198"/>
                <a:gd name="connsiteY10316" fmla="*/ 252057 h 1729012"/>
                <a:gd name="connsiteX10317" fmla="*/ 919597 w 2240198"/>
                <a:gd name="connsiteY10317" fmla="*/ 246390 h 1729012"/>
                <a:gd name="connsiteX10318" fmla="*/ 919306 w 2240198"/>
                <a:gd name="connsiteY10318" fmla="*/ 244366 h 1729012"/>
                <a:gd name="connsiteX10319" fmla="*/ 915385 w 2240198"/>
                <a:gd name="connsiteY10319" fmla="*/ 243014 h 1729012"/>
                <a:gd name="connsiteX10320" fmla="*/ 905054 w 2240198"/>
                <a:gd name="connsiteY10320" fmla="*/ 244023 h 1729012"/>
                <a:gd name="connsiteX10321" fmla="*/ 899302 w 2240198"/>
                <a:gd name="connsiteY10321" fmla="*/ 244061 h 1729012"/>
                <a:gd name="connsiteX10322" fmla="*/ 898412 w 2240198"/>
                <a:gd name="connsiteY10322" fmla="*/ 242457 h 1729012"/>
                <a:gd name="connsiteX10323" fmla="*/ 898173 w 2240198"/>
                <a:gd name="connsiteY10323" fmla="*/ 239458 h 1729012"/>
                <a:gd name="connsiteX10324" fmla="*/ 898404 w 2240198"/>
                <a:gd name="connsiteY10324" fmla="*/ 236634 h 1729012"/>
                <a:gd name="connsiteX10325" fmla="*/ 899838 w 2240198"/>
                <a:gd name="connsiteY10325" fmla="*/ 232208 h 1729012"/>
                <a:gd name="connsiteX10326" fmla="*/ 901837 w 2240198"/>
                <a:gd name="connsiteY10326" fmla="*/ 228822 h 1729012"/>
                <a:gd name="connsiteX10327" fmla="*/ 903054 w 2240198"/>
                <a:gd name="connsiteY10327" fmla="*/ 227611 h 1729012"/>
                <a:gd name="connsiteX10328" fmla="*/ 916755 w 2240198"/>
                <a:gd name="connsiteY10328" fmla="*/ 228325 h 1729012"/>
                <a:gd name="connsiteX10329" fmla="*/ 939138 w 2240198"/>
                <a:gd name="connsiteY10329" fmla="*/ 226216 h 1729012"/>
                <a:gd name="connsiteX10330" fmla="*/ 1046482 w 2240198"/>
                <a:gd name="connsiteY10330" fmla="*/ 180507 h 1729012"/>
                <a:gd name="connsiteX10331" fmla="*/ 1054250 w 2240198"/>
                <a:gd name="connsiteY10331" fmla="*/ 181533 h 1729012"/>
                <a:gd name="connsiteX10332" fmla="*/ 1061137 w 2240198"/>
                <a:gd name="connsiteY10332" fmla="*/ 181661 h 1729012"/>
                <a:gd name="connsiteX10333" fmla="*/ 1064601 w 2240198"/>
                <a:gd name="connsiteY10333" fmla="*/ 182421 h 1729012"/>
                <a:gd name="connsiteX10334" fmla="*/ 1067693 w 2240198"/>
                <a:gd name="connsiteY10334" fmla="*/ 184123 h 1729012"/>
                <a:gd name="connsiteX10335" fmla="*/ 1069506 w 2240198"/>
                <a:gd name="connsiteY10335" fmla="*/ 186697 h 1729012"/>
                <a:gd name="connsiteX10336" fmla="*/ 1070306 w 2240198"/>
                <a:gd name="connsiteY10336" fmla="*/ 189952 h 1729012"/>
                <a:gd name="connsiteX10337" fmla="*/ 1070881 w 2240198"/>
                <a:gd name="connsiteY10337" fmla="*/ 197466 h 1729012"/>
                <a:gd name="connsiteX10338" fmla="*/ 1070352 w 2240198"/>
                <a:gd name="connsiteY10338" fmla="*/ 201234 h 1729012"/>
                <a:gd name="connsiteX10339" fmla="*/ 1069063 w 2240198"/>
                <a:gd name="connsiteY10339" fmla="*/ 204010 h 1729012"/>
                <a:gd name="connsiteX10340" fmla="*/ 1067932 w 2240198"/>
                <a:gd name="connsiteY10340" fmla="*/ 204664 h 1729012"/>
                <a:gd name="connsiteX10341" fmla="*/ 1066411 w 2240198"/>
                <a:gd name="connsiteY10341" fmla="*/ 204757 h 1729012"/>
                <a:gd name="connsiteX10342" fmla="*/ 1059482 w 2240198"/>
                <a:gd name="connsiteY10342" fmla="*/ 202586 h 1729012"/>
                <a:gd name="connsiteX10343" fmla="*/ 1057371 w 2240198"/>
                <a:gd name="connsiteY10343" fmla="*/ 201310 h 1729012"/>
                <a:gd name="connsiteX10344" fmla="*/ 1057256 w 2240198"/>
                <a:gd name="connsiteY10344" fmla="*/ 200228 h 1729012"/>
                <a:gd name="connsiteX10345" fmla="*/ 1056579 w 2240198"/>
                <a:gd name="connsiteY10345" fmla="*/ 198119 h 1729012"/>
                <a:gd name="connsiteX10346" fmla="*/ 1051947 w 2240198"/>
                <a:gd name="connsiteY10346" fmla="*/ 195376 h 1729012"/>
                <a:gd name="connsiteX10347" fmla="*/ 1043280 w 2240198"/>
                <a:gd name="connsiteY10347" fmla="*/ 195817 h 1729012"/>
                <a:gd name="connsiteX10348" fmla="*/ 1039668 w 2240198"/>
                <a:gd name="connsiteY10348" fmla="*/ 195556 h 1729012"/>
                <a:gd name="connsiteX10349" fmla="*/ 1038224 w 2240198"/>
                <a:gd name="connsiteY10349" fmla="*/ 194737 h 1729012"/>
                <a:gd name="connsiteX10350" fmla="*/ 1037322 w 2240198"/>
                <a:gd name="connsiteY10350" fmla="*/ 193559 h 1729012"/>
                <a:gd name="connsiteX10351" fmla="*/ 1036470 w 2240198"/>
                <a:gd name="connsiteY10351" fmla="*/ 188785 h 1729012"/>
                <a:gd name="connsiteX10352" fmla="*/ 1036614 w 2240198"/>
                <a:gd name="connsiteY10352" fmla="*/ 187098 h 1729012"/>
                <a:gd name="connsiteX10353" fmla="*/ 1037675 w 2240198"/>
                <a:gd name="connsiteY10353" fmla="*/ 184162 h 1729012"/>
                <a:gd name="connsiteX10354" fmla="*/ 1038315 w 2240198"/>
                <a:gd name="connsiteY10354" fmla="*/ 183452 h 1729012"/>
                <a:gd name="connsiteX10355" fmla="*/ 1044667 w 2240198"/>
                <a:gd name="connsiteY10355" fmla="*/ 180736 h 1729012"/>
                <a:gd name="connsiteX10356" fmla="*/ 1208723 w 2240198"/>
                <a:gd name="connsiteY10356" fmla="*/ 108351 h 1729012"/>
                <a:gd name="connsiteX10357" fmla="*/ 1216282 w 2240198"/>
                <a:gd name="connsiteY10357" fmla="*/ 109442 h 1729012"/>
                <a:gd name="connsiteX10358" fmla="*/ 1232056 w 2240198"/>
                <a:gd name="connsiteY10358" fmla="*/ 113530 h 1729012"/>
                <a:gd name="connsiteX10359" fmla="*/ 1237147 w 2240198"/>
                <a:gd name="connsiteY10359" fmla="*/ 115611 h 1729012"/>
                <a:gd name="connsiteX10360" fmla="*/ 1242571 w 2240198"/>
                <a:gd name="connsiteY10360" fmla="*/ 119092 h 1729012"/>
                <a:gd name="connsiteX10361" fmla="*/ 1245420 w 2240198"/>
                <a:gd name="connsiteY10361" fmla="*/ 122242 h 1729012"/>
                <a:gd name="connsiteX10362" fmla="*/ 1248730 w 2240198"/>
                <a:gd name="connsiteY10362" fmla="*/ 127232 h 1729012"/>
                <a:gd name="connsiteX10363" fmla="*/ 1260965 w 2240198"/>
                <a:gd name="connsiteY10363" fmla="*/ 139077 h 1729012"/>
                <a:gd name="connsiteX10364" fmla="*/ 1266507 w 2240198"/>
                <a:gd name="connsiteY10364" fmla="*/ 143366 h 1729012"/>
                <a:gd name="connsiteX10365" fmla="*/ 1275915 w 2240198"/>
                <a:gd name="connsiteY10365" fmla="*/ 148683 h 1729012"/>
                <a:gd name="connsiteX10366" fmla="*/ 1277086 w 2240198"/>
                <a:gd name="connsiteY10366" fmla="*/ 150593 h 1729012"/>
                <a:gd name="connsiteX10367" fmla="*/ 1277194 w 2240198"/>
                <a:gd name="connsiteY10367" fmla="*/ 151395 h 1729012"/>
                <a:gd name="connsiteX10368" fmla="*/ 1276926 w 2240198"/>
                <a:gd name="connsiteY10368" fmla="*/ 154222 h 1729012"/>
                <a:gd name="connsiteX10369" fmla="*/ 1279607 w 2240198"/>
                <a:gd name="connsiteY10369" fmla="*/ 155268 h 1729012"/>
                <a:gd name="connsiteX10370" fmla="*/ 1287712 w 2240198"/>
                <a:gd name="connsiteY10370" fmla="*/ 156895 h 1729012"/>
                <a:gd name="connsiteX10371" fmla="*/ 1296733 w 2240198"/>
                <a:gd name="connsiteY10371" fmla="*/ 159820 h 1729012"/>
                <a:gd name="connsiteX10372" fmla="*/ 1298356 w 2240198"/>
                <a:gd name="connsiteY10372" fmla="*/ 159654 h 1729012"/>
                <a:gd name="connsiteX10373" fmla="*/ 1301501 w 2240198"/>
                <a:gd name="connsiteY10373" fmla="*/ 157922 h 1729012"/>
                <a:gd name="connsiteX10374" fmla="*/ 1305280 w 2240198"/>
                <a:gd name="connsiteY10374" fmla="*/ 157449 h 1729012"/>
                <a:gd name="connsiteX10375" fmla="*/ 1310243 w 2240198"/>
                <a:gd name="connsiteY10375" fmla="*/ 157865 h 1729012"/>
                <a:gd name="connsiteX10376" fmla="*/ 1312613 w 2240198"/>
                <a:gd name="connsiteY10376" fmla="*/ 159104 h 1729012"/>
                <a:gd name="connsiteX10377" fmla="*/ 1314355 w 2240198"/>
                <a:gd name="connsiteY10377" fmla="*/ 160923 h 1729012"/>
                <a:gd name="connsiteX10378" fmla="*/ 1315080 w 2240198"/>
                <a:gd name="connsiteY10378" fmla="*/ 162226 h 1729012"/>
                <a:gd name="connsiteX10379" fmla="*/ 1315184 w 2240198"/>
                <a:gd name="connsiteY10379" fmla="*/ 163233 h 1729012"/>
                <a:gd name="connsiteX10380" fmla="*/ 1313405 w 2240198"/>
                <a:gd name="connsiteY10380" fmla="*/ 165182 h 1729012"/>
                <a:gd name="connsiteX10381" fmla="*/ 1313602 w 2240198"/>
                <a:gd name="connsiteY10381" fmla="*/ 165937 h 1729012"/>
                <a:gd name="connsiteX10382" fmla="*/ 1314665 w 2240198"/>
                <a:gd name="connsiteY10382" fmla="*/ 166845 h 1729012"/>
                <a:gd name="connsiteX10383" fmla="*/ 1314853 w 2240198"/>
                <a:gd name="connsiteY10383" fmla="*/ 167907 h 1729012"/>
                <a:gd name="connsiteX10384" fmla="*/ 1313068 w 2240198"/>
                <a:gd name="connsiteY10384" fmla="*/ 172057 h 1729012"/>
                <a:gd name="connsiteX10385" fmla="*/ 1313557 w 2240198"/>
                <a:gd name="connsiteY10385" fmla="*/ 173577 h 1729012"/>
                <a:gd name="connsiteX10386" fmla="*/ 1318099 w 2240198"/>
                <a:gd name="connsiteY10386" fmla="*/ 177346 h 1729012"/>
                <a:gd name="connsiteX10387" fmla="*/ 1322205 w 2240198"/>
                <a:gd name="connsiteY10387" fmla="*/ 179222 h 1729012"/>
                <a:gd name="connsiteX10388" fmla="*/ 1330313 w 2240198"/>
                <a:gd name="connsiteY10388" fmla="*/ 181258 h 1729012"/>
                <a:gd name="connsiteX10389" fmla="*/ 1335595 w 2240198"/>
                <a:gd name="connsiteY10389" fmla="*/ 181111 h 1729012"/>
                <a:gd name="connsiteX10390" fmla="*/ 1338874 w 2240198"/>
                <a:gd name="connsiteY10390" fmla="*/ 182400 h 1729012"/>
                <a:gd name="connsiteX10391" fmla="*/ 1338952 w 2240198"/>
                <a:gd name="connsiteY10391" fmla="*/ 181604 h 1729012"/>
                <a:gd name="connsiteX10392" fmla="*/ 1337467 w 2240198"/>
                <a:gd name="connsiteY10392" fmla="*/ 179204 h 1729012"/>
                <a:gd name="connsiteX10393" fmla="*/ 1334289 w 2240198"/>
                <a:gd name="connsiteY10393" fmla="*/ 175791 h 1729012"/>
                <a:gd name="connsiteX10394" fmla="*/ 1328413 w 2240198"/>
                <a:gd name="connsiteY10394" fmla="*/ 174033 h 1729012"/>
                <a:gd name="connsiteX10395" fmla="*/ 1327557 w 2240198"/>
                <a:gd name="connsiteY10395" fmla="*/ 172029 h 1729012"/>
                <a:gd name="connsiteX10396" fmla="*/ 1327121 w 2240198"/>
                <a:gd name="connsiteY10396" fmla="*/ 168612 h 1729012"/>
                <a:gd name="connsiteX10397" fmla="*/ 1327623 w 2240198"/>
                <a:gd name="connsiteY10397" fmla="*/ 166357 h 1729012"/>
                <a:gd name="connsiteX10398" fmla="*/ 1330636 w 2240198"/>
                <a:gd name="connsiteY10398" fmla="*/ 164533 h 1729012"/>
                <a:gd name="connsiteX10399" fmla="*/ 1333183 w 2240198"/>
                <a:gd name="connsiteY10399" fmla="*/ 163945 h 1729012"/>
                <a:gd name="connsiteX10400" fmla="*/ 1340768 w 2240198"/>
                <a:gd name="connsiteY10400" fmla="*/ 163862 h 1729012"/>
                <a:gd name="connsiteX10401" fmla="*/ 1344958 w 2240198"/>
                <a:gd name="connsiteY10401" fmla="*/ 164673 h 1729012"/>
                <a:gd name="connsiteX10402" fmla="*/ 1352184 w 2240198"/>
                <a:gd name="connsiteY10402" fmla="*/ 167219 h 1729012"/>
                <a:gd name="connsiteX10403" fmla="*/ 1352932 w 2240198"/>
                <a:gd name="connsiteY10403" fmla="*/ 168603 h 1729012"/>
                <a:gd name="connsiteX10404" fmla="*/ 1353319 w 2240198"/>
                <a:gd name="connsiteY10404" fmla="*/ 171337 h 1729012"/>
                <a:gd name="connsiteX10405" fmla="*/ 1353620 w 2240198"/>
                <a:gd name="connsiteY10405" fmla="*/ 176822 h 1729012"/>
                <a:gd name="connsiteX10406" fmla="*/ 1353440 w 2240198"/>
                <a:gd name="connsiteY10406" fmla="*/ 178001 h 1729012"/>
                <a:gd name="connsiteX10407" fmla="*/ 1347262 w 2240198"/>
                <a:gd name="connsiteY10407" fmla="*/ 181100 h 1729012"/>
                <a:gd name="connsiteX10408" fmla="*/ 1345913 w 2240198"/>
                <a:gd name="connsiteY10408" fmla="*/ 183200 h 1729012"/>
                <a:gd name="connsiteX10409" fmla="*/ 1347476 w 2240198"/>
                <a:gd name="connsiteY10409" fmla="*/ 183791 h 1729012"/>
                <a:gd name="connsiteX10410" fmla="*/ 1352783 w 2240198"/>
                <a:gd name="connsiteY10410" fmla="*/ 184258 h 1729012"/>
                <a:gd name="connsiteX10411" fmla="*/ 1360969 w 2240198"/>
                <a:gd name="connsiteY10411" fmla="*/ 186165 h 1729012"/>
                <a:gd name="connsiteX10412" fmla="*/ 1364177 w 2240198"/>
                <a:gd name="connsiteY10412" fmla="*/ 186358 h 1729012"/>
                <a:gd name="connsiteX10413" fmla="*/ 1367368 w 2240198"/>
                <a:gd name="connsiteY10413" fmla="*/ 190770 h 1729012"/>
                <a:gd name="connsiteX10414" fmla="*/ 1369878 w 2240198"/>
                <a:gd name="connsiteY10414" fmla="*/ 194967 h 1729012"/>
                <a:gd name="connsiteX10415" fmla="*/ 1368044 w 2240198"/>
                <a:gd name="connsiteY10415" fmla="*/ 200083 h 1729012"/>
                <a:gd name="connsiteX10416" fmla="*/ 1365642 w 2240198"/>
                <a:gd name="connsiteY10416" fmla="*/ 208278 h 1729012"/>
                <a:gd name="connsiteX10417" fmla="*/ 1363715 w 2240198"/>
                <a:gd name="connsiteY10417" fmla="*/ 210152 h 1729012"/>
                <a:gd name="connsiteX10418" fmla="*/ 1361816 w 2240198"/>
                <a:gd name="connsiteY10418" fmla="*/ 212997 h 1729012"/>
                <a:gd name="connsiteX10419" fmla="*/ 1363141 w 2240198"/>
                <a:gd name="connsiteY10419" fmla="*/ 213514 h 1729012"/>
                <a:gd name="connsiteX10420" fmla="*/ 1371195 w 2240198"/>
                <a:gd name="connsiteY10420" fmla="*/ 212381 h 1729012"/>
                <a:gd name="connsiteX10421" fmla="*/ 1372823 w 2240198"/>
                <a:gd name="connsiteY10421" fmla="*/ 211996 h 1729012"/>
                <a:gd name="connsiteX10422" fmla="*/ 1378205 w 2240198"/>
                <a:gd name="connsiteY10422" fmla="*/ 209217 h 1729012"/>
                <a:gd name="connsiteX10423" fmla="*/ 1386112 w 2240198"/>
                <a:gd name="connsiteY10423" fmla="*/ 209864 h 1729012"/>
                <a:gd name="connsiteX10424" fmla="*/ 1388768 w 2240198"/>
                <a:gd name="connsiteY10424" fmla="*/ 210582 h 1729012"/>
                <a:gd name="connsiteX10425" fmla="*/ 1390080 w 2240198"/>
                <a:gd name="connsiteY10425" fmla="*/ 211554 h 1729012"/>
                <a:gd name="connsiteX10426" fmla="*/ 1392487 w 2240198"/>
                <a:gd name="connsiteY10426" fmla="*/ 214652 h 1729012"/>
                <a:gd name="connsiteX10427" fmla="*/ 1394478 w 2240198"/>
                <a:gd name="connsiteY10427" fmla="*/ 218747 h 1729012"/>
                <a:gd name="connsiteX10428" fmla="*/ 1395950 w 2240198"/>
                <a:gd name="connsiteY10428" fmla="*/ 218374 h 1729012"/>
                <a:gd name="connsiteX10429" fmla="*/ 1399630 w 2240198"/>
                <a:gd name="connsiteY10429" fmla="*/ 213405 h 1729012"/>
                <a:gd name="connsiteX10430" fmla="*/ 1400972 w 2240198"/>
                <a:gd name="connsiteY10430" fmla="*/ 212177 h 1729012"/>
                <a:gd name="connsiteX10431" fmla="*/ 1402805 w 2240198"/>
                <a:gd name="connsiteY10431" fmla="*/ 210990 h 1729012"/>
                <a:gd name="connsiteX10432" fmla="*/ 1403585 w 2240198"/>
                <a:gd name="connsiteY10432" fmla="*/ 211210 h 1729012"/>
                <a:gd name="connsiteX10433" fmla="*/ 1407299 w 2240198"/>
                <a:gd name="connsiteY10433" fmla="*/ 215845 h 1729012"/>
                <a:gd name="connsiteX10434" fmla="*/ 1415560 w 2240198"/>
                <a:gd name="connsiteY10434" fmla="*/ 223994 h 1729012"/>
                <a:gd name="connsiteX10435" fmla="*/ 1418396 w 2240198"/>
                <a:gd name="connsiteY10435" fmla="*/ 227350 h 1729012"/>
                <a:gd name="connsiteX10436" fmla="*/ 1418944 w 2240198"/>
                <a:gd name="connsiteY10436" fmla="*/ 229824 h 1729012"/>
                <a:gd name="connsiteX10437" fmla="*/ 1415414 w 2240198"/>
                <a:gd name="connsiteY10437" fmla="*/ 232702 h 1729012"/>
                <a:gd name="connsiteX10438" fmla="*/ 1412664 w 2240198"/>
                <a:gd name="connsiteY10438" fmla="*/ 234139 h 1729012"/>
                <a:gd name="connsiteX10439" fmla="*/ 1392332 w 2240198"/>
                <a:gd name="connsiteY10439" fmla="*/ 240259 h 1729012"/>
                <a:gd name="connsiteX10440" fmla="*/ 1383232 w 2240198"/>
                <a:gd name="connsiteY10440" fmla="*/ 243714 h 1729012"/>
                <a:gd name="connsiteX10441" fmla="*/ 1378695 w 2240198"/>
                <a:gd name="connsiteY10441" fmla="*/ 246379 h 1729012"/>
                <a:gd name="connsiteX10442" fmla="*/ 1376379 w 2240198"/>
                <a:gd name="connsiteY10442" fmla="*/ 247268 h 1729012"/>
                <a:gd name="connsiteX10443" fmla="*/ 1371494 w 2240198"/>
                <a:gd name="connsiteY10443" fmla="*/ 246856 h 1729012"/>
                <a:gd name="connsiteX10444" fmla="*/ 1370385 w 2240198"/>
                <a:gd name="connsiteY10444" fmla="*/ 247301 h 1729012"/>
                <a:gd name="connsiteX10445" fmla="*/ 1368882 w 2240198"/>
                <a:gd name="connsiteY10445" fmla="*/ 251581 h 1729012"/>
                <a:gd name="connsiteX10446" fmla="*/ 1367261 w 2240198"/>
                <a:gd name="connsiteY10446" fmla="*/ 253406 h 1729012"/>
                <a:gd name="connsiteX10447" fmla="*/ 1363052 w 2240198"/>
                <a:gd name="connsiteY10447" fmla="*/ 256353 h 1729012"/>
                <a:gd name="connsiteX10448" fmla="*/ 1357160 w 2240198"/>
                <a:gd name="connsiteY10448" fmla="*/ 261679 h 1729012"/>
                <a:gd name="connsiteX10449" fmla="*/ 1353645 w 2240198"/>
                <a:gd name="connsiteY10449" fmla="*/ 264012 h 1729012"/>
                <a:gd name="connsiteX10450" fmla="*/ 1347455 w 2240198"/>
                <a:gd name="connsiteY10450" fmla="*/ 262310 h 1729012"/>
                <a:gd name="connsiteX10451" fmla="*/ 1345913 w 2240198"/>
                <a:gd name="connsiteY10451" fmla="*/ 259824 h 1729012"/>
                <a:gd name="connsiteX10452" fmla="*/ 1345053 w 2240198"/>
                <a:gd name="connsiteY10452" fmla="*/ 254218 h 1729012"/>
                <a:gd name="connsiteX10453" fmla="*/ 1344938 w 2240198"/>
                <a:gd name="connsiteY10453" fmla="*/ 251892 h 1729012"/>
                <a:gd name="connsiteX10454" fmla="*/ 1345131 w 2240198"/>
                <a:gd name="connsiteY10454" fmla="*/ 250662 h 1729012"/>
                <a:gd name="connsiteX10455" fmla="*/ 1345906 w 2240198"/>
                <a:gd name="connsiteY10455" fmla="*/ 248667 h 1729012"/>
                <a:gd name="connsiteX10456" fmla="*/ 1348589 w 2240198"/>
                <a:gd name="connsiteY10456" fmla="*/ 243846 h 1729012"/>
                <a:gd name="connsiteX10457" fmla="*/ 1348270 w 2240198"/>
                <a:gd name="connsiteY10457" fmla="*/ 243340 h 1729012"/>
                <a:gd name="connsiteX10458" fmla="*/ 1347028 w 2240198"/>
                <a:gd name="connsiteY10458" fmla="*/ 243742 h 1729012"/>
                <a:gd name="connsiteX10459" fmla="*/ 1342925 w 2240198"/>
                <a:gd name="connsiteY10459" fmla="*/ 246153 h 1729012"/>
                <a:gd name="connsiteX10460" fmla="*/ 1341304 w 2240198"/>
                <a:gd name="connsiteY10460" fmla="*/ 247419 h 1729012"/>
                <a:gd name="connsiteX10461" fmla="*/ 1339790 w 2240198"/>
                <a:gd name="connsiteY10461" fmla="*/ 249627 h 1729012"/>
                <a:gd name="connsiteX10462" fmla="*/ 1339120 w 2240198"/>
                <a:gd name="connsiteY10462" fmla="*/ 253332 h 1729012"/>
                <a:gd name="connsiteX10463" fmla="*/ 1339718 w 2240198"/>
                <a:gd name="connsiteY10463" fmla="*/ 260152 h 1729012"/>
                <a:gd name="connsiteX10464" fmla="*/ 1339134 w 2240198"/>
                <a:gd name="connsiteY10464" fmla="*/ 262893 h 1729012"/>
                <a:gd name="connsiteX10465" fmla="*/ 1337509 w 2240198"/>
                <a:gd name="connsiteY10465" fmla="*/ 264254 h 1729012"/>
                <a:gd name="connsiteX10466" fmla="*/ 1338165 w 2240198"/>
                <a:gd name="connsiteY10466" fmla="*/ 265310 h 1729012"/>
                <a:gd name="connsiteX10467" fmla="*/ 1343005 w 2240198"/>
                <a:gd name="connsiteY10467" fmla="*/ 266762 h 1729012"/>
                <a:gd name="connsiteX10468" fmla="*/ 1343864 w 2240198"/>
                <a:gd name="connsiteY10468" fmla="*/ 267398 h 1729012"/>
                <a:gd name="connsiteX10469" fmla="*/ 1344400 w 2240198"/>
                <a:gd name="connsiteY10469" fmla="*/ 268555 h 1729012"/>
                <a:gd name="connsiteX10470" fmla="*/ 1344611 w 2240198"/>
                <a:gd name="connsiteY10470" fmla="*/ 270223 h 1729012"/>
                <a:gd name="connsiteX10471" fmla="*/ 1344378 w 2240198"/>
                <a:gd name="connsiteY10471" fmla="*/ 271759 h 1729012"/>
                <a:gd name="connsiteX10472" fmla="*/ 1342924 w 2240198"/>
                <a:gd name="connsiteY10472" fmla="*/ 274126 h 1729012"/>
                <a:gd name="connsiteX10473" fmla="*/ 1340201 w 2240198"/>
                <a:gd name="connsiteY10473" fmla="*/ 275087 h 1729012"/>
                <a:gd name="connsiteX10474" fmla="*/ 1336728 w 2240198"/>
                <a:gd name="connsiteY10474" fmla="*/ 274009 h 1729012"/>
                <a:gd name="connsiteX10475" fmla="*/ 1329220 w 2240198"/>
                <a:gd name="connsiteY10475" fmla="*/ 268156 h 1729012"/>
                <a:gd name="connsiteX10476" fmla="*/ 1325959 w 2240198"/>
                <a:gd name="connsiteY10476" fmla="*/ 268480 h 1729012"/>
                <a:gd name="connsiteX10477" fmla="*/ 1325139 w 2240198"/>
                <a:gd name="connsiteY10477" fmla="*/ 269151 h 1729012"/>
                <a:gd name="connsiteX10478" fmla="*/ 1325840 w 2240198"/>
                <a:gd name="connsiteY10478" fmla="*/ 271240 h 1729012"/>
                <a:gd name="connsiteX10479" fmla="*/ 1328145 w 2240198"/>
                <a:gd name="connsiteY10479" fmla="*/ 275917 h 1729012"/>
                <a:gd name="connsiteX10480" fmla="*/ 1328565 w 2240198"/>
                <a:gd name="connsiteY10480" fmla="*/ 279799 h 1729012"/>
                <a:gd name="connsiteX10481" fmla="*/ 1327502 w 2240198"/>
                <a:gd name="connsiteY10481" fmla="*/ 283019 h 1729012"/>
                <a:gd name="connsiteX10482" fmla="*/ 1325358 w 2240198"/>
                <a:gd name="connsiteY10482" fmla="*/ 288095 h 1729012"/>
                <a:gd name="connsiteX10483" fmla="*/ 1323886 w 2240198"/>
                <a:gd name="connsiteY10483" fmla="*/ 290807 h 1729012"/>
                <a:gd name="connsiteX10484" fmla="*/ 1323090 w 2240198"/>
                <a:gd name="connsiteY10484" fmla="*/ 291168 h 1729012"/>
                <a:gd name="connsiteX10485" fmla="*/ 1319357 w 2240198"/>
                <a:gd name="connsiteY10485" fmla="*/ 291248 h 1729012"/>
                <a:gd name="connsiteX10486" fmla="*/ 1316160 w 2240198"/>
                <a:gd name="connsiteY10486" fmla="*/ 289883 h 1729012"/>
                <a:gd name="connsiteX10487" fmla="*/ 1306669 w 2240198"/>
                <a:gd name="connsiteY10487" fmla="*/ 281003 h 1729012"/>
                <a:gd name="connsiteX10488" fmla="*/ 1301972 w 2240198"/>
                <a:gd name="connsiteY10488" fmla="*/ 277205 h 1729012"/>
                <a:gd name="connsiteX10489" fmla="*/ 1295101 w 2240198"/>
                <a:gd name="connsiteY10489" fmla="*/ 269761 h 1729012"/>
                <a:gd name="connsiteX10490" fmla="*/ 1293349 w 2240198"/>
                <a:gd name="connsiteY10490" fmla="*/ 268224 h 1729012"/>
                <a:gd name="connsiteX10491" fmla="*/ 1292290 w 2240198"/>
                <a:gd name="connsiteY10491" fmla="*/ 267881 h 1729012"/>
                <a:gd name="connsiteX10492" fmla="*/ 1291296 w 2240198"/>
                <a:gd name="connsiteY10492" fmla="*/ 271087 h 1729012"/>
                <a:gd name="connsiteX10493" fmla="*/ 1293205 w 2240198"/>
                <a:gd name="connsiteY10493" fmla="*/ 274049 h 1729012"/>
                <a:gd name="connsiteX10494" fmla="*/ 1299385 w 2240198"/>
                <a:gd name="connsiteY10494" fmla="*/ 281003 h 1729012"/>
                <a:gd name="connsiteX10495" fmla="*/ 1303077 w 2240198"/>
                <a:gd name="connsiteY10495" fmla="*/ 286045 h 1729012"/>
                <a:gd name="connsiteX10496" fmla="*/ 1305735 w 2240198"/>
                <a:gd name="connsiteY10496" fmla="*/ 290211 h 1729012"/>
                <a:gd name="connsiteX10497" fmla="*/ 1306167 w 2240198"/>
                <a:gd name="connsiteY10497" fmla="*/ 291936 h 1729012"/>
                <a:gd name="connsiteX10498" fmla="*/ 1305257 w 2240198"/>
                <a:gd name="connsiteY10498" fmla="*/ 292611 h 1729012"/>
                <a:gd name="connsiteX10499" fmla="*/ 1303893 w 2240198"/>
                <a:gd name="connsiteY10499" fmla="*/ 292228 h 1729012"/>
                <a:gd name="connsiteX10500" fmla="*/ 1302076 w 2240198"/>
                <a:gd name="connsiteY10500" fmla="*/ 290775 h 1729012"/>
                <a:gd name="connsiteX10501" fmla="*/ 1296449 w 2240198"/>
                <a:gd name="connsiteY10501" fmla="*/ 288321 h 1729012"/>
                <a:gd name="connsiteX10502" fmla="*/ 1294113 w 2240198"/>
                <a:gd name="connsiteY10502" fmla="*/ 286952 h 1729012"/>
                <a:gd name="connsiteX10503" fmla="*/ 1292585 w 2240198"/>
                <a:gd name="connsiteY10503" fmla="*/ 285363 h 1729012"/>
                <a:gd name="connsiteX10504" fmla="*/ 1289780 w 2240198"/>
                <a:gd name="connsiteY10504" fmla="*/ 284159 h 1729012"/>
                <a:gd name="connsiteX10505" fmla="*/ 1285694 w 2240198"/>
                <a:gd name="connsiteY10505" fmla="*/ 283334 h 1729012"/>
                <a:gd name="connsiteX10506" fmla="*/ 1281591 w 2240198"/>
                <a:gd name="connsiteY10506" fmla="*/ 283175 h 1729012"/>
                <a:gd name="connsiteX10507" fmla="*/ 1277470 w 2240198"/>
                <a:gd name="connsiteY10507" fmla="*/ 283682 h 1729012"/>
                <a:gd name="connsiteX10508" fmla="*/ 1276688 w 2240198"/>
                <a:gd name="connsiteY10508" fmla="*/ 284456 h 1729012"/>
                <a:gd name="connsiteX10509" fmla="*/ 1281333 w 2240198"/>
                <a:gd name="connsiteY10509" fmla="*/ 286615 h 1729012"/>
                <a:gd name="connsiteX10510" fmla="*/ 1282950 w 2240198"/>
                <a:gd name="connsiteY10510" fmla="*/ 287820 h 1729012"/>
                <a:gd name="connsiteX10511" fmla="*/ 1284154 w 2240198"/>
                <a:gd name="connsiteY10511" fmla="*/ 289359 h 1729012"/>
                <a:gd name="connsiteX10512" fmla="*/ 1284945 w 2240198"/>
                <a:gd name="connsiteY10512" fmla="*/ 291229 h 1729012"/>
                <a:gd name="connsiteX10513" fmla="*/ 1283419 w 2240198"/>
                <a:gd name="connsiteY10513" fmla="*/ 292411 h 1729012"/>
                <a:gd name="connsiteX10514" fmla="*/ 1277651 w 2240198"/>
                <a:gd name="connsiteY10514" fmla="*/ 293148 h 1729012"/>
                <a:gd name="connsiteX10515" fmla="*/ 1269951 w 2240198"/>
                <a:gd name="connsiteY10515" fmla="*/ 292679 h 1729012"/>
                <a:gd name="connsiteX10516" fmla="*/ 1257487 w 2240198"/>
                <a:gd name="connsiteY10516" fmla="*/ 291052 h 1729012"/>
                <a:gd name="connsiteX10517" fmla="*/ 1245074 w 2240198"/>
                <a:gd name="connsiteY10517" fmla="*/ 288362 h 1729012"/>
                <a:gd name="connsiteX10518" fmla="*/ 1233610 w 2240198"/>
                <a:gd name="connsiteY10518" fmla="*/ 284170 h 1729012"/>
                <a:gd name="connsiteX10519" fmla="*/ 1225319 w 2240198"/>
                <a:gd name="connsiteY10519" fmla="*/ 279958 h 1729012"/>
                <a:gd name="connsiteX10520" fmla="*/ 1222039 w 2240198"/>
                <a:gd name="connsiteY10520" fmla="*/ 277711 h 1729012"/>
                <a:gd name="connsiteX10521" fmla="*/ 1221008 w 2240198"/>
                <a:gd name="connsiteY10521" fmla="*/ 276029 h 1729012"/>
                <a:gd name="connsiteX10522" fmla="*/ 1224120 w 2240198"/>
                <a:gd name="connsiteY10522" fmla="*/ 274556 h 1729012"/>
                <a:gd name="connsiteX10523" fmla="*/ 1234994 w 2240198"/>
                <a:gd name="connsiteY10523" fmla="*/ 272663 h 1729012"/>
                <a:gd name="connsiteX10524" fmla="*/ 1245892 w 2240198"/>
                <a:gd name="connsiteY10524" fmla="*/ 271447 h 1729012"/>
                <a:gd name="connsiteX10525" fmla="*/ 1244166 w 2240198"/>
                <a:gd name="connsiteY10525" fmla="*/ 270390 h 1729012"/>
                <a:gd name="connsiteX10526" fmla="*/ 1224374 w 2240198"/>
                <a:gd name="connsiteY10526" fmla="*/ 267982 h 1729012"/>
                <a:gd name="connsiteX10527" fmla="*/ 1217857 w 2240198"/>
                <a:gd name="connsiteY10527" fmla="*/ 267542 h 1729012"/>
                <a:gd name="connsiteX10528" fmla="*/ 1214387 w 2240198"/>
                <a:gd name="connsiteY10528" fmla="*/ 268175 h 1729012"/>
                <a:gd name="connsiteX10529" fmla="*/ 1210401 w 2240198"/>
                <a:gd name="connsiteY10529" fmla="*/ 267800 h 1729012"/>
                <a:gd name="connsiteX10530" fmla="*/ 1207286 w 2240198"/>
                <a:gd name="connsiteY10530" fmla="*/ 265887 h 1729012"/>
                <a:gd name="connsiteX10531" fmla="*/ 1203163 w 2240198"/>
                <a:gd name="connsiteY10531" fmla="*/ 262257 h 1729012"/>
                <a:gd name="connsiteX10532" fmla="*/ 1201074 w 2240198"/>
                <a:gd name="connsiteY10532" fmla="*/ 259850 h 1729012"/>
                <a:gd name="connsiteX10533" fmla="*/ 1201356 w 2240198"/>
                <a:gd name="connsiteY10533" fmla="*/ 258908 h 1729012"/>
                <a:gd name="connsiteX10534" fmla="*/ 1202925 w 2240198"/>
                <a:gd name="connsiteY10534" fmla="*/ 258374 h 1729012"/>
                <a:gd name="connsiteX10535" fmla="*/ 1211877 w 2240198"/>
                <a:gd name="connsiteY10535" fmla="*/ 258829 h 1729012"/>
                <a:gd name="connsiteX10536" fmla="*/ 1213108 w 2240198"/>
                <a:gd name="connsiteY10536" fmla="*/ 258469 h 1729012"/>
                <a:gd name="connsiteX10537" fmla="*/ 1208630 w 2240198"/>
                <a:gd name="connsiteY10537" fmla="*/ 256656 h 1729012"/>
                <a:gd name="connsiteX10538" fmla="*/ 1194283 w 2240198"/>
                <a:gd name="connsiteY10538" fmla="*/ 253063 h 1729012"/>
                <a:gd name="connsiteX10539" fmla="*/ 1188898 w 2240198"/>
                <a:gd name="connsiteY10539" fmla="*/ 249885 h 1729012"/>
                <a:gd name="connsiteX10540" fmla="*/ 1187910 w 2240198"/>
                <a:gd name="connsiteY10540" fmla="*/ 248643 h 1729012"/>
                <a:gd name="connsiteX10541" fmla="*/ 1187503 w 2240198"/>
                <a:gd name="connsiteY10541" fmla="*/ 247419 h 1729012"/>
                <a:gd name="connsiteX10542" fmla="*/ 1187677 w 2240198"/>
                <a:gd name="connsiteY10542" fmla="*/ 246217 h 1729012"/>
                <a:gd name="connsiteX10543" fmla="*/ 1193068 w 2240198"/>
                <a:gd name="connsiteY10543" fmla="*/ 243786 h 1729012"/>
                <a:gd name="connsiteX10544" fmla="*/ 1209709 w 2240198"/>
                <a:gd name="connsiteY10544" fmla="*/ 238030 h 1729012"/>
                <a:gd name="connsiteX10545" fmla="*/ 1215425 w 2240198"/>
                <a:gd name="connsiteY10545" fmla="*/ 237134 h 1729012"/>
                <a:gd name="connsiteX10546" fmla="*/ 1221177 w 2240198"/>
                <a:gd name="connsiteY10546" fmla="*/ 237076 h 1729012"/>
                <a:gd name="connsiteX10547" fmla="*/ 1225183 w 2240198"/>
                <a:gd name="connsiteY10547" fmla="*/ 235415 h 1729012"/>
                <a:gd name="connsiteX10548" fmla="*/ 1228642 w 2240198"/>
                <a:gd name="connsiteY10548" fmla="*/ 229934 h 1729012"/>
                <a:gd name="connsiteX10549" fmla="*/ 1245875 w 2240198"/>
                <a:gd name="connsiteY10549" fmla="*/ 227959 h 1729012"/>
                <a:gd name="connsiteX10550" fmla="*/ 1259160 w 2240198"/>
                <a:gd name="connsiteY10550" fmla="*/ 225493 h 1729012"/>
                <a:gd name="connsiteX10551" fmla="*/ 1260269 w 2240198"/>
                <a:gd name="connsiteY10551" fmla="*/ 224822 h 1729012"/>
                <a:gd name="connsiteX10552" fmla="*/ 1250311 w 2240198"/>
                <a:gd name="connsiteY10552" fmla="*/ 225274 h 1729012"/>
                <a:gd name="connsiteX10553" fmla="*/ 1236230 w 2240198"/>
                <a:gd name="connsiteY10553" fmla="*/ 224780 h 1729012"/>
                <a:gd name="connsiteX10554" fmla="*/ 1230230 w 2240198"/>
                <a:gd name="connsiteY10554" fmla="*/ 221037 h 1729012"/>
                <a:gd name="connsiteX10555" fmla="*/ 1226169 w 2240198"/>
                <a:gd name="connsiteY10555" fmla="*/ 220399 h 1729012"/>
                <a:gd name="connsiteX10556" fmla="*/ 1221676 w 2240198"/>
                <a:gd name="connsiteY10556" fmla="*/ 220430 h 1729012"/>
                <a:gd name="connsiteX10557" fmla="*/ 1216448 w 2240198"/>
                <a:gd name="connsiteY10557" fmla="*/ 221605 h 1729012"/>
                <a:gd name="connsiteX10558" fmla="*/ 1207504 w 2240198"/>
                <a:gd name="connsiteY10558" fmla="*/ 225080 h 1729012"/>
                <a:gd name="connsiteX10559" fmla="*/ 1203203 w 2240198"/>
                <a:gd name="connsiteY10559" fmla="*/ 225886 h 1729012"/>
                <a:gd name="connsiteX10560" fmla="*/ 1193500 w 2240198"/>
                <a:gd name="connsiteY10560" fmla="*/ 229474 h 1729012"/>
                <a:gd name="connsiteX10561" fmla="*/ 1190795 w 2240198"/>
                <a:gd name="connsiteY10561" fmla="*/ 229220 h 1729012"/>
                <a:gd name="connsiteX10562" fmla="*/ 1189437 w 2240198"/>
                <a:gd name="connsiteY10562" fmla="*/ 228793 h 1729012"/>
                <a:gd name="connsiteX10563" fmla="*/ 1189031 w 2240198"/>
                <a:gd name="connsiteY10563" fmla="*/ 228092 h 1729012"/>
                <a:gd name="connsiteX10564" fmla="*/ 1190783 w 2240198"/>
                <a:gd name="connsiteY10564" fmla="*/ 225712 h 1729012"/>
                <a:gd name="connsiteX10565" fmla="*/ 1193334 w 2240198"/>
                <a:gd name="connsiteY10565" fmla="*/ 224083 h 1729012"/>
                <a:gd name="connsiteX10566" fmla="*/ 1192813 w 2240198"/>
                <a:gd name="connsiteY10566" fmla="*/ 223525 h 1729012"/>
                <a:gd name="connsiteX10567" fmla="*/ 1189008 w 2240198"/>
                <a:gd name="connsiteY10567" fmla="*/ 223181 h 1729012"/>
                <a:gd name="connsiteX10568" fmla="*/ 1184600 w 2240198"/>
                <a:gd name="connsiteY10568" fmla="*/ 223245 h 1729012"/>
                <a:gd name="connsiteX10569" fmla="*/ 1181538 w 2240198"/>
                <a:gd name="connsiteY10569" fmla="*/ 223808 h 1729012"/>
                <a:gd name="connsiteX10570" fmla="*/ 1170352 w 2240198"/>
                <a:gd name="connsiteY10570" fmla="*/ 226959 h 1729012"/>
                <a:gd name="connsiteX10571" fmla="*/ 1165340 w 2240198"/>
                <a:gd name="connsiteY10571" fmla="*/ 229314 h 1729012"/>
                <a:gd name="connsiteX10572" fmla="*/ 1163832 w 2240198"/>
                <a:gd name="connsiteY10572" fmla="*/ 229521 h 1729012"/>
                <a:gd name="connsiteX10573" fmla="*/ 1158421 w 2240198"/>
                <a:gd name="connsiteY10573" fmla="*/ 225843 h 1729012"/>
                <a:gd name="connsiteX10574" fmla="*/ 1149788 w 2240198"/>
                <a:gd name="connsiteY10574" fmla="*/ 223816 h 1729012"/>
                <a:gd name="connsiteX10575" fmla="*/ 1147862 w 2240198"/>
                <a:gd name="connsiteY10575" fmla="*/ 222234 h 1729012"/>
                <a:gd name="connsiteX10576" fmla="*/ 1149640 w 2240198"/>
                <a:gd name="connsiteY10576" fmla="*/ 216015 h 1729012"/>
                <a:gd name="connsiteX10577" fmla="*/ 1152161 w 2240198"/>
                <a:gd name="connsiteY10577" fmla="*/ 214735 h 1729012"/>
                <a:gd name="connsiteX10578" fmla="*/ 1158782 w 2240198"/>
                <a:gd name="connsiteY10578" fmla="*/ 213690 h 1729012"/>
                <a:gd name="connsiteX10579" fmla="*/ 1178627 w 2240198"/>
                <a:gd name="connsiteY10579" fmla="*/ 208021 h 1729012"/>
                <a:gd name="connsiteX10580" fmla="*/ 1179746 w 2240198"/>
                <a:gd name="connsiteY10580" fmla="*/ 206930 h 1729012"/>
                <a:gd name="connsiteX10581" fmla="*/ 1181615 w 2240198"/>
                <a:gd name="connsiteY10581" fmla="*/ 204053 h 1729012"/>
                <a:gd name="connsiteX10582" fmla="*/ 1177077 w 2240198"/>
                <a:gd name="connsiteY10582" fmla="*/ 204667 h 1729012"/>
                <a:gd name="connsiteX10583" fmla="*/ 1167132 w 2240198"/>
                <a:gd name="connsiteY10583" fmla="*/ 207445 h 1729012"/>
                <a:gd name="connsiteX10584" fmla="*/ 1158918 w 2240198"/>
                <a:gd name="connsiteY10584" fmla="*/ 208826 h 1729012"/>
                <a:gd name="connsiteX10585" fmla="*/ 1152439 w 2240198"/>
                <a:gd name="connsiteY10585" fmla="*/ 208818 h 1729012"/>
                <a:gd name="connsiteX10586" fmla="*/ 1147701 w 2240198"/>
                <a:gd name="connsiteY10586" fmla="*/ 208422 h 1729012"/>
                <a:gd name="connsiteX10587" fmla="*/ 1144705 w 2240198"/>
                <a:gd name="connsiteY10587" fmla="*/ 207641 h 1729012"/>
                <a:gd name="connsiteX10588" fmla="*/ 1141101 w 2240198"/>
                <a:gd name="connsiteY10588" fmla="*/ 205869 h 1729012"/>
                <a:gd name="connsiteX10589" fmla="*/ 1129358 w 2240198"/>
                <a:gd name="connsiteY10589" fmla="*/ 197660 h 1729012"/>
                <a:gd name="connsiteX10590" fmla="*/ 1126155 w 2240198"/>
                <a:gd name="connsiteY10590" fmla="*/ 193674 h 1729012"/>
                <a:gd name="connsiteX10591" fmla="*/ 1125707 w 2240198"/>
                <a:gd name="connsiteY10591" fmla="*/ 190149 h 1729012"/>
                <a:gd name="connsiteX10592" fmla="*/ 1124884 w 2240198"/>
                <a:gd name="connsiteY10592" fmla="*/ 187460 h 1729012"/>
                <a:gd name="connsiteX10593" fmla="*/ 1121485 w 2240198"/>
                <a:gd name="connsiteY10593" fmla="*/ 180989 h 1729012"/>
                <a:gd name="connsiteX10594" fmla="*/ 1146620 w 2240198"/>
                <a:gd name="connsiteY10594" fmla="*/ 185014 h 1729012"/>
                <a:gd name="connsiteX10595" fmla="*/ 1156462 w 2240198"/>
                <a:gd name="connsiteY10595" fmla="*/ 185775 h 1729012"/>
                <a:gd name="connsiteX10596" fmla="*/ 1175426 w 2240198"/>
                <a:gd name="connsiteY10596" fmla="*/ 186038 h 1729012"/>
                <a:gd name="connsiteX10597" fmla="*/ 1176316 w 2240198"/>
                <a:gd name="connsiteY10597" fmla="*/ 185644 h 1729012"/>
                <a:gd name="connsiteX10598" fmla="*/ 1176596 w 2240198"/>
                <a:gd name="connsiteY10598" fmla="*/ 184595 h 1729012"/>
                <a:gd name="connsiteX10599" fmla="*/ 1176269 w 2240198"/>
                <a:gd name="connsiteY10599" fmla="*/ 182893 h 1729012"/>
                <a:gd name="connsiteX10600" fmla="*/ 1176414 w 2240198"/>
                <a:gd name="connsiteY10600" fmla="*/ 181582 h 1729012"/>
                <a:gd name="connsiteX10601" fmla="*/ 1177032 w 2240198"/>
                <a:gd name="connsiteY10601" fmla="*/ 180663 h 1729012"/>
                <a:gd name="connsiteX10602" fmla="*/ 1184085 w 2240198"/>
                <a:gd name="connsiteY10602" fmla="*/ 178325 h 1729012"/>
                <a:gd name="connsiteX10603" fmla="*/ 1185146 w 2240198"/>
                <a:gd name="connsiteY10603" fmla="*/ 177555 h 1729012"/>
                <a:gd name="connsiteX10604" fmla="*/ 1176841 w 2240198"/>
                <a:gd name="connsiteY10604" fmla="*/ 177169 h 1729012"/>
                <a:gd name="connsiteX10605" fmla="*/ 1161571 w 2240198"/>
                <a:gd name="connsiteY10605" fmla="*/ 181071 h 1729012"/>
                <a:gd name="connsiteX10606" fmla="*/ 1156178 w 2240198"/>
                <a:gd name="connsiteY10606" fmla="*/ 181035 h 1729012"/>
                <a:gd name="connsiteX10607" fmla="*/ 1150062 w 2240198"/>
                <a:gd name="connsiteY10607" fmla="*/ 175455 h 1729012"/>
                <a:gd name="connsiteX10608" fmla="*/ 1143526 w 2240198"/>
                <a:gd name="connsiteY10608" fmla="*/ 176436 h 1729012"/>
                <a:gd name="connsiteX10609" fmla="*/ 1140441 w 2240198"/>
                <a:gd name="connsiteY10609" fmla="*/ 175992 h 1729012"/>
                <a:gd name="connsiteX10610" fmla="*/ 1135638 w 2240198"/>
                <a:gd name="connsiteY10610" fmla="*/ 174585 h 1729012"/>
                <a:gd name="connsiteX10611" fmla="*/ 1133274 w 2240198"/>
                <a:gd name="connsiteY10611" fmla="*/ 173356 h 1729012"/>
                <a:gd name="connsiteX10612" fmla="*/ 1131750 w 2240198"/>
                <a:gd name="connsiteY10612" fmla="*/ 171836 h 1729012"/>
                <a:gd name="connsiteX10613" fmla="*/ 1131099 w 2240198"/>
                <a:gd name="connsiteY10613" fmla="*/ 170554 h 1729012"/>
                <a:gd name="connsiteX10614" fmla="*/ 1131320 w 2240198"/>
                <a:gd name="connsiteY10614" fmla="*/ 169512 h 1729012"/>
                <a:gd name="connsiteX10615" fmla="*/ 1132614 w 2240198"/>
                <a:gd name="connsiteY10615" fmla="*/ 168350 h 1729012"/>
                <a:gd name="connsiteX10616" fmla="*/ 1138247 w 2240198"/>
                <a:gd name="connsiteY10616" fmla="*/ 166734 h 1729012"/>
                <a:gd name="connsiteX10617" fmla="*/ 1140791 w 2240198"/>
                <a:gd name="connsiteY10617" fmla="*/ 166579 h 1729012"/>
                <a:gd name="connsiteX10618" fmla="*/ 1147498 w 2240198"/>
                <a:gd name="connsiteY10618" fmla="*/ 167619 h 1729012"/>
                <a:gd name="connsiteX10619" fmla="*/ 1152525 w 2240198"/>
                <a:gd name="connsiteY10619" fmla="*/ 167541 h 1729012"/>
                <a:gd name="connsiteX10620" fmla="*/ 1150868 w 2240198"/>
                <a:gd name="connsiteY10620" fmla="*/ 165808 h 1729012"/>
                <a:gd name="connsiteX10621" fmla="*/ 1143600 w 2240198"/>
                <a:gd name="connsiteY10621" fmla="*/ 161438 h 1729012"/>
                <a:gd name="connsiteX10622" fmla="*/ 1137243 w 2240198"/>
                <a:gd name="connsiteY10622" fmla="*/ 156589 h 1729012"/>
                <a:gd name="connsiteX10623" fmla="*/ 1137723 w 2240198"/>
                <a:gd name="connsiteY10623" fmla="*/ 148464 h 1729012"/>
                <a:gd name="connsiteX10624" fmla="*/ 1142944 w 2240198"/>
                <a:gd name="connsiteY10624" fmla="*/ 146737 h 1729012"/>
                <a:gd name="connsiteX10625" fmla="*/ 1148354 w 2240198"/>
                <a:gd name="connsiteY10625" fmla="*/ 146455 h 1729012"/>
                <a:gd name="connsiteX10626" fmla="*/ 1153636 w 2240198"/>
                <a:gd name="connsiteY10626" fmla="*/ 148514 h 1729012"/>
                <a:gd name="connsiteX10627" fmla="*/ 1160722 w 2240198"/>
                <a:gd name="connsiteY10627" fmla="*/ 148796 h 1729012"/>
                <a:gd name="connsiteX10628" fmla="*/ 1165796 w 2240198"/>
                <a:gd name="connsiteY10628" fmla="*/ 151117 h 1729012"/>
                <a:gd name="connsiteX10629" fmla="*/ 1169172 w 2240198"/>
                <a:gd name="connsiteY10629" fmla="*/ 155564 h 1729012"/>
                <a:gd name="connsiteX10630" fmla="*/ 1173181 w 2240198"/>
                <a:gd name="connsiteY10630" fmla="*/ 155478 h 1729012"/>
                <a:gd name="connsiteX10631" fmla="*/ 1179496 w 2240198"/>
                <a:gd name="connsiteY10631" fmla="*/ 156318 h 1729012"/>
                <a:gd name="connsiteX10632" fmla="*/ 1193632 w 2240198"/>
                <a:gd name="connsiteY10632" fmla="*/ 156253 h 1729012"/>
                <a:gd name="connsiteX10633" fmla="*/ 1191077 w 2240198"/>
                <a:gd name="connsiteY10633" fmla="*/ 154665 h 1729012"/>
                <a:gd name="connsiteX10634" fmla="*/ 1186679 w 2240198"/>
                <a:gd name="connsiteY10634" fmla="*/ 153279 h 1729012"/>
                <a:gd name="connsiteX10635" fmla="*/ 1176684 w 2240198"/>
                <a:gd name="connsiteY10635" fmla="*/ 151460 h 1729012"/>
                <a:gd name="connsiteX10636" fmla="*/ 1171812 w 2240198"/>
                <a:gd name="connsiteY10636" fmla="*/ 144929 h 1729012"/>
                <a:gd name="connsiteX10637" fmla="*/ 1161482 w 2240198"/>
                <a:gd name="connsiteY10637" fmla="*/ 141554 h 1729012"/>
                <a:gd name="connsiteX10638" fmla="*/ 1153396 w 2240198"/>
                <a:gd name="connsiteY10638" fmla="*/ 139787 h 1729012"/>
                <a:gd name="connsiteX10639" fmla="*/ 1153534 w 2240198"/>
                <a:gd name="connsiteY10639" fmla="*/ 138299 h 1729012"/>
                <a:gd name="connsiteX10640" fmla="*/ 1159607 w 2240198"/>
                <a:gd name="connsiteY10640" fmla="*/ 130124 h 1729012"/>
                <a:gd name="connsiteX10641" fmla="*/ 1166942 w 2240198"/>
                <a:gd name="connsiteY10641" fmla="*/ 127211 h 1729012"/>
                <a:gd name="connsiteX10642" fmla="*/ 1178634 w 2240198"/>
                <a:gd name="connsiteY10642" fmla="*/ 128311 h 1729012"/>
                <a:gd name="connsiteX10643" fmla="*/ 1186320 w 2240198"/>
                <a:gd name="connsiteY10643" fmla="*/ 126763 h 1729012"/>
                <a:gd name="connsiteX10644" fmla="*/ 1196218 w 2240198"/>
                <a:gd name="connsiteY10644" fmla="*/ 123865 h 1729012"/>
                <a:gd name="connsiteX10645" fmla="*/ 1205908 w 2240198"/>
                <a:gd name="connsiteY10645" fmla="*/ 125207 h 1729012"/>
                <a:gd name="connsiteX10646" fmla="*/ 1208409 w 2240198"/>
                <a:gd name="connsiteY10646" fmla="*/ 125082 h 1729012"/>
                <a:gd name="connsiteX10647" fmla="*/ 1209891 w 2240198"/>
                <a:gd name="connsiteY10647" fmla="*/ 124188 h 1729012"/>
                <a:gd name="connsiteX10648" fmla="*/ 1211186 w 2240198"/>
                <a:gd name="connsiteY10648" fmla="*/ 122482 h 1729012"/>
                <a:gd name="connsiteX10649" fmla="*/ 1211193 w 2240198"/>
                <a:gd name="connsiteY10649" fmla="*/ 120911 h 1729012"/>
                <a:gd name="connsiteX10650" fmla="*/ 1209911 w 2240198"/>
                <a:gd name="connsiteY10650" fmla="*/ 119467 h 1729012"/>
                <a:gd name="connsiteX10651" fmla="*/ 1206852 w 2240198"/>
                <a:gd name="connsiteY10651" fmla="*/ 117681 h 1729012"/>
                <a:gd name="connsiteX10652" fmla="*/ 1194481 w 2240198"/>
                <a:gd name="connsiteY10652" fmla="*/ 117428 h 1729012"/>
                <a:gd name="connsiteX10653" fmla="*/ 1189007 w 2240198"/>
                <a:gd name="connsiteY10653" fmla="*/ 116727 h 1729012"/>
                <a:gd name="connsiteX10654" fmla="*/ 1186874 w 2240198"/>
                <a:gd name="connsiteY10654" fmla="*/ 115771 h 1729012"/>
                <a:gd name="connsiteX10655" fmla="*/ 1186261 w 2240198"/>
                <a:gd name="connsiteY10655" fmla="*/ 114330 h 1729012"/>
                <a:gd name="connsiteX10656" fmla="*/ 1185935 w 2240198"/>
                <a:gd name="connsiteY10656" fmla="*/ 112844 h 1729012"/>
                <a:gd name="connsiteX10657" fmla="*/ 1185898 w 2240198"/>
                <a:gd name="connsiteY10657" fmla="*/ 111314 h 1729012"/>
                <a:gd name="connsiteX10658" fmla="*/ 1186223 w 2240198"/>
                <a:gd name="connsiteY10658" fmla="*/ 110375 h 1729012"/>
                <a:gd name="connsiteX10659" fmla="*/ 1187257 w 2240198"/>
                <a:gd name="connsiteY10659" fmla="*/ 109865 h 1729012"/>
                <a:gd name="connsiteX10660" fmla="*/ 1190290 w 2240198"/>
                <a:gd name="connsiteY10660" fmla="*/ 109259 h 1729012"/>
                <a:gd name="connsiteX10661" fmla="*/ 1201824 w 2240198"/>
                <a:gd name="connsiteY10661" fmla="*/ 109182 h 1729012"/>
                <a:gd name="connsiteX10662" fmla="*/ 1801120 w 2240198"/>
                <a:gd name="connsiteY10662" fmla="*/ 0 h 1729012"/>
                <a:gd name="connsiteX10663" fmla="*/ 1803712 w 2240198"/>
                <a:gd name="connsiteY10663" fmla="*/ 413 h 1729012"/>
                <a:gd name="connsiteX10664" fmla="*/ 1805882 w 2240198"/>
                <a:gd name="connsiteY10664" fmla="*/ 1499 h 1729012"/>
                <a:gd name="connsiteX10665" fmla="*/ 1811276 w 2240198"/>
                <a:gd name="connsiteY10665" fmla="*/ 5790 h 1729012"/>
                <a:gd name="connsiteX10666" fmla="*/ 1813317 w 2240198"/>
                <a:gd name="connsiteY10666" fmla="*/ 6304 h 1729012"/>
                <a:gd name="connsiteX10667" fmla="*/ 1833999 w 2240198"/>
                <a:gd name="connsiteY10667" fmla="*/ 7446 h 1729012"/>
                <a:gd name="connsiteX10668" fmla="*/ 1840699 w 2240198"/>
                <a:gd name="connsiteY10668" fmla="*/ 7034 h 1729012"/>
                <a:gd name="connsiteX10669" fmla="*/ 1848360 w 2240198"/>
                <a:gd name="connsiteY10669" fmla="*/ 9825 h 1729012"/>
                <a:gd name="connsiteX10670" fmla="*/ 1852982 w 2240198"/>
                <a:gd name="connsiteY10670" fmla="*/ 10152 h 1729012"/>
                <a:gd name="connsiteX10671" fmla="*/ 1860592 w 2240198"/>
                <a:gd name="connsiteY10671" fmla="*/ 9621 h 1729012"/>
                <a:gd name="connsiteX10672" fmla="*/ 1866140 w 2240198"/>
                <a:gd name="connsiteY10672" fmla="*/ 10285 h 1729012"/>
                <a:gd name="connsiteX10673" fmla="*/ 1886781 w 2240198"/>
                <a:gd name="connsiteY10673" fmla="*/ 10909 h 1729012"/>
                <a:gd name="connsiteX10674" fmla="*/ 1891068 w 2240198"/>
                <a:gd name="connsiteY10674" fmla="*/ 11995 h 1729012"/>
                <a:gd name="connsiteX10675" fmla="*/ 1891011 w 2240198"/>
                <a:gd name="connsiteY10675" fmla="*/ 13303 h 1729012"/>
                <a:gd name="connsiteX10676" fmla="*/ 1886559 w 2240198"/>
                <a:gd name="connsiteY10676" fmla="*/ 16138 h 1729012"/>
                <a:gd name="connsiteX10677" fmla="*/ 1880577 w 2240198"/>
                <a:gd name="connsiteY10677" fmla="*/ 18867 h 1729012"/>
                <a:gd name="connsiteX10678" fmla="*/ 1842004 w 2240198"/>
                <a:gd name="connsiteY10678" fmla="*/ 27732 h 1729012"/>
                <a:gd name="connsiteX10679" fmla="*/ 1839169 w 2240198"/>
                <a:gd name="connsiteY10679" fmla="*/ 29201 h 1729012"/>
                <a:gd name="connsiteX10680" fmla="*/ 1846687 w 2240198"/>
                <a:gd name="connsiteY10680" fmla="*/ 29666 h 1729012"/>
                <a:gd name="connsiteX10681" fmla="*/ 1857767 w 2240198"/>
                <a:gd name="connsiteY10681" fmla="*/ 29260 h 1729012"/>
                <a:gd name="connsiteX10682" fmla="*/ 1866359 w 2240198"/>
                <a:gd name="connsiteY10682" fmla="*/ 28277 h 1729012"/>
                <a:gd name="connsiteX10683" fmla="*/ 1876484 w 2240198"/>
                <a:gd name="connsiteY10683" fmla="*/ 25270 h 1729012"/>
                <a:gd name="connsiteX10684" fmla="*/ 1879831 w 2240198"/>
                <a:gd name="connsiteY10684" fmla="*/ 25095 h 1729012"/>
                <a:gd name="connsiteX10685" fmla="*/ 1886268 w 2240198"/>
                <a:gd name="connsiteY10685" fmla="*/ 23636 h 1729012"/>
                <a:gd name="connsiteX10686" fmla="*/ 1898728 w 2240198"/>
                <a:gd name="connsiteY10686" fmla="*/ 19546 h 1729012"/>
                <a:gd name="connsiteX10687" fmla="*/ 1908693 w 2240198"/>
                <a:gd name="connsiteY10687" fmla="*/ 17322 h 1729012"/>
                <a:gd name="connsiteX10688" fmla="*/ 1913203 w 2240198"/>
                <a:gd name="connsiteY10688" fmla="*/ 18298 h 1729012"/>
                <a:gd name="connsiteX10689" fmla="*/ 1916997 w 2240198"/>
                <a:gd name="connsiteY10689" fmla="*/ 19844 h 1729012"/>
                <a:gd name="connsiteX10690" fmla="*/ 1919557 w 2240198"/>
                <a:gd name="connsiteY10690" fmla="*/ 20019 h 1729012"/>
                <a:gd name="connsiteX10691" fmla="*/ 1920886 w 2240198"/>
                <a:gd name="connsiteY10691" fmla="*/ 18830 h 1729012"/>
                <a:gd name="connsiteX10692" fmla="*/ 1923022 w 2240198"/>
                <a:gd name="connsiteY10692" fmla="*/ 15577 h 1729012"/>
                <a:gd name="connsiteX10693" fmla="*/ 1924269 w 2240198"/>
                <a:gd name="connsiteY10693" fmla="*/ 14391 h 1729012"/>
                <a:gd name="connsiteX10694" fmla="*/ 1927548 w 2240198"/>
                <a:gd name="connsiteY10694" fmla="*/ 13546 h 1729012"/>
                <a:gd name="connsiteX10695" fmla="*/ 1929551 w 2240198"/>
                <a:gd name="connsiteY10695" fmla="*/ 13639 h 1729012"/>
                <a:gd name="connsiteX10696" fmla="*/ 1932800 w 2240198"/>
                <a:gd name="connsiteY10696" fmla="*/ 15177 h 1729012"/>
                <a:gd name="connsiteX10697" fmla="*/ 1936400 w 2240198"/>
                <a:gd name="connsiteY10697" fmla="*/ 18823 h 1729012"/>
                <a:gd name="connsiteX10698" fmla="*/ 1939715 w 2240198"/>
                <a:gd name="connsiteY10698" fmla="*/ 21352 h 1729012"/>
                <a:gd name="connsiteX10699" fmla="*/ 1941507 w 2240198"/>
                <a:gd name="connsiteY10699" fmla="*/ 21396 h 1729012"/>
                <a:gd name="connsiteX10700" fmla="*/ 1949092 w 2240198"/>
                <a:gd name="connsiteY10700" fmla="*/ 18534 h 1729012"/>
                <a:gd name="connsiteX10701" fmla="*/ 1952912 w 2240198"/>
                <a:gd name="connsiteY10701" fmla="*/ 18162 h 1729012"/>
                <a:gd name="connsiteX10702" fmla="*/ 1961598 w 2240198"/>
                <a:gd name="connsiteY10702" fmla="*/ 19202 h 1729012"/>
                <a:gd name="connsiteX10703" fmla="*/ 1965206 w 2240198"/>
                <a:gd name="connsiteY10703" fmla="*/ 20462 h 1729012"/>
                <a:gd name="connsiteX10704" fmla="*/ 1965857 w 2240198"/>
                <a:gd name="connsiteY10704" fmla="*/ 21804 h 1729012"/>
                <a:gd name="connsiteX10705" fmla="*/ 1963549 w 2240198"/>
                <a:gd name="connsiteY10705" fmla="*/ 23219 h 1729012"/>
                <a:gd name="connsiteX10706" fmla="*/ 1962115 w 2240198"/>
                <a:gd name="connsiteY10706" fmla="*/ 24439 h 1729012"/>
                <a:gd name="connsiteX10707" fmla="*/ 1961559 w 2240198"/>
                <a:gd name="connsiteY10707" fmla="*/ 25463 h 1729012"/>
                <a:gd name="connsiteX10708" fmla="*/ 1962824 w 2240198"/>
                <a:gd name="connsiteY10708" fmla="*/ 26652 h 1729012"/>
                <a:gd name="connsiteX10709" fmla="*/ 1968080 w 2240198"/>
                <a:gd name="connsiteY10709" fmla="*/ 29196 h 1729012"/>
                <a:gd name="connsiteX10710" fmla="*/ 1975688 w 2240198"/>
                <a:gd name="connsiteY10710" fmla="*/ 34715 h 1729012"/>
                <a:gd name="connsiteX10711" fmla="*/ 1975644 w 2240198"/>
                <a:gd name="connsiteY10711" fmla="*/ 36739 h 1729012"/>
                <a:gd name="connsiteX10712" fmla="*/ 1971492 w 2240198"/>
                <a:gd name="connsiteY10712" fmla="*/ 40852 h 1729012"/>
                <a:gd name="connsiteX10713" fmla="*/ 1971594 w 2240198"/>
                <a:gd name="connsiteY10713" fmla="*/ 41889 h 1729012"/>
                <a:gd name="connsiteX10714" fmla="*/ 1991160 w 2240198"/>
                <a:gd name="connsiteY10714" fmla="*/ 37564 h 1729012"/>
                <a:gd name="connsiteX10715" fmla="*/ 2010887 w 2240198"/>
                <a:gd name="connsiteY10715" fmla="*/ 39494 h 1729012"/>
                <a:gd name="connsiteX10716" fmla="*/ 2016469 w 2240198"/>
                <a:gd name="connsiteY10716" fmla="*/ 40815 h 1729012"/>
                <a:gd name="connsiteX10717" fmla="*/ 2018613 w 2240198"/>
                <a:gd name="connsiteY10717" fmla="*/ 42405 h 1729012"/>
                <a:gd name="connsiteX10718" fmla="*/ 2020894 w 2240198"/>
                <a:gd name="connsiteY10718" fmla="*/ 45025 h 1729012"/>
                <a:gd name="connsiteX10719" fmla="*/ 2023310 w 2240198"/>
                <a:gd name="connsiteY10719" fmla="*/ 48669 h 1729012"/>
                <a:gd name="connsiteX10720" fmla="*/ 2021629 w 2240198"/>
                <a:gd name="connsiteY10720" fmla="*/ 52464 h 1729012"/>
                <a:gd name="connsiteX10721" fmla="*/ 2012961 w 2240198"/>
                <a:gd name="connsiteY10721" fmla="*/ 58362 h 1729012"/>
                <a:gd name="connsiteX10722" fmla="*/ 2004003 w 2240198"/>
                <a:gd name="connsiteY10722" fmla="*/ 62935 h 1729012"/>
                <a:gd name="connsiteX10723" fmla="*/ 1998728 w 2240198"/>
                <a:gd name="connsiteY10723" fmla="*/ 67048 h 1729012"/>
                <a:gd name="connsiteX10724" fmla="*/ 1990619 w 2240198"/>
                <a:gd name="connsiteY10724" fmla="*/ 69297 h 1729012"/>
                <a:gd name="connsiteX10725" fmla="*/ 1962833 w 2240198"/>
                <a:gd name="connsiteY10725" fmla="*/ 79175 h 1729012"/>
                <a:gd name="connsiteX10726" fmla="*/ 1949252 w 2240198"/>
                <a:gd name="connsiteY10726" fmla="*/ 82340 h 1729012"/>
                <a:gd name="connsiteX10727" fmla="*/ 1941446 w 2240198"/>
                <a:gd name="connsiteY10727" fmla="*/ 85450 h 1729012"/>
                <a:gd name="connsiteX10728" fmla="*/ 1937940 w 2240198"/>
                <a:gd name="connsiteY10728" fmla="*/ 85991 h 1729012"/>
                <a:gd name="connsiteX10729" fmla="*/ 1921405 w 2240198"/>
                <a:gd name="connsiteY10729" fmla="*/ 85396 h 1729012"/>
                <a:gd name="connsiteX10730" fmla="*/ 1917017 w 2240198"/>
                <a:gd name="connsiteY10730" fmla="*/ 87108 h 1729012"/>
                <a:gd name="connsiteX10731" fmla="*/ 1914577 w 2240198"/>
                <a:gd name="connsiteY10731" fmla="*/ 89985 h 1729012"/>
                <a:gd name="connsiteX10732" fmla="*/ 1909363 w 2240198"/>
                <a:gd name="connsiteY10732" fmla="*/ 91352 h 1729012"/>
                <a:gd name="connsiteX10733" fmla="*/ 1901663 w 2240198"/>
                <a:gd name="connsiteY10733" fmla="*/ 92330 h 1729012"/>
                <a:gd name="connsiteX10734" fmla="*/ 1885917 w 2240198"/>
                <a:gd name="connsiteY10734" fmla="*/ 93122 h 1729012"/>
                <a:gd name="connsiteX10735" fmla="*/ 1882384 w 2240198"/>
                <a:gd name="connsiteY10735" fmla="*/ 96357 h 1729012"/>
                <a:gd name="connsiteX10736" fmla="*/ 1881483 w 2240198"/>
                <a:gd name="connsiteY10736" fmla="*/ 98550 h 1729012"/>
                <a:gd name="connsiteX10737" fmla="*/ 1879947 w 2240198"/>
                <a:gd name="connsiteY10737" fmla="*/ 100251 h 1729012"/>
                <a:gd name="connsiteX10738" fmla="*/ 1878606 w 2240198"/>
                <a:gd name="connsiteY10738" fmla="*/ 101071 h 1729012"/>
                <a:gd name="connsiteX10739" fmla="*/ 1833612 w 2240198"/>
                <a:gd name="connsiteY10739" fmla="*/ 112626 h 1729012"/>
                <a:gd name="connsiteX10740" fmla="*/ 1832783 w 2240198"/>
                <a:gd name="connsiteY10740" fmla="*/ 114553 h 1729012"/>
                <a:gd name="connsiteX10741" fmla="*/ 1837312 w 2240198"/>
                <a:gd name="connsiteY10741" fmla="*/ 115347 h 1729012"/>
                <a:gd name="connsiteX10742" fmla="*/ 1843015 w 2240198"/>
                <a:gd name="connsiteY10742" fmla="*/ 114553 h 1729012"/>
                <a:gd name="connsiteX10743" fmla="*/ 1908485 w 2240198"/>
                <a:gd name="connsiteY10743" fmla="*/ 100519 h 1729012"/>
                <a:gd name="connsiteX10744" fmla="*/ 1921054 w 2240198"/>
                <a:gd name="connsiteY10744" fmla="*/ 99587 h 1729012"/>
                <a:gd name="connsiteX10745" fmla="*/ 1932716 w 2240198"/>
                <a:gd name="connsiteY10745" fmla="*/ 100602 h 1729012"/>
                <a:gd name="connsiteX10746" fmla="*/ 1931380 w 2240198"/>
                <a:gd name="connsiteY10746" fmla="*/ 103878 h 1729012"/>
                <a:gd name="connsiteX10747" fmla="*/ 1914867 w 2240198"/>
                <a:gd name="connsiteY10747" fmla="*/ 113140 h 1729012"/>
                <a:gd name="connsiteX10748" fmla="*/ 1893850 w 2240198"/>
                <a:gd name="connsiteY10748" fmla="*/ 121449 h 1729012"/>
                <a:gd name="connsiteX10749" fmla="*/ 1883352 w 2240198"/>
                <a:gd name="connsiteY10749" fmla="*/ 127732 h 1729012"/>
                <a:gd name="connsiteX10750" fmla="*/ 1856792 w 2240198"/>
                <a:gd name="connsiteY10750" fmla="*/ 138525 h 1729012"/>
                <a:gd name="connsiteX10751" fmla="*/ 1835083 w 2240198"/>
                <a:gd name="connsiteY10751" fmla="*/ 149214 h 1729012"/>
                <a:gd name="connsiteX10752" fmla="*/ 1826744 w 2240198"/>
                <a:gd name="connsiteY10752" fmla="*/ 154625 h 1729012"/>
                <a:gd name="connsiteX10753" fmla="*/ 1815568 w 2240198"/>
                <a:gd name="connsiteY10753" fmla="*/ 164252 h 1729012"/>
                <a:gd name="connsiteX10754" fmla="*/ 1811751 w 2240198"/>
                <a:gd name="connsiteY10754" fmla="*/ 166568 h 1729012"/>
                <a:gd name="connsiteX10755" fmla="*/ 1807108 w 2240198"/>
                <a:gd name="connsiteY10755" fmla="*/ 167522 h 1729012"/>
                <a:gd name="connsiteX10756" fmla="*/ 1801642 w 2240198"/>
                <a:gd name="connsiteY10756" fmla="*/ 167122 h 1729012"/>
                <a:gd name="connsiteX10757" fmla="*/ 1796718 w 2240198"/>
                <a:gd name="connsiteY10757" fmla="*/ 165725 h 1729012"/>
                <a:gd name="connsiteX10758" fmla="*/ 1790148 w 2240198"/>
                <a:gd name="connsiteY10758" fmla="*/ 162135 h 1729012"/>
                <a:gd name="connsiteX10759" fmla="*/ 1784163 w 2240198"/>
                <a:gd name="connsiteY10759" fmla="*/ 158112 h 1729012"/>
                <a:gd name="connsiteX10760" fmla="*/ 1782288 w 2240198"/>
                <a:gd name="connsiteY10760" fmla="*/ 157403 h 1729012"/>
                <a:gd name="connsiteX10761" fmla="*/ 1783423 w 2240198"/>
                <a:gd name="connsiteY10761" fmla="*/ 159402 h 1729012"/>
                <a:gd name="connsiteX10762" fmla="*/ 1794962 w 2240198"/>
                <a:gd name="connsiteY10762" fmla="*/ 172730 h 1729012"/>
                <a:gd name="connsiteX10763" fmla="*/ 1793641 w 2240198"/>
                <a:gd name="connsiteY10763" fmla="*/ 175301 h 1729012"/>
                <a:gd name="connsiteX10764" fmla="*/ 1772457 w 2240198"/>
                <a:gd name="connsiteY10764" fmla="*/ 178010 h 1729012"/>
                <a:gd name="connsiteX10765" fmla="*/ 1763082 w 2240198"/>
                <a:gd name="connsiteY10765" fmla="*/ 180402 h 1729012"/>
                <a:gd name="connsiteX10766" fmla="*/ 1758245 w 2240198"/>
                <a:gd name="connsiteY10766" fmla="*/ 180981 h 1729012"/>
                <a:gd name="connsiteX10767" fmla="*/ 1754820 w 2240198"/>
                <a:gd name="connsiteY10767" fmla="*/ 180550 h 1729012"/>
                <a:gd name="connsiteX10768" fmla="*/ 1751479 w 2240198"/>
                <a:gd name="connsiteY10768" fmla="*/ 180794 h 1729012"/>
                <a:gd name="connsiteX10769" fmla="*/ 1748226 w 2240198"/>
                <a:gd name="connsiteY10769" fmla="*/ 181717 h 1729012"/>
                <a:gd name="connsiteX10770" fmla="*/ 1748047 w 2240198"/>
                <a:gd name="connsiteY10770" fmla="*/ 182744 h 1729012"/>
                <a:gd name="connsiteX10771" fmla="*/ 1750946 w 2240198"/>
                <a:gd name="connsiteY10771" fmla="*/ 183867 h 1729012"/>
                <a:gd name="connsiteX10772" fmla="*/ 1759379 w 2240198"/>
                <a:gd name="connsiteY10772" fmla="*/ 184746 h 1729012"/>
                <a:gd name="connsiteX10773" fmla="*/ 1778119 w 2240198"/>
                <a:gd name="connsiteY10773" fmla="*/ 181771 h 1729012"/>
                <a:gd name="connsiteX10774" fmla="*/ 1781124 w 2240198"/>
                <a:gd name="connsiteY10774" fmla="*/ 181984 h 1729012"/>
                <a:gd name="connsiteX10775" fmla="*/ 1785945 w 2240198"/>
                <a:gd name="connsiteY10775" fmla="*/ 183432 h 1729012"/>
                <a:gd name="connsiteX10776" fmla="*/ 1786181 w 2240198"/>
                <a:gd name="connsiteY10776" fmla="*/ 184748 h 1729012"/>
                <a:gd name="connsiteX10777" fmla="*/ 1781149 w 2240198"/>
                <a:gd name="connsiteY10777" fmla="*/ 188961 h 1729012"/>
                <a:gd name="connsiteX10778" fmla="*/ 1765978 w 2240198"/>
                <a:gd name="connsiteY10778" fmla="*/ 193985 h 1729012"/>
                <a:gd name="connsiteX10779" fmla="*/ 1767961 w 2240198"/>
                <a:gd name="connsiteY10779" fmla="*/ 194269 h 1729012"/>
                <a:gd name="connsiteX10780" fmla="*/ 1772305 w 2240198"/>
                <a:gd name="connsiteY10780" fmla="*/ 196046 h 1729012"/>
                <a:gd name="connsiteX10781" fmla="*/ 1772207 w 2240198"/>
                <a:gd name="connsiteY10781" fmla="*/ 197644 h 1729012"/>
                <a:gd name="connsiteX10782" fmla="*/ 1767430 w 2240198"/>
                <a:gd name="connsiteY10782" fmla="*/ 201397 h 1729012"/>
                <a:gd name="connsiteX10783" fmla="*/ 1765167 w 2240198"/>
                <a:gd name="connsiteY10783" fmla="*/ 202592 h 1729012"/>
                <a:gd name="connsiteX10784" fmla="*/ 1750544 w 2240198"/>
                <a:gd name="connsiteY10784" fmla="*/ 206076 h 1729012"/>
                <a:gd name="connsiteX10785" fmla="*/ 1744179 w 2240198"/>
                <a:gd name="connsiteY10785" fmla="*/ 206894 h 1729012"/>
                <a:gd name="connsiteX10786" fmla="*/ 1738575 w 2240198"/>
                <a:gd name="connsiteY10786" fmla="*/ 206460 h 1729012"/>
                <a:gd name="connsiteX10787" fmla="*/ 1712924 w 2240198"/>
                <a:gd name="connsiteY10787" fmla="*/ 198836 h 1729012"/>
                <a:gd name="connsiteX10788" fmla="*/ 1703874 w 2240198"/>
                <a:gd name="connsiteY10788" fmla="*/ 197730 h 1729012"/>
                <a:gd name="connsiteX10789" fmla="*/ 1695274 w 2240198"/>
                <a:gd name="connsiteY10789" fmla="*/ 195800 h 1729012"/>
                <a:gd name="connsiteX10790" fmla="*/ 1688929 w 2240198"/>
                <a:gd name="connsiteY10790" fmla="*/ 196130 h 1729012"/>
                <a:gd name="connsiteX10791" fmla="*/ 1682191 w 2240198"/>
                <a:gd name="connsiteY10791" fmla="*/ 198371 h 1729012"/>
                <a:gd name="connsiteX10792" fmla="*/ 1685221 w 2240198"/>
                <a:gd name="connsiteY10792" fmla="*/ 199498 h 1729012"/>
                <a:gd name="connsiteX10793" fmla="*/ 1697639 w 2240198"/>
                <a:gd name="connsiteY10793" fmla="*/ 201647 h 1729012"/>
                <a:gd name="connsiteX10794" fmla="*/ 1708007 w 2240198"/>
                <a:gd name="connsiteY10794" fmla="*/ 202062 h 1729012"/>
                <a:gd name="connsiteX10795" fmla="*/ 1712309 w 2240198"/>
                <a:gd name="connsiteY10795" fmla="*/ 202898 h 1729012"/>
                <a:gd name="connsiteX10796" fmla="*/ 1713996 w 2240198"/>
                <a:gd name="connsiteY10796" fmla="*/ 204292 h 1729012"/>
                <a:gd name="connsiteX10797" fmla="*/ 1718472 w 2240198"/>
                <a:gd name="connsiteY10797" fmla="*/ 209347 h 1729012"/>
                <a:gd name="connsiteX10798" fmla="*/ 1719189 w 2240198"/>
                <a:gd name="connsiteY10798" fmla="*/ 212061 h 1729012"/>
                <a:gd name="connsiteX10799" fmla="*/ 1718199 w 2240198"/>
                <a:gd name="connsiteY10799" fmla="*/ 214580 h 1729012"/>
                <a:gd name="connsiteX10800" fmla="*/ 1716845 w 2240198"/>
                <a:gd name="connsiteY10800" fmla="*/ 216345 h 1729012"/>
                <a:gd name="connsiteX10801" fmla="*/ 1715121 w 2240198"/>
                <a:gd name="connsiteY10801" fmla="*/ 217347 h 1729012"/>
                <a:gd name="connsiteX10802" fmla="*/ 1712470 w 2240198"/>
                <a:gd name="connsiteY10802" fmla="*/ 217852 h 1729012"/>
                <a:gd name="connsiteX10803" fmla="*/ 1702331 w 2240198"/>
                <a:gd name="connsiteY10803" fmla="*/ 217495 h 1729012"/>
                <a:gd name="connsiteX10804" fmla="*/ 1698542 w 2240198"/>
                <a:gd name="connsiteY10804" fmla="*/ 218115 h 1729012"/>
                <a:gd name="connsiteX10805" fmla="*/ 1694148 w 2240198"/>
                <a:gd name="connsiteY10805" fmla="*/ 219585 h 1729012"/>
                <a:gd name="connsiteX10806" fmla="*/ 1688637 w 2240198"/>
                <a:gd name="connsiteY10806" fmla="*/ 220222 h 1729012"/>
                <a:gd name="connsiteX10807" fmla="*/ 1678698 w 2240198"/>
                <a:gd name="connsiteY10807" fmla="*/ 219929 h 1729012"/>
                <a:gd name="connsiteX10808" fmla="*/ 1666996 w 2240198"/>
                <a:gd name="connsiteY10808" fmla="*/ 222073 h 1729012"/>
                <a:gd name="connsiteX10809" fmla="*/ 1660811 w 2240198"/>
                <a:gd name="connsiteY10809" fmla="*/ 222465 h 1729012"/>
                <a:gd name="connsiteX10810" fmla="*/ 1653954 w 2240198"/>
                <a:gd name="connsiteY10810" fmla="*/ 221498 h 1729012"/>
                <a:gd name="connsiteX10811" fmla="*/ 1646522 w 2240198"/>
                <a:gd name="connsiteY10811" fmla="*/ 219104 h 1729012"/>
                <a:gd name="connsiteX10812" fmla="*/ 1638683 w 2240198"/>
                <a:gd name="connsiteY10812" fmla="*/ 217893 h 1729012"/>
                <a:gd name="connsiteX10813" fmla="*/ 1625429 w 2240198"/>
                <a:gd name="connsiteY10813" fmla="*/ 216873 h 1729012"/>
                <a:gd name="connsiteX10814" fmla="*/ 1626537 w 2240198"/>
                <a:gd name="connsiteY10814" fmla="*/ 218246 h 1729012"/>
                <a:gd name="connsiteX10815" fmla="*/ 1631208 w 2240198"/>
                <a:gd name="connsiteY10815" fmla="*/ 218825 h 1729012"/>
                <a:gd name="connsiteX10816" fmla="*/ 1640721 w 2240198"/>
                <a:gd name="connsiteY10816" fmla="*/ 222496 h 1729012"/>
                <a:gd name="connsiteX10817" fmla="*/ 1645269 w 2240198"/>
                <a:gd name="connsiteY10817" fmla="*/ 227467 h 1729012"/>
                <a:gd name="connsiteX10818" fmla="*/ 1649550 w 2240198"/>
                <a:gd name="connsiteY10818" fmla="*/ 228307 h 1729012"/>
                <a:gd name="connsiteX10819" fmla="*/ 1658292 w 2240198"/>
                <a:gd name="connsiteY10819" fmla="*/ 232375 h 1729012"/>
                <a:gd name="connsiteX10820" fmla="*/ 1664607 w 2240198"/>
                <a:gd name="connsiteY10820" fmla="*/ 233010 h 1729012"/>
                <a:gd name="connsiteX10821" fmla="*/ 1671202 w 2240198"/>
                <a:gd name="connsiteY10821" fmla="*/ 234391 h 1729012"/>
                <a:gd name="connsiteX10822" fmla="*/ 1680492 w 2240198"/>
                <a:gd name="connsiteY10822" fmla="*/ 232612 h 1729012"/>
                <a:gd name="connsiteX10823" fmla="*/ 1686731 w 2240198"/>
                <a:gd name="connsiteY10823" fmla="*/ 232944 h 1729012"/>
                <a:gd name="connsiteX10824" fmla="*/ 1685434 w 2240198"/>
                <a:gd name="connsiteY10824" fmla="*/ 242923 h 1729012"/>
                <a:gd name="connsiteX10825" fmla="*/ 1682681 w 2240198"/>
                <a:gd name="connsiteY10825" fmla="*/ 243891 h 1729012"/>
                <a:gd name="connsiteX10826" fmla="*/ 1667663 w 2240198"/>
                <a:gd name="connsiteY10826" fmla="*/ 243891 h 1729012"/>
                <a:gd name="connsiteX10827" fmla="*/ 1660526 w 2240198"/>
                <a:gd name="connsiteY10827" fmla="*/ 242444 h 1729012"/>
                <a:gd name="connsiteX10828" fmla="*/ 1657374 w 2240198"/>
                <a:gd name="connsiteY10828" fmla="*/ 240950 h 1729012"/>
                <a:gd name="connsiteX10829" fmla="*/ 1650455 w 2240198"/>
                <a:gd name="connsiteY10829" fmla="*/ 239256 h 1729012"/>
                <a:gd name="connsiteX10830" fmla="*/ 1644223 w 2240198"/>
                <a:gd name="connsiteY10830" fmla="*/ 240238 h 1729012"/>
                <a:gd name="connsiteX10831" fmla="*/ 1638575 w 2240198"/>
                <a:gd name="connsiteY10831" fmla="*/ 240026 h 1729012"/>
                <a:gd name="connsiteX10832" fmla="*/ 1634743 w 2240198"/>
                <a:gd name="connsiteY10832" fmla="*/ 241019 h 1729012"/>
                <a:gd name="connsiteX10833" fmla="*/ 1628666 w 2240198"/>
                <a:gd name="connsiteY10833" fmla="*/ 240983 h 1729012"/>
                <a:gd name="connsiteX10834" fmla="*/ 1612770 w 2240198"/>
                <a:gd name="connsiteY10834" fmla="*/ 242668 h 1729012"/>
                <a:gd name="connsiteX10835" fmla="*/ 1604371 w 2240198"/>
                <a:gd name="connsiteY10835" fmla="*/ 242686 h 1729012"/>
                <a:gd name="connsiteX10836" fmla="*/ 1598171 w 2240198"/>
                <a:gd name="connsiteY10836" fmla="*/ 241600 h 1729012"/>
                <a:gd name="connsiteX10837" fmla="*/ 1590967 w 2240198"/>
                <a:gd name="connsiteY10837" fmla="*/ 241264 h 1729012"/>
                <a:gd name="connsiteX10838" fmla="*/ 1582758 w 2240198"/>
                <a:gd name="connsiteY10838" fmla="*/ 241669 h 1729012"/>
                <a:gd name="connsiteX10839" fmla="*/ 1583332 w 2240198"/>
                <a:gd name="connsiteY10839" fmla="*/ 242819 h 1729012"/>
                <a:gd name="connsiteX10840" fmla="*/ 1586812 w 2240198"/>
                <a:gd name="connsiteY10840" fmla="*/ 243168 h 1729012"/>
                <a:gd name="connsiteX10841" fmla="*/ 1591878 w 2240198"/>
                <a:gd name="connsiteY10841" fmla="*/ 245039 h 1729012"/>
                <a:gd name="connsiteX10842" fmla="*/ 1596573 w 2240198"/>
                <a:gd name="connsiteY10842" fmla="*/ 247920 h 1729012"/>
                <a:gd name="connsiteX10843" fmla="*/ 1600479 w 2240198"/>
                <a:gd name="connsiteY10843" fmla="*/ 249128 h 1729012"/>
                <a:gd name="connsiteX10844" fmla="*/ 1605158 w 2240198"/>
                <a:gd name="connsiteY10844" fmla="*/ 248445 h 1729012"/>
                <a:gd name="connsiteX10845" fmla="*/ 1609920 w 2240198"/>
                <a:gd name="connsiteY10845" fmla="*/ 247101 h 1729012"/>
                <a:gd name="connsiteX10846" fmla="*/ 1627305 w 2240198"/>
                <a:gd name="connsiteY10846" fmla="*/ 244885 h 1729012"/>
                <a:gd name="connsiteX10847" fmla="*/ 1634929 w 2240198"/>
                <a:gd name="connsiteY10847" fmla="*/ 244529 h 1729012"/>
                <a:gd name="connsiteX10848" fmla="*/ 1641731 w 2240198"/>
                <a:gd name="connsiteY10848" fmla="*/ 245506 h 1729012"/>
                <a:gd name="connsiteX10849" fmla="*/ 1646258 w 2240198"/>
                <a:gd name="connsiteY10849" fmla="*/ 246726 h 1729012"/>
                <a:gd name="connsiteX10850" fmla="*/ 1649419 w 2240198"/>
                <a:gd name="connsiteY10850" fmla="*/ 248194 h 1729012"/>
                <a:gd name="connsiteX10851" fmla="*/ 1653415 w 2240198"/>
                <a:gd name="connsiteY10851" fmla="*/ 252082 h 1729012"/>
                <a:gd name="connsiteX10852" fmla="*/ 1663437 w 2240198"/>
                <a:gd name="connsiteY10852" fmla="*/ 252556 h 1729012"/>
                <a:gd name="connsiteX10853" fmla="*/ 1671077 w 2240198"/>
                <a:gd name="connsiteY10853" fmla="*/ 253844 h 1729012"/>
                <a:gd name="connsiteX10854" fmla="*/ 1683251 w 2240198"/>
                <a:gd name="connsiteY10854" fmla="*/ 259471 h 1729012"/>
                <a:gd name="connsiteX10855" fmla="*/ 1686600 w 2240198"/>
                <a:gd name="connsiteY10855" fmla="*/ 259896 h 1729012"/>
                <a:gd name="connsiteX10856" fmla="*/ 1687950 w 2240198"/>
                <a:gd name="connsiteY10856" fmla="*/ 261347 h 1729012"/>
                <a:gd name="connsiteX10857" fmla="*/ 1685365 w 2240198"/>
                <a:gd name="connsiteY10857" fmla="*/ 264962 h 1729012"/>
                <a:gd name="connsiteX10858" fmla="*/ 1685073 w 2240198"/>
                <a:gd name="connsiteY10858" fmla="*/ 267132 h 1729012"/>
                <a:gd name="connsiteX10859" fmla="*/ 1676654 w 2240198"/>
                <a:gd name="connsiteY10859" fmla="*/ 271330 h 1729012"/>
                <a:gd name="connsiteX10860" fmla="*/ 1663519 w 2240198"/>
                <a:gd name="connsiteY10860" fmla="*/ 272549 h 1729012"/>
                <a:gd name="connsiteX10861" fmla="*/ 1649085 w 2240198"/>
                <a:gd name="connsiteY10861" fmla="*/ 272163 h 1729012"/>
                <a:gd name="connsiteX10862" fmla="*/ 1638749 w 2240198"/>
                <a:gd name="connsiteY10862" fmla="*/ 272646 h 1729012"/>
                <a:gd name="connsiteX10863" fmla="*/ 1637667 w 2240198"/>
                <a:gd name="connsiteY10863" fmla="*/ 273178 h 1729012"/>
                <a:gd name="connsiteX10864" fmla="*/ 1644758 w 2240198"/>
                <a:gd name="connsiteY10864" fmla="*/ 274278 h 1729012"/>
                <a:gd name="connsiteX10865" fmla="*/ 1661192 w 2240198"/>
                <a:gd name="connsiteY10865" fmla="*/ 279162 h 1729012"/>
                <a:gd name="connsiteX10866" fmla="*/ 1667561 w 2240198"/>
                <a:gd name="connsiteY10866" fmla="*/ 281805 h 1729012"/>
                <a:gd name="connsiteX10867" fmla="*/ 1668670 w 2240198"/>
                <a:gd name="connsiteY10867" fmla="*/ 283351 h 1729012"/>
                <a:gd name="connsiteX10868" fmla="*/ 1659612 w 2240198"/>
                <a:gd name="connsiteY10868" fmla="*/ 289230 h 1729012"/>
                <a:gd name="connsiteX10869" fmla="*/ 1651617 w 2240198"/>
                <a:gd name="connsiteY10869" fmla="*/ 300830 h 1729012"/>
                <a:gd name="connsiteX10870" fmla="*/ 1648989 w 2240198"/>
                <a:gd name="connsiteY10870" fmla="*/ 301744 h 1729012"/>
                <a:gd name="connsiteX10871" fmla="*/ 1646253 w 2240198"/>
                <a:gd name="connsiteY10871" fmla="*/ 302062 h 1729012"/>
                <a:gd name="connsiteX10872" fmla="*/ 1639203 w 2240198"/>
                <a:gd name="connsiteY10872" fmla="*/ 301859 h 1729012"/>
                <a:gd name="connsiteX10873" fmla="*/ 1630264 w 2240198"/>
                <a:gd name="connsiteY10873" fmla="*/ 304764 h 1729012"/>
                <a:gd name="connsiteX10874" fmla="*/ 1623522 w 2240198"/>
                <a:gd name="connsiteY10874" fmla="*/ 305345 h 1729012"/>
                <a:gd name="connsiteX10875" fmla="*/ 1611301 w 2240198"/>
                <a:gd name="connsiteY10875" fmla="*/ 304257 h 1729012"/>
                <a:gd name="connsiteX10876" fmla="*/ 1597187 w 2240198"/>
                <a:gd name="connsiteY10876" fmla="*/ 304318 h 1729012"/>
                <a:gd name="connsiteX10877" fmla="*/ 1596076 w 2240198"/>
                <a:gd name="connsiteY10877" fmla="*/ 306193 h 1729012"/>
                <a:gd name="connsiteX10878" fmla="*/ 1595373 w 2240198"/>
                <a:gd name="connsiteY10878" fmla="*/ 309774 h 1729012"/>
                <a:gd name="connsiteX10879" fmla="*/ 1595451 w 2240198"/>
                <a:gd name="connsiteY10879" fmla="*/ 315147 h 1729012"/>
                <a:gd name="connsiteX10880" fmla="*/ 1596311 w 2240198"/>
                <a:gd name="connsiteY10880" fmla="*/ 322305 h 1729012"/>
                <a:gd name="connsiteX10881" fmla="*/ 1595575 w 2240198"/>
                <a:gd name="connsiteY10881" fmla="*/ 327523 h 1729012"/>
                <a:gd name="connsiteX10882" fmla="*/ 1593247 w 2240198"/>
                <a:gd name="connsiteY10882" fmla="*/ 330813 h 1729012"/>
                <a:gd name="connsiteX10883" fmla="*/ 1590311 w 2240198"/>
                <a:gd name="connsiteY10883" fmla="*/ 333240 h 1729012"/>
                <a:gd name="connsiteX10884" fmla="*/ 1585001 w 2240198"/>
                <a:gd name="connsiteY10884" fmla="*/ 335594 h 1729012"/>
                <a:gd name="connsiteX10885" fmla="*/ 1579541 w 2240198"/>
                <a:gd name="connsiteY10885" fmla="*/ 337060 h 1729012"/>
                <a:gd name="connsiteX10886" fmla="*/ 1575458 w 2240198"/>
                <a:gd name="connsiteY10886" fmla="*/ 337577 h 1729012"/>
                <a:gd name="connsiteX10887" fmla="*/ 1568661 w 2240198"/>
                <a:gd name="connsiteY10887" fmla="*/ 337659 h 1729012"/>
                <a:gd name="connsiteX10888" fmla="*/ 1549167 w 2240198"/>
                <a:gd name="connsiteY10888" fmla="*/ 339349 h 1729012"/>
                <a:gd name="connsiteX10889" fmla="*/ 1539651 w 2240198"/>
                <a:gd name="connsiteY10889" fmla="*/ 339247 h 1729012"/>
                <a:gd name="connsiteX10890" fmla="*/ 1532263 w 2240198"/>
                <a:gd name="connsiteY10890" fmla="*/ 338530 h 1729012"/>
                <a:gd name="connsiteX10891" fmla="*/ 1524617 w 2240198"/>
                <a:gd name="connsiteY10891" fmla="*/ 336175 h 1729012"/>
                <a:gd name="connsiteX10892" fmla="*/ 1511882 w 2240198"/>
                <a:gd name="connsiteY10892" fmla="*/ 329516 h 1729012"/>
                <a:gd name="connsiteX10893" fmla="*/ 1508271 w 2240198"/>
                <a:gd name="connsiteY10893" fmla="*/ 328034 h 1729012"/>
                <a:gd name="connsiteX10894" fmla="*/ 1504725 w 2240198"/>
                <a:gd name="connsiteY10894" fmla="*/ 327178 h 1729012"/>
                <a:gd name="connsiteX10895" fmla="*/ 1504859 w 2240198"/>
                <a:gd name="connsiteY10895" fmla="*/ 328616 h 1729012"/>
                <a:gd name="connsiteX10896" fmla="*/ 1508669 w 2240198"/>
                <a:gd name="connsiteY10896" fmla="*/ 332340 h 1729012"/>
                <a:gd name="connsiteX10897" fmla="*/ 1511848 w 2240198"/>
                <a:gd name="connsiteY10897" fmla="*/ 334742 h 1729012"/>
                <a:gd name="connsiteX10898" fmla="*/ 1514395 w 2240198"/>
                <a:gd name="connsiteY10898" fmla="*/ 335820 h 1729012"/>
                <a:gd name="connsiteX10899" fmla="*/ 1513795 w 2240198"/>
                <a:gd name="connsiteY10899" fmla="*/ 336958 h 1729012"/>
                <a:gd name="connsiteX10900" fmla="*/ 1508177 w 2240198"/>
                <a:gd name="connsiteY10900" fmla="*/ 338743 h 1729012"/>
                <a:gd name="connsiteX10901" fmla="*/ 1501981 w 2240198"/>
                <a:gd name="connsiteY10901" fmla="*/ 339543 h 1729012"/>
                <a:gd name="connsiteX10902" fmla="*/ 1494641 w 2240198"/>
                <a:gd name="connsiteY10902" fmla="*/ 339512 h 1729012"/>
                <a:gd name="connsiteX10903" fmla="*/ 1494407 w 2240198"/>
                <a:gd name="connsiteY10903" fmla="*/ 340204 h 1729012"/>
                <a:gd name="connsiteX10904" fmla="*/ 1496897 w 2240198"/>
                <a:gd name="connsiteY10904" fmla="*/ 342125 h 1729012"/>
                <a:gd name="connsiteX10905" fmla="*/ 1500132 w 2240198"/>
                <a:gd name="connsiteY10905" fmla="*/ 343935 h 1729012"/>
                <a:gd name="connsiteX10906" fmla="*/ 1502260 w 2240198"/>
                <a:gd name="connsiteY10906" fmla="*/ 344477 h 1729012"/>
                <a:gd name="connsiteX10907" fmla="*/ 1507885 w 2240198"/>
                <a:gd name="connsiteY10907" fmla="*/ 343916 h 1729012"/>
                <a:gd name="connsiteX10908" fmla="*/ 1514402 w 2240198"/>
                <a:gd name="connsiteY10908" fmla="*/ 341631 h 1729012"/>
                <a:gd name="connsiteX10909" fmla="*/ 1518466 w 2240198"/>
                <a:gd name="connsiteY10909" fmla="*/ 340957 h 1729012"/>
                <a:gd name="connsiteX10910" fmla="*/ 1526554 w 2240198"/>
                <a:gd name="connsiteY10910" fmla="*/ 341501 h 1729012"/>
                <a:gd name="connsiteX10911" fmla="*/ 1529739 w 2240198"/>
                <a:gd name="connsiteY10911" fmla="*/ 342317 h 1729012"/>
                <a:gd name="connsiteX10912" fmla="*/ 1539841 w 2240198"/>
                <a:gd name="connsiteY10912" fmla="*/ 347320 h 1729012"/>
                <a:gd name="connsiteX10913" fmla="*/ 1541248 w 2240198"/>
                <a:gd name="connsiteY10913" fmla="*/ 347552 h 1729012"/>
                <a:gd name="connsiteX10914" fmla="*/ 1548728 w 2240198"/>
                <a:gd name="connsiteY10914" fmla="*/ 345034 h 1729012"/>
                <a:gd name="connsiteX10915" fmla="*/ 1559542 w 2240198"/>
                <a:gd name="connsiteY10915" fmla="*/ 344900 h 1729012"/>
                <a:gd name="connsiteX10916" fmla="*/ 1563507 w 2240198"/>
                <a:gd name="connsiteY10916" fmla="*/ 346919 h 1729012"/>
                <a:gd name="connsiteX10917" fmla="*/ 1565022 w 2240198"/>
                <a:gd name="connsiteY10917" fmla="*/ 350837 h 1729012"/>
                <a:gd name="connsiteX10918" fmla="*/ 1565206 w 2240198"/>
                <a:gd name="connsiteY10918" fmla="*/ 354006 h 1729012"/>
                <a:gd name="connsiteX10919" fmla="*/ 1564063 w 2240198"/>
                <a:gd name="connsiteY10919" fmla="*/ 356428 h 1729012"/>
                <a:gd name="connsiteX10920" fmla="*/ 1566553 w 2240198"/>
                <a:gd name="connsiteY10920" fmla="*/ 358788 h 1729012"/>
                <a:gd name="connsiteX10921" fmla="*/ 1572677 w 2240198"/>
                <a:gd name="connsiteY10921" fmla="*/ 361085 h 1729012"/>
                <a:gd name="connsiteX10922" fmla="*/ 1577429 w 2240198"/>
                <a:gd name="connsiteY10922" fmla="*/ 361578 h 1729012"/>
                <a:gd name="connsiteX10923" fmla="*/ 1580809 w 2240198"/>
                <a:gd name="connsiteY10923" fmla="*/ 360280 h 1729012"/>
                <a:gd name="connsiteX10924" fmla="*/ 1585945 w 2240198"/>
                <a:gd name="connsiteY10924" fmla="*/ 357128 h 1729012"/>
                <a:gd name="connsiteX10925" fmla="*/ 1588123 w 2240198"/>
                <a:gd name="connsiteY10925" fmla="*/ 356381 h 1729012"/>
                <a:gd name="connsiteX10926" fmla="*/ 1590182 w 2240198"/>
                <a:gd name="connsiteY10926" fmla="*/ 356554 h 1729012"/>
                <a:gd name="connsiteX10927" fmla="*/ 1593320 w 2240198"/>
                <a:gd name="connsiteY10927" fmla="*/ 358849 h 1729012"/>
                <a:gd name="connsiteX10928" fmla="*/ 1597538 w 2240198"/>
                <a:gd name="connsiteY10928" fmla="*/ 363259 h 1729012"/>
                <a:gd name="connsiteX10929" fmla="*/ 1597930 w 2240198"/>
                <a:gd name="connsiteY10929" fmla="*/ 368402 h 1729012"/>
                <a:gd name="connsiteX10930" fmla="*/ 1594497 w 2240198"/>
                <a:gd name="connsiteY10930" fmla="*/ 374271 h 1729012"/>
                <a:gd name="connsiteX10931" fmla="*/ 1590297 w 2240198"/>
                <a:gd name="connsiteY10931" fmla="*/ 378114 h 1729012"/>
                <a:gd name="connsiteX10932" fmla="*/ 1573816 w 2240198"/>
                <a:gd name="connsiteY10932" fmla="*/ 384436 h 1729012"/>
                <a:gd name="connsiteX10933" fmla="*/ 1568836 w 2240198"/>
                <a:gd name="connsiteY10933" fmla="*/ 386916 h 1729012"/>
                <a:gd name="connsiteX10934" fmla="*/ 1564901 w 2240198"/>
                <a:gd name="connsiteY10934" fmla="*/ 389496 h 1729012"/>
                <a:gd name="connsiteX10935" fmla="*/ 1559192 w 2240198"/>
                <a:gd name="connsiteY10935" fmla="*/ 391817 h 1729012"/>
                <a:gd name="connsiteX10936" fmla="*/ 1547971 w 2240198"/>
                <a:gd name="connsiteY10936" fmla="*/ 394918 h 1729012"/>
                <a:gd name="connsiteX10937" fmla="*/ 1542056 w 2240198"/>
                <a:gd name="connsiteY10937" fmla="*/ 395497 h 1729012"/>
                <a:gd name="connsiteX10938" fmla="*/ 1529290 w 2240198"/>
                <a:gd name="connsiteY10938" fmla="*/ 398826 h 1729012"/>
                <a:gd name="connsiteX10939" fmla="*/ 1526516 w 2240198"/>
                <a:gd name="connsiteY10939" fmla="*/ 398976 h 1729012"/>
                <a:gd name="connsiteX10940" fmla="*/ 1522378 w 2240198"/>
                <a:gd name="connsiteY10940" fmla="*/ 398436 h 1729012"/>
                <a:gd name="connsiteX10941" fmla="*/ 1521521 w 2240198"/>
                <a:gd name="connsiteY10941" fmla="*/ 396814 h 1729012"/>
                <a:gd name="connsiteX10942" fmla="*/ 1522574 w 2240198"/>
                <a:gd name="connsiteY10942" fmla="*/ 393929 h 1729012"/>
                <a:gd name="connsiteX10943" fmla="*/ 1523942 w 2240198"/>
                <a:gd name="connsiteY10943" fmla="*/ 391239 h 1729012"/>
                <a:gd name="connsiteX10944" fmla="*/ 1525625 w 2240198"/>
                <a:gd name="connsiteY10944" fmla="*/ 388743 h 1729012"/>
                <a:gd name="connsiteX10945" fmla="*/ 1525688 w 2240198"/>
                <a:gd name="connsiteY10945" fmla="*/ 386669 h 1729012"/>
                <a:gd name="connsiteX10946" fmla="*/ 1522084 w 2240198"/>
                <a:gd name="connsiteY10946" fmla="*/ 383441 h 1729012"/>
                <a:gd name="connsiteX10947" fmla="*/ 1519552 w 2240198"/>
                <a:gd name="connsiteY10947" fmla="*/ 381946 h 1729012"/>
                <a:gd name="connsiteX10948" fmla="*/ 1517108 w 2240198"/>
                <a:gd name="connsiteY10948" fmla="*/ 381196 h 1729012"/>
                <a:gd name="connsiteX10949" fmla="*/ 1512188 w 2240198"/>
                <a:gd name="connsiteY10949" fmla="*/ 381631 h 1729012"/>
                <a:gd name="connsiteX10950" fmla="*/ 1509407 w 2240198"/>
                <a:gd name="connsiteY10950" fmla="*/ 382517 h 1729012"/>
                <a:gd name="connsiteX10951" fmla="*/ 1506427 w 2240198"/>
                <a:gd name="connsiteY10951" fmla="*/ 382687 h 1729012"/>
                <a:gd name="connsiteX10952" fmla="*/ 1503247 w 2240198"/>
                <a:gd name="connsiteY10952" fmla="*/ 382132 h 1729012"/>
                <a:gd name="connsiteX10953" fmla="*/ 1500570 w 2240198"/>
                <a:gd name="connsiteY10953" fmla="*/ 380770 h 1729012"/>
                <a:gd name="connsiteX10954" fmla="*/ 1495214 w 2240198"/>
                <a:gd name="connsiteY10954" fmla="*/ 375045 h 1729012"/>
                <a:gd name="connsiteX10955" fmla="*/ 1493197 w 2240198"/>
                <a:gd name="connsiteY10955" fmla="*/ 374316 h 1729012"/>
                <a:gd name="connsiteX10956" fmla="*/ 1490555 w 2240198"/>
                <a:gd name="connsiteY10956" fmla="*/ 374496 h 1729012"/>
                <a:gd name="connsiteX10957" fmla="*/ 1488192 w 2240198"/>
                <a:gd name="connsiteY10957" fmla="*/ 373672 h 1729012"/>
                <a:gd name="connsiteX10958" fmla="*/ 1486105 w 2240198"/>
                <a:gd name="connsiteY10958" fmla="*/ 371848 h 1729012"/>
                <a:gd name="connsiteX10959" fmla="*/ 1482646 w 2240198"/>
                <a:gd name="connsiteY10959" fmla="*/ 370081 h 1729012"/>
                <a:gd name="connsiteX10960" fmla="*/ 1483570 w 2240198"/>
                <a:gd name="connsiteY10960" fmla="*/ 371429 h 1729012"/>
                <a:gd name="connsiteX10961" fmla="*/ 1487029 w 2240198"/>
                <a:gd name="connsiteY10961" fmla="*/ 374694 h 1729012"/>
                <a:gd name="connsiteX10962" fmla="*/ 1489438 w 2240198"/>
                <a:gd name="connsiteY10962" fmla="*/ 377931 h 1729012"/>
                <a:gd name="connsiteX10963" fmla="*/ 1490798 w 2240198"/>
                <a:gd name="connsiteY10963" fmla="*/ 381142 h 1729012"/>
                <a:gd name="connsiteX10964" fmla="*/ 1490168 w 2240198"/>
                <a:gd name="connsiteY10964" fmla="*/ 383665 h 1729012"/>
                <a:gd name="connsiteX10965" fmla="*/ 1460862 w 2240198"/>
                <a:gd name="connsiteY10965" fmla="*/ 385062 h 1729012"/>
                <a:gd name="connsiteX10966" fmla="*/ 1448266 w 2240198"/>
                <a:gd name="connsiteY10966" fmla="*/ 384332 h 1729012"/>
                <a:gd name="connsiteX10967" fmla="*/ 1445715 w 2240198"/>
                <a:gd name="connsiteY10967" fmla="*/ 382130 h 1729012"/>
                <a:gd name="connsiteX10968" fmla="*/ 1439693 w 2240198"/>
                <a:gd name="connsiteY10968" fmla="*/ 372617 h 1729012"/>
                <a:gd name="connsiteX10969" fmla="*/ 1438386 w 2240198"/>
                <a:gd name="connsiteY10969" fmla="*/ 389403 h 1729012"/>
                <a:gd name="connsiteX10970" fmla="*/ 1416430 w 2240198"/>
                <a:gd name="connsiteY10970" fmla="*/ 392127 h 1729012"/>
                <a:gd name="connsiteX10971" fmla="*/ 1411299 w 2240198"/>
                <a:gd name="connsiteY10971" fmla="*/ 391666 h 1729012"/>
                <a:gd name="connsiteX10972" fmla="*/ 1402755 w 2240198"/>
                <a:gd name="connsiteY10972" fmla="*/ 389798 h 1729012"/>
                <a:gd name="connsiteX10973" fmla="*/ 1391718 w 2240198"/>
                <a:gd name="connsiteY10973" fmla="*/ 385290 h 1729012"/>
                <a:gd name="connsiteX10974" fmla="*/ 1387145 w 2240198"/>
                <a:gd name="connsiteY10974" fmla="*/ 382296 h 1729012"/>
                <a:gd name="connsiteX10975" fmla="*/ 1385354 w 2240198"/>
                <a:gd name="connsiteY10975" fmla="*/ 379306 h 1729012"/>
                <a:gd name="connsiteX10976" fmla="*/ 1384020 w 2240198"/>
                <a:gd name="connsiteY10976" fmla="*/ 377671 h 1729012"/>
                <a:gd name="connsiteX10977" fmla="*/ 1383151 w 2240198"/>
                <a:gd name="connsiteY10977" fmla="*/ 377396 h 1729012"/>
                <a:gd name="connsiteX10978" fmla="*/ 1380407 w 2240198"/>
                <a:gd name="connsiteY10978" fmla="*/ 380998 h 1729012"/>
                <a:gd name="connsiteX10979" fmla="*/ 1377407 w 2240198"/>
                <a:gd name="connsiteY10979" fmla="*/ 388350 h 1729012"/>
                <a:gd name="connsiteX10980" fmla="*/ 1369865 w 2240198"/>
                <a:gd name="connsiteY10980" fmla="*/ 386455 h 1729012"/>
                <a:gd name="connsiteX10981" fmla="*/ 1360318 w 2240198"/>
                <a:gd name="connsiteY10981" fmla="*/ 384600 h 1729012"/>
                <a:gd name="connsiteX10982" fmla="*/ 1356880 w 2240198"/>
                <a:gd name="connsiteY10982" fmla="*/ 377344 h 1729012"/>
                <a:gd name="connsiteX10983" fmla="*/ 1356682 w 2240198"/>
                <a:gd name="connsiteY10983" fmla="*/ 387844 h 1729012"/>
                <a:gd name="connsiteX10984" fmla="*/ 1341297 w 2240198"/>
                <a:gd name="connsiteY10984" fmla="*/ 386455 h 1729012"/>
                <a:gd name="connsiteX10985" fmla="*/ 1333902 w 2240198"/>
                <a:gd name="connsiteY10985" fmla="*/ 386846 h 1729012"/>
                <a:gd name="connsiteX10986" fmla="*/ 1331730 w 2240198"/>
                <a:gd name="connsiteY10986" fmla="*/ 377648 h 1729012"/>
                <a:gd name="connsiteX10987" fmla="*/ 1331370 w 2240198"/>
                <a:gd name="connsiteY10987" fmla="*/ 367456 h 1729012"/>
                <a:gd name="connsiteX10988" fmla="*/ 1328371 w 2240198"/>
                <a:gd name="connsiteY10988" fmla="*/ 373910 h 1729012"/>
                <a:gd name="connsiteX10989" fmla="*/ 1329678 w 2240198"/>
                <a:gd name="connsiteY10989" fmla="*/ 379380 h 1729012"/>
                <a:gd name="connsiteX10990" fmla="*/ 1330103 w 2240198"/>
                <a:gd name="connsiteY10990" fmla="*/ 386026 h 1729012"/>
                <a:gd name="connsiteX10991" fmla="*/ 1323563 w 2240198"/>
                <a:gd name="connsiteY10991" fmla="*/ 384137 h 1729012"/>
                <a:gd name="connsiteX10992" fmla="*/ 1309214 w 2240198"/>
                <a:gd name="connsiteY10992" fmla="*/ 383211 h 1729012"/>
                <a:gd name="connsiteX10993" fmla="*/ 1304132 w 2240198"/>
                <a:gd name="connsiteY10993" fmla="*/ 382291 h 1729012"/>
                <a:gd name="connsiteX10994" fmla="*/ 1304784 w 2240198"/>
                <a:gd name="connsiteY10994" fmla="*/ 373445 h 1729012"/>
                <a:gd name="connsiteX10995" fmla="*/ 1305915 w 2240198"/>
                <a:gd name="connsiteY10995" fmla="*/ 364594 h 1729012"/>
                <a:gd name="connsiteX10996" fmla="*/ 1324395 w 2240198"/>
                <a:gd name="connsiteY10996" fmla="*/ 355735 h 1729012"/>
                <a:gd name="connsiteX10997" fmla="*/ 1329840 w 2240198"/>
                <a:gd name="connsiteY10997" fmla="*/ 351528 h 1729012"/>
                <a:gd name="connsiteX10998" fmla="*/ 1333847 w 2240198"/>
                <a:gd name="connsiteY10998" fmla="*/ 349831 h 1729012"/>
                <a:gd name="connsiteX10999" fmla="*/ 1340191 w 2240198"/>
                <a:gd name="connsiteY10999" fmla="*/ 348759 h 1729012"/>
                <a:gd name="connsiteX11000" fmla="*/ 1348293 w 2240198"/>
                <a:gd name="connsiteY11000" fmla="*/ 348093 h 1729012"/>
                <a:gd name="connsiteX11001" fmla="*/ 1353819 w 2240198"/>
                <a:gd name="connsiteY11001" fmla="*/ 348607 h 1729012"/>
                <a:gd name="connsiteX11002" fmla="*/ 1360127 w 2240198"/>
                <a:gd name="connsiteY11002" fmla="*/ 348105 h 1729012"/>
                <a:gd name="connsiteX11003" fmla="*/ 1367665 w 2240198"/>
                <a:gd name="connsiteY11003" fmla="*/ 346519 h 1729012"/>
                <a:gd name="connsiteX11004" fmla="*/ 1373047 w 2240198"/>
                <a:gd name="connsiteY11004" fmla="*/ 346062 h 1729012"/>
                <a:gd name="connsiteX11005" fmla="*/ 1374060 w 2240198"/>
                <a:gd name="connsiteY11005" fmla="*/ 345500 h 1729012"/>
                <a:gd name="connsiteX11006" fmla="*/ 1372499 w 2240198"/>
                <a:gd name="connsiteY11006" fmla="*/ 344675 h 1729012"/>
                <a:gd name="connsiteX11007" fmla="*/ 1366741 w 2240198"/>
                <a:gd name="connsiteY11007" fmla="*/ 338911 h 1729012"/>
                <a:gd name="connsiteX11008" fmla="*/ 1364674 w 2240198"/>
                <a:gd name="connsiteY11008" fmla="*/ 337598 h 1729012"/>
                <a:gd name="connsiteX11009" fmla="*/ 1362570 w 2240198"/>
                <a:gd name="connsiteY11009" fmla="*/ 337013 h 1729012"/>
                <a:gd name="connsiteX11010" fmla="*/ 1358404 w 2240198"/>
                <a:gd name="connsiteY11010" fmla="*/ 336755 h 1729012"/>
                <a:gd name="connsiteX11011" fmla="*/ 1354360 w 2240198"/>
                <a:gd name="connsiteY11011" fmla="*/ 334224 h 1729012"/>
                <a:gd name="connsiteX11012" fmla="*/ 1352020 w 2240198"/>
                <a:gd name="connsiteY11012" fmla="*/ 331985 h 1729012"/>
                <a:gd name="connsiteX11013" fmla="*/ 1349517 w 2240198"/>
                <a:gd name="connsiteY11013" fmla="*/ 328939 h 1729012"/>
                <a:gd name="connsiteX11014" fmla="*/ 1345516 w 2240198"/>
                <a:gd name="connsiteY11014" fmla="*/ 323154 h 1729012"/>
                <a:gd name="connsiteX11015" fmla="*/ 1341542 w 2240198"/>
                <a:gd name="connsiteY11015" fmla="*/ 316678 h 1729012"/>
                <a:gd name="connsiteX11016" fmla="*/ 1343512 w 2240198"/>
                <a:gd name="connsiteY11016" fmla="*/ 313116 h 1729012"/>
                <a:gd name="connsiteX11017" fmla="*/ 1350101 w 2240198"/>
                <a:gd name="connsiteY11017" fmla="*/ 310310 h 1729012"/>
                <a:gd name="connsiteX11018" fmla="*/ 1356702 w 2240198"/>
                <a:gd name="connsiteY11018" fmla="*/ 308364 h 1729012"/>
                <a:gd name="connsiteX11019" fmla="*/ 1363314 w 2240198"/>
                <a:gd name="connsiteY11019" fmla="*/ 307281 h 1729012"/>
                <a:gd name="connsiteX11020" fmla="*/ 1368843 w 2240198"/>
                <a:gd name="connsiteY11020" fmla="*/ 307257 h 1729012"/>
                <a:gd name="connsiteX11021" fmla="*/ 1375509 w 2240198"/>
                <a:gd name="connsiteY11021" fmla="*/ 308812 h 1729012"/>
                <a:gd name="connsiteX11022" fmla="*/ 1384891 w 2240198"/>
                <a:gd name="connsiteY11022" fmla="*/ 311816 h 1729012"/>
                <a:gd name="connsiteX11023" fmla="*/ 1390269 w 2240198"/>
                <a:gd name="connsiteY11023" fmla="*/ 315214 h 1729012"/>
                <a:gd name="connsiteX11024" fmla="*/ 1397023 w 2240198"/>
                <a:gd name="connsiteY11024" fmla="*/ 322390 h 1729012"/>
                <a:gd name="connsiteX11025" fmla="*/ 1401471 w 2240198"/>
                <a:gd name="connsiteY11025" fmla="*/ 328085 h 1729012"/>
                <a:gd name="connsiteX11026" fmla="*/ 1405090 w 2240198"/>
                <a:gd name="connsiteY11026" fmla="*/ 330650 h 1729012"/>
                <a:gd name="connsiteX11027" fmla="*/ 1421258 w 2240198"/>
                <a:gd name="connsiteY11027" fmla="*/ 335294 h 1729012"/>
                <a:gd name="connsiteX11028" fmla="*/ 1426638 w 2240198"/>
                <a:gd name="connsiteY11028" fmla="*/ 336043 h 1729012"/>
                <a:gd name="connsiteX11029" fmla="*/ 1433019 w 2240198"/>
                <a:gd name="connsiteY11029" fmla="*/ 335670 h 1729012"/>
                <a:gd name="connsiteX11030" fmla="*/ 1446038 w 2240198"/>
                <a:gd name="connsiteY11030" fmla="*/ 334456 h 1729012"/>
                <a:gd name="connsiteX11031" fmla="*/ 1452436 w 2240198"/>
                <a:gd name="connsiteY11031" fmla="*/ 333181 h 1729012"/>
                <a:gd name="connsiteX11032" fmla="*/ 1455306 w 2240198"/>
                <a:gd name="connsiteY11032" fmla="*/ 331669 h 1729012"/>
                <a:gd name="connsiteX11033" fmla="*/ 1456784 w 2240198"/>
                <a:gd name="connsiteY11033" fmla="*/ 329493 h 1729012"/>
                <a:gd name="connsiteX11034" fmla="*/ 1458621 w 2240198"/>
                <a:gd name="connsiteY11034" fmla="*/ 327815 h 1729012"/>
                <a:gd name="connsiteX11035" fmla="*/ 1464378 w 2240198"/>
                <a:gd name="connsiteY11035" fmla="*/ 323966 h 1729012"/>
                <a:gd name="connsiteX11036" fmla="*/ 1473191 w 2240198"/>
                <a:gd name="connsiteY11036" fmla="*/ 315944 h 1729012"/>
                <a:gd name="connsiteX11037" fmla="*/ 1478069 w 2240198"/>
                <a:gd name="connsiteY11037" fmla="*/ 309587 h 1729012"/>
                <a:gd name="connsiteX11038" fmla="*/ 1479227 w 2240198"/>
                <a:gd name="connsiteY11038" fmla="*/ 307444 h 1729012"/>
                <a:gd name="connsiteX11039" fmla="*/ 1480200 w 2240198"/>
                <a:gd name="connsiteY11039" fmla="*/ 304850 h 1729012"/>
                <a:gd name="connsiteX11040" fmla="*/ 1480986 w 2240198"/>
                <a:gd name="connsiteY11040" fmla="*/ 301797 h 1729012"/>
                <a:gd name="connsiteX11041" fmla="*/ 1478241 w 2240198"/>
                <a:gd name="connsiteY11041" fmla="*/ 303424 h 1729012"/>
                <a:gd name="connsiteX11042" fmla="*/ 1463022 w 2240198"/>
                <a:gd name="connsiteY11042" fmla="*/ 319147 h 1729012"/>
                <a:gd name="connsiteX11043" fmla="*/ 1459866 w 2240198"/>
                <a:gd name="connsiteY11043" fmla="*/ 321990 h 1729012"/>
                <a:gd name="connsiteX11044" fmla="*/ 1450962 w 2240198"/>
                <a:gd name="connsiteY11044" fmla="*/ 326789 h 1729012"/>
                <a:gd name="connsiteX11045" fmla="*/ 1447189 w 2240198"/>
                <a:gd name="connsiteY11045" fmla="*/ 327563 h 1729012"/>
                <a:gd name="connsiteX11046" fmla="*/ 1441113 w 2240198"/>
                <a:gd name="connsiteY11046" fmla="*/ 327325 h 1729012"/>
                <a:gd name="connsiteX11047" fmla="*/ 1433049 w 2240198"/>
                <a:gd name="connsiteY11047" fmla="*/ 325202 h 1729012"/>
                <a:gd name="connsiteX11048" fmla="*/ 1423548 w 2240198"/>
                <a:gd name="connsiteY11048" fmla="*/ 328578 h 1729012"/>
                <a:gd name="connsiteX11049" fmla="*/ 1417783 w 2240198"/>
                <a:gd name="connsiteY11049" fmla="*/ 327721 h 1729012"/>
                <a:gd name="connsiteX11050" fmla="*/ 1412674 w 2240198"/>
                <a:gd name="connsiteY11050" fmla="*/ 325360 h 1729012"/>
                <a:gd name="connsiteX11051" fmla="*/ 1412607 w 2240198"/>
                <a:gd name="connsiteY11051" fmla="*/ 314251 h 1729012"/>
                <a:gd name="connsiteX11052" fmla="*/ 1406128 w 2240198"/>
                <a:gd name="connsiteY11052" fmla="*/ 305321 h 1729012"/>
                <a:gd name="connsiteX11053" fmla="*/ 1413283 w 2240198"/>
                <a:gd name="connsiteY11053" fmla="*/ 300787 h 1729012"/>
                <a:gd name="connsiteX11054" fmla="*/ 1419213 w 2240198"/>
                <a:gd name="connsiteY11054" fmla="*/ 297971 h 1729012"/>
                <a:gd name="connsiteX11055" fmla="*/ 1429763 w 2240198"/>
                <a:gd name="connsiteY11055" fmla="*/ 290628 h 1729012"/>
                <a:gd name="connsiteX11056" fmla="*/ 1432077 w 2240198"/>
                <a:gd name="connsiteY11056" fmla="*/ 290552 h 1729012"/>
                <a:gd name="connsiteX11057" fmla="*/ 1439721 w 2240198"/>
                <a:gd name="connsiteY11057" fmla="*/ 291711 h 1729012"/>
                <a:gd name="connsiteX11058" fmla="*/ 1435526 w 2240198"/>
                <a:gd name="connsiteY11058" fmla="*/ 290043 h 1729012"/>
                <a:gd name="connsiteX11059" fmla="*/ 1431422 w 2240198"/>
                <a:gd name="connsiteY11059" fmla="*/ 287563 h 1729012"/>
                <a:gd name="connsiteX11060" fmla="*/ 1422285 w 2240198"/>
                <a:gd name="connsiteY11060" fmla="*/ 288206 h 1729012"/>
                <a:gd name="connsiteX11061" fmla="*/ 1425508 w 2240198"/>
                <a:gd name="connsiteY11061" fmla="*/ 272286 h 1729012"/>
                <a:gd name="connsiteX11062" fmla="*/ 1419395 w 2240198"/>
                <a:gd name="connsiteY11062" fmla="*/ 284197 h 1729012"/>
                <a:gd name="connsiteX11063" fmla="*/ 1413162 w 2240198"/>
                <a:gd name="connsiteY11063" fmla="*/ 290418 h 1729012"/>
                <a:gd name="connsiteX11064" fmla="*/ 1409388 w 2240198"/>
                <a:gd name="connsiteY11064" fmla="*/ 293557 h 1729012"/>
                <a:gd name="connsiteX11065" fmla="*/ 1405154 w 2240198"/>
                <a:gd name="connsiteY11065" fmla="*/ 295362 h 1729012"/>
                <a:gd name="connsiteX11066" fmla="*/ 1389133 w 2240198"/>
                <a:gd name="connsiteY11066" fmla="*/ 296918 h 1729012"/>
                <a:gd name="connsiteX11067" fmla="*/ 1393068 w 2240198"/>
                <a:gd name="connsiteY11067" fmla="*/ 291109 h 1729012"/>
                <a:gd name="connsiteX11068" fmla="*/ 1396682 w 2240198"/>
                <a:gd name="connsiteY11068" fmla="*/ 282515 h 1729012"/>
                <a:gd name="connsiteX11069" fmla="*/ 1392857 w 2240198"/>
                <a:gd name="connsiteY11069" fmla="*/ 285730 h 1729012"/>
                <a:gd name="connsiteX11070" fmla="*/ 1383826 w 2240198"/>
                <a:gd name="connsiteY11070" fmla="*/ 290556 h 1729012"/>
                <a:gd name="connsiteX11071" fmla="*/ 1377068 w 2240198"/>
                <a:gd name="connsiteY11071" fmla="*/ 293084 h 1729012"/>
                <a:gd name="connsiteX11072" fmla="*/ 1371499 w 2240198"/>
                <a:gd name="connsiteY11072" fmla="*/ 294415 h 1729012"/>
                <a:gd name="connsiteX11073" fmla="*/ 1360694 w 2240198"/>
                <a:gd name="connsiteY11073" fmla="*/ 294094 h 1729012"/>
                <a:gd name="connsiteX11074" fmla="*/ 1355309 w 2240198"/>
                <a:gd name="connsiteY11074" fmla="*/ 291679 h 1729012"/>
                <a:gd name="connsiteX11075" fmla="*/ 1356846 w 2240198"/>
                <a:gd name="connsiteY11075" fmla="*/ 285741 h 1729012"/>
                <a:gd name="connsiteX11076" fmla="*/ 1356841 w 2240198"/>
                <a:gd name="connsiteY11076" fmla="*/ 278406 h 1729012"/>
                <a:gd name="connsiteX11077" fmla="*/ 1360139 w 2240198"/>
                <a:gd name="connsiteY11077" fmla="*/ 274997 h 1729012"/>
                <a:gd name="connsiteX11078" fmla="*/ 1365133 w 2240198"/>
                <a:gd name="connsiteY11078" fmla="*/ 270619 h 1729012"/>
                <a:gd name="connsiteX11079" fmla="*/ 1370492 w 2240198"/>
                <a:gd name="connsiteY11079" fmla="*/ 264704 h 1729012"/>
                <a:gd name="connsiteX11080" fmla="*/ 1374170 w 2240198"/>
                <a:gd name="connsiteY11080" fmla="*/ 258541 h 1729012"/>
                <a:gd name="connsiteX11081" fmla="*/ 1388522 w 2240198"/>
                <a:gd name="connsiteY11081" fmla="*/ 255785 h 1729012"/>
                <a:gd name="connsiteX11082" fmla="*/ 1402490 w 2240198"/>
                <a:gd name="connsiteY11082" fmla="*/ 254661 h 1729012"/>
                <a:gd name="connsiteX11083" fmla="*/ 1414188 w 2240198"/>
                <a:gd name="connsiteY11083" fmla="*/ 251394 h 1729012"/>
                <a:gd name="connsiteX11084" fmla="*/ 1419916 w 2240198"/>
                <a:gd name="connsiteY11084" fmla="*/ 250820 h 1729012"/>
                <a:gd name="connsiteX11085" fmla="*/ 1425406 w 2240198"/>
                <a:gd name="connsiteY11085" fmla="*/ 252372 h 1729012"/>
                <a:gd name="connsiteX11086" fmla="*/ 1447703 w 2240198"/>
                <a:gd name="connsiteY11086" fmla="*/ 254916 h 1729012"/>
                <a:gd name="connsiteX11087" fmla="*/ 1456854 w 2240198"/>
                <a:gd name="connsiteY11087" fmla="*/ 256856 h 1729012"/>
                <a:gd name="connsiteX11088" fmla="*/ 1460868 w 2240198"/>
                <a:gd name="connsiteY11088" fmla="*/ 258262 h 1729012"/>
                <a:gd name="connsiteX11089" fmla="*/ 1463842 w 2240198"/>
                <a:gd name="connsiteY11089" fmla="*/ 258768 h 1729012"/>
                <a:gd name="connsiteX11090" fmla="*/ 1466986 w 2240198"/>
                <a:gd name="connsiteY11090" fmla="*/ 256668 h 1729012"/>
                <a:gd name="connsiteX11091" fmla="*/ 1470984 w 2240198"/>
                <a:gd name="connsiteY11091" fmla="*/ 254637 h 1729012"/>
                <a:gd name="connsiteX11092" fmla="*/ 1484879 w 2240198"/>
                <a:gd name="connsiteY11092" fmla="*/ 254845 h 1729012"/>
                <a:gd name="connsiteX11093" fmla="*/ 1488710 w 2240198"/>
                <a:gd name="connsiteY11093" fmla="*/ 254473 h 1729012"/>
                <a:gd name="connsiteX11094" fmla="*/ 1492250 w 2240198"/>
                <a:gd name="connsiteY11094" fmla="*/ 253518 h 1729012"/>
                <a:gd name="connsiteX11095" fmla="*/ 1496560 w 2240198"/>
                <a:gd name="connsiteY11095" fmla="*/ 251591 h 1729012"/>
                <a:gd name="connsiteX11096" fmla="*/ 1501639 w 2240198"/>
                <a:gd name="connsiteY11096" fmla="*/ 248681 h 1729012"/>
                <a:gd name="connsiteX11097" fmla="*/ 1502418 w 2240198"/>
                <a:gd name="connsiteY11097" fmla="*/ 247252 h 1729012"/>
                <a:gd name="connsiteX11098" fmla="*/ 1498893 w 2240198"/>
                <a:gd name="connsiteY11098" fmla="*/ 247305 h 1729012"/>
                <a:gd name="connsiteX11099" fmla="*/ 1495363 w 2240198"/>
                <a:gd name="connsiteY11099" fmla="*/ 248034 h 1729012"/>
                <a:gd name="connsiteX11100" fmla="*/ 1490061 w 2240198"/>
                <a:gd name="connsiteY11100" fmla="*/ 250156 h 1729012"/>
                <a:gd name="connsiteX11101" fmla="*/ 1484956 w 2240198"/>
                <a:gd name="connsiteY11101" fmla="*/ 251301 h 1729012"/>
                <a:gd name="connsiteX11102" fmla="*/ 1479749 w 2240198"/>
                <a:gd name="connsiteY11102" fmla="*/ 251085 h 1729012"/>
                <a:gd name="connsiteX11103" fmla="*/ 1469240 w 2240198"/>
                <a:gd name="connsiteY11103" fmla="*/ 249290 h 1729012"/>
                <a:gd name="connsiteX11104" fmla="*/ 1450982 w 2240198"/>
                <a:gd name="connsiteY11104" fmla="*/ 248967 h 1729012"/>
                <a:gd name="connsiteX11105" fmla="*/ 1441671 w 2240198"/>
                <a:gd name="connsiteY11105" fmla="*/ 248149 h 1729012"/>
                <a:gd name="connsiteX11106" fmla="*/ 1437353 w 2240198"/>
                <a:gd name="connsiteY11106" fmla="*/ 247280 h 1729012"/>
                <a:gd name="connsiteX11107" fmla="*/ 1434921 w 2240198"/>
                <a:gd name="connsiteY11107" fmla="*/ 246083 h 1729012"/>
                <a:gd name="connsiteX11108" fmla="*/ 1432795 w 2240198"/>
                <a:gd name="connsiteY11108" fmla="*/ 244283 h 1729012"/>
                <a:gd name="connsiteX11109" fmla="*/ 1430971 w 2240198"/>
                <a:gd name="connsiteY11109" fmla="*/ 241878 h 1729012"/>
                <a:gd name="connsiteX11110" fmla="*/ 1431922 w 2240198"/>
                <a:gd name="connsiteY11110" fmla="*/ 240187 h 1729012"/>
                <a:gd name="connsiteX11111" fmla="*/ 1435642 w 2240198"/>
                <a:gd name="connsiteY11111" fmla="*/ 239213 h 1729012"/>
                <a:gd name="connsiteX11112" fmla="*/ 1438861 w 2240198"/>
                <a:gd name="connsiteY11112" fmla="*/ 239009 h 1729012"/>
                <a:gd name="connsiteX11113" fmla="*/ 1444023 w 2240198"/>
                <a:gd name="connsiteY11113" fmla="*/ 240334 h 1729012"/>
                <a:gd name="connsiteX11114" fmla="*/ 1449815 w 2240198"/>
                <a:gd name="connsiteY11114" fmla="*/ 242579 h 1729012"/>
                <a:gd name="connsiteX11115" fmla="*/ 1456122 w 2240198"/>
                <a:gd name="connsiteY11115" fmla="*/ 242871 h 1729012"/>
                <a:gd name="connsiteX11116" fmla="*/ 1453938 w 2240198"/>
                <a:gd name="connsiteY11116" fmla="*/ 240820 h 1729012"/>
                <a:gd name="connsiteX11117" fmla="*/ 1445922 w 2240198"/>
                <a:gd name="connsiteY11117" fmla="*/ 236696 h 1729012"/>
                <a:gd name="connsiteX11118" fmla="*/ 1440363 w 2240198"/>
                <a:gd name="connsiteY11118" fmla="*/ 233192 h 1729012"/>
                <a:gd name="connsiteX11119" fmla="*/ 1435706 w 2240198"/>
                <a:gd name="connsiteY11119" fmla="*/ 228877 h 1729012"/>
                <a:gd name="connsiteX11120" fmla="*/ 1432122 w 2240198"/>
                <a:gd name="connsiteY11120" fmla="*/ 224600 h 1729012"/>
                <a:gd name="connsiteX11121" fmla="*/ 1424160 w 2240198"/>
                <a:gd name="connsiteY11121" fmla="*/ 217876 h 1729012"/>
                <a:gd name="connsiteX11122" fmla="*/ 1417735 w 2240198"/>
                <a:gd name="connsiteY11122" fmla="*/ 211170 h 1729012"/>
                <a:gd name="connsiteX11123" fmla="*/ 1413203 w 2240198"/>
                <a:gd name="connsiteY11123" fmla="*/ 208195 h 1729012"/>
                <a:gd name="connsiteX11124" fmla="*/ 1408426 w 2240198"/>
                <a:gd name="connsiteY11124" fmla="*/ 206720 h 1729012"/>
                <a:gd name="connsiteX11125" fmla="*/ 1393857 w 2240198"/>
                <a:gd name="connsiteY11125" fmla="*/ 204880 h 1729012"/>
                <a:gd name="connsiteX11126" fmla="*/ 1390937 w 2240198"/>
                <a:gd name="connsiteY11126" fmla="*/ 203680 h 1729012"/>
                <a:gd name="connsiteX11127" fmla="*/ 1383987 w 2240198"/>
                <a:gd name="connsiteY11127" fmla="*/ 197793 h 1729012"/>
                <a:gd name="connsiteX11128" fmla="*/ 1382121 w 2240198"/>
                <a:gd name="connsiteY11128" fmla="*/ 187808 h 1729012"/>
                <a:gd name="connsiteX11129" fmla="*/ 1379074 w 2240198"/>
                <a:gd name="connsiteY11129" fmla="*/ 181701 h 1729012"/>
                <a:gd name="connsiteX11130" fmla="*/ 1382015 w 2240198"/>
                <a:gd name="connsiteY11130" fmla="*/ 173866 h 1729012"/>
                <a:gd name="connsiteX11131" fmla="*/ 1386866 w 2240198"/>
                <a:gd name="connsiteY11131" fmla="*/ 170303 h 1729012"/>
                <a:gd name="connsiteX11132" fmla="*/ 1415964 w 2240198"/>
                <a:gd name="connsiteY11132" fmla="*/ 173078 h 1729012"/>
                <a:gd name="connsiteX11133" fmla="*/ 1428241 w 2240198"/>
                <a:gd name="connsiteY11133" fmla="*/ 172662 h 1729012"/>
                <a:gd name="connsiteX11134" fmla="*/ 1443934 w 2240198"/>
                <a:gd name="connsiteY11134" fmla="*/ 173649 h 1729012"/>
                <a:gd name="connsiteX11135" fmla="*/ 1452376 w 2240198"/>
                <a:gd name="connsiteY11135" fmla="*/ 175572 h 1729012"/>
                <a:gd name="connsiteX11136" fmla="*/ 1462009 w 2240198"/>
                <a:gd name="connsiteY11136" fmla="*/ 180340 h 1729012"/>
                <a:gd name="connsiteX11137" fmla="*/ 1470616 w 2240198"/>
                <a:gd name="connsiteY11137" fmla="*/ 185699 h 1729012"/>
                <a:gd name="connsiteX11138" fmla="*/ 1478902 w 2240198"/>
                <a:gd name="connsiteY11138" fmla="*/ 189276 h 1729012"/>
                <a:gd name="connsiteX11139" fmla="*/ 1486522 w 2240198"/>
                <a:gd name="connsiteY11139" fmla="*/ 194159 h 1729012"/>
                <a:gd name="connsiteX11140" fmla="*/ 1494844 w 2240198"/>
                <a:gd name="connsiteY11140" fmla="*/ 201386 h 1729012"/>
                <a:gd name="connsiteX11141" fmla="*/ 1499739 w 2240198"/>
                <a:gd name="connsiteY11141" fmla="*/ 204844 h 1729012"/>
                <a:gd name="connsiteX11142" fmla="*/ 1503982 w 2240198"/>
                <a:gd name="connsiteY11142" fmla="*/ 206952 h 1729012"/>
                <a:gd name="connsiteX11143" fmla="*/ 1509696 w 2240198"/>
                <a:gd name="connsiteY11143" fmla="*/ 208766 h 1729012"/>
                <a:gd name="connsiteX11144" fmla="*/ 1520472 w 2240198"/>
                <a:gd name="connsiteY11144" fmla="*/ 211052 h 1729012"/>
                <a:gd name="connsiteX11145" fmla="*/ 1529860 w 2240198"/>
                <a:gd name="connsiteY11145" fmla="*/ 211806 h 1729012"/>
                <a:gd name="connsiteX11146" fmla="*/ 1534725 w 2240198"/>
                <a:gd name="connsiteY11146" fmla="*/ 211508 h 1729012"/>
                <a:gd name="connsiteX11147" fmla="*/ 1539931 w 2240198"/>
                <a:gd name="connsiteY11147" fmla="*/ 209850 h 1729012"/>
                <a:gd name="connsiteX11148" fmla="*/ 1543638 w 2240198"/>
                <a:gd name="connsiteY11148" fmla="*/ 207888 h 1729012"/>
                <a:gd name="connsiteX11149" fmla="*/ 1539505 w 2240198"/>
                <a:gd name="connsiteY11149" fmla="*/ 207344 h 1729012"/>
                <a:gd name="connsiteX11150" fmla="*/ 1528689 w 2240198"/>
                <a:gd name="connsiteY11150" fmla="*/ 207574 h 1729012"/>
                <a:gd name="connsiteX11151" fmla="*/ 1521179 w 2240198"/>
                <a:gd name="connsiteY11151" fmla="*/ 206532 h 1729012"/>
                <a:gd name="connsiteX11152" fmla="*/ 1516897 w 2240198"/>
                <a:gd name="connsiteY11152" fmla="*/ 204219 h 1729012"/>
                <a:gd name="connsiteX11153" fmla="*/ 1512343 w 2240198"/>
                <a:gd name="connsiteY11153" fmla="*/ 201097 h 1729012"/>
                <a:gd name="connsiteX11154" fmla="*/ 1505102 w 2240198"/>
                <a:gd name="connsiteY11154" fmla="*/ 195198 h 1729012"/>
                <a:gd name="connsiteX11155" fmla="*/ 1499624 w 2240198"/>
                <a:gd name="connsiteY11155" fmla="*/ 191335 h 1729012"/>
                <a:gd name="connsiteX11156" fmla="*/ 1487653 w 2240198"/>
                <a:gd name="connsiteY11156" fmla="*/ 185018 h 1729012"/>
                <a:gd name="connsiteX11157" fmla="*/ 1478806 w 2240198"/>
                <a:gd name="connsiteY11157" fmla="*/ 178716 h 1729012"/>
                <a:gd name="connsiteX11158" fmla="*/ 1471710 w 2240198"/>
                <a:gd name="connsiteY11158" fmla="*/ 172721 h 1729012"/>
                <a:gd name="connsiteX11159" fmla="*/ 1471054 w 2240198"/>
                <a:gd name="connsiteY11159" fmla="*/ 170111 h 1729012"/>
                <a:gd name="connsiteX11160" fmla="*/ 1476181 w 2240198"/>
                <a:gd name="connsiteY11160" fmla="*/ 168293 h 1729012"/>
                <a:gd name="connsiteX11161" fmla="*/ 1482487 w 2240198"/>
                <a:gd name="connsiteY11161" fmla="*/ 167020 h 1729012"/>
                <a:gd name="connsiteX11162" fmla="*/ 1521953 w 2240198"/>
                <a:gd name="connsiteY11162" fmla="*/ 162939 h 1729012"/>
                <a:gd name="connsiteX11163" fmla="*/ 1545499 w 2240198"/>
                <a:gd name="connsiteY11163" fmla="*/ 158052 h 1729012"/>
                <a:gd name="connsiteX11164" fmla="*/ 1555051 w 2240198"/>
                <a:gd name="connsiteY11164" fmla="*/ 152366 h 1729012"/>
                <a:gd name="connsiteX11165" fmla="*/ 1556192 w 2240198"/>
                <a:gd name="connsiteY11165" fmla="*/ 151033 h 1729012"/>
                <a:gd name="connsiteX11166" fmla="*/ 1587714 w 2240198"/>
                <a:gd name="connsiteY11166" fmla="*/ 142971 h 1729012"/>
                <a:gd name="connsiteX11167" fmla="*/ 1610004 w 2240198"/>
                <a:gd name="connsiteY11167" fmla="*/ 139987 h 1729012"/>
                <a:gd name="connsiteX11168" fmla="*/ 1618573 w 2240198"/>
                <a:gd name="connsiteY11168" fmla="*/ 139504 h 1729012"/>
                <a:gd name="connsiteX11169" fmla="*/ 1626337 w 2240198"/>
                <a:gd name="connsiteY11169" fmla="*/ 138207 h 1729012"/>
                <a:gd name="connsiteX11170" fmla="*/ 1626658 w 2240198"/>
                <a:gd name="connsiteY11170" fmla="*/ 137413 h 1729012"/>
                <a:gd name="connsiteX11171" fmla="*/ 1619857 w 2240198"/>
                <a:gd name="connsiteY11171" fmla="*/ 136329 h 1729012"/>
                <a:gd name="connsiteX11172" fmla="*/ 1612988 w 2240198"/>
                <a:gd name="connsiteY11172" fmla="*/ 135796 h 1729012"/>
                <a:gd name="connsiteX11173" fmla="*/ 1597410 w 2240198"/>
                <a:gd name="connsiteY11173" fmla="*/ 135830 h 1729012"/>
                <a:gd name="connsiteX11174" fmla="*/ 1583535 w 2240198"/>
                <a:gd name="connsiteY11174" fmla="*/ 134844 h 1729012"/>
                <a:gd name="connsiteX11175" fmla="*/ 1579345 w 2240198"/>
                <a:gd name="connsiteY11175" fmla="*/ 133047 h 1729012"/>
                <a:gd name="connsiteX11176" fmla="*/ 1580216 w 2240198"/>
                <a:gd name="connsiteY11176" fmla="*/ 130107 h 1729012"/>
                <a:gd name="connsiteX11177" fmla="*/ 1581549 w 2240198"/>
                <a:gd name="connsiteY11177" fmla="*/ 127581 h 1729012"/>
                <a:gd name="connsiteX11178" fmla="*/ 1585742 w 2240198"/>
                <a:gd name="connsiteY11178" fmla="*/ 123349 h 1729012"/>
                <a:gd name="connsiteX11179" fmla="*/ 1590233 w 2240198"/>
                <a:gd name="connsiteY11179" fmla="*/ 120164 h 1729012"/>
                <a:gd name="connsiteX11180" fmla="*/ 1609271 w 2240198"/>
                <a:gd name="connsiteY11180" fmla="*/ 110957 h 1729012"/>
                <a:gd name="connsiteX11181" fmla="*/ 1622084 w 2240198"/>
                <a:gd name="connsiteY11181" fmla="*/ 107069 h 1729012"/>
                <a:gd name="connsiteX11182" fmla="*/ 1625776 w 2240198"/>
                <a:gd name="connsiteY11182" fmla="*/ 104381 h 1729012"/>
                <a:gd name="connsiteX11183" fmla="*/ 1598207 w 2240198"/>
                <a:gd name="connsiteY11183" fmla="*/ 110373 h 1729012"/>
                <a:gd name="connsiteX11184" fmla="*/ 1588578 w 2240198"/>
                <a:gd name="connsiteY11184" fmla="*/ 114690 h 1729012"/>
                <a:gd name="connsiteX11185" fmla="*/ 1578898 w 2240198"/>
                <a:gd name="connsiteY11185" fmla="*/ 121157 h 1729012"/>
                <a:gd name="connsiteX11186" fmla="*/ 1573886 w 2240198"/>
                <a:gd name="connsiteY11186" fmla="*/ 123057 h 1729012"/>
                <a:gd name="connsiteX11187" fmla="*/ 1570313 w 2240198"/>
                <a:gd name="connsiteY11187" fmla="*/ 122555 h 1729012"/>
                <a:gd name="connsiteX11188" fmla="*/ 1567121 w 2240198"/>
                <a:gd name="connsiteY11188" fmla="*/ 123157 h 1729012"/>
                <a:gd name="connsiteX11189" fmla="*/ 1564311 w 2240198"/>
                <a:gd name="connsiteY11189" fmla="*/ 124859 h 1729012"/>
                <a:gd name="connsiteX11190" fmla="*/ 1561953 w 2240198"/>
                <a:gd name="connsiteY11190" fmla="*/ 127974 h 1729012"/>
                <a:gd name="connsiteX11191" fmla="*/ 1560048 w 2240198"/>
                <a:gd name="connsiteY11191" fmla="*/ 132493 h 1729012"/>
                <a:gd name="connsiteX11192" fmla="*/ 1558320 w 2240198"/>
                <a:gd name="connsiteY11192" fmla="*/ 135563 h 1729012"/>
                <a:gd name="connsiteX11193" fmla="*/ 1556768 w 2240198"/>
                <a:gd name="connsiteY11193" fmla="*/ 137198 h 1729012"/>
                <a:gd name="connsiteX11194" fmla="*/ 1552846 w 2240198"/>
                <a:gd name="connsiteY11194" fmla="*/ 139562 h 1729012"/>
                <a:gd name="connsiteX11195" fmla="*/ 1543407 w 2240198"/>
                <a:gd name="connsiteY11195" fmla="*/ 144182 h 1729012"/>
                <a:gd name="connsiteX11196" fmla="*/ 1521259 w 2240198"/>
                <a:gd name="connsiteY11196" fmla="*/ 150619 h 1729012"/>
                <a:gd name="connsiteX11197" fmla="*/ 1513806 w 2240198"/>
                <a:gd name="connsiteY11197" fmla="*/ 152250 h 1729012"/>
                <a:gd name="connsiteX11198" fmla="*/ 1507423 w 2240198"/>
                <a:gd name="connsiteY11198" fmla="*/ 152509 h 1729012"/>
                <a:gd name="connsiteX11199" fmla="*/ 1486744 w 2240198"/>
                <a:gd name="connsiteY11199" fmla="*/ 156127 h 1729012"/>
                <a:gd name="connsiteX11200" fmla="*/ 1480536 w 2240198"/>
                <a:gd name="connsiteY11200" fmla="*/ 156270 h 1729012"/>
                <a:gd name="connsiteX11201" fmla="*/ 1473658 w 2240198"/>
                <a:gd name="connsiteY11201" fmla="*/ 155173 h 1729012"/>
                <a:gd name="connsiteX11202" fmla="*/ 1476599 w 2240198"/>
                <a:gd name="connsiteY11202" fmla="*/ 152046 h 1729012"/>
                <a:gd name="connsiteX11203" fmla="*/ 1487541 w 2240198"/>
                <a:gd name="connsiteY11203" fmla="*/ 146265 h 1729012"/>
                <a:gd name="connsiteX11204" fmla="*/ 1490443 w 2240198"/>
                <a:gd name="connsiteY11204" fmla="*/ 143684 h 1729012"/>
                <a:gd name="connsiteX11205" fmla="*/ 1483443 w 2240198"/>
                <a:gd name="connsiteY11205" fmla="*/ 144247 h 1729012"/>
                <a:gd name="connsiteX11206" fmla="*/ 1476304 w 2240198"/>
                <a:gd name="connsiteY11206" fmla="*/ 145830 h 1729012"/>
                <a:gd name="connsiteX11207" fmla="*/ 1460546 w 2240198"/>
                <a:gd name="connsiteY11207" fmla="*/ 147133 h 1729012"/>
                <a:gd name="connsiteX11208" fmla="*/ 1454316 w 2240198"/>
                <a:gd name="connsiteY11208" fmla="*/ 149488 h 1729012"/>
                <a:gd name="connsiteX11209" fmla="*/ 1448275 w 2240198"/>
                <a:gd name="connsiteY11209" fmla="*/ 153748 h 1729012"/>
                <a:gd name="connsiteX11210" fmla="*/ 1443434 w 2240198"/>
                <a:gd name="connsiteY11210" fmla="*/ 156425 h 1729012"/>
                <a:gd name="connsiteX11211" fmla="*/ 1439795 w 2240198"/>
                <a:gd name="connsiteY11211" fmla="*/ 157509 h 1729012"/>
                <a:gd name="connsiteX11212" fmla="*/ 1434774 w 2240198"/>
                <a:gd name="connsiteY11212" fmla="*/ 158158 h 1729012"/>
                <a:gd name="connsiteX11213" fmla="*/ 1416314 w 2240198"/>
                <a:gd name="connsiteY11213" fmla="*/ 158488 h 1729012"/>
                <a:gd name="connsiteX11214" fmla="*/ 1412217 w 2240198"/>
                <a:gd name="connsiteY11214" fmla="*/ 158204 h 1729012"/>
                <a:gd name="connsiteX11215" fmla="*/ 1401597 w 2240198"/>
                <a:gd name="connsiteY11215" fmla="*/ 154961 h 1729012"/>
                <a:gd name="connsiteX11216" fmla="*/ 1392192 w 2240198"/>
                <a:gd name="connsiteY11216" fmla="*/ 156080 h 1729012"/>
                <a:gd name="connsiteX11217" fmla="*/ 1388308 w 2240198"/>
                <a:gd name="connsiteY11217" fmla="*/ 155866 h 1729012"/>
                <a:gd name="connsiteX11218" fmla="*/ 1381176 w 2240198"/>
                <a:gd name="connsiteY11218" fmla="*/ 153573 h 1729012"/>
                <a:gd name="connsiteX11219" fmla="*/ 1379050 w 2240198"/>
                <a:gd name="connsiteY11219" fmla="*/ 152084 h 1729012"/>
                <a:gd name="connsiteX11220" fmla="*/ 1379363 w 2240198"/>
                <a:gd name="connsiteY11220" fmla="*/ 150080 h 1729012"/>
                <a:gd name="connsiteX11221" fmla="*/ 1383487 w 2240198"/>
                <a:gd name="connsiteY11221" fmla="*/ 146303 h 1729012"/>
                <a:gd name="connsiteX11222" fmla="*/ 1388263 w 2240198"/>
                <a:gd name="connsiteY11222" fmla="*/ 142665 h 1729012"/>
                <a:gd name="connsiteX11223" fmla="*/ 1403801 w 2240198"/>
                <a:gd name="connsiteY11223" fmla="*/ 134656 h 1729012"/>
                <a:gd name="connsiteX11224" fmla="*/ 1413767 w 2240198"/>
                <a:gd name="connsiteY11224" fmla="*/ 130892 h 1729012"/>
                <a:gd name="connsiteX11225" fmla="*/ 1428128 w 2240198"/>
                <a:gd name="connsiteY11225" fmla="*/ 127645 h 1729012"/>
                <a:gd name="connsiteX11226" fmla="*/ 1461870 w 2240198"/>
                <a:gd name="connsiteY11226" fmla="*/ 124009 h 1729012"/>
                <a:gd name="connsiteX11227" fmla="*/ 1463402 w 2240198"/>
                <a:gd name="connsiteY11227" fmla="*/ 121340 h 1729012"/>
                <a:gd name="connsiteX11228" fmla="*/ 1429256 w 2240198"/>
                <a:gd name="connsiteY11228" fmla="*/ 124321 h 1729012"/>
                <a:gd name="connsiteX11229" fmla="*/ 1400212 w 2240198"/>
                <a:gd name="connsiteY11229" fmla="*/ 128082 h 1729012"/>
                <a:gd name="connsiteX11230" fmla="*/ 1395498 w 2240198"/>
                <a:gd name="connsiteY11230" fmla="*/ 129461 h 1729012"/>
                <a:gd name="connsiteX11231" fmla="*/ 1388736 w 2240198"/>
                <a:gd name="connsiteY11231" fmla="*/ 133141 h 1729012"/>
                <a:gd name="connsiteX11232" fmla="*/ 1367263 w 2240198"/>
                <a:gd name="connsiteY11232" fmla="*/ 146406 h 1729012"/>
                <a:gd name="connsiteX11233" fmla="*/ 1360934 w 2240198"/>
                <a:gd name="connsiteY11233" fmla="*/ 149741 h 1729012"/>
                <a:gd name="connsiteX11234" fmla="*/ 1351254 w 2240198"/>
                <a:gd name="connsiteY11234" fmla="*/ 150538 h 1729012"/>
                <a:gd name="connsiteX11235" fmla="*/ 1343850 w 2240198"/>
                <a:gd name="connsiteY11235" fmla="*/ 149410 h 1729012"/>
                <a:gd name="connsiteX11236" fmla="*/ 1338061 w 2240198"/>
                <a:gd name="connsiteY11236" fmla="*/ 147733 h 1729012"/>
                <a:gd name="connsiteX11237" fmla="*/ 1328092 w 2240198"/>
                <a:gd name="connsiteY11237" fmla="*/ 143817 h 1729012"/>
                <a:gd name="connsiteX11238" fmla="*/ 1320578 w 2240198"/>
                <a:gd name="connsiteY11238" fmla="*/ 141714 h 1729012"/>
                <a:gd name="connsiteX11239" fmla="*/ 1317023 w 2240198"/>
                <a:gd name="connsiteY11239" fmla="*/ 140297 h 1729012"/>
                <a:gd name="connsiteX11240" fmla="*/ 1314920 w 2240198"/>
                <a:gd name="connsiteY11240" fmla="*/ 138867 h 1729012"/>
                <a:gd name="connsiteX11241" fmla="*/ 1313216 w 2240198"/>
                <a:gd name="connsiteY11241" fmla="*/ 137189 h 1729012"/>
                <a:gd name="connsiteX11242" fmla="*/ 1311910 w 2240198"/>
                <a:gd name="connsiteY11242" fmla="*/ 135267 h 1729012"/>
                <a:gd name="connsiteX11243" fmla="*/ 1314355 w 2240198"/>
                <a:gd name="connsiteY11243" fmla="*/ 133663 h 1729012"/>
                <a:gd name="connsiteX11244" fmla="*/ 1333468 w 2240198"/>
                <a:gd name="connsiteY11244" fmla="*/ 130185 h 1729012"/>
                <a:gd name="connsiteX11245" fmla="*/ 1359444 w 2240198"/>
                <a:gd name="connsiteY11245" fmla="*/ 130863 h 1729012"/>
                <a:gd name="connsiteX11246" fmla="*/ 1371099 w 2240198"/>
                <a:gd name="connsiteY11246" fmla="*/ 130145 h 1729012"/>
                <a:gd name="connsiteX11247" fmla="*/ 1382566 w 2240198"/>
                <a:gd name="connsiteY11247" fmla="*/ 128040 h 1729012"/>
                <a:gd name="connsiteX11248" fmla="*/ 1399484 w 2240198"/>
                <a:gd name="connsiteY11248" fmla="*/ 122798 h 1729012"/>
                <a:gd name="connsiteX11249" fmla="*/ 1417900 w 2240198"/>
                <a:gd name="connsiteY11249" fmla="*/ 115415 h 1729012"/>
                <a:gd name="connsiteX11250" fmla="*/ 1421503 w 2240198"/>
                <a:gd name="connsiteY11250" fmla="*/ 113052 h 1729012"/>
                <a:gd name="connsiteX11251" fmla="*/ 1414781 w 2240198"/>
                <a:gd name="connsiteY11251" fmla="*/ 112532 h 1729012"/>
                <a:gd name="connsiteX11252" fmla="*/ 1409806 w 2240198"/>
                <a:gd name="connsiteY11252" fmla="*/ 113108 h 1729012"/>
                <a:gd name="connsiteX11253" fmla="*/ 1397824 w 2240198"/>
                <a:gd name="connsiteY11253" fmla="*/ 115755 h 1729012"/>
                <a:gd name="connsiteX11254" fmla="*/ 1378865 w 2240198"/>
                <a:gd name="connsiteY11254" fmla="*/ 122853 h 1729012"/>
                <a:gd name="connsiteX11255" fmla="*/ 1362323 w 2240198"/>
                <a:gd name="connsiteY11255" fmla="*/ 125353 h 1729012"/>
                <a:gd name="connsiteX11256" fmla="*/ 1321456 w 2240198"/>
                <a:gd name="connsiteY11256" fmla="*/ 126684 h 1729012"/>
                <a:gd name="connsiteX11257" fmla="*/ 1308485 w 2240198"/>
                <a:gd name="connsiteY11257" fmla="*/ 128661 h 1729012"/>
                <a:gd name="connsiteX11258" fmla="*/ 1302788 w 2240198"/>
                <a:gd name="connsiteY11258" fmla="*/ 128237 h 1729012"/>
                <a:gd name="connsiteX11259" fmla="*/ 1298497 w 2240198"/>
                <a:gd name="connsiteY11259" fmla="*/ 126305 h 1729012"/>
                <a:gd name="connsiteX11260" fmla="*/ 1293713 w 2240198"/>
                <a:gd name="connsiteY11260" fmla="*/ 122730 h 1729012"/>
                <a:gd name="connsiteX11261" fmla="*/ 1294566 w 2240198"/>
                <a:gd name="connsiteY11261" fmla="*/ 119862 h 1729012"/>
                <a:gd name="connsiteX11262" fmla="*/ 1304301 w 2240198"/>
                <a:gd name="connsiteY11262" fmla="*/ 116639 h 1729012"/>
                <a:gd name="connsiteX11263" fmla="*/ 1311929 w 2240198"/>
                <a:gd name="connsiteY11263" fmla="*/ 115883 h 1729012"/>
                <a:gd name="connsiteX11264" fmla="*/ 1313294 w 2240198"/>
                <a:gd name="connsiteY11264" fmla="*/ 115221 h 1729012"/>
                <a:gd name="connsiteX11265" fmla="*/ 1302468 w 2240198"/>
                <a:gd name="connsiteY11265" fmla="*/ 112102 h 1729012"/>
                <a:gd name="connsiteX11266" fmla="*/ 1301505 w 2240198"/>
                <a:gd name="connsiteY11266" fmla="*/ 110505 h 1729012"/>
                <a:gd name="connsiteX11267" fmla="*/ 1307759 w 2240198"/>
                <a:gd name="connsiteY11267" fmla="*/ 106964 h 1729012"/>
                <a:gd name="connsiteX11268" fmla="*/ 1321318 w 2240198"/>
                <a:gd name="connsiteY11268" fmla="*/ 101735 h 1729012"/>
                <a:gd name="connsiteX11269" fmla="*/ 1328173 w 2240198"/>
                <a:gd name="connsiteY11269" fmla="*/ 100085 h 1729012"/>
                <a:gd name="connsiteX11270" fmla="*/ 1340735 w 2240198"/>
                <a:gd name="connsiteY11270" fmla="*/ 99034 h 1729012"/>
                <a:gd name="connsiteX11271" fmla="*/ 1353662 w 2240198"/>
                <a:gd name="connsiteY11271" fmla="*/ 99608 h 1729012"/>
                <a:gd name="connsiteX11272" fmla="*/ 1354161 w 2240198"/>
                <a:gd name="connsiteY11272" fmla="*/ 98609 h 1729012"/>
                <a:gd name="connsiteX11273" fmla="*/ 1341373 w 2240198"/>
                <a:gd name="connsiteY11273" fmla="*/ 96623 h 1729012"/>
                <a:gd name="connsiteX11274" fmla="*/ 1331796 w 2240198"/>
                <a:gd name="connsiteY11274" fmla="*/ 96259 h 1729012"/>
                <a:gd name="connsiteX11275" fmla="*/ 1319135 w 2240198"/>
                <a:gd name="connsiteY11275" fmla="*/ 97660 h 1729012"/>
                <a:gd name="connsiteX11276" fmla="*/ 1285534 w 2240198"/>
                <a:gd name="connsiteY11276" fmla="*/ 106139 h 1729012"/>
                <a:gd name="connsiteX11277" fmla="*/ 1282674 w 2240198"/>
                <a:gd name="connsiteY11277" fmla="*/ 105884 h 1729012"/>
                <a:gd name="connsiteX11278" fmla="*/ 1277787 w 2240198"/>
                <a:gd name="connsiteY11278" fmla="*/ 104426 h 1729012"/>
                <a:gd name="connsiteX11279" fmla="*/ 1279188 w 2240198"/>
                <a:gd name="connsiteY11279" fmla="*/ 102333 h 1729012"/>
                <a:gd name="connsiteX11280" fmla="*/ 1297155 w 2240198"/>
                <a:gd name="connsiteY11280" fmla="*/ 93410 h 1729012"/>
                <a:gd name="connsiteX11281" fmla="*/ 1297751 w 2240198"/>
                <a:gd name="connsiteY11281" fmla="*/ 92001 h 1729012"/>
                <a:gd name="connsiteX11282" fmla="*/ 1284841 w 2240198"/>
                <a:gd name="connsiteY11282" fmla="*/ 92203 h 1729012"/>
                <a:gd name="connsiteX11283" fmla="*/ 1281049 w 2240198"/>
                <a:gd name="connsiteY11283" fmla="*/ 91779 h 1729012"/>
                <a:gd name="connsiteX11284" fmla="*/ 1277349 w 2240198"/>
                <a:gd name="connsiteY11284" fmla="*/ 90718 h 1729012"/>
                <a:gd name="connsiteX11285" fmla="*/ 1272089 w 2240198"/>
                <a:gd name="connsiteY11285" fmla="*/ 91661 h 1729012"/>
                <a:gd name="connsiteX11286" fmla="*/ 1265268 w 2240198"/>
                <a:gd name="connsiteY11286" fmla="*/ 94602 h 1729012"/>
                <a:gd name="connsiteX11287" fmla="*/ 1260460 w 2240198"/>
                <a:gd name="connsiteY11287" fmla="*/ 95860 h 1729012"/>
                <a:gd name="connsiteX11288" fmla="*/ 1257660 w 2240198"/>
                <a:gd name="connsiteY11288" fmla="*/ 95437 h 1729012"/>
                <a:gd name="connsiteX11289" fmla="*/ 1250527 w 2240198"/>
                <a:gd name="connsiteY11289" fmla="*/ 91951 h 1729012"/>
                <a:gd name="connsiteX11290" fmla="*/ 1251454 w 2240198"/>
                <a:gd name="connsiteY11290" fmla="*/ 89027 h 1729012"/>
                <a:gd name="connsiteX11291" fmla="*/ 1257127 w 2240198"/>
                <a:gd name="connsiteY11291" fmla="*/ 85352 h 1729012"/>
                <a:gd name="connsiteX11292" fmla="*/ 1262309 w 2240198"/>
                <a:gd name="connsiteY11292" fmla="*/ 82700 h 1729012"/>
                <a:gd name="connsiteX11293" fmla="*/ 1269346 w 2240198"/>
                <a:gd name="connsiteY11293" fmla="*/ 80278 h 1729012"/>
                <a:gd name="connsiteX11294" fmla="*/ 1280801 w 2240198"/>
                <a:gd name="connsiteY11294" fmla="*/ 77235 h 1729012"/>
                <a:gd name="connsiteX11295" fmla="*/ 1289096 w 2240198"/>
                <a:gd name="connsiteY11295" fmla="*/ 76208 h 1729012"/>
                <a:gd name="connsiteX11296" fmla="*/ 1302526 w 2240198"/>
                <a:gd name="connsiteY11296" fmla="*/ 76178 h 1729012"/>
                <a:gd name="connsiteX11297" fmla="*/ 1308925 w 2240198"/>
                <a:gd name="connsiteY11297" fmla="*/ 74818 h 1729012"/>
                <a:gd name="connsiteX11298" fmla="*/ 1314622 w 2240198"/>
                <a:gd name="connsiteY11298" fmla="*/ 72449 h 1729012"/>
                <a:gd name="connsiteX11299" fmla="*/ 1321750 w 2240198"/>
                <a:gd name="connsiteY11299" fmla="*/ 68608 h 1729012"/>
                <a:gd name="connsiteX11300" fmla="*/ 1329569 w 2240198"/>
                <a:gd name="connsiteY11300" fmla="*/ 65962 h 1729012"/>
                <a:gd name="connsiteX11301" fmla="*/ 1342340 w 2240198"/>
                <a:gd name="connsiteY11301" fmla="*/ 63784 h 1729012"/>
                <a:gd name="connsiteX11302" fmla="*/ 1353099 w 2240198"/>
                <a:gd name="connsiteY11302" fmla="*/ 64487 h 1729012"/>
                <a:gd name="connsiteX11303" fmla="*/ 1359045 w 2240198"/>
                <a:gd name="connsiteY11303" fmla="*/ 66385 h 1729012"/>
                <a:gd name="connsiteX11304" fmla="*/ 1363767 w 2240198"/>
                <a:gd name="connsiteY11304" fmla="*/ 69708 h 1729012"/>
                <a:gd name="connsiteX11305" fmla="*/ 1368838 w 2240198"/>
                <a:gd name="connsiteY11305" fmla="*/ 72246 h 1729012"/>
                <a:gd name="connsiteX11306" fmla="*/ 1369319 w 2240198"/>
                <a:gd name="connsiteY11306" fmla="*/ 70197 h 1729012"/>
                <a:gd name="connsiteX11307" fmla="*/ 1373507 w 2240198"/>
                <a:gd name="connsiteY11307" fmla="*/ 67667 h 1729012"/>
                <a:gd name="connsiteX11308" fmla="*/ 1378761 w 2240198"/>
                <a:gd name="connsiteY11308" fmla="*/ 66580 h 1729012"/>
                <a:gd name="connsiteX11309" fmla="*/ 1385082 w 2240198"/>
                <a:gd name="connsiteY11309" fmla="*/ 66943 h 1729012"/>
                <a:gd name="connsiteX11310" fmla="*/ 1390640 w 2240198"/>
                <a:gd name="connsiteY11310" fmla="*/ 68146 h 1729012"/>
                <a:gd name="connsiteX11311" fmla="*/ 1397830 w 2240198"/>
                <a:gd name="connsiteY11311" fmla="*/ 71207 h 1729012"/>
                <a:gd name="connsiteX11312" fmla="*/ 1403641 w 2240198"/>
                <a:gd name="connsiteY11312" fmla="*/ 72581 h 1729012"/>
                <a:gd name="connsiteX11313" fmla="*/ 1406371 w 2240198"/>
                <a:gd name="connsiteY11313" fmla="*/ 72497 h 1729012"/>
                <a:gd name="connsiteX11314" fmla="*/ 1409789 w 2240198"/>
                <a:gd name="connsiteY11314" fmla="*/ 70805 h 1729012"/>
                <a:gd name="connsiteX11315" fmla="*/ 1418876 w 2240198"/>
                <a:gd name="connsiteY11315" fmla="*/ 70769 h 1729012"/>
                <a:gd name="connsiteX11316" fmla="*/ 1418687 w 2240198"/>
                <a:gd name="connsiteY11316" fmla="*/ 70050 h 1729012"/>
                <a:gd name="connsiteX11317" fmla="*/ 1415721 w 2240198"/>
                <a:gd name="connsiteY11317" fmla="*/ 68278 h 1729012"/>
                <a:gd name="connsiteX11318" fmla="*/ 1412137 w 2240198"/>
                <a:gd name="connsiteY11318" fmla="*/ 67012 h 1729012"/>
                <a:gd name="connsiteX11319" fmla="*/ 1379933 w 2240198"/>
                <a:gd name="connsiteY11319" fmla="*/ 58190 h 1729012"/>
                <a:gd name="connsiteX11320" fmla="*/ 1379046 w 2240198"/>
                <a:gd name="connsiteY11320" fmla="*/ 56255 h 1729012"/>
                <a:gd name="connsiteX11321" fmla="*/ 1389898 w 2240198"/>
                <a:gd name="connsiteY11321" fmla="*/ 54437 h 1729012"/>
                <a:gd name="connsiteX11322" fmla="*/ 1396683 w 2240198"/>
                <a:gd name="connsiteY11322" fmla="*/ 52264 h 1729012"/>
                <a:gd name="connsiteX11323" fmla="*/ 1399868 w 2240198"/>
                <a:gd name="connsiteY11323" fmla="*/ 51735 h 1729012"/>
                <a:gd name="connsiteX11324" fmla="*/ 1407819 w 2240198"/>
                <a:gd name="connsiteY11324" fmla="*/ 47103 h 1729012"/>
                <a:gd name="connsiteX11325" fmla="*/ 1413014 w 2240198"/>
                <a:gd name="connsiteY11325" fmla="*/ 44685 h 1729012"/>
                <a:gd name="connsiteX11326" fmla="*/ 1422628 w 2240198"/>
                <a:gd name="connsiteY11326" fmla="*/ 41937 h 1729012"/>
                <a:gd name="connsiteX11327" fmla="*/ 1426484 w 2240198"/>
                <a:gd name="connsiteY11327" fmla="*/ 42687 h 1729012"/>
                <a:gd name="connsiteX11328" fmla="*/ 1431336 w 2240198"/>
                <a:gd name="connsiteY11328" fmla="*/ 45113 h 1729012"/>
                <a:gd name="connsiteX11329" fmla="*/ 1436034 w 2240198"/>
                <a:gd name="connsiteY11329" fmla="*/ 46630 h 1729012"/>
                <a:gd name="connsiteX11330" fmla="*/ 1449841 w 2240198"/>
                <a:gd name="connsiteY11330" fmla="*/ 48073 h 1729012"/>
                <a:gd name="connsiteX11331" fmla="*/ 1455747 w 2240198"/>
                <a:gd name="connsiteY11331" fmla="*/ 49575 h 1729012"/>
                <a:gd name="connsiteX11332" fmla="*/ 1466270 w 2240198"/>
                <a:gd name="connsiteY11332" fmla="*/ 58190 h 1729012"/>
                <a:gd name="connsiteX11333" fmla="*/ 1470467 w 2240198"/>
                <a:gd name="connsiteY11333" fmla="*/ 60998 h 1729012"/>
                <a:gd name="connsiteX11334" fmla="*/ 1476449 w 2240198"/>
                <a:gd name="connsiteY11334" fmla="*/ 63879 h 1729012"/>
                <a:gd name="connsiteX11335" fmla="*/ 1480013 w 2240198"/>
                <a:gd name="connsiteY11335" fmla="*/ 64964 h 1729012"/>
                <a:gd name="connsiteX11336" fmla="*/ 1487054 w 2240198"/>
                <a:gd name="connsiteY11336" fmla="*/ 65658 h 1729012"/>
                <a:gd name="connsiteX11337" fmla="*/ 1487779 w 2240198"/>
                <a:gd name="connsiteY11337" fmla="*/ 64029 h 1729012"/>
                <a:gd name="connsiteX11338" fmla="*/ 1479419 w 2240198"/>
                <a:gd name="connsiteY11338" fmla="*/ 59975 h 1729012"/>
                <a:gd name="connsiteX11339" fmla="*/ 1477128 w 2240198"/>
                <a:gd name="connsiteY11339" fmla="*/ 57620 h 1729012"/>
                <a:gd name="connsiteX11340" fmla="*/ 1478113 w 2240198"/>
                <a:gd name="connsiteY11340" fmla="*/ 55626 h 1729012"/>
                <a:gd name="connsiteX11341" fmla="*/ 1479894 w 2240198"/>
                <a:gd name="connsiteY11341" fmla="*/ 54572 h 1729012"/>
                <a:gd name="connsiteX11342" fmla="*/ 1482467 w 2240198"/>
                <a:gd name="connsiteY11342" fmla="*/ 54478 h 1729012"/>
                <a:gd name="connsiteX11343" fmla="*/ 1489068 w 2240198"/>
                <a:gd name="connsiteY11343" fmla="*/ 56260 h 1729012"/>
                <a:gd name="connsiteX11344" fmla="*/ 1506617 w 2240198"/>
                <a:gd name="connsiteY11344" fmla="*/ 62301 h 1729012"/>
                <a:gd name="connsiteX11345" fmla="*/ 1532851 w 2240198"/>
                <a:gd name="connsiteY11345" fmla="*/ 69433 h 1729012"/>
                <a:gd name="connsiteX11346" fmla="*/ 1542905 w 2240198"/>
                <a:gd name="connsiteY11346" fmla="*/ 71086 h 1729012"/>
                <a:gd name="connsiteX11347" fmla="*/ 1549110 w 2240198"/>
                <a:gd name="connsiteY11347" fmla="*/ 73625 h 1729012"/>
                <a:gd name="connsiteX11348" fmla="*/ 1554767 w 2240198"/>
                <a:gd name="connsiteY11348" fmla="*/ 76706 h 1729012"/>
                <a:gd name="connsiteX11349" fmla="*/ 1560343 w 2240198"/>
                <a:gd name="connsiteY11349" fmla="*/ 78832 h 1729012"/>
                <a:gd name="connsiteX11350" fmla="*/ 1561377 w 2240198"/>
                <a:gd name="connsiteY11350" fmla="*/ 78628 h 1729012"/>
                <a:gd name="connsiteX11351" fmla="*/ 1556189 w 2240198"/>
                <a:gd name="connsiteY11351" fmla="*/ 73864 h 1729012"/>
                <a:gd name="connsiteX11352" fmla="*/ 1543501 w 2240198"/>
                <a:gd name="connsiteY11352" fmla="*/ 67973 h 1729012"/>
                <a:gd name="connsiteX11353" fmla="*/ 1509564 w 2240198"/>
                <a:gd name="connsiteY11353" fmla="*/ 57870 h 1729012"/>
                <a:gd name="connsiteX11354" fmla="*/ 1496142 w 2240198"/>
                <a:gd name="connsiteY11354" fmla="*/ 52560 h 1729012"/>
                <a:gd name="connsiteX11355" fmla="*/ 1489649 w 2240198"/>
                <a:gd name="connsiteY11355" fmla="*/ 48963 h 1729012"/>
                <a:gd name="connsiteX11356" fmla="*/ 1484732 w 2240198"/>
                <a:gd name="connsiteY11356" fmla="*/ 45320 h 1729012"/>
                <a:gd name="connsiteX11357" fmla="*/ 1484636 w 2240198"/>
                <a:gd name="connsiteY11357" fmla="*/ 43325 h 1729012"/>
                <a:gd name="connsiteX11358" fmla="*/ 1489263 w 2240198"/>
                <a:gd name="connsiteY11358" fmla="*/ 40988 h 1729012"/>
                <a:gd name="connsiteX11359" fmla="*/ 1495492 w 2240198"/>
                <a:gd name="connsiteY11359" fmla="*/ 39135 h 1729012"/>
                <a:gd name="connsiteX11360" fmla="*/ 1503237 w 2240198"/>
                <a:gd name="connsiteY11360" fmla="*/ 38396 h 1729012"/>
                <a:gd name="connsiteX11361" fmla="*/ 1504165 w 2240198"/>
                <a:gd name="connsiteY11361" fmla="*/ 37623 h 1729012"/>
                <a:gd name="connsiteX11362" fmla="*/ 1497130 w 2240198"/>
                <a:gd name="connsiteY11362" fmla="*/ 34840 h 1729012"/>
                <a:gd name="connsiteX11363" fmla="*/ 1492975 w 2240198"/>
                <a:gd name="connsiteY11363" fmla="*/ 32432 h 1729012"/>
                <a:gd name="connsiteX11364" fmla="*/ 1493118 w 2240198"/>
                <a:gd name="connsiteY11364" fmla="*/ 30748 h 1729012"/>
                <a:gd name="connsiteX11365" fmla="*/ 1501523 w 2240198"/>
                <a:gd name="connsiteY11365" fmla="*/ 29462 h 1729012"/>
                <a:gd name="connsiteX11366" fmla="*/ 1506739 w 2240198"/>
                <a:gd name="connsiteY11366" fmla="*/ 29849 h 1729012"/>
                <a:gd name="connsiteX11367" fmla="*/ 1516649 w 2240198"/>
                <a:gd name="connsiteY11367" fmla="*/ 32887 h 1729012"/>
                <a:gd name="connsiteX11368" fmla="*/ 1524924 w 2240198"/>
                <a:gd name="connsiteY11368" fmla="*/ 34321 h 1729012"/>
                <a:gd name="connsiteX11369" fmla="*/ 1526264 w 2240198"/>
                <a:gd name="connsiteY11369" fmla="*/ 33394 h 1729012"/>
                <a:gd name="connsiteX11370" fmla="*/ 1517720 w 2240198"/>
                <a:gd name="connsiteY11370" fmla="*/ 25301 h 1729012"/>
                <a:gd name="connsiteX11371" fmla="*/ 1516921 w 2240198"/>
                <a:gd name="connsiteY11371" fmla="*/ 23473 h 1729012"/>
                <a:gd name="connsiteX11372" fmla="*/ 1518187 w 2240198"/>
                <a:gd name="connsiteY11372" fmla="*/ 22402 h 1729012"/>
                <a:gd name="connsiteX11373" fmla="*/ 1521179 w 2240198"/>
                <a:gd name="connsiteY11373" fmla="*/ 21313 h 1729012"/>
                <a:gd name="connsiteX11374" fmla="*/ 1530132 w 2240198"/>
                <a:gd name="connsiteY11374" fmla="*/ 21939 h 1729012"/>
                <a:gd name="connsiteX11375" fmla="*/ 1544872 w 2240198"/>
                <a:gd name="connsiteY11375" fmla="*/ 25888 h 1729012"/>
                <a:gd name="connsiteX11376" fmla="*/ 1571261 w 2240198"/>
                <a:gd name="connsiteY11376" fmla="*/ 27868 h 1729012"/>
                <a:gd name="connsiteX11377" fmla="*/ 1578520 w 2240198"/>
                <a:gd name="connsiteY11377" fmla="*/ 27571 h 1729012"/>
                <a:gd name="connsiteX11378" fmla="*/ 1577429 w 2240198"/>
                <a:gd name="connsiteY11378" fmla="*/ 26661 h 1729012"/>
                <a:gd name="connsiteX11379" fmla="*/ 1566895 w 2240198"/>
                <a:gd name="connsiteY11379" fmla="*/ 24221 h 1729012"/>
                <a:gd name="connsiteX11380" fmla="*/ 1555871 w 2240198"/>
                <a:gd name="connsiteY11380" fmla="*/ 20941 h 1729012"/>
                <a:gd name="connsiteX11381" fmla="*/ 1551009 w 2240198"/>
                <a:gd name="connsiteY11381" fmla="*/ 18955 h 1729012"/>
                <a:gd name="connsiteX11382" fmla="*/ 1547445 w 2240198"/>
                <a:gd name="connsiteY11382" fmla="*/ 16279 h 1729012"/>
                <a:gd name="connsiteX11383" fmla="*/ 1543215 w 2240198"/>
                <a:gd name="connsiteY11383" fmla="*/ 14055 h 1729012"/>
                <a:gd name="connsiteX11384" fmla="*/ 1542865 w 2240198"/>
                <a:gd name="connsiteY11384" fmla="*/ 12989 h 1729012"/>
                <a:gd name="connsiteX11385" fmla="*/ 1549676 w 2240198"/>
                <a:gd name="connsiteY11385" fmla="*/ 11257 h 1729012"/>
                <a:gd name="connsiteX11386" fmla="*/ 1567571 w 2240198"/>
                <a:gd name="connsiteY11386" fmla="*/ 11593 h 1729012"/>
                <a:gd name="connsiteX11387" fmla="*/ 1584196 w 2240198"/>
                <a:gd name="connsiteY11387" fmla="*/ 14253 h 1729012"/>
                <a:gd name="connsiteX11388" fmla="*/ 1598302 w 2240198"/>
                <a:gd name="connsiteY11388" fmla="*/ 13291 h 1729012"/>
                <a:gd name="connsiteX11389" fmla="*/ 1607191 w 2240198"/>
                <a:gd name="connsiteY11389" fmla="*/ 13953 h 1729012"/>
                <a:gd name="connsiteX11390" fmla="*/ 1610702 w 2240198"/>
                <a:gd name="connsiteY11390" fmla="*/ 14755 h 1729012"/>
                <a:gd name="connsiteX11391" fmla="*/ 1617135 w 2240198"/>
                <a:gd name="connsiteY11391" fmla="*/ 17652 h 1729012"/>
                <a:gd name="connsiteX11392" fmla="*/ 1637544 w 2240198"/>
                <a:gd name="connsiteY11392" fmla="*/ 28103 h 1729012"/>
                <a:gd name="connsiteX11393" fmla="*/ 1639711 w 2240198"/>
                <a:gd name="connsiteY11393" fmla="*/ 29761 h 1729012"/>
                <a:gd name="connsiteX11394" fmla="*/ 1642031 w 2240198"/>
                <a:gd name="connsiteY11394" fmla="*/ 32285 h 1729012"/>
                <a:gd name="connsiteX11395" fmla="*/ 1644504 w 2240198"/>
                <a:gd name="connsiteY11395" fmla="*/ 35676 h 1729012"/>
                <a:gd name="connsiteX11396" fmla="*/ 1647981 w 2240198"/>
                <a:gd name="connsiteY11396" fmla="*/ 36593 h 1729012"/>
                <a:gd name="connsiteX11397" fmla="*/ 1654702 w 2240198"/>
                <a:gd name="connsiteY11397" fmla="*/ 34266 h 1729012"/>
                <a:gd name="connsiteX11398" fmla="*/ 1659234 w 2240198"/>
                <a:gd name="connsiteY11398" fmla="*/ 32007 h 1729012"/>
                <a:gd name="connsiteX11399" fmla="*/ 1657275 w 2240198"/>
                <a:gd name="connsiteY11399" fmla="*/ 29819 h 1729012"/>
                <a:gd name="connsiteX11400" fmla="*/ 1646014 w 2240198"/>
                <a:gd name="connsiteY11400" fmla="*/ 24794 h 1729012"/>
                <a:gd name="connsiteX11401" fmla="*/ 1643457 w 2240198"/>
                <a:gd name="connsiteY11401" fmla="*/ 22642 h 1729012"/>
                <a:gd name="connsiteX11402" fmla="*/ 1637825 w 2240198"/>
                <a:gd name="connsiteY11402" fmla="*/ 18999 h 1729012"/>
                <a:gd name="connsiteX11403" fmla="*/ 1625184 w 2240198"/>
                <a:gd name="connsiteY11403" fmla="*/ 12464 h 1729012"/>
                <a:gd name="connsiteX11404" fmla="*/ 1621818 w 2240198"/>
                <a:gd name="connsiteY11404" fmla="*/ 9423 h 1729012"/>
                <a:gd name="connsiteX11405" fmla="*/ 1619696 w 2240198"/>
                <a:gd name="connsiteY11405" fmla="*/ 6826 h 1729012"/>
                <a:gd name="connsiteX11406" fmla="*/ 1654687 w 2240198"/>
                <a:gd name="connsiteY11406" fmla="*/ 4378 h 1729012"/>
                <a:gd name="connsiteX11407" fmla="*/ 1688430 w 2240198"/>
                <a:gd name="connsiteY11407" fmla="*/ 6535 h 1729012"/>
                <a:gd name="connsiteX11408" fmla="*/ 1693917 w 2240198"/>
                <a:gd name="connsiteY11408" fmla="*/ 8064 h 1729012"/>
                <a:gd name="connsiteX11409" fmla="*/ 1697516 w 2240198"/>
                <a:gd name="connsiteY11409" fmla="*/ 10192 h 1729012"/>
                <a:gd name="connsiteX11410" fmla="*/ 1701049 w 2240198"/>
                <a:gd name="connsiteY11410" fmla="*/ 13427 h 1729012"/>
                <a:gd name="connsiteX11411" fmla="*/ 1706459 w 2240198"/>
                <a:gd name="connsiteY11411" fmla="*/ 16728 h 1729012"/>
                <a:gd name="connsiteX11412" fmla="*/ 1717391 w 2240198"/>
                <a:gd name="connsiteY11412" fmla="*/ 21782 h 1729012"/>
                <a:gd name="connsiteX11413" fmla="*/ 1732943 w 2240198"/>
                <a:gd name="connsiteY11413" fmla="*/ 24921 h 1729012"/>
                <a:gd name="connsiteX11414" fmla="*/ 1729970 w 2240198"/>
                <a:gd name="connsiteY11414" fmla="*/ 22783 h 1729012"/>
                <a:gd name="connsiteX11415" fmla="*/ 1718338 w 2240198"/>
                <a:gd name="connsiteY11415" fmla="*/ 17209 h 1729012"/>
                <a:gd name="connsiteX11416" fmla="*/ 1713084 w 2240198"/>
                <a:gd name="connsiteY11416" fmla="*/ 13387 h 1729012"/>
                <a:gd name="connsiteX11417" fmla="*/ 1713114 w 2240198"/>
                <a:gd name="connsiteY11417" fmla="*/ 10795 h 1729012"/>
                <a:gd name="connsiteX11418" fmla="*/ 1714049 w 2240198"/>
                <a:gd name="connsiteY11418" fmla="*/ 8815 h 1729012"/>
                <a:gd name="connsiteX11419" fmla="*/ 1715892 w 2240198"/>
                <a:gd name="connsiteY11419" fmla="*/ 7446 h 1729012"/>
                <a:gd name="connsiteX11420" fmla="*/ 1729063 w 2240198"/>
                <a:gd name="connsiteY11420" fmla="*/ 2218 h 1729012"/>
                <a:gd name="connsiteX11421" fmla="*/ 1747889 w 2240198"/>
                <a:gd name="connsiteY11421" fmla="*/ 639 h 1729012"/>
                <a:gd name="connsiteX11422" fmla="*/ 1750070 w 2240198"/>
                <a:gd name="connsiteY11422" fmla="*/ 933 h 1729012"/>
                <a:gd name="connsiteX11423" fmla="*/ 1764707 w 2240198"/>
                <a:gd name="connsiteY11423" fmla="*/ 8959 h 1729012"/>
                <a:gd name="connsiteX11424" fmla="*/ 1771654 w 2240198"/>
                <a:gd name="connsiteY11424" fmla="*/ 12236 h 1729012"/>
                <a:gd name="connsiteX11425" fmla="*/ 1776512 w 2240198"/>
                <a:gd name="connsiteY11425" fmla="*/ 13550 h 1729012"/>
                <a:gd name="connsiteX11426" fmla="*/ 1776700 w 2240198"/>
                <a:gd name="connsiteY11426" fmla="*/ 12979 h 1729012"/>
                <a:gd name="connsiteX11427" fmla="*/ 1769971 w 2240198"/>
                <a:gd name="connsiteY11427" fmla="*/ 9293 h 1729012"/>
                <a:gd name="connsiteX11428" fmla="*/ 1764797 w 2240198"/>
                <a:gd name="connsiteY11428" fmla="*/ 7287 h 1729012"/>
                <a:gd name="connsiteX11429" fmla="*/ 1764262 w 2240198"/>
                <a:gd name="connsiteY11429" fmla="*/ 6028 h 1729012"/>
                <a:gd name="connsiteX11430" fmla="*/ 1772851 w 2240198"/>
                <a:gd name="connsiteY11430" fmla="*/ 2125 h 1729012"/>
                <a:gd name="connsiteX11431" fmla="*/ 1778283 w 2240198"/>
                <a:gd name="connsiteY11431" fmla="*/ 1142 h 1729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  <a:cxn ang="0">
                  <a:pos x="connsiteX2223" y="connsiteY2223"/>
                </a:cxn>
                <a:cxn ang="0">
                  <a:pos x="connsiteX2224" y="connsiteY2224"/>
                </a:cxn>
                <a:cxn ang="0">
                  <a:pos x="connsiteX2225" y="connsiteY2225"/>
                </a:cxn>
                <a:cxn ang="0">
                  <a:pos x="connsiteX2226" y="connsiteY2226"/>
                </a:cxn>
                <a:cxn ang="0">
                  <a:pos x="connsiteX2227" y="connsiteY2227"/>
                </a:cxn>
                <a:cxn ang="0">
                  <a:pos x="connsiteX2228" y="connsiteY2228"/>
                </a:cxn>
                <a:cxn ang="0">
                  <a:pos x="connsiteX2229" y="connsiteY2229"/>
                </a:cxn>
                <a:cxn ang="0">
                  <a:pos x="connsiteX2230" y="connsiteY2230"/>
                </a:cxn>
                <a:cxn ang="0">
                  <a:pos x="connsiteX2231" y="connsiteY2231"/>
                </a:cxn>
                <a:cxn ang="0">
                  <a:pos x="connsiteX2232" y="connsiteY2232"/>
                </a:cxn>
                <a:cxn ang="0">
                  <a:pos x="connsiteX2233" y="connsiteY2233"/>
                </a:cxn>
                <a:cxn ang="0">
                  <a:pos x="connsiteX2234" y="connsiteY2234"/>
                </a:cxn>
                <a:cxn ang="0">
                  <a:pos x="connsiteX2235" y="connsiteY2235"/>
                </a:cxn>
                <a:cxn ang="0">
                  <a:pos x="connsiteX2236" y="connsiteY2236"/>
                </a:cxn>
                <a:cxn ang="0">
                  <a:pos x="connsiteX2237" y="connsiteY2237"/>
                </a:cxn>
                <a:cxn ang="0">
                  <a:pos x="connsiteX2238" y="connsiteY2238"/>
                </a:cxn>
                <a:cxn ang="0">
                  <a:pos x="connsiteX2239" y="connsiteY2239"/>
                </a:cxn>
                <a:cxn ang="0">
                  <a:pos x="connsiteX2240" y="connsiteY2240"/>
                </a:cxn>
                <a:cxn ang="0">
                  <a:pos x="connsiteX2241" y="connsiteY2241"/>
                </a:cxn>
                <a:cxn ang="0">
                  <a:pos x="connsiteX2242" y="connsiteY2242"/>
                </a:cxn>
                <a:cxn ang="0">
                  <a:pos x="connsiteX2243" y="connsiteY2243"/>
                </a:cxn>
                <a:cxn ang="0">
                  <a:pos x="connsiteX2244" y="connsiteY2244"/>
                </a:cxn>
                <a:cxn ang="0">
                  <a:pos x="connsiteX2245" y="connsiteY2245"/>
                </a:cxn>
                <a:cxn ang="0">
                  <a:pos x="connsiteX2246" y="connsiteY2246"/>
                </a:cxn>
                <a:cxn ang="0">
                  <a:pos x="connsiteX2247" y="connsiteY2247"/>
                </a:cxn>
                <a:cxn ang="0">
                  <a:pos x="connsiteX2248" y="connsiteY2248"/>
                </a:cxn>
                <a:cxn ang="0">
                  <a:pos x="connsiteX2249" y="connsiteY2249"/>
                </a:cxn>
                <a:cxn ang="0">
                  <a:pos x="connsiteX2250" y="connsiteY2250"/>
                </a:cxn>
                <a:cxn ang="0">
                  <a:pos x="connsiteX2251" y="connsiteY2251"/>
                </a:cxn>
                <a:cxn ang="0">
                  <a:pos x="connsiteX2252" y="connsiteY2252"/>
                </a:cxn>
                <a:cxn ang="0">
                  <a:pos x="connsiteX2253" y="connsiteY2253"/>
                </a:cxn>
                <a:cxn ang="0">
                  <a:pos x="connsiteX2254" y="connsiteY2254"/>
                </a:cxn>
                <a:cxn ang="0">
                  <a:pos x="connsiteX2255" y="connsiteY2255"/>
                </a:cxn>
                <a:cxn ang="0">
                  <a:pos x="connsiteX2256" y="connsiteY2256"/>
                </a:cxn>
                <a:cxn ang="0">
                  <a:pos x="connsiteX2257" y="connsiteY2257"/>
                </a:cxn>
                <a:cxn ang="0">
                  <a:pos x="connsiteX2258" y="connsiteY2258"/>
                </a:cxn>
                <a:cxn ang="0">
                  <a:pos x="connsiteX2259" y="connsiteY2259"/>
                </a:cxn>
                <a:cxn ang="0">
                  <a:pos x="connsiteX2260" y="connsiteY2260"/>
                </a:cxn>
                <a:cxn ang="0">
                  <a:pos x="connsiteX2261" y="connsiteY2261"/>
                </a:cxn>
                <a:cxn ang="0">
                  <a:pos x="connsiteX2262" y="connsiteY2262"/>
                </a:cxn>
                <a:cxn ang="0">
                  <a:pos x="connsiteX2263" y="connsiteY2263"/>
                </a:cxn>
                <a:cxn ang="0">
                  <a:pos x="connsiteX2264" y="connsiteY2264"/>
                </a:cxn>
                <a:cxn ang="0">
                  <a:pos x="connsiteX2265" y="connsiteY2265"/>
                </a:cxn>
                <a:cxn ang="0">
                  <a:pos x="connsiteX2266" y="connsiteY2266"/>
                </a:cxn>
                <a:cxn ang="0">
                  <a:pos x="connsiteX2267" y="connsiteY2267"/>
                </a:cxn>
                <a:cxn ang="0">
                  <a:pos x="connsiteX2268" y="connsiteY2268"/>
                </a:cxn>
                <a:cxn ang="0">
                  <a:pos x="connsiteX2269" y="connsiteY2269"/>
                </a:cxn>
                <a:cxn ang="0">
                  <a:pos x="connsiteX2270" y="connsiteY2270"/>
                </a:cxn>
                <a:cxn ang="0">
                  <a:pos x="connsiteX2271" y="connsiteY2271"/>
                </a:cxn>
                <a:cxn ang="0">
                  <a:pos x="connsiteX2272" y="connsiteY2272"/>
                </a:cxn>
                <a:cxn ang="0">
                  <a:pos x="connsiteX2273" y="connsiteY2273"/>
                </a:cxn>
                <a:cxn ang="0">
                  <a:pos x="connsiteX2274" y="connsiteY2274"/>
                </a:cxn>
                <a:cxn ang="0">
                  <a:pos x="connsiteX2275" y="connsiteY2275"/>
                </a:cxn>
                <a:cxn ang="0">
                  <a:pos x="connsiteX2276" y="connsiteY2276"/>
                </a:cxn>
                <a:cxn ang="0">
                  <a:pos x="connsiteX2277" y="connsiteY2277"/>
                </a:cxn>
                <a:cxn ang="0">
                  <a:pos x="connsiteX2278" y="connsiteY2278"/>
                </a:cxn>
                <a:cxn ang="0">
                  <a:pos x="connsiteX2279" y="connsiteY2279"/>
                </a:cxn>
                <a:cxn ang="0">
                  <a:pos x="connsiteX2280" y="connsiteY2280"/>
                </a:cxn>
                <a:cxn ang="0">
                  <a:pos x="connsiteX2281" y="connsiteY2281"/>
                </a:cxn>
                <a:cxn ang="0">
                  <a:pos x="connsiteX2282" y="connsiteY2282"/>
                </a:cxn>
                <a:cxn ang="0">
                  <a:pos x="connsiteX2283" y="connsiteY2283"/>
                </a:cxn>
                <a:cxn ang="0">
                  <a:pos x="connsiteX2284" y="connsiteY2284"/>
                </a:cxn>
                <a:cxn ang="0">
                  <a:pos x="connsiteX2285" y="connsiteY2285"/>
                </a:cxn>
                <a:cxn ang="0">
                  <a:pos x="connsiteX2286" y="connsiteY2286"/>
                </a:cxn>
                <a:cxn ang="0">
                  <a:pos x="connsiteX2287" y="connsiteY2287"/>
                </a:cxn>
                <a:cxn ang="0">
                  <a:pos x="connsiteX2288" y="connsiteY2288"/>
                </a:cxn>
                <a:cxn ang="0">
                  <a:pos x="connsiteX2289" y="connsiteY2289"/>
                </a:cxn>
                <a:cxn ang="0">
                  <a:pos x="connsiteX2290" y="connsiteY2290"/>
                </a:cxn>
                <a:cxn ang="0">
                  <a:pos x="connsiteX2291" y="connsiteY2291"/>
                </a:cxn>
                <a:cxn ang="0">
                  <a:pos x="connsiteX2292" y="connsiteY2292"/>
                </a:cxn>
                <a:cxn ang="0">
                  <a:pos x="connsiteX2293" y="connsiteY2293"/>
                </a:cxn>
                <a:cxn ang="0">
                  <a:pos x="connsiteX2294" y="connsiteY2294"/>
                </a:cxn>
                <a:cxn ang="0">
                  <a:pos x="connsiteX2295" y="connsiteY2295"/>
                </a:cxn>
                <a:cxn ang="0">
                  <a:pos x="connsiteX2296" y="connsiteY2296"/>
                </a:cxn>
                <a:cxn ang="0">
                  <a:pos x="connsiteX2297" y="connsiteY2297"/>
                </a:cxn>
                <a:cxn ang="0">
                  <a:pos x="connsiteX2298" y="connsiteY2298"/>
                </a:cxn>
                <a:cxn ang="0">
                  <a:pos x="connsiteX2299" y="connsiteY2299"/>
                </a:cxn>
                <a:cxn ang="0">
                  <a:pos x="connsiteX2300" y="connsiteY2300"/>
                </a:cxn>
                <a:cxn ang="0">
                  <a:pos x="connsiteX2301" y="connsiteY2301"/>
                </a:cxn>
                <a:cxn ang="0">
                  <a:pos x="connsiteX2302" y="connsiteY2302"/>
                </a:cxn>
                <a:cxn ang="0">
                  <a:pos x="connsiteX2303" y="connsiteY2303"/>
                </a:cxn>
                <a:cxn ang="0">
                  <a:pos x="connsiteX2304" y="connsiteY2304"/>
                </a:cxn>
                <a:cxn ang="0">
                  <a:pos x="connsiteX2305" y="connsiteY2305"/>
                </a:cxn>
                <a:cxn ang="0">
                  <a:pos x="connsiteX2306" y="connsiteY2306"/>
                </a:cxn>
                <a:cxn ang="0">
                  <a:pos x="connsiteX2307" y="connsiteY2307"/>
                </a:cxn>
                <a:cxn ang="0">
                  <a:pos x="connsiteX2308" y="connsiteY2308"/>
                </a:cxn>
                <a:cxn ang="0">
                  <a:pos x="connsiteX2309" y="connsiteY2309"/>
                </a:cxn>
                <a:cxn ang="0">
                  <a:pos x="connsiteX2310" y="connsiteY2310"/>
                </a:cxn>
                <a:cxn ang="0">
                  <a:pos x="connsiteX2311" y="connsiteY2311"/>
                </a:cxn>
                <a:cxn ang="0">
                  <a:pos x="connsiteX2312" y="connsiteY2312"/>
                </a:cxn>
                <a:cxn ang="0">
                  <a:pos x="connsiteX2313" y="connsiteY2313"/>
                </a:cxn>
                <a:cxn ang="0">
                  <a:pos x="connsiteX2314" y="connsiteY2314"/>
                </a:cxn>
                <a:cxn ang="0">
                  <a:pos x="connsiteX2315" y="connsiteY2315"/>
                </a:cxn>
                <a:cxn ang="0">
                  <a:pos x="connsiteX2316" y="connsiteY2316"/>
                </a:cxn>
                <a:cxn ang="0">
                  <a:pos x="connsiteX2317" y="connsiteY2317"/>
                </a:cxn>
                <a:cxn ang="0">
                  <a:pos x="connsiteX2318" y="connsiteY2318"/>
                </a:cxn>
                <a:cxn ang="0">
                  <a:pos x="connsiteX2319" y="connsiteY2319"/>
                </a:cxn>
                <a:cxn ang="0">
                  <a:pos x="connsiteX2320" y="connsiteY2320"/>
                </a:cxn>
                <a:cxn ang="0">
                  <a:pos x="connsiteX2321" y="connsiteY2321"/>
                </a:cxn>
                <a:cxn ang="0">
                  <a:pos x="connsiteX2322" y="connsiteY2322"/>
                </a:cxn>
                <a:cxn ang="0">
                  <a:pos x="connsiteX2323" y="connsiteY2323"/>
                </a:cxn>
                <a:cxn ang="0">
                  <a:pos x="connsiteX2324" y="connsiteY2324"/>
                </a:cxn>
                <a:cxn ang="0">
                  <a:pos x="connsiteX2325" y="connsiteY2325"/>
                </a:cxn>
                <a:cxn ang="0">
                  <a:pos x="connsiteX2326" y="connsiteY2326"/>
                </a:cxn>
                <a:cxn ang="0">
                  <a:pos x="connsiteX2327" y="connsiteY2327"/>
                </a:cxn>
                <a:cxn ang="0">
                  <a:pos x="connsiteX2328" y="connsiteY2328"/>
                </a:cxn>
                <a:cxn ang="0">
                  <a:pos x="connsiteX2329" y="connsiteY2329"/>
                </a:cxn>
                <a:cxn ang="0">
                  <a:pos x="connsiteX2330" y="connsiteY2330"/>
                </a:cxn>
                <a:cxn ang="0">
                  <a:pos x="connsiteX2331" y="connsiteY2331"/>
                </a:cxn>
                <a:cxn ang="0">
                  <a:pos x="connsiteX2332" y="connsiteY2332"/>
                </a:cxn>
                <a:cxn ang="0">
                  <a:pos x="connsiteX2333" y="connsiteY2333"/>
                </a:cxn>
                <a:cxn ang="0">
                  <a:pos x="connsiteX2334" y="connsiteY2334"/>
                </a:cxn>
                <a:cxn ang="0">
                  <a:pos x="connsiteX2335" y="connsiteY2335"/>
                </a:cxn>
                <a:cxn ang="0">
                  <a:pos x="connsiteX2336" y="connsiteY2336"/>
                </a:cxn>
                <a:cxn ang="0">
                  <a:pos x="connsiteX2337" y="connsiteY2337"/>
                </a:cxn>
                <a:cxn ang="0">
                  <a:pos x="connsiteX2338" y="connsiteY2338"/>
                </a:cxn>
                <a:cxn ang="0">
                  <a:pos x="connsiteX2339" y="connsiteY2339"/>
                </a:cxn>
                <a:cxn ang="0">
                  <a:pos x="connsiteX2340" y="connsiteY2340"/>
                </a:cxn>
                <a:cxn ang="0">
                  <a:pos x="connsiteX2341" y="connsiteY2341"/>
                </a:cxn>
                <a:cxn ang="0">
                  <a:pos x="connsiteX2342" y="connsiteY2342"/>
                </a:cxn>
                <a:cxn ang="0">
                  <a:pos x="connsiteX2343" y="connsiteY2343"/>
                </a:cxn>
                <a:cxn ang="0">
                  <a:pos x="connsiteX2344" y="connsiteY2344"/>
                </a:cxn>
                <a:cxn ang="0">
                  <a:pos x="connsiteX2345" y="connsiteY2345"/>
                </a:cxn>
                <a:cxn ang="0">
                  <a:pos x="connsiteX2346" y="connsiteY2346"/>
                </a:cxn>
                <a:cxn ang="0">
                  <a:pos x="connsiteX2347" y="connsiteY2347"/>
                </a:cxn>
                <a:cxn ang="0">
                  <a:pos x="connsiteX2348" y="connsiteY2348"/>
                </a:cxn>
                <a:cxn ang="0">
                  <a:pos x="connsiteX2349" y="connsiteY2349"/>
                </a:cxn>
                <a:cxn ang="0">
                  <a:pos x="connsiteX2350" y="connsiteY2350"/>
                </a:cxn>
                <a:cxn ang="0">
                  <a:pos x="connsiteX2351" y="connsiteY2351"/>
                </a:cxn>
                <a:cxn ang="0">
                  <a:pos x="connsiteX2352" y="connsiteY2352"/>
                </a:cxn>
                <a:cxn ang="0">
                  <a:pos x="connsiteX2353" y="connsiteY2353"/>
                </a:cxn>
                <a:cxn ang="0">
                  <a:pos x="connsiteX2354" y="connsiteY2354"/>
                </a:cxn>
                <a:cxn ang="0">
                  <a:pos x="connsiteX2355" y="connsiteY2355"/>
                </a:cxn>
                <a:cxn ang="0">
                  <a:pos x="connsiteX2356" y="connsiteY2356"/>
                </a:cxn>
                <a:cxn ang="0">
                  <a:pos x="connsiteX2357" y="connsiteY2357"/>
                </a:cxn>
                <a:cxn ang="0">
                  <a:pos x="connsiteX2358" y="connsiteY2358"/>
                </a:cxn>
                <a:cxn ang="0">
                  <a:pos x="connsiteX2359" y="connsiteY2359"/>
                </a:cxn>
                <a:cxn ang="0">
                  <a:pos x="connsiteX2360" y="connsiteY2360"/>
                </a:cxn>
                <a:cxn ang="0">
                  <a:pos x="connsiteX2361" y="connsiteY2361"/>
                </a:cxn>
                <a:cxn ang="0">
                  <a:pos x="connsiteX2362" y="connsiteY2362"/>
                </a:cxn>
                <a:cxn ang="0">
                  <a:pos x="connsiteX2363" y="connsiteY2363"/>
                </a:cxn>
                <a:cxn ang="0">
                  <a:pos x="connsiteX2364" y="connsiteY2364"/>
                </a:cxn>
                <a:cxn ang="0">
                  <a:pos x="connsiteX2365" y="connsiteY2365"/>
                </a:cxn>
                <a:cxn ang="0">
                  <a:pos x="connsiteX2366" y="connsiteY2366"/>
                </a:cxn>
                <a:cxn ang="0">
                  <a:pos x="connsiteX2367" y="connsiteY2367"/>
                </a:cxn>
                <a:cxn ang="0">
                  <a:pos x="connsiteX2368" y="connsiteY2368"/>
                </a:cxn>
                <a:cxn ang="0">
                  <a:pos x="connsiteX2369" y="connsiteY2369"/>
                </a:cxn>
                <a:cxn ang="0">
                  <a:pos x="connsiteX2370" y="connsiteY2370"/>
                </a:cxn>
                <a:cxn ang="0">
                  <a:pos x="connsiteX2371" y="connsiteY2371"/>
                </a:cxn>
                <a:cxn ang="0">
                  <a:pos x="connsiteX2372" y="connsiteY2372"/>
                </a:cxn>
                <a:cxn ang="0">
                  <a:pos x="connsiteX2373" y="connsiteY2373"/>
                </a:cxn>
                <a:cxn ang="0">
                  <a:pos x="connsiteX2374" y="connsiteY2374"/>
                </a:cxn>
                <a:cxn ang="0">
                  <a:pos x="connsiteX2375" y="connsiteY2375"/>
                </a:cxn>
                <a:cxn ang="0">
                  <a:pos x="connsiteX2376" y="connsiteY2376"/>
                </a:cxn>
                <a:cxn ang="0">
                  <a:pos x="connsiteX2377" y="connsiteY2377"/>
                </a:cxn>
                <a:cxn ang="0">
                  <a:pos x="connsiteX2378" y="connsiteY2378"/>
                </a:cxn>
                <a:cxn ang="0">
                  <a:pos x="connsiteX2379" y="connsiteY2379"/>
                </a:cxn>
                <a:cxn ang="0">
                  <a:pos x="connsiteX2380" y="connsiteY2380"/>
                </a:cxn>
                <a:cxn ang="0">
                  <a:pos x="connsiteX2381" y="connsiteY2381"/>
                </a:cxn>
                <a:cxn ang="0">
                  <a:pos x="connsiteX2382" y="connsiteY2382"/>
                </a:cxn>
                <a:cxn ang="0">
                  <a:pos x="connsiteX2383" y="connsiteY2383"/>
                </a:cxn>
                <a:cxn ang="0">
                  <a:pos x="connsiteX2384" y="connsiteY2384"/>
                </a:cxn>
                <a:cxn ang="0">
                  <a:pos x="connsiteX2385" y="connsiteY2385"/>
                </a:cxn>
                <a:cxn ang="0">
                  <a:pos x="connsiteX2386" y="connsiteY2386"/>
                </a:cxn>
                <a:cxn ang="0">
                  <a:pos x="connsiteX2387" y="connsiteY2387"/>
                </a:cxn>
                <a:cxn ang="0">
                  <a:pos x="connsiteX2388" y="connsiteY2388"/>
                </a:cxn>
                <a:cxn ang="0">
                  <a:pos x="connsiteX2389" y="connsiteY2389"/>
                </a:cxn>
                <a:cxn ang="0">
                  <a:pos x="connsiteX2390" y="connsiteY2390"/>
                </a:cxn>
                <a:cxn ang="0">
                  <a:pos x="connsiteX2391" y="connsiteY2391"/>
                </a:cxn>
                <a:cxn ang="0">
                  <a:pos x="connsiteX2392" y="connsiteY2392"/>
                </a:cxn>
                <a:cxn ang="0">
                  <a:pos x="connsiteX2393" y="connsiteY2393"/>
                </a:cxn>
                <a:cxn ang="0">
                  <a:pos x="connsiteX2394" y="connsiteY2394"/>
                </a:cxn>
                <a:cxn ang="0">
                  <a:pos x="connsiteX2395" y="connsiteY2395"/>
                </a:cxn>
                <a:cxn ang="0">
                  <a:pos x="connsiteX2396" y="connsiteY2396"/>
                </a:cxn>
                <a:cxn ang="0">
                  <a:pos x="connsiteX2397" y="connsiteY2397"/>
                </a:cxn>
                <a:cxn ang="0">
                  <a:pos x="connsiteX2398" y="connsiteY2398"/>
                </a:cxn>
                <a:cxn ang="0">
                  <a:pos x="connsiteX2399" y="connsiteY2399"/>
                </a:cxn>
                <a:cxn ang="0">
                  <a:pos x="connsiteX2400" y="connsiteY2400"/>
                </a:cxn>
                <a:cxn ang="0">
                  <a:pos x="connsiteX2401" y="connsiteY2401"/>
                </a:cxn>
                <a:cxn ang="0">
                  <a:pos x="connsiteX2402" y="connsiteY2402"/>
                </a:cxn>
                <a:cxn ang="0">
                  <a:pos x="connsiteX2403" y="connsiteY2403"/>
                </a:cxn>
                <a:cxn ang="0">
                  <a:pos x="connsiteX2404" y="connsiteY2404"/>
                </a:cxn>
                <a:cxn ang="0">
                  <a:pos x="connsiteX2405" y="connsiteY2405"/>
                </a:cxn>
                <a:cxn ang="0">
                  <a:pos x="connsiteX2406" y="connsiteY2406"/>
                </a:cxn>
                <a:cxn ang="0">
                  <a:pos x="connsiteX2407" y="connsiteY2407"/>
                </a:cxn>
                <a:cxn ang="0">
                  <a:pos x="connsiteX2408" y="connsiteY2408"/>
                </a:cxn>
                <a:cxn ang="0">
                  <a:pos x="connsiteX2409" y="connsiteY2409"/>
                </a:cxn>
                <a:cxn ang="0">
                  <a:pos x="connsiteX2410" y="connsiteY2410"/>
                </a:cxn>
                <a:cxn ang="0">
                  <a:pos x="connsiteX2411" y="connsiteY2411"/>
                </a:cxn>
                <a:cxn ang="0">
                  <a:pos x="connsiteX2412" y="connsiteY2412"/>
                </a:cxn>
                <a:cxn ang="0">
                  <a:pos x="connsiteX2413" y="connsiteY2413"/>
                </a:cxn>
                <a:cxn ang="0">
                  <a:pos x="connsiteX2414" y="connsiteY2414"/>
                </a:cxn>
                <a:cxn ang="0">
                  <a:pos x="connsiteX2415" y="connsiteY2415"/>
                </a:cxn>
                <a:cxn ang="0">
                  <a:pos x="connsiteX2416" y="connsiteY2416"/>
                </a:cxn>
                <a:cxn ang="0">
                  <a:pos x="connsiteX2417" y="connsiteY2417"/>
                </a:cxn>
                <a:cxn ang="0">
                  <a:pos x="connsiteX2418" y="connsiteY2418"/>
                </a:cxn>
                <a:cxn ang="0">
                  <a:pos x="connsiteX2419" y="connsiteY2419"/>
                </a:cxn>
                <a:cxn ang="0">
                  <a:pos x="connsiteX2420" y="connsiteY2420"/>
                </a:cxn>
                <a:cxn ang="0">
                  <a:pos x="connsiteX2421" y="connsiteY2421"/>
                </a:cxn>
                <a:cxn ang="0">
                  <a:pos x="connsiteX2422" y="connsiteY2422"/>
                </a:cxn>
                <a:cxn ang="0">
                  <a:pos x="connsiteX2423" y="connsiteY2423"/>
                </a:cxn>
                <a:cxn ang="0">
                  <a:pos x="connsiteX2424" y="connsiteY2424"/>
                </a:cxn>
                <a:cxn ang="0">
                  <a:pos x="connsiteX2425" y="connsiteY2425"/>
                </a:cxn>
                <a:cxn ang="0">
                  <a:pos x="connsiteX2426" y="connsiteY2426"/>
                </a:cxn>
                <a:cxn ang="0">
                  <a:pos x="connsiteX2427" y="connsiteY2427"/>
                </a:cxn>
                <a:cxn ang="0">
                  <a:pos x="connsiteX2428" y="connsiteY2428"/>
                </a:cxn>
                <a:cxn ang="0">
                  <a:pos x="connsiteX2429" y="connsiteY2429"/>
                </a:cxn>
                <a:cxn ang="0">
                  <a:pos x="connsiteX2430" y="connsiteY2430"/>
                </a:cxn>
                <a:cxn ang="0">
                  <a:pos x="connsiteX2431" y="connsiteY2431"/>
                </a:cxn>
                <a:cxn ang="0">
                  <a:pos x="connsiteX2432" y="connsiteY2432"/>
                </a:cxn>
                <a:cxn ang="0">
                  <a:pos x="connsiteX2433" y="connsiteY2433"/>
                </a:cxn>
                <a:cxn ang="0">
                  <a:pos x="connsiteX2434" y="connsiteY2434"/>
                </a:cxn>
                <a:cxn ang="0">
                  <a:pos x="connsiteX2435" y="connsiteY2435"/>
                </a:cxn>
                <a:cxn ang="0">
                  <a:pos x="connsiteX2436" y="connsiteY2436"/>
                </a:cxn>
                <a:cxn ang="0">
                  <a:pos x="connsiteX2437" y="connsiteY2437"/>
                </a:cxn>
                <a:cxn ang="0">
                  <a:pos x="connsiteX2438" y="connsiteY2438"/>
                </a:cxn>
                <a:cxn ang="0">
                  <a:pos x="connsiteX2439" y="connsiteY2439"/>
                </a:cxn>
                <a:cxn ang="0">
                  <a:pos x="connsiteX2440" y="connsiteY2440"/>
                </a:cxn>
                <a:cxn ang="0">
                  <a:pos x="connsiteX2441" y="connsiteY2441"/>
                </a:cxn>
                <a:cxn ang="0">
                  <a:pos x="connsiteX2442" y="connsiteY2442"/>
                </a:cxn>
                <a:cxn ang="0">
                  <a:pos x="connsiteX2443" y="connsiteY2443"/>
                </a:cxn>
                <a:cxn ang="0">
                  <a:pos x="connsiteX2444" y="connsiteY2444"/>
                </a:cxn>
                <a:cxn ang="0">
                  <a:pos x="connsiteX2445" y="connsiteY2445"/>
                </a:cxn>
                <a:cxn ang="0">
                  <a:pos x="connsiteX2446" y="connsiteY2446"/>
                </a:cxn>
                <a:cxn ang="0">
                  <a:pos x="connsiteX2447" y="connsiteY2447"/>
                </a:cxn>
                <a:cxn ang="0">
                  <a:pos x="connsiteX2448" y="connsiteY2448"/>
                </a:cxn>
                <a:cxn ang="0">
                  <a:pos x="connsiteX2449" y="connsiteY2449"/>
                </a:cxn>
                <a:cxn ang="0">
                  <a:pos x="connsiteX2450" y="connsiteY2450"/>
                </a:cxn>
                <a:cxn ang="0">
                  <a:pos x="connsiteX2451" y="connsiteY2451"/>
                </a:cxn>
                <a:cxn ang="0">
                  <a:pos x="connsiteX2452" y="connsiteY2452"/>
                </a:cxn>
                <a:cxn ang="0">
                  <a:pos x="connsiteX2453" y="connsiteY2453"/>
                </a:cxn>
                <a:cxn ang="0">
                  <a:pos x="connsiteX2454" y="connsiteY2454"/>
                </a:cxn>
                <a:cxn ang="0">
                  <a:pos x="connsiteX2455" y="connsiteY2455"/>
                </a:cxn>
                <a:cxn ang="0">
                  <a:pos x="connsiteX2456" y="connsiteY2456"/>
                </a:cxn>
                <a:cxn ang="0">
                  <a:pos x="connsiteX2457" y="connsiteY2457"/>
                </a:cxn>
                <a:cxn ang="0">
                  <a:pos x="connsiteX2458" y="connsiteY2458"/>
                </a:cxn>
                <a:cxn ang="0">
                  <a:pos x="connsiteX2459" y="connsiteY2459"/>
                </a:cxn>
                <a:cxn ang="0">
                  <a:pos x="connsiteX2460" y="connsiteY2460"/>
                </a:cxn>
                <a:cxn ang="0">
                  <a:pos x="connsiteX2461" y="connsiteY2461"/>
                </a:cxn>
                <a:cxn ang="0">
                  <a:pos x="connsiteX2462" y="connsiteY2462"/>
                </a:cxn>
                <a:cxn ang="0">
                  <a:pos x="connsiteX2463" y="connsiteY2463"/>
                </a:cxn>
                <a:cxn ang="0">
                  <a:pos x="connsiteX2464" y="connsiteY2464"/>
                </a:cxn>
                <a:cxn ang="0">
                  <a:pos x="connsiteX2465" y="connsiteY2465"/>
                </a:cxn>
                <a:cxn ang="0">
                  <a:pos x="connsiteX2466" y="connsiteY2466"/>
                </a:cxn>
                <a:cxn ang="0">
                  <a:pos x="connsiteX2467" y="connsiteY2467"/>
                </a:cxn>
                <a:cxn ang="0">
                  <a:pos x="connsiteX2468" y="connsiteY2468"/>
                </a:cxn>
                <a:cxn ang="0">
                  <a:pos x="connsiteX2469" y="connsiteY2469"/>
                </a:cxn>
                <a:cxn ang="0">
                  <a:pos x="connsiteX2470" y="connsiteY2470"/>
                </a:cxn>
                <a:cxn ang="0">
                  <a:pos x="connsiteX2471" y="connsiteY2471"/>
                </a:cxn>
                <a:cxn ang="0">
                  <a:pos x="connsiteX2472" y="connsiteY2472"/>
                </a:cxn>
                <a:cxn ang="0">
                  <a:pos x="connsiteX2473" y="connsiteY2473"/>
                </a:cxn>
                <a:cxn ang="0">
                  <a:pos x="connsiteX2474" y="connsiteY2474"/>
                </a:cxn>
                <a:cxn ang="0">
                  <a:pos x="connsiteX2475" y="connsiteY2475"/>
                </a:cxn>
                <a:cxn ang="0">
                  <a:pos x="connsiteX2476" y="connsiteY2476"/>
                </a:cxn>
                <a:cxn ang="0">
                  <a:pos x="connsiteX2477" y="connsiteY2477"/>
                </a:cxn>
                <a:cxn ang="0">
                  <a:pos x="connsiteX2478" y="connsiteY2478"/>
                </a:cxn>
                <a:cxn ang="0">
                  <a:pos x="connsiteX2479" y="connsiteY2479"/>
                </a:cxn>
                <a:cxn ang="0">
                  <a:pos x="connsiteX2480" y="connsiteY2480"/>
                </a:cxn>
                <a:cxn ang="0">
                  <a:pos x="connsiteX2481" y="connsiteY2481"/>
                </a:cxn>
                <a:cxn ang="0">
                  <a:pos x="connsiteX2482" y="connsiteY2482"/>
                </a:cxn>
                <a:cxn ang="0">
                  <a:pos x="connsiteX2483" y="connsiteY2483"/>
                </a:cxn>
                <a:cxn ang="0">
                  <a:pos x="connsiteX2484" y="connsiteY2484"/>
                </a:cxn>
                <a:cxn ang="0">
                  <a:pos x="connsiteX2485" y="connsiteY2485"/>
                </a:cxn>
                <a:cxn ang="0">
                  <a:pos x="connsiteX2486" y="connsiteY2486"/>
                </a:cxn>
                <a:cxn ang="0">
                  <a:pos x="connsiteX2487" y="connsiteY2487"/>
                </a:cxn>
                <a:cxn ang="0">
                  <a:pos x="connsiteX2488" y="connsiteY2488"/>
                </a:cxn>
                <a:cxn ang="0">
                  <a:pos x="connsiteX2489" y="connsiteY2489"/>
                </a:cxn>
                <a:cxn ang="0">
                  <a:pos x="connsiteX2490" y="connsiteY2490"/>
                </a:cxn>
                <a:cxn ang="0">
                  <a:pos x="connsiteX2491" y="connsiteY2491"/>
                </a:cxn>
                <a:cxn ang="0">
                  <a:pos x="connsiteX2492" y="connsiteY2492"/>
                </a:cxn>
                <a:cxn ang="0">
                  <a:pos x="connsiteX2493" y="connsiteY2493"/>
                </a:cxn>
                <a:cxn ang="0">
                  <a:pos x="connsiteX2494" y="connsiteY2494"/>
                </a:cxn>
                <a:cxn ang="0">
                  <a:pos x="connsiteX2495" y="connsiteY2495"/>
                </a:cxn>
                <a:cxn ang="0">
                  <a:pos x="connsiteX2496" y="connsiteY2496"/>
                </a:cxn>
                <a:cxn ang="0">
                  <a:pos x="connsiteX2497" y="connsiteY2497"/>
                </a:cxn>
                <a:cxn ang="0">
                  <a:pos x="connsiteX2498" y="connsiteY2498"/>
                </a:cxn>
                <a:cxn ang="0">
                  <a:pos x="connsiteX2499" y="connsiteY2499"/>
                </a:cxn>
                <a:cxn ang="0">
                  <a:pos x="connsiteX2500" y="connsiteY2500"/>
                </a:cxn>
                <a:cxn ang="0">
                  <a:pos x="connsiteX2501" y="connsiteY2501"/>
                </a:cxn>
                <a:cxn ang="0">
                  <a:pos x="connsiteX2502" y="connsiteY2502"/>
                </a:cxn>
                <a:cxn ang="0">
                  <a:pos x="connsiteX2503" y="connsiteY2503"/>
                </a:cxn>
                <a:cxn ang="0">
                  <a:pos x="connsiteX2504" y="connsiteY2504"/>
                </a:cxn>
                <a:cxn ang="0">
                  <a:pos x="connsiteX2505" y="connsiteY2505"/>
                </a:cxn>
                <a:cxn ang="0">
                  <a:pos x="connsiteX2506" y="connsiteY2506"/>
                </a:cxn>
                <a:cxn ang="0">
                  <a:pos x="connsiteX2507" y="connsiteY2507"/>
                </a:cxn>
                <a:cxn ang="0">
                  <a:pos x="connsiteX2508" y="connsiteY2508"/>
                </a:cxn>
                <a:cxn ang="0">
                  <a:pos x="connsiteX2509" y="connsiteY2509"/>
                </a:cxn>
                <a:cxn ang="0">
                  <a:pos x="connsiteX2510" y="connsiteY2510"/>
                </a:cxn>
                <a:cxn ang="0">
                  <a:pos x="connsiteX2511" y="connsiteY2511"/>
                </a:cxn>
                <a:cxn ang="0">
                  <a:pos x="connsiteX2512" y="connsiteY2512"/>
                </a:cxn>
                <a:cxn ang="0">
                  <a:pos x="connsiteX2513" y="connsiteY2513"/>
                </a:cxn>
                <a:cxn ang="0">
                  <a:pos x="connsiteX2514" y="connsiteY2514"/>
                </a:cxn>
                <a:cxn ang="0">
                  <a:pos x="connsiteX2515" y="connsiteY2515"/>
                </a:cxn>
                <a:cxn ang="0">
                  <a:pos x="connsiteX2516" y="connsiteY2516"/>
                </a:cxn>
                <a:cxn ang="0">
                  <a:pos x="connsiteX2517" y="connsiteY2517"/>
                </a:cxn>
                <a:cxn ang="0">
                  <a:pos x="connsiteX2518" y="connsiteY2518"/>
                </a:cxn>
                <a:cxn ang="0">
                  <a:pos x="connsiteX2519" y="connsiteY2519"/>
                </a:cxn>
                <a:cxn ang="0">
                  <a:pos x="connsiteX2520" y="connsiteY2520"/>
                </a:cxn>
                <a:cxn ang="0">
                  <a:pos x="connsiteX2521" y="connsiteY2521"/>
                </a:cxn>
                <a:cxn ang="0">
                  <a:pos x="connsiteX2522" y="connsiteY2522"/>
                </a:cxn>
                <a:cxn ang="0">
                  <a:pos x="connsiteX2523" y="connsiteY2523"/>
                </a:cxn>
                <a:cxn ang="0">
                  <a:pos x="connsiteX2524" y="connsiteY2524"/>
                </a:cxn>
                <a:cxn ang="0">
                  <a:pos x="connsiteX2525" y="connsiteY2525"/>
                </a:cxn>
                <a:cxn ang="0">
                  <a:pos x="connsiteX2526" y="connsiteY2526"/>
                </a:cxn>
                <a:cxn ang="0">
                  <a:pos x="connsiteX2527" y="connsiteY2527"/>
                </a:cxn>
                <a:cxn ang="0">
                  <a:pos x="connsiteX2528" y="connsiteY2528"/>
                </a:cxn>
                <a:cxn ang="0">
                  <a:pos x="connsiteX2529" y="connsiteY2529"/>
                </a:cxn>
                <a:cxn ang="0">
                  <a:pos x="connsiteX2530" y="connsiteY2530"/>
                </a:cxn>
                <a:cxn ang="0">
                  <a:pos x="connsiteX2531" y="connsiteY2531"/>
                </a:cxn>
                <a:cxn ang="0">
                  <a:pos x="connsiteX2532" y="connsiteY2532"/>
                </a:cxn>
                <a:cxn ang="0">
                  <a:pos x="connsiteX2533" y="connsiteY2533"/>
                </a:cxn>
                <a:cxn ang="0">
                  <a:pos x="connsiteX2534" y="connsiteY2534"/>
                </a:cxn>
                <a:cxn ang="0">
                  <a:pos x="connsiteX2535" y="connsiteY2535"/>
                </a:cxn>
                <a:cxn ang="0">
                  <a:pos x="connsiteX2536" y="connsiteY2536"/>
                </a:cxn>
                <a:cxn ang="0">
                  <a:pos x="connsiteX2537" y="connsiteY2537"/>
                </a:cxn>
                <a:cxn ang="0">
                  <a:pos x="connsiteX2538" y="connsiteY2538"/>
                </a:cxn>
                <a:cxn ang="0">
                  <a:pos x="connsiteX2539" y="connsiteY2539"/>
                </a:cxn>
                <a:cxn ang="0">
                  <a:pos x="connsiteX2540" y="connsiteY2540"/>
                </a:cxn>
                <a:cxn ang="0">
                  <a:pos x="connsiteX2541" y="connsiteY2541"/>
                </a:cxn>
                <a:cxn ang="0">
                  <a:pos x="connsiteX2542" y="connsiteY2542"/>
                </a:cxn>
                <a:cxn ang="0">
                  <a:pos x="connsiteX2543" y="connsiteY2543"/>
                </a:cxn>
                <a:cxn ang="0">
                  <a:pos x="connsiteX2544" y="connsiteY2544"/>
                </a:cxn>
                <a:cxn ang="0">
                  <a:pos x="connsiteX2545" y="connsiteY2545"/>
                </a:cxn>
                <a:cxn ang="0">
                  <a:pos x="connsiteX2546" y="connsiteY2546"/>
                </a:cxn>
                <a:cxn ang="0">
                  <a:pos x="connsiteX2547" y="connsiteY2547"/>
                </a:cxn>
                <a:cxn ang="0">
                  <a:pos x="connsiteX2548" y="connsiteY2548"/>
                </a:cxn>
                <a:cxn ang="0">
                  <a:pos x="connsiteX2549" y="connsiteY2549"/>
                </a:cxn>
                <a:cxn ang="0">
                  <a:pos x="connsiteX2550" y="connsiteY2550"/>
                </a:cxn>
                <a:cxn ang="0">
                  <a:pos x="connsiteX2551" y="connsiteY2551"/>
                </a:cxn>
                <a:cxn ang="0">
                  <a:pos x="connsiteX2552" y="connsiteY2552"/>
                </a:cxn>
                <a:cxn ang="0">
                  <a:pos x="connsiteX2553" y="connsiteY2553"/>
                </a:cxn>
                <a:cxn ang="0">
                  <a:pos x="connsiteX2554" y="connsiteY2554"/>
                </a:cxn>
                <a:cxn ang="0">
                  <a:pos x="connsiteX2555" y="connsiteY2555"/>
                </a:cxn>
                <a:cxn ang="0">
                  <a:pos x="connsiteX2556" y="connsiteY2556"/>
                </a:cxn>
                <a:cxn ang="0">
                  <a:pos x="connsiteX2557" y="connsiteY2557"/>
                </a:cxn>
                <a:cxn ang="0">
                  <a:pos x="connsiteX2558" y="connsiteY2558"/>
                </a:cxn>
                <a:cxn ang="0">
                  <a:pos x="connsiteX2559" y="connsiteY2559"/>
                </a:cxn>
                <a:cxn ang="0">
                  <a:pos x="connsiteX2560" y="connsiteY2560"/>
                </a:cxn>
                <a:cxn ang="0">
                  <a:pos x="connsiteX2561" y="connsiteY2561"/>
                </a:cxn>
                <a:cxn ang="0">
                  <a:pos x="connsiteX2562" y="connsiteY2562"/>
                </a:cxn>
                <a:cxn ang="0">
                  <a:pos x="connsiteX2563" y="connsiteY2563"/>
                </a:cxn>
                <a:cxn ang="0">
                  <a:pos x="connsiteX2564" y="connsiteY2564"/>
                </a:cxn>
                <a:cxn ang="0">
                  <a:pos x="connsiteX2565" y="connsiteY2565"/>
                </a:cxn>
                <a:cxn ang="0">
                  <a:pos x="connsiteX2566" y="connsiteY2566"/>
                </a:cxn>
                <a:cxn ang="0">
                  <a:pos x="connsiteX2567" y="connsiteY2567"/>
                </a:cxn>
                <a:cxn ang="0">
                  <a:pos x="connsiteX2568" y="connsiteY2568"/>
                </a:cxn>
                <a:cxn ang="0">
                  <a:pos x="connsiteX2569" y="connsiteY2569"/>
                </a:cxn>
                <a:cxn ang="0">
                  <a:pos x="connsiteX2570" y="connsiteY2570"/>
                </a:cxn>
                <a:cxn ang="0">
                  <a:pos x="connsiteX2571" y="connsiteY2571"/>
                </a:cxn>
                <a:cxn ang="0">
                  <a:pos x="connsiteX2572" y="connsiteY2572"/>
                </a:cxn>
                <a:cxn ang="0">
                  <a:pos x="connsiteX2573" y="connsiteY2573"/>
                </a:cxn>
                <a:cxn ang="0">
                  <a:pos x="connsiteX2574" y="connsiteY2574"/>
                </a:cxn>
                <a:cxn ang="0">
                  <a:pos x="connsiteX2575" y="connsiteY2575"/>
                </a:cxn>
                <a:cxn ang="0">
                  <a:pos x="connsiteX2576" y="connsiteY2576"/>
                </a:cxn>
                <a:cxn ang="0">
                  <a:pos x="connsiteX2577" y="connsiteY2577"/>
                </a:cxn>
                <a:cxn ang="0">
                  <a:pos x="connsiteX2578" y="connsiteY2578"/>
                </a:cxn>
                <a:cxn ang="0">
                  <a:pos x="connsiteX2579" y="connsiteY2579"/>
                </a:cxn>
                <a:cxn ang="0">
                  <a:pos x="connsiteX2580" y="connsiteY2580"/>
                </a:cxn>
                <a:cxn ang="0">
                  <a:pos x="connsiteX2581" y="connsiteY2581"/>
                </a:cxn>
                <a:cxn ang="0">
                  <a:pos x="connsiteX2582" y="connsiteY2582"/>
                </a:cxn>
                <a:cxn ang="0">
                  <a:pos x="connsiteX2583" y="connsiteY2583"/>
                </a:cxn>
                <a:cxn ang="0">
                  <a:pos x="connsiteX2584" y="connsiteY2584"/>
                </a:cxn>
                <a:cxn ang="0">
                  <a:pos x="connsiteX2585" y="connsiteY2585"/>
                </a:cxn>
                <a:cxn ang="0">
                  <a:pos x="connsiteX2586" y="connsiteY2586"/>
                </a:cxn>
                <a:cxn ang="0">
                  <a:pos x="connsiteX2587" y="connsiteY2587"/>
                </a:cxn>
                <a:cxn ang="0">
                  <a:pos x="connsiteX2588" y="connsiteY2588"/>
                </a:cxn>
                <a:cxn ang="0">
                  <a:pos x="connsiteX2589" y="connsiteY2589"/>
                </a:cxn>
                <a:cxn ang="0">
                  <a:pos x="connsiteX2590" y="connsiteY2590"/>
                </a:cxn>
                <a:cxn ang="0">
                  <a:pos x="connsiteX2591" y="connsiteY2591"/>
                </a:cxn>
                <a:cxn ang="0">
                  <a:pos x="connsiteX2592" y="connsiteY2592"/>
                </a:cxn>
                <a:cxn ang="0">
                  <a:pos x="connsiteX2593" y="connsiteY2593"/>
                </a:cxn>
                <a:cxn ang="0">
                  <a:pos x="connsiteX2594" y="connsiteY2594"/>
                </a:cxn>
                <a:cxn ang="0">
                  <a:pos x="connsiteX2595" y="connsiteY2595"/>
                </a:cxn>
                <a:cxn ang="0">
                  <a:pos x="connsiteX2596" y="connsiteY2596"/>
                </a:cxn>
                <a:cxn ang="0">
                  <a:pos x="connsiteX2597" y="connsiteY2597"/>
                </a:cxn>
                <a:cxn ang="0">
                  <a:pos x="connsiteX2598" y="connsiteY2598"/>
                </a:cxn>
                <a:cxn ang="0">
                  <a:pos x="connsiteX2599" y="connsiteY2599"/>
                </a:cxn>
                <a:cxn ang="0">
                  <a:pos x="connsiteX2600" y="connsiteY2600"/>
                </a:cxn>
                <a:cxn ang="0">
                  <a:pos x="connsiteX2601" y="connsiteY2601"/>
                </a:cxn>
                <a:cxn ang="0">
                  <a:pos x="connsiteX2602" y="connsiteY2602"/>
                </a:cxn>
                <a:cxn ang="0">
                  <a:pos x="connsiteX2603" y="connsiteY2603"/>
                </a:cxn>
                <a:cxn ang="0">
                  <a:pos x="connsiteX2604" y="connsiteY2604"/>
                </a:cxn>
                <a:cxn ang="0">
                  <a:pos x="connsiteX2605" y="connsiteY2605"/>
                </a:cxn>
                <a:cxn ang="0">
                  <a:pos x="connsiteX2606" y="connsiteY2606"/>
                </a:cxn>
                <a:cxn ang="0">
                  <a:pos x="connsiteX2607" y="connsiteY2607"/>
                </a:cxn>
                <a:cxn ang="0">
                  <a:pos x="connsiteX2608" y="connsiteY2608"/>
                </a:cxn>
                <a:cxn ang="0">
                  <a:pos x="connsiteX2609" y="connsiteY2609"/>
                </a:cxn>
                <a:cxn ang="0">
                  <a:pos x="connsiteX2610" y="connsiteY2610"/>
                </a:cxn>
                <a:cxn ang="0">
                  <a:pos x="connsiteX2611" y="connsiteY2611"/>
                </a:cxn>
                <a:cxn ang="0">
                  <a:pos x="connsiteX2612" y="connsiteY2612"/>
                </a:cxn>
                <a:cxn ang="0">
                  <a:pos x="connsiteX2613" y="connsiteY2613"/>
                </a:cxn>
                <a:cxn ang="0">
                  <a:pos x="connsiteX2614" y="connsiteY2614"/>
                </a:cxn>
                <a:cxn ang="0">
                  <a:pos x="connsiteX2615" y="connsiteY2615"/>
                </a:cxn>
                <a:cxn ang="0">
                  <a:pos x="connsiteX2616" y="connsiteY2616"/>
                </a:cxn>
                <a:cxn ang="0">
                  <a:pos x="connsiteX2617" y="connsiteY2617"/>
                </a:cxn>
                <a:cxn ang="0">
                  <a:pos x="connsiteX2618" y="connsiteY2618"/>
                </a:cxn>
                <a:cxn ang="0">
                  <a:pos x="connsiteX2619" y="connsiteY2619"/>
                </a:cxn>
                <a:cxn ang="0">
                  <a:pos x="connsiteX2620" y="connsiteY2620"/>
                </a:cxn>
                <a:cxn ang="0">
                  <a:pos x="connsiteX2621" y="connsiteY2621"/>
                </a:cxn>
                <a:cxn ang="0">
                  <a:pos x="connsiteX2622" y="connsiteY2622"/>
                </a:cxn>
                <a:cxn ang="0">
                  <a:pos x="connsiteX2623" y="connsiteY2623"/>
                </a:cxn>
                <a:cxn ang="0">
                  <a:pos x="connsiteX2624" y="connsiteY2624"/>
                </a:cxn>
                <a:cxn ang="0">
                  <a:pos x="connsiteX2625" y="connsiteY2625"/>
                </a:cxn>
                <a:cxn ang="0">
                  <a:pos x="connsiteX2626" y="connsiteY2626"/>
                </a:cxn>
                <a:cxn ang="0">
                  <a:pos x="connsiteX2627" y="connsiteY2627"/>
                </a:cxn>
                <a:cxn ang="0">
                  <a:pos x="connsiteX2628" y="connsiteY2628"/>
                </a:cxn>
                <a:cxn ang="0">
                  <a:pos x="connsiteX2629" y="connsiteY2629"/>
                </a:cxn>
                <a:cxn ang="0">
                  <a:pos x="connsiteX2630" y="connsiteY2630"/>
                </a:cxn>
                <a:cxn ang="0">
                  <a:pos x="connsiteX2631" y="connsiteY2631"/>
                </a:cxn>
                <a:cxn ang="0">
                  <a:pos x="connsiteX2632" y="connsiteY2632"/>
                </a:cxn>
                <a:cxn ang="0">
                  <a:pos x="connsiteX2633" y="connsiteY2633"/>
                </a:cxn>
                <a:cxn ang="0">
                  <a:pos x="connsiteX2634" y="connsiteY2634"/>
                </a:cxn>
                <a:cxn ang="0">
                  <a:pos x="connsiteX2635" y="connsiteY2635"/>
                </a:cxn>
                <a:cxn ang="0">
                  <a:pos x="connsiteX2636" y="connsiteY2636"/>
                </a:cxn>
                <a:cxn ang="0">
                  <a:pos x="connsiteX2637" y="connsiteY2637"/>
                </a:cxn>
                <a:cxn ang="0">
                  <a:pos x="connsiteX2638" y="connsiteY2638"/>
                </a:cxn>
                <a:cxn ang="0">
                  <a:pos x="connsiteX2639" y="connsiteY2639"/>
                </a:cxn>
                <a:cxn ang="0">
                  <a:pos x="connsiteX2640" y="connsiteY2640"/>
                </a:cxn>
                <a:cxn ang="0">
                  <a:pos x="connsiteX2641" y="connsiteY2641"/>
                </a:cxn>
                <a:cxn ang="0">
                  <a:pos x="connsiteX2642" y="connsiteY2642"/>
                </a:cxn>
                <a:cxn ang="0">
                  <a:pos x="connsiteX2643" y="connsiteY2643"/>
                </a:cxn>
                <a:cxn ang="0">
                  <a:pos x="connsiteX2644" y="connsiteY2644"/>
                </a:cxn>
                <a:cxn ang="0">
                  <a:pos x="connsiteX2645" y="connsiteY2645"/>
                </a:cxn>
                <a:cxn ang="0">
                  <a:pos x="connsiteX2646" y="connsiteY2646"/>
                </a:cxn>
                <a:cxn ang="0">
                  <a:pos x="connsiteX2647" y="connsiteY2647"/>
                </a:cxn>
                <a:cxn ang="0">
                  <a:pos x="connsiteX2648" y="connsiteY2648"/>
                </a:cxn>
                <a:cxn ang="0">
                  <a:pos x="connsiteX2649" y="connsiteY2649"/>
                </a:cxn>
                <a:cxn ang="0">
                  <a:pos x="connsiteX2650" y="connsiteY2650"/>
                </a:cxn>
                <a:cxn ang="0">
                  <a:pos x="connsiteX2651" y="connsiteY2651"/>
                </a:cxn>
                <a:cxn ang="0">
                  <a:pos x="connsiteX2652" y="connsiteY2652"/>
                </a:cxn>
                <a:cxn ang="0">
                  <a:pos x="connsiteX2653" y="connsiteY2653"/>
                </a:cxn>
                <a:cxn ang="0">
                  <a:pos x="connsiteX2654" y="connsiteY2654"/>
                </a:cxn>
                <a:cxn ang="0">
                  <a:pos x="connsiteX2655" y="connsiteY2655"/>
                </a:cxn>
                <a:cxn ang="0">
                  <a:pos x="connsiteX2656" y="connsiteY2656"/>
                </a:cxn>
                <a:cxn ang="0">
                  <a:pos x="connsiteX2657" y="connsiteY2657"/>
                </a:cxn>
                <a:cxn ang="0">
                  <a:pos x="connsiteX2658" y="connsiteY2658"/>
                </a:cxn>
                <a:cxn ang="0">
                  <a:pos x="connsiteX2659" y="connsiteY2659"/>
                </a:cxn>
                <a:cxn ang="0">
                  <a:pos x="connsiteX2660" y="connsiteY2660"/>
                </a:cxn>
                <a:cxn ang="0">
                  <a:pos x="connsiteX2661" y="connsiteY2661"/>
                </a:cxn>
                <a:cxn ang="0">
                  <a:pos x="connsiteX2662" y="connsiteY2662"/>
                </a:cxn>
                <a:cxn ang="0">
                  <a:pos x="connsiteX2663" y="connsiteY2663"/>
                </a:cxn>
                <a:cxn ang="0">
                  <a:pos x="connsiteX2664" y="connsiteY2664"/>
                </a:cxn>
                <a:cxn ang="0">
                  <a:pos x="connsiteX2665" y="connsiteY2665"/>
                </a:cxn>
                <a:cxn ang="0">
                  <a:pos x="connsiteX2666" y="connsiteY2666"/>
                </a:cxn>
                <a:cxn ang="0">
                  <a:pos x="connsiteX2667" y="connsiteY2667"/>
                </a:cxn>
                <a:cxn ang="0">
                  <a:pos x="connsiteX2668" y="connsiteY2668"/>
                </a:cxn>
                <a:cxn ang="0">
                  <a:pos x="connsiteX2669" y="connsiteY2669"/>
                </a:cxn>
                <a:cxn ang="0">
                  <a:pos x="connsiteX2670" y="connsiteY2670"/>
                </a:cxn>
                <a:cxn ang="0">
                  <a:pos x="connsiteX2671" y="connsiteY2671"/>
                </a:cxn>
                <a:cxn ang="0">
                  <a:pos x="connsiteX2672" y="connsiteY2672"/>
                </a:cxn>
                <a:cxn ang="0">
                  <a:pos x="connsiteX2673" y="connsiteY2673"/>
                </a:cxn>
                <a:cxn ang="0">
                  <a:pos x="connsiteX2674" y="connsiteY2674"/>
                </a:cxn>
                <a:cxn ang="0">
                  <a:pos x="connsiteX2675" y="connsiteY2675"/>
                </a:cxn>
                <a:cxn ang="0">
                  <a:pos x="connsiteX2676" y="connsiteY2676"/>
                </a:cxn>
                <a:cxn ang="0">
                  <a:pos x="connsiteX2677" y="connsiteY2677"/>
                </a:cxn>
                <a:cxn ang="0">
                  <a:pos x="connsiteX2678" y="connsiteY2678"/>
                </a:cxn>
                <a:cxn ang="0">
                  <a:pos x="connsiteX2679" y="connsiteY2679"/>
                </a:cxn>
                <a:cxn ang="0">
                  <a:pos x="connsiteX2680" y="connsiteY2680"/>
                </a:cxn>
                <a:cxn ang="0">
                  <a:pos x="connsiteX2681" y="connsiteY2681"/>
                </a:cxn>
                <a:cxn ang="0">
                  <a:pos x="connsiteX2682" y="connsiteY2682"/>
                </a:cxn>
                <a:cxn ang="0">
                  <a:pos x="connsiteX2683" y="connsiteY2683"/>
                </a:cxn>
                <a:cxn ang="0">
                  <a:pos x="connsiteX2684" y="connsiteY2684"/>
                </a:cxn>
                <a:cxn ang="0">
                  <a:pos x="connsiteX2685" y="connsiteY2685"/>
                </a:cxn>
                <a:cxn ang="0">
                  <a:pos x="connsiteX2686" y="connsiteY2686"/>
                </a:cxn>
                <a:cxn ang="0">
                  <a:pos x="connsiteX2687" y="connsiteY2687"/>
                </a:cxn>
                <a:cxn ang="0">
                  <a:pos x="connsiteX2688" y="connsiteY2688"/>
                </a:cxn>
                <a:cxn ang="0">
                  <a:pos x="connsiteX2689" y="connsiteY2689"/>
                </a:cxn>
                <a:cxn ang="0">
                  <a:pos x="connsiteX2690" y="connsiteY2690"/>
                </a:cxn>
                <a:cxn ang="0">
                  <a:pos x="connsiteX2691" y="connsiteY2691"/>
                </a:cxn>
                <a:cxn ang="0">
                  <a:pos x="connsiteX2692" y="connsiteY2692"/>
                </a:cxn>
                <a:cxn ang="0">
                  <a:pos x="connsiteX2693" y="connsiteY2693"/>
                </a:cxn>
                <a:cxn ang="0">
                  <a:pos x="connsiteX2694" y="connsiteY2694"/>
                </a:cxn>
                <a:cxn ang="0">
                  <a:pos x="connsiteX2695" y="connsiteY2695"/>
                </a:cxn>
                <a:cxn ang="0">
                  <a:pos x="connsiteX2696" y="connsiteY2696"/>
                </a:cxn>
                <a:cxn ang="0">
                  <a:pos x="connsiteX2697" y="connsiteY2697"/>
                </a:cxn>
                <a:cxn ang="0">
                  <a:pos x="connsiteX2698" y="connsiteY2698"/>
                </a:cxn>
                <a:cxn ang="0">
                  <a:pos x="connsiteX2699" y="connsiteY2699"/>
                </a:cxn>
                <a:cxn ang="0">
                  <a:pos x="connsiteX2700" y="connsiteY2700"/>
                </a:cxn>
                <a:cxn ang="0">
                  <a:pos x="connsiteX2701" y="connsiteY2701"/>
                </a:cxn>
                <a:cxn ang="0">
                  <a:pos x="connsiteX2702" y="connsiteY2702"/>
                </a:cxn>
                <a:cxn ang="0">
                  <a:pos x="connsiteX2703" y="connsiteY2703"/>
                </a:cxn>
                <a:cxn ang="0">
                  <a:pos x="connsiteX2704" y="connsiteY2704"/>
                </a:cxn>
                <a:cxn ang="0">
                  <a:pos x="connsiteX2705" y="connsiteY2705"/>
                </a:cxn>
                <a:cxn ang="0">
                  <a:pos x="connsiteX2706" y="connsiteY2706"/>
                </a:cxn>
                <a:cxn ang="0">
                  <a:pos x="connsiteX2707" y="connsiteY2707"/>
                </a:cxn>
                <a:cxn ang="0">
                  <a:pos x="connsiteX2708" y="connsiteY2708"/>
                </a:cxn>
                <a:cxn ang="0">
                  <a:pos x="connsiteX2709" y="connsiteY2709"/>
                </a:cxn>
                <a:cxn ang="0">
                  <a:pos x="connsiteX2710" y="connsiteY2710"/>
                </a:cxn>
                <a:cxn ang="0">
                  <a:pos x="connsiteX2711" y="connsiteY2711"/>
                </a:cxn>
                <a:cxn ang="0">
                  <a:pos x="connsiteX2712" y="connsiteY2712"/>
                </a:cxn>
                <a:cxn ang="0">
                  <a:pos x="connsiteX2713" y="connsiteY2713"/>
                </a:cxn>
                <a:cxn ang="0">
                  <a:pos x="connsiteX2714" y="connsiteY2714"/>
                </a:cxn>
                <a:cxn ang="0">
                  <a:pos x="connsiteX2715" y="connsiteY2715"/>
                </a:cxn>
                <a:cxn ang="0">
                  <a:pos x="connsiteX2716" y="connsiteY2716"/>
                </a:cxn>
                <a:cxn ang="0">
                  <a:pos x="connsiteX2717" y="connsiteY2717"/>
                </a:cxn>
                <a:cxn ang="0">
                  <a:pos x="connsiteX2718" y="connsiteY2718"/>
                </a:cxn>
                <a:cxn ang="0">
                  <a:pos x="connsiteX2719" y="connsiteY2719"/>
                </a:cxn>
                <a:cxn ang="0">
                  <a:pos x="connsiteX2720" y="connsiteY2720"/>
                </a:cxn>
                <a:cxn ang="0">
                  <a:pos x="connsiteX2721" y="connsiteY2721"/>
                </a:cxn>
                <a:cxn ang="0">
                  <a:pos x="connsiteX2722" y="connsiteY2722"/>
                </a:cxn>
                <a:cxn ang="0">
                  <a:pos x="connsiteX2723" y="connsiteY2723"/>
                </a:cxn>
                <a:cxn ang="0">
                  <a:pos x="connsiteX2724" y="connsiteY2724"/>
                </a:cxn>
                <a:cxn ang="0">
                  <a:pos x="connsiteX2725" y="connsiteY2725"/>
                </a:cxn>
                <a:cxn ang="0">
                  <a:pos x="connsiteX2726" y="connsiteY2726"/>
                </a:cxn>
                <a:cxn ang="0">
                  <a:pos x="connsiteX2727" y="connsiteY2727"/>
                </a:cxn>
                <a:cxn ang="0">
                  <a:pos x="connsiteX2728" y="connsiteY2728"/>
                </a:cxn>
                <a:cxn ang="0">
                  <a:pos x="connsiteX2729" y="connsiteY2729"/>
                </a:cxn>
                <a:cxn ang="0">
                  <a:pos x="connsiteX2730" y="connsiteY2730"/>
                </a:cxn>
                <a:cxn ang="0">
                  <a:pos x="connsiteX2731" y="connsiteY2731"/>
                </a:cxn>
                <a:cxn ang="0">
                  <a:pos x="connsiteX2732" y="connsiteY2732"/>
                </a:cxn>
                <a:cxn ang="0">
                  <a:pos x="connsiteX2733" y="connsiteY2733"/>
                </a:cxn>
                <a:cxn ang="0">
                  <a:pos x="connsiteX2734" y="connsiteY2734"/>
                </a:cxn>
                <a:cxn ang="0">
                  <a:pos x="connsiteX2735" y="connsiteY2735"/>
                </a:cxn>
                <a:cxn ang="0">
                  <a:pos x="connsiteX2736" y="connsiteY2736"/>
                </a:cxn>
                <a:cxn ang="0">
                  <a:pos x="connsiteX2737" y="connsiteY2737"/>
                </a:cxn>
                <a:cxn ang="0">
                  <a:pos x="connsiteX2738" y="connsiteY2738"/>
                </a:cxn>
                <a:cxn ang="0">
                  <a:pos x="connsiteX2739" y="connsiteY2739"/>
                </a:cxn>
                <a:cxn ang="0">
                  <a:pos x="connsiteX2740" y="connsiteY2740"/>
                </a:cxn>
                <a:cxn ang="0">
                  <a:pos x="connsiteX2741" y="connsiteY2741"/>
                </a:cxn>
                <a:cxn ang="0">
                  <a:pos x="connsiteX2742" y="connsiteY2742"/>
                </a:cxn>
                <a:cxn ang="0">
                  <a:pos x="connsiteX2743" y="connsiteY2743"/>
                </a:cxn>
                <a:cxn ang="0">
                  <a:pos x="connsiteX2744" y="connsiteY2744"/>
                </a:cxn>
                <a:cxn ang="0">
                  <a:pos x="connsiteX2745" y="connsiteY2745"/>
                </a:cxn>
                <a:cxn ang="0">
                  <a:pos x="connsiteX2746" y="connsiteY2746"/>
                </a:cxn>
                <a:cxn ang="0">
                  <a:pos x="connsiteX2747" y="connsiteY2747"/>
                </a:cxn>
                <a:cxn ang="0">
                  <a:pos x="connsiteX2748" y="connsiteY2748"/>
                </a:cxn>
                <a:cxn ang="0">
                  <a:pos x="connsiteX2749" y="connsiteY2749"/>
                </a:cxn>
                <a:cxn ang="0">
                  <a:pos x="connsiteX2750" y="connsiteY2750"/>
                </a:cxn>
                <a:cxn ang="0">
                  <a:pos x="connsiteX2751" y="connsiteY2751"/>
                </a:cxn>
                <a:cxn ang="0">
                  <a:pos x="connsiteX2752" y="connsiteY2752"/>
                </a:cxn>
                <a:cxn ang="0">
                  <a:pos x="connsiteX2753" y="connsiteY2753"/>
                </a:cxn>
                <a:cxn ang="0">
                  <a:pos x="connsiteX2754" y="connsiteY2754"/>
                </a:cxn>
                <a:cxn ang="0">
                  <a:pos x="connsiteX2755" y="connsiteY2755"/>
                </a:cxn>
                <a:cxn ang="0">
                  <a:pos x="connsiteX2756" y="connsiteY2756"/>
                </a:cxn>
                <a:cxn ang="0">
                  <a:pos x="connsiteX2757" y="connsiteY2757"/>
                </a:cxn>
                <a:cxn ang="0">
                  <a:pos x="connsiteX2758" y="connsiteY2758"/>
                </a:cxn>
                <a:cxn ang="0">
                  <a:pos x="connsiteX2759" y="connsiteY2759"/>
                </a:cxn>
                <a:cxn ang="0">
                  <a:pos x="connsiteX2760" y="connsiteY2760"/>
                </a:cxn>
                <a:cxn ang="0">
                  <a:pos x="connsiteX2761" y="connsiteY2761"/>
                </a:cxn>
                <a:cxn ang="0">
                  <a:pos x="connsiteX2762" y="connsiteY2762"/>
                </a:cxn>
                <a:cxn ang="0">
                  <a:pos x="connsiteX2763" y="connsiteY2763"/>
                </a:cxn>
                <a:cxn ang="0">
                  <a:pos x="connsiteX2764" y="connsiteY2764"/>
                </a:cxn>
                <a:cxn ang="0">
                  <a:pos x="connsiteX2765" y="connsiteY2765"/>
                </a:cxn>
                <a:cxn ang="0">
                  <a:pos x="connsiteX2766" y="connsiteY2766"/>
                </a:cxn>
                <a:cxn ang="0">
                  <a:pos x="connsiteX2767" y="connsiteY2767"/>
                </a:cxn>
                <a:cxn ang="0">
                  <a:pos x="connsiteX2768" y="connsiteY2768"/>
                </a:cxn>
                <a:cxn ang="0">
                  <a:pos x="connsiteX2769" y="connsiteY2769"/>
                </a:cxn>
                <a:cxn ang="0">
                  <a:pos x="connsiteX2770" y="connsiteY2770"/>
                </a:cxn>
                <a:cxn ang="0">
                  <a:pos x="connsiteX2771" y="connsiteY2771"/>
                </a:cxn>
                <a:cxn ang="0">
                  <a:pos x="connsiteX2772" y="connsiteY2772"/>
                </a:cxn>
                <a:cxn ang="0">
                  <a:pos x="connsiteX2773" y="connsiteY2773"/>
                </a:cxn>
                <a:cxn ang="0">
                  <a:pos x="connsiteX2774" y="connsiteY2774"/>
                </a:cxn>
                <a:cxn ang="0">
                  <a:pos x="connsiteX2775" y="connsiteY2775"/>
                </a:cxn>
                <a:cxn ang="0">
                  <a:pos x="connsiteX2776" y="connsiteY2776"/>
                </a:cxn>
                <a:cxn ang="0">
                  <a:pos x="connsiteX2777" y="connsiteY2777"/>
                </a:cxn>
                <a:cxn ang="0">
                  <a:pos x="connsiteX2778" y="connsiteY2778"/>
                </a:cxn>
                <a:cxn ang="0">
                  <a:pos x="connsiteX2779" y="connsiteY2779"/>
                </a:cxn>
                <a:cxn ang="0">
                  <a:pos x="connsiteX2780" y="connsiteY2780"/>
                </a:cxn>
                <a:cxn ang="0">
                  <a:pos x="connsiteX2781" y="connsiteY2781"/>
                </a:cxn>
                <a:cxn ang="0">
                  <a:pos x="connsiteX2782" y="connsiteY2782"/>
                </a:cxn>
                <a:cxn ang="0">
                  <a:pos x="connsiteX2783" y="connsiteY2783"/>
                </a:cxn>
                <a:cxn ang="0">
                  <a:pos x="connsiteX2784" y="connsiteY2784"/>
                </a:cxn>
                <a:cxn ang="0">
                  <a:pos x="connsiteX2785" y="connsiteY2785"/>
                </a:cxn>
                <a:cxn ang="0">
                  <a:pos x="connsiteX2786" y="connsiteY2786"/>
                </a:cxn>
                <a:cxn ang="0">
                  <a:pos x="connsiteX2787" y="connsiteY2787"/>
                </a:cxn>
                <a:cxn ang="0">
                  <a:pos x="connsiteX2788" y="connsiteY2788"/>
                </a:cxn>
                <a:cxn ang="0">
                  <a:pos x="connsiteX2789" y="connsiteY2789"/>
                </a:cxn>
                <a:cxn ang="0">
                  <a:pos x="connsiteX2790" y="connsiteY2790"/>
                </a:cxn>
                <a:cxn ang="0">
                  <a:pos x="connsiteX2791" y="connsiteY2791"/>
                </a:cxn>
                <a:cxn ang="0">
                  <a:pos x="connsiteX2792" y="connsiteY2792"/>
                </a:cxn>
                <a:cxn ang="0">
                  <a:pos x="connsiteX2793" y="connsiteY2793"/>
                </a:cxn>
                <a:cxn ang="0">
                  <a:pos x="connsiteX2794" y="connsiteY2794"/>
                </a:cxn>
                <a:cxn ang="0">
                  <a:pos x="connsiteX2795" y="connsiteY2795"/>
                </a:cxn>
                <a:cxn ang="0">
                  <a:pos x="connsiteX2796" y="connsiteY2796"/>
                </a:cxn>
                <a:cxn ang="0">
                  <a:pos x="connsiteX2797" y="connsiteY2797"/>
                </a:cxn>
                <a:cxn ang="0">
                  <a:pos x="connsiteX2798" y="connsiteY2798"/>
                </a:cxn>
                <a:cxn ang="0">
                  <a:pos x="connsiteX2799" y="connsiteY2799"/>
                </a:cxn>
                <a:cxn ang="0">
                  <a:pos x="connsiteX2800" y="connsiteY2800"/>
                </a:cxn>
                <a:cxn ang="0">
                  <a:pos x="connsiteX2801" y="connsiteY2801"/>
                </a:cxn>
                <a:cxn ang="0">
                  <a:pos x="connsiteX2802" y="connsiteY2802"/>
                </a:cxn>
                <a:cxn ang="0">
                  <a:pos x="connsiteX2803" y="connsiteY2803"/>
                </a:cxn>
                <a:cxn ang="0">
                  <a:pos x="connsiteX2804" y="connsiteY2804"/>
                </a:cxn>
                <a:cxn ang="0">
                  <a:pos x="connsiteX2805" y="connsiteY2805"/>
                </a:cxn>
                <a:cxn ang="0">
                  <a:pos x="connsiteX2806" y="connsiteY2806"/>
                </a:cxn>
                <a:cxn ang="0">
                  <a:pos x="connsiteX2807" y="connsiteY2807"/>
                </a:cxn>
                <a:cxn ang="0">
                  <a:pos x="connsiteX2808" y="connsiteY2808"/>
                </a:cxn>
                <a:cxn ang="0">
                  <a:pos x="connsiteX2809" y="connsiteY2809"/>
                </a:cxn>
                <a:cxn ang="0">
                  <a:pos x="connsiteX2810" y="connsiteY2810"/>
                </a:cxn>
                <a:cxn ang="0">
                  <a:pos x="connsiteX2811" y="connsiteY2811"/>
                </a:cxn>
                <a:cxn ang="0">
                  <a:pos x="connsiteX2812" y="connsiteY2812"/>
                </a:cxn>
                <a:cxn ang="0">
                  <a:pos x="connsiteX2813" y="connsiteY2813"/>
                </a:cxn>
                <a:cxn ang="0">
                  <a:pos x="connsiteX2814" y="connsiteY2814"/>
                </a:cxn>
                <a:cxn ang="0">
                  <a:pos x="connsiteX2815" y="connsiteY2815"/>
                </a:cxn>
                <a:cxn ang="0">
                  <a:pos x="connsiteX2816" y="connsiteY2816"/>
                </a:cxn>
                <a:cxn ang="0">
                  <a:pos x="connsiteX2817" y="connsiteY2817"/>
                </a:cxn>
                <a:cxn ang="0">
                  <a:pos x="connsiteX2818" y="connsiteY2818"/>
                </a:cxn>
                <a:cxn ang="0">
                  <a:pos x="connsiteX2819" y="connsiteY2819"/>
                </a:cxn>
                <a:cxn ang="0">
                  <a:pos x="connsiteX2820" y="connsiteY2820"/>
                </a:cxn>
                <a:cxn ang="0">
                  <a:pos x="connsiteX2821" y="connsiteY2821"/>
                </a:cxn>
                <a:cxn ang="0">
                  <a:pos x="connsiteX2822" y="connsiteY2822"/>
                </a:cxn>
                <a:cxn ang="0">
                  <a:pos x="connsiteX2823" y="connsiteY2823"/>
                </a:cxn>
                <a:cxn ang="0">
                  <a:pos x="connsiteX2824" y="connsiteY2824"/>
                </a:cxn>
                <a:cxn ang="0">
                  <a:pos x="connsiteX2825" y="connsiteY2825"/>
                </a:cxn>
                <a:cxn ang="0">
                  <a:pos x="connsiteX2826" y="connsiteY2826"/>
                </a:cxn>
                <a:cxn ang="0">
                  <a:pos x="connsiteX2827" y="connsiteY2827"/>
                </a:cxn>
                <a:cxn ang="0">
                  <a:pos x="connsiteX2828" y="connsiteY2828"/>
                </a:cxn>
                <a:cxn ang="0">
                  <a:pos x="connsiteX2829" y="connsiteY2829"/>
                </a:cxn>
                <a:cxn ang="0">
                  <a:pos x="connsiteX2830" y="connsiteY2830"/>
                </a:cxn>
                <a:cxn ang="0">
                  <a:pos x="connsiteX2831" y="connsiteY2831"/>
                </a:cxn>
                <a:cxn ang="0">
                  <a:pos x="connsiteX2832" y="connsiteY2832"/>
                </a:cxn>
                <a:cxn ang="0">
                  <a:pos x="connsiteX2833" y="connsiteY2833"/>
                </a:cxn>
                <a:cxn ang="0">
                  <a:pos x="connsiteX2834" y="connsiteY2834"/>
                </a:cxn>
                <a:cxn ang="0">
                  <a:pos x="connsiteX2835" y="connsiteY2835"/>
                </a:cxn>
                <a:cxn ang="0">
                  <a:pos x="connsiteX2836" y="connsiteY2836"/>
                </a:cxn>
                <a:cxn ang="0">
                  <a:pos x="connsiteX2837" y="connsiteY2837"/>
                </a:cxn>
                <a:cxn ang="0">
                  <a:pos x="connsiteX2838" y="connsiteY2838"/>
                </a:cxn>
                <a:cxn ang="0">
                  <a:pos x="connsiteX2839" y="connsiteY2839"/>
                </a:cxn>
                <a:cxn ang="0">
                  <a:pos x="connsiteX2840" y="connsiteY2840"/>
                </a:cxn>
                <a:cxn ang="0">
                  <a:pos x="connsiteX2841" y="connsiteY2841"/>
                </a:cxn>
                <a:cxn ang="0">
                  <a:pos x="connsiteX2842" y="connsiteY2842"/>
                </a:cxn>
                <a:cxn ang="0">
                  <a:pos x="connsiteX2843" y="connsiteY2843"/>
                </a:cxn>
                <a:cxn ang="0">
                  <a:pos x="connsiteX2844" y="connsiteY2844"/>
                </a:cxn>
                <a:cxn ang="0">
                  <a:pos x="connsiteX2845" y="connsiteY2845"/>
                </a:cxn>
                <a:cxn ang="0">
                  <a:pos x="connsiteX2846" y="connsiteY2846"/>
                </a:cxn>
                <a:cxn ang="0">
                  <a:pos x="connsiteX2847" y="connsiteY2847"/>
                </a:cxn>
                <a:cxn ang="0">
                  <a:pos x="connsiteX2848" y="connsiteY2848"/>
                </a:cxn>
                <a:cxn ang="0">
                  <a:pos x="connsiteX2849" y="connsiteY2849"/>
                </a:cxn>
                <a:cxn ang="0">
                  <a:pos x="connsiteX2850" y="connsiteY2850"/>
                </a:cxn>
                <a:cxn ang="0">
                  <a:pos x="connsiteX2851" y="connsiteY2851"/>
                </a:cxn>
                <a:cxn ang="0">
                  <a:pos x="connsiteX2852" y="connsiteY2852"/>
                </a:cxn>
                <a:cxn ang="0">
                  <a:pos x="connsiteX2853" y="connsiteY2853"/>
                </a:cxn>
                <a:cxn ang="0">
                  <a:pos x="connsiteX2854" y="connsiteY2854"/>
                </a:cxn>
                <a:cxn ang="0">
                  <a:pos x="connsiteX2855" y="connsiteY2855"/>
                </a:cxn>
                <a:cxn ang="0">
                  <a:pos x="connsiteX2856" y="connsiteY2856"/>
                </a:cxn>
                <a:cxn ang="0">
                  <a:pos x="connsiteX2857" y="connsiteY2857"/>
                </a:cxn>
                <a:cxn ang="0">
                  <a:pos x="connsiteX2858" y="connsiteY2858"/>
                </a:cxn>
                <a:cxn ang="0">
                  <a:pos x="connsiteX2859" y="connsiteY2859"/>
                </a:cxn>
                <a:cxn ang="0">
                  <a:pos x="connsiteX2860" y="connsiteY2860"/>
                </a:cxn>
                <a:cxn ang="0">
                  <a:pos x="connsiteX2861" y="connsiteY2861"/>
                </a:cxn>
                <a:cxn ang="0">
                  <a:pos x="connsiteX2862" y="connsiteY2862"/>
                </a:cxn>
                <a:cxn ang="0">
                  <a:pos x="connsiteX2863" y="connsiteY2863"/>
                </a:cxn>
                <a:cxn ang="0">
                  <a:pos x="connsiteX2864" y="connsiteY2864"/>
                </a:cxn>
                <a:cxn ang="0">
                  <a:pos x="connsiteX2865" y="connsiteY2865"/>
                </a:cxn>
                <a:cxn ang="0">
                  <a:pos x="connsiteX2866" y="connsiteY2866"/>
                </a:cxn>
                <a:cxn ang="0">
                  <a:pos x="connsiteX2867" y="connsiteY2867"/>
                </a:cxn>
                <a:cxn ang="0">
                  <a:pos x="connsiteX2868" y="connsiteY2868"/>
                </a:cxn>
                <a:cxn ang="0">
                  <a:pos x="connsiteX2869" y="connsiteY2869"/>
                </a:cxn>
                <a:cxn ang="0">
                  <a:pos x="connsiteX2870" y="connsiteY2870"/>
                </a:cxn>
                <a:cxn ang="0">
                  <a:pos x="connsiteX2871" y="connsiteY2871"/>
                </a:cxn>
                <a:cxn ang="0">
                  <a:pos x="connsiteX2872" y="connsiteY2872"/>
                </a:cxn>
                <a:cxn ang="0">
                  <a:pos x="connsiteX2873" y="connsiteY2873"/>
                </a:cxn>
                <a:cxn ang="0">
                  <a:pos x="connsiteX2874" y="connsiteY2874"/>
                </a:cxn>
                <a:cxn ang="0">
                  <a:pos x="connsiteX2875" y="connsiteY2875"/>
                </a:cxn>
                <a:cxn ang="0">
                  <a:pos x="connsiteX2876" y="connsiteY2876"/>
                </a:cxn>
                <a:cxn ang="0">
                  <a:pos x="connsiteX2877" y="connsiteY2877"/>
                </a:cxn>
                <a:cxn ang="0">
                  <a:pos x="connsiteX2878" y="connsiteY2878"/>
                </a:cxn>
                <a:cxn ang="0">
                  <a:pos x="connsiteX2879" y="connsiteY2879"/>
                </a:cxn>
                <a:cxn ang="0">
                  <a:pos x="connsiteX2880" y="connsiteY2880"/>
                </a:cxn>
                <a:cxn ang="0">
                  <a:pos x="connsiteX2881" y="connsiteY2881"/>
                </a:cxn>
                <a:cxn ang="0">
                  <a:pos x="connsiteX2882" y="connsiteY2882"/>
                </a:cxn>
                <a:cxn ang="0">
                  <a:pos x="connsiteX2883" y="connsiteY2883"/>
                </a:cxn>
                <a:cxn ang="0">
                  <a:pos x="connsiteX2884" y="connsiteY2884"/>
                </a:cxn>
                <a:cxn ang="0">
                  <a:pos x="connsiteX2885" y="connsiteY2885"/>
                </a:cxn>
                <a:cxn ang="0">
                  <a:pos x="connsiteX2886" y="connsiteY2886"/>
                </a:cxn>
                <a:cxn ang="0">
                  <a:pos x="connsiteX2887" y="connsiteY2887"/>
                </a:cxn>
                <a:cxn ang="0">
                  <a:pos x="connsiteX2888" y="connsiteY2888"/>
                </a:cxn>
                <a:cxn ang="0">
                  <a:pos x="connsiteX2889" y="connsiteY2889"/>
                </a:cxn>
                <a:cxn ang="0">
                  <a:pos x="connsiteX2890" y="connsiteY2890"/>
                </a:cxn>
                <a:cxn ang="0">
                  <a:pos x="connsiteX2891" y="connsiteY2891"/>
                </a:cxn>
                <a:cxn ang="0">
                  <a:pos x="connsiteX2892" y="connsiteY2892"/>
                </a:cxn>
                <a:cxn ang="0">
                  <a:pos x="connsiteX2893" y="connsiteY2893"/>
                </a:cxn>
                <a:cxn ang="0">
                  <a:pos x="connsiteX2894" y="connsiteY2894"/>
                </a:cxn>
                <a:cxn ang="0">
                  <a:pos x="connsiteX2895" y="connsiteY2895"/>
                </a:cxn>
                <a:cxn ang="0">
                  <a:pos x="connsiteX2896" y="connsiteY2896"/>
                </a:cxn>
                <a:cxn ang="0">
                  <a:pos x="connsiteX2897" y="connsiteY2897"/>
                </a:cxn>
                <a:cxn ang="0">
                  <a:pos x="connsiteX2898" y="connsiteY2898"/>
                </a:cxn>
                <a:cxn ang="0">
                  <a:pos x="connsiteX2899" y="connsiteY2899"/>
                </a:cxn>
                <a:cxn ang="0">
                  <a:pos x="connsiteX2900" y="connsiteY2900"/>
                </a:cxn>
                <a:cxn ang="0">
                  <a:pos x="connsiteX2901" y="connsiteY2901"/>
                </a:cxn>
                <a:cxn ang="0">
                  <a:pos x="connsiteX2902" y="connsiteY2902"/>
                </a:cxn>
                <a:cxn ang="0">
                  <a:pos x="connsiteX2903" y="connsiteY2903"/>
                </a:cxn>
                <a:cxn ang="0">
                  <a:pos x="connsiteX2904" y="connsiteY2904"/>
                </a:cxn>
                <a:cxn ang="0">
                  <a:pos x="connsiteX2905" y="connsiteY2905"/>
                </a:cxn>
                <a:cxn ang="0">
                  <a:pos x="connsiteX2906" y="connsiteY2906"/>
                </a:cxn>
                <a:cxn ang="0">
                  <a:pos x="connsiteX2907" y="connsiteY2907"/>
                </a:cxn>
                <a:cxn ang="0">
                  <a:pos x="connsiteX2908" y="connsiteY2908"/>
                </a:cxn>
                <a:cxn ang="0">
                  <a:pos x="connsiteX2909" y="connsiteY2909"/>
                </a:cxn>
                <a:cxn ang="0">
                  <a:pos x="connsiteX2910" y="connsiteY2910"/>
                </a:cxn>
                <a:cxn ang="0">
                  <a:pos x="connsiteX2911" y="connsiteY2911"/>
                </a:cxn>
                <a:cxn ang="0">
                  <a:pos x="connsiteX2912" y="connsiteY2912"/>
                </a:cxn>
                <a:cxn ang="0">
                  <a:pos x="connsiteX2913" y="connsiteY2913"/>
                </a:cxn>
                <a:cxn ang="0">
                  <a:pos x="connsiteX2914" y="connsiteY2914"/>
                </a:cxn>
                <a:cxn ang="0">
                  <a:pos x="connsiteX2915" y="connsiteY2915"/>
                </a:cxn>
                <a:cxn ang="0">
                  <a:pos x="connsiteX2916" y="connsiteY2916"/>
                </a:cxn>
                <a:cxn ang="0">
                  <a:pos x="connsiteX2917" y="connsiteY2917"/>
                </a:cxn>
                <a:cxn ang="0">
                  <a:pos x="connsiteX2918" y="connsiteY2918"/>
                </a:cxn>
                <a:cxn ang="0">
                  <a:pos x="connsiteX2919" y="connsiteY2919"/>
                </a:cxn>
                <a:cxn ang="0">
                  <a:pos x="connsiteX2920" y="connsiteY2920"/>
                </a:cxn>
                <a:cxn ang="0">
                  <a:pos x="connsiteX2921" y="connsiteY2921"/>
                </a:cxn>
                <a:cxn ang="0">
                  <a:pos x="connsiteX2922" y="connsiteY2922"/>
                </a:cxn>
                <a:cxn ang="0">
                  <a:pos x="connsiteX2923" y="connsiteY2923"/>
                </a:cxn>
                <a:cxn ang="0">
                  <a:pos x="connsiteX2924" y="connsiteY2924"/>
                </a:cxn>
                <a:cxn ang="0">
                  <a:pos x="connsiteX2925" y="connsiteY2925"/>
                </a:cxn>
                <a:cxn ang="0">
                  <a:pos x="connsiteX2926" y="connsiteY2926"/>
                </a:cxn>
                <a:cxn ang="0">
                  <a:pos x="connsiteX2927" y="connsiteY2927"/>
                </a:cxn>
                <a:cxn ang="0">
                  <a:pos x="connsiteX2928" y="connsiteY2928"/>
                </a:cxn>
                <a:cxn ang="0">
                  <a:pos x="connsiteX2929" y="connsiteY2929"/>
                </a:cxn>
                <a:cxn ang="0">
                  <a:pos x="connsiteX2930" y="connsiteY2930"/>
                </a:cxn>
                <a:cxn ang="0">
                  <a:pos x="connsiteX2931" y="connsiteY2931"/>
                </a:cxn>
                <a:cxn ang="0">
                  <a:pos x="connsiteX2932" y="connsiteY2932"/>
                </a:cxn>
                <a:cxn ang="0">
                  <a:pos x="connsiteX2933" y="connsiteY2933"/>
                </a:cxn>
                <a:cxn ang="0">
                  <a:pos x="connsiteX2934" y="connsiteY2934"/>
                </a:cxn>
                <a:cxn ang="0">
                  <a:pos x="connsiteX2935" y="connsiteY2935"/>
                </a:cxn>
                <a:cxn ang="0">
                  <a:pos x="connsiteX2936" y="connsiteY2936"/>
                </a:cxn>
                <a:cxn ang="0">
                  <a:pos x="connsiteX2937" y="connsiteY2937"/>
                </a:cxn>
                <a:cxn ang="0">
                  <a:pos x="connsiteX2938" y="connsiteY2938"/>
                </a:cxn>
                <a:cxn ang="0">
                  <a:pos x="connsiteX2939" y="connsiteY2939"/>
                </a:cxn>
                <a:cxn ang="0">
                  <a:pos x="connsiteX2940" y="connsiteY2940"/>
                </a:cxn>
                <a:cxn ang="0">
                  <a:pos x="connsiteX2941" y="connsiteY2941"/>
                </a:cxn>
                <a:cxn ang="0">
                  <a:pos x="connsiteX2942" y="connsiteY2942"/>
                </a:cxn>
                <a:cxn ang="0">
                  <a:pos x="connsiteX2943" y="connsiteY2943"/>
                </a:cxn>
                <a:cxn ang="0">
                  <a:pos x="connsiteX2944" y="connsiteY2944"/>
                </a:cxn>
                <a:cxn ang="0">
                  <a:pos x="connsiteX2945" y="connsiteY2945"/>
                </a:cxn>
                <a:cxn ang="0">
                  <a:pos x="connsiteX2946" y="connsiteY2946"/>
                </a:cxn>
                <a:cxn ang="0">
                  <a:pos x="connsiteX2947" y="connsiteY2947"/>
                </a:cxn>
                <a:cxn ang="0">
                  <a:pos x="connsiteX2948" y="connsiteY2948"/>
                </a:cxn>
                <a:cxn ang="0">
                  <a:pos x="connsiteX2949" y="connsiteY2949"/>
                </a:cxn>
                <a:cxn ang="0">
                  <a:pos x="connsiteX2950" y="connsiteY2950"/>
                </a:cxn>
                <a:cxn ang="0">
                  <a:pos x="connsiteX2951" y="connsiteY2951"/>
                </a:cxn>
                <a:cxn ang="0">
                  <a:pos x="connsiteX2952" y="connsiteY2952"/>
                </a:cxn>
                <a:cxn ang="0">
                  <a:pos x="connsiteX2953" y="connsiteY2953"/>
                </a:cxn>
                <a:cxn ang="0">
                  <a:pos x="connsiteX2954" y="connsiteY2954"/>
                </a:cxn>
                <a:cxn ang="0">
                  <a:pos x="connsiteX2955" y="connsiteY2955"/>
                </a:cxn>
                <a:cxn ang="0">
                  <a:pos x="connsiteX2956" y="connsiteY2956"/>
                </a:cxn>
                <a:cxn ang="0">
                  <a:pos x="connsiteX2957" y="connsiteY2957"/>
                </a:cxn>
                <a:cxn ang="0">
                  <a:pos x="connsiteX2958" y="connsiteY2958"/>
                </a:cxn>
                <a:cxn ang="0">
                  <a:pos x="connsiteX2959" y="connsiteY2959"/>
                </a:cxn>
                <a:cxn ang="0">
                  <a:pos x="connsiteX2960" y="connsiteY2960"/>
                </a:cxn>
                <a:cxn ang="0">
                  <a:pos x="connsiteX2961" y="connsiteY2961"/>
                </a:cxn>
                <a:cxn ang="0">
                  <a:pos x="connsiteX2962" y="connsiteY2962"/>
                </a:cxn>
                <a:cxn ang="0">
                  <a:pos x="connsiteX2963" y="connsiteY2963"/>
                </a:cxn>
                <a:cxn ang="0">
                  <a:pos x="connsiteX2964" y="connsiteY2964"/>
                </a:cxn>
                <a:cxn ang="0">
                  <a:pos x="connsiteX2965" y="connsiteY2965"/>
                </a:cxn>
                <a:cxn ang="0">
                  <a:pos x="connsiteX2966" y="connsiteY2966"/>
                </a:cxn>
                <a:cxn ang="0">
                  <a:pos x="connsiteX2967" y="connsiteY2967"/>
                </a:cxn>
                <a:cxn ang="0">
                  <a:pos x="connsiteX2968" y="connsiteY2968"/>
                </a:cxn>
                <a:cxn ang="0">
                  <a:pos x="connsiteX2969" y="connsiteY2969"/>
                </a:cxn>
                <a:cxn ang="0">
                  <a:pos x="connsiteX2970" y="connsiteY2970"/>
                </a:cxn>
                <a:cxn ang="0">
                  <a:pos x="connsiteX2971" y="connsiteY2971"/>
                </a:cxn>
                <a:cxn ang="0">
                  <a:pos x="connsiteX2972" y="connsiteY2972"/>
                </a:cxn>
                <a:cxn ang="0">
                  <a:pos x="connsiteX2973" y="connsiteY2973"/>
                </a:cxn>
                <a:cxn ang="0">
                  <a:pos x="connsiteX2974" y="connsiteY2974"/>
                </a:cxn>
                <a:cxn ang="0">
                  <a:pos x="connsiteX2975" y="connsiteY2975"/>
                </a:cxn>
                <a:cxn ang="0">
                  <a:pos x="connsiteX2976" y="connsiteY2976"/>
                </a:cxn>
                <a:cxn ang="0">
                  <a:pos x="connsiteX2977" y="connsiteY2977"/>
                </a:cxn>
                <a:cxn ang="0">
                  <a:pos x="connsiteX2978" y="connsiteY2978"/>
                </a:cxn>
                <a:cxn ang="0">
                  <a:pos x="connsiteX2979" y="connsiteY2979"/>
                </a:cxn>
                <a:cxn ang="0">
                  <a:pos x="connsiteX2980" y="connsiteY2980"/>
                </a:cxn>
                <a:cxn ang="0">
                  <a:pos x="connsiteX2981" y="connsiteY2981"/>
                </a:cxn>
                <a:cxn ang="0">
                  <a:pos x="connsiteX2982" y="connsiteY2982"/>
                </a:cxn>
                <a:cxn ang="0">
                  <a:pos x="connsiteX2983" y="connsiteY2983"/>
                </a:cxn>
                <a:cxn ang="0">
                  <a:pos x="connsiteX2984" y="connsiteY2984"/>
                </a:cxn>
                <a:cxn ang="0">
                  <a:pos x="connsiteX2985" y="connsiteY2985"/>
                </a:cxn>
                <a:cxn ang="0">
                  <a:pos x="connsiteX2986" y="connsiteY2986"/>
                </a:cxn>
                <a:cxn ang="0">
                  <a:pos x="connsiteX2987" y="connsiteY2987"/>
                </a:cxn>
                <a:cxn ang="0">
                  <a:pos x="connsiteX2988" y="connsiteY2988"/>
                </a:cxn>
                <a:cxn ang="0">
                  <a:pos x="connsiteX2989" y="connsiteY2989"/>
                </a:cxn>
                <a:cxn ang="0">
                  <a:pos x="connsiteX2990" y="connsiteY2990"/>
                </a:cxn>
                <a:cxn ang="0">
                  <a:pos x="connsiteX2991" y="connsiteY2991"/>
                </a:cxn>
                <a:cxn ang="0">
                  <a:pos x="connsiteX2992" y="connsiteY2992"/>
                </a:cxn>
                <a:cxn ang="0">
                  <a:pos x="connsiteX2993" y="connsiteY2993"/>
                </a:cxn>
                <a:cxn ang="0">
                  <a:pos x="connsiteX2994" y="connsiteY2994"/>
                </a:cxn>
                <a:cxn ang="0">
                  <a:pos x="connsiteX2995" y="connsiteY2995"/>
                </a:cxn>
                <a:cxn ang="0">
                  <a:pos x="connsiteX2996" y="connsiteY2996"/>
                </a:cxn>
                <a:cxn ang="0">
                  <a:pos x="connsiteX2997" y="connsiteY2997"/>
                </a:cxn>
                <a:cxn ang="0">
                  <a:pos x="connsiteX2998" y="connsiteY2998"/>
                </a:cxn>
                <a:cxn ang="0">
                  <a:pos x="connsiteX2999" y="connsiteY2999"/>
                </a:cxn>
                <a:cxn ang="0">
                  <a:pos x="connsiteX3000" y="connsiteY3000"/>
                </a:cxn>
                <a:cxn ang="0">
                  <a:pos x="connsiteX3001" y="connsiteY3001"/>
                </a:cxn>
                <a:cxn ang="0">
                  <a:pos x="connsiteX3002" y="connsiteY3002"/>
                </a:cxn>
                <a:cxn ang="0">
                  <a:pos x="connsiteX3003" y="connsiteY3003"/>
                </a:cxn>
                <a:cxn ang="0">
                  <a:pos x="connsiteX3004" y="connsiteY3004"/>
                </a:cxn>
                <a:cxn ang="0">
                  <a:pos x="connsiteX3005" y="connsiteY3005"/>
                </a:cxn>
                <a:cxn ang="0">
                  <a:pos x="connsiteX3006" y="connsiteY3006"/>
                </a:cxn>
                <a:cxn ang="0">
                  <a:pos x="connsiteX3007" y="connsiteY3007"/>
                </a:cxn>
                <a:cxn ang="0">
                  <a:pos x="connsiteX3008" y="connsiteY3008"/>
                </a:cxn>
                <a:cxn ang="0">
                  <a:pos x="connsiteX3009" y="connsiteY3009"/>
                </a:cxn>
                <a:cxn ang="0">
                  <a:pos x="connsiteX3010" y="connsiteY3010"/>
                </a:cxn>
                <a:cxn ang="0">
                  <a:pos x="connsiteX3011" y="connsiteY3011"/>
                </a:cxn>
                <a:cxn ang="0">
                  <a:pos x="connsiteX3012" y="connsiteY3012"/>
                </a:cxn>
                <a:cxn ang="0">
                  <a:pos x="connsiteX3013" y="connsiteY3013"/>
                </a:cxn>
                <a:cxn ang="0">
                  <a:pos x="connsiteX3014" y="connsiteY3014"/>
                </a:cxn>
                <a:cxn ang="0">
                  <a:pos x="connsiteX3015" y="connsiteY3015"/>
                </a:cxn>
                <a:cxn ang="0">
                  <a:pos x="connsiteX3016" y="connsiteY3016"/>
                </a:cxn>
                <a:cxn ang="0">
                  <a:pos x="connsiteX3017" y="connsiteY3017"/>
                </a:cxn>
                <a:cxn ang="0">
                  <a:pos x="connsiteX3018" y="connsiteY3018"/>
                </a:cxn>
                <a:cxn ang="0">
                  <a:pos x="connsiteX3019" y="connsiteY3019"/>
                </a:cxn>
                <a:cxn ang="0">
                  <a:pos x="connsiteX3020" y="connsiteY3020"/>
                </a:cxn>
                <a:cxn ang="0">
                  <a:pos x="connsiteX3021" y="connsiteY3021"/>
                </a:cxn>
                <a:cxn ang="0">
                  <a:pos x="connsiteX3022" y="connsiteY3022"/>
                </a:cxn>
                <a:cxn ang="0">
                  <a:pos x="connsiteX3023" y="connsiteY3023"/>
                </a:cxn>
                <a:cxn ang="0">
                  <a:pos x="connsiteX3024" y="connsiteY3024"/>
                </a:cxn>
                <a:cxn ang="0">
                  <a:pos x="connsiteX3025" y="connsiteY3025"/>
                </a:cxn>
                <a:cxn ang="0">
                  <a:pos x="connsiteX3026" y="connsiteY3026"/>
                </a:cxn>
                <a:cxn ang="0">
                  <a:pos x="connsiteX3027" y="connsiteY3027"/>
                </a:cxn>
                <a:cxn ang="0">
                  <a:pos x="connsiteX3028" y="connsiteY3028"/>
                </a:cxn>
                <a:cxn ang="0">
                  <a:pos x="connsiteX3029" y="connsiteY3029"/>
                </a:cxn>
                <a:cxn ang="0">
                  <a:pos x="connsiteX3030" y="connsiteY3030"/>
                </a:cxn>
                <a:cxn ang="0">
                  <a:pos x="connsiteX3031" y="connsiteY3031"/>
                </a:cxn>
                <a:cxn ang="0">
                  <a:pos x="connsiteX3032" y="connsiteY3032"/>
                </a:cxn>
                <a:cxn ang="0">
                  <a:pos x="connsiteX3033" y="connsiteY3033"/>
                </a:cxn>
                <a:cxn ang="0">
                  <a:pos x="connsiteX3034" y="connsiteY3034"/>
                </a:cxn>
                <a:cxn ang="0">
                  <a:pos x="connsiteX3035" y="connsiteY3035"/>
                </a:cxn>
                <a:cxn ang="0">
                  <a:pos x="connsiteX3036" y="connsiteY3036"/>
                </a:cxn>
                <a:cxn ang="0">
                  <a:pos x="connsiteX3037" y="connsiteY3037"/>
                </a:cxn>
                <a:cxn ang="0">
                  <a:pos x="connsiteX3038" y="connsiteY3038"/>
                </a:cxn>
                <a:cxn ang="0">
                  <a:pos x="connsiteX3039" y="connsiteY3039"/>
                </a:cxn>
                <a:cxn ang="0">
                  <a:pos x="connsiteX3040" y="connsiteY3040"/>
                </a:cxn>
                <a:cxn ang="0">
                  <a:pos x="connsiteX3041" y="connsiteY3041"/>
                </a:cxn>
                <a:cxn ang="0">
                  <a:pos x="connsiteX3042" y="connsiteY3042"/>
                </a:cxn>
                <a:cxn ang="0">
                  <a:pos x="connsiteX3043" y="connsiteY3043"/>
                </a:cxn>
                <a:cxn ang="0">
                  <a:pos x="connsiteX3044" y="connsiteY3044"/>
                </a:cxn>
                <a:cxn ang="0">
                  <a:pos x="connsiteX3045" y="connsiteY3045"/>
                </a:cxn>
                <a:cxn ang="0">
                  <a:pos x="connsiteX3046" y="connsiteY3046"/>
                </a:cxn>
                <a:cxn ang="0">
                  <a:pos x="connsiteX3047" y="connsiteY3047"/>
                </a:cxn>
                <a:cxn ang="0">
                  <a:pos x="connsiteX3048" y="connsiteY3048"/>
                </a:cxn>
                <a:cxn ang="0">
                  <a:pos x="connsiteX3049" y="connsiteY3049"/>
                </a:cxn>
                <a:cxn ang="0">
                  <a:pos x="connsiteX3050" y="connsiteY3050"/>
                </a:cxn>
                <a:cxn ang="0">
                  <a:pos x="connsiteX3051" y="connsiteY3051"/>
                </a:cxn>
                <a:cxn ang="0">
                  <a:pos x="connsiteX3052" y="connsiteY3052"/>
                </a:cxn>
                <a:cxn ang="0">
                  <a:pos x="connsiteX3053" y="connsiteY3053"/>
                </a:cxn>
                <a:cxn ang="0">
                  <a:pos x="connsiteX3054" y="connsiteY3054"/>
                </a:cxn>
                <a:cxn ang="0">
                  <a:pos x="connsiteX3055" y="connsiteY3055"/>
                </a:cxn>
                <a:cxn ang="0">
                  <a:pos x="connsiteX3056" y="connsiteY3056"/>
                </a:cxn>
                <a:cxn ang="0">
                  <a:pos x="connsiteX3057" y="connsiteY3057"/>
                </a:cxn>
                <a:cxn ang="0">
                  <a:pos x="connsiteX3058" y="connsiteY3058"/>
                </a:cxn>
                <a:cxn ang="0">
                  <a:pos x="connsiteX3059" y="connsiteY3059"/>
                </a:cxn>
                <a:cxn ang="0">
                  <a:pos x="connsiteX3060" y="connsiteY3060"/>
                </a:cxn>
                <a:cxn ang="0">
                  <a:pos x="connsiteX3061" y="connsiteY3061"/>
                </a:cxn>
                <a:cxn ang="0">
                  <a:pos x="connsiteX3062" y="connsiteY3062"/>
                </a:cxn>
                <a:cxn ang="0">
                  <a:pos x="connsiteX3063" y="connsiteY3063"/>
                </a:cxn>
                <a:cxn ang="0">
                  <a:pos x="connsiteX3064" y="connsiteY3064"/>
                </a:cxn>
                <a:cxn ang="0">
                  <a:pos x="connsiteX3065" y="connsiteY3065"/>
                </a:cxn>
                <a:cxn ang="0">
                  <a:pos x="connsiteX3066" y="connsiteY3066"/>
                </a:cxn>
                <a:cxn ang="0">
                  <a:pos x="connsiteX3067" y="connsiteY3067"/>
                </a:cxn>
                <a:cxn ang="0">
                  <a:pos x="connsiteX3068" y="connsiteY3068"/>
                </a:cxn>
                <a:cxn ang="0">
                  <a:pos x="connsiteX3069" y="connsiteY3069"/>
                </a:cxn>
                <a:cxn ang="0">
                  <a:pos x="connsiteX3070" y="connsiteY3070"/>
                </a:cxn>
                <a:cxn ang="0">
                  <a:pos x="connsiteX3071" y="connsiteY3071"/>
                </a:cxn>
                <a:cxn ang="0">
                  <a:pos x="connsiteX3072" y="connsiteY3072"/>
                </a:cxn>
                <a:cxn ang="0">
                  <a:pos x="connsiteX3073" y="connsiteY3073"/>
                </a:cxn>
                <a:cxn ang="0">
                  <a:pos x="connsiteX3074" y="connsiteY3074"/>
                </a:cxn>
                <a:cxn ang="0">
                  <a:pos x="connsiteX3075" y="connsiteY3075"/>
                </a:cxn>
                <a:cxn ang="0">
                  <a:pos x="connsiteX3076" y="connsiteY3076"/>
                </a:cxn>
                <a:cxn ang="0">
                  <a:pos x="connsiteX3077" y="connsiteY3077"/>
                </a:cxn>
                <a:cxn ang="0">
                  <a:pos x="connsiteX3078" y="connsiteY3078"/>
                </a:cxn>
                <a:cxn ang="0">
                  <a:pos x="connsiteX3079" y="connsiteY3079"/>
                </a:cxn>
                <a:cxn ang="0">
                  <a:pos x="connsiteX3080" y="connsiteY3080"/>
                </a:cxn>
                <a:cxn ang="0">
                  <a:pos x="connsiteX3081" y="connsiteY3081"/>
                </a:cxn>
                <a:cxn ang="0">
                  <a:pos x="connsiteX3082" y="connsiteY3082"/>
                </a:cxn>
                <a:cxn ang="0">
                  <a:pos x="connsiteX3083" y="connsiteY3083"/>
                </a:cxn>
                <a:cxn ang="0">
                  <a:pos x="connsiteX3084" y="connsiteY3084"/>
                </a:cxn>
                <a:cxn ang="0">
                  <a:pos x="connsiteX3085" y="connsiteY3085"/>
                </a:cxn>
                <a:cxn ang="0">
                  <a:pos x="connsiteX3086" y="connsiteY3086"/>
                </a:cxn>
                <a:cxn ang="0">
                  <a:pos x="connsiteX3087" y="connsiteY3087"/>
                </a:cxn>
                <a:cxn ang="0">
                  <a:pos x="connsiteX3088" y="connsiteY3088"/>
                </a:cxn>
                <a:cxn ang="0">
                  <a:pos x="connsiteX3089" y="connsiteY3089"/>
                </a:cxn>
                <a:cxn ang="0">
                  <a:pos x="connsiteX3090" y="connsiteY3090"/>
                </a:cxn>
                <a:cxn ang="0">
                  <a:pos x="connsiteX3091" y="connsiteY3091"/>
                </a:cxn>
                <a:cxn ang="0">
                  <a:pos x="connsiteX3092" y="connsiteY3092"/>
                </a:cxn>
                <a:cxn ang="0">
                  <a:pos x="connsiteX3093" y="connsiteY3093"/>
                </a:cxn>
                <a:cxn ang="0">
                  <a:pos x="connsiteX3094" y="connsiteY3094"/>
                </a:cxn>
                <a:cxn ang="0">
                  <a:pos x="connsiteX3095" y="connsiteY3095"/>
                </a:cxn>
                <a:cxn ang="0">
                  <a:pos x="connsiteX3096" y="connsiteY3096"/>
                </a:cxn>
                <a:cxn ang="0">
                  <a:pos x="connsiteX3097" y="connsiteY3097"/>
                </a:cxn>
                <a:cxn ang="0">
                  <a:pos x="connsiteX3098" y="connsiteY3098"/>
                </a:cxn>
                <a:cxn ang="0">
                  <a:pos x="connsiteX3099" y="connsiteY3099"/>
                </a:cxn>
                <a:cxn ang="0">
                  <a:pos x="connsiteX3100" y="connsiteY3100"/>
                </a:cxn>
                <a:cxn ang="0">
                  <a:pos x="connsiteX3101" y="connsiteY3101"/>
                </a:cxn>
                <a:cxn ang="0">
                  <a:pos x="connsiteX3102" y="connsiteY3102"/>
                </a:cxn>
                <a:cxn ang="0">
                  <a:pos x="connsiteX3103" y="connsiteY3103"/>
                </a:cxn>
                <a:cxn ang="0">
                  <a:pos x="connsiteX3104" y="connsiteY3104"/>
                </a:cxn>
                <a:cxn ang="0">
                  <a:pos x="connsiteX3105" y="connsiteY3105"/>
                </a:cxn>
                <a:cxn ang="0">
                  <a:pos x="connsiteX3106" y="connsiteY3106"/>
                </a:cxn>
                <a:cxn ang="0">
                  <a:pos x="connsiteX3107" y="connsiteY3107"/>
                </a:cxn>
                <a:cxn ang="0">
                  <a:pos x="connsiteX3108" y="connsiteY3108"/>
                </a:cxn>
                <a:cxn ang="0">
                  <a:pos x="connsiteX3109" y="connsiteY3109"/>
                </a:cxn>
                <a:cxn ang="0">
                  <a:pos x="connsiteX3110" y="connsiteY3110"/>
                </a:cxn>
                <a:cxn ang="0">
                  <a:pos x="connsiteX3111" y="connsiteY3111"/>
                </a:cxn>
                <a:cxn ang="0">
                  <a:pos x="connsiteX3112" y="connsiteY3112"/>
                </a:cxn>
                <a:cxn ang="0">
                  <a:pos x="connsiteX3113" y="connsiteY3113"/>
                </a:cxn>
                <a:cxn ang="0">
                  <a:pos x="connsiteX3114" y="connsiteY3114"/>
                </a:cxn>
                <a:cxn ang="0">
                  <a:pos x="connsiteX3115" y="connsiteY3115"/>
                </a:cxn>
                <a:cxn ang="0">
                  <a:pos x="connsiteX3116" y="connsiteY3116"/>
                </a:cxn>
                <a:cxn ang="0">
                  <a:pos x="connsiteX3117" y="connsiteY3117"/>
                </a:cxn>
                <a:cxn ang="0">
                  <a:pos x="connsiteX3118" y="connsiteY3118"/>
                </a:cxn>
                <a:cxn ang="0">
                  <a:pos x="connsiteX3119" y="connsiteY3119"/>
                </a:cxn>
                <a:cxn ang="0">
                  <a:pos x="connsiteX3120" y="connsiteY3120"/>
                </a:cxn>
                <a:cxn ang="0">
                  <a:pos x="connsiteX3121" y="connsiteY3121"/>
                </a:cxn>
                <a:cxn ang="0">
                  <a:pos x="connsiteX3122" y="connsiteY3122"/>
                </a:cxn>
                <a:cxn ang="0">
                  <a:pos x="connsiteX3123" y="connsiteY3123"/>
                </a:cxn>
                <a:cxn ang="0">
                  <a:pos x="connsiteX3124" y="connsiteY3124"/>
                </a:cxn>
                <a:cxn ang="0">
                  <a:pos x="connsiteX3125" y="connsiteY3125"/>
                </a:cxn>
                <a:cxn ang="0">
                  <a:pos x="connsiteX3126" y="connsiteY3126"/>
                </a:cxn>
                <a:cxn ang="0">
                  <a:pos x="connsiteX3127" y="connsiteY3127"/>
                </a:cxn>
                <a:cxn ang="0">
                  <a:pos x="connsiteX3128" y="connsiteY3128"/>
                </a:cxn>
                <a:cxn ang="0">
                  <a:pos x="connsiteX3129" y="connsiteY3129"/>
                </a:cxn>
                <a:cxn ang="0">
                  <a:pos x="connsiteX3130" y="connsiteY3130"/>
                </a:cxn>
                <a:cxn ang="0">
                  <a:pos x="connsiteX3131" y="connsiteY3131"/>
                </a:cxn>
                <a:cxn ang="0">
                  <a:pos x="connsiteX3132" y="connsiteY3132"/>
                </a:cxn>
                <a:cxn ang="0">
                  <a:pos x="connsiteX3133" y="connsiteY3133"/>
                </a:cxn>
                <a:cxn ang="0">
                  <a:pos x="connsiteX3134" y="connsiteY3134"/>
                </a:cxn>
                <a:cxn ang="0">
                  <a:pos x="connsiteX3135" y="connsiteY3135"/>
                </a:cxn>
                <a:cxn ang="0">
                  <a:pos x="connsiteX3136" y="connsiteY3136"/>
                </a:cxn>
                <a:cxn ang="0">
                  <a:pos x="connsiteX3137" y="connsiteY3137"/>
                </a:cxn>
                <a:cxn ang="0">
                  <a:pos x="connsiteX3138" y="connsiteY3138"/>
                </a:cxn>
                <a:cxn ang="0">
                  <a:pos x="connsiteX3139" y="connsiteY3139"/>
                </a:cxn>
                <a:cxn ang="0">
                  <a:pos x="connsiteX3140" y="connsiteY3140"/>
                </a:cxn>
                <a:cxn ang="0">
                  <a:pos x="connsiteX3141" y="connsiteY3141"/>
                </a:cxn>
                <a:cxn ang="0">
                  <a:pos x="connsiteX3142" y="connsiteY3142"/>
                </a:cxn>
                <a:cxn ang="0">
                  <a:pos x="connsiteX3143" y="connsiteY3143"/>
                </a:cxn>
                <a:cxn ang="0">
                  <a:pos x="connsiteX3144" y="connsiteY3144"/>
                </a:cxn>
                <a:cxn ang="0">
                  <a:pos x="connsiteX3145" y="connsiteY3145"/>
                </a:cxn>
                <a:cxn ang="0">
                  <a:pos x="connsiteX3146" y="connsiteY3146"/>
                </a:cxn>
                <a:cxn ang="0">
                  <a:pos x="connsiteX3147" y="connsiteY3147"/>
                </a:cxn>
                <a:cxn ang="0">
                  <a:pos x="connsiteX3148" y="connsiteY3148"/>
                </a:cxn>
                <a:cxn ang="0">
                  <a:pos x="connsiteX3149" y="connsiteY3149"/>
                </a:cxn>
                <a:cxn ang="0">
                  <a:pos x="connsiteX3150" y="connsiteY3150"/>
                </a:cxn>
                <a:cxn ang="0">
                  <a:pos x="connsiteX3151" y="connsiteY3151"/>
                </a:cxn>
                <a:cxn ang="0">
                  <a:pos x="connsiteX3152" y="connsiteY3152"/>
                </a:cxn>
                <a:cxn ang="0">
                  <a:pos x="connsiteX3153" y="connsiteY3153"/>
                </a:cxn>
                <a:cxn ang="0">
                  <a:pos x="connsiteX3154" y="connsiteY3154"/>
                </a:cxn>
                <a:cxn ang="0">
                  <a:pos x="connsiteX3155" y="connsiteY3155"/>
                </a:cxn>
                <a:cxn ang="0">
                  <a:pos x="connsiteX3156" y="connsiteY3156"/>
                </a:cxn>
                <a:cxn ang="0">
                  <a:pos x="connsiteX3157" y="connsiteY3157"/>
                </a:cxn>
                <a:cxn ang="0">
                  <a:pos x="connsiteX3158" y="connsiteY3158"/>
                </a:cxn>
                <a:cxn ang="0">
                  <a:pos x="connsiteX3159" y="connsiteY3159"/>
                </a:cxn>
                <a:cxn ang="0">
                  <a:pos x="connsiteX3160" y="connsiteY3160"/>
                </a:cxn>
                <a:cxn ang="0">
                  <a:pos x="connsiteX3161" y="connsiteY3161"/>
                </a:cxn>
                <a:cxn ang="0">
                  <a:pos x="connsiteX3162" y="connsiteY3162"/>
                </a:cxn>
                <a:cxn ang="0">
                  <a:pos x="connsiteX3163" y="connsiteY3163"/>
                </a:cxn>
                <a:cxn ang="0">
                  <a:pos x="connsiteX3164" y="connsiteY3164"/>
                </a:cxn>
                <a:cxn ang="0">
                  <a:pos x="connsiteX3165" y="connsiteY3165"/>
                </a:cxn>
                <a:cxn ang="0">
                  <a:pos x="connsiteX3166" y="connsiteY3166"/>
                </a:cxn>
                <a:cxn ang="0">
                  <a:pos x="connsiteX3167" y="connsiteY3167"/>
                </a:cxn>
                <a:cxn ang="0">
                  <a:pos x="connsiteX3168" y="connsiteY3168"/>
                </a:cxn>
                <a:cxn ang="0">
                  <a:pos x="connsiteX3169" y="connsiteY3169"/>
                </a:cxn>
                <a:cxn ang="0">
                  <a:pos x="connsiteX3170" y="connsiteY3170"/>
                </a:cxn>
                <a:cxn ang="0">
                  <a:pos x="connsiteX3171" y="connsiteY3171"/>
                </a:cxn>
                <a:cxn ang="0">
                  <a:pos x="connsiteX3172" y="connsiteY3172"/>
                </a:cxn>
                <a:cxn ang="0">
                  <a:pos x="connsiteX3173" y="connsiteY3173"/>
                </a:cxn>
                <a:cxn ang="0">
                  <a:pos x="connsiteX3174" y="connsiteY3174"/>
                </a:cxn>
                <a:cxn ang="0">
                  <a:pos x="connsiteX3175" y="connsiteY3175"/>
                </a:cxn>
                <a:cxn ang="0">
                  <a:pos x="connsiteX3176" y="connsiteY3176"/>
                </a:cxn>
                <a:cxn ang="0">
                  <a:pos x="connsiteX3177" y="connsiteY3177"/>
                </a:cxn>
                <a:cxn ang="0">
                  <a:pos x="connsiteX3178" y="connsiteY3178"/>
                </a:cxn>
                <a:cxn ang="0">
                  <a:pos x="connsiteX3179" y="connsiteY3179"/>
                </a:cxn>
                <a:cxn ang="0">
                  <a:pos x="connsiteX3180" y="connsiteY3180"/>
                </a:cxn>
                <a:cxn ang="0">
                  <a:pos x="connsiteX3181" y="connsiteY3181"/>
                </a:cxn>
                <a:cxn ang="0">
                  <a:pos x="connsiteX3182" y="connsiteY3182"/>
                </a:cxn>
                <a:cxn ang="0">
                  <a:pos x="connsiteX3183" y="connsiteY3183"/>
                </a:cxn>
                <a:cxn ang="0">
                  <a:pos x="connsiteX3184" y="connsiteY3184"/>
                </a:cxn>
                <a:cxn ang="0">
                  <a:pos x="connsiteX3185" y="connsiteY3185"/>
                </a:cxn>
                <a:cxn ang="0">
                  <a:pos x="connsiteX3186" y="connsiteY3186"/>
                </a:cxn>
                <a:cxn ang="0">
                  <a:pos x="connsiteX3187" y="connsiteY3187"/>
                </a:cxn>
                <a:cxn ang="0">
                  <a:pos x="connsiteX3188" y="connsiteY3188"/>
                </a:cxn>
                <a:cxn ang="0">
                  <a:pos x="connsiteX3189" y="connsiteY3189"/>
                </a:cxn>
                <a:cxn ang="0">
                  <a:pos x="connsiteX3190" y="connsiteY3190"/>
                </a:cxn>
                <a:cxn ang="0">
                  <a:pos x="connsiteX3191" y="connsiteY3191"/>
                </a:cxn>
                <a:cxn ang="0">
                  <a:pos x="connsiteX3192" y="connsiteY3192"/>
                </a:cxn>
                <a:cxn ang="0">
                  <a:pos x="connsiteX3193" y="connsiteY3193"/>
                </a:cxn>
                <a:cxn ang="0">
                  <a:pos x="connsiteX3194" y="connsiteY3194"/>
                </a:cxn>
                <a:cxn ang="0">
                  <a:pos x="connsiteX3195" y="connsiteY3195"/>
                </a:cxn>
                <a:cxn ang="0">
                  <a:pos x="connsiteX3196" y="connsiteY3196"/>
                </a:cxn>
                <a:cxn ang="0">
                  <a:pos x="connsiteX3197" y="connsiteY3197"/>
                </a:cxn>
                <a:cxn ang="0">
                  <a:pos x="connsiteX3198" y="connsiteY3198"/>
                </a:cxn>
                <a:cxn ang="0">
                  <a:pos x="connsiteX3199" y="connsiteY3199"/>
                </a:cxn>
                <a:cxn ang="0">
                  <a:pos x="connsiteX3200" y="connsiteY3200"/>
                </a:cxn>
                <a:cxn ang="0">
                  <a:pos x="connsiteX3201" y="connsiteY3201"/>
                </a:cxn>
                <a:cxn ang="0">
                  <a:pos x="connsiteX3202" y="connsiteY3202"/>
                </a:cxn>
                <a:cxn ang="0">
                  <a:pos x="connsiteX3203" y="connsiteY3203"/>
                </a:cxn>
                <a:cxn ang="0">
                  <a:pos x="connsiteX3204" y="connsiteY3204"/>
                </a:cxn>
                <a:cxn ang="0">
                  <a:pos x="connsiteX3205" y="connsiteY3205"/>
                </a:cxn>
                <a:cxn ang="0">
                  <a:pos x="connsiteX3206" y="connsiteY3206"/>
                </a:cxn>
                <a:cxn ang="0">
                  <a:pos x="connsiteX3207" y="connsiteY3207"/>
                </a:cxn>
                <a:cxn ang="0">
                  <a:pos x="connsiteX3208" y="connsiteY3208"/>
                </a:cxn>
                <a:cxn ang="0">
                  <a:pos x="connsiteX3209" y="connsiteY3209"/>
                </a:cxn>
                <a:cxn ang="0">
                  <a:pos x="connsiteX3210" y="connsiteY3210"/>
                </a:cxn>
                <a:cxn ang="0">
                  <a:pos x="connsiteX3211" y="connsiteY3211"/>
                </a:cxn>
                <a:cxn ang="0">
                  <a:pos x="connsiteX3212" y="connsiteY3212"/>
                </a:cxn>
                <a:cxn ang="0">
                  <a:pos x="connsiteX3213" y="connsiteY3213"/>
                </a:cxn>
                <a:cxn ang="0">
                  <a:pos x="connsiteX3214" y="connsiteY3214"/>
                </a:cxn>
                <a:cxn ang="0">
                  <a:pos x="connsiteX3215" y="connsiteY3215"/>
                </a:cxn>
                <a:cxn ang="0">
                  <a:pos x="connsiteX3216" y="connsiteY3216"/>
                </a:cxn>
                <a:cxn ang="0">
                  <a:pos x="connsiteX3217" y="connsiteY3217"/>
                </a:cxn>
                <a:cxn ang="0">
                  <a:pos x="connsiteX3218" y="connsiteY3218"/>
                </a:cxn>
                <a:cxn ang="0">
                  <a:pos x="connsiteX3219" y="connsiteY3219"/>
                </a:cxn>
                <a:cxn ang="0">
                  <a:pos x="connsiteX3220" y="connsiteY3220"/>
                </a:cxn>
                <a:cxn ang="0">
                  <a:pos x="connsiteX3221" y="connsiteY3221"/>
                </a:cxn>
                <a:cxn ang="0">
                  <a:pos x="connsiteX3222" y="connsiteY3222"/>
                </a:cxn>
                <a:cxn ang="0">
                  <a:pos x="connsiteX3223" y="connsiteY3223"/>
                </a:cxn>
                <a:cxn ang="0">
                  <a:pos x="connsiteX3224" y="connsiteY3224"/>
                </a:cxn>
                <a:cxn ang="0">
                  <a:pos x="connsiteX3225" y="connsiteY3225"/>
                </a:cxn>
                <a:cxn ang="0">
                  <a:pos x="connsiteX3226" y="connsiteY3226"/>
                </a:cxn>
                <a:cxn ang="0">
                  <a:pos x="connsiteX3227" y="connsiteY3227"/>
                </a:cxn>
                <a:cxn ang="0">
                  <a:pos x="connsiteX3228" y="connsiteY3228"/>
                </a:cxn>
                <a:cxn ang="0">
                  <a:pos x="connsiteX3229" y="connsiteY3229"/>
                </a:cxn>
                <a:cxn ang="0">
                  <a:pos x="connsiteX3230" y="connsiteY3230"/>
                </a:cxn>
                <a:cxn ang="0">
                  <a:pos x="connsiteX3231" y="connsiteY3231"/>
                </a:cxn>
                <a:cxn ang="0">
                  <a:pos x="connsiteX3232" y="connsiteY3232"/>
                </a:cxn>
                <a:cxn ang="0">
                  <a:pos x="connsiteX3233" y="connsiteY3233"/>
                </a:cxn>
                <a:cxn ang="0">
                  <a:pos x="connsiteX3234" y="connsiteY3234"/>
                </a:cxn>
                <a:cxn ang="0">
                  <a:pos x="connsiteX3235" y="connsiteY3235"/>
                </a:cxn>
                <a:cxn ang="0">
                  <a:pos x="connsiteX3236" y="connsiteY3236"/>
                </a:cxn>
                <a:cxn ang="0">
                  <a:pos x="connsiteX3237" y="connsiteY3237"/>
                </a:cxn>
                <a:cxn ang="0">
                  <a:pos x="connsiteX3238" y="connsiteY3238"/>
                </a:cxn>
                <a:cxn ang="0">
                  <a:pos x="connsiteX3239" y="connsiteY3239"/>
                </a:cxn>
                <a:cxn ang="0">
                  <a:pos x="connsiteX3240" y="connsiteY3240"/>
                </a:cxn>
                <a:cxn ang="0">
                  <a:pos x="connsiteX3241" y="connsiteY3241"/>
                </a:cxn>
                <a:cxn ang="0">
                  <a:pos x="connsiteX3242" y="connsiteY3242"/>
                </a:cxn>
                <a:cxn ang="0">
                  <a:pos x="connsiteX3243" y="connsiteY3243"/>
                </a:cxn>
                <a:cxn ang="0">
                  <a:pos x="connsiteX3244" y="connsiteY3244"/>
                </a:cxn>
                <a:cxn ang="0">
                  <a:pos x="connsiteX3245" y="connsiteY3245"/>
                </a:cxn>
                <a:cxn ang="0">
                  <a:pos x="connsiteX3246" y="connsiteY3246"/>
                </a:cxn>
                <a:cxn ang="0">
                  <a:pos x="connsiteX3247" y="connsiteY3247"/>
                </a:cxn>
                <a:cxn ang="0">
                  <a:pos x="connsiteX3248" y="connsiteY3248"/>
                </a:cxn>
                <a:cxn ang="0">
                  <a:pos x="connsiteX3249" y="connsiteY3249"/>
                </a:cxn>
                <a:cxn ang="0">
                  <a:pos x="connsiteX3250" y="connsiteY3250"/>
                </a:cxn>
                <a:cxn ang="0">
                  <a:pos x="connsiteX3251" y="connsiteY3251"/>
                </a:cxn>
                <a:cxn ang="0">
                  <a:pos x="connsiteX3252" y="connsiteY3252"/>
                </a:cxn>
                <a:cxn ang="0">
                  <a:pos x="connsiteX3253" y="connsiteY3253"/>
                </a:cxn>
                <a:cxn ang="0">
                  <a:pos x="connsiteX3254" y="connsiteY3254"/>
                </a:cxn>
                <a:cxn ang="0">
                  <a:pos x="connsiteX3255" y="connsiteY3255"/>
                </a:cxn>
                <a:cxn ang="0">
                  <a:pos x="connsiteX3256" y="connsiteY3256"/>
                </a:cxn>
                <a:cxn ang="0">
                  <a:pos x="connsiteX3257" y="connsiteY3257"/>
                </a:cxn>
                <a:cxn ang="0">
                  <a:pos x="connsiteX3258" y="connsiteY3258"/>
                </a:cxn>
                <a:cxn ang="0">
                  <a:pos x="connsiteX3259" y="connsiteY3259"/>
                </a:cxn>
                <a:cxn ang="0">
                  <a:pos x="connsiteX3260" y="connsiteY3260"/>
                </a:cxn>
                <a:cxn ang="0">
                  <a:pos x="connsiteX3261" y="connsiteY3261"/>
                </a:cxn>
                <a:cxn ang="0">
                  <a:pos x="connsiteX3262" y="connsiteY3262"/>
                </a:cxn>
                <a:cxn ang="0">
                  <a:pos x="connsiteX3263" y="connsiteY3263"/>
                </a:cxn>
                <a:cxn ang="0">
                  <a:pos x="connsiteX3264" y="connsiteY3264"/>
                </a:cxn>
                <a:cxn ang="0">
                  <a:pos x="connsiteX3265" y="connsiteY3265"/>
                </a:cxn>
                <a:cxn ang="0">
                  <a:pos x="connsiteX3266" y="connsiteY3266"/>
                </a:cxn>
                <a:cxn ang="0">
                  <a:pos x="connsiteX3267" y="connsiteY3267"/>
                </a:cxn>
                <a:cxn ang="0">
                  <a:pos x="connsiteX3268" y="connsiteY3268"/>
                </a:cxn>
                <a:cxn ang="0">
                  <a:pos x="connsiteX3269" y="connsiteY3269"/>
                </a:cxn>
                <a:cxn ang="0">
                  <a:pos x="connsiteX3270" y="connsiteY3270"/>
                </a:cxn>
                <a:cxn ang="0">
                  <a:pos x="connsiteX3271" y="connsiteY3271"/>
                </a:cxn>
                <a:cxn ang="0">
                  <a:pos x="connsiteX3272" y="connsiteY3272"/>
                </a:cxn>
                <a:cxn ang="0">
                  <a:pos x="connsiteX3273" y="connsiteY3273"/>
                </a:cxn>
                <a:cxn ang="0">
                  <a:pos x="connsiteX3274" y="connsiteY3274"/>
                </a:cxn>
                <a:cxn ang="0">
                  <a:pos x="connsiteX3275" y="connsiteY3275"/>
                </a:cxn>
                <a:cxn ang="0">
                  <a:pos x="connsiteX3276" y="connsiteY3276"/>
                </a:cxn>
                <a:cxn ang="0">
                  <a:pos x="connsiteX3277" y="connsiteY3277"/>
                </a:cxn>
                <a:cxn ang="0">
                  <a:pos x="connsiteX3278" y="connsiteY3278"/>
                </a:cxn>
                <a:cxn ang="0">
                  <a:pos x="connsiteX3279" y="connsiteY3279"/>
                </a:cxn>
                <a:cxn ang="0">
                  <a:pos x="connsiteX3280" y="connsiteY3280"/>
                </a:cxn>
                <a:cxn ang="0">
                  <a:pos x="connsiteX3281" y="connsiteY3281"/>
                </a:cxn>
                <a:cxn ang="0">
                  <a:pos x="connsiteX3282" y="connsiteY3282"/>
                </a:cxn>
                <a:cxn ang="0">
                  <a:pos x="connsiteX3283" y="connsiteY3283"/>
                </a:cxn>
                <a:cxn ang="0">
                  <a:pos x="connsiteX3284" y="connsiteY3284"/>
                </a:cxn>
                <a:cxn ang="0">
                  <a:pos x="connsiteX3285" y="connsiteY3285"/>
                </a:cxn>
                <a:cxn ang="0">
                  <a:pos x="connsiteX3286" y="connsiteY3286"/>
                </a:cxn>
                <a:cxn ang="0">
                  <a:pos x="connsiteX3287" y="connsiteY3287"/>
                </a:cxn>
                <a:cxn ang="0">
                  <a:pos x="connsiteX3288" y="connsiteY3288"/>
                </a:cxn>
                <a:cxn ang="0">
                  <a:pos x="connsiteX3289" y="connsiteY3289"/>
                </a:cxn>
                <a:cxn ang="0">
                  <a:pos x="connsiteX3290" y="connsiteY3290"/>
                </a:cxn>
                <a:cxn ang="0">
                  <a:pos x="connsiteX3291" y="connsiteY3291"/>
                </a:cxn>
                <a:cxn ang="0">
                  <a:pos x="connsiteX3292" y="connsiteY3292"/>
                </a:cxn>
                <a:cxn ang="0">
                  <a:pos x="connsiteX3293" y="connsiteY3293"/>
                </a:cxn>
                <a:cxn ang="0">
                  <a:pos x="connsiteX3294" y="connsiteY3294"/>
                </a:cxn>
                <a:cxn ang="0">
                  <a:pos x="connsiteX3295" y="connsiteY3295"/>
                </a:cxn>
                <a:cxn ang="0">
                  <a:pos x="connsiteX3296" y="connsiteY3296"/>
                </a:cxn>
                <a:cxn ang="0">
                  <a:pos x="connsiteX3297" y="connsiteY3297"/>
                </a:cxn>
                <a:cxn ang="0">
                  <a:pos x="connsiteX3298" y="connsiteY3298"/>
                </a:cxn>
                <a:cxn ang="0">
                  <a:pos x="connsiteX3299" y="connsiteY3299"/>
                </a:cxn>
                <a:cxn ang="0">
                  <a:pos x="connsiteX3300" y="connsiteY3300"/>
                </a:cxn>
                <a:cxn ang="0">
                  <a:pos x="connsiteX3301" y="connsiteY3301"/>
                </a:cxn>
                <a:cxn ang="0">
                  <a:pos x="connsiteX3302" y="connsiteY3302"/>
                </a:cxn>
                <a:cxn ang="0">
                  <a:pos x="connsiteX3303" y="connsiteY3303"/>
                </a:cxn>
                <a:cxn ang="0">
                  <a:pos x="connsiteX3304" y="connsiteY3304"/>
                </a:cxn>
                <a:cxn ang="0">
                  <a:pos x="connsiteX3305" y="connsiteY3305"/>
                </a:cxn>
                <a:cxn ang="0">
                  <a:pos x="connsiteX3306" y="connsiteY3306"/>
                </a:cxn>
                <a:cxn ang="0">
                  <a:pos x="connsiteX3307" y="connsiteY3307"/>
                </a:cxn>
                <a:cxn ang="0">
                  <a:pos x="connsiteX3308" y="connsiteY3308"/>
                </a:cxn>
                <a:cxn ang="0">
                  <a:pos x="connsiteX3309" y="connsiteY3309"/>
                </a:cxn>
                <a:cxn ang="0">
                  <a:pos x="connsiteX3310" y="connsiteY3310"/>
                </a:cxn>
                <a:cxn ang="0">
                  <a:pos x="connsiteX3311" y="connsiteY3311"/>
                </a:cxn>
                <a:cxn ang="0">
                  <a:pos x="connsiteX3312" y="connsiteY3312"/>
                </a:cxn>
                <a:cxn ang="0">
                  <a:pos x="connsiteX3313" y="connsiteY3313"/>
                </a:cxn>
                <a:cxn ang="0">
                  <a:pos x="connsiteX3314" y="connsiteY3314"/>
                </a:cxn>
                <a:cxn ang="0">
                  <a:pos x="connsiteX3315" y="connsiteY3315"/>
                </a:cxn>
                <a:cxn ang="0">
                  <a:pos x="connsiteX3316" y="connsiteY3316"/>
                </a:cxn>
                <a:cxn ang="0">
                  <a:pos x="connsiteX3317" y="connsiteY3317"/>
                </a:cxn>
                <a:cxn ang="0">
                  <a:pos x="connsiteX3318" y="connsiteY3318"/>
                </a:cxn>
                <a:cxn ang="0">
                  <a:pos x="connsiteX3319" y="connsiteY3319"/>
                </a:cxn>
                <a:cxn ang="0">
                  <a:pos x="connsiteX3320" y="connsiteY3320"/>
                </a:cxn>
                <a:cxn ang="0">
                  <a:pos x="connsiteX3321" y="connsiteY3321"/>
                </a:cxn>
                <a:cxn ang="0">
                  <a:pos x="connsiteX3322" y="connsiteY3322"/>
                </a:cxn>
                <a:cxn ang="0">
                  <a:pos x="connsiteX3323" y="connsiteY3323"/>
                </a:cxn>
                <a:cxn ang="0">
                  <a:pos x="connsiteX3324" y="connsiteY3324"/>
                </a:cxn>
                <a:cxn ang="0">
                  <a:pos x="connsiteX3325" y="connsiteY3325"/>
                </a:cxn>
                <a:cxn ang="0">
                  <a:pos x="connsiteX3326" y="connsiteY3326"/>
                </a:cxn>
                <a:cxn ang="0">
                  <a:pos x="connsiteX3327" y="connsiteY3327"/>
                </a:cxn>
                <a:cxn ang="0">
                  <a:pos x="connsiteX3328" y="connsiteY3328"/>
                </a:cxn>
                <a:cxn ang="0">
                  <a:pos x="connsiteX3329" y="connsiteY3329"/>
                </a:cxn>
                <a:cxn ang="0">
                  <a:pos x="connsiteX3330" y="connsiteY3330"/>
                </a:cxn>
                <a:cxn ang="0">
                  <a:pos x="connsiteX3331" y="connsiteY3331"/>
                </a:cxn>
                <a:cxn ang="0">
                  <a:pos x="connsiteX3332" y="connsiteY3332"/>
                </a:cxn>
                <a:cxn ang="0">
                  <a:pos x="connsiteX3333" y="connsiteY3333"/>
                </a:cxn>
                <a:cxn ang="0">
                  <a:pos x="connsiteX3334" y="connsiteY3334"/>
                </a:cxn>
                <a:cxn ang="0">
                  <a:pos x="connsiteX3335" y="connsiteY3335"/>
                </a:cxn>
                <a:cxn ang="0">
                  <a:pos x="connsiteX3336" y="connsiteY3336"/>
                </a:cxn>
                <a:cxn ang="0">
                  <a:pos x="connsiteX3337" y="connsiteY3337"/>
                </a:cxn>
                <a:cxn ang="0">
                  <a:pos x="connsiteX3338" y="connsiteY3338"/>
                </a:cxn>
                <a:cxn ang="0">
                  <a:pos x="connsiteX3339" y="connsiteY3339"/>
                </a:cxn>
                <a:cxn ang="0">
                  <a:pos x="connsiteX3340" y="connsiteY3340"/>
                </a:cxn>
                <a:cxn ang="0">
                  <a:pos x="connsiteX3341" y="connsiteY3341"/>
                </a:cxn>
                <a:cxn ang="0">
                  <a:pos x="connsiteX3342" y="connsiteY3342"/>
                </a:cxn>
                <a:cxn ang="0">
                  <a:pos x="connsiteX3343" y="connsiteY3343"/>
                </a:cxn>
                <a:cxn ang="0">
                  <a:pos x="connsiteX3344" y="connsiteY3344"/>
                </a:cxn>
                <a:cxn ang="0">
                  <a:pos x="connsiteX3345" y="connsiteY3345"/>
                </a:cxn>
                <a:cxn ang="0">
                  <a:pos x="connsiteX3346" y="connsiteY3346"/>
                </a:cxn>
                <a:cxn ang="0">
                  <a:pos x="connsiteX3347" y="connsiteY3347"/>
                </a:cxn>
                <a:cxn ang="0">
                  <a:pos x="connsiteX3348" y="connsiteY3348"/>
                </a:cxn>
                <a:cxn ang="0">
                  <a:pos x="connsiteX3349" y="connsiteY3349"/>
                </a:cxn>
                <a:cxn ang="0">
                  <a:pos x="connsiteX3350" y="connsiteY3350"/>
                </a:cxn>
                <a:cxn ang="0">
                  <a:pos x="connsiteX3351" y="connsiteY3351"/>
                </a:cxn>
                <a:cxn ang="0">
                  <a:pos x="connsiteX3352" y="connsiteY3352"/>
                </a:cxn>
                <a:cxn ang="0">
                  <a:pos x="connsiteX3353" y="connsiteY3353"/>
                </a:cxn>
                <a:cxn ang="0">
                  <a:pos x="connsiteX3354" y="connsiteY3354"/>
                </a:cxn>
                <a:cxn ang="0">
                  <a:pos x="connsiteX3355" y="connsiteY3355"/>
                </a:cxn>
                <a:cxn ang="0">
                  <a:pos x="connsiteX3356" y="connsiteY3356"/>
                </a:cxn>
                <a:cxn ang="0">
                  <a:pos x="connsiteX3357" y="connsiteY3357"/>
                </a:cxn>
                <a:cxn ang="0">
                  <a:pos x="connsiteX3358" y="connsiteY3358"/>
                </a:cxn>
                <a:cxn ang="0">
                  <a:pos x="connsiteX3359" y="connsiteY3359"/>
                </a:cxn>
                <a:cxn ang="0">
                  <a:pos x="connsiteX3360" y="connsiteY3360"/>
                </a:cxn>
                <a:cxn ang="0">
                  <a:pos x="connsiteX3361" y="connsiteY3361"/>
                </a:cxn>
                <a:cxn ang="0">
                  <a:pos x="connsiteX3362" y="connsiteY3362"/>
                </a:cxn>
                <a:cxn ang="0">
                  <a:pos x="connsiteX3363" y="connsiteY3363"/>
                </a:cxn>
                <a:cxn ang="0">
                  <a:pos x="connsiteX3364" y="connsiteY3364"/>
                </a:cxn>
                <a:cxn ang="0">
                  <a:pos x="connsiteX3365" y="connsiteY3365"/>
                </a:cxn>
                <a:cxn ang="0">
                  <a:pos x="connsiteX3366" y="connsiteY3366"/>
                </a:cxn>
                <a:cxn ang="0">
                  <a:pos x="connsiteX3367" y="connsiteY3367"/>
                </a:cxn>
                <a:cxn ang="0">
                  <a:pos x="connsiteX3368" y="connsiteY3368"/>
                </a:cxn>
                <a:cxn ang="0">
                  <a:pos x="connsiteX3369" y="connsiteY3369"/>
                </a:cxn>
                <a:cxn ang="0">
                  <a:pos x="connsiteX3370" y="connsiteY3370"/>
                </a:cxn>
                <a:cxn ang="0">
                  <a:pos x="connsiteX3371" y="connsiteY3371"/>
                </a:cxn>
                <a:cxn ang="0">
                  <a:pos x="connsiteX3372" y="connsiteY3372"/>
                </a:cxn>
                <a:cxn ang="0">
                  <a:pos x="connsiteX3373" y="connsiteY3373"/>
                </a:cxn>
                <a:cxn ang="0">
                  <a:pos x="connsiteX3374" y="connsiteY3374"/>
                </a:cxn>
                <a:cxn ang="0">
                  <a:pos x="connsiteX3375" y="connsiteY3375"/>
                </a:cxn>
                <a:cxn ang="0">
                  <a:pos x="connsiteX3376" y="connsiteY3376"/>
                </a:cxn>
                <a:cxn ang="0">
                  <a:pos x="connsiteX3377" y="connsiteY3377"/>
                </a:cxn>
                <a:cxn ang="0">
                  <a:pos x="connsiteX3378" y="connsiteY3378"/>
                </a:cxn>
                <a:cxn ang="0">
                  <a:pos x="connsiteX3379" y="connsiteY3379"/>
                </a:cxn>
                <a:cxn ang="0">
                  <a:pos x="connsiteX3380" y="connsiteY3380"/>
                </a:cxn>
                <a:cxn ang="0">
                  <a:pos x="connsiteX3381" y="connsiteY3381"/>
                </a:cxn>
                <a:cxn ang="0">
                  <a:pos x="connsiteX3382" y="connsiteY3382"/>
                </a:cxn>
                <a:cxn ang="0">
                  <a:pos x="connsiteX3383" y="connsiteY3383"/>
                </a:cxn>
                <a:cxn ang="0">
                  <a:pos x="connsiteX3384" y="connsiteY3384"/>
                </a:cxn>
                <a:cxn ang="0">
                  <a:pos x="connsiteX3385" y="connsiteY3385"/>
                </a:cxn>
                <a:cxn ang="0">
                  <a:pos x="connsiteX3386" y="connsiteY3386"/>
                </a:cxn>
                <a:cxn ang="0">
                  <a:pos x="connsiteX3387" y="connsiteY3387"/>
                </a:cxn>
                <a:cxn ang="0">
                  <a:pos x="connsiteX3388" y="connsiteY3388"/>
                </a:cxn>
                <a:cxn ang="0">
                  <a:pos x="connsiteX3389" y="connsiteY3389"/>
                </a:cxn>
                <a:cxn ang="0">
                  <a:pos x="connsiteX3390" y="connsiteY3390"/>
                </a:cxn>
                <a:cxn ang="0">
                  <a:pos x="connsiteX3391" y="connsiteY3391"/>
                </a:cxn>
                <a:cxn ang="0">
                  <a:pos x="connsiteX3392" y="connsiteY3392"/>
                </a:cxn>
                <a:cxn ang="0">
                  <a:pos x="connsiteX3393" y="connsiteY3393"/>
                </a:cxn>
                <a:cxn ang="0">
                  <a:pos x="connsiteX3394" y="connsiteY3394"/>
                </a:cxn>
                <a:cxn ang="0">
                  <a:pos x="connsiteX3395" y="connsiteY3395"/>
                </a:cxn>
                <a:cxn ang="0">
                  <a:pos x="connsiteX3396" y="connsiteY3396"/>
                </a:cxn>
                <a:cxn ang="0">
                  <a:pos x="connsiteX3397" y="connsiteY3397"/>
                </a:cxn>
                <a:cxn ang="0">
                  <a:pos x="connsiteX3398" y="connsiteY3398"/>
                </a:cxn>
                <a:cxn ang="0">
                  <a:pos x="connsiteX3399" y="connsiteY3399"/>
                </a:cxn>
                <a:cxn ang="0">
                  <a:pos x="connsiteX3400" y="connsiteY3400"/>
                </a:cxn>
                <a:cxn ang="0">
                  <a:pos x="connsiteX3401" y="connsiteY3401"/>
                </a:cxn>
                <a:cxn ang="0">
                  <a:pos x="connsiteX3402" y="connsiteY3402"/>
                </a:cxn>
                <a:cxn ang="0">
                  <a:pos x="connsiteX3403" y="connsiteY3403"/>
                </a:cxn>
                <a:cxn ang="0">
                  <a:pos x="connsiteX3404" y="connsiteY3404"/>
                </a:cxn>
                <a:cxn ang="0">
                  <a:pos x="connsiteX3405" y="connsiteY3405"/>
                </a:cxn>
                <a:cxn ang="0">
                  <a:pos x="connsiteX3406" y="connsiteY3406"/>
                </a:cxn>
                <a:cxn ang="0">
                  <a:pos x="connsiteX3407" y="connsiteY3407"/>
                </a:cxn>
                <a:cxn ang="0">
                  <a:pos x="connsiteX3408" y="connsiteY3408"/>
                </a:cxn>
                <a:cxn ang="0">
                  <a:pos x="connsiteX3409" y="connsiteY3409"/>
                </a:cxn>
                <a:cxn ang="0">
                  <a:pos x="connsiteX3410" y="connsiteY3410"/>
                </a:cxn>
                <a:cxn ang="0">
                  <a:pos x="connsiteX3411" y="connsiteY3411"/>
                </a:cxn>
                <a:cxn ang="0">
                  <a:pos x="connsiteX3412" y="connsiteY3412"/>
                </a:cxn>
                <a:cxn ang="0">
                  <a:pos x="connsiteX3413" y="connsiteY3413"/>
                </a:cxn>
                <a:cxn ang="0">
                  <a:pos x="connsiteX3414" y="connsiteY3414"/>
                </a:cxn>
                <a:cxn ang="0">
                  <a:pos x="connsiteX3415" y="connsiteY3415"/>
                </a:cxn>
                <a:cxn ang="0">
                  <a:pos x="connsiteX3416" y="connsiteY3416"/>
                </a:cxn>
                <a:cxn ang="0">
                  <a:pos x="connsiteX3417" y="connsiteY3417"/>
                </a:cxn>
                <a:cxn ang="0">
                  <a:pos x="connsiteX3418" y="connsiteY3418"/>
                </a:cxn>
                <a:cxn ang="0">
                  <a:pos x="connsiteX3419" y="connsiteY3419"/>
                </a:cxn>
                <a:cxn ang="0">
                  <a:pos x="connsiteX3420" y="connsiteY3420"/>
                </a:cxn>
                <a:cxn ang="0">
                  <a:pos x="connsiteX3421" y="connsiteY3421"/>
                </a:cxn>
                <a:cxn ang="0">
                  <a:pos x="connsiteX3422" y="connsiteY3422"/>
                </a:cxn>
                <a:cxn ang="0">
                  <a:pos x="connsiteX3423" y="connsiteY3423"/>
                </a:cxn>
                <a:cxn ang="0">
                  <a:pos x="connsiteX3424" y="connsiteY3424"/>
                </a:cxn>
                <a:cxn ang="0">
                  <a:pos x="connsiteX3425" y="connsiteY3425"/>
                </a:cxn>
                <a:cxn ang="0">
                  <a:pos x="connsiteX3426" y="connsiteY3426"/>
                </a:cxn>
                <a:cxn ang="0">
                  <a:pos x="connsiteX3427" y="connsiteY3427"/>
                </a:cxn>
                <a:cxn ang="0">
                  <a:pos x="connsiteX3428" y="connsiteY3428"/>
                </a:cxn>
                <a:cxn ang="0">
                  <a:pos x="connsiteX3429" y="connsiteY3429"/>
                </a:cxn>
                <a:cxn ang="0">
                  <a:pos x="connsiteX3430" y="connsiteY3430"/>
                </a:cxn>
                <a:cxn ang="0">
                  <a:pos x="connsiteX3431" y="connsiteY3431"/>
                </a:cxn>
                <a:cxn ang="0">
                  <a:pos x="connsiteX3432" y="connsiteY3432"/>
                </a:cxn>
                <a:cxn ang="0">
                  <a:pos x="connsiteX3433" y="connsiteY3433"/>
                </a:cxn>
                <a:cxn ang="0">
                  <a:pos x="connsiteX3434" y="connsiteY3434"/>
                </a:cxn>
                <a:cxn ang="0">
                  <a:pos x="connsiteX3435" y="connsiteY3435"/>
                </a:cxn>
                <a:cxn ang="0">
                  <a:pos x="connsiteX3436" y="connsiteY3436"/>
                </a:cxn>
                <a:cxn ang="0">
                  <a:pos x="connsiteX3437" y="connsiteY3437"/>
                </a:cxn>
                <a:cxn ang="0">
                  <a:pos x="connsiteX3438" y="connsiteY3438"/>
                </a:cxn>
                <a:cxn ang="0">
                  <a:pos x="connsiteX3439" y="connsiteY3439"/>
                </a:cxn>
                <a:cxn ang="0">
                  <a:pos x="connsiteX3440" y="connsiteY3440"/>
                </a:cxn>
                <a:cxn ang="0">
                  <a:pos x="connsiteX3441" y="connsiteY3441"/>
                </a:cxn>
                <a:cxn ang="0">
                  <a:pos x="connsiteX3442" y="connsiteY3442"/>
                </a:cxn>
                <a:cxn ang="0">
                  <a:pos x="connsiteX3443" y="connsiteY3443"/>
                </a:cxn>
                <a:cxn ang="0">
                  <a:pos x="connsiteX3444" y="connsiteY3444"/>
                </a:cxn>
                <a:cxn ang="0">
                  <a:pos x="connsiteX3445" y="connsiteY3445"/>
                </a:cxn>
                <a:cxn ang="0">
                  <a:pos x="connsiteX3446" y="connsiteY3446"/>
                </a:cxn>
                <a:cxn ang="0">
                  <a:pos x="connsiteX3447" y="connsiteY3447"/>
                </a:cxn>
                <a:cxn ang="0">
                  <a:pos x="connsiteX3448" y="connsiteY3448"/>
                </a:cxn>
                <a:cxn ang="0">
                  <a:pos x="connsiteX3449" y="connsiteY3449"/>
                </a:cxn>
                <a:cxn ang="0">
                  <a:pos x="connsiteX3450" y="connsiteY3450"/>
                </a:cxn>
                <a:cxn ang="0">
                  <a:pos x="connsiteX3451" y="connsiteY3451"/>
                </a:cxn>
                <a:cxn ang="0">
                  <a:pos x="connsiteX3452" y="connsiteY3452"/>
                </a:cxn>
                <a:cxn ang="0">
                  <a:pos x="connsiteX3453" y="connsiteY3453"/>
                </a:cxn>
                <a:cxn ang="0">
                  <a:pos x="connsiteX3454" y="connsiteY3454"/>
                </a:cxn>
                <a:cxn ang="0">
                  <a:pos x="connsiteX3455" y="connsiteY3455"/>
                </a:cxn>
                <a:cxn ang="0">
                  <a:pos x="connsiteX3456" y="connsiteY3456"/>
                </a:cxn>
                <a:cxn ang="0">
                  <a:pos x="connsiteX3457" y="connsiteY3457"/>
                </a:cxn>
                <a:cxn ang="0">
                  <a:pos x="connsiteX3458" y="connsiteY3458"/>
                </a:cxn>
                <a:cxn ang="0">
                  <a:pos x="connsiteX3459" y="connsiteY3459"/>
                </a:cxn>
                <a:cxn ang="0">
                  <a:pos x="connsiteX3460" y="connsiteY3460"/>
                </a:cxn>
                <a:cxn ang="0">
                  <a:pos x="connsiteX3461" y="connsiteY3461"/>
                </a:cxn>
                <a:cxn ang="0">
                  <a:pos x="connsiteX3462" y="connsiteY3462"/>
                </a:cxn>
                <a:cxn ang="0">
                  <a:pos x="connsiteX3463" y="connsiteY3463"/>
                </a:cxn>
                <a:cxn ang="0">
                  <a:pos x="connsiteX3464" y="connsiteY3464"/>
                </a:cxn>
                <a:cxn ang="0">
                  <a:pos x="connsiteX3465" y="connsiteY3465"/>
                </a:cxn>
                <a:cxn ang="0">
                  <a:pos x="connsiteX3466" y="connsiteY3466"/>
                </a:cxn>
                <a:cxn ang="0">
                  <a:pos x="connsiteX3467" y="connsiteY3467"/>
                </a:cxn>
                <a:cxn ang="0">
                  <a:pos x="connsiteX3468" y="connsiteY3468"/>
                </a:cxn>
                <a:cxn ang="0">
                  <a:pos x="connsiteX3469" y="connsiteY3469"/>
                </a:cxn>
                <a:cxn ang="0">
                  <a:pos x="connsiteX3470" y="connsiteY3470"/>
                </a:cxn>
                <a:cxn ang="0">
                  <a:pos x="connsiteX3471" y="connsiteY3471"/>
                </a:cxn>
                <a:cxn ang="0">
                  <a:pos x="connsiteX3472" y="connsiteY3472"/>
                </a:cxn>
                <a:cxn ang="0">
                  <a:pos x="connsiteX3473" y="connsiteY3473"/>
                </a:cxn>
                <a:cxn ang="0">
                  <a:pos x="connsiteX3474" y="connsiteY3474"/>
                </a:cxn>
                <a:cxn ang="0">
                  <a:pos x="connsiteX3475" y="connsiteY3475"/>
                </a:cxn>
                <a:cxn ang="0">
                  <a:pos x="connsiteX3476" y="connsiteY3476"/>
                </a:cxn>
                <a:cxn ang="0">
                  <a:pos x="connsiteX3477" y="connsiteY3477"/>
                </a:cxn>
                <a:cxn ang="0">
                  <a:pos x="connsiteX3478" y="connsiteY3478"/>
                </a:cxn>
                <a:cxn ang="0">
                  <a:pos x="connsiteX3479" y="connsiteY3479"/>
                </a:cxn>
                <a:cxn ang="0">
                  <a:pos x="connsiteX3480" y="connsiteY3480"/>
                </a:cxn>
                <a:cxn ang="0">
                  <a:pos x="connsiteX3481" y="connsiteY3481"/>
                </a:cxn>
                <a:cxn ang="0">
                  <a:pos x="connsiteX3482" y="connsiteY3482"/>
                </a:cxn>
                <a:cxn ang="0">
                  <a:pos x="connsiteX3483" y="connsiteY3483"/>
                </a:cxn>
                <a:cxn ang="0">
                  <a:pos x="connsiteX3484" y="connsiteY3484"/>
                </a:cxn>
                <a:cxn ang="0">
                  <a:pos x="connsiteX3485" y="connsiteY3485"/>
                </a:cxn>
                <a:cxn ang="0">
                  <a:pos x="connsiteX3486" y="connsiteY3486"/>
                </a:cxn>
                <a:cxn ang="0">
                  <a:pos x="connsiteX3487" y="connsiteY3487"/>
                </a:cxn>
                <a:cxn ang="0">
                  <a:pos x="connsiteX3488" y="connsiteY3488"/>
                </a:cxn>
                <a:cxn ang="0">
                  <a:pos x="connsiteX3489" y="connsiteY3489"/>
                </a:cxn>
                <a:cxn ang="0">
                  <a:pos x="connsiteX3490" y="connsiteY3490"/>
                </a:cxn>
                <a:cxn ang="0">
                  <a:pos x="connsiteX3491" y="connsiteY3491"/>
                </a:cxn>
                <a:cxn ang="0">
                  <a:pos x="connsiteX3492" y="connsiteY3492"/>
                </a:cxn>
                <a:cxn ang="0">
                  <a:pos x="connsiteX3493" y="connsiteY3493"/>
                </a:cxn>
                <a:cxn ang="0">
                  <a:pos x="connsiteX3494" y="connsiteY3494"/>
                </a:cxn>
                <a:cxn ang="0">
                  <a:pos x="connsiteX3495" y="connsiteY3495"/>
                </a:cxn>
                <a:cxn ang="0">
                  <a:pos x="connsiteX3496" y="connsiteY3496"/>
                </a:cxn>
                <a:cxn ang="0">
                  <a:pos x="connsiteX3497" y="connsiteY3497"/>
                </a:cxn>
                <a:cxn ang="0">
                  <a:pos x="connsiteX3498" y="connsiteY3498"/>
                </a:cxn>
                <a:cxn ang="0">
                  <a:pos x="connsiteX3499" y="connsiteY3499"/>
                </a:cxn>
                <a:cxn ang="0">
                  <a:pos x="connsiteX3500" y="connsiteY3500"/>
                </a:cxn>
                <a:cxn ang="0">
                  <a:pos x="connsiteX3501" y="connsiteY3501"/>
                </a:cxn>
                <a:cxn ang="0">
                  <a:pos x="connsiteX3502" y="connsiteY3502"/>
                </a:cxn>
                <a:cxn ang="0">
                  <a:pos x="connsiteX3503" y="connsiteY3503"/>
                </a:cxn>
                <a:cxn ang="0">
                  <a:pos x="connsiteX3504" y="connsiteY3504"/>
                </a:cxn>
                <a:cxn ang="0">
                  <a:pos x="connsiteX3505" y="connsiteY3505"/>
                </a:cxn>
                <a:cxn ang="0">
                  <a:pos x="connsiteX3506" y="connsiteY3506"/>
                </a:cxn>
                <a:cxn ang="0">
                  <a:pos x="connsiteX3507" y="connsiteY3507"/>
                </a:cxn>
                <a:cxn ang="0">
                  <a:pos x="connsiteX3508" y="connsiteY3508"/>
                </a:cxn>
                <a:cxn ang="0">
                  <a:pos x="connsiteX3509" y="connsiteY3509"/>
                </a:cxn>
                <a:cxn ang="0">
                  <a:pos x="connsiteX3510" y="connsiteY3510"/>
                </a:cxn>
                <a:cxn ang="0">
                  <a:pos x="connsiteX3511" y="connsiteY3511"/>
                </a:cxn>
                <a:cxn ang="0">
                  <a:pos x="connsiteX3512" y="connsiteY3512"/>
                </a:cxn>
                <a:cxn ang="0">
                  <a:pos x="connsiteX3513" y="connsiteY3513"/>
                </a:cxn>
                <a:cxn ang="0">
                  <a:pos x="connsiteX3514" y="connsiteY3514"/>
                </a:cxn>
                <a:cxn ang="0">
                  <a:pos x="connsiteX3515" y="connsiteY3515"/>
                </a:cxn>
                <a:cxn ang="0">
                  <a:pos x="connsiteX3516" y="connsiteY3516"/>
                </a:cxn>
                <a:cxn ang="0">
                  <a:pos x="connsiteX3517" y="connsiteY3517"/>
                </a:cxn>
                <a:cxn ang="0">
                  <a:pos x="connsiteX3518" y="connsiteY3518"/>
                </a:cxn>
                <a:cxn ang="0">
                  <a:pos x="connsiteX3519" y="connsiteY3519"/>
                </a:cxn>
                <a:cxn ang="0">
                  <a:pos x="connsiteX3520" y="connsiteY3520"/>
                </a:cxn>
                <a:cxn ang="0">
                  <a:pos x="connsiteX3521" y="connsiteY3521"/>
                </a:cxn>
                <a:cxn ang="0">
                  <a:pos x="connsiteX3522" y="connsiteY3522"/>
                </a:cxn>
                <a:cxn ang="0">
                  <a:pos x="connsiteX3523" y="connsiteY3523"/>
                </a:cxn>
                <a:cxn ang="0">
                  <a:pos x="connsiteX3524" y="connsiteY3524"/>
                </a:cxn>
                <a:cxn ang="0">
                  <a:pos x="connsiteX3525" y="connsiteY3525"/>
                </a:cxn>
                <a:cxn ang="0">
                  <a:pos x="connsiteX3526" y="connsiteY3526"/>
                </a:cxn>
                <a:cxn ang="0">
                  <a:pos x="connsiteX3527" y="connsiteY3527"/>
                </a:cxn>
                <a:cxn ang="0">
                  <a:pos x="connsiteX3528" y="connsiteY3528"/>
                </a:cxn>
                <a:cxn ang="0">
                  <a:pos x="connsiteX3529" y="connsiteY3529"/>
                </a:cxn>
                <a:cxn ang="0">
                  <a:pos x="connsiteX3530" y="connsiteY3530"/>
                </a:cxn>
                <a:cxn ang="0">
                  <a:pos x="connsiteX3531" y="connsiteY3531"/>
                </a:cxn>
                <a:cxn ang="0">
                  <a:pos x="connsiteX3532" y="connsiteY3532"/>
                </a:cxn>
                <a:cxn ang="0">
                  <a:pos x="connsiteX3533" y="connsiteY3533"/>
                </a:cxn>
                <a:cxn ang="0">
                  <a:pos x="connsiteX3534" y="connsiteY3534"/>
                </a:cxn>
                <a:cxn ang="0">
                  <a:pos x="connsiteX3535" y="connsiteY3535"/>
                </a:cxn>
                <a:cxn ang="0">
                  <a:pos x="connsiteX3536" y="connsiteY3536"/>
                </a:cxn>
                <a:cxn ang="0">
                  <a:pos x="connsiteX3537" y="connsiteY3537"/>
                </a:cxn>
                <a:cxn ang="0">
                  <a:pos x="connsiteX3538" y="connsiteY3538"/>
                </a:cxn>
                <a:cxn ang="0">
                  <a:pos x="connsiteX3539" y="connsiteY3539"/>
                </a:cxn>
                <a:cxn ang="0">
                  <a:pos x="connsiteX3540" y="connsiteY3540"/>
                </a:cxn>
                <a:cxn ang="0">
                  <a:pos x="connsiteX3541" y="connsiteY3541"/>
                </a:cxn>
                <a:cxn ang="0">
                  <a:pos x="connsiteX3542" y="connsiteY3542"/>
                </a:cxn>
                <a:cxn ang="0">
                  <a:pos x="connsiteX3543" y="connsiteY3543"/>
                </a:cxn>
                <a:cxn ang="0">
                  <a:pos x="connsiteX3544" y="connsiteY3544"/>
                </a:cxn>
                <a:cxn ang="0">
                  <a:pos x="connsiteX3545" y="connsiteY3545"/>
                </a:cxn>
                <a:cxn ang="0">
                  <a:pos x="connsiteX3546" y="connsiteY3546"/>
                </a:cxn>
                <a:cxn ang="0">
                  <a:pos x="connsiteX3547" y="connsiteY3547"/>
                </a:cxn>
                <a:cxn ang="0">
                  <a:pos x="connsiteX3548" y="connsiteY3548"/>
                </a:cxn>
                <a:cxn ang="0">
                  <a:pos x="connsiteX3549" y="connsiteY3549"/>
                </a:cxn>
                <a:cxn ang="0">
                  <a:pos x="connsiteX3550" y="connsiteY3550"/>
                </a:cxn>
                <a:cxn ang="0">
                  <a:pos x="connsiteX3551" y="connsiteY3551"/>
                </a:cxn>
                <a:cxn ang="0">
                  <a:pos x="connsiteX3552" y="connsiteY3552"/>
                </a:cxn>
                <a:cxn ang="0">
                  <a:pos x="connsiteX3553" y="connsiteY3553"/>
                </a:cxn>
                <a:cxn ang="0">
                  <a:pos x="connsiteX3554" y="connsiteY3554"/>
                </a:cxn>
                <a:cxn ang="0">
                  <a:pos x="connsiteX3555" y="connsiteY3555"/>
                </a:cxn>
                <a:cxn ang="0">
                  <a:pos x="connsiteX3556" y="connsiteY3556"/>
                </a:cxn>
                <a:cxn ang="0">
                  <a:pos x="connsiteX3557" y="connsiteY3557"/>
                </a:cxn>
                <a:cxn ang="0">
                  <a:pos x="connsiteX3558" y="connsiteY3558"/>
                </a:cxn>
                <a:cxn ang="0">
                  <a:pos x="connsiteX3559" y="connsiteY3559"/>
                </a:cxn>
                <a:cxn ang="0">
                  <a:pos x="connsiteX3560" y="connsiteY3560"/>
                </a:cxn>
                <a:cxn ang="0">
                  <a:pos x="connsiteX3561" y="connsiteY3561"/>
                </a:cxn>
                <a:cxn ang="0">
                  <a:pos x="connsiteX3562" y="connsiteY3562"/>
                </a:cxn>
                <a:cxn ang="0">
                  <a:pos x="connsiteX3563" y="connsiteY3563"/>
                </a:cxn>
                <a:cxn ang="0">
                  <a:pos x="connsiteX3564" y="connsiteY3564"/>
                </a:cxn>
                <a:cxn ang="0">
                  <a:pos x="connsiteX3565" y="connsiteY3565"/>
                </a:cxn>
                <a:cxn ang="0">
                  <a:pos x="connsiteX3566" y="connsiteY3566"/>
                </a:cxn>
                <a:cxn ang="0">
                  <a:pos x="connsiteX3567" y="connsiteY3567"/>
                </a:cxn>
                <a:cxn ang="0">
                  <a:pos x="connsiteX3568" y="connsiteY3568"/>
                </a:cxn>
                <a:cxn ang="0">
                  <a:pos x="connsiteX3569" y="connsiteY3569"/>
                </a:cxn>
                <a:cxn ang="0">
                  <a:pos x="connsiteX3570" y="connsiteY3570"/>
                </a:cxn>
                <a:cxn ang="0">
                  <a:pos x="connsiteX3571" y="connsiteY3571"/>
                </a:cxn>
                <a:cxn ang="0">
                  <a:pos x="connsiteX3572" y="connsiteY3572"/>
                </a:cxn>
                <a:cxn ang="0">
                  <a:pos x="connsiteX3573" y="connsiteY3573"/>
                </a:cxn>
                <a:cxn ang="0">
                  <a:pos x="connsiteX3574" y="connsiteY3574"/>
                </a:cxn>
                <a:cxn ang="0">
                  <a:pos x="connsiteX3575" y="connsiteY3575"/>
                </a:cxn>
                <a:cxn ang="0">
                  <a:pos x="connsiteX3576" y="connsiteY3576"/>
                </a:cxn>
                <a:cxn ang="0">
                  <a:pos x="connsiteX3577" y="connsiteY3577"/>
                </a:cxn>
                <a:cxn ang="0">
                  <a:pos x="connsiteX3578" y="connsiteY3578"/>
                </a:cxn>
                <a:cxn ang="0">
                  <a:pos x="connsiteX3579" y="connsiteY3579"/>
                </a:cxn>
                <a:cxn ang="0">
                  <a:pos x="connsiteX3580" y="connsiteY3580"/>
                </a:cxn>
                <a:cxn ang="0">
                  <a:pos x="connsiteX3581" y="connsiteY3581"/>
                </a:cxn>
                <a:cxn ang="0">
                  <a:pos x="connsiteX3582" y="connsiteY3582"/>
                </a:cxn>
                <a:cxn ang="0">
                  <a:pos x="connsiteX3583" y="connsiteY3583"/>
                </a:cxn>
                <a:cxn ang="0">
                  <a:pos x="connsiteX3584" y="connsiteY3584"/>
                </a:cxn>
                <a:cxn ang="0">
                  <a:pos x="connsiteX3585" y="connsiteY3585"/>
                </a:cxn>
                <a:cxn ang="0">
                  <a:pos x="connsiteX3586" y="connsiteY3586"/>
                </a:cxn>
                <a:cxn ang="0">
                  <a:pos x="connsiteX3587" y="connsiteY3587"/>
                </a:cxn>
                <a:cxn ang="0">
                  <a:pos x="connsiteX3588" y="connsiteY3588"/>
                </a:cxn>
                <a:cxn ang="0">
                  <a:pos x="connsiteX3589" y="connsiteY3589"/>
                </a:cxn>
                <a:cxn ang="0">
                  <a:pos x="connsiteX3590" y="connsiteY3590"/>
                </a:cxn>
                <a:cxn ang="0">
                  <a:pos x="connsiteX3591" y="connsiteY3591"/>
                </a:cxn>
                <a:cxn ang="0">
                  <a:pos x="connsiteX3592" y="connsiteY3592"/>
                </a:cxn>
                <a:cxn ang="0">
                  <a:pos x="connsiteX3593" y="connsiteY3593"/>
                </a:cxn>
                <a:cxn ang="0">
                  <a:pos x="connsiteX3594" y="connsiteY3594"/>
                </a:cxn>
                <a:cxn ang="0">
                  <a:pos x="connsiteX3595" y="connsiteY3595"/>
                </a:cxn>
                <a:cxn ang="0">
                  <a:pos x="connsiteX3596" y="connsiteY3596"/>
                </a:cxn>
                <a:cxn ang="0">
                  <a:pos x="connsiteX3597" y="connsiteY3597"/>
                </a:cxn>
                <a:cxn ang="0">
                  <a:pos x="connsiteX3598" y="connsiteY3598"/>
                </a:cxn>
                <a:cxn ang="0">
                  <a:pos x="connsiteX3599" y="connsiteY3599"/>
                </a:cxn>
                <a:cxn ang="0">
                  <a:pos x="connsiteX3600" y="connsiteY3600"/>
                </a:cxn>
                <a:cxn ang="0">
                  <a:pos x="connsiteX3601" y="connsiteY3601"/>
                </a:cxn>
                <a:cxn ang="0">
                  <a:pos x="connsiteX3602" y="connsiteY3602"/>
                </a:cxn>
                <a:cxn ang="0">
                  <a:pos x="connsiteX3603" y="connsiteY3603"/>
                </a:cxn>
                <a:cxn ang="0">
                  <a:pos x="connsiteX3604" y="connsiteY3604"/>
                </a:cxn>
                <a:cxn ang="0">
                  <a:pos x="connsiteX3605" y="connsiteY3605"/>
                </a:cxn>
                <a:cxn ang="0">
                  <a:pos x="connsiteX3606" y="connsiteY3606"/>
                </a:cxn>
                <a:cxn ang="0">
                  <a:pos x="connsiteX3607" y="connsiteY3607"/>
                </a:cxn>
                <a:cxn ang="0">
                  <a:pos x="connsiteX3608" y="connsiteY3608"/>
                </a:cxn>
                <a:cxn ang="0">
                  <a:pos x="connsiteX3609" y="connsiteY3609"/>
                </a:cxn>
                <a:cxn ang="0">
                  <a:pos x="connsiteX3610" y="connsiteY3610"/>
                </a:cxn>
                <a:cxn ang="0">
                  <a:pos x="connsiteX3611" y="connsiteY3611"/>
                </a:cxn>
                <a:cxn ang="0">
                  <a:pos x="connsiteX3612" y="connsiteY3612"/>
                </a:cxn>
                <a:cxn ang="0">
                  <a:pos x="connsiteX3613" y="connsiteY3613"/>
                </a:cxn>
                <a:cxn ang="0">
                  <a:pos x="connsiteX3614" y="connsiteY3614"/>
                </a:cxn>
                <a:cxn ang="0">
                  <a:pos x="connsiteX3615" y="connsiteY3615"/>
                </a:cxn>
                <a:cxn ang="0">
                  <a:pos x="connsiteX3616" y="connsiteY3616"/>
                </a:cxn>
                <a:cxn ang="0">
                  <a:pos x="connsiteX3617" y="connsiteY3617"/>
                </a:cxn>
                <a:cxn ang="0">
                  <a:pos x="connsiteX3618" y="connsiteY3618"/>
                </a:cxn>
                <a:cxn ang="0">
                  <a:pos x="connsiteX3619" y="connsiteY3619"/>
                </a:cxn>
                <a:cxn ang="0">
                  <a:pos x="connsiteX3620" y="connsiteY3620"/>
                </a:cxn>
                <a:cxn ang="0">
                  <a:pos x="connsiteX3621" y="connsiteY3621"/>
                </a:cxn>
                <a:cxn ang="0">
                  <a:pos x="connsiteX3622" y="connsiteY3622"/>
                </a:cxn>
                <a:cxn ang="0">
                  <a:pos x="connsiteX3623" y="connsiteY3623"/>
                </a:cxn>
                <a:cxn ang="0">
                  <a:pos x="connsiteX3624" y="connsiteY3624"/>
                </a:cxn>
                <a:cxn ang="0">
                  <a:pos x="connsiteX3625" y="connsiteY3625"/>
                </a:cxn>
                <a:cxn ang="0">
                  <a:pos x="connsiteX3626" y="connsiteY3626"/>
                </a:cxn>
                <a:cxn ang="0">
                  <a:pos x="connsiteX3627" y="connsiteY3627"/>
                </a:cxn>
                <a:cxn ang="0">
                  <a:pos x="connsiteX3628" y="connsiteY3628"/>
                </a:cxn>
                <a:cxn ang="0">
                  <a:pos x="connsiteX3629" y="connsiteY3629"/>
                </a:cxn>
                <a:cxn ang="0">
                  <a:pos x="connsiteX3630" y="connsiteY3630"/>
                </a:cxn>
                <a:cxn ang="0">
                  <a:pos x="connsiteX3631" y="connsiteY3631"/>
                </a:cxn>
                <a:cxn ang="0">
                  <a:pos x="connsiteX3632" y="connsiteY3632"/>
                </a:cxn>
                <a:cxn ang="0">
                  <a:pos x="connsiteX3633" y="connsiteY3633"/>
                </a:cxn>
                <a:cxn ang="0">
                  <a:pos x="connsiteX3634" y="connsiteY3634"/>
                </a:cxn>
                <a:cxn ang="0">
                  <a:pos x="connsiteX3635" y="connsiteY3635"/>
                </a:cxn>
                <a:cxn ang="0">
                  <a:pos x="connsiteX3636" y="connsiteY3636"/>
                </a:cxn>
                <a:cxn ang="0">
                  <a:pos x="connsiteX3637" y="connsiteY3637"/>
                </a:cxn>
                <a:cxn ang="0">
                  <a:pos x="connsiteX3638" y="connsiteY3638"/>
                </a:cxn>
                <a:cxn ang="0">
                  <a:pos x="connsiteX3639" y="connsiteY3639"/>
                </a:cxn>
                <a:cxn ang="0">
                  <a:pos x="connsiteX3640" y="connsiteY3640"/>
                </a:cxn>
                <a:cxn ang="0">
                  <a:pos x="connsiteX3641" y="connsiteY3641"/>
                </a:cxn>
                <a:cxn ang="0">
                  <a:pos x="connsiteX3642" y="connsiteY3642"/>
                </a:cxn>
                <a:cxn ang="0">
                  <a:pos x="connsiteX3643" y="connsiteY3643"/>
                </a:cxn>
                <a:cxn ang="0">
                  <a:pos x="connsiteX3644" y="connsiteY3644"/>
                </a:cxn>
                <a:cxn ang="0">
                  <a:pos x="connsiteX3645" y="connsiteY3645"/>
                </a:cxn>
                <a:cxn ang="0">
                  <a:pos x="connsiteX3646" y="connsiteY3646"/>
                </a:cxn>
                <a:cxn ang="0">
                  <a:pos x="connsiteX3647" y="connsiteY3647"/>
                </a:cxn>
                <a:cxn ang="0">
                  <a:pos x="connsiteX3648" y="connsiteY3648"/>
                </a:cxn>
                <a:cxn ang="0">
                  <a:pos x="connsiteX3649" y="connsiteY3649"/>
                </a:cxn>
                <a:cxn ang="0">
                  <a:pos x="connsiteX3650" y="connsiteY3650"/>
                </a:cxn>
                <a:cxn ang="0">
                  <a:pos x="connsiteX3651" y="connsiteY3651"/>
                </a:cxn>
                <a:cxn ang="0">
                  <a:pos x="connsiteX3652" y="connsiteY3652"/>
                </a:cxn>
                <a:cxn ang="0">
                  <a:pos x="connsiteX3653" y="connsiteY3653"/>
                </a:cxn>
                <a:cxn ang="0">
                  <a:pos x="connsiteX3654" y="connsiteY3654"/>
                </a:cxn>
                <a:cxn ang="0">
                  <a:pos x="connsiteX3655" y="connsiteY3655"/>
                </a:cxn>
                <a:cxn ang="0">
                  <a:pos x="connsiteX3656" y="connsiteY3656"/>
                </a:cxn>
                <a:cxn ang="0">
                  <a:pos x="connsiteX3657" y="connsiteY3657"/>
                </a:cxn>
                <a:cxn ang="0">
                  <a:pos x="connsiteX3658" y="connsiteY3658"/>
                </a:cxn>
                <a:cxn ang="0">
                  <a:pos x="connsiteX3659" y="connsiteY3659"/>
                </a:cxn>
                <a:cxn ang="0">
                  <a:pos x="connsiteX3660" y="connsiteY3660"/>
                </a:cxn>
                <a:cxn ang="0">
                  <a:pos x="connsiteX3661" y="connsiteY3661"/>
                </a:cxn>
                <a:cxn ang="0">
                  <a:pos x="connsiteX3662" y="connsiteY3662"/>
                </a:cxn>
                <a:cxn ang="0">
                  <a:pos x="connsiteX3663" y="connsiteY3663"/>
                </a:cxn>
                <a:cxn ang="0">
                  <a:pos x="connsiteX3664" y="connsiteY3664"/>
                </a:cxn>
                <a:cxn ang="0">
                  <a:pos x="connsiteX3665" y="connsiteY3665"/>
                </a:cxn>
                <a:cxn ang="0">
                  <a:pos x="connsiteX3666" y="connsiteY3666"/>
                </a:cxn>
                <a:cxn ang="0">
                  <a:pos x="connsiteX3667" y="connsiteY3667"/>
                </a:cxn>
                <a:cxn ang="0">
                  <a:pos x="connsiteX3668" y="connsiteY3668"/>
                </a:cxn>
                <a:cxn ang="0">
                  <a:pos x="connsiteX3669" y="connsiteY3669"/>
                </a:cxn>
                <a:cxn ang="0">
                  <a:pos x="connsiteX3670" y="connsiteY3670"/>
                </a:cxn>
                <a:cxn ang="0">
                  <a:pos x="connsiteX3671" y="connsiteY3671"/>
                </a:cxn>
                <a:cxn ang="0">
                  <a:pos x="connsiteX3672" y="connsiteY3672"/>
                </a:cxn>
                <a:cxn ang="0">
                  <a:pos x="connsiteX3673" y="connsiteY3673"/>
                </a:cxn>
                <a:cxn ang="0">
                  <a:pos x="connsiteX3674" y="connsiteY3674"/>
                </a:cxn>
                <a:cxn ang="0">
                  <a:pos x="connsiteX3675" y="connsiteY3675"/>
                </a:cxn>
                <a:cxn ang="0">
                  <a:pos x="connsiteX3676" y="connsiteY3676"/>
                </a:cxn>
                <a:cxn ang="0">
                  <a:pos x="connsiteX3677" y="connsiteY3677"/>
                </a:cxn>
                <a:cxn ang="0">
                  <a:pos x="connsiteX3678" y="connsiteY3678"/>
                </a:cxn>
                <a:cxn ang="0">
                  <a:pos x="connsiteX3679" y="connsiteY3679"/>
                </a:cxn>
                <a:cxn ang="0">
                  <a:pos x="connsiteX3680" y="connsiteY3680"/>
                </a:cxn>
                <a:cxn ang="0">
                  <a:pos x="connsiteX3681" y="connsiteY3681"/>
                </a:cxn>
                <a:cxn ang="0">
                  <a:pos x="connsiteX3682" y="connsiteY3682"/>
                </a:cxn>
                <a:cxn ang="0">
                  <a:pos x="connsiteX3683" y="connsiteY3683"/>
                </a:cxn>
                <a:cxn ang="0">
                  <a:pos x="connsiteX3684" y="connsiteY3684"/>
                </a:cxn>
                <a:cxn ang="0">
                  <a:pos x="connsiteX3685" y="connsiteY3685"/>
                </a:cxn>
                <a:cxn ang="0">
                  <a:pos x="connsiteX3686" y="connsiteY3686"/>
                </a:cxn>
                <a:cxn ang="0">
                  <a:pos x="connsiteX3687" y="connsiteY3687"/>
                </a:cxn>
                <a:cxn ang="0">
                  <a:pos x="connsiteX3688" y="connsiteY3688"/>
                </a:cxn>
                <a:cxn ang="0">
                  <a:pos x="connsiteX3689" y="connsiteY3689"/>
                </a:cxn>
                <a:cxn ang="0">
                  <a:pos x="connsiteX3690" y="connsiteY3690"/>
                </a:cxn>
                <a:cxn ang="0">
                  <a:pos x="connsiteX3691" y="connsiteY3691"/>
                </a:cxn>
                <a:cxn ang="0">
                  <a:pos x="connsiteX3692" y="connsiteY3692"/>
                </a:cxn>
                <a:cxn ang="0">
                  <a:pos x="connsiteX3693" y="connsiteY3693"/>
                </a:cxn>
                <a:cxn ang="0">
                  <a:pos x="connsiteX3694" y="connsiteY3694"/>
                </a:cxn>
                <a:cxn ang="0">
                  <a:pos x="connsiteX3695" y="connsiteY3695"/>
                </a:cxn>
                <a:cxn ang="0">
                  <a:pos x="connsiteX3696" y="connsiteY3696"/>
                </a:cxn>
                <a:cxn ang="0">
                  <a:pos x="connsiteX3697" y="connsiteY3697"/>
                </a:cxn>
                <a:cxn ang="0">
                  <a:pos x="connsiteX3698" y="connsiteY3698"/>
                </a:cxn>
                <a:cxn ang="0">
                  <a:pos x="connsiteX3699" y="connsiteY3699"/>
                </a:cxn>
                <a:cxn ang="0">
                  <a:pos x="connsiteX3700" y="connsiteY3700"/>
                </a:cxn>
                <a:cxn ang="0">
                  <a:pos x="connsiteX3701" y="connsiteY3701"/>
                </a:cxn>
                <a:cxn ang="0">
                  <a:pos x="connsiteX3702" y="connsiteY3702"/>
                </a:cxn>
                <a:cxn ang="0">
                  <a:pos x="connsiteX3703" y="connsiteY3703"/>
                </a:cxn>
                <a:cxn ang="0">
                  <a:pos x="connsiteX3704" y="connsiteY3704"/>
                </a:cxn>
                <a:cxn ang="0">
                  <a:pos x="connsiteX3705" y="connsiteY3705"/>
                </a:cxn>
                <a:cxn ang="0">
                  <a:pos x="connsiteX3706" y="connsiteY3706"/>
                </a:cxn>
                <a:cxn ang="0">
                  <a:pos x="connsiteX3707" y="connsiteY3707"/>
                </a:cxn>
                <a:cxn ang="0">
                  <a:pos x="connsiteX3708" y="connsiteY3708"/>
                </a:cxn>
                <a:cxn ang="0">
                  <a:pos x="connsiteX3709" y="connsiteY3709"/>
                </a:cxn>
                <a:cxn ang="0">
                  <a:pos x="connsiteX3710" y="connsiteY3710"/>
                </a:cxn>
                <a:cxn ang="0">
                  <a:pos x="connsiteX3711" y="connsiteY3711"/>
                </a:cxn>
                <a:cxn ang="0">
                  <a:pos x="connsiteX3712" y="connsiteY3712"/>
                </a:cxn>
                <a:cxn ang="0">
                  <a:pos x="connsiteX3713" y="connsiteY3713"/>
                </a:cxn>
                <a:cxn ang="0">
                  <a:pos x="connsiteX3714" y="connsiteY3714"/>
                </a:cxn>
                <a:cxn ang="0">
                  <a:pos x="connsiteX3715" y="connsiteY3715"/>
                </a:cxn>
                <a:cxn ang="0">
                  <a:pos x="connsiteX3716" y="connsiteY3716"/>
                </a:cxn>
                <a:cxn ang="0">
                  <a:pos x="connsiteX3717" y="connsiteY3717"/>
                </a:cxn>
                <a:cxn ang="0">
                  <a:pos x="connsiteX3718" y="connsiteY3718"/>
                </a:cxn>
                <a:cxn ang="0">
                  <a:pos x="connsiteX3719" y="connsiteY3719"/>
                </a:cxn>
                <a:cxn ang="0">
                  <a:pos x="connsiteX3720" y="connsiteY3720"/>
                </a:cxn>
                <a:cxn ang="0">
                  <a:pos x="connsiteX3721" y="connsiteY3721"/>
                </a:cxn>
                <a:cxn ang="0">
                  <a:pos x="connsiteX3722" y="connsiteY3722"/>
                </a:cxn>
                <a:cxn ang="0">
                  <a:pos x="connsiteX3723" y="connsiteY3723"/>
                </a:cxn>
                <a:cxn ang="0">
                  <a:pos x="connsiteX3724" y="connsiteY3724"/>
                </a:cxn>
                <a:cxn ang="0">
                  <a:pos x="connsiteX3725" y="connsiteY3725"/>
                </a:cxn>
                <a:cxn ang="0">
                  <a:pos x="connsiteX3726" y="connsiteY3726"/>
                </a:cxn>
                <a:cxn ang="0">
                  <a:pos x="connsiteX3727" y="connsiteY3727"/>
                </a:cxn>
                <a:cxn ang="0">
                  <a:pos x="connsiteX3728" y="connsiteY3728"/>
                </a:cxn>
                <a:cxn ang="0">
                  <a:pos x="connsiteX3729" y="connsiteY3729"/>
                </a:cxn>
                <a:cxn ang="0">
                  <a:pos x="connsiteX3730" y="connsiteY3730"/>
                </a:cxn>
                <a:cxn ang="0">
                  <a:pos x="connsiteX3731" y="connsiteY3731"/>
                </a:cxn>
                <a:cxn ang="0">
                  <a:pos x="connsiteX3732" y="connsiteY3732"/>
                </a:cxn>
                <a:cxn ang="0">
                  <a:pos x="connsiteX3733" y="connsiteY3733"/>
                </a:cxn>
                <a:cxn ang="0">
                  <a:pos x="connsiteX3734" y="connsiteY3734"/>
                </a:cxn>
                <a:cxn ang="0">
                  <a:pos x="connsiteX3735" y="connsiteY3735"/>
                </a:cxn>
                <a:cxn ang="0">
                  <a:pos x="connsiteX3736" y="connsiteY3736"/>
                </a:cxn>
                <a:cxn ang="0">
                  <a:pos x="connsiteX3737" y="connsiteY3737"/>
                </a:cxn>
                <a:cxn ang="0">
                  <a:pos x="connsiteX3738" y="connsiteY3738"/>
                </a:cxn>
                <a:cxn ang="0">
                  <a:pos x="connsiteX3739" y="connsiteY3739"/>
                </a:cxn>
                <a:cxn ang="0">
                  <a:pos x="connsiteX3740" y="connsiteY3740"/>
                </a:cxn>
                <a:cxn ang="0">
                  <a:pos x="connsiteX3741" y="connsiteY3741"/>
                </a:cxn>
                <a:cxn ang="0">
                  <a:pos x="connsiteX3742" y="connsiteY3742"/>
                </a:cxn>
                <a:cxn ang="0">
                  <a:pos x="connsiteX3743" y="connsiteY3743"/>
                </a:cxn>
                <a:cxn ang="0">
                  <a:pos x="connsiteX3744" y="connsiteY3744"/>
                </a:cxn>
                <a:cxn ang="0">
                  <a:pos x="connsiteX3745" y="connsiteY3745"/>
                </a:cxn>
                <a:cxn ang="0">
                  <a:pos x="connsiteX3746" y="connsiteY3746"/>
                </a:cxn>
                <a:cxn ang="0">
                  <a:pos x="connsiteX3747" y="connsiteY3747"/>
                </a:cxn>
                <a:cxn ang="0">
                  <a:pos x="connsiteX3748" y="connsiteY3748"/>
                </a:cxn>
                <a:cxn ang="0">
                  <a:pos x="connsiteX3749" y="connsiteY3749"/>
                </a:cxn>
                <a:cxn ang="0">
                  <a:pos x="connsiteX3750" y="connsiteY3750"/>
                </a:cxn>
                <a:cxn ang="0">
                  <a:pos x="connsiteX3751" y="connsiteY3751"/>
                </a:cxn>
                <a:cxn ang="0">
                  <a:pos x="connsiteX3752" y="connsiteY3752"/>
                </a:cxn>
                <a:cxn ang="0">
                  <a:pos x="connsiteX3753" y="connsiteY3753"/>
                </a:cxn>
                <a:cxn ang="0">
                  <a:pos x="connsiteX3754" y="connsiteY3754"/>
                </a:cxn>
                <a:cxn ang="0">
                  <a:pos x="connsiteX3755" y="connsiteY3755"/>
                </a:cxn>
                <a:cxn ang="0">
                  <a:pos x="connsiteX3756" y="connsiteY3756"/>
                </a:cxn>
                <a:cxn ang="0">
                  <a:pos x="connsiteX3757" y="connsiteY3757"/>
                </a:cxn>
                <a:cxn ang="0">
                  <a:pos x="connsiteX3758" y="connsiteY3758"/>
                </a:cxn>
                <a:cxn ang="0">
                  <a:pos x="connsiteX3759" y="connsiteY3759"/>
                </a:cxn>
                <a:cxn ang="0">
                  <a:pos x="connsiteX3760" y="connsiteY3760"/>
                </a:cxn>
                <a:cxn ang="0">
                  <a:pos x="connsiteX3761" y="connsiteY3761"/>
                </a:cxn>
                <a:cxn ang="0">
                  <a:pos x="connsiteX3762" y="connsiteY3762"/>
                </a:cxn>
                <a:cxn ang="0">
                  <a:pos x="connsiteX3763" y="connsiteY3763"/>
                </a:cxn>
                <a:cxn ang="0">
                  <a:pos x="connsiteX3764" y="connsiteY3764"/>
                </a:cxn>
                <a:cxn ang="0">
                  <a:pos x="connsiteX3765" y="connsiteY3765"/>
                </a:cxn>
                <a:cxn ang="0">
                  <a:pos x="connsiteX3766" y="connsiteY3766"/>
                </a:cxn>
                <a:cxn ang="0">
                  <a:pos x="connsiteX3767" y="connsiteY3767"/>
                </a:cxn>
                <a:cxn ang="0">
                  <a:pos x="connsiteX3768" y="connsiteY3768"/>
                </a:cxn>
                <a:cxn ang="0">
                  <a:pos x="connsiteX3769" y="connsiteY3769"/>
                </a:cxn>
                <a:cxn ang="0">
                  <a:pos x="connsiteX3770" y="connsiteY3770"/>
                </a:cxn>
                <a:cxn ang="0">
                  <a:pos x="connsiteX3771" y="connsiteY3771"/>
                </a:cxn>
                <a:cxn ang="0">
                  <a:pos x="connsiteX3772" y="connsiteY3772"/>
                </a:cxn>
                <a:cxn ang="0">
                  <a:pos x="connsiteX3773" y="connsiteY3773"/>
                </a:cxn>
                <a:cxn ang="0">
                  <a:pos x="connsiteX3774" y="connsiteY3774"/>
                </a:cxn>
                <a:cxn ang="0">
                  <a:pos x="connsiteX3775" y="connsiteY3775"/>
                </a:cxn>
                <a:cxn ang="0">
                  <a:pos x="connsiteX3776" y="connsiteY3776"/>
                </a:cxn>
                <a:cxn ang="0">
                  <a:pos x="connsiteX3777" y="connsiteY3777"/>
                </a:cxn>
                <a:cxn ang="0">
                  <a:pos x="connsiteX3778" y="connsiteY3778"/>
                </a:cxn>
                <a:cxn ang="0">
                  <a:pos x="connsiteX3779" y="connsiteY3779"/>
                </a:cxn>
                <a:cxn ang="0">
                  <a:pos x="connsiteX3780" y="connsiteY3780"/>
                </a:cxn>
                <a:cxn ang="0">
                  <a:pos x="connsiteX3781" y="connsiteY3781"/>
                </a:cxn>
                <a:cxn ang="0">
                  <a:pos x="connsiteX3782" y="connsiteY3782"/>
                </a:cxn>
                <a:cxn ang="0">
                  <a:pos x="connsiteX3783" y="connsiteY3783"/>
                </a:cxn>
                <a:cxn ang="0">
                  <a:pos x="connsiteX3784" y="connsiteY3784"/>
                </a:cxn>
                <a:cxn ang="0">
                  <a:pos x="connsiteX3785" y="connsiteY3785"/>
                </a:cxn>
                <a:cxn ang="0">
                  <a:pos x="connsiteX3786" y="connsiteY3786"/>
                </a:cxn>
                <a:cxn ang="0">
                  <a:pos x="connsiteX3787" y="connsiteY3787"/>
                </a:cxn>
                <a:cxn ang="0">
                  <a:pos x="connsiteX3788" y="connsiteY3788"/>
                </a:cxn>
                <a:cxn ang="0">
                  <a:pos x="connsiteX3789" y="connsiteY3789"/>
                </a:cxn>
                <a:cxn ang="0">
                  <a:pos x="connsiteX3790" y="connsiteY3790"/>
                </a:cxn>
                <a:cxn ang="0">
                  <a:pos x="connsiteX3791" y="connsiteY3791"/>
                </a:cxn>
                <a:cxn ang="0">
                  <a:pos x="connsiteX3792" y="connsiteY3792"/>
                </a:cxn>
                <a:cxn ang="0">
                  <a:pos x="connsiteX3793" y="connsiteY3793"/>
                </a:cxn>
                <a:cxn ang="0">
                  <a:pos x="connsiteX3794" y="connsiteY3794"/>
                </a:cxn>
                <a:cxn ang="0">
                  <a:pos x="connsiteX3795" y="connsiteY3795"/>
                </a:cxn>
                <a:cxn ang="0">
                  <a:pos x="connsiteX3796" y="connsiteY3796"/>
                </a:cxn>
                <a:cxn ang="0">
                  <a:pos x="connsiteX3797" y="connsiteY3797"/>
                </a:cxn>
                <a:cxn ang="0">
                  <a:pos x="connsiteX3798" y="connsiteY3798"/>
                </a:cxn>
                <a:cxn ang="0">
                  <a:pos x="connsiteX3799" y="connsiteY3799"/>
                </a:cxn>
                <a:cxn ang="0">
                  <a:pos x="connsiteX3800" y="connsiteY3800"/>
                </a:cxn>
                <a:cxn ang="0">
                  <a:pos x="connsiteX3801" y="connsiteY3801"/>
                </a:cxn>
                <a:cxn ang="0">
                  <a:pos x="connsiteX3802" y="connsiteY3802"/>
                </a:cxn>
                <a:cxn ang="0">
                  <a:pos x="connsiteX3803" y="connsiteY3803"/>
                </a:cxn>
                <a:cxn ang="0">
                  <a:pos x="connsiteX3804" y="connsiteY3804"/>
                </a:cxn>
                <a:cxn ang="0">
                  <a:pos x="connsiteX3805" y="connsiteY3805"/>
                </a:cxn>
                <a:cxn ang="0">
                  <a:pos x="connsiteX3806" y="connsiteY3806"/>
                </a:cxn>
                <a:cxn ang="0">
                  <a:pos x="connsiteX3807" y="connsiteY3807"/>
                </a:cxn>
                <a:cxn ang="0">
                  <a:pos x="connsiteX3808" y="connsiteY3808"/>
                </a:cxn>
                <a:cxn ang="0">
                  <a:pos x="connsiteX3809" y="connsiteY3809"/>
                </a:cxn>
                <a:cxn ang="0">
                  <a:pos x="connsiteX3810" y="connsiteY3810"/>
                </a:cxn>
                <a:cxn ang="0">
                  <a:pos x="connsiteX3811" y="connsiteY3811"/>
                </a:cxn>
                <a:cxn ang="0">
                  <a:pos x="connsiteX3812" y="connsiteY3812"/>
                </a:cxn>
                <a:cxn ang="0">
                  <a:pos x="connsiteX3813" y="connsiteY3813"/>
                </a:cxn>
                <a:cxn ang="0">
                  <a:pos x="connsiteX3814" y="connsiteY3814"/>
                </a:cxn>
                <a:cxn ang="0">
                  <a:pos x="connsiteX3815" y="connsiteY3815"/>
                </a:cxn>
                <a:cxn ang="0">
                  <a:pos x="connsiteX3816" y="connsiteY3816"/>
                </a:cxn>
                <a:cxn ang="0">
                  <a:pos x="connsiteX3817" y="connsiteY3817"/>
                </a:cxn>
                <a:cxn ang="0">
                  <a:pos x="connsiteX3818" y="connsiteY3818"/>
                </a:cxn>
                <a:cxn ang="0">
                  <a:pos x="connsiteX3819" y="connsiteY3819"/>
                </a:cxn>
                <a:cxn ang="0">
                  <a:pos x="connsiteX3820" y="connsiteY3820"/>
                </a:cxn>
                <a:cxn ang="0">
                  <a:pos x="connsiteX3821" y="connsiteY3821"/>
                </a:cxn>
                <a:cxn ang="0">
                  <a:pos x="connsiteX3822" y="connsiteY3822"/>
                </a:cxn>
                <a:cxn ang="0">
                  <a:pos x="connsiteX3823" y="connsiteY3823"/>
                </a:cxn>
                <a:cxn ang="0">
                  <a:pos x="connsiteX3824" y="connsiteY3824"/>
                </a:cxn>
                <a:cxn ang="0">
                  <a:pos x="connsiteX3825" y="connsiteY3825"/>
                </a:cxn>
                <a:cxn ang="0">
                  <a:pos x="connsiteX3826" y="connsiteY3826"/>
                </a:cxn>
                <a:cxn ang="0">
                  <a:pos x="connsiteX3827" y="connsiteY3827"/>
                </a:cxn>
                <a:cxn ang="0">
                  <a:pos x="connsiteX3828" y="connsiteY3828"/>
                </a:cxn>
                <a:cxn ang="0">
                  <a:pos x="connsiteX3829" y="connsiteY3829"/>
                </a:cxn>
                <a:cxn ang="0">
                  <a:pos x="connsiteX3830" y="connsiteY3830"/>
                </a:cxn>
                <a:cxn ang="0">
                  <a:pos x="connsiteX3831" y="connsiteY3831"/>
                </a:cxn>
                <a:cxn ang="0">
                  <a:pos x="connsiteX3832" y="connsiteY3832"/>
                </a:cxn>
                <a:cxn ang="0">
                  <a:pos x="connsiteX3833" y="connsiteY3833"/>
                </a:cxn>
                <a:cxn ang="0">
                  <a:pos x="connsiteX3834" y="connsiteY3834"/>
                </a:cxn>
                <a:cxn ang="0">
                  <a:pos x="connsiteX3835" y="connsiteY3835"/>
                </a:cxn>
                <a:cxn ang="0">
                  <a:pos x="connsiteX3836" y="connsiteY3836"/>
                </a:cxn>
                <a:cxn ang="0">
                  <a:pos x="connsiteX3837" y="connsiteY3837"/>
                </a:cxn>
                <a:cxn ang="0">
                  <a:pos x="connsiteX3838" y="connsiteY3838"/>
                </a:cxn>
                <a:cxn ang="0">
                  <a:pos x="connsiteX3839" y="connsiteY3839"/>
                </a:cxn>
                <a:cxn ang="0">
                  <a:pos x="connsiteX3840" y="connsiteY3840"/>
                </a:cxn>
                <a:cxn ang="0">
                  <a:pos x="connsiteX3841" y="connsiteY3841"/>
                </a:cxn>
                <a:cxn ang="0">
                  <a:pos x="connsiteX3842" y="connsiteY3842"/>
                </a:cxn>
                <a:cxn ang="0">
                  <a:pos x="connsiteX3843" y="connsiteY3843"/>
                </a:cxn>
                <a:cxn ang="0">
                  <a:pos x="connsiteX3844" y="connsiteY3844"/>
                </a:cxn>
                <a:cxn ang="0">
                  <a:pos x="connsiteX3845" y="connsiteY3845"/>
                </a:cxn>
                <a:cxn ang="0">
                  <a:pos x="connsiteX3846" y="connsiteY3846"/>
                </a:cxn>
                <a:cxn ang="0">
                  <a:pos x="connsiteX3847" y="connsiteY3847"/>
                </a:cxn>
                <a:cxn ang="0">
                  <a:pos x="connsiteX3848" y="connsiteY3848"/>
                </a:cxn>
                <a:cxn ang="0">
                  <a:pos x="connsiteX3849" y="connsiteY3849"/>
                </a:cxn>
                <a:cxn ang="0">
                  <a:pos x="connsiteX3850" y="connsiteY3850"/>
                </a:cxn>
                <a:cxn ang="0">
                  <a:pos x="connsiteX3851" y="connsiteY3851"/>
                </a:cxn>
                <a:cxn ang="0">
                  <a:pos x="connsiteX3852" y="connsiteY3852"/>
                </a:cxn>
                <a:cxn ang="0">
                  <a:pos x="connsiteX3853" y="connsiteY3853"/>
                </a:cxn>
                <a:cxn ang="0">
                  <a:pos x="connsiteX3854" y="connsiteY3854"/>
                </a:cxn>
                <a:cxn ang="0">
                  <a:pos x="connsiteX3855" y="connsiteY3855"/>
                </a:cxn>
                <a:cxn ang="0">
                  <a:pos x="connsiteX3856" y="connsiteY3856"/>
                </a:cxn>
                <a:cxn ang="0">
                  <a:pos x="connsiteX3857" y="connsiteY3857"/>
                </a:cxn>
                <a:cxn ang="0">
                  <a:pos x="connsiteX3858" y="connsiteY3858"/>
                </a:cxn>
                <a:cxn ang="0">
                  <a:pos x="connsiteX3859" y="connsiteY3859"/>
                </a:cxn>
                <a:cxn ang="0">
                  <a:pos x="connsiteX3860" y="connsiteY3860"/>
                </a:cxn>
                <a:cxn ang="0">
                  <a:pos x="connsiteX3861" y="connsiteY3861"/>
                </a:cxn>
                <a:cxn ang="0">
                  <a:pos x="connsiteX3862" y="connsiteY3862"/>
                </a:cxn>
                <a:cxn ang="0">
                  <a:pos x="connsiteX3863" y="connsiteY3863"/>
                </a:cxn>
                <a:cxn ang="0">
                  <a:pos x="connsiteX3864" y="connsiteY3864"/>
                </a:cxn>
                <a:cxn ang="0">
                  <a:pos x="connsiteX3865" y="connsiteY3865"/>
                </a:cxn>
                <a:cxn ang="0">
                  <a:pos x="connsiteX3866" y="connsiteY3866"/>
                </a:cxn>
                <a:cxn ang="0">
                  <a:pos x="connsiteX3867" y="connsiteY3867"/>
                </a:cxn>
                <a:cxn ang="0">
                  <a:pos x="connsiteX3868" y="connsiteY3868"/>
                </a:cxn>
                <a:cxn ang="0">
                  <a:pos x="connsiteX3869" y="connsiteY3869"/>
                </a:cxn>
                <a:cxn ang="0">
                  <a:pos x="connsiteX3870" y="connsiteY3870"/>
                </a:cxn>
                <a:cxn ang="0">
                  <a:pos x="connsiteX3871" y="connsiteY3871"/>
                </a:cxn>
                <a:cxn ang="0">
                  <a:pos x="connsiteX3872" y="connsiteY3872"/>
                </a:cxn>
                <a:cxn ang="0">
                  <a:pos x="connsiteX3873" y="connsiteY3873"/>
                </a:cxn>
                <a:cxn ang="0">
                  <a:pos x="connsiteX3874" y="connsiteY3874"/>
                </a:cxn>
                <a:cxn ang="0">
                  <a:pos x="connsiteX3875" y="connsiteY3875"/>
                </a:cxn>
                <a:cxn ang="0">
                  <a:pos x="connsiteX3876" y="connsiteY3876"/>
                </a:cxn>
                <a:cxn ang="0">
                  <a:pos x="connsiteX3877" y="connsiteY3877"/>
                </a:cxn>
                <a:cxn ang="0">
                  <a:pos x="connsiteX3878" y="connsiteY3878"/>
                </a:cxn>
                <a:cxn ang="0">
                  <a:pos x="connsiteX3879" y="connsiteY3879"/>
                </a:cxn>
                <a:cxn ang="0">
                  <a:pos x="connsiteX3880" y="connsiteY3880"/>
                </a:cxn>
                <a:cxn ang="0">
                  <a:pos x="connsiteX3881" y="connsiteY3881"/>
                </a:cxn>
                <a:cxn ang="0">
                  <a:pos x="connsiteX3882" y="connsiteY3882"/>
                </a:cxn>
                <a:cxn ang="0">
                  <a:pos x="connsiteX3883" y="connsiteY3883"/>
                </a:cxn>
                <a:cxn ang="0">
                  <a:pos x="connsiteX3884" y="connsiteY3884"/>
                </a:cxn>
                <a:cxn ang="0">
                  <a:pos x="connsiteX3885" y="connsiteY3885"/>
                </a:cxn>
                <a:cxn ang="0">
                  <a:pos x="connsiteX3886" y="connsiteY3886"/>
                </a:cxn>
                <a:cxn ang="0">
                  <a:pos x="connsiteX3887" y="connsiteY3887"/>
                </a:cxn>
                <a:cxn ang="0">
                  <a:pos x="connsiteX3888" y="connsiteY3888"/>
                </a:cxn>
                <a:cxn ang="0">
                  <a:pos x="connsiteX3889" y="connsiteY3889"/>
                </a:cxn>
                <a:cxn ang="0">
                  <a:pos x="connsiteX3890" y="connsiteY3890"/>
                </a:cxn>
                <a:cxn ang="0">
                  <a:pos x="connsiteX3891" y="connsiteY3891"/>
                </a:cxn>
                <a:cxn ang="0">
                  <a:pos x="connsiteX3892" y="connsiteY3892"/>
                </a:cxn>
                <a:cxn ang="0">
                  <a:pos x="connsiteX3893" y="connsiteY3893"/>
                </a:cxn>
                <a:cxn ang="0">
                  <a:pos x="connsiteX3894" y="connsiteY3894"/>
                </a:cxn>
                <a:cxn ang="0">
                  <a:pos x="connsiteX3895" y="connsiteY3895"/>
                </a:cxn>
                <a:cxn ang="0">
                  <a:pos x="connsiteX3896" y="connsiteY3896"/>
                </a:cxn>
                <a:cxn ang="0">
                  <a:pos x="connsiteX3897" y="connsiteY3897"/>
                </a:cxn>
                <a:cxn ang="0">
                  <a:pos x="connsiteX3898" y="connsiteY3898"/>
                </a:cxn>
                <a:cxn ang="0">
                  <a:pos x="connsiteX3899" y="connsiteY3899"/>
                </a:cxn>
                <a:cxn ang="0">
                  <a:pos x="connsiteX3900" y="connsiteY3900"/>
                </a:cxn>
                <a:cxn ang="0">
                  <a:pos x="connsiteX3901" y="connsiteY3901"/>
                </a:cxn>
                <a:cxn ang="0">
                  <a:pos x="connsiteX3902" y="connsiteY3902"/>
                </a:cxn>
                <a:cxn ang="0">
                  <a:pos x="connsiteX3903" y="connsiteY3903"/>
                </a:cxn>
                <a:cxn ang="0">
                  <a:pos x="connsiteX3904" y="connsiteY3904"/>
                </a:cxn>
                <a:cxn ang="0">
                  <a:pos x="connsiteX3905" y="connsiteY3905"/>
                </a:cxn>
                <a:cxn ang="0">
                  <a:pos x="connsiteX3906" y="connsiteY3906"/>
                </a:cxn>
                <a:cxn ang="0">
                  <a:pos x="connsiteX3907" y="connsiteY3907"/>
                </a:cxn>
                <a:cxn ang="0">
                  <a:pos x="connsiteX3908" y="connsiteY3908"/>
                </a:cxn>
                <a:cxn ang="0">
                  <a:pos x="connsiteX3909" y="connsiteY3909"/>
                </a:cxn>
                <a:cxn ang="0">
                  <a:pos x="connsiteX3910" y="connsiteY3910"/>
                </a:cxn>
                <a:cxn ang="0">
                  <a:pos x="connsiteX3911" y="connsiteY3911"/>
                </a:cxn>
                <a:cxn ang="0">
                  <a:pos x="connsiteX3912" y="connsiteY3912"/>
                </a:cxn>
                <a:cxn ang="0">
                  <a:pos x="connsiteX3913" y="connsiteY3913"/>
                </a:cxn>
                <a:cxn ang="0">
                  <a:pos x="connsiteX3914" y="connsiteY3914"/>
                </a:cxn>
                <a:cxn ang="0">
                  <a:pos x="connsiteX3915" y="connsiteY3915"/>
                </a:cxn>
                <a:cxn ang="0">
                  <a:pos x="connsiteX3916" y="connsiteY3916"/>
                </a:cxn>
                <a:cxn ang="0">
                  <a:pos x="connsiteX3917" y="connsiteY3917"/>
                </a:cxn>
                <a:cxn ang="0">
                  <a:pos x="connsiteX3918" y="connsiteY3918"/>
                </a:cxn>
                <a:cxn ang="0">
                  <a:pos x="connsiteX3919" y="connsiteY3919"/>
                </a:cxn>
                <a:cxn ang="0">
                  <a:pos x="connsiteX3920" y="connsiteY3920"/>
                </a:cxn>
                <a:cxn ang="0">
                  <a:pos x="connsiteX3921" y="connsiteY3921"/>
                </a:cxn>
                <a:cxn ang="0">
                  <a:pos x="connsiteX3922" y="connsiteY3922"/>
                </a:cxn>
                <a:cxn ang="0">
                  <a:pos x="connsiteX3923" y="connsiteY3923"/>
                </a:cxn>
                <a:cxn ang="0">
                  <a:pos x="connsiteX3924" y="connsiteY3924"/>
                </a:cxn>
                <a:cxn ang="0">
                  <a:pos x="connsiteX3925" y="connsiteY3925"/>
                </a:cxn>
                <a:cxn ang="0">
                  <a:pos x="connsiteX3926" y="connsiteY3926"/>
                </a:cxn>
                <a:cxn ang="0">
                  <a:pos x="connsiteX3927" y="connsiteY3927"/>
                </a:cxn>
                <a:cxn ang="0">
                  <a:pos x="connsiteX3928" y="connsiteY3928"/>
                </a:cxn>
                <a:cxn ang="0">
                  <a:pos x="connsiteX3929" y="connsiteY3929"/>
                </a:cxn>
                <a:cxn ang="0">
                  <a:pos x="connsiteX3930" y="connsiteY3930"/>
                </a:cxn>
                <a:cxn ang="0">
                  <a:pos x="connsiteX3931" y="connsiteY3931"/>
                </a:cxn>
                <a:cxn ang="0">
                  <a:pos x="connsiteX3932" y="connsiteY3932"/>
                </a:cxn>
                <a:cxn ang="0">
                  <a:pos x="connsiteX3933" y="connsiteY3933"/>
                </a:cxn>
                <a:cxn ang="0">
                  <a:pos x="connsiteX3934" y="connsiteY3934"/>
                </a:cxn>
                <a:cxn ang="0">
                  <a:pos x="connsiteX3935" y="connsiteY3935"/>
                </a:cxn>
                <a:cxn ang="0">
                  <a:pos x="connsiteX3936" y="connsiteY3936"/>
                </a:cxn>
                <a:cxn ang="0">
                  <a:pos x="connsiteX3937" y="connsiteY3937"/>
                </a:cxn>
                <a:cxn ang="0">
                  <a:pos x="connsiteX3938" y="connsiteY3938"/>
                </a:cxn>
                <a:cxn ang="0">
                  <a:pos x="connsiteX3939" y="connsiteY3939"/>
                </a:cxn>
                <a:cxn ang="0">
                  <a:pos x="connsiteX3940" y="connsiteY3940"/>
                </a:cxn>
                <a:cxn ang="0">
                  <a:pos x="connsiteX3941" y="connsiteY3941"/>
                </a:cxn>
                <a:cxn ang="0">
                  <a:pos x="connsiteX3942" y="connsiteY3942"/>
                </a:cxn>
                <a:cxn ang="0">
                  <a:pos x="connsiteX3943" y="connsiteY3943"/>
                </a:cxn>
                <a:cxn ang="0">
                  <a:pos x="connsiteX3944" y="connsiteY3944"/>
                </a:cxn>
                <a:cxn ang="0">
                  <a:pos x="connsiteX3945" y="connsiteY3945"/>
                </a:cxn>
                <a:cxn ang="0">
                  <a:pos x="connsiteX3946" y="connsiteY3946"/>
                </a:cxn>
                <a:cxn ang="0">
                  <a:pos x="connsiteX3947" y="connsiteY3947"/>
                </a:cxn>
                <a:cxn ang="0">
                  <a:pos x="connsiteX3948" y="connsiteY3948"/>
                </a:cxn>
                <a:cxn ang="0">
                  <a:pos x="connsiteX3949" y="connsiteY3949"/>
                </a:cxn>
                <a:cxn ang="0">
                  <a:pos x="connsiteX3950" y="connsiteY3950"/>
                </a:cxn>
                <a:cxn ang="0">
                  <a:pos x="connsiteX3951" y="connsiteY3951"/>
                </a:cxn>
                <a:cxn ang="0">
                  <a:pos x="connsiteX3952" y="connsiteY3952"/>
                </a:cxn>
                <a:cxn ang="0">
                  <a:pos x="connsiteX3953" y="connsiteY3953"/>
                </a:cxn>
                <a:cxn ang="0">
                  <a:pos x="connsiteX3954" y="connsiteY3954"/>
                </a:cxn>
                <a:cxn ang="0">
                  <a:pos x="connsiteX3955" y="connsiteY3955"/>
                </a:cxn>
                <a:cxn ang="0">
                  <a:pos x="connsiteX3956" y="connsiteY3956"/>
                </a:cxn>
                <a:cxn ang="0">
                  <a:pos x="connsiteX3957" y="connsiteY3957"/>
                </a:cxn>
                <a:cxn ang="0">
                  <a:pos x="connsiteX3958" y="connsiteY3958"/>
                </a:cxn>
                <a:cxn ang="0">
                  <a:pos x="connsiteX3959" y="connsiteY3959"/>
                </a:cxn>
                <a:cxn ang="0">
                  <a:pos x="connsiteX3960" y="connsiteY3960"/>
                </a:cxn>
                <a:cxn ang="0">
                  <a:pos x="connsiteX3961" y="connsiteY3961"/>
                </a:cxn>
                <a:cxn ang="0">
                  <a:pos x="connsiteX3962" y="connsiteY3962"/>
                </a:cxn>
                <a:cxn ang="0">
                  <a:pos x="connsiteX3963" y="connsiteY3963"/>
                </a:cxn>
                <a:cxn ang="0">
                  <a:pos x="connsiteX3964" y="connsiteY3964"/>
                </a:cxn>
                <a:cxn ang="0">
                  <a:pos x="connsiteX3965" y="connsiteY3965"/>
                </a:cxn>
                <a:cxn ang="0">
                  <a:pos x="connsiteX3966" y="connsiteY3966"/>
                </a:cxn>
                <a:cxn ang="0">
                  <a:pos x="connsiteX3967" y="connsiteY3967"/>
                </a:cxn>
                <a:cxn ang="0">
                  <a:pos x="connsiteX3968" y="connsiteY3968"/>
                </a:cxn>
                <a:cxn ang="0">
                  <a:pos x="connsiteX3969" y="connsiteY3969"/>
                </a:cxn>
                <a:cxn ang="0">
                  <a:pos x="connsiteX3970" y="connsiteY3970"/>
                </a:cxn>
                <a:cxn ang="0">
                  <a:pos x="connsiteX3971" y="connsiteY3971"/>
                </a:cxn>
                <a:cxn ang="0">
                  <a:pos x="connsiteX3972" y="connsiteY3972"/>
                </a:cxn>
                <a:cxn ang="0">
                  <a:pos x="connsiteX3973" y="connsiteY3973"/>
                </a:cxn>
                <a:cxn ang="0">
                  <a:pos x="connsiteX3974" y="connsiteY3974"/>
                </a:cxn>
                <a:cxn ang="0">
                  <a:pos x="connsiteX3975" y="connsiteY3975"/>
                </a:cxn>
                <a:cxn ang="0">
                  <a:pos x="connsiteX3976" y="connsiteY3976"/>
                </a:cxn>
                <a:cxn ang="0">
                  <a:pos x="connsiteX3977" y="connsiteY3977"/>
                </a:cxn>
                <a:cxn ang="0">
                  <a:pos x="connsiteX3978" y="connsiteY3978"/>
                </a:cxn>
                <a:cxn ang="0">
                  <a:pos x="connsiteX3979" y="connsiteY3979"/>
                </a:cxn>
                <a:cxn ang="0">
                  <a:pos x="connsiteX3980" y="connsiteY3980"/>
                </a:cxn>
                <a:cxn ang="0">
                  <a:pos x="connsiteX3981" y="connsiteY3981"/>
                </a:cxn>
                <a:cxn ang="0">
                  <a:pos x="connsiteX3982" y="connsiteY3982"/>
                </a:cxn>
                <a:cxn ang="0">
                  <a:pos x="connsiteX3983" y="connsiteY3983"/>
                </a:cxn>
                <a:cxn ang="0">
                  <a:pos x="connsiteX3984" y="connsiteY3984"/>
                </a:cxn>
                <a:cxn ang="0">
                  <a:pos x="connsiteX3985" y="connsiteY3985"/>
                </a:cxn>
                <a:cxn ang="0">
                  <a:pos x="connsiteX3986" y="connsiteY3986"/>
                </a:cxn>
                <a:cxn ang="0">
                  <a:pos x="connsiteX3987" y="connsiteY3987"/>
                </a:cxn>
                <a:cxn ang="0">
                  <a:pos x="connsiteX3988" y="connsiteY3988"/>
                </a:cxn>
                <a:cxn ang="0">
                  <a:pos x="connsiteX3989" y="connsiteY3989"/>
                </a:cxn>
                <a:cxn ang="0">
                  <a:pos x="connsiteX3990" y="connsiteY3990"/>
                </a:cxn>
                <a:cxn ang="0">
                  <a:pos x="connsiteX3991" y="connsiteY3991"/>
                </a:cxn>
                <a:cxn ang="0">
                  <a:pos x="connsiteX3992" y="connsiteY3992"/>
                </a:cxn>
                <a:cxn ang="0">
                  <a:pos x="connsiteX3993" y="connsiteY3993"/>
                </a:cxn>
                <a:cxn ang="0">
                  <a:pos x="connsiteX3994" y="connsiteY3994"/>
                </a:cxn>
                <a:cxn ang="0">
                  <a:pos x="connsiteX3995" y="connsiteY3995"/>
                </a:cxn>
                <a:cxn ang="0">
                  <a:pos x="connsiteX3996" y="connsiteY3996"/>
                </a:cxn>
                <a:cxn ang="0">
                  <a:pos x="connsiteX3997" y="connsiteY3997"/>
                </a:cxn>
                <a:cxn ang="0">
                  <a:pos x="connsiteX3998" y="connsiteY3998"/>
                </a:cxn>
                <a:cxn ang="0">
                  <a:pos x="connsiteX3999" y="connsiteY3999"/>
                </a:cxn>
                <a:cxn ang="0">
                  <a:pos x="connsiteX4000" y="connsiteY4000"/>
                </a:cxn>
                <a:cxn ang="0">
                  <a:pos x="connsiteX4001" y="connsiteY4001"/>
                </a:cxn>
                <a:cxn ang="0">
                  <a:pos x="connsiteX4002" y="connsiteY4002"/>
                </a:cxn>
                <a:cxn ang="0">
                  <a:pos x="connsiteX4003" y="connsiteY4003"/>
                </a:cxn>
                <a:cxn ang="0">
                  <a:pos x="connsiteX4004" y="connsiteY4004"/>
                </a:cxn>
                <a:cxn ang="0">
                  <a:pos x="connsiteX4005" y="connsiteY4005"/>
                </a:cxn>
                <a:cxn ang="0">
                  <a:pos x="connsiteX4006" y="connsiteY4006"/>
                </a:cxn>
                <a:cxn ang="0">
                  <a:pos x="connsiteX4007" y="connsiteY4007"/>
                </a:cxn>
                <a:cxn ang="0">
                  <a:pos x="connsiteX4008" y="connsiteY4008"/>
                </a:cxn>
                <a:cxn ang="0">
                  <a:pos x="connsiteX4009" y="connsiteY4009"/>
                </a:cxn>
                <a:cxn ang="0">
                  <a:pos x="connsiteX4010" y="connsiteY4010"/>
                </a:cxn>
                <a:cxn ang="0">
                  <a:pos x="connsiteX4011" y="connsiteY4011"/>
                </a:cxn>
                <a:cxn ang="0">
                  <a:pos x="connsiteX4012" y="connsiteY4012"/>
                </a:cxn>
                <a:cxn ang="0">
                  <a:pos x="connsiteX4013" y="connsiteY4013"/>
                </a:cxn>
                <a:cxn ang="0">
                  <a:pos x="connsiteX4014" y="connsiteY4014"/>
                </a:cxn>
                <a:cxn ang="0">
                  <a:pos x="connsiteX4015" y="connsiteY4015"/>
                </a:cxn>
                <a:cxn ang="0">
                  <a:pos x="connsiteX4016" y="connsiteY4016"/>
                </a:cxn>
                <a:cxn ang="0">
                  <a:pos x="connsiteX4017" y="connsiteY4017"/>
                </a:cxn>
                <a:cxn ang="0">
                  <a:pos x="connsiteX4018" y="connsiteY4018"/>
                </a:cxn>
                <a:cxn ang="0">
                  <a:pos x="connsiteX4019" y="connsiteY4019"/>
                </a:cxn>
                <a:cxn ang="0">
                  <a:pos x="connsiteX4020" y="connsiteY4020"/>
                </a:cxn>
                <a:cxn ang="0">
                  <a:pos x="connsiteX4021" y="connsiteY4021"/>
                </a:cxn>
                <a:cxn ang="0">
                  <a:pos x="connsiteX4022" y="connsiteY4022"/>
                </a:cxn>
                <a:cxn ang="0">
                  <a:pos x="connsiteX4023" y="connsiteY4023"/>
                </a:cxn>
                <a:cxn ang="0">
                  <a:pos x="connsiteX4024" y="connsiteY4024"/>
                </a:cxn>
                <a:cxn ang="0">
                  <a:pos x="connsiteX4025" y="connsiteY4025"/>
                </a:cxn>
                <a:cxn ang="0">
                  <a:pos x="connsiteX4026" y="connsiteY4026"/>
                </a:cxn>
                <a:cxn ang="0">
                  <a:pos x="connsiteX4027" y="connsiteY4027"/>
                </a:cxn>
                <a:cxn ang="0">
                  <a:pos x="connsiteX4028" y="connsiteY4028"/>
                </a:cxn>
                <a:cxn ang="0">
                  <a:pos x="connsiteX4029" y="connsiteY4029"/>
                </a:cxn>
                <a:cxn ang="0">
                  <a:pos x="connsiteX4030" y="connsiteY4030"/>
                </a:cxn>
                <a:cxn ang="0">
                  <a:pos x="connsiteX4031" y="connsiteY4031"/>
                </a:cxn>
                <a:cxn ang="0">
                  <a:pos x="connsiteX4032" y="connsiteY4032"/>
                </a:cxn>
                <a:cxn ang="0">
                  <a:pos x="connsiteX4033" y="connsiteY4033"/>
                </a:cxn>
                <a:cxn ang="0">
                  <a:pos x="connsiteX4034" y="connsiteY4034"/>
                </a:cxn>
                <a:cxn ang="0">
                  <a:pos x="connsiteX4035" y="connsiteY4035"/>
                </a:cxn>
                <a:cxn ang="0">
                  <a:pos x="connsiteX4036" y="connsiteY4036"/>
                </a:cxn>
                <a:cxn ang="0">
                  <a:pos x="connsiteX4037" y="connsiteY4037"/>
                </a:cxn>
                <a:cxn ang="0">
                  <a:pos x="connsiteX4038" y="connsiteY4038"/>
                </a:cxn>
                <a:cxn ang="0">
                  <a:pos x="connsiteX4039" y="connsiteY4039"/>
                </a:cxn>
                <a:cxn ang="0">
                  <a:pos x="connsiteX4040" y="connsiteY4040"/>
                </a:cxn>
                <a:cxn ang="0">
                  <a:pos x="connsiteX4041" y="connsiteY4041"/>
                </a:cxn>
                <a:cxn ang="0">
                  <a:pos x="connsiteX4042" y="connsiteY4042"/>
                </a:cxn>
                <a:cxn ang="0">
                  <a:pos x="connsiteX4043" y="connsiteY4043"/>
                </a:cxn>
                <a:cxn ang="0">
                  <a:pos x="connsiteX4044" y="connsiteY4044"/>
                </a:cxn>
                <a:cxn ang="0">
                  <a:pos x="connsiteX4045" y="connsiteY4045"/>
                </a:cxn>
                <a:cxn ang="0">
                  <a:pos x="connsiteX4046" y="connsiteY4046"/>
                </a:cxn>
                <a:cxn ang="0">
                  <a:pos x="connsiteX4047" y="connsiteY4047"/>
                </a:cxn>
                <a:cxn ang="0">
                  <a:pos x="connsiteX4048" y="connsiteY4048"/>
                </a:cxn>
                <a:cxn ang="0">
                  <a:pos x="connsiteX4049" y="connsiteY4049"/>
                </a:cxn>
                <a:cxn ang="0">
                  <a:pos x="connsiteX4050" y="connsiteY4050"/>
                </a:cxn>
                <a:cxn ang="0">
                  <a:pos x="connsiteX4051" y="connsiteY4051"/>
                </a:cxn>
                <a:cxn ang="0">
                  <a:pos x="connsiteX4052" y="connsiteY4052"/>
                </a:cxn>
                <a:cxn ang="0">
                  <a:pos x="connsiteX4053" y="connsiteY4053"/>
                </a:cxn>
                <a:cxn ang="0">
                  <a:pos x="connsiteX4054" y="connsiteY4054"/>
                </a:cxn>
                <a:cxn ang="0">
                  <a:pos x="connsiteX4055" y="connsiteY4055"/>
                </a:cxn>
                <a:cxn ang="0">
                  <a:pos x="connsiteX4056" y="connsiteY4056"/>
                </a:cxn>
                <a:cxn ang="0">
                  <a:pos x="connsiteX4057" y="connsiteY4057"/>
                </a:cxn>
                <a:cxn ang="0">
                  <a:pos x="connsiteX4058" y="connsiteY4058"/>
                </a:cxn>
                <a:cxn ang="0">
                  <a:pos x="connsiteX4059" y="connsiteY4059"/>
                </a:cxn>
                <a:cxn ang="0">
                  <a:pos x="connsiteX4060" y="connsiteY4060"/>
                </a:cxn>
                <a:cxn ang="0">
                  <a:pos x="connsiteX4061" y="connsiteY4061"/>
                </a:cxn>
                <a:cxn ang="0">
                  <a:pos x="connsiteX4062" y="connsiteY4062"/>
                </a:cxn>
                <a:cxn ang="0">
                  <a:pos x="connsiteX4063" y="connsiteY4063"/>
                </a:cxn>
                <a:cxn ang="0">
                  <a:pos x="connsiteX4064" y="connsiteY4064"/>
                </a:cxn>
                <a:cxn ang="0">
                  <a:pos x="connsiteX4065" y="connsiteY4065"/>
                </a:cxn>
                <a:cxn ang="0">
                  <a:pos x="connsiteX4066" y="connsiteY4066"/>
                </a:cxn>
                <a:cxn ang="0">
                  <a:pos x="connsiteX4067" y="connsiteY4067"/>
                </a:cxn>
                <a:cxn ang="0">
                  <a:pos x="connsiteX4068" y="connsiteY4068"/>
                </a:cxn>
                <a:cxn ang="0">
                  <a:pos x="connsiteX4069" y="connsiteY4069"/>
                </a:cxn>
                <a:cxn ang="0">
                  <a:pos x="connsiteX4070" y="connsiteY4070"/>
                </a:cxn>
                <a:cxn ang="0">
                  <a:pos x="connsiteX4071" y="connsiteY4071"/>
                </a:cxn>
                <a:cxn ang="0">
                  <a:pos x="connsiteX4072" y="connsiteY4072"/>
                </a:cxn>
                <a:cxn ang="0">
                  <a:pos x="connsiteX4073" y="connsiteY4073"/>
                </a:cxn>
                <a:cxn ang="0">
                  <a:pos x="connsiteX4074" y="connsiteY4074"/>
                </a:cxn>
                <a:cxn ang="0">
                  <a:pos x="connsiteX4075" y="connsiteY4075"/>
                </a:cxn>
                <a:cxn ang="0">
                  <a:pos x="connsiteX4076" y="connsiteY4076"/>
                </a:cxn>
                <a:cxn ang="0">
                  <a:pos x="connsiteX4077" y="connsiteY4077"/>
                </a:cxn>
                <a:cxn ang="0">
                  <a:pos x="connsiteX4078" y="connsiteY4078"/>
                </a:cxn>
                <a:cxn ang="0">
                  <a:pos x="connsiteX4079" y="connsiteY4079"/>
                </a:cxn>
                <a:cxn ang="0">
                  <a:pos x="connsiteX4080" y="connsiteY4080"/>
                </a:cxn>
                <a:cxn ang="0">
                  <a:pos x="connsiteX4081" y="connsiteY4081"/>
                </a:cxn>
                <a:cxn ang="0">
                  <a:pos x="connsiteX4082" y="connsiteY4082"/>
                </a:cxn>
                <a:cxn ang="0">
                  <a:pos x="connsiteX4083" y="connsiteY4083"/>
                </a:cxn>
                <a:cxn ang="0">
                  <a:pos x="connsiteX4084" y="connsiteY4084"/>
                </a:cxn>
                <a:cxn ang="0">
                  <a:pos x="connsiteX4085" y="connsiteY4085"/>
                </a:cxn>
                <a:cxn ang="0">
                  <a:pos x="connsiteX4086" y="connsiteY4086"/>
                </a:cxn>
                <a:cxn ang="0">
                  <a:pos x="connsiteX4087" y="connsiteY4087"/>
                </a:cxn>
                <a:cxn ang="0">
                  <a:pos x="connsiteX4088" y="connsiteY4088"/>
                </a:cxn>
                <a:cxn ang="0">
                  <a:pos x="connsiteX4089" y="connsiteY4089"/>
                </a:cxn>
                <a:cxn ang="0">
                  <a:pos x="connsiteX4090" y="connsiteY4090"/>
                </a:cxn>
                <a:cxn ang="0">
                  <a:pos x="connsiteX4091" y="connsiteY4091"/>
                </a:cxn>
                <a:cxn ang="0">
                  <a:pos x="connsiteX4092" y="connsiteY4092"/>
                </a:cxn>
                <a:cxn ang="0">
                  <a:pos x="connsiteX4093" y="connsiteY4093"/>
                </a:cxn>
                <a:cxn ang="0">
                  <a:pos x="connsiteX4094" y="connsiteY4094"/>
                </a:cxn>
                <a:cxn ang="0">
                  <a:pos x="connsiteX4095" y="connsiteY4095"/>
                </a:cxn>
                <a:cxn ang="0">
                  <a:pos x="connsiteX4096" y="connsiteY4096"/>
                </a:cxn>
                <a:cxn ang="0">
                  <a:pos x="connsiteX4097" y="connsiteY4097"/>
                </a:cxn>
                <a:cxn ang="0">
                  <a:pos x="connsiteX4098" y="connsiteY4098"/>
                </a:cxn>
                <a:cxn ang="0">
                  <a:pos x="connsiteX4099" y="connsiteY4099"/>
                </a:cxn>
                <a:cxn ang="0">
                  <a:pos x="connsiteX4100" y="connsiteY4100"/>
                </a:cxn>
                <a:cxn ang="0">
                  <a:pos x="connsiteX4101" y="connsiteY4101"/>
                </a:cxn>
                <a:cxn ang="0">
                  <a:pos x="connsiteX4102" y="connsiteY4102"/>
                </a:cxn>
                <a:cxn ang="0">
                  <a:pos x="connsiteX4103" y="connsiteY4103"/>
                </a:cxn>
                <a:cxn ang="0">
                  <a:pos x="connsiteX4104" y="connsiteY4104"/>
                </a:cxn>
                <a:cxn ang="0">
                  <a:pos x="connsiteX4105" y="connsiteY4105"/>
                </a:cxn>
                <a:cxn ang="0">
                  <a:pos x="connsiteX4106" y="connsiteY4106"/>
                </a:cxn>
                <a:cxn ang="0">
                  <a:pos x="connsiteX4107" y="connsiteY4107"/>
                </a:cxn>
                <a:cxn ang="0">
                  <a:pos x="connsiteX4108" y="connsiteY4108"/>
                </a:cxn>
                <a:cxn ang="0">
                  <a:pos x="connsiteX4109" y="connsiteY4109"/>
                </a:cxn>
                <a:cxn ang="0">
                  <a:pos x="connsiteX4110" y="connsiteY4110"/>
                </a:cxn>
                <a:cxn ang="0">
                  <a:pos x="connsiteX4111" y="connsiteY4111"/>
                </a:cxn>
                <a:cxn ang="0">
                  <a:pos x="connsiteX4112" y="connsiteY4112"/>
                </a:cxn>
                <a:cxn ang="0">
                  <a:pos x="connsiteX4113" y="connsiteY4113"/>
                </a:cxn>
                <a:cxn ang="0">
                  <a:pos x="connsiteX4114" y="connsiteY4114"/>
                </a:cxn>
                <a:cxn ang="0">
                  <a:pos x="connsiteX4115" y="connsiteY4115"/>
                </a:cxn>
                <a:cxn ang="0">
                  <a:pos x="connsiteX4116" y="connsiteY4116"/>
                </a:cxn>
                <a:cxn ang="0">
                  <a:pos x="connsiteX4117" y="connsiteY4117"/>
                </a:cxn>
                <a:cxn ang="0">
                  <a:pos x="connsiteX4118" y="connsiteY4118"/>
                </a:cxn>
                <a:cxn ang="0">
                  <a:pos x="connsiteX4119" y="connsiteY4119"/>
                </a:cxn>
                <a:cxn ang="0">
                  <a:pos x="connsiteX4120" y="connsiteY4120"/>
                </a:cxn>
                <a:cxn ang="0">
                  <a:pos x="connsiteX4121" y="connsiteY4121"/>
                </a:cxn>
                <a:cxn ang="0">
                  <a:pos x="connsiteX4122" y="connsiteY4122"/>
                </a:cxn>
                <a:cxn ang="0">
                  <a:pos x="connsiteX4123" y="connsiteY4123"/>
                </a:cxn>
                <a:cxn ang="0">
                  <a:pos x="connsiteX4124" y="connsiteY4124"/>
                </a:cxn>
                <a:cxn ang="0">
                  <a:pos x="connsiteX4125" y="connsiteY4125"/>
                </a:cxn>
                <a:cxn ang="0">
                  <a:pos x="connsiteX4126" y="connsiteY4126"/>
                </a:cxn>
                <a:cxn ang="0">
                  <a:pos x="connsiteX4127" y="connsiteY4127"/>
                </a:cxn>
                <a:cxn ang="0">
                  <a:pos x="connsiteX4128" y="connsiteY4128"/>
                </a:cxn>
                <a:cxn ang="0">
                  <a:pos x="connsiteX4129" y="connsiteY4129"/>
                </a:cxn>
                <a:cxn ang="0">
                  <a:pos x="connsiteX4130" y="connsiteY4130"/>
                </a:cxn>
                <a:cxn ang="0">
                  <a:pos x="connsiteX4131" y="connsiteY4131"/>
                </a:cxn>
                <a:cxn ang="0">
                  <a:pos x="connsiteX4132" y="connsiteY4132"/>
                </a:cxn>
                <a:cxn ang="0">
                  <a:pos x="connsiteX4133" y="connsiteY4133"/>
                </a:cxn>
                <a:cxn ang="0">
                  <a:pos x="connsiteX4134" y="connsiteY4134"/>
                </a:cxn>
                <a:cxn ang="0">
                  <a:pos x="connsiteX4135" y="connsiteY4135"/>
                </a:cxn>
                <a:cxn ang="0">
                  <a:pos x="connsiteX4136" y="connsiteY4136"/>
                </a:cxn>
                <a:cxn ang="0">
                  <a:pos x="connsiteX4137" y="connsiteY4137"/>
                </a:cxn>
                <a:cxn ang="0">
                  <a:pos x="connsiteX4138" y="connsiteY4138"/>
                </a:cxn>
                <a:cxn ang="0">
                  <a:pos x="connsiteX4139" y="connsiteY4139"/>
                </a:cxn>
                <a:cxn ang="0">
                  <a:pos x="connsiteX4140" y="connsiteY4140"/>
                </a:cxn>
                <a:cxn ang="0">
                  <a:pos x="connsiteX4141" y="connsiteY4141"/>
                </a:cxn>
                <a:cxn ang="0">
                  <a:pos x="connsiteX4142" y="connsiteY4142"/>
                </a:cxn>
                <a:cxn ang="0">
                  <a:pos x="connsiteX4143" y="connsiteY4143"/>
                </a:cxn>
                <a:cxn ang="0">
                  <a:pos x="connsiteX4144" y="connsiteY4144"/>
                </a:cxn>
                <a:cxn ang="0">
                  <a:pos x="connsiteX4145" y="connsiteY4145"/>
                </a:cxn>
                <a:cxn ang="0">
                  <a:pos x="connsiteX4146" y="connsiteY4146"/>
                </a:cxn>
                <a:cxn ang="0">
                  <a:pos x="connsiteX4147" y="connsiteY4147"/>
                </a:cxn>
                <a:cxn ang="0">
                  <a:pos x="connsiteX4148" y="connsiteY4148"/>
                </a:cxn>
                <a:cxn ang="0">
                  <a:pos x="connsiteX4149" y="connsiteY4149"/>
                </a:cxn>
                <a:cxn ang="0">
                  <a:pos x="connsiteX4150" y="connsiteY4150"/>
                </a:cxn>
                <a:cxn ang="0">
                  <a:pos x="connsiteX4151" y="connsiteY4151"/>
                </a:cxn>
                <a:cxn ang="0">
                  <a:pos x="connsiteX4152" y="connsiteY4152"/>
                </a:cxn>
                <a:cxn ang="0">
                  <a:pos x="connsiteX4153" y="connsiteY4153"/>
                </a:cxn>
                <a:cxn ang="0">
                  <a:pos x="connsiteX4154" y="connsiteY4154"/>
                </a:cxn>
                <a:cxn ang="0">
                  <a:pos x="connsiteX4155" y="connsiteY4155"/>
                </a:cxn>
                <a:cxn ang="0">
                  <a:pos x="connsiteX4156" y="connsiteY4156"/>
                </a:cxn>
                <a:cxn ang="0">
                  <a:pos x="connsiteX4157" y="connsiteY4157"/>
                </a:cxn>
                <a:cxn ang="0">
                  <a:pos x="connsiteX4158" y="connsiteY4158"/>
                </a:cxn>
                <a:cxn ang="0">
                  <a:pos x="connsiteX4159" y="connsiteY4159"/>
                </a:cxn>
                <a:cxn ang="0">
                  <a:pos x="connsiteX4160" y="connsiteY4160"/>
                </a:cxn>
                <a:cxn ang="0">
                  <a:pos x="connsiteX4161" y="connsiteY4161"/>
                </a:cxn>
                <a:cxn ang="0">
                  <a:pos x="connsiteX4162" y="connsiteY4162"/>
                </a:cxn>
                <a:cxn ang="0">
                  <a:pos x="connsiteX4163" y="connsiteY4163"/>
                </a:cxn>
                <a:cxn ang="0">
                  <a:pos x="connsiteX4164" y="connsiteY4164"/>
                </a:cxn>
                <a:cxn ang="0">
                  <a:pos x="connsiteX4165" y="connsiteY4165"/>
                </a:cxn>
                <a:cxn ang="0">
                  <a:pos x="connsiteX4166" y="connsiteY4166"/>
                </a:cxn>
                <a:cxn ang="0">
                  <a:pos x="connsiteX4167" y="connsiteY4167"/>
                </a:cxn>
                <a:cxn ang="0">
                  <a:pos x="connsiteX4168" y="connsiteY4168"/>
                </a:cxn>
                <a:cxn ang="0">
                  <a:pos x="connsiteX4169" y="connsiteY4169"/>
                </a:cxn>
                <a:cxn ang="0">
                  <a:pos x="connsiteX4170" y="connsiteY4170"/>
                </a:cxn>
                <a:cxn ang="0">
                  <a:pos x="connsiteX4171" y="connsiteY4171"/>
                </a:cxn>
                <a:cxn ang="0">
                  <a:pos x="connsiteX4172" y="connsiteY4172"/>
                </a:cxn>
                <a:cxn ang="0">
                  <a:pos x="connsiteX4173" y="connsiteY4173"/>
                </a:cxn>
                <a:cxn ang="0">
                  <a:pos x="connsiteX4174" y="connsiteY4174"/>
                </a:cxn>
                <a:cxn ang="0">
                  <a:pos x="connsiteX4175" y="connsiteY4175"/>
                </a:cxn>
                <a:cxn ang="0">
                  <a:pos x="connsiteX4176" y="connsiteY4176"/>
                </a:cxn>
                <a:cxn ang="0">
                  <a:pos x="connsiteX4177" y="connsiteY4177"/>
                </a:cxn>
                <a:cxn ang="0">
                  <a:pos x="connsiteX4178" y="connsiteY4178"/>
                </a:cxn>
                <a:cxn ang="0">
                  <a:pos x="connsiteX4179" y="connsiteY4179"/>
                </a:cxn>
                <a:cxn ang="0">
                  <a:pos x="connsiteX4180" y="connsiteY4180"/>
                </a:cxn>
                <a:cxn ang="0">
                  <a:pos x="connsiteX4181" y="connsiteY4181"/>
                </a:cxn>
                <a:cxn ang="0">
                  <a:pos x="connsiteX4182" y="connsiteY4182"/>
                </a:cxn>
                <a:cxn ang="0">
                  <a:pos x="connsiteX4183" y="connsiteY4183"/>
                </a:cxn>
                <a:cxn ang="0">
                  <a:pos x="connsiteX4184" y="connsiteY4184"/>
                </a:cxn>
                <a:cxn ang="0">
                  <a:pos x="connsiteX4185" y="connsiteY4185"/>
                </a:cxn>
                <a:cxn ang="0">
                  <a:pos x="connsiteX4186" y="connsiteY4186"/>
                </a:cxn>
                <a:cxn ang="0">
                  <a:pos x="connsiteX4187" y="connsiteY4187"/>
                </a:cxn>
                <a:cxn ang="0">
                  <a:pos x="connsiteX4188" y="connsiteY4188"/>
                </a:cxn>
                <a:cxn ang="0">
                  <a:pos x="connsiteX4189" y="connsiteY4189"/>
                </a:cxn>
                <a:cxn ang="0">
                  <a:pos x="connsiteX4190" y="connsiteY4190"/>
                </a:cxn>
                <a:cxn ang="0">
                  <a:pos x="connsiteX4191" y="connsiteY4191"/>
                </a:cxn>
                <a:cxn ang="0">
                  <a:pos x="connsiteX4192" y="connsiteY4192"/>
                </a:cxn>
                <a:cxn ang="0">
                  <a:pos x="connsiteX4193" y="connsiteY4193"/>
                </a:cxn>
                <a:cxn ang="0">
                  <a:pos x="connsiteX4194" y="connsiteY4194"/>
                </a:cxn>
                <a:cxn ang="0">
                  <a:pos x="connsiteX4195" y="connsiteY4195"/>
                </a:cxn>
                <a:cxn ang="0">
                  <a:pos x="connsiteX4196" y="connsiteY4196"/>
                </a:cxn>
                <a:cxn ang="0">
                  <a:pos x="connsiteX4197" y="connsiteY4197"/>
                </a:cxn>
                <a:cxn ang="0">
                  <a:pos x="connsiteX4198" y="connsiteY4198"/>
                </a:cxn>
                <a:cxn ang="0">
                  <a:pos x="connsiteX4199" y="connsiteY4199"/>
                </a:cxn>
                <a:cxn ang="0">
                  <a:pos x="connsiteX4200" y="connsiteY4200"/>
                </a:cxn>
                <a:cxn ang="0">
                  <a:pos x="connsiteX4201" y="connsiteY4201"/>
                </a:cxn>
                <a:cxn ang="0">
                  <a:pos x="connsiteX4202" y="connsiteY4202"/>
                </a:cxn>
                <a:cxn ang="0">
                  <a:pos x="connsiteX4203" y="connsiteY4203"/>
                </a:cxn>
                <a:cxn ang="0">
                  <a:pos x="connsiteX4204" y="connsiteY4204"/>
                </a:cxn>
                <a:cxn ang="0">
                  <a:pos x="connsiteX4205" y="connsiteY4205"/>
                </a:cxn>
                <a:cxn ang="0">
                  <a:pos x="connsiteX4206" y="connsiteY4206"/>
                </a:cxn>
                <a:cxn ang="0">
                  <a:pos x="connsiteX4207" y="connsiteY4207"/>
                </a:cxn>
                <a:cxn ang="0">
                  <a:pos x="connsiteX4208" y="connsiteY4208"/>
                </a:cxn>
                <a:cxn ang="0">
                  <a:pos x="connsiteX4209" y="connsiteY4209"/>
                </a:cxn>
                <a:cxn ang="0">
                  <a:pos x="connsiteX4210" y="connsiteY4210"/>
                </a:cxn>
                <a:cxn ang="0">
                  <a:pos x="connsiteX4211" y="connsiteY4211"/>
                </a:cxn>
                <a:cxn ang="0">
                  <a:pos x="connsiteX4212" y="connsiteY4212"/>
                </a:cxn>
                <a:cxn ang="0">
                  <a:pos x="connsiteX4213" y="connsiteY4213"/>
                </a:cxn>
                <a:cxn ang="0">
                  <a:pos x="connsiteX4214" y="connsiteY4214"/>
                </a:cxn>
                <a:cxn ang="0">
                  <a:pos x="connsiteX4215" y="connsiteY4215"/>
                </a:cxn>
                <a:cxn ang="0">
                  <a:pos x="connsiteX4216" y="connsiteY4216"/>
                </a:cxn>
                <a:cxn ang="0">
                  <a:pos x="connsiteX4217" y="connsiteY4217"/>
                </a:cxn>
                <a:cxn ang="0">
                  <a:pos x="connsiteX4218" y="connsiteY4218"/>
                </a:cxn>
                <a:cxn ang="0">
                  <a:pos x="connsiteX4219" y="connsiteY4219"/>
                </a:cxn>
                <a:cxn ang="0">
                  <a:pos x="connsiteX4220" y="connsiteY4220"/>
                </a:cxn>
                <a:cxn ang="0">
                  <a:pos x="connsiteX4221" y="connsiteY4221"/>
                </a:cxn>
                <a:cxn ang="0">
                  <a:pos x="connsiteX4222" y="connsiteY4222"/>
                </a:cxn>
                <a:cxn ang="0">
                  <a:pos x="connsiteX4223" y="connsiteY4223"/>
                </a:cxn>
                <a:cxn ang="0">
                  <a:pos x="connsiteX4224" y="connsiteY4224"/>
                </a:cxn>
                <a:cxn ang="0">
                  <a:pos x="connsiteX4225" y="connsiteY4225"/>
                </a:cxn>
                <a:cxn ang="0">
                  <a:pos x="connsiteX4226" y="connsiteY4226"/>
                </a:cxn>
                <a:cxn ang="0">
                  <a:pos x="connsiteX4227" y="connsiteY4227"/>
                </a:cxn>
                <a:cxn ang="0">
                  <a:pos x="connsiteX4228" y="connsiteY4228"/>
                </a:cxn>
                <a:cxn ang="0">
                  <a:pos x="connsiteX4229" y="connsiteY4229"/>
                </a:cxn>
                <a:cxn ang="0">
                  <a:pos x="connsiteX4230" y="connsiteY4230"/>
                </a:cxn>
                <a:cxn ang="0">
                  <a:pos x="connsiteX4231" y="connsiteY4231"/>
                </a:cxn>
                <a:cxn ang="0">
                  <a:pos x="connsiteX4232" y="connsiteY4232"/>
                </a:cxn>
                <a:cxn ang="0">
                  <a:pos x="connsiteX4233" y="connsiteY4233"/>
                </a:cxn>
                <a:cxn ang="0">
                  <a:pos x="connsiteX4234" y="connsiteY4234"/>
                </a:cxn>
                <a:cxn ang="0">
                  <a:pos x="connsiteX4235" y="connsiteY4235"/>
                </a:cxn>
                <a:cxn ang="0">
                  <a:pos x="connsiteX4236" y="connsiteY4236"/>
                </a:cxn>
                <a:cxn ang="0">
                  <a:pos x="connsiteX4237" y="connsiteY4237"/>
                </a:cxn>
                <a:cxn ang="0">
                  <a:pos x="connsiteX4238" y="connsiteY4238"/>
                </a:cxn>
                <a:cxn ang="0">
                  <a:pos x="connsiteX4239" y="connsiteY4239"/>
                </a:cxn>
                <a:cxn ang="0">
                  <a:pos x="connsiteX4240" y="connsiteY4240"/>
                </a:cxn>
                <a:cxn ang="0">
                  <a:pos x="connsiteX4241" y="connsiteY4241"/>
                </a:cxn>
                <a:cxn ang="0">
                  <a:pos x="connsiteX4242" y="connsiteY4242"/>
                </a:cxn>
                <a:cxn ang="0">
                  <a:pos x="connsiteX4243" y="connsiteY4243"/>
                </a:cxn>
                <a:cxn ang="0">
                  <a:pos x="connsiteX4244" y="connsiteY4244"/>
                </a:cxn>
                <a:cxn ang="0">
                  <a:pos x="connsiteX4245" y="connsiteY4245"/>
                </a:cxn>
                <a:cxn ang="0">
                  <a:pos x="connsiteX4246" y="connsiteY4246"/>
                </a:cxn>
                <a:cxn ang="0">
                  <a:pos x="connsiteX4247" y="connsiteY4247"/>
                </a:cxn>
                <a:cxn ang="0">
                  <a:pos x="connsiteX4248" y="connsiteY4248"/>
                </a:cxn>
                <a:cxn ang="0">
                  <a:pos x="connsiteX4249" y="connsiteY4249"/>
                </a:cxn>
                <a:cxn ang="0">
                  <a:pos x="connsiteX4250" y="connsiteY4250"/>
                </a:cxn>
                <a:cxn ang="0">
                  <a:pos x="connsiteX4251" y="connsiteY4251"/>
                </a:cxn>
                <a:cxn ang="0">
                  <a:pos x="connsiteX4252" y="connsiteY4252"/>
                </a:cxn>
                <a:cxn ang="0">
                  <a:pos x="connsiteX4253" y="connsiteY4253"/>
                </a:cxn>
                <a:cxn ang="0">
                  <a:pos x="connsiteX4254" y="connsiteY4254"/>
                </a:cxn>
                <a:cxn ang="0">
                  <a:pos x="connsiteX4255" y="connsiteY4255"/>
                </a:cxn>
                <a:cxn ang="0">
                  <a:pos x="connsiteX4256" y="connsiteY4256"/>
                </a:cxn>
                <a:cxn ang="0">
                  <a:pos x="connsiteX4257" y="connsiteY4257"/>
                </a:cxn>
                <a:cxn ang="0">
                  <a:pos x="connsiteX4258" y="connsiteY4258"/>
                </a:cxn>
                <a:cxn ang="0">
                  <a:pos x="connsiteX4259" y="connsiteY4259"/>
                </a:cxn>
                <a:cxn ang="0">
                  <a:pos x="connsiteX4260" y="connsiteY4260"/>
                </a:cxn>
                <a:cxn ang="0">
                  <a:pos x="connsiteX4261" y="connsiteY4261"/>
                </a:cxn>
                <a:cxn ang="0">
                  <a:pos x="connsiteX4262" y="connsiteY4262"/>
                </a:cxn>
                <a:cxn ang="0">
                  <a:pos x="connsiteX4263" y="connsiteY4263"/>
                </a:cxn>
                <a:cxn ang="0">
                  <a:pos x="connsiteX4264" y="connsiteY4264"/>
                </a:cxn>
                <a:cxn ang="0">
                  <a:pos x="connsiteX4265" y="connsiteY4265"/>
                </a:cxn>
                <a:cxn ang="0">
                  <a:pos x="connsiteX4266" y="connsiteY4266"/>
                </a:cxn>
                <a:cxn ang="0">
                  <a:pos x="connsiteX4267" y="connsiteY4267"/>
                </a:cxn>
                <a:cxn ang="0">
                  <a:pos x="connsiteX4268" y="connsiteY4268"/>
                </a:cxn>
                <a:cxn ang="0">
                  <a:pos x="connsiteX4269" y="connsiteY4269"/>
                </a:cxn>
                <a:cxn ang="0">
                  <a:pos x="connsiteX4270" y="connsiteY4270"/>
                </a:cxn>
                <a:cxn ang="0">
                  <a:pos x="connsiteX4271" y="connsiteY4271"/>
                </a:cxn>
                <a:cxn ang="0">
                  <a:pos x="connsiteX4272" y="connsiteY4272"/>
                </a:cxn>
                <a:cxn ang="0">
                  <a:pos x="connsiteX4273" y="connsiteY4273"/>
                </a:cxn>
                <a:cxn ang="0">
                  <a:pos x="connsiteX4274" y="connsiteY4274"/>
                </a:cxn>
                <a:cxn ang="0">
                  <a:pos x="connsiteX4275" y="connsiteY4275"/>
                </a:cxn>
                <a:cxn ang="0">
                  <a:pos x="connsiteX4276" y="connsiteY4276"/>
                </a:cxn>
                <a:cxn ang="0">
                  <a:pos x="connsiteX4277" y="connsiteY4277"/>
                </a:cxn>
                <a:cxn ang="0">
                  <a:pos x="connsiteX4278" y="connsiteY4278"/>
                </a:cxn>
                <a:cxn ang="0">
                  <a:pos x="connsiteX4279" y="connsiteY4279"/>
                </a:cxn>
                <a:cxn ang="0">
                  <a:pos x="connsiteX4280" y="connsiteY4280"/>
                </a:cxn>
                <a:cxn ang="0">
                  <a:pos x="connsiteX4281" y="connsiteY4281"/>
                </a:cxn>
                <a:cxn ang="0">
                  <a:pos x="connsiteX4282" y="connsiteY4282"/>
                </a:cxn>
                <a:cxn ang="0">
                  <a:pos x="connsiteX4283" y="connsiteY4283"/>
                </a:cxn>
                <a:cxn ang="0">
                  <a:pos x="connsiteX4284" y="connsiteY4284"/>
                </a:cxn>
                <a:cxn ang="0">
                  <a:pos x="connsiteX4285" y="connsiteY4285"/>
                </a:cxn>
                <a:cxn ang="0">
                  <a:pos x="connsiteX4286" y="connsiteY4286"/>
                </a:cxn>
                <a:cxn ang="0">
                  <a:pos x="connsiteX4287" y="connsiteY4287"/>
                </a:cxn>
                <a:cxn ang="0">
                  <a:pos x="connsiteX4288" y="connsiteY4288"/>
                </a:cxn>
                <a:cxn ang="0">
                  <a:pos x="connsiteX4289" y="connsiteY4289"/>
                </a:cxn>
                <a:cxn ang="0">
                  <a:pos x="connsiteX4290" y="connsiteY4290"/>
                </a:cxn>
                <a:cxn ang="0">
                  <a:pos x="connsiteX4291" y="connsiteY4291"/>
                </a:cxn>
                <a:cxn ang="0">
                  <a:pos x="connsiteX4292" y="connsiteY4292"/>
                </a:cxn>
                <a:cxn ang="0">
                  <a:pos x="connsiteX4293" y="connsiteY4293"/>
                </a:cxn>
                <a:cxn ang="0">
                  <a:pos x="connsiteX4294" y="connsiteY4294"/>
                </a:cxn>
                <a:cxn ang="0">
                  <a:pos x="connsiteX4295" y="connsiteY4295"/>
                </a:cxn>
                <a:cxn ang="0">
                  <a:pos x="connsiteX4296" y="connsiteY4296"/>
                </a:cxn>
                <a:cxn ang="0">
                  <a:pos x="connsiteX4297" y="connsiteY4297"/>
                </a:cxn>
                <a:cxn ang="0">
                  <a:pos x="connsiteX4298" y="connsiteY4298"/>
                </a:cxn>
                <a:cxn ang="0">
                  <a:pos x="connsiteX4299" y="connsiteY4299"/>
                </a:cxn>
                <a:cxn ang="0">
                  <a:pos x="connsiteX4300" y="connsiteY4300"/>
                </a:cxn>
                <a:cxn ang="0">
                  <a:pos x="connsiteX4301" y="connsiteY4301"/>
                </a:cxn>
                <a:cxn ang="0">
                  <a:pos x="connsiteX4302" y="connsiteY4302"/>
                </a:cxn>
                <a:cxn ang="0">
                  <a:pos x="connsiteX4303" y="connsiteY4303"/>
                </a:cxn>
                <a:cxn ang="0">
                  <a:pos x="connsiteX4304" y="connsiteY4304"/>
                </a:cxn>
                <a:cxn ang="0">
                  <a:pos x="connsiteX4305" y="connsiteY4305"/>
                </a:cxn>
                <a:cxn ang="0">
                  <a:pos x="connsiteX4306" y="connsiteY4306"/>
                </a:cxn>
                <a:cxn ang="0">
                  <a:pos x="connsiteX4307" y="connsiteY4307"/>
                </a:cxn>
                <a:cxn ang="0">
                  <a:pos x="connsiteX4308" y="connsiteY4308"/>
                </a:cxn>
                <a:cxn ang="0">
                  <a:pos x="connsiteX4309" y="connsiteY4309"/>
                </a:cxn>
                <a:cxn ang="0">
                  <a:pos x="connsiteX4310" y="connsiteY4310"/>
                </a:cxn>
                <a:cxn ang="0">
                  <a:pos x="connsiteX4311" y="connsiteY4311"/>
                </a:cxn>
                <a:cxn ang="0">
                  <a:pos x="connsiteX4312" y="connsiteY4312"/>
                </a:cxn>
                <a:cxn ang="0">
                  <a:pos x="connsiteX4313" y="connsiteY4313"/>
                </a:cxn>
                <a:cxn ang="0">
                  <a:pos x="connsiteX4314" y="connsiteY4314"/>
                </a:cxn>
                <a:cxn ang="0">
                  <a:pos x="connsiteX4315" y="connsiteY4315"/>
                </a:cxn>
                <a:cxn ang="0">
                  <a:pos x="connsiteX4316" y="connsiteY4316"/>
                </a:cxn>
                <a:cxn ang="0">
                  <a:pos x="connsiteX4317" y="connsiteY4317"/>
                </a:cxn>
                <a:cxn ang="0">
                  <a:pos x="connsiteX4318" y="connsiteY4318"/>
                </a:cxn>
                <a:cxn ang="0">
                  <a:pos x="connsiteX4319" y="connsiteY4319"/>
                </a:cxn>
                <a:cxn ang="0">
                  <a:pos x="connsiteX4320" y="connsiteY4320"/>
                </a:cxn>
                <a:cxn ang="0">
                  <a:pos x="connsiteX4321" y="connsiteY4321"/>
                </a:cxn>
                <a:cxn ang="0">
                  <a:pos x="connsiteX4322" y="connsiteY4322"/>
                </a:cxn>
                <a:cxn ang="0">
                  <a:pos x="connsiteX4323" y="connsiteY4323"/>
                </a:cxn>
                <a:cxn ang="0">
                  <a:pos x="connsiteX4324" y="connsiteY4324"/>
                </a:cxn>
                <a:cxn ang="0">
                  <a:pos x="connsiteX4325" y="connsiteY4325"/>
                </a:cxn>
                <a:cxn ang="0">
                  <a:pos x="connsiteX4326" y="connsiteY4326"/>
                </a:cxn>
                <a:cxn ang="0">
                  <a:pos x="connsiteX4327" y="connsiteY4327"/>
                </a:cxn>
                <a:cxn ang="0">
                  <a:pos x="connsiteX4328" y="connsiteY4328"/>
                </a:cxn>
                <a:cxn ang="0">
                  <a:pos x="connsiteX4329" y="connsiteY4329"/>
                </a:cxn>
                <a:cxn ang="0">
                  <a:pos x="connsiteX4330" y="connsiteY4330"/>
                </a:cxn>
                <a:cxn ang="0">
                  <a:pos x="connsiteX4331" y="connsiteY4331"/>
                </a:cxn>
                <a:cxn ang="0">
                  <a:pos x="connsiteX4332" y="connsiteY4332"/>
                </a:cxn>
                <a:cxn ang="0">
                  <a:pos x="connsiteX4333" y="connsiteY4333"/>
                </a:cxn>
                <a:cxn ang="0">
                  <a:pos x="connsiteX4334" y="connsiteY4334"/>
                </a:cxn>
                <a:cxn ang="0">
                  <a:pos x="connsiteX4335" y="connsiteY4335"/>
                </a:cxn>
                <a:cxn ang="0">
                  <a:pos x="connsiteX4336" y="connsiteY4336"/>
                </a:cxn>
                <a:cxn ang="0">
                  <a:pos x="connsiteX4337" y="connsiteY4337"/>
                </a:cxn>
                <a:cxn ang="0">
                  <a:pos x="connsiteX4338" y="connsiteY4338"/>
                </a:cxn>
                <a:cxn ang="0">
                  <a:pos x="connsiteX4339" y="connsiteY4339"/>
                </a:cxn>
                <a:cxn ang="0">
                  <a:pos x="connsiteX4340" y="connsiteY4340"/>
                </a:cxn>
                <a:cxn ang="0">
                  <a:pos x="connsiteX4341" y="connsiteY4341"/>
                </a:cxn>
                <a:cxn ang="0">
                  <a:pos x="connsiteX4342" y="connsiteY4342"/>
                </a:cxn>
                <a:cxn ang="0">
                  <a:pos x="connsiteX4343" y="connsiteY4343"/>
                </a:cxn>
                <a:cxn ang="0">
                  <a:pos x="connsiteX4344" y="connsiteY4344"/>
                </a:cxn>
                <a:cxn ang="0">
                  <a:pos x="connsiteX4345" y="connsiteY4345"/>
                </a:cxn>
                <a:cxn ang="0">
                  <a:pos x="connsiteX4346" y="connsiteY4346"/>
                </a:cxn>
                <a:cxn ang="0">
                  <a:pos x="connsiteX4347" y="connsiteY4347"/>
                </a:cxn>
                <a:cxn ang="0">
                  <a:pos x="connsiteX4348" y="connsiteY4348"/>
                </a:cxn>
                <a:cxn ang="0">
                  <a:pos x="connsiteX4349" y="connsiteY4349"/>
                </a:cxn>
                <a:cxn ang="0">
                  <a:pos x="connsiteX4350" y="connsiteY4350"/>
                </a:cxn>
                <a:cxn ang="0">
                  <a:pos x="connsiteX4351" y="connsiteY4351"/>
                </a:cxn>
                <a:cxn ang="0">
                  <a:pos x="connsiteX4352" y="connsiteY4352"/>
                </a:cxn>
                <a:cxn ang="0">
                  <a:pos x="connsiteX4353" y="connsiteY4353"/>
                </a:cxn>
                <a:cxn ang="0">
                  <a:pos x="connsiteX4354" y="connsiteY4354"/>
                </a:cxn>
                <a:cxn ang="0">
                  <a:pos x="connsiteX4355" y="connsiteY4355"/>
                </a:cxn>
                <a:cxn ang="0">
                  <a:pos x="connsiteX4356" y="connsiteY4356"/>
                </a:cxn>
                <a:cxn ang="0">
                  <a:pos x="connsiteX4357" y="connsiteY4357"/>
                </a:cxn>
                <a:cxn ang="0">
                  <a:pos x="connsiteX4358" y="connsiteY4358"/>
                </a:cxn>
                <a:cxn ang="0">
                  <a:pos x="connsiteX4359" y="connsiteY4359"/>
                </a:cxn>
                <a:cxn ang="0">
                  <a:pos x="connsiteX4360" y="connsiteY4360"/>
                </a:cxn>
                <a:cxn ang="0">
                  <a:pos x="connsiteX4361" y="connsiteY4361"/>
                </a:cxn>
                <a:cxn ang="0">
                  <a:pos x="connsiteX4362" y="connsiteY4362"/>
                </a:cxn>
                <a:cxn ang="0">
                  <a:pos x="connsiteX4363" y="connsiteY4363"/>
                </a:cxn>
                <a:cxn ang="0">
                  <a:pos x="connsiteX4364" y="connsiteY4364"/>
                </a:cxn>
                <a:cxn ang="0">
                  <a:pos x="connsiteX4365" y="connsiteY4365"/>
                </a:cxn>
                <a:cxn ang="0">
                  <a:pos x="connsiteX4366" y="connsiteY4366"/>
                </a:cxn>
                <a:cxn ang="0">
                  <a:pos x="connsiteX4367" y="connsiteY4367"/>
                </a:cxn>
                <a:cxn ang="0">
                  <a:pos x="connsiteX4368" y="connsiteY4368"/>
                </a:cxn>
                <a:cxn ang="0">
                  <a:pos x="connsiteX4369" y="connsiteY4369"/>
                </a:cxn>
                <a:cxn ang="0">
                  <a:pos x="connsiteX4370" y="connsiteY4370"/>
                </a:cxn>
                <a:cxn ang="0">
                  <a:pos x="connsiteX4371" y="connsiteY4371"/>
                </a:cxn>
                <a:cxn ang="0">
                  <a:pos x="connsiteX4372" y="connsiteY4372"/>
                </a:cxn>
                <a:cxn ang="0">
                  <a:pos x="connsiteX4373" y="connsiteY4373"/>
                </a:cxn>
                <a:cxn ang="0">
                  <a:pos x="connsiteX4374" y="connsiteY4374"/>
                </a:cxn>
                <a:cxn ang="0">
                  <a:pos x="connsiteX4375" y="connsiteY4375"/>
                </a:cxn>
                <a:cxn ang="0">
                  <a:pos x="connsiteX4376" y="connsiteY4376"/>
                </a:cxn>
                <a:cxn ang="0">
                  <a:pos x="connsiteX4377" y="connsiteY4377"/>
                </a:cxn>
                <a:cxn ang="0">
                  <a:pos x="connsiteX4378" y="connsiteY4378"/>
                </a:cxn>
                <a:cxn ang="0">
                  <a:pos x="connsiteX4379" y="connsiteY4379"/>
                </a:cxn>
                <a:cxn ang="0">
                  <a:pos x="connsiteX4380" y="connsiteY4380"/>
                </a:cxn>
                <a:cxn ang="0">
                  <a:pos x="connsiteX4381" y="connsiteY4381"/>
                </a:cxn>
                <a:cxn ang="0">
                  <a:pos x="connsiteX4382" y="connsiteY4382"/>
                </a:cxn>
                <a:cxn ang="0">
                  <a:pos x="connsiteX4383" y="connsiteY4383"/>
                </a:cxn>
                <a:cxn ang="0">
                  <a:pos x="connsiteX4384" y="connsiteY4384"/>
                </a:cxn>
                <a:cxn ang="0">
                  <a:pos x="connsiteX4385" y="connsiteY4385"/>
                </a:cxn>
                <a:cxn ang="0">
                  <a:pos x="connsiteX4386" y="connsiteY4386"/>
                </a:cxn>
                <a:cxn ang="0">
                  <a:pos x="connsiteX4387" y="connsiteY4387"/>
                </a:cxn>
                <a:cxn ang="0">
                  <a:pos x="connsiteX4388" y="connsiteY4388"/>
                </a:cxn>
                <a:cxn ang="0">
                  <a:pos x="connsiteX4389" y="connsiteY4389"/>
                </a:cxn>
                <a:cxn ang="0">
                  <a:pos x="connsiteX4390" y="connsiteY4390"/>
                </a:cxn>
                <a:cxn ang="0">
                  <a:pos x="connsiteX4391" y="connsiteY4391"/>
                </a:cxn>
                <a:cxn ang="0">
                  <a:pos x="connsiteX4392" y="connsiteY4392"/>
                </a:cxn>
                <a:cxn ang="0">
                  <a:pos x="connsiteX4393" y="connsiteY4393"/>
                </a:cxn>
                <a:cxn ang="0">
                  <a:pos x="connsiteX4394" y="connsiteY4394"/>
                </a:cxn>
                <a:cxn ang="0">
                  <a:pos x="connsiteX4395" y="connsiteY4395"/>
                </a:cxn>
                <a:cxn ang="0">
                  <a:pos x="connsiteX4396" y="connsiteY4396"/>
                </a:cxn>
                <a:cxn ang="0">
                  <a:pos x="connsiteX4397" y="connsiteY4397"/>
                </a:cxn>
                <a:cxn ang="0">
                  <a:pos x="connsiteX4398" y="connsiteY4398"/>
                </a:cxn>
                <a:cxn ang="0">
                  <a:pos x="connsiteX4399" y="connsiteY4399"/>
                </a:cxn>
                <a:cxn ang="0">
                  <a:pos x="connsiteX4400" y="connsiteY4400"/>
                </a:cxn>
                <a:cxn ang="0">
                  <a:pos x="connsiteX4401" y="connsiteY4401"/>
                </a:cxn>
                <a:cxn ang="0">
                  <a:pos x="connsiteX4402" y="connsiteY4402"/>
                </a:cxn>
                <a:cxn ang="0">
                  <a:pos x="connsiteX4403" y="connsiteY4403"/>
                </a:cxn>
                <a:cxn ang="0">
                  <a:pos x="connsiteX4404" y="connsiteY4404"/>
                </a:cxn>
                <a:cxn ang="0">
                  <a:pos x="connsiteX4405" y="connsiteY4405"/>
                </a:cxn>
                <a:cxn ang="0">
                  <a:pos x="connsiteX4406" y="connsiteY4406"/>
                </a:cxn>
                <a:cxn ang="0">
                  <a:pos x="connsiteX4407" y="connsiteY4407"/>
                </a:cxn>
                <a:cxn ang="0">
                  <a:pos x="connsiteX4408" y="connsiteY4408"/>
                </a:cxn>
                <a:cxn ang="0">
                  <a:pos x="connsiteX4409" y="connsiteY4409"/>
                </a:cxn>
                <a:cxn ang="0">
                  <a:pos x="connsiteX4410" y="connsiteY4410"/>
                </a:cxn>
                <a:cxn ang="0">
                  <a:pos x="connsiteX4411" y="connsiteY4411"/>
                </a:cxn>
                <a:cxn ang="0">
                  <a:pos x="connsiteX4412" y="connsiteY4412"/>
                </a:cxn>
                <a:cxn ang="0">
                  <a:pos x="connsiteX4413" y="connsiteY4413"/>
                </a:cxn>
                <a:cxn ang="0">
                  <a:pos x="connsiteX4414" y="connsiteY4414"/>
                </a:cxn>
                <a:cxn ang="0">
                  <a:pos x="connsiteX4415" y="connsiteY4415"/>
                </a:cxn>
                <a:cxn ang="0">
                  <a:pos x="connsiteX4416" y="connsiteY4416"/>
                </a:cxn>
                <a:cxn ang="0">
                  <a:pos x="connsiteX4417" y="connsiteY4417"/>
                </a:cxn>
                <a:cxn ang="0">
                  <a:pos x="connsiteX4418" y="connsiteY4418"/>
                </a:cxn>
                <a:cxn ang="0">
                  <a:pos x="connsiteX4419" y="connsiteY4419"/>
                </a:cxn>
                <a:cxn ang="0">
                  <a:pos x="connsiteX4420" y="connsiteY4420"/>
                </a:cxn>
                <a:cxn ang="0">
                  <a:pos x="connsiteX4421" y="connsiteY4421"/>
                </a:cxn>
                <a:cxn ang="0">
                  <a:pos x="connsiteX4422" y="connsiteY4422"/>
                </a:cxn>
                <a:cxn ang="0">
                  <a:pos x="connsiteX4423" y="connsiteY4423"/>
                </a:cxn>
                <a:cxn ang="0">
                  <a:pos x="connsiteX4424" y="connsiteY4424"/>
                </a:cxn>
                <a:cxn ang="0">
                  <a:pos x="connsiteX4425" y="connsiteY4425"/>
                </a:cxn>
                <a:cxn ang="0">
                  <a:pos x="connsiteX4426" y="connsiteY4426"/>
                </a:cxn>
                <a:cxn ang="0">
                  <a:pos x="connsiteX4427" y="connsiteY4427"/>
                </a:cxn>
                <a:cxn ang="0">
                  <a:pos x="connsiteX4428" y="connsiteY4428"/>
                </a:cxn>
                <a:cxn ang="0">
                  <a:pos x="connsiteX4429" y="connsiteY4429"/>
                </a:cxn>
                <a:cxn ang="0">
                  <a:pos x="connsiteX4430" y="connsiteY4430"/>
                </a:cxn>
                <a:cxn ang="0">
                  <a:pos x="connsiteX4431" y="connsiteY4431"/>
                </a:cxn>
                <a:cxn ang="0">
                  <a:pos x="connsiteX4432" y="connsiteY4432"/>
                </a:cxn>
                <a:cxn ang="0">
                  <a:pos x="connsiteX4433" y="connsiteY4433"/>
                </a:cxn>
                <a:cxn ang="0">
                  <a:pos x="connsiteX4434" y="connsiteY4434"/>
                </a:cxn>
                <a:cxn ang="0">
                  <a:pos x="connsiteX4435" y="connsiteY4435"/>
                </a:cxn>
                <a:cxn ang="0">
                  <a:pos x="connsiteX4436" y="connsiteY4436"/>
                </a:cxn>
                <a:cxn ang="0">
                  <a:pos x="connsiteX4437" y="connsiteY4437"/>
                </a:cxn>
                <a:cxn ang="0">
                  <a:pos x="connsiteX4438" y="connsiteY4438"/>
                </a:cxn>
                <a:cxn ang="0">
                  <a:pos x="connsiteX4439" y="connsiteY4439"/>
                </a:cxn>
                <a:cxn ang="0">
                  <a:pos x="connsiteX4440" y="connsiteY4440"/>
                </a:cxn>
                <a:cxn ang="0">
                  <a:pos x="connsiteX4441" y="connsiteY4441"/>
                </a:cxn>
                <a:cxn ang="0">
                  <a:pos x="connsiteX4442" y="connsiteY4442"/>
                </a:cxn>
                <a:cxn ang="0">
                  <a:pos x="connsiteX4443" y="connsiteY4443"/>
                </a:cxn>
                <a:cxn ang="0">
                  <a:pos x="connsiteX4444" y="connsiteY4444"/>
                </a:cxn>
                <a:cxn ang="0">
                  <a:pos x="connsiteX4445" y="connsiteY4445"/>
                </a:cxn>
                <a:cxn ang="0">
                  <a:pos x="connsiteX4446" y="connsiteY4446"/>
                </a:cxn>
                <a:cxn ang="0">
                  <a:pos x="connsiteX4447" y="connsiteY4447"/>
                </a:cxn>
                <a:cxn ang="0">
                  <a:pos x="connsiteX4448" y="connsiteY4448"/>
                </a:cxn>
                <a:cxn ang="0">
                  <a:pos x="connsiteX4449" y="connsiteY4449"/>
                </a:cxn>
                <a:cxn ang="0">
                  <a:pos x="connsiteX4450" y="connsiteY4450"/>
                </a:cxn>
                <a:cxn ang="0">
                  <a:pos x="connsiteX4451" y="connsiteY4451"/>
                </a:cxn>
                <a:cxn ang="0">
                  <a:pos x="connsiteX4452" y="connsiteY4452"/>
                </a:cxn>
                <a:cxn ang="0">
                  <a:pos x="connsiteX4453" y="connsiteY4453"/>
                </a:cxn>
                <a:cxn ang="0">
                  <a:pos x="connsiteX4454" y="connsiteY4454"/>
                </a:cxn>
                <a:cxn ang="0">
                  <a:pos x="connsiteX4455" y="connsiteY4455"/>
                </a:cxn>
                <a:cxn ang="0">
                  <a:pos x="connsiteX4456" y="connsiteY4456"/>
                </a:cxn>
                <a:cxn ang="0">
                  <a:pos x="connsiteX4457" y="connsiteY4457"/>
                </a:cxn>
                <a:cxn ang="0">
                  <a:pos x="connsiteX4458" y="connsiteY4458"/>
                </a:cxn>
                <a:cxn ang="0">
                  <a:pos x="connsiteX4459" y="connsiteY4459"/>
                </a:cxn>
                <a:cxn ang="0">
                  <a:pos x="connsiteX4460" y="connsiteY4460"/>
                </a:cxn>
                <a:cxn ang="0">
                  <a:pos x="connsiteX4461" y="connsiteY4461"/>
                </a:cxn>
                <a:cxn ang="0">
                  <a:pos x="connsiteX4462" y="connsiteY4462"/>
                </a:cxn>
                <a:cxn ang="0">
                  <a:pos x="connsiteX4463" y="connsiteY4463"/>
                </a:cxn>
                <a:cxn ang="0">
                  <a:pos x="connsiteX4464" y="connsiteY4464"/>
                </a:cxn>
                <a:cxn ang="0">
                  <a:pos x="connsiteX4465" y="connsiteY4465"/>
                </a:cxn>
                <a:cxn ang="0">
                  <a:pos x="connsiteX4466" y="connsiteY4466"/>
                </a:cxn>
                <a:cxn ang="0">
                  <a:pos x="connsiteX4467" y="connsiteY4467"/>
                </a:cxn>
                <a:cxn ang="0">
                  <a:pos x="connsiteX4468" y="connsiteY4468"/>
                </a:cxn>
                <a:cxn ang="0">
                  <a:pos x="connsiteX4469" y="connsiteY4469"/>
                </a:cxn>
                <a:cxn ang="0">
                  <a:pos x="connsiteX4470" y="connsiteY4470"/>
                </a:cxn>
                <a:cxn ang="0">
                  <a:pos x="connsiteX4471" y="connsiteY4471"/>
                </a:cxn>
                <a:cxn ang="0">
                  <a:pos x="connsiteX4472" y="connsiteY4472"/>
                </a:cxn>
                <a:cxn ang="0">
                  <a:pos x="connsiteX4473" y="connsiteY4473"/>
                </a:cxn>
                <a:cxn ang="0">
                  <a:pos x="connsiteX4474" y="connsiteY4474"/>
                </a:cxn>
                <a:cxn ang="0">
                  <a:pos x="connsiteX4475" y="connsiteY4475"/>
                </a:cxn>
                <a:cxn ang="0">
                  <a:pos x="connsiteX4476" y="connsiteY4476"/>
                </a:cxn>
                <a:cxn ang="0">
                  <a:pos x="connsiteX4477" y="connsiteY4477"/>
                </a:cxn>
                <a:cxn ang="0">
                  <a:pos x="connsiteX4478" y="connsiteY4478"/>
                </a:cxn>
                <a:cxn ang="0">
                  <a:pos x="connsiteX4479" y="connsiteY4479"/>
                </a:cxn>
                <a:cxn ang="0">
                  <a:pos x="connsiteX4480" y="connsiteY4480"/>
                </a:cxn>
                <a:cxn ang="0">
                  <a:pos x="connsiteX4481" y="connsiteY4481"/>
                </a:cxn>
                <a:cxn ang="0">
                  <a:pos x="connsiteX4482" y="connsiteY4482"/>
                </a:cxn>
                <a:cxn ang="0">
                  <a:pos x="connsiteX4483" y="connsiteY4483"/>
                </a:cxn>
                <a:cxn ang="0">
                  <a:pos x="connsiteX4484" y="connsiteY4484"/>
                </a:cxn>
                <a:cxn ang="0">
                  <a:pos x="connsiteX4485" y="connsiteY4485"/>
                </a:cxn>
                <a:cxn ang="0">
                  <a:pos x="connsiteX4486" y="connsiteY4486"/>
                </a:cxn>
                <a:cxn ang="0">
                  <a:pos x="connsiteX4487" y="connsiteY4487"/>
                </a:cxn>
                <a:cxn ang="0">
                  <a:pos x="connsiteX4488" y="connsiteY4488"/>
                </a:cxn>
                <a:cxn ang="0">
                  <a:pos x="connsiteX4489" y="connsiteY4489"/>
                </a:cxn>
                <a:cxn ang="0">
                  <a:pos x="connsiteX4490" y="connsiteY4490"/>
                </a:cxn>
                <a:cxn ang="0">
                  <a:pos x="connsiteX4491" y="connsiteY4491"/>
                </a:cxn>
                <a:cxn ang="0">
                  <a:pos x="connsiteX4492" y="connsiteY4492"/>
                </a:cxn>
                <a:cxn ang="0">
                  <a:pos x="connsiteX4493" y="connsiteY4493"/>
                </a:cxn>
                <a:cxn ang="0">
                  <a:pos x="connsiteX4494" y="connsiteY4494"/>
                </a:cxn>
                <a:cxn ang="0">
                  <a:pos x="connsiteX4495" y="connsiteY4495"/>
                </a:cxn>
                <a:cxn ang="0">
                  <a:pos x="connsiteX4496" y="connsiteY4496"/>
                </a:cxn>
                <a:cxn ang="0">
                  <a:pos x="connsiteX4497" y="connsiteY4497"/>
                </a:cxn>
                <a:cxn ang="0">
                  <a:pos x="connsiteX4498" y="connsiteY4498"/>
                </a:cxn>
                <a:cxn ang="0">
                  <a:pos x="connsiteX4499" y="connsiteY4499"/>
                </a:cxn>
                <a:cxn ang="0">
                  <a:pos x="connsiteX4500" y="connsiteY4500"/>
                </a:cxn>
                <a:cxn ang="0">
                  <a:pos x="connsiteX4501" y="connsiteY4501"/>
                </a:cxn>
                <a:cxn ang="0">
                  <a:pos x="connsiteX4502" y="connsiteY4502"/>
                </a:cxn>
                <a:cxn ang="0">
                  <a:pos x="connsiteX4503" y="connsiteY4503"/>
                </a:cxn>
                <a:cxn ang="0">
                  <a:pos x="connsiteX4504" y="connsiteY4504"/>
                </a:cxn>
                <a:cxn ang="0">
                  <a:pos x="connsiteX4505" y="connsiteY4505"/>
                </a:cxn>
                <a:cxn ang="0">
                  <a:pos x="connsiteX4506" y="connsiteY4506"/>
                </a:cxn>
                <a:cxn ang="0">
                  <a:pos x="connsiteX4507" y="connsiteY4507"/>
                </a:cxn>
                <a:cxn ang="0">
                  <a:pos x="connsiteX4508" y="connsiteY4508"/>
                </a:cxn>
                <a:cxn ang="0">
                  <a:pos x="connsiteX4509" y="connsiteY4509"/>
                </a:cxn>
                <a:cxn ang="0">
                  <a:pos x="connsiteX4510" y="connsiteY4510"/>
                </a:cxn>
                <a:cxn ang="0">
                  <a:pos x="connsiteX4511" y="connsiteY4511"/>
                </a:cxn>
                <a:cxn ang="0">
                  <a:pos x="connsiteX4512" y="connsiteY4512"/>
                </a:cxn>
                <a:cxn ang="0">
                  <a:pos x="connsiteX4513" y="connsiteY4513"/>
                </a:cxn>
                <a:cxn ang="0">
                  <a:pos x="connsiteX4514" y="connsiteY4514"/>
                </a:cxn>
                <a:cxn ang="0">
                  <a:pos x="connsiteX4515" y="connsiteY4515"/>
                </a:cxn>
                <a:cxn ang="0">
                  <a:pos x="connsiteX4516" y="connsiteY4516"/>
                </a:cxn>
                <a:cxn ang="0">
                  <a:pos x="connsiteX4517" y="connsiteY4517"/>
                </a:cxn>
                <a:cxn ang="0">
                  <a:pos x="connsiteX4518" y="connsiteY4518"/>
                </a:cxn>
                <a:cxn ang="0">
                  <a:pos x="connsiteX4519" y="connsiteY4519"/>
                </a:cxn>
                <a:cxn ang="0">
                  <a:pos x="connsiteX4520" y="connsiteY4520"/>
                </a:cxn>
                <a:cxn ang="0">
                  <a:pos x="connsiteX4521" y="connsiteY4521"/>
                </a:cxn>
                <a:cxn ang="0">
                  <a:pos x="connsiteX4522" y="connsiteY4522"/>
                </a:cxn>
                <a:cxn ang="0">
                  <a:pos x="connsiteX4523" y="connsiteY4523"/>
                </a:cxn>
                <a:cxn ang="0">
                  <a:pos x="connsiteX4524" y="connsiteY4524"/>
                </a:cxn>
                <a:cxn ang="0">
                  <a:pos x="connsiteX4525" y="connsiteY4525"/>
                </a:cxn>
                <a:cxn ang="0">
                  <a:pos x="connsiteX4526" y="connsiteY4526"/>
                </a:cxn>
                <a:cxn ang="0">
                  <a:pos x="connsiteX4527" y="connsiteY4527"/>
                </a:cxn>
                <a:cxn ang="0">
                  <a:pos x="connsiteX4528" y="connsiteY4528"/>
                </a:cxn>
                <a:cxn ang="0">
                  <a:pos x="connsiteX4529" y="connsiteY4529"/>
                </a:cxn>
                <a:cxn ang="0">
                  <a:pos x="connsiteX4530" y="connsiteY4530"/>
                </a:cxn>
                <a:cxn ang="0">
                  <a:pos x="connsiteX4531" y="connsiteY4531"/>
                </a:cxn>
                <a:cxn ang="0">
                  <a:pos x="connsiteX4532" y="connsiteY4532"/>
                </a:cxn>
                <a:cxn ang="0">
                  <a:pos x="connsiteX4533" y="connsiteY4533"/>
                </a:cxn>
                <a:cxn ang="0">
                  <a:pos x="connsiteX4534" y="connsiteY4534"/>
                </a:cxn>
                <a:cxn ang="0">
                  <a:pos x="connsiteX4535" y="connsiteY4535"/>
                </a:cxn>
                <a:cxn ang="0">
                  <a:pos x="connsiteX4536" y="connsiteY4536"/>
                </a:cxn>
                <a:cxn ang="0">
                  <a:pos x="connsiteX4537" y="connsiteY4537"/>
                </a:cxn>
                <a:cxn ang="0">
                  <a:pos x="connsiteX4538" y="connsiteY4538"/>
                </a:cxn>
                <a:cxn ang="0">
                  <a:pos x="connsiteX4539" y="connsiteY4539"/>
                </a:cxn>
                <a:cxn ang="0">
                  <a:pos x="connsiteX4540" y="connsiteY4540"/>
                </a:cxn>
                <a:cxn ang="0">
                  <a:pos x="connsiteX4541" y="connsiteY4541"/>
                </a:cxn>
                <a:cxn ang="0">
                  <a:pos x="connsiteX4542" y="connsiteY4542"/>
                </a:cxn>
                <a:cxn ang="0">
                  <a:pos x="connsiteX4543" y="connsiteY4543"/>
                </a:cxn>
                <a:cxn ang="0">
                  <a:pos x="connsiteX4544" y="connsiteY4544"/>
                </a:cxn>
                <a:cxn ang="0">
                  <a:pos x="connsiteX4545" y="connsiteY4545"/>
                </a:cxn>
                <a:cxn ang="0">
                  <a:pos x="connsiteX4546" y="connsiteY4546"/>
                </a:cxn>
                <a:cxn ang="0">
                  <a:pos x="connsiteX4547" y="connsiteY4547"/>
                </a:cxn>
                <a:cxn ang="0">
                  <a:pos x="connsiteX4548" y="connsiteY4548"/>
                </a:cxn>
                <a:cxn ang="0">
                  <a:pos x="connsiteX4549" y="connsiteY4549"/>
                </a:cxn>
                <a:cxn ang="0">
                  <a:pos x="connsiteX4550" y="connsiteY4550"/>
                </a:cxn>
                <a:cxn ang="0">
                  <a:pos x="connsiteX4551" y="connsiteY4551"/>
                </a:cxn>
                <a:cxn ang="0">
                  <a:pos x="connsiteX4552" y="connsiteY4552"/>
                </a:cxn>
                <a:cxn ang="0">
                  <a:pos x="connsiteX4553" y="connsiteY4553"/>
                </a:cxn>
                <a:cxn ang="0">
                  <a:pos x="connsiteX4554" y="connsiteY4554"/>
                </a:cxn>
                <a:cxn ang="0">
                  <a:pos x="connsiteX4555" y="connsiteY4555"/>
                </a:cxn>
                <a:cxn ang="0">
                  <a:pos x="connsiteX4556" y="connsiteY4556"/>
                </a:cxn>
                <a:cxn ang="0">
                  <a:pos x="connsiteX4557" y="connsiteY4557"/>
                </a:cxn>
                <a:cxn ang="0">
                  <a:pos x="connsiteX4558" y="connsiteY4558"/>
                </a:cxn>
                <a:cxn ang="0">
                  <a:pos x="connsiteX4559" y="connsiteY4559"/>
                </a:cxn>
                <a:cxn ang="0">
                  <a:pos x="connsiteX4560" y="connsiteY4560"/>
                </a:cxn>
                <a:cxn ang="0">
                  <a:pos x="connsiteX4561" y="connsiteY4561"/>
                </a:cxn>
                <a:cxn ang="0">
                  <a:pos x="connsiteX4562" y="connsiteY4562"/>
                </a:cxn>
                <a:cxn ang="0">
                  <a:pos x="connsiteX4563" y="connsiteY4563"/>
                </a:cxn>
                <a:cxn ang="0">
                  <a:pos x="connsiteX4564" y="connsiteY4564"/>
                </a:cxn>
                <a:cxn ang="0">
                  <a:pos x="connsiteX4565" y="connsiteY4565"/>
                </a:cxn>
                <a:cxn ang="0">
                  <a:pos x="connsiteX4566" y="connsiteY4566"/>
                </a:cxn>
                <a:cxn ang="0">
                  <a:pos x="connsiteX4567" y="connsiteY4567"/>
                </a:cxn>
                <a:cxn ang="0">
                  <a:pos x="connsiteX4568" y="connsiteY4568"/>
                </a:cxn>
                <a:cxn ang="0">
                  <a:pos x="connsiteX4569" y="connsiteY4569"/>
                </a:cxn>
                <a:cxn ang="0">
                  <a:pos x="connsiteX4570" y="connsiteY4570"/>
                </a:cxn>
                <a:cxn ang="0">
                  <a:pos x="connsiteX4571" y="connsiteY4571"/>
                </a:cxn>
                <a:cxn ang="0">
                  <a:pos x="connsiteX4572" y="connsiteY4572"/>
                </a:cxn>
                <a:cxn ang="0">
                  <a:pos x="connsiteX4573" y="connsiteY4573"/>
                </a:cxn>
                <a:cxn ang="0">
                  <a:pos x="connsiteX4574" y="connsiteY4574"/>
                </a:cxn>
                <a:cxn ang="0">
                  <a:pos x="connsiteX4575" y="connsiteY4575"/>
                </a:cxn>
                <a:cxn ang="0">
                  <a:pos x="connsiteX4576" y="connsiteY4576"/>
                </a:cxn>
                <a:cxn ang="0">
                  <a:pos x="connsiteX4577" y="connsiteY4577"/>
                </a:cxn>
                <a:cxn ang="0">
                  <a:pos x="connsiteX4578" y="connsiteY4578"/>
                </a:cxn>
                <a:cxn ang="0">
                  <a:pos x="connsiteX4579" y="connsiteY4579"/>
                </a:cxn>
                <a:cxn ang="0">
                  <a:pos x="connsiteX4580" y="connsiteY4580"/>
                </a:cxn>
                <a:cxn ang="0">
                  <a:pos x="connsiteX4581" y="connsiteY4581"/>
                </a:cxn>
                <a:cxn ang="0">
                  <a:pos x="connsiteX4582" y="connsiteY4582"/>
                </a:cxn>
                <a:cxn ang="0">
                  <a:pos x="connsiteX4583" y="connsiteY4583"/>
                </a:cxn>
                <a:cxn ang="0">
                  <a:pos x="connsiteX4584" y="connsiteY4584"/>
                </a:cxn>
                <a:cxn ang="0">
                  <a:pos x="connsiteX4585" y="connsiteY4585"/>
                </a:cxn>
                <a:cxn ang="0">
                  <a:pos x="connsiteX4586" y="connsiteY4586"/>
                </a:cxn>
                <a:cxn ang="0">
                  <a:pos x="connsiteX4587" y="connsiteY4587"/>
                </a:cxn>
                <a:cxn ang="0">
                  <a:pos x="connsiteX4588" y="connsiteY4588"/>
                </a:cxn>
                <a:cxn ang="0">
                  <a:pos x="connsiteX4589" y="connsiteY4589"/>
                </a:cxn>
                <a:cxn ang="0">
                  <a:pos x="connsiteX4590" y="connsiteY4590"/>
                </a:cxn>
                <a:cxn ang="0">
                  <a:pos x="connsiteX4591" y="connsiteY4591"/>
                </a:cxn>
                <a:cxn ang="0">
                  <a:pos x="connsiteX4592" y="connsiteY4592"/>
                </a:cxn>
                <a:cxn ang="0">
                  <a:pos x="connsiteX4593" y="connsiteY4593"/>
                </a:cxn>
                <a:cxn ang="0">
                  <a:pos x="connsiteX4594" y="connsiteY4594"/>
                </a:cxn>
                <a:cxn ang="0">
                  <a:pos x="connsiteX4595" y="connsiteY4595"/>
                </a:cxn>
                <a:cxn ang="0">
                  <a:pos x="connsiteX4596" y="connsiteY4596"/>
                </a:cxn>
                <a:cxn ang="0">
                  <a:pos x="connsiteX4597" y="connsiteY4597"/>
                </a:cxn>
                <a:cxn ang="0">
                  <a:pos x="connsiteX4598" y="connsiteY4598"/>
                </a:cxn>
                <a:cxn ang="0">
                  <a:pos x="connsiteX4599" y="connsiteY4599"/>
                </a:cxn>
                <a:cxn ang="0">
                  <a:pos x="connsiteX4600" y="connsiteY4600"/>
                </a:cxn>
                <a:cxn ang="0">
                  <a:pos x="connsiteX4601" y="connsiteY4601"/>
                </a:cxn>
                <a:cxn ang="0">
                  <a:pos x="connsiteX4602" y="connsiteY4602"/>
                </a:cxn>
                <a:cxn ang="0">
                  <a:pos x="connsiteX4603" y="connsiteY4603"/>
                </a:cxn>
                <a:cxn ang="0">
                  <a:pos x="connsiteX4604" y="connsiteY4604"/>
                </a:cxn>
                <a:cxn ang="0">
                  <a:pos x="connsiteX4605" y="connsiteY4605"/>
                </a:cxn>
                <a:cxn ang="0">
                  <a:pos x="connsiteX4606" y="connsiteY4606"/>
                </a:cxn>
                <a:cxn ang="0">
                  <a:pos x="connsiteX4607" y="connsiteY4607"/>
                </a:cxn>
                <a:cxn ang="0">
                  <a:pos x="connsiteX4608" y="connsiteY4608"/>
                </a:cxn>
                <a:cxn ang="0">
                  <a:pos x="connsiteX4609" y="connsiteY4609"/>
                </a:cxn>
                <a:cxn ang="0">
                  <a:pos x="connsiteX4610" y="connsiteY4610"/>
                </a:cxn>
                <a:cxn ang="0">
                  <a:pos x="connsiteX4611" y="connsiteY4611"/>
                </a:cxn>
                <a:cxn ang="0">
                  <a:pos x="connsiteX4612" y="connsiteY4612"/>
                </a:cxn>
                <a:cxn ang="0">
                  <a:pos x="connsiteX4613" y="connsiteY4613"/>
                </a:cxn>
                <a:cxn ang="0">
                  <a:pos x="connsiteX4614" y="connsiteY4614"/>
                </a:cxn>
                <a:cxn ang="0">
                  <a:pos x="connsiteX4615" y="connsiteY4615"/>
                </a:cxn>
                <a:cxn ang="0">
                  <a:pos x="connsiteX4616" y="connsiteY4616"/>
                </a:cxn>
                <a:cxn ang="0">
                  <a:pos x="connsiteX4617" y="connsiteY4617"/>
                </a:cxn>
                <a:cxn ang="0">
                  <a:pos x="connsiteX4618" y="connsiteY4618"/>
                </a:cxn>
                <a:cxn ang="0">
                  <a:pos x="connsiteX4619" y="connsiteY4619"/>
                </a:cxn>
                <a:cxn ang="0">
                  <a:pos x="connsiteX4620" y="connsiteY4620"/>
                </a:cxn>
                <a:cxn ang="0">
                  <a:pos x="connsiteX4621" y="connsiteY4621"/>
                </a:cxn>
                <a:cxn ang="0">
                  <a:pos x="connsiteX4622" y="connsiteY4622"/>
                </a:cxn>
                <a:cxn ang="0">
                  <a:pos x="connsiteX4623" y="connsiteY4623"/>
                </a:cxn>
                <a:cxn ang="0">
                  <a:pos x="connsiteX4624" y="connsiteY4624"/>
                </a:cxn>
                <a:cxn ang="0">
                  <a:pos x="connsiteX4625" y="connsiteY4625"/>
                </a:cxn>
                <a:cxn ang="0">
                  <a:pos x="connsiteX4626" y="connsiteY4626"/>
                </a:cxn>
                <a:cxn ang="0">
                  <a:pos x="connsiteX4627" y="connsiteY4627"/>
                </a:cxn>
                <a:cxn ang="0">
                  <a:pos x="connsiteX4628" y="connsiteY4628"/>
                </a:cxn>
                <a:cxn ang="0">
                  <a:pos x="connsiteX4629" y="connsiteY4629"/>
                </a:cxn>
                <a:cxn ang="0">
                  <a:pos x="connsiteX4630" y="connsiteY4630"/>
                </a:cxn>
                <a:cxn ang="0">
                  <a:pos x="connsiteX4631" y="connsiteY4631"/>
                </a:cxn>
                <a:cxn ang="0">
                  <a:pos x="connsiteX4632" y="connsiteY4632"/>
                </a:cxn>
                <a:cxn ang="0">
                  <a:pos x="connsiteX4633" y="connsiteY4633"/>
                </a:cxn>
                <a:cxn ang="0">
                  <a:pos x="connsiteX4634" y="connsiteY4634"/>
                </a:cxn>
                <a:cxn ang="0">
                  <a:pos x="connsiteX4635" y="connsiteY4635"/>
                </a:cxn>
                <a:cxn ang="0">
                  <a:pos x="connsiteX4636" y="connsiteY4636"/>
                </a:cxn>
                <a:cxn ang="0">
                  <a:pos x="connsiteX4637" y="connsiteY4637"/>
                </a:cxn>
                <a:cxn ang="0">
                  <a:pos x="connsiteX4638" y="connsiteY4638"/>
                </a:cxn>
                <a:cxn ang="0">
                  <a:pos x="connsiteX4639" y="connsiteY4639"/>
                </a:cxn>
                <a:cxn ang="0">
                  <a:pos x="connsiteX4640" y="connsiteY4640"/>
                </a:cxn>
                <a:cxn ang="0">
                  <a:pos x="connsiteX4641" y="connsiteY4641"/>
                </a:cxn>
                <a:cxn ang="0">
                  <a:pos x="connsiteX4642" y="connsiteY4642"/>
                </a:cxn>
                <a:cxn ang="0">
                  <a:pos x="connsiteX4643" y="connsiteY4643"/>
                </a:cxn>
                <a:cxn ang="0">
                  <a:pos x="connsiteX4644" y="connsiteY4644"/>
                </a:cxn>
                <a:cxn ang="0">
                  <a:pos x="connsiteX4645" y="connsiteY4645"/>
                </a:cxn>
                <a:cxn ang="0">
                  <a:pos x="connsiteX4646" y="connsiteY4646"/>
                </a:cxn>
                <a:cxn ang="0">
                  <a:pos x="connsiteX4647" y="connsiteY4647"/>
                </a:cxn>
                <a:cxn ang="0">
                  <a:pos x="connsiteX4648" y="connsiteY4648"/>
                </a:cxn>
                <a:cxn ang="0">
                  <a:pos x="connsiteX4649" y="connsiteY4649"/>
                </a:cxn>
                <a:cxn ang="0">
                  <a:pos x="connsiteX4650" y="connsiteY4650"/>
                </a:cxn>
                <a:cxn ang="0">
                  <a:pos x="connsiteX4651" y="connsiteY4651"/>
                </a:cxn>
                <a:cxn ang="0">
                  <a:pos x="connsiteX4652" y="connsiteY4652"/>
                </a:cxn>
                <a:cxn ang="0">
                  <a:pos x="connsiteX4653" y="connsiteY4653"/>
                </a:cxn>
                <a:cxn ang="0">
                  <a:pos x="connsiteX4654" y="connsiteY4654"/>
                </a:cxn>
                <a:cxn ang="0">
                  <a:pos x="connsiteX4655" y="connsiteY4655"/>
                </a:cxn>
                <a:cxn ang="0">
                  <a:pos x="connsiteX4656" y="connsiteY4656"/>
                </a:cxn>
                <a:cxn ang="0">
                  <a:pos x="connsiteX4657" y="connsiteY4657"/>
                </a:cxn>
                <a:cxn ang="0">
                  <a:pos x="connsiteX4658" y="connsiteY4658"/>
                </a:cxn>
                <a:cxn ang="0">
                  <a:pos x="connsiteX4659" y="connsiteY4659"/>
                </a:cxn>
                <a:cxn ang="0">
                  <a:pos x="connsiteX4660" y="connsiteY4660"/>
                </a:cxn>
                <a:cxn ang="0">
                  <a:pos x="connsiteX4661" y="connsiteY4661"/>
                </a:cxn>
                <a:cxn ang="0">
                  <a:pos x="connsiteX4662" y="connsiteY4662"/>
                </a:cxn>
                <a:cxn ang="0">
                  <a:pos x="connsiteX4663" y="connsiteY4663"/>
                </a:cxn>
                <a:cxn ang="0">
                  <a:pos x="connsiteX4664" y="connsiteY4664"/>
                </a:cxn>
                <a:cxn ang="0">
                  <a:pos x="connsiteX4665" y="connsiteY4665"/>
                </a:cxn>
                <a:cxn ang="0">
                  <a:pos x="connsiteX4666" y="connsiteY4666"/>
                </a:cxn>
                <a:cxn ang="0">
                  <a:pos x="connsiteX4667" y="connsiteY4667"/>
                </a:cxn>
                <a:cxn ang="0">
                  <a:pos x="connsiteX4668" y="connsiteY4668"/>
                </a:cxn>
                <a:cxn ang="0">
                  <a:pos x="connsiteX4669" y="connsiteY4669"/>
                </a:cxn>
                <a:cxn ang="0">
                  <a:pos x="connsiteX4670" y="connsiteY4670"/>
                </a:cxn>
                <a:cxn ang="0">
                  <a:pos x="connsiteX4671" y="connsiteY4671"/>
                </a:cxn>
                <a:cxn ang="0">
                  <a:pos x="connsiteX4672" y="connsiteY4672"/>
                </a:cxn>
                <a:cxn ang="0">
                  <a:pos x="connsiteX4673" y="connsiteY4673"/>
                </a:cxn>
                <a:cxn ang="0">
                  <a:pos x="connsiteX4674" y="connsiteY4674"/>
                </a:cxn>
                <a:cxn ang="0">
                  <a:pos x="connsiteX4675" y="connsiteY4675"/>
                </a:cxn>
                <a:cxn ang="0">
                  <a:pos x="connsiteX4676" y="connsiteY4676"/>
                </a:cxn>
                <a:cxn ang="0">
                  <a:pos x="connsiteX4677" y="connsiteY4677"/>
                </a:cxn>
                <a:cxn ang="0">
                  <a:pos x="connsiteX4678" y="connsiteY4678"/>
                </a:cxn>
                <a:cxn ang="0">
                  <a:pos x="connsiteX4679" y="connsiteY4679"/>
                </a:cxn>
                <a:cxn ang="0">
                  <a:pos x="connsiteX4680" y="connsiteY4680"/>
                </a:cxn>
                <a:cxn ang="0">
                  <a:pos x="connsiteX4681" y="connsiteY4681"/>
                </a:cxn>
                <a:cxn ang="0">
                  <a:pos x="connsiteX4682" y="connsiteY4682"/>
                </a:cxn>
                <a:cxn ang="0">
                  <a:pos x="connsiteX4683" y="connsiteY4683"/>
                </a:cxn>
                <a:cxn ang="0">
                  <a:pos x="connsiteX4684" y="connsiteY4684"/>
                </a:cxn>
                <a:cxn ang="0">
                  <a:pos x="connsiteX4685" y="connsiteY4685"/>
                </a:cxn>
                <a:cxn ang="0">
                  <a:pos x="connsiteX4686" y="connsiteY4686"/>
                </a:cxn>
                <a:cxn ang="0">
                  <a:pos x="connsiteX4687" y="connsiteY4687"/>
                </a:cxn>
                <a:cxn ang="0">
                  <a:pos x="connsiteX4688" y="connsiteY4688"/>
                </a:cxn>
                <a:cxn ang="0">
                  <a:pos x="connsiteX4689" y="connsiteY4689"/>
                </a:cxn>
                <a:cxn ang="0">
                  <a:pos x="connsiteX4690" y="connsiteY4690"/>
                </a:cxn>
                <a:cxn ang="0">
                  <a:pos x="connsiteX4691" y="connsiteY4691"/>
                </a:cxn>
                <a:cxn ang="0">
                  <a:pos x="connsiteX4692" y="connsiteY4692"/>
                </a:cxn>
                <a:cxn ang="0">
                  <a:pos x="connsiteX4693" y="connsiteY4693"/>
                </a:cxn>
                <a:cxn ang="0">
                  <a:pos x="connsiteX4694" y="connsiteY4694"/>
                </a:cxn>
                <a:cxn ang="0">
                  <a:pos x="connsiteX4695" y="connsiteY4695"/>
                </a:cxn>
                <a:cxn ang="0">
                  <a:pos x="connsiteX4696" y="connsiteY4696"/>
                </a:cxn>
                <a:cxn ang="0">
                  <a:pos x="connsiteX4697" y="connsiteY4697"/>
                </a:cxn>
                <a:cxn ang="0">
                  <a:pos x="connsiteX4698" y="connsiteY4698"/>
                </a:cxn>
                <a:cxn ang="0">
                  <a:pos x="connsiteX4699" y="connsiteY4699"/>
                </a:cxn>
                <a:cxn ang="0">
                  <a:pos x="connsiteX4700" y="connsiteY4700"/>
                </a:cxn>
                <a:cxn ang="0">
                  <a:pos x="connsiteX4701" y="connsiteY4701"/>
                </a:cxn>
                <a:cxn ang="0">
                  <a:pos x="connsiteX4702" y="connsiteY4702"/>
                </a:cxn>
                <a:cxn ang="0">
                  <a:pos x="connsiteX4703" y="connsiteY4703"/>
                </a:cxn>
                <a:cxn ang="0">
                  <a:pos x="connsiteX4704" y="connsiteY4704"/>
                </a:cxn>
                <a:cxn ang="0">
                  <a:pos x="connsiteX4705" y="connsiteY4705"/>
                </a:cxn>
                <a:cxn ang="0">
                  <a:pos x="connsiteX4706" y="connsiteY4706"/>
                </a:cxn>
                <a:cxn ang="0">
                  <a:pos x="connsiteX4707" y="connsiteY4707"/>
                </a:cxn>
                <a:cxn ang="0">
                  <a:pos x="connsiteX4708" y="connsiteY4708"/>
                </a:cxn>
                <a:cxn ang="0">
                  <a:pos x="connsiteX4709" y="connsiteY4709"/>
                </a:cxn>
                <a:cxn ang="0">
                  <a:pos x="connsiteX4710" y="connsiteY4710"/>
                </a:cxn>
                <a:cxn ang="0">
                  <a:pos x="connsiteX4711" y="connsiteY4711"/>
                </a:cxn>
                <a:cxn ang="0">
                  <a:pos x="connsiteX4712" y="connsiteY4712"/>
                </a:cxn>
                <a:cxn ang="0">
                  <a:pos x="connsiteX4713" y="connsiteY4713"/>
                </a:cxn>
                <a:cxn ang="0">
                  <a:pos x="connsiteX4714" y="connsiteY4714"/>
                </a:cxn>
                <a:cxn ang="0">
                  <a:pos x="connsiteX4715" y="connsiteY4715"/>
                </a:cxn>
                <a:cxn ang="0">
                  <a:pos x="connsiteX4716" y="connsiteY4716"/>
                </a:cxn>
                <a:cxn ang="0">
                  <a:pos x="connsiteX4717" y="connsiteY4717"/>
                </a:cxn>
                <a:cxn ang="0">
                  <a:pos x="connsiteX4718" y="connsiteY4718"/>
                </a:cxn>
                <a:cxn ang="0">
                  <a:pos x="connsiteX4719" y="connsiteY4719"/>
                </a:cxn>
                <a:cxn ang="0">
                  <a:pos x="connsiteX4720" y="connsiteY4720"/>
                </a:cxn>
                <a:cxn ang="0">
                  <a:pos x="connsiteX4721" y="connsiteY4721"/>
                </a:cxn>
                <a:cxn ang="0">
                  <a:pos x="connsiteX4722" y="connsiteY4722"/>
                </a:cxn>
                <a:cxn ang="0">
                  <a:pos x="connsiteX4723" y="connsiteY4723"/>
                </a:cxn>
                <a:cxn ang="0">
                  <a:pos x="connsiteX4724" y="connsiteY4724"/>
                </a:cxn>
                <a:cxn ang="0">
                  <a:pos x="connsiteX4725" y="connsiteY4725"/>
                </a:cxn>
                <a:cxn ang="0">
                  <a:pos x="connsiteX4726" y="connsiteY4726"/>
                </a:cxn>
                <a:cxn ang="0">
                  <a:pos x="connsiteX4727" y="connsiteY4727"/>
                </a:cxn>
                <a:cxn ang="0">
                  <a:pos x="connsiteX4728" y="connsiteY4728"/>
                </a:cxn>
                <a:cxn ang="0">
                  <a:pos x="connsiteX4729" y="connsiteY4729"/>
                </a:cxn>
                <a:cxn ang="0">
                  <a:pos x="connsiteX4730" y="connsiteY4730"/>
                </a:cxn>
                <a:cxn ang="0">
                  <a:pos x="connsiteX4731" y="connsiteY4731"/>
                </a:cxn>
                <a:cxn ang="0">
                  <a:pos x="connsiteX4732" y="connsiteY4732"/>
                </a:cxn>
                <a:cxn ang="0">
                  <a:pos x="connsiteX4733" y="connsiteY4733"/>
                </a:cxn>
                <a:cxn ang="0">
                  <a:pos x="connsiteX4734" y="connsiteY4734"/>
                </a:cxn>
                <a:cxn ang="0">
                  <a:pos x="connsiteX4735" y="connsiteY4735"/>
                </a:cxn>
                <a:cxn ang="0">
                  <a:pos x="connsiteX4736" y="connsiteY4736"/>
                </a:cxn>
                <a:cxn ang="0">
                  <a:pos x="connsiteX4737" y="connsiteY4737"/>
                </a:cxn>
                <a:cxn ang="0">
                  <a:pos x="connsiteX4738" y="connsiteY4738"/>
                </a:cxn>
                <a:cxn ang="0">
                  <a:pos x="connsiteX4739" y="connsiteY4739"/>
                </a:cxn>
                <a:cxn ang="0">
                  <a:pos x="connsiteX4740" y="connsiteY4740"/>
                </a:cxn>
                <a:cxn ang="0">
                  <a:pos x="connsiteX4741" y="connsiteY4741"/>
                </a:cxn>
                <a:cxn ang="0">
                  <a:pos x="connsiteX4742" y="connsiteY4742"/>
                </a:cxn>
                <a:cxn ang="0">
                  <a:pos x="connsiteX4743" y="connsiteY4743"/>
                </a:cxn>
                <a:cxn ang="0">
                  <a:pos x="connsiteX4744" y="connsiteY4744"/>
                </a:cxn>
                <a:cxn ang="0">
                  <a:pos x="connsiteX4745" y="connsiteY4745"/>
                </a:cxn>
                <a:cxn ang="0">
                  <a:pos x="connsiteX4746" y="connsiteY4746"/>
                </a:cxn>
                <a:cxn ang="0">
                  <a:pos x="connsiteX4747" y="connsiteY4747"/>
                </a:cxn>
                <a:cxn ang="0">
                  <a:pos x="connsiteX4748" y="connsiteY4748"/>
                </a:cxn>
                <a:cxn ang="0">
                  <a:pos x="connsiteX4749" y="connsiteY4749"/>
                </a:cxn>
                <a:cxn ang="0">
                  <a:pos x="connsiteX4750" y="connsiteY4750"/>
                </a:cxn>
                <a:cxn ang="0">
                  <a:pos x="connsiteX4751" y="connsiteY4751"/>
                </a:cxn>
                <a:cxn ang="0">
                  <a:pos x="connsiteX4752" y="connsiteY4752"/>
                </a:cxn>
                <a:cxn ang="0">
                  <a:pos x="connsiteX4753" y="connsiteY4753"/>
                </a:cxn>
                <a:cxn ang="0">
                  <a:pos x="connsiteX4754" y="connsiteY4754"/>
                </a:cxn>
                <a:cxn ang="0">
                  <a:pos x="connsiteX4755" y="connsiteY4755"/>
                </a:cxn>
                <a:cxn ang="0">
                  <a:pos x="connsiteX4756" y="connsiteY4756"/>
                </a:cxn>
                <a:cxn ang="0">
                  <a:pos x="connsiteX4757" y="connsiteY4757"/>
                </a:cxn>
                <a:cxn ang="0">
                  <a:pos x="connsiteX4758" y="connsiteY4758"/>
                </a:cxn>
                <a:cxn ang="0">
                  <a:pos x="connsiteX4759" y="connsiteY4759"/>
                </a:cxn>
                <a:cxn ang="0">
                  <a:pos x="connsiteX4760" y="connsiteY4760"/>
                </a:cxn>
                <a:cxn ang="0">
                  <a:pos x="connsiteX4761" y="connsiteY4761"/>
                </a:cxn>
                <a:cxn ang="0">
                  <a:pos x="connsiteX4762" y="connsiteY4762"/>
                </a:cxn>
                <a:cxn ang="0">
                  <a:pos x="connsiteX4763" y="connsiteY4763"/>
                </a:cxn>
                <a:cxn ang="0">
                  <a:pos x="connsiteX4764" y="connsiteY4764"/>
                </a:cxn>
                <a:cxn ang="0">
                  <a:pos x="connsiteX4765" y="connsiteY4765"/>
                </a:cxn>
                <a:cxn ang="0">
                  <a:pos x="connsiteX4766" y="connsiteY4766"/>
                </a:cxn>
                <a:cxn ang="0">
                  <a:pos x="connsiteX4767" y="connsiteY4767"/>
                </a:cxn>
                <a:cxn ang="0">
                  <a:pos x="connsiteX4768" y="connsiteY4768"/>
                </a:cxn>
                <a:cxn ang="0">
                  <a:pos x="connsiteX4769" y="connsiteY4769"/>
                </a:cxn>
                <a:cxn ang="0">
                  <a:pos x="connsiteX4770" y="connsiteY4770"/>
                </a:cxn>
                <a:cxn ang="0">
                  <a:pos x="connsiteX4771" y="connsiteY4771"/>
                </a:cxn>
                <a:cxn ang="0">
                  <a:pos x="connsiteX4772" y="connsiteY4772"/>
                </a:cxn>
                <a:cxn ang="0">
                  <a:pos x="connsiteX4773" y="connsiteY4773"/>
                </a:cxn>
                <a:cxn ang="0">
                  <a:pos x="connsiteX4774" y="connsiteY4774"/>
                </a:cxn>
                <a:cxn ang="0">
                  <a:pos x="connsiteX4775" y="connsiteY4775"/>
                </a:cxn>
                <a:cxn ang="0">
                  <a:pos x="connsiteX4776" y="connsiteY4776"/>
                </a:cxn>
                <a:cxn ang="0">
                  <a:pos x="connsiteX4777" y="connsiteY4777"/>
                </a:cxn>
                <a:cxn ang="0">
                  <a:pos x="connsiteX4778" y="connsiteY4778"/>
                </a:cxn>
                <a:cxn ang="0">
                  <a:pos x="connsiteX4779" y="connsiteY4779"/>
                </a:cxn>
                <a:cxn ang="0">
                  <a:pos x="connsiteX4780" y="connsiteY4780"/>
                </a:cxn>
                <a:cxn ang="0">
                  <a:pos x="connsiteX4781" y="connsiteY4781"/>
                </a:cxn>
                <a:cxn ang="0">
                  <a:pos x="connsiteX4782" y="connsiteY4782"/>
                </a:cxn>
                <a:cxn ang="0">
                  <a:pos x="connsiteX4783" y="connsiteY4783"/>
                </a:cxn>
                <a:cxn ang="0">
                  <a:pos x="connsiteX4784" y="connsiteY4784"/>
                </a:cxn>
                <a:cxn ang="0">
                  <a:pos x="connsiteX4785" y="connsiteY4785"/>
                </a:cxn>
                <a:cxn ang="0">
                  <a:pos x="connsiteX4786" y="connsiteY4786"/>
                </a:cxn>
                <a:cxn ang="0">
                  <a:pos x="connsiteX4787" y="connsiteY4787"/>
                </a:cxn>
                <a:cxn ang="0">
                  <a:pos x="connsiteX4788" y="connsiteY4788"/>
                </a:cxn>
                <a:cxn ang="0">
                  <a:pos x="connsiteX4789" y="connsiteY4789"/>
                </a:cxn>
                <a:cxn ang="0">
                  <a:pos x="connsiteX4790" y="connsiteY4790"/>
                </a:cxn>
                <a:cxn ang="0">
                  <a:pos x="connsiteX4791" y="connsiteY4791"/>
                </a:cxn>
                <a:cxn ang="0">
                  <a:pos x="connsiteX4792" y="connsiteY4792"/>
                </a:cxn>
                <a:cxn ang="0">
                  <a:pos x="connsiteX4793" y="connsiteY4793"/>
                </a:cxn>
                <a:cxn ang="0">
                  <a:pos x="connsiteX4794" y="connsiteY4794"/>
                </a:cxn>
                <a:cxn ang="0">
                  <a:pos x="connsiteX4795" y="connsiteY4795"/>
                </a:cxn>
                <a:cxn ang="0">
                  <a:pos x="connsiteX4796" y="connsiteY4796"/>
                </a:cxn>
                <a:cxn ang="0">
                  <a:pos x="connsiteX4797" y="connsiteY4797"/>
                </a:cxn>
                <a:cxn ang="0">
                  <a:pos x="connsiteX4798" y="connsiteY4798"/>
                </a:cxn>
                <a:cxn ang="0">
                  <a:pos x="connsiteX4799" y="connsiteY4799"/>
                </a:cxn>
                <a:cxn ang="0">
                  <a:pos x="connsiteX4800" y="connsiteY4800"/>
                </a:cxn>
                <a:cxn ang="0">
                  <a:pos x="connsiteX4801" y="connsiteY4801"/>
                </a:cxn>
                <a:cxn ang="0">
                  <a:pos x="connsiteX4802" y="connsiteY4802"/>
                </a:cxn>
                <a:cxn ang="0">
                  <a:pos x="connsiteX4803" y="connsiteY4803"/>
                </a:cxn>
                <a:cxn ang="0">
                  <a:pos x="connsiteX4804" y="connsiteY4804"/>
                </a:cxn>
                <a:cxn ang="0">
                  <a:pos x="connsiteX4805" y="connsiteY4805"/>
                </a:cxn>
                <a:cxn ang="0">
                  <a:pos x="connsiteX4806" y="connsiteY4806"/>
                </a:cxn>
                <a:cxn ang="0">
                  <a:pos x="connsiteX4807" y="connsiteY4807"/>
                </a:cxn>
                <a:cxn ang="0">
                  <a:pos x="connsiteX4808" y="connsiteY4808"/>
                </a:cxn>
                <a:cxn ang="0">
                  <a:pos x="connsiteX4809" y="connsiteY4809"/>
                </a:cxn>
                <a:cxn ang="0">
                  <a:pos x="connsiteX4810" y="connsiteY4810"/>
                </a:cxn>
                <a:cxn ang="0">
                  <a:pos x="connsiteX4811" y="connsiteY4811"/>
                </a:cxn>
                <a:cxn ang="0">
                  <a:pos x="connsiteX4812" y="connsiteY4812"/>
                </a:cxn>
                <a:cxn ang="0">
                  <a:pos x="connsiteX4813" y="connsiteY4813"/>
                </a:cxn>
                <a:cxn ang="0">
                  <a:pos x="connsiteX4814" y="connsiteY4814"/>
                </a:cxn>
                <a:cxn ang="0">
                  <a:pos x="connsiteX4815" y="connsiteY4815"/>
                </a:cxn>
                <a:cxn ang="0">
                  <a:pos x="connsiteX4816" y="connsiteY4816"/>
                </a:cxn>
                <a:cxn ang="0">
                  <a:pos x="connsiteX4817" y="connsiteY4817"/>
                </a:cxn>
                <a:cxn ang="0">
                  <a:pos x="connsiteX4818" y="connsiteY4818"/>
                </a:cxn>
                <a:cxn ang="0">
                  <a:pos x="connsiteX4819" y="connsiteY4819"/>
                </a:cxn>
                <a:cxn ang="0">
                  <a:pos x="connsiteX4820" y="connsiteY4820"/>
                </a:cxn>
                <a:cxn ang="0">
                  <a:pos x="connsiteX4821" y="connsiteY4821"/>
                </a:cxn>
                <a:cxn ang="0">
                  <a:pos x="connsiteX4822" y="connsiteY4822"/>
                </a:cxn>
                <a:cxn ang="0">
                  <a:pos x="connsiteX4823" y="connsiteY4823"/>
                </a:cxn>
                <a:cxn ang="0">
                  <a:pos x="connsiteX4824" y="connsiteY4824"/>
                </a:cxn>
                <a:cxn ang="0">
                  <a:pos x="connsiteX4825" y="connsiteY4825"/>
                </a:cxn>
                <a:cxn ang="0">
                  <a:pos x="connsiteX4826" y="connsiteY4826"/>
                </a:cxn>
                <a:cxn ang="0">
                  <a:pos x="connsiteX4827" y="connsiteY4827"/>
                </a:cxn>
                <a:cxn ang="0">
                  <a:pos x="connsiteX4828" y="connsiteY4828"/>
                </a:cxn>
                <a:cxn ang="0">
                  <a:pos x="connsiteX4829" y="connsiteY4829"/>
                </a:cxn>
                <a:cxn ang="0">
                  <a:pos x="connsiteX4830" y="connsiteY4830"/>
                </a:cxn>
                <a:cxn ang="0">
                  <a:pos x="connsiteX4831" y="connsiteY4831"/>
                </a:cxn>
                <a:cxn ang="0">
                  <a:pos x="connsiteX4832" y="connsiteY4832"/>
                </a:cxn>
                <a:cxn ang="0">
                  <a:pos x="connsiteX4833" y="connsiteY4833"/>
                </a:cxn>
                <a:cxn ang="0">
                  <a:pos x="connsiteX4834" y="connsiteY4834"/>
                </a:cxn>
                <a:cxn ang="0">
                  <a:pos x="connsiteX4835" y="connsiteY4835"/>
                </a:cxn>
                <a:cxn ang="0">
                  <a:pos x="connsiteX4836" y="connsiteY4836"/>
                </a:cxn>
                <a:cxn ang="0">
                  <a:pos x="connsiteX4837" y="connsiteY4837"/>
                </a:cxn>
                <a:cxn ang="0">
                  <a:pos x="connsiteX4838" y="connsiteY4838"/>
                </a:cxn>
                <a:cxn ang="0">
                  <a:pos x="connsiteX4839" y="connsiteY4839"/>
                </a:cxn>
                <a:cxn ang="0">
                  <a:pos x="connsiteX4840" y="connsiteY4840"/>
                </a:cxn>
                <a:cxn ang="0">
                  <a:pos x="connsiteX4841" y="connsiteY4841"/>
                </a:cxn>
                <a:cxn ang="0">
                  <a:pos x="connsiteX4842" y="connsiteY4842"/>
                </a:cxn>
                <a:cxn ang="0">
                  <a:pos x="connsiteX4843" y="connsiteY4843"/>
                </a:cxn>
                <a:cxn ang="0">
                  <a:pos x="connsiteX4844" y="connsiteY4844"/>
                </a:cxn>
                <a:cxn ang="0">
                  <a:pos x="connsiteX4845" y="connsiteY4845"/>
                </a:cxn>
                <a:cxn ang="0">
                  <a:pos x="connsiteX4846" y="connsiteY4846"/>
                </a:cxn>
                <a:cxn ang="0">
                  <a:pos x="connsiteX4847" y="connsiteY4847"/>
                </a:cxn>
                <a:cxn ang="0">
                  <a:pos x="connsiteX4848" y="connsiteY4848"/>
                </a:cxn>
                <a:cxn ang="0">
                  <a:pos x="connsiteX4849" y="connsiteY4849"/>
                </a:cxn>
                <a:cxn ang="0">
                  <a:pos x="connsiteX4850" y="connsiteY4850"/>
                </a:cxn>
                <a:cxn ang="0">
                  <a:pos x="connsiteX4851" y="connsiteY4851"/>
                </a:cxn>
                <a:cxn ang="0">
                  <a:pos x="connsiteX4852" y="connsiteY4852"/>
                </a:cxn>
                <a:cxn ang="0">
                  <a:pos x="connsiteX4853" y="connsiteY4853"/>
                </a:cxn>
                <a:cxn ang="0">
                  <a:pos x="connsiteX4854" y="connsiteY4854"/>
                </a:cxn>
                <a:cxn ang="0">
                  <a:pos x="connsiteX4855" y="connsiteY4855"/>
                </a:cxn>
                <a:cxn ang="0">
                  <a:pos x="connsiteX4856" y="connsiteY4856"/>
                </a:cxn>
                <a:cxn ang="0">
                  <a:pos x="connsiteX4857" y="connsiteY4857"/>
                </a:cxn>
                <a:cxn ang="0">
                  <a:pos x="connsiteX4858" y="connsiteY4858"/>
                </a:cxn>
                <a:cxn ang="0">
                  <a:pos x="connsiteX4859" y="connsiteY4859"/>
                </a:cxn>
                <a:cxn ang="0">
                  <a:pos x="connsiteX4860" y="connsiteY4860"/>
                </a:cxn>
                <a:cxn ang="0">
                  <a:pos x="connsiteX4861" y="connsiteY4861"/>
                </a:cxn>
                <a:cxn ang="0">
                  <a:pos x="connsiteX4862" y="connsiteY4862"/>
                </a:cxn>
                <a:cxn ang="0">
                  <a:pos x="connsiteX4863" y="connsiteY4863"/>
                </a:cxn>
                <a:cxn ang="0">
                  <a:pos x="connsiteX4864" y="connsiteY4864"/>
                </a:cxn>
                <a:cxn ang="0">
                  <a:pos x="connsiteX4865" y="connsiteY4865"/>
                </a:cxn>
                <a:cxn ang="0">
                  <a:pos x="connsiteX4866" y="connsiteY4866"/>
                </a:cxn>
                <a:cxn ang="0">
                  <a:pos x="connsiteX4867" y="connsiteY4867"/>
                </a:cxn>
                <a:cxn ang="0">
                  <a:pos x="connsiteX4868" y="connsiteY4868"/>
                </a:cxn>
                <a:cxn ang="0">
                  <a:pos x="connsiteX4869" y="connsiteY4869"/>
                </a:cxn>
                <a:cxn ang="0">
                  <a:pos x="connsiteX4870" y="connsiteY4870"/>
                </a:cxn>
                <a:cxn ang="0">
                  <a:pos x="connsiteX4871" y="connsiteY4871"/>
                </a:cxn>
                <a:cxn ang="0">
                  <a:pos x="connsiteX4872" y="connsiteY4872"/>
                </a:cxn>
                <a:cxn ang="0">
                  <a:pos x="connsiteX4873" y="connsiteY4873"/>
                </a:cxn>
                <a:cxn ang="0">
                  <a:pos x="connsiteX4874" y="connsiteY4874"/>
                </a:cxn>
                <a:cxn ang="0">
                  <a:pos x="connsiteX4875" y="connsiteY4875"/>
                </a:cxn>
                <a:cxn ang="0">
                  <a:pos x="connsiteX4876" y="connsiteY4876"/>
                </a:cxn>
                <a:cxn ang="0">
                  <a:pos x="connsiteX4877" y="connsiteY4877"/>
                </a:cxn>
                <a:cxn ang="0">
                  <a:pos x="connsiteX4878" y="connsiteY4878"/>
                </a:cxn>
                <a:cxn ang="0">
                  <a:pos x="connsiteX4879" y="connsiteY4879"/>
                </a:cxn>
                <a:cxn ang="0">
                  <a:pos x="connsiteX4880" y="connsiteY4880"/>
                </a:cxn>
                <a:cxn ang="0">
                  <a:pos x="connsiteX4881" y="connsiteY4881"/>
                </a:cxn>
                <a:cxn ang="0">
                  <a:pos x="connsiteX4882" y="connsiteY4882"/>
                </a:cxn>
                <a:cxn ang="0">
                  <a:pos x="connsiteX4883" y="connsiteY4883"/>
                </a:cxn>
                <a:cxn ang="0">
                  <a:pos x="connsiteX4884" y="connsiteY4884"/>
                </a:cxn>
                <a:cxn ang="0">
                  <a:pos x="connsiteX4885" y="connsiteY4885"/>
                </a:cxn>
                <a:cxn ang="0">
                  <a:pos x="connsiteX4886" y="connsiteY4886"/>
                </a:cxn>
                <a:cxn ang="0">
                  <a:pos x="connsiteX4887" y="connsiteY4887"/>
                </a:cxn>
                <a:cxn ang="0">
                  <a:pos x="connsiteX4888" y="connsiteY4888"/>
                </a:cxn>
                <a:cxn ang="0">
                  <a:pos x="connsiteX4889" y="connsiteY4889"/>
                </a:cxn>
                <a:cxn ang="0">
                  <a:pos x="connsiteX4890" y="connsiteY4890"/>
                </a:cxn>
                <a:cxn ang="0">
                  <a:pos x="connsiteX4891" y="connsiteY4891"/>
                </a:cxn>
                <a:cxn ang="0">
                  <a:pos x="connsiteX4892" y="connsiteY4892"/>
                </a:cxn>
                <a:cxn ang="0">
                  <a:pos x="connsiteX4893" y="connsiteY4893"/>
                </a:cxn>
                <a:cxn ang="0">
                  <a:pos x="connsiteX4894" y="connsiteY4894"/>
                </a:cxn>
                <a:cxn ang="0">
                  <a:pos x="connsiteX4895" y="connsiteY4895"/>
                </a:cxn>
                <a:cxn ang="0">
                  <a:pos x="connsiteX4896" y="connsiteY4896"/>
                </a:cxn>
                <a:cxn ang="0">
                  <a:pos x="connsiteX4897" y="connsiteY4897"/>
                </a:cxn>
                <a:cxn ang="0">
                  <a:pos x="connsiteX4898" y="connsiteY4898"/>
                </a:cxn>
                <a:cxn ang="0">
                  <a:pos x="connsiteX4899" y="connsiteY4899"/>
                </a:cxn>
                <a:cxn ang="0">
                  <a:pos x="connsiteX4900" y="connsiteY4900"/>
                </a:cxn>
                <a:cxn ang="0">
                  <a:pos x="connsiteX4901" y="connsiteY4901"/>
                </a:cxn>
                <a:cxn ang="0">
                  <a:pos x="connsiteX4902" y="connsiteY4902"/>
                </a:cxn>
                <a:cxn ang="0">
                  <a:pos x="connsiteX4903" y="connsiteY4903"/>
                </a:cxn>
                <a:cxn ang="0">
                  <a:pos x="connsiteX4904" y="connsiteY4904"/>
                </a:cxn>
                <a:cxn ang="0">
                  <a:pos x="connsiteX4905" y="connsiteY4905"/>
                </a:cxn>
                <a:cxn ang="0">
                  <a:pos x="connsiteX4906" y="connsiteY4906"/>
                </a:cxn>
                <a:cxn ang="0">
                  <a:pos x="connsiteX4907" y="connsiteY4907"/>
                </a:cxn>
                <a:cxn ang="0">
                  <a:pos x="connsiteX4908" y="connsiteY4908"/>
                </a:cxn>
                <a:cxn ang="0">
                  <a:pos x="connsiteX4909" y="connsiteY4909"/>
                </a:cxn>
                <a:cxn ang="0">
                  <a:pos x="connsiteX4910" y="connsiteY4910"/>
                </a:cxn>
                <a:cxn ang="0">
                  <a:pos x="connsiteX4911" y="connsiteY4911"/>
                </a:cxn>
                <a:cxn ang="0">
                  <a:pos x="connsiteX4912" y="connsiteY4912"/>
                </a:cxn>
                <a:cxn ang="0">
                  <a:pos x="connsiteX4913" y="connsiteY4913"/>
                </a:cxn>
                <a:cxn ang="0">
                  <a:pos x="connsiteX4914" y="connsiteY4914"/>
                </a:cxn>
                <a:cxn ang="0">
                  <a:pos x="connsiteX4915" y="connsiteY4915"/>
                </a:cxn>
                <a:cxn ang="0">
                  <a:pos x="connsiteX4916" y="connsiteY4916"/>
                </a:cxn>
                <a:cxn ang="0">
                  <a:pos x="connsiteX4917" y="connsiteY4917"/>
                </a:cxn>
                <a:cxn ang="0">
                  <a:pos x="connsiteX4918" y="connsiteY4918"/>
                </a:cxn>
                <a:cxn ang="0">
                  <a:pos x="connsiteX4919" y="connsiteY4919"/>
                </a:cxn>
                <a:cxn ang="0">
                  <a:pos x="connsiteX4920" y="connsiteY4920"/>
                </a:cxn>
                <a:cxn ang="0">
                  <a:pos x="connsiteX4921" y="connsiteY4921"/>
                </a:cxn>
                <a:cxn ang="0">
                  <a:pos x="connsiteX4922" y="connsiteY4922"/>
                </a:cxn>
                <a:cxn ang="0">
                  <a:pos x="connsiteX4923" y="connsiteY4923"/>
                </a:cxn>
                <a:cxn ang="0">
                  <a:pos x="connsiteX4924" y="connsiteY4924"/>
                </a:cxn>
                <a:cxn ang="0">
                  <a:pos x="connsiteX4925" y="connsiteY4925"/>
                </a:cxn>
                <a:cxn ang="0">
                  <a:pos x="connsiteX4926" y="connsiteY4926"/>
                </a:cxn>
                <a:cxn ang="0">
                  <a:pos x="connsiteX4927" y="connsiteY4927"/>
                </a:cxn>
                <a:cxn ang="0">
                  <a:pos x="connsiteX4928" y="connsiteY4928"/>
                </a:cxn>
                <a:cxn ang="0">
                  <a:pos x="connsiteX4929" y="connsiteY4929"/>
                </a:cxn>
                <a:cxn ang="0">
                  <a:pos x="connsiteX4930" y="connsiteY4930"/>
                </a:cxn>
                <a:cxn ang="0">
                  <a:pos x="connsiteX4931" y="connsiteY4931"/>
                </a:cxn>
                <a:cxn ang="0">
                  <a:pos x="connsiteX4932" y="connsiteY4932"/>
                </a:cxn>
                <a:cxn ang="0">
                  <a:pos x="connsiteX4933" y="connsiteY4933"/>
                </a:cxn>
                <a:cxn ang="0">
                  <a:pos x="connsiteX4934" y="connsiteY4934"/>
                </a:cxn>
                <a:cxn ang="0">
                  <a:pos x="connsiteX4935" y="connsiteY4935"/>
                </a:cxn>
                <a:cxn ang="0">
                  <a:pos x="connsiteX4936" y="connsiteY4936"/>
                </a:cxn>
                <a:cxn ang="0">
                  <a:pos x="connsiteX4937" y="connsiteY4937"/>
                </a:cxn>
                <a:cxn ang="0">
                  <a:pos x="connsiteX4938" y="connsiteY4938"/>
                </a:cxn>
                <a:cxn ang="0">
                  <a:pos x="connsiteX4939" y="connsiteY4939"/>
                </a:cxn>
                <a:cxn ang="0">
                  <a:pos x="connsiteX4940" y="connsiteY4940"/>
                </a:cxn>
                <a:cxn ang="0">
                  <a:pos x="connsiteX4941" y="connsiteY4941"/>
                </a:cxn>
                <a:cxn ang="0">
                  <a:pos x="connsiteX4942" y="connsiteY4942"/>
                </a:cxn>
                <a:cxn ang="0">
                  <a:pos x="connsiteX4943" y="connsiteY4943"/>
                </a:cxn>
                <a:cxn ang="0">
                  <a:pos x="connsiteX4944" y="connsiteY4944"/>
                </a:cxn>
                <a:cxn ang="0">
                  <a:pos x="connsiteX4945" y="connsiteY4945"/>
                </a:cxn>
                <a:cxn ang="0">
                  <a:pos x="connsiteX4946" y="connsiteY4946"/>
                </a:cxn>
                <a:cxn ang="0">
                  <a:pos x="connsiteX4947" y="connsiteY4947"/>
                </a:cxn>
                <a:cxn ang="0">
                  <a:pos x="connsiteX4948" y="connsiteY4948"/>
                </a:cxn>
                <a:cxn ang="0">
                  <a:pos x="connsiteX4949" y="connsiteY4949"/>
                </a:cxn>
                <a:cxn ang="0">
                  <a:pos x="connsiteX4950" y="connsiteY4950"/>
                </a:cxn>
                <a:cxn ang="0">
                  <a:pos x="connsiteX4951" y="connsiteY4951"/>
                </a:cxn>
                <a:cxn ang="0">
                  <a:pos x="connsiteX4952" y="connsiteY4952"/>
                </a:cxn>
                <a:cxn ang="0">
                  <a:pos x="connsiteX4953" y="connsiteY4953"/>
                </a:cxn>
                <a:cxn ang="0">
                  <a:pos x="connsiteX4954" y="connsiteY4954"/>
                </a:cxn>
                <a:cxn ang="0">
                  <a:pos x="connsiteX4955" y="connsiteY4955"/>
                </a:cxn>
                <a:cxn ang="0">
                  <a:pos x="connsiteX4956" y="connsiteY4956"/>
                </a:cxn>
                <a:cxn ang="0">
                  <a:pos x="connsiteX4957" y="connsiteY4957"/>
                </a:cxn>
                <a:cxn ang="0">
                  <a:pos x="connsiteX4958" y="connsiteY4958"/>
                </a:cxn>
                <a:cxn ang="0">
                  <a:pos x="connsiteX4959" y="connsiteY4959"/>
                </a:cxn>
                <a:cxn ang="0">
                  <a:pos x="connsiteX4960" y="connsiteY4960"/>
                </a:cxn>
                <a:cxn ang="0">
                  <a:pos x="connsiteX4961" y="connsiteY4961"/>
                </a:cxn>
                <a:cxn ang="0">
                  <a:pos x="connsiteX4962" y="connsiteY4962"/>
                </a:cxn>
                <a:cxn ang="0">
                  <a:pos x="connsiteX4963" y="connsiteY4963"/>
                </a:cxn>
                <a:cxn ang="0">
                  <a:pos x="connsiteX4964" y="connsiteY4964"/>
                </a:cxn>
                <a:cxn ang="0">
                  <a:pos x="connsiteX4965" y="connsiteY4965"/>
                </a:cxn>
                <a:cxn ang="0">
                  <a:pos x="connsiteX4966" y="connsiteY4966"/>
                </a:cxn>
                <a:cxn ang="0">
                  <a:pos x="connsiteX4967" y="connsiteY4967"/>
                </a:cxn>
                <a:cxn ang="0">
                  <a:pos x="connsiteX4968" y="connsiteY4968"/>
                </a:cxn>
                <a:cxn ang="0">
                  <a:pos x="connsiteX4969" y="connsiteY4969"/>
                </a:cxn>
                <a:cxn ang="0">
                  <a:pos x="connsiteX4970" y="connsiteY4970"/>
                </a:cxn>
                <a:cxn ang="0">
                  <a:pos x="connsiteX4971" y="connsiteY4971"/>
                </a:cxn>
                <a:cxn ang="0">
                  <a:pos x="connsiteX4972" y="connsiteY4972"/>
                </a:cxn>
                <a:cxn ang="0">
                  <a:pos x="connsiteX4973" y="connsiteY4973"/>
                </a:cxn>
                <a:cxn ang="0">
                  <a:pos x="connsiteX4974" y="connsiteY4974"/>
                </a:cxn>
                <a:cxn ang="0">
                  <a:pos x="connsiteX4975" y="connsiteY4975"/>
                </a:cxn>
                <a:cxn ang="0">
                  <a:pos x="connsiteX4976" y="connsiteY4976"/>
                </a:cxn>
                <a:cxn ang="0">
                  <a:pos x="connsiteX4977" y="connsiteY4977"/>
                </a:cxn>
                <a:cxn ang="0">
                  <a:pos x="connsiteX4978" y="connsiteY4978"/>
                </a:cxn>
                <a:cxn ang="0">
                  <a:pos x="connsiteX4979" y="connsiteY4979"/>
                </a:cxn>
                <a:cxn ang="0">
                  <a:pos x="connsiteX4980" y="connsiteY4980"/>
                </a:cxn>
                <a:cxn ang="0">
                  <a:pos x="connsiteX4981" y="connsiteY4981"/>
                </a:cxn>
                <a:cxn ang="0">
                  <a:pos x="connsiteX4982" y="connsiteY4982"/>
                </a:cxn>
                <a:cxn ang="0">
                  <a:pos x="connsiteX4983" y="connsiteY4983"/>
                </a:cxn>
                <a:cxn ang="0">
                  <a:pos x="connsiteX4984" y="connsiteY4984"/>
                </a:cxn>
                <a:cxn ang="0">
                  <a:pos x="connsiteX4985" y="connsiteY4985"/>
                </a:cxn>
                <a:cxn ang="0">
                  <a:pos x="connsiteX4986" y="connsiteY4986"/>
                </a:cxn>
                <a:cxn ang="0">
                  <a:pos x="connsiteX4987" y="connsiteY4987"/>
                </a:cxn>
                <a:cxn ang="0">
                  <a:pos x="connsiteX4988" y="connsiteY4988"/>
                </a:cxn>
                <a:cxn ang="0">
                  <a:pos x="connsiteX4989" y="connsiteY4989"/>
                </a:cxn>
                <a:cxn ang="0">
                  <a:pos x="connsiteX4990" y="connsiteY4990"/>
                </a:cxn>
                <a:cxn ang="0">
                  <a:pos x="connsiteX4991" y="connsiteY4991"/>
                </a:cxn>
                <a:cxn ang="0">
                  <a:pos x="connsiteX4992" y="connsiteY4992"/>
                </a:cxn>
                <a:cxn ang="0">
                  <a:pos x="connsiteX4993" y="connsiteY4993"/>
                </a:cxn>
                <a:cxn ang="0">
                  <a:pos x="connsiteX4994" y="connsiteY4994"/>
                </a:cxn>
                <a:cxn ang="0">
                  <a:pos x="connsiteX4995" y="connsiteY4995"/>
                </a:cxn>
                <a:cxn ang="0">
                  <a:pos x="connsiteX4996" y="connsiteY4996"/>
                </a:cxn>
                <a:cxn ang="0">
                  <a:pos x="connsiteX4997" y="connsiteY4997"/>
                </a:cxn>
                <a:cxn ang="0">
                  <a:pos x="connsiteX4998" y="connsiteY4998"/>
                </a:cxn>
                <a:cxn ang="0">
                  <a:pos x="connsiteX4999" y="connsiteY4999"/>
                </a:cxn>
                <a:cxn ang="0">
                  <a:pos x="connsiteX5000" y="connsiteY5000"/>
                </a:cxn>
                <a:cxn ang="0">
                  <a:pos x="connsiteX5001" y="connsiteY5001"/>
                </a:cxn>
                <a:cxn ang="0">
                  <a:pos x="connsiteX5002" y="connsiteY5002"/>
                </a:cxn>
                <a:cxn ang="0">
                  <a:pos x="connsiteX5003" y="connsiteY5003"/>
                </a:cxn>
                <a:cxn ang="0">
                  <a:pos x="connsiteX5004" y="connsiteY5004"/>
                </a:cxn>
                <a:cxn ang="0">
                  <a:pos x="connsiteX5005" y="connsiteY5005"/>
                </a:cxn>
                <a:cxn ang="0">
                  <a:pos x="connsiteX5006" y="connsiteY5006"/>
                </a:cxn>
                <a:cxn ang="0">
                  <a:pos x="connsiteX5007" y="connsiteY5007"/>
                </a:cxn>
                <a:cxn ang="0">
                  <a:pos x="connsiteX5008" y="connsiteY5008"/>
                </a:cxn>
                <a:cxn ang="0">
                  <a:pos x="connsiteX5009" y="connsiteY5009"/>
                </a:cxn>
                <a:cxn ang="0">
                  <a:pos x="connsiteX5010" y="connsiteY5010"/>
                </a:cxn>
                <a:cxn ang="0">
                  <a:pos x="connsiteX5011" y="connsiteY5011"/>
                </a:cxn>
                <a:cxn ang="0">
                  <a:pos x="connsiteX5012" y="connsiteY5012"/>
                </a:cxn>
                <a:cxn ang="0">
                  <a:pos x="connsiteX5013" y="connsiteY5013"/>
                </a:cxn>
                <a:cxn ang="0">
                  <a:pos x="connsiteX5014" y="connsiteY5014"/>
                </a:cxn>
                <a:cxn ang="0">
                  <a:pos x="connsiteX5015" y="connsiteY5015"/>
                </a:cxn>
                <a:cxn ang="0">
                  <a:pos x="connsiteX5016" y="connsiteY5016"/>
                </a:cxn>
                <a:cxn ang="0">
                  <a:pos x="connsiteX5017" y="connsiteY5017"/>
                </a:cxn>
                <a:cxn ang="0">
                  <a:pos x="connsiteX5018" y="connsiteY5018"/>
                </a:cxn>
                <a:cxn ang="0">
                  <a:pos x="connsiteX5019" y="connsiteY5019"/>
                </a:cxn>
                <a:cxn ang="0">
                  <a:pos x="connsiteX5020" y="connsiteY5020"/>
                </a:cxn>
                <a:cxn ang="0">
                  <a:pos x="connsiteX5021" y="connsiteY5021"/>
                </a:cxn>
                <a:cxn ang="0">
                  <a:pos x="connsiteX5022" y="connsiteY5022"/>
                </a:cxn>
                <a:cxn ang="0">
                  <a:pos x="connsiteX5023" y="connsiteY5023"/>
                </a:cxn>
                <a:cxn ang="0">
                  <a:pos x="connsiteX5024" y="connsiteY5024"/>
                </a:cxn>
                <a:cxn ang="0">
                  <a:pos x="connsiteX5025" y="connsiteY5025"/>
                </a:cxn>
                <a:cxn ang="0">
                  <a:pos x="connsiteX5026" y="connsiteY5026"/>
                </a:cxn>
                <a:cxn ang="0">
                  <a:pos x="connsiteX5027" y="connsiteY5027"/>
                </a:cxn>
                <a:cxn ang="0">
                  <a:pos x="connsiteX5028" y="connsiteY5028"/>
                </a:cxn>
                <a:cxn ang="0">
                  <a:pos x="connsiteX5029" y="connsiteY5029"/>
                </a:cxn>
                <a:cxn ang="0">
                  <a:pos x="connsiteX5030" y="connsiteY5030"/>
                </a:cxn>
                <a:cxn ang="0">
                  <a:pos x="connsiteX5031" y="connsiteY5031"/>
                </a:cxn>
                <a:cxn ang="0">
                  <a:pos x="connsiteX5032" y="connsiteY5032"/>
                </a:cxn>
                <a:cxn ang="0">
                  <a:pos x="connsiteX5033" y="connsiteY5033"/>
                </a:cxn>
                <a:cxn ang="0">
                  <a:pos x="connsiteX5034" y="connsiteY5034"/>
                </a:cxn>
                <a:cxn ang="0">
                  <a:pos x="connsiteX5035" y="connsiteY5035"/>
                </a:cxn>
                <a:cxn ang="0">
                  <a:pos x="connsiteX5036" y="connsiteY5036"/>
                </a:cxn>
                <a:cxn ang="0">
                  <a:pos x="connsiteX5037" y="connsiteY5037"/>
                </a:cxn>
                <a:cxn ang="0">
                  <a:pos x="connsiteX5038" y="connsiteY5038"/>
                </a:cxn>
                <a:cxn ang="0">
                  <a:pos x="connsiteX5039" y="connsiteY5039"/>
                </a:cxn>
                <a:cxn ang="0">
                  <a:pos x="connsiteX5040" y="connsiteY5040"/>
                </a:cxn>
                <a:cxn ang="0">
                  <a:pos x="connsiteX5041" y="connsiteY5041"/>
                </a:cxn>
                <a:cxn ang="0">
                  <a:pos x="connsiteX5042" y="connsiteY5042"/>
                </a:cxn>
                <a:cxn ang="0">
                  <a:pos x="connsiteX5043" y="connsiteY5043"/>
                </a:cxn>
                <a:cxn ang="0">
                  <a:pos x="connsiteX5044" y="connsiteY5044"/>
                </a:cxn>
                <a:cxn ang="0">
                  <a:pos x="connsiteX5045" y="connsiteY5045"/>
                </a:cxn>
                <a:cxn ang="0">
                  <a:pos x="connsiteX5046" y="connsiteY5046"/>
                </a:cxn>
                <a:cxn ang="0">
                  <a:pos x="connsiteX5047" y="connsiteY5047"/>
                </a:cxn>
                <a:cxn ang="0">
                  <a:pos x="connsiteX5048" y="connsiteY5048"/>
                </a:cxn>
                <a:cxn ang="0">
                  <a:pos x="connsiteX5049" y="connsiteY5049"/>
                </a:cxn>
                <a:cxn ang="0">
                  <a:pos x="connsiteX5050" y="connsiteY5050"/>
                </a:cxn>
                <a:cxn ang="0">
                  <a:pos x="connsiteX5051" y="connsiteY5051"/>
                </a:cxn>
                <a:cxn ang="0">
                  <a:pos x="connsiteX5052" y="connsiteY5052"/>
                </a:cxn>
                <a:cxn ang="0">
                  <a:pos x="connsiteX5053" y="connsiteY5053"/>
                </a:cxn>
                <a:cxn ang="0">
                  <a:pos x="connsiteX5054" y="connsiteY5054"/>
                </a:cxn>
                <a:cxn ang="0">
                  <a:pos x="connsiteX5055" y="connsiteY5055"/>
                </a:cxn>
                <a:cxn ang="0">
                  <a:pos x="connsiteX5056" y="connsiteY5056"/>
                </a:cxn>
                <a:cxn ang="0">
                  <a:pos x="connsiteX5057" y="connsiteY5057"/>
                </a:cxn>
                <a:cxn ang="0">
                  <a:pos x="connsiteX5058" y="connsiteY5058"/>
                </a:cxn>
                <a:cxn ang="0">
                  <a:pos x="connsiteX5059" y="connsiteY5059"/>
                </a:cxn>
                <a:cxn ang="0">
                  <a:pos x="connsiteX5060" y="connsiteY5060"/>
                </a:cxn>
                <a:cxn ang="0">
                  <a:pos x="connsiteX5061" y="connsiteY5061"/>
                </a:cxn>
                <a:cxn ang="0">
                  <a:pos x="connsiteX5062" y="connsiteY5062"/>
                </a:cxn>
                <a:cxn ang="0">
                  <a:pos x="connsiteX5063" y="connsiteY5063"/>
                </a:cxn>
                <a:cxn ang="0">
                  <a:pos x="connsiteX5064" y="connsiteY5064"/>
                </a:cxn>
                <a:cxn ang="0">
                  <a:pos x="connsiteX5065" y="connsiteY5065"/>
                </a:cxn>
                <a:cxn ang="0">
                  <a:pos x="connsiteX5066" y="connsiteY5066"/>
                </a:cxn>
                <a:cxn ang="0">
                  <a:pos x="connsiteX5067" y="connsiteY5067"/>
                </a:cxn>
                <a:cxn ang="0">
                  <a:pos x="connsiteX5068" y="connsiteY5068"/>
                </a:cxn>
                <a:cxn ang="0">
                  <a:pos x="connsiteX5069" y="connsiteY5069"/>
                </a:cxn>
                <a:cxn ang="0">
                  <a:pos x="connsiteX5070" y="connsiteY5070"/>
                </a:cxn>
                <a:cxn ang="0">
                  <a:pos x="connsiteX5071" y="connsiteY5071"/>
                </a:cxn>
                <a:cxn ang="0">
                  <a:pos x="connsiteX5072" y="connsiteY5072"/>
                </a:cxn>
                <a:cxn ang="0">
                  <a:pos x="connsiteX5073" y="connsiteY5073"/>
                </a:cxn>
                <a:cxn ang="0">
                  <a:pos x="connsiteX5074" y="connsiteY5074"/>
                </a:cxn>
                <a:cxn ang="0">
                  <a:pos x="connsiteX5075" y="connsiteY5075"/>
                </a:cxn>
                <a:cxn ang="0">
                  <a:pos x="connsiteX5076" y="connsiteY5076"/>
                </a:cxn>
                <a:cxn ang="0">
                  <a:pos x="connsiteX5077" y="connsiteY5077"/>
                </a:cxn>
                <a:cxn ang="0">
                  <a:pos x="connsiteX5078" y="connsiteY5078"/>
                </a:cxn>
                <a:cxn ang="0">
                  <a:pos x="connsiteX5079" y="connsiteY5079"/>
                </a:cxn>
                <a:cxn ang="0">
                  <a:pos x="connsiteX5080" y="connsiteY5080"/>
                </a:cxn>
                <a:cxn ang="0">
                  <a:pos x="connsiteX5081" y="connsiteY5081"/>
                </a:cxn>
                <a:cxn ang="0">
                  <a:pos x="connsiteX5082" y="connsiteY5082"/>
                </a:cxn>
                <a:cxn ang="0">
                  <a:pos x="connsiteX5083" y="connsiteY5083"/>
                </a:cxn>
                <a:cxn ang="0">
                  <a:pos x="connsiteX5084" y="connsiteY5084"/>
                </a:cxn>
                <a:cxn ang="0">
                  <a:pos x="connsiteX5085" y="connsiteY5085"/>
                </a:cxn>
                <a:cxn ang="0">
                  <a:pos x="connsiteX5086" y="connsiteY5086"/>
                </a:cxn>
                <a:cxn ang="0">
                  <a:pos x="connsiteX5087" y="connsiteY5087"/>
                </a:cxn>
                <a:cxn ang="0">
                  <a:pos x="connsiteX5088" y="connsiteY5088"/>
                </a:cxn>
                <a:cxn ang="0">
                  <a:pos x="connsiteX5089" y="connsiteY5089"/>
                </a:cxn>
                <a:cxn ang="0">
                  <a:pos x="connsiteX5090" y="connsiteY5090"/>
                </a:cxn>
                <a:cxn ang="0">
                  <a:pos x="connsiteX5091" y="connsiteY5091"/>
                </a:cxn>
                <a:cxn ang="0">
                  <a:pos x="connsiteX5092" y="connsiteY5092"/>
                </a:cxn>
                <a:cxn ang="0">
                  <a:pos x="connsiteX5093" y="connsiteY5093"/>
                </a:cxn>
                <a:cxn ang="0">
                  <a:pos x="connsiteX5094" y="connsiteY5094"/>
                </a:cxn>
                <a:cxn ang="0">
                  <a:pos x="connsiteX5095" y="connsiteY5095"/>
                </a:cxn>
                <a:cxn ang="0">
                  <a:pos x="connsiteX5096" y="connsiteY5096"/>
                </a:cxn>
                <a:cxn ang="0">
                  <a:pos x="connsiteX5097" y="connsiteY5097"/>
                </a:cxn>
                <a:cxn ang="0">
                  <a:pos x="connsiteX5098" y="connsiteY5098"/>
                </a:cxn>
                <a:cxn ang="0">
                  <a:pos x="connsiteX5099" y="connsiteY5099"/>
                </a:cxn>
                <a:cxn ang="0">
                  <a:pos x="connsiteX5100" y="connsiteY5100"/>
                </a:cxn>
                <a:cxn ang="0">
                  <a:pos x="connsiteX5101" y="connsiteY5101"/>
                </a:cxn>
                <a:cxn ang="0">
                  <a:pos x="connsiteX5102" y="connsiteY5102"/>
                </a:cxn>
                <a:cxn ang="0">
                  <a:pos x="connsiteX5103" y="connsiteY5103"/>
                </a:cxn>
                <a:cxn ang="0">
                  <a:pos x="connsiteX5104" y="connsiteY5104"/>
                </a:cxn>
                <a:cxn ang="0">
                  <a:pos x="connsiteX5105" y="connsiteY5105"/>
                </a:cxn>
                <a:cxn ang="0">
                  <a:pos x="connsiteX5106" y="connsiteY5106"/>
                </a:cxn>
                <a:cxn ang="0">
                  <a:pos x="connsiteX5107" y="connsiteY5107"/>
                </a:cxn>
                <a:cxn ang="0">
                  <a:pos x="connsiteX5108" y="connsiteY5108"/>
                </a:cxn>
                <a:cxn ang="0">
                  <a:pos x="connsiteX5109" y="connsiteY5109"/>
                </a:cxn>
                <a:cxn ang="0">
                  <a:pos x="connsiteX5110" y="connsiteY5110"/>
                </a:cxn>
                <a:cxn ang="0">
                  <a:pos x="connsiteX5111" y="connsiteY5111"/>
                </a:cxn>
                <a:cxn ang="0">
                  <a:pos x="connsiteX5112" y="connsiteY5112"/>
                </a:cxn>
                <a:cxn ang="0">
                  <a:pos x="connsiteX5113" y="connsiteY5113"/>
                </a:cxn>
                <a:cxn ang="0">
                  <a:pos x="connsiteX5114" y="connsiteY5114"/>
                </a:cxn>
                <a:cxn ang="0">
                  <a:pos x="connsiteX5115" y="connsiteY5115"/>
                </a:cxn>
                <a:cxn ang="0">
                  <a:pos x="connsiteX5116" y="connsiteY5116"/>
                </a:cxn>
                <a:cxn ang="0">
                  <a:pos x="connsiteX5117" y="connsiteY5117"/>
                </a:cxn>
                <a:cxn ang="0">
                  <a:pos x="connsiteX5118" y="connsiteY5118"/>
                </a:cxn>
                <a:cxn ang="0">
                  <a:pos x="connsiteX5119" y="connsiteY5119"/>
                </a:cxn>
                <a:cxn ang="0">
                  <a:pos x="connsiteX5120" y="connsiteY5120"/>
                </a:cxn>
                <a:cxn ang="0">
                  <a:pos x="connsiteX5121" y="connsiteY5121"/>
                </a:cxn>
                <a:cxn ang="0">
                  <a:pos x="connsiteX5122" y="connsiteY5122"/>
                </a:cxn>
                <a:cxn ang="0">
                  <a:pos x="connsiteX5123" y="connsiteY5123"/>
                </a:cxn>
                <a:cxn ang="0">
                  <a:pos x="connsiteX5124" y="connsiteY5124"/>
                </a:cxn>
                <a:cxn ang="0">
                  <a:pos x="connsiteX5125" y="connsiteY5125"/>
                </a:cxn>
                <a:cxn ang="0">
                  <a:pos x="connsiteX5126" y="connsiteY5126"/>
                </a:cxn>
                <a:cxn ang="0">
                  <a:pos x="connsiteX5127" y="connsiteY5127"/>
                </a:cxn>
                <a:cxn ang="0">
                  <a:pos x="connsiteX5128" y="connsiteY5128"/>
                </a:cxn>
                <a:cxn ang="0">
                  <a:pos x="connsiteX5129" y="connsiteY5129"/>
                </a:cxn>
                <a:cxn ang="0">
                  <a:pos x="connsiteX5130" y="connsiteY5130"/>
                </a:cxn>
                <a:cxn ang="0">
                  <a:pos x="connsiteX5131" y="connsiteY5131"/>
                </a:cxn>
                <a:cxn ang="0">
                  <a:pos x="connsiteX5132" y="connsiteY5132"/>
                </a:cxn>
                <a:cxn ang="0">
                  <a:pos x="connsiteX5133" y="connsiteY5133"/>
                </a:cxn>
                <a:cxn ang="0">
                  <a:pos x="connsiteX5134" y="connsiteY5134"/>
                </a:cxn>
                <a:cxn ang="0">
                  <a:pos x="connsiteX5135" y="connsiteY5135"/>
                </a:cxn>
                <a:cxn ang="0">
                  <a:pos x="connsiteX5136" y="connsiteY5136"/>
                </a:cxn>
                <a:cxn ang="0">
                  <a:pos x="connsiteX5137" y="connsiteY5137"/>
                </a:cxn>
                <a:cxn ang="0">
                  <a:pos x="connsiteX5138" y="connsiteY5138"/>
                </a:cxn>
                <a:cxn ang="0">
                  <a:pos x="connsiteX5139" y="connsiteY5139"/>
                </a:cxn>
                <a:cxn ang="0">
                  <a:pos x="connsiteX5140" y="connsiteY5140"/>
                </a:cxn>
                <a:cxn ang="0">
                  <a:pos x="connsiteX5141" y="connsiteY5141"/>
                </a:cxn>
                <a:cxn ang="0">
                  <a:pos x="connsiteX5142" y="connsiteY5142"/>
                </a:cxn>
                <a:cxn ang="0">
                  <a:pos x="connsiteX5143" y="connsiteY5143"/>
                </a:cxn>
                <a:cxn ang="0">
                  <a:pos x="connsiteX5144" y="connsiteY5144"/>
                </a:cxn>
                <a:cxn ang="0">
                  <a:pos x="connsiteX5145" y="connsiteY5145"/>
                </a:cxn>
                <a:cxn ang="0">
                  <a:pos x="connsiteX5146" y="connsiteY5146"/>
                </a:cxn>
                <a:cxn ang="0">
                  <a:pos x="connsiteX5147" y="connsiteY5147"/>
                </a:cxn>
                <a:cxn ang="0">
                  <a:pos x="connsiteX5148" y="connsiteY5148"/>
                </a:cxn>
                <a:cxn ang="0">
                  <a:pos x="connsiteX5149" y="connsiteY5149"/>
                </a:cxn>
                <a:cxn ang="0">
                  <a:pos x="connsiteX5150" y="connsiteY5150"/>
                </a:cxn>
                <a:cxn ang="0">
                  <a:pos x="connsiteX5151" y="connsiteY5151"/>
                </a:cxn>
                <a:cxn ang="0">
                  <a:pos x="connsiteX5152" y="connsiteY5152"/>
                </a:cxn>
                <a:cxn ang="0">
                  <a:pos x="connsiteX5153" y="connsiteY5153"/>
                </a:cxn>
                <a:cxn ang="0">
                  <a:pos x="connsiteX5154" y="connsiteY5154"/>
                </a:cxn>
                <a:cxn ang="0">
                  <a:pos x="connsiteX5155" y="connsiteY5155"/>
                </a:cxn>
                <a:cxn ang="0">
                  <a:pos x="connsiteX5156" y="connsiteY5156"/>
                </a:cxn>
                <a:cxn ang="0">
                  <a:pos x="connsiteX5157" y="connsiteY5157"/>
                </a:cxn>
                <a:cxn ang="0">
                  <a:pos x="connsiteX5158" y="connsiteY5158"/>
                </a:cxn>
                <a:cxn ang="0">
                  <a:pos x="connsiteX5159" y="connsiteY5159"/>
                </a:cxn>
                <a:cxn ang="0">
                  <a:pos x="connsiteX5160" y="connsiteY5160"/>
                </a:cxn>
                <a:cxn ang="0">
                  <a:pos x="connsiteX5161" y="connsiteY5161"/>
                </a:cxn>
                <a:cxn ang="0">
                  <a:pos x="connsiteX5162" y="connsiteY5162"/>
                </a:cxn>
                <a:cxn ang="0">
                  <a:pos x="connsiteX5163" y="connsiteY5163"/>
                </a:cxn>
                <a:cxn ang="0">
                  <a:pos x="connsiteX5164" y="connsiteY5164"/>
                </a:cxn>
                <a:cxn ang="0">
                  <a:pos x="connsiteX5165" y="connsiteY5165"/>
                </a:cxn>
                <a:cxn ang="0">
                  <a:pos x="connsiteX5166" y="connsiteY5166"/>
                </a:cxn>
                <a:cxn ang="0">
                  <a:pos x="connsiteX5167" y="connsiteY5167"/>
                </a:cxn>
                <a:cxn ang="0">
                  <a:pos x="connsiteX5168" y="connsiteY5168"/>
                </a:cxn>
                <a:cxn ang="0">
                  <a:pos x="connsiteX5169" y="connsiteY5169"/>
                </a:cxn>
                <a:cxn ang="0">
                  <a:pos x="connsiteX5170" y="connsiteY5170"/>
                </a:cxn>
                <a:cxn ang="0">
                  <a:pos x="connsiteX5171" y="connsiteY5171"/>
                </a:cxn>
                <a:cxn ang="0">
                  <a:pos x="connsiteX5172" y="connsiteY5172"/>
                </a:cxn>
                <a:cxn ang="0">
                  <a:pos x="connsiteX5173" y="connsiteY5173"/>
                </a:cxn>
                <a:cxn ang="0">
                  <a:pos x="connsiteX5174" y="connsiteY5174"/>
                </a:cxn>
                <a:cxn ang="0">
                  <a:pos x="connsiteX5175" y="connsiteY5175"/>
                </a:cxn>
                <a:cxn ang="0">
                  <a:pos x="connsiteX5176" y="connsiteY5176"/>
                </a:cxn>
                <a:cxn ang="0">
                  <a:pos x="connsiteX5177" y="connsiteY5177"/>
                </a:cxn>
                <a:cxn ang="0">
                  <a:pos x="connsiteX5178" y="connsiteY5178"/>
                </a:cxn>
                <a:cxn ang="0">
                  <a:pos x="connsiteX5179" y="connsiteY5179"/>
                </a:cxn>
                <a:cxn ang="0">
                  <a:pos x="connsiteX5180" y="connsiteY5180"/>
                </a:cxn>
                <a:cxn ang="0">
                  <a:pos x="connsiteX5181" y="connsiteY5181"/>
                </a:cxn>
                <a:cxn ang="0">
                  <a:pos x="connsiteX5182" y="connsiteY5182"/>
                </a:cxn>
                <a:cxn ang="0">
                  <a:pos x="connsiteX5183" y="connsiteY5183"/>
                </a:cxn>
                <a:cxn ang="0">
                  <a:pos x="connsiteX5184" y="connsiteY5184"/>
                </a:cxn>
                <a:cxn ang="0">
                  <a:pos x="connsiteX5185" y="connsiteY5185"/>
                </a:cxn>
                <a:cxn ang="0">
                  <a:pos x="connsiteX5186" y="connsiteY5186"/>
                </a:cxn>
                <a:cxn ang="0">
                  <a:pos x="connsiteX5187" y="connsiteY5187"/>
                </a:cxn>
                <a:cxn ang="0">
                  <a:pos x="connsiteX5188" y="connsiteY5188"/>
                </a:cxn>
                <a:cxn ang="0">
                  <a:pos x="connsiteX5189" y="connsiteY5189"/>
                </a:cxn>
                <a:cxn ang="0">
                  <a:pos x="connsiteX5190" y="connsiteY5190"/>
                </a:cxn>
                <a:cxn ang="0">
                  <a:pos x="connsiteX5191" y="connsiteY5191"/>
                </a:cxn>
                <a:cxn ang="0">
                  <a:pos x="connsiteX5192" y="connsiteY5192"/>
                </a:cxn>
                <a:cxn ang="0">
                  <a:pos x="connsiteX5193" y="connsiteY5193"/>
                </a:cxn>
                <a:cxn ang="0">
                  <a:pos x="connsiteX5194" y="connsiteY5194"/>
                </a:cxn>
                <a:cxn ang="0">
                  <a:pos x="connsiteX5195" y="connsiteY5195"/>
                </a:cxn>
                <a:cxn ang="0">
                  <a:pos x="connsiteX5196" y="connsiteY5196"/>
                </a:cxn>
                <a:cxn ang="0">
                  <a:pos x="connsiteX5197" y="connsiteY5197"/>
                </a:cxn>
                <a:cxn ang="0">
                  <a:pos x="connsiteX5198" y="connsiteY5198"/>
                </a:cxn>
                <a:cxn ang="0">
                  <a:pos x="connsiteX5199" y="connsiteY5199"/>
                </a:cxn>
                <a:cxn ang="0">
                  <a:pos x="connsiteX5200" y="connsiteY5200"/>
                </a:cxn>
                <a:cxn ang="0">
                  <a:pos x="connsiteX5201" y="connsiteY5201"/>
                </a:cxn>
                <a:cxn ang="0">
                  <a:pos x="connsiteX5202" y="connsiteY5202"/>
                </a:cxn>
                <a:cxn ang="0">
                  <a:pos x="connsiteX5203" y="connsiteY5203"/>
                </a:cxn>
                <a:cxn ang="0">
                  <a:pos x="connsiteX5204" y="connsiteY5204"/>
                </a:cxn>
                <a:cxn ang="0">
                  <a:pos x="connsiteX5205" y="connsiteY5205"/>
                </a:cxn>
                <a:cxn ang="0">
                  <a:pos x="connsiteX5206" y="connsiteY5206"/>
                </a:cxn>
                <a:cxn ang="0">
                  <a:pos x="connsiteX5207" y="connsiteY5207"/>
                </a:cxn>
                <a:cxn ang="0">
                  <a:pos x="connsiteX5208" y="connsiteY5208"/>
                </a:cxn>
                <a:cxn ang="0">
                  <a:pos x="connsiteX5209" y="connsiteY5209"/>
                </a:cxn>
                <a:cxn ang="0">
                  <a:pos x="connsiteX5210" y="connsiteY5210"/>
                </a:cxn>
                <a:cxn ang="0">
                  <a:pos x="connsiteX5211" y="connsiteY5211"/>
                </a:cxn>
                <a:cxn ang="0">
                  <a:pos x="connsiteX5212" y="connsiteY5212"/>
                </a:cxn>
                <a:cxn ang="0">
                  <a:pos x="connsiteX5213" y="connsiteY5213"/>
                </a:cxn>
                <a:cxn ang="0">
                  <a:pos x="connsiteX5214" y="connsiteY5214"/>
                </a:cxn>
                <a:cxn ang="0">
                  <a:pos x="connsiteX5215" y="connsiteY5215"/>
                </a:cxn>
                <a:cxn ang="0">
                  <a:pos x="connsiteX5216" y="connsiteY5216"/>
                </a:cxn>
                <a:cxn ang="0">
                  <a:pos x="connsiteX5217" y="connsiteY5217"/>
                </a:cxn>
                <a:cxn ang="0">
                  <a:pos x="connsiteX5218" y="connsiteY5218"/>
                </a:cxn>
                <a:cxn ang="0">
                  <a:pos x="connsiteX5219" y="connsiteY5219"/>
                </a:cxn>
                <a:cxn ang="0">
                  <a:pos x="connsiteX5220" y="connsiteY5220"/>
                </a:cxn>
                <a:cxn ang="0">
                  <a:pos x="connsiteX5221" y="connsiteY5221"/>
                </a:cxn>
                <a:cxn ang="0">
                  <a:pos x="connsiteX5222" y="connsiteY5222"/>
                </a:cxn>
                <a:cxn ang="0">
                  <a:pos x="connsiteX5223" y="connsiteY5223"/>
                </a:cxn>
                <a:cxn ang="0">
                  <a:pos x="connsiteX5224" y="connsiteY5224"/>
                </a:cxn>
                <a:cxn ang="0">
                  <a:pos x="connsiteX5225" y="connsiteY5225"/>
                </a:cxn>
                <a:cxn ang="0">
                  <a:pos x="connsiteX5226" y="connsiteY5226"/>
                </a:cxn>
                <a:cxn ang="0">
                  <a:pos x="connsiteX5227" y="connsiteY5227"/>
                </a:cxn>
                <a:cxn ang="0">
                  <a:pos x="connsiteX5228" y="connsiteY5228"/>
                </a:cxn>
                <a:cxn ang="0">
                  <a:pos x="connsiteX5229" y="connsiteY5229"/>
                </a:cxn>
                <a:cxn ang="0">
                  <a:pos x="connsiteX5230" y="connsiteY5230"/>
                </a:cxn>
                <a:cxn ang="0">
                  <a:pos x="connsiteX5231" y="connsiteY5231"/>
                </a:cxn>
                <a:cxn ang="0">
                  <a:pos x="connsiteX5232" y="connsiteY5232"/>
                </a:cxn>
                <a:cxn ang="0">
                  <a:pos x="connsiteX5233" y="connsiteY5233"/>
                </a:cxn>
                <a:cxn ang="0">
                  <a:pos x="connsiteX5234" y="connsiteY5234"/>
                </a:cxn>
                <a:cxn ang="0">
                  <a:pos x="connsiteX5235" y="connsiteY5235"/>
                </a:cxn>
                <a:cxn ang="0">
                  <a:pos x="connsiteX5236" y="connsiteY5236"/>
                </a:cxn>
                <a:cxn ang="0">
                  <a:pos x="connsiteX5237" y="connsiteY5237"/>
                </a:cxn>
                <a:cxn ang="0">
                  <a:pos x="connsiteX5238" y="connsiteY5238"/>
                </a:cxn>
                <a:cxn ang="0">
                  <a:pos x="connsiteX5239" y="connsiteY5239"/>
                </a:cxn>
                <a:cxn ang="0">
                  <a:pos x="connsiteX5240" y="connsiteY5240"/>
                </a:cxn>
                <a:cxn ang="0">
                  <a:pos x="connsiteX5241" y="connsiteY5241"/>
                </a:cxn>
                <a:cxn ang="0">
                  <a:pos x="connsiteX5242" y="connsiteY5242"/>
                </a:cxn>
                <a:cxn ang="0">
                  <a:pos x="connsiteX5243" y="connsiteY5243"/>
                </a:cxn>
                <a:cxn ang="0">
                  <a:pos x="connsiteX5244" y="connsiteY5244"/>
                </a:cxn>
                <a:cxn ang="0">
                  <a:pos x="connsiteX5245" y="connsiteY5245"/>
                </a:cxn>
                <a:cxn ang="0">
                  <a:pos x="connsiteX5246" y="connsiteY5246"/>
                </a:cxn>
                <a:cxn ang="0">
                  <a:pos x="connsiteX5247" y="connsiteY5247"/>
                </a:cxn>
                <a:cxn ang="0">
                  <a:pos x="connsiteX5248" y="connsiteY5248"/>
                </a:cxn>
                <a:cxn ang="0">
                  <a:pos x="connsiteX5249" y="connsiteY5249"/>
                </a:cxn>
                <a:cxn ang="0">
                  <a:pos x="connsiteX5250" y="connsiteY5250"/>
                </a:cxn>
                <a:cxn ang="0">
                  <a:pos x="connsiteX5251" y="connsiteY5251"/>
                </a:cxn>
                <a:cxn ang="0">
                  <a:pos x="connsiteX5252" y="connsiteY5252"/>
                </a:cxn>
                <a:cxn ang="0">
                  <a:pos x="connsiteX5253" y="connsiteY5253"/>
                </a:cxn>
                <a:cxn ang="0">
                  <a:pos x="connsiteX5254" y="connsiteY5254"/>
                </a:cxn>
                <a:cxn ang="0">
                  <a:pos x="connsiteX5255" y="connsiteY5255"/>
                </a:cxn>
                <a:cxn ang="0">
                  <a:pos x="connsiteX5256" y="connsiteY5256"/>
                </a:cxn>
                <a:cxn ang="0">
                  <a:pos x="connsiteX5257" y="connsiteY5257"/>
                </a:cxn>
                <a:cxn ang="0">
                  <a:pos x="connsiteX5258" y="connsiteY5258"/>
                </a:cxn>
                <a:cxn ang="0">
                  <a:pos x="connsiteX5259" y="connsiteY5259"/>
                </a:cxn>
                <a:cxn ang="0">
                  <a:pos x="connsiteX5260" y="connsiteY5260"/>
                </a:cxn>
                <a:cxn ang="0">
                  <a:pos x="connsiteX5261" y="connsiteY5261"/>
                </a:cxn>
                <a:cxn ang="0">
                  <a:pos x="connsiteX5262" y="connsiteY5262"/>
                </a:cxn>
                <a:cxn ang="0">
                  <a:pos x="connsiteX5263" y="connsiteY5263"/>
                </a:cxn>
                <a:cxn ang="0">
                  <a:pos x="connsiteX5264" y="connsiteY5264"/>
                </a:cxn>
                <a:cxn ang="0">
                  <a:pos x="connsiteX5265" y="connsiteY5265"/>
                </a:cxn>
                <a:cxn ang="0">
                  <a:pos x="connsiteX5266" y="connsiteY5266"/>
                </a:cxn>
                <a:cxn ang="0">
                  <a:pos x="connsiteX5267" y="connsiteY5267"/>
                </a:cxn>
                <a:cxn ang="0">
                  <a:pos x="connsiteX5268" y="connsiteY5268"/>
                </a:cxn>
                <a:cxn ang="0">
                  <a:pos x="connsiteX5269" y="connsiteY5269"/>
                </a:cxn>
                <a:cxn ang="0">
                  <a:pos x="connsiteX5270" y="connsiteY5270"/>
                </a:cxn>
                <a:cxn ang="0">
                  <a:pos x="connsiteX5271" y="connsiteY5271"/>
                </a:cxn>
                <a:cxn ang="0">
                  <a:pos x="connsiteX5272" y="connsiteY5272"/>
                </a:cxn>
                <a:cxn ang="0">
                  <a:pos x="connsiteX5273" y="connsiteY5273"/>
                </a:cxn>
                <a:cxn ang="0">
                  <a:pos x="connsiteX5274" y="connsiteY5274"/>
                </a:cxn>
                <a:cxn ang="0">
                  <a:pos x="connsiteX5275" y="connsiteY5275"/>
                </a:cxn>
                <a:cxn ang="0">
                  <a:pos x="connsiteX5276" y="connsiteY5276"/>
                </a:cxn>
                <a:cxn ang="0">
                  <a:pos x="connsiteX5277" y="connsiteY5277"/>
                </a:cxn>
                <a:cxn ang="0">
                  <a:pos x="connsiteX5278" y="connsiteY5278"/>
                </a:cxn>
                <a:cxn ang="0">
                  <a:pos x="connsiteX5279" y="connsiteY5279"/>
                </a:cxn>
                <a:cxn ang="0">
                  <a:pos x="connsiteX5280" y="connsiteY5280"/>
                </a:cxn>
                <a:cxn ang="0">
                  <a:pos x="connsiteX5281" y="connsiteY5281"/>
                </a:cxn>
                <a:cxn ang="0">
                  <a:pos x="connsiteX5282" y="connsiteY5282"/>
                </a:cxn>
                <a:cxn ang="0">
                  <a:pos x="connsiteX5283" y="connsiteY5283"/>
                </a:cxn>
                <a:cxn ang="0">
                  <a:pos x="connsiteX5284" y="connsiteY5284"/>
                </a:cxn>
                <a:cxn ang="0">
                  <a:pos x="connsiteX5285" y="connsiteY5285"/>
                </a:cxn>
                <a:cxn ang="0">
                  <a:pos x="connsiteX5286" y="connsiteY5286"/>
                </a:cxn>
                <a:cxn ang="0">
                  <a:pos x="connsiteX5287" y="connsiteY5287"/>
                </a:cxn>
                <a:cxn ang="0">
                  <a:pos x="connsiteX5288" y="connsiteY5288"/>
                </a:cxn>
                <a:cxn ang="0">
                  <a:pos x="connsiteX5289" y="connsiteY5289"/>
                </a:cxn>
                <a:cxn ang="0">
                  <a:pos x="connsiteX5290" y="connsiteY5290"/>
                </a:cxn>
                <a:cxn ang="0">
                  <a:pos x="connsiteX5291" y="connsiteY5291"/>
                </a:cxn>
                <a:cxn ang="0">
                  <a:pos x="connsiteX5292" y="connsiteY5292"/>
                </a:cxn>
                <a:cxn ang="0">
                  <a:pos x="connsiteX5293" y="connsiteY5293"/>
                </a:cxn>
                <a:cxn ang="0">
                  <a:pos x="connsiteX5294" y="connsiteY5294"/>
                </a:cxn>
                <a:cxn ang="0">
                  <a:pos x="connsiteX5295" y="connsiteY5295"/>
                </a:cxn>
                <a:cxn ang="0">
                  <a:pos x="connsiteX5296" y="connsiteY5296"/>
                </a:cxn>
                <a:cxn ang="0">
                  <a:pos x="connsiteX5297" y="connsiteY5297"/>
                </a:cxn>
                <a:cxn ang="0">
                  <a:pos x="connsiteX5298" y="connsiteY5298"/>
                </a:cxn>
                <a:cxn ang="0">
                  <a:pos x="connsiteX5299" y="connsiteY5299"/>
                </a:cxn>
                <a:cxn ang="0">
                  <a:pos x="connsiteX5300" y="connsiteY5300"/>
                </a:cxn>
                <a:cxn ang="0">
                  <a:pos x="connsiteX5301" y="connsiteY5301"/>
                </a:cxn>
                <a:cxn ang="0">
                  <a:pos x="connsiteX5302" y="connsiteY5302"/>
                </a:cxn>
                <a:cxn ang="0">
                  <a:pos x="connsiteX5303" y="connsiteY5303"/>
                </a:cxn>
                <a:cxn ang="0">
                  <a:pos x="connsiteX5304" y="connsiteY5304"/>
                </a:cxn>
                <a:cxn ang="0">
                  <a:pos x="connsiteX5305" y="connsiteY5305"/>
                </a:cxn>
                <a:cxn ang="0">
                  <a:pos x="connsiteX5306" y="connsiteY5306"/>
                </a:cxn>
                <a:cxn ang="0">
                  <a:pos x="connsiteX5307" y="connsiteY5307"/>
                </a:cxn>
                <a:cxn ang="0">
                  <a:pos x="connsiteX5308" y="connsiteY5308"/>
                </a:cxn>
                <a:cxn ang="0">
                  <a:pos x="connsiteX5309" y="connsiteY5309"/>
                </a:cxn>
                <a:cxn ang="0">
                  <a:pos x="connsiteX5310" y="connsiteY5310"/>
                </a:cxn>
                <a:cxn ang="0">
                  <a:pos x="connsiteX5311" y="connsiteY5311"/>
                </a:cxn>
                <a:cxn ang="0">
                  <a:pos x="connsiteX5312" y="connsiteY5312"/>
                </a:cxn>
                <a:cxn ang="0">
                  <a:pos x="connsiteX5313" y="connsiteY5313"/>
                </a:cxn>
                <a:cxn ang="0">
                  <a:pos x="connsiteX5314" y="connsiteY5314"/>
                </a:cxn>
                <a:cxn ang="0">
                  <a:pos x="connsiteX5315" y="connsiteY5315"/>
                </a:cxn>
                <a:cxn ang="0">
                  <a:pos x="connsiteX5316" y="connsiteY5316"/>
                </a:cxn>
                <a:cxn ang="0">
                  <a:pos x="connsiteX5317" y="connsiteY5317"/>
                </a:cxn>
                <a:cxn ang="0">
                  <a:pos x="connsiteX5318" y="connsiteY5318"/>
                </a:cxn>
                <a:cxn ang="0">
                  <a:pos x="connsiteX5319" y="connsiteY5319"/>
                </a:cxn>
                <a:cxn ang="0">
                  <a:pos x="connsiteX5320" y="connsiteY5320"/>
                </a:cxn>
                <a:cxn ang="0">
                  <a:pos x="connsiteX5321" y="connsiteY5321"/>
                </a:cxn>
                <a:cxn ang="0">
                  <a:pos x="connsiteX5322" y="connsiteY5322"/>
                </a:cxn>
                <a:cxn ang="0">
                  <a:pos x="connsiteX5323" y="connsiteY5323"/>
                </a:cxn>
                <a:cxn ang="0">
                  <a:pos x="connsiteX5324" y="connsiteY5324"/>
                </a:cxn>
                <a:cxn ang="0">
                  <a:pos x="connsiteX5325" y="connsiteY5325"/>
                </a:cxn>
                <a:cxn ang="0">
                  <a:pos x="connsiteX5326" y="connsiteY5326"/>
                </a:cxn>
                <a:cxn ang="0">
                  <a:pos x="connsiteX5327" y="connsiteY5327"/>
                </a:cxn>
                <a:cxn ang="0">
                  <a:pos x="connsiteX5328" y="connsiteY5328"/>
                </a:cxn>
                <a:cxn ang="0">
                  <a:pos x="connsiteX5329" y="connsiteY5329"/>
                </a:cxn>
                <a:cxn ang="0">
                  <a:pos x="connsiteX5330" y="connsiteY5330"/>
                </a:cxn>
                <a:cxn ang="0">
                  <a:pos x="connsiteX5331" y="connsiteY5331"/>
                </a:cxn>
                <a:cxn ang="0">
                  <a:pos x="connsiteX5332" y="connsiteY5332"/>
                </a:cxn>
                <a:cxn ang="0">
                  <a:pos x="connsiteX5333" y="connsiteY5333"/>
                </a:cxn>
                <a:cxn ang="0">
                  <a:pos x="connsiteX5334" y="connsiteY5334"/>
                </a:cxn>
                <a:cxn ang="0">
                  <a:pos x="connsiteX5335" y="connsiteY5335"/>
                </a:cxn>
                <a:cxn ang="0">
                  <a:pos x="connsiteX5336" y="connsiteY5336"/>
                </a:cxn>
                <a:cxn ang="0">
                  <a:pos x="connsiteX5337" y="connsiteY5337"/>
                </a:cxn>
                <a:cxn ang="0">
                  <a:pos x="connsiteX5338" y="connsiteY5338"/>
                </a:cxn>
                <a:cxn ang="0">
                  <a:pos x="connsiteX5339" y="connsiteY5339"/>
                </a:cxn>
                <a:cxn ang="0">
                  <a:pos x="connsiteX5340" y="connsiteY5340"/>
                </a:cxn>
                <a:cxn ang="0">
                  <a:pos x="connsiteX5341" y="connsiteY5341"/>
                </a:cxn>
                <a:cxn ang="0">
                  <a:pos x="connsiteX5342" y="connsiteY5342"/>
                </a:cxn>
                <a:cxn ang="0">
                  <a:pos x="connsiteX5343" y="connsiteY5343"/>
                </a:cxn>
                <a:cxn ang="0">
                  <a:pos x="connsiteX5344" y="connsiteY5344"/>
                </a:cxn>
                <a:cxn ang="0">
                  <a:pos x="connsiteX5345" y="connsiteY5345"/>
                </a:cxn>
                <a:cxn ang="0">
                  <a:pos x="connsiteX5346" y="connsiteY5346"/>
                </a:cxn>
                <a:cxn ang="0">
                  <a:pos x="connsiteX5347" y="connsiteY5347"/>
                </a:cxn>
                <a:cxn ang="0">
                  <a:pos x="connsiteX5348" y="connsiteY5348"/>
                </a:cxn>
                <a:cxn ang="0">
                  <a:pos x="connsiteX5349" y="connsiteY5349"/>
                </a:cxn>
                <a:cxn ang="0">
                  <a:pos x="connsiteX5350" y="connsiteY5350"/>
                </a:cxn>
                <a:cxn ang="0">
                  <a:pos x="connsiteX5351" y="connsiteY5351"/>
                </a:cxn>
                <a:cxn ang="0">
                  <a:pos x="connsiteX5352" y="connsiteY5352"/>
                </a:cxn>
                <a:cxn ang="0">
                  <a:pos x="connsiteX5353" y="connsiteY5353"/>
                </a:cxn>
                <a:cxn ang="0">
                  <a:pos x="connsiteX5354" y="connsiteY5354"/>
                </a:cxn>
                <a:cxn ang="0">
                  <a:pos x="connsiteX5355" y="connsiteY5355"/>
                </a:cxn>
                <a:cxn ang="0">
                  <a:pos x="connsiteX5356" y="connsiteY5356"/>
                </a:cxn>
                <a:cxn ang="0">
                  <a:pos x="connsiteX5357" y="connsiteY5357"/>
                </a:cxn>
                <a:cxn ang="0">
                  <a:pos x="connsiteX5358" y="connsiteY5358"/>
                </a:cxn>
                <a:cxn ang="0">
                  <a:pos x="connsiteX5359" y="connsiteY5359"/>
                </a:cxn>
                <a:cxn ang="0">
                  <a:pos x="connsiteX5360" y="connsiteY5360"/>
                </a:cxn>
                <a:cxn ang="0">
                  <a:pos x="connsiteX5361" y="connsiteY5361"/>
                </a:cxn>
                <a:cxn ang="0">
                  <a:pos x="connsiteX5362" y="connsiteY5362"/>
                </a:cxn>
                <a:cxn ang="0">
                  <a:pos x="connsiteX5363" y="connsiteY5363"/>
                </a:cxn>
                <a:cxn ang="0">
                  <a:pos x="connsiteX5364" y="connsiteY5364"/>
                </a:cxn>
                <a:cxn ang="0">
                  <a:pos x="connsiteX5365" y="connsiteY5365"/>
                </a:cxn>
                <a:cxn ang="0">
                  <a:pos x="connsiteX5366" y="connsiteY5366"/>
                </a:cxn>
                <a:cxn ang="0">
                  <a:pos x="connsiteX5367" y="connsiteY5367"/>
                </a:cxn>
                <a:cxn ang="0">
                  <a:pos x="connsiteX5368" y="connsiteY5368"/>
                </a:cxn>
                <a:cxn ang="0">
                  <a:pos x="connsiteX5369" y="connsiteY5369"/>
                </a:cxn>
                <a:cxn ang="0">
                  <a:pos x="connsiteX5370" y="connsiteY5370"/>
                </a:cxn>
                <a:cxn ang="0">
                  <a:pos x="connsiteX5371" y="connsiteY5371"/>
                </a:cxn>
                <a:cxn ang="0">
                  <a:pos x="connsiteX5372" y="connsiteY5372"/>
                </a:cxn>
                <a:cxn ang="0">
                  <a:pos x="connsiteX5373" y="connsiteY5373"/>
                </a:cxn>
                <a:cxn ang="0">
                  <a:pos x="connsiteX5374" y="connsiteY5374"/>
                </a:cxn>
                <a:cxn ang="0">
                  <a:pos x="connsiteX5375" y="connsiteY5375"/>
                </a:cxn>
                <a:cxn ang="0">
                  <a:pos x="connsiteX5376" y="connsiteY5376"/>
                </a:cxn>
                <a:cxn ang="0">
                  <a:pos x="connsiteX5377" y="connsiteY5377"/>
                </a:cxn>
                <a:cxn ang="0">
                  <a:pos x="connsiteX5378" y="connsiteY5378"/>
                </a:cxn>
                <a:cxn ang="0">
                  <a:pos x="connsiteX5379" y="connsiteY5379"/>
                </a:cxn>
                <a:cxn ang="0">
                  <a:pos x="connsiteX5380" y="connsiteY5380"/>
                </a:cxn>
                <a:cxn ang="0">
                  <a:pos x="connsiteX5381" y="connsiteY5381"/>
                </a:cxn>
                <a:cxn ang="0">
                  <a:pos x="connsiteX5382" y="connsiteY5382"/>
                </a:cxn>
                <a:cxn ang="0">
                  <a:pos x="connsiteX5383" y="connsiteY5383"/>
                </a:cxn>
                <a:cxn ang="0">
                  <a:pos x="connsiteX5384" y="connsiteY5384"/>
                </a:cxn>
                <a:cxn ang="0">
                  <a:pos x="connsiteX5385" y="connsiteY5385"/>
                </a:cxn>
                <a:cxn ang="0">
                  <a:pos x="connsiteX5386" y="connsiteY5386"/>
                </a:cxn>
                <a:cxn ang="0">
                  <a:pos x="connsiteX5387" y="connsiteY5387"/>
                </a:cxn>
                <a:cxn ang="0">
                  <a:pos x="connsiteX5388" y="connsiteY5388"/>
                </a:cxn>
                <a:cxn ang="0">
                  <a:pos x="connsiteX5389" y="connsiteY5389"/>
                </a:cxn>
                <a:cxn ang="0">
                  <a:pos x="connsiteX5390" y="connsiteY5390"/>
                </a:cxn>
                <a:cxn ang="0">
                  <a:pos x="connsiteX5391" y="connsiteY5391"/>
                </a:cxn>
                <a:cxn ang="0">
                  <a:pos x="connsiteX5392" y="connsiteY5392"/>
                </a:cxn>
                <a:cxn ang="0">
                  <a:pos x="connsiteX5393" y="connsiteY5393"/>
                </a:cxn>
                <a:cxn ang="0">
                  <a:pos x="connsiteX5394" y="connsiteY5394"/>
                </a:cxn>
                <a:cxn ang="0">
                  <a:pos x="connsiteX5395" y="connsiteY5395"/>
                </a:cxn>
                <a:cxn ang="0">
                  <a:pos x="connsiteX5396" y="connsiteY5396"/>
                </a:cxn>
                <a:cxn ang="0">
                  <a:pos x="connsiteX5397" y="connsiteY5397"/>
                </a:cxn>
                <a:cxn ang="0">
                  <a:pos x="connsiteX5398" y="connsiteY5398"/>
                </a:cxn>
                <a:cxn ang="0">
                  <a:pos x="connsiteX5399" y="connsiteY5399"/>
                </a:cxn>
                <a:cxn ang="0">
                  <a:pos x="connsiteX5400" y="connsiteY5400"/>
                </a:cxn>
                <a:cxn ang="0">
                  <a:pos x="connsiteX5401" y="connsiteY5401"/>
                </a:cxn>
                <a:cxn ang="0">
                  <a:pos x="connsiteX5402" y="connsiteY5402"/>
                </a:cxn>
                <a:cxn ang="0">
                  <a:pos x="connsiteX5403" y="connsiteY5403"/>
                </a:cxn>
                <a:cxn ang="0">
                  <a:pos x="connsiteX5404" y="connsiteY5404"/>
                </a:cxn>
                <a:cxn ang="0">
                  <a:pos x="connsiteX5405" y="connsiteY5405"/>
                </a:cxn>
                <a:cxn ang="0">
                  <a:pos x="connsiteX5406" y="connsiteY5406"/>
                </a:cxn>
                <a:cxn ang="0">
                  <a:pos x="connsiteX5407" y="connsiteY5407"/>
                </a:cxn>
                <a:cxn ang="0">
                  <a:pos x="connsiteX5408" y="connsiteY5408"/>
                </a:cxn>
                <a:cxn ang="0">
                  <a:pos x="connsiteX5409" y="connsiteY5409"/>
                </a:cxn>
                <a:cxn ang="0">
                  <a:pos x="connsiteX5410" y="connsiteY5410"/>
                </a:cxn>
                <a:cxn ang="0">
                  <a:pos x="connsiteX5411" y="connsiteY5411"/>
                </a:cxn>
                <a:cxn ang="0">
                  <a:pos x="connsiteX5412" y="connsiteY5412"/>
                </a:cxn>
                <a:cxn ang="0">
                  <a:pos x="connsiteX5413" y="connsiteY5413"/>
                </a:cxn>
                <a:cxn ang="0">
                  <a:pos x="connsiteX5414" y="connsiteY5414"/>
                </a:cxn>
                <a:cxn ang="0">
                  <a:pos x="connsiteX5415" y="connsiteY5415"/>
                </a:cxn>
                <a:cxn ang="0">
                  <a:pos x="connsiteX5416" y="connsiteY5416"/>
                </a:cxn>
                <a:cxn ang="0">
                  <a:pos x="connsiteX5417" y="connsiteY5417"/>
                </a:cxn>
                <a:cxn ang="0">
                  <a:pos x="connsiteX5418" y="connsiteY5418"/>
                </a:cxn>
                <a:cxn ang="0">
                  <a:pos x="connsiteX5419" y="connsiteY5419"/>
                </a:cxn>
                <a:cxn ang="0">
                  <a:pos x="connsiteX5420" y="connsiteY5420"/>
                </a:cxn>
                <a:cxn ang="0">
                  <a:pos x="connsiteX5421" y="connsiteY5421"/>
                </a:cxn>
                <a:cxn ang="0">
                  <a:pos x="connsiteX5422" y="connsiteY5422"/>
                </a:cxn>
                <a:cxn ang="0">
                  <a:pos x="connsiteX5423" y="connsiteY5423"/>
                </a:cxn>
                <a:cxn ang="0">
                  <a:pos x="connsiteX5424" y="connsiteY5424"/>
                </a:cxn>
                <a:cxn ang="0">
                  <a:pos x="connsiteX5425" y="connsiteY5425"/>
                </a:cxn>
                <a:cxn ang="0">
                  <a:pos x="connsiteX5426" y="connsiteY5426"/>
                </a:cxn>
                <a:cxn ang="0">
                  <a:pos x="connsiteX5427" y="connsiteY5427"/>
                </a:cxn>
                <a:cxn ang="0">
                  <a:pos x="connsiteX5428" y="connsiteY5428"/>
                </a:cxn>
                <a:cxn ang="0">
                  <a:pos x="connsiteX5429" y="connsiteY5429"/>
                </a:cxn>
                <a:cxn ang="0">
                  <a:pos x="connsiteX5430" y="connsiteY5430"/>
                </a:cxn>
                <a:cxn ang="0">
                  <a:pos x="connsiteX5431" y="connsiteY5431"/>
                </a:cxn>
                <a:cxn ang="0">
                  <a:pos x="connsiteX5432" y="connsiteY5432"/>
                </a:cxn>
                <a:cxn ang="0">
                  <a:pos x="connsiteX5433" y="connsiteY5433"/>
                </a:cxn>
                <a:cxn ang="0">
                  <a:pos x="connsiteX5434" y="connsiteY5434"/>
                </a:cxn>
                <a:cxn ang="0">
                  <a:pos x="connsiteX5435" y="connsiteY5435"/>
                </a:cxn>
                <a:cxn ang="0">
                  <a:pos x="connsiteX5436" y="connsiteY5436"/>
                </a:cxn>
                <a:cxn ang="0">
                  <a:pos x="connsiteX5437" y="connsiteY5437"/>
                </a:cxn>
                <a:cxn ang="0">
                  <a:pos x="connsiteX5438" y="connsiteY5438"/>
                </a:cxn>
                <a:cxn ang="0">
                  <a:pos x="connsiteX5439" y="connsiteY5439"/>
                </a:cxn>
                <a:cxn ang="0">
                  <a:pos x="connsiteX5440" y="connsiteY5440"/>
                </a:cxn>
                <a:cxn ang="0">
                  <a:pos x="connsiteX5441" y="connsiteY5441"/>
                </a:cxn>
                <a:cxn ang="0">
                  <a:pos x="connsiteX5442" y="connsiteY5442"/>
                </a:cxn>
                <a:cxn ang="0">
                  <a:pos x="connsiteX5443" y="connsiteY5443"/>
                </a:cxn>
                <a:cxn ang="0">
                  <a:pos x="connsiteX5444" y="connsiteY5444"/>
                </a:cxn>
                <a:cxn ang="0">
                  <a:pos x="connsiteX5445" y="connsiteY5445"/>
                </a:cxn>
                <a:cxn ang="0">
                  <a:pos x="connsiteX5446" y="connsiteY5446"/>
                </a:cxn>
                <a:cxn ang="0">
                  <a:pos x="connsiteX5447" y="connsiteY5447"/>
                </a:cxn>
                <a:cxn ang="0">
                  <a:pos x="connsiteX5448" y="connsiteY5448"/>
                </a:cxn>
                <a:cxn ang="0">
                  <a:pos x="connsiteX5449" y="connsiteY5449"/>
                </a:cxn>
                <a:cxn ang="0">
                  <a:pos x="connsiteX5450" y="connsiteY5450"/>
                </a:cxn>
                <a:cxn ang="0">
                  <a:pos x="connsiteX5451" y="connsiteY5451"/>
                </a:cxn>
                <a:cxn ang="0">
                  <a:pos x="connsiteX5452" y="connsiteY5452"/>
                </a:cxn>
                <a:cxn ang="0">
                  <a:pos x="connsiteX5453" y="connsiteY5453"/>
                </a:cxn>
                <a:cxn ang="0">
                  <a:pos x="connsiteX5454" y="connsiteY5454"/>
                </a:cxn>
                <a:cxn ang="0">
                  <a:pos x="connsiteX5455" y="connsiteY5455"/>
                </a:cxn>
                <a:cxn ang="0">
                  <a:pos x="connsiteX5456" y="connsiteY5456"/>
                </a:cxn>
                <a:cxn ang="0">
                  <a:pos x="connsiteX5457" y="connsiteY5457"/>
                </a:cxn>
                <a:cxn ang="0">
                  <a:pos x="connsiteX5458" y="connsiteY5458"/>
                </a:cxn>
                <a:cxn ang="0">
                  <a:pos x="connsiteX5459" y="connsiteY5459"/>
                </a:cxn>
                <a:cxn ang="0">
                  <a:pos x="connsiteX5460" y="connsiteY5460"/>
                </a:cxn>
                <a:cxn ang="0">
                  <a:pos x="connsiteX5461" y="connsiteY5461"/>
                </a:cxn>
                <a:cxn ang="0">
                  <a:pos x="connsiteX5462" y="connsiteY5462"/>
                </a:cxn>
                <a:cxn ang="0">
                  <a:pos x="connsiteX5463" y="connsiteY5463"/>
                </a:cxn>
                <a:cxn ang="0">
                  <a:pos x="connsiteX5464" y="connsiteY5464"/>
                </a:cxn>
                <a:cxn ang="0">
                  <a:pos x="connsiteX5465" y="connsiteY5465"/>
                </a:cxn>
                <a:cxn ang="0">
                  <a:pos x="connsiteX5466" y="connsiteY5466"/>
                </a:cxn>
                <a:cxn ang="0">
                  <a:pos x="connsiteX5467" y="connsiteY5467"/>
                </a:cxn>
                <a:cxn ang="0">
                  <a:pos x="connsiteX5468" y="connsiteY5468"/>
                </a:cxn>
                <a:cxn ang="0">
                  <a:pos x="connsiteX5469" y="connsiteY5469"/>
                </a:cxn>
                <a:cxn ang="0">
                  <a:pos x="connsiteX5470" y="connsiteY5470"/>
                </a:cxn>
                <a:cxn ang="0">
                  <a:pos x="connsiteX5471" y="connsiteY5471"/>
                </a:cxn>
                <a:cxn ang="0">
                  <a:pos x="connsiteX5472" y="connsiteY5472"/>
                </a:cxn>
                <a:cxn ang="0">
                  <a:pos x="connsiteX5473" y="connsiteY5473"/>
                </a:cxn>
                <a:cxn ang="0">
                  <a:pos x="connsiteX5474" y="connsiteY5474"/>
                </a:cxn>
                <a:cxn ang="0">
                  <a:pos x="connsiteX5475" y="connsiteY5475"/>
                </a:cxn>
                <a:cxn ang="0">
                  <a:pos x="connsiteX5476" y="connsiteY5476"/>
                </a:cxn>
                <a:cxn ang="0">
                  <a:pos x="connsiteX5477" y="connsiteY5477"/>
                </a:cxn>
                <a:cxn ang="0">
                  <a:pos x="connsiteX5478" y="connsiteY5478"/>
                </a:cxn>
                <a:cxn ang="0">
                  <a:pos x="connsiteX5479" y="connsiteY5479"/>
                </a:cxn>
                <a:cxn ang="0">
                  <a:pos x="connsiteX5480" y="connsiteY5480"/>
                </a:cxn>
                <a:cxn ang="0">
                  <a:pos x="connsiteX5481" y="connsiteY5481"/>
                </a:cxn>
                <a:cxn ang="0">
                  <a:pos x="connsiteX5482" y="connsiteY5482"/>
                </a:cxn>
                <a:cxn ang="0">
                  <a:pos x="connsiteX5483" y="connsiteY5483"/>
                </a:cxn>
                <a:cxn ang="0">
                  <a:pos x="connsiteX5484" y="connsiteY5484"/>
                </a:cxn>
                <a:cxn ang="0">
                  <a:pos x="connsiteX5485" y="connsiteY5485"/>
                </a:cxn>
                <a:cxn ang="0">
                  <a:pos x="connsiteX5486" y="connsiteY5486"/>
                </a:cxn>
                <a:cxn ang="0">
                  <a:pos x="connsiteX5487" y="connsiteY5487"/>
                </a:cxn>
                <a:cxn ang="0">
                  <a:pos x="connsiteX5488" y="connsiteY5488"/>
                </a:cxn>
                <a:cxn ang="0">
                  <a:pos x="connsiteX5489" y="connsiteY5489"/>
                </a:cxn>
                <a:cxn ang="0">
                  <a:pos x="connsiteX5490" y="connsiteY5490"/>
                </a:cxn>
                <a:cxn ang="0">
                  <a:pos x="connsiteX5491" y="connsiteY5491"/>
                </a:cxn>
                <a:cxn ang="0">
                  <a:pos x="connsiteX5492" y="connsiteY5492"/>
                </a:cxn>
                <a:cxn ang="0">
                  <a:pos x="connsiteX5493" y="connsiteY5493"/>
                </a:cxn>
                <a:cxn ang="0">
                  <a:pos x="connsiteX5494" y="connsiteY5494"/>
                </a:cxn>
                <a:cxn ang="0">
                  <a:pos x="connsiteX5495" y="connsiteY5495"/>
                </a:cxn>
                <a:cxn ang="0">
                  <a:pos x="connsiteX5496" y="connsiteY5496"/>
                </a:cxn>
                <a:cxn ang="0">
                  <a:pos x="connsiteX5497" y="connsiteY5497"/>
                </a:cxn>
                <a:cxn ang="0">
                  <a:pos x="connsiteX5498" y="connsiteY5498"/>
                </a:cxn>
                <a:cxn ang="0">
                  <a:pos x="connsiteX5499" y="connsiteY5499"/>
                </a:cxn>
                <a:cxn ang="0">
                  <a:pos x="connsiteX5500" y="connsiteY5500"/>
                </a:cxn>
                <a:cxn ang="0">
                  <a:pos x="connsiteX5501" y="connsiteY5501"/>
                </a:cxn>
                <a:cxn ang="0">
                  <a:pos x="connsiteX5502" y="connsiteY5502"/>
                </a:cxn>
                <a:cxn ang="0">
                  <a:pos x="connsiteX5503" y="connsiteY5503"/>
                </a:cxn>
                <a:cxn ang="0">
                  <a:pos x="connsiteX5504" y="connsiteY5504"/>
                </a:cxn>
                <a:cxn ang="0">
                  <a:pos x="connsiteX5505" y="connsiteY5505"/>
                </a:cxn>
                <a:cxn ang="0">
                  <a:pos x="connsiteX5506" y="connsiteY5506"/>
                </a:cxn>
                <a:cxn ang="0">
                  <a:pos x="connsiteX5507" y="connsiteY5507"/>
                </a:cxn>
                <a:cxn ang="0">
                  <a:pos x="connsiteX5508" y="connsiteY5508"/>
                </a:cxn>
                <a:cxn ang="0">
                  <a:pos x="connsiteX5509" y="connsiteY5509"/>
                </a:cxn>
                <a:cxn ang="0">
                  <a:pos x="connsiteX5510" y="connsiteY5510"/>
                </a:cxn>
                <a:cxn ang="0">
                  <a:pos x="connsiteX5511" y="connsiteY5511"/>
                </a:cxn>
                <a:cxn ang="0">
                  <a:pos x="connsiteX5512" y="connsiteY5512"/>
                </a:cxn>
                <a:cxn ang="0">
                  <a:pos x="connsiteX5513" y="connsiteY5513"/>
                </a:cxn>
                <a:cxn ang="0">
                  <a:pos x="connsiteX5514" y="connsiteY5514"/>
                </a:cxn>
                <a:cxn ang="0">
                  <a:pos x="connsiteX5515" y="connsiteY5515"/>
                </a:cxn>
                <a:cxn ang="0">
                  <a:pos x="connsiteX5516" y="connsiteY5516"/>
                </a:cxn>
                <a:cxn ang="0">
                  <a:pos x="connsiteX5517" y="connsiteY5517"/>
                </a:cxn>
                <a:cxn ang="0">
                  <a:pos x="connsiteX5518" y="connsiteY5518"/>
                </a:cxn>
                <a:cxn ang="0">
                  <a:pos x="connsiteX5519" y="connsiteY5519"/>
                </a:cxn>
                <a:cxn ang="0">
                  <a:pos x="connsiteX5520" y="connsiteY5520"/>
                </a:cxn>
                <a:cxn ang="0">
                  <a:pos x="connsiteX5521" y="connsiteY5521"/>
                </a:cxn>
                <a:cxn ang="0">
                  <a:pos x="connsiteX5522" y="connsiteY5522"/>
                </a:cxn>
                <a:cxn ang="0">
                  <a:pos x="connsiteX5523" y="connsiteY5523"/>
                </a:cxn>
                <a:cxn ang="0">
                  <a:pos x="connsiteX5524" y="connsiteY5524"/>
                </a:cxn>
                <a:cxn ang="0">
                  <a:pos x="connsiteX5525" y="connsiteY5525"/>
                </a:cxn>
                <a:cxn ang="0">
                  <a:pos x="connsiteX5526" y="connsiteY5526"/>
                </a:cxn>
                <a:cxn ang="0">
                  <a:pos x="connsiteX5527" y="connsiteY5527"/>
                </a:cxn>
                <a:cxn ang="0">
                  <a:pos x="connsiteX5528" y="connsiteY5528"/>
                </a:cxn>
                <a:cxn ang="0">
                  <a:pos x="connsiteX5529" y="connsiteY5529"/>
                </a:cxn>
                <a:cxn ang="0">
                  <a:pos x="connsiteX5530" y="connsiteY5530"/>
                </a:cxn>
                <a:cxn ang="0">
                  <a:pos x="connsiteX5531" y="connsiteY5531"/>
                </a:cxn>
                <a:cxn ang="0">
                  <a:pos x="connsiteX5532" y="connsiteY5532"/>
                </a:cxn>
                <a:cxn ang="0">
                  <a:pos x="connsiteX5533" y="connsiteY5533"/>
                </a:cxn>
                <a:cxn ang="0">
                  <a:pos x="connsiteX5534" y="connsiteY5534"/>
                </a:cxn>
                <a:cxn ang="0">
                  <a:pos x="connsiteX5535" y="connsiteY5535"/>
                </a:cxn>
                <a:cxn ang="0">
                  <a:pos x="connsiteX5536" y="connsiteY5536"/>
                </a:cxn>
                <a:cxn ang="0">
                  <a:pos x="connsiteX5537" y="connsiteY5537"/>
                </a:cxn>
                <a:cxn ang="0">
                  <a:pos x="connsiteX5538" y="connsiteY5538"/>
                </a:cxn>
                <a:cxn ang="0">
                  <a:pos x="connsiteX5539" y="connsiteY5539"/>
                </a:cxn>
                <a:cxn ang="0">
                  <a:pos x="connsiteX5540" y="connsiteY5540"/>
                </a:cxn>
                <a:cxn ang="0">
                  <a:pos x="connsiteX5541" y="connsiteY5541"/>
                </a:cxn>
                <a:cxn ang="0">
                  <a:pos x="connsiteX5542" y="connsiteY5542"/>
                </a:cxn>
                <a:cxn ang="0">
                  <a:pos x="connsiteX5543" y="connsiteY5543"/>
                </a:cxn>
                <a:cxn ang="0">
                  <a:pos x="connsiteX5544" y="connsiteY5544"/>
                </a:cxn>
                <a:cxn ang="0">
                  <a:pos x="connsiteX5545" y="connsiteY5545"/>
                </a:cxn>
                <a:cxn ang="0">
                  <a:pos x="connsiteX5546" y="connsiteY5546"/>
                </a:cxn>
                <a:cxn ang="0">
                  <a:pos x="connsiteX5547" y="connsiteY5547"/>
                </a:cxn>
                <a:cxn ang="0">
                  <a:pos x="connsiteX5548" y="connsiteY5548"/>
                </a:cxn>
                <a:cxn ang="0">
                  <a:pos x="connsiteX5549" y="connsiteY5549"/>
                </a:cxn>
                <a:cxn ang="0">
                  <a:pos x="connsiteX5550" y="connsiteY5550"/>
                </a:cxn>
                <a:cxn ang="0">
                  <a:pos x="connsiteX5551" y="connsiteY5551"/>
                </a:cxn>
                <a:cxn ang="0">
                  <a:pos x="connsiteX5552" y="connsiteY5552"/>
                </a:cxn>
                <a:cxn ang="0">
                  <a:pos x="connsiteX5553" y="connsiteY5553"/>
                </a:cxn>
                <a:cxn ang="0">
                  <a:pos x="connsiteX5554" y="connsiteY5554"/>
                </a:cxn>
                <a:cxn ang="0">
                  <a:pos x="connsiteX5555" y="connsiteY5555"/>
                </a:cxn>
                <a:cxn ang="0">
                  <a:pos x="connsiteX5556" y="connsiteY5556"/>
                </a:cxn>
                <a:cxn ang="0">
                  <a:pos x="connsiteX5557" y="connsiteY5557"/>
                </a:cxn>
                <a:cxn ang="0">
                  <a:pos x="connsiteX5558" y="connsiteY5558"/>
                </a:cxn>
                <a:cxn ang="0">
                  <a:pos x="connsiteX5559" y="connsiteY5559"/>
                </a:cxn>
                <a:cxn ang="0">
                  <a:pos x="connsiteX5560" y="connsiteY5560"/>
                </a:cxn>
                <a:cxn ang="0">
                  <a:pos x="connsiteX5561" y="connsiteY5561"/>
                </a:cxn>
                <a:cxn ang="0">
                  <a:pos x="connsiteX5562" y="connsiteY5562"/>
                </a:cxn>
                <a:cxn ang="0">
                  <a:pos x="connsiteX5563" y="connsiteY5563"/>
                </a:cxn>
                <a:cxn ang="0">
                  <a:pos x="connsiteX5564" y="connsiteY5564"/>
                </a:cxn>
                <a:cxn ang="0">
                  <a:pos x="connsiteX5565" y="connsiteY5565"/>
                </a:cxn>
                <a:cxn ang="0">
                  <a:pos x="connsiteX5566" y="connsiteY5566"/>
                </a:cxn>
                <a:cxn ang="0">
                  <a:pos x="connsiteX5567" y="connsiteY5567"/>
                </a:cxn>
                <a:cxn ang="0">
                  <a:pos x="connsiteX5568" y="connsiteY5568"/>
                </a:cxn>
                <a:cxn ang="0">
                  <a:pos x="connsiteX5569" y="connsiteY5569"/>
                </a:cxn>
                <a:cxn ang="0">
                  <a:pos x="connsiteX5570" y="connsiteY5570"/>
                </a:cxn>
                <a:cxn ang="0">
                  <a:pos x="connsiteX5571" y="connsiteY5571"/>
                </a:cxn>
                <a:cxn ang="0">
                  <a:pos x="connsiteX5572" y="connsiteY5572"/>
                </a:cxn>
                <a:cxn ang="0">
                  <a:pos x="connsiteX5573" y="connsiteY5573"/>
                </a:cxn>
                <a:cxn ang="0">
                  <a:pos x="connsiteX5574" y="connsiteY5574"/>
                </a:cxn>
                <a:cxn ang="0">
                  <a:pos x="connsiteX5575" y="connsiteY5575"/>
                </a:cxn>
                <a:cxn ang="0">
                  <a:pos x="connsiteX5576" y="connsiteY5576"/>
                </a:cxn>
                <a:cxn ang="0">
                  <a:pos x="connsiteX5577" y="connsiteY5577"/>
                </a:cxn>
                <a:cxn ang="0">
                  <a:pos x="connsiteX5578" y="connsiteY5578"/>
                </a:cxn>
                <a:cxn ang="0">
                  <a:pos x="connsiteX5579" y="connsiteY5579"/>
                </a:cxn>
                <a:cxn ang="0">
                  <a:pos x="connsiteX5580" y="connsiteY5580"/>
                </a:cxn>
                <a:cxn ang="0">
                  <a:pos x="connsiteX5581" y="connsiteY5581"/>
                </a:cxn>
                <a:cxn ang="0">
                  <a:pos x="connsiteX5582" y="connsiteY5582"/>
                </a:cxn>
                <a:cxn ang="0">
                  <a:pos x="connsiteX5583" y="connsiteY5583"/>
                </a:cxn>
                <a:cxn ang="0">
                  <a:pos x="connsiteX5584" y="connsiteY5584"/>
                </a:cxn>
                <a:cxn ang="0">
                  <a:pos x="connsiteX5585" y="connsiteY5585"/>
                </a:cxn>
                <a:cxn ang="0">
                  <a:pos x="connsiteX5586" y="connsiteY5586"/>
                </a:cxn>
                <a:cxn ang="0">
                  <a:pos x="connsiteX5587" y="connsiteY5587"/>
                </a:cxn>
                <a:cxn ang="0">
                  <a:pos x="connsiteX5588" y="connsiteY5588"/>
                </a:cxn>
                <a:cxn ang="0">
                  <a:pos x="connsiteX5589" y="connsiteY5589"/>
                </a:cxn>
                <a:cxn ang="0">
                  <a:pos x="connsiteX5590" y="connsiteY5590"/>
                </a:cxn>
                <a:cxn ang="0">
                  <a:pos x="connsiteX5591" y="connsiteY5591"/>
                </a:cxn>
                <a:cxn ang="0">
                  <a:pos x="connsiteX5592" y="connsiteY5592"/>
                </a:cxn>
                <a:cxn ang="0">
                  <a:pos x="connsiteX5593" y="connsiteY5593"/>
                </a:cxn>
                <a:cxn ang="0">
                  <a:pos x="connsiteX5594" y="connsiteY5594"/>
                </a:cxn>
                <a:cxn ang="0">
                  <a:pos x="connsiteX5595" y="connsiteY5595"/>
                </a:cxn>
                <a:cxn ang="0">
                  <a:pos x="connsiteX5596" y="connsiteY5596"/>
                </a:cxn>
                <a:cxn ang="0">
                  <a:pos x="connsiteX5597" y="connsiteY5597"/>
                </a:cxn>
                <a:cxn ang="0">
                  <a:pos x="connsiteX5598" y="connsiteY5598"/>
                </a:cxn>
                <a:cxn ang="0">
                  <a:pos x="connsiteX5599" y="connsiteY5599"/>
                </a:cxn>
                <a:cxn ang="0">
                  <a:pos x="connsiteX5600" y="connsiteY5600"/>
                </a:cxn>
                <a:cxn ang="0">
                  <a:pos x="connsiteX5601" y="connsiteY5601"/>
                </a:cxn>
                <a:cxn ang="0">
                  <a:pos x="connsiteX5602" y="connsiteY5602"/>
                </a:cxn>
                <a:cxn ang="0">
                  <a:pos x="connsiteX5603" y="connsiteY5603"/>
                </a:cxn>
                <a:cxn ang="0">
                  <a:pos x="connsiteX5604" y="connsiteY5604"/>
                </a:cxn>
                <a:cxn ang="0">
                  <a:pos x="connsiteX5605" y="connsiteY5605"/>
                </a:cxn>
                <a:cxn ang="0">
                  <a:pos x="connsiteX5606" y="connsiteY5606"/>
                </a:cxn>
                <a:cxn ang="0">
                  <a:pos x="connsiteX5607" y="connsiteY5607"/>
                </a:cxn>
                <a:cxn ang="0">
                  <a:pos x="connsiteX5608" y="connsiteY5608"/>
                </a:cxn>
                <a:cxn ang="0">
                  <a:pos x="connsiteX5609" y="connsiteY5609"/>
                </a:cxn>
                <a:cxn ang="0">
                  <a:pos x="connsiteX5610" y="connsiteY5610"/>
                </a:cxn>
                <a:cxn ang="0">
                  <a:pos x="connsiteX5611" y="connsiteY5611"/>
                </a:cxn>
                <a:cxn ang="0">
                  <a:pos x="connsiteX5612" y="connsiteY5612"/>
                </a:cxn>
                <a:cxn ang="0">
                  <a:pos x="connsiteX5613" y="connsiteY5613"/>
                </a:cxn>
                <a:cxn ang="0">
                  <a:pos x="connsiteX5614" y="connsiteY5614"/>
                </a:cxn>
                <a:cxn ang="0">
                  <a:pos x="connsiteX5615" y="connsiteY5615"/>
                </a:cxn>
                <a:cxn ang="0">
                  <a:pos x="connsiteX5616" y="connsiteY5616"/>
                </a:cxn>
                <a:cxn ang="0">
                  <a:pos x="connsiteX5617" y="connsiteY5617"/>
                </a:cxn>
                <a:cxn ang="0">
                  <a:pos x="connsiteX5618" y="connsiteY5618"/>
                </a:cxn>
                <a:cxn ang="0">
                  <a:pos x="connsiteX5619" y="connsiteY5619"/>
                </a:cxn>
                <a:cxn ang="0">
                  <a:pos x="connsiteX5620" y="connsiteY5620"/>
                </a:cxn>
                <a:cxn ang="0">
                  <a:pos x="connsiteX5621" y="connsiteY5621"/>
                </a:cxn>
                <a:cxn ang="0">
                  <a:pos x="connsiteX5622" y="connsiteY5622"/>
                </a:cxn>
                <a:cxn ang="0">
                  <a:pos x="connsiteX5623" y="connsiteY5623"/>
                </a:cxn>
                <a:cxn ang="0">
                  <a:pos x="connsiteX5624" y="connsiteY5624"/>
                </a:cxn>
                <a:cxn ang="0">
                  <a:pos x="connsiteX5625" y="connsiteY5625"/>
                </a:cxn>
                <a:cxn ang="0">
                  <a:pos x="connsiteX5626" y="connsiteY5626"/>
                </a:cxn>
                <a:cxn ang="0">
                  <a:pos x="connsiteX5627" y="connsiteY5627"/>
                </a:cxn>
                <a:cxn ang="0">
                  <a:pos x="connsiteX5628" y="connsiteY5628"/>
                </a:cxn>
                <a:cxn ang="0">
                  <a:pos x="connsiteX5629" y="connsiteY5629"/>
                </a:cxn>
                <a:cxn ang="0">
                  <a:pos x="connsiteX5630" y="connsiteY5630"/>
                </a:cxn>
                <a:cxn ang="0">
                  <a:pos x="connsiteX5631" y="connsiteY5631"/>
                </a:cxn>
                <a:cxn ang="0">
                  <a:pos x="connsiteX5632" y="connsiteY5632"/>
                </a:cxn>
                <a:cxn ang="0">
                  <a:pos x="connsiteX5633" y="connsiteY5633"/>
                </a:cxn>
                <a:cxn ang="0">
                  <a:pos x="connsiteX5634" y="connsiteY5634"/>
                </a:cxn>
                <a:cxn ang="0">
                  <a:pos x="connsiteX5635" y="connsiteY5635"/>
                </a:cxn>
                <a:cxn ang="0">
                  <a:pos x="connsiteX5636" y="connsiteY5636"/>
                </a:cxn>
                <a:cxn ang="0">
                  <a:pos x="connsiteX5637" y="connsiteY5637"/>
                </a:cxn>
                <a:cxn ang="0">
                  <a:pos x="connsiteX5638" y="connsiteY5638"/>
                </a:cxn>
                <a:cxn ang="0">
                  <a:pos x="connsiteX5639" y="connsiteY5639"/>
                </a:cxn>
                <a:cxn ang="0">
                  <a:pos x="connsiteX5640" y="connsiteY5640"/>
                </a:cxn>
                <a:cxn ang="0">
                  <a:pos x="connsiteX5641" y="connsiteY5641"/>
                </a:cxn>
                <a:cxn ang="0">
                  <a:pos x="connsiteX5642" y="connsiteY5642"/>
                </a:cxn>
                <a:cxn ang="0">
                  <a:pos x="connsiteX5643" y="connsiteY5643"/>
                </a:cxn>
                <a:cxn ang="0">
                  <a:pos x="connsiteX5644" y="connsiteY5644"/>
                </a:cxn>
                <a:cxn ang="0">
                  <a:pos x="connsiteX5645" y="connsiteY5645"/>
                </a:cxn>
                <a:cxn ang="0">
                  <a:pos x="connsiteX5646" y="connsiteY5646"/>
                </a:cxn>
                <a:cxn ang="0">
                  <a:pos x="connsiteX5647" y="connsiteY5647"/>
                </a:cxn>
                <a:cxn ang="0">
                  <a:pos x="connsiteX5648" y="connsiteY5648"/>
                </a:cxn>
                <a:cxn ang="0">
                  <a:pos x="connsiteX5649" y="connsiteY5649"/>
                </a:cxn>
                <a:cxn ang="0">
                  <a:pos x="connsiteX5650" y="connsiteY5650"/>
                </a:cxn>
                <a:cxn ang="0">
                  <a:pos x="connsiteX5651" y="connsiteY5651"/>
                </a:cxn>
                <a:cxn ang="0">
                  <a:pos x="connsiteX5652" y="connsiteY5652"/>
                </a:cxn>
                <a:cxn ang="0">
                  <a:pos x="connsiteX5653" y="connsiteY5653"/>
                </a:cxn>
                <a:cxn ang="0">
                  <a:pos x="connsiteX5654" y="connsiteY5654"/>
                </a:cxn>
                <a:cxn ang="0">
                  <a:pos x="connsiteX5655" y="connsiteY5655"/>
                </a:cxn>
                <a:cxn ang="0">
                  <a:pos x="connsiteX5656" y="connsiteY5656"/>
                </a:cxn>
                <a:cxn ang="0">
                  <a:pos x="connsiteX5657" y="connsiteY5657"/>
                </a:cxn>
                <a:cxn ang="0">
                  <a:pos x="connsiteX5658" y="connsiteY5658"/>
                </a:cxn>
                <a:cxn ang="0">
                  <a:pos x="connsiteX5659" y="connsiteY5659"/>
                </a:cxn>
                <a:cxn ang="0">
                  <a:pos x="connsiteX5660" y="connsiteY5660"/>
                </a:cxn>
                <a:cxn ang="0">
                  <a:pos x="connsiteX5661" y="connsiteY5661"/>
                </a:cxn>
                <a:cxn ang="0">
                  <a:pos x="connsiteX5662" y="connsiteY5662"/>
                </a:cxn>
                <a:cxn ang="0">
                  <a:pos x="connsiteX5663" y="connsiteY5663"/>
                </a:cxn>
                <a:cxn ang="0">
                  <a:pos x="connsiteX5664" y="connsiteY5664"/>
                </a:cxn>
                <a:cxn ang="0">
                  <a:pos x="connsiteX5665" y="connsiteY5665"/>
                </a:cxn>
                <a:cxn ang="0">
                  <a:pos x="connsiteX5666" y="connsiteY5666"/>
                </a:cxn>
                <a:cxn ang="0">
                  <a:pos x="connsiteX5667" y="connsiteY5667"/>
                </a:cxn>
                <a:cxn ang="0">
                  <a:pos x="connsiteX5668" y="connsiteY5668"/>
                </a:cxn>
                <a:cxn ang="0">
                  <a:pos x="connsiteX5669" y="connsiteY5669"/>
                </a:cxn>
                <a:cxn ang="0">
                  <a:pos x="connsiteX5670" y="connsiteY5670"/>
                </a:cxn>
                <a:cxn ang="0">
                  <a:pos x="connsiteX5671" y="connsiteY5671"/>
                </a:cxn>
                <a:cxn ang="0">
                  <a:pos x="connsiteX5672" y="connsiteY5672"/>
                </a:cxn>
                <a:cxn ang="0">
                  <a:pos x="connsiteX5673" y="connsiteY5673"/>
                </a:cxn>
                <a:cxn ang="0">
                  <a:pos x="connsiteX5674" y="connsiteY5674"/>
                </a:cxn>
                <a:cxn ang="0">
                  <a:pos x="connsiteX5675" y="connsiteY5675"/>
                </a:cxn>
                <a:cxn ang="0">
                  <a:pos x="connsiteX5676" y="connsiteY5676"/>
                </a:cxn>
                <a:cxn ang="0">
                  <a:pos x="connsiteX5677" y="connsiteY5677"/>
                </a:cxn>
                <a:cxn ang="0">
                  <a:pos x="connsiteX5678" y="connsiteY5678"/>
                </a:cxn>
                <a:cxn ang="0">
                  <a:pos x="connsiteX5679" y="connsiteY5679"/>
                </a:cxn>
                <a:cxn ang="0">
                  <a:pos x="connsiteX5680" y="connsiteY5680"/>
                </a:cxn>
                <a:cxn ang="0">
                  <a:pos x="connsiteX5681" y="connsiteY5681"/>
                </a:cxn>
                <a:cxn ang="0">
                  <a:pos x="connsiteX5682" y="connsiteY5682"/>
                </a:cxn>
                <a:cxn ang="0">
                  <a:pos x="connsiteX5683" y="connsiteY5683"/>
                </a:cxn>
                <a:cxn ang="0">
                  <a:pos x="connsiteX5684" y="connsiteY5684"/>
                </a:cxn>
                <a:cxn ang="0">
                  <a:pos x="connsiteX5685" y="connsiteY5685"/>
                </a:cxn>
                <a:cxn ang="0">
                  <a:pos x="connsiteX5686" y="connsiteY5686"/>
                </a:cxn>
                <a:cxn ang="0">
                  <a:pos x="connsiteX5687" y="connsiteY5687"/>
                </a:cxn>
                <a:cxn ang="0">
                  <a:pos x="connsiteX5688" y="connsiteY5688"/>
                </a:cxn>
                <a:cxn ang="0">
                  <a:pos x="connsiteX5689" y="connsiteY5689"/>
                </a:cxn>
                <a:cxn ang="0">
                  <a:pos x="connsiteX5690" y="connsiteY5690"/>
                </a:cxn>
                <a:cxn ang="0">
                  <a:pos x="connsiteX5691" y="connsiteY5691"/>
                </a:cxn>
                <a:cxn ang="0">
                  <a:pos x="connsiteX5692" y="connsiteY5692"/>
                </a:cxn>
                <a:cxn ang="0">
                  <a:pos x="connsiteX5693" y="connsiteY5693"/>
                </a:cxn>
                <a:cxn ang="0">
                  <a:pos x="connsiteX5694" y="connsiteY5694"/>
                </a:cxn>
                <a:cxn ang="0">
                  <a:pos x="connsiteX5695" y="connsiteY5695"/>
                </a:cxn>
                <a:cxn ang="0">
                  <a:pos x="connsiteX5696" y="connsiteY5696"/>
                </a:cxn>
                <a:cxn ang="0">
                  <a:pos x="connsiteX5697" y="connsiteY5697"/>
                </a:cxn>
                <a:cxn ang="0">
                  <a:pos x="connsiteX5698" y="connsiteY5698"/>
                </a:cxn>
                <a:cxn ang="0">
                  <a:pos x="connsiteX5699" y="connsiteY5699"/>
                </a:cxn>
                <a:cxn ang="0">
                  <a:pos x="connsiteX5700" y="connsiteY5700"/>
                </a:cxn>
                <a:cxn ang="0">
                  <a:pos x="connsiteX5701" y="connsiteY5701"/>
                </a:cxn>
                <a:cxn ang="0">
                  <a:pos x="connsiteX5702" y="connsiteY5702"/>
                </a:cxn>
                <a:cxn ang="0">
                  <a:pos x="connsiteX5703" y="connsiteY5703"/>
                </a:cxn>
                <a:cxn ang="0">
                  <a:pos x="connsiteX5704" y="connsiteY5704"/>
                </a:cxn>
                <a:cxn ang="0">
                  <a:pos x="connsiteX5705" y="connsiteY5705"/>
                </a:cxn>
                <a:cxn ang="0">
                  <a:pos x="connsiteX5706" y="connsiteY5706"/>
                </a:cxn>
                <a:cxn ang="0">
                  <a:pos x="connsiteX5707" y="connsiteY5707"/>
                </a:cxn>
                <a:cxn ang="0">
                  <a:pos x="connsiteX5708" y="connsiteY5708"/>
                </a:cxn>
                <a:cxn ang="0">
                  <a:pos x="connsiteX5709" y="connsiteY5709"/>
                </a:cxn>
                <a:cxn ang="0">
                  <a:pos x="connsiteX5710" y="connsiteY5710"/>
                </a:cxn>
                <a:cxn ang="0">
                  <a:pos x="connsiteX5711" y="connsiteY5711"/>
                </a:cxn>
                <a:cxn ang="0">
                  <a:pos x="connsiteX5712" y="connsiteY5712"/>
                </a:cxn>
                <a:cxn ang="0">
                  <a:pos x="connsiteX5713" y="connsiteY5713"/>
                </a:cxn>
                <a:cxn ang="0">
                  <a:pos x="connsiteX5714" y="connsiteY5714"/>
                </a:cxn>
                <a:cxn ang="0">
                  <a:pos x="connsiteX5715" y="connsiteY5715"/>
                </a:cxn>
                <a:cxn ang="0">
                  <a:pos x="connsiteX5716" y="connsiteY5716"/>
                </a:cxn>
                <a:cxn ang="0">
                  <a:pos x="connsiteX5717" y="connsiteY5717"/>
                </a:cxn>
                <a:cxn ang="0">
                  <a:pos x="connsiteX5718" y="connsiteY5718"/>
                </a:cxn>
                <a:cxn ang="0">
                  <a:pos x="connsiteX5719" y="connsiteY5719"/>
                </a:cxn>
                <a:cxn ang="0">
                  <a:pos x="connsiteX5720" y="connsiteY5720"/>
                </a:cxn>
                <a:cxn ang="0">
                  <a:pos x="connsiteX5721" y="connsiteY5721"/>
                </a:cxn>
                <a:cxn ang="0">
                  <a:pos x="connsiteX5722" y="connsiteY5722"/>
                </a:cxn>
                <a:cxn ang="0">
                  <a:pos x="connsiteX5723" y="connsiteY5723"/>
                </a:cxn>
                <a:cxn ang="0">
                  <a:pos x="connsiteX5724" y="connsiteY5724"/>
                </a:cxn>
                <a:cxn ang="0">
                  <a:pos x="connsiteX5725" y="connsiteY5725"/>
                </a:cxn>
                <a:cxn ang="0">
                  <a:pos x="connsiteX5726" y="connsiteY5726"/>
                </a:cxn>
                <a:cxn ang="0">
                  <a:pos x="connsiteX5727" y="connsiteY5727"/>
                </a:cxn>
                <a:cxn ang="0">
                  <a:pos x="connsiteX5728" y="connsiteY5728"/>
                </a:cxn>
                <a:cxn ang="0">
                  <a:pos x="connsiteX5729" y="connsiteY5729"/>
                </a:cxn>
                <a:cxn ang="0">
                  <a:pos x="connsiteX5730" y="connsiteY5730"/>
                </a:cxn>
                <a:cxn ang="0">
                  <a:pos x="connsiteX5731" y="connsiteY5731"/>
                </a:cxn>
                <a:cxn ang="0">
                  <a:pos x="connsiteX5732" y="connsiteY5732"/>
                </a:cxn>
                <a:cxn ang="0">
                  <a:pos x="connsiteX5733" y="connsiteY5733"/>
                </a:cxn>
                <a:cxn ang="0">
                  <a:pos x="connsiteX5734" y="connsiteY5734"/>
                </a:cxn>
                <a:cxn ang="0">
                  <a:pos x="connsiteX5735" y="connsiteY5735"/>
                </a:cxn>
                <a:cxn ang="0">
                  <a:pos x="connsiteX5736" y="connsiteY5736"/>
                </a:cxn>
                <a:cxn ang="0">
                  <a:pos x="connsiteX5737" y="connsiteY5737"/>
                </a:cxn>
                <a:cxn ang="0">
                  <a:pos x="connsiteX5738" y="connsiteY5738"/>
                </a:cxn>
                <a:cxn ang="0">
                  <a:pos x="connsiteX5739" y="connsiteY5739"/>
                </a:cxn>
                <a:cxn ang="0">
                  <a:pos x="connsiteX5740" y="connsiteY5740"/>
                </a:cxn>
                <a:cxn ang="0">
                  <a:pos x="connsiteX5741" y="connsiteY5741"/>
                </a:cxn>
                <a:cxn ang="0">
                  <a:pos x="connsiteX5742" y="connsiteY5742"/>
                </a:cxn>
                <a:cxn ang="0">
                  <a:pos x="connsiteX5743" y="connsiteY5743"/>
                </a:cxn>
                <a:cxn ang="0">
                  <a:pos x="connsiteX5744" y="connsiteY5744"/>
                </a:cxn>
                <a:cxn ang="0">
                  <a:pos x="connsiteX5745" y="connsiteY5745"/>
                </a:cxn>
                <a:cxn ang="0">
                  <a:pos x="connsiteX5746" y="connsiteY5746"/>
                </a:cxn>
                <a:cxn ang="0">
                  <a:pos x="connsiteX5747" y="connsiteY5747"/>
                </a:cxn>
                <a:cxn ang="0">
                  <a:pos x="connsiteX5748" y="connsiteY5748"/>
                </a:cxn>
                <a:cxn ang="0">
                  <a:pos x="connsiteX5749" y="connsiteY5749"/>
                </a:cxn>
                <a:cxn ang="0">
                  <a:pos x="connsiteX5750" y="connsiteY5750"/>
                </a:cxn>
                <a:cxn ang="0">
                  <a:pos x="connsiteX5751" y="connsiteY5751"/>
                </a:cxn>
                <a:cxn ang="0">
                  <a:pos x="connsiteX5752" y="connsiteY5752"/>
                </a:cxn>
                <a:cxn ang="0">
                  <a:pos x="connsiteX5753" y="connsiteY5753"/>
                </a:cxn>
                <a:cxn ang="0">
                  <a:pos x="connsiteX5754" y="connsiteY5754"/>
                </a:cxn>
                <a:cxn ang="0">
                  <a:pos x="connsiteX5755" y="connsiteY5755"/>
                </a:cxn>
                <a:cxn ang="0">
                  <a:pos x="connsiteX5756" y="connsiteY5756"/>
                </a:cxn>
                <a:cxn ang="0">
                  <a:pos x="connsiteX5757" y="connsiteY5757"/>
                </a:cxn>
                <a:cxn ang="0">
                  <a:pos x="connsiteX5758" y="connsiteY5758"/>
                </a:cxn>
                <a:cxn ang="0">
                  <a:pos x="connsiteX5759" y="connsiteY5759"/>
                </a:cxn>
                <a:cxn ang="0">
                  <a:pos x="connsiteX5760" y="connsiteY5760"/>
                </a:cxn>
                <a:cxn ang="0">
                  <a:pos x="connsiteX5761" y="connsiteY5761"/>
                </a:cxn>
                <a:cxn ang="0">
                  <a:pos x="connsiteX5762" y="connsiteY5762"/>
                </a:cxn>
                <a:cxn ang="0">
                  <a:pos x="connsiteX5763" y="connsiteY5763"/>
                </a:cxn>
                <a:cxn ang="0">
                  <a:pos x="connsiteX5764" y="connsiteY5764"/>
                </a:cxn>
                <a:cxn ang="0">
                  <a:pos x="connsiteX5765" y="connsiteY5765"/>
                </a:cxn>
                <a:cxn ang="0">
                  <a:pos x="connsiteX5766" y="connsiteY5766"/>
                </a:cxn>
                <a:cxn ang="0">
                  <a:pos x="connsiteX5767" y="connsiteY5767"/>
                </a:cxn>
                <a:cxn ang="0">
                  <a:pos x="connsiteX5768" y="connsiteY5768"/>
                </a:cxn>
                <a:cxn ang="0">
                  <a:pos x="connsiteX5769" y="connsiteY5769"/>
                </a:cxn>
                <a:cxn ang="0">
                  <a:pos x="connsiteX5770" y="connsiteY5770"/>
                </a:cxn>
                <a:cxn ang="0">
                  <a:pos x="connsiteX5771" y="connsiteY5771"/>
                </a:cxn>
                <a:cxn ang="0">
                  <a:pos x="connsiteX5772" y="connsiteY5772"/>
                </a:cxn>
                <a:cxn ang="0">
                  <a:pos x="connsiteX5773" y="connsiteY5773"/>
                </a:cxn>
                <a:cxn ang="0">
                  <a:pos x="connsiteX5774" y="connsiteY5774"/>
                </a:cxn>
                <a:cxn ang="0">
                  <a:pos x="connsiteX5775" y="connsiteY5775"/>
                </a:cxn>
                <a:cxn ang="0">
                  <a:pos x="connsiteX5776" y="connsiteY5776"/>
                </a:cxn>
                <a:cxn ang="0">
                  <a:pos x="connsiteX5777" y="connsiteY5777"/>
                </a:cxn>
                <a:cxn ang="0">
                  <a:pos x="connsiteX5778" y="connsiteY5778"/>
                </a:cxn>
                <a:cxn ang="0">
                  <a:pos x="connsiteX5779" y="connsiteY5779"/>
                </a:cxn>
                <a:cxn ang="0">
                  <a:pos x="connsiteX5780" y="connsiteY5780"/>
                </a:cxn>
                <a:cxn ang="0">
                  <a:pos x="connsiteX5781" y="connsiteY5781"/>
                </a:cxn>
                <a:cxn ang="0">
                  <a:pos x="connsiteX5782" y="connsiteY5782"/>
                </a:cxn>
                <a:cxn ang="0">
                  <a:pos x="connsiteX5783" y="connsiteY5783"/>
                </a:cxn>
                <a:cxn ang="0">
                  <a:pos x="connsiteX5784" y="connsiteY5784"/>
                </a:cxn>
                <a:cxn ang="0">
                  <a:pos x="connsiteX5785" y="connsiteY5785"/>
                </a:cxn>
                <a:cxn ang="0">
                  <a:pos x="connsiteX5786" y="connsiteY5786"/>
                </a:cxn>
                <a:cxn ang="0">
                  <a:pos x="connsiteX5787" y="connsiteY5787"/>
                </a:cxn>
                <a:cxn ang="0">
                  <a:pos x="connsiteX5788" y="connsiteY5788"/>
                </a:cxn>
                <a:cxn ang="0">
                  <a:pos x="connsiteX5789" y="connsiteY5789"/>
                </a:cxn>
                <a:cxn ang="0">
                  <a:pos x="connsiteX5790" y="connsiteY5790"/>
                </a:cxn>
                <a:cxn ang="0">
                  <a:pos x="connsiteX5791" y="connsiteY5791"/>
                </a:cxn>
                <a:cxn ang="0">
                  <a:pos x="connsiteX5792" y="connsiteY5792"/>
                </a:cxn>
                <a:cxn ang="0">
                  <a:pos x="connsiteX5793" y="connsiteY5793"/>
                </a:cxn>
                <a:cxn ang="0">
                  <a:pos x="connsiteX5794" y="connsiteY5794"/>
                </a:cxn>
                <a:cxn ang="0">
                  <a:pos x="connsiteX5795" y="connsiteY5795"/>
                </a:cxn>
                <a:cxn ang="0">
                  <a:pos x="connsiteX5796" y="connsiteY5796"/>
                </a:cxn>
                <a:cxn ang="0">
                  <a:pos x="connsiteX5797" y="connsiteY5797"/>
                </a:cxn>
                <a:cxn ang="0">
                  <a:pos x="connsiteX5798" y="connsiteY5798"/>
                </a:cxn>
                <a:cxn ang="0">
                  <a:pos x="connsiteX5799" y="connsiteY5799"/>
                </a:cxn>
                <a:cxn ang="0">
                  <a:pos x="connsiteX5800" y="connsiteY5800"/>
                </a:cxn>
                <a:cxn ang="0">
                  <a:pos x="connsiteX5801" y="connsiteY5801"/>
                </a:cxn>
                <a:cxn ang="0">
                  <a:pos x="connsiteX5802" y="connsiteY5802"/>
                </a:cxn>
                <a:cxn ang="0">
                  <a:pos x="connsiteX5803" y="connsiteY5803"/>
                </a:cxn>
                <a:cxn ang="0">
                  <a:pos x="connsiteX5804" y="connsiteY5804"/>
                </a:cxn>
                <a:cxn ang="0">
                  <a:pos x="connsiteX5805" y="connsiteY5805"/>
                </a:cxn>
                <a:cxn ang="0">
                  <a:pos x="connsiteX5806" y="connsiteY5806"/>
                </a:cxn>
                <a:cxn ang="0">
                  <a:pos x="connsiteX5807" y="connsiteY5807"/>
                </a:cxn>
                <a:cxn ang="0">
                  <a:pos x="connsiteX5808" y="connsiteY5808"/>
                </a:cxn>
                <a:cxn ang="0">
                  <a:pos x="connsiteX5809" y="connsiteY5809"/>
                </a:cxn>
                <a:cxn ang="0">
                  <a:pos x="connsiteX5810" y="connsiteY5810"/>
                </a:cxn>
                <a:cxn ang="0">
                  <a:pos x="connsiteX5811" y="connsiteY5811"/>
                </a:cxn>
                <a:cxn ang="0">
                  <a:pos x="connsiteX5812" y="connsiteY5812"/>
                </a:cxn>
                <a:cxn ang="0">
                  <a:pos x="connsiteX5813" y="connsiteY5813"/>
                </a:cxn>
                <a:cxn ang="0">
                  <a:pos x="connsiteX5814" y="connsiteY5814"/>
                </a:cxn>
                <a:cxn ang="0">
                  <a:pos x="connsiteX5815" y="connsiteY5815"/>
                </a:cxn>
                <a:cxn ang="0">
                  <a:pos x="connsiteX5816" y="connsiteY5816"/>
                </a:cxn>
                <a:cxn ang="0">
                  <a:pos x="connsiteX5817" y="connsiteY5817"/>
                </a:cxn>
                <a:cxn ang="0">
                  <a:pos x="connsiteX5818" y="connsiteY5818"/>
                </a:cxn>
                <a:cxn ang="0">
                  <a:pos x="connsiteX5819" y="connsiteY5819"/>
                </a:cxn>
                <a:cxn ang="0">
                  <a:pos x="connsiteX5820" y="connsiteY5820"/>
                </a:cxn>
                <a:cxn ang="0">
                  <a:pos x="connsiteX5821" y="connsiteY5821"/>
                </a:cxn>
                <a:cxn ang="0">
                  <a:pos x="connsiteX5822" y="connsiteY5822"/>
                </a:cxn>
                <a:cxn ang="0">
                  <a:pos x="connsiteX5823" y="connsiteY5823"/>
                </a:cxn>
                <a:cxn ang="0">
                  <a:pos x="connsiteX5824" y="connsiteY5824"/>
                </a:cxn>
                <a:cxn ang="0">
                  <a:pos x="connsiteX5825" y="connsiteY5825"/>
                </a:cxn>
                <a:cxn ang="0">
                  <a:pos x="connsiteX5826" y="connsiteY5826"/>
                </a:cxn>
                <a:cxn ang="0">
                  <a:pos x="connsiteX5827" y="connsiteY5827"/>
                </a:cxn>
                <a:cxn ang="0">
                  <a:pos x="connsiteX5828" y="connsiteY5828"/>
                </a:cxn>
                <a:cxn ang="0">
                  <a:pos x="connsiteX5829" y="connsiteY5829"/>
                </a:cxn>
                <a:cxn ang="0">
                  <a:pos x="connsiteX5830" y="connsiteY5830"/>
                </a:cxn>
                <a:cxn ang="0">
                  <a:pos x="connsiteX5831" y="connsiteY5831"/>
                </a:cxn>
                <a:cxn ang="0">
                  <a:pos x="connsiteX5832" y="connsiteY5832"/>
                </a:cxn>
                <a:cxn ang="0">
                  <a:pos x="connsiteX5833" y="connsiteY5833"/>
                </a:cxn>
                <a:cxn ang="0">
                  <a:pos x="connsiteX5834" y="connsiteY5834"/>
                </a:cxn>
                <a:cxn ang="0">
                  <a:pos x="connsiteX5835" y="connsiteY5835"/>
                </a:cxn>
                <a:cxn ang="0">
                  <a:pos x="connsiteX5836" y="connsiteY5836"/>
                </a:cxn>
                <a:cxn ang="0">
                  <a:pos x="connsiteX5837" y="connsiteY5837"/>
                </a:cxn>
                <a:cxn ang="0">
                  <a:pos x="connsiteX5838" y="connsiteY5838"/>
                </a:cxn>
                <a:cxn ang="0">
                  <a:pos x="connsiteX5839" y="connsiteY5839"/>
                </a:cxn>
                <a:cxn ang="0">
                  <a:pos x="connsiteX5840" y="connsiteY5840"/>
                </a:cxn>
                <a:cxn ang="0">
                  <a:pos x="connsiteX5841" y="connsiteY5841"/>
                </a:cxn>
                <a:cxn ang="0">
                  <a:pos x="connsiteX5842" y="connsiteY5842"/>
                </a:cxn>
                <a:cxn ang="0">
                  <a:pos x="connsiteX5843" y="connsiteY5843"/>
                </a:cxn>
                <a:cxn ang="0">
                  <a:pos x="connsiteX5844" y="connsiteY5844"/>
                </a:cxn>
                <a:cxn ang="0">
                  <a:pos x="connsiteX5845" y="connsiteY5845"/>
                </a:cxn>
                <a:cxn ang="0">
                  <a:pos x="connsiteX5846" y="connsiteY5846"/>
                </a:cxn>
                <a:cxn ang="0">
                  <a:pos x="connsiteX5847" y="connsiteY5847"/>
                </a:cxn>
                <a:cxn ang="0">
                  <a:pos x="connsiteX5848" y="connsiteY5848"/>
                </a:cxn>
                <a:cxn ang="0">
                  <a:pos x="connsiteX5849" y="connsiteY5849"/>
                </a:cxn>
                <a:cxn ang="0">
                  <a:pos x="connsiteX5850" y="connsiteY5850"/>
                </a:cxn>
                <a:cxn ang="0">
                  <a:pos x="connsiteX5851" y="connsiteY5851"/>
                </a:cxn>
                <a:cxn ang="0">
                  <a:pos x="connsiteX5852" y="connsiteY5852"/>
                </a:cxn>
                <a:cxn ang="0">
                  <a:pos x="connsiteX5853" y="connsiteY5853"/>
                </a:cxn>
                <a:cxn ang="0">
                  <a:pos x="connsiteX5854" y="connsiteY5854"/>
                </a:cxn>
                <a:cxn ang="0">
                  <a:pos x="connsiteX5855" y="connsiteY5855"/>
                </a:cxn>
                <a:cxn ang="0">
                  <a:pos x="connsiteX5856" y="connsiteY5856"/>
                </a:cxn>
                <a:cxn ang="0">
                  <a:pos x="connsiteX5857" y="connsiteY5857"/>
                </a:cxn>
                <a:cxn ang="0">
                  <a:pos x="connsiteX5858" y="connsiteY5858"/>
                </a:cxn>
                <a:cxn ang="0">
                  <a:pos x="connsiteX5859" y="connsiteY5859"/>
                </a:cxn>
                <a:cxn ang="0">
                  <a:pos x="connsiteX5860" y="connsiteY5860"/>
                </a:cxn>
                <a:cxn ang="0">
                  <a:pos x="connsiteX5861" y="connsiteY5861"/>
                </a:cxn>
                <a:cxn ang="0">
                  <a:pos x="connsiteX5862" y="connsiteY5862"/>
                </a:cxn>
                <a:cxn ang="0">
                  <a:pos x="connsiteX5863" y="connsiteY5863"/>
                </a:cxn>
                <a:cxn ang="0">
                  <a:pos x="connsiteX5864" y="connsiteY5864"/>
                </a:cxn>
                <a:cxn ang="0">
                  <a:pos x="connsiteX5865" y="connsiteY5865"/>
                </a:cxn>
                <a:cxn ang="0">
                  <a:pos x="connsiteX5866" y="connsiteY5866"/>
                </a:cxn>
                <a:cxn ang="0">
                  <a:pos x="connsiteX5867" y="connsiteY5867"/>
                </a:cxn>
                <a:cxn ang="0">
                  <a:pos x="connsiteX5868" y="connsiteY5868"/>
                </a:cxn>
                <a:cxn ang="0">
                  <a:pos x="connsiteX5869" y="connsiteY5869"/>
                </a:cxn>
                <a:cxn ang="0">
                  <a:pos x="connsiteX5870" y="connsiteY5870"/>
                </a:cxn>
                <a:cxn ang="0">
                  <a:pos x="connsiteX5871" y="connsiteY5871"/>
                </a:cxn>
                <a:cxn ang="0">
                  <a:pos x="connsiteX5872" y="connsiteY5872"/>
                </a:cxn>
                <a:cxn ang="0">
                  <a:pos x="connsiteX5873" y="connsiteY5873"/>
                </a:cxn>
                <a:cxn ang="0">
                  <a:pos x="connsiteX5874" y="connsiteY5874"/>
                </a:cxn>
                <a:cxn ang="0">
                  <a:pos x="connsiteX5875" y="connsiteY5875"/>
                </a:cxn>
                <a:cxn ang="0">
                  <a:pos x="connsiteX5876" y="connsiteY5876"/>
                </a:cxn>
                <a:cxn ang="0">
                  <a:pos x="connsiteX5877" y="connsiteY5877"/>
                </a:cxn>
                <a:cxn ang="0">
                  <a:pos x="connsiteX5878" y="connsiteY5878"/>
                </a:cxn>
                <a:cxn ang="0">
                  <a:pos x="connsiteX5879" y="connsiteY5879"/>
                </a:cxn>
                <a:cxn ang="0">
                  <a:pos x="connsiteX5880" y="connsiteY5880"/>
                </a:cxn>
                <a:cxn ang="0">
                  <a:pos x="connsiteX5881" y="connsiteY5881"/>
                </a:cxn>
                <a:cxn ang="0">
                  <a:pos x="connsiteX5882" y="connsiteY5882"/>
                </a:cxn>
                <a:cxn ang="0">
                  <a:pos x="connsiteX5883" y="connsiteY5883"/>
                </a:cxn>
                <a:cxn ang="0">
                  <a:pos x="connsiteX5884" y="connsiteY5884"/>
                </a:cxn>
                <a:cxn ang="0">
                  <a:pos x="connsiteX5885" y="connsiteY5885"/>
                </a:cxn>
                <a:cxn ang="0">
                  <a:pos x="connsiteX5886" y="connsiteY5886"/>
                </a:cxn>
                <a:cxn ang="0">
                  <a:pos x="connsiteX5887" y="connsiteY5887"/>
                </a:cxn>
                <a:cxn ang="0">
                  <a:pos x="connsiteX5888" y="connsiteY5888"/>
                </a:cxn>
                <a:cxn ang="0">
                  <a:pos x="connsiteX5889" y="connsiteY5889"/>
                </a:cxn>
                <a:cxn ang="0">
                  <a:pos x="connsiteX5890" y="connsiteY5890"/>
                </a:cxn>
                <a:cxn ang="0">
                  <a:pos x="connsiteX5891" y="connsiteY5891"/>
                </a:cxn>
                <a:cxn ang="0">
                  <a:pos x="connsiteX5892" y="connsiteY5892"/>
                </a:cxn>
                <a:cxn ang="0">
                  <a:pos x="connsiteX5893" y="connsiteY5893"/>
                </a:cxn>
                <a:cxn ang="0">
                  <a:pos x="connsiteX5894" y="connsiteY5894"/>
                </a:cxn>
                <a:cxn ang="0">
                  <a:pos x="connsiteX5895" y="connsiteY5895"/>
                </a:cxn>
                <a:cxn ang="0">
                  <a:pos x="connsiteX5896" y="connsiteY5896"/>
                </a:cxn>
                <a:cxn ang="0">
                  <a:pos x="connsiteX5897" y="connsiteY5897"/>
                </a:cxn>
                <a:cxn ang="0">
                  <a:pos x="connsiteX5898" y="connsiteY5898"/>
                </a:cxn>
                <a:cxn ang="0">
                  <a:pos x="connsiteX5899" y="connsiteY5899"/>
                </a:cxn>
                <a:cxn ang="0">
                  <a:pos x="connsiteX5900" y="connsiteY5900"/>
                </a:cxn>
                <a:cxn ang="0">
                  <a:pos x="connsiteX5901" y="connsiteY5901"/>
                </a:cxn>
                <a:cxn ang="0">
                  <a:pos x="connsiteX5902" y="connsiteY5902"/>
                </a:cxn>
                <a:cxn ang="0">
                  <a:pos x="connsiteX5903" y="connsiteY5903"/>
                </a:cxn>
                <a:cxn ang="0">
                  <a:pos x="connsiteX5904" y="connsiteY5904"/>
                </a:cxn>
                <a:cxn ang="0">
                  <a:pos x="connsiteX5905" y="connsiteY5905"/>
                </a:cxn>
                <a:cxn ang="0">
                  <a:pos x="connsiteX5906" y="connsiteY5906"/>
                </a:cxn>
                <a:cxn ang="0">
                  <a:pos x="connsiteX5907" y="connsiteY5907"/>
                </a:cxn>
                <a:cxn ang="0">
                  <a:pos x="connsiteX5908" y="connsiteY5908"/>
                </a:cxn>
                <a:cxn ang="0">
                  <a:pos x="connsiteX5909" y="connsiteY5909"/>
                </a:cxn>
                <a:cxn ang="0">
                  <a:pos x="connsiteX5910" y="connsiteY5910"/>
                </a:cxn>
                <a:cxn ang="0">
                  <a:pos x="connsiteX5911" y="connsiteY5911"/>
                </a:cxn>
                <a:cxn ang="0">
                  <a:pos x="connsiteX5912" y="connsiteY5912"/>
                </a:cxn>
                <a:cxn ang="0">
                  <a:pos x="connsiteX5913" y="connsiteY5913"/>
                </a:cxn>
                <a:cxn ang="0">
                  <a:pos x="connsiteX5914" y="connsiteY5914"/>
                </a:cxn>
                <a:cxn ang="0">
                  <a:pos x="connsiteX5915" y="connsiteY5915"/>
                </a:cxn>
                <a:cxn ang="0">
                  <a:pos x="connsiteX5916" y="connsiteY5916"/>
                </a:cxn>
                <a:cxn ang="0">
                  <a:pos x="connsiteX5917" y="connsiteY5917"/>
                </a:cxn>
                <a:cxn ang="0">
                  <a:pos x="connsiteX5918" y="connsiteY5918"/>
                </a:cxn>
                <a:cxn ang="0">
                  <a:pos x="connsiteX5919" y="connsiteY5919"/>
                </a:cxn>
                <a:cxn ang="0">
                  <a:pos x="connsiteX5920" y="connsiteY5920"/>
                </a:cxn>
                <a:cxn ang="0">
                  <a:pos x="connsiteX5921" y="connsiteY5921"/>
                </a:cxn>
                <a:cxn ang="0">
                  <a:pos x="connsiteX5922" y="connsiteY5922"/>
                </a:cxn>
                <a:cxn ang="0">
                  <a:pos x="connsiteX5923" y="connsiteY5923"/>
                </a:cxn>
                <a:cxn ang="0">
                  <a:pos x="connsiteX5924" y="connsiteY5924"/>
                </a:cxn>
                <a:cxn ang="0">
                  <a:pos x="connsiteX5925" y="connsiteY5925"/>
                </a:cxn>
                <a:cxn ang="0">
                  <a:pos x="connsiteX5926" y="connsiteY5926"/>
                </a:cxn>
                <a:cxn ang="0">
                  <a:pos x="connsiteX5927" y="connsiteY5927"/>
                </a:cxn>
                <a:cxn ang="0">
                  <a:pos x="connsiteX5928" y="connsiteY5928"/>
                </a:cxn>
                <a:cxn ang="0">
                  <a:pos x="connsiteX5929" y="connsiteY5929"/>
                </a:cxn>
                <a:cxn ang="0">
                  <a:pos x="connsiteX5930" y="connsiteY5930"/>
                </a:cxn>
                <a:cxn ang="0">
                  <a:pos x="connsiteX5931" y="connsiteY5931"/>
                </a:cxn>
                <a:cxn ang="0">
                  <a:pos x="connsiteX5932" y="connsiteY5932"/>
                </a:cxn>
                <a:cxn ang="0">
                  <a:pos x="connsiteX5933" y="connsiteY5933"/>
                </a:cxn>
                <a:cxn ang="0">
                  <a:pos x="connsiteX5934" y="connsiteY5934"/>
                </a:cxn>
                <a:cxn ang="0">
                  <a:pos x="connsiteX5935" y="connsiteY5935"/>
                </a:cxn>
                <a:cxn ang="0">
                  <a:pos x="connsiteX5936" y="connsiteY5936"/>
                </a:cxn>
                <a:cxn ang="0">
                  <a:pos x="connsiteX5937" y="connsiteY5937"/>
                </a:cxn>
                <a:cxn ang="0">
                  <a:pos x="connsiteX5938" y="connsiteY5938"/>
                </a:cxn>
                <a:cxn ang="0">
                  <a:pos x="connsiteX5939" y="connsiteY5939"/>
                </a:cxn>
                <a:cxn ang="0">
                  <a:pos x="connsiteX5940" y="connsiteY5940"/>
                </a:cxn>
                <a:cxn ang="0">
                  <a:pos x="connsiteX5941" y="connsiteY5941"/>
                </a:cxn>
                <a:cxn ang="0">
                  <a:pos x="connsiteX5942" y="connsiteY5942"/>
                </a:cxn>
                <a:cxn ang="0">
                  <a:pos x="connsiteX5943" y="connsiteY5943"/>
                </a:cxn>
                <a:cxn ang="0">
                  <a:pos x="connsiteX5944" y="connsiteY5944"/>
                </a:cxn>
                <a:cxn ang="0">
                  <a:pos x="connsiteX5945" y="connsiteY5945"/>
                </a:cxn>
                <a:cxn ang="0">
                  <a:pos x="connsiteX5946" y="connsiteY5946"/>
                </a:cxn>
                <a:cxn ang="0">
                  <a:pos x="connsiteX5947" y="connsiteY5947"/>
                </a:cxn>
                <a:cxn ang="0">
                  <a:pos x="connsiteX5948" y="connsiteY5948"/>
                </a:cxn>
                <a:cxn ang="0">
                  <a:pos x="connsiteX5949" y="connsiteY5949"/>
                </a:cxn>
                <a:cxn ang="0">
                  <a:pos x="connsiteX5950" y="connsiteY5950"/>
                </a:cxn>
                <a:cxn ang="0">
                  <a:pos x="connsiteX5951" y="connsiteY5951"/>
                </a:cxn>
                <a:cxn ang="0">
                  <a:pos x="connsiteX5952" y="connsiteY5952"/>
                </a:cxn>
                <a:cxn ang="0">
                  <a:pos x="connsiteX5953" y="connsiteY5953"/>
                </a:cxn>
                <a:cxn ang="0">
                  <a:pos x="connsiteX5954" y="connsiteY5954"/>
                </a:cxn>
                <a:cxn ang="0">
                  <a:pos x="connsiteX5955" y="connsiteY5955"/>
                </a:cxn>
                <a:cxn ang="0">
                  <a:pos x="connsiteX5956" y="connsiteY5956"/>
                </a:cxn>
                <a:cxn ang="0">
                  <a:pos x="connsiteX5957" y="connsiteY5957"/>
                </a:cxn>
                <a:cxn ang="0">
                  <a:pos x="connsiteX5958" y="connsiteY5958"/>
                </a:cxn>
                <a:cxn ang="0">
                  <a:pos x="connsiteX5959" y="connsiteY5959"/>
                </a:cxn>
                <a:cxn ang="0">
                  <a:pos x="connsiteX5960" y="connsiteY5960"/>
                </a:cxn>
                <a:cxn ang="0">
                  <a:pos x="connsiteX5961" y="connsiteY5961"/>
                </a:cxn>
                <a:cxn ang="0">
                  <a:pos x="connsiteX5962" y="connsiteY5962"/>
                </a:cxn>
                <a:cxn ang="0">
                  <a:pos x="connsiteX5963" y="connsiteY5963"/>
                </a:cxn>
                <a:cxn ang="0">
                  <a:pos x="connsiteX5964" y="connsiteY5964"/>
                </a:cxn>
                <a:cxn ang="0">
                  <a:pos x="connsiteX5965" y="connsiteY5965"/>
                </a:cxn>
                <a:cxn ang="0">
                  <a:pos x="connsiteX5966" y="connsiteY5966"/>
                </a:cxn>
                <a:cxn ang="0">
                  <a:pos x="connsiteX5967" y="connsiteY5967"/>
                </a:cxn>
                <a:cxn ang="0">
                  <a:pos x="connsiteX5968" y="connsiteY5968"/>
                </a:cxn>
                <a:cxn ang="0">
                  <a:pos x="connsiteX5969" y="connsiteY5969"/>
                </a:cxn>
                <a:cxn ang="0">
                  <a:pos x="connsiteX5970" y="connsiteY5970"/>
                </a:cxn>
                <a:cxn ang="0">
                  <a:pos x="connsiteX5971" y="connsiteY5971"/>
                </a:cxn>
                <a:cxn ang="0">
                  <a:pos x="connsiteX5972" y="connsiteY5972"/>
                </a:cxn>
                <a:cxn ang="0">
                  <a:pos x="connsiteX5973" y="connsiteY5973"/>
                </a:cxn>
                <a:cxn ang="0">
                  <a:pos x="connsiteX5974" y="connsiteY5974"/>
                </a:cxn>
                <a:cxn ang="0">
                  <a:pos x="connsiteX5975" y="connsiteY5975"/>
                </a:cxn>
                <a:cxn ang="0">
                  <a:pos x="connsiteX5976" y="connsiteY5976"/>
                </a:cxn>
                <a:cxn ang="0">
                  <a:pos x="connsiteX5977" y="connsiteY5977"/>
                </a:cxn>
                <a:cxn ang="0">
                  <a:pos x="connsiteX5978" y="connsiteY5978"/>
                </a:cxn>
                <a:cxn ang="0">
                  <a:pos x="connsiteX5979" y="connsiteY5979"/>
                </a:cxn>
                <a:cxn ang="0">
                  <a:pos x="connsiteX5980" y="connsiteY5980"/>
                </a:cxn>
                <a:cxn ang="0">
                  <a:pos x="connsiteX5981" y="connsiteY5981"/>
                </a:cxn>
                <a:cxn ang="0">
                  <a:pos x="connsiteX5982" y="connsiteY5982"/>
                </a:cxn>
                <a:cxn ang="0">
                  <a:pos x="connsiteX5983" y="connsiteY5983"/>
                </a:cxn>
                <a:cxn ang="0">
                  <a:pos x="connsiteX5984" y="connsiteY5984"/>
                </a:cxn>
                <a:cxn ang="0">
                  <a:pos x="connsiteX5985" y="connsiteY5985"/>
                </a:cxn>
                <a:cxn ang="0">
                  <a:pos x="connsiteX5986" y="connsiteY5986"/>
                </a:cxn>
                <a:cxn ang="0">
                  <a:pos x="connsiteX5987" y="connsiteY5987"/>
                </a:cxn>
                <a:cxn ang="0">
                  <a:pos x="connsiteX5988" y="connsiteY5988"/>
                </a:cxn>
                <a:cxn ang="0">
                  <a:pos x="connsiteX5989" y="connsiteY5989"/>
                </a:cxn>
                <a:cxn ang="0">
                  <a:pos x="connsiteX5990" y="connsiteY5990"/>
                </a:cxn>
                <a:cxn ang="0">
                  <a:pos x="connsiteX5991" y="connsiteY5991"/>
                </a:cxn>
                <a:cxn ang="0">
                  <a:pos x="connsiteX5992" y="connsiteY5992"/>
                </a:cxn>
                <a:cxn ang="0">
                  <a:pos x="connsiteX5993" y="connsiteY5993"/>
                </a:cxn>
                <a:cxn ang="0">
                  <a:pos x="connsiteX5994" y="connsiteY5994"/>
                </a:cxn>
                <a:cxn ang="0">
                  <a:pos x="connsiteX5995" y="connsiteY5995"/>
                </a:cxn>
                <a:cxn ang="0">
                  <a:pos x="connsiteX5996" y="connsiteY5996"/>
                </a:cxn>
                <a:cxn ang="0">
                  <a:pos x="connsiteX5997" y="connsiteY5997"/>
                </a:cxn>
                <a:cxn ang="0">
                  <a:pos x="connsiteX5998" y="connsiteY5998"/>
                </a:cxn>
                <a:cxn ang="0">
                  <a:pos x="connsiteX5999" y="connsiteY5999"/>
                </a:cxn>
                <a:cxn ang="0">
                  <a:pos x="connsiteX6000" y="connsiteY6000"/>
                </a:cxn>
                <a:cxn ang="0">
                  <a:pos x="connsiteX6001" y="connsiteY6001"/>
                </a:cxn>
                <a:cxn ang="0">
                  <a:pos x="connsiteX6002" y="connsiteY6002"/>
                </a:cxn>
                <a:cxn ang="0">
                  <a:pos x="connsiteX6003" y="connsiteY6003"/>
                </a:cxn>
                <a:cxn ang="0">
                  <a:pos x="connsiteX6004" y="connsiteY6004"/>
                </a:cxn>
                <a:cxn ang="0">
                  <a:pos x="connsiteX6005" y="connsiteY6005"/>
                </a:cxn>
                <a:cxn ang="0">
                  <a:pos x="connsiteX6006" y="connsiteY6006"/>
                </a:cxn>
                <a:cxn ang="0">
                  <a:pos x="connsiteX6007" y="connsiteY6007"/>
                </a:cxn>
                <a:cxn ang="0">
                  <a:pos x="connsiteX6008" y="connsiteY6008"/>
                </a:cxn>
                <a:cxn ang="0">
                  <a:pos x="connsiteX6009" y="connsiteY6009"/>
                </a:cxn>
                <a:cxn ang="0">
                  <a:pos x="connsiteX6010" y="connsiteY6010"/>
                </a:cxn>
                <a:cxn ang="0">
                  <a:pos x="connsiteX6011" y="connsiteY6011"/>
                </a:cxn>
                <a:cxn ang="0">
                  <a:pos x="connsiteX6012" y="connsiteY6012"/>
                </a:cxn>
                <a:cxn ang="0">
                  <a:pos x="connsiteX6013" y="connsiteY6013"/>
                </a:cxn>
                <a:cxn ang="0">
                  <a:pos x="connsiteX6014" y="connsiteY6014"/>
                </a:cxn>
                <a:cxn ang="0">
                  <a:pos x="connsiteX6015" y="connsiteY6015"/>
                </a:cxn>
                <a:cxn ang="0">
                  <a:pos x="connsiteX6016" y="connsiteY6016"/>
                </a:cxn>
                <a:cxn ang="0">
                  <a:pos x="connsiteX6017" y="connsiteY6017"/>
                </a:cxn>
                <a:cxn ang="0">
                  <a:pos x="connsiteX6018" y="connsiteY6018"/>
                </a:cxn>
                <a:cxn ang="0">
                  <a:pos x="connsiteX6019" y="connsiteY6019"/>
                </a:cxn>
                <a:cxn ang="0">
                  <a:pos x="connsiteX6020" y="connsiteY6020"/>
                </a:cxn>
                <a:cxn ang="0">
                  <a:pos x="connsiteX6021" y="connsiteY6021"/>
                </a:cxn>
                <a:cxn ang="0">
                  <a:pos x="connsiteX6022" y="connsiteY6022"/>
                </a:cxn>
                <a:cxn ang="0">
                  <a:pos x="connsiteX6023" y="connsiteY6023"/>
                </a:cxn>
                <a:cxn ang="0">
                  <a:pos x="connsiteX6024" y="connsiteY6024"/>
                </a:cxn>
                <a:cxn ang="0">
                  <a:pos x="connsiteX6025" y="connsiteY6025"/>
                </a:cxn>
                <a:cxn ang="0">
                  <a:pos x="connsiteX6026" y="connsiteY6026"/>
                </a:cxn>
                <a:cxn ang="0">
                  <a:pos x="connsiteX6027" y="connsiteY6027"/>
                </a:cxn>
                <a:cxn ang="0">
                  <a:pos x="connsiteX6028" y="connsiteY6028"/>
                </a:cxn>
                <a:cxn ang="0">
                  <a:pos x="connsiteX6029" y="connsiteY6029"/>
                </a:cxn>
                <a:cxn ang="0">
                  <a:pos x="connsiteX6030" y="connsiteY6030"/>
                </a:cxn>
                <a:cxn ang="0">
                  <a:pos x="connsiteX6031" y="connsiteY6031"/>
                </a:cxn>
                <a:cxn ang="0">
                  <a:pos x="connsiteX6032" y="connsiteY6032"/>
                </a:cxn>
                <a:cxn ang="0">
                  <a:pos x="connsiteX6033" y="connsiteY6033"/>
                </a:cxn>
                <a:cxn ang="0">
                  <a:pos x="connsiteX6034" y="connsiteY6034"/>
                </a:cxn>
                <a:cxn ang="0">
                  <a:pos x="connsiteX6035" y="connsiteY6035"/>
                </a:cxn>
                <a:cxn ang="0">
                  <a:pos x="connsiteX6036" y="connsiteY6036"/>
                </a:cxn>
                <a:cxn ang="0">
                  <a:pos x="connsiteX6037" y="connsiteY6037"/>
                </a:cxn>
                <a:cxn ang="0">
                  <a:pos x="connsiteX6038" y="connsiteY6038"/>
                </a:cxn>
                <a:cxn ang="0">
                  <a:pos x="connsiteX6039" y="connsiteY6039"/>
                </a:cxn>
                <a:cxn ang="0">
                  <a:pos x="connsiteX6040" y="connsiteY6040"/>
                </a:cxn>
                <a:cxn ang="0">
                  <a:pos x="connsiteX6041" y="connsiteY6041"/>
                </a:cxn>
                <a:cxn ang="0">
                  <a:pos x="connsiteX6042" y="connsiteY6042"/>
                </a:cxn>
                <a:cxn ang="0">
                  <a:pos x="connsiteX6043" y="connsiteY6043"/>
                </a:cxn>
                <a:cxn ang="0">
                  <a:pos x="connsiteX6044" y="connsiteY6044"/>
                </a:cxn>
                <a:cxn ang="0">
                  <a:pos x="connsiteX6045" y="connsiteY6045"/>
                </a:cxn>
                <a:cxn ang="0">
                  <a:pos x="connsiteX6046" y="connsiteY6046"/>
                </a:cxn>
                <a:cxn ang="0">
                  <a:pos x="connsiteX6047" y="connsiteY6047"/>
                </a:cxn>
                <a:cxn ang="0">
                  <a:pos x="connsiteX6048" y="connsiteY6048"/>
                </a:cxn>
                <a:cxn ang="0">
                  <a:pos x="connsiteX6049" y="connsiteY6049"/>
                </a:cxn>
                <a:cxn ang="0">
                  <a:pos x="connsiteX6050" y="connsiteY6050"/>
                </a:cxn>
                <a:cxn ang="0">
                  <a:pos x="connsiteX6051" y="connsiteY6051"/>
                </a:cxn>
                <a:cxn ang="0">
                  <a:pos x="connsiteX6052" y="connsiteY6052"/>
                </a:cxn>
                <a:cxn ang="0">
                  <a:pos x="connsiteX6053" y="connsiteY6053"/>
                </a:cxn>
                <a:cxn ang="0">
                  <a:pos x="connsiteX6054" y="connsiteY6054"/>
                </a:cxn>
                <a:cxn ang="0">
                  <a:pos x="connsiteX6055" y="connsiteY6055"/>
                </a:cxn>
                <a:cxn ang="0">
                  <a:pos x="connsiteX6056" y="connsiteY6056"/>
                </a:cxn>
                <a:cxn ang="0">
                  <a:pos x="connsiteX6057" y="connsiteY6057"/>
                </a:cxn>
                <a:cxn ang="0">
                  <a:pos x="connsiteX6058" y="connsiteY6058"/>
                </a:cxn>
                <a:cxn ang="0">
                  <a:pos x="connsiteX6059" y="connsiteY6059"/>
                </a:cxn>
                <a:cxn ang="0">
                  <a:pos x="connsiteX6060" y="connsiteY6060"/>
                </a:cxn>
                <a:cxn ang="0">
                  <a:pos x="connsiteX6061" y="connsiteY6061"/>
                </a:cxn>
                <a:cxn ang="0">
                  <a:pos x="connsiteX6062" y="connsiteY6062"/>
                </a:cxn>
                <a:cxn ang="0">
                  <a:pos x="connsiteX6063" y="connsiteY6063"/>
                </a:cxn>
                <a:cxn ang="0">
                  <a:pos x="connsiteX6064" y="connsiteY6064"/>
                </a:cxn>
                <a:cxn ang="0">
                  <a:pos x="connsiteX6065" y="connsiteY6065"/>
                </a:cxn>
                <a:cxn ang="0">
                  <a:pos x="connsiteX6066" y="connsiteY6066"/>
                </a:cxn>
                <a:cxn ang="0">
                  <a:pos x="connsiteX6067" y="connsiteY6067"/>
                </a:cxn>
                <a:cxn ang="0">
                  <a:pos x="connsiteX6068" y="connsiteY6068"/>
                </a:cxn>
                <a:cxn ang="0">
                  <a:pos x="connsiteX6069" y="connsiteY6069"/>
                </a:cxn>
                <a:cxn ang="0">
                  <a:pos x="connsiteX6070" y="connsiteY6070"/>
                </a:cxn>
                <a:cxn ang="0">
                  <a:pos x="connsiteX6071" y="connsiteY6071"/>
                </a:cxn>
                <a:cxn ang="0">
                  <a:pos x="connsiteX6072" y="connsiteY6072"/>
                </a:cxn>
                <a:cxn ang="0">
                  <a:pos x="connsiteX6073" y="connsiteY6073"/>
                </a:cxn>
                <a:cxn ang="0">
                  <a:pos x="connsiteX6074" y="connsiteY6074"/>
                </a:cxn>
                <a:cxn ang="0">
                  <a:pos x="connsiteX6075" y="connsiteY6075"/>
                </a:cxn>
                <a:cxn ang="0">
                  <a:pos x="connsiteX6076" y="connsiteY6076"/>
                </a:cxn>
                <a:cxn ang="0">
                  <a:pos x="connsiteX6077" y="connsiteY6077"/>
                </a:cxn>
                <a:cxn ang="0">
                  <a:pos x="connsiteX6078" y="connsiteY6078"/>
                </a:cxn>
                <a:cxn ang="0">
                  <a:pos x="connsiteX6079" y="connsiteY6079"/>
                </a:cxn>
                <a:cxn ang="0">
                  <a:pos x="connsiteX6080" y="connsiteY6080"/>
                </a:cxn>
                <a:cxn ang="0">
                  <a:pos x="connsiteX6081" y="connsiteY6081"/>
                </a:cxn>
                <a:cxn ang="0">
                  <a:pos x="connsiteX6082" y="connsiteY6082"/>
                </a:cxn>
                <a:cxn ang="0">
                  <a:pos x="connsiteX6083" y="connsiteY6083"/>
                </a:cxn>
                <a:cxn ang="0">
                  <a:pos x="connsiteX6084" y="connsiteY6084"/>
                </a:cxn>
                <a:cxn ang="0">
                  <a:pos x="connsiteX6085" y="connsiteY6085"/>
                </a:cxn>
                <a:cxn ang="0">
                  <a:pos x="connsiteX6086" y="connsiteY6086"/>
                </a:cxn>
                <a:cxn ang="0">
                  <a:pos x="connsiteX6087" y="connsiteY6087"/>
                </a:cxn>
                <a:cxn ang="0">
                  <a:pos x="connsiteX6088" y="connsiteY6088"/>
                </a:cxn>
                <a:cxn ang="0">
                  <a:pos x="connsiteX6089" y="connsiteY6089"/>
                </a:cxn>
                <a:cxn ang="0">
                  <a:pos x="connsiteX6090" y="connsiteY6090"/>
                </a:cxn>
                <a:cxn ang="0">
                  <a:pos x="connsiteX6091" y="connsiteY6091"/>
                </a:cxn>
                <a:cxn ang="0">
                  <a:pos x="connsiteX6092" y="connsiteY6092"/>
                </a:cxn>
                <a:cxn ang="0">
                  <a:pos x="connsiteX6093" y="connsiteY6093"/>
                </a:cxn>
                <a:cxn ang="0">
                  <a:pos x="connsiteX6094" y="connsiteY6094"/>
                </a:cxn>
                <a:cxn ang="0">
                  <a:pos x="connsiteX6095" y="connsiteY6095"/>
                </a:cxn>
                <a:cxn ang="0">
                  <a:pos x="connsiteX6096" y="connsiteY6096"/>
                </a:cxn>
                <a:cxn ang="0">
                  <a:pos x="connsiteX6097" y="connsiteY6097"/>
                </a:cxn>
                <a:cxn ang="0">
                  <a:pos x="connsiteX6098" y="connsiteY6098"/>
                </a:cxn>
                <a:cxn ang="0">
                  <a:pos x="connsiteX6099" y="connsiteY6099"/>
                </a:cxn>
                <a:cxn ang="0">
                  <a:pos x="connsiteX6100" y="connsiteY6100"/>
                </a:cxn>
                <a:cxn ang="0">
                  <a:pos x="connsiteX6101" y="connsiteY6101"/>
                </a:cxn>
                <a:cxn ang="0">
                  <a:pos x="connsiteX6102" y="connsiteY6102"/>
                </a:cxn>
                <a:cxn ang="0">
                  <a:pos x="connsiteX6103" y="connsiteY6103"/>
                </a:cxn>
                <a:cxn ang="0">
                  <a:pos x="connsiteX6104" y="connsiteY6104"/>
                </a:cxn>
                <a:cxn ang="0">
                  <a:pos x="connsiteX6105" y="connsiteY6105"/>
                </a:cxn>
                <a:cxn ang="0">
                  <a:pos x="connsiteX6106" y="connsiteY6106"/>
                </a:cxn>
                <a:cxn ang="0">
                  <a:pos x="connsiteX6107" y="connsiteY6107"/>
                </a:cxn>
                <a:cxn ang="0">
                  <a:pos x="connsiteX6108" y="connsiteY6108"/>
                </a:cxn>
                <a:cxn ang="0">
                  <a:pos x="connsiteX6109" y="connsiteY6109"/>
                </a:cxn>
                <a:cxn ang="0">
                  <a:pos x="connsiteX6110" y="connsiteY6110"/>
                </a:cxn>
                <a:cxn ang="0">
                  <a:pos x="connsiteX6111" y="connsiteY6111"/>
                </a:cxn>
                <a:cxn ang="0">
                  <a:pos x="connsiteX6112" y="connsiteY6112"/>
                </a:cxn>
                <a:cxn ang="0">
                  <a:pos x="connsiteX6113" y="connsiteY6113"/>
                </a:cxn>
                <a:cxn ang="0">
                  <a:pos x="connsiteX6114" y="connsiteY6114"/>
                </a:cxn>
                <a:cxn ang="0">
                  <a:pos x="connsiteX6115" y="connsiteY6115"/>
                </a:cxn>
                <a:cxn ang="0">
                  <a:pos x="connsiteX6116" y="connsiteY6116"/>
                </a:cxn>
                <a:cxn ang="0">
                  <a:pos x="connsiteX6117" y="connsiteY6117"/>
                </a:cxn>
                <a:cxn ang="0">
                  <a:pos x="connsiteX6118" y="connsiteY6118"/>
                </a:cxn>
                <a:cxn ang="0">
                  <a:pos x="connsiteX6119" y="connsiteY6119"/>
                </a:cxn>
                <a:cxn ang="0">
                  <a:pos x="connsiteX6120" y="connsiteY6120"/>
                </a:cxn>
                <a:cxn ang="0">
                  <a:pos x="connsiteX6121" y="connsiteY6121"/>
                </a:cxn>
                <a:cxn ang="0">
                  <a:pos x="connsiteX6122" y="connsiteY6122"/>
                </a:cxn>
                <a:cxn ang="0">
                  <a:pos x="connsiteX6123" y="connsiteY6123"/>
                </a:cxn>
                <a:cxn ang="0">
                  <a:pos x="connsiteX6124" y="connsiteY6124"/>
                </a:cxn>
                <a:cxn ang="0">
                  <a:pos x="connsiteX6125" y="connsiteY6125"/>
                </a:cxn>
                <a:cxn ang="0">
                  <a:pos x="connsiteX6126" y="connsiteY6126"/>
                </a:cxn>
                <a:cxn ang="0">
                  <a:pos x="connsiteX6127" y="connsiteY6127"/>
                </a:cxn>
                <a:cxn ang="0">
                  <a:pos x="connsiteX6128" y="connsiteY6128"/>
                </a:cxn>
                <a:cxn ang="0">
                  <a:pos x="connsiteX6129" y="connsiteY6129"/>
                </a:cxn>
                <a:cxn ang="0">
                  <a:pos x="connsiteX6130" y="connsiteY6130"/>
                </a:cxn>
                <a:cxn ang="0">
                  <a:pos x="connsiteX6131" y="connsiteY6131"/>
                </a:cxn>
                <a:cxn ang="0">
                  <a:pos x="connsiteX6132" y="connsiteY6132"/>
                </a:cxn>
                <a:cxn ang="0">
                  <a:pos x="connsiteX6133" y="connsiteY6133"/>
                </a:cxn>
                <a:cxn ang="0">
                  <a:pos x="connsiteX6134" y="connsiteY6134"/>
                </a:cxn>
                <a:cxn ang="0">
                  <a:pos x="connsiteX6135" y="connsiteY6135"/>
                </a:cxn>
                <a:cxn ang="0">
                  <a:pos x="connsiteX6136" y="connsiteY6136"/>
                </a:cxn>
                <a:cxn ang="0">
                  <a:pos x="connsiteX6137" y="connsiteY6137"/>
                </a:cxn>
                <a:cxn ang="0">
                  <a:pos x="connsiteX6138" y="connsiteY6138"/>
                </a:cxn>
                <a:cxn ang="0">
                  <a:pos x="connsiteX6139" y="connsiteY6139"/>
                </a:cxn>
                <a:cxn ang="0">
                  <a:pos x="connsiteX6140" y="connsiteY6140"/>
                </a:cxn>
                <a:cxn ang="0">
                  <a:pos x="connsiteX6141" y="connsiteY6141"/>
                </a:cxn>
                <a:cxn ang="0">
                  <a:pos x="connsiteX6142" y="connsiteY6142"/>
                </a:cxn>
                <a:cxn ang="0">
                  <a:pos x="connsiteX6143" y="connsiteY6143"/>
                </a:cxn>
                <a:cxn ang="0">
                  <a:pos x="connsiteX6144" y="connsiteY6144"/>
                </a:cxn>
                <a:cxn ang="0">
                  <a:pos x="connsiteX6145" y="connsiteY6145"/>
                </a:cxn>
                <a:cxn ang="0">
                  <a:pos x="connsiteX6146" y="connsiteY6146"/>
                </a:cxn>
                <a:cxn ang="0">
                  <a:pos x="connsiteX6147" y="connsiteY6147"/>
                </a:cxn>
                <a:cxn ang="0">
                  <a:pos x="connsiteX6148" y="connsiteY6148"/>
                </a:cxn>
                <a:cxn ang="0">
                  <a:pos x="connsiteX6149" y="connsiteY6149"/>
                </a:cxn>
                <a:cxn ang="0">
                  <a:pos x="connsiteX6150" y="connsiteY6150"/>
                </a:cxn>
                <a:cxn ang="0">
                  <a:pos x="connsiteX6151" y="connsiteY6151"/>
                </a:cxn>
                <a:cxn ang="0">
                  <a:pos x="connsiteX6152" y="connsiteY6152"/>
                </a:cxn>
                <a:cxn ang="0">
                  <a:pos x="connsiteX6153" y="connsiteY6153"/>
                </a:cxn>
                <a:cxn ang="0">
                  <a:pos x="connsiteX6154" y="connsiteY6154"/>
                </a:cxn>
                <a:cxn ang="0">
                  <a:pos x="connsiteX6155" y="connsiteY6155"/>
                </a:cxn>
                <a:cxn ang="0">
                  <a:pos x="connsiteX6156" y="connsiteY6156"/>
                </a:cxn>
                <a:cxn ang="0">
                  <a:pos x="connsiteX6157" y="connsiteY6157"/>
                </a:cxn>
                <a:cxn ang="0">
                  <a:pos x="connsiteX6158" y="connsiteY6158"/>
                </a:cxn>
                <a:cxn ang="0">
                  <a:pos x="connsiteX6159" y="connsiteY6159"/>
                </a:cxn>
                <a:cxn ang="0">
                  <a:pos x="connsiteX6160" y="connsiteY6160"/>
                </a:cxn>
                <a:cxn ang="0">
                  <a:pos x="connsiteX6161" y="connsiteY6161"/>
                </a:cxn>
                <a:cxn ang="0">
                  <a:pos x="connsiteX6162" y="connsiteY6162"/>
                </a:cxn>
                <a:cxn ang="0">
                  <a:pos x="connsiteX6163" y="connsiteY6163"/>
                </a:cxn>
                <a:cxn ang="0">
                  <a:pos x="connsiteX6164" y="connsiteY6164"/>
                </a:cxn>
                <a:cxn ang="0">
                  <a:pos x="connsiteX6165" y="connsiteY6165"/>
                </a:cxn>
                <a:cxn ang="0">
                  <a:pos x="connsiteX6166" y="connsiteY6166"/>
                </a:cxn>
                <a:cxn ang="0">
                  <a:pos x="connsiteX6167" y="connsiteY6167"/>
                </a:cxn>
                <a:cxn ang="0">
                  <a:pos x="connsiteX6168" y="connsiteY6168"/>
                </a:cxn>
                <a:cxn ang="0">
                  <a:pos x="connsiteX6169" y="connsiteY6169"/>
                </a:cxn>
                <a:cxn ang="0">
                  <a:pos x="connsiteX6170" y="connsiteY6170"/>
                </a:cxn>
                <a:cxn ang="0">
                  <a:pos x="connsiteX6171" y="connsiteY6171"/>
                </a:cxn>
                <a:cxn ang="0">
                  <a:pos x="connsiteX6172" y="connsiteY6172"/>
                </a:cxn>
                <a:cxn ang="0">
                  <a:pos x="connsiteX6173" y="connsiteY6173"/>
                </a:cxn>
                <a:cxn ang="0">
                  <a:pos x="connsiteX6174" y="connsiteY6174"/>
                </a:cxn>
                <a:cxn ang="0">
                  <a:pos x="connsiteX6175" y="connsiteY6175"/>
                </a:cxn>
                <a:cxn ang="0">
                  <a:pos x="connsiteX6176" y="connsiteY6176"/>
                </a:cxn>
                <a:cxn ang="0">
                  <a:pos x="connsiteX6177" y="connsiteY6177"/>
                </a:cxn>
                <a:cxn ang="0">
                  <a:pos x="connsiteX6178" y="connsiteY6178"/>
                </a:cxn>
                <a:cxn ang="0">
                  <a:pos x="connsiteX6179" y="connsiteY6179"/>
                </a:cxn>
                <a:cxn ang="0">
                  <a:pos x="connsiteX6180" y="connsiteY6180"/>
                </a:cxn>
                <a:cxn ang="0">
                  <a:pos x="connsiteX6181" y="connsiteY6181"/>
                </a:cxn>
                <a:cxn ang="0">
                  <a:pos x="connsiteX6182" y="connsiteY6182"/>
                </a:cxn>
                <a:cxn ang="0">
                  <a:pos x="connsiteX6183" y="connsiteY6183"/>
                </a:cxn>
                <a:cxn ang="0">
                  <a:pos x="connsiteX6184" y="connsiteY6184"/>
                </a:cxn>
                <a:cxn ang="0">
                  <a:pos x="connsiteX6185" y="connsiteY6185"/>
                </a:cxn>
                <a:cxn ang="0">
                  <a:pos x="connsiteX6186" y="connsiteY6186"/>
                </a:cxn>
                <a:cxn ang="0">
                  <a:pos x="connsiteX6187" y="connsiteY6187"/>
                </a:cxn>
                <a:cxn ang="0">
                  <a:pos x="connsiteX6188" y="connsiteY6188"/>
                </a:cxn>
                <a:cxn ang="0">
                  <a:pos x="connsiteX6189" y="connsiteY6189"/>
                </a:cxn>
                <a:cxn ang="0">
                  <a:pos x="connsiteX6190" y="connsiteY6190"/>
                </a:cxn>
                <a:cxn ang="0">
                  <a:pos x="connsiteX6191" y="connsiteY6191"/>
                </a:cxn>
                <a:cxn ang="0">
                  <a:pos x="connsiteX6192" y="connsiteY6192"/>
                </a:cxn>
                <a:cxn ang="0">
                  <a:pos x="connsiteX6193" y="connsiteY6193"/>
                </a:cxn>
                <a:cxn ang="0">
                  <a:pos x="connsiteX6194" y="connsiteY6194"/>
                </a:cxn>
                <a:cxn ang="0">
                  <a:pos x="connsiteX6195" y="connsiteY6195"/>
                </a:cxn>
                <a:cxn ang="0">
                  <a:pos x="connsiteX6196" y="connsiteY6196"/>
                </a:cxn>
                <a:cxn ang="0">
                  <a:pos x="connsiteX6197" y="connsiteY6197"/>
                </a:cxn>
                <a:cxn ang="0">
                  <a:pos x="connsiteX6198" y="connsiteY6198"/>
                </a:cxn>
                <a:cxn ang="0">
                  <a:pos x="connsiteX6199" y="connsiteY6199"/>
                </a:cxn>
                <a:cxn ang="0">
                  <a:pos x="connsiteX6200" y="connsiteY6200"/>
                </a:cxn>
                <a:cxn ang="0">
                  <a:pos x="connsiteX6201" y="connsiteY6201"/>
                </a:cxn>
                <a:cxn ang="0">
                  <a:pos x="connsiteX6202" y="connsiteY6202"/>
                </a:cxn>
                <a:cxn ang="0">
                  <a:pos x="connsiteX6203" y="connsiteY6203"/>
                </a:cxn>
                <a:cxn ang="0">
                  <a:pos x="connsiteX6204" y="connsiteY6204"/>
                </a:cxn>
                <a:cxn ang="0">
                  <a:pos x="connsiteX6205" y="connsiteY6205"/>
                </a:cxn>
                <a:cxn ang="0">
                  <a:pos x="connsiteX6206" y="connsiteY6206"/>
                </a:cxn>
                <a:cxn ang="0">
                  <a:pos x="connsiteX6207" y="connsiteY6207"/>
                </a:cxn>
                <a:cxn ang="0">
                  <a:pos x="connsiteX6208" y="connsiteY6208"/>
                </a:cxn>
                <a:cxn ang="0">
                  <a:pos x="connsiteX6209" y="connsiteY6209"/>
                </a:cxn>
                <a:cxn ang="0">
                  <a:pos x="connsiteX6210" y="connsiteY6210"/>
                </a:cxn>
                <a:cxn ang="0">
                  <a:pos x="connsiteX6211" y="connsiteY6211"/>
                </a:cxn>
                <a:cxn ang="0">
                  <a:pos x="connsiteX6212" y="connsiteY6212"/>
                </a:cxn>
                <a:cxn ang="0">
                  <a:pos x="connsiteX6213" y="connsiteY6213"/>
                </a:cxn>
                <a:cxn ang="0">
                  <a:pos x="connsiteX6214" y="connsiteY6214"/>
                </a:cxn>
                <a:cxn ang="0">
                  <a:pos x="connsiteX6215" y="connsiteY6215"/>
                </a:cxn>
                <a:cxn ang="0">
                  <a:pos x="connsiteX6216" y="connsiteY6216"/>
                </a:cxn>
                <a:cxn ang="0">
                  <a:pos x="connsiteX6217" y="connsiteY6217"/>
                </a:cxn>
                <a:cxn ang="0">
                  <a:pos x="connsiteX6218" y="connsiteY6218"/>
                </a:cxn>
                <a:cxn ang="0">
                  <a:pos x="connsiteX6219" y="connsiteY6219"/>
                </a:cxn>
                <a:cxn ang="0">
                  <a:pos x="connsiteX6220" y="connsiteY6220"/>
                </a:cxn>
                <a:cxn ang="0">
                  <a:pos x="connsiteX6221" y="connsiteY6221"/>
                </a:cxn>
                <a:cxn ang="0">
                  <a:pos x="connsiteX6222" y="connsiteY6222"/>
                </a:cxn>
                <a:cxn ang="0">
                  <a:pos x="connsiteX6223" y="connsiteY6223"/>
                </a:cxn>
                <a:cxn ang="0">
                  <a:pos x="connsiteX6224" y="connsiteY6224"/>
                </a:cxn>
                <a:cxn ang="0">
                  <a:pos x="connsiteX6225" y="connsiteY6225"/>
                </a:cxn>
                <a:cxn ang="0">
                  <a:pos x="connsiteX6226" y="connsiteY6226"/>
                </a:cxn>
                <a:cxn ang="0">
                  <a:pos x="connsiteX6227" y="connsiteY6227"/>
                </a:cxn>
                <a:cxn ang="0">
                  <a:pos x="connsiteX6228" y="connsiteY6228"/>
                </a:cxn>
                <a:cxn ang="0">
                  <a:pos x="connsiteX6229" y="connsiteY6229"/>
                </a:cxn>
                <a:cxn ang="0">
                  <a:pos x="connsiteX6230" y="connsiteY6230"/>
                </a:cxn>
                <a:cxn ang="0">
                  <a:pos x="connsiteX6231" y="connsiteY6231"/>
                </a:cxn>
                <a:cxn ang="0">
                  <a:pos x="connsiteX6232" y="connsiteY6232"/>
                </a:cxn>
                <a:cxn ang="0">
                  <a:pos x="connsiteX6233" y="connsiteY6233"/>
                </a:cxn>
                <a:cxn ang="0">
                  <a:pos x="connsiteX6234" y="connsiteY6234"/>
                </a:cxn>
                <a:cxn ang="0">
                  <a:pos x="connsiteX6235" y="connsiteY6235"/>
                </a:cxn>
                <a:cxn ang="0">
                  <a:pos x="connsiteX6236" y="connsiteY6236"/>
                </a:cxn>
                <a:cxn ang="0">
                  <a:pos x="connsiteX6237" y="connsiteY6237"/>
                </a:cxn>
                <a:cxn ang="0">
                  <a:pos x="connsiteX6238" y="connsiteY6238"/>
                </a:cxn>
                <a:cxn ang="0">
                  <a:pos x="connsiteX6239" y="connsiteY6239"/>
                </a:cxn>
                <a:cxn ang="0">
                  <a:pos x="connsiteX6240" y="connsiteY6240"/>
                </a:cxn>
                <a:cxn ang="0">
                  <a:pos x="connsiteX6241" y="connsiteY6241"/>
                </a:cxn>
                <a:cxn ang="0">
                  <a:pos x="connsiteX6242" y="connsiteY6242"/>
                </a:cxn>
                <a:cxn ang="0">
                  <a:pos x="connsiteX6243" y="connsiteY6243"/>
                </a:cxn>
                <a:cxn ang="0">
                  <a:pos x="connsiteX6244" y="connsiteY6244"/>
                </a:cxn>
                <a:cxn ang="0">
                  <a:pos x="connsiteX6245" y="connsiteY6245"/>
                </a:cxn>
                <a:cxn ang="0">
                  <a:pos x="connsiteX6246" y="connsiteY6246"/>
                </a:cxn>
                <a:cxn ang="0">
                  <a:pos x="connsiteX6247" y="connsiteY6247"/>
                </a:cxn>
                <a:cxn ang="0">
                  <a:pos x="connsiteX6248" y="connsiteY6248"/>
                </a:cxn>
                <a:cxn ang="0">
                  <a:pos x="connsiteX6249" y="connsiteY6249"/>
                </a:cxn>
                <a:cxn ang="0">
                  <a:pos x="connsiteX6250" y="connsiteY6250"/>
                </a:cxn>
                <a:cxn ang="0">
                  <a:pos x="connsiteX6251" y="connsiteY6251"/>
                </a:cxn>
                <a:cxn ang="0">
                  <a:pos x="connsiteX6252" y="connsiteY6252"/>
                </a:cxn>
                <a:cxn ang="0">
                  <a:pos x="connsiteX6253" y="connsiteY6253"/>
                </a:cxn>
                <a:cxn ang="0">
                  <a:pos x="connsiteX6254" y="connsiteY6254"/>
                </a:cxn>
                <a:cxn ang="0">
                  <a:pos x="connsiteX6255" y="connsiteY6255"/>
                </a:cxn>
                <a:cxn ang="0">
                  <a:pos x="connsiteX6256" y="connsiteY6256"/>
                </a:cxn>
                <a:cxn ang="0">
                  <a:pos x="connsiteX6257" y="connsiteY6257"/>
                </a:cxn>
                <a:cxn ang="0">
                  <a:pos x="connsiteX6258" y="connsiteY6258"/>
                </a:cxn>
                <a:cxn ang="0">
                  <a:pos x="connsiteX6259" y="connsiteY6259"/>
                </a:cxn>
                <a:cxn ang="0">
                  <a:pos x="connsiteX6260" y="connsiteY6260"/>
                </a:cxn>
                <a:cxn ang="0">
                  <a:pos x="connsiteX6261" y="connsiteY6261"/>
                </a:cxn>
                <a:cxn ang="0">
                  <a:pos x="connsiteX6262" y="connsiteY6262"/>
                </a:cxn>
                <a:cxn ang="0">
                  <a:pos x="connsiteX6263" y="connsiteY6263"/>
                </a:cxn>
                <a:cxn ang="0">
                  <a:pos x="connsiteX6264" y="connsiteY6264"/>
                </a:cxn>
                <a:cxn ang="0">
                  <a:pos x="connsiteX6265" y="connsiteY6265"/>
                </a:cxn>
                <a:cxn ang="0">
                  <a:pos x="connsiteX6266" y="connsiteY6266"/>
                </a:cxn>
                <a:cxn ang="0">
                  <a:pos x="connsiteX6267" y="connsiteY6267"/>
                </a:cxn>
                <a:cxn ang="0">
                  <a:pos x="connsiteX6268" y="connsiteY6268"/>
                </a:cxn>
                <a:cxn ang="0">
                  <a:pos x="connsiteX6269" y="connsiteY6269"/>
                </a:cxn>
                <a:cxn ang="0">
                  <a:pos x="connsiteX6270" y="connsiteY6270"/>
                </a:cxn>
                <a:cxn ang="0">
                  <a:pos x="connsiteX6271" y="connsiteY6271"/>
                </a:cxn>
                <a:cxn ang="0">
                  <a:pos x="connsiteX6272" y="connsiteY6272"/>
                </a:cxn>
                <a:cxn ang="0">
                  <a:pos x="connsiteX6273" y="connsiteY6273"/>
                </a:cxn>
                <a:cxn ang="0">
                  <a:pos x="connsiteX6274" y="connsiteY6274"/>
                </a:cxn>
                <a:cxn ang="0">
                  <a:pos x="connsiteX6275" y="connsiteY6275"/>
                </a:cxn>
                <a:cxn ang="0">
                  <a:pos x="connsiteX6276" y="connsiteY6276"/>
                </a:cxn>
                <a:cxn ang="0">
                  <a:pos x="connsiteX6277" y="connsiteY6277"/>
                </a:cxn>
                <a:cxn ang="0">
                  <a:pos x="connsiteX6278" y="connsiteY6278"/>
                </a:cxn>
                <a:cxn ang="0">
                  <a:pos x="connsiteX6279" y="connsiteY6279"/>
                </a:cxn>
                <a:cxn ang="0">
                  <a:pos x="connsiteX6280" y="connsiteY6280"/>
                </a:cxn>
                <a:cxn ang="0">
                  <a:pos x="connsiteX6281" y="connsiteY6281"/>
                </a:cxn>
                <a:cxn ang="0">
                  <a:pos x="connsiteX6282" y="connsiteY6282"/>
                </a:cxn>
                <a:cxn ang="0">
                  <a:pos x="connsiteX6283" y="connsiteY6283"/>
                </a:cxn>
                <a:cxn ang="0">
                  <a:pos x="connsiteX6284" y="connsiteY6284"/>
                </a:cxn>
                <a:cxn ang="0">
                  <a:pos x="connsiteX6285" y="connsiteY6285"/>
                </a:cxn>
                <a:cxn ang="0">
                  <a:pos x="connsiteX6286" y="connsiteY6286"/>
                </a:cxn>
                <a:cxn ang="0">
                  <a:pos x="connsiteX6287" y="connsiteY6287"/>
                </a:cxn>
                <a:cxn ang="0">
                  <a:pos x="connsiteX6288" y="connsiteY6288"/>
                </a:cxn>
                <a:cxn ang="0">
                  <a:pos x="connsiteX6289" y="connsiteY6289"/>
                </a:cxn>
                <a:cxn ang="0">
                  <a:pos x="connsiteX6290" y="connsiteY6290"/>
                </a:cxn>
                <a:cxn ang="0">
                  <a:pos x="connsiteX6291" y="connsiteY6291"/>
                </a:cxn>
                <a:cxn ang="0">
                  <a:pos x="connsiteX6292" y="connsiteY6292"/>
                </a:cxn>
                <a:cxn ang="0">
                  <a:pos x="connsiteX6293" y="connsiteY6293"/>
                </a:cxn>
                <a:cxn ang="0">
                  <a:pos x="connsiteX6294" y="connsiteY6294"/>
                </a:cxn>
                <a:cxn ang="0">
                  <a:pos x="connsiteX6295" y="connsiteY6295"/>
                </a:cxn>
                <a:cxn ang="0">
                  <a:pos x="connsiteX6296" y="connsiteY6296"/>
                </a:cxn>
                <a:cxn ang="0">
                  <a:pos x="connsiteX6297" y="connsiteY6297"/>
                </a:cxn>
                <a:cxn ang="0">
                  <a:pos x="connsiteX6298" y="connsiteY6298"/>
                </a:cxn>
                <a:cxn ang="0">
                  <a:pos x="connsiteX6299" y="connsiteY6299"/>
                </a:cxn>
                <a:cxn ang="0">
                  <a:pos x="connsiteX6300" y="connsiteY6300"/>
                </a:cxn>
                <a:cxn ang="0">
                  <a:pos x="connsiteX6301" y="connsiteY6301"/>
                </a:cxn>
                <a:cxn ang="0">
                  <a:pos x="connsiteX6302" y="connsiteY6302"/>
                </a:cxn>
                <a:cxn ang="0">
                  <a:pos x="connsiteX6303" y="connsiteY6303"/>
                </a:cxn>
                <a:cxn ang="0">
                  <a:pos x="connsiteX6304" y="connsiteY6304"/>
                </a:cxn>
                <a:cxn ang="0">
                  <a:pos x="connsiteX6305" y="connsiteY6305"/>
                </a:cxn>
                <a:cxn ang="0">
                  <a:pos x="connsiteX6306" y="connsiteY6306"/>
                </a:cxn>
                <a:cxn ang="0">
                  <a:pos x="connsiteX6307" y="connsiteY6307"/>
                </a:cxn>
                <a:cxn ang="0">
                  <a:pos x="connsiteX6308" y="connsiteY6308"/>
                </a:cxn>
                <a:cxn ang="0">
                  <a:pos x="connsiteX6309" y="connsiteY6309"/>
                </a:cxn>
                <a:cxn ang="0">
                  <a:pos x="connsiteX6310" y="connsiteY6310"/>
                </a:cxn>
                <a:cxn ang="0">
                  <a:pos x="connsiteX6311" y="connsiteY6311"/>
                </a:cxn>
                <a:cxn ang="0">
                  <a:pos x="connsiteX6312" y="connsiteY6312"/>
                </a:cxn>
                <a:cxn ang="0">
                  <a:pos x="connsiteX6313" y="connsiteY6313"/>
                </a:cxn>
                <a:cxn ang="0">
                  <a:pos x="connsiteX6314" y="connsiteY6314"/>
                </a:cxn>
                <a:cxn ang="0">
                  <a:pos x="connsiteX6315" y="connsiteY6315"/>
                </a:cxn>
                <a:cxn ang="0">
                  <a:pos x="connsiteX6316" y="connsiteY6316"/>
                </a:cxn>
                <a:cxn ang="0">
                  <a:pos x="connsiteX6317" y="connsiteY6317"/>
                </a:cxn>
                <a:cxn ang="0">
                  <a:pos x="connsiteX6318" y="connsiteY6318"/>
                </a:cxn>
                <a:cxn ang="0">
                  <a:pos x="connsiteX6319" y="connsiteY6319"/>
                </a:cxn>
                <a:cxn ang="0">
                  <a:pos x="connsiteX6320" y="connsiteY6320"/>
                </a:cxn>
                <a:cxn ang="0">
                  <a:pos x="connsiteX6321" y="connsiteY6321"/>
                </a:cxn>
                <a:cxn ang="0">
                  <a:pos x="connsiteX6322" y="connsiteY6322"/>
                </a:cxn>
                <a:cxn ang="0">
                  <a:pos x="connsiteX6323" y="connsiteY6323"/>
                </a:cxn>
                <a:cxn ang="0">
                  <a:pos x="connsiteX6324" y="connsiteY6324"/>
                </a:cxn>
                <a:cxn ang="0">
                  <a:pos x="connsiteX6325" y="connsiteY6325"/>
                </a:cxn>
                <a:cxn ang="0">
                  <a:pos x="connsiteX6326" y="connsiteY6326"/>
                </a:cxn>
                <a:cxn ang="0">
                  <a:pos x="connsiteX6327" y="connsiteY6327"/>
                </a:cxn>
                <a:cxn ang="0">
                  <a:pos x="connsiteX6328" y="connsiteY6328"/>
                </a:cxn>
                <a:cxn ang="0">
                  <a:pos x="connsiteX6329" y="connsiteY6329"/>
                </a:cxn>
                <a:cxn ang="0">
                  <a:pos x="connsiteX6330" y="connsiteY6330"/>
                </a:cxn>
                <a:cxn ang="0">
                  <a:pos x="connsiteX6331" y="connsiteY6331"/>
                </a:cxn>
                <a:cxn ang="0">
                  <a:pos x="connsiteX6332" y="connsiteY6332"/>
                </a:cxn>
                <a:cxn ang="0">
                  <a:pos x="connsiteX6333" y="connsiteY6333"/>
                </a:cxn>
                <a:cxn ang="0">
                  <a:pos x="connsiteX6334" y="connsiteY6334"/>
                </a:cxn>
                <a:cxn ang="0">
                  <a:pos x="connsiteX6335" y="connsiteY6335"/>
                </a:cxn>
                <a:cxn ang="0">
                  <a:pos x="connsiteX6336" y="connsiteY6336"/>
                </a:cxn>
                <a:cxn ang="0">
                  <a:pos x="connsiteX6337" y="connsiteY6337"/>
                </a:cxn>
                <a:cxn ang="0">
                  <a:pos x="connsiteX6338" y="connsiteY6338"/>
                </a:cxn>
                <a:cxn ang="0">
                  <a:pos x="connsiteX6339" y="connsiteY6339"/>
                </a:cxn>
                <a:cxn ang="0">
                  <a:pos x="connsiteX6340" y="connsiteY6340"/>
                </a:cxn>
                <a:cxn ang="0">
                  <a:pos x="connsiteX6341" y="connsiteY6341"/>
                </a:cxn>
                <a:cxn ang="0">
                  <a:pos x="connsiteX6342" y="connsiteY6342"/>
                </a:cxn>
                <a:cxn ang="0">
                  <a:pos x="connsiteX6343" y="connsiteY6343"/>
                </a:cxn>
                <a:cxn ang="0">
                  <a:pos x="connsiteX6344" y="connsiteY6344"/>
                </a:cxn>
                <a:cxn ang="0">
                  <a:pos x="connsiteX6345" y="connsiteY6345"/>
                </a:cxn>
                <a:cxn ang="0">
                  <a:pos x="connsiteX6346" y="connsiteY6346"/>
                </a:cxn>
                <a:cxn ang="0">
                  <a:pos x="connsiteX6347" y="connsiteY6347"/>
                </a:cxn>
                <a:cxn ang="0">
                  <a:pos x="connsiteX6348" y="connsiteY6348"/>
                </a:cxn>
                <a:cxn ang="0">
                  <a:pos x="connsiteX6349" y="connsiteY6349"/>
                </a:cxn>
                <a:cxn ang="0">
                  <a:pos x="connsiteX6350" y="connsiteY6350"/>
                </a:cxn>
                <a:cxn ang="0">
                  <a:pos x="connsiteX6351" y="connsiteY6351"/>
                </a:cxn>
                <a:cxn ang="0">
                  <a:pos x="connsiteX6352" y="connsiteY6352"/>
                </a:cxn>
                <a:cxn ang="0">
                  <a:pos x="connsiteX6353" y="connsiteY6353"/>
                </a:cxn>
                <a:cxn ang="0">
                  <a:pos x="connsiteX6354" y="connsiteY6354"/>
                </a:cxn>
                <a:cxn ang="0">
                  <a:pos x="connsiteX6355" y="connsiteY6355"/>
                </a:cxn>
                <a:cxn ang="0">
                  <a:pos x="connsiteX6356" y="connsiteY6356"/>
                </a:cxn>
                <a:cxn ang="0">
                  <a:pos x="connsiteX6357" y="connsiteY6357"/>
                </a:cxn>
                <a:cxn ang="0">
                  <a:pos x="connsiteX6358" y="connsiteY6358"/>
                </a:cxn>
                <a:cxn ang="0">
                  <a:pos x="connsiteX6359" y="connsiteY6359"/>
                </a:cxn>
                <a:cxn ang="0">
                  <a:pos x="connsiteX6360" y="connsiteY6360"/>
                </a:cxn>
                <a:cxn ang="0">
                  <a:pos x="connsiteX6361" y="connsiteY6361"/>
                </a:cxn>
                <a:cxn ang="0">
                  <a:pos x="connsiteX6362" y="connsiteY6362"/>
                </a:cxn>
                <a:cxn ang="0">
                  <a:pos x="connsiteX6363" y="connsiteY6363"/>
                </a:cxn>
                <a:cxn ang="0">
                  <a:pos x="connsiteX6364" y="connsiteY6364"/>
                </a:cxn>
                <a:cxn ang="0">
                  <a:pos x="connsiteX6365" y="connsiteY6365"/>
                </a:cxn>
                <a:cxn ang="0">
                  <a:pos x="connsiteX6366" y="connsiteY6366"/>
                </a:cxn>
                <a:cxn ang="0">
                  <a:pos x="connsiteX6367" y="connsiteY6367"/>
                </a:cxn>
                <a:cxn ang="0">
                  <a:pos x="connsiteX6368" y="connsiteY6368"/>
                </a:cxn>
                <a:cxn ang="0">
                  <a:pos x="connsiteX6369" y="connsiteY6369"/>
                </a:cxn>
                <a:cxn ang="0">
                  <a:pos x="connsiteX6370" y="connsiteY6370"/>
                </a:cxn>
                <a:cxn ang="0">
                  <a:pos x="connsiteX6371" y="connsiteY6371"/>
                </a:cxn>
                <a:cxn ang="0">
                  <a:pos x="connsiteX6372" y="connsiteY6372"/>
                </a:cxn>
                <a:cxn ang="0">
                  <a:pos x="connsiteX6373" y="connsiteY6373"/>
                </a:cxn>
                <a:cxn ang="0">
                  <a:pos x="connsiteX6374" y="connsiteY6374"/>
                </a:cxn>
                <a:cxn ang="0">
                  <a:pos x="connsiteX6375" y="connsiteY6375"/>
                </a:cxn>
                <a:cxn ang="0">
                  <a:pos x="connsiteX6376" y="connsiteY6376"/>
                </a:cxn>
                <a:cxn ang="0">
                  <a:pos x="connsiteX6377" y="connsiteY6377"/>
                </a:cxn>
                <a:cxn ang="0">
                  <a:pos x="connsiteX6378" y="connsiteY6378"/>
                </a:cxn>
                <a:cxn ang="0">
                  <a:pos x="connsiteX6379" y="connsiteY6379"/>
                </a:cxn>
                <a:cxn ang="0">
                  <a:pos x="connsiteX6380" y="connsiteY6380"/>
                </a:cxn>
                <a:cxn ang="0">
                  <a:pos x="connsiteX6381" y="connsiteY6381"/>
                </a:cxn>
                <a:cxn ang="0">
                  <a:pos x="connsiteX6382" y="connsiteY6382"/>
                </a:cxn>
                <a:cxn ang="0">
                  <a:pos x="connsiteX6383" y="connsiteY6383"/>
                </a:cxn>
                <a:cxn ang="0">
                  <a:pos x="connsiteX6384" y="connsiteY6384"/>
                </a:cxn>
                <a:cxn ang="0">
                  <a:pos x="connsiteX6385" y="connsiteY6385"/>
                </a:cxn>
                <a:cxn ang="0">
                  <a:pos x="connsiteX6386" y="connsiteY6386"/>
                </a:cxn>
                <a:cxn ang="0">
                  <a:pos x="connsiteX6387" y="connsiteY6387"/>
                </a:cxn>
                <a:cxn ang="0">
                  <a:pos x="connsiteX6388" y="connsiteY6388"/>
                </a:cxn>
                <a:cxn ang="0">
                  <a:pos x="connsiteX6389" y="connsiteY6389"/>
                </a:cxn>
                <a:cxn ang="0">
                  <a:pos x="connsiteX6390" y="connsiteY6390"/>
                </a:cxn>
                <a:cxn ang="0">
                  <a:pos x="connsiteX6391" y="connsiteY6391"/>
                </a:cxn>
                <a:cxn ang="0">
                  <a:pos x="connsiteX6392" y="connsiteY6392"/>
                </a:cxn>
                <a:cxn ang="0">
                  <a:pos x="connsiteX6393" y="connsiteY6393"/>
                </a:cxn>
                <a:cxn ang="0">
                  <a:pos x="connsiteX6394" y="connsiteY6394"/>
                </a:cxn>
                <a:cxn ang="0">
                  <a:pos x="connsiteX6395" y="connsiteY6395"/>
                </a:cxn>
                <a:cxn ang="0">
                  <a:pos x="connsiteX6396" y="connsiteY6396"/>
                </a:cxn>
                <a:cxn ang="0">
                  <a:pos x="connsiteX6397" y="connsiteY6397"/>
                </a:cxn>
                <a:cxn ang="0">
                  <a:pos x="connsiteX6398" y="connsiteY6398"/>
                </a:cxn>
                <a:cxn ang="0">
                  <a:pos x="connsiteX6399" y="connsiteY6399"/>
                </a:cxn>
                <a:cxn ang="0">
                  <a:pos x="connsiteX6400" y="connsiteY6400"/>
                </a:cxn>
                <a:cxn ang="0">
                  <a:pos x="connsiteX6401" y="connsiteY6401"/>
                </a:cxn>
                <a:cxn ang="0">
                  <a:pos x="connsiteX6402" y="connsiteY6402"/>
                </a:cxn>
                <a:cxn ang="0">
                  <a:pos x="connsiteX6403" y="connsiteY6403"/>
                </a:cxn>
                <a:cxn ang="0">
                  <a:pos x="connsiteX6404" y="connsiteY6404"/>
                </a:cxn>
                <a:cxn ang="0">
                  <a:pos x="connsiteX6405" y="connsiteY6405"/>
                </a:cxn>
                <a:cxn ang="0">
                  <a:pos x="connsiteX6406" y="connsiteY6406"/>
                </a:cxn>
                <a:cxn ang="0">
                  <a:pos x="connsiteX6407" y="connsiteY6407"/>
                </a:cxn>
                <a:cxn ang="0">
                  <a:pos x="connsiteX6408" y="connsiteY6408"/>
                </a:cxn>
                <a:cxn ang="0">
                  <a:pos x="connsiteX6409" y="connsiteY6409"/>
                </a:cxn>
                <a:cxn ang="0">
                  <a:pos x="connsiteX6410" y="connsiteY6410"/>
                </a:cxn>
                <a:cxn ang="0">
                  <a:pos x="connsiteX6411" y="connsiteY6411"/>
                </a:cxn>
                <a:cxn ang="0">
                  <a:pos x="connsiteX6412" y="connsiteY6412"/>
                </a:cxn>
                <a:cxn ang="0">
                  <a:pos x="connsiteX6413" y="connsiteY6413"/>
                </a:cxn>
                <a:cxn ang="0">
                  <a:pos x="connsiteX6414" y="connsiteY6414"/>
                </a:cxn>
                <a:cxn ang="0">
                  <a:pos x="connsiteX6415" y="connsiteY6415"/>
                </a:cxn>
                <a:cxn ang="0">
                  <a:pos x="connsiteX6416" y="connsiteY6416"/>
                </a:cxn>
                <a:cxn ang="0">
                  <a:pos x="connsiteX6417" y="connsiteY6417"/>
                </a:cxn>
                <a:cxn ang="0">
                  <a:pos x="connsiteX6418" y="connsiteY6418"/>
                </a:cxn>
                <a:cxn ang="0">
                  <a:pos x="connsiteX6419" y="connsiteY6419"/>
                </a:cxn>
                <a:cxn ang="0">
                  <a:pos x="connsiteX6420" y="connsiteY6420"/>
                </a:cxn>
                <a:cxn ang="0">
                  <a:pos x="connsiteX6421" y="connsiteY6421"/>
                </a:cxn>
                <a:cxn ang="0">
                  <a:pos x="connsiteX6422" y="connsiteY6422"/>
                </a:cxn>
                <a:cxn ang="0">
                  <a:pos x="connsiteX6423" y="connsiteY6423"/>
                </a:cxn>
                <a:cxn ang="0">
                  <a:pos x="connsiteX6424" y="connsiteY6424"/>
                </a:cxn>
                <a:cxn ang="0">
                  <a:pos x="connsiteX6425" y="connsiteY6425"/>
                </a:cxn>
                <a:cxn ang="0">
                  <a:pos x="connsiteX6426" y="connsiteY6426"/>
                </a:cxn>
                <a:cxn ang="0">
                  <a:pos x="connsiteX6427" y="connsiteY6427"/>
                </a:cxn>
                <a:cxn ang="0">
                  <a:pos x="connsiteX6428" y="connsiteY6428"/>
                </a:cxn>
                <a:cxn ang="0">
                  <a:pos x="connsiteX6429" y="connsiteY6429"/>
                </a:cxn>
                <a:cxn ang="0">
                  <a:pos x="connsiteX6430" y="connsiteY6430"/>
                </a:cxn>
                <a:cxn ang="0">
                  <a:pos x="connsiteX6431" y="connsiteY6431"/>
                </a:cxn>
                <a:cxn ang="0">
                  <a:pos x="connsiteX6432" y="connsiteY6432"/>
                </a:cxn>
                <a:cxn ang="0">
                  <a:pos x="connsiteX6433" y="connsiteY6433"/>
                </a:cxn>
                <a:cxn ang="0">
                  <a:pos x="connsiteX6434" y="connsiteY6434"/>
                </a:cxn>
                <a:cxn ang="0">
                  <a:pos x="connsiteX6435" y="connsiteY6435"/>
                </a:cxn>
                <a:cxn ang="0">
                  <a:pos x="connsiteX6436" y="connsiteY6436"/>
                </a:cxn>
                <a:cxn ang="0">
                  <a:pos x="connsiteX6437" y="connsiteY6437"/>
                </a:cxn>
                <a:cxn ang="0">
                  <a:pos x="connsiteX6438" y="connsiteY6438"/>
                </a:cxn>
                <a:cxn ang="0">
                  <a:pos x="connsiteX6439" y="connsiteY6439"/>
                </a:cxn>
                <a:cxn ang="0">
                  <a:pos x="connsiteX6440" y="connsiteY6440"/>
                </a:cxn>
                <a:cxn ang="0">
                  <a:pos x="connsiteX6441" y="connsiteY6441"/>
                </a:cxn>
                <a:cxn ang="0">
                  <a:pos x="connsiteX6442" y="connsiteY6442"/>
                </a:cxn>
                <a:cxn ang="0">
                  <a:pos x="connsiteX6443" y="connsiteY6443"/>
                </a:cxn>
                <a:cxn ang="0">
                  <a:pos x="connsiteX6444" y="connsiteY6444"/>
                </a:cxn>
                <a:cxn ang="0">
                  <a:pos x="connsiteX6445" y="connsiteY6445"/>
                </a:cxn>
                <a:cxn ang="0">
                  <a:pos x="connsiteX6446" y="connsiteY6446"/>
                </a:cxn>
                <a:cxn ang="0">
                  <a:pos x="connsiteX6447" y="connsiteY6447"/>
                </a:cxn>
                <a:cxn ang="0">
                  <a:pos x="connsiteX6448" y="connsiteY6448"/>
                </a:cxn>
                <a:cxn ang="0">
                  <a:pos x="connsiteX6449" y="connsiteY6449"/>
                </a:cxn>
                <a:cxn ang="0">
                  <a:pos x="connsiteX6450" y="connsiteY6450"/>
                </a:cxn>
                <a:cxn ang="0">
                  <a:pos x="connsiteX6451" y="connsiteY6451"/>
                </a:cxn>
                <a:cxn ang="0">
                  <a:pos x="connsiteX6452" y="connsiteY6452"/>
                </a:cxn>
                <a:cxn ang="0">
                  <a:pos x="connsiteX6453" y="connsiteY6453"/>
                </a:cxn>
                <a:cxn ang="0">
                  <a:pos x="connsiteX6454" y="connsiteY6454"/>
                </a:cxn>
                <a:cxn ang="0">
                  <a:pos x="connsiteX6455" y="connsiteY6455"/>
                </a:cxn>
                <a:cxn ang="0">
                  <a:pos x="connsiteX6456" y="connsiteY6456"/>
                </a:cxn>
                <a:cxn ang="0">
                  <a:pos x="connsiteX6457" y="connsiteY6457"/>
                </a:cxn>
                <a:cxn ang="0">
                  <a:pos x="connsiteX6458" y="connsiteY6458"/>
                </a:cxn>
                <a:cxn ang="0">
                  <a:pos x="connsiteX6459" y="connsiteY6459"/>
                </a:cxn>
                <a:cxn ang="0">
                  <a:pos x="connsiteX6460" y="connsiteY6460"/>
                </a:cxn>
                <a:cxn ang="0">
                  <a:pos x="connsiteX6461" y="connsiteY6461"/>
                </a:cxn>
                <a:cxn ang="0">
                  <a:pos x="connsiteX6462" y="connsiteY6462"/>
                </a:cxn>
                <a:cxn ang="0">
                  <a:pos x="connsiteX6463" y="connsiteY6463"/>
                </a:cxn>
                <a:cxn ang="0">
                  <a:pos x="connsiteX6464" y="connsiteY6464"/>
                </a:cxn>
                <a:cxn ang="0">
                  <a:pos x="connsiteX6465" y="connsiteY6465"/>
                </a:cxn>
                <a:cxn ang="0">
                  <a:pos x="connsiteX6466" y="connsiteY6466"/>
                </a:cxn>
                <a:cxn ang="0">
                  <a:pos x="connsiteX6467" y="connsiteY6467"/>
                </a:cxn>
                <a:cxn ang="0">
                  <a:pos x="connsiteX6468" y="connsiteY6468"/>
                </a:cxn>
                <a:cxn ang="0">
                  <a:pos x="connsiteX6469" y="connsiteY6469"/>
                </a:cxn>
                <a:cxn ang="0">
                  <a:pos x="connsiteX6470" y="connsiteY6470"/>
                </a:cxn>
                <a:cxn ang="0">
                  <a:pos x="connsiteX6471" y="connsiteY6471"/>
                </a:cxn>
                <a:cxn ang="0">
                  <a:pos x="connsiteX6472" y="connsiteY6472"/>
                </a:cxn>
                <a:cxn ang="0">
                  <a:pos x="connsiteX6473" y="connsiteY6473"/>
                </a:cxn>
                <a:cxn ang="0">
                  <a:pos x="connsiteX6474" y="connsiteY6474"/>
                </a:cxn>
                <a:cxn ang="0">
                  <a:pos x="connsiteX6475" y="connsiteY6475"/>
                </a:cxn>
                <a:cxn ang="0">
                  <a:pos x="connsiteX6476" y="connsiteY6476"/>
                </a:cxn>
                <a:cxn ang="0">
                  <a:pos x="connsiteX6477" y="connsiteY6477"/>
                </a:cxn>
                <a:cxn ang="0">
                  <a:pos x="connsiteX6478" y="connsiteY6478"/>
                </a:cxn>
                <a:cxn ang="0">
                  <a:pos x="connsiteX6479" y="connsiteY6479"/>
                </a:cxn>
                <a:cxn ang="0">
                  <a:pos x="connsiteX6480" y="connsiteY6480"/>
                </a:cxn>
                <a:cxn ang="0">
                  <a:pos x="connsiteX6481" y="connsiteY6481"/>
                </a:cxn>
                <a:cxn ang="0">
                  <a:pos x="connsiteX6482" y="connsiteY6482"/>
                </a:cxn>
                <a:cxn ang="0">
                  <a:pos x="connsiteX6483" y="connsiteY6483"/>
                </a:cxn>
                <a:cxn ang="0">
                  <a:pos x="connsiteX6484" y="connsiteY6484"/>
                </a:cxn>
                <a:cxn ang="0">
                  <a:pos x="connsiteX6485" y="connsiteY6485"/>
                </a:cxn>
                <a:cxn ang="0">
                  <a:pos x="connsiteX6486" y="connsiteY6486"/>
                </a:cxn>
                <a:cxn ang="0">
                  <a:pos x="connsiteX6487" y="connsiteY6487"/>
                </a:cxn>
                <a:cxn ang="0">
                  <a:pos x="connsiteX6488" y="connsiteY6488"/>
                </a:cxn>
                <a:cxn ang="0">
                  <a:pos x="connsiteX6489" y="connsiteY6489"/>
                </a:cxn>
                <a:cxn ang="0">
                  <a:pos x="connsiteX6490" y="connsiteY6490"/>
                </a:cxn>
                <a:cxn ang="0">
                  <a:pos x="connsiteX6491" y="connsiteY6491"/>
                </a:cxn>
                <a:cxn ang="0">
                  <a:pos x="connsiteX6492" y="connsiteY6492"/>
                </a:cxn>
                <a:cxn ang="0">
                  <a:pos x="connsiteX6493" y="connsiteY6493"/>
                </a:cxn>
                <a:cxn ang="0">
                  <a:pos x="connsiteX6494" y="connsiteY6494"/>
                </a:cxn>
                <a:cxn ang="0">
                  <a:pos x="connsiteX6495" y="connsiteY6495"/>
                </a:cxn>
                <a:cxn ang="0">
                  <a:pos x="connsiteX6496" y="connsiteY6496"/>
                </a:cxn>
                <a:cxn ang="0">
                  <a:pos x="connsiteX6497" y="connsiteY6497"/>
                </a:cxn>
                <a:cxn ang="0">
                  <a:pos x="connsiteX6498" y="connsiteY6498"/>
                </a:cxn>
                <a:cxn ang="0">
                  <a:pos x="connsiteX6499" y="connsiteY6499"/>
                </a:cxn>
                <a:cxn ang="0">
                  <a:pos x="connsiteX6500" y="connsiteY6500"/>
                </a:cxn>
                <a:cxn ang="0">
                  <a:pos x="connsiteX6501" y="connsiteY6501"/>
                </a:cxn>
                <a:cxn ang="0">
                  <a:pos x="connsiteX6502" y="connsiteY6502"/>
                </a:cxn>
                <a:cxn ang="0">
                  <a:pos x="connsiteX6503" y="connsiteY6503"/>
                </a:cxn>
                <a:cxn ang="0">
                  <a:pos x="connsiteX6504" y="connsiteY6504"/>
                </a:cxn>
                <a:cxn ang="0">
                  <a:pos x="connsiteX6505" y="connsiteY6505"/>
                </a:cxn>
                <a:cxn ang="0">
                  <a:pos x="connsiteX6506" y="connsiteY6506"/>
                </a:cxn>
                <a:cxn ang="0">
                  <a:pos x="connsiteX6507" y="connsiteY6507"/>
                </a:cxn>
                <a:cxn ang="0">
                  <a:pos x="connsiteX6508" y="connsiteY6508"/>
                </a:cxn>
                <a:cxn ang="0">
                  <a:pos x="connsiteX6509" y="connsiteY6509"/>
                </a:cxn>
                <a:cxn ang="0">
                  <a:pos x="connsiteX6510" y="connsiteY6510"/>
                </a:cxn>
                <a:cxn ang="0">
                  <a:pos x="connsiteX6511" y="connsiteY6511"/>
                </a:cxn>
                <a:cxn ang="0">
                  <a:pos x="connsiteX6512" y="connsiteY6512"/>
                </a:cxn>
                <a:cxn ang="0">
                  <a:pos x="connsiteX6513" y="connsiteY6513"/>
                </a:cxn>
                <a:cxn ang="0">
                  <a:pos x="connsiteX6514" y="connsiteY6514"/>
                </a:cxn>
                <a:cxn ang="0">
                  <a:pos x="connsiteX6515" y="connsiteY6515"/>
                </a:cxn>
                <a:cxn ang="0">
                  <a:pos x="connsiteX6516" y="connsiteY6516"/>
                </a:cxn>
                <a:cxn ang="0">
                  <a:pos x="connsiteX6517" y="connsiteY6517"/>
                </a:cxn>
                <a:cxn ang="0">
                  <a:pos x="connsiteX6518" y="connsiteY6518"/>
                </a:cxn>
                <a:cxn ang="0">
                  <a:pos x="connsiteX6519" y="connsiteY6519"/>
                </a:cxn>
                <a:cxn ang="0">
                  <a:pos x="connsiteX6520" y="connsiteY6520"/>
                </a:cxn>
                <a:cxn ang="0">
                  <a:pos x="connsiteX6521" y="connsiteY6521"/>
                </a:cxn>
                <a:cxn ang="0">
                  <a:pos x="connsiteX6522" y="connsiteY6522"/>
                </a:cxn>
                <a:cxn ang="0">
                  <a:pos x="connsiteX6523" y="connsiteY6523"/>
                </a:cxn>
                <a:cxn ang="0">
                  <a:pos x="connsiteX6524" y="connsiteY6524"/>
                </a:cxn>
                <a:cxn ang="0">
                  <a:pos x="connsiteX6525" y="connsiteY6525"/>
                </a:cxn>
                <a:cxn ang="0">
                  <a:pos x="connsiteX6526" y="connsiteY6526"/>
                </a:cxn>
                <a:cxn ang="0">
                  <a:pos x="connsiteX6527" y="connsiteY6527"/>
                </a:cxn>
                <a:cxn ang="0">
                  <a:pos x="connsiteX6528" y="connsiteY6528"/>
                </a:cxn>
                <a:cxn ang="0">
                  <a:pos x="connsiteX6529" y="connsiteY6529"/>
                </a:cxn>
                <a:cxn ang="0">
                  <a:pos x="connsiteX6530" y="connsiteY6530"/>
                </a:cxn>
                <a:cxn ang="0">
                  <a:pos x="connsiteX6531" y="connsiteY6531"/>
                </a:cxn>
                <a:cxn ang="0">
                  <a:pos x="connsiteX6532" y="connsiteY6532"/>
                </a:cxn>
                <a:cxn ang="0">
                  <a:pos x="connsiteX6533" y="connsiteY6533"/>
                </a:cxn>
                <a:cxn ang="0">
                  <a:pos x="connsiteX6534" y="connsiteY6534"/>
                </a:cxn>
                <a:cxn ang="0">
                  <a:pos x="connsiteX6535" y="connsiteY6535"/>
                </a:cxn>
                <a:cxn ang="0">
                  <a:pos x="connsiteX6536" y="connsiteY6536"/>
                </a:cxn>
                <a:cxn ang="0">
                  <a:pos x="connsiteX6537" y="connsiteY6537"/>
                </a:cxn>
                <a:cxn ang="0">
                  <a:pos x="connsiteX6538" y="connsiteY6538"/>
                </a:cxn>
                <a:cxn ang="0">
                  <a:pos x="connsiteX6539" y="connsiteY6539"/>
                </a:cxn>
                <a:cxn ang="0">
                  <a:pos x="connsiteX6540" y="connsiteY6540"/>
                </a:cxn>
                <a:cxn ang="0">
                  <a:pos x="connsiteX6541" y="connsiteY6541"/>
                </a:cxn>
                <a:cxn ang="0">
                  <a:pos x="connsiteX6542" y="connsiteY6542"/>
                </a:cxn>
                <a:cxn ang="0">
                  <a:pos x="connsiteX6543" y="connsiteY6543"/>
                </a:cxn>
                <a:cxn ang="0">
                  <a:pos x="connsiteX6544" y="connsiteY6544"/>
                </a:cxn>
                <a:cxn ang="0">
                  <a:pos x="connsiteX6545" y="connsiteY6545"/>
                </a:cxn>
                <a:cxn ang="0">
                  <a:pos x="connsiteX6546" y="connsiteY6546"/>
                </a:cxn>
                <a:cxn ang="0">
                  <a:pos x="connsiteX6547" y="connsiteY6547"/>
                </a:cxn>
                <a:cxn ang="0">
                  <a:pos x="connsiteX6548" y="connsiteY6548"/>
                </a:cxn>
                <a:cxn ang="0">
                  <a:pos x="connsiteX6549" y="connsiteY6549"/>
                </a:cxn>
                <a:cxn ang="0">
                  <a:pos x="connsiteX6550" y="connsiteY6550"/>
                </a:cxn>
                <a:cxn ang="0">
                  <a:pos x="connsiteX6551" y="connsiteY6551"/>
                </a:cxn>
                <a:cxn ang="0">
                  <a:pos x="connsiteX6552" y="connsiteY6552"/>
                </a:cxn>
                <a:cxn ang="0">
                  <a:pos x="connsiteX6553" y="connsiteY6553"/>
                </a:cxn>
                <a:cxn ang="0">
                  <a:pos x="connsiteX6554" y="connsiteY6554"/>
                </a:cxn>
                <a:cxn ang="0">
                  <a:pos x="connsiteX6555" y="connsiteY6555"/>
                </a:cxn>
                <a:cxn ang="0">
                  <a:pos x="connsiteX6556" y="connsiteY6556"/>
                </a:cxn>
                <a:cxn ang="0">
                  <a:pos x="connsiteX6557" y="connsiteY6557"/>
                </a:cxn>
                <a:cxn ang="0">
                  <a:pos x="connsiteX6558" y="connsiteY6558"/>
                </a:cxn>
                <a:cxn ang="0">
                  <a:pos x="connsiteX6559" y="connsiteY6559"/>
                </a:cxn>
                <a:cxn ang="0">
                  <a:pos x="connsiteX6560" y="connsiteY6560"/>
                </a:cxn>
                <a:cxn ang="0">
                  <a:pos x="connsiteX6561" y="connsiteY6561"/>
                </a:cxn>
                <a:cxn ang="0">
                  <a:pos x="connsiteX6562" y="connsiteY6562"/>
                </a:cxn>
                <a:cxn ang="0">
                  <a:pos x="connsiteX6563" y="connsiteY6563"/>
                </a:cxn>
                <a:cxn ang="0">
                  <a:pos x="connsiteX6564" y="connsiteY6564"/>
                </a:cxn>
                <a:cxn ang="0">
                  <a:pos x="connsiteX6565" y="connsiteY6565"/>
                </a:cxn>
                <a:cxn ang="0">
                  <a:pos x="connsiteX6566" y="connsiteY6566"/>
                </a:cxn>
                <a:cxn ang="0">
                  <a:pos x="connsiteX6567" y="connsiteY6567"/>
                </a:cxn>
                <a:cxn ang="0">
                  <a:pos x="connsiteX6568" y="connsiteY6568"/>
                </a:cxn>
                <a:cxn ang="0">
                  <a:pos x="connsiteX6569" y="connsiteY6569"/>
                </a:cxn>
                <a:cxn ang="0">
                  <a:pos x="connsiteX6570" y="connsiteY6570"/>
                </a:cxn>
                <a:cxn ang="0">
                  <a:pos x="connsiteX6571" y="connsiteY6571"/>
                </a:cxn>
                <a:cxn ang="0">
                  <a:pos x="connsiteX6572" y="connsiteY6572"/>
                </a:cxn>
                <a:cxn ang="0">
                  <a:pos x="connsiteX6573" y="connsiteY6573"/>
                </a:cxn>
                <a:cxn ang="0">
                  <a:pos x="connsiteX6574" y="connsiteY6574"/>
                </a:cxn>
                <a:cxn ang="0">
                  <a:pos x="connsiteX6575" y="connsiteY6575"/>
                </a:cxn>
                <a:cxn ang="0">
                  <a:pos x="connsiteX6576" y="connsiteY6576"/>
                </a:cxn>
                <a:cxn ang="0">
                  <a:pos x="connsiteX6577" y="connsiteY6577"/>
                </a:cxn>
                <a:cxn ang="0">
                  <a:pos x="connsiteX6578" y="connsiteY6578"/>
                </a:cxn>
                <a:cxn ang="0">
                  <a:pos x="connsiteX6579" y="connsiteY6579"/>
                </a:cxn>
                <a:cxn ang="0">
                  <a:pos x="connsiteX6580" y="connsiteY6580"/>
                </a:cxn>
                <a:cxn ang="0">
                  <a:pos x="connsiteX6581" y="connsiteY6581"/>
                </a:cxn>
                <a:cxn ang="0">
                  <a:pos x="connsiteX6582" y="connsiteY6582"/>
                </a:cxn>
                <a:cxn ang="0">
                  <a:pos x="connsiteX6583" y="connsiteY6583"/>
                </a:cxn>
                <a:cxn ang="0">
                  <a:pos x="connsiteX6584" y="connsiteY6584"/>
                </a:cxn>
                <a:cxn ang="0">
                  <a:pos x="connsiteX6585" y="connsiteY6585"/>
                </a:cxn>
                <a:cxn ang="0">
                  <a:pos x="connsiteX6586" y="connsiteY6586"/>
                </a:cxn>
                <a:cxn ang="0">
                  <a:pos x="connsiteX6587" y="connsiteY6587"/>
                </a:cxn>
                <a:cxn ang="0">
                  <a:pos x="connsiteX6588" y="connsiteY6588"/>
                </a:cxn>
                <a:cxn ang="0">
                  <a:pos x="connsiteX6589" y="connsiteY6589"/>
                </a:cxn>
                <a:cxn ang="0">
                  <a:pos x="connsiteX6590" y="connsiteY6590"/>
                </a:cxn>
                <a:cxn ang="0">
                  <a:pos x="connsiteX6591" y="connsiteY6591"/>
                </a:cxn>
                <a:cxn ang="0">
                  <a:pos x="connsiteX6592" y="connsiteY6592"/>
                </a:cxn>
                <a:cxn ang="0">
                  <a:pos x="connsiteX6593" y="connsiteY6593"/>
                </a:cxn>
                <a:cxn ang="0">
                  <a:pos x="connsiteX6594" y="connsiteY6594"/>
                </a:cxn>
                <a:cxn ang="0">
                  <a:pos x="connsiteX6595" y="connsiteY6595"/>
                </a:cxn>
                <a:cxn ang="0">
                  <a:pos x="connsiteX6596" y="connsiteY6596"/>
                </a:cxn>
                <a:cxn ang="0">
                  <a:pos x="connsiteX6597" y="connsiteY6597"/>
                </a:cxn>
                <a:cxn ang="0">
                  <a:pos x="connsiteX6598" y="connsiteY6598"/>
                </a:cxn>
                <a:cxn ang="0">
                  <a:pos x="connsiteX6599" y="connsiteY6599"/>
                </a:cxn>
                <a:cxn ang="0">
                  <a:pos x="connsiteX6600" y="connsiteY6600"/>
                </a:cxn>
                <a:cxn ang="0">
                  <a:pos x="connsiteX6601" y="connsiteY6601"/>
                </a:cxn>
                <a:cxn ang="0">
                  <a:pos x="connsiteX6602" y="connsiteY6602"/>
                </a:cxn>
                <a:cxn ang="0">
                  <a:pos x="connsiteX6603" y="connsiteY6603"/>
                </a:cxn>
                <a:cxn ang="0">
                  <a:pos x="connsiteX6604" y="connsiteY6604"/>
                </a:cxn>
                <a:cxn ang="0">
                  <a:pos x="connsiteX6605" y="connsiteY6605"/>
                </a:cxn>
                <a:cxn ang="0">
                  <a:pos x="connsiteX6606" y="connsiteY6606"/>
                </a:cxn>
                <a:cxn ang="0">
                  <a:pos x="connsiteX6607" y="connsiteY6607"/>
                </a:cxn>
                <a:cxn ang="0">
                  <a:pos x="connsiteX6608" y="connsiteY6608"/>
                </a:cxn>
                <a:cxn ang="0">
                  <a:pos x="connsiteX6609" y="connsiteY6609"/>
                </a:cxn>
                <a:cxn ang="0">
                  <a:pos x="connsiteX6610" y="connsiteY6610"/>
                </a:cxn>
                <a:cxn ang="0">
                  <a:pos x="connsiteX6611" y="connsiteY6611"/>
                </a:cxn>
                <a:cxn ang="0">
                  <a:pos x="connsiteX6612" y="connsiteY6612"/>
                </a:cxn>
                <a:cxn ang="0">
                  <a:pos x="connsiteX6613" y="connsiteY6613"/>
                </a:cxn>
                <a:cxn ang="0">
                  <a:pos x="connsiteX6614" y="connsiteY6614"/>
                </a:cxn>
                <a:cxn ang="0">
                  <a:pos x="connsiteX6615" y="connsiteY6615"/>
                </a:cxn>
                <a:cxn ang="0">
                  <a:pos x="connsiteX6616" y="connsiteY6616"/>
                </a:cxn>
                <a:cxn ang="0">
                  <a:pos x="connsiteX6617" y="connsiteY6617"/>
                </a:cxn>
                <a:cxn ang="0">
                  <a:pos x="connsiteX6618" y="connsiteY6618"/>
                </a:cxn>
                <a:cxn ang="0">
                  <a:pos x="connsiteX6619" y="connsiteY6619"/>
                </a:cxn>
                <a:cxn ang="0">
                  <a:pos x="connsiteX6620" y="connsiteY6620"/>
                </a:cxn>
                <a:cxn ang="0">
                  <a:pos x="connsiteX6621" y="connsiteY6621"/>
                </a:cxn>
                <a:cxn ang="0">
                  <a:pos x="connsiteX6622" y="connsiteY6622"/>
                </a:cxn>
                <a:cxn ang="0">
                  <a:pos x="connsiteX6623" y="connsiteY6623"/>
                </a:cxn>
                <a:cxn ang="0">
                  <a:pos x="connsiteX6624" y="connsiteY6624"/>
                </a:cxn>
                <a:cxn ang="0">
                  <a:pos x="connsiteX6625" y="connsiteY6625"/>
                </a:cxn>
                <a:cxn ang="0">
                  <a:pos x="connsiteX6626" y="connsiteY6626"/>
                </a:cxn>
                <a:cxn ang="0">
                  <a:pos x="connsiteX6627" y="connsiteY6627"/>
                </a:cxn>
                <a:cxn ang="0">
                  <a:pos x="connsiteX6628" y="connsiteY6628"/>
                </a:cxn>
                <a:cxn ang="0">
                  <a:pos x="connsiteX6629" y="connsiteY6629"/>
                </a:cxn>
                <a:cxn ang="0">
                  <a:pos x="connsiteX6630" y="connsiteY6630"/>
                </a:cxn>
                <a:cxn ang="0">
                  <a:pos x="connsiteX6631" y="connsiteY6631"/>
                </a:cxn>
                <a:cxn ang="0">
                  <a:pos x="connsiteX6632" y="connsiteY6632"/>
                </a:cxn>
                <a:cxn ang="0">
                  <a:pos x="connsiteX6633" y="connsiteY6633"/>
                </a:cxn>
                <a:cxn ang="0">
                  <a:pos x="connsiteX6634" y="connsiteY6634"/>
                </a:cxn>
                <a:cxn ang="0">
                  <a:pos x="connsiteX6635" y="connsiteY6635"/>
                </a:cxn>
                <a:cxn ang="0">
                  <a:pos x="connsiteX6636" y="connsiteY6636"/>
                </a:cxn>
                <a:cxn ang="0">
                  <a:pos x="connsiteX6637" y="connsiteY6637"/>
                </a:cxn>
                <a:cxn ang="0">
                  <a:pos x="connsiteX6638" y="connsiteY6638"/>
                </a:cxn>
                <a:cxn ang="0">
                  <a:pos x="connsiteX6639" y="connsiteY6639"/>
                </a:cxn>
                <a:cxn ang="0">
                  <a:pos x="connsiteX6640" y="connsiteY6640"/>
                </a:cxn>
                <a:cxn ang="0">
                  <a:pos x="connsiteX6641" y="connsiteY6641"/>
                </a:cxn>
                <a:cxn ang="0">
                  <a:pos x="connsiteX6642" y="connsiteY6642"/>
                </a:cxn>
                <a:cxn ang="0">
                  <a:pos x="connsiteX6643" y="connsiteY6643"/>
                </a:cxn>
                <a:cxn ang="0">
                  <a:pos x="connsiteX6644" y="connsiteY6644"/>
                </a:cxn>
                <a:cxn ang="0">
                  <a:pos x="connsiteX6645" y="connsiteY6645"/>
                </a:cxn>
                <a:cxn ang="0">
                  <a:pos x="connsiteX6646" y="connsiteY6646"/>
                </a:cxn>
                <a:cxn ang="0">
                  <a:pos x="connsiteX6647" y="connsiteY6647"/>
                </a:cxn>
                <a:cxn ang="0">
                  <a:pos x="connsiteX6648" y="connsiteY6648"/>
                </a:cxn>
                <a:cxn ang="0">
                  <a:pos x="connsiteX6649" y="connsiteY6649"/>
                </a:cxn>
                <a:cxn ang="0">
                  <a:pos x="connsiteX6650" y="connsiteY6650"/>
                </a:cxn>
                <a:cxn ang="0">
                  <a:pos x="connsiteX6651" y="connsiteY6651"/>
                </a:cxn>
                <a:cxn ang="0">
                  <a:pos x="connsiteX6652" y="connsiteY6652"/>
                </a:cxn>
                <a:cxn ang="0">
                  <a:pos x="connsiteX6653" y="connsiteY6653"/>
                </a:cxn>
                <a:cxn ang="0">
                  <a:pos x="connsiteX6654" y="connsiteY6654"/>
                </a:cxn>
                <a:cxn ang="0">
                  <a:pos x="connsiteX6655" y="connsiteY6655"/>
                </a:cxn>
                <a:cxn ang="0">
                  <a:pos x="connsiteX6656" y="connsiteY6656"/>
                </a:cxn>
                <a:cxn ang="0">
                  <a:pos x="connsiteX6657" y="connsiteY6657"/>
                </a:cxn>
                <a:cxn ang="0">
                  <a:pos x="connsiteX6658" y="connsiteY6658"/>
                </a:cxn>
                <a:cxn ang="0">
                  <a:pos x="connsiteX6659" y="connsiteY6659"/>
                </a:cxn>
                <a:cxn ang="0">
                  <a:pos x="connsiteX6660" y="connsiteY6660"/>
                </a:cxn>
                <a:cxn ang="0">
                  <a:pos x="connsiteX6661" y="connsiteY6661"/>
                </a:cxn>
                <a:cxn ang="0">
                  <a:pos x="connsiteX6662" y="connsiteY6662"/>
                </a:cxn>
                <a:cxn ang="0">
                  <a:pos x="connsiteX6663" y="connsiteY6663"/>
                </a:cxn>
                <a:cxn ang="0">
                  <a:pos x="connsiteX6664" y="connsiteY6664"/>
                </a:cxn>
                <a:cxn ang="0">
                  <a:pos x="connsiteX6665" y="connsiteY6665"/>
                </a:cxn>
                <a:cxn ang="0">
                  <a:pos x="connsiteX6666" y="connsiteY6666"/>
                </a:cxn>
                <a:cxn ang="0">
                  <a:pos x="connsiteX6667" y="connsiteY6667"/>
                </a:cxn>
                <a:cxn ang="0">
                  <a:pos x="connsiteX6668" y="connsiteY6668"/>
                </a:cxn>
                <a:cxn ang="0">
                  <a:pos x="connsiteX6669" y="connsiteY6669"/>
                </a:cxn>
                <a:cxn ang="0">
                  <a:pos x="connsiteX6670" y="connsiteY6670"/>
                </a:cxn>
                <a:cxn ang="0">
                  <a:pos x="connsiteX6671" y="connsiteY6671"/>
                </a:cxn>
                <a:cxn ang="0">
                  <a:pos x="connsiteX6672" y="connsiteY6672"/>
                </a:cxn>
                <a:cxn ang="0">
                  <a:pos x="connsiteX6673" y="connsiteY6673"/>
                </a:cxn>
                <a:cxn ang="0">
                  <a:pos x="connsiteX6674" y="connsiteY6674"/>
                </a:cxn>
                <a:cxn ang="0">
                  <a:pos x="connsiteX6675" y="connsiteY6675"/>
                </a:cxn>
                <a:cxn ang="0">
                  <a:pos x="connsiteX6676" y="connsiteY6676"/>
                </a:cxn>
                <a:cxn ang="0">
                  <a:pos x="connsiteX6677" y="connsiteY6677"/>
                </a:cxn>
                <a:cxn ang="0">
                  <a:pos x="connsiteX6678" y="connsiteY6678"/>
                </a:cxn>
                <a:cxn ang="0">
                  <a:pos x="connsiteX6679" y="connsiteY6679"/>
                </a:cxn>
                <a:cxn ang="0">
                  <a:pos x="connsiteX6680" y="connsiteY6680"/>
                </a:cxn>
                <a:cxn ang="0">
                  <a:pos x="connsiteX6681" y="connsiteY6681"/>
                </a:cxn>
                <a:cxn ang="0">
                  <a:pos x="connsiteX6682" y="connsiteY6682"/>
                </a:cxn>
                <a:cxn ang="0">
                  <a:pos x="connsiteX6683" y="connsiteY6683"/>
                </a:cxn>
                <a:cxn ang="0">
                  <a:pos x="connsiteX6684" y="connsiteY6684"/>
                </a:cxn>
                <a:cxn ang="0">
                  <a:pos x="connsiteX6685" y="connsiteY6685"/>
                </a:cxn>
                <a:cxn ang="0">
                  <a:pos x="connsiteX6686" y="connsiteY6686"/>
                </a:cxn>
                <a:cxn ang="0">
                  <a:pos x="connsiteX6687" y="connsiteY6687"/>
                </a:cxn>
                <a:cxn ang="0">
                  <a:pos x="connsiteX6688" y="connsiteY6688"/>
                </a:cxn>
                <a:cxn ang="0">
                  <a:pos x="connsiteX6689" y="connsiteY6689"/>
                </a:cxn>
                <a:cxn ang="0">
                  <a:pos x="connsiteX6690" y="connsiteY6690"/>
                </a:cxn>
                <a:cxn ang="0">
                  <a:pos x="connsiteX6691" y="connsiteY6691"/>
                </a:cxn>
                <a:cxn ang="0">
                  <a:pos x="connsiteX6692" y="connsiteY6692"/>
                </a:cxn>
                <a:cxn ang="0">
                  <a:pos x="connsiteX6693" y="connsiteY6693"/>
                </a:cxn>
                <a:cxn ang="0">
                  <a:pos x="connsiteX6694" y="connsiteY6694"/>
                </a:cxn>
                <a:cxn ang="0">
                  <a:pos x="connsiteX6695" y="connsiteY6695"/>
                </a:cxn>
                <a:cxn ang="0">
                  <a:pos x="connsiteX6696" y="connsiteY6696"/>
                </a:cxn>
                <a:cxn ang="0">
                  <a:pos x="connsiteX6697" y="connsiteY6697"/>
                </a:cxn>
                <a:cxn ang="0">
                  <a:pos x="connsiteX6698" y="connsiteY6698"/>
                </a:cxn>
                <a:cxn ang="0">
                  <a:pos x="connsiteX6699" y="connsiteY6699"/>
                </a:cxn>
                <a:cxn ang="0">
                  <a:pos x="connsiteX6700" y="connsiteY6700"/>
                </a:cxn>
                <a:cxn ang="0">
                  <a:pos x="connsiteX6701" y="connsiteY6701"/>
                </a:cxn>
                <a:cxn ang="0">
                  <a:pos x="connsiteX6702" y="connsiteY6702"/>
                </a:cxn>
                <a:cxn ang="0">
                  <a:pos x="connsiteX6703" y="connsiteY6703"/>
                </a:cxn>
                <a:cxn ang="0">
                  <a:pos x="connsiteX6704" y="connsiteY6704"/>
                </a:cxn>
                <a:cxn ang="0">
                  <a:pos x="connsiteX6705" y="connsiteY6705"/>
                </a:cxn>
                <a:cxn ang="0">
                  <a:pos x="connsiteX6706" y="connsiteY6706"/>
                </a:cxn>
                <a:cxn ang="0">
                  <a:pos x="connsiteX6707" y="connsiteY6707"/>
                </a:cxn>
                <a:cxn ang="0">
                  <a:pos x="connsiteX6708" y="connsiteY6708"/>
                </a:cxn>
                <a:cxn ang="0">
                  <a:pos x="connsiteX6709" y="connsiteY6709"/>
                </a:cxn>
                <a:cxn ang="0">
                  <a:pos x="connsiteX6710" y="connsiteY6710"/>
                </a:cxn>
                <a:cxn ang="0">
                  <a:pos x="connsiteX6711" y="connsiteY6711"/>
                </a:cxn>
                <a:cxn ang="0">
                  <a:pos x="connsiteX6712" y="connsiteY6712"/>
                </a:cxn>
                <a:cxn ang="0">
                  <a:pos x="connsiteX6713" y="connsiteY6713"/>
                </a:cxn>
                <a:cxn ang="0">
                  <a:pos x="connsiteX6714" y="connsiteY6714"/>
                </a:cxn>
                <a:cxn ang="0">
                  <a:pos x="connsiteX6715" y="connsiteY6715"/>
                </a:cxn>
                <a:cxn ang="0">
                  <a:pos x="connsiteX6716" y="connsiteY6716"/>
                </a:cxn>
                <a:cxn ang="0">
                  <a:pos x="connsiteX6717" y="connsiteY6717"/>
                </a:cxn>
                <a:cxn ang="0">
                  <a:pos x="connsiteX6718" y="connsiteY6718"/>
                </a:cxn>
                <a:cxn ang="0">
                  <a:pos x="connsiteX6719" y="connsiteY6719"/>
                </a:cxn>
                <a:cxn ang="0">
                  <a:pos x="connsiteX6720" y="connsiteY6720"/>
                </a:cxn>
                <a:cxn ang="0">
                  <a:pos x="connsiteX6721" y="connsiteY6721"/>
                </a:cxn>
                <a:cxn ang="0">
                  <a:pos x="connsiteX6722" y="connsiteY6722"/>
                </a:cxn>
                <a:cxn ang="0">
                  <a:pos x="connsiteX6723" y="connsiteY6723"/>
                </a:cxn>
                <a:cxn ang="0">
                  <a:pos x="connsiteX6724" y="connsiteY6724"/>
                </a:cxn>
                <a:cxn ang="0">
                  <a:pos x="connsiteX6725" y="connsiteY6725"/>
                </a:cxn>
                <a:cxn ang="0">
                  <a:pos x="connsiteX6726" y="connsiteY6726"/>
                </a:cxn>
                <a:cxn ang="0">
                  <a:pos x="connsiteX6727" y="connsiteY6727"/>
                </a:cxn>
                <a:cxn ang="0">
                  <a:pos x="connsiteX6728" y="connsiteY6728"/>
                </a:cxn>
                <a:cxn ang="0">
                  <a:pos x="connsiteX6729" y="connsiteY6729"/>
                </a:cxn>
                <a:cxn ang="0">
                  <a:pos x="connsiteX6730" y="connsiteY6730"/>
                </a:cxn>
                <a:cxn ang="0">
                  <a:pos x="connsiteX6731" y="connsiteY6731"/>
                </a:cxn>
                <a:cxn ang="0">
                  <a:pos x="connsiteX6732" y="connsiteY6732"/>
                </a:cxn>
                <a:cxn ang="0">
                  <a:pos x="connsiteX6733" y="connsiteY6733"/>
                </a:cxn>
                <a:cxn ang="0">
                  <a:pos x="connsiteX6734" y="connsiteY6734"/>
                </a:cxn>
                <a:cxn ang="0">
                  <a:pos x="connsiteX6735" y="connsiteY6735"/>
                </a:cxn>
                <a:cxn ang="0">
                  <a:pos x="connsiteX6736" y="connsiteY6736"/>
                </a:cxn>
                <a:cxn ang="0">
                  <a:pos x="connsiteX6737" y="connsiteY6737"/>
                </a:cxn>
                <a:cxn ang="0">
                  <a:pos x="connsiteX6738" y="connsiteY6738"/>
                </a:cxn>
                <a:cxn ang="0">
                  <a:pos x="connsiteX6739" y="connsiteY6739"/>
                </a:cxn>
                <a:cxn ang="0">
                  <a:pos x="connsiteX6740" y="connsiteY6740"/>
                </a:cxn>
                <a:cxn ang="0">
                  <a:pos x="connsiteX6741" y="connsiteY6741"/>
                </a:cxn>
                <a:cxn ang="0">
                  <a:pos x="connsiteX6742" y="connsiteY6742"/>
                </a:cxn>
                <a:cxn ang="0">
                  <a:pos x="connsiteX6743" y="connsiteY6743"/>
                </a:cxn>
                <a:cxn ang="0">
                  <a:pos x="connsiteX6744" y="connsiteY6744"/>
                </a:cxn>
                <a:cxn ang="0">
                  <a:pos x="connsiteX6745" y="connsiteY6745"/>
                </a:cxn>
                <a:cxn ang="0">
                  <a:pos x="connsiteX6746" y="connsiteY6746"/>
                </a:cxn>
                <a:cxn ang="0">
                  <a:pos x="connsiteX6747" y="connsiteY6747"/>
                </a:cxn>
                <a:cxn ang="0">
                  <a:pos x="connsiteX6748" y="connsiteY6748"/>
                </a:cxn>
                <a:cxn ang="0">
                  <a:pos x="connsiteX6749" y="connsiteY6749"/>
                </a:cxn>
                <a:cxn ang="0">
                  <a:pos x="connsiteX6750" y="connsiteY6750"/>
                </a:cxn>
                <a:cxn ang="0">
                  <a:pos x="connsiteX6751" y="connsiteY6751"/>
                </a:cxn>
                <a:cxn ang="0">
                  <a:pos x="connsiteX6752" y="connsiteY6752"/>
                </a:cxn>
                <a:cxn ang="0">
                  <a:pos x="connsiteX6753" y="connsiteY6753"/>
                </a:cxn>
                <a:cxn ang="0">
                  <a:pos x="connsiteX6754" y="connsiteY6754"/>
                </a:cxn>
                <a:cxn ang="0">
                  <a:pos x="connsiteX6755" y="connsiteY6755"/>
                </a:cxn>
                <a:cxn ang="0">
                  <a:pos x="connsiteX6756" y="connsiteY6756"/>
                </a:cxn>
                <a:cxn ang="0">
                  <a:pos x="connsiteX6757" y="connsiteY6757"/>
                </a:cxn>
                <a:cxn ang="0">
                  <a:pos x="connsiteX6758" y="connsiteY6758"/>
                </a:cxn>
                <a:cxn ang="0">
                  <a:pos x="connsiteX6759" y="connsiteY6759"/>
                </a:cxn>
                <a:cxn ang="0">
                  <a:pos x="connsiteX6760" y="connsiteY6760"/>
                </a:cxn>
                <a:cxn ang="0">
                  <a:pos x="connsiteX6761" y="connsiteY6761"/>
                </a:cxn>
                <a:cxn ang="0">
                  <a:pos x="connsiteX6762" y="connsiteY6762"/>
                </a:cxn>
                <a:cxn ang="0">
                  <a:pos x="connsiteX6763" y="connsiteY6763"/>
                </a:cxn>
                <a:cxn ang="0">
                  <a:pos x="connsiteX6764" y="connsiteY6764"/>
                </a:cxn>
                <a:cxn ang="0">
                  <a:pos x="connsiteX6765" y="connsiteY6765"/>
                </a:cxn>
                <a:cxn ang="0">
                  <a:pos x="connsiteX6766" y="connsiteY6766"/>
                </a:cxn>
                <a:cxn ang="0">
                  <a:pos x="connsiteX6767" y="connsiteY6767"/>
                </a:cxn>
                <a:cxn ang="0">
                  <a:pos x="connsiteX6768" y="connsiteY6768"/>
                </a:cxn>
                <a:cxn ang="0">
                  <a:pos x="connsiteX6769" y="connsiteY6769"/>
                </a:cxn>
                <a:cxn ang="0">
                  <a:pos x="connsiteX6770" y="connsiteY6770"/>
                </a:cxn>
                <a:cxn ang="0">
                  <a:pos x="connsiteX6771" y="connsiteY6771"/>
                </a:cxn>
                <a:cxn ang="0">
                  <a:pos x="connsiteX6772" y="connsiteY6772"/>
                </a:cxn>
                <a:cxn ang="0">
                  <a:pos x="connsiteX6773" y="connsiteY6773"/>
                </a:cxn>
                <a:cxn ang="0">
                  <a:pos x="connsiteX6774" y="connsiteY6774"/>
                </a:cxn>
                <a:cxn ang="0">
                  <a:pos x="connsiteX6775" y="connsiteY6775"/>
                </a:cxn>
                <a:cxn ang="0">
                  <a:pos x="connsiteX6776" y="connsiteY6776"/>
                </a:cxn>
                <a:cxn ang="0">
                  <a:pos x="connsiteX6777" y="connsiteY6777"/>
                </a:cxn>
                <a:cxn ang="0">
                  <a:pos x="connsiteX6778" y="connsiteY6778"/>
                </a:cxn>
                <a:cxn ang="0">
                  <a:pos x="connsiteX6779" y="connsiteY6779"/>
                </a:cxn>
                <a:cxn ang="0">
                  <a:pos x="connsiteX6780" y="connsiteY6780"/>
                </a:cxn>
                <a:cxn ang="0">
                  <a:pos x="connsiteX6781" y="connsiteY6781"/>
                </a:cxn>
                <a:cxn ang="0">
                  <a:pos x="connsiteX6782" y="connsiteY6782"/>
                </a:cxn>
                <a:cxn ang="0">
                  <a:pos x="connsiteX6783" y="connsiteY6783"/>
                </a:cxn>
                <a:cxn ang="0">
                  <a:pos x="connsiteX6784" y="connsiteY6784"/>
                </a:cxn>
                <a:cxn ang="0">
                  <a:pos x="connsiteX6785" y="connsiteY6785"/>
                </a:cxn>
                <a:cxn ang="0">
                  <a:pos x="connsiteX6786" y="connsiteY6786"/>
                </a:cxn>
                <a:cxn ang="0">
                  <a:pos x="connsiteX6787" y="connsiteY6787"/>
                </a:cxn>
                <a:cxn ang="0">
                  <a:pos x="connsiteX6788" y="connsiteY6788"/>
                </a:cxn>
                <a:cxn ang="0">
                  <a:pos x="connsiteX6789" y="connsiteY6789"/>
                </a:cxn>
                <a:cxn ang="0">
                  <a:pos x="connsiteX6790" y="connsiteY6790"/>
                </a:cxn>
                <a:cxn ang="0">
                  <a:pos x="connsiteX6791" y="connsiteY6791"/>
                </a:cxn>
                <a:cxn ang="0">
                  <a:pos x="connsiteX6792" y="connsiteY6792"/>
                </a:cxn>
                <a:cxn ang="0">
                  <a:pos x="connsiteX6793" y="connsiteY6793"/>
                </a:cxn>
                <a:cxn ang="0">
                  <a:pos x="connsiteX6794" y="connsiteY6794"/>
                </a:cxn>
                <a:cxn ang="0">
                  <a:pos x="connsiteX6795" y="connsiteY6795"/>
                </a:cxn>
                <a:cxn ang="0">
                  <a:pos x="connsiteX6796" y="connsiteY6796"/>
                </a:cxn>
                <a:cxn ang="0">
                  <a:pos x="connsiteX6797" y="connsiteY6797"/>
                </a:cxn>
                <a:cxn ang="0">
                  <a:pos x="connsiteX6798" y="connsiteY6798"/>
                </a:cxn>
                <a:cxn ang="0">
                  <a:pos x="connsiteX6799" y="connsiteY6799"/>
                </a:cxn>
                <a:cxn ang="0">
                  <a:pos x="connsiteX6800" y="connsiteY6800"/>
                </a:cxn>
                <a:cxn ang="0">
                  <a:pos x="connsiteX6801" y="connsiteY6801"/>
                </a:cxn>
                <a:cxn ang="0">
                  <a:pos x="connsiteX6802" y="connsiteY6802"/>
                </a:cxn>
                <a:cxn ang="0">
                  <a:pos x="connsiteX6803" y="connsiteY6803"/>
                </a:cxn>
                <a:cxn ang="0">
                  <a:pos x="connsiteX6804" y="connsiteY6804"/>
                </a:cxn>
                <a:cxn ang="0">
                  <a:pos x="connsiteX6805" y="connsiteY6805"/>
                </a:cxn>
                <a:cxn ang="0">
                  <a:pos x="connsiteX6806" y="connsiteY6806"/>
                </a:cxn>
                <a:cxn ang="0">
                  <a:pos x="connsiteX6807" y="connsiteY6807"/>
                </a:cxn>
                <a:cxn ang="0">
                  <a:pos x="connsiteX6808" y="connsiteY6808"/>
                </a:cxn>
                <a:cxn ang="0">
                  <a:pos x="connsiteX6809" y="connsiteY6809"/>
                </a:cxn>
                <a:cxn ang="0">
                  <a:pos x="connsiteX6810" y="connsiteY6810"/>
                </a:cxn>
                <a:cxn ang="0">
                  <a:pos x="connsiteX6811" y="connsiteY6811"/>
                </a:cxn>
                <a:cxn ang="0">
                  <a:pos x="connsiteX6812" y="connsiteY6812"/>
                </a:cxn>
                <a:cxn ang="0">
                  <a:pos x="connsiteX6813" y="connsiteY6813"/>
                </a:cxn>
                <a:cxn ang="0">
                  <a:pos x="connsiteX6814" y="connsiteY6814"/>
                </a:cxn>
                <a:cxn ang="0">
                  <a:pos x="connsiteX6815" y="connsiteY6815"/>
                </a:cxn>
                <a:cxn ang="0">
                  <a:pos x="connsiteX6816" y="connsiteY6816"/>
                </a:cxn>
                <a:cxn ang="0">
                  <a:pos x="connsiteX6817" y="connsiteY6817"/>
                </a:cxn>
                <a:cxn ang="0">
                  <a:pos x="connsiteX6818" y="connsiteY6818"/>
                </a:cxn>
                <a:cxn ang="0">
                  <a:pos x="connsiteX6819" y="connsiteY6819"/>
                </a:cxn>
                <a:cxn ang="0">
                  <a:pos x="connsiteX6820" y="connsiteY6820"/>
                </a:cxn>
                <a:cxn ang="0">
                  <a:pos x="connsiteX6821" y="connsiteY6821"/>
                </a:cxn>
                <a:cxn ang="0">
                  <a:pos x="connsiteX6822" y="connsiteY6822"/>
                </a:cxn>
                <a:cxn ang="0">
                  <a:pos x="connsiteX6823" y="connsiteY6823"/>
                </a:cxn>
                <a:cxn ang="0">
                  <a:pos x="connsiteX6824" y="connsiteY6824"/>
                </a:cxn>
                <a:cxn ang="0">
                  <a:pos x="connsiteX6825" y="connsiteY6825"/>
                </a:cxn>
                <a:cxn ang="0">
                  <a:pos x="connsiteX6826" y="connsiteY6826"/>
                </a:cxn>
                <a:cxn ang="0">
                  <a:pos x="connsiteX6827" y="connsiteY6827"/>
                </a:cxn>
                <a:cxn ang="0">
                  <a:pos x="connsiteX6828" y="connsiteY6828"/>
                </a:cxn>
                <a:cxn ang="0">
                  <a:pos x="connsiteX6829" y="connsiteY6829"/>
                </a:cxn>
                <a:cxn ang="0">
                  <a:pos x="connsiteX6830" y="connsiteY6830"/>
                </a:cxn>
                <a:cxn ang="0">
                  <a:pos x="connsiteX6831" y="connsiteY6831"/>
                </a:cxn>
                <a:cxn ang="0">
                  <a:pos x="connsiteX6832" y="connsiteY6832"/>
                </a:cxn>
                <a:cxn ang="0">
                  <a:pos x="connsiteX6833" y="connsiteY6833"/>
                </a:cxn>
                <a:cxn ang="0">
                  <a:pos x="connsiteX6834" y="connsiteY6834"/>
                </a:cxn>
                <a:cxn ang="0">
                  <a:pos x="connsiteX6835" y="connsiteY6835"/>
                </a:cxn>
                <a:cxn ang="0">
                  <a:pos x="connsiteX6836" y="connsiteY6836"/>
                </a:cxn>
                <a:cxn ang="0">
                  <a:pos x="connsiteX6837" y="connsiteY6837"/>
                </a:cxn>
                <a:cxn ang="0">
                  <a:pos x="connsiteX6838" y="connsiteY6838"/>
                </a:cxn>
                <a:cxn ang="0">
                  <a:pos x="connsiteX6839" y="connsiteY6839"/>
                </a:cxn>
                <a:cxn ang="0">
                  <a:pos x="connsiteX6840" y="connsiteY6840"/>
                </a:cxn>
                <a:cxn ang="0">
                  <a:pos x="connsiteX6841" y="connsiteY6841"/>
                </a:cxn>
                <a:cxn ang="0">
                  <a:pos x="connsiteX6842" y="connsiteY6842"/>
                </a:cxn>
                <a:cxn ang="0">
                  <a:pos x="connsiteX6843" y="connsiteY6843"/>
                </a:cxn>
                <a:cxn ang="0">
                  <a:pos x="connsiteX6844" y="connsiteY6844"/>
                </a:cxn>
                <a:cxn ang="0">
                  <a:pos x="connsiteX6845" y="connsiteY6845"/>
                </a:cxn>
                <a:cxn ang="0">
                  <a:pos x="connsiteX6846" y="connsiteY6846"/>
                </a:cxn>
                <a:cxn ang="0">
                  <a:pos x="connsiteX6847" y="connsiteY6847"/>
                </a:cxn>
                <a:cxn ang="0">
                  <a:pos x="connsiteX6848" y="connsiteY6848"/>
                </a:cxn>
                <a:cxn ang="0">
                  <a:pos x="connsiteX6849" y="connsiteY6849"/>
                </a:cxn>
                <a:cxn ang="0">
                  <a:pos x="connsiteX6850" y="connsiteY6850"/>
                </a:cxn>
                <a:cxn ang="0">
                  <a:pos x="connsiteX6851" y="connsiteY6851"/>
                </a:cxn>
                <a:cxn ang="0">
                  <a:pos x="connsiteX6852" y="connsiteY6852"/>
                </a:cxn>
                <a:cxn ang="0">
                  <a:pos x="connsiteX6853" y="connsiteY6853"/>
                </a:cxn>
                <a:cxn ang="0">
                  <a:pos x="connsiteX6854" y="connsiteY6854"/>
                </a:cxn>
                <a:cxn ang="0">
                  <a:pos x="connsiteX6855" y="connsiteY6855"/>
                </a:cxn>
                <a:cxn ang="0">
                  <a:pos x="connsiteX6856" y="connsiteY6856"/>
                </a:cxn>
                <a:cxn ang="0">
                  <a:pos x="connsiteX6857" y="connsiteY6857"/>
                </a:cxn>
                <a:cxn ang="0">
                  <a:pos x="connsiteX6858" y="connsiteY6858"/>
                </a:cxn>
                <a:cxn ang="0">
                  <a:pos x="connsiteX6859" y="connsiteY6859"/>
                </a:cxn>
                <a:cxn ang="0">
                  <a:pos x="connsiteX6860" y="connsiteY6860"/>
                </a:cxn>
                <a:cxn ang="0">
                  <a:pos x="connsiteX6861" y="connsiteY6861"/>
                </a:cxn>
                <a:cxn ang="0">
                  <a:pos x="connsiteX6862" y="connsiteY6862"/>
                </a:cxn>
                <a:cxn ang="0">
                  <a:pos x="connsiteX6863" y="connsiteY6863"/>
                </a:cxn>
                <a:cxn ang="0">
                  <a:pos x="connsiteX6864" y="connsiteY6864"/>
                </a:cxn>
                <a:cxn ang="0">
                  <a:pos x="connsiteX6865" y="connsiteY6865"/>
                </a:cxn>
                <a:cxn ang="0">
                  <a:pos x="connsiteX6866" y="connsiteY6866"/>
                </a:cxn>
                <a:cxn ang="0">
                  <a:pos x="connsiteX6867" y="connsiteY6867"/>
                </a:cxn>
                <a:cxn ang="0">
                  <a:pos x="connsiteX6868" y="connsiteY6868"/>
                </a:cxn>
                <a:cxn ang="0">
                  <a:pos x="connsiteX6869" y="connsiteY6869"/>
                </a:cxn>
                <a:cxn ang="0">
                  <a:pos x="connsiteX6870" y="connsiteY6870"/>
                </a:cxn>
                <a:cxn ang="0">
                  <a:pos x="connsiteX6871" y="connsiteY6871"/>
                </a:cxn>
                <a:cxn ang="0">
                  <a:pos x="connsiteX6872" y="connsiteY6872"/>
                </a:cxn>
                <a:cxn ang="0">
                  <a:pos x="connsiteX6873" y="connsiteY6873"/>
                </a:cxn>
                <a:cxn ang="0">
                  <a:pos x="connsiteX6874" y="connsiteY6874"/>
                </a:cxn>
                <a:cxn ang="0">
                  <a:pos x="connsiteX6875" y="connsiteY6875"/>
                </a:cxn>
                <a:cxn ang="0">
                  <a:pos x="connsiteX6876" y="connsiteY6876"/>
                </a:cxn>
                <a:cxn ang="0">
                  <a:pos x="connsiteX6877" y="connsiteY6877"/>
                </a:cxn>
                <a:cxn ang="0">
                  <a:pos x="connsiteX6878" y="connsiteY6878"/>
                </a:cxn>
                <a:cxn ang="0">
                  <a:pos x="connsiteX6879" y="connsiteY6879"/>
                </a:cxn>
                <a:cxn ang="0">
                  <a:pos x="connsiteX6880" y="connsiteY6880"/>
                </a:cxn>
                <a:cxn ang="0">
                  <a:pos x="connsiteX6881" y="connsiteY6881"/>
                </a:cxn>
                <a:cxn ang="0">
                  <a:pos x="connsiteX6882" y="connsiteY6882"/>
                </a:cxn>
                <a:cxn ang="0">
                  <a:pos x="connsiteX6883" y="connsiteY6883"/>
                </a:cxn>
                <a:cxn ang="0">
                  <a:pos x="connsiteX6884" y="connsiteY6884"/>
                </a:cxn>
                <a:cxn ang="0">
                  <a:pos x="connsiteX6885" y="connsiteY6885"/>
                </a:cxn>
                <a:cxn ang="0">
                  <a:pos x="connsiteX6886" y="connsiteY6886"/>
                </a:cxn>
                <a:cxn ang="0">
                  <a:pos x="connsiteX6887" y="connsiteY6887"/>
                </a:cxn>
                <a:cxn ang="0">
                  <a:pos x="connsiteX6888" y="connsiteY6888"/>
                </a:cxn>
                <a:cxn ang="0">
                  <a:pos x="connsiteX6889" y="connsiteY6889"/>
                </a:cxn>
                <a:cxn ang="0">
                  <a:pos x="connsiteX6890" y="connsiteY6890"/>
                </a:cxn>
                <a:cxn ang="0">
                  <a:pos x="connsiteX6891" y="connsiteY6891"/>
                </a:cxn>
                <a:cxn ang="0">
                  <a:pos x="connsiteX6892" y="connsiteY6892"/>
                </a:cxn>
                <a:cxn ang="0">
                  <a:pos x="connsiteX6893" y="connsiteY6893"/>
                </a:cxn>
                <a:cxn ang="0">
                  <a:pos x="connsiteX6894" y="connsiteY6894"/>
                </a:cxn>
                <a:cxn ang="0">
                  <a:pos x="connsiteX6895" y="connsiteY6895"/>
                </a:cxn>
                <a:cxn ang="0">
                  <a:pos x="connsiteX6896" y="connsiteY6896"/>
                </a:cxn>
                <a:cxn ang="0">
                  <a:pos x="connsiteX6897" y="connsiteY6897"/>
                </a:cxn>
                <a:cxn ang="0">
                  <a:pos x="connsiteX6898" y="connsiteY6898"/>
                </a:cxn>
                <a:cxn ang="0">
                  <a:pos x="connsiteX6899" y="connsiteY6899"/>
                </a:cxn>
                <a:cxn ang="0">
                  <a:pos x="connsiteX6900" y="connsiteY6900"/>
                </a:cxn>
                <a:cxn ang="0">
                  <a:pos x="connsiteX6901" y="connsiteY6901"/>
                </a:cxn>
                <a:cxn ang="0">
                  <a:pos x="connsiteX6902" y="connsiteY6902"/>
                </a:cxn>
                <a:cxn ang="0">
                  <a:pos x="connsiteX6903" y="connsiteY6903"/>
                </a:cxn>
                <a:cxn ang="0">
                  <a:pos x="connsiteX6904" y="connsiteY6904"/>
                </a:cxn>
                <a:cxn ang="0">
                  <a:pos x="connsiteX6905" y="connsiteY6905"/>
                </a:cxn>
                <a:cxn ang="0">
                  <a:pos x="connsiteX6906" y="connsiteY6906"/>
                </a:cxn>
                <a:cxn ang="0">
                  <a:pos x="connsiteX6907" y="connsiteY6907"/>
                </a:cxn>
                <a:cxn ang="0">
                  <a:pos x="connsiteX6908" y="connsiteY6908"/>
                </a:cxn>
                <a:cxn ang="0">
                  <a:pos x="connsiteX6909" y="connsiteY6909"/>
                </a:cxn>
                <a:cxn ang="0">
                  <a:pos x="connsiteX6910" y="connsiteY6910"/>
                </a:cxn>
                <a:cxn ang="0">
                  <a:pos x="connsiteX6911" y="connsiteY6911"/>
                </a:cxn>
                <a:cxn ang="0">
                  <a:pos x="connsiteX6912" y="connsiteY6912"/>
                </a:cxn>
                <a:cxn ang="0">
                  <a:pos x="connsiteX6913" y="connsiteY6913"/>
                </a:cxn>
                <a:cxn ang="0">
                  <a:pos x="connsiteX6914" y="connsiteY6914"/>
                </a:cxn>
                <a:cxn ang="0">
                  <a:pos x="connsiteX6915" y="connsiteY6915"/>
                </a:cxn>
                <a:cxn ang="0">
                  <a:pos x="connsiteX6916" y="connsiteY6916"/>
                </a:cxn>
                <a:cxn ang="0">
                  <a:pos x="connsiteX6917" y="connsiteY6917"/>
                </a:cxn>
                <a:cxn ang="0">
                  <a:pos x="connsiteX6918" y="connsiteY6918"/>
                </a:cxn>
                <a:cxn ang="0">
                  <a:pos x="connsiteX6919" y="connsiteY6919"/>
                </a:cxn>
                <a:cxn ang="0">
                  <a:pos x="connsiteX6920" y="connsiteY6920"/>
                </a:cxn>
                <a:cxn ang="0">
                  <a:pos x="connsiteX6921" y="connsiteY6921"/>
                </a:cxn>
                <a:cxn ang="0">
                  <a:pos x="connsiteX6922" y="connsiteY6922"/>
                </a:cxn>
                <a:cxn ang="0">
                  <a:pos x="connsiteX6923" y="connsiteY6923"/>
                </a:cxn>
                <a:cxn ang="0">
                  <a:pos x="connsiteX6924" y="connsiteY6924"/>
                </a:cxn>
                <a:cxn ang="0">
                  <a:pos x="connsiteX6925" y="connsiteY6925"/>
                </a:cxn>
                <a:cxn ang="0">
                  <a:pos x="connsiteX6926" y="connsiteY6926"/>
                </a:cxn>
                <a:cxn ang="0">
                  <a:pos x="connsiteX6927" y="connsiteY6927"/>
                </a:cxn>
                <a:cxn ang="0">
                  <a:pos x="connsiteX6928" y="connsiteY6928"/>
                </a:cxn>
                <a:cxn ang="0">
                  <a:pos x="connsiteX6929" y="connsiteY6929"/>
                </a:cxn>
                <a:cxn ang="0">
                  <a:pos x="connsiteX6930" y="connsiteY6930"/>
                </a:cxn>
                <a:cxn ang="0">
                  <a:pos x="connsiteX6931" y="connsiteY6931"/>
                </a:cxn>
                <a:cxn ang="0">
                  <a:pos x="connsiteX6932" y="connsiteY6932"/>
                </a:cxn>
                <a:cxn ang="0">
                  <a:pos x="connsiteX6933" y="connsiteY6933"/>
                </a:cxn>
                <a:cxn ang="0">
                  <a:pos x="connsiteX6934" y="connsiteY6934"/>
                </a:cxn>
                <a:cxn ang="0">
                  <a:pos x="connsiteX6935" y="connsiteY6935"/>
                </a:cxn>
                <a:cxn ang="0">
                  <a:pos x="connsiteX6936" y="connsiteY6936"/>
                </a:cxn>
                <a:cxn ang="0">
                  <a:pos x="connsiteX6937" y="connsiteY6937"/>
                </a:cxn>
                <a:cxn ang="0">
                  <a:pos x="connsiteX6938" y="connsiteY6938"/>
                </a:cxn>
                <a:cxn ang="0">
                  <a:pos x="connsiteX6939" y="connsiteY6939"/>
                </a:cxn>
                <a:cxn ang="0">
                  <a:pos x="connsiteX6940" y="connsiteY6940"/>
                </a:cxn>
                <a:cxn ang="0">
                  <a:pos x="connsiteX6941" y="connsiteY6941"/>
                </a:cxn>
                <a:cxn ang="0">
                  <a:pos x="connsiteX6942" y="connsiteY6942"/>
                </a:cxn>
                <a:cxn ang="0">
                  <a:pos x="connsiteX6943" y="connsiteY6943"/>
                </a:cxn>
                <a:cxn ang="0">
                  <a:pos x="connsiteX6944" y="connsiteY6944"/>
                </a:cxn>
                <a:cxn ang="0">
                  <a:pos x="connsiteX6945" y="connsiteY6945"/>
                </a:cxn>
                <a:cxn ang="0">
                  <a:pos x="connsiteX6946" y="connsiteY6946"/>
                </a:cxn>
                <a:cxn ang="0">
                  <a:pos x="connsiteX6947" y="connsiteY6947"/>
                </a:cxn>
                <a:cxn ang="0">
                  <a:pos x="connsiteX6948" y="connsiteY6948"/>
                </a:cxn>
                <a:cxn ang="0">
                  <a:pos x="connsiteX6949" y="connsiteY6949"/>
                </a:cxn>
                <a:cxn ang="0">
                  <a:pos x="connsiteX6950" y="connsiteY6950"/>
                </a:cxn>
                <a:cxn ang="0">
                  <a:pos x="connsiteX6951" y="connsiteY6951"/>
                </a:cxn>
                <a:cxn ang="0">
                  <a:pos x="connsiteX6952" y="connsiteY6952"/>
                </a:cxn>
                <a:cxn ang="0">
                  <a:pos x="connsiteX6953" y="connsiteY6953"/>
                </a:cxn>
                <a:cxn ang="0">
                  <a:pos x="connsiteX6954" y="connsiteY6954"/>
                </a:cxn>
                <a:cxn ang="0">
                  <a:pos x="connsiteX6955" y="connsiteY6955"/>
                </a:cxn>
                <a:cxn ang="0">
                  <a:pos x="connsiteX6956" y="connsiteY6956"/>
                </a:cxn>
                <a:cxn ang="0">
                  <a:pos x="connsiteX6957" y="connsiteY6957"/>
                </a:cxn>
                <a:cxn ang="0">
                  <a:pos x="connsiteX6958" y="connsiteY6958"/>
                </a:cxn>
                <a:cxn ang="0">
                  <a:pos x="connsiteX6959" y="connsiteY6959"/>
                </a:cxn>
                <a:cxn ang="0">
                  <a:pos x="connsiteX6960" y="connsiteY6960"/>
                </a:cxn>
                <a:cxn ang="0">
                  <a:pos x="connsiteX6961" y="connsiteY6961"/>
                </a:cxn>
                <a:cxn ang="0">
                  <a:pos x="connsiteX6962" y="connsiteY6962"/>
                </a:cxn>
                <a:cxn ang="0">
                  <a:pos x="connsiteX6963" y="connsiteY6963"/>
                </a:cxn>
                <a:cxn ang="0">
                  <a:pos x="connsiteX6964" y="connsiteY6964"/>
                </a:cxn>
                <a:cxn ang="0">
                  <a:pos x="connsiteX6965" y="connsiteY6965"/>
                </a:cxn>
                <a:cxn ang="0">
                  <a:pos x="connsiteX6966" y="connsiteY6966"/>
                </a:cxn>
                <a:cxn ang="0">
                  <a:pos x="connsiteX6967" y="connsiteY6967"/>
                </a:cxn>
                <a:cxn ang="0">
                  <a:pos x="connsiteX6968" y="connsiteY6968"/>
                </a:cxn>
                <a:cxn ang="0">
                  <a:pos x="connsiteX6969" y="connsiteY6969"/>
                </a:cxn>
                <a:cxn ang="0">
                  <a:pos x="connsiteX6970" y="connsiteY6970"/>
                </a:cxn>
                <a:cxn ang="0">
                  <a:pos x="connsiteX6971" y="connsiteY6971"/>
                </a:cxn>
                <a:cxn ang="0">
                  <a:pos x="connsiteX6972" y="connsiteY6972"/>
                </a:cxn>
                <a:cxn ang="0">
                  <a:pos x="connsiteX6973" y="connsiteY6973"/>
                </a:cxn>
                <a:cxn ang="0">
                  <a:pos x="connsiteX6974" y="connsiteY6974"/>
                </a:cxn>
                <a:cxn ang="0">
                  <a:pos x="connsiteX6975" y="connsiteY6975"/>
                </a:cxn>
                <a:cxn ang="0">
                  <a:pos x="connsiteX6976" y="connsiteY6976"/>
                </a:cxn>
                <a:cxn ang="0">
                  <a:pos x="connsiteX6977" y="connsiteY6977"/>
                </a:cxn>
                <a:cxn ang="0">
                  <a:pos x="connsiteX6978" y="connsiteY6978"/>
                </a:cxn>
                <a:cxn ang="0">
                  <a:pos x="connsiteX6979" y="connsiteY6979"/>
                </a:cxn>
                <a:cxn ang="0">
                  <a:pos x="connsiteX6980" y="connsiteY6980"/>
                </a:cxn>
                <a:cxn ang="0">
                  <a:pos x="connsiteX6981" y="connsiteY6981"/>
                </a:cxn>
                <a:cxn ang="0">
                  <a:pos x="connsiteX6982" y="connsiteY6982"/>
                </a:cxn>
                <a:cxn ang="0">
                  <a:pos x="connsiteX6983" y="connsiteY6983"/>
                </a:cxn>
                <a:cxn ang="0">
                  <a:pos x="connsiteX6984" y="connsiteY6984"/>
                </a:cxn>
                <a:cxn ang="0">
                  <a:pos x="connsiteX6985" y="connsiteY6985"/>
                </a:cxn>
                <a:cxn ang="0">
                  <a:pos x="connsiteX6986" y="connsiteY6986"/>
                </a:cxn>
                <a:cxn ang="0">
                  <a:pos x="connsiteX6987" y="connsiteY6987"/>
                </a:cxn>
                <a:cxn ang="0">
                  <a:pos x="connsiteX6988" y="connsiteY6988"/>
                </a:cxn>
                <a:cxn ang="0">
                  <a:pos x="connsiteX6989" y="connsiteY6989"/>
                </a:cxn>
                <a:cxn ang="0">
                  <a:pos x="connsiteX6990" y="connsiteY6990"/>
                </a:cxn>
                <a:cxn ang="0">
                  <a:pos x="connsiteX6991" y="connsiteY6991"/>
                </a:cxn>
                <a:cxn ang="0">
                  <a:pos x="connsiteX6992" y="connsiteY6992"/>
                </a:cxn>
                <a:cxn ang="0">
                  <a:pos x="connsiteX6993" y="connsiteY6993"/>
                </a:cxn>
                <a:cxn ang="0">
                  <a:pos x="connsiteX6994" y="connsiteY6994"/>
                </a:cxn>
                <a:cxn ang="0">
                  <a:pos x="connsiteX6995" y="connsiteY6995"/>
                </a:cxn>
                <a:cxn ang="0">
                  <a:pos x="connsiteX6996" y="connsiteY6996"/>
                </a:cxn>
                <a:cxn ang="0">
                  <a:pos x="connsiteX6997" y="connsiteY6997"/>
                </a:cxn>
                <a:cxn ang="0">
                  <a:pos x="connsiteX6998" y="connsiteY6998"/>
                </a:cxn>
                <a:cxn ang="0">
                  <a:pos x="connsiteX6999" y="connsiteY6999"/>
                </a:cxn>
                <a:cxn ang="0">
                  <a:pos x="connsiteX7000" y="connsiteY7000"/>
                </a:cxn>
                <a:cxn ang="0">
                  <a:pos x="connsiteX7001" y="connsiteY7001"/>
                </a:cxn>
                <a:cxn ang="0">
                  <a:pos x="connsiteX7002" y="connsiteY7002"/>
                </a:cxn>
                <a:cxn ang="0">
                  <a:pos x="connsiteX7003" y="connsiteY7003"/>
                </a:cxn>
                <a:cxn ang="0">
                  <a:pos x="connsiteX7004" y="connsiteY7004"/>
                </a:cxn>
                <a:cxn ang="0">
                  <a:pos x="connsiteX7005" y="connsiteY7005"/>
                </a:cxn>
                <a:cxn ang="0">
                  <a:pos x="connsiteX7006" y="connsiteY7006"/>
                </a:cxn>
                <a:cxn ang="0">
                  <a:pos x="connsiteX7007" y="connsiteY7007"/>
                </a:cxn>
                <a:cxn ang="0">
                  <a:pos x="connsiteX7008" y="connsiteY7008"/>
                </a:cxn>
                <a:cxn ang="0">
                  <a:pos x="connsiteX7009" y="connsiteY7009"/>
                </a:cxn>
                <a:cxn ang="0">
                  <a:pos x="connsiteX7010" y="connsiteY7010"/>
                </a:cxn>
                <a:cxn ang="0">
                  <a:pos x="connsiteX7011" y="connsiteY7011"/>
                </a:cxn>
                <a:cxn ang="0">
                  <a:pos x="connsiteX7012" y="connsiteY7012"/>
                </a:cxn>
                <a:cxn ang="0">
                  <a:pos x="connsiteX7013" y="connsiteY7013"/>
                </a:cxn>
                <a:cxn ang="0">
                  <a:pos x="connsiteX7014" y="connsiteY7014"/>
                </a:cxn>
                <a:cxn ang="0">
                  <a:pos x="connsiteX7015" y="connsiteY7015"/>
                </a:cxn>
                <a:cxn ang="0">
                  <a:pos x="connsiteX7016" y="connsiteY7016"/>
                </a:cxn>
                <a:cxn ang="0">
                  <a:pos x="connsiteX7017" y="connsiteY7017"/>
                </a:cxn>
                <a:cxn ang="0">
                  <a:pos x="connsiteX7018" y="connsiteY7018"/>
                </a:cxn>
                <a:cxn ang="0">
                  <a:pos x="connsiteX7019" y="connsiteY7019"/>
                </a:cxn>
                <a:cxn ang="0">
                  <a:pos x="connsiteX7020" y="connsiteY7020"/>
                </a:cxn>
                <a:cxn ang="0">
                  <a:pos x="connsiteX7021" y="connsiteY7021"/>
                </a:cxn>
                <a:cxn ang="0">
                  <a:pos x="connsiteX7022" y="connsiteY7022"/>
                </a:cxn>
                <a:cxn ang="0">
                  <a:pos x="connsiteX7023" y="connsiteY7023"/>
                </a:cxn>
                <a:cxn ang="0">
                  <a:pos x="connsiteX7024" y="connsiteY7024"/>
                </a:cxn>
                <a:cxn ang="0">
                  <a:pos x="connsiteX7025" y="connsiteY7025"/>
                </a:cxn>
                <a:cxn ang="0">
                  <a:pos x="connsiteX7026" y="connsiteY7026"/>
                </a:cxn>
                <a:cxn ang="0">
                  <a:pos x="connsiteX7027" y="connsiteY7027"/>
                </a:cxn>
                <a:cxn ang="0">
                  <a:pos x="connsiteX7028" y="connsiteY7028"/>
                </a:cxn>
                <a:cxn ang="0">
                  <a:pos x="connsiteX7029" y="connsiteY7029"/>
                </a:cxn>
                <a:cxn ang="0">
                  <a:pos x="connsiteX7030" y="connsiteY7030"/>
                </a:cxn>
                <a:cxn ang="0">
                  <a:pos x="connsiteX7031" y="connsiteY7031"/>
                </a:cxn>
                <a:cxn ang="0">
                  <a:pos x="connsiteX7032" y="connsiteY7032"/>
                </a:cxn>
                <a:cxn ang="0">
                  <a:pos x="connsiteX7033" y="connsiteY7033"/>
                </a:cxn>
                <a:cxn ang="0">
                  <a:pos x="connsiteX7034" y="connsiteY7034"/>
                </a:cxn>
                <a:cxn ang="0">
                  <a:pos x="connsiteX7035" y="connsiteY7035"/>
                </a:cxn>
                <a:cxn ang="0">
                  <a:pos x="connsiteX7036" y="connsiteY7036"/>
                </a:cxn>
                <a:cxn ang="0">
                  <a:pos x="connsiteX7037" y="connsiteY7037"/>
                </a:cxn>
                <a:cxn ang="0">
                  <a:pos x="connsiteX7038" y="connsiteY7038"/>
                </a:cxn>
                <a:cxn ang="0">
                  <a:pos x="connsiteX7039" y="connsiteY7039"/>
                </a:cxn>
                <a:cxn ang="0">
                  <a:pos x="connsiteX7040" y="connsiteY7040"/>
                </a:cxn>
                <a:cxn ang="0">
                  <a:pos x="connsiteX7041" y="connsiteY7041"/>
                </a:cxn>
                <a:cxn ang="0">
                  <a:pos x="connsiteX7042" y="connsiteY7042"/>
                </a:cxn>
                <a:cxn ang="0">
                  <a:pos x="connsiteX7043" y="connsiteY7043"/>
                </a:cxn>
                <a:cxn ang="0">
                  <a:pos x="connsiteX7044" y="connsiteY7044"/>
                </a:cxn>
                <a:cxn ang="0">
                  <a:pos x="connsiteX7045" y="connsiteY7045"/>
                </a:cxn>
                <a:cxn ang="0">
                  <a:pos x="connsiteX7046" y="connsiteY7046"/>
                </a:cxn>
                <a:cxn ang="0">
                  <a:pos x="connsiteX7047" y="connsiteY7047"/>
                </a:cxn>
                <a:cxn ang="0">
                  <a:pos x="connsiteX7048" y="connsiteY7048"/>
                </a:cxn>
                <a:cxn ang="0">
                  <a:pos x="connsiteX7049" y="connsiteY7049"/>
                </a:cxn>
                <a:cxn ang="0">
                  <a:pos x="connsiteX7050" y="connsiteY7050"/>
                </a:cxn>
                <a:cxn ang="0">
                  <a:pos x="connsiteX7051" y="connsiteY7051"/>
                </a:cxn>
                <a:cxn ang="0">
                  <a:pos x="connsiteX7052" y="connsiteY7052"/>
                </a:cxn>
                <a:cxn ang="0">
                  <a:pos x="connsiteX7053" y="connsiteY7053"/>
                </a:cxn>
                <a:cxn ang="0">
                  <a:pos x="connsiteX7054" y="connsiteY7054"/>
                </a:cxn>
                <a:cxn ang="0">
                  <a:pos x="connsiteX7055" y="connsiteY7055"/>
                </a:cxn>
                <a:cxn ang="0">
                  <a:pos x="connsiteX7056" y="connsiteY7056"/>
                </a:cxn>
                <a:cxn ang="0">
                  <a:pos x="connsiteX7057" y="connsiteY7057"/>
                </a:cxn>
                <a:cxn ang="0">
                  <a:pos x="connsiteX7058" y="connsiteY7058"/>
                </a:cxn>
                <a:cxn ang="0">
                  <a:pos x="connsiteX7059" y="connsiteY7059"/>
                </a:cxn>
                <a:cxn ang="0">
                  <a:pos x="connsiteX7060" y="connsiteY7060"/>
                </a:cxn>
                <a:cxn ang="0">
                  <a:pos x="connsiteX7061" y="connsiteY7061"/>
                </a:cxn>
                <a:cxn ang="0">
                  <a:pos x="connsiteX7062" y="connsiteY7062"/>
                </a:cxn>
                <a:cxn ang="0">
                  <a:pos x="connsiteX7063" y="connsiteY7063"/>
                </a:cxn>
                <a:cxn ang="0">
                  <a:pos x="connsiteX7064" y="connsiteY7064"/>
                </a:cxn>
                <a:cxn ang="0">
                  <a:pos x="connsiteX7065" y="connsiteY7065"/>
                </a:cxn>
                <a:cxn ang="0">
                  <a:pos x="connsiteX7066" y="connsiteY7066"/>
                </a:cxn>
                <a:cxn ang="0">
                  <a:pos x="connsiteX7067" y="connsiteY7067"/>
                </a:cxn>
                <a:cxn ang="0">
                  <a:pos x="connsiteX7068" y="connsiteY7068"/>
                </a:cxn>
                <a:cxn ang="0">
                  <a:pos x="connsiteX7069" y="connsiteY7069"/>
                </a:cxn>
                <a:cxn ang="0">
                  <a:pos x="connsiteX7070" y="connsiteY7070"/>
                </a:cxn>
                <a:cxn ang="0">
                  <a:pos x="connsiteX7071" y="connsiteY7071"/>
                </a:cxn>
                <a:cxn ang="0">
                  <a:pos x="connsiteX7072" y="connsiteY7072"/>
                </a:cxn>
                <a:cxn ang="0">
                  <a:pos x="connsiteX7073" y="connsiteY7073"/>
                </a:cxn>
                <a:cxn ang="0">
                  <a:pos x="connsiteX7074" y="connsiteY7074"/>
                </a:cxn>
                <a:cxn ang="0">
                  <a:pos x="connsiteX7075" y="connsiteY7075"/>
                </a:cxn>
                <a:cxn ang="0">
                  <a:pos x="connsiteX7076" y="connsiteY7076"/>
                </a:cxn>
                <a:cxn ang="0">
                  <a:pos x="connsiteX7077" y="connsiteY7077"/>
                </a:cxn>
                <a:cxn ang="0">
                  <a:pos x="connsiteX7078" y="connsiteY7078"/>
                </a:cxn>
                <a:cxn ang="0">
                  <a:pos x="connsiteX7079" y="connsiteY7079"/>
                </a:cxn>
                <a:cxn ang="0">
                  <a:pos x="connsiteX7080" y="connsiteY7080"/>
                </a:cxn>
                <a:cxn ang="0">
                  <a:pos x="connsiteX7081" y="connsiteY7081"/>
                </a:cxn>
                <a:cxn ang="0">
                  <a:pos x="connsiteX7082" y="connsiteY7082"/>
                </a:cxn>
                <a:cxn ang="0">
                  <a:pos x="connsiteX7083" y="connsiteY7083"/>
                </a:cxn>
                <a:cxn ang="0">
                  <a:pos x="connsiteX7084" y="connsiteY7084"/>
                </a:cxn>
                <a:cxn ang="0">
                  <a:pos x="connsiteX7085" y="connsiteY7085"/>
                </a:cxn>
                <a:cxn ang="0">
                  <a:pos x="connsiteX7086" y="connsiteY7086"/>
                </a:cxn>
                <a:cxn ang="0">
                  <a:pos x="connsiteX7087" y="connsiteY7087"/>
                </a:cxn>
                <a:cxn ang="0">
                  <a:pos x="connsiteX7088" y="connsiteY7088"/>
                </a:cxn>
                <a:cxn ang="0">
                  <a:pos x="connsiteX7089" y="connsiteY7089"/>
                </a:cxn>
                <a:cxn ang="0">
                  <a:pos x="connsiteX7090" y="connsiteY7090"/>
                </a:cxn>
                <a:cxn ang="0">
                  <a:pos x="connsiteX7091" y="connsiteY7091"/>
                </a:cxn>
                <a:cxn ang="0">
                  <a:pos x="connsiteX7092" y="connsiteY7092"/>
                </a:cxn>
                <a:cxn ang="0">
                  <a:pos x="connsiteX7093" y="connsiteY7093"/>
                </a:cxn>
                <a:cxn ang="0">
                  <a:pos x="connsiteX7094" y="connsiteY7094"/>
                </a:cxn>
                <a:cxn ang="0">
                  <a:pos x="connsiteX7095" y="connsiteY7095"/>
                </a:cxn>
                <a:cxn ang="0">
                  <a:pos x="connsiteX7096" y="connsiteY7096"/>
                </a:cxn>
                <a:cxn ang="0">
                  <a:pos x="connsiteX7097" y="connsiteY7097"/>
                </a:cxn>
                <a:cxn ang="0">
                  <a:pos x="connsiteX7098" y="connsiteY7098"/>
                </a:cxn>
                <a:cxn ang="0">
                  <a:pos x="connsiteX7099" y="connsiteY7099"/>
                </a:cxn>
                <a:cxn ang="0">
                  <a:pos x="connsiteX7100" y="connsiteY7100"/>
                </a:cxn>
                <a:cxn ang="0">
                  <a:pos x="connsiteX7101" y="connsiteY7101"/>
                </a:cxn>
                <a:cxn ang="0">
                  <a:pos x="connsiteX7102" y="connsiteY7102"/>
                </a:cxn>
                <a:cxn ang="0">
                  <a:pos x="connsiteX7103" y="connsiteY7103"/>
                </a:cxn>
                <a:cxn ang="0">
                  <a:pos x="connsiteX7104" y="connsiteY7104"/>
                </a:cxn>
                <a:cxn ang="0">
                  <a:pos x="connsiteX7105" y="connsiteY7105"/>
                </a:cxn>
                <a:cxn ang="0">
                  <a:pos x="connsiteX7106" y="connsiteY7106"/>
                </a:cxn>
                <a:cxn ang="0">
                  <a:pos x="connsiteX7107" y="connsiteY7107"/>
                </a:cxn>
                <a:cxn ang="0">
                  <a:pos x="connsiteX7108" y="connsiteY7108"/>
                </a:cxn>
                <a:cxn ang="0">
                  <a:pos x="connsiteX7109" y="connsiteY7109"/>
                </a:cxn>
                <a:cxn ang="0">
                  <a:pos x="connsiteX7110" y="connsiteY7110"/>
                </a:cxn>
                <a:cxn ang="0">
                  <a:pos x="connsiteX7111" y="connsiteY7111"/>
                </a:cxn>
                <a:cxn ang="0">
                  <a:pos x="connsiteX7112" y="connsiteY7112"/>
                </a:cxn>
                <a:cxn ang="0">
                  <a:pos x="connsiteX7113" y="connsiteY7113"/>
                </a:cxn>
                <a:cxn ang="0">
                  <a:pos x="connsiteX7114" y="connsiteY7114"/>
                </a:cxn>
                <a:cxn ang="0">
                  <a:pos x="connsiteX7115" y="connsiteY7115"/>
                </a:cxn>
                <a:cxn ang="0">
                  <a:pos x="connsiteX7116" y="connsiteY7116"/>
                </a:cxn>
                <a:cxn ang="0">
                  <a:pos x="connsiteX7117" y="connsiteY7117"/>
                </a:cxn>
                <a:cxn ang="0">
                  <a:pos x="connsiteX7118" y="connsiteY7118"/>
                </a:cxn>
                <a:cxn ang="0">
                  <a:pos x="connsiteX7119" y="connsiteY7119"/>
                </a:cxn>
                <a:cxn ang="0">
                  <a:pos x="connsiteX7120" y="connsiteY7120"/>
                </a:cxn>
                <a:cxn ang="0">
                  <a:pos x="connsiteX7121" y="connsiteY7121"/>
                </a:cxn>
                <a:cxn ang="0">
                  <a:pos x="connsiteX7122" y="connsiteY7122"/>
                </a:cxn>
                <a:cxn ang="0">
                  <a:pos x="connsiteX7123" y="connsiteY7123"/>
                </a:cxn>
                <a:cxn ang="0">
                  <a:pos x="connsiteX7124" y="connsiteY7124"/>
                </a:cxn>
                <a:cxn ang="0">
                  <a:pos x="connsiteX7125" y="connsiteY7125"/>
                </a:cxn>
                <a:cxn ang="0">
                  <a:pos x="connsiteX7126" y="connsiteY7126"/>
                </a:cxn>
                <a:cxn ang="0">
                  <a:pos x="connsiteX7127" y="connsiteY7127"/>
                </a:cxn>
                <a:cxn ang="0">
                  <a:pos x="connsiteX7128" y="connsiteY7128"/>
                </a:cxn>
                <a:cxn ang="0">
                  <a:pos x="connsiteX7129" y="connsiteY7129"/>
                </a:cxn>
                <a:cxn ang="0">
                  <a:pos x="connsiteX7130" y="connsiteY7130"/>
                </a:cxn>
                <a:cxn ang="0">
                  <a:pos x="connsiteX7131" y="connsiteY7131"/>
                </a:cxn>
                <a:cxn ang="0">
                  <a:pos x="connsiteX7132" y="connsiteY7132"/>
                </a:cxn>
                <a:cxn ang="0">
                  <a:pos x="connsiteX7133" y="connsiteY7133"/>
                </a:cxn>
                <a:cxn ang="0">
                  <a:pos x="connsiteX7134" y="connsiteY7134"/>
                </a:cxn>
                <a:cxn ang="0">
                  <a:pos x="connsiteX7135" y="connsiteY7135"/>
                </a:cxn>
                <a:cxn ang="0">
                  <a:pos x="connsiteX7136" y="connsiteY7136"/>
                </a:cxn>
                <a:cxn ang="0">
                  <a:pos x="connsiteX7137" y="connsiteY7137"/>
                </a:cxn>
                <a:cxn ang="0">
                  <a:pos x="connsiteX7138" y="connsiteY7138"/>
                </a:cxn>
                <a:cxn ang="0">
                  <a:pos x="connsiteX7139" y="connsiteY7139"/>
                </a:cxn>
                <a:cxn ang="0">
                  <a:pos x="connsiteX7140" y="connsiteY7140"/>
                </a:cxn>
                <a:cxn ang="0">
                  <a:pos x="connsiteX7141" y="connsiteY7141"/>
                </a:cxn>
                <a:cxn ang="0">
                  <a:pos x="connsiteX7142" y="connsiteY7142"/>
                </a:cxn>
                <a:cxn ang="0">
                  <a:pos x="connsiteX7143" y="connsiteY7143"/>
                </a:cxn>
                <a:cxn ang="0">
                  <a:pos x="connsiteX7144" y="connsiteY7144"/>
                </a:cxn>
                <a:cxn ang="0">
                  <a:pos x="connsiteX7145" y="connsiteY7145"/>
                </a:cxn>
                <a:cxn ang="0">
                  <a:pos x="connsiteX7146" y="connsiteY7146"/>
                </a:cxn>
                <a:cxn ang="0">
                  <a:pos x="connsiteX7147" y="connsiteY7147"/>
                </a:cxn>
                <a:cxn ang="0">
                  <a:pos x="connsiteX7148" y="connsiteY7148"/>
                </a:cxn>
                <a:cxn ang="0">
                  <a:pos x="connsiteX7149" y="connsiteY7149"/>
                </a:cxn>
                <a:cxn ang="0">
                  <a:pos x="connsiteX7150" y="connsiteY7150"/>
                </a:cxn>
                <a:cxn ang="0">
                  <a:pos x="connsiteX7151" y="connsiteY7151"/>
                </a:cxn>
                <a:cxn ang="0">
                  <a:pos x="connsiteX7152" y="connsiteY7152"/>
                </a:cxn>
                <a:cxn ang="0">
                  <a:pos x="connsiteX7153" y="connsiteY7153"/>
                </a:cxn>
                <a:cxn ang="0">
                  <a:pos x="connsiteX7154" y="connsiteY7154"/>
                </a:cxn>
                <a:cxn ang="0">
                  <a:pos x="connsiteX7155" y="connsiteY7155"/>
                </a:cxn>
                <a:cxn ang="0">
                  <a:pos x="connsiteX7156" y="connsiteY7156"/>
                </a:cxn>
                <a:cxn ang="0">
                  <a:pos x="connsiteX7157" y="connsiteY7157"/>
                </a:cxn>
                <a:cxn ang="0">
                  <a:pos x="connsiteX7158" y="connsiteY7158"/>
                </a:cxn>
                <a:cxn ang="0">
                  <a:pos x="connsiteX7159" y="connsiteY7159"/>
                </a:cxn>
                <a:cxn ang="0">
                  <a:pos x="connsiteX7160" y="connsiteY7160"/>
                </a:cxn>
                <a:cxn ang="0">
                  <a:pos x="connsiteX7161" y="connsiteY7161"/>
                </a:cxn>
                <a:cxn ang="0">
                  <a:pos x="connsiteX7162" y="connsiteY7162"/>
                </a:cxn>
                <a:cxn ang="0">
                  <a:pos x="connsiteX7163" y="connsiteY7163"/>
                </a:cxn>
                <a:cxn ang="0">
                  <a:pos x="connsiteX7164" y="connsiteY7164"/>
                </a:cxn>
                <a:cxn ang="0">
                  <a:pos x="connsiteX7165" y="connsiteY7165"/>
                </a:cxn>
                <a:cxn ang="0">
                  <a:pos x="connsiteX7166" y="connsiteY7166"/>
                </a:cxn>
                <a:cxn ang="0">
                  <a:pos x="connsiteX7167" y="connsiteY7167"/>
                </a:cxn>
                <a:cxn ang="0">
                  <a:pos x="connsiteX7168" y="connsiteY7168"/>
                </a:cxn>
                <a:cxn ang="0">
                  <a:pos x="connsiteX7169" y="connsiteY7169"/>
                </a:cxn>
                <a:cxn ang="0">
                  <a:pos x="connsiteX7170" y="connsiteY7170"/>
                </a:cxn>
                <a:cxn ang="0">
                  <a:pos x="connsiteX7171" y="connsiteY7171"/>
                </a:cxn>
                <a:cxn ang="0">
                  <a:pos x="connsiteX7172" y="connsiteY7172"/>
                </a:cxn>
                <a:cxn ang="0">
                  <a:pos x="connsiteX7173" y="connsiteY7173"/>
                </a:cxn>
                <a:cxn ang="0">
                  <a:pos x="connsiteX7174" y="connsiteY7174"/>
                </a:cxn>
                <a:cxn ang="0">
                  <a:pos x="connsiteX7175" y="connsiteY7175"/>
                </a:cxn>
                <a:cxn ang="0">
                  <a:pos x="connsiteX7176" y="connsiteY7176"/>
                </a:cxn>
                <a:cxn ang="0">
                  <a:pos x="connsiteX7177" y="connsiteY7177"/>
                </a:cxn>
                <a:cxn ang="0">
                  <a:pos x="connsiteX7178" y="connsiteY7178"/>
                </a:cxn>
                <a:cxn ang="0">
                  <a:pos x="connsiteX7179" y="connsiteY7179"/>
                </a:cxn>
                <a:cxn ang="0">
                  <a:pos x="connsiteX7180" y="connsiteY7180"/>
                </a:cxn>
                <a:cxn ang="0">
                  <a:pos x="connsiteX7181" y="connsiteY7181"/>
                </a:cxn>
                <a:cxn ang="0">
                  <a:pos x="connsiteX7182" y="connsiteY7182"/>
                </a:cxn>
                <a:cxn ang="0">
                  <a:pos x="connsiteX7183" y="connsiteY7183"/>
                </a:cxn>
                <a:cxn ang="0">
                  <a:pos x="connsiteX7184" y="connsiteY7184"/>
                </a:cxn>
                <a:cxn ang="0">
                  <a:pos x="connsiteX7185" y="connsiteY7185"/>
                </a:cxn>
                <a:cxn ang="0">
                  <a:pos x="connsiteX7186" y="connsiteY7186"/>
                </a:cxn>
                <a:cxn ang="0">
                  <a:pos x="connsiteX7187" y="connsiteY7187"/>
                </a:cxn>
                <a:cxn ang="0">
                  <a:pos x="connsiteX7188" y="connsiteY7188"/>
                </a:cxn>
                <a:cxn ang="0">
                  <a:pos x="connsiteX7189" y="connsiteY7189"/>
                </a:cxn>
                <a:cxn ang="0">
                  <a:pos x="connsiteX7190" y="connsiteY7190"/>
                </a:cxn>
                <a:cxn ang="0">
                  <a:pos x="connsiteX7191" y="connsiteY7191"/>
                </a:cxn>
                <a:cxn ang="0">
                  <a:pos x="connsiteX7192" y="connsiteY7192"/>
                </a:cxn>
                <a:cxn ang="0">
                  <a:pos x="connsiteX7193" y="connsiteY7193"/>
                </a:cxn>
                <a:cxn ang="0">
                  <a:pos x="connsiteX7194" y="connsiteY7194"/>
                </a:cxn>
                <a:cxn ang="0">
                  <a:pos x="connsiteX7195" y="connsiteY7195"/>
                </a:cxn>
                <a:cxn ang="0">
                  <a:pos x="connsiteX7196" y="connsiteY7196"/>
                </a:cxn>
                <a:cxn ang="0">
                  <a:pos x="connsiteX7197" y="connsiteY7197"/>
                </a:cxn>
                <a:cxn ang="0">
                  <a:pos x="connsiteX7198" y="connsiteY7198"/>
                </a:cxn>
                <a:cxn ang="0">
                  <a:pos x="connsiteX7199" y="connsiteY7199"/>
                </a:cxn>
                <a:cxn ang="0">
                  <a:pos x="connsiteX7200" y="connsiteY7200"/>
                </a:cxn>
                <a:cxn ang="0">
                  <a:pos x="connsiteX7201" y="connsiteY7201"/>
                </a:cxn>
                <a:cxn ang="0">
                  <a:pos x="connsiteX7202" y="connsiteY7202"/>
                </a:cxn>
                <a:cxn ang="0">
                  <a:pos x="connsiteX7203" y="connsiteY7203"/>
                </a:cxn>
                <a:cxn ang="0">
                  <a:pos x="connsiteX7204" y="connsiteY7204"/>
                </a:cxn>
                <a:cxn ang="0">
                  <a:pos x="connsiteX7205" y="connsiteY7205"/>
                </a:cxn>
                <a:cxn ang="0">
                  <a:pos x="connsiteX7206" y="connsiteY7206"/>
                </a:cxn>
                <a:cxn ang="0">
                  <a:pos x="connsiteX7207" y="connsiteY7207"/>
                </a:cxn>
                <a:cxn ang="0">
                  <a:pos x="connsiteX7208" y="connsiteY7208"/>
                </a:cxn>
                <a:cxn ang="0">
                  <a:pos x="connsiteX7209" y="connsiteY7209"/>
                </a:cxn>
                <a:cxn ang="0">
                  <a:pos x="connsiteX7210" y="connsiteY7210"/>
                </a:cxn>
                <a:cxn ang="0">
                  <a:pos x="connsiteX7211" y="connsiteY7211"/>
                </a:cxn>
                <a:cxn ang="0">
                  <a:pos x="connsiteX7212" y="connsiteY7212"/>
                </a:cxn>
                <a:cxn ang="0">
                  <a:pos x="connsiteX7213" y="connsiteY7213"/>
                </a:cxn>
                <a:cxn ang="0">
                  <a:pos x="connsiteX7214" y="connsiteY7214"/>
                </a:cxn>
                <a:cxn ang="0">
                  <a:pos x="connsiteX7215" y="connsiteY7215"/>
                </a:cxn>
                <a:cxn ang="0">
                  <a:pos x="connsiteX7216" y="connsiteY7216"/>
                </a:cxn>
                <a:cxn ang="0">
                  <a:pos x="connsiteX7217" y="connsiteY7217"/>
                </a:cxn>
                <a:cxn ang="0">
                  <a:pos x="connsiteX7218" y="connsiteY7218"/>
                </a:cxn>
                <a:cxn ang="0">
                  <a:pos x="connsiteX7219" y="connsiteY7219"/>
                </a:cxn>
                <a:cxn ang="0">
                  <a:pos x="connsiteX7220" y="connsiteY7220"/>
                </a:cxn>
                <a:cxn ang="0">
                  <a:pos x="connsiteX7221" y="connsiteY7221"/>
                </a:cxn>
                <a:cxn ang="0">
                  <a:pos x="connsiteX7222" y="connsiteY7222"/>
                </a:cxn>
                <a:cxn ang="0">
                  <a:pos x="connsiteX7223" y="connsiteY7223"/>
                </a:cxn>
                <a:cxn ang="0">
                  <a:pos x="connsiteX7224" y="connsiteY7224"/>
                </a:cxn>
                <a:cxn ang="0">
                  <a:pos x="connsiteX7225" y="connsiteY7225"/>
                </a:cxn>
                <a:cxn ang="0">
                  <a:pos x="connsiteX7226" y="connsiteY7226"/>
                </a:cxn>
                <a:cxn ang="0">
                  <a:pos x="connsiteX7227" y="connsiteY7227"/>
                </a:cxn>
                <a:cxn ang="0">
                  <a:pos x="connsiteX7228" y="connsiteY7228"/>
                </a:cxn>
                <a:cxn ang="0">
                  <a:pos x="connsiteX7229" y="connsiteY7229"/>
                </a:cxn>
                <a:cxn ang="0">
                  <a:pos x="connsiteX7230" y="connsiteY7230"/>
                </a:cxn>
                <a:cxn ang="0">
                  <a:pos x="connsiteX7231" y="connsiteY7231"/>
                </a:cxn>
                <a:cxn ang="0">
                  <a:pos x="connsiteX7232" y="connsiteY7232"/>
                </a:cxn>
                <a:cxn ang="0">
                  <a:pos x="connsiteX7233" y="connsiteY7233"/>
                </a:cxn>
                <a:cxn ang="0">
                  <a:pos x="connsiteX7234" y="connsiteY7234"/>
                </a:cxn>
                <a:cxn ang="0">
                  <a:pos x="connsiteX7235" y="connsiteY7235"/>
                </a:cxn>
                <a:cxn ang="0">
                  <a:pos x="connsiteX7236" y="connsiteY7236"/>
                </a:cxn>
                <a:cxn ang="0">
                  <a:pos x="connsiteX7237" y="connsiteY7237"/>
                </a:cxn>
                <a:cxn ang="0">
                  <a:pos x="connsiteX7238" y="connsiteY7238"/>
                </a:cxn>
                <a:cxn ang="0">
                  <a:pos x="connsiteX7239" y="connsiteY7239"/>
                </a:cxn>
                <a:cxn ang="0">
                  <a:pos x="connsiteX7240" y="connsiteY7240"/>
                </a:cxn>
                <a:cxn ang="0">
                  <a:pos x="connsiteX7241" y="connsiteY7241"/>
                </a:cxn>
                <a:cxn ang="0">
                  <a:pos x="connsiteX7242" y="connsiteY7242"/>
                </a:cxn>
                <a:cxn ang="0">
                  <a:pos x="connsiteX7243" y="connsiteY7243"/>
                </a:cxn>
                <a:cxn ang="0">
                  <a:pos x="connsiteX7244" y="connsiteY7244"/>
                </a:cxn>
                <a:cxn ang="0">
                  <a:pos x="connsiteX7245" y="connsiteY7245"/>
                </a:cxn>
                <a:cxn ang="0">
                  <a:pos x="connsiteX7246" y="connsiteY7246"/>
                </a:cxn>
                <a:cxn ang="0">
                  <a:pos x="connsiteX7247" y="connsiteY7247"/>
                </a:cxn>
                <a:cxn ang="0">
                  <a:pos x="connsiteX7248" y="connsiteY7248"/>
                </a:cxn>
                <a:cxn ang="0">
                  <a:pos x="connsiteX7249" y="connsiteY7249"/>
                </a:cxn>
                <a:cxn ang="0">
                  <a:pos x="connsiteX7250" y="connsiteY7250"/>
                </a:cxn>
                <a:cxn ang="0">
                  <a:pos x="connsiteX7251" y="connsiteY7251"/>
                </a:cxn>
                <a:cxn ang="0">
                  <a:pos x="connsiteX7252" y="connsiteY7252"/>
                </a:cxn>
                <a:cxn ang="0">
                  <a:pos x="connsiteX7253" y="connsiteY7253"/>
                </a:cxn>
                <a:cxn ang="0">
                  <a:pos x="connsiteX7254" y="connsiteY7254"/>
                </a:cxn>
                <a:cxn ang="0">
                  <a:pos x="connsiteX7255" y="connsiteY7255"/>
                </a:cxn>
                <a:cxn ang="0">
                  <a:pos x="connsiteX7256" y="connsiteY7256"/>
                </a:cxn>
                <a:cxn ang="0">
                  <a:pos x="connsiteX7257" y="connsiteY7257"/>
                </a:cxn>
                <a:cxn ang="0">
                  <a:pos x="connsiteX7258" y="connsiteY7258"/>
                </a:cxn>
                <a:cxn ang="0">
                  <a:pos x="connsiteX7259" y="connsiteY7259"/>
                </a:cxn>
                <a:cxn ang="0">
                  <a:pos x="connsiteX7260" y="connsiteY7260"/>
                </a:cxn>
                <a:cxn ang="0">
                  <a:pos x="connsiteX7261" y="connsiteY7261"/>
                </a:cxn>
                <a:cxn ang="0">
                  <a:pos x="connsiteX7262" y="connsiteY7262"/>
                </a:cxn>
                <a:cxn ang="0">
                  <a:pos x="connsiteX7263" y="connsiteY7263"/>
                </a:cxn>
                <a:cxn ang="0">
                  <a:pos x="connsiteX7264" y="connsiteY7264"/>
                </a:cxn>
                <a:cxn ang="0">
                  <a:pos x="connsiteX7265" y="connsiteY7265"/>
                </a:cxn>
                <a:cxn ang="0">
                  <a:pos x="connsiteX7266" y="connsiteY7266"/>
                </a:cxn>
                <a:cxn ang="0">
                  <a:pos x="connsiteX7267" y="connsiteY7267"/>
                </a:cxn>
                <a:cxn ang="0">
                  <a:pos x="connsiteX7268" y="connsiteY7268"/>
                </a:cxn>
                <a:cxn ang="0">
                  <a:pos x="connsiteX7269" y="connsiteY7269"/>
                </a:cxn>
                <a:cxn ang="0">
                  <a:pos x="connsiteX7270" y="connsiteY7270"/>
                </a:cxn>
                <a:cxn ang="0">
                  <a:pos x="connsiteX7271" y="connsiteY7271"/>
                </a:cxn>
                <a:cxn ang="0">
                  <a:pos x="connsiteX7272" y="connsiteY7272"/>
                </a:cxn>
                <a:cxn ang="0">
                  <a:pos x="connsiteX7273" y="connsiteY7273"/>
                </a:cxn>
                <a:cxn ang="0">
                  <a:pos x="connsiteX7274" y="connsiteY7274"/>
                </a:cxn>
                <a:cxn ang="0">
                  <a:pos x="connsiteX7275" y="connsiteY7275"/>
                </a:cxn>
                <a:cxn ang="0">
                  <a:pos x="connsiteX7276" y="connsiteY7276"/>
                </a:cxn>
                <a:cxn ang="0">
                  <a:pos x="connsiteX7277" y="connsiteY7277"/>
                </a:cxn>
                <a:cxn ang="0">
                  <a:pos x="connsiteX7278" y="connsiteY7278"/>
                </a:cxn>
                <a:cxn ang="0">
                  <a:pos x="connsiteX7279" y="connsiteY7279"/>
                </a:cxn>
                <a:cxn ang="0">
                  <a:pos x="connsiteX7280" y="connsiteY7280"/>
                </a:cxn>
                <a:cxn ang="0">
                  <a:pos x="connsiteX7281" y="connsiteY7281"/>
                </a:cxn>
                <a:cxn ang="0">
                  <a:pos x="connsiteX7282" y="connsiteY7282"/>
                </a:cxn>
                <a:cxn ang="0">
                  <a:pos x="connsiteX7283" y="connsiteY7283"/>
                </a:cxn>
                <a:cxn ang="0">
                  <a:pos x="connsiteX7284" y="connsiteY7284"/>
                </a:cxn>
                <a:cxn ang="0">
                  <a:pos x="connsiteX7285" y="connsiteY7285"/>
                </a:cxn>
                <a:cxn ang="0">
                  <a:pos x="connsiteX7286" y="connsiteY7286"/>
                </a:cxn>
                <a:cxn ang="0">
                  <a:pos x="connsiteX7287" y="connsiteY7287"/>
                </a:cxn>
                <a:cxn ang="0">
                  <a:pos x="connsiteX7288" y="connsiteY7288"/>
                </a:cxn>
                <a:cxn ang="0">
                  <a:pos x="connsiteX7289" y="connsiteY7289"/>
                </a:cxn>
                <a:cxn ang="0">
                  <a:pos x="connsiteX7290" y="connsiteY7290"/>
                </a:cxn>
                <a:cxn ang="0">
                  <a:pos x="connsiteX7291" y="connsiteY7291"/>
                </a:cxn>
                <a:cxn ang="0">
                  <a:pos x="connsiteX7292" y="connsiteY7292"/>
                </a:cxn>
                <a:cxn ang="0">
                  <a:pos x="connsiteX7293" y="connsiteY7293"/>
                </a:cxn>
                <a:cxn ang="0">
                  <a:pos x="connsiteX7294" y="connsiteY7294"/>
                </a:cxn>
                <a:cxn ang="0">
                  <a:pos x="connsiteX7295" y="connsiteY7295"/>
                </a:cxn>
                <a:cxn ang="0">
                  <a:pos x="connsiteX7296" y="connsiteY7296"/>
                </a:cxn>
                <a:cxn ang="0">
                  <a:pos x="connsiteX7297" y="connsiteY7297"/>
                </a:cxn>
                <a:cxn ang="0">
                  <a:pos x="connsiteX7298" y="connsiteY7298"/>
                </a:cxn>
                <a:cxn ang="0">
                  <a:pos x="connsiteX7299" y="connsiteY7299"/>
                </a:cxn>
                <a:cxn ang="0">
                  <a:pos x="connsiteX7300" y="connsiteY7300"/>
                </a:cxn>
                <a:cxn ang="0">
                  <a:pos x="connsiteX7301" y="connsiteY7301"/>
                </a:cxn>
                <a:cxn ang="0">
                  <a:pos x="connsiteX7302" y="connsiteY7302"/>
                </a:cxn>
                <a:cxn ang="0">
                  <a:pos x="connsiteX7303" y="connsiteY7303"/>
                </a:cxn>
                <a:cxn ang="0">
                  <a:pos x="connsiteX7304" y="connsiteY7304"/>
                </a:cxn>
                <a:cxn ang="0">
                  <a:pos x="connsiteX7305" y="connsiteY7305"/>
                </a:cxn>
                <a:cxn ang="0">
                  <a:pos x="connsiteX7306" y="connsiteY7306"/>
                </a:cxn>
                <a:cxn ang="0">
                  <a:pos x="connsiteX7307" y="connsiteY7307"/>
                </a:cxn>
                <a:cxn ang="0">
                  <a:pos x="connsiteX7308" y="connsiteY7308"/>
                </a:cxn>
                <a:cxn ang="0">
                  <a:pos x="connsiteX7309" y="connsiteY7309"/>
                </a:cxn>
                <a:cxn ang="0">
                  <a:pos x="connsiteX7310" y="connsiteY7310"/>
                </a:cxn>
                <a:cxn ang="0">
                  <a:pos x="connsiteX7311" y="connsiteY7311"/>
                </a:cxn>
                <a:cxn ang="0">
                  <a:pos x="connsiteX7312" y="connsiteY7312"/>
                </a:cxn>
                <a:cxn ang="0">
                  <a:pos x="connsiteX7313" y="connsiteY7313"/>
                </a:cxn>
                <a:cxn ang="0">
                  <a:pos x="connsiteX7314" y="connsiteY7314"/>
                </a:cxn>
                <a:cxn ang="0">
                  <a:pos x="connsiteX7315" y="connsiteY7315"/>
                </a:cxn>
                <a:cxn ang="0">
                  <a:pos x="connsiteX7316" y="connsiteY7316"/>
                </a:cxn>
                <a:cxn ang="0">
                  <a:pos x="connsiteX7317" y="connsiteY7317"/>
                </a:cxn>
                <a:cxn ang="0">
                  <a:pos x="connsiteX7318" y="connsiteY7318"/>
                </a:cxn>
                <a:cxn ang="0">
                  <a:pos x="connsiteX7319" y="connsiteY7319"/>
                </a:cxn>
                <a:cxn ang="0">
                  <a:pos x="connsiteX7320" y="connsiteY7320"/>
                </a:cxn>
                <a:cxn ang="0">
                  <a:pos x="connsiteX7321" y="connsiteY7321"/>
                </a:cxn>
                <a:cxn ang="0">
                  <a:pos x="connsiteX7322" y="connsiteY7322"/>
                </a:cxn>
                <a:cxn ang="0">
                  <a:pos x="connsiteX7323" y="connsiteY7323"/>
                </a:cxn>
                <a:cxn ang="0">
                  <a:pos x="connsiteX7324" y="connsiteY7324"/>
                </a:cxn>
                <a:cxn ang="0">
                  <a:pos x="connsiteX7325" y="connsiteY7325"/>
                </a:cxn>
                <a:cxn ang="0">
                  <a:pos x="connsiteX7326" y="connsiteY7326"/>
                </a:cxn>
                <a:cxn ang="0">
                  <a:pos x="connsiteX7327" y="connsiteY7327"/>
                </a:cxn>
                <a:cxn ang="0">
                  <a:pos x="connsiteX7328" y="connsiteY7328"/>
                </a:cxn>
                <a:cxn ang="0">
                  <a:pos x="connsiteX7329" y="connsiteY7329"/>
                </a:cxn>
                <a:cxn ang="0">
                  <a:pos x="connsiteX7330" y="connsiteY7330"/>
                </a:cxn>
                <a:cxn ang="0">
                  <a:pos x="connsiteX7331" y="connsiteY7331"/>
                </a:cxn>
                <a:cxn ang="0">
                  <a:pos x="connsiteX7332" y="connsiteY7332"/>
                </a:cxn>
                <a:cxn ang="0">
                  <a:pos x="connsiteX7333" y="connsiteY7333"/>
                </a:cxn>
                <a:cxn ang="0">
                  <a:pos x="connsiteX7334" y="connsiteY7334"/>
                </a:cxn>
                <a:cxn ang="0">
                  <a:pos x="connsiteX7335" y="connsiteY7335"/>
                </a:cxn>
                <a:cxn ang="0">
                  <a:pos x="connsiteX7336" y="connsiteY7336"/>
                </a:cxn>
                <a:cxn ang="0">
                  <a:pos x="connsiteX7337" y="connsiteY7337"/>
                </a:cxn>
                <a:cxn ang="0">
                  <a:pos x="connsiteX7338" y="connsiteY7338"/>
                </a:cxn>
                <a:cxn ang="0">
                  <a:pos x="connsiteX7339" y="connsiteY7339"/>
                </a:cxn>
                <a:cxn ang="0">
                  <a:pos x="connsiteX7340" y="connsiteY7340"/>
                </a:cxn>
                <a:cxn ang="0">
                  <a:pos x="connsiteX7341" y="connsiteY7341"/>
                </a:cxn>
                <a:cxn ang="0">
                  <a:pos x="connsiteX7342" y="connsiteY7342"/>
                </a:cxn>
                <a:cxn ang="0">
                  <a:pos x="connsiteX7343" y="connsiteY7343"/>
                </a:cxn>
                <a:cxn ang="0">
                  <a:pos x="connsiteX7344" y="connsiteY7344"/>
                </a:cxn>
                <a:cxn ang="0">
                  <a:pos x="connsiteX7345" y="connsiteY7345"/>
                </a:cxn>
                <a:cxn ang="0">
                  <a:pos x="connsiteX7346" y="connsiteY7346"/>
                </a:cxn>
                <a:cxn ang="0">
                  <a:pos x="connsiteX7347" y="connsiteY7347"/>
                </a:cxn>
                <a:cxn ang="0">
                  <a:pos x="connsiteX7348" y="connsiteY7348"/>
                </a:cxn>
                <a:cxn ang="0">
                  <a:pos x="connsiteX7349" y="connsiteY7349"/>
                </a:cxn>
                <a:cxn ang="0">
                  <a:pos x="connsiteX7350" y="connsiteY7350"/>
                </a:cxn>
                <a:cxn ang="0">
                  <a:pos x="connsiteX7351" y="connsiteY7351"/>
                </a:cxn>
                <a:cxn ang="0">
                  <a:pos x="connsiteX7352" y="connsiteY7352"/>
                </a:cxn>
                <a:cxn ang="0">
                  <a:pos x="connsiteX7353" y="connsiteY7353"/>
                </a:cxn>
                <a:cxn ang="0">
                  <a:pos x="connsiteX7354" y="connsiteY7354"/>
                </a:cxn>
                <a:cxn ang="0">
                  <a:pos x="connsiteX7355" y="connsiteY7355"/>
                </a:cxn>
                <a:cxn ang="0">
                  <a:pos x="connsiteX7356" y="connsiteY7356"/>
                </a:cxn>
                <a:cxn ang="0">
                  <a:pos x="connsiteX7357" y="connsiteY7357"/>
                </a:cxn>
                <a:cxn ang="0">
                  <a:pos x="connsiteX7358" y="connsiteY7358"/>
                </a:cxn>
                <a:cxn ang="0">
                  <a:pos x="connsiteX7359" y="connsiteY7359"/>
                </a:cxn>
                <a:cxn ang="0">
                  <a:pos x="connsiteX7360" y="connsiteY7360"/>
                </a:cxn>
                <a:cxn ang="0">
                  <a:pos x="connsiteX7361" y="connsiteY7361"/>
                </a:cxn>
                <a:cxn ang="0">
                  <a:pos x="connsiteX7362" y="connsiteY7362"/>
                </a:cxn>
                <a:cxn ang="0">
                  <a:pos x="connsiteX7363" y="connsiteY7363"/>
                </a:cxn>
                <a:cxn ang="0">
                  <a:pos x="connsiteX7364" y="connsiteY7364"/>
                </a:cxn>
                <a:cxn ang="0">
                  <a:pos x="connsiteX7365" y="connsiteY7365"/>
                </a:cxn>
                <a:cxn ang="0">
                  <a:pos x="connsiteX7366" y="connsiteY7366"/>
                </a:cxn>
                <a:cxn ang="0">
                  <a:pos x="connsiteX7367" y="connsiteY7367"/>
                </a:cxn>
                <a:cxn ang="0">
                  <a:pos x="connsiteX7368" y="connsiteY7368"/>
                </a:cxn>
                <a:cxn ang="0">
                  <a:pos x="connsiteX7369" y="connsiteY7369"/>
                </a:cxn>
                <a:cxn ang="0">
                  <a:pos x="connsiteX7370" y="connsiteY7370"/>
                </a:cxn>
                <a:cxn ang="0">
                  <a:pos x="connsiteX7371" y="connsiteY7371"/>
                </a:cxn>
                <a:cxn ang="0">
                  <a:pos x="connsiteX7372" y="connsiteY7372"/>
                </a:cxn>
                <a:cxn ang="0">
                  <a:pos x="connsiteX7373" y="connsiteY7373"/>
                </a:cxn>
                <a:cxn ang="0">
                  <a:pos x="connsiteX7374" y="connsiteY7374"/>
                </a:cxn>
                <a:cxn ang="0">
                  <a:pos x="connsiteX7375" y="connsiteY7375"/>
                </a:cxn>
                <a:cxn ang="0">
                  <a:pos x="connsiteX7376" y="connsiteY7376"/>
                </a:cxn>
                <a:cxn ang="0">
                  <a:pos x="connsiteX7377" y="connsiteY7377"/>
                </a:cxn>
                <a:cxn ang="0">
                  <a:pos x="connsiteX7378" y="connsiteY7378"/>
                </a:cxn>
                <a:cxn ang="0">
                  <a:pos x="connsiteX7379" y="connsiteY7379"/>
                </a:cxn>
                <a:cxn ang="0">
                  <a:pos x="connsiteX7380" y="connsiteY7380"/>
                </a:cxn>
                <a:cxn ang="0">
                  <a:pos x="connsiteX7381" y="connsiteY7381"/>
                </a:cxn>
                <a:cxn ang="0">
                  <a:pos x="connsiteX7382" y="connsiteY7382"/>
                </a:cxn>
                <a:cxn ang="0">
                  <a:pos x="connsiteX7383" y="connsiteY7383"/>
                </a:cxn>
                <a:cxn ang="0">
                  <a:pos x="connsiteX7384" y="connsiteY7384"/>
                </a:cxn>
                <a:cxn ang="0">
                  <a:pos x="connsiteX7385" y="connsiteY7385"/>
                </a:cxn>
                <a:cxn ang="0">
                  <a:pos x="connsiteX7386" y="connsiteY7386"/>
                </a:cxn>
                <a:cxn ang="0">
                  <a:pos x="connsiteX7387" y="connsiteY7387"/>
                </a:cxn>
                <a:cxn ang="0">
                  <a:pos x="connsiteX7388" y="connsiteY7388"/>
                </a:cxn>
                <a:cxn ang="0">
                  <a:pos x="connsiteX7389" y="connsiteY7389"/>
                </a:cxn>
                <a:cxn ang="0">
                  <a:pos x="connsiteX7390" y="connsiteY7390"/>
                </a:cxn>
                <a:cxn ang="0">
                  <a:pos x="connsiteX7391" y="connsiteY7391"/>
                </a:cxn>
                <a:cxn ang="0">
                  <a:pos x="connsiteX7392" y="connsiteY7392"/>
                </a:cxn>
                <a:cxn ang="0">
                  <a:pos x="connsiteX7393" y="connsiteY7393"/>
                </a:cxn>
                <a:cxn ang="0">
                  <a:pos x="connsiteX7394" y="connsiteY7394"/>
                </a:cxn>
                <a:cxn ang="0">
                  <a:pos x="connsiteX7395" y="connsiteY7395"/>
                </a:cxn>
                <a:cxn ang="0">
                  <a:pos x="connsiteX7396" y="connsiteY7396"/>
                </a:cxn>
                <a:cxn ang="0">
                  <a:pos x="connsiteX7397" y="connsiteY7397"/>
                </a:cxn>
                <a:cxn ang="0">
                  <a:pos x="connsiteX7398" y="connsiteY7398"/>
                </a:cxn>
                <a:cxn ang="0">
                  <a:pos x="connsiteX7399" y="connsiteY7399"/>
                </a:cxn>
                <a:cxn ang="0">
                  <a:pos x="connsiteX7400" y="connsiteY7400"/>
                </a:cxn>
                <a:cxn ang="0">
                  <a:pos x="connsiteX7401" y="connsiteY7401"/>
                </a:cxn>
                <a:cxn ang="0">
                  <a:pos x="connsiteX7402" y="connsiteY7402"/>
                </a:cxn>
                <a:cxn ang="0">
                  <a:pos x="connsiteX7403" y="connsiteY7403"/>
                </a:cxn>
                <a:cxn ang="0">
                  <a:pos x="connsiteX7404" y="connsiteY7404"/>
                </a:cxn>
                <a:cxn ang="0">
                  <a:pos x="connsiteX7405" y="connsiteY7405"/>
                </a:cxn>
                <a:cxn ang="0">
                  <a:pos x="connsiteX7406" y="connsiteY7406"/>
                </a:cxn>
                <a:cxn ang="0">
                  <a:pos x="connsiteX7407" y="connsiteY7407"/>
                </a:cxn>
                <a:cxn ang="0">
                  <a:pos x="connsiteX7408" y="connsiteY7408"/>
                </a:cxn>
                <a:cxn ang="0">
                  <a:pos x="connsiteX7409" y="connsiteY7409"/>
                </a:cxn>
                <a:cxn ang="0">
                  <a:pos x="connsiteX7410" y="connsiteY7410"/>
                </a:cxn>
                <a:cxn ang="0">
                  <a:pos x="connsiteX7411" y="connsiteY7411"/>
                </a:cxn>
                <a:cxn ang="0">
                  <a:pos x="connsiteX7412" y="connsiteY7412"/>
                </a:cxn>
                <a:cxn ang="0">
                  <a:pos x="connsiteX7413" y="connsiteY7413"/>
                </a:cxn>
                <a:cxn ang="0">
                  <a:pos x="connsiteX7414" y="connsiteY7414"/>
                </a:cxn>
                <a:cxn ang="0">
                  <a:pos x="connsiteX7415" y="connsiteY7415"/>
                </a:cxn>
                <a:cxn ang="0">
                  <a:pos x="connsiteX7416" y="connsiteY7416"/>
                </a:cxn>
                <a:cxn ang="0">
                  <a:pos x="connsiteX7417" y="connsiteY7417"/>
                </a:cxn>
                <a:cxn ang="0">
                  <a:pos x="connsiteX7418" y="connsiteY7418"/>
                </a:cxn>
                <a:cxn ang="0">
                  <a:pos x="connsiteX7419" y="connsiteY7419"/>
                </a:cxn>
                <a:cxn ang="0">
                  <a:pos x="connsiteX7420" y="connsiteY7420"/>
                </a:cxn>
                <a:cxn ang="0">
                  <a:pos x="connsiteX7421" y="connsiteY7421"/>
                </a:cxn>
                <a:cxn ang="0">
                  <a:pos x="connsiteX7422" y="connsiteY7422"/>
                </a:cxn>
                <a:cxn ang="0">
                  <a:pos x="connsiteX7423" y="connsiteY7423"/>
                </a:cxn>
                <a:cxn ang="0">
                  <a:pos x="connsiteX7424" y="connsiteY7424"/>
                </a:cxn>
                <a:cxn ang="0">
                  <a:pos x="connsiteX7425" y="connsiteY7425"/>
                </a:cxn>
                <a:cxn ang="0">
                  <a:pos x="connsiteX7426" y="connsiteY7426"/>
                </a:cxn>
                <a:cxn ang="0">
                  <a:pos x="connsiteX7427" y="connsiteY7427"/>
                </a:cxn>
                <a:cxn ang="0">
                  <a:pos x="connsiteX7428" y="connsiteY7428"/>
                </a:cxn>
                <a:cxn ang="0">
                  <a:pos x="connsiteX7429" y="connsiteY7429"/>
                </a:cxn>
                <a:cxn ang="0">
                  <a:pos x="connsiteX7430" y="connsiteY7430"/>
                </a:cxn>
                <a:cxn ang="0">
                  <a:pos x="connsiteX7431" y="connsiteY7431"/>
                </a:cxn>
                <a:cxn ang="0">
                  <a:pos x="connsiteX7432" y="connsiteY7432"/>
                </a:cxn>
                <a:cxn ang="0">
                  <a:pos x="connsiteX7433" y="connsiteY7433"/>
                </a:cxn>
                <a:cxn ang="0">
                  <a:pos x="connsiteX7434" y="connsiteY7434"/>
                </a:cxn>
                <a:cxn ang="0">
                  <a:pos x="connsiteX7435" y="connsiteY7435"/>
                </a:cxn>
                <a:cxn ang="0">
                  <a:pos x="connsiteX7436" y="connsiteY7436"/>
                </a:cxn>
                <a:cxn ang="0">
                  <a:pos x="connsiteX7437" y="connsiteY7437"/>
                </a:cxn>
                <a:cxn ang="0">
                  <a:pos x="connsiteX7438" y="connsiteY7438"/>
                </a:cxn>
                <a:cxn ang="0">
                  <a:pos x="connsiteX7439" y="connsiteY7439"/>
                </a:cxn>
                <a:cxn ang="0">
                  <a:pos x="connsiteX7440" y="connsiteY7440"/>
                </a:cxn>
                <a:cxn ang="0">
                  <a:pos x="connsiteX7441" y="connsiteY7441"/>
                </a:cxn>
                <a:cxn ang="0">
                  <a:pos x="connsiteX7442" y="connsiteY7442"/>
                </a:cxn>
                <a:cxn ang="0">
                  <a:pos x="connsiteX7443" y="connsiteY7443"/>
                </a:cxn>
                <a:cxn ang="0">
                  <a:pos x="connsiteX7444" y="connsiteY7444"/>
                </a:cxn>
                <a:cxn ang="0">
                  <a:pos x="connsiteX7445" y="connsiteY7445"/>
                </a:cxn>
                <a:cxn ang="0">
                  <a:pos x="connsiteX7446" y="connsiteY7446"/>
                </a:cxn>
                <a:cxn ang="0">
                  <a:pos x="connsiteX7447" y="connsiteY7447"/>
                </a:cxn>
                <a:cxn ang="0">
                  <a:pos x="connsiteX7448" y="connsiteY7448"/>
                </a:cxn>
                <a:cxn ang="0">
                  <a:pos x="connsiteX7449" y="connsiteY7449"/>
                </a:cxn>
                <a:cxn ang="0">
                  <a:pos x="connsiteX7450" y="connsiteY7450"/>
                </a:cxn>
                <a:cxn ang="0">
                  <a:pos x="connsiteX7451" y="connsiteY7451"/>
                </a:cxn>
                <a:cxn ang="0">
                  <a:pos x="connsiteX7452" y="connsiteY7452"/>
                </a:cxn>
                <a:cxn ang="0">
                  <a:pos x="connsiteX7453" y="connsiteY7453"/>
                </a:cxn>
                <a:cxn ang="0">
                  <a:pos x="connsiteX7454" y="connsiteY7454"/>
                </a:cxn>
                <a:cxn ang="0">
                  <a:pos x="connsiteX7455" y="connsiteY7455"/>
                </a:cxn>
                <a:cxn ang="0">
                  <a:pos x="connsiteX7456" y="connsiteY7456"/>
                </a:cxn>
                <a:cxn ang="0">
                  <a:pos x="connsiteX7457" y="connsiteY7457"/>
                </a:cxn>
                <a:cxn ang="0">
                  <a:pos x="connsiteX7458" y="connsiteY7458"/>
                </a:cxn>
                <a:cxn ang="0">
                  <a:pos x="connsiteX7459" y="connsiteY7459"/>
                </a:cxn>
                <a:cxn ang="0">
                  <a:pos x="connsiteX7460" y="connsiteY7460"/>
                </a:cxn>
                <a:cxn ang="0">
                  <a:pos x="connsiteX7461" y="connsiteY7461"/>
                </a:cxn>
                <a:cxn ang="0">
                  <a:pos x="connsiteX7462" y="connsiteY7462"/>
                </a:cxn>
                <a:cxn ang="0">
                  <a:pos x="connsiteX7463" y="connsiteY7463"/>
                </a:cxn>
                <a:cxn ang="0">
                  <a:pos x="connsiteX7464" y="connsiteY7464"/>
                </a:cxn>
                <a:cxn ang="0">
                  <a:pos x="connsiteX7465" y="connsiteY7465"/>
                </a:cxn>
                <a:cxn ang="0">
                  <a:pos x="connsiteX7466" y="connsiteY7466"/>
                </a:cxn>
                <a:cxn ang="0">
                  <a:pos x="connsiteX7467" y="connsiteY7467"/>
                </a:cxn>
                <a:cxn ang="0">
                  <a:pos x="connsiteX7468" y="connsiteY7468"/>
                </a:cxn>
                <a:cxn ang="0">
                  <a:pos x="connsiteX7469" y="connsiteY7469"/>
                </a:cxn>
                <a:cxn ang="0">
                  <a:pos x="connsiteX7470" y="connsiteY7470"/>
                </a:cxn>
                <a:cxn ang="0">
                  <a:pos x="connsiteX7471" y="connsiteY7471"/>
                </a:cxn>
                <a:cxn ang="0">
                  <a:pos x="connsiteX7472" y="connsiteY7472"/>
                </a:cxn>
                <a:cxn ang="0">
                  <a:pos x="connsiteX7473" y="connsiteY7473"/>
                </a:cxn>
                <a:cxn ang="0">
                  <a:pos x="connsiteX7474" y="connsiteY7474"/>
                </a:cxn>
                <a:cxn ang="0">
                  <a:pos x="connsiteX7475" y="connsiteY7475"/>
                </a:cxn>
                <a:cxn ang="0">
                  <a:pos x="connsiteX7476" y="connsiteY7476"/>
                </a:cxn>
                <a:cxn ang="0">
                  <a:pos x="connsiteX7477" y="connsiteY7477"/>
                </a:cxn>
                <a:cxn ang="0">
                  <a:pos x="connsiteX7478" y="connsiteY7478"/>
                </a:cxn>
                <a:cxn ang="0">
                  <a:pos x="connsiteX7479" y="connsiteY7479"/>
                </a:cxn>
                <a:cxn ang="0">
                  <a:pos x="connsiteX7480" y="connsiteY7480"/>
                </a:cxn>
                <a:cxn ang="0">
                  <a:pos x="connsiteX7481" y="connsiteY7481"/>
                </a:cxn>
                <a:cxn ang="0">
                  <a:pos x="connsiteX7482" y="connsiteY7482"/>
                </a:cxn>
                <a:cxn ang="0">
                  <a:pos x="connsiteX7483" y="connsiteY7483"/>
                </a:cxn>
                <a:cxn ang="0">
                  <a:pos x="connsiteX7484" y="connsiteY7484"/>
                </a:cxn>
                <a:cxn ang="0">
                  <a:pos x="connsiteX7485" y="connsiteY7485"/>
                </a:cxn>
                <a:cxn ang="0">
                  <a:pos x="connsiteX7486" y="connsiteY7486"/>
                </a:cxn>
                <a:cxn ang="0">
                  <a:pos x="connsiteX7487" y="connsiteY7487"/>
                </a:cxn>
                <a:cxn ang="0">
                  <a:pos x="connsiteX7488" y="connsiteY7488"/>
                </a:cxn>
                <a:cxn ang="0">
                  <a:pos x="connsiteX7489" y="connsiteY7489"/>
                </a:cxn>
                <a:cxn ang="0">
                  <a:pos x="connsiteX7490" y="connsiteY7490"/>
                </a:cxn>
                <a:cxn ang="0">
                  <a:pos x="connsiteX7491" y="connsiteY7491"/>
                </a:cxn>
                <a:cxn ang="0">
                  <a:pos x="connsiteX7492" y="connsiteY7492"/>
                </a:cxn>
                <a:cxn ang="0">
                  <a:pos x="connsiteX7493" y="connsiteY7493"/>
                </a:cxn>
                <a:cxn ang="0">
                  <a:pos x="connsiteX7494" y="connsiteY7494"/>
                </a:cxn>
                <a:cxn ang="0">
                  <a:pos x="connsiteX7495" y="connsiteY7495"/>
                </a:cxn>
                <a:cxn ang="0">
                  <a:pos x="connsiteX7496" y="connsiteY7496"/>
                </a:cxn>
                <a:cxn ang="0">
                  <a:pos x="connsiteX7497" y="connsiteY7497"/>
                </a:cxn>
                <a:cxn ang="0">
                  <a:pos x="connsiteX7498" y="connsiteY7498"/>
                </a:cxn>
                <a:cxn ang="0">
                  <a:pos x="connsiteX7499" y="connsiteY7499"/>
                </a:cxn>
                <a:cxn ang="0">
                  <a:pos x="connsiteX7500" y="connsiteY7500"/>
                </a:cxn>
                <a:cxn ang="0">
                  <a:pos x="connsiteX7501" y="connsiteY7501"/>
                </a:cxn>
                <a:cxn ang="0">
                  <a:pos x="connsiteX7502" y="connsiteY7502"/>
                </a:cxn>
                <a:cxn ang="0">
                  <a:pos x="connsiteX7503" y="connsiteY7503"/>
                </a:cxn>
                <a:cxn ang="0">
                  <a:pos x="connsiteX7504" y="connsiteY7504"/>
                </a:cxn>
                <a:cxn ang="0">
                  <a:pos x="connsiteX7505" y="connsiteY7505"/>
                </a:cxn>
                <a:cxn ang="0">
                  <a:pos x="connsiteX7506" y="connsiteY7506"/>
                </a:cxn>
                <a:cxn ang="0">
                  <a:pos x="connsiteX7507" y="connsiteY7507"/>
                </a:cxn>
                <a:cxn ang="0">
                  <a:pos x="connsiteX7508" y="connsiteY7508"/>
                </a:cxn>
                <a:cxn ang="0">
                  <a:pos x="connsiteX7509" y="connsiteY7509"/>
                </a:cxn>
                <a:cxn ang="0">
                  <a:pos x="connsiteX7510" y="connsiteY7510"/>
                </a:cxn>
                <a:cxn ang="0">
                  <a:pos x="connsiteX7511" y="connsiteY7511"/>
                </a:cxn>
                <a:cxn ang="0">
                  <a:pos x="connsiteX7512" y="connsiteY7512"/>
                </a:cxn>
                <a:cxn ang="0">
                  <a:pos x="connsiteX7513" y="connsiteY7513"/>
                </a:cxn>
                <a:cxn ang="0">
                  <a:pos x="connsiteX7514" y="connsiteY7514"/>
                </a:cxn>
                <a:cxn ang="0">
                  <a:pos x="connsiteX7515" y="connsiteY7515"/>
                </a:cxn>
                <a:cxn ang="0">
                  <a:pos x="connsiteX7516" y="connsiteY7516"/>
                </a:cxn>
                <a:cxn ang="0">
                  <a:pos x="connsiteX7517" y="connsiteY7517"/>
                </a:cxn>
                <a:cxn ang="0">
                  <a:pos x="connsiteX7518" y="connsiteY7518"/>
                </a:cxn>
                <a:cxn ang="0">
                  <a:pos x="connsiteX7519" y="connsiteY7519"/>
                </a:cxn>
                <a:cxn ang="0">
                  <a:pos x="connsiteX7520" y="connsiteY7520"/>
                </a:cxn>
                <a:cxn ang="0">
                  <a:pos x="connsiteX7521" y="connsiteY7521"/>
                </a:cxn>
                <a:cxn ang="0">
                  <a:pos x="connsiteX7522" y="connsiteY7522"/>
                </a:cxn>
                <a:cxn ang="0">
                  <a:pos x="connsiteX7523" y="connsiteY7523"/>
                </a:cxn>
                <a:cxn ang="0">
                  <a:pos x="connsiteX7524" y="connsiteY7524"/>
                </a:cxn>
                <a:cxn ang="0">
                  <a:pos x="connsiteX7525" y="connsiteY7525"/>
                </a:cxn>
                <a:cxn ang="0">
                  <a:pos x="connsiteX7526" y="connsiteY7526"/>
                </a:cxn>
                <a:cxn ang="0">
                  <a:pos x="connsiteX7527" y="connsiteY7527"/>
                </a:cxn>
                <a:cxn ang="0">
                  <a:pos x="connsiteX7528" y="connsiteY7528"/>
                </a:cxn>
                <a:cxn ang="0">
                  <a:pos x="connsiteX7529" y="connsiteY7529"/>
                </a:cxn>
                <a:cxn ang="0">
                  <a:pos x="connsiteX7530" y="connsiteY7530"/>
                </a:cxn>
                <a:cxn ang="0">
                  <a:pos x="connsiteX7531" y="connsiteY7531"/>
                </a:cxn>
                <a:cxn ang="0">
                  <a:pos x="connsiteX7532" y="connsiteY7532"/>
                </a:cxn>
                <a:cxn ang="0">
                  <a:pos x="connsiteX7533" y="connsiteY7533"/>
                </a:cxn>
                <a:cxn ang="0">
                  <a:pos x="connsiteX7534" y="connsiteY7534"/>
                </a:cxn>
                <a:cxn ang="0">
                  <a:pos x="connsiteX7535" y="connsiteY7535"/>
                </a:cxn>
                <a:cxn ang="0">
                  <a:pos x="connsiteX7536" y="connsiteY7536"/>
                </a:cxn>
                <a:cxn ang="0">
                  <a:pos x="connsiteX7537" y="connsiteY7537"/>
                </a:cxn>
                <a:cxn ang="0">
                  <a:pos x="connsiteX7538" y="connsiteY7538"/>
                </a:cxn>
                <a:cxn ang="0">
                  <a:pos x="connsiteX7539" y="connsiteY7539"/>
                </a:cxn>
                <a:cxn ang="0">
                  <a:pos x="connsiteX7540" y="connsiteY7540"/>
                </a:cxn>
                <a:cxn ang="0">
                  <a:pos x="connsiteX7541" y="connsiteY7541"/>
                </a:cxn>
                <a:cxn ang="0">
                  <a:pos x="connsiteX7542" y="connsiteY7542"/>
                </a:cxn>
                <a:cxn ang="0">
                  <a:pos x="connsiteX7543" y="connsiteY7543"/>
                </a:cxn>
                <a:cxn ang="0">
                  <a:pos x="connsiteX7544" y="connsiteY7544"/>
                </a:cxn>
                <a:cxn ang="0">
                  <a:pos x="connsiteX7545" y="connsiteY7545"/>
                </a:cxn>
                <a:cxn ang="0">
                  <a:pos x="connsiteX7546" y="connsiteY7546"/>
                </a:cxn>
                <a:cxn ang="0">
                  <a:pos x="connsiteX7547" y="connsiteY7547"/>
                </a:cxn>
                <a:cxn ang="0">
                  <a:pos x="connsiteX7548" y="connsiteY7548"/>
                </a:cxn>
                <a:cxn ang="0">
                  <a:pos x="connsiteX7549" y="connsiteY7549"/>
                </a:cxn>
                <a:cxn ang="0">
                  <a:pos x="connsiteX7550" y="connsiteY7550"/>
                </a:cxn>
                <a:cxn ang="0">
                  <a:pos x="connsiteX7551" y="connsiteY7551"/>
                </a:cxn>
                <a:cxn ang="0">
                  <a:pos x="connsiteX7552" y="connsiteY7552"/>
                </a:cxn>
                <a:cxn ang="0">
                  <a:pos x="connsiteX7553" y="connsiteY7553"/>
                </a:cxn>
                <a:cxn ang="0">
                  <a:pos x="connsiteX7554" y="connsiteY7554"/>
                </a:cxn>
                <a:cxn ang="0">
                  <a:pos x="connsiteX7555" y="connsiteY7555"/>
                </a:cxn>
                <a:cxn ang="0">
                  <a:pos x="connsiteX7556" y="connsiteY7556"/>
                </a:cxn>
                <a:cxn ang="0">
                  <a:pos x="connsiteX7557" y="connsiteY7557"/>
                </a:cxn>
                <a:cxn ang="0">
                  <a:pos x="connsiteX7558" y="connsiteY7558"/>
                </a:cxn>
                <a:cxn ang="0">
                  <a:pos x="connsiteX7559" y="connsiteY7559"/>
                </a:cxn>
                <a:cxn ang="0">
                  <a:pos x="connsiteX7560" y="connsiteY7560"/>
                </a:cxn>
                <a:cxn ang="0">
                  <a:pos x="connsiteX7561" y="connsiteY7561"/>
                </a:cxn>
                <a:cxn ang="0">
                  <a:pos x="connsiteX7562" y="connsiteY7562"/>
                </a:cxn>
                <a:cxn ang="0">
                  <a:pos x="connsiteX7563" y="connsiteY7563"/>
                </a:cxn>
                <a:cxn ang="0">
                  <a:pos x="connsiteX7564" y="connsiteY7564"/>
                </a:cxn>
                <a:cxn ang="0">
                  <a:pos x="connsiteX7565" y="connsiteY7565"/>
                </a:cxn>
                <a:cxn ang="0">
                  <a:pos x="connsiteX7566" y="connsiteY7566"/>
                </a:cxn>
                <a:cxn ang="0">
                  <a:pos x="connsiteX7567" y="connsiteY7567"/>
                </a:cxn>
                <a:cxn ang="0">
                  <a:pos x="connsiteX7568" y="connsiteY7568"/>
                </a:cxn>
                <a:cxn ang="0">
                  <a:pos x="connsiteX7569" y="connsiteY7569"/>
                </a:cxn>
                <a:cxn ang="0">
                  <a:pos x="connsiteX7570" y="connsiteY7570"/>
                </a:cxn>
                <a:cxn ang="0">
                  <a:pos x="connsiteX7571" y="connsiteY7571"/>
                </a:cxn>
                <a:cxn ang="0">
                  <a:pos x="connsiteX7572" y="connsiteY7572"/>
                </a:cxn>
                <a:cxn ang="0">
                  <a:pos x="connsiteX7573" y="connsiteY7573"/>
                </a:cxn>
                <a:cxn ang="0">
                  <a:pos x="connsiteX7574" y="connsiteY7574"/>
                </a:cxn>
                <a:cxn ang="0">
                  <a:pos x="connsiteX7575" y="connsiteY7575"/>
                </a:cxn>
                <a:cxn ang="0">
                  <a:pos x="connsiteX7576" y="connsiteY7576"/>
                </a:cxn>
                <a:cxn ang="0">
                  <a:pos x="connsiteX7577" y="connsiteY7577"/>
                </a:cxn>
                <a:cxn ang="0">
                  <a:pos x="connsiteX7578" y="connsiteY7578"/>
                </a:cxn>
                <a:cxn ang="0">
                  <a:pos x="connsiteX7579" y="connsiteY7579"/>
                </a:cxn>
                <a:cxn ang="0">
                  <a:pos x="connsiteX7580" y="connsiteY7580"/>
                </a:cxn>
                <a:cxn ang="0">
                  <a:pos x="connsiteX7581" y="connsiteY7581"/>
                </a:cxn>
                <a:cxn ang="0">
                  <a:pos x="connsiteX7582" y="connsiteY7582"/>
                </a:cxn>
                <a:cxn ang="0">
                  <a:pos x="connsiteX7583" y="connsiteY7583"/>
                </a:cxn>
                <a:cxn ang="0">
                  <a:pos x="connsiteX7584" y="connsiteY7584"/>
                </a:cxn>
                <a:cxn ang="0">
                  <a:pos x="connsiteX7585" y="connsiteY7585"/>
                </a:cxn>
                <a:cxn ang="0">
                  <a:pos x="connsiteX7586" y="connsiteY7586"/>
                </a:cxn>
                <a:cxn ang="0">
                  <a:pos x="connsiteX7587" y="connsiteY7587"/>
                </a:cxn>
                <a:cxn ang="0">
                  <a:pos x="connsiteX7588" y="connsiteY7588"/>
                </a:cxn>
                <a:cxn ang="0">
                  <a:pos x="connsiteX7589" y="connsiteY7589"/>
                </a:cxn>
                <a:cxn ang="0">
                  <a:pos x="connsiteX7590" y="connsiteY7590"/>
                </a:cxn>
                <a:cxn ang="0">
                  <a:pos x="connsiteX7591" y="connsiteY7591"/>
                </a:cxn>
                <a:cxn ang="0">
                  <a:pos x="connsiteX7592" y="connsiteY7592"/>
                </a:cxn>
                <a:cxn ang="0">
                  <a:pos x="connsiteX7593" y="connsiteY7593"/>
                </a:cxn>
                <a:cxn ang="0">
                  <a:pos x="connsiteX7594" y="connsiteY7594"/>
                </a:cxn>
                <a:cxn ang="0">
                  <a:pos x="connsiteX7595" y="connsiteY7595"/>
                </a:cxn>
                <a:cxn ang="0">
                  <a:pos x="connsiteX7596" y="connsiteY7596"/>
                </a:cxn>
                <a:cxn ang="0">
                  <a:pos x="connsiteX7597" y="connsiteY7597"/>
                </a:cxn>
                <a:cxn ang="0">
                  <a:pos x="connsiteX7598" y="connsiteY7598"/>
                </a:cxn>
                <a:cxn ang="0">
                  <a:pos x="connsiteX7599" y="connsiteY7599"/>
                </a:cxn>
                <a:cxn ang="0">
                  <a:pos x="connsiteX7600" y="connsiteY7600"/>
                </a:cxn>
                <a:cxn ang="0">
                  <a:pos x="connsiteX7601" y="connsiteY7601"/>
                </a:cxn>
                <a:cxn ang="0">
                  <a:pos x="connsiteX7602" y="connsiteY7602"/>
                </a:cxn>
                <a:cxn ang="0">
                  <a:pos x="connsiteX7603" y="connsiteY7603"/>
                </a:cxn>
                <a:cxn ang="0">
                  <a:pos x="connsiteX7604" y="connsiteY7604"/>
                </a:cxn>
                <a:cxn ang="0">
                  <a:pos x="connsiteX7605" y="connsiteY7605"/>
                </a:cxn>
                <a:cxn ang="0">
                  <a:pos x="connsiteX7606" y="connsiteY7606"/>
                </a:cxn>
                <a:cxn ang="0">
                  <a:pos x="connsiteX7607" y="connsiteY7607"/>
                </a:cxn>
                <a:cxn ang="0">
                  <a:pos x="connsiteX7608" y="connsiteY7608"/>
                </a:cxn>
                <a:cxn ang="0">
                  <a:pos x="connsiteX7609" y="connsiteY7609"/>
                </a:cxn>
                <a:cxn ang="0">
                  <a:pos x="connsiteX7610" y="connsiteY7610"/>
                </a:cxn>
                <a:cxn ang="0">
                  <a:pos x="connsiteX7611" y="connsiteY7611"/>
                </a:cxn>
                <a:cxn ang="0">
                  <a:pos x="connsiteX7612" y="connsiteY7612"/>
                </a:cxn>
                <a:cxn ang="0">
                  <a:pos x="connsiteX7613" y="connsiteY7613"/>
                </a:cxn>
                <a:cxn ang="0">
                  <a:pos x="connsiteX7614" y="connsiteY7614"/>
                </a:cxn>
                <a:cxn ang="0">
                  <a:pos x="connsiteX7615" y="connsiteY7615"/>
                </a:cxn>
                <a:cxn ang="0">
                  <a:pos x="connsiteX7616" y="connsiteY7616"/>
                </a:cxn>
                <a:cxn ang="0">
                  <a:pos x="connsiteX7617" y="connsiteY7617"/>
                </a:cxn>
                <a:cxn ang="0">
                  <a:pos x="connsiteX7618" y="connsiteY7618"/>
                </a:cxn>
                <a:cxn ang="0">
                  <a:pos x="connsiteX7619" y="connsiteY7619"/>
                </a:cxn>
                <a:cxn ang="0">
                  <a:pos x="connsiteX7620" y="connsiteY7620"/>
                </a:cxn>
                <a:cxn ang="0">
                  <a:pos x="connsiteX7621" y="connsiteY7621"/>
                </a:cxn>
                <a:cxn ang="0">
                  <a:pos x="connsiteX7622" y="connsiteY7622"/>
                </a:cxn>
                <a:cxn ang="0">
                  <a:pos x="connsiteX7623" y="connsiteY7623"/>
                </a:cxn>
                <a:cxn ang="0">
                  <a:pos x="connsiteX7624" y="connsiteY7624"/>
                </a:cxn>
                <a:cxn ang="0">
                  <a:pos x="connsiteX7625" y="connsiteY7625"/>
                </a:cxn>
                <a:cxn ang="0">
                  <a:pos x="connsiteX7626" y="connsiteY7626"/>
                </a:cxn>
                <a:cxn ang="0">
                  <a:pos x="connsiteX7627" y="connsiteY7627"/>
                </a:cxn>
                <a:cxn ang="0">
                  <a:pos x="connsiteX7628" y="connsiteY7628"/>
                </a:cxn>
                <a:cxn ang="0">
                  <a:pos x="connsiteX7629" y="connsiteY7629"/>
                </a:cxn>
                <a:cxn ang="0">
                  <a:pos x="connsiteX7630" y="connsiteY7630"/>
                </a:cxn>
                <a:cxn ang="0">
                  <a:pos x="connsiteX7631" y="connsiteY7631"/>
                </a:cxn>
                <a:cxn ang="0">
                  <a:pos x="connsiteX7632" y="connsiteY7632"/>
                </a:cxn>
                <a:cxn ang="0">
                  <a:pos x="connsiteX7633" y="connsiteY7633"/>
                </a:cxn>
                <a:cxn ang="0">
                  <a:pos x="connsiteX7634" y="connsiteY7634"/>
                </a:cxn>
                <a:cxn ang="0">
                  <a:pos x="connsiteX7635" y="connsiteY7635"/>
                </a:cxn>
                <a:cxn ang="0">
                  <a:pos x="connsiteX7636" y="connsiteY7636"/>
                </a:cxn>
                <a:cxn ang="0">
                  <a:pos x="connsiteX7637" y="connsiteY7637"/>
                </a:cxn>
                <a:cxn ang="0">
                  <a:pos x="connsiteX7638" y="connsiteY7638"/>
                </a:cxn>
                <a:cxn ang="0">
                  <a:pos x="connsiteX7639" y="connsiteY7639"/>
                </a:cxn>
                <a:cxn ang="0">
                  <a:pos x="connsiteX7640" y="connsiteY7640"/>
                </a:cxn>
                <a:cxn ang="0">
                  <a:pos x="connsiteX7641" y="connsiteY7641"/>
                </a:cxn>
                <a:cxn ang="0">
                  <a:pos x="connsiteX7642" y="connsiteY7642"/>
                </a:cxn>
                <a:cxn ang="0">
                  <a:pos x="connsiteX7643" y="connsiteY7643"/>
                </a:cxn>
                <a:cxn ang="0">
                  <a:pos x="connsiteX7644" y="connsiteY7644"/>
                </a:cxn>
                <a:cxn ang="0">
                  <a:pos x="connsiteX7645" y="connsiteY7645"/>
                </a:cxn>
                <a:cxn ang="0">
                  <a:pos x="connsiteX7646" y="connsiteY7646"/>
                </a:cxn>
                <a:cxn ang="0">
                  <a:pos x="connsiteX7647" y="connsiteY7647"/>
                </a:cxn>
                <a:cxn ang="0">
                  <a:pos x="connsiteX7648" y="connsiteY7648"/>
                </a:cxn>
                <a:cxn ang="0">
                  <a:pos x="connsiteX7649" y="connsiteY7649"/>
                </a:cxn>
                <a:cxn ang="0">
                  <a:pos x="connsiteX7650" y="connsiteY7650"/>
                </a:cxn>
                <a:cxn ang="0">
                  <a:pos x="connsiteX7651" y="connsiteY7651"/>
                </a:cxn>
                <a:cxn ang="0">
                  <a:pos x="connsiteX7652" y="connsiteY7652"/>
                </a:cxn>
                <a:cxn ang="0">
                  <a:pos x="connsiteX7653" y="connsiteY7653"/>
                </a:cxn>
                <a:cxn ang="0">
                  <a:pos x="connsiteX7654" y="connsiteY7654"/>
                </a:cxn>
                <a:cxn ang="0">
                  <a:pos x="connsiteX7655" y="connsiteY7655"/>
                </a:cxn>
                <a:cxn ang="0">
                  <a:pos x="connsiteX7656" y="connsiteY7656"/>
                </a:cxn>
                <a:cxn ang="0">
                  <a:pos x="connsiteX7657" y="connsiteY7657"/>
                </a:cxn>
                <a:cxn ang="0">
                  <a:pos x="connsiteX7658" y="connsiteY7658"/>
                </a:cxn>
                <a:cxn ang="0">
                  <a:pos x="connsiteX7659" y="connsiteY7659"/>
                </a:cxn>
                <a:cxn ang="0">
                  <a:pos x="connsiteX7660" y="connsiteY7660"/>
                </a:cxn>
                <a:cxn ang="0">
                  <a:pos x="connsiteX7661" y="connsiteY7661"/>
                </a:cxn>
                <a:cxn ang="0">
                  <a:pos x="connsiteX7662" y="connsiteY7662"/>
                </a:cxn>
                <a:cxn ang="0">
                  <a:pos x="connsiteX7663" y="connsiteY7663"/>
                </a:cxn>
                <a:cxn ang="0">
                  <a:pos x="connsiteX7664" y="connsiteY7664"/>
                </a:cxn>
                <a:cxn ang="0">
                  <a:pos x="connsiteX7665" y="connsiteY7665"/>
                </a:cxn>
                <a:cxn ang="0">
                  <a:pos x="connsiteX7666" y="connsiteY7666"/>
                </a:cxn>
                <a:cxn ang="0">
                  <a:pos x="connsiteX7667" y="connsiteY7667"/>
                </a:cxn>
                <a:cxn ang="0">
                  <a:pos x="connsiteX7668" y="connsiteY7668"/>
                </a:cxn>
                <a:cxn ang="0">
                  <a:pos x="connsiteX7669" y="connsiteY7669"/>
                </a:cxn>
                <a:cxn ang="0">
                  <a:pos x="connsiteX7670" y="connsiteY7670"/>
                </a:cxn>
                <a:cxn ang="0">
                  <a:pos x="connsiteX7671" y="connsiteY7671"/>
                </a:cxn>
                <a:cxn ang="0">
                  <a:pos x="connsiteX7672" y="connsiteY7672"/>
                </a:cxn>
                <a:cxn ang="0">
                  <a:pos x="connsiteX7673" y="connsiteY7673"/>
                </a:cxn>
                <a:cxn ang="0">
                  <a:pos x="connsiteX7674" y="connsiteY7674"/>
                </a:cxn>
                <a:cxn ang="0">
                  <a:pos x="connsiteX7675" y="connsiteY7675"/>
                </a:cxn>
                <a:cxn ang="0">
                  <a:pos x="connsiteX7676" y="connsiteY7676"/>
                </a:cxn>
                <a:cxn ang="0">
                  <a:pos x="connsiteX7677" y="connsiteY7677"/>
                </a:cxn>
                <a:cxn ang="0">
                  <a:pos x="connsiteX7678" y="connsiteY7678"/>
                </a:cxn>
                <a:cxn ang="0">
                  <a:pos x="connsiteX7679" y="connsiteY7679"/>
                </a:cxn>
                <a:cxn ang="0">
                  <a:pos x="connsiteX7680" y="connsiteY7680"/>
                </a:cxn>
                <a:cxn ang="0">
                  <a:pos x="connsiteX7681" y="connsiteY7681"/>
                </a:cxn>
                <a:cxn ang="0">
                  <a:pos x="connsiteX7682" y="connsiteY7682"/>
                </a:cxn>
                <a:cxn ang="0">
                  <a:pos x="connsiteX7683" y="connsiteY7683"/>
                </a:cxn>
                <a:cxn ang="0">
                  <a:pos x="connsiteX7684" y="connsiteY7684"/>
                </a:cxn>
                <a:cxn ang="0">
                  <a:pos x="connsiteX7685" y="connsiteY7685"/>
                </a:cxn>
                <a:cxn ang="0">
                  <a:pos x="connsiteX7686" y="connsiteY7686"/>
                </a:cxn>
                <a:cxn ang="0">
                  <a:pos x="connsiteX7687" y="connsiteY7687"/>
                </a:cxn>
                <a:cxn ang="0">
                  <a:pos x="connsiteX7688" y="connsiteY7688"/>
                </a:cxn>
                <a:cxn ang="0">
                  <a:pos x="connsiteX7689" y="connsiteY7689"/>
                </a:cxn>
                <a:cxn ang="0">
                  <a:pos x="connsiteX7690" y="connsiteY7690"/>
                </a:cxn>
                <a:cxn ang="0">
                  <a:pos x="connsiteX7691" y="connsiteY7691"/>
                </a:cxn>
                <a:cxn ang="0">
                  <a:pos x="connsiteX7692" y="connsiteY7692"/>
                </a:cxn>
                <a:cxn ang="0">
                  <a:pos x="connsiteX7693" y="connsiteY7693"/>
                </a:cxn>
                <a:cxn ang="0">
                  <a:pos x="connsiteX7694" y="connsiteY7694"/>
                </a:cxn>
                <a:cxn ang="0">
                  <a:pos x="connsiteX7695" y="connsiteY7695"/>
                </a:cxn>
                <a:cxn ang="0">
                  <a:pos x="connsiteX7696" y="connsiteY7696"/>
                </a:cxn>
                <a:cxn ang="0">
                  <a:pos x="connsiteX7697" y="connsiteY7697"/>
                </a:cxn>
                <a:cxn ang="0">
                  <a:pos x="connsiteX7698" y="connsiteY7698"/>
                </a:cxn>
                <a:cxn ang="0">
                  <a:pos x="connsiteX7699" y="connsiteY7699"/>
                </a:cxn>
                <a:cxn ang="0">
                  <a:pos x="connsiteX7700" y="connsiteY7700"/>
                </a:cxn>
                <a:cxn ang="0">
                  <a:pos x="connsiteX7701" y="connsiteY7701"/>
                </a:cxn>
                <a:cxn ang="0">
                  <a:pos x="connsiteX7702" y="connsiteY7702"/>
                </a:cxn>
                <a:cxn ang="0">
                  <a:pos x="connsiteX7703" y="connsiteY7703"/>
                </a:cxn>
                <a:cxn ang="0">
                  <a:pos x="connsiteX7704" y="connsiteY7704"/>
                </a:cxn>
                <a:cxn ang="0">
                  <a:pos x="connsiteX7705" y="connsiteY7705"/>
                </a:cxn>
                <a:cxn ang="0">
                  <a:pos x="connsiteX7706" y="connsiteY7706"/>
                </a:cxn>
                <a:cxn ang="0">
                  <a:pos x="connsiteX7707" y="connsiteY7707"/>
                </a:cxn>
                <a:cxn ang="0">
                  <a:pos x="connsiteX7708" y="connsiteY7708"/>
                </a:cxn>
                <a:cxn ang="0">
                  <a:pos x="connsiteX7709" y="connsiteY7709"/>
                </a:cxn>
                <a:cxn ang="0">
                  <a:pos x="connsiteX7710" y="connsiteY7710"/>
                </a:cxn>
                <a:cxn ang="0">
                  <a:pos x="connsiteX7711" y="connsiteY7711"/>
                </a:cxn>
                <a:cxn ang="0">
                  <a:pos x="connsiteX7712" y="connsiteY7712"/>
                </a:cxn>
                <a:cxn ang="0">
                  <a:pos x="connsiteX7713" y="connsiteY7713"/>
                </a:cxn>
                <a:cxn ang="0">
                  <a:pos x="connsiteX7714" y="connsiteY7714"/>
                </a:cxn>
                <a:cxn ang="0">
                  <a:pos x="connsiteX7715" y="connsiteY7715"/>
                </a:cxn>
                <a:cxn ang="0">
                  <a:pos x="connsiteX7716" y="connsiteY7716"/>
                </a:cxn>
                <a:cxn ang="0">
                  <a:pos x="connsiteX7717" y="connsiteY7717"/>
                </a:cxn>
                <a:cxn ang="0">
                  <a:pos x="connsiteX7718" y="connsiteY7718"/>
                </a:cxn>
                <a:cxn ang="0">
                  <a:pos x="connsiteX7719" y="connsiteY7719"/>
                </a:cxn>
                <a:cxn ang="0">
                  <a:pos x="connsiteX7720" y="connsiteY7720"/>
                </a:cxn>
                <a:cxn ang="0">
                  <a:pos x="connsiteX7721" y="connsiteY7721"/>
                </a:cxn>
                <a:cxn ang="0">
                  <a:pos x="connsiteX7722" y="connsiteY7722"/>
                </a:cxn>
                <a:cxn ang="0">
                  <a:pos x="connsiteX7723" y="connsiteY7723"/>
                </a:cxn>
                <a:cxn ang="0">
                  <a:pos x="connsiteX7724" y="connsiteY7724"/>
                </a:cxn>
                <a:cxn ang="0">
                  <a:pos x="connsiteX7725" y="connsiteY7725"/>
                </a:cxn>
                <a:cxn ang="0">
                  <a:pos x="connsiteX7726" y="connsiteY7726"/>
                </a:cxn>
                <a:cxn ang="0">
                  <a:pos x="connsiteX7727" y="connsiteY7727"/>
                </a:cxn>
                <a:cxn ang="0">
                  <a:pos x="connsiteX7728" y="connsiteY7728"/>
                </a:cxn>
                <a:cxn ang="0">
                  <a:pos x="connsiteX7729" y="connsiteY7729"/>
                </a:cxn>
                <a:cxn ang="0">
                  <a:pos x="connsiteX7730" y="connsiteY7730"/>
                </a:cxn>
                <a:cxn ang="0">
                  <a:pos x="connsiteX7731" y="connsiteY7731"/>
                </a:cxn>
                <a:cxn ang="0">
                  <a:pos x="connsiteX7732" y="connsiteY7732"/>
                </a:cxn>
                <a:cxn ang="0">
                  <a:pos x="connsiteX7733" y="connsiteY7733"/>
                </a:cxn>
                <a:cxn ang="0">
                  <a:pos x="connsiteX7734" y="connsiteY7734"/>
                </a:cxn>
                <a:cxn ang="0">
                  <a:pos x="connsiteX7735" y="connsiteY7735"/>
                </a:cxn>
                <a:cxn ang="0">
                  <a:pos x="connsiteX7736" y="connsiteY7736"/>
                </a:cxn>
                <a:cxn ang="0">
                  <a:pos x="connsiteX7737" y="connsiteY7737"/>
                </a:cxn>
                <a:cxn ang="0">
                  <a:pos x="connsiteX7738" y="connsiteY7738"/>
                </a:cxn>
                <a:cxn ang="0">
                  <a:pos x="connsiteX7739" y="connsiteY7739"/>
                </a:cxn>
                <a:cxn ang="0">
                  <a:pos x="connsiteX7740" y="connsiteY7740"/>
                </a:cxn>
                <a:cxn ang="0">
                  <a:pos x="connsiteX7741" y="connsiteY7741"/>
                </a:cxn>
                <a:cxn ang="0">
                  <a:pos x="connsiteX7742" y="connsiteY7742"/>
                </a:cxn>
                <a:cxn ang="0">
                  <a:pos x="connsiteX7743" y="connsiteY7743"/>
                </a:cxn>
                <a:cxn ang="0">
                  <a:pos x="connsiteX7744" y="connsiteY7744"/>
                </a:cxn>
                <a:cxn ang="0">
                  <a:pos x="connsiteX7745" y="connsiteY7745"/>
                </a:cxn>
                <a:cxn ang="0">
                  <a:pos x="connsiteX7746" y="connsiteY7746"/>
                </a:cxn>
                <a:cxn ang="0">
                  <a:pos x="connsiteX7747" y="connsiteY7747"/>
                </a:cxn>
                <a:cxn ang="0">
                  <a:pos x="connsiteX7748" y="connsiteY7748"/>
                </a:cxn>
                <a:cxn ang="0">
                  <a:pos x="connsiteX7749" y="connsiteY7749"/>
                </a:cxn>
                <a:cxn ang="0">
                  <a:pos x="connsiteX7750" y="connsiteY7750"/>
                </a:cxn>
                <a:cxn ang="0">
                  <a:pos x="connsiteX7751" y="connsiteY7751"/>
                </a:cxn>
                <a:cxn ang="0">
                  <a:pos x="connsiteX7752" y="connsiteY7752"/>
                </a:cxn>
                <a:cxn ang="0">
                  <a:pos x="connsiteX7753" y="connsiteY7753"/>
                </a:cxn>
                <a:cxn ang="0">
                  <a:pos x="connsiteX7754" y="connsiteY7754"/>
                </a:cxn>
                <a:cxn ang="0">
                  <a:pos x="connsiteX7755" y="connsiteY7755"/>
                </a:cxn>
                <a:cxn ang="0">
                  <a:pos x="connsiteX7756" y="connsiteY7756"/>
                </a:cxn>
                <a:cxn ang="0">
                  <a:pos x="connsiteX7757" y="connsiteY7757"/>
                </a:cxn>
                <a:cxn ang="0">
                  <a:pos x="connsiteX7758" y="connsiteY7758"/>
                </a:cxn>
                <a:cxn ang="0">
                  <a:pos x="connsiteX7759" y="connsiteY7759"/>
                </a:cxn>
                <a:cxn ang="0">
                  <a:pos x="connsiteX7760" y="connsiteY7760"/>
                </a:cxn>
                <a:cxn ang="0">
                  <a:pos x="connsiteX7761" y="connsiteY7761"/>
                </a:cxn>
                <a:cxn ang="0">
                  <a:pos x="connsiteX7762" y="connsiteY7762"/>
                </a:cxn>
                <a:cxn ang="0">
                  <a:pos x="connsiteX7763" y="connsiteY7763"/>
                </a:cxn>
                <a:cxn ang="0">
                  <a:pos x="connsiteX7764" y="connsiteY7764"/>
                </a:cxn>
                <a:cxn ang="0">
                  <a:pos x="connsiteX7765" y="connsiteY7765"/>
                </a:cxn>
                <a:cxn ang="0">
                  <a:pos x="connsiteX7766" y="connsiteY7766"/>
                </a:cxn>
                <a:cxn ang="0">
                  <a:pos x="connsiteX7767" y="connsiteY7767"/>
                </a:cxn>
                <a:cxn ang="0">
                  <a:pos x="connsiteX7768" y="connsiteY7768"/>
                </a:cxn>
                <a:cxn ang="0">
                  <a:pos x="connsiteX7769" y="connsiteY7769"/>
                </a:cxn>
                <a:cxn ang="0">
                  <a:pos x="connsiteX7770" y="connsiteY7770"/>
                </a:cxn>
                <a:cxn ang="0">
                  <a:pos x="connsiteX7771" y="connsiteY7771"/>
                </a:cxn>
                <a:cxn ang="0">
                  <a:pos x="connsiteX7772" y="connsiteY7772"/>
                </a:cxn>
                <a:cxn ang="0">
                  <a:pos x="connsiteX7773" y="connsiteY7773"/>
                </a:cxn>
                <a:cxn ang="0">
                  <a:pos x="connsiteX7774" y="connsiteY7774"/>
                </a:cxn>
                <a:cxn ang="0">
                  <a:pos x="connsiteX7775" y="connsiteY7775"/>
                </a:cxn>
                <a:cxn ang="0">
                  <a:pos x="connsiteX7776" y="connsiteY7776"/>
                </a:cxn>
                <a:cxn ang="0">
                  <a:pos x="connsiteX7777" y="connsiteY7777"/>
                </a:cxn>
                <a:cxn ang="0">
                  <a:pos x="connsiteX7778" y="connsiteY7778"/>
                </a:cxn>
                <a:cxn ang="0">
                  <a:pos x="connsiteX7779" y="connsiteY7779"/>
                </a:cxn>
                <a:cxn ang="0">
                  <a:pos x="connsiteX7780" y="connsiteY7780"/>
                </a:cxn>
                <a:cxn ang="0">
                  <a:pos x="connsiteX7781" y="connsiteY7781"/>
                </a:cxn>
                <a:cxn ang="0">
                  <a:pos x="connsiteX7782" y="connsiteY7782"/>
                </a:cxn>
                <a:cxn ang="0">
                  <a:pos x="connsiteX7783" y="connsiteY7783"/>
                </a:cxn>
                <a:cxn ang="0">
                  <a:pos x="connsiteX7784" y="connsiteY7784"/>
                </a:cxn>
                <a:cxn ang="0">
                  <a:pos x="connsiteX7785" y="connsiteY7785"/>
                </a:cxn>
                <a:cxn ang="0">
                  <a:pos x="connsiteX7786" y="connsiteY7786"/>
                </a:cxn>
                <a:cxn ang="0">
                  <a:pos x="connsiteX7787" y="connsiteY7787"/>
                </a:cxn>
                <a:cxn ang="0">
                  <a:pos x="connsiteX7788" y="connsiteY7788"/>
                </a:cxn>
                <a:cxn ang="0">
                  <a:pos x="connsiteX7789" y="connsiteY7789"/>
                </a:cxn>
                <a:cxn ang="0">
                  <a:pos x="connsiteX7790" y="connsiteY7790"/>
                </a:cxn>
                <a:cxn ang="0">
                  <a:pos x="connsiteX7791" y="connsiteY7791"/>
                </a:cxn>
                <a:cxn ang="0">
                  <a:pos x="connsiteX7792" y="connsiteY7792"/>
                </a:cxn>
                <a:cxn ang="0">
                  <a:pos x="connsiteX7793" y="connsiteY7793"/>
                </a:cxn>
                <a:cxn ang="0">
                  <a:pos x="connsiteX7794" y="connsiteY7794"/>
                </a:cxn>
                <a:cxn ang="0">
                  <a:pos x="connsiteX7795" y="connsiteY7795"/>
                </a:cxn>
                <a:cxn ang="0">
                  <a:pos x="connsiteX7796" y="connsiteY7796"/>
                </a:cxn>
                <a:cxn ang="0">
                  <a:pos x="connsiteX7797" y="connsiteY7797"/>
                </a:cxn>
                <a:cxn ang="0">
                  <a:pos x="connsiteX7798" y="connsiteY7798"/>
                </a:cxn>
                <a:cxn ang="0">
                  <a:pos x="connsiteX7799" y="connsiteY7799"/>
                </a:cxn>
                <a:cxn ang="0">
                  <a:pos x="connsiteX7800" y="connsiteY7800"/>
                </a:cxn>
                <a:cxn ang="0">
                  <a:pos x="connsiteX7801" y="connsiteY7801"/>
                </a:cxn>
                <a:cxn ang="0">
                  <a:pos x="connsiteX7802" y="connsiteY7802"/>
                </a:cxn>
                <a:cxn ang="0">
                  <a:pos x="connsiteX7803" y="connsiteY7803"/>
                </a:cxn>
                <a:cxn ang="0">
                  <a:pos x="connsiteX7804" y="connsiteY7804"/>
                </a:cxn>
                <a:cxn ang="0">
                  <a:pos x="connsiteX7805" y="connsiteY7805"/>
                </a:cxn>
                <a:cxn ang="0">
                  <a:pos x="connsiteX7806" y="connsiteY7806"/>
                </a:cxn>
                <a:cxn ang="0">
                  <a:pos x="connsiteX7807" y="connsiteY7807"/>
                </a:cxn>
                <a:cxn ang="0">
                  <a:pos x="connsiteX7808" y="connsiteY7808"/>
                </a:cxn>
                <a:cxn ang="0">
                  <a:pos x="connsiteX7809" y="connsiteY7809"/>
                </a:cxn>
                <a:cxn ang="0">
                  <a:pos x="connsiteX7810" y="connsiteY7810"/>
                </a:cxn>
                <a:cxn ang="0">
                  <a:pos x="connsiteX7811" y="connsiteY7811"/>
                </a:cxn>
                <a:cxn ang="0">
                  <a:pos x="connsiteX7812" y="connsiteY7812"/>
                </a:cxn>
                <a:cxn ang="0">
                  <a:pos x="connsiteX7813" y="connsiteY7813"/>
                </a:cxn>
                <a:cxn ang="0">
                  <a:pos x="connsiteX7814" y="connsiteY7814"/>
                </a:cxn>
                <a:cxn ang="0">
                  <a:pos x="connsiteX7815" y="connsiteY7815"/>
                </a:cxn>
                <a:cxn ang="0">
                  <a:pos x="connsiteX7816" y="connsiteY7816"/>
                </a:cxn>
                <a:cxn ang="0">
                  <a:pos x="connsiteX7817" y="connsiteY7817"/>
                </a:cxn>
                <a:cxn ang="0">
                  <a:pos x="connsiteX7818" y="connsiteY7818"/>
                </a:cxn>
                <a:cxn ang="0">
                  <a:pos x="connsiteX7819" y="connsiteY7819"/>
                </a:cxn>
                <a:cxn ang="0">
                  <a:pos x="connsiteX7820" y="connsiteY7820"/>
                </a:cxn>
                <a:cxn ang="0">
                  <a:pos x="connsiteX7821" y="connsiteY7821"/>
                </a:cxn>
                <a:cxn ang="0">
                  <a:pos x="connsiteX7822" y="connsiteY7822"/>
                </a:cxn>
                <a:cxn ang="0">
                  <a:pos x="connsiteX7823" y="connsiteY7823"/>
                </a:cxn>
                <a:cxn ang="0">
                  <a:pos x="connsiteX7824" y="connsiteY7824"/>
                </a:cxn>
                <a:cxn ang="0">
                  <a:pos x="connsiteX7825" y="connsiteY7825"/>
                </a:cxn>
                <a:cxn ang="0">
                  <a:pos x="connsiteX7826" y="connsiteY7826"/>
                </a:cxn>
                <a:cxn ang="0">
                  <a:pos x="connsiteX7827" y="connsiteY7827"/>
                </a:cxn>
                <a:cxn ang="0">
                  <a:pos x="connsiteX7828" y="connsiteY7828"/>
                </a:cxn>
                <a:cxn ang="0">
                  <a:pos x="connsiteX7829" y="connsiteY7829"/>
                </a:cxn>
                <a:cxn ang="0">
                  <a:pos x="connsiteX7830" y="connsiteY7830"/>
                </a:cxn>
                <a:cxn ang="0">
                  <a:pos x="connsiteX7831" y="connsiteY7831"/>
                </a:cxn>
                <a:cxn ang="0">
                  <a:pos x="connsiteX7832" y="connsiteY7832"/>
                </a:cxn>
                <a:cxn ang="0">
                  <a:pos x="connsiteX7833" y="connsiteY7833"/>
                </a:cxn>
                <a:cxn ang="0">
                  <a:pos x="connsiteX7834" y="connsiteY7834"/>
                </a:cxn>
                <a:cxn ang="0">
                  <a:pos x="connsiteX7835" y="connsiteY7835"/>
                </a:cxn>
                <a:cxn ang="0">
                  <a:pos x="connsiteX7836" y="connsiteY7836"/>
                </a:cxn>
                <a:cxn ang="0">
                  <a:pos x="connsiteX7837" y="connsiteY7837"/>
                </a:cxn>
                <a:cxn ang="0">
                  <a:pos x="connsiteX7838" y="connsiteY7838"/>
                </a:cxn>
                <a:cxn ang="0">
                  <a:pos x="connsiteX7839" y="connsiteY7839"/>
                </a:cxn>
                <a:cxn ang="0">
                  <a:pos x="connsiteX7840" y="connsiteY7840"/>
                </a:cxn>
                <a:cxn ang="0">
                  <a:pos x="connsiteX7841" y="connsiteY7841"/>
                </a:cxn>
                <a:cxn ang="0">
                  <a:pos x="connsiteX7842" y="connsiteY7842"/>
                </a:cxn>
                <a:cxn ang="0">
                  <a:pos x="connsiteX7843" y="connsiteY7843"/>
                </a:cxn>
                <a:cxn ang="0">
                  <a:pos x="connsiteX7844" y="connsiteY7844"/>
                </a:cxn>
                <a:cxn ang="0">
                  <a:pos x="connsiteX7845" y="connsiteY7845"/>
                </a:cxn>
                <a:cxn ang="0">
                  <a:pos x="connsiteX7846" y="connsiteY7846"/>
                </a:cxn>
                <a:cxn ang="0">
                  <a:pos x="connsiteX7847" y="connsiteY7847"/>
                </a:cxn>
                <a:cxn ang="0">
                  <a:pos x="connsiteX7848" y="connsiteY7848"/>
                </a:cxn>
                <a:cxn ang="0">
                  <a:pos x="connsiteX7849" y="connsiteY7849"/>
                </a:cxn>
                <a:cxn ang="0">
                  <a:pos x="connsiteX7850" y="connsiteY7850"/>
                </a:cxn>
                <a:cxn ang="0">
                  <a:pos x="connsiteX7851" y="connsiteY7851"/>
                </a:cxn>
                <a:cxn ang="0">
                  <a:pos x="connsiteX7852" y="connsiteY7852"/>
                </a:cxn>
                <a:cxn ang="0">
                  <a:pos x="connsiteX7853" y="connsiteY7853"/>
                </a:cxn>
                <a:cxn ang="0">
                  <a:pos x="connsiteX7854" y="connsiteY7854"/>
                </a:cxn>
                <a:cxn ang="0">
                  <a:pos x="connsiteX7855" y="connsiteY7855"/>
                </a:cxn>
                <a:cxn ang="0">
                  <a:pos x="connsiteX7856" y="connsiteY7856"/>
                </a:cxn>
                <a:cxn ang="0">
                  <a:pos x="connsiteX7857" y="connsiteY7857"/>
                </a:cxn>
                <a:cxn ang="0">
                  <a:pos x="connsiteX7858" y="connsiteY7858"/>
                </a:cxn>
                <a:cxn ang="0">
                  <a:pos x="connsiteX7859" y="connsiteY7859"/>
                </a:cxn>
                <a:cxn ang="0">
                  <a:pos x="connsiteX7860" y="connsiteY7860"/>
                </a:cxn>
                <a:cxn ang="0">
                  <a:pos x="connsiteX7861" y="connsiteY7861"/>
                </a:cxn>
                <a:cxn ang="0">
                  <a:pos x="connsiteX7862" y="connsiteY7862"/>
                </a:cxn>
                <a:cxn ang="0">
                  <a:pos x="connsiteX7863" y="connsiteY7863"/>
                </a:cxn>
                <a:cxn ang="0">
                  <a:pos x="connsiteX7864" y="connsiteY7864"/>
                </a:cxn>
                <a:cxn ang="0">
                  <a:pos x="connsiteX7865" y="connsiteY7865"/>
                </a:cxn>
                <a:cxn ang="0">
                  <a:pos x="connsiteX7866" y="connsiteY7866"/>
                </a:cxn>
                <a:cxn ang="0">
                  <a:pos x="connsiteX7867" y="connsiteY7867"/>
                </a:cxn>
                <a:cxn ang="0">
                  <a:pos x="connsiteX7868" y="connsiteY7868"/>
                </a:cxn>
                <a:cxn ang="0">
                  <a:pos x="connsiteX7869" y="connsiteY7869"/>
                </a:cxn>
                <a:cxn ang="0">
                  <a:pos x="connsiteX7870" y="connsiteY7870"/>
                </a:cxn>
                <a:cxn ang="0">
                  <a:pos x="connsiteX7871" y="connsiteY7871"/>
                </a:cxn>
                <a:cxn ang="0">
                  <a:pos x="connsiteX7872" y="connsiteY7872"/>
                </a:cxn>
                <a:cxn ang="0">
                  <a:pos x="connsiteX7873" y="connsiteY7873"/>
                </a:cxn>
                <a:cxn ang="0">
                  <a:pos x="connsiteX7874" y="connsiteY7874"/>
                </a:cxn>
                <a:cxn ang="0">
                  <a:pos x="connsiteX7875" y="connsiteY7875"/>
                </a:cxn>
                <a:cxn ang="0">
                  <a:pos x="connsiteX7876" y="connsiteY7876"/>
                </a:cxn>
                <a:cxn ang="0">
                  <a:pos x="connsiteX7877" y="connsiteY7877"/>
                </a:cxn>
                <a:cxn ang="0">
                  <a:pos x="connsiteX7878" y="connsiteY7878"/>
                </a:cxn>
                <a:cxn ang="0">
                  <a:pos x="connsiteX7879" y="connsiteY7879"/>
                </a:cxn>
                <a:cxn ang="0">
                  <a:pos x="connsiteX7880" y="connsiteY7880"/>
                </a:cxn>
                <a:cxn ang="0">
                  <a:pos x="connsiteX7881" y="connsiteY7881"/>
                </a:cxn>
                <a:cxn ang="0">
                  <a:pos x="connsiteX7882" y="connsiteY7882"/>
                </a:cxn>
                <a:cxn ang="0">
                  <a:pos x="connsiteX7883" y="connsiteY7883"/>
                </a:cxn>
                <a:cxn ang="0">
                  <a:pos x="connsiteX7884" y="connsiteY7884"/>
                </a:cxn>
                <a:cxn ang="0">
                  <a:pos x="connsiteX7885" y="connsiteY7885"/>
                </a:cxn>
                <a:cxn ang="0">
                  <a:pos x="connsiteX7886" y="connsiteY7886"/>
                </a:cxn>
                <a:cxn ang="0">
                  <a:pos x="connsiteX7887" y="connsiteY7887"/>
                </a:cxn>
                <a:cxn ang="0">
                  <a:pos x="connsiteX7888" y="connsiteY7888"/>
                </a:cxn>
                <a:cxn ang="0">
                  <a:pos x="connsiteX7889" y="connsiteY7889"/>
                </a:cxn>
                <a:cxn ang="0">
                  <a:pos x="connsiteX7890" y="connsiteY7890"/>
                </a:cxn>
                <a:cxn ang="0">
                  <a:pos x="connsiteX7891" y="connsiteY7891"/>
                </a:cxn>
                <a:cxn ang="0">
                  <a:pos x="connsiteX7892" y="connsiteY7892"/>
                </a:cxn>
                <a:cxn ang="0">
                  <a:pos x="connsiteX7893" y="connsiteY7893"/>
                </a:cxn>
                <a:cxn ang="0">
                  <a:pos x="connsiteX7894" y="connsiteY7894"/>
                </a:cxn>
                <a:cxn ang="0">
                  <a:pos x="connsiteX7895" y="connsiteY7895"/>
                </a:cxn>
                <a:cxn ang="0">
                  <a:pos x="connsiteX7896" y="connsiteY7896"/>
                </a:cxn>
                <a:cxn ang="0">
                  <a:pos x="connsiteX7897" y="connsiteY7897"/>
                </a:cxn>
                <a:cxn ang="0">
                  <a:pos x="connsiteX7898" y="connsiteY7898"/>
                </a:cxn>
                <a:cxn ang="0">
                  <a:pos x="connsiteX7899" y="connsiteY7899"/>
                </a:cxn>
                <a:cxn ang="0">
                  <a:pos x="connsiteX7900" y="connsiteY7900"/>
                </a:cxn>
                <a:cxn ang="0">
                  <a:pos x="connsiteX7901" y="connsiteY7901"/>
                </a:cxn>
                <a:cxn ang="0">
                  <a:pos x="connsiteX7902" y="connsiteY7902"/>
                </a:cxn>
                <a:cxn ang="0">
                  <a:pos x="connsiteX7903" y="connsiteY7903"/>
                </a:cxn>
                <a:cxn ang="0">
                  <a:pos x="connsiteX7904" y="connsiteY7904"/>
                </a:cxn>
                <a:cxn ang="0">
                  <a:pos x="connsiteX7905" y="connsiteY7905"/>
                </a:cxn>
                <a:cxn ang="0">
                  <a:pos x="connsiteX7906" y="connsiteY7906"/>
                </a:cxn>
                <a:cxn ang="0">
                  <a:pos x="connsiteX7907" y="connsiteY7907"/>
                </a:cxn>
                <a:cxn ang="0">
                  <a:pos x="connsiteX7908" y="connsiteY7908"/>
                </a:cxn>
                <a:cxn ang="0">
                  <a:pos x="connsiteX7909" y="connsiteY7909"/>
                </a:cxn>
                <a:cxn ang="0">
                  <a:pos x="connsiteX7910" y="connsiteY7910"/>
                </a:cxn>
                <a:cxn ang="0">
                  <a:pos x="connsiteX7911" y="connsiteY7911"/>
                </a:cxn>
                <a:cxn ang="0">
                  <a:pos x="connsiteX7912" y="connsiteY7912"/>
                </a:cxn>
                <a:cxn ang="0">
                  <a:pos x="connsiteX7913" y="connsiteY7913"/>
                </a:cxn>
                <a:cxn ang="0">
                  <a:pos x="connsiteX7914" y="connsiteY7914"/>
                </a:cxn>
                <a:cxn ang="0">
                  <a:pos x="connsiteX7915" y="connsiteY7915"/>
                </a:cxn>
                <a:cxn ang="0">
                  <a:pos x="connsiteX7916" y="connsiteY7916"/>
                </a:cxn>
                <a:cxn ang="0">
                  <a:pos x="connsiteX7917" y="connsiteY7917"/>
                </a:cxn>
                <a:cxn ang="0">
                  <a:pos x="connsiteX7918" y="connsiteY7918"/>
                </a:cxn>
                <a:cxn ang="0">
                  <a:pos x="connsiteX7919" y="connsiteY7919"/>
                </a:cxn>
                <a:cxn ang="0">
                  <a:pos x="connsiteX7920" y="connsiteY7920"/>
                </a:cxn>
                <a:cxn ang="0">
                  <a:pos x="connsiteX7921" y="connsiteY7921"/>
                </a:cxn>
                <a:cxn ang="0">
                  <a:pos x="connsiteX7922" y="connsiteY7922"/>
                </a:cxn>
                <a:cxn ang="0">
                  <a:pos x="connsiteX7923" y="connsiteY7923"/>
                </a:cxn>
                <a:cxn ang="0">
                  <a:pos x="connsiteX7924" y="connsiteY7924"/>
                </a:cxn>
                <a:cxn ang="0">
                  <a:pos x="connsiteX7925" y="connsiteY7925"/>
                </a:cxn>
                <a:cxn ang="0">
                  <a:pos x="connsiteX7926" y="connsiteY7926"/>
                </a:cxn>
                <a:cxn ang="0">
                  <a:pos x="connsiteX7927" y="connsiteY7927"/>
                </a:cxn>
                <a:cxn ang="0">
                  <a:pos x="connsiteX7928" y="connsiteY7928"/>
                </a:cxn>
                <a:cxn ang="0">
                  <a:pos x="connsiteX7929" y="connsiteY7929"/>
                </a:cxn>
                <a:cxn ang="0">
                  <a:pos x="connsiteX7930" y="connsiteY7930"/>
                </a:cxn>
                <a:cxn ang="0">
                  <a:pos x="connsiteX7931" y="connsiteY7931"/>
                </a:cxn>
                <a:cxn ang="0">
                  <a:pos x="connsiteX7932" y="connsiteY7932"/>
                </a:cxn>
                <a:cxn ang="0">
                  <a:pos x="connsiteX7933" y="connsiteY7933"/>
                </a:cxn>
                <a:cxn ang="0">
                  <a:pos x="connsiteX7934" y="connsiteY7934"/>
                </a:cxn>
                <a:cxn ang="0">
                  <a:pos x="connsiteX7935" y="connsiteY7935"/>
                </a:cxn>
                <a:cxn ang="0">
                  <a:pos x="connsiteX7936" y="connsiteY7936"/>
                </a:cxn>
                <a:cxn ang="0">
                  <a:pos x="connsiteX7937" y="connsiteY7937"/>
                </a:cxn>
                <a:cxn ang="0">
                  <a:pos x="connsiteX7938" y="connsiteY7938"/>
                </a:cxn>
                <a:cxn ang="0">
                  <a:pos x="connsiteX7939" y="connsiteY7939"/>
                </a:cxn>
                <a:cxn ang="0">
                  <a:pos x="connsiteX7940" y="connsiteY7940"/>
                </a:cxn>
                <a:cxn ang="0">
                  <a:pos x="connsiteX7941" y="connsiteY7941"/>
                </a:cxn>
                <a:cxn ang="0">
                  <a:pos x="connsiteX7942" y="connsiteY7942"/>
                </a:cxn>
                <a:cxn ang="0">
                  <a:pos x="connsiteX7943" y="connsiteY7943"/>
                </a:cxn>
                <a:cxn ang="0">
                  <a:pos x="connsiteX7944" y="connsiteY7944"/>
                </a:cxn>
                <a:cxn ang="0">
                  <a:pos x="connsiteX7945" y="connsiteY7945"/>
                </a:cxn>
                <a:cxn ang="0">
                  <a:pos x="connsiteX7946" y="connsiteY7946"/>
                </a:cxn>
                <a:cxn ang="0">
                  <a:pos x="connsiteX7947" y="connsiteY7947"/>
                </a:cxn>
                <a:cxn ang="0">
                  <a:pos x="connsiteX7948" y="connsiteY7948"/>
                </a:cxn>
                <a:cxn ang="0">
                  <a:pos x="connsiteX7949" y="connsiteY7949"/>
                </a:cxn>
                <a:cxn ang="0">
                  <a:pos x="connsiteX7950" y="connsiteY7950"/>
                </a:cxn>
                <a:cxn ang="0">
                  <a:pos x="connsiteX7951" y="connsiteY7951"/>
                </a:cxn>
                <a:cxn ang="0">
                  <a:pos x="connsiteX7952" y="connsiteY7952"/>
                </a:cxn>
                <a:cxn ang="0">
                  <a:pos x="connsiteX7953" y="connsiteY7953"/>
                </a:cxn>
                <a:cxn ang="0">
                  <a:pos x="connsiteX7954" y="connsiteY7954"/>
                </a:cxn>
                <a:cxn ang="0">
                  <a:pos x="connsiteX7955" y="connsiteY7955"/>
                </a:cxn>
                <a:cxn ang="0">
                  <a:pos x="connsiteX7956" y="connsiteY7956"/>
                </a:cxn>
                <a:cxn ang="0">
                  <a:pos x="connsiteX7957" y="connsiteY7957"/>
                </a:cxn>
                <a:cxn ang="0">
                  <a:pos x="connsiteX7958" y="connsiteY7958"/>
                </a:cxn>
                <a:cxn ang="0">
                  <a:pos x="connsiteX7959" y="connsiteY7959"/>
                </a:cxn>
                <a:cxn ang="0">
                  <a:pos x="connsiteX7960" y="connsiteY7960"/>
                </a:cxn>
                <a:cxn ang="0">
                  <a:pos x="connsiteX7961" y="connsiteY7961"/>
                </a:cxn>
                <a:cxn ang="0">
                  <a:pos x="connsiteX7962" y="connsiteY7962"/>
                </a:cxn>
                <a:cxn ang="0">
                  <a:pos x="connsiteX7963" y="connsiteY7963"/>
                </a:cxn>
                <a:cxn ang="0">
                  <a:pos x="connsiteX7964" y="connsiteY7964"/>
                </a:cxn>
                <a:cxn ang="0">
                  <a:pos x="connsiteX7965" y="connsiteY7965"/>
                </a:cxn>
                <a:cxn ang="0">
                  <a:pos x="connsiteX7966" y="connsiteY7966"/>
                </a:cxn>
                <a:cxn ang="0">
                  <a:pos x="connsiteX7967" y="connsiteY7967"/>
                </a:cxn>
                <a:cxn ang="0">
                  <a:pos x="connsiteX7968" y="connsiteY7968"/>
                </a:cxn>
                <a:cxn ang="0">
                  <a:pos x="connsiteX7969" y="connsiteY7969"/>
                </a:cxn>
                <a:cxn ang="0">
                  <a:pos x="connsiteX7970" y="connsiteY7970"/>
                </a:cxn>
                <a:cxn ang="0">
                  <a:pos x="connsiteX7971" y="connsiteY7971"/>
                </a:cxn>
                <a:cxn ang="0">
                  <a:pos x="connsiteX7972" y="connsiteY7972"/>
                </a:cxn>
                <a:cxn ang="0">
                  <a:pos x="connsiteX7973" y="connsiteY7973"/>
                </a:cxn>
                <a:cxn ang="0">
                  <a:pos x="connsiteX7974" y="connsiteY7974"/>
                </a:cxn>
                <a:cxn ang="0">
                  <a:pos x="connsiteX7975" y="connsiteY7975"/>
                </a:cxn>
                <a:cxn ang="0">
                  <a:pos x="connsiteX7976" y="connsiteY7976"/>
                </a:cxn>
                <a:cxn ang="0">
                  <a:pos x="connsiteX7977" y="connsiteY7977"/>
                </a:cxn>
                <a:cxn ang="0">
                  <a:pos x="connsiteX7978" y="connsiteY7978"/>
                </a:cxn>
                <a:cxn ang="0">
                  <a:pos x="connsiteX7979" y="connsiteY7979"/>
                </a:cxn>
                <a:cxn ang="0">
                  <a:pos x="connsiteX7980" y="connsiteY7980"/>
                </a:cxn>
                <a:cxn ang="0">
                  <a:pos x="connsiteX7981" y="connsiteY7981"/>
                </a:cxn>
                <a:cxn ang="0">
                  <a:pos x="connsiteX7982" y="connsiteY7982"/>
                </a:cxn>
                <a:cxn ang="0">
                  <a:pos x="connsiteX7983" y="connsiteY7983"/>
                </a:cxn>
                <a:cxn ang="0">
                  <a:pos x="connsiteX7984" y="connsiteY7984"/>
                </a:cxn>
                <a:cxn ang="0">
                  <a:pos x="connsiteX7985" y="connsiteY7985"/>
                </a:cxn>
                <a:cxn ang="0">
                  <a:pos x="connsiteX7986" y="connsiteY7986"/>
                </a:cxn>
                <a:cxn ang="0">
                  <a:pos x="connsiteX7987" y="connsiteY7987"/>
                </a:cxn>
                <a:cxn ang="0">
                  <a:pos x="connsiteX7988" y="connsiteY7988"/>
                </a:cxn>
                <a:cxn ang="0">
                  <a:pos x="connsiteX7989" y="connsiteY7989"/>
                </a:cxn>
                <a:cxn ang="0">
                  <a:pos x="connsiteX7990" y="connsiteY7990"/>
                </a:cxn>
                <a:cxn ang="0">
                  <a:pos x="connsiteX7991" y="connsiteY7991"/>
                </a:cxn>
                <a:cxn ang="0">
                  <a:pos x="connsiteX7992" y="connsiteY7992"/>
                </a:cxn>
                <a:cxn ang="0">
                  <a:pos x="connsiteX7993" y="connsiteY7993"/>
                </a:cxn>
                <a:cxn ang="0">
                  <a:pos x="connsiteX7994" y="connsiteY7994"/>
                </a:cxn>
                <a:cxn ang="0">
                  <a:pos x="connsiteX7995" y="connsiteY7995"/>
                </a:cxn>
                <a:cxn ang="0">
                  <a:pos x="connsiteX7996" y="connsiteY7996"/>
                </a:cxn>
                <a:cxn ang="0">
                  <a:pos x="connsiteX7997" y="connsiteY7997"/>
                </a:cxn>
                <a:cxn ang="0">
                  <a:pos x="connsiteX7998" y="connsiteY7998"/>
                </a:cxn>
                <a:cxn ang="0">
                  <a:pos x="connsiteX7999" y="connsiteY7999"/>
                </a:cxn>
                <a:cxn ang="0">
                  <a:pos x="connsiteX8000" y="connsiteY8000"/>
                </a:cxn>
                <a:cxn ang="0">
                  <a:pos x="connsiteX8001" y="connsiteY8001"/>
                </a:cxn>
                <a:cxn ang="0">
                  <a:pos x="connsiteX8002" y="connsiteY8002"/>
                </a:cxn>
                <a:cxn ang="0">
                  <a:pos x="connsiteX8003" y="connsiteY8003"/>
                </a:cxn>
                <a:cxn ang="0">
                  <a:pos x="connsiteX8004" y="connsiteY8004"/>
                </a:cxn>
                <a:cxn ang="0">
                  <a:pos x="connsiteX8005" y="connsiteY8005"/>
                </a:cxn>
                <a:cxn ang="0">
                  <a:pos x="connsiteX8006" y="connsiteY8006"/>
                </a:cxn>
                <a:cxn ang="0">
                  <a:pos x="connsiteX8007" y="connsiteY8007"/>
                </a:cxn>
                <a:cxn ang="0">
                  <a:pos x="connsiteX8008" y="connsiteY8008"/>
                </a:cxn>
                <a:cxn ang="0">
                  <a:pos x="connsiteX8009" y="connsiteY8009"/>
                </a:cxn>
                <a:cxn ang="0">
                  <a:pos x="connsiteX8010" y="connsiteY8010"/>
                </a:cxn>
                <a:cxn ang="0">
                  <a:pos x="connsiteX8011" y="connsiteY8011"/>
                </a:cxn>
                <a:cxn ang="0">
                  <a:pos x="connsiteX8012" y="connsiteY8012"/>
                </a:cxn>
                <a:cxn ang="0">
                  <a:pos x="connsiteX8013" y="connsiteY8013"/>
                </a:cxn>
                <a:cxn ang="0">
                  <a:pos x="connsiteX8014" y="connsiteY8014"/>
                </a:cxn>
                <a:cxn ang="0">
                  <a:pos x="connsiteX8015" y="connsiteY8015"/>
                </a:cxn>
                <a:cxn ang="0">
                  <a:pos x="connsiteX8016" y="connsiteY8016"/>
                </a:cxn>
                <a:cxn ang="0">
                  <a:pos x="connsiteX8017" y="connsiteY8017"/>
                </a:cxn>
                <a:cxn ang="0">
                  <a:pos x="connsiteX8018" y="connsiteY8018"/>
                </a:cxn>
                <a:cxn ang="0">
                  <a:pos x="connsiteX8019" y="connsiteY8019"/>
                </a:cxn>
                <a:cxn ang="0">
                  <a:pos x="connsiteX8020" y="connsiteY8020"/>
                </a:cxn>
                <a:cxn ang="0">
                  <a:pos x="connsiteX8021" y="connsiteY8021"/>
                </a:cxn>
                <a:cxn ang="0">
                  <a:pos x="connsiteX8022" y="connsiteY8022"/>
                </a:cxn>
                <a:cxn ang="0">
                  <a:pos x="connsiteX8023" y="connsiteY8023"/>
                </a:cxn>
                <a:cxn ang="0">
                  <a:pos x="connsiteX8024" y="connsiteY8024"/>
                </a:cxn>
                <a:cxn ang="0">
                  <a:pos x="connsiteX8025" y="connsiteY8025"/>
                </a:cxn>
                <a:cxn ang="0">
                  <a:pos x="connsiteX8026" y="connsiteY8026"/>
                </a:cxn>
                <a:cxn ang="0">
                  <a:pos x="connsiteX8027" y="connsiteY8027"/>
                </a:cxn>
                <a:cxn ang="0">
                  <a:pos x="connsiteX8028" y="connsiteY8028"/>
                </a:cxn>
                <a:cxn ang="0">
                  <a:pos x="connsiteX8029" y="connsiteY8029"/>
                </a:cxn>
                <a:cxn ang="0">
                  <a:pos x="connsiteX8030" y="connsiteY8030"/>
                </a:cxn>
                <a:cxn ang="0">
                  <a:pos x="connsiteX8031" y="connsiteY8031"/>
                </a:cxn>
                <a:cxn ang="0">
                  <a:pos x="connsiteX8032" y="connsiteY8032"/>
                </a:cxn>
                <a:cxn ang="0">
                  <a:pos x="connsiteX8033" y="connsiteY8033"/>
                </a:cxn>
                <a:cxn ang="0">
                  <a:pos x="connsiteX8034" y="connsiteY8034"/>
                </a:cxn>
                <a:cxn ang="0">
                  <a:pos x="connsiteX8035" y="connsiteY8035"/>
                </a:cxn>
                <a:cxn ang="0">
                  <a:pos x="connsiteX8036" y="connsiteY8036"/>
                </a:cxn>
                <a:cxn ang="0">
                  <a:pos x="connsiteX8037" y="connsiteY8037"/>
                </a:cxn>
                <a:cxn ang="0">
                  <a:pos x="connsiteX8038" y="connsiteY8038"/>
                </a:cxn>
                <a:cxn ang="0">
                  <a:pos x="connsiteX8039" y="connsiteY8039"/>
                </a:cxn>
                <a:cxn ang="0">
                  <a:pos x="connsiteX8040" y="connsiteY8040"/>
                </a:cxn>
                <a:cxn ang="0">
                  <a:pos x="connsiteX8041" y="connsiteY8041"/>
                </a:cxn>
                <a:cxn ang="0">
                  <a:pos x="connsiteX8042" y="connsiteY8042"/>
                </a:cxn>
                <a:cxn ang="0">
                  <a:pos x="connsiteX8043" y="connsiteY8043"/>
                </a:cxn>
                <a:cxn ang="0">
                  <a:pos x="connsiteX8044" y="connsiteY8044"/>
                </a:cxn>
                <a:cxn ang="0">
                  <a:pos x="connsiteX8045" y="connsiteY8045"/>
                </a:cxn>
                <a:cxn ang="0">
                  <a:pos x="connsiteX8046" y="connsiteY8046"/>
                </a:cxn>
                <a:cxn ang="0">
                  <a:pos x="connsiteX8047" y="connsiteY8047"/>
                </a:cxn>
                <a:cxn ang="0">
                  <a:pos x="connsiteX8048" y="connsiteY8048"/>
                </a:cxn>
                <a:cxn ang="0">
                  <a:pos x="connsiteX8049" y="connsiteY8049"/>
                </a:cxn>
                <a:cxn ang="0">
                  <a:pos x="connsiteX8050" y="connsiteY8050"/>
                </a:cxn>
                <a:cxn ang="0">
                  <a:pos x="connsiteX8051" y="connsiteY8051"/>
                </a:cxn>
                <a:cxn ang="0">
                  <a:pos x="connsiteX8052" y="connsiteY8052"/>
                </a:cxn>
                <a:cxn ang="0">
                  <a:pos x="connsiteX8053" y="connsiteY8053"/>
                </a:cxn>
                <a:cxn ang="0">
                  <a:pos x="connsiteX8054" y="connsiteY8054"/>
                </a:cxn>
                <a:cxn ang="0">
                  <a:pos x="connsiteX8055" y="connsiteY8055"/>
                </a:cxn>
                <a:cxn ang="0">
                  <a:pos x="connsiteX8056" y="connsiteY8056"/>
                </a:cxn>
                <a:cxn ang="0">
                  <a:pos x="connsiteX8057" y="connsiteY8057"/>
                </a:cxn>
                <a:cxn ang="0">
                  <a:pos x="connsiteX8058" y="connsiteY8058"/>
                </a:cxn>
                <a:cxn ang="0">
                  <a:pos x="connsiteX8059" y="connsiteY8059"/>
                </a:cxn>
                <a:cxn ang="0">
                  <a:pos x="connsiteX8060" y="connsiteY8060"/>
                </a:cxn>
                <a:cxn ang="0">
                  <a:pos x="connsiteX8061" y="connsiteY8061"/>
                </a:cxn>
                <a:cxn ang="0">
                  <a:pos x="connsiteX8062" y="connsiteY8062"/>
                </a:cxn>
                <a:cxn ang="0">
                  <a:pos x="connsiteX8063" y="connsiteY8063"/>
                </a:cxn>
                <a:cxn ang="0">
                  <a:pos x="connsiteX8064" y="connsiteY8064"/>
                </a:cxn>
                <a:cxn ang="0">
                  <a:pos x="connsiteX8065" y="connsiteY8065"/>
                </a:cxn>
                <a:cxn ang="0">
                  <a:pos x="connsiteX8066" y="connsiteY8066"/>
                </a:cxn>
                <a:cxn ang="0">
                  <a:pos x="connsiteX8067" y="connsiteY8067"/>
                </a:cxn>
                <a:cxn ang="0">
                  <a:pos x="connsiteX8068" y="connsiteY8068"/>
                </a:cxn>
                <a:cxn ang="0">
                  <a:pos x="connsiteX8069" y="connsiteY8069"/>
                </a:cxn>
                <a:cxn ang="0">
                  <a:pos x="connsiteX8070" y="connsiteY8070"/>
                </a:cxn>
                <a:cxn ang="0">
                  <a:pos x="connsiteX8071" y="connsiteY8071"/>
                </a:cxn>
                <a:cxn ang="0">
                  <a:pos x="connsiteX8072" y="connsiteY8072"/>
                </a:cxn>
                <a:cxn ang="0">
                  <a:pos x="connsiteX8073" y="connsiteY8073"/>
                </a:cxn>
                <a:cxn ang="0">
                  <a:pos x="connsiteX8074" y="connsiteY8074"/>
                </a:cxn>
                <a:cxn ang="0">
                  <a:pos x="connsiteX8075" y="connsiteY8075"/>
                </a:cxn>
                <a:cxn ang="0">
                  <a:pos x="connsiteX8076" y="connsiteY8076"/>
                </a:cxn>
                <a:cxn ang="0">
                  <a:pos x="connsiteX8077" y="connsiteY8077"/>
                </a:cxn>
                <a:cxn ang="0">
                  <a:pos x="connsiteX8078" y="connsiteY8078"/>
                </a:cxn>
                <a:cxn ang="0">
                  <a:pos x="connsiteX8079" y="connsiteY8079"/>
                </a:cxn>
                <a:cxn ang="0">
                  <a:pos x="connsiteX8080" y="connsiteY8080"/>
                </a:cxn>
                <a:cxn ang="0">
                  <a:pos x="connsiteX8081" y="connsiteY8081"/>
                </a:cxn>
                <a:cxn ang="0">
                  <a:pos x="connsiteX8082" y="connsiteY8082"/>
                </a:cxn>
                <a:cxn ang="0">
                  <a:pos x="connsiteX8083" y="connsiteY8083"/>
                </a:cxn>
                <a:cxn ang="0">
                  <a:pos x="connsiteX8084" y="connsiteY8084"/>
                </a:cxn>
                <a:cxn ang="0">
                  <a:pos x="connsiteX8085" y="connsiteY8085"/>
                </a:cxn>
                <a:cxn ang="0">
                  <a:pos x="connsiteX8086" y="connsiteY8086"/>
                </a:cxn>
                <a:cxn ang="0">
                  <a:pos x="connsiteX8087" y="connsiteY8087"/>
                </a:cxn>
                <a:cxn ang="0">
                  <a:pos x="connsiteX8088" y="connsiteY8088"/>
                </a:cxn>
                <a:cxn ang="0">
                  <a:pos x="connsiteX8089" y="connsiteY8089"/>
                </a:cxn>
                <a:cxn ang="0">
                  <a:pos x="connsiteX8090" y="connsiteY8090"/>
                </a:cxn>
                <a:cxn ang="0">
                  <a:pos x="connsiteX8091" y="connsiteY8091"/>
                </a:cxn>
                <a:cxn ang="0">
                  <a:pos x="connsiteX8092" y="connsiteY8092"/>
                </a:cxn>
                <a:cxn ang="0">
                  <a:pos x="connsiteX8093" y="connsiteY8093"/>
                </a:cxn>
                <a:cxn ang="0">
                  <a:pos x="connsiteX8094" y="connsiteY8094"/>
                </a:cxn>
                <a:cxn ang="0">
                  <a:pos x="connsiteX8095" y="connsiteY8095"/>
                </a:cxn>
                <a:cxn ang="0">
                  <a:pos x="connsiteX8096" y="connsiteY8096"/>
                </a:cxn>
                <a:cxn ang="0">
                  <a:pos x="connsiteX8097" y="connsiteY8097"/>
                </a:cxn>
                <a:cxn ang="0">
                  <a:pos x="connsiteX8098" y="connsiteY8098"/>
                </a:cxn>
                <a:cxn ang="0">
                  <a:pos x="connsiteX8099" y="connsiteY8099"/>
                </a:cxn>
                <a:cxn ang="0">
                  <a:pos x="connsiteX8100" y="connsiteY8100"/>
                </a:cxn>
                <a:cxn ang="0">
                  <a:pos x="connsiteX8101" y="connsiteY8101"/>
                </a:cxn>
                <a:cxn ang="0">
                  <a:pos x="connsiteX8102" y="connsiteY8102"/>
                </a:cxn>
                <a:cxn ang="0">
                  <a:pos x="connsiteX8103" y="connsiteY8103"/>
                </a:cxn>
                <a:cxn ang="0">
                  <a:pos x="connsiteX8104" y="connsiteY8104"/>
                </a:cxn>
                <a:cxn ang="0">
                  <a:pos x="connsiteX8105" y="connsiteY8105"/>
                </a:cxn>
                <a:cxn ang="0">
                  <a:pos x="connsiteX8106" y="connsiteY8106"/>
                </a:cxn>
                <a:cxn ang="0">
                  <a:pos x="connsiteX8107" y="connsiteY8107"/>
                </a:cxn>
                <a:cxn ang="0">
                  <a:pos x="connsiteX8108" y="connsiteY8108"/>
                </a:cxn>
                <a:cxn ang="0">
                  <a:pos x="connsiteX8109" y="connsiteY8109"/>
                </a:cxn>
                <a:cxn ang="0">
                  <a:pos x="connsiteX8110" y="connsiteY8110"/>
                </a:cxn>
                <a:cxn ang="0">
                  <a:pos x="connsiteX8111" y="connsiteY8111"/>
                </a:cxn>
                <a:cxn ang="0">
                  <a:pos x="connsiteX8112" y="connsiteY8112"/>
                </a:cxn>
                <a:cxn ang="0">
                  <a:pos x="connsiteX8113" y="connsiteY8113"/>
                </a:cxn>
                <a:cxn ang="0">
                  <a:pos x="connsiteX8114" y="connsiteY8114"/>
                </a:cxn>
                <a:cxn ang="0">
                  <a:pos x="connsiteX8115" y="connsiteY8115"/>
                </a:cxn>
                <a:cxn ang="0">
                  <a:pos x="connsiteX8116" y="connsiteY8116"/>
                </a:cxn>
                <a:cxn ang="0">
                  <a:pos x="connsiteX8117" y="connsiteY8117"/>
                </a:cxn>
                <a:cxn ang="0">
                  <a:pos x="connsiteX8118" y="connsiteY8118"/>
                </a:cxn>
                <a:cxn ang="0">
                  <a:pos x="connsiteX8119" y="connsiteY8119"/>
                </a:cxn>
                <a:cxn ang="0">
                  <a:pos x="connsiteX8120" y="connsiteY8120"/>
                </a:cxn>
                <a:cxn ang="0">
                  <a:pos x="connsiteX8121" y="connsiteY8121"/>
                </a:cxn>
                <a:cxn ang="0">
                  <a:pos x="connsiteX8122" y="connsiteY8122"/>
                </a:cxn>
                <a:cxn ang="0">
                  <a:pos x="connsiteX8123" y="connsiteY8123"/>
                </a:cxn>
                <a:cxn ang="0">
                  <a:pos x="connsiteX8124" y="connsiteY8124"/>
                </a:cxn>
                <a:cxn ang="0">
                  <a:pos x="connsiteX8125" y="connsiteY8125"/>
                </a:cxn>
                <a:cxn ang="0">
                  <a:pos x="connsiteX8126" y="connsiteY8126"/>
                </a:cxn>
                <a:cxn ang="0">
                  <a:pos x="connsiteX8127" y="connsiteY8127"/>
                </a:cxn>
                <a:cxn ang="0">
                  <a:pos x="connsiteX8128" y="connsiteY8128"/>
                </a:cxn>
                <a:cxn ang="0">
                  <a:pos x="connsiteX8129" y="connsiteY8129"/>
                </a:cxn>
                <a:cxn ang="0">
                  <a:pos x="connsiteX8130" y="connsiteY8130"/>
                </a:cxn>
                <a:cxn ang="0">
                  <a:pos x="connsiteX8131" y="connsiteY8131"/>
                </a:cxn>
                <a:cxn ang="0">
                  <a:pos x="connsiteX8132" y="connsiteY8132"/>
                </a:cxn>
                <a:cxn ang="0">
                  <a:pos x="connsiteX8133" y="connsiteY8133"/>
                </a:cxn>
                <a:cxn ang="0">
                  <a:pos x="connsiteX8134" y="connsiteY8134"/>
                </a:cxn>
                <a:cxn ang="0">
                  <a:pos x="connsiteX8135" y="connsiteY8135"/>
                </a:cxn>
                <a:cxn ang="0">
                  <a:pos x="connsiteX8136" y="connsiteY8136"/>
                </a:cxn>
                <a:cxn ang="0">
                  <a:pos x="connsiteX8137" y="connsiteY8137"/>
                </a:cxn>
                <a:cxn ang="0">
                  <a:pos x="connsiteX8138" y="connsiteY8138"/>
                </a:cxn>
                <a:cxn ang="0">
                  <a:pos x="connsiteX8139" y="connsiteY8139"/>
                </a:cxn>
                <a:cxn ang="0">
                  <a:pos x="connsiteX8140" y="connsiteY8140"/>
                </a:cxn>
                <a:cxn ang="0">
                  <a:pos x="connsiteX8141" y="connsiteY8141"/>
                </a:cxn>
                <a:cxn ang="0">
                  <a:pos x="connsiteX8142" y="connsiteY8142"/>
                </a:cxn>
                <a:cxn ang="0">
                  <a:pos x="connsiteX8143" y="connsiteY8143"/>
                </a:cxn>
                <a:cxn ang="0">
                  <a:pos x="connsiteX8144" y="connsiteY8144"/>
                </a:cxn>
                <a:cxn ang="0">
                  <a:pos x="connsiteX8145" y="connsiteY8145"/>
                </a:cxn>
                <a:cxn ang="0">
                  <a:pos x="connsiteX8146" y="connsiteY8146"/>
                </a:cxn>
                <a:cxn ang="0">
                  <a:pos x="connsiteX8147" y="connsiteY8147"/>
                </a:cxn>
                <a:cxn ang="0">
                  <a:pos x="connsiteX8148" y="connsiteY8148"/>
                </a:cxn>
                <a:cxn ang="0">
                  <a:pos x="connsiteX8149" y="connsiteY8149"/>
                </a:cxn>
                <a:cxn ang="0">
                  <a:pos x="connsiteX8150" y="connsiteY8150"/>
                </a:cxn>
                <a:cxn ang="0">
                  <a:pos x="connsiteX8151" y="connsiteY8151"/>
                </a:cxn>
                <a:cxn ang="0">
                  <a:pos x="connsiteX8152" y="connsiteY8152"/>
                </a:cxn>
                <a:cxn ang="0">
                  <a:pos x="connsiteX8153" y="connsiteY8153"/>
                </a:cxn>
                <a:cxn ang="0">
                  <a:pos x="connsiteX8154" y="connsiteY8154"/>
                </a:cxn>
                <a:cxn ang="0">
                  <a:pos x="connsiteX8155" y="connsiteY8155"/>
                </a:cxn>
                <a:cxn ang="0">
                  <a:pos x="connsiteX8156" y="connsiteY8156"/>
                </a:cxn>
                <a:cxn ang="0">
                  <a:pos x="connsiteX8157" y="connsiteY8157"/>
                </a:cxn>
                <a:cxn ang="0">
                  <a:pos x="connsiteX8158" y="connsiteY8158"/>
                </a:cxn>
                <a:cxn ang="0">
                  <a:pos x="connsiteX8159" y="connsiteY8159"/>
                </a:cxn>
                <a:cxn ang="0">
                  <a:pos x="connsiteX8160" y="connsiteY8160"/>
                </a:cxn>
                <a:cxn ang="0">
                  <a:pos x="connsiteX8161" y="connsiteY8161"/>
                </a:cxn>
                <a:cxn ang="0">
                  <a:pos x="connsiteX8162" y="connsiteY8162"/>
                </a:cxn>
                <a:cxn ang="0">
                  <a:pos x="connsiteX8163" y="connsiteY8163"/>
                </a:cxn>
                <a:cxn ang="0">
                  <a:pos x="connsiteX8164" y="connsiteY8164"/>
                </a:cxn>
                <a:cxn ang="0">
                  <a:pos x="connsiteX8165" y="connsiteY8165"/>
                </a:cxn>
                <a:cxn ang="0">
                  <a:pos x="connsiteX8166" y="connsiteY8166"/>
                </a:cxn>
                <a:cxn ang="0">
                  <a:pos x="connsiteX8167" y="connsiteY8167"/>
                </a:cxn>
                <a:cxn ang="0">
                  <a:pos x="connsiteX8168" y="connsiteY8168"/>
                </a:cxn>
                <a:cxn ang="0">
                  <a:pos x="connsiteX8169" y="connsiteY8169"/>
                </a:cxn>
                <a:cxn ang="0">
                  <a:pos x="connsiteX8170" y="connsiteY8170"/>
                </a:cxn>
                <a:cxn ang="0">
                  <a:pos x="connsiteX8171" y="connsiteY8171"/>
                </a:cxn>
                <a:cxn ang="0">
                  <a:pos x="connsiteX8172" y="connsiteY8172"/>
                </a:cxn>
                <a:cxn ang="0">
                  <a:pos x="connsiteX8173" y="connsiteY8173"/>
                </a:cxn>
                <a:cxn ang="0">
                  <a:pos x="connsiteX8174" y="connsiteY8174"/>
                </a:cxn>
                <a:cxn ang="0">
                  <a:pos x="connsiteX8175" y="connsiteY8175"/>
                </a:cxn>
                <a:cxn ang="0">
                  <a:pos x="connsiteX8176" y="connsiteY8176"/>
                </a:cxn>
                <a:cxn ang="0">
                  <a:pos x="connsiteX8177" y="connsiteY8177"/>
                </a:cxn>
                <a:cxn ang="0">
                  <a:pos x="connsiteX8178" y="connsiteY8178"/>
                </a:cxn>
                <a:cxn ang="0">
                  <a:pos x="connsiteX8179" y="connsiteY8179"/>
                </a:cxn>
                <a:cxn ang="0">
                  <a:pos x="connsiteX8180" y="connsiteY8180"/>
                </a:cxn>
                <a:cxn ang="0">
                  <a:pos x="connsiteX8181" y="connsiteY8181"/>
                </a:cxn>
                <a:cxn ang="0">
                  <a:pos x="connsiteX8182" y="connsiteY8182"/>
                </a:cxn>
                <a:cxn ang="0">
                  <a:pos x="connsiteX8183" y="connsiteY8183"/>
                </a:cxn>
                <a:cxn ang="0">
                  <a:pos x="connsiteX8184" y="connsiteY8184"/>
                </a:cxn>
                <a:cxn ang="0">
                  <a:pos x="connsiteX8185" y="connsiteY8185"/>
                </a:cxn>
                <a:cxn ang="0">
                  <a:pos x="connsiteX8186" y="connsiteY8186"/>
                </a:cxn>
                <a:cxn ang="0">
                  <a:pos x="connsiteX8187" y="connsiteY8187"/>
                </a:cxn>
                <a:cxn ang="0">
                  <a:pos x="connsiteX8188" y="connsiteY8188"/>
                </a:cxn>
                <a:cxn ang="0">
                  <a:pos x="connsiteX8189" y="connsiteY8189"/>
                </a:cxn>
                <a:cxn ang="0">
                  <a:pos x="connsiteX8190" y="connsiteY8190"/>
                </a:cxn>
                <a:cxn ang="0">
                  <a:pos x="connsiteX8191" y="connsiteY8191"/>
                </a:cxn>
                <a:cxn ang="0">
                  <a:pos x="connsiteX8192" y="connsiteY8192"/>
                </a:cxn>
                <a:cxn ang="0">
                  <a:pos x="connsiteX8193" y="connsiteY8193"/>
                </a:cxn>
                <a:cxn ang="0">
                  <a:pos x="connsiteX8194" y="connsiteY8194"/>
                </a:cxn>
                <a:cxn ang="0">
                  <a:pos x="connsiteX8195" y="connsiteY8195"/>
                </a:cxn>
                <a:cxn ang="0">
                  <a:pos x="connsiteX8196" y="connsiteY8196"/>
                </a:cxn>
                <a:cxn ang="0">
                  <a:pos x="connsiteX8197" y="connsiteY8197"/>
                </a:cxn>
                <a:cxn ang="0">
                  <a:pos x="connsiteX8198" y="connsiteY8198"/>
                </a:cxn>
                <a:cxn ang="0">
                  <a:pos x="connsiteX8199" y="connsiteY8199"/>
                </a:cxn>
                <a:cxn ang="0">
                  <a:pos x="connsiteX8200" y="connsiteY8200"/>
                </a:cxn>
                <a:cxn ang="0">
                  <a:pos x="connsiteX8201" y="connsiteY8201"/>
                </a:cxn>
                <a:cxn ang="0">
                  <a:pos x="connsiteX8202" y="connsiteY8202"/>
                </a:cxn>
                <a:cxn ang="0">
                  <a:pos x="connsiteX8203" y="connsiteY8203"/>
                </a:cxn>
                <a:cxn ang="0">
                  <a:pos x="connsiteX8204" y="connsiteY8204"/>
                </a:cxn>
                <a:cxn ang="0">
                  <a:pos x="connsiteX8205" y="connsiteY8205"/>
                </a:cxn>
                <a:cxn ang="0">
                  <a:pos x="connsiteX8206" y="connsiteY8206"/>
                </a:cxn>
                <a:cxn ang="0">
                  <a:pos x="connsiteX8207" y="connsiteY8207"/>
                </a:cxn>
                <a:cxn ang="0">
                  <a:pos x="connsiteX8208" y="connsiteY8208"/>
                </a:cxn>
                <a:cxn ang="0">
                  <a:pos x="connsiteX8209" y="connsiteY8209"/>
                </a:cxn>
                <a:cxn ang="0">
                  <a:pos x="connsiteX8210" y="connsiteY8210"/>
                </a:cxn>
                <a:cxn ang="0">
                  <a:pos x="connsiteX8211" y="connsiteY8211"/>
                </a:cxn>
                <a:cxn ang="0">
                  <a:pos x="connsiteX8212" y="connsiteY8212"/>
                </a:cxn>
                <a:cxn ang="0">
                  <a:pos x="connsiteX8213" y="connsiteY8213"/>
                </a:cxn>
                <a:cxn ang="0">
                  <a:pos x="connsiteX8214" y="connsiteY8214"/>
                </a:cxn>
                <a:cxn ang="0">
                  <a:pos x="connsiteX8215" y="connsiteY8215"/>
                </a:cxn>
                <a:cxn ang="0">
                  <a:pos x="connsiteX8216" y="connsiteY8216"/>
                </a:cxn>
                <a:cxn ang="0">
                  <a:pos x="connsiteX8217" y="connsiteY8217"/>
                </a:cxn>
                <a:cxn ang="0">
                  <a:pos x="connsiteX8218" y="connsiteY8218"/>
                </a:cxn>
                <a:cxn ang="0">
                  <a:pos x="connsiteX8219" y="connsiteY8219"/>
                </a:cxn>
                <a:cxn ang="0">
                  <a:pos x="connsiteX8220" y="connsiteY8220"/>
                </a:cxn>
                <a:cxn ang="0">
                  <a:pos x="connsiteX8221" y="connsiteY8221"/>
                </a:cxn>
                <a:cxn ang="0">
                  <a:pos x="connsiteX8222" y="connsiteY8222"/>
                </a:cxn>
                <a:cxn ang="0">
                  <a:pos x="connsiteX8223" y="connsiteY8223"/>
                </a:cxn>
                <a:cxn ang="0">
                  <a:pos x="connsiteX8224" y="connsiteY8224"/>
                </a:cxn>
                <a:cxn ang="0">
                  <a:pos x="connsiteX8225" y="connsiteY8225"/>
                </a:cxn>
                <a:cxn ang="0">
                  <a:pos x="connsiteX8226" y="connsiteY8226"/>
                </a:cxn>
                <a:cxn ang="0">
                  <a:pos x="connsiteX8227" y="connsiteY8227"/>
                </a:cxn>
                <a:cxn ang="0">
                  <a:pos x="connsiteX8228" y="connsiteY8228"/>
                </a:cxn>
                <a:cxn ang="0">
                  <a:pos x="connsiteX8229" y="connsiteY8229"/>
                </a:cxn>
                <a:cxn ang="0">
                  <a:pos x="connsiteX8230" y="connsiteY8230"/>
                </a:cxn>
                <a:cxn ang="0">
                  <a:pos x="connsiteX8231" y="connsiteY8231"/>
                </a:cxn>
                <a:cxn ang="0">
                  <a:pos x="connsiteX8232" y="connsiteY8232"/>
                </a:cxn>
                <a:cxn ang="0">
                  <a:pos x="connsiteX8233" y="connsiteY8233"/>
                </a:cxn>
                <a:cxn ang="0">
                  <a:pos x="connsiteX8234" y="connsiteY8234"/>
                </a:cxn>
                <a:cxn ang="0">
                  <a:pos x="connsiteX8235" y="connsiteY8235"/>
                </a:cxn>
                <a:cxn ang="0">
                  <a:pos x="connsiteX8236" y="connsiteY8236"/>
                </a:cxn>
                <a:cxn ang="0">
                  <a:pos x="connsiteX8237" y="connsiteY8237"/>
                </a:cxn>
                <a:cxn ang="0">
                  <a:pos x="connsiteX8238" y="connsiteY8238"/>
                </a:cxn>
                <a:cxn ang="0">
                  <a:pos x="connsiteX8239" y="connsiteY8239"/>
                </a:cxn>
                <a:cxn ang="0">
                  <a:pos x="connsiteX8240" y="connsiteY8240"/>
                </a:cxn>
                <a:cxn ang="0">
                  <a:pos x="connsiteX8241" y="connsiteY8241"/>
                </a:cxn>
                <a:cxn ang="0">
                  <a:pos x="connsiteX8242" y="connsiteY8242"/>
                </a:cxn>
                <a:cxn ang="0">
                  <a:pos x="connsiteX8243" y="connsiteY8243"/>
                </a:cxn>
                <a:cxn ang="0">
                  <a:pos x="connsiteX8244" y="connsiteY8244"/>
                </a:cxn>
                <a:cxn ang="0">
                  <a:pos x="connsiteX8245" y="connsiteY8245"/>
                </a:cxn>
                <a:cxn ang="0">
                  <a:pos x="connsiteX8246" y="connsiteY8246"/>
                </a:cxn>
                <a:cxn ang="0">
                  <a:pos x="connsiteX8247" y="connsiteY8247"/>
                </a:cxn>
                <a:cxn ang="0">
                  <a:pos x="connsiteX8248" y="connsiteY8248"/>
                </a:cxn>
                <a:cxn ang="0">
                  <a:pos x="connsiteX8249" y="connsiteY8249"/>
                </a:cxn>
                <a:cxn ang="0">
                  <a:pos x="connsiteX8250" y="connsiteY8250"/>
                </a:cxn>
                <a:cxn ang="0">
                  <a:pos x="connsiteX8251" y="connsiteY8251"/>
                </a:cxn>
                <a:cxn ang="0">
                  <a:pos x="connsiteX8252" y="connsiteY8252"/>
                </a:cxn>
                <a:cxn ang="0">
                  <a:pos x="connsiteX8253" y="connsiteY8253"/>
                </a:cxn>
                <a:cxn ang="0">
                  <a:pos x="connsiteX8254" y="connsiteY8254"/>
                </a:cxn>
                <a:cxn ang="0">
                  <a:pos x="connsiteX8255" y="connsiteY8255"/>
                </a:cxn>
                <a:cxn ang="0">
                  <a:pos x="connsiteX8256" y="connsiteY8256"/>
                </a:cxn>
                <a:cxn ang="0">
                  <a:pos x="connsiteX8257" y="connsiteY8257"/>
                </a:cxn>
                <a:cxn ang="0">
                  <a:pos x="connsiteX8258" y="connsiteY8258"/>
                </a:cxn>
                <a:cxn ang="0">
                  <a:pos x="connsiteX8259" y="connsiteY8259"/>
                </a:cxn>
                <a:cxn ang="0">
                  <a:pos x="connsiteX8260" y="connsiteY8260"/>
                </a:cxn>
                <a:cxn ang="0">
                  <a:pos x="connsiteX8261" y="connsiteY8261"/>
                </a:cxn>
                <a:cxn ang="0">
                  <a:pos x="connsiteX8262" y="connsiteY8262"/>
                </a:cxn>
                <a:cxn ang="0">
                  <a:pos x="connsiteX8263" y="connsiteY8263"/>
                </a:cxn>
                <a:cxn ang="0">
                  <a:pos x="connsiteX8264" y="connsiteY8264"/>
                </a:cxn>
                <a:cxn ang="0">
                  <a:pos x="connsiteX8265" y="connsiteY8265"/>
                </a:cxn>
                <a:cxn ang="0">
                  <a:pos x="connsiteX8266" y="connsiteY8266"/>
                </a:cxn>
                <a:cxn ang="0">
                  <a:pos x="connsiteX8267" y="connsiteY8267"/>
                </a:cxn>
                <a:cxn ang="0">
                  <a:pos x="connsiteX8268" y="connsiteY8268"/>
                </a:cxn>
                <a:cxn ang="0">
                  <a:pos x="connsiteX8269" y="connsiteY8269"/>
                </a:cxn>
                <a:cxn ang="0">
                  <a:pos x="connsiteX8270" y="connsiteY8270"/>
                </a:cxn>
                <a:cxn ang="0">
                  <a:pos x="connsiteX8271" y="connsiteY8271"/>
                </a:cxn>
                <a:cxn ang="0">
                  <a:pos x="connsiteX8272" y="connsiteY8272"/>
                </a:cxn>
                <a:cxn ang="0">
                  <a:pos x="connsiteX8273" y="connsiteY8273"/>
                </a:cxn>
                <a:cxn ang="0">
                  <a:pos x="connsiteX8274" y="connsiteY8274"/>
                </a:cxn>
                <a:cxn ang="0">
                  <a:pos x="connsiteX8275" y="connsiteY8275"/>
                </a:cxn>
                <a:cxn ang="0">
                  <a:pos x="connsiteX8276" y="connsiteY8276"/>
                </a:cxn>
                <a:cxn ang="0">
                  <a:pos x="connsiteX8277" y="connsiteY8277"/>
                </a:cxn>
                <a:cxn ang="0">
                  <a:pos x="connsiteX8278" y="connsiteY8278"/>
                </a:cxn>
                <a:cxn ang="0">
                  <a:pos x="connsiteX8279" y="connsiteY8279"/>
                </a:cxn>
                <a:cxn ang="0">
                  <a:pos x="connsiteX8280" y="connsiteY8280"/>
                </a:cxn>
                <a:cxn ang="0">
                  <a:pos x="connsiteX8281" y="connsiteY8281"/>
                </a:cxn>
                <a:cxn ang="0">
                  <a:pos x="connsiteX8282" y="connsiteY8282"/>
                </a:cxn>
                <a:cxn ang="0">
                  <a:pos x="connsiteX8283" y="connsiteY8283"/>
                </a:cxn>
                <a:cxn ang="0">
                  <a:pos x="connsiteX8284" y="connsiteY8284"/>
                </a:cxn>
                <a:cxn ang="0">
                  <a:pos x="connsiteX8285" y="connsiteY8285"/>
                </a:cxn>
                <a:cxn ang="0">
                  <a:pos x="connsiteX8286" y="connsiteY8286"/>
                </a:cxn>
                <a:cxn ang="0">
                  <a:pos x="connsiteX8287" y="connsiteY8287"/>
                </a:cxn>
                <a:cxn ang="0">
                  <a:pos x="connsiteX8288" y="connsiteY8288"/>
                </a:cxn>
                <a:cxn ang="0">
                  <a:pos x="connsiteX8289" y="connsiteY8289"/>
                </a:cxn>
                <a:cxn ang="0">
                  <a:pos x="connsiteX8290" y="connsiteY8290"/>
                </a:cxn>
                <a:cxn ang="0">
                  <a:pos x="connsiteX8291" y="connsiteY8291"/>
                </a:cxn>
                <a:cxn ang="0">
                  <a:pos x="connsiteX8292" y="connsiteY8292"/>
                </a:cxn>
                <a:cxn ang="0">
                  <a:pos x="connsiteX8293" y="connsiteY8293"/>
                </a:cxn>
                <a:cxn ang="0">
                  <a:pos x="connsiteX8294" y="connsiteY8294"/>
                </a:cxn>
                <a:cxn ang="0">
                  <a:pos x="connsiteX8295" y="connsiteY8295"/>
                </a:cxn>
                <a:cxn ang="0">
                  <a:pos x="connsiteX8296" y="connsiteY8296"/>
                </a:cxn>
                <a:cxn ang="0">
                  <a:pos x="connsiteX8297" y="connsiteY8297"/>
                </a:cxn>
                <a:cxn ang="0">
                  <a:pos x="connsiteX8298" y="connsiteY8298"/>
                </a:cxn>
                <a:cxn ang="0">
                  <a:pos x="connsiteX8299" y="connsiteY8299"/>
                </a:cxn>
                <a:cxn ang="0">
                  <a:pos x="connsiteX8300" y="connsiteY8300"/>
                </a:cxn>
                <a:cxn ang="0">
                  <a:pos x="connsiteX8301" y="connsiteY8301"/>
                </a:cxn>
                <a:cxn ang="0">
                  <a:pos x="connsiteX8302" y="connsiteY8302"/>
                </a:cxn>
                <a:cxn ang="0">
                  <a:pos x="connsiteX8303" y="connsiteY8303"/>
                </a:cxn>
                <a:cxn ang="0">
                  <a:pos x="connsiteX8304" y="connsiteY8304"/>
                </a:cxn>
                <a:cxn ang="0">
                  <a:pos x="connsiteX8305" y="connsiteY8305"/>
                </a:cxn>
                <a:cxn ang="0">
                  <a:pos x="connsiteX8306" y="connsiteY8306"/>
                </a:cxn>
                <a:cxn ang="0">
                  <a:pos x="connsiteX8307" y="connsiteY8307"/>
                </a:cxn>
                <a:cxn ang="0">
                  <a:pos x="connsiteX8308" y="connsiteY8308"/>
                </a:cxn>
                <a:cxn ang="0">
                  <a:pos x="connsiteX8309" y="connsiteY8309"/>
                </a:cxn>
                <a:cxn ang="0">
                  <a:pos x="connsiteX8310" y="connsiteY8310"/>
                </a:cxn>
                <a:cxn ang="0">
                  <a:pos x="connsiteX8311" y="connsiteY8311"/>
                </a:cxn>
                <a:cxn ang="0">
                  <a:pos x="connsiteX8312" y="connsiteY8312"/>
                </a:cxn>
                <a:cxn ang="0">
                  <a:pos x="connsiteX8313" y="connsiteY8313"/>
                </a:cxn>
                <a:cxn ang="0">
                  <a:pos x="connsiteX8314" y="connsiteY8314"/>
                </a:cxn>
                <a:cxn ang="0">
                  <a:pos x="connsiteX8315" y="connsiteY8315"/>
                </a:cxn>
                <a:cxn ang="0">
                  <a:pos x="connsiteX8316" y="connsiteY8316"/>
                </a:cxn>
                <a:cxn ang="0">
                  <a:pos x="connsiteX8317" y="connsiteY8317"/>
                </a:cxn>
                <a:cxn ang="0">
                  <a:pos x="connsiteX8318" y="connsiteY8318"/>
                </a:cxn>
                <a:cxn ang="0">
                  <a:pos x="connsiteX8319" y="connsiteY8319"/>
                </a:cxn>
                <a:cxn ang="0">
                  <a:pos x="connsiteX8320" y="connsiteY8320"/>
                </a:cxn>
                <a:cxn ang="0">
                  <a:pos x="connsiteX8321" y="connsiteY8321"/>
                </a:cxn>
                <a:cxn ang="0">
                  <a:pos x="connsiteX8322" y="connsiteY8322"/>
                </a:cxn>
                <a:cxn ang="0">
                  <a:pos x="connsiteX8323" y="connsiteY8323"/>
                </a:cxn>
                <a:cxn ang="0">
                  <a:pos x="connsiteX8324" y="connsiteY8324"/>
                </a:cxn>
                <a:cxn ang="0">
                  <a:pos x="connsiteX8325" y="connsiteY8325"/>
                </a:cxn>
                <a:cxn ang="0">
                  <a:pos x="connsiteX8326" y="connsiteY8326"/>
                </a:cxn>
                <a:cxn ang="0">
                  <a:pos x="connsiteX8327" y="connsiteY8327"/>
                </a:cxn>
                <a:cxn ang="0">
                  <a:pos x="connsiteX8328" y="connsiteY8328"/>
                </a:cxn>
                <a:cxn ang="0">
                  <a:pos x="connsiteX8329" y="connsiteY8329"/>
                </a:cxn>
                <a:cxn ang="0">
                  <a:pos x="connsiteX8330" y="connsiteY8330"/>
                </a:cxn>
                <a:cxn ang="0">
                  <a:pos x="connsiteX8331" y="connsiteY8331"/>
                </a:cxn>
                <a:cxn ang="0">
                  <a:pos x="connsiteX8332" y="connsiteY8332"/>
                </a:cxn>
                <a:cxn ang="0">
                  <a:pos x="connsiteX8333" y="connsiteY8333"/>
                </a:cxn>
                <a:cxn ang="0">
                  <a:pos x="connsiteX8334" y="connsiteY8334"/>
                </a:cxn>
                <a:cxn ang="0">
                  <a:pos x="connsiteX8335" y="connsiteY8335"/>
                </a:cxn>
                <a:cxn ang="0">
                  <a:pos x="connsiteX8336" y="connsiteY8336"/>
                </a:cxn>
                <a:cxn ang="0">
                  <a:pos x="connsiteX8337" y="connsiteY8337"/>
                </a:cxn>
                <a:cxn ang="0">
                  <a:pos x="connsiteX8338" y="connsiteY8338"/>
                </a:cxn>
                <a:cxn ang="0">
                  <a:pos x="connsiteX8339" y="connsiteY8339"/>
                </a:cxn>
                <a:cxn ang="0">
                  <a:pos x="connsiteX8340" y="connsiteY8340"/>
                </a:cxn>
                <a:cxn ang="0">
                  <a:pos x="connsiteX8341" y="connsiteY8341"/>
                </a:cxn>
                <a:cxn ang="0">
                  <a:pos x="connsiteX8342" y="connsiteY8342"/>
                </a:cxn>
                <a:cxn ang="0">
                  <a:pos x="connsiteX8343" y="connsiteY8343"/>
                </a:cxn>
                <a:cxn ang="0">
                  <a:pos x="connsiteX8344" y="connsiteY8344"/>
                </a:cxn>
                <a:cxn ang="0">
                  <a:pos x="connsiteX8345" y="connsiteY8345"/>
                </a:cxn>
                <a:cxn ang="0">
                  <a:pos x="connsiteX8346" y="connsiteY8346"/>
                </a:cxn>
                <a:cxn ang="0">
                  <a:pos x="connsiteX8347" y="connsiteY8347"/>
                </a:cxn>
                <a:cxn ang="0">
                  <a:pos x="connsiteX8348" y="connsiteY8348"/>
                </a:cxn>
                <a:cxn ang="0">
                  <a:pos x="connsiteX8349" y="connsiteY8349"/>
                </a:cxn>
                <a:cxn ang="0">
                  <a:pos x="connsiteX8350" y="connsiteY8350"/>
                </a:cxn>
                <a:cxn ang="0">
                  <a:pos x="connsiteX8351" y="connsiteY8351"/>
                </a:cxn>
                <a:cxn ang="0">
                  <a:pos x="connsiteX8352" y="connsiteY8352"/>
                </a:cxn>
                <a:cxn ang="0">
                  <a:pos x="connsiteX8353" y="connsiteY8353"/>
                </a:cxn>
                <a:cxn ang="0">
                  <a:pos x="connsiteX8354" y="connsiteY8354"/>
                </a:cxn>
                <a:cxn ang="0">
                  <a:pos x="connsiteX8355" y="connsiteY8355"/>
                </a:cxn>
                <a:cxn ang="0">
                  <a:pos x="connsiteX8356" y="connsiteY8356"/>
                </a:cxn>
                <a:cxn ang="0">
                  <a:pos x="connsiteX8357" y="connsiteY8357"/>
                </a:cxn>
                <a:cxn ang="0">
                  <a:pos x="connsiteX8358" y="connsiteY8358"/>
                </a:cxn>
                <a:cxn ang="0">
                  <a:pos x="connsiteX8359" y="connsiteY8359"/>
                </a:cxn>
                <a:cxn ang="0">
                  <a:pos x="connsiteX8360" y="connsiteY8360"/>
                </a:cxn>
                <a:cxn ang="0">
                  <a:pos x="connsiteX8361" y="connsiteY8361"/>
                </a:cxn>
                <a:cxn ang="0">
                  <a:pos x="connsiteX8362" y="connsiteY8362"/>
                </a:cxn>
                <a:cxn ang="0">
                  <a:pos x="connsiteX8363" y="connsiteY8363"/>
                </a:cxn>
                <a:cxn ang="0">
                  <a:pos x="connsiteX8364" y="connsiteY8364"/>
                </a:cxn>
                <a:cxn ang="0">
                  <a:pos x="connsiteX8365" y="connsiteY8365"/>
                </a:cxn>
                <a:cxn ang="0">
                  <a:pos x="connsiteX8366" y="connsiteY8366"/>
                </a:cxn>
                <a:cxn ang="0">
                  <a:pos x="connsiteX8367" y="connsiteY8367"/>
                </a:cxn>
                <a:cxn ang="0">
                  <a:pos x="connsiteX8368" y="connsiteY8368"/>
                </a:cxn>
                <a:cxn ang="0">
                  <a:pos x="connsiteX8369" y="connsiteY8369"/>
                </a:cxn>
                <a:cxn ang="0">
                  <a:pos x="connsiteX8370" y="connsiteY8370"/>
                </a:cxn>
                <a:cxn ang="0">
                  <a:pos x="connsiteX8371" y="connsiteY8371"/>
                </a:cxn>
                <a:cxn ang="0">
                  <a:pos x="connsiteX8372" y="connsiteY8372"/>
                </a:cxn>
                <a:cxn ang="0">
                  <a:pos x="connsiteX8373" y="connsiteY8373"/>
                </a:cxn>
                <a:cxn ang="0">
                  <a:pos x="connsiteX8374" y="connsiteY8374"/>
                </a:cxn>
                <a:cxn ang="0">
                  <a:pos x="connsiteX8375" y="connsiteY8375"/>
                </a:cxn>
                <a:cxn ang="0">
                  <a:pos x="connsiteX8376" y="connsiteY8376"/>
                </a:cxn>
                <a:cxn ang="0">
                  <a:pos x="connsiteX8377" y="connsiteY8377"/>
                </a:cxn>
                <a:cxn ang="0">
                  <a:pos x="connsiteX8378" y="connsiteY8378"/>
                </a:cxn>
                <a:cxn ang="0">
                  <a:pos x="connsiteX8379" y="connsiteY8379"/>
                </a:cxn>
                <a:cxn ang="0">
                  <a:pos x="connsiteX8380" y="connsiteY8380"/>
                </a:cxn>
                <a:cxn ang="0">
                  <a:pos x="connsiteX8381" y="connsiteY8381"/>
                </a:cxn>
                <a:cxn ang="0">
                  <a:pos x="connsiteX8382" y="connsiteY8382"/>
                </a:cxn>
                <a:cxn ang="0">
                  <a:pos x="connsiteX8383" y="connsiteY8383"/>
                </a:cxn>
                <a:cxn ang="0">
                  <a:pos x="connsiteX8384" y="connsiteY8384"/>
                </a:cxn>
                <a:cxn ang="0">
                  <a:pos x="connsiteX8385" y="connsiteY8385"/>
                </a:cxn>
                <a:cxn ang="0">
                  <a:pos x="connsiteX8386" y="connsiteY8386"/>
                </a:cxn>
                <a:cxn ang="0">
                  <a:pos x="connsiteX8387" y="connsiteY8387"/>
                </a:cxn>
                <a:cxn ang="0">
                  <a:pos x="connsiteX8388" y="connsiteY8388"/>
                </a:cxn>
                <a:cxn ang="0">
                  <a:pos x="connsiteX8389" y="connsiteY8389"/>
                </a:cxn>
                <a:cxn ang="0">
                  <a:pos x="connsiteX8390" y="connsiteY8390"/>
                </a:cxn>
                <a:cxn ang="0">
                  <a:pos x="connsiteX8391" y="connsiteY8391"/>
                </a:cxn>
                <a:cxn ang="0">
                  <a:pos x="connsiteX8392" y="connsiteY8392"/>
                </a:cxn>
                <a:cxn ang="0">
                  <a:pos x="connsiteX8393" y="connsiteY8393"/>
                </a:cxn>
                <a:cxn ang="0">
                  <a:pos x="connsiteX8394" y="connsiteY8394"/>
                </a:cxn>
                <a:cxn ang="0">
                  <a:pos x="connsiteX8395" y="connsiteY8395"/>
                </a:cxn>
                <a:cxn ang="0">
                  <a:pos x="connsiteX8396" y="connsiteY8396"/>
                </a:cxn>
                <a:cxn ang="0">
                  <a:pos x="connsiteX8397" y="connsiteY8397"/>
                </a:cxn>
                <a:cxn ang="0">
                  <a:pos x="connsiteX8398" y="connsiteY8398"/>
                </a:cxn>
                <a:cxn ang="0">
                  <a:pos x="connsiteX8399" y="connsiteY8399"/>
                </a:cxn>
                <a:cxn ang="0">
                  <a:pos x="connsiteX8400" y="connsiteY8400"/>
                </a:cxn>
                <a:cxn ang="0">
                  <a:pos x="connsiteX8401" y="connsiteY8401"/>
                </a:cxn>
                <a:cxn ang="0">
                  <a:pos x="connsiteX8402" y="connsiteY8402"/>
                </a:cxn>
                <a:cxn ang="0">
                  <a:pos x="connsiteX8403" y="connsiteY8403"/>
                </a:cxn>
                <a:cxn ang="0">
                  <a:pos x="connsiteX8404" y="connsiteY8404"/>
                </a:cxn>
                <a:cxn ang="0">
                  <a:pos x="connsiteX8405" y="connsiteY8405"/>
                </a:cxn>
                <a:cxn ang="0">
                  <a:pos x="connsiteX8406" y="connsiteY8406"/>
                </a:cxn>
                <a:cxn ang="0">
                  <a:pos x="connsiteX8407" y="connsiteY8407"/>
                </a:cxn>
                <a:cxn ang="0">
                  <a:pos x="connsiteX8408" y="connsiteY8408"/>
                </a:cxn>
                <a:cxn ang="0">
                  <a:pos x="connsiteX8409" y="connsiteY8409"/>
                </a:cxn>
                <a:cxn ang="0">
                  <a:pos x="connsiteX8410" y="connsiteY8410"/>
                </a:cxn>
                <a:cxn ang="0">
                  <a:pos x="connsiteX8411" y="connsiteY8411"/>
                </a:cxn>
                <a:cxn ang="0">
                  <a:pos x="connsiteX8412" y="connsiteY8412"/>
                </a:cxn>
                <a:cxn ang="0">
                  <a:pos x="connsiteX8413" y="connsiteY8413"/>
                </a:cxn>
                <a:cxn ang="0">
                  <a:pos x="connsiteX8414" y="connsiteY8414"/>
                </a:cxn>
                <a:cxn ang="0">
                  <a:pos x="connsiteX8415" y="connsiteY8415"/>
                </a:cxn>
                <a:cxn ang="0">
                  <a:pos x="connsiteX8416" y="connsiteY8416"/>
                </a:cxn>
                <a:cxn ang="0">
                  <a:pos x="connsiteX8417" y="connsiteY8417"/>
                </a:cxn>
                <a:cxn ang="0">
                  <a:pos x="connsiteX8418" y="connsiteY8418"/>
                </a:cxn>
                <a:cxn ang="0">
                  <a:pos x="connsiteX8419" y="connsiteY8419"/>
                </a:cxn>
                <a:cxn ang="0">
                  <a:pos x="connsiteX8420" y="connsiteY8420"/>
                </a:cxn>
                <a:cxn ang="0">
                  <a:pos x="connsiteX8421" y="connsiteY8421"/>
                </a:cxn>
                <a:cxn ang="0">
                  <a:pos x="connsiteX8422" y="connsiteY8422"/>
                </a:cxn>
                <a:cxn ang="0">
                  <a:pos x="connsiteX8423" y="connsiteY8423"/>
                </a:cxn>
                <a:cxn ang="0">
                  <a:pos x="connsiteX8424" y="connsiteY8424"/>
                </a:cxn>
                <a:cxn ang="0">
                  <a:pos x="connsiteX8425" y="connsiteY8425"/>
                </a:cxn>
                <a:cxn ang="0">
                  <a:pos x="connsiteX8426" y="connsiteY8426"/>
                </a:cxn>
                <a:cxn ang="0">
                  <a:pos x="connsiteX8427" y="connsiteY8427"/>
                </a:cxn>
                <a:cxn ang="0">
                  <a:pos x="connsiteX8428" y="connsiteY8428"/>
                </a:cxn>
                <a:cxn ang="0">
                  <a:pos x="connsiteX8429" y="connsiteY8429"/>
                </a:cxn>
                <a:cxn ang="0">
                  <a:pos x="connsiteX8430" y="connsiteY8430"/>
                </a:cxn>
                <a:cxn ang="0">
                  <a:pos x="connsiteX8431" y="connsiteY8431"/>
                </a:cxn>
                <a:cxn ang="0">
                  <a:pos x="connsiteX8432" y="connsiteY8432"/>
                </a:cxn>
                <a:cxn ang="0">
                  <a:pos x="connsiteX8433" y="connsiteY8433"/>
                </a:cxn>
                <a:cxn ang="0">
                  <a:pos x="connsiteX8434" y="connsiteY8434"/>
                </a:cxn>
                <a:cxn ang="0">
                  <a:pos x="connsiteX8435" y="connsiteY8435"/>
                </a:cxn>
                <a:cxn ang="0">
                  <a:pos x="connsiteX8436" y="connsiteY8436"/>
                </a:cxn>
                <a:cxn ang="0">
                  <a:pos x="connsiteX8437" y="connsiteY8437"/>
                </a:cxn>
                <a:cxn ang="0">
                  <a:pos x="connsiteX8438" y="connsiteY8438"/>
                </a:cxn>
                <a:cxn ang="0">
                  <a:pos x="connsiteX8439" y="connsiteY8439"/>
                </a:cxn>
                <a:cxn ang="0">
                  <a:pos x="connsiteX8440" y="connsiteY8440"/>
                </a:cxn>
                <a:cxn ang="0">
                  <a:pos x="connsiteX8441" y="connsiteY8441"/>
                </a:cxn>
                <a:cxn ang="0">
                  <a:pos x="connsiteX8442" y="connsiteY8442"/>
                </a:cxn>
                <a:cxn ang="0">
                  <a:pos x="connsiteX8443" y="connsiteY8443"/>
                </a:cxn>
                <a:cxn ang="0">
                  <a:pos x="connsiteX8444" y="connsiteY8444"/>
                </a:cxn>
                <a:cxn ang="0">
                  <a:pos x="connsiteX8445" y="connsiteY8445"/>
                </a:cxn>
                <a:cxn ang="0">
                  <a:pos x="connsiteX8446" y="connsiteY8446"/>
                </a:cxn>
                <a:cxn ang="0">
                  <a:pos x="connsiteX8447" y="connsiteY8447"/>
                </a:cxn>
                <a:cxn ang="0">
                  <a:pos x="connsiteX8448" y="connsiteY8448"/>
                </a:cxn>
                <a:cxn ang="0">
                  <a:pos x="connsiteX8449" y="connsiteY8449"/>
                </a:cxn>
                <a:cxn ang="0">
                  <a:pos x="connsiteX8450" y="connsiteY8450"/>
                </a:cxn>
                <a:cxn ang="0">
                  <a:pos x="connsiteX8451" y="connsiteY8451"/>
                </a:cxn>
                <a:cxn ang="0">
                  <a:pos x="connsiteX8452" y="connsiteY8452"/>
                </a:cxn>
                <a:cxn ang="0">
                  <a:pos x="connsiteX8453" y="connsiteY8453"/>
                </a:cxn>
                <a:cxn ang="0">
                  <a:pos x="connsiteX8454" y="connsiteY8454"/>
                </a:cxn>
                <a:cxn ang="0">
                  <a:pos x="connsiteX8455" y="connsiteY8455"/>
                </a:cxn>
                <a:cxn ang="0">
                  <a:pos x="connsiteX8456" y="connsiteY8456"/>
                </a:cxn>
                <a:cxn ang="0">
                  <a:pos x="connsiteX8457" y="connsiteY8457"/>
                </a:cxn>
                <a:cxn ang="0">
                  <a:pos x="connsiteX8458" y="connsiteY8458"/>
                </a:cxn>
                <a:cxn ang="0">
                  <a:pos x="connsiteX8459" y="connsiteY8459"/>
                </a:cxn>
                <a:cxn ang="0">
                  <a:pos x="connsiteX8460" y="connsiteY8460"/>
                </a:cxn>
                <a:cxn ang="0">
                  <a:pos x="connsiteX8461" y="connsiteY8461"/>
                </a:cxn>
                <a:cxn ang="0">
                  <a:pos x="connsiteX8462" y="connsiteY8462"/>
                </a:cxn>
                <a:cxn ang="0">
                  <a:pos x="connsiteX8463" y="connsiteY8463"/>
                </a:cxn>
                <a:cxn ang="0">
                  <a:pos x="connsiteX8464" y="connsiteY8464"/>
                </a:cxn>
                <a:cxn ang="0">
                  <a:pos x="connsiteX8465" y="connsiteY8465"/>
                </a:cxn>
                <a:cxn ang="0">
                  <a:pos x="connsiteX8466" y="connsiteY8466"/>
                </a:cxn>
                <a:cxn ang="0">
                  <a:pos x="connsiteX8467" y="connsiteY8467"/>
                </a:cxn>
                <a:cxn ang="0">
                  <a:pos x="connsiteX8468" y="connsiteY8468"/>
                </a:cxn>
                <a:cxn ang="0">
                  <a:pos x="connsiteX8469" y="connsiteY8469"/>
                </a:cxn>
                <a:cxn ang="0">
                  <a:pos x="connsiteX8470" y="connsiteY8470"/>
                </a:cxn>
                <a:cxn ang="0">
                  <a:pos x="connsiteX8471" y="connsiteY8471"/>
                </a:cxn>
                <a:cxn ang="0">
                  <a:pos x="connsiteX8472" y="connsiteY8472"/>
                </a:cxn>
                <a:cxn ang="0">
                  <a:pos x="connsiteX8473" y="connsiteY8473"/>
                </a:cxn>
                <a:cxn ang="0">
                  <a:pos x="connsiteX8474" y="connsiteY8474"/>
                </a:cxn>
                <a:cxn ang="0">
                  <a:pos x="connsiteX8475" y="connsiteY8475"/>
                </a:cxn>
                <a:cxn ang="0">
                  <a:pos x="connsiteX8476" y="connsiteY8476"/>
                </a:cxn>
                <a:cxn ang="0">
                  <a:pos x="connsiteX8477" y="connsiteY8477"/>
                </a:cxn>
                <a:cxn ang="0">
                  <a:pos x="connsiteX8478" y="connsiteY8478"/>
                </a:cxn>
                <a:cxn ang="0">
                  <a:pos x="connsiteX8479" y="connsiteY8479"/>
                </a:cxn>
                <a:cxn ang="0">
                  <a:pos x="connsiteX8480" y="connsiteY8480"/>
                </a:cxn>
                <a:cxn ang="0">
                  <a:pos x="connsiteX8481" y="connsiteY8481"/>
                </a:cxn>
                <a:cxn ang="0">
                  <a:pos x="connsiteX8482" y="connsiteY8482"/>
                </a:cxn>
                <a:cxn ang="0">
                  <a:pos x="connsiteX8483" y="connsiteY8483"/>
                </a:cxn>
                <a:cxn ang="0">
                  <a:pos x="connsiteX8484" y="connsiteY8484"/>
                </a:cxn>
                <a:cxn ang="0">
                  <a:pos x="connsiteX8485" y="connsiteY8485"/>
                </a:cxn>
                <a:cxn ang="0">
                  <a:pos x="connsiteX8486" y="connsiteY8486"/>
                </a:cxn>
                <a:cxn ang="0">
                  <a:pos x="connsiteX8487" y="connsiteY8487"/>
                </a:cxn>
                <a:cxn ang="0">
                  <a:pos x="connsiteX8488" y="connsiteY8488"/>
                </a:cxn>
                <a:cxn ang="0">
                  <a:pos x="connsiteX8489" y="connsiteY8489"/>
                </a:cxn>
                <a:cxn ang="0">
                  <a:pos x="connsiteX8490" y="connsiteY8490"/>
                </a:cxn>
                <a:cxn ang="0">
                  <a:pos x="connsiteX8491" y="connsiteY8491"/>
                </a:cxn>
                <a:cxn ang="0">
                  <a:pos x="connsiteX8492" y="connsiteY8492"/>
                </a:cxn>
                <a:cxn ang="0">
                  <a:pos x="connsiteX8493" y="connsiteY8493"/>
                </a:cxn>
                <a:cxn ang="0">
                  <a:pos x="connsiteX8494" y="connsiteY8494"/>
                </a:cxn>
                <a:cxn ang="0">
                  <a:pos x="connsiteX8495" y="connsiteY8495"/>
                </a:cxn>
                <a:cxn ang="0">
                  <a:pos x="connsiteX8496" y="connsiteY8496"/>
                </a:cxn>
                <a:cxn ang="0">
                  <a:pos x="connsiteX8497" y="connsiteY8497"/>
                </a:cxn>
                <a:cxn ang="0">
                  <a:pos x="connsiteX8498" y="connsiteY8498"/>
                </a:cxn>
                <a:cxn ang="0">
                  <a:pos x="connsiteX8499" y="connsiteY8499"/>
                </a:cxn>
                <a:cxn ang="0">
                  <a:pos x="connsiteX8500" y="connsiteY8500"/>
                </a:cxn>
                <a:cxn ang="0">
                  <a:pos x="connsiteX8501" y="connsiteY8501"/>
                </a:cxn>
                <a:cxn ang="0">
                  <a:pos x="connsiteX8502" y="connsiteY8502"/>
                </a:cxn>
                <a:cxn ang="0">
                  <a:pos x="connsiteX8503" y="connsiteY8503"/>
                </a:cxn>
                <a:cxn ang="0">
                  <a:pos x="connsiteX8504" y="connsiteY8504"/>
                </a:cxn>
                <a:cxn ang="0">
                  <a:pos x="connsiteX8505" y="connsiteY8505"/>
                </a:cxn>
                <a:cxn ang="0">
                  <a:pos x="connsiteX8506" y="connsiteY8506"/>
                </a:cxn>
                <a:cxn ang="0">
                  <a:pos x="connsiteX8507" y="connsiteY8507"/>
                </a:cxn>
                <a:cxn ang="0">
                  <a:pos x="connsiteX8508" y="connsiteY8508"/>
                </a:cxn>
                <a:cxn ang="0">
                  <a:pos x="connsiteX8509" y="connsiteY8509"/>
                </a:cxn>
                <a:cxn ang="0">
                  <a:pos x="connsiteX8510" y="connsiteY8510"/>
                </a:cxn>
                <a:cxn ang="0">
                  <a:pos x="connsiteX8511" y="connsiteY8511"/>
                </a:cxn>
                <a:cxn ang="0">
                  <a:pos x="connsiteX8512" y="connsiteY8512"/>
                </a:cxn>
                <a:cxn ang="0">
                  <a:pos x="connsiteX8513" y="connsiteY8513"/>
                </a:cxn>
                <a:cxn ang="0">
                  <a:pos x="connsiteX8514" y="connsiteY8514"/>
                </a:cxn>
                <a:cxn ang="0">
                  <a:pos x="connsiteX8515" y="connsiteY8515"/>
                </a:cxn>
                <a:cxn ang="0">
                  <a:pos x="connsiteX8516" y="connsiteY8516"/>
                </a:cxn>
                <a:cxn ang="0">
                  <a:pos x="connsiteX8517" y="connsiteY8517"/>
                </a:cxn>
                <a:cxn ang="0">
                  <a:pos x="connsiteX8518" y="connsiteY8518"/>
                </a:cxn>
                <a:cxn ang="0">
                  <a:pos x="connsiteX8519" y="connsiteY8519"/>
                </a:cxn>
                <a:cxn ang="0">
                  <a:pos x="connsiteX8520" y="connsiteY8520"/>
                </a:cxn>
                <a:cxn ang="0">
                  <a:pos x="connsiteX8521" y="connsiteY8521"/>
                </a:cxn>
                <a:cxn ang="0">
                  <a:pos x="connsiteX8522" y="connsiteY8522"/>
                </a:cxn>
                <a:cxn ang="0">
                  <a:pos x="connsiteX8523" y="connsiteY8523"/>
                </a:cxn>
                <a:cxn ang="0">
                  <a:pos x="connsiteX8524" y="connsiteY8524"/>
                </a:cxn>
                <a:cxn ang="0">
                  <a:pos x="connsiteX8525" y="connsiteY8525"/>
                </a:cxn>
                <a:cxn ang="0">
                  <a:pos x="connsiteX8526" y="connsiteY8526"/>
                </a:cxn>
                <a:cxn ang="0">
                  <a:pos x="connsiteX8527" y="connsiteY8527"/>
                </a:cxn>
                <a:cxn ang="0">
                  <a:pos x="connsiteX8528" y="connsiteY8528"/>
                </a:cxn>
                <a:cxn ang="0">
                  <a:pos x="connsiteX8529" y="connsiteY8529"/>
                </a:cxn>
                <a:cxn ang="0">
                  <a:pos x="connsiteX8530" y="connsiteY8530"/>
                </a:cxn>
                <a:cxn ang="0">
                  <a:pos x="connsiteX8531" y="connsiteY8531"/>
                </a:cxn>
                <a:cxn ang="0">
                  <a:pos x="connsiteX8532" y="connsiteY8532"/>
                </a:cxn>
                <a:cxn ang="0">
                  <a:pos x="connsiteX8533" y="connsiteY8533"/>
                </a:cxn>
                <a:cxn ang="0">
                  <a:pos x="connsiteX8534" y="connsiteY8534"/>
                </a:cxn>
                <a:cxn ang="0">
                  <a:pos x="connsiteX8535" y="connsiteY8535"/>
                </a:cxn>
                <a:cxn ang="0">
                  <a:pos x="connsiteX8536" y="connsiteY8536"/>
                </a:cxn>
                <a:cxn ang="0">
                  <a:pos x="connsiteX8537" y="connsiteY8537"/>
                </a:cxn>
                <a:cxn ang="0">
                  <a:pos x="connsiteX8538" y="connsiteY8538"/>
                </a:cxn>
                <a:cxn ang="0">
                  <a:pos x="connsiteX8539" y="connsiteY8539"/>
                </a:cxn>
                <a:cxn ang="0">
                  <a:pos x="connsiteX8540" y="connsiteY8540"/>
                </a:cxn>
                <a:cxn ang="0">
                  <a:pos x="connsiteX8541" y="connsiteY8541"/>
                </a:cxn>
                <a:cxn ang="0">
                  <a:pos x="connsiteX8542" y="connsiteY8542"/>
                </a:cxn>
                <a:cxn ang="0">
                  <a:pos x="connsiteX8543" y="connsiteY8543"/>
                </a:cxn>
                <a:cxn ang="0">
                  <a:pos x="connsiteX8544" y="connsiteY8544"/>
                </a:cxn>
                <a:cxn ang="0">
                  <a:pos x="connsiteX8545" y="connsiteY8545"/>
                </a:cxn>
                <a:cxn ang="0">
                  <a:pos x="connsiteX8546" y="connsiteY8546"/>
                </a:cxn>
                <a:cxn ang="0">
                  <a:pos x="connsiteX8547" y="connsiteY8547"/>
                </a:cxn>
                <a:cxn ang="0">
                  <a:pos x="connsiteX8548" y="connsiteY8548"/>
                </a:cxn>
                <a:cxn ang="0">
                  <a:pos x="connsiteX8549" y="connsiteY8549"/>
                </a:cxn>
                <a:cxn ang="0">
                  <a:pos x="connsiteX8550" y="connsiteY8550"/>
                </a:cxn>
                <a:cxn ang="0">
                  <a:pos x="connsiteX8551" y="connsiteY8551"/>
                </a:cxn>
                <a:cxn ang="0">
                  <a:pos x="connsiteX8552" y="connsiteY8552"/>
                </a:cxn>
                <a:cxn ang="0">
                  <a:pos x="connsiteX8553" y="connsiteY8553"/>
                </a:cxn>
                <a:cxn ang="0">
                  <a:pos x="connsiteX8554" y="connsiteY8554"/>
                </a:cxn>
                <a:cxn ang="0">
                  <a:pos x="connsiteX8555" y="connsiteY8555"/>
                </a:cxn>
                <a:cxn ang="0">
                  <a:pos x="connsiteX8556" y="connsiteY8556"/>
                </a:cxn>
                <a:cxn ang="0">
                  <a:pos x="connsiteX8557" y="connsiteY8557"/>
                </a:cxn>
                <a:cxn ang="0">
                  <a:pos x="connsiteX8558" y="connsiteY8558"/>
                </a:cxn>
                <a:cxn ang="0">
                  <a:pos x="connsiteX8559" y="connsiteY8559"/>
                </a:cxn>
                <a:cxn ang="0">
                  <a:pos x="connsiteX8560" y="connsiteY8560"/>
                </a:cxn>
                <a:cxn ang="0">
                  <a:pos x="connsiteX8561" y="connsiteY8561"/>
                </a:cxn>
                <a:cxn ang="0">
                  <a:pos x="connsiteX8562" y="connsiteY8562"/>
                </a:cxn>
                <a:cxn ang="0">
                  <a:pos x="connsiteX8563" y="connsiteY8563"/>
                </a:cxn>
                <a:cxn ang="0">
                  <a:pos x="connsiteX8564" y="connsiteY8564"/>
                </a:cxn>
                <a:cxn ang="0">
                  <a:pos x="connsiteX8565" y="connsiteY8565"/>
                </a:cxn>
                <a:cxn ang="0">
                  <a:pos x="connsiteX8566" y="connsiteY8566"/>
                </a:cxn>
                <a:cxn ang="0">
                  <a:pos x="connsiteX8567" y="connsiteY8567"/>
                </a:cxn>
                <a:cxn ang="0">
                  <a:pos x="connsiteX8568" y="connsiteY8568"/>
                </a:cxn>
                <a:cxn ang="0">
                  <a:pos x="connsiteX8569" y="connsiteY8569"/>
                </a:cxn>
                <a:cxn ang="0">
                  <a:pos x="connsiteX8570" y="connsiteY8570"/>
                </a:cxn>
                <a:cxn ang="0">
                  <a:pos x="connsiteX8571" y="connsiteY8571"/>
                </a:cxn>
                <a:cxn ang="0">
                  <a:pos x="connsiteX8572" y="connsiteY8572"/>
                </a:cxn>
                <a:cxn ang="0">
                  <a:pos x="connsiteX8573" y="connsiteY8573"/>
                </a:cxn>
                <a:cxn ang="0">
                  <a:pos x="connsiteX8574" y="connsiteY8574"/>
                </a:cxn>
                <a:cxn ang="0">
                  <a:pos x="connsiteX8575" y="connsiteY8575"/>
                </a:cxn>
                <a:cxn ang="0">
                  <a:pos x="connsiteX8576" y="connsiteY8576"/>
                </a:cxn>
                <a:cxn ang="0">
                  <a:pos x="connsiteX8577" y="connsiteY8577"/>
                </a:cxn>
                <a:cxn ang="0">
                  <a:pos x="connsiteX8578" y="connsiteY8578"/>
                </a:cxn>
                <a:cxn ang="0">
                  <a:pos x="connsiteX8579" y="connsiteY8579"/>
                </a:cxn>
                <a:cxn ang="0">
                  <a:pos x="connsiteX8580" y="connsiteY8580"/>
                </a:cxn>
                <a:cxn ang="0">
                  <a:pos x="connsiteX8581" y="connsiteY8581"/>
                </a:cxn>
                <a:cxn ang="0">
                  <a:pos x="connsiteX8582" y="connsiteY8582"/>
                </a:cxn>
                <a:cxn ang="0">
                  <a:pos x="connsiteX8583" y="connsiteY8583"/>
                </a:cxn>
                <a:cxn ang="0">
                  <a:pos x="connsiteX8584" y="connsiteY8584"/>
                </a:cxn>
                <a:cxn ang="0">
                  <a:pos x="connsiteX8585" y="connsiteY8585"/>
                </a:cxn>
                <a:cxn ang="0">
                  <a:pos x="connsiteX8586" y="connsiteY8586"/>
                </a:cxn>
                <a:cxn ang="0">
                  <a:pos x="connsiteX8587" y="connsiteY8587"/>
                </a:cxn>
                <a:cxn ang="0">
                  <a:pos x="connsiteX8588" y="connsiteY8588"/>
                </a:cxn>
                <a:cxn ang="0">
                  <a:pos x="connsiteX8589" y="connsiteY8589"/>
                </a:cxn>
                <a:cxn ang="0">
                  <a:pos x="connsiteX8590" y="connsiteY8590"/>
                </a:cxn>
                <a:cxn ang="0">
                  <a:pos x="connsiteX8591" y="connsiteY8591"/>
                </a:cxn>
                <a:cxn ang="0">
                  <a:pos x="connsiteX8592" y="connsiteY8592"/>
                </a:cxn>
                <a:cxn ang="0">
                  <a:pos x="connsiteX8593" y="connsiteY8593"/>
                </a:cxn>
                <a:cxn ang="0">
                  <a:pos x="connsiteX8594" y="connsiteY8594"/>
                </a:cxn>
                <a:cxn ang="0">
                  <a:pos x="connsiteX8595" y="connsiteY8595"/>
                </a:cxn>
                <a:cxn ang="0">
                  <a:pos x="connsiteX8596" y="connsiteY8596"/>
                </a:cxn>
                <a:cxn ang="0">
                  <a:pos x="connsiteX8597" y="connsiteY8597"/>
                </a:cxn>
                <a:cxn ang="0">
                  <a:pos x="connsiteX8598" y="connsiteY8598"/>
                </a:cxn>
                <a:cxn ang="0">
                  <a:pos x="connsiteX8599" y="connsiteY8599"/>
                </a:cxn>
                <a:cxn ang="0">
                  <a:pos x="connsiteX8600" y="connsiteY8600"/>
                </a:cxn>
                <a:cxn ang="0">
                  <a:pos x="connsiteX8601" y="connsiteY8601"/>
                </a:cxn>
                <a:cxn ang="0">
                  <a:pos x="connsiteX8602" y="connsiteY8602"/>
                </a:cxn>
                <a:cxn ang="0">
                  <a:pos x="connsiteX8603" y="connsiteY8603"/>
                </a:cxn>
                <a:cxn ang="0">
                  <a:pos x="connsiteX8604" y="connsiteY8604"/>
                </a:cxn>
                <a:cxn ang="0">
                  <a:pos x="connsiteX8605" y="connsiteY8605"/>
                </a:cxn>
                <a:cxn ang="0">
                  <a:pos x="connsiteX8606" y="connsiteY8606"/>
                </a:cxn>
                <a:cxn ang="0">
                  <a:pos x="connsiteX8607" y="connsiteY8607"/>
                </a:cxn>
                <a:cxn ang="0">
                  <a:pos x="connsiteX8608" y="connsiteY8608"/>
                </a:cxn>
                <a:cxn ang="0">
                  <a:pos x="connsiteX8609" y="connsiteY8609"/>
                </a:cxn>
                <a:cxn ang="0">
                  <a:pos x="connsiteX8610" y="connsiteY8610"/>
                </a:cxn>
                <a:cxn ang="0">
                  <a:pos x="connsiteX8611" y="connsiteY8611"/>
                </a:cxn>
                <a:cxn ang="0">
                  <a:pos x="connsiteX8612" y="connsiteY8612"/>
                </a:cxn>
                <a:cxn ang="0">
                  <a:pos x="connsiteX8613" y="connsiteY8613"/>
                </a:cxn>
                <a:cxn ang="0">
                  <a:pos x="connsiteX8614" y="connsiteY8614"/>
                </a:cxn>
                <a:cxn ang="0">
                  <a:pos x="connsiteX8615" y="connsiteY8615"/>
                </a:cxn>
                <a:cxn ang="0">
                  <a:pos x="connsiteX8616" y="connsiteY8616"/>
                </a:cxn>
                <a:cxn ang="0">
                  <a:pos x="connsiteX8617" y="connsiteY8617"/>
                </a:cxn>
                <a:cxn ang="0">
                  <a:pos x="connsiteX8618" y="connsiteY8618"/>
                </a:cxn>
                <a:cxn ang="0">
                  <a:pos x="connsiteX8619" y="connsiteY8619"/>
                </a:cxn>
                <a:cxn ang="0">
                  <a:pos x="connsiteX8620" y="connsiteY8620"/>
                </a:cxn>
                <a:cxn ang="0">
                  <a:pos x="connsiteX8621" y="connsiteY8621"/>
                </a:cxn>
                <a:cxn ang="0">
                  <a:pos x="connsiteX8622" y="connsiteY8622"/>
                </a:cxn>
                <a:cxn ang="0">
                  <a:pos x="connsiteX8623" y="connsiteY8623"/>
                </a:cxn>
                <a:cxn ang="0">
                  <a:pos x="connsiteX8624" y="connsiteY8624"/>
                </a:cxn>
                <a:cxn ang="0">
                  <a:pos x="connsiteX8625" y="connsiteY8625"/>
                </a:cxn>
                <a:cxn ang="0">
                  <a:pos x="connsiteX8626" y="connsiteY8626"/>
                </a:cxn>
                <a:cxn ang="0">
                  <a:pos x="connsiteX8627" y="connsiteY8627"/>
                </a:cxn>
                <a:cxn ang="0">
                  <a:pos x="connsiteX8628" y="connsiteY8628"/>
                </a:cxn>
                <a:cxn ang="0">
                  <a:pos x="connsiteX8629" y="connsiteY8629"/>
                </a:cxn>
                <a:cxn ang="0">
                  <a:pos x="connsiteX8630" y="connsiteY8630"/>
                </a:cxn>
                <a:cxn ang="0">
                  <a:pos x="connsiteX8631" y="connsiteY8631"/>
                </a:cxn>
                <a:cxn ang="0">
                  <a:pos x="connsiteX8632" y="connsiteY8632"/>
                </a:cxn>
                <a:cxn ang="0">
                  <a:pos x="connsiteX8633" y="connsiteY8633"/>
                </a:cxn>
                <a:cxn ang="0">
                  <a:pos x="connsiteX8634" y="connsiteY8634"/>
                </a:cxn>
                <a:cxn ang="0">
                  <a:pos x="connsiteX8635" y="connsiteY8635"/>
                </a:cxn>
                <a:cxn ang="0">
                  <a:pos x="connsiteX8636" y="connsiteY8636"/>
                </a:cxn>
                <a:cxn ang="0">
                  <a:pos x="connsiteX8637" y="connsiteY8637"/>
                </a:cxn>
                <a:cxn ang="0">
                  <a:pos x="connsiteX8638" y="connsiteY8638"/>
                </a:cxn>
                <a:cxn ang="0">
                  <a:pos x="connsiteX8639" y="connsiteY8639"/>
                </a:cxn>
                <a:cxn ang="0">
                  <a:pos x="connsiteX8640" y="connsiteY8640"/>
                </a:cxn>
                <a:cxn ang="0">
                  <a:pos x="connsiteX8641" y="connsiteY8641"/>
                </a:cxn>
                <a:cxn ang="0">
                  <a:pos x="connsiteX8642" y="connsiteY8642"/>
                </a:cxn>
                <a:cxn ang="0">
                  <a:pos x="connsiteX8643" y="connsiteY8643"/>
                </a:cxn>
                <a:cxn ang="0">
                  <a:pos x="connsiteX8644" y="connsiteY8644"/>
                </a:cxn>
                <a:cxn ang="0">
                  <a:pos x="connsiteX8645" y="connsiteY8645"/>
                </a:cxn>
                <a:cxn ang="0">
                  <a:pos x="connsiteX8646" y="connsiteY8646"/>
                </a:cxn>
                <a:cxn ang="0">
                  <a:pos x="connsiteX8647" y="connsiteY8647"/>
                </a:cxn>
                <a:cxn ang="0">
                  <a:pos x="connsiteX8648" y="connsiteY8648"/>
                </a:cxn>
                <a:cxn ang="0">
                  <a:pos x="connsiteX8649" y="connsiteY8649"/>
                </a:cxn>
                <a:cxn ang="0">
                  <a:pos x="connsiteX8650" y="connsiteY8650"/>
                </a:cxn>
                <a:cxn ang="0">
                  <a:pos x="connsiteX8651" y="connsiteY8651"/>
                </a:cxn>
                <a:cxn ang="0">
                  <a:pos x="connsiteX8652" y="connsiteY8652"/>
                </a:cxn>
                <a:cxn ang="0">
                  <a:pos x="connsiteX8653" y="connsiteY8653"/>
                </a:cxn>
                <a:cxn ang="0">
                  <a:pos x="connsiteX8654" y="connsiteY8654"/>
                </a:cxn>
                <a:cxn ang="0">
                  <a:pos x="connsiteX8655" y="connsiteY8655"/>
                </a:cxn>
                <a:cxn ang="0">
                  <a:pos x="connsiteX8656" y="connsiteY8656"/>
                </a:cxn>
                <a:cxn ang="0">
                  <a:pos x="connsiteX8657" y="connsiteY8657"/>
                </a:cxn>
                <a:cxn ang="0">
                  <a:pos x="connsiteX8658" y="connsiteY8658"/>
                </a:cxn>
                <a:cxn ang="0">
                  <a:pos x="connsiteX8659" y="connsiteY8659"/>
                </a:cxn>
                <a:cxn ang="0">
                  <a:pos x="connsiteX8660" y="connsiteY8660"/>
                </a:cxn>
                <a:cxn ang="0">
                  <a:pos x="connsiteX8661" y="connsiteY8661"/>
                </a:cxn>
                <a:cxn ang="0">
                  <a:pos x="connsiteX8662" y="connsiteY8662"/>
                </a:cxn>
                <a:cxn ang="0">
                  <a:pos x="connsiteX8663" y="connsiteY8663"/>
                </a:cxn>
                <a:cxn ang="0">
                  <a:pos x="connsiteX8664" y="connsiteY8664"/>
                </a:cxn>
                <a:cxn ang="0">
                  <a:pos x="connsiteX8665" y="connsiteY8665"/>
                </a:cxn>
                <a:cxn ang="0">
                  <a:pos x="connsiteX8666" y="connsiteY8666"/>
                </a:cxn>
                <a:cxn ang="0">
                  <a:pos x="connsiteX8667" y="connsiteY8667"/>
                </a:cxn>
                <a:cxn ang="0">
                  <a:pos x="connsiteX8668" y="connsiteY8668"/>
                </a:cxn>
                <a:cxn ang="0">
                  <a:pos x="connsiteX8669" y="connsiteY8669"/>
                </a:cxn>
                <a:cxn ang="0">
                  <a:pos x="connsiteX8670" y="connsiteY8670"/>
                </a:cxn>
                <a:cxn ang="0">
                  <a:pos x="connsiteX8671" y="connsiteY8671"/>
                </a:cxn>
                <a:cxn ang="0">
                  <a:pos x="connsiteX8672" y="connsiteY8672"/>
                </a:cxn>
                <a:cxn ang="0">
                  <a:pos x="connsiteX8673" y="connsiteY8673"/>
                </a:cxn>
                <a:cxn ang="0">
                  <a:pos x="connsiteX8674" y="connsiteY8674"/>
                </a:cxn>
                <a:cxn ang="0">
                  <a:pos x="connsiteX8675" y="connsiteY8675"/>
                </a:cxn>
                <a:cxn ang="0">
                  <a:pos x="connsiteX8676" y="connsiteY8676"/>
                </a:cxn>
                <a:cxn ang="0">
                  <a:pos x="connsiteX8677" y="connsiteY8677"/>
                </a:cxn>
                <a:cxn ang="0">
                  <a:pos x="connsiteX8678" y="connsiteY8678"/>
                </a:cxn>
                <a:cxn ang="0">
                  <a:pos x="connsiteX8679" y="connsiteY8679"/>
                </a:cxn>
                <a:cxn ang="0">
                  <a:pos x="connsiteX8680" y="connsiteY8680"/>
                </a:cxn>
                <a:cxn ang="0">
                  <a:pos x="connsiteX8681" y="connsiteY8681"/>
                </a:cxn>
                <a:cxn ang="0">
                  <a:pos x="connsiteX8682" y="connsiteY8682"/>
                </a:cxn>
                <a:cxn ang="0">
                  <a:pos x="connsiteX8683" y="connsiteY8683"/>
                </a:cxn>
                <a:cxn ang="0">
                  <a:pos x="connsiteX8684" y="connsiteY8684"/>
                </a:cxn>
                <a:cxn ang="0">
                  <a:pos x="connsiteX8685" y="connsiteY8685"/>
                </a:cxn>
                <a:cxn ang="0">
                  <a:pos x="connsiteX8686" y="connsiteY8686"/>
                </a:cxn>
                <a:cxn ang="0">
                  <a:pos x="connsiteX8687" y="connsiteY8687"/>
                </a:cxn>
                <a:cxn ang="0">
                  <a:pos x="connsiteX8688" y="connsiteY8688"/>
                </a:cxn>
                <a:cxn ang="0">
                  <a:pos x="connsiteX8689" y="connsiteY8689"/>
                </a:cxn>
                <a:cxn ang="0">
                  <a:pos x="connsiteX8690" y="connsiteY8690"/>
                </a:cxn>
                <a:cxn ang="0">
                  <a:pos x="connsiteX8691" y="connsiteY8691"/>
                </a:cxn>
                <a:cxn ang="0">
                  <a:pos x="connsiteX8692" y="connsiteY8692"/>
                </a:cxn>
                <a:cxn ang="0">
                  <a:pos x="connsiteX8693" y="connsiteY8693"/>
                </a:cxn>
                <a:cxn ang="0">
                  <a:pos x="connsiteX8694" y="connsiteY8694"/>
                </a:cxn>
                <a:cxn ang="0">
                  <a:pos x="connsiteX8695" y="connsiteY8695"/>
                </a:cxn>
                <a:cxn ang="0">
                  <a:pos x="connsiteX8696" y="connsiteY8696"/>
                </a:cxn>
                <a:cxn ang="0">
                  <a:pos x="connsiteX8697" y="connsiteY8697"/>
                </a:cxn>
                <a:cxn ang="0">
                  <a:pos x="connsiteX8698" y="connsiteY8698"/>
                </a:cxn>
                <a:cxn ang="0">
                  <a:pos x="connsiteX8699" y="connsiteY8699"/>
                </a:cxn>
                <a:cxn ang="0">
                  <a:pos x="connsiteX8700" y="connsiteY8700"/>
                </a:cxn>
                <a:cxn ang="0">
                  <a:pos x="connsiteX8701" y="connsiteY8701"/>
                </a:cxn>
                <a:cxn ang="0">
                  <a:pos x="connsiteX8702" y="connsiteY8702"/>
                </a:cxn>
                <a:cxn ang="0">
                  <a:pos x="connsiteX8703" y="connsiteY8703"/>
                </a:cxn>
                <a:cxn ang="0">
                  <a:pos x="connsiteX8704" y="connsiteY8704"/>
                </a:cxn>
                <a:cxn ang="0">
                  <a:pos x="connsiteX8705" y="connsiteY8705"/>
                </a:cxn>
                <a:cxn ang="0">
                  <a:pos x="connsiteX8706" y="connsiteY8706"/>
                </a:cxn>
                <a:cxn ang="0">
                  <a:pos x="connsiteX8707" y="connsiteY8707"/>
                </a:cxn>
                <a:cxn ang="0">
                  <a:pos x="connsiteX8708" y="connsiteY8708"/>
                </a:cxn>
                <a:cxn ang="0">
                  <a:pos x="connsiteX8709" y="connsiteY8709"/>
                </a:cxn>
                <a:cxn ang="0">
                  <a:pos x="connsiteX8710" y="connsiteY8710"/>
                </a:cxn>
                <a:cxn ang="0">
                  <a:pos x="connsiteX8711" y="connsiteY8711"/>
                </a:cxn>
                <a:cxn ang="0">
                  <a:pos x="connsiteX8712" y="connsiteY8712"/>
                </a:cxn>
                <a:cxn ang="0">
                  <a:pos x="connsiteX8713" y="connsiteY8713"/>
                </a:cxn>
                <a:cxn ang="0">
                  <a:pos x="connsiteX8714" y="connsiteY8714"/>
                </a:cxn>
                <a:cxn ang="0">
                  <a:pos x="connsiteX8715" y="connsiteY8715"/>
                </a:cxn>
                <a:cxn ang="0">
                  <a:pos x="connsiteX8716" y="connsiteY8716"/>
                </a:cxn>
                <a:cxn ang="0">
                  <a:pos x="connsiteX8717" y="connsiteY8717"/>
                </a:cxn>
                <a:cxn ang="0">
                  <a:pos x="connsiteX8718" y="connsiteY8718"/>
                </a:cxn>
                <a:cxn ang="0">
                  <a:pos x="connsiteX8719" y="connsiteY8719"/>
                </a:cxn>
                <a:cxn ang="0">
                  <a:pos x="connsiteX8720" y="connsiteY8720"/>
                </a:cxn>
                <a:cxn ang="0">
                  <a:pos x="connsiteX8721" y="connsiteY8721"/>
                </a:cxn>
                <a:cxn ang="0">
                  <a:pos x="connsiteX8722" y="connsiteY8722"/>
                </a:cxn>
                <a:cxn ang="0">
                  <a:pos x="connsiteX8723" y="connsiteY8723"/>
                </a:cxn>
                <a:cxn ang="0">
                  <a:pos x="connsiteX8724" y="connsiteY8724"/>
                </a:cxn>
                <a:cxn ang="0">
                  <a:pos x="connsiteX8725" y="connsiteY8725"/>
                </a:cxn>
                <a:cxn ang="0">
                  <a:pos x="connsiteX8726" y="connsiteY8726"/>
                </a:cxn>
                <a:cxn ang="0">
                  <a:pos x="connsiteX8727" y="connsiteY8727"/>
                </a:cxn>
                <a:cxn ang="0">
                  <a:pos x="connsiteX8728" y="connsiteY8728"/>
                </a:cxn>
                <a:cxn ang="0">
                  <a:pos x="connsiteX8729" y="connsiteY8729"/>
                </a:cxn>
                <a:cxn ang="0">
                  <a:pos x="connsiteX8730" y="connsiteY8730"/>
                </a:cxn>
                <a:cxn ang="0">
                  <a:pos x="connsiteX8731" y="connsiteY8731"/>
                </a:cxn>
                <a:cxn ang="0">
                  <a:pos x="connsiteX8732" y="connsiteY8732"/>
                </a:cxn>
                <a:cxn ang="0">
                  <a:pos x="connsiteX8733" y="connsiteY8733"/>
                </a:cxn>
                <a:cxn ang="0">
                  <a:pos x="connsiteX8734" y="connsiteY8734"/>
                </a:cxn>
                <a:cxn ang="0">
                  <a:pos x="connsiteX8735" y="connsiteY8735"/>
                </a:cxn>
                <a:cxn ang="0">
                  <a:pos x="connsiteX8736" y="connsiteY8736"/>
                </a:cxn>
                <a:cxn ang="0">
                  <a:pos x="connsiteX8737" y="connsiteY8737"/>
                </a:cxn>
                <a:cxn ang="0">
                  <a:pos x="connsiteX8738" y="connsiteY8738"/>
                </a:cxn>
                <a:cxn ang="0">
                  <a:pos x="connsiteX8739" y="connsiteY8739"/>
                </a:cxn>
                <a:cxn ang="0">
                  <a:pos x="connsiteX8740" y="connsiteY8740"/>
                </a:cxn>
                <a:cxn ang="0">
                  <a:pos x="connsiteX8741" y="connsiteY8741"/>
                </a:cxn>
                <a:cxn ang="0">
                  <a:pos x="connsiteX8742" y="connsiteY8742"/>
                </a:cxn>
                <a:cxn ang="0">
                  <a:pos x="connsiteX8743" y="connsiteY8743"/>
                </a:cxn>
                <a:cxn ang="0">
                  <a:pos x="connsiteX8744" y="connsiteY8744"/>
                </a:cxn>
                <a:cxn ang="0">
                  <a:pos x="connsiteX8745" y="connsiteY8745"/>
                </a:cxn>
                <a:cxn ang="0">
                  <a:pos x="connsiteX8746" y="connsiteY8746"/>
                </a:cxn>
                <a:cxn ang="0">
                  <a:pos x="connsiteX8747" y="connsiteY8747"/>
                </a:cxn>
                <a:cxn ang="0">
                  <a:pos x="connsiteX8748" y="connsiteY8748"/>
                </a:cxn>
                <a:cxn ang="0">
                  <a:pos x="connsiteX8749" y="connsiteY8749"/>
                </a:cxn>
                <a:cxn ang="0">
                  <a:pos x="connsiteX8750" y="connsiteY8750"/>
                </a:cxn>
                <a:cxn ang="0">
                  <a:pos x="connsiteX8751" y="connsiteY8751"/>
                </a:cxn>
                <a:cxn ang="0">
                  <a:pos x="connsiteX8752" y="connsiteY8752"/>
                </a:cxn>
                <a:cxn ang="0">
                  <a:pos x="connsiteX8753" y="connsiteY8753"/>
                </a:cxn>
                <a:cxn ang="0">
                  <a:pos x="connsiteX8754" y="connsiteY8754"/>
                </a:cxn>
                <a:cxn ang="0">
                  <a:pos x="connsiteX8755" y="connsiteY8755"/>
                </a:cxn>
                <a:cxn ang="0">
                  <a:pos x="connsiteX8756" y="connsiteY8756"/>
                </a:cxn>
                <a:cxn ang="0">
                  <a:pos x="connsiteX8757" y="connsiteY8757"/>
                </a:cxn>
                <a:cxn ang="0">
                  <a:pos x="connsiteX8758" y="connsiteY8758"/>
                </a:cxn>
                <a:cxn ang="0">
                  <a:pos x="connsiteX8759" y="connsiteY8759"/>
                </a:cxn>
                <a:cxn ang="0">
                  <a:pos x="connsiteX8760" y="connsiteY8760"/>
                </a:cxn>
                <a:cxn ang="0">
                  <a:pos x="connsiteX8761" y="connsiteY8761"/>
                </a:cxn>
                <a:cxn ang="0">
                  <a:pos x="connsiteX8762" y="connsiteY8762"/>
                </a:cxn>
                <a:cxn ang="0">
                  <a:pos x="connsiteX8763" y="connsiteY8763"/>
                </a:cxn>
                <a:cxn ang="0">
                  <a:pos x="connsiteX8764" y="connsiteY8764"/>
                </a:cxn>
                <a:cxn ang="0">
                  <a:pos x="connsiteX8765" y="connsiteY8765"/>
                </a:cxn>
                <a:cxn ang="0">
                  <a:pos x="connsiteX8766" y="connsiteY8766"/>
                </a:cxn>
                <a:cxn ang="0">
                  <a:pos x="connsiteX8767" y="connsiteY8767"/>
                </a:cxn>
                <a:cxn ang="0">
                  <a:pos x="connsiteX8768" y="connsiteY8768"/>
                </a:cxn>
                <a:cxn ang="0">
                  <a:pos x="connsiteX8769" y="connsiteY8769"/>
                </a:cxn>
                <a:cxn ang="0">
                  <a:pos x="connsiteX8770" y="connsiteY8770"/>
                </a:cxn>
                <a:cxn ang="0">
                  <a:pos x="connsiteX8771" y="connsiteY8771"/>
                </a:cxn>
                <a:cxn ang="0">
                  <a:pos x="connsiteX8772" y="connsiteY8772"/>
                </a:cxn>
                <a:cxn ang="0">
                  <a:pos x="connsiteX8773" y="connsiteY8773"/>
                </a:cxn>
                <a:cxn ang="0">
                  <a:pos x="connsiteX8774" y="connsiteY8774"/>
                </a:cxn>
                <a:cxn ang="0">
                  <a:pos x="connsiteX8775" y="connsiteY8775"/>
                </a:cxn>
                <a:cxn ang="0">
                  <a:pos x="connsiteX8776" y="connsiteY8776"/>
                </a:cxn>
                <a:cxn ang="0">
                  <a:pos x="connsiteX8777" y="connsiteY8777"/>
                </a:cxn>
                <a:cxn ang="0">
                  <a:pos x="connsiteX8778" y="connsiteY8778"/>
                </a:cxn>
                <a:cxn ang="0">
                  <a:pos x="connsiteX8779" y="connsiteY8779"/>
                </a:cxn>
                <a:cxn ang="0">
                  <a:pos x="connsiteX8780" y="connsiteY8780"/>
                </a:cxn>
                <a:cxn ang="0">
                  <a:pos x="connsiteX8781" y="connsiteY8781"/>
                </a:cxn>
                <a:cxn ang="0">
                  <a:pos x="connsiteX8782" y="connsiteY8782"/>
                </a:cxn>
                <a:cxn ang="0">
                  <a:pos x="connsiteX8783" y="connsiteY8783"/>
                </a:cxn>
                <a:cxn ang="0">
                  <a:pos x="connsiteX8784" y="connsiteY8784"/>
                </a:cxn>
                <a:cxn ang="0">
                  <a:pos x="connsiteX8785" y="connsiteY8785"/>
                </a:cxn>
                <a:cxn ang="0">
                  <a:pos x="connsiteX8786" y="connsiteY8786"/>
                </a:cxn>
                <a:cxn ang="0">
                  <a:pos x="connsiteX8787" y="connsiteY8787"/>
                </a:cxn>
                <a:cxn ang="0">
                  <a:pos x="connsiteX8788" y="connsiteY8788"/>
                </a:cxn>
                <a:cxn ang="0">
                  <a:pos x="connsiteX8789" y="connsiteY8789"/>
                </a:cxn>
                <a:cxn ang="0">
                  <a:pos x="connsiteX8790" y="connsiteY8790"/>
                </a:cxn>
                <a:cxn ang="0">
                  <a:pos x="connsiteX8791" y="connsiteY8791"/>
                </a:cxn>
                <a:cxn ang="0">
                  <a:pos x="connsiteX8792" y="connsiteY8792"/>
                </a:cxn>
                <a:cxn ang="0">
                  <a:pos x="connsiteX8793" y="connsiteY8793"/>
                </a:cxn>
                <a:cxn ang="0">
                  <a:pos x="connsiteX8794" y="connsiteY8794"/>
                </a:cxn>
                <a:cxn ang="0">
                  <a:pos x="connsiteX8795" y="connsiteY8795"/>
                </a:cxn>
                <a:cxn ang="0">
                  <a:pos x="connsiteX8796" y="connsiteY8796"/>
                </a:cxn>
                <a:cxn ang="0">
                  <a:pos x="connsiteX8797" y="connsiteY8797"/>
                </a:cxn>
                <a:cxn ang="0">
                  <a:pos x="connsiteX8798" y="connsiteY8798"/>
                </a:cxn>
                <a:cxn ang="0">
                  <a:pos x="connsiteX8799" y="connsiteY8799"/>
                </a:cxn>
                <a:cxn ang="0">
                  <a:pos x="connsiteX8800" y="connsiteY8800"/>
                </a:cxn>
                <a:cxn ang="0">
                  <a:pos x="connsiteX8801" y="connsiteY8801"/>
                </a:cxn>
                <a:cxn ang="0">
                  <a:pos x="connsiteX8802" y="connsiteY8802"/>
                </a:cxn>
                <a:cxn ang="0">
                  <a:pos x="connsiteX8803" y="connsiteY8803"/>
                </a:cxn>
                <a:cxn ang="0">
                  <a:pos x="connsiteX8804" y="connsiteY8804"/>
                </a:cxn>
                <a:cxn ang="0">
                  <a:pos x="connsiteX8805" y="connsiteY8805"/>
                </a:cxn>
                <a:cxn ang="0">
                  <a:pos x="connsiteX8806" y="connsiteY8806"/>
                </a:cxn>
                <a:cxn ang="0">
                  <a:pos x="connsiteX8807" y="connsiteY8807"/>
                </a:cxn>
                <a:cxn ang="0">
                  <a:pos x="connsiteX8808" y="connsiteY8808"/>
                </a:cxn>
                <a:cxn ang="0">
                  <a:pos x="connsiteX8809" y="connsiteY8809"/>
                </a:cxn>
                <a:cxn ang="0">
                  <a:pos x="connsiteX8810" y="connsiteY8810"/>
                </a:cxn>
                <a:cxn ang="0">
                  <a:pos x="connsiteX8811" y="connsiteY8811"/>
                </a:cxn>
                <a:cxn ang="0">
                  <a:pos x="connsiteX8812" y="connsiteY8812"/>
                </a:cxn>
                <a:cxn ang="0">
                  <a:pos x="connsiteX8813" y="connsiteY8813"/>
                </a:cxn>
                <a:cxn ang="0">
                  <a:pos x="connsiteX8814" y="connsiteY8814"/>
                </a:cxn>
                <a:cxn ang="0">
                  <a:pos x="connsiteX8815" y="connsiteY8815"/>
                </a:cxn>
                <a:cxn ang="0">
                  <a:pos x="connsiteX8816" y="connsiteY8816"/>
                </a:cxn>
                <a:cxn ang="0">
                  <a:pos x="connsiteX8817" y="connsiteY8817"/>
                </a:cxn>
                <a:cxn ang="0">
                  <a:pos x="connsiteX8818" y="connsiteY8818"/>
                </a:cxn>
                <a:cxn ang="0">
                  <a:pos x="connsiteX8819" y="connsiteY8819"/>
                </a:cxn>
                <a:cxn ang="0">
                  <a:pos x="connsiteX8820" y="connsiteY8820"/>
                </a:cxn>
                <a:cxn ang="0">
                  <a:pos x="connsiteX8821" y="connsiteY8821"/>
                </a:cxn>
                <a:cxn ang="0">
                  <a:pos x="connsiteX8822" y="connsiteY8822"/>
                </a:cxn>
                <a:cxn ang="0">
                  <a:pos x="connsiteX8823" y="connsiteY8823"/>
                </a:cxn>
                <a:cxn ang="0">
                  <a:pos x="connsiteX8824" y="connsiteY8824"/>
                </a:cxn>
                <a:cxn ang="0">
                  <a:pos x="connsiteX8825" y="connsiteY8825"/>
                </a:cxn>
                <a:cxn ang="0">
                  <a:pos x="connsiteX8826" y="connsiteY8826"/>
                </a:cxn>
                <a:cxn ang="0">
                  <a:pos x="connsiteX8827" y="connsiteY8827"/>
                </a:cxn>
                <a:cxn ang="0">
                  <a:pos x="connsiteX8828" y="connsiteY8828"/>
                </a:cxn>
                <a:cxn ang="0">
                  <a:pos x="connsiteX8829" y="connsiteY8829"/>
                </a:cxn>
                <a:cxn ang="0">
                  <a:pos x="connsiteX8830" y="connsiteY8830"/>
                </a:cxn>
                <a:cxn ang="0">
                  <a:pos x="connsiteX8831" y="connsiteY8831"/>
                </a:cxn>
                <a:cxn ang="0">
                  <a:pos x="connsiteX8832" y="connsiteY8832"/>
                </a:cxn>
                <a:cxn ang="0">
                  <a:pos x="connsiteX8833" y="connsiteY8833"/>
                </a:cxn>
                <a:cxn ang="0">
                  <a:pos x="connsiteX8834" y="connsiteY8834"/>
                </a:cxn>
                <a:cxn ang="0">
                  <a:pos x="connsiteX8835" y="connsiteY8835"/>
                </a:cxn>
                <a:cxn ang="0">
                  <a:pos x="connsiteX8836" y="connsiteY8836"/>
                </a:cxn>
                <a:cxn ang="0">
                  <a:pos x="connsiteX8837" y="connsiteY8837"/>
                </a:cxn>
                <a:cxn ang="0">
                  <a:pos x="connsiteX8838" y="connsiteY8838"/>
                </a:cxn>
                <a:cxn ang="0">
                  <a:pos x="connsiteX8839" y="connsiteY8839"/>
                </a:cxn>
                <a:cxn ang="0">
                  <a:pos x="connsiteX8840" y="connsiteY8840"/>
                </a:cxn>
                <a:cxn ang="0">
                  <a:pos x="connsiteX8841" y="connsiteY8841"/>
                </a:cxn>
                <a:cxn ang="0">
                  <a:pos x="connsiteX8842" y="connsiteY8842"/>
                </a:cxn>
                <a:cxn ang="0">
                  <a:pos x="connsiteX8843" y="connsiteY8843"/>
                </a:cxn>
                <a:cxn ang="0">
                  <a:pos x="connsiteX8844" y="connsiteY8844"/>
                </a:cxn>
                <a:cxn ang="0">
                  <a:pos x="connsiteX8845" y="connsiteY8845"/>
                </a:cxn>
                <a:cxn ang="0">
                  <a:pos x="connsiteX8846" y="connsiteY8846"/>
                </a:cxn>
                <a:cxn ang="0">
                  <a:pos x="connsiteX8847" y="connsiteY8847"/>
                </a:cxn>
                <a:cxn ang="0">
                  <a:pos x="connsiteX8848" y="connsiteY8848"/>
                </a:cxn>
                <a:cxn ang="0">
                  <a:pos x="connsiteX8849" y="connsiteY8849"/>
                </a:cxn>
                <a:cxn ang="0">
                  <a:pos x="connsiteX8850" y="connsiteY8850"/>
                </a:cxn>
                <a:cxn ang="0">
                  <a:pos x="connsiteX8851" y="connsiteY8851"/>
                </a:cxn>
                <a:cxn ang="0">
                  <a:pos x="connsiteX8852" y="connsiteY8852"/>
                </a:cxn>
                <a:cxn ang="0">
                  <a:pos x="connsiteX8853" y="connsiteY8853"/>
                </a:cxn>
                <a:cxn ang="0">
                  <a:pos x="connsiteX8854" y="connsiteY8854"/>
                </a:cxn>
                <a:cxn ang="0">
                  <a:pos x="connsiteX8855" y="connsiteY8855"/>
                </a:cxn>
                <a:cxn ang="0">
                  <a:pos x="connsiteX8856" y="connsiteY8856"/>
                </a:cxn>
                <a:cxn ang="0">
                  <a:pos x="connsiteX8857" y="connsiteY8857"/>
                </a:cxn>
                <a:cxn ang="0">
                  <a:pos x="connsiteX8858" y="connsiteY8858"/>
                </a:cxn>
                <a:cxn ang="0">
                  <a:pos x="connsiteX8859" y="connsiteY8859"/>
                </a:cxn>
                <a:cxn ang="0">
                  <a:pos x="connsiteX8860" y="connsiteY8860"/>
                </a:cxn>
                <a:cxn ang="0">
                  <a:pos x="connsiteX8861" y="connsiteY8861"/>
                </a:cxn>
                <a:cxn ang="0">
                  <a:pos x="connsiteX8862" y="connsiteY8862"/>
                </a:cxn>
                <a:cxn ang="0">
                  <a:pos x="connsiteX8863" y="connsiteY8863"/>
                </a:cxn>
                <a:cxn ang="0">
                  <a:pos x="connsiteX8864" y="connsiteY8864"/>
                </a:cxn>
                <a:cxn ang="0">
                  <a:pos x="connsiteX8865" y="connsiteY8865"/>
                </a:cxn>
                <a:cxn ang="0">
                  <a:pos x="connsiteX8866" y="connsiteY8866"/>
                </a:cxn>
                <a:cxn ang="0">
                  <a:pos x="connsiteX8867" y="connsiteY8867"/>
                </a:cxn>
                <a:cxn ang="0">
                  <a:pos x="connsiteX8868" y="connsiteY8868"/>
                </a:cxn>
                <a:cxn ang="0">
                  <a:pos x="connsiteX8869" y="connsiteY8869"/>
                </a:cxn>
                <a:cxn ang="0">
                  <a:pos x="connsiteX8870" y="connsiteY8870"/>
                </a:cxn>
                <a:cxn ang="0">
                  <a:pos x="connsiteX8871" y="connsiteY8871"/>
                </a:cxn>
                <a:cxn ang="0">
                  <a:pos x="connsiteX8872" y="connsiteY8872"/>
                </a:cxn>
                <a:cxn ang="0">
                  <a:pos x="connsiteX8873" y="connsiteY8873"/>
                </a:cxn>
                <a:cxn ang="0">
                  <a:pos x="connsiteX8874" y="connsiteY8874"/>
                </a:cxn>
                <a:cxn ang="0">
                  <a:pos x="connsiteX8875" y="connsiteY8875"/>
                </a:cxn>
                <a:cxn ang="0">
                  <a:pos x="connsiteX8876" y="connsiteY8876"/>
                </a:cxn>
                <a:cxn ang="0">
                  <a:pos x="connsiteX8877" y="connsiteY8877"/>
                </a:cxn>
                <a:cxn ang="0">
                  <a:pos x="connsiteX8878" y="connsiteY8878"/>
                </a:cxn>
                <a:cxn ang="0">
                  <a:pos x="connsiteX8879" y="connsiteY8879"/>
                </a:cxn>
                <a:cxn ang="0">
                  <a:pos x="connsiteX8880" y="connsiteY8880"/>
                </a:cxn>
                <a:cxn ang="0">
                  <a:pos x="connsiteX8881" y="connsiteY8881"/>
                </a:cxn>
                <a:cxn ang="0">
                  <a:pos x="connsiteX8882" y="connsiteY8882"/>
                </a:cxn>
                <a:cxn ang="0">
                  <a:pos x="connsiteX8883" y="connsiteY8883"/>
                </a:cxn>
                <a:cxn ang="0">
                  <a:pos x="connsiteX8884" y="connsiteY8884"/>
                </a:cxn>
                <a:cxn ang="0">
                  <a:pos x="connsiteX8885" y="connsiteY8885"/>
                </a:cxn>
                <a:cxn ang="0">
                  <a:pos x="connsiteX8886" y="connsiteY8886"/>
                </a:cxn>
                <a:cxn ang="0">
                  <a:pos x="connsiteX8887" y="connsiteY8887"/>
                </a:cxn>
                <a:cxn ang="0">
                  <a:pos x="connsiteX8888" y="connsiteY8888"/>
                </a:cxn>
                <a:cxn ang="0">
                  <a:pos x="connsiteX8889" y="connsiteY8889"/>
                </a:cxn>
                <a:cxn ang="0">
                  <a:pos x="connsiteX8890" y="connsiteY8890"/>
                </a:cxn>
                <a:cxn ang="0">
                  <a:pos x="connsiteX8891" y="connsiteY8891"/>
                </a:cxn>
                <a:cxn ang="0">
                  <a:pos x="connsiteX8892" y="connsiteY8892"/>
                </a:cxn>
                <a:cxn ang="0">
                  <a:pos x="connsiteX8893" y="connsiteY8893"/>
                </a:cxn>
                <a:cxn ang="0">
                  <a:pos x="connsiteX8894" y="connsiteY8894"/>
                </a:cxn>
                <a:cxn ang="0">
                  <a:pos x="connsiteX8895" y="connsiteY8895"/>
                </a:cxn>
                <a:cxn ang="0">
                  <a:pos x="connsiteX8896" y="connsiteY8896"/>
                </a:cxn>
                <a:cxn ang="0">
                  <a:pos x="connsiteX8897" y="connsiteY8897"/>
                </a:cxn>
                <a:cxn ang="0">
                  <a:pos x="connsiteX8898" y="connsiteY8898"/>
                </a:cxn>
                <a:cxn ang="0">
                  <a:pos x="connsiteX8899" y="connsiteY8899"/>
                </a:cxn>
                <a:cxn ang="0">
                  <a:pos x="connsiteX8900" y="connsiteY8900"/>
                </a:cxn>
                <a:cxn ang="0">
                  <a:pos x="connsiteX8901" y="connsiteY8901"/>
                </a:cxn>
                <a:cxn ang="0">
                  <a:pos x="connsiteX8902" y="connsiteY8902"/>
                </a:cxn>
                <a:cxn ang="0">
                  <a:pos x="connsiteX8903" y="connsiteY8903"/>
                </a:cxn>
                <a:cxn ang="0">
                  <a:pos x="connsiteX8904" y="connsiteY8904"/>
                </a:cxn>
                <a:cxn ang="0">
                  <a:pos x="connsiteX8905" y="connsiteY8905"/>
                </a:cxn>
                <a:cxn ang="0">
                  <a:pos x="connsiteX8906" y="connsiteY8906"/>
                </a:cxn>
                <a:cxn ang="0">
                  <a:pos x="connsiteX8907" y="connsiteY8907"/>
                </a:cxn>
                <a:cxn ang="0">
                  <a:pos x="connsiteX8908" y="connsiteY8908"/>
                </a:cxn>
                <a:cxn ang="0">
                  <a:pos x="connsiteX8909" y="connsiteY8909"/>
                </a:cxn>
                <a:cxn ang="0">
                  <a:pos x="connsiteX8910" y="connsiteY8910"/>
                </a:cxn>
                <a:cxn ang="0">
                  <a:pos x="connsiteX8911" y="connsiteY8911"/>
                </a:cxn>
                <a:cxn ang="0">
                  <a:pos x="connsiteX8912" y="connsiteY8912"/>
                </a:cxn>
                <a:cxn ang="0">
                  <a:pos x="connsiteX8913" y="connsiteY8913"/>
                </a:cxn>
                <a:cxn ang="0">
                  <a:pos x="connsiteX8914" y="connsiteY8914"/>
                </a:cxn>
                <a:cxn ang="0">
                  <a:pos x="connsiteX8915" y="connsiteY8915"/>
                </a:cxn>
                <a:cxn ang="0">
                  <a:pos x="connsiteX8916" y="connsiteY8916"/>
                </a:cxn>
                <a:cxn ang="0">
                  <a:pos x="connsiteX8917" y="connsiteY8917"/>
                </a:cxn>
                <a:cxn ang="0">
                  <a:pos x="connsiteX8918" y="connsiteY8918"/>
                </a:cxn>
                <a:cxn ang="0">
                  <a:pos x="connsiteX8919" y="connsiteY8919"/>
                </a:cxn>
                <a:cxn ang="0">
                  <a:pos x="connsiteX8920" y="connsiteY8920"/>
                </a:cxn>
                <a:cxn ang="0">
                  <a:pos x="connsiteX8921" y="connsiteY8921"/>
                </a:cxn>
                <a:cxn ang="0">
                  <a:pos x="connsiteX8922" y="connsiteY8922"/>
                </a:cxn>
                <a:cxn ang="0">
                  <a:pos x="connsiteX8923" y="connsiteY8923"/>
                </a:cxn>
                <a:cxn ang="0">
                  <a:pos x="connsiteX8924" y="connsiteY8924"/>
                </a:cxn>
                <a:cxn ang="0">
                  <a:pos x="connsiteX8925" y="connsiteY8925"/>
                </a:cxn>
                <a:cxn ang="0">
                  <a:pos x="connsiteX8926" y="connsiteY8926"/>
                </a:cxn>
                <a:cxn ang="0">
                  <a:pos x="connsiteX8927" y="connsiteY8927"/>
                </a:cxn>
                <a:cxn ang="0">
                  <a:pos x="connsiteX8928" y="connsiteY8928"/>
                </a:cxn>
                <a:cxn ang="0">
                  <a:pos x="connsiteX8929" y="connsiteY8929"/>
                </a:cxn>
                <a:cxn ang="0">
                  <a:pos x="connsiteX8930" y="connsiteY8930"/>
                </a:cxn>
                <a:cxn ang="0">
                  <a:pos x="connsiteX8931" y="connsiteY8931"/>
                </a:cxn>
                <a:cxn ang="0">
                  <a:pos x="connsiteX8932" y="connsiteY8932"/>
                </a:cxn>
                <a:cxn ang="0">
                  <a:pos x="connsiteX8933" y="connsiteY8933"/>
                </a:cxn>
                <a:cxn ang="0">
                  <a:pos x="connsiteX8934" y="connsiteY8934"/>
                </a:cxn>
                <a:cxn ang="0">
                  <a:pos x="connsiteX8935" y="connsiteY8935"/>
                </a:cxn>
                <a:cxn ang="0">
                  <a:pos x="connsiteX8936" y="connsiteY8936"/>
                </a:cxn>
                <a:cxn ang="0">
                  <a:pos x="connsiteX8937" y="connsiteY8937"/>
                </a:cxn>
                <a:cxn ang="0">
                  <a:pos x="connsiteX8938" y="connsiteY8938"/>
                </a:cxn>
                <a:cxn ang="0">
                  <a:pos x="connsiteX8939" y="connsiteY8939"/>
                </a:cxn>
                <a:cxn ang="0">
                  <a:pos x="connsiteX8940" y="connsiteY8940"/>
                </a:cxn>
                <a:cxn ang="0">
                  <a:pos x="connsiteX8941" y="connsiteY8941"/>
                </a:cxn>
                <a:cxn ang="0">
                  <a:pos x="connsiteX8942" y="connsiteY8942"/>
                </a:cxn>
                <a:cxn ang="0">
                  <a:pos x="connsiteX8943" y="connsiteY8943"/>
                </a:cxn>
                <a:cxn ang="0">
                  <a:pos x="connsiteX8944" y="connsiteY8944"/>
                </a:cxn>
                <a:cxn ang="0">
                  <a:pos x="connsiteX8945" y="connsiteY8945"/>
                </a:cxn>
                <a:cxn ang="0">
                  <a:pos x="connsiteX8946" y="connsiteY8946"/>
                </a:cxn>
                <a:cxn ang="0">
                  <a:pos x="connsiteX8947" y="connsiteY8947"/>
                </a:cxn>
                <a:cxn ang="0">
                  <a:pos x="connsiteX8948" y="connsiteY8948"/>
                </a:cxn>
                <a:cxn ang="0">
                  <a:pos x="connsiteX8949" y="connsiteY8949"/>
                </a:cxn>
                <a:cxn ang="0">
                  <a:pos x="connsiteX8950" y="connsiteY8950"/>
                </a:cxn>
                <a:cxn ang="0">
                  <a:pos x="connsiteX8951" y="connsiteY8951"/>
                </a:cxn>
                <a:cxn ang="0">
                  <a:pos x="connsiteX8952" y="connsiteY8952"/>
                </a:cxn>
                <a:cxn ang="0">
                  <a:pos x="connsiteX8953" y="connsiteY8953"/>
                </a:cxn>
                <a:cxn ang="0">
                  <a:pos x="connsiteX8954" y="connsiteY8954"/>
                </a:cxn>
                <a:cxn ang="0">
                  <a:pos x="connsiteX8955" y="connsiteY8955"/>
                </a:cxn>
                <a:cxn ang="0">
                  <a:pos x="connsiteX8956" y="connsiteY8956"/>
                </a:cxn>
                <a:cxn ang="0">
                  <a:pos x="connsiteX8957" y="connsiteY8957"/>
                </a:cxn>
                <a:cxn ang="0">
                  <a:pos x="connsiteX8958" y="connsiteY8958"/>
                </a:cxn>
                <a:cxn ang="0">
                  <a:pos x="connsiteX8959" y="connsiteY8959"/>
                </a:cxn>
                <a:cxn ang="0">
                  <a:pos x="connsiteX8960" y="connsiteY8960"/>
                </a:cxn>
                <a:cxn ang="0">
                  <a:pos x="connsiteX8961" y="connsiteY8961"/>
                </a:cxn>
                <a:cxn ang="0">
                  <a:pos x="connsiteX8962" y="connsiteY8962"/>
                </a:cxn>
                <a:cxn ang="0">
                  <a:pos x="connsiteX8963" y="connsiteY8963"/>
                </a:cxn>
                <a:cxn ang="0">
                  <a:pos x="connsiteX8964" y="connsiteY8964"/>
                </a:cxn>
                <a:cxn ang="0">
                  <a:pos x="connsiteX8965" y="connsiteY8965"/>
                </a:cxn>
                <a:cxn ang="0">
                  <a:pos x="connsiteX8966" y="connsiteY8966"/>
                </a:cxn>
                <a:cxn ang="0">
                  <a:pos x="connsiteX8967" y="connsiteY8967"/>
                </a:cxn>
                <a:cxn ang="0">
                  <a:pos x="connsiteX8968" y="connsiteY8968"/>
                </a:cxn>
                <a:cxn ang="0">
                  <a:pos x="connsiteX8969" y="connsiteY8969"/>
                </a:cxn>
                <a:cxn ang="0">
                  <a:pos x="connsiteX8970" y="connsiteY8970"/>
                </a:cxn>
                <a:cxn ang="0">
                  <a:pos x="connsiteX8971" y="connsiteY8971"/>
                </a:cxn>
                <a:cxn ang="0">
                  <a:pos x="connsiteX8972" y="connsiteY8972"/>
                </a:cxn>
                <a:cxn ang="0">
                  <a:pos x="connsiteX8973" y="connsiteY8973"/>
                </a:cxn>
                <a:cxn ang="0">
                  <a:pos x="connsiteX8974" y="connsiteY8974"/>
                </a:cxn>
                <a:cxn ang="0">
                  <a:pos x="connsiteX8975" y="connsiteY8975"/>
                </a:cxn>
                <a:cxn ang="0">
                  <a:pos x="connsiteX8976" y="connsiteY8976"/>
                </a:cxn>
                <a:cxn ang="0">
                  <a:pos x="connsiteX8977" y="connsiteY8977"/>
                </a:cxn>
                <a:cxn ang="0">
                  <a:pos x="connsiteX8978" y="connsiteY8978"/>
                </a:cxn>
                <a:cxn ang="0">
                  <a:pos x="connsiteX8979" y="connsiteY8979"/>
                </a:cxn>
                <a:cxn ang="0">
                  <a:pos x="connsiteX8980" y="connsiteY8980"/>
                </a:cxn>
                <a:cxn ang="0">
                  <a:pos x="connsiteX8981" y="connsiteY8981"/>
                </a:cxn>
                <a:cxn ang="0">
                  <a:pos x="connsiteX8982" y="connsiteY8982"/>
                </a:cxn>
                <a:cxn ang="0">
                  <a:pos x="connsiteX8983" y="connsiteY8983"/>
                </a:cxn>
                <a:cxn ang="0">
                  <a:pos x="connsiteX8984" y="connsiteY8984"/>
                </a:cxn>
                <a:cxn ang="0">
                  <a:pos x="connsiteX8985" y="connsiteY8985"/>
                </a:cxn>
                <a:cxn ang="0">
                  <a:pos x="connsiteX8986" y="connsiteY8986"/>
                </a:cxn>
                <a:cxn ang="0">
                  <a:pos x="connsiteX8987" y="connsiteY8987"/>
                </a:cxn>
                <a:cxn ang="0">
                  <a:pos x="connsiteX8988" y="connsiteY8988"/>
                </a:cxn>
                <a:cxn ang="0">
                  <a:pos x="connsiteX8989" y="connsiteY8989"/>
                </a:cxn>
                <a:cxn ang="0">
                  <a:pos x="connsiteX8990" y="connsiteY8990"/>
                </a:cxn>
                <a:cxn ang="0">
                  <a:pos x="connsiteX8991" y="connsiteY8991"/>
                </a:cxn>
                <a:cxn ang="0">
                  <a:pos x="connsiteX8992" y="connsiteY8992"/>
                </a:cxn>
                <a:cxn ang="0">
                  <a:pos x="connsiteX8993" y="connsiteY8993"/>
                </a:cxn>
                <a:cxn ang="0">
                  <a:pos x="connsiteX8994" y="connsiteY8994"/>
                </a:cxn>
                <a:cxn ang="0">
                  <a:pos x="connsiteX8995" y="connsiteY8995"/>
                </a:cxn>
                <a:cxn ang="0">
                  <a:pos x="connsiteX8996" y="connsiteY8996"/>
                </a:cxn>
                <a:cxn ang="0">
                  <a:pos x="connsiteX8997" y="connsiteY8997"/>
                </a:cxn>
                <a:cxn ang="0">
                  <a:pos x="connsiteX8998" y="connsiteY8998"/>
                </a:cxn>
                <a:cxn ang="0">
                  <a:pos x="connsiteX8999" y="connsiteY8999"/>
                </a:cxn>
                <a:cxn ang="0">
                  <a:pos x="connsiteX9000" y="connsiteY9000"/>
                </a:cxn>
                <a:cxn ang="0">
                  <a:pos x="connsiteX9001" y="connsiteY9001"/>
                </a:cxn>
                <a:cxn ang="0">
                  <a:pos x="connsiteX9002" y="connsiteY9002"/>
                </a:cxn>
                <a:cxn ang="0">
                  <a:pos x="connsiteX9003" y="connsiteY9003"/>
                </a:cxn>
                <a:cxn ang="0">
                  <a:pos x="connsiteX9004" y="connsiteY9004"/>
                </a:cxn>
                <a:cxn ang="0">
                  <a:pos x="connsiteX9005" y="connsiteY9005"/>
                </a:cxn>
                <a:cxn ang="0">
                  <a:pos x="connsiteX9006" y="connsiteY9006"/>
                </a:cxn>
                <a:cxn ang="0">
                  <a:pos x="connsiteX9007" y="connsiteY9007"/>
                </a:cxn>
                <a:cxn ang="0">
                  <a:pos x="connsiteX9008" y="connsiteY9008"/>
                </a:cxn>
                <a:cxn ang="0">
                  <a:pos x="connsiteX9009" y="connsiteY9009"/>
                </a:cxn>
                <a:cxn ang="0">
                  <a:pos x="connsiteX9010" y="connsiteY9010"/>
                </a:cxn>
                <a:cxn ang="0">
                  <a:pos x="connsiteX9011" y="connsiteY9011"/>
                </a:cxn>
                <a:cxn ang="0">
                  <a:pos x="connsiteX9012" y="connsiteY9012"/>
                </a:cxn>
                <a:cxn ang="0">
                  <a:pos x="connsiteX9013" y="connsiteY9013"/>
                </a:cxn>
                <a:cxn ang="0">
                  <a:pos x="connsiteX9014" y="connsiteY9014"/>
                </a:cxn>
                <a:cxn ang="0">
                  <a:pos x="connsiteX9015" y="connsiteY9015"/>
                </a:cxn>
                <a:cxn ang="0">
                  <a:pos x="connsiteX9016" y="connsiteY9016"/>
                </a:cxn>
                <a:cxn ang="0">
                  <a:pos x="connsiteX9017" y="connsiteY9017"/>
                </a:cxn>
                <a:cxn ang="0">
                  <a:pos x="connsiteX9018" y="connsiteY9018"/>
                </a:cxn>
                <a:cxn ang="0">
                  <a:pos x="connsiteX9019" y="connsiteY9019"/>
                </a:cxn>
                <a:cxn ang="0">
                  <a:pos x="connsiteX9020" y="connsiteY9020"/>
                </a:cxn>
                <a:cxn ang="0">
                  <a:pos x="connsiteX9021" y="connsiteY9021"/>
                </a:cxn>
                <a:cxn ang="0">
                  <a:pos x="connsiteX9022" y="connsiteY9022"/>
                </a:cxn>
                <a:cxn ang="0">
                  <a:pos x="connsiteX9023" y="connsiteY9023"/>
                </a:cxn>
                <a:cxn ang="0">
                  <a:pos x="connsiteX9024" y="connsiteY9024"/>
                </a:cxn>
                <a:cxn ang="0">
                  <a:pos x="connsiteX9025" y="connsiteY9025"/>
                </a:cxn>
                <a:cxn ang="0">
                  <a:pos x="connsiteX9026" y="connsiteY9026"/>
                </a:cxn>
                <a:cxn ang="0">
                  <a:pos x="connsiteX9027" y="connsiteY9027"/>
                </a:cxn>
                <a:cxn ang="0">
                  <a:pos x="connsiteX9028" y="connsiteY9028"/>
                </a:cxn>
                <a:cxn ang="0">
                  <a:pos x="connsiteX9029" y="connsiteY9029"/>
                </a:cxn>
                <a:cxn ang="0">
                  <a:pos x="connsiteX9030" y="connsiteY9030"/>
                </a:cxn>
                <a:cxn ang="0">
                  <a:pos x="connsiteX9031" y="connsiteY9031"/>
                </a:cxn>
                <a:cxn ang="0">
                  <a:pos x="connsiteX9032" y="connsiteY9032"/>
                </a:cxn>
                <a:cxn ang="0">
                  <a:pos x="connsiteX9033" y="connsiteY9033"/>
                </a:cxn>
                <a:cxn ang="0">
                  <a:pos x="connsiteX9034" y="connsiteY9034"/>
                </a:cxn>
                <a:cxn ang="0">
                  <a:pos x="connsiteX9035" y="connsiteY9035"/>
                </a:cxn>
                <a:cxn ang="0">
                  <a:pos x="connsiteX9036" y="connsiteY9036"/>
                </a:cxn>
                <a:cxn ang="0">
                  <a:pos x="connsiteX9037" y="connsiteY9037"/>
                </a:cxn>
                <a:cxn ang="0">
                  <a:pos x="connsiteX9038" y="connsiteY9038"/>
                </a:cxn>
                <a:cxn ang="0">
                  <a:pos x="connsiteX9039" y="connsiteY9039"/>
                </a:cxn>
                <a:cxn ang="0">
                  <a:pos x="connsiteX9040" y="connsiteY9040"/>
                </a:cxn>
                <a:cxn ang="0">
                  <a:pos x="connsiteX9041" y="connsiteY9041"/>
                </a:cxn>
                <a:cxn ang="0">
                  <a:pos x="connsiteX9042" y="connsiteY9042"/>
                </a:cxn>
                <a:cxn ang="0">
                  <a:pos x="connsiteX9043" y="connsiteY9043"/>
                </a:cxn>
                <a:cxn ang="0">
                  <a:pos x="connsiteX9044" y="connsiteY9044"/>
                </a:cxn>
                <a:cxn ang="0">
                  <a:pos x="connsiteX9045" y="connsiteY9045"/>
                </a:cxn>
                <a:cxn ang="0">
                  <a:pos x="connsiteX9046" y="connsiteY9046"/>
                </a:cxn>
                <a:cxn ang="0">
                  <a:pos x="connsiteX9047" y="connsiteY9047"/>
                </a:cxn>
                <a:cxn ang="0">
                  <a:pos x="connsiteX9048" y="connsiteY9048"/>
                </a:cxn>
                <a:cxn ang="0">
                  <a:pos x="connsiteX9049" y="connsiteY9049"/>
                </a:cxn>
                <a:cxn ang="0">
                  <a:pos x="connsiteX9050" y="connsiteY9050"/>
                </a:cxn>
                <a:cxn ang="0">
                  <a:pos x="connsiteX9051" y="connsiteY9051"/>
                </a:cxn>
                <a:cxn ang="0">
                  <a:pos x="connsiteX9052" y="connsiteY9052"/>
                </a:cxn>
                <a:cxn ang="0">
                  <a:pos x="connsiteX9053" y="connsiteY9053"/>
                </a:cxn>
                <a:cxn ang="0">
                  <a:pos x="connsiteX9054" y="connsiteY9054"/>
                </a:cxn>
                <a:cxn ang="0">
                  <a:pos x="connsiteX9055" y="connsiteY9055"/>
                </a:cxn>
                <a:cxn ang="0">
                  <a:pos x="connsiteX9056" y="connsiteY9056"/>
                </a:cxn>
                <a:cxn ang="0">
                  <a:pos x="connsiteX9057" y="connsiteY9057"/>
                </a:cxn>
                <a:cxn ang="0">
                  <a:pos x="connsiteX9058" y="connsiteY9058"/>
                </a:cxn>
                <a:cxn ang="0">
                  <a:pos x="connsiteX9059" y="connsiteY9059"/>
                </a:cxn>
                <a:cxn ang="0">
                  <a:pos x="connsiteX9060" y="connsiteY9060"/>
                </a:cxn>
                <a:cxn ang="0">
                  <a:pos x="connsiteX9061" y="connsiteY9061"/>
                </a:cxn>
                <a:cxn ang="0">
                  <a:pos x="connsiteX9062" y="connsiteY9062"/>
                </a:cxn>
                <a:cxn ang="0">
                  <a:pos x="connsiteX9063" y="connsiteY9063"/>
                </a:cxn>
                <a:cxn ang="0">
                  <a:pos x="connsiteX9064" y="connsiteY9064"/>
                </a:cxn>
                <a:cxn ang="0">
                  <a:pos x="connsiteX9065" y="connsiteY9065"/>
                </a:cxn>
                <a:cxn ang="0">
                  <a:pos x="connsiteX9066" y="connsiteY9066"/>
                </a:cxn>
                <a:cxn ang="0">
                  <a:pos x="connsiteX9067" y="connsiteY9067"/>
                </a:cxn>
                <a:cxn ang="0">
                  <a:pos x="connsiteX9068" y="connsiteY9068"/>
                </a:cxn>
                <a:cxn ang="0">
                  <a:pos x="connsiteX9069" y="connsiteY9069"/>
                </a:cxn>
                <a:cxn ang="0">
                  <a:pos x="connsiteX9070" y="connsiteY9070"/>
                </a:cxn>
                <a:cxn ang="0">
                  <a:pos x="connsiteX9071" y="connsiteY9071"/>
                </a:cxn>
                <a:cxn ang="0">
                  <a:pos x="connsiteX9072" y="connsiteY9072"/>
                </a:cxn>
                <a:cxn ang="0">
                  <a:pos x="connsiteX9073" y="connsiteY9073"/>
                </a:cxn>
                <a:cxn ang="0">
                  <a:pos x="connsiteX9074" y="connsiteY9074"/>
                </a:cxn>
                <a:cxn ang="0">
                  <a:pos x="connsiteX9075" y="connsiteY9075"/>
                </a:cxn>
                <a:cxn ang="0">
                  <a:pos x="connsiteX9076" y="connsiteY9076"/>
                </a:cxn>
                <a:cxn ang="0">
                  <a:pos x="connsiteX9077" y="connsiteY9077"/>
                </a:cxn>
                <a:cxn ang="0">
                  <a:pos x="connsiteX9078" y="connsiteY9078"/>
                </a:cxn>
                <a:cxn ang="0">
                  <a:pos x="connsiteX9079" y="connsiteY9079"/>
                </a:cxn>
                <a:cxn ang="0">
                  <a:pos x="connsiteX9080" y="connsiteY9080"/>
                </a:cxn>
                <a:cxn ang="0">
                  <a:pos x="connsiteX9081" y="connsiteY9081"/>
                </a:cxn>
                <a:cxn ang="0">
                  <a:pos x="connsiteX9082" y="connsiteY9082"/>
                </a:cxn>
                <a:cxn ang="0">
                  <a:pos x="connsiteX9083" y="connsiteY9083"/>
                </a:cxn>
                <a:cxn ang="0">
                  <a:pos x="connsiteX9084" y="connsiteY9084"/>
                </a:cxn>
                <a:cxn ang="0">
                  <a:pos x="connsiteX9085" y="connsiteY9085"/>
                </a:cxn>
                <a:cxn ang="0">
                  <a:pos x="connsiteX9086" y="connsiteY9086"/>
                </a:cxn>
                <a:cxn ang="0">
                  <a:pos x="connsiteX9087" y="connsiteY9087"/>
                </a:cxn>
                <a:cxn ang="0">
                  <a:pos x="connsiteX9088" y="connsiteY9088"/>
                </a:cxn>
                <a:cxn ang="0">
                  <a:pos x="connsiteX9089" y="connsiteY9089"/>
                </a:cxn>
                <a:cxn ang="0">
                  <a:pos x="connsiteX9090" y="connsiteY9090"/>
                </a:cxn>
                <a:cxn ang="0">
                  <a:pos x="connsiteX9091" y="connsiteY9091"/>
                </a:cxn>
                <a:cxn ang="0">
                  <a:pos x="connsiteX9092" y="connsiteY9092"/>
                </a:cxn>
                <a:cxn ang="0">
                  <a:pos x="connsiteX9093" y="connsiteY9093"/>
                </a:cxn>
                <a:cxn ang="0">
                  <a:pos x="connsiteX9094" y="connsiteY9094"/>
                </a:cxn>
                <a:cxn ang="0">
                  <a:pos x="connsiteX9095" y="connsiteY9095"/>
                </a:cxn>
                <a:cxn ang="0">
                  <a:pos x="connsiteX9096" y="connsiteY9096"/>
                </a:cxn>
                <a:cxn ang="0">
                  <a:pos x="connsiteX9097" y="connsiteY9097"/>
                </a:cxn>
                <a:cxn ang="0">
                  <a:pos x="connsiteX9098" y="connsiteY9098"/>
                </a:cxn>
                <a:cxn ang="0">
                  <a:pos x="connsiteX9099" y="connsiteY9099"/>
                </a:cxn>
                <a:cxn ang="0">
                  <a:pos x="connsiteX9100" y="connsiteY9100"/>
                </a:cxn>
                <a:cxn ang="0">
                  <a:pos x="connsiteX9101" y="connsiteY9101"/>
                </a:cxn>
                <a:cxn ang="0">
                  <a:pos x="connsiteX9102" y="connsiteY9102"/>
                </a:cxn>
                <a:cxn ang="0">
                  <a:pos x="connsiteX9103" y="connsiteY9103"/>
                </a:cxn>
                <a:cxn ang="0">
                  <a:pos x="connsiteX9104" y="connsiteY9104"/>
                </a:cxn>
                <a:cxn ang="0">
                  <a:pos x="connsiteX9105" y="connsiteY9105"/>
                </a:cxn>
                <a:cxn ang="0">
                  <a:pos x="connsiteX9106" y="connsiteY9106"/>
                </a:cxn>
                <a:cxn ang="0">
                  <a:pos x="connsiteX9107" y="connsiteY9107"/>
                </a:cxn>
                <a:cxn ang="0">
                  <a:pos x="connsiteX9108" y="connsiteY9108"/>
                </a:cxn>
                <a:cxn ang="0">
                  <a:pos x="connsiteX9109" y="connsiteY9109"/>
                </a:cxn>
                <a:cxn ang="0">
                  <a:pos x="connsiteX9110" y="connsiteY9110"/>
                </a:cxn>
                <a:cxn ang="0">
                  <a:pos x="connsiteX9111" y="connsiteY9111"/>
                </a:cxn>
                <a:cxn ang="0">
                  <a:pos x="connsiteX9112" y="connsiteY9112"/>
                </a:cxn>
                <a:cxn ang="0">
                  <a:pos x="connsiteX9113" y="connsiteY9113"/>
                </a:cxn>
                <a:cxn ang="0">
                  <a:pos x="connsiteX9114" y="connsiteY9114"/>
                </a:cxn>
                <a:cxn ang="0">
                  <a:pos x="connsiteX9115" y="connsiteY9115"/>
                </a:cxn>
                <a:cxn ang="0">
                  <a:pos x="connsiteX9116" y="connsiteY9116"/>
                </a:cxn>
                <a:cxn ang="0">
                  <a:pos x="connsiteX9117" y="connsiteY9117"/>
                </a:cxn>
                <a:cxn ang="0">
                  <a:pos x="connsiteX9118" y="connsiteY9118"/>
                </a:cxn>
                <a:cxn ang="0">
                  <a:pos x="connsiteX9119" y="connsiteY9119"/>
                </a:cxn>
                <a:cxn ang="0">
                  <a:pos x="connsiteX9120" y="connsiteY9120"/>
                </a:cxn>
                <a:cxn ang="0">
                  <a:pos x="connsiteX9121" y="connsiteY9121"/>
                </a:cxn>
                <a:cxn ang="0">
                  <a:pos x="connsiteX9122" y="connsiteY9122"/>
                </a:cxn>
                <a:cxn ang="0">
                  <a:pos x="connsiteX9123" y="connsiteY9123"/>
                </a:cxn>
                <a:cxn ang="0">
                  <a:pos x="connsiteX9124" y="connsiteY9124"/>
                </a:cxn>
                <a:cxn ang="0">
                  <a:pos x="connsiteX9125" y="connsiteY9125"/>
                </a:cxn>
                <a:cxn ang="0">
                  <a:pos x="connsiteX9126" y="connsiteY9126"/>
                </a:cxn>
                <a:cxn ang="0">
                  <a:pos x="connsiteX9127" y="connsiteY9127"/>
                </a:cxn>
                <a:cxn ang="0">
                  <a:pos x="connsiteX9128" y="connsiteY9128"/>
                </a:cxn>
                <a:cxn ang="0">
                  <a:pos x="connsiteX9129" y="connsiteY9129"/>
                </a:cxn>
                <a:cxn ang="0">
                  <a:pos x="connsiteX9130" y="connsiteY9130"/>
                </a:cxn>
                <a:cxn ang="0">
                  <a:pos x="connsiteX9131" y="connsiteY9131"/>
                </a:cxn>
                <a:cxn ang="0">
                  <a:pos x="connsiteX9132" y="connsiteY9132"/>
                </a:cxn>
                <a:cxn ang="0">
                  <a:pos x="connsiteX9133" y="connsiteY9133"/>
                </a:cxn>
                <a:cxn ang="0">
                  <a:pos x="connsiteX9134" y="connsiteY9134"/>
                </a:cxn>
                <a:cxn ang="0">
                  <a:pos x="connsiteX9135" y="connsiteY9135"/>
                </a:cxn>
                <a:cxn ang="0">
                  <a:pos x="connsiteX9136" y="connsiteY9136"/>
                </a:cxn>
                <a:cxn ang="0">
                  <a:pos x="connsiteX9137" y="connsiteY9137"/>
                </a:cxn>
                <a:cxn ang="0">
                  <a:pos x="connsiteX9138" y="connsiteY9138"/>
                </a:cxn>
                <a:cxn ang="0">
                  <a:pos x="connsiteX9139" y="connsiteY9139"/>
                </a:cxn>
                <a:cxn ang="0">
                  <a:pos x="connsiteX9140" y="connsiteY9140"/>
                </a:cxn>
                <a:cxn ang="0">
                  <a:pos x="connsiteX9141" y="connsiteY9141"/>
                </a:cxn>
                <a:cxn ang="0">
                  <a:pos x="connsiteX9142" y="connsiteY9142"/>
                </a:cxn>
                <a:cxn ang="0">
                  <a:pos x="connsiteX9143" y="connsiteY9143"/>
                </a:cxn>
                <a:cxn ang="0">
                  <a:pos x="connsiteX9144" y="connsiteY9144"/>
                </a:cxn>
                <a:cxn ang="0">
                  <a:pos x="connsiteX9145" y="connsiteY9145"/>
                </a:cxn>
                <a:cxn ang="0">
                  <a:pos x="connsiteX9146" y="connsiteY9146"/>
                </a:cxn>
                <a:cxn ang="0">
                  <a:pos x="connsiteX9147" y="connsiteY9147"/>
                </a:cxn>
                <a:cxn ang="0">
                  <a:pos x="connsiteX9148" y="connsiteY9148"/>
                </a:cxn>
                <a:cxn ang="0">
                  <a:pos x="connsiteX9149" y="connsiteY9149"/>
                </a:cxn>
                <a:cxn ang="0">
                  <a:pos x="connsiteX9150" y="connsiteY9150"/>
                </a:cxn>
                <a:cxn ang="0">
                  <a:pos x="connsiteX9151" y="connsiteY9151"/>
                </a:cxn>
                <a:cxn ang="0">
                  <a:pos x="connsiteX9152" y="connsiteY9152"/>
                </a:cxn>
                <a:cxn ang="0">
                  <a:pos x="connsiteX9153" y="connsiteY9153"/>
                </a:cxn>
                <a:cxn ang="0">
                  <a:pos x="connsiteX9154" y="connsiteY9154"/>
                </a:cxn>
                <a:cxn ang="0">
                  <a:pos x="connsiteX9155" y="connsiteY9155"/>
                </a:cxn>
                <a:cxn ang="0">
                  <a:pos x="connsiteX9156" y="connsiteY9156"/>
                </a:cxn>
                <a:cxn ang="0">
                  <a:pos x="connsiteX9157" y="connsiteY9157"/>
                </a:cxn>
                <a:cxn ang="0">
                  <a:pos x="connsiteX9158" y="connsiteY9158"/>
                </a:cxn>
                <a:cxn ang="0">
                  <a:pos x="connsiteX9159" y="connsiteY9159"/>
                </a:cxn>
                <a:cxn ang="0">
                  <a:pos x="connsiteX9160" y="connsiteY9160"/>
                </a:cxn>
                <a:cxn ang="0">
                  <a:pos x="connsiteX9161" y="connsiteY9161"/>
                </a:cxn>
                <a:cxn ang="0">
                  <a:pos x="connsiteX9162" y="connsiteY9162"/>
                </a:cxn>
                <a:cxn ang="0">
                  <a:pos x="connsiteX9163" y="connsiteY9163"/>
                </a:cxn>
                <a:cxn ang="0">
                  <a:pos x="connsiteX9164" y="connsiteY9164"/>
                </a:cxn>
                <a:cxn ang="0">
                  <a:pos x="connsiteX9165" y="connsiteY9165"/>
                </a:cxn>
                <a:cxn ang="0">
                  <a:pos x="connsiteX9166" y="connsiteY9166"/>
                </a:cxn>
                <a:cxn ang="0">
                  <a:pos x="connsiteX9167" y="connsiteY9167"/>
                </a:cxn>
                <a:cxn ang="0">
                  <a:pos x="connsiteX9168" y="connsiteY9168"/>
                </a:cxn>
                <a:cxn ang="0">
                  <a:pos x="connsiteX9169" y="connsiteY9169"/>
                </a:cxn>
                <a:cxn ang="0">
                  <a:pos x="connsiteX9170" y="connsiteY9170"/>
                </a:cxn>
                <a:cxn ang="0">
                  <a:pos x="connsiteX9171" y="connsiteY9171"/>
                </a:cxn>
                <a:cxn ang="0">
                  <a:pos x="connsiteX9172" y="connsiteY9172"/>
                </a:cxn>
                <a:cxn ang="0">
                  <a:pos x="connsiteX9173" y="connsiteY9173"/>
                </a:cxn>
                <a:cxn ang="0">
                  <a:pos x="connsiteX9174" y="connsiteY9174"/>
                </a:cxn>
                <a:cxn ang="0">
                  <a:pos x="connsiteX9175" y="connsiteY9175"/>
                </a:cxn>
                <a:cxn ang="0">
                  <a:pos x="connsiteX9176" y="connsiteY9176"/>
                </a:cxn>
                <a:cxn ang="0">
                  <a:pos x="connsiteX9177" y="connsiteY9177"/>
                </a:cxn>
                <a:cxn ang="0">
                  <a:pos x="connsiteX9178" y="connsiteY9178"/>
                </a:cxn>
                <a:cxn ang="0">
                  <a:pos x="connsiteX9179" y="connsiteY9179"/>
                </a:cxn>
                <a:cxn ang="0">
                  <a:pos x="connsiteX9180" y="connsiteY9180"/>
                </a:cxn>
                <a:cxn ang="0">
                  <a:pos x="connsiteX9181" y="connsiteY9181"/>
                </a:cxn>
                <a:cxn ang="0">
                  <a:pos x="connsiteX9182" y="connsiteY9182"/>
                </a:cxn>
                <a:cxn ang="0">
                  <a:pos x="connsiteX9183" y="connsiteY9183"/>
                </a:cxn>
                <a:cxn ang="0">
                  <a:pos x="connsiteX9184" y="connsiteY9184"/>
                </a:cxn>
                <a:cxn ang="0">
                  <a:pos x="connsiteX9185" y="connsiteY9185"/>
                </a:cxn>
                <a:cxn ang="0">
                  <a:pos x="connsiteX9186" y="connsiteY9186"/>
                </a:cxn>
                <a:cxn ang="0">
                  <a:pos x="connsiteX9187" y="connsiteY9187"/>
                </a:cxn>
                <a:cxn ang="0">
                  <a:pos x="connsiteX9188" y="connsiteY9188"/>
                </a:cxn>
                <a:cxn ang="0">
                  <a:pos x="connsiteX9189" y="connsiteY9189"/>
                </a:cxn>
                <a:cxn ang="0">
                  <a:pos x="connsiteX9190" y="connsiteY9190"/>
                </a:cxn>
                <a:cxn ang="0">
                  <a:pos x="connsiteX9191" y="connsiteY9191"/>
                </a:cxn>
                <a:cxn ang="0">
                  <a:pos x="connsiteX9192" y="connsiteY9192"/>
                </a:cxn>
                <a:cxn ang="0">
                  <a:pos x="connsiteX9193" y="connsiteY9193"/>
                </a:cxn>
                <a:cxn ang="0">
                  <a:pos x="connsiteX9194" y="connsiteY9194"/>
                </a:cxn>
                <a:cxn ang="0">
                  <a:pos x="connsiteX9195" y="connsiteY9195"/>
                </a:cxn>
                <a:cxn ang="0">
                  <a:pos x="connsiteX9196" y="connsiteY9196"/>
                </a:cxn>
                <a:cxn ang="0">
                  <a:pos x="connsiteX9197" y="connsiteY9197"/>
                </a:cxn>
                <a:cxn ang="0">
                  <a:pos x="connsiteX9198" y="connsiteY9198"/>
                </a:cxn>
                <a:cxn ang="0">
                  <a:pos x="connsiteX9199" y="connsiteY9199"/>
                </a:cxn>
                <a:cxn ang="0">
                  <a:pos x="connsiteX9200" y="connsiteY9200"/>
                </a:cxn>
                <a:cxn ang="0">
                  <a:pos x="connsiteX9201" y="connsiteY9201"/>
                </a:cxn>
                <a:cxn ang="0">
                  <a:pos x="connsiteX9202" y="connsiteY9202"/>
                </a:cxn>
                <a:cxn ang="0">
                  <a:pos x="connsiteX9203" y="connsiteY9203"/>
                </a:cxn>
                <a:cxn ang="0">
                  <a:pos x="connsiteX9204" y="connsiteY9204"/>
                </a:cxn>
                <a:cxn ang="0">
                  <a:pos x="connsiteX9205" y="connsiteY9205"/>
                </a:cxn>
                <a:cxn ang="0">
                  <a:pos x="connsiteX9206" y="connsiteY9206"/>
                </a:cxn>
                <a:cxn ang="0">
                  <a:pos x="connsiteX9207" y="connsiteY9207"/>
                </a:cxn>
                <a:cxn ang="0">
                  <a:pos x="connsiteX9208" y="connsiteY9208"/>
                </a:cxn>
                <a:cxn ang="0">
                  <a:pos x="connsiteX9209" y="connsiteY9209"/>
                </a:cxn>
                <a:cxn ang="0">
                  <a:pos x="connsiteX9210" y="connsiteY9210"/>
                </a:cxn>
                <a:cxn ang="0">
                  <a:pos x="connsiteX9211" y="connsiteY9211"/>
                </a:cxn>
                <a:cxn ang="0">
                  <a:pos x="connsiteX9212" y="connsiteY9212"/>
                </a:cxn>
                <a:cxn ang="0">
                  <a:pos x="connsiteX9213" y="connsiteY9213"/>
                </a:cxn>
                <a:cxn ang="0">
                  <a:pos x="connsiteX9214" y="connsiteY9214"/>
                </a:cxn>
                <a:cxn ang="0">
                  <a:pos x="connsiteX9215" y="connsiteY9215"/>
                </a:cxn>
                <a:cxn ang="0">
                  <a:pos x="connsiteX9216" y="connsiteY9216"/>
                </a:cxn>
                <a:cxn ang="0">
                  <a:pos x="connsiteX9217" y="connsiteY9217"/>
                </a:cxn>
                <a:cxn ang="0">
                  <a:pos x="connsiteX9218" y="connsiteY9218"/>
                </a:cxn>
                <a:cxn ang="0">
                  <a:pos x="connsiteX9219" y="connsiteY9219"/>
                </a:cxn>
                <a:cxn ang="0">
                  <a:pos x="connsiteX9220" y="connsiteY9220"/>
                </a:cxn>
                <a:cxn ang="0">
                  <a:pos x="connsiteX9221" y="connsiteY9221"/>
                </a:cxn>
                <a:cxn ang="0">
                  <a:pos x="connsiteX9222" y="connsiteY9222"/>
                </a:cxn>
                <a:cxn ang="0">
                  <a:pos x="connsiteX9223" y="connsiteY9223"/>
                </a:cxn>
                <a:cxn ang="0">
                  <a:pos x="connsiteX9224" y="connsiteY9224"/>
                </a:cxn>
                <a:cxn ang="0">
                  <a:pos x="connsiteX9225" y="connsiteY9225"/>
                </a:cxn>
                <a:cxn ang="0">
                  <a:pos x="connsiteX9226" y="connsiteY9226"/>
                </a:cxn>
                <a:cxn ang="0">
                  <a:pos x="connsiteX9227" y="connsiteY9227"/>
                </a:cxn>
                <a:cxn ang="0">
                  <a:pos x="connsiteX9228" y="connsiteY9228"/>
                </a:cxn>
                <a:cxn ang="0">
                  <a:pos x="connsiteX9229" y="connsiteY9229"/>
                </a:cxn>
                <a:cxn ang="0">
                  <a:pos x="connsiteX9230" y="connsiteY9230"/>
                </a:cxn>
                <a:cxn ang="0">
                  <a:pos x="connsiteX9231" y="connsiteY9231"/>
                </a:cxn>
                <a:cxn ang="0">
                  <a:pos x="connsiteX9232" y="connsiteY9232"/>
                </a:cxn>
                <a:cxn ang="0">
                  <a:pos x="connsiteX9233" y="connsiteY9233"/>
                </a:cxn>
                <a:cxn ang="0">
                  <a:pos x="connsiteX9234" y="connsiteY9234"/>
                </a:cxn>
                <a:cxn ang="0">
                  <a:pos x="connsiteX9235" y="connsiteY9235"/>
                </a:cxn>
                <a:cxn ang="0">
                  <a:pos x="connsiteX9236" y="connsiteY9236"/>
                </a:cxn>
                <a:cxn ang="0">
                  <a:pos x="connsiteX9237" y="connsiteY9237"/>
                </a:cxn>
                <a:cxn ang="0">
                  <a:pos x="connsiteX9238" y="connsiteY9238"/>
                </a:cxn>
                <a:cxn ang="0">
                  <a:pos x="connsiteX9239" y="connsiteY9239"/>
                </a:cxn>
                <a:cxn ang="0">
                  <a:pos x="connsiteX9240" y="connsiteY9240"/>
                </a:cxn>
                <a:cxn ang="0">
                  <a:pos x="connsiteX9241" y="connsiteY9241"/>
                </a:cxn>
                <a:cxn ang="0">
                  <a:pos x="connsiteX9242" y="connsiteY9242"/>
                </a:cxn>
                <a:cxn ang="0">
                  <a:pos x="connsiteX9243" y="connsiteY9243"/>
                </a:cxn>
                <a:cxn ang="0">
                  <a:pos x="connsiteX9244" y="connsiteY9244"/>
                </a:cxn>
                <a:cxn ang="0">
                  <a:pos x="connsiteX9245" y="connsiteY9245"/>
                </a:cxn>
                <a:cxn ang="0">
                  <a:pos x="connsiteX9246" y="connsiteY9246"/>
                </a:cxn>
                <a:cxn ang="0">
                  <a:pos x="connsiteX9247" y="connsiteY9247"/>
                </a:cxn>
                <a:cxn ang="0">
                  <a:pos x="connsiteX9248" y="connsiteY9248"/>
                </a:cxn>
                <a:cxn ang="0">
                  <a:pos x="connsiteX9249" y="connsiteY9249"/>
                </a:cxn>
                <a:cxn ang="0">
                  <a:pos x="connsiteX9250" y="connsiteY9250"/>
                </a:cxn>
                <a:cxn ang="0">
                  <a:pos x="connsiteX9251" y="connsiteY9251"/>
                </a:cxn>
                <a:cxn ang="0">
                  <a:pos x="connsiteX9252" y="connsiteY9252"/>
                </a:cxn>
                <a:cxn ang="0">
                  <a:pos x="connsiteX9253" y="connsiteY9253"/>
                </a:cxn>
                <a:cxn ang="0">
                  <a:pos x="connsiteX9254" y="connsiteY9254"/>
                </a:cxn>
                <a:cxn ang="0">
                  <a:pos x="connsiteX9255" y="connsiteY9255"/>
                </a:cxn>
                <a:cxn ang="0">
                  <a:pos x="connsiteX9256" y="connsiteY9256"/>
                </a:cxn>
                <a:cxn ang="0">
                  <a:pos x="connsiteX9257" y="connsiteY9257"/>
                </a:cxn>
                <a:cxn ang="0">
                  <a:pos x="connsiteX9258" y="connsiteY9258"/>
                </a:cxn>
                <a:cxn ang="0">
                  <a:pos x="connsiteX9259" y="connsiteY9259"/>
                </a:cxn>
                <a:cxn ang="0">
                  <a:pos x="connsiteX9260" y="connsiteY9260"/>
                </a:cxn>
                <a:cxn ang="0">
                  <a:pos x="connsiteX9261" y="connsiteY9261"/>
                </a:cxn>
                <a:cxn ang="0">
                  <a:pos x="connsiteX9262" y="connsiteY9262"/>
                </a:cxn>
                <a:cxn ang="0">
                  <a:pos x="connsiteX9263" y="connsiteY9263"/>
                </a:cxn>
                <a:cxn ang="0">
                  <a:pos x="connsiteX9264" y="connsiteY9264"/>
                </a:cxn>
                <a:cxn ang="0">
                  <a:pos x="connsiteX9265" y="connsiteY9265"/>
                </a:cxn>
                <a:cxn ang="0">
                  <a:pos x="connsiteX9266" y="connsiteY9266"/>
                </a:cxn>
                <a:cxn ang="0">
                  <a:pos x="connsiteX9267" y="connsiteY9267"/>
                </a:cxn>
                <a:cxn ang="0">
                  <a:pos x="connsiteX9268" y="connsiteY9268"/>
                </a:cxn>
                <a:cxn ang="0">
                  <a:pos x="connsiteX9269" y="connsiteY9269"/>
                </a:cxn>
                <a:cxn ang="0">
                  <a:pos x="connsiteX9270" y="connsiteY9270"/>
                </a:cxn>
                <a:cxn ang="0">
                  <a:pos x="connsiteX9271" y="connsiteY9271"/>
                </a:cxn>
                <a:cxn ang="0">
                  <a:pos x="connsiteX9272" y="connsiteY9272"/>
                </a:cxn>
                <a:cxn ang="0">
                  <a:pos x="connsiteX9273" y="connsiteY9273"/>
                </a:cxn>
                <a:cxn ang="0">
                  <a:pos x="connsiteX9274" y="connsiteY9274"/>
                </a:cxn>
                <a:cxn ang="0">
                  <a:pos x="connsiteX9275" y="connsiteY9275"/>
                </a:cxn>
                <a:cxn ang="0">
                  <a:pos x="connsiteX9276" y="connsiteY9276"/>
                </a:cxn>
                <a:cxn ang="0">
                  <a:pos x="connsiteX9277" y="connsiteY9277"/>
                </a:cxn>
                <a:cxn ang="0">
                  <a:pos x="connsiteX9278" y="connsiteY9278"/>
                </a:cxn>
                <a:cxn ang="0">
                  <a:pos x="connsiteX9279" y="connsiteY9279"/>
                </a:cxn>
                <a:cxn ang="0">
                  <a:pos x="connsiteX9280" y="connsiteY9280"/>
                </a:cxn>
                <a:cxn ang="0">
                  <a:pos x="connsiteX9281" y="connsiteY9281"/>
                </a:cxn>
                <a:cxn ang="0">
                  <a:pos x="connsiteX9282" y="connsiteY9282"/>
                </a:cxn>
                <a:cxn ang="0">
                  <a:pos x="connsiteX9283" y="connsiteY9283"/>
                </a:cxn>
                <a:cxn ang="0">
                  <a:pos x="connsiteX9284" y="connsiteY9284"/>
                </a:cxn>
                <a:cxn ang="0">
                  <a:pos x="connsiteX9285" y="connsiteY9285"/>
                </a:cxn>
                <a:cxn ang="0">
                  <a:pos x="connsiteX9286" y="connsiteY9286"/>
                </a:cxn>
                <a:cxn ang="0">
                  <a:pos x="connsiteX9287" y="connsiteY9287"/>
                </a:cxn>
                <a:cxn ang="0">
                  <a:pos x="connsiteX9288" y="connsiteY9288"/>
                </a:cxn>
                <a:cxn ang="0">
                  <a:pos x="connsiteX9289" y="connsiteY9289"/>
                </a:cxn>
                <a:cxn ang="0">
                  <a:pos x="connsiteX9290" y="connsiteY9290"/>
                </a:cxn>
                <a:cxn ang="0">
                  <a:pos x="connsiteX9291" y="connsiteY9291"/>
                </a:cxn>
                <a:cxn ang="0">
                  <a:pos x="connsiteX9292" y="connsiteY9292"/>
                </a:cxn>
                <a:cxn ang="0">
                  <a:pos x="connsiteX9293" y="connsiteY9293"/>
                </a:cxn>
                <a:cxn ang="0">
                  <a:pos x="connsiteX9294" y="connsiteY9294"/>
                </a:cxn>
                <a:cxn ang="0">
                  <a:pos x="connsiteX9295" y="connsiteY9295"/>
                </a:cxn>
                <a:cxn ang="0">
                  <a:pos x="connsiteX9296" y="connsiteY9296"/>
                </a:cxn>
                <a:cxn ang="0">
                  <a:pos x="connsiteX9297" y="connsiteY9297"/>
                </a:cxn>
                <a:cxn ang="0">
                  <a:pos x="connsiteX9298" y="connsiteY9298"/>
                </a:cxn>
                <a:cxn ang="0">
                  <a:pos x="connsiteX9299" y="connsiteY9299"/>
                </a:cxn>
                <a:cxn ang="0">
                  <a:pos x="connsiteX9300" y="connsiteY9300"/>
                </a:cxn>
                <a:cxn ang="0">
                  <a:pos x="connsiteX9301" y="connsiteY9301"/>
                </a:cxn>
                <a:cxn ang="0">
                  <a:pos x="connsiteX9302" y="connsiteY9302"/>
                </a:cxn>
                <a:cxn ang="0">
                  <a:pos x="connsiteX9303" y="connsiteY9303"/>
                </a:cxn>
                <a:cxn ang="0">
                  <a:pos x="connsiteX9304" y="connsiteY9304"/>
                </a:cxn>
                <a:cxn ang="0">
                  <a:pos x="connsiteX9305" y="connsiteY9305"/>
                </a:cxn>
                <a:cxn ang="0">
                  <a:pos x="connsiteX9306" y="connsiteY9306"/>
                </a:cxn>
                <a:cxn ang="0">
                  <a:pos x="connsiteX9307" y="connsiteY9307"/>
                </a:cxn>
                <a:cxn ang="0">
                  <a:pos x="connsiteX9308" y="connsiteY9308"/>
                </a:cxn>
                <a:cxn ang="0">
                  <a:pos x="connsiteX9309" y="connsiteY9309"/>
                </a:cxn>
                <a:cxn ang="0">
                  <a:pos x="connsiteX9310" y="connsiteY9310"/>
                </a:cxn>
                <a:cxn ang="0">
                  <a:pos x="connsiteX9311" y="connsiteY9311"/>
                </a:cxn>
                <a:cxn ang="0">
                  <a:pos x="connsiteX9312" y="connsiteY9312"/>
                </a:cxn>
                <a:cxn ang="0">
                  <a:pos x="connsiteX9313" y="connsiteY9313"/>
                </a:cxn>
                <a:cxn ang="0">
                  <a:pos x="connsiteX9314" y="connsiteY9314"/>
                </a:cxn>
                <a:cxn ang="0">
                  <a:pos x="connsiteX9315" y="connsiteY9315"/>
                </a:cxn>
                <a:cxn ang="0">
                  <a:pos x="connsiteX9316" y="connsiteY9316"/>
                </a:cxn>
                <a:cxn ang="0">
                  <a:pos x="connsiteX9317" y="connsiteY9317"/>
                </a:cxn>
                <a:cxn ang="0">
                  <a:pos x="connsiteX9318" y="connsiteY9318"/>
                </a:cxn>
                <a:cxn ang="0">
                  <a:pos x="connsiteX9319" y="connsiteY9319"/>
                </a:cxn>
                <a:cxn ang="0">
                  <a:pos x="connsiteX9320" y="connsiteY9320"/>
                </a:cxn>
                <a:cxn ang="0">
                  <a:pos x="connsiteX9321" y="connsiteY9321"/>
                </a:cxn>
                <a:cxn ang="0">
                  <a:pos x="connsiteX9322" y="connsiteY9322"/>
                </a:cxn>
                <a:cxn ang="0">
                  <a:pos x="connsiteX9323" y="connsiteY9323"/>
                </a:cxn>
                <a:cxn ang="0">
                  <a:pos x="connsiteX9324" y="connsiteY9324"/>
                </a:cxn>
                <a:cxn ang="0">
                  <a:pos x="connsiteX9325" y="connsiteY9325"/>
                </a:cxn>
                <a:cxn ang="0">
                  <a:pos x="connsiteX9326" y="connsiteY9326"/>
                </a:cxn>
                <a:cxn ang="0">
                  <a:pos x="connsiteX9327" y="connsiteY9327"/>
                </a:cxn>
                <a:cxn ang="0">
                  <a:pos x="connsiteX9328" y="connsiteY9328"/>
                </a:cxn>
                <a:cxn ang="0">
                  <a:pos x="connsiteX9329" y="connsiteY9329"/>
                </a:cxn>
                <a:cxn ang="0">
                  <a:pos x="connsiteX9330" y="connsiteY9330"/>
                </a:cxn>
                <a:cxn ang="0">
                  <a:pos x="connsiteX9331" y="connsiteY9331"/>
                </a:cxn>
                <a:cxn ang="0">
                  <a:pos x="connsiteX9332" y="connsiteY9332"/>
                </a:cxn>
                <a:cxn ang="0">
                  <a:pos x="connsiteX9333" y="connsiteY9333"/>
                </a:cxn>
                <a:cxn ang="0">
                  <a:pos x="connsiteX9334" y="connsiteY9334"/>
                </a:cxn>
                <a:cxn ang="0">
                  <a:pos x="connsiteX9335" y="connsiteY9335"/>
                </a:cxn>
                <a:cxn ang="0">
                  <a:pos x="connsiteX9336" y="connsiteY9336"/>
                </a:cxn>
                <a:cxn ang="0">
                  <a:pos x="connsiteX9337" y="connsiteY9337"/>
                </a:cxn>
                <a:cxn ang="0">
                  <a:pos x="connsiteX9338" y="connsiteY9338"/>
                </a:cxn>
                <a:cxn ang="0">
                  <a:pos x="connsiteX9339" y="connsiteY9339"/>
                </a:cxn>
                <a:cxn ang="0">
                  <a:pos x="connsiteX9340" y="connsiteY9340"/>
                </a:cxn>
                <a:cxn ang="0">
                  <a:pos x="connsiteX9341" y="connsiteY9341"/>
                </a:cxn>
                <a:cxn ang="0">
                  <a:pos x="connsiteX9342" y="connsiteY9342"/>
                </a:cxn>
                <a:cxn ang="0">
                  <a:pos x="connsiteX9343" y="connsiteY9343"/>
                </a:cxn>
                <a:cxn ang="0">
                  <a:pos x="connsiteX9344" y="connsiteY9344"/>
                </a:cxn>
                <a:cxn ang="0">
                  <a:pos x="connsiteX9345" y="connsiteY9345"/>
                </a:cxn>
                <a:cxn ang="0">
                  <a:pos x="connsiteX9346" y="connsiteY9346"/>
                </a:cxn>
                <a:cxn ang="0">
                  <a:pos x="connsiteX9347" y="connsiteY9347"/>
                </a:cxn>
                <a:cxn ang="0">
                  <a:pos x="connsiteX9348" y="connsiteY9348"/>
                </a:cxn>
                <a:cxn ang="0">
                  <a:pos x="connsiteX9349" y="connsiteY9349"/>
                </a:cxn>
                <a:cxn ang="0">
                  <a:pos x="connsiteX9350" y="connsiteY9350"/>
                </a:cxn>
                <a:cxn ang="0">
                  <a:pos x="connsiteX9351" y="connsiteY9351"/>
                </a:cxn>
                <a:cxn ang="0">
                  <a:pos x="connsiteX9352" y="connsiteY9352"/>
                </a:cxn>
                <a:cxn ang="0">
                  <a:pos x="connsiteX9353" y="connsiteY9353"/>
                </a:cxn>
                <a:cxn ang="0">
                  <a:pos x="connsiteX9354" y="connsiteY9354"/>
                </a:cxn>
                <a:cxn ang="0">
                  <a:pos x="connsiteX9355" y="connsiteY9355"/>
                </a:cxn>
                <a:cxn ang="0">
                  <a:pos x="connsiteX9356" y="connsiteY9356"/>
                </a:cxn>
                <a:cxn ang="0">
                  <a:pos x="connsiteX9357" y="connsiteY9357"/>
                </a:cxn>
                <a:cxn ang="0">
                  <a:pos x="connsiteX9358" y="connsiteY9358"/>
                </a:cxn>
                <a:cxn ang="0">
                  <a:pos x="connsiteX9359" y="connsiteY9359"/>
                </a:cxn>
                <a:cxn ang="0">
                  <a:pos x="connsiteX9360" y="connsiteY9360"/>
                </a:cxn>
                <a:cxn ang="0">
                  <a:pos x="connsiteX9361" y="connsiteY9361"/>
                </a:cxn>
                <a:cxn ang="0">
                  <a:pos x="connsiteX9362" y="connsiteY9362"/>
                </a:cxn>
                <a:cxn ang="0">
                  <a:pos x="connsiteX9363" y="connsiteY9363"/>
                </a:cxn>
                <a:cxn ang="0">
                  <a:pos x="connsiteX9364" y="connsiteY9364"/>
                </a:cxn>
                <a:cxn ang="0">
                  <a:pos x="connsiteX9365" y="connsiteY9365"/>
                </a:cxn>
                <a:cxn ang="0">
                  <a:pos x="connsiteX9366" y="connsiteY9366"/>
                </a:cxn>
                <a:cxn ang="0">
                  <a:pos x="connsiteX9367" y="connsiteY9367"/>
                </a:cxn>
                <a:cxn ang="0">
                  <a:pos x="connsiteX9368" y="connsiteY9368"/>
                </a:cxn>
                <a:cxn ang="0">
                  <a:pos x="connsiteX9369" y="connsiteY9369"/>
                </a:cxn>
                <a:cxn ang="0">
                  <a:pos x="connsiteX9370" y="connsiteY9370"/>
                </a:cxn>
                <a:cxn ang="0">
                  <a:pos x="connsiteX9371" y="connsiteY9371"/>
                </a:cxn>
                <a:cxn ang="0">
                  <a:pos x="connsiteX9372" y="connsiteY9372"/>
                </a:cxn>
                <a:cxn ang="0">
                  <a:pos x="connsiteX9373" y="connsiteY9373"/>
                </a:cxn>
                <a:cxn ang="0">
                  <a:pos x="connsiteX9374" y="connsiteY9374"/>
                </a:cxn>
                <a:cxn ang="0">
                  <a:pos x="connsiteX9375" y="connsiteY9375"/>
                </a:cxn>
                <a:cxn ang="0">
                  <a:pos x="connsiteX9376" y="connsiteY9376"/>
                </a:cxn>
                <a:cxn ang="0">
                  <a:pos x="connsiteX9377" y="connsiteY9377"/>
                </a:cxn>
                <a:cxn ang="0">
                  <a:pos x="connsiteX9378" y="connsiteY9378"/>
                </a:cxn>
                <a:cxn ang="0">
                  <a:pos x="connsiteX9379" y="connsiteY9379"/>
                </a:cxn>
                <a:cxn ang="0">
                  <a:pos x="connsiteX9380" y="connsiteY9380"/>
                </a:cxn>
                <a:cxn ang="0">
                  <a:pos x="connsiteX9381" y="connsiteY9381"/>
                </a:cxn>
                <a:cxn ang="0">
                  <a:pos x="connsiteX9382" y="connsiteY9382"/>
                </a:cxn>
                <a:cxn ang="0">
                  <a:pos x="connsiteX9383" y="connsiteY9383"/>
                </a:cxn>
                <a:cxn ang="0">
                  <a:pos x="connsiteX9384" y="connsiteY9384"/>
                </a:cxn>
                <a:cxn ang="0">
                  <a:pos x="connsiteX9385" y="connsiteY9385"/>
                </a:cxn>
                <a:cxn ang="0">
                  <a:pos x="connsiteX9386" y="connsiteY9386"/>
                </a:cxn>
                <a:cxn ang="0">
                  <a:pos x="connsiteX9387" y="connsiteY9387"/>
                </a:cxn>
                <a:cxn ang="0">
                  <a:pos x="connsiteX9388" y="connsiteY9388"/>
                </a:cxn>
                <a:cxn ang="0">
                  <a:pos x="connsiteX9389" y="connsiteY9389"/>
                </a:cxn>
                <a:cxn ang="0">
                  <a:pos x="connsiteX9390" y="connsiteY9390"/>
                </a:cxn>
                <a:cxn ang="0">
                  <a:pos x="connsiteX9391" y="connsiteY9391"/>
                </a:cxn>
                <a:cxn ang="0">
                  <a:pos x="connsiteX9392" y="connsiteY9392"/>
                </a:cxn>
                <a:cxn ang="0">
                  <a:pos x="connsiteX9393" y="connsiteY9393"/>
                </a:cxn>
                <a:cxn ang="0">
                  <a:pos x="connsiteX9394" y="connsiteY9394"/>
                </a:cxn>
                <a:cxn ang="0">
                  <a:pos x="connsiteX9395" y="connsiteY9395"/>
                </a:cxn>
                <a:cxn ang="0">
                  <a:pos x="connsiteX9396" y="connsiteY9396"/>
                </a:cxn>
                <a:cxn ang="0">
                  <a:pos x="connsiteX9397" y="connsiteY9397"/>
                </a:cxn>
                <a:cxn ang="0">
                  <a:pos x="connsiteX9398" y="connsiteY9398"/>
                </a:cxn>
                <a:cxn ang="0">
                  <a:pos x="connsiteX9399" y="connsiteY9399"/>
                </a:cxn>
                <a:cxn ang="0">
                  <a:pos x="connsiteX9400" y="connsiteY9400"/>
                </a:cxn>
                <a:cxn ang="0">
                  <a:pos x="connsiteX9401" y="connsiteY9401"/>
                </a:cxn>
                <a:cxn ang="0">
                  <a:pos x="connsiteX9402" y="connsiteY9402"/>
                </a:cxn>
                <a:cxn ang="0">
                  <a:pos x="connsiteX9403" y="connsiteY9403"/>
                </a:cxn>
                <a:cxn ang="0">
                  <a:pos x="connsiteX9404" y="connsiteY9404"/>
                </a:cxn>
                <a:cxn ang="0">
                  <a:pos x="connsiteX9405" y="connsiteY9405"/>
                </a:cxn>
                <a:cxn ang="0">
                  <a:pos x="connsiteX9406" y="connsiteY9406"/>
                </a:cxn>
                <a:cxn ang="0">
                  <a:pos x="connsiteX9407" y="connsiteY9407"/>
                </a:cxn>
                <a:cxn ang="0">
                  <a:pos x="connsiteX9408" y="connsiteY9408"/>
                </a:cxn>
                <a:cxn ang="0">
                  <a:pos x="connsiteX9409" y="connsiteY9409"/>
                </a:cxn>
                <a:cxn ang="0">
                  <a:pos x="connsiteX9410" y="connsiteY9410"/>
                </a:cxn>
                <a:cxn ang="0">
                  <a:pos x="connsiteX9411" y="connsiteY9411"/>
                </a:cxn>
                <a:cxn ang="0">
                  <a:pos x="connsiteX9412" y="connsiteY9412"/>
                </a:cxn>
                <a:cxn ang="0">
                  <a:pos x="connsiteX9413" y="connsiteY9413"/>
                </a:cxn>
                <a:cxn ang="0">
                  <a:pos x="connsiteX9414" y="connsiteY9414"/>
                </a:cxn>
                <a:cxn ang="0">
                  <a:pos x="connsiteX9415" y="connsiteY9415"/>
                </a:cxn>
                <a:cxn ang="0">
                  <a:pos x="connsiteX9416" y="connsiteY9416"/>
                </a:cxn>
                <a:cxn ang="0">
                  <a:pos x="connsiteX9417" y="connsiteY9417"/>
                </a:cxn>
                <a:cxn ang="0">
                  <a:pos x="connsiteX9418" y="connsiteY9418"/>
                </a:cxn>
                <a:cxn ang="0">
                  <a:pos x="connsiteX9419" y="connsiteY9419"/>
                </a:cxn>
                <a:cxn ang="0">
                  <a:pos x="connsiteX9420" y="connsiteY9420"/>
                </a:cxn>
                <a:cxn ang="0">
                  <a:pos x="connsiteX9421" y="connsiteY9421"/>
                </a:cxn>
                <a:cxn ang="0">
                  <a:pos x="connsiteX9422" y="connsiteY9422"/>
                </a:cxn>
                <a:cxn ang="0">
                  <a:pos x="connsiteX9423" y="connsiteY9423"/>
                </a:cxn>
                <a:cxn ang="0">
                  <a:pos x="connsiteX9424" y="connsiteY9424"/>
                </a:cxn>
                <a:cxn ang="0">
                  <a:pos x="connsiteX9425" y="connsiteY9425"/>
                </a:cxn>
                <a:cxn ang="0">
                  <a:pos x="connsiteX9426" y="connsiteY9426"/>
                </a:cxn>
                <a:cxn ang="0">
                  <a:pos x="connsiteX9427" y="connsiteY9427"/>
                </a:cxn>
                <a:cxn ang="0">
                  <a:pos x="connsiteX9428" y="connsiteY9428"/>
                </a:cxn>
                <a:cxn ang="0">
                  <a:pos x="connsiteX9429" y="connsiteY9429"/>
                </a:cxn>
                <a:cxn ang="0">
                  <a:pos x="connsiteX9430" y="connsiteY9430"/>
                </a:cxn>
                <a:cxn ang="0">
                  <a:pos x="connsiteX9431" y="connsiteY9431"/>
                </a:cxn>
                <a:cxn ang="0">
                  <a:pos x="connsiteX9432" y="connsiteY9432"/>
                </a:cxn>
                <a:cxn ang="0">
                  <a:pos x="connsiteX9433" y="connsiteY9433"/>
                </a:cxn>
                <a:cxn ang="0">
                  <a:pos x="connsiteX9434" y="connsiteY9434"/>
                </a:cxn>
                <a:cxn ang="0">
                  <a:pos x="connsiteX9435" y="connsiteY9435"/>
                </a:cxn>
                <a:cxn ang="0">
                  <a:pos x="connsiteX9436" y="connsiteY9436"/>
                </a:cxn>
                <a:cxn ang="0">
                  <a:pos x="connsiteX9437" y="connsiteY9437"/>
                </a:cxn>
                <a:cxn ang="0">
                  <a:pos x="connsiteX9438" y="connsiteY9438"/>
                </a:cxn>
                <a:cxn ang="0">
                  <a:pos x="connsiteX9439" y="connsiteY9439"/>
                </a:cxn>
                <a:cxn ang="0">
                  <a:pos x="connsiteX9440" y="connsiteY9440"/>
                </a:cxn>
                <a:cxn ang="0">
                  <a:pos x="connsiteX9441" y="connsiteY9441"/>
                </a:cxn>
                <a:cxn ang="0">
                  <a:pos x="connsiteX9442" y="connsiteY9442"/>
                </a:cxn>
                <a:cxn ang="0">
                  <a:pos x="connsiteX9443" y="connsiteY9443"/>
                </a:cxn>
                <a:cxn ang="0">
                  <a:pos x="connsiteX9444" y="connsiteY9444"/>
                </a:cxn>
                <a:cxn ang="0">
                  <a:pos x="connsiteX9445" y="connsiteY9445"/>
                </a:cxn>
                <a:cxn ang="0">
                  <a:pos x="connsiteX9446" y="connsiteY9446"/>
                </a:cxn>
                <a:cxn ang="0">
                  <a:pos x="connsiteX9447" y="connsiteY9447"/>
                </a:cxn>
                <a:cxn ang="0">
                  <a:pos x="connsiteX9448" y="connsiteY9448"/>
                </a:cxn>
                <a:cxn ang="0">
                  <a:pos x="connsiteX9449" y="connsiteY9449"/>
                </a:cxn>
                <a:cxn ang="0">
                  <a:pos x="connsiteX9450" y="connsiteY9450"/>
                </a:cxn>
                <a:cxn ang="0">
                  <a:pos x="connsiteX9451" y="connsiteY9451"/>
                </a:cxn>
                <a:cxn ang="0">
                  <a:pos x="connsiteX9452" y="connsiteY9452"/>
                </a:cxn>
                <a:cxn ang="0">
                  <a:pos x="connsiteX9453" y="connsiteY9453"/>
                </a:cxn>
                <a:cxn ang="0">
                  <a:pos x="connsiteX9454" y="connsiteY9454"/>
                </a:cxn>
                <a:cxn ang="0">
                  <a:pos x="connsiteX9455" y="connsiteY9455"/>
                </a:cxn>
                <a:cxn ang="0">
                  <a:pos x="connsiteX9456" y="connsiteY9456"/>
                </a:cxn>
                <a:cxn ang="0">
                  <a:pos x="connsiteX9457" y="connsiteY9457"/>
                </a:cxn>
                <a:cxn ang="0">
                  <a:pos x="connsiteX9458" y="connsiteY9458"/>
                </a:cxn>
                <a:cxn ang="0">
                  <a:pos x="connsiteX9459" y="connsiteY9459"/>
                </a:cxn>
                <a:cxn ang="0">
                  <a:pos x="connsiteX9460" y="connsiteY9460"/>
                </a:cxn>
                <a:cxn ang="0">
                  <a:pos x="connsiteX9461" y="connsiteY9461"/>
                </a:cxn>
                <a:cxn ang="0">
                  <a:pos x="connsiteX9462" y="connsiteY9462"/>
                </a:cxn>
                <a:cxn ang="0">
                  <a:pos x="connsiteX9463" y="connsiteY9463"/>
                </a:cxn>
                <a:cxn ang="0">
                  <a:pos x="connsiteX9464" y="connsiteY9464"/>
                </a:cxn>
                <a:cxn ang="0">
                  <a:pos x="connsiteX9465" y="connsiteY9465"/>
                </a:cxn>
                <a:cxn ang="0">
                  <a:pos x="connsiteX9466" y="connsiteY9466"/>
                </a:cxn>
                <a:cxn ang="0">
                  <a:pos x="connsiteX9467" y="connsiteY9467"/>
                </a:cxn>
                <a:cxn ang="0">
                  <a:pos x="connsiteX9468" y="connsiteY9468"/>
                </a:cxn>
                <a:cxn ang="0">
                  <a:pos x="connsiteX9469" y="connsiteY9469"/>
                </a:cxn>
                <a:cxn ang="0">
                  <a:pos x="connsiteX9470" y="connsiteY9470"/>
                </a:cxn>
                <a:cxn ang="0">
                  <a:pos x="connsiteX9471" y="connsiteY9471"/>
                </a:cxn>
                <a:cxn ang="0">
                  <a:pos x="connsiteX9472" y="connsiteY9472"/>
                </a:cxn>
                <a:cxn ang="0">
                  <a:pos x="connsiteX9473" y="connsiteY9473"/>
                </a:cxn>
                <a:cxn ang="0">
                  <a:pos x="connsiteX9474" y="connsiteY9474"/>
                </a:cxn>
                <a:cxn ang="0">
                  <a:pos x="connsiteX9475" y="connsiteY9475"/>
                </a:cxn>
                <a:cxn ang="0">
                  <a:pos x="connsiteX9476" y="connsiteY9476"/>
                </a:cxn>
                <a:cxn ang="0">
                  <a:pos x="connsiteX9477" y="connsiteY9477"/>
                </a:cxn>
                <a:cxn ang="0">
                  <a:pos x="connsiteX9478" y="connsiteY9478"/>
                </a:cxn>
                <a:cxn ang="0">
                  <a:pos x="connsiteX9479" y="connsiteY9479"/>
                </a:cxn>
                <a:cxn ang="0">
                  <a:pos x="connsiteX9480" y="connsiteY9480"/>
                </a:cxn>
                <a:cxn ang="0">
                  <a:pos x="connsiteX9481" y="connsiteY9481"/>
                </a:cxn>
                <a:cxn ang="0">
                  <a:pos x="connsiteX9482" y="connsiteY9482"/>
                </a:cxn>
                <a:cxn ang="0">
                  <a:pos x="connsiteX9483" y="connsiteY9483"/>
                </a:cxn>
                <a:cxn ang="0">
                  <a:pos x="connsiteX9484" y="connsiteY9484"/>
                </a:cxn>
                <a:cxn ang="0">
                  <a:pos x="connsiteX9485" y="connsiteY9485"/>
                </a:cxn>
                <a:cxn ang="0">
                  <a:pos x="connsiteX9486" y="connsiteY9486"/>
                </a:cxn>
                <a:cxn ang="0">
                  <a:pos x="connsiteX9487" y="connsiteY9487"/>
                </a:cxn>
                <a:cxn ang="0">
                  <a:pos x="connsiteX9488" y="connsiteY9488"/>
                </a:cxn>
                <a:cxn ang="0">
                  <a:pos x="connsiteX9489" y="connsiteY9489"/>
                </a:cxn>
                <a:cxn ang="0">
                  <a:pos x="connsiteX9490" y="connsiteY9490"/>
                </a:cxn>
                <a:cxn ang="0">
                  <a:pos x="connsiteX9491" y="connsiteY9491"/>
                </a:cxn>
                <a:cxn ang="0">
                  <a:pos x="connsiteX9492" y="connsiteY9492"/>
                </a:cxn>
                <a:cxn ang="0">
                  <a:pos x="connsiteX9493" y="connsiteY9493"/>
                </a:cxn>
                <a:cxn ang="0">
                  <a:pos x="connsiteX9494" y="connsiteY9494"/>
                </a:cxn>
                <a:cxn ang="0">
                  <a:pos x="connsiteX9495" y="connsiteY9495"/>
                </a:cxn>
                <a:cxn ang="0">
                  <a:pos x="connsiteX9496" y="connsiteY9496"/>
                </a:cxn>
                <a:cxn ang="0">
                  <a:pos x="connsiteX9497" y="connsiteY9497"/>
                </a:cxn>
                <a:cxn ang="0">
                  <a:pos x="connsiteX9498" y="connsiteY9498"/>
                </a:cxn>
                <a:cxn ang="0">
                  <a:pos x="connsiteX9499" y="connsiteY9499"/>
                </a:cxn>
                <a:cxn ang="0">
                  <a:pos x="connsiteX9500" y="connsiteY9500"/>
                </a:cxn>
                <a:cxn ang="0">
                  <a:pos x="connsiteX9501" y="connsiteY9501"/>
                </a:cxn>
                <a:cxn ang="0">
                  <a:pos x="connsiteX9502" y="connsiteY9502"/>
                </a:cxn>
                <a:cxn ang="0">
                  <a:pos x="connsiteX9503" y="connsiteY9503"/>
                </a:cxn>
                <a:cxn ang="0">
                  <a:pos x="connsiteX9504" y="connsiteY9504"/>
                </a:cxn>
                <a:cxn ang="0">
                  <a:pos x="connsiteX9505" y="connsiteY9505"/>
                </a:cxn>
                <a:cxn ang="0">
                  <a:pos x="connsiteX9506" y="connsiteY9506"/>
                </a:cxn>
                <a:cxn ang="0">
                  <a:pos x="connsiteX9507" y="connsiteY9507"/>
                </a:cxn>
                <a:cxn ang="0">
                  <a:pos x="connsiteX9508" y="connsiteY9508"/>
                </a:cxn>
                <a:cxn ang="0">
                  <a:pos x="connsiteX9509" y="connsiteY9509"/>
                </a:cxn>
                <a:cxn ang="0">
                  <a:pos x="connsiteX9510" y="connsiteY9510"/>
                </a:cxn>
                <a:cxn ang="0">
                  <a:pos x="connsiteX9511" y="connsiteY9511"/>
                </a:cxn>
                <a:cxn ang="0">
                  <a:pos x="connsiteX9512" y="connsiteY9512"/>
                </a:cxn>
                <a:cxn ang="0">
                  <a:pos x="connsiteX9513" y="connsiteY9513"/>
                </a:cxn>
                <a:cxn ang="0">
                  <a:pos x="connsiteX9514" y="connsiteY9514"/>
                </a:cxn>
                <a:cxn ang="0">
                  <a:pos x="connsiteX9515" y="connsiteY9515"/>
                </a:cxn>
                <a:cxn ang="0">
                  <a:pos x="connsiteX9516" y="connsiteY9516"/>
                </a:cxn>
                <a:cxn ang="0">
                  <a:pos x="connsiteX9517" y="connsiteY9517"/>
                </a:cxn>
                <a:cxn ang="0">
                  <a:pos x="connsiteX9518" y="connsiteY9518"/>
                </a:cxn>
                <a:cxn ang="0">
                  <a:pos x="connsiteX9519" y="connsiteY9519"/>
                </a:cxn>
                <a:cxn ang="0">
                  <a:pos x="connsiteX9520" y="connsiteY9520"/>
                </a:cxn>
                <a:cxn ang="0">
                  <a:pos x="connsiteX9521" y="connsiteY9521"/>
                </a:cxn>
                <a:cxn ang="0">
                  <a:pos x="connsiteX9522" y="connsiteY9522"/>
                </a:cxn>
                <a:cxn ang="0">
                  <a:pos x="connsiteX9523" y="connsiteY9523"/>
                </a:cxn>
                <a:cxn ang="0">
                  <a:pos x="connsiteX9524" y="connsiteY9524"/>
                </a:cxn>
                <a:cxn ang="0">
                  <a:pos x="connsiteX9525" y="connsiteY9525"/>
                </a:cxn>
                <a:cxn ang="0">
                  <a:pos x="connsiteX9526" y="connsiteY9526"/>
                </a:cxn>
                <a:cxn ang="0">
                  <a:pos x="connsiteX9527" y="connsiteY9527"/>
                </a:cxn>
                <a:cxn ang="0">
                  <a:pos x="connsiteX9528" y="connsiteY9528"/>
                </a:cxn>
                <a:cxn ang="0">
                  <a:pos x="connsiteX9529" y="connsiteY9529"/>
                </a:cxn>
                <a:cxn ang="0">
                  <a:pos x="connsiteX9530" y="connsiteY9530"/>
                </a:cxn>
                <a:cxn ang="0">
                  <a:pos x="connsiteX9531" y="connsiteY9531"/>
                </a:cxn>
                <a:cxn ang="0">
                  <a:pos x="connsiteX9532" y="connsiteY9532"/>
                </a:cxn>
                <a:cxn ang="0">
                  <a:pos x="connsiteX9533" y="connsiteY9533"/>
                </a:cxn>
                <a:cxn ang="0">
                  <a:pos x="connsiteX9534" y="connsiteY9534"/>
                </a:cxn>
                <a:cxn ang="0">
                  <a:pos x="connsiteX9535" y="connsiteY9535"/>
                </a:cxn>
                <a:cxn ang="0">
                  <a:pos x="connsiteX9536" y="connsiteY9536"/>
                </a:cxn>
                <a:cxn ang="0">
                  <a:pos x="connsiteX9537" y="connsiteY9537"/>
                </a:cxn>
                <a:cxn ang="0">
                  <a:pos x="connsiteX9538" y="connsiteY9538"/>
                </a:cxn>
                <a:cxn ang="0">
                  <a:pos x="connsiteX9539" y="connsiteY9539"/>
                </a:cxn>
                <a:cxn ang="0">
                  <a:pos x="connsiteX9540" y="connsiteY9540"/>
                </a:cxn>
                <a:cxn ang="0">
                  <a:pos x="connsiteX9541" y="connsiteY9541"/>
                </a:cxn>
                <a:cxn ang="0">
                  <a:pos x="connsiteX9542" y="connsiteY9542"/>
                </a:cxn>
                <a:cxn ang="0">
                  <a:pos x="connsiteX9543" y="connsiteY9543"/>
                </a:cxn>
                <a:cxn ang="0">
                  <a:pos x="connsiteX9544" y="connsiteY9544"/>
                </a:cxn>
                <a:cxn ang="0">
                  <a:pos x="connsiteX9545" y="connsiteY9545"/>
                </a:cxn>
                <a:cxn ang="0">
                  <a:pos x="connsiteX9546" y="connsiteY9546"/>
                </a:cxn>
                <a:cxn ang="0">
                  <a:pos x="connsiteX9547" y="connsiteY9547"/>
                </a:cxn>
                <a:cxn ang="0">
                  <a:pos x="connsiteX9548" y="connsiteY9548"/>
                </a:cxn>
                <a:cxn ang="0">
                  <a:pos x="connsiteX9549" y="connsiteY9549"/>
                </a:cxn>
                <a:cxn ang="0">
                  <a:pos x="connsiteX9550" y="connsiteY9550"/>
                </a:cxn>
                <a:cxn ang="0">
                  <a:pos x="connsiteX9551" y="connsiteY9551"/>
                </a:cxn>
                <a:cxn ang="0">
                  <a:pos x="connsiteX9552" y="connsiteY9552"/>
                </a:cxn>
                <a:cxn ang="0">
                  <a:pos x="connsiteX9553" y="connsiteY9553"/>
                </a:cxn>
                <a:cxn ang="0">
                  <a:pos x="connsiteX9554" y="connsiteY9554"/>
                </a:cxn>
                <a:cxn ang="0">
                  <a:pos x="connsiteX9555" y="connsiteY9555"/>
                </a:cxn>
                <a:cxn ang="0">
                  <a:pos x="connsiteX9556" y="connsiteY9556"/>
                </a:cxn>
                <a:cxn ang="0">
                  <a:pos x="connsiteX9557" y="connsiteY9557"/>
                </a:cxn>
                <a:cxn ang="0">
                  <a:pos x="connsiteX9558" y="connsiteY9558"/>
                </a:cxn>
                <a:cxn ang="0">
                  <a:pos x="connsiteX9559" y="connsiteY9559"/>
                </a:cxn>
                <a:cxn ang="0">
                  <a:pos x="connsiteX9560" y="connsiteY9560"/>
                </a:cxn>
                <a:cxn ang="0">
                  <a:pos x="connsiteX9561" y="connsiteY9561"/>
                </a:cxn>
                <a:cxn ang="0">
                  <a:pos x="connsiteX9562" y="connsiteY9562"/>
                </a:cxn>
                <a:cxn ang="0">
                  <a:pos x="connsiteX9563" y="connsiteY9563"/>
                </a:cxn>
                <a:cxn ang="0">
                  <a:pos x="connsiteX9564" y="connsiteY9564"/>
                </a:cxn>
                <a:cxn ang="0">
                  <a:pos x="connsiteX9565" y="connsiteY9565"/>
                </a:cxn>
                <a:cxn ang="0">
                  <a:pos x="connsiteX9566" y="connsiteY9566"/>
                </a:cxn>
                <a:cxn ang="0">
                  <a:pos x="connsiteX9567" y="connsiteY9567"/>
                </a:cxn>
                <a:cxn ang="0">
                  <a:pos x="connsiteX9568" y="connsiteY9568"/>
                </a:cxn>
                <a:cxn ang="0">
                  <a:pos x="connsiteX9569" y="connsiteY9569"/>
                </a:cxn>
                <a:cxn ang="0">
                  <a:pos x="connsiteX9570" y="connsiteY9570"/>
                </a:cxn>
                <a:cxn ang="0">
                  <a:pos x="connsiteX9571" y="connsiteY9571"/>
                </a:cxn>
                <a:cxn ang="0">
                  <a:pos x="connsiteX9572" y="connsiteY9572"/>
                </a:cxn>
                <a:cxn ang="0">
                  <a:pos x="connsiteX9573" y="connsiteY9573"/>
                </a:cxn>
                <a:cxn ang="0">
                  <a:pos x="connsiteX9574" y="connsiteY9574"/>
                </a:cxn>
                <a:cxn ang="0">
                  <a:pos x="connsiteX9575" y="connsiteY9575"/>
                </a:cxn>
                <a:cxn ang="0">
                  <a:pos x="connsiteX9576" y="connsiteY9576"/>
                </a:cxn>
                <a:cxn ang="0">
                  <a:pos x="connsiteX9577" y="connsiteY9577"/>
                </a:cxn>
                <a:cxn ang="0">
                  <a:pos x="connsiteX9578" y="connsiteY9578"/>
                </a:cxn>
                <a:cxn ang="0">
                  <a:pos x="connsiteX9579" y="connsiteY9579"/>
                </a:cxn>
                <a:cxn ang="0">
                  <a:pos x="connsiteX9580" y="connsiteY9580"/>
                </a:cxn>
                <a:cxn ang="0">
                  <a:pos x="connsiteX9581" y="connsiteY9581"/>
                </a:cxn>
                <a:cxn ang="0">
                  <a:pos x="connsiteX9582" y="connsiteY9582"/>
                </a:cxn>
                <a:cxn ang="0">
                  <a:pos x="connsiteX9583" y="connsiteY9583"/>
                </a:cxn>
                <a:cxn ang="0">
                  <a:pos x="connsiteX9584" y="connsiteY9584"/>
                </a:cxn>
                <a:cxn ang="0">
                  <a:pos x="connsiteX9585" y="connsiteY9585"/>
                </a:cxn>
                <a:cxn ang="0">
                  <a:pos x="connsiteX9586" y="connsiteY9586"/>
                </a:cxn>
                <a:cxn ang="0">
                  <a:pos x="connsiteX9587" y="connsiteY9587"/>
                </a:cxn>
                <a:cxn ang="0">
                  <a:pos x="connsiteX9588" y="connsiteY9588"/>
                </a:cxn>
                <a:cxn ang="0">
                  <a:pos x="connsiteX9589" y="connsiteY9589"/>
                </a:cxn>
                <a:cxn ang="0">
                  <a:pos x="connsiteX9590" y="connsiteY9590"/>
                </a:cxn>
                <a:cxn ang="0">
                  <a:pos x="connsiteX9591" y="connsiteY9591"/>
                </a:cxn>
                <a:cxn ang="0">
                  <a:pos x="connsiteX9592" y="connsiteY9592"/>
                </a:cxn>
                <a:cxn ang="0">
                  <a:pos x="connsiteX9593" y="connsiteY9593"/>
                </a:cxn>
                <a:cxn ang="0">
                  <a:pos x="connsiteX9594" y="connsiteY9594"/>
                </a:cxn>
                <a:cxn ang="0">
                  <a:pos x="connsiteX9595" y="connsiteY9595"/>
                </a:cxn>
                <a:cxn ang="0">
                  <a:pos x="connsiteX9596" y="connsiteY9596"/>
                </a:cxn>
                <a:cxn ang="0">
                  <a:pos x="connsiteX9597" y="connsiteY9597"/>
                </a:cxn>
                <a:cxn ang="0">
                  <a:pos x="connsiteX9598" y="connsiteY9598"/>
                </a:cxn>
                <a:cxn ang="0">
                  <a:pos x="connsiteX9599" y="connsiteY9599"/>
                </a:cxn>
                <a:cxn ang="0">
                  <a:pos x="connsiteX9600" y="connsiteY9600"/>
                </a:cxn>
                <a:cxn ang="0">
                  <a:pos x="connsiteX9601" y="connsiteY9601"/>
                </a:cxn>
                <a:cxn ang="0">
                  <a:pos x="connsiteX9602" y="connsiteY9602"/>
                </a:cxn>
                <a:cxn ang="0">
                  <a:pos x="connsiteX9603" y="connsiteY9603"/>
                </a:cxn>
                <a:cxn ang="0">
                  <a:pos x="connsiteX9604" y="connsiteY9604"/>
                </a:cxn>
                <a:cxn ang="0">
                  <a:pos x="connsiteX9605" y="connsiteY9605"/>
                </a:cxn>
                <a:cxn ang="0">
                  <a:pos x="connsiteX9606" y="connsiteY9606"/>
                </a:cxn>
                <a:cxn ang="0">
                  <a:pos x="connsiteX9607" y="connsiteY9607"/>
                </a:cxn>
                <a:cxn ang="0">
                  <a:pos x="connsiteX9608" y="connsiteY9608"/>
                </a:cxn>
                <a:cxn ang="0">
                  <a:pos x="connsiteX9609" y="connsiteY9609"/>
                </a:cxn>
                <a:cxn ang="0">
                  <a:pos x="connsiteX9610" y="connsiteY9610"/>
                </a:cxn>
                <a:cxn ang="0">
                  <a:pos x="connsiteX9611" y="connsiteY9611"/>
                </a:cxn>
                <a:cxn ang="0">
                  <a:pos x="connsiteX9612" y="connsiteY9612"/>
                </a:cxn>
                <a:cxn ang="0">
                  <a:pos x="connsiteX9613" y="connsiteY9613"/>
                </a:cxn>
                <a:cxn ang="0">
                  <a:pos x="connsiteX9614" y="connsiteY9614"/>
                </a:cxn>
                <a:cxn ang="0">
                  <a:pos x="connsiteX9615" y="connsiteY9615"/>
                </a:cxn>
                <a:cxn ang="0">
                  <a:pos x="connsiteX9616" y="connsiteY9616"/>
                </a:cxn>
                <a:cxn ang="0">
                  <a:pos x="connsiteX9617" y="connsiteY9617"/>
                </a:cxn>
                <a:cxn ang="0">
                  <a:pos x="connsiteX9618" y="connsiteY9618"/>
                </a:cxn>
                <a:cxn ang="0">
                  <a:pos x="connsiteX9619" y="connsiteY9619"/>
                </a:cxn>
                <a:cxn ang="0">
                  <a:pos x="connsiteX9620" y="connsiteY9620"/>
                </a:cxn>
                <a:cxn ang="0">
                  <a:pos x="connsiteX9621" y="connsiteY9621"/>
                </a:cxn>
                <a:cxn ang="0">
                  <a:pos x="connsiteX9622" y="connsiteY9622"/>
                </a:cxn>
                <a:cxn ang="0">
                  <a:pos x="connsiteX9623" y="connsiteY9623"/>
                </a:cxn>
                <a:cxn ang="0">
                  <a:pos x="connsiteX9624" y="connsiteY9624"/>
                </a:cxn>
                <a:cxn ang="0">
                  <a:pos x="connsiteX9625" y="connsiteY9625"/>
                </a:cxn>
                <a:cxn ang="0">
                  <a:pos x="connsiteX9626" y="connsiteY9626"/>
                </a:cxn>
                <a:cxn ang="0">
                  <a:pos x="connsiteX9627" y="connsiteY9627"/>
                </a:cxn>
                <a:cxn ang="0">
                  <a:pos x="connsiteX9628" y="connsiteY9628"/>
                </a:cxn>
                <a:cxn ang="0">
                  <a:pos x="connsiteX9629" y="connsiteY9629"/>
                </a:cxn>
                <a:cxn ang="0">
                  <a:pos x="connsiteX9630" y="connsiteY9630"/>
                </a:cxn>
                <a:cxn ang="0">
                  <a:pos x="connsiteX9631" y="connsiteY9631"/>
                </a:cxn>
                <a:cxn ang="0">
                  <a:pos x="connsiteX9632" y="connsiteY9632"/>
                </a:cxn>
                <a:cxn ang="0">
                  <a:pos x="connsiteX9633" y="connsiteY9633"/>
                </a:cxn>
                <a:cxn ang="0">
                  <a:pos x="connsiteX9634" y="connsiteY9634"/>
                </a:cxn>
                <a:cxn ang="0">
                  <a:pos x="connsiteX9635" y="connsiteY9635"/>
                </a:cxn>
                <a:cxn ang="0">
                  <a:pos x="connsiteX9636" y="connsiteY9636"/>
                </a:cxn>
                <a:cxn ang="0">
                  <a:pos x="connsiteX9637" y="connsiteY9637"/>
                </a:cxn>
                <a:cxn ang="0">
                  <a:pos x="connsiteX9638" y="connsiteY9638"/>
                </a:cxn>
                <a:cxn ang="0">
                  <a:pos x="connsiteX9639" y="connsiteY9639"/>
                </a:cxn>
                <a:cxn ang="0">
                  <a:pos x="connsiteX9640" y="connsiteY9640"/>
                </a:cxn>
                <a:cxn ang="0">
                  <a:pos x="connsiteX9641" y="connsiteY9641"/>
                </a:cxn>
                <a:cxn ang="0">
                  <a:pos x="connsiteX9642" y="connsiteY9642"/>
                </a:cxn>
                <a:cxn ang="0">
                  <a:pos x="connsiteX9643" y="connsiteY9643"/>
                </a:cxn>
                <a:cxn ang="0">
                  <a:pos x="connsiteX9644" y="connsiteY9644"/>
                </a:cxn>
                <a:cxn ang="0">
                  <a:pos x="connsiteX9645" y="connsiteY9645"/>
                </a:cxn>
                <a:cxn ang="0">
                  <a:pos x="connsiteX9646" y="connsiteY9646"/>
                </a:cxn>
                <a:cxn ang="0">
                  <a:pos x="connsiteX9647" y="connsiteY9647"/>
                </a:cxn>
                <a:cxn ang="0">
                  <a:pos x="connsiteX9648" y="connsiteY9648"/>
                </a:cxn>
                <a:cxn ang="0">
                  <a:pos x="connsiteX9649" y="connsiteY9649"/>
                </a:cxn>
                <a:cxn ang="0">
                  <a:pos x="connsiteX9650" y="connsiteY9650"/>
                </a:cxn>
                <a:cxn ang="0">
                  <a:pos x="connsiteX9651" y="connsiteY9651"/>
                </a:cxn>
                <a:cxn ang="0">
                  <a:pos x="connsiteX9652" y="connsiteY9652"/>
                </a:cxn>
                <a:cxn ang="0">
                  <a:pos x="connsiteX9653" y="connsiteY9653"/>
                </a:cxn>
                <a:cxn ang="0">
                  <a:pos x="connsiteX9654" y="connsiteY9654"/>
                </a:cxn>
                <a:cxn ang="0">
                  <a:pos x="connsiteX9655" y="connsiteY9655"/>
                </a:cxn>
                <a:cxn ang="0">
                  <a:pos x="connsiteX9656" y="connsiteY9656"/>
                </a:cxn>
                <a:cxn ang="0">
                  <a:pos x="connsiteX9657" y="connsiteY9657"/>
                </a:cxn>
                <a:cxn ang="0">
                  <a:pos x="connsiteX9658" y="connsiteY9658"/>
                </a:cxn>
                <a:cxn ang="0">
                  <a:pos x="connsiteX9659" y="connsiteY9659"/>
                </a:cxn>
                <a:cxn ang="0">
                  <a:pos x="connsiteX9660" y="connsiteY9660"/>
                </a:cxn>
                <a:cxn ang="0">
                  <a:pos x="connsiteX9661" y="connsiteY9661"/>
                </a:cxn>
                <a:cxn ang="0">
                  <a:pos x="connsiteX9662" y="connsiteY9662"/>
                </a:cxn>
                <a:cxn ang="0">
                  <a:pos x="connsiteX9663" y="connsiteY9663"/>
                </a:cxn>
                <a:cxn ang="0">
                  <a:pos x="connsiteX9664" y="connsiteY9664"/>
                </a:cxn>
                <a:cxn ang="0">
                  <a:pos x="connsiteX9665" y="connsiteY9665"/>
                </a:cxn>
                <a:cxn ang="0">
                  <a:pos x="connsiteX9666" y="connsiteY9666"/>
                </a:cxn>
                <a:cxn ang="0">
                  <a:pos x="connsiteX9667" y="connsiteY9667"/>
                </a:cxn>
                <a:cxn ang="0">
                  <a:pos x="connsiteX9668" y="connsiteY9668"/>
                </a:cxn>
                <a:cxn ang="0">
                  <a:pos x="connsiteX9669" y="connsiteY9669"/>
                </a:cxn>
                <a:cxn ang="0">
                  <a:pos x="connsiteX9670" y="connsiteY9670"/>
                </a:cxn>
                <a:cxn ang="0">
                  <a:pos x="connsiteX9671" y="connsiteY9671"/>
                </a:cxn>
                <a:cxn ang="0">
                  <a:pos x="connsiteX9672" y="connsiteY9672"/>
                </a:cxn>
                <a:cxn ang="0">
                  <a:pos x="connsiteX9673" y="connsiteY9673"/>
                </a:cxn>
                <a:cxn ang="0">
                  <a:pos x="connsiteX9674" y="connsiteY9674"/>
                </a:cxn>
                <a:cxn ang="0">
                  <a:pos x="connsiteX9675" y="connsiteY9675"/>
                </a:cxn>
                <a:cxn ang="0">
                  <a:pos x="connsiteX9676" y="connsiteY9676"/>
                </a:cxn>
                <a:cxn ang="0">
                  <a:pos x="connsiteX9677" y="connsiteY9677"/>
                </a:cxn>
                <a:cxn ang="0">
                  <a:pos x="connsiteX9678" y="connsiteY9678"/>
                </a:cxn>
                <a:cxn ang="0">
                  <a:pos x="connsiteX9679" y="connsiteY9679"/>
                </a:cxn>
                <a:cxn ang="0">
                  <a:pos x="connsiteX9680" y="connsiteY9680"/>
                </a:cxn>
                <a:cxn ang="0">
                  <a:pos x="connsiteX9681" y="connsiteY9681"/>
                </a:cxn>
                <a:cxn ang="0">
                  <a:pos x="connsiteX9682" y="connsiteY9682"/>
                </a:cxn>
                <a:cxn ang="0">
                  <a:pos x="connsiteX9683" y="connsiteY9683"/>
                </a:cxn>
                <a:cxn ang="0">
                  <a:pos x="connsiteX9684" y="connsiteY9684"/>
                </a:cxn>
                <a:cxn ang="0">
                  <a:pos x="connsiteX9685" y="connsiteY9685"/>
                </a:cxn>
                <a:cxn ang="0">
                  <a:pos x="connsiteX9686" y="connsiteY9686"/>
                </a:cxn>
                <a:cxn ang="0">
                  <a:pos x="connsiteX9687" y="connsiteY9687"/>
                </a:cxn>
                <a:cxn ang="0">
                  <a:pos x="connsiteX9688" y="connsiteY9688"/>
                </a:cxn>
                <a:cxn ang="0">
                  <a:pos x="connsiteX9689" y="connsiteY9689"/>
                </a:cxn>
                <a:cxn ang="0">
                  <a:pos x="connsiteX9690" y="connsiteY9690"/>
                </a:cxn>
                <a:cxn ang="0">
                  <a:pos x="connsiteX9691" y="connsiteY9691"/>
                </a:cxn>
                <a:cxn ang="0">
                  <a:pos x="connsiteX9692" y="connsiteY9692"/>
                </a:cxn>
                <a:cxn ang="0">
                  <a:pos x="connsiteX9693" y="connsiteY9693"/>
                </a:cxn>
                <a:cxn ang="0">
                  <a:pos x="connsiteX9694" y="connsiteY9694"/>
                </a:cxn>
                <a:cxn ang="0">
                  <a:pos x="connsiteX9695" y="connsiteY9695"/>
                </a:cxn>
                <a:cxn ang="0">
                  <a:pos x="connsiteX9696" y="connsiteY9696"/>
                </a:cxn>
                <a:cxn ang="0">
                  <a:pos x="connsiteX9697" y="connsiteY9697"/>
                </a:cxn>
                <a:cxn ang="0">
                  <a:pos x="connsiteX9698" y="connsiteY9698"/>
                </a:cxn>
                <a:cxn ang="0">
                  <a:pos x="connsiteX9699" y="connsiteY9699"/>
                </a:cxn>
                <a:cxn ang="0">
                  <a:pos x="connsiteX9700" y="connsiteY9700"/>
                </a:cxn>
                <a:cxn ang="0">
                  <a:pos x="connsiteX9701" y="connsiteY9701"/>
                </a:cxn>
                <a:cxn ang="0">
                  <a:pos x="connsiteX9702" y="connsiteY9702"/>
                </a:cxn>
                <a:cxn ang="0">
                  <a:pos x="connsiteX9703" y="connsiteY9703"/>
                </a:cxn>
                <a:cxn ang="0">
                  <a:pos x="connsiteX9704" y="connsiteY9704"/>
                </a:cxn>
                <a:cxn ang="0">
                  <a:pos x="connsiteX9705" y="connsiteY9705"/>
                </a:cxn>
                <a:cxn ang="0">
                  <a:pos x="connsiteX9706" y="connsiteY9706"/>
                </a:cxn>
                <a:cxn ang="0">
                  <a:pos x="connsiteX9707" y="connsiteY9707"/>
                </a:cxn>
                <a:cxn ang="0">
                  <a:pos x="connsiteX9708" y="connsiteY9708"/>
                </a:cxn>
                <a:cxn ang="0">
                  <a:pos x="connsiteX9709" y="connsiteY9709"/>
                </a:cxn>
                <a:cxn ang="0">
                  <a:pos x="connsiteX9710" y="connsiteY9710"/>
                </a:cxn>
                <a:cxn ang="0">
                  <a:pos x="connsiteX9711" y="connsiteY9711"/>
                </a:cxn>
                <a:cxn ang="0">
                  <a:pos x="connsiteX9712" y="connsiteY9712"/>
                </a:cxn>
                <a:cxn ang="0">
                  <a:pos x="connsiteX9713" y="connsiteY9713"/>
                </a:cxn>
                <a:cxn ang="0">
                  <a:pos x="connsiteX9714" y="connsiteY9714"/>
                </a:cxn>
                <a:cxn ang="0">
                  <a:pos x="connsiteX9715" y="connsiteY9715"/>
                </a:cxn>
                <a:cxn ang="0">
                  <a:pos x="connsiteX9716" y="connsiteY9716"/>
                </a:cxn>
                <a:cxn ang="0">
                  <a:pos x="connsiteX9717" y="connsiteY9717"/>
                </a:cxn>
                <a:cxn ang="0">
                  <a:pos x="connsiteX9718" y="connsiteY9718"/>
                </a:cxn>
                <a:cxn ang="0">
                  <a:pos x="connsiteX9719" y="connsiteY9719"/>
                </a:cxn>
                <a:cxn ang="0">
                  <a:pos x="connsiteX9720" y="connsiteY9720"/>
                </a:cxn>
                <a:cxn ang="0">
                  <a:pos x="connsiteX9721" y="connsiteY9721"/>
                </a:cxn>
                <a:cxn ang="0">
                  <a:pos x="connsiteX9722" y="connsiteY9722"/>
                </a:cxn>
                <a:cxn ang="0">
                  <a:pos x="connsiteX9723" y="connsiteY9723"/>
                </a:cxn>
                <a:cxn ang="0">
                  <a:pos x="connsiteX9724" y="connsiteY9724"/>
                </a:cxn>
                <a:cxn ang="0">
                  <a:pos x="connsiteX9725" y="connsiteY9725"/>
                </a:cxn>
                <a:cxn ang="0">
                  <a:pos x="connsiteX9726" y="connsiteY9726"/>
                </a:cxn>
                <a:cxn ang="0">
                  <a:pos x="connsiteX9727" y="connsiteY9727"/>
                </a:cxn>
                <a:cxn ang="0">
                  <a:pos x="connsiteX9728" y="connsiteY9728"/>
                </a:cxn>
                <a:cxn ang="0">
                  <a:pos x="connsiteX9729" y="connsiteY9729"/>
                </a:cxn>
                <a:cxn ang="0">
                  <a:pos x="connsiteX9730" y="connsiteY9730"/>
                </a:cxn>
                <a:cxn ang="0">
                  <a:pos x="connsiteX9731" y="connsiteY9731"/>
                </a:cxn>
                <a:cxn ang="0">
                  <a:pos x="connsiteX9732" y="connsiteY9732"/>
                </a:cxn>
                <a:cxn ang="0">
                  <a:pos x="connsiteX9733" y="connsiteY9733"/>
                </a:cxn>
                <a:cxn ang="0">
                  <a:pos x="connsiteX9734" y="connsiteY9734"/>
                </a:cxn>
                <a:cxn ang="0">
                  <a:pos x="connsiteX9735" y="connsiteY9735"/>
                </a:cxn>
                <a:cxn ang="0">
                  <a:pos x="connsiteX9736" y="connsiteY9736"/>
                </a:cxn>
                <a:cxn ang="0">
                  <a:pos x="connsiteX9737" y="connsiteY9737"/>
                </a:cxn>
                <a:cxn ang="0">
                  <a:pos x="connsiteX9738" y="connsiteY9738"/>
                </a:cxn>
                <a:cxn ang="0">
                  <a:pos x="connsiteX9739" y="connsiteY9739"/>
                </a:cxn>
                <a:cxn ang="0">
                  <a:pos x="connsiteX9740" y="connsiteY9740"/>
                </a:cxn>
                <a:cxn ang="0">
                  <a:pos x="connsiteX9741" y="connsiteY9741"/>
                </a:cxn>
                <a:cxn ang="0">
                  <a:pos x="connsiteX9742" y="connsiteY9742"/>
                </a:cxn>
                <a:cxn ang="0">
                  <a:pos x="connsiteX9743" y="connsiteY9743"/>
                </a:cxn>
                <a:cxn ang="0">
                  <a:pos x="connsiteX9744" y="connsiteY9744"/>
                </a:cxn>
                <a:cxn ang="0">
                  <a:pos x="connsiteX9745" y="connsiteY9745"/>
                </a:cxn>
                <a:cxn ang="0">
                  <a:pos x="connsiteX9746" y="connsiteY9746"/>
                </a:cxn>
                <a:cxn ang="0">
                  <a:pos x="connsiteX9747" y="connsiteY9747"/>
                </a:cxn>
                <a:cxn ang="0">
                  <a:pos x="connsiteX9748" y="connsiteY9748"/>
                </a:cxn>
                <a:cxn ang="0">
                  <a:pos x="connsiteX9749" y="connsiteY9749"/>
                </a:cxn>
                <a:cxn ang="0">
                  <a:pos x="connsiteX9750" y="connsiteY9750"/>
                </a:cxn>
                <a:cxn ang="0">
                  <a:pos x="connsiteX9751" y="connsiteY9751"/>
                </a:cxn>
                <a:cxn ang="0">
                  <a:pos x="connsiteX9752" y="connsiteY9752"/>
                </a:cxn>
                <a:cxn ang="0">
                  <a:pos x="connsiteX9753" y="connsiteY9753"/>
                </a:cxn>
                <a:cxn ang="0">
                  <a:pos x="connsiteX9754" y="connsiteY9754"/>
                </a:cxn>
                <a:cxn ang="0">
                  <a:pos x="connsiteX9755" y="connsiteY9755"/>
                </a:cxn>
                <a:cxn ang="0">
                  <a:pos x="connsiteX9756" y="connsiteY9756"/>
                </a:cxn>
                <a:cxn ang="0">
                  <a:pos x="connsiteX9757" y="connsiteY9757"/>
                </a:cxn>
                <a:cxn ang="0">
                  <a:pos x="connsiteX9758" y="connsiteY9758"/>
                </a:cxn>
                <a:cxn ang="0">
                  <a:pos x="connsiteX9759" y="connsiteY9759"/>
                </a:cxn>
                <a:cxn ang="0">
                  <a:pos x="connsiteX9760" y="connsiteY9760"/>
                </a:cxn>
                <a:cxn ang="0">
                  <a:pos x="connsiteX9761" y="connsiteY9761"/>
                </a:cxn>
                <a:cxn ang="0">
                  <a:pos x="connsiteX9762" y="connsiteY9762"/>
                </a:cxn>
                <a:cxn ang="0">
                  <a:pos x="connsiteX9763" y="connsiteY9763"/>
                </a:cxn>
                <a:cxn ang="0">
                  <a:pos x="connsiteX9764" y="connsiteY9764"/>
                </a:cxn>
                <a:cxn ang="0">
                  <a:pos x="connsiteX9765" y="connsiteY9765"/>
                </a:cxn>
                <a:cxn ang="0">
                  <a:pos x="connsiteX9766" y="connsiteY9766"/>
                </a:cxn>
                <a:cxn ang="0">
                  <a:pos x="connsiteX9767" y="connsiteY9767"/>
                </a:cxn>
                <a:cxn ang="0">
                  <a:pos x="connsiteX9768" y="connsiteY9768"/>
                </a:cxn>
                <a:cxn ang="0">
                  <a:pos x="connsiteX9769" y="connsiteY9769"/>
                </a:cxn>
                <a:cxn ang="0">
                  <a:pos x="connsiteX9770" y="connsiteY9770"/>
                </a:cxn>
                <a:cxn ang="0">
                  <a:pos x="connsiteX9771" y="connsiteY9771"/>
                </a:cxn>
                <a:cxn ang="0">
                  <a:pos x="connsiteX9772" y="connsiteY9772"/>
                </a:cxn>
                <a:cxn ang="0">
                  <a:pos x="connsiteX9773" y="connsiteY9773"/>
                </a:cxn>
                <a:cxn ang="0">
                  <a:pos x="connsiteX9774" y="connsiteY9774"/>
                </a:cxn>
                <a:cxn ang="0">
                  <a:pos x="connsiteX9775" y="connsiteY9775"/>
                </a:cxn>
                <a:cxn ang="0">
                  <a:pos x="connsiteX9776" y="connsiteY9776"/>
                </a:cxn>
                <a:cxn ang="0">
                  <a:pos x="connsiteX9777" y="connsiteY9777"/>
                </a:cxn>
                <a:cxn ang="0">
                  <a:pos x="connsiteX9778" y="connsiteY9778"/>
                </a:cxn>
                <a:cxn ang="0">
                  <a:pos x="connsiteX9779" y="connsiteY9779"/>
                </a:cxn>
                <a:cxn ang="0">
                  <a:pos x="connsiteX9780" y="connsiteY9780"/>
                </a:cxn>
                <a:cxn ang="0">
                  <a:pos x="connsiteX9781" y="connsiteY9781"/>
                </a:cxn>
                <a:cxn ang="0">
                  <a:pos x="connsiteX9782" y="connsiteY9782"/>
                </a:cxn>
                <a:cxn ang="0">
                  <a:pos x="connsiteX9783" y="connsiteY9783"/>
                </a:cxn>
                <a:cxn ang="0">
                  <a:pos x="connsiteX9784" y="connsiteY9784"/>
                </a:cxn>
                <a:cxn ang="0">
                  <a:pos x="connsiteX9785" y="connsiteY9785"/>
                </a:cxn>
                <a:cxn ang="0">
                  <a:pos x="connsiteX9786" y="connsiteY9786"/>
                </a:cxn>
                <a:cxn ang="0">
                  <a:pos x="connsiteX9787" y="connsiteY9787"/>
                </a:cxn>
                <a:cxn ang="0">
                  <a:pos x="connsiteX9788" y="connsiteY9788"/>
                </a:cxn>
                <a:cxn ang="0">
                  <a:pos x="connsiteX9789" y="connsiteY9789"/>
                </a:cxn>
                <a:cxn ang="0">
                  <a:pos x="connsiteX9790" y="connsiteY9790"/>
                </a:cxn>
                <a:cxn ang="0">
                  <a:pos x="connsiteX9791" y="connsiteY9791"/>
                </a:cxn>
                <a:cxn ang="0">
                  <a:pos x="connsiteX9792" y="connsiteY9792"/>
                </a:cxn>
                <a:cxn ang="0">
                  <a:pos x="connsiteX9793" y="connsiteY9793"/>
                </a:cxn>
                <a:cxn ang="0">
                  <a:pos x="connsiteX9794" y="connsiteY9794"/>
                </a:cxn>
                <a:cxn ang="0">
                  <a:pos x="connsiteX9795" y="connsiteY9795"/>
                </a:cxn>
                <a:cxn ang="0">
                  <a:pos x="connsiteX9796" y="connsiteY9796"/>
                </a:cxn>
                <a:cxn ang="0">
                  <a:pos x="connsiteX9797" y="connsiteY9797"/>
                </a:cxn>
                <a:cxn ang="0">
                  <a:pos x="connsiteX9798" y="connsiteY9798"/>
                </a:cxn>
                <a:cxn ang="0">
                  <a:pos x="connsiteX9799" y="connsiteY9799"/>
                </a:cxn>
                <a:cxn ang="0">
                  <a:pos x="connsiteX9800" y="connsiteY9800"/>
                </a:cxn>
                <a:cxn ang="0">
                  <a:pos x="connsiteX9801" y="connsiteY9801"/>
                </a:cxn>
                <a:cxn ang="0">
                  <a:pos x="connsiteX9802" y="connsiteY9802"/>
                </a:cxn>
                <a:cxn ang="0">
                  <a:pos x="connsiteX9803" y="connsiteY9803"/>
                </a:cxn>
                <a:cxn ang="0">
                  <a:pos x="connsiteX9804" y="connsiteY9804"/>
                </a:cxn>
                <a:cxn ang="0">
                  <a:pos x="connsiteX9805" y="connsiteY9805"/>
                </a:cxn>
                <a:cxn ang="0">
                  <a:pos x="connsiteX9806" y="connsiteY9806"/>
                </a:cxn>
                <a:cxn ang="0">
                  <a:pos x="connsiteX9807" y="connsiteY9807"/>
                </a:cxn>
                <a:cxn ang="0">
                  <a:pos x="connsiteX9808" y="connsiteY9808"/>
                </a:cxn>
                <a:cxn ang="0">
                  <a:pos x="connsiteX9809" y="connsiteY9809"/>
                </a:cxn>
                <a:cxn ang="0">
                  <a:pos x="connsiteX9810" y="connsiteY9810"/>
                </a:cxn>
                <a:cxn ang="0">
                  <a:pos x="connsiteX9811" y="connsiteY9811"/>
                </a:cxn>
                <a:cxn ang="0">
                  <a:pos x="connsiteX9812" y="connsiteY9812"/>
                </a:cxn>
                <a:cxn ang="0">
                  <a:pos x="connsiteX9813" y="connsiteY9813"/>
                </a:cxn>
                <a:cxn ang="0">
                  <a:pos x="connsiteX9814" y="connsiteY9814"/>
                </a:cxn>
                <a:cxn ang="0">
                  <a:pos x="connsiteX9815" y="connsiteY9815"/>
                </a:cxn>
                <a:cxn ang="0">
                  <a:pos x="connsiteX9816" y="connsiteY9816"/>
                </a:cxn>
                <a:cxn ang="0">
                  <a:pos x="connsiteX9817" y="connsiteY9817"/>
                </a:cxn>
                <a:cxn ang="0">
                  <a:pos x="connsiteX9818" y="connsiteY9818"/>
                </a:cxn>
                <a:cxn ang="0">
                  <a:pos x="connsiteX9819" y="connsiteY9819"/>
                </a:cxn>
                <a:cxn ang="0">
                  <a:pos x="connsiteX9820" y="connsiteY9820"/>
                </a:cxn>
                <a:cxn ang="0">
                  <a:pos x="connsiteX9821" y="connsiteY9821"/>
                </a:cxn>
                <a:cxn ang="0">
                  <a:pos x="connsiteX9822" y="connsiteY9822"/>
                </a:cxn>
                <a:cxn ang="0">
                  <a:pos x="connsiteX9823" y="connsiteY9823"/>
                </a:cxn>
                <a:cxn ang="0">
                  <a:pos x="connsiteX9824" y="connsiteY9824"/>
                </a:cxn>
                <a:cxn ang="0">
                  <a:pos x="connsiteX9825" y="connsiteY9825"/>
                </a:cxn>
                <a:cxn ang="0">
                  <a:pos x="connsiteX9826" y="connsiteY9826"/>
                </a:cxn>
                <a:cxn ang="0">
                  <a:pos x="connsiteX9827" y="connsiteY9827"/>
                </a:cxn>
                <a:cxn ang="0">
                  <a:pos x="connsiteX9828" y="connsiteY9828"/>
                </a:cxn>
                <a:cxn ang="0">
                  <a:pos x="connsiteX9829" y="connsiteY9829"/>
                </a:cxn>
                <a:cxn ang="0">
                  <a:pos x="connsiteX9830" y="connsiteY9830"/>
                </a:cxn>
                <a:cxn ang="0">
                  <a:pos x="connsiteX9831" y="connsiteY9831"/>
                </a:cxn>
                <a:cxn ang="0">
                  <a:pos x="connsiteX9832" y="connsiteY9832"/>
                </a:cxn>
                <a:cxn ang="0">
                  <a:pos x="connsiteX9833" y="connsiteY9833"/>
                </a:cxn>
                <a:cxn ang="0">
                  <a:pos x="connsiteX9834" y="connsiteY9834"/>
                </a:cxn>
                <a:cxn ang="0">
                  <a:pos x="connsiteX9835" y="connsiteY9835"/>
                </a:cxn>
                <a:cxn ang="0">
                  <a:pos x="connsiteX9836" y="connsiteY9836"/>
                </a:cxn>
                <a:cxn ang="0">
                  <a:pos x="connsiteX9837" y="connsiteY9837"/>
                </a:cxn>
                <a:cxn ang="0">
                  <a:pos x="connsiteX9838" y="connsiteY9838"/>
                </a:cxn>
                <a:cxn ang="0">
                  <a:pos x="connsiteX9839" y="connsiteY9839"/>
                </a:cxn>
                <a:cxn ang="0">
                  <a:pos x="connsiteX9840" y="connsiteY9840"/>
                </a:cxn>
                <a:cxn ang="0">
                  <a:pos x="connsiteX9841" y="connsiteY9841"/>
                </a:cxn>
                <a:cxn ang="0">
                  <a:pos x="connsiteX9842" y="connsiteY9842"/>
                </a:cxn>
                <a:cxn ang="0">
                  <a:pos x="connsiteX9843" y="connsiteY9843"/>
                </a:cxn>
                <a:cxn ang="0">
                  <a:pos x="connsiteX9844" y="connsiteY9844"/>
                </a:cxn>
                <a:cxn ang="0">
                  <a:pos x="connsiteX9845" y="connsiteY9845"/>
                </a:cxn>
                <a:cxn ang="0">
                  <a:pos x="connsiteX9846" y="connsiteY9846"/>
                </a:cxn>
                <a:cxn ang="0">
                  <a:pos x="connsiteX9847" y="connsiteY9847"/>
                </a:cxn>
                <a:cxn ang="0">
                  <a:pos x="connsiteX9848" y="connsiteY9848"/>
                </a:cxn>
                <a:cxn ang="0">
                  <a:pos x="connsiteX9849" y="connsiteY9849"/>
                </a:cxn>
                <a:cxn ang="0">
                  <a:pos x="connsiteX9850" y="connsiteY9850"/>
                </a:cxn>
                <a:cxn ang="0">
                  <a:pos x="connsiteX9851" y="connsiteY9851"/>
                </a:cxn>
                <a:cxn ang="0">
                  <a:pos x="connsiteX9852" y="connsiteY9852"/>
                </a:cxn>
                <a:cxn ang="0">
                  <a:pos x="connsiteX9853" y="connsiteY9853"/>
                </a:cxn>
                <a:cxn ang="0">
                  <a:pos x="connsiteX9854" y="connsiteY9854"/>
                </a:cxn>
                <a:cxn ang="0">
                  <a:pos x="connsiteX9855" y="connsiteY9855"/>
                </a:cxn>
                <a:cxn ang="0">
                  <a:pos x="connsiteX9856" y="connsiteY9856"/>
                </a:cxn>
                <a:cxn ang="0">
                  <a:pos x="connsiteX9857" y="connsiteY9857"/>
                </a:cxn>
                <a:cxn ang="0">
                  <a:pos x="connsiteX9858" y="connsiteY9858"/>
                </a:cxn>
                <a:cxn ang="0">
                  <a:pos x="connsiteX9859" y="connsiteY9859"/>
                </a:cxn>
                <a:cxn ang="0">
                  <a:pos x="connsiteX9860" y="connsiteY9860"/>
                </a:cxn>
                <a:cxn ang="0">
                  <a:pos x="connsiteX9861" y="connsiteY9861"/>
                </a:cxn>
                <a:cxn ang="0">
                  <a:pos x="connsiteX9862" y="connsiteY9862"/>
                </a:cxn>
                <a:cxn ang="0">
                  <a:pos x="connsiteX9863" y="connsiteY9863"/>
                </a:cxn>
                <a:cxn ang="0">
                  <a:pos x="connsiteX9864" y="connsiteY9864"/>
                </a:cxn>
                <a:cxn ang="0">
                  <a:pos x="connsiteX9865" y="connsiteY9865"/>
                </a:cxn>
                <a:cxn ang="0">
                  <a:pos x="connsiteX9866" y="connsiteY9866"/>
                </a:cxn>
                <a:cxn ang="0">
                  <a:pos x="connsiteX9867" y="connsiteY9867"/>
                </a:cxn>
                <a:cxn ang="0">
                  <a:pos x="connsiteX9868" y="connsiteY9868"/>
                </a:cxn>
                <a:cxn ang="0">
                  <a:pos x="connsiteX9869" y="connsiteY9869"/>
                </a:cxn>
                <a:cxn ang="0">
                  <a:pos x="connsiteX9870" y="connsiteY9870"/>
                </a:cxn>
                <a:cxn ang="0">
                  <a:pos x="connsiteX9871" y="connsiteY9871"/>
                </a:cxn>
                <a:cxn ang="0">
                  <a:pos x="connsiteX9872" y="connsiteY9872"/>
                </a:cxn>
                <a:cxn ang="0">
                  <a:pos x="connsiteX9873" y="connsiteY9873"/>
                </a:cxn>
                <a:cxn ang="0">
                  <a:pos x="connsiteX9874" y="connsiteY9874"/>
                </a:cxn>
                <a:cxn ang="0">
                  <a:pos x="connsiteX9875" y="connsiteY9875"/>
                </a:cxn>
                <a:cxn ang="0">
                  <a:pos x="connsiteX9876" y="connsiteY9876"/>
                </a:cxn>
                <a:cxn ang="0">
                  <a:pos x="connsiteX9877" y="connsiteY9877"/>
                </a:cxn>
                <a:cxn ang="0">
                  <a:pos x="connsiteX9878" y="connsiteY9878"/>
                </a:cxn>
                <a:cxn ang="0">
                  <a:pos x="connsiteX9879" y="connsiteY9879"/>
                </a:cxn>
                <a:cxn ang="0">
                  <a:pos x="connsiteX9880" y="connsiteY9880"/>
                </a:cxn>
                <a:cxn ang="0">
                  <a:pos x="connsiteX9881" y="connsiteY9881"/>
                </a:cxn>
                <a:cxn ang="0">
                  <a:pos x="connsiteX9882" y="connsiteY9882"/>
                </a:cxn>
                <a:cxn ang="0">
                  <a:pos x="connsiteX9883" y="connsiteY9883"/>
                </a:cxn>
                <a:cxn ang="0">
                  <a:pos x="connsiteX9884" y="connsiteY9884"/>
                </a:cxn>
                <a:cxn ang="0">
                  <a:pos x="connsiteX9885" y="connsiteY9885"/>
                </a:cxn>
                <a:cxn ang="0">
                  <a:pos x="connsiteX9886" y="connsiteY9886"/>
                </a:cxn>
                <a:cxn ang="0">
                  <a:pos x="connsiteX9887" y="connsiteY9887"/>
                </a:cxn>
                <a:cxn ang="0">
                  <a:pos x="connsiteX9888" y="connsiteY9888"/>
                </a:cxn>
                <a:cxn ang="0">
                  <a:pos x="connsiteX9889" y="connsiteY9889"/>
                </a:cxn>
                <a:cxn ang="0">
                  <a:pos x="connsiteX9890" y="connsiteY9890"/>
                </a:cxn>
                <a:cxn ang="0">
                  <a:pos x="connsiteX9891" y="connsiteY9891"/>
                </a:cxn>
                <a:cxn ang="0">
                  <a:pos x="connsiteX9892" y="connsiteY9892"/>
                </a:cxn>
                <a:cxn ang="0">
                  <a:pos x="connsiteX9893" y="connsiteY9893"/>
                </a:cxn>
                <a:cxn ang="0">
                  <a:pos x="connsiteX9894" y="connsiteY9894"/>
                </a:cxn>
                <a:cxn ang="0">
                  <a:pos x="connsiteX9895" y="connsiteY9895"/>
                </a:cxn>
                <a:cxn ang="0">
                  <a:pos x="connsiteX9896" y="connsiteY9896"/>
                </a:cxn>
                <a:cxn ang="0">
                  <a:pos x="connsiteX9897" y="connsiteY9897"/>
                </a:cxn>
                <a:cxn ang="0">
                  <a:pos x="connsiteX9898" y="connsiteY9898"/>
                </a:cxn>
                <a:cxn ang="0">
                  <a:pos x="connsiteX9899" y="connsiteY9899"/>
                </a:cxn>
                <a:cxn ang="0">
                  <a:pos x="connsiteX9900" y="connsiteY9900"/>
                </a:cxn>
                <a:cxn ang="0">
                  <a:pos x="connsiteX9901" y="connsiteY9901"/>
                </a:cxn>
                <a:cxn ang="0">
                  <a:pos x="connsiteX9902" y="connsiteY9902"/>
                </a:cxn>
                <a:cxn ang="0">
                  <a:pos x="connsiteX9903" y="connsiteY9903"/>
                </a:cxn>
                <a:cxn ang="0">
                  <a:pos x="connsiteX9904" y="connsiteY9904"/>
                </a:cxn>
                <a:cxn ang="0">
                  <a:pos x="connsiteX9905" y="connsiteY9905"/>
                </a:cxn>
                <a:cxn ang="0">
                  <a:pos x="connsiteX9906" y="connsiteY9906"/>
                </a:cxn>
                <a:cxn ang="0">
                  <a:pos x="connsiteX9907" y="connsiteY9907"/>
                </a:cxn>
                <a:cxn ang="0">
                  <a:pos x="connsiteX9908" y="connsiteY9908"/>
                </a:cxn>
                <a:cxn ang="0">
                  <a:pos x="connsiteX9909" y="connsiteY9909"/>
                </a:cxn>
                <a:cxn ang="0">
                  <a:pos x="connsiteX9910" y="connsiteY9910"/>
                </a:cxn>
                <a:cxn ang="0">
                  <a:pos x="connsiteX9911" y="connsiteY9911"/>
                </a:cxn>
                <a:cxn ang="0">
                  <a:pos x="connsiteX9912" y="connsiteY9912"/>
                </a:cxn>
                <a:cxn ang="0">
                  <a:pos x="connsiteX9913" y="connsiteY9913"/>
                </a:cxn>
                <a:cxn ang="0">
                  <a:pos x="connsiteX9914" y="connsiteY9914"/>
                </a:cxn>
                <a:cxn ang="0">
                  <a:pos x="connsiteX9915" y="connsiteY9915"/>
                </a:cxn>
                <a:cxn ang="0">
                  <a:pos x="connsiteX9916" y="connsiteY9916"/>
                </a:cxn>
                <a:cxn ang="0">
                  <a:pos x="connsiteX9917" y="connsiteY9917"/>
                </a:cxn>
                <a:cxn ang="0">
                  <a:pos x="connsiteX9918" y="connsiteY9918"/>
                </a:cxn>
                <a:cxn ang="0">
                  <a:pos x="connsiteX9919" y="connsiteY9919"/>
                </a:cxn>
                <a:cxn ang="0">
                  <a:pos x="connsiteX9920" y="connsiteY9920"/>
                </a:cxn>
                <a:cxn ang="0">
                  <a:pos x="connsiteX9921" y="connsiteY9921"/>
                </a:cxn>
                <a:cxn ang="0">
                  <a:pos x="connsiteX9922" y="connsiteY9922"/>
                </a:cxn>
                <a:cxn ang="0">
                  <a:pos x="connsiteX9923" y="connsiteY9923"/>
                </a:cxn>
                <a:cxn ang="0">
                  <a:pos x="connsiteX9924" y="connsiteY9924"/>
                </a:cxn>
                <a:cxn ang="0">
                  <a:pos x="connsiteX9925" y="connsiteY9925"/>
                </a:cxn>
                <a:cxn ang="0">
                  <a:pos x="connsiteX9926" y="connsiteY9926"/>
                </a:cxn>
                <a:cxn ang="0">
                  <a:pos x="connsiteX9927" y="connsiteY9927"/>
                </a:cxn>
                <a:cxn ang="0">
                  <a:pos x="connsiteX9928" y="connsiteY9928"/>
                </a:cxn>
                <a:cxn ang="0">
                  <a:pos x="connsiteX9929" y="connsiteY9929"/>
                </a:cxn>
                <a:cxn ang="0">
                  <a:pos x="connsiteX9930" y="connsiteY9930"/>
                </a:cxn>
                <a:cxn ang="0">
                  <a:pos x="connsiteX9931" y="connsiteY9931"/>
                </a:cxn>
                <a:cxn ang="0">
                  <a:pos x="connsiteX9932" y="connsiteY9932"/>
                </a:cxn>
                <a:cxn ang="0">
                  <a:pos x="connsiteX9933" y="connsiteY9933"/>
                </a:cxn>
                <a:cxn ang="0">
                  <a:pos x="connsiteX9934" y="connsiteY9934"/>
                </a:cxn>
                <a:cxn ang="0">
                  <a:pos x="connsiteX9935" y="connsiteY9935"/>
                </a:cxn>
                <a:cxn ang="0">
                  <a:pos x="connsiteX9936" y="connsiteY9936"/>
                </a:cxn>
                <a:cxn ang="0">
                  <a:pos x="connsiteX9937" y="connsiteY9937"/>
                </a:cxn>
                <a:cxn ang="0">
                  <a:pos x="connsiteX9938" y="connsiteY9938"/>
                </a:cxn>
                <a:cxn ang="0">
                  <a:pos x="connsiteX9939" y="connsiteY9939"/>
                </a:cxn>
                <a:cxn ang="0">
                  <a:pos x="connsiteX9940" y="connsiteY9940"/>
                </a:cxn>
                <a:cxn ang="0">
                  <a:pos x="connsiteX9941" y="connsiteY9941"/>
                </a:cxn>
                <a:cxn ang="0">
                  <a:pos x="connsiteX9942" y="connsiteY9942"/>
                </a:cxn>
                <a:cxn ang="0">
                  <a:pos x="connsiteX9943" y="connsiteY9943"/>
                </a:cxn>
                <a:cxn ang="0">
                  <a:pos x="connsiteX9944" y="connsiteY9944"/>
                </a:cxn>
                <a:cxn ang="0">
                  <a:pos x="connsiteX9945" y="connsiteY9945"/>
                </a:cxn>
                <a:cxn ang="0">
                  <a:pos x="connsiteX9946" y="connsiteY9946"/>
                </a:cxn>
                <a:cxn ang="0">
                  <a:pos x="connsiteX9947" y="connsiteY9947"/>
                </a:cxn>
                <a:cxn ang="0">
                  <a:pos x="connsiteX9948" y="connsiteY9948"/>
                </a:cxn>
                <a:cxn ang="0">
                  <a:pos x="connsiteX9949" y="connsiteY9949"/>
                </a:cxn>
                <a:cxn ang="0">
                  <a:pos x="connsiteX9950" y="connsiteY9950"/>
                </a:cxn>
                <a:cxn ang="0">
                  <a:pos x="connsiteX9951" y="connsiteY9951"/>
                </a:cxn>
                <a:cxn ang="0">
                  <a:pos x="connsiteX9952" y="connsiteY9952"/>
                </a:cxn>
                <a:cxn ang="0">
                  <a:pos x="connsiteX9953" y="connsiteY9953"/>
                </a:cxn>
                <a:cxn ang="0">
                  <a:pos x="connsiteX9954" y="connsiteY9954"/>
                </a:cxn>
                <a:cxn ang="0">
                  <a:pos x="connsiteX9955" y="connsiteY9955"/>
                </a:cxn>
                <a:cxn ang="0">
                  <a:pos x="connsiteX9956" y="connsiteY9956"/>
                </a:cxn>
                <a:cxn ang="0">
                  <a:pos x="connsiteX9957" y="connsiteY9957"/>
                </a:cxn>
                <a:cxn ang="0">
                  <a:pos x="connsiteX9958" y="connsiteY9958"/>
                </a:cxn>
                <a:cxn ang="0">
                  <a:pos x="connsiteX9959" y="connsiteY9959"/>
                </a:cxn>
                <a:cxn ang="0">
                  <a:pos x="connsiteX9960" y="connsiteY9960"/>
                </a:cxn>
                <a:cxn ang="0">
                  <a:pos x="connsiteX9961" y="connsiteY9961"/>
                </a:cxn>
                <a:cxn ang="0">
                  <a:pos x="connsiteX9962" y="connsiteY9962"/>
                </a:cxn>
                <a:cxn ang="0">
                  <a:pos x="connsiteX9963" y="connsiteY9963"/>
                </a:cxn>
                <a:cxn ang="0">
                  <a:pos x="connsiteX9964" y="connsiteY9964"/>
                </a:cxn>
                <a:cxn ang="0">
                  <a:pos x="connsiteX9965" y="connsiteY9965"/>
                </a:cxn>
                <a:cxn ang="0">
                  <a:pos x="connsiteX9966" y="connsiteY9966"/>
                </a:cxn>
                <a:cxn ang="0">
                  <a:pos x="connsiteX9967" y="connsiteY9967"/>
                </a:cxn>
                <a:cxn ang="0">
                  <a:pos x="connsiteX9968" y="connsiteY9968"/>
                </a:cxn>
                <a:cxn ang="0">
                  <a:pos x="connsiteX9969" y="connsiteY9969"/>
                </a:cxn>
                <a:cxn ang="0">
                  <a:pos x="connsiteX9970" y="connsiteY9970"/>
                </a:cxn>
                <a:cxn ang="0">
                  <a:pos x="connsiteX9971" y="connsiteY9971"/>
                </a:cxn>
                <a:cxn ang="0">
                  <a:pos x="connsiteX9972" y="connsiteY9972"/>
                </a:cxn>
                <a:cxn ang="0">
                  <a:pos x="connsiteX9973" y="connsiteY9973"/>
                </a:cxn>
                <a:cxn ang="0">
                  <a:pos x="connsiteX9974" y="connsiteY9974"/>
                </a:cxn>
                <a:cxn ang="0">
                  <a:pos x="connsiteX9975" y="connsiteY9975"/>
                </a:cxn>
                <a:cxn ang="0">
                  <a:pos x="connsiteX9976" y="connsiteY9976"/>
                </a:cxn>
                <a:cxn ang="0">
                  <a:pos x="connsiteX9977" y="connsiteY9977"/>
                </a:cxn>
                <a:cxn ang="0">
                  <a:pos x="connsiteX9978" y="connsiteY9978"/>
                </a:cxn>
                <a:cxn ang="0">
                  <a:pos x="connsiteX9979" y="connsiteY9979"/>
                </a:cxn>
                <a:cxn ang="0">
                  <a:pos x="connsiteX9980" y="connsiteY9980"/>
                </a:cxn>
                <a:cxn ang="0">
                  <a:pos x="connsiteX9981" y="connsiteY9981"/>
                </a:cxn>
                <a:cxn ang="0">
                  <a:pos x="connsiteX9982" y="connsiteY9982"/>
                </a:cxn>
                <a:cxn ang="0">
                  <a:pos x="connsiteX9983" y="connsiteY9983"/>
                </a:cxn>
                <a:cxn ang="0">
                  <a:pos x="connsiteX9984" y="connsiteY9984"/>
                </a:cxn>
                <a:cxn ang="0">
                  <a:pos x="connsiteX9985" y="connsiteY9985"/>
                </a:cxn>
                <a:cxn ang="0">
                  <a:pos x="connsiteX9986" y="connsiteY9986"/>
                </a:cxn>
                <a:cxn ang="0">
                  <a:pos x="connsiteX9987" y="connsiteY9987"/>
                </a:cxn>
                <a:cxn ang="0">
                  <a:pos x="connsiteX9988" y="connsiteY9988"/>
                </a:cxn>
                <a:cxn ang="0">
                  <a:pos x="connsiteX9989" y="connsiteY9989"/>
                </a:cxn>
                <a:cxn ang="0">
                  <a:pos x="connsiteX9990" y="connsiteY9990"/>
                </a:cxn>
                <a:cxn ang="0">
                  <a:pos x="connsiteX9991" y="connsiteY9991"/>
                </a:cxn>
                <a:cxn ang="0">
                  <a:pos x="connsiteX9992" y="connsiteY9992"/>
                </a:cxn>
                <a:cxn ang="0">
                  <a:pos x="connsiteX9993" y="connsiteY9993"/>
                </a:cxn>
                <a:cxn ang="0">
                  <a:pos x="connsiteX9994" y="connsiteY9994"/>
                </a:cxn>
                <a:cxn ang="0">
                  <a:pos x="connsiteX9995" y="connsiteY9995"/>
                </a:cxn>
                <a:cxn ang="0">
                  <a:pos x="connsiteX9996" y="connsiteY9996"/>
                </a:cxn>
                <a:cxn ang="0">
                  <a:pos x="connsiteX9997" y="connsiteY9997"/>
                </a:cxn>
                <a:cxn ang="0">
                  <a:pos x="connsiteX9998" y="connsiteY9998"/>
                </a:cxn>
                <a:cxn ang="0">
                  <a:pos x="connsiteX9999" y="connsiteY9999"/>
                </a:cxn>
                <a:cxn ang="0">
                  <a:pos x="connsiteX10000" y="connsiteY10000"/>
                </a:cxn>
                <a:cxn ang="0">
                  <a:pos x="connsiteX10001" y="connsiteY10001"/>
                </a:cxn>
                <a:cxn ang="0">
                  <a:pos x="connsiteX10002" y="connsiteY10002"/>
                </a:cxn>
                <a:cxn ang="0">
                  <a:pos x="connsiteX10003" y="connsiteY10003"/>
                </a:cxn>
                <a:cxn ang="0">
                  <a:pos x="connsiteX10004" y="connsiteY10004"/>
                </a:cxn>
                <a:cxn ang="0">
                  <a:pos x="connsiteX10005" y="connsiteY10005"/>
                </a:cxn>
                <a:cxn ang="0">
                  <a:pos x="connsiteX10006" y="connsiteY10006"/>
                </a:cxn>
                <a:cxn ang="0">
                  <a:pos x="connsiteX10007" y="connsiteY10007"/>
                </a:cxn>
                <a:cxn ang="0">
                  <a:pos x="connsiteX10008" y="connsiteY10008"/>
                </a:cxn>
                <a:cxn ang="0">
                  <a:pos x="connsiteX10009" y="connsiteY10009"/>
                </a:cxn>
                <a:cxn ang="0">
                  <a:pos x="connsiteX10010" y="connsiteY10010"/>
                </a:cxn>
                <a:cxn ang="0">
                  <a:pos x="connsiteX10011" y="connsiteY10011"/>
                </a:cxn>
                <a:cxn ang="0">
                  <a:pos x="connsiteX10012" y="connsiteY10012"/>
                </a:cxn>
                <a:cxn ang="0">
                  <a:pos x="connsiteX10013" y="connsiteY10013"/>
                </a:cxn>
                <a:cxn ang="0">
                  <a:pos x="connsiteX10014" y="connsiteY10014"/>
                </a:cxn>
                <a:cxn ang="0">
                  <a:pos x="connsiteX10015" y="connsiteY10015"/>
                </a:cxn>
                <a:cxn ang="0">
                  <a:pos x="connsiteX10016" y="connsiteY10016"/>
                </a:cxn>
                <a:cxn ang="0">
                  <a:pos x="connsiteX10017" y="connsiteY10017"/>
                </a:cxn>
                <a:cxn ang="0">
                  <a:pos x="connsiteX10018" y="connsiteY10018"/>
                </a:cxn>
                <a:cxn ang="0">
                  <a:pos x="connsiteX10019" y="connsiteY10019"/>
                </a:cxn>
                <a:cxn ang="0">
                  <a:pos x="connsiteX10020" y="connsiteY10020"/>
                </a:cxn>
                <a:cxn ang="0">
                  <a:pos x="connsiteX10021" y="connsiteY10021"/>
                </a:cxn>
                <a:cxn ang="0">
                  <a:pos x="connsiteX10022" y="connsiteY10022"/>
                </a:cxn>
                <a:cxn ang="0">
                  <a:pos x="connsiteX10023" y="connsiteY10023"/>
                </a:cxn>
                <a:cxn ang="0">
                  <a:pos x="connsiteX10024" y="connsiteY10024"/>
                </a:cxn>
                <a:cxn ang="0">
                  <a:pos x="connsiteX10025" y="connsiteY10025"/>
                </a:cxn>
                <a:cxn ang="0">
                  <a:pos x="connsiteX10026" y="connsiteY10026"/>
                </a:cxn>
                <a:cxn ang="0">
                  <a:pos x="connsiteX10027" y="connsiteY10027"/>
                </a:cxn>
                <a:cxn ang="0">
                  <a:pos x="connsiteX10028" y="connsiteY10028"/>
                </a:cxn>
                <a:cxn ang="0">
                  <a:pos x="connsiteX10029" y="connsiteY10029"/>
                </a:cxn>
                <a:cxn ang="0">
                  <a:pos x="connsiteX10030" y="connsiteY10030"/>
                </a:cxn>
                <a:cxn ang="0">
                  <a:pos x="connsiteX10031" y="connsiteY10031"/>
                </a:cxn>
                <a:cxn ang="0">
                  <a:pos x="connsiteX10032" y="connsiteY10032"/>
                </a:cxn>
                <a:cxn ang="0">
                  <a:pos x="connsiteX10033" y="connsiteY10033"/>
                </a:cxn>
                <a:cxn ang="0">
                  <a:pos x="connsiteX10034" y="connsiteY10034"/>
                </a:cxn>
                <a:cxn ang="0">
                  <a:pos x="connsiteX10035" y="connsiteY10035"/>
                </a:cxn>
                <a:cxn ang="0">
                  <a:pos x="connsiteX10036" y="connsiteY10036"/>
                </a:cxn>
                <a:cxn ang="0">
                  <a:pos x="connsiteX10037" y="connsiteY10037"/>
                </a:cxn>
                <a:cxn ang="0">
                  <a:pos x="connsiteX10038" y="connsiteY10038"/>
                </a:cxn>
                <a:cxn ang="0">
                  <a:pos x="connsiteX10039" y="connsiteY10039"/>
                </a:cxn>
                <a:cxn ang="0">
                  <a:pos x="connsiteX10040" y="connsiteY10040"/>
                </a:cxn>
                <a:cxn ang="0">
                  <a:pos x="connsiteX10041" y="connsiteY10041"/>
                </a:cxn>
                <a:cxn ang="0">
                  <a:pos x="connsiteX10042" y="connsiteY10042"/>
                </a:cxn>
                <a:cxn ang="0">
                  <a:pos x="connsiteX10043" y="connsiteY10043"/>
                </a:cxn>
                <a:cxn ang="0">
                  <a:pos x="connsiteX10044" y="connsiteY10044"/>
                </a:cxn>
                <a:cxn ang="0">
                  <a:pos x="connsiteX10045" y="connsiteY10045"/>
                </a:cxn>
                <a:cxn ang="0">
                  <a:pos x="connsiteX10046" y="connsiteY10046"/>
                </a:cxn>
                <a:cxn ang="0">
                  <a:pos x="connsiteX10047" y="connsiteY10047"/>
                </a:cxn>
                <a:cxn ang="0">
                  <a:pos x="connsiteX10048" y="connsiteY10048"/>
                </a:cxn>
                <a:cxn ang="0">
                  <a:pos x="connsiteX10049" y="connsiteY10049"/>
                </a:cxn>
                <a:cxn ang="0">
                  <a:pos x="connsiteX10050" y="connsiteY10050"/>
                </a:cxn>
                <a:cxn ang="0">
                  <a:pos x="connsiteX10051" y="connsiteY10051"/>
                </a:cxn>
                <a:cxn ang="0">
                  <a:pos x="connsiteX10052" y="connsiteY10052"/>
                </a:cxn>
                <a:cxn ang="0">
                  <a:pos x="connsiteX10053" y="connsiteY10053"/>
                </a:cxn>
                <a:cxn ang="0">
                  <a:pos x="connsiteX10054" y="connsiteY10054"/>
                </a:cxn>
                <a:cxn ang="0">
                  <a:pos x="connsiteX10055" y="connsiteY10055"/>
                </a:cxn>
                <a:cxn ang="0">
                  <a:pos x="connsiteX10056" y="connsiteY10056"/>
                </a:cxn>
                <a:cxn ang="0">
                  <a:pos x="connsiteX10057" y="connsiteY10057"/>
                </a:cxn>
                <a:cxn ang="0">
                  <a:pos x="connsiteX10058" y="connsiteY10058"/>
                </a:cxn>
                <a:cxn ang="0">
                  <a:pos x="connsiteX10059" y="connsiteY10059"/>
                </a:cxn>
                <a:cxn ang="0">
                  <a:pos x="connsiteX10060" y="connsiteY10060"/>
                </a:cxn>
                <a:cxn ang="0">
                  <a:pos x="connsiteX10061" y="connsiteY10061"/>
                </a:cxn>
                <a:cxn ang="0">
                  <a:pos x="connsiteX10062" y="connsiteY10062"/>
                </a:cxn>
                <a:cxn ang="0">
                  <a:pos x="connsiteX10063" y="connsiteY10063"/>
                </a:cxn>
                <a:cxn ang="0">
                  <a:pos x="connsiteX10064" y="connsiteY10064"/>
                </a:cxn>
                <a:cxn ang="0">
                  <a:pos x="connsiteX10065" y="connsiteY10065"/>
                </a:cxn>
                <a:cxn ang="0">
                  <a:pos x="connsiteX10066" y="connsiteY10066"/>
                </a:cxn>
                <a:cxn ang="0">
                  <a:pos x="connsiteX10067" y="connsiteY10067"/>
                </a:cxn>
                <a:cxn ang="0">
                  <a:pos x="connsiteX10068" y="connsiteY10068"/>
                </a:cxn>
                <a:cxn ang="0">
                  <a:pos x="connsiteX10069" y="connsiteY10069"/>
                </a:cxn>
                <a:cxn ang="0">
                  <a:pos x="connsiteX10070" y="connsiteY10070"/>
                </a:cxn>
                <a:cxn ang="0">
                  <a:pos x="connsiteX10071" y="connsiteY10071"/>
                </a:cxn>
                <a:cxn ang="0">
                  <a:pos x="connsiteX10072" y="connsiteY10072"/>
                </a:cxn>
                <a:cxn ang="0">
                  <a:pos x="connsiteX10073" y="connsiteY10073"/>
                </a:cxn>
                <a:cxn ang="0">
                  <a:pos x="connsiteX10074" y="connsiteY10074"/>
                </a:cxn>
                <a:cxn ang="0">
                  <a:pos x="connsiteX10075" y="connsiteY10075"/>
                </a:cxn>
                <a:cxn ang="0">
                  <a:pos x="connsiteX10076" y="connsiteY10076"/>
                </a:cxn>
                <a:cxn ang="0">
                  <a:pos x="connsiteX10077" y="connsiteY10077"/>
                </a:cxn>
                <a:cxn ang="0">
                  <a:pos x="connsiteX10078" y="connsiteY10078"/>
                </a:cxn>
                <a:cxn ang="0">
                  <a:pos x="connsiteX10079" y="connsiteY10079"/>
                </a:cxn>
                <a:cxn ang="0">
                  <a:pos x="connsiteX10080" y="connsiteY10080"/>
                </a:cxn>
                <a:cxn ang="0">
                  <a:pos x="connsiteX10081" y="connsiteY10081"/>
                </a:cxn>
                <a:cxn ang="0">
                  <a:pos x="connsiteX10082" y="connsiteY10082"/>
                </a:cxn>
                <a:cxn ang="0">
                  <a:pos x="connsiteX10083" y="connsiteY10083"/>
                </a:cxn>
                <a:cxn ang="0">
                  <a:pos x="connsiteX10084" y="connsiteY10084"/>
                </a:cxn>
                <a:cxn ang="0">
                  <a:pos x="connsiteX10085" y="connsiteY10085"/>
                </a:cxn>
                <a:cxn ang="0">
                  <a:pos x="connsiteX10086" y="connsiteY10086"/>
                </a:cxn>
                <a:cxn ang="0">
                  <a:pos x="connsiteX10087" y="connsiteY10087"/>
                </a:cxn>
                <a:cxn ang="0">
                  <a:pos x="connsiteX10088" y="connsiteY10088"/>
                </a:cxn>
                <a:cxn ang="0">
                  <a:pos x="connsiteX10089" y="connsiteY10089"/>
                </a:cxn>
                <a:cxn ang="0">
                  <a:pos x="connsiteX10090" y="connsiteY10090"/>
                </a:cxn>
                <a:cxn ang="0">
                  <a:pos x="connsiteX10091" y="connsiteY10091"/>
                </a:cxn>
                <a:cxn ang="0">
                  <a:pos x="connsiteX10092" y="connsiteY10092"/>
                </a:cxn>
                <a:cxn ang="0">
                  <a:pos x="connsiteX10093" y="connsiteY10093"/>
                </a:cxn>
                <a:cxn ang="0">
                  <a:pos x="connsiteX10094" y="connsiteY10094"/>
                </a:cxn>
                <a:cxn ang="0">
                  <a:pos x="connsiteX10095" y="connsiteY10095"/>
                </a:cxn>
                <a:cxn ang="0">
                  <a:pos x="connsiteX10096" y="connsiteY10096"/>
                </a:cxn>
                <a:cxn ang="0">
                  <a:pos x="connsiteX10097" y="connsiteY10097"/>
                </a:cxn>
                <a:cxn ang="0">
                  <a:pos x="connsiteX10098" y="connsiteY10098"/>
                </a:cxn>
                <a:cxn ang="0">
                  <a:pos x="connsiteX10099" y="connsiteY10099"/>
                </a:cxn>
                <a:cxn ang="0">
                  <a:pos x="connsiteX10100" y="connsiteY10100"/>
                </a:cxn>
                <a:cxn ang="0">
                  <a:pos x="connsiteX10101" y="connsiteY10101"/>
                </a:cxn>
                <a:cxn ang="0">
                  <a:pos x="connsiteX10102" y="connsiteY10102"/>
                </a:cxn>
                <a:cxn ang="0">
                  <a:pos x="connsiteX10103" y="connsiteY10103"/>
                </a:cxn>
                <a:cxn ang="0">
                  <a:pos x="connsiteX10104" y="connsiteY10104"/>
                </a:cxn>
                <a:cxn ang="0">
                  <a:pos x="connsiteX10105" y="connsiteY10105"/>
                </a:cxn>
                <a:cxn ang="0">
                  <a:pos x="connsiteX10106" y="connsiteY10106"/>
                </a:cxn>
                <a:cxn ang="0">
                  <a:pos x="connsiteX10107" y="connsiteY10107"/>
                </a:cxn>
                <a:cxn ang="0">
                  <a:pos x="connsiteX10108" y="connsiteY10108"/>
                </a:cxn>
                <a:cxn ang="0">
                  <a:pos x="connsiteX10109" y="connsiteY10109"/>
                </a:cxn>
                <a:cxn ang="0">
                  <a:pos x="connsiteX10110" y="connsiteY10110"/>
                </a:cxn>
                <a:cxn ang="0">
                  <a:pos x="connsiteX10111" y="connsiteY10111"/>
                </a:cxn>
                <a:cxn ang="0">
                  <a:pos x="connsiteX10112" y="connsiteY10112"/>
                </a:cxn>
                <a:cxn ang="0">
                  <a:pos x="connsiteX10113" y="connsiteY10113"/>
                </a:cxn>
                <a:cxn ang="0">
                  <a:pos x="connsiteX10114" y="connsiteY10114"/>
                </a:cxn>
                <a:cxn ang="0">
                  <a:pos x="connsiteX10115" y="connsiteY10115"/>
                </a:cxn>
                <a:cxn ang="0">
                  <a:pos x="connsiteX10116" y="connsiteY10116"/>
                </a:cxn>
                <a:cxn ang="0">
                  <a:pos x="connsiteX10117" y="connsiteY10117"/>
                </a:cxn>
                <a:cxn ang="0">
                  <a:pos x="connsiteX10118" y="connsiteY10118"/>
                </a:cxn>
                <a:cxn ang="0">
                  <a:pos x="connsiteX10119" y="connsiteY10119"/>
                </a:cxn>
                <a:cxn ang="0">
                  <a:pos x="connsiteX10120" y="connsiteY10120"/>
                </a:cxn>
                <a:cxn ang="0">
                  <a:pos x="connsiteX10121" y="connsiteY10121"/>
                </a:cxn>
                <a:cxn ang="0">
                  <a:pos x="connsiteX10122" y="connsiteY10122"/>
                </a:cxn>
                <a:cxn ang="0">
                  <a:pos x="connsiteX10123" y="connsiteY10123"/>
                </a:cxn>
                <a:cxn ang="0">
                  <a:pos x="connsiteX10124" y="connsiteY10124"/>
                </a:cxn>
                <a:cxn ang="0">
                  <a:pos x="connsiteX10125" y="connsiteY10125"/>
                </a:cxn>
                <a:cxn ang="0">
                  <a:pos x="connsiteX10126" y="connsiteY10126"/>
                </a:cxn>
                <a:cxn ang="0">
                  <a:pos x="connsiteX10127" y="connsiteY10127"/>
                </a:cxn>
                <a:cxn ang="0">
                  <a:pos x="connsiteX10128" y="connsiteY10128"/>
                </a:cxn>
                <a:cxn ang="0">
                  <a:pos x="connsiteX10129" y="connsiteY10129"/>
                </a:cxn>
                <a:cxn ang="0">
                  <a:pos x="connsiteX10130" y="connsiteY10130"/>
                </a:cxn>
                <a:cxn ang="0">
                  <a:pos x="connsiteX10131" y="connsiteY10131"/>
                </a:cxn>
                <a:cxn ang="0">
                  <a:pos x="connsiteX10132" y="connsiteY10132"/>
                </a:cxn>
                <a:cxn ang="0">
                  <a:pos x="connsiteX10133" y="connsiteY10133"/>
                </a:cxn>
                <a:cxn ang="0">
                  <a:pos x="connsiteX10134" y="connsiteY10134"/>
                </a:cxn>
                <a:cxn ang="0">
                  <a:pos x="connsiteX10135" y="connsiteY10135"/>
                </a:cxn>
                <a:cxn ang="0">
                  <a:pos x="connsiteX10136" y="connsiteY10136"/>
                </a:cxn>
                <a:cxn ang="0">
                  <a:pos x="connsiteX10137" y="connsiteY10137"/>
                </a:cxn>
                <a:cxn ang="0">
                  <a:pos x="connsiteX10138" y="connsiteY10138"/>
                </a:cxn>
                <a:cxn ang="0">
                  <a:pos x="connsiteX10139" y="connsiteY10139"/>
                </a:cxn>
                <a:cxn ang="0">
                  <a:pos x="connsiteX10140" y="connsiteY10140"/>
                </a:cxn>
                <a:cxn ang="0">
                  <a:pos x="connsiteX10141" y="connsiteY10141"/>
                </a:cxn>
                <a:cxn ang="0">
                  <a:pos x="connsiteX10142" y="connsiteY10142"/>
                </a:cxn>
                <a:cxn ang="0">
                  <a:pos x="connsiteX10143" y="connsiteY10143"/>
                </a:cxn>
                <a:cxn ang="0">
                  <a:pos x="connsiteX10144" y="connsiteY10144"/>
                </a:cxn>
                <a:cxn ang="0">
                  <a:pos x="connsiteX10145" y="connsiteY10145"/>
                </a:cxn>
                <a:cxn ang="0">
                  <a:pos x="connsiteX10146" y="connsiteY10146"/>
                </a:cxn>
                <a:cxn ang="0">
                  <a:pos x="connsiteX10147" y="connsiteY10147"/>
                </a:cxn>
                <a:cxn ang="0">
                  <a:pos x="connsiteX10148" y="connsiteY10148"/>
                </a:cxn>
                <a:cxn ang="0">
                  <a:pos x="connsiteX10149" y="connsiteY10149"/>
                </a:cxn>
                <a:cxn ang="0">
                  <a:pos x="connsiteX10150" y="connsiteY10150"/>
                </a:cxn>
                <a:cxn ang="0">
                  <a:pos x="connsiteX10151" y="connsiteY10151"/>
                </a:cxn>
                <a:cxn ang="0">
                  <a:pos x="connsiteX10152" y="connsiteY10152"/>
                </a:cxn>
                <a:cxn ang="0">
                  <a:pos x="connsiteX10153" y="connsiteY10153"/>
                </a:cxn>
                <a:cxn ang="0">
                  <a:pos x="connsiteX10154" y="connsiteY10154"/>
                </a:cxn>
                <a:cxn ang="0">
                  <a:pos x="connsiteX10155" y="connsiteY10155"/>
                </a:cxn>
                <a:cxn ang="0">
                  <a:pos x="connsiteX10156" y="connsiteY10156"/>
                </a:cxn>
                <a:cxn ang="0">
                  <a:pos x="connsiteX10157" y="connsiteY10157"/>
                </a:cxn>
                <a:cxn ang="0">
                  <a:pos x="connsiteX10158" y="connsiteY10158"/>
                </a:cxn>
                <a:cxn ang="0">
                  <a:pos x="connsiteX10159" y="connsiteY10159"/>
                </a:cxn>
                <a:cxn ang="0">
                  <a:pos x="connsiteX10160" y="connsiteY10160"/>
                </a:cxn>
                <a:cxn ang="0">
                  <a:pos x="connsiteX10161" y="connsiteY10161"/>
                </a:cxn>
                <a:cxn ang="0">
                  <a:pos x="connsiteX10162" y="connsiteY10162"/>
                </a:cxn>
                <a:cxn ang="0">
                  <a:pos x="connsiteX10163" y="connsiteY10163"/>
                </a:cxn>
                <a:cxn ang="0">
                  <a:pos x="connsiteX10164" y="connsiteY10164"/>
                </a:cxn>
                <a:cxn ang="0">
                  <a:pos x="connsiteX10165" y="connsiteY10165"/>
                </a:cxn>
                <a:cxn ang="0">
                  <a:pos x="connsiteX10166" y="connsiteY10166"/>
                </a:cxn>
                <a:cxn ang="0">
                  <a:pos x="connsiteX10167" y="connsiteY10167"/>
                </a:cxn>
                <a:cxn ang="0">
                  <a:pos x="connsiteX10168" y="connsiteY10168"/>
                </a:cxn>
                <a:cxn ang="0">
                  <a:pos x="connsiteX10169" y="connsiteY10169"/>
                </a:cxn>
                <a:cxn ang="0">
                  <a:pos x="connsiteX10170" y="connsiteY10170"/>
                </a:cxn>
                <a:cxn ang="0">
                  <a:pos x="connsiteX10171" y="connsiteY10171"/>
                </a:cxn>
                <a:cxn ang="0">
                  <a:pos x="connsiteX10172" y="connsiteY10172"/>
                </a:cxn>
                <a:cxn ang="0">
                  <a:pos x="connsiteX10173" y="connsiteY10173"/>
                </a:cxn>
                <a:cxn ang="0">
                  <a:pos x="connsiteX10174" y="connsiteY10174"/>
                </a:cxn>
                <a:cxn ang="0">
                  <a:pos x="connsiteX10175" y="connsiteY10175"/>
                </a:cxn>
                <a:cxn ang="0">
                  <a:pos x="connsiteX10176" y="connsiteY10176"/>
                </a:cxn>
                <a:cxn ang="0">
                  <a:pos x="connsiteX10177" y="connsiteY10177"/>
                </a:cxn>
                <a:cxn ang="0">
                  <a:pos x="connsiteX10178" y="connsiteY10178"/>
                </a:cxn>
                <a:cxn ang="0">
                  <a:pos x="connsiteX10179" y="connsiteY10179"/>
                </a:cxn>
                <a:cxn ang="0">
                  <a:pos x="connsiteX10180" y="connsiteY10180"/>
                </a:cxn>
                <a:cxn ang="0">
                  <a:pos x="connsiteX10181" y="connsiteY10181"/>
                </a:cxn>
                <a:cxn ang="0">
                  <a:pos x="connsiteX10182" y="connsiteY10182"/>
                </a:cxn>
                <a:cxn ang="0">
                  <a:pos x="connsiteX10183" y="connsiteY10183"/>
                </a:cxn>
                <a:cxn ang="0">
                  <a:pos x="connsiteX10184" y="connsiteY10184"/>
                </a:cxn>
                <a:cxn ang="0">
                  <a:pos x="connsiteX10185" y="connsiteY10185"/>
                </a:cxn>
                <a:cxn ang="0">
                  <a:pos x="connsiteX10186" y="connsiteY10186"/>
                </a:cxn>
                <a:cxn ang="0">
                  <a:pos x="connsiteX10187" y="connsiteY10187"/>
                </a:cxn>
                <a:cxn ang="0">
                  <a:pos x="connsiteX10188" y="connsiteY10188"/>
                </a:cxn>
                <a:cxn ang="0">
                  <a:pos x="connsiteX10189" y="connsiteY10189"/>
                </a:cxn>
                <a:cxn ang="0">
                  <a:pos x="connsiteX10190" y="connsiteY10190"/>
                </a:cxn>
                <a:cxn ang="0">
                  <a:pos x="connsiteX10191" y="connsiteY10191"/>
                </a:cxn>
                <a:cxn ang="0">
                  <a:pos x="connsiteX10192" y="connsiteY10192"/>
                </a:cxn>
                <a:cxn ang="0">
                  <a:pos x="connsiteX10193" y="connsiteY10193"/>
                </a:cxn>
                <a:cxn ang="0">
                  <a:pos x="connsiteX10194" y="connsiteY10194"/>
                </a:cxn>
                <a:cxn ang="0">
                  <a:pos x="connsiteX10195" y="connsiteY10195"/>
                </a:cxn>
                <a:cxn ang="0">
                  <a:pos x="connsiteX10196" y="connsiteY10196"/>
                </a:cxn>
                <a:cxn ang="0">
                  <a:pos x="connsiteX10197" y="connsiteY10197"/>
                </a:cxn>
                <a:cxn ang="0">
                  <a:pos x="connsiteX10198" y="connsiteY10198"/>
                </a:cxn>
                <a:cxn ang="0">
                  <a:pos x="connsiteX10199" y="connsiteY10199"/>
                </a:cxn>
                <a:cxn ang="0">
                  <a:pos x="connsiteX10200" y="connsiteY10200"/>
                </a:cxn>
                <a:cxn ang="0">
                  <a:pos x="connsiteX10201" y="connsiteY10201"/>
                </a:cxn>
                <a:cxn ang="0">
                  <a:pos x="connsiteX10202" y="connsiteY10202"/>
                </a:cxn>
                <a:cxn ang="0">
                  <a:pos x="connsiteX10203" y="connsiteY10203"/>
                </a:cxn>
                <a:cxn ang="0">
                  <a:pos x="connsiteX10204" y="connsiteY10204"/>
                </a:cxn>
                <a:cxn ang="0">
                  <a:pos x="connsiteX10205" y="connsiteY10205"/>
                </a:cxn>
                <a:cxn ang="0">
                  <a:pos x="connsiteX10206" y="connsiteY10206"/>
                </a:cxn>
                <a:cxn ang="0">
                  <a:pos x="connsiteX10207" y="connsiteY10207"/>
                </a:cxn>
                <a:cxn ang="0">
                  <a:pos x="connsiteX10208" y="connsiteY10208"/>
                </a:cxn>
                <a:cxn ang="0">
                  <a:pos x="connsiteX10209" y="connsiteY10209"/>
                </a:cxn>
                <a:cxn ang="0">
                  <a:pos x="connsiteX10210" y="connsiteY10210"/>
                </a:cxn>
                <a:cxn ang="0">
                  <a:pos x="connsiteX10211" y="connsiteY10211"/>
                </a:cxn>
                <a:cxn ang="0">
                  <a:pos x="connsiteX10212" y="connsiteY10212"/>
                </a:cxn>
                <a:cxn ang="0">
                  <a:pos x="connsiteX10213" y="connsiteY10213"/>
                </a:cxn>
                <a:cxn ang="0">
                  <a:pos x="connsiteX10214" y="connsiteY10214"/>
                </a:cxn>
                <a:cxn ang="0">
                  <a:pos x="connsiteX10215" y="connsiteY10215"/>
                </a:cxn>
                <a:cxn ang="0">
                  <a:pos x="connsiteX10216" y="connsiteY10216"/>
                </a:cxn>
                <a:cxn ang="0">
                  <a:pos x="connsiteX10217" y="connsiteY10217"/>
                </a:cxn>
                <a:cxn ang="0">
                  <a:pos x="connsiteX10218" y="connsiteY10218"/>
                </a:cxn>
                <a:cxn ang="0">
                  <a:pos x="connsiteX10219" y="connsiteY10219"/>
                </a:cxn>
                <a:cxn ang="0">
                  <a:pos x="connsiteX10220" y="connsiteY10220"/>
                </a:cxn>
                <a:cxn ang="0">
                  <a:pos x="connsiteX10221" y="connsiteY10221"/>
                </a:cxn>
                <a:cxn ang="0">
                  <a:pos x="connsiteX10222" y="connsiteY10222"/>
                </a:cxn>
                <a:cxn ang="0">
                  <a:pos x="connsiteX10223" y="connsiteY10223"/>
                </a:cxn>
                <a:cxn ang="0">
                  <a:pos x="connsiteX10224" y="connsiteY10224"/>
                </a:cxn>
                <a:cxn ang="0">
                  <a:pos x="connsiteX10225" y="connsiteY10225"/>
                </a:cxn>
                <a:cxn ang="0">
                  <a:pos x="connsiteX10226" y="connsiteY10226"/>
                </a:cxn>
                <a:cxn ang="0">
                  <a:pos x="connsiteX10227" y="connsiteY10227"/>
                </a:cxn>
                <a:cxn ang="0">
                  <a:pos x="connsiteX10228" y="connsiteY10228"/>
                </a:cxn>
                <a:cxn ang="0">
                  <a:pos x="connsiteX10229" y="connsiteY10229"/>
                </a:cxn>
                <a:cxn ang="0">
                  <a:pos x="connsiteX10230" y="connsiteY10230"/>
                </a:cxn>
                <a:cxn ang="0">
                  <a:pos x="connsiteX10231" y="connsiteY10231"/>
                </a:cxn>
                <a:cxn ang="0">
                  <a:pos x="connsiteX10232" y="connsiteY10232"/>
                </a:cxn>
                <a:cxn ang="0">
                  <a:pos x="connsiteX10233" y="connsiteY10233"/>
                </a:cxn>
                <a:cxn ang="0">
                  <a:pos x="connsiteX10234" y="connsiteY10234"/>
                </a:cxn>
                <a:cxn ang="0">
                  <a:pos x="connsiteX10235" y="connsiteY10235"/>
                </a:cxn>
                <a:cxn ang="0">
                  <a:pos x="connsiteX10236" y="connsiteY10236"/>
                </a:cxn>
                <a:cxn ang="0">
                  <a:pos x="connsiteX10237" y="connsiteY10237"/>
                </a:cxn>
                <a:cxn ang="0">
                  <a:pos x="connsiteX10238" y="connsiteY10238"/>
                </a:cxn>
                <a:cxn ang="0">
                  <a:pos x="connsiteX10239" y="connsiteY10239"/>
                </a:cxn>
                <a:cxn ang="0">
                  <a:pos x="connsiteX10240" y="connsiteY10240"/>
                </a:cxn>
                <a:cxn ang="0">
                  <a:pos x="connsiteX10241" y="connsiteY10241"/>
                </a:cxn>
                <a:cxn ang="0">
                  <a:pos x="connsiteX10242" y="connsiteY10242"/>
                </a:cxn>
                <a:cxn ang="0">
                  <a:pos x="connsiteX10243" y="connsiteY10243"/>
                </a:cxn>
                <a:cxn ang="0">
                  <a:pos x="connsiteX10244" y="connsiteY10244"/>
                </a:cxn>
                <a:cxn ang="0">
                  <a:pos x="connsiteX10245" y="connsiteY10245"/>
                </a:cxn>
                <a:cxn ang="0">
                  <a:pos x="connsiteX10246" y="connsiteY10246"/>
                </a:cxn>
                <a:cxn ang="0">
                  <a:pos x="connsiteX10247" y="connsiteY10247"/>
                </a:cxn>
                <a:cxn ang="0">
                  <a:pos x="connsiteX10248" y="connsiteY10248"/>
                </a:cxn>
                <a:cxn ang="0">
                  <a:pos x="connsiteX10249" y="connsiteY10249"/>
                </a:cxn>
                <a:cxn ang="0">
                  <a:pos x="connsiteX10250" y="connsiteY10250"/>
                </a:cxn>
                <a:cxn ang="0">
                  <a:pos x="connsiteX10251" y="connsiteY10251"/>
                </a:cxn>
                <a:cxn ang="0">
                  <a:pos x="connsiteX10252" y="connsiteY10252"/>
                </a:cxn>
                <a:cxn ang="0">
                  <a:pos x="connsiteX10253" y="connsiteY10253"/>
                </a:cxn>
                <a:cxn ang="0">
                  <a:pos x="connsiteX10254" y="connsiteY10254"/>
                </a:cxn>
                <a:cxn ang="0">
                  <a:pos x="connsiteX10255" y="connsiteY10255"/>
                </a:cxn>
                <a:cxn ang="0">
                  <a:pos x="connsiteX10256" y="connsiteY10256"/>
                </a:cxn>
                <a:cxn ang="0">
                  <a:pos x="connsiteX10257" y="connsiteY10257"/>
                </a:cxn>
                <a:cxn ang="0">
                  <a:pos x="connsiteX10258" y="connsiteY10258"/>
                </a:cxn>
                <a:cxn ang="0">
                  <a:pos x="connsiteX10259" y="connsiteY10259"/>
                </a:cxn>
                <a:cxn ang="0">
                  <a:pos x="connsiteX10260" y="connsiteY10260"/>
                </a:cxn>
                <a:cxn ang="0">
                  <a:pos x="connsiteX10261" y="connsiteY10261"/>
                </a:cxn>
                <a:cxn ang="0">
                  <a:pos x="connsiteX10262" y="connsiteY10262"/>
                </a:cxn>
                <a:cxn ang="0">
                  <a:pos x="connsiteX10263" y="connsiteY10263"/>
                </a:cxn>
                <a:cxn ang="0">
                  <a:pos x="connsiteX10264" y="connsiteY10264"/>
                </a:cxn>
                <a:cxn ang="0">
                  <a:pos x="connsiteX10265" y="connsiteY10265"/>
                </a:cxn>
                <a:cxn ang="0">
                  <a:pos x="connsiteX10266" y="connsiteY10266"/>
                </a:cxn>
                <a:cxn ang="0">
                  <a:pos x="connsiteX10267" y="connsiteY10267"/>
                </a:cxn>
                <a:cxn ang="0">
                  <a:pos x="connsiteX10268" y="connsiteY10268"/>
                </a:cxn>
                <a:cxn ang="0">
                  <a:pos x="connsiteX10269" y="connsiteY10269"/>
                </a:cxn>
                <a:cxn ang="0">
                  <a:pos x="connsiteX10270" y="connsiteY10270"/>
                </a:cxn>
                <a:cxn ang="0">
                  <a:pos x="connsiteX10271" y="connsiteY10271"/>
                </a:cxn>
                <a:cxn ang="0">
                  <a:pos x="connsiteX10272" y="connsiteY10272"/>
                </a:cxn>
                <a:cxn ang="0">
                  <a:pos x="connsiteX10273" y="connsiteY10273"/>
                </a:cxn>
                <a:cxn ang="0">
                  <a:pos x="connsiteX10274" y="connsiteY10274"/>
                </a:cxn>
                <a:cxn ang="0">
                  <a:pos x="connsiteX10275" y="connsiteY10275"/>
                </a:cxn>
                <a:cxn ang="0">
                  <a:pos x="connsiteX10276" y="connsiteY10276"/>
                </a:cxn>
                <a:cxn ang="0">
                  <a:pos x="connsiteX10277" y="connsiteY10277"/>
                </a:cxn>
                <a:cxn ang="0">
                  <a:pos x="connsiteX10278" y="connsiteY10278"/>
                </a:cxn>
                <a:cxn ang="0">
                  <a:pos x="connsiteX10279" y="connsiteY10279"/>
                </a:cxn>
                <a:cxn ang="0">
                  <a:pos x="connsiteX10280" y="connsiteY10280"/>
                </a:cxn>
                <a:cxn ang="0">
                  <a:pos x="connsiteX10281" y="connsiteY10281"/>
                </a:cxn>
                <a:cxn ang="0">
                  <a:pos x="connsiteX10282" y="connsiteY10282"/>
                </a:cxn>
                <a:cxn ang="0">
                  <a:pos x="connsiteX10283" y="connsiteY10283"/>
                </a:cxn>
                <a:cxn ang="0">
                  <a:pos x="connsiteX10284" y="connsiteY10284"/>
                </a:cxn>
                <a:cxn ang="0">
                  <a:pos x="connsiteX10285" y="connsiteY10285"/>
                </a:cxn>
                <a:cxn ang="0">
                  <a:pos x="connsiteX10286" y="connsiteY10286"/>
                </a:cxn>
                <a:cxn ang="0">
                  <a:pos x="connsiteX10287" y="connsiteY10287"/>
                </a:cxn>
                <a:cxn ang="0">
                  <a:pos x="connsiteX10288" y="connsiteY10288"/>
                </a:cxn>
                <a:cxn ang="0">
                  <a:pos x="connsiteX10289" y="connsiteY10289"/>
                </a:cxn>
                <a:cxn ang="0">
                  <a:pos x="connsiteX10290" y="connsiteY10290"/>
                </a:cxn>
                <a:cxn ang="0">
                  <a:pos x="connsiteX10291" y="connsiteY10291"/>
                </a:cxn>
                <a:cxn ang="0">
                  <a:pos x="connsiteX10292" y="connsiteY10292"/>
                </a:cxn>
                <a:cxn ang="0">
                  <a:pos x="connsiteX10293" y="connsiteY10293"/>
                </a:cxn>
                <a:cxn ang="0">
                  <a:pos x="connsiteX10294" y="connsiteY10294"/>
                </a:cxn>
                <a:cxn ang="0">
                  <a:pos x="connsiteX10295" y="connsiteY10295"/>
                </a:cxn>
                <a:cxn ang="0">
                  <a:pos x="connsiteX10296" y="connsiteY10296"/>
                </a:cxn>
                <a:cxn ang="0">
                  <a:pos x="connsiteX10297" y="connsiteY10297"/>
                </a:cxn>
                <a:cxn ang="0">
                  <a:pos x="connsiteX10298" y="connsiteY10298"/>
                </a:cxn>
                <a:cxn ang="0">
                  <a:pos x="connsiteX10299" y="connsiteY10299"/>
                </a:cxn>
                <a:cxn ang="0">
                  <a:pos x="connsiteX10300" y="connsiteY10300"/>
                </a:cxn>
                <a:cxn ang="0">
                  <a:pos x="connsiteX10301" y="connsiteY10301"/>
                </a:cxn>
                <a:cxn ang="0">
                  <a:pos x="connsiteX10302" y="connsiteY10302"/>
                </a:cxn>
                <a:cxn ang="0">
                  <a:pos x="connsiteX10303" y="connsiteY10303"/>
                </a:cxn>
                <a:cxn ang="0">
                  <a:pos x="connsiteX10304" y="connsiteY10304"/>
                </a:cxn>
                <a:cxn ang="0">
                  <a:pos x="connsiteX10305" y="connsiteY10305"/>
                </a:cxn>
                <a:cxn ang="0">
                  <a:pos x="connsiteX10306" y="connsiteY10306"/>
                </a:cxn>
                <a:cxn ang="0">
                  <a:pos x="connsiteX10307" y="connsiteY10307"/>
                </a:cxn>
                <a:cxn ang="0">
                  <a:pos x="connsiteX10308" y="connsiteY10308"/>
                </a:cxn>
                <a:cxn ang="0">
                  <a:pos x="connsiteX10309" y="connsiteY10309"/>
                </a:cxn>
                <a:cxn ang="0">
                  <a:pos x="connsiteX10310" y="connsiteY10310"/>
                </a:cxn>
                <a:cxn ang="0">
                  <a:pos x="connsiteX10311" y="connsiteY10311"/>
                </a:cxn>
                <a:cxn ang="0">
                  <a:pos x="connsiteX10312" y="connsiteY10312"/>
                </a:cxn>
                <a:cxn ang="0">
                  <a:pos x="connsiteX10313" y="connsiteY10313"/>
                </a:cxn>
                <a:cxn ang="0">
                  <a:pos x="connsiteX10314" y="connsiteY10314"/>
                </a:cxn>
                <a:cxn ang="0">
                  <a:pos x="connsiteX10315" y="connsiteY10315"/>
                </a:cxn>
                <a:cxn ang="0">
                  <a:pos x="connsiteX10316" y="connsiteY10316"/>
                </a:cxn>
                <a:cxn ang="0">
                  <a:pos x="connsiteX10317" y="connsiteY10317"/>
                </a:cxn>
                <a:cxn ang="0">
                  <a:pos x="connsiteX10318" y="connsiteY10318"/>
                </a:cxn>
                <a:cxn ang="0">
                  <a:pos x="connsiteX10319" y="connsiteY10319"/>
                </a:cxn>
                <a:cxn ang="0">
                  <a:pos x="connsiteX10320" y="connsiteY10320"/>
                </a:cxn>
                <a:cxn ang="0">
                  <a:pos x="connsiteX10321" y="connsiteY10321"/>
                </a:cxn>
                <a:cxn ang="0">
                  <a:pos x="connsiteX10322" y="connsiteY10322"/>
                </a:cxn>
                <a:cxn ang="0">
                  <a:pos x="connsiteX10323" y="connsiteY10323"/>
                </a:cxn>
                <a:cxn ang="0">
                  <a:pos x="connsiteX10324" y="connsiteY10324"/>
                </a:cxn>
                <a:cxn ang="0">
                  <a:pos x="connsiteX10325" y="connsiteY10325"/>
                </a:cxn>
                <a:cxn ang="0">
                  <a:pos x="connsiteX10326" y="connsiteY10326"/>
                </a:cxn>
                <a:cxn ang="0">
                  <a:pos x="connsiteX10327" y="connsiteY10327"/>
                </a:cxn>
                <a:cxn ang="0">
                  <a:pos x="connsiteX10328" y="connsiteY10328"/>
                </a:cxn>
                <a:cxn ang="0">
                  <a:pos x="connsiteX10329" y="connsiteY10329"/>
                </a:cxn>
                <a:cxn ang="0">
                  <a:pos x="connsiteX10330" y="connsiteY10330"/>
                </a:cxn>
                <a:cxn ang="0">
                  <a:pos x="connsiteX10331" y="connsiteY10331"/>
                </a:cxn>
                <a:cxn ang="0">
                  <a:pos x="connsiteX10332" y="connsiteY10332"/>
                </a:cxn>
                <a:cxn ang="0">
                  <a:pos x="connsiteX10333" y="connsiteY10333"/>
                </a:cxn>
                <a:cxn ang="0">
                  <a:pos x="connsiteX10334" y="connsiteY10334"/>
                </a:cxn>
                <a:cxn ang="0">
                  <a:pos x="connsiteX10335" y="connsiteY10335"/>
                </a:cxn>
                <a:cxn ang="0">
                  <a:pos x="connsiteX10336" y="connsiteY10336"/>
                </a:cxn>
                <a:cxn ang="0">
                  <a:pos x="connsiteX10337" y="connsiteY10337"/>
                </a:cxn>
                <a:cxn ang="0">
                  <a:pos x="connsiteX10338" y="connsiteY10338"/>
                </a:cxn>
                <a:cxn ang="0">
                  <a:pos x="connsiteX10339" y="connsiteY10339"/>
                </a:cxn>
                <a:cxn ang="0">
                  <a:pos x="connsiteX10340" y="connsiteY10340"/>
                </a:cxn>
                <a:cxn ang="0">
                  <a:pos x="connsiteX10341" y="connsiteY10341"/>
                </a:cxn>
                <a:cxn ang="0">
                  <a:pos x="connsiteX10342" y="connsiteY10342"/>
                </a:cxn>
                <a:cxn ang="0">
                  <a:pos x="connsiteX10343" y="connsiteY10343"/>
                </a:cxn>
                <a:cxn ang="0">
                  <a:pos x="connsiteX10344" y="connsiteY10344"/>
                </a:cxn>
                <a:cxn ang="0">
                  <a:pos x="connsiteX10345" y="connsiteY10345"/>
                </a:cxn>
                <a:cxn ang="0">
                  <a:pos x="connsiteX10346" y="connsiteY10346"/>
                </a:cxn>
                <a:cxn ang="0">
                  <a:pos x="connsiteX10347" y="connsiteY10347"/>
                </a:cxn>
                <a:cxn ang="0">
                  <a:pos x="connsiteX10348" y="connsiteY10348"/>
                </a:cxn>
                <a:cxn ang="0">
                  <a:pos x="connsiteX10349" y="connsiteY10349"/>
                </a:cxn>
                <a:cxn ang="0">
                  <a:pos x="connsiteX10350" y="connsiteY10350"/>
                </a:cxn>
                <a:cxn ang="0">
                  <a:pos x="connsiteX10351" y="connsiteY10351"/>
                </a:cxn>
                <a:cxn ang="0">
                  <a:pos x="connsiteX10352" y="connsiteY10352"/>
                </a:cxn>
                <a:cxn ang="0">
                  <a:pos x="connsiteX10353" y="connsiteY10353"/>
                </a:cxn>
                <a:cxn ang="0">
                  <a:pos x="connsiteX10354" y="connsiteY10354"/>
                </a:cxn>
                <a:cxn ang="0">
                  <a:pos x="connsiteX10355" y="connsiteY10355"/>
                </a:cxn>
                <a:cxn ang="0">
                  <a:pos x="connsiteX10356" y="connsiteY10356"/>
                </a:cxn>
                <a:cxn ang="0">
                  <a:pos x="connsiteX10357" y="connsiteY10357"/>
                </a:cxn>
                <a:cxn ang="0">
                  <a:pos x="connsiteX10358" y="connsiteY10358"/>
                </a:cxn>
                <a:cxn ang="0">
                  <a:pos x="connsiteX10359" y="connsiteY10359"/>
                </a:cxn>
                <a:cxn ang="0">
                  <a:pos x="connsiteX10360" y="connsiteY10360"/>
                </a:cxn>
                <a:cxn ang="0">
                  <a:pos x="connsiteX10361" y="connsiteY10361"/>
                </a:cxn>
                <a:cxn ang="0">
                  <a:pos x="connsiteX10362" y="connsiteY10362"/>
                </a:cxn>
                <a:cxn ang="0">
                  <a:pos x="connsiteX10363" y="connsiteY10363"/>
                </a:cxn>
                <a:cxn ang="0">
                  <a:pos x="connsiteX10364" y="connsiteY10364"/>
                </a:cxn>
                <a:cxn ang="0">
                  <a:pos x="connsiteX10365" y="connsiteY10365"/>
                </a:cxn>
                <a:cxn ang="0">
                  <a:pos x="connsiteX10366" y="connsiteY10366"/>
                </a:cxn>
                <a:cxn ang="0">
                  <a:pos x="connsiteX10367" y="connsiteY10367"/>
                </a:cxn>
                <a:cxn ang="0">
                  <a:pos x="connsiteX10368" y="connsiteY10368"/>
                </a:cxn>
                <a:cxn ang="0">
                  <a:pos x="connsiteX10369" y="connsiteY10369"/>
                </a:cxn>
                <a:cxn ang="0">
                  <a:pos x="connsiteX10370" y="connsiteY10370"/>
                </a:cxn>
                <a:cxn ang="0">
                  <a:pos x="connsiteX10371" y="connsiteY10371"/>
                </a:cxn>
                <a:cxn ang="0">
                  <a:pos x="connsiteX10372" y="connsiteY10372"/>
                </a:cxn>
                <a:cxn ang="0">
                  <a:pos x="connsiteX10373" y="connsiteY10373"/>
                </a:cxn>
                <a:cxn ang="0">
                  <a:pos x="connsiteX10374" y="connsiteY10374"/>
                </a:cxn>
                <a:cxn ang="0">
                  <a:pos x="connsiteX10375" y="connsiteY10375"/>
                </a:cxn>
                <a:cxn ang="0">
                  <a:pos x="connsiteX10376" y="connsiteY10376"/>
                </a:cxn>
                <a:cxn ang="0">
                  <a:pos x="connsiteX10377" y="connsiteY10377"/>
                </a:cxn>
                <a:cxn ang="0">
                  <a:pos x="connsiteX10378" y="connsiteY10378"/>
                </a:cxn>
                <a:cxn ang="0">
                  <a:pos x="connsiteX10379" y="connsiteY10379"/>
                </a:cxn>
                <a:cxn ang="0">
                  <a:pos x="connsiteX10380" y="connsiteY10380"/>
                </a:cxn>
                <a:cxn ang="0">
                  <a:pos x="connsiteX10381" y="connsiteY10381"/>
                </a:cxn>
                <a:cxn ang="0">
                  <a:pos x="connsiteX10382" y="connsiteY10382"/>
                </a:cxn>
                <a:cxn ang="0">
                  <a:pos x="connsiteX10383" y="connsiteY10383"/>
                </a:cxn>
                <a:cxn ang="0">
                  <a:pos x="connsiteX10384" y="connsiteY10384"/>
                </a:cxn>
                <a:cxn ang="0">
                  <a:pos x="connsiteX10385" y="connsiteY10385"/>
                </a:cxn>
                <a:cxn ang="0">
                  <a:pos x="connsiteX10386" y="connsiteY10386"/>
                </a:cxn>
                <a:cxn ang="0">
                  <a:pos x="connsiteX10387" y="connsiteY10387"/>
                </a:cxn>
                <a:cxn ang="0">
                  <a:pos x="connsiteX10388" y="connsiteY10388"/>
                </a:cxn>
                <a:cxn ang="0">
                  <a:pos x="connsiteX10389" y="connsiteY10389"/>
                </a:cxn>
                <a:cxn ang="0">
                  <a:pos x="connsiteX10390" y="connsiteY10390"/>
                </a:cxn>
                <a:cxn ang="0">
                  <a:pos x="connsiteX10391" y="connsiteY10391"/>
                </a:cxn>
                <a:cxn ang="0">
                  <a:pos x="connsiteX10392" y="connsiteY10392"/>
                </a:cxn>
                <a:cxn ang="0">
                  <a:pos x="connsiteX10393" y="connsiteY10393"/>
                </a:cxn>
                <a:cxn ang="0">
                  <a:pos x="connsiteX10394" y="connsiteY10394"/>
                </a:cxn>
                <a:cxn ang="0">
                  <a:pos x="connsiteX10395" y="connsiteY10395"/>
                </a:cxn>
                <a:cxn ang="0">
                  <a:pos x="connsiteX10396" y="connsiteY10396"/>
                </a:cxn>
                <a:cxn ang="0">
                  <a:pos x="connsiteX10397" y="connsiteY10397"/>
                </a:cxn>
                <a:cxn ang="0">
                  <a:pos x="connsiteX10398" y="connsiteY10398"/>
                </a:cxn>
                <a:cxn ang="0">
                  <a:pos x="connsiteX10399" y="connsiteY10399"/>
                </a:cxn>
                <a:cxn ang="0">
                  <a:pos x="connsiteX10400" y="connsiteY10400"/>
                </a:cxn>
                <a:cxn ang="0">
                  <a:pos x="connsiteX10401" y="connsiteY10401"/>
                </a:cxn>
                <a:cxn ang="0">
                  <a:pos x="connsiteX10402" y="connsiteY10402"/>
                </a:cxn>
                <a:cxn ang="0">
                  <a:pos x="connsiteX10403" y="connsiteY10403"/>
                </a:cxn>
                <a:cxn ang="0">
                  <a:pos x="connsiteX10404" y="connsiteY10404"/>
                </a:cxn>
                <a:cxn ang="0">
                  <a:pos x="connsiteX10405" y="connsiteY10405"/>
                </a:cxn>
                <a:cxn ang="0">
                  <a:pos x="connsiteX10406" y="connsiteY10406"/>
                </a:cxn>
                <a:cxn ang="0">
                  <a:pos x="connsiteX10407" y="connsiteY10407"/>
                </a:cxn>
                <a:cxn ang="0">
                  <a:pos x="connsiteX10408" y="connsiteY10408"/>
                </a:cxn>
                <a:cxn ang="0">
                  <a:pos x="connsiteX10409" y="connsiteY10409"/>
                </a:cxn>
                <a:cxn ang="0">
                  <a:pos x="connsiteX10410" y="connsiteY10410"/>
                </a:cxn>
                <a:cxn ang="0">
                  <a:pos x="connsiteX10411" y="connsiteY10411"/>
                </a:cxn>
                <a:cxn ang="0">
                  <a:pos x="connsiteX10412" y="connsiteY10412"/>
                </a:cxn>
                <a:cxn ang="0">
                  <a:pos x="connsiteX10413" y="connsiteY10413"/>
                </a:cxn>
                <a:cxn ang="0">
                  <a:pos x="connsiteX10414" y="connsiteY10414"/>
                </a:cxn>
                <a:cxn ang="0">
                  <a:pos x="connsiteX10415" y="connsiteY10415"/>
                </a:cxn>
                <a:cxn ang="0">
                  <a:pos x="connsiteX10416" y="connsiteY10416"/>
                </a:cxn>
                <a:cxn ang="0">
                  <a:pos x="connsiteX10417" y="connsiteY10417"/>
                </a:cxn>
                <a:cxn ang="0">
                  <a:pos x="connsiteX10418" y="connsiteY10418"/>
                </a:cxn>
                <a:cxn ang="0">
                  <a:pos x="connsiteX10419" y="connsiteY10419"/>
                </a:cxn>
                <a:cxn ang="0">
                  <a:pos x="connsiteX10420" y="connsiteY10420"/>
                </a:cxn>
                <a:cxn ang="0">
                  <a:pos x="connsiteX10421" y="connsiteY10421"/>
                </a:cxn>
                <a:cxn ang="0">
                  <a:pos x="connsiteX10422" y="connsiteY10422"/>
                </a:cxn>
                <a:cxn ang="0">
                  <a:pos x="connsiteX10423" y="connsiteY10423"/>
                </a:cxn>
                <a:cxn ang="0">
                  <a:pos x="connsiteX10424" y="connsiteY10424"/>
                </a:cxn>
                <a:cxn ang="0">
                  <a:pos x="connsiteX10425" y="connsiteY10425"/>
                </a:cxn>
                <a:cxn ang="0">
                  <a:pos x="connsiteX10426" y="connsiteY10426"/>
                </a:cxn>
                <a:cxn ang="0">
                  <a:pos x="connsiteX10427" y="connsiteY10427"/>
                </a:cxn>
                <a:cxn ang="0">
                  <a:pos x="connsiteX10428" y="connsiteY10428"/>
                </a:cxn>
                <a:cxn ang="0">
                  <a:pos x="connsiteX10429" y="connsiteY10429"/>
                </a:cxn>
                <a:cxn ang="0">
                  <a:pos x="connsiteX10430" y="connsiteY10430"/>
                </a:cxn>
                <a:cxn ang="0">
                  <a:pos x="connsiteX10431" y="connsiteY10431"/>
                </a:cxn>
                <a:cxn ang="0">
                  <a:pos x="connsiteX10432" y="connsiteY10432"/>
                </a:cxn>
                <a:cxn ang="0">
                  <a:pos x="connsiteX10433" y="connsiteY10433"/>
                </a:cxn>
                <a:cxn ang="0">
                  <a:pos x="connsiteX10434" y="connsiteY10434"/>
                </a:cxn>
                <a:cxn ang="0">
                  <a:pos x="connsiteX10435" y="connsiteY10435"/>
                </a:cxn>
                <a:cxn ang="0">
                  <a:pos x="connsiteX10436" y="connsiteY10436"/>
                </a:cxn>
                <a:cxn ang="0">
                  <a:pos x="connsiteX10437" y="connsiteY10437"/>
                </a:cxn>
                <a:cxn ang="0">
                  <a:pos x="connsiteX10438" y="connsiteY10438"/>
                </a:cxn>
                <a:cxn ang="0">
                  <a:pos x="connsiteX10439" y="connsiteY10439"/>
                </a:cxn>
                <a:cxn ang="0">
                  <a:pos x="connsiteX10440" y="connsiteY10440"/>
                </a:cxn>
                <a:cxn ang="0">
                  <a:pos x="connsiteX10441" y="connsiteY10441"/>
                </a:cxn>
                <a:cxn ang="0">
                  <a:pos x="connsiteX10442" y="connsiteY10442"/>
                </a:cxn>
                <a:cxn ang="0">
                  <a:pos x="connsiteX10443" y="connsiteY10443"/>
                </a:cxn>
                <a:cxn ang="0">
                  <a:pos x="connsiteX10444" y="connsiteY10444"/>
                </a:cxn>
                <a:cxn ang="0">
                  <a:pos x="connsiteX10445" y="connsiteY10445"/>
                </a:cxn>
                <a:cxn ang="0">
                  <a:pos x="connsiteX10446" y="connsiteY10446"/>
                </a:cxn>
                <a:cxn ang="0">
                  <a:pos x="connsiteX10447" y="connsiteY10447"/>
                </a:cxn>
                <a:cxn ang="0">
                  <a:pos x="connsiteX10448" y="connsiteY10448"/>
                </a:cxn>
                <a:cxn ang="0">
                  <a:pos x="connsiteX10449" y="connsiteY10449"/>
                </a:cxn>
                <a:cxn ang="0">
                  <a:pos x="connsiteX10450" y="connsiteY10450"/>
                </a:cxn>
                <a:cxn ang="0">
                  <a:pos x="connsiteX10451" y="connsiteY10451"/>
                </a:cxn>
                <a:cxn ang="0">
                  <a:pos x="connsiteX10452" y="connsiteY10452"/>
                </a:cxn>
                <a:cxn ang="0">
                  <a:pos x="connsiteX10453" y="connsiteY10453"/>
                </a:cxn>
                <a:cxn ang="0">
                  <a:pos x="connsiteX10454" y="connsiteY10454"/>
                </a:cxn>
                <a:cxn ang="0">
                  <a:pos x="connsiteX10455" y="connsiteY10455"/>
                </a:cxn>
                <a:cxn ang="0">
                  <a:pos x="connsiteX10456" y="connsiteY10456"/>
                </a:cxn>
                <a:cxn ang="0">
                  <a:pos x="connsiteX10457" y="connsiteY10457"/>
                </a:cxn>
                <a:cxn ang="0">
                  <a:pos x="connsiteX10458" y="connsiteY10458"/>
                </a:cxn>
                <a:cxn ang="0">
                  <a:pos x="connsiteX10459" y="connsiteY10459"/>
                </a:cxn>
                <a:cxn ang="0">
                  <a:pos x="connsiteX10460" y="connsiteY10460"/>
                </a:cxn>
                <a:cxn ang="0">
                  <a:pos x="connsiteX10461" y="connsiteY10461"/>
                </a:cxn>
                <a:cxn ang="0">
                  <a:pos x="connsiteX10462" y="connsiteY10462"/>
                </a:cxn>
                <a:cxn ang="0">
                  <a:pos x="connsiteX10463" y="connsiteY10463"/>
                </a:cxn>
                <a:cxn ang="0">
                  <a:pos x="connsiteX10464" y="connsiteY10464"/>
                </a:cxn>
                <a:cxn ang="0">
                  <a:pos x="connsiteX10465" y="connsiteY10465"/>
                </a:cxn>
                <a:cxn ang="0">
                  <a:pos x="connsiteX10466" y="connsiteY10466"/>
                </a:cxn>
                <a:cxn ang="0">
                  <a:pos x="connsiteX10467" y="connsiteY10467"/>
                </a:cxn>
                <a:cxn ang="0">
                  <a:pos x="connsiteX10468" y="connsiteY10468"/>
                </a:cxn>
                <a:cxn ang="0">
                  <a:pos x="connsiteX10469" y="connsiteY10469"/>
                </a:cxn>
                <a:cxn ang="0">
                  <a:pos x="connsiteX10470" y="connsiteY10470"/>
                </a:cxn>
                <a:cxn ang="0">
                  <a:pos x="connsiteX10471" y="connsiteY10471"/>
                </a:cxn>
                <a:cxn ang="0">
                  <a:pos x="connsiteX10472" y="connsiteY10472"/>
                </a:cxn>
                <a:cxn ang="0">
                  <a:pos x="connsiteX10473" y="connsiteY10473"/>
                </a:cxn>
                <a:cxn ang="0">
                  <a:pos x="connsiteX10474" y="connsiteY10474"/>
                </a:cxn>
                <a:cxn ang="0">
                  <a:pos x="connsiteX10475" y="connsiteY10475"/>
                </a:cxn>
                <a:cxn ang="0">
                  <a:pos x="connsiteX10476" y="connsiteY10476"/>
                </a:cxn>
                <a:cxn ang="0">
                  <a:pos x="connsiteX10477" y="connsiteY10477"/>
                </a:cxn>
                <a:cxn ang="0">
                  <a:pos x="connsiteX10478" y="connsiteY10478"/>
                </a:cxn>
                <a:cxn ang="0">
                  <a:pos x="connsiteX10479" y="connsiteY10479"/>
                </a:cxn>
                <a:cxn ang="0">
                  <a:pos x="connsiteX10480" y="connsiteY10480"/>
                </a:cxn>
                <a:cxn ang="0">
                  <a:pos x="connsiteX10481" y="connsiteY10481"/>
                </a:cxn>
                <a:cxn ang="0">
                  <a:pos x="connsiteX10482" y="connsiteY10482"/>
                </a:cxn>
                <a:cxn ang="0">
                  <a:pos x="connsiteX10483" y="connsiteY10483"/>
                </a:cxn>
                <a:cxn ang="0">
                  <a:pos x="connsiteX10484" y="connsiteY10484"/>
                </a:cxn>
                <a:cxn ang="0">
                  <a:pos x="connsiteX10485" y="connsiteY10485"/>
                </a:cxn>
                <a:cxn ang="0">
                  <a:pos x="connsiteX10486" y="connsiteY10486"/>
                </a:cxn>
                <a:cxn ang="0">
                  <a:pos x="connsiteX10487" y="connsiteY10487"/>
                </a:cxn>
                <a:cxn ang="0">
                  <a:pos x="connsiteX10488" y="connsiteY10488"/>
                </a:cxn>
                <a:cxn ang="0">
                  <a:pos x="connsiteX10489" y="connsiteY10489"/>
                </a:cxn>
                <a:cxn ang="0">
                  <a:pos x="connsiteX10490" y="connsiteY10490"/>
                </a:cxn>
                <a:cxn ang="0">
                  <a:pos x="connsiteX10491" y="connsiteY10491"/>
                </a:cxn>
                <a:cxn ang="0">
                  <a:pos x="connsiteX10492" y="connsiteY10492"/>
                </a:cxn>
                <a:cxn ang="0">
                  <a:pos x="connsiteX10493" y="connsiteY10493"/>
                </a:cxn>
                <a:cxn ang="0">
                  <a:pos x="connsiteX10494" y="connsiteY10494"/>
                </a:cxn>
                <a:cxn ang="0">
                  <a:pos x="connsiteX10495" y="connsiteY10495"/>
                </a:cxn>
                <a:cxn ang="0">
                  <a:pos x="connsiteX10496" y="connsiteY10496"/>
                </a:cxn>
                <a:cxn ang="0">
                  <a:pos x="connsiteX10497" y="connsiteY10497"/>
                </a:cxn>
                <a:cxn ang="0">
                  <a:pos x="connsiteX10498" y="connsiteY10498"/>
                </a:cxn>
                <a:cxn ang="0">
                  <a:pos x="connsiteX10499" y="connsiteY10499"/>
                </a:cxn>
                <a:cxn ang="0">
                  <a:pos x="connsiteX10500" y="connsiteY10500"/>
                </a:cxn>
                <a:cxn ang="0">
                  <a:pos x="connsiteX10501" y="connsiteY10501"/>
                </a:cxn>
                <a:cxn ang="0">
                  <a:pos x="connsiteX10502" y="connsiteY10502"/>
                </a:cxn>
                <a:cxn ang="0">
                  <a:pos x="connsiteX10503" y="connsiteY10503"/>
                </a:cxn>
                <a:cxn ang="0">
                  <a:pos x="connsiteX10504" y="connsiteY10504"/>
                </a:cxn>
                <a:cxn ang="0">
                  <a:pos x="connsiteX10505" y="connsiteY10505"/>
                </a:cxn>
                <a:cxn ang="0">
                  <a:pos x="connsiteX10506" y="connsiteY10506"/>
                </a:cxn>
                <a:cxn ang="0">
                  <a:pos x="connsiteX10507" y="connsiteY10507"/>
                </a:cxn>
                <a:cxn ang="0">
                  <a:pos x="connsiteX10508" y="connsiteY10508"/>
                </a:cxn>
                <a:cxn ang="0">
                  <a:pos x="connsiteX10509" y="connsiteY10509"/>
                </a:cxn>
                <a:cxn ang="0">
                  <a:pos x="connsiteX10510" y="connsiteY10510"/>
                </a:cxn>
                <a:cxn ang="0">
                  <a:pos x="connsiteX10511" y="connsiteY10511"/>
                </a:cxn>
                <a:cxn ang="0">
                  <a:pos x="connsiteX10512" y="connsiteY10512"/>
                </a:cxn>
                <a:cxn ang="0">
                  <a:pos x="connsiteX10513" y="connsiteY10513"/>
                </a:cxn>
                <a:cxn ang="0">
                  <a:pos x="connsiteX10514" y="connsiteY10514"/>
                </a:cxn>
                <a:cxn ang="0">
                  <a:pos x="connsiteX10515" y="connsiteY10515"/>
                </a:cxn>
                <a:cxn ang="0">
                  <a:pos x="connsiteX10516" y="connsiteY10516"/>
                </a:cxn>
                <a:cxn ang="0">
                  <a:pos x="connsiteX10517" y="connsiteY10517"/>
                </a:cxn>
                <a:cxn ang="0">
                  <a:pos x="connsiteX10518" y="connsiteY10518"/>
                </a:cxn>
                <a:cxn ang="0">
                  <a:pos x="connsiteX10519" y="connsiteY10519"/>
                </a:cxn>
                <a:cxn ang="0">
                  <a:pos x="connsiteX10520" y="connsiteY10520"/>
                </a:cxn>
                <a:cxn ang="0">
                  <a:pos x="connsiteX10521" y="connsiteY10521"/>
                </a:cxn>
                <a:cxn ang="0">
                  <a:pos x="connsiteX10522" y="connsiteY10522"/>
                </a:cxn>
                <a:cxn ang="0">
                  <a:pos x="connsiteX10523" y="connsiteY10523"/>
                </a:cxn>
                <a:cxn ang="0">
                  <a:pos x="connsiteX10524" y="connsiteY10524"/>
                </a:cxn>
                <a:cxn ang="0">
                  <a:pos x="connsiteX10525" y="connsiteY10525"/>
                </a:cxn>
                <a:cxn ang="0">
                  <a:pos x="connsiteX10526" y="connsiteY10526"/>
                </a:cxn>
                <a:cxn ang="0">
                  <a:pos x="connsiteX10527" y="connsiteY10527"/>
                </a:cxn>
                <a:cxn ang="0">
                  <a:pos x="connsiteX10528" y="connsiteY10528"/>
                </a:cxn>
                <a:cxn ang="0">
                  <a:pos x="connsiteX10529" y="connsiteY10529"/>
                </a:cxn>
                <a:cxn ang="0">
                  <a:pos x="connsiteX10530" y="connsiteY10530"/>
                </a:cxn>
                <a:cxn ang="0">
                  <a:pos x="connsiteX10531" y="connsiteY10531"/>
                </a:cxn>
                <a:cxn ang="0">
                  <a:pos x="connsiteX10532" y="connsiteY10532"/>
                </a:cxn>
                <a:cxn ang="0">
                  <a:pos x="connsiteX10533" y="connsiteY10533"/>
                </a:cxn>
                <a:cxn ang="0">
                  <a:pos x="connsiteX10534" y="connsiteY10534"/>
                </a:cxn>
                <a:cxn ang="0">
                  <a:pos x="connsiteX10535" y="connsiteY10535"/>
                </a:cxn>
                <a:cxn ang="0">
                  <a:pos x="connsiteX10536" y="connsiteY10536"/>
                </a:cxn>
                <a:cxn ang="0">
                  <a:pos x="connsiteX10537" y="connsiteY10537"/>
                </a:cxn>
                <a:cxn ang="0">
                  <a:pos x="connsiteX10538" y="connsiteY10538"/>
                </a:cxn>
                <a:cxn ang="0">
                  <a:pos x="connsiteX10539" y="connsiteY10539"/>
                </a:cxn>
                <a:cxn ang="0">
                  <a:pos x="connsiteX10540" y="connsiteY10540"/>
                </a:cxn>
                <a:cxn ang="0">
                  <a:pos x="connsiteX10541" y="connsiteY10541"/>
                </a:cxn>
                <a:cxn ang="0">
                  <a:pos x="connsiteX10542" y="connsiteY10542"/>
                </a:cxn>
                <a:cxn ang="0">
                  <a:pos x="connsiteX10543" y="connsiteY10543"/>
                </a:cxn>
                <a:cxn ang="0">
                  <a:pos x="connsiteX10544" y="connsiteY10544"/>
                </a:cxn>
                <a:cxn ang="0">
                  <a:pos x="connsiteX10545" y="connsiteY10545"/>
                </a:cxn>
                <a:cxn ang="0">
                  <a:pos x="connsiteX10546" y="connsiteY10546"/>
                </a:cxn>
                <a:cxn ang="0">
                  <a:pos x="connsiteX10547" y="connsiteY10547"/>
                </a:cxn>
                <a:cxn ang="0">
                  <a:pos x="connsiteX10548" y="connsiteY10548"/>
                </a:cxn>
                <a:cxn ang="0">
                  <a:pos x="connsiteX10549" y="connsiteY10549"/>
                </a:cxn>
                <a:cxn ang="0">
                  <a:pos x="connsiteX10550" y="connsiteY10550"/>
                </a:cxn>
                <a:cxn ang="0">
                  <a:pos x="connsiteX10551" y="connsiteY10551"/>
                </a:cxn>
                <a:cxn ang="0">
                  <a:pos x="connsiteX10552" y="connsiteY10552"/>
                </a:cxn>
                <a:cxn ang="0">
                  <a:pos x="connsiteX10553" y="connsiteY10553"/>
                </a:cxn>
                <a:cxn ang="0">
                  <a:pos x="connsiteX10554" y="connsiteY10554"/>
                </a:cxn>
                <a:cxn ang="0">
                  <a:pos x="connsiteX10555" y="connsiteY10555"/>
                </a:cxn>
                <a:cxn ang="0">
                  <a:pos x="connsiteX10556" y="connsiteY10556"/>
                </a:cxn>
                <a:cxn ang="0">
                  <a:pos x="connsiteX10557" y="connsiteY10557"/>
                </a:cxn>
                <a:cxn ang="0">
                  <a:pos x="connsiteX10558" y="connsiteY10558"/>
                </a:cxn>
                <a:cxn ang="0">
                  <a:pos x="connsiteX10559" y="connsiteY10559"/>
                </a:cxn>
                <a:cxn ang="0">
                  <a:pos x="connsiteX10560" y="connsiteY10560"/>
                </a:cxn>
                <a:cxn ang="0">
                  <a:pos x="connsiteX10561" y="connsiteY10561"/>
                </a:cxn>
                <a:cxn ang="0">
                  <a:pos x="connsiteX10562" y="connsiteY10562"/>
                </a:cxn>
                <a:cxn ang="0">
                  <a:pos x="connsiteX10563" y="connsiteY10563"/>
                </a:cxn>
                <a:cxn ang="0">
                  <a:pos x="connsiteX10564" y="connsiteY10564"/>
                </a:cxn>
                <a:cxn ang="0">
                  <a:pos x="connsiteX10565" y="connsiteY10565"/>
                </a:cxn>
                <a:cxn ang="0">
                  <a:pos x="connsiteX10566" y="connsiteY10566"/>
                </a:cxn>
                <a:cxn ang="0">
                  <a:pos x="connsiteX10567" y="connsiteY10567"/>
                </a:cxn>
                <a:cxn ang="0">
                  <a:pos x="connsiteX10568" y="connsiteY10568"/>
                </a:cxn>
                <a:cxn ang="0">
                  <a:pos x="connsiteX10569" y="connsiteY10569"/>
                </a:cxn>
                <a:cxn ang="0">
                  <a:pos x="connsiteX10570" y="connsiteY10570"/>
                </a:cxn>
                <a:cxn ang="0">
                  <a:pos x="connsiteX10571" y="connsiteY10571"/>
                </a:cxn>
                <a:cxn ang="0">
                  <a:pos x="connsiteX10572" y="connsiteY10572"/>
                </a:cxn>
                <a:cxn ang="0">
                  <a:pos x="connsiteX10573" y="connsiteY10573"/>
                </a:cxn>
                <a:cxn ang="0">
                  <a:pos x="connsiteX10574" y="connsiteY10574"/>
                </a:cxn>
                <a:cxn ang="0">
                  <a:pos x="connsiteX10575" y="connsiteY10575"/>
                </a:cxn>
                <a:cxn ang="0">
                  <a:pos x="connsiteX10576" y="connsiteY10576"/>
                </a:cxn>
                <a:cxn ang="0">
                  <a:pos x="connsiteX10577" y="connsiteY10577"/>
                </a:cxn>
                <a:cxn ang="0">
                  <a:pos x="connsiteX10578" y="connsiteY10578"/>
                </a:cxn>
                <a:cxn ang="0">
                  <a:pos x="connsiteX10579" y="connsiteY10579"/>
                </a:cxn>
                <a:cxn ang="0">
                  <a:pos x="connsiteX10580" y="connsiteY10580"/>
                </a:cxn>
                <a:cxn ang="0">
                  <a:pos x="connsiteX10581" y="connsiteY10581"/>
                </a:cxn>
                <a:cxn ang="0">
                  <a:pos x="connsiteX10582" y="connsiteY10582"/>
                </a:cxn>
                <a:cxn ang="0">
                  <a:pos x="connsiteX10583" y="connsiteY10583"/>
                </a:cxn>
                <a:cxn ang="0">
                  <a:pos x="connsiteX10584" y="connsiteY10584"/>
                </a:cxn>
                <a:cxn ang="0">
                  <a:pos x="connsiteX10585" y="connsiteY10585"/>
                </a:cxn>
                <a:cxn ang="0">
                  <a:pos x="connsiteX10586" y="connsiteY10586"/>
                </a:cxn>
                <a:cxn ang="0">
                  <a:pos x="connsiteX10587" y="connsiteY10587"/>
                </a:cxn>
                <a:cxn ang="0">
                  <a:pos x="connsiteX10588" y="connsiteY10588"/>
                </a:cxn>
                <a:cxn ang="0">
                  <a:pos x="connsiteX10589" y="connsiteY10589"/>
                </a:cxn>
                <a:cxn ang="0">
                  <a:pos x="connsiteX10590" y="connsiteY10590"/>
                </a:cxn>
                <a:cxn ang="0">
                  <a:pos x="connsiteX10591" y="connsiteY10591"/>
                </a:cxn>
                <a:cxn ang="0">
                  <a:pos x="connsiteX10592" y="connsiteY10592"/>
                </a:cxn>
                <a:cxn ang="0">
                  <a:pos x="connsiteX10593" y="connsiteY10593"/>
                </a:cxn>
                <a:cxn ang="0">
                  <a:pos x="connsiteX10594" y="connsiteY10594"/>
                </a:cxn>
                <a:cxn ang="0">
                  <a:pos x="connsiteX10595" y="connsiteY10595"/>
                </a:cxn>
                <a:cxn ang="0">
                  <a:pos x="connsiteX10596" y="connsiteY10596"/>
                </a:cxn>
                <a:cxn ang="0">
                  <a:pos x="connsiteX10597" y="connsiteY10597"/>
                </a:cxn>
                <a:cxn ang="0">
                  <a:pos x="connsiteX10598" y="connsiteY10598"/>
                </a:cxn>
                <a:cxn ang="0">
                  <a:pos x="connsiteX10599" y="connsiteY10599"/>
                </a:cxn>
                <a:cxn ang="0">
                  <a:pos x="connsiteX10600" y="connsiteY10600"/>
                </a:cxn>
                <a:cxn ang="0">
                  <a:pos x="connsiteX10601" y="connsiteY10601"/>
                </a:cxn>
                <a:cxn ang="0">
                  <a:pos x="connsiteX10602" y="connsiteY10602"/>
                </a:cxn>
                <a:cxn ang="0">
                  <a:pos x="connsiteX10603" y="connsiteY10603"/>
                </a:cxn>
                <a:cxn ang="0">
                  <a:pos x="connsiteX10604" y="connsiteY10604"/>
                </a:cxn>
                <a:cxn ang="0">
                  <a:pos x="connsiteX10605" y="connsiteY10605"/>
                </a:cxn>
                <a:cxn ang="0">
                  <a:pos x="connsiteX10606" y="connsiteY10606"/>
                </a:cxn>
                <a:cxn ang="0">
                  <a:pos x="connsiteX10607" y="connsiteY10607"/>
                </a:cxn>
                <a:cxn ang="0">
                  <a:pos x="connsiteX10608" y="connsiteY10608"/>
                </a:cxn>
                <a:cxn ang="0">
                  <a:pos x="connsiteX10609" y="connsiteY10609"/>
                </a:cxn>
                <a:cxn ang="0">
                  <a:pos x="connsiteX10610" y="connsiteY10610"/>
                </a:cxn>
                <a:cxn ang="0">
                  <a:pos x="connsiteX10611" y="connsiteY10611"/>
                </a:cxn>
                <a:cxn ang="0">
                  <a:pos x="connsiteX10612" y="connsiteY10612"/>
                </a:cxn>
                <a:cxn ang="0">
                  <a:pos x="connsiteX10613" y="connsiteY10613"/>
                </a:cxn>
                <a:cxn ang="0">
                  <a:pos x="connsiteX10614" y="connsiteY10614"/>
                </a:cxn>
                <a:cxn ang="0">
                  <a:pos x="connsiteX10615" y="connsiteY10615"/>
                </a:cxn>
                <a:cxn ang="0">
                  <a:pos x="connsiteX10616" y="connsiteY10616"/>
                </a:cxn>
                <a:cxn ang="0">
                  <a:pos x="connsiteX10617" y="connsiteY10617"/>
                </a:cxn>
                <a:cxn ang="0">
                  <a:pos x="connsiteX10618" y="connsiteY10618"/>
                </a:cxn>
                <a:cxn ang="0">
                  <a:pos x="connsiteX10619" y="connsiteY10619"/>
                </a:cxn>
                <a:cxn ang="0">
                  <a:pos x="connsiteX10620" y="connsiteY10620"/>
                </a:cxn>
                <a:cxn ang="0">
                  <a:pos x="connsiteX10621" y="connsiteY10621"/>
                </a:cxn>
                <a:cxn ang="0">
                  <a:pos x="connsiteX10622" y="connsiteY10622"/>
                </a:cxn>
                <a:cxn ang="0">
                  <a:pos x="connsiteX10623" y="connsiteY10623"/>
                </a:cxn>
                <a:cxn ang="0">
                  <a:pos x="connsiteX10624" y="connsiteY10624"/>
                </a:cxn>
                <a:cxn ang="0">
                  <a:pos x="connsiteX10625" y="connsiteY10625"/>
                </a:cxn>
                <a:cxn ang="0">
                  <a:pos x="connsiteX10626" y="connsiteY10626"/>
                </a:cxn>
                <a:cxn ang="0">
                  <a:pos x="connsiteX10627" y="connsiteY10627"/>
                </a:cxn>
                <a:cxn ang="0">
                  <a:pos x="connsiteX10628" y="connsiteY10628"/>
                </a:cxn>
                <a:cxn ang="0">
                  <a:pos x="connsiteX10629" y="connsiteY10629"/>
                </a:cxn>
                <a:cxn ang="0">
                  <a:pos x="connsiteX10630" y="connsiteY10630"/>
                </a:cxn>
                <a:cxn ang="0">
                  <a:pos x="connsiteX10631" y="connsiteY10631"/>
                </a:cxn>
                <a:cxn ang="0">
                  <a:pos x="connsiteX10632" y="connsiteY10632"/>
                </a:cxn>
                <a:cxn ang="0">
                  <a:pos x="connsiteX10633" y="connsiteY10633"/>
                </a:cxn>
                <a:cxn ang="0">
                  <a:pos x="connsiteX10634" y="connsiteY10634"/>
                </a:cxn>
                <a:cxn ang="0">
                  <a:pos x="connsiteX10635" y="connsiteY10635"/>
                </a:cxn>
                <a:cxn ang="0">
                  <a:pos x="connsiteX10636" y="connsiteY10636"/>
                </a:cxn>
                <a:cxn ang="0">
                  <a:pos x="connsiteX10637" y="connsiteY10637"/>
                </a:cxn>
                <a:cxn ang="0">
                  <a:pos x="connsiteX10638" y="connsiteY10638"/>
                </a:cxn>
                <a:cxn ang="0">
                  <a:pos x="connsiteX10639" y="connsiteY10639"/>
                </a:cxn>
                <a:cxn ang="0">
                  <a:pos x="connsiteX10640" y="connsiteY10640"/>
                </a:cxn>
                <a:cxn ang="0">
                  <a:pos x="connsiteX10641" y="connsiteY10641"/>
                </a:cxn>
                <a:cxn ang="0">
                  <a:pos x="connsiteX10642" y="connsiteY10642"/>
                </a:cxn>
                <a:cxn ang="0">
                  <a:pos x="connsiteX10643" y="connsiteY10643"/>
                </a:cxn>
                <a:cxn ang="0">
                  <a:pos x="connsiteX10644" y="connsiteY10644"/>
                </a:cxn>
                <a:cxn ang="0">
                  <a:pos x="connsiteX10645" y="connsiteY10645"/>
                </a:cxn>
                <a:cxn ang="0">
                  <a:pos x="connsiteX10646" y="connsiteY10646"/>
                </a:cxn>
                <a:cxn ang="0">
                  <a:pos x="connsiteX10647" y="connsiteY10647"/>
                </a:cxn>
                <a:cxn ang="0">
                  <a:pos x="connsiteX10648" y="connsiteY10648"/>
                </a:cxn>
                <a:cxn ang="0">
                  <a:pos x="connsiteX10649" y="connsiteY10649"/>
                </a:cxn>
                <a:cxn ang="0">
                  <a:pos x="connsiteX10650" y="connsiteY10650"/>
                </a:cxn>
                <a:cxn ang="0">
                  <a:pos x="connsiteX10651" y="connsiteY10651"/>
                </a:cxn>
                <a:cxn ang="0">
                  <a:pos x="connsiteX10652" y="connsiteY10652"/>
                </a:cxn>
                <a:cxn ang="0">
                  <a:pos x="connsiteX10653" y="connsiteY10653"/>
                </a:cxn>
                <a:cxn ang="0">
                  <a:pos x="connsiteX10654" y="connsiteY10654"/>
                </a:cxn>
                <a:cxn ang="0">
                  <a:pos x="connsiteX10655" y="connsiteY10655"/>
                </a:cxn>
                <a:cxn ang="0">
                  <a:pos x="connsiteX10656" y="connsiteY10656"/>
                </a:cxn>
                <a:cxn ang="0">
                  <a:pos x="connsiteX10657" y="connsiteY10657"/>
                </a:cxn>
                <a:cxn ang="0">
                  <a:pos x="connsiteX10658" y="connsiteY10658"/>
                </a:cxn>
                <a:cxn ang="0">
                  <a:pos x="connsiteX10659" y="connsiteY10659"/>
                </a:cxn>
                <a:cxn ang="0">
                  <a:pos x="connsiteX10660" y="connsiteY10660"/>
                </a:cxn>
                <a:cxn ang="0">
                  <a:pos x="connsiteX10661" y="connsiteY10661"/>
                </a:cxn>
                <a:cxn ang="0">
                  <a:pos x="connsiteX10662" y="connsiteY10662"/>
                </a:cxn>
                <a:cxn ang="0">
                  <a:pos x="connsiteX10663" y="connsiteY10663"/>
                </a:cxn>
                <a:cxn ang="0">
                  <a:pos x="connsiteX10664" y="connsiteY10664"/>
                </a:cxn>
                <a:cxn ang="0">
                  <a:pos x="connsiteX10665" y="connsiteY10665"/>
                </a:cxn>
                <a:cxn ang="0">
                  <a:pos x="connsiteX10666" y="connsiteY10666"/>
                </a:cxn>
                <a:cxn ang="0">
                  <a:pos x="connsiteX10667" y="connsiteY10667"/>
                </a:cxn>
                <a:cxn ang="0">
                  <a:pos x="connsiteX10668" y="connsiteY10668"/>
                </a:cxn>
                <a:cxn ang="0">
                  <a:pos x="connsiteX10669" y="connsiteY10669"/>
                </a:cxn>
                <a:cxn ang="0">
                  <a:pos x="connsiteX10670" y="connsiteY10670"/>
                </a:cxn>
                <a:cxn ang="0">
                  <a:pos x="connsiteX10671" y="connsiteY10671"/>
                </a:cxn>
                <a:cxn ang="0">
                  <a:pos x="connsiteX10672" y="connsiteY10672"/>
                </a:cxn>
                <a:cxn ang="0">
                  <a:pos x="connsiteX10673" y="connsiteY10673"/>
                </a:cxn>
                <a:cxn ang="0">
                  <a:pos x="connsiteX10674" y="connsiteY10674"/>
                </a:cxn>
                <a:cxn ang="0">
                  <a:pos x="connsiteX10675" y="connsiteY10675"/>
                </a:cxn>
                <a:cxn ang="0">
                  <a:pos x="connsiteX10676" y="connsiteY10676"/>
                </a:cxn>
                <a:cxn ang="0">
                  <a:pos x="connsiteX10677" y="connsiteY10677"/>
                </a:cxn>
                <a:cxn ang="0">
                  <a:pos x="connsiteX10678" y="connsiteY10678"/>
                </a:cxn>
                <a:cxn ang="0">
                  <a:pos x="connsiteX10679" y="connsiteY10679"/>
                </a:cxn>
                <a:cxn ang="0">
                  <a:pos x="connsiteX10680" y="connsiteY10680"/>
                </a:cxn>
                <a:cxn ang="0">
                  <a:pos x="connsiteX10681" y="connsiteY10681"/>
                </a:cxn>
                <a:cxn ang="0">
                  <a:pos x="connsiteX10682" y="connsiteY10682"/>
                </a:cxn>
                <a:cxn ang="0">
                  <a:pos x="connsiteX10683" y="connsiteY10683"/>
                </a:cxn>
                <a:cxn ang="0">
                  <a:pos x="connsiteX10684" y="connsiteY10684"/>
                </a:cxn>
                <a:cxn ang="0">
                  <a:pos x="connsiteX10685" y="connsiteY10685"/>
                </a:cxn>
                <a:cxn ang="0">
                  <a:pos x="connsiteX10686" y="connsiteY10686"/>
                </a:cxn>
                <a:cxn ang="0">
                  <a:pos x="connsiteX10687" y="connsiteY10687"/>
                </a:cxn>
                <a:cxn ang="0">
                  <a:pos x="connsiteX10688" y="connsiteY10688"/>
                </a:cxn>
                <a:cxn ang="0">
                  <a:pos x="connsiteX10689" y="connsiteY10689"/>
                </a:cxn>
                <a:cxn ang="0">
                  <a:pos x="connsiteX10690" y="connsiteY10690"/>
                </a:cxn>
                <a:cxn ang="0">
                  <a:pos x="connsiteX10691" y="connsiteY10691"/>
                </a:cxn>
                <a:cxn ang="0">
                  <a:pos x="connsiteX10692" y="connsiteY10692"/>
                </a:cxn>
                <a:cxn ang="0">
                  <a:pos x="connsiteX10693" y="connsiteY10693"/>
                </a:cxn>
                <a:cxn ang="0">
                  <a:pos x="connsiteX10694" y="connsiteY10694"/>
                </a:cxn>
                <a:cxn ang="0">
                  <a:pos x="connsiteX10695" y="connsiteY10695"/>
                </a:cxn>
                <a:cxn ang="0">
                  <a:pos x="connsiteX10696" y="connsiteY10696"/>
                </a:cxn>
                <a:cxn ang="0">
                  <a:pos x="connsiteX10697" y="connsiteY10697"/>
                </a:cxn>
                <a:cxn ang="0">
                  <a:pos x="connsiteX10698" y="connsiteY10698"/>
                </a:cxn>
                <a:cxn ang="0">
                  <a:pos x="connsiteX10699" y="connsiteY10699"/>
                </a:cxn>
                <a:cxn ang="0">
                  <a:pos x="connsiteX10700" y="connsiteY10700"/>
                </a:cxn>
                <a:cxn ang="0">
                  <a:pos x="connsiteX10701" y="connsiteY10701"/>
                </a:cxn>
                <a:cxn ang="0">
                  <a:pos x="connsiteX10702" y="connsiteY10702"/>
                </a:cxn>
                <a:cxn ang="0">
                  <a:pos x="connsiteX10703" y="connsiteY10703"/>
                </a:cxn>
                <a:cxn ang="0">
                  <a:pos x="connsiteX10704" y="connsiteY10704"/>
                </a:cxn>
                <a:cxn ang="0">
                  <a:pos x="connsiteX10705" y="connsiteY10705"/>
                </a:cxn>
                <a:cxn ang="0">
                  <a:pos x="connsiteX10706" y="connsiteY10706"/>
                </a:cxn>
                <a:cxn ang="0">
                  <a:pos x="connsiteX10707" y="connsiteY10707"/>
                </a:cxn>
                <a:cxn ang="0">
                  <a:pos x="connsiteX10708" y="connsiteY10708"/>
                </a:cxn>
                <a:cxn ang="0">
                  <a:pos x="connsiteX10709" y="connsiteY10709"/>
                </a:cxn>
                <a:cxn ang="0">
                  <a:pos x="connsiteX10710" y="connsiteY10710"/>
                </a:cxn>
                <a:cxn ang="0">
                  <a:pos x="connsiteX10711" y="connsiteY10711"/>
                </a:cxn>
                <a:cxn ang="0">
                  <a:pos x="connsiteX10712" y="connsiteY10712"/>
                </a:cxn>
                <a:cxn ang="0">
                  <a:pos x="connsiteX10713" y="connsiteY10713"/>
                </a:cxn>
                <a:cxn ang="0">
                  <a:pos x="connsiteX10714" y="connsiteY10714"/>
                </a:cxn>
                <a:cxn ang="0">
                  <a:pos x="connsiteX10715" y="connsiteY10715"/>
                </a:cxn>
                <a:cxn ang="0">
                  <a:pos x="connsiteX10716" y="connsiteY10716"/>
                </a:cxn>
                <a:cxn ang="0">
                  <a:pos x="connsiteX10717" y="connsiteY10717"/>
                </a:cxn>
                <a:cxn ang="0">
                  <a:pos x="connsiteX10718" y="connsiteY10718"/>
                </a:cxn>
                <a:cxn ang="0">
                  <a:pos x="connsiteX10719" y="connsiteY10719"/>
                </a:cxn>
                <a:cxn ang="0">
                  <a:pos x="connsiteX10720" y="connsiteY10720"/>
                </a:cxn>
                <a:cxn ang="0">
                  <a:pos x="connsiteX10721" y="connsiteY10721"/>
                </a:cxn>
                <a:cxn ang="0">
                  <a:pos x="connsiteX10722" y="connsiteY10722"/>
                </a:cxn>
                <a:cxn ang="0">
                  <a:pos x="connsiteX10723" y="connsiteY10723"/>
                </a:cxn>
                <a:cxn ang="0">
                  <a:pos x="connsiteX10724" y="connsiteY10724"/>
                </a:cxn>
                <a:cxn ang="0">
                  <a:pos x="connsiteX10725" y="connsiteY10725"/>
                </a:cxn>
                <a:cxn ang="0">
                  <a:pos x="connsiteX10726" y="connsiteY10726"/>
                </a:cxn>
                <a:cxn ang="0">
                  <a:pos x="connsiteX10727" y="connsiteY10727"/>
                </a:cxn>
                <a:cxn ang="0">
                  <a:pos x="connsiteX10728" y="connsiteY10728"/>
                </a:cxn>
                <a:cxn ang="0">
                  <a:pos x="connsiteX10729" y="connsiteY10729"/>
                </a:cxn>
                <a:cxn ang="0">
                  <a:pos x="connsiteX10730" y="connsiteY10730"/>
                </a:cxn>
                <a:cxn ang="0">
                  <a:pos x="connsiteX10731" y="connsiteY10731"/>
                </a:cxn>
                <a:cxn ang="0">
                  <a:pos x="connsiteX10732" y="connsiteY10732"/>
                </a:cxn>
                <a:cxn ang="0">
                  <a:pos x="connsiteX10733" y="connsiteY10733"/>
                </a:cxn>
                <a:cxn ang="0">
                  <a:pos x="connsiteX10734" y="connsiteY10734"/>
                </a:cxn>
                <a:cxn ang="0">
                  <a:pos x="connsiteX10735" y="connsiteY10735"/>
                </a:cxn>
                <a:cxn ang="0">
                  <a:pos x="connsiteX10736" y="connsiteY10736"/>
                </a:cxn>
                <a:cxn ang="0">
                  <a:pos x="connsiteX10737" y="connsiteY10737"/>
                </a:cxn>
                <a:cxn ang="0">
                  <a:pos x="connsiteX10738" y="connsiteY10738"/>
                </a:cxn>
                <a:cxn ang="0">
                  <a:pos x="connsiteX10739" y="connsiteY10739"/>
                </a:cxn>
                <a:cxn ang="0">
                  <a:pos x="connsiteX10740" y="connsiteY10740"/>
                </a:cxn>
                <a:cxn ang="0">
                  <a:pos x="connsiteX10741" y="connsiteY10741"/>
                </a:cxn>
                <a:cxn ang="0">
                  <a:pos x="connsiteX10742" y="connsiteY10742"/>
                </a:cxn>
                <a:cxn ang="0">
                  <a:pos x="connsiteX10743" y="connsiteY10743"/>
                </a:cxn>
                <a:cxn ang="0">
                  <a:pos x="connsiteX10744" y="connsiteY10744"/>
                </a:cxn>
                <a:cxn ang="0">
                  <a:pos x="connsiteX10745" y="connsiteY10745"/>
                </a:cxn>
                <a:cxn ang="0">
                  <a:pos x="connsiteX10746" y="connsiteY10746"/>
                </a:cxn>
                <a:cxn ang="0">
                  <a:pos x="connsiteX10747" y="connsiteY10747"/>
                </a:cxn>
                <a:cxn ang="0">
                  <a:pos x="connsiteX10748" y="connsiteY10748"/>
                </a:cxn>
                <a:cxn ang="0">
                  <a:pos x="connsiteX10749" y="connsiteY10749"/>
                </a:cxn>
                <a:cxn ang="0">
                  <a:pos x="connsiteX10750" y="connsiteY10750"/>
                </a:cxn>
                <a:cxn ang="0">
                  <a:pos x="connsiteX10751" y="connsiteY10751"/>
                </a:cxn>
                <a:cxn ang="0">
                  <a:pos x="connsiteX10752" y="connsiteY10752"/>
                </a:cxn>
                <a:cxn ang="0">
                  <a:pos x="connsiteX10753" y="connsiteY10753"/>
                </a:cxn>
                <a:cxn ang="0">
                  <a:pos x="connsiteX10754" y="connsiteY10754"/>
                </a:cxn>
                <a:cxn ang="0">
                  <a:pos x="connsiteX10755" y="connsiteY10755"/>
                </a:cxn>
                <a:cxn ang="0">
                  <a:pos x="connsiteX10756" y="connsiteY10756"/>
                </a:cxn>
                <a:cxn ang="0">
                  <a:pos x="connsiteX10757" y="connsiteY10757"/>
                </a:cxn>
                <a:cxn ang="0">
                  <a:pos x="connsiteX10758" y="connsiteY10758"/>
                </a:cxn>
                <a:cxn ang="0">
                  <a:pos x="connsiteX10759" y="connsiteY10759"/>
                </a:cxn>
                <a:cxn ang="0">
                  <a:pos x="connsiteX10760" y="connsiteY10760"/>
                </a:cxn>
                <a:cxn ang="0">
                  <a:pos x="connsiteX10761" y="connsiteY10761"/>
                </a:cxn>
                <a:cxn ang="0">
                  <a:pos x="connsiteX10762" y="connsiteY10762"/>
                </a:cxn>
                <a:cxn ang="0">
                  <a:pos x="connsiteX10763" y="connsiteY10763"/>
                </a:cxn>
                <a:cxn ang="0">
                  <a:pos x="connsiteX10764" y="connsiteY10764"/>
                </a:cxn>
                <a:cxn ang="0">
                  <a:pos x="connsiteX10765" y="connsiteY10765"/>
                </a:cxn>
                <a:cxn ang="0">
                  <a:pos x="connsiteX10766" y="connsiteY10766"/>
                </a:cxn>
                <a:cxn ang="0">
                  <a:pos x="connsiteX10767" y="connsiteY10767"/>
                </a:cxn>
                <a:cxn ang="0">
                  <a:pos x="connsiteX10768" y="connsiteY10768"/>
                </a:cxn>
                <a:cxn ang="0">
                  <a:pos x="connsiteX10769" y="connsiteY10769"/>
                </a:cxn>
                <a:cxn ang="0">
                  <a:pos x="connsiteX10770" y="connsiteY10770"/>
                </a:cxn>
                <a:cxn ang="0">
                  <a:pos x="connsiteX10771" y="connsiteY10771"/>
                </a:cxn>
                <a:cxn ang="0">
                  <a:pos x="connsiteX10772" y="connsiteY10772"/>
                </a:cxn>
                <a:cxn ang="0">
                  <a:pos x="connsiteX10773" y="connsiteY10773"/>
                </a:cxn>
                <a:cxn ang="0">
                  <a:pos x="connsiteX10774" y="connsiteY10774"/>
                </a:cxn>
                <a:cxn ang="0">
                  <a:pos x="connsiteX10775" y="connsiteY10775"/>
                </a:cxn>
                <a:cxn ang="0">
                  <a:pos x="connsiteX10776" y="connsiteY10776"/>
                </a:cxn>
                <a:cxn ang="0">
                  <a:pos x="connsiteX10777" y="connsiteY10777"/>
                </a:cxn>
                <a:cxn ang="0">
                  <a:pos x="connsiteX10778" y="connsiteY10778"/>
                </a:cxn>
                <a:cxn ang="0">
                  <a:pos x="connsiteX10779" y="connsiteY10779"/>
                </a:cxn>
                <a:cxn ang="0">
                  <a:pos x="connsiteX10780" y="connsiteY10780"/>
                </a:cxn>
                <a:cxn ang="0">
                  <a:pos x="connsiteX10781" y="connsiteY10781"/>
                </a:cxn>
                <a:cxn ang="0">
                  <a:pos x="connsiteX10782" y="connsiteY10782"/>
                </a:cxn>
                <a:cxn ang="0">
                  <a:pos x="connsiteX10783" y="connsiteY10783"/>
                </a:cxn>
                <a:cxn ang="0">
                  <a:pos x="connsiteX10784" y="connsiteY10784"/>
                </a:cxn>
                <a:cxn ang="0">
                  <a:pos x="connsiteX10785" y="connsiteY10785"/>
                </a:cxn>
                <a:cxn ang="0">
                  <a:pos x="connsiteX10786" y="connsiteY10786"/>
                </a:cxn>
                <a:cxn ang="0">
                  <a:pos x="connsiteX10787" y="connsiteY10787"/>
                </a:cxn>
                <a:cxn ang="0">
                  <a:pos x="connsiteX10788" y="connsiteY10788"/>
                </a:cxn>
                <a:cxn ang="0">
                  <a:pos x="connsiteX10789" y="connsiteY10789"/>
                </a:cxn>
                <a:cxn ang="0">
                  <a:pos x="connsiteX10790" y="connsiteY10790"/>
                </a:cxn>
                <a:cxn ang="0">
                  <a:pos x="connsiteX10791" y="connsiteY10791"/>
                </a:cxn>
                <a:cxn ang="0">
                  <a:pos x="connsiteX10792" y="connsiteY10792"/>
                </a:cxn>
                <a:cxn ang="0">
                  <a:pos x="connsiteX10793" y="connsiteY10793"/>
                </a:cxn>
                <a:cxn ang="0">
                  <a:pos x="connsiteX10794" y="connsiteY10794"/>
                </a:cxn>
                <a:cxn ang="0">
                  <a:pos x="connsiteX10795" y="connsiteY10795"/>
                </a:cxn>
                <a:cxn ang="0">
                  <a:pos x="connsiteX10796" y="connsiteY10796"/>
                </a:cxn>
                <a:cxn ang="0">
                  <a:pos x="connsiteX10797" y="connsiteY10797"/>
                </a:cxn>
                <a:cxn ang="0">
                  <a:pos x="connsiteX10798" y="connsiteY10798"/>
                </a:cxn>
                <a:cxn ang="0">
                  <a:pos x="connsiteX10799" y="connsiteY10799"/>
                </a:cxn>
                <a:cxn ang="0">
                  <a:pos x="connsiteX10800" y="connsiteY10800"/>
                </a:cxn>
                <a:cxn ang="0">
                  <a:pos x="connsiteX10801" y="connsiteY10801"/>
                </a:cxn>
                <a:cxn ang="0">
                  <a:pos x="connsiteX10802" y="connsiteY10802"/>
                </a:cxn>
                <a:cxn ang="0">
                  <a:pos x="connsiteX10803" y="connsiteY10803"/>
                </a:cxn>
                <a:cxn ang="0">
                  <a:pos x="connsiteX10804" y="connsiteY10804"/>
                </a:cxn>
                <a:cxn ang="0">
                  <a:pos x="connsiteX10805" y="connsiteY10805"/>
                </a:cxn>
                <a:cxn ang="0">
                  <a:pos x="connsiteX10806" y="connsiteY10806"/>
                </a:cxn>
                <a:cxn ang="0">
                  <a:pos x="connsiteX10807" y="connsiteY10807"/>
                </a:cxn>
                <a:cxn ang="0">
                  <a:pos x="connsiteX10808" y="connsiteY10808"/>
                </a:cxn>
                <a:cxn ang="0">
                  <a:pos x="connsiteX10809" y="connsiteY10809"/>
                </a:cxn>
                <a:cxn ang="0">
                  <a:pos x="connsiteX10810" y="connsiteY10810"/>
                </a:cxn>
                <a:cxn ang="0">
                  <a:pos x="connsiteX10811" y="connsiteY10811"/>
                </a:cxn>
                <a:cxn ang="0">
                  <a:pos x="connsiteX10812" y="connsiteY10812"/>
                </a:cxn>
                <a:cxn ang="0">
                  <a:pos x="connsiteX10813" y="connsiteY10813"/>
                </a:cxn>
                <a:cxn ang="0">
                  <a:pos x="connsiteX10814" y="connsiteY10814"/>
                </a:cxn>
                <a:cxn ang="0">
                  <a:pos x="connsiteX10815" y="connsiteY10815"/>
                </a:cxn>
                <a:cxn ang="0">
                  <a:pos x="connsiteX10816" y="connsiteY10816"/>
                </a:cxn>
                <a:cxn ang="0">
                  <a:pos x="connsiteX10817" y="connsiteY10817"/>
                </a:cxn>
                <a:cxn ang="0">
                  <a:pos x="connsiteX10818" y="connsiteY10818"/>
                </a:cxn>
                <a:cxn ang="0">
                  <a:pos x="connsiteX10819" y="connsiteY10819"/>
                </a:cxn>
                <a:cxn ang="0">
                  <a:pos x="connsiteX10820" y="connsiteY10820"/>
                </a:cxn>
                <a:cxn ang="0">
                  <a:pos x="connsiteX10821" y="connsiteY10821"/>
                </a:cxn>
                <a:cxn ang="0">
                  <a:pos x="connsiteX10822" y="connsiteY10822"/>
                </a:cxn>
                <a:cxn ang="0">
                  <a:pos x="connsiteX10823" y="connsiteY10823"/>
                </a:cxn>
                <a:cxn ang="0">
                  <a:pos x="connsiteX10824" y="connsiteY10824"/>
                </a:cxn>
                <a:cxn ang="0">
                  <a:pos x="connsiteX10825" y="connsiteY10825"/>
                </a:cxn>
                <a:cxn ang="0">
                  <a:pos x="connsiteX10826" y="connsiteY10826"/>
                </a:cxn>
                <a:cxn ang="0">
                  <a:pos x="connsiteX10827" y="connsiteY10827"/>
                </a:cxn>
                <a:cxn ang="0">
                  <a:pos x="connsiteX10828" y="connsiteY10828"/>
                </a:cxn>
                <a:cxn ang="0">
                  <a:pos x="connsiteX10829" y="connsiteY10829"/>
                </a:cxn>
                <a:cxn ang="0">
                  <a:pos x="connsiteX10830" y="connsiteY10830"/>
                </a:cxn>
                <a:cxn ang="0">
                  <a:pos x="connsiteX10831" y="connsiteY10831"/>
                </a:cxn>
                <a:cxn ang="0">
                  <a:pos x="connsiteX10832" y="connsiteY10832"/>
                </a:cxn>
                <a:cxn ang="0">
                  <a:pos x="connsiteX10833" y="connsiteY10833"/>
                </a:cxn>
                <a:cxn ang="0">
                  <a:pos x="connsiteX10834" y="connsiteY10834"/>
                </a:cxn>
                <a:cxn ang="0">
                  <a:pos x="connsiteX10835" y="connsiteY10835"/>
                </a:cxn>
                <a:cxn ang="0">
                  <a:pos x="connsiteX10836" y="connsiteY10836"/>
                </a:cxn>
                <a:cxn ang="0">
                  <a:pos x="connsiteX10837" y="connsiteY10837"/>
                </a:cxn>
                <a:cxn ang="0">
                  <a:pos x="connsiteX10838" y="connsiteY10838"/>
                </a:cxn>
                <a:cxn ang="0">
                  <a:pos x="connsiteX10839" y="connsiteY10839"/>
                </a:cxn>
                <a:cxn ang="0">
                  <a:pos x="connsiteX10840" y="connsiteY10840"/>
                </a:cxn>
                <a:cxn ang="0">
                  <a:pos x="connsiteX10841" y="connsiteY10841"/>
                </a:cxn>
                <a:cxn ang="0">
                  <a:pos x="connsiteX10842" y="connsiteY10842"/>
                </a:cxn>
                <a:cxn ang="0">
                  <a:pos x="connsiteX10843" y="connsiteY10843"/>
                </a:cxn>
                <a:cxn ang="0">
                  <a:pos x="connsiteX10844" y="connsiteY10844"/>
                </a:cxn>
                <a:cxn ang="0">
                  <a:pos x="connsiteX10845" y="connsiteY10845"/>
                </a:cxn>
                <a:cxn ang="0">
                  <a:pos x="connsiteX10846" y="connsiteY10846"/>
                </a:cxn>
                <a:cxn ang="0">
                  <a:pos x="connsiteX10847" y="connsiteY10847"/>
                </a:cxn>
                <a:cxn ang="0">
                  <a:pos x="connsiteX10848" y="connsiteY10848"/>
                </a:cxn>
                <a:cxn ang="0">
                  <a:pos x="connsiteX10849" y="connsiteY10849"/>
                </a:cxn>
                <a:cxn ang="0">
                  <a:pos x="connsiteX10850" y="connsiteY10850"/>
                </a:cxn>
                <a:cxn ang="0">
                  <a:pos x="connsiteX10851" y="connsiteY10851"/>
                </a:cxn>
                <a:cxn ang="0">
                  <a:pos x="connsiteX10852" y="connsiteY10852"/>
                </a:cxn>
                <a:cxn ang="0">
                  <a:pos x="connsiteX10853" y="connsiteY10853"/>
                </a:cxn>
                <a:cxn ang="0">
                  <a:pos x="connsiteX10854" y="connsiteY10854"/>
                </a:cxn>
                <a:cxn ang="0">
                  <a:pos x="connsiteX10855" y="connsiteY10855"/>
                </a:cxn>
                <a:cxn ang="0">
                  <a:pos x="connsiteX10856" y="connsiteY10856"/>
                </a:cxn>
                <a:cxn ang="0">
                  <a:pos x="connsiteX10857" y="connsiteY10857"/>
                </a:cxn>
                <a:cxn ang="0">
                  <a:pos x="connsiteX10858" y="connsiteY10858"/>
                </a:cxn>
                <a:cxn ang="0">
                  <a:pos x="connsiteX10859" y="connsiteY10859"/>
                </a:cxn>
                <a:cxn ang="0">
                  <a:pos x="connsiteX10860" y="connsiteY10860"/>
                </a:cxn>
                <a:cxn ang="0">
                  <a:pos x="connsiteX10861" y="connsiteY10861"/>
                </a:cxn>
                <a:cxn ang="0">
                  <a:pos x="connsiteX10862" y="connsiteY10862"/>
                </a:cxn>
                <a:cxn ang="0">
                  <a:pos x="connsiteX10863" y="connsiteY10863"/>
                </a:cxn>
                <a:cxn ang="0">
                  <a:pos x="connsiteX10864" y="connsiteY10864"/>
                </a:cxn>
                <a:cxn ang="0">
                  <a:pos x="connsiteX10865" y="connsiteY10865"/>
                </a:cxn>
                <a:cxn ang="0">
                  <a:pos x="connsiteX10866" y="connsiteY10866"/>
                </a:cxn>
                <a:cxn ang="0">
                  <a:pos x="connsiteX10867" y="connsiteY10867"/>
                </a:cxn>
                <a:cxn ang="0">
                  <a:pos x="connsiteX10868" y="connsiteY10868"/>
                </a:cxn>
                <a:cxn ang="0">
                  <a:pos x="connsiteX10869" y="connsiteY10869"/>
                </a:cxn>
                <a:cxn ang="0">
                  <a:pos x="connsiteX10870" y="connsiteY10870"/>
                </a:cxn>
                <a:cxn ang="0">
                  <a:pos x="connsiteX10871" y="connsiteY10871"/>
                </a:cxn>
                <a:cxn ang="0">
                  <a:pos x="connsiteX10872" y="connsiteY10872"/>
                </a:cxn>
                <a:cxn ang="0">
                  <a:pos x="connsiteX10873" y="connsiteY10873"/>
                </a:cxn>
                <a:cxn ang="0">
                  <a:pos x="connsiteX10874" y="connsiteY10874"/>
                </a:cxn>
                <a:cxn ang="0">
                  <a:pos x="connsiteX10875" y="connsiteY10875"/>
                </a:cxn>
                <a:cxn ang="0">
                  <a:pos x="connsiteX10876" y="connsiteY10876"/>
                </a:cxn>
                <a:cxn ang="0">
                  <a:pos x="connsiteX10877" y="connsiteY10877"/>
                </a:cxn>
                <a:cxn ang="0">
                  <a:pos x="connsiteX10878" y="connsiteY10878"/>
                </a:cxn>
                <a:cxn ang="0">
                  <a:pos x="connsiteX10879" y="connsiteY10879"/>
                </a:cxn>
                <a:cxn ang="0">
                  <a:pos x="connsiteX10880" y="connsiteY10880"/>
                </a:cxn>
                <a:cxn ang="0">
                  <a:pos x="connsiteX10881" y="connsiteY10881"/>
                </a:cxn>
                <a:cxn ang="0">
                  <a:pos x="connsiteX10882" y="connsiteY10882"/>
                </a:cxn>
                <a:cxn ang="0">
                  <a:pos x="connsiteX10883" y="connsiteY10883"/>
                </a:cxn>
                <a:cxn ang="0">
                  <a:pos x="connsiteX10884" y="connsiteY10884"/>
                </a:cxn>
                <a:cxn ang="0">
                  <a:pos x="connsiteX10885" y="connsiteY10885"/>
                </a:cxn>
                <a:cxn ang="0">
                  <a:pos x="connsiteX10886" y="connsiteY10886"/>
                </a:cxn>
                <a:cxn ang="0">
                  <a:pos x="connsiteX10887" y="connsiteY10887"/>
                </a:cxn>
                <a:cxn ang="0">
                  <a:pos x="connsiteX10888" y="connsiteY10888"/>
                </a:cxn>
                <a:cxn ang="0">
                  <a:pos x="connsiteX10889" y="connsiteY10889"/>
                </a:cxn>
                <a:cxn ang="0">
                  <a:pos x="connsiteX10890" y="connsiteY10890"/>
                </a:cxn>
                <a:cxn ang="0">
                  <a:pos x="connsiteX10891" y="connsiteY10891"/>
                </a:cxn>
                <a:cxn ang="0">
                  <a:pos x="connsiteX10892" y="connsiteY10892"/>
                </a:cxn>
                <a:cxn ang="0">
                  <a:pos x="connsiteX10893" y="connsiteY10893"/>
                </a:cxn>
                <a:cxn ang="0">
                  <a:pos x="connsiteX10894" y="connsiteY10894"/>
                </a:cxn>
                <a:cxn ang="0">
                  <a:pos x="connsiteX10895" y="connsiteY10895"/>
                </a:cxn>
                <a:cxn ang="0">
                  <a:pos x="connsiteX10896" y="connsiteY10896"/>
                </a:cxn>
                <a:cxn ang="0">
                  <a:pos x="connsiteX10897" y="connsiteY10897"/>
                </a:cxn>
                <a:cxn ang="0">
                  <a:pos x="connsiteX10898" y="connsiteY10898"/>
                </a:cxn>
                <a:cxn ang="0">
                  <a:pos x="connsiteX10899" y="connsiteY10899"/>
                </a:cxn>
                <a:cxn ang="0">
                  <a:pos x="connsiteX10900" y="connsiteY10900"/>
                </a:cxn>
                <a:cxn ang="0">
                  <a:pos x="connsiteX10901" y="connsiteY10901"/>
                </a:cxn>
                <a:cxn ang="0">
                  <a:pos x="connsiteX10902" y="connsiteY10902"/>
                </a:cxn>
                <a:cxn ang="0">
                  <a:pos x="connsiteX10903" y="connsiteY10903"/>
                </a:cxn>
                <a:cxn ang="0">
                  <a:pos x="connsiteX10904" y="connsiteY10904"/>
                </a:cxn>
                <a:cxn ang="0">
                  <a:pos x="connsiteX10905" y="connsiteY10905"/>
                </a:cxn>
                <a:cxn ang="0">
                  <a:pos x="connsiteX10906" y="connsiteY10906"/>
                </a:cxn>
                <a:cxn ang="0">
                  <a:pos x="connsiteX10907" y="connsiteY10907"/>
                </a:cxn>
                <a:cxn ang="0">
                  <a:pos x="connsiteX10908" y="connsiteY10908"/>
                </a:cxn>
                <a:cxn ang="0">
                  <a:pos x="connsiteX10909" y="connsiteY10909"/>
                </a:cxn>
                <a:cxn ang="0">
                  <a:pos x="connsiteX10910" y="connsiteY10910"/>
                </a:cxn>
                <a:cxn ang="0">
                  <a:pos x="connsiteX10911" y="connsiteY10911"/>
                </a:cxn>
                <a:cxn ang="0">
                  <a:pos x="connsiteX10912" y="connsiteY10912"/>
                </a:cxn>
                <a:cxn ang="0">
                  <a:pos x="connsiteX10913" y="connsiteY10913"/>
                </a:cxn>
                <a:cxn ang="0">
                  <a:pos x="connsiteX10914" y="connsiteY10914"/>
                </a:cxn>
                <a:cxn ang="0">
                  <a:pos x="connsiteX10915" y="connsiteY10915"/>
                </a:cxn>
                <a:cxn ang="0">
                  <a:pos x="connsiteX10916" y="connsiteY10916"/>
                </a:cxn>
                <a:cxn ang="0">
                  <a:pos x="connsiteX10917" y="connsiteY10917"/>
                </a:cxn>
                <a:cxn ang="0">
                  <a:pos x="connsiteX10918" y="connsiteY10918"/>
                </a:cxn>
                <a:cxn ang="0">
                  <a:pos x="connsiteX10919" y="connsiteY10919"/>
                </a:cxn>
                <a:cxn ang="0">
                  <a:pos x="connsiteX10920" y="connsiteY10920"/>
                </a:cxn>
                <a:cxn ang="0">
                  <a:pos x="connsiteX10921" y="connsiteY10921"/>
                </a:cxn>
                <a:cxn ang="0">
                  <a:pos x="connsiteX10922" y="connsiteY10922"/>
                </a:cxn>
                <a:cxn ang="0">
                  <a:pos x="connsiteX10923" y="connsiteY10923"/>
                </a:cxn>
                <a:cxn ang="0">
                  <a:pos x="connsiteX10924" y="connsiteY10924"/>
                </a:cxn>
                <a:cxn ang="0">
                  <a:pos x="connsiteX10925" y="connsiteY10925"/>
                </a:cxn>
                <a:cxn ang="0">
                  <a:pos x="connsiteX10926" y="connsiteY10926"/>
                </a:cxn>
                <a:cxn ang="0">
                  <a:pos x="connsiteX10927" y="connsiteY10927"/>
                </a:cxn>
                <a:cxn ang="0">
                  <a:pos x="connsiteX10928" y="connsiteY10928"/>
                </a:cxn>
                <a:cxn ang="0">
                  <a:pos x="connsiteX10929" y="connsiteY10929"/>
                </a:cxn>
                <a:cxn ang="0">
                  <a:pos x="connsiteX10930" y="connsiteY10930"/>
                </a:cxn>
                <a:cxn ang="0">
                  <a:pos x="connsiteX10931" y="connsiteY10931"/>
                </a:cxn>
                <a:cxn ang="0">
                  <a:pos x="connsiteX10932" y="connsiteY10932"/>
                </a:cxn>
                <a:cxn ang="0">
                  <a:pos x="connsiteX10933" y="connsiteY10933"/>
                </a:cxn>
                <a:cxn ang="0">
                  <a:pos x="connsiteX10934" y="connsiteY10934"/>
                </a:cxn>
                <a:cxn ang="0">
                  <a:pos x="connsiteX10935" y="connsiteY10935"/>
                </a:cxn>
                <a:cxn ang="0">
                  <a:pos x="connsiteX10936" y="connsiteY10936"/>
                </a:cxn>
                <a:cxn ang="0">
                  <a:pos x="connsiteX10937" y="connsiteY10937"/>
                </a:cxn>
                <a:cxn ang="0">
                  <a:pos x="connsiteX10938" y="connsiteY10938"/>
                </a:cxn>
                <a:cxn ang="0">
                  <a:pos x="connsiteX10939" y="connsiteY10939"/>
                </a:cxn>
                <a:cxn ang="0">
                  <a:pos x="connsiteX10940" y="connsiteY10940"/>
                </a:cxn>
                <a:cxn ang="0">
                  <a:pos x="connsiteX10941" y="connsiteY10941"/>
                </a:cxn>
                <a:cxn ang="0">
                  <a:pos x="connsiteX10942" y="connsiteY10942"/>
                </a:cxn>
                <a:cxn ang="0">
                  <a:pos x="connsiteX10943" y="connsiteY10943"/>
                </a:cxn>
                <a:cxn ang="0">
                  <a:pos x="connsiteX10944" y="connsiteY10944"/>
                </a:cxn>
                <a:cxn ang="0">
                  <a:pos x="connsiteX10945" y="connsiteY10945"/>
                </a:cxn>
                <a:cxn ang="0">
                  <a:pos x="connsiteX10946" y="connsiteY10946"/>
                </a:cxn>
                <a:cxn ang="0">
                  <a:pos x="connsiteX10947" y="connsiteY10947"/>
                </a:cxn>
                <a:cxn ang="0">
                  <a:pos x="connsiteX10948" y="connsiteY10948"/>
                </a:cxn>
                <a:cxn ang="0">
                  <a:pos x="connsiteX10949" y="connsiteY10949"/>
                </a:cxn>
                <a:cxn ang="0">
                  <a:pos x="connsiteX10950" y="connsiteY10950"/>
                </a:cxn>
                <a:cxn ang="0">
                  <a:pos x="connsiteX10951" y="connsiteY10951"/>
                </a:cxn>
                <a:cxn ang="0">
                  <a:pos x="connsiteX10952" y="connsiteY10952"/>
                </a:cxn>
                <a:cxn ang="0">
                  <a:pos x="connsiteX10953" y="connsiteY10953"/>
                </a:cxn>
                <a:cxn ang="0">
                  <a:pos x="connsiteX10954" y="connsiteY10954"/>
                </a:cxn>
                <a:cxn ang="0">
                  <a:pos x="connsiteX10955" y="connsiteY10955"/>
                </a:cxn>
                <a:cxn ang="0">
                  <a:pos x="connsiteX10956" y="connsiteY10956"/>
                </a:cxn>
                <a:cxn ang="0">
                  <a:pos x="connsiteX10957" y="connsiteY10957"/>
                </a:cxn>
                <a:cxn ang="0">
                  <a:pos x="connsiteX10958" y="connsiteY10958"/>
                </a:cxn>
                <a:cxn ang="0">
                  <a:pos x="connsiteX10959" y="connsiteY10959"/>
                </a:cxn>
                <a:cxn ang="0">
                  <a:pos x="connsiteX10960" y="connsiteY10960"/>
                </a:cxn>
                <a:cxn ang="0">
                  <a:pos x="connsiteX10961" y="connsiteY10961"/>
                </a:cxn>
                <a:cxn ang="0">
                  <a:pos x="connsiteX10962" y="connsiteY10962"/>
                </a:cxn>
                <a:cxn ang="0">
                  <a:pos x="connsiteX10963" y="connsiteY10963"/>
                </a:cxn>
                <a:cxn ang="0">
                  <a:pos x="connsiteX10964" y="connsiteY10964"/>
                </a:cxn>
                <a:cxn ang="0">
                  <a:pos x="connsiteX10965" y="connsiteY10965"/>
                </a:cxn>
                <a:cxn ang="0">
                  <a:pos x="connsiteX10966" y="connsiteY10966"/>
                </a:cxn>
                <a:cxn ang="0">
                  <a:pos x="connsiteX10967" y="connsiteY10967"/>
                </a:cxn>
                <a:cxn ang="0">
                  <a:pos x="connsiteX10968" y="connsiteY10968"/>
                </a:cxn>
                <a:cxn ang="0">
                  <a:pos x="connsiteX10969" y="connsiteY10969"/>
                </a:cxn>
                <a:cxn ang="0">
                  <a:pos x="connsiteX10970" y="connsiteY10970"/>
                </a:cxn>
                <a:cxn ang="0">
                  <a:pos x="connsiteX10971" y="connsiteY10971"/>
                </a:cxn>
                <a:cxn ang="0">
                  <a:pos x="connsiteX10972" y="connsiteY10972"/>
                </a:cxn>
                <a:cxn ang="0">
                  <a:pos x="connsiteX10973" y="connsiteY10973"/>
                </a:cxn>
                <a:cxn ang="0">
                  <a:pos x="connsiteX10974" y="connsiteY10974"/>
                </a:cxn>
                <a:cxn ang="0">
                  <a:pos x="connsiteX10975" y="connsiteY10975"/>
                </a:cxn>
                <a:cxn ang="0">
                  <a:pos x="connsiteX10976" y="connsiteY10976"/>
                </a:cxn>
                <a:cxn ang="0">
                  <a:pos x="connsiteX10977" y="connsiteY10977"/>
                </a:cxn>
                <a:cxn ang="0">
                  <a:pos x="connsiteX10978" y="connsiteY10978"/>
                </a:cxn>
                <a:cxn ang="0">
                  <a:pos x="connsiteX10979" y="connsiteY10979"/>
                </a:cxn>
                <a:cxn ang="0">
                  <a:pos x="connsiteX10980" y="connsiteY10980"/>
                </a:cxn>
                <a:cxn ang="0">
                  <a:pos x="connsiteX10981" y="connsiteY10981"/>
                </a:cxn>
                <a:cxn ang="0">
                  <a:pos x="connsiteX10982" y="connsiteY10982"/>
                </a:cxn>
                <a:cxn ang="0">
                  <a:pos x="connsiteX10983" y="connsiteY10983"/>
                </a:cxn>
                <a:cxn ang="0">
                  <a:pos x="connsiteX10984" y="connsiteY10984"/>
                </a:cxn>
                <a:cxn ang="0">
                  <a:pos x="connsiteX10985" y="connsiteY10985"/>
                </a:cxn>
                <a:cxn ang="0">
                  <a:pos x="connsiteX10986" y="connsiteY10986"/>
                </a:cxn>
                <a:cxn ang="0">
                  <a:pos x="connsiteX10987" y="connsiteY10987"/>
                </a:cxn>
                <a:cxn ang="0">
                  <a:pos x="connsiteX10988" y="connsiteY10988"/>
                </a:cxn>
                <a:cxn ang="0">
                  <a:pos x="connsiteX10989" y="connsiteY10989"/>
                </a:cxn>
                <a:cxn ang="0">
                  <a:pos x="connsiteX10990" y="connsiteY10990"/>
                </a:cxn>
                <a:cxn ang="0">
                  <a:pos x="connsiteX10991" y="connsiteY10991"/>
                </a:cxn>
                <a:cxn ang="0">
                  <a:pos x="connsiteX10992" y="connsiteY10992"/>
                </a:cxn>
                <a:cxn ang="0">
                  <a:pos x="connsiteX10993" y="connsiteY10993"/>
                </a:cxn>
                <a:cxn ang="0">
                  <a:pos x="connsiteX10994" y="connsiteY10994"/>
                </a:cxn>
                <a:cxn ang="0">
                  <a:pos x="connsiteX10995" y="connsiteY10995"/>
                </a:cxn>
                <a:cxn ang="0">
                  <a:pos x="connsiteX10996" y="connsiteY10996"/>
                </a:cxn>
                <a:cxn ang="0">
                  <a:pos x="connsiteX10997" y="connsiteY10997"/>
                </a:cxn>
                <a:cxn ang="0">
                  <a:pos x="connsiteX10998" y="connsiteY10998"/>
                </a:cxn>
                <a:cxn ang="0">
                  <a:pos x="connsiteX10999" y="connsiteY10999"/>
                </a:cxn>
                <a:cxn ang="0">
                  <a:pos x="connsiteX11000" y="connsiteY11000"/>
                </a:cxn>
                <a:cxn ang="0">
                  <a:pos x="connsiteX11001" y="connsiteY11001"/>
                </a:cxn>
                <a:cxn ang="0">
                  <a:pos x="connsiteX11002" y="connsiteY11002"/>
                </a:cxn>
                <a:cxn ang="0">
                  <a:pos x="connsiteX11003" y="connsiteY11003"/>
                </a:cxn>
                <a:cxn ang="0">
                  <a:pos x="connsiteX11004" y="connsiteY11004"/>
                </a:cxn>
                <a:cxn ang="0">
                  <a:pos x="connsiteX11005" y="connsiteY11005"/>
                </a:cxn>
                <a:cxn ang="0">
                  <a:pos x="connsiteX11006" y="connsiteY11006"/>
                </a:cxn>
                <a:cxn ang="0">
                  <a:pos x="connsiteX11007" y="connsiteY11007"/>
                </a:cxn>
                <a:cxn ang="0">
                  <a:pos x="connsiteX11008" y="connsiteY11008"/>
                </a:cxn>
                <a:cxn ang="0">
                  <a:pos x="connsiteX11009" y="connsiteY11009"/>
                </a:cxn>
                <a:cxn ang="0">
                  <a:pos x="connsiteX11010" y="connsiteY11010"/>
                </a:cxn>
                <a:cxn ang="0">
                  <a:pos x="connsiteX11011" y="connsiteY11011"/>
                </a:cxn>
                <a:cxn ang="0">
                  <a:pos x="connsiteX11012" y="connsiteY11012"/>
                </a:cxn>
                <a:cxn ang="0">
                  <a:pos x="connsiteX11013" y="connsiteY11013"/>
                </a:cxn>
                <a:cxn ang="0">
                  <a:pos x="connsiteX11014" y="connsiteY11014"/>
                </a:cxn>
                <a:cxn ang="0">
                  <a:pos x="connsiteX11015" y="connsiteY11015"/>
                </a:cxn>
                <a:cxn ang="0">
                  <a:pos x="connsiteX11016" y="connsiteY11016"/>
                </a:cxn>
                <a:cxn ang="0">
                  <a:pos x="connsiteX11017" y="connsiteY11017"/>
                </a:cxn>
                <a:cxn ang="0">
                  <a:pos x="connsiteX11018" y="connsiteY11018"/>
                </a:cxn>
                <a:cxn ang="0">
                  <a:pos x="connsiteX11019" y="connsiteY11019"/>
                </a:cxn>
                <a:cxn ang="0">
                  <a:pos x="connsiteX11020" y="connsiteY11020"/>
                </a:cxn>
                <a:cxn ang="0">
                  <a:pos x="connsiteX11021" y="connsiteY11021"/>
                </a:cxn>
                <a:cxn ang="0">
                  <a:pos x="connsiteX11022" y="connsiteY11022"/>
                </a:cxn>
                <a:cxn ang="0">
                  <a:pos x="connsiteX11023" y="connsiteY11023"/>
                </a:cxn>
                <a:cxn ang="0">
                  <a:pos x="connsiteX11024" y="connsiteY11024"/>
                </a:cxn>
                <a:cxn ang="0">
                  <a:pos x="connsiteX11025" y="connsiteY11025"/>
                </a:cxn>
                <a:cxn ang="0">
                  <a:pos x="connsiteX11026" y="connsiteY11026"/>
                </a:cxn>
                <a:cxn ang="0">
                  <a:pos x="connsiteX11027" y="connsiteY11027"/>
                </a:cxn>
                <a:cxn ang="0">
                  <a:pos x="connsiteX11028" y="connsiteY11028"/>
                </a:cxn>
                <a:cxn ang="0">
                  <a:pos x="connsiteX11029" y="connsiteY11029"/>
                </a:cxn>
                <a:cxn ang="0">
                  <a:pos x="connsiteX11030" y="connsiteY11030"/>
                </a:cxn>
                <a:cxn ang="0">
                  <a:pos x="connsiteX11031" y="connsiteY11031"/>
                </a:cxn>
                <a:cxn ang="0">
                  <a:pos x="connsiteX11032" y="connsiteY11032"/>
                </a:cxn>
                <a:cxn ang="0">
                  <a:pos x="connsiteX11033" y="connsiteY11033"/>
                </a:cxn>
                <a:cxn ang="0">
                  <a:pos x="connsiteX11034" y="connsiteY11034"/>
                </a:cxn>
                <a:cxn ang="0">
                  <a:pos x="connsiteX11035" y="connsiteY11035"/>
                </a:cxn>
                <a:cxn ang="0">
                  <a:pos x="connsiteX11036" y="connsiteY11036"/>
                </a:cxn>
                <a:cxn ang="0">
                  <a:pos x="connsiteX11037" y="connsiteY11037"/>
                </a:cxn>
                <a:cxn ang="0">
                  <a:pos x="connsiteX11038" y="connsiteY11038"/>
                </a:cxn>
                <a:cxn ang="0">
                  <a:pos x="connsiteX11039" y="connsiteY11039"/>
                </a:cxn>
                <a:cxn ang="0">
                  <a:pos x="connsiteX11040" y="connsiteY11040"/>
                </a:cxn>
                <a:cxn ang="0">
                  <a:pos x="connsiteX11041" y="connsiteY11041"/>
                </a:cxn>
                <a:cxn ang="0">
                  <a:pos x="connsiteX11042" y="connsiteY11042"/>
                </a:cxn>
                <a:cxn ang="0">
                  <a:pos x="connsiteX11043" y="connsiteY11043"/>
                </a:cxn>
                <a:cxn ang="0">
                  <a:pos x="connsiteX11044" y="connsiteY11044"/>
                </a:cxn>
                <a:cxn ang="0">
                  <a:pos x="connsiteX11045" y="connsiteY11045"/>
                </a:cxn>
                <a:cxn ang="0">
                  <a:pos x="connsiteX11046" y="connsiteY11046"/>
                </a:cxn>
                <a:cxn ang="0">
                  <a:pos x="connsiteX11047" y="connsiteY11047"/>
                </a:cxn>
                <a:cxn ang="0">
                  <a:pos x="connsiteX11048" y="connsiteY11048"/>
                </a:cxn>
                <a:cxn ang="0">
                  <a:pos x="connsiteX11049" y="connsiteY11049"/>
                </a:cxn>
                <a:cxn ang="0">
                  <a:pos x="connsiteX11050" y="connsiteY11050"/>
                </a:cxn>
                <a:cxn ang="0">
                  <a:pos x="connsiteX11051" y="connsiteY11051"/>
                </a:cxn>
                <a:cxn ang="0">
                  <a:pos x="connsiteX11052" y="connsiteY11052"/>
                </a:cxn>
                <a:cxn ang="0">
                  <a:pos x="connsiteX11053" y="connsiteY11053"/>
                </a:cxn>
                <a:cxn ang="0">
                  <a:pos x="connsiteX11054" y="connsiteY11054"/>
                </a:cxn>
                <a:cxn ang="0">
                  <a:pos x="connsiteX11055" y="connsiteY11055"/>
                </a:cxn>
                <a:cxn ang="0">
                  <a:pos x="connsiteX11056" y="connsiteY11056"/>
                </a:cxn>
                <a:cxn ang="0">
                  <a:pos x="connsiteX11057" y="connsiteY11057"/>
                </a:cxn>
                <a:cxn ang="0">
                  <a:pos x="connsiteX11058" y="connsiteY11058"/>
                </a:cxn>
                <a:cxn ang="0">
                  <a:pos x="connsiteX11059" y="connsiteY11059"/>
                </a:cxn>
                <a:cxn ang="0">
                  <a:pos x="connsiteX11060" y="connsiteY11060"/>
                </a:cxn>
                <a:cxn ang="0">
                  <a:pos x="connsiteX11061" y="connsiteY11061"/>
                </a:cxn>
                <a:cxn ang="0">
                  <a:pos x="connsiteX11062" y="connsiteY11062"/>
                </a:cxn>
                <a:cxn ang="0">
                  <a:pos x="connsiteX11063" y="connsiteY11063"/>
                </a:cxn>
                <a:cxn ang="0">
                  <a:pos x="connsiteX11064" y="connsiteY11064"/>
                </a:cxn>
                <a:cxn ang="0">
                  <a:pos x="connsiteX11065" y="connsiteY11065"/>
                </a:cxn>
                <a:cxn ang="0">
                  <a:pos x="connsiteX11066" y="connsiteY11066"/>
                </a:cxn>
                <a:cxn ang="0">
                  <a:pos x="connsiteX11067" y="connsiteY11067"/>
                </a:cxn>
                <a:cxn ang="0">
                  <a:pos x="connsiteX11068" y="connsiteY11068"/>
                </a:cxn>
                <a:cxn ang="0">
                  <a:pos x="connsiteX11069" y="connsiteY11069"/>
                </a:cxn>
                <a:cxn ang="0">
                  <a:pos x="connsiteX11070" y="connsiteY11070"/>
                </a:cxn>
                <a:cxn ang="0">
                  <a:pos x="connsiteX11071" y="connsiteY11071"/>
                </a:cxn>
                <a:cxn ang="0">
                  <a:pos x="connsiteX11072" y="connsiteY11072"/>
                </a:cxn>
                <a:cxn ang="0">
                  <a:pos x="connsiteX11073" y="connsiteY11073"/>
                </a:cxn>
                <a:cxn ang="0">
                  <a:pos x="connsiteX11074" y="connsiteY11074"/>
                </a:cxn>
                <a:cxn ang="0">
                  <a:pos x="connsiteX11075" y="connsiteY11075"/>
                </a:cxn>
                <a:cxn ang="0">
                  <a:pos x="connsiteX11076" y="connsiteY11076"/>
                </a:cxn>
                <a:cxn ang="0">
                  <a:pos x="connsiteX11077" y="connsiteY11077"/>
                </a:cxn>
                <a:cxn ang="0">
                  <a:pos x="connsiteX11078" y="connsiteY11078"/>
                </a:cxn>
                <a:cxn ang="0">
                  <a:pos x="connsiteX11079" y="connsiteY11079"/>
                </a:cxn>
                <a:cxn ang="0">
                  <a:pos x="connsiteX11080" y="connsiteY11080"/>
                </a:cxn>
                <a:cxn ang="0">
                  <a:pos x="connsiteX11081" y="connsiteY11081"/>
                </a:cxn>
                <a:cxn ang="0">
                  <a:pos x="connsiteX11082" y="connsiteY11082"/>
                </a:cxn>
                <a:cxn ang="0">
                  <a:pos x="connsiteX11083" y="connsiteY11083"/>
                </a:cxn>
                <a:cxn ang="0">
                  <a:pos x="connsiteX11084" y="connsiteY11084"/>
                </a:cxn>
                <a:cxn ang="0">
                  <a:pos x="connsiteX11085" y="connsiteY11085"/>
                </a:cxn>
                <a:cxn ang="0">
                  <a:pos x="connsiteX11086" y="connsiteY11086"/>
                </a:cxn>
                <a:cxn ang="0">
                  <a:pos x="connsiteX11087" y="connsiteY11087"/>
                </a:cxn>
                <a:cxn ang="0">
                  <a:pos x="connsiteX11088" y="connsiteY11088"/>
                </a:cxn>
                <a:cxn ang="0">
                  <a:pos x="connsiteX11089" y="connsiteY11089"/>
                </a:cxn>
                <a:cxn ang="0">
                  <a:pos x="connsiteX11090" y="connsiteY11090"/>
                </a:cxn>
                <a:cxn ang="0">
                  <a:pos x="connsiteX11091" y="connsiteY11091"/>
                </a:cxn>
                <a:cxn ang="0">
                  <a:pos x="connsiteX11092" y="connsiteY11092"/>
                </a:cxn>
                <a:cxn ang="0">
                  <a:pos x="connsiteX11093" y="connsiteY11093"/>
                </a:cxn>
                <a:cxn ang="0">
                  <a:pos x="connsiteX11094" y="connsiteY11094"/>
                </a:cxn>
                <a:cxn ang="0">
                  <a:pos x="connsiteX11095" y="connsiteY11095"/>
                </a:cxn>
                <a:cxn ang="0">
                  <a:pos x="connsiteX11096" y="connsiteY11096"/>
                </a:cxn>
                <a:cxn ang="0">
                  <a:pos x="connsiteX11097" y="connsiteY11097"/>
                </a:cxn>
                <a:cxn ang="0">
                  <a:pos x="connsiteX11098" y="connsiteY11098"/>
                </a:cxn>
                <a:cxn ang="0">
                  <a:pos x="connsiteX11099" y="connsiteY11099"/>
                </a:cxn>
                <a:cxn ang="0">
                  <a:pos x="connsiteX11100" y="connsiteY11100"/>
                </a:cxn>
                <a:cxn ang="0">
                  <a:pos x="connsiteX11101" y="connsiteY11101"/>
                </a:cxn>
                <a:cxn ang="0">
                  <a:pos x="connsiteX11102" y="connsiteY11102"/>
                </a:cxn>
                <a:cxn ang="0">
                  <a:pos x="connsiteX11103" y="connsiteY11103"/>
                </a:cxn>
                <a:cxn ang="0">
                  <a:pos x="connsiteX11104" y="connsiteY11104"/>
                </a:cxn>
                <a:cxn ang="0">
                  <a:pos x="connsiteX11105" y="connsiteY11105"/>
                </a:cxn>
                <a:cxn ang="0">
                  <a:pos x="connsiteX11106" y="connsiteY11106"/>
                </a:cxn>
                <a:cxn ang="0">
                  <a:pos x="connsiteX11107" y="connsiteY11107"/>
                </a:cxn>
                <a:cxn ang="0">
                  <a:pos x="connsiteX11108" y="connsiteY11108"/>
                </a:cxn>
                <a:cxn ang="0">
                  <a:pos x="connsiteX11109" y="connsiteY11109"/>
                </a:cxn>
                <a:cxn ang="0">
                  <a:pos x="connsiteX11110" y="connsiteY11110"/>
                </a:cxn>
                <a:cxn ang="0">
                  <a:pos x="connsiteX11111" y="connsiteY11111"/>
                </a:cxn>
                <a:cxn ang="0">
                  <a:pos x="connsiteX11112" y="connsiteY11112"/>
                </a:cxn>
                <a:cxn ang="0">
                  <a:pos x="connsiteX11113" y="connsiteY11113"/>
                </a:cxn>
                <a:cxn ang="0">
                  <a:pos x="connsiteX11114" y="connsiteY11114"/>
                </a:cxn>
                <a:cxn ang="0">
                  <a:pos x="connsiteX11115" y="connsiteY11115"/>
                </a:cxn>
                <a:cxn ang="0">
                  <a:pos x="connsiteX11116" y="connsiteY11116"/>
                </a:cxn>
                <a:cxn ang="0">
                  <a:pos x="connsiteX11117" y="connsiteY11117"/>
                </a:cxn>
                <a:cxn ang="0">
                  <a:pos x="connsiteX11118" y="connsiteY11118"/>
                </a:cxn>
                <a:cxn ang="0">
                  <a:pos x="connsiteX11119" y="connsiteY11119"/>
                </a:cxn>
                <a:cxn ang="0">
                  <a:pos x="connsiteX11120" y="connsiteY11120"/>
                </a:cxn>
                <a:cxn ang="0">
                  <a:pos x="connsiteX11121" y="connsiteY11121"/>
                </a:cxn>
                <a:cxn ang="0">
                  <a:pos x="connsiteX11122" y="connsiteY11122"/>
                </a:cxn>
                <a:cxn ang="0">
                  <a:pos x="connsiteX11123" y="connsiteY11123"/>
                </a:cxn>
                <a:cxn ang="0">
                  <a:pos x="connsiteX11124" y="connsiteY11124"/>
                </a:cxn>
                <a:cxn ang="0">
                  <a:pos x="connsiteX11125" y="connsiteY11125"/>
                </a:cxn>
                <a:cxn ang="0">
                  <a:pos x="connsiteX11126" y="connsiteY11126"/>
                </a:cxn>
                <a:cxn ang="0">
                  <a:pos x="connsiteX11127" y="connsiteY11127"/>
                </a:cxn>
                <a:cxn ang="0">
                  <a:pos x="connsiteX11128" y="connsiteY11128"/>
                </a:cxn>
                <a:cxn ang="0">
                  <a:pos x="connsiteX11129" y="connsiteY11129"/>
                </a:cxn>
                <a:cxn ang="0">
                  <a:pos x="connsiteX11130" y="connsiteY11130"/>
                </a:cxn>
                <a:cxn ang="0">
                  <a:pos x="connsiteX11131" y="connsiteY11131"/>
                </a:cxn>
                <a:cxn ang="0">
                  <a:pos x="connsiteX11132" y="connsiteY11132"/>
                </a:cxn>
                <a:cxn ang="0">
                  <a:pos x="connsiteX11133" y="connsiteY11133"/>
                </a:cxn>
                <a:cxn ang="0">
                  <a:pos x="connsiteX11134" y="connsiteY11134"/>
                </a:cxn>
                <a:cxn ang="0">
                  <a:pos x="connsiteX11135" y="connsiteY11135"/>
                </a:cxn>
                <a:cxn ang="0">
                  <a:pos x="connsiteX11136" y="connsiteY11136"/>
                </a:cxn>
                <a:cxn ang="0">
                  <a:pos x="connsiteX11137" y="connsiteY11137"/>
                </a:cxn>
                <a:cxn ang="0">
                  <a:pos x="connsiteX11138" y="connsiteY11138"/>
                </a:cxn>
                <a:cxn ang="0">
                  <a:pos x="connsiteX11139" y="connsiteY11139"/>
                </a:cxn>
                <a:cxn ang="0">
                  <a:pos x="connsiteX11140" y="connsiteY11140"/>
                </a:cxn>
                <a:cxn ang="0">
                  <a:pos x="connsiteX11141" y="connsiteY11141"/>
                </a:cxn>
                <a:cxn ang="0">
                  <a:pos x="connsiteX11142" y="connsiteY11142"/>
                </a:cxn>
                <a:cxn ang="0">
                  <a:pos x="connsiteX11143" y="connsiteY11143"/>
                </a:cxn>
                <a:cxn ang="0">
                  <a:pos x="connsiteX11144" y="connsiteY11144"/>
                </a:cxn>
                <a:cxn ang="0">
                  <a:pos x="connsiteX11145" y="connsiteY11145"/>
                </a:cxn>
                <a:cxn ang="0">
                  <a:pos x="connsiteX11146" y="connsiteY11146"/>
                </a:cxn>
                <a:cxn ang="0">
                  <a:pos x="connsiteX11147" y="connsiteY11147"/>
                </a:cxn>
                <a:cxn ang="0">
                  <a:pos x="connsiteX11148" y="connsiteY11148"/>
                </a:cxn>
                <a:cxn ang="0">
                  <a:pos x="connsiteX11149" y="connsiteY11149"/>
                </a:cxn>
                <a:cxn ang="0">
                  <a:pos x="connsiteX11150" y="connsiteY11150"/>
                </a:cxn>
                <a:cxn ang="0">
                  <a:pos x="connsiteX11151" y="connsiteY11151"/>
                </a:cxn>
                <a:cxn ang="0">
                  <a:pos x="connsiteX11152" y="connsiteY11152"/>
                </a:cxn>
                <a:cxn ang="0">
                  <a:pos x="connsiteX11153" y="connsiteY11153"/>
                </a:cxn>
                <a:cxn ang="0">
                  <a:pos x="connsiteX11154" y="connsiteY11154"/>
                </a:cxn>
                <a:cxn ang="0">
                  <a:pos x="connsiteX11155" y="connsiteY11155"/>
                </a:cxn>
                <a:cxn ang="0">
                  <a:pos x="connsiteX11156" y="connsiteY11156"/>
                </a:cxn>
                <a:cxn ang="0">
                  <a:pos x="connsiteX11157" y="connsiteY11157"/>
                </a:cxn>
                <a:cxn ang="0">
                  <a:pos x="connsiteX11158" y="connsiteY11158"/>
                </a:cxn>
                <a:cxn ang="0">
                  <a:pos x="connsiteX11159" y="connsiteY11159"/>
                </a:cxn>
                <a:cxn ang="0">
                  <a:pos x="connsiteX11160" y="connsiteY11160"/>
                </a:cxn>
                <a:cxn ang="0">
                  <a:pos x="connsiteX11161" y="connsiteY11161"/>
                </a:cxn>
                <a:cxn ang="0">
                  <a:pos x="connsiteX11162" y="connsiteY11162"/>
                </a:cxn>
                <a:cxn ang="0">
                  <a:pos x="connsiteX11163" y="connsiteY11163"/>
                </a:cxn>
                <a:cxn ang="0">
                  <a:pos x="connsiteX11164" y="connsiteY11164"/>
                </a:cxn>
                <a:cxn ang="0">
                  <a:pos x="connsiteX11165" y="connsiteY11165"/>
                </a:cxn>
                <a:cxn ang="0">
                  <a:pos x="connsiteX11166" y="connsiteY11166"/>
                </a:cxn>
                <a:cxn ang="0">
                  <a:pos x="connsiteX11167" y="connsiteY11167"/>
                </a:cxn>
                <a:cxn ang="0">
                  <a:pos x="connsiteX11168" y="connsiteY11168"/>
                </a:cxn>
                <a:cxn ang="0">
                  <a:pos x="connsiteX11169" y="connsiteY11169"/>
                </a:cxn>
                <a:cxn ang="0">
                  <a:pos x="connsiteX11170" y="connsiteY11170"/>
                </a:cxn>
                <a:cxn ang="0">
                  <a:pos x="connsiteX11171" y="connsiteY11171"/>
                </a:cxn>
                <a:cxn ang="0">
                  <a:pos x="connsiteX11172" y="connsiteY11172"/>
                </a:cxn>
                <a:cxn ang="0">
                  <a:pos x="connsiteX11173" y="connsiteY11173"/>
                </a:cxn>
                <a:cxn ang="0">
                  <a:pos x="connsiteX11174" y="connsiteY11174"/>
                </a:cxn>
                <a:cxn ang="0">
                  <a:pos x="connsiteX11175" y="connsiteY11175"/>
                </a:cxn>
                <a:cxn ang="0">
                  <a:pos x="connsiteX11176" y="connsiteY11176"/>
                </a:cxn>
                <a:cxn ang="0">
                  <a:pos x="connsiteX11177" y="connsiteY11177"/>
                </a:cxn>
                <a:cxn ang="0">
                  <a:pos x="connsiteX11178" y="connsiteY11178"/>
                </a:cxn>
                <a:cxn ang="0">
                  <a:pos x="connsiteX11179" y="connsiteY11179"/>
                </a:cxn>
                <a:cxn ang="0">
                  <a:pos x="connsiteX11180" y="connsiteY11180"/>
                </a:cxn>
                <a:cxn ang="0">
                  <a:pos x="connsiteX11181" y="connsiteY11181"/>
                </a:cxn>
                <a:cxn ang="0">
                  <a:pos x="connsiteX11182" y="connsiteY11182"/>
                </a:cxn>
                <a:cxn ang="0">
                  <a:pos x="connsiteX11183" y="connsiteY11183"/>
                </a:cxn>
                <a:cxn ang="0">
                  <a:pos x="connsiteX11184" y="connsiteY11184"/>
                </a:cxn>
                <a:cxn ang="0">
                  <a:pos x="connsiteX11185" y="connsiteY11185"/>
                </a:cxn>
                <a:cxn ang="0">
                  <a:pos x="connsiteX11186" y="connsiteY11186"/>
                </a:cxn>
                <a:cxn ang="0">
                  <a:pos x="connsiteX11187" y="connsiteY11187"/>
                </a:cxn>
                <a:cxn ang="0">
                  <a:pos x="connsiteX11188" y="connsiteY11188"/>
                </a:cxn>
                <a:cxn ang="0">
                  <a:pos x="connsiteX11189" y="connsiteY11189"/>
                </a:cxn>
                <a:cxn ang="0">
                  <a:pos x="connsiteX11190" y="connsiteY11190"/>
                </a:cxn>
                <a:cxn ang="0">
                  <a:pos x="connsiteX11191" y="connsiteY11191"/>
                </a:cxn>
                <a:cxn ang="0">
                  <a:pos x="connsiteX11192" y="connsiteY11192"/>
                </a:cxn>
                <a:cxn ang="0">
                  <a:pos x="connsiteX11193" y="connsiteY11193"/>
                </a:cxn>
                <a:cxn ang="0">
                  <a:pos x="connsiteX11194" y="connsiteY11194"/>
                </a:cxn>
                <a:cxn ang="0">
                  <a:pos x="connsiteX11195" y="connsiteY11195"/>
                </a:cxn>
                <a:cxn ang="0">
                  <a:pos x="connsiteX11196" y="connsiteY11196"/>
                </a:cxn>
                <a:cxn ang="0">
                  <a:pos x="connsiteX11197" y="connsiteY11197"/>
                </a:cxn>
                <a:cxn ang="0">
                  <a:pos x="connsiteX11198" y="connsiteY11198"/>
                </a:cxn>
                <a:cxn ang="0">
                  <a:pos x="connsiteX11199" y="connsiteY11199"/>
                </a:cxn>
                <a:cxn ang="0">
                  <a:pos x="connsiteX11200" y="connsiteY11200"/>
                </a:cxn>
                <a:cxn ang="0">
                  <a:pos x="connsiteX11201" y="connsiteY11201"/>
                </a:cxn>
                <a:cxn ang="0">
                  <a:pos x="connsiteX11202" y="connsiteY11202"/>
                </a:cxn>
                <a:cxn ang="0">
                  <a:pos x="connsiteX11203" y="connsiteY11203"/>
                </a:cxn>
                <a:cxn ang="0">
                  <a:pos x="connsiteX11204" y="connsiteY11204"/>
                </a:cxn>
                <a:cxn ang="0">
                  <a:pos x="connsiteX11205" y="connsiteY11205"/>
                </a:cxn>
                <a:cxn ang="0">
                  <a:pos x="connsiteX11206" y="connsiteY11206"/>
                </a:cxn>
                <a:cxn ang="0">
                  <a:pos x="connsiteX11207" y="connsiteY11207"/>
                </a:cxn>
                <a:cxn ang="0">
                  <a:pos x="connsiteX11208" y="connsiteY11208"/>
                </a:cxn>
                <a:cxn ang="0">
                  <a:pos x="connsiteX11209" y="connsiteY11209"/>
                </a:cxn>
                <a:cxn ang="0">
                  <a:pos x="connsiteX11210" y="connsiteY11210"/>
                </a:cxn>
                <a:cxn ang="0">
                  <a:pos x="connsiteX11211" y="connsiteY11211"/>
                </a:cxn>
                <a:cxn ang="0">
                  <a:pos x="connsiteX11212" y="connsiteY11212"/>
                </a:cxn>
                <a:cxn ang="0">
                  <a:pos x="connsiteX11213" y="connsiteY11213"/>
                </a:cxn>
                <a:cxn ang="0">
                  <a:pos x="connsiteX11214" y="connsiteY11214"/>
                </a:cxn>
                <a:cxn ang="0">
                  <a:pos x="connsiteX11215" y="connsiteY11215"/>
                </a:cxn>
                <a:cxn ang="0">
                  <a:pos x="connsiteX11216" y="connsiteY11216"/>
                </a:cxn>
                <a:cxn ang="0">
                  <a:pos x="connsiteX11217" y="connsiteY11217"/>
                </a:cxn>
                <a:cxn ang="0">
                  <a:pos x="connsiteX11218" y="connsiteY11218"/>
                </a:cxn>
                <a:cxn ang="0">
                  <a:pos x="connsiteX11219" y="connsiteY11219"/>
                </a:cxn>
                <a:cxn ang="0">
                  <a:pos x="connsiteX11220" y="connsiteY11220"/>
                </a:cxn>
                <a:cxn ang="0">
                  <a:pos x="connsiteX11221" y="connsiteY11221"/>
                </a:cxn>
                <a:cxn ang="0">
                  <a:pos x="connsiteX11222" y="connsiteY11222"/>
                </a:cxn>
                <a:cxn ang="0">
                  <a:pos x="connsiteX11223" y="connsiteY11223"/>
                </a:cxn>
                <a:cxn ang="0">
                  <a:pos x="connsiteX11224" y="connsiteY11224"/>
                </a:cxn>
                <a:cxn ang="0">
                  <a:pos x="connsiteX11225" y="connsiteY11225"/>
                </a:cxn>
                <a:cxn ang="0">
                  <a:pos x="connsiteX11226" y="connsiteY11226"/>
                </a:cxn>
                <a:cxn ang="0">
                  <a:pos x="connsiteX11227" y="connsiteY11227"/>
                </a:cxn>
                <a:cxn ang="0">
                  <a:pos x="connsiteX11228" y="connsiteY11228"/>
                </a:cxn>
                <a:cxn ang="0">
                  <a:pos x="connsiteX11229" y="connsiteY11229"/>
                </a:cxn>
                <a:cxn ang="0">
                  <a:pos x="connsiteX11230" y="connsiteY11230"/>
                </a:cxn>
                <a:cxn ang="0">
                  <a:pos x="connsiteX11231" y="connsiteY11231"/>
                </a:cxn>
                <a:cxn ang="0">
                  <a:pos x="connsiteX11232" y="connsiteY11232"/>
                </a:cxn>
                <a:cxn ang="0">
                  <a:pos x="connsiteX11233" y="connsiteY11233"/>
                </a:cxn>
                <a:cxn ang="0">
                  <a:pos x="connsiteX11234" y="connsiteY11234"/>
                </a:cxn>
                <a:cxn ang="0">
                  <a:pos x="connsiteX11235" y="connsiteY11235"/>
                </a:cxn>
                <a:cxn ang="0">
                  <a:pos x="connsiteX11236" y="connsiteY11236"/>
                </a:cxn>
                <a:cxn ang="0">
                  <a:pos x="connsiteX11237" y="connsiteY11237"/>
                </a:cxn>
                <a:cxn ang="0">
                  <a:pos x="connsiteX11238" y="connsiteY11238"/>
                </a:cxn>
                <a:cxn ang="0">
                  <a:pos x="connsiteX11239" y="connsiteY11239"/>
                </a:cxn>
                <a:cxn ang="0">
                  <a:pos x="connsiteX11240" y="connsiteY11240"/>
                </a:cxn>
                <a:cxn ang="0">
                  <a:pos x="connsiteX11241" y="connsiteY11241"/>
                </a:cxn>
                <a:cxn ang="0">
                  <a:pos x="connsiteX11242" y="connsiteY11242"/>
                </a:cxn>
                <a:cxn ang="0">
                  <a:pos x="connsiteX11243" y="connsiteY11243"/>
                </a:cxn>
                <a:cxn ang="0">
                  <a:pos x="connsiteX11244" y="connsiteY11244"/>
                </a:cxn>
                <a:cxn ang="0">
                  <a:pos x="connsiteX11245" y="connsiteY11245"/>
                </a:cxn>
                <a:cxn ang="0">
                  <a:pos x="connsiteX11246" y="connsiteY11246"/>
                </a:cxn>
                <a:cxn ang="0">
                  <a:pos x="connsiteX11247" y="connsiteY11247"/>
                </a:cxn>
                <a:cxn ang="0">
                  <a:pos x="connsiteX11248" y="connsiteY11248"/>
                </a:cxn>
                <a:cxn ang="0">
                  <a:pos x="connsiteX11249" y="connsiteY11249"/>
                </a:cxn>
                <a:cxn ang="0">
                  <a:pos x="connsiteX11250" y="connsiteY11250"/>
                </a:cxn>
                <a:cxn ang="0">
                  <a:pos x="connsiteX11251" y="connsiteY11251"/>
                </a:cxn>
                <a:cxn ang="0">
                  <a:pos x="connsiteX11252" y="connsiteY11252"/>
                </a:cxn>
                <a:cxn ang="0">
                  <a:pos x="connsiteX11253" y="connsiteY11253"/>
                </a:cxn>
                <a:cxn ang="0">
                  <a:pos x="connsiteX11254" y="connsiteY11254"/>
                </a:cxn>
                <a:cxn ang="0">
                  <a:pos x="connsiteX11255" y="connsiteY11255"/>
                </a:cxn>
                <a:cxn ang="0">
                  <a:pos x="connsiteX11256" y="connsiteY11256"/>
                </a:cxn>
                <a:cxn ang="0">
                  <a:pos x="connsiteX11257" y="connsiteY11257"/>
                </a:cxn>
                <a:cxn ang="0">
                  <a:pos x="connsiteX11258" y="connsiteY11258"/>
                </a:cxn>
                <a:cxn ang="0">
                  <a:pos x="connsiteX11259" y="connsiteY11259"/>
                </a:cxn>
                <a:cxn ang="0">
                  <a:pos x="connsiteX11260" y="connsiteY11260"/>
                </a:cxn>
                <a:cxn ang="0">
                  <a:pos x="connsiteX11261" y="connsiteY11261"/>
                </a:cxn>
                <a:cxn ang="0">
                  <a:pos x="connsiteX11262" y="connsiteY11262"/>
                </a:cxn>
                <a:cxn ang="0">
                  <a:pos x="connsiteX11263" y="connsiteY11263"/>
                </a:cxn>
                <a:cxn ang="0">
                  <a:pos x="connsiteX11264" y="connsiteY11264"/>
                </a:cxn>
                <a:cxn ang="0">
                  <a:pos x="connsiteX11265" y="connsiteY11265"/>
                </a:cxn>
                <a:cxn ang="0">
                  <a:pos x="connsiteX11266" y="connsiteY11266"/>
                </a:cxn>
                <a:cxn ang="0">
                  <a:pos x="connsiteX11267" y="connsiteY11267"/>
                </a:cxn>
                <a:cxn ang="0">
                  <a:pos x="connsiteX11268" y="connsiteY11268"/>
                </a:cxn>
                <a:cxn ang="0">
                  <a:pos x="connsiteX11269" y="connsiteY11269"/>
                </a:cxn>
                <a:cxn ang="0">
                  <a:pos x="connsiteX11270" y="connsiteY11270"/>
                </a:cxn>
                <a:cxn ang="0">
                  <a:pos x="connsiteX11271" y="connsiteY11271"/>
                </a:cxn>
                <a:cxn ang="0">
                  <a:pos x="connsiteX11272" y="connsiteY11272"/>
                </a:cxn>
                <a:cxn ang="0">
                  <a:pos x="connsiteX11273" y="connsiteY11273"/>
                </a:cxn>
                <a:cxn ang="0">
                  <a:pos x="connsiteX11274" y="connsiteY11274"/>
                </a:cxn>
                <a:cxn ang="0">
                  <a:pos x="connsiteX11275" y="connsiteY11275"/>
                </a:cxn>
                <a:cxn ang="0">
                  <a:pos x="connsiteX11276" y="connsiteY11276"/>
                </a:cxn>
                <a:cxn ang="0">
                  <a:pos x="connsiteX11277" y="connsiteY11277"/>
                </a:cxn>
                <a:cxn ang="0">
                  <a:pos x="connsiteX11278" y="connsiteY11278"/>
                </a:cxn>
                <a:cxn ang="0">
                  <a:pos x="connsiteX11279" y="connsiteY11279"/>
                </a:cxn>
                <a:cxn ang="0">
                  <a:pos x="connsiteX11280" y="connsiteY11280"/>
                </a:cxn>
                <a:cxn ang="0">
                  <a:pos x="connsiteX11281" y="connsiteY11281"/>
                </a:cxn>
                <a:cxn ang="0">
                  <a:pos x="connsiteX11282" y="connsiteY11282"/>
                </a:cxn>
                <a:cxn ang="0">
                  <a:pos x="connsiteX11283" y="connsiteY11283"/>
                </a:cxn>
                <a:cxn ang="0">
                  <a:pos x="connsiteX11284" y="connsiteY11284"/>
                </a:cxn>
                <a:cxn ang="0">
                  <a:pos x="connsiteX11285" y="connsiteY11285"/>
                </a:cxn>
                <a:cxn ang="0">
                  <a:pos x="connsiteX11286" y="connsiteY11286"/>
                </a:cxn>
                <a:cxn ang="0">
                  <a:pos x="connsiteX11287" y="connsiteY11287"/>
                </a:cxn>
                <a:cxn ang="0">
                  <a:pos x="connsiteX11288" y="connsiteY11288"/>
                </a:cxn>
                <a:cxn ang="0">
                  <a:pos x="connsiteX11289" y="connsiteY11289"/>
                </a:cxn>
                <a:cxn ang="0">
                  <a:pos x="connsiteX11290" y="connsiteY11290"/>
                </a:cxn>
                <a:cxn ang="0">
                  <a:pos x="connsiteX11291" y="connsiteY11291"/>
                </a:cxn>
                <a:cxn ang="0">
                  <a:pos x="connsiteX11292" y="connsiteY11292"/>
                </a:cxn>
                <a:cxn ang="0">
                  <a:pos x="connsiteX11293" y="connsiteY11293"/>
                </a:cxn>
                <a:cxn ang="0">
                  <a:pos x="connsiteX11294" y="connsiteY11294"/>
                </a:cxn>
                <a:cxn ang="0">
                  <a:pos x="connsiteX11295" y="connsiteY11295"/>
                </a:cxn>
                <a:cxn ang="0">
                  <a:pos x="connsiteX11296" y="connsiteY11296"/>
                </a:cxn>
                <a:cxn ang="0">
                  <a:pos x="connsiteX11297" y="connsiteY11297"/>
                </a:cxn>
                <a:cxn ang="0">
                  <a:pos x="connsiteX11298" y="connsiteY11298"/>
                </a:cxn>
                <a:cxn ang="0">
                  <a:pos x="connsiteX11299" y="connsiteY11299"/>
                </a:cxn>
                <a:cxn ang="0">
                  <a:pos x="connsiteX11300" y="connsiteY11300"/>
                </a:cxn>
                <a:cxn ang="0">
                  <a:pos x="connsiteX11301" y="connsiteY11301"/>
                </a:cxn>
                <a:cxn ang="0">
                  <a:pos x="connsiteX11302" y="connsiteY11302"/>
                </a:cxn>
                <a:cxn ang="0">
                  <a:pos x="connsiteX11303" y="connsiteY11303"/>
                </a:cxn>
                <a:cxn ang="0">
                  <a:pos x="connsiteX11304" y="connsiteY11304"/>
                </a:cxn>
                <a:cxn ang="0">
                  <a:pos x="connsiteX11305" y="connsiteY11305"/>
                </a:cxn>
                <a:cxn ang="0">
                  <a:pos x="connsiteX11306" y="connsiteY11306"/>
                </a:cxn>
                <a:cxn ang="0">
                  <a:pos x="connsiteX11307" y="connsiteY11307"/>
                </a:cxn>
                <a:cxn ang="0">
                  <a:pos x="connsiteX11308" y="connsiteY11308"/>
                </a:cxn>
                <a:cxn ang="0">
                  <a:pos x="connsiteX11309" y="connsiteY11309"/>
                </a:cxn>
                <a:cxn ang="0">
                  <a:pos x="connsiteX11310" y="connsiteY11310"/>
                </a:cxn>
                <a:cxn ang="0">
                  <a:pos x="connsiteX11311" y="connsiteY11311"/>
                </a:cxn>
                <a:cxn ang="0">
                  <a:pos x="connsiteX11312" y="connsiteY11312"/>
                </a:cxn>
                <a:cxn ang="0">
                  <a:pos x="connsiteX11313" y="connsiteY11313"/>
                </a:cxn>
                <a:cxn ang="0">
                  <a:pos x="connsiteX11314" y="connsiteY11314"/>
                </a:cxn>
                <a:cxn ang="0">
                  <a:pos x="connsiteX11315" y="connsiteY11315"/>
                </a:cxn>
                <a:cxn ang="0">
                  <a:pos x="connsiteX11316" y="connsiteY11316"/>
                </a:cxn>
                <a:cxn ang="0">
                  <a:pos x="connsiteX11317" y="connsiteY11317"/>
                </a:cxn>
                <a:cxn ang="0">
                  <a:pos x="connsiteX11318" y="connsiteY11318"/>
                </a:cxn>
                <a:cxn ang="0">
                  <a:pos x="connsiteX11319" y="connsiteY11319"/>
                </a:cxn>
                <a:cxn ang="0">
                  <a:pos x="connsiteX11320" y="connsiteY11320"/>
                </a:cxn>
                <a:cxn ang="0">
                  <a:pos x="connsiteX11321" y="connsiteY11321"/>
                </a:cxn>
                <a:cxn ang="0">
                  <a:pos x="connsiteX11322" y="connsiteY11322"/>
                </a:cxn>
                <a:cxn ang="0">
                  <a:pos x="connsiteX11323" y="connsiteY11323"/>
                </a:cxn>
                <a:cxn ang="0">
                  <a:pos x="connsiteX11324" y="connsiteY11324"/>
                </a:cxn>
                <a:cxn ang="0">
                  <a:pos x="connsiteX11325" y="connsiteY11325"/>
                </a:cxn>
                <a:cxn ang="0">
                  <a:pos x="connsiteX11326" y="connsiteY11326"/>
                </a:cxn>
                <a:cxn ang="0">
                  <a:pos x="connsiteX11327" y="connsiteY11327"/>
                </a:cxn>
                <a:cxn ang="0">
                  <a:pos x="connsiteX11328" y="connsiteY11328"/>
                </a:cxn>
                <a:cxn ang="0">
                  <a:pos x="connsiteX11329" y="connsiteY11329"/>
                </a:cxn>
                <a:cxn ang="0">
                  <a:pos x="connsiteX11330" y="connsiteY11330"/>
                </a:cxn>
                <a:cxn ang="0">
                  <a:pos x="connsiteX11331" y="connsiteY11331"/>
                </a:cxn>
                <a:cxn ang="0">
                  <a:pos x="connsiteX11332" y="connsiteY11332"/>
                </a:cxn>
                <a:cxn ang="0">
                  <a:pos x="connsiteX11333" y="connsiteY11333"/>
                </a:cxn>
                <a:cxn ang="0">
                  <a:pos x="connsiteX11334" y="connsiteY11334"/>
                </a:cxn>
                <a:cxn ang="0">
                  <a:pos x="connsiteX11335" y="connsiteY11335"/>
                </a:cxn>
                <a:cxn ang="0">
                  <a:pos x="connsiteX11336" y="connsiteY11336"/>
                </a:cxn>
                <a:cxn ang="0">
                  <a:pos x="connsiteX11337" y="connsiteY11337"/>
                </a:cxn>
                <a:cxn ang="0">
                  <a:pos x="connsiteX11338" y="connsiteY11338"/>
                </a:cxn>
                <a:cxn ang="0">
                  <a:pos x="connsiteX11339" y="connsiteY11339"/>
                </a:cxn>
                <a:cxn ang="0">
                  <a:pos x="connsiteX11340" y="connsiteY11340"/>
                </a:cxn>
                <a:cxn ang="0">
                  <a:pos x="connsiteX11341" y="connsiteY11341"/>
                </a:cxn>
                <a:cxn ang="0">
                  <a:pos x="connsiteX11342" y="connsiteY11342"/>
                </a:cxn>
                <a:cxn ang="0">
                  <a:pos x="connsiteX11343" y="connsiteY11343"/>
                </a:cxn>
                <a:cxn ang="0">
                  <a:pos x="connsiteX11344" y="connsiteY11344"/>
                </a:cxn>
                <a:cxn ang="0">
                  <a:pos x="connsiteX11345" y="connsiteY11345"/>
                </a:cxn>
                <a:cxn ang="0">
                  <a:pos x="connsiteX11346" y="connsiteY11346"/>
                </a:cxn>
                <a:cxn ang="0">
                  <a:pos x="connsiteX11347" y="connsiteY11347"/>
                </a:cxn>
                <a:cxn ang="0">
                  <a:pos x="connsiteX11348" y="connsiteY11348"/>
                </a:cxn>
                <a:cxn ang="0">
                  <a:pos x="connsiteX11349" y="connsiteY11349"/>
                </a:cxn>
                <a:cxn ang="0">
                  <a:pos x="connsiteX11350" y="connsiteY11350"/>
                </a:cxn>
                <a:cxn ang="0">
                  <a:pos x="connsiteX11351" y="connsiteY11351"/>
                </a:cxn>
                <a:cxn ang="0">
                  <a:pos x="connsiteX11352" y="connsiteY11352"/>
                </a:cxn>
                <a:cxn ang="0">
                  <a:pos x="connsiteX11353" y="connsiteY11353"/>
                </a:cxn>
                <a:cxn ang="0">
                  <a:pos x="connsiteX11354" y="connsiteY11354"/>
                </a:cxn>
                <a:cxn ang="0">
                  <a:pos x="connsiteX11355" y="connsiteY11355"/>
                </a:cxn>
                <a:cxn ang="0">
                  <a:pos x="connsiteX11356" y="connsiteY11356"/>
                </a:cxn>
                <a:cxn ang="0">
                  <a:pos x="connsiteX11357" y="connsiteY11357"/>
                </a:cxn>
                <a:cxn ang="0">
                  <a:pos x="connsiteX11358" y="connsiteY11358"/>
                </a:cxn>
                <a:cxn ang="0">
                  <a:pos x="connsiteX11359" y="connsiteY11359"/>
                </a:cxn>
                <a:cxn ang="0">
                  <a:pos x="connsiteX11360" y="connsiteY11360"/>
                </a:cxn>
                <a:cxn ang="0">
                  <a:pos x="connsiteX11361" y="connsiteY11361"/>
                </a:cxn>
                <a:cxn ang="0">
                  <a:pos x="connsiteX11362" y="connsiteY11362"/>
                </a:cxn>
                <a:cxn ang="0">
                  <a:pos x="connsiteX11363" y="connsiteY11363"/>
                </a:cxn>
                <a:cxn ang="0">
                  <a:pos x="connsiteX11364" y="connsiteY11364"/>
                </a:cxn>
                <a:cxn ang="0">
                  <a:pos x="connsiteX11365" y="connsiteY11365"/>
                </a:cxn>
                <a:cxn ang="0">
                  <a:pos x="connsiteX11366" y="connsiteY11366"/>
                </a:cxn>
                <a:cxn ang="0">
                  <a:pos x="connsiteX11367" y="connsiteY11367"/>
                </a:cxn>
                <a:cxn ang="0">
                  <a:pos x="connsiteX11368" y="connsiteY11368"/>
                </a:cxn>
                <a:cxn ang="0">
                  <a:pos x="connsiteX11369" y="connsiteY11369"/>
                </a:cxn>
                <a:cxn ang="0">
                  <a:pos x="connsiteX11370" y="connsiteY11370"/>
                </a:cxn>
                <a:cxn ang="0">
                  <a:pos x="connsiteX11371" y="connsiteY11371"/>
                </a:cxn>
                <a:cxn ang="0">
                  <a:pos x="connsiteX11372" y="connsiteY11372"/>
                </a:cxn>
                <a:cxn ang="0">
                  <a:pos x="connsiteX11373" y="connsiteY11373"/>
                </a:cxn>
                <a:cxn ang="0">
                  <a:pos x="connsiteX11374" y="connsiteY11374"/>
                </a:cxn>
                <a:cxn ang="0">
                  <a:pos x="connsiteX11375" y="connsiteY11375"/>
                </a:cxn>
                <a:cxn ang="0">
                  <a:pos x="connsiteX11376" y="connsiteY11376"/>
                </a:cxn>
                <a:cxn ang="0">
                  <a:pos x="connsiteX11377" y="connsiteY11377"/>
                </a:cxn>
                <a:cxn ang="0">
                  <a:pos x="connsiteX11378" y="connsiteY11378"/>
                </a:cxn>
                <a:cxn ang="0">
                  <a:pos x="connsiteX11379" y="connsiteY11379"/>
                </a:cxn>
                <a:cxn ang="0">
                  <a:pos x="connsiteX11380" y="connsiteY11380"/>
                </a:cxn>
                <a:cxn ang="0">
                  <a:pos x="connsiteX11381" y="connsiteY11381"/>
                </a:cxn>
                <a:cxn ang="0">
                  <a:pos x="connsiteX11382" y="connsiteY11382"/>
                </a:cxn>
                <a:cxn ang="0">
                  <a:pos x="connsiteX11383" y="connsiteY11383"/>
                </a:cxn>
                <a:cxn ang="0">
                  <a:pos x="connsiteX11384" y="connsiteY11384"/>
                </a:cxn>
                <a:cxn ang="0">
                  <a:pos x="connsiteX11385" y="connsiteY11385"/>
                </a:cxn>
                <a:cxn ang="0">
                  <a:pos x="connsiteX11386" y="connsiteY11386"/>
                </a:cxn>
                <a:cxn ang="0">
                  <a:pos x="connsiteX11387" y="connsiteY11387"/>
                </a:cxn>
                <a:cxn ang="0">
                  <a:pos x="connsiteX11388" y="connsiteY11388"/>
                </a:cxn>
                <a:cxn ang="0">
                  <a:pos x="connsiteX11389" y="connsiteY11389"/>
                </a:cxn>
                <a:cxn ang="0">
                  <a:pos x="connsiteX11390" y="connsiteY11390"/>
                </a:cxn>
                <a:cxn ang="0">
                  <a:pos x="connsiteX11391" y="connsiteY11391"/>
                </a:cxn>
                <a:cxn ang="0">
                  <a:pos x="connsiteX11392" y="connsiteY11392"/>
                </a:cxn>
                <a:cxn ang="0">
                  <a:pos x="connsiteX11393" y="connsiteY11393"/>
                </a:cxn>
                <a:cxn ang="0">
                  <a:pos x="connsiteX11394" y="connsiteY11394"/>
                </a:cxn>
                <a:cxn ang="0">
                  <a:pos x="connsiteX11395" y="connsiteY11395"/>
                </a:cxn>
                <a:cxn ang="0">
                  <a:pos x="connsiteX11396" y="connsiteY11396"/>
                </a:cxn>
                <a:cxn ang="0">
                  <a:pos x="connsiteX11397" y="connsiteY11397"/>
                </a:cxn>
                <a:cxn ang="0">
                  <a:pos x="connsiteX11398" y="connsiteY11398"/>
                </a:cxn>
                <a:cxn ang="0">
                  <a:pos x="connsiteX11399" y="connsiteY11399"/>
                </a:cxn>
                <a:cxn ang="0">
                  <a:pos x="connsiteX11400" y="connsiteY11400"/>
                </a:cxn>
                <a:cxn ang="0">
                  <a:pos x="connsiteX11401" y="connsiteY11401"/>
                </a:cxn>
                <a:cxn ang="0">
                  <a:pos x="connsiteX11402" y="connsiteY11402"/>
                </a:cxn>
                <a:cxn ang="0">
                  <a:pos x="connsiteX11403" y="connsiteY11403"/>
                </a:cxn>
                <a:cxn ang="0">
                  <a:pos x="connsiteX11404" y="connsiteY11404"/>
                </a:cxn>
                <a:cxn ang="0">
                  <a:pos x="connsiteX11405" y="connsiteY11405"/>
                </a:cxn>
                <a:cxn ang="0">
                  <a:pos x="connsiteX11406" y="connsiteY11406"/>
                </a:cxn>
                <a:cxn ang="0">
                  <a:pos x="connsiteX11407" y="connsiteY11407"/>
                </a:cxn>
                <a:cxn ang="0">
                  <a:pos x="connsiteX11408" y="connsiteY11408"/>
                </a:cxn>
                <a:cxn ang="0">
                  <a:pos x="connsiteX11409" y="connsiteY11409"/>
                </a:cxn>
                <a:cxn ang="0">
                  <a:pos x="connsiteX11410" y="connsiteY11410"/>
                </a:cxn>
                <a:cxn ang="0">
                  <a:pos x="connsiteX11411" y="connsiteY11411"/>
                </a:cxn>
                <a:cxn ang="0">
                  <a:pos x="connsiteX11412" y="connsiteY11412"/>
                </a:cxn>
                <a:cxn ang="0">
                  <a:pos x="connsiteX11413" y="connsiteY11413"/>
                </a:cxn>
                <a:cxn ang="0">
                  <a:pos x="connsiteX11414" y="connsiteY11414"/>
                </a:cxn>
                <a:cxn ang="0">
                  <a:pos x="connsiteX11415" y="connsiteY11415"/>
                </a:cxn>
                <a:cxn ang="0">
                  <a:pos x="connsiteX11416" y="connsiteY11416"/>
                </a:cxn>
                <a:cxn ang="0">
                  <a:pos x="connsiteX11417" y="connsiteY11417"/>
                </a:cxn>
                <a:cxn ang="0">
                  <a:pos x="connsiteX11418" y="connsiteY11418"/>
                </a:cxn>
                <a:cxn ang="0">
                  <a:pos x="connsiteX11419" y="connsiteY11419"/>
                </a:cxn>
                <a:cxn ang="0">
                  <a:pos x="connsiteX11420" y="connsiteY11420"/>
                </a:cxn>
                <a:cxn ang="0">
                  <a:pos x="connsiteX11421" y="connsiteY11421"/>
                </a:cxn>
                <a:cxn ang="0">
                  <a:pos x="connsiteX11422" y="connsiteY11422"/>
                </a:cxn>
                <a:cxn ang="0">
                  <a:pos x="connsiteX11423" y="connsiteY11423"/>
                </a:cxn>
                <a:cxn ang="0">
                  <a:pos x="connsiteX11424" y="connsiteY11424"/>
                </a:cxn>
                <a:cxn ang="0">
                  <a:pos x="connsiteX11425" y="connsiteY11425"/>
                </a:cxn>
                <a:cxn ang="0">
                  <a:pos x="connsiteX11426" y="connsiteY11426"/>
                </a:cxn>
                <a:cxn ang="0">
                  <a:pos x="connsiteX11427" y="connsiteY11427"/>
                </a:cxn>
                <a:cxn ang="0">
                  <a:pos x="connsiteX11428" y="connsiteY11428"/>
                </a:cxn>
                <a:cxn ang="0">
                  <a:pos x="connsiteX11429" y="connsiteY11429"/>
                </a:cxn>
                <a:cxn ang="0">
                  <a:pos x="connsiteX11430" y="connsiteY11430"/>
                </a:cxn>
                <a:cxn ang="0">
                  <a:pos x="connsiteX11431" y="connsiteY11431"/>
                </a:cxn>
              </a:cxnLst>
              <a:rect l="l" t="t" r="r" b="b"/>
              <a:pathLst>
                <a:path w="2240198" h="1729012">
                  <a:moveTo>
                    <a:pt x="2060840" y="1657574"/>
                  </a:moveTo>
                  <a:lnTo>
                    <a:pt x="2059307" y="1659536"/>
                  </a:lnTo>
                  <a:lnTo>
                    <a:pt x="2055892" y="1660643"/>
                  </a:lnTo>
                  <a:lnTo>
                    <a:pt x="2052965" y="1660558"/>
                  </a:lnTo>
                  <a:lnTo>
                    <a:pt x="2051025" y="1659551"/>
                  </a:lnTo>
                  <a:lnTo>
                    <a:pt x="2050943" y="1659110"/>
                  </a:lnTo>
                  <a:lnTo>
                    <a:pt x="2055544" y="1659536"/>
                  </a:lnTo>
                  <a:lnTo>
                    <a:pt x="2057310" y="1659302"/>
                  </a:lnTo>
                  <a:close/>
                  <a:moveTo>
                    <a:pt x="1896449" y="1645474"/>
                  </a:moveTo>
                  <a:lnTo>
                    <a:pt x="1894841" y="1648580"/>
                  </a:lnTo>
                  <a:lnTo>
                    <a:pt x="1893565" y="1649668"/>
                  </a:lnTo>
                  <a:lnTo>
                    <a:pt x="1893875" y="1648601"/>
                  </a:lnTo>
                  <a:lnTo>
                    <a:pt x="1895432" y="1645880"/>
                  </a:lnTo>
                  <a:close/>
                  <a:moveTo>
                    <a:pt x="1881444" y="1632571"/>
                  </a:moveTo>
                  <a:lnTo>
                    <a:pt x="1882882" y="1633008"/>
                  </a:lnTo>
                  <a:lnTo>
                    <a:pt x="1882680" y="1635560"/>
                  </a:lnTo>
                  <a:lnTo>
                    <a:pt x="1882449" y="1636436"/>
                  </a:lnTo>
                  <a:lnTo>
                    <a:pt x="1879037" y="1638087"/>
                  </a:lnTo>
                  <a:lnTo>
                    <a:pt x="1880364" y="1633868"/>
                  </a:lnTo>
                  <a:close/>
                  <a:moveTo>
                    <a:pt x="2027907" y="1608328"/>
                  </a:moveTo>
                  <a:lnTo>
                    <a:pt x="2030785" y="1608646"/>
                  </a:lnTo>
                  <a:lnTo>
                    <a:pt x="2029757" y="1610278"/>
                  </a:lnTo>
                  <a:lnTo>
                    <a:pt x="2029540" y="1611083"/>
                  </a:lnTo>
                  <a:lnTo>
                    <a:pt x="2028493" y="1611342"/>
                  </a:lnTo>
                  <a:lnTo>
                    <a:pt x="2028249" y="1610891"/>
                  </a:lnTo>
                  <a:lnTo>
                    <a:pt x="2026634" y="1609591"/>
                  </a:lnTo>
                  <a:lnTo>
                    <a:pt x="2026493" y="1608944"/>
                  </a:lnTo>
                  <a:close/>
                  <a:moveTo>
                    <a:pt x="1709776" y="1604634"/>
                  </a:moveTo>
                  <a:lnTo>
                    <a:pt x="1706658" y="1608072"/>
                  </a:lnTo>
                  <a:lnTo>
                    <a:pt x="1703600" y="1608722"/>
                  </a:lnTo>
                  <a:lnTo>
                    <a:pt x="1702540" y="1608448"/>
                  </a:lnTo>
                  <a:lnTo>
                    <a:pt x="1705914" y="1605348"/>
                  </a:lnTo>
                  <a:close/>
                  <a:moveTo>
                    <a:pt x="1712217" y="1604310"/>
                  </a:moveTo>
                  <a:lnTo>
                    <a:pt x="1710624" y="1609303"/>
                  </a:lnTo>
                  <a:lnTo>
                    <a:pt x="1710301" y="1611086"/>
                  </a:lnTo>
                  <a:lnTo>
                    <a:pt x="1709924" y="1611739"/>
                  </a:lnTo>
                  <a:lnTo>
                    <a:pt x="1707970" y="1612368"/>
                  </a:lnTo>
                  <a:lnTo>
                    <a:pt x="1704628" y="1611785"/>
                  </a:lnTo>
                  <a:lnTo>
                    <a:pt x="1700955" y="1612594"/>
                  </a:lnTo>
                  <a:lnTo>
                    <a:pt x="1699932" y="1612611"/>
                  </a:lnTo>
                  <a:lnTo>
                    <a:pt x="1702661" y="1610271"/>
                  </a:lnTo>
                  <a:lnTo>
                    <a:pt x="1706857" y="1608830"/>
                  </a:lnTo>
                  <a:lnTo>
                    <a:pt x="1711041" y="1604423"/>
                  </a:lnTo>
                  <a:close/>
                  <a:moveTo>
                    <a:pt x="1778054" y="1563265"/>
                  </a:moveTo>
                  <a:lnTo>
                    <a:pt x="1779419" y="1563289"/>
                  </a:lnTo>
                  <a:lnTo>
                    <a:pt x="1777196" y="1565714"/>
                  </a:lnTo>
                  <a:lnTo>
                    <a:pt x="1774349" y="1567204"/>
                  </a:lnTo>
                  <a:lnTo>
                    <a:pt x="1772044" y="1567463"/>
                  </a:lnTo>
                  <a:lnTo>
                    <a:pt x="1772594" y="1566353"/>
                  </a:lnTo>
                  <a:lnTo>
                    <a:pt x="1775741" y="1564375"/>
                  </a:lnTo>
                  <a:close/>
                  <a:moveTo>
                    <a:pt x="2041521" y="1562829"/>
                  </a:moveTo>
                  <a:lnTo>
                    <a:pt x="2043571" y="1563028"/>
                  </a:lnTo>
                  <a:lnTo>
                    <a:pt x="2042984" y="1564327"/>
                  </a:lnTo>
                  <a:lnTo>
                    <a:pt x="2043134" y="1565597"/>
                  </a:lnTo>
                  <a:lnTo>
                    <a:pt x="2045510" y="1570561"/>
                  </a:lnTo>
                  <a:lnTo>
                    <a:pt x="2045480" y="1571545"/>
                  </a:lnTo>
                  <a:lnTo>
                    <a:pt x="2044183" y="1575490"/>
                  </a:lnTo>
                  <a:lnTo>
                    <a:pt x="2041689" y="1581851"/>
                  </a:lnTo>
                  <a:lnTo>
                    <a:pt x="2041048" y="1585353"/>
                  </a:lnTo>
                  <a:lnTo>
                    <a:pt x="2041382" y="1586404"/>
                  </a:lnTo>
                  <a:lnTo>
                    <a:pt x="2040370" y="1588173"/>
                  </a:lnTo>
                  <a:lnTo>
                    <a:pt x="2039295" y="1589518"/>
                  </a:lnTo>
                  <a:lnTo>
                    <a:pt x="2035036" y="1592038"/>
                  </a:lnTo>
                  <a:lnTo>
                    <a:pt x="2032862" y="1592627"/>
                  </a:lnTo>
                  <a:lnTo>
                    <a:pt x="2030792" y="1593562"/>
                  </a:lnTo>
                  <a:lnTo>
                    <a:pt x="2025899" y="1596725"/>
                  </a:lnTo>
                  <a:lnTo>
                    <a:pt x="2026757" y="1596966"/>
                  </a:lnTo>
                  <a:lnTo>
                    <a:pt x="2030174" y="1595431"/>
                  </a:lnTo>
                  <a:lnTo>
                    <a:pt x="2031982" y="1595497"/>
                  </a:lnTo>
                  <a:lnTo>
                    <a:pt x="2031902" y="1596600"/>
                  </a:lnTo>
                  <a:lnTo>
                    <a:pt x="2028964" y="1597800"/>
                  </a:lnTo>
                  <a:lnTo>
                    <a:pt x="2027613" y="1598702"/>
                  </a:lnTo>
                  <a:lnTo>
                    <a:pt x="2029310" y="1599537"/>
                  </a:lnTo>
                  <a:lnTo>
                    <a:pt x="2029287" y="1600101"/>
                  </a:lnTo>
                  <a:lnTo>
                    <a:pt x="2027247" y="1601459"/>
                  </a:lnTo>
                  <a:lnTo>
                    <a:pt x="2026230" y="1602931"/>
                  </a:lnTo>
                  <a:lnTo>
                    <a:pt x="2027069" y="1604353"/>
                  </a:lnTo>
                  <a:lnTo>
                    <a:pt x="2030331" y="1602953"/>
                  </a:lnTo>
                  <a:lnTo>
                    <a:pt x="2031669" y="1602940"/>
                  </a:lnTo>
                  <a:lnTo>
                    <a:pt x="2033482" y="1603257"/>
                  </a:lnTo>
                  <a:lnTo>
                    <a:pt x="2035211" y="1602836"/>
                  </a:lnTo>
                  <a:lnTo>
                    <a:pt x="2036195" y="1602143"/>
                  </a:lnTo>
                  <a:lnTo>
                    <a:pt x="2041944" y="1596668"/>
                  </a:lnTo>
                  <a:lnTo>
                    <a:pt x="2042243" y="1595966"/>
                  </a:lnTo>
                  <a:lnTo>
                    <a:pt x="2036048" y="1597098"/>
                  </a:lnTo>
                  <a:lnTo>
                    <a:pt x="2035328" y="1596349"/>
                  </a:lnTo>
                  <a:lnTo>
                    <a:pt x="2039388" y="1593028"/>
                  </a:lnTo>
                  <a:lnTo>
                    <a:pt x="2039069" y="1591278"/>
                  </a:lnTo>
                  <a:lnTo>
                    <a:pt x="2041118" y="1588512"/>
                  </a:lnTo>
                  <a:lnTo>
                    <a:pt x="2042996" y="1586869"/>
                  </a:lnTo>
                  <a:lnTo>
                    <a:pt x="2044375" y="1585949"/>
                  </a:lnTo>
                  <a:lnTo>
                    <a:pt x="2046367" y="1585103"/>
                  </a:lnTo>
                  <a:lnTo>
                    <a:pt x="2047738" y="1586409"/>
                  </a:lnTo>
                  <a:lnTo>
                    <a:pt x="2048180" y="1588776"/>
                  </a:lnTo>
                  <a:lnTo>
                    <a:pt x="2051576" y="1588444"/>
                  </a:lnTo>
                  <a:lnTo>
                    <a:pt x="2054899" y="1588920"/>
                  </a:lnTo>
                  <a:lnTo>
                    <a:pt x="2057344" y="1589919"/>
                  </a:lnTo>
                  <a:lnTo>
                    <a:pt x="2057725" y="1590494"/>
                  </a:lnTo>
                  <a:lnTo>
                    <a:pt x="2057756" y="1591396"/>
                  </a:lnTo>
                  <a:lnTo>
                    <a:pt x="2056942" y="1593022"/>
                  </a:lnTo>
                  <a:lnTo>
                    <a:pt x="2055594" y="1594359"/>
                  </a:lnTo>
                  <a:lnTo>
                    <a:pt x="2058282" y="1596078"/>
                  </a:lnTo>
                  <a:lnTo>
                    <a:pt x="2057923" y="1596825"/>
                  </a:lnTo>
                  <a:lnTo>
                    <a:pt x="2053521" y="1598757"/>
                  </a:lnTo>
                  <a:lnTo>
                    <a:pt x="2051020" y="1600704"/>
                  </a:lnTo>
                  <a:lnTo>
                    <a:pt x="2048722" y="1603101"/>
                  </a:lnTo>
                  <a:lnTo>
                    <a:pt x="2044132" y="1605891"/>
                  </a:lnTo>
                  <a:lnTo>
                    <a:pt x="2036858" y="1607904"/>
                  </a:lnTo>
                  <a:lnTo>
                    <a:pt x="2034557" y="1607904"/>
                  </a:lnTo>
                  <a:lnTo>
                    <a:pt x="2031822" y="1607277"/>
                  </a:lnTo>
                  <a:lnTo>
                    <a:pt x="2029107" y="1607420"/>
                  </a:lnTo>
                  <a:lnTo>
                    <a:pt x="2026444" y="1608170"/>
                  </a:lnTo>
                  <a:lnTo>
                    <a:pt x="2023838" y="1608088"/>
                  </a:lnTo>
                  <a:lnTo>
                    <a:pt x="2022573" y="1608481"/>
                  </a:lnTo>
                  <a:lnTo>
                    <a:pt x="2021372" y="1608439"/>
                  </a:lnTo>
                  <a:lnTo>
                    <a:pt x="2020364" y="1607662"/>
                  </a:lnTo>
                  <a:lnTo>
                    <a:pt x="2018211" y="1605435"/>
                  </a:lnTo>
                  <a:lnTo>
                    <a:pt x="2017160" y="1603948"/>
                  </a:lnTo>
                  <a:lnTo>
                    <a:pt x="2016006" y="1596827"/>
                  </a:lnTo>
                  <a:lnTo>
                    <a:pt x="2016379" y="1593082"/>
                  </a:lnTo>
                  <a:lnTo>
                    <a:pt x="2018203" y="1589575"/>
                  </a:lnTo>
                  <a:lnTo>
                    <a:pt x="2020903" y="1587243"/>
                  </a:lnTo>
                  <a:lnTo>
                    <a:pt x="2022467" y="1585379"/>
                  </a:lnTo>
                  <a:lnTo>
                    <a:pt x="2029009" y="1574305"/>
                  </a:lnTo>
                  <a:lnTo>
                    <a:pt x="2030290" y="1571786"/>
                  </a:lnTo>
                  <a:lnTo>
                    <a:pt x="2031857" y="1569637"/>
                  </a:lnTo>
                  <a:lnTo>
                    <a:pt x="2034659" y="1567509"/>
                  </a:lnTo>
                  <a:lnTo>
                    <a:pt x="2038286" y="1563915"/>
                  </a:lnTo>
                  <a:lnTo>
                    <a:pt x="2039442" y="1563178"/>
                  </a:lnTo>
                  <a:close/>
                  <a:moveTo>
                    <a:pt x="1952660" y="1561168"/>
                  </a:moveTo>
                  <a:lnTo>
                    <a:pt x="1952565" y="1563724"/>
                  </a:lnTo>
                  <a:lnTo>
                    <a:pt x="1952965" y="1565924"/>
                  </a:lnTo>
                  <a:lnTo>
                    <a:pt x="1950267" y="1570318"/>
                  </a:lnTo>
                  <a:lnTo>
                    <a:pt x="1954955" y="1574667"/>
                  </a:lnTo>
                  <a:lnTo>
                    <a:pt x="1955557" y="1575628"/>
                  </a:lnTo>
                  <a:lnTo>
                    <a:pt x="1955952" y="1576795"/>
                  </a:lnTo>
                  <a:lnTo>
                    <a:pt x="1955649" y="1577868"/>
                  </a:lnTo>
                  <a:lnTo>
                    <a:pt x="1954890" y="1578820"/>
                  </a:lnTo>
                  <a:lnTo>
                    <a:pt x="1956716" y="1579293"/>
                  </a:lnTo>
                  <a:lnTo>
                    <a:pt x="1957281" y="1580095"/>
                  </a:lnTo>
                  <a:lnTo>
                    <a:pt x="1957967" y="1580543"/>
                  </a:lnTo>
                  <a:lnTo>
                    <a:pt x="1959164" y="1579720"/>
                  </a:lnTo>
                  <a:lnTo>
                    <a:pt x="1960573" y="1577127"/>
                  </a:lnTo>
                  <a:lnTo>
                    <a:pt x="1964303" y="1577806"/>
                  </a:lnTo>
                  <a:lnTo>
                    <a:pt x="1966277" y="1578975"/>
                  </a:lnTo>
                  <a:lnTo>
                    <a:pt x="1967377" y="1578717"/>
                  </a:lnTo>
                  <a:lnTo>
                    <a:pt x="1968504" y="1578836"/>
                  </a:lnTo>
                  <a:lnTo>
                    <a:pt x="1970598" y="1580366"/>
                  </a:lnTo>
                  <a:lnTo>
                    <a:pt x="1974571" y="1581574"/>
                  </a:lnTo>
                  <a:lnTo>
                    <a:pt x="1978765" y="1581399"/>
                  </a:lnTo>
                  <a:lnTo>
                    <a:pt x="1985154" y="1580681"/>
                  </a:lnTo>
                  <a:lnTo>
                    <a:pt x="1985917" y="1580391"/>
                  </a:lnTo>
                  <a:lnTo>
                    <a:pt x="1992481" y="1579791"/>
                  </a:lnTo>
                  <a:lnTo>
                    <a:pt x="1999060" y="1579507"/>
                  </a:lnTo>
                  <a:lnTo>
                    <a:pt x="2001325" y="1580190"/>
                  </a:lnTo>
                  <a:lnTo>
                    <a:pt x="2002171" y="1580827"/>
                  </a:lnTo>
                  <a:lnTo>
                    <a:pt x="2002606" y="1581595"/>
                  </a:lnTo>
                  <a:lnTo>
                    <a:pt x="1998853" y="1583700"/>
                  </a:lnTo>
                  <a:lnTo>
                    <a:pt x="1995095" y="1586147"/>
                  </a:lnTo>
                  <a:lnTo>
                    <a:pt x="1989870" y="1588543"/>
                  </a:lnTo>
                  <a:lnTo>
                    <a:pt x="1989211" y="1589715"/>
                  </a:lnTo>
                  <a:lnTo>
                    <a:pt x="1989536" y="1591871"/>
                  </a:lnTo>
                  <a:lnTo>
                    <a:pt x="1989433" y="1594067"/>
                  </a:lnTo>
                  <a:lnTo>
                    <a:pt x="1990465" y="1594248"/>
                  </a:lnTo>
                  <a:lnTo>
                    <a:pt x="1991086" y="1594983"/>
                  </a:lnTo>
                  <a:lnTo>
                    <a:pt x="1989735" y="1595693"/>
                  </a:lnTo>
                  <a:lnTo>
                    <a:pt x="1984364" y="1596023"/>
                  </a:lnTo>
                  <a:lnTo>
                    <a:pt x="1982800" y="1595823"/>
                  </a:lnTo>
                  <a:lnTo>
                    <a:pt x="1980937" y="1594931"/>
                  </a:lnTo>
                  <a:lnTo>
                    <a:pt x="1980299" y="1592812"/>
                  </a:lnTo>
                  <a:lnTo>
                    <a:pt x="1977989" y="1593123"/>
                  </a:lnTo>
                  <a:lnTo>
                    <a:pt x="1977292" y="1592864"/>
                  </a:lnTo>
                  <a:lnTo>
                    <a:pt x="1980526" y="1591058"/>
                  </a:lnTo>
                  <a:lnTo>
                    <a:pt x="1979053" y="1588787"/>
                  </a:lnTo>
                  <a:lnTo>
                    <a:pt x="1977470" y="1588953"/>
                  </a:lnTo>
                  <a:lnTo>
                    <a:pt x="1976423" y="1587875"/>
                  </a:lnTo>
                  <a:lnTo>
                    <a:pt x="1976509" y="1586418"/>
                  </a:lnTo>
                  <a:lnTo>
                    <a:pt x="1977976" y="1585709"/>
                  </a:lnTo>
                  <a:lnTo>
                    <a:pt x="1978398" y="1584940"/>
                  </a:lnTo>
                  <a:lnTo>
                    <a:pt x="1976410" y="1585606"/>
                  </a:lnTo>
                  <a:lnTo>
                    <a:pt x="1974886" y="1586957"/>
                  </a:lnTo>
                  <a:lnTo>
                    <a:pt x="1972914" y="1587468"/>
                  </a:lnTo>
                  <a:lnTo>
                    <a:pt x="1970986" y="1588635"/>
                  </a:lnTo>
                  <a:lnTo>
                    <a:pt x="1973978" y="1589004"/>
                  </a:lnTo>
                  <a:lnTo>
                    <a:pt x="1972440" y="1589907"/>
                  </a:lnTo>
                  <a:lnTo>
                    <a:pt x="1970838" y="1590116"/>
                  </a:lnTo>
                  <a:lnTo>
                    <a:pt x="1963426" y="1588341"/>
                  </a:lnTo>
                  <a:lnTo>
                    <a:pt x="1961599" y="1587667"/>
                  </a:lnTo>
                  <a:lnTo>
                    <a:pt x="1959297" y="1585807"/>
                  </a:lnTo>
                  <a:lnTo>
                    <a:pt x="1957554" y="1583320"/>
                  </a:lnTo>
                  <a:lnTo>
                    <a:pt x="1958499" y="1583223"/>
                  </a:lnTo>
                  <a:lnTo>
                    <a:pt x="1958821" y="1582777"/>
                  </a:lnTo>
                  <a:lnTo>
                    <a:pt x="1958616" y="1582356"/>
                  </a:lnTo>
                  <a:lnTo>
                    <a:pt x="1956031" y="1582021"/>
                  </a:lnTo>
                  <a:lnTo>
                    <a:pt x="1951996" y="1582127"/>
                  </a:lnTo>
                  <a:lnTo>
                    <a:pt x="1949685" y="1581472"/>
                  </a:lnTo>
                  <a:lnTo>
                    <a:pt x="1949794" y="1577121"/>
                  </a:lnTo>
                  <a:lnTo>
                    <a:pt x="1949047" y="1575923"/>
                  </a:lnTo>
                  <a:lnTo>
                    <a:pt x="1946521" y="1574912"/>
                  </a:lnTo>
                  <a:lnTo>
                    <a:pt x="1942657" y="1574611"/>
                  </a:lnTo>
                  <a:lnTo>
                    <a:pt x="1942274" y="1572993"/>
                  </a:lnTo>
                  <a:lnTo>
                    <a:pt x="1943505" y="1570516"/>
                  </a:lnTo>
                  <a:lnTo>
                    <a:pt x="1945397" y="1568391"/>
                  </a:lnTo>
                  <a:lnTo>
                    <a:pt x="1946836" y="1566299"/>
                  </a:lnTo>
                  <a:lnTo>
                    <a:pt x="1948517" y="1564583"/>
                  </a:lnTo>
                  <a:close/>
                  <a:moveTo>
                    <a:pt x="2016544" y="1542368"/>
                  </a:moveTo>
                  <a:lnTo>
                    <a:pt x="2018536" y="1542663"/>
                  </a:lnTo>
                  <a:lnTo>
                    <a:pt x="2016506" y="1545035"/>
                  </a:lnTo>
                  <a:lnTo>
                    <a:pt x="2013801" y="1545164"/>
                  </a:lnTo>
                  <a:lnTo>
                    <a:pt x="2011219" y="1547136"/>
                  </a:lnTo>
                  <a:lnTo>
                    <a:pt x="2009525" y="1549321"/>
                  </a:lnTo>
                  <a:lnTo>
                    <a:pt x="2007488" y="1550567"/>
                  </a:lnTo>
                  <a:lnTo>
                    <a:pt x="2006083" y="1552090"/>
                  </a:lnTo>
                  <a:lnTo>
                    <a:pt x="2005386" y="1554021"/>
                  </a:lnTo>
                  <a:lnTo>
                    <a:pt x="2006284" y="1554630"/>
                  </a:lnTo>
                  <a:lnTo>
                    <a:pt x="2007887" y="1554565"/>
                  </a:lnTo>
                  <a:lnTo>
                    <a:pt x="2008975" y="1554813"/>
                  </a:lnTo>
                  <a:lnTo>
                    <a:pt x="2007425" y="1556007"/>
                  </a:lnTo>
                  <a:lnTo>
                    <a:pt x="2004456" y="1556123"/>
                  </a:lnTo>
                  <a:lnTo>
                    <a:pt x="2002997" y="1555633"/>
                  </a:lnTo>
                  <a:lnTo>
                    <a:pt x="2005117" y="1549502"/>
                  </a:lnTo>
                  <a:lnTo>
                    <a:pt x="2007587" y="1548089"/>
                  </a:lnTo>
                  <a:lnTo>
                    <a:pt x="2012646" y="1544073"/>
                  </a:lnTo>
                  <a:lnTo>
                    <a:pt x="2014668" y="1542851"/>
                  </a:lnTo>
                  <a:close/>
                  <a:moveTo>
                    <a:pt x="2202810" y="1542367"/>
                  </a:moveTo>
                  <a:lnTo>
                    <a:pt x="2202318" y="1544742"/>
                  </a:lnTo>
                  <a:lnTo>
                    <a:pt x="2200300" y="1548982"/>
                  </a:lnTo>
                  <a:lnTo>
                    <a:pt x="2199059" y="1550101"/>
                  </a:lnTo>
                  <a:lnTo>
                    <a:pt x="2197794" y="1550051"/>
                  </a:lnTo>
                  <a:lnTo>
                    <a:pt x="2197943" y="1549072"/>
                  </a:lnTo>
                  <a:lnTo>
                    <a:pt x="2199501" y="1547171"/>
                  </a:lnTo>
                  <a:lnTo>
                    <a:pt x="2200294" y="1545809"/>
                  </a:lnTo>
                  <a:lnTo>
                    <a:pt x="2200323" y="1544986"/>
                  </a:lnTo>
                  <a:lnTo>
                    <a:pt x="2200610" y="1544356"/>
                  </a:lnTo>
                  <a:lnTo>
                    <a:pt x="2201791" y="1543648"/>
                  </a:lnTo>
                  <a:close/>
                  <a:moveTo>
                    <a:pt x="1939600" y="1534624"/>
                  </a:moveTo>
                  <a:lnTo>
                    <a:pt x="1938958" y="1536981"/>
                  </a:lnTo>
                  <a:lnTo>
                    <a:pt x="1936742" y="1538978"/>
                  </a:lnTo>
                  <a:lnTo>
                    <a:pt x="1935643" y="1539117"/>
                  </a:lnTo>
                  <a:lnTo>
                    <a:pt x="1935138" y="1538923"/>
                  </a:lnTo>
                  <a:lnTo>
                    <a:pt x="1935748" y="1537633"/>
                  </a:lnTo>
                  <a:lnTo>
                    <a:pt x="1935677" y="1535390"/>
                  </a:lnTo>
                  <a:lnTo>
                    <a:pt x="1937507" y="1535085"/>
                  </a:lnTo>
                  <a:lnTo>
                    <a:pt x="1938174" y="1535286"/>
                  </a:lnTo>
                  <a:close/>
                  <a:moveTo>
                    <a:pt x="1939813" y="1530517"/>
                  </a:moveTo>
                  <a:lnTo>
                    <a:pt x="1940294" y="1530737"/>
                  </a:lnTo>
                  <a:lnTo>
                    <a:pt x="1940425" y="1532292"/>
                  </a:lnTo>
                  <a:lnTo>
                    <a:pt x="1937503" y="1533963"/>
                  </a:lnTo>
                  <a:lnTo>
                    <a:pt x="1938785" y="1531448"/>
                  </a:lnTo>
                  <a:lnTo>
                    <a:pt x="1939322" y="1530798"/>
                  </a:lnTo>
                  <a:close/>
                  <a:moveTo>
                    <a:pt x="441704" y="1500853"/>
                  </a:moveTo>
                  <a:lnTo>
                    <a:pt x="442404" y="1500974"/>
                  </a:lnTo>
                  <a:lnTo>
                    <a:pt x="444606" y="1502761"/>
                  </a:lnTo>
                  <a:lnTo>
                    <a:pt x="444107" y="1503470"/>
                  </a:lnTo>
                  <a:lnTo>
                    <a:pt x="445751" y="1505178"/>
                  </a:lnTo>
                  <a:lnTo>
                    <a:pt x="446156" y="1506396"/>
                  </a:lnTo>
                  <a:lnTo>
                    <a:pt x="445430" y="1506448"/>
                  </a:lnTo>
                  <a:lnTo>
                    <a:pt x="444368" y="1507286"/>
                  </a:lnTo>
                  <a:lnTo>
                    <a:pt x="443801" y="1507175"/>
                  </a:lnTo>
                  <a:lnTo>
                    <a:pt x="443347" y="1506589"/>
                  </a:lnTo>
                  <a:close/>
                  <a:moveTo>
                    <a:pt x="438993" y="1495311"/>
                  </a:moveTo>
                  <a:lnTo>
                    <a:pt x="444239" y="1499907"/>
                  </a:lnTo>
                  <a:lnTo>
                    <a:pt x="446887" y="1501426"/>
                  </a:lnTo>
                  <a:lnTo>
                    <a:pt x="447028" y="1502149"/>
                  </a:lnTo>
                  <a:lnTo>
                    <a:pt x="446711" y="1502506"/>
                  </a:lnTo>
                  <a:lnTo>
                    <a:pt x="442750" y="1500194"/>
                  </a:lnTo>
                  <a:lnTo>
                    <a:pt x="440099" y="1497161"/>
                  </a:lnTo>
                  <a:close/>
                  <a:moveTo>
                    <a:pt x="1913868" y="1489703"/>
                  </a:moveTo>
                  <a:lnTo>
                    <a:pt x="1917094" y="1489838"/>
                  </a:lnTo>
                  <a:lnTo>
                    <a:pt x="1931289" y="1492144"/>
                  </a:lnTo>
                  <a:lnTo>
                    <a:pt x="1938100" y="1494995"/>
                  </a:lnTo>
                  <a:lnTo>
                    <a:pt x="1945857" y="1500981"/>
                  </a:lnTo>
                  <a:lnTo>
                    <a:pt x="1947013" y="1502558"/>
                  </a:lnTo>
                  <a:lnTo>
                    <a:pt x="1947201" y="1504760"/>
                  </a:lnTo>
                  <a:lnTo>
                    <a:pt x="1943095" y="1503690"/>
                  </a:lnTo>
                  <a:lnTo>
                    <a:pt x="1939470" y="1503620"/>
                  </a:lnTo>
                  <a:lnTo>
                    <a:pt x="1941984" y="1504844"/>
                  </a:lnTo>
                  <a:lnTo>
                    <a:pt x="1946255" y="1508515"/>
                  </a:lnTo>
                  <a:lnTo>
                    <a:pt x="1946061" y="1513100"/>
                  </a:lnTo>
                  <a:lnTo>
                    <a:pt x="1943650" y="1517237"/>
                  </a:lnTo>
                  <a:lnTo>
                    <a:pt x="1936440" y="1519275"/>
                  </a:lnTo>
                  <a:lnTo>
                    <a:pt x="1934600" y="1520896"/>
                  </a:lnTo>
                  <a:lnTo>
                    <a:pt x="1933110" y="1523574"/>
                  </a:lnTo>
                  <a:lnTo>
                    <a:pt x="1931651" y="1524598"/>
                  </a:lnTo>
                  <a:lnTo>
                    <a:pt x="1928155" y="1525786"/>
                  </a:lnTo>
                  <a:lnTo>
                    <a:pt x="1926224" y="1527523"/>
                  </a:lnTo>
                  <a:lnTo>
                    <a:pt x="1920561" y="1530275"/>
                  </a:lnTo>
                  <a:lnTo>
                    <a:pt x="1918010" y="1530602"/>
                  </a:lnTo>
                  <a:lnTo>
                    <a:pt x="1915072" y="1529943"/>
                  </a:lnTo>
                  <a:lnTo>
                    <a:pt x="1908003" y="1527348"/>
                  </a:lnTo>
                  <a:lnTo>
                    <a:pt x="1903641" y="1524845"/>
                  </a:lnTo>
                  <a:lnTo>
                    <a:pt x="1901464" y="1526212"/>
                  </a:lnTo>
                  <a:lnTo>
                    <a:pt x="1899675" y="1527638"/>
                  </a:lnTo>
                  <a:lnTo>
                    <a:pt x="1895478" y="1527163"/>
                  </a:lnTo>
                  <a:lnTo>
                    <a:pt x="1893561" y="1527793"/>
                  </a:lnTo>
                  <a:lnTo>
                    <a:pt x="1890399" y="1527090"/>
                  </a:lnTo>
                  <a:lnTo>
                    <a:pt x="1883922" y="1530235"/>
                  </a:lnTo>
                  <a:lnTo>
                    <a:pt x="1885769" y="1530603"/>
                  </a:lnTo>
                  <a:lnTo>
                    <a:pt x="1890910" y="1528796"/>
                  </a:lnTo>
                  <a:lnTo>
                    <a:pt x="1892664" y="1529000"/>
                  </a:lnTo>
                  <a:lnTo>
                    <a:pt x="1896453" y="1531332"/>
                  </a:lnTo>
                  <a:lnTo>
                    <a:pt x="1905602" y="1533839"/>
                  </a:lnTo>
                  <a:lnTo>
                    <a:pt x="1907977" y="1535496"/>
                  </a:lnTo>
                  <a:lnTo>
                    <a:pt x="1910240" y="1540777"/>
                  </a:lnTo>
                  <a:lnTo>
                    <a:pt x="1911742" y="1541620"/>
                  </a:lnTo>
                  <a:lnTo>
                    <a:pt x="1914880" y="1541072"/>
                  </a:lnTo>
                  <a:lnTo>
                    <a:pt x="1918417" y="1538462"/>
                  </a:lnTo>
                  <a:lnTo>
                    <a:pt x="1921353" y="1537063"/>
                  </a:lnTo>
                  <a:lnTo>
                    <a:pt x="1927097" y="1535914"/>
                  </a:lnTo>
                  <a:lnTo>
                    <a:pt x="1925963" y="1537651"/>
                  </a:lnTo>
                  <a:lnTo>
                    <a:pt x="1930334" y="1537516"/>
                  </a:lnTo>
                  <a:lnTo>
                    <a:pt x="1934664" y="1539851"/>
                  </a:lnTo>
                  <a:lnTo>
                    <a:pt x="1933064" y="1541507"/>
                  </a:lnTo>
                  <a:lnTo>
                    <a:pt x="1930888" y="1544845"/>
                  </a:lnTo>
                  <a:lnTo>
                    <a:pt x="1929365" y="1551319"/>
                  </a:lnTo>
                  <a:lnTo>
                    <a:pt x="1924955" y="1555649"/>
                  </a:lnTo>
                  <a:lnTo>
                    <a:pt x="1919053" y="1559900"/>
                  </a:lnTo>
                  <a:lnTo>
                    <a:pt x="1920541" y="1560924"/>
                  </a:lnTo>
                  <a:lnTo>
                    <a:pt x="1922268" y="1561554"/>
                  </a:lnTo>
                  <a:lnTo>
                    <a:pt x="1926065" y="1560296"/>
                  </a:lnTo>
                  <a:lnTo>
                    <a:pt x="1928599" y="1560381"/>
                  </a:lnTo>
                  <a:lnTo>
                    <a:pt x="1931414" y="1561194"/>
                  </a:lnTo>
                  <a:lnTo>
                    <a:pt x="1930541" y="1564491"/>
                  </a:lnTo>
                  <a:lnTo>
                    <a:pt x="1929529" y="1566725"/>
                  </a:lnTo>
                  <a:lnTo>
                    <a:pt x="1930117" y="1568805"/>
                  </a:lnTo>
                  <a:lnTo>
                    <a:pt x="1931787" y="1572769"/>
                  </a:lnTo>
                  <a:lnTo>
                    <a:pt x="1934090" y="1573637"/>
                  </a:lnTo>
                  <a:lnTo>
                    <a:pt x="1935013" y="1578708"/>
                  </a:lnTo>
                  <a:lnTo>
                    <a:pt x="1936233" y="1581468"/>
                  </a:lnTo>
                  <a:lnTo>
                    <a:pt x="1936069" y="1583681"/>
                  </a:lnTo>
                  <a:lnTo>
                    <a:pt x="1938376" y="1585096"/>
                  </a:lnTo>
                  <a:lnTo>
                    <a:pt x="1938765" y="1587354"/>
                  </a:lnTo>
                  <a:lnTo>
                    <a:pt x="1947124" y="1587993"/>
                  </a:lnTo>
                  <a:lnTo>
                    <a:pt x="1948818" y="1588861"/>
                  </a:lnTo>
                  <a:lnTo>
                    <a:pt x="1954627" y="1589719"/>
                  </a:lnTo>
                  <a:lnTo>
                    <a:pt x="1955725" y="1590341"/>
                  </a:lnTo>
                  <a:lnTo>
                    <a:pt x="1956757" y="1591579"/>
                  </a:lnTo>
                  <a:lnTo>
                    <a:pt x="1951066" y="1594299"/>
                  </a:lnTo>
                  <a:lnTo>
                    <a:pt x="1955673" y="1596265"/>
                  </a:lnTo>
                  <a:lnTo>
                    <a:pt x="1960030" y="1599468"/>
                  </a:lnTo>
                  <a:lnTo>
                    <a:pt x="1963457" y="1598837"/>
                  </a:lnTo>
                  <a:lnTo>
                    <a:pt x="1964940" y="1598940"/>
                  </a:lnTo>
                  <a:lnTo>
                    <a:pt x="1968774" y="1600945"/>
                  </a:lnTo>
                  <a:lnTo>
                    <a:pt x="1969842" y="1601937"/>
                  </a:lnTo>
                  <a:lnTo>
                    <a:pt x="1970428" y="1602819"/>
                  </a:lnTo>
                  <a:lnTo>
                    <a:pt x="1972352" y="1602630"/>
                  </a:lnTo>
                  <a:lnTo>
                    <a:pt x="1975116" y="1601857"/>
                  </a:lnTo>
                  <a:lnTo>
                    <a:pt x="1980114" y="1602048"/>
                  </a:lnTo>
                  <a:lnTo>
                    <a:pt x="1985442" y="1603179"/>
                  </a:lnTo>
                  <a:lnTo>
                    <a:pt x="1984994" y="1604902"/>
                  </a:lnTo>
                  <a:lnTo>
                    <a:pt x="1984189" y="1606094"/>
                  </a:lnTo>
                  <a:lnTo>
                    <a:pt x="1988358" y="1605701"/>
                  </a:lnTo>
                  <a:lnTo>
                    <a:pt x="1990960" y="1606926"/>
                  </a:lnTo>
                  <a:lnTo>
                    <a:pt x="1991867" y="1606337"/>
                  </a:lnTo>
                  <a:lnTo>
                    <a:pt x="1992510" y="1605576"/>
                  </a:lnTo>
                  <a:lnTo>
                    <a:pt x="1997688" y="1603485"/>
                  </a:lnTo>
                  <a:lnTo>
                    <a:pt x="2004336" y="1599146"/>
                  </a:lnTo>
                  <a:lnTo>
                    <a:pt x="2005146" y="1599684"/>
                  </a:lnTo>
                  <a:lnTo>
                    <a:pt x="2005449" y="1601329"/>
                  </a:lnTo>
                  <a:lnTo>
                    <a:pt x="2006321" y="1604011"/>
                  </a:lnTo>
                  <a:lnTo>
                    <a:pt x="2008875" y="1605860"/>
                  </a:lnTo>
                  <a:lnTo>
                    <a:pt x="2011908" y="1606284"/>
                  </a:lnTo>
                  <a:lnTo>
                    <a:pt x="2016082" y="1604870"/>
                  </a:lnTo>
                  <a:lnTo>
                    <a:pt x="2017721" y="1606092"/>
                  </a:lnTo>
                  <a:lnTo>
                    <a:pt x="2019677" y="1608445"/>
                  </a:lnTo>
                  <a:lnTo>
                    <a:pt x="2021540" y="1611523"/>
                  </a:lnTo>
                  <a:lnTo>
                    <a:pt x="2021415" y="1612623"/>
                  </a:lnTo>
                  <a:lnTo>
                    <a:pt x="2019027" y="1613582"/>
                  </a:lnTo>
                  <a:lnTo>
                    <a:pt x="2016876" y="1614964"/>
                  </a:lnTo>
                  <a:lnTo>
                    <a:pt x="2025858" y="1615531"/>
                  </a:lnTo>
                  <a:lnTo>
                    <a:pt x="2026770" y="1616112"/>
                  </a:lnTo>
                  <a:lnTo>
                    <a:pt x="2027765" y="1617320"/>
                  </a:lnTo>
                  <a:lnTo>
                    <a:pt x="2026849" y="1618544"/>
                  </a:lnTo>
                  <a:lnTo>
                    <a:pt x="2026001" y="1619153"/>
                  </a:lnTo>
                  <a:lnTo>
                    <a:pt x="2024372" y="1618441"/>
                  </a:lnTo>
                  <a:lnTo>
                    <a:pt x="2021369" y="1619089"/>
                  </a:lnTo>
                  <a:lnTo>
                    <a:pt x="2018745" y="1620672"/>
                  </a:lnTo>
                  <a:lnTo>
                    <a:pt x="2015940" y="1621553"/>
                  </a:lnTo>
                  <a:lnTo>
                    <a:pt x="2014143" y="1621654"/>
                  </a:lnTo>
                  <a:lnTo>
                    <a:pt x="2012149" y="1622384"/>
                  </a:lnTo>
                  <a:lnTo>
                    <a:pt x="2010328" y="1623515"/>
                  </a:lnTo>
                  <a:lnTo>
                    <a:pt x="2008434" y="1623831"/>
                  </a:lnTo>
                  <a:lnTo>
                    <a:pt x="2002528" y="1626651"/>
                  </a:lnTo>
                  <a:lnTo>
                    <a:pt x="1996488" y="1628469"/>
                  </a:lnTo>
                  <a:lnTo>
                    <a:pt x="1990175" y="1631375"/>
                  </a:lnTo>
                  <a:lnTo>
                    <a:pt x="1983733" y="1633206"/>
                  </a:lnTo>
                  <a:lnTo>
                    <a:pt x="1977045" y="1635404"/>
                  </a:lnTo>
                  <a:lnTo>
                    <a:pt x="1975589" y="1635599"/>
                  </a:lnTo>
                  <a:lnTo>
                    <a:pt x="1973904" y="1635513"/>
                  </a:lnTo>
                  <a:lnTo>
                    <a:pt x="1970085" y="1637660"/>
                  </a:lnTo>
                  <a:lnTo>
                    <a:pt x="1968196" y="1637368"/>
                  </a:lnTo>
                  <a:lnTo>
                    <a:pt x="1966268" y="1637742"/>
                  </a:lnTo>
                  <a:lnTo>
                    <a:pt x="1964050" y="1637270"/>
                  </a:lnTo>
                  <a:lnTo>
                    <a:pt x="1962536" y="1636391"/>
                  </a:lnTo>
                  <a:lnTo>
                    <a:pt x="1963697" y="1638658"/>
                  </a:lnTo>
                  <a:lnTo>
                    <a:pt x="1964037" y="1640744"/>
                  </a:lnTo>
                  <a:lnTo>
                    <a:pt x="1963457" y="1641658"/>
                  </a:lnTo>
                  <a:lnTo>
                    <a:pt x="1962391" y="1642734"/>
                  </a:lnTo>
                  <a:lnTo>
                    <a:pt x="1958553" y="1642533"/>
                  </a:lnTo>
                  <a:lnTo>
                    <a:pt x="1957044" y="1641778"/>
                  </a:lnTo>
                  <a:lnTo>
                    <a:pt x="1955251" y="1640664"/>
                  </a:lnTo>
                  <a:lnTo>
                    <a:pt x="1954430" y="1638869"/>
                  </a:lnTo>
                  <a:lnTo>
                    <a:pt x="1952503" y="1637587"/>
                  </a:lnTo>
                  <a:lnTo>
                    <a:pt x="1951357" y="1639367"/>
                  </a:lnTo>
                  <a:lnTo>
                    <a:pt x="1951364" y="1640694"/>
                  </a:lnTo>
                  <a:lnTo>
                    <a:pt x="1949937" y="1642501"/>
                  </a:lnTo>
                  <a:lnTo>
                    <a:pt x="1948261" y="1639406"/>
                  </a:lnTo>
                  <a:lnTo>
                    <a:pt x="1945241" y="1640539"/>
                  </a:lnTo>
                  <a:lnTo>
                    <a:pt x="1943911" y="1643828"/>
                  </a:lnTo>
                  <a:lnTo>
                    <a:pt x="1944578" y="1644767"/>
                  </a:lnTo>
                  <a:lnTo>
                    <a:pt x="1945505" y="1647279"/>
                  </a:lnTo>
                  <a:lnTo>
                    <a:pt x="1944012" y="1648590"/>
                  </a:lnTo>
                  <a:lnTo>
                    <a:pt x="1942906" y="1648229"/>
                  </a:lnTo>
                  <a:lnTo>
                    <a:pt x="1940609" y="1651912"/>
                  </a:lnTo>
                  <a:lnTo>
                    <a:pt x="1937828" y="1653253"/>
                  </a:lnTo>
                  <a:lnTo>
                    <a:pt x="1934959" y="1657001"/>
                  </a:lnTo>
                  <a:lnTo>
                    <a:pt x="1931560" y="1659854"/>
                  </a:lnTo>
                  <a:lnTo>
                    <a:pt x="1930630" y="1661760"/>
                  </a:lnTo>
                  <a:lnTo>
                    <a:pt x="1924938" y="1666117"/>
                  </a:lnTo>
                  <a:lnTo>
                    <a:pt x="1922776" y="1665987"/>
                  </a:lnTo>
                  <a:lnTo>
                    <a:pt x="1921182" y="1666130"/>
                  </a:lnTo>
                  <a:lnTo>
                    <a:pt x="1918782" y="1667945"/>
                  </a:lnTo>
                  <a:lnTo>
                    <a:pt x="1918409" y="1671608"/>
                  </a:lnTo>
                  <a:lnTo>
                    <a:pt x="1917350" y="1671124"/>
                  </a:lnTo>
                  <a:lnTo>
                    <a:pt x="1916274" y="1671244"/>
                  </a:lnTo>
                  <a:lnTo>
                    <a:pt x="1915718" y="1672393"/>
                  </a:lnTo>
                  <a:lnTo>
                    <a:pt x="1914926" y="1672583"/>
                  </a:lnTo>
                  <a:lnTo>
                    <a:pt x="1912827" y="1671495"/>
                  </a:lnTo>
                  <a:lnTo>
                    <a:pt x="1910355" y="1672089"/>
                  </a:lnTo>
                  <a:lnTo>
                    <a:pt x="1908423" y="1671264"/>
                  </a:lnTo>
                  <a:lnTo>
                    <a:pt x="1905959" y="1665895"/>
                  </a:lnTo>
                  <a:lnTo>
                    <a:pt x="1904650" y="1664011"/>
                  </a:lnTo>
                  <a:lnTo>
                    <a:pt x="1902330" y="1663404"/>
                  </a:lnTo>
                  <a:lnTo>
                    <a:pt x="1901728" y="1664541"/>
                  </a:lnTo>
                  <a:lnTo>
                    <a:pt x="1900828" y="1665653"/>
                  </a:lnTo>
                  <a:lnTo>
                    <a:pt x="1898594" y="1663436"/>
                  </a:lnTo>
                  <a:lnTo>
                    <a:pt x="1896902" y="1655190"/>
                  </a:lnTo>
                  <a:lnTo>
                    <a:pt x="1896888" y="1653197"/>
                  </a:lnTo>
                  <a:lnTo>
                    <a:pt x="1899258" y="1646239"/>
                  </a:lnTo>
                  <a:lnTo>
                    <a:pt x="1905129" y="1639963"/>
                  </a:lnTo>
                  <a:lnTo>
                    <a:pt x="1903256" y="1639752"/>
                  </a:lnTo>
                  <a:lnTo>
                    <a:pt x="1898071" y="1644107"/>
                  </a:lnTo>
                  <a:lnTo>
                    <a:pt x="1898606" y="1643054"/>
                  </a:lnTo>
                  <a:lnTo>
                    <a:pt x="1899485" y="1641955"/>
                  </a:lnTo>
                  <a:lnTo>
                    <a:pt x="1901233" y="1640185"/>
                  </a:lnTo>
                  <a:lnTo>
                    <a:pt x="1903886" y="1638519"/>
                  </a:lnTo>
                  <a:lnTo>
                    <a:pt x="1907419" y="1637547"/>
                  </a:lnTo>
                  <a:lnTo>
                    <a:pt x="1909850" y="1637399"/>
                  </a:lnTo>
                  <a:lnTo>
                    <a:pt x="1911526" y="1636479"/>
                  </a:lnTo>
                  <a:lnTo>
                    <a:pt x="1913953" y="1634846"/>
                  </a:lnTo>
                  <a:lnTo>
                    <a:pt x="1914404" y="1633979"/>
                  </a:lnTo>
                  <a:lnTo>
                    <a:pt x="1912252" y="1634975"/>
                  </a:lnTo>
                  <a:lnTo>
                    <a:pt x="1908674" y="1635957"/>
                  </a:lnTo>
                  <a:lnTo>
                    <a:pt x="1909591" y="1634670"/>
                  </a:lnTo>
                  <a:lnTo>
                    <a:pt x="1910487" y="1633981"/>
                  </a:lnTo>
                  <a:lnTo>
                    <a:pt x="1929600" y="1622689"/>
                  </a:lnTo>
                  <a:lnTo>
                    <a:pt x="1933446" y="1620825"/>
                  </a:lnTo>
                  <a:lnTo>
                    <a:pt x="1941114" y="1618442"/>
                  </a:lnTo>
                  <a:lnTo>
                    <a:pt x="1942179" y="1616881"/>
                  </a:lnTo>
                  <a:lnTo>
                    <a:pt x="1941132" y="1615883"/>
                  </a:lnTo>
                  <a:lnTo>
                    <a:pt x="1944109" y="1616768"/>
                  </a:lnTo>
                  <a:lnTo>
                    <a:pt x="1943863" y="1618060"/>
                  </a:lnTo>
                  <a:lnTo>
                    <a:pt x="1943396" y="1619003"/>
                  </a:lnTo>
                  <a:lnTo>
                    <a:pt x="1943222" y="1620603"/>
                  </a:lnTo>
                  <a:lnTo>
                    <a:pt x="1943513" y="1622142"/>
                  </a:lnTo>
                  <a:lnTo>
                    <a:pt x="1946536" y="1622893"/>
                  </a:lnTo>
                  <a:lnTo>
                    <a:pt x="1949060" y="1625756"/>
                  </a:lnTo>
                  <a:lnTo>
                    <a:pt x="1947863" y="1621867"/>
                  </a:lnTo>
                  <a:lnTo>
                    <a:pt x="1950133" y="1619666"/>
                  </a:lnTo>
                  <a:lnTo>
                    <a:pt x="1958877" y="1616718"/>
                  </a:lnTo>
                  <a:lnTo>
                    <a:pt x="1966182" y="1616397"/>
                  </a:lnTo>
                  <a:lnTo>
                    <a:pt x="1968520" y="1615023"/>
                  </a:lnTo>
                  <a:lnTo>
                    <a:pt x="1962271" y="1614100"/>
                  </a:lnTo>
                  <a:lnTo>
                    <a:pt x="1954868" y="1614603"/>
                  </a:lnTo>
                  <a:lnTo>
                    <a:pt x="1950286" y="1613573"/>
                  </a:lnTo>
                  <a:lnTo>
                    <a:pt x="1943965" y="1614245"/>
                  </a:lnTo>
                  <a:lnTo>
                    <a:pt x="1937276" y="1613599"/>
                  </a:lnTo>
                  <a:lnTo>
                    <a:pt x="1935225" y="1614452"/>
                  </a:lnTo>
                  <a:lnTo>
                    <a:pt x="1933562" y="1616295"/>
                  </a:lnTo>
                  <a:lnTo>
                    <a:pt x="1931401" y="1615481"/>
                  </a:lnTo>
                  <a:lnTo>
                    <a:pt x="1930356" y="1615345"/>
                  </a:lnTo>
                  <a:lnTo>
                    <a:pt x="1929348" y="1614708"/>
                  </a:lnTo>
                  <a:lnTo>
                    <a:pt x="1931516" y="1611537"/>
                  </a:lnTo>
                  <a:lnTo>
                    <a:pt x="1938295" y="1606811"/>
                  </a:lnTo>
                  <a:lnTo>
                    <a:pt x="1942427" y="1602696"/>
                  </a:lnTo>
                  <a:lnTo>
                    <a:pt x="1943592" y="1601832"/>
                  </a:lnTo>
                  <a:lnTo>
                    <a:pt x="1944517" y="1600173"/>
                  </a:lnTo>
                  <a:lnTo>
                    <a:pt x="1942250" y="1600451"/>
                  </a:lnTo>
                  <a:lnTo>
                    <a:pt x="1940268" y="1601101"/>
                  </a:lnTo>
                  <a:lnTo>
                    <a:pt x="1938896" y="1599196"/>
                  </a:lnTo>
                  <a:lnTo>
                    <a:pt x="1936452" y="1596664"/>
                  </a:lnTo>
                  <a:lnTo>
                    <a:pt x="1936216" y="1597718"/>
                  </a:lnTo>
                  <a:lnTo>
                    <a:pt x="1937443" y="1600869"/>
                  </a:lnTo>
                  <a:lnTo>
                    <a:pt x="1932755" y="1606402"/>
                  </a:lnTo>
                  <a:lnTo>
                    <a:pt x="1929728" y="1606796"/>
                  </a:lnTo>
                  <a:lnTo>
                    <a:pt x="1925686" y="1609372"/>
                  </a:lnTo>
                  <a:lnTo>
                    <a:pt x="1919980" y="1611614"/>
                  </a:lnTo>
                  <a:lnTo>
                    <a:pt x="1913319" y="1615888"/>
                  </a:lnTo>
                  <a:lnTo>
                    <a:pt x="1904712" y="1619484"/>
                  </a:lnTo>
                  <a:lnTo>
                    <a:pt x="1902908" y="1619498"/>
                  </a:lnTo>
                  <a:lnTo>
                    <a:pt x="1899000" y="1616539"/>
                  </a:lnTo>
                  <a:lnTo>
                    <a:pt x="1900093" y="1615191"/>
                  </a:lnTo>
                  <a:lnTo>
                    <a:pt x="1901109" y="1613362"/>
                  </a:lnTo>
                  <a:lnTo>
                    <a:pt x="1900138" y="1613889"/>
                  </a:lnTo>
                  <a:lnTo>
                    <a:pt x="1899507" y="1614682"/>
                  </a:lnTo>
                  <a:lnTo>
                    <a:pt x="1897149" y="1615955"/>
                  </a:lnTo>
                  <a:lnTo>
                    <a:pt x="1899062" y="1618414"/>
                  </a:lnTo>
                  <a:lnTo>
                    <a:pt x="1898138" y="1619336"/>
                  </a:lnTo>
                  <a:lnTo>
                    <a:pt x="1895404" y="1620548"/>
                  </a:lnTo>
                  <a:lnTo>
                    <a:pt x="1892858" y="1622301"/>
                  </a:lnTo>
                  <a:lnTo>
                    <a:pt x="1890630" y="1623471"/>
                  </a:lnTo>
                  <a:lnTo>
                    <a:pt x="1888828" y="1621982"/>
                  </a:lnTo>
                  <a:lnTo>
                    <a:pt x="1883851" y="1623863"/>
                  </a:lnTo>
                  <a:lnTo>
                    <a:pt x="1879661" y="1624368"/>
                  </a:lnTo>
                  <a:lnTo>
                    <a:pt x="1878754" y="1623416"/>
                  </a:lnTo>
                  <a:lnTo>
                    <a:pt x="1878488" y="1621911"/>
                  </a:lnTo>
                  <a:lnTo>
                    <a:pt x="1877021" y="1621548"/>
                  </a:lnTo>
                  <a:lnTo>
                    <a:pt x="1874294" y="1621963"/>
                  </a:lnTo>
                  <a:lnTo>
                    <a:pt x="1873261" y="1621163"/>
                  </a:lnTo>
                  <a:lnTo>
                    <a:pt x="1872091" y="1620768"/>
                  </a:lnTo>
                  <a:lnTo>
                    <a:pt x="1871019" y="1620437"/>
                  </a:lnTo>
                  <a:lnTo>
                    <a:pt x="1870097" y="1620179"/>
                  </a:lnTo>
                  <a:lnTo>
                    <a:pt x="1869563" y="1620621"/>
                  </a:lnTo>
                  <a:lnTo>
                    <a:pt x="1869056" y="1621210"/>
                  </a:lnTo>
                  <a:lnTo>
                    <a:pt x="1868432" y="1621654"/>
                  </a:lnTo>
                  <a:lnTo>
                    <a:pt x="1867122" y="1621027"/>
                  </a:lnTo>
                  <a:lnTo>
                    <a:pt x="1866289" y="1619884"/>
                  </a:lnTo>
                  <a:lnTo>
                    <a:pt x="1864951" y="1618706"/>
                  </a:lnTo>
                  <a:lnTo>
                    <a:pt x="1864444" y="1617819"/>
                  </a:lnTo>
                  <a:lnTo>
                    <a:pt x="1864713" y="1616787"/>
                  </a:lnTo>
                  <a:lnTo>
                    <a:pt x="1865307" y="1615791"/>
                  </a:lnTo>
                  <a:lnTo>
                    <a:pt x="1865576" y="1614611"/>
                  </a:lnTo>
                  <a:lnTo>
                    <a:pt x="1864921" y="1613247"/>
                  </a:lnTo>
                  <a:lnTo>
                    <a:pt x="1864326" y="1612471"/>
                  </a:lnTo>
                  <a:lnTo>
                    <a:pt x="1863909" y="1611583"/>
                  </a:lnTo>
                  <a:lnTo>
                    <a:pt x="1864058" y="1610735"/>
                  </a:lnTo>
                  <a:lnTo>
                    <a:pt x="1864891" y="1610326"/>
                  </a:lnTo>
                  <a:lnTo>
                    <a:pt x="1865665" y="1609808"/>
                  </a:lnTo>
                  <a:lnTo>
                    <a:pt x="1865932" y="1608700"/>
                  </a:lnTo>
                  <a:lnTo>
                    <a:pt x="1865456" y="1607517"/>
                  </a:lnTo>
                  <a:lnTo>
                    <a:pt x="1864087" y="1607034"/>
                  </a:lnTo>
                  <a:lnTo>
                    <a:pt x="1862956" y="1607219"/>
                  </a:lnTo>
                  <a:lnTo>
                    <a:pt x="1861320" y="1606961"/>
                  </a:lnTo>
                  <a:lnTo>
                    <a:pt x="1859744" y="1606221"/>
                  </a:lnTo>
                  <a:lnTo>
                    <a:pt x="1858703" y="1605369"/>
                  </a:lnTo>
                  <a:lnTo>
                    <a:pt x="1857899" y="1604886"/>
                  </a:lnTo>
                  <a:lnTo>
                    <a:pt x="1857274" y="1604886"/>
                  </a:lnTo>
                  <a:lnTo>
                    <a:pt x="1856530" y="1604406"/>
                  </a:lnTo>
                  <a:lnTo>
                    <a:pt x="1856084" y="1603591"/>
                  </a:lnTo>
                  <a:lnTo>
                    <a:pt x="1856144" y="1602256"/>
                  </a:lnTo>
                  <a:lnTo>
                    <a:pt x="1856351" y="1601442"/>
                  </a:lnTo>
                  <a:lnTo>
                    <a:pt x="1856768" y="1600736"/>
                  </a:lnTo>
                  <a:lnTo>
                    <a:pt x="1856797" y="1599957"/>
                  </a:lnTo>
                  <a:lnTo>
                    <a:pt x="1856620" y="1599399"/>
                  </a:lnTo>
                  <a:lnTo>
                    <a:pt x="1856591" y="1598957"/>
                  </a:lnTo>
                  <a:lnTo>
                    <a:pt x="1856708" y="1598399"/>
                  </a:lnTo>
                  <a:lnTo>
                    <a:pt x="1856977" y="1597286"/>
                  </a:lnTo>
                  <a:lnTo>
                    <a:pt x="1856530" y="1596470"/>
                  </a:lnTo>
                  <a:lnTo>
                    <a:pt x="1856484" y="1593639"/>
                  </a:lnTo>
                  <a:lnTo>
                    <a:pt x="1856396" y="1588338"/>
                  </a:lnTo>
                  <a:lnTo>
                    <a:pt x="1856331" y="1584272"/>
                  </a:lnTo>
                  <a:lnTo>
                    <a:pt x="1856248" y="1579151"/>
                  </a:lnTo>
                  <a:lnTo>
                    <a:pt x="1856200" y="1575417"/>
                  </a:lnTo>
                  <a:lnTo>
                    <a:pt x="1856133" y="1570176"/>
                  </a:lnTo>
                  <a:lnTo>
                    <a:pt x="1856069" y="1565196"/>
                  </a:lnTo>
                  <a:lnTo>
                    <a:pt x="1855969" y="1560489"/>
                  </a:lnTo>
                  <a:lnTo>
                    <a:pt x="1852722" y="1557771"/>
                  </a:lnTo>
                  <a:lnTo>
                    <a:pt x="1848616" y="1554331"/>
                  </a:lnTo>
                  <a:lnTo>
                    <a:pt x="1845099" y="1552048"/>
                  </a:lnTo>
                  <a:lnTo>
                    <a:pt x="1843187" y="1551774"/>
                  </a:lnTo>
                  <a:lnTo>
                    <a:pt x="1841992" y="1552094"/>
                  </a:lnTo>
                  <a:lnTo>
                    <a:pt x="1841513" y="1553005"/>
                  </a:lnTo>
                  <a:lnTo>
                    <a:pt x="1838889" y="1553980"/>
                  </a:lnTo>
                  <a:lnTo>
                    <a:pt x="1834118" y="1555017"/>
                  </a:lnTo>
                  <a:lnTo>
                    <a:pt x="1830057" y="1556626"/>
                  </a:lnTo>
                  <a:lnTo>
                    <a:pt x="1828569" y="1556642"/>
                  </a:lnTo>
                  <a:lnTo>
                    <a:pt x="1827306" y="1556373"/>
                  </a:lnTo>
                  <a:lnTo>
                    <a:pt x="1825634" y="1555565"/>
                  </a:lnTo>
                  <a:lnTo>
                    <a:pt x="1824482" y="1554370"/>
                  </a:lnTo>
                  <a:lnTo>
                    <a:pt x="1824085" y="1552299"/>
                  </a:lnTo>
                  <a:lnTo>
                    <a:pt x="1824440" y="1549455"/>
                  </a:lnTo>
                  <a:lnTo>
                    <a:pt x="1822005" y="1548872"/>
                  </a:lnTo>
                  <a:lnTo>
                    <a:pt x="1819555" y="1548286"/>
                  </a:lnTo>
                  <a:lnTo>
                    <a:pt x="1818052" y="1550248"/>
                  </a:lnTo>
                  <a:lnTo>
                    <a:pt x="1816614" y="1551898"/>
                  </a:lnTo>
                  <a:lnTo>
                    <a:pt x="1813759" y="1555493"/>
                  </a:lnTo>
                  <a:lnTo>
                    <a:pt x="1809745" y="1560536"/>
                  </a:lnTo>
                  <a:lnTo>
                    <a:pt x="1807519" y="1563305"/>
                  </a:lnTo>
                  <a:lnTo>
                    <a:pt x="1803610" y="1568163"/>
                  </a:lnTo>
                  <a:lnTo>
                    <a:pt x="1800162" y="1572441"/>
                  </a:lnTo>
                  <a:lnTo>
                    <a:pt x="1799388" y="1576825"/>
                  </a:lnTo>
                  <a:lnTo>
                    <a:pt x="1798654" y="1580975"/>
                  </a:lnTo>
                  <a:lnTo>
                    <a:pt x="1795801" y="1584130"/>
                  </a:lnTo>
                  <a:lnTo>
                    <a:pt x="1794062" y="1587019"/>
                  </a:lnTo>
                  <a:lnTo>
                    <a:pt x="1793285" y="1590221"/>
                  </a:lnTo>
                  <a:lnTo>
                    <a:pt x="1792636" y="1593157"/>
                  </a:lnTo>
                  <a:lnTo>
                    <a:pt x="1792587" y="1595613"/>
                  </a:lnTo>
                  <a:lnTo>
                    <a:pt x="1793077" y="1596901"/>
                  </a:lnTo>
                  <a:lnTo>
                    <a:pt x="1792846" y="1597946"/>
                  </a:lnTo>
                  <a:lnTo>
                    <a:pt x="1791902" y="1599149"/>
                  </a:lnTo>
                  <a:lnTo>
                    <a:pt x="1790016" y="1601241"/>
                  </a:lnTo>
                  <a:lnTo>
                    <a:pt x="1789680" y="1603252"/>
                  </a:lnTo>
                  <a:lnTo>
                    <a:pt x="1788526" y="1604244"/>
                  </a:lnTo>
                  <a:lnTo>
                    <a:pt x="1785235" y="1606227"/>
                  </a:lnTo>
                  <a:lnTo>
                    <a:pt x="1782551" y="1609148"/>
                  </a:lnTo>
                  <a:lnTo>
                    <a:pt x="1782420" y="1610801"/>
                  </a:lnTo>
                  <a:lnTo>
                    <a:pt x="1782808" y="1612173"/>
                  </a:lnTo>
                  <a:lnTo>
                    <a:pt x="1782866" y="1613024"/>
                  </a:lnTo>
                  <a:lnTo>
                    <a:pt x="1782331" y="1613618"/>
                  </a:lnTo>
                  <a:lnTo>
                    <a:pt x="1781256" y="1613579"/>
                  </a:lnTo>
                  <a:lnTo>
                    <a:pt x="1780093" y="1613764"/>
                  </a:lnTo>
                  <a:lnTo>
                    <a:pt x="1779114" y="1614980"/>
                  </a:lnTo>
                  <a:lnTo>
                    <a:pt x="1779139" y="1616725"/>
                  </a:lnTo>
                  <a:lnTo>
                    <a:pt x="1778424" y="1617982"/>
                  </a:lnTo>
                  <a:lnTo>
                    <a:pt x="1777588" y="1618241"/>
                  </a:lnTo>
                  <a:lnTo>
                    <a:pt x="1776871" y="1617352"/>
                  </a:lnTo>
                  <a:lnTo>
                    <a:pt x="1776011" y="1616020"/>
                  </a:lnTo>
                  <a:lnTo>
                    <a:pt x="1775003" y="1615889"/>
                  </a:lnTo>
                  <a:lnTo>
                    <a:pt x="1773473" y="1616773"/>
                  </a:lnTo>
                  <a:lnTo>
                    <a:pt x="1771586" y="1618229"/>
                  </a:lnTo>
                  <a:lnTo>
                    <a:pt x="1769889" y="1618306"/>
                  </a:lnTo>
                  <a:lnTo>
                    <a:pt x="1766702" y="1617372"/>
                  </a:lnTo>
                  <a:lnTo>
                    <a:pt x="1764375" y="1620193"/>
                  </a:lnTo>
                  <a:lnTo>
                    <a:pt x="1761879" y="1626241"/>
                  </a:lnTo>
                  <a:lnTo>
                    <a:pt x="1751327" y="1626257"/>
                  </a:lnTo>
                  <a:lnTo>
                    <a:pt x="1740776" y="1626272"/>
                  </a:lnTo>
                  <a:lnTo>
                    <a:pt x="1730224" y="1626287"/>
                  </a:lnTo>
                  <a:lnTo>
                    <a:pt x="1719673" y="1626303"/>
                  </a:lnTo>
                  <a:lnTo>
                    <a:pt x="1709122" y="1626316"/>
                  </a:lnTo>
                  <a:lnTo>
                    <a:pt x="1698570" y="1626331"/>
                  </a:lnTo>
                  <a:lnTo>
                    <a:pt x="1688019" y="1626346"/>
                  </a:lnTo>
                  <a:lnTo>
                    <a:pt x="1682114" y="1626355"/>
                  </a:lnTo>
                  <a:lnTo>
                    <a:pt x="1680957" y="1626358"/>
                  </a:lnTo>
                  <a:lnTo>
                    <a:pt x="1684572" y="1625173"/>
                  </a:lnTo>
                  <a:lnTo>
                    <a:pt x="1692110" y="1620571"/>
                  </a:lnTo>
                  <a:lnTo>
                    <a:pt x="1697670" y="1618903"/>
                  </a:lnTo>
                  <a:lnTo>
                    <a:pt x="1704900" y="1614059"/>
                  </a:lnTo>
                  <a:lnTo>
                    <a:pt x="1710137" y="1613126"/>
                  </a:lnTo>
                  <a:lnTo>
                    <a:pt x="1711133" y="1612059"/>
                  </a:lnTo>
                  <a:lnTo>
                    <a:pt x="1712012" y="1608032"/>
                  </a:lnTo>
                  <a:lnTo>
                    <a:pt x="1712490" y="1606596"/>
                  </a:lnTo>
                  <a:lnTo>
                    <a:pt x="1714936" y="1602634"/>
                  </a:lnTo>
                  <a:lnTo>
                    <a:pt x="1717872" y="1599288"/>
                  </a:lnTo>
                  <a:lnTo>
                    <a:pt x="1720242" y="1594657"/>
                  </a:lnTo>
                  <a:lnTo>
                    <a:pt x="1724543" y="1591692"/>
                  </a:lnTo>
                  <a:lnTo>
                    <a:pt x="1731047" y="1589211"/>
                  </a:lnTo>
                  <a:lnTo>
                    <a:pt x="1737063" y="1583786"/>
                  </a:lnTo>
                  <a:lnTo>
                    <a:pt x="1740360" y="1582130"/>
                  </a:lnTo>
                  <a:lnTo>
                    <a:pt x="1743555" y="1580943"/>
                  </a:lnTo>
                  <a:lnTo>
                    <a:pt x="1744897" y="1578733"/>
                  </a:lnTo>
                  <a:lnTo>
                    <a:pt x="1746874" y="1577470"/>
                  </a:lnTo>
                  <a:lnTo>
                    <a:pt x="1752157" y="1574897"/>
                  </a:lnTo>
                  <a:lnTo>
                    <a:pt x="1757980" y="1574201"/>
                  </a:lnTo>
                  <a:lnTo>
                    <a:pt x="1763864" y="1572064"/>
                  </a:lnTo>
                  <a:lnTo>
                    <a:pt x="1768378" y="1570931"/>
                  </a:lnTo>
                  <a:lnTo>
                    <a:pt x="1771147" y="1568924"/>
                  </a:lnTo>
                  <a:lnTo>
                    <a:pt x="1775172" y="1567867"/>
                  </a:lnTo>
                  <a:lnTo>
                    <a:pt x="1787185" y="1562099"/>
                  </a:lnTo>
                  <a:lnTo>
                    <a:pt x="1790517" y="1559395"/>
                  </a:lnTo>
                  <a:lnTo>
                    <a:pt x="1794836" y="1553849"/>
                  </a:lnTo>
                  <a:lnTo>
                    <a:pt x="1798593" y="1551025"/>
                  </a:lnTo>
                  <a:lnTo>
                    <a:pt x="1799922" y="1548014"/>
                  </a:lnTo>
                  <a:lnTo>
                    <a:pt x="1805372" y="1543121"/>
                  </a:lnTo>
                  <a:lnTo>
                    <a:pt x="1810980" y="1536661"/>
                  </a:lnTo>
                  <a:lnTo>
                    <a:pt x="1813769" y="1532020"/>
                  </a:lnTo>
                  <a:lnTo>
                    <a:pt x="1817945" y="1529440"/>
                  </a:lnTo>
                  <a:lnTo>
                    <a:pt x="1826041" y="1522051"/>
                  </a:lnTo>
                  <a:lnTo>
                    <a:pt x="1830387" y="1519096"/>
                  </a:lnTo>
                  <a:lnTo>
                    <a:pt x="1832153" y="1518758"/>
                  </a:lnTo>
                  <a:lnTo>
                    <a:pt x="1837074" y="1516128"/>
                  </a:lnTo>
                  <a:lnTo>
                    <a:pt x="1840129" y="1513383"/>
                  </a:lnTo>
                  <a:lnTo>
                    <a:pt x="1845031" y="1510624"/>
                  </a:lnTo>
                  <a:lnTo>
                    <a:pt x="1853885" y="1507217"/>
                  </a:lnTo>
                  <a:lnTo>
                    <a:pt x="1862204" y="1503135"/>
                  </a:lnTo>
                  <a:lnTo>
                    <a:pt x="1873448" y="1499598"/>
                  </a:lnTo>
                  <a:lnTo>
                    <a:pt x="1886617" y="1494288"/>
                  </a:lnTo>
                  <a:lnTo>
                    <a:pt x="1897265" y="1491444"/>
                  </a:lnTo>
                  <a:lnTo>
                    <a:pt x="1904754" y="1491032"/>
                  </a:lnTo>
                  <a:close/>
                  <a:moveTo>
                    <a:pt x="375112" y="1485971"/>
                  </a:moveTo>
                  <a:lnTo>
                    <a:pt x="377476" y="1486456"/>
                  </a:lnTo>
                  <a:lnTo>
                    <a:pt x="378065" y="1486818"/>
                  </a:lnTo>
                  <a:lnTo>
                    <a:pt x="378777" y="1489786"/>
                  </a:lnTo>
                  <a:lnTo>
                    <a:pt x="375663" y="1489310"/>
                  </a:lnTo>
                  <a:lnTo>
                    <a:pt x="374577" y="1488735"/>
                  </a:lnTo>
                  <a:lnTo>
                    <a:pt x="374531" y="1487309"/>
                  </a:lnTo>
                  <a:close/>
                  <a:moveTo>
                    <a:pt x="2191880" y="1477687"/>
                  </a:moveTo>
                  <a:lnTo>
                    <a:pt x="2192425" y="1478067"/>
                  </a:lnTo>
                  <a:lnTo>
                    <a:pt x="2192002" y="1479092"/>
                  </a:lnTo>
                  <a:lnTo>
                    <a:pt x="2188089" y="1481009"/>
                  </a:lnTo>
                  <a:lnTo>
                    <a:pt x="2187199" y="1481763"/>
                  </a:lnTo>
                  <a:lnTo>
                    <a:pt x="2186116" y="1482146"/>
                  </a:lnTo>
                  <a:lnTo>
                    <a:pt x="2185305" y="1481543"/>
                  </a:lnTo>
                  <a:lnTo>
                    <a:pt x="2184163" y="1479514"/>
                  </a:lnTo>
                  <a:lnTo>
                    <a:pt x="2184370" y="1478839"/>
                  </a:lnTo>
                  <a:lnTo>
                    <a:pt x="2185443" y="1478747"/>
                  </a:lnTo>
                  <a:lnTo>
                    <a:pt x="2186060" y="1479015"/>
                  </a:lnTo>
                  <a:lnTo>
                    <a:pt x="2186216" y="1479646"/>
                  </a:lnTo>
                  <a:lnTo>
                    <a:pt x="2186686" y="1479966"/>
                  </a:lnTo>
                  <a:lnTo>
                    <a:pt x="2187471" y="1479973"/>
                  </a:lnTo>
                  <a:lnTo>
                    <a:pt x="2190370" y="1477998"/>
                  </a:lnTo>
                  <a:close/>
                  <a:moveTo>
                    <a:pt x="2202568" y="1473740"/>
                  </a:moveTo>
                  <a:lnTo>
                    <a:pt x="2203684" y="1473963"/>
                  </a:lnTo>
                  <a:lnTo>
                    <a:pt x="2205556" y="1476106"/>
                  </a:lnTo>
                  <a:lnTo>
                    <a:pt x="2206551" y="1476684"/>
                  </a:lnTo>
                  <a:lnTo>
                    <a:pt x="2200016" y="1479000"/>
                  </a:lnTo>
                  <a:lnTo>
                    <a:pt x="2199234" y="1479154"/>
                  </a:lnTo>
                  <a:lnTo>
                    <a:pt x="2198805" y="1478879"/>
                  </a:lnTo>
                  <a:lnTo>
                    <a:pt x="2198738" y="1476721"/>
                  </a:lnTo>
                  <a:lnTo>
                    <a:pt x="2199020" y="1475051"/>
                  </a:lnTo>
                  <a:lnTo>
                    <a:pt x="2199493" y="1474802"/>
                  </a:lnTo>
                  <a:lnTo>
                    <a:pt x="2201005" y="1475808"/>
                  </a:lnTo>
                  <a:close/>
                  <a:moveTo>
                    <a:pt x="415309" y="1472951"/>
                  </a:moveTo>
                  <a:lnTo>
                    <a:pt x="417239" y="1473286"/>
                  </a:lnTo>
                  <a:lnTo>
                    <a:pt x="420426" y="1474513"/>
                  </a:lnTo>
                  <a:lnTo>
                    <a:pt x="423275" y="1476507"/>
                  </a:lnTo>
                  <a:lnTo>
                    <a:pt x="427218" y="1480993"/>
                  </a:lnTo>
                  <a:lnTo>
                    <a:pt x="427569" y="1481678"/>
                  </a:lnTo>
                  <a:lnTo>
                    <a:pt x="421927" y="1479115"/>
                  </a:lnTo>
                  <a:lnTo>
                    <a:pt x="419520" y="1477598"/>
                  </a:lnTo>
                  <a:lnTo>
                    <a:pt x="418589" y="1476501"/>
                  </a:lnTo>
                  <a:lnTo>
                    <a:pt x="417983" y="1475880"/>
                  </a:lnTo>
                  <a:lnTo>
                    <a:pt x="415114" y="1474252"/>
                  </a:lnTo>
                  <a:lnTo>
                    <a:pt x="414636" y="1473504"/>
                  </a:lnTo>
                  <a:close/>
                  <a:moveTo>
                    <a:pt x="359454" y="1469738"/>
                  </a:moveTo>
                  <a:lnTo>
                    <a:pt x="361683" y="1470686"/>
                  </a:lnTo>
                  <a:lnTo>
                    <a:pt x="362698" y="1471848"/>
                  </a:lnTo>
                  <a:lnTo>
                    <a:pt x="363920" y="1473918"/>
                  </a:lnTo>
                  <a:lnTo>
                    <a:pt x="364472" y="1476248"/>
                  </a:lnTo>
                  <a:lnTo>
                    <a:pt x="364533" y="1477842"/>
                  </a:lnTo>
                  <a:lnTo>
                    <a:pt x="364142" y="1478533"/>
                  </a:lnTo>
                  <a:lnTo>
                    <a:pt x="363148" y="1478680"/>
                  </a:lnTo>
                  <a:lnTo>
                    <a:pt x="361550" y="1478281"/>
                  </a:lnTo>
                  <a:lnTo>
                    <a:pt x="359754" y="1477338"/>
                  </a:lnTo>
                  <a:lnTo>
                    <a:pt x="356601" y="1474820"/>
                  </a:lnTo>
                  <a:lnTo>
                    <a:pt x="356280" y="1474251"/>
                  </a:lnTo>
                  <a:lnTo>
                    <a:pt x="356564" y="1473763"/>
                  </a:lnTo>
                  <a:lnTo>
                    <a:pt x="357455" y="1473357"/>
                  </a:lnTo>
                  <a:lnTo>
                    <a:pt x="357658" y="1472693"/>
                  </a:lnTo>
                  <a:lnTo>
                    <a:pt x="356924" y="1470881"/>
                  </a:lnTo>
                  <a:close/>
                  <a:moveTo>
                    <a:pt x="1946316" y="1467356"/>
                  </a:moveTo>
                  <a:lnTo>
                    <a:pt x="1949163" y="1467447"/>
                  </a:lnTo>
                  <a:lnTo>
                    <a:pt x="1958578" y="1469643"/>
                  </a:lnTo>
                  <a:lnTo>
                    <a:pt x="1970450" y="1471571"/>
                  </a:lnTo>
                  <a:lnTo>
                    <a:pt x="1975601" y="1473029"/>
                  </a:lnTo>
                  <a:lnTo>
                    <a:pt x="1981440" y="1475248"/>
                  </a:lnTo>
                  <a:lnTo>
                    <a:pt x="1987147" y="1477937"/>
                  </a:lnTo>
                  <a:lnTo>
                    <a:pt x="1999837" y="1485074"/>
                  </a:lnTo>
                  <a:lnTo>
                    <a:pt x="2002118" y="1485643"/>
                  </a:lnTo>
                  <a:lnTo>
                    <a:pt x="2007847" y="1489132"/>
                  </a:lnTo>
                  <a:lnTo>
                    <a:pt x="2009907" y="1491750"/>
                  </a:lnTo>
                  <a:lnTo>
                    <a:pt x="2010914" y="1493873"/>
                  </a:lnTo>
                  <a:lnTo>
                    <a:pt x="2009663" y="1494962"/>
                  </a:lnTo>
                  <a:lnTo>
                    <a:pt x="2008253" y="1495351"/>
                  </a:lnTo>
                  <a:lnTo>
                    <a:pt x="1997643" y="1495836"/>
                  </a:lnTo>
                  <a:lnTo>
                    <a:pt x="1989196" y="1493812"/>
                  </a:lnTo>
                  <a:lnTo>
                    <a:pt x="1982934" y="1492834"/>
                  </a:lnTo>
                  <a:lnTo>
                    <a:pt x="1976800" y="1491055"/>
                  </a:lnTo>
                  <a:lnTo>
                    <a:pt x="1963505" y="1485330"/>
                  </a:lnTo>
                  <a:lnTo>
                    <a:pt x="1961982" y="1483337"/>
                  </a:lnTo>
                  <a:lnTo>
                    <a:pt x="1960706" y="1480889"/>
                  </a:lnTo>
                  <a:lnTo>
                    <a:pt x="1958161" y="1478659"/>
                  </a:lnTo>
                  <a:lnTo>
                    <a:pt x="1955415" y="1476823"/>
                  </a:lnTo>
                  <a:lnTo>
                    <a:pt x="1941339" y="1471213"/>
                  </a:lnTo>
                  <a:lnTo>
                    <a:pt x="1940193" y="1469255"/>
                  </a:lnTo>
                  <a:lnTo>
                    <a:pt x="1943039" y="1467966"/>
                  </a:lnTo>
                  <a:close/>
                  <a:moveTo>
                    <a:pt x="405989" y="1458319"/>
                  </a:moveTo>
                  <a:lnTo>
                    <a:pt x="407332" y="1460019"/>
                  </a:lnTo>
                  <a:lnTo>
                    <a:pt x="407877" y="1461158"/>
                  </a:lnTo>
                  <a:lnTo>
                    <a:pt x="408103" y="1462735"/>
                  </a:lnTo>
                  <a:lnTo>
                    <a:pt x="408077" y="1463156"/>
                  </a:lnTo>
                  <a:lnTo>
                    <a:pt x="406321" y="1464537"/>
                  </a:lnTo>
                  <a:lnTo>
                    <a:pt x="405717" y="1464829"/>
                  </a:lnTo>
                  <a:lnTo>
                    <a:pt x="405098" y="1461075"/>
                  </a:lnTo>
                  <a:lnTo>
                    <a:pt x="405866" y="1459711"/>
                  </a:lnTo>
                  <a:lnTo>
                    <a:pt x="406085" y="1459025"/>
                  </a:lnTo>
                  <a:close/>
                  <a:moveTo>
                    <a:pt x="399140" y="1451652"/>
                  </a:moveTo>
                  <a:lnTo>
                    <a:pt x="400787" y="1452586"/>
                  </a:lnTo>
                  <a:lnTo>
                    <a:pt x="402219" y="1454249"/>
                  </a:lnTo>
                  <a:lnTo>
                    <a:pt x="402550" y="1454895"/>
                  </a:lnTo>
                  <a:lnTo>
                    <a:pt x="403439" y="1456639"/>
                  </a:lnTo>
                  <a:lnTo>
                    <a:pt x="403881" y="1458203"/>
                  </a:lnTo>
                  <a:lnTo>
                    <a:pt x="402892" y="1460100"/>
                  </a:lnTo>
                  <a:lnTo>
                    <a:pt x="401088" y="1462299"/>
                  </a:lnTo>
                  <a:lnTo>
                    <a:pt x="400810" y="1464048"/>
                  </a:lnTo>
                  <a:lnTo>
                    <a:pt x="399176" y="1461209"/>
                  </a:lnTo>
                  <a:lnTo>
                    <a:pt x="396668" y="1455186"/>
                  </a:lnTo>
                  <a:lnTo>
                    <a:pt x="397001" y="1453776"/>
                  </a:lnTo>
                  <a:lnTo>
                    <a:pt x="398121" y="1451777"/>
                  </a:lnTo>
                  <a:close/>
                  <a:moveTo>
                    <a:pt x="2167335" y="1438870"/>
                  </a:moveTo>
                  <a:lnTo>
                    <a:pt x="2168804" y="1439032"/>
                  </a:lnTo>
                  <a:lnTo>
                    <a:pt x="2168716" y="1439715"/>
                  </a:lnTo>
                  <a:lnTo>
                    <a:pt x="2167929" y="1440844"/>
                  </a:lnTo>
                  <a:lnTo>
                    <a:pt x="2167109" y="1441594"/>
                  </a:lnTo>
                  <a:lnTo>
                    <a:pt x="2166259" y="1441961"/>
                  </a:lnTo>
                  <a:lnTo>
                    <a:pt x="2165470" y="1441950"/>
                  </a:lnTo>
                  <a:lnTo>
                    <a:pt x="2164746" y="1441556"/>
                  </a:lnTo>
                  <a:lnTo>
                    <a:pt x="2164630" y="1440909"/>
                  </a:lnTo>
                  <a:lnTo>
                    <a:pt x="2165376" y="1439556"/>
                  </a:lnTo>
                  <a:close/>
                  <a:moveTo>
                    <a:pt x="331766" y="1436887"/>
                  </a:moveTo>
                  <a:lnTo>
                    <a:pt x="336964" y="1438217"/>
                  </a:lnTo>
                  <a:lnTo>
                    <a:pt x="350041" y="1444239"/>
                  </a:lnTo>
                  <a:lnTo>
                    <a:pt x="362628" y="1448400"/>
                  </a:lnTo>
                  <a:lnTo>
                    <a:pt x="375231" y="1450454"/>
                  </a:lnTo>
                  <a:lnTo>
                    <a:pt x="384478" y="1452883"/>
                  </a:lnTo>
                  <a:lnTo>
                    <a:pt x="390157" y="1453623"/>
                  </a:lnTo>
                  <a:lnTo>
                    <a:pt x="392208" y="1454158"/>
                  </a:lnTo>
                  <a:lnTo>
                    <a:pt x="393534" y="1455011"/>
                  </a:lnTo>
                  <a:lnTo>
                    <a:pt x="395096" y="1457075"/>
                  </a:lnTo>
                  <a:lnTo>
                    <a:pt x="397796" y="1461983"/>
                  </a:lnTo>
                  <a:lnTo>
                    <a:pt x="399844" y="1465112"/>
                  </a:lnTo>
                  <a:lnTo>
                    <a:pt x="404073" y="1470536"/>
                  </a:lnTo>
                  <a:lnTo>
                    <a:pt x="407414" y="1474385"/>
                  </a:lnTo>
                  <a:lnTo>
                    <a:pt x="408175" y="1475912"/>
                  </a:lnTo>
                  <a:lnTo>
                    <a:pt x="407470" y="1476403"/>
                  </a:lnTo>
                  <a:lnTo>
                    <a:pt x="407515" y="1477303"/>
                  </a:lnTo>
                  <a:lnTo>
                    <a:pt x="410052" y="1481028"/>
                  </a:lnTo>
                  <a:lnTo>
                    <a:pt x="414812" y="1484365"/>
                  </a:lnTo>
                  <a:lnTo>
                    <a:pt x="418538" y="1485955"/>
                  </a:lnTo>
                  <a:lnTo>
                    <a:pt x="426400" y="1488573"/>
                  </a:lnTo>
                  <a:lnTo>
                    <a:pt x="431220" y="1491086"/>
                  </a:lnTo>
                  <a:lnTo>
                    <a:pt x="432707" y="1492831"/>
                  </a:lnTo>
                  <a:lnTo>
                    <a:pt x="434803" y="1494522"/>
                  </a:lnTo>
                  <a:lnTo>
                    <a:pt x="435677" y="1495692"/>
                  </a:lnTo>
                  <a:lnTo>
                    <a:pt x="437395" y="1500021"/>
                  </a:lnTo>
                  <a:lnTo>
                    <a:pt x="440583" y="1504178"/>
                  </a:lnTo>
                  <a:lnTo>
                    <a:pt x="443867" y="1512067"/>
                  </a:lnTo>
                  <a:lnTo>
                    <a:pt x="444480" y="1511409"/>
                  </a:lnTo>
                  <a:lnTo>
                    <a:pt x="444858" y="1509059"/>
                  </a:lnTo>
                  <a:lnTo>
                    <a:pt x="445235" y="1508535"/>
                  </a:lnTo>
                  <a:lnTo>
                    <a:pt x="445934" y="1508284"/>
                  </a:lnTo>
                  <a:lnTo>
                    <a:pt x="446583" y="1509196"/>
                  </a:lnTo>
                  <a:lnTo>
                    <a:pt x="447181" y="1511274"/>
                  </a:lnTo>
                  <a:lnTo>
                    <a:pt x="449274" y="1516196"/>
                  </a:lnTo>
                  <a:lnTo>
                    <a:pt x="448592" y="1517632"/>
                  </a:lnTo>
                  <a:lnTo>
                    <a:pt x="447988" y="1517780"/>
                  </a:lnTo>
                  <a:lnTo>
                    <a:pt x="445164" y="1517106"/>
                  </a:lnTo>
                  <a:lnTo>
                    <a:pt x="444182" y="1517988"/>
                  </a:lnTo>
                  <a:lnTo>
                    <a:pt x="442867" y="1519779"/>
                  </a:lnTo>
                  <a:lnTo>
                    <a:pt x="441937" y="1520499"/>
                  </a:lnTo>
                  <a:lnTo>
                    <a:pt x="441392" y="1520150"/>
                  </a:lnTo>
                  <a:lnTo>
                    <a:pt x="433220" y="1518427"/>
                  </a:lnTo>
                  <a:lnTo>
                    <a:pt x="428191" y="1516808"/>
                  </a:lnTo>
                  <a:lnTo>
                    <a:pt x="421573" y="1514244"/>
                  </a:lnTo>
                  <a:lnTo>
                    <a:pt x="413632" y="1511572"/>
                  </a:lnTo>
                  <a:lnTo>
                    <a:pt x="409097" y="1509737"/>
                  </a:lnTo>
                  <a:lnTo>
                    <a:pt x="405320" y="1507851"/>
                  </a:lnTo>
                  <a:lnTo>
                    <a:pt x="402696" y="1506242"/>
                  </a:lnTo>
                  <a:lnTo>
                    <a:pt x="402200" y="1504876"/>
                  </a:lnTo>
                  <a:lnTo>
                    <a:pt x="402317" y="1504230"/>
                  </a:lnTo>
                  <a:lnTo>
                    <a:pt x="407410" y="1499853"/>
                  </a:lnTo>
                  <a:lnTo>
                    <a:pt x="409570" y="1497500"/>
                  </a:lnTo>
                  <a:lnTo>
                    <a:pt x="410396" y="1495699"/>
                  </a:lnTo>
                  <a:lnTo>
                    <a:pt x="410822" y="1493791"/>
                  </a:lnTo>
                  <a:lnTo>
                    <a:pt x="410508" y="1491459"/>
                  </a:lnTo>
                  <a:lnTo>
                    <a:pt x="410302" y="1491641"/>
                  </a:lnTo>
                  <a:lnTo>
                    <a:pt x="409846" y="1493872"/>
                  </a:lnTo>
                  <a:lnTo>
                    <a:pt x="409096" y="1495855"/>
                  </a:lnTo>
                  <a:lnTo>
                    <a:pt x="408180" y="1497411"/>
                  </a:lnTo>
                  <a:lnTo>
                    <a:pt x="407600" y="1497960"/>
                  </a:lnTo>
                  <a:lnTo>
                    <a:pt x="401492" y="1498719"/>
                  </a:lnTo>
                  <a:lnTo>
                    <a:pt x="396559" y="1498483"/>
                  </a:lnTo>
                  <a:lnTo>
                    <a:pt x="394085" y="1500353"/>
                  </a:lnTo>
                  <a:lnTo>
                    <a:pt x="393346" y="1500591"/>
                  </a:lnTo>
                  <a:lnTo>
                    <a:pt x="391986" y="1499968"/>
                  </a:lnTo>
                  <a:lnTo>
                    <a:pt x="389009" y="1497472"/>
                  </a:lnTo>
                  <a:lnTo>
                    <a:pt x="384749" y="1495419"/>
                  </a:lnTo>
                  <a:lnTo>
                    <a:pt x="385169" y="1494915"/>
                  </a:lnTo>
                  <a:lnTo>
                    <a:pt x="387949" y="1493866"/>
                  </a:lnTo>
                  <a:lnTo>
                    <a:pt x="389422" y="1492340"/>
                  </a:lnTo>
                  <a:lnTo>
                    <a:pt x="389158" y="1492097"/>
                  </a:lnTo>
                  <a:lnTo>
                    <a:pt x="388167" y="1492190"/>
                  </a:lnTo>
                  <a:lnTo>
                    <a:pt x="387297" y="1491879"/>
                  </a:lnTo>
                  <a:lnTo>
                    <a:pt x="385563" y="1489899"/>
                  </a:lnTo>
                  <a:lnTo>
                    <a:pt x="384573" y="1489359"/>
                  </a:lnTo>
                  <a:lnTo>
                    <a:pt x="382470" y="1490250"/>
                  </a:lnTo>
                  <a:lnTo>
                    <a:pt x="381626" y="1490298"/>
                  </a:lnTo>
                  <a:lnTo>
                    <a:pt x="380810" y="1488989"/>
                  </a:lnTo>
                  <a:lnTo>
                    <a:pt x="381981" y="1485971"/>
                  </a:lnTo>
                  <a:lnTo>
                    <a:pt x="382039" y="1485259"/>
                  </a:lnTo>
                  <a:lnTo>
                    <a:pt x="379886" y="1486359"/>
                  </a:lnTo>
                  <a:lnTo>
                    <a:pt x="379175" y="1485998"/>
                  </a:lnTo>
                  <a:lnTo>
                    <a:pt x="378502" y="1485018"/>
                  </a:lnTo>
                  <a:lnTo>
                    <a:pt x="377869" y="1484608"/>
                  </a:lnTo>
                  <a:lnTo>
                    <a:pt x="376119" y="1484809"/>
                  </a:lnTo>
                  <a:lnTo>
                    <a:pt x="374223" y="1483904"/>
                  </a:lnTo>
                  <a:lnTo>
                    <a:pt x="373562" y="1484259"/>
                  </a:lnTo>
                  <a:lnTo>
                    <a:pt x="373310" y="1485564"/>
                  </a:lnTo>
                  <a:lnTo>
                    <a:pt x="372680" y="1485898"/>
                  </a:lnTo>
                  <a:lnTo>
                    <a:pt x="369787" y="1483695"/>
                  </a:lnTo>
                  <a:lnTo>
                    <a:pt x="369128" y="1483626"/>
                  </a:lnTo>
                  <a:lnTo>
                    <a:pt x="367726" y="1485310"/>
                  </a:lnTo>
                  <a:lnTo>
                    <a:pt x="367237" y="1485413"/>
                  </a:lnTo>
                  <a:lnTo>
                    <a:pt x="366492" y="1484685"/>
                  </a:lnTo>
                  <a:lnTo>
                    <a:pt x="366107" y="1480594"/>
                  </a:lnTo>
                  <a:lnTo>
                    <a:pt x="366265" y="1479430"/>
                  </a:lnTo>
                  <a:lnTo>
                    <a:pt x="366661" y="1479039"/>
                  </a:lnTo>
                  <a:lnTo>
                    <a:pt x="369173" y="1478090"/>
                  </a:lnTo>
                  <a:lnTo>
                    <a:pt x="376399" y="1477073"/>
                  </a:lnTo>
                  <a:lnTo>
                    <a:pt x="377001" y="1476342"/>
                  </a:lnTo>
                  <a:lnTo>
                    <a:pt x="371588" y="1476721"/>
                  </a:lnTo>
                  <a:lnTo>
                    <a:pt x="370178" y="1476163"/>
                  </a:lnTo>
                  <a:lnTo>
                    <a:pt x="368666" y="1474762"/>
                  </a:lnTo>
                  <a:lnTo>
                    <a:pt x="367083" y="1474783"/>
                  </a:lnTo>
                  <a:lnTo>
                    <a:pt x="366245" y="1474327"/>
                  </a:lnTo>
                  <a:lnTo>
                    <a:pt x="365367" y="1473314"/>
                  </a:lnTo>
                  <a:lnTo>
                    <a:pt x="363079" y="1469603"/>
                  </a:lnTo>
                  <a:lnTo>
                    <a:pt x="361520" y="1468662"/>
                  </a:lnTo>
                  <a:lnTo>
                    <a:pt x="358864" y="1468071"/>
                  </a:lnTo>
                  <a:lnTo>
                    <a:pt x="357496" y="1467365"/>
                  </a:lnTo>
                  <a:lnTo>
                    <a:pt x="356919" y="1467677"/>
                  </a:lnTo>
                  <a:lnTo>
                    <a:pt x="356364" y="1468736"/>
                  </a:lnTo>
                  <a:lnTo>
                    <a:pt x="355625" y="1469393"/>
                  </a:lnTo>
                  <a:lnTo>
                    <a:pt x="353808" y="1469766"/>
                  </a:lnTo>
                  <a:lnTo>
                    <a:pt x="352147" y="1469494"/>
                  </a:lnTo>
                  <a:lnTo>
                    <a:pt x="350847" y="1468479"/>
                  </a:lnTo>
                  <a:lnTo>
                    <a:pt x="350077" y="1467198"/>
                  </a:lnTo>
                  <a:lnTo>
                    <a:pt x="349782" y="1465767"/>
                  </a:lnTo>
                  <a:lnTo>
                    <a:pt x="350502" y="1463851"/>
                  </a:lnTo>
                  <a:lnTo>
                    <a:pt x="350490" y="1463094"/>
                  </a:lnTo>
                  <a:lnTo>
                    <a:pt x="350167" y="1462208"/>
                  </a:lnTo>
                  <a:lnTo>
                    <a:pt x="349576" y="1461492"/>
                  </a:lnTo>
                  <a:lnTo>
                    <a:pt x="348710" y="1460945"/>
                  </a:lnTo>
                  <a:lnTo>
                    <a:pt x="348239" y="1461232"/>
                  </a:lnTo>
                  <a:lnTo>
                    <a:pt x="348159" y="1462351"/>
                  </a:lnTo>
                  <a:lnTo>
                    <a:pt x="347690" y="1463170"/>
                  </a:lnTo>
                  <a:lnTo>
                    <a:pt x="346185" y="1463796"/>
                  </a:lnTo>
                  <a:lnTo>
                    <a:pt x="344954" y="1462701"/>
                  </a:lnTo>
                  <a:lnTo>
                    <a:pt x="344146" y="1461182"/>
                  </a:lnTo>
                  <a:lnTo>
                    <a:pt x="343200" y="1460101"/>
                  </a:lnTo>
                  <a:lnTo>
                    <a:pt x="337933" y="1460105"/>
                  </a:lnTo>
                  <a:lnTo>
                    <a:pt x="335508" y="1461504"/>
                  </a:lnTo>
                  <a:lnTo>
                    <a:pt x="334346" y="1461617"/>
                  </a:lnTo>
                  <a:lnTo>
                    <a:pt x="333139" y="1461285"/>
                  </a:lnTo>
                  <a:lnTo>
                    <a:pt x="332908" y="1460544"/>
                  </a:lnTo>
                  <a:lnTo>
                    <a:pt x="334044" y="1458510"/>
                  </a:lnTo>
                  <a:lnTo>
                    <a:pt x="333766" y="1455794"/>
                  </a:lnTo>
                  <a:lnTo>
                    <a:pt x="333470" y="1455113"/>
                  </a:lnTo>
                  <a:lnTo>
                    <a:pt x="331040" y="1454698"/>
                  </a:lnTo>
                  <a:lnTo>
                    <a:pt x="330627" y="1454041"/>
                  </a:lnTo>
                  <a:lnTo>
                    <a:pt x="332074" y="1450741"/>
                  </a:lnTo>
                  <a:lnTo>
                    <a:pt x="332882" y="1450117"/>
                  </a:lnTo>
                  <a:lnTo>
                    <a:pt x="333960" y="1449882"/>
                  </a:lnTo>
                  <a:lnTo>
                    <a:pt x="338780" y="1449613"/>
                  </a:lnTo>
                  <a:lnTo>
                    <a:pt x="340385" y="1450085"/>
                  </a:lnTo>
                  <a:lnTo>
                    <a:pt x="342708" y="1452090"/>
                  </a:lnTo>
                  <a:lnTo>
                    <a:pt x="342636" y="1451336"/>
                  </a:lnTo>
                  <a:lnTo>
                    <a:pt x="341756" y="1449060"/>
                  </a:lnTo>
                  <a:lnTo>
                    <a:pt x="341631" y="1447693"/>
                  </a:lnTo>
                  <a:lnTo>
                    <a:pt x="343230" y="1446149"/>
                  </a:lnTo>
                  <a:lnTo>
                    <a:pt x="341701" y="1445696"/>
                  </a:lnTo>
                  <a:lnTo>
                    <a:pt x="335989" y="1445340"/>
                  </a:lnTo>
                  <a:lnTo>
                    <a:pt x="336034" y="1446328"/>
                  </a:lnTo>
                  <a:lnTo>
                    <a:pt x="336505" y="1447727"/>
                  </a:lnTo>
                  <a:lnTo>
                    <a:pt x="333118" y="1448955"/>
                  </a:lnTo>
                  <a:lnTo>
                    <a:pt x="330609" y="1449163"/>
                  </a:lnTo>
                  <a:lnTo>
                    <a:pt x="328208" y="1448968"/>
                  </a:lnTo>
                  <a:lnTo>
                    <a:pt x="326248" y="1448233"/>
                  </a:lnTo>
                  <a:lnTo>
                    <a:pt x="322906" y="1445277"/>
                  </a:lnTo>
                  <a:lnTo>
                    <a:pt x="320816" y="1442364"/>
                  </a:lnTo>
                  <a:lnTo>
                    <a:pt x="320913" y="1440773"/>
                  </a:lnTo>
                  <a:lnTo>
                    <a:pt x="322060" y="1439106"/>
                  </a:lnTo>
                  <a:lnTo>
                    <a:pt x="323563" y="1437968"/>
                  </a:lnTo>
                  <a:lnTo>
                    <a:pt x="327119" y="1436980"/>
                  </a:lnTo>
                  <a:close/>
                  <a:moveTo>
                    <a:pt x="2167478" y="1412171"/>
                  </a:moveTo>
                  <a:lnTo>
                    <a:pt x="2168115" y="1412391"/>
                  </a:lnTo>
                  <a:lnTo>
                    <a:pt x="2169212" y="1413320"/>
                  </a:lnTo>
                  <a:lnTo>
                    <a:pt x="2169072" y="1414189"/>
                  </a:lnTo>
                  <a:lnTo>
                    <a:pt x="2167204" y="1417545"/>
                  </a:lnTo>
                  <a:lnTo>
                    <a:pt x="2165911" y="1419174"/>
                  </a:lnTo>
                  <a:lnTo>
                    <a:pt x="2164711" y="1419700"/>
                  </a:lnTo>
                  <a:lnTo>
                    <a:pt x="2162175" y="1420179"/>
                  </a:lnTo>
                  <a:lnTo>
                    <a:pt x="2156840" y="1420706"/>
                  </a:lnTo>
                  <a:lnTo>
                    <a:pt x="2154559" y="1421199"/>
                  </a:lnTo>
                  <a:lnTo>
                    <a:pt x="2154233" y="1423434"/>
                  </a:lnTo>
                  <a:lnTo>
                    <a:pt x="2154570" y="1424610"/>
                  </a:lnTo>
                  <a:lnTo>
                    <a:pt x="2155350" y="1425537"/>
                  </a:lnTo>
                  <a:lnTo>
                    <a:pt x="2156341" y="1425801"/>
                  </a:lnTo>
                  <a:lnTo>
                    <a:pt x="2158554" y="1425247"/>
                  </a:lnTo>
                  <a:lnTo>
                    <a:pt x="2159376" y="1425342"/>
                  </a:lnTo>
                  <a:lnTo>
                    <a:pt x="2160037" y="1425809"/>
                  </a:lnTo>
                  <a:lnTo>
                    <a:pt x="2160533" y="1426648"/>
                  </a:lnTo>
                  <a:lnTo>
                    <a:pt x="2160790" y="1427813"/>
                  </a:lnTo>
                  <a:lnTo>
                    <a:pt x="2160806" y="1429302"/>
                  </a:lnTo>
                  <a:lnTo>
                    <a:pt x="2160419" y="1431105"/>
                  </a:lnTo>
                  <a:lnTo>
                    <a:pt x="2158609" y="1435321"/>
                  </a:lnTo>
                  <a:lnTo>
                    <a:pt x="2156311" y="1437651"/>
                  </a:lnTo>
                  <a:lnTo>
                    <a:pt x="2153366" y="1439547"/>
                  </a:lnTo>
                  <a:lnTo>
                    <a:pt x="2152646" y="1440271"/>
                  </a:lnTo>
                  <a:lnTo>
                    <a:pt x="2152275" y="1441122"/>
                  </a:lnTo>
                  <a:lnTo>
                    <a:pt x="2151908" y="1443886"/>
                  </a:lnTo>
                  <a:lnTo>
                    <a:pt x="2150384" y="1446093"/>
                  </a:lnTo>
                  <a:lnTo>
                    <a:pt x="2145651" y="1451680"/>
                  </a:lnTo>
                  <a:lnTo>
                    <a:pt x="2143827" y="1452909"/>
                  </a:lnTo>
                  <a:lnTo>
                    <a:pt x="2143816" y="1453891"/>
                  </a:lnTo>
                  <a:lnTo>
                    <a:pt x="2143077" y="1456538"/>
                  </a:lnTo>
                  <a:lnTo>
                    <a:pt x="2141671" y="1458666"/>
                  </a:lnTo>
                  <a:lnTo>
                    <a:pt x="2137750" y="1463541"/>
                  </a:lnTo>
                  <a:lnTo>
                    <a:pt x="2136779" y="1465262"/>
                  </a:lnTo>
                  <a:lnTo>
                    <a:pt x="2136341" y="1466624"/>
                  </a:lnTo>
                  <a:lnTo>
                    <a:pt x="2136402" y="1468544"/>
                  </a:lnTo>
                  <a:lnTo>
                    <a:pt x="2136226" y="1469390"/>
                  </a:lnTo>
                  <a:lnTo>
                    <a:pt x="2135328" y="1471015"/>
                  </a:lnTo>
                  <a:lnTo>
                    <a:pt x="2134077" y="1472533"/>
                  </a:lnTo>
                  <a:lnTo>
                    <a:pt x="2133830" y="1473274"/>
                  </a:lnTo>
                  <a:lnTo>
                    <a:pt x="2134323" y="1474618"/>
                  </a:lnTo>
                  <a:lnTo>
                    <a:pt x="2134828" y="1475087"/>
                  </a:lnTo>
                  <a:lnTo>
                    <a:pt x="2134888" y="1476308"/>
                  </a:lnTo>
                  <a:lnTo>
                    <a:pt x="2134500" y="1478282"/>
                  </a:lnTo>
                  <a:lnTo>
                    <a:pt x="2136159" y="1477025"/>
                  </a:lnTo>
                  <a:lnTo>
                    <a:pt x="2139864" y="1472535"/>
                  </a:lnTo>
                  <a:lnTo>
                    <a:pt x="2142646" y="1469829"/>
                  </a:lnTo>
                  <a:lnTo>
                    <a:pt x="2144506" y="1468911"/>
                  </a:lnTo>
                  <a:lnTo>
                    <a:pt x="2145803" y="1467711"/>
                  </a:lnTo>
                  <a:lnTo>
                    <a:pt x="2147188" y="1465061"/>
                  </a:lnTo>
                  <a:lnTo>
                    <a:pt x="2149083" y="1462533"/>
                  </a:lnTo>
                  <a:lnTo>
                    <a:pt x="2150799" y="1461708"/>
                  </a:lnTo>
                  <a:lnTo>
                    <a:pt x="2151585" y="1462193"/>
                  </a:lnTo>
                  <a:lnTo>
                    <a:pt x="2152251" y="1463436"/>
                  </a:lnTo>
                  <a:lnTo>
                    <a:pt x="2152116" y="1465015"/>
                  </a:lnTo>
                  <a:lnTo>
                    <a:pt x="2151185" y="1466930"/>
                  </a:lnTo>
                  <a:lnTo>
                    <a:pt x="2151257" y="1467498"/>
                  </a:lnTo>
                  <a:lnTo>
                    <a:pt x="2153445" y="1466092"/>
                  </a:lnTo>
                  <a:lnTo>
                    <a:pt x="2157199" y="1464928"/>
                  </a:lnTo>
                  <a:lnTo>
                    <a:pt x="2158559" y="1465082"/>
                  </a:lnTo>
                  <a:lnTo>
                    <a:pt x="2161313" y="1466826"/>
                  </a:lnTo>
                  <a:lnTo>
                    <a:pt x="2163602" y="1466624"/>
                  </a:lnTo>
                  <a:lnTo>
                    <a:pt x="2167264" y="1465610"/>
                  </a:lnTo>
                  <a:lnTo>
                    <a:pt x="2167951" y="1466075"/>
                  </a:lnTo>
                  <a:lnTo>
                    <a:pt x="2167341" y="1467609"/>
                  </a:lnTo>
                  <a:lnTo>
                    <a:pt x="2165903" y="1469077"/>
                  </a:lnTo>
                  <a:lnTo>
                    <a:pt x="2162508" y="1471171"/>
                  </a:lnTo>
                  <a:lnTo>
                    <a:pt x="2154333" y="1475275"/>
                  </a:lnTo>
                  <a:lnTo>
                    <a:pt x="2151793" y="1478095"/>
                  </a:lnTo>
                  <a:lnTo>
                    <a:pt x="2152275" y="1478010"/>
                  </a:lnTo>
                  <a:lnTo>
                    <a:pt x="2154038" y="1476801"/>
                  </a:lnTo>
                  <a:lnTo>
                    <a:pt x="2155892" y="1476151"/>
                  </a:lnTo>
                  <a:lnTo>
                    <a:pt x="2157836" y="1476060"/>
                  </a:lnTo>
                  <a:lnTo>
                    <a:pt x="2158648" y="1476414"/>
                  </a:lnTo>
                  <a:lnTo>
                    <a:pt x="2158332" y="1477212"/>
                  </a:lnTo>
                  <a:lnTo>
                    <a:pt x="2158085" y="1479376"/>
                  </a:lnTo>
                  <a:lnTo>
                    <a:pt x="2153133" y="1483600"/>
                  </a:lnTo>
                  <a:lnTo>
                    <a:pt x="2154303" y="1483438"/>
                  </a:lnTo>
                  <a:lnTo>
                    <a:pt x="2160032" y="1481515"/>
                  </a:lnTo>
                  <a:lnTo>
                    <a:pt x="2163509" y="1484169"/>
                  </a:lnTo>
                  <a:lnTo>
                    <a:pt x="2168286" y="1483253"/>
                  </a:lnTo>
                  <a:lnTo>
                    <a:pt x="2171171" y="1482356"/>
                  </a:lnTo>
                  <a:lnTo>
                    <a:pt x="2171090" y="1482910"/>
                  </a:lnTo>
                  <a:lnTo>
                    <a:pt x="2171715" y="1484068"/>
                  </a:lnTo>
                  <a:lnTo>
                    <a:pt x="2171693" y="1485937"/>
                  </a:lnTo>
                  <a:lnTo>
                    <a:pt x="2171986" y="1486199"/>
                  </a:lnTo>
                  <a:lnTo>
                    <a:pt x="2173352" y="1485572"/>
                  </a:lnTo>
                  <a:lnTo>
                    <a:pt x="2173600" y="1484889"/>
                  </a:lnTo>
                  <a:lnTo>
                    <a:pt x="2173528" y="1481564"/>
                  </a:lnTo>
                  <a:lnTo>
                    <a:pt x="2173950" y="1481231"/>
                  </a:lnTo>
                  <a:lnTo>
                    <a:pt x="2174883" y="1481750"/>
                  </a:lnTo>
                  <a:lnTo>
                    <a:pt x="2175454" y="1482609"/>
                  </a:lnTo>
                  <a:lnTo>
                    <a:pt x="2175625" y="1485029"/>
                  </a:lnTo>
                  <a:lnTo>
                    <a:pt x="2174999" y="1487454"/>
                  </a:lnTo>
                  <a:lnTo>
                    <a:pt x="2174129" y="1489677"/>
                  </a:lnTo>
                  <a:lnTo>
                    <a:pt x="2172020" y="1492920"/>
                  </a:lnTo>
                  <a:lnTo>
                    <a:pt x="2172287" y="1494314"/>
                  </a:lnTo>
                  <a:lnTo>
                    <a:pt x="2171749" y="1495825"/>
                  </a:lnTo>
                  <a:lnTo>
                    <a:pt x="2172215" y="1495876"/>
                  </a:lnTo>
                  <a:lnTo>
                    <a:pt x="2174305" y="1494466"/>
                  </a:lnTo>
                  <a:lnTo>
                    <a:pt x="2174431" y="1493887"/>
                  </a:lnTo>
                  <a:lnTo>
                    <a:pt x="2174269" y="1492542"/>
                  </a:lnTo>
                  <a:lnTo>
                    <a:pt x="2174504" y="1491881"/>
                  </a:lnTo>
                  <a:lnTo>
                    <a:pt x="2176238" y="1490417"/>
                  </a:lnTo>
                  <a:lnTo>
                    <a:pt x="2179102" y="1488680"/>
                  </a:lnTo>
                  <a:lnTo>
                    <a:pt x="2180040" y="1488416"/>
                  </a:lnTo>
                  <a:lnTo>
                    <a:pt x="2180440" y="1488822"/>
                  </a:lnTo>
                  <a:lnTo>
                    <a:pt x="2180300" y="1489894"/>
                  </a:lnTo>
                  <a:lnTo>
                    <a:pt x="2181144" y="1489640"/>
                  </a:lnTo>
                  <a:lnTo>
                    <a:pt x="2182972" y="1488059"/>
                  </a:lnTo>
                  <a:lnTo>
                    <a:pt x="2184668" y="1487101"/>
                  </a:lnTo>
                  <a:lnTo>
                    <a:pt x="2186235" y="1486771"/>
                  </a:lnTo>
                  <a:lnTo>
                    <a:pt x="2187864" y="1485683"/>
                  </a:lnTo>
                  <a:lnTo>
                    <a:pt x="2189557" y="1483843"/>
                  </a:lnTo>
                  <a:lnTo>
                    <a:pt x="2191378" y="1482320"/>
                  </a:lnTo>
                  <a:lnTo>
                    <a:pt x="2193326" y="1481119"/>
                  </a:lnTo>
                  <a:lnTo>
                    <a:pt x="2194163" y="1481038"/>
                  </a:lnTo>
                  <a:lnTo>
                    <a:pt x="2193874" y="1483028"/>
                  </a:lnTo>
                  <a:lnTo>
                    <a:pt x="2194258" y="1485290"/>
                  </a:lnTo>
                  <a:lnTo>
                    <a:pt x="2194309" y="1487221"/>
                  </a:lnTo>
                  <a:lnTo>
                    <a:pt x="2194695" y="1487626"/>
                  </a:lnTo>
                  <a:lnTo>
                    <a:pt x="2196195" y="1485567"/>
                  </a:lnTo>
                  <a:lnTo>
                    <a:pt x="2197030" y="1484813"/>
                  </a:lnTo>
                  <a:lnTo>
                    <a:pt x="2198029" y="1484515"/>
                  </a:lnTo>
                  <a:lnTo>
                    <a:pt x="2199194" y="1484673"/>
                  </a:lnTo>
                  <a:lnTo>
                    <a:pt x="2207132" y="1483932"/>
                  </a:lnTo>
                  <a:lnTo>
                    <a:pt x="2209549" y="1484442"/>
                  </a:lnTo>
                  <a:lnTo>
                    <a:pt x="2212273" y="1485790"/>
                  </a:lnTo>
                  <a:lnTo>
                    <a:pt x="2215710" y="1487883"/>
                  </a:lnTo>
                  <a:lnTo>
                    <a:pt x="2216975" y="1489769"/>
                  </a:lnTo>
                  <a:lnTo>
                    <a:pt x="2217216" y="1492147"/>
                  </a:lnTo>
                  <a:lnTo>
                    <a:pt x="2216876" y="1493801"/>
                  </a:lnTo>
                  <a:lnTo>
                    <a:pt x="2214399" y="1495887"/>
                  </a:lnTo>
                  <a:lnTo>
                    <a:pt x="2212195" y="1497268"/>
                  </a:lnTo>
                  <a:lnTo>
                    <a:pt x="2210895" y="1498642"/>
                  </a:lnTo>
                  <a:lnTo>
                    <a:pt x="2210500" y="1500017"/>
                  </a:lnTo>
                  <a:lnTo>
                    <a:pt x="2209985" y="1500864"/>
                  </a:lnTo>
                  <a:lnTo>
                    <a:pt x="2208514" y="1502050"/>
                  </a:lnTo>
                  <a:lnTo>
                    <a:pt x="2201971" y="1505364"/>
                  </a:lnTo>
                  <a:lnTo>
                    <a:pt x="2203537" y="1505460"/>
                  </a:lnTo>
                  <a:lnTo>
                    <a:pt x="2207311" y="1504741"/>
                  </a:lnTo>
                  <a:lnTo>
                    <a:pt x="2209791" y="1504593"/>
                  </a:lnTo>
                  <a:lnTo>
                    <a:pt x="2209920" y="1505071"/>
                  </a:lnTo>
                  <a:lnTo>
                    <a:pt x="2208931" y="1506013"/>
                  </a:lnTo>
                  <a:lnTo>
                    <a:pt x="2207036" y="1506958"/>
                  </a:lnTo>
                  <a:lnTo>
                    <a:pt x="2206832" y="1507413"/>
                  </a:lnTo>
                  <a:lnTo>
                    <a:pt x="2206921" y="1508007"/>
                  </a:lnTo>
                  <a:lnTo>
                    <a:pt x="2208948" y="1508725"/>
                  </a:lnTo>
                  <a:lnTo>
                    <a:pt x="2211535" y="1508375"/>
                  </a:lnTo>
                  <a:lnTo>
                    <a:pt x="2213717" y="1508883"/>
                  </a:lnTo>
                  <a:lnTo>
                    <a:pt x="2213506" y="1509675"/>
                  </a:lnTo>
                  <a:lnTo>
                    <a:pt x="2211776" y="1512255"/>
                  </a:lnTo>
                  <a:lnTo>
                    <a:pt x="2211268" y="1513881"/>
                  </a:lnTo>
                  <a:lnTo>
                    <a:pt x="2208963" y="1515242"/>
                  </a:lnTo>
                  <a:lnTo>
                    <a:pt x="2204342" y="1517379"/>
                  </a:lnTo>
                  <a:lnTo>
                    <a:pt x="2203158" y="1518199"/>
                  </a:lnTo>
                  <a:lnTo>
                    <a:pt x="2203417" y="1518369"/>
                  </a:lnTo>
                  <a:lnTo>
                    <a:pt x="2207658" y="1516801"/>
                  </a:lnTo>
                  <a:lnTo>
                    <a:pt x="2209794" y="1516404"/>
                  </a:lnTo>
                  <a:lnTo>
                    <a:pt x="2211149" y="1516392"/>
                  </a:lnTo>
                  <a:lnTo>
                    <a:pt x="2212681" y="1514877"/>
                  </a:lnTo>
                  <a:lnTo>
                    <a:pt x="2215076" y="1514375"/>
                  </a:lnTo>
                  <a:lnTo>
                    <a:pt x="2217419" y="1515332"/>
                  </a:lnTo>
                  <a:lnTo>
                    <a:pt x="2220987" y="1512716"/>
                  </a:lnTo>
                  <a:lnTo>
                    <a:pt x="2222261" y="1512376"/>
                  </a:lnTo>
                  <a:lnTo>
                    <a:pt x="2224432" y="1512679"/>
                  </a:lnTo>
                  <a:lnTo>
                    <a:pt x="2225832" y="1512205"/>
                  </a:lnTo>
                  <a:lnTo>
                    <a:pt x="2228187" y="1510423"/>
                  </a:lnTo>
                  <a:lnTo>
                    <a:pt x="2229965" y="1509561"/>
                  </a:lnTo>
                  <a:lnTo>
                    <a:pt x="2230334" y="1509639"/>
                  </a:lnTo>
                  <a:lnTo>
                    <a:pt x="2230717" y="1510353"/>
                  </a:lnTo>
                  <a:lnTo>
                    <a:pt x="2230890" y="1512408"/>
                  </a:lnTo>
                  <a:lnTo>
                    <a:pt x="2230470" y="1514223"/>
                  </a:lnTo>
                  <a:lnTo>
                    <a:pt x="2229890" y="1515379"/>
                  </a:lnTo>
                  <a:lnTo>
                    <a:pt x="2227974" y="1517931"/>
                  </a:lnTo>
                  <a:lnTo>
                    <a:pt x="2226799" y="1518824"/>
                  </a:lnTo>
                  <a:lnTo>
                    <a:pt x="2225709" y="1519161"/>
                  </a:lnTo>
                  <a:lnTo>
                    <a:pt x="2223779" y="1519026"/>
                  </a:lnTo>
                  <a:lnTo>
                    <a:pt x="2222940" y="1519422"/>
                  </a:lnTo>
                  <a:lnTo>
                    <a:pt x="2221134" y="1521423"/>
                  </a:lnTo>
                  <a:lnTo>
                    <a:pt x="2217947" y="1523450"/>
                  </a:lnTo>
                  <a:lnTo>
                    <a:pt x="2215955" y="1524234"/>
                  </a:lnTo>
                  <a:lnTo>
                    <a:pt x="2217212" y="1525333"/>
                  </a:lnTo>
                  <a:lnTo>
                    <a:pt x="2217678" y="1527452"/>
                  </a:lnTo>
                  <a:lnTo>
                    <a:pt x="2216978" y="1528111"/>
                  </a:lnTo>
                  <a:lnTo>
                    <a:pt x="2213559" y="1528764"/>
                  </a:lnTo>
                  <a:lnTo>
                    <a:pt x="2213410" y="1529123"/>
                  </a:lnTo>
                  <a:lnTo>
                    <a:pt x="2212192" y="1529590"/>
                  </a:lnTo>
                  <a:lnTo>
                    <a:pt x="2209367" y="1530325"/>
                  </a:lnTo>
                  <a:lnTo>
                    <a:pt x="2211295" y="1530648"/>
                  </a:lnTo>
                  <a:lnTo>
                    <a:pt x="2214858" y="1530129"/>
                  </a:lnTo>
                  <a:lnTo>
                    <a:pt x="2215233" y="1530488"/>
                  </a:lnTo>
                  <a:lnTo>
                    <a:pt x="2214742" y="1531977"/>
                  </a:lnTo>
                  <a:lnTo>
                    <a:pt x="2213794" y="1533511"/>
                  </a:lnTo>
                  <a:lnTo>
                    <a:pt x="2209568" y="1537449"/>
                  </a:lnTo>
                  <a:lnTo>
                    <a:pt x="2209516" y="1537846"/>
                  </a:lnTo>
                  <a:lnTo>
                    <a:pt x="2210175" y="1539773"/>
                  </a:lnTo>
                  <a:lnTo>
                    <a:pt x="2210996" y="1541232"/>
                  </a:lnTo>
                  <a:lnTo>
                    <a:pt x="2212015" y="1542262"/>
                  </a:lnTo>
                  <a:lnTo>
                    <a:pt x="2214368" y="1542321"/>
                  </a:lnTo>
                  <a:lnTo>
                    <a:pt x="2216108" y="1541868"/>
                  </a:lnTo>
                  <a:lnTo>
                    <a:pt x="2218643" y="1539238"/>
                  </a:lnTo>
                  <a:lnTo>
                    <a:pt x="2224248" y="1531032"/>
                  </a:lnTo>
                  <a:lnTo>
                    <a:pt x="2229250" y="1528744"/>
                  </a:lnTo>
                  <a:lnTo>
                    <a:pt x="2233420" y="1526200"/>
                  </a:lnTo>
                  <a:lnTo>
                    <a:pt x="2234376" y="1526716"/>
                  </a:lnTo>
                  <a:lnTo>
                    <a:pt x="2234814" y="1527304"/>
                  </a:lnTo>
                  <a:lnTo>
                    <a:pt x="2234662" y="1527921"/>
                  </a:lnTo>
                  <a:lnTo>
                    <a:pt x="2232559" y="1530014"/>
                  </a:lnTo>
                  <a:lnTo>
                    <a:pt x="2231461" y="1531740"/>
                  </a:lnTo>
                  <a:lnTo>
                    <a:pt x="2228606" y="1537042"/>
                  </a:lnTo>
                  <a:lnTo>
                    <a:pt x="2227515" y="1539537"/>
                  </a:lnTo>
                  <a:lnTo>
                    <a:pt x="2226966" y="1542169"/>
                  </a:lnTo>
                  <a:lnTo>
                    <a:pt x="2227111" y="1546705"/>
                  </a:lnTo>
                  <a:lnTo>
                    <a:pt x="2227419" y="1547488"/>
                  </a:lnTo>
                  <a:lnTo>
                    <a:pt x="2228311" y="1548539"/>
                  </a:lnTo>
                  <a:lnTo>
                    <a:pt x="2229975" y="1547639"/>
                  </a:lnTo>
                  <a:lnTo>
                    <a:pt x="2232811" y="1545394"/>
                  </a:lnTo>
                  <a:lnTo>
                    <a:pt x="2234632" y="1543249"/>
                  </a:lnTo>
                  <a:lnTo>
                    <a:pt x="2236058" y="1539754"/>
                  </a:lnTo>
                  <a:lnTo>
                    <a:pt x="2236933" y="1538412"/>
                  </a:lnTo>
                  <a:lnTo>
                    <a:pt x="2237885" y="1538428"/>
                  </a:lnTo>
                  <a:lnTo>
                    <a:pt x="2238734" y="1539191"/>
                  </a:lnTo>
                  <a:lnTo>
                    <a:pt x="2238940" y="1540878"/>
                  </a:lnTo>
                  <a:lnTo>
                    <a:pt x="2239729" y="1543174"/>
                  </a:lnTo>
                  <a:lnTo>
                    <a:pt x="2240198" y="1545505"/>
                  </a:lnTo>
                  <a:lnTo>
                    <a:pt x="2239822" y="1548065"/>
                  </a:lnTo>
                  <a:lnTo>
                    <a:pt x="2239438" y="1549465"/>
                  </a:lnTo>
                  <a:lnTo>
                    <a:pt x="2233638" y="1559835"/>
                  </a:lnTo>
                  <a:lnTo>
                    <a:pt x="2234254" y="1561672"/>
                  </a:lnTo>
                  <a:lnTo>
                    <a:pt x="2234407" y="1562786"/>
                  </a:lnTo>
                  <a:lnTo>
                    <a:pt x="2234226" y="1563969"/>
                  </a:lnTo>
                  <a:lnTo>
                    <a:pt x="2232388" y="1568914"/>
                  </a:lnTo>
                  <a:lnTo>
                    <a:pt x="2230607" y="1571999"/>
                  </a:lnTo>
                  <a:lnTo>
                    <a:pt x="2229647" y="1573324"/>
                  </a:lnTo>
                  <a:lnTo>
                    <a:pt x="2228505" y="1574136"/>
                  </a:lnTo>
                  <a:lnTo>
                    <a:pt x="2227183" y="1574433"/>
                  </a:lnTo>
                  <a:lnTo>
                    <a:pt x="2225998" y="1573986"/>
                  </a:lnTo>
                  <a:lnTo>
                    <a:pt x="2224954" y="1572800"/>
                  </a:lnTo>
                  <a:lnTo>
                    <a:pt x="2224031" y="1572183"/>
                  </a:lnTo>
                  <a:lnTo>
                    <a:pt x="2223226" y="1572140"/>
                  </a:lnTo>
                  <a:lnTo>
                    <a:pt x="2221737" y="1572362"/>
                  </a:lnTo>
                  <a:lnTo>
                    <a:pt x="2217822" y="1574878"/>
                  </a:lnTo>
                  <a:lnTo>
                    <a:pt x="2217019" y="1575013"/>
                  </a:lnTo>
                  <a:lnTo>
                    <a:pt x="2216462" y="1574676"/>
                  </a:lnTo>
                  <a:lnTo>
                    <a:pt x="2215788" y="1573355"/>
                  </a:lnTo>
                  <a:lnTo>
                    <a:pt x="2216326" y="1566707"/>
                  </a:lnTo>
                  <a:lnTo>
                    <a:pt x="2216675" y="1564507"/>
                  </a:lnTo>
                  <a:lnTo>
                    <a:pt x="2215895" y="1562808"/>
                  </a:lnTo>
                  <a:lnTo>
                    <a:pt x="2216719" y="1559957"/>
                  </a:lnTo>
                  <a:lnTo>
                    <a:pt x="2216749" y="1558873"/>
                  </a:lnTo>
                  <a:lnTo>
                    <a:pt x="2216270" y="1558464"/>
                  </a:lnTo>
                  <a:lnTo>
                    <a:pt x="2215281" y="1558731"/>
                  </a:lnTo>
                  <a:lnTo>
                    <a:pt x="2213785" y="1560165"/>
                  </a:lnTo>
                  <a:lnTo>
                    <a:pt x="2211782" y="1562761"/>
                  </a:lnTo>
                  <a:lnTo>
                    <a:pt x="2209609" y="1565078"/>
                  </a:lnTo>
                  <a:lnTo>
                    <a:pt x="2205817" y="1568269"/>
                  </a:lnTo>
                  <a:lnTo>
                    <a:pt x="2204133" y="1568896"/>
                  </a:lnTo>
                  <a:lnTo>
                    <a:pt x="2203464" y="1568739"/>
                  </a:lnTo>
                  <a:lnTo>
                    <a:pt x="2202692" y="1568302"/>
                  </a:lnTo>
                  <a:lnTo>
                    <a:pt x="2201656" y="1566966"/>
                  </a:lnTo>
                  <a:lnTo>
                    <a:pt x="2201666" y="1565789"/>
                  </a:lnTo>
                  <a:lnTo>
                    <a:pt x="2202125" y="1564181"/>
                  </a:lnTo>
                  <a:lnTo>
                    <a:pt x="2203711" y="1560380"/>
                  </a:lnTo>
                  <a:lnTo>
                    <a:pt x="2206808" y="1554745"/>
                  </a:lnTo>
                  <a:lnTo>
                    <a:pt x="2209380" y="1550729"/>
                  </a:lnTo>
                  <a:lnTo>
                    <a:pt x="2209877" y="1549015"/>
                  </a:lnTo>
                  <a:lnTo>
                    <a:pt x="2209156" y="1548267"/>
                  </a:lnTo>
                  <a:lnTo>
                    <a:pt x="2208575" y="1546795"/>
                  </a:lnTo>
                  <a:lnTo>
                    <a:pt x="2207588" y="1542436"/>
                  </a:lnTo>
                  <a:lnTo>
                    <a:pt x="2206339" y="1538840"/>
                  </a:lnTo>
                  <a:lnTo>
                    <a:pt x="2204862" y="1537245"/>
                  </a:lnTo>
                  <a:lnTo>
                    <a:pt x="2201196" y="1535495"/>
                  </a:lnTo>
                  <a:lnTo>
                    <a:pt x="2200523" y="1535917"/>
                  </a:lnTo>
                  <a:lnTo>
                    <a:pt x="2200129" y="1538340"/>
                  </a:lnTo>
                  <a:lnTo>
                    <a:pt x="2195799" y="1545296"/>
                  </a:lnTo>
                  <a:lnTo>
                    <a:pt x="2195044" y="1548308"/>
                  </a:lnTo>
                  <a:lnTo>
                    <a:pt x="2194500" y="1549424"/>
                  </a:lnTo>
                  <a:lnTo>
                    <a:pt x="2193683" y="1550187"/>
                  </a:lnTo>
                  <a:lnTo>
                    <a:pt x="2191796" y="1551109"/>
                  </a:lnTo>
                  <a:lnTo>
                    <a:pt x="2192308" y="1549504"/>
                  </a:lnTo>
                  <a:lnTo>
                    <a:pt x="2194314" y="1545929"/>
                  </a:lnTo>
                  <a:lnTo>
                    <a:pt x="2194043" y="1545580"/>
                  </a:lnTo>
                  <a:lnTo>
                    <a:pt x="2191492" y="1548454"/>
                  </a:lnTo>
                  <a:lnTo>
                    <a:pt x="2189549" y="1550048"/>
                  </a:lnTo>
                  <a:lnTo>
                    <a:pt x="2187177" y="1550457"/>
                  </a:lnTo>
                  <a:lnTo>
                    <a:pt x="2185737" y="1550355"/>
                  </a:lnTo>
                  <a:lnTo>
                    <a:pt x="2184339" y="1550793"/>
                  </a:lnTo>
                  <a:lnTo>
                    <a:pt x="2178411" y="1557569"/>
                  </a:lnTo>
                  <a:lnTo>
                    <a:pt x="2178188" y="1559824"/>
                  </a:lnTo>
                  <a:lnTo>
                    <a:pt x="2177163" y="1561670"/>
                  </a:lnTo>
                  <a:lnTo>
                    <a:pt x="2174240" y="1565004"/>
                  </a:lnTo>
                  <a:lnTo>
                    <a:pt x="2172699" y="1566157"/>
                  </a:lnTo>
                  <a:lnTo>
                    <a:pt x="2170529" y="1566362"/>
                  </a:lnTo>
                  <a:lnTo>
                    <a:pt x="2168551" y="1565787"/>
                  </a:lnTo>
                  <a:lnTo>
                    <a:pt x="2167247" y="1565891"/>
                  </a:lnTo>
                  <a:lnTo>
                    <a:pt x="2164163" y="1566932"/>
                  </a:lnTo>
                  <a:lnTo>
                    <a:pt x="2160710" y="1567386"/>
                  </a:lnTo>
                  <a:lnTo>
                    <a:pt x="2159284" y="1567175"/>
                  </a:lnTo>
                  <a:lnTo>
                    <a:pt x="2158375" y="1566747"/>
                  </a:lnTo>
                  <a:lnTo>
                    <a:pt x="2156618" y="1565454"/>
                  </a:lnTo>
                  <a:lnTo>
                    <a:pt x="2156407" y="1564535"/>
                  </a:lnTo>
                  <a:lnTo>
                    <a:pt x="2156501" y="1563996"/>
                  </a:lnTo>
                  <a:lnTo>
                    <a:pt x="2157395" y="1562600"/>
                  </a:lnTo>
                  <a:lnTo>
                    <a:pt x="2159446" y="1560846"/>
                  </a:lnTo>
                  <a:lnTo>
                    <a:pt x="2161133" y="1560192"/>
                  </a:lnTo>
                  <a:lnTo>
                    <a:pt x="2165235" y="1559310"/>
                  </a:lnTo>
                  <a:lnTo>
                    <a:pt x="2168241" y="1557995"/>
                  </a:lnTo>
                  <a:lnTo>
                    <a:pt x="2170530" y="1556043"/>
                  </a:lnTo>
                  <a:lnTo>
                    <a:pt x="2171553" y="1554853"/>
                  </a:lnTo>
                  <a:lnTo>
                    <a:pt x="2175866" y="1548736"/>
                  </a:lnTo>
                  <a:lnTo>
                    <a:pt x="2181322" y="1546576"/>
                  </a:lnTo>
                  <a:lnTo>
                    <a:pt x="2184012" y="1544813"/>
                  </a:lnTo>
                  <a:lnTo>
                    <a:pt x="2185893" y="1542576"/>
                  </a:lnTo>
                  <a:lnTo>
                    <a:pt x="2186166" y="1541789"/>
                  </a:lnTo>
                  <a:lnTo>
                    <a:pt x="2183468" y="1542926"/>
                  </a:lnTo>
                  <a:lnTo>
                    <a:pt x="2182074" y="1543204"/>
                  </a:lnTo>
                  <a:lnTo>
                    <a:pt x="2179816" y="1542783"/>
                  </a:lnTo>
                  <a:lnTo>
                    <a:pt x="2178813" y="1542021"/>
                  </a:lnTo>
                  <a:lnTo>
                    <a:pt x="2175719" y="1542263"/>
                  </a:lnTo>
                  <a:lnTo>
                    <a:pt x="2171416" y="1541907"/>
                  </a:lnTo>
                  <a:lnTo>
                    <a:pt x="2170795" y="1542494"/>
                  </a:lnTo>
                  <a:lnTo>
                    <a:pt x="2170239" y="1545474"/>
                  </a:lnTo>
                  <a:lnTo>
                    <a:pt x="2169682" y="1547054"/>
                  </a:lnTo>
                  <a:lnTo>
                    <a:pt x="2169024" y="1547585"/>
                  </a:lnTo>
                  <a:lnTo>
                    <a:pt x="2168060" y="1547898"/>
                  </a:lnTo>
                  <a:lnTo>
                    <a:pt x="2166096" y="1548213"/>
                  </a:lnTo>
                  <a:lnTo>
                    <a:pt x="2161060" y="1547150"/>
                  </a:lnTo>
                  <a:lnTo>
                    <a:pt x="2160131" y="1546569"/>
                  </a:lnTo>
                  <a:lnTo>
                    <a:pt x="2158845" y="1546127"/>
                  </a:lnTo>
                  <a:lnTo>
                    <a:pt x="2153285" y="1547097"/>
                  </a:lnTo>
                  <a:lnTo>
                    <a:pt x="2152121" y="1547004"/>
                  </a:lnTo>
                  <a:lnTo>
                    <a:pt x="2153225" y="1546306"/>
                  </a:lnTo>
                  <a:lnTo>
                    <a:pt x="2158718" y="1544123"/>
                  </a:lnTo>
                  <a:lnTo>
                    <a:pt x="2159294" y="1537818"/>
                  </a:lnTo>
                  <a:lnTo>
                    <a:pt x="2158951" y="1536807"/>
                  </a:lnTo>
                  <a:lnTo>
                    <a:pt x="2157415" y="1537687"/>
                  </a:lnTo>
                  <a:lnTo>
                    <a:pt x="2154837" y="1538597"/>
                  </a:lnTo>
                  <a:lnTo>
                    <a:pt x="2153074" y="1538334"/>
                  </a:lnTo>
                  <a:lnTo>
                    <a:pt x="2152268" y="1537776"/>
                  </a:lnTo>
                  <a:lnTo>
                    <a:pt x="2151529" y="1538248"/>
                  </a:lnTo>
                  <a:lnTo>
                    <a:pt x="2149736" y="1541575"/>
                  </a:lnTo>
                  <a:lnTo>
                    <a:pt x="2148678" y="1541992"/>
                  </a:lnTo>
                  <a:lnTo>
                    <a:pt x="2147087" y="1542119"/>
                  </a:lnTo>
                  <a:lnTo>
                    <a:pt x="2143695" y="1543329"/>
                  </a:lnTo>
                  <a:lnTo>
                    <a:pt x="2137032" y="1544124"/>
                  </a:lnTo>
                  <a:lnTo>
                    <a:pt x="2135718" y="1545003"/>
                  </a:lnTo>
                  <a:lnTo>
                    <a:pt x="2131196" y="1544698"/>
                  </a:lnTo>
                  <a:lnTo>
                    <a:pt x="2117987" y="1542873"/>
                  </a:lnTo>
                  <a:lnTo>
                    <a:pt x="2113261" y="1543057"/>
                  </a:lnTo>
                  <a:lnTo>
                    <a:pt x="2107574" y="1541942"/>
                  </a:lnTo>
                  <a:lnTo>
                    <a:pt x="2106523" y="1541461"/>
                  </a:lnTo>
                  <a:lnTo>
                    <a:pt x="2098567" y="1541657"/>
                  </a:lnTo>
                  <a:lnTo>
                    <a:pt x="2096186" y="1541398"/>
                  </a:lnTo>
                  <a:lnTo>
                    <a:pt x="2096345" y="1540012"/>
                  </a:lnTo>
                  <a:lnTo>
                    <a:pt x="2096093" y="1539657"/>
                  </a:lnTo>
                  <a:lnTo>
                    <a:pt x="2093782" y="1541188"/>
                  </a:lnTo>
                  <a:lnTo>
                    <a:pt x="2091731" y="1542181"/>
                  </a:lnTo>
                  <a:lnTo>
                    <a:pt x="2089088" y="1543031"/>
                  </a:lnTo>
                  <a:lnTo>
                    <a:pt x="2080771" y="1544505"/>
                  </a:lnTo>
                  <a:lnTo>
                    <a:pt x="2076314" y="1544819"/>
                  </a:lnTo>
                  <a:lnTo>
                    <a:pt x="2073719" y="1543794"/>
                  </a:lnTo>
                  <a:lnTo>
                    <a:pt x="2072691" y="1542774"/>
                  </a:lnTo>
                  <a:lnTo>
                    <a:pt x="2071148" y="1539461"/>
                  </a:lnTo>
                  <a:lnTo>
                    <a:pt x="2070089" y="1535304"/>
                  </a:lnTo>
                  <a:lnTo>
                    <a:pt x="2070098" y="1534552"/>
                  </a:lnTo>
                  <a:lnTo>
                    <a:pt x="2070635" y="1533108"/>
                  </a:lnTo>
                  <a:lnTo>
                    <a:pt x="2072379" y="1531106"/>
                  </a:lnTo>
                  <a:lnTo>
                    <a:pt x="2080271" y="1525802"/>
                  </a:lnTo>
                  <a:lnTo>
                    <a:pt x="2086617" y="1520426"/>
                  </a:lnTo>
                  <a:lnTo>
                    <a:pt x="2089294" y="1517623"/>
                  </a:lnTo>
                  <a:lnTo>
                    <a:pt x="2091890" y="1516624"/>
                  </a:lnTo>
                  <a:lnTo>
                    <a:pt x="2096127" y="1514294"/>
                  </a:lnTo>
                  <a:lnTo>
                    <a:pt x="2096262" y="1514020"/>
                  </a:lnTo>
                  <a:lnTo>
                    <a:pt x="2092153" y="1514315"/>
                  </a:lnTo>
                  <a:lnTo>
                    <a:pt x="2089265" y="1513670"/>
                  </a:lnTo>
                  <a:lnTo>
                    <a:pt x="2086313" y="1513415"/>
                  </a:lnTo>
                  <a:lnTo>
                    <a:pt x="2080703" y="1514031"/>
                  </a:lnTo>
                  <a:lnTo>
                    <a:pt x="2075049" y="1514031"/>
                  </a:lnTo>
                  <a:lnTo>
                    <a:pt x="2075027" y="1512836"/>
                  </a:lnTo>
                  <a:lnTo>
                    <a:pt x="2077670" y="1510582"/>
                  </a:lnTo>
                  <a:lnTo>
                    <a:pt x="2083290" y="1506710"/>
                  </a:lnTo>
                  <a:lnTo>
                    <a:pt x="2083862" y="1506698"/>
                  </a:lnTo>
                  <a:lnTo>
                    <a:pt x="2082141" y="1508501"/>
                  </a:lnTo>
                  <a:lnTo>
                    <a:pt x="2081650" y="1509848"/>
                  </a:lnTo>
                  <a:lnTo>
                    <a:pt x="2082391" y="1510744"/>
                  </a:lnTo>
                  <a:lnTo>
                    <a:pt x="2083249" y="1511311"/>
                  </a:lnTo>
                  <a:lnTo>
                    <a:pt x="2086468" y="1511548"/>
                  </a:lnTo>
                  <a:lnTo>
                    <a:pt x="2087206" y="1510766"/>
                  </a:lnTo>
                  <a:lnTo>
                    <a:pt x="2088367" y="1506614"/>
                  </a:lnTo>
                  <a:lnTo>
                    <a:pt x="2090800" y="1501799"/>
                  </a:lnTo>
                  <a:lnTo>
                    <a:pt x="2092115" y="1498321"/>
                  </a:lnTo>
                  <a:lnTo>
                    <a:pt x="2094400" y="1495665"/>
                  </a:lnTo>
                  <a:lnTo>
                    <a:pt x="2095540" y="1495266"/>
                  </a:lnTo>
                  <a:lnTo>
                    <a:pt x="2096552" y="1495762"/>
                  </a:lnTo>
                  <a:lnTo>
                    <a:pt x="2099915" y="1496400"/>
                  </a:lnTo>
                  <a:lnTo>
                    <a:pt x="2103375" y="1498833"/>
                  </a:lnTo>
                  <a:lnTo>
                    <a:pt x="2104494" y="1499038"/>
                  </a:lnTo>
                  <a:lnTo>
                    <a:pt x="2104875" y="1498821"/>
                  </a:lnTo>
                  <a:lnTo>
                    <a:pt x="2103606" y="1498106"/>
                  </a:lnTo>
                  <a:lnTo>
                    <a:pt x="2102560" y="1496962"/>
                  </a:lnTo>
                  <a:lnTo>
                    <a:pt x="2102126" y="1495891"/>
                  </a:lnTo>
                  <a:lnTo>
                    <a:pt x="2103390" y="1492531"/>
                  </a:lnTo>
                  <a:lnTo>
                    <a:pt x="2104872" y="1491563"/>
                  </a:lnTo>
                  <a:lnTo>
                    <a:pt x="2105140" y="1490902"/>
                  </a:lnTo>
                  <a:lnTo>
                    <a:pt x="2102179" y="1490888"/>
                  </a:lnTo>
                  <a:lnTo>
                    <a:pt x="2099794" y="1489947"/>
                  </a:lnTo>
                  <a:lnTo>
                    <a:pt x="2099084" y="1488424"/>
                  </a:lnTo>
                  <a:lnTo>
                    <a:pt x="2099224" y="1485746"/>
                  </a:lnTo>
                  <a:lnTo>
                    <a:pt x="2100001" y="1484144"/>
                  </a:lnTo>
                  <a:lnTo>
                    <a:pt x="2101911" y="1482028"/>
                  </a:lnTo>
                  <a:lnTo>
                    <a:pt x="2104234" y="1480621"/>
                  </a:lnTo>
                  <a:lnTo>
                    <a:pt x="2105618" y="1480981"/>
                  </a:lnTo>
                  <a:lnTo>
                    <a:pt x="2108285" y="1482880"/>
                  </a:lnTo>
                  <a:lnTo>
                    <a:pt x="2109926" y="1482348"/>
                  </a:lnTo>
                  <a:lnTo>
                    <a:pt x="2109736" y="1481738"/>
                  </a:lnTo>
                  <a:lnTo>
                    <a:pt x="2107235" y="1478713"/>
                  </a:lnTo>
                  <a:lnTo>
                    <a:pt x="2106433" y="1476471"/>
                  </a:lnTo>
                  <a:lnTo>
                    <a:pt x="2106507" y="1475402"/>
                  </a:lnTo>
                  <a:lnTo>
                    <a:pt x="2111925" y="1464692"/>
                  </a:lnTo>
                  <a:lnTo>
                    <a:pt x="2114575" y="1458930"/>
                  </a:lnTo>
                  <a:lnTo>
                    <a:pt x="2118187" y="1450127"/>
                  </a:lnTo>
                  <a:lnTo>
                    <a:pt x="2119022" y="1448724"/>
                  </a:lnTo>
                  <a:lnTo>
                    <a:pt x="2120852" y="1446122"/>
                  </a:lnTo>
                  <a:lnTo>
                    <a:pt x="2121609" y="1445413"/>
                  </a:lnTo>
                  <a:lnTo>
                    <a:pt x="2123971" y="1445408"/>
                  </a:lnTo>
                  <a:lnTo>
                    <a:pt x="2125438" y="1445091"/>
                  </a:lnTo>
                  <a:lnTo>
                    <a:pt x="2123294" y="1443940"/>
                  </a:lnTo>
                  <a:lnTo>
                    <a:pt x="2122525" y="1443138"/>
                  </a:lnTo>
                  <a:lnTo>
                    <a:pt x="2122435" y="1442293"/>
                  </a:lnTo>
                  <a:lnTo>
                    <a:pt x="2123021" y="1441407"/>
                  </a:lnTo>
                  <a:lnTo>
                    <a:pt x="2123851" y="1440751"/>
                  </a:lnTo>
                  <a:lnTo>
                    <a:pt x="2126653" y="1439332"/>
                  </a:lnTo>
                  <a:lnTo>
                    <a:pt x="2128641" y="1436995"/>
                  </a:lnTo>
                  <a:lnTo>
                    <a:pt x="2129847" y="1434241"/>
                  </a:lnTo>
                  <a:lnTo>
                    <a:pt x="2129668" y="1433301"/>
                  </a:lnTo>
                  <a:lnTo>
                    <a:pt x="2129046" y="1432365"/>
                  </a:lnTo>
                  <a:lnTo>
                    <a:pt x="2129080" y="1431857"/>
                  </a:lnTo>
                  <a:lnTo>
                    <a:pt x="2130590" y="1431282"/>
                  </a:lnTo>
                  <a:lnTo>
                    <a:pt x="2134425" y="1428005"/>
                  </a:lnTo>
                  <a:lnTo>
                    <a:pt x="2134924" y="1427377"/>
                  </a:lnTo>
                  <a:lnTo>
                    <a:pt x="2136325" y="1422996"/>
                  </a:lnTo>
                  <a:lnTo>
                    <a:pt x="2138044" y="1421051"/>
                  </a:lnTo>
                  <a:lnTo>
                    <a:pt x="2139652" y="1420053"/>
                  </a:lnTo>
                  <a:lnTo>
                    <a:pt x="2142213" y="1418812"/>
                  </a:lnTo>
                  <a:lnTo>
                    <a:pt x="2150089" y="1415804"/>
                  </a:lnTo>
                  <a:lnTo>
                    <a:pt x="2154699" y="1413116"/>
                  </a:lnTo>
                  <a:lnTo>
                    <a:pt x="2157829" y="1413266"/>
                  </a:lnTo>
                  <a:lnTo>
                    <a:pt x="2158750" y="1415141"/>
                  </a:lnTo>
                  <a:lnTo>
                    <a:pt x="2163197" y="1416386"/>
                  </a:lnTo>
                  <a:lnTo>
                    <a:pt x="2163979" y="1415049"/>
                  </a:lnTo>
                  <a:lnTo>
                    <a:pt x="2162938" y="1413418"/>
                  </a:lnTo>
                  <a:lnTo>
                    <a:pt x="2163806" y="1412761"/>
                  </a:lnTo>
                  <a:close/>
                  <a:moveTo>
                    <a:pt x="328882" y="1408389"/>
                  </a:moveTo>
                  <a:lnTo>
                    <a:pt x="329721" y="1408544"/>
                  </a:lnTo>
                  <a:lnTo>
                    <a:pt x="330021" y="1409564"/>
                  </a:lnTo>
                  <a:lnTo>
                    <a:pt x="331398" y="1411865"/>
                  </a:lnTo>
                  <a:lnTo>
                    <a:pt x="331807" y="1412540"/>
                  </a:lnTo>
                  <a:lnTo>
                    <a:pt x="331810" y="1415212"/>
                  </a:lnTo>
                  <a:lnTo>
                    <a:pt x="331598" y="1416301"/>
                  </a:lnTo>
                  <a:lnTo>
                    <a:pt x="331177" y="1416863"/>
                  </a:lnTo>
                  <a:lnTo>
                    <a:pt x="330163" y="1416862"/>
                  </a:lnTo>
                  <a:lnTo>
                    <a:pt x="328558" y="1416295"/>
                  </a:lnTo>
                  <a:lnTo>
                    <a:pt x="327360" y="1415046"/>
                  </a:lnTo>
                  <a:lnTo>
                    <a:pt x="325915" y="1411147"/>
                  </a:lnTo>
                  <a:lnTo>
                    <a:pt x="326077" y="1410476"/>
                  </a:lnTo>
                  <a:lnTo>
                    <a:pt x="326575" y="1409794"/>
                  </a:lnTo>
                  <a:close/>
                  <a:moveTo>
                    <a:pt x="2173754" y="1398683"/>
                  </a:moveTo>
                  <a:lnTo>
                    <a:pt x="2173260" y="1400892"/>
                  </a:lnTo>
                  <a:lnTo>
                    <a:pt x="2171543" y="1402258"/>
                  </a:lnTo>
                  <a:lnTo>
                    <a:pt x="2170335" y="1402286"/>
                  </a:lnTo>
                  <a:lnTo>
                    <a:pt x="2170063" y="1401906"/>
                  </a:lnTo>
                  <a:lnTo>
                    <a:pt x="2170567" y="1400604"/>
                  </a:lnTo>
                  <a:lnTo>
                    <a:pt x="2171918" y="1399101"/>
                  </a:lnTo>
                  <a:close/>
                  <a:moveTo>
                    <a:pt x="1563659" y="1395189"/>
                  </a:moveTo>
                  <a:lnTo>
                    <a:pt x="1565272" y="1395573"/>
                  </a:lnTo>
                  <a:lnTo>
                    <a:pt x="1565298" y="1396108"/>
                  </a:lnTo>
                  <a:lnTo>
                    <a:pt x="1564123" y="1397707"/>
                  </a:lnTo>
                  <a:lnTo>
                    <a:pt x="1563809" y="1398780"/>
                  </a:lnTo>
                  <a:lnTo>
                    <a:pt x="1563236" y="1399593"/>
                  </a:lnTo>
                  <a:lnTo>
                    <a:pt x="1562406" y="1400147"/>
                  </a:lnTo>
                  <a:lnTo>
                    <a:pt x="1561359" y="1400387"/>
                  </a:lnTo>
                  <a:lnTo>
                    <a:pt x="1558950" y="1400114"/>
                  </a:lnTo>
                  <a:lnTo>
                    <a:pt x="1557015" y="1399263"/>
                  </a:lnTo>
                  <a:lnTo>
                    <a:pt x="1555826" y="1398177"/>
                  </a:lnTo>
                  <a:close/>
                  <a:moveTo>
                    <a:pt x="251130" y="1393406"/>
                  </a:moveTo>
                  <a:lnTo>
                    <a:pt x="253348" y="1395287"/>
                  </a:lnTo>
                  <a:lnTo>
                    <a:pt x="252875" y="1399820"/>
                  </a:lnTo>
                  <a:lnTo>
                    <a:pt x="252419" y="1399885"/>
                  </a:lnTo>
                  <a:lnTo>
                    <a:pt x="251576" y="1399183"/>
                  </a:lnTo>
                  <a:lnTo>
                    <a:pt x="250996" y="1398049"/>
                  </a:lnTo>
                  <a:lnTo>
                    <a:pt x="250643" y="1395092"/>
                  </a:lnTo>
                  <a:lnTo>
                    <a:pt x="250902" y="1393884"/>
                  </a:lnTo>
                  <a:close/>
                  <a:moveTo>
                    <a:pt x="323418" y="1371791"/>
                  </a:moveTo>
                  <a:lnTo>
                    <a:pt x="323388" y="1373269"/>
                  </a:lnTo>
                  <a:lnTo>
                    <a:pt x="322128" y="1379865"/>
                  </a:lnTo>
                  <a:lnTo>
                    <a:pt x="321477" y="1382911"/>
                  </a:lnTo>
                  <a:lnTo>
                    <a:pt x="320976" y="1384033"/>
                  </a:lnTo>
                  <a:lnTo>
                    <a:pt x="320338" y="1384892"/>
                  </a:lnTo>
                  <a:lnTo>
                    <a:pt x="318394" y="1385348"/>
                  </a:lnTo>
                  <a:lnTo>
                    <a:pt x="319041" y="1383520"/>
                  </a:lnTo>
                  <a:lnTo>
                    <a:pt x="319229" y="1382438"/>
                  </a:lnTo>
                  <a:lnTo>
                    <a:pt x="318879" y="1381419"/>
                  </a:lnTo>
                  <a:lnTo>
                    <a:pt x="318634" y="1379451"/>
                  </a:lnTo>
                  <a:lnTo>
                    <a:pt x="318536" y="1374802"/>
                  </a:lnTo>
                  <a:lnTo>
                    <a:pt x="320435" y="1371877"/>
                  </a:lnTo>
                  <a:close/>
                  <a:moveTo>
                    <a:pt x="298096" y="1370871"/>
                  </a:moveTo>
                  <a:lnTo>
                    <a:pt x="298879" y="1371123"/>
                  </a:lnTo>
                  <a:lnTo>
                    <a:pt x="299611" y="1371556"/>
                  </a:lnTo>
                  <a:lnTo>
                    <a:pt x="304484" y="1375988"/>
                  </a:lnTo>
                  <a:lnTo>
                    <a:pt x="305844" y="1378073"/>
                  </a:lnTo>
                  <a:lnTo>
                    <a:pt x="305933" y="1381170"/>
                  </a:lnTo>
                  <a:lnTo>
                    <a:pt x="305125" y="1382731"/>
                  </a:lnTo>
                  <a:lnTo>
                    <a:pt x="301737" y="1378973"/>
                  </a:lnTo>
                  <a:lnTo>
                    <a:pt x="300502" y="1377916"/>
                  </a:lnTo>
                  <a:lnTo>
                    <a:pt x="297980" y="1373920"/>
                  </a:lnTo>
                  <a:lnTo>
                    <a:pt x="297542" y="1372203"/>
                  </a:lnTo>
                  <a:lnTo>
                    <a:pt x="297650" y="1371229"/>
                  </a:lnTo>
                  <a:close/>
                  <a:moveTo>
                    <a:pt x="291626" y="1357923"/>
                  </a:moveTo>
                  <a:lnTo>
                    <a:pt x="292377" y="1358107"/>
                  </a:lnTo>
                  <a:lnTo>
                    <a:pt x="292902" y="1358392"/>
                  </a:lnTo>
                  <a:lnTo>
                    <a:pt x="295621" y="1362585"/>
                  </a:lnTo>
                  <a:lnTo>
                    <a:pt x="296377" y="1364666"/>
                  </a:lnTo>
                  <a:lnTo>
                    <a:pt x="295997" y="1364940"/>
                  </a:lnTo>
                  <a:lnTo>
                    <a:pt x="294949" y="1364480"/>
                  </a:lnTo>
                  <a:lnTo>
                    <a:pt x="293942" y="1363583"/>
                  </a:lnTo>
                  <a:lnTo>
                    <a:pt x="292217" y="1361039"/>
                  </a:lnTo>
                  <a:lnTo>
                    <a:pt x="291649" y="1359968"/>
                  </a:lnTo>
                  <a:lnTo>
                    <a:pt x="291280" y="1358232"/>
                  </a:lnTo>
                  <a:close/>
                  <a:moveTo>
                    <a:pt x="1512935" y="1356685"/>
                  </a:moveTo>
                  <a:lnTo>
                    <a:pt x="1518000" y="1357322"/>
                  </a:lnTo>
                  <a:lnTo>
                    <a:pt x="1523964" y="1363121"/>
                  </a:lnTo>
                  <a:lnTo>
                    <a:pt x="1527388" y="1367032"/>
                  </a:lnTo>
                  <a:lnTo>
                    <a:pt x="1528780" y="1370174"/>
                  </a:lnTo>
                  <a:lnTo>
                    <a:pt x="1528803" y="1371688"/>
                  </a:lnTo>
                  <a:lnTo>
                    <a:pt x="1528241" y="1373062"/>
                  </a:lnTo>
                  <a:lnTo>
                    <a:pt x="1526449" y="1373516"/>
                  </a:lnTo>
                  <a:lnTo>
                    <a:pt x="1521188" y="1372604"/>
                  </a:lnTo>
                  <a:lnTo>
                    <a:pt x="1518988" y="1371945"/>
                  </a:lnTo>
                  <a:lnTo>
                    <a:pt x="1512506" y="1369475"/>
                  </a:lnTo>
                  <a:lnTo>
                    <a:pt x="1500162" y="1365842"/>
                  </a:lnTo>
                  <a:lnTo>
                    <a:pt x="1495954" y="1364037"/>
                  </a:lnTo>
                  <a:lnTo>
                    <a:pt x="1495086" y="1362683"/>
                  </a:lnTo>
                  <a:lnTo>
                    <a:pt x="1497321" y="1359854"/>
                  </a:lnTo>
                  <a:lnTo>
                    <a:pt x="1498583" y="1358706"/>
                  </a:lnTo>
                  <a:lnTo>
                    <a:pt x="1499953" y="1357994"/>
                  </a:lnTo>
                  <a:close/>
                  <a:moveTo>
                    <a:pt x="230972" y="1356439"/>
                  </a:moveTo>
                  <a:lnTo>
                    <a:pt x="231978" y="1356498"/>
                  </a:lnTo>
                  <a:lnTo>
                    <a:pt x="234506" y="1357674"/>
                  </a:lnTo>
                  <a:lnTo>
                    <a:pt x="237077" y="1360860"/>
                  </a:lnTo>
                  <a:lnTo>
                    <a:pt x="237842" y="1363708"/>
                  </a:lnTo>
                  <a:lnTo>
                    <a:pt x="237526" y="1367069"/>
                  </a:lnTo>
                  <a:lnTo>
                    <a:pt x="233454" y="1368342"/>
                  </a:lnTo>
                  <a:lnTo>
                    <a:pt x="231313" y="1367327"/>
                  </a:lnTo>
                  <a:lnTo>
                    <a:pt x="230383" y="1367516"/>
                  </a:lnTo>
                  <a:lnTo>
                    <a:pt x="228978" y="1368521"/>
                  </a:lnTo>
                  <a:lnTo>
                    <a:pt x="230686" y="1368970"/>
                  </a:lnTo>
                  <a:lnTo>
                    <a:pt x="233079" y="1370616"/>
                  </a:lnTo>
                  <a:lnTo>
                    <a:pt x="235176" y="1372749"/>
                  </a:lnTo>
                  <a:lnTo>
                    <a:pt x="238136" y="1373132"/>
                  </a:lnTo>
                  <a:lnTo>
                    <a:pt x="242075" y="1374620"/>
                  </a:lnTo>
                  <a:lnTo>
                    <a:pt x="239094" y="1377300"/>
                  </a:lnTo>
                  <a:lnTo>
                    <a:pt x="238644" y="1378841"/>
                  </a:lnTo>
                  <a:lnTo>
                    <a:pt x="242363" y="1383104"/>
                  </a:lnTo>
                  <a:lnTo>
                    <a:pt x="242716" y="1384168"/>
                  </a:lnTo>
                  <a:lnTo>
                    <a:pt x="243906" y="1384386"/>
                  </a:lnTo>
                  <a:lnTo>
                    <a:pt x="246680" y="1384042"/>
                  </a:lnTo>
                  <a:lnTo>
                    <a:pt x="247033" y="1384379"/>
                  </a:lnTo>
                  <a:lnTo>
                    <a:pt x="247026" y="1385262"/>
                  </a:lnTo>
                  <a:lnTo>
                    <a:pt x="245326" y="1387731"/>
                  </a:lnTo>
                  <a:lnTo>
                    <a:pt x="245506" y="1388223"/>
                  </a:lnTo>
                  <a:lnTo>
                    <a:pt x="247046" y="1388611"/>
                  </a:lnTo>
                  <a:lnTo>
                    <a:pt x="250002" y="1388630"/>
                  </a:lnTo>
                  <a:lnTo>
                    <a:pt x="250673" y="1391079"/>
                  </a:lnTo>
                  <a:lnTo>
                    <a:pt x="248001" y="1393305"/>
                  </a:lnTo>
                  <a:lnTo>
                    <a:pt x="242921" y="1390437"/>
                  </a:lnTo>
                  <a:lnTo>
                    <a:pt x="240657" y="1387576"/>
                  </a:lnTo>
                  <a:lnTo>
                    <a:pt x="239366" y="1384924"/>
                  </a:lnTo>
                  <a:lnTo>
                    <a:pt x="237803" y="1383423"/>
                  </a:lnTo>
                  <a:lnTo>
                    <a:pt x="233088" y="1380089"/>
                  </a:lnTo>
                  <a:lnTo>
                    <a:pt x="225923" y="1372873"/>
                  </a:lnTo>
                  <a:lnTo>
                    <a:pt x="224076" y="1371828"/>
                  </a:lnTo>
                  <a:lnTo>
                    <a:pt x="222213" y="1368968"/>
                  </a:lnTo>
                  <a:lnTo>
                    <a:pt x="221670" y="1367590"/>
                  </a:lnTo>
                  <a:lnTo>
                    <a:pt x="221717" y="1366667"/>
                  </a:lnTo>
                  <a:lnTo>
                    <a:pt x="222442" y="1366179"/>
                  </a:lnTo>
                  <a:lnTo>
                    <a:pt x="224587" y="1365858"/>
                  </a:lnTo>
                  <a:lnTo>
                    <a:pt x="224617" y="1364421"/>
                  </a:lnTo>
                  <a:lnTo>
                    <a:pt x="216377" y="1361928"/>
                  </a:lnTo>
                  <a:lnTo>
                    <a:pt x="215461" y="1361418"/>
                  </a:lnTo>
                  <a:lnTo>
                    <a:pt x="214398" y="1359672"/>
                  </a:lnTo>
                  <a:lnTo>
                    <a:pt x="214970" y="1359417"/>
                  </a:lnTo>
                  <a:lnTo>
                    <a:pt x="219503" y="1359721"/>
                  </a:lnTo>
                  <a:lnTo>
                    <a:pt x="224359" y="1358882"/>
                  </a:lnTo>
                  <a:lnTo>
                    <a:pt x="227351" y="1358239"/>
                  </a:lnTo>
                  <a:lnTo>
                    <a:pt x="228529" y="1357454"/>
                  </a:lnTo>
                  <a:close/>
                  <a:moveTo>
                    <a:pt x="303488" y="1354768"/>
                  </a:moveTo>
                  <a:lnTo>
                    <a:pt x="305085" y="1354961"/>
                  </a:lnTo>
                  <a:lnTo>
                    <a:pt x="307938" y="1356538"/>
                  </a:lnTo>
                  <a:lnTo>
                    <a:pt x="310913" y="1358250"/>
                  </a:lnTo>
                  <a:lnTo>
                    <a:pt x="313645" y="1360532"/>
                  </a:lnTo>
                  <a:lnTo>
                    <a:pt x="315679" y="1366466"/>
                  </a:lnTo>
                  <a:lnTo>
                    <a:pt x="316843" y="1377391"/>
                  </a:lnTo>
                  <a:lnTo>
                    <a:pt x="316758" y="1380877"/>
                  </a:lnTo>
                  <a:lnTo>
                    <a:pt x="315061" y="1383155"/>
                  </a:lnTo>
                  <a:lnTo>
                    <a:pt x="313865" y="1386969"/>
                  </a:lnTo>
                  <a:lnTo>
                    <a:pt x="312471" y="1388680"/>
                  </a:lnTo>
                  <a:lnTo>
                    <a:pt x="311154" y="1386401"/>
                  </a:lnTo>
                  <a:lnTo>
                    <a:pt x="311036" y="1382613"/>
                  </a:lnTo>
                  <a:lnTo>
                    <a:pt x="310685" y="1379598"/>
                  </a:lnTo>
                  <a:lnTo>
                    <a:pt x="310253" y="1378153"/>
                  </a:lnTo>
                  <a:lnTo>
                    <a:pt x="310763" y="1372510"/>
                  </a:lnTo>
                  <a:lnTo>
                    <a:pt x="310172" y="1372926"/>
                  </a:lnTo>
                  <a:lnTo>
                    <a:pt x="308610" y="1375403"/>
                  </a:lnTo>
                  <a:lnTo>
                    <a:pt x="306871" y="1375574"/>
                  </a:lnTo>
                  <a:lnTo>
                    <a:pt x="303751" y="1372765"/>
                  </a:lnTo>
                  <a:lnTo>
                    <a:pt x="302183" y="1370487"/>
                  </a:lnTo>
                  <a:lnTo>
                    <a:pt x="301925" y="1368109"/>
                  </a:lnTo>
                  <a:lnTo>
                    <a:pt x="299869" y="1365601"/>
                  </a:lnTo>
                  <a:lnTo>
                    <a:pt x="299657" y="1364718"/>
                  </a:lnTo>
                  <a:lnTo>
                    <a:pt x="299825" y="1363782"/>
                  </a:lnTo>
                  <a:lnTo>
                    <a:pt x="301515" y="1361283"/>
                  </a:lnTo>
                  <a:lnTo>
                    <a:pt x="302199" y="1359597"/>
                  </a:lnTo>
                  <a:lnTo>
                    <a:pt x="302800" y="1356122"/>
                  </a:lnTo>
                  <a:close/>
                  <a:moveTo>
                    <a:pt x="298292" y="1353040"/>
                  </a:moveTo>
                  <a:lnTo>
                    <a:pt x="299381" y="1354311"/>
                  </a:lnTo>
                  <a:lnTo>
                    <a:pt x="299844" y="1355485"/>
                  </a:lnTo>
                  <a:lnTo>
                    <a:pt x="300079" y="1360347"/>
                  </a:lnTo>
                  <a:lnTo>
                    <a:pt x="299939" y="1360592"/>
                  </a:lnTo>
                  <a:lnTo>
                    <a:pt x="297311" y="1360585"/>
                  </a:lnTo>
                  <a:lnTo>
                    <a:pt x="296580" y="1360234"/>
                  </a:lnTo>
                  <a:lnTo>
                    <a:pt x="296119" y="1359512"/>
                  </a:lnTo>
                  <a:lnTo>
                    <a:pt x="295932" y="1358417"/>
                  </a:lnTo>
                  <a:lnTo>
                    <a:pt x="296361" y="1357098"/>
                  </a:lnTo>
                  <a:lnTo>
                    <a:pt x="297915" y="1354577"/>
                  </a:lnTo>
                  <a:lnTo>
                    <a:pt x="297963" y="1353501"/>
                  </a:lnTo>
                  <a:close/>
                  <a:moveTo>
                    <a:pt x="1545533" y="1351854"/>
                  </a:moveTo>
                  <a:lnTo>
                    <a:pt x="1547439" y="1352275"/>
                  </a:lnTo>
                  <a:lnTo>
                    <a:pt x="1548360" y="1353933"/>
                  </a:lnTo>
                  <a:lnTo>
                    <a:pt x="1548333" y="1354963"/>
                  </a:lnTo>
                  <a:lnTo>
                    <a:pt x="1546689" y="1354763"/>
                  </a:lnTo>
                  <a:lnTo>
                    <a:pt x="1545796" y="1354174"/>
                  </a:lnTo>
                  <a:lnTo>
                    <a:pt x="1545072" y="1353246"/>
                  </a:lnTo>
                  <a:lnTo>
                    <a:pt x="1544916" y="1352549"/>
                  </a:lnTo>
                  <a:close/>
                  <a:moveTo>
                    <a:pt x="267514" y="1342638"/>
                  </a:moveTo>
                  <a:lnTo>
                    <a:pt x="268963" y="1343010"/>
                  </a:lnTo>
                  <a:lnTo>
                    <a:pt x="274029" y="1345457"/>
                  </a:lnTo>
                  <a:lnTo>
                    <a:pt x="278077" y="1347827"/>
                  </a:lnTo>
                  <a:lnTo>
                    <a:pt x="280377" y="1349372"/>
                  </a:lnTo>
                  <a:lnTo>
                    <a:pt x="285192" y="1355979"/>
                  </a:lnTo>
                  <a:lnTo>
                    <a:pt x="284834" y="1356927"/>
                  </a:lnTo>
                  <a:lnTo>
                    <a:pt x="282815" y="1358626"/>
                  </a:lnTo>
                  <a:lnTo>
                    <a:pt x="282308" y="1358743"/>
                  </a:lnTo>
                  <a:lnTo>
                    <a:pt x="280639" y="1358326"/>
                  </a:lnTo>
                  <a:lnTo>
                    <a:pt x="275136" y="1352501"/>
                  </a:lnTo>
                  <a:lnTo>
                    <a:pt x="271224" y="1350373"/>
                  </a:lnTo>
                  <a:lnTo>
                    <a:pt x="268559" y="1347491"/>
                  </a:lnTo>
                  <a:lnTo>
                    <a:pt x="265851" y="1345645"/>
                  </a:lnTo>
                  <a:close/>
                  <a:moveTo>
                    <a:pt x="267615" y="1326741"/>
                  </a:moveTo>
                  <a:lnTo>
                    <a:pt x="268900" y="1326856"/>
                  </a:lnTo>
                  <a:lnTo>
                    <a:pt x="270966" y="1328205"/>
                  </a:lnTo>
                  <a:lnTo>
                    <a:pt x="271406" y="1328599"/>
                  </a:lnTo>
                  <a:lnTo>
                    <a:pt x="272984" y="1331280"/>
                  </a:lnTo>
                  <a:lnTo>
                    <a:pt x="272198" y="1332530"/>
                  </a:lnTo>
                  <a:lnTo>
                    <a:pt x="270416" y="1334486"/>
                  </a:lnTo>
                  <a:lnTo>
                    <a:pt x="269232" y="1335261"/>
                  </a:lnTo>
                  <a:lnTo>
                    <a:pt x="268649" y="1334860"/>
                  </a:lnTo>
                  <a:lnTo>
                    <a:pt x="267051" y="1334642"/>
                  </a:lnTo>
                  <a:lnTo>
                    <a:pt x="265346" y="1332694"/>
                  </a:lnTo>
                  <a:lnTo>
                    <a:pt x="264019" y="1331915"/>
                  </a:lnTo>
                  <a:lnTo>
                    <a:pt x="263137" y="1331876"/>
                  </a:lnTo>
                  <a:lnTo>
                    <a:pt x="262700" y="1332580"/>
                  </a:lnTo>
                  <a:lnTo>
                    <a:pt x="262588" y="1333521"/>
                  </a:lnTo>
                  <a:lnTo>
                    <a:pt x="262800" y="1334704"/>
                  </a:lnTo>
                  <a:lnTo>
                    <a:pt x="262653" y="1335240"/>
                  </a:lnTo>
                  <a:lnTo>
                    <a:pt x="262150" y="1335135"/>
                  </a:lnTo>
                  <a:lnTo>
                    <a:pt x="261645" y="1334583"/>
                  </a:lnTo>
                  <a:lnTo>
                    <a:pt x="261145" y="1333585"/>
                  </a:lnTo>
                  <a:lnTo>
                    <a:pt x="261041" y="1332567"/>
                  </a:lnTo>
                  <a:lnTo>
                    <a:pt x="261334" y="1331533"/>
                  </a:lnTo>
                  <a:lnTo>
                    <a:pt x="262572" y="1330142"/>
                  </a:lnTo>
                  <a:lnTo>
                    <a:pt x="266433" y="1327257"/>
                  </a:lnTo>
                  <a:close/>
                  <a:moveTo>
                    <a:pt x="201679" y="1324304"/>
                  </a:moveTo>
                  <a:lnTo>
                    <a:pt x="203122" y="1324343"/>
                  </a:lnTo>
                  <a:lnTo>
                    <a:pt x="205617" y="1324937"/>
                  </a:lnTo>
                  <a:lnTo>
                    <a:pt x="211640" y="1325400"/>
                  </a:lnTo>
                  <a:lnTo>
                    <a:pt x="213960" y="1327450"/>
                  </a:lnTo>
                  <a:lnTo>
                    <a:pt x="219528" y="1326147"/>
                  </a:lnTo>
                  <a:lnTo>
                    <a:pt x="220569" y="1326397"/>
                  </a:lnTo>
                  <a:lnTo>
                    <a:pt x="221628" y="1327182"/>
                  </a:lnTo>
                  <a:lnTo>
                    <a:pt x="222787" y="1328850"/>
                  </a:lnTo>
                  <a:lnTo>
                    <a:pt x="224050" y="1331396"/>
                  </a:lnTo>
                  <a:lnTo>
                    <a:pt x="224328" y="1334176"/>
                  </a:lnTo>
                  <a:lnTo>
                    <a:pt x="223823" y="1335171"/>
                  </a:lnTo>
                  <a:lnTo>
                    <a:pt x="222823" y="1336275"/>
                  </a:lnTo>
                  <a:lnTo>
                    <a:pt x="213938" y="1340682"/>
                  </a:lnTo>
                  <a:lnTo>
                    <a:pt x="213704" y="1341106"/>
                  </a:lnTo>
                  <a:lnTo>
                    <a:pt x="213882" y="1341502"/>
                  </a:lnTo>
                  <a:lnTo>
                    <a:pt x="214705" y="1341926"/>
                  </a:lnTo>
                  <a:lnTo>
                    <a:pt x="216486" y="1341870"/>
                  </a:lnTo>
                  <a:lnTo>
                    <a:pt x="223521" y="1340779"/>
                  </a:lnTo>
                  <a:lnTo>
                    <a:pt x="223909" y="1340017"/>
                  </a:lnTo>
                  <a:lnTo>
                    <a:pt x="224402" y="1336544"/>
                  </a:lnTo>
                  <a:lnTo>
                    <a:pt x="225371" y="1334698"/>
                  </a:lnTo>
                  <a:lnTo>
                    <a:pt x="225458" y="1333305"/>
                  </a:lnTo>
                  <a:lnTo>
                    <a:pt x="224816" y="1329983"/>
                  </a:lnTo>
                  <a:lnTo>
                    <a:pt x="224853" y="1328646"/>
                  </a:lnTo>
                  <a:lnTo>
                    <a:pt x="229762" y="1328377"/>
                  </a:lnTo>
                  <a:lnTo>
                    <a:pt x="232836" y="1327147"/>
                  </a:lnTo>
                  <a:lnTo>
                    <a:pt x="235972" y="1324853"/>
                  </a:lnTo>
                  <a:lnTo>
                    <a:pt x="236690" y="1324916"/>
                  </a:lnTo>
                  <a:lnTo>
                    <a:pt x="236239" y="1329045"/>
                  </a:lnTo>
                  <a:lnTo>
                    <a:pt x="235804" y="1330312"/>
                  </a:lnTo>
                  <a:lnTo>
                    <a:pt x="232797" y="1335346"/>
                  </a:lnTo>
                  <a:lnTo>
                    <a:pt x="231072" y="1339769"/>
                  </a:lnTo>
                  <a:lnTo>
                    <a:pt x="230231" y="1344135"/>
                  </a:lnTo>
                  <a:lnTo>
                    <a:pt x="230086" y="1351345"/>
                  </a:lnTo>
                  <a:lnTo>
                    <a:pt x="229342" y="1353777"/>
                  </a:lnTo>
                  <a:lnTo>
                    <a:pt x="227975" y="1355276"/>
                  </a:lnTo>
                  <a:lnTo>
                    <a:pt x="219457" y="1357893"/>
                  </a:lnTo>
                  <a:lnTo>
                    <a:pt x="215065" y="1357727"/>
                  </a:lnTo>
                  <a:lnTo>
                    <a:pt x="211151" y="1355345"/>
                  </a:lnTo>
                  <a:lnTo>
                    <a:pt x="209308" y="1353714"/>
                  </a:lnTo>
                  <a:lnTo>
                    <a:pt x="210701" y="1351736"/>
                  </a:lnTo>
                  <a:lnTo>
                    <a:pt x="211659" y="1351643"/>
                  </a:lnTo>
                  <a:lnTo>
                    <a:pt x="214412" y="1352032"/>
                  </a:lnTo>
                  <a:lnTo>
                    <a:pt x="216538" y="1352771"/>
                  </a:lnTo>
                  <a:lnTo>
                    <a:pt x="217486" y="1352803"/>
                  </a:lnTo>
                  <a:lnTo>
                    <a:pt x="217324" y="1352337"/>
                  </a:lnTo>
                  <a:lnTo>
                    <a:pt x="211270" y="1348604"/>
                  </a:lnTo>
                  <a:lnTo>
                    <a:pt x="206835" y="1346907"/>
                  </a:lnTo>
                  <a:lnTo>
                    <a:pt x="205492" y="1345006"/>
                  </a:lnTo>
                  <a:lnTo>
                    <a:pt x="205452" y="1343530"/>
                  </a:lnTo>
                  <a:lnTo>
                    <a:pt x="205103" y="1342706"/>
                  </a:lnTo>
                  <a:lnTo>
                    <a:pt x="201581" y="1337545"/>
                  </a:lnTo>
                  <a:lnTo>
                    <a:pt x="200890" y="1335502"/>
                  </a:lnTo>
                  <a:lnTo>
                    <a:pt x="200430" y="1332610"/>
                  </a:lnTo>
                  <a:lnTo>
                    <a:pt x="200423" y="1329643"/>
                  </a:lnTo>
                  <a:lnTo>
                    <a:pt x="201286" y="1324824"/>
                  </a:lnTo>
                  <a:close/>
                  <a:moveTo>
                    <a:pt x="255981" y="1307771"/>
                  </a:moveTo>
                  <a:lnTo>
                    <a:pt x="259271" y="1308223"/>
                  </a:lnTo>
                  <a:lnTo>
                    <a:pt x="259754" y="1308403"/>
                  </a:lnTo>
                  <a:lnTo>
                    <a:pt x="259871" y="1308896"/>
                  </a:lnTo>
                  <a:lnTo>
                    <a:pt x="259618" y="1309702"/>
                  </a:lnTo>
                  <a:lnTo>
                    <a:pt x="258559" y="1310856"/>
                  </a:lnTo>
                  <a:lnTo>
                    <a:pt x="255465" y="1313123"/>
                  </a:lnTo>
                  <a:lnTo>
                    <a:pt x="254879" y="1313168"/>
                  </a:lnTo>
                  <a:lnTo>
                    <a:pt x="254658" y="1312436"/>
                  </a:lnTo>
                  <a:lnTo>
                    <a:pt x="254799" y="1310924"/>
                  </a:lnTo>
                  <a:lnTo>
                    <a:pt x="255602" y="1308364"/>
                  </a:lnTo>
                  <a:close/>
                  <a:moveTo>
                    <a:pt x="273547" y="1293912"/>
                  </a:moveTo>
                  <a:lnTo>
                    <a:pt x="273805" y="1296691"/>
                  </a:lnTo>
                  <a:lnTo>
                    <a:pt x="270116" y="1301352"/>
                  </a:lnTo>
                  <a:lnTo>
                    <a:pt x="265397" y="1303666"/>
                  </a:lnTo>
                  <a:lnTo>
                    <a:pt x="264386" y="1302930"/>
                  </a:lnTo>
                  <a:lnTo>
                    <a:pt x="266468" y="1300663"/>
                  </a:lnTo>
                  <a:lnTo>
                    <a:pt x="271049" y="1296728"/>
                  </a:lnTo>
                  <a:close/>
                  <a:moveTo>
                    <a:pt x="2026360" y="1254296"/>
                  </a:moveTo>
                  <a:lnTo>
                    <a:pt x="2027334" y="1254710"/>
                  </a:lnTo>
                  <a:lnTo>
                    <a:pt x="2029416" y="1255799"/>
                  </a:lnTo>
                  <a:lnTo>
                    <a:pt x="2029696" y="1256457"/>
                  </a:lnTo>
                  <a:lnTo>
                    <a:pt x="2028704" y="1257927"/>
                  </a:lnTo>
                  <a:lnTo>
                    <a:pt x="2029004" y="1258792"/>
                  </a:lnTo>
                  <a:lnTo>
                    <a:pt x="2025091" y="1258168"/>
                  </a:lnTo>
                  <a:lnTo>
                    <a:pt x="2023714" y="1257622"/>
                  </a:lnTo>
                  <a:lnTo>
                    <a:pt x="2023599" y="1257048"/>
                  </a:lnTo>
                  <a:lnTo>
                    <a:pt x="2023793" y="1256151"/>
                  </a:lnTo>
                  <a:lnTo>
                    <a:pt x="2024569" y="1255100"/>
                  </a:lnTo>
                  <a:close/>
                  <a:moveTo>
                    <a:pt x="1579136" y="1243590"/>
                  </a:moveTo>
                  <a:lnTo>
                    <a:pt x="1580550" y="1243611"/>
                  </a:lnTo>
                  <a:lnTo>
                    <a:pt x="1580843" y="1247966"/>
                  </a:lnTo>
                  <a:lnTo>
                    <a:pt x="1580446" y="1250007"/>
                  </a:lnTo>
                  <a:lnTo>
                    <a:pt x="1579499" y="1251714"/>
                  </a:lnTo>
                  <a:lnTo>
                    <a:pt x="1578201" y="1253090"/>
                  </a:lnTo>
                  <a:lnTo>
                    <a:pt x="1576548" y="1254135"/>
                  </a:lnTo>
                  <a:lnTo>
                    <a:pt x="1575261" y="1254632"/>
                  </a:lnTo>
                  <a:lnTo>
                    <a:pt x="1574335" y="1254583"/>
                  </a:lnTo>
                  <a:lnTo>
                    <a:pt x="1574507" y="1253381"/>
                  </a:lnTo>
                  <a:lnTo>
                    <a:pt x="1575779" y="1251027"/>
                  </a:lnTo>
                  <a:lnTo>
                    <a:pt x="1576500" y="1248955"/>
                  </a:lnTo>
                  <a:lnTo>
                    <a:pt x="1576675" y="1247167"/>
                  </a:lnTo>
                  <a:lnTo>
                    <a:pt x="1577237" y="1245599"/>
                  </a:lnTo>
                  <a:lnTo>
                    <a:pt x="1578188" y="1244255"/>
                  </a:lnTo>
                  <a:close/>
                  <a:moveTo>
                    <a:pt x="1557450" y="1242613"/>
                  </a:moveTo>
                  <a:lnTo>
                    <a:pt x="1556111" y="1245483"/>
                  </a:lnTo>
                  <a:lnTo>
                    <a:pt x="1554706" y="1247628"/>
                  </a:lnTo>
                  <a:lnTo>
                    <a:pt x="1547362" y="1251924"/>
                  </a:lnTo>
                  <a:lnTo>
                    <a:pt x="1546069" y="1252197"/>
                  </a:lnTo>
                  <a:lnTo>
                    <a:pt x="1544540" y="1251679"/>
                  </a:lnTo>
                  <a:lnTo>
                    <a:pt x="1545336" y="1249044"/>
                  </a:lnTo>
                  <a:lnTo>
                    <a:pt x="1546665" y="1247946"/>
                  </a:lnTo>
                  <a:lnTo>
                    <a:pt x="1549977" y="1246851"/>
                  </a:lnTo>
                  <a:lnTo>
                    <a:pt x="1550542" y="1246178"/>
                  </a:lnTo>
                  <a:lnTo>
                    <a:pt x="1551601" y="1245843"/>
                  </a:lnTo>
                  <a:lnTo>
                    <a:pt x="1553154" y="1245843"/>
                  </a:lnTo>
                  <a:lnTo>
                    <a:pt x="1554883" y="1244857"/>
                  </a:lnTo>
                  <a:lnTo>
                    <a:pt x="1556788" y="1242884"/>
                  </a:lnTo>
                  <a:close/>
                  <a:moveTo>
                    <a:pt x="1565243" y="1237787"/>
                  </a:moveTo>
                  <a:lnTo>
                    <a:pt x="1565529" y="1237959"/>
                  </a:lnTo>
                  <a:lnTo>
                    <a:pt x="1565919" y="1238946"/>
                  </a:lnTo>
                  <a:lnTo>
                    <a:pt x="1566814" y="1239643"/>
                  </a:lnTo>
                  <a:lnTo>
                    <a:pt x="1568216" y="1240051"/>
                  </a:lnTo>
                  <a:lnTo>
                    <a:pt x="1569018" y="1240685"/>
                  </a:lnTo>
                  <a:lnTo>
                    <a:pt x="1569609" y="1242342"/>
                  </a:lnTo>
                  <a:lnTo>
                    <a:pt x="1570179" y="1243072"/>
                  </a:lnTo>
                  <a:lnTo>
                    <a:pt x="1572277" y="1243690"/>
                  </a:lnTo>
                  <a:lnTo>
                    <a:pt x="1573084" y="1244219"/>
                  </a:lnTo>
                  <a:lnTo>
                    <a:pt x="1573664" y="1246026"/>
                  </a:lnTo>
                  <a:lnTo>
                    <a:pt x="1573610" y="1246978"/>
                  </a:lnTo>
                  <a:lnTo>
                    <a:pt x="1573895" y="1247588"/>
                  </a:lnTo>
                  <a:lnTo>
                    <a:pt x="1574518" y="1247858"/>
                  </a:lnTo>
                  <a:lnTo>
                    <a:pt x="1573783" y="1249808"/>
                  </a:lnTo>
                  <a:lnTo>
                    <a:pt x="1571695" y="1253431"/>
                  </a:lnTo>
                  <a:lnTo>
                    <a:pt x="1570023" y="1256906"/>
                  </a:lnTo>
                  <a:lnTo>
                    <a:pt x="1567701" y="1263438"/>
                  </a:lnTo>
                  <a:lnTo>
                    <a:pt x="1566373" y="1263671"/>
                  </a:lnTo>
                  <a:lnTo>
                    <a:pt x="1565213" y="1262102"/>
                  </a:lnTo>
                  <a:lnTo>
                    <a:pt x="1568543" y="1254453"/>
                  </a:lnTo>
                  <a:lnTo>
                    <a:pt x="1568700" y="1253600"/>
                  </a:lnTo>
                  <a:lnTo>
                    <a:pt x="1568543" y="1252868"/>
                  </a:lnTo>
                  <a:lnTo>
                    <a:pt x="1567532" y="1251740"/>
                  </a:lnTo>
                  <a:lnTo>
                    <a:pt x="1566525" y="1253037"/>
                  </a:lnTo>
                  <a:lnTo>
                    <a:pt x="1561819" y="1261659"/>
                  </a:lnTo>
                  <a:lnTo>
                    <a:pt x="1560605" y="1263040"/>
                  </a:lnTo>
                  <a:lnTo>
                    <a:pt x="1559596" y="1263805"/>
                  </a:lnTo>
                  <a:lnTo>
                    <a:pt x="1558794" y="1263952"/>
                  </a:lnTo>
                  <a:lnTo>
                    <a:pt x="1556792" y="1263772"/>
                  </a:lnTo>
                  <a:lnTo>
                    <a:pt x="1552759" y="1266229"/>
                  </a:lnTo>
                  <a:lnTo>
                    <a:pt x="1559536" y="1256001"/>
                  </a:lnTo>
                  <a:lnTo>
                    <a:pt x="1559607" y="1255221"/>
                  </a:lnTo>
                  <a:lnTo>
                    <a:pt x="1558338" y="1254742"/>
                  </a:lnTo>
                  <a:lnTo>
                    <a:pt x="1557836" y="1255007"/>
                  </a:lnTo>
                  <a:lnTo>
                    <a:pt x="1552344" y="1261456"/>
                  </a:lnTo>
                  <a:lnTo>
                    <a:pt x="1549214" y="1263938"/>
                  </a:lnTo>
                  <a:lnTo>
                    <a:pt x="1547110" y="1263184"/>
                  </a:lnTo>
                  <a:lnTo>
                    <a:pt x="1546585" y="1262510"/>
                  </a:lnTo>
                  <a:lnTo>
                    <a:pt x="1546774" y="1261759"/>
                  </a:lnTo>
                  <a:lnTo>
                    <a:pt x="1552118" y="1255250"/>
                  </a:lnTo>
                  <a:lnTo>
                    <a:pt x="1557030" y="1250582"/>
                  </a:lnTo>
                  <a:lnTo>
                    <a:pt x="1559084" y="1247639"/>
                  </a:lnTo>
                  <a:lnTo>
                    <a:pt x="1559919" y="1244862"/>
                  </a:lnTo>
                  <a:lnTo>
                    <a:pt x="1560286" y="1242830"/>
                  </a:lnTo>
                  <a:lnTo>
                    <a:pt x="1560260" y="1240590"/>
                  </a:lnTo>
                  <a:lnTo>
                    <a:pt x="1560514" y="1239973"/>
                  </a:lnTo>
                  <a:lnTo>
                    <a:pt x="1560800" y="1240087"/>
                  </a:lnTo>
                  <a:lnTo>
                    <a:pt x="1561113" y="1240935"/>
                  </a:lnTo>
                  <a:lnTo>
                    <a:pt x="1561196" y="1243294"/>
                  </a:lnTo>
                  <a:lnTo>
                    <a:pt x="1560074" y="1248129"/>
                  </a:lnTo>
                  <a:lnTo>
                    <a:pt x="1559173" y="1250506"/>
                  </a:lnTo>
                  <a:lnTo>
                    <a:pt x="1558098" y="1252463"/>
                  </a:lnTo>
                  <a:lnTo>
                    <a:pt x="1558551" y="1252890"/>
                  </a:lnTo>
                  <a:lnTo>
                    <a:pt x="1560529" y="1251779"/>
                  </a:lnTo>
                  <a:lnTo>
                    <a:pt x="1562195" y="1249435"/>
                  </a:lnTo>
                  <a:lnTo>
                    <a:pt x="1563545" y="1245851"/>
                  </a:lnTo>
                  <a:lnTo>
                    <a:pt x="1564409" y="1242732"/>
                  </a:lnTo>
                  <a:close/>
                  <a:moveTo>
                    <a:pt x="1558132" y="1230631"/>
                  </a:moveTo>
                  <a:lnTo>
                    <a:pt x="1559188" y="1231617"/>
                  </a:lnTo>
                  <a:lnTo>
                    <a:pt x="1559699" y="1232655"/>
                  </a:lnTo>
                  <a:lnTo>
                    <a:pt x="1559924" y="1233675"/>
                  </a:lnTo>
                  <a:lnTo>
                    <a:pt x="1559863" y="1234682"/>
                  </a:lnTo>
                  <a:lnTo>
                    <a:pt x="1559561" y="1235376"/>
                  </a:lnTo>
                  <a:lnTo>
                    <a:pt x="1559011" y="1235758"/>
                  </a:lnTo>
                  <a:lnTo>
                    <a:pt x="1558117" y="1236221"/>
                  </a:lnTo>
                  <a:lnTo>
                    <a:pt x="1557510" y="1236182"/>
                  </a:lnTo>
                  <a:lnTo>
                    <a:pt x="1558186" y="1232986"/>
                  </a:lnTo>
                  <a:lnTo>
                    <a:pt x="1557400" y="1231855"/>
                  </a:lnTo>
                  <a:lnTo>
                    <a:pt x="1557354" y="1231273"/>
                  </a:lnTo>
                  <a:lnTo>
                    <a:pt x="1557695" y="1230740"/>
                  </a:lnTo>
                  <a:close/>
                  <a:moveTo>
                    <a:pt x="1549376" y="1228224"/>
                  </a:moveTo>
                  <a:lnTo>
                    <a:pt x="1550330" y="1228288"/>
                  </a:lnTo>
                  <a:lnTo>
                    <a:pt x="1551189" y="1229026"/>
                  </a:lnTo>
                  <a:lnTo>
                    <a:pt x="1550977" y="1230006"/>
                  </a:lnTo>
                  <a:lnTo>
                    <a:pt x="1550166" y="1231503"/>
                  </a:lnTo>
                  <a:lnTo>
                    <a:pt x="1549469" y="1232133"/>
                  </a:lnTo>
                  <a:lnTo>
                    <a:pt x="1548223" y="1231424"/>
                  </a:lnTo>
                  <a:lnTo>
                    <a:pt x="1548171" y="1229613"/>
                  </a:lnTo>
                  <a:close/>
                  <a:moveTo>
                    <a:pt x="2007055" y="1202264"/>
                  </a:moveTo>
                  <a:lnTo>
                    <a:pt x="2009711" y="1203169"/>
                  </a:lnTo>
                  <a:lnTo>
                    <a:pt x="2011843" y="1204252"/>
                  </a:lnTo>
                  <a:lnTo>
                    <a:pt x="2012401" y="1208224"/>
                  </a:lnTo>
                  <a:lnTo>
                    <a:pt x="2008400" y="1207991"/>
                  </a:lnTo>
                  <a:lnTo>
                    <a:pt x="2003830" y="1205329"/>
                  </a:lnTo>
                  <a:lnTo>
                    <a:pt x="2002924" y="1203391"/>
                  </a:lnTo>
                  <a:lnTo>
                    <a:pt x="2003025" y="1203058"/>
                  </a:lnTo>
                  <a:lnTo>
                    <a:pt x="2003633" y="1202724"/>
                  </a:lnTo>
                  <a:lnTo>
                    <a:pt x="2004793" y="1203186"/>
                  </a:lnTo>
                  <a:lnTo>
                    <a:pt x="2005921" y="1202491"/>
                  </a:lnTo>
                  <a:close/>
                  <a:moveTo>
                    <a:pt x="1553321" y="1201218"/>
                  </a:moveTo>
                  <a:lnTo>
                    <a:pt x="1553723" y="1201341"/>
                  </a:lnTo>
                  <a:lnTo>
                    <a:pt x="1554059" y="1203153"/>
                  </a:lnTo>
                  <a:lnTo>
                    <a:pt x="1553982" y="1204595"/>
                  </a:lnTo>
                  <a:lnTo>
                    <a:pt x="1553583" y="1204888"/>
                  </a:lnTo>
                  <a:lnTo>
                    <a:pt x="1552494" y="1204634"/>
                  </a:lnTo>
                  <a:lnTo>
                    <a:pt x="1552067" y="1207038"/>
                  </a:lnTo>
                  <a:lnTo>
                    <a:pt x="1551651" y="1207263"/>
                  </a:lnTo>
                  <a:lnTo>
                    <a:pt x="1550895" y="1205782"/>
                  </a:lnTo>
                  <a:lnTo>
                    <a:pt x="1551462" y="1204515"/>
                  </a:lnTo>
                  <a:lnTo>
                    <a:pt x="1551379" y="1203642"/>
                  </a:lnTo>
                  <a:lnTo>
                    <a:pt x="1551590" y="1202997"/>
                  </a:lnTo>
                  <a:lnTo>
                    <a:pt x="1552680" y="1201555"/>
                  </a:lnTo>
                  <a:close/>
                  <a:moveTo>
                    <a:pt x="1820765" y="1144342"/>
                  </a:moveTo>
                  <a:lnTo>
                    <a:pt x="1820800" y="1146337"/>
                  </a:lnTo>
                  <a:lnTo>
                    <a:pt x="1821134" y="1147087"/>
                  </a:lnTo>
                  <a:lnTo>
                    <a:pt x="1821779" y="1147429"/>
                  </a:lnTo>
                  <a:lnTo>
                    <a:pt x="1821655" y="1148300"/>
                  </a:lnTo>
                  <a:lnTo>
                    <a:pt x="1820114" y="1151012"/>
                  </a:lnTo>
                  <a:lnTo>
                    <a:pt x="1818064" y="1150675"/>
                  </a:lnTo>
                  <a:lnTo>
                    <a:pt x="1817326" y="1151234"/>
                  </a:lnTo>
                  <a:lnTo>
                    <a:pt x="1816768" y="1151267"/>
                  </a:lnTo>
                  <a:lnTo>
                    <a:pt x="1817694" y="1148721"/>
                  </a:lnTo>
                  <a:lnTo>
                    <a:pt x="1817815" y="1147009"/>
                  </a:lnTo>
                  <a:lnTo>
                    <a:pt x="1817347" y="1145273"/>
                  </a:lnTo>
                  <a:lnTo>
                    <a:pt x="1818025" y="1144389"/>
                  </a:lnTo>
                  <a:close/>
                  <a:moveTo>
                    <a:pt x="1541469" y="1122610"/>
                  </a:moveTo>
                  <a:lnTo>
                    <a:pt x="1542553" y="1123204"/>
                  </a:lnTo>
                  <a:lnTo>
                    <a:pt x="1542152" y="1124162"/>
                  </a:lnTo>
                  <a:lnTo>
                    <a:pt x="1540695" y="1125616"/>
                  </a:lnTo>
                  <a:lnTo>
                    <a:pt x="1539561" y="1126399"/>
                  </a:lnTo>
                  <a:lnTo>
                    <a:pt x="1538749" y="1126515"/>
                  </a:lnTo>
                  <a:lnTo>
                    <a:pt x="1538561" y="1126057"/>
                  </a:lnTo>
                  <a:lnTo>
                    <a:pt x="1539213" y="1124513"/>
                  </a:lnTo>
                  <a:lnTo>
                    <a:pt x="1540286" y="1124326"/>
                  </a:lnTo>
                  <a:close/>
                  <a:moveTo>
                    <a:pt x="1547912" y="1116856"/>
                  </a:moveTo>
                  <a:lnTo>
                    <a:pt x="1549364" y="1117756"/>
                  </a:lnTo>
                  <a:lnTo>
                    <a:pt x="1548071" y="1119389"/>
                  </a:lnTo>
                  <a:lnTo>
                    <a:pt x="1545165" y="1120868"/>
                  </a:lnTo>
                  <a:lnTo>
                    <a:pt x="1542556" y="1121129"/>
                  </a:lnTo>
                  <a:lnTo>
                    <a:pt x="1543695" y="1118888"/>
                  </a:lnTo>
                  <a:lnTo>
                    <a:pt x="1544673" y="1117805"/>
                  </a:lnTo>
                  <a:lnTo>
                    <a:pt x="1545750" y="1117112"/>
                  </a:lnTo>
                  <a:close/>
                  <a:moveTo>
                    <a:pt x="1936108" y="1092618"/>
                  </a:moveTo>
                  <a:lnTo>
                    <a:pt x="1938993" y="1095413"/>
                  </a:lnTo>
                  <a:lnTo>
                    <a:pt x="1939822" y="1095839"/>
                  </a:lnTo>
                  <a:lnTo>
                    <a:pt x="1942175" y="1098247"/>
                  </a:lnTo>
                  <a:lnTo>
                    <a:pt x="1941290" y="1100885"/>
                  </a:lnTo>
                  <a:lnTo>
                    <a:pt x="1938342" y="1099917"/>
                  </a:lnTo>
                  <a:lnTo>
                    <a:pt x="1933785" y="1097922"/>
                  </a:lnTo>
                  <a:lnTo>
                    <a:pt x="1931983" y="1096596"/>
                  </a:lnTo>
                  <a:lnTo>
                    <a:pt x="1931354" y="1095144"/>
                  </a:lnTo>
                  <a:lnTo>
                    <a:pt x="1931287" y="1093136"/>
                  </a:lnTo>
                  <a:lnTo>
                    <a:pt x="1932653" y="1092808"/>
                  </a:lnTo>
                  <a:close/>
                  <a:moveTo>
                    <a:pt x="1848848" y="1089819"/>
                  </a:moveTo>
                  <a:lnTo>
                    <a:pt x="1851627" y="1090485"/>
                  </a:lnTo>
                  <a:lnTo>
                    <a:pt x="1853245" y="1091654"/>
                  </a:lnTo>
                  <a:lnTo>
                    <a:pt x="1854935" y="1093603"/>
                  </a:lnTo>
                  <a:lnTo>
                    <a:pt x="1855663" y="1095104"/>
                  </a:lnTo>
                  <a:lnTo>
                    <a:pt x="1855020" y="1097311"/>
                  </a:lnTo>
                  <a:lnTo>
                    <a:pt x="1853039" y="1099283"/>
                  </a:lnTo>
                  <a:lnTo>
                    <a:pt x="1850758" y="1100626"/>
                  </a:lnTo>
                  <a:lnTo>
                    <a:pt x="1845142" y="1103051"/>
                  </a:lnTo>
                  <a:lnTo>
                    <a:pt x="1842852" y="1103355"/>
                  </a:lnTo>
                  <a:lnTo>
                    <a:pt x="1841809" y="1102551"/>
                  </a:lnTo>
                  <a:lnTo>
                    <a:pt x="1841742" y="1100240"/>
                  </a:lnTo>
                  <a:lnTo>
                    <a:pt x="1842492" y="1098495"/>
                  </a:lnTo>
                  <a:lnTo>
                    <a:pt x="1845117" y="1094873"/>
                  </a:lnTo>
                  <a:lnTo>
                    <a:pt x="1847472" y="1090806"/>
                  </a:lnTo>
                  <a:close/>
                  <a:moveTo>
                    <a:pt x="1591378" y="1080975"/>
                  </a:moveTo>
                  <a:lnTo>
                    <a:pt x="1590435" y="1082310"/>
                  </a:lnTo>
                  <a:lnTo>
                    <a:pt x="1588063" y="1083363"/>
                  </a:lnTo>
                  <a:lnTo>
                    <a:pt x="1584026" y="1084431"/>
                  </a:lnTo>
                  <a:lnTo>
                    <a:pt x="1580546" y="1084877"/>
                  </a:lnTo>
                  <a:lnTo>
                    <a:pt x="1580540" y="1084324"/>
                  </a:lnTo>
                  <a:lnTo>
                    <a:pt x="1581987" y="1082753"/>
                  </a:lnTo>
                  <a:lnTo>
                    <a:pt x="1587375" y="1081380"/>
                  </a:lnTo>
                  <a:close/>
                  <a:moveTo>
                    <a:pt x="1923849" y="1047462"/>
                  </a:moveTo>
                  <a:lnTo>
                    <a:pt x="1928295" y="1047485"/>
                  </a:lnTo>
                  <a:lnTo>
                    <a:pt x="1932474" y="1048376"/>
                  </a:lnTo>
                  <a:lnTo>
                    <a:pt x="1933319" y="1049332"/>
                  </a:lnTo>
                  <a:lnTo>
                    <a:pt x="1935518" y="1051067"/>
                  </a:lnTo>
                  <a:lnTo>
                    <a:pt x="1934976" y="1053152"/>
                  </a:lnTo>
                  <a:lnTo>
                    <a:pt x="1934838" y="1055785"/>
                  </a:lnTo>
                  <a:lnTo>
                    <a:pt x="1933928" y="1057067"/>
                  </a:lnTo>
                  <a:lnTo>
                    <a:pt x="1932526" y="1058041"/>
                  </a:lnTo>
                  <a:lnTo>
                    <a:pt x="1931384" y="1059870"/>
                  </a:lnTo>
                  <a:lnTo>
                    <a:pt x="1930771" y="1060321"/>
                  </a:lnTo>
                  <a:lnTo>
                    <a:pt x="1930188" y="1060219"/>
                  </a:lnTo>
                  <a:lnTo>
                    <a:pt x="1928300" y="1058154"/>
                  </a:lnTo>
                  <a:lnTo>
                    <a:pt x="1925761" y="1057316"/>
                  </a:lnTo>
                  <a:lnTo>
                    <a:pt x="1924819" y="1056503"/>
                  </a:lnTo>
                  <a:lnTo>
                    <a:pt x="1917152" y="1052239"/>
                  </a:lnTo>
                  <a:lnTo>
                    <a:pt x="1916318" y="1050367"/>
                  </a:lnTo>
                  <a:lnTo>
                    <a:pt x="1916182" y="1048870"/>
                  </a:lnTo>
                  <a:lnTo>
                    <a:pt x="1918730" y="1048141"/>
                  </a:lnTo>
                  <a:close/>
                  <a:moveTo>
                    <a:pt x="1215239" y="1037739"/>
                  </a:moveTo>
                  <a:lnTo>
                    <a:pt x="1217338" y="1039508"/>
                  </a:lnTo>
                  <a:lnTo>
                    <a:pt x="1217162" y="1040376"/>
                  </a:lnTo>
                  <a:lnTo>
                    <a:pt x="1216046" y="1041289"/>
                  </a:lnTo>
                  <a:lnTo>
                    <a:pt x="1215010" y="1041382"/>
                  </a:lnTo>
                  <a:lnTo>
                    <a:pt x="1212684" y="1039390"/>
                  </a:lnTo>
                  <a:lnTo>
                    <a:pt x="1212174" y="1038381"/>
                  </a:lnTo>
                  <a:close/>
                  <a:moveTo>
                    <a:pt x="1922730" y="1037418"/>
                  </a:moveTo>
                  <a:lnTo>
                    <a:pt x="1923954" y="1037456"/>
                  </a:lnTo>
                  <a:lnTo>
                    <a:pt x="1925406" y="1038090"/>
                  </a:lnTo>
                  <a:lnTo>
                    <a:pt x="1926365" y="1039925"/>
                  </a:lnTo>
                  <a:lnTo>
                    <a:pt x="1926936" y="1040268"/>
                  </a:lnTo>
                  <a:lnTo>
                    <a:pt x="1927620" y="1039864"/>
                  </a:lnTo>
                  <a:lnTo>
                    <a:pt x="1928140" y="1040213"/>
                  </a:lnTo>
                  <a:lnTo>
                    <a:pt x="1928492" y="1041318"/>
                  </a:lnTo>
                  <a:lnTo>
                    <a:pt x="1929079" y="1042084"/>
                  </a:lnTo>
                  <a:lnTo>
                    <a:pt x="1930559" y="1043082"/>
                  </a:lnTo>
                  <a:lnTo>
                    <a:pt x="1931057" y="1043794"/>
                  </a:lnTo>
                  <a:lnTo>
                    <a:pt x="1931017" y="1044509"/>
                  </a:lnTo>
                  <a:lnTo>
                    <a:pt x="1929762" y="1045609"/>
                  </a:lnTo>
                  <a:lnTo>
                    <a:pt x="1928972" y="1045639"/>
                  </a:lnTo>
                  <a:lnTo>
                    <a:pt x="1922932" y="1043101"/>
                  </a:lnTo>
                  <a:lnTo>
                    <a:pt x="1921301" y="1040512"/>
                  </a:lnTo>
                  <a:lnTo>
                    <a:pt x="1921172" y="1039197"/>
                  </a:lnTo>
                  <a:lnTo>
                    <a:pt x="1921801" y="1037998"/>
                  </a:lnTo>
                  <a:close/>
                  <a:moveTo>
                    <a:pt x="1556997" y="1018976"/>
                  </a:moveTo>
                  <a:lnTo>
                    <a:pt x="1558323" y="1019036"/>
                  </a:lnTo>
                  <a:lnTo>
                    <a:pt x="1560329" y="1020107"/>
                  </a:lnTo>
                  <a:lnTo>
                    <a:pt x="1563630" y="1023680"/>
                  </a:lnTo>
                  <a:lnTo>
                    <a:pt x="1564887" y="1025489"/>
                  </a:lnTo>
                  <a:lnTo>
                    <a:pt x="1565253" y="1027911"/>
                  </a:lnTo>
                  <a:lnTo>
                    <a:pt x="1564380" y="1031145"/>
                  </a:lnTo>
                  <a:lnTo>
                    <a:pt x="1563938" y="1034178"/>
                  </a:lnTo>
                  <a:lnTo>
                    <a:pt x="1562712" y="1036459"/>
                  </a:lnTo>
                  <a:lnTo>
                    <a:pt x="1560432" y="1039338"/>
                  </a:lnTo>
                  <a:lnTo>
                    <a:pt x="1558412" y="1042698"/>
                  </a:lnTo>
                  <a:lnTo>
                    <a:pt x="1556649" y="1046532"/>
                  </a:lnTo>
                  <a:lnTo>
                    <a:pt x="1555194" y="1049068"/>
                  </a:lnTo>
                  <a:lnTo>
                    <a:pt x="1554039" y="1050309"/>
                  </a:lnTo>
                  <a:lnTo>
                    <a:pt x="1552795" y="1050953"/>
                  </a:lnTo>
                  <a:lnTo>
                    <a:pt x="1551457" y="1051005"/>
                  </a:lnTo>
                  <a:lnTo>
                    <a:pt x="1549423" y="1049625"/>
                  </a:lnTo>
                  <a:lnTo>
                    <a:pt x="1546689" y="1046808"/>
                  </a:lnTo>
                  <a:lnTo>
                    <a:pt x="1544462" y="1045082"/>
                  </a:lnTo>
                  <a:lnTo>
                    <a:pt x="1541598" y="1043898"/>
                  </a:lnTo>
                  <a:lnTo>
                    <a:pt x="1540070" y="1042299"/>
                  </a:lnTo>
                  <a:lnTo>
                    <a:pt x="1539791" y="1040724"/>
                  </a:lnTo>
                  <a:lnTo>
                    <a:pt x="1539698" y="1035609"/>
                  </a:lnTo>
                  <a:lnTo>
                    <a:pt x="1539819" y="1033060"/>
                  </a:lnTo>
                  <a:lnTo>
                    <a:pt x="1540201" y="1030928"/>
                  </a:lnTo>
                  <a:lnTo>
                    <a:pt x="1540844" y="1029217"/>
                  </a:lnTo>
                  <a:lnTo>
                    <a:pt x="1542267" y="1026859"/>
                  </a:lnTo>
                  <a:lnTo>
                    <a:pt x="1546247" y="1021742"/>
                  </a:lnTo>
                  <a:lnTo>
                    <a:pt x="1548652" y="1019778"/>
                  </a:lnTo>
                  <a:lnTo>
                    <a:pt x="1550139" y="1019326"/>
                  </a:lnTo>
                  <a:lnTo>
                    <a:pt x="1554083" y="1019694"/>
                  </a:lnTo>
                  <a:lnTo>
                    <a:pt x="1555680" y="1019564"/>
                  </a:lnTo>
                  <a:close/>
                  <a:moveTo>
                    <a:pt x="1931607" y="1013237"/>
                  </a:moveTo>
                  <a:lnTo>
                    <a:pt x="1936476" y="1013661"/>
                  </a:lnTo>
                  <a:lnTo>
                    <a:pt x="1939430" y="1013510"/>
                  </a:lnTo>
                  <a:lnTo>
                    <a:pt x="1940705" y="1014137"/>
                  </a:lnTo>
                  <a:lnTo>
                    <a:pt x="1941896" y="1016052"/>
                  </a:lnTo>
                  <a:lnTo>
                    <a:pt x="1940368" y="1018793"/>
                  </a:lnTo>
                  <a:lnTo>
                    <a:pt x="1938639" y="1019836"/>
                  </a:lnTo>
                  <a:lnTo>
                    <a:pt x="1935827" y="1020143"/>
                  </a:lnTo>
                  <a:lnTo>
                    <a:pt x="1931265" y="1019251"/>
                  </a:lnTo>
                  <a:lnTo>
                    <a:pt x="1929645" y="1018668"/>
                  </a:lnTo>
                  <a:lnTo>
                    <a:pt x="1928243" y="1017198"/>
                  </a:lnTo>
                  <a:lnTo>
                    <a:pt x="1928896" y="1016146"/>
                  </a:lnTo>
                  <a:lnTo>
                    <a:pt x="1931148" y="1015786"/>
                  </a:lnTo>
                  <a:lnTo>
                    <a:pt x="1931524" y="1015359"/>
                  </a:lnTo>
                  <a:lnTo>
                    <a:pt x="1930947" y="1014551"/>
                  </a:lnTo>
                  <a:lnTo>
                    <a:pt x="1930975" y="1013846"/>
                  </a:lnTo>
                  <a:close/>
                  <a:moveTo>
                    <a:pt x="1684626" y="1006334"/>
                  </a:moveTo>
                  <a:lnTo>
                    <a:pt x="1686231" y="1006604"/>
                  </a:lnTo>
                  <a:lnTo>
                    <a:pt x="1688922" y="1007819"/>
                  </a:lnTo>
                  <a:lnTo>
                    <a:pt x="1696170" y="1008432"/>
                  </a:lnTo>
                  <a:lnTo>
                    <a:pt x="1698506" y="1009129"/>
                  </a:lnTo>
                  <a:lnTo>
                    <a:pt x="1699232" y="1010181"/>
                  </a:lnTo>
                  <a:lnTo>
                    <a:pt x="1698921" y="1010880"/>
                  </a:lnTo>
                  <a:lnTo>
                    <a:pt x="1697574" y="1011225"/>
                  </a:lnTo>
                  <a:lnTo>
                    <a:pt x="1692504" y="1010739"/>
                  </a:lnTo>
                  <a:lnTo>
                    <a:pt x="1686267" y="1008888"/>
                  </a:lnTo>
                  <a:lnTo>
                    <a:pt x="1683047" y="1007148"/>
                  </a:lnTo>
                  <a:lnTo>
                    <a:pt x="1683212" y="1006610"/>
                  </a:lnTo>
                  <a:close/>
                  <a:moveTo>
                    <a:pt x="1771582" y="1000598"/>
                  </a:moveTo>
                  <a:lnTo>
                    <a:pt x="1774655" y="1001100"/>
                  </a:lnTo>
                  <a:lnTo>
                    <a:pt x="1779195" y="1002102"/>
                  </a:lnTo>
                  <a:lnTo>
                    <a:pt x="1783260" y="1003412"/>
                  </a:lnTo>
                  <a:lnTo>
                    <a:pt x="1789134" y="1006316"/>
                  </a:lnTo>
                  <a:lnTo>
                    <a:pt x="1791056" y="1009005"/>
                  </a:lnTo>
                  <a:lnTo>
                    <a:pt x="1792965" y="1010976"/>
                  </a:lnTo>
                  <a:lnTo>
                    <a:pt x="1793541" y="1012474"/>
                  </a:lnTo>
                  <a:lnTo>
                    <a:pt x="1793040" y="1013125"/>
                  </a:lnTo>
                  <a:lnTo>
                    <a:pt x="1791811" y="1013633"/>
                  </a:lnTo>
                  <a:lnTo>
                    <a:pt x="1790054" y="1013787"/>
                  </a:lnTo>
                  <a:lnTo>
                    <a:pt x="1786628" y="1013490"/>
                  </a:lnTo>
                  <a:lnTo>
                    <a:pt x="1782949" y="1012667"/>
                  </a:lnTo>
                  <a:lnTo>
                    <a:pt x="1780933" y="1011731"/>
                  </a:lnTo>
                  <a:lnTo>
                    <a:pt x="1779120" y="1009707"/>
                  </a:lnTo>
                  <a:lnTo>
                    <a:pt x="1778773" y="1007481"/>
                  </a:lnTo>
                  <a:lnTo>
                    <a:pt x="1775353" y="1004176"/>
                  </a:lnTo>
                  <a:lnTo>
                    <a:pt x="1771530" y="1003060"/>
                  </a:lnTo>
                  <a:lnTo>
                    <a:pt x="1769420" y="1000759"/>
                  </a:lnTo>
                  <a:close/>
                  <a:moveTo>
                    <a:pt x="1492804" y="996636"/>
                  </a:moveTo>
                  <a:lnTo>
                    <a:pt x="1494874" y="996919"/>
                  </a:lnTo>
                  <a:lnTo>
                    <a:pt x="1496069" y="997570"/>
                  </a:lnTo>
                  <a:lnTo>
                    <a:pt x="1497081" y="998682"/>
                  </a:lnTo>
                  <a:lnTo>
                    <a:pt x="1497385" y="1000357"/>
                  </a:lnTo>
                  <a:lnTo>
                    <a:pt x="1496984" y="1002596"/>
                  </a:lnTo>
                  <a:lnTo>
                    <a:pt x="1496330" y="1004630"/>
                  </a:lnTo>
                  <a:lnTo>
                    <a:pt x="1495427" y="1006461"/>
                  </a:lnTo>
                  <a:lnTo>
                    <a:pt x="1493197" y="1009541"/>
                  </a:lnTo>
                  <a:lnTo>
                    <a:pt x="1486242" y="1014800"/>
                  </a:lnTo>
                  <a:lnTo>
                    <a:pt x="1483633" y="1017661"/>
                  </a:lnTo>
                  <a:lnTo>
                    <a:pt x="1481672" y="1019370"/>
                  </a:lnTo>
                  <a:lnTo>
                    <a:pt x="1470324" y="1026972"/>
                  </a:lnTo>
                  <a:lnTo>
                    <a:pt x="1468915" y="1027346"/>
                  </a:lnTo>
                  <a:lnTo>
                    <a:pt x="1467436" y="1027200"/>
                  </a:lnTo>
                  <a:lnTo>
                    <a:pt x="1464325" y="1026066"/>
                  </a:lnTo>
                  <a:lnTo>
                    <a:pt x="1461171" y="1025863"/>
                  </a:lnTo>
                  <a:lnTo>
                    <a:pt x="1453004" y="1028920"/>
                  </a:lnTo>
                  <a:lnTo>
                    <a:pt x="1452611" y="1028397"/>
                  </a:lnTo>
                  <a:lnTo>
                    <a:pt x="1452250" y="1025115"/>
                  </a:lnTo>
                  <a:lnTo>
                    <a:pt x="1451431" y="1023293"/>
                  </a:lnTo>
                  <a:lnTo>
                    <a:pt x="1447825" y="1019399"/>
                  </a:lnTo>
                  <a:lnTo>
                    <a:pt x="1447590" y="1018490"/>
                  </a:lnTo>
                  <a:lnTo>
                    <a:pt x="1447638" y="1017363"/>
                  </a:lnTo>
                  <a:lnTo>
                    <a:pt x="1447923" y="1016484"/>
                  </a:lnTo>
                  <a:lnTo>
                    <a:pt x="1451986" y="1012838"/>
                  </a:lnTo>
                  <a:lnTo>
                    <a:pt x="1461180" y="999527"/>
                  </a:lnTo>
                  <a:lnTo>
                    <a:pt x="1463385" y="998867"/>
                  </a:lnTo>
                  <a:lnTo>
                    <a:pt x="1467912" y="1000354"/>
                  </a:lnTo>
                  <a:lnTo>
                    <a:pt x="1470059" y="1000832"/>
                  </a:lnTo>
                  <a:lnTo>
                    <a:pt x="1471593" y="1000759"/>
                  </a:lnTo>
                  <a:lnTo>
                    <a:pt x="1478168" y="997954"/>
                  </a:lnTo>
                  <a:lnTo>
                    <a:pt x="1484425" y="998286"/>
                  </a:lnTo>
                  <a:lnTo>
                    <a:pt x="1490129" y="996646"/>
                  </a:lnTo>
                  <a:close/>
                  <a:moveTo>
                    <a:pt x="1591551" y="976194"/>
                  </a:moveTo>
                  <a:lnTo>
                    <a:pt x="1599182" y="976620"/>
                  </a:lnTo>
                  <a:lnTo>
                    <a:pt x="1600634" y="976956"/>
                  </a:lnTo>
                  <a:lnTo>
                    <a:pt x="1602779" y="978669"/>
                  </a:lnTo>
                  <a:lnTo>
                    <a:pt x="1605020" y="978547"/>
                  </a:lnTo>
                  <a:lnTo>
                    <a:pt x="1606261" y="979944"/>
                  </a:lnTo>
                  <a:lnTo>
                    <a:pt x="1609210" y="984302"/>
                  </a:lnTo>
                  <a:lnTo>
                    <a:pt x="1609493" y="985026"/>
                  </a:lnTo>
                  <a:lnTo>
                    <a:pt x="1609355" y="986436"/>
                  </a:lnTo>
                  <a:lnTo>
                    <a:pt x="1607804" y="988241"/>
                  </a:lnTo>
                  <a:lnTo>
                    <a:pt x="1606187" y="989192"/>
                  </a:lnTo>
                  <a:lnTo>
                    <a:pt x="1602795" y="990589"/>
                  </a:lnTo>
                  <a:lnTo>
                    <a:pt x="1598966" y="991194"/>
                  </a:lnTo>
                  <a:lnTo>
                    <a:pt x="1596888" y="990218"/>
                  </a:lnTo>
                  <a:lnTo>
                    <a:pt x="1591017" y="986189"/>
                  </a:lnTo>
                  <a:lnTo>
                    <a:pt x="1585621" y="981469"/>
                  </a:lnTo>
                  <a:lnTo>
                    <a:pt x="1583896" y="978833"/>
                  </a:lnTo>
                  <a:lnTo>
                    <a:pt x="1584643" y="977735"/>
                  </a:lnTo>
                  <a:lnTo>
                    <a:pt x="1586927" y="976980"/>
                  </a:lnTo>
                  <a:close/>
                  <a:moveTo>
                    <a:pt x="1619473" y="968460"/>
                  </a:moveTo>
                  <a:lnTo>
                    <a:pt x="1628856" y="972820"/>
                  </a:lnTo>
                  <a:lnTo>
                    <a:pt x="1631676" y="975632"/>
                  </a:lnTo>
                  <a:lnTo>
                    <a:pt x="1631039" y="980026"/>
                  </a:lnTo>
                  <a:lnTo>
                    <a:pt x="1628361" y="980423"/>
                  </a:lnTo>
                  <a:lnTo>
                    <a:pt x="1624844" y="979529"/>
                  </a:lnTo>
                  <a:lnTo>
                    <a:pt x="1621412" y="977790"/>
                  </a:lnTo>
                  <a:lnTo>
                    <a:pt x="1613614" y="972228"/>
                  </a:lnTo>
                  <a:close/>
                  <a:moveTo>
                    <a:pt x="1607212" y="954123"/>
                  </a:moveTo>
                  <a:lnTo>
                    <a:pt x="1608426" y="954397"/>
                  </a:lnTo>
                  <a:lnTo>
                    <a:pt x="1608573" y="954736"/>
                  </a:lnTo>
                  <a:lnTo>
                    <a:pt x="1606583" y="955957"/>
                  </a:lnTo>
                  <a:lnTo>
                    <a:pt x="1604758" y="957825"/>
                  </a:lnTo>
                  <a:lnTo>
                    <a:pt x="1599313" y="957166"/>
                  </a:lnTo>
                  <a:lnTo>
                    <a:pt x="1598574" y="956599"/>
                  </a:lnTo>
                  <a:lnTo>
                    <a:pt x="1598370" y="955916"/>
                  </a:lnTo>
                  <a:lnTo>
                    <a:pt x="1599248" y="955030"/>
                  </a:lnTo>
                  <a:lnTo>
                    <a:pt x="1604840" y="954186"/>
                  </a:lnTo>
                  <a:close/>
                  <a:moveTo>
                    <a:pt x="1405947" y="876655"/>
                  </a:moveTo>
                  <a:lnTo>
                    <a:pt x="1406750" y="876827"/>
                  </a:lnTo>
                  <a:lnTo>
                    <a:pt x="1407448" y="877449"/>
                  </a:lnTo>
                  <a:lnTo>
                    <a:pt x="1408794" y="879715"/>
                  </a:lnTo>
                  <a:lnTo>
                    <a:pt x="1413898" y="881806"/>
                  </a:lnTo>
                  <a:lnTo>
                    <a:pt x="1415544" y="883837"/>
                  </a:lnTo>
                  <a:lnTo>
                    <a:pt x="1416707" y="886089"/>
                  </a:lnTo>
                  <a:lnTo>
                    <a:pt x="1417341" y="889014"/>
                  </a:lnTo>
                  <a:lnTo>
                    <a:pt x="1416708" y="890290"/>
                  </a:lnTo>
                  <a:lnTo>
                    <a:pt x="1414273" y="892218"/>
                  </a:lnTo>
                  <a:lnTo>
                    <a:pt x="1413856" y="893030"/>
                  </a:lnTo>
                  <a:lnTo>
                    <a:pt x="1413928" y="893692"/>
                  </a:lnTo>
                  <a:lnTo>
                    <a:pt x="1418591" y="896720"/>
                  </a:lnTo>
                  <a:lnTo>
                    <a:pt x="1422050" y="904027"/>
                  </a:lnTo>
                  <a:lnTo>
                    <a:pt x="1422925" y="904528"/>
                  </a:lnTo>
                  <a:lnTo>
                    <a:pt x="1424016" y="904242"/>
                  </a:lnTo>
                  <a:lnTo>
                    <a:pt x="1425812" y="902198"/>
                  </a:lnTo>
                  <a:lnTo>
                    <a:pt x="1429838" y="896309"/>
                  </a:lnTo>
                  <a:lnTo>
                    <a:pt x="1430968" y="895755"/>
                  </a:lnTo>
                  <a:lnTo>
                    <a:pt x="1432662" y="895845"/>
                  </a:lnTo>
                  <a:lnTo>
                    <a:pt x="1438614" y="899631"/>
                  </a:lnTo>
                  <a:lnTo>
                    <a:pt x="1440805" y="901741"/>
                  </a:lnTo>
                  <a:lnTo>
                    <a:pt x="1441984" y="904674"/>
                  </a:lnTo>
                  <a:lnTo>
                    <a:pt x="1443217" y="905817"/>
                  </a:lnTo>
                  <a:lnTo>
                    <a:pt x="1447902" y="907329"/>
                  </a:lnTo>
                  <a:lnTo>
                    <a:pt x="1452403" y="907834"/>
                  </a:lnTo>
                  <a:lnTo>
                    <a:pt x="1458281" y="909371"/>
                  </a:lnTo>
                  <a:lnTo>
                    <a:pt x="1460401" y="910522"/>
                  </a:lnTo>
                  <a:lnTo>
                    <a:pt x="1465089" y="916124"/>
                  </a:lnTo>
                  <a:lnTo>
                    <a:pt x="1465629" y="916466"/>
                  </a:lnTo>
                  <a:lnTo>
                    <a:pt x="1470964" y="918752"/>
                  </a:lnTo>
                  <a:lnTo>
                    <a:pt x="1479152" y="923836"/>
                  </a:lnTo>
                  <a:lnTo>
                    <a:pt x="1481228" y="924590"/>
                  </a:lnTo>
                  <a:lnTo>
                    <a:pt x="1489192" y="926262"/>
                  </a:lnTo>
                  <a:lnTo>
                    <a:pt x="1492052" y="927510"/>
                  </a:lnTo>
                  <a:lnTo>
                    <a:pt x="1494813" y="929409"/>
                  </a:lnTo>
                  <a:lnTo>
                    <a:pt x="1497884" y="932880"/>
                  </a:lnTo>
                  <a:lnTo>
                    <a:pt x="1501477" y="938327"/>
                  </a:lnTo>
                  <a:lnTo>
                    <a:pt x="1504293" y="947007"/>
                  </a:lnTo>
                  <a:lnTo>
                    <a:pt x="1504515" y="948718"/>
                  </a:lnTo>
                  <a:lnTo>
                    <a:pt x="1504173" y="949731"/>
                  </a:lnTo>
                  <a:lnTo>
                    <a:pt x="1503157" y="950812"/>
                  </a:lnTo>
                  <a:lnTo>
                    <a:pt x="1498550" y="954364"/>
                  </a:lnTo>
                  <a:lnTo>
                    <a:pt x="1498944" y="954965"/>
                  </a:lnTo>
                  <a:lnTo>
                    <a:pt x="1503279" y="954743"/>
                  </a:lnTo>
                  <a:lnTo>
                    <a:pt x="1512927" y="952560"/>
                  </a:lnTo>
                  <a:lnTo>
                    <a:pt x="1518799" y="954126"/>
                  </a:lnTo>
                  <a:lnTo>
                    <a:pt x="1520840" y="954372"/>
                  </a:lnTo>
                  <a:lnTo>
                    <a:pt x="1521310" y="954281"/>
                  </a:lnTo>
                  <a:lnTo>
                    <a:pt x="1523437" y="951559"/>
                  </a:lnTo>
                  <a:lnTo>
                    <a:pt x="1525774" y="951987"/>
                  </a:lnTo>
                  <a:lnTo>
                    <a:pt x="1529189" y="954626"/>
                  </a:lnTo>
                  <a:lnTo>
                    <a:pt x="1531389" y="956759"/>
                  </a:lnTo>
                  <a:lnTo>
                    <a:pt x="1532370" y="958382"/>
                  </a:lnTo>
                  <a:lnTo>
                    <a:pt x="1532108" y="959299"/>
                  </a:lnTo>
                  <a:lnTo>
                    <a:pt x="1529850" y="959612"/>
                  </a:lnTo>
                  <a:lnTo>
                    <a:pt x="1535369" y="961168"/>
                  </a:lnTo>
                  <a:lnTo>
                    <a:pt x="1540168" y="963629"/>
                  </a:lnTo>
                  <a:lnTo>
                    <a:pt x="1539135" y="965231"/>
                  </a:lnTo>
                  <a:lnTo>
                    <a:pt x="1534014" y="968793"/>
                  </a:lnTo>
                  <a:lnTo>
                    <a:pt x="1528746" y="971905"/>
                  </a:lnTo>
                  <a:lnTo>
                    <a:pt x="1522616" y="976566"/>
                  </a:lnTo>
                  <a:lnTo>
                    <a:pt x="1521086" y="977276"/>
                  </a:lnTo>
                  <a:lnTo>
                    <a:pt x="1520261" y="977316"/>
                  </a:lnTo>
                  <a:lnTo>
                    <a:pt x="1516882" y="976448"/>
                  </a:lnTo>
                  <a:lnTo>
                    <a:pt x="1512012" y="974247"/>
                  </a:lnTo>
                  <a:lnTo>
                    <a:pt x="1497011" y="969168"/>
                  </a:lnTo>
                  <a:lnTo>
                    <a:pt x="1492380" y="968093"/>
                  </a:lnTo>
                  <a:lnTo>
                    <a:pt x="1486494" y="967464"/>
                  </a:lnTo>
                  <a:lnTo>
                    <a:pt x="1485642" y="966267"/>
                  </a:lnTo>
                  <a:lnTo>
                    <a:pt x="1484238" y="958582"/>
                  </a:lnTo>
                  <a:lnTo>
                    <a:pt x="1481590" y="957219"/>
                  </a:lnTo>
                  <a:lnTo>
                    <a:pt x="1472508" y="955611"/>
                  </a:lnTo>
                  <a:lnTo>
                    <a:pt x="1469865" y="954688"/>
                  </a:lnTo>
                  <a:lnTo>
                    <a:pt x="1469745" y="953141"/>
                  </a:lnTo>
                  <a:lnTo>
                    <a:pt x="1470315" y="950483"/>
                  </a:lnTo>
                  <a:lnTo>
                    <a:pt x="1469073" y="949184"/>
                  </a:lnTo>
                  <a:lnTo>
                    <a:pt x="1466020" y="949246"/>
                  </a:lnTo>
                  <a:lnTo>
                    <a:pt x="1463018" y="949802"/>
                  </a:lnTo>
                  <a:lnTo>
                    <a:pt x="1458190" y="951610"/>
                  </a:lnTo>
                  <a:lnTo>
                    <a:pt x="1455927" y="953277"/>
                  </a:lnTo>
                  <a:lnTo>
                    <a:pt x="1455078" y="955085"/>
                  </a:lnTo>
                  <a:lnTo>
                    <a:pt x="1454548" y="958952"/>
                  </a:lnTo>
                  <a:lnTo>
                    <a:pt x="1453949" y="960778"/>
                  </a:lnTo>
                  <a:lnTo>
                    <a:pt x="1452258" y="963168"/>
                  </a:lnTo>
                  <a:lnTo>
                    <a:pt x="1444808" y="969352"/>
                  </a:lnTo>
                  <a:lnTo>
                    <a:pt x="1441779" y="971208"/>
                  </a:lnTo>
                  <a:lnTo>
                    <a:pt x="1438765" y="971740"/>
                  </a:lnTo>
                  <a:lnTo>
                    <a:pt x="1437569" y="972330"/>
                  </a:lnTo>
                  <a:lnTo>
                    <a:pt x="1435543" y="974607"/>
                  </a:lnTo>
                  <a:lnTo>
                    <a:pt x="1432533" y="980182"/>
                  </a:lnTo>
                  <a:lnTo>
                    <a:pt x="1431307" y="981785"/>
                  </a:lnTo>
                  <a:lnTo>
                    <a:pt x="1429321" y="983416"/>
                  </a:lnTo>
                  <a:lnTo>
                    <a:pt x="1425196" y="985905"/>
                  </a:lnTo>
                  <a:lnTo>
                    <a:pt x="1420987" y="987890"/>
                  </a:lnTo>
                  <a:lnTo>
                    <a:pt x="1413974" y="990201"/>
                  </a:lnTo>
                  <a:lnTo>
                    <a:pt x="1410057" y="990983"/>
                  </a:lnTo>
                  <a:lnTo>
                    <a:pt x="1407448" y="990209"/>
                  </a:lnTo>
                  <a:lnTo>
                    <a:pt x="1405657" y="984948"/>
                  </a:lnTo>
                  <a:lnTo>
                    <a:pt x="1401904" y="969429"/>
                  </a:lnTo>
                  <a:lnTo>
                    <a:pt x="1401281" y="968375"/>
                  </a:lnTo>
                  <a:lnTo>
                    <a:pt x="1400514" y="967723"/>
                  </a:lnTo>
                  <a:lnTo>
                    <a:pt x="1399608" y="967474"/>
                  </a:lnTo>
                  <a:lnTo>
                    <a:pt x="1387010" y="969476"/>
                  </a:lnTo>
                  <a:lnTo>
                    <a:pt x="1380059" y="969254"/>
                  </a:lnTo>
                  <a:lnTo>
                    <a:pt x="1373182" y="972752"/>
                  </a:lnTo>
                  <a:lnTo>
                    <a:pt x="1371449" y="973005"/>
                  </a:lnTo>
                  <a:lnTo>
                    <a:pt x="1367957" y="972893"/>
                  </a:lnTo>
                  <a:lnTo>
                    <a:pt x="1365448" y="972336"/>
                  </a:lnTo>
                  <a:lnTo>
                    <a:pt x="1364807" y="971955"/>
                  </a:lnTo>
                  <a:lnTo>
                    <a:pt x="1364384" y="970441"/>
                  </a:lnTo>
                  <a:lnTo>
                    <a:pt x="1364509" y="968854"/>
                  </a:lnTo>
                  <a:lnTo>
                    <a:pt x="1365384" y="967137"/>
                  </a:lnTo>
                  <a:lnTo>
                    <a:pt x="1368490" y="962481"/>
                  </a:lnTo>
                  <a:lnTo>
                    <a:pt x="1371023" y="959604"/>
                  </a:lnTo>
                  <a:lnTo>
                    <a:pt x="1372189" y="958713"/>
                  </a:lnTo>
                  <a:lnTo>
                    <a:pt x="1383962" y="953541"/>
                  </a:lnTo>
                  <a:lnTo>
                    <a:pt x="1386831" y="951836"/>
                  </a:lnTo>
                  <a:lnTo>
                    <a:pt x="1388264" y="950084"/>
                  </a:lnTo>
                  <a:lnTo>
                    <a:pt x="1388261" y="948283"/>
                  </a:lnTo>
                  <a:lnTo>
                    <a:pt x="1387704" y="945977"/>
                  </a:lnTo>
                  <a:lnTo>
                    <a:pt x="1385667" y="940343"/>
                  </a:lnTo>
                  <a:lnTo>
                    <a:pt x="1385150" y="935186"/>
                  </a:lnTo>
                  <a:lnTo>
                    <a:pt x="1385166" y="932618"/>
                  </a:lnTo>
                  <a:lnTo>
                    <a:pt x="1385937" y="928670"/>
                  </a:lnTo>
                  <a:lnTo>
                    <a:pt x="1388884" y="919071"/>
                  </a:lnTo>
                  <a:lnTo>
                    <a:pt x="1389882" y="914381"/>
                  </a:lnTo>
                  <a:lnTo>
                    <a:pt x="1391760" y="897555"/>
                  </a:lnTo>
                  <a:lnTo>
                    <a:pt x="1392764" y="892713"/>
                  </a:lnTo>
                  <a:lnTo>
                    <a:pt x="1394223" y="888283"/>
                  </a:lnTo>
                  <a:lnTo>
                    <a:pt x="1395628" y="885617"/>
                  </a:lnTo>
                  <a:lnTo>
                    <a:pt x="1399373" y="880283"/>
                  </a:lnTo>
                  <a:lnTo>
                    <a:pt x="1402287" y="878141"/>
                  </a:lnTo>
                  <a:close/>
                  <a:moveTo>
                    <a:pt x="1419215" y="872177"/>
                  </a:moveTo>
                  <a:lnTo>
                    <a:pt x="1421570" y="872888"/>
                  </a:lnTo>
                  <a:lnTo>
                    <a:pt x="1422044" y="873371"/>
                  </a:lnTo>
                  <a:lnTo>
                    <a:pt x="1422815" y="874417"/>
                  </a:lnTo>
                  <a:lnTo>
                    <a:pt x="1423321" y="875698"/>
                  </a:lnTo>
                  <a:lnTo>
                    <a:pt x="1426165" y="879155"/>
                  </a:lnTo>
                  <a:lnTo>
                    <a:pt x="1427829" y="881904"/>
                  </a:lnTo>
                  <a:lnTo>
                    <a:pt x="1430088" y="887571"/>
                  </a:lnTo>
                  <a:lnTo>
                    <a:pt x="1430098" y="888649"/>
                  </a:lnTo>
                  <a:lnTo>
                    <a:pt x="1429489" y="889792"/>
                  </a:lnTo>
                  <a:lnTo>
                    <a:pt x="1428259" y="891002"/>
                  </a:lnTo>
                  <a:lnTo>
                    <a:pt x="1426934" y="891471"/>
                  </a:lnTo>
                  <a:lnTo>
                    <a:pt x="1425517" y="891206"/>
                  </a:lnTo>
                  <a:lnTo>
                    <a:pt x="1424316" y="890003"/>
                  </a:lnTo>
                  <a:lnTo>
                    <a:pt x="1423336" y="887855"/>
                  </a:lnTo>
                  <a:lnTo>
                    <a:pt x="1421758" y="886245"/>
                  </a:lnTo>
                  <a:lnTo>
                    <a:pt x="1418187" y="884235"/>
                  </a:lnTo>
                  <a:lnTo>
                    <a:pt x="1417569" y="883448"/>
                  </a:lnTo>
                  <a:lnTo>
                    <a:pt x="1416556" y="880748"/>
                  </a:lnTo>
                  <a:lnTo>
                    <a:pt x="1416359" y="878050"/>
                  </a:lnTo>
                  <a:lnTo>
                    <a:pt x="1415595" y="875604"/>
                  </a:lnTo>
                  <a:lnTo>
                    <a:pt x="1415557" y="874403"/>
                  </a:lnTo>
                  <a:lnTo>
                    <a:pt x="1416218" y="872600"/>
                  </a:lnTo>
                  <a:close/>
                  <a:moveTo>
                    <a:pt x="1435044" y="867745"/>
                  </a:moveTo>
                  <a:lnTo>
                    <a:pt x="1442268" y="869979"/>
                  </a:lnTo>
                  <a:lnTo>
                    <a:pt x="1446626" y="872092"/>
                  </a:lnTo>
                  <a:lnTo>
                    <a:pt x="1450771" y="874681"/>
                  </a:lnTo>
                  <a:lnTo>
                    <a:pt x="1452940" y="876593"/>
                  </a:lnTo>
                  <a:lnTo>
                    <a:pt x="1453136" y="877839"/>
                  </a:lnTo>
                  <a:lnTo>
                    <a:pt x="1452597" y="879079"/>
                  </a:lnTo>
                  <a:lnTo>
                    <a:pt x="1451323" y="880317"/>
                  </a:lnTo>
                  <a:lnTo>
                    <a:pt x="1452316" y="881755"/>
                  </a:lnTo>
                  <a:lnTo>
                    <a:pt x="1455574" y="883396"/>
                  </a:lnTo>
                  <a:lnTo>
                    <a:pt x="1458822" y="884325"/>
                  </a:lnTo>
                  <a:lnTo>
                    <a:pt x="1464051" y="884822"/>
                  </a:lnTo>
                  <a:lnTo>
                    <a:pt x="1464797" y="885166"/>
                  </a:lnTo>
                  <a:lnTo>
                    <a:pt x="1464793" y="885936"/>
                  </a:lnTo>
                  <a:lnTo>
                    <a:pt x="1464039" y="887135"/>
                  </a:lnTo>
                  <a:lnTo>
                    <a:pt x="1462295" y="888667"/>
                  </a:lnTo>
                  <a:lnTo>
                    <a:pt x="1461052" y="888712"/>
                  </a:lnTo>
                  <a:lnTo>
                    <a:pt x="1458162" y="887629"/>
                  </a:lnTo>
                  <a:lnTo>
                    <a:pt x="1457105" y="887078"/>
                  </a:lnTo>
                  <a:lnTo>
                    <a:pt x="1455937" y="885851"/>
                  </a:lnTo>
                  <a:lnTo>
                    <a:pt x="1455345" y="885736"/>
                  </a:lnTo>
                  <a:lnTo>
                    <a:pt x="1454588" y="886148"/>
                  </a:lnTo>
                  <a:lnTo>
                    <a:pt x="1454385" y="886689"/>
                  </a:lnTo>
                  <a:lnTo>
                    <a:pt x="1454734" y="887363"/>
                  </a:lnTo>
                  <a:lnTo>
                    <a:pt x="1454255" y="887555"/>
                  </a:lnTo>
                  <a:lnTo>
                    <a:pt x="1450756" y="887090"/>
                  </a:lnTo>
                  <a:lnTo>
                    <a:pt x="1450205" y="886697"/>
                  </a:lnTo>
                  <a:lnTo>
                    <a:pt x="1450485" y="885376"/>
                  </a:lnTo>
                  <a:lnTo>
                    <a:pt x="1452926" y="883448"/>
                  </a:lnTo>
                  <a:lnTo>
                    <a:pt x="1450781" y="882854"/>
                  </a:lnTo>
                  <a:lnTo>
                    <a:pt x="1450095" y="882141"/>
                  </a:lnTo>
                  <a:lnTo>
                    <a:pt x="1446915" y="883354"/>
                  </a:lnTo>
                  <a:lnTo>
                    <a:pt x="1445153" y="883643"/>
                  </a:lnTo>
                  <a:lnTo>
                    <a:pt x="1442370" y="882798"/>
                  </a:lnTo>
                  <a:lnTo>
                    <a:pt x="1442074" y="878380"/>
                  </a:lnTo>
                  <a:lnTo>
                    <a:pt x="1441737" y="876768"/>
                  </a:lnTo>
                  <a:lnTo>
                    <a:pt x="1440469" y="875671"/>
                  </a:lnTo>
                  <a:lnTo>
                    <a:pt x="1439715" y="874513"/>
                  </a:lnTo>
                  <a:lnTo>
                    <a:pt x="1438500" y="873639"/>
                  </a:lnTo>
                  <a:lnTo>
                    <a:pt x="1435984" y="872751"/>
                  </a:lnTo>
                  <a:lnTo>
                    <a:pt x="1433943" y="870543"/>
                  </a:lnTo>
                  <a:lnTo>
                    <a:pt x="1433517" y="869541"/>
                  </a:lnTo>
                  <a:lnTo>
                    <a:pt x="1433797" y="868786"/>
                  </a:lnTo>
                  <a:close/>
                  <a:moveTo>
                    <a:pt x="1465089" y="859091"/>
                  </a:moveTo>
                  <a:lnTo>
                    <a:pt x="1467593" y="861355"/>
                  </a:lnTo>
                  <a:lnTo>
                    <a:pt x="1470119" y="861867"/>
                  </a:lnTo>
                  <a:lnTo>
                    <a:pt x="1472039" y="861813"/>
                  </a:lnTo>
                  <a:lnTo>
                    <a:pt x="1472465" y="862428"/>
                  </a:lnTo>
                  <a:lnTo>
                    <a:pt x="1470449" y="864488"/>
                  </a:lnTo>
                  <a:lnTo>
                    <a:pt x="1469206" y="864874"/>
                  </a:lnTo>
                  <a:lnTo>
                    <a:pt x="1466974" y="863402"/>
                  </a:lnTo>
                  <a:lnTo>
                    <a:pt x="1465301" y="861598"/>
                  </a:lnTo>
                  <a:lnTo>
                    <a:pt x="1464827" y="860504"/>
                  </a:lnTo>
                  <a:lnTo>
                    <a:pt x="1464694" y="859299"/>
                  </a:lnTo>
                  <a:close/>
                  <a:moveTo>
                    <a:pt x="834464" y="830693"/>
                  </a:moveTo>
                  <a:lnTo>
                    <a:pt x="837665" y="831031"/>
                  </a:lnTo>
                  <a:lnTo>
                    <a:pt x="841746" y="830975"/>
                  </a:lnTo>
                  <a:lnTo>
                    <a:pt x="841040" y="834273"/>
                  </a:lnTo>
                  <a:lnTo>
                    <a:pt x="839473" y="836383"/>
                  </a:lnTo>
                  <a:lnTo>
                    <a:pt x="838237" y="836982"/>
                  </a:lnTo>
                  <a:lnTo>
                    <a:pt x="837699" y="835829"/>
                  </a:lnTo>
                  <a:lnTo>
                    <a:pt x="835301" y="833184"/>
                  </a:lnTo>
                  <a:close/>
                  <a:moveTo>
                    <a:pt x="1991298" y="822780"/>
                  </a:moveTo>
                  <a:lnTo>
                    <a:pt x="1992641" y="822847"/>
                  </a:lnTo>
                  <a:lnTo>
                    <a:pt x="1993159" y="823282"/>
                  </a:lnTo>
                  <a:lnTo>
                    <a:pt x="1990921" y="825172"/>
                  </a:lnTo>
                  <a:lnTo>
                    <a:pt x="1985928" y="828508"/>
                  </a:lnTo>
                  <a:lnTo>
                    <a:pt x="1982787" y="829683"/>
                  </a:lnTo>
                  <a:lnTo>
                    <a:pt x="1981108" y="828238"/>
                  </a:lnTo>
                  <a:lnTo>
                    <a:pt x="1982288" y="827831"/>
                  </a:lnTo>
                  <a:lnTo>
                    <a:pt x="1984015" y="826101"/>
                  </a:lnTo>
                  <a:lnTo>
                    <a:pt x="1986363" y="824572"/>
                  </a:lnTo>
                  <a:lnTo>
                    <a:pt x="1987354" y="823341"/>
                  </a:lnTo>
                  <a:close/>
                  <a:moveTo>
                    <a:pt x="835573" y="802324"/>
                  </a:moveTo>
                  <a:lnTo>
                    <a:pt x="837046" y="804175"/>
                  </a:lnTo>
                  <a:lnTo>
                    <a:pt x="837451" y="807318"/>
                  </a:lnTo>
                  <a:lnTo>
                    <a:pt x="837085" y="808863"/>
                  </a:lnTo>
                  <a:lnTo>
                    <a:pt x="838545" y="810463"/>
                  </a:lnTo>
                  <a:lnTo>
                    <a:pt x="839220" y="810870"/>
                  </a:lnTo>
                  <a:lnTo>
                    <a:pt x="839580" y="812156"/>
                  </a:lnTo>
                  <a:lnTo>
                    <a:pt x="839354" y="813681"/>
                  </a:lnTo>
                  <a:lnTo>
                    <a:pt x="838076" y="817277"/>
                  </a:lnTo>
                  <a:lnTo>
                    <a:pt x="837588" y="816941"/>
                  </a:lnTo>
                  <a:lnTo>
                    <a:pt x="836715" y="815226"/>
                  </a:lnTo>
                  <a:lnTo>
                    <a:pt x="834955" y="814402"/>
                  </a:lnTo>
                  <a:lnTo>
                    <a:pt x="832955" y="812491"/>
                  </a:lnTo>
                  <a:lnTo>
                    <a:pt x="832982" y="808379"/>
                  </a:lnTo>
                  <a:lnTo>
                    <a:pt x="833751" y="806506"/>
                  </a:lnTo>
                  <a:lnTo>
                    <a:pt x="833581" y="803896"/>
                  </a:lnTo>
                  <a:close/>
                  <a:moveTo>
                    <a:pt x="807239" y="788542"/>
                  </a:moveTo>
                  <a:lnTo>
                    <a:pt x="810092" y="788998"/>
                  </a:lnTo>
                  <a:lnTo>
                    <a:pt x="812206" y="788657"/>
                  </a:lnTo>
                  <a:lnTo>
                    <a:pt x="813750" y="790411"/>
                  </a:lnTo>
                  <a:lnTo>
                    <a:pt x="814349" y="792189"/>
                  </a:lnTo>
                  <a:lnTo>
                    <a:pt x="814150" y="792801"/>
                  </a:lnTo>
                  <a:lnTo>
                    <a:pt x="813483" y="793046"/>
                  </a:lnTo>
                  <a:lnTo>
                    <a:pt x="809018" y="791081"/>
                  </a:lnTo>
                  <a:lnTo>
                    <a:pt x="807362" y="789877"/>
                  </a:lnTo>
                  <a:lnTo>
                    <a:pt x="806803" y="788863"/>
                  </a:lnTo>
                  <a:close/>
                  <a:moveTo>
                    <a:pt x="1689312" y="783700"/>
                  </a:moveTo>
                  <a:lnTo>
                    <a:pt x="1696108" y="785134"/>
                  </a:lnTo>
                  <a:lnTo>
                    <a:pt x="1701956" y="786819"/>
                  </a:lnTo>
                  <a:lnTo>
                    <a:pt x="1709479" y="787107"/>
                  </a:lnTo>
                  <a:lnTo>
                    <a:pt x="1711768" y="787747"/>
                  </a:lnTo>
                  <a:lnTo>
                    <a:pt x="1712643" y="788215"/>
                  </a:lnTo>
                  <a:lnTo>
                    <a:pt x="1713252" y="789081"/>
                  </a:lnTo>
                  <a:lnTo>
                    <a:pt x="1714105" y="793052"/>
                  </a:lnTo>
                  <a:lnTo>
                    <a:pt x="1714191" y="795171"/>
                  </a:lnTo>
                  <a:lnTo>
                    <a:pt x="1713963" y="796770"/>
                  </a:lnTo>
                  <a:lnTo>
                    <a:pt x="1708523" y="797171"/>
                  </a:lnTo>
                  <a:lnTo>
                    <a:pt x="1696166" y="797228"/>
                  </a:lnTo>
                  <a:lnTo>
                    <a:pt x="1689446" y="796921"/>
                  </a:lnTo>
                  <a:lnTo>
                    <a:pt x="1686742" y="796258"/>
                  </a:lnTo>
                  <a:lnTo>
                    <a:pt x="1684393" y="795226"/>
                  </a:lnTo>
                  <a:lnTo>
                    <a:pt x="1681724" y="791884"/>
                  </a:lnTo>
                  <a:lnTo>
                    <a:pt x="1680016" y="788436"/>
                  </a:lnTo>
                  <a:lnTo>
                    <a:pt x="1679933" y="786971"/>
                  </a:lnTo>
                  <a:lnTo>
                    <a:pt x="1680385" y="785648"/>
                  </a:lnTo>
                  <a:lnTo>
                    <a:pt x="1681017" y="784850"/>
                  </a:lnTo>
                  <a:close/>
                  <a:moveTo>
                    <a:pt x="799562" y="783501"/>
                  </a:moveTo>
                  <a:lnTo>
                    <a:pt x="802793" y="785776"/>
                  </a:lnTo>
                  <a:lnTo>
                    <a:pt x="803254" y="787194"/>
                  </a:lnTo>
                  <a:lnTo>
                    <a:pt x="803265" y="788172"/>
                  </a:lnTo>
                  <a:lnTo>
                    <a:pt x="802308" y="788314"/>
                  </a:lnTo>
                  <a:lnTo>
                    <a:pt x="798832" y="785725"/>
                  </a:lnTo>
                  <a:close/>
                  <a:moveTo>
                    <a:pt x="1376852" y="774423"/>
                  </a:moveTo>
                  <a:lnTo>
                    <a:pt x="1380204" y="775207"/>
                  </a:lnTo>
                  <a:lnTo>
                    <a:pt x="1383196" y="777931"/>
                  </a:lnTo>
                  <a:lnTo>
                    <a:pt x="1383977" y="779769"/>
                  </a:lnTo>
                  <a:lnTo>
                    <a:pt x="1383744" y="781724"/>
                  </a:lnTo>
                  <a:lnTo>
                    <a:pt x="1384005" y="784552"/>
                  </a:lnTo>
                  <a:lnTo>
                    <a:pt x="1384757" y="788257"/>
                  </a:lnTo>
                  <a:lnTo>
                    <a:pt x="1384958" y="790939"/>
                  </a:lnTo>
                  <a:lnTo>
                    <a:pt x="1384603" y="792606"/>
                  </a:lnTo>
                  <a:lnTo>
                    <a:pt x="1383323" y="795731"/>
                  </a:lnTo>
                  <a:lnTo>
                    <a:pt x="1382239" y="797181"/>
                  </a:lnTo>
                  <a:lnTo>
                    <a:pt x="1380809" y="798543"/>
                  </a:lnTo>
                  <a:lnTo>
                    <a:pt x="1379555" y="799247"/>
                  </a:lnTo>
                  <a:lnTo>
                    <a:pt x="1378474" y="799294"/>
                  </a:lnTo>
                  <a:lnTo>
                    <a:pt x="1376755" y="798631"/>
                  </a:lnTo>
                  <a:lnTo>
                    <a:pt x="1372821" y="796013"/>
                  </a:lnTo>
                  <a:lnTo>
                    <a:pt x="1372025" y="794881"/>
                  </a:lnTo>
                  <a:lnTo>
                    <a:pt x="1371624" y="793558"/>
                  </a:lnTo>
                  <a:lnTo>
                    <a:pt x="1371621" y="792041"/>
                  </a:lnTo>
                  <a:lnTo>
                    <a:pt x="1371973" y="790470"/>
                  </a:lnTo>
                  <a:lnTo>
                    <a:pt x="1373177" y="787328"/>
                  </a:lnTo>
                  <a:lnTo>
                    <a:pt x="1370878" y="784828"/>
                  </a:lnTo>
                  <a:lnTo>
                    <a:pt x="1370318" y="783404"/>
                  </a:lnTo>
                  <a:lnTo>
                    <a:pt x="1370588" y="782598"/>
                  </a:lnTo>
                  <a:lnTo>
                    <a:pt x="1371869" y="780668"/>
                  </a:lnTo>
                  <a:lnTo>
                    <a:pt x="1372218" y="779461"/>
                  </a:lnTo>
                  <a:lnTo>
                    <a:pt x="1373508" y="777747"/>
                  </a:lnTo>
                  <a:close/>
                  <a:moveTo>
                    <a:pt x="1651604" y="773055"/>
                  </a:moveTo>
                  <a:lnTo>
                    <a:pt x="1656439" y="773682"/>
                  </a:lnTo>
                  <a:lnTo>
                    <a:pt x="1669676" y="777557"/>
                  </a:lnTo>
                  <a:lnTo>
                    <a:pt x="1670961" y="778963"/>
                  </a:lnTo>
                  <a:lnTo>
                    <a:pt x="1671595" y="780220"/>
                  </a:lnTo>
                  <a:lnTo>
                    <a:pt x="1671966" y="781615"/>
                  </a:lnTo>
                  <a:lnTo>
                    <a:pt x="1671995" y="784488"/>
                  </a:lnTo>
                  <a:lnTo>
                    <a:pt x="1671729" y="785638"/>
                  </a:lnTo>
                  <a:lnTo>
                    <a:pt x="1670436" y="788417"/>
                  </a:lnTo>
                  <a:lnTo>
                    <a:pt x="1670347" y="789289"/>
                  </a:lnTo>
                  <a:lnTo>
                    <a:pt x="1671386" y="798577"/>
                  </a:lnTo>
                  <a:lnTo>
                    <a:pt x="1671281" y="803628"/>
                  </a:lnTo>
                  <a:lnTo>
                    <a:pt x="1670348" y="807839"/>
                  </a:lnTo>
                  <a:lnTo>
                    <a:pt x="1668455" y="811209"/>
                  </a:lnTo>
                  <a:lnTo>
                    <a:pt x="1665601" y="813740"/>
                  </a:lnTo>
                  <a:lnTo>
                    <a:pt x="1663431" y="815191"/>
                  </a:lnTo>
                  <a:lnTo>
                    <a:pt x="1653797" y="818767"/>
                  </a:lnTo>
                  <a:lnTo>
                    <a:pt x="1646978" y="819692"/>
                  </a:lnTo>
                  <a:lnTo>
                    <a:pt x="1639781" y="819860"/>
                  </a:lnTo>
                  <a:lnTo>
                    <a:pt x="1630624" y="820816"/>
                  </a:lnTo>
                  <a:lnTo>
                    <a:pt x="1626443" y="820616"/>
                  </a:lnTo>
                  <a:lnTo>
                    <a:pt x="1624279" y="820196"/>
                  </a:lnTo>
                  <a:lnTo>
                    <a:pt x="1622740" y="819480"/>
                  </a:lnTo>
                  <a:lnTo>
                    <a:pt x="1620938" y="817216"/>
                  </a:lnTo>
                  <a:lnTo>
                    <a:pt x="1618880" y="813399"/>
                  </a:lnTo>
                  <a:lnTo>
                    <a:pt x="1617177" y="809095"/>
                  </a:lnTo>
                  <a:lnTo>
                    <a:pt x="1615145" y="801449"/>
                  </a:lnTo>
                  <a:lnTo>
                    <a:pt x="1615106" y="800540"/>
                  </a:lnTo>
                  <a:lnTo>
                    <a:pt x="1617068" y="794295"/>
                  </a:lnTo>
                  <a:lnTo>
                    <a:pt x="1619671" y="790079"/>
                  </a:lnTo>
                  <a:lnTo>
                    <a:pt x="1624265" y="783809"/>
                  </a:lnTo>
                  <a:lnTo>
                    <a:pt x="1629451" y="777679"/>
                  </a:lnTo>
                  <a:lnTo>
                    <a:pt x="1630768" y="776666"/>
                  </a:lnTo>
                  <a:lnTo>
                    <a:pt x="1633112" y="775591"/>
                  </a:lnTo>
                  <a:lnTo>
                    <a:pt x="1638979" y="773850"/>
                  </a:lnTo>
                  <a:lnTo>
                    <a:pt x="1643839" y="774283"/>
                  </a:lnTo>
                  <a:lnTo>
                    <a:pt x="1645981" y="774063"/>
                  </a:lnTo>
                  <a:lnTo>
                    <a:pt x="1648657" y="773252"/>
                  </a:lnTo>
                  <a:close/>
                  <a:moveTo>
                    <a:pt x="1573353" y="772344"/>
                  </a:moveTo>
                  <a:lnTo>
                    <a:pt x="1575480" y="774218"/>
                  </a:lnTo>
                  <a:lnTo>
                    <a:pt x="1576498" y="776063"/>
                  </a:lnTo>
                  <a:lnTo>
                    <a:pt x="1572589" y="779360"/>
                  </a:lnTo>
                  <a:lnTo>
                    <a:pt x="1570526" y="779843"/>
                  </a:lnTo>
                  <a:lnTo>
                    <a:pt x="1567738" y="777517"/>
                  </a:lnTo>
                  <a:lnTo>
                    <a:pt x="1567719" y="776226"/>
                  </a:lnTo>
                  <a:lnTo>
                    <a:pt x="1568259" y="773124"/>
                  </a:lnTo>
                  <a:close/>
                  <a:moveTo>
                    <a:pt x="915235" y="762287"/>
                  </a:moveTo>
                  <a:lnTo>
                    <a:pt x="920480" y="762512"/>
                  </a:lnTo>
                  <a:lnTo>
                    <a:pt x="922976" y="763180"/>
                  </a:lnTo>
                  <a:lnTo>
                    <a:pt x="926269" y="765733"/>
                  </a:lnTo>
                  <a:lnTo>
                    <a:pt x="926968" y="767177"/>
                  </a:lnTo>
                  <a:lnTo>
                    <a:pt x="927072" y="768108"/>
                  </a:lnTo>
                  <a:lnTo>
                    <a:pt x="926648" y="768915"/>
                  </a:lnTo>
                  <a:lnTo>
                    <a:pt x="924530" y="770023"/>
                  </a:lnTo>
                  <a:lnTo>
                    <a:pt x="923128" y="770186"/>
                  </a:lnTo>
                  <a:lnTo>
                    <a:pt x="920504" y="769481"/>
                  </a:lnTo>
                  <a:lnTo>
                    <a:pt x="916658" y="767913"/>
                  </a:lnTo>
                  <a:lnTo>
                    <a:pt x="913765" y="766251"/>
                  </a:lnTo>
                  <a:lnTo>
                    <a:pt x="911825" y="764500"/>
                  </a:lnTo>
                  <a:lnTo>
                    <a:pt x="911582" y="763289"/>
                  </a:lnTo>
                  <a:lnTo>
                    <a:pt x="913036" y="762621"/>
                  </a:lnTo>
                  <a:close/>
                  <a:moveTo>
                    <a:pt x="1668511" y="757246"/>
                  </a:moveTo>
                  <a:lnTo>
                    <a:pt x="1671682" y="757748"/>
                  </a:lnTo>
                  <a:lnTo>
                    <a:pt x="1673992" y="759386"/>
                  </a:lnTo>
                  <a:lnTo>
                    <a:pt x="1676498" y="763924"/>
                  </a:lnTo>
                  <a:lnTo>
                    <a:pt x="1678167" y="766133"/>
                  </a:lnTo>
                  <a:lnTo>
                    <a:pt x="1678692" y="767736"/>
                  </a:lnTo>
                  <a:lnTo>
                    <a:pt x="1677862" y="768494"/>
                  </a:lnTo>
                  <a:lnTo>
                    <a:pt x="1677940" y="769238"/>
                  </a:lnTo>
                  <a:lnTo>
                    <a:pt x="1678321" y="769697"/>
                  </a:lnTo>
                  <a:lnTo>
                    <a:pt x="1678177" y="770542"/>
                  </a:lnTo>
                  <a:lnTo>
                    <a:pt x="1677508" y="771776"/>
                  </a:lnTo>
                  <a:lnTo>
                    <a:pt x="1676597" y="772534"/>
                  </a:lnTo>
                  <a:lnTo>
                    <a:pt x="1674607" y="772817"/>
                  </a:lnTo>
                  <a:lnTo>
                    <a:pt x="1671737" y="770100"/>
                  </a:lnTo>
                  <a:lnTo>
                    <a:pt x="1665711" y="767011"/>
                  </a:lnTo>
                  <a:lnTo>
                    <a:pt x="1663427" y="764766"/>
                  </a:lnTo>
                  <a:lnTo>
                    <a:pt x="1663346" y="763681"/>
                  </a:lnTo>
                  <a:lnTo>
                    <a:pt x="1663530" y="761977"/>
                  </a:lnTo>
                  <a:lnTo>
                    <a:pt x="1664190" y="759894"/>
                  </a:lnTo>
                  <a:lnTo>
                    <a:pt x="1666289" y="757614"/>
                  </a:lnTo>
                  <a:close/>
                  <a:moveTo>
                    <a:pt x="988614" y="751529"/>
                  </a:moveTo>
                  <a:lnTo>
                    <a:pt x="993305" y="752699"/>
                  </a:lnTo>
                  <a:lnTo>
                    <a:pt x="995056" y="753776"/>
                  </a:lnTo>
                  <a:lnTo>
                    <a:pt x="995725" y="754714"/>
                  </a:lnTo>
                  <a:lnTo>
                    <a:pt x="996012" y="756008"/>
                  </a:lnTo>
                  <a:lnTo>
                    <a:pt x="995748" y="759186"/>
                  </a:lnTo>
                  <a:lnTo>
                    <a:pt x="994169" y="759860"/>
                  </a:lnTo>
                  <a:lnTo>
                    <a:pt x="992860" y="762088"/>
                  </a:lnTo>
                  <a:lnTo>
                    <a:pt x="991813" y="762148"/>
                  </a:lnTo>
                  <a:lnTo>
                    <a:pt x="990357" y="761361"/>
                  </a:lnTo>
                  <a:lnTo>
                    <a:pt x="982199" y="758678"/>
                  </a:lnTo>
                  <a:lnTo>
                    <a:pt x="981140" y="757869"/>
                  </a:lnTo>
                  <a:lnTo>
                    <a:pt x="982094" y="756740"/>
                  </a:lnTo>
                  <a:lnTo>
                    <a:pt x="985065" y="755285"/>
                  </a:lnTo>
                  <a:lnTo>
                    <a:pt x="987067" y="753802"/>
                  </a:lnTo>
                  <a:close/>
                  <a:moveTo>
                    <a:pt x="1026473" y="742226"/>
                  </a:moveTo>
                  <a:lnTo>
                    <a:pt x="1029169" y="742536"/>
                  </a:lnTo>
                  <a:lnTo>
                    <a:pt x="1031299" y="743892"/>
                  </a:lnTo>
                  <a:lnTo>
                    <a:pt x="1032338" y="745664"/>
                  </a:lnTo>
                  <a:lnTo>
                    <a:pt x="1034419" y="747062"/>
                  </a:lnTo>
                  <a:lnTo>
                    <a:pt x="1035141" y="748049"/>
                  </a:lnTo>
                  <a:lnTo>
                    <a:pt x="1034157" y="752356"/>
                  </a:lnTo>
                  <a:lnTo>
                    <a:pt x="1033357" y="753755"/>
                  </a:lnTo>
                  <a:lnTo>
                    <a:pt x="1032364" y="754153"/>
                  </a:lnTo>
                  <a:lnTo>
                    <a:pt x="1030392" y="755800"/>
                  </a:lnTo>
                  <a:lnTo>
                    <a:pt x="1029592" y="756020"/>
                  </a:lnTo>
                  <a:lnTo>
                    <a:pt x="1028443" y="754972"/>
                  </a:lnTo>
                  <a:lnTo>
                    <a:pt x="1027477" y="753263"/>
                  </a:lnTo>
                  <a:lnTo>
                    <a:pt x="1027066" y="752995"/>
                  </a:lnTo>
                  <a:lnTo>
                    <a:pt x="1026454" y="753065"/>
                  </a:lnTo>
                  <a:lnTo>
                    <a:pt x="1025126" y="754153"/>
                  </a:lnTo>
                  <a:lnTo>
                    <a:pt x="1024539" y="754138"/>
                  </a:lnTo>
                  <a:lnTo>
                    <a:pt x="1024047" y="753408"/>
                  </a:lnTo>
                  <a:lnTo>
                    <a:pt x="1023808" y="751947"/>
                  </a:lnTo>
                  <a:lnTo>
                    <a:pt x="1023827" y="749761"/>
                  </a:lnTo>
                  <a:lnTo>
                    <a:pt x="1024454" y="746388"/>
                  </a:lnTo>
                  <a:lnTo>
                    <a:pt x="1024493" y="745156"/>
                  </a:lnTo>
                  <a:lnTo>
                    <a:pt x="1024159" y="744219"/>
                  </a:lnTo>
                  <a:lnTo>
                    <a:pt x="1024436" y="743365"/>
                  </a:lnTo>
                  <a:lnTo>
                    <a:pt x="1025327" y="742592"/>
                  </a:lnTo>
                  <a:close/>
                  <a:moveTo>
                    <a:pt x="1035784" y="738024"/>
                  </a:moveTo>
                  <a:lnTo>
                    <a:pt x="1037820" y="738827"/>
                  </a:lnTo>
                  <a:lnTo>
                    <a:pt x="1038770" y="739935"/>
                  </a:lnTo>
                  <a:lnTo>
                    <a:pt x="1039524" y="741690"/>
                  </a:lnTo>
                  <a:lnTo>
                    <a:pt x="1039802" y="743183"/>
                  </a:lnTo>
                  <a:lnTo>
                    <a:pt x="1039209" y="745828"/>
                  </a:lnTo>
                  <a:lnTo>
                    <a:pt x="1036083" y="745120"/>
                  </a:lnTo>
                  <a:lnTo>
                    <a:pt x="1034704" y="744165"/>
                  </a:lnTo>
                  <a:lnTo>
                    <a:pt x="1033530" y="741990"/>
                  </a:lnTo>
                  <a:lnTo>
                    <a:pt x="1033394" y="741438"/>
                  </a:lnTo>
                  <a:lnTo>
                    <a:pt x="1033655" y="740607"/>
                  </a:lnTo>
                  <a:lnTo>
                    <a:pt x="1034926" y="738713"/>
                  </a:lnTo>
                  <a:close/>
                  <a:moveTo>
                    <a:pt x="1276424" y="727098"/>
                  </a:moveTo>
                  <a:lnTo>
                    <a:pt x="1278024" y="727381"/>
                  </a:lnTo>
                  <a:lnTo>
                    <a:pt x="1279542" y="729315"/>
                  </a:lnTo>
                  <a:lnTo>
                    <a:pt x="1280283" y="730843"/>
                  </a:lnTo>
                  <a:lnTo>
                    <a:pt x="1280924" y="732800"/>
                  </a:lnTo>
                  <a:lnTo>
                    <a:pt x="1280741" y="733939"/>
                  </a:lnTo>
                  <a:lnTo>
                    <a:pt x="1278665" y="734460"/>
                  </a:lnTo>
                  <a:lnTo>
                    <a:pt x="1277363" y="732608"/>
                  </a:lnTo>
                  <a:lnTo>
                    <a:pt x="1276307" y="732226"/>
                  </a:lnTo>
                  <a:lnTo>
                    <a:pt x="1275839" y="730989"/>
                  </a:lnTo>
                  <a:lnTo>
                    <a:pt x="1273666" y="730747"/>
                  </a:lnTo>
                  <a:lnTo>
                    <a:pt x="1273815" y="728807"/>
                  </a:lnTo>
                  <a:lnTo>
                    <a:pt x="1274406" y="727852"/>
                  </a:lnTo>
                  <a:close/>
                  <a:moveTo>
                    <a:pt x="1585895" y="726411"/>
                  </a:moveTo>
                  <a:lnTo>
                    <a:pt x="1589074" y="726566"/>
                  </a:lnTo>
                  <a:lnTo>
                    <a:pt x="1589887" y="726894"/>
                  </a:lnTo>
                  <a:lnTo>
                    <a:pt x="1590598" y="727677"/>
                  </a:lnTo>
                  <a:lnTo>
                    <a:pt x="1591570" y="729763"/>
                  </a:lnTo>
                  <a:lnTo>
                    <a:pt x="1591701" y="730237"/>
                  </a:lnTo>
                  <a:lnTo>
                    <a:pt x="1590229" y="732082"/>
                  </a:lnTo>
                  <a:lnTo>
                    <a:pt x="1586376" y="734917"/>
                  </a:lnTo>
                  <a:lnTo>
                    <a:pt x="1583993" y="737286"/>
                  </a:lnTo>
                  <a:lnTo>
                    <a:pt x="1583516" y="738060"/>
                  </a:lnTo>
                  <a:lnTo>
                    <a:pt x="1583299" y="739059"/>
                  </a:lnTo>
                  <a:lnTo>
                    <a:pt x="1582402" y="740269"/>
                  </a:lnTo>
                  <a:lnTo>
                    <a:pt x="1579620" y="743177"/>
                  </a:lnTo>
                  <a:lnTo>
                    <a:pt x="1577749" y="745983"/>
                  </a:lnTo>
                  <a:lnTo>
                    <a:pt x="1575886" y="747528"/>
                  </a:lnTo>
                  <a:lnTo>
                    <a:pt x="1570791" y="748981"/>
                  </a:lnTo>
                  <a:lnTo>
                    <a:pt x="1566808" y="750640"/>
                  </a:lnTo>
                  <a:lnTo>
                    <a:pt x="1565057" y="750938"/>
                  </a:lnTo>
                  <a:lnTo>
                    <a:pt x="1562986" y="750099"/>
                  </a:lnTo>
                  <a:lnTo>
                    <a:pt x="1562249" y="748658"/>
                  </a:lnTo>
                  <a:lnTo>
                    <a:pt x="1561861" y="747201"/>
                  </a:lnTo>
                  <a:lnTo>
                    <a:pt x="1562232" y="746451"/>
                  </a:lnTo>
                  <a:lnTo>
                    <a:pt x="1563155" y="745742"/>
                  </a:lnTo>
                  <a:lnTo>
                    <a:pt x="1564410" y="744125"/>
                  </a:lnTo>
                  <a:lnTo>
                    <a:pt x="1565996" y="741593"/>
                  </a:lnTo>
                  <a:lnTo>
                    <a:pt x="1568474" y="739895"/>
                  </a:lnTo>
                  <a:lnTo>
                    <a:pt x="1573913" y="738317"/>
                  </a:lnTo>
                  <a:lnTo>
                    <a:pt x="1574685" y="737760"/>
                  </a:lnTo>
                  <a:lnTo>
                    <a:pt x="1577117" y="733314"/>
                  </a:lnTo>
                  <a:lnTo>
                    <a:pt x="1577936" y="732551"/>
                  </a:lnTo>
                  <a:lnTo>
                    <a:pt x="1580720" y="732098"/>
                  </a:lnTo>
                  <a:lnTo>
                    <a:pt x="1581019" y="731524"/>
                  </a:lnTo>
                  <a:lnTo>
                    <a:pt x="1580034" y="730426"/>
                  </a:lnTo>
                  <a:lnTo>
                    <a:pt x="1580034" y="729293"/>
                  </a:lnTo>
                  <a:lnTo>
                    <a:pt x="1581019" y="728124"/>
                  </a:lnTo>
                  <a:lnTo>
                    <a:pt x="1582376" y="727257"/>
                  </a:lnTo>
                  <a:close/>
                  <a:moveTo>
                    <a:pt x="1287435" y="724326"/>
                  </a:moveTo>
                  <a:lnTo>
                    <a:pt x="1288164" y="725085"/>
                  </a:lnTo>
                  <a:lnTo>
                    <a:pt x="1288733" y="727862"/>
                  </a:lnTo>
                  <a:lnTo>
                    <a:pt x="1286453" y="731626"/>
                  </a:lnTo>
                  <a:lnTo>
                    <a:pt x="1285739" y="732300"/>
                  </a:lnTo>
                  <a:lnTo>
                    <a:pt x="1284856" y="732550"/>
                  </a:lnTo>
                  <a:lnTo>
                    <a:pt x="1283999" y="732086"/>
                  </a:lnTo>
                  <a:lnTo>
                    <a:pt x="1281447" y="729131"/>
                  </a:lnTo>
                  <a:lnTo>
                    <a:pt x="1280754" y="727289"/>
                  </a:lnTo>
                  <a:lnTo>
                    <a:pt x="1281690" y="726367"/>
                  </a:lnTo>
                  <a:lnTo>
                    <a:pt x="1283665" y="725214"/>
                  </a:lnTo>
                  <a:lnTo>
                    <a:pt x="1285065" y="724654"/>
                  </a:lnTo>
                  <a:lnTo>
                    <a:pt x="1286819" y="725138"/>
                  </a:lnTo>
                  <a:close/>
                  <a:moveTo>
                    <a:pt x="1618108" y="724145"/>
                  </a:moveTo>
                  <a:lnTo>
                    <a:pt x="1620095" y="724264"/>
                  </a:lnTo>
                  <a:lnTo>
                    <a:pt x="1623013" y="725413"/>
                  </a:lnTo>
                  <a:lnTo>
                    <a:pt x="1629311" y="725761"/>
                  </a:lnTo>
                  <a:lnTo>
                    <a:pt x="1630874" y="726818"/>
                  </a:lnTo>
                  <a:lnTo>
                    <a:pt x="1631260" y="727456"/>
                  </a:lnTo>
                  <a:lnTo>
                    <a:pt x="1631230" y="728242"/>
                  </a:lnTo>
                  <a:lnTo>
                    <a:pt x="1630788" y="729177"/>
                  </a:lnTo>
                  <a:lnTo>
                    <a:pt x="1627673" y="731902"/>
                  </a:lnTo>
                  <a:lnTo>
                    <a:pt x="1626177" y="733772"/>
                  </a:lnTo>
                  <a:lnTo>
                    <a:pt x="1625114" y="736010"/>
                  </a:lnTo>
                  <a:lnTo>
                    <a:pt x="1622981" y="737389"/>
                  </a:lnTo>
                  <a:lnTo>
                    <a:pt x="1619779" y="737907"/>
                  </a:lnTo>
                  <a:lnTo>
                    <a:pt x="1617410" y="737641"/>
                  </a:lnTo>
                  <a:lnTo>
                    <a:pt x="1615875" y="736591"/>
                  </a:lnTo>
                  <a:lnTo>
                    <a:pt x="1614701" y="735166"/>
                  </a:lnTo>
                  <a:lnTo>
                    <a:pt x="1613243" y="731576"/>
                  </a:lnTo>
                  <a:lnTo>
                    <a:pt x="1613784" y="729901"/>
                  </a:lnTo>
                  <a:lnTo>
                    <a:pt x="1613951" y="726896"/>
                  </a:lnTo>
                  <a:lnTo>
                    <a:pt x="1614219" y="725768"/>
                  </a:lnTo>
                  <a:lnTo>
                    <a:pt x="1614782" y="725210"/>
                  </a:lnTo>
                  <a:close/>
                  <a:moveTo>
                    <a:pt x="1006375" y="718040"/>
                  </a:moveTo>
                  <a:lnTo>
                    <a:pt x="1008100" y="718155"/>
                  </a:lnTo>
                  <a:lnTo>
                    <a:pt x="1011815" y="719627"/>
                  </a:lnTo>
                  <a:lnTo>
                    <a:pt x="1013520" y="721661"/>
                  </a:lnTo>
                  <a:lnTo>
                    <a:pt x="1014294" y="723166"/>
                  </a:lnTo>
                  <a:lnTo>
                    <a:pt x="1013062" y="723390"/>
                  </a:lnTo>
                  <a:lnTo>
                    <a:pt x="1012107" y="723998"/>
                  </a:lnTo>
                  <a:lnTo>
                    <a:pt x="1011091" y="725283"/>
                  </a:lnTo>
                  <a:lnTo>
                    <a:pt x="1009954" y="726072"/>
                  </a:lnTo>
                  <a:lnTo>
                    <a:pt x="1007881" y="726457"/>
                  </a:lnTo>
                  <a:lnTo>
                    <a:pt x="1007501" y="726363"/>
                  </a:lnTo>
                  <a:lnTo>
                    <a:pt x="1007678" y="725143"/>
                  </a:lnTo>
                  <a:lnTo>
                    <a:pt x="1007523" y="724529"/>
                  </a:lnTo>
                  <a:lnTo>
                    <a:pt x="1006968" y="724092"/>
                  </a:lnTo>
                  <a:lnTo>
                    <a:pt x="1008787" y="723120"/>
                  </a:lnTo>
                  <a:lnTo>
                    <a:pt x="1009053" y="722362"/>
                  </a:lnTo>
                  <a:lnTo>
                    <a:pt x="1008474" y="721780"/>
                  </a:lnTo>
                  <a:lnTo>
                    <a:pt x="1005981" y="720674"/>
                  </a:lnTo>
                  <a:lnTo>
                    <a:pt x="1005270" y="719675"/>
                  </a:lnTo>
                  <a:lnTo>
                    <a:pt x="1005400" y="718797"/>
                  </a:lnTo>
                  <a:close/>
                  <a:moveTo>
                    <a:pt x="1146220" y="715807"/>
                  </a:moveTo>
                  <a:lnTo>
                    <a:pt x="1148530" y="715870"/>
                  </a:lnTo>
                  <a:lnTo>
                    <a:pt x="1151171" y="716883"/>
                  </a:lnTo>
                  <a:lnTo>
                    <a:pt x="1153423" y="718150"/>
                  </a:lnTo>
                  <a:lnTo>
                    <a:pt x="1156790" y="721161"/>
                  </a:lnTo>
                  <a:lnTo>
                    <a:pt x="1156760" y="722620"/>
                  </a:lnTo>
                  <a:lnTo>
                    <a:pt x="1156321" y="725054"/>
                  </a:lnTo>
                  <a:lnTo>
                    <a:pt x="1155355" y="726905"/>
                  </a:lnTo>
                  <a:lnTo>
                    <a:pt x="1153865" y="728175"/>
                  </a:lnTo>
                  <a:lnTo>
                    <a:pt x="1151778" y="728812"/>
                  </a:lnTo>
                  <a:lnTo>
                    <a:pt x="1149095" y="728819"/>
                  </a:lnTo>
                  <a:lnTo>
                    <a:pt x="1147934" y="728288"/>
                  </a:lnTo>
                  <a:lnTo>
                    <a:pt x="1148803" y="726409"/>
                  </a:lnTo>
                  <a:lnTo>
                    <a:pt x="1149455" y="725851"/>
                  </a:lnTo>
                  <a:lnTo>
                    <a:pt x="1149565" y="724194"/>
                  </a:lnTo>
                  <a:lnTo>
                    <a:pt x="1149134" y="721444"/>
                  </a:lnTo>
                  <a:lnTo>
                    <a:pt x="1148594" y="719748"/>
                  </a:lnTo>
                  <a:lnTo>
                    <a:pt x="1147085" y="718779"/>
                  </a:lnTo>
                  <a:lnTo>
                    <a:pt x="1146006" y="718740"/>
                  </a:lnTo>
                  <a:lnTo>
                    <a:pt x="1145712" y="719635"/>
                  </a:lnTo>
                  <a:lnTo>
                    <a:pt x="1146205" y="721466"/>
                  </a:lnTo>
                  <a:lnTo>
                    <a:pt x="1145863" y="723833"/>
                  </a:lnTo>
                  <a:lnTo>
                    <a:pt x="1144687" y="726737"/>
                  </a:lnTo>
                  <a:lnTo>
                    <a:pt x="1143792" y="728100"/>
                  </a:lnTo>
                  <a:lnTo>
                    <a:pt x="1142205" y="727412"/>
                  </a:lnTo>
                  <a:lnTo>
                    <a:pt x="1141447" y="726304"/>
                  </a:lnTo>
                  <a:lnTo>
                    <a:pt x="1141650" y="724475"/>
                  </a:lnTo>
                  <a:lnTo>
                    <a:pt x="1141224" y="722817"/>
                  </a:lnTo>
                  <a:lnTo>
                    <a:pt x="1141627" y="721060"/>
                  </a:lnTo>
                  <a:lnTo>
                    <a:pt x="1142708" y="718446"/>
                  </a:lnTo>
                  <a:lnTo>
                    <a:pt x="1144240" y="716695"/>
                  </a:lnTo>
                  <a:close/>
                  <a:moveTo>
                    <a:pt x="47228" y="714732"/>
                  </a:moveTo>
                  <a:lnTo>
                    <a:pt x="48925" y="714820"/>
                  </a:lnTo>
                  <a:lnTo>
                    <a:pt x="52503" y="716202"/>
                  </a:lnTo>
                  <a:lnTo>
                    <a:pt x="53839" y="717428"/>
                  </a:lnTo>
                  <a:lnTo>
                    <a:pt x="49674" y="718004"/>
                  </a:lnTo>
                  <a:lnTo>
                    <a:pt x="47579" y="719693"/>
                  </a:lnTo>
                  <a:lnTo>
                    <a:pt x="44251" y="717928"/>
                  </a:lnTo>
                  <a:lnTo>
                    <a:pt x="43378" y="717061"/>
                  </a:lnTo>
                  <a:close/>
                  <a:moveTo>
                    <a:pt x="1853383" y="713281"/>
                  </a:moveTo>
                  <a:lnTo>
                    <a:pt x="1855404" y="713588"/>
                  </a:lnTo>
                  <a:lnTo>
                    <a:pt x="1857294" y="715549"/>
                  </a:lnTo>
                  <a:lnTo>
                    <a:pt x="1855004" y="717336"/>
                  </a:lnTo>
                  <a:lnTo>
                    <a:pt x="1853235" y="719618"/>
                  </a:lnTo>
                  <a:lnTo>
                    <a:pt x="1852586" y="719892"/>
                  </a:lnTo>
                  <a:lnTo>
                    <a:pt x="1845940" y="717845"/>
                  </a:lnTo>
                  <a:lnTo>
                    <a:pt x="1845457" y="716211"/>
                  </a:lnTo>
                  <a:lnTo>
                    <a:pt x="1848706" y="714398"/>
                  </a:lnTo>
                  <a:lnTo>
                    <a:pt x="1851347" y="713420"/>
                  </a:lnTo>
                  <a:close/>
                  <a:moveTo>
                    <a:pt x="1592417" y="710681"/>
                  </a:moveTo>
                  <a:lnTo>
                    <a:pt x="1593824" y="710695"/>
                  </a:lnTo>
                  <a:lnTo>
                    <a:pt x="1596769" y="711791"/>
                  </a:lnTo>
                  <a:lnTo>
                    <a:pt x="1598069" y="714043"/>
                  </a:lnTo>
                  <a:lnTo>
                    <a:pt x="1598289" y="715211"/>
                  </a:lnTo>
                  <a:lnTo>
                    <a:pt x="1596492" y="716587"/>
                  </a:lnTo>
                  <a:lnTo>
                    <a:pt x="1589716" y="719130"/>
                  </a:lnTo>
                  <a:lnTo>
                    <a:pt x="1585587" y="721343"/>
                  </a:lnTo>
                  <a:lnTo>
                    <a:pt x="1583500" y="721836"/>
                  </a:lnTo>
                  <a:lnTo>
                    <a:pt x="1580719" y="721339"/>
                  </a:lnTo>
                  <a:lnTo>
                    <a:pt x="1577340" y="722366"/>
                  </a:lnTo>
                  <a:lnTo>
                    <a:pt x="1575999" y="722228"/>
                  </a:lnTo>
                  <a:lnTo>
                    <a:pt x="1577492" y="720418"/>
                  </a:lnTo>
                  <a:lnTo>
                    <a:pt x="1582836" y="715217"/>
                  </a:lnTo>
                  <a:lnTo>
                    <a:pt x="1587317" y="714685"/>
                  </a:lnTo>
                  <a:lnTo>
                    <a:pt x="1588778" y="713597"/>
                  </a:lnTo>
                  <a:lnTo>
                    <a:pt x="1590013" y="713942"/>
                  </a:lnTo>
                  <a:lnTo>
                    <a:pt x="1590728" y="713041"/>
                  </a:lnTo>
                  <a:lnTo>
                    <a:pt x="1590852" y="711703"/>
                  </a:lnTo>
                  <a:close/>
                  <a:moveTo>
                    <a:pt x="1557089" y="707477"/>
                  </a:moveTo>
                  <a:lnTo>
                    <a:pt x="1561230" y="708502"/>
                  </a:lnTo>
                  <a:lnTo>
                    <a:pt x="1562254" y="711090"/>
                  </a:lnTo>
                  <a:lnTo>
                    <a:pt x="1562896" y="711906"/>
                  </a:lnTo>
                  <a:lnTo>
                    <a:pt x="1561945" y="713130"/>
                  </a:lnTo>
                  <a:lnTo>
                    <a:pt x="1558133" y="715576"/>
                  </a:lnTo>
                  <a:lnTo>
                    <a:pt x="1549794" y="716573"/>
                  </a:lnTo>
                  <a:lnTo>
                    <a:pt x="1545590" y="715420"/>
                  </a:lnTo>
                  <a:lnTo>
                    <a:pt x="1547525" y="718926"/>
                  </a:lnTo>
                  <a:lnTo>
                    <a:pt x="1547949" y="720403"/>
                  </a:lnTo>
                  <a:lnTo>
                    <a:pt x="1547357" y="721023"/>
                  </a:lnTo>
                  <a:lnTo>
                    <a:pt x="1545606" y="720834"/>
                  </a:lnTo>
                  <a:lnTo>
                    <a:pt x="1542700" y="719843"/>
                  </a:lnTo>
                  <a:lnTo>
                    <a:pt x="1541029" y="718654"/>
                  </a:lnTo>
                  <a:lnTo>
                    <a:pt x="1540595" y="717271"/>
                  </a:lnTo>
                  <a:lnTo>
                    <a:pt x="1539981" y="716964"/>
                  </a:lnTo>
                  <a:lnTo>
                    <a:pt x="1539194" y="717734"/>
                  </a:lnTo>
                  <a:lnTo>
                    <a:pt x="1538436" y="717559"/>
                  </a:lnTo>
                  <a:lnTo>
                    <a:pt x="1536706" y="715497"/>
                  </a:lnTo>
                  <a:lnTo>
                    <a:pt x="1535433" y="714728"/>
                  </a:lnTo>
                  <a:lnTo>
                    <a:pt x="1527061" y="713498"/>
                  </a:lnTo>
                  <a:lnTo>
                    <a:pt x="1526641" y="712946"/>
                  </a:lnTo>
                  <a:lnTo>
                    <a:pt x="1527078" y="711995"/>
                  </a:lnTo>
                  <a:lnTo>
                    <a:pt x="1528369" y="710640"/>
                  </a:lnTo>
                  <a:lnTo>
                    <a:pt x="1530248" y="710181"/>
                  </a:lnTo>
                  <a:lnTo>
                    <a:pt x="1534980" y="710789"/>
                  </a:lnTo>
                  <a:lnTo>
                    <a:pt x="1535367" y="710444"/>
                  </a:lnTo>
                  <a:lnTo>
                    <a:pt x="1535680" y="708732"/>
                  </a:lnTo>
                  <a:lnTo>
                    <a:pt x="1536038" y="708060"/>
                  </a:lnTo>
                  <a:lnTo>
                    <a:pt x="1539316" y="708232"/>
                  </a:lnTo>
                  <a:lnTo>
                    <a:pt x="1541377" y="707862"/>
                  </a:lnTo>
                  <a:lnTo>
                    <a:pt x="1542513" y="708744"/>
                  </a:lnTo>
                  <a:lnTo>
                    <a:pt x="1543635" y="710782"/>
                  </a:lnTo>
                  <a:lnTo>
                    <a:pt x="1545227" y="710410"/>
                  </a:lnTo>
                  <a:lnTo>
                    <a:pt x="1547533" y="710705"/>
                  </a:lnTo>
                  <a:lnTo>
                    <a:pt x="1550101" y="709959"/>
                  </a:lnTo>
                  <a:lnTo>
                    <a:pt x="1554024" y="708146"/>
                  </a:lnTo>
                  <a:close/>
                  <a:moveTo>
                    <a:pt x="1095685" y="705167"/>
                  </a:moveTo>
                  <a:lnTo>
                    <a:pt x="1098208" y="706088"/>
                  </a:lnTo>
                  <a:lnTo>
                    <a:pt x="1100410" y="707853"/>
                  </a:lnTo>
                  <a:lnTo>
                    <a:pt x="1105303" y="710728"/>
                  </a:lnTo>
                  <a:lnTo>
                    <a:pt x="1106034" y="711904"/>
                  </a:lnTo>
                  <a:lnTo>
                    <a:pt x="1105955" y="712452"/>
                  </a:lnTo>
                  <a:lnTo>
                    <a:pt x="1104066" y="713241"/>
                  </a:lnTo>
                  <a:lnTo>
                    <a:pt x="1103831" y="713959"/>
                  </a:lnTo>
                  <a:lnTo>
                    <a:pt x="1104591" y="715045"/>
                  </a:lnTo>
                  <a:lnTo>
                    <a:pt x="1105372" y="715581"/>
                  </a:lnTo>
                  <a:lnTo>
                    <a:pt x="1106842" y="715126"/>
                  </a:lnTo>
                  <a:lnTo>
                    <a:pt x="1107981" y="713657"/>
                  </a:lnTo>
                  <a:lnTo>
                    <a:pt x="1108674" y="713380"/>
                  </a:lnTo>
                  <a:lnTo>
                    <a:pt x="1109748" y="713657"/>
                  </a:lnTo>
                  <a:lnTo>
                    <a:pt x="1113292" y="716290"/>
                  </a:lnTo>
                  <a:lnTo>
                    <a:pt x="1116012" y="719051"/>
                  </a:lnTo>
                  <a:lnTo>
                    <a:pt x="1118899" y="721008"/>
                  </a:lnTo>
                  <a:lnTo>
                    <a:pt x="1123480" y="722754"/>
                  </a:lnTo>
                  <a:lnTo>
                    <a:pt x="1133485" y="728431"/>
                  </a:lnTo>
                  <a:lnTo>
                    <a:pt x="1136431" y="732261"/>
                  </a:lnTo>
                  <a:lnTo>
                    <a:pt x="1139544" y="738204"/>
                  </a:lnTo>
                  <a:lnTo>
                    <a:pt x="1142324" y="742730"/>
                  </a:lnTo>
                  <a:lnTo>
                    <a:pt x="1144770" y="745847"/>
                  </a:lnTo>
                  <a:lnTo>
                    <a:pt x="1147395" y="748328"/>
                  </a:lnTo>
                  <a:lnTo>
                    <a:pt x="1151601" y="751099"/>
                  </a:lnTo>
                  <a:lnTo>
                    <a:pt x="1155353" y="749083"/>
                  </a:lnTo>
                  <a:lnTo>
                    <a:pt x="1156960" y="748572"/>
                  </a:lnTo>
                  <a:lnTo>
                    <a:pt x="1158345" y="749411"/>
                  </a:lnTo>
                  <a:lnTo>
                    <a:pt x="1159657" y="751499"/>
                  </a:lnTo>
                  <a:lnTo>
                    <a:pt x="1158963" y="752431"/>
                  </a:lnTo>
                  <a:lnTo>
                    <a:pt x="1157332" y="753611"/>
                  </a:lnTo>
                  <a:lnTo>
                    <a:pt x="1154642" y="754986"/>
                  </a:lnTo>
                  <a:lnTo>
                    <a:pt x="1150873" y="755084"/>
                  </a:lnTo>
                  <a:lnTo>
                    <a:pt x="1149061" y="755490"/>
                  </a:lnTo>
                  <a:lnTo>
                    <a:pt x="1146107" y="757671"/>
                  </a:lnTo>
                  <a:lnTo>
                    <a:pt x="1143762" y="760285"/>
                  </a:lnTo>
                  <a:lnTo>
                    <a:pt x="1140481" y="761165"/>
                  </a:lnTo>
                  <a:lnTo>
                    <a:pt x="1134305" y="765541"/>
                  </a:lnTo>
                  <a:lnTo>
                    <a:pt x="1130908" y="767178"/>
                  </a:lnTo>
                  <a:lnTo>
                    <a:pt x="1125907" y="767611"/>
                  </a:lnTo>
                  <a:lnTo>
                    <a:pt x="1115522" y="764187"/>
                  </a:lnTo>
                  <a:lnTo>
                    <a:pt x="1109049" y="764668"/>
                  </a:lnTo>
                  <a:lnTo>
                    <a:pt x="1103766" y="763966"/>
                  </a:lnTo>
                  <a:lnTo>
                    <a:pt x="1097864" y="760342"/>
                  </a:lnTo>
                  <a:lnTo>
                    <a:pt x="1093285" y="758289"/>
                  </a:lnTo>
                  <a:lnTo>
                    <a:pt x="1084418" y="755335"/>
                  </a:lnTo>
                  <a:lnTo>
                    <a:pt x="1083837" y="754897"/>
                  </a:lnTo>
                  <a:lnTo>
                    <a:pt x="1083454" y="753897"/>
                  </a:lnTo>
                  <a:lnTo>
                    <a:pt x="1083274" y="752335"/>
                  </a:lnTo>
                  <a:lnTo>
                    <a:pt x="1082871" y="751291"/>
                  </a:lnTo>
                  <a:lnTo>
                    <a:pt x="1082250" y="750761"/>
                  </a:lnTo>
                  <a:lnTo>
                    <a:pt x="1080854" y="750807"/>
                  </a:lnTo>
                  <a:lnTo>
                    <a:pt x="1079428" y="751840"/>
                  </a:lnTo>
                  <a:lnTo>
                    <a:pt x="1076694" y="752731"/>
                  </a:lnTo>
                  <a:lnTo>
                    <a:pt x="1072532" y="752530"/>
                  </a:lnTo>
                  <a:lnTo>
                    <a:pt x="1070721" y="751911"/>
                  </a:lnTo>
                  <a:lnTo>
                    <a:pt x="1069341" y="750943"/>
                  </a:lnTo>
                  <a:lnTo>
                    <a:pt x="1068594" y="749803"/>
                  </a:lnTo>
                  <a:lnTo>
                    <a:pt x="1068477" y="748498"/>
                  </a:lnTo>
                  <a:lnTo>
                    <a:pt x="1068094" y="747494"/>
                  </a:lnTo>
                  <a:lnTo>
                    <a:pt x="1067444" y="746785"/>
                  </a:lnTo>
                  <a:lnTo>
                    <a:pt x="1065935" y="746766"/>
                  </a:lnTo>
                  <a:lnTo>
                    <a:pt x="1063567" y="747439"/>
                  </a:lnTo>
                  <a:lnTo>
                    <a:pt x="1062642" y="748273"/>
                  </a:lnTo>
                  <a:lnTo>
                    <a:pt x="1063161" y="749262"/>
                  </a:lnTo>
                  <a:lnTo>
                    <a:pt x="1062724" y="749848"/>
                  </a:lnTo>
                  <a:lnTo>
                    <a:pt x="1058581" y="749855"/>
                  </a:lnTo>
                  <a:lnTo>
                    <a:pt x="1056959" y="749276"/>
                  </a:lnTo>
                  <a:lnTo>
                    <a:pt x="1053842" y="747439"/>
                  </a:lnTo>
                  <a:lnTo>
                    <a:pt x="1052479" y="745580"/>
                  </a:lnTo>
                  <a:lnTo>
                    <a:pt x="1050719" y="742267"/>
                  </a:lnTo>
                  <a:lnTo>
                    <a:pt x="1050888" y="741372"/>
                  </a:lnTo>
                  <a:lnTo>
                    <a:pt x="1052007" y="739354"/>
                  </a:lnTo>
                  <a:lnTo>
                    <a:pt x="1053466" y="737947"/>
                  </a:lnTo>
                  <a:lnTo>
                    <a:pt x="1062854" y="737121"/>
                  </a:lnTo>
                  <a:lnTo>
                    <a:pt x="1067247" y="736327"/>
                  </a:lnTo>
                  <a:lnTo>
                    <a:pt x="1072029" y="734027"/>
                  </a:lnTo>
                  <a:lnTo>
                    <a:pt x="1077610" y="730044"/>
                  </a:lnTo>
                  <a:lnTo>
                    <a:pt x="1078817" y="728865"/>
                  </a:lnTo>
                  <a:lnTo>
                    <a:pt x="1078958" y="727998"/>
                  </a:lnTo>
                  <a:lnTo>
                    <a:pt x="1078547" y="727060"/>
                  </a:lnTo>
                  <a:lnTo>
                    <a:pt x="1076803" y="724762"/>
                  </a:lnTo>
                  <a:lnTo>
                    <a:pt x="1076215" y="723188"/>
                  </a:lnTo>
                  <a:lnTo>
                    <a:pt x="1076769" y="722444"/>
                  </a:lnTo>
                  <a:lnTo>
                    <a:pt x="1079008" y="722376"/>
                  </a:lnTo>
                  <a:lnTo>
                    <a:pt x="1077831" y="721486"/>
                  </a:lnTo>
                  <a:lnTo>
                    <a:pt x="1076828" y="720226"/>
                  </a:lnTo>
                  <a:lnTo>
                    <a:pt x="1076476" y="719438"/>
                  </a:lnTo>
                  <a:lnTo>
                    <a:pt x="1076534" y="718184"/>
                  </a:lnTo>
                  <a:lnTo>
                    <a:pt x="1078313" y="717906"/>
                  </a:lnTo>
                  <a:lnTo>
                    <a:pt x="1080506" y="718537"/>
                  </a:lnTo>
                  <a:lnTo>
                    <a:pt x="1084741" y="722152"/>
                  </a:lnTo>
                  <a:lnTo>
                    <a:pt x="1086429" y="722855"/>
                  </a:lnTo>
                  <a:lnTo>
                    <a:pt x="1089330" y="723402"/>
                  </a:lnTo>
                  <a:lnTo>
                    <a:pt x="1086245" y="720909"/>
                  </a:lnTo>
                  <a:lnTo>
                    <a:pt x="1083055" y="715660"/>
                  </a:lnTo>
                  <a:lnTo>
                    <a:pt x="1082657" y="713847"/>
                  </a:lnTo>
                  <a:lnTo>
                    <a:pt x="1082740" y="712838"/>
                  </a:lnTo>
                  <a:lnTo>
                    <a:pt x="1083577" y="710009"/>
                  </a:lnTo>
                  <a:lnTo>
                    <a:pt x="1084327" y="708854"/>
                  </a:lnTo>
                  <a:lnTo>
                    <a:pt x="1085294" y="708088"/>
                  </a:lnTo>
                  <a:lnTo>
                    <a:pt x="1088330" y="706458"/>
                  </a:lnTo>
                  <a:lnTo>
                    <a:pt x="1093194" y="705320"/>
                  </a:lnTo>
                  <a:close/>
                  <a:moveTo>
                    <a:pt x="1366579" y="692240"/>
                  </a:moveTo>
                  <a:lnTo>
                    <a:pt x="1371504" y="693761"/>
                  </a:lnTo>
                  <a:lnTo>
                    <a:pt x="1374402" y="694123"/>
                  </a:lnTo>
                  <a:lnTo>
                    <a:pt x="1377129" y="693679"/>
                  </a:lnTo>
                  <a:lnTo>
                    <a:pt x="1379119" y="694102"/>
                  </a:lnTo>
                  <a:lnTo>
                    <a:pt x="1380371" y="695396"/>
                  </a:lnTo>
                  <a:lnTo>
                    <a:pt x="1381194" y="696740"/>
                  </a:lnTo>
                  <a:lnTo>
                    <a:pt x="1381592" y="698129"/>
                  </a:lnTo>
                  <a:lnTo>
                    <a:pt x="1380515" y="699114"/>
                  </a:lnTo>
                  <a:lnTo>
                    <a:pt x="1376036" y="699975"/>
                  </a:lnTo>
                  <a:lnTo>
                    <a:pt x="1372978" y="699548"/>
                  </a:lnTo>
                  <a:lnTo>
                    <a:pt x="1369705" y="698397"/>
                  </a:lnTo>
                  <a:lnTo>
                    <a:pt x="1368189" y="698908"/>
                  </a:lnTo>
                  <a:lnTo>
                    <a:pt x="1364461" y="698060"/>
                  </a:lnTo>
                  <a:lnTo>
                    <a:pt x="1362608" y="696909"/>
                  </a:lnTo>
                  <a:lnTo>
                    <a:pt x="1361103" y="695265"/>
                  </a:lnTo>
                  <a:lnTo>
                    <a:pt x="1361106" y="694260"/>
                  </a:lnTo>
                  <a:lnTo>
                    <a:pt x="1365037" y="693124"/>
                  </a:lnTo>
                  <a:close/>
                  <a:moveTo>
                    <a:pt x="1023557" y="668293"/>
                  </a:moveTo>
                  <a:lnTo>
                    <a:pt x="1026026" y="668371"/>
                  </a:lnTo>
                  <a:lnTo>
                    <a:pt x="1028664" y="669254"/>
                  </a:lnTo>
                  <a:lnTo>
                    <a:pt x="1032665" y="671771"/>
                  </a:lnTo>
                  <a:lnTo>
                    <a:pt x="1031525" y="672517"/>
                  </a:lnTo>
                  <a:lnTo>
                    <a:pt x="1031470" y="674166"/>
                  </a:lnTo>
                  <a:lnTo>
                    <a:pt x="1031919" y="675727"/>
                  </a:lnTo>
                  <a:lnTo>
                    <a:pt x="1031848" y="676303"/>
                  </a:lnTo>
                  <a:lnTo>
                    <a:pt x="1031521" y="676675"/>
                  </a:lnTo>
                  <a:lnTo>
                    <a:pt x="1026043" y="674965"/>
                  </a:lnTo>
                  <a:lnTo>
                    <a:pt x="1023929" y="673961"/>
                  </a:lnTo>
                  <a:lnTo>
                    <a:pt x="1023242" y="673216"/>
                  </a:lnTo>
                  <a:lnTo>
                    <a:pt x="1022755" y="671697"/>
                  </a:lnTo>
                  <a:lnTo>
                    <a:pt x="1022467" y="669402"/>
                  </a:lnTo>
                  <a:close/>
                  <a:moveTo>
                    <a:pt x="1176307" y="606891"/>
                  </a:moveTo>
                  <a:lnTo>
                    <a:pt x="1177678" y="607265"/>
                  </a:lnTo>
                  <a:lnTo>
                    <a:pt x="1179352" y="610262"/>
                  </a:lnTo>
                  <a:lnTo>
                    <a:pt x="1179663" y="613423"/>
                  </a:lnTo>
                  <a:lnTo>
                    <a:pt x="1183985" y="617366"/>
                  </a:lnTo>
                  <a:lnTo>
                    <a:pt x="1187462" y="617670"/>
                  </a:lnTo>
                  <a:lnTo>
                    <a:pt x="1189623" y="617072"/>
                  </a:lnTo>
                  <a:lnTo>
                    <a:pt x="1196616" y="617302"/>
                  </a:lnTo>
                  <a:lnTo>
                    <a:pt x="1198237" y="618405"/>
                  </a:lnTo>
                  <a:lnTo>
                    <a:pt x="1198120" y="619636"/>
                  </a:lnTo>
                  <a:lnTo>
                    <a:pt x="1197341" y="621626"/>
                  </a:lnTo>
                  <a:lnTo>
                    <a:pt x="1197818" y="623330"/>
                  </a:lnTo>
                  <a:lnTo>
                    <a:pt x="1202558" y="626583"/>
                  </a:lnTo>
                  <a:lnTo>
                    <a:pt x="1206828" y="628831"/>
                  </a:lnTo>
                  <a:lnTo>
                    <a:pt x="1210660" y="631634"/>
                  </a:lnTo>
                  <a:lnTo>
                    <a:pt x="1216367" y="637479"/>
                  </a:lnTo>
                  <a:lnTo>
                    <a:pt x="1217602" y="639127"/>
                  </a:lnTo>
                  <a:lnTo>
                    <a:pt x="1218461" y="640909"/>
                  </a:lnTo>
                  <a:lnTo>
                    <a:pt x="1219945" y="647406"/>
                  </a:lnTo>
                  <a:lnTo>
                    <a:pt x="1220134" y="649867"/>
                  </a:lnTo>
                  <a:lnTo>
                    <a:pt x="1219589" y="656963"/>
                  </a:lnTo>
                  <a:lnTo>
                    <a:pt x="1219139" y="658301"/>
                  </a:lnTo>
                  <a:lnTo>
                    <a:pt x="1217631" y="659911"/>
                  </a:lnTo>
                  <a:lnTo>
                    <a:pt x="1218151" y="660562"/>
                  </a:lnTo>
                  <a:lnTo>
                    <a:pt x="1222662" y="662407"/>
                  </a:lnTo>
                  <a:lnTo>
                    <a:pt x="1226246" y="666063"/>
                  </a:lnTo>
                  <a:lnTo>
                    <a:pt x="1228128" y="667240"/>
                  </a:lnTo>
                  <a:lnTo>
                    <a:pt x="1232666" y="669207"/>
                  </a:lnTo>
                  <a:lnTo>
                    <a:pt x="1233494" y="669949"/>
                  </a:lnTo>
                  <a:lnTo>
                    <a:pt x="1234519" y="671178"/>
                  </a:lnTo>
                  <a:lnTo>
                    <a:pt x="1237079" y="676435"/>
                  </a:lnTo>
                  <a:lnTo>
                    <a:pt x="1241271" y="681162"/>
                  </a:lnTo>
                  <a:lnTo>
                    <a:pt x="1241573" y="682179"/>
                  </a:lnTo>
                  <a:lnTo>
                    <a:pt x="1240675" y="684400"/>
                  </a:lnTo>
                  <a:lnTo>
                    <a:pt x="1241316" y="685104"/>
                  </a:lnTo>
                  <a:lnTo>
                    <a:pt x="1242934" y="685915"/>
                  </a:lnTo>
                  <a:lnTo>
                    <a:pt x="1244387" y="685494"/>
                  </a:lnTo>
                  <a:lnTo>
                    <a:pt x="1245672" y="683834"/>
                  </a:lnTo>
                  <a:lnTo>
                    <a:pt x="1247070" y="683354"/>
                  </a:lnTo>
                  <a:lnTo>
                    <a:pt x="1248581" y="684056"/>
                  </a:lnTo>
                  <a:lnTo>
                    <a:pt x="1249727" y="685291"/>
                  </a:lnTo>
                  <a:lnTo>
                    <a:pt x="1251288" y="688313"/>
                  </a:lnTo>
                  <a:lnTo>
                    <a:pt x="1253570" y="690803"/>
                  </a:lnTo>
                  <a:lnTo>
                    <a:pt x="1253379" y="691563"/>
                  </a:lnTo>
                  <a:lnTo>
                    <a:pt x="1252250" y="692188"/>
                  </a:lnTo>
                  <a:lnTo>
                    <a:pt x="1246102" y="692878"/>
                  </a:lnTo>
                  <a:lnTo>
                    <a:pt x="1242644" y="692399"/>
                  </a:lnTo>
                  <a:lnTo>
                    <a:pt x="1239447" y="691183"/>
                  </a:lnTo>
                  <a:lnTo>
                    <a:pt x="1237226" y="689927"/>
                  </a:lnTo>
                  <a:lnTo>
                    <a:pt x="1235155" y="687999"/>
                  </a:lnTo>
                  <a:lnTo>
                    <a:pt x="1234390" y="688204"/>
                  </a:lnTo>
                  <a:lnTo>
                    <a:pt x="1233305" y="689776"/>
                  </a:lnTo>
                  <a:lnTo>
                    <a:pt x="1230988" y="692069"/>
                  </a:lnTo>
                  <a:lnTo>
                    <a:pt x="1229537" y="694187"/>
                  </a:lnTo>
                  <a:lnTo>
                    <a:pt x="1231213" y="695128"/>
                  </a:lnTo>
                  <a:lnTo>
                    <a:pt x="1239297" y="695066"/>
                  </a:lnTo>
                  <a:lnTo>
                    <a:pt x="1241053" y="695660"/>
                  </a:lnTo>
                  <a:lnTo>
                    <a:pt x="1243107" y="697147"/>
                  </a:lnTo>
                  <a:lnTo>
                    <a:pt x="1240766" y="699627"/>
                  </a:lnTo>
                  <a:lnTo>
                    <a:pt x="1235296" y="703788"/>
                  </a:lnTo>
                  <a:lnTo>
                    <a:pt x="1223475" y="711835"/>
                  </a:lnTo>
                  <a:lnTo>
                    <a:pt x="1220005" y="713895"/>
                  </a:lnTo>
                  <a:lnTo>
                    <a:pt x="1220848" y="714495"/>
                  </a:lnTo>
                  <a:lnTo>
                    <a:pt x="1222165" y="714649"/>
                  </a:lnTo>
                  <a:lnTo>
                    <a:pt x="1226217" y="714297"/>
                  </a:lnTo>
                  <a:lnTo>
                    <a:pt x="1230005" y="713220"/>
                  </a:lnTo>
                  <a:lnTo>
                    <a:pt x="1234613" y="713684"/>
                  </a:lnTo>
                  <a:lnTo>
                    <a:pt x="1236665" y="714563"/>
                  </a:lnTo>
                  <a:lnTo>
                    <a:pt x="1235967" y="715421"/>
                  </a:lnTo>
                  <a:lnTo>
                    <a:pt x="1237215" y="716816"/>
                  </a:lnTo>
                  <a:lnTo>
                    <a:pt x="1244749" y="720055"/>
                  </a:lnTo>
                  <a:lnTo>
                    <a:pt x="1249512" y="719410"/>
                  </a:lnTo>
                  <a:lnTo>
                    <a:pt x="1254374" y="716288"/>
                  </a:lnTo>
                  <a:lnTo>
                    <a:pt x="1258131" y="714739"/>
                  </a:lnTo>
                  <a:lnTo>
                    <a:pt x="1262755" y="714950"/>
                  </a:lnTo>
                  <a:lnTo>
                    <a:pt x="1264048" y="715293"/>
                  </a:lnTo>
                  <a:lnTo>
                    <a:pt x="1263555" y="716051"/>
                  </a:lnTo>
                  <a:lnTo>
                    <a:pt x="1260139" y="717805"/>
                  </a:lnTo>
                  <a:lnTo>
                    <a:pt x="1257049" y="719755"/>
                  </a:lnTo>
                  <a:lnTo>
                    <a:pt x="1256718" y="720305"/>
                  </a:lnTo>
                  <a:lnTo>
                    <a:pt x="1260568" y="719517"/>
                  </a:lnTo>
                  <a:lnTo>
                    <a:pt x="1269136" y="720763"/>
                  </a:lnTo>
                  <a:lnTo>
                    <a:pt x="1273306" y="721072"/>
                  </a:lnTo>
                  <a:lnTo>
                    <a:pt x="1276326" y="720760"/>
                  </a:lnTo>
                  <a:lnTo>
                    <a:pt x="1279158" y="721256"/>
                  </a:lnTo>
                  <a:lnTo>
                    <a:pt x="1281806" y="722560"/>
                  </a:lnTo>
                  <a:lnTo>
                    <a:pt x="1282692" y="723387"/>
                  </a:lnTo>
                  <a:lnTo>
                    <a:pt x="1280214" y="723920"/>
                  </a:lnTo>
                  <a:lnTo>
                    <a:pt x="1277875" y="723910"/>
                  </a:lnTo>
                  <a:lnTo>
                    <a:pt x="1275887" y="724698"/>
                  </a:lnTo>
                  <a:lnTo>
                    <a:pt x="1274249" y="726278"/>
                  </a:lnTo>
                  <a:lnTo>
                    <a:pt x="1273082" y="728325"/>
                  </a:lnTo>
                  <a:lnTo>
                    <a:pt x="1272383" y="730841"/>
                  </a:lnTo>
                  <a:lnTo>
                    <a:pt x="1270605" y="731878"/>
                  </a:lnTo>
                  <a:lnTo>
                    <a:pt x="1267747" y="731439"/>
                  </a:lnTo>
                  <a:lnTo>
                    <a:pt x="1266626" y="730728"/>
                  </a:lnTo>
                  <a:lnTo>
                    <a:pt x="1267243" y="729735"/>
                  </a:lnTo>
                  <a:lnTo>
                    <a:pt x="1266409" y="729592"/>
                  </a:lnTo>
                  <a:lnTo>
                    <a:pt x="1264125" y="730300"/>
                  </a:lnTo>
                  <a:lnTo>
                    <a:pt x="1262346" y="730322"/>
                  </a:lnTo>
                  <a:lnTo>
                    <a:pt x="1261859" y="731061"/>
                  </a:lnTo>
                  <a:lnTo>
                    <a:pt x="1274344" y="739075"/>
                  </a:lnTo>
                  <a:lnTo>
                    <a:pt x="1278338" y="746144"/>
                  </a:lnTo>
                  <a:lnTo>
                    <a:pt x="1281084" y="749059"/>
                  </a:lnTo>
                  <a:lnTo>
                    <a:pt x="1281353" y="749829"/>
                  </a:lnTo>
                  <a:lnTo>
                    <a:pt x="1279563" y="751786"/>
                  </a:lnTo>
                  <a:lnTo>
                    <a:pt x="1279474" y="753273"/>
                  </a:lnTo>
                  <a:lnTo>
                    <a:pt x="1280293" y="757565"/>
                  </a:lnTo>
                  <a:lnTo>
                    <a:pt x="1279912" y="760988"/>
                  </a:lnTo>
                  <a:lnTo>
                    <a:pt x="1278685" y="767001"/>
                  </a:lnTo>
                  <a:lnTo>
                    <a:pt x="1279834" y="768868"/>
                  </a:lnTo>
                  <a:lnTo>
                    <a:pt x="1282503" y="770514"/>
                  </a:lnTo>
                  <a:lnTo>
                    <a:pt x="1284099" y="772621"/>
                  </a:lnTo>
                  <a:lnTo>
                    <a:pt x="1285185" y="773340"/>
                  </a:lnTo>
                  <a:lnTo>
                    <a:pt x="1285996" y="775035"/>
                  </a:lnTo>
                  <a:lnTo>
                    <a:pt x="1286948" y="776095"/>
                  </a:lnTo>
                  <a:lnTo>
                    <a:pt x="1288037" y="776532"/>
                  </a:lnTo>
                  <a:lnTo>
                    <a:pt x="1288807" y="775974"/>
                  </a:lnTo>
                  <a:lnTo>
                    <a:pt x="1289253" y="774427"/>
                  </a:lnTo>
                  <a:lnTo>
                    <a:pt x="1290278" y="772978"/>
                  </a:lnTo>
                  <a:lnTo>
                    <a:pt x="1293094" y="770369"/>
                  </a:lnTo>
                  <a:lnTo>
                    <a:pt x="1295823" y="766294"/>
                  </a:lnTo>
                  <a:lnTo>
                    <a:pt x="1296286" y="764941"/>
                  </a:lnTo>
                  <a:lnTo>
                    <a:pt x="1295852" y="761733"/>
                  </a:lnTo>
                  <a:lnTo>
                    <a:pt x="1296165" y="760358"/>
                  </a:lnTo>
                  <a:lnTo>
                    <a:pt x="1298729" y="755485"/>
                  </a:lnTo>
                  <a:lnTo>
                    <a:pt x="1299548" y="752101"/>
                  </a:lnTo>
                  <a:lnTo>
                    <a:pt x="1300325" y="746822"/>
                  </a:lnTo>
                  <a:lnTo>
                    <a:pt x="1301683" y="743136"/>
                  </a:lnTo>
                  <a:lnTo>
                    <a:pt x="1304589" y="740009"/>
                  </a:lnTo>
                  <a:lnTo>
                    <a:pt x="1309663" y="733676"/>
                  </a:lnTo>
                  <a:lnTo>
                    <a:pt x="1311498" y="732405"/>
                  </a:lnTo>
                  <a:lnTo>
                    <a:pt x="1313553" y="731779"/>
                  </a:lnTo>
                  <a:lnTo>
                    <a:pt x="1317147" y="731929"/>
                  </a:lnTo>
                  <a:lnTo>
                    <a:pt x="1319765" y="733971"/>
                  </a:lnTo>
                  <a:lnTo>
                    <a:pt x="1323288" y="737739"/>
                  </a:lnTo>
                  <a:lnTo>
                    <a:pt x="1327771" y="741169"/>
                  </a:lnTo>
                  <a:lnTo>
                    <a:pt x="1335941" y="745808"/>
                  </a:lnTo>
                  <a:lnTo>
                    <a:pt x="1338275" y="747556"/>
                  </a:lnTo>
                  <a:lnTo>
                    <a:pt x="1342894" y="752133"/>
                  </a:lnTo>
                  <a:lnTo>
                    <a:pt x="1344846" y="756664"/>
                  </a:lnTo>
                  <a:lnTo>
                    <a:pt x="1346186" y="763041"/>
                  </a:lnTo>
                  <a:lnTo>
                    <a:pt x="1347341" y="766872"/>
                  </a:lnTo>
                  <a:lnTo>
                    <a:pt x="1348310" y="768170"/>
                  </a:lnTo>
                  <a:lnTo>
                    <a:pt x="1348753" y="770101"/>
                  </a:lnTo>
                  <a:lnTo>
                    <a:pt x="1348669" y="772665"/>
                  </a:lnTo>
                  <a:lnTo>
                    <a:pt x="1348305" y="774671"/>
                  </a:lnTo>
                  <a:lnTo>
                    <a:pt x="1347663" y="776119"/>
                  </a:lnTo>
                  <a:lnTo>
                    <a:pt x="1346663" y="776939"/>
                  </a:lnTo>
                  <a:lnTo>
                    <a:pt x="1344171" y="777206"/>
                  </a:lnTo>
                  <a:lnTo>
                    <a:pt x="1341125" y="776807"/>
                  </a:lnTo>
                  <a:lnTo>
                    <a:pt x="1340245" y="776157"/>
                  </a:lnTo>
                  <a:lnTo>
                    <a:pt x="1338641" y="773141"/>
                  </a:lnTo>
                  <a:lnTo>
                    <a:pt x="1337977" y="772957"/>
                  </a:lnTo>
                  <a:lnTo>
                    <a:pt x="1335144" y="775182"/>
                  </a:lnTo>
                  <a:lnTo>
                    <a:pt x="1334797" y="776427"/>
                  </a:lnTo>
                  <a:lnTo>
                    <a:pt x="1335838" y="780542"/>
                  </a:lnTo>
                  <a:lnTo>
                    <a:pt x="1335699" y="788264"/>
                  </a:lnTo>
                  <a:lnTo>
                    <a:pt x="1335985" y="789937"/>
                  </a:lnTo>
                  <a:lnTo>
                    <a:pt x="1338976" y="797952"/>
                  </a:lnTo>
                  <a:lnTo>
                    <a:pt x="1344014" y="804020"/>
                  </a:lnTo>
                  <a:lnTo>
                    <a:pt x="1356643" y="815681"/>
                  </a:lnTo>
                  <a:lnTo>
                    <a:pt x="1357361" y="817002"/>
                  </a:lnTo>
                  <a:lnTo>
                    <a:pt x="1358701" y="821746"/>
                  </a:lnTo>
                  <a:lnTo>
                    <a:pt x="1359361" y="822737"/>
                  </a:lnTo>
                  <a:lnTo>
                    <a:pt x="1360186" y="823330"/>
                  </a:lnTo>
                  <a:lnTo>
                    <a:pt x="1361178" y="823518"/>
                  </a:lnTo>
                  <a:lnTo>
                    <a:pt x="1362548" y="823047"/>
                  </a:lnTo>
                  <a:lnTo>
                    <a:pt x="1367188" y="819445"/>
                  </a:lnTo>
                  <a:lnTo>
                    <a:pt x="1371228" y="815641"/>
                  </a:lnTo>
                  <a:lnTo>
                    <a:pt x="1374046" y="813656"/>
                  </a:lnTo>
                  <a:lnTo>
                    <a:pt x="1375642" y="813496"/>
                  </a:lnTo>
                  <a:lnTo>
                    <a:pt x="1377361" y="812797"/>
                  </a:lnTo>
                  <a:lnTo>
                    <a:pt x="1379204" y="811569"/>
                  </a:lnTo>
                  <a:lnTo>
                    <a:pt x="1380435" y="810219"/>
                  </a:lnTo>
                  <a:lnTo>
                    <a:pt x="1381053" y="808752"/>
                  </a:lnTo>
                  <a:lnTo>
                    <a:pt x="1381888" y="802993"/>
                  </a:lnTo>
                  <a:lnTo>
                    <a:pt x="1382597" y="800236"/>
                  </a:lnTo>
                  <a:lnTo>
                    <a:pt x="1384562" y="796466"/>
                  </a:lnTo>
                  <a:lnTo>
                    <a:pt x="1385281" y="795393"/>
                  </a:lnTo>
                  <a:lnTo>
                    <a:pt x="1395049" y="785798"/>
                  </a:lnTo>
                  <a:lnTo>
                    <a:pt x="1395857" y="784617"/>
                  </a:lnTo>
                  <a:lnTo>
                    <a:pt x="1400009" y="773441"/>
                  </a:lnTo>
                  <a:lnTo>
                    <a:pt x="1401473" y="768306"/>
                  </a:lnTo>
                  <a:lnTo>
                    <a:pt x="1401684" y="765207"/>
                  </a:lnTo>
                  <a:lnTo>
                    <a:pt x="1401124" y="762444"/>
                  </a:lnTo>
                  <a:lnTo>
                    <a:pt x="1401404" y="760157"/>
                  </a:lnTo>
                  <a:lnTo>
                    <a:pt x="1402521" y="758357"/>
                  </a:lnTo>
                  <a:lnTo>
                    <a:pt x="1403703" y="757086"/>
                  </a:lnTo>
                  <a:lnTo>
                    <a:pt x="1405749" y="755801"/>
                  </a:lnTo>
                  <a:lnTo>
                    <a:pt x="1406882" y="753988"/>
                  </a:lnTo>
                  <a:lnTo>
                    <a:pt x="1407560" y="753804"/>
                  </a:lnTo>
                  <a:lnTo>
                    <a:pt x="1409234" y="753790"/>
                  </a:lnTo>
                  <a:lnTo>
                    <a:pt x="1411439" y="755028"/>
                  </a:lnTo>
                  <a:lnTo>
                    <a:pt x="1413036" y="755247"/>
                  </a:lnTo>
                  <a:lnTo>
                    <a:pt x="1423370" y="753833"/>
                  </a:lnTo>
                  <a:lnTo>
                    <a:pt x="1423372" y="753078"/>
                  </a:lnTo>
                  <a:lnTo>
                    <a:pt x="1417308" y="750703"/>
                  </a:lnTo>
                  <a:lnTo>
                    <a:pt x="1417365" y="749511"/>
                  </a:lnTo>
                  <a:lnTo>
                    <a:pt x="1417896" y="747872"/>
                  </a:lnTo>
                  <a:lnTo>
                    <a:pt x="1419801" y="746040"/>
                  </a:lnTo>
                  <a:lnTo>
                    <a:pt x="1422140" y="745461"/>
                  </a:lnTo>
                  <a:lnTo>
                    <a:pt x="1422667" y="744294"/>
                  </a:lnTo>
                  <a:lnTo>
                    <a:pt x="1422732" y="742852"/>
                  </a:lnTo>
                  <a:lnTo>
                    <a:pt x="1423506" y="740495"/>
                  </a:lnTo>
                  <a:lnTo>
                    <a:pt x="1422800" y="739659"/>
                  </a:lnTo>
                  <a:lnTo>
                    <a:pt x="1417133" y="736403"/>
                  </a:lnTo>
                  <a:lnTo>
                    <a:pt x="1413860" y="736543"/>
                  </a:lnTo>
                  <a:lnTo>
                    <a:pt x="1413026" y="736115"/>
                  </a:lnTo>
                  <a:lnTo>
                    <a:pt x="1410205" y="733458"/>
                  </a:lnTo>
                  <a:lnTo>
                    <a:pt x="1409171" y="729592"/>
                  </a:lnTo>
                  <a:lnTo>
                    <a:pt x="1409060" y="728006"/>
                  </a:lnTo>
                  <a:lnTo>
                    <a:pt x="1409453" y="725454"/>
                  </a:lnTo>
                  <a:lnTo>
                    <a:pt x="1409812" y="724742"/>
                  </a:lnTo>
                  <a:lnTo>
                    <a:pt x="1409636" y="723589"/>
                  </a:lnTo>
                  <a:lnTo>
                    <a:pt x="1408925" y="721985"/>
                  </a:lnTo>
                  <a:lnTo>
                    <a:pt x="1408867" y="720563"/>
                  </a:lnTo>
                  <a:lnTo>
                    <a:pt x="1409464" y="719313"/>
                  </a:lnTo>
                  <a:lnTo>
                    <a:pt x="1409104" y="717834"/>
                  </a:lnTo>
                  <a:lnTo>
                    <a:pt x="1407789" y="716122"/>
                  </a:lnTo>
                  <a:lnTo>
                    <a:pt x="1407272" y="714647"/>
                  </a:lnTo>
                  <a:lnTo>
                    <a:pt x="1408655" y="710292"/>
                  </a:lnTo>
                  <a:lnTo>
                    <a:pt x="1408701" y="708955"/>
                  </a:lnTo>
                  <a:lnTo>
                    <a:pt x="1407398" y="707091"/>
                  </a:lnTo>
                  <a:lnTo>
                    <a:pt x="1406451" y="706368"/>
                  </a:lnTo>
                  <a:lnTo>
                    <a:pt x="1407147" y="705907"/>
                  </a:lnTo>
                  <a:lnTo>
                    <a:pt x="1409485" y="705715"/>
                  </a:lnTo>
                  <a:lnTo>
                    <a:pt x="1412278" y="706320"/>
                  </a:lnTo>
                  <a:lnTo>
                    <a:pt x="1415528" y="707720"/>
                  </a:lnTo>
                  <a:lnTo>
                    <a:pt x="1419509" y="707736"/>
                  </a:lnTo>
                  <a:lnTo>
                    <a:pt x="1424222" y="706368"/>
                  </a:lnTo>
                  <a:lnTo>
                    <a:pt x="1429010" y="705706"/>
                  </a:lnTo>
                  <a:lnTo>
                    <a:pt x="1437284" y="705977"/>
                  </a:lnTo>
                  <a:lnTo>
                    <a:pt x="1439240" y="706370"/>
                  </a:lnTo>
                  <a:lnTo>
                    <a:pt x="1447468" y="710418"/>
                  </a:lnTo>
                  <a:lnTo>
                    <a:pt x="1453854" y="712476"/>
                  </a:lnTo>
                  <a:lnTo>
                    <a:pt x="1456734" y="712285"/>
                  </a:lnTo>
                  <a:lnTo>
                    <a:pt x="1470943" y="713099"/>
                  </a:lnTo>
                  <a:lnTo>
                    <a:pt x="1477175" y="712683"/>
                  </a:lnTo>
                  <a:lnTo>
                    <a:pt x="1480402" y="712865"/>
                  </a:lnTo>
                  <a:lnTo>
                    <a:pt x="1486593" y="715084"/>
                  </a:lnTo>
                  <a:lnTo>
                    <a:pt x="1486186" y="716926"/>
                  </a:lnTo>
                  <a:lnTo>
                    <a:pt x="1483511" y="720010"/>
                  </a:lnTo>
                  <a:lnTo>
                    <a:pt x="1480022" y="720645"/>
                  </a:lnTo>
                  <a:lnTo>
                    <a:pt x="1476941" y="721710"/>
                  </a:lnTo>
                  <a:lnTo>
                    <a:pt x="1479801" y="723324"/>
                  </a:lnTo>
                  <a:lnTo>
                    <a:pt x="1488223" y="725493"/>
                  </a:lnTo>
                  <a:lnTo>
                    <a:pt x="1490203" y="728959"/>
                  </a:lnTo>
                  <a:lnTo>
                    <a:pt x="1490802" y="730549"/>
                  </a:lnTo>
                  <a:lnTo>
                    <a:pt x="1489823" y="731980"/>
                  </a:lnTo>
                  <a:lnTo>
                    <a:pt x="1490312" y="732700"/>
                  </a:lnTo>
                  <a:lnTo>
                    <a:pt x="1492263" y="732700"/>
                  </a:lnTo>
                  <a:lnTo>
                    <a:pt x="1497303" y="731484"/>
                  </a:lnTo>
                  <a:lnTo>
                    <a:pt x="1502872" y="732287"/>
                  </a:lnTo>
                  <a:lnTo>
                    <a:pt x="1510982" y="734964"/>
                  </a:lnTo>
                  <a:lnTo>
                    <a:pt x="1511856" y="735521"/>
                  </a:lnTo>
                  <a:lnTo>
                    <a:pt x="1513283" y="737604"/>
                  </a:lnTo>
                  <a:lnTo>
                    <a:pt x="1513104" y="738451"/>
                  </a:lnTo>
                  <a:lnTo>
                    <a:pt x="1505933" y="743650"/>
                  </a:lnTo>
                  <a:lnTo>
                    <a:pt x="1502208" y="745706"/>
                  </a:lnTo>
                  <a:lnTo>
                    <a:pt x="1497307" y="747821"/>
                  </a:lnTo>
                  <a:lnTo>
                    <a:pt x="1497148" y="748948"/>
                  </a:lnTo>
                  <a:lnTo>
                    <a:pt x="1504019" y="749157"/>
                  </a:lnTo>
                  <a:lnTo>
                    <a:pt x="1509367" y="749749"/>
                  </a:lnTo>
                  <a:lnTo>
                    <a:pt x="1511778" y="750436"/>
                  </a:lnTo>
                  <a:lnTo>
                    <a:pt x="1513036" y="751414"/>
                  </a:lnTo>
                  <a:lnTo>
                    <a:pt x="1514755" y="753511"/>
                  </a:lnTo>
                  <a:lnTo>
                    <a:pt x="1515035" y="755167"/>
                  </a:lnTo>
                  <a:lnTo>
                    <a:pt x="1514866" y="757408"/>
                  </a:lnTo>
                  <a:lnTo>
                    <a:pt x="1514299" y="758962"/>
                  </a:lnTo>
                  <a:lnTo>
                    <a:pt x="1508078" y="763426"/>
                  </a:lnTo>
                  <a:lnTo>
                    <a:pt x="1505221" y="764816"/>
                  </a:lnTo>
                  <a:lnTo>
                    <a:pt x="1500356" y="766466"/>
                  </a:lnTo>
                  <a:lnTo>
                    <a:pt x="1498240" y="767701"/>
                  </a:lnTo>
                  <a:lnTo>
                    <a:pt x="1495916" y="767532"/>
                  </a:lnTo>
                  <a:lnTo>
                    <a:pt x="1493384" y="765953"/>
                  </a:lnTo>
                  <a:lnTo>
                    <a:pt x="1490752" y="765614"/>
                  </a:lnTo>
                  <a:lnTo>
                    <a:pt x="1486009" y="766875"/>
                  </a:lnTo>
                  <a:lnTo>
                    <a:pt x="1483435" y="766830"/>
                  </a:lnTo>
                  <a:lnTo>
                    <a:pt x="1482170" y="767269"/>
                  </a:lnTo>
                  <a:lnTo>
                    <a:pt x="1482067" y="768241"/>
                  </a:lnTo>
                  <a:lnTo>
                    <a:pt x="1484311" y="771054"/>
                  </a:lnTo>
                  <a:lnTo>
                    <a:pt x="1485609" y="772162"/>
                  </a:lnTo>
                  <a:lnTo>
                    <a:pt x="1486119" y="772989"/>
                  </a:lnTo>
                  <a:lnTo>
                    <a:pt x="1485160" y="774380"/>
                  </a:lnTo>
                  <a:lnTo>
                    <a:pt x="1485362" y="774819"/>
                  </a:lnTo>
                  <a:lnTo>
                    <a:pt x="1486127" y="775314"/>
                  </a:lnTo>
                  <a:lnTo>
                    <a:pt x="1490441" y="781439"/>
                  </a:lnTo>
                  <a:lnTo>
                    <a:pt x="1491349" y="781913"/>
                  </a:lnTo>
                  <a:lnTo>
                    <a:pt x="1492244" y="781682"/>
                  </a:lnTo>
                  <a:lnTo>
                    <a:pt x="1494112" y="779934"/>
                  </a:lnTo>
                  <a:lnTo>
                    <a:pt x="1495222" y="779224"/>
                  </a:lnTo>
                  <a:lnTo>
                    <a:pt x="1495763" y="779313"/>
                  </a:lnTo>
                  <a:lnTo>
                    <a:pt x="1495741" y="780210"/>
                  </a:lnTo>
                  <a:lnTo>
                    <a:pt x="1493751" y="785532"/>
                  </a:lnTo>
                  <a:lnTo>
                    <a:pt x="1493490" y="786951"/>
                  </a:lnTo>
                  <a:lnTo>
                    <a:pt x="1493533" y="788217"/>
                  </a:lnTo>
                  <a:lnTo>
                    <a:pt x="1494495" y="790902"/>
                  </a:lnTo>
                  <a:lnTo>
                    <a:pt x="1496677" y="793778"/>
                  </a:lnTo>
                  <a:lnTo>
                    <a:pt x="1499394" y="796361"/>
                  </a:lnTo>
                  <a:lnTo>
                    <a:pt x="1503469" y="799836"/>
                  </a:lnTo>
                  <a:lnTo>
                    <a:pt x="1508942" y="803534"/>
                  </a:lnTo>
                  <a:lnTo>
                    <a:pt x="1510982" y="805331"/>
                  </a:lnTo>
                  <a:lnTo>
                    <a:pt x="1513974" y="809561"/>
                  </a:lnTo>
                  <a:lnTo>
                    <a:pt x="1514588" y="811178"/>
                  </a:lnTo>
                  <a:lnTo>
                    <a:pt x="1513803" y="815610"/>
                  </a:lnTo>
                  <a:lnTo>
                    <a:pt x="1511619" y="822844"/>
                  </a:lnTo>
                  <a:lnTo>
                    <a:pt x="1510211" y="826943"/>
                  </a:lnTo>
                  <a:lnTo>
                    <a:pt x="1509581" y="827928"/>
                  </a:lnTo>
                  <a:lnTo>
                    <a:pt x="1505461" y="830830"/>
                  </a:lnTo>
                  <a:lnTo>
                    <a:pt x="1503120" y="831510"/>
                  </a:lnTo>
                  <a:lnTo>
                    <a:pt x="1499264" y="831430"/>
                  </a:lnTo>
                  <a:lnTo>
                    <a:pt x="1497968" y="831996"/>
                  </a:lnTo>
                  <a:lnTo>
                    <a:pt x="1495952" y="834314"/>
                  </a:lnTo>
                  <a:lnTo>
                    <a:pt x="1493210" y="838377"/>
                  </a:lnTo>
                  <a:lnTo>
                    <a:pt x="1491051" y="840949"/>
                  </a:lnTo>
                  <a:lnTo>
                    <a:pt x="1489474" y="842035"/>
                  </a:lnTo>
                  <a:lnTo>
                    <a:pt x="1486578" y="843298"/>
                  </a:lnTo>
                  <a:lnTo>
                    <a:pt x="1482041" y="847036"/>
                  </a:lnTo>
                  <a:lnTo>
                    <a:pt x="1479814" y="848473"/>
                  </a:lnTo>
                  <a:lnTo>
                    <a:pt x="1472020" y="850028"/>
                  </a:lnTo>
                  <a:lnTo>
                    <a:pt x="1465683" y="855078"/>
                  </a:lnTo>
                  <a:lnTo>
                    <a:pt x="1463158" y="856742"/>
                  </a:lnTo>
                  <a:lnTo>
                    <a:pt x="1460419" y="857624"/>
                  </a:lnTo>
                  <a:lnTo>
                    <a:pt x="1457460" y="857729"/>
                  </a:lnTo>
                  <a:lnTo>
                    <a:pt x="1455756" y="856923"/>
                  </a:lnTo>
                  <a:lnTo>
                    <a:pt x="1454791" y="853843"/>
                  </a:lnTo>
                  <a:lnTo>
                    <a:pt x="1454215" y="852830"/>
                  </a:lnTo>
                  <a:lnTo>
                    <a:pt x="1451980" y="850724"/>
                  </a:lnTo>
                  <a:lnTo>
                    <a:pt x="1447391" y="844588"/>
                  </a:lnTo>
                  <a:lnTo>
                    <a:pt x="1445417" y="842486"/>
                  </a:lnTo>
                  <a:lnTo>
                    <a:pt x="1444100" y="842019"/>
                  </a:lnTo>
                  <a:lnTo>
                    <a:pt x="1441452" y="842352"/>
                  </a:lnTo>
                  <a:lnTo>
                    <a:pt x="1440093" y="842154"/>
                  </a:lnTo>
                  <a:lnTo>
                    <a:pt x="1437143" y="840221"/>
                  </a:lnTo>
                  <a:lnTo>
                    <a:pt x="1436081" y="838971"/>
                  </a:lnTo>
                  <a:lnTo>
                    <a:pt x="1436212" y="838485"/>
                  </a:lnTo>
                  <a:lnTo>
                    <a:pt x="1438457" y="837775"/>
                  </a:lnTo>
                  <a:lnTo>
                    <a:pt x="1437498" y="836773"/>
                  </a:lnTo>
                  <a:lnTo>
                    <a:pt x="1433550" y="834014"/>
                  </a:lnTo>
                  <a:lnTo>
                    <a:pt x="1431913" y="832568"/>
                  </a:lnTo>
                  <a:lnTo>
                    <a:pt x="1431714" y="832078"/>
                  </a:lnTo>
                  <a:lnTo>
                    <a:pt x="1427806" y="830206"/>
                  </a:lnTo>
                  <a:lnTo>
                    <a:pt x="1423922" y="829688"/>
                  </a:lnTo>
                  <a:lnTo>
                    <a:pt x="1418996" y="832793"/>
                  </a:lnTo>
                  <a:lnTo>
                    <a:pt x="1417128" y="834889"/>
                  </a:lnTo>
                  <a:lnTo>
                    <a:pt x="1417190" y="835572"/>
                  </a:lnTo>
                  <a:lnTo>
                    <a:pt x="1419549" y="836375"/>
                  </a:lnTo>
                  <a:lnTo>
                    <a:pt x="1420570" y="835984"/>
                  </a:lnTo>
                  <a:lnTo>
                    <a:pt x="1422571" y="834052"/>
                  </a:lnTo>
                  <a:lnTo>
                    <a:pt x="1423628" y="833450"/>
                  </a:lnTo>
                  <a:lnTo>
                    <a:pt x="1426662" y="833751"/>
                  </a:lnTo>
                  <a:lnTo>
                    <a:pt x="1429175" y="835085"/>
                  </a:lnTo>
                  <a:lnTo>
                    <a:pt x="1430089" y="836244"/>
                  </a:lnTo>
                  <a:lnTo>
                    <a:pt x="1430420" y="837033"/>
                  </a:lnTo>
                  <a:lnTo>
                    <a:pt x="1437280" y="843196"/>
                  </a:lnTo>
                  <a:lnTo>
                    <a:pt x="1439713" y="844443"/>
                  </a:lnTo>
                  <a:lnTo>
                    <a:pt x="1440725" y="845912"/>
                  </a:lnTo>
                  <a:lnTo>
                    <a:pt x="1441495" y="848357"/>
                  </a:lnTo>
                  <a:lnTo>
                    <a:pt x="1442978" y="851069"/>
                  </a:lnTo>
                  <a:lnTo>
                    <a:pt x="1446275" y="855540"/>
                  </a:lnTo>
                  <a:lnTo>
                    <a:pt x="1449784" y="861052"/>
                  </a:lnTo>
                  <a:lnTo>
                    <a:pt x="1450501" y="863223"/>
                  </a:lnTo>
                  <a:lnTo>
                    <a:pt x="1448688" y="864272"/>
                  </a:lnTo>
                  <a:lnTo>
                    <a:pt x="1447775" y="864348"/>
                  </a:lnTo>
                  <a:lnTo>
                    <a:pt x="1445072" y="863529"/>
                  </a:lnTo>
                  <a:lnTo>
                    <a:pt x="1437936" y="860977"/>
                  </a:lnTo>
                  <a:lnTo>
                    <a:pt x="1437145" y="861024"/>
                  </a:lnTo>
                  <a:lnTo>
                    <a:pt x="1435264" y="862370"/>
                  </a:lnTo>
                  <a:lnTo>
                    <a:pt x="1433720" y="865422"/>
                  </a:lnTo>
                  <a:lnTo>
                    <a:pt x="1433237" y="865715"/>
                  </a:lnTo>
                  <a:lnTo>
                    <a:pt x="1429443" y="864519"/>
                  </a:lnTo>
                  <a:lnTo>
                    <a:pt x="1422334" y="861838"/>
                  </a:lnTo>
                  <a:lnTo>
                    <a:pt x="1417573" y="859560"/>
                  </a:lnTo>
                  <a:lnTo>
                    <a:pt x="1415156" y="857690"/>
                  </a:lnTo>
                  <a:lnTo>
                    <a:pt x="1412231" y="854704"/>
                  </a:lnTo>
                  <a:lnTo>
                    <a:pt x="1408798" y="850598"/>
                  </a:lnTo>
                  <a:lnTo>
                    <a:pt x="1404700" y="849288"/>
                  </a:lnTo>
                  <a:lnTo>
                    <a:pt x="1399935" y="850785"/>
                  </a:lnTo>
                  <a:lnTo>
                    <a:pt x="1393051" y="851318"/>
                  </a:lnTo>
                  <a:lnTo>
                    <a:pt x="1378599" y="850852"/>
                  </a:lnTo>
                  <a:lnTo>
                    <a:pt x="1376699" y="851204"/>
                  </a:lnTo>
                  <a:lnTo>
                    <a:pt x="1375965" y="851719"/>
                  </a:lnTo>
                  <a:lnTo>
                    <a:pt x="1377195" y="853979"/>
                  </a:lnTo>
                  <a:lnTo>
                    <a:pt x="1376902" y="854601"/>
                  </a:lnTo>
                  <a:lnTo>
                    <a:pt x="1375932" y="855019"/>
                  </a:lnTo>
                  <a:lnTo>
                    <a:pt x="1375714" y="855687"/>
                  </a:lnTo>
                  <a:lnTo>
                    <a:pt x="1377283" y="858081"/>
                  </a:lnTo>
                  <a:lnTo>
                    <a:pt x="1379827" y="859705"/>
                  </a:lnTo>
                  <a:lnTo>
                    <a:pt x="1387022" y="861899"/>
                  </a:lnTo>
                  <a:lnTo>
                    <a:pt x="1391788" y="863778"/>
                  </a:lnTo>
                  <a:lnTo>
                    <a:pt x="1394634" y="865398"/>
                  </a:lnTo>
                  <a:lnTo>
                    <a:pt x="1395562" y="866761"/>
                  </a:lnTo>
                  <a:lnTo>
                    <a:pt x="1395701" y="868249"/>
                  </a:lnTo>
                  <a:lnTo>
                    <a:pt x="1394345" y="871212"/>
                  </a:lnTo>
                  <a:lnTo>
                    <a:pt x="1393569" y="872300"/>
                  </a:lnTo>
                  <a:lnTo>
                    <a:pt x="1376856" y="887022"/>
                  </a:lnTo>
                  <a:lnTo>
                    <a:pt x="1370486" y="892945"/>
                  </a:lnTo>
                  <a:lnTo>
                    <a:pt x="1367242" y="896579"/>
                  </a:lnTo>
                  <a:lnTo>
                    <a:pt x="1364385" y="898975"/>
                  </a:lnTo>
                  <a:lnTo>
                    <a:pt x="1361909" y="900145"/>
                  </a:lnTo>
                  <a:lnTo>
                    <a:pt x="1357815" y="900803"/>
                  </a:lnTo>
                  <a:lnTo>
                    <a:pt x="1352104" y="900952"/>
                  </a:lnTo>
                  <a:lnTo>
                    <a:pt x="1344703" y="900390"/>
                  </a:lnTo>
                  <a:lnTo>
                    <a:pt x="1340875" y="898497"/>
                  </a:lnTo>
                  <a:lnTo>
                    <a:pt x="1333930" y="893447"/>
                  </a:lnTo>
                  <a:lnTo>
                    <a:pt x="1329066" y="890475"/>
                  </a:lnTo>
                  <a:lnTo>
                    <a:pt x="1326891" y="889479"/>
                  </a:lnTo>
                  <a:lnTo>
                    <a:pt x="1325079" y="886679"/>
                  </a:lnTo>
                  <a:lnTo>
                    <a:pt x="1323442" y="886142"/>
                  </a:lnTo>
                  <a:lnTo>
                    <a:pt x="1319952" y="885668"/>
                  </a:lnTo>
                  <a:lnTo>
                    <a:pt x="1316361" y="884168"/>
                  </a:lnTo>
                  <a:lnTo>
                    <a:pt x="1307927" y="879078"/>
                  </a:lnTo>
                  <a:lnTo>
                    <a:pt x="1303558" y="877047"/>
                  </a:lnTo>
                  <a:lnTo>
                    <a:pt x="1299584" y="875928"/>
                  </a:lnTo>
                  <a:lnTo>
                    <a:pt x="1296007" y="875727"/>
                  </a:lnTo>
                  <a:lnTo>
                    <a:pt x="1294650" y="876030"/>
                  </a:lnTo>
                  <a:lnTo>
                    <a:pt x="1297089" y="878597"/>
                  </a:lnTo>
                  <a:lnTo>
                    <a:pt x="1296026" y="878753"/>
                  </a:lnTo>
                  <a:lnTo>
                    <a:pt x="1293133" y="878166"/>
                  </a:lnTo>
                  <a:lnTo>
                    <a:pt x="1290273" y="878173"/>
                  </a:lnTo>
                  <a:lnTo>
                    <a:pt x="1285211" y="876332"/>
                  </a:lnTo>
                  <a:lnTo>
                    <a:pt x="1280214" y="876578"/>
                  </a:lnTo>
                  <a:lnTo>
                    <a:pt x="1276609" y="876208"/>
                  </a:lnTo>
                  <a:lnTo>
                    <a:pt x="1272292" y="875181"/>
                  </a:lnTo>
                  <a:lnTo>
                    <a:pt x="1267632" y="874683"/>
                  </a:lnTo>
                  <a:lnTo>
                    <a:pt x="1260128" y="874733"/>
                  </a:lnTo>
                  <a:lnTo>
                    <a:pt x="1257438" y="874949"/>
                  </a:lnTo>
                  <a:lnTo>
                    <a:pt x="1257040" y="875431"/>
                  </a:lnTo>
                  <a:lnTo>
                    <a:pt x="1260643" y="877669"/>
                  </a:lnTo>
                  <a:lnTo>
                    <a:pt x="1266831" y="880372"/>
                  </a:lnTo>
                  <a:lnTo>
                    <a:pt x="1266006" y="878042"/>
                  </a:lnTo>
                  <a:lnTo>
                    <a:pt x="1266227" y="877441"/>
                  </a:lnTo>
                  <a:lnTo>
                    <a:pt x="1268293" y="876632"/>
                  </a:lnTo>
                  <a:lnTo>
                    <a:pt x="1278096" y="878072"/>
                  </a:lnTo>
                  <a:lnTo>
                    <a:pt x="1289207" y="881089"/>
                  </a:lnTo>
                  <a:lnTo>
                    <a:pt x="1292023" y="881385"/>
                  </a:lnTo>
                  <a:lnTo>
                    <a:pt x="1295155" y="882443"/>
                  </a:lnTo>
                  <a:lnTo>
                    <a:pt x="1298605" y="884262"/>
                  </a:lnTo>
                  <a:lnTo>
                    <a:pt x="1303362" y="887971"/>
                  </a:lnTo>
                  <a:lnTo>
                    <a:pt x="1312457" y="896347"/>
                  </a:lnTo>
                  <a:lnTo>
                    <a:pt x="1315377" y="898455"/>
                  </a:lnTo>
                  <a:lnTo>
                    <a:pt x="1319245" y="900417"/>
                  </a:lnTo>
                  <a:lnTo>
                    <a:pt x="1338927" y="903250"/>
                  </a:lnTo>
                  <a:lnTo>
                    <a:pt x="1345729" y="903232"/>
                  </a:lnTo>
                  <a:lnTo>
                    <a:pt x="1359361" y="904051"/>
                  </a:lnTo>
                  <a:lnTo>
                    <a:pt x="1366560" y="905529"/>
                  </a:lnTo>
                  <a:lnTo>
                    <a:pt x="1368600" y="906633"/>
                  </a:lnTo>
                  <a:lnTo>
                    <a:pt x="1369231" y="910329"/>
                  </a:lnTo>
                  <a:lnTo>
                    <a:pt x="1368576" y="912184"/>
                  </a:lnTo>
                  <a:lnTo>
                    <a:pt x="1364661" y="917818"/>
                  </a:lnTo>
                  <a:lnTo>
                    <a:pt x="1362186" y="921955"/>
                  </a:lnTo>
                  <a:lnTo>
                    <a:pt x="1346858" y="939369"/>
                  </a:lnTo>
                  <a:lnTo>
                    <a:pt x="1344866" y="943356"/>
                  </a:lnTo>
                  <a:lnTo>
                    <a:pt x="1344004" y="945736"/>
                  </a:lnTo>
                  <a:lnTo>
                    <a:pt x="1341264" y="948199"/>
                  </a:lnTo>
                  <a:lnTo>
                    <a:pt x="1334334" y="952015"/>
                  </a:lnTo>
                  <a:lnTo>
                    <a:pt x="1327383" y="955250"/>
                  </a:lnTo>
                  <a:lnTo>
                    <a:pt x="1323208" y="955943"/>
                  </a:lnTo>
                  <a:lnTo>
                    <a:pt x="1319488" y="955175"/>
                  </a:lnTo>
                  <a:lnTo>
                    <a:pt x="1317074" y="954236"/>
                  </a:lnTo>
                  <a:lnTo>
                    <a:pt x="1313499" y="951020"/>
                  </a:lnTo>
                  <a:lnTo>
                    <a:pt x="1313275" y="951360"/>
                  </a:lnTo>
                  <a:lnTo>
                    <a:pt x="1315855" y="956394"/>
                  </a:lnTo>
                  <a:lnTo>
                    <a:pt x="1315251" y="956903"/>
                  </a:lnTo>
                  <a:lnTo>
                    <a:pt x="1313146" y="956271"/>
                  </a:lnTo>
                  <a:lnTo>
                    <a:pt x="1308354" y="954010"/>
                  </a:lnTo>
                  <a:lnTo>
                    <a:pt x="1306802" y="954427"/>
                  </a:lnTo>
                  <a:lnTo>
                    <a:pt x="1305885" y="955042"/>
                  </a:lnTo>
                  <a:lnTo>
                    <a:pt x="1304607" y="955030"/>
                  </a:lnTo>
                  <a:lnTo>
                    <a:pt x="1302971" y="954389"/>
                  </a:lnTo>
                  <a:lnTo>
                    <a:pt x="1300007" y="952513"/>
                  </a:lnTo>
                  <a:lnTo>
                    <a:pt x="1299219" y="951598"/>
                  </a:lnTo>
                  <a:lnTo>
                    <a:pt x="1298501" y="948811"/>
                  </a:lnTo>
                  <a:lnTo>
                    <a:pt x="1298014" y="948311"/>
                  </a:lnTo>
                  <a:lnTo>
                    <a:pt x="1292173" y="949922"/>
                  </a:lnTo>
                  <a:lnTo>
                    <a:pt x="1291200" y="950455"/>
                  </a:lnTo>
                  <a:lnTo>
                    <a:pt x="1293594" y="951571"/>
                  </a:lnTo>
                  <a:lnTo>
                    <a:pt x="1294407" y="952364"/>
                  </a:lnTo>
                  <a:lnTo>
                    <a:pt x="1296765" y="956487"/>
                  </a:lnTo>
                  <a:lnTo>
                    <a:pt x="1296889" y="957370"/>
                  </a:lnTo>
                  <a:lnTo>
                    <a:pt x="1295211" y="957912"/>
                  </a:lnTo>
                  <a:lnTo>
                    <a:pt x="1289631" y="956358"/>
                  </a:lnTo>
                  <a:lnTo>
                    <a:pt x="1288965" y="956489"/>
                  </a:lnTo>
                  <a:lnTo>
                    <a:pt x="1291718" y="960582"/>
                  </a:lnTo>
                  <a:lnTo>
                    <a:pt x="1292774" y="962524"/>
                  </a:lnTo>
                  <a:lnTo>
                    <a:pt x="1292889" y="963535"/>
                  </a:lnTo>
                  <a:lnTo>
                    <a:pt x="1289305" y="968155"/>
                  </a:lnTo>
                  <a:lnTo>
                    <a:pt x="1287010" y="970075"/>
                  </a:lnTo>
                  <a:lnTo>
                    <a:pt x="1283877" y="970778"/>
                  </a:lnTo>
                  <a:lnTo>
                    <a:pt x="1281915" y="970306"/>
                  </a:lnTo>
                  <a:lnTo>
                    <a:pt x="1279702" y="969129"/>
                  </a:lnTo>
                  <a:lnTo>
                    <a:pt x="1278108" y="969296"/>
                  </a:lnTo>
                  <a:lnTo>
                    <a:pt x="1277128" y="970804"/>
                  </a:lnTo>
                  <a:lnTo>
                    <a:pt x="1275307" y="971884"/>
                  </a:lnTo>
                  <a:lnTo>
                    <a:pt x="1272643" y="972527"/>
                  </a:lnTo>
                  <a:lnTo>
                    <a:pt x="1269252" y="972248"/>
                  </a:lnTo>
                  <a:lnTo>
                    <a:pt x="1265134" y="971043"/>
                  </a:lnTo>
                  <a:lnTo>
                    <a:pt x="1254211" y="966708"/>
                  </a:lnTo>
                  <a:lnTo>
                    <a:pt x="1250767" y="966037"/>
                  </a:lnTo>
                  <a:lnTo>
                    <a:pt x="1244393" y="965438"/>
                  </a:lnTo>
                  <a:lnTo>
                    <a:pt x="1243631" y="964825"/>
                  </a:lnTo>
                  <a:lnTo>
                    <a:pt x="1243687" y="964240"/>
                  </a:lnTo>
                  <a:lnTo>
                    <a:pt x="1244559" y="963685"/>
                  </a:lnTo>
                  <a:lnTo>
                    <a:pt x="1244319" y="963207"/>
                  </a:lnTo>
                  <a:lnTo>
                    <a:pt x="1242967" y="962805"/>
                  </a:lnTo>
                  <a:lnTo>
                    <a:pt x="1241563" y="963183"/>
                  </a:lnTo>
                  <a:lnTo>
                    <a:pt x="1240111" y="964336"/>
                  </a:lnTo>
                  <a:lnTo>
                    <a:pt x="1237566" y="964677"/>
                  </a:lnTo>
                  <a:lnTo>
                    <a:pt x="1233936" y="964207"/>
                  </a:lnTo>
                  <a:lnTo>
                    <a:pt x="1228568" y="962517"/>
                  </a:lnTo>
                  <a:lnTo>
                    <a:pt x="1217915" y="958151"/>
                  </a:lnTo>
                  <a:lnTo>
                    <a:pt x="1206264" y="954463"/>
                  </a:lnTo>
                  <a:lnTo>
                    <a:pt x="1199503" y="949666"/>
                  </a:lnTo>
                  <a:lnTo>
                    <a:pt x="1202029" y="953987"/>
                  </a:lnTo>
                  <a:lnTo>
                    <a:pt x="1201823" y="955447"/>
                  </a:lnTo>
                  <a:lnTo>
                    <a:pt x="1200532" y="956730"/>
                  </a:lnTo>
                  <a:lnTo>
                    <a:pt x="1200320" y="957999"/>
                  </a:lnTo>
                  <a:lnTo>
                    <a:pt x="1202965" y="961074"/>
                  </a:lnTo>
                  <a:lnTo>
                    <a:pt x="1206622" y="962176"/>
                  </a:lnTo>
                  <a:lnTo>
                    <a:pt x="1210309" y="962060"/>
                  </a:lnTo>
                  <a:lnTo>
                    <a:pt x="1210410" y="961558"/>
                  </a:lnTo>
                  <a:lnTo>
                    <a:pt x="1208872" y="960793"/>
                  </a:lnTo>
                  <a:lnTo>
                    <a:pt x="1207518" y="959670"/>
                  </a:lnTo>
                  <a:lnTo>
                    <a:pt x="1206869" y="958007"/>
                  </a:lnTo>
                  <a:lnTo>
                    <a:pt x="1207562" y="957713"/>
                  </a:lnTo>
                  <a:lnTo>
                    <a:pt x="1210810" y="958585"/>
                  </a:lnTo>
                  <a:lnTo>
                    <a:pt x="1212953" y="959601"/>
                  </a:lnTo>
                  <a:lnTo>
                    <a:pt x="1229097" y="965272"/>
                  </a:lnTo>
                  <a:lnTo>
                    <a:pt x="1233915" y="966331"/>
                  </a:lnTo>
                  <a:lnTo>
                    <a:pt x="1237534" y="967423"/>
                  </a:lnTo>
                  <a:lnTo>
                    <a:pt x="1238539" y="968072"/>
                  </a:lnTo>
                  <a:lnTo>
                    <a:pt x="1237317" y="969477"/>
                  </a:lnTo>
                  <a:lnTo>
                    <a:pt x="1230826" y="972988"/>
                  </a:lnTo>
                  <a:lnTo>
                    <a:pt x="1230724" y="973565"/>
                  </a:lnTo>
                  <a:lnTo>
                    <a:pt x="1235174" y="973247"/>
                  </a:lnTo>
                  <a:lnTo>
                    <a:pt x="1240574" y="970152"/>
                  </a:lnTo>
                  <a:lnTo>
                    <a:pt x="1243611" y="968719"/>
                  </a:lnTo>
                  <a:lnTo>
                    <a:pt x="1246527" y="967836"/>
                  </a:lnTo>
                  <a:lnTo>
                    <a:pt x="1250477" y="969359"/>
                  </a:lnTo>
                  <a:lnTo>
                    <a:pt x="1255466" y="973278"/>
                  </a:lnTo>
                  <a:lnTo>
                    <a:pt x="1259503" y="975501"/>
                  </a:lnTo>
                  <a:lnTo>
                    <a:pt x="1265260" y="976742"/>
                  </a:lnTo>
                  <a:lnTo>
                    <a:pt x="1268632" y="978070"/>
                  </a:lnTo>
                  <a:lnTo>
                    <a:pt x="1274300" y="981723"/>
                  </a:lnTo>
                  <a:lnTo>
                    <a:pt x="1275194" y="983623"/>
                  </a:lnTo>
                  <a:lnTo>
                    <a:pt x="1275716" y="991348"/>
                  </a:lnTo>
                  <a:lnTo>
                    <a:pt x="1275516" y="993207"/>
                  </a:lnTo>
                  <a:lnTo>
                    <a:pt x="1274780" y="995054"/>
                  </a:lnTo>
                  <a:lnTo>
                    <a:pt x="1273506" y="996878"/>
                  </a:lnTo>
                  <a:lnTo>
                    <a:pt x="1271139" y="997898"/>
                  </a:lnTo>
                  <a:lnTo>
                    <a:pt x="1267677" y="998118"/>
                  </a:lnTo>
                  <a:lnTo>
                    <a:pt x="1264959" y="998867"/>
                  </a:lnTo>
                  <a:lnTo>
                    <a:pt x="1259013" y="1002943"/>
                  </a:lnTo>
                  <a:lnTo>
                    <a:pt x="1256489" y="1003531"/>
                  </a:lnTo>
                  <a:lnTo>
                    <a:pt x="1245823" y="1002315"/>
                  </a:lnTo>
                  <a:lnTo>
                    <a:pt x="1241649" y="1001176"/>
                  </a:lnTo>
                  <a:lnTo>
                    <a:pt x="1239726" y="1001244"/>
                  </a:lnTo>
                  <a:lnTo>
                    <a:pt x="1238660" y="1002143"/>
                  </a:lnTo>
                  <a:lnTo>
                    <a:pt x="1237543" y="1002549"/>
                  </a:lnTo>
                  <a:lnTo>
                    <a:pt x="1233356" y="1002923"/>
                  </a:lnTo>
                  <a:lnTo>
                    <a:pt x="1232674" y="1003657"/>
                  </a:lnTo>
                  <a:lnTo>
                    <a:pt x="1232938" y="1004785"/>
                  </a:lnTo>
                  <a:lnTo>
                    <a:pt x="1233761" y="1006314"/>
                  </a:lnTo>
                  <a:lnTo>
                    <a:pt x="1234779" y="1007191"/>
                  </a:lnTo>
                  <a:lnTo>
                    <a:pt x="1236351" y="1008300"/>
                  </a:lnTo>
                  <a:lnTo>
                    <a:pt x="1238736" y="1009027"/>
                  </a:lnTo>
                  <a:lnTo>
                    <a:pt x="1243636" y="1009838"/>
                  </a:lnTo>
                  <a:lnTo>
                    <a:pt x="1244144" y="1011909"/>
                  </a:lnTo>
                  <a:lnTo>
                    <a:pt x="1243925" y="1012576"/>
                  </a:lnTo>
                  <a:lnTo>
                    <a:pt x="1242317" y="1013957"/>
                  </a:lnTo>
                  <a:lnTo>
                    <a:pt x="1240458" y="1013816"/>
                  </a:lnTo>
                  <a:lnTo>
                    <a:pt x="1237262" y="1012186"/>
                  </a:lnTo>
                  <a:lnTo>
                    <a:pt x="1235682" y="1012123"/>
                  </a:lnTo>
                  <a:lnTo>
                    <a:pt x="1234299" y="1013006"/>
                  </a:lnTo>
                  <a:lnTo>
                    <a:pt x="1232374" y="1013298"/>
                  </a:lnTo>
                  <a:lnTo>
                    <a:pt x="1229905" y="1012997"/>
                  </a:lnTo>
                  <a:lnTo>
                    <a:pt x="1228535" y="1013712"/>
                  </a:lnTo>
                  <a:lnTo>
                    <a:pt x="1228261" y="1015442"/>
                  </a:lnTo>
                  <a:lnTo>
                    <a:pt x="1227430" y="1016737"/>
                  </a:lnTo>
                  <a:lnTo>
                    <a:pt x="1224579" y="1018780"/>
                  </a:lnTo>
                  <a:lnTo>
                    <a:pt x="1223043" y="1020286"/>
                  </a:lnTo>
                  <a:lnTo>
                    <a:pt x="1223095" y="1021468"/>
                  </a:lnTo>
                  <a:lnTo>
                    <a:pt x="1224730" y="1022322"/>
                  </a:lnTo>
                  <a:lnTo>
                    <a:pt x="1226607" y="1024256"/>
                  </a:lnTo>
                  <a:lnTo>
                    <a:pt x="1228722" y="1027270"/>
                  </a:lnTo>
                  <a:lnTo>
                    <a:pt x="1229129" y="1028601"/>
                  </a:lnTo>
                  <a:lnTo>
                    <a:pt x="1227830" y="1028250"/>
                  </a:lnTo>
                  <a:lnTo>
                    <a:pt x="1226083" y="1027056"/>
                  </a:lnTo>
                  <a:lnTo>
                    <a:pt x="1223886" y="1025016"/>
                  </a:lnTo>
                  <a:lnTo>
                    <a:pt x="1220563" y="1023188"/>
                  </a:lnTo>
                  <a:lnTo>
                    <a:pt x="1213244" y="1020803"/>
                  </a:lnTo>
                  <a:lnTo>
                    <a:pt x="1211953" y="1020877"/>
                  </a:lnTo>
                  <a:lnTo>
                    <a:pt x="1212615" y="1021483"/>
                  </a:lnTo>
                  <a:lnTo>
                    <a:pt x="1217470" y="1023985"/>
                  </a:lnTo>
                  <a:lnTo>
                    <a:pt x="1219329" y="1025595"/>
                  </a:lnTo>
                  <a:lnTo>
                    <a:pt x="1219556" y="1026767"/>
                  </a:lnTo>
                  <a:lnTo>
                    <a:pt x="1215490" y="1029332"/>
                  </a:lnTo>
                  <a:lnTo>
                    <a:pt x="1215378" y="1030192"/>
                  </a:lnTo>
                  <a:lnTo>
                    <a:pt x="1216457" y="1030944"/>
                  </a:lnTo>
                  <a:lnTo>
                    <a:pt x="1216748" y="1031569"/>
                  </a:lnTo>
                  <a:lnTo>
                    <a:pt x="1215299" y="1032828"/>
                  </a:lnTo>
                  <a:lnTo>
                    <a:pt x="1212913" y="1033882"/>
                  </a:lnTo>
                  <a:lnTo>
                    <a:pt x="1208292" y="1034033"/>
                  </a:lnTo>
                  <a:lnTo>
                    <a:pt x="1207871" y="1034629"/>
                  </a:lnTo>
                  <a:lnTo>
                    <a:pt x="1209632" y="1035919"/>
                  </a:lnTo>
                  <a:lnTo>
                    <a:pt x="1210226" y="1036720"/>
                  </a:lnTo>
                  <a:lnTo>
                    <a:pt x="1208715" y="1037821"/>
                  </a:lnTo>
                  <a:lnTo>
                    <a:pt x="1207728" y="1037976"/>
                  </a:lnTo>
                  <a:lnTo>
                    <a:pt x="1202408" y="1037465"/>
                  </a:lnTo>
                  <a:lnTo>
                    <a:pt x="1203805" y="1040215"/>
                  </a:lnTo>
                  <a:lnTo>
                    <a:pt x="1204628" y="1041180"/>
                  </a:lnTo>
                  <a:lnTo>
                    <a:pt x="1206259" y="1042538"/>
                  </a:lnTo>
                  <a:lnTo>
                    <a:pt x="1209187" y="1043798"/>
                  </a:lnTo>
                  <a:lnTo>
                    <a:pt x="1209249" y="1044285"/>
                  </a:lnTo>
                  <a:lnTo>
                    <a:pt x="1208226" y="1045366"/>
                  </a:lnTo>
                  <a:lnTo>
                    <a:pt x="1206495" y="1046680"/>
                  </a:lnTo>
                  <a:lnTo>
                    <a:pt x="1199166" y="1050698"/>
                  </a:lnTo>
                  <a:lnTo>
                    <a:pt x="1194016" y="1055399"/>
                  </a:lnTo>
                  <a:lnTo>
                    <a:pt x="1193303" y="1056866"/>
                  </a:lnTo>
                  <a:lnTo>
                    <a:pt x="1194611" y="1059950"/>
                  </a:lnTo>
                  <a:lnTo>
                    <a:pt x="1194623" y="1060725"/>
                  </a:lnTo>
                  <a:lnTo>
                    <a:pt x="1193274" y="1062119"/>
                  </a:lnTo>
                  <a:lnTo>
                    <a:pt x="1190263" y="1061740"/>
                  </a:lnTo>
                  <a:lnTo>
                    <a:pt x="1189687" y="1062287"/>
                  </a:lnTo>
                  <a:lnTo>
                    <a:pt x="1190404" y="1063737"/>
                  </a:lnTo>
                  <a:lnTo>
                    <a:pt x="1190537" y="1065857"/>
                  </a:lnTo>
                  <a:lnTo>
                    <a:pt x="1190085" y="1068653"/>
                  </a:lnTo>
                  <a:lnTo>
                    <a:pt x="1187897" y="1073026"/>
                  </a:lnTo>
                  <a:lnTo>
                    <a:pt x="1183977" y="1078966"/>
                  </a:lnTo>
                  <a:lnTo>
                    <a:pt x="1180971" y="1084349"/>
                  </a:lnTo>
                  <a:lnTo>
                    <a:pt x="1178888" y="1089181"/>
                  </a:lnTo>
                  <a:lnTo>
                    <a:pt x="1177378" y="1091573"/>
                  </a:lnTo>
                  <a:lnTo>
                    <a:pt x="1174593" y="1091737"/>
                  </a:lnTo>
                  <a:lnTo>
                    <a:pt x="1172489" y="1093243"/>
                  </a:lnTo>
                  <a:lnTo>
                    <a:pt x="1173920" y="1094035"/>
                  </a:lnTo>
                  <a:lnTo>
                    <a:pt x="1174798" y="1094959"/>
                  </a:lnTo>
                  <a:lnTo>
                    <a:pt x="1175404" y="1096367"/>
                  </a:lnTo>
                  <a:lnTo>
                    <a:pt x="1174804" y="1100762"/>
                  </a:lnTo>
                  <a:lnTo>
                    <a:pt x="1172999" y="1108126"/>
                  </a:lnTo>
                  <a:lnTo>
                    <a:pt x="1171879" y="1113966"/>
                  </a:lnTo>
                  <a:lnTo>
                    <a:pt x="1172110" y="1131895"/>
                  </a:lnTo>
                  <a:lnTo>
                    <a:pt x="1171816" y="1139785"/>
                  </a:lnTo>
                  <a:lnTo>
                    <a:pt x="1171023" y="1144149"/>
                  </a:lnTo>
                  <a:lnTo>
                    <a:pt x="1169737" y="1146517"/>
                  </a:lnTo>
                  <a:lnTo>
                    <a:pt x="1167529" y="1147232"/>
                  </a:lnTo>
                  <a:lnTo>
                    <a:pt x="1170338" y="1147922"/>
                  </a:lnTo>
                  <a:lnTo>
                    <a:pt x="1172123" y="1149034"/>
                  </a:lnTo>
                  <a:lnTo>
                    <a:pt x="1172945" y="1150719"/>
                  </a:lnTo>
                  <a:lnTo>
                    <a:pt x="1173715" y="1153408"/>
                  </a:lnTo>
                  <a:lnTo>
                    <a:pt x="1174730" y="1154646"/>
                  </a:lnTo>
                  <a:lnTo>
                    <a:pt x="1175989" y="1154436"/>
                  </a:lnTo>
                  <a:lnTo>
                    <a:pt x="1177117" y="1154706"/>
                  </a:lnTo>
                  <a:lnTo>
                    <a:pt x="1178119" y="1155454"/>
                  </a:lnTo>
                  <a:lnTo>
                    <a:pt x="1181173" y="1159282"/>
                  </a:lnTo>
                  <a:lnTo>
                    <a:pt x="1184525" y="1160378"/>
                  </a:lnTo>
                  <a:lnTo>
                    <a:pt x="1184683" y="1162498"/>
                  </a:lnTo>
                  <a:lnTo>
                    <a:pt x="1183370" y="1174345"/>
                  </a:lnTo>
                  <a:lnTo>
                    <a:pt x="1183379" y="1175887"/>
                  </a:lnTo>
                  <a:lnTo>
                    <a:pt x="1184902" y="1172906"/>
                  </a:lnTo>
                  <a:lnTo>
                    <a:pt x="1186506" y="1163707"/>
                  </a:lnTo>
                  <a:lnTo>
                    <a:pt x="1188681" y="1159609"/>
                  </a:lnTo>
                  <a:lnTo>
                    <a:pt x="1190389" y="1158743"/>
                  </a:lnTo>
                  <a:lnTo>
                    <a:pt x="1197382" y="1158276"/>
                  </a:lnTo>
                  <a:lnTo>
                    <a:pt x="1204832" y="1159320"/>
                  </a:lnTo>
                  <a:lnTo>
                    <a:pt x="1207651" y="1159449"/>
                  </a:lnTo>
                  <a:lnTo>
                    <a:pt x="1210108" y="1158877"/>
                  </a:lnTo>
                  <a:lnTo>
                    <a:pt x="1212627" y="1160020"/>
                  </a:lnTo>
                  <a:lnTo>
                    <a:pt x="1213240" y="1161175"/>
                  </a:lnTo>
                  <a:lnTo>
                    <a:pt x="1213952" y="1166006"/>
                  </a:lnTo>
                  <a:lnTo>
                    <a:pt x="1214619" y="1168769"/>
                  </a:lnTo>
                  <a:lnTo>
                    <a:pt x="1219058" y="1178577"/>
                  </a:lnTo>
                  <a:lnTo>
                    <a:pt x="1221173" y="1184053"/>
                  </a:lnTo>
                  <a:lnTo>
                    <a:pt x="1223756" y="1192572"/>
                  </a:lnTo>
                  <a:lnTo>
                    <a:pt x="1224725" y="1195002"/>
                  </a:lnTo>
                  <a:lnTo>
                    <a:pt x="1230101" y="1206308"/>
                  </a:lnTo>
                  <a:lnTo>
                    <a:pt x="1231121" y="1209361"/>
                  </a:lnTo>
                  <a:lnTo>
                    <a:pt x="1231541" y="1211712"/>
                  </a:lnTo>
                  <a:lnTo>
                    <a:pt x="1231365" y="1213360"/>
                  </a:lnTo>
                  <a:lnTo>
                    <a:pt x="1230387" y="1215898"/>
                  </a:lnTo>
                  <a:lnTo>
                    <a:pt x="1228609" y="1219324"/>
                  </a:lnTo>
                  <a:lnTo>
                    <a:pt x="1226944" y="1221933"/>
                  </a:lnTo>
                  <a:lnTo>
                    <a:pt x="1225395" y="1223726"/>
                  </a:lnTo>
                  <a:lnTo>
                    <a:pt x="1223803" y="1225063"/>
                  </a:lnTo>
                  <a:lnTo>
                    <a:pt x="1222170" y="1225944"/>
                  </a:lnTo>
                  <a:lnTo>
                    <a:pt x="1222278" y="1226173"/>
                  </a:lnTo>
                  <a:lnTo>
                    <a:pt x="1224126" y="1225755"/>
                  </a:lnTo>
                  <a:lnTo>
                    <a:pt x="1226010" y="1224858"/>
                  </a:lnTo>
                  <a:lnTo>
                    <a:pt x="1229577" y="1222538"/>
                  </a:lnTo>
                  <a:lnTo>
                    <a:pt x="1230946" y="1222017"/>
                  </a:lnTo>
                  <a:lnTo>
                    <a:pt x="1234824" y="1221685"/>
                  </a:lnTo>
                  <a:lnTo>
                    <a:pt x="1234953" y="1222522"/>
                  </a:lnTo>
                  <a:lnTo>
                    <a:pt x="1233081" y="1224248"/>
                  </a:lnTo>
                  <a:lnTo>
                    <a:pt x="1233497" y="1224413"/>
                  </a:lnTo>
                  <a:lnTo>
                    <a:pt x="1236202" y="1223022"/>
                  </a:lnTo>
                  <a:lnTo>
                    <a:pt x="1242059" y="1221035"/>
                  </a:lnTo>
                  <a:lnTo>
                    <a:pt x="1265051" y="1214590"/>
                  </a:lnTo>
                  <a:lnTo>
                    <a:pt x="1270473" y="1214019"/>
                  </a:lnTo>
                  <a:lnTo>
                    <a:pt x="1278213" y="1215199"/>
                  </a:lnTo>
                  <a:lnTo>
                    <a:pt x="1284486" y="1217939"/>
                  </a:lnTo>
                  <a:lnTo>
                    <a:pt x="1291323" y="1221466"/>
                  </a:lnTo>
                  <a:lnTo>
                    <a:pt x="1298534" y="1224023"/>
                  </a:lnTo>
                  <a:lnTo>
                    <a:pt x="1309906" y="1226411"/>
                  </a:lnTo>
                  <a:lnTo>
                    <a:pt x="1313221" y="1227554"/>
                  </a:lnTo>
                  <a:lnTo>
                    <a:pt x="1319892" y="1228731"/>
                  </a:lnTo>
                  <a:lnTo>
                    <a:pt x="1322986" y="1230070"/>
                  </a:lnTo>
                  <a:lnTo>
                    <a:pt x="1326702" y="1233292"/>
                  </a:lnTo>
                  <a:lnTo>
                    <a:pt x="1332607" y="1237489"/>
                  </a:lnTo>
                  <a:lnTo>
                    <a:pt x="1337062" y="1240119"/>
                  </a:lnTo>
                  <a:lnTo>
                    <a:pt x="1342038" y="1242581"/>
                  </a:lnTo>
                  <a:lnTo>
                    <a:pt x="1347032" y="1247098"/>
                  </a:lnTo>
                  <a:lnTo>
                    <a:pt x="1355077" y="1257319"/>
                  </a:lnTo>
                  <a:lnTo>
                    <a:pt x="1357066" y="1258573"/>
                  </a:lnTo>
                  <a:lnTo>
                    <a:pt x="1362025" y="1260239"/>
                  </a:lnTo>
                  <a:lnTo>
                    <a:pt x="1371343" y="1262386"/>
                  </a:lnTo>
                  <a:lnTo>
                    <a:pt x="1385097" y="1267424"/>
                  </a:lnTo>
                  <a:lnTo>
                    <a:pt x="1391139" y="1269396"/>
                  </a:lnTo>
                  <a:lnTo>
                    <a:pt x="1395049" y="1270178"/>
                  </a:lnTo>
                  <a:lnTo>
                    <a:pt x="1398952" y="1271564"/>
                  </a:lnTo>
                  <a:lnTo>
                    <a:pt x="1402854" y="1273550"/>
                  </a:lnTo>
                  <a:lnTo>
                    <a:pt x="1405829" y="1275713"/>
                  </a:lnTo>
                  <a:lnTo>
                    <a:pt x="1407880" y="1278053"/>
                  </a:lnTo>
                  <a:lnTo>
                    <a:pt x="1409685" y="1279582"/>
                  </a:lnTo>
                  <a:lnTo>
                    <a:pt x="1412843" y="1281278"/>
                  </a:lnTo>
                  <a:lnTo>
                    <a:pt x="1414484" y="1282493"/>
                  </a:lnTo>
                  <a:lnTo>
                    <a:pt x="1414636" y="1284318"/>
                  </a:lnTo>
                  <a:lnTo>
                    <a:pt x="1410832" y="1291457"/>
                  </a:lnTo>
                  <a:lnTo>
                    <a:pt x="1410750" y="1292027"/>
                  </a:lnTo>
                  <a:lnTo>
                    <a:pt x="1414596" y="1286904"/>
                  </a:lnTo>
                  <a:lnTo>
                    <a:pt x="1416744" y="1285423"/>
                  </a:lnTo>
                  <a:lnTo>
                    <a:pt x="1418466" y="1284736"/>
                  </a:lnTo>
                  <a:lnTo>
                    <a:pt x="1422042" y="1284817"/>
                  </a:lnTo>
                  <a:lnTo>
                    <a:pt x="1427472" y="1285671"/>
                  </a:lnTo>
                  <a:lnTo>
                    <a:pt x="1432234" y="1285682"/>
                  </a:lnTo>
                  <a:lnTo>
                    <a:pt x="1436329" y="1284846"/>
                  </a:lnTo>
                  <a:lnTo>
                    <a:pt x="1439816" y="1284471"/>
                  </a:lnTo>
                  <a:lnTo>
                    <a:pt x="1442696" y="1284553"/>
                  </a:lnTo>
                  <a:lnTo>
                    <a:pt x="1444784" y="1284305"/>
                  </a:lnTo>
                  <a:lnTo>
                    <a:pt x="1446084" y="1283726"/>
                  </a:lnTo>
                  <a:lnTo>
                    <a:pt x="1447635" y="1283709"/>
                  </a:lnTo>
                  <a:lnTo>
                    <a:pt x="1453794" y="1285484"/>
                  </a:lnTo>
                  <a:lnTo>
                    <a:pt x="1456284" y="1285579"/>
                  </a:lnTo>
                  <a:lnTo>
                    <a:pt x="1465289" y="1287249"/>
                  </a:lnTo>
                  <a:lnTo>
                    <a:pt x="1471072" y="1286655"/>
                  </a:lnTo>
                  <a:lnTo>
                    <a:pt x="1472067" y="1286979"/>
                  </a:lnTo>
                  <a:lnTo>
                    <a:pt x="1474077" y="1289153"/>
                  </a:lnTo>
                  <a:lnTo>
                    <a:pt x="1475778" y="1289323"/>
                  </a:lnTo>
                  <a:lnTo>
                    <a:pt x="1478648" y="1288983"/>
                  </a:lnTo>
                  <a:lnTo>
                    <a:pt x="1481439" y="1289577"/>
                  </a:lnTo>
                  <a:lnTo>
                    <a:pt x="1486109" y="1292432"/>
                  </a:lnTo>
                  <a:lnTo>
                    <a:pt x="1488265" y="1294889"/>
                  </a:lnTo>
                  <a:lnTo>
                    <a:pt x="1490334" y="1299898"/>
                  </a:lnTo>
                  <a:lnTo>
                    <a:pt x="1490518" y="1301391"/>
                  </a:lnTo>
                  <a:lnTo>
                    <a:pt x="1486683" y="1312967"/>
                  </a:lnTo>
                  <a:lnTo>
                    <a:pt x="1485480" y="1317434"/>
                  </a:lnTo>
                  <a:lnTo>
                    <a:pt x="1485326" y="1321318"/>
                  </a:lnTo>
                  <a:lnTo>
                    <a:pt x="1486087" y="1323555"/>
                  </a:lnTo>
                  <a:lnTo>
                    <a:pt x="1489398" y="1327299"/>
                  </a:lnTo>
                  <a:lnTo>
                    <a:pt x="1489997" y="1328280"/>
                  </a:lnTo>
                  <a:lnTo>
                    <a:pt x="1491957" y="1333812"/>
                  </a:lnTo>
                  <a:lnTo>
                    <a:pt x="1492494" y="1336176"/>
                  </a:lnTo>
                  <a:lnTo>
                    <a:pt x="1492277" y="1338883"/>
                  </a:lnTo>
                  <a:lnTo>
                    <a:pt x="1491247" y="1343338"/>
                  </a:lnTo>
                  <a:lnTo>
                    <a:pt x="1491506" y="1346730"/>
                  </a:lnTo>
                  <a:lnTo>
                    <a:pt x="1492373" y="1351849"/>
                  </a:lnTo>
                  <a:lnTo>
                    <a:pt x="1492044" y="1355312"/>
                  </a:lnTo>
                  <a:lnTo>
                    <a:pt x="1490521" y="1357126"/>
                  </a:lnTo>
                  <a:lnTo>
                    <a:pt x="1489490" y="1358905"/>
                  </a:lnTo>
                  <a:lnTo>
                    <a:pt x="1488687" y="1362127"/>
                  </a:lnTo>
                  <a:lnTo>
                    <a:pt x="1488688" y="1363344"/>
                  </a:lnTo>
                  <a:lnTo>
                    <a:pt x="1489477" y="1365733"/>
                  </a:lnTo>
                  <a:lnTo>
                    <a:pt x="1490941" y="1367086"/>
                  </a:lnTo>
                  <a:lnTo>
                    <a:pt x="1493343" y="1368605"/>
                  </a:lnTo>
                  <a:lnTo>
                    <a:pt x="1495573" y="1370858"/>
                  </a:lnTo>
                  <a:lnTo>
                    <a:pt x="1499649" y="1376341"/>
                  </a:lnTo>
                  <a:lnTo>
                    <a:pt x="1502615" y="1379341"/>
                  </a:lnTo>
                  <a:lnTo>
                    <a:pt x="1506238" y="1383811"/>
                  </a:lnTo>
                  <a:lnTo>
                    <a:pt x="1506941" y="1386036"/>
                  </a:lnTo>
                  <a:lnTo>
                    <a:pt x="1505931" y="1387509"/>
                  </a:lnTo>
                  <a:lnTo>
                    <a:pt x="1504671" y="1388535"/>
                  </a:lnTo>
                  <a:lnTo>
                    <a:pt x="1501751" y="1389907"/>
                  </a:lnTo>
                  <a:lnTo>
                    <a:pt x="1500445" y="1390906"/>
                  </a:lnTo>
                  <a:lnTo>
                    <a:pt x="1500783" y="1391145"/>
                  </a:lnTo>
                  <a:lnTo>
                    <a:pt x="1505007" y="1390401"/>
                  </a:lnTo>
                  <a:lnTo>
                    <a:pt x="1507503" y="1390479"/>
                  </a:lnTo>
                  <a:lnTo>
                    <a:pt x="1509615" y="1391576"/>
                  </a:lnTo>
                  <a:lnTo>
                    <a:pt x="1511342" y="1393692"/>
                  </a:lnTo>
                  <a:lnTo>
                    <a:pt x="1514209" y="1395492"/>
                  </a:lnTo>
                  <a:lnTo>
                    <a:pt x="1518211" y="1396979"/>
                  </a:lnTo>
                  <a:lnTo>
                    <a:pt x="1522235" y="1399461"/>
                  </a:lnTo>
                  <a:lnTo>
                    <a:pt x="1528904" y="1405348"/>
                  </a:lnTo>
                  <a:lnTo>
                    <a:pt x="1530110" y="1406701"/>
                  </a:lnTo>
                  <a:lnTo>
                    <a:pt x="1531884" y="1409779"/>
                  </a:lnTo>
                  <a:lnTo>
                    <a:pt x="1534221" y="1414575"/>
                  </a:lnTo>
                  <a:lnTo>
                    <a:pt x="1535444" y="1417704"/>
                  </a:lnTo>
                  <a:lnTo>
                    <a:pt x="1535553" y="1419174"/>
                  </a:lnTo>
                  <a:lnTo>
                    <a:pt x="1534230" y="1420650"/>
                  </a:lnTo>
                  <a:lnTo>
                    <a:pt x="1529736" y="1423338"/>
                  </a:lnTo>
                  <a:lnTo>
                    <a:pt x="1525210" y="1428030"/>
                  </a:lnTo>
                  <a:lnTo>
                    <a:pt x="1526636" y="1427801"/>
                  </a:lnTo>
                  <a:lnTo>
                    <a:pt x="1529621" y="1425819"/>
                  </a:lnTo>
                  <a:lnTo>
                    <a:pt x="1534665" y="1421907"/>
                  </a:lnTo>
                  <a:lnTo>
                    <a:pt x="1537463" y="1421148"/>
                  </a:lnTo>
                  <a:lnTo>
                    <a:pt x="1540057" y="1421603"/>
                  </a:lnTo>
                  <a:lnTo>
                    <a:pt x="1544167" y="1422729"/>
                  </a:lnTo>
                  <a:lnTo>
                    <a:pt x="1547798" y="1424332"/>
                  </a:lnTo>
                  <a:lnTo>
                    <a:pt x="1550947" y="1426408"/>
                  </a:lnTo>
                  <a:lnTo>
                    <a:pt x="1555630" y="1431958"/>
                  </a:lnTo>
                  <a:lnTo>
                    <a:pt x="1560584" y="1436384"/>
                  </a:lnTo>
                  <a:lnTo>
                    <a:pt x="1563328" y="1440159"/>
                  </a:lnTo>
                  <a:lnTo>
                    <a:pt x="1562496" y="1437758"/>
                  </a:lnTo>
                  <a:lnTo>
                    <a:pt x="1560672" y="1434990"/>
                  </a:lnTo>
                  <a:lnTo>
                    <a:pt x="1556019" y="1430577"/>
                  </a:lnTo>
                  <a:lnTo>
                    <a:pt x="1554034" y="1428279"/>
                  </a:lnTo>
                  <a:lnTo>
                    <a:pt x="1553604" y="1427175"/>
                  </a:lnTo>
                  <a:lnTo>
                    <a:pt x="1553451" y="1425973"/>
                  </a:lnTo>
                  <a:lnTo>
                    <a:pt x="1553811" y="1423777"/>
                  </a:lnTo>
                  <a:lnTo>
                    <a:pt x="1554684" y="1420587"/>
                  </a:lnTo>
                  <a:lnTo>
                    <a:pt x="1555847" y="1418334"/>
                  </a:lnTo>
                  <a:lnTo>
                    <a:pt x="1557297" y="1417023"/>
                  </a:lnTo>
                  <a:lnTo>
                    <a:pt x="1558268" y="1415629"/>
                  </a:lnTo>
                  <a:lnTo>
                    <a:pt x="1558760" y="1414150"/>
                  </a:lnTo>
                  <a:lnTo>
                    <a:pt x="1559533" y="1413063"/>
                  </a:lnTo>
                  <a:lnTo>
                    <a:pt x="1563563" y="1411098"/>
                  </a:lnTo>
                  <a:lnTo>
                    <a:pt x="1564620" y="1411279"/>
                  </a:lnTo>
                  <a:lnTo>
                    <a:pt x="1565449" y="1413668"/>
                  </a:lnTo>
                  <a:lnTo>
                    <a:pt x="1566416" y="1414164"/>
                  </a:lnTo>
                  <a:lnTo>
                    <a:pt x="1568277" y="1414537"/>
                  </a:lnTo>
                  <a:lnTo>
                    <a:pt x="1569846" y="1415364"/>
                  </a:lnTo>
                  <a:lnTo>
                    <a:pt x="1571122" y="1416642"/>
                  </a:lnTo>
                  <a:lnTo>
                    <a:pt x="1572022" y="1417936"/>
                  </a:lnTo>
                  <a:lnTo>
                    <a:pt x="1572547" y="1419248"/>
                  </a:lnTo>
                  <a:lnTo>
                    <a:pt x="1573749" y="1423526"/>
                  </a:lnTo>
                  <a:lnTo>
                    <a:pt x="1574605" y="1425503"/>
                  </a:lnTo>
                  <a:lnTo>
                    <a:pt x="1574749" y="1423105"/>
                  </a:lnTo>
                  <a:lnTo>
                    <a:pt x="1575750" y="1419330"/>
                  </a:lnTo>
                  <a:lnTo>
                    <a:pt x="1576525" y="1417780"/>
                  </a:lnTo>
                  <a:lnTo>
                    <a:pt x="1578962" y="1415507"/>
                  </a:lnTo>
                  <a:lnTo>
                    <a:pt x="1578832" y="1414524"/>
                  </a:lnTo>
                  <a:lnTo>
                    <a:pt x="1577821" y="1413203"/>
                  </a:lnTo>
                  <a:lnTo>
                    <a:pt x="1572714" y="1407532"/>
                  </a:lnTo>
                  <a:lnTo>
                    <a:pt x="1572615" y="1406153"/>
                  </a:lnTo>
                  <a:lnTo>
                    <a:pt x="1573978" y="1405332"/>
                  </a:lnTo>
                  <a:lnTo>
                    <a:pt x="1574911" y="1403766"/>
                  </a:lnTo>
                  <a:lnTo>
                    <a:pt x="1575414" y="1401453"/>
                  </a:lnTo>
                  <a:lnTo>
                    <a:pt x="1576506" y="1399774"/>
                  </a:lnTo>
                  <a:lnTo>
                    <a:pt x="1579706" y="1397410"/>
                  </a:lnTo>
                  <a:lnTo>
                    <a:pt x="1582462" y="1393778"/>
                  </a:lnTo>
                  <a:lnTo>
                    <a:pt x="1583880" y="1391278"/>
                  </a:lnTo>
                  <a:lnTo>
                    <a:pt x="1585040" y="1389958"/>
                  </a:lnTo>
                  <a:lnTo>
                    <a:pt x="1586144" y="1389642"/>
                  </a:lnTo>
                  <a:lnTo>
                    <a:pt x="1584496" y="1388630"/>
                  </a:lnTo>
                  <a:lnTo>
                    <a:pt x="1584167" y="1387964"/>
                  </a:lnTo>
                  <a:lnTo>
                    <a:pt x="1584090" y="1384950"/>
                  </a:lnTo>
                  <a:lnTo>
                    <a:pt x="1583380" y="1381789"/>
                  </a:lnTo>
                  <a:lnTo>
                    <a:pt x="1582277" y="1380314"/>
                  </a:lnTo>
                  <a:lnTo>
                    <a:pt x="1579154" y="1377150"/>
                  </a:lnTo>
                  <a:lnTo>
                    <a:pt x="1578638" y="1376206"/>
                  </a:lnTo>
                  <a:lnTo>
                    <a:pt x="1578089" y="1372624"/>
                  </a:lnTo>
                  <a:lnTo>
                    <a:pt x="1578397" y="1370832"/>
                  </a:lnTo>
                  <a:lnTo>
                    <a:pt x="1579207" y="1369323"/>
                  </a:lnTo>
                  <a:lnTo>
                    <a:pt x="1578746" y="1367864"/>
                  </a:lnTo>
                  <a:lnTo>
                    <a:pt x="1575849" y="1365220"/>
                  </a:lnTo>
                  <a:lnTo>
                    <a:pt x="1574730" y="1362909"/>
                  </a:lnTo>
                  <a:lnTo>
                    <a:pt x="1573491" y="1357309"/>
                  </a:lnTo>
                  <a:lnTo>
                    <a:pt x="1572351" y="1350271"/>
                  </a:lnTo>
                  <a:lnTo>
                    <a:pt x="1571057" y="1345084"/>
                  </a:lnTo>
                  <a:lnTo>
                    <a:pt x="1569606" y="1341756"/>
                  </a:lnTo>
                  <a:lnTo>
                    <a:pt x="1569280" y="1339658"/>
                  </a:lnTo>
                  <a:lnTo>
                    <a:pt x="1570084" y="1338788"/>
                  </a:lnTo>
                  <a:lnTo>
                    <a:pt x="1571127" y="1336163"/>
                  </a:lnTo>
                  <a:lnTo>
                    <a:pt x="1572069" y="1335518"/>
                  </a:lnTo>
                  <a:lnTo>
                    <a:pt x="1573527" y="1335691"/>
                  </a:lnTo>
                  <a:lnTo>
                    <a:pt x="1573560" y="1335390"/>
                  </a:lnTo>
                  <a:lnTo>
                    <a:pt x="1571338" y="1333973"/>
                  </a:lnTo>
                  <a:lnTo>
                    <a:pt x="1570245" y="1332190"/>
                  </a:lnTo>
                  <a:lnTo>
                    <a:pt x="1570292" y="1331528"/>
                  </a:lnTo>
                  <a:lnTo>
                    <a:pt x="1572250" y="1329752"/>
                  </a:lnTo>
                  <a:lnTo>
                    <a:pt x="1571898" y="1329005"/>
                  </a:lnTo>
                  <a:lnTo>
                    <a:pt x="1570448" y="1328032"/>
                  </a:lnTo>
                  <a:lnTo>
                    <a:pt x="1566018" y="1326398"/>
                  </a:lnTo>
                  <a:lnTo>
                    <a:pt x="1567615" y="1325768"/>
                  </a:lnTo>
                  <a:lnTo>
                    <a:pt x="1568630" y="1324365"/>
                  </a:lnTo>
                  <a:lnTo>
                    <a:pt x="1568429" y="1323946"/>
                  </a:lnTo>
                  <a:lnTo>
                    <a:pt x="1566674" y="1323373"/>
                  </a:lnTo>
                  <a:lnTo>
                    <a:pt x="1564653" y="1322286"/>
                  </a:lnTo>
                  <a:lnTo>
                    <a:pt x="1563119" y="1320662"/>
                  </a:lnTo>
                  <a:lnTo>
                    <a:pt x="1561233" y="1318105"/>
                  </a:lnTo>
                  <a:lnTo>
                    <a:pt x="1560080" y="1316072"/>
                  </a:lnTo>
                  <a:lnTo>
                    <a:pt x="1558947" y="1312685"/>
                  </a:lnTo>
                  <a:lnTo>
                    <a:pt x="1556987" y="1308828"/>
                  </a:lnTo>
                  <a:lnTo>
                    <a:pt x="1556131" y="1307866"/>
                  </a:lnTo>
                  <a:lnTo>
                    <a:pt x="1555150" y="1307244"/>
                  </a:lnTo>
                  <a:lnTo>
                    <a:pt x="1554046" y="1306957"/>
                  </a:lnTo>
                  <a:lnTo>
                    <a:pt x="1554086" y="1306367"/>
                  </a:lnTo>
                  <a:lnTo>
                    <a:pt x="1555274" y="1305467"/>
                  </a:lnTo>
                  <a:lnTo>
                    <a:pt x="1574451" y="1298998"/>
                  </a:lnTo>
                  <a:lnTo>
                    <a:pt x="1576048" y="1298065"/>
                  </a:lnTo>
                  <a:lnTo>
                    <a:pt x="1585461" y="1294435"/>
                  </a:lnTo>
                  <a:lnTo>
                    <a:pt x="1589808" y="1292407"/>
                  </a:lnTo>
                  <a:lnTo>
                    <a:pt x="1594239" y="1289485"/>
                  </a:lnTo>
                  <a:lnTo>
                    <a:pt x="1600267" y="1286477"/>
                  </a:lnTo>
                  <a:lnTo>
                    <a:pt x="1603204" y="1284537"/>
                  </a:lnTo>
                  <a:lnTo>
                    <a:pt x="1605058" y="1282663"/>
                  </a:lnTo>
                  <a:lnTo>
                    <a:pt x="1614623" y="1275168"/>
                  </a:lnTo>
                  <a:lnTo>
                    <a:pt x="1618676" y="1271330"/>
                  </a:lnTo>
                  <a:lnTo>
                    <a:pt x="1621023" y="1268027"/>
                  </a:lnTo>
                  <a:lnTo>
                    <a:pt x="1624433" y="1264074"/>
                  </a:lnTo>
                  <a:lnTo>
                    <a:pt x="1628902" y="1259461"/>
                  </a:lnTo>
                  <a:lnTo>
                    <a:pt x="1631725" y="1255498"/>
                  </a:lnTo>
                  <a:lnTo>
                    <a:pt x="1632903" y="1252192"/>
                  </a:lnTo>
                  <a:lnTo>
                    <a:pt x="1634365" y="1246481"/>
                  </a:lnTo>
                  <a:lnTo>
                    <a:pt x="1634784" y="1241405"/>
                  </a:lnTo>
                  <a:lnTo>
                    <a:pt x="1635042" y="1233945"/>
                  </a:lnTo>
                  <a:lnTo>
                    <a:pt x="1634892" y="1227266"/>
                  </a:lnTo>
                  <a:lnTo>
                    <a:pt x="1633694" y="1216773"/>
                  </a:lnTo>
                  <a:lnTo>
                    <a:pt x="1632969" y="1213461"/>
                  </a:lnTo>
                  <a:lnTo>
                    <a:pt x="1631600" y="1209517"/>
                  </a:lnTo>
                  <a:lnTo>
                    <a:pt x="1628281" y="1201561"/>
                  </a:lnTo>
                  <a:lnTo>
                    <a:pt x="1627685" y="1199389"/>
                  </a:lnTo>
                  <a:lnTo>
                    <a:pt x="1625629" y="1195723"/>
                  </a:lnTo>
                  <a:lnTo>
                    <a:pt x="1618887" y="1186149"/>
                  </a:lnTo>
                  <a:lnTo>
                    <a:pt x="1610459" y="1179653"/>
                  </a:lnTo>
                  <a:lnTo>
                    <a:pt x="1608855" y="1178019"/>
                  </a:lnTo>
                  <a:lnTo>
                    <a:pt x="1605517" y="1176109"/>
                  </a:lnTo>
                  <a:lnTo>
                    <a:pt x="1600444" y="1173915"/>
                  </a:lnTo>
                  <a:lnTo>
                    <a:pt x="1597162" y="1172125"/>
                  </a:lnTo>
                  <a:lnTo>
                    <a:pt x="1588588" y="1165403"/>
                  </a:lnTo>
                  <a:lnTo>
                    <a:pt x="1585767" y="1164596"/>
                  </a:lnTo>
                  <a:lnTo>
                    <a:pt x="1584678" y="1162863"/>
                  </a:lnTo>
                  <a:lnTo>
                    <a:pt x="1584445" y="1161628"/>
                  </a:lnTo>
                  <a:lnTo>
                    <a:pt x="1584770" y="1158405"/>
                  </a:lnTo>
                  <a:lnTo>
                    <a:pt x="1585269" y="1156172"/>
                  </a:lnTo>
                  <a:lnTo>
                    <a:pt x="1585876" y="1154526"/>
                  </a:lnTo>
                  <a:lnTo>
                    <a:pt x="1586590" y="1153466"/>
                  </a:lnTo>
                  <a:lnTo>
                    <a:pt x="1591309" y="1148493"/>
                  </a:lnTo>
                  <a:lnTo>
                    <a:pt x="1593950" y="1144507"/>
                  </a:lnTo>
                  <a:lnTo>
                    <a:pt x="1595790" y="1142320"/>
                  </a:lnTo>
                  <a:lnTo>
                    <a:pt x="1597820" y="1140624"/>
                  </a:lnTo>
                  <a:lnTo>
                    <a:pt x="1601492" y="1138393"/>
                  </a:lnTo>
                  <a:lnTo>
                    <a:pt x="1603574" y="1135579"/>
                  </a:lnTo>
                  <a:lnTo>
                    <a:pt x="1603098" y="1134439"/>
                  </a:lnTo>
                  <a:lnTo>
                    <a:pt x="1601445" y="1133195"/>
                  </a:lnTo>
                  <a:lnTo>
                    <a:pt x="1601081" y="1131983"/>
                  </a:lnTo>
                  <a:lnTo>
                    <a:pt x="1603870" y="1128885"/>
                  </a:lnTo>
                  <a:lnTo>
                    <a:pt x="1604263" y="1128026"/>
                  </a:lnTo>
                  <a:lnTo>
                    <a:pt x="1603908" y="1125105"/>
                  </a:lnTo>
                  <a:lnTo>
                    <a:pt x="1604449" y="1124449"/>
                  </a:lnTo>
                  <a:lnTo>
                    <a:pt x="1607891" y="1124275"/>
                  </a:lnTo>
                  <a:lnTo>
                    <a:pt x="1612804" y="1128467"/>
                  </a:lnTo>
                  <a:lnTo>
                    <a:pt x="1614012" y="1128101"/>
                  </a:lnTo>
                  <a:lnTo>
                    <a:pt x="1612441" y="1126947"/>
                  </a:lnTo>
                  <a:lnTo>
                    <a:pt x="1610556" y="1124122"/>
                  </a:lnTo>
                  <a:lnTo>
                    <a:pt x="1610829" y="1122948"/>
                  </a:lnTo>
                  <a:lnTo>
                    <a:pt x="1614453" y="1119892"/>
                  </a:lnTo>
                  <a:lnTo>
                    <a:pt x="1614555" y="1118503"/>
                  </a:lnTo>
                  <a:lnTo>
                    <a:pt x="1613521" y="1116576"/>
                  </a:lnTo>
                  <a:lnTo>
                    <a:pt x="1613406" y="1115034"/>
                  </a:lnTo>
                  <a:lnTo>
                    <a:pt x="1615530" y="1111363"/>
                  </a:lnTo>
                  <a:lnTo>
                    <a:pt x="1614956" y="1110591"/>
                  </a:lnTo>
                  <a:lnTo>
                    <a:pt x="1608988" y="1109880"/>
                  </a:lnTo>
                  <a:lnTo>
                    <a:pt x="1608006" y="1108854"/>
                  </a:lnTo>
                  <a:lnTo>
                    <a:pt x="1608355" y="1108369"/>
                  </a:lnTo>
                  <a:lnTo>
                    <a:pt x="1611163" y="1107134"/>
                  </a:lnTo>
                  <a:lnTo>
                    <a:pt x="1611379" y="1106666"/>
                  </a:lnTo>
                  <a:lnTo>
                    <a:pt x="1606416" y="1098422"/>
                  </a:lnTo>
                  <a:lnTo>
                    <a:pt x="1605583" y="1095959"/>
                  </a:lnTo>
                  <a:lnTo>
                    <a:pt x="1607695" y="1092919"/>
                  </a:lnTo>
                  <a:lnTo>
                    <a:pt x="1610094" y="1091544"/>
                  </a:lnTo>
                  <a:lnTo>
                    <a:pt x="1609789" y="1090762"/>
                  </a:lnTo>
                  <a:lnTo>
                    <a:pt x="1606648" y="1090621"/>
                  </a:lnTo>
                  <a:lnTo>
                    <a:pt x="1604732" y="1090205"/>
                  </a:lnTo>
                  <a:lnTo>
                    <a:pt x="1602810" y="1087830"/>
                  </a:lnTo>
                  <a:lnTo>
                    <a:pt x="1603560" y="1086329"/>
                  </a:lnTo>
                  <a:lnTo>
                    <a:pt x="1604245" y="1085642"/>
                  </a:lnTo>
                  <a:lnTo>
                    <a:pt x="1606111" y="1082095"/>
                  </a:lnTo>
                  <a:lnTo>
                    <a:pt x="1607913" y="1081362"/>
                  </a:lnTo>
                  <a:lnTo>
                    <a:pt x="1607572" y="1080725"/>
                  </a:lnTo>
                  <a:lnTo>
                    <a:pt x="1600763" y="1082235"/>
                  </a:lnTo>
                  <a:lnTo>
                    <a:pt x="1597553" y="1080993"/>
                  </a:lnTo>
                  <a:lnTo>
                    <a:pt x="1594400" y="1081322"/>
                  </a:lnTo>
                  <a:lnTo>
                    <a:pt x="1592907" y="1080957"/>
                  </a:lnTo>
                  <a:lnTo>
                    <a:pt x="1593458" y="1079688"/>
                  </a:lnTo>
                  <a:lnTo>
                    <a:pt x="1599175" y="1073904"/>
                  </a:lnTo>
                  <a:lnTo>
                    <a:pt x="1601814" y="1070768"/>
                  </a:lnTo>
                  <a:lnTo>
                    <a:pt x="1603464" y="1067934"/>
                  </a:lnTo>
                  <a:lnTo>
                    <a:pt x="1604337" y="1066047"/>
                  </a:lnTo>
                  <a:lnTo>
                    <a:pt x="1604433" y="1065109"/>
                  </a:lnTo>
                  <a:lnTo>
                    <a:pt x="1603855" y="1058828"/>
                  </a:lnTo>
                  <a:lnTo>
                    <a:pt x="1604196" y="1057110"/>
                  </a:lnTo>
                  <a:lnTo>
                    <a:pt x="1606409" y="1055508"/>
                  </a:lnTo>
                  <a:lnTo>
                    <a:pt x="1609820" y="1052495"/>
                  </a:lnTo>
                  <a:lnTo>
                    <a:pt x="1605152" y="1049770"/>
                  </a:lnTo>
                  <a:lnTo>
                    <a:pt x="1602228" y="1047110"/>
                  </a:lnTo>
                  <a:lnTo>
                    <a:pt x="1600298" y="1045789"/>
                  </a:lnTo>
                  <a:lnTo>
                    <a:pt x="1598836" y="1044496"/>
                  </a:lnTo>
                  <a:lnTo>
                    <a:pt x="1596963" y="1041759"/>
                  </a:lnTo>
                  <a:lnTo>
                    <a:pt x="1595541" y="1038194"/>
                  </a:lnTo>
                  <a:lnTo>
                    <a:pt x="1594029" y="1030994"/>
                  </a:lnTo>
                  <a:lnTo>
                    <a:pt x="1593779" y="1027019"/>
                  </a:lnTo>
                  <a:lnTo>
                    <a:pt x="1594124" y="1024129"/>
                  </a:lnTo>
                  <a:lnTo>
                    <a:pt x="1594752" y="1022720"/>
                  </a:lnTo>
                  <a:lnTo>
                    <a:pt x="1595779" y="1021252"/>
                  </a:lnTo>
                  <a:lnTo>
                    <a:pt x="1600044" y="1018451"/>
                  </a:lnTo>
                  <a:lnTo>
                    <a:pt x="1607549" y="1014317"/>
                  </a:lnTo>
                  <a:lnTo>
                    <a:pt x="1613420" y="1012694"/>
                  </a:lnTo>
                  <a:lnTo>
                    <a:pt x="1617657" y="1013584"/>
                  </a:lnTo>
                  <a:lnTo>
                    <a:pt x="1625920" y="1014554"/>
                  </a:lnTo>
                  <a:lnTo>
                    <a:pt x="1632591" y="1016910"/>
                  </a:lnTo>
                  <a:lnTo>
                    <a:pt x="1652861" y="1022808"/>
                  </a:lnTo>
                  <a:lnTo>
                    <a:pt x="1656446" y="1025416"/>
                  </a:lnTo>
                  <a:lnTo>
                    <a:pt x="1653056" y="1027619"/>
                  </a:lnTo>
                  <a:lnTo>
                    <a:pt x="1653548" y="1028161"/>
                  </a:lnTo>
                  <a:lnTo>
                    <a:pt x="1661181" y="1023966"/>
                  </a:lnTo>
                  <a:lnTo>
                    <a:pt x="1663199" y="1023154"/>
                  </a:lnTo>
                  <a:lnTo>
                    <a:pt x="1664924" y="1022956"/>
                  </a:lnTo>
                  <a:lnTo>
                    <a:pt x="1670685" y="1024582"/>
                  </a:lnTo>
                  <a:lnTo>
                    <a:pt x="1672999" y="1024829"/>
                  </a:lnTo>
                  <a:lnTo>
                    <a:pt x="1675918" y="1026182"/>
                  </a:lnTo>
                  <a:lnTo>
                    <a:pt x="1682891" y="1030668"/>
                  </a:lnTo>
                  <a:lnTo>
                    <a:pt x="1683390" y="1030295"/>
                  </a:lnTo>
                  <a:lnTo>
                    <a:pt x="1681439" y="1028010"/>
                  </a:lnTo>
                  <a:lnTo>
                    <a:pt x="1682557" y="1026924"/>
                  </a:lnTo>
                  <a:lnTo>
                    <a:pt x="1688048" y="1024540"/>
                  </a:lnTo>
                  <a:lnTo>
                    <a:pt x="1693721" y="1022592"/>
                  </a:lnTo>
                  <a:lnTo>
                    <a:pt x="1697753" y="1020678"/>
                  </a:lnTo>
                  <a:lnTo>
                    <a:pt x="1702029" y="1018144"/>
                  </a:lnTo>
                  <a:lnTo>
                    <a:pt x="1704917" y="1016788"/>
                  </a:lnTo>
                  <a:lnTo>
                    <a:pt x="1706410" y="1016615"/>
                  </a:lnTo>
                  <a:lnTo>
                    <a:pt x="1708314" y="1017362"/>
                  </a:lnTo>
                  <a:lnTo>
                    <a:pt x="1713426" y="1020724"/>
                  </a:lnTo>
                  <a:lnTo>
                    <a:pt x="1716707" y="1022447"/>
                  </a:lnTo>
                  <a:lnTo>
                    <a:pt x="1719339" y="1024252"/>
                  </a:lnTo>
                  <a:lnTo>
                    <a:pt x="1723036" y="1027430"/>
                  </a:lnTo>
                  <a:lnTo>
                    <a:pt x="1724481" y="1028129"/>
                  </a:lnTo>
                  <a:lnTo>
                    <a:pt x="1727284" y="1030287"/>
                  </a:lnTo>
                  <a:lnTo>
                    <a:pt x="1731008" y="1030064"/>
                  </a:lnTo>
                  <a:lnTo>
                    <a:pt x="1732226" y="1030321"/>
                  </a:lnTo>
                  <a:lnTo>
                    <a:pt x="1732635" y="1030739"/>
                  </a:lnTo>
                  <a:lnTo>
                    <a:pt x="1733265" y="1032199"/>
                  </a:lnTo>
                  <a:lnTo>
                    <a:pt x="1733591" y="1033132"/>
                  </a:lnTo>
                  <a:lnTo>
                    <a:pt x="1733615" y="1034132"/>
                  </a:lnTo>
                  <a:lnTo>
                    <a:pt x="1732757" y="1036945"/>
                  </a:lnTo>
                  <a:lnTo>
                    <a:pt x="1730079" y="1041432"/>
                  </a:lnTo>
                  <a:lnTo>
                    <a:pt x="1731200" y="1041503"/>
                  </a:lnTo>
                  <a:lnTo>
                    <a:pt x="1732893" y="1040542"/>
                  </a:lnTo>
                  <a:lnTo>
                    <a:pt x="1735092" y="1038829"/>
                  </a:lnTo>
                  <a:lnTo>
                    <a:pt x="1736825" y="1038223"/>
                  </a:lnTo>
                  <a:lnTo>
                    <a:pt x="1740497" y="1039584"/>
                  </a:lnTo>
                  <a:lnTo>
                    <a:pt x="1743911" y="1041777"/>
                  </a:lnTo>
                  <a:lnTo>
                    <a:pt x="1745119" y="1042939"/>
                  </a:lnTo>
                  <a:lnTo>
                    <a:pt x="1746446" y="1044833"/>
                  </a:lnTo>
                  <a:lnTo>
                    <a:pt x="1747579" y="1045806"/>
                  </a:lnTo>
                  <a:lnTo>
                    <a:pt x="1748629" y="1047674"/>
                  </a:lnTo>
                  <a:lnTo>
                    <a:pt x="1748555" y="1048281"/>
                  </a:lnTo>
                  <a:lnTo>
                    <a:pt x="1747564" y="1049186"/>
                  </a:lnTo>
                  <a:lnTo>
                    <a:pt x="1743380" y="1050716"/>
                  </a:lnTo>
                  <a:lnTo>
                    <a:pt x="1744171" y="1051292"/>
                  </a:lnTo>
                  <a:lnTo>
                    <a:pt x="1749058" y="1050332"/>
                  </a:lnTo>
                  <a:lnTo>
                    <a:pt x="1750547" y="1049386"/>
                  </a:lnTo>
                  <a:lnTo>
                    <a:pt x="1751615" y="1047803"/>
                  </a:lnTo>
                  <a:lnTo>
                    <a:pt x="1753040" y="1047353"/>
                  </a:lnTo>
                  <a:lnTo>
                    <a:pt x="1758816" y="1050128"/>
                  </a:lnTo>
                  <a:lnTo>
                    <a:pt x="1759665" y="1051092"/>
                  </a:lnTo>
                  <a:lnTo>
                    <a:pt x="1759294" y="1051849"/>
                  </a:lnTo>
                  <a:lnTo>
                    <a:pt x="1758362" y="1052703"/>
                  </a:lnTo>
                  <a:lnTo>
                    <a:pt x="1755838" y="1053641"/>
                  </a:lnTo>
                  <a:lnTo>
                    <a:pt x="1753675" y="1055999"/>
                  </a:lnTo>
                  <a:lnTo>
                    <a:pt x="1753337" y="1057015"/>
                  </a:lnTo>
                  <a:lnTo>
                    <a:pt x="1754877" y="1057736"/>
                  </a:lnTo>
                  <a:lnTo>
                    <a:pt x="1758638" y="1058048"/>
                  </a:lnTo>
                  <a:lnTo>
                    <a:pt x="1758609" y="1058607"/>
                  </a:lnTo>
                  <a:lnTo>
                    <a:pt x="1756436" y="1059640"/>
                  </a:lnTo>
                  <a:lnTo>
                    <a:pt x="1756150" y="1060987"/>
                  </a:lnTo>
                  <a:lnTo>
                    <a:pt x="1761016" y="1065781"/>
                  </a:lnTo>
                  <a:lnTo>
                    <a:pt x="1764282" y="1067879"/>
                  </a:lnTo>
                  <a:lnTo>
                    <a:pt x="1766165" y="1068263"/>
                  </a:lnTo>
                  <a:lnTo>
                    <a:pt x="1770559" y="1068357"/>
                  </a:lnTo>
                  <a:lnTo>
                    <a:pt x="1774114" y="1069168"/>
                  </a:lnTo>
                  <a:lnTo>
                    <a:pt x="1782018" y="1071880"/>
                  </a:lnTo>
                  <a:lnTo>
                    <a:pt x="1786645" y="1072370"/>
                  </a:lnTo>
                  <a:lnTo>
                    <a:pt x="1790629" y="1071542"/>
                  </a:lnTo>
                  <a:lnTo>
                    <a:pt x="1793275" y="1071361"/>
                  </a:lnTo>
                  <a:lnTo>
                    <a:pt x="1795611" y="1072444"/>
                  </a:lnTo>
                  <a:lnTo>
                    <a:pt x="1796351" y="1073210"/>
                  </a:lnTo>
                  <a:lnTo>
                    <a:pt x="1796702" y="1074732"/>
                  </a:lnTo>
                  <a:lnTo>
                    <a:pt x="1796657" y="1077013"/>
                  </a:lnTo>
                  <a:lnTo>
                    <a:pt x="1797941" y="1078610"/>
                  </a:lnTo>
                  <a:lnTo>
                    <a:pt x="1800549" y="1079523"/>
                  </a:lnTo>
                  <a:lnTo>
                    <a:pt x="1802658" y="1079384"/>
                  </a:lnTo>
                  <a:lnTo>
                    <a:pt x="1805417" y="1077594"/>
                  </a:lnTo>
                  <a:lnTo>
                    <a:pt x="1807751" y="1077288"/>
                  </a:lnTo>
                  <a:lnTo>
                    <a:pt x="1808532" y="1075946"/>
                  </a:lnTo>
                  <a:lnTo>
                    <a:pt x="1809221" y="1073460"/>
                  </a:lnTo>
                  <a:lnTo>
                    <a:pt x="1809900" y="1072098"/>
                  </a:lnTo>
                  <a:lnTo>
                    <a:pt x="1811590" y="1071707"/>
                  </a:lnTo>
                  <a:lnTo>
                    <a:pt x="1812951" y="1072448"/>
                  </a:lnTo>
                  <a:lnTo>
                    <a:pt x="1813747" y="1073584"/>
                  </a:lnTo>
                  <a:lnTo>
                    <a:pt x="1815207" y="1076987"/>
                  </a:lnTo>
                  <a:lnTo>
                    <a:pt x="1815613" y="1078510"/>
                  </a:lnTo>
                  <a:lnTo>
                    <a:pt x="1815451" y="1079897"/>
                  </a:lnTo>
                  <a:lnTo>
                    <a:pt x="1814723" y="1081144"/>
                  </a:lnTo>
                  <a:lnTo>
                    <a:pt x="1813291" y="1082475"/>
                  </a:lnTo>
                  <a:lnTo>
                    <a:pt x="1811153" y="1083888"/>
                  </a:lnTo>
                  <a:lnTo>
                    <a:pt x="1809473" y="1085917"/>
                  </a:lnTo>
                  <a:lnTo>
                    <a:pt x="1807422" y="1090600"/>
                  </a:lnTo>
                  <a:lnTo>
                    <a:pt x="1806664" y="1093656"/>
                  </a:lnTo>
                  <a:lnTo>
                    <a:pt x="1806456" y="1095458"/>
                  </a:lnTo>
                  <a:lnTo>
                    <a:pt x="1806547" y="1097430"/>
                  </a:lnTo>
                  <a:lnTo>
                    <a:pt x="1806936" y="1099573"/>
                  </a:lnTo>
                  <a:lnTo>
                    <a:pt x="1807749" y="1101338"/>
                  </a:lnTo>
                  <a:lnTo>
                    <a:pt x="1809660" y="1103833"/>
                  </a:lnTo>
                  <a:lnTo>
                    <a:pt x="1809770" y="1104661"/>
                  </a:lnTo>
                  <a:lnTo>
                    <a:pt x="1809912" y="1106679"/>
                  </a:lnTo>
                  <a:lnTo>
                    <a:pt x="1809745" y="1107566"/>
                  </a:lnTo>
                  <a:lnTo>
                    <a:pt x="1808630" y="1109320"/>
                  </a:lnTo>
                  <a:lnTo>
                    <a:pt x="1805539" y="1111070"/>
                  </a:lnTo>
                  <a:lnTo>
                    <a:pt x="1801299" y="1111522"/>
                  </a:lnTo>
                  <a:lnTo>
                    <a:pt x="1787442" y="1111622"/>
                  </a:lnTo>
                  <a:lnTo>
                    <a:pt x="1783752" y="1111204"/>
                  </a:lnTo>
                  <a:lnTo>
                    <a:pt x="1784643" y="1112794"/>
                  </a:lnTo>
                  <a:lnTo>
                    <a:pt x="1788525" y="1113302"/>
                  </a:lnTo>
                  <a:lnTo>
                    <a:pt x="1792069" y="1113281"/>
                  </a:lnTo>
                  <a:lnTo>
                    <a:pt x="1805284" y="1114286"/>
                  </a:lnTo>
                  <a:lnTo>
                    <a:pt x="1807104" y="1115303"/>
                  </a:lnTo>
                  <a:lnTo>
                    <a:pt x="1808637" y="1117091"/>
                  </a:lnTo>
                  <a:lnTo>
                    <a:pt x="1809734" y="1118940"/>
                  </a:lnTo>
                  <a:lnTo>
                    <a:pt x="1810819" y="1122698"/>
                  </a:lnTo>
                  <a:lnTo>
                    <a:pt x="1811022" y="1124479"/>
                  </a:lnTo>
                  <a:lnTo>
                    <a:pt x="1810440" y="1126454"/>
                  </a:lnTo>
                  <a:lnTo>
                    <a:pt x="1809074" y="1128623"/>
                  </a:lnTo>
                  <a:lnTo>
                    <a:pt x="1808157" y="1131507"/>
                  </a:lnTo>
                  <a:lnTo>
                    <a:pt x="1807688" y="1135110"/>
                  </a:lnTo>
                  <a:lnTo>
                    <a:pt x="1808423" y="1137016"/>
                  </a:lnTo>
                  <a:lnTo>
                    <a:pt x="1815570" y="1137164"/>
                  </a:lnTo>
                  <a:lnTo>
                    <a:pt x="1816990" y="1138467"/>
                  </a:lnTo>
                  <a:lnTo>
                    <a:pt x="1816827" y="1139436"/>
                  </a:lnTo>
                  <a:lnTo>
                    <a:pt x="1814291" y="1143075"/>
                  </a:lnTo>
                  <a:lnTo>
                    <a:pt x="1814055" y="1144107"/>
                  </a:lnTo>
                  <a:lnTo>
                    <a:pt x="1815214" y="1146559"/>
                  </a:lnTo>
                  <a:lnTo>
                    <a:pt x="1815055" y="1147256"/>
                  </a:lnTo>
                  <a:lnTo>
                    <a:pt x="1814351" y="1147967"/>
                  </a:lnTo>
                  <a:lnTo>
                    <a:pt x="1813678" y="1149803"/>
                  </a:lnTo>
                  <a:lnTo>
                    <a:pt x="1813033" y="1152762"/>
                  </a:lnTo>
                  <a:lnTo>
                    <a:pt x="1812233" y="1154678"/>
                  </a:lnTo>
                  <a:lnTo>
                    <a:pt x="1810292" y="1156158"/>
                  </a:lnTo>
                  <a:lnTo>
                    <a:pt x="1809273" y="1156482"/>
                  </a:lnTo>
                  <a:lnTo>
                    <a:pt x="1808539" y="1156088"/>
                  </a:lnTo>
                  <a:lnTo>
                    <a:pt x="1806619" y="1152056"/>
                  </a:lnTo>
                  <a:lnTo>
                    <a:pt x="1805829" y="1151455"/>
                  </a:lnTo>
                  <a:lnTo>
                    <a:pt x="1805081" y="1151834"/>
                  </a:lnTo>
                  <a:lnTo>
                    <a:pt x="1804705" y="1152460"/>
                  </a:lnTo>
                  <a:lnTo>
                    <a:pt x="1804703" y="1153331"/>
                  </a:lnTo>
                  <a:lnTo>
                    <a:pt x="1804374" y="1154234"/>
                  </a:lnTo>
                  <a:lnTo>
                    <a:pt x="1803714" y="1155165"/>
                  </a:lnTo>
                  <a:lnTo>
                    <a:pt x="1800885" y="1156647"/>
                  </a:lnTo>
                  <a:lnTo>
                    <a:pt x="1796301" y="1157649"/>
                  </a:lnTo>
                  <a:lnTo>
                    <a:pt x="1796443" y="1158721"/>
                  </a:lnTo>
                  <a:lnTo>
                    <a:pt x="1799520" y="1159294"/>
                  </a:lnTo>
                  <a:lnTo>
                    <a:pt x="1803436" y="1161086"/>
                  </a:lnTo>
                  <a:lnTo>
                    <a:pt x="1805684" y="1161370"/>
                  </a:lnTo>
                  <a:lnTo>
                    <a:pt x="1809219" y="1159923"/>
                  </a:lnTo>
                  <a:lnTo>
                    <a:pt x="1816031" y="1155367"/>
                  </a:lnTo>
                  <a:lnTo>
                    <a:pt x="1818840" y="1154131"/>
                  </a:lnTo>
                  <a:lnTo>
                    <a:pt x="1821314" y="1153657"/>
                  </a:lnTo>
                  <a:lnTo>
                    <a:pt x="1824101" y="1153598"/>
                  </a:lnTo>
                  <a:lnTo>
                    <a:pt x="1827197" y="1153945"/>
                  </a:lnTo>
                  <a:lnTo>
                    <a:pt x="1833366" y="1153362"/>
                  </a:lnTo>
                  <a:lnTo>
                    <a:pt x="1834910" y="1153797"/>
                  </a:lnTo>
                  <a:lnTo>
                    <a:pt x="1836797" y="1154802"/>
                  </a:lnTo>
                  <a:lnTo>
                    <a:pt x="1839028" y="1156382"/>
                  </a:lnTo>
                  <a:lnTo>
                    <a:pt x="1840564" y="1157899"/>
                  </a:lnTo>
                  <a:lnTo>
                    <a:pt x="1841405" y="1159356"/>
                  </a:lnTo>
                  <a:lnTo>
                    <a:pt x="1842792" y="1164856"/>
                  </a:lnTo>
                  <a:lnTo>
                    <a:pt x="1844656" y="1166294"/>
                  </a:lnTo>
                  <a:lnTo>
                    <a:pt x="1845107" y="1167349"/>
                  </a:lnTo>
                  <a:lnTo>
                    <a:pt x="1845253" y="1168964"/>
                  </a:lnTo>
                  <a:lnTo>
                    <a:pt x="1845140" y="1172123"/>
                  </a:lnTo>
                  <a:lnTo>
                    <a:pt x="1843090" y="1178488"/>
                  </a:lnTo>
                  <a:lnTo>
                    <a:pt x="1842029" y="1180836"/>
                  </a:lnTo>
                  <a:lnTo>
                    <a:pt x="1839198" y="1184037"/>
                  </a:lnTo>
                  <a:lnTo>
                    <a:pt x="1835935" y="1185489"/>
                  </a:lnTo>
                  <a:lnTo>
                    <a:pt x="1830131" y="1186850"/>
                  </a:lnTo>
                  <a:lnTo>
                    <a:pt x="1827101" y="1187992"/>
                  </a:lnTo>
                  <a:lnTo>
                    <a:pt x="1824815" y="1189563"/>
                  </a:lnTo>
                  <a:lnTo>
                    <a:pt x="1824679" y="1190428"/>
                  </a:lnTo>
                  <a:lnTo>
                    <a:pt x="1831268" y="1187733"/>
                  </a:lnTo>
                  <a:lnTo>
                    <a:pt x="1838516" y="1186415"/>
                  </a:lnTo>
                  <a:lnTo>
                    <a:pt x="1840583" y="1184941"/>
                  </a:lnTo>
                  <a:lnTo>
                    <a:pt x="1842148" y="1183507"/>
                  </a:lnTo>
                  <a:lnTo>
                    <a:pt x="1843739" y="1180303"/>
                  </a:lnTo>
                  <a:lnTo>
                    <a:pt x="1846619" y="1171998"/>
                  </a:lnTo>
                  <a:lnTo>
                    <a:pt x="1848254" y="1169380"/>
                  </a:lnTo>
                  <a:lnTo>
                    <a:pt x="1850536" y="1168937"/>
                  </a:lnTo>
                  <a:lnTo>
                    <a:pt x="1851547" y="1169828"/>
                  </a:lnTo>
                  <a:lnTo>
                    <a:pt x="1853915" y="1174704"/>
                  </a:lnTo>
                  <a:lnTo>
                    <a:pt x="1853903" y="1175947"/>
                  </a:lnTo>
                  <a:lnTo>
                    <a:pt x="1853316" y="1177000"/>
                  </a:lnTo>
                  <a:lnTo>
                    <a:pt x="1849450" y="1181730"/>
                  </a:lnTo>
                  <a:lnTo>
                    <a:pt x="1850842" y="1181248"/>
                  </a:lnTo>
                  <a:lnTo>
                    <a:pt x="1854725" y="1176801"/>
                  </a:lnTo>
                  <a:lnTo>
                    <a:pt x="1855550" y="1175412"/>
                  </a:lnTo>
                  <a:lnTo>
                    <a:pt x="1856008" y="1173370"/>
                  </a:lnTo>
                  <a:lnTo>
                    <a:pt x="1857258" y="1171924"/>
                  </a:lnTo>
                  <a:lnTo>
                    <a:pt x="1857737" y="1172632"/>
                  </a:lnTo>
                  <a:lnTo>
                    <a:pt x="1858938" y="1177864"/>
                  </a:lnTo>
                  <a:lnTo>
                    <a:pt x="1858976" y="1181683"/>
                  </a:lnTo>
                  <a:lnTo>
                    <a:pt x="1859170" y="1182907"/>
                  </a:lnTo>
                  <a:lnTo>
                    <a:pt x="1858736" y="1186523"/>
                  </a:lnTo>
                  <a:lnTo>
                    <a:pt x="1859228" y="1187171"/>
                  </a:lnTo>
                  <a:lnTo>
                    <a:pt x="1860396" y="1184044"/>
                  </a:lnTo>
                  <a:lnTo>
                    <a:pt x="1860776" y="1181680"/>
                  </a:lnTo>
                  <a:lnTo>
                    <a:pt x="1861305" y="1179992"/>
                  </a:lnTo>
                  <a:lnTo>
                    <a:pt x="1861983" y="1178984"/>
                  </a:lnTo>
                  <a:lnTo>
                    <a:pt x="1866740" y="1175790"/>
                  </a:lnTo>
                  <a:lnTo>
                    <a:pt x="1872297" y="1173189"/>
                  </a:lnTo>
                  <a:lnTo>
                    <a:pt x="1875934" y="1170876"/>
                  </a:lnTo>
                  <a:lnTo>
                    <a:pt x="1878952" y="1169771"/>
                  </a:lnTo>
                  <a:lnTo>
                    <a:pt x="1883471" y="1168725"/>
                  </a:lnTo>
                  <a:lnTo>
                    <a:pt x="1886368" y="1166580"/>
                  </a:lnTo>
                  <a:lnTo>
                    <a:pt x="1887642" y="1163326"/>
                  </a:lnTo>
                  <a:lnTo>
                    <a:pt x="1888723" y="1161073"/>
                  </a:lnTo>
                  <a:lnTo>
                    <a:pt x="1889612" y="1159825"/>
                  </a:lnTo>
                  <a:lnTo>
                    <a:pt x="1892593" y="1157585"/>
                  </a:lnTo>
                  <a:lnTo>
                    <a:pt x="1894212" y="1157459"/>
                  </a:lnTo>
                  <a:lnTo>
                    <a:pt x="1895763" y="1158286"/>
                  </a:lnTo>
                  <a:lnTo>
                    <a:pt x="1897517" y="1159966"/>
                  </a:lnTo>
                  <a:lnTo>
                    <a:pt x="1899477" y="1162495"/>
                  </a:lnTo>
                  <a:lnTo>
                    <a:pt x="1900651" y="1164478"/>
                  </a:lnTo>
                  <a:lnTo>
                    <a:pt x="1901033" y="1165917"/>
                  </a:lnTo>
                  <a:lnTo>
                    <a:pt x="1901351" y="1170954"/>
                  </a:lnTo>
                  <a:lnTo>
                    <a:pt x="1901722" y="1170939"/>
                  </a:lnTo>
                  <a:lnTo>
                    <a:pt x="1903526" y="1167093"/>
                  </a:lnTo>
                  <a:lnTo>
                    <a:pt x="1903738" y="1165725"/>
                  </a:lnTo>
                  <a:lnTo>
                    <a:pt x="1903610" y="1164280"/>
                  </a:lnTo>
                  <a:lnTo>
                    <a:pt x="1903059" y="1162835"/>
                  </a:lnTo>
                  <a:lnTo>
                    <a:pt x="1901243" y="1159682"/>
                  </a:lnTo>
                  <a:lnTo>
                    <a:pt x="1900531" y="1157706"/>
                  </a:lnTo>
                  <a:lnTo>
                    <a:pt x="1900690" y="1156486"/>
                  </a:lnTo>
                  <a:lnTo>
                    <a:pt x="1902619" y="1155796"/>
                  </a:lnTo>
                  <a:lnTo>
                    <a:pt x="1905464" y="1155519"/>
                  </a:lnTo>
                  <a:lnTo>
                    <a:pt x="1905942" y="1155003"/>
                  </a:lnTo>
                  <a:lnTo>
                    <a:pt x="1903852" y="1153695"/>
                  </a:lnTo>
                  <a:lnTo>
                    <a:pt x="1903793" y="1152986"/>
                  </a:lnTo>
                  <a:lnTo>
                    <a:pt x="1905804" y="1150658"/>
                  </a:lnTo>
                  <a:lnTo>
                    <a:pt x="1906986" y="1150531"/>
                  </a:lnTo>
                  <a:lnTo>
                    <a:pt x="1909300" y="1150899"/>
                  </a:lnTo>
                  <a:lnTo>
                    <a:pt x="1908834" y="1149706"/>
                  </a:lnTo>
                  <a:lnTo>
                    <a:pt x="1908857" y="1148915"/>
                  </a:lnTo>
                  <a:lnTo>
                    <a:pt x="1909510" y="1148607"/>
                  </a:lnTo>
                  <a:lnTo>
                    <a:pt x="1913345" y="1149360"/>
                  </a:lnTo>
                  <a:lnTo>
                    <a:pt x="1913794" y="1148450"/>
                  </a:lnTo>
                  <a:lnTo>
                    <a:pt x="1917092" y="1148368"/>
                  </a:lnTo>
                  <a:lnTo>
                    <a:pt x="1917414" y="1147554"/>
                  </a:lnTo>
                  <a:lnTo>
                    <a:pt x="1914562" y="1146393"/>
                  </a:lnTo>
                  <a:lnTo>
                    <a:pt x="1911766" y="1145667"/>
                  </a:lnTo>
                  <a:lnTo>
                    <a:pt x="1910915" y="1145032"/>
                  </a:lnTo>
                  <a:lnTo>
                    <a:pt x="1910261" y="1144095"/>
                  </a:lnTo>
                  <a:lnTo>
                    <a:pt x="1909389" y="1141829"/>
                  </a:lnTo>
                  <a:lnTo>
                    <a:pt x="1909600" y="1141227"/>
                  </a:lnTo>
                  <a:lnTo>
                    <a:pt x="1910384" y="1141216"/>
                  </a:lnTo>
                  <a:lnTo>
                    <a:pt x="1911744" y="1141836"/>
                  </a:lnTo>
                  <a:lnTo>
                    <a:pt x="1912483" y="1140643"/>
                  </a:lnTo>
                  <a:lnTo>
                    <a:pt x="1913312" y="1137842"/>
                  </a:lnTo>
                  <a:lnTo>
                    <a:pt x="1914137" y="1136691"/>
                  </a:lnTo>
                  <a:lnTo>
                    <a:pt x="1916699" y="1138019"/>
                  </a:lnTo>
                  <a:lnTo>
                    <a:pt x="1916812" y="1137448"/>
                  </a:lnTo>
                  <a:lnTo>
                    <a:pt x="1914731" y="1133036"/>
                  </a:lnTo>
                  <a:lnTo>
                    <a:pt x="1915093" y="1132188"/>
                  </a:lnTo>
                  <a:lnTo>
                    <a:pt x="1918272" y="1131868"/>
                  </a:lnTo>
                  <a:lnTo>
                    <a:pt x="1920197" y="1132420"/>
                  </a:lnTo>
                  <a:lnTo>
                    <a:pt x="1925254" y="1135655"/>
                  </a:lnTo>
                  <a:lnTo>
                    <a:pt x="1926169" y="1135284"/>
                  </a:lnTo>
                  <a:lnTo>
                    <a:pt x="1925393" y="1134398"/>
                  </a:lnTo>
                  <a:lnTo>
                    <a:pt x="1922805" y="1132491"/>
                  </a:lnTo>
                  <a:lnTo>
                    <a:pt x="1920465" y="1131242"/>
                  </a:lnTo>
                  <a:lnTo>
                    <a:pt x="1918378" y="1130657"/>
                  </a:lnTo>
                  <a:lnTo>
                    <a:pt x="1916808" y="1129592"/>
                  </a:lnTo>
                  <a:lnTo>
                    <a:pt x="1915089" y="1126676"/>
                  </a:lnTo>
                  <a:lnTo>
                    <a:pt x="1914804" y="1125474"/>
                  </a:lnTo>
                  <a:lnTo>
                    <a:pt x="1914946" y="1123908"/>
                  </a:lnTo>
                  <a:lnTo>
                    <a:pt x="1916150" y="1120652"/>
                  </a:lnTo>
                  <a:lnTo>
                    <a:pt x="1916840" y="1119946"/>
                  </a:lnTo>
                  <a:lnTo>
                    <a:pt x="1918064" y="1119422"/>
                  </a:lnTo>
                  <a:lnTo>
                    <a:pt x="1919816" y="1119082"/>
                  </a:lnTo>
                  <a:lnTo>
                    <a:pt x="1921756" y="1119405"/>
                  </a:lnTo>
                  <a:lnTo>
                    <a:pt x="1925757" y="1121548"/>
                  </a:lnTo>
                  <a:lnTo>
                    <a:pt x="1926425" y="1120871"/>
                  </a:lnTo>
                  <a:lnTo>
                    <a:pt x="1924267" y="1119704"/>
                  </a:lnTo>
                  <a:lnTo>
                    <a:pt x="1923102" y="1118626"/>
                  </a:lnTo>
                  <a:lnTo>
                    <a:pt x="1922540" y="1117245"/>
                  </a:lnTo>
                  <a:lnTo>
                    <a:pt x="1922784" y="1115681"/>
                  </a:lnTo>
                  <a:lnTo>
                    <a:pt x="1924480" y="1112447"/>
                  </a:lnTo>
                  <a:lnTo>
                    <a:pt x="1925278" y="1109840"/>
                  </a:lnTo>
                  <a:lnTo>
                    <a:pt x="1928882" y="1102629"/>
                  </a:lnTo>
                  <a:lnTo>
                    <a:pt x="1929939" y="1101316"/>
                  </a:lnTo>
                  <a:lnTo>
                    <a:pt x="1931069" y="1100487"/>
                  </a:lnTo>
                  <a:lnTo>
                    <a:pt x="1931771" y="1099620"/>
                  </a:lnTo>
                  <a:lnTo>
                    <a:pt x="1934597" y="1099426"/>
                  </a:lnTo>
                  <a:lnTo>
                    <a:pt x="1939832" y="1102011"/>
                  </a:lnTo>
                  <a:lnTo>
                    <a:pt x="1941432" y="1103537"/>
                  </a:lnTo>
                  <a:lnTo>
                    <a:pt x="1941856" y="1105694"/>
                  </a:lnTo>
                  <a:lnTo>
                    <a:pt x="1939114" y="1108613"/>
                  </a:lnTo>
                  <a:lnTo>
                    <a:pt x="1934409" y="1110789"/>
                  </a:lnTo>
                  <a:lnTo>
                    <a:pt x="1933010" y="1111739"/>
                  </a:lnTo>
                  <a:lnTo>
                    <a:pt x="1933920" y="1112290"/>
                  </a:lnTo>
                  <a:lnTo>
                    <a:pt x="1938316" y="1110552"/>
                  </a:lnTo>
                  <a:lnTo>
                    <a:pt x="1942158" y="1109741"/>
                  </a:lnTo>
                  <a:lnTo>
                    <a:pt x="1945307" y="1109769"/>
                  </a:lnTo>
                  <a:lnTo>
                    <a:pt x="1947858" y="1113223"/>
                  </a:lnTo>
                  <a:lnTo>
                    <a:pt x="1948215" y="1118007"/>
                  </a:lnTo>
                  <a:lnTo>
                    <a:pt x="1946757" y="1121985"/>
                  </a:lnTo>
                  <a:lnTo>
                    <a:pt x="1948675" y="1120007"/>
                  </a:lnTo>
                  <a:lnTo>
                    <a:pt x="1951073" y="1118913"/>
                  </a:lnTo>
                  <a:lnTo>
                    <a:pt x="1953036" y="1121513"/>
                  </a:lnTo>
                  <a:lnTo>
                    <a:pt x="1953269" y="1123630"/>
                  </a:lnTo>
                  <a:lnTo>
                    <a:pt x="1954300" y="1125616"/>
                  </a:lnTo>
                  <a:lnTo>
                    <a:pt x="1956520" y="1128272"/>
                  </a:lnTo>
                  <a:lnTo>
                    <a:pt x="1958830" y="1130598"/>
                  </a:lnTo>
                  <a:lnTo>
                    <a:pt x="1956289" y="1133035"/>
                  </a:lnTo>
                  <a:lnTo>
                    <a:pt x="1953238" y="1134489"/>
                  </a:lnTo>
                  <a:lnTo>
                    <a:pt x="1953878" y="1135573"/>
                  </a:lnTo>
                  <a:lnTo>
                    <a:pt x="1958052" y="1136734"/>
                  </a:lnTo>
                  <a:lnTo>
                    <a:pt x="1958617" y="1137882"/>
                  </a:lnTo>
                  <a:lnTo>
                    <a:pt x="1958179" y="1139438"/>
                  </a:lnTo>
                  <a:lnTo>
                    <a:pt x="1958784" y="1139431"/>
                  </a:lnTo>
                  <a:lnTo>
                    <a:pt x="1961688" y="1137026"/>
                  </a:lnTo>
                  <a:lnTo>
                    <a:pt x="1964162" y="1137349"/>
                  </a:lnTo>
                  <a:lnTo>
                    <a:pt x="1967325" y="1142537"/>
                  </a:lnTo>
                  <a:lnTo>
                    <a:pt x="1965016" y="1145501"/>
                  </a:lnTo>
                  <a:lnTo>
                    <a:pt x="1961485" y="1146856"/>
                  </a:lnTo>
                  <a:lnTo>
                    <a:pt x="1958673" y="1147433"/>
                  </a:lnTo>
                  <a:lnTo>
                    <a:pt x="1954765" y="1147354"/>
                  </a:lnTo>
                  <a:lnTo>
                    <a:pt x="1953227" y="1147794"/>
                  </a:lnTo>
                  <a:lnTo>
                    <a:pt x="1953991" y="1148780"/>
                  </a:lnTo>
                  <a:lnTo>
                    <a:pt x="1957728" y="1148795"/>
                  </a:lnTo>
                  <a:lnTo>
                    <a:pt x="1963452" y="1148047"/>
                  </a:lnTo>
                  <a:lnTo>
                    <a:pt x="1967735" y="1146828"/>
                  </a:lnTo>
                  <a:lnTo>
                    <a:pt x="1969598" y="1146756"/>
                  </a:lnTo>
                  <a:lnTo>
                    <a:pt x="1971553" y="1147252"/>
                  </a:lnTo>
                  <a:lnTo>
                    <a:pt x="1972210" y="1147668"/>
                  </a:lnTo>
                  <a:lnTo>
                    <a:pt x="1970150" y="1148518"/>
                  </a:lnTo>
                  <a:lnTo>
                    <a:pt x="1969994" y="1148815"/>
                  </a:lnTo>
                  <a:lnTo>
                    <a:pt x="1970766" y="1149684"/>
                  </a:lnTo>
                  <a:lnTo>
                    <a:pt x="1972365" y="1152489"/>
                  </a:lnTo>
                  <a:lnTo>
                    <a:pt x="1972225" y="1153120"/>
                  </a:lnTo>
                  <a:lnTo>
                    <a:pt x="1970698" y="1154747"/>
                  </a:lnTo>
                  <a:lnTo>
                    <a:pt x="1973152" y="1155105"/>
                  </a:lnTo>
                  <a:lnTo>
                    <a:pt x="1976577" y="1154345"/>
                  </a:lnTo>
                  <a:lnTo>
                    <a:pt x="1977640" y="1155193"/>
                  </a:lnTo>
                  <a:lnTo>
                    <a:pt x="1979727" y="1158556"/>
                  </a:lnTo>
                  <a:lnTo>
                    <a:pt x="1981050" y="1161996"/>
                  </a:lnTo>
                  <a:lnTo>
                    <a:pt x="1975257" y="1166698"/>
                  </a:lnTo>
                  <a:lnTo>
                    <a:pt x="1972307" y="1167669"/>
                  </a:lnTo>
                  <a:lnTo>
                    <a:pt x="1967965" y="1170150"/>
                  </a:lnTo>
                  <a:lnTo>
                    <a:pt x="1966747" y="1172138"/>
                  </a:lnTo>
                  <a:lnTo>
                    <a:pt x="1964234" y="1174685"/>
                  </a:lnTo>
                  <a:lnTo>
                    <a:pt x="1965842" y="1174657"/>
                  </a:lnTo>
                  <a:lnTo>
                    <a:pt x="1970334" y="1170569"/>
                  </a:lnTo>
                  <a:lnTo>
                    <a:pt x="1972527" y="1169617"/>
                  </a:lnTo>
                  <a:lnTo>
                    <a:pt x="1974163" y="1169857"/>
                  </a:lnTo>
                  <a:lnTo>
                    <a:pt x="1974821" y="1170549"/>
                  </a:lnTo>
                  <a:lnTo>
                    <a:pt x="1974501" y="1171693"/>
                  </a:lnTo>
                  <a:lnTo>
                    <a:pt x="1975932" y="1171547"/>
                  </a:lnTo>
                  <a:lnTo>
                    <a:pt x="1981974" y="1169156"/>
                  </a:lnTo>
                  <a:lnTo>
                    <a:pt x="1984513" y="1168681"/>
                  </a:lnTo>
                  <a:lnTo>
                    <a:pt x="1987795" y="1168527"/>
                  </a:lnTo>
                  <a:lnTo>
                    <a:pt x="1988150" y="1169355"/>
                  </a:lnTo>
                  <a:lnTo>
                    <a:pt x="1986110" y="1175081"/>
                  </a:lnTo>
                  <a:lnTo>
                    <a:pt x="1982617" y="1179466"/>
                  </a:lnTo>
                  <a:lnTo>
                    <a:pt x="1976259" y="1182167"/>
                  </a:lnTo>
                  <a:lnTo>
                    <a:pt x="1974006" y="1183748"/>
                  </a:lnTo>
                  <a:lnTo>
                    <a:pt x="1971220" y="1186304"/>
                  </a:lnTo>
                  <a:lnTo>
                    <a:pt x="1972273" y="1186765"/>
                  </a:lnTo>
                  <a:lnTo>
                    <a:pt x="1978336" y="1183411"/>
                  </a:lnTo>
                  <a:lnTo>
                    <a:pt x="1982479" y="1182088"/>
                  </a:lnTo>
                  <a:lnTo>
                    <a:pt x="1988296" y="1181025"/>
                  </a:lnTo>
                  <a:lnTo>
                    <a:pt x="1990880" y="1181174"/>
                  </a:lnTo>
                  <a:lnTo>
                    <a:pt x="1995457" y="1187864"/>
                  </a:lnTo>
                  <a:lnTo>
                    <a:pt x="1998098" y="1188512"/>
                  </a:lnTo>
                  <a:lnTo>
                    <a:pt x="2000231" y="1188164"/>
                  </a:lnTo>
                  <a:lnTo>
                    <a:pt x="2004257" y="1190087"/>
                  </a:lnTo>
                  <a:lnTo>
                    <a:pt x="2005767" y="1191938"/>
                  </a:lnTo>
                  <a:lnTo>
                    <a:pt x="2005387" y="1193269"/>
                  </a:lnTo>
                  <a:lnTo>
                    <a:pt x="2004026" y="1194066"/>
                  </a:lnTo>
                  <a:lnTo>
                    <a:pt x="2003336" y="1195308"/>
                  </a:lnTo>
                  <a:lnTo>
                    <a:pt x="2004951" y="1199002"/>
                  </a:lnTo>
                  <a:lnTo>
                    <a:pt x="2004020" y="1201074"/>
                  </a:lnTo>
                  <a:lnTo>
                    <a:pt x="2001078" y="1202901"/>
                  </a:lnTo>
                  <a:lnTo>
                    <a:pt x="1998977" y="1203827"/>
                  </a:lnTo>
                  <a:lnTo>
                    <a:pt x="1996777" y="1204112"/>
                  </a:lnTo>
                  <a:lnTo>
                    <a:pt x="1994622" y="1205727"/>
                  </a:lnTo>
                  <a:lnTo>
                    <a:pt x="1993645" y="1205966"/>
                  </a:lnTo>
                  <a:lnTo>
                    <a:pt x="1990642" y="1205557"/>
                  </a:lnTo>
                  <a:lnTo>
                    <a:pt x="1991672" y="1206550"/>
                  </a:lnTo>
                  <a:lnTo>
                    <a:pt x="1993155" y="1207053"/>
                  </a:lnTo>
                  <a:lnTo>
                    <a:pt x="1995519" y="1207327"/>
                  </a:lnTo>
                  <a:lnTo>
                    <a:pt x="1998283" y="1206819"/>
                  </a:lnTo>
                  <a:lnTo>
                    <a:pt x="2000974" y="1206883"/>
                  </a:lnTo>
                  <a:lnTo>
                    <a:pt x="2005208" y="1208052"/>
                  </a:lnTo>
                  <a:lnTo>
                    <a:pt x="2006984" y="1209491"/>
                  </a:lnTo>
                  <a:lnTo>
                    <a:pt x="2007016" y="1209888"/>
                  </a:lnTo>
                  <a:lnTo>
                    <a:pt x="2006102" y="1210710"/>
                  </a:lnTo>
                  <a:lnTo>
                    <a:pt x="2004758" y="1213385"/>
                  </a:lnTo>
                  <a:lnTo>
                    <a:pt x="2003780" y="1214346"/>
                  </a:lnTo>
                  <a:lnTo>
                    <a:pt x="2004615" y="1215066"/>
                  </a:lnTo>
                  <a:lnTo>
                    <a:pt x="2006736" y="1216177"/>
                  </a:lnTo>
                  <a:lnTo>
                    <a:pt x="2008321" y="1216589"/>
                  </a:lnTo>
                  <a:lnTo>
                    <a:pt x="2010401" y="1216228"/>
                  </a:lnTo>
                  <a:lnTo>
                    <a:pt x="2012627" y="1216701"/>
                  </a:lnTo>
                  <a:lnTo>
                    <a:pt x="2020103" y="1222964"/>
                  </a:lnTo>
                  <a:lnTo>
                    <a:pt x="2019797" y="1226188"/>
                  </a:lnTo>
                  <a:lnTo>
                    <a:pt x="2018663" y="1228671"/>
                  </a:lnTo>
                  <a:lnTo>
                    <a:pt x="2019112" y="1231459"/>
                  </a:lnTo>
                  <a:lnTo>
                    <a:pt x="2019142" y="1234890"/>
                  </a:lnTo>
                  <a:lnTo>
                    <a:pt x="2015082" y="1235834"/>
                  </a:lnTo>
                  <a:lnTo>
                    <a:pt x="2001623" y="1234230"/>
                  </a:lnTo>
                  <a:lnTo>
                    <a:pt x="1993925" y="1231777"/>
                  </a:lnTo>
                  <a:lnTo>
                    <a:pt x="1993528" y="1231030"/>
                  </a:lnTo>
                  <a:lnTo>
                    <a:pt x="1995707" y="1229399"/>
                  </a:lnTo>
                  <a:lnTo>
                    <a:pt x="1993775" y="1229278"/>
                  </a:lnTo>
                  <a:lnTo>
                    <a:pt x="1991539" y="1229919"/>
                  </a:lnTo>
                  <a:lnTo>
                    <a:pt x="1990600" y="1230524"/>
                  </a:lnTo>
                  <a:lnTo>
                    <a:pt x="1993180" y="1233113"/>
                  </a:lnTo>
                  <a:lnTo>
                    <a:pt x="2000254" y="1235393"/>
                  </a:lnTo>
                  <a:lnTo>
                    <a:pt x="2003421" y="1238134"/>
                  </a:lnTo>
                  <a:lnTo>
                    <a:pt x="2006887" y="1238369"/>
                  </a:lnTo>
                  <a:lnTo>
                    <a:pt x="2007940" y="1238865"/>
                  </a:lnTo>
                  <a:lnTo>
                    <a:pt x="2009858" y="1240467"/>
                  </a:lnTo>
                  <a:lnTo>
                    <a:pt x="2009292" y="1241018"/>
                  </a:lnTo>
                  <a:lnTo>
                    <a:pt x="2005758" y="1241209"/>
                  </a:lnTo>
                  <a:lnTo>
                    <a:pt x="2002963" y="1243063"/>
                  </a:lnTo>
                  <a:lnTo>
                    <a:pt x="2004718" y="1244152"/>
                  </a:lnTo>
                  <a:lnTo>
                    <a:pt x="2011006" y="1245105"/>
                  </a:lnTo>
                  <a:lnTo>
                    <a:pt x="2015516" y="1245348"/>
                  </a:lnTo>
                  <a:lnTo>
                    <a:pt x="2017780" y="1246414"/>
                  </a:lnTo>
                  <a:lnTo>
                    <a:pt x="2015919" y="1247601"/>
                  </a:lnTo>
                  <a:lnTo>
                    <a:pt x="2010634" y="1248995"/>
                  </a:lnTo>
                  <a:lnTo>
                    <a:pt x="2010483" y="1251068"/>
                  </a:lnTo>
                  <a:lnTo>
                    <a:pt x="2014400" y="1251897"/>
                  </a:lnTo>
                  <a:lnTo>
                    <a:pt x="2017887" y="1251394"/>
                  </a:lnTo>
                  <a:lnTo>
                    <a:pt x="2019317" y="1251603"/>
                  </a:lnTo>
                  <a:lnTo>
                    <a:pt x="2020339" y="1256608"/>
                  </a:lnTo>
                  <a:lnTo>
                    <a:pt x="2020929" y="1257647"/>
                  </a:lnTo>
                  <a:lnTo>
                    <a:pt x="2017182" y="1258535"/>
                  </a:lnTo>
                  <a:lnTo>
                    <a:pt x="2017167" y="1259487"/>
                  </a:lnTo>
                  <a:lnTo>
                    <a:pt x="2019658" y="1260273"/>
                  </a:lnTo>
                  <a:lnTo>
                    <a:pt x="2023801" y="1260928"/>
                  </a:lnTo>
                  <a:lnTo>
                    <a:pt x="2025170" y="1261824"/>
                  </a:lnTo>
                  <a:lnTo>
                    <a:pt x="2025446" y="1263312"/>
                  </a:lnTo>
                  <a:lnTo>
                    <a:pt x="2026298" y="1264105"/>
                  </a:lnTo>
                  <a:lnTo>
                    <a:pt x="2028672" y="1264248"/>
                  </a:lnTo>
                  <a:lnTo>
                    <a:pt x="2031285" y="1262398"/>
                  </a:lnTo>
                  <a:lnTo>
                    <a:pt x="2032829" y="1260839"/>
                  </a:lnTo>
                  <a:lnTo>
                    <a:pt x="2035074" y="1261425"/>
                  </a:lnTo>
                  <a:lnTo>
                    <a:pt x="2035243" y="1263370"/>
                  </a:lnTo>
                  <a:lnTo>
                    <a:pt x="2037923" y="1265579"/>
                  </a:lnTo>
                  <a:lnTo>
                    <a:pt x="2038895" y="1265942"/>
                  </a:lnTo>
                  <a:lnTo>
                    <a:pt x="2039668" y="1269071"/>
                  </a:lnTo>
                  <a:lnTo>
                    <a:pt x="2041856" y="1266288"/>
                  </a:lnTo>
                  <a:lnTo>
                    <a:pt x="2043459" y="1266877"/>
                  </a:lnTo>
                  <a:lnTo>
                    <a:pt x="2045274" y="1267017"/>
                  </a:lnTo>
                  <a:lnTo>
                    <a:pt x="2044655" y="1269709"/>
                  </a:lnTo>
                  <a:lnTo>
                    <a:pt x="2043568" y="1271827"/>
                  </a:lnTo>
                  <a:lnTo>
                    <a:pt x="2044997" y="1273149"/>
                  </a:lnTo>
                  <a:lnTo>
                    <a:pt x="2046103" y="1275116"/>
                  </a:lnTo>
                  <a:lnTo>
                    <a:pt x="2049042" y="1277817"/>
                  </a:lnTo>
                  <a:lnTo>
                    <a:pt x="2048241" y="1279113"/>
                  </a:lnTo>
                  <a:lnTo>
                    <a:pt x="2044768" y="1281880"/>
                  </a:lnTo>
                  <a:lnTo>
                    <a:pt x="2042938" y="1286252"/>
                  </a:lnTo>
                  <a:lnTo>
                    <a:pt x="2042508" y="1287766"/>
                  </a:lnTo>
                  <a:lnTo>
                    <a:pt x="2040723" y="1290273"/>
                  </a:lnTo>
                  <a:lnTo>
                    <a:pt x="2038272" y="1292701"/>
                  </a:lnTo>
                  <a:lnTo>
                    <a:pt x="2039809" y="1292445"/>
                  </a:lnTo>
                  <a:lnTo>
                    <a:pt x="2045280" y="1287978"/>
                  </a:lnTo>
                  <a:lnTo>
                    <a:pt x="2048532" y="1286477"/>
                  </a:lnTo>
                  <a:lnTo>
                    <a:pt x="2055687" y="1285664"/>
                  </a:lnTo>
                  <a:lnTo>
                    <a:pt x="2057417" y="1284410"/>
                  </a:lnTo>
                  <a:lnTo>
                    <a:pt x="2060037" y="1283889"/>
                  </a:lnTo>
                  <a:lnTo>
                    <a:pt x="2061641" y="1285320"/>
                  </a:lnTo>
                  <a:lnTo>
                    <a:pt x="2061805" y="1287894"/>
                  </a:lnTo>
                  <a:lnTo>
                    <a:pt x="2063924" y="1288706"/>
                  </a:lnTo>
                  <a:lnTo>
                    <a:pt x="2066151" y="1287858"/>
                  </a:lnTo>
                  <a:lnTo>
                    <a:pt x="2068174" y="1288616"/>
                  </a:lnTo>
                  <a:lnTo>
                    <a:pt x="2066957" y="1290231"/>
                  </a:lnTo>
                  <a:lnTo>
                    <a:pt x="2060470" y="1296848"/>
                  </a:lnTo>
                  <a:lnTo>
                    <a:pt x="2058576" y="1299500"/>
                  </a:lnTo>
                  <a:lnTo>
                    <a:pt x="2058034" y="1301374"/>
                  </a:lnTo>
                  <a:lnTo>
                    <a:pt x="2060263" y="1298804"/>
                  </a:lnTo>
                  <a:lnTo>
                    <a:pt x="2068410" y="1292867"/>
                  </a:lnTo>
                  <a:lnTo>
                    <a:pt x="2069282" y="1291978"/>
                  </a:lnTo>
                  <a:lnTo>
                    <a:pt x="2071057" y="1289431"/>
                  </a:lnTo>
                  <a:lnTo>
                    <a:pt x="2072696" y="1287766"/>
                  </a:lnTo>
                  <a:lnTo>
                    <a:pt x="2077089" y="1288357"/>
                  </a:lnTo>
                  <a:lnTo>
                    <a:pt x="2079350" y="1289550"/>
                  </a:lnTo>
                  <a:lnTo>
                    <a:pt x="2080398" y="1292881"/>
                  </a:lnTo>
                  <a:lnTo>
                    <a:pt x="2082173" y="1296507"/>
                  </a:lnTo>
                  <a:lnTo>
                    <a:pt x="2084851" y="1300515"/>
                  </a:lnTo>
                  <a:lnTo>
                    <a:pt x="2091958" y="1302459"/>
                  </a:lnTo>
                  <a:lnTo>
                    <a:pt x="2094538" y="1302774"/>
                  </a:lnTo>
                  <a:lnTo>
                    <a:pt x="2098983" y="1301418"/>
                  </a:lnTo>
                  <a:lnTo>
                    <a:pt x="2099682" y="1299546"/>
                  </a:lnTo>
                  <a:lnTo>
                    <a:pt x="2103150" y="1298973"/>
                  </a:lnTo>
                  <a:lnTo>
                    <a:pt x="2105586" y="1299201"/>
                  </a:lnTo>
                  <a:lnTo>
                    <a:pt x="2106426" y="1302809"/>
                  </a:lnTo>
                  <a:lnTo>
                    <a:pt x="2109024" y="1304722"/>
                  </a:lnTo>
                  <a:lnTo>
                    <a:pt x="2111609" y="1306300"/>
                  </a:lnTo>
                  <a:lnTo>
                    <a:pt x="2114101" y="1307120"/>
                  </a:lnTo>
                  <a:lnTo>
                    <a:pt x="2117742" y="1307473"/>
                  </a:lnTo>
                  <a:lnTo>
                    <a:pt x="2119734" y="1309206"/>
                  </a:lnTo>
                  <a:lnTo>
                    <a:pt x="2119735" y="1309923"/>
                  </a:lnTo>
                  <a:lnTo>
                    <a:pt x="2117682" y="1311778"/>
                  </a:lnTo>
                  <a:lnTo>
                    <a:pt x="2115708" y="1314475"/>
                  </a:lnTo>
                  <a:lnTo>
                    <a:pt x="2112259" y="1316358"/>
                  </a:lnTo>
                  <a:lnTo>
                    <a:pt x="2107446" y="1316445"/>
                  </a:lnTo>
                  <a:lnTo>
                    <a:pt x="2100795" y="1317621"/>
                  </a:lnTo>
                  <a:lnTo>
                    <a:pt x="2100528" y="1318686"/>
                  </a:lnTo>
                  <a:lnTo>
                    <a:pt x="2099062" y="1319856"/>
                  </a:lnTo>
                  <a:lnTo>
                    <a:pt x="2095527" y="1321013"/>
                  </a:lnTo>
                  <a:lnTo>
                    <a:pt x="2093598" y="1321892"/>
                  </a:lnTo>
                  <a:lnTo>
                    <a:pt x="2090474" y="1326254"/>
                  </a:lnTo>
                  <a:lnTo>
                    <a:pt x="2088578" y="1328114"/>
                  </a:lnTo>
                  <a:lnTo>
                    <a:pt x="2086392" y="1328469"/>
                  </a:lnTo>
                  <a:lnTo>
                    <a:pt x="2083313" y="1328291"/>
                  </a:lnTo>
                  <a:lnTo>
                    <a:pt x="2081301" y="1328688"/>
                  </a:lnTo>
                  <a:lnTo>
                    <a:pt x="2079824" y="1329482"/>
                  </a:lnTo>
                  <a:lnTo>
                    <a:pt x="2078957" y="1330665"/>
                  </a:lnTo>
                  <a:lnTo>
                    <a:pt x="2078293" y="1331104"/>
                  </a:lnTo>
                  <a:lnTo>
                    <a:pt x="2074170" y="1332305"/>
                  </a:lnTo>
                  <a:lnTo>
                    <a:pt x="2066687" y="1335601"/>
                  </a:lnTo>
                  <a:lnTo>
                    <a:pt x="2062727" y="1335702"/>
                  </a:lnTo>
                  <a:lnTo>
                    <a:pt x="2060273" y="1335319"/>
                  </a:lnTo>
                  <a:lnTo>
                    <a:pt x="2058408" y="1335592"/>
                  </a:lnTo>
                  <a:lnTo>
                    <a:pt x="2057132" y="1336518"/>
                  </a:lnTo>
                  <a:lnTo>
                    <a:pt x="2053561" y="1338120"/>
                  </a:lnTo>
                  <a:lnTo>
                    <a:pt x="2052487" y="1339099"/>
                  </a:lnTo>
                  <a:lnTo>
                    <a:pt x="2051857" y="1340218"/>
                  </a:lnTo>
                  <a:lnTo>
                    <a:pt x="2051372" y="1342532"/>
                  </a:lnTo>
                  <a:lnTo>
                    <a:pt x="2050947" y="1343367"/>
                  </a:lnTo>
                  <a:lnTo>
                    <a:pt x="2050246" y="1343850"/>
                  </a:lnTo>
                  <a:lnTo>
                    <a:pt x="2047244" y="1343368"/>
                  </a:lnTo>
                  <a:lnTo>
                    <a:pt x="2043895" y="1341870"/>
                  </a:lnTo>
                  <a:lnTo>
                    <a:pt x="2044551" y="1343458"/>
                  </a:lnTo>
                  <a:lnTo>
                    <a:pt x="2049858" y="1346139"/>
                  </a:lnTo>
                  <a:lnTo>
                    <a:pt x="2051378" y="1347625"/>
                  </a:lnTo>
                  <a:lnTo>
                    <a:pt x="2049937" y="1348909"/>
                  </a:lnTo>
                  <a:lnTo>
                    <a:pt x="2046561" y="1350923"/>
                  </a:lnTo>
                  <a:lnTo>
                    <a:pt x="2046167" y="1352005"/>
                  </a:lnTo>
                  <a:lnTo>
                    <a:pt x="2047552" y="1352575"/>
                  </a:lnTo>
                  <a:lnTo>
                    <a:pt x="2047006" y="1353488"/>
                  </a:lnTo>
                  <a:lnTo>
                    <a:pt x="2045155" y="1354456"/>
                  </a:lnTo>
                  <a:lnTo>
                    <a:pt x="2045362" y="1354855"/>
                  </a:lnTo>
                  <a:lnTo>
                    <a:pt x="2045567" y="1355245"/>
                  </a:lnTo>
                  <a:lnTo>
                    <a:pt x="2050159" y="1353851"/>
                  </a:lnTo>
                  <a:lnTo>
                    <a:pt x="2054247" y="1350876"/>
                  </a:lnTo>
                  <a:lnTo>
                    <a:pt x="2056919" y="1347863"/>
                  </a:lnTo>
                  <a:lnTo>
                    <a:pt x="2058255" y="1347018"/>
                  </a:lnTo>
                  <a:lnTo>
                    <a:pt x="2063529" y="1345902"/>
                  </a:lnTo>
                  <a:lnTo>
                    <a:pt x="2066646" y="1344590"/>
                  </a:lnTo>
                  <a:lnTo>
                    <a:pt x="2071106" y="1342202"/>
                  </a:lnTo>
                  <a:lnTo>
                    <a:pt x="2075996" y="1338731"/>
                  </a:lnTo>
                  <a:lnTo>
                    <a:pt x="2081317" y="1334174"/>
                  </a:lnTo>
                  <a:lnTo>
                    <a:pt x="2088099" y="1330609"/>
                  </a:lnTo>
                  <a:lnTo>
                    <a:pt x="2096349" y="1328036"/>
                  </a:lnTo>
                  <a:lnTo>
                    <a:pt x="2102400" y="1326725"/>
                  </a:lnTo>
                  <a:lnTo>
                    <a:pt x="2106257" y="1326666"/>
                  </a:lnTo>
                  <a:lnTo>
                    <a:pt x="2106452" y="1326234"/>
                  </a:lnTo>
                  <a:lnTo>
                    <a:pt x="2102990" y="1325427"/>
                  </a:lnTo>
                  <a:lnTo>
                    <a:pt x="2100134" y="1325268"/>
                  </a:lnTo>
                  <a:lnTo>
                    <a:pt x="2096583" y="1325855"/>
                  </a:lnTo>
                  <a:lnTo>
                    <a:pt x="2095486" y="1324460"/>
                  </a:lnTo>
                  <a:lnTo>
                    <a:pt x="2095602" y="1323852"/>
                  </a:lnTo>
                  <a:lnTo>
                    <a:pt x="2096774" y="1322815"/>
                  </a:lnTo>
                  <a:lnTo>
                    <a:pt x="2099763" y="1321890"/>
                  </a:lnTo>
                  <a:lnTo>
                    <a:pt x="2114397" y="1323184"/>
                  </a:lnTo>
                  <a:lnTo>
                    <a:pt x="2119439" y="1324172"/>
                  </a:lnTo>
                  <a:lnTo>
                    <a:pt x="2124947" y="1332469"/>
                  </a:lnTo>
                  <a:lnTo>
                    <a:pt x="2126213" y="1335131"/>
                  </a:lnTo>
                  <a:lnTo>
                    <a:pt x="2126567" y="1337069"/>
                  </a:lnTo>
                  <a:lnTo>
                    <a:pt x="2126011" y="1338282"/>
                  </a:lnTo>
                  <a:lnTo>
                    <a:pt x="2123803" y="1339718"/>
                  </a:lnTo>
                  <a:lnTo>
                    <a:pt x="2117579" y="1342571"/>
                  </a:lnTo>
                  <a:lnTo>
                    <a:pt x="2116701" y="1343321"/>
                  </a:lnTo>
                  <a:lnTo>
                    <a:pt x="2116618" y="1343720"/>
                  </a:lnTo>
                  <a:lnTo>
                    <a:pt x="2119335" y="1344296"/>
                  </a:lnTo>
                  <a:lnTo>
                    <a:pt x="2120198" y="1345081"/>
                  </a:lnTo>
                  <a:lnTo>
                    <a:pt x="2121578" y="1348243"/>
                  </a:lnTo>
                  <a:lnTo>
                    <a:pt x="2124376" y="1346189"/>
                  </a:lnTo>
                  <a:lnTo>
                    <a:pt x="2129682" y="1341203"/>
                  </a:lnTo>
                  <a:lnTo>
                    <a:pt x="2134024" y="1338887"/>
                  </a:lnTo>
                  <a:lnTo>
                    <a:pt x="2137684" y="1338255"/>
                  </a:lnTo>
                  <a:lnTo>
                    <a:pt x="2142051" y="1337950"/>
                  </a:lnTo>
                  <a:lnTo>
                    <a:pt x="2143556" y="1337999"/>
                  </a:lnTo>
                  <a:lnTo>
                    <a:pt x="2144080" y="1339619"/>
                  </a:lnTo>
                  <a:lnTo>
                    <a:pt x="2146370" y="1342869"/>
                  </a:lnTo>
                  <a:lnTo>
                    <a:pt x="2148495" y="1343713"/>
                  </a:lnTo>
                  <a:lnTo>
                    <a:pt x="2152553" y="1344146"/>
                  </a:lnTo>
                  <a:lnTo>
                    <a:pt x="2156205" y="1348172"/>
                  </a:lnTo>
                  <a:lnTo>
                    <a:pt x="2157597" y="1350944"/>
                  </a:lnTo>
                  <a:lnTo>
                    <a:pt x="2158912" y="1352564"/>
                  </a:lnTo>
                  <a:lnTo>
                    <a:pt x="2158811" y="1353654"/>
                  </a:lnTo>
                  <a:lnTo>
                    <a:pt x="2159029" y="1354566"/>
                  </a:lnTo>
                  <a:lnTo>
                    <a:pt x="2159990" y="1355946"/>
                  </a:lnTo>
                  <a:lnTo>
                    <a:pt x="2160469" y="1357110"/>
                  </a:lnTo>
                  <a:lnTo>
                    <a:pt x="2160210" y="1359771"/>
                  </a:lnTo>
                  <a:lnTo>
                    <a:pt x="2158076" y="1364383"/>
                  </a:lnTo>
                  <a:lnTo>
                    <a:pt x="2159659" y="1368570"/>
                  </a:lnTo>
                  <a:lnTo>
                    <a:pt x="2158949" y="1370456"/>
                  </a:lnTo>
                  <a:lnTo>
                    <a:pt x="2158579" y="1373458"/>
                  </a:lnTo>
                  <a:lnTo>
                    <a:pt x="2159945" y="1375461"/>
                  </a:lnTo>
                  <a:lnTo>
                    <a:pt x="2160346" y="1376623"/>
                  </a:lnTo>
                  <a:lnTo>
                    <a:pt x="2159189" y="1377301"/>
                  </a:lnTo>
                  <a:lnTo>
                    <a:pt x="2151112" y="1378961"/>
                  </a:lnTo>
                  <a:lnTo>
                    <a:pt x="2147933" y="1378993"/>
                  </a:lnTo>
                  <a:lnTo>
                    <a:pt x="2147107" y="1379992"/>
                  </a:lnTo>
                  <a:lnTo>
                    <a:pt x="2149554" y="1380284"/>
                  </a:lnTo>
                  <a:lnTo>
                    <a:pt x="2154013" y="1380236"/>
                  </a:lnTo>
                  <a:lnTo>
                    <a:pt x="2159398" y="1381252"/>
                  </a:lnTo>
                  <a:lnTo>
                    <a:pt x="2161775" y="1382381"/>
                  </a:lnTo>
                  <a:lnTo>
                    <a:pt x="2162802" y="1383958"/>
                  </a:lnTo>
                  <a:lnTo>
                    <a:pt x="2162542" y="1385212"/>
                  </a:lnTo>
                  <a:lnTo>
                    <a:pt x="2160996" y="1386140"/>
                  </a:lnTo>
                  <a:lnTo>
                    <a:pt x="2157966" y="1385958"/>
                  </a:lnTo>
                  <a:lnTo>
                    <a:pt x="2155049" y="1385110"/>
                  </a:lnTo>
                  <a:lnTo>
                    <a:pt x="2155228" y="1385931"/>
                  </a:lnTo>
                  <a:lnTo>
                    <a:pt x="2159564" y="1387974"/>
                  </a:lnTo>
                  <a:lnTo>
                    <a:pt x="2160836" y="1389011"/>
                  </a:lnTo>
                  <a:lnTo>
                    <a:pt x="2163180" y="1390315"/>
                  </a:lnTo>
                  <a:lnTo>
                    <a:pt x="2163643" y="1392065"/>
                  </a:lnTo>
                  <a:lnTo>
                    <a:pt x="2163074" y="1393843"/>
                  </a:lnTo>
                  <a:lnTo>
                    <a:pt x="2154903" y="1400915"/>
                  </a:lnTo>
                  <a:lnTo>
                    <a:pt x="2148181" y="1405392"/>
                  </a:lnTo>
                  <a:lnTo>
                    <a:pt x="2141437" y="1409315"/>
                  </a:lnTo>
                  <a:lnTo>
                    <a:pt x="2130599" y="1416848"/>
                  </a:lnTo>
                  <a:lnTo>
                    <a:pt x="2129527" y="1417214"/>
                  </a:lnTo>
                  <a:lnTo>
                    <a:pt x="2127566" y="1417358"/>
                  </a:lnTo>
                  <a:lnTo>
                    <a:pt x="2122402" y="1416154"/>
                  </a:lnTo>
                  <a:lnTo>
                    <a:pt x="2118283" y="1416462"/>
                  </a:lnTo>
                  <a:lnTo>
                    <a:pt x="2110475" y="1417916"/>
                  </a:lnTo>
                  <a:lnTo>
                    <a:pt x="2108341" y="1418805"/>
                  </a:lnTo>
                  <a:lnTo>
                    <a:pt x="2104059" y="1421410"/>
                  </a:lnTo>
                  <a:lnTo>
                    <a:pt x="2102366" y="1421784"/>
                  </a:lnTo>
                  <a:lnTo>
                    <a:pt x="2097775" y="1422314"/>
                  </a:lnTo>
                  <a:lnTo>
                    <a:pt x="2093419" y="1421954"/>
                  </a:lnTo>
                  <a:lnTo>
                    <a:pt x="2091693" y="1422319"/>
                  </a:lnTo>
                  <a:lnTo>
                    <a:pt x="2089590" y="1423594"/>
                  </a:lnTo>
                  <a:lnTo>
                    <a:pt x="2089046" y="1424268"/>
                  </a:lnTo>
                  <a:lnTo>
                    <a:pt x="2088466" y="1426464"/>
                  </a:lnTo>
                  <a:lnTo>
                    <a:pt x="2077885" y="1436267"/>
                  </a:lnTo>
                  <a:lnTo>
                    <a:pt x="2075083" y="1439584"/>
                  </a:lnTo>
                  <a:lnTo>
                    <a:pt x="2069691" y="1443071"/>
                  </a:lnTo>
                  <a:lnTo>
                    <a:pt x="2063762" y="1449182"/>
                  </a:lnTo>
                  <a:lnTo>
                    <a:pt x="2058604" y="1451638"/>
                  </a:lnTo>
                  <a:lnTo>
                    <a:pt x="2056803" y="1455024"/>
                  </a:lnTo>
                  <a:lnTo>
                    <a:pt x="2051887" y="1457078"/>
                  </a:lnTo>
                  <a:lnTo>
                    <a:pt x="2042812" y="1457600"/>
                  </a:lnTo>
                  <a:lnTo>
                    <a:pt x="2038499" y="1458188"/>
                  </a:lnTo>
                  <a:lnTo>
                    <a:pt x="2033453" y="1457236"/>
                  </a:lnTo>
                  <a:lnTo>
                    <a:pt x="2029673" y="1458710"/>
                  </a:lnTo>
                  <a:lnTo>
                    <a:pt x="2023982" y="1459171"/>
                  </a:lnTo>
                  <a:lnTo>
                    <a:pt x="2021217" y="1458824"/>
                  </a:lnTo>
                  <a:lnTo>
                    <a:pt x="2010185" y="1462071"/>
                  </a:lnTo>
                  <a:lnTo>
                    <a:pt x="2007383" y="1458989"/>
                  </a:lnTo>
                  <a:lnTo>
                    <a:pt x="2005249" y="1457799"/>
                  </a:lnTo>
                  <a:lnTo>
                    <a:pt x="1999019" y="1457597"/>
                  </a:lnTo>
                  <a:lnTo>
                    <a:pt x="1994038" y="1456323"/>
                  </a:lnTo>
                  <a:lnTo>
                    <a:pt x="1989492" y="1456084"/>
                  </a:lnTo>
                  <a:lnTo>
                    <a:pt x="1985067" y="1455514"/>
                  </a:lnTo>
                  <a:lnTo>
                    <a:pt x="1982156" y="1455521"/>
                  </a:lnTo>
                  <a:lnTo>
                    <a:pt x="1979126" y="1455857"/>
                  </a:lnTo>
                  <a:lnTo>
                    <a:pt x="1974413" y="1455775"/>
                  </a:lnTo>
                  <a:lnTo>
                    <a:pt x="1971802" y="1457476"/>
                  </a:lnTo>
                  <a:lnTo>
                    <a:pt x="1962975" y="1456957"/>
                  </a:lnTo>
                  <a:lnTo>
                    <a:pt x="1959251" y="1455415"/>
                  </a:lnTo>
                  <a:lnTo>
                    <a:pt x="1956198" y="1455093"/>
                  </a:lnTo>
                  <a:lnTo>
                    <a:pt x="1952094" y="1455438"/>
                  </a:lnTo>
                  <a:lnTo>
                    <a:pt x="1948175" y="1456585"/>
                  </a:lnTo>
                  <a:lnTo>
                    <a:pt x="1939590" y="1455272"/>
                  </a:lnTo>
                  <a:lnTo>
                    <a:pt x="1930489" y="1456383"/>
                  </a:lnTo>
                  <a:lnTo>
                    <a:pt x="1922552" y="1455639"/>
                  </a:lnTo>
                  <a:lnTo>
                    <a:pt x="1920329" y="1454904"/>
                  </a:lnTo>
                  <a:lnTo>
                    <a:pt x="1907805" y="1456922"/>
                  </a:lnTo>
                  <a:lnTo>
                    <a:pt x="1902915" y="1455764"/>
                  </a:lnTo>
                  <a:lnTo>
                    <a:pt x="1898600" y="1458855"/>
                  </a:lnTo>
                  <a:lnTo>
                    <a:pt x="1895641" y="1458213"/>
                  </a:lnTo>
                  <a:lnTo>
                    <a:pt x="1892430" y="1458668"/>
                  </a:lnTo>
                  <a:lnTo>
                    <a:pt x="1891359" y="1458084"/>
                  </a:lnTo>
                  <a:lnTo>
                    <a:pt x="1889218" y="1458495"/>
                  </a:lnTo>
                  <a:lnTo>
                    <a:pt x="1887835" y="1460176"/>
                  </a:lnTo>
                  <a:lnTo>
                    <a:pt x="1886018" y="1460368"/>
                  </a:lnTo>
                  <a:lnTo>
                    <a:pt x="1882997" y="1463347"/>
                  </a:lnTo>
                  <a:lnTo>
                    <a:pt x="1877919" y="1465725"/>
                  </a:lnTo>
                  <a:lnTo>
                    <a:pt x="1870483" y="1478668"/>
                  </a:lnTo>
                  <a:lnTo>
                    <a:pt x="1869785" y="1483626"/>
                  </a:lnTo>
                  <a:lnTo>
                    <a:pt x="1866993" y="1487003"/>
                  </a:lnTo>
                  <a:lnTo>
                    <a:pt x="1864528" y="1487457"/>
                  </a:lnTo>
                  <a:lnTo>
                    <a:pt x="1862499" y="1487534"/>
                  </a:lnTo>
                  <a:lnTo>
                    <a:pt x="1849644" y="1490012"/>
                  </a:lnTo>
                  <a:lnTo>
                    <a:pt x="1843921" y="1491967"/>
                  </a:lnTo>
                  <a:lnTo>
                    <a:pt x="1845476" y="1493525"/>
                  </a:lnTo>
                  <a:lnTo>
                    <a:pt x="1843602" y="1494682"/>
                  </a:lnTo>
                  <a:lnTo>
                    <a:pt x="1840562" y="1495168"/>
                  </a:lnTo>
                  <a:lnTo>
                    <a:pt x="1837280" y="1496588"/>
                  </a:lnTo>
                  <a:lnTo>
                    <a:pt x="1835149" y="1498191"/>
                  </a:lnTo>
                  <a:lnTo>
                    <a:pt x="1834106" y="1500404"/>
                  </a:lnTo>
                  <a:lnTo>
                    <a:pt x="1827512" y="1504018"/>
                  </a:lnTo>
                  <a:lnTo>
                    <a:pt x="1819862" y="1512343"/>
                  </a:lnTo>
                  <a:lnTo>
                    <a:pt x="1816206" y="1518433"/>
                  </a:lnTo>
                  <a:lnTo>
                    <a:pt x="1811765" y="1522836"/>
                  </a:lnTo>
                  <a:lnTo>
                    <a:pt x="1808627" y="1524511"/>
                  </a:lnTo>
                  <a:lnTo>
                    <a:pt x="1806394" y="1524771"/>
                  </a:lnTo>
                  <a:lnTo>
                    <a:pt x="1804117" y="1524245"/>
                  </a:lnTo>
                  <a:lnTo>
                    <a:pt x="1800332" y="1522183"/>
                  </a:lnTo>
                  <a:lnTo>
                    <a:pt x="1797552" y="1521955"/>
                  </a:lnTo>
                  <a:lnTo>
                    <a:pt x="1790628" y="1519080"/>
                  </a:lnTo>
                  <a:lnTo>
                    <a:pt x="1774537" y="1516183"/>
                  </a:lnTo>
                  <a:lnTo>
                    <a:pt x="1776964" y="1517267"/>
                  </a:lnTo>
                  <a:lnTo>
                    <a:pt x="1779089" y="1519051"/>
                  </a:lnTo>
                  <a:lnTo>
                    <a:pt x="1783341" y="1519511"/>
                  </a:lnTo>
                  <a:lnTo>
                    <a:pt x="1787663" y="1519474"/>
                  </a:lnTo>
                  <a:lnTo>
                    <a:pt x="1796672" y="1523072"/>
                  </a:lnTo>
                  <a:lnTo>
                    <a:pt x="1801087" y="1524297"/>
                  </a:lnTo>
                  <a:lnTo>
                    <a:pt x="1803767" y="1525383"/>
                  </a:lnTo>
                  <a:lnTo>
                    <a:pt x="1806062" y="1527787"/>
                  </a:lnTo>
                  <a:lnTo>
                    <a:pt x="1804418" y="1532496"/>
                  </a:lnTo>
                  <a:lnTo>
                    <a:pt x="1802751" y="1536386"/>
                  </a:lnTo>
                  <a:lnTo>
                    <a:pt x="1800498" y="1539366"/>
                  </a:lnTo>
                  <a:lnTo>
                    <a:pt x="1792747" y="1546998"/>
                  </a:lnTo>
                  <a:lnTo>
                    <a:pt x="1788996" y="1549558"/>
                  </a:lnTo>
                  <a:lnTo>
                    <a:pt x="1782459" y="1558663"/>
                  </a:lnTo>
                  <a:lnTo>
                    <a:pt x="1775693" y="1562927"/>
                  </a:lnTo>
                  <a:lnTo>
                    <a:pt x="1772070" y="1565541"/>
                  </a:lnTo>
                  <a:lnTo>
                    <a:pt x="1768211" y="1569664"/>
                  </a:lnTo>
                  <a:lnTo>
                    <a:pt x="1759159" y="1572778"/>
                  </a:lnTo>
                  <a:lnTo>
                    <a:pt x="1755799" y="1573570"/>
                  </a:lnTo>
                  <a:lnTo>
                    <a:pt x="1752697" y="1573147"/>
                  </a:lnTo>
                  <a:lnTo>
                    <a:pt x="1748923" y="1575678"/>
                  </a:lnTo>
                  <a:lnTo>
                    <a:pt x="1744455" y="1577224"/>
                  </a:lnTo>
                  <a:lnTo>
                    <a:pt x="1743137" y="1579576"/>
                  </a:lnTo>
                  <a:lnTo>
                    <a:pt x="1732399" y="1585864"/>
                  </a:lnTo>
                  <a:lnTo>
                    <a:pt x="1728277" y="1586654"/>
                  </a:lnTo>
                  <a:lnTo>
                    <a:pt x="1724770" y="1588327"/>
                  </a:lnTo>
                  <a:lnTo>
                    <a:pt x="1723732" y="1591164"/>
                  </a:lnTo>
                  <a:lnTo>
                    <a:pt x="1720601" y="1592875"/>
                  </a:lnTo>
                  <a:lnTo>
                    <a:pt x="1719732" y="1594183"/>
                  </a:lnTo>
                  <a:lnTo>
                    <a:pt x="1717098" y="1598144"/>
                  </a:lnTo>
                  <a:lnTo>
                    <a:pt x="1712203" y="1603252"/>
                  </a:lnTo>
                  <a:lnTo>
                    <a:pt x="1706238" y="1604107"/>
                  </a:lnTo>
                  <a:lnTo>
                    <a:pt x="1704058" y="1605882"/>
                  </a:lnTo>
                  <a:lnTo>
                    <a:pt x="1701533" y="1608745"/>
                  </a:lnTo>
                  <a:lnTo>
                    <a:pt x="1697972" y="1610708"/>
                  </a:lnTo>
                  <a:lnTo>
                    <a:pt x="1690943" y="1609789"/>
                  </a:lnTo>
                  <a:lnTo>
                    <a:pt x="1692652" y="1610992"/>
                  </a:lnTo>
                  <a:lnTo>
                    <a:pt x="1698941" y="1612865"/>
                  </a:lnTo>
                  <a:lnTo>
                    <a:pt x="1699595" y="1615643"/>
                  </a:lnTo>
                  <a:lnTo>
                    <a:pt x="1696445" y="1616306"/>
                  </a:lnTo>
                  <a:lnTo>
                    <a:pt x="1689846" y="1620003"/>
                  </a:lnTo>
                  <a:lnTo>
                    <a:pt x="1680957" y="1626358"/>
                  </a:lnTo>
                  <a:lnTo>
                    <a:pt x="1679598" y="1626507"/>
                  </a:lnTo>
                  <a:lnTo>
                    <a:pt x="1677209" y="1626355"/>
                  </a:lnTo>
                  <a:lnTo>
                    <a:pt x="1673673" y="1627415"/>
                  </a:lnTo>
                  <a:lnTo>
                    <a:pt x="1669027" y="1629630"/>
                  </a:lnTo>
                  <a:lnTo>
                    <a:pt x="1663401" y="1633607"/>
                  </a:lnTo>
                  <a:lnTo>
                    <a:pt x="1653494" y="1642201"/>
                  </a:lnTo>
                  <a:lnTo>
                    <a:pt x="1652799" y="1643107"/>
                  </a:lnTo>
                  <a:lnTo>
                    <a:pt x="1651365" y="1644697"/>
                  </a:lnTo>
                  <a:lnTo>
                    <a:pt x="1647707" y="1646392"/>
                  </a:lnTo>
                  <a:lnTo>
                    <a:pt x="1644386" y="1648218"/>
                  </a:lnTo>
                  <a:lnTo>
                    <a:pt x="1643507" y="1650137"/>
                  </a:lnTo>
                  <a:lnTo>
                    <a:pt x="1641917" y="1651012"/>
                  </a:lnTo>
                  <a:lnTo>
                    <a:pt x="1636438" y="1655875"/>
                  </a:lnTo>
                  <a:lnTo>
                    <a:pt x="1633357" y="1660011"/>
                  </a:lnTo>
                  <a:lnTo>
                    <a:pt x="1630559" y="1664334"/>
                  </a:lnTo>
                  <a:lnTo>
                    <a:pt x="1627427" y="1669160"/>
                  </a:lnTo>
                  <a:lnTo>
                    <a:pt x="1621003" y="1669221"/>
                  </a:lnTo>
                  <a:lnTo>
                    <a:pt x="1616100" y="1669201"/>
                  </a:lnTo>
                  <a:lnTo>
                    <a:pt x="1607737" y="1669167"/>
                  </a:lnTo>
                  <a:lnTo>
                    <a:pt x="1600567" y="1669138"/>
                  </a:lnTo>
                  <a:lnTo>
                    <a:pt x="1592060" y="1669103"/>
                  </a:lnTo>
                  <a:lnTo>
                    <a:pt x="1585886" y="1669078"/>
                  </a:lnTo>
                  <a:lnTo>
                    <a:pt x="1579238" y="1669281"/>
                  </a:lnTo>
                  <a:lnTo>
                    <a:pt x="1576065" y="1670566"/>
                  </a:lnTo>
                  <a:lnTo>
                    <a:pt x="1572086" y="1672302"/>
                  </a:lnTo>
                  <a:lnTo>
                    <a:pt x="1567792" y="1674174"/>
                  </a:lnTo>
                  <a:lnTo>
                    <a:pt x="1570044" y="1678343"/>
                  </a:lnTo>
                  <a:lnTo>
                    <a:pt x="1570648" y="1679986"/>
                  </a:lnTo>
                  <a:lnTo>
                    <a:pt x="1570474" y="1685281"/>
                  </a:lnTo>
                  <a:lnTo>
                    <a:pt x="1570933" y="1685859"/>
                  </a:lnTo>
                  <a:lnTo>
                    <a:pt x="1571413" y="1686644"/>
                  </a:lnTo>
                  <a:lnTo>
                    <a:pt x="1571487" y="1688010"/>
                  </a:lnTo>
                  <a:lnTo>
                    <a:pt x="1571854" y="1688635"/>
                  </a:lnTo>
                  <a:lnTo>
                    <a:pt x="1572638" y="1689139"/>
                  </a:lnTo>
                  <a:lnTo>
                    <a:pt x="1573519" y="1689731"/>
                  </a:lnTo>
                  <a:lnTo>
                    <a:pt x="1574156" y="1690534"/>
                  </a:lnTo>
                  <a:lnTo>
                    <a:pt x="1574303" y="1691334"/>
                  </a:lnTo>
                  <a:lnTo>
                    <a:pt x="1573689" y="1692729"/>
                  </a:lnTo>
                  <a:lnTo>
                    <a:pt x="1571218" y="1694612"/>
                  </a:lnTo>
                  <a:lnTo>
                    <a:pt x="1567745" y="1696262"/>
                  </a:lnTo>
                  <a:lnTo>
                    <a:pt x="1560835" y="1699236"/>
                  </a:lnTo>
                  <a:lnTo>
                    <a:pt x="1552828" y="1702680"/>
                  </a:lnTo>
                  <a:lnTo>
                    <a:pt x="1545887" y="1705661"/>
                  </a:lnTo>
                  <a:lnTo>
                    <a:pt x="1540516" y="1707967"/>
                  </a:lnTo>
                  <a:lnTo>
                    <a:pt x="1529485" y="1709990"/>
                  </a:lnTo>
                  <a:lnTo>
                    <a:pt x="1520721" y="1711596"/>
                  </a:lnTo>
                  <a:lnTo>
                    <a:pt x="1514397" y="1712755"/>
                  </a:lnTo>
                  <a:lnTo>
                    <a:pt x="1508573" y="1715977"/>
                  </a:lnTo>
                  <a:lnTo>
                    <a:pt x="1502142" y="1719530"/>
                  </a:lnTo>
                  <a:lnTo>
                    <a:pt x="1496735" y="1722515"/>
                  </a:lnTo>
                  <a:lnTo>
                    <a:pt x="1490672" y="1725859"/>
                  </a:lnTo>
                  <a:lnTo>
                    <a:pt x="1484947" y="1729012"/>
                  </a:lnTo>
                  <a:lnTo>
                    <a:pt x="1478584" y="1729002"/>
                  </a:lnTo>
                  <a:lnTo>
                    <a:pt x="1474116" y="1726638"/>
                  </a:lnTo>
                  <a:lnTo>
                    <a:pt x="1469964" y="1724210"/>
                  </a:lnTo>
                  <a:lnTo>
                    <a:pt x="1467125" y="1719862"/>
                  </a:lnTo>
                  <a:lnTo>
                    <a:pt x="1466930" y="1714805"/>
                  </a:lnTo>
                  <a:lnTo>
                    <a:pt x="1467947" y="1711488"/>
                  </a:lnTo>
                  <a:lnTo>
                    <a:pt x="1468869" y="1709974"/>
                  </a:lnTo>
                  <a:lnTo>
                    <a:pt x="1470630" y="1709014"/>
                  </a:lnTo>
                  <a:lnTo>
                    <a:pt x="1474077" y="1707380"/>
                  </a:lnTo>
                  <a:lnTo>
                    <a:pt x="1477210" y="1704072"/>
                  </a:lnTo>
                  <a:lnTo>
                    <a:pt x="1479723" y="1702095"/>
                  </a:lnTo>
                  <a:lnTo>
                    <a:pt x="1482254" y="1700056"/>
                  </a:lnTo>
                  <a:lnTo>
                    <a:pt x="1483698" y="1696538"/>
                  </a:lnTo>
                  <a:lnTo>
                    <a:pt x="1485501" y="1688009"/>
                  </a:lnTo>
                  <a:lnTo>
                    <a:pt x="1485730" y="1686309"/>
                  </a:lnTo>
                  <a:lnTo>
                    <a:pt x="1488352" y="1680444"/>
                  </a:lnTo>
                  <a:lnTo>
                    <a:pt x="1491253" y="1673941"/>
                  </a:lnTo>
                  <a:lnTo>
                    <a:pt x="1492585" y="1670950"/>
                  </a:lnTo>
                  <a:lnTo>
                    <a:pt x="1491096" y="1663175"/>
                  </a:lnTo>
                  <a:lnTo>
                    <a:pt x="1489976" y="1657187"/>
                  </a:lnTo>
                  <a:lnTo>
                    <a:pt x="1488949" y="1651692"/>
                  </a:lnTo>
                  <a:lnTo>
                    <a:pt x="1487794" y="1645490"/>
                  </a:lnTo>
                  <a:lnTo>
                    <a:pt x="1486743" y="1639833"/>
                  </a:lnTo>
                  <a:lnTo>
                    <a:pt x="1485751" y="1634493"/>
                  </a:lnTo>
                  <a:lnTo>
                    <a:pt x="1484757" y="1629125"/>
                  </a:lnTo>
                  <a:lnTo>
                    <a:pt x="1483781" y="1623852"/>
                  </a:lnTo>
                  <a:lnTo>
                    <a:pt x="1483016" y="1620066"/>
                  </a:lnTo>
                  <a:lnTo>
                    <a:pt x="1482107" y="1615572"/>
                  </a:lnTo>
                  <a:lnTo>
                    <a:pt x="1476800" y="1612414"/>
                  </a:lnTo>
                  <a:lnTo>
                    <a:pt x="1472769" y="1610200"/>
                  </a:lnTo>
                  <a:lnTo>
                    <a:pt x="1466178" y="1606581"/>
                  </a:lnTo>
                  <a:lnTo>
                    <a:pt x="1460649" y="1603543"/>
                  </a:lnTo>
                  <a:lnTo>
                    <a:pt x="1455697" y="1600760"/>
                  </a:lnTo>
                  <a:lnTo>
                    <a:pt x="1458820" y="1595143"/>
                  </a:lnTo>
                  <a:lnTo>
                    <a:pt x="1458550" y="1594223"/>
                  </a:lnTo>
                  <a:lnTo>
                    <a:pt x="1457418" y="1593115"/>
                  </a:lnTo>
                  <a:lnTo>
                    <a:pt x="1455105" y="1591273"/>
                  </a:lnTo>
                  <a:lnTo>
                    <a:pt x="1453753" y="1591085"/>
                  </a:lnTo>
                  <a:lnTo>
                    <a:pt x="1451372" y="1591518"/>
                  </a:lnTo>
                  <a:lnTo>
                    <a:pt x="1447572" y="1592665"/>
                  </a:lnTo>
                  <a:lnTo>
                    <a:pt x="1445931" y="1592285"/>
                  </a:lnTo>
                  <a:lnTo>
                    <a:pt x="1444627" y="1590315"/>
                  </a:lnTo>
                  <a:lnTo>
                    <a:pt x="1443126" y="1587794"/>
                  </a:lnTo>
                  <a:lnTo>
                    <a:pt x="1442636" y="1585821"/>
                  </a:lnTo>
                  <a:lnTo>
                    <a:pt x="1442447" y="1583210"/>
                  </a:lnTo>
                  <a:lnTo>
                    <a:pt x="1441552" y="1580857"/>
                  </a:lnTo>
                  <a:lnTo>
                    <a:pt x="1442118" y="1579622"/>
                  </a:lnTo>
                  <a:lnTo>
                    <a:pt x="1442245" y="1579007"/>
                  </a:lnTo>
                  <a:lnTo>
                    <a:pt x="1442193" y="1578232"/>
                  </a:lnTo>
                  <a:lnTo>
                    <a:pt x="1441578" y="1577738"/>
                  </a:lnTo>
                  <a:lnTo>
                    <a:pt x="1440495" y="1577522"/>
                  </a:lnTo>
                  <a:lnTo>
                    <a:pt x="1436830" y="1578511"/>
                  </a:lnTo>
                  <a:lnTo>
                    <a:pt x="1435182" y="1578603"/>
                  </a:lnTo>
                  <a:lnTo>
                    <a:pt x="1434199" y="1579159"/>
                  </a:lnTo>
                  <a:lnTo>
                    <a:pt x="1432650" y="1580314"/>
                  </a:lnTo>
                  <a:lnTo>
                    <a:pt x="1431124" y="1580457"/>
                  </a:lnTo>
                  <a:lnTo>
                    <a:pt x="1428486" y="1577722"/>
                  </a:lnTo>
                  <a:lnTo>
                    <a:pt x="1425606" y="1574726"/>
                  </a:lnTo>
                  <a:lnTo>
                    <a:pt x="1424397" y="1570593"/>
                  </a:lnTo>
                  <a:lnTo>
                    <a:pt x="1423156" y="1566343"/>
                  </a:lnTo>
                  <a:lnTo>
                    <a:pt x="1418235" y="1563784"/>
                  </a:lnTo>
                  <a:lnTo>
                    <a:pt x="1413315" y="1561221"/>
                  </a:lnTo>
                  <a:lnTo>
                    <a:pt x="1408393" y="1558659"/>
                  </a:lnTo>
                  <a:lnTo>
                    <a:pt x="1403473" y="1556092"/>
                  </a:lnTo>
                  <a:lnTo>
                    <a:pt x="1398551" y="1553524"/>
                  </a:lnTo>
                  <a:lnTo>
                    <a:pt x="1393632" y="1550953"/>
                  </a:lnTo>
                  <a:lnTo>
                    <a:pt x="1388710" y="1548380"/>
                  </a:lnTo>
                  <a:lnTo>
                    <a:pt x="1383788" y="1545805"/>
                  </a:lnTo>
                  <a:lnTo>
                    <a:pt x="1382090" y="1544951"/>
                  </a:lnTo>
                  <a:lnTo>
                    <a:pt x="1377611" y="1542702"/>
                  </a:lnTo>
                  <a:lnTo>
                    <a:pt x="1371281" y="1539517"/>
                  </a:lnTo>
                  <a:lnTo>
                    <a:pt x="1364025" y="1535861"/>
                  </a:lnTo>
                  <a:lnTo>
                    <a:pt x="1356767" y="1532199"/>
                  </a:lnTo>
                  <a:lnTo>
                    <a:pt x="1350436" y="1529002"/>
                  </a:lnTo>
                  <a:lnTo>
                    <a:pt x="1345958" y="1526741"/>
                  </a:lnTo>
                  <a:lnTo>
                    <a:pt x="1344261" y="1525882"/>
                  </a:lnTo>
                  <a:lnTo>
                    <a:pt x="1339869" y="1523661"/>
                  </a:lnTo>
                  <a:lnTo>
                    <a:pt x="1334353" y="1521139"/>
                  </a:lnTo>
                  <a:lnTo>
                    <a:pt x="1328430" y="1522408"/>
                  </a:lnTo>
                  <a:lnTo>
                    <a:pt x="1321154" y="1525920"/>
                  </a:lnTo>
                  <a:lnTo>
                    <a:pt x="1316999" y="1527926"/>
                  </a:lnTo>
                  <a:lnTo>
                    <a:pt x="1313879" y="1529428"/>
                  </a:lnTo>
                  <a:lnTo>
                    <a:pt x="1311658" y="1530317"/>
                  </a:lnTo>
                  <a:lnTo>
                    <a:pt x="1307033" y="1531084"/>
                  </a:lnTo>
                  <a:lnTo>
                    <a:pt x="1304626" y="1530966"/>
                  </a:lnTo>
                  <a:lnTo>
                    <a:pt x="1298925" y="1530467"/>
                  </a:lnTo>
                  <a:lnTo>
                    <a:pt x="1295740" y="1531109"/>
                  </a:lnTo>
                  <a:lnTo>
                    <a:pt x="1293391" y="1530467"/>
                  </a:lnTo>
                  <a:lnTo>
                    <a:pt x="1292217" y="1528432"/>
                  </a:lnTo>
                  <a:lnTo>
                    <a:pt x="1290902" y="1527138"/>
                  </a:lnTo>
                  <a:lnTo>
                    <a:pt x="1285113" y="1527752"/>
                  </a:lnTo>
                  <a:lnTo>
                    <a:pt x="1277836" y="1527317"/>
                  </a:lnTo>
                  <a:lnTo>
                    <a:pt x="1274355" y="1527577"/>
                  </a:lnTo>
                  <a:lnTo>
                    <a:pt x="1273013" y="1526719"/>
                  </a:lnTo>
                  <a:lnTo>
                    <a:pt x="1271921" y="1524467"/>
                  </a:lnTo>
                  <a:lnTo>
                    <a:pt x="1270002" y="1524188"/>
                  </a:lnTo>
                  <a:lnTo>
                    <a:pt x="1266771" y="1524688"/>
                  </a:lnTo>
                  <a:lnTo>
                    <a:pt x="1262278" y="1527577"/>
                  </a:lnTo>
                  <a:lnTo>
                    <a:pt x="1258055" y="1529068"/>
                  </a:lnTo>
                  <a:lnTo>
                    <a:pt x="1254731" y="1529076"/>
                  </a:lnTo>
                  <a:lnTo>
                    <a:pt x="1251460" y="1527577"/>
                  </a:lnTo>
                  <a:lnTo>
                    <a:pt x="1246107" y="1524563"/>
                  </a:lnTo>
                  <a:lnTo>
                    <a:pt x="1242385" y="1521179"/>
                  </a:lnTo>
                  <a:lnTo>
                    <a:pt x="1238160" y="1519994"/>
                  </a:lnTo>
                  <a:lnTo>
                    <a:pt x="1234943" y="1520301"/>
                  </a:lnTo>
                  <a:lnTo>
                    <a:pt x="1233681" y="1521998"/>
                  </a:lnTo>
                  <a:lnTo>
                    <a:pt x="1232004" y="1521998"/>
                  </a:lnTo>
                  <a:lnTo>
                    <a:pt x="1230830" y="1519100"/>
                  </a:lnTo>
                  <a:lnTo>
                    <a:pt x="1229824" y="1516843"/>
                  </a:lnTo>
                  <a:lnTo>
                    <a:pt x="1227727" y="1515876"/>
                  </a:lnTo>
                  <a:lnTo>
                    <a:pt x="1223939" y="1513704"/>
                  </a:lnTo>
                  <a:lnTo>
                    <a:pt x="1221300" y="1512534"/>
                  </a:lnTo>
                  <a:lnTo>
                    <a:pt x="1217256" y="1511100"/>
                  </a:lnTo>
                  <a:lnTo>
                    <a:pt x="1215849" y="1510837"/>
                  </a:lnTo>
                  <a:lnTo>
                    <a:pt x="1213224" y="1510659"/>
                  </a:lnTo>
                  <a:lnTo>
                    <a:pt x="1210620" y="1510545"/>
                  </a:lnTo>
                  <a:lnTo>
                    <a:pt x="1207578" y="1510945"/>
                  </a:lnTo>
                  <a:lnTo>
                    <a:pt x="1205404" y="1512745"/>
                  </a:lnTo>
                  <a:lnTo>
                    <a:pt x="1202853" y="1513539"/>
                  </a:lnTo>
                  <a:lnTo>
                    <a:pt x="1199215" y="1513912"/>
                  </a:lnTo>
                  <a:lnTo>
                    <a:pt x="1196784" y="1513148"/>
                  </a:lnTo>
                  <a:lnTo>
                    <a:pt x="1195567" y="1511248"/>
                  </a:lnTo>
                  <a:lnTo>
                    <a:pt x="1190405" y="1509561"/>
                  </a:lnTo>
                  <a:lnTo>
                    <a:pt x="1181303" y="1508092"/>
                  </a:lnTo>
                  <a:lnTo>
                    <a:pt x="1176060" y="1506835"/>
                  </a:lnTo>
                  <a:lnTo>
                    <a:pt x="1174679" y="1505797"/>
                  </a:lnTo>
                  <a:lnTo>
                    <a:pt x="1173926" y="1504685"/>
                  </a:lnTo>
                  <a:lnTo>
                    <a:pt x="1173736" y="1502905"/>
                  </a:lnTo>
                  <a:lnTo>
                    <a:pt x="1173730" y="1502892"/>
                  </a:lnTo>
                  <a:lnTo>
                    <a:pt x="1171430" y="1498330"/>
                  </a:lnTo>
                  <a:lnTo>
                    <a:pt x="1170440" y="1494523"/>
                  </a:lnTo>
                  <a:lnTo>
                    <a:pt x="1169987" y="1489952"/>
                  </a:lnTo>
                  <a:lnTo>
                    <a:pt x="1170140" y="1488443"/>
                  </a:lnTo>
                  <a:lnTo>
                    <a:pt x="1169622" y="1487968"/>
                  </a:lnTo>
                  <a:lnTo>
                    <a:pt x="1167986" y="1486971"/>
                  </a:lnTo>
                  <a:lnTo>
                    <a:pt x="1162510" y="1486304"/>
                  </a:lnTo>
                  <a:lnTo>
                    <a:pt x="1162434" y="1491773"/>
                  </a:lnTo>
                  <a:lnTo>
                    <a:pt x="1162338" y="1498696"/>
                  </a:lnTo>
                  <a:lnTo>
                    <a:pt x="1156358" y="1498650"/>
                  </a:lnTo>
                  <a:lnTo>
                    <a:pt x="1145546" y="1498650"/>
                  </a:lnTo>
                  <a:lnTo>
                    <a:pt x="1134734" y="1498650"/>
                  </a:lnTo>
                  <a:lnTo>
                    <a:pt x="1123924" y="1498650"/>
                  </a:lnTo>
                  <a:lnTo>
                    <a:pt x="1113111" y="1498650"/>
                  </a:lnTo>
                  <a:lnTo>
                    <a:pt x="1102300" y="1498650"/>
                  </a:lnTo>
                  <a:lnTo>
                    <a:pt x="1091489" y="1498650"/>
                  </a:lnTo>
                  <a:lnTo>
                    <a:pt x="1080677" y="1498650"/>
                  </a:lnTo>
                  <a:lnTo>
                    <a:pt x="1069866" y="1498650"/>
                  </a:lnTo>
                  <a:lnTo>
                    <a:pt x="1059054" y="1498651"/>
                  </a:lnTo>
                  <a:lnTo>
                    <a:pt x="1048243" y="1498651"/>
                  </a:lnTo>
                  <a:lnTo>
                    <a:pt x="1037431" y="1498651"/>
                  </a:lnTo>
                  <a:lnTo>
                    <a:pt x="1026619" y="1498651"/>
                  </a:lnTo>
                  <a:lnTo>
                    <a:pt x="1015808" y="1498651"/>
                  </a:lnTo>
                  <a:lnTo>
                    <a:pt x="1004996" y="1498651"/>
                  </a:lnTo>
                  <a:lnTo>
                    <a:pt x="994184" y="1498651"/>
                  </a:lnTo>
                  <a:lnTo>
                    <a:pt x="983374" y="1498651"/>
                  </a:lnTo>
                  <a:lnTo>
                    <a:pt x="972562" y="1498651"/>
                  </a:lnTo>
                  <a:lnTo>
                    <a:pt x="961751" y="1498651"/>
                  </a:lnTo>
                  <a:lnTo>
                    <a:pt x="950939" y="1498651"/>
                  </a:lnTo>
                  <a:lnTo>
                    <a:pt x="940127" y="1498651"/>
                  </a:lnTo>
                  <a:lnTo>
                    <a:pt x="929316" y="1498651"/>
                  </a:lnTo>
                  <a:lnTo>
                    <a:pt x="918504" y="1498651"/>
                  </a:lnTo>
                  <a:lnTo>
                    <a:pt x="907693" y="1498651"/>
                  </a:lnTo>
                  <a:lnTo>
                    <a:pt x="896881" y="1498651"/>
                  </a:lnTo>
                  <a:lnTo>
                    <a:pt x="886069" y="1498651"/>
                  </a:lnTo>
                  <a:lnTo>
                    <a:pt x="875259" y="1498651"/>
                  </a:lnTo>
                  <a:lnTo>
                    <a:pt x="864447" y="1498651"/>
                  </a:lnTo>
                  <a:lnTo>
                    <a:pt x="853636" y="1498651"/>
                  </a:lnTo>
                  <a:lnTo>
                    <a:pt x="842824" y="1498651"/>
                  </a:lnTo>
                  <a:lnTo>
                    <a:pt x="832012" y="1498651"/>
                  </a:lnTo>
                  <a:lnTo>
                    <a:pt x="821201" y="1498651"/>
                  </a:lnTo>
                  <a:lnTo>
                    <a:pt x="810389" y="1498651"/>
                  </a:lnTo>
                  <a:lnTo>
                    <a:pt x="799577" y="1498653"/>
                  </a:lnTo>
                  <a:lnTo>
                    <a:pt x="788766" y="1498653"/>
                  </a:lnTo>
                  <a:lnTo>
                    <a:pt x="777954" y="1498653"/>
                  </a:lnTo>
                  <a:lnTo>
                    <a:pt x="767144" y="1498653"/>
                  </a:lnTo>
                  <a:lnTo>
                    <a:pt x="756332" y="1498653"/>
                  </a:lnTo>
                  <a:lnTo>
                    <a:pt x="745521" y="1498653"/>
                  </a:lnTo>
                  <a:lnTo>
                    <a:pt x="734709" y="1498653"/>
                  </a:lnTo>
                  <a:lnTo>
                    <a:pt x="723897" y="1498653"/>
                  </a:lnTo>
                  <a:lnTo>
                    <a:pt x="713086" y="1498653"/>
                  </a:lnTo>
                  <a:lnTo>
                    <a:pt x="702274" y="1498653"/>
                  </a:lnTo>
                  <a:lnTo>
                    <a:pt x="691462" y="1498653"/>
                  </a:lnTo>
                  <a:lnTo>
                    <a:pt x="680651" y="1498653"/>
                  </a:lnTo>
                  <a:lnTo>
                    <a:pt x="669841" y="1498653"/>
                  </a:lnTo>
                  <a:lnTo>
                    <a:pt x="659028" y="1498653"/>
                  </a:lnTo>
                  <a:lnTo>
                    <a:pt x="648217" y="1498653"/>
                  </a:lnTo>
                  <a:lnTo>
                    <a:pt x="637406" y="1498653"/>
                  </a:lnTo>
                  <a:lnTo>
                    <a:pt x="626594" y="1498653"/>
                  </a:lnTo>
                  <a:lnTo>
                    <a:pt x="615782" y="1498653"/>
                  </a:lnTo>
                  <a:lnTo>
                    <a:pt x="604971" y="1498653"/>
                  </a:lnTo>
                  <a:lnTo>
                    <a:pt x="594160" y="1498653"/>
                  </a:lnTo>
                  <a:lnTo>
                    <a:pt x="583347" y="1498653"/>
                  </a:lnTo>
                  <a:lnTo>
                    <a:pt x="572536" y="1498653"/>
                  </a:lnTo>
                  <a:lnTo>
                    <a:pt x="561725" y="1498653"/>
                  </a:lnTo>
                  <a:lnTo>
                    <a:pt x="550912" y="1498653"/>
                  </a:lnTo>
                  <a:lnTo>
                    <a:pt x="540102" y="1498654"/>
                  </a:lnTo>
                  <a:lnTo>
                    <a:pt x="529291" y="1498654"/>
                  </a:lnTo>
                  <a:lnTo>
                    <a:pt x="518478" y="1498654"/>
                  </a:lnTo>
                  <a:lnTo>
                    <a:pt x="507667" y="1498654"/>
                  </a:lnTo>
                  <a:lnTo>
                    <a:pt x="496856" y="1498654"/>
                  </a:lnTo>
                  <a:lnTo>
                    <a:pt x="486045" y="1498654"/>
                  </a:lnTo>
                  <a:lnTo>
                    <a:pt x="475232" y="1498654"/>
                  </a:lnTo>
                  <a:lnTo>
                    <a:pt x="464421" y="1498654"/>
                  </a:lnTo>
                  <a:lnTo>
                    <a:pt x="461825" y="1498654"/>
                  </a:lnTo>
                  <a:lnTo>
                    <a:pt x="460863" y="1497496"/>
                  </a:lnTo>
                  <a:lnTo>
                    <a:pt x="458391" y="1495983"/>
                  </a:lnTo>
                  <a:lnTo>
                    <a:pt x="457414" y="1495984"/>
                  </a:lnTo>
                  <a:lnTo>
                    <a:pt x="456411" y="1496433"/>
                  </a:lnTo>
                  <a:lnTo>
                    <a:pt x="455778" y="1497165"/>
                  </a:lnTo>
                  <a:lnTo>
                    <a:pt x="455221" y="1498654"/>
                  </a:lnTo>
                  <a:lnTo>
                    <a:pt x="454864" y="1499154"/>
                  </a:lnTo>
                  <a:lnTo>
                    <a:pt x="454509" y="1499073"/>
                  </a:lnTo>
                  <a:lnTo>
                    <a:pt x="454277" y="1498654"/>
                  </a:lnTo>
                  <a:lnTo>
                    <a:pt x="453486" y="1496582"/>
                  </a:lnTo>
                  <a:lnTo>
                    <a:pt x="453697" y="1495656"/>
                  </a:lnTo>
                  <a:lnTo>
                    <a:pt x="454509" y="1494550"/>
                  </a:lnTo>
                  <a:lnTo>
                    <a:pt x="454452" y="1494149"/>
                  </a:lnTo>
                  <a:lnTo>
                    <a:pt x="452661" y="1494463"/>
                  </a:lnTo>
                  <a:lnTo>
                    <a:pt x="451857" y="1494186"/>
                  </a:lnTo>
                  <a:lnTo>
                    <a:pt x="451490" y="1493589"/>
                  </a:lnTo>
                  <a:lnTo>
                    <a:pt x="451624" y="1491234"/>
                  </a:lnTo>
                  <a:lnTo>
                    <a:pt x="450651" y="1489889"/>
                  </a:lnTo>
                  <a:lnTo>
                    <a:pt x="451805" y="1489324"/>
                  </a:lnTo>
                  <a:lnTo>
                    <a:pt x="454763" y="1488871"/>
                  </a:lnTo>
                  <a:lnTo>
                    <a:pt x="457796" y="1488814"/>
                  </a:lnTo>
                  <a:lnTo>
                    <a:pt x="458675" y="1487832"/>
                  </a:lnTo>
                  <a:lnTo>
                    <a:pt x="459535" y="1485343"/>
                  </a:lnTo>
                  <a:lnTo>
                    <a:pt x="457370" y="1487630"/>
                  </a:lnTo>
                  <a:lnTo>
                    <a:pt x="456075" y="1487865"/>
                  </a:lnTo>
                  <a:lnTo>
                    <a:pt x="452050" y="1487011"/>
                  </a:lnTo>
                  <a:lnTo>
                    <a:pt x="449452" y="1487149"/>
                  </a:lnTo>
                  <a:lnTo>
                    <a:pt x="449102" y="1486640"/>
                  </a:lnTo>
                  <a:lnTo>
                    <a:pt x="449210" y="1486131"/>
                  </a:lnTo>
                  <a:lnTo>
                    <a:pt x="449774" y="1485621"/>
                  </a:lnTo>
                  <a:lnTo>
                    <a:pt x="450188" y="1483894"/>
                  </a:lnTo>
                  <a:lnTo>
                    <a:pt x="450814" y="1479040"/>
                  </a:lnTo>
                  <a:lnTo>
                    <a:pt x="451634" y="1477267"/>
                  </a:lnTo>
                  <a:lnTo>
                    <a:pt x="451915" y="1476303"/>
                  </a:lnTo>
                  <a:lnTo>
                    <a:pt x="451714" y="1476079"/>
                  </a:lnTo>
                  <a:lnTo>
                    <a:pt x="448228" y="1479461"/>
                  </a:lnTo>
                  <a:lnTo>
                    <a:pt x="447932" y="1480534"/>
                  </a:lnTo>
                  <a:lnTo>
                    <a:pt x="448293" y="1481459"/>
                  </a:lnTo>
                  <a:lnTo>
                    <a:pt x="447959" y="1483362"/>
                  </a:lnTo>
                  <a:lnTo>
                    <a:pt x="446352" y="1483931"/>
                  </a:lnTo>
                  <a:lnTo>
                    <a:pt x="445389" y="1483621"/>
                  </a:lnTo>
                  <a:lnTo>
                    <a:pt x="443583" y="1485228"/>
                  </a:lnTo>
                  <a:lnTo>
                    <a:pt x="443015" y="1485396"/>
                  </a:lnTo>
                  <a:lnTo>
                    <a:pt x="434690" y="1482583"/>
                  </a:lnTo>
                  <a:lnTo>
                    <a:pt x="433855" y="1482192"/>
                  </a:lnTo>
                  <a:lnTo>
                    <a:pt x="432422" y="1480876"/>
                  </a:lnTo>
                  <a:lnTo>
                    <a:pt x="430387" y="1478630"/>
                  </a:lnTo>
                  <a:lnTo>
                    <a:pt x="429748" y="1476691"/>
                  </a:lnTo>
                  <a:lnTo>
                    <a:pt x="430503" y="1475056"/>
                  </a:lnTo>
                  <a:lnTo>
                    <a:pt x="431299" y="1474236"/>
                  </a:lnTo>
                  <a:lnTo>
                    <a:pt x="432138" y="1474236"/>
                  </a:lnTo>
                  <a:lnTo>
                    <a:pt x="433071" y="1474852"/>
                  </a:lnTo>
                  <a:lnTo>
                    <a:pt x="434989" y="1477518"/>
                  </a:lnTo>
                  <a:lnTo>
                    <a:pt x="435748" y="1479168"/>
                  </a:lnTo>
                  <a:lnTo>
                    <a:pt x="437729" y="1478939"/>
                  </a:lnTo>
                  <a:lnTo>
                    <a:pt x="440932" y="1476829"/>
                  </a:lnTo>
                  <a:lnTo>
                    <a:pt x="441700" y="1476048"/>
                  </a:lnTo>
                  <a:lnTo>
                    <a:pt x="438508" y="1476850"/>
                  </a:lnTo>
                  <a:lnTo>
                    <a:pt x="437130" y="1476798"/>
                  </a:lnTo>
                  <a:lnTo>
                    <a:pt x="435728" y="1475920"/>
                  </a:lnTo>
                  <a:lnTo>
                    <a:pt x="434297" y="1474216"/>
                  </a:lnTo>
                  <a:lnTo>
                    <a:pt x="433551" y="1472279"/>
                  </a:lnTo>
                  <a:lnTo>
                    <a:pt x="433540" y="1466140"/>
                  </a:lnTo>
                  <a:lnTo>
                    <a:pt x="434029" y="1464952"/>
                  </a:lnTo>
                  <a:lnTo>
                    <a:pt x="435580" y="1464069"/>
                  </a:lnTo>
                  <a:lnTo>
                    <a:pt x="436573" y="1462603"/>
                  </a:lnTo>
                  <a:lnTo>
                    <a:pt x="436496" y="1461981"/>
                  </a:lnTo>
                  <a:lnTo>
                    <a:pt x="435538" y="1460738"/>
                  </a:lnTo>
                  <a:lnTo>
                    <a:pt x="434152" y="1459764"/>
                  </a:lnTo>
                  <a:lnTo>
                    <a:pt x="432797" y="1459277"/>
                  </a:lnTo>
                  <a:lnTo>
                    <a:pt x="432485" y="1459422"/>
                  </a:lnTo>
                  <a:lnTo>
                    <a:pt x="434586" y="1462119"/>
                  </a:lnTo>
                  <a:lnTo>
                    <a:pt x="434517" y="1463130"/>
                  </a:lnTo>
                  <a:lnTo>
                    <a:pt x="432192" y="1465756"/>
                  </a:lnTo>
                  <a:lnTo>
                    <a:pt x="431838" y="1466526"/>
                  </a:lnTo>
                  <a:lnTo>
                    <a:pt x="431820" y="1469089"/>
                  </a:lnTo>
                  <a:lnTo>
                    <a:pt x="431495" y="1469632"/>
                  </a:lnTo>
                  <a:lnTo>
                    <a:pt x="429621" y="1470357"/>
                  </a:lnTo>
                  <a:lnTo>
                    <a:pt x="427522" y="1472372"/>
                  </a:lnTo>
                  <a:lnTo>
                    <a:pt x="423981" y="1473049"/>
                  </a:lnTo>
                  <a:lnTo>
                    <a:pt x="420651" y="1472851"/>
                  </a:lnTo>
                  <a:lnTo>
                    <a:pt x="418858" y="1471858"/>
                  </a:lnTo>
                  <a:lnTo>
                    <a:pt x="413305" y="1466918"/>
                  </a:lnTo>
                  <a:lnTo>
                    <a:pt x="411274" y="1464851"/>
                  </a:lnTo>
                  <a:lnTo>
                    <a:pt x="411226" y="1463106"/>
                  </a:lnTo>
                  <a:lnTo>
                    <a:pt x="407424" y="1456962"/>
                  </a:lnTo>
                  <a:lnTo>
                    <a:pt x="407446" y="1455639"/>
                  </a:lnTo>
                  <a:lnTo>
                    <a:pt x="406122" y="1453721"/>
                  </a:lnTo>
                  <a:lnTo>
                    <a:pt x="404650" y="1453451"/>
                  </a:lnTo>
                  <a:lnTo>
                    <a:pt x="404319" y="1451625"/>
                  </a:lnTo>
                  <a:lnTo>
                    <a:pt x="407359" y="1447672"/>
                  </a:lnTo>
                  <a:lnTo>
                    <a:pt x="409238" y="1444342"/>
                  </a:lnTo>
                  <a:lnTo>
                    <a:pt x="409452" y="1443297"/>
                  </a:lnTo>
                  <a:lnTo>
                    <a:pt x="409369" y="1441672"/>
                  </a:lnTo>
                  <a:lnTo>
                    <a:pt x="408914" y="1438055"/>
                  </a:lnTo>
                  <a:lnTo>
                    <a:pt x="409310" y="1436491"/>
                  </a:lnTo>
                  <a:lnTo>
                    <a:pt x="407439" y="1438557"/>
                  </a:lnTo>
                  <a:lnTo>
                    <a:pt x="407043" y="1440090"/>
                  </a:lnTo>
                  <a:lnTo>
                    <a:pt x="407505" y="1441636"/>
                  </a:lnTo>
                  <a:lnTo>
                    <a:pt x="407213" y="1443396"/>
                  </a:lnTo>
                  <a:lnTo>
                    <a:pt x="406126" y="1445855"/>
                  </a:lnTo>
                  <a:lnTo>
                    <a:pt x="404265" y="1448456"/>
                  </a:lnTo>
                  <a:lnTo>
                    <a:pt x="400435" y="1449707"/>
                  </a:lnTo>
                  <a:lnTo>
                    <a:pt x="393679" y="1449012"/>
                  </a:lnTo>
                  <a:lnTo>
                    <a:pt x="392895" y="1448676"/>
                  </a:lnTo>
                  <a:lnTo>
                    <a:pt x="392420" y="1447781"/>
                  </a:lnTo>
                  <a:lnTo>
                    <a:pt x="392080" y="1443951"/>
                  </a:lnTo>
                  <a:lnTo>
                    <a:pt x="391668" y="1444424"/>
                  </a:lnTo>
                  <a:lnTo>
                    <a:pt x="390901" y="1446465"/>
                  </a:lnTo>
                  <a:lnTo>
                    <a:pt x="390284" y="1449382"/>
                  </a:lnTo>
                  <a:lnTo>
                    <a:pt x="389494" y="1450043"/>
                  </a:lnTo>
                  <a:lnTo>
                    <a:pt x="388069" y="1450098"/>
                  </a:lnTo>
                  <a:lnTo>
                    <a:pt x="386961" y="1449631"/>
                  </a:lnTo>
                  <a:lnTo>
                    <a:pt x="386170" y="1448645"/>
                  </a:lnTo>
                  <a:lnTo>
                    <a:pt x="384467" y="1448563"/>
                  </a:lnTo>
                  <a:lnTo>
                    <a:pt x="381286" y="1449339"/>
                  </a:lnTo>
                  <a:lnTo>
                    <a:pt x="379788" y="1449027"/>
                  </a:lnTo>
                  <a:lnTo>
                    <a:pt x="378008" y="1448997"/>
                  </a:lnTo>
                  <a:lnTo>
                    <a:pt x="374401" y="1448143"/>
                  </a:lnTo>
                  <a:lnTo>
                    <a:pt x="370143" y="1447922"/>
                  </a:lnTo>
                  <a:lnTo>
                    <a:pt x="368991" y="1447262"/>
                  </a:lnTo>
                  <a:lnTo>
                    <a:pt x="369054" y="1445995"/>
                  </a:lnTo>
                  <a:lnTo>
                    <a:pt x="369849" y="1445354"/>
                  </a:lnTo>
                  <a:lnTo>
                    <a:pt x="374342" y="1444792"/>
                  </a:lnTo>
                  <a:lnTo>
                    <a:pt x="378695" y="1443442"/>
                  </a:lnTo>
                  <a:lnTo>
                    <a:pt x="382996" y="1442773"/>
                  </a:lnTo>
                  <a:lnTo>
                    <a:pt x="382832" y="1442086"/>
                  </a:lnTo>
                  <a:lnTo>
                    <a:pt x="380889" y="1441871"/>
                  </a:lnTo>
                  <a:lnTo>
                    <a:pt x="371010" y="1443360"/>
                  </a:lnTo>
                  <a:lnTo>
                    <a:pt x="367899" y="1443181"/>
                  </a:lnTo>
                  <a:lnTo>
                    <a:pt x="367357" y="1442939"/>
                  </a:lnTo>
                  <a:lnTo>
                    <a:pt x="367282" y="1441434"/>
                  </a:lnTo>
                  <a:lnTo>
                    <a:pt x="368427" y="1440004"/>
                  </a:lnTo>
                  <a:lnTo>
                    <a:pt x="370330" y="1438674"/>
                  </a:lnTo>
                  <a:lnTo>
                    <a:pt x="370901" y="1437663"/>
                  </a:lnTo>
                  <a:lnTo>
                    <a:pt x="369796" y="1437233"/>
                  </a:lnTo>
                  <a:lnTo>
                    <a:pt x="368021" y="1437513"/>
                  </a:lnTo>
                  <a:lnTo>
                    <a:pt x="367170" y="1436703"/>
                  </a:lnTo>
                  <a:lnTo>
                    <a:pt x="368112" y="1433543"/>
                  </a:lnTo>
                  <a:lnTo>
                    <a:pt x="367282" y="1430316"/>
                  </a:lnTo>
                  <a:lnTo>
                    <a:pt x="366127" y="1433376"/>
                  </a:lnTo>
                  <a:lnTo>
                    <a:pt x="364380" y="1435061"/>
                  </a:lnTo>
                  <a:lnTo>
                    <a:pt x="356047" y="1435779"/>
                  </a:lnTo>
                  <a:lnTo>
                    <a:pt x="354687" y="1436678"/>
                  </a:lnTo>
                  <a:lnTo>
                    <a:pt x="353584" y="1436654"/>
                  </a:lnTo>
                  <a:lnTo>
                    <a:pt x="348262" y="1435030"/>
                  </a:lnTo>
                  <a:lnTo>
                    <a:pt x="345992" y="1434043"/>
                  </a:lnTo>
                  <a:lnTo>
                    <a:pt x="343856" y="1432575"/>
                  </a:lnTo>
                  <a:lnTo>
                    <a:pt x="340062" y="1429286"/>
                  </a:lnTo>
                  <a:lnTo>
                    <a:pt x="337088" y="1427152"/>
                  </a:lnTo>
                  <a:lnTo>
                    <a:pt x="336931" y="1423206"/>
                  </a:lnTo>
                  <a:lnTo>
                    <a:pt x="337569" y="1420691"/>
                  </a:lnTo>
                  <a:lnTo>
                    <a:pt x="339000" y="1417870"/>
                  </a:lnTo>
                  <a:lnTo>
                    <a:pt x="344402" y="1411777"/>
                  </a:lnTo>
                  <a:lnTo>
                    <a:pt x="346255" y="1410619"/>
                  </a:lnTo>
                  <a:lnTo>
                    <a:pt x="347927" y="1410223"/>
                  </a:lnTo>
                  <a:lnTo>
                    <a:pt x="355852" y="1409689"/>
                  </a:lnTo>
                  <a:lnTo>
                    <a:pt x="361753" y="1408921"/>
                  </a:lnTo>
                  <a:lnTo>
                    <a:pt x="362868" y="1408558"/>
                  </a:lnTo>
                  <a:lnTo>
                    <a:pt x="354179" y="1408108"/>
                  </a:lnTo>
                  <a:lnTo>
                    <a:pt x="346455" y="1408424"/>
                  </a:lnTo>
                  <a:lnTo>
                    <a:pt x="343817" y="1409384"/>
                  </a:lnTo>
                  <a:lnTo>
                    <a:pt x="340445" y="1413300"/>
                  </a:lnTo>
                  <a:lnTo>
                    <a:pt x="339587" y="1414947"/>
                  </a:lnTo>
                  <a:lnTo>
                    <a:pt x="338692" y="1416147"/>
                  </a:lnTo>
                  <a:lnTo>
                    <a:pt x="338087" y="1416177"/>
                  </a:lnTo>
                  <a:lnTo>
                    <a:pt x="336938" y="1415751"/>
                  </a:lnTo>
                  <a:lnTo>
                    <a:pt x="336566" y="1415235"/>
                  </a:lnTo>
                  <a:lnTo>
                    <a:pt x="336089" y="1413953"/>
                  </a:lnTo>
                  <a:lnTo>
                    <a:pt x="334278" y="1411918"/>
                  </a:lnTo>
                  <a:lnTo>
                    <a:pt x="333477" y="1409578"/>
                  </a:lnTo>
                  <a:lnTo>
                    <a:pt x="333005" y="1406129"/>
                  </a:lnTo>
                  <a:lnTo>
                    <a:pt x="333155" y="1404589"/>
                  </a:lnTo>
                  <a:lnTo>
                    <a:pt x="333998" y="1402619"/>
                  </a:lnTo>
                  <a:lnTo>
                    <a:pt x="336593" y="1398749"/>
                  </a:lnTo>
                  <a:lnTo>
                    <a:pt x="333267" y="1398849"/>
                  </a:lnTo>
                  <a:lnTo>
                    <a:pt x="333661" y="1395585"/>
                  </a:lnTo>
                  <a:lnTo>
                    <a:pt x="334876" y="1392035"/>
                  </a:lnTo>
                  <a:lnTo>
                    <a:pt x="337970" y="1389929"/>
                  </a:lnTo>
                  <a:lnTo>
                    <a:pt x="341105" y="1388409"/>
                  </a:lnTo>
                  <a:lnTo>
                    <a:pt x="343939" y="1386416"/>
                  </a:lnTo>
                  <a:lnTo>
                    <a:pt x="348902" y="1385089"/>
                  </a:lnTo>
                  <a:lnTo>
                    <a:pt x="350587" y="1387823"/>
                  </a:lnTo>
                  <a:lnTo>
                    <a:pt x="354842" y="1388645"/>
                  </a:lnTo>
                  <a:lnTo>
                    <a:pt x="356071" y="1389874"/>
                  </a:lnTo>
                  <a:lnTo>
                    <a:pt x="357579" y="1392125"/>
                  </a:lnTo>
                  <a:lnTo>
                    <a:pt x="359448" y="1394272"/>
                  </a:lnTo>
                  <a:lnTo>
                    <a:pt x="361673" y="1396317"/>
                  </a:lnTo>
                  <a:lnTo>
                    <a:pt x="362297" y="1396460"/>
                  </a:lnTo>
                  <a:lnTo>
                    <a:pt x="361316" y="1394707"/>
                  </a:lnTo>
                  <a:lnTo>
                    <a:pt x="357700" y="1390863"/>
                  </a:lnTo>
                  <a:lnTo>
                    <a:pt x="357543" y="1389507"/>
                  </a:lnTo>
                  <a:lnTo>
                    <a:pt x="356611" y="1388035"/>
                  </a:lnTo>
                  <a:lnTo>
                    <a:pt x="351822" y="1385913"/>
                  </a:lnTo>
                  <a:lnTo>
                    <a:pt x="350972" y="1385097"/>
                  </a:lnTo>
                  <a:lnTo>
                    <a:pt x="350124" y="1382956"/>
                  </a:lnTo>
                  <a:lnTo>
                    <a:pt x="349763" y="1381572"/>
                  </a:lnTo>
                  <a:lnTo>
                    <a:pt x="350300" y="1380226"/>
                  </a:lnTo>
                  <a:lnTo>
                    <a:pt x="355165" y="1376120"/>
                  </a:lnTo>
                  <a:lnTo>
                    <a:pt x="356277" y="1373953"/>
                  </a:lnTo>
                  <a:lnTo>
                    <a:pt x="356276" y="1372934"/>
                  </a:lnTo>
                  <a:lnTo>
                    <a:pt x="355896" y="1371781"/>
                  </a:lnTo>
                  <a:lnTo>
                    <a:pt x="354834" y="1369798"/>
                  </a:lnTo>
                  <a:lnTo>
                    <a:pt x="354553" y="1369801"/>
                  </a:lnTo>
                  <a:lnTo>
                    <a:pt x="354881" y="1372811"/>
                  </a:lnTo>
                  <a:lnTo>
                    <a:pt x="354708" y="1373997"/>
                  </a:lnTo>
                  <a:lnTo>
                    <a:pt x="354159" y="1375304"/>
                  </a:lnTo>
                  <a:lnTo>
                    <a:pt x="353365" y="1376297"/>
                  </a:lnTo>
                  <a:lnTo>
                    <a:pt x="352328" y="1376977"/>
                  </a:lnTo>
                  <a:lnTo>
                    <a:pt x="341878" y="1386309"/>
                  </a:lnTo>
                  <a:lnTo>
                    <a:pt x="340837" y="1386856"/>
                  </a:lnTo>
                  <a:lnTo>
                    <a:pt x="336955" y="1387698"/>
                  </a:lnTo>
                  <a:lnTo>
                    <a:pt x="334963" y="1388690"/>
                  </a:lnTo>
                  <a:lnTo>
                    <a:pt x="333888" y="1389996"/>
                  </a:lnTo>
                  <a:lnTo>
                    <a:pt x="332166" y="1393398"/>
                  </a:lnTo>
                  <a:lnTo>
                    <a:pt x="329803" y="1400196"/>
                  </a:lnTo>
                  <a:lnTo>
                    <a:pt x="327095" y="1405684"/>
                  </a:lnTo>
                  <a:lnTo>
                    <a:pt x="324779" y="1398577"/>
                  </a:lnTo>
                  <a:lnTo>
                    <a:pt x="320619" y="1393127"/>
                  </a:lnTo>
                  <a:lnTo>
                    <a:pt x="328735" y="1387709"/>
                  </a:lnTo>
                  <a:lnTo>
                    <a:pt x="328948" y="1386881"/>
                  </a:lnTo>
                  <a:lnTo>
                    <a:pt x="328159" y="1383984"/>
                  </a:lnTo>
                  <a:lnTo>
                    <a:pt x="328380" y="1383104"/>
                  </a:lnTo>
                  <a:lnTo>
                    <a:pt x="329147" y="1381830"/>
                  </a:lnTo>
                  <a:lnTo>
                    <a:pt x="331202" y="1379970"/>
                  </a:lnTo>
                  <a:lnTo>
                    <a:pt x="331123" y="1379781"/>
                  </a:lnTo>
                  <a:lnTo>
                    <a:pt x="328717" y="1380450"/>
                  </a:lnTo>
                  <a:lnTo>
                    <a:pt x="325021" y="1384652"/>
                  </a:lnTo>
                  <a:lnTo>
                    <a:pt x="323578" y="1386003"/>
                  </a:lnTo>
                  <a:lnTo>
                    <a:pt x="322802" y="1386183"/>
                  </a:lnTo>
                  <a:lnTo>
                    <a:pt x="322711" y="1383712"/>
                  </a:lnTo>
                  <a:lnTo>
                    <a:pt x="324698" y="1377302"/>
                  </a:lnTo>
                  <a:lnTo>
                    <a:pt x="326331" y="1371058"/>
                  </a:lnTo>
                  <a:lnTo>
                    <a:pt x="326928" y="1369268"/>
                  </a:lnTo>
                  <a:lnTo>
                    <a:pt x="328336" y="1367463"/>
                  </a:lnTo>
                  <a:lnTo>
                    <a:pt x="327000" y="1367594"/>
                  </a:lnTo>
                  <a:lnTo>
                    <a:pt x="320431" y="1370373"/>
                  </a:lnTo>
                  <a:lnTo>
                    <a:pt x="318227" y="1368631"/>
                  </a:lnTo>
                  <a:lnTo>
                    <a:pt x="316382" y="1359563"/>
                  </a:lnTo>
                  <a:lnTo>
                    <a:pt x="313146" y="1356012"/>
                  </a:lnTo>
                  <a:lnTo>
                    <a:pt x="307663" y="1353107"/>
                  </a:lnTo>
                  <a:lnTo>
                    <a:pt x="302280" y="1351757"/>
                  </a:lnTo>
                  <a:lnTo>
                    <a:pt x="301046" y="1349168"/>
                  </a:lnTo>
                  <a:lnTo>
                    <a:pt x="299980" y="1346014"/>
                  </a:lnTo>
                  <a:lnTo>
                    <a:pt x="301429" y="1342294"/>
                  </a:lnTo>
                  <a:lnTo>
                    <a:pt x="303787" y="1340527"/>
                  </a:lnTo>
                  <a:lnTo>
                    <a:pt x="305964" y="1339727"/>
                  </a:lnTo>
                  <a:lnTo>
                    <a:pt x="308018" y="1340096"/>
                  </a:lnTo>
                  <a:lnTo>
                    <a:pt x="308123" y="1341460"/>
                  </a:lnTo>
                  <a:lnTo>
                    <a:pt x="306724" y="1345124"/>
                  </a:lnTo>
                  <a:lnTo>
                    <a:pt x="308564" y="1345467"/>
                  </a:lnTo>
                  <a:lnTo>
                    <a:pt x="315940" y="1349915"/>
                  </a:lnTo>
                  <a:lnTo>
                    <a:pt x="317552" y="1350272"/>
                  </a:lnTo>
                  <a:lnTo>
                    <a:pt x="320608" y="1348563"/>
                  </a:lnTo>
                  <a:lnTo>
                    <a:pt x="322307" y="1348630"/>
                  </a:lnTo>
                  <a:lnTo>
                    <a:pt x="326322" y="1350014"/>
                  </a:lnTo>
                  <a:lnTo>
                    <a:pt x="327679" y="1351683"/>
                  </a:lnTo>
                  <a:lnTo>
                    <a:pt x="331517" y="1354949"/>
                  </a:lnTo>
                  <a:lnTo>
                    <a:pt x="330953" y="1353049"/>
                  </a:lnTo>
                  <a:lnTo>
                    <a:pt x="326768" y="1349042"/>
                  </a:lnTo>
                  <a:lnTo>
                    <a:pt x="324433" y="1347755"/>
                  </a:lnTo>
                  <a:lnTo>
                    <a:pt x="320327" y="1347507"/>
                  </a:lnTo>
                  <a:lnTo>
                    <a:pt x="317779" y="1348180"/>
                  </a:lnTo>
                  <a:lnTo>
                    <a:pt x="316711" y="1347985"/>
                  </a:lnTo>
                  <a:lnTo>
                    <a:pt x="314465" y="1346964"/>
                  </a:lnTo>
                  <a:lnTo>
                    <a:pt x="312558" y="1345288"/>
                  </a:lnTo>
                  <a:lnTo>
                    <a:pt x="310651" y="1341610"/>
                  </a:lnTo>
                  <a:lnTo>
                    <a:pt x="310217" y="1339900"/>
                  </a:lnTo>
                  <a:lnTo>
                    <a:pt x="310324" y="1338630"/>
                  </a:lnTo>
                  <a:lnTo>
                    <a:pt x="310773" y="1337475"/>
                  </a:lnTo>
                  <a:lnTo>
                    <a:pt x="311563" y="1336440"/>
                  </a:lnTo>
                  <a:lnTo>
                    <a:pt x="313132" y="1335688"/>
                  </a:lnTo>
                  <a:lnTo>
                    <a:pt x="315476" y="1335223"/>
                  </a:lnTo>
                  <a:lnTo>
                    <a:pt x="316194" y="1334770"/>
                  </a:lnTo>
                  <a:lnTo>
                    <a:pt x="313184" y="1332661"/>
                  </a:lnTo>
                  <a:lnTo>
                    <a:pt x="311816" y="1332669"/>
                  </a:lnTo>
                  <a:lnTo>
                    <a:pt x="307115" y="1335754"/>
                  </a:lnTo>
                  <a:lnTo>
                    <a:pt x="306161" y="1335996"/>
                  </a:lnTo>
                  <a:lnTo>
                    <a:pt x="305751" y="1335397"/>
                  </a:lnTo>
                  <a:lnTo>
                    <a:pt x="305361" y="1335348"/>
                  </a:lnTo>
                  <a:lnTo>
                    <a:pt x="303977" y="1336875"/>
                  </a:lnTo>
                  <a:lnTo>
                    <a:pt x="302901" y="1337558"/>
                  </a:lnTo>
                  <a:lnTo>
                    <a:pt x="299054" y="1342276"/>
                  </a:lnTo>
                  <a:lnTo>
                    <a:pt x="298454" y="1344532"/>
                  </a:lnTo>
                  <a:lnTo>
                    <a:pt x="298237" y="1347899"/>
                  </a:lnTo>
                  <a:lnTo>
                    <a:pt x="297792" y="1350008"/>
                  </a:lnTo>
                  <a:lnTo>
                    <a:pt x="297123" y="1350864"/>
                  </a:lnTo>
                  <a:lnTo>
                    <a:pt x="292606" y="1352471"/>
                  </a:lnTo>
                  <a:lnTo>
                    <a:pt x="290037" y="1355750"/>
                  </a:lnTo>
                  <a:lnTo>
                    <a:pt x="286918" y="1352920"/>
                  </a:lnTo>
                  <a:lnTo>
                    <a:pt x="283493" y="1350189"/>
                  </a:lnTo>
                  <a:lnTo>
                    <a:pt x="281210" y="1345399"/>
                  </a:lnTo>
                  <a:lnTo>
                    <a:pt x="277088" y="1344560"/>
                  </a:lnTo>
                  <a:lnTo>
                    <a:pt x="272299" y="1341842"/>
                  </a:lnTo>
                  <a:lnTo>
                    <a:pt x="270474" y="1339425"/>
                  </a:lnTo>
                  <a:lnTo>
                    <a:pt x="273069" y="1334447"/>
                  </a:lnTo>
                  <a:lnTo>
                    <a:pt x="276795" y="1330682"/>
                  </a:lnTo>
                  <a:lnTo>
                    <a:pt x="277364" y="1326162"/>
                  </a:lnTo>
                  <a:lnTo>
                    <a:pt x="277876" y="1325190"/>
                  </a:lnTo>
                  <a:lnTo>
                    <a:pt x="284279" y="1324066"/>
                  </a:lnTo>
                  <a:lnTo>
                    <a:pt x="288457" y="1321818"/>
                  </a:lnTo>
                  <a:lnTo>
                    <a:pt x="284173" y="1321613"/>
                  </a:lnTo>
                  <a:lnTo>
                    <a:pt x="281549" y="1321953"/>
                  </a:lnTo>
                  <a:lnTo>
                    <a:pt x="276838" y="1323522"/>
                  </a:lnTo>
                  <a:lnTo>
                    <a:pt x="271613" y="1320418"/>
                  </a:lnTo>
                  <a:lnTo>
                    <a:pt x="268913" y="1317578"/>
                  </a:lnTo>
                  <a:lnTo>
                    <a:pt x="268065" y="1315154"/>
                  </a:lnTo>
                  <a:lnTo>
                    <a:pt x="268997" y="1313103"/>
                  </a:lnTo>
                  <a:lnTo>
                    <a:pt x="269120" y="1311011"/>
                  </a:lnTo>
                  <a:lnTo>
                    <a:pt x="269592" y="1308184"/>
                  </a:lnTo>
                  <a:lnTo>
                    <a:pt x="270087" y="1306946"/>
                  </a:lnTo>
                  <a:lnTo>
                    <a:pt x="271184" y="1305367"/>
                  </a:lnTo>
                  <a:lnTo>
                    <a:pt x="273422" y="1304314"/>
                  </a:lnTo>
                  <a:lnTo>
                    <a:pt x="275403" y="1301064"/>
                  </a:lnTo>
                  <a:lnTo>
                    <a:pt x="276219" y="1298795"/>
                  </a:lnTo>
                  <a:lnTo>
                    <a:pt x="280280" y="1291965"/>
                  </a:lnTo>
                  <a:lnTo>
                    <a:pt x="281760" y="1289014"/>
                  </a:lnTo>
                  <a:lnTo>
                    <a:pt x="284533" y="1284919"/>
                  </a:lnTo>
                  <a:lnTo>
                    <a:pt x="290115" y="1278468"/>
                  </a:lnTo>
                  <a:lnTo>
                    <a:pt x="288353" y="1278834"/>
                  </a:lnTo>
                  <a:lnTo>
                    <a:pt x="287427" y="1279386"/>
                  </a:lnTo>
                  <a:lnTo>
                    <a:pt x="286548" y="1279318"/>
                  </a:lnTo>
                  <a:lnTo>
                    <a:pt x="285715" y="1278629"/>
                  </a:lnTo>
                  <a:lnTo>
                    <a:pt x="284922" y="1277202"/>
                  </a:lnTo>
                  <a:lnTo>
                    <a:pt x="284168" y="1275025"/>
                  </a:lnTo>
                  <a:lnTo>
                    <a:pt x="283743" y="1275981"/>
                  </a:lnTo>
                  <a:lnTo>
                    <a:pt x="283650" y="1280063"/>
                  </a:lnTo>
                  <a:lnTo>
                    <a:pt x="283088" y="1283552"/>
                  </a:lnTo>
                  <a:lnTo>
                    <a:pt x="282089" y="1285975"/>
                  </a:lnTo>
                  <a:lnTo>
                    <a:pt x="279350" y="1290892"/>
                  </a:lnTo>
                  <a:lnTo>
                    <a:pt x="277744" y="1292805"/>
                  </a:lnTo>
                  <a:lnTo>
                    <a:pt x="276647" y="1291023"/>
                  </a:lnTo>
                  <a:lnTo>
                    <a:pt x="277493" y="1287949"/>
                  </a:lnTo>
                  <a:lnTo>
                    <a:pt x="279079" y="1285500"/>
                  </a:lnTo>
                  <a:lnTo>
                    <a:pt x="279351" y="1282145"/>
                  </a:lnTo>
                  <a:lnTo>
                    <a:pt x="277858" y="1278136"/>
                  </a:lnTo>
                  <a:lnTo>
                    <a:pt x="276946" y="1274907"/>
                  </a:lnTo>
                  <a:lnTo>
                    <a:pt x="276617" y="1272456"/>
                  </a:lnTo>
                  <a:lnTo>
                    <a:pt x="276574" y="1270218"/>
                  </a:lnTo>
                  <a:lnTo>
                    <a:pt x="276815" y="1268191"/>
                  </a:lnTo>
                  <a:lnTo>
                    <a:pt x="277444" y="1265982"/>
                  </a:lnTo>
                  <a:lnTo>
                    <a:pt x="278459" y="1263591"/>
                  </a:lnTo>
                  <a:lnTo>
                    <a:pt x="278338" y="1263325"/>
                  </a:lnTo>
                  <a:lnTo>
                    <a:pt x="278617" y="1261100"/>
                  </a:lnTo>
                  <a:lnTo>
                    <a:pt x="278393" y="1258815"/>
                  </a:lnTo>
                  <a:lnTo>
                    <a:pt x="277555" y="1257002"/>
                  </a:lnTo>
                  <a:lnTo>
                    <a:pt x="276493" y="1255426"/>
                  </a:lnTo>
                  <a:lnTo>
                    <a:pt x="273530" y="1256372"/>
                  </a:lnTo>
                  <a:lnTo>
                    <a:pt x="268498" y="1254951"/>
                  </a:lnTo>
                  <a:lnTo>
                    <a:pt x="266877" y="1251081"/>
                  </a:lnTo>
                  <a:lnTo>
                    <a:pt x="262516" y="1249894"/>
                  </a:lnTo>
                  <a:lnTo>
                    <a:pt x="260167" y="1247126"/>
                  </a:lnTo>
                  <a:lnTo>
                    <a:pt x="255388" y="1245769"/>
                  </a:lnTo>
                  <a:lnTo>
                    <a:pt x="251515" y="1244826"/>
                  </a:lnTo>
                  <a:lnTo>
                    <a:pt x="248561" y="1243231"/>
                  </a:lnTo>
                  <a:lnTo>
                    <a:pt x="245104" y="1241359"/>
                  </a:lnTo>
                  <a:lnTo>
                    <a:pt x="241653" y="1239362"/>
                  </a:lnTo>
                  <a:lnTo>
                    <a:pt x="239036" y="1237845"/>
                  </a:lnTo>
                  <a:lnTo>
                    <a:pt x="237098" y="1237943"/>
                  </a:lnTo>
                  <a:lnTo>
                    <a:pt x="232717" y="1238163"/>
                  </a:lnTo>
                  <a:lnTo>
                    <a:pt x="232494" y="1234744"/>
                  </a:lnTo>
                  <a:lnTo>
                    <a:pt x="231153" y="1232675"/>
                  </a:lnTo>
                  <a:lnTo>
                    <a:pt x="231655" y="1230845"/>
                  </a:lnTo>
                  <a:lnTo>
                    <a:pt x="229213" y="1229909"/>
                  </a:lnTo>
                  <a:lnTo>
                    <a:pt x="225617" y="1228532"/>
                  </a:lnTo>
                  <a:lnTo>
                    <a:pt x="226667" y="1225037"/>
                  </a:lnTo>
                  <a:lnTo>
                    <a:pt x="227462" y="1222385"/>
                  </a:lnTo>
                  <a:lnTo>
                    <a:pt x="224280" y="1221600"/>
                  </a:lnTo>
                  <a:lnTo>
                    <a:pt x="219692" y="1220467"/>
                  </a:lnTo>
                  <a:lnTo>
                    <a:pt x="221178" y="1218074"/>
                  </a:lnTo>
                  <a:lnTo>
                    <a:pt x="222375" y="1216142"/>
                  </a:lnTo>
                  <a:lnTo>
                    <a:pt x="220613" y="1213314"/>
                  </a:lnTo>
                  <a:lnTo>
                    <a:pt x="217042" y="1208564"/>
                  </a:lnTo>
                  <a:lnTo>
                    <a:pt x="214303" y="1205165"/>
                  </a:lnTo>
                  <a:lnTo>
                    <a:pt x="210728" y="1199860"/>
                  </a:lnTo>
                  <a:lnTo>
                    <a:pt x="207583" y="1195188"/>
                  </a:lnTo>
                  <a:lnTo>
                    <a:pt x="205014" y="1191362"/>
                  </a:lnTo>
                  <a:lnTo>
                    <a:pt x="202869" y="1188720"/>
                  </a:lnTo>
                  <a:lnTo>
                    <a:pt x="199852" y="1183984"/>
                  </a:lnTo>
                  <a:lnTo>
                    <a:pt x="195925" y="1178637"/>
                  </a:lnTo>
                  <a:lnTo>
                    <a:pt x="192190" y="1174421"/>
                  </a:lnTo>
                  <a:lnTo>
                    <a:pt x="192735" y="1171692"/>
                  </a:lnTo>
                  <a:lnTo>
                    <a:pt x="189051" y="1168264"/>
                  </a:lnTo>
                  <a:lnTo>
                    <a:pt x="185816" y="1164791"/>
                  </a:lnTo>
                  <a:lnTo>
                    <a:pt x="182094" y="1160786"/>
                  </a:lnTo>
                  <a:lnTo>
                    <a:pt x="178418" y="1158823"/>
                  </a:lnTo>
                  <a:lnTo>
                    <a:pt x="175794" y="1157422"/>
                  </a:lnTo>
                  <a:lnTo>
                    <a:pt x="172009" y="1155398"/>
                  </a:lnTo>
                  <a:lnTo>
                    <a:pt x="170019" y="1153588"/>
                  </a:lnTo>
                  <a:lnTo>
                    <a:pt x="169190" y="1152052"/>
                  </a:lnTo>
                  <a:lnTo>
                    <a:pt x="168331" y="1150968"/>
                  </a:lnTo>
                  <a:lnTo>
                    <a:pt x="167583" y="1149460"/>
                  </a:lnTo>
                  <a:lnTo>
                    <a:pt x="167148" y="1147702"/>
                  </a:lnTo>
                  <a:lnTo>
                    <a:pt x="166373" y="1146615"/>
                  </a:lnTo>
                  <a:lnTo>
                    <a:pt x="161778" y="1143999"/>
                  </a:lnTo>
                  <a:lnTo>
                    <a:pt x="160377" y="1142355"/>
                  </a:lnTo>
                  <a:lnTo>
                    <a:pt x="157202" y="1140455"/>
                  </a:lnTo>
                  <a:lnTo>
                    <a:pt x="154544" y="1139661"/>
                  </a:lnTo>
                  <a:lnTo>
                    <a:pt x="153619" y="1139020"/>
                  </a:lnTo>
                  <a:lnTo>
                    <a:pt x="150385" y="1133273"/>
                  </a:lnTo>
                  <a:lnTo>
                    <a:pt x="150903" y="1131220"/>
                  </a:lnTo>
                  <a:lnTo>
                    <a:pt x="151262" y="1129166"/>
                  </a:lnTo>
                  <a:lnTo>
                    <a:pt x="150899" y="1128112"/>
                  </a:lnTo>
                  <a:lnTo>
                    <a:pt x="145579" y="1123728"/>
                  </a:lnTo>
                  <a:lnTo>
                    <a:pt x="142865" y="1121906"/>
                  </a:lnTo>
                  <a:lnTo>
                    <a:pt x="140124" y="1120019"/>
                  </a:lnTo>
                  <a:lnTo>
                    <a:pt x="134377" y="1122455"/>
                  </a:lnTo>
                  <a:lnTo>
                    <a:pt x="128493" y="1124948"/>
                  </a:lnTo>
                  <a:lnTo>
                    <a:pt x="124372" y="1125863"/>
                  </a:lnTo>
                  <a:lnTo>
                    <a:pt x="118676" y="1127127"/>
                  </a:lnTo>
                  <a:lnTo>
                    <a:pt x="120570" y="1129834"/>
                  </a:lnTo>
                  <a:lnTo>
                    <a:pt x="119787" y="1131812"/>
                  </a:lnTo>
                  <a:lnTo>
                    <a:pt x="118016" y="1132724"/>
                  </a:lnTo>
                  <a:lnTo>
                    <a:pt x="115011" y="1132610"/>
                  </a:lnTo>
                  <a:lnTo>
                    <a:pt x="115001" y="1139333"/>
                  </a:lnTo>
                  <a:lnTo>
                    <a:pt x="112160" y="1144114"/>
                  </a:lnTo>
                  <a:lnTo>
                    <a:pt x="106215" y="1144197"/>
                  </a:lnTo>
                  <a:lnTo>
                    <a:pt x="103019" y="1145840"/>
                  </a:lnTo>
                  <a:lnTo>
                    <a:pt x="98279" y="1148273"/>
                  </a:lnTo>
                  <a:lnTo>
                    <a:pt x="94442" y="1150243"/>
                  </a:lnTo>
                  <a:lnTo>
                    <a:pt x="90359" y="1153415"/>
                  </a:lnTo>
                  <a:lnTo>
                    <a:pt x="88272" y="1152959"/>
                  </a:lnTo>
                  <a:lnTo>
                    <a:pt x="89203" y="1150131"/>
                  </a:lnTo>
                  <a:lnTo>
                    <a:pt x="87693" y="1145341"/>
                  </a:lnTo>
                  <a:lnTo>
                    <a:pt x="86435" y="1141344"/>
                  </a:lnTo>
                  <a:lnTo>
                    <a:pt x="83816" y="1139288"/>
                  </a:lnTo>
                  <a:lnTo>
                    <a:pt x="79406" y="1135821"/>
                  </a:lnTo>
                  <a:lnTo>
                    <a:pt x="76095" y="1133217"/>
                  </a:lnTo>
                  <a:lnTo>
                    <a:pt x="71371" y="1129495"/>
                  </a:lnTo>
                  <a:lnTo>
                    <a:pt x="68069" y="1126889"/>
                  </a:lnTo>
                  <a:lnTo>
                    <a:pt x="64621" y="1124166"/>
                  </a:lnTo>
                  <a:lnTo>
                    <a:pt x="60091" y="1120586"/>
                  </a:lnTo>
                  <a:lnTo>
                    <a:pt x="58235" y="1115935"/>
                  </a:lnTo>
                  <a:lnTo>
                    <a:pt x="54095" y="1114252"/>
                  </a:lnTo>
                  <a:lnTo>
                    <a:pt x="49665" y="1112453"/>
                  </a:lnTo>
                  <a:lnTo>
                    <a:pt x="46073" y="1109028"/>
                  </a:lnTo>
                  <a:lnTo>
                    <a:pt x="47294" y="1105644"/>
                  </a:lnTo>
                  <a:lnTo>
                    <a:pt x="48757" y="1101586"/>
                  </a:lnTo>
                  <a:lnTo>
                    <a:pt x="48757" y="1099139"/>
                  </a:lnTo>
                  <a:lnTo>
                    <a:pt x="44814" y="1099289"/>
                  </a:lnTo>
                  <a:lnTo>
                    <a:pt x="38901" y="1099519"/>
                  </a:lnTo>
                  <a:lnTo>
                    <a:pt x="33618" y="1099725"/>
                  </a:lnTo>
                  <a:lnTo>
                    <a:pt x="29704" y="1102596"/>
                  </a:lnTo>
                  <a:lnTo>
                    <a:pt x="26088" y="1105247"/>
                  </a:lnTo>
                  <a:lnTo>
                    <a:pt x="20417" y="1103181"/>
                  </a:lnTo>
                  <a:lnTo>
                    <a:pt x="13928" y="1100814"/>
                  </a:lnTo>
                  <a:lnTo>
                    <a:pt x="12087" y="1103909"/>
                  </a:lnTo>
                  <a:lnTo>
                    <a:pt x="6071" y="1102359"/>
                  </a:lnTo>
                  <a:lnTo>
                    <a:pt x="0" y="1100793"/>
                  </a:lnTo>
                  <a:lnTo>
                    <a:pt x="0" y="1089644"/>
                  </a:lnTo>
                  <a:lnTo>
                    <a:pt x="0" y="1078440"/>
                  </a:lnTo>
                  <a:lnTo>
                    <a:pt x="0" y="1067188"/>
                  </a:lnTo>
                  <a:lnTo>
                    <a:pt x="0" y="1055881"/>
                  </a:lnTo>
                  <a:lnTo>
                    <a:pt x="0" y="1044519"/>
                  </a:lnTo>
                  <a:lnTo>
                    <a:pt x="0" y="1033106"/>
                  </a:lnTo>
                  <a:lnTo>
                    <a:pt x="0" y="1021634"/>
                  </a:lnTo>
                  <a:lnTo>
                    <a:pt x="0" y="1010110"/>
                  </a:lnTo>
                  <a:lnTo>
                    <a:pt x="0" y="998529"/>
                  </a:lnTo>
                  <a:lnTo>
                    <a:pt x="0" y="986891"/>
                  </a:lnTo>
                  <a:lnTo>
                    <a:pt x="0" y="975196"/>
                  </a:lnTo>
                  <a:lnTo>
                    <a:pt x="0" y="963438"/>
                  </a:lnTo>
                  <a:lnTo>
                    <a:pt x="0" y="951625"/>
                  </a:lnTo>
                  <a:lnTo>
                    <a:pt x="0" y="939748"/>
                  </a:lnTo>
                  <a:lnTo>
                    <a:pt x="0" y="927813"/>
                  </a:lnTo>
                  <a:lnTo>
                    <a:pt x="0" y="915813"/>
                  </a:lnTo>
                  <a:lnTo>
                    <a:pt x="0" y="903753"/>
                  </a:lnTo>
                  <a:lnTo>
                    <a:pt x="0" y="891630"/>
                  </a:lnTo>
                  <a:lnTo>
                    <a:pt x="0" y="879439"/>
                  </a:lnTo>
                  <a:lnTo>
                    <a:pt x="0" y="867185"/>
                  </a:lnTo>
                  <a:lnTo>
                    <a:pt x="0" y="854866"/>
                  </a:lnTo>
                  <a:lnTo>
                    <a:pt x="0" y="842475"/>
                  </a:lnTo>
                  <a:lnTo>
                    <a:pt x="0" y="830020"/>
                  </a:lnTo>
                  <a:lnTo>
                    <a:pt x="0" y="817495"/>
                  </a:lnTo>
                  <a:lnTo>
                    <a:pt x="0" y="804899"/>
                  </a:lnTo>
                  <a:lnTo>
                    <a:pt x="0" y="792233"/>
                  </a:lnTo>
                  <a:lnTo>
                    <a:pt x="0" y="779495"/>
                  </a:lnTo>
                  <a:lnTo>
                    <a:pt x="0" y="766681"/>
                  </a:lnTo>
                  <a:lnTo>
                    <a:pt x="0" y="753795"/>
                  </a:lnTo>
                  <a:lnTo>
                    <a:pt x="0" y="740835"/>
                  </a:lnTo>
                  <a:lnTo>
                    <a:pt x="0" y="727794"/>
                  </a:lnTo>
                  <a:lnTo>
                    <a:pt x="0" y="714680"/>
                  </a:lnTo>
                  <a:lnTo>
                    <a:pt x="3604" y="715379"/>
                  </a:lnTo>
                  <a:lnTo>
                    <a:pt x="15138" y="716852"/>
                  </a:lnTo>
                  <a:lnTo>
                    <a:pt x="26004" y="715988"/>
                  </a:lnTo>
                  <a:lnTo>
                    <a:pt x="46163" y="720760"/>
                  </a:lnTo>
                  <a:lnTo>
                    <a:pt x="58630" y="729665"/>
                  </a:lnTo>
                  <a:lnTo>
                    <a:pt x="68745" y="734031"/>
                  </a:lnTo>
                  <a:lnTo>
                    <a:pt x="72868" y="737023"/>
                  </a:lnTo>
                  <a:lnTo>
                    <a:pt x="79434" y="739657"/>
                  </a:lnTo>
                  <a:lnTo>
                    <a:pt x="94889" y="745378"/>
                  </a:lnTo>
                  <a:lnTo>
                    <a:pt x="99694" y="745965"/>
                  </a:lnTo>
                  <a:lnTo>
                    <a:pt x="108647" y="748704"/>
                  </a:lnTo>
                  <a:lnTo>
                    <a:pt x="114191" y="748342"/>
                  </a:lnTo>
                  <a:lnTo>
                    <a:pt x="123733" y="749011"/>
                  </a:lnTo>
                  <a:lnTo>
                    <a:pt x="130217" y="751209"/>
                  </a:lnTo>
                  <a:lnTo>
                    <a:pt x="143009" y="757231"/>
                  </a:lnTo>
                  <a:lnTo>
                    <a:pt x="145630" y="757766"/>
                  </a:lnTo>
                  <a:lnTo>
                    <a:pt x="146330" y="757326"/>
                  </a:lnTo>
                  <a:lnTo>
                    <a:pt x="141874" y="751371"/>
                  </a:lnTo>
                  <a:lnTo>
                    <a:pt x="141174" y="750794"/>
                  </a:lnTo>
                  <a:lnTo>
                    <a:pt x="136016" y="748567"/>
                  </a:lnTo>
                  <a:lnTo>
                    <a:pt x="129972" y="747470"/>
                  </a:lnTo>
                  <a:lnTo>
                    <a:pt x="129506" y="747039"/>
                  </a:lnTo>
                  <a:lnTo>
                    <a:pt x="128382" y="744932"/>
                  </a:lnTo>
                  <a:lnTo>
                    <a:pt x="128744" y="744112"/>
                  </a:lnTo>
                  <a:lnTo>
                    <a:pt x="130061" y="743739"/>
                  </a:lnTo>
                  <a:lnTo>
                    <a:pt x="134564" y="743757"/>
                  </a:lnTo>
                  <a:lnTo>
                    <a:pt x="137232" y="743418"/>
                  </a:lnTo>
                  <a:lnTo>
                    <a:pt x="137599" y="742587"/>
                  </a:lnTo>
                  <a:lnTo>
                    <a:pt x="135678" y="742394"/>
                  </a:lnTo>
                  <a:lnTo>
                    <a:pt x="133362" y="741588"/>
                  </a:lnTo>
                  <a:lnTo>
                    <a:pt x="130647" y="740165"/>
                  </a:lnTo>
                  <a:lnTo>
                    <a:pt x="129112" y="738827"/>
                  </a:lnTo>
                  <a:lnTo>
                    <a:pt x="134660" y="729916"/>
                  </a:lnTo>
                  <a:lnTo>
                    <a:pt x="136599" y="730817"/>
                  </a:lnTo>
                  <a:lnTo>
                    <a:pt x="139526" y="728754"/>
                  </a:lnTo>
                  <a:lnTo>
                    <a:pt x="144767" y="730064"/>
                  </a:lnTo>
                  <a:lnTo>
                    <a:pt x="145727" y="729350"/>
                  </a:lnTo>
                  <a:lnTo>
                    <a:pt x="146366" y="724813"/>
                  </a:lnTo>
                  <a:lnTo>
                    <a:pt x="147146" y="723718"/>
                  </a:lnTo>
                  <a:lnTo>
                    <a:pt x="148622" y="722901"/>
                  </a:lnTo>
                  <a:lnTo>
                    <a:pt x="155923" y="722091"/>
                  </a:lnTo>
                  <a:lnTo>
                    <a:pt x="165026" y="722897"/>
                  </a:lnTo>
                  <a:lnTo>
                    <a:pt x="165966" y="722461"/>
                  </a:lnTo>
                  <a:lnTo>
                    <a:pt x="165094" y="719423"/>
                  </a:lnTo>
                  <a:lnTo>
                    <a:pt x="164989" y="718227"/>
                  </a:lnTo>
                  <a:lnTo>
                    <a:pt x="165538" y="715489"/>
                  </a:lnTo>
                  <a:lnTo>
                    <a:pt x="166101" y="714018"/>
                  </a:lnTo>
                  <a:lnTo>
                    <a:pt x="167180" y="713284"/>
                  </a:lnTo>
                  <a:lnTo>
                    <a:pt x="171411" y="713866"/>
                  </a:lnTo>
                  <a:lnTo>
                    <a:pt x="172734" y="715218"/>
                  </a:lnTo>
                  <a:lnTo>
                    <a:pt x="174150" y="717538"/>
                  </a:lnTo>
                  <a:lnTo>
                    <a:pt x="175584" y="718859"/>
                  </a:lnTo>
                  <a:lnTo>
                    <a:pt x="180086" y="720190"/>
                  </a:lnTo>
                  <a:lnTo>
                    <a:pt x="180597" y="721111"/>
                  </a:lnTo>
                  <a:lnTo>
                    <a:pt x="178881" y="724620"/>
                  </a:lnTo>
                  <a:lnTo>
                    <a:pt x="177082" y="726457"/>
                  </a:lnTo>
                  <a:lnTo>
                    <a:pt x="173364" y="731284"/>
                  </a:lnTo>
                  <a:lnTo>
                    <a:pt x="173129" y="732523"/>
                  </a:lnTo>
                  <a:lnTo>
                    <a:pt x="178866" y="730357"/>
                  </a:lnTo>
                  <a:lnTo>
                    <a:pt x="185307" y="727355"/>
                  </a:lnTo>
                  <a:lnTo>
                    <a:pt x="190838" y="725700"/>
                  </a:lnTo>
                  <a:lnTo>
                    <a:pt x="195459" y="725397"/>
                  </a:lnTo>
                  <a:lnTo>
                    <a:pt x="198769" y="724423"/>
                  </a:lnTo>
                  <a:lnTo>
                    <a:pt x="200764" y="722774"/>
                  </a:lnTo>
                  <a:lnTo>
                    <a:pt x="202188" y="721087"/>
                  </a:lnTo>
                  <a:lnTo>
                    <a:pt x="205052" y="715631"/>
                  </a:lnTo>
                  <a:lnTo>
                    <a:pt x="206954" y="714685"/>
                  </a:lnTo>
                  <a:lnTo>
                    <a:pt x="214903" y="715019"/>
                  </a:lnTo>
                  <a:lnTo>
                    <a:pt x="216792" y="714854"/>
                  </a:lnTo>
                  <a:lnTo>
                    <a:pt x="218020" y="714322"/>
                  </a:lnTo>
                  <a:lnTo>
                    <a:pt x="217796" y="713631"/>
                  </a:lnTo>
                  <a:lnTo>
                    <a:pt x="216116" y="712784"/>
                  </a:lnTo>
                  <a:lnTo>
                    <a:pt x="213850" y="712546"/>
                  </a:lnTo>
                  <a:lnTo>
                    <a:pt x="213793" y="712161"/>
                  </a:lnTo>
                  <a:lnTo>
                    <a:pt x="214631" y="711266"/>
                  </a:lnTo>
                  <a:lnTo>
                    <a:pt x="215875" y="710746"/>
                  </a:lnTo>
                  <a:lnTo>
                    <a:pt x="219793" y="710127"/>
                  </a:lnTo>
                  <a:lnTo>
                    <a:pt x="222368" y="712096"/>
                  </a:lnTo>
                  <a:lnTo>
                    <a:pt x="224118" y="712238"/>
                  </a:lnTo>
                  <a:lnTo>
                    <a:pt x="229932" y="710052"/>
                  </a:lnTo>
                  <a:lnTo>
                    <a:pt x="238865" y="704240"/>
                  </a:lnTo>
                  <a:lnTo>
                    <a:pt x="242438" y="702620"/>
                  </a:lnTo>
                  <a:lnTo>
                    <a:pt x="245531" y="702337"/>
                  </a:lnTo>
                  <a:lnTo>
                    <a:pt x="248144" y="703396"/>
                  </a:lnTo>
                  <a:lnTo>
                    <a:pt x="250160" y="703119"/>
                  </a:lnTo>
                  <a:lnTo>
                    <a:pt x="252811" y="699832"/>
                  </a:lnTo>
                  <a:lnTo>
                    <a:pt x="253856" y="698081"/>
                  </a:lnTo>
                  <a:lnTo>
                    <a:pt x="255490" y="696560"/>
                  </a:lnTo>
                  <a:lnTo>
                    <a:pt x="262100" y="693132"/>
                  </a:lnTo>
                  <a:lnTo>
                    <a:pt x="266336" y="692400"/>
                  </a:lnTo>
                  <a:lnTo>
                    <a:pt x="268923" y="693033"/>
                  </a:lnTo>
                  <a:lnTo>
                    <a:pt x="272003" y="694453"/>
                  </a:lnTo>
                  <a:lnTo>
                    <a:pt x="274538" y="695004"/>
                  </a:lnTo>
                  <a:lnTo>
                    <a:pt x="277876" y="694586"/>
                  </a:lnTo>
                  <a:lnTo>
                    <a:pt x="280369" y="694775"/>
                  </a:lnTo>
                  <a:lnTo>
                    <a:pt x="281559" y="694083"/>
                  </a:lnTo>
                  <a:lnTo>
                    <a:pt x="285818" y="690174"/>
                  </a:lnTo>
                  <a:lnTo>
                    <a:pt x="287199" y="690134"/>
                  </a:lnTo>
                  <a:lnTo>
                    <a:pt x="288534" y="691287"/>
                  </a:lnTo>
                  <a:lnTo>
                    <a:pt x="290678" y="694128"/>
                  </a:lnTo>
                  <a:lnTo>
                    <a:pt x="290685" y="695546"/>
                  </a:lnTo>
                  <a:lnTo>
                    <a:pt x="287893" y="699004"/>
                  </a:lnTo>
                  <a:lnTo>
                    <a:pt x="267340" y="708855"/>
                  </a:lnTo>
                  <a:lnTo>
                    <a:pt x="261008" y="713095"/>
                  </a:lnTo>
                  <a:lnTo>
                    <a:pt x="257876" y="714649"/>
                  </a:lnTo>
                  <a:lnTo>
                    <a:pt x="254630" y="715523"/>
                  </a:lnTo>
                  <a:lnTo>
                    <a:pt x="248345" y="716256"/>
                  </a:lnTo>
                  <a:lnTo>
                    <a:pt x="245850" y="717116"/>
                  </a:lnTo>
                  <a:lnTo>
                    <a:pt x="241626" y="717887"/>
                  </a:lnTo>
                  <a:lnTo>
                    <a:pt x="231740" y="719241"/>
                  </a:lnTo>
                  <a:lnTo>
                    <a:pt x="229839" y="719899"/>
                  </a:lnTo>
                  <a:lnTo>
                    <a:pt x="228547" y="720666"/>
                  </a:lnTo>
                  <a:lnTo>
                    <a:pt x="224996" y="725836"/>
                  </a:lnTo>
                  <a:lnTo>
                    <a:pt x="223271" y="727521"/>
                  </a:lnTo>
                  <a:lnTo>
                    <a:pt x="219875" y="730060"/>
                  </a:lnTo>
                  <a:lnTo>
                    <a:pt x="216060" y="731615"/>
                  </a:lnTo>
                  <a:lnTo>
                    <a:pt x="210848" y="732209"/>
                  </a:lnTo>
                  <a:lnTo>
                    <a:pt x="207533" y="734624"/>
                  </a:lnTo>
                  <a:lnTo>
                    <a:pt x="203717" y="739274"/>
                  </a:lnTo>
                  <a:lnTo>
                    <a:pt x="200637" y="742507"/>
                  </a:lnTo>
                  <a:lnTo>
                    <a:pt x="197119" y="745244"/>
                  </a:lnTo>
                  <a:lnTo>
                    <a:pt x="193297" y="748814"/>
                  </a:lnTo>
                  <a:lnTo>
                    <a:pt x="192299" y="750692"/>
                  </a:lnTo>
                  <a:lnTo>
                    <a:pt x="193438" y="753163"/>
                  </a:lnTo>
                  <a:lnTo>
                    <a:pt x="194072" y="753985"/>
                  </a:lnTo>
                  <a:lnTo>
                    <a:pt x="197914" y="755313"/>
                  </a:lnTo>
                  <a:lnTo>
                    <a:pt x="199405" y="755015"/>
                  </a:lnTo>
                  <a:lnTo>
                    <a:pt x="198032" y="753692"/>
                  </a:lnTo>
                  <a:lnTo>
                    <a:pt x="194803" y="751780"/>
                  </a:lnTo>
                  <a:lnTo>
                    <a:pt x="194369" y="751092"/>
                  </a:lnTo>
                  <a:lnTo>
                    <a:pt x="195197" y="750553"/>
                  </a:lnTo>
                  <a:lnTo>
                    <a:pt x="210360" y="751994"/>
                  </a:lnTo>
                  <a:lnTo>
                    <a:pt x="213615" y="750536"/>
                  </a:lnTo>
                  <a:lnTo>
                    <a:pt x="214755" y="749303"/>
                  </a:lnTo>
                  <a:lnTo>
                    <a:pt x="214512" y="748669"/>
                  </a:lnTo>
                  <a:lnTo>
                    <a:pt x="210402" y="748405"/>
                  </a:lnTo>
                  <a:lnTo>
                    <a:pt x="209520" y="747227"/>
                  </a:lnTo>
                  <a:lnTo>
                    <a:pt x="208871" y="745008"/>
                  </a:lnTo>
                  <a:lnTo>
                    <a:pt x="208735" y="743244"/>
                  </a:lnTo>
                  <a:lnTo>
                    <a:pt x="209106" y="741936"/>
                  </a:lnTo>
                  <a:lnTo>
                    <a:pt x="210032" y="740264"/>
                  </a:lnTo>
                  <a:lnTo>
                    <a:pt x="214439" y="737528"/>
                  </a:lnTo>
                  <a:lnTo>
                    <a:pt x="219183" y="736355"/>
                  </a:lnTo>
                  <a:lnTo>
                    <a:pt x="222836" y="734807"/>
                  </a:lnTo>
                  <a:lnTo>
                    <a:pt x="224854" y="733342"/>
                  </a:lnTo>
                  <a:lnTo>
                    <a:pt x="230300" y="730839"/>
                  </a:lnTo>
                  <a:lnTo>
                    <a:pt x="232486" y="728807"/>
                  </a:lnTo>
                  <a:lnTo>
                    <a:pt x="233664" y="727227"/>
                  </a:lnTo>
                  <a:lnTo>
                    <a:pt x="233814" y="726440"/>
                  </a:lnTo>
                  <a:lnTo>
                    <a:pt x="232822" y="725869"/>
                  </a:lnTo>
                  <a:lnTo>
                    <a:pt x="233628" y="724508"/>
                  </a:lnTo>
                  <a:lnTo>
                    <a:pt x="237598" y="723293"/>
                  </a:lnTo>
                  <a:lnTo>
                    <a:pt x="239344" y="723190"/>
                  </a:lnTo>
                  <a:lnTo>
                    <a:pt x="244923" y="724355"/>
                  </a:lnTo>
                  <a:lnTo>
                    <a:pt x="245934" y="725265"/>
                  </a:lnTo>
                  <a:lnTo>
                    <a:pt x="245385" y="727678"/>
                  </a:lnTo>
                  <a:lnTo>
                    <a:pt x="246166" y="727565"/>
                  </a:lnTo>
                  <a:lnTo>
                    <a:pt x="248317" y="724500"/>
                  </a:lnTo>
                  <a:lnTo>
                    <a:pt x="249518" y="723477"/>
                  </a:lnTo>
                  <a:lnTo>
                    <a:pt x="250756" y="723275"/>
                  </a:lnTo>
                  <a:lnTo>
                    <a:pt x="252010" y="723670"/>
                  </a:lnTo>
                  <a:lnTo>
                    <a:pt x="253278" y="724655"/>
                  </a:lnTo>
                  <a:lnTo>
                    <a:pt x="253966" y="727603"/>
                  </a:lnTo>
                  <a:lnTo>
                    <a:pt x="254075" y="732503"/>
                  </a:lnTo>
                  <a:lnTo>
                    <a:pt x="254362" y="734476"/>
                  </a:lnTo>
                  <a:lnTo>
                    <a:pt x="255790" y="731092"/>
                  </a:lnTo>
                  <a:lnTo>
                    <a:pt x="256787" y="729520"/>
                  </a:lnTo>
                  <a:lnTo>
                    <a:pt x="262221" y="722297"/>
                  </a:lnTo>
                  <a:lnTo>
                    <a:pt x="265891" y="718328"/>
                  </a:lnTo>
                  <a:lnTo>
                    <a:pt x="270009" y="714453"/>
                  </a:lnTo>
                  <a:lnTo>
                    <a:pt x="275992" y="711558"/>
                  </a:lnTo>
                  <a:lnTo>
                    <a:pt x="289824" y="706745"/>
                  </a:lnTo>
                  <a:lnTo>
                    <a:pt x="297616" y="705448"/>
                  </a:lnTo>
                  <a:lnTo>
                    <a:pt x="301564" y="704249"/>
                  </a:lnTo>
                  <a:lnTo>
                    <a:pt x="303496" y="703206"/>
                  </a:lnTo>
                  <a:lnTo>
                    <a:pt x="304728" y="701917"/>
                  </a:lnTo>
                  <a:lnTo>
                    <a:pt x="306894" y="700436"/>
                  </a:lnTo>
                  <a:lnTo>
                    <a:pt x="307279" y="700557"/>
                  </a:lnTo>
                  <a:lnTo>
                    <a:pt x="306441" y="703663"/>
                  </a:lnTo>
                  <a:lnTo>
                    <a:pt x="305887" y="704563"/>
                  </a:lnTo>
                  <a:lnTo>
                    <a:pt x="300823" y="706483"/>
                  </a:lnTo>
                  <a:lnTo>
                    <a:pt x="300327" y="707948"/>
                  </a:lnTo>
                  <a:lnTo>
                    <a:pt x="300876" y="710207"/>
                  </a:lnTo>
                  <a:lnTo>
                    <a:pt x="301752" y="711694"/>
                  </a:lnTo>
                  <a:lnTo>
                    <a:pt x="302953" y="712415"/>
                  </a:lnTo>
                  <a:lnTo>
                    <a:pt x="305055" y="711904"/>
                  </a:lnTo>
                  <a:lnTo>
                    <a:pt x="308058" y="710162"/>
                  </a:lnTo>
                  <a:lnTo>
                    <a:pt x="311797" y="707493"/>
                  </a:lnTo>
                  <a:lnTo>
                    <a:pt x="319881" y="700708"/>
                  </a:lnTo>
                  <a:lnTo>
                    <a:pt x="320580" y="699463"/>
                  </a:lnTo>
                  <a:lnTo>
                    <a:pt x="322622" y="693994"/>
                  </a:lnTo>
                  <a:lnTo>
                    <a:pt x="327256" y="691574"/>
                  </a:lnTo>
                  <a:lnTo>
                    <a:pt x="335647" y="688817"/>
                  </a:lnTo>
                  <a:lnTo>
                    <a:pt x="337705" y="687064"/>
                  </a:lnTo>
                  <a:lnTo>
                    <a:pt x="330345" y="685579"/>
                  </a:lnTo>
                  <a:lnTo>
                    <a:pt x="328820" y="684556"/>
                  </a:lnTo>
                  <a:lnTo>
                    <a:pt x="328580" y="683943"/>
                  </a:lnTo>
                  <a:lnTo>
                    <a:pt x="329968" y="682373"/>
                  </a:lnTo>
                  <a:lnTo>
                    <a:pt x="326606" y="680809"/>
                  </a:lnTo>
                  <a:lnTo>
                    <a:pt x="325373" y="679844"/>
                  </a:lnTo>
                  <a:lnTo>
                    <a:pt x="325426" y="677037"/>
                  </a:lnTo>
                  <a:lnTo>
                    <a:pt x="326459" y="675019"/>
                  </a:lnTo>
                  <a:lnTo>
                    <a:pt x="328661" y="673066"/>
                  </a:lnTo>
                  <a:lnTo>
                    <a:pt x="329915" y="672725"/>
                  </a:lnTo>
                  <a:lnTo>
                    <a:pt x="333196" y="673862"/>
                  </a:lnTo>
                  <a:lnTo>
                    <a:pt x="335954" y="675325"/>
                  </a:lnTo>
                  <a:lnTo>
                    <a:pt x="345488" y="682117"/>
                  </a:lnTo>
                  <a:lnTo>
                    <a:pt x="349313" y="685431"/>
                  </a:lnTo>
                  <a:lnTo>
                    <a:pt x="351532" y="688022"/>
                  </a:lnTo>
                  <a:lnTo>
                    <a:pt x="356900" y="696101"/>
                  </a:lnTo>
                  <a:lnTo>
                    <a:pt x="359266" y="700756"/>
                  </a:lnTo>
                  <a:lnTo>
                    <a:pt x="361162" y="705540"/>
                  </a:lnTo>
                  <a:lnTo>
                    <a:pt x="363033" y="708986"/>
                  </a:lnTo>
                  <a:lnTo>
                    <a:pt x="364878" y="711096"/>
                  </a:lnTo>
                  <a:lnTo>
                    <a:pt x="374049" y="719426"/>
                  </a:lnTo>
                  <a:lnTo>
                    <a:pt x="378782" y="722935"/>
                  </a:lnTo>
                  <a:lnTo>
                    <a:pt x="382747" y="725110"/>
                  </a:lnTo>
                  <a:lnTo>
                    <a:pt x="387302" y="726838"/>
                  </a:lnTo>
                  <a:lnTo>
                    <a:pt x="392446" y="728110"/>
                  </a:lnTo>
                  <a:lnTo>
                    <a:pt x="395949" y="728214"/>
                  </a:lnTo>
                  <a:lnTo>
                    <a:pt x="401398" y="724688"/>
                  </a:lnTo>
                  <a:lnTo>
                    <a:pt x="401526" y="722365"/>
                  </a:lnTo>
                  <a:lnTo>
                    <a:pt x="399123" y="718486"/>
                  </a:lnTo>
                  <a:lnTo>
                    <a:pt x="396706" y="715796"/>
                  </a:lnTo>
                  <a:lnTo>
                    <a:pt x="396995" y="714154"/>
                  </a:lnTo>
                  <a:lnTo>
                    <a:pt x="400193" y="711003"/>
                  </a:lnTo>
                  <a:lnTo>
                    <a:pt x="399978" y="709904"/>
                  </a:lnTo>
                  <a:lnTo>
                    <a:pt x="400655" y="706650"/>
                  </a:lnTo>
                  <a:lnTo>
                    <a:pt x="402865" y="707273"/>
                  </a:lnTo>
                  <a:lnTo>
                    <a:pt x="403738" y="707146"/>
                  </a:lnTo>
                  <a:lnTo>
                    <a:pt x="404970" y="705950"/>
                  </a:lnTo>
                  <a:lnTo>
                    <a:pt x="406561" y="703686"/>
                  </a:lnTo>
                  <a:lnTo>
                    <a:pt x="408567" y="701811"/>
                  </a:lnTo>
                  <a:lnTo>
                    <a:pt x="410988" y="700329"/>
                  </a:lnTo>
                  <a:lnTo>
                    <a:pt x="411641" y="699353"/>
                  </a:lnTo>
                  <a:lnTo>
                    <a:pt x="409241" y="698652"/>
                  </a:lnTo>
                  <a:lnTo>
                    <a:pt x="407784" y="698649"/>
                  </a:lnTo>
                  <a:lnTo>
                    <a:pt x="406704" y="698331"/>
                  </a:lnTo>
                  <a:lnTo>
                    <a:pt x="406000" y="697695"/>
                  </a:lnTo>
                  <a:lnTo>
                    <a:pt x="406962" y="697008"/>
                  </a:lnTo>
                  <a:lnTo>
                    <a:pt x="412219" y="695263"/>
                  </a:lnTo>
                  <a:lnTo>
                    <a:pt x="413203" y="693590"/>
                  </a:lnTo>
                  <a:lnTo>
                    <a:pt x="414886" y="692478"/>
                  </a:lnTo>
                  <a:lnTo>
                    <a:pt x="417038" y="692034"/>
                  </a:lnTo>
                  <a:lnTo>
                    <a:pt x="418369" y="692494"/>
                  </a:lnTo>
                  <a:lnTo>
                    <a:pt x="419842" y="693881"/>
                  </a:lnTo>
                  <a:lnTo>
                    <a:pt x="419918" y="696092"/>
                  </a:lnTo>
                  <a:lnTo>
                    <a:pt x="419267" y="699692"/>
                  </a:lnTo>
                  <a:lnTo>
                    <a:pt x="419146" y="702594"/>
                  </a:lnTo>
                  <a:lnTo>
                    <a:pt x="420794" y="709422"/>
                  </a:lnTo>
                  <a:lnTo>
                    <a:pt x="422254" y="710907"/>
                  </a:lnTo>
                  <a:lnTo>
                    <a:pt x="427953" y="712914"/>
                  </a:lnTo>
                  <a:lnTo>
                    <a:pt x="427601" y="714571"/>
                  </a:lnTo>
                  <a:lnTo>
                    <a:pt x="421011" y="721734"/>
                  </a:lnTo>
                  <a:lnTo>
                    <a:pt x="419604" y="723484"/>
                  </a:lnTo>
                  <a:lnTo>
                    <a:pt x="418908" y="724814"/>
                  </a:lnTo>
                  <a:lnTo>
                    <a:pt x="419143" y="725939"/>
                  </a:lnTo>
                  <a:lnTo>
                    <a:pt x="420307" y="726862"/>
                  </a:lnTo>
                  <a:lnTo>
                    <a:pt x="422539" y="727516"/>
                  </a:lnTo>
                  <a:lnTo>
                    <a:pt x="428280" y="727782"/>
                  </a:lnTo>
                  <a:lnTo>
                    <a:pt x="429853" y="727157"/>
                  </a:lnTo>
                  <a:lnTo>
                    <a:pt x="441023" y="726951"/>
                  </a:lnTo>
                  <a:lnTo>
                    <a:pt x="443070" y="726417"/>
                  </a:lnTo>
                  <a:lnTo>
                    <a:pt x="444794" y="725044"/>
                  </a:lnTo>
                  <a:lnTo>
                    <a:pt x="447304" y="721609"/>
                  </a:lnTo>
                  <a:lnTo>
                    <a:pt x="450156" y="720559"/>
                  </a:lnTo>
                  <a:lnTo>
                    <a:pt x="451050" y="719594"/>
                  </a:lnTo>
                  <a:lnTo>
                    <a:pt x="452805" y="715504"/>
                  </a:lnTo>
                  <a:lnTo>
                    <a:pt x="453669" y="710744"/>
                  </a:lnTo>
                  <a:lnTo>
                    <a:pt x="454526" y="708743"/>
                  </a:lnTo>
                  <a:lnTo>
                    <a:pt x="455815" y="707500"/>
                  </a:lnTo>
                  <a:lnTo>
                    <a:pt x="457567" y="707101"/>
                  </a:lnTo>
                  <a:lnTo>
                    <a:pt x="461911" y="707571"/>
                  </a:lnTo>
                  <a:lnTo>
                    <a:pt x="463952" y="707167"/>
                  </a:lnTo>
                  <a:lnTo>
                    <a:pt x="472000" y="707571"/>
                  </a:lnTo>
                  <a:lnTo>
                    <a:pt x="480048" y="707222"/>
                  </a:lnTo>
                  <a:lnTo>
                    <a:pt x="488371" y="708064"/>
                  </a:lnTo>
                  <a:lnTo>
                    <a:pt x="493715" y="709045"/>
                  </a:lnTo>
                  <a:lnTo>
                    <a:pt x="498656" y="710589"/>
                  </a:lnTo>
                  <a:lnTo>
                    <a:pt x="508134" y="714247"/>
                  </a:lnTo>
                  <a:lnTo>
                    <a:pt x="511881" y="716207"/>
                  </a:lnTo>
                  <a:lnTo>
                    <a:pt x="525120" y="725020"/>
                  </a:lnTo>
                  <a:lnTo>
                    <a:pt x="528988" y="726812"/>
                  </a:lnTo>
                  <a:lnTo>
                    <a:pt x="536270" y="728522"/>
                  </a:lnTo>
                  <a:lnTo>
                    <a:pt x="561223" y="732328"/>
                  </a:lnTo>
                  <a:lnTo>
                    <a:pt x="564363" y="733351"/>
                  </a:lnTo>
                  <a:lnTo>
                    <a:pt x="570937" y="737338"/>
                  </a:lnTo>
                  <a:lnTo>
                    <a:pt x="575467" y="739662"/>
                  </a:lnTo>
                  <a:lnTo>
                    <a:pt x="580837" y="741877"/>
                  </a:lnTo>
                  <a:lnTo>
                    <a:pt x="587553" y="743789"/>
                  </a:lnTo>
                  <a:lnTo>
                    <a:pt x="600714" y="746675"/>
                  </a:lnTo>
                  <a:lnTo>
                    <a:pt x="602853" y="747628"/>
                  </a:lnTo>
                  <a:lnTo>
                    <a:pt x="605267" y="747907"/>
                  </a:lnTo>
                  <a:lnTo>
                    <a:pt x="607955" y="747514"/>
                  </a:lnTo>
                  <a:lnTo>
                    <a:pt x="620019" y="749162"/>
                  </a:lnTo>
                  <a:lnTo>
                    <a:pt x="623198" y="749083"/>
                  </a:lnTo>
                  <a:lnTo>
                    <a:pt x="625492" y="749392"/>
                  </a:lnTo>
                  <a:lnTo>
                    <a:pt x="628317" y="750580"/>
                  </a:lnTo>
                  <a:lnTo>
                    <a:pt x="632455" y="751014"/>
                  </a:lnTo>
                  <a:lnTo>
                    <a:pt x="632310" y="750199"/>
                  </a:lnTo>
                  <a:lnTo>
                    <a:pt x="627584" y="745654"/>
                  </a:lnTo>
                  <a:lnTo>
                    <a:pt x="627792" y="744937"/>
                  </a:lnTo>
                  <a:lnTo>
                    <a:pt x="629735" y="744880"/>
                  </a:lnTo>
                  <a:lnTo>
                    <a:pt x="635585" y="745645"/>
                  </a:lnTo>
                  <a:lnTo>
                    <a:pt x="636924" y="744348"/>
                  </a:lnTo>
                  <a:lnTo>
                    <a:pt x="638874" y="744379"/>
                  </a:lnTo>
                  <a:lnTo>
                    <a:pt x="643316" y="745003"/>
                  </a:lnTo>
                  <a:lnTo>
                    <a:pt x="648105" y="746408"/>
                  </a:lnTo>
                  <a:lnTo>
                    <a:pt x="653238" y="748584"/>
                  </a:lnTo>
                  <a:lnTo>
                    <a:pt x="659479" y="750436"/>
                  </a:lnTo>
                  <a:lnTo>
                    <a:pt x="668951" y="755037"/>
                  </a:lnTo>
                  <a:lnTo>
                    <a:pt x="674182" y="758859"/>
                  </a:lnTo>
                  <a:lnTo>
                    <a:pt x="679144" y="763598"/>
                  </a:lnTo>
                  <a:lnTo>
                    <a:pt x="681866" y="766885"/>
                  </a:lnTo>
                  <a:lnTo>
                    <a:pt x="682342" y="768729"/>
                  </a:lnTo>
                  <a:lnTo>
                    <a:pt x="683380" y="769640"/>
                  </a:lnTo>
                  <a:lnTo>
                    <a:pt x="684976" y="769625"/>
                  </a:lnTo>
                  <a:lnTo>
                    <a:pt x="685579" y="770324"/>
                  </a:lnTo>
                  <a:lnTo>
                    <a:pt x="684149" y="774384"/>
                  </a:lnTo>
                  <a:lnTo>
                    <a:pt x="683326" y="775396"/>
                  </a:lnTo>
                  <a:lnTo>
                    <a:pt x="682244" y="776123"/>
                  </a:lnTo>
                  <a:lnTo>
                    <a:pt x="677709" y="776953"/>
                  </a:lnTo>
                  <a:lnTo>
                    <a:pt x="665272" y="775974"/>
                  </a:lnTo>
                  <a:lnTo>
                    <a:pt x="663068" y="779253"/>
                  </a:lnTo>
                  <a:lnTo>
                    <a:pt x="656098" y="782016"/>
                  </a:lnTo>
                  <a:lnTo>
                    <a:pt x="654859" y="783223"/>
                  </a:lnTo>
                  <a:lnTo>
                    <a:pt x="654584" y="784105"/>
                  </a:lnTo>
                  <a:lnTo>
                    <a:pt x="655082" y="786966"/>
                  </a:lnTo>
                  <a:lnTo>
                    <a:pt x="654202" y="787843"/>
                  </a:lnTo>
                  <a:lnTo>
                    <a:pt x="648497" y="791104"/>
                  </a:lnTo>
                  <a:lnTo>
                    <a:pt x="648303" y="792024"/>
                  </a:lnTo>
                  <a:lnTo>
                    <a:pt x="652006" y="793357"/>
                  </a:lnTo>
                  <a:lnTo>
                    <a:pt x="655942" y="795637"/>
                  </a:lnTo>
                  <a:lnTo>
                    <a:pt x="659036" y="796193"/>
                  </a:lnTo>
                  <a:lnTo>
                    <a:pt x="662952" y="795881"/>
                  </a:lnTo>
                  <a:lnTo>
                    <a:pt x="667867" y="796678"/>
                  </a:lnTo>
                  <a:lnTo>
                    <a:pt x="673789" y="798585"/>
                  </a:lnTo>
                  <a:lnTo>
                    <a:pt x="677904" y="799455"/>
                  </a:lnTo>
                  <a:lnTo>
                    <a:pt x="680221" y="799288"/>
                  </a:lnTo>
                  <a:lnTo>
                    <a:pt x="683381" y="799639"/>
                  </a:lnTo>
                  <a:lnTo>
                    <a:pt x="687384" y="800507"/>
                  </a:lnTo>
                  <a:lnTo>
                    <a:pt x="692742" y="800807"/>
                  </a:lnTo>
                  <a:lnTo>
                    <a:pt x="704582" y="800728"/>
                  </a:lnTo>
                  <a:lnTo>
                    <a:pt x="708132" y="801382"/>
                  </a:lnTo>
                  <a:lnTo>
                    <a:pt x="713089" y="801675"/>
                  </a:lnTo>
                  <a:lnTo>
                    <a:pt x="722634" y="801587"/>
                  </a:lnTo>
                  <a:lnTo>
                    <a:pt x="724355" y="801464"/>
                  </a:lnTo>
                  <a:lnTo>
                    <a:pt x="727413" y="799956"/>
                  </a:lnTo>
                  <a:lnTo>
                    <a:pt x="729386" y="799457"/>
                  </a:lnTo>
                  <a:lnTo>
                    <a:pt x="732820" y="799430"/>
                  </a:lnTo>
                  <a:lnTo>
                    <a:pt x="742719" y="798321"/>
                  </a:lnTo>
                  <a:lnTo>
                    <a:pt x="746147" y="798342"/>
                  </a:lnTo>
                  <a:lnTo>
                    <a:pt x="749317" y="797503"/>
                  </a:lnTo>
                  <a:lnTo>
                    <a:pt x="753371" y="795809"/>
                  </a:lnTo>
                  <a:lnTo>
                    <a:pt x="755872" y="795491"/>
                  </a:lnTo>
                  <a:lnTo>
                    <a:pt x="756820" y="796546"/>
                  </a:lnTo>
                  <a:lnTo>
                    <a:pt x="758529" y="797006"/>
                  </a:lnTo>
                  <a:lnTo>
                    <a:pt x="760998" y="796868"/>
                  </a:lnTo>
                  <a:lnTo>
                    <a:pt x="765693" y="795067"/>
                  </a:lnTo>
                  <a:lnTo>
                    <a:pt x="776670" y="789769"/>
                  </a:lnTo>
                  <a:lnTo>
                    <a:pt x="780618" y="789778"/>
                  </a:lnTo>
                  <a:lnTo>
                    <a:pt x="783517" y="788113"/>
                  </a:lnTo>
                  <a:lnTo>
                    <a:pt x="784227" y="788083"/>
                  </a:lnTo>
                  <a:lnTo>
                    <a:pt x="785024" y="788768"/>
                  </a:lnTo>
                  <a:lnTo>
                    <a:pt x="787711" y="792653"/>
                  </a:lnTo>
                  <a:lnTo>
                    <a:pt x="788530" y="793277"/>
                  </a:lnTo>
                  <a:lnTo>
                    <a:pt x="790378" y="793611"/>
                  </a:lnTo>
                  <a:lnTo>
                    <a:pt x="792183" y="795596"/>
                  </a:lnTo>
                  <a:lnTo>
                    <a:pt x="794062" y="798562"/>
                  </a:lnTo>
                  <a:lnTo>
                    <a:pt x="795474" y="799387"/>
                  </a:lnTo>
                  <a:lnTo>
                    <a:pt x="805770" y="799515"/>
                  </a:lnTo>
                  <a:lnTo>
                    <a:pt x="809398" y="800339"/>
                  </a:lnTo>
                  <a:lnTo>
                    <a:pt x="810494" y="801187"/>
                  </a:lnTo>
                  <a:lnTo>
                    <a:pt x="811598" y="803526"/>
                  </a:lnTo>
                  <a:lnTo>
                    <a:pt x="812278" y="808052"/>
                  </a:lnTo>
                  <a:lnTo>
                    <a:pt x="812729" y="809710"/>
                  </a:lnTo>
                  <a:lnTo>
                    <a:pt x="814223" y="812118"/>
                  </a:lnTo>
                  <a:lnTo>
                    <a:pt x="815210" y="812812"/>
                  </a:lnTo>
                  <a:lnTo>
                    <a:pt x="816145" y="812144"/>
                  </a:lnTo>
                  <a:lnTo>
                    <a:pt x="818681" y="805873"/>
                  </a:lnTo>
                  <a:lnTo>
                    <a:pt x="819567" y="804863"/>
                  </a:lnTo>
                  <a:lnTo>
                    <a:pt x="821263" y="805215"/>
                  </a:lnTo>
                  <a:lnTo>
                    <a:pt x="821780" y="805526"/>
                  </a:lnTo>
                  <a:lnTo>
                    <a:pt x="824352" y="810169"/>
                  </a:lnTo>
                  <a:lnTo>
                    <a:pt x="828017" y="813611"/>
                  </a:lnTo>
                  <a:lnTo>
                    <a:pt x="837100" y="819933"/>
                  </a:lnTo>
                  <a:lnTo>
                    <a:pt x="838576" y="822246"/>
                  </a:lnTo>
                  <a:lnTo>
                    <a:pt x="839117" y="823959"/>
                  </a:lnTo>
                  <a:lnTo>
                    <a:pt x="838603" y="825490"/>
                  </a:lnTo>
                  <a:lnTo>
                    <a:pt x="837035" y="826846"/>
                  </a:lnTo>
                  <a:lnTo>
                    <a:pt x="834573" y="827932"/>
                  </a:lnTo>
                  <a:lnTo>
                    <a:pt x="831216" y="828753"/>
                  </a:lnTo>
                  <a:lnTo>
                    <a:pt x="828083" y="828457"/>
                  </a:lnTo>
                  <a:lnTo>
                    <a:pt x="825174" y="827049"/>
                  </a:lnTo>
                  <a:lnTo>
                    <a:pt x="824236" y="826968"/>
                  </a:lnTo>
                  <a:lnTo>
                    <a:pt x="825270" y="828223"/>
                  </a:lnTo>
                  <a:lnTo>
                    <a:pt x="831283" y="833424"/>
                  </a:lnTo>
                  <a:lnTo>
                    <a:pt x="832817" y="835499"/>
                  </a:lnTo>
                  <a:lnTo>
                    <a:pt x="834241" y="836875"/>
                  </a:lnTo>
                  <a:lnTo>
                    <a:pt x="835556" y="837557"/>
                  </a:lnTo>
                  <a:lnTo>
                    <a:pt x="836770" y="838679"/>
                  </a:lnTo>
                  <a:lnTo>
                    <a:pt x="837880" y="840242"/>
                  </a:lnTo>
                  <a:lnTo>
                    <a:pt x="842876" y="844390"/>
                  </a:lnTo>
                  <a:lnTo>
                    <a:pt x="844298" y="846369"/>
                  </a:lnTo>
                  <a:lnTo>
                    <a:pt x="849991" y="852526"/>
                  </a:lnTo>
                  <a:lnTo>
                    <a:pt x="852695" y="854944"/>
                  </a:lnTo>
                  <a:lnTo>
                    <a:pt x="854783" y="856332"/>
                  </a:lnTo>
                  <a:lnTo>
                    <a:pt x="855592" y="856470"/>
                  </a:lnTo>
                  <a:lnTo>
                    <a:pt x="855119" y="855356"/>
                  </a:lnTo>
                  <a:lnTo>
                    <a:pt x="847858" y="847157"/>
                  </a:lnTo>
                  <a:lnTo>
                    <a:pt x="844159" y="841996"/>
                  </a:lnTo>
                  <a:lnTo>
                    <a:pt x="843639" y="840756"/>
                  </a:lnTo>
                  <a:lnTo>
                    <a:pt x="843401" y="838860"/>
                  </a:lnTo>
                  <a:lnTo>
                    <a:pt x="843256" y="832561"/>
                  </a:lnTo>
                  <a:lnTo>
                    <a:pt x="843785" y="831593"/>
                  </a:lnTo>
                  <a:lnTo>
                    <a:pt x="846293" y="830782"/>
                  </a:lnTo>
                  <a:lnTo>
                    <a:pt x="849512" y="833641"/>
                  </a:lnTo>
                  <a:lnTo>
                    <a:pt x="850729" y="834044"/>
                  </a:lnTo>
                  <a:lnTo>
                    <a:pt x="851550" y="833874"/>
                  </a:lnTo>
                  <a:lnTo>
                    <a:pt x="851975" y="833137"/>
                  </a:lnTo>
                  <a:lnTo>
                    <a:pt x="853824" y="833820"/>
                  </a:lnTo>
                  <a:lnTo>
                    <a:pt x="857094" y="835928"/>
                  </a:lnTo>
                  <a:lnTo>
                    <a:pt x="858203" y="835963"/>
                  </a:lnTo>
                  <a:lnTo>
                    <a:pt x="855736" y="831926"/>
                  </a:lnTo>
                  <a:lnTo>
                    <a:pt x="853972" y="829951"/>
                  </a:lnTo>
                  <a:lnTo>
                    <a:pt x="853350" y="828574"/>
                  </a:lnTo>
                  <a:lnTo>
                    <a:pt x="854991" y="826498"/>
                  </a:lnTo>
                  <a:lnTo>
                    <a:pt x="854095" y="825449"/>
                  </a:lnTo>
                  <a:lnTo>
                    <a:pt x="849940" y="822392"/>
                  </a:lnTo>
                  <a:lnTo>
                    <a:pt x="847782" y="819218"/>
                  </a:lnTo>
                  <a:lnTo>
                    <a:pt x="845840" y="814414"/>
                  </a:lnTo>
                  <a:lnTo>
                    <a:pt x="845666" y="812544"/>
                  </a:lnTo>
                  <a:lnTo>
                    <a:pt x="845984" y="810561"/>
                  </a:lnTo>
                  <a:lnTo>
                    <a:pt x="845691" y="808963"/>
                  </a:lnTo>
                  <a:lnTo>
                    <a:pt x="843077" y="805699"/>
                  </a:lnTo>
                  <a:lnTo>
                    <a:pt x="840235" y="803435"/>
                  </a:lnTo>
                  <a:lnTo>
                    <a:pt x="837979" y="800805"/>
                  </a:lnTo>
                  <a:lnTo>
                    <a:pt x="837522" y="799417"/>
                  </a:lnTo>
                  <a:lnTo>
                    <a:pt x="837869" y="795663"/>
                  </a:lnTo>
                  <a:lnTo>
                    <a:pt x="839580" y="794023"/>
                  </a:lnTo>
                  <a:lnTo>
                    <a:pt x="842822" y="791829"/>
                  </a:lnTo>
                  <a:lnTo>
                    <a:pt x="843696" y="789567"/>
                  </a:lnTo>
                  <a:lnTo>
                    <a:pt x="842204" y="787230"/>
                  </a:lnTo>
                  <a:lnTo>
                    <a:pt x="841929" y="786167"/>
                  </a:lnTo>
                  <a:lnTo>
                    <a:pt x="842874" y="786372"/>
                  </a:lnTo>
                  <a:lnTo>
                    <a:pt x="849255" y="785198"/>
                  </a:lnTo>
                  <a:lnTo>
                    <a:pt x="850857" y="785611"/>
                  </a:lnTo>
                  <a:lnTo>
                    <a:pt x="853268" y="785108"/>
                  </a:lnTo>
                  <a:lnTo>
                    <a:pt x="856488" y="783685"/>
                  </a:lnTo>
                  <a:lnTo>
                    <a:pt x="859007" y="783047"/>
                  </a:lnTo>
                  <a:lnTo>
                    <a:pt x="862332" y="783140"/>
                  </a:lnTo>
                  <a:lnTo>
                    <a:pt x="864135" y="782797"/>
                  </a:lnTo>
                  <a:lnTo>
                    <a:pt x="866338" y="782166"/>
                  </a:lnTo>
                  <a:lnTo>
                    <a:pt x="867478" y="781457"/>
                  </a:lnTo>
                  <a:lnTo>
                    <a:pt x="869499" y="778750"/>
                  </a:lnTo>
                  <a:lnTo>
                    <a:pt x="870578" y="778345"/>
                  </a:lnTo>
                  <a:lnTo>
                    <a:pt x="873965" y="778641"/>
                  </a:lnTo>
                  <a:lnTo>
                    <a:pt x="875876" y="779236"/>
                  </a:lnTo>
                  <a:lnTo>
                    <a:pt x="876770" y="779021"/>
                  </a:lnTo>
                  <a:lnTo>
                    <a:pt x="876637" y="775174"/>
                  </a:lnTo>
                  <a:lnTo>
                    <a:pt x="877273" y="773821"/>
                  </a:lnTo>
                  <a:lnTo>
                    <a:pt x="880650" y="771021"/>
                  </a:lnTo>
                  <a:lnTo>
                    <a:pt x="884177" y="770727"/>
                  </a:lnTo>
                  <a:lnTo>
                    <a:pt x="886530" y="769961"/>
                  </a:lnTo>
                  <a:lnTo>
                    <a:pt x="889224" y="768389"/>
                  </a:lnTo>
                  <a:lnTo>
                    <a:pt x="891155" y="766982"/>
                  </a:lnTo>
                  <a:lnTo>
                    <a:pt x="893075" y="764720"/>
                  </a:lnTo>
                  <a:lnTo>
                    <a:pt x="893861" y="761826"/>
                  </a:lnTo>
                  <a:lnTo>
                    <a:pt x="893250" y="760995"/>
                  </a:lnTo>
                  <a:lnTo>
                    <a:pt x="889246" y="759875"/>
                  </a:lnTo>
                  <a:lnTo>
                    <a:pt x="886839" y="760456"/>
                  </a:lnTo>
                  <a:lnTo>
                    <a:pt x="881510" y="762518"/>
                  </a:lnTo>
                  <a:lnTo>
                    <a:pt x="875913" y="765165"/>
                  </a:lnTo>
                  <a:lnTo>
                    <a:pt x="873751" y="767621"/>
                  </a:lnTo>
                  <a:lnTo>
                    <a:pt x="873159" y="770768"/>
                  </a:lnTo>
                  <a:lnTo>
                    <a:pt x="872098" y="772154"/>
                  </a:lnTo>
                  <a:lnTo>
                    <a:pt x="867739" y="770840"/>
                  </a:lnTo>
                  <a:lnTo>
                    <a:pt x="865880" y="770862"/>
                  </a:lnTo>
                  <a:lnTo>
                    <a:pt x="863546" y="771409"/>
                  </a:lnTo>
                  <a:lnTo>
                    <a:pt x="861072" y="772616"/>
                  </a:lnTo>
                  <a:lnTo>
                    <a:pt x="858464" y="774485"/>
                  </a:lnTo>
                  <a:lnTo>
                    <a:pt x="854611" y="774826"/>
                  </a:lnTo>
                  <a:lnTo>
                    <a:pt x="849514" y="773638"/>
                  </a:lnTo>
                  <a:lnTo>
                    <a:pt x="846466" y="773308"/>
                  </a:lnTo>
                  <a:lnTo>
                    <a:pt x="843369" y="775294"/>
                  </a:lnTo>
                  <a:lnTo>
                    <a:pt x="843554" y="776768"/>
                  </a:lnTo>
                  <a:lnTo>
                    <a:pt x="844988" y="778918"/>
                  </a:lnTo>
                  <a:lnTo>
                    <a:pt x="843555" y="780195"/>
                  </a:lnTo>
                  <a:lnTo>
                    <a:pt x="836125" y="780666"/>
                  </a:lnTo>
                  <a:lnTo>
                    <a:pt x="834162" y="780389"/>
                  </a:lnTo>
                  <a:lnTo>
                    <a:pt x="830196" y="781236"/>
                  </a:lnTo>
                  <a:lnTo>
                    <a:pt x="828629" y="781053"/>
                  </a:lnTo>
                  <a:lnTo>
                    <a:pt x="827486" y="780029"/>
                  </a:lnTo>
                  <a:lnTo>
                    <a:pt x="819406" y="775662"/>
                  </a:lnTo>
                  <a:lnTo>
                    <a:pt x="818606" y="774780"/>
                  </a:lnTo>
                  <a:lnTo>
                    <a:pt x="820563" y="771226"/>
                  </a:lnTo>
                  <a:lnTo>
                    <a:pt x="828048" y="761582"/>
                  </a:lnTo>
                  <a:lnTo>
                    <a:pt x="828867" y="761009"/>
                  </a:lnTo>
                  <a:lnTo>
                    <a:pt x="842738" y="759328"/>
                  </a:lnTo>
                  <a:lnTo>
                    <a:pt x="851117" y="757565"/>
                  </a:lnTo>
                  <a:lnTo>
                    <a:pt x="866464" y="752233"/>
                  </a:lnTo>
                  <a:lnTo>
                    <a:pt x="869436" y="751791"/>
                  </a:lnTo>
                  <a:lnTo>
                    <a:pt x="879305" y="748247"/>
                  </a:lnTo>
                  <a:lnTo>
                    <a:pt x="883357" y="747341"/>
                  </a:lnTo>
                  <a:lnTo>
                    <a:pt x="887130" y="747955"/>
                  </a:lnTo>
                  <a:lnTo>
                    <a:pt x="892650" y="749784"/>
                  </a:lnTo>
                  <a:lnTo>
                    <a:pt x="895499" y="751405"/>
                  </a:lnTo>
                  <a:lnTo>
                    <a:pt x="897516" y="753430"/>
                  </a:lnTo>
                  <a:lnTo>
                    <a:pt x="899195" y="756250"/>
                  </a:lnTo>
                  <a:lnTo>
                    <a:pt x="901298" y="762452"/>
                  </a:lnTo>
                  <a:lnTo>
                    <a:pt x="902016" y="767724"/>
                  </a:lnTo>
                  <a:lnTo>
                    <a:pt x="903313" y="769676"/>
                  </a:lnTo>
                  <a:lnTo>
                    <a:pt x="907940" y="773339"/>
                  </a:lnTo>
                  <a:lnTo>
                    <a:pt x="910314" y="774757"/>
                  </a:lnTo>
                  <a:lnTo>
                    <a:pt x="911778" y="775200"/>
                  </a:lnTo>
                  <a:lnTo>
                    <a:pt x="913041" y="774344"/>
                  </a:lnTo>
                  <a:lnTo>
                    <a:pt x="913903" y="774207"/>
                  </a:lnTo>
                  <a:lnTo>
                    <a:pt x="914487" y="774537"/>
                  </a:lnTo>
                  <a:lnTo>
                    <a:pt x="915116" y="776837"/>
                  </a:lnTo>
                  <a:lnTo>
                    <a:pt x="915940" y="777067"/>
                  </a:lnTo>
                  <a:lnTo>
                    <a:pt x="918725" y="776782"/>
                  </a:lnTo>
                  <a:lnTo>
                    <a:pt x="921677" y="777730"/>
                  </a:lnTo>
                  <a:lnTo>
                    <a:pt x="922104" y="778438"/>
                  </a:lnTo>
                  <a:lnTo>
                    <a:pt x="921476" y="781285"/>
                  </a:lnTo>
                  <a:lnTo>
                    <a:pt x="922311" y="782477"/>
                  </a:lnTo>
                  <a:lnTo>
                    <a:pt x="925896" y="785021"/>
                  </a:lnTo>
                  <a:lnTo>
                    <a:pt x="929347" y="785979"/>
                  </a:lnTo>
                  <a:lnTo>
                    <a:pt x="933333" y="786416"/>
                  </a:lnTo>
                  <a:lnTo>
                    <a:pt x="940736" y="785986"/>
                  </a:lnTo>
                  <a:lnTo>
                    <a:pt x="946932" y="784763"/>
                  </a:lnTo>
                  <a:lnTo>
                    <a:pt x="951575" y="782759"/>
                  </a:lnTo>
                  <a:lnTo>
                    <a:pt x="955400" y="784994"/>
                  </a:lnTo>
                  <a:lnTo>
                    <a:pt x="963044" y="790377"/>
                  </a:lnTo>
                  <a:lnTo>
                    <a:pt x="967614" y="794180"/>
                  </a:lnTo>
                  <a:lnTo>
                    <a:pt x="971406" y="795968"/>
                  </a:lnTo>
                  <a:lnTo>
                    <a:pt x="979087" y="798109"/>
                  </a:lnTo>
                  <a:lnTo>
                    <a:pt x="980830" y="799260"/>
                  </a:lnTo>
                  <a:lnTo>
                    <a:pt x="983633" y="799387"/>
                  </a:lnTo>
                  <a:lnTo>
                    <a:pt x="987501" y="798494"/>
                  </a:lnTo>
                  <a:lnTo>
                    <a:pt x="991904" y="798842"/>
                  </a:lnTo>
                  <a:lnTo>
                    <a:pt x="996842" y="800430"/>
                  </a:lnTo>
                  <a:lnTo>
                    <a:pt x="1000237" y="801101"/>
                  </a:lnTo>
                  <a:lnTo>
                    <a:pt x="1011866" y="798103"/>
                  </a:lnTo>
                  <a:lnTo>
                    <a:pt x="1013640" y="797959"/>
                  </a:lnTo>
                  <a:lnTo>
                    <a:pt x="1017971" y="796514"/>
                  </a:lnTo>
                  <a:lnTo>
                    <a:pt x="1020760" y="796076"/>
                  </a:lnTo>
                  <a:lnTo>
                    <a:pt x="1024043" y="796111"/>
                  </a:lnTo>
                  <a:lnTo>
                    <a:pt x="1026490" y="795671"/>
                  </a:lnTo>
                  <a:lnTo>
                    <a:pt x="1028101" y="794757"/>
                  </a:lnTo>
                  <a:lnTo>
                    <a:pt x="1034266" y="794795"/>
                  </a:lnTo>
                  <a:lnTo>
                    <a:pt x="1045422" y="795826"/>
                  </a:lnTo>
                  <a:lnTo>
                    <a:pt x="1053047" y="797161"/>
                  </a:lnTo>
                  <a:lnTo>
                    <a:pt x="1057578" y="798842"/>
                  </a:lnTo>
                  <a:lnTo>
                    <a:pt x="1061297" y="799781"/>
                  </a:lnTo>
                  <a:lnTo>
                    <a:pt x="1064205" y="799988"/>
                  </a:lnTo>
                  <a:lnTo>
                    <a:pt x="1067039" y="799688"/>
                  </a:lnTo>
                  <a:lnTo>
                    <a:pt x="1069796" y="798879"/>
                  </a:lnTo>
                  <a:lnTo>
                    <a:pt x="1072698" y="797349"/>
                  </a:lnTo>
                  <a:lnTo>
                    <a:pt x="1078897" y="796561"/>
                  </a:lnTo>
                  <a:lnTo>
                    <a:pt x="1079928" y="796158"/>
                  </a:lnTo>
                  <a:lnTo>
                    <a:pt x="1079801" y="795321"/>
                  </a:lnTo>
                  <a:lnTo>
                    <a:pt x="1078516" y="794047"/>
                  </a:lnTo>
                  <a:lnTo>
                    <a:pt x="1074999" y="791630"/>
                  </a:lnTo>
                  <a:lnTo>
                    <a:pt x="1072539" y="789268"/>
                  </a:lnTo>
                  <a:lnTo>
                    <a:pt x="1072066" y="787767"/>
                  </a:lnTo>
                  <a:lnTo>
                    <a:pt x="1072120" y="785946"/>
                  </a:lnTo>
                  <a:lnTo>
                    <a:pt x="1072886" y="784893"/>
                  </a:lnTo>
                  <a:lnTo>
                    <a:pt x="1074364" y="784612"/>
                  </a:lnTo>
                  <a:lnTo>
                    <a:pt x="1076690" y="785743"/>
                  </a:lnTo>
                  <a:lnTo>
                    <a:pt x="1079860" y="788279"/>
                  </a:lnTo>
                  <a:lnTo>
                    <a:pt x="1088792" y="797785"/>
                  </a:lnTo>
                  <a:lnTo>
                    <a:pt x="1090946" y="799132"/>
                  </a:lnTo>
                  <a:lnTo>
                    <a:pt x="1092134" y="800337"/>
                  </a:lnTo>
                  <a:lnTo>
                    <a:pt x="1100333" y="803789"/>
                  </a:lnTo>
                  <a:lnTo>
                    <a:pt x="1104199" y="804396"/>
                  </a:lnTo>
                  <a:lnTo>
                    <a:pt x="1108781" y="802265"/>
                  </a:lnTo>
                  <a:lnTo>
                    <a:pt x="1110805" y="800938"/>
                  </a:lnTo>
                  <a:lnTo>
                    <a:pt x="1111794" y="799660"/>
                  </a:lnTo>
                  <a:lnTo>
                    <a:pt x="1111749" y="798429"/>
                  </a:lnTo>
                  <a:lnTo>
                    <a:pt x="1112189" y="796633"/>
                  </a:lnTo>
                  <a:lnTo>
                    <a:pt x="1111727" y="795518"/>
                  </a:lnTo>
                  <a:lnTo>
                    <a:pt x="1110497" y="794078"/>
                  </a:lnTo>
                  <a:lnTo>
                    <a:pt x="1107212" y="792067"/>
                  </a:lnTo>
                  <a:lnTo>
                    <a:pt x="1101874" y="789484"/>
                  </a:lnTo>
                  <a:lnTo>
                    <a:pt x="1096993" y="788725"/>
                  </a:lnTo>
                  <a:lnTo>
                    <a:pt x="1092576" y="789796"/>
                  </a:lnTo>
                  <a:lnTo>
                    <a:pt x="1087577" y="791995"/>
                  </a:lnTo>
                  <a:lnTo>
                    <a:pt x="1085496" y="791126"/>
                  </a:lnTo>
                  <a:lnTo>
                    <a:pt x="1079263" y="784955"/>
                  </a:lnTo>
                  <a:lnTo>
                    <a:pt x="1077693" y="782643"/>
                  </a:lnTo>
                  <a:lnTo>
                    <a:pt x="1077694" y="782005"/>
                  </a:lnTo>
                  <a:lnTo>
                    <a:pt x="1080589" y="782745"/>
                  </a:lnTo>
                  <a:lnTo>
                    <a:pt x="1080722" y="781997"/>
                  </a:lnTo>
                  <a:lnTo>
                    <a:pt x="1078989" y="779013"/>
                  </a:lnTo>
                  <a:lnTo>
                    <a:pt x="1077921" y="778013"/>
                  </a:lnTo>
                  <a:lnTo>
                    <a:pt x="1074327" y="773303"/>
                  </a:lnTo>
                  <a:lnTo>
                    <a:pt x="1073884" y="771885"/>
                  </a:lnTo>
                  <a:lnTo>
                    <a:pt x="1076122" y="771562"/>
                  </a:lnTo>
                  <a:lnTo>
                    <a:pt x="1077137" y="771012"/>
                  </a:lnTo>
                  <a:lnTo>
                    <a:pt x="1078497" y="771068"/>
                  </a:lnTo>
                  <a:lnTo>
                    <a:pt x="1084837" y="773905"/>
                  </a:lnTo>
                  <a:lnTo>
                    <a:pt x="1088082" y="772638"/>
                  </a:lnTo>
                  <a:lnTo>
                    <a:pt x="1095596" y="770827"/>
                  </a:lnTo>
                  <a:lnTo>
                    <a:pt x="1092634" y="768108"/>
                  </a:lnTo>
                  <a:lnTo>
                    <a:pt x="1091928" y="765428"/>
                  </a:lnTo>
                  <a:lnTo>
                    <a:pt x="1092278" y="764847"/>
                  </a:lnTo>
                  <a:lnTo>
                    <a:pt x="1094725" y="764447"/>
                  </a:lnTo>
                  <a:lnTo>
                    <a:pt x="1099519" y="766681"/>
                  </a:lnTo>
                  <a:lnTo>
                    <a:pt x="1101838" y="766990"/>
                  </a:lnTo>
                  <a:lnTo>
                    <a:pt x="1103536" y="766102"/>
                  </a:lnTo>
                  <a:lnTo>
                    <a:pt x="1105329" y="766041"/>
                  </a:lnTo>
                  <a:lnTo>
                    <a:pt x="1107220" y="766806"/>
                  </a:lnTo>
                  <a:lnTo>
                    <a:pt x="1108992" y="767958"/>
                  </a:lnTo>
                  <a:lnTo>
                    <a:pt x="1112286" y="771250"/>
                  </a:lnTo>
                  <a:lnTo>
                    <a:pt x="1113914" y="773228"/>
                  </a:lnTo>
                  <a:lnTo>
                    <a:pt x="1115746" y="776204"/>
                  </a:lnTo>
                  <a:lnTo>
                    <a:pt x="1116325" y="776622"/>
                  </a:lnTo>
                  <a:lnTo>
                    <a:pt x="1125163" y="776846"/>
                  </a:lnTo>
                  <a:lnTo>
                    <a:pt x="1130170" y="774204"/>
                  </a:lnTo>
                  <a:lnTo>
                    <a:pt x="1130061" y="775103"/>
                  </a:lnTo>
                  <a:lnTo>
                    <a:pt x="1128915" y="777173"/>
                  </a:lnTo>
                  <a:lnTo>
                    <a:pt x="1122704" y="785106"/>
                  </a:lnTo>
                  <a:lnTo>
                    <a:pt x="1122782" y="786085"/>
                  </a:lnTo>
                  <a:lnTo>
                    <a:pt x="1126075" y="785663"/>
                  </a:lnTo>
                  <a:lnTo>
                    <a:pt x="1127619" y="785024"/>
                  </a:lnTo>
                  <a:lnTo>
                    <a:pt x="1128573" y="784071"/>
                  </a:lnTo>
                  <a:lnTo>
                    <a:pt x="1129397" y="781851"/>
                  </a:lnTo>
                  <a:lnTo>
                    <a:pt x="1129950" y="781194"/>
                  </a:lnTo>
                  <a:lnTo>
                    <a:pt x="1139174" y="777448"/>
                  </a:lnTo>
                  <a:lnTo>
                    <a:pt x="1141844" y="776897"/>
                  </a:lnTo>
                  <a:lnTo>
                    <a:pt x="1140178" y="780892"/>
                  </a:lnTo>
                  <a:lnTo>
                    <a:pt x="1136747" y="795094"/>
                  </a:lnTo>
                  <a:lnTo>
                    <a:pt x="1136050" y="800033"/>
                  </a:lnTo>
                  <a:lnTo>
                    <a:pt x="1135297" y="801705"/>
                  </a:lnTo>
                  <a:lnTo>
                    <a:pt x="1131674" y="807124"/>
                  </a:lnTo>
                  <a:lnTo>
                    <a:pt x="1131731" y="809028"/>
                  </a:lnTo>
                  <a:lnTo>
                    <a:pt x="1135694" y="813573"/>
                  </a:lnTo>
                  <a:lnTo>
                    <a:pt x="1136399" y="814810"/>
                  </a:lnTo>
                  <a:lnTo>
                    <a:pt x="1136800" y="818534"/>
                  </a:lnTo>
                  <a:lnTo>
                    <a:pt x="1137504" y="819270"/>
                  </a:lnTo>
                  <a:lnTo>
                    <a:pt x="1140772" y="819311"/>
                  </a:lnTo>
                  <a:lnTo>
                    <a:pt x="1144157" y="818125"/>
                  </a:lnTo>
                  <a:lnTo>
                    <a:pt x="1148193" y="817338"/>
                  </a:lnTo>
                  <a:lnTo>
                    <a:pt x="1148821" y="818115"/>
                  </a:lnTo>
                  <a:lnTo>
                    <a:pt x="1146605" y="822619"/>
                  </a:lnTo>
                  <a:lnTo>
                    <a:pt x="1146728" y="823013"/>
                  </a:lnTo>
                  <a:lnTo>
                    <a:pt x="1150564" y="821857"/>
                  </a:lnTo>
                  <a:lnTo>
                    <a:pt x="1152323" y="821698"/>
                  </a:lnTo>
                  <a:lnTo>
                    <a:pt x="1153042" y="821959"/>
                  </a:lnTo>
                  <a:lnTo>
                    <a:pt x="1155902" y="824259"/>
                  </a:lnTo>
                  <a:lnTo>
                    <a:pt x="1156188" y="825972"/>
                  </a:lnTo>
                  <a:lnTo>
                    <a:pt x="1156127" y="828516"/>
                  </a:lnTo>
                  <a:lnTo>
                    <a:pt x="1155826" y="830350"/>
                  </a:lnTo>
                  <a:lnTo>
                    <a:pt x="1154860" y="831366"/>
                  </a:lnTo>
                  <a:lnTo>
                    <a:pt x="1153712" y="831775"/>
                  </a:lnTo>
                  <a:lnTo>
                    <a:pt x="1152264" y="832079"/>
                  </a:lnTo>
                  <a:lnTo>
                    <a:pt x="1150964" y="831954"/>
                  </a:lnTo>
                  <a:lnTo>
                    <a:pt x="1146957" y="832338"/>
                  </a:lnTo>
                  <a:lnTo>
                    <a:pt x="1144595" y="831848"/>
                  </a:lnTo>
                  <a:lnTo>
                    <a:pt x="1142256" y="830450"/>
                  </a:lnTo>
                  <a:lnTo>
                    <a:pt x="1140596" y="830114"/>
                  </a:lnTo>
                  <a:lnTo>
                    <a:pt x="1138671" y="831191"/>
                  </a:lnTo>
                  <a:lnTo>
                    <a:pt x="1135625" y="831014"/>
                  </a:lnTo>
                  <a:lnTo>
                    <a:pt x="1132205" y="827921"/>
                  </a:lnTo>
                  <a:lnTo>
                    <a:pt x="1130841" y="828213"/>
                  </a:lnTo>
                  <a:lnTo>
                    <a:pt x="1130377" y="828703"/>
                  </a:lnTo>
                  <a:lnTo>
                    <a:pt x="1130434" y="829370"/>
                  </a:lnTo>
                  <a:lnTo>
                    <a:pt x="1131975" y="831368"/>
                  </a:lnTo>
                  <a:lnTo>
                    <a:pt x="1144000" y="841940"/>
                  </a:lnTo>
                  <a:lnTo>
                    <a:pt x="1145825" y="844116"/>
                  </a:lnTo>
                  <a:lnTo>
                    <a:pt x="1146229" y="847241"/>
                  </a:lnTo>
                  <a:lnTo>
                    <a:pt x="1146478" y="847231"/>
                  </a:lnTo>
                  <a:lnTo>
                    <a:pt x="1147603" y="844105"/>
                  </a:lnTo>
                  <a:lnTo>
                    <a:pt x="1146869" y="842590"/>
                  </a:lnTo>
                  <a:lnTo>
                    <a:pt x="1140682" y="836444"/>
                  </a:lnTo>
                  <a:lnTo>
                    <a:pt x="1139940" y="834197"/>
                  </a:lnTo>
                  <a:lnTo>
                    <a:pt x="1140156" y="833585"/>
                  </a:lnTo>
                  <a:lnTo>
                    <a:pt x="1141791" y="832955"/>
                  </a:lnTo>
                  <a:lnTo>
                    <a:pt x="1150598" y="834491"/>
                  </a:lnTo>
                  <a:lnTo>
                    <a:pt x="1154013" y="834156"/>
                  </a:lnTo>
                  <a:lnTo>
                    <a:pt x="1156313" y="833073"/>
                  </a:lnTo>
                  <a:lnTo>
                    <a:pt x="1157468" y="831740"/>
                  </a:lnTo>
                  <a:lnTo>
                    <a:pt x="1158306" y="824390"/>
                  </a:lnTo>
                  <a:lnTo>
                    <a:pt x="1159886" y="819668"/>
                  </a:lnTo>
                  <a:lnTo>
                    <a:pt x="1158952" y="815436"/>
                  </a:lnTo>
                  <a:lnTo>
                    <a:pt x="1156570" y="808680"/>
                  </a:lnTo>
                  <a:lnTo>
                    <a:pt x="1154698" y="804690"/>
                  </a:lnTo>
                  <a:lnTo>
                    <a:pt x="1150379" y="800637"/>
                  </a:lnTo>
                  <a:lnTo>
                    <a:pt x="1149954" y="799182"/>
                  </a:lnTo>
                  <a:lnTo>
                    <a:pt x="1154766" y="786843"/>
                  </a:lnTo>
                  <a:lnTo>
                    <a:pt x="1155632" y="785802"/>
                  </a:lnTo>
                  <a:lnTo>
                    <a:pt x="1156709" y="785354"/>
                  </a:lnTo>
                  <a:lnTo>
                    <a:pt x="1160495" y="785173"/>
                  </a:lnTo>
                  <a:lnTo>
                    <a:pt x="1163255" y="784144"/>
                  </a:lnTo>
                  <a:lnTo>
                    <a:pt x="1167583" y="785583"/>
                  </a:lnTo>
                  <a:lnTo>
                    <a:pt x="1169971" y="785960"/>
                  </a:lnTo>
                  <a:lnTo>
                    <a:pt x="1172928" y="784684"/>
                  </a:lnTo>
                  <a:lnTo>
                    <a:pt x="1179498" y="779479"/>
                  </a:lnTo>
                  <a:lnTo>
                    <a:pt x="1182071" y="777865"/>
                  </a:lnTo>
                  <a:lnTo>
                    <a:pt x="1185344" y="774808"/>
                  </a:lnTo>
                  <a:lnTo>
                    <a:pt x="1189316" y="770309"/>
                  </a:lnTo>
                  <a:lnTo>
                    <a:pt x="1193637" y="767040"/>
                  </a:lnTo>
                  <a:lnTo>
                    <a:pt x="1200635" y="763992"/>
                  </a:lnTo>
                  <a:lnTo>
                    <a:pt x="1204912" y="761535"/>
                  </a:lnTo>
                  <a:lnTo>
                    <a:pt x="1205777" y="760652"/>
                  </a:lnTo>
                  <a:lnTo>
                    <a:pt x="1201799" y="760441"/>
                  </a:lnTo>
                  <a:lnTo>
                    <a:pt x="1200832" y="760026"/>
                  </a:lnTo>
                  <a:lnTo>
                    <a:pt x="1200015" y="757693"/>
                  </a:lnTo>
                  <a:lnTo>
                    <a:pt x="1200429" y="753372"/>
                  </a:lnTo>
                  <a:lnTo>
                    <a:pt x="1200354" y="750963"/>
                  </a:lnTo>
                  <a:lnTo>
                    <a:pt x="1199882" y="748788"/>
                  </a:lnTo>
                  <a:lnTo>
                    <a:pt x="1199010" y="746846"/>
                  </a:lnTo>
                  <a:lnTo>
                    <a:pt x="1197744" y="745136"/>
                  </a:lnTo>
                  <a:lnTo>
                    <a:pt x="1196588" y="744110"/>
                  </a:lnTo>
                  <a:lnTo>
                    <a:pt x="1195546" y="743769"/>
                  </a:lnTo>
                  <a:lnTo>
                    <a:pt x="1194828" y="743926"/>
                  </a:lnTo>
                  <a:lnTo>
                    <a:pt x="1194438" y="744577"/>
                  </a:lnTo>
                  <a:lnTo>
                    <a:pt x="1193374" y="748708"/>
                  </a:lnTo>
                  <a:lnTo>
                    <a:pt x="1192017" y="751741"/>
                  </a:lnTo>
                  <a:lnTo>
                    <a:pt x="1190159" y="753327"/>
                  </a:lnTo>
                  <a:lnTo>
                    <a:pt x="1186303" y="754398"/>
                  </a:lnTo>
                  <a:lnTo>
                    <a:pt x="1179675" y="755184"/>
                  </a:lnTo>
                  <a:lnTo>
                    <a:pt x="1176926" y="753735"/>
                  </a:lnTo>
                  <a:lnTo>
                    <a:pt x="1176579" y="752510"/>
                  </a:lnTo>
                  <a:lnTo>
                    <a:pt x="1177539" y="747706"/>
                  </a:lnTo>
                  <a:lnTo>
                    <a:pt x="1179743" y="745643"/>
                  </a:lnTo>
                  <a:lnTo>
                    <a:pt x="1185805" y="741572"/>
                  </a:lnTo>
                  <a:lnTo>
                    <a:pt x="1189683" y="738309"/>
                  </a:lnTo>
                  <a:lnTo>
                    <a:pt x="1189746" y="737741"/>
                  </a:lnTo>
                  <a:lnTo>
                    <a:pt x="1186180" y="737717"/>
                  </a:lnTo>
                  <a:lnTo>
                    <a:pt x="1185329" y="737045"/>
                  </a:lnTo>
                  <a:lnTo>
                    <a:pt x="1184579" y="733024"/>
                  </a:lnTo>
                  <a:lnTo>
                    <a:pt x="1184786" y="731522"/>
                  </a:lnTo>
                  <a:lnTo>
                    <a:pt x="1185345" y="729800"/>
                  </a:lnTo>
                  <a:lnTo>
                    <a:pt x="1187839" y="728549"/>
                  </a:lnTo>
                  <a:lnTo>
                    <a:pt x="1195495" y="727000"/>
                  </a:lnTo>
                  <a:lnTo>
                    <a:pt x="1201453" y="725180"/>
                  </a:lnTo>
                  <a:lnTo>
                    <a:pt x="1201626" y="725814"/>
                  </a:lnTo>
                  <a:lnTo>
                    <a:pt x="1196850" y="731269"/>
                  </a:lnTo>
                  <a:lnTo>
                    <a:pt x="1196357" y="732531"/>
                  </a:lnTo>
                  <a:lnTo>
                    <a:pt x="1198180" y="733715"/>
                  </a:lnTo>
                  <a:lnTo>
                    <a:pt x="1202771" y="730556"/>
                  </a:lnTo>
                  <a:lnTo>
                    <a:pt x="1205735" y="727948"/>
                  </a:lnTo>
                  <a:lnTo>
                    <a:pt x="1206232" y="727058"/>
                  </a:lnTo>
                  <a:lnTo>
                    <a:pt x="1203542" y="726732"/>
                  </a:lnTo>
                  <a:lnTo>
                    <a:pt x="1203395" y="725652"/>
                  </a:lnTo>
                  <a:lnTo>
                    <a:pt x="1203914" y="723670"/>
                  </a:lnTo>
                  <a:lnTo>
                    <a:pt x="1203664" y="722314"/>
                  </a:lnTo>
                  <a:lnTo>
                    <a:pt x="1200683" y="720602"/>
                  </a:lnTo>
                  <a:lnTo>
                    <a:pt x="1197017" y="721554"/>
                  </a:lnTo>
                  <a:lnTo>
                    <a:pt x="1193957" y="723357"/>
                  </a:lnTo>
                  <a:lnTo>
                    <a:pt x="1191417" y="723847"/>
                  </a:lnTo>
                  <a:lnTo>
                    <a:pt x="1187666" y="723882"/>
                  </a:lnTo>
                  <a:lnTo>
                    <a:pt x="1184938" y="723471"/>
                  </a:lnTo>
                  <a:lnTo>
                    <a:pt x="1183230" y="722612"/>
                  </a:lnTo>
                  <a:lnTo>
                    <a:pt x="1181174" y="720693"/>
                  </a:lnTo>
                  <a:lnTo>
                    <a:pt x="1178773" y="717709"/>
                  </a:lnTo>
                  <a:lnTo>
                    <a:pt x="1175732" y="714731"/>
                  </a:lnTo>
                  <a:lnTo>
                    <a:pt x="1174656" y="714405"/>
                  </a:lnTo>
                  <a:lnTo>
                    <a:pt x="1173732" y="714741"/>
                  </a:lnTo>
                  <a:lnTo>
                    <a:pt x="1171791" y="717619"/>
                  </a:lnTo>
                  <a:lnTo>
                    <a:pt x="1170948" y="717963"/>
                  </a:lnTo>
                  <a:lnTo>
                    <a:pt x="1159041" y="713933"/>
                  </a:lnTo>
                  <a:lnTo>
                    <a:pt x="1153991" y="711668"/>
                  </a:lnTo>
                  <a:lnTo>
                    <a:pt x="1151547" y="709950"/>
                  </a:lnTo>
                  <a:lnTo>
                    <a:pt x="1148510" y="708935"/>
                  </a:lnTo>
                  <a:lnTo>
                    <a:pt x="1144877" y="708625"/>
                  </a:lnTo>
                  <a:lnTo>
                    <a:pt x="1141979" y="707826"/>
                  </a:lnTo>
                  <a:lnTo>
                    <a:pt x="1139819" y="706544"/>
                  </a:lnTo>
                  <a:lnTo>
                    <a:pt x="1138071" y="704704"/>
                  </a:lnTo>
                  <a:lnTo>
                    <a:pt x="1136735" y="702302"/>
                  </a:lnTo>
                  <a:lnTo>
                    <a:pt x="1134261" y="699273"/>
                  </a:lnTo>
                  <a:lnTo>
                    <a:pt x="1128606" y="693231"/>
                  </a:lnTo>
                  <a:lnTo>
                    <a:pt x="1127110" y="689345"/>
                  </a:lnTo>
                  <a:lnTo>
                    <a:pt x="1126902" y="687854"/>
                  </a:lnTo>
                  <a:lnTo>
                    <a:pt x="1127257" y="684013"/>
                  </a:lnTo>
                  <a:lnTo>
                    <a:pt x="1132557" y="677477"/>
                  </a:lnTo>
                  <a:lnTo>
                    <a:pt x="1133543" y="675590"/>
                  </a:lnTo>
                  <a:lnTo>
                    <a:pt x="1135350" y="674199"/>
                  </a:lnTo>
                  <a:lnTo>
                    <a:pt x="1137978" y="673303"/>
                  </a:lnTo>
                  <a:lnTo>
                    <a:pt x="1139870" y="673035"/>
                  </a:lnTo>
                  <a:lnTo>
                    <a:pt x="1144168" y="673865"/>
                  </a:lnTo>
                  <a:lnTo>
                    <a:pt x="1141594" y="671836"/>
                  </a:lnTo>
                  <a:lnTo>
                    <a:pt x="1141391" y="670751"/>
                  </a:lnTo>
                  <a:lnTo>
                    <a:pt x="1143973" y="667190"/>
                  </a:lnTo>
                  <a:lnTo>
                    <a:pt x="1143464" y="667031"/>
                  </a:lnTo>
                  <a:lnTo>
                    <a:pt x="1136364" y="669766"/>
                  </a:lnTo>
                  <a:lnTo>
                    <a:pt x="1134549" y="669581"/>
                  </a:lnTo>
                  <a:lnTo>
                    <a:pt x="1131991" y="667909"/>
                  </a:lnTo>
                  <a:lnTo>
                    <a:pt x="1127172" y="661919"/>
                  </a:lnTo>
                  <a:lnTo>
                    <a:pt x="1127118" y="658179"/>
                  </a:lnTo>
                  <a:lnTo>
                    <a:pt x="1128633" y="652971"/>
                  </a:lnTo>
                  <a:lnTo>
                    <a:pt x="1129164" y="649848"/>
                  </a:lnTo>
                  <a:lnTo>
                    <a:pt x="1127785" y="647188"/>
                  </a:lnTo>
                  <a:lnTo>
                    <a:pt x="1128300" y="646439"/>
                  </a:lnTo>
                  <a:lnTo>
                    <a:pt x="1129795" y="645694"/>
                  </a:lnTo>
                  <a:lnTo>
                    <a:pt x="1130423" y="644892"/>
                  </a:lnTo>
                  <a:lnTo>
                    <a:pt x="1129768" y="641942"/>
                  </a:lnTo>
                  <a:lnTo>
                    <a:pt x="1130804" y="640371"/>
                  </a:lnTo>
                  <a:lnTo>
                    <a:pt x="1134210" y="637319"/>
                  </a:lnTo>
                  <a:lnTo>
                    <a:pt x="1137551" y="634645"/>
                  </a:lnTo>
                  <a:lnTo>
                    <a:pt x="1139518" y="633829"/>
                  </a:lnTo>
                  <a:lnTo>
                    <a:pt x="1141233" y="633980"/>
                  </a:lnTo>
                  <a:lnTo>
                    <a:pt x="1143016" y="634801"/>
                  </a:lnTo>
                  <a:lnTo>
                    <a:pt x="1144872" y="636294"/>
                  </a:lnTo>
                  <a:lnTo>
                    <a:pt x="1148055" y="637830"/>
                  </a:lnTo>
                  <a:lnTo>
                    <a:pt x="1150408" y="638267"/>
                  </a:lnTo>
                  <a:lnTo>
                    <a:pt x="1152140" y="637428"/>
                  </a:lnTo>
                  <a:lnTo>
                    <a:pt x="1155100" y="631669"/>
                  </a:lnTo>
                  <a:lnTo>
                    <a:pt x="1156147" y="630192"/>
                  </a:lnTo>
                  <a:lnTo>
                    <a:pt x="1155154" y="629550"/>
                  </a:lnTo>
                  <a:lnTo>
                    <a:pt x="1149352" y="629611"/>
                  </a:lnTo>
                  <a:lnTo>
                    <a:pt x="1146837" y="629134"/>
                  </a:lnTo>
                  <a:lnTo>
                    <a:pt x="1145392" y="628580"/>
                  </a:lnTo>
                  <a:lnTo>
                    <a:pt x="1144329" y="626375"/>
                  </a:lnTo>
                  <a:lnTo>
                    <a:pt x="1145205" y="625197"/>
                  </a:lnTo>
                  <a:lnTo>
                    <a:pt x="1150830" y="621106"/>
                  </a:lnTo>
                  <a:lnTo>
                    <a:pt x="1153473" y="616805"/>
                  </a:lnTo>
                  <a:lnTo>
                    <a:pt x="1161345" y="610821"/>
                  </a:lnTo>
                  <a:lnTo>
                    <a:pt x="1169314" y="608001"/>
                  </a:lnTo>
                  <a:lnTo>
                    <a:pt x="1173170" y="607076"/>
                  </a:lnTo>
                  <a:close/>
                  <a:moveTo>
                    <a:pt x="1119224" y="549260"/>
                  </a:moveTo>
                  <a:lnTo>
                    <a:pt x="1120979" y="550394"/>
                  </a:lnTo>
                  <a:lnTo>
                    <a:pt x="1121623" y="551762"/>
                  </a:lnTo>
                  <a:lnTo>
                    <a:pt x="1122214" y="552298"/>
                  </a:lnTo>
                  <a:lnTo>
                    <a:pt x="1124711" y="553480"/>
                  </a:lnTo>
                  <a:lnTo>
                    <a:pt x="1125915" y="554841"/>
                  </a:lnTo>
                  <a:lnTo>
                    <a:pt x="1125787" y="556405"/>
                  </a:lnTo>
                  <a:lnTo>
                    <a:pt x="1124979" y="558784"/>
                  </a:lnTo>
                  <a:lnTo>
                    <a:pt x="1124087" y="560306"/>
                  </a:lnTo>
                  <a:lnTo>
                    <a:pt x="1123108" y="560982"/>
                  </a:lnTo>
                  <a:lnTo>
                    <a:pt x="1121255" y="561482"/>
                  </a:lnTo>
                  <a:lnTo>
                    <a:pt x="1117160" y="561960"/>
                  </a:lnTo>
                  <a:lnTo>
                    <a:pt x="1113383" y="558566"/>
                  </a:lnTo>
                  <a:lnTo>
                    <a:pt x="1113259" y="555395"/>
                  </a:lnTo>
                  <a:lnTo>
                    <a:pt x="1113511" y="553645"/>
                  </a:lnTo>
                  <a:lnTo>
                    <a:pt x="1113979" y="552109"/>
                  </a:lnTo>
                  <a:lnTo>
                    <a:pt x="1115355" y="550793"/>
                  </a:lnTo>
                  <a:close/>
                  <a:moveTo>
                    <a:pt x="668493" y="540306"/>
                  </a:moveTo>
                  <a:lnTo>
                    <a:pt x="677022" y="542353"/>
                  </a:lnTo>
                  <a:lnTo>
                    <a:pt x="679442" y="543956"/>
                  </a:lnTo>
                  <a:lnTo>
                    <a:pt x="680519" y="545320"/>
                  </a:lnTo>
                  <a:lnTo>
                    <a:pt x="681455" y="547223"/>
                  </a:lnTo>
                  <a:lnTo>
                    <a:pt x="682255" y="549675"/>
                  </a:lnTo>
                  <a:lnTo>
                    <a:pt x="683365" y="554978"/>
                  </a:lnTo>
                  <a:lnTo>
                    <a:pt x="683506" y="557710"/>
                  </a:lnTo>
                  <a:lnTo>
                    <a:pt x="683314" y="560446"/>
                  </a:lnTo>
                  <a:lnTo>
                    <a:pt x="682780" y="562921"/>
                  </a:lnTo>
                  <a:lnTo>
                    <a:pt x="681908" y="565133"/>
                  </a:lnTo>
                  <a:lnTo>
                    <a:pt x="680170" y="567829"/>
                  </a:lnTo>
                  <a:lnTo>
                    <a:pt x="677568" y="571006"/>
                  </a:lnTo>
                  <a:lnTo>
                    <a:pt x="672053" y="576445"/>
                  </a:lnTo>
                  <a:lnTo>
                    <a:pt x="671452" y="578025"/>
                  </a:lnTo>
                  <a:lnTo>
                    <a:pt x="673061" y="578627"/>
                  </a:lnTo>
                  <a:lnTo>
                    <a:pt x="675994" y="578128"/>
                  </a:lnTo>
                  <a:lnTo>
                    <a:pt x="680253" y="576531"/>
                  </a:lnTo>
                  <a:lnTo>
                    <a:pt x="685746" y="575217"/>
                  </a:lnTo>
                  <a:lnTo>
                    <a:pt x="692475" y="574192"/>
                  </a:lnTo>
                  <a:lnTo>
                    <a:pt x="694257" y="575439"/>
                  </a:lnTo>
                  <a:lnTo>
                    <a:pt x="695375" y="575186"/>
                  </a:lnTo>
                  <a:lnTo>
                    <a:pt x="697353" y="573153"/>
                  </a:lnTo>
                  <a:lnTo>
                    <a:pt x="697706" y="571815"/>
                  </a:lnTo>
                  <a:lnTo>
                    <a:pt x="697458" y="570304"/>
                  </a:lnTo>
                  <a:lnTo>
                    <a:pt x="697572" y="567010"/>
                  </a:lnTo>
                  <a:lnTo>
                    <a:pt x="698626" y="565025"/>
                  </a:lnTo>
                  <a:lnTo>
                    <a:pt x="702619" y="560844"/>
                  </a:lnTo>
                  <a:lnTo>
                    <a:pt x="704758" y="559336"/>
                  </a:lnTo>
                  <a:lnTo>
                    <a:pt x="708169" y="558646"/>
                  </a:lnTo>
                  <a:lnTo>
                    <a:pt x="716279" y="559092"/>
                  </a:lnTo>
                  <a:lnTo>
                    <a:pt x="723883" y="561481"/>
                  </a:lnTo>
                  <a:lnTo>
                    <a:pt x="734169" y="563828"/>
                  </a:lnTo>
                  <a:lnTo>
                    <a:pt x="749197" y="569715"/>
                  </a:lnTo>
                  <a:lnTo>
                    <a:pt x="753906" y="572225"/>
                  </a:lnTo>
                  <a:lnTo>
                    <a:pt x="754396" y="574396"/>
                  </a:lnTo>
                  <a:lnTo>
                    <a:pt x="751730" y="579023"/>
                  </a:lnTo>
                  <a:lnTo>
                    <a:pt x="745256" y="585556"/>
                  </a:lnTo>
                  <a:lnTo>
                    <a:pt x="740054" y="587909"/>
                  </a:lnTo>
                  <a:lnTo>
                    <a:pt x="738048" y="589350"/>
                  </a:lnTo>
                  <a:lnTo>
                    <a:pt x="741434" y="590344"/>
                  </a:lnTo>
                  <a:lnTo>
                    <a:pt x="743628" y="592018"/>
                  </a:lnTo>
                  <a:lnTo>
                    <a:pt x="746963" y="589597"/>
                  </a:lnTo>
                  <a:lnTo>
                    <a:pt x="749402" y="586887"/>
                  </a:lnTo>
                  <a:lnTo>
                    <a:pt x="752855" y="584636"/>
                  </a:lnTo>
                  <a:lnTo>
                    <a:pt x="754032" y="584435"/>
                  </a:lnTo>
                  <a:lnTo>
                    <a:pt x="754320" y="584911"/>
                  </a:lnTo>
                  <a:lnTo>
                    <a:pt x="753718" y="586069"/>
                  </a:lnTo>
                  <a:lnTo>
                    <a:pt x="753462" y="587202"/>
                  </a:lnTo>
                  <a:lnTo>
                    <a:pt x="753551" y="588307"/>
                  </a:lnTo>
                  <a:lnTo>
                    <a:pt x="753948" y="588980"/>
                  </a:lnTo>
                  <a:lnTo>
                    <a:pt x="756065" y="589325"/>
                  </a:lnTo>
                  <a:lnTo>
                    <a:pt x="757198" y="588910"/>
                  </a:lnTo>
                  <a:lnTo>
                    <a:pt x="761786" y="585728"/>
                  </a:lnTo>
                  <a:lnTo>
                    <a:pt x="766284" y="580854"/>
                  </a:lnTo>
                  <a:lnTo>
                    <a:pt x="773105" y="577700"/>
                  </a:lnTo>
                  <a:lnTo>
                    <a:pt x="774963" y="576086"/>
                  </a:lnTo>
                  <a:lnTo>
                    <a:pt x="780901" y="574744"/>
                  </a:lnTo>
                  <a:lnTo>
                    <a:pt x="780828" y="573795"/>
                  </a:lnTo>
                  <a:lnTo>
                    <a:pt x="781102" y="570052"/>
                  </a:lnTo>
                  <a:lnTo>
                    <a:pt x="779025" y="568457"/>
                  </a:lnTo>
                  <a:lnTo>
                    <a:pt x="772064" y="565112"/>
                  </a:lnTo>
                  <a:lnTo>
                    <a:pt x="768620" y="561098"/>
                  </a:lnTo>
                  <a:lnTo>
                    <a:pt x="769345" y="558020"/>
                  </a:lnTo>
                  <a:lnTo>
                    <a:pt x="773189" y="558469"/>
                  </a:lnTo>
                  <a:lnTo>
                    <a:pt x="783702" y="558797"/>
                  </a:lnTo>
                  <a:lnTo>
                    <a:pt x="785888" y="559208"/>
                  </a:lnTo>
                  <a:lnTo>
                    <a:pt x="795993" y="564424"/>
                  </a:lnTo>
                  <a:lnTo>
                    <a:pt x="799563" y="567666"/>
                  </a:lnTo>
                  <a:lnTo>
                    <a:pt x="802403" y="569275"/>
                  </a:lnTo>
                  <a:lnTo>
                    <a:pt x="808367" y="571615"/>
                  </a:lnTo>
                  <a:lnTo>
                    <a:pt x="810368" y="573516"/>
                  </a:lnTo>
                  <a:lnTo>
                    <a:pt x="811778" y="574288"/>
                  </a:lnTo>
                  <a:lnTo>
                    <a:pt x="812266" y="575090"/>
                  </a:lnTo>
                  <a:lnTo>
                    <a:pt x="811829" y="575920"/>
                  </a:lnTo>
                  <a:lnTo>
                    <a:pt x="811599" y="577878"/>
                  </a:lnTo>
                  <a:lnTo>
                    <a:pt x="812706" y="578508"/>
                  </a:lnTo>
                  <a:lnTo>
                    <a:pt x="816584" y="579243"/>
                  </a:lnTo>
                  <a:lnTo>
                    <a:pt x="817671" y="580031"/>
                  </a:lnTo>
                  <a:lnTo>
                    <a:pt x="819108" y="582511"/>
                  </a:lnTo>
                  <a:lnTo>
                    <a:pt x="820898" y="586683"/>
                  </a:lnTo>
                  <a:lnTo>
                    <a:pt x="822454" y="591199"/>
                  </a:lnTo>
                  <a:lnTo>
                    <a:pt x="824908" y="599691"/>
                  </a:lnTo>
                  <a:lnTo>
                    <a:pt x="829806" y="610977"/>
                  </a:lnTo>
                  <a:lnTo>
                    <a:pt x="831480" y="618011"/>
                  </a:lnTo>
                  <a:lnTo>
                    <a:pt x="832042" y="619300"/>
                  </a:lnTo>
                  <a:lnTo>
                    <a:pt x="833146" y="620187"/>
                  </a:lnTo>
                  <a:lnTo>
                    <a:pt x="836287" y="621477"/>
                  </a:lnTo>
                  <a:lnTo>
                    <a:pt x="838708" y="623300"/>
                  </a:lnTo>
                  <a:lnTo>
                    <a:pt x="841561" y="623886"/>
                  </a:lnTo>
                  <a:lnTo>
                    <a:pt x="842255" y="623722"/>
                  </a:lnTo>
                  <a:lnTo>
                    <a:pt x="842965" y="622156"/>
                  </a:lnTo>
                  <a:lnTo>
                    <a:pt x="844745" y="619662"/>
                  </a:lnTo>
                  <a:lnTo>
                    <a:pt x="853374" y="614805"/>
                  </a:lnTo>
                  <a:lnTo>
                    <a:pt x="853822" y="614051"/>
                  </a:lnTo>
                  <a:lnTo>
                    <a:pt x="852803" y="612931"/>
                  </a:lnTo>
                  <a:lnTo>
                    <a:pt x="852490" y="612169"/>
                  </a:lnTo>
                  <a:lnTo>
                    <a:pt x="852615" y="611653"/>
                  </a:lnTo>
                  <a:lnTo>
                    <a:pt x="854412" y="611247"/>
                  </a:lnTo>
                  <a:lnTo>
                    <a:pt x="848413" y="605068"/>
                  </a:lnTo>
                  <a:lnTo>
                    <a:pt x="844526" y="599191"/>
                  </a:lnTo>
                  <a:lnTo>
                    <a:pt x="842037" y="591899"/>
                  </a:lnTo>
                  <a:lnTo>
                    <a:pt x="841657" y="589763"/>
                  </a:lnTo>
                  <a:lnTo>
                    <a:pt x="841285" y="585213"/>
                  </a:lnTo>
                  <a:lnTo>
                    <a:pt x="840476" y="584016"/>
                  </a:lnTo>
                  <a:lnTo>
                    <a:pt x="839101" y="582918"/>
                  </a:lnTo>
                  <a:lnTo>
                    <a:pt x="838526" y="581500"/>
                  </a:lnTo>
                  <a:lnTo>
                    <a:pt x="838750" y="579765"/>
                  </a:lnTo>
                  <a:lnTo>
                    <a:pt x="838479" y="578273"/>
                  </a:lnTo>
                  <a:lnTo>
                    <a:pt x="836887" y="575157"/>
                  </a:lnTo>
                  <a:lnTo>
                    <a:pt x="830774" y="553290"/>
                  </a:lnTo>
                  <a:lnTo>
                    <a:pt x="830794" y="551151"/>
                  </a:lnTo>
                  <a:lnTo>
                    <a:pt x="831638" y="549540"/>
                  </a:lnTo>
                  <a:lnTo>
                    <a:pt x="833815" y="548616"/>
                  </a:lnTo>
                  <a:lnTo>
                    <a:pt x="837324" y="548388"/>
                  </a:lnTo>
                  <a:lnTo>
                    <a:pt x="838433" y="547883"/>
                  </a:lnTo>
                  <a:lnTo>
                    <a:pt x="837143" y="547106"/>
                  </a:lnTo>
                  <a:lnTo>
                    <a:pt x="834850" y="544755"/>
                  </a:lnTo>
                  <a:lnTo>
                    <a:pt x="834548" y="543668"/>
                  </a:lnTo>
                  <a:lnTo>
                    <a:pt x="836078" y="541473"/>
                  </a:lnTo>
                  <a:lnTo>
                    <a:pt x="843914" y="542433"/>
                  </a:lnTo>
                  <a:lnTo>
                    <a:pt x="849587" y="544416"/>
                  </a:lnTo>
                  <a:lnTo>
                    <a:pt x="859294" y="549098"/>
                  </a:lnTo>
                  <a:lnTo>
                    <a:pt x="860285" y="548842"/>
                  </a:lnTo>
                  <a:lnTo>
                    <a:pt x="861346" y="546512"/>
                  </a:lnTo>
                  <a:lnTo>
                    <a:pt x="863419" y="545017"/>
                  </a:lnTo>
                  <a:lnTo>
                    <a:pt x="866523" y="545510"/>
                  </a:lnTo>
                  <a:lnTo>
                    <a:pt x="875302" y="548901"/>
                  </a:lnTo>
                  <a:lnTo>
                    <a:pt x="885457" y="554934"/>
                  </a:lnTo>
                  <a:lnTo>
                    <a:pt x="892277" y="557901"/>
                  </a:lnTo>
                  <a:lnTo>
                    <a:pt x="897058" y="561923"/>
                  </a:lnTo>
                  <a:lnTo>
                    <a:pt x="900309" y="565712"/>
                  </a:lnTo>
                  <a:lnTo>
                    <a:pt x="902358" y="568635"/>
                  </a:lnTo>
                  <a:lnTo>
                    <a:pt x="902446" y="569776"/>
                  </a:lnTo>
                  <a:lnTo>
                    <a:pt x="901978" y="570943"/>
                  </a:lnTo>
                  <a:lnTo>
                    <a:pt x="902460" y="572465"/>
                  </a:lnTo>
                  <a:lnTo>
                    <a:pt x="903894" y="574340"/>
                  </a:lnTo>
                  <a:lnTo>
                    <a:pt x="904689" y="576016"/>
                  </a:lnTo>
                  <a:lnTo>
                    <a:pt x="905339" y="579581"/>
                  </a:lnTo>
                  <a:lnTo>
                    <a:pt x="906622" y="584219"/>
                  </a:lnTo>
                  <a:lnTo>
                    <a:pt x="906948" y="586535"/>
                  </a:lnTo>
                  <a:lnTo>
                    <a:pt x="915969" y="607216"/>
                  </a:lnTo>
                  <a:lnTo>
                    <a:pt x="917694" y="610846"/>
                  </a:lnTo>
                  <a:lnTo>
                    <a:pt x="918793" y="612527"/>
                  </a:lnTo>
                  <a:lnTo>
                    <a:pt x="925098" y="620455"/>
                  </a:lnTo>
                  <a:lnTo>
                    <a:pt x="928455" y="626196"/>
                  </a:lnTo>
                  <a:lnTo>
                    <a:pt x="928779" y="630029"/>
                  </a:lnTo>
                  <a:lnTo>
                    <a:pt x="929230" y="631125"/>
                  </a:lnTo>
                  <a:lnTo>
                    <a:pt x="929377" y="632889"/>
                  </a:lnTo>
                  <a:lnTo>
                    <a:pt x="929218" y="635313"/>
                  </a:lnTo>
                  <a:lnTo>
                    <a:pt x="928481" y="637391"/>
                  </a:lnTo>
                  <a:lnTo>
                    <a:pt x="927165" y="639128"/>
                  </a:lnTo>
                  <a:lnTo>
                    <a:pt x="925891" y="641569"/>
                  </a:lnTo>
                  <a:lnTo>
                    <a:pt x="923963" y="646939"/>
                  </a:lnTo>
                  <a:lnTo>
                    <a:pt x="923798" y="648255"/>
                  </a:lnTo>
                  <a:lnTo>
                    <a:pt x="925187" y="650101"/>
                  </a:lnTo>
                  <a:lnTo>
                    <a:pt x="934009" y="656447"/>
                  </a:lnTo>
                  <a:lnTo>
                    <a:pt x="939420" y="664042"/>
                  </a:lnTo>
                  <a:lnTo>
                    <a:pt x="941956" y="665372"/>
                  </a:lnTo>
                  <a:lnTo>
                    <a:pt x="948774" y="670106"/>
                  </a:lnTo>
                  <a:lnTo>
                    <a:pt x="956125" y="672788"/>
                  </a:lnTo>
                  <a:lnTo>
                    <a:pt x="958597" y="673942"/>
                  </a:lnTo>
                  <a:lnTo>
                    <a:pt x="960934" y="675641"/>
                  </a:lnTo>
                  <a:lnTo>
                    <a:pt x="961640" y="675705"/>
                  </a:lnTo>
                  <a:lnTo>
                    <a:pt x="963059" y="675385"/>
                  </a:lnTo>
                  <a:lnTo>
                    <a:pt x="963465" y="674922"/>
                  </a:lnTo>
                  <a:lnTo>
                    <a:pt x="963566" y="674233"/>
                  </a:lnTo>
                  <a:lnTo>
                    <a:pt x="961496" y="670647"/>
                  </a:lnTo>
                  <a:lnTo>
                    <a:pt x="961351" y="669240"/>
                  </a:lnTo>
                  <a:lnTo>
                    <a:pt x="962340" y="668993"/>
                  </a:lnTo>
                  <a:lnTo>
                    <a:pt x="969924" y="675108"/>
                  </a:lnTo>
                  <a:lnTo>
                    <a:pt x="974014" y="677538"/>
                  </a:lnTo>
                  <a:lnTo>
                    <a:pt x="979603" y="680082"/>
                  </a:lnTo>
                  <a:lnTo>
                    <a:pt x="989210" y="685936"/>
                  </a:lnTo>
                  <a:lnTo>
                    <a:pt x="990545" y="686416"/>
                  </a:lnTo>
                  <a:lnTo>
                    <a:pt x="995743" y="685877"/>
                  </a:lnTo>
                  <a:lnTo>
                    <a:pt x="997161" y="686246"/>
                  </a:lnTo>
                  <a:lnTo>
                    <a:pt x="998052" y="686825"/>
                  </a:lnTo>
                  <a:lnTo>
                    <a:pt x="998416" y="687612"/>
                  </a:lnTo>
                  <a:lnTo>
                    <a:pt x="998627" y="691069"/>
                  </a:lnTo>
                  <a:lnTo>
                    <a:pt x="1000049" y="692771"/>
                  </a:lnTo>
                  <a:lnTo>
                    <a:pt x="1008246" y="692045"/>
                  </a:lnTo>
                  <a:lnTo>
                    <a:pt x="1010543" y="692197"/>
                  </a:lnTo>
                  <a:lnTo>
                    <a:pt x="1012008" y="692740"/>
                  </a:lnTo>
                  <a:lnTo>
                    <a:pt x="1013227" y="693872"/>
                  </a:lnTo>
                  <a:lnTo>
                    <a:pt x="1014985" y="697563"/>
                  </a:lnTo>
                  <a:lnTo>
                    <a:pt x="1016615" y="704825"/>
                  </a:lnTo>
                  <a:lnTo>
                    <a:pt x="1016701" y="707422"/>
                  </a:lnTo>
                  <a:lnTo>
                    <a:pt x="1015955" y="711772"/>
                  </a:lnTo>
                  <a:lnTo>
                    <a:pt x="1014757" y="713368"/>
                  </a:lnTo>
                  <a:lnTo>
                    <a:pt x="1013202" y="713873"/>
                  </a:lnTo>
                  <a:lnTo>
                    <a:pt x="1008827" y="713380"/>
                  </a:lnTo>
                  <a:lnTo>
                    <a:pt x="1005757" y="712000"/>
                  </a:lnTo>
                  <a:lnTo>
                    <a:pt x="1004165" y="710241"/>
                  </a:lnTo>
                  <a:lnTo>
                    <a:pt x="1002728" y="706420"/>
                  </a:lnTo>
                  <a:lnTo>
                    <a:pt x="1002041" y="705684"/>
                  </a:lnTo>
                  <a:lnTo>
                    <a:pt x="1001418" y="706453"/>
                  </a:lnTo>
                  <a:lnTo>
                    <a:pt x="999981" y="709953"/>
                  </a:lnTo>
                  <a:lnTo>
                    <a:pt x="999032" y="711502"/>
                  </a:lnTo>
                  <a:lnTo>
                    <a:pt x="997888" y="712529"/>
                  </a:lnTo>
                  <a:lnTo>
                    <a:pt x="995709" y="712275"/>
                  </a:lnTo>
                  <a:lnTo>
                    <a:pt x="992497" y="710746"/>
                  </a:lnTo>
                  <a:lnTo>
                    <a:pt x="986470" y="706840"/>
                  </a:lnTo>
                  <a:lnTo>
                    <a:pt x="984336" y="705876"/>
                  </a:lnTo>
                  <a:lnTo>
                    <a:pt x="983011" y="706043"/>
                  </a:lnTo>
                  <a:lnTo>
                    <a:pt x="980127" y="707365"/>
                  </a:lnTo>
                  <a:lnTo>
                    <a:pt x="975679" y="709839"/>
                  </a:lnTo>
                  <a:lnTo>
                    <a:pt x="973843" y="711655"/>
                  </a:lnTo>
                  <a:lnTo>
                    <a:pt x="974621" y="712814"/>
                  </a:lnTo>
                  <a:lnTo>
                    <a:pt x="975135" y="714273"/>
                  </a:lnTo>
                  <a:lnTo>
                    <a:pt x="975391" y="716029"/>
                  </a:lnTo>
                  <a:lnTo>
                    <a:pt x="975238" y="717321"/>
                  </a:lnTo>
                  <a:lnTo>
                    <a:pt x="974674" y="718152"/>
                  </a:lnTo>
                  <a:lnTo>
                    <a:pt x="973204" y="719144"/>
                  </a:lnTo>
                  <a:lnTo>
                    <a:pt x="970098" y="719313"/>
                  </a:lnTo>
                  <a:lnTo>
                    <a:pt x="965630" y="718554"/>
                  </a:lnTo>
                  <a:lnTo>
                    <a:pt x="962096" y="717204"/>
                  </a:lnTo>
                  <a:lnTo>
                    <a:pt x="955908" y="713619"/>
                  </a:lnTo>
                  <a:lnTo>
                    <a:pt x="954486" y="713123"/>
                  </a:lnTo>
                  <a:lnTo>
                    <a:pt x="952573" y="713919"/>
                  </a:lnTo>
                  <a:lnTo>
                    <a:pt x="951809" y="714963"/>
                  </a:lnTo>
                  <a:lnTo>
                    <a:pt x="952998" y="716451"/>
                  </a:lnTo>
                  <a:lnTo>
                    <a:pt x="956141" y="718383"/>
                  </a:lnTo>
                  <a:lnTo>
                    <a:pt x="959985" y="721580"/>
                  </a:lnTo>
                  <a:lnTo>
                    <a:pt x="961014" y="722204"/>
                  </a:lnTo>
                  <a:lnTo>
                    <a:pt x="962006" y="722135"/>
                  </a:lnTo>
                  <a:lnTo>
                    <a:pt x="962356" y="722723"/>
                  </a:lnTo>
                  <a:lnTo>
                    <a:pt x="962790" y="724440"/>
                  </a:lnTo>
                  <a:lnTo>
                    <a:pt x="962588" y="727393"/>
                  </a:lnTo>
                  <a:lnTo>
                    <a:pt x="960740" y="733275"/>
                  </a:lnTo>
                  <a:lnTo>
                    <a:pt x="960548" y="734675"/>
                  </a:lnTo>
                  <a:lnTo>
                    <a:pt x="961306" y="734344"/>
                  </a:lnTo>
                  <a:lnTo>
                    <a:pt x="966536" y="728568"/>
                  </a:lnTo>
                  <a:lnTo>
                    <a:pt x="969240" y="726944"/>
                  </a:lnTo>
                  <a:lnTo>
                    <a:pt x="975096" y="724396"/>
                  </a:lnTo>
                  <a:lnTo>
                    <a:pt x="977625" y="722520"/>
                  </a:lnTo>
                  <a:lnTo>
                    <a:pt x="985114" y="722010"/>
                  </a:lnTo>
                  <a:lnTo>
                    <a:pt x="987788" y="723034"/>
                  </a:lnTo>
                  <a:lnTo>
                    <a:pt x="989505" y="724817"/>
                  </a:lnTo>
                  <a:lnTo>
                    <a:pt x="989574" y="725625"/>
                  </a:lnTo>
                  <a:lnTo>
                    <a:pt x="987612" y="727711"/>
                  </a:lnTo>
                  <a:lnTo>
                    <a:pt x="987256" y="728756"/>
                  </a:lnTo>
                  <a:lnTo>
                    <a:pt x="987155" y="730075"/>
                  </a:lnTo>
                  <a:lnTo>
                    <a:pt x="987330" y="731258"/>
                  </a:lnTo>
                  <a:lnTo>
                    <a:pt x="987784" y="732306"/>
                  </a:lnTo>
                  <a:lnTo>
                    <a:pt x="989131" y="733272"/>
                  </a:lnTo>
                  <a:lnTo>
                    <a:pt x="991511" y="732850"/>
                  </a:lnTo>
                  <a:lnTo>
                    <a:pt x="992177" y="733098"/>
                  </a:lnTo>
                  <a:lnTo>
                    <a:pt x="993454" y="734118"/>
                  </a:lnTo>
                  <a:lnTo>
                    <a:pt x="994297" y="735699"/>
                  </a:lnTo>
                  <a:lnTo>
                    <a:pt x="994334" y="737899"/>
                  </a:lnTo>
                  <a:lnTo>
                    <a:pt x="992576" y="742719"/>
                  </a:lnTo>
                  <a:lnTo>
                    <a:pt x="989445" y="744294"/>
                  </a:lnTo>
                  <a:lnTo>
                    <a:pt x="979855" y="747209"/>
                  </a:lnTo>
                  <a:lnTo>
                    <a:pt x="976569" y="748715"/>
                  </a:lnTo>
                  <a:lnTo>
                    <a:pt x="970232" y="749774"/>
                  </a:lnTo>
                  <a:lnTo>
                    <a:pt x="967784" y="751180"/>
                  </a:lnTo>
                  <a:lnTo>
                    <a:pt x="966258" y="751607"/>
                  </a:lnTo>
                  <a:lnTo>
                    <a:pt x="959483" y="751382"/>
                  </a:lnTo>
                  <a:lnTo>
                    <a:pt x="951724" y="752274"/>
                  </a:lnTo>
                  <a:lnTo>
                    <a:pt x="942796" y="750528"/>
                  </a:lnTo>
                  <a:lnTo>
                    <a:pt x="936532" y="749749"/>
                  </a:lnTo>
                  <a:lnTo>
                    <a:pt x="929298" y="746973"/>
                  </a:lnTo>
                  <a:lnTo>
                    <a:pt x="926572" y="747673"/>
                  </a:lnTo>
                  <a:lnTo>
                    <a:pt x="923751" y="749459"/>
                  </a:lnTo>
                  <a:lnTo>
                    <a:pt x="910200" y="747318"/>
                  </a:lnTo>
                  <a:lnTo>
                    <a:pt x="908591" y="745766"/>
                  </a:lnTo>
                  <a:lnTo>
                    <a:pt x="909122" y="744756"/>
                  </a:lnTo>
                  <a:lnTo>
                    <a:pt x="912335" y="741451"/>
                  </a:lnTo>
                  <a:lnTo>
                    <a:pt x="912539" y="740758"/>
                  </a:lnTo>
                  <a:lnTo>
                    <a:pt x="912388" y="740172"/>
                  </a:lnTo>
                  <a:lnTo>
                    <a:pt x="906231" y="739604"/>
                  </a:lnTo>
                  <a:lnTo>
                    <a:pt x="899368" y="737843"/>
                  </a:lnTo>
                  <a:lnTo>
                    <a:pt x="892473" y="736969"/>
                  </a:lnTo>
                  <a:lnTo>
                    <a:pt x="887314" y="737217"/>
                  </a:lnTo>
                  <a:lnTo>
                    <a:pt x="883955" y="736574"/>
                  </a:lnTo>
                  <a:lnTo>
                    <a:pt x="880677" y="735123"/>
                  </a:lnTo>
                  <a:lnTo>
                    <a:pt x="878876" y="733794"/>
                  </a:lnTo>
                  <a:lnTo>
                    <a:pt x="878553" y="732594"/>
                  </a:lnTo>
                  <a:lnTo>
                    <a:pt x="878508" y="731281"/>
                  </a:lnTo>
                  <a:lnTo>
                    <a:pt x="878800" y="728643"/>
                  </a:lnTo>
                  <a:lnTo>
                    <a:pt x="878365" y="726789"/>
                  </a:lnTo>
                  <a:lnTo>
                    <a:pt x="876879" y="725324"/>
                  </a:lnTo>
                  <a:lnTo>
                    <a:pt x="873840" y="724011"/>
                  </a:lnTo>
                  <a:lnTo>
                    <a:pt x="870816" y="724167"/>
                  </a:lnTo>
                  <a:lnTo>
                    <a:pt x="868258" y="725621"/>
                  </a:lnTo>
                  <a:lnTo>
                    <a:pt x="865827" y="728300"/>
                  </a:lnTo>
                  <a:lnTo>
                    <a:pt x="861324" y="735738"/>
                  </a:lnTo>
                  <a:lnTo>
                    <a:pt x="859064" y="737008"/>
                  </a:lnTo>
                  <a:lnTo>
                    <a:pt x="853210" y="742376"/>
                  </a:lnTo>
                  <a:lnTo>
                    <a:pt x="851017" y="743689"/>
                  </a:lnTo>
                  <a:lnTo>
                    <a:pt x="840279" y="745811"/>
                  </a:lnTo>
                  <a:lnTo>
                    <a:pt x="827559" y="746680"/>
                  </a:lnTo>
                  <a:lnTo>
                    <a:pt x="822804" y="748337"/>
                  </a:lnTo>
                  <a:lnTo>
                    <a:pt x="818294" y="751438"/>
                  </a:lnTo>
                  <a:lnTo>
                    <a:pt x="812830" y="754430"/>
                  </a:lnTo>
                  <a:lnTo>
                    <a:pt x="799487" y="758102"/>
                  </a:lnTo>
                  <a:lnTo>
                    <a:pt x="787154" y="760150"/>
                  </a:lnTo>
                  <a:lnTo>
                    <a:pt x="774245" y="761044"/>
                  </a:lnTo>
                  <a:lnTo>
                    <a:pt x="764598" y="762436"/>
                  </a:lnTo>
                  <a:lnTo>
                    <a:pt x="761829" y="761741"/>
                  </a:lnTo>
                  <a:lnTo>
                    <a:pt x="757510" y="761999"/>
                  </a:lnTo>
                  <a:lnTo>
                    <a:pt x="752861" y="764038"/>
                  </a:lnTo>
                  <a:lnTo>
                    <a:pt x="747609" y="764434"/>
                  </a:lnTo>
                  <a:lnTo>
                    <a:pt x="727657" y="765175"/>
                  </a:lnTo>
                  <a:lnTo>
                    <a:pt x="718496" y="766537"/>
                  </a:lnTo>
                  <a:lnTo>
                    <a:pt x="713475" y="766896"/>
                  </a:lnTo>
                  <a:lnTo>
                    <a:pt x="709538" y="766709"/>
                  </a:lnTo>
                  <a:lnTo>
                    <a:pt x="706794" y="766146"/>
                  </a:lnTo>
                  <a:lnTo>
                    <a:pt x="704166" y="764331"/>
                  </a:lnTo>
                  <a:lnTo>
                    <a:pt x="701460" y="761539"/>
                  </a:lnTo>
                  <a:lnTo>
                    <a:pt x="695964" y="754087"/>
                  </a:lnTo>
                  <a:lnTo>
                    <a:pt x="694392" y="750950"/>
                  </a:lnTo>
                  <a:lnTo>
                    <a:pt x="695008" y="745567"/>
                  </a:lnTo>
                  <a:lnTo>
                    <a:pt x="694602" y="742443"/>
                  </a:lnTo>
                  <a:lnTo>
                    <a:pt x="692774" y="735685"/>
                  </a:lnTo>
                  <a:lnTo>
                    <a:pt x="692432" y="735103"/>
                  </a:lnTo>
                  <a:lnTo>
                    <a:pt x="682814" y="732590"/>
                  </a:lnTo>
                  <a:lnTo>
                    <a:pt x="676487" y="731794"/>
                  </a:lnTo>
                  <a:lnTo>
                    <a:pt x="666950" y="731633"/>
                  </a:lnTo>
                  <a:lnTo>
                    <a:pt x="655288" y="731990"/>
                  </a:lnTo>
                  <a:lnTo>
                    <a:pt x="643646" y="731177"/>
                  </a:lnTo>
                  <a:lnTo>
                    <a:pt x="637494" y="730256"/>
                  </a:lnTo>
                  <a:lnTo>
                    <a:pt x="631388" y="728754"/>
                  </a:lnTo>
                  <a:lnTo>
                    <a:pt x="620943" y="724839"/>
                  </a:lnTo>
                  <a:lnTo>
                    <a:pt x="620352" y="724437"/>
                  </a:lnTo>
                  <a:lnTo>
                    <a:pt x="619541" y="723131"/>
                  </a:lnTo>
                  <a:lnTo>
                    <a:pt x="618509" y="720918"/>
                  </a:lnTo>
                  <a:lnTo>
                    <a:pt x="615909" y="718034"/>
                  </a:lnTo>
                  <a:lnTo>
                    <a:pt x="608791" y="711588"/>
                  </a:lnTo>
                  <a:lnTo>
                    <a:pt x="605970" y="707760"/>
                  </a:lnTo>
                  <a:lnTo>
                    <a:pt x="605514" y="706783"/>
                  </a:lnTo>
                  <a:lnTo>
                    <a:pt x="604838" y="703967"/>
                  </a:lnTo>
                  <a:lnTo>
                    <a:pt x="603941" y="699306"/>
                  </a:lnTo>
                  <a:lnTo>
                    <a:pt x="603652" y="696448"/>
                  </a:lnTo>
                  <a:lnTo>
                    <a:pt x="604480" y="694703"/>
                  </a:lnTo>
                  <a:lnTo>
                    <a:pt x="605173" y="694356"/>
                  </a:lnTo>
                  <a:lnTo>
                    <a:pt x="619921" y="690950"/>
                  </a:lnTo>
                  <a:lnTo>
                    <a:pt x="645904" y="687210"/>
                  </a:lnTo>
                  <a:lnTo>
                    <a:pt x="669657" y="684688"/>
                  </a:lnTo>
                  <a:lnTo>
                    <a:pt x="680442" y="684915"/>
                  </a:lnTo>
                  <a:lnTo>
                    <a:pt x="686792" y="686098"/>
                  </a:lnTo>
                  <a:lnTo>
                    <a:pt x="693157" y="686638"/>
                  </a:lnTo>
                  <a:lnTo>
                    <a:pt x="704690" y="686905"/>
                  </a:lnTo>
                  <a:lnTo>
                    <a:pt x="719214" y="688663"/>
                  </a:lnTo>
                  <a:lnTo>
                    <a:pt x="722133" y="688512"/>
                  </a:lnTo>
                  <a:lnTo>
                    <a:pt x="728646" y="687322"/>
                  </a:lnTo>
                  <a:lnTo>
                    <a:pt x="730580" y="686369"/>
                  </a:lnTo>
                  <a:lnTo>
                    <a:pt x="740874" y="686491"/>
                  </a:lnTo>
                  <a:lnTo>
                    <a:pt x="742872" y="685905"/>
                  </a:lnTo>
                  <a:lnTo>
                    <a:pt x="744706" y="684852"/>
                  </a:lnTo>
                  <a:lnTo>
                    <a:pt x="742341" y="682879"/>
                  </a:lnTo>
                  <a:lnTo>
                    <a:pt x="732494" y="678543"/>
                  </a:lnTo>
                  <a:lnTo>
                    <a:pt x="706343" y="670772"/>
                  </a:lnTo>
                  <a:lnTo>
                    <a:pt x="699965" y="669117"/>
                  </a:lnTo>
                  <a:lnTo>
                    <a:pt x="690830" y="667354"/>
                  </a:lnTo>
                  <a:lnTo>
                    <a:pt x="685537" y="667103"/>
                  </a:lnTo>
                  <a:lnTo>
                    <a:pt x="678790" y="668111"/>
                  </a:lnTo>
                  <a:lnTo>
                    <a:pt x="676274" y="668066"/>
                  </a:lnTo>
                  <a:lnTo>
                    <a:pt x="669649" y="669584"/>
                  </a:lnTo>
                  <a:lnTo>
                    <a:pt x="663358" y="670542"/>
                  </a:lnTo>
                  <a:lnTo>
                    <a:pt x="651428" y="671469"/>
                  </a:lnTo>
                  <a:lnTo>
                    <a:pt x="634194" y="672154"/>
                  </a:lnTo>
                  <a:lnTo>
                    <a:pt x="631781" y="671952"/>
                  </a:lnTo>
                  <a:lnTo>
                    <a:pt x="628237" y="670770"/>
                  </a:lnTo>
                  <a:lnTo>
                    <a:pt x="625665" y="670434"/>
                  </a:lnTo>
                  <a:lnTo>
                    <a:pt x="608796" y="671356"/>
                  </a:lnTo>
                  <a:lnTo>
                    <a:pt x="593721" y="670167"/>
                  </a:lnTo>
                  <a:lnTo>
                    <a:pt x="576555" y="658244"/>
                  </a:lnTo>
                  <a:lnTo>
                    <a:pt x="573704" y="654573"/>
                  </a:lnTo>
                  <a:lnTo>
                    <a:pt x="574312" y="653077"/>
                  </a:lnTo>
                  <a:lnTo>
                    <a:pt x="576428" y="651470"/>
                  </a:lnTo>
                  <a:lnTo>
                    <a:pt x="584928" y="646834"/>
                  </a:lnTo>
                  <a:lnTo>
                    <a:pt x="587965" y="645730"/>
                  </a:lnTo>
                  <a:lnTo>
                    <a:pt x="600647" y="643235"/>
                  </a:lnTo>
                  <a:lnTo>
                    <a:pt x="613290" y="640215"/>
                  </a:lnTo>
                  <a:lnTo>
                    <a:pt x="623275" y="637370"/>
                  </a:lnTo>
                  <a:lnTo>
                    <a:pt x="628177" y="636382"/>
                  </a:lnTo>
                  <a:lnTo>
                    <a:pt x="632897" y="636266"/>
                  </a:lnTo>
                  <a:lnTo>
                    <a:pt x="636711" y="635327"/>
                  </a:lnTo>
                  <a:lnTo>
                    <a:pt x="635935" y="634426"/>
                  </a:lnTo>
                  <a:lnTo>
                    <a:pt x="632814" y="633397"/>
                  </a:lnTo>
                  <a:lnTo>
                    <a:pt x="632849" y="631938"/>
                  </a:lnTo>
                  <a:lnTo>
                    <a:pt x="634463" y="631238"/>
                  </a:lnTo>
                  <a:lnTo>
                    <a:pt x="640715" y="630497"/>
                  </a:lnTo>
                  <a:lnTo>
                    <a:pt x="647355" y="631399"/>
                  </a:lnTo>
                  <a:lnTo>
                    <a:pt x="650673" y="631092"/>
                  </a:lnTo>
                  <a:lnTo>
                    <a:pt x="651626" y="630096"/>
                  </a:lnTo>
                  <a:lnTo>
                    <a:pt x="650746" y="629291"/>
                  </a:lnTo>
                  <a:lnTo>
                    <a:pt x="644444" y="627628"/>
                  </a:lnTo>
                  <a:lnTo>
                    <a:pt x="614179" y="632411"/>
                  </a:lnTo>
                  <a:lnTo>
                    <a:pt x="600059" y="632859"/>
                  </a:lnTo>
                  <a:lnTo>
                    <a:pt x="590266" y="634912"/>
                  </a:lnTo>
                  <a:lnTo>
                    <a:pt x="584883" y="634845"/>
                  </a:lnTo>
                  <a:lnTo>
                    <a:pt x="578479" y="632797"/>
                  </a:lnTo>
                  <a:lnTo>
                    <a:pt x="577625" y="632183"/>
                  </a:lnTo>
                  <a:lnTo>
                    <a:pt x="577508" y="631341"/>
                  </a:lnTo>
                  <a:lnTo>
                    <a:pt x="579490" y="628596"/>
                  </a:lnTo>
                  <a:lnTo>
                    <a:pt x="586333" y="626951"/>
                  </a:lnTo>
                  <a:lnTo>
                    <a:pt x="589784" y="622330"/>
                  </a:lnTo>
                  <a:lnTo>
                    <a:pt x="586102" y="622250"/>
                  </a:lnTo>
                  <a:lnTo>
                    <a:pt x="573829" y="623240"/>
                  </a:lnTo>
                  <a:lnTo>
                    <a:pt x="568467" y="622814"/>
                  </a:lnTo>
                  <a:lnTo>
                    <a:pt x="561231" y="621040"/>
                  </a:lnTo>
                  <a:lnTo>
                    <a:pt x="559109" y="618926"/>
                  </a:lnTo>
                  <a:lnTo>
                    <a:pt x="558206" y="617396"/>
                  </a:lnTo>
                  <a:lnTo>
                    <a:pt x="558053" y="615570"/>
                  </a:lnTo>
                  <a:lnTo>
                    <a:pt x="558296" y="610378"/>
                  </a:lnTo>
                  <a:lnTo>
                    <a:pt x="558913" y="607583"/>
                  </a:lnTo>
                  <a:lnTo>
                    <a:pt x="559298" y="606952"/>
                  </a:lnTo>
                  <a:lnTo>
                    <a:pt x="568294" y="598328"/>
                  </a:lnTo>
                  <a:lnTo>
                    <a:pt x="573903" y="596523"/>
                  </a:lnTo>
                  <a:lnTo>
                    <a:pt x="577838" y="593792"/>
                  </a:lnTo>
                  <a:lnTo>
                    <a:pt x="577990" y="592648"/>
                  </a:lnTo>
                  <a:lnTo>
                    <a:pt x="577016" y="591499"/>
                  </a:lnTo>
                  <a:lnTo>
                    <a:pt x="573350" y="588710"/>
                  </a:lnTo>
                  <a:lnTo>
                    <a:pt x="571875" y="587293"/>
                  </a:lnTo>
                  <a:lnTo>
                    <a:pt x="571047" y="585933"/>
                  </a:lnTo>
                  <a:lnTo>
                    <a:pt x="571673" y="583791"/>
                  </a:lnTo>
                  <a:lnTo>
                    <a:pt x="573755" y="580854"/>
                  </a:lnTo>
                  <a:lnTo>
                    <a:pt x="579876" y="576111"/>
                  </a:lnTo>
                  <a:lnTo>
                    <a:pt x="594618" y="566574"/>
                  </a:lnTo>
                  <a:lnTo>
                    <a:pt x="602104" y="562555"/>
                  </a:lnTo>
                  <a:lnTo>
                    <a:pt x="609325" y="560384"/>
                  </a:lnTo>
                  <a:lnTo>
                    <a:pt x="619429" y="555757"/>
                  </a:lnTo>
                  <a:lnTo>
                    <a:pt x="645318" y="548061"/>
                  </a:lnTo>
                  <a:close/>
                  <a:moveTo>
                    <a:pt x="904822" y="520966"/>
                  </a:moveTo>
                  <a:lnTo>
                    <a:pt x="909983" y="522084"/>
                  </a:lnTo>
                  <a:lnTo>
                    <a:pt x="917077" y="526863"/>
                  </a:lnTo>
                  <a:lnTo>
                    <a:pt x="920028" y="527401"/>
                  </a:lnTo>
                  <a:lnTo>
                    <a:pt x="921791" y="528476"/>
                  </a:lnTo>
                  <a:lnTo>
                    <a:pt x="923343" y="530258"/>
                  </a:lnTo>
                  <a:lnTo>
                    <a:pt x="924167" y="532070"/>
                  </a:lnTo>
                  <a:lnTo>
                    <a:pt x="924236" y="535767"/>
                  </a:lnTo>
                  <a:lnTo>
                    <a:pt x="923462" y="541222"/>
                  </a:lnTo>
                  <a:lnTo>
                    <a:pt x="922477" y="543308"/>
                  </a:lnTo>
                  <a:lnTo>
                    <a:pt x="918183" y="550290"/>
                  </a:lnTo>
                  <a:lnTo>
                    <a:pt x="913680" y="554122"/>
                  </a:lnTo>
                  <a:lnTo>
                    <a:pt x="912819" y="556599"/>
                  </a:lnTo>
                  <a:lnTo>
                    <a:pt x="910993" y="558561"/>
                  </a:lnTo>
                  <a:lnTo>
                    <a:pt x="907797" y="560965"/>
                  </a:lnTo>
                  <a:lnTo>
                    <a:pt x="905559" y="562288"/>
                  </a:lnTo>
                  <a:lnTo>
                    <a:pt x="904280" y="562531"/>
                  </a:lnTo>
                  <a:lnTo>
                    <a:pt x="901878" y="561415"/>
                  </a:lnTo>
                  <a:lnTo>
                    <a:pt x="898355" y="558935"/>
                  </a:lnTo>
                  <a:lnTo>
                    <a:pt x="892595" y="553896"/>
                  </a:lnTo>
                  <a:lnTo>
                    <a:pt x="885726" y="548892"/>
                  </a:lnTo>
                  <a:lnTo>
                    <a:pt x="884671" y="545890"/>
                  </a:lnTo>
                  <a:lnTo>
                    <a:pt x="882963" y="543650"/>
                  </a:lnTo>
                  <a:lnTo>
                    <a:pt x="874197" y="538318"/>
                  </a:lnTo>
                  <a:lnTo>
                    <a:pt x="868501" y="536151"/>
                  </a:lnTo>
                  <a:lnTo>
                    <a:pt x="864161" y="535070"/>
                  </a:lnTo>
                  <a:lnTo>
                    <a:pt x="863448" y="533575"/>
                  </a:lnTo>
                  <a:lnTo>
                    <a:pt x="866457" y="529228"/>
                  </a:lnTo>
                  <a:lnTo>
                    <a:pt x="869910" y="525749"/>
                  </a:lnTo>
                  <a:lnTo>
                    <a:pt x="871960" y="524487"/>
                  </a:lnTo>
                  <a:lnTo>
                    <a:pt x="878346" y="523356"/>
                  </a:lnTo>
                  <a:lnTo>
                    <a:pt x="899894" y="521034"/>
                  </a:lnTo>
                  <a:close/>
                  <a:moveTo>
                    <a:pt x="1531038" y="520957"/>
                  </a:moveTo>
                  <a:lnTo>
                    <a:pt x="1536339" y="521051"/>
                  </a:lnTo>
                  <a:lnTo>
                    <a:pt x="1543745" y="523923"/>
                  </a:lnTo>
                  <a:lnTo>
                    <a:pt x="1549600" y="524197"/>
                  </a:lnTo>
                  <a:lnTo>
                    <a:pt x="1558526" y="526507"/>
                  </a:lnTo>
                  <a:lnTo>
                    <a:pt x="1562849" y="527153"/>
                  </a:lnTo>
                  <a:lnTo>
                    <a:pt x="1590242" y="525951"/>
                  </a:lnTo>
                  <a:lnTo>
                    <a:pt x="1595910" y="526843"/>
                  </a:lnTo>
                  <a:lnTo>
                    <a:pt x="1613174" y="532288"/>
                  </a:lnTo>
                  <a:lnTo>
                    <a:pt x="1617626" y="534104"/>
                  </a:lnTo>
                  <a:lnTo>
                    <a:pt x="1619826" y="536506"/>
                  </a:lnTo>
                  <a:lnTo>
                    <a:pt x="1621811" y="540289"/>
                  </a:lnTo>
                  <a:lnTo>
                    <a:pt x="1622728" y="541118"/>
                  </a:lnTo>
                  <a:lnTo>
                    <a:pt x="1628982" y="543362"/>
                  </a:lnTo>
                  <a:lnTo>
                    <a:pt x="1631554" y="546081"/>
                  </a:lnTo>
                  <a:lnTo>
                    <a:pt x="1632458" y="547484"/>
                  </a:lnTo>
                  <a:lnTo>
                    <a:pt x="1633771" y="550696"/>
                  </a:lnTo>
                  <a:lnTo>
                    <a:pt x="1636595" y="552514"/>
                  </a:lnTo>
                  <a:lnTo>
                    <a:pt x="1639823" y="553549"/>
                  </a:lnTo>
                  <a:lnTo>
                    <a:pt x="1640878" y="554494"/>
                  </a:lnTo>
                  <a:lnTo>
                    <a:pt x="1640370" y="558519"/>
                  </a:lnTo>
                  <a:lnTo>
                    <a:pt x="1641747" y="560389"/>
                  </a:lnTo>
                  <a:lnTo>
                    <a:pt x="1644795" y="562652"/>
                  </a:lnTo>
                  <a:lnTo>
                    <a:pt x="1645938" y="564159"/>
                  </a:lnTo>
                  <a:lnTo>
                    <a:pt x="1643569" y="565998"/>
                  </a:lnTo>
                  <a:lnTo>
                    <a:pt x="1638064" y="567078"/>
                  </a:lnTo>
                  <a:lnTo>
                    <a:pt x="1622519" y="565953"/>
                  </a:lnTo>
                  <a:lnTo>
                    <a:pt x="1601667" y="563404"/>
                  </a:lnTo>
                  <a:lnTo>
                    <a:pt x="1589539" y="564128"/>
                  </a:lnTo>
                  <a:lnTo>
                    <a:pt x="1583458" y="565292"/>
                  </a:lnTo>
                  <a:lnTo>
                    <a:pt x="1568748" y="569441"/>
                  </a:lnTo>
                  <a:lnTo>
                    <a:pt x="1564053" y="570110"/>
                  </a:lnTo>
                  <a:lnTo>
                    <a:pt x="1559458" y="570194"/>
                  </a:lnTo>
                  <a:lnTo>
                    <a:pt x="1551341" y="566805"/>
                  </a:lnTo>
                  <a:lnTo>
                    <a:pt x="1548395" y="565006"/>
                  </a:lnTo>
                  <a:lnTo>
                    <a:pt x="1547421" y="563614"/>
                  </a:lnTo>
                  <a:lnTo>
                    <a:pt x="1545485" y="559529"/>
                  </a:lnTo>
                  <a:lnTo>
                    <a:pt x="1543891" y="554628"/>
                  </a:lnTo>
                  <a:lnTo>
                    <a:pt x="1543081" y="550596"/>
                  </a:lnTo>
                  <a:lnTo>
                    <a:pt x="1542146" y="547519"/>
                  </a:lnTo>
                  <a:lnTo>
                    <a:pt x="1539371" y="546499"/>
                  </a:lnTo>
                  <a:lnTo>
                    <a:pt x="1531126" y="545272"/>
                  </a:lnTo>
                  <a:lnTo>
                    <a:pt x="1528364" y="543584"/>
                  </a:lnTo>
                  <a:lnTo>
                    <a:pt x="1527107" y="542184"/>
                  </a:lnTo>
                  <a:lnTo>
                    <a:pt x="1525896" y="539917"/>
                  </a:lnTo>
                  <a:lnTo>
                    <a:pt x="1525927" y="537557"/>
                  </a:lnTo>
                  <a:lnTo>
                    <a:pt x="1526560" y="535476"/>
                  </a:lnTo>
                  <a:lnTo>
                    <a:pt x="1527093" y="534965"/>
                  </a:lnTo>
                  <a:lnTo>
                    <a:pt x="1528135" y="534910"/>
                  </a:lnTo>
                  <a:lnTo>
                    <a:pt x="1525824" y="532385"/>
                  </a:lnTo>
                  <a:lnTo>
                    <a:pt x="1525026" y="529605"/>
                  </a:lnTo>
                  <a:lnTo>
                    <a:pt x="1524968" y="525718"/>
                  </a:lnTo>
                  <a:lnTo>
                    <a:pt x="1525270" y="523226"/>
                  </a:lnTo>
                  <a:lnTo>
                    <a:pt x="1525929" y="522133"/>
                  </a:lnTo>
                  <a:lnTo>
                    <a:pt x="1527453" y="521428"/>
                  </a:lnTo>
                  <a:close/>
                  <a:moveTo>
                    <a:pt x="1384351" y="516645"/>
                  </a:moveTo>
                  <a:lnTo>
                    <a:pt x="1395904" y="516874"/>
                  </a:lnTo>
                  <a:lnTo>
                    <a:pt x="1417210" y="518945"/>
                  </a:lnTo>
                  <a:lnTo>
                    <a:pt x="1419776" y="520402"/>
                  </a:lnTo>
                  <a:lnTo>
                    <a:pt x="1420427" y="521135"/>
                  </a:lnTo>
                  <a:lnTo>
                    <a:pt x="1421362" y="523207"/>
                  </a:lnTo>
                  <a:lnTo>
                    <a:pt x="1420658" y="524528"/>
                  </a:lnTo>
                  <a:lnTo>
                    <a:pt x="1414831" y="529008"/>
                  </a:lnTo>
                  <a:lnTo>
                    <a:pt x="1407496" y="532727"/>
                  </a:lnTo>
                  <a:lnTo>
                    <a:pt x="1402722" y="535967"/>
                  </a:lnTo>
                  <a:lnTo>
                    <a:pt x="1394642" y="543239"/>
                  </a:lnTo>
                  <a:lnTo>
                    <a:pt x="1392462" y="545786"/>
                  </a:lnTo>
                  <a:lnTo>
                    <a:pt x="1382449" y="560340"/>
                  </a:lnTo>
                  <a:lnTo>
                    <a:pt x="1380085" y="562741"/>
                  </a:lnTo>
                  <a:lnTo>
                    <a:pt x="1378697" y="564659"/>
                  </a:lnTo>
                  <a:lnTo>
                    <a:pt x="1377724" y="569877"/>
                  </a:lnTo>
                  <a:lnTo>
                    <a:pt x="1378014" y="571730"/>
                  </a:lnTo>
                  <a:lnTo>
                    <a:pt x="1379578" y="574753"/>
                  </a:lnTo>
                  <a:lnTo>
                    <a:pt x="1385012" y="581296"/>
                  </a:lnTo>
                  <a:lnTo>
                    <a:pt x="1386477" y="584350"/>
                  </a:lnTo>
                  <a:lnTo>
                    <a:pt x="1386440" y="587153"/>
                  </a:lnTo>
                  <a:lnTo>
                    <a:pt x="1385830" y="593823"/>
                  </a:lnTo>
                  <a:lnTo>
                    <a:pt x="1385756" y="597196"/>
                  </a:lnTo>
                  <a:lnTo>
                    <a:pt x="1386000" y="600431"/>
                  </a:lnTo>
                  <a:lnTo>
                    <a:pt x="1387121" y="605048"/>
                  </a:lnTo>
                  <a:lnTo>
                    <a:pt x="1389116" y="611037"/>
                  </a:lnTo>
                  <a:lnTo>
                    <a:pt x="1393740" y="617081"/>
                  </a:lnTo>
                  <a:lnTo>
                    <a:pt x="1400992" y="623174"/>
                  </a:lnTo>
                  <a:lnTo>
                    <a:pt x="1406392" y="627205"/>
                  </a:lnTo>
                  <a:lnTo>
                    <a:pt x="1411716" y="630169"/>
                  </a:lnTo>
                  <a:lnTo>
                    <a:pt x="1418016" y="634547"/>
                  </a:lnTo>
                  <a:lnTo>
                    <a:pt x="1419418" y="636661"/>
                  </a:lnTo>
                  <a:lnTo>
                    <a:pt x="1416523" y="638983"/>
                  </a:lnTo>
                  <a:lnTo>
                    <a:pt x="1409733" y="642553"/>
                  </a:lnTo>
                  <a:lnTo>
                    <a:pt x="1400811" y="644079"/>
                  </a:lnTo>
                  <a:lnTo>
                    <a:pt x="1396040" y="645534"/>
                  </a:lnTo>
                  <a:lnTo>
                    <a:pt x="1390106" y="648634"/>
                  </a:lnTo>
                  <a:lnTo>
                    <a:pt x="1382656" y="651105"/>
                  </a:lnTo>
                  <a:lnTo>
                    <a:pt x="1379712" y="652580"/>
                  </a:lnTo>
                  <a:lnTo>
                    <a:pt x="1380718" y="653599"/>
                  </a:lnTo>
                  <a:lnTo>
                    <a:pt x="1386509" y="652301"/>
                  </a:lnTo>
                  <a:lnTo>
                    <a:pt x="1391432" y="650810"/>
                  </a:lnTo>
                  <a:lnTo>
                    <a:pt x="1399104" y="647250"/>
                  </a:lnTo>
                  <a:lnTo>
                    <a:pt x="1403686" y="646009"/>
                  </a:lnTo>
                  <a:lnTo>
                    <a:pt x="1417607" y="646031"/>
                  </a:lnTo>
                  <a:lnTo>
                    <a:pt x="1419972" y="646705"/>
                  </a:lnTo>
                  <a:lnTo>
                    <a:pt x="1418928" y="648833"/>
                  </a:lnTo>
                  <a:lnTo>
                    <a:pt x="1418344" y="649435"/>
                  </a:lnTo>
                  <a:lnTo>
                    <a:pt x="1418804" y="650359"/>
                  </a:lnTo>
                  <a:lnTo>
                    <a:pt x="1420304" y="651609"/>
                  </a:lnTo>
                  <a:lnTo>
                    <a:pt x="1423300" y="652996"/>
                  </a:lnTo>
                  <a:lnTo>
                    <a:pt x="1424481" y="651754"/>
                  </a:lnTo>
                  <a:lnTo>
                    <a:pt x="1425347" y="648756"/>
                  </a:lnTo>
                  <a:lnTo>
                    <a:pt x="1427401" y="636405"/>
                  </a:lnTo>
                  <a:lnTo>
                    <a:pt x="1428270" y="632666"/>
                  </a:lnTo>
                  <a:lnTo>
                    <a:pt x="1428682" y="629118"/>
                  </a:lnTo>
                  <a:lnTo>
                    <a:pt x="1428634" y="625766"/>
                  </a:lnTo>
                  <a:lnTo>
                    <a:pt x="1427633" y="623640"/>
                  </a:lnTo>
                  <a:lnTo>
                    <a:pt x="1424066" y="622362"/>
                  </a:lnTo>
                  <a:lnTo>
                    <a:pt x="1419195" y="622578"/>
                  </a:lnTo>
                  <a:lnTo>
                    <a:pt x="1416693" y="622241"/>
                  </a:lnTo>
                  <a:lnTo>
                    <a:pt x="1413661" y="621580"/>
                  </a:lnTo>
                  <a:lnTo>
                    <a:pt x="1411414" y="620547"/>
                  </a:lnTo>
                  <a:lnTo>
                    <a:pt x="1409953" y="619147"/>
                  </a:lnTo>
                  <a:lnTo>
                    <a:pt x="1407042" y="614933"/>
                  </a:lnTo>
                  <a:lnTo>
                    <a:pt x="1404895" y="612581"/>
                  </a:lnTo>
                  <a:lnTo>
                    <a:pt x="1399389" y="608329"/>
                  </a:lnTo>
                  <a:lnTo>
                    <a:pt x="1396897" y="606906"/>
                  </a:lnTo>
                  <a:lnTo>
                    <a:pt x="1398152" y="605229"/>
                  </a:lnTo>
                  <a:lnTo>
                    <a:pt x="1403156" y="603296"/>
                  </a:lnTo>
                  <a:lnTo>
                    <a:pt x="1406173" y="601458"/>
                  </a:lnTo>
                  <a:lnTo>
                    <a:pt x="1409719" y="596078"/>
                  </a:lnTo>
                  <a:lnTo>
                    <a:pt x="1411850" y="595207"/>
                  </a:lnTo>
                  <a:lnTo>
                    <a:pt x="1419536" y="595920"/>
                  </a:lnTo>
                  <a:lnTo>
                    <a:pt x="1429939" y="600132"/>
                  </a:lnTo>
                  <a:lnTo>
                    <a:pt x="1436452" y="603776"/>
                  </a:lnTo>
                  <a:lnTo>
                    <a:pt x="1438174" y="604163"/>
                  </a:lnTo>
                  <a:lnTo>
                    <a:pt x="1438210" y="603501"/>
                  </a:lnTo>
                  <a:lnTo>
                    <a:pt x="1436558" y="601796"/>
                  </a:lnTo>
                  <a:lnTo>
                    <a:pt x="1429065" y="597280"/>
                  </a:lnTo>
                  <a:lnTo>
                    <a:pt x="1425653" y="593988"/>
                  </a:lnTo>
                  <a:lnTo>
                    <a:pt x="1424019" y="591637"/>
                  </a:lnTo>
                  <a:lnTo>
                    <a:pt x="1424803" y="590618"/>
                  </a:lnTo>
                  <a:lnTo>
                    <a:pt x="1429022" y="589574"/>
                  </a:lnTo>
                  <a:lnTo>
                    <a:pt x="1429570" y="588375"/>
                  </a:lnTo>
                  <a:lnTo>
                    <a:pt x="1423830" y="586957"/>
                  </a:lnTo>
                  <a:lnTo>
                    <a:pt x="1420921" y="586988"/>
                  </a:lnTo>
                  <a:lnTo>
                    <a:pt x="1418571" y="588002"/>
                  </a:lnTo>
                  <a:lnTo>
                    <a:pt x="1416046" y="588072"/>
                  </a:lnTo>
                  <a:lnTo>
                    <a:pt x="1411363" y="586228"/>
                  </a:lnTo>
                  <a:lnTo>
                    <a:pt x="1410090" y="585155"/>
                  </a:lnTo>
                  <a:lnTo>
                    <a:pt x="1407390" y="581969"/>
                  </a:lnTo>
                  <a:lnTo>
                    <a:pt x="1405972" y="579192"/>
                  </a:lnTo>
                  <a:lnTo>
                    <a:pt x="1404403" y="577464"/>
                  </a:lnTo>
                  <a:lnTo>
                    <a:pt x="1403837" y="576093"/>
                  </a:lnTo>
                  <a:lnTo>
                    <a:pt x="1403533" y="571820"/>
                  </a:lnTo>
                  <a:lnTo>
                    <a:pt x="1403668" y="569304"/>
                  </a:lnTo>
                  <a:lnTo>
                    <a:pt x="1404306" y="567149"/>
                  </a:lnTo>
                  <a:lnTo>
                    <a:pt x="1405442" y="565354"/>
                  </a:lnTo>
                  <a:lnTo>
                    <a:pt x="1408480" y="562036"/>
                  </a:lnTo>
                  <a:lnTo>
                    <a:pt x="1410184" y="561076"/>
                  </a:lnTo>
                  <a:lnTo>
                    <a:pt x="1413366" y="560641"/>
                  </a:lnTo>
                  <a:lnTo>
                    <a:pt x="1420277" y="562290"/>
                  </a:lnTo>
                  <a:lnTo>
                    <a:pt x="1438861" y="568230"/>
                  </a:lnTo>
                  <a:lnTo>
                    <a:pt x="1438414" y="566318"/>
                  </a:lnTo>
                  <a:lnTo>
                    <a:pt x="1417627" y="558289"/>
                  </a:lnTo>
                  <a:lnTo>
                    <a:pt x="1410278" y="556218"/>
                  </a:lnTo>
                  <a:lnTo>
                    <a:pt x="1408481" y="553307"/>
                  </a:lnTo>
                  <a:lnTo>
                    <a:pt x="1419546" y="542119"/>
                  </a:lnTo>
                  <a:lnTo>
                    <a:pt x="1429747" y="539482"/>
                  </a:lnTo>
                  <a:lnTo>
                    <a:pt x="1434819" y="536212"/>
                  </a:lnTo>
                  <a:lnTo>
                    <a:pt x="1443112" y="536071"/>
                  </a:lnTo>
                  <a:lnTo>
                    <a:pt x="1450899" y="538147"/>
                  </a:lnTo>
                  <a:lnTo>
                    <a:pt x="1451034" y="537581"/>
                  </a:lnTo>
                  <a:lnTo>
                    <a:pt x="1447523" y="533672"/>
                  </a:lnTo>
                  <a:lnTo>
                    <a:pt x="1447801" y="532696"/>
                  </a:lnTo>
                  <a:lnTo>
                    <a:pt x="1452219" y="530366"/>
                  </a:lnTo>
                  <a:lnTo>
                    <a:pt x="1460319" y="527627"/>
                  </a:lnTo>
                  <a:lnTo>
                    <a:pt x="1470205" y="525450"/>
                  </a:lnTo>
                  <a:lnTo>
                    <a:pt x="1472165" y="524313"/>
                  </a:lnTo>
                  <a:lnTo>
                    <a:pt x="1474697" y="523512"/>
                  </a:lnTo>
                  <a:lnTo>
                    <a:pt x="1479355" y="522814"/>
                  </a:lnTo>
                  <a:lnTo>
                    <a:pt x="1490939" y="522476"/>
                  </a:lnTo>
                  <a:lnTo>
                    <a:pt x="1497447" y="522803"/>
                  </a:lnTo>
                  <a:lnTo>
                    <a:pt x="1506087" y="524467"/>
                  </a:lnTo>
                  <a:lnTo>
                    <a:pt x="1511139" y="527487"/>
                  </a:lnTo>
                  <a:lnTo>
                    <a:pt x="1512713" y="529292"/>
                  </a:lnTo>
                  <a:lnTo>
                    <a:pt x="1515394" y="535084"/>
                  </a:lnTo>
                  <a:lnTo>
                    <a:pt x="1517589" y="543166"/>
                  </a:lnTo>
                  <a:lnTo>
                    <a:pt x="1520800" y="546517"/>
                  </a:lnTo>
                  <a:lnTo>
                    <a:pt x="1525958" y="548368"/>
                  </a:lnTo>
                  <a:lnTo>
                    <a:pt x="1529522" y="550377"/>
                  </a:lnTo>
                  <a:lnTo>
                    <a:pt x="1531492" y="552544"/>
                  </a:lnTo>
                  <a:lnTo>
                    <a:pt x="1532017" y="555272"/>
                  </a:lnTo>
                  <a:lnTo>
                    <a:pt x="1531095" y="558554"/>
                  </a:lnTo>
                  <a:lnTo>
                    <a:pt x="1531785" y="561913"/>
                  </a:lnTo>
                  <a:lnTo>
                    <a:pt x="1534092" y="565345"/>
                  </a:lnTo>
                  <a:lnTo>
                    <a:pt x="1535870" y="567290"/>
                  </a:lnTo>
                  <a:lnTo>
                    <a:pt x="1539764" y="569510"/>
                  </a:lnTo>
                  <a:lnTo>
                    <a:pt x="1539828" y="570695"/>
                  </a:lnTo>
                  <a:lnTo>
                    <a:pt x="1538613" y="572044"/>
                  </a:lnTo>
                  <a:lnTo>
                    <a:pt x="1536035" y="573899"/>
                  </a:lnTo>
                  <a:lnTo>
                    <a:pt x="1529675" y="579669"/>
                  </a:lnTo>
                  <a:lnTo>
                    <a:pt x="1521469" y="586003"/>
                  </a:lnTo>
                  <a:lnTo>
                    <a:pt x="1515622" y="591466"/>
                  </a:lnTo>
                  <a:lnTo>
                    <a:pt x="1515337" y="593076"/>
                  </a:lnTo>
                  <a:lnTo>
                    <a:pt x="1527503" y="584525"/>
                  </a:lnTo>
                  <a:lnTo>
                    <a:pt x="1531289" y="584828"/>
                  </a:lnTo>
                  <a:lnTo>
                    <a:pt x="1531461" y="586025"/>
                  </a:lnTo>
                  <a:lnTo>
                    <a:pt x="1528983" y="590201"/>
                  </a:lnTo>
                  <a:lnTo>
                    <a:pt x="1525963" y="593918"/>
                  </a:lnTo>
                  <a:lnTo>
                    <a:pt x="1522928" y="596301"/>
                  </a:lnTo>
                  <a:lnTo>
                    <a:pt x="1523483" y="597199"/>
                  </a:lnTo>
                  <a:lnTo>
                    <a:pt x="1529262" y="601367"/>
                  </a:lnTo>
                  <a:lnTo>
                    <a:pt x="1528201" y="602053"/>
                  </a:lnTo>
                  <a:lnTo>
                    <a:pt x="1525412" y="601712"/>
                  </a:lnTo>
                  <a:lnTo>
                    <a:pt x="1524267" y="602087"/>
                  </a:lnTo>
                  <a:lnTo>
                    <a:pt x="1523438" y="602844"/>
                  </a:lnTo>
                  <a:lnTo>
                    <a:pt x="1522923" y="603985"/>
                  </a:lnTo>
                  <a:lnTo>
                    <a:pt x="1522891" y="605589"/>
                  </a:lnTo>
                  <a:lnTo>
                    <a:pt x="1523337" y="607654"/>
                  </a:lnTo>
                  <a:lnTo>
                    <a:pt x="1523294" y="609197"/>
                  </a:lnTo>
                  <a:lnTo>
                    <a:pt x="1522758" y="610214"/>
                  </a:lnTo>
                  <a:lnTo>
                    <a:pt x="1523335" y="610634"/>
                  </a:lnTo>
                  <a:lnTo>
                    <a:pt x="1525027" y="610456"/>
                  </a:lnTo>
                  <a:lnTo>
                    <a:pt x="1526452" y="609617"/>
                  </a:lnTo>
                  <a:lnTo>
                    <a:pt x="1528907" y="606830"/>
                  </a:lnTo>
                  <a:lnTo>
                    <a:pt x="1537003" y="599217"/>
                  </a:lnTo>
                  <a:lnTo>
                    <a:pt x="1542180" y="596366"/>
                  </a:lnTo>
                  <a:lnTo>
                    <a:pt x="1543850" y="596115"/>
                  </a:lnTo>
                  <a:lnTo>
                    <a:pt x="1548611" y="597974"/>
                  </a:lnTo>
                  <a:lnTo>
                    <a:pt x="1549726" y="597867"/>
                  </a:lnTo>
                  <a:lnTo>
                    <a:pt x="1544489" y="591983"/>
                  </a:lnTo>
                  <a:lnTo>
                    <a:pt x="1544031" y="590492"/>
                  </a:lnTo>
                  <a:lnTo>
                    <a:pt x="1545095" y="588291"/>
                  </a:lnTo>
                  <a:lnTo>
                    <a:pt x="1545734" y="587531"/>
                  </a:lnTo>
                  <a:lnTo>
                    <a:pt x="1548652" y="585910"/>
                  </a:lnTo>
                  <a:lnTo>
                    <a:pt x="1551071" y="585045"/>
                  </a:lnTo>
                  <a:lnTo>
                    <a:pt x="1552426" y="585407"/>
                  </a:lnTo>
                  <a:lnTo>
                    <a:pt x="1554571" y="588405"/>
                  </a:lnTo>
                  <a:lnTo>
                    <a:pt x="1555570" y="590492"/>
                  </a:lnTo>
                  <a:lnTo>
                    <a:pt x="1557349" y="591328"/>
                  </a:lnTo>
                  <a:lnTo>
                    <a:pt x="1561311" y="590247"/>
                  </a:lnTo>
                  <a:lnTo>
                    <a:pt x="1563951" y="587695"/>
                  </a:lnTo>
                  <a:lnTo>
                    <a:pt x="1567221" y="589370"/>
                  </a:lnTo>
                  <a:lnTo>
                    <a:pt x="1572144" y="593357"/>
                  </a:lnTo>
                  <a:lnTo>
                    <a:pt x="1571695" y="597343"/>
                  </a:lnTo>
                  <a:lnTo>
                    <a:pt x="1571699" y="601325"/>
                  </a:lnTo>
                  <a:lnTo>
                    <a:pt x="1571953" y="604236"/>
                  </a:lnTo>
                  <a:lnTo>
                    <a:pt x="1577832" y="609561"/>
                  </a:lnTo>
                  <a:lnTo>
                    <a:pt x="1581926" y="611893"/>
                  </a:lnTo>
                  <a:lnTo>
                    <a:pt x="1582670" y="611911"/>
                  </a:lnTo>
                  <a:lnTo>
                    <a:pt x="1582575" y="611113"/>
                  </a:lnTo>
                  <a:lnTo>
                    <a:pt x="1581720" y="609345"/>
                  </a:lnTo>
                  <a:lnTo>
                    <a:pt x="1579475" y="607574"/>
                  </a:lnTo>
                  <a:lnTo>
                    <a:pt x="1577454" y="604836"/>
                  </a:lnTo>
                  <a:lnTo>
                    <a:pt x="1575630" y="601492"/>
                  </a:lnTo>
                  <a:lnTo>
                    <a:pt x="1576711" y="593671"/>
                  </a:lnTo>
                  <a:lnTo>
                    <a:pt x="1579775" y="589574"/>
                  </a:lnTo>
                  <a:lnTo>
                    <a:pt x="1582737" y="590627"/>
                  </a:lnTo>
                  <a:lnTo>
                    <a:pt x="1586633" y="592988"/>
                  </a:lnTo>
                  <a:lnTo>
                    <a:pt x="1589711" y="593209"/>
                  </a:lnTo>
                  <a:lnTo>
                    <a:pt x="1594557" y="592963"/>
                  </a:lnTo>
                  <a:lnTo>
                    <a:pt x="1604453" y="597735"/>
                  </a:lnTo>
                  <a:lnTo>
                    <a:pt x="1609767" y="597840"/>
                  </a:lnTo>
                  <a:lnTo>
                    <a:pt x="1609278" y="595893"/>
                  </a:lnTo>
                  <a:lnTo>
                    <a:pt x="1605253" y="594956"/>
                  </a:lnTo>
                  <a:lnTo>
                    <a:pt x="1599379" y="592318"/>
                  </a:lnTo>
                  <a:lnTo>
                    <a:pt x="1590223" y="589174"/>
                  </a:lnTo>
                  <a:lnTo>
                    <a:pt x="1586018" y="585574"/>
                  </a:lnTo>
                  <a:lnTo>
                    <a:pt x="1585227" y="583883"/>
                  </a:lnTo>
                  <a:lnTo>
                    <a:pt x="1585348" y="582059"/>
                  </a:lnTo>
                  <a:lnTo>
                    <a:pt x="1585871" y="580450"/>
                  </a:lnTo>
                  <a:lnTo>
                    <a:pt x="1586796" y="579051"/>
                  </a:lnTo>
                  <a:lnTo>
                    <a:pt x="1588626" y="577677"/>
                  </a:lnTo>
                  <a:lnTo>
                    <a:pt x="1597481" y="573481"/>
                  </a:lnTo>
                  <a:lnTo>
                    <a:pt x="1603764" y="571696"/>
                  </a:lnTo>
                  <a:lnTo>
                    <a:pt x="1608490" y="571113"/>
                  </a:lnTo>
                  <a:lnTo>
                    <a:pt x="1616388" y="571160"/>
                  </a:lnTo>
                  <a:lnTo>
                    <a:pt x="1625563" y="571892"/>
                  </a:lnTo>
                  <a:lnTo>
                    <a:pt x="1630522" y="573122"/>
                  </a:lnTo>
                  <a:lnTo>
                    <a:pt x="1636219" y="576086"/>
                  </a:lnTo>
                  <a:lnTo>
                    <a:pt x="1643433" y="579017"/>
                  </a:lnTo>
                  <a:lnTo>
                    <a:pt x="1646005" y="579540"/>
                  </a:lnTo>
                  <a:lnTo>
                    <a:pt x="1649012" y="579473"/>
                  </a:lnTo>
                  <a:lnTo>
                    <a:pt x="1652449" y="578812"/>
                  </a:lnTo>
                  <a:lnTo>
                    <a:pt x="1655717" y="579051"/>
                  </a:lnTo>
                  <a:lnTo>
                    <a:pt x="1666115" y="583392"/>
                  </a:lnTo>
                  <a:lnTo>
                    <a:pt x="1668864" y="585621"/>
                  </a:lnTo>
                  <a:lnTo>
                    <a:pt x="1670531" y="588320"/>
                  </a:lnTo>
                  <a:lnTo>
                    <a:pt x="1671763" y="590936"/>
                  </a:lnTo>
                  <a:lnTo>
                    <a:pt x="1672566" y="593474"/>
                  </a:lnTo>
                  <a:lnTo>
                    <a:pt x="1672240" y="595530"/>
                  </a:lnTo>
                  <a:lnTo>
                    <a:pt x="1663581" y="604385"/>
                  </a:lnTo>
                  <a:lnTo>
                    <a:pt x="1659813" y="605892"/>
                  </a:lnTo>
                  <a:lnTo>
                    <a:pt x="1657323" y="609240"/>
                  </a:lnTo>
                  <a:lnTo>
                    <a:pt x="1653610" y="615567"/>
                  </a:lnTo>
                  <a:lnTo>
                    <a:pt x="1650468" y="618947"/>
                  </a:lnTo>
                  <a:lnTo>
                    <a:pt x="1650177" y="619608"/>
                  </a:lnTo>
                  <a:lnTo>
                    <a:pt x="1650835" y="619773"/>
                  </a:lnTo>
                  <a:lnTo>
                    <a:pt x="1652731" y="618260"/>
                  </a:lnTo>
                  <a:lnTo>
                    <a:pt x="1655994" y="613894"/>
                  </a:lnTo>
                  <a:lnTo>
                    <a:pt x="1658365" y="610125"/>
                  </a:lnTo>
                  <a:lnTo>
                    <a:pt x="1662714" y="607008"/>
                  </a:lnTo>
                  <a:lnTo>
                    <a:pt x="1669832" y="603285"/>
                  </a:lnTo>
                  <a:lnTo>
                    <a:pt x="1676031" y="601508"/>
                  </a:lnTo>
                  <a:lnTo>
                    <a:pt x="1681312" y="601678"/>
                  </a:lnTo>
                  <a:lnTo>
                    <a:pt x="1685755" y="602212"/>
                  </a:lnTo>
                  <a:lnTo>
                    <a:pt x="1689362" y="603117"/>
                  </a:lnTo>
                  <a:lnTo>
                    <a:pt x="1691504" y="603874"/>
                  </a:lnTo>
                  <a:lnTo>
                    <a:pt x="1692178" y="604484"/>
                  </a:lnTo>
                  <a:lnTo>
                    <a:pt x="1693624" y="607278"/>
                  </a:lnTo>
                  <a:lnTo>
                    <a:pt x="1693541" y="609169"/>
                  </a:lnTo>
                  <a:lnTo>
                    <a:pt x="1692638" y="611295"/>
                  </a:lnTo>
                  <a:lnTo>
                    <a:pt x="1690927" y="613701"/>
                  </a:lnTo>
                  <a:lnTo>
                    <a:pt x="1683174" y="616359"/>
                  </a:lnTo>
                  <a:lnTo>
                    <a:pt x="1678924" y="618444"/>
                  </a:lnTo>
                  <a:lnTo>
                    <a:pt x="1676289" y="619218"/>
                  </a:lnTo>
                  <a:lnTo>
                    <a:pt x="1668382" y="619990"/>
                  </a:lnTo>
                  <a:lnTo>
                    <a:pt x="1668731" y="620813"/>
                  </a:lnTo>
                  <a:lnTo>
                    <a:pt x="1674603" y="621947"/>
                  </a:lnTo>
                  <a:lnTo>
                    <a:pt x="1681163" y="621566"/>
                  </a:lnTo>
                  <a:lnTo>
                    <a:pt x="1680995" y="622913"/>
                  </a:lnTo>
                  <a:lnTo>
                    <a:pt x="1677913" y="626479"/>
                  </a:lnTo>
                  <a:lnTo>
                    <a:pt x="1676915" y="629579"/>
                  </a:lnTo>
                  <a:lnTo>
                    <a:pt x="1677773" y="632113"/>
                  </a:lnTo>
                  <a:lnTo>
                    <a:pt x="1677615" y="634169"/>
                  </a:lnTo>
                  <a:lnTo>
                    <a:pt x="1675318" y="638486"/>
                  </a:lnTo>
                  <a:lnTo>
                    <a:pt x="1672679" y="642378"/>
                  </a:lnTo>
                  <a:lnTo>
                    <a:pt x="1673672" y="642955"/>
                  </a:lnTo>
                  <a:lnTo>
                    <a:pt x="1679688" y="637364"/>
                  </a:lnTo>
                  <a:lnTo>
                    <a:pt x="1681301" y="631231"/>
                  </a:lnTo>
                  <a:lnTo>
                    <a:pt x="1683729" y="625825"/>
                  </a:lnTo>
                  <a:lnTo>
                    <a:pt x="1686556" y="622844"/>
                  </a:lnTo>
                  <a:lnTo>
                    <a:pt x="1688685" y="621711"/>
                  </a:lnTo>
                  <a:lnTo>
                    <a:pt x="1695406" y="621255"/>
                  </a:lnTo>
                  <a:lnTo>
                    <a:pt x="1699133" y="618085"/>
                  </a:lnTo>
                  <a:lnTo>
                    <a:pt x="1702315" y="617076"/>
                  </a:lnTo>
                  <a:lnTo>
                    <a:pt x="1703646" y="617058"/>
                  </a:lnTo>
                  <a:lnTo>
                    <a:pt x="1706356" y="618239"/>
                  </a:lnTo>
                  <a:lnTo>
                    <a:pt x="1706194" y="619484"/>
                  </a:lnTo>
                  <a:lnTo>
                    <a:pt x="1702263" y="625144"/>
                  </a:lnTo>
                  <a:lnTo>
                    <a:pt x="1693930" y="634282"/>
                  </a:lnTo>
                  <a:lnTo>
                    <a:pt x="1697326" y="633240"/>
                  </a:lnTo>
                  <a:lnTo>
                    <a:pt x="1699629" y="631070"/>
                  </a:lnTo>
                  <a:lnTo>
                    <a:pt x="1702713" y="628904"/>
                  </a:lnTo>
                  <a:lnTo>
                    <a:pt x="1706214" y="625696"/>
                  </a:lnTo>
                  <a:lnTo>
                    <a:pt x="1708524" y="628605"/>
                  </a:lnTo>
                  <a:lnTo>
                    <a:pt x="1712077" y="630772"/>
                  </a:lnTo>
                  <a:lnTo>
                    <a:pt x="1714202" y="635717"/>
                  </a:lnTo>
                  <a:lnTo>
                    <a:pt x="1717635" y="638095"/>
                  </a:lnTo>
                  <a:lnTo>
                    <a:pt x="1719708" y="639940"/>
                  </a:lnTo>
                  <a:lnTo>
                    <a:pt x="1719415" y="636818"/>
                  </a:lnTo>
                  <a:lnTo>
                    <a:pt x="1716416" y="630537"/>
                  </a:lnTo>
                  <a:lnTo>
                    <a:pt x="1717234" y="628021"/>
                  </a:lnTo>
                  <a:lnTo>
                    <a:pt x="1719551" y="626761"/>
                  </a:lnTo>
                  <a:lnTo>
                    <a:pt x="1726774" y="621463"/>
                  </a:lnTo>
                  <a:lnTo>
                    <a:pt x="1731819" y="623232"/>
                  </a:lnTo>
                  <a:lnTo>
                    <a:pt x="1734923" y="624797"/>
                  </a:lnTo>
                  <a:lnTo>
                    <a:pt x="1736478" y="624382"/>
                  </a:lnTo>
                  <a:lnTo>
                    <a:pt x="1740400" y="624600"/>
                  </a:lnTo>
                  <a:lnTo>
                    <a:pt x="1746691" y="625454"/>
                  </a:lnTo>
                  <a:lnTo>
                    <a:pt x="1752810" y="626932"/>
                  </a:lnTo>
                  <a:lnTo>
                    <a:pt x="1758755" y="629040"/>
                  </a:lnTo>
                  <a:lnTo>
                    <a:pt x="1763339" y="631498"/>
                  </a:lnTo>
                  <a:lnTo>
                    <a:pt x="1766559" y="634315"/>
                  </a:lnTo>
                  <a:lnTo>
                    <a:pt x="1768508" y="636259"/>
                  </a:lnTo>
                  <a:lnTo>
                    <a:pt x="1769185" y="637335"/>
                  </a:lnTo>
                  <a:lnTo>
                    <a:pt x="1770272" y="640134"/>
                  </a:lnTo>
                  <a:lnTo>
                    <a:pt x="1769438" y="641992"/>
                  </a:lnTo>
                  <a:lnTo>
                    <a:pt x="1764945" y="646267"/>
                  </a:lnTo>
                  <a:lnTo>
                    <a:pt x="1762449" y="648206"/>
                  </a:lnTo>
                  <a:lnTo>
                    <a:pt x="1759963" y="649075"/>
                  </a:lnTo>
                  <a:lnTo>
                    <a:pt x="1753292" y="648222"/>
                  </a:lnTo>
                  <a:lnTo>
                    <a:pt x="1751218" y="648708"/>
                  </a:lnTo>
                  <a:lnTo>
                    <a:pt x="1749039" y="650052"/>
                  </a:lnTo>
                  <a:lnTo>
                    <a:pt x="1742096" y="655911"/>
                  </a:lnTo>
                  <a:lnTo>
                    <a:pt x="1738257" y="658440"/>
                  </a:lnTo>
                  <a:lnTo>
                    <a:pt x="1734480" y="660050"/>
                  </a:lnTo>
                  <a:lnTo>
                    <a:pt x="1733601" y="660902"/>
                  </a:lnTo>
                  <a:lnTo>
                    <a:pt x="1741720" y="660821"/>
                  </a:lnTo>
                  <a:lnTo>
                    <a:pt x="1743967" y="659084"/>
                  </a:lnTo>
                  <a:lnTo>
                    <a:pt x="1745841" y="655825"/>
                  </a:lnTo>
                  <a:lnTo>
                    <a:pt x="1749412" y="652457"/>
                  </a:lnTo>
                  <a:lnTo>
                    <a:pt x="1756173" y="650908"/>
                  </a:lnTo>
                  <a:lnTo>
                    <a:pt x="1765598" y="654230"/>
                  </a:lnTo>
                  <a:lnTo>
                    <a:pt x="1770279" y="654097"/>
                  </a:lnTo>
                  <a:lnTo>
                    <a:pt x="1773851" y="650762"/>
                  </a:lnTo>
                  <a:lnTo>
                    <a:pt x="1777840" y="648489"/>
                  </a:lnTo>
                  <a:lnTo>
                    <a:pt x="1779411" y="648037"/>
                  </a:lnTo>
                  <a:lnTo>
                    <a:pt x="1780263" y="648290"/>
                  </a:lnTo>
                  <a:lnTo>
                    <a:pt x="1783302" y="650661"/>
                  </a:lnTo>
                  <a:lnTo>
                    <a:pt x="1784218" y="652774"/>
                  </a:lnTo>
                  <a:lnTo>
                    <a:pt x="1784152" y="657592"/>
                  </a:lnTo>
                  <a:lnTo>
                    <a:pt x="1783743" y="659049"/>
                  </a:lnTo>
                  <a:lnTo>
                    <a:pt x="1781043" y="662679"/>
                  </a:lnTo>
                  <a:lnTo>
                    <a:pt x="1774449" y="668118"/>
                  </a:lnTo>
                  <a:lnTo>
                    <a:pt x="1770138" y="670155"/>
                  </a:lnTo>
                  <a:lnTo>
                    <a:pt x="1765353" y="671250"/>
                  </a:lnTo>
                  <a:lnTo>
                    <a:pt x="1760144" y="673090"/>
                  </a:lnTo>
                  <a:lnTo>
                    <a:pt x="1758306" y="674572"/>
                  </a:lnTo>
                  <a:lnTo>
                    <a:pt x="1756507" y="676674"/>
                  </a:lnTo>
                  <a:lnTo>
                    <a:pt x="1754712" y="678079"/>
                  </a:lnTo>
                  <a:lnTo>
                    <a:pt x="1752429" y="679245"/>
                  </a:lnTo>
                  <a:lnTo>
                    <a:pt x="1755417" y="680954"/>
                  </a:lnTo>
                  <a:lnTo>
                    <a:pt x="1756560" y="680907"/>
                  </a:lnTo>
                  <a:lnTo>
                    <a:pt x="1757665" y="679884"/>
                  </a:lnTo>
                  <a:lnTo>
                    <a:pt x="1760675" y="675851"/>
                  </a:lnTo>
                  <a:lnTo>
                    <a:pt x="1762914" y="674092"/>
                  </a:lnTo>
                  <a:lnTo>
                    <a:pt x="1764183" y="673722"/>
                  </a:lnTo>
                  <a:lnTo>
                    <a:pt x="1765490" y="673890"/>
                  </a:lnTo>
                  <a:lnTo>
                    <a:pt x="1766764" y="674683"/>
                  </a:lnTo>
                  <a:lnTo>
                    <a:pt x="1768006" y="676098"/>
                  </a:lnTo>
                  <a:lnTo>
                    <a:pt x="1767912" y="679535"/>
                  </a:lnTo>
                  <a:lnTo>
                    <a:pt x="1764112" y="693099"/>
                  </a:lnTo>
                  <a:lnTo>
                    <a:pt x="1764729" y="693060"/>
                  </a:lnTo>
                  <a:lnTo>
                    <a:pt x="1767062" y="689389"/>
                  </a:lnTo>
                  <a:lnTo>
                    <a:pt x="1773853" y="675238"/>
                  </a:lnTo>
                  <a:lnTo>
                    <a:pt x="1775513" y="672394"/>
                  </a:lnTo>
                  <a:lnTo>
                    <a:pt x="1778791" y="669521"/>
                  </a:lnTo>
                  <a:lnTo>
                    <a:pt x="1786134" y="665165"/>
                  </a:lnTo>
                  <a:lnTo>
                    <a:pt x="1791806" y="662882"/>
                  </a:lnTo>
                  <a:lnTo>
                    <a:pt x="1798209" y="660959"/>
                  </a:lnTo>
                  <a:lnTo>
                    <a:pt x="1801630" y="660244"/>
                  </a:lnTo>
                  <a:lnTo>
                    <a:pt x="1805538" y="660726"/>
                  </a:lnTo>
                  <a:lnTo>
                    <a:pt x="1808078" y="662971"/>
                  </a:lnTo>
                  <a:lnTo>
                    <a:pt x="1811511" y="663375"/>
                  </a:lnTo>
                  <a:lnTo>
                    <a:pt x="1815689" y="662816"/>
                  </a:lnTo>
                  <a:lnTo>
                    <a:pt x="1818385" y="663085"/>
                  </a:lnTo>
                  <a:lnTo>
                    <a:pt x="1821436" y="663973"/>
                  </a:lnTo>
                  <a:lnTo>
                    <a:pt x="1824047" y="665635"/>
                  </a:lnTo>
                  <a:lnTo>
                    <a:pt x="1828485" y="667520"/>
                  </a:lnTo>
                  <a:lnTo>
                    <a:pt x="1838499" y="671053"/>
                  </a:lnTo>
                  <a:lnTo>
                    <a:pt x="1839745" y="671795"/>
                  </a:lnTo>
                  <a:lnTo>
                    <a:pt x="1840906" y="673131"/>
                  </a:lnTo>
                  <a:lnTo>
                    <a:pt x="1841986" y="675061"/>
                  </a:lnTo>
                  <a:lnTo>
                    <a:pt x="1841852" y="676969"/>
                  </a:lnTo>
                  <a:lnTo>
                    <a:pt x="1840506" y="678859"/>
                  </a:lnTo>
                  <a:lnTo>
                    <a:pt x="1838834" y="680009"/>
                  </a:lnTo>
                  <a:lnTo>
                    <a:pt x="1836836" y="680429"/>
                  </a:lnTo>
                  <a:lnTo>
                    <a:pt x="1834770" y="681456"/>
                  </a:lnTo>
                  <a:lnTo>
                    <a:pt x="1830946" y="684141"/>
                  </a:lnTo>
                  <a:lnTo>
                    <a:pt x="1829697" y="684596"/>
                  </a:lnTo>
                  <a:lnTo>
                    <a:pt x="1823700" y="685749"/>
                  </a:lnTo>
                  <a:lnTo>
                    <a:pt x="1818139" y="686314"/>
                  </a:lnTo>
                  <a:lnTo>
                    <a:pt x="1814666" y="687393"/>
                  </a:lnTo>
                  <a:lnTo>
                    <a:pt x="1807991" y="690300"/>
                  </a:lnTo>
                  <a:lnTo>
                    <a:pt x="1798800" y="695686"/>
                  </a:lnTo>
                  <a:lnTo>
                    <a:pt x="1798894" y="696968"/>
                  </a:lnTo>
                  <a:lnTo>
                    <a:pt x="1802561" y="697584"/>
                  </a:lnTo>
                  <a:lnTo>
                    <a:pt x="1805533" y="696773"/>
                  </a:lnTo>
                  <a:lnTo>
                    <a:pt x="1809624" y="693054"/>
                  </a:lnTo>
                  <a:lnTo>
                    <a:pt x="1813466" y="691631"/>
                  </a:lnTo>
                  <a:lnTo>
                    <a:pt x="1819472" y="690491"/>
                  </a:lnTo>
                  <a:lnTo>
                    <a:pt x="1827779" y="689496"/>
                  </a:lnTo>
                  <a:lnTo>
                    <a:pt x="1831337" y="689651"/>
                  </a:lnTo>
                  <a:lnTo>
                    <a:pt x="1831979" y="689851"/>
                  </a:lnTo>
                  <a:lnTo>
                    <a:pt x="1832442" y="690732"/>
                  </a:lnTo>
                  <a:lnTo>
                    <a:pt x="1832730" y="692287"/>
                  </a:lnTo>
                  <a:lnTo>
                    <a:pt x="1831370" y="694315"/>
                  </a:lnTo>
                  <a:lnTo>
                    <a:pt x="1829793" y="695274"/>
                  </a:lnTo>
                  <a:lnTo>
                    <a:pt x="1825503" y="699855"/>
                  </a:lnTo>
                  <a:lnTo>
                    <a:pt x="1828324" y="701043"/>
                  </a:lnTo>
                  <a:lnTo>
                    <a:pt x="1832204" y="701557"/>
                  </a:lnTo>
                  <a:lnTo>
                    <a:pt x="1834417" y="700331"/>
                  </a:lnTo>
                  <a:lnTo>
                    <a:pt x="1836418" y="697519"/>
                  </a:lnTo>
                  <a:lnTo>
                    <a:pt x="1838662" y="695959"/>
                  </a:lnTo>
                  <a:lnTo>
                    <a:pt x="1841149" y="695650"/>
                  </a:lnTo>
                  <a:lnTo>
                    <a:pt x="1843335" y="694935"/>
                  </a:lnTo>
                  <a:lnTo>
                    <a:pt x="1845221" y="693807"/>
                  </a:lnTo>
                  <a:lnTo>
                    <a:pt x="1845734" y="693070"/>
                  </a:lnTo>
                  <a:lnTo>
                    <a:pt x="1842991" y="691607"/>
                  </a:lnTo>
                  <a:lnTo>
                    <a:pt x="1842773" y="690716"/>
                  </a:lnTo>
                  <a:lnTo>
                    <a:pt x="1843892" y="688526"/>
                  </a:lnTo>
                  <a:lnTo>
                    <a:pt x="1845909" y="686099"/>
                  </a:lnTo>
                  <a:lnTo>
                    <a:pt x="1848011" y="684589"/>
                  </a:lnTo>
                  <a:lnTo>
                    <a:pt x="1849572" y="684469"/>
                  </a:lnTo>
                  <a:lnTo>
                    <a:pt x="1854738" y="686087"/>
                  </a:lnTo>
                  <a:lnTo>
                    <a:pt x="1858271" y="688911"/>
                  </a:lnTo>
                  <a:lnTo>
                    <a:pt x="1867205" y="697339"/>
                  </a:lnTo>
                  <a:lnTo>
                    <a:pt x="1868353" y="698972"/>
                  </a:lnTo>
                  <a:lnTo>
                    <a:pt x="1871459" y="705209"/>
                  </a:lnTo>
                  <a:lnTo>
                    <a:pt x="1872049" y="707975"/>
                  </a:lnTo>
                  <a:lnTo>
                    <a:pt x="1871538" y="709899"/>
                  </a:lnTo>
                  <a:lnTo>
                    <a:pt x="1870807" y="711078"/>
                  </a:lnTo>
                  <a:lnTo>
                    <a:pt x="1869852" y="711503"/>
                  </a:lnTo>
                  <a:lnTo>
                    <a:pt x="1867888" y="711516"/>
                  </a:lnTo>
                  <a:lnTo>
                    <a:pt x="1855984" y="708972"/>
                  </a:lnTo>
                  <a:lnTo>
                    <a:pt x="1850552" y="709303"/>
                  </a:lnTo>
                  <a:lnTo>
                    <a:pt x="1848180" y="710014"/>
                  </a:lnTo>
                  <a:lnTo>
                    <a:pt x="1846266" y="711083"/>
                  </a:lnTo>
                  <a:lnTo>
                    <a:pt x="1844780" y="712427"/>
                  </a:lnTo>
                  <a:lnTo>
                    <a:pt x="1843723" y="714053"/>
                  </a:lnTo>
                  <a:lnTo>
                    <a:pt x="1841635" y="714968"/>
                  </a:lnTo>
                  <a:lnTo>
                    <a:pt x="1834083" y="715000"/>
                  </a:lnTo>
                  <a:lnTo>
                    <a:pt x="1829844" y="715906"/>
                  </a:lnTo>
                  <a:lnTo>
                    <a:pt x="1822556" y="718111"/>
                  </a:lnTo>
                  <a:lnTo>
                    <a:pt x="1819941" y="719329"/>
                  </a:lnTo>
                  <a:lnTo>
                    <a:pt x="1819355" y="720922"/>
                  </a:lnTo>
                  <a:lnTo>
                    <a:pt x="1823814" y="720644"/>
                  </a:lnTo>
                  <a:lnTo>
                    <a:pt x="1831159" y="718573"/>
                  </a:lnTo>
                  <a:lnTo>
                    <a:pt x="1838061" y="717985"/>
                  </a:lnTo>
                  <a:lnTo>
                    <a:pt x="1849596" y="722540"/>
                  </a:lnTo>
                  <a:lnTo>
                    <a:pt x="1853396" y="723247"/>
                  </a:lnTo>
                  <a:lnTo>
                    <a:pt x="1855511" y="722592"/>
                  </a:lnTo>
                  <a:lnTo>
                    <a:pt x="1858055" y="722388"/>
                  </a:lnTo>
                  <a:lnTo>
                    <a:pt x="1867275" y="722691"/>
                  </a:lnTo>
                  <a:lnTo>
                    <a:pt x="1870418" y="723247"/>
                  </a:lnTo>
                  <a:lnTo>
                    <a:pt x="1875090" y="724991"/>
                  </a:lnTo>
                  <a:lnTo>
                    <a:pt x="1882237" y="728776"/>
                  </a:lnTo>
                  <a:lnTo>
                    <a:pt x="1883609" y="729884"/>
                  </a:lnTo>
                  <a:lnTo>
                    <a:pt x="1884407" y="731052"/>
                  </a:lnTo>
                  <a:lnTo>
                    <a:pt x="1884635" y="732272"/>
                  </a:lnTo>
                  <a:lnTo>
                    <a:pt x="1884558" y="735280"/>
                  </a:lnTo>
                  <a:lnTo>
                    <a:pt x="1883845" y="736298"/>
                  </a:lnTo>
                  <a:lnTo>
                    <a:pt x="1881424" y="736988"/>
                  </a:lnTo>
                  <a:lnTo>
                    <a:pt x="1871152" y="736189"/>
                  </a:lnTo>
                  <a:lnTo>
                    <a:pt x="1868017" y="735562"/>
                  </a:lnTo>
                  <a:lnTo>
                    <a:pt x="1864159" y="736352"/>
                  </a:lnTo>
                  <a:lnTo>
                    <a:pt x="1861030" y="736076"/>
                  </a:lnTo>
                  <a:lnTo>
                    <a:pt x="1857028" y="734870"/>
                  </a:lnTo>
                  <a:lnTo>
                    <a:pt x="1852630" y="732732"/>
                  </a:lnTo>
                  <a:lnTo>
                    <a:pt x="1846045" y="734761"/>
                  </a:lnTo>
                  <a:lnTo>
                    <a:pt x="1840767" y="733443"/>
                  </a:lnTo>
                  <a:lnTo>
                    <a:pt x="1835377" y="734612"/>
                  </a:lnTo>
                  <a:lnTo>
                    <a:pt x="1824684" y="739426"/>
                  </a:lnTo>
                  <a:lnTo>
                    <a:pt x="1825880" y="740256"/>
                  </a:lnTo>
                  <a:lnTo>
                    <a:pt x="1840533" y="736126"/>
                  </a:lnTo>
                  <a:lnTo>
                    <a:pt x="1843362" y="736378"/>
                  </a:lnTo>
                  <a:lnTo>
                    <a:pt x="1847994" y="737884"/>
                  </a:lnTo>
                  <a:lnTo>
                    <a:pt x="1855315" y="740852"/>
                  </a:lnTo>
                  <a:lnTo>
                    <a:pt x="1857366" y="742066"/>
                  </a:lnTo>
                  <a:lnTo>
                    <a:pt x="1857383" y="746722"/>
                  </a:lnTo>
                  <a:lnTo>
                    <a:pt x="1856265" y="749848"/>
                  </a:lnTo>
                  <a:lnTo>
                    <a:pt x="1854032" y="753361"/>
                  </a:lnTo>
                  <a:lnTo>
                    <a:pt x="1850674" y="752888"/>
                  </a:lnTo>
                  <a:lnTo>
                    <a:pt x="1842849" y="750703"/>
                  </a:lnTo>
                  <a:lnTo>
                    <a:pt x="1839649" y="750402"/>
                  </a:lnTo>
                  <a:lnTo>
                    <a:pt x="1837308" y="750759"/>
                  </a:lnTo>
                  <a:lnTo>
                    <a:pt x="1834165" y="752151"/>
                  </a:lnTo>
                  <a:lnTo>
                    <a:pt x="1832680" y="752201"/>
                  </a:lnTo>
                  <a:lnTo>
                    <a:pt x="1820164" y="749428"/>
                  </a:lnTo>
                  <a:lnTo>
                    <a:pt x="1817351" y="749297"/>
                  </a:lnTo>
                  <a:lnTo>
                    <a:pt x="1817025" y="749579"/>
                  </a:lnTo>
                  <a:lnTo>
                    <a:pt x="1817623" y="750130"/>
                  </a:lnTo>
                  <a:lnTo>
                    <a:pt x="1828973" y="754423"/>
                  </a:lnTo>
                  <a:lnTo>
                    <a:pt x="1837362" y="754892"/>
                  </a:lnTo>
                  <a:lnTo>
                    <a:pt x="1842621" y="755634"/>
                  </a:lnTo>
                  <a:lnTo>
                    <a:pt x="1845735" y="756941"/>
                  </a:lnTo>
                  <a:lnTo>
                    <a:pt x="1847204" y="757909"/>
                  </a:lnTo>
                  <a:lnTo>
                    <a:pt x="1847308" y="760775"/>
                  </a:lnTo>
                  <a:lnTo>
                    <a:pt x="1850109" y="763655"/>
                  </a:lnTo>
                  <a:lnTo>
                    <a:pt x="1852630" y="764825"/>
                  </a:lnTo>
                  <a:lnTo>
                    <a:pt x="1854238" y="764879"/>
                  </a:lnTo>
                  <a:lnTo>
                    <a:pt x="1857003" y="763819"/>
                  </a:lnTo>
                  <a:lnTo>
                    <a:pt x="1859794" y="763655"/>
                  </a:lnTo>
                  <a:lnTo>
                    <a:pt x="1862051" y="764393"/>
                  </a:lnTo>
                  <a:lnTo>
                    <a:pt x="1864876" y="765981"/>
                  </a:lnTo>
                  <a:lnTo>
                    <a:pt x="1868294" y="766425"/>
                  </a:lnTo>
                  <a:lnTo>
                    <a:pt x="1871292" y="767389"/>
                  </a:lnTo>
                  <a:lnTo>
                    <a:pt x="1873607" y="767583"/>
                  </a:lnTo>
                  <a:lnTo>
                    <a:pt x="1880124" y="767136"/>
                  </a:lnTo>
                  <a:lnTo>
                    <a:pt x="1882949" y="767746"/>
                  </a:lnTo>
                  <a:lnTo>
                    <a:pt x="1883681" y="768275"/>
                  </a:lnTo>
                  <a:lnTo>
                    <a:pt x="1882451" y="769200"/>
                  </a:lnTo>
                  <a:lnTo>
                    <a:pt x="1876496" y="771416"/>
                  </a:lnTo>
                  <a:lnTo>
                    <a:pt x="1875591" y="773526"/>
                  </a:lnTo>
                  <a:lnTo>
                    <a:pt x="1878952" y="776266"/>
                  </a:lnTo>
                  <a:lnTo>
                    <a:pt x="1880712" y="778362"/>
                  </a:lnTo>
                  <a:lnTo>
                    <a:pt x="1880627" y="779925"/>
                  </a:lnTo>
                  <a:lnTo>
                    <a:pt x="1878832" y="783481"/>
                  </a:lnTo>
                  <a:lnTo>
                    <a:pt x="1878376" y="784910"/>
                  </a:lnTo>
                  <a:lnTo>
                    <a:pt x="1878967" y="785026"/>
                  </a:lnTo>
                  <a:lnTo>
                    <a:pt x="1883298" y="782148"/>
                  </a:lnTo>
                  <a:lnTo>
                    <a:pt x="1883973" y="782517"/>
                  </a:lnTo>
                  <a:lnTo>
                    <a:pt x="1884424" y="786500"/>
                  </a:lnTo>
                  <a:lnTo>
                    <a:pt x="1884979" y="786274"/>
                  </a:lnTo>
                  <a:lnTo>
                    <a:pt x="1886430" y="782978"/>
                  </a:lnTo>
                  <a:lnTo>
                    <a:pt x="1885784" y="778580"/>
                  </a:lnTo>
                  <a:lnTo>
                    <a:pt x="1888324" y="776844"/>
                  </a:lnTo>
                  <a:lnTo>
                    <a:pt x="1896397" y="775526"/>
                  </a:lnTo>
                  <a:lnTo>
                    <a:pt x="1895030" y="782424"/>
                  </a:lnTo>
                  <a:lnTo>
                    <a:pt x="1894817" y="785998"/>
                  </a:lnTo>
                  <a:lnTo>
                    <a:pt x="1891288" y="791939"/>
                  </a:lnTo>
                  <a:lnTo>
                    <a:pt x="1888345" y="793851"/>
                  </a:lnTo>
                  <a:lnTo>
                    <a:pt x="1888433" y="794247"/>
                  </a:lnTo>
                  <a:lnTo>
                    <a:pt x="1890526" y="795001"/>
                  </a:lnTo>
                  <a:lnTo>
                    <a:pt x="1891833" y="795083"/>
                  </a:lnTo>
                  <a:lnTo>
                    <a:pt x="1893086" y="794157"/>
                  </a:lnTo>
                  <a:lnTo>
                    <a:pt x="1896073" y="789571"/>
                  </a:lnTo>
                  <a:lnTo>
                    <a:pt x="1902142" y="784786"/>
                  </a:lnTo>
                  <a:lnTo>
                    <a:pt x="1903244" y="784683"/>
                  </a:lnTo>
                  <a:lnTo>
                    <a:pt x="1903203" y="786415"/>
                  </a:lnTo>
                  <a:lnTo>
                    <a:pt x="1902420" y="789628"/>
                  </a:lnTo>
                  <a:lnTo>
                    <a:pt x="1905222" y="791133"/>
                  </a:lnTo>
                  <a:lnTo>
                    <a:pt x="1907895" y="789643"/>
                  </a:lnTo>
                  <a:lnTo>
                    <a:pt x="1909347" y="788354"/>
                  </a:lnTo>
                  <a:lnTo>
                    <a:pt x="1912703" y="788545"/>
                  </a:lnTo>
                  <a:lnTo>
                    <a:pt x="1914231" y="789156"/>
                  </a:lnTo>
                  <a:lnTo>
                    <a:pt x="1914686" y="790573"/>
                  </a:lnTo>
                  <a:lnTo>
                    <a:pt x="1913143" y="796497"/>
                  </a:lnTo>
                  <a:lnTo>
                    <a:pt x="1913425" y="797961"/>
                  </a:lnTo>
                  <a:lnTo>
                    <a:pt x="1916965" y="801893"/>
                  </a:lnTo>
                  <a:lnTo>
                    <a:pt x="1917324" y="801658"/>
                  </a:lnTo>
                  <a:lnTo>
                    <a:pt x="1916655" y="799761"/>
                  </a:lnTo>
                  <a:lnTo>
                    <a:pt x="1915926" y="795066"/>
                  </a:lnTo>
                  <a:lnTo>
                    <a:pt x="1916608" y="793029"/>
                  </a:lnTo>
                  <a:lnTo>
                    <a:pt x="1919524" y="790408"/>
                  </a:lnTo>
                  <a:lnTo>
                    <a:pt x="1925506" y="786632"/>
                  </a:lnTo>
                  <a:lnTo>
                    <a:pt x="1927724" y="785883"/>
                  </a:lnTo>
                  <a:lnTo>
                    <a:pt x="1929109" y="786396"/>
                  </a:lnTo>
                  <a:lnTo>
                    <a:pt x="1931311" y="788210"/>
                  </a:lnTo>
                  <a:lnTo>
                    <a:pt x="1930624" y="789293"/>
                  </a:lnTo>
                  <a:lnTo>
                    <a:pt x="1928245" y="790425"/>
                  </a:lnTo>
                  <a:lnTo>
                    <a:pt x="1926479" y="792472"/>
                  </a:lnTo>
                  <a:lnTo>
                    <a:pt x="1925328" y="795435"/>
                  </a:lnTo>
                  <a:lnTo>
                    <a:pt x="1926604" y="797010"/>
                  </a:lnTo>
                  <a:lnTo>
                    <a:pt x="1931453" y="797151"/>
                  </a:lnTo>
                  <a:lnTo>
                    <a:pt x="1936323" y="794723"/>
                  </a:lnTo>
                  <a:lnTo>
                    <a:pt x="1939119" y="795918"/>
                  </a:lnTo>
                  <a:lnTo>
                    <a:pt x="1942444" y="799074"/>
                  </a:lnTo>
                  <a:lnTo>
                    <a:pt x="1948534" y="804136"/>
                  </a:lnTo>
                  <a:lnTo>
                    <a:pt x="1952003" y="802757"/>
                  </a:lnTo>
                  <a:lnTo>
                    <a:pt x="1956294" y="806596"/>
                  </a:lnTo>
                  <a:lnTo>
                    <a:pt x="1950530" y="809638"/>
                  </a:lnTo>
                  <a:lnTo>
                    <a:pt x="1952294" y="816026"/>
                  </a:lnTo>
                  <a:lnTo>
                    <a:pt x="1944806" y="815761"/>
                  </a:lnTo>
                  <a:lnTo>
                    <a:pt x="1940596" y="816261"/>
                  </a:lnTo>
                  <a:lnTo>
                    <a:pt x="1937776" y="815688"/>
                  </a:lnTo>
                  <a:lnTo>
                    <a:pt x="1934748" y="815887"/>
                  </a:lnTo>
                  <a:lnTo>
                    <a:pt x="1937554" y="817393"/>
                  </a:lnTo>
                  <a:lnTo>
                    <a:pt x="1942963" y="818013"/>
                  </a:lnTo>
                  <a:lnTo>
                    <a:pt x="1943457" y="819943"/>
                  </a:lnTo>
                  <a:lnTo>
                    <a:pt x="1947705" y="819895"/>
                  </a:lnTo>
                  <a:lnTo>
                    <a:pt x="1950893" y="819525"/>
                  </a:lnTo>
                  <a:lnTo>
                    <a:pt x="1956648" y="819601"/>
                  </a:lnTo>
                  <a:lnTo>
                    <a:pt x="1956955" y="817386"/>
                  </a:lnTo>
                  <a:lnTo>
                    <a:pt x="1960699" y="816120"/>
                  </a:lnTo>
                  <a:lnTo>
                    <a:pt x="1962851" y="814726"/>
                  </a:lnTo>
                  <a:lnTo>
                    <a:pt x="1964639" y="815551"/>
                  </a:lnTo>
                  <a:lnTo>
                    <a:pt x="1969844" y="816498"/>
                  </a:lnTo>
                  <a:lnTo>
                    <a:pt x="1976834" y="820851"/>
                  </a:lnTo>
                  <a:lnTo>
                    <a:pt x="1973754" y="823452"/>
                  </a:lnTo>
                  <a:lnTo>
                    <a:pt x="1972915" y="825908"/>
                  </a:lnTo>
                  <a:lnTo>
                    <a:pt x="1971880" y="827986"/>
                  </a:lnTo>
                  <a:lnTo>
                    <a:pt x="1971300" y="829861"/>
                  </a:lnTo>
                  <a:lnTo>
                    <a:pt x="1970073" y="831151"/>
                  </a:lnTo>
                  <a:lnTo>
                    <a:pt x="1960063" y="838492"/>
                  </a:lnTo>
                  <a:lnTo>
                    <a:pt x="1961720" y="838559"/>
                  </a:lnTo>
                  <a:lnTo>
                    <a:pt x="1965955" y="836787"/>
                  </a:lnTo>
                  <a:lnTo>
                    <a:pt x="1974209" y="834146"/>
                  </a:lnTo>
                  <a:lnTo>
                    <a:pt x="1978808" y="833082"/>
                  </a:lnTo>
                  <a:lnTo>
                    <a:pt x="1982078" y="833789"/>
                  </a:lnTo>
                  <a:lnTo>
                    <a:pt x="1983730" y="833820"/>
                  </a:lnTo>
                  <a:lnTo>
                    <a:pt x="1985194" y="832876"/>
                  </a:lnTo>
                  <a:lnTo>
                    <a:pt x="1987921" y="833963"/>
                  </a:lnTo>
                  <a:lnTo>
                    <a:pt x="1993579" y="834955"/>
                  </a:lnTo>
                  <a:lnTo>
                    <a:pt x="2000074" y="828917"/>
                  </a:lnTo>
                  <a:lnTo>
                    <a:pt x="2004005" y="830102"/>
                  </a:lnTo>
                  <a:lnTo>
                    <a:pt x="2007668" y="833830"/>
                  </a:lnTo>
                  <a:lnTo>
                    <a:pt x="2015514" y="840362"/>
                  </a:lnTo>
                  <a:lnTo>
                    <a:pt x="2019603" y="844156"/>
                  </a:lnTo>
                  <a:lnTo>
                    <a:pt x="2020965" y="845875"/>
                  </a:lnTo>
                  <a:lnTo>
                    <a:pt x="2020775" y="847568"/>
                  </a:lnTo>
                  <a:lnTo>
                    <a:pt x="2017077" y="849359"/>
                  </a:lnTo>
                  <a:lnTo>
                    <a:pt x="2015181" y="849719"/>
                  </a:lnTo>
                  <a:lnTo>
                    <a:pt x="2010203" y="846339"/>
                  </a:lnTo>
                  <a:lnTo>
                    <a:pt x="2005630" y="844627"/>
                  </a:lnTo>
                  <a:lnTo>
                    <a:pt x="2002847" y="844811"/>
                  </a:lnTo>
                  <a:lnTo>
                    <a:pt x="2000081" y="846116"/>
                  </a:lnTo>
                  <a:lnTo>
                    <a:pt x="2000943" y="846843"/>
                  </a:lnTo>
                  <a:lnTo>
                    <a:pt x="2012016" y="852047"/>
                  </a:lnTo>
                  <a:lnTo>
                    <a:pt x="2013948" y="855880"/>
                  </a:lnTo>
                  <a:lnTo>
                    <a:pt x="2014092" y="857553"/>
                  </a:lnTo>
                  <a:lnTo>
                    <a:pt x="2006690" y="860087"/>
                  </a:lnTo>
                  <a:lnTo>
                    <a:pt x="2004315" y="860237"/>
                  </a:lnTo>
                  <a:lnTo>
                    <a:pt x="1999191" y="859027"/>
                  </a:lnTo>
                  <a:lnTo>
                    <a:pt x="1996187" y="856768"/>
                  </a:lnTo>
                  <a:lnTo>
                    <a:pt x="1993712" y="855950"/>
                  </a:lnTo>
                  <a:lnTo>
                    <a:pt x="1990281" y="855682"/>
                  </a:lnTo>
                  <a:lnTo>
                    <a:pt x="1989183" y="856120"/>
                  </a:lnTo>
                  <a:lnTo>
                    <a:pt x="1992922" y="859958"/>
                  </a:lnTo>
                  <a:lnTo>
                    <a:pt x="1992563" y="861112"/>
                  </a:lnTo>
                  <a:lnTo>
                    <a:pt x="1990632" y="861857"/>
                  </a:lnTo>
                  <a:lnTo>
                    <a:pt x="1989678" y="863705"/>
                  </a:lnTo>
                  <a:lnTo>
                    <a:pt x="1997070" y="867033"/>
                  </a:lnTo>
                  <a:lnTo>
                    <a:pt x="2002602" y="870413"/>
                  </a:lnTo>
                  <a:lnTo>
                    <a:pt x="2003421" y="871766"/>
                  </a:lnTo>
                  <a:lnTo>
                    <a:pt x="1999692" y="872769"/>
                  </a:lnTo>
                  <a:lnTo>
                    <a:pt x="1997012" y="873001"/>
                  </a:lnTo>
                  <a:lnTo>
                    <a:pt x="1991348" y="872513"/>
                  </a:lnTo>
                  <a:lnTo>
                    <a:pt x="1988240" y="871802"/>
                  </a:lnTo>
                  <a:lnTo>
                    <a:pt x="1987382" y="872564"/>
                  </a:lnTo>
                  <a:lnTo>
                    <a:pt x="1990597" y="874335"/>
                  </a:lnTo>
                  <a:lnTo>
                    <a:pt x="1991838" y="875530"/>
                  </a:lnTo>
                  <a:lnTo>
                    <a:pt x="1992804" y="877195"/>
                  </a:lnTo>
                  <a:lnTo>
                    <a:pt x="1993366" y="878763"/>
                  </a:lnTo>
                  <a:lnTo>
                    <a:pt x="1993523" y="880227"/>
                  </a:lnTo>
                  <a:lnTo>
                    <a:pt x="1990894" y="881431"/>
                  </a:lnTo>
                  <a:lnTo>
                    <a:pt x="1987734" y="884807"/>
                  </a:lnTo>
                  <a:lnTo>
                    <a:pt x="1986502" y="888297"/>
                  </a:lnTo>
                  <a:lnTo>
                    <a:pt x="1983641" y="888628"/>
                  </a:lnTo>
                  <a:lnTo>
                    <a:pt x="1982485" y="887973"/>
                  </a:lnTo>
                  <a:lnTo>
                    <a:pt x="1978641" y="889030"/>
                  </a:lnTo>
                  <a:lnTo>
                    <a:pt x="1973568" y="887573"/>
                  </a:lnTo>
                  <a:lnTo>
                    <a:pt x="1971749" y="885978"/>
                  </a:lnTo>
                  <a:lnTo>
                    <a:pt x="1966220" y="879402"/>
                  </a:lnTo>
                  <a:lnTo>
                    <a:pt x="1966077" y="880141"/>
                  </a:lnTo>
                  <a:lnTo>
                    <a:pt x="1967461" y="883465"/>
                  </a:lnTo>
                  <a:lnTo>
                    <a:pt x="1967179" y="885435"/>
                  </a:lnTo>
                  <a:lnTo>
                    <a:pt x="1961321" y="886865"/>
                  </a:lnTo>
                  <a:lnTo>
                    <a:pt x="1961343" y="887420"/>
                  </a:lnTo>
                  <a:lnTo>
                    <a:pt x="1964940" y="888460"/>
                  </a:lnTo>
                  <a:lnTo>
                    <a:pt x="1969295" y="889263"/>
                  </a:lnTo>
                  <a:lnTo>
                    <a:pt x="1968615" y="892324"/>
                  </a:lnTo>
                  <a:lnTo>
                    <a:pt x="1968638" y="905324"/>
                  </a:lnTo>
                  <a:lnTo>
                    <a:pt x="1967663" y="909922"/>
                  </a:lnTo>
                  <a:lnTo>
                    <a:pt x="1965533" y="913931"/>
                  </a:lnTo>
                  <a:lnTo>
                    <a:pt x="1962471" y="917766"/>
                  </a:lnTo>
                  <a:lnTo>
                    <a:pt x="1959160" y="915254"/>
                  </a:lnTo>
                  <a:lnTo>
                    <a:pt x="1957837" y="912689"/>
                  </a:lnTo>
                  <a:lnTo>
                    <a:pt x="1956725" y="911372"/>
                  </a:lnTo>
                  <a:lnTo>
                    <a:pt x="1955142" y="910301"/>
                  </a:lnTo>
                  <a:lnTo>
                    <a:pt x="1953098" y="909797"/>
                  </a:lnTo>
                  <a:lnTo>
                    <a:pt x="1950938" y="909778"/>
                  </a:lnTo>
                  <a:lnTo>
                    <a:pt x="1948645" y="912079"/>
                  </a:lnTo>
                  <a:lnTo>
                    <a:pt x="1946145" y="910094"/>
                  </a:lnTo>
                  <a:lnTo>
                    <a:pt x="1943730" y="907694"/>
                  </a:lnTo>
                  <a:lnTo>
                    <a:pt x="1944641" y="901399"/>
                  </a:lnTo>
                  <a:lnTo>
                    <a:pt x="1945658" y="898240"/>
                  </a:lnTo>
                  <a:lnTo>
                    <a:pt x="1945251" y="898264"/>
                  </a:lnTo>
                  <a:lnTo>
                    <a:pt x="1943876" y="899758"/>
                  </a:lnTo>
                  <a:lnTo>
                    <a:pt x="1940582" y="904373"/>
                  </a:lnTo>
                  <a:lnTo>
                    <a:pt x="1938421" y="909998"/>
                  </a:lnTo>
                  <a:lnTo>
                    <a:pt x="1935625" y="907837"/>
                  </a:lnTo>
                  <a:lnTo>
                    <a:pt x="1933103" y="905144"/>
                  </a:lnTo>
                  <a:lnTo>
                    <a:pt x="1931021" y="902435"/>
                  </a:lnTo>
                  <a:lnTo>
                    <a:pt x="1927655" y="899305"/>
                  </a:lnTo>
                  <a:lnTo>
                    <a:pt x="1924388" y="895625"/>
                  </a:lnTo>
                  <a:lnTo>
                    <a:pt x="1922684" y="891285"/>
                  </a:lnTo>
                  <a:lnTo>
                    <a:pt x="1921891" y="890392"/>
                  </a:lnTo>
                  <a:lnTo>
                    <a:pt x="1919988" y="886767"/>
                  </a:lnTo>
                  <a:lnTo>
                    <a:pt x="1919241" y="885730"/>
                  </a:lnTo>
                  <a:lnTo>
                    <a:pt x="1918584" y="885386"/>
                  </a:lnTo>
                  <a:lnTo>
                    <a:pt x="1916955" y="883122"/>
                  </a:lnTo>
                  <a:lnTo>
                    <a:pt x="1917552" y="880696"/>
                  </a:lnTo>
                  <a:lnTo>
                    <a:pt x="1920117" y="877827"/>
                  </a:lnTo>
                  <a:lnTo>
                    <a:pt x="1922452" y="875763"/>
                  </a:lnTo>
                  <a:lnTo>
                    <a:pt x="1926322" y="873728"/>
                  </a:lnTo>
                  <a:lnTo>
                    <a:pt x="1930849" y="872579"/>
                  </a:lnTo>
                  <a:lnTo>
                    <a:pt x="1932907" y="869949"/>
                  </a:lnTo>
                  <a:lnTo>
                    <a:pt x="1935430" y="865149"/>
                  </a:lnTo>
                  <a:lnTo>
                    <a:pt x="1938195" y="861803"/>
                  </a:lnTo>
                  <a:lnTo>
                    <a:pt x="1941203" y="859906"/>
                  </a:lnTo>
                  <a:lnTo>
                    <a:pt x="1939706" y="859554"/>
                  </a:lnTo>
                  <a:lnTo>
                    <a:pt x="1935883" y="861177"/>
                  </a:lnTo>
                  <a:lnTo>
                    <a:pt x="1933196" y="863541"/>
                  </a:lnTo>
                  <a:lnTo>
                    <a:pt x="1929998" y="867476"/>
                  </a:lnTo>
                  <a:lnTo>
                    <a:pt x="1927026" y="869984"/>
                  </a:lnTo>
                  <a:lnTo>
                    <a:pt x="1919396" y="872892"/>
                  </a:lnTo>
                  <a:lnTo>
                    <a:pt x="1916602" y="873473"/>
                  </a:lnTo>
                  <a:lnTo>
                    <a:pt x="1913352" y="873783"/>
                  </a:lnTo>
                  <a:lnTo>
                    <a:pt x="1906201" y="873376"/>
                  </a:lnTo>
                  <a:lnTo>
                    <a:pt x="1904544" y="872399"/>
                  </a:lnTo>
                  <a:lnTo>
                    <a:pt x="1905405" y="869619"/>
                  </a:lnTo>
                  <a:lnTo>
                    <a:pt x="1910497" y="864643"/>
                  </a:lnTo>
                  <a:lnTo>
                    <a:pt x="1909684" y="864291"/>
                  </a:lnTo>
                  <a:lnTo>
                    <a:pt x="1907894" y="866055"/>
                  </a:lnTo>
                  <a:lnTo>
                    <a:pt x="1905435" y="867273"/>
                  </a:lnTo>
                  <a:lnTo>
                    <a:pt x="1903304" y="867896"/>
                  </a:lnTo>
                  <a:lnTo>
                    <a:pt x="1900167" y="867673"/>
                  </a:lnTo>
                  <a:lnTo>
                    <a:pt x="1896493" y="864573"/>
                  </a:lnTo>
                  <a:lnTo>
                    <a:pt x="1894749" y="863617"/>
                  </a:lnTo>
                  <a:lnTo>
                    <a:pt x="1891153" y="862548"/>
                  </a:lnTo>
                  <a:lnTo>
                    <a:pt x="1889689" y="861484"/>
                  </a:lnTo>
                  <a:lnTo>
                    <a:pt x="1883721" y="853853"/>
                  </a:lnTo>
                  <a:lnTo>
                    <a:pt x="1882518" y="851820"/>
                  </a:lnTo>
                  <a:lnTo>
                    <a:pt x="1881818" y="849822"/>
                  </a:lnTo>
                  <a:lnTo>
                    <a:pt x="1879903" y="848141"/>
                  </a:lnTo>
                  <a:lnTo>
                    <a:pt x="1876773" y="846776"/>
                  </a:lnTo>
                  <a:lnTo>
                    <a:pt x="1876052" y="847000"/>
                  </a:lnTo>
                  <a:lnTo>
                    <a:pt x="1877177" y="848711"/>
                  </a:lnTo>
                  <a:lnTo>
                    <a:pt x="1877212" y="850182"/>
                  </a:lnTo>
                  <a:lnTo>
                    <a:pt x="1874478" y="851101"/>
                  </a:lnTo>
                  <a:lnTo>
                    <a:pt x="1871618" y="850782"/>
                  </a:lnTo>
                  <a:lnTo>
                    <a:pt x="1868634" y="849226"/>
                  </a:lnTo>
                  <a:lnTo>
                    <a:pt x="1868371" y="851317"/>
                  </a:lnTo>
                  <a:lnTo>
                    <a:pt x="1871565" y="855024"/>
                  </a:lnTo>
                  <a:lnTo>
                    <a:pt x="1871615" y="859713"/>
                  </a:lnTo>
                  <a:lnTo>
                    <a:pt x="1870712" y="860196"/>
                  </a:lnTo>
                  <a:lnTo>
                    <a:pt x="1868535" y="860472"/>
                  </a:lnTo>
                  <a:lnTo>
                    <a:pt x="1867073" y="859893"/>
                  </a:lnTo>
                  <a:lnTo>
                    <a:pt x="1862233" y="856390"/>
                  </a:lnTo>
                  <a:lnTo>
                    <a:pt x="1857643" y="853948"/>
                  </a:lnTo>
                  <a:lnTo>
                    <a:pt x="1854405" y="852597"/>
                  </a:lnTo>
                  <a:lnTo>
                    <a:pt x="1854027" y="853558"/>
                  </a:lnTo>
                  <a:lnTo>
                    <a:pt x="1856127" y="857788"/>
                  </a:lnTo>
                  <a:lnTo>
                    <a:pt x="1858563" y="861953"/>
                  </a:lnTo>
                  <a:lnTo>
                    <a:pt x="1862550" y="865381"/>
                  </a:lnTo>
                  <a:lnTo>
                    <a:pt x="1868902" y="869456"/>
                  </a:lnTo>
                  <a:lnTo>
                    <a:pt x="1871782" y="871802"/>
                  </a:lnTo>
                  <a:lnTo>
                    <a:pt x="1869513" y="875110"/>
                  </a:lnTo>
                  <a:lnTo>
                    <a:pt x="1867541" y="876191"/>
                  </a:lnTo>
                  <a:lnTo>
                    <a:pt x="1866315" y="876526"/>
                  </a:lnTo>
                  <a:lnTo>
                    <a:pt x="1862461" y="876530"/>
                  </a:lnTo>
                  <a:lnTo>
                    <a:pt x="1855431" y="874706"/>
                  </a:lnTo>
                  <a:lnTo>
                    <a:pt x="1852130" y="872667"/>
                  </a:lnTo>
                  <a:lnTo>
                    <a:pt x="1847336" y="867795"/>
                  </a:lnTo>
                  <a:lnTo>
                    <a:pt x="1839409" y="862769"/>
                  </a:lnTo>
                  <a:lnTo>
                    <a:pt x="1837687" y="862795"/>
                  </a:lnTo>
                  <a:lnTo>
                    <a:pt x="1832080" y="864841"/>
                  </a:lnTo>
                  <a:lnTo>
                    <a:pt x="1832961" y="865170"/>
                  </a:lnTo>
                  <a:lnTo>
                    <a:pt x="1836575" y="865318"/>
                  </a:lnTo>
                  <a:lnTo>
                    <a:pt x="1839226" y="865971"/>
                  </a:lnTo>
                  <a:lnTo>
                    <a:pt x="1845563" y="869937"/>
                  </a:lnTo>
                  <a:lnTo>
                    <a:pt x="1846041" y="871612"/>
                  </a:lnTo>
                  <a:lnTo>
                    <a:pt x="1844460" y="873473"/>
                  </a:lnTo>
                  <a:lnTo>
                    <a:pt x="1844557" y="875819"/>
                  </a:lnTo>
                  <a:lnTo>
                    <a:pt x="1846336" y="878651"/>
                  </a:lnTo>
                  <a:lnTo>
                    <a:pt x="1848153" y="880458"/>
                  </a:lnTo>
                  <a:lnTo>
                    <a:pt x="1851880" y="881733"/>
                  </a:lnTo>
                  <a:lnTo>
                    <a:pt x="1853753" y="881900"/>
                  </a:lnTo>
                  <a:lnTo>
                    <a:pt x="1854456" y="882718"/>
                  </a:lnTo>
                  <a:lnTo>
                    <a:pt x="1852228" y="888999"/>
                  </a:lnTo>
                  <a:lnTo>
                    <a:pt x="1852039" y="890713"/>
                  </a:lnTo>
                  <a:lnTo>
                    <a:pt x="1852674" y="891422"/>
                  </a:lnTo>
                  <a:lnTo>
                    <a:pt x="1853452" y="891481"/>
                  </a:lnTo>
                  <a:lnTo>
                    <a:pt x="1858242" y="888906"/>
                  </a:lnTo>
                  <a:lnTo>
                    <a:pt x="1860247" y="888277"/>
                  </a:lnTo>
                  <a:lnTo>
                    <a:pt x="1861983" y="888147"/>
                  </a:lnTo>
                  <a:lnTo>
                    <a:pt x="1863999" y="888869"/>
                  </a:lnTo>
                  <a:lnTo>
                    <a:pt x="1866291" y="890445"/>
                  </a:lnTo>
                  <a:lnTo>
                    <a:pt x="1867643" y="892068"/>
                  </a:lnTo>
                  <a:lnTo>
                    <a:pt x="1868050" y="893739"/>
                  </a:lnTo>
                  <a:lnTo>
                    <a:pt x="1868732" y="894831"/>
                  </a:lnTo>
                  <a:lnTo>
                    <a:pt x="1873435" y="896597"/>
                  </a:lnTo>
                  <a:lnTo>
                    <a:pt x="1873004" y="897421"/>
                  </a:lnTo>
                  <a:lnTo>
                    <a:pt x="1868158" y="900070"/>
                  </a:lnTo>
                  <a:lnTo>
                    <a:pt x="1867893" y="900488"/>
                  </a:lnTo>
                  <a:lnTo>
                    <a:pt x="1868862" y="900679"/>
                  </a:lnTo>
                  <a:lnTo>
                    <a:pt x="1871924" y="902259"/>
                  </a:lnTo>
                  <a:lnTo>
                    <a:pt x="1874740" y="904730"/>
                  </a:lnTo>
                  <a:lnTo>
                    <a:pt x="1876462" y="907669"/>
                  </a:lnTo>
                  <a:lnTo>
                    <a:pt x="1876809" y="909113"/>
                  </a:lnTo>
                  <a:lnTo>
                    <a:pt x="1876790" y="910484"/>
                  </a:lnTo>
                  <a:lnTo>
                    <a:pt x="1877178" y="911306"/>
                  </a:lnTo>
                  <a:lnTo>
                    <a:pt x="1878670" y="911454"/>
                  </a:lnTo>
                  <a:lnTo>
                    <a:pt x="1879279" y="910931"/>
                  </a:lnTo>
                  <a:lnTo>
                    <a:pt x="1879960" y="911030"/>
                  </a:lnTo>
                  <a:lnTo>
                    <a:pt x="1880715" y="911748"/>
                  </a:lnTo>
                  <a:lnTo>
                    <a:pt x="1881508" y="913995"/>
                  </a:lnTo>
                  <a:lnTo>
                    <a:pt x="1883203" y="920562"/>
                  </a:lnTo>
                  <a:lnTo>
                    <a:pt x="1884098" y="922405"/>
                  </a:lnTo>
                  <a:lnTo>
                    <a:pt x="1884613" y="922467"/>
                  </a:lnTo>
                  <a:lnTo>
                    <a:pt x="1884877" y="915883"/>
                  </a:lnTo>
                  <a:lnTo>
                    <a:pt x="1885668" y="914792"/>
                  </a:lnTo>
                  <a:lnTo>
                    <a:pt x="1888654" y="915960"/>
                  </a:lnTo>
                  <a:lnTo>
                    <a:pt x="1893029" y="918524"/>
                  </a:lnTo>
                  <a:lnTo>
                    <a:pt x="1896110" y="920806"/>
                  </a:lnTo>
                  <a:lnTo>
                    <a:pt x="1896465" y="921874"/>
                  </a:lnTo>
                  <a:lnTo>
                    <a:pt x="1894138" y="923941"/>
                  </a:lnTo>
                  <a:lnTo>
                    <a:pt x="1894629" y="924861"/>
                  </a:lnTo>
                  <a:lnTo>
                    <a:pt x="1896340" y="926211"/>
                  </a:lnTo>
                  <a:lnTo>
                    <a:pt x="1897916" y="925698"/>
                  </a:lnTo>
                  <a:lnTo>
                    <a:pt x="1899056" y="923389"/>
                  </a:lnTo>
                  <a:lnTo>
                    <a:pt x="1901017" y="921116"/>
                  </a:lnTo>
                  <a:lnTo>
                    <a:pt x="1903342" y="919507"/>
                  </a:lnTo>
                  <a:lnTo>
                    <a:pt x="1907664" y="920829"/>
                  </a:lnTo>
                  <a:lnTo>
                    <a:pt x="1911247" y="924228"/>
                  </a:lnTo>
                  <a:lnTo>
                    <a:pt x="1911792" y="925393"/>
                  </a:lnTo>
                  <a:lnTo>
                    <a:pt x="1914126" y="926862"/>
                  </a:lnTo>
                  <a:lnTo>
                    <a:pt x="1916187" y="926046"/>
                  </a:lnTo>
                  <a:lnTo>
                    <a:pt x="1920171" y="929931"/>
                  </a:lnTo>
                  <a:lnTo>
                    <a:pt x="1918282" y="931691"/>
                  </a:lnTo>
                  <a:lnTo>
                    <a:pt x="1914137" y="934246"/>
                  </a:lnTo>
                  <a:lnTo>
                    <a:pt x="1913717" y="935112"/>
                  </a:lnTo>
                  <a:lnTo>
                    <a:pt x="1914715" y="934914"/>
                  </a:lnTo>
                  <a:lnTo>
                    <a:pt x="1922610" y="934910"/>
                  </a:lnTo>
                  <a:lnTo>
                    <a:pt x="1924743" y="935937"/>
                  </a:lnTo>
                  <a:lnTo>
                    <a:pt x="1925247" y="937891"/>
                  </a:lnTo>
                  <a:lnTo>
                    <a:pt x="1921738" y="943324"/>
                  </a:lnTo>
                  <a:lnTo>
                    <a:pt x="1918521" y="942843"/>
                  </a:lnTo>
                  <a:lnTo>
                    <a:pt x="1914272" y="942712"/>
                  </a:lnTo>
                  <a:lnTo>
                    <a:pt x="1912086" y="943004"/>
                  </a:lnTo>
                  <a:lnTo>
                    <a:pt x="1912425" y="943707"/>
                  </a:lnTo>
                  <a:lnTo>
                    <a:pt x="1918320" y="946208"/>
                  </a:lnTo>
                  <a:lnTo>
                    <a:pt x="1919988" y="948267"/>
                  </a:lnTo>
                  <a:lnTo>
                    <a:pt x="1922251" y="950369"/>
                  </a:lnTo>
                  <a:lnTo>
                    <a:pt x="1923346" y="952099"/>
                  </a:lnTo>
                  <a:lnTo>
                    <a:pt x="1923320" y="952895"/>
                  </a:lnTo>
                  <a:lnTo>
                    <a:pt x="1922390" y="954091"/>
                  </a:lnTo>
                  <a:lnTo>
                    <a:pt x="1922832" y="954489"/>
                  </a:lnTo>
                  <a:lnTo>
                    <a:pt x="1926871" y="955271"/>
                  </a:lnTo>
                  <a:lnTo>
                    <a:pt x="1929376" y="954569"/>
                  </a:lnTo>
                  <a:lnTo>
                    <a:pt x="1932520" y="954303"/>
                  </a:lnTo>
                  <a:lnTo>
                    <a:pt x="1935293" y="954497"/>
                  </a:lnTo>
                  <a:lnTo>
                    <a:pt x="1935514" y="955241"/>
                  </a:lnTo>
                  <a:lnTo>
                    <a:pt x="1935096" y="957209"/>
                  </a:lnTo>
                  <a:lnTo>
                    <a:pt x="1932257" y="959028"/>
                  </a:lnTo>
                  <a:lnTo>
                    <a:pt x="1933017" y="959453"/>
                  </a:lnTo>
                  <a:lnTo>
                    <a:pt x="1936351" y="958930"/>
                  </a:lnTo>
                  <a:lnTo>
                    <a:pt x="1937882" y="959779"/>
                  </a:lnTo>
                  <a:lnTo>
                    <a:pt x="1939855" y="964098"/>
                  </a:lnTo>
                  <a:lnTo>
                    <a:pt x="1942075" y="967482"/>
                  </a:lnTo>
                  <a:lnTo>
                    <a:pt x="1940268" y="968258"/>
                  </a:lnTo>
                  <a:lnTo>
                    <a:pt x="1938256" y="968555"/>
                  </a:lnTo>
                  <a:lnTo>
                    <a:pt x="1938542" y="972862"/>
                  </a:lnTo>
                  <a:lnTo>
                    <a:pt x="1939852" y="977267"/>
                  </a:lnTo>
                  <a:lnTo>
                    <a:pt x="1939866" y="981481"/>
                  </a:lnTo>
                  <a:lnTo>
                    <a:pt x="1939453" y="985226"/>
                  </a:lnTo>
                  <a:lnTo>
                    <a:pt x="1937614" y="986056"/>
                  </a:lnTo>
                  <a:lnTo>
                    <a:pt x="1935642" y="985969"/>
                  </a:lnTo>
                  <a:lnTo>
                    <a:pt x="1934858" y="985029"/>
                  </a:lnTo>
                  <a:lnTo>
                    <a:pt x="1930022" y="973819"/>
                  </a:lnTo>
                  <a:lnTo>
                    <a:pt x="1928831" y="971789"/>
                  </a:lnTo>
                  <a:lnTo>
                    <a:pt x="1927401" y="970017"/>
                  </a:lnTo>
                  <a:lnTo>
                    <a:pt x="1922275" y="965149"/>
                  </a:lnTo>
                  <a:lnTo>
                    <a:pt x="1922476" y="965932"/>
                  </a:lnTo>
                  <a:lnTo>
                    <a:pt x="1923745" y="968177"/>
                  </a:lnTo>
                  <a:lnTo>
                    <a:pt x="1924872" y="971520"/>
                  </a:lnTo>
                  <a:lnTo>
                    <a:pt x="1926345" y="978175"/>
                  </a:lnTo>
                  <a:lnTo>
                    <a:pt x="1927018" y="982449"/>
                  </a:lnTo>
                  <a:lnTo>
                    <a:pt x="1926716" y="984072"/>
                  </a:lnTo>
                  <a:lnTo>
                    <a:pt x="1925667" y="984470"/>
                  </a:lnTo>
                  <a:lnTo>
                    <a:pt x="1925391" y="985245"/>
                  </a:lnTo>
                  <a:lnTo>
                    <a:pt x="1925888" y="986397"/>
                  </a:lnTo>
                  <a:lnTo>
                    <a:pt x="1929807" y="990746"/>
                  </a:lnTo>
                  <a:lnTo>
                    <a:pt x="1931699" y="993360"/>
                  </a:lnTo>
                  <a:lnTo>
                    <a:pt x="1933038" y="996076"/>
                  </a:lnTo>
                  <a:lnTo>
                    <a:pt x="1934287" y="997904"/>
                  </a:lnTo>
                  <a:lnTo>
                    <a:pt x="1935447" y="998851"/>
                  </a:lnTo>
                  <a:lnTo>
                    <a:pt x="1935161" y="999628"/>
                  </a:lnTo>
                  <a:lnTo>
                    <a:pt x="1933431" y="1000234"/>
                  </a:lnTo>
                  <a:lnTo>
                    <a:pt x="1930468" y="1000523"/>
                  </a:lnTo>
                  <a:lnTo>
                    <a:pt x="1929085" y="1000155"/>
                  </a:lnTo>
                  <a:lnTo>
                    <a:pt x="1923768" y="997644"/>
                  </a:lnTo>
                  <a:lnTo>
                    <a:pt x="1923011" y="998428"/>
                  </a:lnTo>
                  <a:lnTo>
                    <a:pt x="1925958" y="1007595"/>
                  </a:lnTo>
                  <a:lnTo>
                    <a:pt x="1925867" y="1009784"/>
                  </a:lnTo>
                  <a:lnTo>
                    <a:pt x="1924388" y="1010561"/>
                  </a:lnTo>
                  <a:lnTo>
                    <a:pt x="1922567" y="1009652"/>
                  </a:lnTo>
                  <a:lnTo>
                    <a:pt x="1920399" y="1007056"/>
                  </a:lnTo>
                  <a:lnTo>
                    <a:pt x="1917085" y="1004160"/>
                  </a:lnTo>
                  <a:lnTo>
                    <a:pt x="1912625" y="1000958"/>
                  </a:lnTo>
                  <a:lnTo>
                    <a:pt x="1908365" y="998453"/>
                  </a:lnTo>
                  <a:lnTo>
                    <a:pt x="1907364" y="998521"/>
                  </a:lnTo>
                  <a:lnTo>
                    <a:pt x="1906711" y="999264"/>
                  </a:lnTo>
                  <a:lnTo>
                    <a:pt x="1906000" y="999384"/>
                  </a:lnTo>
                  <a:lnTo>
                    <a:pt x="1905230" y="998884"/>
                  </a:lnTo>
                  <a:lnTo>
                    <a:pt x="1903805" y="997001"/>
                  </a:lnTo>
                  <a:lnTo>
                    <a:pt x="1902319" y="995723"/>
                  </a:lnTo>
                  <a:lnTo>
                    <a:pt x="1896102" y="991482"/>
                  </a:lnTo>
                  <a:lnTo>
                    <a:pt x="1895464" y="991438"/>
                  </a:lnTo>
                  <a:lnTo>
                    <a:pt x="1896051" y="992711"/>
                  </a:lnTo>
                  <a:lnTo>
                    <a:pt x="1896684" y="995500"/>
                  </a:lnTo>
                  <a:lnTo>
                    <a:pt x="1895984" y="996109"/>
                  </a:lnTo>
                  <a:lnTo>
                    <a:pt x="1894359" y="995881"/>
                  </a:lnTo>
                  <a:lnTo>
                    <a:pt x="1891273" y="994666"/>
                  </a:lnTo>
                  <a:lnTo>
                    <a:pt x="1889197" y="991876"/>
                  </a:lnTo>
                  <a:lnTo>
                    <a:pt x="1886557" y="987026"/>
                  </a:lnTo>
                  <a:lnTo>
                    <a:pt x="1885175" y="985193"/>
                  </a:lnTo>
                  <a:lnTo>
                    <a:pt x="1885053" y="986386"/>
                  </a:lnTo>
                  <a:lnTo>
                    <a:pt x="1885786" y="991008"/>
                  </a:lnTo>
                  <a:lnTo>
                    <a:pt x="1885645" y="992560"/>
                  </a:lnTo>
                  <a:lnTo>
                    <a:pt x="1884097" y="992982"/>
                  </a:lnTo>
                  <a:lnTo>
                    <a:pt x="1883444" y="992558"/>
                  </a:lnTo>
                  <a:lnTo>
                    <a:pt x="1882803" y="991326"/>
                  </a:lnTo>
                  <a:lnTo>
                    <a:pt x="1882177" y="989286"/>
                  </a:lnTo>
                  <a:lnTo>
                    <a:pt x="1880701" y="987735"/>
                  </a:lnTo>
                  <a:lnTo>
                    <a:pt x="1878372" y="986674"/>
                  </a:lnTo>
                  <a:lnTo>
                    <a:pt x="1877068" y="985560"/>
                  </a:lnTo>
                  <a:lnTo>
                    <a:pt x="1876422" y="983580"/>
                  </a:lnTo>
                  <a:lnTo>
                    <a:pt x="1875972" y="983125"/>
                  </a:lnTo>
                  <a:lnTo>
                    <a:pt x="1871868" y="983583"/>
                  </a:lnTo>
                  <a:lnTo>
                    <a:pt x="1869809" y="982156"/>
                  </a:lnTo>
                  <a:lnTo>
                    <a:pt x="1863875" y="976520"/>
                  </a:lnTo>
                  <a:lnTo>
                    <a:pt x="1858443" y="970395"/>
                  </a:lnTo>
                  <a:lnTo>
                    <a:pt x="1855020" y="967151"/>
                  </a:lnTo>
                  <a:lnTo>
                    <a:pt x="1853777" y="966378"/>
                  </a:lnTo>
                  <a:lnTo>
                    <a:pt x="1855598" y="970353"/>
                  </a:lnTo>
                  <a:lnTo>
                    <a:pt x="1857599" y="976205"/>
                  </a:lnTo>
                  <a:lnTo>
                    <a:pt x="1858105" y="978872"/>
                  </a:lnTo>
                  <a:lnTo>
                    <a:pt x="1857186" y="978993"/>
                  </a:lnTo>
                  <a:lnTo>
                    <a:pt x="1855181" y="977811"/>
                  </a:lnTo>
                  <a:lnTo>
                    <a:pt x="1844894" y="970270"/>
                  </a:lnTo>
                  <a:lnTo>
                    <a:pt x="1838551" y="966711"/>
                  </a:lnTo>
                  <a:lnTo>
                    <a:pt x="1835024" y="966081"/>
                  </a:lnTo>
                  <a:lnTo>
                    <a:pt x="1829291" y="965649"/>
                  </a:lnTo>
                  <a:lnTo>
                    <a:pt x="1827968" y="967607"/>
                  </a:lnTo>
                  <a:lnTo>
                    <a:pt x="1831057" y="971956"/>
                  </a:lnTo>
                  <a:lnTo>
                    <a:pt x="1834067" y="975226"/>
                  </a:lnTo>
                  <a:lnTo>
                    <a:pt x="1836994" y="977422"/>
                  </a:lnTo>
                  <a:lnTo>
                    <a:pt x="1841588" y="981697"/>
                  </a:lnTo>
                  <a:lnTo>
                    <a:pt x="1845795" y="987193"/>
                  </a:lnTo>
                  <a:lnTo>
                    <a:pt x="1847488" y="988885"/>
                  </a:lnTo>
                  <a:lnTo>
                    <a:pt x="1853217" y="991223"/>
                  </a:lnTo>
                  <a:lnTo>
                    <a:pt x="1856206" y="991844"/>
                  </a:lnTo>
                  <a:lnTo>
                    <a:pt x="1859286" y="992024"/>
                  </a:lnTo>
                  <a:lnTo>
                    <a:pt x="1859567" y="992857"/>
                  </a:lnTo>
                  <a:lnTo>
                    <a:pt x="1858074" y="994408"/>
                  </a:lnTo>
                  <a:lnTo>
                    <a:pt x="1857740" y="995368"/>
                  </a:lnTo>
                  <a:lnTo>
                    <a:pt x="1864554" y="997807"/>
                  </a:lnTo>
                  <a:lnTo>
                    <a:pt x="1867129" y="999162"/>
                  </a:lnTo>
                  <a:lnTo>
                    <a:pt x="1869618" y="1001408"/>
                  </a:lnTo>
                  <a:lnTo>
                    <a:pt x="1871033" y="1001966"/>
                  </a:lnTo>
                  <a:lnTo>
                    <a:pt x="1876945" y="1007620"/>
                  </a:lnTo>
                  <a:lnTo>
                    <a:pt x="1878416" y="1008520"/>
                  </a:lnTo>
                  <a:lnTo>
                    <a:pt x="1883679" y="1010351"/>
                  </a:lnTo>
                  <a:lnTo>
                    <a:pt x="1885431" y="1011527"/>
                  </a:lnTo>
                  <a:lnTo>
                    <a:pt x="1888331" y="1015163"/>
                  </a:lnTo>
                  <a:lnTo>
                    <a:pt x="1890151" y="1017009"/>
                  </a:lnTo>
                  <a:lnTo>
                    <a:pt x="1892724" y="1021391"/>
                  </a:lnTo>
                  <a:lnTo>
                    <a:pt x="1894652" y="1023326"/>
                  </a:lnTo>
                  <a:lnTo>
                    <a:pt x="1899374" y="1025538"/>
                  </a:lnTo>
                  <a:lnTo>
                    <a:pt x="1901386" y="1026171"/>
                  </a:lnTo>
                  <a:lnTo>
                    <a:pt x="1902285" y="1027012"/>
                  </a:lnTo>
                  <a:lnTo>
                    <a:pt x="1901673" y="1028997"/>
                  </a:lnTo>
                  <a:lnTo>
                    <a:pt x="1901100" y="1029824"/>
                  </a:lnTo>
                  <a:lnTo>
                    <a:pt x="1898406" y="1031188"/>
                  </a:lnTo>
                  <a:lnTo>
                    <a:pt x="1898832" y="1033088"/>
                  </a:lnTo>
                  <a:lnTo>
                    <a:pt x="1900352" y="1036470"/>
                  </a:lnTo>
                  <a:lnTo>
                    <a:pt x="1900290" y="1038565"/>
                  </a:lnTo>
                  <a:lnTo>
                    <a:pt x="1898641" y="1039378"/>
                  </a:lnTo>
                  <a:lnTo>
                    <a:pt x="1895274" y="1040346"/>
                  </a:lnTo>
                  <a:lnTo>
                    <a:pt x="1893574" y="1040268"/>
                  </a:lnTo>
                  <a:lnTo>
                    <a:pt x="1891019" y="1039469"/>
                  </a:lnTo>
                  <a:lnTo>
                    <a:pt x="1887804" y="1038108"/>
                  </a:lnTo>
                  <a:lnTo>
                    <a:pt x="1881419" y="1034705"/>
                  </a:lnTo>
                  <a:lnTo>
                    <a:pt x="1871835" y="1032345"/>
                  </a:lnTo>
                  <a:lnTo>
                    <a:pt x="1868261" y="1031085"/>
                  </a:lnTo>
                  <a:lnTo>
                    <a:pt x="1867070" y="1029946"/>
                  </a:lnTo>
                  <a:lnTo>
                    <a:pt x="1865266" y="1029272"/>
                  </a:lnTo>
                  <a:lnTo>
                    <a:pt x="1841469" y="1025980"/>
                  </a:lnTo>
                  <a:lnTo>
                    <a:pt x="1837482" y="1025176"/>
                  </a:lnTo>
                  <a:lnTo>
                    <a:pt x="1835003" y="1024167"/>
                  </a:lnTo>
                  <a:lnTo>
                    <a:pt x="1832703" y="1022685"/>
                  </a:lnTo>
                  <a:lnTo>
                    <a:pt x="1823626" y="1019293"/>
                  </a:lnTo>
                  <a:lnTo>
                    <a:pt x="1822529" y="1018553"/>
                  </a:lnTo>
                  <a:lnTo>
                    <a:pt x="1816433" y="1012718"/>
                  </a:lnTo>
                  <a:lnTo>
                    <a:pt x="1811891" y="1005888"/>
                  </a:lnTo>
                  <a:lnTo>
                    <a:pt x="1810379" y="1004971"/>
                  </a:lnTo>
                  <a:lnTo>
                    <a:pt x="1805440" y="1004070"/>
                  </a:lnTo>
                  <a:lnTo>
                    <a:pt x="1801318" y="1004636"/>
                  </a:lnTo>
                  <a:lnTo>
                    <a:pt x="1798559" y="1005387"/>
                  </a:lnTo>
                  <a:lnTo>
                    <a:pt x="1794370" y="1005143"/>
                  </a:lnTo>
                  <a:lnTo>
                    <a:pt x="1791634" y="1004028"/>
                  </a:lnTo>
                  <a:lnTo>
                    <a:pt x="1785871" y="1000947"/>
                  </a:lnTo>
                  <a:lnTo>
                    <a:pt x="1780036" y="999306"/>
                  </a:lnTo>
                  <a:lnTo>
                    <a:pt x="1774947" y="996614"/>
                  </a:lnTo>
                  <a:lnTo>
                    <a:pt x="1772320" y="995659"/>
                  </a:lnTo>
                  <a:lnTo>
                    <a:pt x="1772562" y="994966"/>
                  </a:lnTo>
                  <a:lnTo>
                    <a:pt x="1776369" y="990943"/>
                  </a:lnTo>
                  <a:lnTo>
                    <a:pt x="1775187" y="990999"/>
                  </a:lnTo>
                  <a:lnTo>
                    <a:pt x="1768568" y="994056"/>
                  </a:lnTo>
                  <a:lnTo>
                    <a:pt x="1766195" y="993118"/>
                  </a:lnTo>
                  <a:lnTo>
                    <a:pt x="1762291" y="990715"/>
                  </a:lnTo>
                  <a:lnTo>
                    <a:pt x="1759353" y="988291"/>
                  </a:lnTo>
                  <a:lnTo>
                    <a:pt x="1753310" y="981574"/>
                  </a:lnTo>
                  <a:lnTo>
                    <a:pt x="1749842" y="979135"/>
                  </a:lnTo>
                  <a:lnTo>
                    <a:pt x="1750328" y="978586"/>
                  </a:lnTo>
                  <a:lnTo>
                    <a:pt x="1754229" y="978364"/>
                  </a:lnTo>
                  <a:lnTo>
                    <a:pt x="1757339" y="978572"/>
                  </a:lnTo>
                  <a:lnTo>
                    <a:pt x="1759426" y="978017"/>
                  </a:lnTo>
                  <a:lnTo>
                    <a:pt x="1763442" y="975283"/>
                  </a:lnTo>
                  <a:lnTo>
                    <a:pt x="1765178" y="973566"/>
                  </a:lnTo>
                  <a:lnTo>
                    <a:pt x="1765344" y="972550"/>
                  </a:lnTo>
                  <a:lnTo>
                    <a:pt x="1761981" y="972299"/>
                  </a:lnTo>
                  <a:lnTo>
                    <a:pt x="1761261" y="971807"/>
                  </a:lnTo>
                  <a:lnTo>
                    <a:pt x="1760659" y="970684"/>
                  </a:lnTo>
                  <a:lnTo>
                    <a:pt x="1759108" y="969243"/>
                  </a:lnTo>
                  <a:lnTo>
                    <a:pt x="1756610" y="967489"/>
                  </a:lnTo>
                  <a:lnTo>
                    <a:pt x="1753764" y="966732"/>
                  </a:lnTo>
                  <a:lnTo>
                    <a:pt x="1743991" y="967379"/>
                  </a:lnTo>
                  <a:lnTo>
                    <a:pt x="1742287" y="966611"/>
                  </a:lnTo>
                  <a:lnTo>
                    <a:pt x="1742323" y="965442"/>
                  </a:lnTo>
                  <a:lnTo>
                    <a:pt x="1744232" y="962147"/>
                  </a:lnTo>
                  <a:lnTo>
                    <a:pt x="1745271" y="960815"/>
                  </a:lnTo>
                  <a:lnTo>
                    <a:pt x="1745604" y="960080"/>
                  </a:lnTo>
                  <a:lnTo>
                    <a:pt x="1745226" y="959938"/>
                  </a:lnTo>
                  <a:lnTo>
                    <a:pt x="1743903" y="960021"/>
                  </a:lnTo>
                  <a:lnTo>
                    <a:pt x="1738235" y="962977"/>
                  </a:lnTo>
                  <a:lnTo>
                    <a:pt x="1737007" y="962761"/>
                  </a:lnTo>
                  <a:lnTo>
                    <a:pt x="1734782" y="959640"/>
                  </a:lnTo>
                  <a:lnTo>
                    <a:pt x="1733435" y="956071"/>
                  </a:lnTo>
                  <a:lnTo>
                    <a:pt x="1732451" y="954819"/>
                  </a:lnTo>
                  <a:lnTo>
                    <a:pt x="1731145" y="954395"/>
                  </a:lnTo>
                  <a:lnTo>
                    <a:pt x="1726490" y="950881"/>
                  </a:lnTo>
                  <a:lnTo>
                    <a:pt x="1719868" y="944194"/>
                  </a:lnTo>
                  <a:lnTo>
                    <a:pt x="1717434" y="942094"/>
                  </a:lnTo>
                  <a:lnTo>
                    <a:pt x="1714727" y="940217"/>
                  </a:lnTo>
                  <a:lnTo>
                    <a:pt x="1712763" y="939415"/>
                  </a:lnTo>
                  <a:lnTo>
                    <a:pt x="1713039" y="938429"/>
                  </a:lnTo>
                  <a:lnTo>
                    <a:pt x="1717235" y="932846"/>
                  </a:lnTo>
                  <a:lnTo>
                    <a:pt x="1717409" y="931936"/>
                  </a:lnTo>
                  <a:lnTo>
                    <a:pt x="1713814" y="932277"/>
                  </a:lnTo>
                  <a:lnTo>
                    <a:pt x="1708391" y="931118"/>
                  </a:lnTo>
                  <a:lnTo>
                    <a:pt x="1705818" y="932519"/>
                  </a:lnTo>
                  <a:lnTo>
                    <a:pt x="1704186" y="932603"/>
                  </a:lnTo>
                  <a:lnTo>
                    <a:pt x="1702282" y="931821"/>
                  </a:lnTo>
                  <a:lnTo>
                    <a:pt x="1701205" y="932115"/>
                  </a:lnTo>
                  <a:lnTo>
                    <a:pt x="1700190" y="936702"/>
                  </a:lnTo>
                  <a:lnTo>
                    <a:pt x="1699411" y="937848"/>
                  </a:lnTo>
                  <a:lnTo>
                    <a:pt x="1698283" y="938462"/>
                  </a:lnTo>
                  <a:lnTo>
                    <a:pt x="1697289" y="938381"/>
                  </a:lnTo>
                  <a:lnTo>
                    <a:pt x="1696429" y="937605"/>
                  </a:lnTo>
                  <a:lnTo>
                    <a:pt x="1696449" y="936535"/>
                  </a:lnTo>
                  <a:lnTo>
                    <a:pt x="1695624" y="930902"/>
                  </a:lnTo>
                  <a:lnTo>
                    <a:pt x="1693732" y="930071"/>
                  </a:lnTo>
                  <a:lnTo>
                    <a:pt x="1688387" y="929852"/>
                  </a:lnTo>
                  <a:lnTo>
                    <a:pt x="1687237" y="929394"/>
                  </a:lnTo>
                  <a:lnTo>
                    <a:pt x="1685937" y="928351"/>
                  </a:lnTo>
                  <a:lnTo>
                    <a:pt x="1684827" y="926418"/>
                  </a:lnTo>
                  <a:lnTo>
                    <a:pt x="1683907" y="923595"/>
                  </a:lnTo>
                  <a:lnTo>
                    <a:pt x="1682849" y="922046"/>
                  </a:lnTo>
                  <a:lnTo>
                    <a:pt x="1681655" y="921770"/>
                  </a:lnTo>
                  <a:lnTo>
                    <a:pt x="1680696" y="921995"/>
                  </a:lnTo>
                  <a:lnTo>
                    <a:pt x="1679971" y="922727"/>
                  </a:lnTo>
                  <a:lnTo>
                    <a:pt x="1678306" y="923182"/>
                  </a:lnTo>
                  <a:lnTo>
                    <a:pt x="1675698" y="923357"/>
                  </a:lnTo>
                  <a:lnTo>
                    <a:pt x="1675618" y="924443"/>
                  </a:lnTo>
                  <a:lnTo>
                    <a:pt x="1678063" y="926437"/>
                  </a:lnTo>
                  <a:lnTo>
                    <a:pt x="1680426" y="929284"/>
                  </a:lnTo>
                  <a:lnTo>
                    <a:pt x="1682703" y="932975"/>
                  </a:lnTo>
                  <a:lnTo>
                    <a:pt x="1681316" y="935446"/>
                  </a:lnTo>
                  <a:lnTo>
                    <a:pt x="1676265" y="936706"/>
                  </a:lnTo>
                  <a:lnTo>
                    <a:pt x="1671867" y="937075"/>
                  </a:lnTo>
                  <a:lnTo>
                    <a:pt x="1668123" y="936556"/>
                  </a:lnTo>
                  <a:lnTo>
                    <a:pt x="1665248" y="935698"/>
                  </a:lnTo>
                  <a:lnTo>
                    <a:pt x="1661207" y="933643"/>
                  </a:lnTo>
                  <a:lnTo>
                    <a:pt x="1655444" y="934312"/>
                  </a:lnTo>
                  <a:lnTo>
                    <a:pt x="1654134" y="939715"/>
                  </a:lnTo>
                  <a:lnTo>
                    <a:pt x="1652904" y="940010"/>
                  </a:lnTo>
                  <a:lnTo>
                    <a:pt x="1647412" y="939872"/>
                  </a:lnTo>
                  <a:lnTo>
                    <a:pt x="1645226" y="940351"/>
                  </a:lnTo>
                  <a:lnTo>
                    <a:pt x="1637904" y="943328"/>
                  </a:lnTo>
                  <a:lnTo>
                    <a:pt x="1635675" y="943743"/>
                  </a:lnTo>
                  <a:lnTo>
                    <a:pt x="1633981" y="943392"/>
                  </a:lnTo>
                  <a:lnTo>
                    <a:pt x="1632333" y="944111"/>
                  </a:lnTo>
                  <a:lnTo>
                    <a:pt x="1629865" y="945814"/>
                  </a:lnTo>
                  <a:lnTo>
                    <a:pt x="1626510" y="945993"/>
                  </a:lnTo>
                  <a:lnTo>
                    <a:pt x="1622266" y="944643"/>
                  </a:lnTo>
                  <a:lnTo>
                    <a:pt x="1618662" y="944065"/>
                  </a:lnTo>
                  <a:lnTo>
                    <a:pt x="1615699" y="944256"/>
                  </a:lnTo>
                  <a:lnTo>
                    <a:pt x="1612647" y="943461"/>
                  </a:lnTo>
                  <a:lnTo>
                    <a:pt x="1609506" y="941677"/>
                  </a:lnTo>
                  <a:lnTo>
                    <a:pt x="1606945" y="940874"/>
                  </a:lnTo>
                  <a:lnTo>
                    <a:pt x="1603579" y="941009"/>
                  </a:lnTo>
                  <a:lnTo>
                    <a:pt x="1602802" y="940726"/>
                  </a:lnTo>
                  <a:lnTo>
                    <a:pt x="1597890" y="936896"/>
                  </a:lnTo>
                  <a:lnTo>
                    <a:pt x="1596360" y="935337"/>
                  </a:lnTo>
                  <a:lnTo>
                    <a:pt x="1593080" y="930496"/>
                  </a:lnTo>
                  <a:lnTo>
                    <a:pt x="1592497" y="928576"/>
                  </a:lnTo>
                  <a:lnTo>
                    <a:pt x="1592412" y="926524"/>
                  </a:lnTo>
                  <a:lnTo>
                    <a:pt x="1592697" y="925006"/>
                  </a:lnTo>
                  <a:lnTo>
                    <a:pt x="1593839" y="922711"/>
                  </a:lnTo>
                  <a:lnTo>
                    <a:pt x="1595082" y="917306"/>
                  </a:lnTo>
                  <a:lnTo>
                    <a:pt x="1596105" y="915510"/>
                  </a:lnTo>
                  <a:lnTo>
                    <a:pt x="1597644" y="913874"/>
                  </a:lnTo>
                  <a:lnTo>
                    <a:pt x="1600646" y="911799"/>
                  </a:lnTo>
                  <a:lnTo>
                    <a:pt x="1611517" y="908142"/>
                  </a:lnTo>
                  <a:lnTo>
                    <a:pt x="1613713" y="906697"/>
                  </a:lnTo>
                  <a:lnTo>
                    <a:pt x="1613637" y="905736"/>
                  </a:lnTo>
                  <a:lnTo>
                    <a:pt x="1611161" y="901250"/>
                  </a:lnTo>
                  <a:lnTo>
                    <a:pt x="1611189" y="900100"/>
                  </a:lnTo>
                  <a:lnTo>
                    <a:pt x="1612019" y="899429"/>
                  </a:lnTo>
                  <a:lnTo>
                    <a:pt x="1613785" y="896801"/>
                  </a:lnTo>
                  <a:lnTo>
                    <a:pt x="1614578" y="896067"/>
                  </a:lnTo>
                  <a:lnTo>
                    <a:pt x="1616495" y="895662"/>
                  </a:lnTo>
                  <a:lnTo>
                    <a:pt x="1620476" y="896991"/>
                  </a:lnTo>
                  <a:lnTo>
                    <a:pt x="1623913" y="897524"/>
                  </a:lnTo>
                  <a:lnTo>
                    <a:pt x="1628469" y="897698"/>
                  </a:lnTo>
                  <a:lnTo>
                    <a:pt x="1636005" y="899528"/>
                  </a:lnTo>
                  <a:lnTo>
                    <a:pt x="1646520" y="903020"/>
                  </a:lnTo>
                  <a:lnTo>
                    <a:pt x="1652573" y="905436"/>
                  </a:lnTo>
                  <a:lnTo>
                    <a:pt x="1657141" y="908999"/>
                  </a:lnTo>
                  <a:lnTo>
                    <a:pt x="1660392" y="912498"/>
                  </a:lnTo>
                  <a:lnTo>
                    <a:pt x="1660858" y="914267"/>
                  </a:lnTo>
                  <a:lnTo>
                    <a:pt x="1659352" y="916987"/>
                  </a:lnTo>
                  <a:lnTo>
                    <a:pt x="1658593" y="917782"/>
                  </a:lnTo>
                  <a:lnTo>
                    <a:pt x="1658638" y="918714"/>
                  </a:lnTo>
                  <a:lnTo>
                    <a:pt x="1659484" y="919775"/>
                  </a:lnTo>
                  <a:lnTo>
                    <a:pt x="1662112" y="921320"/>
                  </a:lnTo>
                  <a:lnTo>
                    <a:pt x="1662745" y="920734"/>
                  </a:lnTo>
                  <a:lnTo>
                    <a:pt x="1662541" y="918889"/>
                  </a:lnTo>
                  <a:lnTo>
                    <a:pt x="1663086" y="917336"/>
                  </a:lnTo>
                  <a:lnTo>
                    <a:pt x="1664377" y="916081"/>
                  </a:lnTo>
                  <a:lnTo>
                    <a:pt x="1664520" y="914445"/>
                  </a:lnTo>
                  <a:lnTo>
                    <a:pt x="1663517" y="912433"/>
                  </a:lnTo>
                  <a:lnTo>
                    <a:pt x="1662272" y="910696"/>
                  </a:lnTo>
                  <a:lnTo>
                    <a:pt x="1660778" y="909232"/>
                  </a:lnTo>
                  <a:lnTo>
                    <a:pt x="1653976" y="904195"/>
                  </a:lnTo>
                  <a:lnTo>
                    <a:pt x="1653324" y="902520"/>
                  </a:lnTo>
                  <a:lnTo>
                    <a:pt x="1655608" y="901766"/>
                  </a:lnTo>
                  <a:lnTo>
                    <a:pt x="1665547" y="903460"/>
                  </a:lnTo>
                  <a:lnTo>
                    <a:pt x="1669358" y="903081"/>
                  </a:lnTo>
                  <a:lnTo>
                    <a:pt x="1670804" y="901115"/>
                  </a:lnTo>
                  <a:lnTo>
                    <a:pt x="1672365" y="899766"/>
                  </a:lnTo>
                  <a:lnTo>
                    <a:pt x="1674039" y="899042"/>
                  </a:lnTo>
                  <a:lnTo>
                    <a:pt x="1677383" y="898726"/>
                  </a:lnTo>
                  <a:lnTo>
                    <a:pt x="1682058" y="899644"/>
                  </a:lnTo>
                  <a:lnTo>
                    <a:pt x="1684354" y="899779"/>
                  </a:lnTo>
                  <a:lnTo>
                    <a:pt x="1686386" y="899446"/>
                  </a:lnTo>
                  <a:lnTo>
                    <a:pt x="1689024" y="898373"/>
                  </a:lnTo>
                  <a:lnTo>
                    <a:pt x="1692926" y="894790"/>
                  </a:lnTo>
                  <a:lnTo>
                    <a:pt x="1695421" y="893976"/>
                  </a:lnTo>
                  <a:lnTo>
                    <a:pt x="1699196" y="893413"/>
                  </a:lnTo>
                  <a:lnTo>
                    <a:pt x="1702027" y="893337"/>
                  </a:lnTo>
                  <a:lnTo>
                    <a:pt x="1707163" y="894771"/>
                  </a:lnTo>
                  <a:lnTo>
                    <a:pt x="1710322" y="894733"/>
                  </a:lnTo>
                  <a:lnTo>
                    <a:pt x="1710070" y="892336"/>
                  </a:lnTo>
                  <a:lnTo>
                    <a:pt x="1707974" y="887744"/>
                  </a:lnTo>
                  <a:lnTo>
                    <a:pt x="1705370" y="883009"/>
                  </a:lnTo>
                  <a:lnTo>
                    <a:pt x="1703342" y="881403"/>
                  </a:lnTo>
                  <a:lnTo>
                    <a:pt x="1698093" y="878397"/>
                  </a:lnTo>
                  <a:lnTo>
                    <a:pt x="1691929" y="872712"/>
                  </a:lnTo>
                  <a:lnTo>
                    <a:pt x="1688762" y="869175"/>
                  </a:lnTo>
                  <a:lnTo>
                    <a:pt x="1687928" y="867408"/>
                  </a:lnTo>
                  <a:lnTo>
                    <a:pt x="1688373" y="866228"/>
                  </a:lnTo>
                  <a:lnTo>
                    <a:pt x="1689426" y="864500"/>
                  </a:lnTo>
                  <a:lnTo>
                    <a:pt x="1700613" y="858179"/>
                  </a:lnTo>
                  <a:lnTo>
                    <a:pt x="1709474" y="851886"/>
                  </a:lnTo>
                  <a:lnTo>
                    <a:pt x="1713361" y="848657"/>
                  </a:lnTo>
                  <a:lnTo>
                    <a:pt x="1715227" y="846404"/>
                  </a:lnTo>
                  <a:lnTo>
                    <a:pt x="1717168" y="844762"/>
                  </a:lnTo>
                  <a:lnTo>
                    <a:pt x="1719189" y="843733"/>
                  </a:lnTo>
                  <a:lnTo>
                    <a:pt x="1723446" y="842500"/>
                  </a:lnTo>
                  <a:lnTo>
                    <a:pt x="1724660" y="840918"/>
                  </a:lnTo>
                  <a:lnTo>
                    <a:pt x="1724926" y="838231"/>
                  </a:lnTo>
                  <a:lnTo>
                    <a:pt x="1725638" y="835897"/>
                  </a:lnTo>
                  <a:lnTo>
                    <a:pt x="1729644" y="829607"/>
                  </a:lnTo>
                  <a:lnTo>
                    <a:pt x="1732713" y="827903"/>
                  </a:lnTo>
                  <a:lnTo>
                    <a:pt x="1737343" y="826719"/>
                  </a:lnTo>
                  <a:lnTo>
                    <a:pt x="1740391" y="825208"/>
                  </a:lnTo>
                  <a:lnTo>
                    <a:pt x="1744066" y="820023"/>
                  </a:lnTo>
                  <a:lnTo>
                    <a:pt x="1743708" y="818729"/>
                  </a:lnTo>
                  <a:lnTo>
                    <a:pt x="1742011" y="817747"/>
                  </a:lnTo>
                  <a:lnTo>
                    <a:pt x="1740697" y="816259"/>
                  </a:lnTo>
                  <a:lnTo>
                    <a:pt x="1735027" y="802594"/>
                  </a:lnTo>
                  <a:lnTo>
                    <a:pt x="1731254" y="795965"/>
                  </a:lnTo>
                  <a:lnTo>
                    <a:pt x="1726724" y="790179"/>
                  </a:lnTo>
                  <a:lnTo>
                    <a:pt x="1722680" y="783109"/>
                  </a:lnTo>
                  <a:lnTo>
                    <a:pt x="1715965" y="776125"/>
                  </a:lnTo>
                  <a:lnTo>
                    <a:pt x="1715884" y="774275"/>
                  </a:lnTo>
                  <a:lnTo>
                    <a:pt x="1717075" y="772171"/>
                  </a:lnTo>
                  <a:lnTo>
                    <a:pt x="1716507" y="771695"/>
                  </a:lnTo>
                  <a:lnTo>
                    <a:pt x="1709577" y="774767"/>
                  </a:lnTo>
                  <a:lnTo>
                    <a:pt x="1707946" y="774908"/>
                  </a:lnTo>
                  <a:lnTo>
                    <a:pt x="1705285" y="773573"/>
                  </a:lnTo>
                  <a:lnTo>
                    <a:pt x="1703483" y="771909"/>
                  </a:lnTo>
                  <a:lnTo>
                    <a:pt x="1701992" y="768992"/>
                  </a:lnTo>
                  <a:lnTo>
                    <a:pt x="1702144" y="767465"/>
                  </a:lnTo>
                  <a:lnTo>
                    <a:pt x="1703130" y="766018"/>
                  </a:lnTo>
                  <a:lnTo>
                    <a:pt x="1704447" y="762454"/>
                  </a:lnTo>
                  <a:lnTo>
                    <a:pt x="1704495" y="760635"/>
                  </a:lnTo>
                  <a:lnTo>
                    <a:pt x="1704043" y="758899"/>
                  </a:lnTo>
                  <a:lnTo>
                    <a:pt x="1703442" y="757692"/>
                  </a:lnTo>
                  <a:lnTo>
                    <a:pt x="1702696" y="757012"/>
                  </a:lnTo>
                  <a:lnTo>
                    <a:pt x="1700577" y="756588"/>
                  </a:lnTo>
                  <a:lnTo>
                    <a:pt x="1697081" y="756413"/>
                  </a:lnTo>
                  <a:lnTo>
                    <a:pt x="1695940" y="757032"/>
                  </a:lnTo>
                  <a:lnTo>
                    <a:pt x="1699792" y="762421"/>
                  </a:lnTo>
                  <a:lnTo>
                    <a:pt x="1699204" y="763748"/>
                  </a:lnTo>
                  <a:lnTo>
                    <a:pt x="1694296" y="764328"/>
                  </a:lnTo>
                  <a:lnTo>
                    <a:pt x="1692083" y="764075"/>
                  </a:lnTo>
                  <a:lnTo>
                    <a:pt x="1690058" y="763421"/>
                  </a:lnTo>
                  <a:lnTo>
                    <a:pt x="1688221" y="762370"/>
                  </a:lnTo>
                  <a:lnTo>
                    <a:pt x="1682502" y="756741"/>
                  </a:lnTo>
                  <a:lnTo>
                    <a:pt x="1681289" y="754618"/>
                  </a:lnTo>
                  <a:lnTo>
                    <a:pt x="1681676" y="753083"/>
                  </a:lnTo>
                  <a:lnTo>
                    <a:pt x="1681183" y="752283"/>
                  </a:lnTo>
                  <a:lnTo>
                    <a:pt x="1680016" y="752797"/>
                  </a:lnTo>
                  <a:lnTo>
                    <a:pt x="1678435" y="752834"/>
                  </a:lnTo>
                  <a:lnTo>
                    <a:pt x="1676289" y="752291"/>
                  </a:lnTo>
                  <a:lnTo>
                    <a:pt x="1675848" y="751629"/>
                  </a:lnTo>
                  <a:lnTo>
                    <a:pt x="1679854" y="748574"/>
                  </a:lnTo>
                  <a:lnTo>
                    <a:pt x="1680086" y="747630"/>
                  </a:lnTo>
                  <a:lnTo>
                    <a:pt x="1678238" y="746620"/>
                  </a:lnTo>
                  <a:lnTo>
                    <a:pt x="1675475" y="746417"/>
                  </a:lnTo>
                  <a:lnTo>
                    <a:pt x="1674742" y="745513"/>
                  </a:lnTo>
                  <a:lnTo>
                    <a:pt x="1675673" y="744545"/>
                  </a:lnTo>
                  <a:lnTo>
                    <a:pt x="1679424" y="742866"/>
                  </a:lnTo>
                  <a:lnTo>
                    <a:pt x="1680759" y="741761"/>
                  </a:lnTo>
                  <a:lnTo>
                    <a:pt x="1678508" y="740927"/>
                  </a:lnTo>
                  <a:lnTo>
                    <a:pt x="1677255" y="740859"/>
                  </a:lnTo>
                  <a:lnTo>
                    <a:pt x="1674731" y="742691"/>
                  </a:lnTo>
                  <a:lnTo>
                    <a:pt x="1670933" y="746422"/>
                  </a:lnTo>
                  <a:lnTo>
                    <a:pt x="1668168" y="747806"/>
                  </a:lnTo>
                  <a:lnTo>
                    <a:pt x="1664378" y="746081"/>
                  </a:lnTo>
                  <a:lnTo>
                    <a:pt x="1661988" y="745504"/>
                  </a:lnTo>
                  <a:lnTo>
                    <a:pt x="1660323" y="745883"/>
                  </a:lnTo>
                  <a:lnTo>
                    <a:pt x="1657778" y="748766"/>
                  </a:lnTo>
                  <a:lnTo>
                    <a:pt x="1652219" y="750873"/>
                  </a:lnTo>
                  <a:lnTo>
                    <a:pt x="1642268" y="755835"/>
                  </a:lnTo>
                  <a:lnTo>
                    <a:pt x="1637990" y="757411"/>
                  </a:lnTo>
                  <a:lnTo>
                    <a:pt x="1633385" y="757129"/>
                  </a:lnTo>
                  <a:lnTo>
                    <a:pt x="1632513" y="756128"/>
                  </a:lnTo>
                  <a:lnTo>
                    <a:pt x="1632593" y="754428"/>
                  </a:lnTo>
                  <a:lnTo>
                    <a:pt x="1632912" y="753026"/>
                  </a:lnTo>
                  <a:lnTo>
                    <a:pt x="1633468" y="751930"/>
                  </a:lnTo>
                  <a:lnTo>
                    <a:pt x="1633651" y="750586"/>
                  </a:lnTo>
                  <a:lnTo>
                    <a:pt x="1633318" y="744919"/>
                  </a:lnTo>
                  <a:lnTo>
                    <a:pt x="1634090" y="743363"/>
                  </a:lnTo>
                  <a:lnTo>
                    <a:pt x="1635664" y="742432"/>
                  </a:lnTo>
                  <a:lnTo>
                    <a:pt x="1638561" y="741453"/>
                  </a:lnTo>
                  <a:lnTo>
                    <a:pt x="1645957" y="742621"/>
                  </a:lnTo>
                  <a:lnTo>
                    <a:pt x="1649393" y="742416"/>
                  </a:lnTo>
                  <a:lnTo>
                    <a:pt x="1651804" y="741104"/>
                  </a:lnTo>
                  <a:lnTo>
                    <a:pt x="1654219" y="739206"/>
                  </a:lnTo>
                  <a:lnTo>
                    <a:pt x="1656638" y="736715"/>
                  </a:lnTo>
                  <a:lnTo>
                    <a:pt x="1657151" y="734321"/>
                  </a:lnTo>
                  <a:lnTo>
                    <a:pt x="1654582" y="730435"/>
                  </a:lnTo>
                  <a:lnTo>
                    <a:pt x="1653616" y="729582"/>
                  </a:lnTo>
                  <a:lnTo>
                    <a:pt x="1647041" y="726551"/>
                  </a:lnTo>
                  <a:lnTo>
                    <a:pt x="1643407" y="725449"/>
                  </a:lnTo>
                  <a:lnTo>
                    <a:pt x="1640201" y="724972"/>
                  </a:lnTo>
                  <a:lnTo>
                    <a:pt x="1637875" y="724098"/>
                  </a:lnTo>
                  <a:lnTo>
                    <a:pt x="1636430" y="722829"/>
                  </a:lnTo>
                  <a:lnTo>
                    <a:pt x="1635024" y="720712"/>
                  </a:lnTo>
                  <a:lnTo>
                    <a:pt x="1634909" y="719272"/>
                  </a:lnTo>
                  <a:lnTo>
                    <a:pt x="1635132" y="717373"/>
                  </a:lnTo>
                  <a:lnTo>
                    <a:pt x="1636473" y="716066"/>
                  </a:lnTo>
                  <a:lnTo>
                    <a:pt x="1642360" y="714559"/>
                  </a:lnTo>
                  <a:lnTo>
                    <a:pt x="1642283" y="714170"/>
                  </a:lnTo>
                  <a:lnTo>
                    <a:pt x="1637473" y="713056"/>
                  </a:lnTo>
                  <a:lnTo>
                    <a:pt x="1635204" y="713186"/>
                  </a:lnTo>
                  <a:lnTo>
                    <a:pt x="1633258" y="714434"/>
                  </a:lnTo>
                  <a:lnTo>
                    <a:pt x="1630811" y="717358"/>
                  </a:lnTo>
                  <a:lnTo>
                    <a:pt x="1629396" y="718183"/>
                  </a:lnTo>
                  <a:lnTo>
                    <a:pt x="1625003" y="716462"/>
                  </a:lnTo>
                  <a:lnTo>
                    <a:pt x="1622365" y="716206"/>
                  </a:lnTo>
                  <a:lnTo>
                    <a:pt x="1620583" y="715385"/>
                  </a:lnTo>
                  <a:lnTo>
                    <a:pt x="1619596" y="714592"/>
                  </a:lnTo>
                  <a:lnTo>
                    <a:pt x="1620198" y="713780"/>
                  </a:lnTo>
                  <a:lnTo>
                    <a:pt x="1622389" y="712955"/>
                  </a:lnTo>
                  <a:lnTo>
                    <a:pt x="1626195" y="710427"/>
                  </a:lnTo>
                  <a:lnTo>
                    <a:pt x="1626448" y="709062"/>
                  </a:lnTo>
                  <a:lnTo>
                    <a:pt x="1623820" y="706828"/>
                  </a:lnTo>
                  <a:lnTo>
                    <a:pt x="1622457" y="706319"/>
                  </a:lnTo>
                  <a:lnTo>
                    <a:pt x="1616968" y="705485"/>
                  </a:lnTo>
                  <a:lnTo>
                    <a:pt x="1610330" y="706315"/>
                  </a:lnTo>
                  <a:lnTo>
                    <a:pt x="1607861" y="705892"/>
                  </a:lnTo>
                  <a:lnTo>
                    <a:pt x="1606754" y="703411"/>
                  </a:lnTo>
                  <a:lnTo>
                    <a:pt x="1606052" y="700455"/>
                  </a:lnTo>
                  <a:lnTo>
                    <a:pt x="1605753" y="697018"/>
                  </a:lnTo>
                  <a:lnTo>
                    <a:pt x="1604557" y="691143"/>
                  </a:lnTo>
                  <a:lnTo>
                    <a:pt x="1603236" y="688059"/>
                  </a:lnTo>
                  <a:lnTo>
                    <a:pt x="1601499" y="687669"/>
                  </a:lnTo>
                  <a:lnTo>
                    <a:pt x="1593531" y="688942"/>
                  </a:lnTo>
                  <a:lnTo>
                    <a:pt x="1591638" y="688957"/>
                  </a:lnTo>
                  <a:lnTo>
                    <a:pt x="1590336" y="688486"/>
                  </a:lnTo>
                  <a:lnTo>
                    <a:pt x="1585063" y="684544"/>
                  </a:lnTo>
                  <a:lnTo>
                    <a:pt x="1582931" y="683146"/>
                  </a:lnTo>
                  <a:lnTo>
                    <a:pt x="1581749" y="682816"/>
                  </a:lnTo>
                  <a:lnTo>
                    <a:pt x="1577914" y="678615"/>
                  </a:lnTo>
                  <a:lnTo>
                    <a:pt x="1576440" y="677797"/>
                  </a:lnTo>
                  <a:lnTo>
                    <a:pt x="1574689" y="675719"/>
                  </a:lnTo>
                  <a:lnTo>
                    <a:pt x="1572662" y="672380"/>
                  </a:lnTo>
                  <a:lnTo>
                    <a:pt x="1570466" y="671360"/>
                  </a:lnTo>
                  <a:lnTo>
                    <a:pt x="1568100" y="672661"/>
                  </a:lnTo>
                  <a:lnTo>
                    <a:pt x="1565730" y="674520"/>
                  </a:lnTo>
                  <a:lnTo>
                    <a:pt x="1563360" y="676940"/>
                  </a:lnTo>
                  <a:lnTo>
                    <a:pt x="1562076" y="678984"/>
                  </a:lnTo>
                  <a:lnTo>
                    <a:pt x="1561875" y="680655"/>
                  </a:lnTo>
                  <a:lnTo>
                    <a:pt x="1563341" y="681953"/>
                  </a:lnTo>
                  <a:lnTo>
                    <a:pt x="1571706" y="684105"/>
                  </a:lnTo>
                  <a:lnTo>
                    <a:pt x="1573827" y="685543"/>
                  </a:lnTo>
                  <a:lnTo>
                    <a:pt x="1575628" y="687905"/>
                  </a:lnTo>
                  <a:lnTo>
                    <a:pt x="1576973" y="690789"/>
                  </a:lnTo>
                  <a:lnTo>
                    <a:pt x="1577859" y="694197"/>
                  </a:lnTo>
                  <a:lnTo>
                    <a:pt x="1577784" y="696740"/>
                  </a:lnTo>
                  <a:lnTo>
                    <a:pt x="1576745" y="698428"/>
                  </a:lnTo>
                  <a:lnTo>
                    <a:pt x="1574948" y="699922"/>
                  </a:lnTo>
                  <a:lnTo>
                    <a:pt x="1569796" y="702284"/>
                  </a:lnTo>
                  <a:lnTo>
                    <a:pt x="1564459" y="703666"/>
                  </a:lnTo>
                  <a:lnTo>
                    <a:pt x="1559081" y="703992"/>
                  </a:lnTo>
                  <a:lnTo>
                    <a:pt x="1556533" y="703669"/>
                  </a:lnTo>
                  <a:lnTo>
                    <a:pt x="1542684" y="699084"/>
                  </a:lnTo>
                  <a:lnTo>
                    <a:pt x="1540191" y="699047"/>
                  </a:lnTo>
                  <a:lnTo>
                    <a:pt x="1536986" y="698428"/>
                  </a:lnTo>
                  <a:lnTo>
                    <a:pt x="1529797" y="696538"/>
                  </a:lnTo>
                  <a:lnTo>
                    <a:pt x="1525854" y="696331"/>
                  </a:lnTo>
                  <a:lnTo>
                    <a:pt x="1518944" y="694764"/>
                  </a:lnTo>
                  <a:lnTo>
                    <a:pt x="1507249" y="693852"/>
                  </a:lnTo>
                  <a:lnTo>
                    <a:pt x="1504906" y="694606"/>
                  </a:lnTo>
                  <a:lnTo>
                    <a:pt x="1508017" y="696721"/>
                  </a:lnTo>
                  <a:lnTo>
                    <a:pt x="1510744" y="697784"/>
                  </a:lnTo>
                  <a:lnTo>
                    <a:pt x="1513082" y="697796"/>
                  </a:lnTo>
                  <a:lnTo>
                    <a:pt x="1516447" y="699681"/>
                  </a:lnTo>
                  <a:lnTo>
                    <a:pt x="1520835" y="703431"/>
                  </a:lnTo>
                  <a:lnTo>
                    <a:pt x="1523344" y="705666"/>
                  </a:lnTo>
                  <a:lnTo>
                    <a:pt x="1525422" y="708328"/>
                  </a:lnTo>
                  <a:lnTo>
                    <a:pt x="1525487" y="709243"/>
                  </a:lnTo>
                  <a:lnTo>
                    <a:pt x="1523422" y="711069"/>
                  </a:lnTo>
                  <a:lnTo>
                    <a:pt x="1507118" y="701496"/>
                  </a:lnTo>
                  <a:lnTo>
                    <a:pt x="1497153" y="704845"/>
                  </a:lnTo>
                  <a:lnTo>
                    <a:pt x="1492564" y="706090"/>
                  </a:lnTo>
                  <a:lnTo>
                    <a:pt x="1488630" y="706284"/>
                  </a:lnTo>
                  <a:lnTo>
                    <a:pt x="1483714" y="704971"/>
                  </a:lnTo>
                  <a:lnTo>
                    <a:pt x="1472616" y="700345"/>
                  </a:lnTo>
                  <a:lnTo>
                    <a:pt x="1468413" y="698725"/>
                  </a:lnTo>
                  <a:lnTo>
                    <a:pt x="1466922" y="698490"/>
                  </a:lnTo>
                  <a:lnTo>
                    <a:pt x="1457266" y="700496"/>
                  </a:lnTo>
                  <a:lnTo>
                    <a:pt x="1448942" y="700590"/>
                  </a:lnTo>
                  <a:lnTo>
                    <a:pt x="1432135" y="698664"/>
                  </a:lnTo>
                  <a:lnTo>
                    <a:pt x="1425967" y="697375"/>
                  </a:lnTo>
                  <a:lnTo>
                    <a:pt x="1424342" y="696028"/>
                  </a:lnTo>
                  <a:lnTo>
                    <a:pt x="1422317" y="695351"/>
                  </a:lnTo>
                  <a:lnTo>
                    <a:pt x="1418678" y="695351"/>
                  </a:lnTo>
                  <a:lnTo>
                    <a:pt x="1409049" y="693845"/>
                  </a:lnTo>
                  <a:lnTo>
                    <a:pt x="1400233" y="697238"/>
                  </a:lnTo>
                  <a:lnTo>
                    <a:pt x="1389630" y="694130"/>
                  </a:lnTo>
                  <a:lnTo>
                    <a:pt x="1386490" y="692297"/>
                  </a:lnTo>
                  <a:lnTo>
                    <a:pt x="1385492" y="691040"/>
                  </a:lnTo>
                  <a:lnTo>
                    <a:pt x="1382406" y="685777"/>
                  </a:lnTo>
                  <a:lnTo>
                    <a:pt x="1381983" y="682955"/>
                  </a:lnTo>
                  <a:lnTo>
                    <a:pt x="1382855" y="680402"/>
                  </a:lnTo>
                  <a:lnTo>
                    <a:pt x="1383727" y="678650"/>
                  </a:lnTo>
                  <a:lnTo>
                    <a:pt x="1384592" y="677698"/>
                  </a:lnTo>
                  <a:lnTo>
                    <a:pt x="1378826" y="680629"/>
                  </a:lnTo>
                  <a:lnTo>
                    <a:pt x="1376801" y="681112"/>
                  </a:lnTo>
                  <a:lnTo>
                    <a:pt x="1374136" y="681223"/>
                  </a:lnTo>
                  <a:lnTo>
                    <a:pt x="1366195" y="680141"/>
                  </a:lnTo>
                  <a:lnTo>
                    <a:pt x="1364939" y="680695"/>
                  </a:lnTo>
                  <a:lnTo>
                    <a:pt x="1365348" y="681719"/>
                  </a:lnTo>
                  <a:lnTo>
                    <a:pt x="1367423" y="683210"/>
                  </a:lnTo>
                  <a:lnTo>
                    <a:pt x="1367694" y="684110"/>
                  </a:lnTo>
                  <a:lnTo>
                    <a:pt x="1363267" y="684811"/>
                  </a:lnTo>
                  <a:lnTo>
                    <a:pt x="1356559" y="684083"/>
                  </a:lnTo>
                  <a:lnTo>
                    <a:pt x="1353635" y="684400"/>
                  </a:lnTo>
                  <a:lnTo>
                    <a:pt x="1352305" y="684807"/>
                  </a:lnTo>
                  <a:lnTo>
                    <a:pt x="1349282" y="687160"/>
                  </a:lnTo>
                  <a:lnTo>
                    <a:pt x="1348048" y="687691"/>
                  </a:lnTo>
                  <a:lnTo>
                    <a:pt x="1346461" y="687449"/>
                  </a:lnTo>
                  <a:lnTo>
                    <a:pt x="1339421" y="682122"/>
                  </a:lnTo>
                  <a:lnTo>
                    <a:pt x="1333747" y="678744"/>
                  </a:lnTo>
                  <a:lnTo>
                    <a:pt x="1327132" y="677446"/>
                  </a:lnTo>
                  <a:lnTo>
                    <a:pt x="1324096" y="676364"/>
                  </a:lnTo>
                  <a:lnTo>
                    <a:pt x="1322430" y="675061"/>
                  </a:lnTo>
                  <a:lnTo>
                    <a:pt x="1313304" y="664177"/>
                  </a:lnTo>
                  <a:lnTo>
                    <a:pt x="1312057" y="661828"/>
                  </a:lnTo>
                  <a:lnTo>
                    <a:pt x="1309166" y="653258"/>
                  </a:lnTo>
                  <a:lnTo>
                    <a:pt x="1308196" y="651426"/>
                  </a:lnTo>
                  <a:lnTo>
                    <a:pt x="1307026" y="650220"/>
                  </a:lnTo>
                  <a:lnTo>
                    <a:pt x="1309318" y="649966"/>
                  </a:lnTo>
                  <a:lnTo>
                    <a:pt x="1317949" y="651012"/>
                  </a:lnTo>
                  <a:lnTo>
                    <a:pt x="1326304" y="650966"/>
                  </a:lnTo>
                  <a:lnTo>
                    <a:pt x="1330842" y="651663"/>
                  </a:lnTo>
                  <a:lnTo>
                    <a:pt x="1336106" y="653805"/>
                  </a:lnTo>
                  <a:lnTo>
                    <a:pt x="1342964" y="655333"/>
                  </a:lnTo>
                  <a:lnTo>
                    <a:pt x="1347875" y="655653"/>
                  </a:lnTo>
                  <a:lnTo>
                    <a:pt x="1355748" y="655089"/>
                  </a:lnTo>
                  <a:lnTo>
                    <a:pt x="1364695" y="653656"/>
                  </a:lnTo>
                  <a:lnTo>
                    <a:pt x="1365747" y="652541"/>
                  </a:lnTo>
                  <a:lnTo>
                    <a:pt x="1359953" y="650631"/>
                  </a:lnTo>
                  <a:lnTo>
                    <a:pt x="1354787" y="648092"/>
                  </a:lnTo>
                  <a:lnTo>
                    <a:pt x="1350021" y="644797"/>
                  </a:lnTo>
                  <a:lnTo>
                    <a:pt x="1347176" y="643400"/>
                  </a:lnTo>
                  <a:lnTo>
                    <a:pt x="1342405" y="642530"/>
                  </a:lnTo>
                  <a:lnTo>
                    <a:pt x="1328995" y="641924"/>
                  </a:lnTo>
                  <a:lnTo>
                    <a:pt x="1316575" y="639704"/>
                  </a:lnTo>
                  <a:lnTo>
                    <a:pt x="1307995" y="636708"/>
                  </a:lnTo>
                  <a:lnTo>
                    <a:pt x="1301007" y="633379"/>
                  </a:lnTo>
                  <a:lnTo>
                    <a:pt x="1298165" y="631565"/>
                  </a:lnTo>
                  <a:lnTo>
                    <a:pt x="1297141" y="630162"/>
                  </a:lnTo>
                  <a:lnTo>
                    <a:pt x="1296057" y="625784"/>
                  </a:lnTo>
                  <a:lnTo>
                    <a:pt x="1294911" y="618410"/>
                  </a:lnTo>
                  <a:lnTo>
                    <a:pt x="1293804" y="613448"/>
                  </a:lnTo>
                  <a:lnTo>
                    <a:pt x="1292735" y="610910"/>
                  </a:lnTo>
                  <a:lnTo>
                    <a:pt x="1292591" y="608691"/>
                  </a:lnTo>
                  <a:lnTo>
                    <a:pt x="1294967" y="603947"/>
                  </a:lnTo>
                  <a:lnTo>
                    <a:pt x="1301755" y="598781"/>
                  </a:lnTo>
                  <a:lnTo>
                    <a:pt x="1301920" y="597969"/>
                  </a:lnTo>
                  <a:lnTo>
                    <a:pt x="1300569" y="597727"/>
                  </a:lnTo>
                  <a:lnTo>
                    <a:pt x="1297721" y="596412"/>
                  </a:lnTo>
                  <a:lnTo>
                    <a:pt x="1296813" y="594484"/>
                  </a:lnTo>
                  <a:lnTo>
                    <a:pt x="1296448" y="591423"/>
                  </a:lnTo>
                  <a:lnTo>
                    <a:pt x="1296425" y="588822"/>
                  </a:lnTo>
                  <a:lnTo>
                    <a:pt x="1296741" y="586688"/>
                  </a:lnTo>
                  <a:lnTo>
                    <a:pt x="1297874" y="584021"/>
                  </a:lnTo>
                  <a:lnTo>
                    <a:pt x="1300798" y="579217"/>
                  </a:lnTo>
                  <a:lnTo>
                    <a:pt x="1304985" y="573373"/>
                  </a:lnTo>
                  <a:lnTo>
                    <a:pt x="1309516" y="567874"/>
                  </a:lnTo>
                  <a:lnTo>
                    <a:pt x="1310292" y="566071"/>
                  </a:lnTo>
                  <a:lnTo>
                    <a:pt x="1310691" y="561175"/>
                  </a:lnTo>
                  <a:lnTo>
                    <a:pt x="1311292" y="557597"/>
                  </a:lnTo>
                  <a:lnTo>
                    <a:pt x="1311912" y="555075"/>
                  </a:lnTo>
                  <a:lnTo>
                    <a:pt x="1312872" y="553182"/>
                  </a:lnTo>
                  <a:lnTo>
                    <a:pt x="1315677" y="549583"/>
                  </a:lnTo>
                  <a:lnTo>
                    <a:pt x="1319174" y="546164"/>
                  </a:lnTo>
                  <a:lnTo>
                    <a:pt x="1324648" y="543246"/>
                  </a:lnTo>
                  <a:lnTo>
                    <a:pt x="1325114" y="542164"/>
                  </a:lnTo>
                  <a:lnTo>
                    <a:pt x="1325189" y="540667"/>
                  </a:lnTo>
                  <a:lnTo>
                    <a:pt x="1325504" y="539549"/>
                  </a:lnTo>
                  <a:lnTo>
                    <a:pt x="1326062" y="538812"/>
                  </a:lnTo>
                  <a:lnTo>
                    <a:pt x="1339632" y="529413"/>
                  </a:lnTo>
                  <a:lnTo>
                    <a:pt x="1345808" y="525582"/>
                  </a:lnTo>
                  <a:lnTo>
                    <a:pt x="1351049" y="523144"/>
                  </a:lnTo>
                  <a:lnTo>
                    <a:pt x="1357321" y="521347"/>
                  </a:lnTo>
                  <a:lnTo>
                    <a:pt x="1375163" y="517671"/>
                  </a:lnTo>
                  <a:close/>
                  <a:moveTo>
                    <a:pt x="1039617" y="512143"/>
                  </a:moveTo>
                  <a:lnTo>
                    <a:pt x="1061016" y="522716"/>
                  </a:lnTo>
                  <a:lnTo>
                    <a:pt x="1064016" y="521847"/>
                  </a:lnTo>
                  <a:lnTo>
                    <a:pt x="1070486" y="521292"/>
                  </a:lnTo>
                  <a:lnTo>
                    <a:pt x="1077210" y="519737"/>
                  </a:lnTo>
                  <a:lnTo>
                    <a:pt x="1086527" y="518449"/>
                  </a:lnTo>
                  <a:lnTo>
                    <a:pt x="1092210" y="516103"/>
                  </a:lnTo>
                  <a:lnTo>
                    <a:pt x="1094633" y="515433"/>
                  </a:lnTo>
                  <a:lnTo>
                    <a:pt x="1098747" y="515018"/>
                  </a:lnTo>
                  <a:lnTo>
                    <a:pt x="1100982" y="515027"/>
                  </a:lnTo>
                  <a:lnTo>
                    <a:pt x="1107442" y="516297"/>
                  </a:lnTo>
                  <a:lnTo>
                    <a:pt x="1110036" y="517188"/>
                  </a:lnTo>
                  <a:lnTo>
                    <a:pt x="1111411" y="518122"/>
                  </a:lnTo>
                  <a:lnTo>
                    <a:pt x="1112902" y="519824"/>
                  </a:lnTo>
                  <a:lnTo>
                    <a:pt x="1115449" y="523968"/>
                  </a:lnTo>
                  <a:lnTo>
                    <a:pt x="1115821" y="525504"/>
                  </a:lnTo>
                  <a:lnTo>
                    <a:pt x="1115692" y="525918"/>
                  </a:lnTo>
                  <a:lnTo>
                    <a:pt x="1113336" y="528459"/>
                  </a:lnTo>
                  <a:lnTo>
                    <a:pt x="1111769" y="529565"/>
                  </a:lnTo>
                  <a:lnTo>
                    <a:pt x="1108528" y="530617"/>
                  </a:lnTo>
                  <a:lnTo>
                    <a:pt x="1105725" y="530938"/>
                  </a:lnTo>
                  <a:lnTo>
                    <a:pt x="1103315" y="532780"/>
                  </a:lnTo>
                  <a:lnTo>
                    <a:pt x="1100598" y="532290"/>
                  </a:lnTo>
                  <a:lnTo>
                    <a:pt x="1099865" y="533971"/>
                  </a:lnTo>
                  <a:lnTo>
                    <a:pt x="1100150" y="534996"/>
                  </a:lnTo>
                  <a:lnTo>
                    <a:pt x="1100880" y="535495"/>
                  </a:lnTo>
                  <a:lnTo>
                    <a:pt x="1102249" y="535376"/>
                  </a:lnTo>
                  <a:lnTo>
                    <a:pt x="1103814" y="534659"/>
                  </a:lnTo>
                  <a:lnTo>
                    <a:pt x="1106852" y="535014"/>
                  </a:lnTo>
                  <a:lnTo>
                    <a:pt x="1108455" y="536115"/>
                  </a:lnTo>
                  <a:lnTo>
                    <a:pt x="1109893" y="537932"/>
                  </a:lnTo>
                  <a:lnTo>
                    <a:pt x="1108824" y="539615"/>
                  </a:lnTo>
                  <a:lnTo>
                    <a:pt x="1103460" y="541938"/>
                  </a:lnTo>
                  <a:lnTo>
                    <a:pt x="1095553" y="544566"/>
                  </a:lnTo>
                  <a:lnTo>
                    <a:pt x="1085920" y="552807"/>
                  </a:lnTo>
                  <a:lnTo>
                    <a:pt x="1080855" y="556254"/>
                  </a:lnTo>
                  <a:lnTo>
                    <a:pt x="1079809" y="557327"/>
                  </a:lnTo>
                  <a:lnTo>
                    <a:pt x="1079298" y="558405"/>
                  </a:lnTo>
                  <a:lnTo>
                    <a:pt x="1079452" y="560447"/>
                  </a:lnTo>
                  <a:lnTo>
                    <a:pt x="1079684" y="561270"/>
                  </a:lnTo>
                  <a:lnTo>
                    <a:pt x="1081082" y="561602"/>
                  </a:lnTo>
                  <a:lnTo>
                    <a:pt x="1085793" y="558753"/>
                  </a:lnTo>
                  <a:lnTo>
                    <a:pt x="1088831" y="557425"/>
                  </a:lnTo>
                  <a:lnTo>
                    <a:pt x="1091915" y="556693"/>
                  </a:lnTo>
                  <a:lnTo>
                    <a:pt x="1097356" y="556642"/>
                  </a:lnTo>
                  <a:lnTo>
                    <a:pt x="1099600" y="557080"/>
                  </a:lnTo>
                  <a:lnTo>
                    <a:pt x="1103673" y="558791"/>
                  </a:lnTo>
                  <a:lnTo>
                    <a:pt x="1107399" y="561422"/>
                  </a:lnTo>
                  <a:lnTo>
                    <a:pt x="1108232" y="562381"/>
                  </a:lnTo>
                  <a:lnTo>
                    <a:pt x="1107876" y="563341"/>
                  </a:lnTo>
                  <a:lnTo>
                    <a:pt x="1106328" y="564306"/>
                  </a:lnTo>
                  <a:lnTo>
                    <a:pt x="1106158" y="564943"/>
                  </a:lnTo>
                  <a:lnTo>
                    <a:pt x="1109711" y="566268"/>
                  </a:lnTo>
                  <a:lnTo>
                    <a:pt x="1113630" y="569862"/>
                  </a:lnTo>
                  <a:lnTo>
                    <a:pt x="1113886" y="572041"/>
                  </a:lnTo>
                  <a:lnTo>
                    <a:pt x="1112173" y="574195"/>
                  </a:lnTo>
                  <a:lnTo>
                    <a:pt x="1111705" y="575634"/>
                  </a:lnTo>
                  <a:lnTo>
                    <a:pt x="1112486" y="576363"/>
                  </a:lnTo>
                  <a:lnTo>
                    <a:pt x="1114421" y="575920"/>
                  </a:lnTo>
                  <a:lnTo>
                    <a:pt x="1119055" y="573510"/>
                  </a:lnTo>
                  <a:lnTo>
                    <a:pt x="1124070" y="572252"/>
                  </a:lnTo>
                  <a:lnTo>
                    <a:pt x="1126078" y="572392"/>
                  </a:lnTo>
                  <a:lnTo>
                    <a:pt x="1127345" y="572947"/>
                  </a:lnTo>
                  <a:lnTo>
                    <a:pt x="1128686" y="576253"/>
                  </a:lnTo>
                  <a:lnTo>
                    <a:pt x="1129792" y="579966"/>
                  </a:lnTo>
                  <a:lnTo>
                    <a:pt x="1129931" y="583084"/>
                  </a:lnTo>
                  <a:lnTo>
                    <a:pt x="1129102" y="585615"/>
                  </a:lnTo>
                  <a:lnTo>
                    <a:pt x="1127909" y="587585"/>
                  </a:lnTo>
                  <a:lnTo>
                    <a:pt x="1124907" y="590022"/>
                  </a:lnTo>
                  <a:lnTo>
                    <a:pt x="1122188" y="590948"/>
                  </a:lnTo>
                  <a:lnTo>
                    <a:pt x="1120768" y="590957"/>
                  </a:lnTo>
                  <a:lnTo>
                    <a:pt x="1120909" y="591369"/>
                  </a:lnTo>
                  <a:lnTo>
                    <a:pt x="1124134" y="593395"/>
                  </a:lnTo>
                  <a:lnTo>
                    <a:pt x="1125482" y="595012"/>
                  </a:lnTo>
                  <a:lnTo>
                    <a:pt x="1126058" y="596571"/>
                  </a:lnTo>
                  <a:lnTo>
                    <a:pt x="1125862" y="598074"/>
                  </a:lnTo>
                  <a:lnTo>
                    <a:pt x="1125417" y="599354"/>
                  </a:lnTo>
                  <a:lnTo>
                    <a:pt x="1121660" y="604094"/>
                  </a:lnTo>
                  <a:lnTo>
                    <a:pt x="1121863" y="604768"/>
                  </a:lnTo>
                  <a:lnTo>
                    <a:pt x="1122904" y="605079"/>
                  </a:lnTo>
                  <a:lnTo>
                    <a:pt x="1125259" y="607803"/>
                  </a:lnTo>
                  <a:lnTo>
                    <a:pt x="1125536" y="614118"/>
                  </a:lnTo>
                  <a:lnTo>
                    <a:pt x="1117092" y="616095"/>
                  </a:lnTo>
                  <a:lnTo>
                    <a:pt x="1115109" y="617561"/>
                  </a:lnTo>
                  <a:lnTo>
                    <a:pt x="1112776" y="619910"/>
                  </a:lnTo>
                  <a:lnTo>
                    <a:pt x="1110100" y="621665"/>
                  </a:lnTo>
                  <a:lnTo>
                    <a:pt x="1104039" y="623509"/>
                  </a:lnTo>
                  <a:lnTo>
                    <a:pt x="1100970" y="623723"/>
                  </a:lnTo>
                  <a:lnTo>
                    <a:pt x="1085780" y="622184"/>
                  </a:lnTo>
                  <a:lnTo>
                    <a:pt x="1084243" y="621289"/>
                  </a:lnTo>
                  <a:lnTo>
                    <a:pt x="1083180" y="619688"/>
                  </a:lnTo>
                  <a:lnTo>
                    <a:pt x="1082592" y="617385"/>
                  </a:lnTo>
                  <a:lnTo>
                    <a:pt x="1082432" y="615567"/>
                  </a:lnTo>
                  <a:lnTo>
                    <a:pt x="1082703" y="614247"/>
                  </a:lnTo>
                  <a:lnTo>
                    <a:pt x="1082624" y="613471"/>
                  </a:lnTo>
                  <a:lnTo>
                    <a:pt x="1082195" y="613245"/>
                  </a:lnTo>
                  <a:lnTo>
                    <a:pt x="1080507" y="614569"/>
                  </a:lnTo>
                  <a:lnTo>
                    <a:pt x="1078743" y="616975"/>
                  </a:lnTo>
                  <a:lnTo>
                    <a:pt x="1079708" y="619643"/>
                  </a:lnTo>
                  <a:lnTo>
                    <a:pt x="1084509" y="627040"/>
                  </a:lnTo>
                  <a:lnTo>
                    <a:pt x="1085425" y="630212"/>
                  </a:lnTo>
                  <a:lnTo>
                    <a:pt x="1085557" y="631558"/>
                  </a:lnTo>
                  <a:lnTo>
                    <a:pt x="1085342" y="632567"/>
                  </a:lnTo>
                  <a:lnTo>
                    <a:pt x="1079923" y="636865"/>
                  </a:lnTo>
                  <a:lnTo>
                    <a:pt x="1076788" y="638320"/>
                  </a:lnTo>
                  <a:lnTo>
                    <a:pt x="1073569" y="639044"/>
                  </a:lnTo>
                  <a:lnTo>
                    <a:pt x="1070503" y="638505"/>
                  </a:lnTo>
                  <a:lnTo>
                    <a:pt x="1067588" y="636702"/>
                  </a:lnTo>
                  <a:lnTo>
                    <a:pt x="1065370" y="635902"/>
                  </a:lnTo>
                  <a:lnTo>
                    <a:pt x="1060784" y="636009"/>
                  </a:lnTo>
                  <a:lnTo>
                    <a:pt x="1059351" y="635079"/>
                  </a:lnTo>
                  <a:lnTo>
                    <a:pt x="1058019" y="633346"/>
                  </a:lnTo>
                  <a:lnTo>
                    <a:pt x="1054786" y="627124"/>
                  </a:lnTo>
                  <a:lnTo>
                    <a:pt x="1050278" y="622695"/>
                  </a:lnTo>
                  <a:lnTo>
                    <a:pt x="1046392" y="617726"/>
                  </a:lnTo>
                  <a:lnTo>
                    <a:pt x="1036518" y="610452"/>
                  </a:lnTo>
                  <a:lnTo>
                    <a:pt x="1031407" y="606086"/>
                  </a:lnTo>
                  <a:lnTo>
                    <a:pt x="1024592" y="599047"/>
                  </a:lnTo>
                  <a:lnTo>
                    <a:pt x="1021742" y="597452"/>
                  </a:lnTo>
                  <a:lnTo>
                    <a:pt x="1019376" y="596811"/>
                  </a:lnTo>
                  <a:lnTo>
                    <a:pt x="1014723" y="596306"/>
                  </a:lnTo>
                  <a:lnTo>
                    <a:pt x="1013644" y="595426"/>
                  </a:lnTo>
                  <a:lnTo>
                    <a:pt x="1011948" y="593023"/>
                  </a:lnTo>
                  <a:lnTo>
                    <a:pt x="1009021" y="591215"/>
                  </a:lnTo>
                  <a:lnTo>
                    <a:pt x="1007953" y="590988"/>
                  </a:lnTo>
                  <a:lnTo>
                    <a:pt x="1006228" y="591414"/>
                  </a:lnTo>
                  <a:lnTo>
                    <a:pt x="1001674" y="593079"/>
                  </a:lnTo>
                  <a:lnTo>
                    <a:pt x="995953" y="591316"/>
                  </a:lnTo>
                  <a:lnTo>
                    <a:pt x="994671" y="590076"/>
                  </a:lnTo>
                  <a:lnTo>
                    <a:pt x="993912" y="587970"/>
                  </a:lnTo>
                  <a:lnTo>
                    <a:pt x="993190" y="586813"/>
                  </a:lnTo>
                  <a:lnTo>
                    <a:pt x="991252" y="585773"/>
                  </a:lnTo>
                  <a:lnTo>
                    <a:pt x="989620" y="583140"/>
                  </a:lnTo>
                  <a:lnTo>
                    <a:pt x="978753" y="577940"/>
                  </a:lnTo>
                  <a:lnTo>
                    <a:pt x="972291" y="571950"/>
                  </a:lnTo>
                  <a:lnTo>
                    <a:pt x="970982" y="569783"/>
                  </a:lnTo>
                  <a:lnTo>
                    <a:pt x="970857" y="568897"/>
                  </a:lnTo>
                  <a:lnTo>
                    <a:pt x="971521" y="566010"/>
                  </a:lnTo>
                  <a:lnTo>
                    <a:pt x="973017" y="562730"/>
                  </a:lnTo>
                  <a:lnTo>
                    <a:pt x="974979" y="559468"/>
                  </a:lnTo>
                  <a:lnTo>
                    <a:pt x="976179" y="558131"/>
                  </a:lnTo>
                  <a:lnTo>
                    <a:pt x="980430" y="555313"/>
                  </a:lnTo>
                  <a:lnTo>
                    <a:pt x="983780" y="554674"/>
                  </a:lnTo>
                  <a:lnTo>
                    <a:pt x="988455" y="555031"/>
                  </a:lnTo>
                  <a:lnTo>
                    <a:pt x="990919" y="555658"/>
                  </a:lnTo>
                  <a:lnTo>
                    <a:pt x="993126" y="557545"/>
                  </a:lnTo>
                  <a:lnTo>
                    <a:pt x="994073" y="559718"/>
                  </a:lnTo>
                  <a:lnTo>
                    <a:pt x="995176" y="561182"/>
                  </a:lnTo>
                  <a:lnTo>
                    <a:pt x="998645" y="562781"/>
                  </a:lnTo>
                  <a:lnTo>
                    <a:pt x="1000526" y="564069"/>
                  </a:lnTo>
                  <a:lnTo>
                    <a:pt x="1003289" y="567060"/>
                  </a:lnTo>
                  <a:lnTo>
                    <a:pt x="1005420" y="570659"/>
                  </a:lnTo>
                  <a:lnTo>
                    <a:pt x="1007382" y="571843"/>
                  </a:lnTo>
                  <a:lnTo>
                    <a:pt x="1012088" y="572247"/>
                  </a:lnTo>
                  <a:lnTo>
                    <a:pt x="1016946" y="571639"/>
                  </a:lnTo>
                  <a:lnTo>
                    <a:pt x="1027374" y="569376"/>
                  </a:lnTo>
                  <a:lnTo>
                    <a:pt x="1027798" y="569094"/>
                  </a:lnTo>
                  <a:lnTo>
                    <a:pt x="1028443" y="567744"/>
                  </a:lnTo>
                  <a:lnTo>
                    <a:pt x="1029632" y="559529"/>
                  </a:lnTo>
                  <a:lnTo>
                    <a:pt x="1030346" y="559494"/>
                  </a:lnTo>
                  <a:lnTo>
                    <a:pt x="1033886" y="563303"/>
                  </a:lnTo>
                  <a:lnTo>
                    <a:pt x="1034891" y="563720"/>
                  </a:lnTo>
                  <a:lnTo>
                    <a:pt x="1036417" y="562928"/>
                  </a:lnTo>
                  <a:lnTo>
                    <a:pt x="1037323" y="561078"/>
                  </a:lnTo>
                  <a:lnTo>
                    <a:pt x="1037213" y="560200"/>
                  </a:lnTo>
                  <a:lnTo>
                    <a:pt x="1034988" y="555738"/>
                  </a:lnTo>
                  <a:lnTo>
                    <a:pt x="1033676" y="553794"/>
                  </a:lnTo>
                  <a:lnTo>
                    <a:pt x="1032499" y="552587"/>
                  </a:lnTo>
                  <a:lnTo>
                    <a:pt x="1031187" y="552191"/>
                  </a:lnTo>
                  <a:lnTo>
                    <a:pt x="1028352" y="552575"/>
                  </a:lnTo>
                  <a:lnTo>
                    <a:pt x="1026192" y="551715"/>
                  </a:lnTo>
                  <a:lnTo>
                    <a:pt x="1025715" y="550479"/>
                  </a:lnTo>
                  <a:lnTo>
                    <a:pt x="1026065" y="548821"/>
                  </a:lnTo>
                  <a:lnTo>
                    <a:pt x="1027259" y="547067"/>
                  </a:lnTo>
                  <a:lnTo>
                    <a:pt x="1028539" y="546061"/>
                  </a:lnTo>
                  <a:lnTo>
                    <a:pt x="1031026" y="545546"/>
                  </a:lnTo>
                  <a:lnTo>
                    <a:pt x="1033938" y="546056"/>
                  </a:lnTo>
                  <a:lnTo>
                    <a:pt x="1037967" y="548178"/>
                  </a:lnTo>
                  <a:lnTo>
                    <a:pt x="1040518" y="548648"/>
                  </a:lnTo>
                  <a:lnTo>
                    <a:pt x="1044099" y="548042"/>
                  </a:lnTo>
                  <a:lnTo>
                    <a:pt x="1039515" y="546796"/>
                  </a:lnTo>
                  <a:lnTo>
                    <a:pt x="1033125" y="541889"/>
                  </a:lnTo>
                  <a:lnTo>
                    <a:pt x="1030382" y="540972"/>
                  </a:lnTo>
                  <a:lnTo>
                    <a:pt x="1027038" y="543079"/>
                  </a:lnTo>
                  <a:lnTo>
                    <a:pt x="1024781" y="543872"/>
                  </a:lnTo>
                  <a:lnTo>
                    <a:pt x="1020513" y="544899"/>
                  </a:lnTo>
                  <a:lnTo>
                    <a:pt x="1017114" y="545051"/>
                  </a:lnTo>
                  <a:lnTo>
                    <a:pt x="1002877" y="537459"/>
                  </a:lnTo>
                  <a:lnTo>
                    <a:pt x="1002085" y="536732"/>
                  </a:lnTo>
                  <a:lnTo>
                    <a:pt x="1001043" y="534750"/>
                  </a:lnTo>
                  <a:lnTo>
                    <a:pt x="1001163" y="533837"/>
                  </a:lnTo>
                  <a:lnTo>
                    <a:pt x="1002568" y="532426"/>
                  </a:lnTo>
                  <a:lnTo>
                    <a:pt x="1006115" y="530557"/>
                  </a:lnTo>
                  <a:lnTo>
                    <a:pt x="1011394" y="529386"/>
                  </a:lnTo>
                  <a:lnTo>
                    <a:pt x="1014923" y="529195"/>
                  </a:lnTo>
                  <a:lnTo>
                    <a:pt x="1018009" y="530590"/>
                  </a:lnTo>
                  <a:lnTo>
                    <a:pt x="1022504" y="534362"/>
                  </a:lnTo>
                  <a:lnTo>
                    <a:pt x="1026437" y="536563"/>
                  </a:lnTo>
                  <a:lnTo>
                    <a:pt x="1026760" y="535772"/>
                  </a:lnTo>
                  <a:lnTo>
                    <a:pt x="1026065" y="533607"/>
                  </a:lnTo>
                  <a:lnTo>
                    <a:pt x="1024271" y="530390"/>
                  </a:lnTo>
                  <a:lnTo>
                    <a:pt x="1022983" y="529508"/>
                  </a:lnTo>
                  <a:lnTo>
                    <a:pt x="1019819" y="528547"/>
                  </a:lnTo>
                  <a:lnTo>
                    <a:pt x="1016889" y="526332"/>
                  </a:lnTo>
                  <a:lnTo>
                    <a:pt x="1015511" y="524693"/>
                  </a:lnTo>
                  <a:lnTo>
                    <a:pt x="1014777" y="522933"/>
                  </a:lnTo>
                  <a:lnTo>
                    <a:pt x="1014687" y="521055"/>
                  </a:lnTo>
                  <a:lnTo>
                    <a:pt x="1015247" y="519771"/>
                  </a:lnTo>
                  <a:lnTo>
                    <a:pt x="1016461" y="519082"/>
                  </a:lnTo>
                  <a:lnTo>
                    <a:pt x="1027403" y="517201"/>
                  </a:lnTo>
                  <a:lnTo>
                    <a:pt x="1035042" y="519285"/>
                  </a:lnTo>
                  <a:lnTo>
                    <a:pt x="1039890" y="519585"/>
                  </a:lnTo>
                  <a:lnTo>
                    <a:pt x="1041901" y="517028"/>
                  </a:lnTo>
                  <a:lnTo>
                    <a:pt x="1041200" y="516529"/>
                  </a:lnTo>
                  <a:lnTo>
                    <a:pt x="1038648" y="517188"/>
                  </a:lnTo>
                  <a:lnTo>
                    <a:pt x="1035766" y="517173"/>
                  </a:lnTo>
                  <a:lnTo>
                    <a:pt x="1033965" y="515770"/>
                  </a:lnTo>
                  <a:lnTo>
                    <a:pt x="1033908" y="514950"/>
                  </a:lnTo>
                  <a:lnTo>
                    <a:pt x="1036154" y="512986"/>
                  </a:lnTo>
                  <a:close/>
                  <a:moveTo>
                    <a:pt x="1095439" y="503781"/>
                  </a:moveTo>
                  <a:lnTo>
                    <a:pt x="1098031" y="504077"/>
                  </a:lnTo>
                  <a:lnTo>
                    <a:pt x="1098812" y="504998"/>
                  </a:lnTo>
                  <a:lnTo>
                    <a:pt x="1099022" y="505916"/>
                  </a:lnTo>
                  <a:lnTo>
                    <a:pt x="1098662" y="506839"/>
                  </a:lnTo>
                  <a:lnTo>
                    <a:pt x="1096597" y="509193"/>
                  </a:lnTo>
                  <a:lnTo>
                    <a:pt x="1093902" y="511027"/>
                  </a:lnTo>
                  <a:lnTo>
                    <a:pt x="1086652" y="514965"/>
                  </a:lnTo>
                  <a:lnTo>
                    <a:pt x="1083524" y="515968"/>
                  </a:lnTo>
                  <a:lnTo>
                    <a:pt x="1076225" y="517009"/>
                  </a:lnTo>
                  <a:lnTo>
                    <a:pt x="1072856" y="516562"/>
                  </a:lnTo>
                  <a:lnTo>
                    <a:pt x="1071074" y="517925"/>
                  </a:lnTo>
                  <a:lnTo>
                    <a:pt x="1069673" y="518503"/>
                  </a:lnTo>
                  <a:lnTo>
                    <a:pt x="1065684" y="518753"/>
                  </a:lnTo>
                  <a:lnTo>
                    <a:pt x="1057466" y="516291"/>
                  </a:lnTo>
                  <a:lnTo>
                    <a:pt x="1055257" y="515435"/>
                  </a:lnTo>
                  <a:lnTo>
                    <a:pt x="1054449" y="514640"/>
                  </a:lnTo>
                  <a:lnTo>
                    <a:pt x="1054784" y="513875"/>
                  </a:lnTo>
                  <a:lnTo>
                    <a:pt x="1056259" y="513141"/>
                  </a:lnTo>
                  <a:lnTo>
                    <a:pt x="1062566" y="512026"/>
                  </a:lnTo>
                  <a:lnTo>
                    <a:pt x="1064903" y="511202"/>
                  </a:lnTo>
                  <a:lnTo>
                    <a:pt x="1065867" y="510052"/>
                  </a:lnTo>
                  <a:lnTo>
                    <a:pt x="1067444" y="509125"/>
                  </a:lnTo>
                  <a:lnTo>
                    <a:pt x="1069634" y="508427"/>
                  </a:lnTo>
                  <a:lnTo>
                    <a:pt x="1075546" y="507756"/>
                  </a:lnTo>
                  <a:lnTo>
                    <a:pt x="1088832" y="504275"/>
                  </a:lnTo>
                  <a:close/>
                  <a:moveTo>
                    <a:pt x="1206756" y="500596"/>
                  </a:moveTo>
                  <a:lnTo>
                    <a:pt x="1212828" y="501479"/>
                  </a:lnTo>
                  <a:lnTo>
                    <a:pt x="1222789" y="503828"/>
                  </a:lnTo>
                  <a:lnTo>
                    <a:pt x="1227637" y="505366"/>
                  </a:lnTo>
                  <a:lnTo>
                    <a:pt x="1230020" y="506392"/>
                  </a:lnTo>
                  <a:lnTo>
                    <a:pt x="1234558" y="509844"/>
                  </a:lnTo>
                  <a:lnTo>
                    <a:pt x="1236869" y="510835"/>
                  </a:lnTo>
                  <a:lnTo>
                    <a:pt x="1245707" y="508833"/>
                  </a:lnTo>
                  <a:lnTo>
                    <a:pt x="1251888" y="508090"/>
                  </a:lnTo>
                  <a:lnTo>
                    <a:pt x="1265642" y="509007"/>
                  </a:lnTo>
                  <a:lnTo>
                    <a:pt x="1277320" y="511857"/>
                  </a:lnTo>
                  <a:lnTo>
                    <a:pt x="1281617" y="513998"/>
                  </a:lnTo>
                  <a:lnTo>
                    <a:pt x="1284238" y="515961"/>
                  </a:lnTo>
                  <a:lnTo>
                    <a:pt x="1283559" y="518127"/>
                  </a:lnTo>
                  <a:lnTo>
                    <a:pt x="1281409" y="521621"/>
                  </a:lnTo>
                  <a:lnTo>
                    <a:pt x="1278889" y="524939"/>
                  </a:lnTo>
                  <a:lnTo>
                    <a:pt x="1273843" y="530133"/>
                  </a:lnTo>
                  <a:lnTo>
                    <a:pt x="1269554" y="532727"/>
                  </a:lnTo>
                  <a:lnTo>
                    <a:pt x="1268495" y="533972"/>
                  </a:lnTo>
                  <a:lnTo>
                    <a:pt x="1267824" y="535694"/>
                  </a:lnTo>
                  <a:lnTo>
                    <a:pt x="1266159" y="538214"/>
                  </a:lnTo>
                  <a:lnTo>
                    <a:pt x="1261551" y="543656"/>
                  </a:lnTo>
                  <a:lnTo>
                    <a:pt x="1260322" y="544586"/>
                  </a:lnTo>
                  <a:lnTo>
                    <a:pt x="1253833" y="546963"/>
                  </a:lnTo>
                  <a:lnTo>
                    <a:pt x="1256056" y="548027"/>
                  </a:lnTo>
                  <a:lnTo>
                    <a:pt x="1257074" y="548966"/>
                  </a:lnTo>
                  <a:lnTo>
                    <a:pt x="1256219" y="551372"/>
                  </a:lnTo>
                  <a:lnTo>
                    <a:pt x="1252127" y="557165"/>
                  </a:lnTo>
                  <a:lnTo>
                    <a:pt x="1247883" y="562509"/>
                  </a:lnTo>
                  <a:lnTo>
                    <a:pt x="1244917" y="565697"/>
                  </a:lnTo>
                  <a:lnTo>
                    <a:pt x="1239526" y="570299"/>
                  </a:lnTo>
                  <a:lnTo>
                    <a:pt x="1236561" y="571597"/>
                  </a:lnTo>
                  <a:lnTo>
                    <a:pt x="1232578" y="571998"/>
                  </a:lnTo>
                  <a:lnTo>
                    <a:pt x="1208523" y="567984"/>
                  </a:lnTo>
                  <a:lnTo>
                    <a:pt x="1202487" y="568049"/>
                  </a:lnTo>
                  <a:lnTo>
                    <a:pt x="1186446" y="570147"/>
                  </a:lnTo>
                  <a:lnTo>
                    <a:pt x="1187957" y="571172"/>
                  </a:lnTo>
                  <a:lnTo>
                    <a:pt x="1193832" y="572724"/>
                  </a:lnTo>
                  <a:lnTo>
                    <a:pt x="1197622" y="574413"/>
                  </a:lnTo>
                  <a:lnTo>
                    <a:pt x="1202650" y="579670"/>
                  </a:lnTo>
                  <a:lnTo>
                    <a:pt x="1203304" y="580979"/>
                  </a:lnTo>
                  <a:lnTo>
                    <a:pt x="1203621" y="582503"/>
                  </a:lnTo>
                  <a:lnTo>
                    <a:pt x="1203427" y="585489"/>
                  </a:lnTo>
                  <a:lnTo>
                    <a:pt x="1203083" y="586247"/>
                  </a:lnTo>
                  <a:lnTo>
                    <a:pt x="1195085" y="594281"/>
                  </a:lnTo>
                  <a:lnTo>
                    <a:pt x="1192499" y="600110"/>
                  </a:lnTo>
                  <a:lnTo>
                    <a:pt x="1190851" y="604908"/>
                  </a:lnTo>
                  <a:lnTo>
                    <a:pt x="1188159" y="606230"/>
                  </a:lnTo>
                  <a:lnTo>
                    <a:pt x="1179197" y="604205"/>
                  </a:lnTo>
                  <a:lnTo>
                    <a:pt x="1176305" y="604266"/>
                  </a:lnTo>
                  <a:lnTo>
                    <a:pt x="1166249" y="605665"/>
                  </a:lnTo>
                  <a:lnTo>
                    <a:pt x="1161555" y="604971"/>
                  </a:lnTo>
                  <a:lnTo>
                    <a:pt x="1162218" y="597734"/>
                  </a:lnTo>
                  <a:lnTo>
                    <a:pt x="1161562" y="589893"/>
                  </a:lnTo>
                  <a:lnTo>
                    <a:pt x="1160083" y="582384"/>
                  </a:lnTo>
                  <a:lnTo>
                    <a:pt x="1152562" y="568963"/>
                  </a:lnTo>
                  <a:lnTo>
                    <a:pt x="1151732" y="566573"/>
                  </a:lnTo>
                  <a:lnTo>
                    <a:pt x="1151180" y="564001"/>
                  </a:lnTo>
                  <a:lnTo>
                    <a:pt x="1150900" y="561242"/>
                  </a:lnTo>
                  <a:lnTo>
                    <a:pt x="1150924" y="558462"/>
                  </a:lnTo>
                  <a:lnTo>
                    <a:pt x="1151447" y="552832"/>
                  </a:lnTo>
                  <a:lnTo>
                    <a:pt x="1151506" y="549973"/>
                  </a:lnTo>
                  <a:lnTo>
                    <a:pt x="1151129" y="542499"/>
                  </a:lnTo>
                  <a:lnTo>
                    <a:pt x="1150112" y="531269"/>
                  </a:lnTo>
                  <a:lnTo>
                    <a:pt x="1150017" y="527292"/>
                  </a:lnTo>
                  <a:lnTo>
                    <a:pt x="1150086" y="525706"/>
                  </a:lnTo>
                  <a:lnTo>
                    <a:pt x="1150399" y="524495"/>
                  </a:lnTo>
                  <a:lnTo>
                    <a:pt x="1152009" y="522885"/>
                  </a:lnTo>
                  <a:lnTo>
                    <a:pt x="1155102" y="521729"/>
                  </a:lnTo>
                  <a:lnTo>
                    <a:pt x="1156660" y="521558"/>
                  </a:lnTo>
                  <a:lnTo>
                    <a:pt x="1166546" y="524972"/>
                  </a:lnTo>
                  <a:lnTo>
                    <a:pt x="1171091" y="526112"/>
                  </a:lnTo>
                  <a:lnTo>
                    <a:pt x="1174115" y="526061"/>
                  </a:lnTo>
                  <a:lnTo>
                    <a:pt x="1174282" y="525675"/>
                  </a:lnTo>
                  <a:lnTo>
                    <a:pt x="1171591" y="524955"/>
                  </a:lnTo>
                  <a:lnTo>
                    <a:pt x="1169061" y="523484"/>
                  </a:lnTo>
                  <a:lnTo>
                    <a:pt x="1164939" y="519097"/>
                  </a:lnTo>
                  <a:lnTo>
                    <a:pt x="1163047" y="515340"/>
                  </a:lnTo>
                  <a:lnTo>
                    <a:pt x="1162668" y="514096"/>
                  </a:lnTo>
                  <a:lnTo>
                    <a:pt x="1162579" y="512794"/>
                  </a:lnTo>
                  <a:lnTo>
                    <a:pt x="1162776" y="511432"/>
                  </a:lnTo>
                  <a:lnTo>
                    <a:pt x="1163375" y="510207"/>
                  </a:lnTo>
                  <a:lnTo>
                    <a:pt x="1165438" y="508284"/>
                  </a:lnTo>
                  <a:lnTo>
                    <a:pt x="1167119" y="507416"/>
                  </a:lnTo>
                  <a:lnTo>
                    <a:pt x="1173320" y="505205"/>
                  </a:lnTo>
                  <a:lnTo>
                    <a:pt x="1179568" y="503857"/>
                  </a:lnTo>
                  <a:lnTo>
                    <a:pt x="1193355" y="502940"/>
                  </a:lnTo>
                  <a:lnTo>
                    <a:pt x="1197265" y="503597"/>
                  </a:lnTo>
                  <a:lnTo>
                    <a:pt x="1203234" y="501174"/>
                  </a:lnTo>
                  <a:close/>
                  <a:moveTo>
                    <a:pt x="494399" y="482297"/>
                  </a:moveTo>
                  <a:lnTo>
                    <a:pt x="499189" y="483056"/>
                  </a:lnTo>
                  <a:lnTo>
                    <a:pt x="503919" y="485049"/>
                  </a:lnTo>
                  <a:lnTo>
                    <a:pt x="510183" y="488527"/>
                  </a:lnTo>
                  <a:lnTo>
                    <a:pt x="518479" y="491916"/>
                  </a:lnTo>
                  <a:lnTo>
                    <a:pt x="533969" y="496865"/>
                  </a:lnTo>
                  <a:lnTo>
                    <a:pt x="543629" y="497906"/>
                  </a:lnTo>
                  <a:lnTo>
                    <a:pt x="539755" y="501843"/>
                  </a:lnTo>
                  <a:lnTo>
                    <a:pt x="539209" y="503022"/>
                  </a:lnTo>
                  <a:lnTo>
                    <a:pt x="539224" y="503881"/>
                  </a:lnTo>
                  <a:lnTo>
                    <a:pt x="539421" y="504089"/>
                  </a:lnTo>
                  <a:lnTo>
                    <a:pt x="545950" y="499478"/>
                  </a:lnTo>
                  <a:lnTo>
                    <a:pt x="549912" y="499227"/>
                  </a:lnTo>
                  <a:lnTo>
                    <a:pt x="552673" y="499639"/>
                  </a:lnTo>
                  <a:lnTo>
                    <a:pt x="553548" y="500226"/>
                  </a:lnTo>
                  <a:lnTo>
                    <a:pt x="554102" y="501137"/>
                  </a:lnTo>
                  <a:lnTo>
                    <a:pt x="554376" y="503139"/>
                  </a:lnTo>
                  <a:lnTo>
                    <a:pt x="554551" y="508086"/>
                  </a:lnTo>
                  <a:lnTo>
                    <a:pt x="554903" y="508697"/>
                  </a:lnTo>
                  <a:lnTo>
                    <a:pt x="555802" y="508416"/>
                  </a:lnTo>
                  <a:lnTo>
                    <a:pt x="557244" y="507250"/>
                  </a:lnTo>
                  <a:lnTo>
                    <a:pt x="564382" y="499932"/>
                  </a:lnTo>
                  <a:lnTo>
                    <a:pt x="567396" y="497920"/>
                  </a:lnTo>
                  <a:lnTo>
                    <a:pt x="569457" y="497317"/>
                  </a:lnTo>
                  <a:lnTo>
                    <a:pt x="578188" y="496215"/>
                  </a:lnTo>
                  <a:lnTo>
                    <a:pt x="584117" y="496249"/>
                  </a:lnTo>
                  <a:lnTo>
                    <a:pt x="590668" y="496933"/>
                  </a:lnTo>
                  <a:lnTo>
                    <a:pt x="595553" y="497959"/>
                  </a:lnTo>
                  <a:lnTo>
                    <a:pt x="603565" y="500974"/>
                  </a:lnTo>
                  <a:lnTo>
                    <a:pt x="609865" y="504438"/>
                  </a:lnTo>
                  <a:lnTo>
                    <a:pt x="615647" y="508121"/>
                  </a:lnTo>
                  <a:lnTo>
                    <a:pt x="635036" y="521912"/>
                  </a:lnTo>
                  <a:lnTo>
                    <a:pt x="643236" y="525964"/>
                  </a:lnTo>
                  <a:lnTo>
                    <a:pt x="646371" y="528262"/>
                  </a:lnTo>
                  <a:lnTo>
                    <a:pt x="647767" y="529934"/>
                  </a:lnTo>
                  <a:lnTo>
                    <a:pt x="648987" y="532030"/>
                  </a:lnTo>
                  <a:lnTo>
                    <a:pt x="649360" y="533987"/>
                  </a:lnTo>
                  <a:lnTo>
                    <a:pt x="648884" y="535804"/>
                  </a:lnTo>
                  <a:lnTo>
                    <a:pt x="647989" y="537072"/>
                  </a:lnTo>
                  <a:lnTo>
                    <a:pt x="646023" y="538154"/>
                  </a:lnTo>
                  <a:lnTo>
                    <a:pt x="634160" y="542717"/>
                  </a:lnTo>
                  <a:lnTo>
                    <a:pt x="627914" y="544113"/>
                  </a:lnTo>
                  <a:lnTo>
                    <a:pt x="621729" y="546127"/>
                  </a:lnTo>
                  <a:lnTo>
                    <a:pt x="606948" y="553219"/>
                  </a:lnTo>
                  <a:lnTo>
                    <a:pt x="596831" y="556589"/>
                  </a:lnTo>
                  <a:lnTo>
                    <a:pt x="583677" y="563144"/>
                  </a:lnTo>
                  <a:lnTo>
                    <a:pt x="558870" y="573648"/>
                  </a:lnTo>
                  <a:lnTo>
                    <a:pt x="555918" y="575750"/>
                  </a:lnTo>
                  <a:lnTo>
                    <a:pt x="554559" y="577261"/>
                  </a:lnTo>
                  <a:lnTo>
                    <a:pt x="547555" y="589146"/>
                  </a:lnTo>
                  <a:lnTo>
                    <a:pt x="544891" y="591897"/>
                  </a:lnTo>
                  <a:lnTo>
                    <a:pt x="538434" y="594697"/>
                  </a:lnTo>
                  <a:lnTo>
                    <a:pt x="530262" y="595397"/>
                  </a:lnTo>
                  <a:lnTo>
                    <a:pt x="527977" y="596182"/>
                  </a:lnTo>
                  <a:lnTo>
                    <a:pt x="527608" y="600262"/>
                  </a:lnTo>
                  <a:lnTo>
                    <a:pt x="524678" y="607021"/>
                  </a:lnTo>
                  <a:lnTo>
                    <a:pt x="523251" y="611560"/>
                  </a:lnTo>
                  <a:lnTo>
                    <a:pt x="521301" y="623668"/>
                  </a:lnTo>
                  <a:lnTo>
                    <a:pt x="520851" y="624876"/>
                  </a:lnTo>
                  <a:lnTo>
                    <a:pt x="519362" y="627110"/>
                  </a:lnTo>
                  <a:lnTo>
                    <a:pt x="516834" y="629531"/>
                  </a:lnTo>
                  <a:lnTo>
                    <a:pt x="508948" y="632315"/>
                  </a:lnTo>
                  <a:lnTo>
                    <a:pt x="503130" y="633776"/>
                  </a:lnTo>
                  <a:lnTo>
                    <a:pt x="495210" y="634989"/>
                  </a:lnTo>
                  <a:lnTo>
                    <a:pt x="493316" y="634159"/>
                  </a:lnTo>
                  <a:lnTo>
                    <a:pt x="491406" y="632251"/>
                  </a:lnTo>
                  <a:lnTo>
                    <a:pt x="489415" y="632085"/>
                  </a:lnTo>
                  <a:lnTo>
                    <a:pt x="488181" y="632383"/>
                  </a:lnTo>
                  <a:lnTo>
                    <a:pt x="477854" y="640730"/>
                  </a:lnTo>
                  <a:lnTo>
                    <a:pt x="467892" y="644097"/>
                  </a:lnTo>
                  <a:lnTo>
                    <a:pt x="463575" y="647135"/>
                  </a:lnTo>
                  <a:lnTo>
                    <a:pt x="460528" y="648561"/>
                  </a:lnTo>
                  <a:lnTo>
                    <a:pt x="458079" y="649000"/>
                  </a:lnTo>
                  <a:lnTo>
                    <a:pt x="454043" y="648731"/>
                  </a:lnTo>
                  <a:lnTo>
                    <a:pt x="451130" y="647354"/>
                  </a:lnTo>
                  <a:lnTo>
                    <a:pt x="448489" y="645230"/>
                  </a:lnTo>
                  <a:lnTo>
                    <a:pt x="446496" y="642920"/>
                  </a:lnTo>
                  <a:lnTo>
                    <a:pt x="441378" y="633392"/>
                  </a:lnTo>
                  <a:lnTo>
                    <a:pt x="439180" y="630123"/>
                  </a:lnTo>
                  <a:lnTo>
                    <a:pt x="437311" y="628488"/>
                  </a:lnTo>
                  <a:lnTo>
                    <a:pt x="432297" y="622651"/>
                  </a:lnTo>
                  <a:lnTo>
                    <a:pt x="430915" y="621479"/>
                  </a:lnTo>
                  <a:lnTo>
                    <a:pt x="411843" y="614055"/>
                  </a:lnTo>
                  <a:lnTo>
                    <a:pt x="402559" y="609880"/>
                  </a:lnTo>
                  <a:lnTo>
                    <a:pt x="400314" y="608406"/>
                  </a:lnTo>
                  <a:lnTo>
                    <a:pt x="398234" y="607544"/>
                  </a:lnTo>
                  <a:lnTo>
                    <a:pt x="386310" y="608121"/>
                  </a:lnTo>
                  <a:lnTo>
                    <a:pt x="384733" y="607895"/>
                  </a:lnTo>
                  <a:lnTo>
                    <a:pt x="384322" y="607278"/>
                  </a:lnTo>
                  <a:lnTo>
                    <a:pt x="385733" y="605085"/>
                  </a:lnTo>
                  <a:lnTo>
                    <a:pt x="386290" y="603700"/>
                  </a:lnTo>
                  <a:lnTo>
                    <a:pt x="386473" y="602341"/>
                  </a:lnTo>
                  <a:lnTo>
                    <a:pt x="386268" y="600148"/>
                  </a:lnTo>
                  <a:lnTo>
                    <a:pt x="386420" y="599752"/>
                  </a:lnTo>
                  <a:lnTo>
                    <a:pt x="390953" y="597588"/>
                  </a:lnTo>
                  <a:lnTo>
                    <a:pt x="390218" y="597139"/>
                  </a:lnTo>
                  <a:lnTo>
                    <a:pt x="389686" y="596293"/>
                  </a:lnTo>
                  <a:lnTo>
                    <a:pt x="389356" y="595046"/>
                  </a:lnTo>
                  <a:lnTo>
                    <a:pt x="389850" y="594175"/>
                  </a:lnTo>
                  <a:lnTo>
                    <a:pt x="391164" y="593678"/>
                  </a:lnTo>
                  <a:lnTo>
                    <a:pt x="392764" y="591657"/>
                  </a:lnTo>
                  <a:lnTo>
                    <a:pt x="394648" y="588110"/>
                  </a:lnTo>
                  <a:lnTo>
                    <a:pt x="396050" y="586117"/>
                  </a:lnTo>
                  <a:lnTo>
                    <a:pt x="397998" y="584832"/>
                  </a:lnTo>
                  <a:lnTo>
                    <a:pt x="401488" y="581394"/>
                  </a:lnTo>
                  <a:lnTo>
                    <a:pt x="403977" y="580004"/>
                  </a:lnTo>
                  <a:lnTo>
                    <a:pt x="406083" y="578261"/>
                  </a:lnTo>
                  <a:lnTo>
                    <a:pt x="406145" y="577475"/>
                  </a:lnTo>
                  <a:lnTo>
                    <a:pt x="405286" y="576870"/>
                  </a:lnTo>
                  <a:lnTo>
                    <a:pt x="404990" y="575538"/>
                  </a:lnTo>
                  <a:lnTo>
                    <a:pt x="405382" y="571373"/>
                  </a:lnTo>
                  <a:lnTo>
                    <a:pt x="405365" y="569225"/>
                  </a:lnTo>
                  <a:lnTo>
                    <a:pt x="405747" y="567431"/>
                  </a:lnTo>
                  <a:lnTo>
                    <a:pt x="406526" y="565986"/>
                  </a:lnTo>
                  <a:lnTo>
                    <a:pt x="407510" y="565027"/>
                  </a:lnTo>
                  <a:lnTo>
                    <a:pt x="416340" y="561997"/>
                  </a:lnTo>
                  <a:lnTo>
                    <a:pt x="416788" y="561118"/>
                  </a:lnTo>
                  <a:lnTo>
                    <a:pt x="416892" y="560108"/>
                  </a:lnTo>
                  <a:lnTo>
                    <a:pt x="416654" y="558962"/>
                  </a:lnTo>
                  <a:lnTo>
                    <a:pt x="416196" y="558158"/>
                  </a:lnTo>
                  <a:lnTo>
                    <a:pt x="414800" y="557500"/>
                  </a:lnTo>
                  <a:lnTo>
                    <a:pt x="412439" y="557318"/>
                  </a:lnTo>
                  <a:lnTo>
                    <a:pt x="410395" y="555569"/>
                  </a:lnTo>
                  <a:lnTo>
                    <a:pt x="409904" y="554723"/>
                  </a:lnTo>
                  <a:lnTo>
                    <a:pt x="410725" y="552326"/>
                  </a:lnTo>
                  <a:lnTo>
                    <a:pt x="414709" y="548501"/>
                  </a:lnTo>
                  <a:lnTo>
                    <a:pt x="416051" y="546610"/>
                  </a:lnTo>
                  <a:lnTo>
                    <a:pt x="420356" y="538057"/>
                  </a:lnTo>
                  <a:lnTo>
                    <a:pt x="428218" y="532741"/>
                  </a:lnTo>
                  <a:lnTo>
                    <a:pt x="430348" y="527010"/>
                  </a:lnTo>
                  <a:lnTo>
                    <a:pt x="436253" y="520915"/>
                  </a:lnTo>
                  <a:lnTo>
                    <a:pt x="436239" y="520071"/>
                  </a:lnTo>
                  <a:lnTo>
                    <a:pt x="434331" y="517986"/>
                  </a:lnTo>
                  <a:lnTo>
                    <a:pt x="428881" y="516542"/>
                  </a:lnTo>
                  <a:lnTo>
                    <a:pt x="426257" y="514313"/>
                  </a:lnTo>
                  <a:lnTo>
                    <a:pt x="424502" y="511779"/>
                  </a:lnTo>
                  <a:lnTo>
                    <a:pt x="416524" y="497143"/>
                  </a:lnTo>
                  <a:lnTo>
                    <a:pt x="415160" y="496052"/>
                  </a:lnTo>
                  <a:lnTo>
                    <a:pt x="414757" y="494341"/>
                  </a:lnTo>
                  <a:lnTo>
                    <a:pt x="413127" y="493210"/>
                  </a:lnTo>
                  <a:lnTo>
                    <a:pt x="413459" y="492153"/>
                  </a:lnTo>
                  <a:lnTo>
                    <a:pt x="444594" y="487758"/>
                  </a:lnTo>
                  <a:lnTo>
                    <a:pt x="466024" y="486355"/>
                  </a:lnTo>
                  <a:lnTo>
                    <a:pt x="488218" y="482523"/>
                  </a:lnTo>
                  <a:close/>
                  <a:moveTo>
                    <a:pt x="1105175" y="478208"/>
                  </a:moveTo>
                  <a:lnTo>
                    <a:pt x="1107666" y="479644"/>
                  </a:lnTo>
                  <a:lnTo>
                    <a:pt x="1108349" y="480730"/>
                  </a:lnTo>
                  <a:lnTo>
                    <a:pt x="1108030" y="481568"/>
                  </a:lnTo>
                  <a:lnTo>
                    <a:pt x="1106720" y="483241"/>
                  </a:lnTo>
                  <a:lnTo>
                    <a:pt x="1099098" y="486279"/>
                  </a:lnTo>
                  <a:lnTo>
                    <a:pt x="1097439" y="485100"/>
                  </a:lnTo>
                  <a:lnTo>
                    <a:pt x="1096718" y="484031"/>
                  </a:lnTo>
                  <a:lnTo>
                    <a:pt x="1102644" y="479418"/>
                  </a:lnTo>
                  <a:close/>
                  <a:moveTo>
                    <a:pt x="1149702" y="477688"/>
                  </a:moveTo>
                  <a:lnTo>
                    <a:pt x="1153512" y="477696"/>
                  </a:lnTo>
                  <a:lnTo>
                    <a:pt x="1157509" y="480263"/>
                  </a:lnTo>
                  <a:lnTo>
                    <a:pt x="1159390" y="482578"/>
                  </a:lnTo>
                  <a:lnTo>
                    <a:pt x="1159490" y="483598"/>
                  </a:lnTo>
                  <a:lnTo>
                    <a:pt x="1158673" y="484289"/>
                  </a:lnTo>
                  <a:lnTo>
                    <a:pt x="1157511" y="484541"/>
                  </a:lnTo>
                  <a:lnTo>
                    <a:pt x="1155254" y="484254"/>
                  </a:lnTo>
                  <a:lnTo>
                    <a:pt x="1146741" y="482017"/>
                  </a:lnTo>
                  <a:lnTo>
                    <a:pt x="1145292" y="481098"/>
                  </a:lnTo>
                  <a:lnTo>
                    <a:pt x="1144877" y="480424"/>
                  </a:lnTo>
                  <a:lnTo>
                    <a:pt x="1146812" y="479610"/>
                  </a:lnTo>
                  <a:lnTo>
                    <a:pt x="1147543" y="478742"/>
                  </a:lnTo>
                  <a:close/>
                  <a:moveTo>
                    <a:pt x="929461" y="437438"/>
                  </a:moveTo>
                  <a:lnTo>
                    <a:pt x="936347" y="437717"/>
                  </a:lnTo>
                  <a:lnTo>
                    <a:pt x="940345" y="439390"/>
                  </a:lnTo>
                  <a:lnTo>
                    <a:pt x="942013" y="440467"/>
                  </a:lnTo>
                  <a:lnTo>
                    <a:pt x="943207" y="441760"/>
                  </a:lnTo>
                  <a:lnTo>
                    <a:pt x="944379" y="444645"/>
                  </a:lnTo>
                  <a:lnTo>
                    <a:pt x="944668" y="446515"/>
                  </a:lnTo>
                  <a:lnTo>
                    <a:pt x="946678" y="448644"/>
                  </a:lnTo>
                  <a:lnTo>
                    <a:pt x="947279" y="449873"/>
                  </a:lnTo>
                  <a:lnTo>
                    <a:pt x="947315" y="451076"/>
                  </a:lnTo>
                  <a:lnTo>
                    <a:pt x="946753" y="452292"/>
                  </a:lnTo>
                  <a:lnTo>
                    <a:pt x="945600" y="453517"/>
                  </a:lnTo>
                  <a:lnTo>
                    <a:pt x="942958" y="455309"/>
                  </a:lnTo>
                  <a:lnTo>
                    <a:pt x="935200" y="457513"/>
                  </a:lnTo>
                  <a:lnTo>
                    <a:pt x="930413" y="457786"/>
                  </a:lnTo>
                  <a:lnTo>
                    <a:pt x="922156" y="456246"/>
                  </a:lnTo>
                  <a:lnTo>
                    <a:pt x="917242" y="453276"/>
                  </a:lnTo>
                  <a:lnTo>
                    <a:pt x="915739" y="451850"/>
                  </a:lnTo>
                  <a:lnTo>
                    <a:pt x="915886" y="451201"/>
                  </a:lnTo>
                  <a:lnTo>
                    <a:pt x="916735" y="450561"/>
                  </a:lnTo>
                  <a:lnTo>
                    <a:pt x="917922" y="448627"/>
                  </a:lnTo>
                  <a:lnTo>
                    <a:pt x="920735" y="443029"/>
                  </a:lnTo>
                  <a:lnTo>
                    <a:pt x="921789" y="441543"/>
                  </a:lnTo>
                  <a:lnTo>
                    <a:pt x="926217" y="438304"/>
                  </a:lnTo>
                  <a:close/>
                  <a:moveTo>
                    <a:pt x="1169537" y="427159"/>
                  </a:moveTo>
                  <a:lnTo>
                    <a:pt x="1175358" y="427519"/>
                  </a:lnTo>
                  <a:lnTo>
                    <a:pt x="1180971" y="429047"/>
                  </a:lnTo>
                  <a:lnTo>
                    <a:pt x="1185296" y="431580"/>
                  </a:lnTo>
                  <a:lnTo>
                    <a:pt x="1194110" y="437819"/>
                  </a:lnTo>
                  <a:lnTo>
                    <a:pt x="1198122" y="441581"/>
                  </a:lnTo>
                  <a:lnTo>
                    <a:pt x="1200252" y="445438"/>
                  </a:lnTo>
                  <a:lnTo>
                    <a:pt x="1202170" y="447647"/>
                  </a:lnTo>
                  <a:lnTo>
                    <a:pt x="1204545" y="452404"/>
                  </a:lnTo>
                  <a:lnTo>
                    <a:pt x="1203678" y="454262"/>
                  </a:lnTo>
                  <a:lnTo>
                    <a:pt x="1203169" y="456759"/>
                  </a:lnTo>
                  <a:lnTo>
                    <a:pt x="1203403" y="457939"/>
                  </a:lnTo>
                  <a:lnTo>
                    <a:pt x="1205034" y="461791"/>
                  </a:lnTo>
                  <a:lnTo>
                    <a:pt x="1205329" y="463341"/>
                  </a:lnTo>
                  <a:lnTo>
                    <a:pt x="1205409" y="466621"/>
                  </a:lnTo>
                  <a:lnTo>
                    <a:pt x="1204715" y="470888"/>
                  </a:lnTo>
                  <a:lnTo>
                    <a:pt x="1204250" y="471669"/>
                  </a:lnTo>
                  <a:lnTo>
                    <a:pt x="1203580" y="472030"/>
                  </a:lnTo>
                  <a:lnTo>
                    <a:pt x="1203258" y="473127"/>
                  </a:lnTo>
                  <a:lnTo>
                    <a:pt x="1203287" y="474964"/>
                  </a:lnTo>
                  <a:lnTo>
                    <a:pt x="1202629" y="476082"/>
                  </a:lnTo>
                  <a:lnTo>
                    <a:pt x="1201284" y="476482"/>
                  </a:lnTo>
                  <a:lnTo>
                    <a:pt x="1192196" y="477323"/>
                  </a:lnTo>
                  <a:lnTo>
                    <a:pt x="1186579" y="477160"/>
                  </a:lnTo>
                  <a:lnTo>
                    <a:pt x="1178251" y="477698"/>
                  </a:lnTo>
                  <a:lnTo>
                    <a:pt x="1174125" y="477423"/>
                  </a:lnTo>
                  <a:lnTo>
                    <a:pt x="1171422" y="476521"/>
                  </a:lnTo>
                  <a:lnTo>
                    <a:pt x="1167494" y="474517"/>
                  </a:lnTo>
                  <a:lnTo>
                    <a:pt x="1159194" y="469772"/>
                  </a:lnTo>
                  <a:lnTo>
                    <a:pt x="1155007" y="469607"/>
                  </a:lnTo>
                  <a:lnTo>
                    <a:pt x="1144504" y="467938"/>
                  </a:lnTo>
                  <a:lnTo>
                    <a:pt x="1138702" y="462775"/>
                  </a:lnTo>
                  <a:lnTo>
                    <a:pt x="1136483" y="461850"/>
                  </a:lnTo>
                  <a:lnTo>
                    <a:pt x="1134243" y="463393"/>
                  </a:lnTo>
                  <a:lnTo>
                    <a:pt x="1133632" y="463044"/>
                  </a:lnTo>
                  <a:lnTo>
                    <a:pt x="1133014" y="462006"/>
                  </a:lnTo>
                  <a:lnTo>
                    <a:pt x="1132390" y="460271"/>
                  </a:lnTo>
                  <a:lnTo>
                    <a:pt x="1131296" y="459383"/>
                  </a:lnTo>
                  <a:lnTo>
                    <a:pt x="1126896" y="459844"/>
                  </a:lnTo>
                  <a:lnTo>
                    <a:pt x="1126101" y="459261"/>
                  </a:lnTo>
                  <a:lnTo>
                    <a:pt x="1125888" y="457743"/>
                  </a:lnTo>
                  <a:lnTo>
                    <a:pt x="1125955" y="456420"/>
                  </a:lnTo>
                  <a:lnTo>
                    <a:pt x="1126746" y="454343"/>
                  </a:lnTo>
                  <a:lnTo>
                    <a:pt x="1131384" y="448608"/>
                  </a:lnTo>
                  <a:lnTo>
                    <a:pt x="1133677" y="448206"/>
                  </a:lnTo>
                  <a:lnTo>
                    <a:pt x="1136518" y="447145"/>
                  </a:lnTo>
                  <a:lnTo>
                    <a:pt x="1138089" y="444040"/>
                  </a:lnTo>
                  <a:lnTo>
                    <a:pt x="1137925" y="441107"/>
                  </a:lnTo>
                  <a:lnTo>
                    <a:pt x="1142242" y="436727"/>
                  </a:lnTo>
                  <a:lnTo>
                    <a:pt x="1144814" y="435434"/>
                  </a:lnTo>
                  <a:lnTo>
                    <a:pt x="1149439" y="432373"/>
                  </a:lnTo>
                  <a:lnTo>
                    <a:pt x="1165193" y="427581"/>
                  </a:lnTo>
                  <a:close/>
                  <a:moveTo>
                    <a:pt x="1131765" y="425890"/>
                  </a:moveTo>
                  <a:lnTo>
                    <a:pt x="1137405" y="428008"/>
                  </a:lnTo>
                  <a:lnTo>
                    <a:pt x="1140081" y="429436"/>
                  </a:lnTo>
                  <a:lnTo>
                    <a:pt x="1142110" y="431053"/>
                  </a:lnTo>
                  <a:lnTo>
                    <a:pt x="1141888" y="431695"/>
                  </a:lnTo>
                  <a:lnTo>
                    <a:pt x="1139099" y="433325"/>
                  </a:lnTo>
                  <a:lnTo>
                    <a:pt x="1137126" y="435012"/>
                  </a:lnTo>
                  <a:lnTo>
                    <a:pt x="1135092" y="435137"/>
                  </a:lnTo>
                  <a:lnTo>
                    <a:pt x="1132357" y="433539"/>
                  </a:lnTo>
                  <a:lnTo>
                    <a:pt x="1129387" y="434140"/>
                  </a:lnTo>
                  <a:lnTo>
                    <a:pt x="1125320" y="437368"/>
                  </a:lnTo>
                  <a:lnTo>
                    <a:pt x="1123874" y="439269"/>
                  </a:lnTo>
                  <a:lnTo>
                    <a:pt x="1122763" y="439956"/>
                  </a:lnTo>
                  <a:lnTo>
                    <a:pt x="1119357" y="440551"/>
                  </a:lnTo>
                  <a:lnTo>
                    <a:pt x="1117887" y="440012"/>
                  </a:lnTo>
                  <a:lnTo>
                    <a:pt x="1116505" y="438324"/>
                  </a:lnTo>
                  <a:lnTo>
                    <a:pt x="1115212" y="435484"/>
                  </a:lnTo>
                  <a:lnTo>
                    <a:pt x="1116170" y="433340"/>
                  </a:lnTo>
                  <a:lnTo>
                    <a:pt x="1119382" y="431896"/>
                  </a:lnTo>
                  <a:lnTo>
                    <a:pt x="1127833" y="429546"/>
                  </a:lnTo>
                  <a:lnTo>
                    <a:pt x="1130247" y="428377"/>
                  </a:lnTo>
                  <a:lnTo>
                    <a:pt x="1130512" y="427123"/>
                  </a:lnTo>
                  <a:lnTo>
                    <a:pt x="1131018" y="426293"/>
                  </a:lnTo>
                  <a:close/>
                  <a:moveTo>
                    <a:pt x="509363" y="411264"/>
                  </a:moveTo>
                  <a:lnTo>
                    <a:pt x="510027" y="411758"/>
                  </a:lnTo>
                  <a:lnTo>
                    <a:pt x="510258" y="412861"/>
                  </a:lnTo>
                  <a:lnTo>
                    <a:pt x="509797" y="416083"/>
                  </a:lnTo>
                  <a:lnTo>
                    <a:pt x="509179" y="417640"/>
                  </a:lnTo>
                  <a:lnTo>
                    <a:pt x="508324" y="418968"/>
                  </a:lnTo>
                  <a:lnTo>
                    <a:pt x="507014" y="420159"/>
                  </a:lnTo>
                  <a:lnTo>
                    <a:pt x="505249" y="421215"/>
                  </a:lnTo>
                  <a:lnTo>
                    <a:pt x="503270" y="421455"/>
                  </a:lnTo>
                  <a:lnTo>
                    <a:pt x="501073" y="420876"/>
                  </a:lnTo>
                  <a:lnTo>
                    <a:pt x="501576" y="419550"/>
                  </a:lnTo>
                  <a:lnTo>
                    <a:pt x="506515" y="415929"/>
                  </a:lnTo>
                  <a:lnTo>
                    <a:pt x="506791" y="414891"/>
                  </a:lnTo>
                  <a:lnTo>
                    <a:pt x="506724" y="414047"/>
                  </a:lnTo>
                  <a:lnTo>
                    <a:pt x="506110" y="413054"/>
                  </a:lnTo>
                  <a:lnTo>
                    <a:pt x="507359" y="411786"/>
                  </a:lnTo>
                  <a:close/>
                  <a:moveTo>
                    <a:pt x="1178166" y="408203"/>
                  </a:moveTo>
                  <a:lnTo>
                    <a:pt x="1179160" y="408423"/>
                  </a:lnTo>
                  <a:lnTo>
                    <a:pt x="1179854" y="409501"/>
                  </a:lnTo>
                  <a:lnTo>
                    <a:pt x="1180562" y="412322"/>
                  </a:lnTo>
                  <a:lnTo>
                    <a:pt x="1181312" y="413993"/>
                  </a:lnTo>
                  <a:lnTo>
                    <a:pt x="1183380" y="417043"/>
                  </a:lnTo>
                  <a:lnTo>
                    <a:pt x="1184292" y="419003"/>
                  </a:lnTo>
                  <a:lnTo>
                    <a:pt x="1184096" y="419611"/>
                  </a:lnTo>
                  <a:lnTo>
                    <a:pt x="1183449" y="420148"/>
                  </a:lnTo>
                  <a:lnTo>
                    <a:pt x="1178452" y="421006"/>
                  </a:lnTo>
                  <a:lnTo>
                    <a:pt x="1175972" y="421029"/>
                  </a:lnTo>
                  <a:lnTo>
                    <a:pt x="1172750" y="419955"/>
                  </a:lnTo>
                  <a:lnTo>
                    <a:pt x="1171840" y="418831"/>
                  </a:lnTo>
                  <a:lnTo>
                    <a:pt x="1171145" y="417291"/>
                  </a:lnTo>
                  <a:lnTo>
                    <a:pt x="1170666" y="415333"/>
                  </a:lnTo>
                  <a:lnTo>
                    <a:pt x="1169995" y="413768"/>
                  </a:lnTo>
                  <a:lnTo>
                    <a:pt x="1169133" y="412594"/>
                  </a:lnTo>
                  <a:lnTo>
                    <a:pt x="1168953" y="411613"/>
                  </a:lnTo>
                  <a:lnTo>
                    <a:pt x="1169456" y="410824"/>
                  </a:lnTo>
                  <a:lnTo>
                    <a:pt x="1170510" y="410384"/>
                  </a:lnTo>
                  <a:lnTo>
                    <a:pt x="1172918" y="410240"/>
                  </a:lnTo>
                  <a:close/>
                  <a:moveTo>
                    <a:pt x="592540" y="402027"/>
                  </a:moveTo>
                  <a:lnTo>
                    <a:pt x="595610" y="402845"/>
                  </a:lnTo>
                  <a:lnTo>
                    <a:pt x="595953" y="404002"/>
                  </a:lnTo>
                  <a:lnTo>
                    <a:pt x="592726" y="409786"/>
                  </a:lnTo>
                  <a:lnTo>
                    <a:pt x="590454" y="412113"/>
                  </a:lnTo>
                  <a:lnTo>
                    <a:pt x="586020" y="418104"/>
                  </a:lnTo>
                  <a:lnTo>
                    <a:pt x="577507" y="428129"/>
                  </a:lnTo>
                  <a:lnTo>
                    <a:pt x="574932" y="429749"/>
                  </a:lnTo>
                  <a:lnTo>
                    <a:pt x="567686" y="433053"/>
                  </a:lnTo>
                  <a:lnTo>
                    <a:pt x="562531" y="432709"/>
                  </a:lnTo>
                  <a:lnTo>
                    <a:pt x="555697" y="430282"/>
                  </a:lnTo>
                  <a:lnTo>
                    <a:pt x="550134" y="429458"/>
                  </a:lnTo>
                  <a:lnTo>
                    <a:pt x="548176" y="428652"/>
                  </a:lnTo>
                  <a:lnTo>
                    <a:pt x="547890" y="427812"/>
                  </a:lnTo>
                  <a:lnTo>
                    <a:pt x="549776" y="425483"/>
                  </a:lnTo>
                  <a:lnTo>
                    <a:pt x="552143" y="423623"/>
                  </a:lnTo>
                  <a:lnTo>
                    <a:pt x="557807" y="419960"/>
                  </a:lnTo>
                  <a:lnTo>
                    <a:pt x="567376" y="412884"/>
                  </a:lnTo>
                  <a:lnTo>
                    <a:pt x="573641" y="410201"/>
                  </a:lnTo>
                  <a:lnTo>
                    <a:pt x="579786" y="408304"/>
                  </a:lnTo>
                  <a:lnTo>
                    <a:pt x="586057" y="404060"/>
                  </a:lnTo>
                  <a:lnTo>
                    <a:pt x="589527" y="402165"/>
                  </a:lnTo>
                  <a:close/>
                  <a:moveTo>
                    <a:pt x="1571914" y="400420"/>
                  </a:moveTo>
                  <a:lnTo>
                    <a:pt x="1574029" y="401006"/>
                  </a:lnTo>
                  <a:lnTo>
                    <a:pt x="1576076" y="402485"/>
                  </a:lnTo>
                  <a:lnTo>
                    <a:pt x="1573509" y="406695"/>
                  </a:lnTo>
                  <a:lnTo>
                    <a:pt x="1570714" y="408789"/>
                  </a:lnTo>
                  <a:lnTo>
                    <a:pt x="1570550" y="411865"/>
                  </a:lnTo>
                  <a:lnTo>
                    <a:pt x="1570838" y="414919"/>
                  </a:lnTo>
                  <a:lnTo>
                    <a:pt x="1568995" y="414780"/>
                  </a:lnTo>
                  <a:lnTo>
                    <a:pt x="1563132" y="416774"/>
                  </a:lnTo>
                  <a:lnTo>
                    <a:pt x="1558344" y="417060"/>
                  </a:lnTo>
                  <a:lnTo>
                    <a:pt x="1555954" y="416166"/>
                  </a:lnTo>
                  <a:lnTo>
                    <a:pt x="1554433" y="414076"/>
                  </a:lnTo>
                  <a:lnTo>
                    <a:pt x="1558171" y="410181"/>
                  </a:lnTo>
                  <a:lnTo>
                    <a:pt x="1562469" y="407454"/>
                  </a:lnTo>
                  <a:lnTo>
                    <a:pt x="1567628" y="403210"/>
                  </a:lnTo>
                  <a:close/>
                  <a:moveTo>
                    <a:pt x="961106" y="391765"/>
                  </a:moveTo>
                  <a:lnTo>
                    <a:pt x="970494" y="391998"/>
                  </a:lnTo>
                  <a:lnTo>
                    <a:pt x="974143" y="393328"/>
                  </a:lnTo>
                  <a:lnTo>
                    <a:pt x="975359" y="397783"/>
                  </a:lnTo>
                  <a:lnTo>
                    <a:pt x="976528" y="403071"/>
                  </a:lnTo>
                  <a:lnTo>
                    <a:pt x="978160" y="403521"/>
                  </a:lnTo>
                  <a:lnTo>
                    <a:pt x="983189" y="407243"/>
                  </a:lnTo>
                  <a:lnTo>
                    <a:pt x="988499" y="410432"/>
                  </a:lnTo>
                  <a:lnTo>
                    <a:pt x="988751" y="411165"/>
                  </a:lnTo>
                  <a:lnTo>
                    <a:pt x="987750" y="411771"/>
                  </a:lnTo>
                  <a:lnTo>
                    <a:pt x="980888" y="413460"/>
                  </a:lnTo>
                  <a:lnTo>
                    <a:pt x="978217" y="414806"/>
                  </a:lnTo>
                  <a:lnTo>
                    <a:pt x="975986" y="417953"/>
                  </a:lnTo>
                  <a:lnTo>
                    <a:pt x="974257" y="419409"/>
                  </a:lnTo>
                  <a:lnTo>
                    <a:pt x="965028" y="420277"/>
                  </a:lnTo>
                  <a:lnTo>
                    <a:pt x="955616" y="420237"/>
                  </a:lnTo>
                  <a:lnTo>
                    <a:pt x="957391" y="417199"/>
                  </a:lnTo>
                  <a:lnTo>
                    <a:pt x="962545" y="412232"/>
                  </a:lnTo>
                  <a:lnTo>
                    <a:pt x="958486" y="410173"/>
                  </a:lnTo>
                  <a:lnTo>
                    <a:pt x="944078" y="413604"/>
                  </a:lnTo>
                  <a:lnTo>
                    <a:pt x="938615" y="411492"/>
                  </a:lnTo>
                  <a:lnTo>
                    <a:pt x="943292" y="406093"/>
                  </a:lnTo>
                  <a:lnTo>
                    <a:pt x="938633" y="405598"/>
                  </a:lnTo>
                  <a:lnTo>
                    <a:pt x="932092" y="405575"/>
                  </a:lnTo>
                  <a:lnTo>
                    <a:pt x="927945" y="402371"/>
                  </a:lnTo>
                  <a:lnTo>
                    <a:pt x="929349" y="398519"/>
                  </a:lnTo>
                  <a:lnTo>
                    <a:pt x="937935" y="396394"/>
                  </a:lnTo>
                  <a:lnTo>
                    <a:pt x="949107" y="394554"/>
                  </a:lnTo>
                  <a:close/>
                  <a:moveTo>
                    <a:pt x="933040" y="373104"/>
                  </a:moveTo>
                  <a:lnTo>
                    <a:pt x="936351" y="373104"/>
                  </a:lnTo>
                  <a:lnTo>
                    <a:pt x="938432" y="373587"/>
                  </a:lnTo>
                  <a:lnTo>
                    <a:pt x="939278" y="374549"/>
                  </a:lnTo>
                  <a:lnTo>
                    <a:pt x="939022" y="375849"/>
                  </a:lnTo>
                  <a:lnTo>
                    <a:pt x="937661" y="377487"/>
                  </a:lnTo>
                  <a:lnTo>
                    <a:pt x="938913" y="377778"/>
                  </a:lnTo>
                  <a:lnTo>
                    <a:pt x="942778" y="376728"/>
                  </a:lnTo>
                  <a:lnTo>
                    <a:pt x="945271" y="376540"/>
                  </a:lnTo>
                  <a:lnTo>
                    <a:pt x="948050" y="378525"/>
                  </a:lnTo>
                  <a:lnTo>
                    <a:pt x="948773" y="379819"/>
                  </a:lnTo>
                  <a:lnTo>
                    <a:pt x="958776" y="383053"/>
                  </a:lnTo>
                  <a:lnTo>
                    <a:pt x="962296" y="384504"/>
                  </a:lnTo>
                  <a:lnTo>
                    <a:pt x="962747" y="385470"/>
                  </a:lnTo>
                  <a:lnTo>
                    <a:pt x="961493" y="386851"/>
                  </a:lnTo>
                  <a:lnTo>
                    <a:pt x="958538" y="388653"/>
                  </a:lnTo>
                  <a:lnTo>
                    <a:pt x="955701" y="389874"/>
                  </a:lnTo>
                  <a:lnTo>
                    <a:pt x="951623" y="390844"/>
                  </a:lnTo>
                  <a:lnTo>
                    <a:pt x="931378" y="390990"/>
                  </a:lnTo>
                  <a:lnTo>
                    <a:pt x="929175" y="390553"/>
                  </a:lnTo>
                  <a:lnTo>
                    <a:pt x="927904" y="388953"/>
                  </a:lnTo>
                  <a:lnTo>
                    <a:pt x="925399" y="382974"/>
                  </a:lnTo>
                  <a:lnTo>
                    <a:pt x="923619" y="379750"/>
                  </a:lnTo>
                  <a:lnTo>
                    <a:pt x="922950" y="377508"/>
                  </a:lnTo>
                  <a:lnTo>
                    <a:pt x="923390" y="376253"/>
                  </a:lnTo>
                  <a:lnTo>
                    <a:pt x="925553" y="374993"/>
                  </a:lnTo>
                  <a:close/>
                  <a:moveTo>
                    <a:pt x="1072354" y="371638"/>
                  </a:moveTo>
                  <a:lnTo>
                    <a:pt x="1077001" y="373038"/>
                  </a:lnTo>
                  <a:lnTo>
                    <a:pt x="1083059" y="376664"/>
                  </a:lnTo>
                  <a:lnTo>
                    <a:pt x="1084390" y="377897"/>
                  </a:lnTo>
                  <a:lnTo>
                    <a:pt x="1091208" y="380134"/>
                  </a:lnTo>
                  <a:lnTo>
                    <a:pt x="1095237" y="380877"/>
                  </a:lnTo>
                  <a:lnTo>
                    <a:pt x="1097330" y="382072"/>
                  </a:lnTo>
                  <a:lnTo>
                    <a:pt x="1097962" y="383628"/>
                  </a:lnTo>
                  <a:lnTo>
                    <a:pt x="1098246" y="385977"/>
                  </a:lnTo>
                  <a:lnTo>
                    <a:pt x="1097939" y="387784"/>
                  </a:lnTo>
                  <a:lnTo>
                    <a:pt x="1097044" y="389058"/>
                  </a:lnTo>
                  <a:lnTo>
                    <a:pt x="1097002" y="390520"/>
                  </a:lnTo>
                  <a:lnTo>
                    <a:pt x="1097813" y="392172"/>
                  </a:lnTo>
                  <a:lnTo>
                    <a:pt x="1101202" y="396332"/>
                  </a:lnTo>
                  <a:lnTo>
                    <a:pt x="1102279" y="398561"/>
                  </a:lnTo>
                  <a:lnTo>
                    <a:pt x="1102442" y="400796"/>
                  </a:lnTo>
                  <a:lnTo>
                    <a:pt x="1102270" y="402323"/>
                  </a:lnTo>
                  <a:lnTo>
                    <a:pt x="1100179" y="405281"/>
                  </a:lnTo>
                  <a:lnTo>
                    <a:pt x="1099253" y="409102"/>
                  </a:lnTo>
                  <a:lnTo>
                    <a:pt x="1099199" y="411124"/>
                  </a:lnTo>
                  <a:lnTo>
                    <a:pt x="1100444" y="414279"/>
                  </a:lnTo>
                  <a:lnTo>
                    <a:pt x="1100479" y="415744"/>
                  </a:lnTo>
                  <a:lnTo>
                    <a:pt x="1098131" y="418254"/>
                  </a:lnTo>
                  <a:lnTo>
                    <a:pt x="1093155" y="420437"/>
                  </a:lnTo>
                  <a:lnTo>
                    <a:pt x="1093858" y="421587"/>
                  </a:lnTo>
                  <a:lnTo>
                    <a:pt x="1104590" y="424348"/>
                  </a:lnTo>
                  <a:lnTo>
                    <a:pt x="1105402" y="424970"/>
                  </a:lnTo>
                  <a:lnTo>
                    <a:pt x="1105349" y="431168"/>
                  </a:lnTo>
                  <a:lnTo>
                    <a:pt x="1107215" y="437957"/>
                  </a:lnTo>
                  <a:lnTo>
                    <a:pt x="1106519" y="438090"/>
                  </a:lnTo>
                  <a:lnTo>
                    <a:pt x="1103938" y="435967"/>
                  </a:lnTo>
                  <a:lnTo>
                    <a:pt x="1099169" y="433446"/>
                  </a:lnTo>
                  <a:lnTo>
                    <a:pt x="1093467" y="438147"/>
                  </a:lnTo>
                  <a:lnTo>
                    <a:pt x="1094112" y="446114"/>
                  </a:lnTo>
                  <a:lnTo>
                    <a:pt x="1097862" y="449657"/>
                  </a:lnTo>
                  <a:lnTo>
                    <a:pt x="1099002" y="451676"/>
                  </a:lnTo>
                  <a:lnTo>
                    <a:pt x="1098637" y="452890"/>
                  </a:lnTo>
                  <a:lnTo>
                    <a:pt x="1095466" y="453432"/>
                  </a:lnTo>
                  <a:lnTo>
                    <a:pt x="1094367" y="453169"/>
                  </a:lnTo>
                  <a:lnTo>
                    <a:pt x="1091118" y="451568"/>
                  </a:lnTo>
                  <a:lnTo>
                    <a:pt x="1089229" y="449146"/>
                  </a:lnTo>
                  <a:lnTo>
                    <a:pt x="1088635" y="449231"/>
                  </a:lnTo>
                  <a:lnTo>
                    <a:pt x="1088053" y="450400"/>
                  </a:lnTo>
                  <a:lnTo>
                    <a:pt x="1088432" y="451584"/>
                  </a:lnTo>
                  <a:lnTo>
                    <a:pt x="1090632" y="453734"/>
                  </a:lnTo>
                  <a:lnTo>
                    <a:pt x="1091562" y="456303"/>
                  </a:lnTo>
                  <a:lnTo>
                    <a:pt x="1090587" y="457032"/>
                  </a:lnTo>
                  <a:lnTo>
                    <a:pt x="1087312" y="457696"/>
                  </a:lnTo>
                  <a:lnTo>
                    <a:pt x="1082895" y="457724"/>
                  </a:lnTo>
                  <a:lnTo>
                    <a:pt x="1075960" y="458883"/>
                  </a:lnTo>
                  <a:lnTo>
                    <a:pt x="1072540" y="459061"/>
                  </a:lnTo>
                  <a:lnTo>
                    <a:pt x="1069211" y="458435"/>
                  </a:lnTo>
                  <a:lnTo>
                    <a:pt x="1064768" y="458286"/>
                  </a:lnTo>
                  <a:lnTo>
                    <a:pt x="1061072" y="458559"/>
                  </a:lnTo>
                  <a:lnTo>
                    <a:pt x="1058811" y="458048"/>
                  </a:lnTo>
                  <a:lnTo>
                    <a:pt x="1056753" y="456849"/>
                  </a:lnTo>
                  <a:lnTo>
                    <a:pt x="1054356" y="457137"/>
                  </a:lnTo>
                  <a:lnTo>
                    <a:pt x="1049126" y="460180"/>
                  </a:lnTo>
                  <a:lnTo>
                    <a:pt x="1041019" y="459212"/>
                  </a:lnTo>
                  <a:lnTo>
                    <a:pt x="1033722" y="458964"/>
                  </a:lnTo>
                  <a:lnTo>
                    <a:pt x="1032255" y="457950"/>
                  </a:lnTo>
                  <a:lnTo>
                    <a:pt x="1030623" y="455968"/>
                  </a:lnTo>
                  <a:lnTo>
                    <a:pt x="1027406" y="449778"/>
                  </a:lnTo>
                  <a:lnTo>
                    <a:pt x="1028015" y="448216"/>
                  </a:lnTo>
                  <a:lnTo>
                    <a:pt x="1035811" y="447372"/>
                  </a:lnTo>
                  <a:lnTo>
                    <a:pt x="1035971" y="446837"/>
                  </a:lnTo>
                  <a:lnTo>
                    <a:pt x="1030434" y="444620"/>
                  </a:lnTo>
                  <a:lnTo>
                    <a:pt x="1024074" y="442992"/>
                  </a:lnTo>
                  <a:lnTo>
                    <a:pt x="1021126" y="441709"/>
                  </a:lnTo>
                  <a:lnTo>
                    <a:pt x="1021809" y="439261"/>
                  </a:lnTo>
                  <a:lnTo>
                    <a:pt x="1021614" y="438647"/>
                  </a:lnTo>
                  <a:lnTo>
                    <a:pt x="1032574" y="435847"/>
                  </a:lnTo>
                  <a:lnTo>
                    <a:pt x="1040545" y="430325"/>
                  </a:lnTo>
                  <a:lnTo>
                    <a:pt x="1045492" y="428074"/>
                  </a:lnTo>
                  <a:lnTo>
                    <a:pt x="1045852" y="426986"/>
                  </a:lnTo>
                  <a:lnTo>
                    <a:pt x="1050032" y="425853"/>
                  </a:lnTo>
                  <a:lnTo>
                    <a:pt x="1059712" y="425172"/>
                  </a:lnTo>
                  <a:lnTo>
                    <a:pt x="1060089" y="423635"/>
                  </a:lnTo>
                  <a:lnTo>
                    <a:pt x="1041817" y="424519"/>
                  </a:lnTo>
                  <a:lnTo>
                    <a:pt x="1016800" y="427654"/>
                  </a:lnTo>
                  <a:lnTo>
                    <a:pt x="1009064" y="429198"/>
                  </a:lnTo>
                  <a:lnTo>
                    <a:pt x="1002612" y="428298"/>
                  </a:lnTo>
                  <a:lnTo>
                    <a:pt x="975225" y="433145"/>
                  </a:lnTo>
                  <a:lnTo>
                    <a:pt x="974058" y="433143"/>
                  </a:lnTo>
                  <a:lnTo>
                    <a:pt x="971194" y="431605"/>
                  </a:lnTo>
                  <a:lnTo>
                    <a:pt x="968731" y="428723"/>
                  </a:lnTo>
                  <a:lnTo>
                    <a:pt x="970498" y="426712"/>
                  </a:lnTo>
                  <a:lnTo>
                    <a:pt x="978540" y="422890"/>
                  </a:lnTo>
                  <a:lnTo>
                    <a:pt x="982561" y="419539"/>
                  </a:lnTo>
                  <a:lnTo>
                    <a:pt x="982090" y="417726"/>
                  </a:lnTo>
                  <a:lnTo>
                    <a:pt x="985283" y="414503"/>
                  </a:lnTo>
                  <a:lnTo>
                    <a:pt x="990403" y="414047"/>
                  </a:lnTo>
                  <a:lnTo>
                    <a:pt x="999104" y="416697"/>
                  </a:lnTo>
                  <a:lnTo>
                    <a:pt x="1003628" y="419321"/>
                  </a:lnTo>
                  <a:lnTo>
                    <a:pt x="1007680" y="420548"/>
                  </a:lnTo>
                  <a:lnTo>
                    <a:pt x="1011282" y="420305"/>
                  </a:lnTo>
                  <a:lnTo>
                    <a:pt x="1014999" y="418468"/>
                  </a:lnTo>
                  <a:lnTo>
                    <a:pt x="1014058" y="418264"/>
                  </a:lnTo>
                  <a:lnTo>
                    <a:pt x="1007747" y="419233"/>
                  </a:lnTo>
                  <a:lnTo>
                    <a:pt x="1007006" y="418951"/>
                  </a:lnTo>
                  <a:lnTo>
                    <a:pt x="1003786" y="416015"/>
                  </a:lnTo>
                  <a:lnTo>
                    <a:pt x="1002384" y="414146"/>
                  </a:lnTo>
                  <a:lnTo>
                    <a:pt x="1001481" y="412272"/>
                  </a:lnTo>
                  <a:lnTo>
                    <a:pt x="1001432" y="410948"/>
                  </a:lnTo>
                  <a:lnTo>
                    <a:pt x="1003372" y="408434"/>
                  </a:lnTo>
                  <a:lnTo>
                    <a:pt x="996134" y="407607"/>
                  </a:lnTo>
                  <a:lnTo>
                    <a:pt x="993431" y="405868"/>
                  </a:lnTo>
                  <a:lnTo>
                    <a:pt x="992196" y="403694"/>
                  </a:lnTo>
                  <a:lnTo>
                    <a:pt x="992468" y="402748"/>
                  </a:lnTo>
                  <a:lnTo>
                    <a:pt x="994750" y="400202"/>
                  </a:lnTo>
                  <a:lnTo>
                    <a:pt x="1000897" y="396694"/>
                  </a:lnTo>
                  <a:lnTo>
                    <a:pt x="1000185" y="395724"/>
                  </a:lnTo>
                  <a:lnTo>
                    <a:pt x="991240" y="395801"/>
                  </a:lnTo>
                  <a:lnTo>
                    <a:pt x="989271" y="395343"/>
                  </a:lnTo>
                  <a:lnTo>
                    <a:pt x="985460" y="393160"/>
                  </a:lnTo>
                  <a:lnTo>
                    <a:pt x="986299" y="390732"/>
                  </a:lnTo>
                  <a:lnTo>
                    <a:pt x="989860" y="387175"/>
                  </a:lnTo>
                  <a:lnTo>
                    <a:pt x="992541" y="385074"/>
                  </a:lnTo>
                  <a:lnTo>
                    <a:pt x="994339" y="384430"/>
                  </a:lnTo>
                  <a:lnTo>
                    <a:pt x="997136" y="384442"/>
                  </a:lnTo>
                  <a:lnTo>
                    <a:pt x="1003781" y="385815"/>
                  </a:lnTo>
                  <a:lnTo>
                    <a:pt x="1005694" y="386572"/>
                  </a:lnTo>
                  <a:lnTo>
                    <a:pt x="1010783" y="390001"/>
                  </a:lnTo>
                  <a:lnTo>
                    <a:pt x="1012080" y="391955"/>
                  </a:lnTo>
                  <a:lnTo>
                    <a:pt x="1011921" y="393836"/>
                  </a:lnTo>
                  <a:lnTo>
                    <a:pt x="1012894" y="395216"/>
                  </a:lnTo>
                  <a:lnTo>
                    <a:pt x="1016843" y="397227"/>
                  </a:lnTo>
                  <a:lnTo>
                    <a:pt x="1033816" y="407620"/>
                  </a:lnTo>
                  <a:lnTo>
                    <a:pt x="1036985" y="410073"/>
                  </a:lnTo>
                  <a:lnTo>
                    <a:pt x="1039156" y="411158"/>
                  </a:lnTo>
                  <a:lnTo>
                    <a:pt x="1043076" y="411953"/>
                  </a:lnTo>
                  <a:lnTo>
                    <a:pt x="1045374" y="411788"/>
                  </a:lnTo>
                  <a:lnTo>
                    <a:pt x="1047240" y="411059"/>
                  </a:lnTo>
                  <a:lnTo>
                    <a:pt x="1047553" y="410111"/>
                  </a:lnTo>
                  <a:lnTo>
                    <a:pt x="1040215" y="406485"/>
                  </a:lnTo>
                  <a:lnTo>
                    <a:pt x="1038373" y="404554"/>
                  </a:lnTo>
                  <a:lnTo>
                    <a:pt x="1036805" y="401916"/>
                  </a:lnTo>
                  <a:lnTo>
                    <a:pt x="1037490" y="401065"/>
                  </a:lnTo>
                  <a:lnTo>
                    <a:pt x="1039621" y="400771"/>
                  </a:lnTo>
                  <a:lnTo>
                    <a:pt x="1044985" y="401115"/>
                  </a:lnTo>
                  <a:lnTo>
                    <a:pt x="1051303" y="400401"/>
                  </a:lnTo>
                  <a:lnTo>
                    <a:pt x="1044300" y="399290"/>
                  </a:lnTo>
                  <a:lnTo>
                    <a:pt x="1039727" y="397814"/>
                  </a:lnTo>
                  <a:lnTo>
                    <a:pt x="1035032" y="397742"/>
                  </a:lnTo>
                  <a:lnTo>
                    <a:pt x="1029163" y="395374"/>
                  </a:lnTo>
                  <a:lnTo>
                    <a:pt x="1029160" y="394633"/>
                  </a:lnTo>
                  <a:lnTo>
                    <a:pt x="1030598" y="393878"/>
                  </a:lnTo>
                  <a:lnTo>
                    <a:pt x="1038582" y="392825"/>
                  </a:lnTo>
                  <a:lnTo>
                    <a:pt x="1040094" y="392372"/>
                  </a:lnTo>
                  <a:lnTo>
                    <a:pt x="1040230" y="391715"/>
                  </a:lnTo>
                  <a:lnTo>
                    <a:pt x="1037589" y="390126"/>
                  </a:lnTo>
                  <a:lnTo>
                    <a:pt x="1035237" y="389261"/>
                  </a:lnTo>
                  <a:lnTo>
                    <a:pt x="1023167" y="387336"/>
                  </a:lnTo>
                  <a:lnTo>
                    <a:pt x="1018877" y="385180"/>
                  </a:lnTo>
                  <a:lnTo>
                    <a:pt x="1017513" y="384150"/>
                  </a:lnTo>
                  <a:lnTo>
                    <a:pt x="1017079" y="383157"/>
                  </a:lnTo>
                  <a:lnTo>
                    <a:pt x="1018627" y="380609"/>
                  </a:lnTo>
                  <a:lnTo>
                    <a:pt x="1025119" y="377408"/>
                  </a:lnTo>
                  <a:lnTo>
                    <a:pt x="1029829" y="375881"/>
                  </a:lnTo>
                  <a:lnTo>
                    <a:pt x="1037924" y="374762"/>
                  </a:lnTo>
                  <a:lnTo>
                    <a:pt x="1044380" y="374896"/>
                  </a:lnTo>
                  <a:lnTo>
                    <a:pt x="1048058" y="375324"/>
                  </a:lnTo>
                  <a:lnTo>
                    <a:pt x="1056667" y="380747"/>
                  </a:lnTo>
                  <a:lnTo>
                    <a:pt x="1060721" y="384305"/>
                  </a:lnTo>
                  <a:lnTo>
                    <a:pt x="1067803" y="383678"/>
                  </a:lnTo>
                  <a:lnTo>
                    <a:pt x="1065757" y="379940"/>
                  </a:lnTo>
                  <a:lnTo>
                    <a:pt x="1064422" y="375829"/>
                  </a:lnTo>
                  <a:lnTo>
                    <a:pt x="1066522" y="374318"/>
                  </a:lnTo>
                  <a:close/>
                  <a:moveTo>
                    <a:pt x="1023905" y="368535"/>
                  </a:moveTo>
                  <a:lnTo>
                    <a:pt x="1027818" y="368649"/>
                  </a:lnTo>
                  <a:lnTo>
                    <a:pt x="1032842" y="369506"/>
                  </a:lnTo>
                  <a:lnTo>
                    <a:pt x="1020736" y="374000"/>
                  </a:lnTo>
                  <a:lnTo>
                    <a:pt x="1008576" y="377686"/>
                  </a:lnTo>
                  <a:lnTo>
                    <a:pt x="1002007" y="377915"/>
                  </a:lnTo>
                  <a:lnTo>
                    <a:pt x="998970" y="377281"/>
                  </a:lnTo>
                  <a:lnTo>
                    <a:pt x="998764" y="376354"/>
                  </a:lnTo>
                  <a:lnTo>
                    <a:pt x="1001391" y="375133"/>
                  </a:lnTo>
                  <a:lnTo>
                    <a:pt x="1010124" y="373141"/>
                  </a:lnTo>
                  <a:lnTo>
                    <a:pt x="1015269" y="369504"/>
                  </a:lnTo>
                  <a:lnTo>
                    <a:pt x="1017188" y="369055"/>
                  </a:lnTo>
                  <a:close/>
                  <a:moveTo>
                    <a:pt x="815728" y="364894"/>
                  </a:moveTo>
                  <a:lnTo>
                    <a:pt x="822770" y="368239"/>
                  </a:lnTo>
                  <a:lnTo>
                    <a:pt x="824330" y="368444"/>
                  </a:lnTo>
                  <a:lnTo>
                    <a:pt x="824974" y="369323"/>
                  </a:lnTo>
                  <a:lnTo>
                    <a:pt x="824700" y="370877"/>
                  </a:lnTo>
                  <a:lnTo>
                    <a:pt x="823822" y="372356"/>
                  </a:lnTo>
                  <a:lnTo>
                    <a:pt x="821301" y="375027"/>
                  </a:lnTo>
                  <a:lnTo>
                    <a:pt x="820709" y="376146"/>
                  </a:lnTo>
                  <a:lnTo>
                    <a:pt x="820900" y="377297"/>
                  </a:lnTo>
                  <a:lnTo>
                    <a:pt x="822628" y="379954"/>
                  </a:lnTo>
                  <a:lnTo>
                    <a:pt x="823158" y="381702"/>
                  </a:lnTo>
                  <a:lnTo>
                    <a:pt x="823539" y="384645"/>
                  </a:lnTo>
                  <a:lnTo>
                    <a:pt x="823820" y="385079"/>
                  </a:lnTo>
                  <a:lnTo>
                    <a:pt x="828055" y="387561"/>
                  </a:lnTo>
                  <a:lnTo>
                    <a:pt x="831907" y="390790"/>
                  </a:lnTo>
                  <a:lnTo>
                    <a:pt x="833691" y="395849"/>
                  </a:lnTo>
                  <a:lnTo>
                    <a:pt x="832304" y="397594"/>
                  </a:lnTo>
                  <a:lnTo>
                    <a:pt x="829061" y="399995"/>
                  </a:lnTo>
                  <a:lnTo>
                    <a:pt x="827132" y="401995"/>
                  </a:lnTo>
                  <a:lnTo>
                    <a:pt x="826516" y="403592"/>
                  </a:lnTo>
                  <a:lnTo>
                    <a:pt x="827007" y="404556"/>
                  </a:lnTo>
                  <a:lnTo>
                    <a:pt x="829402" y="405046"/>
                  </a:lnTo>
                  <a:lnTo>
                    <a:pt x="832599" y="405193"/>
                  </a:lnTo>
                  <a:lnTo>
                    <a:pt x="836339" y="404624"/>
                  </a:lnTo>
                  <a:lnTo>
                    <a:pt x="840560" y="405015"/>
                  </a:lnTo>
                  <a:lnTo>
                    <a:pt x="842473" y="406182"/>
                  </a:lnTo>
                  <a:lnTo>
                    <a:pt x="843826" y="408256"/>
                  </a:lnTo>
                  <a:lnTo>
                    <a:pt x="843882" y="409367"/>
                  </a:lnTo>
                  <a:lnTo>
                    <a:pt x="843615" y="410324"/>
                  </a:lnTo>
                  <a:lnTo>
                    <a:pt x="843023" y="411119"/>
                  </a:lnTo>
                  <a:lnTo>
                    <a:pt x="837565" y="416338"/>
                  </a:lnTo>
                  <a:lnTo>
                    <a:pt x="836290" y="418140"/>
                  </a:lnTo>
                  <a:lnTo>
                    <a:pt x="838056" y="418579"/>
                  </a:lnTo>
                  <a:lnTo>
                    <a:pt x="838907" y="418276"/>
                  </a:lnTo>
                  <a:lnTo>
                    <a:pt x="844356" y="414370"/>
                  </a:lnTo>
                  <a:lnTo>
                    <a:pt x="848455" y="413148"/>
                  </a:lnTo>
                  <a:lnTo>
                    <a:pt x="851566" y="412867"/>
                  </a:lnTo>
                  <a:lnTo>
                    <a:pt x="856689" y="413647"/>
                  </a:lnTo>
                  <a:lnTo>
                    <a:pt x="858731" y="414320"/>
                  </a:lnTo>
                  <a:lnTo>
                    <a:pt x="860132" y="415117"/>
                  </a:lnTo>
                  <a:lnTo>
                    <a:pt x="860894" y="416037"/>
                  </a:lnTo>
                  <a:lnTo>
                    <a:pt x="862909" y="419777"/>
                  </a:lnTo>
                  <a:lnTo>
                    <a:pt x="864364" y="424603"/>
                  </a:lnTo>
                  <a:lnTo>
                    <a:pt x="864601" y="424106"/>
                  </a:lnTo>
                  <a:lnTo>
                    <a:pt x="864637" y="421402"/>
                  </a:lnTo>
                  <a:lnTo>
                    <a:pt x="864918" y="419296"/>
                  </a:lnTo>
                  <a:lnTo>
                    <a:pt x="869953" y="417871"/>
                  </a:lnTo>
                  <a:lnTo>
                    <a:pt x="870080" y="417401"/>
                  </a:lnTo>
                  <a:lnTo>
                    <a:pt x="868273" y="416234"/>
                  </a:lnTo>
                  <a:lnTo>
                    <a:pt x="866734" y="414639"/>
                  </a:lnTo>
                  <a:lnTo>
                    <a:pt x="865669" y="411649"/>
                  </a:lnTo>
                  <a:lnTo>
                    <a:pt x="866085" y="410533"/>
                  </a:lnTo>
                  <a:lnTo>
                    <a:pt x="867139" y="409334"/>
                  </a:lnTo>
                  <a:lnTo>
                    <a:pt x="870361" y="406784"/>
                  </a:lnTo>
                  <a:lnTo>
                    <a:pt x="874125" y="405260"/>
                  </a:lnTo>
                  <a:lnTo>
                    <a:pt x="877472" y="404892"/>
                  </a:lnTo>
                  <a:lnTo>
                    <a:pt x="889941" y="407551"/>
                  </a:lnTo>
                  <a:lnTo>
                    <a:pt x="894847" y="409733"/>
                  </a:lnTo>
                  <a:lnTo>
                    <a:pt x="896842" y="410856"/>
                  </a:lnTo>
                  <a:lnTo>
                    <a:pt x="897558" y="411656"/>
                  </a:lnTo>
                  <a:lnTo>
                    <a:pt x="898601" y="414211"/>
                  </a:lnTo>
                  <a:lnTo>
                    <a:pt x="900690" y="421196"/>
                  </a:lnTo>
                  <a:lnTo>
                    <a:pt x="900677" y="423436"/>
                  </a:lnTo>
                  <a:lnTo>
                    <a:pt x="899711" y="427038"/>
                  </a:lnTo>
                  <a:lnTo>
                    <a:pt x="895682" y="433774"/>
                  </a:lnTo>
                  <a:lnTo>
                    <a:pt x="895068" y="438331"/>
                  </a:lnTo>
                  <a:lnTo>
                    <a:pt x="891012" y="449619"/>
                  </a:lnTo>
                  <a:lnTo>
                    <a:pt x="888239" y="452676"/>
                  </a:lnTo>
                  <a:lnTo>
                    <a:pt x="885179" y="454814"/>
                  </a:lnTo>
                  <a:lnTo>
                    <a:pt x="872612" y="458573"/>
                  </a:lnTo>
                  <a:lnTo>
                    <a:pt x="863157" y="462391"/>
                  </a:lnTo>
                  <a:lnTo>
                    <a:pt x="860761" y="462995"/>
                  </a:lnTo>
                  <a:lnTo>
                    <a:pt x="858282" y="463046"/>
                  </a:lnTo>
                  <a:lnTo>
                    <a:pt x="850459" y="461780"/>
                  </a:lnTo>
                  <a:lnTo>
                    <a:pt x="841378" y="459353"/>
                  </a:lnTo>
                  <a:lnTo>
                    <a:pt x="836215" y="460041"/>
                  </a:lnTo>
                  <a:lnTo>
                    <a:pt x="831069" y="461793"/>
                  </a:lnTo>
                  <a:lnTo>
                    <a:pt x="827827" y="462263"/>
                  </a:lnTo>
                  <a:lnTo>
                    <a:pt x="824777" y="462030"/>
                  </a:lnTo>
                  <a:lnTo>
                    <a:pt x="821748" y="461405"/>
                  </a:lnTo>
                  <a:lnTo>
                    <a:pt x="817765" y="459764"/>
                  </a:lnTo>
                  <a:lnTo>
                    <a:pt x="819820" y="459013"/>
                  </a:lnTo>
                  <a:lnTo>
                    <a:pt x="820756" y="458174"/>
                  </a:lnTo>
                  <a:lnTo>
                    <a:pt x="819927" y="457309"/>
                  </a:lnTo>
                  <a:lnTo>
                    <a:pt x="815736" y="456062"/>
                  </a:lnTo>
                  <a:lnTo>
                    <a:pt x="811395" y="458833"/>
                  </a:lnTo>
                  <a:lnTo>
                    <a:pt x="798702" y="465293"/>
                  </a:lnTo>
                  <a:lnTo>
                    <a:pt x="781645" y="467454"/>
                  </a:lnTo>
                  <a:lnTo>
                    <a:pt x="776297" y="468768"/>
                  </a:lnTo>
                  <a:lnTo>
                    <a:pt x="772324" y="470463"/>
                  </a:lnTo>
                  <a:lnTo>
                    <a:pt x="770261" y="471860"/>
                  </a:lnTo>
                  <a:lnTo>
                    <a:pt x="767103" y="475134"/>
                  </a:lnTo>
                  <a:lnTo>
                    <a:pt x="762245" y="477597"/>
                  </a:lnTo>
                  <a:lnTo>
                    <a:pt x="753454" y="480288"/>
                  </a:lnTo>
                  <a:lnTo>
                    <a:pt x="742268" y="484462"/>
                  </a:lnTo>
                  <a:lnTo>
                    <a:pt x="722221" y="488722"/>
                  </a:lnTo>
                  <a:lnTo>
                    <a:pt x="709605" y="489470"/>
                  </a:lnTo>
                  <a:lnTo>
                    <a:pt x="696998" y="488061"/>
                  </a:lnTo>
                  <a:lnTo>
                    <a:pt x="693004" y="486913"/>
                  </a:lnTo>
                  <a:lnTo>
                    <a:pt x="688815" y="485112"/>
                  </a:lnTo>
                  <a:lnTo>
                    <a:pt x="680245" y="480863"/>
                  </a:lnTo>
                  <a:lnTo>
                    <a:pt x="677875" y="479325"/>
                  </a:lnTo>
                  <a:lnTo>
                    <a:pt x="675118" y="475981"/>
                  </a:lnTo>
                  <a:lnTo>
                    <a:pt x="676748" y="473754"/>
                  </a:lnTo>
                  <a:lnTo>
                    <a:pt x="681318" y="471183"/>
                  </a:lnTo>
                  <a:lnTo>
                    <a:pt x="688153" y="468841"/>
                  </a:lnTo>
                  <a:lnTo>
                    <a:pt x="701809" y="465670"/>
                  </a:lnTo>
                  <a:lnTo>
                    <a:pt x="714192" y="460593"/>
                  </a:lnTo>
                  <a:lnTo>
                    <a:pt x="718577" y="459638"/>
                  </a:lnTo>
                  <a:lnTo>
                    <a:pt x="730500" y="458861"/>
                  </a:lnTo>
                  <a:lnTo>
                    <a:pt x="736512" y="459335"/>
                  </a:lnTo>
                  <a:lnTo>
                    <a:pt x="740861" y="459068"/>
                  </a:lnTo>
                  <a:lnTo>
                    <a:pt x="743729" y="458370"/>
                  </a:lnTo>
                  <a:lnTo>
                    <a:pt x="747984" y="456533"/>
                  </a:lnTo>
                  <a:lnTo>
                    <a:pt x="754205" y="452868"/>
                  </a:lnTo>
                  <a:lnTo>
                    <a:pt x="758745" y="449432"/>
                  </a:lnTo>
                  <a:lnTo>
                    <a:pt x="759897" y="447824"/>
                  </a:lnTo>
                  <a:lnTo>
                    <a:pt x="758376" y="446317"/>
                  </a:lnTo>
                  <a:lnTo>
                    <a:pt x="756151" y="446106"/>
                  </a:lnTo>
                  <a:lnTo>
                    <a:pt x="748729" y="449641"/>
                  </a:lnTo>
                  <a:lnTo>
                    <a:pt x="745003" y="450830"/>
                  </a:lnTo>
                  <a:lnTo>
                    <a:pt x="740946" y="450912"/>
                  </a:lnTo>
                  <a:lnTo>
                    <a:pt x="735377" y="452120"/>
                  </a:lnTo>
                  <a:lnTo>
                    <a:pt x="729959" y="452604"/>
                  </a:lnTo>
                  <a:lnTo>
                    <a:pt x="728911" y="452565"/>
                  </a:lnTo>
                  <a:lnTo>
                    <a:pt x="723267" y="449188"/>
                  </a:lnTo>
                  <a:lnTo>
                    <a:pt x="720250" y="448594"/>
                  </a:lnTo>
                  <a:lnTo>
                    <a:pt x="718847" y="448950"/>
                  </a:lnTo>
                  <a:lnTo>
                    <a:pt x="717561" y="449843"/>
                  </a:lnTo>
                  <a:lnTo>
                    <a:pt x="715115" y="452336"/>
                  </a:lnTo>
                  <a:lnTo>
                    <a:pt x="713702" y="453230"/>
                  </a:lnTo>
                  <a:lnTo>
                    <a:pt x="711266" y="453880"/>
                  </a:lnTo>
                  <a:lnTo>
                    <a:pt x="701421" y="454620"/>
                  </a:lnTo>
                  <a:lnTo>
                    <a:pt x="691986" y="455873"/>
                  </a:lnTo>
                  <a:lnTo>
                    <a:pt x="689885" y="455099"/>
                  </a:lnTo>
                  <a:lnTo>
                    <a:pt x="688607" y="453657"/>
                  </a:lnTo>
                  <a:lnTo>
                    <a:pt x="688345" y="452778"/>
                  </a:lnTo>
                  <a:lnTo>
                    <a:pt x="688203" y="449813"/>
                  </a:lnTo>
                  <a:lnTo>
                    <a:pt x="687566" y="448631"/>
                  </a:lnTo>
                  <a:lnTo>
                    <a:pt x="688396" y="446161"/>
                  </a:lnTo>
                  <a:lnTo>
                    <a:pt x="689472" y="444273"/>
                  </a:lnTo>
                  <a:lnTo>
                    <a:pt x="690793" y="442975"/>
                  </a:lnTo>
                  <a:lnTo>
                    <a:pt x="697278" y="439142"/>
                  </a:lnTo>
                  <a:lnTo>
                    <a:pt x="698189" y="438146"/>
                  </a:lnTo>
                  <a:lnTo>
                    <a:pt x="695099" y="438352"/>
                  </a:lnTo>
                  <a:lnTo>
                    <a:pt x="687758" y="440229"/>
                  </a:lnTo>
                  <a:lnTo>
                    <a:pt x="686798" y="439576"/>
                  </a:lnTo>
                  <a:lnTo>
                    <a:pt x="685079" y="437431"/>
                  </a:lnTo>
                  <a:lnTo>
                    <a:pt x="684258" y="437215"/>
                  </a:lnTo>
                  <a:lnTo>
                    <a:pt x="683322" y="438106"/>
                  </a:lnTo>
                  <a:lnTo>
                    <a:pt x="682777" y="439362"/>
                  </a:lnTo>
                  <a:lnTo>
                    <a:pt x="681516" y="444535"/>
                  </a:lnTo>
                  <a:lnTo>
                    <a:pt x="680405" y="447174"/>
                  </a:lnTo>
                  <a:lnTo>
                    <a:pt x="677451" y="446641"/>
                  </a:lnTo>
                  <a:lnTo>
                    <a:pt x="673799" y="445048"/>
                  </a:lnTo>
                  <a:lnTo>
                    <a:pt x="672434" y="444832"/>
                  </a:lnTo>
                  <a:lnTo>
                    <a:pt x="671648" y="445337"/>
                  </a:lnTo>
                  <a:lnTo>
                    <a:pt x="671898" y="446230"/>
                  </a:lnTo>
                  <a:lnTo>
                    <a:pt x="675605" y="450651"/>
                  </a:lnTo>
                  <a:lnTo>
                    <a:pt x="675647" y="452194"/>
                  </a:lnTo>
                  <a:lnTo>
                    <a:pt x="673222" y="454893"/>
                  </a:lnTo>
                  <a:lnTo>
                    <a:pt x="662891" y="459368"/>
                  </a:lnTo>
                  <a:lnTo>
                    <a:pt x="658811" y="460564"/>
                  </a:lnTo>
                  <a:lnTo>
                    <a:pt x="657367" y="460100"/>
                  </a:lnTo>
                  <a:lnTo>
                    <a:pt x="656067" y="458874"/>
                  </a:lnTo>
                  <a:lnTo>
                    <a:pt x="654912" y="456878"/>
                  </a:lnTo>
                  <a:lnTo>
                    <a:pt x="652230" y="454198"/>
                  </a:lnTo>
                  <a:lnTo>
                    <a:pt x="650633" y="453597"/>
                  </a:lnTo>
                  <a:lnTo>
                    <a:pt x="648844" y="453516"/>
                  </a:lnTo>
                  <a:lnTo>
                    <a:pt x="647198" y="454070"/>
                  </a:lnTo>
                  <a:lnTo>
                    <a:pt x="645696" y="455259"/>
                  </a:lnTo>
                  <a:lnTo>
                    <a:pt x="644764" y="456520"/>
                  </a:lnTo>
                  <a:lnTo>
                    <a:pt x="643878" y="458870"/>
                  </a:lnTo>
                  <a:lnTo>
                    <a:pt x="641998" y="460666"/>
                  </a:lnTo>
                  <a:lnTo>
                    <a:pt x="640840" y="460972"/>
                  </a:lnTo>
                  <a:lnTo>
                    <a:pt x="630347" y="457247"/>
                  </a:lnTo>
                  <a:lnTo>
                    <a:pt x="621892" y="450626"/>
                  </a:lnTo>
                  <a:lnTo>
                    <a:pt x="612639" y="451658"/>
                  </a:lnTo>
                  <a:lnTo>
                    <a:pt x="608485" y="451424"/>
                  </a:lnTo>
                  <a:lnTo>
                    <a:pt x="595880" y="448992"/>
                  </a:lnTo>
                  <a:lnTo>
                    <a:pt x="594276" y="447488"/>
                  </a:lnTo>
                  <a:lnTo>
                    <a:pt x="593392" y="445532"/>
                  </a:lnTo>
                  <a:lnTo>
                    <a:pt x="593477" y="444468"/>
                  </a:lnTo>
                  <a:lnTo>
                    <a:pt x="594001" y="443367"/>
                  </a:lnTo>
                  <a:lnTo>
                    <a:pt x="595597" y="441183"/>
                  </a:lnTo>
                  <a:lnTo>
                    <a:pt x="598774" y="437871"/>
                  </a:lnTo>
                  <a:lnTo>
                    <a:pt x="600099" y="436802"/>
                  </a:lnTo>
                  <a:lnTo>
                    <a:pt x="602076" y="435922"/>
                  </a:lnTo>
                  <a:lnTo>
                    <a:pt x="604698" y="435230"/>
                  </a:lnTo>
                  <a:lnTo>
                    <a:pt x="611377" y="434844"/>
                  </a:lnTo>
                  <a:lnTo>
                    <a:pt x="628570" y="434719"/>
                  </a:lnTo>
                  <a:lnTo>
                    <a:pt x="632008" y="434205"/>
                  </a:lnTo>
                  <a:lnTo>
                    <a:pt x="650817" y="427774"/>
                  </a:lnTo>
                  <a:lnTo>
                    <a:pt x="652964" y="426718"/>
                  </a:lnTo>
                  <a:lnTo>
                    <a:pt x="655724" y="424660"/>
                  </a:lnTo>
                  <a:lnTo>
                    <a:pt x="656348" y="423809"/>
                  </a:lnTo>
                  <a:lnTo>
                    <a:pt x="656231" y="423253"/>
                  </a:lnTo>
                  <a:lnTo>
                    <a:pt x="633093" y="428360"/>
                  </a:lnTo>
                  <a:lnTo>
                    <a:pt x="623171" y="429458"/>
                  </a:lnTo>
                  <a:lnTo>
                    <a:pt x="607969" y="428626"/>
                  </a:lnTo>
                  <a:lnTo>
                    <a:pt x="605110" y="427822"/>
                  </a:lnTo>
                  <a:lnTo>
                    <a:pt x="604459" y="426394"/>
                  </a:lnTo>
                  <a:lnTo>
                    <a:pt x="607629" y="422603"/>
                  </a:lnTo>
                  <a:lnTo>
                    <a:pt x="609301" y="421190"/>
                  </a:lnTo>
                  <a:lnTo>
                    <a:pt x="613624" y="419856"/>
                  </a:lnTo>
                  <a:lnTo>
                    <a:pt x="624084" y="417962"/>
                  </a:lnTo>
                  <a:lnTo>
                    <a:pt x="638070" y="416288"/>
                  </a:lnTo>
                  <a:lnTo>
                    <a:pt x="647229" y="416250"/>
                  </a:lnTo>
                  <a:lnTo>
                    <a:pt x="654916" y="414920"/>
                  </a:lnTo>
                  <a:lnTo>
                    <a:pt x="659536" y="413398"/>
                  </a:lnTo>
                  <a:lnTo>
                    <a:pt x="644049" y="413477"/>
                  </a:lnTo>
                  <a:lnTo>
                    <a:pt x="625397" y="414190"/>
                  </a:lnTo>
                  <a:lnTo>
                    <a:pt x="622700" y="413695"/>
                  </a:lnTo>
                  <a:lnTo>
                    <a:pt x="617373" y="411689"/>
                  </a:lnTo>
                  <a:lnTo>
                    <a:pt x="617114" y="410222"/>
                  </a:lnTo>
                  <a:lnTo>
                    <a:pt x="619246" y="408457"/>
                  </a:lnTo>
                  <a:lnTo>
                    <a:pt x="620027" y="407143"/>
                  </a:lnTo>
                  <a:lnTo>
                    <a:pt x="618503" y="404182"/>
                  </a:lnTo>
                  <a:lnTo>
                    <a:pt x="618970" y="403033"/>
                  </a:lnTo>
                  <a:lnTo>
                    <a:pt x="622446" y="400562"/>
                  </a:lnTo>
                  <a:lnTo>
                    <a:pt x="628643" y="397887"/>
                  </a:lnTo>
                  <a:lnTo>
                    <a:pt x="632465" y="397508"/>
                  </a:lnTo>
                  <a:lnTo>
                    <a:pt x="639840" y="398421"/>
                  </a:lnTo>
                  <a:lnTo>
                    <a:pt x="660857" y="399366"/>
                  </a:lnTo>
                  <a:lnTo>
                    <a:pt x="664934" y="399027"/>
                  </a:lnTo>
                  <a:lnTo>
                    <a:pt x="662359" y="397865"/>
                  </a:lnTo>
                  <a:lnTo>
                    <a:pt x="658697" y="396998"/>
                  </a:lnTo>
                  <a:lnTo>
                    <a:pt x="642472" y="395514"/>
                  </a:lnTo>
                  <a:lnTo>
                    <a:pt x="639115" y="394850"/>
                  </a:lnTo>
                  <a:lnTo>
                    <a:pt x="638473" y="393936"/>
                  </a:lnTo>
                  <a:lnTo>
                    <a:pt x="638231" y="392586"/>
                  </a:lnTo>
                  <a:lnTo>
                    <a:pt x="638387" y="390804"/>
                  </a:lnTo>
                  <a:lnTo>
                    <a:pt x="639560" y="388975"/>
                  </a:lnTo>
                  <a:lnTo>
                    <a:pt x="644597" y="385153"/>
                  </a:lnTo>
                  <a:lnTo>
                    <a:pt x="659359" y="382001"/>
                  </a:lnTo>
                  <a:lnTo>
                    <a:pt x="665233" y="381566"/>
                  </a:lnTo>
                  <a:lnTo>
                    <a:pt x="671118" y="381774"/>
                  </a:lnTo>
                  <a:lnTo>
                    <a:pt x="677097" y="383192"/>
                  </a:lnTo>
                  <a:lnTo>
                    <a:pt x="679759" y="384419"/>
                  </a:lnTo>
                  <a:lnTo>
                    <a:pt x="681095" y="385934"/>
                  </a:lnTo>
                  <a:lnTo>
                    <a:pt x="681741" y="387341"/>
                  </a:lnTo>
                  <a:lnTo>
                    <a:pt x="681816" y="389774"/>
                  </a:lnTo>
                  <a:lnTo>
                    <a:pt x="682104" y="390732"/>
                  </a:lnTo>
                  <a:lnTo>
                    <a:pt x="683184" y="392328"/>
                  </a:lnTo>
                  <a:lnTo>
                    <a:pt x="686622" y="396073"/>
                  </a:lnTo>
                  <a:lnTo>
                    <a:pt x="689153" y="397240"/>
                  </a:lnTo>
                  <a:lnTo>
                    <a:pt x="700829" y="395065"/>
                  </a:lnTo>
                  <a:lnTo>
                    <a:pt x="705690" y="394577"/>
                  </a:lnTo>
                  <a:lnTo>
                    <a:pt x="710580" y="395261"/>
                  </a:lnTo>
                  <a:lnTo>
                    <a:pt x="717701" y="397508"/>
                  </a:lnTo>
                  <a:lnTo>
                    <a:pt x="726924" y="404278"/>
                  </a:lnTo>
                  <a:lnTo>
                    <a:pt x="738807" y="411170"/>
                  </a:lnTo>
                  <a:lnTo>
                    <a:pt x="738746" y="412651"/>
                  </a:lnTo>
                  <a:lnTo>
                    <a:pt x="734194" y="414949"/>
                  </a:lnTo>
                  <a:lnTo>
                    <a:pt x="733339" y="415933"/>
                  </a:lnTo>
                  <a:lnTo>
                    <a:pt x="733952" y="416616"/>
                  </a:lnTo>
                  <a:lnTo>
                    <a:pt x="738498" y="417065"/>
                  </a:lnTo>
                  <a:lnTo>
                    <a:pt x="742759" y="416727"/>
                  </a:lnTo>
                  <a:lnTo>
                    <a:pt x="746823" y="417243"/>
                  </a:lnTo>
                  <a:lnTo>
                    <a:pt x="747732" y="417833"/>
                  </a:lnTo>
                  <a:lnTo>
                    <a:pt x="749223" y="420342"/>
                  </a:lnTo>
                  <a:lnTo>
                    <a:pt x="751294" y="424765"/>
                  </a:lnTo>
                  <a:lnTo>
                    <a:pt x="753756" y="428061"/>
                  </a:lnTo>
                  <a:lnTo>
                    <a:pt x="756605" y="430236"/>
                  </a:lnTo>
                  <a:lnTo>
                    <a:pt x="759410" y="431351"/>
                  </a:lnTo>
                  <a:lnTo>
                    <a:pt x="763545" y="431435"/>
                  </a:lnTo>
                  <a:lnTo>
                    <a:pt x="767705" y="430787"/>
                  </a:lnTo>
                  <a:lnTo>
                    <a:pt x="774454" y="431002"/>
                  </a:lnTo>
                  <a:lnTo>
                    <a:pt x="809269" y="433511"/>
                  </a:lnTo>
                  <a:lnTo>
                    <a:pt x="811332" y="433074"/>
                  </a:lnTo>
                  <a:lnTo>
                    <a:pt x="812798" y="431697"/>
                  </a:lnTo>
                  <a:lnTo>
                    <a:pt x="813674" y="429375"/>
                  </a:lnTo>
                  <a:lnTo>
                    <a:pt x="814007" y="427466"/>
                  </a:lnTo>
                  <a:lnTo>
                    <a:pt x="813532" y="424854"/>
                  </a:lnTo>
                  <a:lnTo>
                    <a:pt x="812859" y="423605"/>
                  </a:lnTo>
                  <a:lnTo>
                    <a:pt x="791274" y="415124"/>
                  </a:lnTo>
                  <a:lnTo>
                    <a:pt x="789386" y="411702"/>
                  </a:lnTo>
                  <a:lnTo>
                    <a:pt x="799931" y="406913"/>
                  </a:lnTo>
                  <a:lnTo>
                    <a:pt x="800689" y="405807"/>
                  </a:lnTo>
                  <a:lnTo>
                    <a:pt x="800895" y="404282"/>
                  </a:lnTo>
                  <a:lnTo>
                    <a:pt x="800545" y="402338"/>
                  </a:lnTo>
                  <a:lnTo>
                    <a:pt x="799114" y="400485"/>
                  </a:lnTo>
                  <a:lnTo>
                    <a:pt x="793452" y="396946"/>
                  </a:lnTo>
                  <a:lnTo>
                    <a:pt x="788440" y="396413"/>
                  </a:lnTo>
                  <a:lnTo>
                    <a:pt x="781011" y="392919"/>
                  </a:lnTo>
                  <a:lnTo>
                    <a:pt x="779839" y="392033"/>
                  </a:lnTo>
                  <a:lnTo>
                    <a:pt x="778879" y="390640"/>
                  </a:lnTo>
                  <a:lnTo>
                    <a:pt x="778129" y="388730"/>
                  </a:lnTo>
                  <a:lnTo>
                    <a:pt x="778256" y="387259"/>
                  </a:lnTo>
                  <a:lnTo>
                    <a:pt x="779255" y="386231"/>
                  </a:lnTo>
                  <a:lnTo>
                    <a:pt x="786569" y="382668"/>
                  </a:lnTo>
                  <a:lnTo>
                    <a:pt x="789529" y="380689"/>
                  </a:lnTo>
                  <a:lnTo>
                    <a:pt x="798653" y="371755"/>
                  </a:lnTo>
                  <a:lnTo>
                    <a:pt x="802874" y="368138"/>
                  </a:lnTo>
                  <a:lnTo>
                    <a:pt x="805893" y="366441"/>
                  </a:lnTo>
                  <a:lnTo>
                    <a:pt x="808968" y="365386"/>
                  </a:lnTo>
                  <a:close/>
                  <a:moveTo>
                    <a:pt x="1289773" y="364055"/>
                  </a:moveTo>
                  <a:lnTo>
                    <a:pt x="1294529" y="364094"/>
                  </a:lnTo>
                  <a:lnTo>
                    <a:pt x="1298946" y="366969"/>
                  </a:lnTo>
                  <a:lnTo>
                    <a:pt x="1300195" y="367955"/>
                  </a:lnTo>
                  <a:lnTo>
                    <a:pt x="1300953" y="369135"/>
                  </a:lnTo>
                  <a:lnTo>
                    <a:pt x="1300978" y="370265"/>
                  </a:lnTo>
                  <a:lnTo>
                    <a:pt x="1300618" y="371252"/>
                  </a:lnTo>
                  <a:lnTo>
                    <a:pt x="1298617" y="373448"/>
                  </a:lnTo>
                  <a:lnTo>
                    <a:pt x="1297740" y="374981"/>
                  </a:lnTo>
                  <a:lnTo>
                    <a:pt x="1297746" y="376481"/>
                  </a:lnTo>
                  <a:lnTo>
                    <a:pt x="1298180" y="378649"/>
                  </a:lnTo>
                  <a:lnTo>
                    <a:pt x="1298987" y="380081"/>
                  </a:lnTo>
                  <a:lnTo>
                    <a:pt x="1300169" y="380772"/>
                  </a:lnTo>
                  <a:lnTo>
                    <a:pt x="1300165" y="381476"/>
                  </a:lnTo>
                  <a:lnTo>
                    <a:pt x="1298978" y="382191"/>
                  </a:lnTo>
                  <a:lnTo>
                    <a:pt x="1295154" y="381821"/>
                  </a:lnTo>
                  <a:lnTo>
                    <a:pt x="1293886" y="382522"/>
                  </a:lnTo>
                  <a:lnTo>
                    <a:pt x="1291854" y="382124"/>
                  </a:lnTo>
                  <a:lnTo>
                    <a:pt x="1289057" y="380625"/>
                  </a:lnTo>
                  <a:lnTo>
                    <a:pt x="1285788" y="377679"/>
                  </a:lnTo>
                  <a:lnTo>
                    <a:pt x="1282048" y="373281"/>
                  </a:lnTo>
                  <a:lnTo>
                    <a:pt x="1279125" y="369484"/>
                  </a:lnTo>
                  <a:lnTo>
                    <a:pt x="1278967" y="368439"/>
                  </a:lnTo>
                  <a:lnTo>
                    <a:pt x="1279924" y="366662"/>
                  </a:lnTo>
                  <a:lnTo>
                    <a:pt x="1282847" y="365478"/>
                  </a:lnTo>
                  <a:close/>
                  <a:moveTo>
                    <a:pt x="687424" y="360978"/>
                  </a:moveTo>
                  <a:lnTo>
                    <a:pt x="692093" y="362143"/>
                  </a:lnTo>
                  <a:lnTo>
                    <a:pt x="695189" y="363505"/>
                  </a:lnTo>
                  <a:lnTo>
                    <a:pt x="696937" y="364687"/>
                  </a:lnTo>
                  <a:lnTo>
                    <a:pt x="697670" y="366904"/>
                  </a:lnTo>
                  <a:lnTo>
                    <a:pt x="695815" y="369023"/>
                  </a:lnTo>
                  <a:lnTo>
                    <a:pt x="691968" y="370755"/>
                  </a:lnTo>
                  <a:lnTo>
                    <a:pt x="665623" y="368196"/>
                  </a:lnTo>
                  <a:lnTo>
                    <a:pt x="664181" y="367391"/>
                  </a:lnTo>
                  <a:lnTo>
                    <a:pt x="663498" y="366299"/>
                  </a:lnTo>
                  <a:lnTo>
                    <a:pt x="668269" y="363308"/>
                  </a:lnTo>
                  <a:lnTo>
                    <a:pt x="674030" y="362016"/>
                  </a:lnTo>
                  <a:close/>
                  <a:moveTo>
                    <a:pt x="1144907" y="351848"/>
                  </a:moveTo>
                  <a:lnTo>
                    <a:pt x="1150265" y="351979"/>
                  </a:lnTo>
                  <a:lnTo>
                    <a:pt x="1163242" y="354457"/>
                  </a:lnTo>
                  <a:lnTo>
                    <a:pt x="1176182" y="357600"/>
                  </a:lnTo>
                  <a:lnTo>
                    <a:pt x="1184325" y="360044"/>
                  </a:lnTo>
                  <a:lnTo>
                    <a:pt x="1189066" y="360506"/>
                  </a:lnTo>
                  <a:lnTo>
                    <a:pt x="1193122" y="359796"/>
                  </a:lnTo>
                  <a:lnTo>
                    <a:pt x="1196598" y="359952"/>
                  </a:lnTo>
                  <a:lnTo>
                    <a:pt x="1201734" y="362096"/>
                  </a:lnTo>
                  <a:lnTo>
                    <a:pt x="1206492" y="365369"/>
                  </a:lnTo>
                  <a:lnTo>
                    <a:pt x="1210148" y="366847"/>
                  </a:lnTo>
                  <a:lnTo>
                    <a:pt x="1211328" y="367593"/>
                  </a:lnTo>
                  <a:lnTo>
                    <a:pt x="1211789" y="368418"/>
                  </a:lnTo>
                  <a:lnTo>
                    <a:pt x="1212362" y="370889"/>
                  </a:lnTo>
                  <a:lnTo>
                    <a:pt x="1212344" y="372034"/>
                  </a:lnTo>
                  <a:lnTo>
                    <a:pt x="1212074" y="372948"/>
                  </a:lnTo>
                  <a:lnTo>
                    <a:pt x="1210474" y="375200"/>
                  </a:lnTo>
                  <a:lnTo>
                    <a:pt x="1209129" y="377985"/>
                  </a:lnTo>
                  <a:lnTo>
                    <a:pt x="1206352" y="380437"/>
                  </a:lnTo>
                  <a:lnTo>
                    <a:pt x="1204874" y="382285"/>
                  </a:lnTo>
                  <a:lnTo>
                    <a:pt x="1203606" y="384617"/>
                  </a:lnTo>
                  <a:lnTo>
                    <a:pt x="1206463" y="383228"/>
                  </a:lnTo>
                  <a:lnTo>
                    <a:pt x="1217278" y="375520"/>
                  </a:lnTo>
                  <a:lnTo>
                    <a:pt x="1224355" y="376439"/>
                  </a:lnTo>
                  <a:lnTo>
                    <a:pt x="1234986" y="375751"/>
                  </a:lnTo>
                  <a:lnTo>
                    <a:pt x="1247856" y="372595"/>
                  </a:lnTo>
                  <a:lnTo>
                    <a:pt x="1253968" y="372101"/>
                  </a:lnTo>
                  <a:lnTo>
                    <a:pt x="1260139" y="372331"/>
                  </a:lnTo>
                  <a:lnTo>
                    <a:pt x="1264723" y="373327"/>
                  </a:lnTo>
                  <a:lnTo>
                    <a:pt x="1274507" y="377580"/>
                  </a:lnTo>
                  <a:lnTo>
                    <a:pt x="1277895" y="379604"/>
                  </a:lnTo>
                  <a:lnTo>
                    <a:pt x="1279167" y="381037"/>
                  </a:lnTo>
                  <a:lnTo>
                    <a:pt x="1279471" y="382090"/>
                  </a:lnTo>
                  <a:lnTo>
                    <a:pt x="1277469" y="383723"/>
                  </a:lnTo>
                  <a:lnTo>
                    <a:pt x="1271321" y="382730"/>
                  </a:lnTo>
                  <a:lnTo>
                    <a:pt x="1261205" y="381854"/>
                  </a:lnTo>
                  <a:lnTo>
                    <a:pt x="1259355" y="381308"/>
                  </a:lnTo>
                  <a:lnTo>
                    <a:pt x="1257779" y="381352"/>
                  </a:lnTo>
                  <a:lnTo>
                    <a:pt x="1256634" y="381944"/>
                  </a:lnTo>
                  <a:lnTo>
                    <a:pt x="1257348" y="384189"/>
                  </a:lnTo>
                  <a:lnTo>
                    <a:pt x="1259408" y="384681"/>
                  </a:lnTo>
                  <a:lnTo>
                    <a:pt x="1271556" y="385164"/>
                  </a:lnTo>
                  <a:lnTo>
                    <a:pt x="1311373" y="392283"/>
                  </a:lnTo>
                  <a:lnTo>
                    <a:pt x="1313032" y="394554"/>
                  </a:lnTo>
                  <a:lnTo>
                    <a:pt x="1312589" y="395558"/>
                  </a:lnTo>
                  <a:lnTo>
                    <a:pt x="1311180" y="396671"/>
                  </a:lnTo>
                  <a:lnTo>
                    <a:pt x="1308278" y="398163"/>
                  </a:lnTo>
                  <a:lnTo>
                    <a:pt x="1285318" y="399789"/>
                  </a:lnTo>
                  <a:lnTo>
                    <a:pt x="1272252" y="398350"/>
                  </a:lnTo>
                  <a:lnTo>
                    <a:pt x="1261271" y="396030"/>
                  </a:lnTo>
                  <a:lnTo>
                    <a:pt x="1257545" y="396548"/>
                  </a:lnTo>
                  <a:lnTo>
                    <a:pt x="1260788" y="399690"/>
                  </a:lnTo>
                  <a:lnTo>
                    <a:pt x="1267373" y="400648"/>
                  </a:lnTo>
                  <a:lnTo>
                    <a:pt x="1272885" y="402503"/>
                  </a:lnTo>
                  <a:lnTo>
                    <a:pt x="1275174" y="404055"/>
                  </a:lnTo>
                  <a:lnTo>
                    <a:pt x="1286857" y="405237"/>
                  </a:lnTo>
                  <a:lnTo>
                    <a:pt x="1288767" y="406444"/>
                  </a:lnTo>
                  <a:lnTo>
                    <a:pt x="1292400" y="409530"/>
                  </a:lnTo>
                  <a:lnTo>
                    <a:pt x="1295448" y="409769"/>
                  </a:lnTo>
                  <a:lnTo>
                    <a:pt x="1298468" y="411920"/>
                  </a:lnTo>
                  <a:lnTo>
                    <a:pt x="1300956" y="415612"/>
                  </a:lnTo>
                  <a:lnTo>
                    <a:pt x="1302104" y="416106"/>
                  </a:lnTo>
                  <a:lnTo>
                    <a:pt x="1305624" y="415440"/>
                  </a:lnTo>
                  <a:lnTo>
                    <a:pt x="1311548" y="418642"/>
                  </a:lnTo>
                  <a:lnTo>
                    <a:pt x="1313392" y="420351"/>
                  </a:lnTo>
                  <a:lnTo>
                    <a:pt x="1313400" y="421629"/>
                  </a:lnTo>
                  <a:lnTo>
                    <a:pt x="1312079" y="423630"/>
                  </a:lnTo>
                  <a:lnTo>
                    <a:pt x="1309428" y="426347"/>
                  </a:lnTo>
                  <a:lnTo>
                    <a:pt x="1302727" y="429542"/>
                  </a:lnTo>
                  <a:lnTo>
                    <a:pt x="1302206" y="430503"/>
                  </a:lnTo>
                  <a:lnTo>
                    <a:pt x="1310034" y="430126"/>
                  </a:lnTo>
                  <a:lnTo>
                    <a:pt x="1311476" y="430551"/>
                  </a:lnTo>
                  <a:lnTo>
                    <a:pt x="1320699" y="436206"/>
                  </a:lnTo>
                  <a:lnTo>
                    <a:pt x="1321912" y="436310"/>
                  </a:lnTo>
                  <a:lnTo>
                    <a:pt x="1322671" y="435719"/>
                  </a:lnTo>
                  <a:lnTo>
                    <a:pt x="1323554" y="433717"/>
                  </a:lnTo>
                  <a:lnTo>
                    <a:pt x="1323161" y="431864"/>
                  </a:lnTo>
                  <a:lnTo>
                    <a:pt x="1322034" y="429291"/>
                  </a:lnTo>
                  <a:lnTo>
                    <a:pt x="1322335" y="427423"/>
                  </a:lnTo>
                  <a:lnTo>
                    <a:pt x="1324066" y="426261"/>
                  </a:lnTo>
                  <a:lnTo>
                    <a:pt x="1325817" y="425684"/>
                  </a:lnTo>
                  <a:lnTo>
                    <a:pt x="1327589" y="425694"/>
                  </a:lnTo>
                  <a:lnTo>
                    <a:pt x="1329515" y="426381"/>
                  </a:lnTo>
                  <a:lnTo>
                    <a:pt x="1338839" y="433228"/>
                  </a:lnTo>
                  <a:lnTo>
                    <a:pt x="1350796" y="429958"/>
                  </a:lnTo>
                  <a:lnTo>
                    <a:pt x="1352979" y="431427"/>
                  </a:lnTo>
                  <a:lnTo>
                    <a:pt x="1354785" y="434170"/>
                  </a:lnTo>
                  <a:lnTo>
                    <a:pt x="1355630" y="434622"/>
                  </a:lnTo>
                  <a:lnTo>
                    <a:pt x="1360053" y="429152"/>
                  </a:lnTo>
                  <a:lnTo>
                    <a:pt x="1362785" y="427793"/>
                  </a:lnTo>
                  <a:lnTo>
                    <a:pt x="1374004" y="434288"/>
                  </a:lnTo>
                  <a:lnTo>
                    <a:pt x="1380844" y="435724"/>
                  </a:lnTo>
                  <a:lnTo>
                    <a:pt x="1383587" y="437113"/>
                  </a:lnTo>
                  <a:lnTo>
                    <a:pt x="1388664" y="438647"/>
                  </a:lnTo>
                  <a:lnTo>
                    <a:pt x="1395887" y="439227"/>
                  </a:lnTo>
                  <a:lnTo>
                    <a:pt x="1397076" y="436822"/>
                  </a:lnTo>
                  <a:lnTo>
                    <a:pt x="1392912" y="433729"/>
                  </a:lnTo>
                  <a:lnTo>
                    <a:pt x="1395341" y="432371"/>
                  </a:lnTo>
                  <a:lnTo>
                    <a:pt x="1405274" y="429745"/>
                  </a:lnTo>
                  <a:lnTo>
                    <a:pt x="1410572" y="430114"/>
                  </a:lnTo>
                  <a:lnTo>
                    <a:pt x="1420348" y="426392"/>
                  </a:lnTo>
                  <a:lnTo>
                    <a:pt x="1426346" y="425888"/>
                  </a:lnTo>
                  <a:lnTo>
                    <a:pt x="1430031" y="425951"/>
                  </a:lnTo>
                  <a:lnTo>
                    <a:pt x="1442132" y="420317"/>
                  </a:lnTo>
                  <a:lnTo>
                    <a:pt x="1445007" y="419424"/>
                  </a:lnTo>
                  <a:lnTo>
                    <a:pt x="1447094" y="417407"/>
                  </a:lnTo>
                  <a:lnTo>
                    <a:pt x="1451846" y="417722"/>
                  </a:lnTo>
                  <a:lnTo>
                    <a:pt x="1464713" y="420929"/>
                  </a:lnTo>
                  <a:lnTo>
                    <a:pt x="1468356" y="420639"/>
                  </a:lnTo>
                  <a:lnTo>
                    <a:pt x="1482048" y="417443"/>
                  </a:lnTo>
                  <a:lnTo>
                    <a:pt x="1487108" y="416662"/>
                  </a:lnTo>
                  <a:lnTo>
                    <a:pt x="1492185" y="416780"/>
                  </a:lnTo>
                  <a:lnTo>
                    <a:pt x="1505023" y="418650"/>
                  </a:lnTo>
                  <a:lnTo>
                    <a:pt x="1514629" y="420661"/>
                  </a:lnTo>
                  <a:lnTo>
                    <a:pt x="1517615" y="421718"/>
                  </a:lnTo>
                  <a:lnTo>
                    <a:pt x="1516553" y="424358"/>
                  </a:lnTo>
                  <a:lnTo>
                    <a:pt x="1517038" y="425139"/>
                  </a:lnTo>
                  <a:lnTo>
                    <a:pt x="1518283" y="425709"/>
                  </a:lnTo>
                  <a:lnTo>
                    <a:pt x="1521418" y="426486"/>
                  </a:lnTo>
                  <a:lnTo>
                    <a:pt x="1533413" y="426535"/>
                  </a:lnTo>
                  <a:lnTo>
                    <a:pt x="1538631" y="427207"/>
                  </a:lnTo>
                  <a:lnTo>
                    <a:pt x="1542779" y="429675"/>
                  </a:lnTo>
                  <a:lnTo>
                    <a:pt x="1543772" y="430656"/>
                  </a:lnTo>
                  <a:lnTo>
                    <a:pt x="1543606" y="431680"/>
                  </a:lnTo>
                  <a:lnTo>
                    <a:pt x="1539526" y="434338"/>
                  </a:lnTo>
                  <a:lnTo>
                    <a:pt x="1540190" y="434899"/>
                  </a:lnTo>
                  <a:lnTo>
                    <a:pt x="1544269" y="435516"/>
                  </a:lnTo>
                  <a:lnTo>
                    <a:pt x="1553445" y="435821"/>
                  </a:lnTo>
                  <a:lnTo>
                    <a:pt x="1555411" y="436435"/>
                  </a:lnTo>
                  <a:lnTo>
                    <a:pt x="1557298" y="439746"/>
                  </a:lnTo>
                  <a:lnTo>
                    <a:pt x="1559274" y="444323"/>
                  </a:lnTo>
                  <a:lnTo>
                    <a:pt x="1559243" y="446138"/>
                  </a:lnTo>
                  <a:lnTo>
                    <a:pt x="1556064" y="449224"/>
                  </a:lnTo>
                  <a:lnTo>
                    <a:pt x="1547373" y="453333"/>
                  </a:lnTo>
                  <a:lnTo>
                    <a:pt x="1537728" y="456739"/>
                  </a:lnTo>
                  <a:lnTo>
                    <a:pt x="1537109" y="457621"/>
                  </a:lnTo>
                  <a:lnTo>
                    <a:pt x="1540186" y="459246"/>
                  </a:lnTo>
                  <a:lnTo>
                    <a:pt x="1543364" y="459959"/>
                  </a:lnTo>
                  <a:lnTo>
                    <a:pt x="1545871" y="459816"/>
                  </a:lnTo>
                  <a:lnTo>
                    <a:pt x="1553564" y="458268"/>
                  </a:lnTo>
                  <a:lnTo>
                    <a:pt x="1555312" y="458298"/>
                  </a:lnTo>
                  <a:lnTo>
                    <a:pt x="1558844" y="459878"/>
                  </a:lnTo>
                  <a:lnTo>
                    <a:pt x="1560477" y="461444"/>
                  </a:lnTo>
                  <a:lnTo>
                    <a:pt x="1561972" y="463529"/>
                  </a:lnTo>
                  <a:lnTo>
                    <a:pt x="1559270" y="465426"/>
                  </a:lnTo>
                  <a:lnTo>
                    <a:pt x="1548202" y="467775"/>
                  </a:lnTo>
                  <a:lnTo>
                    <a:pt x="1541661" y="464683"/>
                  </a:lnTo>
                  <a:lnTo>
                    <a:pt x="1539461" y="464000"/>
                  </a:lnTo>
                  <a:lnTo>
                    <a:pt x="1537977" y="464270"/>
                  </a:lnTo>
                  <a:lnTo>
                    <a:pt x="1538819" y="465625"/>
                  </a:lnTo>
                  <a:lnTo>
                    <a:pt x="1541984" y="468076"/>
                  </a:lnTo>
                  <a:lnTo>
                    <a:pt x="1543018" y="469691"/>
                  </a:lnTo>
                  <a:lnTo>
                    <a:pt x="1541919" y="470474"/>
                  </a:lnTo>
                  <a:lnTo>
                    <a:pt x="1541401" y="472023"/>
                  </a:lnTo>
                  <a:lnTo>
                    <a:pt x="1541463" y="474332"/>
                  </a:lnTo>
                  <a:lnTo>
                    <a:pt x="1541200" y="476677"/>
                  </a:lnTo>
                  <a:lnTo>
                    <a:pt x="1540132" y="480323"/>
                  </a:lnTo>
                  <a:lnTo>
                    <a:pt x="1539752" y="480468"/>
                  </a:lnTo>
                  <a:lnTo>
                    <a:pt x="1515702" y="481217"/>
                  </a:lnTo>
                  <a:lnTo>
                    <a:pt x="1512804" y="481877"/>
                  </a:lnTo>
                  <a:lnTo>
                    <a:pt x="1506042" y="484443"/>
                  </a:lnTo>
                  <a:lnTo>
                    <a:pt x="1500929" y="485732"/>
                  </a:lnTo>
                  <a:lnTo>
                    <a:pt x="1497599" y="485927"/>
                  </a:lnTo>
                  <a:lnTo>
                    <a:pt x="1494344" y="485458"/>
                  </a:lnTo>
                  <a:lnTo>
                    <a:pt x="1485565" y="482795"/>
                  </a:lnTo>
                  <a:lnTo>
                    <a:pt x="1479717" y="483297"/>
                  </a:lnTo>
                  <a:lnTo>
                    <a:pt x="1477424" y="483043"/>
                  </a:lnTo>
                  <a:lnTo>
                    <a:pt x="1472473" y="481271"/>
                  </a:lnTo>
                  <a:lnTo>
                    <a:pt x="1471272" y="480374"/>
                  </a:lnTo>
                  <a:lnTo>
                    <a:pt x="1469264" y="478047"/>
                  </a:lnTo>
                  <a:lnTo>
                    <a:pt x="1467759" y="474861"/>
                  </a:lnTo>
                  <a:lnTo>
                    <a:pt x="1467878" y="472896"/>
                  </a:lnTo>
                  <a:lnTo>
                    <a:pt x="1468511" y="470061"/>
                  </a:lnTo>
                  <a:lnTo>
                    <a:pt x="1468122" y="468638"/>
                  </a:lnTo>
                  <a:lnTo>
                    <a:pt x="1466711" y="468629"/>
                  </a:lnTo>
                  <a:lnTo>
                    <a:pt x="1465138" y="468039"/>
                  </a:lnTo>
                  <a:lnTo>
                    <a:pt x="1460405" y="465190"/>
                  </a:lnTo>
                  <a:lnTo>
                    <a:pt x="1457488" y="464347"/>
                  </a:lnTo>
                  <a:lnTo>
                    <a:pt x="1456943" y="464811"/>
                  </a:lnTo>
                  <a:lnTo>
                    <a:pt x="1457799" y="467040"/>
                  </a:lnTo>
                  <a:lnTo>
                    <a:pt x="1458368" y="467750"/>
                  </a:lnTo>
                  <a:lnTo>
                    <a:pt x="1461490" y="469377"/>
                  </a:lnTo>
                  <a:lnTo>
                    <a:pt x="1462071" y="471259"/>
                  </a:lnTo>
                  <a:lnTo>
                    <a:pt x="1460742" y="476016"/>
                  </a:lnTo>
                  <a:lnTo>
                    <a:pt x="1460273" y="476780"/>
                  </a:lnTo>
                  <a:lnTo>
                    <a:pt x="1457239" y="480262"/>
                  </a:lnTo>
                  <a:lnTo>
                    <a:pt x="1454957" y="481255"/>
                  </a:lnTo>
                  <a:lnTo>
                    <a:pt x="1448714" y="481330"/>
                  </a:lnTo>
                  <a:lnTo>
                    <a:pt x="1439153" y="483800"/>
                  </a:lnTo>
                  <a:lnTo>
                    <a:pt x="1434578" y="484154"/>
                  </a:lnTo>
                  <a:lnTo>
                    <a:pt x="1428454" y="483578"/>
                  </a:lnTo>
                  <a:lnTo>
                    <a:pt x="1424620" y="482455"/>
                  </a:lnTo>
                  <a:lnTo>
                    <a:pt x="1422134" y="481167"/>
                  </a:lnTo>
                  <a:lnTo>
                    <a:pt x="1419720" y="479332"/>
                  </a:lnTo>
                  <a:lnTo>
                    <a:pt x="1418454" y="479194"/>
                  </a:lnTo>
                  <a:lnTo>
                    <a:pt x="1417812" y="483172"/>
                  </a:lnTo>
                  <a:lnTo>
                    <a:pt x="1416629" y="483686"/>
                  </a:lnTo>
                  <a:lnTo>
                    <a:pt x="1414578" y="483625"/>
                  </a:lnTo>
                  <a:lnTo>
                    <a:pt x="1411410" y="482389"/>
                  </a:lnTo>
                  <a:lnTo>
                    <a:pt x="1408797" y="479513"/>
                  </a:lnTo>
                  <a:lnTo>
                    <a:pt x="1407983" y="479526"/>
                  </a:lnTo>
                  <a:lnTo>
                    <a:pt x="1407621" y="481200"/>
                  </a:lnTo>
                  <a:lnTo>
                    <a:pt x="1407036" y="482298"/>
                  </a:lnTo>
                  <a:lnTo>
                    <a:pt x="1406231" y="482817"/>
                  </a:lnTo>
                  <a:lnTo>
                    <a:pt x="1399524" y="484612"/>
                  </a:lnTo>
                  <a:lnTo>
                    <a:pt x="1395781" y="484621"/>
                  </a:lnTo>
                  <a:lnTo>
                    <a:pt x="1391870" y="482567"/>
                  </a:lnTo>
                  <a:lnTo>
                    <a:pt x="1389307" y="482776"/>
                  </a:lnTo>
                  <a:lnTo>
                    <a:pt x="1386021" y="483885"/>
                  </a:lnTo>
                  <a:lnTo>
                    <a:pt x="1378037" y="481781"/>
                  </a:lnTo>
                  <a:lnTo>
                    <a:pt x="1376127" y="481700"/>
                  </a:lnTo>
                  <a:lnTo>
                    <a:pt x="1377765" y="485106"/>
                  </a:lnTo>
                  <a:lnTo>
                    <a:pt x="1375128" y="485631"/>
                  </a:lnTo>
                  <a:lnTo>
                    <a:pt x="1369433" y="485546"/>
                  </a:lnTo>
                  <a:lnTo>
                    <a:pt x="1360076" y="484450"/>
                  </a:lnTo>
                  <a:lnTo>
                    <a:pt x="1354274" y="486045"/>
                  </a:lnTo>
                  <a:lnTo>
                    <a:pt x="1343795" y="485093"/>
                  </a:lnTo>
                  <a:lnTo>
                    <a:pt x="1333216" y="484854"/>
                  </a:lnTo>
                  <a:lnTo>
                    <a:pt x="1331246" y="484073"/>
                  </a:lnTo>
                  <a:lnTo>
                    <a:pt x="1329853" y="482482"/>
                  </a:lnTo>
                  <a:lnTo>
                    <a:pt x="1329798" y="481064"/>
                  </a:lnTo>
                  <a:lnTo>
                    <a:pt x="1330311" y="479102"/>
                  </a:lnTo>
                  <a:lnTo>
                    <a:pt x="1331858" y="476181"/>
                  </a:lnTo>
                  <a:lnTo>
                    <a:pt x="1334442" y="472291"/>
                  </a:lnTo>
                  <a:lnTo>
                    <a:pt x="1335333" y="470237"/>
                  </a:lnTo>
                  <a:lnTo>
                    <a:pt x="1333003" y="469287"/>
                  </a:lnTo>
                  <a:lnTo>
                    <a:pt x="1331565" y="468014"/>
                  </a:lnTo>
                  <a:lnTo>
                    <a:pt x="1330378" y="467872"/>
                  </a:lnTo>
                  <a:lnTo>
                    <a:pt x="1326649" y="469373"/>
                  </a:lnTo>
                  <a:lnTo>
                    <a:pt x="1324220" y="473750"/>
                  </a:lnTo>
                  <a:lnTo>
                    <a:pt x="1322363" y="475018"/>
                  </a:lnTo>
                  <a:lnTo>
                    <a:pt x="1321543" y="473956"/>
                  </a:lnTo>
                  <a:lnTo>
                    <a:pt x="1320924" y="471299"/>
                  </a:lnTo>
                  <a:lnTo>
                    <a:pt x="1320105" y="470004"/>
                  </a:lnTo>
                  <a:lnTo>
                    <a:pt x="1319084" y="470075"/>
                  </a:lnTo>
                  <a:lnTo>
                    <a:pt x="1318089" y="470784"/>
                  </a:lnTo>
                  <a:lnTo>
                    <a:pt x="1317120" y="472133"/>
                  </a:lnTo>
                  <a:lnTo>
                    <a:pt x="1315664" y="472622"/>
                  </a:lnTo>
                  <a:lnTo>
                    <a:pt x="1313720" y="472255"/>
                  </a:lnTo>
                  <a:lnTo>
                    <a:pt x="1313030" y="472914"/>
                  </a:lnTo>
                  <a:lnTo>
                    <a:pt x="1313596" y="474603"/>
                  </a:lnTo>
                  <a:lnTo>
                    <a:pt x="1313793" y="476183"/>
                  </a:lnTo>
                  <a:lnTo>
                    <a:pt x="1313621" y="477657"/>
                  </a:lnTo>
                  <a:lnTo>
                    <a:pt x="1311947" y="479082"/>
                  </a:lnTo>
                  <a:lnTo>
                    <a:pt x="1307177" y="481154"/>
                  </a:lnTo>
                  <a:lnTo>
                    <a:pt x="1304420" y="481816"/>
                  </a:lnTo>
                  <a:lnTo>
                    <a:pt x="1297176" y="482124"/>
                  </a:lnTo>
                  <a:lnTo>
                    <a:pt x="1292842" y="481506"/>
                  </a:lnTo>
                  <a:lnTo>
                    <a:pt x="1284061" y="479018"/>
                  </a:lnTo>
                  <a:lnTo>
                    <a:pt x="1279201" y="478903"/>
                  </a:lnTo>
                  <a:lnTo>
                    <a:pt x="1273348" y="474721"/>
                  </a:lnTo>
                  <a:lnTo>
                    <a:pt x="1268716" y="473754"/>
                  </a:lnTo>
                  <a:lnTo>
                    <a:pt x="1268951" y="472240"/>
                  </a:lnTo>
                  <a:lnTo>
                    <a:pt x="1270976" y="469420"/>
                  </a:lnTo>
                  <a:lnTo>
                    <a:pt x="1270911" y="468577"/>
                  </a:lnTo>
                  <a:lnTo>
                    <a:pt x="1264581" y="472687"/>
                  </a:lnTo>
                  <a:lnTo>
                    <a:pt x="1263723" y="473999"/>
                  </a:lnTo>
                  <a:lnTo>
                    <a:pt x="1264461" y="477038"/>
                  </a:lnTo>
                  <a:lnTo>
                    <a:pt x="1263621" y="477257"/>
                  </a:lnTo>
                  <a:lnTo>
                    <a:pt x="1259267" y="476164"/>
                  </a:lnTo>
                  <a:lnTo>
                    <a:pt x="1254984" y="476996"/>
                  </a:lnTo>
                  <a:lnTo>
                    <a:pt x="1253951" y="476751"/>
                  </a:lnTo>
                  <a:lnTo>
                    <a:pt x="1250992" y="474556"/>
                  </a:lnTo>
                  <a:lnTo>
                    <a:pt x="1245787" y="472322"/>
                  </a:lnTo>
                  <a:lnTo>
                    <a:pt x="1243492" y="469817"/>
                  </a:lnTo>
                  <a:lnTo>
                    <a:pt x="1239916" y="461972"/>
                  </a:lnTo>
                  <a:lnTo>
                    <a:pt x="1238100" y="456765"/>
                  </a:lnTo>
                  <a:lnTo>
                    <a:pt x="1238327" y="455699"/>
                  </a:lnTo>
                  <a:lnTo>
                    <a:pt x="1240983" y="454228"/>
                  </a:lnTo>
                  <a:lnTo>
                    <a:pt x="1240582" y="453081"/>
                  </a:lnTo>
                  <a:lnTo>
                    <a:pt x="1237272" y="450144"/>
                  </a:lnTo>
                  <a:lnTo>
                    <a:pt x="1233707" y="447670"/>
                  </a:lnTo>
                  <a:lnTo>
                    <a:pt x="1232647" y="445959"/>
                  </a:lnTo>
                  <a:lnTo>
                    <a:pt x="1232162" y="444227"/>
                  </a:lnTo>
                  <a:lnTo>
                    <a:pt x="1231688" y="441715"/>
                  </a:lnTo>
                  <a:lnTo>
                    <a:pt x="1231665" y="439856"/>
                  </a:lnTo>
                  <a:lnTo>
                    <a:pt x="1232094" y="438652"/>
                  </a:lnTo>
                  <a:lnTo>
                    <a:pt x="1234132" y="434899"/>
                  </a:lnTo>
                  <a:lnTo>
                    <a:pt x="1239716" y="428158"/>
                  </a:lnTo>
                  <a:lnTo>
                    <a:pt x="1240470" y="426929"/>
                  </a:lnTo>
                  <a:lnTo>
                    <a:pt x="1240771" y="425722"/>
                  </a:lnTo>
                  <a:lnTo>
                    <a:pt x="1240002" y="422144"/>
                  </a:lnTo>
                  <a:lnTo>
                    <a:pt x="1238920" y="418552"/>
                  </a:lnTo>
                  <a:lnTo>
                    <a:pt x="1237824" y="415979"/>
                  </a:lnTo>
                  <a:lnTo>
                    <a:pt x="1234742" y="412423"/>
                  </a:lnTo>
                  <a:lnTo>
                    <a:pt x="1230505" y="408721"/>
                  </a:lnTo>
                  <a:lnTo>
                    <a:pt x="1224542" y="402061"/>
                  </a:lnTo>
                  <a:lnTo>
                    <a:pt x="1220120" y="396867"/>
                  </a:lnTo>
                  <a:lnTo>
                    <a:pt x="1214834" y="389537"/>
                  </a:lnTo>
                  <a:lnTo>
                    <a:pt x="1212285" y="388907"/>
                  </a:lnTo>
                  <a:lnTo>
                    <a:pt x="1209336" y="389243"/>
                  </a:lnTo>
                  <a:lnTo>
                    <a:pt x="1202962" y="391769"/>
                  </a:lnTo>
                  <a:lnTo>
                    <a:pt x="1200820" y="392967"/>
                  </a:lnTo>
                  <a:lnTo>
                    <a:pt x="1200294" y="393772"/>
                  </a:lnTo>
                  <a:lnTo>
                    <a:pt x="1195549" y="393954"/>
                  </a:lnTo>
                  <a:lnTo>
                    <a:pt x="1182103" y="393292"/>
                  </a:lnTo>
                  <a:lnTo>
                    <a:pt x="1176962" y="392515"/>
                  </a:lnTo>
                  <a:lnTo>
                    <a:pt x="1173123" y="392719"/>
                  </a:lnTo>
                  <a:lnTo>
                    <a:pt x="1166533" y="394581"/>
                  </a:lnTo>
                  <a:lnTo>
                    <a:pt x="1159504" y="394230"/>
                  </a:lnTo>
                  <a:lnTo>
                    <a:pt x="1155103" y="389063"/>
                  </a:lnTo>
                  <a:lnTo>
                    <a:pt x="1145107" y="386275"/>
                  </a:lnTo>
                  <a:lnTo>
                    <a:pt x="1142124" y="384707"/>
                  </a:lnTo>
                  <a:lnTo>
                    <a:pt x="1140085" y="382566"/>
                  </a:lnTo>
                  <a:lnTo>
                    <a:pt x="1140760" y="381165"/>
                  </a:lnTo>
                  <a:lnTo>
                    <a:pt x="1146445" y="379907"/>
                  </a:lnTo>
                  <a:lnTo>
                    <a:pt x="1148807" y="378525"/>
                  </a:lnTo>
                  <a:lnTo>
                    <a:pt x="1149941" y="377405"/>
                  </a:lnTo>
                  <a:lnTo>
                    <a:pt x="1144306" y="378368"/>
                  </a:lnTo>
                  <a:lnTo>
                    <a:pt x="1141818" y="378199"/>
                  </a:lnTo>
                  <a:lnTo>
                    <a:pt x="1124871" y="371159"/>
                  </a:lnTo>
                  <a:lnTo>
                    <a:pt x="1119649" y="369915"/>
                  </a:lnTo>
                  <a:lnTo>
                    <a:pt x="1118760" y="369285"/>
                  </a:lnTo>
                  <a:lnTo>
                    <a:pt x="1118322" y="368454"/>
                  </a:lnTo>
                  <a:lnTo>
                    <a:pt x="1118332" y="367422"/>
                  </a:lnTo>
                  <a:lnTo>
                    <a:pt x="1118827" y="365869"/>
                  </a:lnTo>
                  <a:lnTo>
                    <a:pt x="1123865" y="367831"/>
                  </a:lnTo>
                  <a:lnTo>
                    <a:pt x="1126124" y="367976"/>
                  </a:lnTo>
                  <a:lnTo>
                    <a:pt x="1129651" y="367391"/>
                  </a:lnTo>
                  <a:lnTo>
                    <a:pt x="1130909" y="366164"/>
                  </a:lnTo>
                  <a:lnTo>
                    <a:pt x="1130107" y="365449"/>
                  </a:lnTo>
                  <a:lnTo>
                    <a:pt x="1124331" y="363087"/>
                  </a:lnTo>
                  <a:lnTo>
                    <a:pt x="1121538" y="361295"/>
                  </a:lnTo>
                  <a:lnTo>
                    <a:pt x="1120464" y="359989"/>
                  </a:lnTo>
                  <a:lnTo>
                    <a:pt x="1121572" y="358139"/>
                  </a:lnTo>
                  <a:lnTo>
                    <a:pt x="1121864" y="356886"/>
                  </a:lnTo>
                  <a:lnTo>
                    <a:pt x="1123719" y="356180"/>
                  </a:lnTo>
                  <a:lnTo>
                    <a:pt x="1127143" y="356024"/>
                  </a:lnTo>
                  <a:lnTo>
                    <a:pt x="1131525" y="355136"/>
                  </a:lnTo>
                  <a:lnTo>
                    <a:pt x="1139538" y="352712"/>
                  </a:lnTo>
                  <a:close/>
                  <a:moveTo>
                    <a:pt x="620997" y="325978"/>
                  </a:moveTo>
                  <a:lnTo>
                    <a:pt x="624768" y="326237"/>
                  </a:lnTo>
                  <a:lnTo>
                    <a:pt x="628666" y="327687"/>
                  </a:lnTo>
                  <a:lnTo>
                    <a:pt x="633760" y="330676"/>
                  </a:lnTo>
                  <a:lnTo>
                    <a:pt x="645342" y="335922"/>
                  </a:lnTo>
                  <a:lnTo>
                    <a:pt x="647260" y="338019"/>
                  </a:lnTo>
                  <a:lnTo>
                    <a:pt x="647397" y="338861"/>
                  </a:lnTo>
                  <a:lnTo>
                    <a:pt x="646472" y="339748"/>
                  </a:lnTo>
                  <a:lnTo>
                    <a:pt x="643499" y="341156"/>
                  </a:lnTo>
                  <a:lnTo>
                    <a:pt x="628543" y="345858"/>
                  </a:lnTo>
                  <a:lnTo>
                    <a:pt x="625616" y="348062"/>
                  </a:lnTo>
                  <a:lnTo>
                    <a:pt x="626718" y="349955"/>
                  </a:lnTo>
                  <a:lnTo>
                    <a:pt x="632110" y="353783"/>
                  </a:lnTo>
                  <a:lnTo>
                    <a:pt x="637593" y="357021"/>
                  </a:lnTo>
                  <a:lnTo>
                    <a:pt x="638779" y="358625"/>
                  </a:lnTo>
                  <a:lnTo>
                    <a:pt x="636171" y="360256"/>
                  </a:lnTo>
                  <a:lnTo>
                    <a:pt x="631180" y="359736"/>
                  </a:lnTo>
                  <a:lnTo>
                    <a:pt x="629316" y="359878"/>
                  </a:lnTo>
                  <a:lnTo>
                    <a:pt x="627555" y="360631"/>
                  </a:lnTo>
                  <a:lnTo>
                    <a:pt x="628030" y="362071"/>
                  </a:lnTo>
                  <a:lnTo>
                    <a:pt x="633552" y="366837"/>
                  </a:lnTo>
                  <a:lnTo>
                    <a:pt x="635369" y="369395"/>
                  </a:lnTo>
                  <a:lnTo>
                    <a:pt x="635325" y="370716"/>
                  </a:lnTo>
                  <a:lnTo>
                    <a:pt x="634348" y="372005"/>
                  </a:lnTo>
                  <a:lnTo>
                    <a:pt x="632031" y="373771"/>
                  </a:lnTo>
                  <a:lnTo>
                    <a:pt x="628373" y="376012"/>
                  </a:lnTo>
                  <a:lnTo>
                    <a:pt x="622106" y="377802"/>
                  </a:lnTo>
                  <a:lnTo>
                    <a:pt x="608626" y="380203"/>
                  </a:lnTo>
                  <a:lnTo>
                    <a:pt x="608181" y="382072"/>
                  </a:lnTo>
                  <a:lnTo>
                    <a:pt x="608269" y="383493"/>
                  </a:lnTo>
                  <a:lnTo>
                    <a:pt x="607943" y="386939"/>
                  </a:lnTo>
                  <a:lnTo>
                    <a:pt x="607478" y="388535"/>
                  </a:lnTo>
                  <a:lnTo>
                    <a:pt x="605874" y="391219"/>
                  </a:lnTo>
                  <a:lnTo>
                    <a:pt x="604704" y="392472"/>
                  </a:lnTo>
                  <a:lnTo>
                    <a:pt x="602684" y="393333"/>
                  </a:lnTo>
                  <a:lnTo>
                    <a:pt x="599810" y="393803"/>
                  </a:lnTo>
                  <a:lnTo>
                    <a:pt x="596121" y="393796"/>
                  </a:lnTo>
                  <a:lnTo>
                    <a:pt x="590036" y="391489"/>
                  </a:lnTo>
                  <a:lnTo>
                    <a:pt x="587272" y="390018"/>
                  </a:lnTo>
                  <a:lnTo>
                    <a:pt x="583428" y="386819"/>
                  </a:lnTo>
                  <a:lnTo>
                    <a:pt x="582738" y="384679"/>
                  </a:lnTo>
                  <a:lnTo>
                    <a:pt x="583113" y="382041"/>
                  </a:lnTo>
                  <a:lnTo>
                    <a:pt x="584127" y="377967"/>
                  </a:lnTo>
                  <a:lnTo>
                    <a:pt x="585798" y="373794"/>
                  </a:lnTo>
                  <a:lnTo>
                    <a:pt x="588129" y="369518"/>
                  </a:lnTo>
                  <a:lnTo>
                    <a:pt x="588817" y="366850"/>
                  </a:lnTo>
                  <a:lnTo>
                    <a:pt x="587867" y="365799"/>
                  </a:lnTo>
                  <a:lnTo>
                    <a:pt x="586272" y="365746"/>
                  </a:lnTo>
                  <a:lnTo>
                    <a:pt x="581312" y="367481"/>
                  </a:lnTo>
                  <a:lnTo>
                    <a:pt x="578109" y="368111"/>
                  </a:lnTo>
                  <a:lnTo>
                    <a:pt x="575628" y="369372"/>
                  </a:lnTo>
                  <a:lnTo>
                    <a:pt x="573871" y="371262"/>
                  </a:lnTo>
                  <a:lnTo>
                    <a:pt x="572876" y="373307"/>
                  </a:lnTo>
                  <a:lnTo>
                    <a:pt x="572321" y="377231"/>
                  </a:lnTo>
                  <a:lnTo>
                    <a:pt x="571380" y="379373"/>
                  </a:lnTo>
                  <a:lnTo>
                    <a:pt x="568704" y="380540"/>
                  </a:lnTo>
                  <a:lnTo>
                    <a:pt x="564701" y="380520"/>
                  </a:lnTo>
                  <a:lnTo>
                    <a:pt x="563183" y="381184"/>
                  </a:lnTo>
                  <a:lnTo>
                    <a:pt x="562439" y="382612"/>
                  </a:lnTo>
                  <a:lnTo>
                    <a:pt x="562976" y="383773"/>
                  </a:lnTo>
                  <a:lnTo>
                    <a:pt x="566923" y="386203"/>
                  </a:lnTo>
                  <a:lnTo>
                    <a:pt x="567415" y="388915"/>
                  </a:lnTo>
                  <a:lnTo>
                    <a:pt x="566936" y="390550"/>
                  </a:lnTo>
                  <a:lnTo>
                    <a:pt x="562671" y="393566"/>
                  </a:lnTo>
                  <a:lnTo>
                    <a:pt x="561669" y="394575"/>
                  </a:lnTo>
                  <a:lnTo>
                    <a:pt x="559024" y="399285"/>
                  </a:lnTo>
                  <a:lnTo>
                    <a:pt x="558048" y="400475"/>
                  </a:lnTo>
                  <a:lnTo>
                    <a:pt x="555847" y="401560"/>
                  </a:lnTo>
                  <a:lnTo>
                    <a:pt x="553628" y="401432"/>
                  </a:lnTo>
                  <a:lnTo>
                    <a:pt x="551574" y="399714"/>
                  </a:lnTo>
                  <a:lnTo>
                    <a:pt x="548565" y="396459"/>
                  </a:lnTo>
                  <a:lnTo>
                    <a:pt x="546539" y="393655"/>
                  </a:lnTo>
                  <a:lnTo>
                    <a:pt x="545499" y="391303"/>
                  </a:lnTo>
                  <a:lnTo>
                    <a:pt x="544614" y="390256"/>
                  </a:lnTo>
                  <a:lnTo>
                    <a:pt x="543178" y="390978"/>
                  </a:lnTo>
                  <a:lnTo>
                    <a:pt x="541440" y="393420"/>
                  </a:lnTo>
                  <a:lnTo>
                    <a:pt x="541393" y="395314"/>
                  </a:lnTo>
                  <a:lnTo>
                    <a:pt x="541771" y="398125"/>
                  </a:lnTo>
                  <a:lnTo>
                    <a:pt x="541675" y="399858"/>
                  </a:lnTo>
                  <a:lnTo>
                    <a:pt x="539140" y="401891"/>
                  </a:lnTo>
                  <a:lnTo>
                    <a:pt x="539505" y="402817"/>
                  </a:lnTo>
                  <a:lnTo>
                    <a:pt x="543956" y="405312"/>
                  </a:lnTo>
                  <a:lnTo>
                    <a:pt x="544527" y="406430"/>
                  </a:lnTo>
                  <a:lnTo>
                    <a:pt x="544553" y="408163"/>
                  </a:lnTo>
                  <a:lnTo>
                    <a:pt x="544259" y="408945"/>
                  </a:lnTo>
                  <a:lnTo>
                    <a:pt x="542479" y="408820"/>
                  </a:lnTo>
                  <a:lnTo>
                    <a:pt x="540978" y="410823"/>
                  </a:lnTo>
                  <a:lnTo>
                    <a:pt x="539262" y="412409"/>
                  </a:lnTo>
                  <a:lnTo>
                    <a:pt x="534747" y="415342"/>
                  </a:lnTo>
                  <a:lnTo>
                    <a:pt x="528467" y="415699"/>
                  </a:lnTo>
                  <a:lnTo>
                    <a:pt x="523273" y="417107"/>
                  </a:lnTo>
                  <a:lnTo>
                    <a:pt x="522169" y="417061"/>
                  </a:lnTo>
                  <a:lnTo>
                    <a:pt x="520917" y="414756"/>
                  </a:lnTo>
                  <a:lnTo>
                    <a:pt x="519509" y="410182"/>
                  </a:lnTo>
                  <a:lnTo>
                    <a:pt x="518256" y="407579"/>
                  </a:lnTo>
                  <a:lnTo>
                    <a:pt x="516382" y="406249"/>
                  </a:lnTo>
                  <a:lnTo>
                    <a:pt x="514061" y="401038"/>
                  </a:lnTo>
                  <a:lnTo>
                    <a:pt x="512973" y="399357"/>
                  </a:lnTo>
                  <a:lnTo>
                    <a:pt x="511913" y="398678"/>
                  </a:lnTo>
                  <a:lnTo>
                    <a:pt x="511026" y="398503"/>
                  </a:lnTo>
                  <a:lnTo>
                    <a:pt x="509715" y="399507"/>
                  </a:lnTo>
                  <a:lnTo>
                    <a:pt x="506692" y="406964"/>
                  </a:lnTo>
                  <a:lnTo>
                    <a:pt x="501768" y="408865"/>
                  </a:lnTo>
                  <a:lnTo>
                    <a:pt x="499063" y="409213"/>
                  </a:lnTo>
                  <a:lnTo>
                    <a:pt x="496329" y="409000"/>
                  </a:lnTo>
                  <a:lnTo>
                    <a:pt x="489571" y="406962"/>
                  </a:lnTo>
                  <a:lnTo>
                    <a:pt x="484152" y="406211"/>
                  </a:lnTo>
                  <a:lnTo>
                    <a:pt x="480369" y="407072"/>
                  </a:lnTo>
                  <a:lnTo>
                    <a:pt x="474148" y="410106"/>
                  </a:lnTo>
                  <a:lnTo>
                    <a:pt x="471670" y="410915"/>
                  </a:lnTo>
                  <a:lnTo>
                    <a:pt x="468308" y="410567"/>
                  </a:lnTo>
                  <a:lnTo>
                    <a:pt x="466837" y="409421"/>
                  </a:lnTo>
                  <a:lnTo>
                    <a:pt x="465585" y="407546"/>
                  </a:lnTo>
                  <a:lnTo>
                    <a:pt x="465446" y="406406"/>
                  </a:lnTo>
                  <a:lnTo>
                    <a:pt x="466424" y="406008"/>
                  </a:lnTo>
                  <a:lnTo>
                    <a:pt x="467974" y="403829"/>
                  </a:lnTo>
                  <a:lnTo>
                    <a:pt x="467925" y="402954"/>
                  </a:lnTo>
                  <a:lnTo>
                    <a:pt x="466392" y="401697"/>
                  </a:lnTo>
                  <a:lnTo>
                    <a:pt x="466371" y="400715"/>
                  </a:lnTo>
                  <a:lnTo>
                    <a:pt x="466918" y="400052"/>
                  </a:lnTo>
                  <a:lnTo>
                    <a:pt x="466796" y="399578"/>
                  </a:lnTo>
                  <a:lnTo>
                    <a:pt x="466004" y="399295"/>
                  </a:lnTo>
                  <a:lnTo>
                    <a:pt x="464464" y="399560"/>
                  </a:lnTo>
                  <a:lnTo>
                    <a:pt x="458934" y="401005"/>
                  </a:lnTo>
                  <a:lnTo>
                    <a:pt x="459555" y="399435"/>
                  </a:lnTo>
                  <a:lnTo>
                    <a:pt x="462198" y="396151"/>
                  </a:lnTo>
                  <a:lnTo>
                    <a:pt x="468656" y="389581"/>
                  </a:lnTo>
                  <a:lnTo>
                    <a:pt x="471098" y="387644"/>
                  </a:lnTo>
                  <a:lnTo>
                    <a:pt x="472560" y="387059"/>
                  </a:lnTo>
                  <a:lnTo>
                    <a:pt x="491619" y="384946"/>
                  </a:lnTo>
                  <a:lnTo>
                    <a:pt x="492953" y="384314"/>
                  </a:lnTo>
                  <a:lnTo>
                    <a:pt x="502011" y="375427"/>
                  </a:lnTo>
                  <a:lnTo>
                    <a:pt x="504595" y="373389"/>
                  </a:lnTo>
                  <a:lnTo>
                    <a:pt x="507243" y="371766"/>
                  </a:lnTo>
                  <a:lnTo>
                    <a:pt x="520231" y="366376"/>
                  </a:lnTo>
                  <a:lnTo>
                    <a:pt x="521441" y="365143"/>
                  </a:lnTo>
                  <a:lnTo>
                    <a:pt x="523469" y="361402"/>
                  </a:lnTo>
                  <a:lnTo>
                    <a:pt x="524653" y="360462"/>
                  </a:lnTo>
                  <a:lnTo>
                    <a:pt x="527458" y="359038"/>
                  </a:lnTo>
                  <a:lnTo>
                    <a:pt x="536819" y="351439"/>
                  </a:lnTo>
                  <a:lnTo>
                    <a:pt x="545347" y="345929"/>
                  </a:lnTo>
                  <a:lnTo>
                    <a:pt x="549679" y="342510"/>
                  </a:lnTo>
                  <a:lnTo>
                    <a:pt x="555608" y="339053"/>
                  </a:lnTo>
                  <a:lnTo>
                    <a:pt x="562458" y="337567"/>
                  </a:lnTo>
                  <a:lnTo>
                    <a:pt x="583119" y="334958"/>
                  </a:lnTo>
                  <a:lnTo>
                    <a:pt x="597993" y="338391"/>
                  </a:lnTo>
                  <a:lnTo>
                    <a:pt x="601530" y="338607"/>
                  </a:lnTo>
                  <a:lnTo>
                    <a:pt x="603262" y="337636"/>
                  </a:lnTo>
                  <a:lnTo>
                    <a:pt x="604829" y="336054"/>
                  </a:lnTo>
                  <a:lnTo>
                    <a:pt x="607051" y="336718"/>
                  </a:lnTo>
                  <a:lnTo>
                    <a:pt x="612573" y="337199"/>
                  </a:lnTo>
                  <a:lnTo>
                    <a:pt x="613797" y="336821"/>
                  </a:lnTo>
                  <a:lnTo>
                    <a:pt x="616122" y="335027"/>
                  </a:lnTo>
                  <a:lnTo>
                    <a:pt x="614533" y="334041"/>
                  </a:lnTo>
                  <a:lnTo>
                    <a:pt x="607851" y="332228"/>
                  </a:lnTo>
                  <a:lnTo>
                    <a:pt x="607446" y="331306"/>
                  </a:lnTo>
                  <a:lnTo>
                    <a:pt x="607599" y="330434"/>
                  </a:lnTo>
                  <a:lnTo>
                    <a:pt x="609946" y="328343"/>
                  </a:lnTo>
                  <a:lnTo>
                    <a:pt x="612783" y="326993"/>
                  </a:lnTo>
                  <a:close/>
                  <a:moveTo>
                    <a:pt x="1271865" y="320164"/>
                  </a:moveTo>
                  <a:lnTo>
                    <a:pt x="1276119" y="320508"/>
                  </a:lnTo>
                  <a:lnTo>
                    <a:pt x="1282510" y="321607"/>
                  </a:lnTo>
                  <a:lnTo>
                    <a:pt x="1288871" y="323431"/>
                  </a:lnTo>
                  <a:lnTo>
                    <a:pt x="1297313" y="329016"/>
                  </a:lnTo>
                  <a:lnTo>
                    <a:pt x="1300343" y="331674"/>
                  </a:lnTo>
                  <a:lnTo>
                    <a:pt x="1300984" y="335123"/>
                  </a:lnTo>
                  <a:lnTo>
                    <a:pt x="1300974" y="337231"/>
                  </a:lnTo>
                  <a:lnTo>
                    <a:pt x="1300532" y="338766"/>
                  </a:lnTo>
                  <a:lnTo>
                    <a:pt x="1299653" y="339724"/>
                  </a:lnTo>
                  <a:lnTo>
                    <a:pt x="1297458" y="341064"/>
                  </a:lnTo>
                  <a:lnTo>
                    <a:pt x="1290829" y="344134"/>
                  </a:lnTo>
                  <a:lnTo>
                    <a:pt x="1287441" y="344024"/>
                  </a:lnTo>
                  <a:lnTo>
                    <a:pt x="1268046" y="337740"/>
                  </a:lnTo>
                  <a:lnTo>
                    <a:pt x="1264140" y="334629"/>
                  </a:lnTo>
                  <a:lnTo>
                    <a:pt x="1263396" y="332530"/>
                  </a:lnTo>
                  <a:lnTo>
                    <a:pt x="1263181" y="329548"/>
                  </a:lnTo>
                  <a:lnTo>
                    <a:pt x="1263242" y="325461"/>
                  </a:lnTo>
                  <a:lnTo>
                    <a:pt x="1264084" y="322707"/>
                  </a:lnTo>
                  <a:lnTo>
                    <a:pt x="1265107" y="321749"/>
                  </a:lnTo>
                  <a:lnTo>
                    <a:pt x="1267391" y="320765"/>
                  </a:lnTo>
                  <a:close/>
                  <a:moveTo>
                    <a:pt x="891002" y="314765"/>
                  </a:moveTo>
                  <a:lnTo>
                    <a:pt x="897977" y="315766"/>
                  </a:lnTo>
                  <a:lnTo>
                    <a:pt x="901319" y="317670"/>
                  </a:lnTo>
                  <a:lnTo>
                    <a:pt x="905540" y="320862"/>
                  </a:lnTo>
                  <a:lnTo>
                    <a:pt x="911011" y="325941"/>
                  </a:lnTo>
                  <a:lnTo>
                    <a:pt x="912701" y="328187"/>
                  </a:lnTo>
                  <a:lnTo>
                    <a:pt x="913029" y="331269"/>
                  </a:lnTo>
                  <a:lnTo>
                    <a:pt x="914016" y="332937"/>
                  </a:lnTo>
                  <a:lnTo>
                    <a:pt x="918710" y="333232"/>
                  </a:lnTo>
                  <a:lnTo>
                    <a:pt x="924491" y="337296"/>
                  </a:lnTo>
                  <a:lnTo>
                    <a:pt x="925542" y="338866"/>
                  </a:lnTo>
                  <a:lnTo>
                    <a:pt x="926736" y="342057"/>
                  </a:lnTo>
                  <a:lnTo>
                    <a:pt x="926653" y="343575"/>
                  </a:lnTo>
                  <a:lnTo>
                    <a:pt x="925730" y="346707"/>
                  </a:lnTo>
                  <a:lnTo>
                    <a:pt x="924087" y="347810"/>
                  </a:lnTo>
                  <a:lnTo>
                    <a:pt x="920202" y="348761"/>
                  </a:lnTo>
                  <a:lnTo>
                    <a:pt x="912489" y="346588"/>
                  </a:lnTo>
                  <a:lnTo>
                    <a:pt x="907430" y="345651"/>
                  </a:lnTo>
                  <a:lnTo>
                    <a:pt x="903250" y="341782"/>
                  </a:lnTo>
                  <a:lnTo>
                    <a:pt x="898776" y="336496"/>
                  </a:lnTo>
                  <a:lnTo>
                    <a:pt x="895258" y="330636"/>
                  </a:lnTo>
                  <a:lnTo>
                    <a:pt x="893937" y="327180"/>
                  </a:lnTo>
                  <a:lnTo>
                    <a:pt x="891378" y="325122"/>
                  </a:lnTo>
                  <a:lnTo>
                    <a:pt x="890490" y="321707"/>
                  </a:lnTo>
                  <a:lnTo>
                    <a:pt x="885851" y="316342"/>
                  </a:lnTo>
                  <a:lnTo>
                    <a:pt x="886625" y="315556"/>
                  </a:lnTo>
                  <a:close/>
                  <a:moveTo>
                    <a:pt x="1154166" y="312719"/>
                  </a:moveTo>
                  <a:lnTo>
                    <a:pt x="1160538" y="314797"/>
                  </a:lnTo>
                  <a:lnTo>
                    <a:pt x="1167465" y="313695"/>
                  </a:lnTo>
                  <a:lnTo>
                    <a:pt x="1174896" y="313578"/>
                  </a:lnTo>
                  <a:lnTo>
                    <a:pt x="1191431" y="314464"/>
                  </a:lnTo>
                  <a:lnTo>
                    <a:pt x="1202381" y="313875"/>
                  </a:lnTo>
                  <a:lnTo>
                    <a:pt x="1205216" y="314226"/>
                  </a:lnTo>
                  <a:lnTo>
                    <a:pt x="1209529" y="315558"/>
                  </a:lnTo>
                  <a:lnTo>
                    <a:pt x="1211817" y="317166"/>
                  </a:lnTo>
                  <a:lnTo>
                    <a:pt x="1213898" y="319883"/>
                  </a:lnTo>
                  <a:lnTo>
                    <a:pt x="1208561" y="321535"/>
                  </a:lnTo>
                  <a:lnTo>
                    <a:pt x="1203986" y="329933"/>
                  </a:lnTo>
                  <a:lnTo>
                    <a:pt x="1203368" y="330351"/>
                  </a:lnTo>
                  <a:lnTo>
                    <a:pt x="1198393" y="330465"/>
                  </a:lnTo>
                  <a:lnTo>
                    <a:pt x="1195958" y="331129"/>
                  </a:lnTo>
                  <a:lnTo>
                    <a:pt x="1181434" y="329943"/>
                  </a:lnTo>
                  <a:lnTo>
                    <a:pt x="1141420" y="329408"/>
                  </a:lnTo>
                  <a:lnTo>
                    <a:pt x="1139669" y="328364"/>
                  </a:lnTo>
                  <a:lnTo>
                    <a:pt x="1134401" y="323439"/>
                  </a:lnTo>
                  <a:lnTo>
                    <a:pt x="1134078" y="321487"/>
                  </a:lnTo>
                  <a:lnTo>
                    <a:pt x="1135027" y="319210"/>
                  </a:lnTo>
                  <a:lnTo>
                    <a:pt x="1136158" y="317691"/>
                  </a:lnTo>
                  <a:lnTo>
                    <a:pt x="1137466" y="316940"/>
                  </a:lnTo>
                  <a:lnTo>
                    <a:pt x="1149106" y="313248"/>
                  </a:lnTo>
                  <a:close/>
                  <a:moveTo>
                    <a:pt x="991036" y="306854"/>
                  </a:moveTo>
                  <a:lnTo>
                    <a:pt x="998096" y="307265"/>
                  </a:lnTo>
                  <a:lnTo>
                    <a:pt x="1006144" y="309334"/>
                  </a:lnTo>
                  <a:lnTo>
                    <a:pt x="1009409" y="310661"/>
                  </a:lnTo>
                  <a:lnTo>
                    <a:pt x="1011073" y="311598"/>
                  </a:lnTo>
                  <a:lnTo>
                    <a:pt x="1013136" y="313490"/>
                  </a:lnTo>
                  <a:lnTo>
                    <a:pt x="1013813" y="314327"/>
                  </a:lnTo>
                  <a:lnTo>
                    <a:pt x="1014257" y="315813"/>
                  </a:lnTo>
                  <a:lnTo>
                    <a:pt x="1004226" y="316142"/>
                  </a:lnTo>
                  <a:lnTo>
                    <a:pt x="999487" y="316726"/>
                  </a:lnTo>
                  <a:lnTo>
                    <a:pt x="996723" y="317906"/>
                  </a:lnTo>
                  <a:lnTo>
                    <a:pt x="993237" y="318407"/>
                  </a:lnTo>
                  <a:lnTo>
                    <a:pt x="986928" y="318144"/>
                  </a:lnTo>
                  <a:lnTo>
                    <a:pt x="979372" y="316193"/>
                  </a:lnTo>
                  <a:lnTo>
                    <a:pt x="977334" y="313907"/>
                  </a:lnTo>
                  <a:lnTo>
                    <a:pt x="976907" y="310287"/>
                  </a:lnTo>
                  <a:lnTo>
                    <a:pt x="976996" y="308279"/>
                  </a:lnTo>
                  <a:lnTo>
                    <a:pt x="977601" y="307891"/>
                  </a:lnTo>
                  <a:lnTo>
                    <a:pt x="982279" y="307414"/>
                  </a:lnTo>
                  <a:close/>
                  <a:moveTo>
                    <a:pt x="676299" y="297118"/>
                  </a:moveTo>
                  <a:lnTo>
                    <a:pt x="677149" y="297906"/>
                  </a:lnTo>
                  <a:lnTo>
                    <a:pt x="676997" y="299575"/>
                  </a:lnTo>
                  <a:lnTo>
                    <a:pt x="677581" y="301132"/>
                  </a:lnTo>
                  <a:lnTo>
                    <a:pt x="680088" y="301463"/>
                  </a:lnTo>
                  <a:lnTo>
                    <a:pt x="682465" y="302574"/>
                  </a:lnTo>
                  <a:lnTo>
                    <a:pt x="687269" y="305982"/>
                  </a:lnTo>
                  <a:lnTo>
                    <a:pt x="690559" y="306638"/>
                  </a:lnTo>
                  <a:lnTo>
                    <a:pt x="691741" y="307383"/>
                  </a:lnTo>
                  <a:lnTo>
                    <a:pt x="692367" y="308527"/>
                  </a:lnTo>
                  <a:lnTo>
                    <a:pt x="694365" y="310517"/>
                  </a:lnTo>
                  <a:lnTo>
                    <a:pt x="694328" y="311549"/>
                  </a:lnTo>
                  <a:lnTo>
                    <a:pt x="691629" y="313602"/>
                  </a:lnTo>
                  <a:lnTo>
                    <a:pt x="688925" y="314751"/>
                  </a:lnTo>
                  <a:lnTo>
                    <a:pt x="681990" y="316596"/>
                  </a:lnTo>
                  <a:lnTo>
                    <a:pt x="677394" y="316553"/>
                  </a:lnTo>
                  <a:lnTo>
                    <a:pt x="669250" y="313953"/>
                  </a:lnTo>
                  <a:lnTo>
                    <a:pt x="659816" y="305990"/>
                  </a:lnTo>
                  <a:lnTo>
                    <a:pt x="658576" y="303143"/>
                  </a:lnTo>
                  <a:lnTo>
                    <a:pt x="662098" y="302630"/>
                  </a:lnTo>
                  <a:lnTo>
                    <a:pt x="664658" y="301754"/>
                  </a:lnTo>
                  <a:lnTo>
                    <a:pt x="666256" y="300517"/>
                  </a:lnTo>
                  <a:lnTo>
                    <a:pt x="669288" y="299158"/>
                  </a:lnTo>
                  <a:close/>
                  <a:moveTo>
                    <a:pt x="774487" y="295709"/>
                  </a:moveTo>
                  <a:lnTo>
                    <a:pt x="794802" y="297026"/>
                  </a:lnTo>
                  <a:lnTo>
                    <a:pt x="795679" y="297272"/>
                  </a:lnTo>
                  <a:lnTo>
                    <a:pt x="795762" y="298254"/>
                  </a:lnTo>
                  <a:lnTo>
                    <a:pt x="794231" y="301405"/>
                  </a:lnTo>
                  <a:lnTo>
                    <a:pt x="791888" y="303696"/>
                  </a:lnTo>
                  <a:lnTo>
                    <a:pt x="781042" y="306569"/>
                  </a:lnTo>
                  <a:lnTo>
                    <a:pt x="767056" y="309166"/>
                  </a:lnTo>
                  <a:lnTo>
                    <a:pt x="764152" y="310425"/>
                  </a:lnTo>
                  <a:lnTo>
                    <a:pt x="764383" y="311175"/>
                  </a:lnTo>
                  <a:lnTo>
                    <a:pt x="765522" y="312111"/>
                  </a:lnTo>
                  <a:lnTo>
                    <a:pt x="767861" y="313294"/>
                  </a:lnTo>
                  <a:lnTo>
                    <a:pt x="778693" y="313026"/>
                  </a:lnTo>
                  <a:lnTo>
                    <a:pt x="781304" y="313536"/>
                  </a:lnTo>
                  <a:lnTo>
                    <a:pt x="782229" y="314301"/>
                  </a:lnTo>
                  <a:lnTo>
                    <a:pt x="782783" y="315418"/>
                  </a:lnTo>
                  <a:lnTo>
                    <a:pt x="783120" y="316875"/>
                  </a:lnTo>
                  <a:lnTo>
                    <a:pt x="783137" y="321805"/>
                  </a:lnTo>
                  <a:lnTo>
                    <a:pt x="782565" y="324652"/>
                  </a:lnTo>
                  <a:lnTo>
                    <a:pt x="781069" y="327227"/>
                  </a:lnTo>
                  <a:lnTo>
                    <a:pt x="776680" y="329058"/>
                  </a:lnTo>
                  <a:lnTo>
                    <a:pt x="768786" y="331472"/>
                  </a:lnTo>
                  <a:lnTo>
                    <a:pt x="763433" y="332545"/>
                  </a:lnTo>
                  <a:lnTo>
                    <a:pt x="759212" y="332159"/>
                  </a:lnTo>
                  <a:lnTo>
                    <a:pt x="755009" y="332409"/>
                  </a:lnTo>
                  <a:lnTo>
                    <a:pt x="736607" y="336950"/>
                  </a:lnTo>
                  <a:lnTo>
                    <a:pt x="730914" y="336974"/>
                  </a:lnTo>
                  <a:lnTo>
                    <a:pt x="725939" y="335878"/>
                  </a:lnTo>
                  <a:lnTo>
                    <a:pt x="719065" y="331590"/>
                  </a:lnTo>
                  <a:lnTo>
                    <a:pt x="711919" y="329904"/>
                  </a:lnTo>
                  <a:lnTo>
                    <a:pt x="708865" y="327971"/>
                  </a:lnTo>
                  <a:lnTo>
                    <a:pt x="705865" y="326916"/>
                  </a:lnTo>
                  <a:lnTo>
                    <a:pt x="705035" y="325371"/>
                  </a:lnTo>
                  <a:lnTo>
                    <a:pt x="704745" y="324217"/>
                  </a:lnTo>
                  <a:lnTo>
                    <a:pt x="705250" y="323156"/>
                  </a:lnTo>
                  <a:lnTo>
                    <a:pt x="706548" y="322194"/>
                  </a:lnTo>
                  <a:lnTo>
                    <a:pt x="706974" y="321376"/>
                  </a:lnTo>
                  <a:lnTo>
                    <a:pt x="705779" y="318998"/>
                  </a:lnTo>
                  <a:lnTo>
                    <a:pt x="705227" y="316726"/>
                  </a:lnTo>
                  <a:lnTo>
                    <a:pt x="703154" y="313458"/>
                  </a:lnTo>
                  <a:lnTo>
                    <a:pt x="702846" y="311574"/>
                  </a:lnTo>
                  <a:lnTo>
                    <a:pt x="702858" y="310342"/>
                  </a:lnTo>
                  <a:lnTo>
                    <a:pt x="703204" y="309012"/>
                  </a:lnTo>
                  <a:lnTo>
                    <a:pt x="704576" y="306641"/>
                  </a:lnTo>
                  <a:lnTo>
                    <a:pt x="705289" y="306158"/>
                  </a:lnTo>
                  <a:lnTo>
                    <a:pt x="709484" y="305788"/>
                  </a:lnTo>
                  <a:lnTo>
                    <a:pt x="714988" y="304561"/>
                  </a:lnTo>
                  <a:lnTo>
                    <a:pt x="727666" y="300995"/>
                  </a:lnTo>
                  <a:lnTo>
                    <a:pt x="755507" y="296538"/>
                  </a:lnTo>
                  <a:lnTo>
                    <a:pt x="763960" y="296950"/>
                  </a:lnTo>
                  <a:lnTo>
                    <a:pt x="767659" y="296075"/>
                  </a:lnTo>
                  <a:close/>
                  <a:moveTo>
                    <a:pt x="966341" y="286468"/>
                  </a:moveTo>
                  <a:lnTo>
                    <a:pt x="968021" y="287637"/>
                  </a:lnTo>
                  <a:lnTo>
                    <a:pt x="968966" y="289392"/>
                  </a:lnTo>
                  <a:lnTo>
                    <a:pt x="963512" y="293337"/>
                  </a:lnTo>
                  <a:lnTo>
                    <a:pt x="960600" y="294440"/>
                  </a:lnTo>
                  <a:lnTo>
                    <a:pt x="957201" y="293793"/>
                  </a:lnTo>
                  <a:lnTo>
                    <a:pt x="956725" y="293106"/>
                  </a:lnTo>
                  <a:lnTo>
                    <a:pt x="956660" y="292275"/>
                  </a:lnTo>
                  <a:lnTo>
                    <a:pt x="957003" y="291300"/>
                  </a:lnTo>
                  <a:lnTo>
                    <a:pt x="960796" y="287867"/>
                  </a:lnTo>
                  <a:lnTo>
                    <a:pt x="964274" y="286689"/>
                  </a:lnTo>
                  <a:close/>
                  <a:moveTo>
                    <a:pt x="770430" y="259466"/>
                  </a:moveTo>
                  <a:lnTo>
                    <a:pt x="775762" y="259531"/>
                  </a:lnTo>
                  <a:lnTo>
                    <a:pt x="782540" y="262445"/>
                  </a:lnTo>
                  <a:lnTo>
                    <a:pt x="787601" y="263894"/>
                  </a:lnTo>
                  <a:lnTo>
                    <a:pt x="790769" y="265458"/>
                  </a:lnTo>
                  <a:lnTo>
                    <a:pt x="795206" y="268703"/>
                  </a:lnTo>
                  <a:lnTo>
                    <a:pt x="796730" y="268638"/>
                  </a:lnTo>
                  <a:lnTo>
                    <a:pt x="798675" y="269237"/>
                  </a:lnTo>
                  <a:lnTo>
                    <a:pt x="799610" y="270087"/>
                  </a:lnTo>
                  <a:lnTo>
                    <a:pt x="802275" y="274213"/>
                  </a:lnTo>
                  <a:lnTo>
                    <a:pt x="802783" y="276257"/>
                  </a:lnTo>
                  <a:lnTo>
                    <a:pt x="802938" y="278889"/>
                  </a:lnTo>
                  <a:lnTo>
                    <a:pt x="802531" y="281091"/>
                  </a:lnTo>
                  <a:lnTo>
                    <a:pt x="801557" y="282858"/>
                  </a:lnTo>
                  <a:lnTo>
                    <a:pt x="799174" y="283978"/>
                  </a:lnTo>
                  <a:lnTo>
                    <a:pt x="793486" y="284675"/>
                  </a:lnTo>
                  <a:lnTo>
                    <a:pt x="785548" y="283624"/>
                  </a:lnTo>
                  <a:lnTo>
                    <a:pt x="778662" y="284982"/>
                  </a:lnTo>
                  <a:lnTo>
                    <a:pt x="775494" y="285160"/>
                  </a:lnTo>
                  <a:lnTo>
                    <a:pt x="766956" y="284289"/>
                  </a:lnTo>
                  <a:lnTo>
                    <a:pt x="764802" y="283651"/>
                  </a:lnTo>
                  <a:lnTo>
                    <a:pt x="760068" y="281147"/>
                  </a:lnTo>
                  <a:lnTo>
                    <a:pt x="756457" y="280116"/>
                  </a:lnTo>
                  <a:lnTo>
                    <a:pt x="754939" y="280667"/>
                  </a:lnTo>
                  <a:lnTo>
                    <a:pt x="753127" y="282864"/>
                  </a:lnTo>
                  <a:lnTo>
                    <a:pt x="749715" y="285580"/>
                  </a:lnTo>
                  <a:lnTo>
                    <a:pt x="747625" y="286278"/>
                  </a:lnTo>
                  <a:lnTo>
                    <a:pt x="741483" y="285823"/>
                  </a:lnTo>
                  <a:lnTo>
                    <a:pt x="732061" y="281233"/>
                  </a:lnTo>
                  <a:lnTo>
                    <a:pt x="721245" y="282591"/>
                  </a:lnTo>
                  <a:lnTo>
                    <a:pt x="710036" y="285273"/>
                  </a:lnTo>
                  <a:lnTo>
                    <a:pt x="705659" y="285777"/>
                  </a:lnTo>
                  <a:lnTo>
                    <a:pt x="704378" y="284998"/>
                  </a:lnTo>
                  <a:lnTo>
                    <a:pt x="702615" y="282986"/>
                  </a:lnTo>
                  <a:lnTo>
                    <a:pt x="702891" y="281968"/>
                  </a:lnTo>
                  <a:lnTo>
                    <a:pt x="706231" y="278893"/>
                  </a:lnTo>
                  <a:lnTo>
                    <a:pt x="713689" y="275656"/>
                  </a:lnTo>
                  <a:lnTo>
                    <a:pt x="719141" y="273829"/>
                  </a:lnTo>
                  <a:lnTo>
                    <a:pt x="729963" y="271164"/>
                  </a:lnTo>
                  <a:lnTo>
                    <a:pt x="742774" y="269669"/>
                  </a:lnTo>
                  <a:lnTo>
                    <a:pt x="747564" y="268084"/>
                  </a:lnTo>
                  <a:lnTo>
                    <a:pt x="750595" y="265811"/>
                  </a:lnTo>
                  <a:lnTo>
                    <a:pt x="758933" y="262224"/>
                  </a:lnTo>
                  <a:lnTo>
                    <a:pt x="763849" y="260737"/>
                  </a:lnTo>
                  <a:close/>
                  <a:moveTo>
                    <a:pt x="1089291" y="256815"/>
                  </a:moveTo>
                  <a:lnTo>
                    <a:pt x="1100626" y="257343"/>
                  </a:lnTo>
                  <a:lnTo>
                    <a:pt x="1106040" y="258063"/>
                  </a:lnTo>
                  <a:lnTo>
                    <a:pt x="1111441" y="259474"/>
                  </a:lnTo>
                  <a:lnTo>
                    <a:pt x="1117363" y="261562"/>
                  </a:lnTo>
                  <a:lnTo>
                    <a:pt x="1126205" y="263412"/>
                  </a:lnTo>
                  <a:lnTo>
                    <a:pt x="1129039" y="264633"/>
                  </a:lnTo>
                  <a:lnTo>
                    <a:pt x="1134364" y="268521"/>
                  </a:lnTo>
                  <a:lnTo>
                    <a:pt x="1134939" y="269753"/>
                  </a:lnTo>
                  <a:lnTo>
                    <a:pt x="1134588" y="270979"/>
                  </a:lnTo>
                  <a:lnTo>
                    <a:pt x="1135907" y="272081"/>
                  </a:lnTo>
                  <a:lnTo>
                    <a:pt x="1141891" y="273533"/>
                  </a:lnTo>
                  <a:lnTo>
                    <a:pt x="1152220" y="272897"/>
                  </a:lnTo>
                  <a:lnTo>
                    <a:pt x="1155977" y="273953"/>
                  </a:lnTo>
                  <a:lnTo>
                    <a:pt x="1165656" y="277682"/>
                  </a:lnTo>
                  <a:lnTo>
                    <a:pt x="1168594" y="279881"/>
                  </a:lnTo>
                  <a:lnTo>
                    <a:pt x="1169295" y="281542"/>
                  </a:lnTo>
                  <a:lnTo>
                    <a:pt x="1169310" y="282386"/>
                  </a:lnTo>
                  <a:lnTo>
                    <a:pt x="1166096" y="284187"/>
                  </a:lnTo>
                  <a:lnTo>
                    <a:pt x="1159655" y="286941"/>
                  </a:lnTo>
                  <a:lnTo>
                    <a:pt x="1158099" y="289012"/>
                  </a:lnTo>
                  <a:lnTo>
                    <a:pt x="1163843" y="291597"/>
                  </a:lnTo>
                  <a:lnTo>
                    <a:pt x="1166757" y="293895"/>
                  </a:lnTo>
                  <a:lnTo>
                    <a:pt x="1168070" y="295536"/>
                  </a:lnTo>
                  <a:lnTo>
                    <a:pt x="1168115" y="297223"/>
                  </a:lnTo>
                  <a:lnTo>
                    <a:pt x="1164241" y="301771"/>
                  </a:lnTo>
                  <a:lnTo>
                    <a:pt x="1161400" y="303109"/>
                  </a:lnTo>
                  <a:lnTo>
                    <a:pt x="1157053" y="302964"/>
                  </a:lnTo>
                  <a:lnTo>
                    <a:pt x="1154997" y="303378"/>
                  </a:lnTo>
                  <a:lnTo>
                    <a:pt x="1149439" y="305497"/>
                  </a:lnTo>
                  <a:lnTo>
                    <a:pt x="1140799" y="307520"/>
                  </a:lnTo>
                  <a:lnTo>
                    <a:pt x="1129000" y="308352"/>
                  </a:lnTo>
                  <a:lnTo>
                    <a:pt x="1125801" y="309597"/>
                  </a:lnTo>
                  <a:lnTo>
                    <a:pt x="1119944" y="311636"/>
                  </a:lnTo>
                  <a:lnTo>
                    <a:pt x="1115997" y="311957"/>
                  </a:lnTo>
                  <a:lnTo>
                    <a:pt x="1114708" y="310790"/>
                  </a:lnTo>
                  <a:lnTo>
                    <a:pt x="1114117" y="309065"/>
                  </a:lnTo>
                  <a:lnTo>
                    <a:pt x="1114418" y="307872"/>
                  </a:lnTo>
                  <a:lnTo>
                    <a:pt x="1115251" y="306391"/>
                  </a:lnTo>
                  <a:lnTo>
                    <a:pt x="1113369" y="305003"/>
                  </a:lnTo>
                  <a:lnTo>
                    <a:pt x="1104917" y="302337"/>
                  </a:lnTo>
                  <a:lnTo>
                    <a:pt x="1099993" y="298615"/>
                  </a:lnTo>
                  <a:lnTo>
                    <a:pt x="1099294" y="297443"/>
                  </a:lnTo>
                  <a:lnTo>
                    <a:pt x="1099047" y="296402"/>
                  </a:lnTo>
                  <a:lnTo>
                    <a:pt x="1109990" y="295709"/>
                  </a:lnTo>
                  <a:lnTo>
                    <a:pt x="1114698" y="294957"/>
                  </a:lnTo>
                  <a:lnTo>
                    <a:pt x="1116791" y="293745"/>
                  </a:lnTo>
                  <a:lnTo>
                    <a:pt x="1117137" y="293040"/>
                  </a:lnTo>
                  <a:lnTo>
                    <a:pt x="1115042" y="292733"/>
                  </a:lnTo>
                  <a:lnTo>
                    <a:pt x="1107544" y="290214"/>
                  </a:lnTo>
                  <a:lnTo>
                    <a:pt x="1094966" y="288706"/>
                  </a:lnTo>
                  <a:lnTo>
                    <a:pt x="1094367" y="286957"/>
                  </a:lnTo>
                  <a:lnTo>
                    <a:pt x="1089123" y="283451"/>
                  </a:lnTo>
                  <a:lnTo>
                    <a:pt x="1088622" y="280113"/>
                  </a:lnTo>
                  <a:lnTo>
                    <a:pt x="1087481" y="279190"/>
                  </a:lnTo>
                  <a:lnTo>
                    <a:pt x="1083914" y="277739"/>
                  </a:lnTo>
                  <a:lnTo>
                    <a:pt x="1083388" y="277260"/>
                  </a:lnTo>
                  <a:lnTo>
                    <a:pt x="1082332" y="275102"/>
                  </a:lnTo>
                  <a:lnTo>
                    <a:pt x="1082170" y="273921"/>
                  </a:lnTo>
                  <a:lnTo>
                    <a:pt x="1082375" y="272848"/>
                  </a:lnTo>
                  <a:lnTo>
                    <a:pt x="1088849" y="270578"/>
                  </a:lnTo>
                  <a:lnTo>
                    <a:pt x="1087945" y="269005"/>
                  </a:lnTo>
                  <a:lnTo>
                    <a:pt x="1083028" y="263117"/>
                  </a:lnTo>
                  <a:lnTo>
                    <a:pt x="1081737" y="259834"/>
                  </a:lnTo>
                  <a:lnTo>
                    <a:pt x="1081944" y="258587"/>
                  </a:lnTo>
                  <a:lnTo>
                    <a:pt x="1085000" y="256854"/>
                  </a:lnTo>
                  <a:close/>
                  <a:moveTo>
                    <a:pt x="945686" y="225995"/>
                  </a:moveTo>
                  <a:lnTo>
                    <a:pt x="952794" y="228063"/>
                  </a:lnTo>
                  <a:lnTo>
                    <a:pt x="958738" y="229215"/>
                  </a:lnTo>
                  <a:lnTo>
                    <a:pt x="965768" y="232852"/>
                  </a:lnTo>
                  <a:lnTo>
                    <a:pt x="972413" y="240540"/>
                  </a:lnTo>
                  <a:lnTo>
                    <a:pt x="972752" y="241522"/>
                  </a:lnTo>
                  <a:lnTo>
                    <a:pt x="972786" y="242796"/>
                  </a:lnTo>
                  <a:lnTo>
                    <a:pt x="972518" y="244363"/>
                  </a:lnTo>
                  <a:lnTo>
                    <a:pt x="971638" y="246395"/>
                  </a:lnTo>
                  <a:lnTo>
                    <a:pt x="970431" y="247614"/>
                  </a:lnTo>
                  <a:lnTo>
                    <a:pt x="973851" y="249095"/>
                  </a:lnTo>
                  <a:lnTo>
                    <a:pt x="974228" y="249816"/>
                  </a:lnTo>
                  <a:lnTo>
                    <a:pt x="973923" y="251455"/>
                  </a:lnTo>
                  <a:lnTo>
                    <a:pt x="974343" y="252662"/>
                  </a:lnTo>
                  <a:lnTo>
                    <a:pt x="976412" y="251468"/>
                  </a:lnTo>
                  <a:lnTo>
                    <a:pt x="978181" y="249644"/>
                  </a:lnTo>
                  <a:lnTo>
                    <a:pt x="978625" y="248470"/>
                  </a:lnTo>
                  <a:lnTo>
                    <a:pt x="978984" y="245310"/>
                  </a:lnTo>
                  <a:lnTo>
                    <a:pt x="984172" y="243731"/>
                  </a:lnTo>
                  <a:lnTo>
                    <a:pt x="989622" y="241431"/>
                  </a:lnTo>
                  <a:lnTo>
                    <a:pt x="992184" y="240914"/>
                  </a:lnTo>
                  <a:lnTo>
                    <a:pt x="996467" y="241448"/>
                  </a:lnTo>
                  <a:lnTo>
                    <a:pt x="1006728" y="246892"/>
                  </a:lnTo>
                  <a:lnTo>
                    <a:pt x="1010644" y="247414"/>
                  </a:lnTo>
                  <a:lnTo>
                    <a:pt x="1012066" y="248053"/>
                  </a:lnTo>
                  <a:lnTo>
                    <a:pt x="1013367" y="249317"/>
                  </a:lnTo>
                  <a:lnTo>
                    <a:pt x="1013456" y="250682"/>
                  </a:lnTo>
                  <a:lnTo>
                    <a:pt x="1011371" y="253843"/>
                  </a:lnTo>
                  <a:lnTo>
                    <a:pt x="1010570" y="255765"/>
                  </a:lnTo>
                  <a:lnTo>
                    <a:pt x="1011061" y="257014"/>
                  </a:lnTo>
                  <a:lnTo>
                    <a:pt x="1016414" y="258062"/>
                  </a:lnTo>
                  <a:lnTo>
                    <a:pt x="1028623" y="255970"/>
                  </a:lnTo>
                  <a:lnTo>
                    <a:pt x="1039292" y="261095"/>
                  </a:lnTo>
                  <a:lnTo>
                    <a:pt x="1045198" y="267170"/>
                  </a:lnTo>
                  <a:lnTo>
                    <a:pt x="1049569" y="269205"/>
                  </a:lnTo>
                  <a:lnTo>
                    <a:pt x="1050262" y="270303"/>
                  </a:lnTo>
                  <a:lnTo>
                    <a:pt x="1049020" y="271338"/>
                  </a:lnTo>
                  <a:lnTo>
                    <a:pt x="1047776" y="274177"/>
                  </a:lnTo>
                  <a:lnTo>
                    <a:pt x="1044272" y="276291"/>
                  </a:lnTo>
                  <a:lnTo>
                    <a:pt x="1043525" y="277241"/>
                  </a:lnTo>
                  <a:lnTo>
                    <a:pt x="1045393" y="279745"/>
                  </a:lnTo>
                  <a:lnTo>
                    <a:pt x="1045532" y="281318"/>
                  </a:lnTo>
                  <a:lnTo>
                    <a:pt x="1045290" y="283496"/>
                  </a:lnTo>
                  <a:lnTo>
                    <a:pt x="1045971" y="284718"/>
                  </a:lnTo>
                  <a:lnTo>
                    <a:pt x="1050761" y="286021"/>
                  </a:lnTo>
                  <a:lnTo>
                    <a:pt x="1061686" y="294925"/>
                  </a:lnTo>
                  <a:lnTo>
                    <a:pt x="1063675" y="297403"/>
                  </a:lnTo>
                  <a:lnTo>
                    <a:pt x="1064906" y="300493"/>
                  </a:lnTo>
                  <a:lnTo>
                    <a:pt x="1065033" y="301538"/>
                  </a:lnTo>
                  <a:lnTo>
                    <a:pt x="1063471" y="303247"/>
                  </a:lnTo>
                  <a:lnTo>
                    <a:pt x="1061767" y="308080"/>
                  </a:lnTo>
                  <a:lnTo>
                    <a:pt x="1060802" y="309182"/>
                  </a:lnTo>
                  <a:lnTo>
                    <a:pt x="1056368" y="310124"/>
                  </a:lnTo>
                  <a:lnTo>
                    <a:pt x="1048309" y="310973"/>
                  </a:lnTo>
                  <a:lnTo>
                    <a:pt x="1040784" y="312622"/>
                  </a:lnTo>
                  <a:lnTo>
                    <a:pt x="1032702" y="310502"/>
                  </a:lnTo>
                  <a:lnTo>
                    <a:pt x="1024806" y="307280"/>
                  </a:lnTo>
                  <a:lnTo>
                    <a:pt x="1022417" y="305158"/>
                  </a:lnTo>
                  <a:lnTo>
                    <a:pt x="1020448" y="302588"/>
                  </a:lnTo>
                  <a:lnTo>
                    <a:pt x="1019933" y="301584"/>
                  </a:lnTo>
                  <a:lnTo>
                    <a:pt x="1019139" y="297443"/>
                  </a:lnTo>
                  <a:lnTo>
                    <a:pt x="1018718" y="296559"/>
                  </a:lnTo>
                  <a:lnTo>
                    <a:pt x="1015384" y="294227"/>
                  </a:lnTo>
                  <a:lnTo>
                    <a:pt x="1012430" y="290730"/>
                  </a:lnTo>
                  <a:lnTo>
                    <a:pt x="1006753" y="290426"/>
                  </a:lnTo>
                  <a:lnTo>
                    <a:pt x="993277" y="286861"/>
                  </a:lnTo>
                  <a:lnTo>
                    <a:pt x="987509" y="286010"/>
                  </a:lnTo>
                  <a:lnTo>
                    <a:pt x="981740" y="286260"/>
                  </a:lnTo>
                  <a:lnTo>
                    <a:pt x="973562" y="287698"/>
                  </a:lnTo>
                  <a:lnTo>
                    <a:pt x="972024" y="287313"/>
                  </a:lnTo>
                  <a:lnTo>
                    <a:pt x="970628" y="286247"/>
                  </a:lnTo>
                  <a:lnTo>
                    <a:pt x="969377" y="284502"/>
                  </a:lnTo>
                  <a:lnTo>
                    <a:pt x="969066" y="283215"/>
                  </a:lnTo>
                  <a:lnTo>
                    <a:pt x="970409" y="280957"/>
                  </a:lnTo>
                  <a:lnTo>
                    <a:pt x="946424" y="283801"/>
                  </a:lnTo>
                  <a:lnTo>
                    <a:pt x="939596" y="287087"/>
                  </a:lnTo>
                  <a:lnTo>
                    <a:pt x="930019" y="286564"/>
                  </a:lnTo>
                  <a:lnTo>
                    <a:pt x="925242" y="285177"/>
                  </a:lnTo>
                  <a:lnTo>
                    <a:pt x="918879" y="282030"/>
                  </a:lnTo>
                  <a:lnTo>
                    <a:pt x="915943" y="279287"/>
                  </a:lnTo>
                  <a:lnTo>
                    <a:pt x="913254" y="275591"/>
                  </a:lnTo>
                  <a:lnTo>
                    <a:pt x="912998" y="272791"/>
                  </a:lnTo>
                  <a:lnTo>
                    <a:pt x="915176" y="270895"/>
                  </a:lnTo>
                  <a:lnTo>
                    <a:pt x="917446" y="269769"/>
                  </a:lnTo>
                  <a:lnTo>
                    <a:pt x="919806" y="269408"/>
                  </a:lnTo>
                  <a:lnTo>
                    <a:pt x="932815" y="271611"/>
                  </a:lnTo>
                  <a:lnTo>
                    <a:pt x="944216" y="272733"/>
                  </a:lnTo>
                  <a:lnTo>
                    <a:pt x="949131" y="271606"/>
                  </a:lnTo>
                  <a:lnTo>
                    <a:pt x="951361" y="268599"/>
                  </a:lnTo>
                  <a:lnTo>
                    <a:pt x="948688" y="266982"/>
                  </a:lnTo>
                  <a:lnTo>
                    <a:pt x="937712" y="266320"/>
                  </a:lnTo>
                  <a:lnTo>
                    <a:pt x="940053" y="264734"/>
                  </a:lnTo>
                  <a:lnTo>
                    <a:pt x="949329" y="263101"/>
                  </a:lnTo>
                  <a:lnTo>
                    <a:pt x="954175" y="260665"/>
                  </a:lnTo>
                  <a:lnTo>
                    <a:pt x="953242" y="259812"/>
                  </a:lnTo>
                  <a:lnTo>
                    <a:pt x="950454" y="258833"/>
                  </a:lnTo>
                  <a:lnTo>
                    <a:pt x="938019" y="259118"/>
                  </a:lnTo>
                  <a:lnTo>
                    <a:pt x="933550" y="258153"/>
                  </a:lnTo>
                  <a:lnTo>
                    <a:pt x="933307" y="257352"/>
                  </a:lnTo>
                  <a:lnTo>
                    <a:pt x="934310" y="256326"/>
                  </a:lnTo>
                  <a:lnTo>
                    <a:pt x="941394" y="251356"/>
                  </a:lnTo>
                  <a:lnTo>
                    <a:pt x="941102" y="250452"/>
                  </a:lnTo>
                  <a:lnTo>
                    <a:pt x="938058" y="248821"/>
                  </a:lnTo>
                  <a:lnTo>
                    <a:pt x="935381" y="246700"/>
                  </a:lnTo>
                  <a:lnTo>
                    <a:pt x="934387" y="246458"/>
                  </a:lnTo>
                  <a:lnTo>
                    <a:pt x="928229" y="248355"/>
                  </a:lnTo>
                  <a:lnTo>
                    <a:pt x="919577" y="255656"/>
                  </a:lnTo>
                  <a:lnTo>
                    <a:pt x="917513" y="256711"/>
                  </a:lnTo>
                  <a:lnTo>
                    <a:pt x="915534" y="256652"/>
                  </a:lnTo>
                  <a:lnTo>
                    <a:pt x="913640" y="255476"/>
                  </a:lnTo>
                  <a:lnTo>
                    <a:pt x="913657" y="253945"/>
                  </a:lnTo>
                  <a:lnTo>
                    <a:pt x="915587" y="252057"/>
                  </a:lnTo>
                  <a:lnTo>
                    <a:pt x="919597" y="246390"/>
                  </a:lnTo>
                  <a:lnTo>
                    <a:pt x="919306" y="244366"/>
                  </a:lnTo>
                  <a:lnTo>
                    <a:pt x="915385" y="243014"/>
                  </a:lnTo>
                  <a:lnTo>
                    <a:pt x="905054" y="244023"/>
                  </a:lnTo>
                  <a:lnTo>
                    <a:pt x="899302" y="244061"/>
                  </a:lnTo>
                  <a:lnTo>
                    <a:pt x="898412" y="242457"/>
                  </a:lnTo>
                  <a:lnTo>
                    <a:pt x="898173" y="239458"/>
                  </a:lnTo>
                  <a:lnTo>
                    <a:pt x="898404" y="236634"/>
                  </a:lnTo>
                  <a:lnTo>
                    <a:pt x="899838" y="232208"/>
                  </a:lnTo>
                  <a:lnTo>
                    <a:pt x="901837" y="228822"/>
                  </a:lnTo>
                  <a:lnTo>
                    <a:pt x="903054" y="227611"/>
                  </a:lnTo>
                  <a:lnTo>
                    <a:pt x="916755" y="228325"/>
                  </a:lnTo>
                  <a:lnTo>
                    <a:pt x="939138" y="226216"/>
                  </a:lnTo>
                  <a:close/>
                  <a:moveTo>
                    <a:pt x="1046482" y="180507"/>
                  </a:moveTo>
                  <a:lnTo>
                    <a:pt x="1054250" y="181533"/>
                  </a:lnTo>
                  <a:lnTo>
                    <a:pt x="1061137" y="181661"/>
                  </a:lnTo>
                  <a:lnTo>
                    <a:pt x="1064601" y="182421"/>
                  </a:lnTo>
                  <a:lnTo>
                    <a:pt x="1067693" y="184123"/>
                  </a:lnTo>
                  <a:lnTo>
                    <a:pt x="1069506" y="186697"/>
                  </a:lnTo>
                  <a:lnTo>
                    <a:pt x="1070306" y="189952"/>
                  </a:lnTo>
                  <a:lnTo>
                    <a:pt x="1070881" y="197466"/>
                  </a:lnTo>
                  <a:lnTo>
                    <a:pt x="1070352" y="201234"/>
                  </a:lnTo>
                  <a:lnTo>
                    <a:pt x="1069063" y="204010"/>
                  </a:lnTo>
                  <a:lnTo>
                    <a:pt x="1067932" y="204664"/>
                  </a:lnTo>
                  <a:lnTo>
                    <a:pt x="1066411" y="204757"/>
                  </a:lnTo>
                  <a:lnTo>
                    <a:pt x="1059482" y="202586"/>
                  </a:lnTo>
                  <a:lnTo>
                    <a:pt x="1057371" y="201310"/>
                  </a:lnTo>
                  <a:lnTo>
                    <a:pt x="1057256" y="200228"/>
                  </a:lnTo>
                  <a:lnTo>
                    <a:pt x="1056579" y="198119"/>
                  </a:lnTo>
                  <a:lnTo>
                    <a:pt x="1051947" y="195376"/>
                  </a:lnTo>
                  <a:lnTo>
                    <a:pt x="1043280" y="195817"/>
                  </a:lnTo>
                  <a:lnTo>
                    <a:pt x="1039668" y="195556"/>
                  </a:lnTo>
                  <a:lnTo>
                    <a:pt x="1038224" y="194737"/>
                  </a:lnTo>
                  <a:lnTo>
                    <a:pt x="1037322" y="193559"/>
                  </a:lnTo>
                  <a:lnTo>
                    <a:pt x="1036470" y="188785"/>
                  </a:lnTo>
                  <a:lnTo>
                    <a:pt x="1036614" y="187098"/>
                  </a:lnTo>
                  <a:lnTo>
                    <a:pt x="1037675" y="184162"/>
                  </a:lnTo>
                  <a:lnTo>
                    <a:pt x="1038315" y="183452"/>
                  </a:lnTo>
                  <a:lnTo>
                    <a:pt x="1044667" y="180736"/>
                  </a:lnTo>
                  <a:close/>
                  <a:moveTo>
                    <a:pt x="1208723" y="108351"/>
                  </a:moveTo>
                  <a:lnTo>
                    <a:pt x="1216282" y="109442"/>
                  </a:lnTo>
                  <a:lnTo>
                    <a:pt x="1232056" y="113530"/>
                  </a:lnTo>
                  <a:lnTo>
                    <a:pt x="1237147" y="115611"/>
                  </a:lnTo>
                  <a:lnTo>
                    <a:pt x="1242571" y="119092"/>
                  </a:lnTo>
                  <a:lnTo>
                    <a:pt x="1245420" y="122242"/>
                  </a:lnTo>
                  <a:lnTo>
                    <a:pt x="1248730" y="127232"/>
                  </a:lnTo>
                  <a:lnTo>
                    <a:pt x="1260965" y="139077"/>
                  </a:lnTo>
                  <a:lnTo>
                    <a:pt x="1266507" y="143366"/>
                  </a:lnTo>
                  <a:lnTo>
                    <a:pt x="1275915" y="148683"/>
                  </a:lnTo>
                  <a:lnTo>
                    <a:pt x="1277086" y="150593"/>
                  </a:lnTo>
                  <a:lnTo>
                    <a:pt x="1277194" y="151395"/>
                  </a:lnTo>
                  <a:lnTo>
                    <a:pt x="1276926" y="154222"/>
                  </a:lnTo>
                  <a:lnTo>
                    <a:pt x="1279607" y="155268"/>
                  </a:lnTo>
                  <a:lnTo>
                    <a:pt x="1287712" y="156895"/>
                  </a:lnTo>
                  <a:lnTo>
                    <a:pt x="1296733" y="159820"/>
                  </a:lnTo>
                  <a:lnTo>
                    <a:pt x="1298356" y="159654"/>
                  </a:lnTo>
                  <a:lnTo>
                    <a:pt x="1301501" y="157922"/>
                  </a:lnTo>
                  <a:lnTo>
                    <a:pt x="1305280" y="157449"/>
                  </a:lnTo>
                  <a:lnTo>
                    <a:pt x="1310243" y="157865"/>
                  </a:lnTo>
                  <a:lnTo>
                    <a:pt x="1312613" y="159104"/>
                  </a:lnTo>
                  <a:lnTo>
                    <a:pt x="1314355" y="160923"/>
                  </a:lnTo>
                  <a:lnTo>
                    <a:pt x="1315080" y="162226"/>
                  </a:lnTo>
                  <a:lnTo>
                    <a:pt x="1315184" y="163233"/>
                  </a:lnTo>
                  <a:lnTo>
                    <a:pt x="1313405" y="165182"/>
                  </a:lnTo>
                  <a:lnTo>
                    <a:pt x="1313602" y="165937"/>
                  </a:lnTo>
                  <a:lnTo>
                    <a:pt x="1314665" y="166845"/>
                  </a:lnTo>
                  <a:lnTo>
                    <a:pt x="1314853" y="167907"/>
                  </a:lnTo>
                  <a:lnTo>
                    <a:pt x="1313068" y="172057"/>
                  </a:lnTo>
                  <a:lnTo>
                    <a:pt x="1313557" y="173577"/>
                  </a:lnTo>
                  <a:lnTo>
                    <a:pt x="1318099" y="177346"/>
                  </a:lnTo>
                  <a:lnTo>
                    <a:pt x="1322205" y="179222"/>
                  </a:lnTo>
                  <a:lnTo>
                    <a:pt x="1330313" y="181258"/>
                  </a:lnTo>
                  <a:lnTo>
                    <a:pt x="1335595" y="181111"/>
                  </a:lnTo>
                  <a:lnTo>
                    <a:pt x="1338874" y="182400"/>
                  </a:lnTo>
                  <a:lnTo>
                    <a:pt x="1338952" y="181604"/>
                  </a:lnTo>
                  <a:lnTo>
                    <a:pt x="1337467" y="179204"/>
                  </a:lnTo>
                  <a:lnTo>
                    <a:pt x="1334289" y="175791"/>
                  </a:lnTo>
                  <a:lnTo>
                    <a:pt x="1328413" y="174033"/>
                  </a:lnTo>
                  <a:lnTo>
                    <a:pt x="1327557" y="172029"/>
                  </a:lnTo>
                  <a:lnTo>
                    <a:pt x="1327121" y="168612"/>
                  </a:lnTo>
                  <a:lnTo>
                    <a:pt x="1327623" y="166357"/>
                  </a:lnTo>
                  <a:lnTo>
                    <a:pt x="1330636" y="164533"/>
                  </a:lnTo>
                  <a:lnTo>
                    <a:pt x="1333183" y="163945"/>
                  </a:lnTo>
                  <a:lnTo>
                    <a:pt x="1340768" y="163862"/>
                  </a:lnTo>
                  <a:lnTo>
                    <a:pt x="1344958" y="164673"/>
                  </a:lnTo>
                  <a:lnTo>
                    <a:pt x="1352184" y="167219"/>
                  </a:lnTo>
                  <a:lnTo>
                    <a:pt x="1352932" y="168603"/>
                  </a:lnTo>
                  <a:lnTo>
                    <a:pt x="1353319" y="171337"/>
                  </a:lnTo>
                  <a:lnTo>
                    <a:pt x="1353620" y="176822"/>
                  </a:lnTo>
                  <a:lnTo>
                    <a:pt x="1353440" y="178001"/>
                  </a:lnTo>
                  <a:lnTo>
                    <a:pt x="1347262" y="181100"/>
                  </a:lnTo>
                  <a:lnTo>
                    <a:pt x="1345913" y="183200"/>
                  </a:lnTo>
                  <a:lnTo>
                    <a:pt x="1347476" y="183791"/>
                  </a:lnTo>
                  <a:lnTo>
                    <a:pt x="1352783" y="184258"/>
                  </a:lnTo>
                  <a:lnTo>
                    <a:pt x="1360969" y="186165"/>
                  </a:lnTo>
                  <a:lnTo>
                    <a:pt x="1364177" y="186358"/>
                  </a:lnTo>
                  <a:lnTo>
                    <a:pt x="1367368" y="190770"/>
                  </a:lnTo>
                  <a:lnTo>
                    <a:pt x="1369878" y="194967"/>
                  </a:lnTo>
                  <a:lnTo>
                    <a:pt x="1368044" y="200083"/>
                  </a:lnTo>
                  <a:lnTo>
                    <a:pt x="1365642" y="208278"/>
                  </a:lnTo>
                  <a:lnTo>
                    <a:pt x="1363715" y="210152"/>
                  </a:lnTo>
                  <a:lnTo>
                    <a:pt x="1361816" y="212997"/>
                  </a:lnTo>
                  <a:lnTo>
                    <a:pt x="1363141" y="213514"/>
                  </a:lnTo>
                  <a:lnTo>
                    <a:pt x="1371195" y="212381"/>
                  </a:lnTo>
                  <a:lnTo>
                    <a:pt x="1372823" y="211996"/>
                  </a:lnTo>
                  <a:lnTo>
                    <a:pt x="1378205" y="209217"/>
                  </a:lnTo>
                  <a:lnTo>
                    <a:pt x="1386112" y="209864"/>
                  </a:lnTo>
                  <a:lnTo>
                    <a:pt x="1388768" y="210582"/>
                  </a:lnTo>
                  <a:lnTo>
                    <a:pt x="1390080" y="211554"/>
                  </a:lnTo>
                  <a:lnTo>
                    <a:pt x="1392487" y="214652"/>
                  </a:lnTo>
                  <a:lnTo>
                    <a:pt x="1394478" y="218747"/>
                  </a:lnTo>
                  <a:lnTo>
                    <a:pt x="1395950" y="218374"/>
                  </a:lnTo>
                  <a:lnTo>
                    <a:pt x="1399630" y="213405"/>
                  </a:lnTo>
                  <a:lnTo>
                    <a:pt x="1400972" y="212177"/>
                  </a:lnTo>
                  <a:lnTo>
                    <a:pt x="1402805" y="210990"/>
                  </a:lnTo>
                  <a:lnTo>
                    <a:pt x="1403585" y="211210"/>
                  </a:lnTo>
                  <a:lnTo>
                    <a:pt x="1407299" y="215845"/>
                  </a:lnTo>
                  <a:lnTo>
                    <a:pt x="1415560" y="223994"/>
                  </a:lnTo>
                  <a:lnTo>
                    <a:pt x="1418396" y="227350"/>
                  </a:lnTo>
                  <a:lnTo>
                    <a:pt x="1418944" y="229824"/>
                  </a:lnTo>
                  <a:lnTo>
                    <a:pt x="1415414" y="232702"/>
                  </a:lnTo>
                  <a:lnTo>
                    <a:pt x="1412664" y="234139"/>
                  </a:lnTo>
                  <a:lnTo>
                    <a:pt x="1392332" y="240259"/>
                  </a:lnTo>
                  <a:lnTo>
                    <a:pt x="1383232" y="243714"/>
                  </a:lnTo>
                  <a:lnTo>
                    <a:pt x="1378695" y="246379"/>
                  </a:lnTo>
                  <a:lnTo>
                    <a:pt x="1376379" y="247268"/>
                  </a:lnTo>
                  <a:lnTo>
                    <a:pt x="1371494" y="246856"/>
                  </a:lnTo>
                  <a:lnTo>
                    <a:pt x="1370385" y="247301"/>
                  </a:lnTo>
                  <a:lnTo>
                    <a:pt x="1368882" y="251581"/>
                  </a:lnTo>
                  <a:lnTo>
                    <a:pt x="1367261" y="253406"/>
                  </a:lnTo>
                  <a:lnTo>
                    <a:pt x="1363052" y="256353"/>
                  </a:lnTo>
                  <a:lnTo>
                    <a:pt x="1357160" y="261679"/>
                  </a:lnTo>
                  <a:lnTo>
                    <a:pt x="1353645" y="264012"/>
                  </a:lnTo>
                  <a:lnTo>
                    <a:pt x="1347455" y="262310"/>
                  </a:lnTo>
                  <a:lnTo>
                    <a:pt x="1345913" y="259824"/>
                  </a:lnTo>
                  <a:lnTo>
                    <a:pt x="1345053" y="254218"/>
                  </a:lnTo>
                  <a:lnTo>
                    <a:pt x="1344938" y="251892"/>
                  </a:lnTo>
                  <a:lnTo>
                    <a:pt x="1345131" y="250662"/>
                  </a:lnTo>
                  <a:lnTo>
                    <a:pt x="1345906" y="248667"/>
                  </a:lnTo>
                  <a:lnTo>
                    <a:pt x="1348589" y="243846"/>
                  </a:lnTo>
                  <a:lnTo>
                    <a:pt x="1348270" y="243340"/>
                  </a:lnTo>
                  <a:lnTo>
                    <a:pt x="1347028" y="243742"/>
                  </a:lnTo>
                  <a:lnTo>
                    <a:pt x="1342925" y="246153"/>
                  </a:lnTo>
                  <a:lnTo>
                    <a:pt x="1341304" y="247419"/>
                  </a:lnTo>
                  <a:lnTo>
                    <a:pt x="1339790" y="249627"/>
                  </a:lnTo>
                  <a:lnTo>
                    <a:pt x="1339120" y="253332"/>
                  </a:lnTo>
                  <a:lnTo>
                    <a:pt x="1339718" y="260152"/>
                  </a:lnTo>
                  <a:lnTo>
                    <a:pt x="1339134" y="262893"/>
                  </a:lnTo>
                  <a:lnTo>
                    <a:pt x="1337509" y="264254"/>
                  </a:lnTo>
                  <a:lnTo>
                    <a:pt x="1338165" y="265310"/>
                  </a:lnTo>
                  <a:lnTo>
                    <a:pt x="1343005" y="266762"/>
                  </a:lnTo>
                  <a:lnTo>
                    <a:pt x="1343864" y="267398"/>
                  </a:lnTo>
                  <a:lnTo>
                    <a:pt x="1344400" y="268555"/>
                  </a:lnTo>
                  <a:lnTo>
                    <a:pt x="1344611" y="270223"/>
                  </a:lnTo>
                  <a:lnTo>
                    <a:pt x="1344378" y="271759"/>
                  </a:lnTo>
                  <a:lnTo>
                    <a:pt x="1342924" y="274126"/>
                  </a:lnTo>
                  <a:lnTo>
                    <a:pt x="1340201" y="275087"/>
                  </a:lnTo>
                  <a:lnTo>
                    <a:pt x="1336728" y="274009"/>
                  </a:lnTo>
                  <a:lnTo>
                    <a:pt x="1329220" y="268156"/>
                  </a:lnTo>
                  <a:lnTo>
                    <a:pt x="1325959" y="268480"/>
                  </a:lnTo>
                  <a:lnTo>
                    <a:pt x="1325139" y="269151"/>
                  </a:lnTo>
                  <a:lnTo>
                    <a:pt x="1325840" y="271240"/>
                  </a:lnTo>
                  <a:lnTo>
                    <a:pt x="1328145" y="275917"/>
                  </a:lnTo>
                  <a:lnTo>
                    <a:pt x="1328565" y="279799"/>
                  </a:lnTo>
                  <a:lnTo>
                    <a:pt x="1327502" y="283019"/>
                  </a:lnTo>
                  <a:lnTo>
                    <a:pt x="1325358" y="288095"/>
                  </a:lnTo>
                  <a:lnTo>
                    <a:pt x="1323886" y="290807"/>
                  </a:lnTo>
                  <a:lnTo>
                    <a:pt x="1323090" y="291168"/>
                  </a:lnTo>
                  <a:lnTo>
                    <a:pt x="1319357" y="291248"/>
                  </a:lnTo>
                  <a:lnTo>
                    <a:pt x="1316160" y="289883"/>
                  </a:lnTo>
                  <a:lnTo>
                    <a:pt x="1306669" y="281003"/>
                  </a:lnTo>
                  <a:lnTo>
                    <a:pt x="1301972" y="277205"/>
                  </a:lnTo>
                  <a:lnTo>
                    <a:pt x="1295101" y="269761"/>
                  </a:lnTo>
                  <a:lnTo>
                    <a:pt x="1293349" y="268224"/>
                  </a:lnTo>
                  <a:lnTo>
                    <a:pt x="1292290" y="267881"/>
                  </a:lnTo>
                  <a:lnTo>
                    <a:pt x="1291296" y="271087"/>
                  </a:lnTo>
                  <a:lnTo>
                    <a:pt x="1293205" y="274049"/>
                  </a:lnTo>
                  <a:lnTo>
                    <a:pt x="1299385" y="281003"/>
                  </a:lnTo>
                  <a:lnTo>
                    <a:pt x="1303077" y="286045"/>
                  </a:lnTo>
                  <a:lnTo>
                    <a:pt x="1305735" y="290211"/>
                  </a:lnTo>
                  <a:lnTo>
                    <a:pt x="1306167" y="291936"/>
                  </a:lnTo>
                  <a:lnTo>
                    <a:pt x="1305257" y="292611"/>
                  </a:lnTo>
                  <a:lnTo>
                    <a:pt x="1303893" y="292228"/>
                  </a:lnTo>
                  <a:lnTo>
                    <a:pt x="1302076" y="290775"/>
                  </a:lnTo>
                  <a:lnTo>
                    <a:pt x="1296449" y="288321"/>
                  </a:lnTo>
                  <a:lnTo>
                    <a:pt x="1294113" y="286952"/>
                  </a:lnTo>
                  <a:lnTo>
                    <a:pt x="1292585" y="285363"/>
                  </a:lnTo>
                  <a:lnTo>
                    <a:pt x="1289780" y="284159"/>
                  </a:lnTo>
                  <a:lnTo>
                    <a:pt x="1285694" y="283334"/>
                  </a:lnTo>
                  <a:lnTo>
                    <a:pt x="1281591" y="283175"/>
                  </a:lnTo>
                  <a:lnTo>
                    <a:pt x="1277470" y="283682"/>
                  </a:lnTo>
                  <a:lnTo>
                    <a:pt x="1276688" y="284456"/>
                  </a:lnTo>
                  <a:lnTo>
                    <a:pt x="1281333" y="286615"/>
                  </a:lnTo>
                  <a:lnTo>
                    <a:pt x="1282950" y="287820"/>
                  </a:lnTo>
                  <a:lnTo>
                    <a:pt x="1284154" y="289359"/>
                  </a:lnTo>
                  <a:lnTo>
                    <a:pt x="1284945" y="291229"/>
                  </a:lnTo>
                  <a:lnTo>
                    <a:pt x="1283419" y="292411"/>
                  </a:lnTo>
                  <a:lnTo>
                    <a:pt x="1277651" y="293148"/>
                  </a:lnTo>
                  <a:lnTo>
                    <a:pt x="1269951" y="292679"/>
                  </a:lnTo>
                  <a:lnTo>
                    <a:pt x="1257487" y="291052"/>
                  </a:lnTo>
                  <a:lnTo>
                    <a:pt x="1245074" y="288362"/>
                  </a:lnTo>
                  <a:lnTo>
                    <a:pt x="1233610" y="284170"/>
                  </a:lnTo>
                  <a:lnTo>
                    <a:pt x="1225319" y="279958"/>
                  </a:lnTo>
                  <a:lnTo>
                    <a:pt x="1222039" y="277711"/>
                  </a:lnTo>
                  <a:lnTo>
                    <a:pt x="1221008" y="276029"/>
                  </a:lnTo>
                  <a:lnTo>
                    <a:pt x="1224120" y="274556"/>
                  </a:lnTo>
                  <a:lnTo>
                    <a:pt x="1234994" y="272663"/>
                  </a:lnTo>
                  <a:lnTo>
                    <a:pt x="1245892" y="271447"/>
                  </a:lnTo>
                  <a:lnTo>
                    <a:pt x="1244166" y="270390"/>
                  </a:lnTo>
                  <a:lnTo>
                    <a:pt x="1224374" y="267982"/>
                  </a:lnTo>
                  <a:lnTo>
                    <a:pt x="1217857" y="267542"/>
                  </a:lnTo>
                  <a:lnTo>
                    <a:pt x="1214387" y="268175"/>
                  </a:lnTo>
                  <a:lnTo>
                    <a:pt x="1210401" y="267800"/>
                  </a:lnTo>
                  <a:lnTo>
                    <a:pt x="1207286" y="265887"/>
                  </a:lnTo>
                  <a:lnTo>
                    <a:pt x="1203163" y="262257"/>
                  </a:lnTo>
                  <a:lnTo>
                    <a:pt x="1201074" y="259850"/>
                  </a:lnTo>
                  <a:lnTo>
                    <a:pt x="1201356" y="258908"/>
                  </a:lnTo>
                  <a:lnTo>
                    <a:pt x="1202925" y="258374"/>
                  </a:lnTo>
                  <a:lnTo>
                    <a:pt x="1211877" y="258829"/>
                  </a:lnTo>
                  <a:lnTo>
                    <a:pt x="1213108" y="258469"/>
                  </a:lnTo>
                  <a:lnTo>
                    <a:pt x="1208630" y="256656"/>
                  </a:lnTo>
                  <a:lnTo>
                    <a:pt x="1194283" y="253063"/>
                  </a:lnTo>
                  <a:lnTo>
                    <a:pt x="1188898" y="249885"/>
                  </a:lnTo>
                  <a:lnTo>
                    <a:pt x="1187910" y="248643"/>
                  </a:lnTo>
                  <a:lnTo>
                    <a:pt x="1187503" y="247419"/>
                  </a:lnTo>
                  <a:lnTo>
                    <a:pt x="1187677" y="246217"/>
                  </a:lnTo>
                  <a:lnTo>
                    <a:pt x="1193068" y="243786"/>
                  </a:lnTo>
                  <a:lnTo>
                    <a:pt x="1209709" y="238030"/>
                  </a:lnTo>
                  <a:lnTo>
                    <a:pt x="1215425" y="237134"/>
                  </a:lnTo>
                  <a:lnTo>
                    <a:pt x="1221177" y="237076"/>
                  </a:lnTo>
                  <a:lnTo>
                    <a:pt x="1225183" y="235415"/>
                  </a:lnTo>
                  <a:lnTo>
                    <a:pt x="1228642" y="229934"/>
                  </a:lnTo>
                  <a:lnTo>
                    <a:pt x="1245875" y="227959"/>
                  </a:lnTo>
                  <a:lnTo>
                    <a:pt x="1259160" y="225493"/>
                  </a:lnTo>
                  <a:lnTo>
                    <a:pt x="1260269" y="224822"/>
                  </a:lnTo>
                  <a:lnTo>
                    <a:pt x="1250311" y="225274"/>
                  </a:lnTo>
                  <a:lnTo>
                    <a:pt x="1236230" y="224780"/>
                  </a:lnTo>
                  <a:lnTo>
                    <a:pt x="1230230" y="221037"/>
                  </a:lnTo>
                  <a:lnTo>
                    <a:pt x="1226169" y="220399"/>
                  </a:lnTo>
                  <a:lnTo>
                    <a:pt x="1221676" y="220430"/>
                  </a:lnTo>
                  <a:lnTo>
                    <a:pt x="1216448" y="221605"/>
                  </a:lnTo>
                  <a:lnTo>
                    <a:pt x="1207504" y="225080"/>
                  </a:lnTo>
                  <a:lnTo>
                    <a:pt x="1203203" y="225886"/>
                  </a:lnTo>
                  <a:lnTo>
                    <a:pt x="1193500" y="229474"/>
                  </a:lnTo>
                  <a:lnTo>
                    <a:pt x="1190795" y="229220"/>
                  </a:lnTo>
                  <a:lnTo>
                    <a:pt x="1189437" y="228793"/>
                  </a:lnTo>
                  <a:lnTo>
                    <a:pt x="1189031" y="228092"/>
                  </a:lnTo>
                  <a:lnTo>
                    <a:pt x="1190783" y="225712"/>
                  </a:lnTo>
                  <a:lnTo>
                    <a:pt x="1193334" y="224083"/>
                  </a:lnTo>
                  <a:lnTo>
                    <a:pt x="1192813" y="223525"/>
                  </a:lnTo>
                  <a:lnTo>
                    <a:pt x="1189008" y="223181"/>
                  </a:lnTo>
                  <a:lnTo>
                    <a:pt x="1184600" y="223245"/>
                  </a:lnTo>
                  <a:lnTo>
                    <a:pt x="1181538" y="223808"/>
                  </a:lnTo>
                  <a:lnTo>
                    <a:pt x="1170352" y="226959"/>
                  </a:lnTo>
                  <a:lnTo>
                    <a:pt x="1165340" y="229314"/>
                  </a:lnTo>
                  <a:lnTo>
                    <a:pt x="1163832" y="229521"/>
                  </a:lnTo>
                  <a:lnTo>
                    <a:pt x="1158421" y="225843"/>
                  </a:lnTo>
                  <a:lnTo>
                    <a:pt x="1149788" y="223816"/>
                  </a:lnTo>
                  <a:lnTo>
                    <a:pt x="1147862" y="222234"/>
                  </a:lnTo>
                  <a:lnTo>
                    <a:pt x="1149640" y="216015"/>
                  </a:lnTo>
                  <a:lnTo>
                    <a:pt x="1152161" y="214735"/>
                  </a:lnTo>
                  <a:lnTo>
                    <a:pt x="1158782" y="213690"/>
                  </a:lnTo>
                  <a:lnTo>
                    <a:pt x="1178627" y="208021"/>
                  </a:lnTo>
                  <a:lnTo>
                    <a:pt x="1179746" y="206930"/>
                  </a:lnTo>
                  <a:lnTo>
                    <a:pt x="1181615" y="204053"/>
                  </a:lnTo>
                  <a:lnTo>
                    <a:pt x="1177077" y="204667"/>
                  </a:lnTo>
                  <a:lnTo>
                    <a:pt x="1167132" y="207445"/>
                  </a:lnTo>
                  <a:lnTo>
                    <a:pt x="1158918" y="208826"/>
                  </a:lnTo>
                  <a:lnTo>
                    <a:pt x="1152439" y="208818"/>
                  </a:lnTo>
                  <a:lnTo>
                    <a:pt x="1147701" y="208422"/>
                  </a:lnTo>
                  <a:lnTo>
                    <a:pt x="1144705" y="207641"/>
                  </a:lnTo>
                  <a:lnTo>
                    <a:pt x="1141101" y="205869"/>
                  </a:lnTo>
                  <a:lnTo>
                    <a:pt x="1129358" y="197660"/>
                  </a:lnTo>
                  <a:lnTo>
                    <a:pt x="1126155" y="193674"/>
                  </a:lnTo>
                  <a:lnTo>
                    <a:pt x="1125707" y="190149"/>
                  </a:lnTo>
                  <a:lnTo>
                    <a:pt x="1124884" y="187460"/>
                  </a:lnTo>
                  <a:lnTo>
                    <a:pt x="1121485" y="180989"/>
                  </a:lnTo>
                  <a:lnTo>
                    <a:pt x="1146620" y="185014"/>
                  </a:lnTo>
                  <a:lnTo>
                    <a:pt x="1156462" y="185775"/>
                  </a:lnTo>
                  <a:lnTo>
                    <a:pt x="1175426" y="186038"/>
                  </a:lnTo>
                  <a:lnTo>
                    <a:pt x="1176316" y="185644"/>
                  </a:lnTo>
                  <a:lnTo>
                    <a:pt x="1176596" y="184595"/>
                  </a:lnTo>
                  <a:lnTo>
                    <a:pt x="1176269" y="182893"/>
                  </a:lnTo>
                  <a:lnTo>
                    <a:pt x="1176414" y="181582"/>
                  </a:lnTo>
                  <a:lnTo>
                    <a:pt x="1177032" y="180663"/>
                  </a:lnTo>
                  <a:lnTo>
                    <a:pt x="1184085" y="178325"/>
                  </a:lnTo>
                  <a:lnTo>
                    <a:pt x="1185146" y="177555"/>
                  </a:lnTo>
                  <a:lnTo>
                    <a:pt x="1176841" y="177169"/>
                  </a:lnTo>
                  <a:lnTo>
                    <a:pt x="1161571" y="181071"/>
                  </a:lnTo>
                  <a:lnTo>
                    <a:pt x="1156178" y="181035"/>
                  </a:lnTo>
                  <a:lnTo>
                    <a:pt x="1150062" y="175455"/>
                  </a:lnTo>
                  <a:lnTo>
                    <a:pt x="1143526" y="176436"/>
                  </a:lnTo>
                  <a:lnTo>
                    <a:pt x="1140441" y="175992"/>
                  </a:lnTo>
                  <a:lnTo>
                    <a:pt x="1135638" y="174585"/>
                  </a:lnTo>
                  <a:lnTo>
                    <a:pt x="1133274" y="173356"/>
                  </a:lnTo>
                  <a:lnTo>
                    <a:pt x="1131750" y="171836"/>
                  </a:lnTo>
                  <a:lnTo>
                    <a:pt x="1131099" y="170554"/>
                  </a:lnTo>
                  <a:lnTo>
                    <a:pt x="1131320" y="169512"/>
                  </a:lnTo>
                  <a:lnTo>
                    <a:pt x="1132614" y="168350"/>
                  </a:lnTo>
                  <a:lnTo>
                    <a:pt x="1138247" y="166734"/>
                  </a:lnTo>
                  <a:lnTo>
                    <a:pt x="1140791" y="166579"/>
                  </a:lnTo>
                  <a:lnTo>
                    <a:pt x="1147498" y="167619"/>
                  </a:lnTo>
                  <a:lnTo>
                    <a:pt x="1152525" y="167541"/>
                  </a:lnTo>
                  <a:lnTo>
                    <a:pt x="1150868" y="165808"/>
                  </a:lnTo>
                  <a:lnTo>
                    <a:pt x="1143600" y="161438"/>
                  </a:lnTo>
                  <a:lnTo>
                    <a:pt x="1137243" y="156589"/>
                  </a:lnTo>
                  <a:lnTo>
                    <a:pt x="1137723" y="148464"/>
                  </a:lnTo>
                  <a:lnTo>
                    <a:pt x="1142944" y="146737"/>
                  </a:lnTo>
                  <a:lnTo>
                    <a:pt x="1148354" y="146455"/>
                  </a:lnTo>
                  <a:lnTo>
                    <a:pt x="1153636" y="148514"/>
                  </a:lnTo>
                  <a:lnTo>
                    <a:pt x="1160722" y="148796"/>
                  </a:lnTo>
                  <a:lnTo>
                    <a:pt x="1165796" y="151117"/>
                  </a:lnTo>
                  <a:lnTo>
                    <a:pt x="1169172" y="155564"/>
                  </a:lnTo>
                  <a:lnTo>
                    <a:pt x="1173181" y="155478"/>
                  </a:lnTo>
                  <a:lnTo>
                    <a:pt x="1179496" y="156318"/>
                  </a:lnTo>
                  <a:lnTo>
                    <a:pt x="1193632" y="156253"/>
                  </a:lnTo>
                  <a:lnTo>
                    <a:pt x="1191077" y="154665"/>
                  </a:lnTo>
                  <a:lnTo>
                    <a:pt x="1186679" y="153279"/>
                  </a:lnTo>
                  <a:lnTo>
                    <a:pt x="1176684" y="151460"/>
                  </a:lnTo>
                  <a:lnTo>
                    <a:pt x="1171812" y="144929"/>
                  </a:lnTo>
                  <a:lnTo>
                    <a:pt x="1161482" y="141554"/>
                  </a:lnTo>
                  <a:lnTo>
                    <a:pt x="1153396" y="139787"/>
                  </a:lnTo>
                  <a:lnTo>
                    <a:pt x="1153534" y="138299"/>
                  </a:lnTo>
                  <a:lnTo>
                    <a:pt x="1159607" y="130124"/>
                  </a:lnTo>
                  <a:lnTo>
                    <a:pt x="1166942" y="127211"/>
                  </a:lnTo>
                  <a:lnTo>
                    <a:pt x="1178634" y="128311"/>
                  </a:lnTo>
                  <a:lnTo>
                    <a:pt x="1186320" y="126763"/>
                  </a:lnTo>
                  <a:lnTo>
                    <a:pt x="1196218" y="123865"/>
                  </a:lnTo>
                  <a:lnTo>
                    <a:pt x="1205908" y="125207"/>
                  </a:lnTo>
                  <a:lnTo>
                    <a:pt x="1208409" y="125082"/>
                  </a:lnTo>
                  <a:lnTo>
                    <a:pt x="1209891" y="124188"/>
                  </a:lnTo>
                  <a:lnTo>
                    <a:pt x="1211186" y="122482"/>
                  </a:lnTo>
                  <a:lnTo>
                    <a:pt x="1211193" y="120911"/>
                  </a:lnTo>
                  <a:lnTo>
                    <a:pt x="1209911" y="119467"/>
                  </a:lnTo>
                  <a:lnTo>
                    <a:pt x="1206852" y="117681"/>
                  </a:lnTo>
                  <a:lnTo>
                    <a:pt x="1194481" y="117428"/>
                  </a:lnTo>
                  <a:lnTo>
                    <a:pt x="1189007" y="116727"/>
                  </a:lnTo>
                  <a:lnTo>
                    <a:pt x="1186874" y="115771"/>
                  </a:lnTo>
                  <a:lnTo>
                    <a:pt x="1186261" y="114330"/>
                  </a:lnTo>
                  <a:lnTo>
                    <a:pt x="1185935" y="112844"/>
                  </a:lnTo>
                  <a:lnTo>
                    <a:pt x="1185898" y="111314"/>
                  </a:lnTo>
                  <a:lnTo>
                    <a:pt x="1186223" y="110375"/>
                  </a:lnTo>
                  <a:lnTo>
                    <a:pt x="1187257" y="109865"/>
                  </a:lnTo>
                  <a:lnTo>
                    <a:pt x="1190290" y="109259"/>
                  </a:lnTo>
                  <a:lnTo>
                    <a:pt x="1201824" y="109182"/>
                  </a:lnTo>
                  <a:close/>
                  <a:moveTo>
                    <a:pt x="1801120" y="0"/>
                  </a:moveTo>
                  <a:lnTo>
                    <a:pt x="1803712" y="413"/>
                  </a:lnTo>
                  <a:lnTo>
                    <a:pt x="1805882" y="1499"/>
                  </a:lnTo>
                  <a:lnTo>
                    <a:pt x="1811276" y="5790"/>
                  </a:lnTo>
                  <a:lnTo>
                    <a:pt x="1813317" y="6304"/>
                  </a:lnTo>
                  <a:lnTo>
                    <a:pt x="1833999" y="7446"/>
                  </a:lnTo>
                  <a:lnTo>
                    <a:pt x="1840699" y="7034"/>
                  </a:lnTo>
                  <a:lnTo>
                    <a:pt x="1848360" y="9825"/>
                  </a:lnTo>
                  <a:lnTo>
                    <a:pt x="1852982" y="10152"/>
                  </a:lnTo>
                  <a:lnTo>
                    <a:pt x="1860592" y="9621"/>
                  </a:lnTo>
                  <a:lnTo>
                    <a:pt x="1866140" y="10285"/>
                  </a:lnTo>
                  <a:lnTo>
                    <a:pt x="1886781" y="10909"/>
                  </a:lnTo>
                  <a:lnTo>
                    <a:pt x="1891068" y="11995"/>
                  </a:lnTo>
                  <a:lnTo>
                    <a:pt x="1891011" y="13303"/>
                  </a:lnTo>
                  <a:lnTo>
                    <a:pt x="1886559" y="16138"/>
                  </a:lnTo>
                  <a:lnTo>
                    <a:pt x="1880577" y="18867"/>
                  </a:lnTo>
                  <a:lnTo>
                    <a:pt x="1842004" y="27732"/>
                  </a:lnTo>
                  <a:lnTo>
                    <a:pt x="1839169" y="29201"/>
                  </a:lnTo>
                  <a:lnTo>
                    <a:pt x="1846687" y="29666"/>
                  </a:lnTo>
                  <a:lnTo>
                    <a:pt x="1857767" y="29260"/>
                  </a:lnTo>
                  <a:lnTo>
                    <a:pt x="1866359" y="28277"/>
                  </a:lnTo>
                  <a:lnTo>
                    <a:pt x="1876484" y="25270"/>
                  </a:lnTo>
                  <a:lnTo>
                    <a:pt x="1879831" y="25095"/>
                  </a:lnTo>
                  <a:lnTo>
                    <a:pt x="1886268" y="23636"/>
                  </a:lnTo>
                  <a:lnTo>
                    <a:pt x="1898728" y="19546"/>
                  </a:lnTo>
                  <a:lnTo>
                    <a:pt x="1908693" y="17322"/>
                  </a:lnTo>
                  <a:lnTo>
                    <a:pt x="1913203" y="18298"/>
                  </a:lnTo>
                  <a:lnTo>
                    <a:pt x="1916997" y="19844"/>
                  </a:lnTo>
                  <a:lnTo>
                    <a:pt x="1919557" y="20019"/>
                  </a:lnTo>
                  <a:lnTo>
                    <a:pt x="1920886" y="18830"/>
                  </a:lnTo>
                  <a:lnTo>
                    <a:pt x="1923022" y="15577"/>
                  </a:lnTo>
                  <a:lnTo>
                    <a:pt x="1924269" y="14391"/>
                  </a:lnTo>
                  <a:lnTo>
                    <a:pt x="1927548" y="13546"/>
                  </a:lnTo>
                  <a:lnTo>
                    <a:pt x="1929551" y="13639"/>
                  </a:lnTo>
                  <a:lnTo>
                    <a:pt x="1932800" y="15177"/>
                  </a:lnTo>
                  <a:lnTo>
                    <a:pt x="1936400" y="18823"/>
                  </a:lnTo>
                  <a:lnTo>
                    <a:pt x="1939715" y="21352"/>
                  </a:lnTo>
                  <a:lnTo>
                    <a:pt x="1941507" y="21396"/>
                  </a:lnTo>
                  <a:lnTo>
                    <a:pt x="1949092" y="18534"/>
                  </a:lnTo>
                  <a:lnTo>
                    <a:pt x="1952912" y="18162"/>
                  </a:lnTo>
                  <a:lnTo>
                    <a:pt x="1961598" y="19202"/>
                  </a:lnTo>
                  <a:lnTo>
                    <a:pt x="1965206" y="20462"/>
                  </a:lnTo>
                  <a:lnTo>
                    <a:pt x="1965857" y="21804"/>
                  </a:lnTo>
                  <a:lnTo>
                    <a:pt x="1963549" y="23219"/>
                  </a:lnTo>
                  <a:lnTo>
                    <a:pt x="1962115" y="24439"/>
                  </a:lnTo>
                  <a:lnTo>
                    <a:pt x="1961559" y="25463"/>
                  </a:lnTo>
                  <a:lnTo>
                    <a:pt x="1962824" y="26652"/>
                  </a:lnTo>
                  <a:lnTo>
                    <a:pt x="1968080" y="29196"/>
                  </a:lnTo>
                  <a:lnTo>
                    <a:pt x="1975688" y="34715"/>
                  </a:lnTo>
                  <a:lnTo>
                    <a:pt x="1975644" y="36739"/>
                  </a:lnTo>
                  <a:lnTo>
                    <a:pt x="1971492" y="40852"/>
                  </a:lnTo>
                  <a:lnTo>
                    <a:pt x="1971594" y="41889"/>
                  </a:lnTo>
                  <a:lnTo>
                    <a:pt x="1991160" y="37564"/>
                  </a:lnTo>
                  <a:lnTo>
                    <a:pt x="2010887" y="39494"/>
                  </a:lnTo>
                  <a:lnTo>
                    <a:pt x="2016469" y="40815"/>
                  </a:lnTo>
                  <a:lnTo>
                    <a:pt x="2018613" y="42405"/>
                  </a:lnTo>
                  <a:lnTo>
                    <a:pt x="2020894" y="45025"/>
                  </a:lnTo>
                  <a:lnTo>
                    <a:pt x="2023310" y="48669"/>
                  </a:lnTo>
                  <a:lnTo>
                    <a:pt x="2021629" y="52464"/>
                  </a:lnTo>
                  <a:lnTo>
                    <a:pt x="2012961" y="58362"/>
                  </a:lnTo>
                  <a:lnTo>
                    <a:pt x="2004003" y="62935"/>
                  </a:lnTo>
                  <a:lnTo>
                    <a:pt x="1998728" y="67048"/>
                  </a:lnTo>
                  <a:lnTo>
                    <a:pt x="1990619" y="69297"/>
                  </a:lnTo>
                  <a:lnTo>
                    <a:pt x="1962833" y="79175"/>
                  </a:lnTo>
                  <a:lnTo>
                    <a:pt x="1949252" y="82340"/>
                  </a:lnTo>
                  <a:lnTo>
                    <a:pt x="1941446" y="85450"/>
                  </a:lnTo>
                  <a:lnTo>
                    <a:pt x="1937940" y="85991"/>
                  </a:lnTo>
                  <a:lnTo>
                    <a:pt x="1921405" y="85396"/>
                  </a:lnTo>
                  <a:lnTo>
                    <a:pt x="1917017" y="87108"/>
                  </a:lnTo>
                  <a:lnTo>
                    <a:pt x="1914577" y="89985"/>
                  </a:lnTo>
                  <a:lnTo>
                    <a:pt x="1909363" y="91352"/>
                  </a:lnTo>
                  <a:lnTo>
                    <a:pt x="1901663" y="92330"/>
                  </a:lnTo>
                  <a:lnTo>
                    <a:pt x="1885917" y="93122"/>
                  </a:lnTo>
                  <a:lnTo>
                    <a:pt x="1882384" y="96357"/>
                  </a:lnTo>
                  <a:lnTo>
                    <a:pt x="1881483" y="98550"/>
                  </a:lnTo>
                  <a:lnTo>
                    <a:pt x="1879947" y="100251"/>
                  </a:lnTo>
                  <a:lnTo>
                    <a:pt x="1878606" y="101071"/>
                  </a:lnTo>
                  <a:lnTo>
                    <a:pt x="1833612" y="112626"/>
                  </a:lnTo>
                  <a:lnTo>
                    <a:pt x="1832783" y="114553"/>
                  </a:lnTo>
                  <a:lnTo>
                    <a:pt x="1837312" y="115347"/>
                  </a:lnTo>
                  <a:lnTo>
                    <a:pt x="1843015" y="114553"/>
                  </a:lnTo>
                  <a:lnTo>
                    <a:pt x="1908485" y="100519"/>
                  </a:lnTo>
                  <a:lnTo>
                    <a:pt x="1921054" y="99587"/>
                  </a:lnTo>
                  <a:lnTo>
                    <a:pt x="1932716" y="100602"/>
                  </a:lnTo>
                  <a:lnTo>
                    <a:pt x="1931380" y="103878"/>
                  </a:lnTo>
                  <a:lnTo>
                    <a:pt x="1914867" y="113140"/>
                  </a:lnTo>
                  <a:lnTo>
                    <a:pt x="1893850" y="121449"/>
                  </a:lnTo>
                  <a:lnTo>
                    <a:pt x="1883352" y="127732"/>
                  </a:lnTo>
                  <a:lnTo>
                    <a:pt x="1856792" y="138525"/>
                  </a:lnTo>
                  <a:lnTo>
                    <a:pt x="1835083" y="149214"/>
                  </a:lnTo>
                  <a:lnTo>
                    <a:pt x="1826744" y="154625"/>
                  </a:lnTo>
                  <a:lnTo>
                    <a:pt x="1815568" y="164252"/>
                  </a:lnTo>
                  <a:lnTo>
                    <a:pt x="1811751" y="166568"/>
                  </a:lnTo>
                  <a:lnTo>
                    <a:pt x="1807108" y="167522"/>
                  </a:lnTo>
                  <a:lnTo>
                    <a:pt x="1801642" y="167122"/>
                  </a:lnTo>
                  <a:lnTo>
                    <a:pt x="1796718" y="165725"/>
                  </a:lnTo>
                  <a:lnTo>
                    <a:pt x="1790148" y="162135"/>
                  </a:lnTo>
                  <a:lnTo>
                    <a:pt x="1784163" y="158112"/>
                  </a:lnTo>
                  <a:lnTo>
                    <a:pt x="1782288" y="157403"/>
                  </a:lnTo>
                  <a:lnTo>
                    <a:pt x="1783423" y="159402"/>
                  </a:lnTo>
                  <a:lnTo>
                    <a:pt x="1794962" y="172730"/>
                  </a:lnTo>
                  <a:lnTo>
                    <a:pt x="1793641" y="175301"/>
                  </a:lnTo>
                  <a:lnTo>
                    <a:pt x="1772457" y="178010"/>
                  </a:lnTo>
                  <a:lnTo>
                    <a:pt x="1763082" y="180402"/>
                  </a:lnTo>
                  <a:lnTo>
                    <a:pt x="1758245" y="180981"/>
                  </a:lnTo>
                  <a:lnTo>
                    <a:pt x="1754820" y="180550"/>
                  </a:lnTo>
                  <a:lnTo>
                    <a:pt x="1751479" y="180794"/>
                  </a:lnTo>
                  <a:lnTo>
                    <a:pt x="1748226" y="181717"/>
                  </a:lnTo>
                  <a:lnTo>
                    <a:pt x="1748047" y="182744"/>
                  </a:lnTo>
                  <a:lnTo>
                    <a:pt x="1750946" y="183867"/>
                  </a:lnTo>
                  <a:lnTo>
                    <a:pt x="1759379" y="184746"/>
                  </a:lnTo>
                  <a:lnTo>
                    <a:pt x="1778119" y="181771"/>
                  </a:lnTo>
                  <a:lnTo>
                    <a:pt x="1781124" y="181984"/>
                  </a:lnTo>
                  <a:lnTo>
                    <a:pt x="1785945" y="183432"/>
                  </a:lnTo>
                  <a:lnTo>
                    <a:pt x="1786181" y="184748"/>
                  </a:lnTo>
                  <a:lnTo>
                    <a:pt x="1781149" y="188961"/>
                  </a:lnTo>
                  <a:lnTo>
                    <a:pt x="1765978" y="193985"/>
                  </a:lnTo>
                  <a:lnTo>
                    <a:pt x="1767961" y="194269"/>
                  </a:lnTo>
                  <a:lnTo>
                    <a:pt x="1772305" y="196046"/>
                  </a:lnTo>
                  <a:lnTo>
                    <a:pt x="1772207" y="197644"/>
                  </a:lnTo>
                  <a:lnTo>
                    <a:pt x="1767430" y="201397"/>
                  </a:lnTo>
                  <a:lnTo>
                    <a:pt x="1765167" y="202592"/>
                  </a:lnTo>
                  <a:lnTo>
                    <a:pt x="1750544" y="206076"/>
                  </a:lnTo>
                  <a:lnTo>
                    <a:pt x="1744179" y="206894"/>
                  </a:lnTo>
                  <a:lnTo>
                    <a:pt x="1738575" y="206460"/>
                  </a:lnTo>
                  <a:lnTo>
                    <a:pt x="1712924" y="198836"/>
                  </a:lnTo>
                  <a:lnTo>
                    <a:pt x="1703874" y="197730"/>
                  </a:lnTo>
                  <a:lnTo>
                    <a:pt x="1695274" y="195800"/>
                  </a:lnTo>
                  <a:lnTo>
                    <a:pt x="1688929" y="196130"/>
                  </a:lnTo>
                  <a:lnTo>
                    <a:pt x="1682191" y="198371"/>
                  </a:lnTo>
                  <a:lnTo>
                    <a:pt x="1685221" y="199498"/>
                  </a:lnTo>
                  <a:lnTo>
                    <a:pt x="1697639" y="201647"/>
                  </a:lnTo>
                  <a:lnTo>
                    <a:pt x="1708007" y="202062"/>
                  </a:lnTo>
                  <a:lnTo>
                    <a:pt x="1712309" y="202898"/>
                  </a:lnTo>
                  <a:lnTo>
                    <a:pt x="1713996" y="204292"/>
                  </a:lnTo>
                  <a:lnTo>
                    <a:pt x="1718472" y="209347"/>
                  </a:lnTo>
                  <a:lnTo>
                    <a:pt x="1719189" y="212061"/>
                  </a:lnTo>
                  <a:lnTo>
                    <a:pt x="1718199" y="214580"/>
                  </a:lnTo>
                  <a:lnTo>
                    <a:pt x="1716845" y="216345"/>
                  </a:lnTo>
                  <a:lnTo>
                    <a:pt x="1715121" y="217347"/>
                  </a:lnTo>
                  <a:lnTo>
                    <a:pt x="1712470" y="217852"/>
                  </a:lnTo>
                  <a:lnTo>
                    <a:pt x="1702331" y="217495"/>
                  </a:lnTo>
                  <a:lnTo>
                    <a:pt x="1698542" y="218115"/>
                  </a:lnTo>
                  <a:lnTo>
                    <a:pt x="1694148" y="219585"/>
                  </a:lnTo>
                  <a:lnTo>
                    <a:pt x="1688637" y="220222"/>
                  </a:lnTo>
                  <a:lnTo>
                    <a:pt x="1678698" y="219929"/>
                  </a:lnTo>
                  <a:lnTo>
                    <a:pt x="1666996" y="222073"/>
                  </a:lnTo>
                  <a:lnTo>
                    <a:pt x="1660811" y="222465"/>
                  </a:lnTo>
                  <a:lnTo>
                    <a:pt x="1653954" y="221498"/>
                  </a:lnTo>
                  <a:lnTo>
                    <a:pt x="1646522" y="219104"/>
                  </a:lnTo>
                  <a:lnTo>
                    <a:pt x="1638683" y="217893"/>
                  </a:lnTo>
                  <a:lnTo>
                    <a:pt x="1625429" y="216873"/>
                  </a:lnTo>
                  <a:lnTo>
                    <a:pt x="1626537" y="218246"/>
                  </a:lnTo>
                  <a:lnTo>
                    <a:pt x="1631208" y="218825"/>
                  </a:lnTo>
                  <a:lnTo>
                    <a:pt x="1640721" y="222496"/>
                  </a:lnTo>
                  <a:lnTo>
                    <a:pt x="1645269" y="227467"/>
                  </a:lnTo>
                  <a:lnTo>
                    <a:pt x="1649550" y="228307"/>
                  </a:lnTo>
                  <a:lnTo>
                    <a:pt x="1658292" y="232375"/>
                  </a:lnTo>
                  <a:lnTo>
                    <a:pt x="1664607" y="233010"/>
                  </a:lnTo>
                  <a:lnTo>
                    <a:pt x="1671202" y="234391"/>
                  </a:lnTo>
                  <a:lnTo>
                    <a:pt x="1680492" y="232612"/>
                  </a:lnTo>
                  <a:lnTo>
                    <a:pt x="1686731" y="232944"/>
                  </a:lnTo>
                  <a:lnTo>
                    <a:pt x="1685434" y="242923"/>
                  </a:lnTo>
                  <a:lnTo>
                    <a:pt x="1682681" y="243891"/>
                  </a:lnTo>
                  <a:lnTo>
                    <a:pt x="1667663" y="243891"/>
                  </a:lnTo>
                  <a:lnTo>
                    <a:pt x="1660526" y="242444"/>
                  </a:lnTo>
                  <a:lnTo>
                    <a:pt x="1657374" y="240950"/>
                  </a:lnTo>
                  <a:lnTo>
                    <a:pt x="1650455" y="239256"/>
                  </a:lnTo>
                  <a:lnTo>
                    <a:pt x="1644223" y="240238"/>
                  </a:lnTo>
                  <a:lnTo>
                    <a:pt x="1638575" y="240026"/>
                  </a:lnTo>
                  <a:lnTo>
                    <a:pt x="1634743" y="241019"/>
                  </a:lnTo>
                  <a:lnTo>
                    <a:pt x="1628666" y="240983"/>
                  </a:lnTo>
                  <a:lnTo>
                    <a:pt x="1612770" y="242668"/>
                  </a:lnTo>
                  <a:lnTo>
                    <a:pt x="1604371" y="242686"/>
                  </a:lnTo>
                  <a:lnTo>
                    <a:pt x="1598171" y="241600"/>
                  </a:lnTo>
                  <a:lnTo>
                    <a:pt x="1590967" y="241264"/>
                  </a:lnTo>
                  <a:lnTo>
                    <a:pt x="1582758" y="241669"/>
                  </a:lnTo>
                  <a:lnTo>
                    <a:pt x="1583332" y="242819"/>
                  </a:lnTo>
                  <a:lnTo>
                    <a:pt x="1586812" y="243168"/>
                  </a:lnTo>
                  <a:lnTo>
                    <a:pt x="1591878" y="245039"/>
                  </a:lnTo>
                  <a:lnTo>
                    <a:pt x="1596573" y="247920"/>
                  </a:lnTo>
                  <a:lnTo>
                    <a:pt x="1600479" y="249128"/>
                  </a:lnTo>
                  <a:lnTo>
                    <a:pt x="1605158" y="248445"/>
                  </a:lnTo>
                  <a:lnTo>
                    <a:pt x="1609920" y="247101"/>
                  </a:lnTo>
                  <a:lnTo>
                    <a:pt x="1627305" y="244885"/>
                  </a:lnTo>
                  <a:lnTo>
                    <a:pt x="1634929" y="244529"/>
                  </a:lnTo>
                  <a:lnTo>
                    <a:pt x="1641731" y="245506"/>
                  </a:lnTo>
                  <a:lnTo>
                    <a:pt x="1646258" y="246726"/>
                  </a:lnTo>
                  <a:lnTo>
                    <a:pt x="1649419" y="248194"/>
                  </a:lnTo>
                  <a:lnTo>
                    <a:pt x="1653415" y="252082"/>
                  </a:lnTo>
                  <a:lnTo>
                    <a:pt x="1663437" y="252556"/>
                  </a:lnTo>
                  <a:lnTo>
                    <a:pt x="1671077" y="253844"/>
                  </a:lnTo>
                  <a:lnTo>
                    <a:pt x="1683251" y="259471"/>
                  </a:lnTo>
                  <a:lnTo>
                    <a:pt x="1686600" y="259896"/>
                  </a:lnTo>
                  <a:lnTo>
                    <a:pt x="1687950" y="261347"/>
                  </a:lnTo>
                  <a:lnTo>
                    <a:pt x="1685365" y="264962"/>
                  </a:lnTo>
                  <a:lnTo>
                    <a:pt x="1685073" y="267132"/>
                  </a:lnTo>
                  <a:lnTo>
                    <a:pt x="1676654" y="271330"/>
                  </a:lnTo>
                  <a:lnTo>
                    <a:pt x="1663519" y="272549"/>
                  </a:lnTo>
                  <a:lnTo>
                    <a:pt x="1649085" y="272163"/>
                  </a:lnTo>
                  <a:lnTo>
                    <a:pt x="1638749" y="272646"/>
                  </a:lnTo>
                  <a:lnTo>
                    <a:pt x="1637667" y="273178"/>
                  </a:lnTo>
                  <a:lnTo>
                    <a:pt x="1644758" y="274278"/>
                  </a:lnTo>
                  <a:lnTo>
                    <a:pt x="1661192" y="279162"/>
                  </a:lnTo>
                  <a:lnTo>
                    <a:pt x="1667561" y="281805"/>
                  </a:lnTo>
                  <a:lnTo>
                    <a:pt x="1668670" y="283351"/>
                  </a:lnTo>
                  <a:lnTo>
                    <a:pt x="1659612" y="289230"/>
                  </a:lnTo>
                  <a:lnTo>
                    <a:pt x="1651617" y="300830"/>
                  </a:lnTo>
                  <a:lnTo>
                    <a:pt x="1648989" y="301744"/>
                  </a:lnTo>
                  <a:lnTo>
                    <a:pt x="1646253" y="302062"/>
                  </a:lnTo>
                  <a:lnTo>
                    <a:pt x="1639203" y="301859"/>
                  </a:lnTo>
                  <a:lnTo>
                    <a:pt x="1630264" y="304764"/>
                  </a:lnTo>
                  <a:lnTo>
                    <a:pt x="1623522" y="305345"/>
                  </a:lnTo>
                  <a:lnTo>
                    <a:pt x="1611301" y="304257"/>
                  </a:lnTo>
                  <a:lnTo>
                    <a:pt x="1597187" y="304318"/>
                  </a:lnTo>
                  <a:lnTo>
                    <a:pt x="1596076" y="306193"/>
                  </a:lnTo>
                  <a:lnTo>
                    <a:pt x="1595373" y="309774"/>
                  </a:lnTo>
                  <a:lnTo>
                    <a:pt x="1595451" y="315147"/>
                  </a:lnTo>
                  <a:lnTo>
                    <a:pt x="1596311" y="322305"/>
                  </a:lnTo>
                  <a:lnTo>
                    <a:pt x="1595575" y="327523"/>
                  </a:lnTo>
                  <a:lnTo>
                    <a:pt x="1593247" y="330813"/>
                  </a:lnTo>
                  <a:lnTo>
                    <a:pt x="1590311" y="333240"/>
                  </a:lnTo>
                  <a:lnTo>
                    <a:pt x="1585001" y="335594"/>
                  </a:lnTo>
                  <a:lnTo>
                    <a:pt x="1579541" y="337060"/>
                  </a:lnTo>
                  <a:lnTo>
                    <a:pt x="1575458" y="337577"/>
                  </a:lnTo>
                  <a:lnTo>
                    <a:pt x="1568661" y="337659"/>
                  </a:lnTo>
                  <a:lnTo>
                    <a:pt x="1549167" y="339349"/>
                  </a:lnTo>
                  <a:lnTo>
                    <a:pt x="1539651" y="339247"/>
                  </a:lnTo>
                  <a:lnTo>
                    <a:pt x="1532263" y="338530"/>
                  </a:lnTo>
                  <a:lnTo>
                    <a:pt x="1524617" y="336175"/>
                  </a:lnTo>
                  <a:lnTo>
                    <a:pt x="1511882" y="329516"/>
                  </a:lnTo>
                  <a:lnTo>
                    <a:pt x="1508271" y="328034"/>
                  </a:lnTo>
                  <a:lnTo>
                    <a:pt x="1504725" y="327178"/>
                  </a:lnTo>
                  <a:lnTo>
                    <a:pt x="1504859" y="328616"/>
                  </a:lnTo>
                  <a:lnTo>
                    <a:pt x="1508669" y="332340"/>
                  </a:lnTo>
                  <a:lnTo>
                    <a:pt x="1511848" y="334742"/>
                  </a:lnTo>
                  <a:lnTo>
                    <a:pt x="1514395" y="335820"/>
                  </a:lnTo>
                  <a:lnTo>
                    <a:pt x="1513795" y="336958"/>
                  </a:lnTo>
                  <a:lnTo>
                    <a:pt x="1508177" y="338743"/>
                  </a:lnTo>
                  <a:lnTo>
                    <a:pt x="1501981" y="339543"/>
                  </a:lnTo>
                  <a:lnTo>
                    <a:pt x="1494641" y="339512"/>
                  </a:lnTo>
                  <a:lnTo>
                    <a:pt x="1494407" y="340204"/>
                  </a:lnTo>
                  <a:lnTo>
                    <a:pt x="1496897" y="342125"/>
                  </a:lnTo>
                  <a:lnTo>
                    <a:pt x="1500132" y="343935"/>
                  </a:lnTo>
                  <a:lnTo>
                    <a:pt x="1502260" y="344477"/>
                  </a:lnTo>
                  <a:lnTo>
                    <a:pt x="1507885" y="343916"/>
                  </a:lnTo>
                  <a:lnTo>
                    <a:pt x="1514402" y="341631"/>
                  </a:lnTo>
                  <a:lnTo>
                    <a:pt x="1518466" y="340957"/>
                  </a:lnTo>
                  <a:lnTo>
                    <a:pt x="1526554" y="341501"/>
                  </a:lnTo>
                  <a:lnTo>
                    <a:pt x="1529739" y="342317"/>
                  </a:lnTo>
                  <a:lnTo>
                    <a:pt x="1539841" y="347320"/>
                  </a:lnTo>
                  <a:lnTo>
                    <a:pt x="1541248" y="347552"/>
                  </a:lnTo>
                  <a:lnTo>
                    <a:pt x="1548728" y="345034"/>
                  </a:lnTo>
                  <a:lnTo>
                    <a:pt x="1559542" y="344900"/>
                  </a:lnTo>
                  <a:lnTo>
                    <a:pt x="1563507" y="346919"/>
                  </a:lnTo>
                  <a:lnTo>
                    <a:pt x="1565022" y="350837"/>
                  </a:lnTo>
                  <a:lnTo>
                    <a:pt x="1565206" y="354006"/>
                  </a:lnTo>
                  <a:lnTo>
                    <a:pt x="1564063" y="356428"/>
                  </a:lnTo>
                  <a:lnTo>
                    <a:pt x="1566553" y="358788"/>
                  </a:lnTo>
                  <a:lnTo>
                    <a:pt x="1572677" y="361085"/>
                  </a:lnTo>
                  <a:lnTo>
                    <a:pt x="1577429" y="361578"/>
                  </a:lnTo>
                  <a:lnTo>
                    <a:pt x="1580809" y="360280"/>
                  </a:lnTo>
                  <a:lnTo>
                    <a:pt x="1585945" y="357128"/>
                  </a:lnTo>
                  <a:lnTo>
                    <a:pt x="1588123" y="356381"/>
                  </a:lnTo>
                  <a:lnTo>
                    <a:pt x="1590182" y="356554"/>
                  </a:lnTo>
                  <a:lnTo>
                    <a:pt x="1593320" y="358849"/>
                  </a:lnTo>
                  <a:lnTo>
                    <a:pt x="1597538" y="363259"/>
                  </a:lnTo>
                  <a:lnTo>
                    <a:pt x="1597930" y="368402"/>
                  </a:lnTo>
                  <a:lnTo>
                    <a:pt x="1594497" y="374271"/>
                  </a:lnTo>
                  <a:lnTo>
                    <a:pt x="1590297" y="378114"/>
                  </a:lnTo>
                  <a:lnTo>
                    <a:pt x="1573816" y="384436"/>
                  </a:lnTo>
                  <a:lnTo>
                    <a:pt x="1568836" y="386916"/>
                  </a:lnTo>
                  <a:lnTo>
                    <a:pt x="1564901" y="389496"/>
                  </a:lnTo>
                  <a:lnTo>
                    <a:pt x="1559192" y="391817"/>
                  </a:lnTo>
                  <a:lnTo>
                    <a:pt x="1547971" y="394918"/>
                  </a:lnTo>
                  <a:lnTo>
                    <a:pt x="1542056" y="395497"/>
                  </a:lnTo>
                  <a:lnTo>
                    <a:pt x="1529290" y="398826"/>
                  </a:lnTo>
                  <a:lnTo>
                    <a:pt x="1526516" y="398976"/>
                  </a:lnTo>
                  <a:lnTo>
                    <a:pt x="1522378" y="398436"/>
                  </a:lnTo>
                  <a:lnTo>
                    <a:pt x="1521521" y="396814"/>
                  </a:lnTo>
                  <a:lnTo>
                    <a:pt x="1522574" y="393929"/>
                  </a:lnTo>
                  <a:lnTo>
                    <a:pt x="1523942" y="391239"/>
                  </a:lnTo>
                  <a:lnTo>
                    <a:pt x="1525625" y="388743"/>
                  </a:lnTo>
                  <a:lnTo>
                    <a:pt x="1525688" y="386669"/>
                  </a:lnTo>
                  <a:lnTo>
                    <a:pt x="1522084" y="383441"/>
                  </a:lnTo>
                  <a:lnTo>
                    <a:pt x="1519552" y="381946"/>
                  </a:lnTo>
                  <a:lnTo>
                    <a:pt x="1517108" y="381196"/>
                  </a:lnTo>
                  <a:lnTo>
                    <a:pt x="1512188" y="381631"/>
                  </a:lnTo>
                  <a:lnTo>
                    <a:pt x="1509407" y="382517"/>
                  </a:lnTo>
                  <a:lnTo>
                    <a:pt x="1506427" y="382687"/>
                  </a:lnTo>
                  <a:lnTo>
                    <a:pt x="1503247" y="382132"/>
                  </a:lnTo>
                  <a:lnTo>
                    <a:pt x="1500570" y="380770"/>
                  </a:lnTo>
                  <a:lnTo>
                    <a:pt x="1495214" y="375045"/>
                  </a:lnTo>
                  <a:lnTo>
                    <a:pt x="1493197" y="374316"/>
                  </a:lnTo>
                  <a:lnTo>
                    <a:pt x="1490555" y="374496"/>
                  </a:lnTo>
                  <a:lnTo>
                    <a:pt x="1488192" y="373672"/>
                  </a:lnTo>
                  <a:lnTo>
                    <a:pt x="1486105" y="371848"/>
                  </a:lnTo>
                  <a:lnTo>
                    <a:pt x="1482646" y="370081"/>
                  </a:lnTo>
                  <a:lnTo>
                    <a:pt x="1483570" y="371429"/>
                  </a:lnTo>
                  <a:lnTo>
                    <a:pt x="1487029" y="374694"/>
                  </a:lnTo>
                  <a:lnTo>
                    <a:pt x="1489438" y="377931"/>
                  </a:lnTo>
                  <a:lnTo>
                    <a:pt x="1490798" y="381142"/>
                  </a:lnTo>
                  <a:lnTo>
                    <a:pt x="1490168" y="383665"/>
                  </a:lnTo>
                  <a:lnTo>
                    <a:pt x="1460862" y="385062"/>
                  </a:lnTo>
                  <a:lnTo>
                    <a:pt x="1448266" y="384332"/>
                  </a:lnTo>
                  <a:lnTo>
                    <a:pt x="1445715" y="382130"/>
                  </a:lnTo>
                  <a:lnTo>
                    <a:pt x="1439693" y="372617"/>
                  </a:lnTo>
                  <a:lnTo>
                    <a:pt x="1438386" y="389403"/>
                  </a:lnTo>
                  <a:lnTo>
                    <a:pt x="1416430" y="392127"/>
                  </a:lnTo>
                  <a:lnTo>
                    <a:pt x="1411299" y="391666"/>
                  </a:lnTo>
                  <a:lnTo>
                    <a:pt x="1402755" y="389798"/>
                  </a:lnTo>
                  <a:lnTo>
                    <a:pt x="1391718" y="385290"/>
                  </a:lnTo>
                  <a:lnTo>
                    <a:pt x="1387145" y="382296"/>
                  </a:lnTo>
                  <a:lnTo>
                    <a:pt x="1385354" y="379306"/>
                  </a:lnTo>
                  <a:lnTo>
                    <a:pt x="1384020" y="377671"/>
                  </a:lnTo>
                  <a:lnTo>
                    <a:pt x="1383151" y="377396"/>
                  </a:lnTo>
                  <a:lnTo>
                    <a:pt x="1380407" y="380998"/>
                  </a:lnTo>
                  <a:lnTo>
                    <a:pt x="1377407" y="388350"/>
                  </a:lnTo>
                  <a:lnTo>
                    <a:pt x="1369865" y="386455"/>
                  </a:lnTo>
                  <a:lnTo>
                    <a:pt x="1360318" y="384600"/>
                  </a:lnTo>
                  <a:lnTo>
                    <a:pt x="1356880" y="377344"/>
                  </a:lnTo>
                  <a:lnTo>
                    <a:pt x="1356682" y="387844"/>
                  </a:lnTo>
                  <a:lnTo>
                    <a:pt x="1341297" y="386455"/>
                  </a:lnTo>
                  <a:lnTo>
                    <a:pt x="1333902" y="386846"/>
                  </a:lnTo>
                  <a:lnTo>
                    <a:pt x="1331730" y="377648"/>
                  </a:lnTo>
                  <a:lnTo>
                    <a:pt x="1331370" y="367456"/>
                  </a:lnTo>
                  <a:lnTo>
                    <a:pt x="1328371" y="373910"/>
                  </a:lnTo>
                  <a:lnTo>
                    <a:pt x="1329678" y="379380"/>
                  </a:lnTo>
                  <a:lnTo>
                    <a:pt x="1330103" y="386026"/>
                  </a:lnTo>
                  <a:lnTo>
                    <a:pt x="1323563" y="384137"/>
                  </a:lnTo>
                  <a:lnTo>
                    <a:pt x="1309214" y="383211"/>
                  </a:lnTo>
                  <a:lnTo>
                    <a:pt x="1304132" y="382291"/>
                  </a:lnTo>
                  <a:lnTo>
                    <a:pt x="1304784" y="373445"/>
                  </a:lnTo>
                  <a:lnTo>
                    <a:pt x="1305915" y="364594"/>
                  </a:lnTo>
                  <a:lnTo>
                    <a:pt x="1324395" y="355735"/>
                  </a:lnTo>
                  <a:lnTo>
                    <a:pt x="1329840" y="351528"/>
                  </a:lnTo>
                  <a:lnTo>
                    <a:pt x="1333847" y="349831"/>
                  </a:lnTo>
                  <a:lnTo>
                    <a:pt x="1340191" y="348759"/>
                  </a:lnTo>
                  <a:lnTo>
                    <a:pt x="1348293" y="348093"/>
                  </a:lnTo>
                  <a:lnTo>
                    <a:pt x="1353819" y="348607"/>
                  </a:lnTo>
                  <a:lnTo>
                    <a:pt x="1360127" y="348105"/>
                  </a:lnTo>
                  <a:lnTo>
                    <a:pt x="1367665" y="346519"/>
                  </a:lnTo>
                  <a:lnTo>
                    <a:pt x="1373047" y="346062"/>
                  </a:lnTo>
                  <a:lnTo>
                    <a:pt x="1374060" y="345500"/>
                  </a:lnTo>
                  <a:lnTo>
                    <a:pt x="1372499" y="344675"/>
                  </a:lnTo>
                  <a:lnTo>
                    <a:pt x="1366741" y="338911"/>
                  </a:lnTo>
                  <a:lnTo>
                    <a:pt x="1364674" y="337598"/>
                  </a:lnTo>
                  <a:lnTo>
                    <a:pt x="1362570" y="337013"/>
                  </a:lnTo>
                  <a:lnTo>
                    <a:pt x="1358404" y="336755"/>
                  </a:lnTo>
                  <a:lnTo>
                    <a:pt x="1354360" y="334224"/>
                  </a:lnTo>
                  <a:lnTo>
                    <a:pt x="1352020" y="331985"/>
                  </a:lnTo>
                  <a:lnTo>
                    <a:pt x="1349517" y="328939"/>
                  </a:lnTo>
                  <a:lnTo>
                    <a:pt x="1345516" y="323154"/>
                  </a:lnTo>
                  <a:lnTo>
                    <a:pt x="1341542" y="316678"/>
                  </a:lnTo>
                  <a:lnTo>
                    <a:pt x="1343512" y="313116"/>
                  </a:lnTo>
                  <a:lnTo>
                    <a:pt x="1350101" y="310310"/>
                  </a:lnTo>
                  <a:lnTo>
                    <a:pt x="1356702" y="308364"/>
                  </a:lnTo>
                  <a:lnTo>
                    <a:pt x="1363314" y="307281"/>
                  </a:lnTo>
                  <a:lnTo>
                    <a:pt x="1368843" y="307257"/>
                  </a:lnTo>
                  <a:lnTo>
                    <a:pt x="1375509" y="308812"/>
                  </a:lnTo>
                  <a:lnTo>
                    <a:pt x="1384891" y="311816"/>
                  </a:lnTo>
                  <a:lnTo>
                    <a:pt x="1390269" y="315214"/>
                  </a:lnTo>
                  <a:lnTo>
                    <a:pt x="1397023" y="322390"/>
                  </a:lnTo>
                  <a:lnTo>
                    <a:pt x="1401471" y="328085"/>
                  </a:lnTo>
                  <a:lnTo>
                    <a:pt x="1405090" y="330650"/>
                  </a:lnTo>
                  <a:lnTo>
                    <a:pt x="1421258" y="335294"/>
                  </a:lnTo>
                  <a:lnTo>
                    <a:pt x="1426638" y="336043"/>
                  </a:lnTo>
                  <a:lnTo>
                    <a:pt x="1433019" y="335670"/>
                  </a:lnTo>
                  <a:lnTo>
                    <a:pt x="1446038" y="334456"/>
                  </a:lnTo>
                  <a:lnTo>
                    <a:pt x="1452436" y="333181"/>
                  </a:lnTo>
                  <a:lnTo>
                    <a:pt x="1455306" y="331669"/>
                  </a:lnTo>
                  <a:lnTo>
                    <a:pt x="1456784" y="329493"/>
                  </a:lnTo>
                  <a:lnTo>
                    <a:pt x="1458621" y="327815"/>
                  </a:lnTo>
                  <a:lnTo>
                    <a:pt x="1464378" y="323966"/>
                  </a:lnTo>
                  <a:lnTo>
                    <a:pt x="1473191" y="315944"/>
                  </a:lnTo>
                  <a:lnTo>
                    <a:pt x="1478069" y="309587"/>
                  </a:lnTo>
                  <a:lnTo>
                    <a:pt x="1479227" y="307444"/>
                  </a:lnTo>
                  <a:lnTo>
                    <a:pt x="1480200" y="304850"/>
                  </a:lnTo>
                  <a:lnTo>
                    <a:pt x="1480986" y="301797"/>
                  </a:lnTo>
                  <a:lnTo>
                    <a:pt x="1478241" y="303424"/>
                  </a:lnTo>
                  <a:lnTo>
                    <a:pt x="1463022" y="319147"/>
                  </a:lnTo>
                  <a:lnTo>
                    <a:pt x="1459866" y="321990"/>
                  </a:lnTo>
                  <a:lnTo>
                    <a:pt x="1450962" y="326789"/>
                  </a:lnTo>
                  <a:lnTo>
                    <a:pt x="1447189" y="327563"/>
                  </a:lnTo>
                  <a:lnTo>
                    <a:pt x="1441113" y="327325"/>
                  </a:lnTo>
                  <a:lnTo>
                    <a:pt x="1433049" y="325202"/>
                  </a:lnTo>
                  <a:lnTo>
                    <a:pt x="1423548" y="328578"/>
                  </a:lnTo>
                  <a:lnTo>
                    <a:pt x="1417783" y="327721"/>
                  </a:lnTo>
                  <a:lnTo>
                    <a:pt x="1412674" y="325360"/>
                  </a:lnTo>
                  <a:lnTo>
                    <a:pt x="1412607" y="314251"/>
                  </a:lnTo>
                  <a:lnTo>
                    <a:pt x="1406128" y="305321"/>
                  </a:lnTo>
                  <a:lnTo>
                    <a:pt x="1413283" y="300787"/>
                  </a:lnTo>
                  <a:lnTo>
                    <a:pt x="1419213" y="297971"/>
                  </a:lnTo>
                  <a:lnTo>
                    <a:pt x="1429763" y="290628"/>
                  </a:lnTo>
                  <a:lnTo>
                    <a:pt x="1432077" y="290552"/>
                  </a:lnTo>
                  <a:lnTo>
                    <a:pt x="1439721" y="291711"/>
                  </a:lnTo>
                  <a:lnTo>
                    <a:pt x="1435526" y="290043"/>
                  </a:lnTo>
                  <a:lnTo>
                    <a:pt x="1431422" y="287563"/>
                  </a:lnTo>
                  <a:lnTo>
                    <a:pt x="1422285" y="288206"/>
                  </a:lnTo>
                  <a:lnTo>
                    <a:pt x="1425508" y="272286"/>
                  </a:lnTo>
                  <a:lnTo>
                    <a:pt x="1419395" y="284197"/>
                  </a:lnTo>
                  <a:lnTo>
                    <a:pt x="1413162" y="290418"/>
                  </a:lnTo>
                  <a:lnTo>
                    <a:pt x="1409388" y="293557"/>
                  </a:lnTo>
                  <a:lnTo>
                    <a:pt x="1405154" y="295362"/>
                  </a:lnTo>
                  <a:lnTo>
                    <a:pt x="1389133" y="296918"/>
                  </a:lnTo>
                  <a:lnTo>
                    <a:pt x="1393068" y="291109"/>
                  </a:lnTo>
                  <a:lnTo>
                    <a:pt x="1396682" y="282515"/>
                  </a:lnTo>
                  <a:lnTo>
                    <a:pt x="1392857" y="285730"/>
                  </a:lnTo>
                  <a:lnTo>
                    <a:pt x="1383826" y="290556"/>
                  </a:lnTo>
                  <a:lnTo>
                    <a:pt x="1377068" y="293084"/>
                  </a:lnTo>
                  <a:lnTo>
                    <a:pt x="1371499" y="294415"/>
                  </a:lnTo>
                  <a:lnTo>
                    <a:pt x="1360694" y="294094"/>
                  </a:lnTo>
                  <a:lnTo>
                    <a:pt x="1355309" y="291679"/>
                  </a:lnTo>
                  <a:lnTo>
                    <a:pt x="1356846" y="285741"/>
                  </a:lnTo>
                  <a:lnTo>
                    <a:pt x="1356841" y="278406"/>
                  </a:lnTo>
                  <a:lnTo>
                    <a:pt x="1360139" y="274997"/>
                  </a:lnTo>
                  <a:lnTo>
                    <a:pt x="1365133" y="270619"/>
                  </a:lnTo>
                  <a:lnTo>
                    <a:pt x="1370492" y="264704"/>
                  </a:lnTo>
                  <a:lnTo>
                    <a:pt x="1374170" y="258541"/>
                  </a:lnTo>
                  <a:lnTo>
                    <a:pt x="1388522" y="255785"/>
                  </a:lnTo>
                  <a:lnTo>
                    <a:pt x="1402490" y="254661"/>
                  </a:lnTo>
                  <a:lnTo>
                    <a:pt x="1414188" y="251394"/>
                  </a:lnTo>
                  <a:lnTo>
                    <a:pt x="1419916" y="250820"/>
                  </a:lnTo>
                  <a:lnTo>
                    <a:pt x="1425406" y="252372"/>
                  </a:lnTo>
                  <a:lnTo>
                    <a:pt x="1447703" y="254916"/>
                  </a:lnTo>
                  <a:lnTo>
                    <a:pt x="1456854" y="256856"/>
                  </a:lnTo>
                  <a:lnTo>
                    <a:pt x="1460868" y="258262"/>
                  </a:lnTo>
                  <a:lnTo>
                    <a:pt x="1463842" y="258768"/>
                  </a:lnTo>
                  <a:lnTo>
                    <a:pt x="1466986" y="256668"/>
                  </a:lnTo>
                  <a:lnTo>
                    <a:pt x="1470984" y="254637"/>
                  </a:lnTo>
                  <a:lnTo>
                    <a:pt x="1484879" y="254845"/>
                  </a:lnTo>
                  <a:lnTo>
                    <a:pt x="1488710" y="254473"/>
                  </a:lnTo>
                  <a:lnTo>
                    <a:pt x="1492250" y="253518"/>
                  </a:lnTo>
                  <a:lnTo>
                    <a:pt x="1496560" y="251591"/>
                  </a:lnTo>
                  <a:lnTo>
                    <a:pt x="1501639" y="248681"/>
                  </a:lnTo>
                  <a:lnTo>
                    <a:pt x="1502418" y="247252"/>
                  </a:lnTo>
                  <a:lnTo>
                    <a:pt x="1498893" y="247305"/>
                  </a:lnTo>
                  <a:lnTo>
                    <a:pt x="1495363" y="248034"/>
                  </a:lnTo>
                  <a:lnTo>
                    <a:pt x="1490061" y="250156"/>
                  </a:lnTo>
                  <a:lnTo>
                    <a:pt x="1484956" y="251301"/>
                  </a:lnTo>
                  <a:lnTo>
                    <a:pt x="1479749" y="251085"/>
                  </a:lnTo>
                  <a:lnTo>
                    <a:pt x="1469240" y="249290"/>
                  </a:lnTo>
                  <a:lnTo>
                    <a:pt x="1450982" y="248967"/>
                  </a:lnTo>
                  <a:lnTo>
                    <a:pt x="1441671" y="248149"/>
                  </a:lnTo>
                  <a:lnTo>
                    <a:pt x="1437353" y="247280"/>
                  </a:lnTo>
                  <a:lnTo>
                    <a:pt x="1434921" y="246083"/>
                  </a:lnTo>
                  <a:lnTo>
                    <a:pt x="1432795" y="244283"/>
                  </a:lnTo>
                  <a:lnTo>
                    <a:pt x="1430971" y="241878"/>
                  </a:lnTo>
                  <a:lnTo>
                    <a:pt x="1431922" y="240187"/>
                  </a:lnTo>
                  <a:lnTo>
                    <a:pt x="1435642" y="239213"/>
                  </a:lnTo>
                  <a:lnTo>
                    <a:pt x="1438861" y="239009"/>
                  </a:lnTo>
                  <a:lnTo>
                    <a:pt x="1444023" y="240334"/>
                  </a:lnTo>
                  <a:lnTo>
                    <a:pt x="1449815" y="242579"/>
                  </a:lnTo>
                  <a:lnTo>
                    <a:pt x="1456122" y="242871"/>
                  </a:lnTo>
                  <a:lnTo>
                    <a:pt x="1453938" y="240820"/>
                  </a:lnTo>
                  <a:lnTo>
                    <a:pt x="1445922" y="236696"/>
                  </a:lnTo>
                  <a:lnTo>
                    <a:pt x="1440363" y="233192"/>
                  </a:lnTo>
                  <a:lnTo>
                    <a:pt x="1435706" y="228877"/>
                  </a:lnTo>
                  <a:lnTo>
                    <a:pt x="1432122" y="224600"/>
                  </a:lnTo>
                  <a:lnTo>
                    <a:pt x="1424160" y="217876"/>
                  </a:lnTo>
                  <a:lnTo>
                    <a:pt x="1417735" y="211170"/>
                  </a:lnTo>
                  <a:lnTo>
                    <a:pt x="1413203" y="208195"/>
                  </a:lnTo>
                  <a:lnTo>
                    <a:pt x="1408426" y="206720"/>
                  </a:lnTo>
                  <a:lnTo>
                    <a:pt x="1393857" y="204880"/>
                  </a:lnTo>
                  <a:lnTo>
                    <a:pt x="1390937" y="203680"/>
                  </a:lnTo>
                  <a:lnTo>
                    <a:pt x="1383987" y="197793"/>
                  </a:lnTo>
                  <a:lnTo>
                    <a:pt x="1382121" y="187808"/>
                  </a:lnTo>
                  <a:lnTo>
                    <a:pt x="1379074" y="181701"/>
                  </a:lnTo>
                  <a:lnTo>
                    <a:pt x="1382015" y="173866"/>
                  </a:lnTo>
                  <a:lnTo>
                    <a:pt x="1386866" y="170303"/>
                  </a:lnTo>
                  <a:lnTo>
                    <a:pt x="1415964" y="173078"/>
                  </a:lnTo>
                  <a:lnTo>
                    <a:pt x="1428241" y="172662"/>
                  </a:lnTo>
                  <a:lnTo>
                    <a:pt x="1443934" y="173649"/>
                  </a:lnTo>
                  <a:lnTo>
                    <a:pt x="1452376" y="175572"/>
                  </a:lnTo>
                  <a:lnTo>
                    <a:pt x="1462009" y="180340"/>
                  </a:lnTo>
                  <a:lnTo>
                    <a:pt x="1470616" y="185699"/>
                  </a:lnTo>
                  <a:lnTo>
                    <a:pt x="1478902" y="189276"/>
                  </a:lnTo>
                  <a:lnTo>
                    <a:pt x="1486522" y="194159"/>
                  </a:lnTo>
                  <a:lnTo>
                    <a:pt x="1494844" y="201386"/>
                  </a:lnTo>
                  <a:lnTo>
                    <a:pt x="1499739" y="204844"/>
                  </a:lnTo>
                  <a:lnTo>
                    <a:pt x="1503982" y="206952"/>
                  </a:lnTo>
                  <a:lnTo>
                    <a:pt x="1509696" y="208766"/>
                  </a:lnTo>
                  <a:lnTo>
                    <a:pt x="1520472" y="211052"/>
                  </a:lnTo>
                  <a:lnTo>
                    <a:pt x="1529860" y="211806"/>
                  </a:lnTo>
                  <a:lnTo>
                    <a:pt x="1534725" y="211508"/>
                  </a:lnTo>
                  <a:lnTo>
                    <a:pt x="1539931" y="209850"/>
                  </a:lnTo>
                  <a:lnTo>
                    <a:pt x="1543638" y="207888"/>
                  </a:lnTo>
                  <a:lnTo>
                    <a:pt x="1539505" y="207344"/>
                  </a:lnTo>
                  <a:lnTo>
                    <a:pt x="1528689" y="207574"/>
                  </a:lnTo>
                  <a:lnTo>
                    <a:pt x="1521179" y="206532"/>
                  </a:lnTo>
                  <a:lnTo>
                    <a:pt x="1516897" y="204219"/>
                  </a:lnTo>
                  <a:lnTo>
                    <a:pt x="1512343" y="201097"/>
                  </a:lnTo>
                  <a:lnTo>
                    <a:pt x="1505102" y="195198"/>
                  </a:lnTo>
                  <a:lnTo>
                    <a:pt x="1499624" y="191335"/>
                  </a:lnTo>
                  <a:lnTo>
                    <a:pt x="1487653" y="185018"/>
                  </a:lnTo>
                  <a:lnTo>
                    <a:pt x="1478806" y="178716"/>
                  </a:lnTo>
                  <a:lnTo>
                    <a:pt x="1471710" y="172721"/>
                  </a:lnTo>
                  <a:lnTo>
                    <a:pt x="1471054" y="170111"/>
                  </a:lnTo>
                  <a:lnTo>
                    <a:pt x="1476181" y="168293"/>
                  </a:lnTo>
                  <a:lnTo>
                    <a:pt x="1482487" y="167020"/>
                  </a:lnTo>
                  <a:lnTo>
                    <a:pt x="1521953" y="162939"/>
                  </a:lnTo>
                  <a:lnTo>
                    <a:pt x="1545499" y="158052"/>
                  </a:lnTo>
                  <a:lnTo>
                    <a:pt x="1555051" y="152366"/>
                  </a:lnTo>
                  <a:lnTo>
                    <a:pt x="1556192" y="151033"/>
                  </a:lnTo>
                  <a:lnTo>
                    <a:pt x="1587714" y="142971"/>
                  </a:lnTo>
                  <a:lnTo>
                    <a:pt x="1610004" y="139987"/>
                  </a:lnTo>
                  <a:lnTo>
                    <a:pt x="1618573" y="139504"/>
                  </a:lnTo>
                  <a:lnTo>
                    <a:pt x="1626337" y="138207"/>
                  </a:lnTo>
                  <a:lnTo>
                    <a:pt x="1626658" y="137413"/>
                  </a:lnTo>
                  <a:lnTo>
                    <a:pt x="1619857" y="136329"/>
                  </a:lnTo>
                  <a:lnTo>
                    <a:pt x="1612988" y="135796"/>
                  </a:lnTo>
                  <a:lnTo>
                    <a:pt x="1597410" y="135830"/>
                  </a:lnTo>
                  <a:lnTo>
                    <a:pt x="1583535" y="134844"/>
                  </a:lnTo>
                  <a:lnTo>
                    <a:pt x="1579345" y="133047"/>
                  </a:lnTo>
                  <a:lnTo>
                    <a:pt x="1580216" y="130107"/>
                  </a:lnTo>
                  <a:lnTo>
                    <a:pt x="1581549" y="127581"/>
                  </a:lnTo>
                  <a:lnTo>
                    <a:pt x="1585742" y="123349"/>
                  </a:lnTo>
                  <a:lnTo>
                    <a:pt x="1590233" y="120164"/>
                  </a:lnTo>
                  <a:lnTo>
                    <a:pt x="1609271" y="110957"/>
                  </a:lnTo>
                  <a:lnTo>
                    <a:pt x="1622084" y="107069"/>
                  </a:lnTo>
                  <a:lnTo>
                    <a:pt x="1625776" y="104381"/>
                  </a:lnTo>
                  <a:lnTo>
                    <a:pt x="1598207" y="110373"/>
                  </a:lnTo>
                  <a:lnTo>
                    <a:pt x="1588578" y="114690"/>
                  </a:lnTo>
                  <a:lnTo>
                    <a:pt x="1578898" y="121157"/>
                  </a:lnTo>
                  <a:lnTo>
                    <a:pt x="1573886" y="123057"/>
                  </a:lnTo>
                  <a:lnTo>
                    <a:pt x="1570313" y="122555"/>
                  </a:lnTo>
                  <a:lnTo>
                    <a:pt x="1567121" y="123157"/>
                  </a:lnTo>
                  <a:lnTo>
                    <a:pt x="1564311" y="124859"/>
                  </a:lnTo>
                  <a:lnTo>
                    <a:pt x="1561953" y="127974"/>
                  </a:lnTo>
                  <a:lnTo>
                    <a:pt x="1560048" y="132493"/>
                  </a:lnTo>
                  <a:lnTo>
                    <a:pt x="1558320" y="135563"/>
                  </a:lnTo>
                  <a:lnTo>
                    <a:pt x="1556768" y="137198"/>
                  </a:lnTo>
                  <a:lnTo>
                    <a:pt x="1552846" y="139562"/>
                  </a:lnTo>
                  <a:lnTo>
                    <a:pt x="1543407" y="144182"/>
                  </a:lnTo>
                  <a:lnTo>
                    <a:pt x="1521259" y="150619"/>
                  </a:lnTo>
                  <a:lnTo>
                    <a:pt x="1513806" y="152250"/>
                  </a:lnTo>
                  <a:lnTo>
                    <a:pt x="1507423" y="152509"/>
                  </a:lnTo>
                  <a:lnTo>
                    <a:pt x="1486744" y="156127"/>
                  </a:lnTo>
                  <a:lnTo>
                    <a:pt x="1480536" y="156270"/>
                  </a:lnTo>
                  <a:lnTo>
                    <a:pt x="1473658" y="155173"/>
                  </a:lnTo>
                  <a:lnTo>
                    <a:pt x="1476599" y="152046"/>
                  </a:lnTo>
                  <a:lnTo>
                    <a:pt x="1487541" y="146265"/>
                  </a:lnTo>
                  <a:lnTo>
                    <a:pt x="1490443" y="143684"/>
                  </a:lnTo>
                  <a:lnTo>
                    <a:pt x="1483443" y="144247"/>
                  </a:lnTo>
                  <a:lnTo>
                    <a:pt x="1476304" y="145830"/>
                  </a:lnTo>
                  <a:lnTo>
                    <a:pt x="1460546" y="147133"/>
                  </a:lnTo>
                  <a:lnTo>
                    <a:pt x="1454316" y="149488"/>
                  </a:lnTo>
                  <a:lnTo>
                    <a:pt x="1448275" y="153748"/>
                  </a:lnTo>
                  <a:lnTo>
                    <a:pt x="1443434" y="156425"/>
                  </a:lnTo>
                  <a:lnTo>
                    <a:pt x="1439795" y="157509"/>
                  </a:lnTo>
                  <a:lnTo>
                    <a:pt x="1434774" y="158158"/>
                  </a:lnTo>
                  <a:lnTo>
                    <a:pt x="1416314" y="158488"/>
                  </a:lnTo>
                  <a:lnTo>
                    <a:pt x="1412217" y="158204"/>
                  </a:lnTo>
                  <a:lnTo>
                    <a:pt x="1401597" y="154961"/>
                  </a:lnTo>
                  <a:lnTo>
                    <a:pt x="1392192" y="156080"/>
                  </a:lnTo>
                  <a:lnTo>
                    <a:pt x="1388308" y="155866"/>
                  </a:lnTo>
                  <a:lnTo>
                    <a:pt x="1381176" y="153573"/>
                  </a:lnTo>
                  <a:lnTo>
                    <a:pt x="1379050" y="152084"/>
                  </a:lnTo>
                  <a:lnTo>
                    <a:pt x="1379363" y="150080"/>
                  </a:lnTo>
                  <a:lnTo>
                    <a:pt x="1383487" y="146303"/>
                  </a:lnTo>
                  <a:lnTo>
                    <a:pt x="1388263" y="142665"/>
                  </a:lnTo>
                  <a:lnTo>
                    <a:pt x="1403801" y="134656"/>
                  </a:lnTo>
                  <a:lnTo>
                    <a:pt x="1413767" y="130892"/>
                  </a:lnTo>
                  <a:lnTo>
                    <a:pt x="1428128" y="127645"/>
                  </a:lnTo>
                  <a:lnTo>
                    <a:pt x="1461870" y="124009"/>
                  </a:lnTo>
                  <a:lnTo>
                    <a:pt x="1463402" y="121340"/>
                  </a:lnTo>
                  <a:lnTo>
                    <a:pt x="1429256" y="124321"/>
                  </a:lnTo>
                  <a:lnTo>
                    <a:pt x="1400212" y="128082"/>
                  </a:lnTo>
                  <a:lnTo>
                    <a:pt x="1395498" y="129461"/>
                  </a:lnTo>
                  <a:lnTo>
                    <a:pt x="1388736" y="133141"/>
                  </a:lnTo>
                  <a:lnTo>
                    <a:pt x="1367263" y="146406"/>
                  </a:lnTo>
                  <a:lnTo>
                    <a:pt x="1360934" y="149741"/>
                  </a:lnTo>
                  <a:lnTo>
                    <a:pt x="1351254" y="150538"/>
                  </a:lnTo>
                  <a:lnTo>
                    <a:pt x="1343850" y="149410"/>
                  </a:lnTo>
                  <a:lnTo>
                    <a:pt x="1338061" y="147733"/>
                  </a:lnTo>
                  <a:lnTo>
                    <a:pt x="1328092" y="143817"/>
                  </a:lnTo>
                  <a:lnTo>
                    <a:pt x="1320578" y="141714"/>
                  </a:lnTo>
                  <a:lnTo>
                    <a:pt x="1317023" y="140297"/>
                  </a:lnTo>
                  <a:lnTo>
                    <a:pt x="1314920" y="138867"/>
                  </a:lnTo>
                  <a:lnTo>
                    <a:pt x="1313216" y="137189"/>
                  </a:lnTo>
                  <a:lnTo>
                    <a:pt x="1311910" y="135267"/>
                  </a:lnTo>
                  <a:lnTo>
                    <a:pt x="1314355" y="133663"/>
                  </a:lnTo>
                  <a:lnTo>
                    <a:pt x="1333468" y="130185"/>
                  </a:lnTo>
                  <a:lnTo>
                    <a:pt x="1359444" y="130863"/>
                  </a:lnTo>
                  <a:lnTo>
                    <a:pt x="1371099" y="130145"/>
                  </a:lnTo>
                  <a:lnTo>
                    <a:pt x="1382566" y="128040"/>
                  </a:lnTo>
                  <a:lnTo>
                    <a:pt x="1399484" y="122798"/>
                  </a:lnTo>
                  <a:lnTo>
                    <a:pt x="1417900" y="115415"/>
                  </a:lnTo>
                  <a:lnTo>
                    <a:pt x="1421503" y="113052"/>
                  </a:lnTo>
                  <a:lnTo>
                    <a:pt x="1414781" y="112532"/>
                  </a:lnTo>
                  <a:lnTo>
                    <a:pt x="1409806" y="113108"/>
                  </a:lnTo>
                  <a:lnTo>
                    <a:pt x="1397824" y="115755"/>
                  </a:lnTo>
                  <a:lnTo>
                    <a:pt x="1378865" y="122853"/>
                  </a:lnTo>
                  <a:lnTo>
                    <a:pt x="1362323" y="125353"/>
                  </a:lnTo>
                  <a:lnTo>
                    <a:pt x="1321456" y="126684"/>
                  </a:lnTo>
                  <a:lnTo>
                    <a:pt x="1308485" y="128661"/>
                  </a:lnTo>
                  <a:lnTo>
                    <a:pt x="1302788" y="128237"/>
                  </a:lnTo>
                  <a:lnTo>
                    <a:pt x="1298497" y="126305"/>
                  </a:lnTo>
                  <a:lnTo>
                    <a:pt x="1293713" y="122730"/>
                  </a:lnTo>
                  <a:lnTo>
                    <a:pt x="1294566" y="119862"/>
                  </a:lnTo>
                  <a:lnTo>
                    <a:pt x="1304301" y="116639"/>
                  </a:lnTo>
                  <a:lnTo>
                    <a:pt x="1311929" y="115883"/>
                  </a:lnTo>
                  <a:lnTo>
                    <a:pt x="1313294" y="115221"/>
                  </a:lnTo>
                  <a:lnTo>
                    <a:pt x="1302468" y="112102"/>
                  </a:lnTo>
                  <a:lnTo>
                    <a:pt x="1301505" y="110505"/>
                  </a:lnTo>
                  <a:lnTo>
                    <a:pt x="1307759" y="106964"/>
                  </a:lnTo>
                  <a:lnTo>
                    <a:pt x="1321318" y="101735"/>
                  </a:lnTo>
                  <a:lnTo>
                    <a:pt x="1328173" y="100085"/>
                  </a:lnTo>
                  <a:lnTo>
                    <a:pt x="1340735" y="99034"/>
                  </a:lnTo>
                  <a:lnTo>
                    <a:pt x="1353662" y="99608"/>
                  </a:lnTo>
                  <a:lnTo>
                    <a:pt x="1354161" y="98609"/>
                  </a:lnTo>
                  <a:lnTo>
                    <a:pt x="1341373" y="96623"/>
                  </a:lnTo>
                  <a:lnTo>
                    <a:pt x="1331796" y="96259"/>
                  </a:lnTo>
                  <a:lnTo>
                    <a:pt x="1319135" y="97660"/>
                  </a:lnTo>
                  <a:lnTo>
                    <a:pt x="1285534" y="106139"/>
                  </a:lnTo>
                  <a:lnTo>
                    <a:pt x="1282674" y="105884"/>
                  </a:lnTo>
                  <a:lnTo>
                    <a:pt x="1277787" y="104426"/>
                  </a:lnTo>
                  <a:lnTo>
                    <a:pt x="1279188" y="102333"/>
                  </a:lnTo>
                  <a:lnTo>
                    <a:pt x="1297155" y="93410"/>
                  </a:lnTo>
                  <a:lnTo>
                    <a:pt x="1297751" y="92001"/>
                  </a:lnTo>
                  <a:lnTo>
                    <a:pt x="1284841" y="92203"/>
                  </a:lnTo>
                  <a:lnTo>
                    <a:pt x="1281049" y="91779"/>
                  </a:lnTo>
                  <a:lnTo>
                    <a:pt x="1277349" y="90718"/>
                  </a:lnTo>
                  <a:lnTo>
                    <a:pt x="1272089" y="91661"/>
                  </a:lnTo>
                  <a:lnTo>
                    <a:pt x="1265268" y="94602"/>
                  </a:lnTo>
                  <a:lnTo>
                    <a:pt x="1260460" y="95860"/>
                  </a:lnTo>
                  <a:lnTo>
                    <a:pt x="1257660" y="95437"/>
                  </a:lnTo>
                  <a:lnTo>
                    <a:pt x="1250527" y="91951"/>
                  </a:lnTo>
                  <a:lnTo>
                    <a:pt x="1251454" y="89027"/>
                  </a:lnTo>
                  <a:lnTo>
                    <a:pt x="1257127" y="85352"/>
                  </a:lnTo>
                  <a:lnTo>
                    <a:pt x="1262309" y="82700"/>
                  </a:lnTo>
                  <a:lnTo>
                    <a:pt x="1269346" y="80278"/>
                  </a:lnTo>
                  <a:lnTo>
                    <a:pt x="1280801" y="77235"/>
                  </a:lnTo>
                  <a:lnTo>
                    <a:pt x="1289096" y="76208"/>
                  </a:lnTo>
                  <a:lnTo>
                    <a:pt x="1302526" y="76178"/>
                  </a:lnTo>
                  <a:lnTo>
                    <a:pt x="1308925" y="74818"/>
                  </a:lnTo>
                  <a:lnTo>
                    <a:pt x="1314622" y="72449"/>
                  </a:lnTo>
                  <a:lnTo>
                    <a:pt x="1321750" y="68608"/>
                  </a:lnTo>
                  <a:lnTo>
                    <a:pt x="1329569" y="65962"/>
                  </a:lnTo>
                  <a:lnTo>
                    <a:pt x="1342340" y="63784"/>
                  </a:lnTo>
                  <a:lnTo>
                    <a:pt x="1353099" y="64487"/>
                  </a:lnTo>
                  <a:lnTo>
                    <a:pt x="1359045" y="66385"/>
                  </a:lnTo>
                  <a:lnTo>
                    <a:pt x="1363767" y="69708"/>
                  </a:lnTo>
                  <a:lnTo>
                    <a:pt x="1368838" y="72246"/>
                  </a:lnTo>
                  <a:lnTo>
                    <a:pt x="1369319" y="70197"/>
                  </a:lnTo>
                  <a:lnTo>
                    <a:pt x="1373507" y="67667"/>
                  </a:lnTo>
                  <a:lnTo>
                    <a:pt x="1378761" y="66580"/>
                  </a:lnTo>
                  <a:lnTo>
                    <a:pt x="1385082" y="66943"/>
                  </a:lnTo>
                  <a:lnTo>
                    <a:pt x="1390640" y="68146"/>
                  </a:lnTo>
                  <a:lnTo>
                    <a:pt x="1397830" y="71207"/>
                  </a:lnTo>
                  <a:lnTo>
                    <a:pt x="1403641" y="72581"/>
                  </a:lnTo>
                  <a:lnTo>
                    <a:pt x="1406371" y="72497"/>
                  </a:lnTo>
                  <a:lnTo>
                    <a:pt x="1409789" y="70805"/>
                  </a:lnTo>
                  <a:lnTo>
                    <a:pt x="1418876" y="70769"/>
                  </a:lnTo>
                  <a:lnTo>
                    <a:pt x="1418687" y="70050"/>
                  </a:lnTo>
                  <a:lnTo>
                    <a:pt x="1415721" y="68278"/>
                  </a:lnTo>
                  <a:lnTo>
                    <a:pt x="1412137" y="67012"/>
                  </a:lnTo>
                  <a:lnTo>
                    <a:pt x="1379933" y="58190"/>
                  </a:lnTo>
                  <a:lnTo>
                    <a:pt x="1379046" y="56255"/>
                  </a:lnTo>
                  <a:lnTo>
                    <a:pt x="1389898" y="54437"/>
                  </a:lnTo>
                  <a:lnTo>
                    <a:pt x="1396683" y="52264"/>
                  </a:lnTo>
                  <a:lnTo>
                    <a:pt x="1399868" y="51735"/>
                  </a:lnTo>
                  <a:lnTo>
                    <a:pt x="1407819" y="47103"/>
                  </a:lnTo>
                  <a:lnTo>
                    <a:pt x="1413014" y="44685"/>
                  </a:lnTo>
                  <a:lnTo>
                    <a:pt x="1422628" y="41937"/>
                  </a:lnTo>
                  <a:lnTo>
                    <a:pt x="1426484" y="42687"/>
                  </a:lnTo>
                  <a:lnTo>
                    <a:pt x="1431336" y="45113"/>
                  </a:lnTo>
                  <a:lnTo>
                    <a:pt x="1436034" y="46630"/>
                  </a:lnTo>
                  <a:lnTo>
                    <a:pt x="1449841" y="48073"/>
                  </a:lnTo>
                  <a:lnTo>
                    <a:pt x="1455747" y="49575"/>
                  </a:lnTo>
                  <a:lnTo>
                    <a:pt x="1466270" y="58190"/>
                  </a:lnTo>
                  <a:lnTo>
                    <a:pt x="1470467" y="60998"/>
                  </a:lnTo>
                  <a:lnTo>
                    <a:pt x="1476449" y="63879"/>
                  </a:lnTo>
                  <a:lnTo>
                    <a:pt x="1480013" y="64964"/>
                  </a:lnTo>
                  <a:lnTo>
                    <a:pt x="1487054" y="65658"/>
                  </a:lnTo>
                  <a:lnTo>
                    <a:pt x="1487779" y="64029"/>
                  </a:lnTo>
                  <a:lnTo>
                    <a:pt x="1479419" y="59975"/>
                  </a:lnTo>
                  <a:lnTo>
                    <a:pt x="1477128" y="57620"/>
                  </a:lnTo>
                  <a:lnTo>
                    <a:pt x="1478113" y="55626"/>
                  </a:lnTo>
                  <a:lnTo>
                    <a:pt x="1479894" y="54572"/>
                  </a:lnTo>
                  <a:lnTo>
                    <a:pt x="1482467" y="54478"/>
                  </a:lnTo>
                  <a:lnTo>
                    <a:pt x="1489068" y="56260"/>
                  </a:lnTo>
                  <a:lnTo>
                    <a:pt x="1506617" y="62301"/>
                  </a:lnTo>
                  <a:lnTo>
                    <a:pt x="1532851" y="69433"/>
                  </a:lnTo>
                  <a:lnTo>
                    <a:pt x="1542905" y="71086"/>
                  </a:lnTo>
                  <a:lnTo>
                    <a:pt x="1549110" y="73625"/>
                  </a:lnTo>
                  <a:lnTo>
                    <a:pt x="1554767" y="76706"/>
                  </a:lnTo>
                  <a:lnTo>
                    <a:pt x="1560343" y="78832"/>
                  </a:lnTo>
                  <a:lnTo>
                    <a:pt x="1561377" y="78628"/>
                  </a:lnTo>
                  <a:lnTo>
                    <a:pt x="1556189" y="73864"/>
                  </a:lnTo>
                  <a:lnTo>
                    <a:pt x="1543501" y="67973"/>
                  </a:lnTo>
                  <a:lnTo>
                    <a:pt x="1509564" y="57870"/>
                  </a:lnTo>
                  <a:lnTo>
                    <a:pt x="1496142" y="52560"/>
                  </a:lnTo>
                  <a:lnTo>
                    <a:pt x="1489649" y="48963"/>
                  </a:lnTo>
                  <a:lnTo>
                    <a:pt x="1484732" y="45320"/>
                  </a:lnTo>
                  <a:lnTo>
                    <a:pt x="1484636" y="43325"/>
                  </a:lnTo>
                  <a:lnTo>
                    <a:pt x="1489263" y="40988"/>
                  </a:lnTo>
                  <a:lnTo>
                    <a:pt x="1495492" y="39135"/>
                  </a:lnTo>
                  <a:lnTo>
                    <a:pt x="1503237" y="38396"/>
                  </a:lnTo>
                  <a:lnTo>
                    <a:pt x="1504165" y="37623"/>
                  </a:lnTo>
                  <a:lnTo>
                    <a:pt x="1497130" y="34840"/>
                  </a:lnTo>
                  <a:lnTo>
                    <a:pt x="1492975" y="32432"/>
                  </a:lnTo>
                  <a:lnTo>
                    <a:pt x="1493118" y="30748"/>
                  </a:lnTo>
                  <a:lnTo>
                    <a:pt x="1501523" y="29462"/>
                  </a:lnTo>
                  <a:lnTo>
                    <a:pt x="1506739" y="29849"/>
                  </a:lnTo>
                  <a:lnTo>
                    <a:pt x="1516649" y="32887"/>
                  </a:lnTo>
                  <a:lnTo>
                    <a:pt x="1524924" y="34321"/>
                  </a:lnTo>
                  <a:lnTo>
                    <a:pt x="1526264" y="33394"/>
                  </a:lnTo>
                  <a:lnTo>
                    <a:pt x="1517720" y="25301"/>
                  </a:lnTo>
                  <a:lnTo>
                    <a:pt x="1516921" y="23473"/>
                  </a:lnTo>
                  <a:lnTo>
                    <a:pt x="1518187" y="22402"/>
                  </a:lnTo>
                  <a:lnTo>
                    <a:pt x="1521179" y="21313"/>
                  </a:lnTo>
                  <a:lnTo>
                    <a:pt x="1530132" y="21939"/>
                  </a:lnTo>
                  <a:lnTo>
                    <a:pt x="1544872" y="25888"/>
                  </a:lnTo>
                  <a:lnTo>
                    <a:pt x="1571261" y="27868"/>
                  </a:lnTo>
                  <a:lnTo>
                    <a:pt x="1578520" y="27571"/>
                  </a:lnTo>
                  <a:lnTo>
                    <a:pt x="1577429" y="26661"/>
                  </a:lnTo>
                  <a:lnTo>
                    <a:pt x="1566895" y="24221"/>
                  </a:lnTo>
                  <a:lnTo>
                    <a:pt x="1555871" y="20941"/>
                  </a:lnTo>
                  <a:lnTo>
                    <a:pt x="1551009" y="18955"/>
                  </a:lnTo>
                  <a:lnTo>
                    <a:pt x="1547445" y="16279"/>
                  </a:lnTo>
                  <a:lnTo>
                    <a:pt x="1543215" y="14055"/>
                  </a:lnTo>
                  <a:lnTo>
                    <a:pt x="1542865" y="12989"/>
                  </a:lnTo>
                  <a:lnTo>
                    <a:pt x="1549676" y="11257"/>
                  </a:lnTo>
                  <a:lnTo>
                    <a:pt x="1567571" y="11593"/>
                  </a:lnTo>
                  <a:lnTo>
                    <a:pt x="1584196" y="14253"/>
                  </a:lnTo>
                  <a:lnTo>
                    <a:pt x="1598302" y="13291"/>
                  </a:lnTo>
                  <a:lnTo>
                    <a:pt x="1607191" y="13953"/>
                  </a:lnTo>
                  <a:lnTo>
                    <a:pt x="1610702" y="14755"/>
                  </a:lnTo>
                  <a:lnTo>
                    <a:pt x="1617135" y="17652"/>
                  </a:lnTo>
                  <a:lnTo>
                    <a:pt x="1637544" y="28103"/>
                  </a:lnTo>
                  <a:lnTo>
                    <a:pt x="1639711" y="29761"/>
                  </a:lnTo>
                  <a:lnTo>
                    <a:pt x="1642031" y="32285"/>
                  </a:lnTo>
                  <a:lnTo>
                    <a:pt x="1644504" y="35676"/>
                  </a:lnTo>
                  <a:lnTo>
                    <a:pt x="1647981" y="36593"/>
                  </a:lnTo>
                  <a:lnTo>
                    <a:pt x="1654702" y="34266"/>
                  </a:lnTo>
                  <a:lnTo>
                    <a:pt x="1659234" y="32007"/>
                  </a:lnTo>
                  <a:lnTo>
                    <a:pt x="1657275" y="29819"/>
                  </a:lnTo>
                  <a:lnTo>
                    <a:pt x="1646014" y="24794"/>
                  </a:lnTo>
                  <a:lnTo>
                    <a:pt x="1643457" y="22642"/>
                  </a:lnTo>
                  <a:lnTo>
                    <a:pt x="1637825" y="18999"/>
                  </a:lnTo>
                  <a:lnTo>
                    <a:pt x="1625184" y="12464"/>
                  </a:lnTo>
                  <a:lnTo>
                    <a:pt x="1621818" y="9423"/>
                  </a:lnTo>
                  <a:lnTo>
                    <a:pt x="1619696" y="6826"/>
                  </a:lnTo>
                  <a:lnTo>
                    <a:pt x="1654687" y="4378"/>
                  </a:lnTo>
                  <a:lnTo>
                    <a:pt x="1688430" y="6535"/>
                  </a:lnTo>
                  <a:lnTo>
                    <a:pt x="1693917" y="8064"/>
                  </a:lnTo>
                  <a:lnTo>
                    <a:pt x="1697516" y="10192"/>
                  </a:lnTo>
                  <a:lnTo>
                    <a:pt x="1701049" y="13427"/>
                  </a:lnTo>
                  <a:lnTo>
                    <a:pt x="1706459" y="16728"/>
                  </a:lnTo>
                  <a:lnTo>
                    <a:pt x="1717391" y="21782"/>
                  </a:lnTo>
                  <a:lnTo>
                    <a:pt x="1732943" y="24921"/>
                  </a:lnTo>
                  <a:lnTo>
                    <a:pt x="1729970" y="22783"/>
                  </a:lnTo>
                  <a:lnTo>
                    <a:pt x="1718338" y="17209"/>
                  </a:lnTo>
                  <a:lnTo>
                    <a:pt x="1713084" y="13387"/>
                  </a:lnTo>
                  <a:lnTo>
                    <a:pt x="1713114" y="10795"/>
                  </a:lnTo>
                  <a:lnTo>
                    <a:pt x="1714049" y="8815"/>
                  </a:lnTo>
                  <a:lnTo>
                    <a:pt x="1715892" y="7446"/>
                  </a:lnTo>
                  <a:lnTo>
                    <a:pt x="1729063" y="2218"/>
                  </a:lnTo>
                  <a:lnTo>
                    <a:pt x="1747889" y="639"/>
                  </a:lnTo>
                  <a:lnTo>
                    <a:pt x="1750070" y="933"/>
                  </a:lnTo>
                  <a:lnTo>
                    <a:pt x="1764707" y="8959"/>
                  </a:lnTo>
                  <a:lnTo>
                    <a:pt x="1771654" y="12236"/>
                  </a:lnTo>
                  <a:lnTo>
                    <a:pt x="1776512" y="13550"/>
                  </a:lnTo>
                  <a:lnTo>
                    <a:pt x="1776700" y="12979"/>
                  </a:lnTo>
                  <a:lnTo>
                    <a:pt x="1769971" y="9293"/>
                  </a:lnTo>
                  <a:lnTo>
                    <a:pt x="1764797" y="7287"/>
                  </a:lnTo>
                  <a:lnTo>
                    <a:pt x="1764262" y="6028"/>
                  </a:lnTo>
                  <a:lnTo>
                    <a:pt x="1772851" y="2125"/>
                  </a:lnTo>
                  <a:lnTo>
                    <a:pt x="1778283" y="1142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27" name="ee4p_CL_1_37365">
              <a:extLst>
                <a:ext uri="{FF2B5EF4-FFF2-40B4-BE49-F238E27FC236}">
                  <a16:creationId xmlns:a16="http://schemas.microsoft.com/office/drawing/2014/main" id="{B29B4305-96EB-E66B-D98D-9AC0612C035B}"/>
                </a:ext>
              </a:extLst>
            </p:cNvPr>
            <p:cNvSpPr>
              <a:spLocks noChangeAspect="1"/>
            </p:cNvSpPr>
            <p:nvPr>
              <p:custDataLst>
                <p:tags r:id="rId381"/>
              </p:custDataLst>
            </p:nvPr>
          </p:nvSpPr>
          <p:spPr>
            <a:xfrm>
              <a:off x="4412335" y="5180199"/>
              <a:ext cx="257486" cy="1281801"/>
            </a:xfrm>
            <a:custGeom>
              <a:avLst/>
              <a:gdLst>
                <a:gd name="connsiteX0" fmla="*/ 201483 w 235112"/>
                <a:gd name="connsiteY0" fmla="*/ 1136700 h 1139396"/>
                <a:gd name="connsiteX1" fmla="*/ 206992 w 235112"/>
                <a:gd name="connsiteY1" fmla="*/ 1137052 h 1139396"/>
                <a:gd name="connsiteX2" fmla="*/ 207689 w 235112"/>
                <a:gd name="connsiteY2" fmla="*/ 1137295 h 1139396"/>
                <a:gd name="connsiteX3" fmla="*/ 207879 w 235112"/>
                <a:gd name="connsiteY3" fmla="*/ 1137706 h 1139396"/>
                <a:gd name="connsiteX4" fmla="*/ 206980 w 235112"/>
                <a:gd name="connsiteY4" fmla="*/ 1138887 h 1139396"/>
                <a:gd name="connsiteX5" fmla="*/ 206221 w 235112"/>
                <a:gd name="connsiteY5" fmla="*/ 1139323 h 1139396"/>
                <a:gd name="connsiteX6" fmla="*/ 205302 w 235112"/>
                <a:gd name="connsiteY6" fmla="*/ 1139396 h 1139396"/>
                <a:gd name="connsiteX7" fmla="*/ 203069 w 235112"/>
                <a:gd name="connsiteY7" fmla="*/ 1138733 h 1139396"/>
                <a:gd name="connsiteX8" fmla="*/ 199720 w 235112"/>
                <a:gd name="connsiteY8" fmla="*/ 1138437 h 1139396"/>
                <a:gd name="connsiteX9" fmla="*/ 199343 w 235112"/>
                <a:gd name="connsiteY9" fmla="*/ 1138166 h 1139396"/>
                <a:gd name="connsiteX10" fmla="*/ 199260 w 235112"/>
                <a:gd name="connsiteY10" fmla="*/ 1137644 h 1139396"/>
                <a:gd name="connsiteX11" fmla="*/ 199656 w 235112"/>
                <a:gd name="connsiteY11" fmla="*/ 1137107 h 1139396"/>
                <a:gd name="connsiteX12" fmla="*/ 210730 w 235112"/>
                <a:gd name="connsiteY12" fmla="*/ 1128481 h 1139396"/>
                <a:gd name="connsiteX13" fmla="*/ 211321 w 235112"/>
                <a:gd name="connsiteY13" fmla="*/ 1128629 h 1139396"/>
                <a:gd name="connsiteX14" fmla="*/ 211916 w 235112"/>
                <a:gd name="connsiteY14" fmla="*/ 1129439 h 1139396"/>
                <a:gd name="connsiteX15" fmla="*/ 212934 w 235112"/>
                <a:gd name="connsiteY15" fmla="*/ 1132161 h 1139396"/>
                <a:gd name="connsiteX16" fmla="*/ 214151 w 235112"/>
                <a:gd name="connsiteY16" fmla="*/ 1134122 h 1139396"/>
                <a:gd name="connsiteX17" fmla="*/ 214028 w 235112"/>
                <a:gd name="connsiteY17" fmla="*/ 1134800 h 1139396"/>
                <a:gd name="connsiteX18" fmla="*/ 213481 w 235112"/>
                <a:gd name="connsiteY18" fmla="*/ 1135301 h 1139396"/>
                <a:gd name="connsiteX19" fmla="*/ 212558 w 235112"/>
                <a:gd name="connsiteY19" fmla="*/ 1135583 h 1139396"/>
                <a:gd name="connsiteX20" fmla="*/ 211875 w 235112"/>
                <a:gd name="connsiteY20" fmla="*/ 1134915 h 1139396"/>
                <a:gd name="connsiteX21" fmla="*/ 210832 w 235112"/>
                <a:gd name="connsiteY21" fmla="*/ 1134442 h 1139396"/>
                <a:gd name="connsiteX22" fmla="*/ 206608 w 235112"/>
                <a:gd name="connsiteY22" fmla="*/ 1133447 h 1139396"/>
                <a:gd name="connsiteX23" fmla="*/ 206518 w 235112"/>
                <a:gd name="connsiteY23" fmla="*/ 1132842 h 1139396"/>
                <a:gd name="connsiteX24" fmla="*/ 206957 w 235112"/>
                <a:gd name="connsiteY24" fmla="*/ 1131983 h 1139396"/>
                <a:gd name="connsiteX25" fmla="*/ 207804 w 235112"/>
                <a:gd name="connsiteY25" fmla="*/ 1131213 h 1139396"/>
                <a:gd name="connsiteX26" fmla="*/ 209425 w 235112"/>
                <a:gd name="connsiteY26" fmla="*/ 1130453 h 1139396"/>
                <a:gd name="connsiteX27" fmla="*/ 232898 w 235112"/>
                <a:gd name="connsiteY27" fmla="*/ 1113613 h 1139396"/>
                <a:gd name="connsiteX28" fmla="*/ 235112 w 235112"/>
                <a:gd name="connsiteY28" fmla="*/ 1114470 h 1139396"/>
                <a:gd name="connsiteX29" fmla="*/ 234191 w 235112"/>
                <a:gd name="connsiteY29" fmla="*/ 1115861 h 1139396"/>
                <a:gd name="connsiteX30" fmla="*/ 232173 w 235112"/>
                <a:gd name="connsiteY30" fmla="*/ 1117408 h 1139396"/>
                <a:gd name="connsiteX31" fmla="*/ 230666 w 235112"/>
                <a:gd name="connsiteY31" fmla="*/ 1117305 h 1139396"/>
                <a:gd name="connsiteX32" fmla="*/ 230183 w 235112"/>
                <a:gd name="connsiteY32" fmla="*/ 1116745 h 1139396"/>
                <a:gd name="connsiteX33" fmla="*/ 230020 w 235112"/>
                <a:gd name="connsiteY33" fmla="*/ 1116047 h 1139396"/>
                <a:gd name="connsiteX34" fmla="*/ 230321 w 235112"/>
                <a:gd name="connsiteY34" fmla="*/ 1115294 h 1139396"/>
                <a:gd name="connsiteX35" fmla="*/ 230956 w 235112"/>
                <a:gd name="connsiteY35" fmla="*/ 1114608 h 1139396"/>
                <a:gd name="connsiteX36" fmla="*/ 232431 w 235112"/>
                <a:gd name="connsiteY36" fmla="*/ 1113752 h 1139396"/>
                <a:gd name="connsiteX37" fmla="*/ 192738 w 235112"/>
                <a:gd name="connsiteY37" fmla="*/ 1105284 h 1139396"/>
                <a:gd name="connsiteX38" fmla="*/ 198641 w 235112"/>
                <a:gd name="connsiteY38" fmla="*/ 1105295 h 1139396"/>
                <a:gd name="connsiteX39" fmla="*/ 210041 w 235112"/>
                <a:gd name="connsiteY39" fmla="*/ 1106678 h 1139396"/>
                <a:gd name="connsiteX40" fmla="*/ 214587 w 235112"/>
                <a:gd name="connsiteY40" fmla="*/ 1106984 h 1139396"/>
                <a:gd name="connsiteX41" fmla="*/ 218084 w 235112"/>
                <a:gd name="connsiteY41" fmla="*/ 1110013 h 1139396"/>
                <a:gd name="connsiteX42" fmla="*/ 218638 w 235112"/>
                <a:gd name="connsiteY42" fmla="*/ 1111837 h 1139396"/>
                <a:gd name="connsiteX43" fmla="*/ 218779 w 235112"/>
                <a:gd name="connsiteY43" fmla="*/ 1113199 h 1139396"/>
                <a:gd name="connsiteX44" fmla="*/ 218030 w 235112"/>
                <a:gd name="connsiteY44" fmla="*/ 1114552 h 1139396"/>
                <a:gd name="connsiteX45" fmla="*/ 216431 w 235112"/>
                <a:gd name="connsiteY45" fmla="*/ 1116337 h 1139396"/>
                <a:gd name="connsiteX46" fmla="*/ 214278 w 235112"/>
                <a:gd name="connsiteY46" fmla="*/ 1117725 h 1139396"/>
                <a:gd name="connsiteX47" fmla="*/ 212192 w 235112"/>
                <a:gd name="connsiteY47" fmla="*/ 1118106 h 1139396"/>
                <a:gd name="connsiteX48" fmla="*/ 210682 w 235112"/>
                <a:gd name="connsiteY48" fmla="*/ 1117387 h 1139396"/>
                <a:gd name="connsiteX49" fmla="*/ 209918 w 235112"/>
                <a:gd name="connsiteY49" fmla="*/ 1116123 h 1139396"/>
                <a:gd name="connsiteX50" fmla="*/ 209566 w 235112"/>
                <a:gd name="connsiteY50" fmla="*/ 1114873 h 1139396"/>
                <a:gd name="connsiteX51" fmla="*/ 209054 w 235112"/>
                <a:gd name="connsiteY51" fmla="*/ 1114186 h 1139396"/>
                <a:gd name="connsiteX52" fmla="*/ 208261 w 235112"/>
                <a:gd name="connsiteY52" fmla="*/ 1114034 h 1139396"/>
                <a:gd name="connsiteX53" fmla="*/ 207234 w 235112"/>
                <a:gd name="connsiteY53" fmla="*/ 1114072 h 1139396"/>
                <a:gd name="connsiteX54" fmla="*/ 205967 w 235112"/>
                <a:gd name="connsiteY54" fmla="*/ 1114549 h 1139396"/>
                <a:gd name="connsiteX55" fmla="*/ 203273 w 235112"/>
                <a:gd name="connsiteY55" fmla="*/ 1116352 h 1139396"/>
                <a:gd name="connsiteX56" fmla="*/ 202119 w 235112"/>
                <a:gd name="connsiteY56" fmla="*/ 1116827 h 1139396"/>
                <a:gd name="connsiteX57" fmla="*/ 201337 w 235112"/>
                <a:gd name="connsiteY57" fmla="*/ 1116938 h 1139396"/>
                <a:gd name="connsiteX58" fmla="*/ 193674 w 235112"/>
                <a:gd name="connsiteY58" fmla="*/ 1115578 h 1139396"/>
                <a:gd name="connsiteX59" fmla="*/ 192926 w 235112"/>
                <a:gd name="connsiteY59" fmla="*/ 1115073 h 1139396"/>
                <a:gd name="connsiteX60" fmla="*/ 192024 w 235112"/>
                <a:gd name="connsiteY60" fmla="*/ 1113865 h 1139396"/>
                <a:gd name="connsiteX61" fmla="*/ 191029 w 235112"/>
                <a:gd name="connsiteY61" fmla="*/ 1110286 h 1139396"/>
                <a:gd name="connsiteX62" fmla="*/ 187808 w 235112"/>
                <a:gd name="connsiteY62" fmla="*/ 1107090 h 1139396"/>
                <a:gd name="connsiteX63" fmla="*/ 147667 w 235112"/>
                <a:gd name="connsiteY63" fmla="*/ 1103617 h 1139396"/>
                <a:gd name="connsiteX64" fmla="*/ 152268 w 235112"/>
                <a:gd name="connsiteY64" fmla="*/ 1104920 h 1139396"/>
                <a:gd name="connsiteX65" fmla="*/ 172608 w 235112"/>
                <a:gd name="connsiteY65" fmla="*/ 1108399 h 1139396"/>
                <a:gd name="connsiteX66" fmla="*/ 178879 w 235112"/>
                <a:gd name="connsiteY66" fmla="*/ 1106289 h 1139396"/>
                <a:gd name="connsiteX67" fmla="*/ 183836 w 235112"/>
                <a:gd name="connsiteY67" fmla="*/ 1106351 h 1139396"/>
                <a:gd name="connsiteX68" fmla="*/ 185312 w 235112"/>
                <a:gd name="connsiteY68" fmla="*/ 1109253 h 1139396"/>
                <a:gd name="connsiteX69" fmla="*/ 180283 w 235112"/>
                <a:gd name="connsiteY69" fmla="*/ 1112299 h 1139396"/>
                <a:gd name="connsiteX70" fmla="*/ 179898 w 235112"/>
                <a:gd name="connsiteY70" fmla="*/ 1113261 h 1139396"/>
                <a:gd name="connsiteX71" fmla="*/ 180602 w 235112"/>
                <a:gd name="connsiteY71" fmla="*/ 1114044 h 1139396"/>
                <a:gd name="connsiteX72" fmla="*/ 185771 w 235112"/>
                <a:gd name="connsiteY72" fmla="*/ 1114535 h 1139396"/>
                <a:gd name="connsiteX73" fmla="*/ 187080 w 235112"/>
                <a:gd name="connsiteY73" fmla="*/ 1115519 h 1139396"/>
                <a:gd name="connsiteX74" fmla="*/ 188282 w 235112"/>
                <a:gd name="connsiteY74" fmla="*/ 1116783 h 1139396"/>
                <a:gd name="connsiteX75" fmla="*/ 187266 w 235112"/>
                <a:gd name="connsiteY75" fmla="*/ 1118659 h 1139396"/>
                <a:gd name="connsiteX76" fmla="*/ 187170 w 235112"/>
                <a:gd name="connsiteY76" fmla="*/ 1119527 h 1139396"/>
                <a:gd name="connsiteX77" fmla="*/ 187705 w 235112"/>
                <a:gd name="connsiteY77" fmla="*/ 1120374 h 1139396"/>
                <a:gd name="connsiteX78" fmla="*/ 191580 w 235112"/>
                <a:gd name="connsiteY78" fmla="*/ 1123219 h 1139396"/>
                <a:gd name="connsiteX79" fmla="*/ 193170 w 235112"/>
                <a:gd name="connsiteY79" fmla="*/ 1124688 h 1139396"/>
                <a:gd name="connsiteX80" fmla="*/ 193971 w 235112"/>
                <a:gd name="connsiteY80" fmla="*/ 1126095 h 1139396"/>
                <a:gd name="connsiteX81" fmla="*/ 194294 w 235112"/>
                <a:gd name="connsiteY81" fmla="*/ 1128564 h 1139396"/>
                <a:gd name="connsiteX82" fmla="*/ 194224 w 235112"/>
                <a:gd name="connsiteY82" fmla="*/ 1130543 h 1139396"/>
                <a:gd name="connsiteX83" fmla="*/ 193354 w 235112"/>
                <a:gd name="connsiteY83" fmla="*/ 1130807 h 1139396"/>
                <a:gd name="connsiteX84" fmla="*/ 191466 w 235112"/>
                <a:gd name="connsiteY84" fmla="*/ 1130206 h 1139396"/>
                <a:gd name="connsiteX85" fmla="*/ 189627 w 235112"/>
                <a:gd name="connsiteY85" fmla="*/ 1129064 h 1139396"/>
                <a:gd name="connsiteX86" fmla="*/ 188011 w 235112"/>
                <a:gd name="connsiteY86" fmla="*/ 1126216 h 1139396"/>
                <a:gd name="connsiteX87" fmla="*/ 186878 w 235112"/>
                <a:gd name="connsiteY87" fmla="*/ 1125645 h 1139396"/>
                <a:gd name="connsiteX88" fmla="*/ 183616 w 235112"/>
                <a:gd name="connsiteY88" fmla="*/ 1125069 h 1139396"/>
                <a:gd name="connsiteX89" fmla="*/ 180383 w 235112"/>
                <a:gd name="connsiteY89" fmla="*/ 1123683 h 1139396"/>
                <a:gd name="connsiteX90" fmla="*/ 177864 w 235112"/>
                <a:gd name="connsiteY90" fmla="*/ 1123763 h 1139396"/>
                <a:gd name="connsiteX91" fmla="*/ 175544 w 235112"/>
                <a:gd name="connsiteY91" fmla="*/ 1123175 h 1139396"/>
                <a:gd name="connsiteX92" fmla="*/ 173464 w 235112"/>
                <a:gd name="connsiteY92" fmla="*/ 1123691 h 1139396"/>
                <a:gd name="connsiteX93" fmla="*/ 172727 w 235112"/>
                <a:gd name="connsiteY93" fmla="*/ 1122755 h 1139396"/>
                <a:gd name="connsiteX94" fmla="*/ 171836 w 235112"/>
                <a:gd name="connsiteY94" fmla="*/ 1120868 h 1139396"/>
                <a:gd name="connsiteX95" fmla="*/ 171815 w 235112"/>
                <a:gd name="connsiteY95" fmla="*/ 1120045 h 1139396"/>
                <a:gd name="connsiteX96" fmla="*/ 172909 w 235112"/>
                <a:gd name="connsiteY96" fmla="*/ 1117069 h 1139396"/>
                <a:gd name="connsiteX97" fmla="*/ 172880 w 235112"/>
                <a:gd name="connsiteY97" fmla="*/ 1116288 h 1139396"/>
                <a:gd name="connsiteX98" fmla="*/ 172308 w 235112"/>
                <a:gd name="connsiteY98" fmla="*/ 1116196 h 1139396"/>
                <a:gd name="connsiteX99" fmla="*/ 169885 w 235112"/>
                <a:gd name="connsiteY99" fmla="*/ 1116803 h 1139396"/>
                <a:gd name="connsiteX100" fmla="*/ 168906 w 235112"/>
                <a:gd name="connsiteY100" fmla="*/ 1116399 h 1139396"/>
                <a:gd name="connsiteX101" fmla="*/ 166269 w 235112"/>
                <a:gd name="connsiteY101" fmla="*/ 1114245 h 1139396"/>
                <a:gd name="connsiteX102" fmla="*/ 165209 w 235112"/>
                <a:gd name="connsiteY102" fmla="*/ 1113838 h 1139396"/>
                <a:gd name="connsiteX103" fmla="*/ 162560 w 235112"/>
                <a:gd name="connsiteY103" fmla="*/ 1113624 h 1139396"/>
                <a:gd name="connsiteX104" fmla="*/ 161062 w 235112"/>
                <a:gd name="connsiteY104" fmla="*/ 1117446 h 1139396"/>
                <a:gd name="connsiteX105" fmla="*/ 160984 w 235112"/>
                <a:gd name="connsiteY105" fmla="*/ 1118393 h 1139396"/>
                <a:gd name="connsiteX106" fmla="*/ 162510 w 235112"/>
                <a:gd name="connsiteY106" fmla="*/ 1120824 h 1139396"/>
                <a:gd name="connsiteX107" fmla="*/ 165507 w 235112"/>
                <a:gd name="connsiteY107" fmla="*/ 1124563 h 1139396"/>
                <a:gd name="connsiteX108" fmla="*/ 163986 w 235112"/>
                <a:gd name="connsiteY108" fmla="*/ 1124632 h 1139396"/>
                <a:gd name="connsiteX109" fmla="*/ 159650 w 235112"/>
                <a:gd name="connsiteY109" fmla="*/ 1123478 h 1139396"/>
                <a:gd name="connsiteX110" fmla="*/ 158538 w 235112"/>
                <a:gd name="connsiteY110" fmla="*/ 1122762 h 1139396"/>
                <a:gd name="connsiteX111" fmla="*/ 157194 w 235112"/>
                <a:gd name="connsiteY111" fmla="*/ 1120879 h 1139396"/>
                <a:gd name="connsiteX112" fmla="*/ 154619 w 235112"/>
                <a:gd name="connsiteY112" fmla="*/ 1119783 h 1139396"/>
                <a:gd name="connsiteX113" fmla="*/ 153715 w 235112"/>
                <a:gd name="connsiteY113" fmla="*/ 1119108 h 1139396"/>
                <a:gd name="connsiteX114" fmla="*/ 153451 w 235112"/>
                <a:gd name="connsiteY114" fmla="*/ 1118314 h 1139396"/>
                <a:gd name="connsiteX115" fmla="*/ 153425 w 235112"/>
                <a:gd name="connsiteY115" fmla="*/ 1115857 h 1139396"/>
                <a:gd name="connsiteX116" fmla="*/ 152855 w 235112"/>
                <a:gd name="connsiteY116" fmla="*/ 1115501 h 1139396"/>
                <a:gd name="connsiteX117" fmla="*/ 149198 w 235112"/>
                <a:gd name="connsiteY117" fmla="*/ 1116123 h 1139396"/>
                <a:gd name="connsiteX118" fmla="*/ 148446 w 235112"/>
                <a:gd name="connsiteY118" fmla="*/ 1115533 h 1139396"/>
                <a:gd name="connsiteX119" fmla="*/ 148140 w 235112"/>
                <a:gd name="connsiteY119" fmla="*/ 1114501 h 1139396"/>
                <a:gd name="connsiteX120" fmla="*/ 147608 w 235112"/>
                <a:gd name="connsiteY120" fmla="*/ 1113917 h 1139396"/>
                <a:gd name="connsiteX121" fmla="*/ 145249 w 235112"/>
                <a:gd name="connsiteY121" fmla="*/ 1112976 h 1139396"/>
                <a:gd name="connsiteX122" fmla="*/ 145041 w 235112"/>
                <a:gd name="connsiteY122" fmla="*/ 1112386 h 1139396"/>
                <a:gd name="connsiteX123" fmla="*/ 146093 w 235112"/>
                <a:gd name="connsiteY123" fmla="*/ 1111689 h 1139396"/>
                <a:gd name="connsiteX124" fmla="*/ 146743 w 235112"/>
                <a:gd name="connsiteY124" fmla="*/ 1109928 h 1139396"/>
                <a:gd name="connsiteX125" fmla="*/ 109890 w 235112"/>
                <a:gd name="connsiteY125" fmla="*/ 1101947 h 1139396"/>
                <a:gd name="connsiteX126" fmla="*/ 114384 w 235112"/>
                <a:gd name="connsiteY126" fmla="*/ 1102294 h 1139396"/>
                <a:gd name="connsiteX127" fmla="*/ 117133 w 235112"/>
                <a:gd name="connsiteY127" fmla="*/ 1103105 h 1139396"/>
                <a:gd name="connsiteX128" fmla="*/ 119594 w 235112"/>
                <a:gd name="connsiteY128" fmla="*/ 1103122 h 1139396"/>
                <a:gd name="connsiteX129" fmla="*/ 120773 w 235112"/>
                <a:gd name="connsiteY129" fmla="*/ 1105353 h 1139396"/>
                <a:gd name="connsiteX130" fmla="*/ 121208 w 235112"/>
                <a:gd name="connsiteY130" fmla="*/ 1105762 h 1139396"/>
                <a:gd name="connsiteX131" fmla="*/ 124330 w 235112"/>
                <a:gd name="connsiteY131" fmla="*/ 1106633 h 1139396"/>
                <a:gd name="connsiteX132" fmla="*/ 125737 w 235112"/>
                <a:gd name="connsiteY132" fmla="*/ 1106106 h 1139396"/>
                <a:gd name="connsiteX133" fmla="*/ 129135 w 235112"/>
                <a:gd name="connsiteY133" fmla="*/ 1105855 h 1139396"/>
                <a:gd name="connsiteX134" fmla="*/ 131177 w 235112"/>
                <a:gd name="connsiteY134" fmla="*/ 1104999 h 1139396"/>
                <a:gd name="connsiteX135" fmla="*/ 134150 w 235112"/>
                <a:gd name="connsiteY135" fmla="*/ 1104563 h 1139396"/>
                <a:gd name="connsiteX136" fmla="*/ 137559 w 235112"/>
                <a:gd name="connsiteY136" fmla="*/ 1110097 h 1139396"/>
                <a:gd name="connsiteX137" fmla="*/ 137184 w 235112"/>
                <a:gd name="connsiteY137" fmla="*/ 1111785 h 1139396"/>
                <a:gd name="connsiteX138" fmla="*/ 134489 w 235112"/>
                <a:gd name="connsiteY138" fmla="*/ 1113618 h 1139396"/>
                <a:gd name="connsiteX139" fmla="*/ 132678 w 235112"/>
                <a:gd name="connsiteY139" fmla="*/ 1114020 h 1139396"/>
                <a:gd name="connsiteX140" fmla="*/ 130956 w 235112"/>
                <a:gd name="connsiteY140" fmla="*/ 1113465 h 1139396"/>
                <a:gd name="connsiteX141" fmla="*/ 131077 w 235112"/>
                <a:gd name="connsiteY141" fmla="*/ 1112534 h 1139396"/>
                <a:gd name="connsiteX142" fmla="*/ 130764 w 235112"/>
                <a:gd name="connsiteY142" fmla="*/ 1111720 h 1139396"/>
                <a:gd name="connsiteX143" fmla="*/ 129587 w 235112"/>
                <a:gd name="connsiteY143" fmla="*/ 1110665 h 1139396"/>
                <a:gd name="connsiteX144" fmla="*/ 128485 w 235112"/>
                <a:gd name="connsiteY144" fmla="*/ 1110765 h 1139396"/>
                <a:gd name="connsiteX145" fmla="*/ 126709 w 235112"/>
                <a:gd name="connsiteY145" fmla="*/ 1111544 h 1139396"/>
                <a:gd name="connsiteX146" fmla="*/ 125860 w 235112"/>
                <a:gd name="connsiteY146" fmla="*/ 1111448 h 1139396"/>
                <a:gd name="connsiteX147" fmla="*/ 124059 w 235112"/>
                <a:gd name="connsiteY147" fmla="*/ 1110589 h 1139396"/>
                <a:gd name="connsiteX148" fmla="*/ 120906 w 235112"/>
                <a:gd name="connsiteY148" fmla="*/ 1109955 h 1139396"/>
                <a:gd name="connsiteX149" fmla="*/ 120281 w 235112"/>
                <a:gd name="connsiteY149" fmla="*/ 1109169 h 1139396"/>
                <a:gd name="connsiteX150" fmla="*/ 120211 w 235112"/>
                <a:gd name="connsiteY150" fmla="*/ 1108013 h 1139396"/>
                <a:gd name="connsiteX151" fmla="*/ 119615 w 235112"/>
                <a:gd name="connsiteY151" fmla="*/ 1107434 h 1139396"/>
                <a:gd name="connsiteX152" fmla="*/ 116329 w 235112"/>
                <a:gd name="connsiteY152" fmla="*/ 1105580 h 1139396"/>
                <a:gd name="connsiteX153" fmla="*/ 114225 w 235112"/>
                <a:gd name="connsiteY153" fmla="*/ 1104002 h 1139396"/>
                <a:gd name="connsiteX154" fmla="*/ 112442 w 235112"/>
                <a:gd name="connsiteY154" fmla="*/ 1103789 h 1139396"/>
                <a:gd name="connsiteX155" fmla="*/ 111792 w 235112"/>
                <a:gd name="connsiteY155" fmla="*/ 1103977 h 1139396"/>
                <a:gd name="connsiteX156" fmla="*/ 111131 w 235112"/>
                <a:gd name="connsiteY156" fmla="*/ 1104734 h 1139396"/>
                <a:gd name="connsiteX157" fmla="*/ 109528 w 235112"/>
                <a:gd name="connsiteY157" fmla="*/ 1105456 h 1139396"/>
                <a:gd name="connsiteX158" fmla="*/ 109069 w 235112"/>
                <a:gd name="connsiteY158" fmla="*/ 1105336 h 1139396"/>
                <a:gd name="connsiteX159" fmla="*/ 108556 w 235112"/>
                <a:gd name="connsiteY159" fmla="*/ 1104734 h 1139396"/>
                <a:gd name="connsiteX160" fmla="*/ 108295 w 235112"/>
                <a:gd name="connsiteY160" fmla="*/ 1103871 h 1139396"/>
                <a:gd name="connsiteX161" fmla="*/ 108971 w 235112"/>
                <a:gd name="connsiteY161" fmla="*/ 1102116 h 1139396"/>
                <a:gd name="connsiteX162" fmla="*/ 94113 w 235112"/>
                <a:gd name="connsiteY162" fmla="*/ 1068756 h 1139396"/>
                <a:gd name="connsiteX163" fmla="*/ 101500 w 235112"/>
                <a:gd name="connsiteY163" fmla="*/ 1070092 h 1139396"/>
                <a:gd name="connsiteX164" fmla="*/ 105329 w 235112"/>
                <a:gd name="connsiteY164" fmla="*/ 1071230 h 1139396"/>
                <a:gd name="connsiteX165" fmla="*/ 109479 w 235112"/>
                <a:gd name="connsiteY165" fmla="*/ 1073899 h 1139396"/>
                <a:gd name="connsiteX166" fmla="*/ 115102 w 235112"/>
                <a:gd name="connsiteY166" fmla="*/ 1076678 h 1139396"/>
                <a:gd name="connsiteX167" fmla="*/ 118824 w 235112"/>
                <a:gd name="connsiteY167" fmla="*/ 1076650 h 1139396"/>
                <a:gd name="connsiteX168" fmla="*/ 118801 w 235112"/>
                <a:gd name="connsiteY168" fmla="*/ 1078389 h 1139396"/>
                <a:gd name="connsiteX169" fmla="*/ 119256 w 235112"/>
                <a:gd name="connsiteY169" fmla="*/ 1081352 h 1139396"/>
                <a:gd name="connsiteX170" fmla="*/ 118669 w 235112"/>
                <a:gd name="connsiteY170" fmla="*/ 1082555 h 1139396"/>
                <a:gd name="connsiteX171" fmla="*/ 117277 w 235112"/>
                <a:gd name="connsiteY171" fmla="*/ 1083783 h 1139396"/>
                <a:gd name="connsiteX172" fmla="*/ 116400 w 235112"/>
                <a:gd name="connsiteY172" fmla="*/ 1085531 h 1139396"/>
                <a:gd name="connsiteX173" fmla="*/ 115747 w 235112"/>
                <a:gd name="connsiteY173" fmla="*/ 1085800 h 1139396"/>
                <a:gd name="connsiteX174" fmla="*/ 111656 w 235112"/>
                <a:gd name="connsiteY174" fmla="*/ 1083688 h 1139396"/>
                <a:gd name="connsiteX175" fmla="*/ 107380 w 235112"/>
                <a:gd name="connsiteY175" fmla="*/ 1080811 h 1139396"/>
                <a:gd name="connsiteX176" fmla="*/ 105228 w 235112"/>
                <a:gd name="connsiteY176" fmla="*/ 1081315 h 1139396"/>
                <a:gd name="connsiteX177" fmla="*/ 102377 w 235112"/>
                <a:gd name="connsiteY177" fmla="*/ 1080609 h 1139396"/>
                <a:gd name="connsiteX178" fmla="*/ 100079 w 235112"/>
                <a:gd name="connsiteY178" fmla="*/ 1080763 h 1139396"/>
                <a:gd name="connsiteX179" fmla="*/ 98650 w 235112"/>
                <a:gd name="connsiteY179" fmla="*/ 1082392 h 1139396"/>
                <a:gd name="connsiteX180" fmla="*/ 95328 w 235112"/>
                <a:gd name="connsiteY180" fmla="*/ 1083244 h 1139396"/>
                <a:gd name="connsiteX181" fmla="*/ 94724 w 235112"/>
                <a:gd name="connsiteY181" fmla="*/ 1079976 h 1139396"/>
                <a:gd name="connsiteX182" fmla="*/ 91701 w 235112"/>
                <a:gd name="connsiteY182" fmla="*/ 1076891 h 1139396"/>
                <a:gd name="connsiteX183" fmla="*/ 88688 w 235112"/>
                <a:gd name="connsiteY183" fmla="*/ 1074419 h 1139396"/>
                <a:gd name="connsiteX184" fmla="*/ 90321 w 235112"/>
                <a:gd name="connsiteY184" fmla="*/ 1070632 h 1139396"/>
                <a:gd name="connsiteX185" fmla="*/ 92275 w 235112"/>
                <a:gd name="connsiteY185" fmla="*/ 1070021 h 1139396"/>
                <a:gd name="connsiteX186" fmla="*/ 67308 w 235112"/>
                <a:gd name="connsiteY186" fmla="*/ 1051776 h 1139396"/>
                <a:gd name="connsiteX187" fmla="*/ 68108 w 235112"/>
                <a:gd name="connsiteY187" fmla="*/ 1052470 h 1139396"/>
                <a:gd name="connsiteX188" fmla="*/ 69404 w 235112"/>
                <a:gd name="connsiteY188" fmla="*/ 1052764 h 1139396"/>
                <a:gd name="connsiteX189" fmla="*/ 70005 w 235112"/>
                <a:gd name="connsiteY189" fmla="*/ 1053434 h 1139396"/>
                <a:gd name="connsiteX190" fmla="*/ 70614 w 235112"/>
                <a:gd name="connsiteY190" fmla="*/ 1054787 h 1139396"/>
                <a:gd name="connsiteX191" fmla="*/ 71297 w 235112"/>
                <a:gd name="connsiteY191" fmla="*/ 1057592 h 1139396"/>
                <a:gd name="connsiteX192" fmla="*/ 71654 w 235112"/>
                <a:gd name="connsiteY192" fmla="*/ 1058129 h 1139396"/>
                <a:gd name="connsiteX193" fmla="*/ 73501 w 235112"/>
                <a:gd name="connsiteY193" fmla="*/ 1057681 h 1139396"/>
                <a:gd name="connsiteX194" fmla="*/ 76642 w 235112"/>
                <a:gd name="connsiteY194" fmla="*/ 1057424 h 1139396"/>
                <a:gd name="connsiteX195" fmla="*/ 81795 w 235112"/>
                <a:gd name="connsiteY195" fmla="*/ 1058467 h 1139396"/>
                <a:gd name="connsiteX196" fmla="*/ 82380 w 235112"/>
                <a:gd name="connsiteY196" fmla="*/ 1058839 h 1139396"/>
                <a:gd name="connsiteX197" fmla="*/ 84568 w 235112"/>
                <a:gd name="connsiteY197" fmla="*/ 1061910 h 1139396"/>
                <a:gd name="connsiteX198" fmla="*/ 86248 w 235112"/>
                <a:gd name="connsiteY198" fmla="*/ 1063223 h 1139396"/>
                <a:gd name="connsiteX199" fmla="*/ 88816 w 235112"/>
                <a:gd name="connsiteY199" fmla="*/ 1066066 h 1139396"/>
                <a:gd name="connsiteX200" fmla="*/ 86258 w 235112"/>
                <a:gd name="connsiteY200" fmla="*/ 1067964 h 1139396"/>
                <a:gd name="connsiteX201" fmla="*/ 84745 w 235112"/>
                <a:gd name="connsiteY201" fmla="*/ 1070699 h 1139396"/>
                <a:gd name="connsiteX202" fmla="*/ 84663 w 235112"/>
                <a:gd name="connsiteY202" fmla="*/ 1072088 h 1139396"/>
                <a:gd name="connsiteX203" fmla="*/ 83665 w 235112"/>
                <a:gd name="connsiteY203" fmla="*/ 1072889 h 1139396"/>
                <a:gd name="connsiteX204" fmla="*/ 82094 w 235112"/>
                <a:gd name="connsiteY204" fmla="*/ 1073722 h 1139396"/>
                <a:gd name="connsiteX205" fmla="*/ 79751 w 235112"/>
                <a:gd name="connsiteY205" fmla="*/ 1075323 h 1139396"/>
                <a:gd name="connsiteX206" fmla="*/ 76869 w 235112"/>
                <a:gd name="connsiteY206" fmla="*/ 1075503 h 1139396"/>
                <a:gd name="connsiteX207" fmla="*/ 74027 w 235112"/>
                <a:gd name="connsiteY207" fmla="*/ 1076347 h 1139396"/>
                <a:gd name="connsiteX208" fmla="*/ 72716 w 235112"/>
                <a:gd name="connsiteY208" fmla="*/ 1077112 h 1139396"/>
                <a:gd name="connsiteX209" fmla="*/ 71938 w 235112"/>
                <a:gd name="connsiteY209" fmla="*/ 1077163 h 1139396"/>
                <a:gd name="connsiteX210" fmla="*/ 71018 w 235112"/>
                <a:gd name="connsiteY210" fmla="*/ 1076748 h 1139396"/>
                <a:gd name="connsiteX211" fmla="*/ 70035 w 235112"/>
                <a:gd name="connsiteY211" fmla="*/ 1075961 h 1139396"/>
                <a:gd name="connsiteX212" fmla="*/ 69717 w 235112"/>
                <a:gd name="connsiteY212" fmla="*/ 1075051 h 1139396"/>
                <a:gd name="connsiteX213" fmla="*/ 71666 w 235112"/>
                <a:gd name="connsiteY213" fmla="*/ 1074205 h 1139396"/>
                <a:gd name="connsiteX214" fmla="*/ 74203 w 235112"/>
                <a:gd name="connsiteY214" fmla="*/ 1071184 h 1139396"/>
                <a:gd name="connsiteX215" fmla="*/ 74657 w 235112"/>
                <a:gd name="connsiteY215" fmla="*/ 1068059 h 1139396"/>
                <a:gd name="connsiteX216" fmla="*/ 71920 w 235112"/>
                <a:gd name="connsiteY216" fmla="*/ 1067494 h 1139396"/>
                <a:gd name="connsiteX217" fmla="*/ 70287 w 235112"/>
                <a:gd name="connsiteY217" fmla="*/ 1067921 h 1139396"/>
                <a:gd name="connsiteX218" fmla="*/ 69068 w 235112"/>
                <a:gd name="connsiteY218" fmla="*/ 1067910 h 1139396"/>
                <a:gd name="connsiteX219" fmla="*/ 67668 w 235112"/>
                <a:gd name="connsiteY219" fmla="*/ 1066948 h 1139396"/>
                <a:gd name="connsiteX220" fmla="*/ 66816 w 235112"/>
                <a:gd name="connsiteY220" fmla="*/ 1068423 h 1139396"/>
                <a:gd name="connsiteX221" fmla="*/ 66498 w 235112"/>
                <a:gd name="connsiteY221" fmla="*/ 1069833 h 1139396"/>
                <a:gd name="connsiteX222" fmla="*/ 66871 w 235112"/>
                <a:gd name="connsiteY222" fmla="*/ 1071993 h 1139396"/>
                <a:gd name="connsiteX223" fmla="*/ 66620 w 235112"/>
                <a:gd name="connsiteY223" fmla="*/ 1072689 h 1139396"/>
                <a:gd name="connsiteX224" fmla="*/ 65625 w 235112"/>
                <a:gd name="connsiteY224" fmla="*/ 1073083 h 1139396"/>
                <a:gd name="connsiteX225" fmla="*/ 63326 w 235112"/>
                <a:gd name="connsiteY225" fmla="*/ 1072264 h 1139396"/>
                <a:gd name="connsiteX226" fmla="*/ 60941 w 235112"/>
                <a:gd name="connsiteY226" fmla="*/ 1070808 h 1139396"/>
                <a:gd name="connsiteX227" fmla="*/ 60752 w 235112"/>
                <a:gd name="connsiteY227" fmla="*/ 1069963 h 1139396"/>
                <a:gd name="connsiteX228" fmla="*/ 61242 w 235112"/>
                <a:gd name="connsiteY228" fmla="*/ 1067053 h 1139396"/>
                <a:gd name="connsiteX229" fmla="*/ 61189 w 235112"/>
                <a:gd name="connsiteY229" fmla="*/ 1065536 h 1139396"/>
                <a:gd name="connsiteX230" fmla="*/ 60697 w 235112"/>
                <a:gd name="connsiteY230" fmla="*/ 1063355 h 1139396"/>
                <a:gd name="connsiteX231" fmla="*/ 60432 w 235112"/>
                <a:gd name="connsiteY231" fmla="*/ 1063127 h 1139396"/>
                <a:gd name="connsiteX232" fmla="*/ 59536 w 235112"/>
                <a:gd name="connsiteY232" fmla="*/ 1063174 h 1139396"/>
                <a:gd name="connsiteX233" fmla="*/ 56726 w 235112"/>
                <a:gd name="connsiteY233" fmla="*/ 1063594 h 1139396"/>
                <a:gd name="connsiteX234" fmla="*/ 53920 w 235112"/>
                <a:gd name="connsiteY234" fmla="*/ 1060800 h 1139396"/>
                <a:gd name="connsiteX235" fmla="*/ 52401 w 235112"/>
                <a:gd name="connsiteY235" fmla="*/ 1057853 h 1139396"/>
                <a:gd name="connsiteX236" fmla="*/ 47230 w 235112"/>
                <a:gd name="connsiteY236" fmla="*/ 1057005 h 1139396"/>
                <a:gd name="connsiteX237" fmla="*/ 51259 w 235112"/>
                <a:gd name="connsiteY237" fmla="*/ 1052895 h 1139396"/>
                <a:gd name="connsiteX238" fmla="*/ 57331 w 235112"/>
                <a:gd name="connsiteY238" fmla="*/ 1052315 h 1139396"/>
                <a:gd name="connsiteX239" fmla="*/ 59391 w 235112"/>
                <a:gd name="connsiteY239" fmla="*/ 1054393 h 1139396"/>
                <a:gd name="connsiteX240" fmla="*/ 66148 w 235112"/>
                <a:gd name="connsiteY240" fmla="*/ 1055833 h 1139396"/>
                <a:gd name="connsiteX241" fmla="*/ 65744 w 235112"/>
                <a:gd name="connsiteY241" fmla="*/ 1053627 h 1139396"/>
                <a:gd name="connsiteX242" fmla="*/ 65856 w 235112"/>
                <a:gd name="connsiteY242" fmla="*/ 1052838 h 1139396"/>
                <a:gd name="connsiteX243" fmla="*/ 66784 w 235112"/>
                <a:gd name="connsiteY243" fmla="*/ 1051857 h 1139396"/>
                <a:gd name="connsiteX244" fmla="*/ 26322 w 235112"/>
                <a:gd name="connsiteY244" fmla="*/ 1029076 h 1139396"/>
                <a:gd name="connsiteX245" fmla="*/ 28818 w 235112"/>
                <a:gd name="connsiteY245" fmla="*/ 1030357 h 1139396"/>
                <a:gd name="connsiteX246" fmla="*/ 31277 w 235112"/>
                <a:gd name="connsiteY246" fmla="*/ 1032561 h 1139396"/>
                <a:gd name="connsiteX247" fmla="*/ 32604 w 235112"/>
                <a:gd name="connsiteY247" fmla="*/ 1033397 h 1139396"/>
                <a:gd name="connsiteX248" fmla="*/ 33529 w 235112"/>
                <a:gd name="connsiteY248" fmla="*/ 1035534 h 1139396"/>
                <a:gd name="connsiteX249" fmla="*/ 33946 w 235112"/>
                <a:gd name="connsiteY249" fmla="*/ 1035845 h 1139396"/>
                <a:gd name="connsiteX250" fmla="*/ 34943 w 235112"/>
                <a:gd name="connsiteY250" fmla="*/ 1035772 h 1139396"/>
                <a:gd name="connsiteX251" fmla="*/ 36348 w 235112"/>
                <a:gd name="connsiteY251" fmla="*/ 1036328 h 1139396"/>
                <a:gd name="connsiteX252" fmla="*/ 41638 w 235112"/>
                <a:gd name="connsiteY252" fmla="*/ 1037008 h 1139396"/>
                <a:gd name="connsiteX253" fmla="*/ 46374 w 235112"/>
                <a:gd name="connsiteY253" fmla="*/ 1038618 h 1139396"/>
                <a:gd name="connsiteX254" fmla="*/ 48844 w 235112"/>
                <a:gd name="connsiteY254" fmla="*/ 1040124 h 1139396"/>
                <a:gd name="connsiteX255" fmla="*/ 52083 w 235112"/>
                <a:gd name="connsiteY255" fmla="*/ 1040598 h 1139396"/>
                <a:gd name="connsiteX256" fmla="*/ 54739 w 235112"/>
                <a:gd name="connsiteY256" fmla="*/ 1042518 h 1139396"/>
                <a:gd name="connsiteX257" fmla="*/ 55873 w 235112"/>
                <a:gd name="connsiteY257" fmla="*/ 1043011 h 1139396"/>
                <a:gd name="connsiteX258" fmla="*/ 57242 w 235112"/>
                <a:gd name="connsiteY258" fmla="*/ 1043159 h 1139396"/>
                <a:gd name="connsiteX259" fmla="*/ 60798 w 235112"/>
                <a:gd name="connsiteY259" fmla="*/ 1046717 h 1139396"/>
                <a:gd name="connsiteX260" fmla="*/ 60997 w 235112"/>
                <a:gd name="connsiteY260" fmla="*/ 1047124 h 1139396"/>
                <a:gd name="connsiteX261" fmla="*/ 65032 w 235112"/>
                <a:gd name="connsiteY261" fmla="*/ 1049931 h 1139396"/>
                <a:gd name="connsiteX262" fmla="*/ 65239 w 235112"/>
                <a:gd name="connsiteY262" fmla="*/ 1050378 h 1139396"/>
                <a:gd name="connsiteX263" fmla="*/ 62943 w 235112"/>
                <a:gd name="connsiteY263" fmla="*/ 1050534 h 1139396"/>
                <a:gd name="connsiteX264" fmla="*/ 58287 w 235112"/>
                <a:gd name="connsiteY264" fmla="*/ 1049227 h 1139396"/>
                <a:gd name="connsiteX265" fmla="*/ 55963 w 235112"/>
                <a:gd name="connsiteY265" fmla="*/ 1049157 h 1139396"/>
                <a:gd name="connsiteX266" fmla="*/ 54283 w 235112"/>
                <a:gd name="connsiteY266" fmla="*/ 1048756 h 1139396"/>
                <a:gd name="connsiteX267" fmla="*/ 53889 w 235112"/>
                <a:gd name="connsiteY267" fmla="*/ 1048526 h 1139396"/>
                <a:gd name="connsiteX268" fmla="*/ 53556 w 235112"/>
                <a:gd name="connsiteY268" fmla="*/ 1046898 h 1139396"/>
                <a:gd name="connsiteX269" fmla="*/ 53020 w 235112"/>
                <a:gd name="connsiteY269" fmla="*/ 1046097 h 1139396"/>
                <a:gd name="connsiteX270" fmla="*/ 48547 w 235112"/>
                <a:gd name="connsiteY270" fmla="*/ 1042346 h 1139396"/>
                <a:gd name="connsiteX271" fmla="*/ 46685 w 235112"/>
                <a:gd name="connsiteY271" fmla="*/ 1041528 h 1139396"/>
                <a:gd name="connsiteX272" fmla="*/ 43463 w 235112"/>
                <a:gd name="connsiteY272" fmla="*/ 1040803 h 1139396"/>
                <a:gd name="connsiteX273" fmla="*/ 39797 w 235112"/>
                <a:gd name="connsiteY273" fmla="*/ 1041310 h 1139396"/>
                <a:gd name="connsiteX274" fmla="*/ 37317 w 235112"/>
                <a:gd name="connsiteY274" fmla="*/ 1040826 h 1139396"/>
                <a:gd name="connsiteX275" fmla="*/ 36459 w 235112"/>
                <a:gd name="connsiteY275" fmla="*/ 1041000 h 1139396"/>
                <a:gd name="connsiteX276" fmla="*/ 32802 w 235112"/>
                <a:gd name="connsiteY276" fmla="*/ 1038024 h 1139396"/>
                <a:gd name="connsiteX277" fmla="*/ 29154 w 235112"/>
                <a:gd name="connsiteY277" fmla="*/ 1035518 h 1139396"/>
                <a:gd name="connsiteX278" fmla="*/ 27591 w 235112"/>
                <a:gd name="connsiteY278" fmla="*/ 1032531 h 1139396"/>
                <a:gd name="connsiteX279" fmla="*/ 25268 w 235112"/>
                <a:gd name="connsiteY279" fmla="*/ 1030251 h 1139396"/>
                <a:gd name="connsiteX280" fmla="*/ 25257 w 235112"/>
                <a:gd name="connsiteY280" fmla="*/ 1029584 h 1139396"/>
                <a:gd name="connsiteX281" fmla="*/ 159594 w 235112"/>
                <a:gd name="connsiteY281" fmla="*/ 1020614 h 1139396"/>
                <a:gd name="connsiteX282" fmla="*/ 165858 w 235112"/>
                <a:gd name="connsiteY282" fmla="*/ 1026808 h 1139396"/>
                <a:gd name="connsiteX283" fmla="*/ 168066 w 235112"/>
                <a:gd name="connsiteY283" fmla="*/ 1027038 h 1139396"/>
                <a:gd name="connsiteX284" fmla="*/ 175422 w 235112"/>
                <a:gd name="connsiteY284" fmla="*/ 1023705 h 1139396"/>
                <a:gd name="connsiteX285" fmla="*/ 176241 w 235112"/>
                <a:gd name="connsiteY285" fmla="*/ 1023885 h 1139396"/>
                <a:gd name="connsiteX286" fmla="*/ 178734 w 235112"/>
                <a:gd name="connsiteY286" fmla="*/ 1025576 h 1139396"/>
                <a:gd name="connsiteX287" fmla="*/ 179476 w 235112"/>
                <a:gd name="connsiteY287" fmla="*/ 1026297 h 1139396"/>
                <a:gd name="connsiteX288" fmla="*/ 179431 w 235112"/>
                <a:gd name="connsiteY288" fmla="*/ 1036465 h 1139396"/>
                <a:gd name="connsiteX289" fmla="*/ 179388 w 235112"/>
                <a:gd name="connsiteY289" fmla="*/ 1046517 h 1139396"/>
                <a:gd name="connsiteX290" fmla="*/ 179347 w 235112"/>
                <a:gd name="connsiteY290" fmla="*/ 1055955 h 1139396"/>
                <a:gd name="connsiteX291" fmla="*/ 179305 w 235112"/>
                <a:gd name="connsiteY291" fmla="*/ 1065423 h 1139396"/>
                <a:gd name="connsiteX292" fmla="*/ 179266 w 235112"/>
                <a:gd name="connsiteY292" fmla="*/ 1074598 h 1139396"/>
                <a:gd name="connsiteX293" fmla="*/ 179226 w 235112"/>
                <a:gd name="connsiteY293" fmla="*/ 1084052 h 1139396"/>
                <a:gd name="connsiteX294" fmla="*/ 179031 w 235112"/>
                <a:gd name="connsiteY294" fmla="*/ 1094686 h 1139396"/>
                <a:gd name="connsiteX295" fmla="*/ 178886 w 235112"/>
                <a:gd name="connsiteY295" fmla="*/ 1102617 h 1139396"/>
                <a:gd name="connsiteX296" fmla="*/ 175067 w 235112"/>
                <a:gd name="connsiteY296" fmla="*/ 1102617 h 1139396"/>
                <a:gd name="connsiteX297" fmla="*/ 174060 w 235112"/>
                <a:gd name="connsiteY297" fmla="*/ 1103431 h 1139396"/>
                <a:gd name="connsiteX298" fmla="*/ 168023 w 235112"/>
                <a:gd name="connsiteY298" fmla="*/ 1104596 h 1139396"/>
                <a:gd name="connsiteX299" fmla="*/ 157763 w 235112"/>
                <a:gd name="connsiteY299" fmla="*/ 1102803 h 1139396"/>
                <a:gd name="connsiteX300" fmla="*/ 155195 w 235112"/>
                <a:gd name="connsiteY300" fmla="*/ 1101181 h 1139396"/>
                <a:gd name="connsiteX301" fmla="*/ 151750 w 235112"/>
                <a:gd name="connsiteY301" fmla="*/ 1097644 h 1139396"/>
                <a:gd name="connsiteX302" fmla="*/ 150523 w 235112"/>
                <a:gd name="connsiteY302" fmla="*/ 1098593 h 1139396"/>
                <a:gd name="connsiteX303" fmla="*/ 147285 w 235112"/>
                <a:gd name="connsiteY303" fmla="*/ 1100093 h 1139396"/>
                <a:gd name="connsiteX304" fmla="*/ 143962 w 235112"/>
                <a:gd name="connsiteY304" fmla="*/ 1101278 h 1139396"/>
                <a:gd name="connsiteX305" fmla="*/ 141235 w 235112"/>
                <a:gd name="connsiteY305" fmla="*/ 1101408 h 1139396"/>
                <a:gd name="connsiteX306" fmla="*/ 138707 w 235112"/>
                <a:gd name="connsiteY306" fmla="*/ 1099942 h 1139396"/>
                <a:gd name="connsiteX307" fmla="*/ 138168 w 235112"/>
                <a:gd name="connsiteY307" fmla="*/ 1099197 h 1139396"/>
                <a:gd name="connsiteX308" fmla="*/ 137592 w 235112"/>
                <a:gd name="connsiteY308" fmla="*/ 1099036 h 1139396"/>
                <a:gd name="connsiteX309" fmla="*/ 132130 w 235112"/>
                <a:gd name="connsiteY309" fmla="*/ 1101068 h 1139396"/>
                <a:gd name="connsiteX310" fmla="*/ 126095 w 235112"/>
                <a:gd name="connsiteY310" fmla="*/ 1098994 h 1139396"/>
                <a:gd name="connsiteX311" fmla="*/ 121289 w 235112"/>
                <a:gd name="connsiteY311" fmla="*/ 1097723 h 1139396"/>
                <a:gd name="connsiteX312" fmla="*/ 113567 w 235112"/>
                <a:gd name="connsiteY312" fmla="*/ 1097013 h 1139396"/>
                <a:gd name="connsiteX313" fmla="*/ 108201 w 235112"/>
                <a:gd name="connsiteY313" fmla="*/ 1094398 h 1139396"/>
                <a:gd name="connsiteX314" fmla="*/ 98295 w 235112"/>
                <a:gd name="connsiteY314" fmla="*/ 1094628 h 1139396"/>
                <a:gd name="connsiteX315" fmla="*/ 96520 w 235112"/>
                <a:gd name="connsiteY315" fmla="*/ 1093764 h 1139396"/>
                <a:gd name="connsiteX316" fmla="*/ 95856 w 235112"/>
                <a:gd name="connsiteY316" fmla="*/ 1091212 h 1139396"/>
                <a:gd name="connsiteX317" fmla="*/ 96383 w 235112"/>
                <a:gd name="connsiteY317" fmla="*/ 1090025 h 1139396"/>
                <a:gd name="connsiteX318" fmla="*/ 98501 w 235112"/>
                <a:gd name="connsiteY318" fmla="*/ 1089310 h 1139396"/>
                <a:gd name="connsiteX319" fmla="*/ 99091 w 235112"/>
                <a:gd name="connsiteY319" fmla="*/ 1087895 h 1139396"/>
                <a:gd name="connsiteX320" fmla="*/ 101230 w 235112"/>
                <a:gd name="connsiteY320" fmla="*/ 1088234 h 1139396"/>
                <a:gd name="connsiteX321" fmla="*/ 104006 w 235112"/>
                <a:gd name="connsiteY321" fmla="*/ 1090107 h 1139396"/>
                <a:gd name="connsiteX322" fmla="*/ 104857 w 235112"/>
                <a:gd name="connsiteY322" fmla="*/ 1090042 h 1139396"/>
                <a:gd name="connsiteX323" fmla="*/ 106693 w 235112"/>
                <a:gd name="connsiteY323" fmla="*/ 1088278 h 1139396"/>
                <a:gd name="connsiteX324" fmla="*/ 109405 w 235112"/>
                <a:gd name="connsiteY324" fmla="*/ 1086714 h 1139396"/>
                <a:gd name="connsiteX325" fmla="*/ 110373 w 235112"/>
                <a:gd name="connsiteY325" fmla="*/ 1086547 h 1139396"/>
                <a:gd name="connsiteX326" fmla="*/ 115353 w 235112"/>
                <a:gd name="connsiteY326" fmla="*/ 1088477 h 1139396"/>
                <a:gd name="connsiteX327" fmla="*/ 117354 w 235112"/>
                <a:gd name="connsiteY327" fmla="*/ 1088254 h 1139396"/>
                <a:gd name="connsiteX328" fmla="*/ 120231 w 235112"/>
                <a:gd name="connsiteY328" fmla="*/ 1087390 h 1139396"/>
                <a:gd name="connsiteX329" fmla="*/ 120745 w 235112"/>
                <a:gd name="connsiteY329" fmla="*/ 1086639 h 1139396"/>
                <a:gd name="connsiteX330" fmla="*/ 121201 w 235112"/>
                <a:gd name="connsiteY330" fmla="*/ 1085311 h 1139396"/>
                <a:gd name="connsiteX331" fmla="*/ 121960 w 235112"/>
                <a:gd name="connsiteY331" fmla="*/ 1084535 h 1139396"/>
                <a:gd name="connsiteX332" fmla="*/ 124521 w 235112"/>
                <a:gd name="connsiteY332" fmla="*/ 1084164 h 1139396"/>
                <a:gd name="connsiteX333" fmla="*/ 127017 w 235112"/>
                <a:gd name="connsiteY333" fmla="*/ 1084918 h 1139396"/>
                <a:gd name="connsiteX334" fmla="*/ 127303 w 235112"/>
                <a:gd name="connsiteY334" fmla="*/ 1087222 h 1139396"/>
                <a:gd name="connsiteX335" fmla="*/ 126959 w 235112"/>
                <a:gd name="connsiteY335" fmla="*/ 1089697 h 1139396"/>
                <a:gd name="connsiteX336" fmla="*/ 130207 w 235112"/>
                <a:gd name="connsiteY336" fmla="*/ 1090360 h 1139396"/>
                <a:gd name="connsiteX337" fmla="*/ 134139 w 235112"/>
                <a:gd name="connsiteY337" fmla="*/ 1090285 h 1139396"/>
                <a:gd name="connsiteX338" fmla="*/ 136851 w 235112"/>
                <a:gd name="connsiteY338" fmla="*/ 1091205 h 1139396"/>
                <a:gd name="connsiteX339" fmla="*/ 137189 w 235112"/>
                <a:gd name="connsiteY339" fmla="*/ 1089700 h 1139396"/>
                <a:gd name="connsiteX340" fmla="*/ 132862 w 235112"/>
                <a:gd name="connsiteY340" fmla="*/ 1085772 h 1139396"/>
                <a:gd name="connsiteX341" fmla="*/ 131044 w 235112"/>
                <a:gd name="connsiteY341" fmla="*/ 1083333 h 1139396"/>
                <a:gd name="connsiteX342" fmla="*/ 128607 w 235112"/>
                <a:gd name="connsiteY342" fmla="*/ 1081897 h 1139396"/>
                <a:gd name="connsiteX343" fmla="*/ 125469 w 235112"/>
                <a:gd name="connsiteY343" fmla="*/ 1081164 h 1139396"/>
                <a:gd name="connsiteX344" fmla="*/ 122852 w 235112"/>
                <a:gd name="connsiteY344" fmla="*/ 1076601 h 1139396"/>
                <a:gd name="connsiteX345" fmla="*/ 123013 w 235112"/>
                <a:gd name="connsiteY345" fmla="*/ 1072611 h 1139396"/>
                <a:gd name="connsiteX346" fmla="*/ 122734 w 235112"/>
                <a:gd name="connsiteY346" fmla="*/ 1068731 h 1139396"/>
                <a:gd name="connsiteX347" fmla="*/ 128394 w 235112"/>
                <a:gd name="connsiteY347" fmla="*/ 1066602 h 1139396"/>
                <a:gd name="connsiteX348" fmla="*/ 127099 w 235112"/>
                <a:gd name="connsiteY348" fmla="*/ 1063294 h 1139396"/>
                <a:gd name="connsiteX349" fmla="*/ 129047 w 235112"/>
                <a:gd name="connsiteY349" fmla="*/ 1060786 h 1139396"/>
                <a:gd name="connsiteX350" fmla="*/ 131265 w 235112"/>
                <a:gd name="connsiteY350" fmla="*/ 1059826 h 1139396"/>
                <a:gd name="connsiteX351" fmla="*/ 133500 w 235112"/>
                <a:gd name="connsiteY351" fmla="*/ 1069054 h 1139396"/>
                <a:gd name="connsiteX352" fmla="*/ 135107 w 235112"/>
                <a:gd name="connsiteY352" fmla="*/ 1072295 h 1139396"/>
                <a:gd name="connsiteX353" fmla="*/ 133059 w 235112"/>
                <a:gd name="connsiteY353" fmla="*/ 1072954 h 1139396"/>
                <a:gd name="connsiteX354" fmla="*/ 128766 w 235112"/>
                <a:gd name="connsiteY354" fmla="*/ 1072950 h 1139396"/>
                <a:gd name="connsiteX355" fmla="*/ 131164 w 235112"/>
                <a:gd name="connsiteY355" fmla="*/ 1077496 h 1139396"/>
                <a:gd name="connsiteX356" fmla="*/ 135102 w 235112"/>
                <a:gd name="connsiteY356" fmla="*/ 1079048 h 1139396"/>
                <a:gd name="connsiteX357" fmla="*/ 138497 w 235112"/>
                <a:gd name="connsiteY357" fmla="*/ 1082424 h 1139396"/>
                <a:gd name="connsiteX358" fmla="*/ 138566 w 235112"/>
                <a:gd name="connsiteY358" fmla="*/ 1084877 h 1139396"/>
                <a:gd name="connsiteX359" fmla="*/ 140451 w 235112"/>
                <a:gd name="connsiteY359" fmla="*/ 1085983 h 1139396"/>
                <a:gd name="connsiteX360" fmla="*/ 144986 w 235112"/>
                <a:gd name="connsiteY360" fmla="*/ 1086055 h 1139396"/>
                <a:gd name="connsiteX361" fmla="*/ 148109 w 235112"/>
                <a:gd name="connsiteY361" fmla="*/ 1085570 h 1139396"/>
                <a:gd name="connsiteX362" fmla="*/ 149578 w 235112"/>
                <a:gd name="connsiteY362" fmla="*/ 1083939 h 1139396"/>
                <a:gd name="connsiteX363" fmla="*/ 151283 w 235112"/>
                <a:gd name="connsiteY363" fmla="*/ 1083417 h 1139396"/>
                <a:gd name="connsiteX364" fmla="*/ 154330 w 235112"/>
                <a:gd name="connsiteY364" fmla="*/ 1085451 h 1139396"/>
                <a:gd name="connsiteX365" fmla="*/ 159461 w 235112"/>
                <a:gd name="connsiteY365" fmla="*/ 1086956 h 1139396"/>
                <a:gd name="connsiteX366" fmla="*/ 160843 w 235112"/>
                <a:gd name="connsiteY366" fmla="*/ 1088023 h 1139396"/>
                <a:gd name="connsiteX367" fmla="*/ 161850 w 235112"/>
                <a:gd name="connsiteY367" fmla="*/ 1089792 h 1139396"/>
                <a:gd name="connsiteX368" fmla="*/ 161916 w 235112"/>
                <a:gd name="connsiteY368" fmla="*/ 1091701 h 1139396"/>
                <a:gd name="connsiteX369" fmla="*/ 162180 w 235112"/>
                <a:gd name="connsiteY369" fmla="*/ 1092710 h 1139396"/>
                <a:gd name="connsiteX370" fmla="*/ 163673 w 235112"/>
                <a:gd name="connsiteY370" fmla="*/ 1092217 h 1139396"/>
                <a:gd name="connsiteX371" fmla="*/ 165803 w 235112"/>
                <a:gd name="connsiteY371" fmla="*/ 1089621 h 1139396"/>
                <a:gd name="connsiteX372" fmla="*/ 166851 w 235112"/>
                <a:gd name="connsiteY372" fmla="*/ 1088722 h 1139396"/>
                <a:gd name="connsiteX373" fmla="*/ 168134 w 235112"/>
                <a:gd name="connsiteY373" fmla="*/ 1088282 h 1139396"/>
                <a:gd name="connsiteX374" fmla="*/ 168946 w 235112"/>
                <a:gd name="connsiteY374" fmla="*/ 1087700 h 1139396"/>
                <a:gd name="connsiteX375" fmla="*/ 168969 w 235112"/>
                <a:gd name="connsiteY375" fmla="*/ 1086942 h 1139396"/>
                <a:gd name="connsiteX376" fmla="*/ 165132 w 235112"/>
                <a:gd name="connsiteY376" fmla="*/ 1085113 h 1139396"/>
                <a:gd name="connsiteX377" fmla="*/ 145038 w 235112"/>
                <a:gd name="connsiteY377" fmla="*/ 1076554 h 1139396"/>
                <a:gd name="connsiteX378" fmla="*/ 142567 w 235112"/>
                <a:gd name="connsiteY378" fmla="*/ 1073144 h 1139396"/>
                <a:gd name="connsiteX379" fmla="*/ 140905 w 235112"/>
                <a:gd name="connsiteY379" fmla="*/ 1068867 h 1139396"/>
                <a:gd name="connsiteX380" fmla="*/ 140962 w 235112"/>
                <a:gd name="connsiteY380" fmla="*/ 1064461 h 1139396"/>
                <a:gd name="connsiteX381" fmla="*/ 142427 w 235112"/>
                <a:gd name="connsiteY381" fmla="*/ 1063097 h 1139396"/>
                <a:gd name="connsiteX382" fmla="*/ 146011 w 235112"/>
                <a:gd name="connsiteY382" fmla="*/ 1061358 h 1139396"/>
                <a:gd name="connsiteX383" fmla="*/ 152604 w 235112"/>
                <a:gd name="connsiteY383" fmla="*/ 1058910 h 1139396"/>
                <a:gd name="connsiteX384" fmla="*/ 160205 w 235112"/>
                <a:gd name="connsiteY384" fmla="*/ 1055401 h 1139396"/>
                <a:gd name="connsiteX385" fmla="*/ 161156 w 235112"/>
                <a:gd name="connsiteY385" fmla="*/ 1054730 h 1139396"/>
                <a:gd name="connsiteX386" fmla="*/ 161067 w 235112"/>
                <a:gd name="connsiteY386" fmla="*/ 1052531 h 1139396"/>
                <a:gd name="connsiteX387" fmla="*/ 160114 w 235112"/>
                <a:gd name="connsiteY387" fmla="*/ 1051051 h 1139396"/>
                <a:gd name="connsiteX388" fmla="*/ 157097 w 235112"/>
                <a:gd name="connsiteY388" fmla="*/ 1049967 h 1139396"/>
                <a:gd name="connsiteX389" fmla="*/ 153941 w 235112"/>
                <a:gd name="connsiteY389" fmla="*/ 1049694 h 1139396"/>
                <a:gd name="connsiteX390" fmla="*/ 150933 w 235112"/>
                <a:gd name="connsiteY390" fmla="*/ 1049802 h 1139396"/>
                <a:gd name="connsiteX391" fmla="*/ 147929 w 235112"/>
                <a:gd name="connsiteY391" fmla="*/ 1050260 h 1139396"/>
                <a:gd name="connsiteX392" fmla="*/ 142445 w 235112"/>
                <a:gd name="connsiteY392" fmla="*/ 1052595 h 1139396"/>
                <a:gd name="connsiteX393" fmla="*/ 139340 w 235112"/>
                <a:gd name="connsiteY393" fmla="*/ 1052450 h 1139396"/>
                <a:gd name="connsiteX394" fmla="*/ 136387 w 235112"/>
                <a:gd name="connsiteY394" fmla="*/ 1051196 h 1139396"/>
                <a:gd name="connsiteX395" fmla="*/ 134197 w 235112"/>
                <a:gd name="connsiteY395" fmla="*/ 1048684 h 1139396"/>
                <a:gd name="connsiteX396" fmla="*/ 133066 w 235112"/>
                <a:gd name="connsiteY396" fmla="*/ 1045289 h 1139396"/>
                <a:gd name="connsiteX397" fmla="*/ 133074 w 235112"/>
                <a:gd name="connsiteY397" fmla="*/ 1043125 h 1139396"/>
                <a:gd name="connsiteX398" fmla="*/ 133495 w 235112"/>
                <a:gd name="connsiteY398" fmla="*/ 1041137 h 1139396"/>
                <a:gd name="connsiteX399" fmla="*/ 134831 w 235112"/>
                <a:gd name="connsiteY399" fmla="*/ 1039107 h 1139396"/>
                <a:gd name="connsiteX400" fmla="*/ 136622 w 235112"/>
                <a:gd name="connsiteY400" fmla="*/ 1038221 h 1139396"/>
                <a:gd name="connsiteX401" fmla="*/ 138237 w 235112"/>
                <a:gd name="connsiteY401" fmla="*/ 1038339 h 1139396"/>
                <a:gd name="connsiteX402" fmla="*/ 139755 w 235112"/>
                <a:gd name="connsiteY402" fmla="*/ 1037863 h 1139396"/>
                <a:gd name="connsiteX403" fmla="*/ 140657 w 235112"/>
                <a:gd name="connsiteY403" fmla="*/ 1037166 h 1139396"/>
                <a:gd name="connsiteX404" fmla="*/ 141425 w 235112"/>
                <a:gd name="connsiteY404" fmla="*/ 1036234 h 1139396"/>
                <a:gd name="connsiteX405" fmla="*/ 141199 w 235112"/>
                <a:gd name="connsiteY405" fmla="*/ 1035430 h 1139396"/>
                <a:gd name="connsiteX406" fmla="*/ 140610 w 235112"/>
                <a:gd name="connsiteY406" fmla="*/ 1034733 h 1139396"/>
                <a:gd name="connsiteX407" fmla="*/ 138164 w 235112"/>
                <a:gd name="connsiteY407" fmla="*/ 1033300 h 1139396"/>
                <a:gd name="connsiteX408" fmla="*/ 137197 w 235112"/>
                <a:gd name="connsiteY408" fmla="*/ 1031922 h 1139396"/>
                <a:gd name="connsiteX409" fmla="*/ 135098 w 235112"/>
                <a:gd name="connsiteY409" fmla="*/ 1029694 h 1139396"/>
                <a:gd name="connsiteX410" fmla="*/ 136244 w 235112"/>
                <a:gd name="connsiteY410" fmla="*/ 1029072 h 1139396"/>
                <a:gd name="connsiteX411" fmla="*/ 139928 w 235112"/>
                <a:gd name="connsiteY411" fmla="*/ 1028725 h 1139396"/>
                <a:gd name="connsiteX412" fmla="*/ 142499 w 235112"/>
                <a:gd name="connsiteY412" fmla="*/ 1030263 h 1139396"/>
                <a:gd name="connsiteX413" fmla="*/ 144900 w 235112"/>
                <a:gd name="connsiteY413" fmla="*/ 1032069 h 1139396"/>
                <a:gd name="connsiteX414" fmla="*/ 146374 w 235112"/>
                <a:gd name="connsiteY414" fmla="*/ 1032062 h 1139396"/>
                <a:gd name="connsiteX415" fmla="*/ 147698 w 235112"/>
                <a:gd name="connsiteY415" fmla="*/ 1031306 h 1139396"/>
                <a:gd name="connsiteX416" fmla="*/ 150731 w 235112"/>
                <a:gd name="connsiteY416" fmla="*/ 1028989 h 1139396"/>
                <a:gd name="connsiteX417" fmla="*/ 153275 w 235112"/>
                <a:gd name="connsiteY417" fmla="*/ 1026079 h 1139396"/>
                <a:gd name="connsiteX418" fmla="*/ 155592 w 235112"/>
                <a:gd name="connsiteY418" fmla="*/ 1022767 h 1139396"/>
                <a:gd name="connsiteX419" fmla="*/ 157456 w 235112"/>
                <a:gd name="connsiteY419" fmla="*/ 1020791 h 1139396"/>
                <a:gd name="connsiteX420" fmla="*/ 31881 w 235112"/>
                <a:gd name="connsiteY420" fmla="*/ 994765 h 1139396"/>
                <a:gd name="connsiteX421" fmla="*/ 34129 w 235112"/>
                <a:gd name="connsiteY421" fmla="*/ 995636 h 1139396"/>
                <a:gd name="connsiteX422" fmla="*/ 35052 w 235112"/>
                <a:gd name="connsiteY422" fmla="*/ 996297 h 1139396"/>
                <a:gd name="connsiteX423" fmla="*/ 36286 w 235112"/>
                <a:gd name="connsiteY423" fmla="*/ 997697 h 1139396"/>
                <a:gd name="connsiteX424" fmla="*/ 39928 w 235112"/>
                <a:gd name="connsiteY424" fmla="*/ 999702 h 1139396"/>
                <a:gd name="connsiteX425" fmla="*/ 40384 w 235112"/>
                <a:gd name="connsiteY425" fmla="*/ 1000297 h 1139396"/>
                <a:gd name="connsiteX426" fmla="*/ 40296 w 235112"/>
                <a:gd name="connsiteY426" fmla="*/ 1001066 h 1139396"/>
                <a:gd name="connsiteX427" fmla="*/ 39706 w 235112"/>
                <a:gd name="connsiteY427" fmla="*/ 1001740 h 1139396"/>
                <a:gd name="connsiteX428" fmla="*/ 38948 w 235112"/>
                <a:gd name="connsiteY428" fmla="*/ 1002114 h 1139396"/>
                <a:gd name="connsiteX429" fmla="*/ 36133 w 235112"/>
                <a:gd name="connsiteY429" fmla="*/ 1001322 h 1139396"/>
                <a:gd name="connsiteX430" fmla="*/ 34723 w 235112"/>
                <a:gd name="connsiteY430" fmla="*/ 1000618 h 1139396"/>
                <a:gd name="connsiteX431" fmla="*/ 32569 w 235112"/>
                <a:gd name="connsiteY431" fmla="*/ 998830 h 1139396"/>
                <a:gd name="connsiteX432" fmla="*/ 32227 w 235112"/>
                <a:gd name="connsiteY432" fmla="*/ 996987 h 1139396"/>
                <a:gd name="connsiteX433" fmla="*/ 31257 w 235112"/>
                <a:gd name="connsiteY433" fmla="*/ 994791 h 1139396"/>
                <a:gd name="connsiteX434" fmla="*/ 22444 w 235112"/>
                <a:gd name="connsiteY434" fmla="*/ 991565 h 1139396"/>
                <a:gd name="connsiteX435" fmla="*/ 23529 w 235112"/>
                <a:gd name="connsiteY435" fmla="*/ 998139 h 1139396"/>
                <a:gd name="connsiteX436" fmla="*/ 24306 w 235112"/>
                <a:gd name="connsiteY436" fmla="*/ 999057 h 1139396"/>
                <a:gd name="connsiteX437" fmla="*/ 26893 w 235112"/>
                <a:gd name="connsiteY437" fmla="*/ 999543 h 1139396"/>
                <a:gd name="connsiteX438" fmla="*/ 29699 w 235112"/>
                <a:gd name="connsiteY438" fmla="*/ 1002894 h 1139396"/>
                <a:gd name="connsiteX439" fmla="*/ 29826 w 235112"/>
                <a:gd name="connsiteY439" fmla="*/ 1003805 h 1139396"/>
                <a:gd name="connsiteX440" fmla="*/ 26424 w 235112"/>
                <a:gd name="connsiteY440" fmla="*/ 1009508 h 1139396"/>
                <a:gd name="connsiteX441" fmla="*/ 25701 w 235112"/>
                <a:gd name="connsiteY441" fmla="*/ 1013560 h 1139396"/>
                <a:gd name="connsiteX442" fmla="*/ 21712 w 235112"/>
                <a:gd name="connsiteY442" fmla="*/ 1013271 h 1139396"/>
                <a:gd name="connsiteX443" fmla="*/ 20041 w 235112"/>
                <a:gd name="connsiteY443" fmla="*/ 1009243 h 1139396"/>
                <a:gd name="connsiteX444" fmla="*/ 17520 w 235112"/>
                <a:gd name="connsiteY444" fmla="*/ 1005361 h 1139396"/>
                <a:gd name="connsiteX445" fmla="*/ 16669 w 235112"/>
                <a:gd name="connsiteY445" fmla="*/ 1000820 h 1139396"/>
                <a:gd name="connsiteX446" fmla="*/ 15283 w 235112"/>
                <a:gd name="connsiteY446" fmla="*/ 996927 h 1139396"/>
                <a:gd name="connsiteX447" fmla="*/ 17749 w 235112"/>
                <a:gd name="connsiteY447" fmla="*/ 994724 h 1139396"/>
                <a:gd name="connsiteX448" fmla="*/ 20105 w 235112"/>
                <a:gd name="connsiteY448" fmla="*/ 995216 h 1139396"/>
                <a:gd name="connsiteX449" fmla="*/ 20245 w 235112"/>
                <a:gd name="connsiteY449" fmla="*/ 992234 h 1139396"/>
                <a:gd name="connsiteX450" fmla="*/ 27804 w 235112"/>
                <a:gd name="connsiteY450" fmla="*/ 977323 h 1139396"/>
                <a:gd name="connsiteX451" fmla="*/ 28845 w 235112"/>
                <a:gd name="connsiteY451" fmla="*/ 978608 h 1139396"/>
                <a:gd name="connsiteX452" fmla="*/ 29146 w 235112"/>
                <a:gd name="connsiteY452" fmla="*/ 979671 h 1139396"/>
                <a:gd name="connsiteX453" fmla="*/ 29088 w 235112"/>
                <a:gd name="connsiteY453" fmla="*/ 982489 h 1139396"/>
                <a:gd name="connsiteX454" fmla="*/ 28286 w 235112"/>
                <a:gd name="connsiteY454" fmla="*/ 983387 h 1139396"/>
                <a:gd name="connsiteX455" fmla="*/ 27580 w 235112"/>
                <a:gd name="connsiteY455" fmla="*/ 983662 h 1139396"/>
                <a:gd name="connsiteX456" fmla="*/ 25796 w 235112"/>
                <a:gd name="connsiteY456" fmla="*/ 982804 h 1139396"/>
                <a:gd name="connsiteX457" fmla="*/ 24778 w 235112"/>
                <a:gd name="connsiteY457" fmla="*/ 982709 h 1139396"/>
                <a:gd name="connsiteX458" fmla="*/ 23092 w 235112"/>
                <a:gd name="connsiteY458" fmla="*/ 984201 h 1139396"/>
                <a:gd name="connsiteX459" fmla="*/ 21674 w 235112"/>
                <a:gd name="connsiteY459" fmla="*/ 984958 h 1139396"/>
                <a:gd name="connsiteX460" fmla="*/ 19560 w 235112"/>
                <a:gd name="connsiteY460" fmla="*/ 984761 h 1139396"/>
                <a:gd name="connsiteX461" fmla="*/ 16753 w 235112"/>
                <a:gd name="connsiteY461" fmla="*/ 983750 h 1139396"/>
                <a:gd name="connsiteX462" fmla="*/ 14245 w 235112"/>
                <a:gd name="connsiteY462" fmla="*/ 987994 h 1139396"/>
                <a:gd name="connsiteX463" fmla="*/ 13076 w 235112"/>
                <a:gd name="connsiteY463" fmla="*/ 989423 h 1139396"/>
                <a:gd name="connsiteX464" fmla="*/ 10624 w 235112"/>
                <a:gd name="connsiteY464" fmla="*/ 991404 h 1139396"/>
                <a:gd name="connsiteX465" fmla="*/ 10347 w 235112"/>
                <a:gd name="connsiteY465" fmla="*/ 989078 h 1139396"/>
                <a:gd name="connsiteX466" fmla="*/ 11907 w 235112"/>
                <a:gd name="connsiteY466" fmla="*/ 985609 h 1139396"/>
                <a:gd name="connsiteX467" fmla="*/ 12630 w 235112"/>
                <a:gd name="connsiteY467" fmla="*/ 983245 h 1139396"/>
                <a:gd name="connsiteX468" fmla="*/ 14059 w 235112"/>
                <a:gd name="connsiteY468" fmla="*/ 979731 h 1139396"/>
                <a:gd name="connsiteX469" fmla="*/ 16932 w 235112"/>
                <a:gd name="connsiteY469" fmla="*/ 981054 h 1139396"/>
                <a:gd name="connsiteX470" fmla="*/ 20961 w 235112"/>
                <a:gd name="connsiteY470" fmla="*/ 979754 h 1139396"/>
                <a:gd name="connsiteX471" fmla="*/ 24631 w 235112"/>
                <a:gd name="connsiteY471" fmla="*/ 977339 h 1139396"/>
                <a:gd name="connsiteX472" fmla="*/ 7111 w 235112"/>
                <a:gd name="connsiteY472" fmla="*/ 953031 h 1139396"/>
                <a:gd name="connsiteX473" fmla="*/ 10253 w 235112"/>
                <a:gd name="connsiteY473" fmla="*/ 953145 h 1139396"/>
                <a:gd name="connsiteX474" fmla="*/ 13995 w 235112"/>
                <a:gd name="connsiteY474" fmla="*/ 953571 h 1139396"/>
                <a:gd name="connsiteX475" fmla="*/ 15030 w 235112"/>
                <a:gd name="connsiteY475" fmla="*/ 954026 h 1139396"/>
                <a:gd name="connsiteX476" fmla="*/ 13886 w 235112"/>
                <a:gd name="connsiteY476" fmla="*/ 955489 h 1139396"/>
                <a:gd name="connsiteX477" fmla="*/ 12797 w 235112"/>
                <a:gd name="connsiteY477" fmla="*/ 956365 h 1139396"/>
                <a:gd name="connsiteX478" fmla="*/ 10542 w 235112"/>
                <a:gd name="connsiteY478" fmla="*/ 956905 h 1139396"/>
                <a:gd name="connsiteX479" fmla="*/ 10297 w 235112"/>
                <a:gd name="connsiteY479" fmla="*/ 959677 h 1139396"/>
                <a:gd name="connsiteX480" fmla="*/ 9574 w 235112"/>
                <a:gd name="connsiteY480" fmla="*/ 962762 h 1139396"/>
                <a:gd name="connsiteX481" fmla="*/ 7523 w 235112"/>
                <a:gd name="connsiteY481" fmla="*/ 962493 h 1139396"/>
                <a:gd name="connsiteX482" fmla="*/ 6835 w 235112"/>
                <a:gd name="connsiteY482" fmla="*/ 961718 h 1139396"/>
                <a:gd name="connsiteX483" fmla="*/ 6477 w 235112"/>
                <a:gd name="connsiteY483" fmla="*/ 959762 h 1139396"/>
                <a:gd name="connsiteX484" fmla="*/ 5850 w 235112"/>
                <a:gd name="connsiteY484" fmla="*/ 958817 h 1139396"/>
                <a:gd name="connsiteX485" fmla="*/ 6729 w 235112"/>
                <a:gd name="connsiteY485" fmla="*/ 956860 h 1139396"/>
                <a:gd name="connsiteX486" fmla="*/ 7311 w 235112"/>
                <a:gd name="connsiteY486" fmla="*/ 954689 h 1139396"/>
                <a:gd name="connsiteX487" fmla="*/ 9672 w 235112"/>
                <a:gd name="connsiteY487" fmla="*/ 937470 h 1139396"/>
                <a:gd name="connsiteX488" fmla="*/ 12638 w 235112"/>
                <a:gd name="connsiteY488" fmla="*/ 938582 h 1139396"/>
                <a:gd name="connsiteX489" fmla="*/ 14847 w 235112"/>
                <a:gd name="connsiteY489" fmla="*/ 938909 h 1139396"/>
                <a:gd name="connsiteX490" fmla="*/ 17847 w 235112"/>
                <a:gd name="connsiteY490" fmla="*/ 940015 h 1139396"/>
                <a:gd name="connsiteX491" fmla="*/ 21099 w 235112"/>
                <a:gd name="connsiteY491" fmla="*/ 940721 h 1139396"/>
                <a:gd name="connsiteX492" fmla="*/ 22048 w 235112"/>
                <a:gd name="connsiteY492" fmla="*/ 943616 h 1139396"/>
                <a:gd name="connsiteX493" fmla="*/ 18883 w 235112"/>
                <a:gd name="connsiteY493" fmla="*/ 944945 h 1139396"/>
                <a:gd name="connsiteX494" fmla="*/ 16565 w 235112"/>
                <a:gd name="connsiteY494" fmla="*/ 946897 h 1139396"/>
                <a:gd name="connsiteX495" fmla="*/ 11605 w 235112"/>
                <a:gd name="connsiteY495" fmla="*/ 949562 h 1139396"/>
                <a:gd name="connsiteX496" fmla="*/ 10148 w 235112"/>
                <a:gd name="connsiteY496" fmla="*/ 948457 h 1139396"/>
                <a:gd name="connsiteX497" fmla="*/ 6567 w 235112"/>
                <a:gd name="connsiteY497" fmla="*/ 948467 h 1139396"/>
                <a:gd name="connsiteX498" fmla="*/ 7505 w 235112"/>
                <a:gd name="connsiteY498" fmla="*/ 945587 h 1139396"/>
                <a:gd name="connsiteX499" fmla="*/ 7866 w 235112"/>
                <a:gd name="connsiteY499" fmla="*/ 943464 h 1139396"/>
                <a:gd name="connsiteX500" fmla="*/ 8403 w 235112"/>
                <a:gd name="connsiteY500" fmla="*/ 942644 h 1139396"/>
                <a:gd name="connsiteX501" fmla="*/ 8602 w 235112"/>
                <a:gd name="connsiteY501" fmla="*/ 940811 h 1139396"/>
                <a:gd name="connsiteX502" fmla="*/ 14947 w 235112"/>
                <a:gd name="connsiteY502" fmla="*/ 896750 h 1139396"/>
                <a:gd name="connsiteX503" fmla="*/ 15250 w 235112"/>
                <a:gd name="connsiteY503" fmla="*/ 898825 h 1139396"/>
                <a:gd name="connsiteX504" fmla="*/ 15036 w 235112"/>
                <a:gd name="connsiteY504" fmla="*/ 901422 h 1139396"/>
                <a:gd name="connsiteX505" fmla="*/ 11293 w 235112"/>
                <a:gd name="connsiteY505" fmla="*/ 906427 h 1139396"/>
                <a:gd name="connsiteX506" fmla="*/ 8067 w 235112"/>
                <a:gd name="connsiteY506" fmla="*/ 909383 h 1139396"/>
                <a:gd name="connsiteX507" fmla="*/ 5122 w 235112"/>
                <a:gd name="connsiteY507" fmla="*/ 911727 h 1139396"/>
                <a:gd name="connsiteX508" fmla="*/ 3239 w 235112"/>
                <a:gd name="connsiteY508" fmla="*/ 911705 h 1139396"/>
                <a:gd name="connsiteX509" fmla="*/ 1697 w 235112"/>
                <a:gd name="connsiteY509" fmla="*/ 910571 h 1139396"/>
                <a:gd name="connsiteX510" fmla="*/ 3429 w 235112"/>
                <a:gd name="connsiteY510" fmla="*/ 908717 h 1139396"/>
                <a:gd name="connsiteX511" fmla="*/ 5590 w 235112"/>
                <a:gd name="connsiteY511" fmla="*/ 906868 h 1139396"/>
                <a:gd name="connsiteX512" fmla="*/ 4908 w 235112"/>
                <a:gd name="connsiteY512" fmla="*/ 904483 h 1139396"/>
                <a:gd name="connsiteX513" fmla="*/ 4258 w 235112"/>
                <a:gd name="connsiteY513" fmla="*/ 903793 h 1139396"/>
                <a:gd name="connsiteX514" fmla="*/ 3345 w 235112"/>
                <a:gd name="connsiteY514" fmla="*/ 903540 h 1139396"/>
                <a:gd name="connsiteX515" fmla="*/ 1782 w 235112"/>
                <a:gd name="connsiteY515" fmla="*/ 902292 h 1139396"/>
                <a:gd name="connsiteX516" fmla="*/ 2255 w 235112"/>
                <a:gd name="connsiteY516" fmla="*/ 900440 h 1139396"/>
                <a:gd name="connsiteX517" fmla="*/ 3169 w 235112"/>
                <a:gd name="connsiteY517" fmla="*/ 899557 h 1139396"/>
                <a:gd name="connsiteX518" fmla="*/ 4382 w 235112"/>
                <a:gd name="connsiteY518" fmla="*/ 898880 h 1139396"/>
                <a:gd name="connsiteX519" fmla="*/ 5518 w 235112"/>
                <a:gd name="connsiteY519" fmla="*/ 899282 h 1139396"/>
                <a:gd name="connsiteX520" fmla="*/ 10417 w 235112"/>
                <a:gd name="connsiteY520" fmla="*/ 897981 h 1139396"/>
                <a:gd name="connsiteX521" fmla="*/ 11965 w 235112"/>
                <a:gd name="connsiteY521" fmla="*/ 896936 h 1139396"/>
                <a:gd name="connsiteX522" fmla="*/ 23191 w 235112"/>
                <a:gd name="connsiteY522" fmla="*/ 894537 h 1139396"/>
                <a:gd name="connsiteX523" fmla="*/ 24377 w 235112"/>
                <a:gd name="connsiteY523" fmla="*/ 894661 h 1139396"/>
                <a:gd name="connsiteX524" fmla="*/ 26788 w 235112"/>
                <a:gd name="connsiteY524" fmla="*/ 895999 h 1139396"/>
                <a:gd name="connsiteX525" fmla="*/ 28943 w 235112"/>
                <a:gd name="connsiteY525" fmla="*/ 896157 h 1139396"/>
                <a:gd name="connsiteX526" fmla="*/ 29464 w 235112"/>
                <a:gd name="connsiteY526" fmla="*/ 896553 h 1139396"/>
                <a:gd name="connsiteX527" fmla="*/ 29855 w 235112"/>
                <a:gd name="connsiteY527" fmla="*/ 898045 h 1139396"/>
                <a:gd name="connsiteX528" fmla="*/ 31236 w 235112"/>
                <a:gd name="connsiteY528" fmla="*/ 909012 h 1139396"/>
                <a:gd name="connsiteX529" fmla="*/ 31474 w 235112"/>
                <a:gd name="connsiteY529" fmla="*/ 913823 h 1139396"/>
                <a:gd name="connsiteX530" fmla="*/ 31047 w 235112"/>
                <a:gd name="connsiteY530" fmla="*/ 918666 h 1139396"/>
                <a:gd name="connsiteX531" fmla="*/ 30073 w 235112"/>
                <a:gd name="connsiteY531" fmla="*/ 924626 h 1139396"/>
                <a:gd name="connsiteX532" fmla="*/ 30232 w 235112"/>
                <a:gd name="connsiteY532" fmla="*/ 925833 h 1139396"/>
                <a:gd name="connsiteX533" fmla="*/ 31371 w 235112"/>
                <a:gd name="connsiteY533" fmla="*/ 926130 h 1139396"/>
                <a:gd name="connsiteX534" fmla="*/ 31676 w 235112"/>
                <a:gd name="connsiteY534" fmla="*/ 926873 h 1139396"/>
                <a:gd name="connsiteX535" fmla="*/ 31343 w 235112"/>
                <a:gd name="connsiteY535" fmla="*/ 930012 h 1139396"/>
                <a:gd name="connsiteX536" fmla="*/ 30731 w 235112"/>
                <a:gd name="connsiteY536" fmla="*/ 932431 h 1139396"/>
                <a:gd name="connsiteX537" fmla="*/ 29552 w 235112"/>
                <a:gd name="connsiteY537" fmla="*/ 934404 h 1139396"/>
                <a:gd name="connsiteX538" fmla="*/ 28862 w 235112"/>
                <a:gd name="connsiteY538" fmla="*/ 936772 h 1139396"/>
                <a:gd name="connsiteX539" fmla="*/ 28230 w 235112"/>
                <a:gd name="connsiteY539" fmla="*/ 937299 h 1139396"/>
                <a:gd name="connsiteX540" fmla="*/ 25475 w 235112"/>
                <a:gd name="connsiteY540" fmla="*/ 937717 h 1139396"/>
                <a:gd name="connsiteX541" fmla="*/ 23964 w 235112"/>
                <a:gd name="connsiteY541" fmla="*/ 937457 h 1139396"/>
                <a:gd name="connsiteX542" fmla="*/ 22750 w 235112"/>
                <a:gd name="connsiteY542" fmla="*/ 934752 h 1139396"/>
                <a:gd name="connsiteX543" fmla="*/ 22399 w 235112"/>
                <a:gd name="connsiteY543" fmla="*/ 933093 h 1139396"/>
                <a:gd name="connsiteX544" fmla="*/ 22469 w 235112"/>
                <a:gd name="connsiteY544" fmla="*/ 930925 h 1139396"/>
                <a:gd name="connsiteX545" fmla="*/ 20986 w 235112"/>
                <a:gd name="connsiteY545" fmla="*/ 928020 h 1139396"/>
                <a:gd name="connsiteX546" fmla="*/ 20940 w 235112"/>
                <a:gd name="connsiteY546" fmla="*/ 926909 h 1139396"/>
                <a:gd name="connsiteX547" fmla="*/ 21520 w 235112"/>
                <a:gd name="connsiteY547" fmla="*/ 924996 h 1139396"/>
                <a:gd name="connsiteX548" fmla="*/ 22720 w 235112"/>
                <a:gd name="connsiteY548" fmla="*/ 924044 h 1139396"/>
                <a:gd name="connsiteX549" fmla="*/ 22902 w 235112"/>
                <a:gd name="connsiteY549" fmla="*/ 921104 h 1139396"/>
                <a:gd name="connsiteX550" fmla="*/ 23507 w 235112"/>
                <a:gd name="connsiteY550" fmla="*/ 920223 h 1139396"/>
                <a:gd name="connsiteX551" fmla="*/ 24875 w 235112"/>
                <a:gd name="connsiteY551" fmla="*/ 919009 h 1139396"/>
                <a:gd name="connsiteX552" fmla="*/ 25083 w 235112"/>
                <a:gd name="connsiteY552" fmla="*/ 918504 h 1139396"/>
                <a:gd name="connsiteX553" fmla="*/ 24956 w 235112"/>
                <a:gd name="connsiteY553" fmla="*/ 918072 h 1139396"/>
                <a:gd name="connsiteX554" fmla="*/ 24449 w 235112"/>
                <a:gd name="connsiteY554" fmla="*/ 918026 h 1139396"/>
                <a:gd name="connsiteX555" fmla="*/ 18966 w 235112"/>
                <a:gd name="connsiteY555" fmla="*/ 921664 h 1139396"/>
                <a:gd name="connsiteX556" fmla="*/ 18428 w 235112"/>
                <a:gd name="connsiteY556" fmla="*/ 922689 h 1139396"/>
                <a:gd name="connsiteX557" fmla="*/ 18187 w 235112"/>
                <a:gd name="connsiteY557" fmla="*/ 924057 h 1139396"/>
                <a:gd name="connsiteX558" fmla="*/ 18118 w 235112"/>
                <a:gd name="connsiteY558" fmla="*/ 928874 h 1139396"/>
                <a:gd name="connsiteX559" fmla="*/ 17154 w 235112"/>
                <a:gd name="connsiteY559" fmla="*/ 931664 h 1139396"/>
                <a:gd name="connsiteX560" fmla="*/ 16280 w 235112"/>
                <a:gd name="connsiteY560" fmla="*/ 932196 h 1139396"/>
                <a:gd name="connsiteX561" fmla="*/ 13721 w 235112"/>
                <a:gd name="connsiteY561" fmla="*/ 932316 h 1139396"/>
                <a:gd name="connsiteX562" fmla="*/ 10345 w 235112"/>
                <a:gd name="connsiteY562" fmla="*/ 932035 h 1139396"/>
                <a:gd name="connsiteX563" fmla="*/ 6514 w 235112"/>
                <a:gd name="connsiteY563" fmla="*/ 929474 h 1139396"/>
                <a:gd name="connsiteX564" fmla="*/ 4014 w 235112"/>
                <a:gd name="connsiteY564" fmla="*/ 930180 h 1139396"/>
                <a:gd name="connsiteX565" fmla="*/ 3498 w 235112"/>
                <a:gd name="connsiteY565" fmla="*/ 927070 h 1139396"/>
                <a:gd name="connsiteX566" fmla="*/ 4750 w 235112"/>
                <a:gd name="connsiteY566" fmla="*/ 924584 h 1139396"/>
                <a:gd name="connsiteX567" fmla="*/ 9407 w 235112"/>
                <a:gd name="connsiteY567" fmla="*/ 924800 h 1139396"/>
                <a:gd name="connsiteX568" fmla="*/ 10198 w 235112"/>
                <a:gd name="connsiteY568" fmla="*/ 920382 h 1139396"/>
                <a:gd name="connsiteX569" fmla="*/ 8719 w 235112"/>
                <a:gd name="connsiteY569" fmla="*/ 919344 h 1139396"/>
                <a:gd name="connsiteX570" fmla="*/ 7080 w 235112"/>
                <a:gd name="connsiteY570" fmla="*/ 917564 h 1139396"/>
                <a:gd name="connsiteX571" fmla="*/ 6101 w 235112"/>
                <a:gd name="connsiteY571" fmla="*/ 915937 h 1139396"/>
                <a:gd name="connsiteX572" fmla="*/ 6971 w 235112"/>
                <a:gd name="connsiteY572" fmla="*/ 914728 h 1139396"/>
                <a:gd name="connsiteX573" fmla="*/ 9672 w 235112"/>
                <a:gd name="connsiteY573" fmla="*/ 912974 h 1139396"/>
                <a:gd name="connsiteX574" fmla="*/ 11118 w 235112"/>
                <a:gd name="connsiteY574" fmla="*/ 912785 h 1139396"/>
                <a:gd name="connsiteX575" fmla="*/ 12456 w 235112"/>
                <a:gd name="connsiteY575" fmla="*/ 913766 h 1139396"/>
                <a:gd name="connsiteX576" fmla="*/ 15772 w 235112"/>
                <a:gd name="connsiteY576" fmla="*/ 913025 h 1139396"/>
                <a:gd name="connsiteX577" fmla="*/ 15578 w 235112"/>
                <a:gd name="connsiteY577" fmla="*/ 910241 h 1139396"/>
                <a:gd name="connsiteX578" fmla="*/ 12625 w 235112"/>
                <a:gd name="connsiteY578" fmla="*/ 909019 h 1139396"/>
                <a:gd name="connsiteX579" fmla="*/ 13283 w 235112"/>
                <a:gd name="connsiteY579" fmla="*/ 906906 h 1139396"/>
                <a:gd name="connsiteX580" fmla="*/ 17013 w 235112"/>
                <a:gd name="connsiteY580" fmla="*/ 904893 h 1139396"/>
                <a:gd name="connsiteX581" fmla="*/ 19242 w 235112"/>
                <a:gd name="connsiteY581" fmla="*/ 902867 h 1139396"/>
                <a:gd name="connsiteX582" fmla="*/ 19343 w 235112"/>
                <a:gd name="connsiteY582" fmla="*/ 900555 h 1139396"/>
                <a:gd name="connsiteX583" fmla="*/ 18442 w 235112"/>
                <a:gd name="connsiteY583" fmla="*/ 898249 h 1139396"/>
                <a:gd name="connsiteX584" fmla="*/ 18727 w 235112"/>
                <a:gd name="connsiteY584" fmla="*/ 897350 h 1139396"/>
                <a:gd name="connsiteX585" fmla="*/ 20585 w 235112"/>
                <a:gd name="connsiteY585" fmla="*/ 895454 h 1139396"/>
                <a:gd name="connsiteX586" fmla="*/ 8030 w 235112"/>
                <a:gd name="connsiteY586" fmla="*/ 872272 h 1139396"/>
                <a:gd name="connsiteX587" fmla="*/ 9373 w 235112"/>
                <a:gd name="connsiteY587" fmla="*/ 874030 h 1139396"/>
                <a:gd name="connsiteX588" fmla="*/ 10968 w 235112"/>
                <a:gd name="connsiteY588" fmla="*/ 878709 h 1139396"/>
                <a:gd name="connsiteX589" fmla="*/ 14011 w 235112"/>
                <a:gd name="connsiteY589" fmla="*/ 885423 h 1139396"/>
                <a:gd name="connsiteX590" fmla="*/ 13935 w 235112"/>
                <a:gd name="connsiteY590" fmla="*/ 891849 h 1139396"/>
                <a:gd name="connsiteX591" fmla="*/ 12246 w 235112"/>
                <a:gd name="connsiteY591" fmla="*/ 893438 h 1139396"/>
                <a:gd name="connsiteX592" fmla="*/ 6949 w 235112"/>
                <a:gd name="connsiteY592" fmla="*/ 895061 h 1139396"/>
                <a:gd name="connsiteX593" fmla="*/ 5016 w 235112"/>
                <a:gd name="connsiteY593" fmla="*/ 896441 h 1139396"/>
                <a:gd name="connsiteX594" fmla="*/ 2161 w 235112"/>
                <a:gd name="connsiteY594" fmla="*/ 896479 h 1139396"/>
                <a:gd name="connsiteX595" fmla="*/ 1449 w 235112"/>
                <a:gd name="connsiteY595" fmla="*/ 890666 h 1139396"/>
                <a:gd name="connsiteX596" fmla="*/ 4807 w 235112"/>
                <a:gd name="connsiteY596" fmla="*/ 882292 h 1139396"/>
                <a:gd name="connsiteX597" fmla="*/ 5047 w 235112"/>
                <a:gd name="connsiteY597" fmla="*/ 879106 h 1139396"/>
                <a:gd name="connsiteX598" fmla="*/ 3919 w 235112"/>
                <a:gd name="connsiteY598" fmla="*/ 876709 h 1139396"/>
                <a:gd name="connsiteX599" fmla="*/ 3463 w 235112"/>
                <a:gd name="connsiteY599" fmla="*/ 874737 h 1139396"/>
                <a:gd name="connsiteX600" fmla="*/ 3738 w 235112"/>
                <a:gd name="connsiteY600" fmla="*/ 873929 h 1139396"/>
                <a:gd name="connsiteX601" fmla="*/ 20600 w 235112"/>
                <a:gd name="connsiteY601" fmla="*/ 866441 h 1139396"/>
                <a:gd name="connsiteX602" fmla="*/ 22330 w 235112"/>
                <a:gd name="connsiteY602" fmla="*/ 866797 h 1139396"/>
                <a:gd name="connsiteX603" fmla="*/ 21855 w 235112"/>
                <a:gd name="connsiteY603" fmla="*/ 872306 h 1139396"/>
                <a:gd name="connsiteX604" fmla="*/ 22894 w 235112"/>
                <a:gd name="connsiteY604" fmla="*/ 874166 h 1139396"/>
                <a:gd name="connsiteX605" fmla="*/ 24819 w 235112"/>
                <a:gd name="connsiteY605" fmla="*/ 875710 h 1139396"/>
                <a:gd name="connsiteX606" fmla="*/ 25175 w 235112"/>
                <a:gd name="connsiteY606" fmla="*/ 876345 h 1139396"/>
                <a:gd name="connsiteX607" fmla="*/ 25500 w 235112"/>
                <a:gd name="connsiteY607" fmla="*/ 878301 h 1139396"/>
                <a:gd name="connsiteX608" fmla="*/ 26466 w 235112"/>
                <a:gd name="connsiteY608" fmla="*/ 881334 h 1139396"/>
                <a:gd name="connsiteX609" fmla="*/ 27713 w 235112"/>
                <a:gd name="connsiteY609" fmla="*/ 882754 h 1139396"/>
                <a:gd name="connsiteX610" fmla="*/ 28036 w 235112"/>
                <a:gd name="connsiteY610" fmla="*/ 883639 h 1139396"/>
                <a:gd name="connsiteX611" fmla="*/ 28093 w 235112"/>
                <a:gd name="connsiteY611" fmla="*/ 884379 h 1139396"/>
                <a:gd name="connsiteX612" fmla="*/ 27635 w 235112"/>
                <a:gd name="connsiteY612" fmla="*/ 885424 h 1139396"/>
                <a:gd name="connsiteX613" fmla="*/ 28927 w 235112"/>
                <a:gd name="connsiteY613" fmla="*/ 890851 h 1139396"/>
                <a:gd name="connsiteX614" fmla="*/ 28445 w 235112"/>
                <a:gd name="connsiteY614" fmla="*/ 891624 h 1139396"/>
                <a:gd name="connsiteX615" fmla="*/ 25319 w 235112"/>
                <a:gd name="connsiteY615" fmla="*/ 891150 h 1139396"/>
                <a:gd name="connsiteX616" fmla="*/ 19905 w 235112"/>
                <a:gd name="connsiteY616" fmla="*/ 891974 h 1139396"/>
                <a:gd name="connsiteX617" fmla="*/ 17629 w 235112"/>
                <a:gd name="connsiteY617" fmla="*/ 889020 h 1139396"/>
                <a:gd name="connsiteX618" fmla="*/ 16633 w 235112"/>
                <a:gd name="connsiteY618" fmla="*/ 884325 h 1139396"/>
                <a:gd name="connsiteX619" fmla="*/ 15954 w 235112"/>
                <a:gd name="connsiteY619" fmla="*/ 883354 h 1139396"/>
                <a:gd name="connsiteX620" fmla="*/ 14609 w 235112"/>
                <a:gd name="connsiteY620" fmla="*/ 880684 h 1139396"/>
                <a:gd name="connsiteX621" fmla="*/ 13936 w 235112"/>
                <a:gd name="connsiteY621" fmla="*/ 878932 h 1139396"/>
                <a:gd name="connsiteX622" fmla="*/ 12556 w 235112"/>
                <a:gd name="connsiteY622" fmla="*/ 876221 h 1139396"/>
                <a:gd name="connsiteX623" fmla="*/ 12024 w 235112"/>
                <a:gd name="connsiteY623" fmla="*/ 873362 h 1139396"/>
                <a:gd name="connsiteX624" fmla="*/ 11685 w 235112"/>
                <a:gd name="connsiteY624" fmla="*/ 872500 h 1139396"/>
                <a:gd name="connsiteX625" fmla="*/ 12927 w 235112"/>
                <a:gd name="connsiteY625" fmla="*/ 870812 h 1139396"/>
                <a:gd name="connsiteX626" fmla="*/ 18586 w 235112"/>
                <a:gd name="connsiteY626" fmla="*/ 869138 h 1139396"/>
                <a:gd name="connsiteX627" fmla="*/ 15676 w 235112"/>
                <a:gd name="connsiteY627" fmla="*/ 861641 h 1139396"/>
                <a:gd name="connsiteX628" fmla="*/ 17853 w 235112"/>
                <a:gd name="connsiteY628" fmla="*/ 861773 h 1139396"/>
                <a:gd name="connsiteX629" fmla="*/ 19819 w 235112"/>
                <a:gd name="connsiteY629" fmla="*/ 862690 h 1139396"/>
                <a:gd name="connsiteX630" fmla="*/ 20084 w 235112"/>
                <a:gd name="connsiteY630" fmla="*/ 863770 h 1139396"/>
                <a:gd name="connsiteX631" fmla="*/ 16654 w 235112"/>
                <a:gd name="connsiteY631" fmla="*/ 865185 h 1139396"/>
                <a:gd name="connsiteX632" fmla="*/ 15812 w 235112"/>
                <a:gd name="connsiteY632" fmla="*/ 865961 h 1139396"/>
                <a:gd name="connsiteX633" fmla="*/ 15109 w 235112"/>
                <a:gd name="connsiteY633" fmla="*/ 866387 h 1139396"/>
                <a:gd name="connsiteX634" fmla="*/ 13241 w 235112"/>
                <a:gd name="connsiteY634" fmla="*/ 866807 h 1139396"/>
                <a:gd name="connsiteX635" fmla="*/ 13027 w 235112"/>
                <a:gd name="connsiteY635" fmla="*/ 865753 h 1139396"/>
                <a:gd name="connsiteX636" fmla="*/ 11336 w 235112"/>
                <a:gd name="connsiteY636" fmla="*/ 864003 h 1139396"/>
                <a:gd name="connsiteX637" fmla="*/ 12803 w 235112"/>
                <a:gd name="connsiteY637" fmla="*/ 862847 h 1139396"/>
                <a:gd name="connsiteX638" fmla="*/ 35437 w 235112"/>
                <a:gd name="connsiteY638" fmla="*/ 781535 h 1139396"/>
                <a:gd name="connsiteX639" fmla="*/ 36074 w 235112"/>
                <a:gd name="connsiteY639" fmla="*/ 784820 h 1139396"/>
                <a:gd name="connsiteX640" fmla="*/ 35313 w 235112"/>
                <a:gd name="connsiteY640" fmla="*/ 790697 h 1139396"/>
                <a:gd name="connsiteX641" fmla="*/ 37224 w 235112"/>
                <a:gd name="connsiteY641" fmla="*/ 794177 h 1139396"/>
                <a:gd name="connsiteX642" fmla="*/ 37500 w 235112"/>
                <a:gd name="connsiteY642" fmla="*/ 795339 h 1139396"/>
                <a:gd name="connsiteX643" fmla="*/ 37127 w 235112"/>
                <a:gd name="connsiteY643" fmla="*/ 796672 h 1139396"/>
                <a:gd name="connsiteX644" fmla="*/ 35377 w 235112"/>
                <a:gd name="connsiteY644" fmla="*/ 797868 h 1139396"/>
                <a:gd name="connsiteX645" fmla="*/ 33969 w 235112"/>
                <a:gd name="connsiteY645" fmla="*/ 799268 h 1139396"/>
                <a:gd name="connsiteX646" fmla="*/ 31507 w 235112"/>
                <a:gd name="connsiteY646" fmla="*/ 799943 h 1139396"/>
                <a:gd name="connsiteX647" fmla="*/ 29070 w 235112"/>
                <a:gd name="connsiteY647" fmla="*/ 798845 h 1139396"/>
                <a:gd name="connsiteX648" fmla="*/ 26126 w 235112"/>
                <a:gd name="connsiteY648" fmla="*/ 799354 h 1139396"/>
                <a:gd name="connsiteX649" fmla="*/ 25819 w 235112"/>
                <a:gd name="connsiteY649" fmla="*/ 796955 h 1139396"/>
                <a:gd name="connsiteX650" fmla="*/ 26920 w 235112"/>
                <a:gd name="connsiteY650" fmla="*/ 794981 h 1139396"/>
                <a:gd name="connsiteX651" fmla="*/ 29152 w 235112"/>
                <a:gd name="connsiteY651" fmla="*/ 792635 h 1139396"/>
                <a:gd name="connsiteX652" fmla="*/ 30767 w 235112"/>
                <a:gd name="connsiteY652" fmla="*/ 789495 h 1139396"/>
                <a:gd name="connsiteX653" fmla="*/ 30573 w 235112"/>
                <a:gd name="connsiteY653" fmla="*/ 785069 h 1139396"/>
                <a:gd name="connsiteX654" fmla="*/ 31900 w 235112"/>
                <a:gd name="connsiteY654" fmla="*/ 784056 h 1139396"/>
                <a:gd name="connsiteX655" fmla="*/ 32613 w 235112"/>
                <a:gd name="connsiteY655" fmla="*/ 782495 h 1139396"/>
                <a:gd name="connsiteX656" fmla="*/ 15230 w 235112"/>
                <a:gd name="connsiteY656" fmla="*/ 769703 h 1139396"/>
                <a:gd name="connsiteX657" fmla="*/ 15939 w 235112"/>
                <a:gd name="connsiteY657" fmla="*/ 769703 h 1139396"/>
                <a:gd name="connsiteX658" fmla="*/ 16727 w 235112"/>
                <a:gd name="connsiteY658" fmla="*/ 770604 h 1139396"/>
                <a:gd name="connsiteX659" fmla="*/ 17138 w 235112"/>
                <a:gd name="connsiteY659" fmla="*/ 772062 h 1139396"/>
                <a:gd name="connsiteX660" fmla="*/ 16877 w 235112"/>
                <a:gd name="connsiteY660" fmla="*/ 772677 h 1139396"/>
                <a:gd name="connsiteX661" fmla="*/ 16244 w 235112"/>
                <a:gd name="connsiteY661" fmla="*/ 773190 h 1139396"/>
                <a:gd name="connsiteX662" fmla="*/ 15452 w 235112"/>
                <a:gd name="connsiteY662" fmla="*/ 773041 h 1139396"/>
                <a:gd name="connsiteX663" fmla="*/ 14805 w 235112"/>
                <a:gd name="connsiteY663" fmla="*/ 772044 h 1139396"/>
                <a:gd name="connsiteX664" fmla="*/ 14351 w 235112"/>
                <a:gd name="connsiteY664" fmla="*/ 770345 h 1139396"/>
                <a:gd name="connsiteX665" fmla="*/ 50310 w 235112"/>
                <a:gd name="connsiteY665" fmla="*/ 761866 h 1139396"/>
                <a:gd name="connsiteX666" fmla="*/ 51260 w 235112"/>
                <a:gd name="connsiteY666" fmla="*/ 761930 h 1139396"/>
                <a:gd name="connsiteX667" fmla="*/ 52408 w 235112"/>
                <a:gd name="connsiteY667" fmla="*/ 763945 h 1139396"/>
                <a:gd name="connsiteX668" fmla="*/ 52738 w 235112"/>
                <a:gd name="connsiteY668" fmla="*/ 766128 h 1139396"/>
                <a:gd name="connsiteX669" fmla="*/ 53033 w 235112"/>
                <a:gd name="connsiteY669" fmla="*/ 768384 h 1139396"/>
                <a:gd name="connsiteX670" fmla="*/ 52637 w 235112"/>
                <a:gd name="connsiteY670" fmla="*/ 770528 h 1139396"/>
                <a:gd name="connsiteX671" fmla="*/ 51809 w 235112"/>
                <a:gd name="connsiteY671" fmla="*/ 770885 h 1139396"/>
                <a:gd name="connsiteX672" fmla="*/ 51055 w 235112"/>
                <a:gd name="connsiteY672" fmla="*/ 770831 h 1139396"/>
                <a:gd name="connsiteX673" fmla="*/ 50290 w 235112"/>
                <a:gd name="connsiteY673" fmla="*/ 769757 h 1139396"/>
                <a:gd name="connsiteX674" fmla="*/ 50034 w 235112"/>
                <a:gd name="connsiteY674" fmla="*/ 768344 h 1139396"/>
                <a:gd name="connsiteX675" fmla="*/ 48378 w 235112"/>
                <a:gd name="connsiteY675" fmla="*/ 766232 h 1139396"/>
                <a:gd name="connsiteX676" fmla="*/ 47914 w 235112"/>
                <a:gd name="connsiteY676" fmla="*/ 765235 h 1139396"/>
                <a:gd name="connsiteX677" fmla="*/ 47950 w 235112"/>
                <a:gd name="connsiteY677" fmla="*/ 764042 h 1139396"/>
                <a:gd name="connsiteX678" fmla="*/ 48902 w 235112"/>
                <a:gd name="connsiteY678" fmla="*/ 762332 h 1139396"/>
                <a:gd name="connsiteX679" fmla="*/ 63401 w 235112"/>
                <a:gd name="connsiteY679" fmla="*/ 755344 h 1139396"/>
                <a:gd name="connsiteX680" fmla="*/ 67947 w 235112"/>
                <a:gd name="connsiteY680" fmla="*/ 756873 h 1139396"/>
                <a:gd name="connsiteX681" fmla="*/ 72662 w 235112"/>
                <a:gd name="connsiteY681" fmla="*/ 759168 h 1139396"/>
                <a:gd name="connsiteX682" fmla="*/ 74338 w 235112"/>
                <a:gd name="connsiteY682" fmla="*/ 760755 h 1139396"/>
                <a:gd name="connsiteX683" fmla="*/ 74650 w 235112"/>
                <a:gd name="connsiteY683" fmla="*/ 762016 h 1139396"/>
                <a:gd name="connsiteX684" fmla="*/ 72589 w 235112"/>
                <a:gd name="connsiteY684" fmla="*/ 764808 h 1139396"/>
                <a:gd name="connsiteX685" fmla="*/ 71275 w 235112"/>
                <a:gd name="connsiteY685" fmla="*/ 767106 h 1139396"/>
                <a:gd name="connsiteX686" fmla="*/ 69019 w 235112"/>
                <a:gd name="connsiteY686" fmla="*/ 769233 h 1139396"/>
                <a:gd name="connsiteX687" fmla="*/ 62874 w 235112"/>
                <a:gd name="connsiteY687" fmla="*/ 771733 h 1139396"/>
                <a:gd name="connsiteX688" fmla="*/ 59793 w 235112"/>
                <a:gd name="connsiteY688" fmla="*/ 770894 h 1139396"/>
                <a:gd name="connsiteX689" fmla="*/ 58599 w 235112"/>
                <a:gd name="connsiteY689" fmla="*/ 769053 h 1139396"/>
                <a:gd name="connsiteX690" fmla="*/ 58016 w 235112"/>
                <a:gd name="connsiteY690" fmla="*/ 767505 h 1139396"/>
                <a:gd name="connsiteX691" fmla="*/ 57383 w 235112"/>
                <a:gd name="connsiteY691" fmla="*/ 764888 h 1139396"/>
                <a:gd name="connsiteX692" fmla="*/ 58432 w 235112"/>
                <a:gd name="connsiteY692" fmla="*/ 763484 h 1139396"/>
                <a:gd name="connsiteX693" fmla="*/ 60682 w 235112"/>
                <a:gd name="connsiteY693" fmla="*/ 761465 h 1139396"/>
                <a:gd name="connsiteX694" fmla="*/ 61518 w 235112"/>
                <a:gd name="connsiteY694" fmla="*/ 760161 h 1139396"/>
                <a:gd name="connsiteX695" fmla="*/ 61922 w 235112"/>
                <a:gd name="connsiteY695" fmla="*/ 758623 h 1139396"/>
                <a:gd name="connsiteX696" fmla="*/ 61781 w 235112"/>
                <a:gd name="connsiteY696" fmla="*/ 757188 h 1139396"/>
                <a:gd name="connsiteX697" fmla="*/ 62075 w 235112"/>
                <a:gd name="connsiteY697" fmla="*/ 755822 h 1139396"/>
                <a:gd name="connsiteX698" fmla="*/ 45842 w 235112"/>
                <a:gd name="connsiteY698" fmla="*/ 749120 h 1139396"/>
                <a:gd name="connsiteX699" fmla="*/ 46745 w 235112"/>
                <a:gd name="connsiteY699" fmla="*/ 750690 h 1139396"/>
                <a:gd name="connsiteX700" fmla="*/ 47931 w 235112"/>
                <a:gd name="connsiteY700" fmla="*/ 752232 h 1139396"/>
                <a:gd name="connsiteX701" fmla="*/ 50836 w 235112"/>
                <a:gd name="connsiteY701" fmla="*/ 753450 h 1139396"/>
                <a:gd name="connsiteX702" fmla="*/ 50823 w 235112"/>
                <a:gd name="connsiteY702" fmla="*/ 755046 h 1139396"/>
                <a:gd name="connsiteX703" fmla="*/ 50021 w 235112"/>
                <a:gd name="connsiteY703" fmla="*/ 757198 h 1139396"/>
                <a:gd name="connsiteX704" fmla="*/ 48773 w 235112"/>
                <a:gd name="connsiteY704" fmla="*/ 758538 h 1139396"/>
                <a:gd name="connsiteX705" fmla="*/ 46803 w 235112"/>
                <a:gd name="connsiteY705" fmla="*/ 758775 h 1139396"/>
                <a:gd name="connsiteX706" fmla="*/ 43734 w 235112"/>
                <a:gd name="connsiteY706" fmla="*/ 760324 h 1139396"/>
                <a:gd name="connsiteX707" fmla="*/ 43411 w 235112"/>
                <a:gd name="connsiteY707" fmla="*/ 761671 h 1139396"/>
                <a:gd name="connsiteX708" fmla="*/ 43258 w 235112"/>
                <a:gd name="connsiteY708" fmla="*/ 763323 h 1139396"/>
                <a:gd name="connsiteX709" fmla="*/ 45376 w 235112"/>
                <a:gd name="connsiteY709" fmla="*/ 765314 h 1139396"/>
                <a:gd name="connsiteX710" fmla="*/ 46420 w 235112"/>
                <a:gd name="connsiteY710" fmla="*/ 767629 h 1139396"/>
                <a:gd name="connsiteX711" fmla="*/ 47675 w 235112"/>
                <a:gd name="connsiteY711" fmla="*/ 771102 h 1139396"/>
                <a:gd name="connsiteX712" fmla="*/ 48581 w 235112"/>
                <a:gd name="connsiteY712" fmla="*/ 774420 h 1139396"/>
                <a:gd name="connsiteX713" fmla="*/ 48500 w 235112"/>
                <a:gd name="connsiteY713" fmla="*/ 775447 h 1139396"/>
                <a:gd name="connsiteX714" fmla="*/ 48725 w 235112"/>
                <a:gd name="connsiteY714" fmla="*/ 777171 h 1139396"/>
                <a:gd name="connsiteX715" fmla="*/ 50229 w 235112"/>
                <a:gd name="connsiteY715" fmla="*/ 779851 h 1139396"/>
                <a:gd name="connsiteX716" fmla="*/ 50368 w 235112"/>
                <a:gd name="connsiteY716" fmla="*/ 781062 h 1139396"/>
                <a:gd name="connsiteX717" fmla="*/ 50204 w 235112"/>
                <a:gd name="connsiteY717" fmla="*/ 782263 h 1139396"/>
                <a:gd name="connsiteX718" fmla="*/ 49597 w 235112"/>
                <a:gd name="connsiteY718" fmla="*/ 784491 h 1139396"/>
                <a:gd name="connsiteX719" fmla="*/ 49118 w 235112"/>
                <a:gd name="connsiteY719" fmla="*/ 784798 h 1139396"/>
                <a:gd name="connsiteX720" fmla="*/ 47625 w 235112"/>
                <a:gd name="connsiteY720" fmla="*/ 785015 h 1139396"/>
                <a:gd name="connsiteX721" fmla="*/ 47508 w 235112"/>
                <a:gd name="connsiteY721" fmla="*/ 786370 h 1139396"/>
                <a:gd name="connsiteX722" fmla="*/ 47140 w 235112"/>
                <a:gd name="connsiteY722" fmla="*/ 786812 h 1139396"/>
                <a:gd name="connsiteX723" fmla="*/ 42898 w 235112"/>
                <a:gd name="connsiteY723" fmla="*/ 786948 h 1139396"/>
                <a:gd name="connsiteX724" fmla="*/ 40798 w 235112"/>
                <a:gd name="connsiteY724" fmla="*/ 786333 h 1139396"/>
                <a:gd name="connsiteX725" fmla="*/ 41047 w 235112"/>
                <a:gd name="connsiteY725" fmla="*/ 782258 h 1139396"/>
                <a:gd name="connsiteX726" fmla="*/ 38361 w 235112"/>
                <a:gd name="connsiteY726" fmla="*/ 780660 h 1139396"/>
                <a:gd name="connsiteX727" fmla="*/ 36517 w 235112"/>
                <a:gd name="connsiteY727" fmla="*/ 777967 h 1139396"/>
                <a:gd name="connsiteX728" fmla="*/ 34439 w 235112"/>
                <a:gd name="connsiteY728" fmla="*/ 773325 h 1139396"/>
                <a:gd name="connsiteX729" fmla="*/ 32692 w 235112"/>
                <a:gd name="connsiteY729" fmla="*/ 771897 h 1139396"/>
                <a:gd name="connsiteX730" fmla="*/ 30663 w 235112"/>
                <a:gd name="connsiteY730" fmla="*/ 768233 h 1139396"/>
                <a:gd name="connsiteX731" fmla="*/ 27647 w 235112"/>
                <a:gd name="connsiteY731" fmla="*/ 765103 h 1139396"/>
                <a:gd name="connsiteX732" fmla="*/ 31127 w 235112"/>
                <a:gd name="connsiteY732" fmla="*/ 763125 h 1139396"/>
                <a:gd name="connsiteX733" fmla="*/ 30587 w 235112"/>
                <a:gd name="connsiteY733" fmla="*/ 759660 h 1139396"/>
                <a:gd name="connsiteX734" fmla="*/ 32619 w 235112"/>
                <a:gd name="connsiteY734" fmla="*/ 758474 h 1139396"/>
                <a:gd name="connsiteX735" fmla="*/ 35673 w 235112"/>
                <a:gd name="connsiteY735" fmla="*/ 757235 h 1139396"/>
                <a:gd name="connsiteX736" fmla="*/ 37922 w 235112"/>
                <a:gd name="connsiteY736" fmla="*/ 758209 h 1139396"/>
                <a:gd name="connsiteX737" fmla="*/ 39943 w 235112"/>
                <a:gd name="connsiteY737" fmla="*/ 757865 h 1139396"/>
                <a:gd name="connsiteX738" fmla="*/ 40845 w 235112"/>
                <a:gd name="connsiteY738" fmla="*/ 757038 h 1139396"/>
                <a:gd name="connsiteX739" fmla="*/ 40569 w 235112"/>
                <a:gd name="connsiteY739" fmla="*/ 753505 h 1139396"/>
                <a:gd name="connsiteX740" fmla="*/ 41211 w 235112"/>
                <a:gd name="connsiteY740" fmla="*/ 750723 h 1139396"/>
                <a:gd name="connsiteX741" fmla="*/ 43439 w 235112"/>
                <a:gd name="connsiteY741" fmla="*/ 749287 h 1139396"/>
                <a:gd name="connsiteX742" fmla="*/ 46937 w 235112"/>
                <a:gd name="connsiteY742" fmla="*/ 738231 h 1139396"/>
                <a:gd name="connsiteX743" fmla="*/ 47332 w 235112"/>
                <a:gd name="connsiteY743" fmla="*/ 738391 h 1139396"/>
                <a:gd name="connsiteX744" fmla="*/ 48112 w 235112"/>
                <a:gd name="connsiteY744" fmla="*/ 739577 h 1139396"/>
                <a:gd name="connsiteX745" fmla="*/ 48644 w 235112"/>
                <a:gd name="connsiteY745" fmla="*/ 741102 h 1139396"/>
                <a:gd name="connsiteX746" fmla="*/ 47528 w 235112"/>
                <a:gd name="connsiteY746" fmla="*/ 741311 h 1139396"/>
                <a:gd name="connsiteX747" fmla="*/ 45740 w 235112"/>
                <a:gd name="connsiteY747" fmla="*/ 741068 h 1139396"/>
                <a:gd name="connsiteX748" fmla="*/ 44876 w 235112"/>
                <a:gd name="connsiteY748" fmla="*/ 742273 h 1139396"/>
                <a:gd name="connsiteX749" fmla="*/ 44434 w 235112"/>
                <a:gd name="connsiteY749" fmla="*/ 742513 h 1139396"/>
                <a:gd name="connsiteX750" fmla="*/ 40323 w 235112"/>
                <a:gd name="connsiteY750" fmla="*/ 741444 h 1139396"/>
                <a:gd name="connsiteX751" fmla="*/ 39686 w 235112"/>
                <a:gd name="connsiteY751" fmla="*/ 740968 h 1139396"/>
                <a:gd name="connsiteX752" fmla="*/ 39761 w 235112"/>
                <a:gd name="connsiteY752" fmla="*/ 739383 h 1139396"/>
                <a:gd name="connsiteX753" fmla="*/ 44142 w 235112"/>
                <a:gd name="connsiteY753" fmla="*/ 739243 h 1139396"/>
                <a:gd name="connsiteX754" fmla="*/ 24419 w 235112"/>
                <a:gd name="connsiteY754" fmla="*/ 730565 h 1139396"/>
                <a:gd name="connsiteX755" fmla="*/ 25625 w 235112"/>
                <a:gd name="connsiteY755" fmla="*/ 731093 h 1139396"/>
                <a:gd name="connsiteX756" fmla="*/ 26254 w 235112"/>
                <a:gd name="connsiteY756" fmla="*/ 731847 h 1139396"/>
                <a:gd name="connsiteX757" fmla="*/ 26454 w 235112"/>
                <a:gd name="connsiteY757" fmla="*/ 732533 h 1139396"/>
                <a:gd name="connsiteX758" fmla="*/ 26353 w 235112"/>
                <a:gd name="connsiteY758" fmla="*/ 732786 h 1139396"/>
                <a:gd name="connsiteX759" fmla="*/ 22760 w 235112"/>
                <a:gd name="connsiteY759" fmla="*/ 733330 h 1139396"/>
                <a:gd name="connsiteX760" fmla="*/ 21944 w 235112"/>
                <a:gd name="connsiteY760" fmla="*/ 732405 h 1139396"/>
                <a:gd name="connsiteX761" fmla="*/ 21961 w 235112"/>
                <a:gd name="connsiteY761" fmla="*/ 731627 h 1139396"/>
                <a:gd name="connsiteX762" fmla="*/ 22577 w 235112"/>
                <a:gd name="connsiteY762" fmla="*/ 730981 h 1139396"/>
                <a:gd name="connsiteX763" fmla="*/ 42381 w 235112"/>
                <a:gd name="connsiteY763" fmla="*/ 677249 h 1139396"/>
                <a:gd name="connsiteX764" fmla="*/ 50133 w 235112"/>
                <a:gd name="connsiteY764" fmla="*/ 679733 h 1139396"/>
                <a:gd name="connsiteX765" fmla="*/ 55283 w 235112"/>
                <a:gd name="connsiteY765" fmla="*/ 680312 h 1139396"/>
                <a:gd name="connsiteX766" fmla="*/ 55559 w 235112"/>
                <a:gd name="connsiteY766" fmla="*/ 682885 h 1139396"/>
                <a:gd name="connsiteX767" fmla="*/ 56552 w 235112"/>
                <a:gd name="connsiteY767" fmla="*/ 684904 h 1139396"/>
                <a:gd name="connsiteX768" fmla="*/ 57143 w 235112"/>
                <a:gd name="connsiteY768" fmla="*/ 688522 h 1139396"/>
                <a:gd name="connsiteX769" fmla="*/ 57945 w 235112"/>
                <a:gd name="connsiteY769" fmla="*/ 689344 h 1139396"/>
                <a:gd name="connsiteX770" fmla="*/ 57529 w 235112"/>
                <a:gd name="connsiteY770" fmla="*/ 691937 h 1139396"/>
                <a:gd name="connsiteX771" fmla="*/ 55157 w 235112"/>
                <a:gd name="connsiteY771" fmla="*/ 693054 h 1139396"/>
                <a:gd name="connsiteX772" fmla="*/ 55367 w 235112"/>
                <a:gd name="connsiteY772" fmla="*/ 695440 h 1139396"/>
                <a:gd name="connsiteX773" fmla="*/ 56730 w 235112"/>
                <a:gd name="connsiteY773" fmla="*/ 697695 h 1139396"/>
                <a:gd name="connsiteX774" fmla="*/ 54740 w 235112"/>
                <a:gd name="connsiteY774" fmla="*/ 698497 h 1139396"/>
                <a:gd name="connsiteX775" fmla="*/ 52594 w 235112"/>
                <a:gd name="connsiteY775" fmla="*/ 698975 h 1139396"/>
                <a:gd name="connsiteX776" fmla="*/ 52098 w 235112"/>
                <a:gd name="connsiteY776" fmla="*/ 699603 h 1139396"/>
                <a:gd name="connsiteX777" fmla="*/ 50544 w 235112"/>
                <a:gd name="connsiteY777" fmla="*/ 700092 h 1139396"/>
                <a:gd name="connsiteX778" fmla="*/ 48655 w 235112"/>
                <a:gd name="connsiteY778" fmla="*/ 701348 h 1139396"/>
                <a:gd name="connsiteX779" fmla="*/ 49223 w 235112"/>
                <a:gd name="connsiteY779" fmla="*/ 702455 h 1139396"/>
                <a:gd name="connsiteX780" fmla="*/ 51601 w 235112"/>
                <a:gd name="connsiteY780" fmla="*/ 704982 h 1139396"/>
                <a:gd name="connsiteX781" fmla="*/ 54258 w 235112"/>
                <a:gd name="connsiteY781" fmla="*/ 706735 h 1139396"/>
                <a:gd name="connsiteX782" fmla="*/ 55717 w 235112"/>
                <a:gd name="connsiteY782" fmla="*/ 709360 h 1139396"/>
                <a:gd name="connsiteX783" fmla="*/ 57604 w 235112"/>
                <a:gd name="connsiteY783" fmla="*/ 712103 h 1139396"/>
                <a:gd name="connsiteX784" fmla="*/ 56682 w 235112"/>
                <a:gd name="connsiteY784" fmla="*/ 713846 h 1139396"/>
                <a:gd name="connsiteX785" fmla="*/ 54954 w 235112"/>
                <a:gd name="connsiteY785" fmla="*/ 716319 h 1139396"/>
                <a:gd name="connsiteX786" fmla="*/ 52196 w 235112"/>
                <a:gd name="connsiteY786" fmla="*/ 717963 h 1139396"/>
                <a:gd name="connsiteX787" fmla="*/ 49658 w 235112"/>
                <a:gd name="connsiteY787" fmla="*/ 718945 h 1139396"/>
                <a:gd name="connsiteX788" fmla="*/ 49958 w 235112"/>
                <a:gd name="connsiteY788" fmla="*/ 723021 h 1139396"/>
                <a:gd name="connsiteX789" fmla="*/ 49058 w 235112"/>
                <a:gd name="connsiteY789" fmla="*/ 724701 h 1139396"/>
                <a:gd name="connsiteX790" fmla="*/ 47151 w 235112"/>
                <a:gd name="connsiteY790" fmla="*/ 725345 h 1139396"/>
                <a:gd name="connsiteX791" fmla="*/ 45373 w 235112"/>
                <a:gd name="connsiteY791" fmla="*/ 725505 h 1139396"/>
                <a:gd name="connsiteX792" fmla="*/ 43566 w 235112"/>
                <a:gd name="connsiteY792" fmla="*/ 725032 h 1139396"/>
                <a:gd name="connsiteX793" fmla="*/ 40410 w 235112"/>
                <a:gd name="connsiteY793" fmla="*/ 725071 h 1139396"/>
                <a:gd name="connsiteX794" fmla="*/ 37261 w 235112"/>
                <a:gd name="connsiteY794" fmla="*/ 723866 h 1139396"/>
                <a:gd name="connsiteX795" fmla="*/ 34311 w 235112"/>
                <a:gd name="connsiteY795" fmla="*/ 722163 h 1139396"/>
                <a:gd name="connsiteX796" fmla="*/ 33490 w 235112"/>
                <a:gd name="connsiteY796" fmla="*/ 721179 h 1139396"/>
                <a:gd name="connsiteX797" fmla="*/ 33850 w 235112"/>
                <a:gd name="connsiteY797" fmla="*/ 719766 h 1139396"/>
                <a:gd name="connsiteX798" fmla="*/ 35975 w 235112"/>
                <a:gd name="connsiteY798" fmla="*/ 716497 h 1139396"/>
                <a:gd name="connsiteX799" fmla="*/ 38000 w 235112"/>
                <a:gd name="connsiteY799" fmla="*/ 710328 h 1139396"/>
                <a:gd name="connsiteX800" fmla="*/ 39348 w 235112"/>
                <a:gd name="connsiteY800" fmla="*/ 701495 h 1139396"/>
                <a:gd name="connsiteX801" fmla="*/ 38269 w 235112"/>
                <a:gd name="connsiteY801" fmla="*/ 698153 h 1139396"/>
                <a:gd name="connsiteX802" fmla="*/ 38403 w 235112"/>
                <a:gd name="connsiteY802" fmla="*/ 696768 h 1139396"/>
                <a:gd name="connsiteX803" fmla="*/ 38898 w 235112"/>
                <a:gd name="connsiteY803" fmla="*/ 695103 h 1139396"/>
                <a:gd name="connsiteX804" fmla="*/ 39144 w 235112"/>
                <a:gd name="connsiteY804" fmla="*/ 693391 h 1139396"/>
                <a:gd name="connsiteX805" fmla="*/ 38993 w 235112"/>
                <a:gd name="connsiteY805" fmla="*/ 691665 h 1139396"/>
                <a:gd name="connsiteX806" fmla="*/ 39250 w 235112"/>
                <a:gd name="connsiteY806" fmla="*/ 690062 h 1139396"/>
                <a:gd name="connsiteX807" fmla="*/ 41478 w 235112"/>
                <a:gd name="connsiteY807" fmla="*/ 686692 h 1139396"/>
                <a:gd name="connsiteX808" fmla="*/ 41806 w 235112"/>
                <a:gd name="connsiteY808" fmla="*/ 685181 h 1139396"/>
                <a:gd name="connsiteX809" fmla="*/ 41870 w 235112"/>
                <a:gd name="connsiteY809" fmla="*/ 683538 h 1139396"/>
                <a:gd name="connsiteX810" fmla="*/ 42834 w 235112"/>
                <a:gd name="connsiteY810" fmla="*/ 680149 h 1139396"/>
                <a:gd name="connsiteX811" fmla="*/ 42537 w 235112"/>
                <a:gd name="connsiteY811" fmla="*/ 679026 h 1139396"/>
                <a:gd name="connsiteX812" fmla="*/ 41713 w 235112"/>
                <a:gd name="connsiteY812" fmla="*/ 678077 h 1139396"/>
                <a:gd name="connsiteX813" fmla="*/ 157137 w 235112"/>
                <a:gd name="connsiteY813" fmla="*/ 0 h 1139396"/>
                <a:gd name="connsiteX814" fmla="*/ 157542 w 235112"/>
                <a:gd name="connsiteY814" fmla="*/ 2966 h 1139396"/>
                <a:gd name="connsiteX815" fmla="*/ 161016 w 235112"/>
                <a:gd name="connsiteY815" fmla="*/ 6944 h 1139396"/>
                <a:gd name="connsiteX816" fmla="*/ 162147 w 235112"/>
                <a:gd name="connsiteY816" fmla="*/ 11431 h 1139396"/>
                <a:gd name="connsiteX817" fmla="*/ 162935 w 235112"/>
                <a:gd name="connsiteY817" fmla="*/ 11999 h 1139396"/>
                <a:gd name="connsiteX818" fmla="*/ 167711 w 235112"/>
                <a:gd name="connsiteY818" fmla="*/ 14242 h 1139396"/>
                <a:gd name="connsiteX819" fmla="*/ 167801 w 235112"/>
                <a:gd name="connsiteY819" fmla="*/ 14771 h 1139396"/>
                <a:gd name="connsiteX820" fmla="*/ 167100 w 235112"/>
                <a:gd name="connsiteY820" fmla="*/ 15610 h 1139396"/>
                <a:gd name="connsiteX821" fmla="*/ 166405 w 235112"/>
                <a:gd name="connsiteY821" fmla="*/ 16691 h 1139396"/>
                <a:gd name="connsiteX822" fmla="*/ 166889 w 235112"/>
                <a:gd name="connsiteY822" fmla="*/ 18221 h 1139396"/>
                <a:gd name="connsiteX823" fmla="*/ 167754 w 235112"/>
                <a:gd name="connsiteY823" fmla="*/ 20317 h 1139396"/>
                <a:gd name="connsiteX824" fmla="*/ 168040 w 235112"/>
                <a:gd name="connsiteY824" fmla="*/ 22262 h 1139396"/>
                <a:gd name="connsiteX825" fmla="*/ 168568 w 235112"/>
                <a:gd name="connsiteY825" fmla="*/ 24264 h 1139396"/>
                <a:gd name="connsiteX826" fmla="*/ 169094 w 235112"/>
                <a:gd name="connsiteY826" fmla="*/ 27335 h 1139396"/>
                <a:gd name="connsiteX827" fmla="*/ 169414 w 235112"/>
                <a:gd name="connsiteY827" fmla="*/ 30119 h 1139396"/>
                <a:gd name="connsiteX828" fmla="*/ 170630 w 235112"/>
                <a:gd name="connsiteY828" fmla="*/ 34234 h 1139396"/>
                <a:gd name="connsiteX829" fmla="*/ 170877 w 235112"/>
                <a:gd name="connsiteY829" fmla="*/ 36773 h 1139396"/>
                <a:gd name="connsiteX830" fmla="*/ 170897 w 235112"/>
                <a:gd name="connsiteY830" fmla="*/ 38305 h 1139396"/>
                <a:gd name="connsiteX831" fmla="*/ 171843 w 235112"/>
                <a:gd name="connsiteY831" fmla="*/ 39808 h 1139396"/>
                <a:gd name="connsiteX832" fmla="*/ 173695 w 235112"/>
                <a:gd name="connsiteY832" fmla="*/ 41599 h 1139396"/>
                <a:gd name="connsiteX833" fmla="*/ 176203 w 235112"/>
                <a:gd name="connsiteY833" fmla="*/ 43410 h 1139396"/>
                <a:gd name="connsiteX834" fmla="*/ 178190 w 235112"/>
                <a:gd name="connsiteY834" fmla="*/ 45518 h 1139396"/>
                <a:gd name="connsiteX835" fmla="*/ 179715 w 235112"/>
                <a:gd name="connsiteY835" fmla="*/ 46946 h 1139396"/>
                <a:gd name="connsiteX836" fmla="*/ 181558 w 235112"/>
                <a:gd name="connsiteY836" fmla="*/ 48115 h 1139396"/>
                <a:gd name="connsiteX837" fmla="*/ 182974 w 235112"/>
                <a:gd name="connsiteY837" fmla="*/ 49189 h 1139396"/>
                <a:gd name="connsiteX838" fmla="*/ 183528 w 235112"/>
                <a:gd name="connsiteY838" fmla="*/ 49927 h 1139396"/>
                <a:gd name="connsiteX839" fmla="*/ 183713 w 235112"/>
                <a:gd name="connsiteY839" fmla="*/ 50528 h 1139396"/>
                <a:gd name="connsiteX840" fmla="*/ 183101 w 235112"/>
                <a:gd name="connsiteY840" fmla="*/ 51096 h 1139396"/>
                <a:gd name="connsiteX841" fmla="*/ 180863 w 235112"/>
                <a:gd name="connsiteY841" fmla="*/ 53881 h 1139396"/>
                <a:gd name="connsiteX842" fmla="*/ 177744 w 235112"/>
                <a:gd name="connsiteY842" fmla="*/ 58120 h 1139396"/>
                <a:gd name="connsiteX843" fmla="*/ 177797 w 235112"/>
                <a:gd name="connsiteY843" fmla="*/ 58637 h 1139396"/>
                <a:gd name="connsiteX844" fmla="*/ 180787 w 235112"/>
                <a:gd name="connsiteY844" fmla="*/ 61690 h 1139396"/>
                <a:gd name="connsiteX845" fmla="*/ 181267 w 235112"/>
                <a:gd name="connsiteY845" fmla="*/ 62897 h 1139396"/>
                <a:gd name="connsiteX846" fmla="*/ 181232 w 235112"/>
                <a:gd name="connsiteY846" fmla="*/ 64605 h 1139396"/>
                <a:gd name="connsiteX847" fmla="*/ 180231 w 235112"/>
                <a:gd name="connsiteY847" fmla="*/ 66659 h 1139396"/>
                <a:gd name="connsiteX848" fmla="*/ 177003 w 235112"/>
                <a:gd name="connsiteY848" fmla="*/ 67310 h 1139396"/>
                <a:gd name="connsiteX849" fmla="*/ 176285 w 235112"/>
                <a:gd name="connsiteY849" fmla="*/ 67868 h 1139396"/>
                <a:gd name="connsiteX850" fmla="*/ 176196 w 235112"/>
                <a:gd name="connsiteY850" fmla="*/ 68521 h 1139396"/>
                <a:gd name="connsiteX851" fmla="*/ 176939 w 235112"/>
                <a:gd name="connsiteY851" fmla="*/ 69390 h 1139396"/>
                <a:gd name="connsiteX852" fmla="*/ 176824 w 235112"/>
                <a:gd name="connsiteY852" fmla="*/ 71416 h 1139396"/>
                <a:gd name="connsiteX853" fmla="*/ 177991 w 235112"/>
                <a:gd name="connsiteY853" fmla="*/ 73657 h 1139396"/>
                <a:gd name="connsiteX854" fmla="*/ 177388 w 235112"/>
                <a:gd name="connsiteY854" fmla="*/ 74421 h 1139396"/>
                <a:gd name="connsiteX855" fmla="*/ 176198 w 235112"/>
                <a:gd name="connsiteY855" fmla="*/ 75453 h 1139396"/>
                <a:gd name="connsiteX856" fmla="*/ 176165 w 235112"/>
                <a:gd name="connsiteY856" fmla="*/ 76461 h 1139396"/>
                <a:gd name="connsiteX857" fmla="*/ 176555 w 235112"/>
                <a:gd name="connsiteY857" fmla="*/ 77581 h 1139396"/>
                <a:gd name="connsiteX858" fmla="*/ 177807 w 235112"/>
                <a:gd name="connsiteY858" fmla="*/ 78489 h 1139396"/>
                <a:gd name="connsiteX859" fmla="*/ 182776 w 235112"/>
                <a:gd name="connsiteY859" fmla="*/ 81637 h 1139396"/>
                <a:gd name="connsiteX860" fmla="*/ 183169 w 235112"/>
                <a:gd name="connsiteY860" fmla="*/ 82070 h 1139396"/>
                <a:gd name="connsiteX861" fmla="*/ 183091 w 235112"/>
                <a:gd name="connsiteY861" fmla="*/ 82396 h 1139396"/>
                <a:gd name="connsiteX862" fmla="*/ 181169 w 235112"/>
                <a:gd name="connsiteY862" fmla="*/ 84496 h 1139396"/>
                <a:gd name="connsiteX863" fmla="*/ 180971 w 235112"/>
                <a:gd name="connsiteY863" fmla="*/ 85793 h 1139396"/>
                <a:gd name="connsiteX864" fmla="*/ 181024 w 235112"/>
                <a:gd name="connsiteY864" fmla="*/ 87928 h 1139396"/>
                <a:gd name="connsiteX865" fmla="*/ 181294 w 235112"/>
                <a:gd name="connsiteY865" fmla="*/ 89308 h 1139396"/>
                <a:gd name="connsiteX866" fmla="*/ 181913 w 235112"/>
                <a:gd name="connsiteY866" fmla="*/ 89883 h 1139396"/>
                <a:gd name="connsiteX867" fmla="*/ 184408 w 235112"/>
                <a:gd name="connsiteY867" fmla="*/ 90534 h 1139396"/>
                <a:gd name="connsiteX868" fmla="*/ 187491 w 235112"/>
                <a:gd name="connsiteY868" fmla="*/ 95340 h 1139396"/>
                <a:gd name="connsiteX869" fmla="*/ 190454 w 235112"/>
                <a:gd name="connsiteY869" fmla="*/ 99864 h 1139396"/>
                <a:gd name="connsiteX870" fmla="*/ 190416 w 235112"/>
                <a:gd name="connsiteY870" fmla="*/ 103763 h 1139396"/>
                <a:gd name="connsiteX871" fmla="*/ 190723 w 235112"/>
                <a:gd name="connsiteY871" fmla="*/ 108310 h 1139396"/>
                <a:gd name="connsiteX872" fmla="*/ 192605 w 235112"/>
                <a:gd name="connsiteY872" fmla="*/ 111882 h 1139396"/>
                <a:gd name="connsiteX873" fmla="*/ 192868 w 235112"/>
                <a:gd name="connsiteY873" fmla="*/ 114743 h 1139396"/>
                <a:gd name="connsiteX874" fmla="*/ 193503 w 235112"/>
                <a:gd name="connsiteY874" fmla="*/ 117991 h 1139396"/>
                <a:gd name="connsiteX875" fmla="*/ 195744 w 235112"/>
                <a:gd name="connsiteY875" fmla="*/ 119968 h 1139396"/>
                <a:gd name="connsiteX876" fmla="*/ 196619 w 235112"/>
                <a:gd name="connsiteY876" fmla="*/ 123877 h 1139396"/>
                <a:gd name="connsiteX877" fmla="*/ 196846 w 235112"/>
                <a:gd name="connsiteY877" fmla="*/ 125961 h 1139396"/>
                <a:gd name="connsiteX878" fmla="*/ 196707 w 235112"/>
                <a:gd name="connsiteY878" fmla="*/ 127331 h 1139396"/>
                <a:gd name="connsiteX879" fmla="*/ 198448 w 235112"/>
                <a:gd name="connsiteY879" fmla="*/ 131587 h 1139396"/>
                <a:gd name="connsiteX880" fmla="*/ 198652 w 235112"/>
                <a:gd name="connsiteY880" fmla="*/ 135246 h 1139396"/>
                <a:gd name="connsiteX881" fmla="*/ 198239 w 235112"/>
                <a:gd name="connsiteY881" fmla="*/ 137878 h 1139396"/>
                <a:gd name="connsiteX882" fmla="*/ 198260 w 235112"/>
                <a:gd name="connsiteY882" fmla="*/ 139346 h 1139396"/>
                <a:gd name="connsiteX883" fmla="*/ 198506 w 235112"/>
                <a:gd name="connsiteY883" fmla="*/ 140381 h 1139396"/>
                <a:gd name="connsiteX884" fmla="*/ 200001 w 235112"/>
                <a:gd name="connsiteY884" fmla="*/ 141309 h 1139396"/>
                <a:gd name="connsiteX885" fmla="*/ 200662 w 235112"/>
                <a:gd name="connsiteY885" fmla="*/ 141890 h 1139396"/>
                <a:gd name="connsiteX886" fmla="*/ 202871 w 235112"/>
                <a:gd name="connsiteY886" fmla="*/ 142149 h 1139396"/>
                <a:gd name="connsiteX887" fmla="*/ 206101 w 235112"/>
                <a:gd name="connsiteY887" fmla="*/ 142217 h 1139396"/>
                <a:gd name="connsiteX888" fmla="*/ 211620 w 235112"/>
                <a:gd name="connsiteY888" fmla="*/ 141241 h 1139396"/>
                <a:gd name="connsiteX889" fmla="*/ 215865 w 235112"/>
                <a:gd name="connsiteY889" fmla="*/ 140347 h 1139396"/>
                <a:gd name="connsiteX890" fmla="*/ 220583 w 235112"/>
                <a:gd name="connsiteY890" fmla="*/ 145147 h 1139396"/>
                <a:gd name="connsiteX891" fmla="*/ 218530 w 235112"/>
                <a:gd name="connsiteY891" fmla="*/ 151664 h 1139396"/>
                <a:gd name="connsiteX892" fmla="*/ 215250 w 235112"/>
                <a:gd name="connsiteY892" fmla="*/ 162077 h 1139396"/>
                <a:gd name="connsiteX893" fmla="*/ 212714 w 235112"/>
                <a:gd name="connsiteY893" fmla="*/ 170142 h 1139396"/>
                <a:gd name="connsiteX894" fmla="*/ 212297 w 235112"/>
                <a:gd name="connsiteY894" fmla="*/ 171219 h 1139396"/>
                <a:gd name="connsiteX895" fmla="*/ 211774 w 235112"/>
                <a:gd name="connsiteY895" fmla="*/ 172803 h 1139396"/>
                <a:gd name="connsiteX896" fmla="*/ 206308 w 235112"/>
                <a:gd name="connsiteY896" fmla="*/ 175090 h 1139396"/>
                <a:gd name="connsiteX897" fmla="*/ 198334 w 235112"/>
                <a:gd name="connsiteY897" fmla="*/ 178434 h 1139396"/>
                <a:gd name="connsiteX898" fmla="*/ 194249 w 235112"/>
                <a:gd name="connsiteY898" fmla="*/ 180180 h 1139396"/>
                <a:gd name="connsiteX899" fmla="*/ 189103 w 235112"/>
                <a:gd name="connsiteY899" fmla="*/ 182431 h 1139396"/>
                <a:gd name="connsiteX900" fmla="*/ 187856 w 235112"/>
                <a:gd name="connsiteY900" fmla="*/ 184269 h 1139396"/>
                <a:gd name="connsiteX901" fmla="*/ 186370 w 235112"/>
                <a:gd name="connsiteY901" fmla="*/ 185264 h 1139396"/>
                <a:gd name="connsiteX902" fmla="*/ 184736 w 235112"/>
                <a:gd name="connsiteY902" fmla="*/ 186551 h 1139396"/>
                <a:gd name="connsiteX903" fmla="*/ 184113 w 235112"/>
                <a:gd name="connsiteY903" fmla="*/ 187948 h 1139396"/>
                <a:gd name="connsiteX904" fmla="*/ 182588 w 235112"/>
                <a:gd name="connsiteY904" fmla="*/ 188832 h 1139396"/>
                <a:gd name="connsiteX905" fmla="*/ 181199 w 235112"/>
                <a:gd name="connsiteY905" fmla="*/ 191999 h 1139396"/>
                <a:gd name="connsiteX906" fmla="*/ 181199 w 235112"/>
                <a:gd name="connsiteY906" fmla="*/ 194434 h 1139396"/>
                <a:gd name="connsiteX907" fmla="*/ 182085 w 235112"/>
                <a:gd name="connsiteY907" fmla="*/ 196093 h 1139396"/>
                <a:gd name="connsiteX908" fmla="*/ 183625 w 235112"/>
                <a:gd name="connsiteY908" fmla="*/ 196794 h 1139396"/>
                <a:gd name="connsiteX909" fmla="*/ 184113 w 235112"/>
                <a:gd name="connsiteY909" fmla="*/ 198783 h 1139396"/>
                <a:gd name="connsiteX910" fmla="*/ 184597 w 235112"/>
                <a:gd name="connsiteY910" fmla="*/ 200187 h 1139396"/>
                <a:gd name="connsiteX911" fmla="*/ 185707 w 235112"/>
                <a:gd name="connsiteY911" fmla="*/ 201292 h 1139396"/>
                <a:gd name="connsiteX912" fmla="*/ 185428 w 235112"/>
                <a:gd name="connsiteY912" fmla="*/ 202178 h 1139396"/>
                <a:gd name="connsiteX913" fmla="*/ 184529 w 235112"/>
                <a:gd name="connsiteY913" fmla="*/ 202843 h 1139396"/>
                <a:gd name="connsiteX914" fmla="*/ 182864 w 235112"/>
                <a:gd name="connsiteY914" fmla="*/ 203212 h 1139396"/>
                <a:gd name="connsiteX915" fmla="*/ 181737 w 235112"/>
                <a:gd name="connsiteY915" fmla="*/ 205204 h 1139396"/>
                <a:gd name="connsiteX916" fmla="*/ 180436 w 235112"/>
                <a:gd name="connsiteY916" fmla="*/ 210158 h 1139396"/>
                <a:gd name="connsiteX917" fmla="*/ 180229 w 235112"/>
                <a:gd name="connsiteY917" fmla="*/ 211933 h 1139396"/>
                <a:gd name="connsiteX918" fmla="*/ 181709 w 235112"/>
                <a:gd name="connsiteY918" fmla="*/ 216422 h 1139396"/>
                <a:gd name="connsiteX919" fmla="*/ 182497 w 235112"/>
                <a:gd name="connsiteY919" fmla="*/ 218845 h 1139396"/>
                <a:gd name="connsiteX920" fmla="*/ 184629 w 235112"/>
                <a:gd name="connsiteY920" fmla="*/ 227641 h 1139396"/>
                <a:gd name="connsiteX921" fmla="*/ 184940 w 235112"/>
                <a:gd name="connsiteY921" fmla="*/ 230036 h 1139396"/>
                <a:gd name="connsiteX922" fmla="*/ 182015 w 235112"/>
                <a:gd name="connsiteY922" fmla="*/ 233383 h 1139396"/>
                <a:gd name="connsiteX923" fmla="*/ 180850 w 235112"/>
                <a:gd name="connsiteY923" fmla="*/ 235421 h 1139396"/>
                <a:gd name="connsiteX924" fmla="*/ 180434 w 235112"/>
                <a:gd name="connsiteY924" fmla="*/ 237218 h 1139396"/>
                <a:gd name="connsiteX925" fmla="*/ 180449 w 235112"/>
                <a:gd name="connsiteY925" fmla="*/ 238641 h 1139396"/>
                <a:gd name="connsiteX926" fmla="*/ 180714 w 235112"/>
                <a:gd name="connsiteY926" fmla="*/ 239945 h 1139396"/>
                <a:gd name="connsiteX927" fmla="*/ 183150 w 235112"/>
                <a:gd name="connsiteY927" fmla="*/ 244080 h 1139396"/>
                <a:gd name="connsiteX928" fmla="*/ 185983 w 235112"/>
                <a:gd name="connsiteY928" fmla="*/ 247787 h 1139396"/>
                <a:gd name="connsiteX929" fmla="*/ 187371 w 235112"/>
                <a:gd name="connsiteY929" fmla="*/ 249724 h 1139396"/>
                <a:gd name="connsiteX930" fmla="*/ 187371 w 235112"/>
                <a:gd name="connsiteY930" fmla="*/ 252333 h 1139396"/>
                <a:gd name="connsiteX931" fmla="*/ 186677 w 235112"/>
                <a:gd name="connsiteY931" fmla="*/ 253825 h 1139396"/>
                <a:gd name="connsiteX932" fmla="*/ 185171 w 235112"/>
                <a:gd name="connsiteY932" fmla="*/ 254375 h 1139396"/>
                <a:gd name="connsiteX933" fmla="*/ 181824 w 235112"/>
                <a:gd name="connsiteY933" fmla="*/ 255391 h 1139396"/>
                <a:gd name="connsiteX934" fmla="*/ 180436 w 235112"/>
                <a:gd name="connsiteY934" fmla="*/ 256883 h 1139396"/>
                <a:gd name="connsiteX935" fmla="*/ 178912 w 235112"/>
                <a:gd name="connsiteY935" fmla="*/ 257110 h 1139396"/>
                <a:gd name="connsiteX936" fmla="*/ 177456 w 235112"/>
                <a:gd name="connsiteY936" fmla="*/ 255913 h 1139396"/>
                <a:gd name="connsiteX937" fmla="*/ 175931 w 235112"/>
                <a:gd name="connsiteY937" fmla="*/ 256211 h 1139396"/>
                <a:gd name="connsiteX938" fmla="*/ 173990 w 235112"/>
                <a:gd name="connsiteY938" fmla="*/ 257257 h 1139396"/>
                <a:gd name="connsiteX939" fmla="*/ 173260 w 235112"/>
                <a:gd name="connsiteY939" fmla="*/ 259795 h 1139396"/>
                <a:gd name="connsiteX940" fmla="*/ 171564 w 235112"/>
                <a:gd name="connsiteY940" fmla="*/ 264125 h 1139396"/>
                <a:gd name="connsiteX941" fmla="*/ 170108 w 235112"/>
                <a:gd name="connsiteY941" fmla="*/ 265323 h 1139396"/>
                <a:gd name="connsiteX942" fmla="*/ 169024 w 235112"/>
                <a:gd name="connsiteY942" fmla="*/ 268632 h 1139396"/>
                <a:gd name="connsiteX943" fmla="*/ 167089 w 235112"/>
                <a:gd name="connsiteY943" fmla="*/ 273382 h 1139396"/>
                <a:gd name="connsiteX944" fmla="*/ 166156 w 235112"/>
                <a:gd name="connsiteY944" fmla="*/ 276248 h 1139396"/>
                <a:gd name="connsiteX945" fmla="*/ 165671 w 235112"/>
                <a:gd name="connsiteY945" fmla="*/ 278346 h 1139396"/>
                <a:gd name="connsiteX946" fmla="*/ 163723 w 235112"/>
                <a:gd name="connsiteY946" fmla="*/ 279688 h 1139396"/>
                <a:gd name="connsiteX947" fmla="*/ 161454 w 235112"/>
                <a:gd name="connsiteY947" fmla="*/ 282353 h 1139396"/>
                <a:gd name="connsiteX948" fmla="*/ 159708 w 235112"/>
                <a:gd name="connsiteY948" fmla="*/ 284947 h 1139396"/>
                <a:gd name="connsiteX949" fmla="*/ 159015 w 235112"/>
                <a:gd name="connsiteY949" fmla="*/ 285698 h 1139396"/>
                <a:gd name="connsiteX950" fmla="*/ 157697 w 235112"/>
                <a:gd name="connsiteY950" fmla="*/ 285923 h 1139396"/>
                <a:gd name="connsiteX951" fmla="*/ 156727 w 235112"/>
                <a:gd name="connsiteY951" fmla="*/ 288252 h 1139396"/>
                <a:gd name="connsiteX952" fmla="*/ 153436 w 235112"/>
                <a:gd name="connsiteY952" fmla="*/ 291766 h 1139396"/>
                <a:gd name="connsiteX953" fmla="*/ 152651 w 235112"/>
                <a:gd name="connsiteY953" fmla="*/ 295849 h 1139396"/>
                <a:gd name="connsiteX954" fmla="*/ 151459 w 235112"/>
                <a:gd name="connsiteY954" fmla="*/ 298026 h 1139396"/>
                <a:gd name="connsiteX955" fmla="*/ 151250 w 235112"/>
                <a:gd name="connsiteY955" fmla="*/ 301958 h 1139396"/>
                <a:gd name="connsiteX956" fmla="*/ 149433 w 235112"/>
                <a:gd name="connsiteY956" fmla="*/ 309172 h 1139396"/>
                <a:gd name="connsiteX957" fmla="*/ 149101 w 235112"/>
                <a:gd name="connsiteY957" fmla="*/ 310765 h 1139396"/>
                <a:gd name="connsiteX958" fmla="*/ 147264 w 235112"/>
                <a:gd name="connsiteY958" fmla="*/ 312024 h 1139396"/>
                <a:gd name="connsiteX959" fmla="*/ 144848 w 235112"/>
                <a:gd name="connsiteY959" fmla="*/ 314818 h 1139396"/>
                <a:gd name="connsiteX960" fmla="*/ 144057 w 235112"/>
                <a:gd name="connsiteY960" fmla="*/ 316863 h 1139396"/>
                <a:gd name="connsiteX961" fmla="*/ 145178 w 235112"/>
                <a:gd name="connsiteY961" fmla="*/ 322987 h 1139396"/>
                <a:gd name="connsiteX962" fmla="*/ 146573 w 235112"/>
                <a:gd name="connsiteY962" fmla="*/ 329184 h 1139396"/>
                <a:gd name="connsiteX963" fmla="*/ 146661 w 235112"/>
                <a:gd name="connsiteY963" fmla="*/ 332092 h 1139396"/>
                <a:gd name="connsiteX964" fmla="*/ 146120 w 235112"/>
                <a:gd name="connsiteY964" fmla="*/ 336042 h 1139396"/>
                <a:gd name="connsiteX965" fmla="*/ 145753 w 235112"/>
                <a:gd name="connsiteY965" fmla="*/ 337762 h 1139396"/>
                <a:gd name="connsiteX966" fmla="*/ 146676 w 235112"/>
                <a:gd name="connsiteY966" fmla="*/ 338472 h 1139396"/>
                <a:gd name="connsiteX967" fmla="*/ 148201 w 235112"/>
                <a:gd name="connsiteY967" fmla="*/ 338928 h 1139396"/>
                <a:gd name="connsiteX968" fmla="*/ 148685 w 235112"/>
                <a:gd name="connsiteY968" fmla="*/ 340447 h 1139396"/>
                <a:gd name="connsiteX969" fmla="*/ 147576 w 235112"/>
                <a:gd name="connsiteY969" fmla="*/ 341511 h 1139396"/>
                <a:gd name="connsiteX970" fmla="*/ 147092 w 235112"/>
                <a:gd name="connsiteY970" fmla="*/ 343411 h 1139396"/>
                <a:gd name="connsiteX971" fmla="*/ 145843 w 235112"/>
                <a:gd name="connsiteY971" fmla="*/ 345540 h 1139396"/>
                <a:gd name="connsiteX972" fmla="*/ 142151 w 235112"/>
                <a:gd name="connsiteY972" fmla="*/ 346378 h 1139396"/>
                <a:gd name="connsiteX973" fmla="*/ 140852 w 235112"/>
                <a:gd name="connsiteY973" fmla="*/ 345617 h 1139396"/>
                <a:gd name="connsiteX974" fmla="*/ 140435 w 235112"/>
                <a:gd name="connsiteY974" fmla="*/ 346302 h 1139396"/>
                <a:gd name="connsiteX975" fmla="*/ 140644 w 235112"/>
                <a:gd name="connsiteY975" fmla="*/ 347824 h 1139396"/>
                <a:gd name="connsiteX976" fmla="*/ 139820 w 235112"/>
                <a:gd name="connsiteY976" fmla="*/ 349617 h 1139396"/>
                <a:gd name="connsiteX977" fmla="*/ 137906 w 235112"/>
                <a:gd name="connsiteY977" fmla="*/ 354425 h 1139396"/>
                <a:gd name="connsiteX978" fmla="*/ 136642 w 235112"/>
                <a:gd name="connsiteY978" fmla="*/ 358797 h 1139396"/>
                <a:gd name="connsiteX979" fmla="*/ 135909 w 235112"/>
                <a:gd name="connsiteY979" fmla="*/ 360704 h 1139396"/>
                <a:gd name="connsiteX980" fmla="*/ 136206 w 235112"/>
                <a:gd name="connsiteY980" fmla="*/ 362307 h 1139396"/>
                <a:gd name="connsiteX981" fmla="*/ 136830 w 235112"/>
                <a:gd name="connsiteY981" fmla="*/ 363224 h 1139396"/>
                <a:gd name="connsiteX982" fmla="*/ 136900 w 235112"/>
                <a:gd name="connsiteY982" fmla="*/ 364063 h 1139396"/>
                <a:gd name="connsiteX983" fmla="*/ 135847 w 235112"/>
                <a:gd name="connsiteY983" fmla="*/ 365120 h 1139396"/>
                <a:gd name="connsiteX984" fmla="*/ 134889 w 235112"/>
                <a:gd name="connsiteY984" fmla="*/ 366814 h 1139396"/>
                <a:gd name="connsiteX985" fmla="*/ 133849 w 235112"/>
                <a:gd name="connsiteY985" fmla="*/ 367044 h 1139396"/>
                <a:gd name="connsiteX986" fmla="*/ 132741 w 235112"/>
                <a:gd name="connsiteY986" fmla="*/ 366583 h 1139396"/>
                <a:gd name="connsiteX987" fmla="*/ 131562 w 235112"/>
                <a:gd name="connsiteY987" fmla="*/ 367579 h 1139396"/>
                <a:gd name="connsiteX988" fmla="*/ 131322 w 235112"/>
                <a:gd name="connsiteY988" fmla="*/ 369659 h 1139396"/>
                <a:gd name="connsiteX989" fmla="*/ 130672 w 235112"/>
                <a:gd name="connsiteY989" fmla="*/ 372305 h 1139396"/>
                <a:gd name="connsiteX990" fmla="*/ 130375 w 235112"/>
                <a:gd name="connsiteY990" fmla="*/ 375401 h 1139396"/>
                <a:gd name="connsiteX991" fmla="*/ 129898 w 235112"/>
                <a:gd name="connsiteY991" fmla="*/ 379366 h 1139396"/>
                <a:gd name="connsiteX992" fmla="*/ 131408 w 235112"/>
                <a:gd name="connsiteY992" fmla="*/ 382085 h 1139396"/>
                <a:gd name="connsiteX993" fmla="*/ 133324 w 235112"/>
                <a:gd name="connsiteY993" fmla="*/ 387012 h 1139396"/>
                <a:gd name="connsiteX994" fmla="*/ 134751 w 235112"/>
                <a:gd name="connsiteY994" fmla="*/ 388188 h 1139396"/>
                <a:gd name="connsiteX995" fmla="*/ 136345 w 235112"/>
                <a:gd name="connsiteY995" fmla="*/ 388111 h 1139396"/>
                <a:gd name="connsiteX996" fmla="*/ 137593 w 235112"/>
                <a:gd name="connsiteY996" fmla="*/ 389110 h 1139396"/>
                <a:gd name="connsiteX997" fmla="*/ 138287 w 235112"/>
                <a:gd name="connsiteY997" fmla="*/ 390266 h 1139396"/>
                <a:gd name="connsiteX998" fmla="*/ 137360 w 235112"/>
                <a:gd name="connsiteY998" fmla="*/ 392328 h 1139396"/>
                <a:gd name="connsiteX999" fmla="*/ 135721 w 235112"/>
                <a:gd name="connsiteY999" fmla="*/ 392647 h 1139396"/>
                <a:gd name="connsiteX1000" fmla="*/ 135514 w 235112"/>
                <a:gd name="connsiteY1000" fmla="*/ 393804 h 1139396"/>
                <a:gd name="connsiteX1001" fmla="*/ 135999 w 235112"/>
                <a:gd name="connsiteY1001" fmla="*/ 396419 h 1139396"/>
                <a:gd name="connsiteX1002" fmla="*/ 136623 w 235112"/>
                <a:gd name="connsiteY1002" fmla="*/ 398960 h 1139396"/>
                <a:gd name="connsiteX1003" fmla="*/ 138199 w 235112"/>
                <a:gd name="connsiteY1003" fmla="*/ 400178 h 1139396"/>
                <a:gd name="connsiteX1004" fmla="*/ 138910 w 235112"/>
                <a:gd name="connsiteY1004" fmla="*/ 403580 h 1139396"/>
                <a:gd name="connsiteX1005" fmla="*/ 140435 w 235112"/>
                <a:gd name="connsiteY1005" fmla="*/ 404738 h 1139396"/>
                <a:gd name="connsiteX1006" fmla="*/ 140250 w 235112"/>
                <a:gd name="connsiteY1006" fmla="*/ 409095 h 1139396"/>
                <a:gd name="connsiteX1007" fmla="*/ 141792 w 235112"/>
                <a:gd name="connsiteY1007" fmla="*/ 414219 h 1139396"/>
                <a:gd name="connsiteX1008" fmla="*/ 143417 w 235112"/>
                <a:gd name="connsiteY1008" fmla="*/ 415704 h 1139396"/>
                <a:gd name="connsiteX1009" fmla="*/ 144180 w 235112"/>
                <a:gd name="connsiteY1009" fmla="*/ 416400 h 1139396"/>
                <a:gd name="connsiteX1010" fmla="*/ 143668 w 235112"/>
                <a:gd name="connsiteY1010" fmla="*/ 418638 h 1139396"/>
                <a:gd name="connsiteX1011" fmla="*/ 142377 w 235112"/>
                <a:gd name="connsiteY1011" fmla="*/ 420423 h 1139396"/>
                <a:gd name="connsiteX1012" fmla="*/ 142101 w 235112"/>
                <a:gd name="connsiteY1012" fmla="*/ 423290 h 1139396"/>
                <a:gd name="connsiteX1013" fmla="*/ 142586 w 235112"/>
                <a:gd name="connsiteY1013" fmla="*/ 425382 h 1139396"/>
                <a:gd name="connsiteX1014" fmla="*/ 144235 w 235112"/>
                <a:gd name="connsiteY1014" fmla="*/ 427359 h 1139396"/>
                <a:gd name="connsiteX1015" fmla="*/ 145522 w 235112"/>
                <a:gd name="connsiteY1015" fmla="*/ 427584 h 1139396"/>
                <a:gd name="connsiteX1016" fmla="*/ 147370 w 235112"/>
                <a:gd name="connsiteY1016" fmla="*/ 426777 h 1139396"/>
                <a:gd name="connsiteX1017" fmla="*/ 149311 w 235112"/>
                <a:gd name="connsiteY1017" fmla="*/ 427709 h 1139396"/>
                <a:gd name="connsiteX1018" fmla="*/ 149587 w 235112"/>
                <a:gd name="connsiteY1018" fmla="*/ 429415 h 1139396"/>
                <a:gd name="connsiteX1019" fmla="*/ 149865 w 235112"/>
                <a:gd name="connsiteY1019" fmla="*/ 430966 h 1139396"/>
                <a:gd name="connsiteX1020" fmla="*/ 148826 w 235112"/>
                <a:gd name="connsiteY1020" fmla="*/ 432986 h 1139396"/>
                <a:gd name="connsiteX1021" fmla="*/ 147715 w 235112"/>
                <a:gd name="connsiteY1021" fmla="*/ 436715 h 1139396"/>
                <a:gd name="connsiteX1022" fmla="*/ 147417 w 235112"/>
                <a:gd name="connsiteY1022" fmla="*/ 440422 h 1139396"/>
                <a:gd name="connsiteX1023" fmla="*/ 147742 w 235112"/>
                <a:gd name="connsiteY1023" fmla="*/ 446073 h 1139396"/>
                <a:gd name="connsiteX1024" fmla="*/ 148248 w 235112"/>
                <a:gd name="connsiteY1024" fmla="*/ 450458 h 1139396"/>
                <a:gd name="connsiteX1025" fmla="*/ 148354 w 235112"/>
                <a:gd name="connsiteY1025" fmla="*/ 453223 h 1139396"/>
                <a:gd name="connsiteX1026" fmla="*/ 148479 w 235112"/>
                <a:gd name="connsiteY1026" fmla="*/ 454474 h 1139396"/>
                <a:gd name="connsiteX1027" fmla="*/ 147786 w 235112"/>
                <a:gd name="connsiteY1027" fmla="*/ 455334 h 1139396"/>
                <a:gd name="connsiteX1028" fmla="*/ 146098 w 235112"/>
                <a:gd name="connsiteY1028" fmla="*/ 455777 h 1139396"/>
                <a:gd name="connsiteX1029" fmla="*/ 144666 w 235112"/>
                <a:gd name="connsiteY1029" fmla="*/ 455958 h 1139396"/>
                <a:gd name="connsiteX1030" fmla="*/ 143417 w 235112"/>
                <a:gd name="connsiteY1030" fmla="*/ 456659 h 1139396"/>
                <a:gd name="connsiteX1031" fmla="*/ 143139 w 235112"/>
                <a:gd name="connsiteY1031" fmla="*/ 458066 h 1139396"/>
                <a:gd name="connsiteX1032" fmla="*/ 142165 w 235112"/>
                <a:gd name="connsiteY1032" fmla="*/ 460411 h 1139396"/>
                <a:gd name="connsiteX1033" fmla="*/ 141156 w 235112"/>
                <a:gd name="connsiteY1033" fmla="*/ 462151 h 1139396"/>
                <a:gd name="connsiteX1034" fmla="*/ 139394 w 235112"/>
                <a:gd name="connsiteY1034" fmla="*/ 464680 h 1139396"/>
                <a:gd name="connsiteX1035" fmla="*/ 138280 w 235112"/>
                <a:gd name="connsiteY1035" fmla="*/ 467298 h 1139396"/>
                <a:gd name="connsiteX1036" fmla="*/ 137385 w 235112"/>
                <a:gd name="connsiteY1036" fmla="*/ 469021 h 1139396"/>
                <a:gd name="connsiteX1037" fmla="*/ 137465 w 235112"/>
                <a:gd name="connsiteY1037" fmla="*/ 470217 h 1139396"/>
                <a:gd name="connsiteX1038" fmla="*/ 136823 w 235112"/>
                <a:gd name="connsiteY1038" fmla="*/ 472525 h 1139396"/>
                <a:gd name="connsiteX1039" fmla="*/ 136163 w 235112"/>
                <a:gd name="connsiteY1039" fmla="*/ 474442 h 1139396"/>
                <a:gd name="connsiteX1040" fmla="*/ 134768 w 235112"/>
                <a:gd name="connsiteY1040" fmla="*/ 480907 h 1139396"/>
                <a:gd name="connsiteX1041" fmla="*/ 132906 w 235112"/>
                <a:gd name="connsiteY1041" fmla="*/ 482252 h 1139396"/>
                <a:gd name="connsiteX1042" fmla="*/ 131422 w 235112"/>
                <a:gd name="connsiteY1042" fmla="*/ 482918 h 1139396"/>
                <a:gd name="connsiteX1043" fmla="*/ 130660 w 235112"/>
                <a:gd name="connsiteY1043" fmla="*/ 483783 h 1139396"/>
                <a:gd name="connsiteX1044" fmla="*/ 131239 w 235112"/>
                <a:gd name="connsiteY1044" fmla="*/ 485540 h 1139396"/>
                <a:gd name="connsiteX1045" fmla="*/ 132809 w 235112"/>
                <a:gd name="connsiteY1045" fmla="*/ 486065 h 1139396"/>
                <a:gd name="connsiteX1046" fmla="*/ 133364 w 235112"/>
                <a:gd name="connsiteY1046" fmla="*/ 487482 h 1139396"/>
                <a:gd name="connsiteX1047" fmla="*/ 133156 w 235112"/>
                <a:gd name="connsiteY1047" fmla="*/ 489689 h 1139396"/>
                <a:gd name="connsiteX1048" fmla="*/ 134196 w 235112"/>
                <a:gd name="connsiteY1048" fmla="*/ 491738 h 1139396"/>
                <a:gd name="connsiteX1049" fmla="*/ 134094 w 235112"/>
                <a:gd name="connsiteY1049" fmla="*/ 494222 h 1139396"/>
                <a:gd name="connsiteX1050" fmla="*/ 135097 w 235112"/>
                <a:gd name="connsiteY1050" fmla="*/ 498918 h 1139396"/>
                <a:gd name="connsiteX1051" fmla="*/ 134196 w 235112"/>
                <a:gd name="connsiteY1051" fmla="*/ 502000 h 1139396"/>
                <a:gd name="connsiteX1052" fmla="*/ 134501 w 235112"/>
                <a:gd name="connsiteY1052" fmla="*/ 504660 h 1139396"/>
                <a:gd name="connsiteX1053" fmla="*/ 134474 w 235112"/>
                <a:gd name="connsiteY1053" fmla="*/ 507300 h 1139396"/>
                <a:gd name="connsiteX1054" fmla="*/ 133156 w 235112"/>
                <a:gd name="connsiteY1054" fmla="*/ 509355 h 1139396"/>
                <a:gd name="connsiteX1055" fmla="*/ 130452 w 235112"/>
                <a:gd name="connsiteY1055" fmla="*/ 509752 h 1139396"/>
                <a:gd name="connsiteX1056" fmla="*/ 128968 w 235112"/>
                <a:gd name="connsiteY1056" fmla="*/ 511651 h 1139396"/>
                <a:gd name="connsiteX1057" fmla="*/ 126432 w 235112"/>
                <a:gd name="connsiteY1057" fmla="*/ 513717 h 1139396"/>
                <a:gd name="connsiteX1058" fmla="*/ 126154 w 235112"/>
                <a:gd name="connsiteY1058" fmla="*/ 515382 h 1139396"/>
                <a:gd name="connsiteX1059" fmla="*/ 125738 w 235112"/>
                <a:gd name="connsiteY1059" fmla="*/ 516890 h 1139396"/>
                <a:gd name="connsiteX1060" fmla="*/ 124699 w 235112"/>
                <a:gd name="connsiteY1060" fmla="*/ 517445 h 1139396"/>
                <a:gd name="connsiteX1061" fmla="*/ 123104 w 235112"/>
                <a:gd name="connsiteY1061" fmla="*/ 517445 h 1139396"/>
                <a:gd name="connsiteX1062" fmla="*/ 121786 w 235112"/>
                <a:gd name="connsiteY1062" fmla="*/ 517684 h 1139396"/>
                <a:gd name="connsiteX1063" fmla="*/ 119940 w 235112"/>
                <a:gd name="connsiteY1063" fmla="*/ 519640 h 1139396"/>
                <a:gd name="connsiteX1064" fmla="*/ 117974 w 235112"/>
                <a:gd name="connsiteY1064" fmla="*/ 520698 h 1139396"/>
                <a:gd name="connsiteX1065" fmla="*/ 117524 w 235112"/>
                <a:gd name="connsiteY1065" fmla="*/ 522276 h 1139396"/>
                <a:gd name="connsiteX1066" fmla="*/ 117697 w 235112"/>
                <a:gd name="connsiteY1066" fmla="*/ 524196 h 1139396"/>
                <a:gd name="connsiteX1067" fmla="*/ 116657 w 235112"/>
                <a:gd name="connsiteY1067" fmla="*/ 525388 h 1139396"/>
                <a:gd name="connsiteX1068" fmla="*/ 115340 w 235112"/>
                <a:gd name="connsiteY1068" fmla="*/ 527616 h 1139396"/>
                <a:gd name="connsiteX1069" fmla="*/ 114508 w 235112"/>
                <a:gd name="connsiteY1069" fmla="*/ 530005 h 1139396"/>
                <a:gd name="connsiteX1070" fmla="*/ 115340 w 235112"/>
                <a:gd name="connsiteY1070" fmla="*/ 532235 h 1139396"/>
                <a:gd name="connsiteX1071" fmla="*/ 116241 w 235112"/>
                <a:gd name="connsiteY1071" fmla="*/ 536223 h 1139396"/>
                <a:gd name="connsiteX1072" fmla="*/ 116378 w 235112"/>
                <a:gd name="connsiteY1072" fmla="*/ 537898 h 1139396"/>
                <a:gd name="connsiteX1073" fmla="*/ 115235 w 235112"/>
                <a:gd name="connsiteY1073" fmla="*/ 541199 h 1139396"/>
                <a:gd name="connsiteX1074" fmla="*/ 114299 w 235112"/>
                <a:gd name="connsiteY1074" fmla="*/ 543329 h 1139396"/>
                <a:gd name="connsiteX1075" fmla="*/ 115200 w 235112"/>
                <a:gd name="connsiteY1075" fmla="*/ 546048 h 1139396"/>
                <a:gd name="connsiteX1076" fmla="*/ 115962 w 235112"/>
                <a:gd name="connsiteY1076" fmla="*/ 547565 h 1139396"/>
                <a:gd name="connsiteX1077" fmla="*/ 115251 w 235112"/>
                <a:gd name="connsiteY1077" fmla="*/ 550905 h 1139396"/>
                <a:gd name="connsiteX1078" fmla="*/ 114646 w 235112"/>
                <a:gd name="connsiteY1078" fmla="*/ 553011 h 1139396"/>
                <a:gd name="connsiteX1079" fmla="*/ 115132 w 235112"/>
                <a:gd name="connsiteY1079" fmla="*/ 556860 h 1139396"/>
                <a:gd name="connsiteX1080" fmla="*/ 116941 w 235112"/>
                <a:gd name="connsiteY1080" fmla="*/ 561195 h 1139396"/>
                <a:gd name="connsiteX1081" fmla="*/ 118666 w 235112"/>
                <a:gd name="connsiteY1081" fmla="*/ 565052 h 1139396"/>
                <a:gd name="connsiteX1082" fmla="*/ 118920 w 235112"/>
                <a:gd name="connsiteY1082" fmla="*/ 569547 h 1139396"/>
                <a:gd name="connsiteX1083" fmla="*/ 119368 w 235112"/>
                <a:gd name="connsiteY1083" fmla="*/ 573109 h 1139396"/>
                <a:gd name="connsiteX1084" fmla="*/ 120192 w 235112"/>
                <a:gd name="connsiteY1084" fmla="*/ 576974 h 1139396"/>
                <a:gd name="connsiteX1085" fmla="*/ 121925 w 235112"/>
                <a:gd name="connsiteY1085" fmla="*/ 578507 h 1139396"/>
                <a:gd name="connsiteX1086" fmla="*/ 123244 w 235112"/>
                <a:gd name="connsiteY1086" fmla="*/ 579798 h 1139396"/>
                <a:gd name="connsiteX1087" fmla="*/ 122965 w 235112"/>
                <a:gd name="connsiteY1087" fmla="*/ 581657 h 1139396"/>
                <a:gd name="connsiteX1088" fmla="*/ 121994 w 235112"/>
                <a:gd name="connsiteY1088" fmla="*/ 583919 h 1139396"/>
                <a:gd name="connsiteX1089" fmla="*/ 120608 w 235112"/>
                <a:gd name="connsiteY1089" fmla="*/ 585617 h 1139396"/>
                <a:gd name="connsiteX1090" fmla="*/ 117172 w 235112"/>
                <a:gd name="connsiteY1090" fmla="*/ 586181 h 1139396"/>
                <a:gd name="connsiteX1091" fmla="*/ 114379 w 235112"/>
                <a:gd name="connsiteY1091" fmla="*/ 587715 h 1139396"/>
                <a:gd name="connsiteX1092" fmla="*/ 112136 w 235112"/>
                <a:gd name="connsiteY1092" fmla="*/ 588781 h 1139396"/>
                <a:gd name="connsiteX1093" fmla="*/ 110426 w 235112"/>
                <a:gd name="connsiteY1093" fmla="*/ 590068 h 1139396"/>
                <a:gd name="connsiteX1094" fmla="*/ 109199 w 235112"/>
                <a:gd name="connsiteY1094" fmla="*/ 591436 h 1139396"/>
                <a:gd name="connsiteX1095" fmla="*/ 108590 w 235112"/>
                <a:gd name="connsiteY1095" fmla="*/ 592936 h 1139396"/>
                <a:gd name="connsiteX1096" fmla="*/ 109000 w 235112"/>
                <a:gd name="connsiteY1096" fmla="*/ 599472 h 1139396"/>
                <a:gd name="connsiteX1097" fmla="*/ 108731 w 235112"/>
                <a:gd name="connsiteY1097" fmla="*/ 601886 h 1139396"/>
                <a:gd name="connsiteX1098" fmla="*/ 107581 w 235112"/>
                <a:gd name="connsiteY1098" fmla="*/ 605309 h 1139396"/>
                <a:gd name="connsiteX1099" fmla="*/ 106505 w 235112"/>
                <a:gd name="connsiteY1099" fmla="*/ 608073 h 1139396"/>
                <a:gd name="connsiteX1100" fmla="*/ 106049 w 235112"/>
                <a:gd name="connsiteY1100" fmla="*/ 608904 h 1139396"/>
                <a:gd name="connsiteX1101" fmla="*/ 105910 w 235112"/>
                <a:gd name="connsiteY1101" fmla="*/ 610125 h 1139396"/>
                <a:gd name="connsiteX1102" fmla="*/ 105703 w 235112"/>
                <a:gd name="connsiteY1102" fmla="*/ 611265 h 1139396"/>
                <a:gd name="connsiteX1103" fmla="*/ 104496 w 235112"/>
                <a:gd name="connsiteY1103" fmla="*/ 611524 h 1139396"/>
                <a:gd name="connsiteX1104" fmla="*/ 102790 w 235112"/>
                <a:gd name="connsiteY1104" fmla="*/ 611021 h 1139396"/>
                <a:gd name="connsiteX1105" fmla="*/ 101820 w 235112"/>
                <a:gd name="connsiteY1105" fmla="*/ 611348 h 1139396"/>
                <a:gd name="connsiteX1106" fmla="*/ 101126 w 235112"/>
                <a:gd name="connsiteY1106" fmla="*/ 612243 h 1139396"/>
                <a:gd name="connsiteX1107" fmla="*/ 101712 w 235112"/>
                <a:gd name="connsiteY1107" fmla="*/ 614384 h 1139396"/>
                <a:gd name="connsiteX1108" fmla="*/ 102339 w 235112"/>
                <a:gd name="connsiteY1108" fmla="*/ 618151 h 1139396"/>
                <a:gd name="connsiteX1109" fmla="*/ 103206 w 235112"/>
                <a:gd name="connsiteY1109" fmla="*/ 619750 h 1139396"/>
                <a:gd name="connsiteX1110" fmla="*/ 102972 w 235112"/>
                <a:gd name="connsiteY1110" fmla="*/ 621016 h 1139396"/>
                <a:gd name="connsiteX1111" fmla="*/ 102651 w 235112"/>
                <a:gd name="connsiteY1111" fmla="*/ 623754 h 1139396"/>
                <a:gd name="connsiteX1112" fmla="*/ 101520 w 235112"/>
                <a:gd name="connsiteY1112" fmla="*/ 625972 h 1139396"/>
                <a:gd name="connsiteX1113" fmla="*/ 100017 w 235112"/>
                <a:gd name="connsiteY1113" fmla="*/ 625962 h 1139396"/>
                <a:gd name="connsiteX1114" fmla="*/ 99046 w 235112"/>
                <a:gd name="connsiteY1114" fmla="*/ 626863 h 1139396"/>
                <a:gd name="connsiteX1115" fmla="*/ 98632 w 235112"/>
                <a:gd name="connsiteY1115" fmla="*/ 628418 h 1139396"/>
                <a:gd name="connsiteX1116" fmla="*/ 99081 w 235112"/>
                <a:gd name="connsiteY1116" fmla="*/ 630445 h 1139396"/>
                <a:gd name="connsiteX1117" fmla="*/ 101057 w 235112"/>
                <a:gd name="connsiteY1117" fmla="*/ 632104 h 1139396"/>
                <a:gd name="connsiteX1118" fmla="*/ 101750 w 235112"/>
                <a:gd name="connsiteY1118" fmla="*/ 633171 h 1139396"/>
                <a:gd name="connsiteX1119" fmla="*/ 101403 w 235112"/>
                <a:gd name="connsiteY1119" fmla="*/ 634565 h 1139396"/>
                <a:gd name="connsiteX1120" fmla="*/ 99878 w 235112"/>
                <a:gd name="connsiteY1120" fmla="*/ 635140 h 1139396"/>
                <a:gd name="connsiteX1121" fmla="*/ 98978 w 235112"/>
                <a:gd name="connsiteY1121" fmla="*/ 636289 h 1139396"/>
                <a:gd name="connsiteX1122" fmla="*/ 98119 w 235112"/>
                <a:gd name="connsiteY1122" fmla="*/ 638848 h 1139396"/>
                <a:gd name="connsiteX1123" fmla="*/ 96971 w 235112"/>
                <a:gd name="connsiteY1123" fmla="*/ 641739 h 1139396"/>
                <a:gd name="connsiteX1124" fmla="*/ 95745 w 235112"/>
                <a:gd name="connsiteY1124" fmla="*/ 643877 h 1139396"/>
                <a:gd name="connsiteX1125" fmla="*/ 95511 w 235112"/>
                <a:gd name="connsiteY1125" fmla="*/ 646810 h 1139396"/>
                <a:gd name="connsiteX1126" fmla="*/ 97243 w 235112"/>
                <a:gd name="connsiteY1126" fmla="*/ 649937 h 1139396"/>
                <a:gd name="connsiteX1127" fmla="*/ 97049 w 235112"/>
                <a:gd name="connsiteY1127" fmla="*/ 653002 h 1139396"/>
                <a:gd name="connsiteX1128" fmla="*/ 96926 w 235112"/>
                <a:gd name="connsiteY1128" fmla="*/ 661996 h 1139396"/>
                <a:gd name="connsiteX1129" fmla="*/ 96758 w 235112"/>
                <a:gd name="connsiteY1129" fmla="*/ 665051 h 1139396"/>
                <a:gd name="connsiteX1130" fmla="*/ 97291 w 235112"/>
                <a:gd name="connsiteY1130" fmla="*/ 670116 h 1139396"/>
                <a:gd name="connsiteX1131" fmla="*/ 96620 w 235112"/>
                <a:gd name="connsiteY1131" fmla="*/ 671514 h 1139396"/>
                <a:gd name="connsiteX1132" fmla="*/ 96274 w 235112"/>
                <a:gd name="connsiteY1132" fmla="*/ 672841 h 1139396"/>
                <a:gd name="connsiteX1133" fmla="*/ 97968 w 235112"/>
                <a:gd name="connsiteY1133" fmla="*/ 676533 h 1139396"/>
                <a:gd name="connsiteX1134" fmla="*/ 99855 w 235112"/>
                <a:gd name="connsiteY1134" fmla="*/ 682511 h 1139396"/>
                <a:gd name="connsiteX1135" fmla="*/ 100363 w 235112"/>
                <a:gd name="connsiteY1135" fmla="*/ 684891 h 1139396"/>
                <a:gd name="connsiteX1136" fmla="*/ 100086 w 235112"/>
                <a:gd name="connsiteY1136" fmla="*/ 686557 h 1139396"/>
                <a:gd name="connsiteX1137" fmla="*/ 97554 w 235112"/>
                <a:gd name="connsiteY1137" fmla="*/ 687971 h 1139396"/>
                <a:gd name="connsiteX1138" fmla="*/ 95441 w 235112"/>
                <a:gd name="connsiteY1138" fmla="*/ 688558 h 1139396"/>
                <a:gd name="connsiteX1139" fmla="*/ 94194 w 235112"/>
                <a:gd name="connsiteY1139" fmla="*/ 687557 h 1139396"/>
                <a:gd name="connsiteX1140" fmla="*/ 93361 w 235112"/>
                <a:gd name="connsiteY1140" fmla="*/ 687975 h 1139396"/>
                <a:gd name="connsiteX1141" fmla="*/ 92391 w 235112"/>
                <a:gd name="connsiteY1141" fmla="*/ 689725 h 1139396"/>
                <a:gd name="connsiteX1142" fmla="*/ 91280 w 235112"/>
                <a:gd name="connsiteY1142" fmla="*/ 691143 h 1139396"/>
                <a:gd name="connsiteX1143" fmla="*/ 90865 w 235112"/>
                <a:gd name="connsiteY1143" fmla="*/ 692562 h 1139396"/>
                <a:gd name="connsiteX1144" fmla="*/ 92043 w 235112"/>
                <a:gd name="connsiteY1144" fmla="*/ 694400 h 1139396"/>
                <a:gd name="connsiteX1145" fmla="*/ 92668 w 235112"/>
                <a:gd name="connsiteY1145" fmla="*/ 697905 h 1139396"/>
                <a:gd name="connsiteX1146" fmla="*/ 91351 w 235112"/>
                <a:gd name="connsiteY1146" fmla="*/ 699411 h 1139396"/>
                <a:gd name="connsiteX1147" fmla="*/ 90380 w 235112"/>
                <a:gd name="connsiteY1147" fmla="*/ 701084 h 1139396"/>
                <a:gd name="connsiteX1148" fmla="*/ 90727 w 235112"/>
                <a:gd name="connsiteY1148" fmla="*/ 703262 h 1139396"/>
                <a:gd name="connsiteX1149" fmla="*/ 91143 w 235112"/>
                <a:gd name="connsiteY1149" fmla="*/ 707199 h 1139396"/>
                <a:gd name="connsiteX1150" fmla="*/ 90311 w 235112"/>
                <a:gd name="connsiteY1150" fmla="*/ 713747 h 1139396"/>
                <a:gd name="connsiteX1151" fmla="*/ 91428 w 235112"/>
                <a:gd name="connsiteY1151" fmla="*/ 716070 h 1139396"/>
                <a:gd name="connsiteX1152" fmla="*/ 92637 w 235112"/>
                <a:gd name="connsiteY1152" fmla="*/ 717187 h 1139396"/>
                <a:gd name="connsiteX1153" fmla="*/ 96596 w 235112"/>
                <a:gd name="connsiteY1153" fmla="*/ 718521 h 1139396"/>
                <a:gd name="connsiteX1154" fmla="*/ 99565 w 235112"/>
                <a:gd name="connsiteY1154" fmla="*/ 719183 h 1139396"/>
                <a:gd name="connsiteX1155" fmla="*/ 100347 w 235112"/>
                <a:gd name="connsiteY1155" fmla="*/ 721353 h 1139396"/>
                <a:gd name="connsiteX1156" fmla="*/ 100011 w 235112"/>
                <a:gd name="connsiteY1156" fmla="*/ 723119 h 1139396"/>
                <a:gd name="connsiteX1157" fmla="*/ 98584 w 235112"/>
                <a:gd name="connsiteY1157" fmla="*/ 723993 h 1139396"/>
                <a:gd name="connsiteX1158" fmla="*/ 96434 w 235112"/>
                <a:gd name="connsiteY1158" fmla="*/ 724751 h 1139396"/>
                <a:gd name="connsiteX1159" fmla="*/ 96434 w 235112"/>
                <a:gd name="connsiteY1159" fmla="*/ 727608 h 1139396"/>
                <a:gd name="connsiteX1160" fmla="*/ 98274 w 235112"/>
                <a:gd name="connsiteY1160" fmla="*/ 730294 h 1139396"/>
                <a:gd name="connsiteX1161" fmla="*/ 100347 w 235112"/>
                <a:gd name="connsiteY1161" fmla="*/ 732240 h 1139396"/>
                <a:gd name="connsiteX1162" fmla="*/ 100800 w 235112"/>
                <a:gd name="connsiteY1162" fmla="*/ 733991 h 1139396"/>
                <a:gd name="connsiteX1163" fmla="*/ 100683 w 235112"/>
                <a:gd name="connsiteY1163" fmla="*/ 735783 h 1139396"/>
                <a:gd name="connsiteX1164" fmla="*/ 99229 w 235112"/>
                <a:gd name="connsiteY1164" fmla="*/ 737285 h 1139396"/>
                <a:gd name="connsiteX1165" fmla="*/ 101227 w 235112"/>
                <a:gd name="connsiteY1165" fmla="*/ 740541 h 1139396"/>
                <a:gd name="connsiteX1166" fmla="*/ 102136 w 235112"/>
                <a:gd name="connsiteY1166" fmla="*/ 742748 h 1139396"/>
                <a:gd name="connsiteX1167" fmla="*/ 101221 w 235112"/>
                <a:gd name="connsiteY1167" fmla="*/ 744451 h 1139396"/>
                <a:gd name="connsiteX1168" fmla="*/ 99928 w 235112"/>
                <a:gd name="connsiteY1168" fmla="*/ 747003 h 1139396"/>
                <a:gd name="connsiteX1169" fmla="*/ 98782 w 235112"/>
                <a:gd name="connsiteY1169" fmla="*/ 748226 h 1139396"/>
                <a:gd name="connsiteX1170" fmla="*/ 98789 w 235112"/>
                <a:gd name="connsiteY1170" fmla="*/ 749614 h 1139396"/>
                <a:gd name="connsiteX1171" fmla="*/ 98315 w 235112"/>
                <a:gd name="connsiteY1171" fmla="*/ 752433 h 1139396"/>
                <a:gd name="connsiteX1172" fmla="*/ 98206 w 235112"/>
                <a:gd name="connsiteY1172" fmla="*/ 755194 h 1139396"/>
                <a:gd name="connsiteX1173" fmla="*/ 98588 w 235112"/>
                <a:gd name="connsiteY1173" fmla="*/ 756843 h 1139396"/>
                <a:gd name="connsiteX1174" fmla="*/ 111122 w 235112"/>
                <a:gd name="connsiteY1174" fmla="*/ 758146 h 1139396"/>
                <a:gd name="connsiteX1175" fmla="*/ 113990 w 235112"/>
                <a:gd name="connsiteY1175" fmla="*/ 758654 h 1139396"/>
                <a:gd name="connsiteX1176" fmla="*/ 115555 w 235112"/>
                <a:gd name="connsiteY1176" fmla="*/ 760301 h 1139396"/>
                <a:gd name="connsiteX1177" fmla="*/ 115332 w 235112"/>
                <a:gd name="connsiteY1177" fmla="*/ 762366 h 1139396"/>
                <a:gd name="connsiteX1178" fmla="*/ 113765 w 235112"/>
                <a:gd name="connsiteY1178" fmla="*/ 764566 h 1139396"/>
                <a:gd name="connsiteX1179" fmla="*/ 112759 w 235112"/>
                <a:gd name="connsiteY1179" fmla="*/ 768701 h 1139396"/>
                <a:gd name="connsiteX1180" fmla="*/ 110300 w 235112"/>
                <a:gd name="connsiteY1180" fmla="*/ 769392 h 1139396"/>
                <a:gd name="connsiteX1181" fmla="*/ 107839 w 235112"/>
                <a:gd name="connsiteY1181" fmla="*/ 768286 h 1139396"/>
                <a:gd name="connsiteX1182" fmla="*/ 105172 w 235112"/>
                <a:gd name="connsiteY1182" fmla="*/ 768668 h 1139396"/>
                <a:gd name="connsiteX1183" fmla="*/ 102857 w 235112"/>
                <a:gd name="connsiteY1183" fmla="*/ 768931 h 1139396"/>
                <a:gd name="connsiteX1184" fmla="*/ 99531 w 235112"/>
                <a:gd name="connsiteY1184" fmla="*/ 769056 h 1139396"/>
                <a:gd name="connsiteX1185" fmla="*/ 95113 w 235112"/>
                <a:gd name="connsiteY1185" fmla="*/ 769590 h 1139396"/>
                <a:gd name="connsiteX1186" fmla="*/ 92408 w 235112"/>
                <a:gd name="connsiteY1186" fmla="*/ 768977 h 1139396"/>
                <a:gd name="connsiteX1187" fmla="*/ 92186 w 235112"/>
                <a:gd name="connsiteY1187" fmla="*/ 770495 h 1139396"/>
                <a:gd name="connsiteX1188" fmla="*/ 92967 w 235112"/>
                <a:gd name="connsiteY1188" fmla="*/ 773116 h 1139396"/>
                <a:gd name="connsiteX1189" fmla="*/ 98782 w 235112"/>
                <a:gd name="connsiteY1189" fmla="*/ 773945 h 1139396"/>
                <a:gd name="connsiteX1190" fmla="*/ 104261 w 235112"/>
                <a:gd name="connsiteY1190" fmla="*/ 775466 h 1139396"/>
                <a:gd name="connsiteX1191" fmla="*/ 105909 w 235112"/>
                <a:gd name="connsiteY1191" fmla="*/ 778246 h 1139396"/>
                <a:gd name="connsiteX1192" fmla="*/ 108136 w 235112"/>
                <a:gd name="connsiteY1192" fmla="*/ 781396 h 1139396"/>
                <a:gd name="connsiteX1193" fmla="*/ 110411 w 235112"/>
                <a:gd name="connsiteY1193" fmla="*/ 783350 h 1139396"/>
                <a:gd name="connsiteX1194" fmla="*/ 110523 w 235112"/>
                <a:gd name="connsiteY1194" fmla="*/ 786539 h 1139396"/>
                <a:gd name="connsiteX1195" fmla="*/ 106946 w 235112"/>
                <a:gd name="connsiteY1195" fmla="*/ 789866 h 1139396"/>
                <a:gd name="connsiteX1196" fmla="*/ 106497 w 235112"/>
                <a:gd name="connsiteY1196" fmla="*/ 792229 h 1139396"/>
                <a:gd name="connsiteX1197" fmla="*/ 101801 w 235112"/>
                <a:gd name="connsiteY1197" fmla="*/ 792925 h 1139396"/>
                <a:gd name="connsiteX1198" fmla="*/ 100460 w 235112"/>
                <a:gd name="connsiteY1198" fmla="*/ 794316 h 1139396"/>
                <a:gd name="connsiteX1199" fmla="*/ 99789 w 235112"/>
                <a:gd name="connsiteY1199" fmla="*/ 798907 h 1139396"/>
                <a:gd name="connsiteX1200" fmla="*/ 100347 w 235112"/>
                <a:gd name="connsiteY1200" fmla="*/ 802530 h 1139396"/>
                <a:gd name="connsiteX1201" fmla="*/ 102136 w 235112"/>
                <a:gd name="connsiteY1201" fmla="*/ 803783 h 1139396"/>
                <a:gd name="connsiteX1202" fmla="*/ 103367 w 235112"/>
                <a:gd name="connsiteY1202" fmla="*/ 806156 h 1139396"/>
                <a:gd name="connsiteX1203" fmla="*/ 102025 w 235112"/>
                <a:gd name="connsiteY1203" fmla="*/ 808948 h 1139396"/>
                <a:gd name="connsiteX1204" fmla="*/ 98860 w 235112"/>
                <a:gd name="connsiteY1204" fmla="*/ 810877 h 1139396"/>
                <a:gd name="connsiteX1205" fmla="*/ 97177 w 235112"/>
                <a:gd name="connsiteY1205" fmla="*/ 812709 h 1139396"/>
                <a:gd name="connsiteX1206" fmla="*/ 98230 w 235112"/>
                <a:gd name="connsiteY1206" fmla="*/ 814176 h 1139396"/>
                <a:gd name="connsiteX1207" fmla="*/ 99663 w 235112"/>
                <a:gd name="connsiteY1207" fmla="*/ 816500 h 1139396"/>
                <a:gd name="connsiteX1208" fmla="*/ 100056 w 235112"/>
                <a:gd name="connsiteY1208" fmla="*/ 817766 h 1139396"/>
                <a:gd name="connsiteX1209" fmla="*/ 100837 w 235112"/>
                <a:gd name="connsiteY1209" fmla="*/ 821199 h 1139396"/>
                <a:gd name="connsiteX1210" fmla="*/ 101752 w 235112"/>
                <a:gd name="connsiteY1210" fmla="*/ 825994 h 1139396"/>
                <a:gd name="connsiteX1211" fmla="*/ 101640 w 235112"/>
                <a:gd name="connsiteY1211" fmla="*/ 828318 h 1139396"/>
                <a:gd name="connsiteX1212" fmla="*/ 100801 w 235112"/>
                <a:gd name="connsiteY1212" fmla="*/ 830057 h 1139396"/>
                <a:gd name="connsiteX1213" fmla="*/ 97664 w 235112"/>
                <a:gd name="connsiteY1213" fmla="*/ 832793 h 1139396"/>
                <a:gd name="connsiteX1214" fmla="*/ 95540 w 235112"/>
                <a:gd name="connsiteY1214" fmla="*/ 834060 h 1139396"/>
                <a:gd name="connsiteX1215" fmla="*/ 95124 w 235112"/>
                <a:gd name="connsiteY1215" fmla="*/ 837433 h 1139396"/>
                <a:gd name="connsiteX1216" fmla="*/ 94962 w 235112"/>
                <a:gd name="connsiteY1216" fmla="*/ 839968 h 1139396"/>
                <a:gd name="connsiteX1217" fmla="*/ 95184 w 235112"/>
                <a:gd name="connsiteY1217" fmla="*/ 842257 h 1139396"/>
                <a:gd name="connsiteX1218" fmla="*/ 96546 w 235112"/>
                <a:gd name="connsiteY1218" fmla="*/ 844079 h 1139396"/>
                <a:gd name="connsiteX1219" fmla="*/ 96434 w 235112"/>
                <a:gd name="connsiteY1219" fmla="*/ 845917 h 1139396"/>
                <a:gd name="connsiteX1220" fmla="*/ 94569 w 235112"/>
                <a:gd name="connsiteY1220" fmla="*/ 846308 h 1139396"/>
                <a:gd name="connsiteX1221" fmla="*/ 92967 w 235112"/>
                <a:gd name="connsiteY1221" fmla="*/ 847191 h 1139396"/>
                <a:gd name="connsiteX1222" fmla="*/ 91401 w 235112"/>
                <a:gd name="connsiteY1222" fmla="*/ 850445 h 1139396"/>
                <a:gd name="connsiteX1223" fmla="*/ 86850 w 235112"/>
                <a:gd name="connsiteY1223" fmla="*/ 853773 h 1139396"/>
                <a:gd name="connsiteX1224" fmla="*/ 85251 w 235112"/>
                <a:gd name="connsiteY1224" fmla="*/ 855265 h 1139396"/>
                <a:gd name="connsiteX1225" fmla="*/ 85365 w 235112"/>
                <a:gd name="connsiteY1225" fmla="*/ 857821 h 1139396"/>
                <a:gd name="connsiteX1226" fmla="*/ 83562 w 235112"/>
                <a:gd name="connsiteY1226" fmla="*/ 861477 h 1139396"/>
                <a:gd name="connsiteX1227" fmla="*/ 82050 w 235112"/>
                <a:gd name="connsiteY1227" fmla="*/ 864659 h 1139396"/>
                <a:gd name="connsiteX1228" fmla="*/ 80892 w 235112"/>
                <a:gd name="connsiteY1228" fmla="*/ 867636 h 1139396"/>
                <a:gd name="connsiteX1229" fmla="*/ 81115 w 235112"/>
                <a:gd name="connsiteY1229" fmla="*/ 870771 h 1139396"/>
                <a:gd name="connsiteX1230" fmla="*/ 83680 w 235112"/>
                <a:gd name="connsiteY1230" fmla="*/ 872149 h 1139396"/>
                <a:gd name="connsiteX1231" fmla="*/ 85699 w 235112"/>
                <a:gd name="connsiteY1231" fmla="*/ 875197 h 1139396"/>
                <a:gd name="connsiteX1232" fmla="*/ 86594 w 235112"/>
                <a:gd name="connsiteY1232" fmla="*/ 879056 h 1139396"/>
                <a:gd name="connsiteX1233" fmla="*/ 85029 w 235112"/>
                <a:gd name="connsiteY1233" fmla="*/ 883494 h 1139396"/>
                <a:gd name="connsiteX1234" fmla="*/ 81393 w 235112"/>
                <a:gd name="connsiteY1234" fmla="*/ 885169 h 1139396"/>
                <a:gd name="connsiteX1235" fmla="*/ 79245 w 235112"/>
                <a:gd name="connsiteY1235" fmla="*/ 887055 h 1139396"/>
                <a:gd name="connsiteX1236" fmla="*/ 78597 w 235112"/>
                <a:gd name="connsiteY1236" fmla="*/ 888485 h 1139396"/>
                <a:gd name="connsiteX1237" fmla="*/ 79167 w 235112"/>
                <a:gd name="connsiteY1237" fmla="*/ 893148 h 1139396"/>
                <a:gd name="connsiteX1238" fmla="*/ 79019 w 235112"/>
                <a:gd name="connsiteY1238" fmla="*/ 895339 h 1139396"/>
                <a:gd name="connsiteX1239" fmla="*/ 78445 w 235112"/>
                <a:gd name="connsiteY1239" fmla="*/ 897400 h 1139396"/>
                <a:gd name="connsiteX1240" fmla="*/ 77510 w 235112"/>
                <a:gd name="connsiteY1240" fmla="*/ 898992 h 1139396"/>
                <a:gd name="connsiteX1241" fmla="*/ 75552 w 235112"/>
                <a:gd name="connsiteY1241" fmla="*/ 900778 h 1139396"/>
                <a:gd name="connsiteX1242" fmla="*/ 72079 w 235112"/>
                <a:gd name="connsiteY1242" fmla="*/ 902337 h 1139396"/>
                <a:gd name="connsiteX1243" fmla="*/ 69131 w 235112"/>
                <a:gd name="connsiteY1243" fmla="*/ 903409 h 1139396"/>
                <a:gd name="connsiteX1244" fmla="*/ 67814 w 235112"/>
                <a:gd name="connsiteY1244" fmla="*/ 904639 h 1139396"/>
                <a:gd name="connsiteX1245" fmla="*/ 66270 w 235112"/>
                <a:gd name="connsiteY1245" fmla="*/ 907341 h 1139396"/>
                <a:gd name="connsiteX1246" fmla="*/ 64893 w 235112"/>
                <a:gd name="connsiteY1246" fmla="*/ 910327 h 1139396"/>
                <a:gd name="connsiteX1247" fmla="*/ 65238 w 235112"/>
                <a:gd name="connsiteY1247" fmla="*/ 914025 h 1139396"/>
                <a:gd name="connsiteX1248" fmla="*/ 56964 w 235112"/>
                <a:gd name="connsiteY1248" fmla="*/ 914459 h 1139396"/>
                <a:gd name="connsiteX1249" fmla="*/ 56405 w 235112"/>
                <a:gd name="connsiteY1249" fmla="*/ 917211 h 1139396"/>
                <a:gd name="connsiteX1250" fmla="*/ 54615 w 235112"/>
                <a:gd name="connsiteY1250" fmla="*/ 919388 h 1139396"/>
                <a:gd name="connsiteX1251" fmla="*/ 54055 w 235112"/>
                <a:gd name="connsiteY1251" fmla="*/ 923307 h 1139396"/>
                <a:gd name="connsiteX1252" fmla="*/ 55874 w 235112"/>
                <a:gd name="connsiteY1252" fmla="*/ 927102 h 1139396"/>
                <a:gd name="connsiteX1253" fmla="*/ 56739 w 235112"/>
                <a:gd name="connsiteY1253" fmla="*/ 930287 h 1139396"/>
                <a:gd name="connsiteX1254" fmla="*/ 55257 w 235112"/>
                <a:gd name="connsiteY1254" fmla="*/ 934133 h 1139396"/>
                <a:gd name="connsiteX1255" fmla="*/ 55793 w 235112"/>
                <a:gd name="connsiteY1255" fmla="*/ 938081 h 1139396"/>
                <a:gd name="connsiteX1256" fmla="*/ 55957 w 235112"/>
                <a:gd name="connsiteY1256" fmla="*/ 941229 h 1139396"/>
                <a:gd name="connsiteX1257" fmla="*/ 58864 w 235112"/>
                <a:gd name="connsiteY1257" fmla="*/ 944741 h 1139396"/>
                <a:gd name="connsiteX1258" fmla="*/ 60763 w 235112"/>
                <a:gd name="connsiteY1258" fmla="*/ 949084 h 1139396"/>
                <a:gd name="connsiteX1259" fmla="*/ 61716 w 235112"/>
                <a:gd name="connsiteY1259" fmla="*/ 952765 h 1139396"/>
                <a:gd name="connsiteX1260" fmla="*/ 62287 w 235112"/>
                <a:gd name="connsiteY1260" fmla="*/ 955626 h 1139396"/>
                <a:gd name="connsiteX1261" fmla="*/ 63048 w 235112"/>
                <a:gd name="connsiteY1261" fmla="*/ 957368 h 1139396"/>
                <a:gd name="connsiteX1262" fmla="*/ 64242 w 235112"/>
                <a:gd name="connsiteY1262" fmla="*/ 959345 h 1139396"/>
                <a:gd name="connsiteX1263" fmla="*/ 64789 w 235112"/>
                <a:gd name="connsiteY1263" fmla="*/ 961623 h 1139396"/>
                <a:gd name="connsiteX1264" fmla="*/ 66578 w 235112"/>
                <a:gd name="connsiteY1264" fmla="*/ 962360 h 1139396"/>
                <a:gd name="connsiteX1265" fmla="*/ 69794 w 235112"/>
                <a:gd name="connsiteY1265" fmla="*/ 960227 h 1139396"/>
                <a:gd name="connsiteX1266" fmla="*/ 72068 w 235112"/>
                <a:gd name="connsiteY1266" fmla="*/ 958781 h 1139396"/>
                <a:gd name="connsiteX1267" fmla="*/ 73647 w 235112"/>
                <a:gd name="connsiteY1267" fmla="*/ 958267 h 1139396"/>
                <a:gd name="connsiteX1268" fmla="*/ 78292 w 235112"/>
                <a:gd name="connsiteY1268" fmla="*/ 958599 h 1139396"/>
                <a:gd name="connsiteX1269" fmla="*/ 81097 w 235112"/>
                <a:gd name="connsiteY1269" fmla="*/ 957261 h 1139396"/>
                <a:gd name="connsiteX1270" fmla="*/ 82356 w 235112"/>
                <a:gd name="connsiteY1270" fmla="*/ 957400 h 1139396"/>
                <a:gd name="connsiteX1271" fmla="*/ 84069 w 235112"/>
                <a:gd name="connsiteY1271" fmla="*/ 958152 h 1139396"/>
                <a:gd name="connsiteX1272" fmla="*/ 85397 w 235112"/>
                <a:gd name="connsiteY1272" fmla="*/ 959739 h 1139396"/>
                <a:gd name="connsiteX1273" fmla="*/ 86400 w 235112"/>
                <a:gd name="connsiteY1273" fmla="*/ 963335 h 1139396"/>
                <a:gd name="connsiteX1274" fmla="*/ 87017 w 235112"/>
                <a:gd name="connsiteY1274" fmla="*/ 967372 h 1139396"/>
                <a:gd name="connsiteX1275" fmla="*/ 86230 w 235112"/>
                <a:gd name="connsiteY1275" fmla="*/ 971495 h 1139396"/>
                <a:gd name="connsiteX1276" fmla="*/ 84917 w 235112"/>
                <a:gd name="connsiteY1276" fmla="*/ 972392 h 1139396"/>
                <a:gd name="connsiteX1277" fmla="*/ 84469 w 235112"/>
                <a:gd name="connsiteY1277" fmla="*/ 973573 h 1139396"/>
                <a:gd name="connsiteX1278" fmla="*/ 84917 w 235112"/>
                <a:gd name="connsiteY1278" fmla="*/ 976090 h 1139396"/>
                <a:gd name="connsiteX1279" fmla="*/ 86369 w 235112"/>
                <a:gd name="connsiteY1279" fmla="*/ 977866 h 1139396"/>
                <a:gd name="connsiteX1280" fmla="*/ 86335 w 235112"/>
                <a:gd name="connsiteY1280" fmla="*/ 980406 h 1139396"/>
                <a:gd name="connsiteX1281" fmla="*/ 84733 w 235112"/>
                <a:gd name="connsiteY1281" fmla="*/ 986174 h 1139396"/>
                <a:gd name="connsiteX1282" fmla="*/ 83687 w 235112"/>
                <a:gd name="connsiteY1282" fmla="*/ 988550 h 1139396"/>
                <a:gd name="connsiteX1283" fmla="*/ 85542 w 235112"/>
                <a:gd name="connsiteY1283" fmla="*/ 991232 h 1139396"/>
                <a:gd name="connsiteX1284" fmla="*/ 87203 w 235112"/>
                <a:gd name="connsiteY1284" fmla="*/ 993623 h 1139396"/>
                <a:gd name="connsiteX1285" fmla="*/ 90550 w 235112"/>
                <a:gd name="connsiteY1285" fmla="*/ 995411 h 1139396"/>
                <a:gd name="connsiteX1286" fmla="*/ 93304 w 235112"/>
                <a:gd name="connsiteY1286" fmla="*/ 997934 h 1139396"/>
                <a:gd name="connsiteX1287" fmla="*/ 95204 w 235112"/>
                <a:gd name="connsiteY1287" fmla="*/ 1000023 h 1139396"/>
                <a:gd name="connsiteX1288" fmla="*/ 94757 w 235112"/>
                <a:gd name="connsiteY1288" fmla="*/ 1002861 h 1139396"/>
                <a:gd name="connsiteX1289" fmla="*/ 96087 w 235112"/>
                <a:gd name="connsiteY1289" fmla="*/ 1003723 h 1139396"/>
                <a:gd name="connsiteX1290" fmla="*/ 101211 w 235112"/>
                <a:gd name="connsiteY1290" fmla="*/ 1003782 h 1139396"/>
                <a:gd name="connsiteX1291" fmla="*/ 108864 w 235112"/>
                <a:gd name="connsiteY1291" fmla="*/ 1003872 h 1139396"/>
                <a:gd name="connsiteX1292" fmla="*/ 120822 w 235112"/>
                <a:gd name="connsiteY1292" fmla="*/ 1004014 h 1139396"/>
                <a:gd name="connsiteX1293" fmla="*/ 132493 w 235112"/>
                <a:gd name="connsiteY1293" fmla="*/ 1004153 h 1139396"/>
                <a:gd name="connsiteX1294" fmla="*/ 145745 w 235112"/>
                <a:gd name="connsiteY1294" fmla="*/ 1004354 h 1139396"/>
                <a:gd name="connsiteX1295" fmla="*/ 152024 w 235112"/>
                <a:gd name="connsiteY1295" fmla="*/ 1006634 h 1139396"/>
                <a:gd name="connsiteX1296" fmla="*/ 157708 w 235112"/>
                <a:gd name="connsiteY1296" fmla="*/ 1008697 h 1139396"/>
                <a:gd name="connsiteX1297" fmla="*/ 164865 w 235112"/>
                <a:gd name="connsiteY1297" fmla="*/ 1008697 h 1139396"/>
                <a:gd name="connsiteX1298" fmla="*/ 172007 w 235112"/>
                <a:gd name="connsiteY1298" fmla="*/ 1011142 h 1139396"/>
                <a:gd name="connsiteX1299" fmla="*/ 177315 w 235112"/>
                <a:gd name="connsiteY1299" fmla="*/ 1012753 h 1139396"/>
                <a:gd name="connsiteX1300" fmla="*/ 180495 w 235112"/>
                <a:gd name="connsiteY1300" fmla="*/ 1013361 h 1139396"/>
                <a:gd name="connsiteX1301" fmla="*/ 183761 w 235112"/>
                <a:gd name="connsiteY1301" fmla="*/ 1013942 h 1139396"/>
                <a:gd name="connsiteX1302" fmla="*/ 184208 w 235112"/>
                <a:gd name="connsiteY1302" fmla="*/ 1016197 h 1139396"/>
                <a:gd name="connsiteX1303" fmla="*/ 169911 w 235112"/>
                <a:gd name="connsiteY1303" fmla="*/ 1012998 h 1139396"/>
                <a:gd name="connsiteX1304" fmla="*/ 166701 w 235112"/>
                <a:gd name="connsiteY1304" fmla="*/ 1011255 h 1139396"/>
                <a:gd name="connsiteX1305" fmla="*/ 163982 w 235112"/>
                <a:gd name="connsiteY1305" fmla="*/ 1011052 h 1139396"/>
                <a:gd name="connsiteX1306" fmla="*/ 158762 w 235112"/>
                <a:gd name="connsiteY1306" fmla="*/ 1013228 h 1139396"/>
                <a:gd name="connsiteX1307" fmla="*/ 155878 w 235112"/>
                <a:gd name="connsiteY1307" fmla="*/ 1018410 h 1139396"/>
                <a:gd name="connsiteX1308" fmla="*/ 154365 w 235112"/>
                <a:gd name="connsiteY1308" fmla="*/ 1019881 h 1139396"/>
                <a:gd name="connsiteX1309" fmla="*/ 150739 w 235112"/>
                <a:gd name="connsiteY1309" fmla="*/ 1021273 h 1139396"/>
                <a:gd name="connsiteX1310" fmla="*/ 147090 w 235112"/>
                <a:gd name="connsiteY1310" fmla="*/ 1021546 h 1139396"/>
                <a:gd name="connsiteX1311" fmla="*/ 134823 w 235112"/>
                <a:gd name="connsiteY1311" fmla="*/ 1026577 h 1139396"/>
                <a:gd name="connsiteX1312" fmla="*/ 130462 w 235112"/>
                <a:gd name="connsiteY1312" fmla="*/ 1027008 h 1139396"/>
                <a:gd name="connsiteX1313" fmla="*/ 127487 w 235112"/>
                <a:gd name="connsiteY1313" fmla="*/ 1028344 h 1139396"/>
                <a:gd name="connsiteX1314" fmla="*/ 124575 w 235112"/>
                <a:gd name="connsiteY1314" fmla="*/ 1030270 h 1139396"/>
                <a:gd name="connsiteX1315" fmla="*/ 123462 w 235112"/>
                <a:gd name="connsiteY1315" fmla="*/ 1034408 h 1139396"/>
                <a:gd name="connsiteX1316" fmla="*/ 123915 w 235112"/>
                <a:gd name="connsiteY1316" fmla="*/ 1036931 h 1139396"/>
                <a:gd name="connsiteX1317" fmla="*/ 120597 w 235112"/>
                <a:gd name="connsiteY1317" fmla="*/ 1046002 h 1139396"/>
                <a:gd name="connsiteX1318" fmla="*/ 119777 w 235112"/>
                <a:gd name="connsiteY1318" fmla="*/ 1051058 h 1139396"/>
                <a:gd name="connsiteX1319" fmla="*/ 119758 w 235112"/>
                <a:gd name="connsiteY1319" fmla="*/ 1053637 h 1139396"/>
                <a:gd name="connsiteX1320" fmla="*/ 120704 w 235112"/>
                <a:gd name="connsiteY1320" fmla="*/ 1057856 h 1139396"/>
                <a:gd name="connsiteX1321" fmla="*/ 119486 w 235112"/>
                <a:gd name="connsiteY1321" fmla="*/ 1065091 h 1139396"/>
                <a:gd name="connsiteX1322" fmla="*/ 117281 w 235112"/>
                <a:gd name="connsiteY1322" fmla="*/ 1066677 h 1139396"/>
                <a:gd name="connsiteX1323" fmla="*/ 111831 w 235112"/>
                <a:gd name="connsiteY1323" fmla="*/ 1068704 h 1139396"/>
                <a:gd name="connsiteX1324" fmla="*/ 108126 w 235112"/>
                <a:gd name="connsiteY1324" fmla="*/ 1067229 h 1139396"/>
                <a:gd name="connsiteX1325" fmla="*/ 101789 w 235112"/>
                <a:gd name="connsiteY1325" fmla="*/ 1065918 h 1139396"/>
                <a:gd name="connsiteX1326" fmla="*/ 97273 w 235112"/>
                <a:gd name="connsiteY1326" fmla="*/ 1063128 h 1139396"/>
                <a:gd name="connsiteX1327" fmla="*/ 91464 w 235112"/>
                <a:gd name="connsiteY1327" fmla="*/ 1061159 h 1139396"/>
                <a:gd name="connsiteX1328" fmla="*/ 89601 w 235112"/>
                <a:gd name="connsiteY1328" fmla="*/ 1059998 h 1139396"/>
                <a:gd name="connsiteX1329" fmla="*/ 84469 w 235112"/>
                <a:gd name="connsiteY1329" fmla="*/ 1054426 h 1139396"/>
                <a:gd name="connsiteX1330" fmla="*/ 83926 w 235112"/>
                <a:gd name="connsiteY1330" fmla="*/ 1052581 h 1139396"/>
                <a:gd name="connsiteX1331" fmla="*/ 83554 w 235112"/>
                <a:gd name="connsiteY1331" fmla="*/ 1050250 h 1139396"/>
                <a:gd name="connsiteX1332" fmla="*/ 86264 w 235112"/>
                <a:gd name="connsiteY1332" fmla="*/ 1046924 h 1139396"/>
                <a:gd name="connsiteX1333" fmla="*/ 87719 w 235112"/>
                <a:gd name="connsiteY1333" fmla="*/ 1046681 h 1139396"/>
                <a:gd name="connsiteX1334" fmla="*/ 91967 w 235112"/>
                <a:gd name="connsiteY1334" fmla="*/ 1046782 h 1139396"/>
                <a:gd name="connsiteX1335" fmla="*/ 95502 w 235112"/>
                <a:gd name="connsiteY1335" fmla="*/ 1046248 h 1139396"/>
                <a:gd name="connsiteX1336" fmla="*/ 97758 w 235112"/>
                <a:gd name="connsiteY1336" fmla="*/ 1048028 h 1139396"/>
                <a:gd name="connsiteX1337" fmla="*/ 98380 w 235112"/>
                <a:gd name="connsiteY1337" fmla="*/ 1051910 h 1139396"/>
                <a:gd name="connsiteX1338" fmla="*/ 97389 w 235112"/>
                <a:gd name="connsiteY1338" fmla="*/ 1053985 h 1139396"/>
                <a:gd name="connsiteX1339" fmla="*/ 96490 w 235112"/>
                <a:gd name="connsiteY1339" fmla="*/ 1055267 h 1139396"/>
                <a:gd name="connsiteX1340" fmla="*/ 96771 w 235112"/>
                <a:gd name="connsiteY1340" fmla="*/ 1056236 h 1139396"/>
                <a:gd name="connsiteX1341" fmla="*/ 99312 w 235112"/>
                <a:gd name="connsiteY1341" fmla="*/ 1054888 h 1139396"/>
                <a:gd name="connsiteX1342" fmla="*/ 100604 w 235112"/>
                <a:gd name="connsiteY1342" fmla="*/ 1046197 h 1139396"/>
                <a:gd name="connsiteX1343" fmla="*/ 109230 w 235112"/>
                <a:gd name="connsiteY1343" fmla="*/ 1041875 h 1139396"/>
                <a:gd name="connsiteX1344" fmla="*/ 112053 w 235112"/>
                <a:gd name="connsiteY1344" fmla="*/ 1039355 h 1139396"/>
                <a:gd name="connsiteX1345" fmla="*/ 114811 w 235112"/>
                <a:gd name="connsiteY1345" fmla="*/ 1035470 h 1139396"/>
                <a:gd name="connsiteX1346" fmla="*/ 115241 w 235112"/>
                <a:gd name="connsiteY1346" fmla="*/ 1034358 h 1139396"/>
                <a:gd name="connsiteX1347" fmla="*/ 115448 w 235112"/>
                <a:gd name="connsiteY1347" fmla="*/ 1032902 h 1139396"/>
                <a:gd name="connsiteX1348" fmla="*/ 113621 w 235112"/>
                <a:gd name="connsiteY1348" fmla="*/ 1031704 h 1139396"/>
                <a:gd name="connsiteX1349" fmla="*/ 109549 w 235112"/>
                <a:gd name="connsiteY1349" fmla="*/ 1030116 h 1139396"/>
                <a:gd name="connsiteX1350" fmla="*/ 96611 w 235112"/>
                <a:gd name="connsiteY1350" fmla="*/ 1038259 h 1139396"/>
                <a:gd name="connsiteX1351" fmla="*/ 90750 w 235112"/>
                <a:gd name="connsiteY1351" fmla="*/ 1040409 h 1139396"/>
                <a:gd name="connsiteX1352" fmla="*/ 86974 w 235112"/>
                <a:gd name="connsiteY1352" fmla="*/ 1042746 h 1139396"/>
                <a:gd name="connsiteX1353" fmla="*/ 82403 w 235112"/>
                <a:gd name="connsiteY1353" fmla="*/ 1046951 h 1139396"/>
                <a:gd name="connsiteX1354" fmla="*/ 81534 w 235112"/>
                <a:gd name="connsiteY1354" fmla="*/ 1048196 h 1139396"/>
                <a:gd name="connsiteX1355" fmla="*/ 80565 w 235112"/>
                <a:gd name="connsiteY1355" fmla="*/ 1050991 h 1139396"/>
                <a:gd name="connsiteX1356" fmla="*/ 80105 w 235112"/>
                <a:gd name="connsiteY1356" fmla="*/ 1054065 h 1139396"/>
                <a:gd name="connsiteX1357" fmla="*/ 75595 w 235112"/>
                <a:gd name="connsiteY1357" fmla="*/ 1052659 h 1139396"/>
                <a:gd name="connsiteX1358" fmla="*/ 68708 w 235112"/>
                <a:gd name="connsiteY1358" fmla="*/ 1048198 h 1139396"/>
                <a:gd name="connsiteX1359" fmla="*/ 67331 w 235112"/>
                <a:gd name="connsiteY1359" fmla="*/ 1046570 h 1139396"/>
                <a:gd name="connsiteX1360" fmla="*/ 68712 w 235112"/>
                <a:gd name="connsiteY1360" fmla="*/ 1044292 h 1139396"/>
                <a:gd name="connsiteX1361" fmla="*/ 70810 w 235112"/>
                <a:gd name="connsiteY1361" fmla="*/ 1042390 h 1139396"/>
                <a:gd name="connsiteX1362" fmla="*/ 70952 w 235112"/>
                <a:gd name="connsiteY1362" fmla="*/ 1036019 h 1139396"/>
                <a:gd name="connsiteX1363" fmla="*/ 71478 w 235112"/>
                <a:gd name="connsiteY1363" fmla="*/ 1033792 h 1139396"/>
                <a:gd name="connsiteX1364" fmla="*/ 72930 w 235112"/>
                <a:gd name="connsiteY1364" fmla="*/ 1032009 h 1139396"/>
                <a:gd name="connsiteX1365" fmla="*/ 75572 w 235112"/>
                <a:gd name="connsiteY1365" fmla="*/ 1030048 h 1139396"/>
                <a:gd name="connsiteX1366" fmla="*/ 76884 w 235112"/>
                <a:gd name="connsiteY1366" fmla="*/ 1029594 h 1139396"/>
                <a:gd name="connsiteX1367" fmla="*/ 77996 w 235112"/>
                <a:gd name="connsiteY1367" fmla="*/ 1030444 h 1139396"/>
                <a:gd name="connsiteX1368" fmla="*/ 78135 w 235112"/>
                <a:gd name="connsiteY1368" fmla="*/ 1031941 h 1139396"/>
                <a:gd name="connsiteX1369" fmla="*/ 82526 w 235112"/>
                <a:gd name="connsiteY1369" fmla="*/ 1031835 h 1139396"/>
                <a:gd name="connsiteX1370" fmla="*/ 91042 w 235112"/>
                <a:gd name="connsiteY1370" fmla="*/ 1026207 h 1139396"/>
                <a:gd name="connsiteX1371" fmla="*/ 94549 w 235112"/>
                <a:gd name="connsiteY1371" fmla="*/ 1026074 h 1139396"/>
                <a:gd name="connsiteX1372" fmla="*/ 99170 w 235112"/>
                <a:gd name="connsiteY1372" fmla="*/ 1027328 h 1139396"/>
                <a:gd name="connsiteX1373" fmla="*/ 104390 w 235112"/>
                <a:gd name="connsiteY1373" fmla="*/ 1026574 h 1139396"/>
                <a:gd name="connsiteX1374" fmla="*/ 105330 w 235112"/>
                <a:gd name="connsiteY1374" fmla="*/ 1026000 h 1139396"/>
                <a:gd name="connsiteX1375" fmla="*/ 106417 w 235112"/>
                <a:gd name="connsiteY1375" fmla="*/ 1024682 h 1139396"/>
                <a:gd name="connsiteX1376" fmla="*/ 102525 w 235112"/>
                <a:gd name="connsiteY1376" fmla="*/ 1023135 h 1139396"/>
                <a:gd name="connsiteX1377" fmla="*/ 98794 w 235112"/>
                <a:gd name="connsiteY1377" fmla="*/ 1022347 h 1139396"/>
                <a:gd name="connsiteX1378" fmla="*/ 88302 w 235112"/>
                <a:gd name="connsiteY1378" fmla="*/ 1021800 h 1139396"/>
                <a:gd name="connsiteX1379" fmla="*/ 86027 w 235112"/>
                <a:gd name="connsiteY1379" fmla="*/ 1022401 h 1139396"/>
                <a:gd name="connsiteX1380" fmla="*/ 82926 w 235112"/>
                <a:gd name="connsiteY1380" fmla="*/ 1025379 h 1139396"/>
                <a:gd name="connsiteX1381" fmla="*/ 81896 w 235112"/>
                <a:gd name="connsiteY1381" fmla="*/ 1024635 h 1139396"/>
                <a:gd name="connsiteX1382" fmla="*/ 81234 w 235112"/>
                <a:gd name="connsiteY1382" fmla="*/ 1023135 h 1139396"/>
                <a:gd name="connsiteX1383" fmla="*/ 77674 w 235112"/>
                <a:gd name="connsiteY1383" fmla="*/ 1022077 h 1139396"/>
                <a:gd name="connsiteX1384" fmla="*/ 75968 w 235112"/>
                <a:gd name="connsiteY1384" fmla="*/ 1022298 h 1139396"/>
                <a:gd name="connsiteX1385" fmla="*/ 74334 w 235112"/>
                <a:gd name="connsiteY1385" fmla="*/ 1023727 h 1139396"/>
                <a:gd name="connsiteX1386" fmla="*/ 74601 w 235112"/>
                <a:gd name="connsiteY1386" fmla="*/ 1025953 h 1139396"/>
                <a:gd name="connsiteX1387" fmla="*/ 73690 w 235112"/>
                <a:gd name="connsiteY1387" fmla="*/ 1028341 h 1139396"/>
                <a:gd name="connsiteX1388" fmla="*/ 70395 w 235112"/>
                <a:gd name="connsiteY1388" fmla="*/ 1030710 h 1139396"/>
                <a:gd name="connsiteX1389" fmla="*/ 68154 w 235112"/>
                <a:gd name="connsiteY1389" fmla="*/ 1034485 h 1139396"/>
                <a:gd name="connsiteX1390" fmla="*/ 68259 w 235112"/>
                <a:gd name="connsiteY1390" fmla="*/ 1037424 h 1139396"/>
                <a:gd name="connsiteX1391" fmla="*/ 68084 w 235112"/>
                <a:gd name="connsiteY1391" fmla="*/ 1038956 h 1139396"/>
                <a:gd name="connsiteX1392" fmla="*/ 67261 w 235112"/>
                <a:gd name="connsiteY1392" fmla="*/ 1039764 h 1139396"/>
                <a:gd name="connsiteX1393" fmla="*/ 65562 w 235112"/>
                <a:gd name="connsiteY1393" fmla="*/ 1040738 h 1139396"/>
                <a:gd name="connsiteX1394" fmla="*/ 60092 w 235112"/>
                <a:gd name="connsiteY1394" fmla="*/ 1040076 h 1139396"/>
                <a:gd name="connsiteX1395" fmla="*/ 57007 w 235112"/>
                <a:gd name="connsiteY1395" fmla="*/ 1036992 h 1139396"/>
                <a:gd name="connsiteX1396" fmla="*/ 55799 w 235112"/>
                <a:gd name="connsiteY1396" fmla="*/ 1034887 h 1139396"/>
                <a:gd name="connsiteX1397" fmla="*/ 52307 w 235112"/>
                <a:gd name="connsiteY1397" fmla="*/ 1032608 h 1139396"/>
                <a:gd name="connsiteX1398" fmla="*/ 59895 w 235112"/>
                <a:gd name="connsiteY1398" fmla="*/ 1029774 h 1139396"/>
                <a:gd name="connsiteX1399" fmla="*/ 62561 w 235112"/>
                <a:gd name="connsiteY1399" fmla="*/ 1028161 h 1139396"/>
                <a:gd name="connsiteX1400" fmla="*/ 64996 w 235112"/>
                <a:gd name="connsiteY1400" fmla="*/ 1024565 h 1139396"/>
                <a:gd name="connsiteX1401" fmla="*/ 66811 w 235112"/>
                <a:gd name="connsiteY1401" fmla="*/ 1022280 h 1139396"/>
                <a:gd name="connsiteX1402" fmla="*/ 65526 w 235112"/>
                <a:gd name="connsiteY1402" fmla="*/ 1020674 h 1139396"/>
                <a:gd name="connsiteX1403" fmla="*/ 64007 w 235112"/>
                <a:gd name="connsiteY1403" fmla="*/ 1020671 h 1139396"/>
                <a:gd name="connsiteX1404" fmla="*/ 64150 w 235112"/>
                <a:gd name="connsiteY1404" fmla="*/ 1023224 h 1139396"/>
                <a:gd name="connsiteX1405" fmla="*/ 62476 w 235112"/>
                <a:gd name="connsiteY1405" fmla="*/ 1025319 h 1139396"/>
                <a:gd name="connsiteX1406" fmla="*/ 58978 w 235112"/>
                <a:gd name="connsiteY1406" fmla="*/ 1024332 h 1139396"/>
                <a:gd name="connsiteX1407" fmla="*/ 53816 w 235112"/>
                <a:gd name="connsiteY1407" fmla="*/ 1027429 h 1139396"/>
                <a:gd name="connsiteX1408" fmla="*/ 50643 w 235112"/>
                <a:gd name="connsiteY1408" fmla="*/ 1026601 h 1139396"/>
                <a:gd name="connsiteX1409" fmla="*/ 45474 w 235112"/>
                <a:gd name="connsiteY1409" fmla="*/ 1027513 h 1139396"/>
                <a:gd name="connsiteX1410" fmla="*/ 42944 w 235112"/>
                <a:gd name="connsiteY1410" fmla="*/ 1025843 h 1139396"/>
                <a:gd name="connsiteX1411" fmla="*/ 42402 w 235112"/>
                <a:gd name="connsiteY1411" fmla="*/ 1023721 h 1139396"/>
                <a:gd name="connsiteX1412" fmla="*/ 43314 w 235112"/>
                <a:gd name="connsiteY1412" fmla="*/ 1021513 h 1139396"/>
                <a:gd name="connsiteX1413" fmla="*/ 42364 w 235112"/>
                <a:gd name="connsiteY1413" fmla="*/ 1017773 h 1139396"/>
                <a:gd name="connsiteX1414" fmla="*/ 40940 w 235112"/>
                <a:gd name="connsiteY1414" fmla="*/ 1016865 h 1139396"/>
                <a:gd name="connsiteX1415" fmla="*/ 39486 w 235112"/>
                <a:gd name="connsiteY1415" fmla="*/ 1017077 h 1139396"/>
                <a:gd name="connsiteX1416" fmla="*/ 38835 w 235112"/>
                <a:gd name="connsiteY1416" fmla="*/ 1014853 h 1139396"/>
                <a:gd name="connsiteX1417" fmla="*/ 37264 w 235112"/>
                <a:gd name="connsiteY1417" fmla="*/ 1010946 h 1139396"/>
                <a:gd name="connsiteX1418" fmla="*/ 36567 w 235112"/>
                <a:gd name="connsiteY1418" fmla="*/ 1009891 h 1139396"/>
                <a:gd name="connsiteX1419" fmla="*/ 35814 w 235112"/>
                <a:gd name="connsiteY1419" fmla="*/ 1008077 h 1139396"/>
                <a:gd name="connsiteX1420" fmla="*/ 36593 w 235112"/>
                <a:gd name="connsiteY1420" fmla="*/ 1007635 h 1139396"/>
                <a:gd name="connsiteX1421" fmla="*/ 38369 w 235112"/>
                <a:gd name="connsiteY1421" fmla="*/ 1008156 h 1139396"/>
                <a:gd name="connsiteX1422" fmla="*/ 39925 w 235112"/>
                <a:gd name="connsiteY1422" fmla="*/ 1009330 h 1139396"/>
                <a:gd name="connsiteX1423" fmla="*/ 42291 w 235112"/>
                <a:gd name="connsiteY1423" fmla="*/ 1009479 h 1139396"/>
                <a:gd name="connsiteX1424" fmla="*/ 47508 w 235112"/>
                <a:gd name="connsiteY1424" fmla="*/ 1012022 h 1139396"/>
                <a:gd name="connsiteX1425" fmla="*/ 49672 w 235112"/>
                <a:gd name="connsiteY1425" fmla="*/ 1011411 h 1139396"/>
                <a:gd name="connsiteX1426" fmla="*/ 50848 w 235112"/>
                <a:gd name="connsiteY1426" fmla="*/ 1010826 h 1139396"/>
                <a:gd name="connsiteX1427" fmla="*/ 51288 w 235112"/>
                <a:gd name="connsiteY1427" fmla="*/ 1008716 h 1139396"/>
                <a:gd name="connsiteX1428" fmla="*/ 51315 w 235112"/>
                <a:gd name="connsiteY1428" fmla="*/ 1006714 h 1139396"/>
                <a:gd name="connsiteX1429" fmla="*/ 52211 w 235112"/>
                <a:gd name="connsiteY1429" fmla="*/ 1006714 h 1139396"/>
                <a:gd name="connsiteX1430" fmla="*/ 55172 w 235112"/>
                <a:gd name="connsiteY1430" fmla="*/ 1009274 h 1139396"/>
                <a:gd name="connsiteX1431" fmla="*/ 57055 w 235112"/>
                <a:gd name="connsiteY1431" fmla="*/ 1009032 h 1139396"/>
                <a:gd name="connsiteX1432" fmla="*/ 60383 w 235112"/>
                <a:gd name="connsiteY1432" fmla="*/ 1009708 h 1139396"/>
                <a:gd name="connsiteX1433" fmla="*/ 62064 w 235112"/>
                <a:gd name="connsiteY1433" fmla="*/ 1009433 h 1139396"/>
                <a:gd name="connsiteX1434" fmla="*/ 65185 w 235112"/>
                <a:gd name="connsiteY1434" fmla="*/ 1008478 h 1139396"/>
                <a:gd name="connsiteX1435" fmla="*/ 70095 w 235112"/>
                <a:gd name="connsiteY1435" fmla="*/ 1005666 h 1139396"/>
                <a:gd name="connsiteX1436" fmla="*/ 72643 w 235112"/>
                <a:gd name="connsiteY1436" fmla="*/ 1002759 h 1139396"/>
                <a:gd name="connsiteX1437" fmla="*/ 73865 w 235112"/>
                <a:gd name="connsiteY1437" fmla="*/ 1002365 h 1139396"/>
                <a:gd name="connsiteX1438" fmla="*/ 75377 w 235112"/>
                <a:gd name="connsiteY1438" fmla="*/ 1002740 h 1139396"/>
                <a:gd name="connsiteX1439" fmla="*/ 76390 w 235112"/>
                <a:gd name="connsiteY1439" fmla="*/ 1003573 h 1139396"/>
                <a:gd name="connsiteX1440" fmla="*/ 76406 w 235112"/>
                <a:gd name="connsiteY1440" fmla="*/ 1005594 h 1139396"/>
                <a:gd name="connsiteX1441" fmla="*/ 77554 w 235112"/>
                <a:gd name="connsiteY1441" fmla="*/ 1007467 h 1139396"/>
                <a:gd name="connsiteX1442" fmla="*/ 79114 w 235112"/>
                <a:gd name="connsiteY1442" fmla="*/ 1009002 h 1139396"/>
                <a:gd name="connsiteX1443" fmla="*/ 79549 w 235112"/>
                <a:gd name="connsiteY1443" fmla="*/ 1010870 h 1139396"/>
                <a:gd name="connsiteX1444" fmla="*/ 79230 w 235112"/>
                <a:gd name="connsiteY1444" fmla="*/ 1012709 h 1139396"/>
                <a:gd name="connsiteX1445" fmla="*/ 76437 w 235112"/>
                <a:gd name="connsiteY1445" fmla="*/ 1015299 h 1139396"/>
                <a:gd name="connsiteX1446" fmla="*/ 75919 w 235112"/>
                <a:gd name="connsiteY1446" fmla="*/ 1016200 h 1139396"/>
                <a:gd name="connsiteX1447" fmla="*/ 76856 w 235112"/>
                <a:gd name="connsiteY1447" fmla="*/ 1017151 h 1139396"/>
                <a:gd name="connsiteX1448" fmla="*/ 78011 w 235112"/>
                <a:gd name="connsiteY1448" fmla="*/ 1016706 h 1139396"/>
                <a:gd name="connsiteX1449" fmla="*/ 79604 w 235112"/>
                <a:gd name="connsiteY1449" fmla="*/ 1015425 h 1139396"/>
                <a:gd name="connsiteX1450" fmla="*/ 80511 w 235112"/>
                <a:gd name="connsiteY1450" fmla="*/ 1013666 h 1139396"/>
                <a:gd name="connsiteX1451" fmla="*/ 80754 w 235112"/>
                <a:gd name="connsiteY1451" fmla="*/ 1012753 h 1139396"/>
                <a:gd name="connsiteX1452" fmla="*/ 80855 w 235112"/>
                <a:gd name="connsiteY1452" fmla="*/ 1011448 h 1139396"/>
                <a:gd name="connsiteX1453" fmla="*/ 80735 w 235112"/>
                <a:gd name="connsiteY1453" fmla="*/ 1009857 h 1139396"/>
                <a:gd name="connsiteX1454" fmla="*/ 78466 w 235112"/>
                <a:gd name="connsiteY1454" fmla="*/ 1005331 h 1139396"/>
                <a:gd name="connsiteX1455" fmla="*/ 78183 w 235112"/>
                <a:gd name="connsiteY1455" fmla="*/ 1004312 h 1139396"/>
                <a:gd name="connsiteX1456" fmla="*/ 78186 w 235112"/>
                <a:gd name="connsiteY1456" fmla="*/ 1002263 h 1139396"/>
                <a:gd name="connsiteX1457" fmla="*/ 80767 w 235112"/>
                <a:gd name="connsiteY1457" fmla="*/ 1000380 h 1139396"/>
                <a:gd name="connsiteX1458" fmla="*/ 81495 w 235112"/>
                <a:gd name="connsiteY1458" fmla="*/ 998912 h 1139396"/>
                <a:gd name="connsiteX1459" fmla="*/ 81608 w 235112"/>
                <a:gd name="connsiteY1459" fmla="*/ 996075 h 1139396"/>
                <a:gd name="connsiteX1460" fmla="*/ 80268 w 235112"/>
                <a:gd name="connsiteY1460" fmla="*/ 994131 h 1139396"/>
                <a:gd name="connsiteX1461" fmla="*/ 74721 w 235112"/>
                <a:gd name="connsiteY1461" fmla="*/ 989644 h 1139396"/>
                <a:gd name="connsiteX1462" fmla="*/ 65453 w 235112"/>
                <a:gd name="connsiteY1462" fmla="*/ 985151 h 1139396"/>
                <a:gd name="connsiteX1463" fmla="*/ 64389 w 235112"/>
                <a:gd name="connsiteY1463" fmla="*/ 985622 h 1139396"/>
                <a:gd name="connsiteX1464" fmla="*/ 63671 w 235112"/>
                <a:gd name="connsiteY1464" fmla="*/ 986435 h 1139396"/>
                <a:gd name="connsiteX1465" fmla="*/ 64524 w 235112"/>
                <a:gd name="connsiteY1465" fmla="*/ 987026 h 1139396"/>
                <a:gd name="connsiteX1466" fmla="*/ 65751 w 235112"/>
                <a:gd name="connsiteY1466" fmla="*/ 987327 h 1139396"/>
                <a:gd name="connsiteX1467" fmla="*/ 74009 w 235112"/>
                <a:gd name="connsiteY1467" fmla="*/ 991028 h 1139396"/>
                <a:gd name="connsiteX1468" fmla="*/ 76158 w 235112"/>
                <a:gd name="connsiteY1468" fmla="*/ 993177 h 1139396"/>
                <a:gd name="connsiteX1469" fmla="*/ 77566 w 235112"/>
                <a:gd name="connsiteY1469" fmla="*/ 993754 h 1139396"/>
                <a:gd name="connsiteX1470" fmla="*/ 79233 w 235112"/>
                <a:gd name="connsiteY1470" fmla="*/ 995183 h 1139396"/>
                <a:gd name="connsiteX1471" fmla="*/ 78809 w 235112"/>
                <a:gd name="connsiteY1471" fmla="*/ 997273 h 1139396"/>
                <a:gd name="connsiteX1472" fmla="*/ 70484 w 235112"/>
                <a:gd name="connsiteY1472" fmla="*/ 999329 h 1139396"/>
                <a:gd name="connsiteX1473" fmla="*/ 63883 w 235112"/>
                <a:gd name="connsiteY1473" fmla="*/ 1003759 h 1139396"/>
                <a:gd name="connsiteX1474" fmla="*/ 58949 w 235112"/>
                <a:gd name="connsiteY1474" fmla="*/ 1006452 h 1139396"/>
                <a:gd name="connsiteX1475" fmla="*/ 55528 w 235112"/>
                <a:gd name="connsiteY1475" fmla="*/ 1005468 h 1139396"/>
                <a:gd name="connsiteX1476" fmla="*/ 53902 w 235112"/>
                <a:gd name="connsiteY1476" fmla="*/ 1002733 h 1139396"/>
                <a:gd name="connsiteX1477" fmla="*/ 52179 w 235112"/>
                <a:gd name="connsiteY1477" fmla="*/ 999207 h 1139396"/>
                <a:gd name="connsiteX1478" fmla="*/ 49583 w 235112"/>
                <a:gd name="connsiteY1478" fmla="*/ 997152 h 1139396"/>
                <a:gd name="connsiteX1479" fmla="*/ 48113 w 235112"/>
                <a:gd name="connsiteY1479" fmla="*/ 997343 h 1139396"/>
                <a:gd name="connsiteX1480" fmla="*/ 46922 w 235112"/>
                <a:gd name="connsiteY1480" fmla="*/ 996963 h 1139396"/>
                <a:gd name="connsiteX1481" fmla="*/ 45988 w 235112"/>
                <a:gd name="connsiteY1481" fmla="*/ 995877 h 1139396"/>
                <a:gd name="connsiteX1482" fmla="*/ 43989 w 235112"/>
                <a:gd name="connsiteY1482" fmla="*/ 996778 h 1139396"/>
                <a:gd name="connsiteX1483" fmla="*/ 39598 w 235112"/>
                <a:gd name="connsiteY1483" fmla="*/ 994332 h 1139396"/>
                <a:gd name="connsiteX1484" fmla="*/ 38324 w 235112"/>
                <a:gd name="connsiteY1484" fmla="*/ 993267 h 1139396"/>
                <a:gd name="connsiteX1485" fmla="*/ 41547 w 235112"/>
                <a:gd name="connsiteY1485" fmla="*/ 989829 h 1139396"/>
                <a:gd name="connsiteX1486" fmla="*/ 45091 w 235112"/>
                <a:gd name="connsiteY1486" fmla="*/ 991150 h 1139396"/>
                <a:gd name="connsiteX1487" fmla="*/ 45951 w 235112"/>
                <a:gd name="connsiteY1487" fmla="*/ 981500 h 1139396"/>
                <a:gd name="connsiteX1488" fmla="*/ 44846 w 235112"/>
                <a:gd name="connsiteY1488" fmla="*/ 979310 h 1139396"/>
                <a:gd name="connsiteX1489" fmla="*/ 40237 w 235112"/>
                <a:gd name="connsiteY1489" fmla="*/ 976929 h 1139396"/>
                <a:gd name="connsiteX1490" fmla="*/ 37973 w 235112"/>
                <a:gd name="connsiteY1490" fmla="*/ 977238 h 1139396"/>
                <a:gd name="connsiteX1491" fmla="*/ 34885 w 235112"/>
                <a:gd name="connsiteY1491" fmla="*/ 976916 h 1139396"/>
                <a:gd name="connsiteX1492" fmla="*/ 32805 w 235112"/>
                <a:gd name="connsiteY1492" fmla="*/ 975824 h 1139396"/>
                <a:gd name="connsiteX1493" fmla="*/ 30434 w 235112"/>
                <a:gd name="connsiteY1493" fmla="*/ 975392 h 1139396"/>
                <a:gd name="connsiteX1494" fmla="*/ 28430 w 235112"/>
                <a:gd name="connsiteY1494" fmla="*/ 974756 h 1139396"/>
                <a:gd name="connsiteX1495" fmla="*/ 25814 w 235112"/>
                <a:gd name="connsiteY1495" fmla="*/ 973276 h 1139396"/>
                <a:gd name="connsiteX1496" fmla="*/ 22652 w 235112"/>
                <a:gd name="connsiteY1496" fmla="*/ 972484 h 1139396"/>
                <a:gd name="connsiteX1497" fmla="*/ 18383 w 235112"/>
                <a:gd name="connsiteY1497" fmla="*/ 966395 h 1139396"/>
                <a:gd name="connsiteX1498" fmla="*/ 16551 w 235112"/>
                <a:gd name="connsiteY1498" fmla="*/ 963202 h 1139396"/>
                <a:gd name="connsiteX1499" fmla="*/ 15554 w 235112"/>
                <a:gd name="connsiteY1499" fmla="*/ 959720 h 1139396"/>
                <a:gd name="connsiteX1500" fmla="*/ 22097 w 235112"/>
                <a:gd name="connsiteY1500" fmla="*/ 959642 h 1139396"/>
                <a:gd name="connsiteX1501" fmla="*/ 25924 w 235112"/>
                <a:gd name="connsiteY1501" fmla="*/ 959077 h 1139396"/>
                <a:gd name="connsiteX1502" fmla="*/ 26857 w 235112"/>
                <a:gd name="connsiteY1502" fmla="*/ 957624 h 1139396"/>
                <a:gd name="connsiteX1503" fmla="*/ 25510 w 235112"/>
                <a:gd name="connsiteY1503" fmla="*/ 954855 h 1139396"/>
                <a:gd name="connsiteX1504" fmla="*/ 23637 w 235112"/>
                <a:gd name="connsiteY1504" fmla="*/ 952676 h 1139396"/>
                <a:gd name="connsiteX1505" fmla="*/ 25012 w 235112"/>
                <a:gd name="connsiteY1505" fmla="*/ 950633 h 1139396"/>
                <a:gd name="connsiteX1506" fmla="*/ 26969 w 235112"/>
                <a:gd name="connsiteY1506" fmla="*/ 949052 h 1139396"/>
                <a:gd name="connsiteX1507" fmla="*/ 29007 w 235112"/>
                <a:gd name="connsiteY1507" fmla="*/ 949752 h 1139396"/>
                <a:gd name="connsiteX1508" fmla="*/ 34041 w 235112"/>
                <a:gd name="connsiteY1508" fmla="*/ 953275 h 1139396"/>
                <a:gd name="connsiteX1509" fmla="*/ 34907 w 235112"/>
                <a:gd name="connsiteY1509" fmla="*/ 955662 h 1139396"/>
                <a:gd name="connsiteX1510" fmla="*/ 38488 w 235112"/>
                <a:gd name="connsiteY1510" fmla="*/ 962951 h 1139396"/>
                <a:gd name="connsiteX1511" fmla="*/ 39353 w 235112"/>
                <a:gd name="connsiteY1511" fmla="*/ 963600 h 1139396"/>
                <a:gd name="connsiteX1512" fmla="*/ 39776 w 235112"/>
                <a:gd name="connsiteY1512" fmla="*/ 964279 h 1139396"/>
                <a:gd name="connsiteX1513" fmla="*/ 47179 w 235112"/>
                <a:gd name="connsiteY1513" fmla="*/ 968368 h 1139396"/>
                <a:gd name="connsiteX1514" fmla="*/ 48217 w 235112"/>
                <a:gd name="connsiteY1514" fmla="*/ 968313 h 1139396"/>
                <a:gd name="connsiteX1515" fmla="*/ 47758 w 235112"/>
                <a:gd name="connsiteY1515" fmla="*/ 964882 h 1139396"/>
                <a:gd name="connsiteX1516" fmla="*/ 49889 w 235112"/>
                <a:gd name="connsiteY1516" fmla="*/ 960234 h 1139396"/>
                <a:gd name="connsiteX1517" fmla="*/ 51956 w 235112"/>
                <a:gd name="connsiteY1517" fmla="*/ 958700 h 1139396"/>
                <a:gd name="connsiteX1518" fmla="*/ 52993 w 235112"/>
                <a:gd name="connsiteY1518" fmla="*/ 958716 h 1139396"/>
                <a:gd name="connsiteX1519" fmla="*/ 53100 w 235112"/>
                <a:gd name="connsiteY1519" fmla="*/ 957941 h 1139396"/>
                <a:gd name="connsiteX1520" fmla="*/ 51088 w 235112"/>
                <a:gd name="connsiteY1520" fmla="*/ 956010 h 1139396"/>
                <a:gd name="connsiteX1521" fmla="*/ 52073 w 235112"/>
                <a:gd name="connsiteY1521" fmla="*/ 953434 h 1139396"/>
                <a:gd name="connsiteX1522" fmla="*/ 51427 w 235112"/>
                <a:gd name="connsiteY1522" fmla="*/ 953353 h 1139396"/>
                <a:gd name="connsiteX1523" fmla="*/ 49645 w 235112"/>
                <a:gd name="connsiteY1523" fmla="*/ 955005 h 1139396"/>
                <a:gd name="connsiteX1524" fmla="*/ 46062 w 235112"/>
                <a:gd name="connsiteY1524" fmla="*/ 963107 h 1139396"/>
                <a:gd name="connsiteX1525" fmla="*/ 43869 w 235112"/>
                <a:gd name="connsiteY1525" fmla="*/ 964588 h 1139396"/>
                <a:gd name="connsiteX1526" fmla="*/ 40858 w 235112"/>
                <a:gd name="connsiteY1526" fmla="*/ 960916 h 1139396"/>
                <a:gd name="connsiteX1527" fmla="*/ 39150 w 235112"/>
                <a:gd name="connsiteY1527" fmla="*/ 958272 h 1139396"/>
                <a:gd name="connsiteX1528" fmla="*/ 38310 w 235112"/>
                <a:gd name="connsiteY1528" fmla="*/ 957335 h 1139396"/>
                <a:gd name="connsiteX1529" fmla="*/ 38605 w 235112"/>
                <a:gd name="connsiteY1529" fmla="*/ 953190 h 1139396"/>
                <a:gd name="connsiteX1530" fmla="*/ 44570 w 235112"/>
                <a:gd name="connsiteY1530" fmla="*/ 954029 h 1139396"/>
                <a:gd name="connsiteX1531" fmla="*/ 42524 w 235112"/>
                <a:gd name="connsiteY1531" fmla="*/ 952673 h 1139396"/>
                <a:gd name="connsiteX1532" fmla="*/ 35563 w 235112"/>
                <a:gd name="connsiteY1532" fmla="*/ 950285 h 1139396"/>
                <a:gd name="connsiteX1533" fmla="*/ 33825 w 235112"/>
                <a:gd name="connsiteY1533" fmla="*/ 949119 h 1139396"/>
                <a:gd name="connsiteX1534" fmla="*/ 32532 w 235112"/>
                <a:gd name="connsiteY1534" fmla="*/ 948694 h 1139396"/>
                <a:gd name="connsiteX1535" fmla="*/ 30217 w 235112"/>
                <a:gd name="connsiteY1535" fmla="*/ 945885 h 1139396"/>
                <a:gd name="connsiteX1536" fmla="*/ 27347 w 235112"/>
                <a:gd name="connsiteY1536" fmla="*/ 943509 h 1139396"/>
                <a:gd name="connsiteX1537" fmla="*/ 32298 w 235112"/>
                <a:gd name="connsiteY1537" fmla="*/ 939239 h 1139396"/>
                <a:gd name="connsiteX1538" fmla="*/ 34849 w 235112"/>
                <a:gd name="connsiteY1538" fmla="*/ 936238 h 1139396"/>
                <a:gd name="connsiteX1539" fmla="*/ 42818 w 235112"/>
                <a:gd name="connsiteY1539" fmla="*/ 937832 h 1139396"/>
                <a:gd name="connsiteX1540" fmla="*/ 44361 w 235112"/>
                <a:gd name="connsiteY1540" fmla="*/ 936904 h 1139396"/>
                <a:gd name="connsiteX1541" fmla="*/ 43027 w 235112"/>
                <a:gd name="connsiteY1541" fmla="*/ 934714 h 1139396"/>
                <a:gd name="connsiteX1542" fmla="*/ 41452 w 235112"/>
                <a:gd name="connsiteY1542" fmla="*/ 935376 h 1139396"/>
                <a:gd name="connsiteX1543" fmla="*/ 38966 w 235112"/>
                <a:gd name="connsiteY1543" fmla="*/ 934014 h 1139396"/>
                <a:gd name="connsiteX1544" fmla="*/ 35097 w 235112"/>
                <a:gd name="connsiteY1544" fmla="*/ 929919 h 1139396"/>
                <a:gd name="connsiteX1545" fmla="*/ 35229 w 235112"/>
                <a:gd name="connsiteY1545" fmla="*/ 927829 h 1139396"/>
                <a:gd name="connsiteX1546" fmla="*/ 35937 w 235112"/>
                <a:gd name="connsiteY1546" fmla="*/ 924005 h 1139396"/>
                <a:gd name="connsiteX1547" fmla="*/ 37470 w 235112"/>
                <a:gd name="connsiteY1547" fmla="*/ 923187 h 1139396"/>
                <a:gd name="connsiteX1548" fmla="*/ 40724 w 235112"/>
                <a:gd name="connsiteY1548" fmla="*/ 922400 h 1139396"/>
                <a:gd name="connsiteX1549" fmla="*/ 44439 w 235112"/>
                <a:gd name="connsiteY1549" fmla="*/ 923641 h 1139396"/>
                <a:gd name="connsiteX1550" fmla="*/ 46061 w 235112"/>
                <a:gd name="connsiteY1550" fmla="*/ 924652 h 1139396"/>
                <a:gd name="connsiteX1551" fmla="*/ 47460 w 235112"/>
                <a:gd name="connsiteY1551" fmla="*/ 924179 h 1139396"/>
                <a:gd name="connsiteX1552" fmla="*/ 46037 w 235112"/>
                <a:gd name="connsiteY1552" fmla="*/ 921348 h 1139396"/>
                <a:gd name="connsiteX1553" fmla="*/ 43614 w 235112"/>
                <a:gd name="connsiteY1553" fmla="*/ 920278 h 1139396"/>
                <a:gd name="connsiteX1554" fmla="*/ 40916 w 235112"/>
                <a:gd name="connsiteY1554" fmla="*/ 918264 h 1139396"/>
                <a:gd name="connsiteX1555" fmla="*/ 41194 w 235112"/>
                <a:gd name="connsiteY1555" fmla="*/ 916033 h 1139396"/>
                <a:gd name="connsiteX1556" fmla="*/ 42064 w 235112"/>
                <a:gd name="connsiteY1556" fmla="*/ 914189 h 1139396"/>
                <a:gd name="connsiteX1557" fmla="*/ 42717 w 235112"/>
                <a:gd name="connsiteY1557" fmla="*/ 912170 h 1139396"/>
                <a:gd name="connsiteX1558" fmla="*/ 43169 w 235112"/>
                <a:gd name="connsiteY1558" fmla="*/ 909345 h 1139396"/>
                <a:gd name="connsiteX1559" fmla="*/ 42921 w 235112"/>
                <a:gd name="connsiteY1559" fmla="*/ 907147 h 1139396"/>
                <a:gd name="connsiteX1560" fmla="*/ 43698 w 235112"/>
                <a:gd name="connsiteY1560" fmla="*/ 906132 h 1139396"/>
                <a:gd name="connsiteX1561" fmla="*/ 44886 w 235112"/>
                <a:gd name="connsiteY1561" fmla="*/ 905678 h 1139396"/>
                <a:gd name="connsiteX1562" fmla="*/ 44960 w 235112"/>
                <a:gd name="connsiteY1562" fmla="*/ 904854 h 1139396"/>
                <a:gd name="connsiteX1563" fmla="*/ 42608 w 235112"/>
                <a:gd name="connsiteY1563" fmla="*/ 905027 h 1139396"/>
                <a:gd name="connsiteX1564" fmla="*/ 41756 w 235112"/>
                <a:gd name="connsiteY1564" fmla="*/ 907805 h 1139396"/>
                <a:gd name="connsiteX1565" fmla="*/ 41438 w 235112"/>
                <a:gd name="connsiteY1565" fmla="*/ 910341 h 1139396"/>
                <a:gd name="connsiteX1566" fmla="*/ 39767 w 235112"/>
                <a:gd name="connsiteY1566" fmla="*/ 912377 h 1139396"/>
                <a:gd name="connsiteX1567" fmla="*/ 39055 w 235112"/>
                <a:gd name="connsiteY1567" fmla="*/ 914676 h 1139396"/>
                <a:gd name="connsiteX1568" fmla="*/ 38632 w 235112"/>
                <a:gd name="connsiteY1568" fmla="*/ 917433 h 1139396"/>
                <a:gd name="connsiteX1569" fmla="*/ 37700 w 235112"/>
                <a:gd name="connsiteY1569" fmla="*/ 920596 h 1139396"/>
                <a:gd name="connsiteX1570" fmla="*/ 35666 w 235112"/>
                <a:gd name="connsiteY1570" fmla="*/ 919392 h 1139396"/>
                <a:gd name="connsiteX1571" fmla="*/ 34474 w 235112"/>
                <a:gd name="connsiteY1571" fmla="*/ 918152 h 1139396"/>
                <a:gd name="connsiteX1572" fmla="*/ 34017 w 235112"/>
                <a:gd name="connsiteY1572" fmla="*/ 917305 h 1139396"/>
                <a:gd name="connsiteX1573" fmla="*/ 34229 w 235112"/>
                <a:gd name="connsiteY1573" fmla="*/ 915690 h 1139396"/>
                <a:gd name="connsiteX1574" fmla="*/ 33677 w 235112"/>
                <a:gd name="connsiteY1574" fmla="*/ 905735 h 1139396"/>
                <a:gd name="connsiteX1575" fmla="*/ 33622 w 235112"/>
                <a:gd name="connsiteY1575" fmla="*/ 897426 h 1139396"/>
                <a:gd name="connsiteX1576" fmla="*/ 34664 w 235112"/>
                <a:gd name="connsiteY1576" fmla="*/ 890971 h 1139396"/>
                <a:gd name="connsiteX1577" fmla="*/ 37538 w 235112"/>
                <a:gd name="connsiteY1577" fmla="*/ 888409 h 1139396"/>
                <a:gd name="connsiteX1578" fmla="*/ 38843 w 235112"/>
                <a:gd name="connsiteY1578" fmla="*/ 887665 h 1139396"/>
                <a:gd name="connsiteX1579" fmla="*/ 40033 w 235112"/>
                <a:gd name="connsiteY1579" fmla="*/ 887992 h 1139396"/>
                <a:gd name="connsiteX1580" fmla="*/ 41868 w 235112"/>
                <a:gd name="connsiteY1580" fmla="*/ 887974 h 1139396"/>
                <a:gd name="connsiteX1581" fmla="*/ 43081 w 235112"/>
                <a:gd name="connsiteY1581" fmla="*/ 887043 h 1139396"/>
                <a:gd name="connsiteX1582" fmla="*/ 38962 w 235112"/>
                <a:gd name="connsiteY1582" fmla="*/ 885496 h 1139396"/>
                <a:gd name="connsiteX1583" fmla="*/ 36463 w 235112"/>
                <a:gd name="connsiteY1583" fmla="*/ 886379 h 1139396"/>
                <a:gd name="connsiteX1584" fmla="*/ 34615 w 235112"/>
                <a:gd name="connsiteY1584" fmla="*/ 887615 h 1139396"/>
                <a:gd name="connsiteX1585" fmla="*/ 31282 w 235112"/>
                <a:gd name="connsiteY1585" fmla="*/ 886684 h 1139396"/>
                <a:gd name="connsiteX1586" fmla="*/ 30648 w 235112"/>
                <a:gd name="connsiteY1586" fmla="*/ 883379 h 1139396"/>
                <a:gd name="connsiteX1587" fmla="*/ 28676 w 235112"/>
                <a:gd name="connsiteY1587" fmla="*/ 880526 h 1139396"/>
                <a:gd name="connsiteX1588" fmla="*/ 28333 w 235112"/>
                <a:gd name="connsiteY1588" fmla="*/ 876877 h 1139396"/>
                <a:gd name="connsiteX1589" fmla="*/ 28485 w 235112"/>
                <a:gd name="connsiteY1589" fmla="*/ 871602 h 1139396"/>
                <a:gd name="connsiteX1590" fmla="*/ 33156 w 235112"/>
                <a:gd name="connsiteY1590" fmla="*/ 872057 h 1139396"/>
                <a:gd name="connsiteX1591" fmla="*/ 36961 w 235112"/>
                <a:gd name="connsiteY1591" fmla="*/ 873087 h 1139396"/>
                <a:gd name="connsiteX1592" fmla="*/ 47018 w 235112"/>
                <a:gd name="connsiteY1592" fmla="*/ 872999 h 1139396"/>
                <a:gd name="connsiteX1593" fmla="*/ 55275 w 235112"/>
                <a:gd name="connsiteY1593" fmla="*/ 878055 h 1139396"/>
                <a:gd name="connsiteX1594" fmla="*/ 58918 w 235112"/>
                <a:gd name="connsiteY1594" fmla="*/ 877377 h 1139396"/>
                <a:gd name="connsiteX1595" fmla="*/ 58752 w 235112"/>
                <a:gd name="connsiteY1595" fmla="*/ 876358 h 1139396"/>
                <a:gd name="connsiteX1596" fmla="*/ 55964 w 235112"/>
                <a:gd name="connsiteY1596" fmla="*/ 875086 h 1139396"/>
                <a:gd name="connsiteX1597" fmla="*/ 54225 w 235112"/>
                <a:gd name="connsiteY1597" fmla="*/ 872259 h 1139396"/>
                <a:gd name="connsiteX1598" fmla="*/ 53203 w 235112"/>
                <a:gd name="connsiteY1598" fmla="*/ 871438 h 1139396"/>
                <a:gd name="connsiteX1599" fmla="*/ 52720 w 235112"/>
                <a:gd name="connsiteY1599" fmla="*/ 869741 h 1139396"/>
                <a:gd name="connsiteX1600" fmla="*/ 52563 w 235112"/>
                <a:gd name="connsiteY1600" fmla="*/ 867765 h 1139396"/>
                <a:gd name="connsiteX1601" fmla="*/ 50516 w 235112"/>
                <a:gd name="connsiteY1601" fmla="*/ 860508 h 1139396"/>
                <a:gd name="connsiteX1602" fmla="*/ 49695 w 235112"/>
                <a:gd name="connsiteY1602" fmla="*/ 860696 h 1139396"/>
                <a:gd name="connsiteX1603" fmla="*/ 48908 w 235112"/>
                <a:gd name="connsiteY1603" fmla="*/ 863184 h 1139396"/>
                <a:gd name="connsiteX1604" fmla="*/ 47199 w 235112"/>
                <a:gd name="connsiteY1604" fmla="*/ 867333 h 1139396"/>
                <a:gd name="connsiteX1605" fmla="*/ 44810 w 235112"/>
                <a:gd name="connsiteY1605" fmla="*/ 869350 h 1139396"/>
                <a:gd name="connsiteX1606" fmla="*/ 41162 w 235112"/>
                <a:gd name="connsiteY1606" fmla="*/ 870168 h 1139396"/>
                <a:gd name="connsiteX1607" fmla="*/ 37554 w 235112"/>
                <a:gd name="connsiteY1607" fmla="*/ 870629 h 1139396"/>
                <a:gd name="connsiteX1608" fmla="*/ 34422 w 235112"/>
                <a:gd name="connsiteY1608" fmla="*/ 869833 h 1139396"/>
                <a:gd name="connsiteX1609" fmla="*/ 33693 w 235112"/>
                <a:gd name="connsiteY1609" fmla="*/ 868116 h 1139396"/>
                <a:gd name="connsiteX1610" fmla="*/ 33772 w 235112"/>
                <a:gd name="connsiteY1610" fmla="*/ 866128 h 1139396"/>
                <a:gd name="connsiteX1611" fmla="*/ 32416 w 235112"/>
                <a:gd name="connsiteY1611" fmla="*/ 865157 h 1139396"/>
                <a:gd name="connsiteX1612" fmla="*/ 28878 w 235112"/>
                <a:gd name="connsiteY1612" fmla="*/ 864296 h 1139396"/>
                <a:gd name="connsiteX1613" fmla="*/ 27872 w 235112"/>
                <a:gd name="connsiteY1613" fmla="*/ 863815 h 1139396"/>
                <a:gd name="connsiteX1614" fmla="*/ 26705 w 235112"/>
                <a:gd name="connsiteY1614" fmla="*/ 862016 h 1139396"/>
                <a:gd name="connsiteX1615" fmla="*/ 28391 w 235112"/>
                <a:gd name="connsiteY1615" fmla="*/ 859299 h 1139396"/>
                <a:gd name="connsiteX1616" fmla="*/ 29777 w 235112"/>
                <a:gd name="connsiteY1616" fmla="*/ 857679 h 1139396"/>
                <a:gd name="connsiteX1617" fmla="*/ 31473 w 235112"/>
                <a:gd name="connsiteY1617" fmla="*/ 858000 h 1139396"/>
                <a:gd name="connsiteX1618" fmla="*/ 33078 w 235112"/>
                <a:gd name="connsiteY1618" fmla="*/ 858733 h 1139396"/>
                <a:gd name="connsiteX1619" fmla="*/ 35132 w 235112"/>
                <a:gd name="connsiteY1619" fmla="*/ 860870 h 1139396"/>
                <a:gd name="connsiteX1620" fmla="*/ 37150 w 235112"/>
                <a:gd name="connsiteY1620" fmla="*/ 861276 h 1139396"/>
                <a:gd name="connsiteX1621" fmla="*/ 39458 w 235112"/>
                <a:gd name="connsiteY1621" fmla="*/ 859579 h 1139396"/>
                <a:gd name="connsiteX1622" fmla="*/ 39911 w 235112"/>
                <a:gd name="connsiteY1622" fmla="*/ 858424 h 1139396"/>
                <a:gd name="connsiteX1623" fmla="*/ 38468 w 235112"/>
                <a:gd name="connsiteY1623" fmla="*/ 857702 h 1139396"/>
                <a:gd name="connsiteX1624" fmla="*/ 37151 w 235112"/>
                <a:gd name="connsiteY1624" fmla="*/ 857421 h 1139396"/>
                <a:gd name="connsiteX1625" fmla="*/ 35103 w 235112"/>
                <a:gd name="connsiteY1625" fmla="*/ 856513 h 1139396"/>
                <a:gd name="connsiteX1626" fmla="*/ 31072 w 235112"/>
                <a:gd name="connsiteY1626" fmla="*/ 853264 h 1139396"/>
                <a:gd name="connsiteX1627" fmla="*/ 33086 w 235112"/>
                <a:gd name="connsiteY1627" fmla="*/ 849957 h 1139396"/>
                <a:gd name="connsiteX1628" fmla="*/ 37843 w 235112"/>
                <a:gd name="connsiteY1628" fmla="*/ 846170 h 1139396"/>
                <a:gd name="connsiteX1629" fmla="*/ 39294 w 235112"/>
                <a:gd name="connsiteY1629" fmla="*/ 845302 h 1139396"/>
                <a:gd name="connsiteX1630" fmla="*/ 38035 w 235112"/>
                <a:gd name="connsiteY1630" fmla="*/ 842115 h 1139396"/>
                <a:gd name="connsiteX1631" fmla="*/ 39459 w 235112"/>
                <a:gd name="connsiteY1631" fmla="*/ 838636 h 1139396"/>
                <a:gd name="connsiteX1632" fmla="*/ 38000 w 235112"/>
                <a:gd name="connsiteY1632" fmla="*/ 835770 h 1139396"/>
                <a:gd name="connsiteX1633" fmla="*/ 35360 w 235112"/>
                <a:gd name="connsiteY1633" fmla="*/ 832684 h 1139396"/>
                <a:gd name="connsiteX1634" fmla="*/ 31795 w 235112"/>
                <a:gd name="connsiteY1634" fmla="*/ 832001 h 1139396"/>
                <a:gd name="connsiteX1635" fmla="*/ 31028 w 235112"/>
                <a:gd name="connsiteY1635" fmla="*/ 832903 h 1139396"/>
                <a:gd name="connsiteX1636" fmla="*/ 30903 w 235112"/>
                <a:gd name="connsiteY1636" fmla="*/ 834165 h 1139396"/>
                <a:gd name="connsiteX1637" fmla="*/ 31469 w 235112"/>
                <a:gd name="connsiteY1637" fmla="*/ 835117 h 1139396"/>
                <a:gd name="connsiteX1638" fmla="*/ 31135 w 235112"/>
                <a:gd name="connsiteY1638" fmla="*/ 835804 h 1139396"/>
                <a:gd name="connsiteX1639" fmla="*/ 30322 w 235112"/>
                <a:gd name="connsiteY1639" fmla="*/ 835782 h 1139396"/>
                <a:gd name="connsiteX1640" fmla="*/ 25794 w 235112"/>
                <a:gd name="connsiteY1640" fmla="*/ 835104 h 1139396"/>
                <a:gd name="connsiteX1641" fmla="*/ 22756 w 235112"/>
                <a:gd name="connsiteY1641" fmla="*/ 833052 h 1139396"/>
                <a:gd name="connsiteX1642" fmla="*/ 17804 w 235112"/>
                <a:gd name="connsiteY1642" fmla="*/ 831182 h 1139396"/>
                <a:gd name="connsiteX1643" fmla="*/ 17157 w 235112"/>
                <a:gd name="connsiteY1643" fmla="*/ 829721 h 1139396"/>
                <a:gd name="connsiteX1644" fmla="*/ 16623 w 235112"/>
                <a:gd name="connsiteY1644" fmla="*/ 827574 h 1139396"/>
                <a:gd name="connsiteX1645" fmla="*/ 18356 w 235112"/>
                <a:gd name="connsiteY1645" fmla="*/ 823882 h 1139396"/>
                <a:gd name="connsiteX1646" fmla="*/ 17479 w 235112"/>
                <a:gd name="connsiteY1646" fmla="*/ 823832 h 1139396"/>
                <a:gd name="connsiteX1647" fmla="*/ 14259 w 235112"/>
                <a:gd name="connsiteY1647" fmla="*/ 826684 h 1139396"/>
                <a:gd name="connsiteX1648" fmla="*/ 9399 w 235112"/>
                <a:gd name="connsiteY1648" fmla="*/ 828182 h 1139396"/>
                <a:gd name="connsiteX1649" fmla="*/ 5824 w 235112"/>
                <a:gd name="connsiteY1649" fmla="*/ 828670 h 1139396"/>
                <a:gd name="connsiteX1650" fmla="*/ 4254 w 235112"/>
                <a:gd name="connsiteY1650" fmla="*/ 829830 h 1139396"/>
                <a:gd name="connsiteX1651" fmla="*/ 3626 w 235112"/>
                <a:gd name="connsiteY1651" fmla="*/ 830786 h 1139396"/>
                <a:gd name="connsiteX1652" fmla="*/ 4577 w 235112"/>
                <a:gd name="connsiteY1652" fmla="*/ 831350 h 1139396"/>
                <a:gd name="connsiteX1653" fmla="*/ 6646 w 235112"/>
                <a:gd name="connsiteY1653" fmla="*/ 831490 h 1139396"/>
                <a:gd name="connsiteX1654" fmla="*/ 8156 w 235112"/>
                <a:gd name="connsiteY1654" fmla="*/ 835064 h 1139396"/>
                <a:gd name="connsiteX1655" fmla="*/ 7781 w 235112"/>
                <a:gd name="connsiteY1655" fmla="*/ 836437 h 1139396"/>
                <a:gd name="connsiteX1656" fmla="*/ 7042 w 235112"/>
                <a:gd name="connsiteY1656" fmla="*/ 837362 h 1139396"/>
                <a:gd name="connsiteX1657" fmla="*/ 5362 w 235112"/>
                <a:gd name="connsiteY1657" fmla="*/ 837540 h 1139396"/>
                <a:gd name="connsiteX1658" fmla="*/ 1847 w 235112"/>
                <a:gd name="connsiteY1658" fmla="*/ 835068 h 1139396"/>
                <a:gd name="connsiteX1659" fmla="*/ 0 w 235112"/>
                <a:gd name="connsiteY1659" fmla="*/ 832263 h 1139396"/>
                <a:gd name="connsiteX1660" fmla="*/ 43 w 235112"/>
                <a:gd name="connsiteY1660" fmla="*/ 830037 h 1139396"/>
                <a:gd name="connsiteX1661" fmla="*/ 1301 w 235112"/>
                <a:gd name="connsiteY1661" fmla="*/ 827011 h 1139396"/>
                <a:gd name="connsiteX1662" fmla="*/ 6877 w 235112"/>
                <a:gd name="connsiteY1662" fmla="*/ 822955 h 1139396"/>
                <a:gd name="connsiteX1663" fmla="*/ 8420 w 235112"/>
                <a:gd name="connsiteY1663" fmla="*/ 821239 h 1139396"/>
                <a:gd name="connsiteX1664" fmla="*/ 11691 w 235112"/>
                <a:gd name="connsiteY1664" fmla="*/ 819339 h 1139396"/>
                <a:gd name="connsiteX1665" fmla="*/ 16057 w 235112"/>
                <a:gd name="connsiteY1665" fmla="*/ 815059 h 1139396"/>
                <a:gd name="connsiteX1666" fmla="*/ 19870 w 235112"/>
                <a:gd name="connsiteY1666" fmla="*/ 812682 h 1139396"/>
                <a:gd name="connsiteX1667" fmla="*/ 18014 w 235112"/>
                <a:gd name="connsiteY1667" fmla="*/ 810715 h 1139396"/>
                <a:gd name="connsiteX1668" fmla="*/ 16065 w 235112"/>
                <a:gd name="connsiteY1668" fmla="*/ 807763 h 1139396"/>
                <a:gd name="connsiteX1669" fmla="*/ 16264 w 235112"/>
                <a:gd name="connsiteY1669" fmla="*/ 803663 h 1139396"/>
                <a:gd name="connsiteX1670" fmla="*/ 23960 w 235112"/>
                <a:gd name="connsiteY1670" fmla="*/ 802041 h 1139396"/>
                <a:gd name="connsiteX1671" fmla="*/ 27319 w 235112"/>
                <a:gd name="connsiteY1671" fmla="*/ 802709 h 1139396"/>
                <a:gd name="connsiteX1672" fmla="*/ 31576 w 235112"/>
                <a:gd name="connsiteY1672" fmla="*/ 802581 h 1139396"/>
                <a:gd name="connsiteX1673" fmla="*/ 33951 w 235112"/>
                <a:gd name="connsiteY1673" fmla="*/ 801601 h 1139396"/>
                <a:gd name="connsiteX1674" fmla="*/ 35674 w 235112"/>
                <a:gd name="connsiteY1674" fmla="*/ 801390 h 1139396"/>
                <a:gd name="connsiteX1675" fmla="*/ 39308 w 235112"/>
                <a:gd name="connsiteY1675" fmla="*/ 800258 h 1139396"/>
                <a:gd name="connsiteX1676" fmla="*/ 40872 w 235112"/>
                <a:gd name="connsiteY1676" fmla="*/ 798666 h 1139396"/>
                <a:gd name="connsiteX1677" fmla="*/ 41236 w 235112"/>
                <a:gd name="connsiteY1677" fmla="*/ 797452 h 1139396"/>
                <a:gd name="connsiteX1678" fmla="*/ 41219 w 235112"/>
                <a:gd name="connsiteY1678" fmla="*/ 796392 h 1139396"/>
                <a:gd name="connsiteX1679" fmla="*/ 40794 w 235112"/>
                <a:gd name="connsiteY1679" fmla="*/ 795089 h 1139396"/>
                <a:gd name="connsiteX1680" fmla="*/ 40200 w 235112"/>
                <a:gd name="connsiteY1680" fmla="*/ 791709 h 1139396"/>
                <a:gd name="connsiteX1681" fmla="*/ 40802 w 235112"/>
                <a:gd name="connsiteY1681" fmla="*/ 790580 h 1139396"/>
                <a:gd name="connsiteX1682" fmla="*/ 42360 w 235112"/>
                <a:gd name="connsiteY1682" fmla="*/ 789237 h 1139396"/>
                <a:gd name="connsiteX1683" fmla="*/ 44397 w 235112"/>
                <a:gd name="connsiteY1683" fmla="*/ 788818 h 1139396"/>
                <a:gd name="connsiteX1684" fmla="*/ 45332 w 235112"/>
                <a:gd name="connsiteY1684" fmla="*/ 788923 h 1139396"/>
                <a:gd name="connsiteX1685" fmla="*/ 47748 w 235112"/>
                <a:gd name="connsiteY1685" fmla="*/ 790157 h 1139396"/>
                <a:gd name="connsiteX1686" fmla="*/ 47263 w 235112"/>
                <a:gd name="connsiteY1686" fmla="*/ 791905 h 1139396"/>
                <a:gd name="connsiteX1687" fmla="*/ 46295 w 235112"/>
                <a:gd name="connsiteY1687" fmla="*/ 794014 h 1139396"/>
                <a:gd name="connsiteX1688" fmla="*/ 44319 w 235112"/>
                <a:gd name="connsiteY1688" fmla="*/ 802409 h 1139396"/>
                <a:gd name="connsiteX1689" fmla="*/ 43324 w 235112"/>
                <a:gd name="connsiteY1689" fmla="*/ 804308 h 1139396"/>
                <a:gd name="connsiteX1690" fmla="*/ 41763 w 235112"/>
                <a:gd name="connsiteY1690" fmla="*/ 805955 h 1139396"/>
                <a:gd name="connsiteX1691" fmla="*/ 42806 w 235112"/>
                <a:gd name="connsiteY1691" fmla="*/ 809390 h 1139396"/>
                <a:gd name="connsiteX1692" fmla="*/ 41244 w 235112"/>
                <a:gd name="connsiteY1692" fmla="*/ 811799 h 1139396"/>
                <a:gd name="connsiteX1693" fmla="*/ 34264 w 235112"/>
                <a:gd name="connsiteY1693" fmla="*/ 814364 h 1139396"/>
                <a:gd name="connsiteX1694" fmla="*/ 33347 w 235112"/>
                <a:gd name="connsiteY1694" fmla="*/ 814513 h 1139396"/>
                <a:gd name="connsiteX1695" fmla="*/ 33867 w 235112"/>
                <a:gd name="connsiteY1695" fmla="*/ 815430 h 1139396"/>
                <a:gd name="connsiteX1696" fmla="*/ 37907 w 235112"/>
                <a:gd name="connsiteY1696" fmla="*/ 815213 h 1139396"/>
                <a:gd name="connsiteX1697" fmla="*/ 41035 w 235112"/>
                <a:gd name="connsiteY1697" fmla="*/ 814671 h 1139396"/>
                <a:gd name="connsiteX1698" fmla="*/ 44134 w 235112"/>
                <a:gd name="connsiteY1698" fmla="*/ 812505 h 1139396"/>
                <a:gd name="connsiteX1699" fmla="*/ 45106 w 235112"/>
                <a:gd name="connsiteY1699" fmla="*/ 809202 h 1139396"/>
                <a:gd name="connsiteX1700" fmla="*/ 46387 w 235112"/>
                <a:gd name="connsiteY1700" fmla="*/ 802776 h 1139396"/>
                <a:gd name="connsiteX1701" fmla="*/ 48064 w 235112"/>
                <a:gd name="connsiteY1701" fmla="*/ 801869 h 1139396"/>
                <a:gd name="connsiteX1702" fmla="*/ 50024 w 235112"/>
                <a:gd name="connsiteY1702" fmla="*/ 801665 h 1139396"/>
                <a:gd name="connsiteX1703" fmla="*/ 51048 w 235112"/>
                <a:gd name="connsiteY1703" fmla="*/ 803178 h 1139396"/>
                <a:gd name="connsiteX1704" fmla="*/ 50717 w 235112"/>
                <a:gd name="connsiteY1704" fmla="*/ 806567 h 1139396"/>
                <a:gd name="connsiteX1705" fmla="*/ 50711 w 235112"/>
                <a:gd name="connsiteY1705" fmla="*/ 809849 h 1139396"/>
                <a:gd name="connsiteX1706" fmla="*/ 48113 w 235112"/>
                <a:gd name="connsiteY1706" fmla="*/ 819594 h 1139396"/>
                <a:gd name="connsiteX1707" fmla="*/ 44964 w 235112"/>
                <a:gd name="connsiteY1707" fmla="*/ 823518 h 1139396"/>
                <a:gd name="connsiteX1708" fmla="*/ 44614 w 235112"/>
                <a:gd name="connsiteY1708" fmla="*/ 824550 h 1139396"/>
                <a:gd name="connsiteX1709" fmla="*/ 44738 w 235112"/>
                <a:gd name="connsiteY1709" fmla="*/ 825776 h 1139396"/>
                <a:gd name="connsiteX1710" fmla="*/ 47232 w 235112"/>
                <a:gd name="connsiteY1710" fmla="*/ 825598 h 1139396"/>
                <a:gd name="connsiteX1711" fmla="*/ 49137 w 235112"/>
                <a:gd name="connsiteY1711" fmla="*/ 823489 h 1139396"/>
                <a:gd name="connsiteX1712" fmla="*/ 50507 w 235112"/>
                <a:gd name="connsiteY1712" fmla="*/ 820799 h 1139396"/>
                <a:gd name="connsiteX1713" fmla="*/ 51880 w 235112"/>
                <a:gd name="connsiteY1713" fmla="*/ 817055 h 1139396"/>
                <a:gd name="connsiteX1714" fmla="*/ 51724 w 235112"/>
                <a:gd name="connsiteY1714" fmla="*/ 814345 h 1139396"/>
                <a:gd name="connsiteX1715" fmla="*/ 52143 w 235112"/>
                <a:gd name="connsiteY1715" fmla="*/ 812669 h 1139396"/>
                <a:gd name="connsiteX1716" fmla="*/ 52708 w 235112"/>
                <a:gd name="connsiteY1716" fmla="*/ 807194 h 1139396"/>
                <a:gd name="connsiteX1717" fmla="*/ 53660 w 235112"/>
                <a:gd name="connsiteY1717" fmla="*/ 804429 h 1139396"/>
                <a:gd name="connsiteX1718" fmla="*/ 53597 w 235112"/>
                <a:gd name="connsiteY1718" fmla="*/ 800563 h 1139396"/>
                <a:gd name="connsiteX1719" fmla="*/ 51882 w 235112"/>
                <a:gd name="connsiteY1719" fmla="*/ 799108 h 1139396"/>
                <a:gd name="connsiteX1720" fmla="*/ 49483 w 235112"/>
                <a:gd name="connsiteY1720" fmla="*/ 798226 h 1139396"/>
                <a:gd name="connsiteX1721" fmla="*/ 48880 w 235112"/>
                <a:gd name="connsiteY1721" fmla="*/ 795861 h 1139396"/>
                <a:gd name="connsiteX1722" fmla="*/ 50138 w 235112"/>
                <a:gd name="connsiteY1722" fmla="*/ 791199 h 1139396"/>
                <a:gd name="connsiteX1723" fmla="*/ 54723 w 235112"/>
                <a:gd name="connsiteY1723" fmla="*/ 791318 h 1139396"/>
                <a:gd name="connsiteX1724" fmla="*/ 59068 w 235112"/>
                <a:gd name="connsiteY1724" fmla="*/ 788139 h 1139396"/>
                <a:gd name="connsiteX1725" fmla="*/ 61917 w 235112"/>
                <a:gd name="connsiteY1725" fmla="*/ 786988 h 1139396"/>
                <a:gd name="connsiteX1726" fmla="*/ 63537 w 235112"/>
                <a:gd name="connsiteY1726" fmla="*/ 787227 h 1139396"/>
                <a:gd name="connsiteX1727" fmla="*/ 69220 w 235112"/>
                <a:gd name="connsiteY1727" fmla="*/ 790291 h 1139396"/>
                <a:gd name="connsiteX1728" fmla="*/ 70345 w 235112"/>
                <a:gd name="connsiteY1728" fmla="*/ 790329 h 1139396"/>
                <a:gd name="connsiteX1729" fmla="*/ 70169 w 235112"/>
                <a:gd name="connsiteY1729" fmla="*/ 789224 h 1139396"/>
                <a:gd name="connsiteX1730" fmla="*/ 69288 w 235112"/>
                <a:gd name="connsiteY1730" fmla="*/ 788447 h 1139396"/>
                <a:gd name="connsiteX1731" fmla="*/ 67048 w 235112"/>
                <a:gd name="connsiteY1731" fmla="*/ 787415 h 1139396"/>
                <a:gd name="connsiteX1732" fmla="*/ 62928 w 235112"/>
                <a:gd name="connsiteY1732" fmla="*/ 784126 h 1139396"/>
                <a:gd name="connsiteX1733" fmla="*/ 57385 w 235112"/>
                <a:gd name="connsiteY1733" fmla="*/ 783592 h 1139396"/>
                <a:gd name="connsiteX1734" fmla="*/ 58401 w 235112"/>
                <a:gd name="connsiteY1734" fmla="*/ 779327 h 1139396"/>
                <a:gd name="connsiteX1735" fmla="*/ 59478 w 235112"/>
                <a:gd name="connsiteY1735" fmla="*/ 775435 h 1139396"/>
                <a:gd name="connsiteX1736" fmla="*/ 62165 w 235112"/>
                <a:gd name="connsiteY1736" fmla="*/ 774897 h 1139396"/>
                <a:gd name="connsiteX1737" fmla="*/ 66679 w 235112"/>
                <a:gd name="connsiteY1737" fmla="*/ 773619 h 1139396"/>
                <a:gd name="connsiteX1738" fmla="*/ 75286 w 235112"/>
                <a:gd name="connsiteY1738" fmla="*/ 767798 h 1139396"/>
                <a:gd name="connsiteX1739" fmla="*/ 76779 w 235112"/>
                <a:gd name="connsiteY1739" fmla="*/ 763417 h 1139396"/>
                <a:gd name="connsiteX1740" fmla="*/ 77191 w 235112"/>
                <a:gd name="connsiteY1740" fmla="*/ 758505 h 1139396"/>
                <a:gd name="connsiteX1741" fmla="*/ 73040 w 235112"/>
                <a:gd name="connsiteY1741" fmla="*/ 757226 h 1139396"/>
                <a:gd name="connsiteX1742" fmla="*/ 68641 w 235112"/>
                <a:gd name="connsiteY1742" fmla="*/ 754019 h 1139396"/>
                <a:gd name="connsiteX1743" fmla="*/ 65093 w 235112"/>
                <a:gd name="connsiteY1743" fmla="*/ 752310 h 1139396"/>
                <a:gd name="connsiteX1744" fmla="*/ 61946 w 235112"/>
                <a:gd name="connsiteY1744" fmla="*/ 750170 h 1139396"/>
                <a:gd name="connsiteX1745" fmla="*/ 62564 w 235112"/>
                <a:gd name="connsiteY1745" fmla="*/ 746972 h 1139396"/>
                <a:gd name="connsiteX1746" fmla="*/ 62976 w 235112"/>
                <a:gd name="connsiteY1746" fmla="*/ 741767 h 1139396"/>
                <a:gd name="connsiteX1747" fmla="*/ 66923 w 235112"/>
                <a:gd name="connsiteY1747" fmla="*/ 740654 h 1139396"/>
                <a:gd name="connsiteX1748" fmla="*/ 68755 w 235112"/>
                <a:gd name="connsiteY1748" fmla="*/ 733520 h 1139396"/>
                <a:gd name="connsiteX1749" fmla="*/ 66107 w 235112"/>
                <a:gd name="connsiteY1749" fmla="*/ 728072 h 1139396"/>
                <a:gd name="connsiteX1750" fmla="*/ 66741 w 235112"/>
                <a:gd name="connsiteY1750" fmla="*/ 724014 h 1139396"/>
                <a:gd name="connsiteX1751" fmla="*/ 70189 w 235112"/>
                <a:gd name="connsiteY1751" fmla="*/ 720554 h 1139396"/>
                <a:gd name="connsiteX1752" fmla="*/ 70811 w 235112"/>
                <a:gd name="connsiteY1752" fmla="*/ 718161 h 1139396"/>
                <a:gd name="connsiteX1753" fmla="*/ 71760 w 235112"/>
                <a:gd name="connsiteY1753" fmla="*/ 715533 h 1139396"/>
                <a:gd name="connsiteX1754" fmla="*/ 74804 w 235112"/>
                <a:gd name="connsiteY1754" fmla="*/ 715265 h 1139396"/>
                <a:gd name="connsiteX1755" fmla="*/ 74870 w 235112"/>
                <a:gd name="connsiteY1755" fmla="*/ 713837 h 1139396"/>
                <a:gd name="connsiteX1756" fmla="*/ 74601 w 235112"/>
                <a:gd name="connsiteY1756" fmla="*/ 711234 h 1139396"/>
                <a:gd name="connsiteX1757" fmla="*/ 72599 w 235112"/>
                <a:gd name="connsiteY1757" fmla="*/ 708158 h 1139396"/>
                <a:gd name="connsiteX1758" fmla="*/ 72521 w 235112"/>
                <a:gd name="connsiteY1758" fmla="*/ 703902 h 1139396"/>
                <a:gd name="connsiteX1759" fmla="*/ 74400 w 235112"/>
                <a:gd name="connsiteY1759" fmla="*/ 698882 h 1139396"/>
                <a:gd name="connsiteX1760" fmla="*/ 77419 w 235112"/>
                <a:gd name="connsiteY1760" fmla="*/ 699232 h 1139396"/>
                <a:gd name="connsiteX1761" fmla="*/ 78003 w 235112"/>
                <a:gd name="connsiteY1761" fmla="*/ 699020 h 1139396"/>
                <a:gd name="connsiteX1762" fmla="*/ 75861 w 235112"/>
                <a:gd name="connsiteY1762" fmla="*/ 695987 h 1139396"/>
                <a:gd name="connsiteX1763" fmla="*/ 74114 w 235112"/>
                <a:gd name="connsiteY1763" fmla="*/ 692651 h 1139396"/>
                <a:gd name="connsiteX1764" fmla="*/ 74417 w 235112"/>
                <a:gd name="connsiteY1764" fmla="*/ 691322 h 1139396"/>
                <a:gd name="connsiteX1765" fmla="*/ 76087 w 235112"/>
                <a:gd name="connsiteY1765" fmla="*/ 690187 h 1139396"/>
                <a:gd name="connsiteX1766" fmla="*/ 78023 w 235112"/>
                <a:gd name="connsiteY1766" fmla="*/ 689555 h 1139396"/>
                <a:gd name="connsiteX1767" fmla="*/ 80118 w 235112"/>
                <a:gd name="connsiteY1767" fmla="*/ 691262 h 1139396"/>
                <a:gd name="connsiteX1768" fmla="*/ 83114 w 235112"/>
                <a:gd name="connsiteY1768" fmla="*/ 696702 h 1139396"/>
                <a:gd name="connsiteX1769" fmla="*/ 83568 w 235112"/>
                <a:gd name="connsiteY1769" fmla="*/ 695306 h 1139396"/>
                <a:gd name="connsiteX1770" fmla="*/ 82357 w 235112"/>
                <a:gd name="connsiteY1770" fmla="*/ 689765 h 1139396"/>
                <a:gd name="connsiteX1771" fmla="*/ 81361 w 235112"/>
                <a:gd name="connsiteY1771" fmla="*/ 682884 h 1139396"/>
                <a:gd name="connsiteX1772" fmla="*/ 78203 w 235112"/>
                <a:gd name="connsiteY1772" fmla="*/ 683788 h 1139396"/>
                <a:gd name="connsiteX1773" fmla="*/ 75306 w 235112"/>
                <a:gd name="connsiteY1773" fmla="*/ 683304 h 1139396"/>
                <a:gd name="connsiteX1774" fmla="*/ 74215 w 235112"/>
                <a:gd name="connsiteY1774" fmla="*/ 682237 h 1139396"/>
                <a:gd name="connsiteX1775" fmla="*/ 73128 w 235112"/>
                <a:gd name="connsiteY1775" fmla="*/ 680692 h 1139396"/>
                <a:gd name="connsiteX1776" fmla="*/ 74149 w 235112"/>
                <a:gd name="connsiteY1776" fmla="*/ 678807 h 1139396"/>
                <a:gd name="connsiteX1777" fmla="*/ 75166 w 235112"/>
                <a:gd name="connsiteY1777" fmla="*/ 677402 h 1139396"/>
                <a:gd name="connsiteX1778" fmla="*/ 77292 w 235112"/>
                <a:gd name="connsiteY1778" fmla="*/ 675637 h 1139396"/>
                <a:gd name="connsiteX1779" fmla="*/ 81700 w 235112"/>
                <a:gd name="connsiteY1779" fmla="*/ 675017 h 1139396"/>
                <a:gd name="connsiteX1780" fmla="*/ 84886 w 235112"/>
                <a:gd name="connsiteY1780" fmla="*/ 672802 h 1139396"/>
                <a:gd name="connsiteX1781" fmla="*/ 85954 w 235112"/>
                <a:gd name="connsiteY1781" fmla="*/ 668251 h 1139396"/>
                <a:gd name="connsiteX1782" fmla="*/ 84909 w 235112"/>
                <a:gd name="connsiteY1782" fmla="*/ 668701 h 1139396"/>
                <a:gd name="connsiteX1783" fmla="*/ 83178 w 235112"/>
                <a:gd name="connsiteY1783" fmla="*/ 672705 h 1139396"/>
                <a:gd name="connsiteX1784" fmla="*/ 80271 w 235112"/>
                <a:gd name="connsiteY1784" fmla="*/ 674063 h 1139396"/>
                <a:gd name="connsiteX1785" fmla="*/ 78789 w 235112"/>
                <a:gd name="connsiteY1785" fmla="*/ 673864 h 1139396"/>
                <a:gd name="connsiteX1786" fmla="*/ 77041 w 235112"/>
                <a:gd name="connsiteY1786" fmla="*/ 673113 h 1139396"/>
                <a:gd name="connsiteX1787" fmla="*/ 73609 w 235112"/>
                <a:gd name="connsiteY1787" fmla="*/ 669625 h 1139396"/>
                <a:gd name="connsiteX1788" fmla="*/ 71711 w 235112"/>
                <a:gd name="connsiteY1788" fmla="*/ 668813 h 1139396"/>
                <a:gd name="connsiteX1789" fmla="*/ 69864 w 235112"/>
                <a:gd name="connsiteY1789" fmla="*/ 668728 h 1139396"/>
                <a:gd name="connsiteX1790" fmla="*/ 68288 w 235112"/>
                <a:gd name="connsiteY1790" fmla="*/ 669610 h 1139396"/>
                <a:gd name="connsiteX1791" fmla="*/ 64254 w 235112"/>
                <a:gd name="connsiteY1791" fmla="*/ 675761 h 1139396"/>
                <a:gd name="connsiteX1792" fmla="*/ 62536 w 235112"/>
                <a:gd name="connsiteY1792" fmla="*/ 676802 h 1139396"/>
                <a:gd name="connsiteX1793" fmla="*/ 55449 w 235112"/>
                <a:gd name="connsiteY1793" fmla="*/ 677295 h 1139396"/>
                <a:gd name="connsiteX1794" fmla="*/ 52844 w 235112"/>
                <a:gd name="connsiteY1794" fmla="*/ 676583 h 1139396"/>
                <a:gd name="connsiteX1795" fmla="*/ 50027 w 235112"/>
                <a:gd name="connsiteY1795" fmla="*/ 675637 h 1139396"/>
                <a:gd name="connsiteX1796" fmla="*/ 50364 w 235112"/>
                <a:gd name="connsiteY1796" fmla="*/ 674119 h 1139396"/>
                <a:gd name="connsiteX1797" fmla="*/ 51220 w 235112"/>
                <a:gd name="connsiteY1797" fmla="*/ 672503 h 1139396"/>
                <a:gd name="connsiteX1798" fmla="*/ 52819 w 235112"/>
                <a:gd name="connsiteY1798" fmla="*/ 671674 h 1139396"/>
                <a:gd name="connsiteX1799" fmla="*/ 52847 w 235112"/>
                <a:gd name="connsiteY1799" fmla="*/ 670746 h 1139396"/>
                <a:gd name="connsiteX1800" fmla="*/ 50648 w 235112"/>
                <a:gd name="connsiteY1800" fmla="*/ 670512 h 1139396"/>
                <a:gd name="connsiteX1801" fmla="*/ 48110 w 235112"/>
                <a:gd name="connsiteY1801" fmla="*/ 668811 h 1139396"/>
                <a:gd name="connsiteX1802" fmla="*/ 46988 w 235112"/>
                <a:gd name="connsiteY1802" fmla="*/ 666656 h 1139396"/>
                <a:gd name="connsiteX1803" fmla="*/ 46451 w 235112"/>
                <a:gd name="connsiteY1803" fmla="*/ 662811 h 1139396"/>
                <a:gd name="connsiteX1804" fmla="*/ 44177 w 235112"/>
                <a:gd name="connsiteY1804" fmla="*/ 656734 h 1139396"/>
                <a:gd name="connsiteX1805" fmla="*/ 43728 w 235112"/>
                <a:gd name="connsiteY1805" fmla="*/ 652390 h 1139396"/>
                <a:gd name="connsiteX1806" fmla="*/ 45332 w 235112"/>
                <a:gd name="connsiteY1806" fmla="*/ 649292 h 1139396"/>
                <a:gd name="connsiteX1807" fmla="*/ 48787 w 235112"/>
                <a:gd name="connsiteY1807" fmla="*/ 637168 h 1139396"/>
                <a:gd name="connsiteX1808" fmla="*/ 49841 w 235112"/>
                <a:gd name="connsiteY1808" fmla="*/ 631005 h 1139396"/>
                <a:gd name="connsiteX1809" fmla="*/ 51693 w 235112"/>
                <a:gd name="connsiteY1809" fmla="*/ 625594 h 1139396"/>
                <a:gd name="connsiteX1810" fmla="*/ 51654 w 235112"/>
                <a:gd name="connsiteY1810" fmla="*/ 622032 h 1139396"/>
                <a:gd name="connsiteX1811" fmla="*/ 56440 w 235112"/>
                <a:gd name="connsiteY1811" fmla="*/ 618778 h 1139396"/>
                <a:gd name="connsiteX1812" fmla="*/ 58261 w 235112"/>
                <a:gd name="connsiteY1812" fmla="*/ 616833 h 1139396"/>
                <a:gd name="connsiteX1813" fmla="*/ 62331 w 235112"/>
                <a:gd name="connsiteY1813" fmla="*/ 605904 h 1139396"/>
                <a:gd name="connsiteX1814" fmla="*/ 62925 w 235112"/>
                <a:gd name="connsiteY1814" fmla="*/ 600020 h 1139396"/>
                <a:gd name="connsiteX1815" fmla="*/ 56477 w 235112"/>
                <a:gd name="connsiteY1815" fmla="*/ 582234 h 1139396"/>
                <a:gd name="connsiteX1816" fmla="*/ 55477 w 235112"/>
                <a:gd name="connsiteY1816" fmla="*/ 578847 h 1139396"/>
                <a:gd name="connsiteX1817" fmla="*/ 55164 w 235112"/>
                <a:gd name="connsiteY1817" fmla="*/ 574640 h 1139396"/>
                <a:gd name="connsiteX1818" fmla="*/ 56703 w 235112"/>
                <a:gd name="connsiteY1818" fmla="*/ 567667 h 1139396"/>
                <a:gd name="connsiteX1819" fmla="*/ 56882 w 235112"/>
                <a:gd name="connsiteY1819" fmla="*/ 565027 h 1139396"/>
                <a:gd name="connsiteX1820" fmla="*/ 55565 w 235112"/>
                <a:gd name="connsiteY1820" fmla="*/ 561212 h 1139396"/>
                <a:gd name="connsiteX1821" fmla="*/ 51886 w 235112"/>
                <a:gd name="connsiteY1821" fmla="*/ 554989 h 1139396"/>
                <a:gd name="connsiteX1822" fmla="*/ 51815 w 235112"/>
                <a:gd name="connsiteY1822" fmla="*/ 551820 h 1139396"/>
                <a:gd name="connsiteX1823" fmla="*/ 53367 w 235112"/>
                <a:gd name="connsiteY1823" fmla="*/ 548560 h 1139396"/>
                <a:gd name="connsiteX1824" fmla="*/ 51872 w 235112"/>
                <a:gd name="connsiteY1824" fmla="*/ 544520 h 1139396"/>
                <a:gd name="connsiteX1825" fmla="*/ 52601 w 235112"/>
                <a:gd name="connsiteY1825" fmla="*/ 542019 h 1139396"/>
                <a:gd name="connsiteX1826" fmla="*/ 53412 w 235112"/>
                <a:gd name="connsiteY1826" fmla="*/ 540062 h 1139396"/>
                <a:gd name="connsiteX1827" fmla="*/ 59170 w 235112"/>
                <a:gd name="connsiteY1827" fmla="*/ 541109 h 1139396"/>
                <a:gd name="connsiteX1828" fmla="*/ 61794 w 235112"/>
                <a:gd name="connsiteY1828" fmla="*/ 540615 h 1139396"/>
                <a:gd name="connsiteX1829" fmla="*/ 63191 w 235112"/>
                <a:gd name="connsiteY1829" fmla="*/ 539431 h 1139396"/>
                <a:gd name="connsiteX1830" fmla="*/ 64285 w 235112"/>
                <a:gd name="connsiteY1830" fmla="*/ 536122 h 1139396"/>
                <a:gd name="connsiteX1831" fmla="*/ 64832 w 235112"/>
                <a:gd name="connsiteY1831" fmla="*/ 530952 h 1139396"/>
                <a:gd name="connsiteX1832" fmla="*/ 65174 w 235112"/>
                <a:gd name="connsiteY1832" fmla="*/ 528731 h 1139396"/>
                <a:gd name="connsiteX1833" fmla="*/ 65673 w 235112"/>
                <a:gd name="connsiteY1833" fmla="*/ 525485 h 1139396"/>
                <a:gd name="connsiteX1834" fmla="*/ 68500 w 235112"/>
                <a:gd name="connsiteY1834" fmla="*/ 524179 h 1139396"/>
                <a:gd name="connsiteX1835" fmla="*/ 69484 w 235112"/>
                <a:gd name="connsiteY1835" fmla="*/ 521107 h 1139396"/>
                <a:gd name="connsiteX1836" fmla="*/ 71849 w 235112"/>
                <a:gd name="connsiteY1836" fmla="*/ 516828 h 1139396"/>
                <a:gd name="connsiteX1837" fmla="*/ 74285 w 235112"/>
                <a:gd name="connsiteY1837" fmla="*/ 504892 h 1139396"/>
                <a:gd name="connsiteX1838" fmla="*/ 76696 w 235112"/>
                <a:gd name="connsiteY1838" fmla="*/ 501955 h 1139396"/>
                <a:gd name="connsiteX1839" fmla="*/ 79130 w 235112"/>
                <a:gd name="connsiteY1839" fmla="*/ 498565 h 1139396"/>
                <a:gd name="connsiteX1840" fmla="*/ 78204 w 235112"/>
                <a:gd name="connsiteY1840" fmla="*/ 493545 h 1139396"/>
                <a:gd name="connsiteX1841" fmla="*/ 79772 w 235112"/>
                <a:gd name="connsiteY1841" fmla="*/ 491228 h 1139396"/>
                <a:gd name="connsiteX1842" fmla="*/ 81215 w 235112"/>
                <a:gd name="connsiteY1842" fmla="*/ 489544 h 1139396"/>
                <a:gd name="connsiteX1843" fmla="*/ 82487 w 235112"/>
                <a:gd name="connsiteY1843" fmla="*/ 486487 h 1139396"/>
                <a:gd name="connsiteX1844" fmla="*/ 84218 w 235112"/>
                <a:gd name="connsiteY1844" fmla="*/ 483599 h 1139396"/>
                <a:gd name="connsiteX1845" fmla="*/ 88350 w 235112"/>
                <a:gd name="connsiteY1845" fmla="*/ 479451 h 1139396"/>
                <a:gd name="connsiteX1846" fmla="*/ 89399 w 235112"/>
                <a:gd name="connsiteY1846" fmla="*/ 474397 h 1139396"/>
                <a:gd name="connsiteX1847" fmla="*/ 92605 w 235112"/>
                <a:gd name="connsiteY1847" fmla="*/ 465671 h 1139396"/>
                <a:gd name="connsiteX1848" fmla="*/ 93244 w 235112"/>
                <a:gd name="connsiteY1848" fmla="*/ 460082 h 1139396"/>
                <a:gd name="connsiteX1849" fmla="*/ 94239 w 235112"/>
                <a:gd name="connsiteY1849" fmla="*/ 456308 h 1139396"/>
                <a:gd name="connsiteX1850" fmla="*/ 93952 w 235112"/>
                <a:gd name="connsiteY1850" fmla="*/ 452791 h 1139396"/>
                <a:gd name="connsiteX1851" fmla="*/ 95879 w 235112"/>
                <a:gd name="connsiteY1851" fmla="*/ 448520 h 1139396"/>
                <a:gd name="connsiteX1852" fmla="*/ 97727 w 235112"/>
                <a:gd name="connsiteY1852" fmla="*/ 444928 h 1139396"/>
                <a:gd name="connsiteX1853" fmla="*/ 98311 w 235112"/>
                <a:gd name="connsiteY1853" fmla="*/ 442932 h 1139396"/>
                <a:gd name="connsiteX1854" fmla="*/ 102535 w 235112"/>
                <a:gd name="connsiteY1854" fmla="*/ 438184 h 1139396"/>
                <a:gd name="connsiteX1855" fmla="*/ 103247 w 235112"/>
                <a:gd name="connsiteY1855" fmla="*/ 434393 h 1139396"/>
                <a:gd name="connsiteX1856" fmla="*/ 101745 w 235112"/>
                <a:gd name="connsiteY1856" fmla="*/ 431829 h 1139396"/>
                <a:gd name="connsiteX1857" fmla="*/ 101718 w 235112"/>
                <a:gd name="connsiteY1857" fmla="*/ 427858 h 1139396"/>
                <a:gd name="connsiteX1858" fmla="*/ 100542 w 235112"/>
                <a:gd name="connsiteY1858" fmla="*/ 422360 h 1139396"/>
                <a:gd name="connsiteX1859" fmla="*/ 103266 w 235112"/>
                <a:gd name="connsiteY1859" fmla="*/ 420305 h 1139396"/>
                <a:gd name="connsiteX1860" fmla="*/ 104369 w 235112"/>
                <a:gd name="connsiteY1860" fmla="*/ 418804 h 1139396"/>
                <a:gd name="connsiteX1861" fmla="*/ 107913 w 235112"/>
                <a:gd name="connsiteY1861" fmla="*/ 410041 h 1139396"/>
                <a:gd name="connsiteX1862" fmla="*/ 107681 w 235112"/>
                <a:gd name="connsiteY1862" fmla="*/ 406606 h 1139396"/>
                <a:gd name="connsiteX1863" fmla="*/ 108699 w 235112"/>
                <a:gd name="connsiteY1863" fmla="*/ 402344 h 1139396"/>
                <a:gd name="connsiteX1864" fmla="*/ 106372 w 235112"/>
                <a:gd name="connsiteY1864" fmla="*/ 397304 h 1139396"/>
                <a:gd name="connsiteX1865" fmla="*/ 106047 w 235112"/>
                <a:gd name="connsiteY1865" fmla="*/ 386000 h 1139396"/>
                <a:gd name="connsiteX1866" fmla="*/ 104743 w 235112"/>
                <a:gd name="connsiteY1866" fmla="*/ 377318 h 1139396"/>
                <a:gd name="connsiteX1867" fmla="*/ 102596 w 235112"/>
                <a:gd name="connsiteY1867" fmla="*/ 368169 h 1139396"/>
                <a:gd name="connsiteX1868" fmla="*/ 102800 w 235112"/>
                <a:gd name="connsiteY1868" fmla="*/ 363058 h 1139396"/>
                <a:gd name="connsiteX1869" fmla="*/ 101487 w 235112"/>
                <a:gd name="connsiteY1869" fmla="*/ 356712 h 1139396"/>
                <a:gd name="connsiteX1870" fmla="*/ 101405 w 235112"/>
                <a:gd name="connsiteY1870" fmla="*/ 353053 h 1139396"/>
                <a:gd name="connsiteX1871" fmla="*/ 102405 w 235112"/>
                <a:gd name="connsiteY1871" fmla="*/ 344766 h 1139396"/>
                <a:gd name="connsiteX1872" fmla="*/ 109229 w 235112"/>
                <a:gd name="connsiteY1872" fmla="*/ 339557 h 1139396"/>
                <a:gd name="connsiteX1873" fmla="*/ 110555 w 235112"/>
                <a:gd name="connsiteY1873" fmla="*/ 333734 h 1139396"/>
                <a:gd name="connsiteX1874" fmla="*/ 111375 w 235112"/>
                <a:gd name="connsiteY1874" fmla="*/ 325875 h 1139396"/>
                <a:gd name="connsiteX1875" fmla="*/ 111097 w 235112"/>
                <a:gd name="connsiteY1875" fmla="*/ 320159 h 1139396"/>
                <a:gd name="connsiteX1876" fmla="*/ 110422 w 235112"/>
                <a:gd name="connsiteY1876" fmla="*/ 317593 h 1139396"/>
                <a:gd name="connsiteX1877" fmla="*/ 107061 w 235112"/>
                <a:gd name="connsiteY1877" fmla="*/ 313389 h 1139396"/>
                <a:gd name="connsiteX1878" fmla="*/ 106215 w 235112"/>
                <a:gd name="connsiteY1878" fmla="*/ 305888 h 1139396"/>
                <a:gd name="connsiteX1879" fmla="*/ 106865 w 235112"/>
                <a:gd name="connsiteY1879" fmla="*/ 303925 h 1139396"/>
                <a:gd name="connsiteX1880" fmla="*/ 109643 w 235112"/>
                <a:gd name="connsiteY1880" fmla="*/ 301816 h 1139396"/>
                <a:gd name="connsiteX1881" fmla="*/ 111602 w 235112"/>
                <a:gd name="connsiteY1881" fmla="*/ 298890 h 1139396"/>
                <a:gd name="connsiteX1882" fmla="*/ 112615 w 235112"/>
                <a:gd name="connsiteY1882" fmla="*/ 294350 h 1139396"/>
                <a:gd name="connsiteX1883" fmla="*/ 114654 w 235112"/>
                <a:gd name="connsiteY1883" fmla="*/ 290785 h 1139396"/>
                <a:gd name="connsiteX1884" fmla="*/ 115463 w 235112"/>
                <a:gd name="connsiteY1884" fmla="*/ 282168 h 1139396"/>
                <a:gd name="connsiteX1885" fmla="*/ 117187 w 235112"/>
                <a:gd name="connsiteY1885" fmla="*/ 275325 h 1139396"/>
                <a:gd name="connsiteX1886" fmla="*/ 118046 w 235112"/>
                <a:gd name="connsiteY1886" fmla="*/ 272938 h 1139396"/>
                <a:gd name="connsiteX1887" fmla="*/ 120755 w 235112"/>
                <a:gd name="connsiteY1887" fmla="*/ 269942 h 1139396"/>
                <a:gd name="connsiteX1888" fmla="*/ 121262 w 235112"/>
                <a:gd name="connsiteY1888" fmla="*/ 269143 h 1139396"/>
                <a:gd name="connsiteX1889" fmla="*/ 121681 w 235112"/>
                <a:gd name="connsiteY1889" fmla="*/ 266858 h 1139396"/>
                <a:gd name="connsiteX1890" fmla="*/ 121555 w 235112"/>
                <a:gd name="connsiteY1890" fmla="*/ 261466 h 1139396"/>
                <a:gd name="connsiteX1891" fmla="*/ 121970 w 235112"/>
                <a:gd name="connsiteY1891" fmla="*/ 258179 h 1139396"/>
                <a:gd name="connsiteX1892" fmla="*/ 124129 w 235112"/>
                <a:gd name="connsiteY1892" fmla="*/ 251715 h 1139396"/>
                <a:gd name="connsiteX1893" fmla="*/ 124378 w 235112"/>
                <a:gd name="connsiteY1893" fmla="*/ 248725 h 1139396"/>
                <a:gd name="connsiteX1894" fmla="*/ 126775 w 235112"/>
                <a:gd name="connsiteY1894" fmla="*/ 242084 h 1139396"/>
                <a:gd name="connsiteX1895" fmla="*/ 127318 w 235112"/>
                <a:gd name="connsiteY1895" fmla="*/ 237319 h 1139396"/>
                <a:gd name="connsiteX1896" fmla="*/ 128342 w 235112"/>
                <a:gd name="connsiteY1896" fmla="*/ 234808 h 1139396"/>
                <a:gd name="connsiteX1897" fmla="*/ 127944 w 235112"/>
                <a:gd name="connsiteY1897" fmla="*/ 231982 h 1139396"/>
                <a:gd name="connsiteX1898" fmla="*/ 128624 w 235112"/>
                <a:gd name="connsiteY1898" fmla="*/ 225667 h 1139396"/>
                <a:gd name="connsiteX1899" fmla="*/ 126997 w 235112"/>
                <a:gd name="connsiteY1899" fmla="*/ 222100 h 1139396"/>
                <a:gd name="connsiteX1900" fmla="*/ 126639 w 235112"/>
                <a:gd name="connsiteY1900" fmla="*/ 220015 h 1139396"/>
                <a:gd name="connsiteX1901" fmla="*/ 128686 w 235112"/>
                <a:gd name="connsiteY1901" fmla="*/ 213554 h 1139396"/>
                <a:gd name="connsiteX1902" fmla="*/ 130078 w 235112"/>
                <a:gd name="connsiteY1902" fmla="*/ 211983 h 1139396"/>
                <a:gd name="connsiteX1903" fmla="*/ 132325 w 235112"/>
                <a:gd name="connsiteY1903" fmla="*/ 208980 h 1139396"/>
                <a:gd name="connsiteX1904" fmla="*/ 133271 w 235112"/>
                <a:gd name="connsiteY1904" fmla="*/ 205612 h 1139396"/>
                <a:gd name="connsiteX1905" fmla="*/ 133445 w 235112"/>
                <a:gd name="connsiteY1905" fmla="*/ 203472 h 1139396"/>
                <a:gd name="connsiteX1906" fmla="*/ 130571 w 235112"/>
                <a:gd name="connsiteY1906" fmla="*/ 192839 h 1139396"/>
                <a:gd name="connsiteX1907" fmla="*/ 130179 w 235112"/>
                <a:gd name="connsiteY1907" fmla="*/ 189223 h 1139396"/>
                <a:gd name="connsiteX1908" fmla="*/ 130881 w 235112"/>
                <a:gd name="connsiteY1908" fmla="*/ 180807 h 1139396"/>
                <a:gd name="connsiteX1909" fmla="*/ 131871 w 235112"/>
                <a:gd name="connsiteY1909" fmla="*/ 175379 h 1139396"/>
                <a:gd name="connsiteX1910" fmla="*/ 131551 w 235112"/>
                <a:gd name="connsiteY1910" fmla="*/ 171051 h 1139396"/>
                <a:gd name="connsiteX1911" fmla="*/ 131871 w 235112"/>
                <a:gd name="connsiteY1911" fmla="*/ 168829 h 1139396"/>
                <a:gd name="connsiteX1912" fmla="*/ 132368 w 235112"/>
                <a:gd name="connsiteY1912" fmla="*/ 166038 h 1139396"/>
                <a:gd name="connsiteX1913" fmla="*/ 134342 w 235112"/>
                <a:gd name="connsiteY1913" fmla="*/ 162655 h 1139396"/>
                <a:gd name="connsiteX1914" fmla="*/ 134789 w 235112"/>
                <a:gd name="connsiteY1914" fmla="*/ 160253 h 1139396"/>
                <a:gd name="connsiteX1915" fmla="*/ 134096 w 235112"/>
                <a:gd name="connsiteY1915" fmla="*/ 159250 h 1139396"/>
                <a:gd name="connsiteX1916" fmla="*/ 131756 w 235112"/>
                <a:gd name="connsiteY1916" fmla="*/ 158027 h 1139396"/>
                <a:gd name="connsiteX1917" fmla="*/ 129824 w 235112"/>
                <a:gd name="connsiteY1917" fmla="*/ 154962 h 1139396"/>
                <a:gd name="connsiteX1918" fmla="*/ 129692 w 235112"/>
                <a:gd name="connsiteY1918" fmla="*/ 151941 h 1139396"/>
                <a:gd name="connsiteX1919" fmla="*/ 130313 w 235112"/>
                <a:gd name="connsiteY1919" fmla="*/ 149744 h 1139396"/>
                <a:gd name="connsiteX1920" fmla="*/ 130457 w 235112"/>
                <a:gd name="connsiteY1920" fmla="*/ 146634 h 1139396"/>
                <a:gd name="connsiteX1921" fmla="*/ 133335 w 235112"/>
                <a:gd name="connsiteY1921" fmla="*/ 146023 h 1139396"/>
                <a:gd name="connsiteX1922" fmla="*/ 134869 w 235112"/>
                <a:gd name="connsiteY1922" fmla="*/ 144298 h 1139396"/>
                <a:gd name="connsiteX1923" fmla="*/ 136327 w 235112"/>
                <a:gd name="connsiteY1923" fmla="*/ 141067 h 1139396"/>
                <a:gd name="connsiteX1924" fmla="*/ 138157 w 235112"/>
                <a:gd name="connsiteY1924" fmla="*/ 133259 h 1139396"/>
                <a:gd name="connsiteX1925" fmla="*/ 138942 w 235112"/>
                <a:gd name="connsiteY1925" fmla="*/ 123590 h 1139396"/>
                <a:gd name="connsiteX1926" fmla="*/ 140035 w 235112"/>
                <a:gd name="connsiteY1926" fmla="*/ 117773 h 1139396"/>
                <a:gd name="connsiteX1927" fmla="*/ 140805 w 235112"/>
                <a:gd name="connsiteY1927" fmla="*/ 114901 h 1139396"/>
                <a:gd name="connsiteX1928" fmla="*/ 141451 w 235112"/>
                <a:gd name="connsiteY1928" fmla="*/ 108901 h 1139396"/>
                <a:gd name="connsiteX1929" fmla="*/ 142517 w 235112"/>
                <a:gd name="connsiteY1929" fmla="*/ 104978 h 1139396"/>
                <a:gd name="connsiteX1930" fmla="*/ 142708 w 235112"/>
                <a:gd name="connsiteY1930" fmla="*/ 101363 h 1139396"/>
                <a:gd name="connsiteX1931" fmla="*/ 142496 w 235112"/>
                <a:gd name="connsiteY1931" fmla="*/ 98615 h 1139396"/>
                <a:gd name="connsiteX1932" fmla="*/ 139742 w 235112"/>
                <a:gd name="connsiteY1932" fmla="*/ 84636 h 1139396"/>
                <a:gd name="connsiteX1933" fmla="*/ 139827 w 235112"/>
                <a:gd name="connsiteY1933" fmla="*/ 79506 h 1139396"/>
                <a:gd name="connsiteX1934" fmla="*/ 140999 w 235112"/>
                <a:gd name="connsiteY1934" fmla="*/ 71537 h 1139396"/>
                <a:gd name="connsiteX1935" fmla="*/ 140980 w 235112"/>
                <a:gd name="connsiteY1935" fmla="*/ 60333 h 1139396"/>
                <a:gd name="connsiteX1936" fmla="*/ 140745 w 235112"/>
                <a:gd name="connsiteY1936" fmla="*/ 57719 h 1139396"/>
                <a:gd name="connsiteX1937" fmla="*/ 139707 w 235112"/>
                <a:gd name="connsiteY1937" fmla="*/ 55272 h 1139396"/>
                <a:gd name="connsiteX1938" fmla="*/ 139402 w 235112"/>
                <a:gd name="connsiteY1938" fmla="*/ 51952 h 1139396"/>
                <a:gd name="connsiteX1939" fmla="*/ 137744 w 235112"/>
                <a:gd name="connsiteY1939" fmla="*/ 46180 h 1139396"/>
                <a:gd name="connsiteX1940" fmla="*/ 136247 w 235112"/>
                <a:gd name="connsiteY1940" fmla="*/ 34616 h 1139396"/>
                <a:gd name="connsiteX1941" fmla="*/ 136216 w 235112"/>
                <a:gd name="connsiteY1941" fmla="*/ 28519 h 1139396"/>
                <a:gd name="connsiteX1942" fmla="*/ 135568 w 235112"/>
                <a:gd name="connsiteY1942" fmla="*/ 23348 h 1139396"/>
                <a:gd name="connsiteX1943" fmla="*/ 134132 w 235112"/>
                <a:gd name="connsiteY1943" fmla="*/ 21973 h 1139396"/>
                <a:gd name="connsiteX1944" fmla="*/ 135165 w 235112"/>
                <a:gd name="connsiteY1944" fmla="*/ 21658 h 1139396"/>
                <a:gd name="connsiteX1945" fmla="*/ 137580 w 235112"/>
                <a:gd name="connsiteY1945" fmla="*/ 21442 h 1139396"/>
                <a:gd name="connsiteX1946" fmla="*/ 140077 w 235112"/>
                <a:gd name="connsiteY1946" fmla="*/ 21438 h 1139396"/>
                <a:gd name="connsiteX1947" fmla="*/ 143239 w 235112"/>
                <a:gd name="connsiteY1947" fmla="*/ 20345 h 1139396"/>
                <a:gd name="connsiteX1948" fmla="*/ 146604 w 235112"/>
                <a:gd name="connsiteY1948" fmla="*/ 18315 h 1139396"/>
                <a:gd name="connsiteX1949" fmla="*/ 148802 w 235112"/>
                <a:gd name="connsiteY1949" fmla="*/ 15367 h 1139396"/>
                <a:gd name="connsiteX1950" fmla="*/ 149742 w 235112"/>
                <a:gd name="connsiteY1950" fmla="*/ 12664 h 1139396"/>
                <a:gd name="connsiteX1951" fmla="*/ 149747 w 235112"/>
                <a:gd name="connsiteY1951" fmla="*/ 10302 h 1139396"/>
                <a:gd name="connsiteX1952" fmla="*/ 148756 w 235112"/>
                <a:gd name="connsiteY1952" fmla="*/ 7297 h 1139396"/>
                <a:gd name="connsiteX1953" fmla="*/ 148488 w 235112"/>
                <a:gd name="connsiteY1953" fmla="*/ 5169 h 1139396"/>
                <a:gd name="connsiteX1954" fmla="*/ 149654 w 235112"/>
                <a:gd name="connsiteY1954" fmla="*/ 4153 h 1139396"/>
                <a:gd name="connsiteX1955" fmla="*/ 152731 w 235112"/>
                <a:gd name="connsiteY1955" fmla="*/ 3758 h 1139396"/>
                <a:gd name="connsiteX1956" fmla="*/ 155224 w 235112"/>
                <a:gd name="connsiteY1956" fmla="*/ 1755 h 113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</a:cxnLst>
              <a:rect l="l" t="t" r="r" b="b"/>
              <a:pathLst>
                <a:path w="235112" h="1139396">
                  <a:moveTo>
                    <a:pt x="201483" y="1136700"/>
                  </a:moveTo>
                  <a:lnTo>
                    <a:pt x="206992" y="1137052"/>
                  </a:lnTo>
                  <a:lnTo>
                    <a:pt x="207689" y="1137295"/>
                  </a:lnTo>
                  <a:lnTo>
                    <a:pt x="207879" y="1137706"/>
                  </a:lnTo>
                  <a:lnTo>
                    <a:pt x="206980" y="1138887"/>
                  </a:lnTo>
                  <a:lnTo>
                    <a:pt x="206221" y="1139323"/>
                  </a:lnTo>
                  <a:lnTo>
                    <a:pt x="205302" y="1139396"/>
                  </a:lnTo>
                  <a:lnTo>
                    <a:pt x="203069" y="1138733"/>
                  </a:lnTo>
                  <a:lnTo>
                    <a:pt x="199720" y="1138437"/>
                  </a:lnTo>
                  <a:lnTo>
                    <a:pt x="199343" y="1138166"/>
                  </a:lnTo>
                  <a:lnTo>
                    <a:pt x="199260" y="1137644"/>
                  </a:lnTo>
                  <a:lnTo>
                    <a:pt x="199656" y="1137107"/>
                  </a:lnTo>
                  <a:close/>
                  <a:moveTo>
                    <a:pt x="210730" y="1128481"/>
                  </a:moveTo>
                  <a:lnTo>
                    <a:pt x="211321" y="1128629"/>
                  </a:lnTo>
                  <a:lnTo>
                    <a:pt x="211916" y="1129439"/>
                  </a:lnTo>
                  <a:lnTo>
                    <a:pt x="212934" y="1132161"/>
                  </a:lnTo>
                  <a:lnTo>
                    <a:pt x="214151" y="1134122"/>
                  </a:lnTo>
                  <a:lnTo>
                    <a:pt x="214028" y="1134800"/>
                  </a:lnTo>
                  <a:lnTo>
                    <a:pt x="213481" y="1135301"/>
                  </a:lnTo>
                  <a:lnTo>
                    <a:pt x="212558" y="1135583"/>
                  </a:lnTo>
                  <a:lnTo>
                    <a:pt x="211875" y="1134915"/>
                  </a:lnTo>
                  <a:lnTo>
                    <a:pt x="210832" y="1134442"/>
                  </a:lnTo>
                  <a:lnTo>
                    <a:pt x="206608" y="1133447"/>
                  </a:lnTo>
                  <a:lnTo>
                    <a:pt x="206518" y="1132842"/>
                  </a:lnTo>
                  <a:lnTo>
                    <a:pt x="206957" y="1131983"/>
                  </a:lnTo>
                  <a:lnTo>
                    <a:pt x="207804" y="1131213"/>
                  </a:lnTo>
                  <a:lnTo>
                    <a:pt x="209425" y="1130453"/>
                  </a:lnTo>
                  <a:close/>
                  <a:moveTo>
                    <a:pt x="232898" y="1113613"/>
                  </a:moveTo>
                  <a:lnTo>
                    <a:pt x="235112" y="1114470"/>
                  </a:lnTo>
                  <a:lnTo>
                    <a:pt x="234191" y="1115861"/>
                  </a:lnTo>
                  <a:lnTo>
                    <a:pt x="232173" y="1117408"/>
                  </a:lnTo>
                  <a:lnTo>
                    <a:pt x="230666" y="1117305"/>
                  </a:lnTo>
                  <a:lnTo>
                    <a:pt x="230183" y="1116745"/>
                  </a:lnTo>
                  <a:lnTo>
                    <a:pt x="230020" y="1116047"/>
                  </a:lnTo>
                  <a:lnTo>
                    <a:pt x="230321" y="1115294"/>
                  </a:lnTo>
                  <a:lnTo>
                    <a:pt x="230956" y="1114608"/>
                  </a:lnTo>
                  <a:lnTo>
                    <a:pt x="232431" y="1113752"/>
                  </a:lnTo>
                  <a:close/>
                  <a:moveTo>
                    <a:pt x="192738" y="1105284"/>
                  </a:moveTo>
                  <a:lnTo>
                    <a:pt x="198641" y="1105295"/>
                  </a:lnTo>
                  <a:lnTo>
                    <a:pt x="210041" y="1106678"/>
                  </a:lnTo>
                  <a:lnTo>
                    <a:pt x="214587" y="1106984"/>
                  </a:lnTo>
                  <a:lnTo>
                    <a:pt x="218084" y="1110013"/>
                  </a:lnTo>
                  <a:lnTo>
                    <a:pt x="218638" y="1111837"/>
                  </a:lnTo>
                  <a:lnTo>
                    <a:pt x="218779" y="1113199"/>
                  </a:lnTo>
                  <a:lnTo>
                    <a:pt x="218030" y="1114552"/>
                  </a:lnTo>
                  <a:lnTo>
                    <a:pt x="216431" y="1116337"/>
                  </a:lnTo>
                  <a:lnTo>
                    <a:pt x="214278" y="1117725"/>
                  </a:lnTo>
                  <a:lnTo>
                    <a:pt x="212192" y="1118106"/>
                  </a:lnTo>
                  <a:lnTo>
                    <a:pt x="210682" y="1117387"/>
                  </a:lnTo>
                  <a:lnTo>
                    <a:pt x="209918" y="1116123"/>
                  </a:lnTo>
                  <a:lnTo>
                    <a:pt x="209566" y="1114873"/>
                  </a:lnTo>
                  <a:lnTo>
                    <a:pt x="209054" y="1114186"/>
                  </a:lnTo>
                  <a:lnTo>
                    <a:pt x="208261" y="1114034"/>
                  </a:lnTo>
                  <a:lnTo>
                    <a:pt x="207234" y="1114072"/>
                  </a:lnTo>
                  <a:lnTo>
                    <a:pt x="205967" y="1114549"/>
                  </a:lnTo>
                  <a:lnTo>
                    <a:pt x="203273" y="1116352"/>
                  </a:lnTo>
                  <a:lnTo>
                    <a:pt x="202119" y="1116827"/>
                  </a:lnTo>
                  <a:lnTo>
                    <a:pt x="201337" y="1116938"/>
                  </a:lnTo>
                  <a:lnTo>
                    <a:pt x="193674" y="1115578"/>
                  </a:lnTo>
                  <a:lnTo>
                    <a:pt x="192926" y="1115073"/>
                  </a:lnTo>
                  <a:lnTo>
                    <a:pt x="192024" y="1113865"/>
                  </a:lnTo>
                  <a:lnTo>
                    <a:pt x="191029" y="1110286"/>
                  </a:lnTo>
                  <a:lnTo>
                    <a:pt x="187808" y="1107090"/>
                  </a:lnTo>
                  <a:close/>
                  <a:moveTo>
                    <a:pt x="147667" y="1103617"/>
                  </a:moveTo>
                  <a:lnTo>
                    <a:pt x="152268" y="1104920"/>
                  </a:lnTo>
                  <a:lnTo>
                    <a:pt x="172608" y="1108399"/>
                  </a:lnTo>
                  <a:lnTo>
                    <a:pt x="178879" y="1106289"/>
                  </a:lnTo>
                  <a:lnTo>
                    <a:pt x="183836" y="1106351"/>
                  </a:lnTo>
                  <a:lnTo>
                    <a:pt x="185312" y="1109253"/>
                  </a:lnTo>
                  <a:lnTo>
                    <a:pt x="180283" y="1112299"/>
                  </a:lnTo>
                  <a:lnTo>
                    <a:pt x="179898" y="1113261"/>
                  </a:lnTo>
                  <a:lnTo>
                    <a:pt x="180602" y="1114044"/>
                  </a:lnTo>
                  <a:lnTo>
                    <a:pt x="185771" y="1114535"/>
                  </a:lnTo>
                  <a:lnTo>
                    <a:pt x="187080" y="1115519"/>
                  </a:lnTo>
                  <a:lnTo>
                    <a:pt x="188282" y="1116783"/>
                  </a:lnTo>
                  <a:lnTo>
                    <a:pt x="187266" y="1118659"/>
                  </a:lnTo>
                  <a:lnTo>
                    <a:pt x="187170" y="1119527"/>
                  </a:lnTo>
                  <a:lnTo>
                    <a:pt x="187705" y="1120374"/>
                  </a:lnTo>
                  <a:lnTo>
                    <a:pt x="191580" y="1123219"/>
                  </a:lnTo>
                  <a:lnTo>
                    <a:pt x="193170" y="1124688"/>
                  </a:lnTo>
                  <a:lnTo>
                    <a:pt x="193971" y="1126095"/>
                  </a:lnTo>
                  <a:lnTo>
                    <a:pt x="194294" y="1128564"/>
                  </a:lnTo>
                  <a:lnTo>
                    <a:pt x="194224" y="1130543"/>
                  </a:lnTo>
                  <a:lnTo>
                    <a:pt x="193354" y="1130807"/>
                  </a:lnTo>
                  <a:lnTo>
                    <a:pt x="191466" y="1130206"/>
                  </a:lnTo>
                  <a:lnTo>
                    <a:pt x="189627" y="1129064"/>
                  </a:lnTo>
                  <a:lnTo>
                    <a:pt x="188011" y="1126216"/>
                  </a:lnTo>
                  <a:lnTo>
                    <a:pt x="186878" y="1125645"/>
                  </a:lnTo>
                  <a:lnTo>
                    <a:pt x="183616" y="1125069"/>
                  </a:lnTo>
                  <a:lnTo>
                    <a:pt x="180383" y="1123683"/>
                  </a:lnTo>
                  <a:lnTo>
                    <a:pt x="177864" y="1123763"/>
                  </a:lnTo>
                  <a:lnTo>
                    <a:pt x="175544" y="1123175"/>
                  </a:lnTo>
                  <a:lnTo>
                    <a:pt x="173464" y="1123691"/>
                  </a:lnTo>
                  <a:lnTo>
                    <a:pt x="172727" y="1122755"/>
                  </a:lnTo>
                  <a:lnTo>
                    <a:pt x="171836" y="1120868"/>
                  </a:lnTo>
                  <a:lnTo>
                    <a:pt x="171815" y="1120045"/>
                  </a:lnTo>
                  <a:lnTo>
                    <a:pt x="172909" y="1117069"/>
                  </a:lnTo>
                  <a:lnTo>
                    <a:pt x="172880" y="1116288"/>
                  </a:lnTo>
                  <a:lnTo>
                    <a:pt x="172308" y="1116196"/>
                  </a:lnTo>
                  <a:lnTo>
                    <a:pt x="169885" y="1116803"/>
                  </a:lnTo>
                  <a:lnTo>
                    <a:pt x="168906" y="1116399"/>
                  </a:lnTo>
                  <a:lnTo>
                    <a:pt x="166269" y="1114245"/>
                  </a:lnTo>
                  <a:lnTo>
                    <a:pt x="165209" y="1113838"/>
                  </a:lnTo>
                  <a:lnTo>
                    <a:pt x="162560" y="1113624"/>
                  </a:lnTo>
                  <a:lnTo>
                    <a:pt x="161062" y="1117446"/>
                  </a:lnTo>
                  <a:lnTo>
                    <a:pt x="160984" y="1118393"/>
                  </a:lnTo>
                  <a:lnTo>
                    <a:pt x="162510" y="1120824"/>
                  </a:lnTo>
                  <a:lnTo>
                    <a:pt x="165507" y="1124563"/>
                  </a:lnTo>
                  <a:lnTo>
                    <a:pt x="163986" y="1124632"/>
                  </a:lnTo>
                  <a:lnTo>
                    <a:pt x="159650" y="1123478"/>
                  </a:lnTo>
                  <a:lnTo>
                    <a:pt x="158538" y="1122762"/>
                  </a:lnTo>
                  <a:lnTo>
                    <a:pt x="157194" y="1120879"/>
                  </a:lnTo>
                  <a:lnTo>
                    <a:pt x="154619" y="1119783"/>
                  </a:lnTo>
                  <a:lnTo>
                    <a:pt x="153715" y="1119108"/>
                  </a:lnTo>
                  <a:lnTo>
                    <a:pt x="153451" y="1118314"/>
                  </a:lnTo>
                  <a:lnTo>
                    <a:pt x="153425" y="1115857"/>
                  </a:lnTo>
                  <a:lnTo>
                    <a:pt x="152855" y="1115501"/>
                  </a:lnTo>
                  <a:lnTo>
                    <a:pt x="149198" y="1116123"/>
                  </a:lnTo>
                  <a:lnTo>
                    <a:pt x="148446" y="1115533"/>
                  </a:lnTo>
                  <a:lnTo>
                    <a:pt x="148140" y="1114501"/>
                  </a:lnTo>
                  <a:lnTo>
                    <a:pt x="147608" y="1113917"/>
                  </a:lnTo>
                  <a:lnTo>
                    <a:pt x="145249" y="1112976"/>
                  </a:lnTo>
                  <a:lnTo>
                    <a:pt x="145041" y="1112386"/>
                  </a:lnTo>
                  <a:lnTo>
                    <a:pt x="146093" y="1111689"/>
                  </a:lnTo>
                  <a:lnTo>
                    <a:pt x="146743" y="1109928"/>
                  </a:lnTo>
                  <a:close/>
                  <a:moveTo>
                    <a:pt x="109890" y="1101947"/>
                  </a:moveTo>
                  <a:lnTo>
                    <a:pt x="114384" y="1102294"/>
                  </a:lnTo>
                  <a:lnTo>
                    <a:pt x="117133" y="1103105"/>
                  </a:lnTo>
                  <a:lnTo>
                    <a:pt x="119594" y="1103122"/>
                  </a:lnTo>
                  <a:lnTo>
                    <a:pt x="120773" y="1105353"/>
                  </a:lnTo>
                  <a:lnTo>
                    <a:pt x="121208" y="1105762"/>
                  </a:lnTo>
                  <a:lnTo>
                    <a:pt x="124330" y="1106633"/>
                  </a:lnTo>
                  <a:lnTo>
                    <a:pt x="125737" y="1106106"/>
                  </a:lnTo>
                  <a:lnTo>
                    <a:pt x="129135" y="1105855"/>
                  </a:lnTo>
                  <a:lnTo>
                    <a:pt x="131177" y="1104999"/>
                  </a:lnTo>
                  <a:lnTo>
                    <a:pt x="134150" y="1104563"/>
                  </a:lnTo>
                  <a:lnTo>
                    <a:pt x="137559" y="1110097"/>
                  </a:lnTo>
                  <a:lnTo>
                    <a:pt x="137184" y="1111785"/>
                  </a:lnTo>
                  <a:lnTo>
                    <a:pt x="134489" y="1113618"/>
                  </a:lnTo>
                  <a:lnTo>
                    <a:pt x="132678" y="1114020"/>
                  </a:lnTo>
                  <a:lnTo>
                    <a:pt x="130956" y="1113465"/>
                  </a:lnTo>
                  <a:lnTo>
                    <a:pt x="131077" y="1112534"/>
                  </a:lnTo>
                  <a:lnTo>
                    <a:pt x="130764" y="1111720"/>
                  </a:lnTo>
                  <a:lnTo>
                    <a:pt x="129587" y="1110665"/>
                  </a:lnTo>
                  <a:lnTo>
                    <a:pt x="128485" y="1110765"/>
                  </a:lnTo>
                  <a:lnTo>
                    <a:pt x="126709" y="1111544"/>
                  </a:lnTo>
                  <a:lnTo>
                    <a:pt x="125860" y="1111448"/>
                  </a:lnTo>
                  <a:lnTo>
                    <a:pt x="124059" y="1110589"/>
                  </a:lnTo>
                  <a:lnTo>
                    <a:pt x="120906" y="1109955"/>
                  </a:lnTo>
                  <a:lnTo>
                    <a:pt x="120281" y="1109169"/>
                  </a:lnTo>
                  <a:lnTo>
                    <a:pt x="120211" y="1108013"/>
                  </a:lnTo>
                  <a:lnTo>
                    <a:pt x="119615" y="1107434"/>
                  </a:lnTo>
                  <a:lnTo>
                    <a:pt x="116329" y="1105580"/>
                  </a:lnTo>
                  <a:lnTo>
                    <a:pt x="114225" y="1104002"/>
                  </a:lnTo>
                  <a:lnTo>
                    <a:pt x="112442" y="1103789"/>
                  </a:lnTo>
                  <a:lnTo>
                    <a:pt x="111792" y="1103977"/>
                  </a:lnTo>
                  <a:lnTo>
                    <a:pt x="111131" y="1104734"/>
                  </a:lnTo>
                  <a:lnTo>
                    <a:pt x="109528" y="1105456"/>
                  </a:lnTo>
                  <a:lnTo>
                    <a:pt x="109069" y="1105336"/>
                  </a:lnTo>
                  <a:lnTo>
                    <a:pt x="108556" y="1104734"/>
                  </a:lnTo>
                  <a:lnTo>
                    <a:pt x="108295" y="1103871"/>
                  </a:lnTo>
                  <a:lnTo>
                    <a:pt x="108971" y="1102116"/>
                  </a:lnTo>
                  <a:close/>
                  <a:moveTo>
                    <a:pt x="94113" y="1068756"/>
                  </a:moveTo>
                  <a:lnTo>
                    <a:pt x="101500" y="1070092"/>
                  </a:lnTo>
                  <a:lnTo>
                    <a:pt x="105329" y="1071230"/>
                  </a:lnTo>
                  <a:lnTo>
                    <a:pt x="109479" y="1073899"/>
                  </a:lnTo>
                  <a:lnTo>
                    <a:pt x="115102" y="1076678"/>
                  </a:lnTo>
                  <a:lnTo>
                    <a:pt x="118824" y="1076650"/>
                  </a:lnTo>
                  <a:lnTo>
                    <a:pt x="118801" y="1078389"/>
                  </a:lnTo>
                  <a:lnTo>
                    <a:pt x="119256" y="1081352"/>
                  </a:lnTo>
                  <a:lnTo>
                    <a:pt x="118669" y="1082555"/>
                  </a:lnTo>
                  <a:lnTo>
                    <a:pt x="117277" y="1083783"/>
                  </a:lnTo>
                  <a:lnTo>
                    <a:pt x="116400" y="1085531"/>
                  </a:lnTo>
                  <a:lnTo>
                    <a:pt x="115747" y="1085800"/>
                  </a:lnTo>
                  <a:lnTo>
                    <a:pt x="111656" y="1083688"/>
                  </a:lnTo>
                  <a:lnTo>
                    <a:pt x="107380" y="1080811"/>
                  </a:lnTo>
                  <a:lnTo>
                    <a:pt x="105228" y="1081315"/>
                  </a:lnTo>
                  <a:lnTo>
                    <a:pt x="102377" y="1080609"/>
                  </a:lnTo>
                  <a:lnTo>
                    <a:pt x="100079" y="1080763"/>
                  </a:lnTo>
                  <a:lnTo>
                    <a:pt x="98650" y="1082392"/>
                  </a:lnTo>
                  <a:lnTo>
                    <a:pt x="95328" y="1083244"/>
                  </a:lnTo>
                  <a:lnTo>
                    <a:pt x="94724" y="1079976"/>
                  </a:lnTo>
                  <a:lnTo>
                    <a:pt x="91701" y="1076891"/>
                  </a:lnTo>
                  <a:lnTo>
                    <a:pt x="88688" y="1074419"/>
                  </a:lnTo>
                  <a:lnTo>
                    <a:pt x="90321" y="1070632"/>
                  </a:lnTo>
                  <a:lnTo>
                    <a:pt x="92275" y="1070021"/>
                  </a:lnTo>
                  <a:close/>
                  <a:moveTo>
                    <a:pt x="67308" y="1051776"/>
                  </a:moveTo>
                  <a:lnTo>
                    <a:pt x="68108" y="1052470"/>
                  </a:lnTo>
                  <a:lnTo>
                    <a:pt x="69404" y="1052764"/>
                  </a:lnTo>
                  <a:lnTo>
                    <a:pt x="70005" y="1053434"/>
                  </a:lnTo>
                  <a:lnTo>
                    <a:pt x="70614" y="1054787"/>
                  </a:lnTo>
                  <a:lnTo>
                    <a:pt x="71297" y="1057592"/>
                  </a:lnTo>
                  <a:lnTo>
                    <a:pt x="71654" y="1058129"/>
                  </a:lnTo>
                  <a:lnTo>
                    <a:pt x="73501" y="1057681"/>
                  </a:lnTo>
                  <a:lnTo>
                    <a:pt x="76642" y="1057424"/>
                  </a:lnTo>
                  <a:lnTo>
                    <a:pt x="81795" y="1058467"/>
                  </a:lnTo>
                  <a:lnTo>
                    <a:pt x="82380" y="1058839"/>
                  </a:lnTo>
                  <a:lnTo>
                    <a:pt x="84568" y="1061910"/>
                  </a:lnTo>
                  <a:lnTo>
                    <a:pt x="86248" y="1063223"/>
                  </a:lnTo>
                  <a:lnTo>
                    <a:pt x="88816" y="1066066"/>
                  </a:lnTo>
                  <a:lnTo>
                    <a:pt x="86258" y="1067964"/>
                  </a:lnTo>
                  <a:lnTo>
                    <a:pt x="84745" y="1070699"/>
                  </a:lnTo>
                  <a:lnTo>
                    <a:pt x="84663" y="1072088"/>
                  </a:lnTo>
                  <a:lnTo>
                    <a:pt x="83665" y="1072889"/>
                  </a:lnTo>
                  <a:lnTo>
                    <a:pt x="82094" y="1073722"/>
                  </a:lnTo>
                  <a:lnTo>
                    <a:pt x="79751" y="1075323"/>
                  </a:lnTo>
                  <a:lnTo>
                    <a:pt x="76869" y="1075503"/>
                  </a:lnTo>
                  <a:lnTo>
                    <a:pt x="74027" y="1076347"/>
                  </a:lnTo>
                  <a:lnTo>
                    <a:pt x="72716" y="1077112"/>
                  </a:lnTo>
                  <a:lnTo>
                    <a:pt x="71938" y="1077163"/>
                  </a:lnTo>
                  <a:lnTo>
                    <a:pt x="71018" y="1076748"/>
                  </a:lnTo>
                  <a:lnTo>
                    <a:pt x="70035" y="1075961"/>
                  </a:lnTo>
                  <a:lnTo>
                    <a:pt x="69717" y="1075051"/>
                  </a:lnTo>
                  <a:lnTo>
                    <a:pt x="71666" y="1074205"/>
                  </a:lnTo>
                  <a:lnTo>
                    <a:pt x="74203" y="1071184"/>
                  </a:lnTo>
                  <a:lnTo>
                    <a:pt x="74657" y="1068059"/>
                  </a:lnTo>
                  <a:lnTo>
                    <a:pt x="71920" y="1067494"/>
                  </a:lnTo>
                  <a:lnTo>
                    <a:pt x="70287" y="1067921"/>
                  </a:lnTo>
                  <a:lnTo>
                    <a:pt x="69068" y="1067910"/>
                  </a:lnTo>
                  <a:lnTo>
                    <a:pt x="67668" y="1066948"/>
                  </a:lnTo>
                  <a:lnTo>
                    <a:pt x="66816" y="1068423"/>
                  </a:lnTo>
                  <a:lnTo>
                    <a:pt x="66498" y="1069833"/>
                  </a:lnTo>
                  <a:lnTo>
                    <a:pt x="66871" y="1071993"/>
                  </a:lnTo>
                  <a:lnTo>
                    <a:pt x="66620" y="1072689"/>
                  </a:lnTo>
                  <a:lnTo>
                    <a:pt x="65625" y="1073083"/>
                  </a:lnTo>
                  <a:lnTo>
                    <a:pt x="63326" y="1072264"/>
                  </a:lnTo>
                  <a:lnTo>
                    <a:pt x="60941" y="1070808"/>
                  </a:lnTo>
                  <a:lnTo>
                    <a:pt x="60752" y="1069963"/>
                  </a:lnTo>
                  <a:lnTo>
                    <a:pt x="61242" y="1067053"/>
                  </a:lnTo>
                  <a:lnTo>
                    <a:pt x="61189" y="1065536"/>
                  </a:lnTo>
                  <a:lnTo>
                    <a:pt x="60697" y="1063355"/>
                  </a:lnTo>
                  <a:lnTo>
                    <a:pt x="60432" y="1063127"/>
                  </a:lnTo>
                  <a:lnTo>
                    <a:pt x="59536" y="1063174"/>
                  </a:lnTo>
                  <a:lnTo>
                    <a:pt x="56726" y="1063594"/>
                  </a:lnTo>
                  <a:lnTo>
                    <a:pt x="53920" y="1060800"/>
                  </a:lnTo>
                  <a:lnTo>
                    <a:pt x="52401" y="1057853"/>
                  </a:lnTo>
                  <a:lnTo>
                    <a:pt x="47230" y="1057005"/>
                  </a:lnTo>
                  <a:lnTo>
                    <a:pt x="51259" y="1052895"/>
                  </a:lnTo>
                  <a:lnTo>
                    <a:pt x="57331" y="1052315"/>
                  </a:lnTo>
                  <a:lnTo>
                    <a:pt x="59391" y="1054393"/>
                  </a:lnTo>
                  <a:lnTo>
                    <a:pt x="66148" y="1055833"/>
                  </a:lnTo>
                  <a:lnTo>
                    <a:pt x="65744" y="1053627"/>
                  </a:lnTo>
                  <a:lnTo>
                    <a:pt x="65856" y="1052838"/>
                  </a:lnTo>
                  <a:lnTo>
                    <a:pt x="66784" y="1051857"/>
                  </a:lnTo>
                  <a:close/>
                  <a:moveTo>
                    <a:pt x="26322" y="1029076"/>
                  </a:moveTo>
                  <a:lnTo>
                    <a:pt x="28818" y="1030357"/>
                  </a:lnTo>
                  <a:lnTo>
                    <a:pt x="31277" y="1032561"/>
                  </a:lnTo>
                  <a:lnTo>
                    <a:pt x="32604" y="1033397"/>
                  </a:lnTo>
                  <a:lnTo>
                    <a:pt x="33529" y="1035534"/>
                  </a:lnTo>
                  <a:lnTo>
                    <a:pt x="33946" y="1035845"/>
                  </a:lnTo>
                  <a:lnTo>
                    <a:pt x="34943" y="1035772"/>
                  </a:lnTo>
                  <a:lnTo>
                    <a:pt x="36348" y="1036328"/>
                  </a:lnTo>
                  <a:lnTo>
                    <a:pt x="41638" y="1037008"/>
                  </a:lnTo>
                  <a:lnTo>
                    <a:pt x="46374" y="1038618"/>
                  </a:lnTo>
                  <a:lnTo>
                    <a:pt x="48844" y="1040124"/>
                  </a:lnTo>
                  <a:lnTo>
                    <a:pt x="52083" y="1040598"/>
                  </a:lnTo>
                  <a:lnTo>
                    <a:pt x="54739" y="1042518"/>
                  </a:lnTo>
                  <a:lnTo>
                    <a:pt x="55873" y="1043011"/>
                  </a:lnTo>
                  <a:lnTo>
                    <a:pt x="57242" y="1043159"/>
                  </a:lnTo>
                  <a:lnTo>
                    <a:pt x="60798" y="1046717"/>
                  </a:lnTo>
                  <a:lnTo>
                    <a:pt x="60997" y="1047124"/>
                  </a:lnTo>
                  <a:lnTo>
                    <a:pt x="65032" y="1049931"/>
                  </a:lnTo>
                  <a:lnTo>
                    <a:pt x="65239" y="1050378"/>
                  </a:lnTo>
                  <a:lnTo>
                    <a:pt x="62943" y="1050534"/>
                  </a:lnTo>
                  <a:lnTo>
                    <a:pt x="58287" y="1049227"/>
                  </a:lnTo>
                  <a:lnTo>
                    <a:pt x="55963" y="1049157"/>
                  </a:lnTo>
                  <a:lnTo>
                    <a:pt x="54283" y="1048756"/>
                  </a:lnTo>
                  <a:lnTo>
                    <a:pt x="53889" y="1048526"/>
                  </a:lnTo>
                  <a:lnTo>
                    <a:pt x="53556" y="1046898"/>
                  </a:lnTo>
                  <a:lnTo>
                    <a:pt x="53020" y="1046097"/>
                  </a:lnTo>
                  <a:lnTo>
                    <a:pt x="48547" y="1042346"/>
                  </a:lnTo>
                  <a:lnTo>
                    <a:pt x="46685" y="1041528"/>
                  </a:lnTo>
                  <a:lnTo>
                    <a:pt x="43463" y="1040803"/>
                  </a:lnTo>
                  <a:lnTo>
                    <a:pt x="39797" y="1041310"/>
                  </a:lnTo>
                  <a:lnTo>
                    <a:pt x="37317" y="1040826"/>
                  </a:lnTo>
                  <a:lnTo>
                    <a:pt x="36459" y="1041000"/>
                  </a:lnTo>
                  <a:lnTo>
                    <a:pt x="32802" y="1038024"/>
                  </a:lnTo>
                  <a:lnTo>
                    <a:pt x="29154" y="1035518"/>
                  </a:lnTo>
                  <a:lnTo>
                    <a:pt x="27591" y="1032531"/>
                  </a:lnTo>
                  <a:lnTo>
                    <a:pt x="25268" y="1030251"/>
                  </a:lnTo>
                  <a:lnTo>
                    <a:pt x="25257" y="1029584"/>
                  </a:lnTo>
                  <a:close/>
                  <a:moveTo>
                    <a:pt x="159594" y="1020614"/>
                  </a:moveTo>
                  <a:lnTo>
                    <a:pt x="165858" y="1026808"/>
                  </a:lnTo>
                  <a:lnTo>
                    <a:pt x="168066" y="1027038"/>
                  </a:lnTo>
                  <a:lnTo>
                    <a:pt x="175422" y="1023705"/>
                  </a:lnTo>
                  <a:lnTo>
                    <a:pt x="176241" y="1023885"/>
                  </a:lnTo>
                  <a:lnTo>
                    <a:pt x="178734" y="1025576"/>
                  </a:lnTo>
                  <a:lnTo>
                    <a:pt x="179476" y="1026297"/>
                  </a:lnTo>
                  <a:lnTo>
                    <a:pt x="179431" y="1036465"/>
                  </a:lnTo>
                  <a:lnTo>
                    <a:pt x="179388" y="1046517"/>
                  </a:lnTo>
                  <a:lnTo>
                    <a:pt x="179347" y="1055955"/>
                  </a:lnTo>
                  <a:lnTo>
                    <a:pt x="179305" y="1065423"/>
                  </a:lnTo>
                  <a:lnTo>
                    <a:pt x="179266" y="1074598"/>
                  </a:lnTo>
                  <a:lnTo>
                    <a:pt x="179226" y="1084052"/>
                  </a:lnTo>
                  <a:lnTo>
                    <a:pt x="179031" y="1094686"/>
                  </a:lnTo>
                  <a:lnTo>
                    <a:pt x="178886" y="1102617"/>
                  </a:lnTo>
                  <a:lnTo>
                    <a:pt x="175067" y="1102617"/>
                  </a:lnTo>
                  <a:lnTo>
                    <a:pt x="174060" y="1103431"/>
                  </a:lnTo>
                  <a:lnTo>
                    <a:pt x="168023" y="1104596"/>
                  </a:lnTo>
                  <a:lnTo>
                    <a:pt x="157763" y="1102803"/>
                  </a:lnTo>
                  <a:lnTo>
                    <a:pt x="155195" y="1101181"/>
                  </a:lnTo>
                  <a:lnTo>
                    <a:pt x="151750" y="1097644"/>
                  </a:lnTo>
                  <a:lnTo>
                    <a:pt x="150523" y="1098593"/>
                  </a:lnTo>
                  <a:lnTo>
                    <a:pt x="147285" y="1100093"/>
                  </a:lnTo>
                  <a:lnTo>
                    <a:pt x="143962" y="1101278"/>
                  </a:lnTo>
                  <a:lnTo>
                    <a:pt x="141235" y="1101408"/>
                  </a:lnTo>
                  <a:lnTo>
                    <a:pt x="138707" y="1099942"/>
                  </a:lnTo>
                  <a:lnTo>
                    <a:pt x="138168" y="1099197"/>
                  </a:lnTo>
                  <a:lnTo>
                    <a:pt x="137592" y="1099036"/>
                  </a:lnTo>
                  <a:lnTo>
                    <a:pt x="132130" y="1101068"/>
                  </a:lnTo>
                  <a:lnTo>
                    <a:pt x="126095" y="1098994"/>
                  </a:lnTo>
                  <a:lnTo>
                    <a:pt x="121289" y="1097723"/>
                  </a:lnTo>
                  <a:lnTo>
                    <a:pt x="113567" y="1097013"/>
                  </a:lnTo>
                  <a:lnTo>
                    <a:pt x="108201" y="1094398"/>
                  </a:lnTo>
                  <a:lnTo>
                    <a:pt x="98295" y="1094628"/>
                  </a:lnTo>
                  <a:lnTo>
                    <a:pt x="96520" y="1093764"/>
                  </a:lnTo>
                  <a:lnTo>
                    <a:pt x="95856" y="1091212"/>
                  </a:lnTo>
                  <a:lnTo>
                    <a:pt x="96383" y="1090025"/>
                  </a:lnTo>
                  <a:lnTo>
                    <a:pt x="98501" y="1089310"/>
                  </a:lnTo>
                  <a:lnTo>
                    <a:pt x="99091" y="1087895"/>
                  </a:lnTo>
                  <a:lnTo>
                    <a:pt x="101230" y="1088234"/>
                  </a:lnTo>
                  <a:lnTo>
                    <a:pt x="104006" y="1090107"/>
                  </a:lnTo>
                  <a:lnTo>
                    <a:pt x="104857" y="1090042"/>
                  </a:lnTo>
                  <a:lnTo>
                    <a:pt x="106693" y="1088278"/>
                  </a:lnTo>
                  <a:lnTo>
                    <a:pt x="109405" y="1086714"/>
                  </a:lnTo>
                  <a:lnTo>
                    <a:pt x="110373" y="1086547"/>
                  </a:lnTo>
                  <a:lnTo>
                    <a:pt x="115353" y="1088477"/>
                  </a:lnTo>
                  <a:lnTo>
                    <a:pt x="117354" y="1088254"/>
                  </a:lnTo>
                  <a:lnTo>
                    <a:pt x="120231" y="1087390"/>
                  </a:lnTo>
                  <a:lnTo>
                    <a:pt x="120745" y="1086639"/>
                  </a:lnTo>
                  <a:lnTo>
                    <a:pt x="121201" y="1085311"/>
                  </a:lnTo>
                  <a:lnTo>
                    <a:pt x="121960" y="1084535"/>
                  </a:lnTo>
                  <a:lnTo>
                    <a:pt x="124521" y="1084164"/>
                  </a:lnTo>
                  <a:lnTo>
                    <a:pt x="127017" y="1084918"/>
                  </a:lnTo>
                  <a:lnTo>
                    <a:pt x="127303" y="1087222"/>
                  </a:lnTo>
                  <a:lnTo>
                    <a:pt x="126959" y="1089697"/>
                  </a:lnTo>
                  <a:lnTo>
                    <a:pt x="130207" y="1090360"/>
                  </a:lnTo>
                  <a:lnTo>
                    <a:pt x="134139" y="1090285"/>
                  </a:lnTo>
                  <a:lnTo>
                    <a:pt x="136851" y="1091205"/>
                  </a:lnTo>
                  <a:lnTo>
                    <a:pt x="137189" y="1089700"/>
                  </a:lnTo>
                  <a:lnTo>
                    <a:pt x="132862" y="1085772"/>
                  </a:lnTo>
                  <a:lnTo>
                    <a:pt x="131044" y="1083333"/>
                  </a:lnTo>
                  <a:lnTo>
                    <a:pt x="128607" y="1081897"/>
                  </a:lnTo>
                  <a:lnTo>
                    <a:pt x="125469" y="1081164"/>
                  </a:lnTo>
                  <a:lnTo>
                    <a:pt x="122852" y="1076601"/>
                  </a:lnTo>
                  <a:lnTo>
                    <a:pt x="123013" y="1072611"/>
                  </a:lnTo>
                  <a:lnTo>
                    <a:pt x="122734" y="1068731"/>
                  </a:lnTo>
                  <a:lnTo>
                    <a:pt x="128394" y="1066602"/>
                  </a:lnTo>
                  <a:lnTo>
                    <a:pt x="127099" y="1063294"/>
                  </a:lnTo>
                  <a:lnTo>
                    <a:pt x="129047" y="1060786"/>
                  </a:lnTo>
                  <a:lnTo>
                    <a:pt x="131265" y="1059826"/>
                  </a:lnTo>
                  <a:lnTo>
                    <a:pt x="133500" y="1069054"/>
                  </a:lnTo>
                  <a:lnTo>
                    <a:pt x="135107" y="1072295"/>
                  </a:lnTo>
                  <a:lnTo>
                    <a:pt x="133059" y="1072954"/>
                  </a:lnTo>
                  <a:lnTo>
                    <a:pt x="128766" y="1072950"/>
                  </a:lnTo>
                  <a:lnTo>
                    <a:pt x="131164" y="1077496"/>
                  </a:lnTo>
                  <a:lnTo>
                    <a:pt x="135102" y="1079048"/>
                  </a:lnTo>
                  <a:lnTo>
                    <a:pt x="138497" y="1082424"/>
                  </a:lnTo>
                  <a:lnTo>
                    <a:pt x="138566" y="1084877"/>
                  </a:lnTo>
                  <a:lnTo>
                    <a:pt x="140451" y="1085983"/>
                  </a:lnTo>
                  <a:lnTo>
                    <a:pt x="144986" y="1086055"/>
                  </a:lnTo>
                  <a:lnTo>
                    <a:pt x="148109" y="1085570"/>
                  </a:lnTo>
                  <a:lnTo>
                    <a:pt x="149578" y="1083939"/>
                  </a:lnTo>
                  <a:lnTo>
                    <a:pt x="151283" y="1083417"/>
                  </a:lnTo>
                  <a:lnTo>
                    <a:pt x="154330" y="1085451"/>
                  </a:lnTo>
                  <a:lnTo>
                    <a:pt x="159461" y="1086956"/>
                  </a:lnTo>
                  <a:lnTo>
                    <a:pt x="160843" y="1088023"/>
                  </a:lnTo>
                  <a:lnTo>
                    <a:pt x="161850" y="1089792"/>
                  </a:lnTo>
                  <a:lnTo>
                    <a:pt x="161916" y="1091701"/>
                  </a:lnTo>
                  <a:lnTo>
                    <a:pt x="162180" y="1092710"/>
                  </a:lnTo>
                  <a:lnTo>
                    <a:pt x="163673" y="1092217"/>
                  </a:lnTo>
                  <a:lnTo>
                    <a:pt x="165803" y="1089621"/>
                  </a:lnTo>
                  <a:lnTo>
                    <a:pt x="166851" y="1088722"/>
                  </a:lnTo>
                  <a:lnTo>
                    <a:pt x="168134" y="1088282"/>
                  </a:lnTo>
                  <a:lnTo>
                    <a:pt x="168946" y="1087700"/>
                  </a:lnTo>
                  <a:lnTo>
                    <a:pt x="168969" y="1086942"/>
                  </a:lnTo>
                  <a:lnTo>
                    <a:pt x="165132" y="1085113"/>
                  </a:lnTo>
                  <a:lnTo>
                    <a:pt x="145038" y="1076554"/>
                  </a:lnTo>
                  <a:lnTo>
                    <a:pt x="142567" y="1073144"/>
                  </a:lnTo>
                  <a:lnTo>
                    <a:pt x="140905" y="1068867"/>
                  </a:lnTo>
                  <a:lnTo>
                    <a:pt x="140962" y="1064461"/>
                  </a:lnTo>
                  <a:lnTo>
                    <a:pt x="142427" y="1063097"/>
                  </a:lnTo>
                  <a:lnTo>
                    <a:pt x="146011" y="1061358"/>
                  </a:lnTo>
                  <a:lnTo>
                    <a:pt x="152604" y="1058910"/>
                  </a:lnTo>
                  <a:lnTo>
                    <a:pt x="160205" y="1055401"/>
                  </a:lnTo>
                  <a:lnTo>
                    <a:pt x="161156" y="1054730"/>
                  </a:lnTo>
                  <a:lnTo>
                    <a:pt x="161067" y="1052531"/>
                  </a:lnTo>
                  <a:lnTo>
                    <a:pt x="160114" y="1051051"/>
                  </a:lnTo>
                  <a:lnTo>
                    <a:pt x="157097" y="1049967"/>
                  </a:lnTo>
                  <a:lnTo>
                    <a:pt x="153941" y="1049694"/>
                  </a:lnTo>
                  <a:lnTo>
                    <a:pt x="150933" y="1049802"/>
                  </a:lnTo>
                  <a:lnTo>
                    <a:pt x="147929" y="1050260"/>
                  </a:lnTo>
                  <a:lnTo>
                    <a:pt x="142445" y="1052595"/>
                  </a:lnTo>
                  <a:lnTo>
                    <a:pt x="139340" y="1052450"/>
                  </a:lnTo>
                  <a:lnTo>
                    <a:pt x="136387" y="1051196"/>
                  </a:lnTo>
                  <a:lnTo>
                    <a:pt x="134197" y="1048684"/>
                  </a:lnTo>
                  <a:lnTo>
                    <a:pt x="133066" y="1045289"/>
                  </a:lnTo>
                  <a:lnTo>
                    <a:pt x="133074" y="1043125"/>
                  </a:lnTo>
                  <a:lnTo>
                    <a:pt x="133495" y="1041137"/>
                  </a:lnTo>
                  <a:lnTo>
                    <a:pt x="134831" y="1039107"/>
                  </a:lnTo>
                  <a:lnTo>
                    <a:pt x="136622" y="1038221"/>
                  </a:lnTo>
                  <a:lnTo>
                    <a:pt x="138237" y="1038339"/>
                  </a:lnTo>
                  <a:lnTo>
                    <a:pt x="139755" y="1037863"/>
                  </a:lnTo>
                  <a:lnTo>
                    <a:pt x="140657" y="1037166"/>
                  </a:lnTo>
                  <a:lnTo>
                    <a:pt x="141425" y="1036234"/>
                  </a:lnTo>
                  <a:lnTo>
                    <a:pt x="141199" y="1035430"/>
                  </a:lnTo>
                  <a:lnTo>
                    <a:pt x="140610" y="1034733"/>
                  </a:lnTo>
                  <a:lnTo>
                    <a:pt x="138164" y="1033300"/>
                  </a:lnTo>
                  <a:lnTo>
                    <a:pt x="137197" y="1031922"/>
                  </a:lnTo>
                  <a:lnTo>
                    <a:pt x="135098" y="1029694"/>
                  </a:lnTo>
                  <a:lnTo>
                    <a:pt x="136244" y="1029072"/>
                  </a:lnTo>
                  <a:lnTo>
                    <a:pt x="139928" y="1028725"/>
                  </a:lnTo>
                  <a:lnTo>
                    <a:pt x="142499" y="1030263"/>
                  </a:lnTo>
                  <a:lnTo>
                    <a:pt x="144900" y="1032069"/>
                  </a:lnTo>
                  <a:lnTo>
                    <a:pt x="146374" y="1032062"/>
                  </a:lnTo>
                  <a:lnTo>
                    <a:pt x="147698" y="1031306"/>
                  </a:lnTo>
                  <a:lnTo>
                    <a:pt x="150731" y="1028989"/>
                  </a:lnTo>
                  <a:lnTo>
                    <a:pt x="153275" y="1026079"/>
                  </a:lnTo>
                  <a:lnTo>
                    <a:pt x="155592" y="1022767"/>
                  </a:lnTo>
                  <a:lnTo>
                    <a:pt x="157456" y="1020791"/>
                  </a:lnTo>
                  <a:close/>
                  <a:moveTo>
                    <a:pt x="31881" y="994765"/>
                  </a:moveTo>
                  <a:lnTo>
                    <a:pt x="34129" y="995636"/>
                  </a:lnTo>
                  <a:lnTo>
                    <a:pt x="35052" y="996297"/>
                  </a:lnTo>
                  <a:lnTo>
                    <a:pt x="36286" y="997697"/>
                  </a:lnTo>
                  <a:lnTo>
                    <a:pt x="39928" y="999702"/>
                  </a:lnTo>
                  <a:lnTo>
                    <a:pt x="40384" y="1000297"/>
                  </a:lnTo>
                  <a:lnTo>
                    <a:pt x="40296" y="1001066"/>
                  </a:lnTo>
                  <a:lnTo>
                    <a:pt x="39706" y="1001740"/>
                  </a:lnTo>
                  <a:lnTo>
                    <a:pt x="38948" y="1002114"/>
                  </a:lnTo>
                  <a:lnTo>
                    <a:pt x="36133" y="1001322"/>
                  </a:lnTo>
                  <a:lnTo>
                    <a:pt x="34723" y="1000618"/>
                  </a:lnTo>
                  <a:lnTo>
                    <a:pt x="32569" y="998830"/>
                  </a:lnTo>
                  <a:lnTo>
                    <a:pt x="32227" y="996987"/>
                  </a:lnTo>
                  <a:lnTo>
                    <a:pt x="31257" y="994791"/>
                  </a:lnTo>
                  <a:close/>
                  <a:moveTo>
                    <a:pt x="22444" y="991565"/>
                  </a:moveTo>
                  <a:lnTo>
                    <a:pt x="23529" y="998139"/>
                  </a:lnTo>
                  <a:lnTo>
                    <a:pt x="24306" y="999057"/>
                  </a:lnTo>
                  <a:lnTo>
                    <a:pt x="26893" y="999543"/>
                  </a:lnTo>
                  <a:lnTo>
                    <a:pt x="29699" y="1002894"/>
                  </a:lnTo>
                  <a:lnTo>
                    <a:pt x="29826" y="1003805"/>
                  </a:lnTo>
                  <a:lnTo>
                    <a:pt x="26424" y="1009508"/>
                  </a:lnTo>
                  <a:lnTo>
                    <a:pt x="25701" y="1013560"/>
                  </a:lnTo>
                  <a:lnTo>
                    <a:pt x="21712" y="1013271"/>
                  </a:lnTo>
                  <a:lnTo>
                    <a:pt x="20041" y="1009243"/>
                  </a:lnTo>
                  <a:lnTo>
                    <a:pt x="17520" y="1005361"/>
                  </a:lnTo>
                  <a:lnTo>
                    <a:pt x="16669" y="1000820"/>
                  </a:lnTo>
                  <a:lnTo>
                    <a:pt x="15283" y="996927"/>
                  </a:lnTo>
                  <a:lnTo>
                    <a:pt x="17749" y="994724"/>
                  </a:lnTo>
                  <a:lnTo>
                    <a:pt x="20105" y="995216"/>
                  </a:lnTo>
                  <a:lnTo>
                    <a:pt x="20245" y="992234"/>
                  </a:lnTo>
                  <a:close/>
                  <a:moveTo>
                    <a:pt x="27804" y="977323"/>
                  </a:moveTo>
                  <a:lnTo>
                    <a:pt x="28845" y="978608"/>
                  </a:lnTo>
                  <a:lnTo>
                    <a:pt x="29146" y="979671"/>
                  </a:lnTo>
                  <a:lnTo>
                    <a:pt x="29088" y="982489"/>
                  </a:lnTo>
                  <a:lnTo>
                    <a:pt x="28286" y="983387"/>
                  </a:lnTo>
                  <a:lnTo>
                    <a:pt x="27580" y="983662"/>
                  </a:lnTo>
                  <a:lnTo>
                    <a:pt x="25796" y="982804"/>
                  </a:lnTo>
                  <a:lnTo>
                    <a:pt x="24778" y="982709"/>
                  </a:lnTo>
                  <a:lnTo>
                    <a:pt x="23092" y="984201"/>
                  </a:lnTo>
                  <a:lnTo>
                    <a:pt x="21674" y="984958"/>
                  </a:lnTo>
                  <a:lnTo>
                    <a:pt x="19560" y="984761"/>
                  </a:lnTo>
                  <a:lnTo>
                    <a:pt x="16753" y="983750"/>
                  </a:lnTo>
                  <a:lnTo>
                    <a:pt x="14245" y="987994"/>
                  </a:lnTo>
                  <a:lnTo>
                    <a:pt x="13076" y="989423"/>
                  </a:lnTo>
                  <a:lnTo>
                    <a:pt x="10624" y="991404"/>
                  </a:lnTo>
                  <a:lnTo>
                    <a:pt x="10347" y="989078"/>
                  </a:lnTo>
                  <a:lnTo>
                    <a:pt x="11907" y="985609"/>
                  </a:lnTo>
                  <a:lnTo>
                    <a:pt x="12630" y="983245"/>
                  </a:lnTo>
                  <a:lnTo>
                    <a:pt x="14059" y="979731"/>
                  </a:lnTo>
                  <a:lnTo>
                    <a:pt x="16932" y="981054"/>
                  </a:lnTo>
                  <a:lnTo>
                    <a:pt x="20961" y="979754"/>
                  </a:lnTo>
                  <a:lnTo>
                    <a:pt x="24631" y="977339"/>
                  </a:lnTo>
                  <a:close/>
                  <a:moveTo>
                    <a:pt x="7111" y="953031"/>
                  </a:moveTo>
                  <a:lnTo>
                    <a:pt x="10253" y="953145"/>
                  </a:lnTo>
                  <a:lnTo>
                    <a:pt x="13995" y="953571"/>
                  </a:lnTo>
                  <a:lnTo>
                    <a:pt x="15030" y="954026"/>
                  </a:lnTo>
                  <a:lnTo>
                    <a:pt x="13886" y="955489"/>
                  </a:lnTo>
                  <a:lnTo>
                    <a:pt x="12797" y="956365"/>
                  </a:lnTo>
                  <a:lnTo>
                    <a:pt x="10542" y="956905"/>
                  </a:lnTo>
                  <a:lnTo>
                    <a:pt x="10297" y="959677"/>
                  </a:lnTo>
                  <a:lnTo>
                    <a:pt x="9574" y="962762"/>
                  </a:lnTo>
                  <a:lnTo>
                    <a:pt x="7523" y="962493"/>
                  </a:lnTo>
                  <a:lnTo>
                    <a:pt x="6835" y="961718"/>
                  </a:lnTo>
                  <a:lnTo>
                    <a:pt x="6477" y="959762"/>
                  </a:lnTo>
                  <a:lnTo>
                    <a:pt x="5850" y="958817"/>
                  </a:lnTo>
                  <a:lnTo>
                    <a:pt x="6729" y="956860"/>
                  </a:lnTo>
                  <a:lnTo>
                    <a:pt x="7311" y="954689"/>
                  </a:lnTo>
                  <a:close/>
                  <a:moveTo>
                    <a:pt x="9672" y="937470"/>
                  </a:moveTo>
                  <a:lnTo>
                    <a:pt x="12638" y="938582"/>
                  </a:lnTo>
                  <a:lnTo>
                    <a:pt x="14847" y="938909"/>
                  </a:lnTo>
                  <a:lnTo>
                    <a:pt x="17847" y="940015"/>
                  </a:lnTo>
                  <a:lnTo>
                    <a:pt x="21099" y="940721"/>
                  </a:lnTo>
                  <a:lnTo>
                    <a:pt x="22048" y="943616"/>
                  </a:lnTo>
                  <a:lnTo>
                    <a:pt x="18883" y="944945"/>
                  </a:lnTo>
                  <a:lnTo>
                    <a:pt x="16565" y="946897"/>
                  </a:lnTo>
                  <a:lnTo>
                    <a:pt x="11605" y="949562"/>
                  </a:lnTo>
                  <a:lnTo>
                    <a:pt x="10148" y="948457"/>
                  </a:lnTo>
                  <a:lnTo>
                    <a:pt x="6567" y="948467"/>
                  </a:lnTo>
                  <a:lnTo>
                    <a:pt x="7505" y="945587"/>
                  </a:lnTo>
                  <a:lnTo>
                    <a:pt x="7866" y="943464"/>
                  </a:lnTo>
                  <a:lnTo>
                    <a:pt x="8403" y="942644"/>
                  </a:lnTo>
                  <a:lnTo>
                    <a:pt x="8602" y="940811"/>
                  </a:lnTo>
                  <a:close/>
                  <a:moveTo>
                    <a:pt x="14947" y="896750"/>
                  </a:moveTo>
                  <a:lnTo>
                    <a:pt x="15250" y="898825"/>
                  </a:lnTo>
                  <a:lnTo>
                    <a:pt x="15036" y="901422"/>
                  </a:lnTo>
                  <a:lnTo>
                    <a:pt x="11293" y="906427"/>
                  </a:lnTo>
                  <a:lnTo>
                    <a:pt x="8067" y="909383"/>
                  </a:lnTo>
                  <a:lnTo>
                    <a:pt x="5122" y="911727"/>
                  </a:lnTo>
                  <a:lnTo>
                    <a:pt x="3239" y="911705"/>
                  </a:lnTo>
                  <a:lnTo>
                    <a:pt x="1697" y="910571"/>
                  </a:lnTo>
                  <a:lnTo>
                    <a:pt x="3429" y="908717"/>
                  </a:lnTo>
                  <a:lnTo>
                    <a:pt x="5590" y="906868"/>
                  </a:lnTo>
                  <a:lnTo>
                    <a:pt x="4908" y="904483"/>
                  </a:lnTo>
                  <a:lnTo>
                    <a:pt x="4258" y="903793"/>
                  </a:lnTo>
                  <a:lnTo>
                    <a:pt x="3345" y="903540"/>
                  </a:lnTo>
                  <a:lnTo>
                    <a:pt x="1782" y="902292"/>
                  </a:lnTo>
                  <a:lnTo>
                    <a:pt x="2255" y="900440"/>
                  </a:lnTo>
                  <a:lnTo>
                    <a:pt x="3169" y="899557"/>
                  </a:lnTo>
                  <a:lnTo>
                    <a:pt x="4382" y="898880"/>
                  </a:lnTo>
                  <a:lnTo>
                    <a:pt x="5518" y="899282"/>
                  </a:lnTo>
                  <a:lnTo>
                    <a:pt x="10417" y="897981"/>
                  </a:lnTo>
                  <a:lnTo>
                    <a:pt x="11965" y="896936"/>
                  </a:lnTo>
                  <a:close/>
                  <a:moveTo>
                    <a:pt x="23191" y="894537"/>
                  </a:moveTo>
                  <a:lnTo>
                    <a:pt x="24377" y="894661"/>
                  </a:lnTo>
                  <a:lnTo>
                    <a:pt x="26788" y="895999"/>
                  </a:lnTo>
                  <a:lnTo>
                    <a:pt x="28943" y="896157"/>
                  </a:lnTo>
                  <a:lnTo>
                    <a:pt x="29464" y="896553"/>
                  </a:lnTo>
                  <a:lnTo>
                    <a:pt x="29855" y="898045"/>
                  </a:lnTo>
                  <a:lnTo>
                    <a:pt x="31236" y="909012"/>
                  </a:lnTo>
                  <a:lnTo>
                    <a:pt x="31474" y="913823"/>
                  </a:lnTo>
                  <a:lnTo>
                    <a:pt x="31047" y="918666"/>
                  </a:lnTo>
                  <a:lnTo>
                    <a:pt x="30073" y="924626"/>
                  </a:lnTo>
                  <a:lnTo>
                    <a:pt x="30232" y="925833"/>
                  </a:lnTo>
                  <a:lnTo>
                    <a:pt x="31371" y="926130"/>
                  </a:lnTo>
                  <a:lnTo>
                    <a:pt x="31676" y="926873"/>
                  </a:lnTo>
                  <a:lnTo>
                    <a:pt x="31343" y="930012"/>
                  </a:lnTo>
                  <a:lnTo>
                    <a:pt x="30731" y="932431"/>
                  </a:lnTo>
                  <a:lnTo>
                    <a:pt x="29552" y="934404"/>
                  </a:lnTo>
                  <a:lnTo>
                    <a:pt x="28862" y="936772"/>
                  </a:lnTo>
                  <a:lnTo>
                    <a:pt x="28230" y="937299"/>
                  </a:lnTo>
                  <a:lnTo>
                    <a:pt x="25475" y="937717"/>
                  </a:lnTo>
                  <a:lnTo>
                    <a:pt x="23964" y="937457"/>
                  </a:lnTo>
                  <a:lnTo>
                    <a:pt x="22750" y="934752"/>
                  </a:lnTo>
                  <a:lnTo>
                    <a:pt x="22399" y="933093"/>
                  </a:lnTo>
                  <a:lnTo>
                    <a:pt x="22469" y="930925"/>
                  </a:lnTo>
                  <a:lnTo>
                    <a:pt x="20986" y="928020"/>
                  </a:lnTo>
                  <a:lnTo>
                    <a:pt x="20940" y="926909"/>
                  </a:lnTo>
                  <a:lnTo>
                    <a:pt x="21520" y="924996"/>
                  </a:lnTo>
                  <a:lnTo>
                    <a:pt x="22720" y="924044"/>
                  </a:lnTo>
                  <a:lnTo>
                    <a:pt x="22902" y="921104"/>
                  </a:lnTo>
                  <a:lnTo>
                    <a:pt x="23507" y="920223"/>
                  </a:lnTo>
                  <a:lnTo>
                    <a:pt x="24875" y="919009"/>
                  </a:lnTo>
                  <a:lnTo>
                    <a:pt x="25083" y="918504"/>
                  </a:lnTo>
                  <a:lnTo>
                    <a:pt x="24956" y="918072"/>
                  </a:lnTo>
                  <a:lnTo>
                    <a:pt x="24449" y="918026"/>
                  </a:lnTo>
                  <a:lnTo>
                    <a:pt x="18966" y="921664"/>
                  </a:lnTo>
                  <a:lnTo>
                    <a:pt x="18428" y="922689"/>
                  </a:lnTo>
                  <a:lnTo>
                    <a:pt x="18187" y="924057"/>
                  </a:lnTo>
                  <a:lnTo>
                    <a:pt x="18118" y="928874"/>
                  </a:lnTo>
                  <a:lnTo>
                    <a:pt x="17154" y="931664"/>
                  </a:lnTo>
                  <a:lnTo>
                    <a:pt x="16280" y="932196"/>
                  </a:lnTo>
                  <a:lnTo>
                    <a:pt x="13721" y="932316"/>
                  </a:lnTo>
                  <a:lnTo>
                    <a:pt x="10345" y="932035"/>
                  </a:lnTo>
                  <a:lnTo>
                    <a:pt x="6514" y="929474"/>
                  </a:lnTo>
                  <a:lnTo>
                    <a:pt x="4014" y="930180"/>
                  </a:lnTo>
                  <a:lnTo>
                    <a:pt x="3498" y="927070"/>
                  </a:lnTo>
                  <a:lnTo>
                    <a:pt x="4750" y="924584"/>
                  </a:lnTo>
                  <a:lnTo>
                    <a:pt x="9407" y="924800"/>
                  </a:lnTo>
                  <a:lnTo>
                    <a:pt x="10198" y="920382"/>
                  </a:lnTo>
                  <a:lnTo>
                    <a:pt x="8719" y="919344"/>
                  </a:lnTo>
                  <a:lnTo>
                    <a:pt x="7080" y="917564"/>
                  </a:lnTo>
                  <a:lnTo>
                    <a:pt x="6101" y="915937"/>
                  </a:lnTo>
                  <a:lnTo>
                    <a:pt x="6971" y="914728"/>
                  </a:lnTo>
                  <a:lnTo>
                    <a:pt x="9672" y="912974"/>
                  </a:lnTo>
                  <a:lnTo>
                    <a:pt x="11118" y="912785"/>
                  </a:lnTo>
                  <a:lnTo>
                    <a:pt x="12456" y="913766"/>
                  </a:lnTo>
                  <a:lnTo>
                    <a:pt x="15772" y="913025"/>
                  </a:lnTo>
                  <a:lnTo>
                    <a:pt x="15578" y="910241"/>
                  </a:lnTo>
                  <a:lnTo>
                    <a:pt x="12625" y="909019"/>
                  </a:lnTo>
                  <a:lnTo>
                    <a:pt x="13283" y="906906"/>
                  </a:lnTo>
                  <a:lnTo>
                    <a:pt x="17013" y="904893"/>
                  </a:lnTo>
                  <a:lnTo>
                    <a:pt x="19242" y="902867"/>
                  </a:lnTo>
                  <a:lnTo>
                    <a:pt x="19343" y="900555"/>
                  </a:lnTo>
                  <a:lnTo>
                    <a:pt x="18442" y="898249"/>
                  </a:lnTo>
                  <a:lnTo>
                    <a:pt x="18727" y="897350"/>
                  </a:lnTo>
                  <a:lnTo>
                    <a:pt x="20585" y="895454"/>
                  </a:lnTo>
                  <a:close/>
                  <a:moveTo>
                    <a:pt x="8030" y="872272"/>
                  </a:moveTo>
                  <a:lnTo>
                    <a:pt x="9373" y="874030"/>
                  </a:lnTo>
                  <a:lnTo>
                    <a:pt x="10968" y="878709"/>
                  </a:lnTo>
                  <a:lnTo>
                    <a:pt x="14011" y="885423"/>
                  </a:lnTo>
                  <a:lnTo>
                    <a:pt x="13935" y="891849"/>
                  </a:lnTo>
                  <a:lnTo>
                    <a:pt x="12246" y="893438"/>
                  </a:lnTo>
                  <a:lnTo>
                    <a:pt x="6949" y="895061"/>
                  </a:lnTo>
                  <a:lnTo>
                    <a:pt x="5016" y="896441"/>
                  </a:lnTo>
                  <a:lnTo>
                    <a:pt x="2161" y="896479"/>
                  </a:lnTo>
                  <a:lnTo>
                    <a:pt x="1449" y="890666"/>
                  </a:lnTo>
                  <a:lnTo>
                    <a:pt x="4807" y="882292"/>
                  </a:lnTo>
                  <a:lnTo>
                    <a:pt x="5047" y="879106"/>
                  </a:lnTo>
                  <a:lnTo>
                    <a:pt x="3919" y="876709"/>
                  </a:lnTo>
                  <a:lnTo>
                    <a:pt x="3463" y="874737"/>
                  </a:lnTo>
                  <a:lnTo>
                    <a:pt x="3738" y="873929"/>
                  </a:lnTo>
                  <a:close/>
                  <a:moveTo>
                    <a:pt x="20600" y="866441"/>
                  </a:moveTo>
                  <a:lnTo>
                    <a:pt x="22330" y="866797"/>
                  </a:lnTo>
                  <a:lnTo>
                    <a:pt x="21855" y="872306"/>
                  </a:lnTo>
                  <a:lnTo>
                    <a:pt x="22894" y="874166"/>
                  </a:lnTo>
                  <a:lnTo>
                    <a:pt x="24819" y="875710"/>
                  </a:lnTo>
                  <a:lnTo>
                    <a:pt x="25175" y="876345"/>
                  </a:lnTo>
                  <a:lnTo>
                    <a:pt x="25500" y="878301"/>
                  </a:lnTo>
                  <a:lnTo>
                    <a:pt x="26466" y="881334"/>
                  </a:lnTo>
                  <a:lnTo>
                    <a:pt x="27713" y="882754"/>
                  </a:lnTo>
                  <a:lnTo>
                    <a:pt x="28036" y="883639"/>
                  </a:lnTo>
                  <a:lnTo>
                    <a:pt x="28093" y="884379"/>
                  </a:lnTo>
                  <a:lnTo>
                    <a:pt x="27635" y="885424"/>
                  </a:lnTo>
                  <a:lnTo>
                    <a:pt x="28927" y="890851"/>
                  </a:lnTo>
                  <a:lnTo>
                    <a:pt x="28445" y="891624"/>
                  </a:lnTo>
                  <a:lnTo>
                    <a:pt x="25319" y="891150"/>
                  </a:lnTo>
                  <a:lnTo>
                    <a:pt x="19905" y="891974"/>
                  </a:lnTo>
                  <a:lnTo>
                    <a:pt x="17629" y="889020"/>
                  </a:lnTo>
                  <a:lnTo>
                    <a:pt x="16633" y="884325"/>
                  </a:lnTo>
                  <a:lnTo>
                    <a:pt x="15954" y="883354"/>
                  </a:lnTo>
                  <a:lnTo>
                    <a:pt x="14609" y="880684"/>
                  </a:lnTo>
                  <a:lnTo>
                    <a:pt x="13936" y="878932"/>
                  </a:lnTo>
                  <a:lnTo>
                    <a:pt x="12556" y="876221"/>
                  </a:lnTo>
                  <a:lnTo>
                    <a:pt x="12024" y="873362"/>
                  </a:lnTo>
                  <a:lnTo>
                    <a:pt x="11685" y="872500"/>
                  </a:lnTo>
                  <a:lnTo>
                    <a:pt x="12927" y="870812"/>
                  </a:lnTo>
                  <a:lnTo>
                    <a:pt x="18586" y="869138"/>
                  </a:lnTo>
                  <a:close/>
                  <a:moveTo>
                    <a:pt x="15676" y="861641"/>
                  </a:moveTo>
                  <a:lnTo>
                    <a:pt x="17853" y="861773"/>
                  </a:lnTo>
                  <a:lnTo>
                    <a:pt x="19819" y="862690"/>
                  </a:lnTo>
                  <a:lnTo>
                    <a:pt x="20084" y="863770"/>
                  </a:lnTo>
                  <a:lnTo>
                    <a:pt x="16654" y="865185"/>
                  </a:lnTo>
                  <a:lnTo>
                    <a:pt x="15812" y="865961"/>
                  </a:lnTo>
                  <a:lnTo>
                    <a:pt x="15109" y="866387"/>
                  </a:lnTo>
                  <a:lnTo>
                    <a:pt x="13241" y="866807"/>
                  </a:lnTo>
                  <a:lnTo>
                    <a:pt x="13027" y="865753"/>
                  </a:lnTo>
                  <a:lnTo>
                    <a:pt x="11336" y="864003"/>
                  </a:lnTo>
                  <a:lnTo>
                    <a:pt x="12803" y="862847"/>
                  </a:lnTo>
                  <a:close/>
                  <a:moveTo>
                    <a:pt x="35437" y="781535"/>
                  </a:moveTo>
                  <a:lnTo>
                    <a:pt x="36074" y="784820"/>
                  </a:lnTo>
                  <a:lnTo>
                    <a:pt x="35313" y="790697"/>
                  </a:lnTo>
                  <a:lnTo>
                    <a:pt x="37224" y="794177"/>
                  </a:lnTo>
                  <a:lnTo>
                    <a:pt x="37500" y="795339"/>
                  </a:lnTo>
                  <a:lnTo>
                    <a:pt x="37127" y="796672"/>
                  </a:lnTo>
                  <a:lnTo>
                    <a:pt x="35377" y="797868"/>
                  </a:lnTo>
                  <a:lnTo>
                    <a:pt x="33969" y="799268"/>
                  </a:lnTo>
                  <a:lnTo>
                    <a:pt x="31507" y="799943"/>
                  </a:lnTo>
                  <a:lnTo>
                    <a:pt x="29070" y="798845"/>
                  </a:lnTo>
                  <a:lnTo>
                    <a:pt x="26126" y="799354"/>
                  </a:lnTo>
                  <a:lnTo>
                    <a:pt x="25819" y="796955"/>
                  </a:lnTo>
                  <a:lnTo>
                    <a:pt x="26920" y="794981"/>
                  </a:lnTo>
                  <a:lnTo>
                    <a:pt x="29152" y="792635"/>
                  </a:lnTo>
                  <a:lnTo>
                    <a:pt x="30767" y="789495"/>
                  </a:lnTo>
                  <a:lnTo>
                    <a:pt x="30573" y="785069"/>
                  </a:lnTo>
                  <a:lnTo>
                    <a:pt x="31900" y="784056"/>
                  </a:lnTo>
                  <a:lnTo>
                    <a:pt x="32613" y="782495"/>
                  </a:lnTo>
                  <a:close/>
                  <a:moveTo>
                    <a:pt x="15230" y="769703"/>
                  </a:moveTo>
                  <a:lnTo>
                    <a:pt x="15939" y="769703"/>
                  </a:lnTo>
                  <a:lnTo>
                    <a:pt x="16727" y="770604"/>
                  </a:lnTo>
                  <a:lnTo>
                    <a:pt x="17138" y="772062"/>
                  </a:lnTo>
                  <a:lnTo>
                    <a:pt x="16877" y="772677"/>
                  </a:lnTo>
                  <a:lnTo>
                    <a:pt x="16244" y="773190"/>
                  </a:lnTo>
                  <a:lnTo>
                    <a:pt x="15452" y="773041"/>
                  </a:lnTo>
                  <a:lnTo>
                    <a:pt x="14805" y="772044"/>
                  </a:lnTo>
                  <a:lnTo>
                    <a:pt x="14351" y="770345"/>
                  </a:lnTo>
                  <a:close/>
                  <a:moveTo>
                    <a:pt x="50310" y="761866"/>
                  </a:moveTo>
                  <a:lnTo>
                    <a:pt x="51260" y="761930"/>
                  </a:lnTo>
                  <a:lnTo>
                    <a:pt x="52408" y="763945"/>
                  </a:lnTo>
                  <a:lnTo>
                    <a:pt x="52738" y="766128"/>
                  </a:lnTo>
                  <a:lnTo>
                    <a:pt x="53033" y="768384"/>
                  </a:lnTo>
                  <a:lnTo>
                    <a:pt x="52637" y="770528"/>
                  </a:lnTo>
                  <a:lnTo>
                    <a:pt x="51809" y="770885"/>
                  </a:lnTo>
                  <a:lnTo>
                    <a:pt x="51055" y="770831"/>
                  </a:lnTo>
                  <a:lnTo>
                    <a:pt x="50290" y="769757"/>
                  </a:lnTo>
                  <a:lnTo>
                    <a:pt x="50034" y="768344"/>
                  </a:lnTo>
                  <a:lnTo>
                    <a:pt x="48378" y="766232"/>
                  </a:lnTo>
                  <a:lnTo>
                    <a:pt x="47914" y="765235"/>
                  </a:lnTo>
                  <a:lnTo>
                    <a:pt x="47950" y="764042"/>
                  </a:lnTo>
                  <a:lnTo>
                    <a:pt x="48902" y="762332"/>
                  </a:lnTo>
                  <a:close/>
                  <a:moveTo>
                    <a:pt x="63401" y="755344"/>
                  </a:moveTo>
                  <a:lnTo>
                    <a:pt x="67947" y="756873"/>
                  </a:lnTo>
                  <a:lnTo>
                    <a:pt x="72662" y="759168"/>
                  </a:lnTo>
                  <a:lnTo>
                    <a:pt x="74338" y="760755"/>
                  </a:lnTo>
                  <a:lnTo>
                    <a:pt x="74650" y="762016"/>
                  </a:lnTo>
                  <a:lnTo>
                    <a:pt x="72589" y="764808"/>
                  </a:lnTo>
                  <a:lnTo>
                    <a:pt x="71275" y="767106"/>
                  </a:lnTo>
                  <a:lnTo>
                    <a:pt x="69019" y="769233"/>
                  </a:lnTo>
                  <a:lnTo>
                    <a:pt x="62874" y="771733"/>
                  </a:lnTo>
                  <a:lnTo>
                    <a:pt x="59793" y="770894"/>
                  </a:lnTo>
                  <a:lnTo>
                    <a:pt x="58599" y="769053"/>
                  </a:lnTo>
                  <a:lnTo>
                    <a:pt x="58016" y="767505"/>
                  </a:lnTo>
                  <a:lnTo>
                    <a:pt x="57383" y="764888"/>
                  </a:lnTo>
                  <a:lnTo>
                    <a:pt x="58432" y="763484"/>
                  </a:lnTo>
                  <a:lnTo>
                    <a:pt x="60682" y="761465"/>
                  </a:lnTo>
                  <a:lnTo>
                    <a:pt x="61518" y="760161"/>
                  </a:lnTo>
                  <a:lnTo>
                    <a:pt x="61922" y="758623"/>
                  </a:lnTo>
                  <a:lnTo>
                    <a:pt x="61781" y="757188"/>
                  </a:lnTo>
                  <a:lnTo>
                    <a:pt x="62075" y="755822"/>
                  </a:lnTo>
                  <a:close/>
                  <a:moveTo>
                    <a:pt x="45842" y="749120"/>
                  </a:moveTo>
                  <a:lnTo>
                    <a:pt x="46745" y="750690"/>
                  </a:lnTo>
                  <a:lnTo>
                    <a:pt x="47931" y="752232"/>
                  </a:lnTo>
                  <a:lnTo>
                    <a:pt x="50836" y="753450"/>
                  </a:lnTo>
                  <a:lnTo>
                    <a:pt x="50823" y="755046"/>
                  </a:lnTo>
                  <a:lnTo>
                    <a:pt x="50021" y="757198"/>
                  </a:lnTo>
                  <a:lnTo>
                    <a:pt x="48773" y="758538"/>
                  </a:lnTo>
                  <a:lnTo>
                    <a:pt x="46803" y="758775"/>
                  </a:lnTo>
                  <a:lnTo>
                    <a:pt x="43734" y="760324"/>
                  </a:lnTo>
                  <a:lnTo>
                    <a:pt x="43411" y="761671"/>
                  </a:lnTo>
                  <a:lnTo>
                    <a:pt x="43258" y="763323"/>
                  </a:lnTo>
                  <a:lnTo>
                    <a:pt x="45376" y="765314"/>
                  </a:lnTo>
                  <a:lnTo>
                    <a:pt x="46420" y="767629"/>
                  </a:lnTo>
                  <a:lnTo>
                    <a:pt x="47675" y="771102"/>
                  </a:lnTo>
                  <a:lnTo>
                    <a:pt x="48581" y="774420"/>
                  </a:lnTo>
                  <a:lnTo>
                    <a:pt x="48500" y="775447"/>
                  </a:lnTo>
                  <a:lnTo>
                    <a:pt x="48725" y="777171"/>
                  </a:lnTo>
                  <a:lnTo>
                    <a:pt x="50229" y="779851"/>
                  </a:lnTo>
                  <a:lnTo>
                    <a:pt x="50368" y="781062"/>
                  </a:lnTo>
                  <a:lnTo>
                    <a:pt x="50204" y="782263"/>
                  </a:lnTo>
                  <a:lnTo>
                    <a:pt x="49597" y="784491"/>
                  </a:lnTo>
                  <a:lnTo>
                    <a:pt x="49118" y="784798"/>
                  </a:lnTo>
                  <a:lnTo>
                    <a:pt x="47625" y="785015"/>
                  </a:lnTo>
                  <a:lnTo>
                    <a:pt x="47508" y="786370"/>
                  </a:lnTo>
                  <a:lnTo>
                    <a:pt x="47140" y="786812"/>
                  </a:lnTo>
                  <a:lnTo>
                    <a:pt x="42898" y="786948"/>
                  </a:lnTo>
                  <a:lnTo>
                    <a:pt x="40798" y="786333"/>
                  </a:lnTo>
                  <a:lnTo>
                    <a:pt x="41047" y="782258"/>
                  </a:lnTo>
                  <a:lnTo>
                    <a:pt x="38361" y="780660"/>
                  </a:lnTo>
                  <a:lnTo>
                    <a:pt x="36517" y="777967"/>
                  </a:lnTo>
                  <a:lnTo>
                    <a:pt x="34439" y="773325"/>
                  </a:lnTo>
                  <a:lnTo>
                    <a:pt x="32692" y="771897"/>
                  </a:lnTo>
                  <a:lnTo>
                    <a:pt x="30663" y="768233"/>
                  </a:lnTo>
                  <a:lnTo>
                    <a:pt x="27647" y="765103"/>
                  </a:lnTo>
                  <a:lnTo>
                    <a:pt x="31127" y="763125"/>
                  </a:lnTo>
                  <a:lnTo>
                    <a:pt x="30587" y="759660"/>
                  </a:lnTo>
                  <a:lnTo>
                    <a:pt x="32619" y="758474"/>
                  </a:lnTo>
                  <a:lnTo>
                    <a:pt x="35673" y="757235"/>
                  </a:lnTo>
                  <a:lnTo>
                    <a:pt x="37922" y="758209"/>
                  </a:lnTo>
                  <a:lnTo>
                    <a:pt x="39943" y="757865"/>
                  </a:lnTo>
                  <a:lnTo>
                    <a:pt x="40845" y="757038"/>
                  </a:lnTo>
                  <a:lnTo>
                    <a:pt x="40569" y="753505"/>
                  </a:lnTo>
                  <a:lnTo>
                    <a:pt x="41211" y="750723"/>
                  </a:lnTo>
                  <a:lnTo>
                    <a:pt x="43439" y="749287"/>
                  </a:lnTo>
                  <a:close/>
                  <a:moveTo>
                    <a:pt x="46937" y="738231"/>
                  </a:moveTo>
                  <a:lnTo>
                    <a:pt x="47332" y="738391"/>
                  </a:lnTo>
                  <a:lnTo>
                    <a:pt x="48112" y="739577"/>
                  </a:lnTo>
                  <a:lnTo>
                    <a:pt x="48644" y="741102"/>
                  </a:lnTo>
                  <a:lnTo>
                    <a:pt x="47528" y="741311"/>
                  </a:lnTo>
                  <a:lnTo>
                    <a:pt x="45740" y="741068"/>
                  </a:lnTo>
                  <a:lnTo>
                    <a:pt x="44876" y="742273"/>
                  </a:lnTo>
                  <a:lnTo>
                    <a:pt x="44434" y="742513"/>
                  </a:lnTo>
                  <a:lnTo>
                    <a:pt x="40323" y="741444"/>
                  </a:lnTo>
                  <a:lnTo>
                    <a:pt x="39686" y="740968"/>
                  </a:lnTo>
                  <a:lnTo>
                    <a:pt x="39761" y="739383"/>
                  </a:lnTo>
                  <a:lnTo>
                    <a:pt x="44142" y="739243"/>
                  </a:lnTo>
                  <a:close/>
                  <a:moveTo>
                    <a:pt x="24419" y="730565"/>
                  </a:moveTo>
                  <a:lnTo>
                    <a:pt x="25625" y="731093"/>
                  </a:lnTo>
                  <a:lnTo>
                    <a:pt x="26254" y="731847"/>
                  </a:lnTo>
                  <a:lnTo>
                    <a:pt x="26454" y="732533"/>
                  </a:lnTo>
                  <a:lnTo>
                    <a:pt x="26353" y="732786"/>
                  </a:lnTo>
                  <a:lnTo>
                    <a:pt x="22760" y="733330"/>
                  </a:lnTo>
                  <a:lnTo>
                    <a:pt x="21944" y="732405"/>
                  </a:lnTo>
                  <a:lnTo>
                    <a:pt x="21961" y="731627"/>
                  </a:lnTo>
                  <a:lnTo>
                    <a:pt x="22577" y="730981"/>
                  </a:lnTo>
                  <a:close/>
                  <a:moveTo>
                    <a:pt x="42381" y="677249"/>
                  </a:moveTo>
                  <a:lnTo>
                    <a:pt x="50133" y="679733"/>
                  </a:lnTo>
                  <a:lnTo>
                    <a:pt x="55283" y="680312"/>
                  </a:lnTo>
                  <a:lnTo>
                    <a:pt x="55559" y="682885"/>
                  </a:lnTo>
                  <a:lnTo>
                    <a:pt x="56552" y="684904"/>
                  </a:lnTo>
                  <a:lnTo>
                    <a:pt x="57143" y="688522"/>
                  </a:lnTo>
                  <a:lnTo>
                    <a:pt x="57945" y="689344"/>
                  </a:lnTo>
                  <a:lnTo>
                    <a:pt x="57529" y="691937"/>
                  </a:lnTo>
                  <a:lnTo>
                    <a:pt x="55157" y="693054"/>
                  </a:lnTo>
                  <a:lnTo>
                    <a:pt x="55367" y="695440"/>
                  </a:lnTo>
                  <a:lnTo>
                    <a:pt x="56730" y="697695"/>
                  </a:lnTo>
                  <a:lnTo>
                    <a:pt x="54740" y="698497"/>
                  </a:lnTo>
                  <a:lnTo>
                    <a:pt x="52594" y="698975"/>
                  </a:lnTo>
                  <a:lnTo>
                    <a:pt x="52098" y="699603"/>
                  </a:lnTo>
                  <a:lnTo>
                    <a:pt x="50544" y="700092"/>
                  </a:lnTo>
                  <a:lnTo>
                    <a:pt x="48655" y="701348"/>
                  </a:lnTo>
                  <a:lnTo>
                    <a:pt x="49223" y="702455"/>
                  </a:lnTo>
                  <a:lnTo>
                    <a:pt x="51601" y="704982"/>
                  </a:lnTo>
                  <a:lnTo>
                    <a:pt x="54258" y="706735"/>
                  </a:lnTo>
                  <a:lnTo>
                    <a:pt x="55717" y="709360"/>
                  </a:lnTo>
                  <a:lnTo>
                    <a:pt x="57604" y="712103"/>
                  </a:lnTo>
                  <a:lnTo>
                    <a:pt x="56682" y="713846"/>
                  </a:lnTo>
                  <a:lnTo>
                    <a:pt x="54954" y="716319"/>
                  </a:lnTo>
                  <a:lnTo>
                    <a:pt x="52196" y="717963"/>
                  </a:lnTo>
                  <a:lnTo>
                    <a:pt x="49658" y="718945"/>
                  </a:lnTo>
                  <a:lnTo>
                    <a:pt x="49958" y="723021"/>
                  </a:lnTo>
                  <a:lnTo>
                    <a:pt x="49058" y="724701"/>
                  </a:lnTo>
                  <a:lnTo>
                    <a:pt x="47151" y="725345"/>
                  </a:lnTo>
                  <a:lnTo>
                    <a:pt x="45373" y="725505"/>
                  </a:lnTo>
                  <a:lnTo>
                    <a:pt x="43566" y="725032"/>
                  </a:lnTo>
                  <a:lnTo>
                    <a:pt x="40410" y="725071"/>
                  </a:lnTo>
                  <a:lnTo>
                    <a:pt x="37261" y="723866"/>
                  </a:lnTo>
                  <a:lnTo>
                    <a:pt x="34311" y="722163"/>
                  </a:lnTo>
                  <a:lnTo>
                    <a:pt x="33490" y="721179"/>
                  </a:lnTo>
                  <a:lnTo>
                    <a:pt x="33850" y="719766"/>
                  </a:lnTo>
                  <a:lnTo>
                    <a:pt x="35975" y="716497"/>
                  </a:lnTo>
                  <a:lnTo>
                    <a:pt x="38000" y="710328"/>
                  </a:lnTo>
                  <a:lnTo>
                    <a:pt x="39348" y="701495"/>
                  </a:lnTo>
                  <a:lnTo>
                    <a:pt x="38269" y="698153"/>
                  </a:lnTo>
                  <a:lnTo>
                    <a:pt x="38403" y="696768"/>
                  </a:lnTo>
                  <a:lnTo>
                    <a:pt x="38898" y="695103"/>
                  </a:lnTo>
                  <a:lnTo>
                    <a:pt x="39144" y="693391"/>
                  </a:lnTo>
                  <a:lnTo>
                    <a:pt x="38993" y="691665"/>
                  </a:lnTo>
                  <a:lnTo>
                    <a:pt x="39250" y="690062"/>
                  </a:lnTo>
                  <a:lnTo>
                    <a:pt x="41478" y="686692"/>
                  </a:lnTo>
                  <a:lnTo>
                    <a:pt x="41806" y="685181"/>
                  </a:lnTo>
                  <a:lnTo>
                    <a:pt x="41870" y="683538"/>
                  </a:lnTo>
                  <a:lnTo>
                    <a:pt x="42834" y="680149"/>
                  </a:lnTo>
                  <a:lnTo>
                    <a:pt x="42537" y="679026"/>
                  </a:lnTo>
                  <a:lnTo>
                    <a:pt x="41713" y="678077"/>
                  </a:lnTo>
                  <a:close/>
                  <a:moveTo>
                    <a:pt x="157137" y="0"/>
                  </a:moveTo>
                  <a:lnTo>
                    <a:pt x="157542" y="2966"/>
                  </a:lnTo>
                  <a:lnTo>
                    <a:pt x="161016" y="6944"/>
                  </a:lnTo>
                  <a:lnTo>
                    <a:pt x="162147" y="11431"/>
                  </a:lnTo>
                  <a:lnTo>
                    <a:pt x="162935" y="11999"/>
                  </a:lnTo>
                  <a:lnTo>
                    <a:pt x="167711" y="14242"/>
                  </a:lnTo>
                  <a:lnTo>
                    <a:pt x="167801" y="14771"/>
                  </a:lnTo>
                  <a:lnTo>
                    <a:pt x="167100" y="15610"/>
                  </a:lnTo>
                  <a:lnTo>
                    <a:pt x="166405" y="16691"/>
                  </a:lnTo>
                  <a:lnTo>
                    <a:pt x="166889" y="18221"/>
                  </a:lnTo>
                  <a:lnTo>
                    <a:pt x="167754" y="20317"/>
                  </a:lnTo>
                  <a:lnTo>
                    <a:pt x="168040" y="22262"/>
                  </a:lnTo>
                  <a:lnTo>
                    <a:pt x="168568" y="24264"/>
                  </a:lnTo>
                  <a:lnTo>
                    <a:pt x="169094" y="27335"/>
                  </a:lnTo>
                  <a:lnTo>
                    <a:pt x="169414" y="30119"/>
                  </a:lnTo>
                  <a:lnTo>
                    <a:pt x="170630" y="34234"/>
                  </a:lnTo>
                  <a:lnTo>
                    <a:pt x="170877" y="36773"/>
                  </a:lnTo>
                  <a:lnTo>
                    <a:pt x="170897" y="38305"/>
                  </a:lnTo>
                  <a:lnTo>
                    <a:pt x="171843" y="39808"/>
                  </a:lnTo>
                  <a:lnTo>
                    <a:pt x="173695" y="41599"/>
                  </a:lnTo>
                  <a:lnTo>
                    <a:pt x="176203" y="43410"/>
                  </a:lnTo>
                  <a:lnTo>
                    <a:pt x="178190" y="45518"/>
                  </a:lnTo>
                  <a:lnTo>
                    <a:pt x="179715" y="46946"/>
                  </a:lnTo>
                  <a:lnTo>
                    <a:pt x="181558" y="48115"/>
                  </a:lnTo>
                  <a:lnTo>
                    <a:pt x="182974" y="49189"/>
                  </a:lnTo>
                  <a:lnTo>
                    <a:pt x="183528" y="49927"/>
                  </a:lnTo>
                  <a:lnTo>
                    <a:pt x="183713" y="50528"/>
                  </a:lnTo>
                  <a:lnTo>
                    <a:pt x="183101" y="51096"/>
                  </a:lnTo>
                  <a:lnTo>
                    <a:pt x="180863" y="53881"/>
                  </a:lnTo>
                  <a:lnTo>
                    <a:pt x="177744" y="58120"/>
                  </a:lnTo>
                  <a:lnTo>
                    <a:pt x="177797" y="58637"/>
                  </a:lnTo>
                  <a:lnTo>
                    <a:pt x="180787" y="61690"/>
                  </a:lnTo>
                  <a:lnTo>
                    <a:pt x="181267" y="62897"/>
                  </a:lnTo>
                  <a:lnTo>
                    <a:pt x="181232" y="64605"/>
                  </a:lnTo>
                  <a:lnTo>
                    <a:pt x="180231" y="66659"/>
                  </a:lnTo>
                  <a:lnTo>
                    <a:pt x="177003" y="67310"/>
                  </a:lnTo>
                  <a:lnTo>
                    <a:pt x="176285" y="67868"/>
                  </a:lnTo>
                  <a:lnTo>
                    <a:pt x="176196" y="68521"/>
                  </a:lnTo>
                  <a:lnTo>
                    <a:pt x="176939" y="69390"/>
                  </a:lnTo>
                  <a:lnTo>
                    <a:pt x="176824" y="71416"/>
                  </a:lnTo>
                  <a:lnTo>
                    <a:pt x="177991" y="73657"/>
                  </a:lnTo>
                  <a:lnTo>
                    <a:pt x="177388" y="74421"/>
                  </a:lnTo>
                  <a:lnTo>
                    <a:pt x="176198" y="75453"/>
                  </a:lnTo>
                  <a:lnTo>
                    <a:pt x="176165" y="76461"/>
                  </a:lnTo>
                  <a:lnTo>
                    <a:pt x="176555" y="77581"/>
                  </a:lnTo>
                  <a:lnTo>
                    <a:pt x="177807" y="78489"/>
                  </a:lnTo>
                  <a:lnTo>
                    <a:pt x="182776" y="81637"/>
                  </a:lnTo>
                  <a:lnTo>
                    <a:pt x="183169" y="82070"/>
                  </a:lnTo>
                  <a:lnTo>
                    <a:pt x="183091" y="82396"/>
                  </a:lnTo>
                  <a:lnTo>
                    <a:pt x="181169" y="84496"/>
                  </a:lnTo>
                  <a:lnTo>
                    <a:pt x="180971" y="85793"/>
                  </a:lnTo>
                  <a:lnTo>
                    <a:pt x="181024" y="87928"/>
                  </a:lnTo>
                  <a:lnTo>
                    <a:pt x="181294" y="89308"/>
                  </a:lnTo>
                  <a:lnTo>
                    <a:pt x="181913" y="89883"/>
                  </a:lnTo>
                  <a:lnTo>
                    <a:pt x="184408" y="90534"/>
                  </a:lnTo>
                  <a:lnTo>
                    <a:pt x="187491" y="95340"/>
                  </a:lnTo>
                  <a:lnTo>
                    <a:pt x="190454" y="99864"/>
                  </a:lnTo>
                  <a:lnTo>
                    <a:pt x="190416" y="103763"/>
                  </a:lnTo>
                  <a:lnTo>
                    <a:pt x="190723" y="108310"/>
                  </a:lnTo>
                  <a:lnTo>
                    <a:pt x="192605" y="111882"/>
                  </a:lnTo>
                  <a:lnTo>
                    <a:pt x="192868" y="114743"/>
                  </a:lnTo>
                  <a:lnTo>
                    <a:pt x="193503" y="117991"/>
                  </a:lnTo>
                  <a:lnTo>
                    <a:pt x="195744" y="119968"/>
                  </a:lnTo>
                  <a:lnTo>
                    <a:pt x="196619" y="123877"/>
                  </a:lnTo>
                  <a:lnTo>
                    <a:pt x="196846" y="125961"/>
                  </a:lnTo>
                  <a:lnTo>
                    <a:pt x="196707" y="127331"/>
                  </a:lnTo>
                  <a:lnTo>
                    <a:pt x="198448" y="131587"/>
                  </a:lnTo>
                  <a:lnTo>
                    <a:pt x="198652" y="135246"/>
                  </a:lnTo>
                  <a:lnTo>
                    <a:pt x="198239" y="137878"/>
                  </a:lnTo>
                  <a:lnTo>
                    <a:pt x="198260" y="139346"/>
                  </a:lnTo>
                  <a:lnTo>
                    <a:pt x="198506" y="140381"/>
                  </a:lnTo>
                  <a:lnTo>
                    <a:pt x="200001" y="141309"/>
                  </a:lnTo>
                  <a:lnTo>
                    <a:pt x="200662" y="141890"/>
                  </a:lnTo>
                  <a:lnTo>
                    <a:pt x="202871" y="142149"/>
                  </a:lnTo>
                  <a:lnTo>
                    <a:pt x="206101" y="142217"/>
                  </a:lnTo>
                  <a:lnTo>
                    <a:pt x="211620" y="141241"/>
                  </a:lnTo>
                  <a:lnTo>
                    <a:pt x="215865" y="140347"/>
                  </a:lnTo>
                  <a:lnTo>
                    <a:pt x="220583" y="145147"/>
                  </a:lnTo>
                  <a:lnTo>
                    <a:pt x="218530" y="151664"/>
                  </a:lnTo>
                  <a:lnTo>
                    <a:pt x="215250" y="162077"/>
                  </a:lnTo>
                  <a:lnTo>
                    <a:pt x="212714" y="170142"/>
                  </a:lnTo>
                  <a:lnTo>
                    <a:pt x="212297" y="171219"/>
                  </a:lnTo>
                  <a:lnTo>
                    <a:pt x="211774" y="172803"/>
                  </a:lnTo>
                  <a:lnTo>
                    <a:pt x="206308" y="175090"/>
                  </a:lnTo>
                  <a:lnTo>
                    <a:pt x="198334" y="178434"/>
                  </a:lnTo>
                  <a:lnTo>
                    <a:pt x="194249" y="180180"/>
                  </a:lnTo>
                  <a:lnTo>
                    <a:pt x="189103" y="182431"/>
                  </a:lnTo>
                  <a:lnTo>
                    <a:pt x="187856" y="184269"/>
                  </a:lnTo>
                  <a:lnTo>
                    <a:pt x="186370" y="185264"/>
                  </a:lnTo>
                  <a:lnTo>
                    <a:pt x="184736" y="186551"/>
                  </a:lnTo>
                  <a:lnTo>
                    <a:pt x="184113" y="187948"/>
                  </a:lnTo>
                  <a:lnTo>
                    <a:pt x="182588" y="188832"/>
                  </a:lnTo>
                  <a:lnTo>
                    <a:pt x="181199" y="191999"/>
                  </a:lnTo>
                  <a:lnTo>
                    <a:pt x="181199" y="194434"/>
                  </a:lnTo>
                  <a:lnTo>
                    <a:pt x="182085" y="196093"/>
                  </a:lnTo>
                  <a:lnTo>
                    <a:pt x="183625" y="196794"/>
                  </a:lnTo>
                  <a:lnTo>
                    <a:pt x="184113" y="198783"/>
                  </a:lnTo>
                  <a:lnTo>
                    <a:pt x="184597" y="200187"/>
                  </a:lnTo>
                  <a:lnTo>
                    <a:pt x="185707" y="201292"/>
                  </a:lnTo>
                  <a:lnTo>
                    <a:pt x="185428" y="202178"/>
                  </a:lnTo>
                  <a:lnTo>
                    <a:pt x="184529" y="202843"/>
                  </a:lnTo>
                  <a:lnTo>
                    <a:pt x="182864" y="203212"/>
                  </a:lnTo>
                  <a:lnTo>
                    <a:pt x="181737" y="205204"/>
                  </a:lnTo>
                  <a:lnTo>
                    <a:pt x="180436" y="210158"/>
                  </a:lnTo>
                  <a:lnTo>
                    <a:pt x="180229" y="211933"/>
                  </a:lnTo>
                  <a:lnTo>
                    <a:pt x="181709" y="216422"/>
                  </a:lnTo>
                  <a:lnTo>
                    <a:pt x="182497" y="218845"/>
                  </a:lnTo>
                  <a:lnTo>
                    <a:pt x="184629" y="227641"/>
                  </a:lnTo>
                  <a:lnTo>
                    <a:pt x="184940" y="230036"/>
                  </a:lnTo>
                  <a:lnTo>
                    <a:pt x="182015" y="233383"/>
                  </a:lnTo>
                  <a:lnTo>
                    <a:pt x="180850" y="235421"/>
                  </a:lnTo>
                  <a:lnTo>
                    <a:pt x="180434" y="237218"/>
                  </a:lnTo>
                  <a:lnTo>
                    <a:pt x="180449" y="238641"/>
                  </a:lnTo>
                  <a:lnTo>
                    <a:pt x="180714" y="239945"/>
                  </a:lnTo>
                  <a:lnTo>
                    <a:pt x="183150" y="244080"/>
                  </a:lnTo>
                  <a:lnTo>
                    <a:pt x="185983" y="247787"/>
                  </a:lnTo>
                  <a:lnTo>
                    <a:pt x="187371" y="249724"/>
                  </a:lnTo>
                  <a:lnTo>
                    <a:pt x="187371" y="252333"/>
                  </a:lnTo>
                  <a:lnTo>
                    <a:pt x="186677" y="253825"/>
                  </a:lnTo>
                  <a:lnTo>
                    <a:pt x="185171" y="254375"/>
                  </a:lnTo>
                  <a:lnTo>
                    <a:pt x="181824" y="255391"/>
                  </a:lnTo>
                  <a:lnTo>
                    <a:pt x="180436" y="256883"/>
                  </a:lnTo>
                  <a:lnTo>
                    <a:pt x="178912" y="257110"/>
                  </a:lnTo>
                  <a:lnTo>
                    <a:pt x="177456" y="255913"/>
                  </a:lnTo>
                  <a:lnTo>
                    <a:pt x="175931" y="256211"/>
                  </a:lnTo>
                  <a:lnTo>
                    <a:pt x="173990" y="257257"/>
                  </a:lnTo>
                  <a:lnTo>
                    <a:pt x="173260" y="259795"/>
                  </a:lnTo>
                  <a:lnTo>
                    <a:pt x="171564" y="264125"/>
                  </a:lnTo>
                  <a:lnTo>
                    <a:pt x="170108" y="265323"/>
                  </a:lnTo>
                  <a:lnTo>
                    <a:pt x="169024" y="268632"/>
                  </a:lnTo>
                  <a:lnTo>
                    <a:pt x="167089" y="273382"/>
                  </a:lnTo>
                  <a:lnTo>
                    <a:pt x="166156" y="276248"/>
                  </a:lnTo>
                  <a:lnTo>
                    <a:pt x="165671" y="278346"/>
                  </a:lnTo>
                  <a:lnTo>
                    <a:pt x="163723" y="279688"/>
                  </a:lnTo>
                  <a:lnTo>
                    <a:pt x="161454" y="282353"/>
                  </a:lnTo>
                  <a:lnTo>
                    <a:pt x="159708" y="284947"/>
                  </a:lnTo>
                  <a:lnTo>
                    <a:pt x="159015" y="285698"/>
                  </a:lnTo>
                  <a:lnTo>
                    <a:pt x="157697" y="285923"/>
                  </a:lnTo>
                  <a:lnTo>
                    <a:pt x="156727" y="288252"/>
                  </a:lnTo>
                  <a:lnTo>
                    <a:pt x="153436" y="291766"/>
                  </a:lnTo>
                  <a:lnTo>
                    <a:pt x="152651" y="295849"/>
                  </a:lnTo>
                  <a:lnTo>
                    <a:pt x="151459" y="298026"/>
                  </a:lnTo>
                  <a:lnTo>
                    <a:pt x="151250" y="301958"/>
                  </a:lnTo>
                  <a:lnTo>
                    <a:pt x="149433" y="309172"/>
                  </a:lnTo>
                  <a:lnTo>
                    <a:pt x="149101" y="310765"/>
                  </a:lnTo>
                  <a:lnTo>
                    <a:pt x="147264" y="312024"/>
                  </a:lnTo>
                  <a:lnTo>
                    <a:pt x="144848" y="314818"/>
                  </a:lnTo>
                  <a:lnTo>
                    <a:pt x="144057" y="316863"/>
                  </a:lnTo>
                  <a:lnTo>
                    <a:pt x="145178" y="322987"/>
                  </a:lnTo>
                  <a:lnTo>
                    <a:pt x="146573" y="329184"/>
                  </a:lnTo>
                  <a:lnTo>
                    <a:pt x="146661" y="332092"/>
                  </a:lnTo>
                  <a:lnTo>
                    <a:pt x="146120" y="336042"/>
                  </a:lnTo>
                  <a:lnTo>
                    <a:pt x="145753" y="337762"/>
                  </a:lnTo>
                  <a:lnTo>
                    <a:pt x="146676" y="338472"/>
                  </a:lnTo>
                  <a:lnTo>
                    <a:pt x="148201" y="338928"/>
                  </a:lnTo>
                  <a:lnTo>
                    <a:pt x="148685" y="340447"/>
                  </a:lnTo>
                  <a:lnTo>
                    <a:pt x="147576" y="341511"/>
                  </a:lnTo>
                  <a:lnTo>
                    <a:pt x="147092" y="343411"/>
                  </a:lnTo>
                  <a:lnTo>
                    <a:pt x="145843" y="345540"/>
                  </a:lnTo>
                  <a:lnTo>
                    <a:pt x="142151" y="346378"/>
                  </a:lnTo>
                  <a:lnTo>
                    <a:pt x="140852" y="345617"/>
                  </a:lnTo>
                  <a:lnTo>
                    <a:pt x="140435" y="346302"/>
                  </a:lnTo>
                  <a:lnTo>
                    <a:pt x="140644" y="347824"/>
                  </a:lnTo>
                  <a:lnTo>
                    <a:pt x="139820" y="349617"/>
                  </a:lnTo>
                  <a:lnTo>
                    <a:pt x="137906" y="354425"/>
                  </a:lnTo>
                  <a:lnTo>
                    <a:pt x="136642" y="358797"/>
                  </a:lnTo>
                  <a:lnTo>
                    <a:pt x="135909" y="360704"/>
                  </a:lnTo>
                  <a:lnTo>
                    <a:pt x="136206" y="362307"/>
                  </a:lnTo>
                  <a:lnTo>
                    <a:pt x="136830" y="363224"/>
                  </a:lnTo>
                  <a:lnTo>
                    <a:pt x="136900" y="364063"/>
                  </a:lnTo>
                  <a:lnTo>
                    <a:pt x="135847" y="365120"/>
                  </a:lnTo>
                  <a:lnTo>
                    <a:pt x="134889" y="366814"/>
                  </a:lnTo>
                  <a:lnTo>
                    <a:pt x="133849" y="367044"/>
                  </a:lnTo>
                  <a:lnTo>
                    <a:pt x="132741" y="366583"/>
                  </a:lnTo>
                  <a:lnTo>
                    <a:pt x="131562" y="367579"/>
                  </a:lnTo>
                  <a:lnTo>
                    <a:pt x="131322" y="369659"/>
                  </a:lnTo>
                  <a:lnTo>
                    <a:pt x="130672" y="372305"/>
                  </a:lnTo>
                  <a:lnTo>
                    <a:pt x="130375" y="375401"/>
                  </a:lnTo>
                  <a:lnTo>
                    <a:pt x="129898" y="379366"/>
                  </a:lnTo>
                  <a:lnTo>
                    <a:pt x="131408" y="382085"/>
                  </a:lnTo>
                  <a:lnTo>
                    <a:pt x="133324" y="387012"/>
                  </a:lnTo>
                  <a:lnTo>
                    <a:pt x="134751" y="388188"/>
                  </a:lnTo>
                  <a:lnTo>
                    <a:pt x="136345" y="388111"/>
                  </a:lnTo>
                  <a:lnTo>
                    <a:pt x="137593" y="389110"/>
                  </a:lnTo>
                  <a:lnTo>
                    <a:pt x="138287" y="390266"/>
                  </a:lnTo>
                  <a:lnTo>
                    <a:pt x="137360" y="392328"/>
                  </a:lnTo>
                  <a:lnTo>
                    <a:pt x="135721" y="392647"/>
                  </a:lnTo>
                  <a:lnTo>
                    <a:pt x="135514" y="393804"/>
                  </a:lnTo>
                  <a:lnTo>
                    <a:pt x="135999" y="396419"/>
                  </a:lnTo>
                  <a:lnTo>
                    <a:pt x="136623" y="398960"/>
                  </a:lnTo>
                  <a:lnTo>
                    <a:pt x="138199" y="400178"/>
                  </a:lnTo>
                  <a:lnTo>
                    <a:pt x="138910" y="403580"/>
                  </a:lnTo>
                  <a:lnTo>
                    <a:pt x="140435" y="404738"/>
                  </a:lnTo>
                  <a:lnTo>
                    <a:pt x="140250" y="409095"/>
                  </a:lnTo>
                  <a:lnTo>
                    <a:pt x="141792" y="414219"/>
                  </a:lnTo>
                  <a:lnTo>
                    <a:pt x="143417" y="415704"/>
                  </a:lnTo>
                  <a:lnTo>
                    <a:pt x="144180" y="416400"/>
                  </a:lnTo>
                  <a:lnTo>
                    <a:pt x="143668" y="418638"/>
                  </a:lnTo>
                  <a:lnTo>
                    <a:pt x="142377" y="420423"/>
                  </a:lnTo>
                  <a:lnTo>
                    <a:pt x="142101" y="423290"/>
                  </a:lnTo>
                  <a:lnTo>
                    <a:pt x="142586" y="425382"/>
                  </a:lnTo>
                  <a:lnTo>
                    <a:pt x="144235" y="427359"/>
                  </a:lnTo>
                  <a:lnTo>
                    <a:pt x="145522" y="427584"/>
                  </a:lnTo>
                  <a:lnTo>
                    <a:pt x="147370" y="426777"/>
                  </a:lnTo>
                  <a:lnTo>
                    <a:pt x="149311" y="427709"/>
                  </a:lnTo>
                  <a:lnTo>
                    <a:pt x="149587" y="429415"/>
                  </a:lnTo>
                  <a:lnTo>
                    <a:pt x="149865" y="430966"/>
                  </a:lnTo>
                  <a:lnTo>
                    <a:pt x="148826" y="432986"/>
                  </a:lnTo>
                  <a:lnTo>
                    <a:pt x="147715" y="436715"/>
                  </a:lnTo>
                  <a:lnTo>
                    <a:pt x="147417" y="440422"/>
                  </a:lnTo>
                  <a:lnTo>
                    <a:pt x="147742" y="446073"/>
                  </a:lnTo>
                  <a:lnTo>
                    <a:pt x="148248" y="450458"/>
                  </a:lnTo>
                  <a:lnTo>
                    <a:pt x="148354" y="453223"/>
                  </a:lnTo>
                  <a:lnTo>
                    <a:pt x="148479" y="454474"/>
                  </a:lnTo>
                  <a:lnTo>
                    <a:pt x="147786" y="455334"/>
                  </a:lnTo>
                  <a:lnTo>
                    <a:pt x="146098" y="455777"/>
                  </a:lnTo>
                  <a:lnTo>
                    <a:pt x="144666" y="455958"/>
                  </a:lnTo>
                  <a:lnTo>
                    <a:pt x="143417" y="456659"/>
                  </a:lnTo>
                  <a:lnTo>
                    <a:pt x="143139" y="458066"/>
                  </a:lnTo>
                  <a:lnTo>
                    <a:pt x="142165" y="460411"/>
                  </a:lnTo>
                  <a:lnTo>
                    <a:pt x="141156" y="462151"/>
                  </a:lnTo>
                  <a:lnTo>
                    <a:pt x="139394" y="464680"/>
                  </a:lnTo>
                  <a:lnTo>
                    <a:pt x="138280" y="467298"/>
                  </a:lnTo>
                  <a:lnTo>
                    <a:pt x="137385" y="469021"/>
                  </a:lnTo>
                  <a:lnTo>
                    <a:pt x="137465" y="470217"/>
                  </a:lnTo>
                  <a:lnTo>
                    <a:pt x="136823" y="472525"/>
                  </a:lnTo>
                  <a:lnTo>
                    <a:pt x="136163" y="474442"/>
                  </a:lnTo>
                  <a:lnTo>
                    <a:pt x="134768" y="480907"/>
                  </a:lnTo>
                  <a:lnTo>
                    <a:pt x="132906" y="482252"/>
                  </a:lnTo>
                  <a:lnTo>
                    <a:pt x="131422" y="482918"/>
                  </a:lnTo>
                  <a:lnTo>
                    <a:pt x="130660" y="483783"/>
                  </a:lnTo>
                  <a:lnTo>
                    <a:pt x="131239" y="485540"/>
                  </a:lnTo>
                  <a:lnTo>
                    <a:pt x="132809" y="486065"/>
                  </a:lnTo>
                  <a:lnTo>
                    <a:pt x="133364" y="487482"/>
                  </a:lnTo>
                  <a:lnTo>
                    <a:pt x="133156" y="489689"/>
                  </a:lnTo>
                  <a:lnTo>
                    <a:pt x="134196" y="491738"/>
                  </a:lnTo>
                  <a:lnTo>
                    <a:pt x="134094" y="494222"/>
                  </a:lnTo>
                  <a:lnTo>
                    <a:pt x="135097" y="498918"/>
                  </a:lnTo>
                  <a:lnTo>
                    <a:pt x="134196" y="502000"/>
                  </a:lnTo>
                  <a:lnTo>
                    <a:pt x="134501" y="504660"/>
                  </a:lnTo>
                  <a:lnTo>
                    <a:pt x="134474" y="507300"/>
                  </a:lnTo>
                  <a:lnTo>
                    <a:pt x="133156" y="509355"/>
                  </a:lnTo>
                  <a:lnTo>
                    <a:pt x="130452" y="509752"/>
                  </a:lnTo>
                  <a:lnTo>
                    <a:pt x="128968" y="511651"/>
                  </a:lnTo>
                  <a:lnTo>
                    <a:pt x="126432" y="513717"/>
                  </a:lnTo>
                  <a:lnTo>
                    <a:pt x="126154" y="515382"/>
                  </a:lnTo>
                  <a:lnTo>
                    <a:pt x="125738" y="516890"/>
                  </a:lnTo>
                  <a:lnTo>
                    <a:pt x="124699" y="517445"/>
                  </a:lnTo>
                  <a:lnTo>
                    <a:pt x="123104" y="517445"/>
                  </a:lnTo>
                  <a:lnTo>
                    <a:pt x="121786" y="517684"/>
                  </a:lnTo>
                  <a:lnTo>
                    <a:pt x="119940" y="519640"/>
                  </a:lnTo>
                  <a:lnTo>
                    <a:pt x="117974" y="520698"/>
                  </a:lnTo>
                  <a:lnTo>
                    <a:pt x="117524" y="522276"/>
                  </a:lnTo>
                  <a:lnTo>
                    <a:pt x="117697" y="524196"/>
                  </a:lnTo>
                  <a:lnTo>
                    <a:pt x="116657" y="525388"/>
                  </a:lnTo>
                  <a:lnTo>
                    <a:pt x="115340" y="527616"/>
                  </a:lnTo>
                  <a:lnTo>
                    <a:pt x="114508" y="530005"/>
                  </a:lnTo>
                  <a:lnTo>
                    <a:pt x="115340" y="532235"/>
                  </a:lnTo>
                  <a:lnTo>
                    <a:pt x="116241" y="536223"/>
                  </a:lnTo>
                  <a:lnTo>
                    <a:pt x="116378" y="537898"/>
                  </a:lnTo>
                  <a:lnTo>
                    <a:pt x="115235" y="541199"/>
                  </a:lnTo>
                  <a:lnTo>
                    <a:pt x="114299" y="543329"/>
                  </a:lnTo>
                  <a:lnTo>
                    <a:pt x="115200" y="546048"/>
                  </a:lnTo>
                  <a:lnTo>
                    <a:pt x="115962" y="547565"/>
                  </a:lnTo>
                  <a:lnTo>
                    <a:pt x="115251" y="550905"/>
                  </a:lnTo>
                  <a:lnTo>
                    <a:pt x="114646" y="553011"/>
                  </a:lnTo>
                  <a:lnTo>
                    <a:pt x="115132" y="556860"/>
                  </a:lnTo>
                  <a:lnTo>
                    <a:pt x="116941" y="561195"/>
                  </a:lnTo>
                  <a:lnTo>
                    <a:pt x="118666" y="565052"/>
                  </a:lnTo>
                  <a:lnTo>
                    <a:pt x="118920" y="569547"/>
                  </a:lnTo>
                  <a:lnTo>
                    <a:pt x="119368" y="573109"/>
                  </a:lnTo>
                  <a:lnTo>
                    <a:pt x="120192" y="576974"/>
                  </a:lnTo>
                  <a:lnTo>
                    <a:pt x="121925" y="578507"/>
                  </a:lnTo>
                  <a:lnTo>
                    <a:pt x="123244" y="579798"/>
                  </a:lnTo>
                  <a:lnTo>
                    <a:pt x="122965" y="581657"/>
                  </a:lnTo>
                  <a:lnTo>
                    <a:pt x="121994" y="583919"/>
                  </a:lnTo>
                  <a:lnTo>
                    <a:pt x="120608" y="585617"/>
                  </a:lnTo>
                  <a:lnTo>
                    <a:pt x="117172" y="586181"/>
                  </a:lnTo>
                  <a:lnTo>
                    <a:pt x="114379" y="587715"/>
                  </a:lnTo>
                  <a:lnTo>
                    <a:pt x="112136" y="588781"/>
                  </a:lnTo>
                  <a:lnTo>
                    <a:pt x="110426" y="590068"/>
                  </a:lnTo>
                  <a:lnTo>
                    <a:pt x="109199" y="591436"/>
                  </a:lnTo>
                  <a:lnTo>
                    <a:pt x="108590" y="592936"/>
                  </a:lnTo>
                  <a:lnTo>
                    <a:pt x="109000" y="599472"/>
                  </a:lnTo>
                  <a:lnTo>
                    <a:pt x="108731" y="601886"/>
                  </a:lnTo>
                  <a:lnTo>
                    <a:pt x="107581" y="605309"/>
                  </a:lnTo>
                  <a:lnTo>
                    <a:pt x="106505" y="608073"/>
                  </a:lnTo>
                  <a:lnTo>
                    <a:pt x="106049" y="608904"/>
                  </a:lnTo>
                  <a:lnTo>
                    <a:pt x="105910" y="610125"/>
                  </a:lnTo>
                  <a:lnTo>
                    <a:pt x="105703" y="611265"/>
                  </a:lnTo>
                  <a:lnTo>
                    <a:pt x="104496" y="611524"/>
                  </a:lnTo>
                  <a:lnTo>
                    <a:pt x="102790" y="611021"/>
                  </a:lnTo>
                  <a:lnTo>
                    <a:pt x="101820" y="611348"/>
                  </a:lnTo>
                  <a:lnTo>
                    <a:pt x="101126" y="612243"/>
                  </a:lnTo>
                  <a:lnTo>
                    <a:pt x="101712" y="614384"/>
                  </a:lnTo>
                  <a:lnTo>
                    <a:pt x="102339" y="618151"/>
                  </a:lnTo>
                  <a:lnTo>
                    <a:pt x="103206" y="619750"/>
                  </a:lnTo>
                  <a:lnTo>
                    <a:pt x="102972" y="621016"/>
                  </a:lnTo>
                  <a:lnTo>
                    <a:pt x="102651" y="623754"/>
                  </a:lnTo>
                  <a:lnTo>
                    <a:pt x="101520" y="625972"/>
                  </a:lnTo>
                  <a:lnTo>
                    <a:pt x="100017" y="625962"/>
                  </a:lnTo>
                  <a:lnTo>
                    <a:pt x="99046" y="626863"/>
                  </a:lnTo>
                  <a:lnTo>
                    <a:pt x="98632" y="628418"/>
                  </a:lnTo>
                  <a:lnTo>
                    <a:pt x="99081" y="630445"/>
                  </a:lnTo>
                  <a:lnTo>
                    <a:pt x="101057" y="632104"/>
                  </a:lnTo>
                  <a:lnTo>
                    <a:pt x="101750" y="633171"/>
                  </a:lnTo>
                  <a:lnTo>
                    <a:pt x="101403" y="634565"/>
                  </a:lnTo>
                  <a:lnTo>
                    <a:pt x="99878" y="635140"/>
                  </a:lnTo>
                  <a:lnTo>
                    <a:pt x="98978" y="636289"/>
                  </a:lnTo>
                  <a:lnTo>
                    <a:pt x="98119" y="638848"/>
                  </a:lnTo>
                  <a:lnTo>
                    <a:pt x="96971" y="641739"/>
                  </a:lnTo>
                  <a:lnTo>
                    <a:pt x="95745" y="643877"/>
                  </a:lnTo>
                  <a:lnTo>
                    <a:pt x="95511" y="646810"/>
                  </a:lnTo>
                  <a:lnTo>
                    <a:pt x="97243" y="649937"/>
                  </a:lnTo>
                  <a:lnTo>
                    <a:pt x="97049" y="653002"/>
                  </a:lnTo>
                  <a:lnTo>
                    <a:pt x="96926" y="661996"/>
                  </a:lnTo>
                  <a:lnTo>
                    <a:pt x="96758" y="665051"/>
                  </a:lnTo>
                  <a:lnTo>
                    <a:pt x="97291" y="670116"/>
                  </a:lnTo>
                  <a:lnTo>
                    <a:pt x="96620" y="671514"/>
                  </a:lnTo>
                  <a:lnTo>
                    <a:pt x="96274" y="672841"/>
                  </a:lnTo>
                  <a:lnTo>
                    <a:pt x="97968" y="676533"/>
                  </a:lnTo>
                  <a:lnTo>
                    <a:pt x="99855" y="682511"/>
                  </a:lnTo>
                  <a:lnTo>
                    <a:pt x="100363" y="684891"/>
                  </a:lnTo>
                  <a:lnTo>
                    <a:pt x="100086" y="686557"/>
                  </a:lnTo>
                  <a:lnTo>
                    <a:pt x="97554" y="687971"/>
                  </a:lnTo>
                  <a:lnTo>
                    <a:pt x="95441" y="688558"/>
                  </a:lnTo>
                  <a:lnTo>
                    <a:pt x="94194" y="687557"/>
                  </a:lnTo>
                  <a:lnTo>
                    <a:pt x="93361" y="687975"/>
                  </a:lnTo>
                  <a:lnTo>
                    <a:pt x="92391" y="689725"/>
                  </a:lnTo>
                  <a:lnTo>
                    <a:pt x="91280" y="691143"/>
                  </a:lnTo>
                  <a:lnTo>
                    <a:pt x="90865" y="692562"/>
                  </a:lnTo>
                  <a:lnTo>
                    <a:pt x="92043" y="694400"/>
                  </a:lnTo>
                  <a:lnTo>
                    <a:pt x="92668" y="697905"/>
                  </a:lnTo>
                  <a:lnTo>
                    <a:pt x="91351" y="699411"/>
                  </a:lnTo>
                  <a:lnTo>
                    <a:pt x="90380" y="701084"/>
                  </a:lnTo>
                  <a:lnTo>
                    <a:pt x="90727" y="703262"/>
                  </a:lnTo>
                  <a:lnTo>
                    <a:pt x="91143" y="707199"/>
                  </a:lnTo>
                  <a:lnTo>
                    <a:pt x="90311" y="713747"/>
                  </a:lnTo>
                  <a:lnTo>
                    <a:pt x="91428" y="716070"/>
                  </a:lnTo>
                  <a:lnTo>
                    <a:pt x="92637" y="717187"/>
                  </a:lnTo>
                  <a:lnTo>
                    <a:pt x="96596" y="718521"/>
                  </a:lnTo>
                  <a:lnTo>
                    <a:pt x="99565" y="719183"/>
                  </a:lnTo>
                  <a:lnTo>
                    <a:pt x="100347" y="721353"/>
                  </a:lnTo>
                  <a:lnTo>
                    <a:pt x="100011" y="723119"/>
                  </a:lnTo>
                  <a:lnTo>
                    <a:pt x="98584" y="723993"/>
                  </a:lnTo>
                  <a:lnTo>
                    <a:pt x="96434" y="724751"/>
                  </a:lnTo>
                  <a:lnTo>
                    <a:pt x="96434" y="727608"/>
                  </a:lnTo>
                  <a:lnTo>
                    <a:pt x="98274" y="730294"/>
                  </a:lnTo>
                  <a:lnTo>
                    <a:pt x="100347" y="732240"/>
                  </a:lnTo>
                  <a:lnTo>
                    <a:pt x="100800" y="733991"/>
                  </a:lnTo>
                  <a:lnTo>
                    <a:pt x="100683" y="735783"/>
                  </a:lnTo>
                  <a:lnTo>
                    <a:pt x="99229" y="737285"/>
                  </a:lnTo>
                  <a:lnTo>
                    <a:pt x="101227" y="740541"/>
                  </a:lnTo>
                  <a:lnTo>
                    <a:pt x="102136" y="742748"/>
                  </a:lnTo>
                  <a:lnTo>
                    <a:pt x="101221" y="744451"/>
                  </a:lnTo>
                  <a:lnTo>
                    <a:pt x="99928" y="747003"/>
                  </a:lnTo>
                  <a:lnTo>
                    <a:pt x="98782" y="748226"/>
                  </a:lnTo>
                  <a:lnTo>
                    <a:pt x="98789" y="749614"/>
                  </a:lnTo>
                  <a:lnTo>
                    <a:pt x="98315" y="752433"/>
                  </a:lnTo>
                  <a:lnTo>
                    <a:pt x="98206" y="755194"/>
                  </a:lnTo>
                  <a:lnTo>
                    <a:pt x="98588" y="756843"/>
                  </a:lnTo>
                  <a:lnTo>
                    <a:pt x="111122" y="758146"/>
                  </a:lnTo>
                  <a:lnTo>
                    <a:pt x="113990" y="758654"/>
                  </a:lnTo>
                  <a:lnTo>
                    <a:pt x="115555" y="760301"/>
                  </a:lnTo>
                  <a:lnTo>
                    <a:pt x="115332" y="762366"/>
                  </a:lnTo>
                  <a:lnTo>
                    <a:pt x="113765" y="764566"/>
                  </a:lnTo>
                  <a:lnTo>
                    <a:pt x="112759" y="768701"/>
                  </a:lnTo>
                  <a:lnTo>
                    <a:pt x="110300" y="769392"/>
                  </a:lnTo>
                  <a:lnTo>
                    <a:pt x="107839" y="768286"/>
                  </a:lnTo>
                  <a:lnTo>
                    <a:pt x="105172" y="768668"/>
                  </a:lnTo>
                  <a:lnTo>
                    <a:pt x="102857" y="768931"/>
                  </a:lnTo>
                  <a:lnTo>
                    <a:pt x="99531" y="769056"/>
                  </a:lnTo>
                  <a:lnTo>
                    <a:pt x="95113" y="769590"/>
                  </a:lnTo>
                  <a:lnTo>
                    <a:pt x="92408" y="768977"/>
                  </a:lnTo>
                  <a:lnTo>
                    <a:pt x="92186" y="770495"/>
                  </a:lnTo>
                  <a:lnTo>
                    <a:pt x="92967" y="773116"/>
                  </a:lnTo>
                  <a:lnTo>
                    <a:pt x="98782" y="773945"/>
                  </a:lnTo>
                  <a:lnTo>
                    <a:pt x="104261" y="775466"/>
                  </a:lnTo>
                  <a:lnTo>
                    <a:pt x="105909" y="778246"/>
                  </a:lnTo>
                  <a:lnTo>
                    <a:pt x="108136" y="781396"/>
                  </a:lnTo>
                  <a:lnTo>
                    <a:pt x="110411" y="783350"/>
                  </a:lnTo>
                  <a:lnTo>
                    <a:pt x="110523" y="786539"/>
                  </a:lnTo>
                  <a:lnTo>
                    <a:pt x="106946" y="789866"/>
                  </a:lnTo>
                  <a:lnTo>
                    <a:pt x="106497" y="792229"/>
                  </a:lnTo>
                  <a:lnTo>
                    <a:pt x="101801" y="792925"/>
                  </a:lnTo>
                  <a:lnTo>
                    <a:pt x="100460" y="794316"/>
                  </a:lnTo>
                  <a:lnTo>
                    <a:pt x="99789" y="798907"/>
                  </a:lnTo>
                  <a:lnTo>
                    <a:pt x="100347" y="802530"/>
                  </a:lnTo>
                  <a:lnTo>
                    <a:pt x="102136" y="803783"/>
                  </a:lnTo>
                  <a:lnTo>
                    <a:pt x="103367" y="806156"/>
                  </a:lnTo>
                  <a:lnTo>
                    <a:pt x="102025" y="808948"/>
                  </a:lnTo>
                  <a:lnTo>
                    <a:pt x="98860" y="810877"/>
                  </a:lnTo>
                  <a:lnTo>
                    <a:pt x="97177" y="812709"/>
                  </a:lnTo>
                  <a:lnTo>
                    <a:pt x="98230" y="814176"/>
                  </a:lnTo>
                  <a:lnTo>
                    <a:pt x="99663" y="816500"/>
                  </a:lnTo>
                  <a:lnTo>
                    <a:pt x="100056" y="817766"/>
                  </a:lnTo>
                  <a:lnTo>
                    <a:pt x="100837" y="821199"/>
                  </a:lnTo>
                  <a:lnTo>
                    <a:pt x="101752" y="825994"/>
                  </a:lnTo>
                  <a:lnTo>
                    <a:pt x="101640" y="828318"/>
                  </a:lnTo>
                  <a:lnTo>
                    <a:pt x="100801" y="830057"/>
                  </a:lnTo>
                  <a:lnTo>
                    <a:pt x="97664" y="832793"/>
                  </a:lnTo>
                  <a:lnTo>
                    <a:pt x="95540" y="834060"/>
                  </a:lnTo>
                  <a:lnTo>
                    <a:pt x="95124" y="837433"/>
                  </a:lnTo>
                  <a:lnTo>
                    <a:pt x="94962" y="839968"/>
                  </a:lnTo>
                  <a:lnTo>
                    <a:pt x="95184" y="842257"/>
                  </a:lnTo>
                  <a:lnTo>
                    <a:pt x="96546" y="844079"/>
                  </a:lnTo>
                  <a:lnTo>
                    <a:pt x="96434" y="845917"/>
                  </a:lnTo>
                  <a:lnTo>
                    <a:pt x="94569" y="846308"/>
                  </a:lnTo>
                  <a:lnTo>
                    <a:pt x="92967" y="847191"/>
                  </a:lnTo>
                  <a:lnTo>
                    <a:pt x="91401" y="850445"/>
                  </a:lnTo>
                  <a:lnTo>
                    <a:pt x="86850" y="853773"/>
                  </a:lnTo>
                  <a:lnTo>
                    <a:pt x="85251" y="855265"/>
                  </a:lnTo>
                  <a:lnTo>
                    <a:pt x="85365" y="857821"/>
                  </a:lnTo>
                  <a:lnTo>
                    <a:pt x="83562" y="861477"/>
                  </a:lnTo>
                  <a:lnTo>
                    <a:pt x="82050" y="864659"/>
                  </a:lnTo>
                  <a:lnTo>
                    <a:pt x="80892" y="867636"/>
                  </a:lnTo>
                  <a:lnTo>
                    <a:pt x="81115" y="870771"/>
                  </a:lnTo>
                  <a:lnTo>
                    <a:pt x="83680" y="872149"/>
                  </a:lnTo>
                  <a:lnTo>
                    <a:pt x="85699" y="875197"/>
                  </a:lnTo>
                  <a:lnTo>
                    <a:pt x="86594" y="879056"/>
                  </a:lnTo>
                  <a:lnTo>
                    <a:pt x="85029" y="883494"/>
                  </a:lnTo>
                  <a:lnTo>
                    <a:pt x="81393" y="885169"/>
                  </a:lnTo>
                  <a:lnTo>
                    <a:pt x="79245" y="887055"/>
                  </a:lnTo>
                  <a:lnTo>
                    <a:pt x="78597" y="888485"/>
                  </a:lnTo>
                  <a:lnTo>
                    <a:pt x="79167" y="893148"/>
                  </a:lnTo>
                  <a:lnTo>
                    <a:pt x="79019" y="895339"/>
                  </a:lnTo>
                  <a:lnTo>
                    <a:pt x="78445" y="897400"/>
                  </a:lnTo>
                  <a:lnTo>
                    <a:pt x="77510" y="898992"/>
                  </a:lnTo>
                  <a:lnTo>
                    <a:pt x="75552" y="900778"/>
                  </a:lnTo>
                  <a:lnTo>
                    <a:pt x="72079" y="902337"/>
                  </a:lnTo>
                  <a:lnTo>
                    <a:pt x="69131" y="903409"/>
                  </a:lnTo>
                  <a:lnTo>
                    <a:pt x="67814" y="904639"/>
                  </a:lnTo>
                  <a:lnTo>
                    <a:pt x="66270" y="907341"/>
                  </a:lnTo>
                  <a:lnTo>
                    <a:pt x="64893" y="910327"/>
                  </a:lnTo>
                  <a:lnTo>
                    <a:pt x="65238" y="914025"/>
                  </a:lnTo>
                  <a:lnTo>
                    <a:pt x="56964" y="914459"/>
                  </a:lnTo>
                  <a:lnTo>
                    <a:pt x="56405" y="917211"/>
                  </a:lnTo>
                  <a:lnTo>
                    <a:pt x="54615" y="919388"/>
                  </a:lnTo>
                  <a:lnTo>
                    <a:pt x="54055" y="923307"/>
                  </a:lnTo>
                  <a:lnTo>
                    <a:pt x="55874" y="927102"/>
                  </a:lnTo>
                  <a:lnTo>
                    <a:pt x="56739" y="930287"/>
                  </a:lnTo>
                  <a:lnTo>
                    <a:pt x="55257" y="934133"/>
                  </a:lnTo>
                  <a:lnTo>
                    <a:pt x="55793" y="938081"/>
                  </a:lnTo>
                  <a:lnTo>
                    <a:pt x="55957" y="941229"/>
                  </a:lnTo>
                  <a:lnTo>
                    <a:pt x="58864" y="944741"/>
                  </a:lnTo>
                  <a:lnTo>
                    <a:pt x="60763" y="949084"/>
                  </a:lnTo>
                  <a:lnTo>
                    <a:pt x="61716" y="952765"/>
                  </a:lnTo>
                  <a:lnTo>
                    <a:pt x="62287" y="955626"/>
                  </a:lnTo>
                  <a:lnTo>
                    <a:pt x="63048" y="957368"/>
                  </a:lnTo>
                  <a:lnTo>
                    <a:pt x="64242" y="959345"/>
                  </a:lnTo>
                  <a:lnTo>
                    <a:pt x="64789" y="961623"/>
                  </a:lnTo>
                  <a:lnTo>
                    <a:pt x="66578" y="962360"/>
                  </a:lnTo>
                  <a:lnTo>
                    <a:pt x="69794" y="960227"/>
                  </a:lnTo>
                  <a:lnTo>
                    <a:pt x="72068" y="958781"/>
                  </a:lnTo>
                  <a:lnTo>
                    <a:pt x="73647" y="958267"/>
                  </a:lnTo>
                  <a:lnTo>
                    <a:pt x="78292" y="958599"/>
                  </a:lnTo>
                  <a:lnTo>
                    <a:pt x="81097" y="957261"/>
                  </a:lnTo>
                  <a:lnTo>
                    <a:pt x="82356" y="957400"/>
                  </a:lnTo>
                  <a:lnTo>
                    <a:pt x="84069" y="958152"/>
                  </a:lnTo>
                  <a:lnTo>
                    <a:pt x="85397" y="959739"/>
                  </a:lnTo>
                  <a:lnTo>
                    <a:pt x="86400" y="963335"/>
                  </a:lnTo>
                  <a:lnTo>
                    <a:pt x="87017" y="967372"/>
                  </a:lnTo>
                  <a:lnTo>
                    <a:pt x="86230" y="971495"/>
                  </a:lnTo>
                  <a:lnTo>
                    <a:pt x="84917" y="972392"/>
                  </a:lnTo>
                  <a:lnTo>
                    <a:pt x="84469" y="973573"/>
                  </a:lnTo>
                  <a:lnTo>
                    <a:pt x="84917" y="976090"/>
                  </a:lnTo>
                  <a:lnTo>
                    <a:pt x="86369" y="977866"/>
                  </a:lnTo>
                  <a:lnTo>
                    <a:pt x="86335" y="980406"/>
                  </a:lnTo>
                  <a:lnTo>
                    <a:pt x="84733" y="986174"/>
                  </a:lnTo>
                  <a:lnTo>
                    <a:pt x="83687" y="988550"/>
                  </a:lnTo>
                  <a:lnTo>
                    <a:pt x="85542" y="991232"/>
                  </a:lnTo>
                  <a:lnTo>
                    <a:pt x="87203" y="993623"/>
                  </a:lnTo>
                  <a:lnTo>
                    <a:pt x="90550" y="995411"/>
                  </a:lnTo>
                  <a:lnTo>
                    <a:pt x="93304" y="997934"/>
                  </a:lnTo>
                  <a:lnTo>
                    <a:pt x="95204" y="1000023"/>
                  </a:lnTo>
                  <a:lnTo>
                    <a:pt x="94757" y="1002861"/>
                  </a:lnTo>
                  <a:lnTo>
                    <a:pt x="96087" y="1003723"/>
                  </a:lnTo>
                  <a:lnTo>
                    <a:pt x="101211" y="1003782"/>
                  </a:lnTo>
                  <a:lnTo>
                    <a:pt x="108864" y="1003872"/>
                  </a:lnTo>
                  <a:lnTo>
                    <a:pt x="120822" y="1004014"/>
                  </a:lnTo>
                  <a:lnTo>
                    <a:pt x="132493" y="1004153"/>
                  </a:lnTo>
                  <a:lnTo>
                    <a:pt x="145745" y="1004354"/>
                  </a:lnTo>
                  <a:lnTo>
                    <a:pt x="152024" y="1006634"/>
                  </a:lnTo>
                  <a:lnTo>
                    <a:pt x="157708" y="1008697"/>
                  </a:lnTo>
                  <a:lnTo>
                    <a:pt x="164865" y="1008697"/>
                  </a:lnTo>
                  <a:lnTo>
                    <a:pt x="172007" y="1011142"/>
                  </a:lnTo>
                  <a:lnTo>
                    <a:pt x="177315" y="1012753"/>
                  </a:lnTo>
                  <a:lnTo>
                    <a:pt x="180495" y="1013361"/>
                  </a:lnTo>
                  <a:lnTo>
                    <a:pt x="183761" y="1013942"/>
                  </a:lnTo>
                  <a:lnTo>
                    <a:pt x="184208" y="1016197"/>
                  </a:lnTo>
                  <a:lnTo>
                    <a:pt x="169911" y="1012998"/>
                  </a:lnTo>
                  <a:lnTo>
                    <a:pt x="166701" y="1011255"/>
                  </a:lnTo>
                  <a:lnTo>
                    <a:pt x="163982" y="1011052"/>
                  </a:lnTo>
                  <a:lnTo>
                    <a:pt x="158762" y="1013228"/>
                  </a:lnTo>
                  <a:lnTo>
                    <a:pt x="155878" y="1018410"/>
                  </a:lnTo>
                  <a:lnTo>
                    <a:pt x="154365" y="1019881"/>
                  </a:lnTo>
                  <a:lnTo>
                    <a:pt x="150739" y="1021273"/>
                  </a:lnTo>
                  <a:lnTo>
                    <a:pt x="147090" y="1021546"/>
                  </a:lnTo>
                  <a:lnTo>
                    <a:pt x="134823" y="1026577"/>
                  </a:lnTo>
                  <a:lnTo>
                    <a:pt x="130462" y="1027008"/>
                  </a:lnTo>
                  <a:lnTo>
                    <a:pt x="127487" y="1028344"/>
                  </a:lnTo>
                  <a:lnTo>
                    <a:pt x="124575" y="1030270"/>
                  </a:lnTo>
                  <a:lnTo>
                    <a:pt x="123462" y="1034408"/>
                  </a:lnTo>
                  <a:lnTo>
                    <a:pt x="123915" y="1036931"/>
                  </a:lnTo>
                  <a:lnTo>
                    <a:pt x="120597" y="1046002"/>
                  </a:lnTo>
                  <a:lnTo>
                    <a:pt x="119777" y="1051058"/>
                  </a:lnTo>
                  <a:lnTo>
                    <a:pt x="119758" y="1053637"/>
                  </a:lnTo>
                  <a:lnTo>
                    <a:pt x="120704" y="1057856"/>
                  </a:lnTo>
                  <a:lnTo>
                    <a:pt x="119486" y="1065091"/>
                  </a:lnTo>
                  <a:lnTo>
                    <a:pt x="117281" y="1066677"/>
                  </a:lnTo>
                  <a:lnTo>
                    <a:pt x="111831" y="1068704"/>
                  </a:lnTo>
                  <a:lnTo>
                    <a:pt x="108126" y="1067229"/>
                  </a:lnTo>
                  <a:lnTo>
                    <a:pt x="101789" y="1065918"/>
                  </a:lnTo>
                  <a:lnTo>
                    <a:pt x="97273" y="1063128"/>
                  </a:lnTo>
                  <a:lnTo>
                    <a:pt x="91464" y="1061159"/>
                  </a:lnTo>
                  <a:lnTo>
                    <a:pt x="89601" y="1059998"/>
                  </a:lnTo>
                  <a:lnTo>
                    <a:pt x="84469" y="1054426"/>
                  </a:lnTo>
                  <a:lnTo>
                    <a:pt x="83926" y="1052581"/>
                  </a:lnTo>
                  <a:lnTo>
                    <a:pt x="83554" y="1050250"/>
                  </a:lnTo>
                  <a:lnTo>
                    <a:pt x="86264" y="1046924"/>
                  </a:lnTo>
                  <a:lnTo>
                    <a:pt x="87719" y="1046681"/>
                  </a:lnTo>
                  <a:lnTo>
                    <a:pt x="91967" y="1046782"/>
                  </a:lnTo>
                  <a:lnTo>
                    <a:pt x="95502" y="1046248"/>
                  </a:lnTo>
                  <a:lnTo>
                    <a:pt x="97758" y="1048028"/>
                  </a:lnTo>
                  <a:lnTo>
                    <a:pt x="98380" y="1051910"/>
                  </a:lnTo>
                  <a:lnTo>
                    <a:pt x="97389" y="1053985"/>
                  </a:lnTo>
                  <a:lnTo>
                    <a:pt x="96490" y="1055267"/>
                  </a:lnTo>
                  <a:lnTo>
                    <a:pt x="96771" y="1056236"/>
                  </a:lnTo>
                  <a:lnTo>
                    <a:pt x="99312" y="1054888"/>
                  </a:lnTo>
                  <a:lnTo>
                    <a:pt x="100604" y="1046197"/>
                  </a:lnTo>
                  <a:lnTo>
                    <a:pt x="109230" y="1041875"/>
                  </a:lnTo>
                  <a:lnTo>
                    <a:pt x="112053" y="1039355"/>
                  </a:lnTo>
                  <a:lnTo>
                    <a:pt x="114811" y="1035470"/>
                  </a:lnTo>
                  <a:lnTo>
                    <a:pt x="115241" y="1034358"/>
                  </a:lnTo>
                  <a:lnTo>
                    <a:pt x="115448" y="1032902"/>
                  </a:lnTo>
                  <a:lnTo>
                    <a:pt x="113621" y="1031704"/>
                  </a:lnTo>
                  <a:lnTo>
                    <a:pt x="109549" y="1030116"/>
                  </a:lnTo>
                  <a:lnTo>
                    <a:pt x="96611" y="1038259"/>
                  </a:lnTo>
                  <a:lnTo>
                    <a:pt x="90750" y="1040409"/>
                  </a:lnTo>
                  <a:lnTo>
                    <a:pt x="86974" y="1042746"/>
                  </a:lnTo>
                  <a:lnTo>
                    <a:pt x="82403" y="1046951"/>
                  </a:lnTo>
                  <a:lnTo>
                    <a:pt x="81534" y="1048196"/>
                  </a:lnTo>
                  <a:lnTo>
                    <a:pt x="80565" y="1050991"/>
                  </a:lnTo>
                  <a:lnTo>
                    <a:pt x="80105" y="1054065"/>
                  </a:lnTo>
                  <a:lnTo>
                    <a:pt x="75595" y="1052659"/>
                  </a:lnTo>
                  <a:lnTo>
                    <a:pt x="68708" y="1048198"/>
                  </a:lnTo>
                  <a:lnTo>
                    <a:pt x="67331" y="1046570"/>
                  </a:lnTo>
                  <a:lnTo>
                    <a:pt x="68712" y="1044292"/>
                  </a:lnTo>
                  <a:lnTo>
                    <a:pt x="70810" y="1042390"/>
                  </a:lnTo>
                  <a:lnTo>
                    <a:pt x="70952" y="1036019"/>
                  </a:lnTo>
                  <a:lnTo>
                    <a:pt x="71478" y="1033792"/>
                  </a:lnTo>
                  <a:lnTo>
                    <a:pt x="72930" y="1032009"/>
                  </a:lnTo>
                  <a:lnTo>
                    <a:pt x="75572" y="1030048"/>
                  </a:lnTo>
                  <a:lnTo>
                    <a:pt x="76884" y="1029594"/>
                  </a:lnTo>
                  <a:lnTo>
                    <a:pt x="77996" y="1030444"/>
                  </a:lnTo>
                  <a:lnTo>
                    <a:pt x="78135" y="1031941"/>
                  </a:lnTo>
                  <a:lnTo>
                    <a:pt x="82526" y="1031835"/>
                  </a:lnTo>
                  <a:lnTo>
                    <a:pt x="91042" y="1026207"/>
                  </a:lnTo>
                  <a:lnTo>
                    <a:pt x="94549" y="1026074"/>
                  </a:lnTo>
                  <a:lnTo>
                    <a:pt x="99170" y="1027328"/>
                  </a:lnTo>
                  <a:lnTo>
                    <a:pt x="104390" y="1026574"/>
                  </a:lnTo>
                  <a:lnTo>
                    <a:pt x="105330" y="1026000"/>
                  </a:lnTo>
                  <a:lnTo>
                    <a:pt x="106417" y="1024682"/>
                  </a:lnTo>
                  <a:lnTo>
                    <a:pt x="102525" y="1023135"/>
                  </a:lnTo>
                  <a:lnTo>
                    <a:pt x="98794" y="1022347"/>
                  </a:lnTo>
                  <a:lnTo>
                    <a:pt x="88302" y="1021800"/>
                  </a:lnTo>
                  <a:lnTo>
                    <a:pt x="86027" y="1022401"/>
                  </a:lnTo>
                  <a:lnTo>
                    <a:pt x="82926" y="1025379"/>
                  </a:lnTo>
                  <a:lnTo>
                    <a:pt x="81896" y="1024635"/>
                  </a:lnTo>
                  <a:lnTo>
                    <a:pt x="81234" y="1023135"/>
                  </a:lnTo>
                  <a:lnTo>
                    <a:pt x="77674" y="1022077"/>
                  </a:lnTo>
                  <a:lnTo>
                    <a:pt x="75968" y="1022298"/>
                  </a:lnTo>
                  <a:lnTo>
                    <a:pt x="74334" y="1023727"/>
                  </a:lnTo>
                  <a:lnTo>
                    <a:pt x="74601" y="1025953"/>
                  </a:lnTo>
                  <a:lnTo>
                    <a:pt x="73690" y="1028341"/>
                  </a:lnTo>
                  <a:lnTo>
                    <a:pt x="70395" y="1030710"/>
                  </a:lnTo>
                  <a:lnTo>
                    <a:pt x="68154" y="1034485"/>
                  </a:lnTo>
                  <a:lnTo>
                    <a:pt x="68259" y="1037424"/>
                  </a:lnTo>
                  <a:lnTo>
                    <a:pt x="68084" y="1038956"/>
                  </a:lnTo>
                  <a:lnTo>
                    <a:pt x="67261" y="1039764"/>
                  </a:lnTo>
                  <a:lnTo>
                    <a:pt x="65562" y="1040738"/>
                  </a:lnTo>
                  <a:lnTo>
                    <a:pt x="60092" y="1040076"/>
                  </a:lnTo>
                  <a:lnTo>
                    <a:pt x="57007" y="1036992"/>
                  </a:lnTo>
                  <a:lnTo>
                    <a:pt x="55799" y="1034887"/>
                  </a:lnTo>
                  <a:lnTo>
                    <a:pt x="52307" y="1032608"/>
                  </a:lnTo>
                  <a:lnTo>
                    <a:pt x="59895" y="1029774"/>
                  </a:lnTo>
                  <a:lnTo>
                    <a:pt x="62561" y="1028161"/>
                  </a:lnTo>
                  <a:lnTo>
                    <a:pt x="64996" y="1024565"/>
                  </a:lnTo>
                  <a:lnTo>
                    <a:pt x="66811" y="1022280"/>
                  </a:lnTo>
                  <a:lnTo>
                    <a:pt x="65526" y="1020674"/>
                  </a:lnTo>
                  <a:lnTo>
                    <a:pt x="64007" y="1020671"/>
                  </a:lnTo>
                  <a:lnTo>
                    <a:pt x="64150" y="1023224"/>
                  </a:lnTo>
                  <a:lnTo>
                    <a:pt x="62476" y="1025319"/>
                  </a:lnTo>
                  <a:lnTo>
                    <a:pt x="58978" y="1024332"/>
                  </a:lnTo>
                  <a:lnTo>
                    <a:pt x="53816" y="1027429"/>
                  </a:lnTo>
                  <a:lnTo>
                    <a:pt x="50643" y="1026601"/>
                  </a:lnTo>
                  <a:lnTo>
                    <a:pt x="45474" y="1027513"/>
                  </a:lnTo>
                  <a:lnTo>
                    <a:pt x="42944" y="1025843"/>
                  </a:lnTo>
                  <a:lnTo>
                    <a:pt x="42402" y="1023721"/>
                  </a:lnTo>
                  <a:lnTo>
                    <a:pt x="43314" y="1021513"/>
                  </a:lnTo>
                  <a:lnTo>
                    <a:pt x="42364" y="1017773"/>
                  </a:lnTo>
                  <a:lnTo>
                    <a:pt x="40940" y="1016865"/>
                  </a:lnTo>
                  <a:lnTo>
                    <a:pt x="39486" y="1017077"/>
                  </a:lnTo>
                  <a:lnTo>
                    <a:pt x="38835" y="1014853"/>
                  </a:lnTo>
                  <a:lnTo>
                    <a:pt x="37264" y="1010946"/>
                  </a:lnTo>
                  <a:lnTo>
                    <a:pt x="36567" y="1009891"/>
                  </a:lnTo>
                  <a:lnTo>
                    <a:pt x="35814" y="1008077"/>
                  </a:lnTo>
                  <a:lnTo>
                    <a:pt x="36593" y="1007635"/>
                  </a:lnTo>
                  <a:lnTo>
                    <a:pt x="38369" y="1008156"/>
                  </a:lnTo>
                  <a:lnTo>
                    <a:pt x="39925" y="1009330"/>
                  </a:lnTo>
                  <a:lnTo>
                    <a:pt x="42291" y="1009479"/>
                  </a:lnTo>
                  <a:lnTo>
                    <a:pt x="47508" y="1012022"/>
                  </a:lnTo>
                  <a:lnTo>
                    <a:pt x="49672" y="1011411"/>
                  </a:lnTo>
                  <a:lnTo>
                    <a:pt x="50848" y="1010826"/>
                  </a:lnTo>
                  <a:lnTo>
                    <a:pt x="51288" y="1008716"/>
                  </a:lnTo>
                  <a:lnTo>
                    <a:pt x="51315" y="1006714"/>
                  </a:lnTo>
                  <a:lnTo>
                    <a:pt x="52211" y="1006714"/>
                  </a:lnTo>
                  <a:lnTo>
                    <a:pt x="55172" y="1009274"/>
                  </a:lnTo>
                  <a:lnTo>
                    <a:pt x="57055" y="1009032"/>
                  </a:lnTo>
                  <a:lnTo>
                    <a:pt x="60383" y="1009708"/>
                  </a:lnTo>
                  <a:lnTo>
                    <a:pt x="62064" y="1009433"/>
                  </a:lnTo>
                  <a:lnTo>
                    <a:pt x="65185" y="1008478"/>
                  </a:lnTo>
                  <a:lnTo>
                    <a:pt x="70095" y="1005666"/>
                  </a:lnTo>
                  <a:lnTo>
                    <a:pt x="72643" y="1002759"/>
                  </a:lnTo>
                  <a:lnTo>
                    <a:pt x="73865" y="1002365"/>
                  </a:lnTo>
                  <a:lnTo>
                    <a:pt x="75377" y="1002740"/>
                  </a:lnTo>
                  <a:lnTo>
                    <a:pt x="76390" y="1003573"/>
                  </a:lnTo>
                  <a:lnTo>
                    <a:pt x="76406" y="1005594"/>
                  </a:lnTo>
                  <a:lnTo>
                    <a:pt x="77554" y="1007467"/>
                  </a:lnTo>
                  <a:lnTo>
                    <a:pt x="79114" y="1009002"/>
                  </a:lnTo>
                  <a:lnTo>
                    <a:pt x="79549" y="1010870"/>
                  </a:lnTo>
                  <a:lnTo>
                    <a:pt x="79230" y="1012709"/>
                  </a:lnTo>
                  <a:lnTo>
                    <a:pt x="76437" y="1015299"/>
                  </a:lnTo>
                  <a:lnTo>
                    <a:pt x="75919" y="1016200"/>
                  </a:lnTo>
                  <a:lnTo>
                    <a:pt x="76856" y="1017151"/>
                  </a:lnTo>
                  <a:lnTo>
                    <a:pt x="78011" y="1016706"/>
                  </a:lnTo>
                  <a:lnTo>
                    <a:pt x="79604" y="1015425"/>
                  </a:lnTo>
                  <a:lnTo>
                    <a:pt x="80511" y="1013666"/>
                  </a:lnTo>
                  <a:lnTo>
                    <a:pt x="80754" y="1012753"/>
                  </a:lnTo>
                  <a:lnTo>
                    <a:pt x="80855" y="1011448"/>
                  </a:lnTo>
                  <a:lnTo>
                    <a:pt x="80735" y="1009857"/>
                  </a:lnTo>
                  <a:lnTo>
                    <a:pt x="78466" y="1005331"/>
                  </a:lnTo>
                  <a:lnTo>
                    <a:pt x="78183" y="1004312"/>
                  </a:lnTo>
                  <a:lnTo>
                    <a:pt x="78186" y="1002263"/>
                  </a:lnTo>
                  <a:lnTo>
                    <a:pt x="80767" y="1000380"/>
                  </a:lnTo>
                  <a:lnTo>
                    <a:pt x="81495" y="998912"/>
                  </a:lnTo>
                  <a:lnTo>
                    <a:pt x="81608" y="996075"/>
                  </a:lnTo>
                  <a:lnTo>
                    <a:pt x="80268" y="994131"/>
                  </a:lnTo>
                  <a:lnTo>
                    <a:pt x="74721" y="989644"/>
                  </a:lnTo>
                  <a:lnTo>
                    <a:pt x="65453" y="985151"/>
                  </a:lnTo>
                  <a:lnTo>
                    <a:pt x="64389" y="985622"/>
                  </a:lnTo>
                  <a:lnTo>
                    <a:pt x="63671" y="986435"/>
                  </a:lnTo>
                  <a:lnTo>
                    <a:pt x="64524" y="987026"/>
                  </a:lnTo>
                  <a:lnTo>
                    <a:pt x="65751" y="987327"/>
                  </a:lnTo>
                  <a:lnTo>
                    <a:pt x="74009" y="991028"/>
                  </a:lnTo>
                  <a:lnTo>
                    <a:pt x="76158" y="993177"/>
                  </a:lnTo>
                  <a:lnTo>
                    <a:pt x="77566" y="993754"/>
                  </a:lnTo>
                  <a:lnTo>
                    <a:pt x="79233" y="995183"/>
                  </a:lnTo>
                  <a:lnTo>
                    <a:pt x="78809" y="997273"/>
                  </a:lnTo>
                  <a:lnTo>
                    <a:pt x="70484" y="999329"/>
                  </a:lnTo>
                  <a:lnTo>
                    <a:pt x="63883" y="1003759"/>
                  </a:lnTo>
                  <a:lnTo>
                    <a:pt x="58949" y="1006452"/>
                  </a:lnTo>
                  <a:lnTo>
                    <a:pt x="55528" y="1005468"/>
                  </a:lnTo>
                  <a:lnTo>
                    <a:pt x="53902" y="1002733"/>
                  </a:lnTo>
                  <a:lnTo>
                    <a:pt x="52179" y="999207"/>
                  </a:lnTo>
                  <a:lnTo>
                    <a:pt x="49583" y="997152"/>
                  </a:lnTo>
                  <a:lnTo>
                    <a:pt x="48113" y="997343"/>
                  </a:lnTo>
                  <a:lnTo>
                    <a:pt x="46922" y="996963"/>
                  </a:lnTo>
                  <a:lnTo>
                    <a:pt x="45988" y="995877"/>
                  </a:lnTo>
                  <a:lnTo>
                    <a:pt x="43989" y="996778"/>
                  </a:lnTo>
                  <a:lnTo>
                    <a:pt x="39598" y="994332"/>
                  </a:lnTo>
                  <a:lnTo>
                    <a:pt x="38324" y="993267"/>
                  </a:lnTo>
                  <a:lnTo>
                    <a:pt x="41547" y="989829"/>
                  </a:lnTo>
                  <a:lnTo>
                    <a:pt x="45091" y="991150"/>
                  </a:lnTo>
                  <a:lnTo>
                    <a:pt x="45951" y="981500"/>
                  </a:lnTo>
                  <a:lnTo>
                    <a:pt x="44846" y="979310"/>
                  </a:lnTo>
                  <a:lnTo>
                    <a:pt x="40237" y="976929"/>
                  </a:lnTo>
                  <a:lnTo>
                    <a:pt x="37973" y="977238"/>
                  </a:lnTo>
                  <a:lnTo>
                    <a:pt x="34885" y="976916"/>
                  </a:lnTo>
                  <a:lnTo>
                    <a:pt x="32805" y="975824"/>
                  </a:lnTo>
                  <a:lnTo>
                    <a:pt x="30434" y="975392"/>
                  </a:lnTo>
                  <a:lnTo>
                    <a:pt x="28430" y="974756"/>
                  </a:lnTo>
                  <a:lnTo>
                    <a:pt x="25814" y="973276"/>
                  </a:lnTo>
                  <a:lnTo>
                    <a:pt x="22652" y="972484"/>
                  </a:lnTo>
                  <a:lnTo>
                    <a:pt x="18383" y="966395"/>
                  </a:lnTo>
                  <a:lnTo>
                    <a:pt x="16551" y="963202"/>
                  </a:lnTo>
                  <a:lnTo>
                    <a:pt x="15554" y="959720"/>
                  </a:lnTo>
                  <a:lnTo>
                    <a:pt x="22097" y="959642"/>
                  </a:lnTo>
                  <a:lnTo>
                    <a:pt x="25924" y="959077"/>
                  </a:lnTo>
                  <a:lnTo>
                    <a:pt x="26857" y="957624"/>
                  </a:lnTo>
                  <a:lnTo>
                    <a:pt x="25510" y="954855"/>
                  </a:lnTo>
                  <a:lnTo>
                    <a:pt x="23637" y="952676"/>
                  </a:lnTo>
                  <a:lnTo>
                    <a:pt x="25012" y="950633"/>
                  </a:lnTo>
                  <a:lnTo>
                    <a:pt x="26969" y="949052"/>
                  </a:lnTo>
                  <a:lnTo>
                    <a:pt x="29007" y="949752"/>
                  </a:lnTo>
                  <a:lnTo>
                    <a:pt x="34041" y="953275"/>
                  </a:lnTo>
                  <a:lnTo>
                    <a:pt x="34907" y="955662"/>
                  </a:lnTo>
                  <a:lnTo>
                    <a:pt x="38488" y="962951"/>
                  </a:lnTo>
                  <a:lnTo>
                    <a:pt x="39353" y="963600"/>
                  </a:lnTo>
                  <a:lnTo>
                    <a:pt x="39776" y="964279"/>
                  </a:lnTo>
                  <a:lnTo>
                    <a:pt x="47179" y="968368"/>
                  </a:lnTo>
                  <a:lnTo>
                    <a:pt x="48217" y="968313"/>
                  </a:lnTo>
                  <a:lnTo>
                    <a:pt x="47758" y="964882"/>
                  </a:lnTo>
                  <a:lnTo>
                    <a:pt x="49889" y="960234"/>
                  </a:lnTo>
                  <a:lnTo>
                    <a:pt x="51956" y="958700"/>
                  </a:lnTo>
                  <a:lnTo>
                    <a:pt x="52993" y="958716"/>
                  </a:lnTo>
                  <a:lnTo>
                    <a:pt x="53100" y="957941"/>
                  </a:lnTo>
                  <a:lnTo>
                    <a:pt x="51088" y="956010"/>
                  </a:lnTo>
                  <a:lnTo>
                    <a:pt x="52073" y="953434"/>
                  </a:lnTo>
                  <a:lnTo>
                    <a:pt x="51427" y="953353"/>
                  </a:lnTo>
                  <a:lnTo>
                    <a:pt x="49645" y="955005"/>
                  </a:lnTo>
                  <a:lnTo>
                    <a:pt x="46062" y="963107"/>
                  </a:lnTo>
                  <a:lnTo>
                    <a:pt x="43869" y="964588"/>
                  </a:lnTo>
                  <a:lnTo>
                    <a:pt x="40858" y="960916"/>
                  </a:lnTo>
                  <a:lnTo>
                    <a:pt x="39150" y="958272"/>
                  </a:lnTo>
                  <a:lnTo>
                    <a:pt x="38310" y="957335"/>
                  </a:lnTo>
                  <a:lnTo>
                    <a:pt x="38605" y="953190"/>
                  </a:lnTo>
                  <a:lnTo>
                    <a:pt x="44570" y="954029"/>
                  </a:lnTo>
                  <a:lnTo>
                    <a:pt x="42524" y="952673"/>
                  </a:lnTo>
                  <a:lnTo>
                    <a:pt x="35563" y="950285"/>
                  </a:lnTo>
                  <a:lnTo>
                    <a:pt x="33825" y="949119"/>
                  </a:lnTo>
                  <a:lnTo>
                    <a:pt x="32532" y="948694"/>
                  </a:lnTo>
                  <a:lnTo>
                    <a:pt x="30217" y="945885"/>
                  </a:lnTo>
                  <a:lnTo>
                    <a:pt x="27347" y="943509"/>
                  </a:lnTo>
                  <a:lnTo>
                    <a:pt x="32298" y="939239"/>
                  </a:lnTo>
                  <a:lnTo>
                    <a:pt x="34849" y="936238"/>
                  </a:lnTo>
                  <a:lnTo>
                    <a:pt x="42818" y="937832"/>
                  </a:lnTo>
                  <a:lnTo>
                    <a:pt x="44361" y="936904"/>
                  </a:lnTo>
                  <a:lnTo>
                    <a:pt x="43027" y="934714"/>
                  </a:lnTo>
                  <a:lnTo>
                    <a:pt x="41452" y="935376"/>
                  </a:lnTo>
                  <a:lnTo>
                    <a:pt x="38966" y="934014"/>
                  </a:lnTo>
                  <a:lnTo>
                    <a:pt x="35097" y="929919"/>
                  </a:lnTo>
                  <a:lnTo>
                    <a:pt x="35229" y="927829"/>
                  </a:lnTo>
                  <a:lnTo>
                    <a:pt x="35937" y="924005"/>
                  </a:lnTo>
                  <a:lnTo>
                    <a:pt x="37470" y="923187"/>
                  </a:lnTo>
                  <a:lnTo>
                    <a:pt x="40724" y="922400"/>
                  </a:lnTo>
                  <a:lnTo>
                    <a:pt x="44439" y="923641"/>
                  </a:lnTo>
                  <a:lnTo>
                    <a:pt x="46061" y="924652"/>
                  </a:lnTo>
                  <a:lnTo>
                    <a:pt x="47460" y="924179"/>
                  </a:lnTo>
                  <a:lnTo>
                    <a:pt x="46037" y="921348"/>
                  </a:lnTo>
                  <a:lnTo>
                    <a:pt x="43614" y="920278"/>
                  </a:lnTo>
                  <a:lnTo>
                    <a:pt x="40916" y="918264"/>
                  </a:lnTo>
                  <a:lnTo>
                    <a:pt x="41194" y="916033"/>
                  </a:lnTo>
                  <a:lnTo>
                    <a:pt x="42064" y="914189"/>
                  </a:lnTo>
                  <a:lnTo>
                    <a:pt x="42717" y="912170"/>
                  </a:lnTo>
                  <a:lnTo>
                    <a:pt x="43169" y="909345"/>
                  </a:lnTo>
                  <a:lnTo>
                    <a:pt x="42921" y="907147"/>
                  </a:lnTo>
                  <a:lnTo>
                    <a:pt x="43698" y="906132"/>
                  </a:lnTo>
                  <a:lnTo>
                    <a:pt x="44886" y="905678"/>
                  </a:lnTo>
                  <a:lnTo>
                    <a:pt x="44960" y="904854"/>
                  </a:lnTo>
                  <a:lnTo>
                    <a:pt x="42608" y="905027"/>
                  </a:lnTo>
                  <a:lnTo>
                    <a:pt x="41756" y="907805"/>
                  </a:lnTo>
                  <a:lnTo>
                    <a:pt x="41438" y="910341"/>
                  </a:lnTo>
                  <a:lnTo>
                    <a:pt x="39767" y="912377"/>
                  </a:lnTo>
                  <a:lnTo>
                    <a:pt x="39055" y="914676"/>
                  </a:lnTo>
                  <a:lnTo>
                    <a:pt x="38632" y="917433"/>
                  </a:lnTo>
                  <a:lnTo>
                    <a:pt x="37700" y="920596"/>
                  </a:lnTo>
                  <a:lnTo>
                    <a:pt x="35666" y="919392"/>
                  </a:lnTo>
                  <a:lnTo>
                    <a:pt x="34474" y="918152"/>
                  </a:lnTo>
                  <a:lnTo>
                    <a:pt x="34017" y="917305"/>
                  </a:lnTo>
                  <a:lnTo>
                    <a:pt x="34229" y="915690"/>
                  </a:lnTo>
                  <a:lnTo>
                    <a:pt x="33677" y="905735"/>
                  </a:lnTo>
                  <a:lnTo>
                    <a:pt x="33622" y="897426"/>
                  </a:lnTo>
                  <a:lnTo>
                    <a:pt x="34664" y="890971"/>
                  </a:lnTo>
                  <a:lnTo>
                    <a:pt x="37538" y="888409"/>
                  </a:lnTo>
                  <a:lnTo>
                    <a:pt x="38843" y="887665"/>
                  </a:lnTo>
                  <a:lnTo>
                    <a:pt x="40033" y="887992"/>
                  </a:lnTo>
                  <a:lnTo>
                    <a:pt x="41868" y="887974"/>
                  </a:lnTo>
                  <a:lnTo>
                    <a:pt x="43081" y="887043"/>
                  </a:lnTo>
                  <a:lnTo>
                    <a:pt x="38962" y="885496"/>
                  </a:lnTo>
                  <a:lnTo>
                    <a:pt x="36463" y="886379"/>
                  </a:lnTo>
                  <a:lnTo>
                    <a:pt x="34615" y="887615"/>
                  </a:lnTo>
                  <a:lnTo>
                    <a:pt x="31282" y="886684"/>
                  </a:lnTo>
                  <a:lnTo>
                    <a:pt x="30648" y="883379"/>
                  </a:lnTo>
                  <a:lnTo>
                    <a:pt x="28676" y="880526"/>
                  </a:lnTo>
                  <a:lnTo>
                    <a:pt x="28333" y="876877"/>
                  </a:lnTo>
                  <a:lnTo>
                    <a:pt x="28485" y="871602"/>
                  </a:lnTo>
                  <a:lnTo>
                    <a:pt x="33156" y="872057"/>
                  </a:lnTo>
                  <a:lnTo>
                    <a:pt x="36961" y="873087"/>
                  </a:lnTo>
                  <a:lnTo>
                    <a:pt x="47018" y="872999"/>
                  </a:lnTo>
                  <a:lnTo>
                    <a:pt x="55275" y="878055"/>
                  </a:lnTo>
                  <a:lnTo>
                    <a:pt x="58918" y="877377"/>
                  </a:lnTo>
                  <a:lnTo>
                    <a:pt x="58752" y="876358"/>
                  </a:lnTo>
                  <a:lnTo>
                    <a:pt x="55964" y="875086"/>
                  </a:lnTo>
                  <a:lnTo>
                    <a:pt x="54225" y="872259"/>
                  </a:lnTo>
                  <a:lnTo>
                    <a:pt x="53203" y="871438"/>
                  </a:lnTo>
                  <a:lnTo>
                    <a:pt x="52720" y="869741"/>
                  </a:lnTo>
                  <a:lnTo>
                    <a:pt x="52563" y="867765"/>
                  </a:lnTo>
                  <a:lnTo>
                    <a:pt x="50516" y="860508"/>
                  </a:lnTo>
                  <a:lnTo>
                    <a:pt x="49695" y="860696"/>
                  </a:lnTo>
                  <a:lnTo>
                    <a:pt x="48908" y="863184"/>
                  </a:lnTo>
                  <a:lnTo>
                    <a:pt x="47199" y="867333"/>
                  </a:lnTo>
                  <a:lnTo>
                    <a:pt x="44810" y="869350"/>
                  </a:lnTo>
                  <a:lnTo>
                    <a:pt x="41162" y="870168"/>
                  </a:lnTo>
                  <a:lnTo>
                    <a:pt x="37554" y="870629"/>
                  </a:lnTo>
                  <a:lnTo>
                    <a:pt x="34422" y="869833"/>
                  </a:lnTo>
                  <a:lnTo>
                    <a:pt x="33693" y="868116"/>
                  </a:lnTo>
                  <a:lnTo>
                    <a:pt x="33772" y="866128"/>
                  </a:lnTo>
                  <a:lnTo>
                    <a:pt x="32416" y="865157"/>
                  </a:lnTo>
                  <a:lnTo>
                    <a:pt x="28878" y="864296"/>
                  </a:lnTo>
                  <a:lnTo>
                    <a:pt x="27872" y="863815"/>
                  </a:lnTo>
                  <a:lnTo>
                    <a:pt x="26705" y="862016"/>
                  </a:lnTo>
                  <a:lnTo>
                    <a:pt x="28391" y="859299"/>
                  </a:lnTo>
                  <a:lnTo>
                    <a:pt x="29777" y="857679"/>
                  </a:lnTo>
                  <a:lnTo>
                    <a:pt x="31473" y="858000"/>
                  </a:lnTo>
                  <a:lnTo>
                    <a:pt x="33078" y="858733"/>
                  </a:lnTo>
                  <a:lnTo>
                    <a:pt x="35132" y="860870"/>
                  </a:lnTo>
                  <a:lnTo>
                    <a:pt x="37150" y="861276"/>
                  </a:lnTo>
                  <a:lnTo>
                    <a:pt x="39458" y="859579"/>
                  </a:lnTo>
                  <a:lnTo>
                    <a:pt x="39911" y="858424"/>
                  </a:lnTo>
                  <a:lnTo>
                    <a:pt x="38468" y="857702"/>
                  </a:lnTo>
                  <a:lnTo>
                    <a:pt x="37151" y="857421"/>
                  </a:lnTo>
                  <a:lnTo>
                    <a:pt x="35103" y="856513"/>
                  </a:lnTo>
                  <a:lnTo>
                    <a:pt x="31072" y="853264"/>
                  </a:lnTo>
                  <a:lnTo>
                    <a:pt x="33086" y="849957"/>
                  </a:lnTo>
                  <a:lnTo>
                    <a:pt x="37843" y="846170"/>
                  </a:lnTo>
                  <a:lnTo>
                    <a:pt x="39294" y="845302"/>
                  </a:lnTo>
                  <a:lnTo>
                    <a:pt x="38035" y="842115"/>
                  </a:lnTo>
                  <a:lnTo>
                    <a:pt x="39459" y="838636"/>
                  </a:lnTo>
                  <a:lnTo>
                    <a:pt x="38000" y="835770"/>
                  </a:lnTo>
                  <a:lnTo>
                    <a:pt x="35360" y="832684"/>
                  </a:lnTo>
                  <a:lnTo>
                    <a:pt x="31795" y="832001"/>
                  </a:lnTo>
                  <a:lnTo>
                    <a:pt x="31028" y="832903"/>
                  </a:lnTo>
                  <a:lnTo>
                    <a:pt x="30903" y="834165"/>
                  </a:lnTo>
                  <a:lnTo>
                    <a:pt x="31469" y="835117"/>
                  </a:lnTo>
                  <a:lnTo>
                    <a:pt x="31135" y="835804"/>
                  </a:lnTo>
                  <a:lnTo>
                    <a:pt x="30322" y="835782"/>
                  </a:lnTo>
                  <a:lnTo>
                    <a:pt x="25794" y="835104"/>
                  </a:lnTo>
                  <a:lnTo>
                    <a:pt x="22756" y="833052"/>
                  </a:lnTo>
                  <a:lnTo>
                    <a:pt x="17804" y="831182"/>
                  </a:lnTo>
                  <a:lnTo>
                    <a:pt x="17157" y="829721"/>
                  </a:lnTo>
                  <a:lnTo>
                    <a:pt x="16623" y="827574"/>
                  </a:lnTo>
                  <a:lnTo>
                    <a:pt x="18356" y="823882"/>
                  </a:lnTo>
                  <a:lnTo>
                    <a:pt x="17479" y="823832"/>
                  </a:lnTo>
                  <a:lnTo>
                    <a:pt x="14259" y="826684"/>
                  </a:lnTo>
                  <a:lnTo>
                    <a:pt x="9399" y="828182"/>
                  </a:lnTo>
                  <a:lnTo>
                    <a:pt x="5824" y="828670"/>
                  </a:lnTo>
                  <a:lnTo>
                    <a:pt x="4254" y="829830"/>
                  </a:lnTo>
                  <a:lnTo>
                    <a:pt x="3626" y="830786"/>
                  </a:lnTo>
                  <a:lnTo>
                    <a:pt x="4577" y="831350"/>
                  </a:lnTo>
                  <a:lnTo>
                    <a:pt x="6646" y="831490"/>
                  </a:lnTo>
                  <a:lnTo>
                    <a:pt x="8156" y="835064"/>
                  </a:lnTo>
                  <a:lnTo>
                    <a:pt x="7781" y="836437"/>
                  </a:lnTo>
                  <a:lnTo>
                    <a:pt x="7042" y="837362"/>
                  </a:lnTo>
                  <a:lnTo>
                    <a:pt x="5362" y="837540"/>
                  </a:lnTo>
                  <a:lnTo>
                    <a:pt x="1847" y="835068"/>
                  </a:lnTo>
                  <a:lnTo>
                    <a:pt x="0" y="832263"/>
                  </a:lnTo>
                  <a:lnTo>
                    <a:pt x="43" y="830037"/>
                  </a:lnTo>
                  <a:lnTo>
                    <a:pt x="1301" y="827011"/>
                  </a:lnTo>
                  <a:lnTo>
                    <a:pt x="6877" y="822955"/>
                  </a:lnTo>
                  <a:lnTo>
                    <a:pt x="8420" y="821239"/>
                  </a:lnTo>
                  <a:lnTo>
                    <a:pt x="11691" y="819339"/>
                  </a:lnTo>
                  <a:lnTo>
                    <a:pt x="16057" y="815059"/>
                  </a:lnTo>
                  <a:lnTo>
                    <a:pt x="19870" y="812682"/>
                  </a:lnTo>
                  <a:lnTo>
                    <a:pt x="18014" y="810715"/>
                  </a:lnTo>
                  <a:lnTo>
                    <a:pt x="16065" y="807763"/>
                  </a:lnTo>
                  <a:lnTo>
                    <a:pt x="16264" y="803663"/>
                  </a:lnTo>
                  <a:lnTo>
                    <a:pt x="23960" y="802041"/>
                  </a:lnTo>
                  <a:lnTo>
                    <a:pt x="27319" y="802709"/>
                  </a:lnTo>
                  <a:lnTo>
                    <a:pt x="31576" y="802581"/>
                  </a:lnTo>
                  <a:lnTo>
                    <a:pt x="33951" y="801601"/>
                  </a:lnTo>
                  <a:lnTo>
                    <a:pt x="35674" y="801390"/>
                  </a:lnTo>
                  <a:lnTo>
                    <a:pt x="39308" y="800258"/>
                  </a:lnTo>
                  <a:lnTo>
                    <a:pt x="40872" y="798666"/>
                  </a:lnTo>
                  <a:lnTo>
                    <a:pt x="41236" y="797452"/>
                  </a:lnTo>
                  <a:lnTo>
                    <a:pt x="41219" y="796392"/>
                  </a:lnTo>
                  <a:lnTo>
                    <a:pt x="40794" y="795089"/>
                  </a:lnTo>
                  <a:lnTo>
                    <a:pt x="40200" y="791709"/>
                  </a:lnTo>
                  <a:lnTo>
                    <a:pt x="40802" y="790580"/>
                  </a:lnTo>
                  <a:lnTo>
                    <a:pt x="42360" y="789237"/>
                  </a:lnTo>
                  <a:lnTo>
                    <a:pt x="44397" y="788818"/>
                  </a:lnTo>
                  <a:lnTo>
                    <a:pt x="45332" y="788923"/>
                  </a:lnTo>
                  <a:lnTo>
                    <a:pt x="47748" y="790157"/>
                  </a:lnTo>
                  <a:lnTo>
                    <a:pt x="47263" y="791905"/>
                  </a:lnTo>
                  <a:lnTo>
                    <a:pt x="46295" y="794014"/>
                  </a:lnTo>
                  <a:lnTo>
                    <a:pt x="44319" y="802409"/>
                  </a:lnTo>
                  <a:lnTo>
                    <a:pt x="43324" y="804308"/>
                  </a:lnTo>
                  <a:lnTo>
                    <a:pt x="41763" y="805955"/>
                  </a:lnTo>
                  <a:lnTo>
                    <a:pt x="42806" y="809390"/>
                  </a:lnTo>
                  <a:lnTo>
                    <a:pt x="41244" y="811799"/>
                  </a:lnTo>
                  <a:lnTo>
                    <a:pt x="34264" y="814364"/>
                  </a:lnTo>
                  <a:lnTo>
                    <a:pt x="33347" y="814513"/>
                  </a:lnTo>
                  <a:lnTo>
                    <a:pt x="33867" y="815430"/>
                  </a:lnTo>
                  <a:lnTo>
                    <a:pt x="37907" y="815213"/>
                  </a:lnTo>
                  <a:lnTo>
                    <a:pt x="41035" y="814671"/>
                  </a:lnTo>
                  <a:lnTo>
                    <a:pt x="44134" y="812505"/>
                  </a:lnTo>
                  <a:lnTo>
                    <a:pt x="45106" y="809202"/>
                  </a:lnTo>
                  <a:lnTo>
                    <a:pt x="46387" y="802776"/>
                  </a:lnTo>
                  <a:lnTo>
                    <a:pt x="48064" y="801869"/>
                  </a:lnTo>
                  <a:lnTo>
                    <a:pt x="50024" y="801665"/>
                  </a:lnTo>
                  <a:lnTo>
                    <a:pt x="51048" y="803178"/>
                  </a:lnTo>
                  <a:lnTo>
                    <a:pt x="50717" y="806567"/>
                  </a:lnTo>
                  <a:lnTo>
                    <a:pt x="50711" y="809849"/>
                  </a:lnTo>
                  <a:lnTo>
                    <a:pt x="48113" y="819594"/>
                  </a:lnTo>
                  <a:lnTo>
                    <a:pt x="44964" y="823518"/>
                  </a:lnTo>
                  <a:lnTo>
                    <a:pt x="44614" y="824550"/>
                  </a:lnTo>
                  <a:lnTo>
                    <a:pt x="44738" y="825776"/>
                  </a:lnTo>
                  <a:lnTo>
                    <a:pt x="47232" y="825598"/>
                  </a:lnTo>
                  <a:lnTo>
                    <a:pt x="49137" y="823489"/>
                  </a:lnTo>
                  <a:lnTo>
                    <a:pt x="50507" y="820799"/>
                  </a:lnTo>
                  <a:lnTo>
                    <a:pt x="51880" y="817055"/>
                  </a:lnTo>
                  <a:lnTo>
                    <a:pt x="51724" y="814345"/>
                  </a:lnTo>
                  <a:lnTo>
                    <a:pt x="52143" y="812669"/>
                  </a:lnTo>
                  <a:lnTo>
                    <a:pt x="52708" y="807194"/>
                  </a:lnTo>
                  <a:lnTo>
                    <a:pt x="53660" y="804429"/>
                  </a:lnTo>
                  <a:lnTo>
                    <a:pt x="53597" y="800563"/>
                  </a:lnTo>
                  <a:lnTo>
                    <a:pt x="51882" y="799108"/>
                  </a:lnTo>
                  <a:lnTo>
                    <a:pt x="49483" y="798226"/>
                  </a:lnTo>
                  <a:lnTo>
                    <a:pt x="48880" y="795861"/>
                  </a:lnTo>
                  <a:lnTo>
                    <a:pt x="50138" y="791199"/>
                  </a:lnTo>
                  <a:lnTo>
                    <a:pt x="54723" y="791318"/>
                  </a:lnTo>
                  <a:lnTo>
                    <a:pt x="59068" y="788139"/>
                  </a:lnTo>
                  <a:lnTo>
                    <a:pt x="61917" y="786988"/>
                  </a:lnTo>
                  <a:lnTo>
                    <a:pt x="63537" y="787227"/>
                  </a:lnTo>
                  <a:lnTo>
                    <a:pt x="69220" y="790291"/>
                  </a:lnTo>
                  <a:lnTo>
                    <a:pt x="70345" y="790329"/>
                  </a:lnTo>
                  <a:lnTo>
                    <a:pt x="70169" y="789224"/>
                  </a:lnTo>
                  <a:lnTo>
                    <a:pt x="69288" y="788447"/>
                  </a:lnTo>
                  <a:lnTo>
                    <a:pt x="67048" y="787415"/>
                  </a:lnTo>
                  <a:lnTo>
                    <a:pt x="62928" y="784126"/>
                  </a:lnTo>
                  <a:lnTo>
                    <a:pt x="57385" y="783592"/>
                  </a:lnTo>
                  <a:lnTo>
                    <a:pt x="58401" y="779327"/>
                  </a:lnTo>
                  <a:lnTo>
                    <a:pt x="59478" y="775435"/>
                  </a:lnTo>
                  <a:lnTo>
                    <a:pt x="62165" y="774897"/>
                  </a:lnTo>
                  <a:lnTo>
                    <a:pt x="66679" y="773619"/>
                  </a:lnTo>
                  <a:lnTo>
                    <a:pt x="75286" y="767798"/>
                  </a:lnTo>
                  <a:lnTo>
                    <a:pt x="76779" y="763417"/>
                  </a:lnTo>
                  <a:lnTo>
                    <a:pt x="77191" y="758505"/>
                  </a:lnTo>
                  <a:lnTo>
                    <a:pt x="73040" y="757226"/>
                  </a:lnTo>
                  <a:lnTo>
                    <a:pt x="68641" y="754019"/>
                  </a:lnTo>
                  <a:lnTo>
                    <a:pt x="65093" y="752310"/>
                  </a:lnTo>
                  <a:lnTo>
                    <a:pt x="61946" y="750170"/>
                  </a:lnTo>
                  <a:lnTo>
                    <a:pt x="62564" y="746972"/>
                  </a:lnTo>
                  <a:lnTo>
                    <a:pt x="62976" y="741767"/>
                  </a:lnTo>
                  <a:lnTo>
                    <a:pt x="66923" y="740654"/>
                  </a:lnTo>
                  <a:lnTo>
                    <a:pt x="68755" y="733520"/>
                  </a:lnTo>
                  <a:lnTo>
                    <a:pt x="66107" y="728072"/>
                  </a:lnTo>
                  <a:lnTo>
                    <a:pt x="66741" y="724014"/>
                  </a:lnTo>
                  <a:lnTo>
                    <a:pt x="70189" y="720554"/>
                  </a:lnTo>
                  <a:lnTo>
                    <a:pt x="70811" y="718161"/>
                  </a:lnTo>
                  <a:lnTo>
                    <a:pt x="71760" y="715533"/>
                  </a:lnTo>
                  <a:lnTo>
                    <a:pt x="74804" y="715265"/>
                  </a:lnTo>
                  <a:lnTo>
                    <a:pt x="74870" y="713837"/>
                  </a:lnTo>
                  <a:lnTo>
                    <a:pt x="74601" y="711234"/>
                  </a:lnTo>
                  <a:lnTo>
                    <a:pt x="72599" y="708158"/>
                  </a:lnTo>
                  <a:lnTo>
                    <a:pt x="72521" y="703902"/>
                  </a:lnTo>
                  <a:lnTo>
                    <a:pt x="74400" y="698882"/>
                  </a:lnTo>
                  <a:lnTo>
                    <a:pt x="77419" y="699232"/>
                  </a:lnTo>
                  <a:lnTo>
                    <a:pt x="78003" y="699020"/>
                  </a:lnTo>
                  <a:lnTo>
                    <a:pt x="75861" y="695987"/>
                  </a:lnTo>
                  <a:lnTo>
                    <a:pt x="74114" y="692651"/>
                  </a:lnTo>
                  <a:lnTo>
                    <a:pt x="74417" y="691322"/>
                  </a:lnTo>
                  <a:lnTo>
                    <a:pt x="76087" y="690187"/>
                  </a:lnTo>
                  <a:lnTo>
                    <a:pt x="78023" y="689555"/>
                  </a:lnTo>
                  <a:lnTo>
                    <a:pt x="80118" y="691262"/>
                  </a:lnTo>
                  <a:lnTo>
                    <a:pt x="83114" y="696702"/>
                  </a:lnTo>
                  <a:lnTo>
                    <a:pt x="83568" y="695306"/>
                  </a:lnTo>
                  <a:lnTo>
                    <a:pt x="82357" y="689765"/>
                  </a:lnTo>
                  <a:lnTo>
                    <a:pt x="81361" y="682884"/>
                  </a:lnTo>
                  <a:lnTo>
                    <a:pt x="78203" y="683788"/>
                  </a:lnTo>
                  <a:lnTo>
                    <a:pt x="75306" y="683304"/>
                  </a:lnTo>
                  <a:lnTo>
                    <a:pt x="74215" y="682237"/>
                  </a:lnTo>
                  <a:lnTo>
                    <a:pt x="73128" y="680692"/>
                  </a:lnTo>
                  <a:lnTo>
                    <a:pt x="74149" y="678807"/>
                  </a:lnTo>
                  <a:lnTo>
                    <a:pt x="75166" y="677402"/>
                  </a:lnTo>
                  <a:lnTo>
                    <a:pt x="77292" y="675637"/>
                  </a:lnTo>
                  <a:lnTo>
                    <a:pt x="81700" y="675017"/>
                  </a:lnTo>
                  <a:lnTo>
                    <a:pt x="84886" y="672802"/>
                  </a:lnTo>
                  <a:lnTo>
                    <a:pt x="85954" y="668251"/>
                  </a:lnTo>
                  <a:lnTo>
                    <a:pt x="84909" y="668701"/>
                  </a:lnTo>
                  <a:lnTo>
                    <a:pt x="83178" y="672705"/>
                  </a:lnTo>
                  <a:lnTo>
                    <a:pt x="80271" y="674063"/>
                  </a:lnTo>
                  <a:lnTo>
                    <a:pt x="78789" y="673864"/>
                  </a:lnTo>
                  <a:lnTo>
                    <a:pt x="77041" y="673113"/>
                  </a:lnTo>
                  <a:lnTo>
                    <a:pt x="73609" y="669625"/>
                  </a:lnTo>
                  <a:lnTo>
                    <a:pt x="71711" y="668813"/>
                  </a:lnTo>
                  <a:lnTo>
                    <a:pt x="69864" y="668728"/>
                  </a:lnTo>
                  <a:lnTo>
                    <a:pt x="68288" y="669610"/>
                  </a:lnTo>
                  <a:lnTo>
                    <a:pt x="64254" y="675761"/>
                  </a:lnTo>
                  <a:lnTo>
                    <a:pt x="62536" y="676802"/>
                  </a:lnTo>
                  <a:lnTo>
                    <a:pt x="55449" y="677295"/>
                  </a:lnTo>
                  <a:lnTo>
                    <a:pt x="52844" y="676583"/>
                  </a:lnTo>
                  <a:lnTo>
                    <a:pt x="50027" y="675637"/>
                  </a:lnTo>
                  <a:lnTo>
                    <a:pt x="50364" y="674119"/>
                  </a:lnTo>
                  <a:lnTo>
                    <a:pt x="51220" y="672503"/>
                  </a:lnTo>
                  <a:lnTo>
                    <a:pt x="52819" y="671674"/>
                  </a:lnTo>
                  <a:lnTo>
                    <a:pt x="52847" y="670746"/>
                  </a:lnTo>
                  <a:lnTo>
                    <a:pt x="50648" y="670512"/>
                  </a:lnTo>
                  <a:lnTo>
                    <a:pt x="48110" y="668811"/>
                  </a:lnTo>
                  <a:lnTo>
                    <a:pt x="46988" y="666656"/>
                  </a:lnTo>
                  <a:lnTo>
                    <a:pt x="46451" y="662811"/>
                  </a:lnTo>
                  <a:lnTo>
                    <a:pt x="44177" y="656734"/>
                  </a:lnTo>
                  <a:lnTo>
                    <a:pt x="43728" y="652390"/>
                  </a:lnTo>
                  <a:lnTo>
                    <a:pt x="45332" y="649292"/>
                  </a:lnTo>
                  <a:lnTo>
                    <a:pt x="48787" y="637168"/>
                  </a:lnTo>
                  <a:lnTo>
                    <a:pt x="49841" y="631005"/>
                  </a:lnTo>
                  <a:lnTo>
                    <a:pt x="51693" y="625594"/>
                  </a:lnTo>
                  <a:lnTo>
                    <a:pt x="51654" y="622032"/>
                  </a:lnTo>
                  <a:lnTo>
                    <a:pt x="56440" y="618778"/>
                  </a:lnTo>
                  <a:lnTo>
                    <a:pt x="58261" y="616833"/>
                  </a:lnTo>
                  <a:lnTo>
                    <a:pt x="62331" y="605904"/>
                  </a:lnTo>
                  <a:lnTo>
                    <a:pt x="62925" y="600020"/>
                  </a:lnTo>
                  <a:lnTo>
                    <a:pt x="56477" y="582234"/>
                  </a:lnTo>
                  <a:lnTo>
                    <a:pt x="55477" y="578847"/>
                  </a:lnTo>
                  <a:lnTo>
                    <a:pt x="55164" y="574640"/>
                  </a:lnTo>
                  <a:lnTo>
                    <a:pt x="56703" y="567667"/>
                  </a:lnTo>
                  <a:lnTo>
                    <a:pt x="56882" y="565027"/>
                  </a:lnTo>
                  <a:lnTo>
                    <a:pt x="55565" y="561212"/>
                  </a:lnTo>
                  <a:lnTo>
                    <a:pt x="51886" y="554989"/>
                  </a:lnTo>
                  <a:lnTo>
                    <a:pt x="51815" y="551820"/>
                  </a:lnTo>
                  <a:lnTo>
                    <a:pt x="53367" y="548560"/>
                  </a:lnTo>
                  <a:lnTo>
                    <a:pt x="51872" y="544520"/>
                  </a:lnTo>
                  <a:lnTo>
                    <a:pt x="52601" y="542019"/>
                  </a:lnTo>
                  <a:lnTo>
                    <a:pt x="53412" y="540062"/>
                  </a:lnTo>
                  <a:lnTo>
                    <a:pt x="59170" y="541109"/>
                  </a:lnTo>
                  <a:lnTo>
                    <a:pt x="61794" y="540615"/>
                  </a:lnTo>
                  <a:lnTo>
                    <a:pt x="63191" y="539431"/>
                  </a:lnTo>
                  <a:lnTo>
                    <a:pt x="64285" y="536122"/>
                  </a:lnTo>
                  <a:lnTo>
                    <a:pt x="64832" y="530952"/>
                  </a:lnTo>
                  <a:lnTo>
                    <a:pt x="65174" y="528731"/>
                  </a:lnTo>
                  <a:lnTo>
                    <a:pt x="65673" y="525485"/>
                  </a:lnTo>
                  <a:lnTo>
                    <a:pt x="68500" y="524179"/>
                  </a:lnTo>
                  <a:lnTo>
                    <a:pt x="69484" y="521107"/>
                  </a:lnTo>
                  <a:lnTo>
                    <a:pt x="71849" y="516828"/>
                  </a:lnTo>
                  <a:lnTo>
                    <a:pt x="74285" y="504892"/>
                  </a:lnTo>
                  <a:lnTo>
                    <a:pt x="76696" y="501955"/>
                  </a:lnTo>
                  <a:lnTo>
                    <a:pt x="79130" y="498565"/>
                  </a:lnTo>
                  <a:lnTo>
                    <a:pt x="78204" y="493545"/>
                  </a:lnTo>
                  <a:lnTo>
                    <a:pt x="79772" y="491228"/>
                  </a:lnTo>
                  <a:lnTo>
                    <a:pt x="81215" y="489544"/>
                  </a:lnTo>
                  <a:lnTo>
                    <a:pt x="82487" y="486487"/>
                  </a:lnTo>
                  <a:lnTo>
                    <a:pt x="84218" y="483599"/>
                  </a:lnTo>
                  <a:lnTo>
                    <a:pt x="88350" y="479451"/>
                  </a:lnTo>
                  <a:lnTo>
                    <a:pt x="89399" y="474397"/>
                  </a:lnTo>
                  <a:lnTo>
                    <a:pt x="92605" y="465671"/>
                  </a:lnTo>
                  <a:lnTo>
                    <a:pt x="93244" y="460082"/>
                  </a:lnTo>
                  <a:lnTo>
                    <a:pt x="94239" y="456308"/>
                  </a:lnTo>
                  <a:lnTo>
                    <a:pt x="93952" y="452791"/>
                  </a:lnTo>
                  <a:lnTo>
                    <a:pt x="95879" y="448520"/>
                  </a:lnTo>
                  <a:lnTo>
                    <a:pt x="97727" y="444928"/>
                  </a:lnTo>
                  <a:lnTo>
                    <a:pt x="98311" y="442932"/>
                  </a:lnTo>
                  <a:lnTo>
                    <a:pt x="102535" y="438184"/>
                  </a:lnTo>
                  <a:lnTo>
                    <a:pt x="103247" y="434393"/>
                  </a:lnTo>
                  <a:lnTo>
                    <a:pt x="101745" y="431829"/>
                  </a:lnTo>
                  <a:lnTo>
                    <a:pt x="101718" y="427858"/>
                  </a:lnTo>
                  <a:lnTo>
                    <a:pt x="100542" y="422360"/>
                  </a:lnTo>
                  <a:lnTo>
                    <a:pt x="103266" y="420305"/>
                  </a:lnTo>
                  <a:lnTo>
                    <a:pt x="104369" y="418804"/>
                  </a:lnTo>
                  <a:lnTo>
                    <a:pt x="107913" y="410041"/>
                  </a:lnTo>
                  <a:lnTo>
                    <a:pt x="107681" y="406606"/>
                  </a:lnTo>
                  <a:lnTo>
                    <a:pt x="108699" y="402344"/>
                  </a:lnTo>
                  <a:lnTo>
                    <a:pt x="106372" y="397304"/>
                  </a:lnTo>
                  <a:lnTo>
                    <a:pt x="106047" y="386000"/>
                  </a:lnTo>
                  <a:lnTo>
                    <a:pt x="104743" y="377318"/>
                  </a:lnTo>
                  <a:lnTo>
                    <a:pt x="102596" y="368169"/>
                  </a:lnTo>
                  <a:lnTo>
                    <a:pt x="102800" y="363058"/>
                  </a:lnTo>
                  <a:lnTo>
                    <a:pt x="101487" y="356712"/>
                  </a:lnTo>
                  <a:lnTo>
                    <a:pt x="101405" y="353053"/>
                  </a:lnTo>
                  <a:lnTo>
                    <a:pt x="102405" y="344766"/>
                  </a:lnTo>
                  <a:lnTo>
                    <a:pt x="109229" y="339557"/>
                  </a:lnTo>
                  <a:lnTo>
                    <a:pt x="110555" y="333734"/>
                  </a:lnTo>
                  <a:lnTo>
                    <a:pt x="111375" y="325875"/>
                  </a:lnTo>
                  <a:lnTo>
                    <a:pt x="111097" y="320159"/>
                  </a:lnTo>
                  <a:lnTo>
                    <a:pt x="110422" y="317593"/>
                  </a:lnTo>
                  <a:lnTo>
                    <a:pt x="107061" y="313389"/>
                  </a:lnTo>
                  <a:lnTo>
                    <a:pt x="106215" y="305888"/>
                  </a:lnTo>
                  <a:lnTo>
                    <a:pt x="106865" y="303925"/>
                  </a:lnTo>
                  <a:lnTo>
                    <a:pt x="109643" y="301816"/>
                  </a:lnTo>
                  <a:lnTo>
                    <a:pt x="111602" y="298890"/>
                  </a:lnTo>
                  <a:lnTo>
                    <a:pt x="112615" y="294350"/>
                  </a:lnTo>
                  <a:lnTo>
                    <a:pt x="114654" y="290785"/>
                  </a:lnTo>
                  <a:lnTo>
                    <a:pt x="115463" y="282168"/>
                  </a:lnTo>
                  <a:lnTo>
                    <a:pt x="117187" y="275325"/>
                  </a:lnTo>
                  <a:lnTo>
                    <a:pt x="118046" y="272938"/>
                  </a:lnTo>
                  <a:lnTo>
                    <a:pt x="120755" y="269942"/>
                  </a:lnTo>
                  <a:lnTo>
                    <a:pt x="121262" y="269143"/>
                  </a:lnTo>
                  <a:lnTo>
                    <a:pt x="121681" y="266858"/>
                  </a:lnTo>
                  <a:lnTo>
                    <a:pt x="121555" y="261466"/>
                  </a:lnTo>
                  <a:lnTo>
                    <a:pt x="121970" y="258179"/>
                  </a:lnTo>
                  <a:lnTo>
                    <a:pt x="124129" y="251715"/>
                  </a:lnTo>
                  <a:lnTo>
                    <a:pt x="124378" y="248725"/>
                  </a:lnTo>
                  <a:lnTo>
                    <a:pt x="126775" y="242084"/>
                  </a:lnTo>
                  <a:lnTo>
                    <a:pt x="127318" y="237319"/>
                  </a:lnTo>
                  <a:lnTo>
                    <a:pt x="128342" y="234808"/>
                  </a:lnTo>
                  <a:lnTo>
                    <a:pt x="127944" y="231982"/>
                  </a:lnTo>
                  <a:lnTo>
                    <a:pt x="128624" y="225667"/>
                  </a:lnTo>
                  <a:lnTo>
                    <a:pt x="126997" y="222100"/>
                  </a:lnTo>
                  <a:lnTo>
                    <a:pt x="126639" y="220015"/>
                  </a:lnTo>
                  <a:lnTo>
                    <a:pt x="128686" y="213554"/>
                  </a:lnTo>
                  <a:lnTo>
                    <a:pt x="130078" y="211983"/>
                  </a:lnTo>
                  <a:lnTo>
                    <a:pt x="132325" y="208980"/>
                  </a:lnTo>
                  <a:lnTo>
                    <a:pt x="133271" y="205612"/>
                  </a:lnTo>
                  <a:lnTo>
                    <a:pt x="133445" y="203472"/>
                  </a:lnTo>
                  <a:lnTo>
                    <a:pt x="130571" y="192839"/>
                  </a:lnTo>
                  <a:lnTo>
                    <a:pt x="130179" y="189223"/>
                  </a:lnTo>
                  <a:lnTo>
                    <a:pt x="130881" y="180807"/>
                  </a:lnTo>
                  <a:lnTo>
                    <a:pt x="131871" y="175379"/>
                  </a:lnTo>
                  <a:lnTo>
                    <a:pt x="131551" y="171051"/>
                  </a:lnTo>
                  <a:lnTo>
                    <a:pt x="131871" y="168829"/>
                  </a:lnTo>
                  <a:lnTo>
                    <a:pt x="132368" y="166038"/>
                  </a:lnTo>
                  <a:lnTo>
                    <a:pt x="134342" y="162655"/>
                  </a:lnTo>
                  <a:lnTo>
                    <a:pt x="134789" y="160253"/>
                  </a:lnTo>
                  <a:lnTo>
                    <a:pt x="134096" y="159250"/>
                  </a:lnTo>
                  <a:lnTo>
                    <a:pt x="131756" y="158027"/>
                  </a:lnTo>
                  <a:lnTo>
                    <a:pt x="129824" y="154962"/>
                  </a:lnTo>
                  <a:lnTo>
                    <a:pt x="129692" y="151941"/>
                  </a:lnTo>
                  <a:lnTo>
                    <a:pt x="130313" y="149744"/>
                  </a:lnTo>
                  <a:lnTo>
                    <a:pt x="130457" y="146634"/>
                  </a:lnTo>
                  <a:lnTo>
                    <a:pt x="133335" y="146023"/>
                  </a:lnTo>
                  <a:lnTo>
                    <a:pt x="134869" y="144298"/>
                  </a:lnTo>
                  <a:lnTo>
                    <a:pt x="136327" y="141067"/>
                  </a:lnTo>
                  <a:lnTo>
                    <a:pt x="138157" y="133259"/>
                  </a:lnTo>
                  <a:lnTo>
                    <a:pt x="138942" y="123590"/>
                  </a:lnTo>
                  <a:lnTo>
                    <a:pt x="140035" y="117773"/>
                  </a:lnTo>
                  <a:lnTo>
                    <a:pt x="140805" y="114901"/>
                  </a:lnTo>
                  <a:lnTo>
                    <a:pt x="141451" y="108901"/>
                  </a:lnTo>
                  <a:lnTo>
                    <a:pt x="142517" y="104978"/>
                  </a:lnTo>
                  <a:lnTo>
                    <a:pt x="142708" y="101363"/>
                  </a:lnTo>
                  <a:lnTo>
                    <a:pt x="142496" y="98615"/>
                  </a:lnTo>
                  <a:lnTo>
                    <a:pt x="139742" y="84636"/>
                  </a:lnTo>
                  <a:lnTo>
                    <a:pt x="139827" y="79506"/>
                  </a:lnTo>
                  <a:lnTo>
                    <a:pt x="140999" y="71537"/>
                  </a:lnTo>
                  <a:lnTo>
                    <a:pt x="140980" y="60333"/>
                  </a:lnTo>
                  <a:lnTo>
                    <a:pt x="140745" y="57719"/>
                  </a:lnTo>
                  <a:lnTo>
                    <a:pt x="139707" y="55272"/>
                  </a:lnTo>
                  <a:lnTo>
                    <a:pt x="139402" y="51952"/>
                  </a:lnTo>
                  <a:lnTo>
                    <a:pt x="137744" y="46180"/>
                  </a:lnTo>
                  <a:lnTo>
                    <a:pt x="136247" y="34616"/>
                  </a:lnTo>
                  <a:lnTo>
                    <a:pt x="136216" y="28519"/>
                  </a:lnTo>
                  <a:lnTo>
                    <a:pt x="135568" y="23348"/>
                  </a:lnTo>
                  <a:lnTo>
                    <a:pt x="134132" y="21973"/>
                  </a:lnTo>
                  <a:lnTo>
                    <a:pt x="135165" y="21658"/>
                  </a:lnTo>
                  <a:lnTo>
                    <a:pt x="137580" y="21442"/>
                  </a:lnTo>
                  <a:lnTo>
                    <a:pt x="140077" y="21438"/>
                  </a:lnTo>
                  <a:lnTo>
                    <a:pt x="143239" y="20345"/>
                  </a:lnTo>
                  <a:lnTo>
                    <a:pt x="146604" y="18315"/>
                  </a:lnTo>
                  <a:lnTo>
                    <a:pt x="148802" y="15367"/>
                  </a:lnTo>
                  <a:lnTo>
                    <a:pt x="149742" y="12664"/>
                  </a:lnTo>
                  <a:lnTo>
                    <a:pt x="149747" y="10302"/>
                  </a:lnTo>
                  <a:lnTo>
                    <a:pt x="148756" y="7297"/>
                  </a:lnTo>
                  <a:lnTo>
                    <a:pt x="148488" y="5169"/>
                  </a:lnTo>
                  <a:lnTo>
                    <a:pt x="149654" y="4153"/>
                  </a:lnTo>
                  <a:lnTo>
                    <a:pt x="152731" y="3758"/>
                  </a:lnTo>
                  <a:lnTo>
                    <a:pt x="155224" y="1755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28" name="ee4p_CO_1_37365">
              <a:extLst>
                <a:ext uri="{FF2B5EF4-FFF2-40B4-BE49-F238E27FC236}">
                  <a16:creationId xmlns:a16="http://schemas.microsoft.com/office/drawing/2014/main" id="{7F5E272C-FA5E-9BAA-263E-B18D82E9D489}"/>
                </a:ext>
              </a:extLst>
            </p:cNvPr>
            <p:cNvSpPr>
              <a:spLocks noChangeAspect="1"/>
            </p:cNvSpPr>
            <p:nvPr>
              <p:custDataLst>
                <p:tags r:id="rId382"/>
              </p:custDataLst>
            </p:nvPr>
          </p:nvSpPr>
          <p:spPr>
            <a:xfrm>
              <a:off x="4320216" y="4319293"/>
              <a:ext cx="337381" cy="477394"/>
            </a:xfrm>
            <a:custGeom>
              <a:avLst/>
              <a:gdLst>
                <a:gd name="connsiteX0" fmla="*/ 21477 w 308065"/>
                <a:gd name="connsiteY0" fmla="*/ 249770 h 424357"/>
                <a:gd name="connsiteX1" fmla="*/ 22511 w 308065"/>
                <a:gd name="connsiteY1" fmla="*/ 250079 h 424357"/>
                <a:gd name="connsiteX2" fmla="*/ 22980 w 308065"/>
                <a:gd name="connsiteY2" fmla="*/ 250854 h 424357"/>
                <a:gd name="connsiteX3" fmla="*/ 23118 w 308065"/>
                <a:gd name="connsiteY3" fmla="*/ 252424 h 424357"/>
                <a:gd name="connsiteX4" fmla="*/ 22431 w 308065"/>
                <a:gd name="connsiteY4" fmla="*/ 252983 h 424357"/>
                <a:gd name="connsiteX5" fmla="*/ 21120 w 308065"/>
                <a:gd name="connsiteY5" fmla="*/ 251979 h 424357"/>
                <a:gd name="connsiteX6" fmla="*/ 20673 w 308065"/>
                <a:gd name="connsiteY6" fmla="*/ 250713 h 424357"/>
                <a:gd name="connsiteX7" fmla="*/ 188347 w 308065"/>
                <a:gd name="connsiteY7" fmla="*/ 0 h 424357"/>
                <a:gd name="connsiteX8" fmla="*/ 190970 w 308065"/>
                <a:gd name="connsiteY8" fmla="*/ 54 h 424357"/>
                <a:gd name="connsiteX9" fmla="*/ 196849 w 308065"/>
                <a:gd name="connsiteY9" fmla="*/ 2551 h 424357"/>
                <a:gd name="connsiteX10" fmla="*/ 199565 w 308065"/>
                <a:gd name="connsiteY10" fmla="*/ 6954 h 424357"/>
                <a:gd name="connsiteX11" fmla="*/ 200014 w 308065"/>
                <a:gd name="connsiteY11" fmla="*/ 9985 h 424357"/>
                <a:gd name="connsiteX12" fmla="*/ 196290 w 308065"/>
                <a:gd name="connsiteY12" fmla="*/ 13277 h 424357"/>
                <a:gd name="connsiteX13" fmla="*/ 195389 w 308065"/>
                <a:gd name="connsiteY13" fmla="*/ 14728 h 424357"/>
                <a:gd name="connsiteX14" fmla="*/ 194480 w 308065"/>
                <a:gd name="connsiteY14" fmla="*/ 15041 h 424357"/>
                <a:gd name="connsiteX15" fmla="*/ 193348 w 308065"/>
                <a:gd name="connsiteY15" fmla="*/ 15714 h 424357"/>
                <a:gd name="connsiteX16" fmla="*/ 189903 w 308065"/>
                <a:gd name="connsiteY16" fmla="*/ 16985 h 424357"/>
                <a:gd name="connsiteX17" fmla="*/ 185253 w 308065"/>
                <a:gd name="connsiteY17" fmla="*/ 18199 h 424357"/>
                <a:gd name="connsiteX18" fmla="*/ 179201 w 308065"/>
                <a:gd name="connsiteY18" fmla="*/ 19752 h 424357"/>
                <a:gd name="connsiteX19" fmla="*/ 177828 w 308065"/>
                <a:gd name="connsiteY19" fmla="*/ 21408 h 424357"/>
                <a:gd name="connsiteX20" fmla="*/ 171838 w 308065"/>
                <a:gd name="connsiteY20" fmla="*/ 31823 h 424357"/>
                <a:gd name="connsiteX21" fmla="*/ 166828 w 308065"/>
                <a:gd name="connsiteY21" fmla="*/ 33932 h 424357"/>
                <a:gd name="connsiteX22" fmla="*/ 165004 w 308065"/>
                <a:gd name="connsiteY22" fmla="*/ 35481 h 424357"/>
                <a:gd name="connsiteX23" fmla="*/ 163629 w 308065"/>
                <a:gd name="connsiteY23" fmla="*/ 37451 h 424357"/>
                <a:gd name="connsiteX24" fmla="*/ 160642 w 308065"/>
                <a:gd name="connsiteY24" fmla="*/ 41076 h 424357"/>
                <a:gd name="connsiteX25" fmla="*/ 159398 w 308065"/>
                <a:gd name="connsiteY25" fmla="*/ 43861 h 424357"/>
                <a:gd name="connsiteX26" fmla="*/ 156096 w 308065"/>
                <a:gd name="connsiteY26" fmla="*/ 49910 h 424357"/>
                <a:gd name="connsiteX27" fmla="*/ 154295 w 308065"/>
                <a:gd name="connsiteY27" fmla="*/ 57482 h 424357"/>
                <a:gd name="connsiteX28" fmla="*/ 153610 w 308065"/>
                <a:gd name="connsiteY28" fmla="*/ 61734 h 424357"/>
                <a:gd name="connsiteX29" fmla="*/ 152617 w 308065"/>
                <a:gd name="connsiteY29" fmla="*/ 67893 h 424357"/>
                <a:gd name="connsiteX30" fmla="*/ 151158 w 308065"/>
                <a:gd name="connsiteY30" fmla="*/ 70988 h 424357"/>
                <a:gd name="connsiteX31" fmla="*/ 149201 w 308065"/>
                <a:gd name="connsiteY31" fmla="*/ 73895 h 424357"/>
                <a:gd name="connsiteX32" fmla="*/ 147097 w 308065"/>
                <a:gd name="connsiteY32" fmla="*/ 76735 h 424357"/>
                <a:gd name="connsiteX33" fmla="*/ 145286 w 308065"/>
                <a:gd name="connsiteY33" fmla="*/ 79844 h 424357"/>
                <a:gd name="connsiteX34" fmla="*/ 143747 w 308065"/>
                <a:gd name="connsiteY34" fmla="*/ 82277 h 424357"/>
                <a:gd name="connsiteX35" fmla="*/ 143497 w 308065"/>
                <a:gd name="connsiteY35" fmla="*/ 83114 h 424357"/>
                <a:gd name="connsiteX36" fmla="*/ 144245 w 308065"/>
                <a:gd name="connsiteY36" fmla="*/ 83784 h 424357"/>
                <a:gd name="connsiteX37" fmla="*/ 147886 w 308065"/>
                <a:gd name="connsiteY37" fmla="*/ 83114 h 424357"/>
                <a:gd name="connsiteX38" fmla="*/ 149317 w 308065"/>
                <a:gd name="connsiteY38" fmla="*/ 82382 h 424357"/>
                <a:gd name="connsiteX39" fmla="*/ 151303 w 308065"/>
                <a:gd name="connsiteY39" fmla="*/ 81441 h 424357"/>
                <a:gd name="connsiteX40" fmla="*/ 152548 w 308065"/>
                <a:gd name="connsiteY40" fmla="*/ 81942 h 424357"/>
                <a:gd name="connsiteX41" fmla="*/ 153794 w 308065"/>
                <a:gd name="connsiteY41" fmla="*/ 84622 h 424357"/>
                <a:gd name="connsiteX42" fmla="*/ 155206 w 308065"/>
                <a:gd name="connsiteY42" fmla="*/ 84957 h 424357"/>
                <a:gd name="connsiteX43" fmla="*/ 156533 w 308065"/>
                <a:gd name="connsiteY43" fmla="*/ 84622 h 424357"/>
                <a:gd name="connsiteX44" fmla="*/ 157946 w 308065"/>
                <a:gd name="connsiteY44" fmla="*/ 85291 h 424357"/>
                <a:gd name="connsiteX45" fmla="*/ 159743 w 308065"/>
                <a:gd name="connsiteY45" fmla="*/ 91953 h 424357"/>
                <a:gd name="connsiteX46" fmla="*/ 161267 w 308065"/>
                <a:gd name="connsiteY46" fmla="*/ 97592 h 424357"/>
                <a:gd name="connsiteX47" fmla="*/ 164809 w 308065"/>
                <a:gd name="connsiteY47" fmla="*/ 101113 h 424357"/>
                <a:gd name="connsiteX48" fmla="*/ 167577 w 308065"/>
                <a:gd name="connsiteY48" fmla="*/ 103863 h 424357"/>
                <a:gd name="connsiteX49" fmla="*/ 168242 w 308065"/>
                <a:gd name="connsiteY49" fmla="*/ 106286 h 424357"/>
                <a:gd name="connsiteX50" fmla="*/ 168906 w 308065"/>
                <a:gd name="connsiteY50" fmla="*/ 109714 h 424357"/>
                <a:gd name="connsiteX51" fmla="*/ 169071 w 308065"/>
                <a:gd name="connsiteY51" fmla="*/ 111386 h 424357"/>
                <a:gd name="connsiteX52" fmla="*/ 168208 w 308065"/>
                <a:gd name="connsiteY52" fmla="*/ 112396 h 424357"/>
                <a:gd name="connsiteX53" fmla="*/ 166829 w 308065"/>
                <a:gd name="connsiteY53" fmla="*/ 114477 h 424357"/>
                <a:gd name="connsiteX54" fmla="*/ 166487 w 308065"/>
                <a:gd name="connsiteY54" fmla="*/ 118464 h 424357"/>
                <a:gd name="connsiteX55" fmla="*/ 166250 w 308065"/>
                <a:gd name="connsiteY55" fmla="*/ 119788 h 424357"/>
                <a:gd name="connsiteX56" fmla="*/ 165995 w 308065"/>
                <a:gd name="connsiteY56" fmla="*/ 123479 h 424357"/>
                <a:gd name="connsiteX57" fmla="*/ 166172 w 308065"/>
                <a:gd name="connsiteY57" fmla="*/ 125747 h 424357"/>
                <a:gd name="connsiteX58" fmla="*/ 166907 w 308065"/>
                <a:gd name="connsiteY58" fmla="*/ 127516 h 424357"/>
                <a:gd name="connsiteX59" fmla="*/ 168133 w 308065"/>
                <a:gd name="connsiteY59" fmla="*/ 128530 h 424357"/>
                <a:gd name="connsiteX60" fmla="*/ 170625 w 308065"/>
                <a:gd name="connsiteY60" fmla="*/ 129054 h 424357"/>
                <a:gd name="connsiteX61" fmla="*/ 172873 w 308065"/>
                <a:gd name="connsiteY61" fmla="*/ 129673 h 424357"/>
                <a:gd name="connsiteX62" fmla="*/ 174166 w 308065"/>
                <a:gd name="connsiteY62" fmla="*/ 132747 h 424357"/>
                <a:gd name="connsiteX63" fmla="*/ 176003 w 308065"/>
                <a:gd name="connsiteY63" fmla="*/ 136641 h 424357"/>
                <a:gd name="connsiteX64" fmla="*/ 177971 w 308065"/>
                <a:gd name="connsiteY64" fmla="*/ 138278 h 424357"/>
                <a:gd name="connsiteX65" fmla="*/ 180861 w 308065"/>
                <a:gd name="connsiteY65" fmla="*/ 139355 h 424357"/>
                <a:gd name="connsiteX66" fmla="*/ 182925 w 308065"/>
                <a:gd name="connsiteY66" fmla="*/ 138961 h 424357"/>
                <a:gd name="connsiteX67" fmla="*/ 187753 w 308065"/>
                <a:gd name="connsiteY67" fmla="*/ 138270 h 424357"/>
                <a:gd name="connsiteX68" fmla="*/ 191905 w 308065"/>
                <a:gd name="connsiteY68" fmla="*/ 138437 h 424357"/>
                <a:gd name="connsiteX69" fmla="*/ 197973 w 308065"/>
                <a:gd name="connsiteY69" fmla="*/ 139486 h 424357"/>
                <a:gd name="connsiteX70" fmla="*/ 200235 w 308065"/>
                <a:gd name="connsiteY70" fmla="*/ 139447 h 424357"/>
                <a:gd name="connsiteX71" fmla="*/ 203159 w 308065"/>
                <a:gd name="connsiteY71" fmla="*/ 139251 h 424357"/>
                <a:gd name="connsiteX72" fmla="*/ 208296 w 308065"/>
                <a:gd name="connsiteY72" fmla="*/ 137133 h 424357"/>
                <a:gd name="connsiteX73" fmla="*/ 210161 w 308065"/>
                <a:gd name="connsiteY73" fmla="*/ 136815 h 424357"/>
                <a:gd name="connsiteX74" fmla="*/ 212242 w 308065"/>
                <a:gd name="connsiteY74" fmla="*/ 137000 h 424357"/>
                <a:gd name="connsiteX75" fmla="*/ 215273 w 308065"/>
                <a:gd name="connsiteY75" fmla="*/ 138077 h 424357"/>
                <a:gd name="connsiteX76" fmla="*/ 216918 w 308065"/>
                <a:gd name="connsiteY76" fmla="*/ 138927 h 424357"/>
                <a:gd name="connsiteX77" fmla="*/ 219027 w 308065"/>
                <a:gd name="connsiteY77" fmla="*/ 139807 h 424357"/>
                <a:gd name="connsiteX78" fmla="*/ 222105 w 308065"/>
                <a:gd name="connsiteY78" fmla="*/ 140435 h 424357"/>
                <a:gd name="connsiteX79" fmla="*/ 224082 w 308065"/>
                <a:gd name="connsiteY79" fmla="*/ 140331 h 424357"/>
                <a:gd name="connsiteX80" fmla="*/ 225576 w 308065"/>
                <a:gd name="connsiteY80" fmla="*/ 140291 h 424357"/>
                <a:gd name="connsiteX81" fmla="*/ 226443 w 308065"/>
                <a:gd name="connsiteY81" fmla="*/ 140690 h 424357"/>
                <a:gd name="connsiteX82" fmla="*/ 231282 w 308065"/>
                <a:gd name="connsiteY82" fmla="*/ 146745 h 424357"/>
                <a:gd name="connsiteX83" fmla="*/ 235471 w 308065"/>
                <a:gd name="connsiteY83" fmla="*/ 151986 h 424357"/>
                <a:gd name="connsiteX84" fmla="*/ 239127 w 308065"/>
                <a:gd name="connsiteY84" fmla="*/ 156389 h 424357"/>
                <a:gd name="connsiteX85" fmla="*/ 243070 w 308065"/>
                <a:gd name="connsiteY85" fmla="*/ 161137 h 424357"/>
                <a:gd name="connsiteX86" fmla="*/ 243378 w 308065"/>
                <a:gd name="connsiteY86" fmla="*/ 161416 h 424357"/>
                <a:gd name="connsiteX87" fmla="*/ 245155 w 308065"/>
                <a:gd name="connsiteY87" fmla="*/ 160805 h 424357"/>
                <a:gd name="connsiteX88" fmla="*/ 246327 w 308065"/>
                <a:gd name="connsiteY88" fmla="*/ 161068 h 424357"/>
                <a:gd name="connsiteX89" fmla="*/ 247409 w 308065"/>
                <a:gd name="connsiteY89" fmla="*/ 162034 h 424357"/>
                <a:gd name="connsiteX90" fmla="*/ 249276 w 308065"/>
                <a:gd name="connsiteY90" fmla="*/ 161636 h 424357"/>
                <a:gd name="connsiteX91" fmla="*/ 251927 w 308065"/>
                <a:gd name="connsiteY91" fmla="*/ 159879 h 424357"/>
                <a:gd name="connsiteX92" fmla="*/ 255801 w 308065"/>
                <a:gd name="connsiteY92" fmla="*/ 159527 h 424357"/>
                <a:gd name="connsiteX93" fmla="*/ 260890 w 308065"/>
                <a:gd name="connsiteY93" fmla="*/ 160581 h 424357"/>
                <a:gd name="connsiteX94" fmla="*/ 267603 w 308065"/>
                <a:gd name="connsiteY94" fmla="*/ 160587 h 424357"/>
                <a:gd name="connsiteX95" fmla="*/ 275937 w 308065"/>
                <a:gd name="connsiteY95" fmla="*/ 159544 h 424357"/>
                <a:gd name="connsiteX96" fmla="*/ 281115 w 308065"/>
                <a:gd name="connsiteY96" fmla="*/ 158414 h 424357"/>
                <a:gd name="connsiteX97" fmla="*/ 283135 w 308065"/>
                <a:gd name="connsiteY97" fmla="*/ 157192 h 424357"/>
                <a:gd name="connsiteX98" fmla="*/ 286484 w 308065"/>
                <a:gd name="connsiteY98" fmla="*/ 157319 h 424357"/>
                <a:gd name="connsiteX99" fmla="*/ 290517 w 308065"/>
                <a:gd name="connsiteY99" fmla="*/ 158417 h 424357"/>
                <a:gd name="connsiteX100" fmla="*/ 292700 w 308065"/>
                <a:gd name="connsiteY100" fmla="*/ 159982 h 424357"/>
                <a:gd name="connsiteX101" fmla="*/ 292964 w 308065"/>
                <a:gd name="connsiteY101" fmla="*/ 161522 h 424357"/>
                <a:gd name="connsiteX102" fmla="*/ 293782 w 308065"/>
                <a:gd name="connsiteY102" fmla="*/ 163921 h 424357"/>
                <a:gd name="connsiteX103" fmla="*/ 292905 w 308065"/>
                <a:gd name="connsiteY103" fmla="*/ 166352 h 424357"/>
                <a:gd name="connsiteX104" fmla="*/ 290337 w 308065"/>
                <a:gd name="connsiteY104" fmla="*/ 168817 h 424357"/>
                <a:gd name="connsiteX105" fmla="*/ 288913 w 308065"/>
                <a:gd name="connsiteY105" fmla="*/ 171964 h 424357"/>
                <a:gd name="connsiteX106" fmla="*/ 288635 w 308065"/>
                <a:gd name="connsiteY106" fmla="*/ 175794 h 424357"/>
                <a:gd name="connsiteX107" fmla="*/ 287308 w 308065"/>
                <a:gd name="connsiteY107" fmla="*/ 178625 h 424357"/>
                <a:gd name="connsiteX108" fmla="*/ 284930 w 308065"/>
                <a:gd name="connsiteY108" fmla="*/ 180456 h 424357"/>
                <a:gd name="connsiteX109" fmla="*/ 284005 w 308065"/>
                <a:gd name="connsiteY109" fmla="*/ 183127 h 424357"/>
                <a:gd name="connsiteX110" fmla="*/ 284530 w 308065"/>
                <a:gd name="connsiteY110" fmla="*/ 186633 h 424357"/>
                <a:gd name="connsiteX111" fmla="*/ 284274 w 308065"/>
                <a:gd name="connsiteY111" fmla="*/ 191761 h 424357"/>
                <a:gd name="connsiteX112" fmla="*/ 283235 w 308065"/>
                <a:gd name="connsiteY112" fmla="*/ 198504 h 424357"/>
                <a:gd name="connsiteX113" fmla="*/ 283235 w 308065"/>
                <a:gd name="connsiteY113" fmla="*/ 202534 h 424357"/>
                <a:gd name="connsiteX114" fmla="*/ 284274 w 308065"/>
                <a:gd name="connsiteY114" fmla="*/ 203850 h 424357"/>
                <a:gd name="connsiteX115" fmla="*/ 284752 w 308065"/>
                <a:gd name="connsiteY115" fmla="*/ 205739 h 424357"/>
                <a:gd name="connsiteX116" fmla="*/ 284671 w 308065"/>
                <a:gd name="connsiteY116" fmla="*/ 208198 h 424357"/>
                <a:gd name="connsiteX117" fmla="*/ 285062 w 308065"/>
                <a:gd name="connsiteY117" fmla="*/ 210374 h 424357"/>
                <a:gd name="connsiteX118" fmla="*/ 286352 w 308065"/>
                <a:gd name="connsiteY118" fmla="*/ 213211 h 424357"/>
                <a:gd name="connsiteX119" fmla="*/ 288145 w 308065"/>
                <a:gd name="connsiteY119" fmla="*/ 218856 h 424357"/>
                <a:gd name="connsiteX120" fmla="*/ 289643 w 308065"/>
                <a:gd name="connsiteY120" fmla="*/ 221280 h 424357"/>
                <a:gd name="connsiteX121" fmla="*/ 290947 w 308065"/>
                <a:gd name="connsiteY121" fmla="*/ 222168 h 424357"/>
                <a:gd name="connsiteX122" fmla="*/ 292277 w 308065"/>
                <a:gd name="connsiteY122" fmla="*/ 223253 h 424357"/>
                <a:gd name="connsiteX123" fmla="*/ 296105 w 308065"/>
                <a:gd name="connsiteY123" fmla="*/ 229024 h 424357"/>
                <a:gd name="connsiteX124" fmla="*/ 297033 w 308065"/>
                <a:gd name="connsiteY124" fmla="*/ 230241 h 424357"/>
                <a:gd name="connsiteX125" fmla="*/ 296753 w 308065"/>
                <a:gd name="connsiteY125" fmla="*/ 231304 h 424357"/>
                <a:gd name="connsiteX126" fmla="*/ 296395 w 308065"/>
                <a:gd name="connsiteY126" fmla="*/ 232099 h 424357"/>
                <a:gd name="connsiteX127" fmla="*/ 295955 w 308065"/>
                <a:gd name="connsiteY127" fmla="*/ 232606 h 424357"/>
                <a:gd name="connsiteX128" fmla="*/ 291867 w 308065"/>
                <a:gd name="connsiteY128" fmla="*/ 236043 h 424357"/>
                <a:gd name="connsiteX129" fmla="*/ 283755 w 308065"/>
                <a:gd name="connsiteY129" fmla="*/ 243515 h 424357"/>
                <a:gd name="connsiteX130" fmla="*/ 283084 w 308065"/>
                <a:gd name="connsiteY130" fmla="*/ 244467 h 424357"/>
                <a:gd name="connsiteX131" fmla="*/ 283138 w 308065"/>
                <a:gd name="connsiteY131" fmla="*/ 246033 h 424357"/>
                <a:gd name="connsiteX132" fmla="*/ 285486 w 308065"/>
                <a:gd name="connsiteY132" fmla="*/ 245026 h 424357"/>
                <a:gd name="connsiteX133" fmla="*/ 288003 w 308065"/>
                <a:gd name="connsiteY133" fmla="*/ 245866 h 424357"/>
                <a:gd name="connsiteX134" fmla="*/ 289234 w 308065"/>
                <a:gd name="connsiteY134" fmla="*/ 246033 h 424357"/>
                <a:gd name="connsiteX135" fmla="*/ 289792 w 308065"/>
                <a:gd name="connsiteY135" fmla="*/ 246649 h 424357"/>
                <a:gd name="connsiteX136" fmla="*/ 290519 w 308065"/>
                <a:gd name="connsiteY136" fmla="*/ 248664 h 424357"/>
                <a:gd name="connsiteX137" fmla="*/ 291357 w 308065"/>
                <a:gd name="connsiteY137" fmla="*/ 248999 h 424357"/>
                <a:gd name="connsiteX138" fmla="*/ 292588 w 308065"/>
                <a:gd name="connsiteY138" fmla="*/ 249838 h 424357"/>
                <a:gd name="connsiteX139" fmla="*/ 294992 w 308065"/>
                <a:gd name="connsiteY139" fmla="*/ 251963 h 424357"/>
                <a:gd name="connsiteX140" fmla="*/ 297004 w 308065"/>
                <a:gd name="connsiteY140" fmla="*/ 254201 h 424357"/>
                <a:gd name="connsiteX141" fmla="*/ 298513 w 308065"/>
                <a:gd name="connsiteY141" fmla="*/ 255273 h 424357"/>
                <a:gd name="connsiteX142" fmla="*/ 299576 w 308065"/>
                <a:gd name="connsiteY142" fmla="*/ 256270 h 424357"/>
                <a:gd name="connsiteX143" fmla="*/ 299911 w 308065"/>
                <a:gd name="connsiteY143" fmla="*/ 257726 h 424357"/>
                <a:gd name="connsiteX144" fmla="*/ 299464 w 308065"/>
                <a:gd name="connsiteY144" fmla="*/ 259179 h 424357"/>
                <a:gd name="connsiteX145" fmla="*/ 300725 w 308065"/>
                <a:gd name="connsiteY145" fmla="*/ 262551 h 424357"/>
                <a:gd name="connsiteX146" fmla="*/ 301588 w 308065"/>
                <a:gd name="connsiteY146" fmla="*/ 263599 h 424357"/>
                <a:gd name="connsiteX147" fmla="*/ 302036 w 308065"/>
                <a:gd name="connsiteY147" fmla="*/ 264884 h 424357"/>
                <a:gd name="connsiteX148" fmla="*/ 301588 w 308065"/>
                <a:gd name="connsiteY148" fmla="*/ 266171 h 424357"/>
                <a:gd name="connsiteX149" fmla="*/ 302650 w 308065"/>
                <a:gd name="connsiteY149" fmla="*/ 267681 h 424357"/>
                <a:gd name="connsiteX150" fmla="*/ 303808 w 308065"/>
                <a:gd name="connsiteY150" fmla="*/ 270652 h 424357"/>
                <a:gd name="connsiteX151" fmla="*/ 305222 w 308065"/>
                <a:gd name="connsiteY151" fmla="*/ 274280 h 424357"/>
                <a:gd name="connsiteX152" fmla="*/ 305390 w 308065"/>
                <a:gd name="connsiteY152" fmla="*/ 276294 h 424357"/>
                <a:gd name="connsiteX153" fmla="*/ 305978 w 308065"/>
                <a:gd name="connsiteY153" fmla="*/ 277222 h 424357"/>
                <a:gd name="connsiteX154" fmla="*/ 306668 w 308065"/>
                <a:gd name="connsiteY154" fmla="*/ 279914 h 424357"/>
                <a:gd name="connsiteX155" fmla="*/ 307851 w 308065"/>
                <a:gd name="connsiteY155" fmla="*/ 282445 h 424357"/>
                <a:gd name="connsiteX156" fmla="*/ 307571 w 308065"/>
                <a:gd name="connsiteY156" fmla="*/ 284179 h 424357"/>
                <a:gd name="connsiteX157" fmla="*/ 308065 w 308065"/>
                <a:gd name="connsiteY157" fmla="*/ 285874 h 424357"/>
                <a:gd name="connsiteX158" fmla="*/ 303267 w 308065"/>
                <a:gd name="connsiteY158" fmla="*/ 287007 h 424357"/>
                <a:gd name="connsiteX159" fmla="*/ 302835 w 308065"/>
                <a:gd name="connsiteY159" fmla="*/ 286828 h 424357"/>
                <a:gd name="connsiteX160" fmla="*/ 302547 w 308065"/>
                <a:gd name="connsiteY160" fmla="*/ 286204 h 424357"/>
                <a:gd name="connsiteX161" fmla="*/ 302684 w 308065"/>
                <a:gd name="connsiteY161" fmla="*/ 281370 h 424357"/>
                <a:gd name="connsiteX162" fmla="*/ 302637 w 308065"/>
                <a:gd name="connsiteY162" fmla="*/ 275919 h 424357"/>
                <a:gd name="connsiteX163" fmla="*/ 301898 w 308065"/>
                <a:gd name="connsiteY163" fmla="*/ 273685 h 424357"/>
                <a:gd name="connsiteX164" fmla="*/ 299703 w 308065"/>
                <a:gd name="connsiteY164" fmla="*/ 270104 h 424357"/>
                <a:gd name="connsiteX165" fmla="*/ 296792 w 308065"/>
                <a:gd name="connsiteY165" fmla="*/ 265354 h 424357"/>
                <a:gd name="connsiteX166" fmla="*/ 295997 w 308065"/>
                <a:gd name="connsiteY166" fmla="*/ 263991 h 424357"/>
                <a:gd name="connsiteX167" fmla="*/ 294768 w 308065"/>
                <a:gd name="connsiteY167" fmla="*/ 263208 h 424357"/>
                <a:gd name="connsiteX168" fmla="*/ 293314 w 308065"/>
                <a:gd name="connsiteY168" fmla="*/ 263095 h 424357"/>
                <a:gd name="connsiteX169" fmla="*/ 292252 w 308065"/>
                <a:gd name="connsiteY169" fmla="*/ 263430 h 424357"/>
                <a:gd name="connsiteX170" fmla="*/ 290822 w 308065"/>
                <a:gd name="connsiteY170" fmla="*/ 264317 h 424357"/>
                <a:gd name="connsiteX171" fmla="*/ 289473 w 308065"/>
                <a:gd name="connsiteY171" fmla="*/ 265279 h 424357"/>
                <a:gd name="connsiteX172" fmla="*/ 286871 w 308065"/>
                <a:gd name="connsiteY172" fmla="*/ 268143 h 424357"/>
                <a:gd name="connsiteX173" fmla="*/ 284253 w 308065"/>
                <a:gd name="connsiteY173" fmla="*/ 271492 h 424357"/>
                <a:gd name="connsiteX174" fmla="*/ 282721 w 308065"/>
                <a:gd name="connsiteY174" fmla="*/ 272240 h 424357"/>
                <a:gd name="connsiteX175" fmla="*/ 281183 w 308065"/>
                <a:gd name="connsiteY175" fmla="*/ 272548 h 424357"/>
                <a:gd name="connsiteX176" fmla="*/ 279825 w 308065"/>
                <a:gd name="connsiteY176" fmla="*/ 272444 h 424357"/>
                <a:gd name="connsiteX177" fmla="*/ 278732 w 308065"/>
                <a:gd name="connsiteY177" fmla="*/ 271544 h 424357"/>
                <a:gd name="connsiteX178" fmla="*/ 277612 w 308065"/>
                <a:gd name="connsiteY178" fmla="*/ 269716 h 424357"/>
                <a:gd name="connsiteX179" fmla="*/ 276262 w 308065"/>
                <a:gd name="connsiteY179" fmla="*/ 267290 h 424357"/>
                <a:gd name="connsiteX180" fmla="*/ 274651 w 308065"/>
                <a:gd name="connsiteY180" fmla="*/ 266496 h 424357"/>
                <a:gd name="connsiteX181" fmla="*/ 274028 w 308065"/>
                <a:gd name="connsiteY181" fmla="*/ 267243 h 424357"/>
                <a:gd name="connsiteX182" fmla="*/ 273494 w 308065"/>
                <a:gd name="connsiteY182" fmla="*/ 268669 h 424357"/>
                <a:gd name="connsiteX183" fmla="*/ 273075 w 308065"/>
                <a:gd name="connsiteY183" fmla="*/ 270086 h 424357"/>
                <a:gd name="connsiteX184" fmla="*/ 274157 w 308065"/>
                <a:gd name="connsiteY184" fmla="*/ 271886 h 424357"/>
                <a:gd name="connsiteX185" fmla="*/ 275088 w 308065"/>
                <a:gd name="connsiteY185" fmla="*/ 273275 h 424357"/>
                <a:gd name="connsiteX186" fmla="*/ 273492 w 308065"/>
                <a:gd name="connsiteY186" fmla="*/ 273227 h 424357"/>
                <a:gd name="connsiteX187" fmla="*/ 268321 w 308065"/>
                <a:gd name="connsiteY187" fmla="*/ 273230 h 424357"/>
                <a:gd name="connsiteX188" fmla="*/ 262361 w 308065"/>
                <a:gd name="connsiteY188" fmla="*/ 273232 h 424357"/>
                <a:gd name="connsiteX189" fmla="*/ 256410 w 308065"/>
                <a:gd name="connsiteY189" fmla="*/ 273235 h 424357"/>
                <a:gd name="connsiteX190" fmla="*/ 251058 w 308065"/>
                <a:gd name="connsiteY190" fmla="*/ 273237 h 424357"/>
                <a:gd name="connsiteX191" fmla="*/ 246102 w 308065"/>
                <a:gd name="connsiteY191" fmla="*/ 273238 h 424357"/>
                <a:gd name="connsiteX192" fmla="*/ 244210 w 308065"/>
                <a:gd name="connsiteY192" fmla="*/ 273123 h 424357"/>
                <a:gd name="connsiteX193" fmla="*/ 242287 w 308065"/>
                <a:gd name="connsiteY193" fmla="*/ 272308 h 424357"/>
                <a:gd name="connsiteX194" fmla="*/ 240442 w 308065"/>
                <a:gd name="connsiteY194" fmla="*/ 271919 h 424357"/>
                <a:gd name="connsiteX195" fmla="*/ 239471 w 308065"/>
                <a:gd name="connsiteY195" fmla="*/ 271982 h 424357"/>
                <a:gd name="connsiteX196" fmla="*/ 237727 w 308065"/>
                <a:gd name="connsiteY196" fmla="*/ 272776 h 424357"/>
                <a:gd name="connsiteX197" fmla="*/ 235455 w 308065"/>
                <a:gd name="connsiteY197" fmla="*/ 272893 h 424357"/>
                <a:gd name="connsiteX198" fmla="*/ 233925 w 308065"/>
                <a:gd name="connsiteY198" fmla="*/ 273646 h 424357"/>
                <a:gd name="connsiteX199" fmla="*/ 232691 w 308065"/>
                <a:gd name="connsiteY199" fmla="*/ 273556 h 424357"/>
                <a:gd name="connsiteX200" fmla="*/ 232669 w 308065"/>
                <a:gd name="connsiteY200" fmla="*/ 277737 h 424357"/>
                <a:gd name="connsiteX201" fmla="*/ 232636 w 308065"/>
                <a:gd name="connsiteY201" fmla="*/ 283698 h 424357"/>
                <a:gd name="connsiteX202" fmla="*/ 232602 w 308065"/>
                <a:gd name="connsiteY202" fmla="*/ 290020 h 424357"/>
                <a:gd name="connsiteX203" fmla="*/ 233971 w 308065"/>
                <a:gd name="connsiteY203" fmla="*/ 289541 h 424357"/>
                <a:gd name="connsiteX204" fmla="*/ 235158 w 308065"/>
                <a:gd name="connsiteY204" fmla="*/ 289587 h 424357"/>
                <a:gd name="connsiteX205" fmla="*/ 236028 w 308065"/>
                <a:gd name="connsiteY205" fmla="*/ 290032 h 424357"/>
                <a:gd name="connsiteX206" fmla="*/ 238465 w 308065"/>
                <a:gd name="connsiteY206" fmla="*/ 289673 h 424357"/>
                <a:gd name="connsiteX207" fmla="*/ 239817 w 308065"/>
                <a:gd name="connsiteY207" fmla="*/ 289862 h 424357"/>
                <a:gd name="connsiteX208" fmla="*/ 241096 w 308065"/>
                <a:gd name="connsiteY208" fmla="*/ 290021 h 424357"/>
                <a:gd name="connsiteX209" fmla="*/ 242284 w 308065"/>
                <a:gd name="connsiteY209" fmla="*/ 290044 h 424357"/>
                <a:gd name="connsiteX210" fmla="*/ 243014 w 308065"/>
                <a:gd name="connsiteY210" fmla="*/ 290545 h 424357"/>
                <a:gd name="connsiteX211" fmla="*/ 243996 w 308065"/>
                <a:gd name="connsiteY211" fmla="*/ 290455 h 424357"/>
                <a:gd name="connsiteX212" fmla="*/ 245046 w 308065"/>
                <a:gd name="connsiteY212" fmla="*/ 289907 h 424357"/>
                <a:gd name="connsiteX213" fmla="*/ 246303 w 308065"/>
                <a:gd name="connsiteY213" fmla="*/ 290250 h 424357"/>
                <a:gd name="connsiteX214" fmla="*/ 247649 w 308065"/>
                <a:gd name="connsiteY214" fmla="*/ 291139 h 424357"/>
                <a:gd name="connsiteX215" fmla="*/ 248517 w 308065"/>
                <a:gd name="connsiteY215" fmla="*/ 292465 h 424357"/>
                <a:gd name="connsiteX216" fmla="*/ 249293 w 308065"/>
                <a:gd name="connsiteY216" fmla="*/ 294109 h 424357"/>
                <a:gd name="connsiteX217" fmla="*/ 250070 w 308065"/>
                <a:gd name="connsiteY217" fmla="*/ 294977 h 424357"/>
                <a:gd name="connsiteX218" fmla="*/ 250024 w 308065"/>
                <a:gd name="connsiteY218" fmla="*/ 296552 h 424357"/>
                <a:gd name="connsiteX219" fmla="*/ 250000 w 308065"/>
                <a:gd name="connsiteY219" fmla="*/ 297786 h 424357"/>
                <a:gd name="connsiteX220" fmla="*/ 249727 w 308065"/>
                <a:gd name="connsiteY220" fmla="*/ 298812 h 424357"/>
                <a:gd name="connsiteX221" fmla="*/ 250070 w 308065"/>
                <a:gd name="connsiteY221" fmla="*/ 299475 h 424357"/>
                <a:gd name="connsiteX222" fmla="*/ 250321 w 308065"/>
                <a:gd name="connsiteY222" fmla="*/ 300182 h 424357"/>
                <a:gd name="connsiteX223" fmla="*/ 250252 w 308065"/>
                <a:gd name="connsiteY223" fmla="*/ 300594 h 424357"/>
                <a:gd name="connsiteX224" fmla="*/ 249795 w 308065"/>
                <a:gd name="connsiteY224" fmla="*/ 300776 h 424357"/>
                <a:gd name="connsiteX225" fmla="*/ 248813 w 308065"/>
                <a:gd name="connsiteY225" fmla="*/ 300914 h 424357"/>
                <a:gd name="connsiteX226" fmla="*/ 247763 w 308065"/>
                <a:gd name="connsiteY226" fmla="*/ 301028 h 424357"/>
                <a:gd name="connsiteX227" fmla="*/ 247032 w 308065"/>
                <a:gd name="connsiteY227" fmla="*/ 300982 h 424357"/>
                <a:gd name="connsiteX228" fmla="*/ 246462 w 308065"/>
                <a:gd name="connsiteY228" fmla="*/ 300343 h 424357"/>
                <a:gd name="connsiteX229" fmla="*/ 245913 w 308065"/>
                <a:gd name="connsiteY229" fmla="*/ 300274 h 424357"/>
                <a:gd name="connsiteX230" fmla="*/ 245115 w 308065"/>
                <a:gd name="connsiteY230" fmla="*/ 300365 h 424357"/>
                <a:gd name="connsiteX231" fmla="*/ 244270 w 308065"/>
                <a:gd name="connsiteY231" fmla="*/ 299977 h 424357"/>
                <a:gd name="connsiteX232" fmla="*/ 243539 w 308065"/>
                <a:gd name="connsiteY232" fmla="*/ 299178 h 424357"/>
                <a:gd name="connsiteX233" fmla="*/ 242238 w 308065"/>
                <a:gd name="connsiteY233" fmla="*/ 298379 h 424357"/>
                <a:gd name="connsiteX234" fmla="*/ 240844 w 308065"/>
                <a:gd name="connsiteY234" fmla="*/ 298721 h 424357"/>
                <a:gd name="connsiteX235" fmla="*/ 239887 w 308065"/>
                <a:gd name="connsiteY235" fmla="*/ 299132 h 424357"/>
                <a:gd name="connsiteX236" fmla="*/ 238903 w 308065"/>
                <a:gd name="connsiteY236" fmla="*/ 299635 h 424357"/>
                <a:gd name="connsiteX237" fmla="*/ 238013 w 308065"/>
                <a:gd name="connsiteY237" fmla="*/ 300159 h 424357"/>
                <a:gd name="connsiteX238" fmla="*/ 237123 w 308065"/>
                <a:gd name="connsiteY238" fmla="*/ 300023 h 424357"/>
                <a:gd name="connsiteX239" fmla="*/ 235980 w 308065"/>
                <a:gd name="connsiteY239" fmla="*/ 300411 h 424357"/>
                <a:gd name="connsiteX240" fmla="*/ 235020 w 308065"/>
                <a:gd name="connsiteY240" fmla="*/ 301005 h 424357"/>
                <a:gd name="connsiteX241" fmla="*/ 233743 w 308065"/>
                <a:gd name="connsiteY241" fmla="*/ 301484 h 424357"/>
                <a:gd name="connsiteX242" fmla="*/ 232350 w 308065"/>
                <a:gd name="connsiteY242" fmla="*/ 301711 h 424357"/>
                <a:gd name="connsiteX243" fmla="*/ 230752 w 308065"/>
                <a:gd name="connsiteY243" fmla="*/ 301941 h 424357"/>
                <a:gd name="connsiteX244" fmla="*/ 229221 w 308065"/>
                <a:gd name="connsiteY244" fmla="*/ 302032 h 424357"/>
                <a:gd name="connsiteX245" fmla="*/ 227485 w 308065"/>
                <a:gd name="connsiteY245" fmla="*/ 302216 h 424357"/>
                <a:gd name="connsiteX246" fmla="*/ 227384 w 308065"/>
                <a:gd name="connsiteY246" fmla="*/ 305543 h 424357"/>
                <a:gd name="connsiteX247" fmla="*/ 227186 w 308065"/>
                <a:gd name="connsiteY247" fmla="*/ 312085 h 424357"/>
                <a:gd name="connsiteX248" fmla="*/ 227054 w 308065"/>
                <a:gd name="connsiteY248" fmla="*/ 316416 h 424357"/>
                <a:gd name="connsiteX249" fmla="*/ 227064 w 308065"/>
                <a:gd name="connsiteY249" fmla="*/ 320408 h 424357"/>
                <a:gd name="connsiteX250" fmla="*/ 227735 w 308065"/>
                <a:gd name="connsiteY250" fmla="*/ 321862 h 424357"/>
                <a:gd name="connsiteX251" fmla="*/ 230811 w 308065"/>
                <a:gd name="connsiteY251" fmla="*/ 324938 h 424357"/>
                <a:gd name="connsiteX252" fmla="*/ 233215 w 308065"/>
                <a:gd name="connsiteY252" fmla="*/ 326557 h 424357"/>
                <a:gd name="connsiteX253" fmla="*/ 235255 w 308065"/>
                <a:gd name="connsiteY253" fmla="*/ 328362 h 424357"/>
                <a:gd name="connsiteX254" fmla="*/ 237284 w 308065"/>
                <a:gd name="connsiteY254" fmla="*/ 329120 h 424357"/>
                <a:gd name="connsiteX255" fmla="*/ 238134 w 308065"/>
                <a:gd name="connsiteY255" fmla="*/ 329800 h 424357"/>
                <a:gd name="connsiteX256" fmla="*/ 238693 w 308065"/>
                <a:gd name="connsiteY256" fmla="*/ 330917 h 424357"/>
                <a:gd name="connsiteX257" fmla="*/ 238973 w 308065"/>
                <a:gd name="connsiteY257" fmla="*/ 332091 h 424357"/>
                <a:gd name="connsiteX258" fmla="*/ 239197 w 308065"/>
                <a:gd name="connsiteY258" fmla="*/ 333099 h 424357"/>
                <a:gd name="connsiteX259" fmla="*/ 238973 w 308065"/>
                <a:gd name="connsiteY259" fmla="*/ 334161 h 424357"/>
                <a:gd name="connsiteX260" fmla="*/ 238470 w 308065"/>
                <a:gd name="connsiteY260" fmla="*/ 335166 h 424357"/>
                <a:gd name="connsiteX261" fmla="*/ 238693 w 308065"/>
                <a:gd name="connsiteY261" fmla="*/ 336229 h 424357"/>
                <a:gd name="connsiteX262" fmla="*/ 239420 w 308065"/>
                <a:gd name="connsiteY262" fmla="*/ 337068 h 424357"/>
                <a:gd name="connsiteX263" fmla="*/ 239644 w 308065"/>
                <a:gd name="connsiteY263" fmla="*/ 338131 h 424357"/>
                <a:gd name="connsiteX264" fmla="*/ 240146 w 308065"/>
                <a:gd name="connsiteY264" fmla="*/ 339136 h 424357"/>
                <a:gd name="connsiteX265" fmla="*/ 240426 w 308065"/>
                <a:gd name="connsiteY265" fmla="*/ 340144 h 424357"/>
                <a:gd name="connsiteX266" fmla="*/ 241042 w 308065"/>
                <a:gd name="connsiteY266" fmla="*/ 340869 h 424357"/>
                <a:gd name="connsiteX267" fmla="*/ 241824 w 308065"/>
                <a:gd name="connsiteY267" fmla="*/ 341375 h 424357"/>
                <a:gd name="connsiteX268" fmla="*/ 242831 w 308065"/>
                <a:gd name="connsiteY268" fmla="*/ 342212 h 424357"/>
                <a:gd name="connsiteX269" fmla="*/ 242942 w 308065"/>
                <a:gd name="connsiteY269" fmla="*/ 342994 h 424357"/>
                <a:gd name="connsiteX270" fmla="*/ 242831 w 308065"/>
                <a:gd name="connsiteY270" fmla="*/ 343891 h 424357"/>
                <a:gd name="connsiteX271" fmla="*/ 242820 w 308065"/>
                <a:gd name="connsiteY271" fmla="*/ 344567 h 424357"/>
                <a:gd name="connsiteX272" fmla="*/ 243777 w 308065"/>
                <a:gd name="connsiteY272" fmla="*/ 346105 h 424357"/>
                <a:gd name="connsiteX273" fmla="*/ 244060 w 308065"/>
                <a:gd name="connsiteY273" fmla="*/ 347188 h 424357"/>
                <a:gd name="connsiteX274" fmla="*/ 243613 w 308065"/>
                <a:gd name="connsiteY274" fmla="*/ 348475 h 424357"/>
                <a:gd name="connsiteX275" fmla="*/ 243181 w 308065"/>
                <a:gd name="connsiteY275" fmla="*/ 352938 h 424357"/>
                <a:gd name="connsiteX276" fmla="*/ 242073 w 308065"/>
                <a:gd name="connsiteY276" fmla="*/ 358017 h 424357"/>
                <a:gd name="connsiteX277" fmla="*/ 241367 w 308065"/>
                <a:gd name="connsiteY277" fmla="*/ 361896 h 424357"/>
                <a:gd name="connsiteX278" fmla="*/ 240216 w 308065"/>
                <a:gd name="connsiteY278" fmla="*/ 368221 h 424357"/>
                <a:gd name="connsiteX279" fmla="*/ 238876 w 308065"/>
                <a:gd name="connsiteY279" fmla="*/ 375578 h 424357"/>
                <a:gd name="connsiteX280" fmla="*/ 237244 w 308065"/>
                <a:gd name="connsiteY280" fmla="*/ 384545 h 424357"/>
                <a:gd name="connsiteX281" fmla="*/ 235633 w 308065"/>
                <a:gd name="connsiteY281" fmla="*/ 393401 h 424357"/>
                <a:gd name="connsiteX282" fmla="*/ 234072 w 308065"/>
                <a:gd name="connsiteY282" fmla="*/ 401978 h 424357"/>
                <a:gd name="connsiteX283" fmla="*/ 232661 w 308065"/>
                <a:gd name="connsiteY283" fmla="*/ 409728 h 424357"/>
                <a:gd name="connsiteX284" fmla="*/ 231108 w 308065"/>
                <a:gd name="connsiteY284" fmla="*/ 418278 h 424357"/>
                <a:gd name="connsiteX285" fmla="*/ 230166 w 308065"/>
                <a:gd name="connsiteY285" fmla="*/ 423459 h 424357"/>
                <a:gd name="connsiteX286" fmla="*/ 229717 w 308065"/>
                <a:gd name="connsiteY286" fmla="*/ 424357 h 424357"/>
                <a:gd name="connsiteX287" fmla="*/ 228416 w 308065"/>
                <a:gd name="connsiteY287" fmla="*/ 422480 h 424357"/>
                <a:gd name="connsiteX288" fmla="*/ 226450 w 308065"/>
                <a:gd name="connsiteY288" fmla="*/ 420706 h 424357"/>
                <a:gd name="connsiteX289" fmla="*/ 224605 w 308065"/>
                <a:gd name="connsiteY289" fmla="*/ 419639 h 424357"/>
                <a:gd name="connsiteX290" fmla="*/ 223821 w 308065"/>
                <a:gd name="connsiteY290" fmla="*/ 418242 h 424357"/>
                <a:gd name="connsiteX291" fmla="*/ 222760 w 308065"/>
                <a:gd name="connsiteY291" fmla="*/ 415386 h 424357"/>
                <a:gd name="connsiteX292" fmla="*/ 221285 w 308065"/>
                <a:gd name="connsiteY292" fmla="*/ 414409 h 424357"/>
                <a:gd name="connsiteX293" fmla="*/ 220244 w 308065"/>
                <a:gd name="connsiteY293" fmla="*/ 413651 h 424357"/>
                <a:gd name="connsiteX294" fmla="*/ 219237 w 308065"/>
                <a:gd name="connsiteY294" fmla="*/ 413763 h 424357"/>
                <a:gd name="connsiteX295" fmla="*/ 218175 w 308065"/>
                <a:gd name="connsiteY295" fmla="*/ 414546 h 424357"/>
                <a:gd name="connsiteX296" fmla="*/ 216533 w 308065"/>
                <a:gd name="connsiteY296" fmla="*/ 415047 h 424357"/>
                <a:gd name="connsiteX297" fmla="*/ 215422 w 308065"/>
                <a:gd name="connsiteY297" fmla="*/ 414972 h 424357"/>
                <a:gd name="connsiteX298" fmla="*/ 210946 w 308065"/>
                <a:gd name="connsiteY298" fmla="*/ 413006 h 424357"/>
                <a:gd name="connsiteX299" fmla="*/ 210213 w 308065"/>
                <a:gd name="connsiteY299" fmla="*/ 412818 h 424357"/>
                <a:gd name="connsiteX300" fmla="*/ 213089 w 308065"/>
                <a:gd name="connsiteY300" fmla="*/ 408325 h 424357"/>
                <a:gd name="connsiteX301" fmla="*/ 218228 w 308065"/>
                <a:gd name="connsiteY301" fmla="*/ 400295 h 424357"/>
                <a:gd name="connsiteX302" fmla="*/ 221496 w 308065"/>
                <a:gd name="connsiteY302" fmla="*/ 395194 h 424357"/>
                <a:gd name="connsiteX303" fmla="*/ 225123 w 308065"/>
                <a:gd name="connsiteY303" fmla="*/ 389529 h 424357"/>
                <a:gd name="connsiteX304" fmla="*/ 226975 w 308065"/>
                <a:gd name="connsiteY304" fmla="*/ 386639 h 424357"/>
                <a:gd name="connsiteX305" fmla="*/ 227218 w 308065"/>
                <a:gd name="connsiteY305" fmla="*/ 386146 h 424357"/>
                <a:gd name="connsiteX306" fmla="*/ 227211 w 308065"/>
                <a:gd name="connsiteY306" fmla="*/ 385408 h 424357"/>
                <a:gd name="connsiteX307" fmla="*/ 226422 w 308065"/>
                <a:gd name="connsiteY307" fmla="*/ 384305 h 424357"/>
                <a:gd name="connsiteX308" fmla="*/ 224675 w 308065"/>
                <a:gd name="connsiteY308" fmla="*/ 383839 h 424357"/>
                <a:gd name="connsiteX309" fmla="*/ 222654 w 308065"/>
                <a:gd name="connsiteY309" fmla="*/ 382994 h 424357"/>
                <a:gd name="connsiteX310" fmla="*/ 221381 w 308065"/>
                <a:gd name="connsiteY310" fmla="*/ 381623 h 424357"/>
                <a:gd name="connsiteX311" fmla="*/ 219619 w 308065"/>
                <a:gd name="connsiteY311" fmla="*/ 381034 h 424357"/>
                <a:gd name="connsiteX312" fmla="*/ 218248 w 308065"/>
                <a:gd name="connsiteY312" fmla="*/ 380056 h 424357"/>
                <a:gd name="connsiteX313" fmla="*/ 215749 w 308065"/>
                <a:gd name="connsiteY313" fmla="*/ 379102 h 424357"/>
                <a:gd name="connsiteX314" fmla="*/ 214250 w 308065"/>
                <a:gd name="connsiteY314" fmla="*/ 378217 h 424357"/>
                <a:gd name="connsiteX315" fmla="*/ 212422 w 308065"/>
                <a:gd name="connsiteY315" fmla="*/ 377900 h 424357"/>
                <a:gd name="connsiteX316" fmla="*/ 210967 w 308065"/>
                <a:gd name="connsiteY316" fmla="*/ 376282 h 424357"/>
                <a:gd name="connsiteX317" fmla="*/ 205663 w 308065"/>
                <a:gd name="connsiteY317" fmla="*/ 373150 h 424357"/>
                <a:gd name="connsiteX318" fmla="*/ 204294 w 308065"/>
                <a:gd name="connsiteY318" fmla="*/ 372853 h 424357"/>
                <a:gd name="connsiteX319" fmla="*/ 202804 w 308065"/>
                <a:gd name="connsiteY319" fmla="*/ 373334 h 424357"/>
                <a:gd name="connsiteX320" fmla="*/ 200621 w 308065"/>
                <a:gd name="connsiteY320" fmla="*/ 373832 h 424357"/>
                <a:gd name="connsiteX321" fmla="*/ 198517 w 308065"/>
                <a:gd name="connsiteY321" fmla="*/ 375548 h 424357"/>
                <a:gd name="connsiteX322" fmla="*/ 195887 w 308065"/>
                <a:gd name="connsiteY322" fmla="*/ 376101 h 424357"/>
                <a:gd name="connsiteX323" fmla="*/ 193430 w 308065"/>
                <a:gd name="connsiteY323" fmla="*/ 376081 h 424357"/>
                <a:gd name="connsiteX324" fmla="*/ 192150 w 308065"/>
                <a:gd name="connsiteY324" fmla="*/ 375057 h 424357"/>
                <a:gd name="connsiteX325" fmla="*/ 190917 w 308065"/>
                <a:gd name="connsiteY325" fmla="*/ 374689 h 424357"/>
                <a:gd name="connsiteX326" fmla="*/ 189310 w 308065"/>
                <a:gd name="connsiteY326" fmla="*/ 373295 h 424357"/>
                <a:gd name="connsiteX327" fmla="*/ 186469 w 308065"/>
                <a:gd name="connsiteY327" fmla="*/ 372226 h 424357"/>
                <a:gd name="connsiteX328" fmla="*/ 184414 w 308065"/>
                <a:gd name="connsiteY328" fmla="*/ 371481 h 424357"/>
                <a:gd name="connsiteX329" fmla="*/ 183142 w 308065"/>
                <a:gd name="connsiteY329" fmla="*/ 371825 h 424357"/>
                <a:gd name="connsiteX330" fmla="*/ 181505 w 308065"/>
                <a:gd name="connsiteY330" fmla="*/ 373383 h 424357"/>
                <a:gd name="connsiteX331" fmla="*/ 179852 w 308065"/>
                <a:gd name="connsiteY331" fmla="*/ 374929 h 424357"/>
                <a:gd name="connsiteX332" fmla="*/ 178539 w 308065"/>
                <a:gd name="connsiteY332" fmla="*/ 375890 h 424357"/>
                <a:gd name="connsiteX333" fmla="*/ 176775 w 308065"/>
                <a:gd name="connsiteY333" fmla="*/ 375841 h 424357"/>
                <a:gd name="connsiteX334" fmla="*/ 174671 w 308065"/>
                <a:gd name="connsiteY334" fmla="*/ 377264 h 424357"/>
                <a:gd name="connsiteX335" fmla="*/ 172600 w 308065"/>
                <a:gd name="connsiteY335" fmla="*/ 377766 h 424357"/>
                <a:gd name="connsiteX336" fmla="*/ 170514 w 308065"/>
                <a:gd name="connsiteY336" fmla="*/ 377988 h 424357"/>
                <a:gd name="connsiteX337" fmla="*/ 168108 w 308065"/>
                <a:gd name="connsiteY337" fmla="*/ 378487 h 424357"/>
                <a:gd name="connsiteX338" fmla="*/ 165444 w 308065"/>
                <a:gd name="connsiteY338" fmla="*/ 377627 h 424357"/>
                <a:gd name="connsiteX339" fmla="*/ 163263 w 308065"/>
                <a:gd name="connsiteY339" fmla="*/ 376869 h 424357"/>
                <a:gd name="connsiteX340" fmla="*/ 162284 w 308065"/>
                <a:gd name="connsiteY340" fmla="*/ 376527 h 424357"/>
                <a:gd name="connsiteX341" fmla="*/ 161401 w 308065"/>
                <a:gd name="connsiteY341" fmla="*/ 376765 h 424357"/>
                <a:gd name="connsiteX342" fmla="*/ 160032 w 308065"/>
                <a:gd name="connsiteY342" fmla="*/ 377556 h 424357"/>
                <a:gd name="connsiteX343" fmla="*/ 157570 w 308065"/>
                <a:gd name="connsiteY343" fmla="*/ 377892 h 424357"/>
                <a:gd name="connsiteX344" fmla="*/ 155644 w 308065"/>
                <a:gd name="connsiteY344" fmla="*/ 377969 h 424357"/>
                <a:gd name="connsiteX345" fmla="*/ 154276 w 308065"/>
                <a:gd name="connsiteY345" fmla="*/ 377602 h 424357"/>
                <a:gd name="connsiteX346" fmla="*/ 153046 w 308065"/>
                <a:gd name="connsiteY346" fmla="*/ 376225 h 424357"/>
                <a:gd name="connsiteX347" fmla="*/ 151055 w 308065"/>
                <a:gd name="connsiteY347" fmla="*/ 375522 h 424357"/>
                <a:gd name="connsiteX348" fmla="*/ 148866 w 308065"/>
                <a:gd name="connsiteY348" fmla="*/ 374664 h 424357"/>
                <a:gd name="connsiteX349" fmla="*/ 148405 w 308065"/>
                <a:gd name="connsiteY349" fmla="*/ 372892 h 424357"/>
                <a:gd name="connsiteX350" fmla="*/ 148722 w 308065"/>
                <a:gd name="connsiteY350" fmla="*/ 371572 h 424357"/>
                <a:gd name="connsiteX351" fmla="*/ 149575 w 308065"/>
                <a:gd name="connsiteY351" fmla="*/ 369662 h 424357"/>
                <a:gd name="connsiteX352" fmla="*/ 149101 w 308065"/>
                <a:gd name="connsiteY352" fmla="*/ 367691 h 424357"/>
                <a:gd name="connsiteX353" fmla="*/ 148182 w 308065"/>
                <a:gd name="connsiteY353" fmla="*/ 364572 h 424357"/>
                <a:gd name="connsiteX354" fmla="*/ 147788 w 308065"/>
                <a:gd name="connsiteY354" fmla="*/ 363301 h 424357"/>
                <a:gd name="connsiteX355" fmla="*/ 147104 w 308065"/>
                <a:gd name="connsiteY355" fmla="*/ 362221 h 424357"/>
                <a:gd name="connsiteX356" fmla="*/ 146027 w 308065"/>
                <a:gd name="connsiteY356" fmla="*/ 361830 h 424357"/>
                <a:gd name="connsiteX357" fmla="*/ 143921 w 308065"/>
                <a:gd name="connsiteY357" fmla="*/ 362125 h 424357"/>
                <a:gd name="connsiteX358" fmla="*/ 141619 w 308065"/>
                <a:gd name="connsiteY358" fmla="*/ 360946 h 424357"/>
                <a:gd name="connsiteX359" fmla="*/ 140199 w 308065"/>
                <a:gd name="connsiteY359" fmla="*/ 359821 h 424357"/>
                <a:gd name="connsiteX360" fmla="*/ 139465 w 308065"/>
                <a:gd name="connsiteY360" fmla="*/ 358446 h 424357"/>
                <a:gd name="connsiteX361" fmla="*/ 140249 w 308065"/>
                <a:gd name="connsiteY361" fmla="*/ 355853 h 424357"/>
                <a:gd name="connsiteX362" fmla="*/ 139563 w 308065"/>
                <a:gd name="connsiteY362" fmla="*/ 353649 h 424357"/>
                <a:gd name="connsiteX363" fmla="*/ 138191 w 308065"/>
                <a:gd name="connsiteY363" fmla="*/ 352422 h 424357"/>
                <a:gd name="connsiteX364" fmla="*/ 137309 w 308065"/>
                <a:gd name="connsiteY364" fmla="*/ 350268 h 424357"/>
                <a:gd name="connsiteX365" fmla="*/ 135939 w 308065"/>
                <a:gd name="connsiteY365" fmla="*/ 348554 h 424357"/>
                <a:gd name="connsiteX366" fmla="*/ 134127 w 308065"/>
                <a:gd name="connsiteY366" fmla="*/ 347675 h 424357"/>
                <a:gd name="connsiteX367" fmla="*/ 132317 w 308065"/>
                <a:gd name="connsiteY367" fmla="*/ 347771 h 424357"/>
                <a:gd name="connsiteX368" fmla="*/ 130896 w 308065"/>
                <a:gd name="connsiteY368" fmla="*/ 347231 h 424357"/>
                <a:gd name="connsiteX369" fmla="*/ 129279 w 308065"/>
                <a:gd name="connsiteY369" fmla="*/ 345419 h 424357"/>
                <a:gd name="connsiteX370" fmla="*/ 127761 w 308065"/>
                <a:gd name="connsiteY370" fmla="*/ 344734 h 424357"/>
                <a:gd name="connsiteX371" fmla="*/ 126048 w 308065"/>
                <a:gd name="connsiteY371" fmla="*/ 342970 h 424357"/>
                <a:gd name="connsiteX372" fmla="*/ 122844 w 308065"/>
                <a:gd name="connsiteY372" fmla="*/ 342187 h 424357"/>
                <a:gd name="connsiteX373" fmla="*/ 121180 w 308065"/>
                <a:gd name="connsiteY373" fmla="*/ 341499 h 424357"/>
                <a:gd name="connsiteX374" fmla="*/ 120228 w 308065"/>
                <a:gd name="connsiteY374" fmla="*/ 340414 h 424357"/>
                <a:gd name="connsiteX375" fmla="*/ 118947 w 308065"/>
                <a:gd name="connsiteY375" fmla="*/ 338462 h 424357"/>
                <a:gd name="connsiteX376" fmla="*/ 119095 w 308065"/>
                <a:gd name="connsiteY376" fmla="*/ 337385 h 424357"/>
                <a:gd name="connsiteX377" fmla="*/ 118472 w 308065"/>
                <a:gd name="connsiteY377" fmla="*/ 336326 h 424357"/>
                <a:gd name="connsiteX378" fmla="*/ 117921 w 308065"/>
                <a:gd name="connsiteY378" fmla="*/ 334419 h 424357"/>
                <a:gd name="connsiteX379" fmla="*/ 116831 w 308065"/>
                <a:gd name="connsiteY379" fmla="*/ 331611 h 424357"/>
                <a:gd name="connsiteX380" fmla="*/ 115632 w 308065"/>
                <a:gd name="connsiteY380" fmla="*/ 330013 h 424357"/>
                <a:gd name="connsiteX381" fmla="*/ 114397 w 308065"/>
                <a:gd name="connsiteY381" fmla="*/ 328808 h 424357"/>
                <a:gd name="connsiteX382" fmla="*/ 113352 w 308065"/>
                <a:gd name="connsiteY382" fmla="*/ 327787 h 424357"/>
                <a:gd name="connsiteX383" fmla="*/ 111798 w 308065"/>
                <a:gd name="connsiteY383" fmla="*/ 326269 h 424357"/>
                <a:gd name="connsiteX384" fmla="*/ 109889 w 308065"/>
                <a:gd name="connsiteY384" fmla="*/ 325388 h 424357"/>
                <a:gd name="connsiteX385" fmla="*/ 108273 w 308065"/>
                <a:gd name="connsiteY385" fmla="*/ 324460 h 424357"/>
                <a:gd name="connsiteX386" fmla="*/ 107637 w 308065"/>
                <a:gd name="connsiteY386" fmla="*/ 323088 h 424357"/>
                <a:gd name="connsiteX387" fmla="*/ 107097 w 308065"/>
                <a:gd name="connsiteY387" fmla="*/ 321961 h 424357"/>
                <a:gd name="connsiteX388" fmla="*/ 106191 w 308065"/>
                <a:gd name="connsiteY388" fmla="*/ 322042 h 424357"/>
                <a:gd name="connsiteX389" fmla="*/ 104889 w 308065"/>
                <a:gd name="connsiteY389" fmla="*/ 321944 h 424357"/>
                <a:gd name="connsiteX390" fmla="*/ 103457 w 308065"/>
                <a:gd name="connsiteY390" fmla="*/ 321658 h 424357"/>
                <a:gd name="connsiteX391" fmla="*/ 101944 w 308065"/>
                <a:gd name="connsiteY391" fmla="*/ 320839 h 424357"/>
                <a:gd name="connsiteX392" fmla="*/ 100683 w 308065"/>
                <a:gd name="connsiteY392" fmla="*/ 319846 h 424357"/>
                <a:gd name="connsiteX393" fmla="*/ 98562 w 308065"/>
                <a:gd name="connsiteY393" fmla="*/ 318168 h 424357"/>
                <a:gd name="connsiteX394" fmla="*/ 97403 w 308065"/>
                <a:gd name="connsiteY394" fmla="*/ 317945 h 424357"/>
                <a:gd name="connsiteX395" fmla="*/ 96375 w 308065"/>
                <a:gd name="connsiteY395" fmla="*/ 317945 h 424357"/>
                <a:gd name="connsiteX396" fmla="*/ 94857 w 308065"/>
                <a:gd name="connsiteY396" fmla="*/ 319588 h 424357"/>
                <a:gd name="connsiteX397" fmla="*/ 90305 w 308065"/>
                <a:gd name="connsiteY397" fmla="*/ 317861 h 424357"/>
                <a:gd name="connsiteX398" fmla="*/ 86417 w 308065"/>
                <a:gd name="connsiteY398" fmla="*/ 315292 h 424357"/>
                <a:gd name="connsiteX399" fmla="*/ 82377 w 308065"/>
                <a:gd name="connsiteY399" fmla="*/ 314624 h 424357"/>
                <a:gd name="connsiteX400" fmla="*/ 79763 w 308065"/>
                <a:gd name="connsiteY400" fmla="*/ 313059 h 424357"/>
                <a:gd name="connsiteX401" fmla="*/ 77352 w 308065"/>
                <a:gd name="connsiteY401" fmla="*/ 310605 h 424357"/>
                <a:gd name="connsiteX402" fmla="*/ 76051 w 308065"/>
                <a:gd name="connsiteY402" fmla="*/ 308948 h 424357"/>
                <a:gd name="connsiteX403" fmla="*/ 74992 w 308065"/>
                <a:gd name="connsiteY403" fmla="*/ 308125 h 424357"/>
                <a:gd name="connsiteX404" fmla="*/ 69853 w 308065"/>
                <a:gd name="connsiteY404" fmla="*/ 305745 h 424357"/>
                <a:gd name="connsiteX405" fmla="*/ 68827 w 308065"/>
                <a:gd name="connsiteY405" fmla="*/ 305515 h 424357"/>
                <a:gd name="connsiteX406" fmla="*/ 66871 w 308065"/>
                <a:gd name="connsiteY406" fmla="*/ 306618 h 424357"/>
                <a:gd name="connsiteX407" fmla="*/ 66232 w 308065"/>
                <a:gd name="connsiteY407" fmla="*/ 307281 h 424357"/>
                <a:gd name="connsiteX408" fmla="*/ 66115 w 308065"/>
                <a:gd name="connsiteY408" fmla="*/ 309181 h 424357"/>
                <a:gd name="connsiteX409" fmla="*/ 65879 w 308065"/>
                <a:gd name="connsiteY409" fmla="*/ 310263 h 424357"/>
                <a:gd name="connsiteX410" fmla="*/ 64172 w 308065"/>
                <a:gd name="connsiteY410" fmla="*/ 310917 h 424357"/>
                <a:gd name="connsiteX411" fmla="*/ 61423 w 308065"/>
                <a:gd name="connsiteY411" fmla="*/ 310777 h 424357"/>
                <a:gd name="connsiteX412" fmla="*/ 59509 w 308065"/>
                <a:gd name="connsiteY412" fmla="*/ 310088 h 424357"/>
                <a:gd name="connsiteX413" fmla="*/ 58229 w 308065"/>
                <a:gd name="connsiteY413" fmla="*/ 309987 h 424357"/>
                <a:gd name="connsiteX414" fmla="*/ 57968 w 308065"/>
                <a:gd name="connsiteY414" fmla="*/ 310527 h 424357"/>
                <a:gd name="connsiteX415" fmla="*/ 57248 w 308065"/>
                <a:gd name="connsiteY415" fmla="*/ 310760 h 424357"/>
                <a:gd name="connsiteX416" fmla="*/ 55685 w 308065"/>
                <a:gd name="connsiteY416" fmla="*/ 310605 h 424357"/>
                <a:gd name="connsiteX417" fmla="*/ 53383 w 308065"/>
                <a:gd name="connsiteY417" fmla="*/ 310079 h 424357"/>
                <a:gd name="connsiteX418" fmla="*/ 51296 w 308065"/>
                <a:gd name="connsiteY418" fmla="*/ 309376 h 424357"/>
                <a:gd name="connsiteX419" fmla="*/ 48464 w 308065"/>
                <a:gd name="connsiteY419" fmla="*/ 307884 h 424357"/>
                <a:gd name="connsiteX420" fmla="*/ 47156 w 308065"/>
                <a:gd name="connsiteY420" fmla="*/ 308070 h 424357"/>
                <a:gd name="connsiteX421" fmla="*/ 43937 w 308065"/>
                <a:gd name="connsiteY421" fmla="*/ 307748 h 424357"/>
                <a:gd name="connsiteX422" fmla="*/ 41308 w 308065"/>
                <a:gd name="connsiteY422" fmla="*/ 306899 h 424357"/>
                <a:gd name="connsiteX423" fmla="*/ 40638 w 308065"/>
                <a:gd name="connsiteY423" fmla="*/ 306114 h 424357"/>
                <a:gd name="connsiteX424" fmla="*/ 39499 w 308065"/>
                <a:gd name="connsiteY424" fmla="*/ 300747 h 424357"/>
                <a:gd name="connsiteX425" fmla="*/ 39152 w 308065"/>
                <a:gd name="connsiteY425" fmla="*/ 300375 h 424357"/>
                <a:gd name="connsiteX426" fmla="*/ 38017 w 308065"/>
                <a:gd name="connsiteY426" fmla="*/ 300142 h 424357"/>
                <a:gd name="connsiteX427" fmla="*/ 36110 w 308065"/>
                <a:gd name="connsiteY427" fmla="*/ 299404 h 424357"/>
                <a:gd name="connsiteX428" fmla="*/ 34911 w 308065"/>
                <a:gd name="connsiteY428" fmla="*/ 298538 h 424357"/>
                <a:gd name="connsiteX429" fmla="*/ 34288 w 308065"/>
                <a:gd name="connsiteY429" fmla="*/ 297052 h 424357"/>
                <a:gd name="connsiteX430" fmla="*/ 33535 w 308065"/>
                <a:gd name="connsiteY430" fmla="*/ 295641 h 424357"/>
                <a:gd name="connsiteX431" fmla="*/ 30324 w 308065"/>
                <a:gd name="connsiteY431" fmla="*/ 295958 h 424357"/>
                <a:gd name="connsiteX432" fmla="*/ 25063 w 308065"/>
                <a:gd name="connsiteY432" fmla="*/ 294098 h 424357"/>
                <a:gd name="connsiteX433" fmla="*/ 21421 w 308065"/>
                <a:gd name="connsiteY433" fmla="*/ 292327 h 424357"/>
                <a:gd name="connsiteX434" fmla="*/ 18087 w 308065"/>
                <a:gd name="connsiteY434" fmla="*/ 290361 h 424357"/>
                <a:gd name="connsiteX435" fmla="*/ 13032 w 308065"/>
                <a:gd name="connsiteY435" fmla="*/ 286487 h 424357"/>
                <a:gd name="connsiteX436" fmla="*/ 11100 w 308065"/>
                <a:gd name="connsiteY436" fmla="*/ 285527 h 424357"/>
                <a:gd name="connsiteX437" fmla="*/ 8718 w 308065"/>
                <a:gd name="connsiteY437" fmla="*/ 284342 h 424357"/>
                <a:gd name="connsiteX438" fmla="*/ 7311 w 308065"/>
                <a:gd name="connsiteY438" fmla="*/ 282434 h 424357"/>
                <a:gd name="connsiteX439" fmla="*/ 4985 w 308065"/>
                <a:gd name="connsiteY439" fmla="*/ 280507 h 424357"/>
                <a:gd name="connsiteX440" fmla="*/ 4203 w 308065"/>
                <a:gd name="connsiteY440" fmla="*/ 279982 h 424357"/>
                <a:gd name="connsiteX441" fmla="*/ 3473 w 308065"/>
                <a:gd name="connsiteY441" fmla="*/ 278239 h 424357"/>
                <a:gd name="connsiteX442" fmla="*/ 0 w 308065"/>
                <a:gd name="connsiteY442" fmla="*/ 275713 h 424357"/>
                <a:gd name="connsiteX443" fmla="*/ 1718 w 308065"/>
                <a:gd name="connsiteY443" fmla="*/ 272454 h 424357"/>
                <a:gd name="connsiteX444" fmla="*/ 5894 w 308065"/>
                <a:gd name="connsiteY444" fmla="*/ 270005 h 424357"/>
                <a:gd name="connsiteX445" fmla="*/ 11373 w 308065"/>
                <a:gd name="connsiteY445" fmla="*/ 271905 h 424357"/>
                <a:gd name="connsiteX446" fmla="*/ 12044 w 308065"/>
                <a:gd name="connsiteY446" fmla="*/ 268105 h 424357"/>
                <a:gd name="connsiteX447" fmla="*/ 10062 w 308065"/>
                <a:gd name="connsiteY447" fmla="*/ 264741 h 424357"/>
                <a:gd name="connsiteX448" fmla="*/ 10355 w 308065"/>
                <a:gd name="connsiteY448" fmla="*/ 258385 h 424357"/>
                <a:gd name="connsiteX449" fmla="*/ 10998 w 308065"/>
                <a:gd name="connsiteY449" fmla="*/ 257120 h 424357"/>
                <a:gd name="connsiteX450" fmla="*/ 12443 w 308065"/>
                <a:gd name="connsiteY450" fmla="*/ 255419 h 424357"/>
                <a:gd name="connsiteX451" fmla="*/ 14326 w 308065"/>
                <a:gd name="connsiteY451" fmla="*/ 254243 h 424357"/>
                <a:gd name="connsiteX452" fmla="*/ 15430 w 308065"/>
                <a:gd name="connsiteY452" fmla="*/ 253902 h 424357"/>
                <a:gd name="connsiteX453" fmla="*/ 17308 w 308065"/>
                <a:gd name="connsiteY453" fmla="*/ 254485 h 424357"/>
                <a:gd name="connsiteX454" fmla="*/ 18492 w 308065"/>
                <a:gd name="connsiteY454" fmla="*/ 253216 h 424357"/>
                <a:gd name="connsiteX455" fmla="*/ 22959 w 308065"/>
                <a:gd name="connsiteY455" fmla="*/ 253783 h 424357"/>
                <a:gd name="connsiteX456" fmla="*/ 24312 w 308065"/>
                <a:gd name="connsiteY456" fmla="*/ 253252 h 424357"/>
                <a:gd name="connsiteX457" fmla="*/ 25236 w 308065"/>
                <a:gd name="connsiteY457" fmla="*/ 252391 h 424357"/>
                <a:gd name="connsiteX458" fmla="*/ 26325 w 308065"/>
                <a:gd name="connsiteY458" fmla="*/ 251732 h 424357"/>
                <a:gd name="connsiteX459" fmla="*/ 27719 w 308065"/>
                <a:gd name="connsiteY459" fmla="*/ 250204 h 424357"/>
                <a:gd name="connsiteX460" fmla="*/ 28517 w 308065"/>
                <a:gd name="connsiteY460" fmla="*/ 248438 h 424357"/>
                <a:gd name="connsiteX461" fmla="*/ 29183 w 308065"/>
                <a:gd name="connsiteY461" fmla="*/ 247752 h 424357"/>
                <a:gd name="connsiteX462" fmla="*/ 30728 w 308065"/>
                <a:gd name="connsiteY462" fmla="*/ 247994 h 424357"/>
                <a:gd name="connsiteX463" fmla="*/ 30871 w 308065"/>
                <a:gd name="connsiteY463" fmla="*/ 247232 h 424357"/>
                <a:gd name="connsiteX464" fmla="*/ 31665 w 308065"/>
                <a:gd name="connsiteY464" fmla="*/ 246194 h 424357"/>
                <a:gd name="connsiteX465" fmla="*/ 34369 w 308065"/>
                <a:gd name="connsiteY465" fmla="*/ 243869 h 424357"/>
                <a:gd name="connsiteX466" fmla="*/ 34341 w 308065"/>
                <a:gd name="connsiteY466" fmla="*/ 242843 h 424357"/>
                <a:gd name="connsiteX467" fmla="*/ 33583 w 308065"/>
                <a:gd name="connsiteY467" fmla="*/ 240604 h 424357"/>
                <a:gd name="connsiteX468" fmla="*/ 33769 w 308065"/>
                <a:gd name="connsiteY468" fmla="*/ 239781 h 424357"/>
                <a:gd name="connsiteX469" fmla="*/ 35332 w 308065"/>
                <a:gd name="connsiteY469" fmla="*/ 239497 h 424357"/>
                <a:gd name="connsiteX470" fmla="*/ 37180 w 308065"/>
                <a:gd name="connsiteY470" fmla="*/ 238867 h 424357"/>
                <a:gd name="connsiteX471" fmla="*/ 38165 w 308065"/>
                <a:gd name="connsiteY471" fmla="*/ 236729 h 424357"/>
                <a:gd name="connsiteX472" fmla="*/ 39384 w 308065"/>
                <a:gd name="connsiteY472" fmla="*/ 234862 h 424357"/>
                <a:gd name="connsiteX473" fmla="*/ 40781 w 308065"/>
                <a:gd name="connsiteY473" fmla="*/ 232120 h 424357"/>
                <a:gd name="connsiteX474" fmla="*/ 42316 w 308065"/>
                <a:gd name="connsiteY474" fmla="*/ 231948 h 424357"/>
                <a:gd name="connsiteX475" fmla="*/ 43132 w 308065"/>
                <a:gd name="connsiteY475" fmla="*/ 228745 h 424357"/>
                <a:gd name="connsiteX476" fmla="*/ 45202 w 308065"/>
                <a:gd name="connsiteY476" fmla="*/ 225938 h 424357"/>
                <a:gd name="connsiteX477" fmla="*/ 49410 w 308065"/>
                <a:gd name="connsiteY477" fmla="*/ 217611 h 424357"/>
                <a:gd name="connsiteX478" fmla="*/ 48142 w 308065"/>
                <a:gd name="connsiteY478" fmla="*/ 217794 h 424357"/>
                <a:gd name="connsiteX479" fmla="*/ 47134 w 308065"/>
                <a:gd name="connsiteY479" fmla="*/ 218906 h 424357"/>
                <a:gd name="connsiteX480" fmla="*/ 45981 w 308065"/>
                <a:gd name="connsiteY480" fmla="*/ 218776 h 424357"/>
                <a:gd name="connsiteX481" fmla="*/ 44675 w 308065"/>
                <a:gd name="connsiteY481" fmla="*/ 218121 h 424357"/>
                <a:gd name="connsiteX482" fmla="*/ 45059 w 308065"/>
                <a:gd name="connsiteY482" fmla="*/ 214369 h 424357"/>
                <a:gd name="connsiteX483" fmla="*/ 44308 w 308065"/>
                <a:gd name="connsiteY483" fmla="*/ 213923 h 424357"/>
                <a:gd name="connsiteX484" fmla="*/ 42275 w 308065"/>
                <a:gd name="connsiteY484" fmla="*/ 216813 h 424357"/>
                <a:gd name="connsiteX485" fmla="*/ 40523 w 308065"/>
                <a:gd name="connsiteY485" fmla="*/ 213874 h 424357"/>
                <a:gd name="connsiteX486" fmla="*/ 40365 w 308065"/>
                <a:gd name="connsiteY486" fmla="*/ 212082 h 424357"/>
                <a:gd name="connsiteX487" fmla="*/ 41101 w 308065"/>
                <a:gd name="connsiteY487" fmla="*/ 210310 h 424357"/>
                <a:gd name="connsiteX488" fmla="*/ 40993 w 308065"/>
                <a:gd name="connsiteY488" fmla="*/ 209116 h 424357"/>
                <a:gd name="connsiteX489" fmla="*/ 38154 w 308065"/>
                <a:gd name="connsiteY489" fmla="*/ 210004 h 424357"/>
                <a:gd name="connsiteX490" fmla="*/ 38286 w 308065"/>
                <a:gd name="connsiteY490" fmla="*/ 208899 h 424357"/>
                <a:gd name="connsiteX491" fmla="*/ 40053 w 308065"/>
                <a:gd name="connsiteY491" fmla="*/ 207763 h 424357"/>
                <a:gd name="connsiteX492" fmla="*/ 40853 w 308065"/>
                <a:gd name="connsiteY492" fmla="*/ 206579 h 424357"/>
                <a:gd name="connsiteX493" fmla="*/ 42394 w 308065"/>
                <a:gd name="connsiteY493" fmla="*/ 205293 h 424357"/>
                <a:gd name="connsiteX494" fmla="*/ 43033 w 308065"/>
                <a:gd name="connsiteY494" fmla="*/ 203343 h 424357"/>
                <a:gd name="connsiteX495" fmla="*/ 43404 w 308065"/>
                <a:gd name="connsiteY495" fmla="*/ 200324 h 424357"/>
                <a:gd name="connsiteX496" fmla="*/ 44097 w 308065"/>
                <a:gd name="connsiteY496" fmla="*/ 197074 h 424357"/>
                <a:gd name="connsiteX497" fmla="*/ 43585 w 308065"/>
                <a:gd name="connsiteY497" fmla="*/ 195474 h 424357"/>
                <a:gd name="connsiteX498" fmla="*/ 42750 w 308065"/>
                <a:gd name="connsiteY498" fmla="*/ 194106 h 424357"/>
                <a:gd name="connsiteX499" fmla="*/ 42058 w 308065"/>
                <a:gd name="connsiteY499" fmla="*/ 188056 h 424357"/>
                <a:gd name="connsiteX500" fmla="*/ 42250 w 308065"/>
                <a:gd name="connsiteY500" fmla="*/ 184532 h 424357"/>
                <a:gd name="connsiteX501" fmla="*/ 41892 w 308065"/>
                <a:gd name="connsiteY501" fmla="*/ 181765 h 424357"/>
                <a:gd name="connsiteX502" fmla="*/ 41171 w 308065"/>
                <a:gd name="connsiteY502" fmla="*/ 179422 h 424357"/>
                <a:gd name="connsiteX503" fmla="*/ 37806 w 308065"/>
                <a:gd name="connsiteY503" fmla="*/ 176346 h 424357"/>
                <a:gd name="connsiteX504" fmla="*/ 43127 w 308065"/>
                <a:gd name="connsiteY504" fmla="*/ 172822 h 424357"/>
                <a:gd name="connsiteX505" fmla="*/ 45038 w 308065"/>
                <a:gd name="connsiteY505" fmla="*/ 170163 h 424357"/>
                <a:gd name="connsiteX506" fmla="*/ 42618 w 308065"/>
                <a:gd name="connsiteY506" fmla="*/ 164688 h 424357"/>
                <a:gd name="connsiteX507" fmla="*/ 39454 w 308065"/>
                <a:gd name="connsiteY507" fmla="*/ 160073 h 424357"/>
                <a:gd name="connsiteX508" fmla="*/ 39363 w 308065"/>
                <a:gd name="connsiteY508" fmla="*/ 157301 h 424357"/>
                <a:gd name="connsiteX509" fmla="*/ 40198 w 308065"/>
                <a:gd name="connsiteY509" fmla="*/ 157656 h 424357"/>
                <a:gd name="connsiteX510" fmla="*/ 41259 w 308065"/>
                <a:gd name="connsiteY510" fmla="*/ 157572 h 424357"/>
                <a:gd name="connsiteX511" fmla="*/ 42233 w 308065"/>
                <a:gd name="connsiteY511" fmla="*/ 151729 h 424357"/>
                <a:gd name="connsiteX512" fmla="*/ 42007 w 308065"/>
                <a:gd name="connsiteY512" fmla="*/ 149919 h 424357"/>
                <a:gd name="connsiteX513" fmla="*/ 40229 w 308065"/>
                <a:gd name="connsiteY513" fmla="*/ 146997 h 424357"/>
                <a:gd name="connsiteX514" fmla="*/ 38021 w 308065"/>
                <a:gd name="connsiteY514" fmla="*/ 146927 h 424357"/>
                <a:gd name="connsiteX515" fmla="*/ 36090 w 308065"/>
                <a:gd name="connsiteY515" fmla="*/ 143254 h 424357"/>
                <a:gd name="connsiteX516" fmla="*/ 34981 w 308065"/>
                <a:gd name="connsiteY516" fmla="*/ 142431 h 424357"/>
                <a:gd name="connsiteX517" fmla="*/ 34091 w 308065"/>
                <a:gd name="connsiteY517" fmla="*/ 140118 h 424357"/>
                <a:gd name="connsiteX518" fmla="*/ 30979 w 308065"/>
                <a:gd name="connsiteY518" fmla="*/ 135612 h 424357"/>
                <a:gd name="connsiteX519" fmla="*/ 28508 w 308065"/>
                <a:gd name="connsiteY519" fmla="*/ 133265 h 424357"/>
                <a:gd name="connsiteX520" fmla="*/ 30355 w 308065"/>
                <a:gd name="connsiteY520" fmla="*/ 127824 h 424357"/>
                <a:gd name="connsiteX521" fmla="*/ 31967 w 308065"/>
                <a:gd name="connsiteY521" fmla="*/ 126781 h 424357"/>
                <a:gd name="connsiteX522" fmla="*/ 32495 w 308065"/>
                <a:gd name="connsiteY522" fmla="*/ 125424 h 424357"/>
                <a:gd name="connsiteX523" fmla="*/ 31865 w 308065"/>
                <a:gd name="connsiteY523" fmla="*/ 122080 h 424357"/>
                <a:gd name="connsiteX524" fmla="*/ 32038 w 308065"/>
                <a:gd name="connsiteY524" fmla="*/ 121296 h 424357"/>
                <a:gd name="connsiteX525" fmla="*/ 32418 w 308065"/>
                <a:gd name="connsiteY525" fmla="*/ 120963 h 424357"/>
                <a:gd name="connsiteX526" fmla="*/ 32796 w 308065"/>
                <a:gd name="connsiteY526" fmla="*/ 120987 h 424357"/>
                <a:gd name="connsiteX527" fmla="*/ 33448 w 308065"/>
                <a:gd name="connsiteY527" fmla="*/ 121490 h 424357"/>
                <a:gd name="connsiteX528" fmla="*/ 34659 w 308065"/>
                <a:gd name="connsiteY528" fmla="*/ 122933 h 424357"/>
                <a:gd name="connsiteX529" fmla="*/ 35672 w 308065"/>
                <a:gd name="connsiteY529" fmla="*/ 124720 h 424357"/>
                <a:gd name="connsiteX530" fmla="*/ 36484 w 308065"/>
                <a:gd name="connsiteY530" fmla="*/ 125268 h 424357"/>
                <a:gd name="connsiteX531" fmla="*/ 37709 w 308065"/>
                <a:gd name="connsiteY531" fmla="*/ 124676 h 424357"/>
                <a:gd name="connsiteX532" fmla="*/ 42463 w 308065"/>
                <a:gd name="connsiteY532" fmla="*/ 121117 h 424357"/>
                <a:gd name="connsiteX533" fmla="*/ 42159 w 308065"/>
                <a:gd name="connsiteY533" fmla="*/ 120015 h 424357"/>
                <a:gd name="connsiteX534" fmla="*/ 42595 w 308065"/>
                <a:gd name="connsiteY534" fmla="*/ 117784 h 424357"/>
                <a:gd name="connsiteX535" fmla="*/ 44183 w 308065"/>
                <a:gd name="connsiteY535" fmla="*/ 115956 h 424357"/>
                <a:gd name="connsiteX536" fmla="*/ 45882 w 308065"/>
                <a:gd name="connsiteY536" fmla="*/ 115335 h 424357"/>
                <a:gd name="connsiteX537" fmla="*/ 46387 w 308065"/>
                <a:gd name="connsiteY537" fmla="*/ 114315 h 424357"/>
                <a:gd name="connsiteX538" fmla="*/ 45974 w 308065"/>
                <a:gd name="connsiteY538" fmla="*/ 112748 h 424357"/>
                <a:gd name="connsiteX539" fmla="*/ 44191 w 308065"/>
                <a:gd name="connsiteY539" fmla="*/ 108840 h 424357"/>
                <a:gd name="connsiteX540" fmla="*/ 42597 w 308065"/>
                <a:gd name="connsiteY540" fmla="*/ 106734 h 424357"/>
                <a:gd name="connsiteX541" fmla="*/ 41573 w 308065"/>
                <a:gd name="connsiteY541" fmla="*/ 104638 h 424357"/>
                <a:gd name="connsiteX542" fmla="*/ 41031 w 308065"/>
                <a:gd name="connsiteY542" fmla="*/ 102708 h 424357"/>
                <a:gd name="connsiteX543" fmla="*/ 39225 w 308065"/>
                <a:gd name="connsiteY543" fmla="*/ 100890 h 424357"/>
                <a:gd name="connsiteX544" fmla="*/ 39990 w 308065"/>
                <a:gd name="connsiteY544" fmla="*/ 99168 h 424357"/>
                <a:gd name="connsiteX545" fmla="*/ 41391 w 308065"/>
                <a:gd name="connsiteY545" fmla="*/ 97155 h 424357"/>
                <a:gd name="connsiteX546" fmla="*/ 41869 w 308065"/>
                <a:gd name="connsiteY546" fmla="*/ 96807 h 424357"/>
                <a:gd name="connsiteX547" fmla="*/ 42632 w 308065"/>
                <a:gd name="connsiteY547" fmla="*/ 97358 h 424357"/>
                <a:gd name="connsiteX548" fmla="*/ 44726 w 308065"/>
                <a:gd name="connsiteY548" fmla="*/ 101011 h 424357"/>
                <a:gd name="connsiteX549" fmla="*/ 48058 w 308065"/>
                <a:gd name="connsiteY549" fmla="*/ 103388 h 424357"/>
                <a:gd name="connsiteX550" fmla="*/ 51553 w 308065"/>
                <a:gd name="connsiteY550" fmla="*/ 107224 h 424357"/>
                <a:gd name="connsiteX551" fmla="*/ 52984 w 308065"/>
                <a:gd name="connsiteY551" fmla="*/ 109866 h 424357"/>
                <a:gd name="connsiteX552" fmla="*/ 54122 w 308065"/>
                <a:gd name="connsiteY552" fmla="*/ 110347 h 424357"/>
                <a:gd name="connsiteX553" fmla="*/ 55114 w 308065"/>
                <a:gd name="connsiteY553" fmla="*/ 111304 h 424357"/>
                <a:gd name="connsiteX554" fmla="*/ 54677 w 308065"/>
                <a:gd name="connsiteY554" fmla="*/ 112013 h 424357"/>
                <a:gd name="connsiteX555" fmla="*/ 53584 w 308065"/>
                <a:gd name="connsiteY555" fmla="*/ 112760 h 424357"/>
                <a:gd name="connsiteX556" fmla="*/ 53268 w 308065"/>
                <a:gd name="connsiteY556" fmla="*/ 114297 h 424357"/>
                <a:gd name="connsiteX557" fmla="*/ 53979 w 308065"/>
                <a:gd name="connsiteY557" fmla="*/ 115157 h 424357"/>
                <a:gd name="connsiteX558" fmla="*/ 54733 w 308065"/>
                <a:gd name="connsiteY558" fmla="*/ 115706 h 424357"/>
                <a:gd name="connsiteX559" fmla="*/ 56770 w 308065"/>
                <a:gd name="connsiteY559" fmla="*/ 115359 h 424357"/>
                <a:gd name="connsiteX560" fmla="*/ 57891 w 308065"/>
                <a:gd name="connsiteY560" fmla="*/ 113559 h 424357"/>
                <a:gd name="connsiteX561" fmla="*/ 57137 w 308065"/>
                <a:gd name="connsiteY561" fmla="*/ 105688 h 424357"/>
                <a:gd name="connsiteX562" fmla="*/ 55957 w 308065"/>
                <a:gd name="connsiteY562" fmla="*/ 101752 h 424357"/>
                <a:gd name="connsiteX563" fmla="*/ 54598 w 308065"/>
                <a:gd name="connsiteY563" fmla="*/ 100525 h 424357"/>
                <a:gd name="connsiteX564" fmla="*/ 53374 w 308065"/>
                <a:gd name="connsiteY564" fmla="*/ 98967 h 424357"/>
                <a:gd name="connsiteX565" fmla="*/ 54198 w 308065"/>
                <a:gd name="connsiteY565" fmla="*/ 97789 h 424357"/>
                <a:gd name="connsiteX566" fmla="*/ 56372 w 308065"/>
                <a:gd name="connsiteY566" fmla="*/ 97257 h 424357"/>
                <a:gd name="connsiteX567" fmla="*/ 59234 w 308065"/>
                <a:gd name="connsiteY567" fmla="*/ 95876 h 424357"/>
                <a:gd name="connsiteX568" fmla="*/ 69694 w 308065"/>
                <a:gd name="connsiteY568" fmla="*/ 88355 h 424357"/>
                <a:gd name="connsiteX569" fmla="*/ 73278 w 308065"/>
                <a:gd name="connsiteY569" fmla="*/ 81287 h 424357"/>
                <a:gd name="connsiteX570" fmla="*/ 76023 w 308065"/>
                <a:gd name="connsiteY570" fmla="*/ 78725 h 424357"/>
                <a:gd name="connsiteX571" fmla="*/ 79123 w 308065"/>
                <a:gd name="connsiteY571" fmla="*/ 77060 h 424357"/>
                <a:gd name="connsiteX572" fmla="*/ 82911 w 308065"/>
                <a:gd name="connsiteY572" fmla="*/ 77451 h 424357"/>
                <a:gd name="connsiteX573" fmla="*/ 85859 w 308065"/>
                <a:gd name="connsiteY573" fmla="*/ 76560 h 424357"/>
                <a:gd name="connsiteX574" fmla="*/ 86764 w 308065"/>
                <a:gd name="connsiteY574" fmla="*/ 74308 h 424357"/>
                <a:gd name="connsiteX575" fmla="*/ 85961 w 308065"/>
                <a:gd name="connsiteY575" fmla="*/ 71254 h 424357"/>
                <a:gd name="connsiteX576" fmla="*/ 84828 w 308065"/>
                <a:gd name="connsiteY576" fmla="*/ 69412 h 424357"/>
                <a:gd name="connsiteX577" fmla="*/ 85916 w 308065"/>
                <a:gd name="connsiteY577" fmla="*/ 66738 h 424357"/>
                <a:gd name="connsiteX578" fmla="*/ 87042 w 308065"/>
                <a:gd name="connsiteY578" fmla="*/ 62681 h 424357"/>
                <a:gd name="connsiteX579" fmla="*/ 86961 w 308065"/>
                <a:gd name="connsiteY579" fmla="*/ 59273 h 424357"/>
                <a:gd name="connsiteX580" fmla="*/ 88415 w 308065"/>
                <a:gd name="connsiteY580" fmla="*/ 57241 h 424357"/>
                <a:gd name="connsiteX581" fmla="*/ 87911 w 308065"/>
                <a:gd name="connsiteY581" fmla="*/ 56441 h 424357"/>
                <a:gd name="connsiteX582" fmla="*/ 85787 w 308065"/>
                <a:gd name="connsiteY582" fmla="*/ 58086 h 424357"/>
                <a:gd name="connsiteX583" fmla="*/ 84110 w 308065"/>
                <a:gd name="connsiteY583" fmla="*/ 58823 h 424357"/>
                <a:gd name="connsiteX584" fmla="*/ 85059 w 308065"/>
                <a:gd name="connsiteY584" fmla="*/ 57467 h 424357"/>
                <a:gd name="connsiteX585" fmla="*/ 88030 w 308065"/>
                <a:gd name="connsiteY585" fmla="*/ 54101 h 424357"/>
                <a:gd name="connsiteX586" fmla="*/ 89575 w 308065"/>
                <a:gd name="connsiteY586" fmla="*/ 48978 h 424357"/>
                <a:gd name="connsiteX587" fmla="*/ 90762 w 308065"/>
                <a:gd name="connsiteY587" fmla="*/ 46844 h 424357"/>
                <a:gd name="connsiteX588" fmla="*/ 94955 w 308065"/>
                <a:gd name="connsiteY588" fmla="*/ 43861 h 424357"/>
                <a:gd name="connsiteX589" fmla="*/ 95783 w 308065"/>
                <a:gd name="connsiteY589" fmla="*/ 42424 h 424357"/>
                <a:gd name="connsiteX590" fmla="*/ 98951 w 308065"/>
                <a:gd name="connsiteY590" fmla="*/ 40188 h 424357"/>
                <a:gd name="connsiteX591" fmla="*/ 104059 w 308065"/>
                <a:gd name="connsiteY591" fmla="*/ 35387 h 424357"/>
                <a:gd name="connsiteX592" fmla="*/ 106011 w 308065"/>
                <a:gd name="connsiteY592" fmla="*/ 34049 h 424357"/>
                <a:gd name="connsiteX593" fmla="*/ 115908 w 308065"/>
                <a:gd name="connsiteY593" fmla="*/ 37145 h 424357"/>
                <a:gd name="connsiteX594" fmla="*/ 119054 w 308065"/>
                <a:gd name="connsiteY594" fmla="*/ 36949 h 424357"/>
                <a:gd name="connsiteX595" fmla="*/ 118492 w 308065"/>
                <a:gd name="connsiteY595" fmla="*/ 37514 h 424357"/>
                <a:gd name="connsiteX596" fmla="*/ 117041 w 308065"/>
                <a:gd name="connsiteY596" fmla="*/ 37705 h 424357"/>
                <a:gd name="connsiteX597" fmla="*/ 114944 w 308065"/>
                <a:gd name="connsiteY597" fmla="*/ 38545 h 424357"/>
                <a:gd name="connsiteX598" fmla="*/ 114336 w 308065"/>
                <a:gd name="connsiteY598" fmla="*/ 40391 h 424357"/>
                <a:gd name="connsiteX599" fmla="*/ 115757 w 308065"/>
                <a:gd name="connsiteY599" fmla="*/ 42327 h 424357"/>
                <a:gd name="connsiteX600" fmla="*/ 117263 w 308065"/>
                <a:gd name="connsiteY600" fmla="*/ 42886 h 424357"/>
                <a:gd name="connsiteX601" fmla="*/ 118547 w 308065"/>
                <a:gd name="connsiteY601" fmla="*/ 41643 h 424357"/>
                <a:gd name="connsiteX602" fmla="*/ 119821 w 308065"/>
                <a:gd name="connsiteY602" fmla="*/ 38088 h 424357"/>
                <a:gd name="connsiteX603" fmla="*/ 121870 w 308065"/>
                <a:gd name="connsiteY603" fmla="*/ 34161 h 424357"/>
                <a:gd name="connsiteX604" fmla="*/ 122351 w 308065"/>
                <a:gd name="connsiteY604" fmla="*/ 30044 h 424357"/>
                <a:gd name="connsiteX605" fmla="*/ 123802 w 308065"/>
                <a:gd name="connsiteY605" fmla="*/ 28628 h 424357"/>
                <a:gd name="connsiteX606" fmla="*/ 125927 w 308065"/>
                <a:gd name="connsiteY606" fmla="*/ 28121 h 424357"/>
                <a:gd name="connsiteX607" fmla="*/ 129719 w 308065"/>
                <a:gd name="connsiteY607" fmla="*/ 28935 h 424357"/>
                <a:gd name="connsiteX608" fmla="*/ 132607 w 308065"/>
                <a:gd name="connsiteY608" fmla="*/ 29789 h 424357"/>
                <a:gd name="connsiteX609" fmla="*/ 135619 w 308065"/>
                <a:gd name="connsiteY609" fmla="*/ 29896 h 424357"/>
                <a:gd name="connsiteX610" fmla="*/ 144838 w 308065"/>
                <a:gd name="connsiteY610" fmla="*/ 29273 h 424357"/>
                <a:gd name="connsiteX611" fmla="*/ 159837 w 308065"/>
                <a:gd name="connsiteY611" fmla="*/ 18576 h 424357"/>
                <a:gd name="connsiteX612" fmla="*/ 166804 w 308065"/>
                <a:gd name="connsiteY612" fmla="*/ 16276 h 424357"/>
                <a:gd name="connsiteX613" fmla="*/ 171166 w 308065"/>
                <a:gd name="connsiteY613" fmla="*/ 14025 h 424357"/>
                <a:gd name="connsiteX614" fmla="*/ 173949 w 308065"/>
                <a:gd name="connsiteY614" fmla="*/ 9628 h 424357"/>
                <a:gd name="connsiteX615" fmla="*/ 174697 w 308065"/>
                <a:gd name="connsiteY615" fmla="*/ 6327 h 424357"/>
                <a:gd name="connsiteX616" fmla="*/ 176743 w 308065"/>
                <a:gd name="connsiteY616" fmla="*/ 5044 h 424357"/>
                <a:gd name="connsiteX617" fmla="*/ 178898 w 308065"/>
                <a:gd name="connsiteY617" fmla="*/ 5047 h 424357"/>
                <a:gd name="connsiteX618" fmla="*/ 179883 w 308065"/>
                <a:gd name="connsiteY618" fmla="*/ 4243 h 424357"/>
                <a:gd name="connsiteX619" fmla="*/ 180190 w 308065"/>
                <a:gd name="connsiteY619" fmla="*/ 3226 h 424357"/>
                <a:gd name="connsiteX620" fmla="*/ 185378 w 308065"/>
                <a:gd name="connsiteY620" fmla="*/ 372 h 424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</a:cxnLst>
              <a:rect l="l" t="t" r="r" b="b"/>
              <a:pathLst>
                <a:path w="308065" h="424357">
                  <a:moveTo>
                    <a:pt x="21477" y="249770"/>
                  </a:moveTo>
                  <a:lnTo>
                    <a:pt x="22511" y="250079"/>
                  </a:lnTo>
                  <a:lnTo>
                    <a:pt x="22980" y="250854"/>
                  </a:lnTo>
                  <a:lnTo>
                    <a:pt x="23118" y="252424"/>
                  </a:lnTo>
                  <a:lnTo>
                    <a:pt x="22431" y="252983"/>
                  </a:lnTo>
                  <a:lnTo>
                    <a:pt x="21120" y="251979"/>
                  </a:lnTo>
                  <a:lnTo>
                    <a:pt x="20673" y="250713"/>
                  </a:lnTo>
                  <a:close/>
                  <a:moveTo>
                    <a:pt x="188347" y="0"/>
                  </a:moveTo>
                  <a:lnTo>
                    <a:pt x="190970" y="54"/>
                  </a:lnTo>
                  <a:lnTo>
                    <a:pt x="196849" y="2551"/>
                  </a:lnTo>
                  <a:lnTo>
                    <a:pt x="199565" y="6954"/>
                  </a:lnTo>
                  <a:lnTo>
                    <a:pt x="200014" y="9985"/>
                  </a:lnTo>
                  <a:lnTo>
                    <a:pt x="196290" y="13277"/>
                  </a:lnTo>
                  <a:lnTo>
                    <a:pt x="195389" y="14728"/>
                  </a:lnTo>
                  <a:lnTo>
                    <a:pt x="194480" y="15041"/>
                  </a:lnTo>
                  <a:lnTo>
                    <a:pt x="193348" y="15714"/>
                  </a:lnTo>
                  <a:lnTo>
                    <a:pt x="189903" y="16985"/>
                  </a:lnTo>
                  <a:lnTo>
                    <a:pt x="185253" y="18199"/>
                  </a:lnTo>
                  <a:lnTo>
                    <a:pt x="179201" y="19752"/>
                  </a:lnTo>
                  <a:lnTo>
                    <a:pt x="177828" y="21408"/>
                  </a:lnTo>
                  <a:lnTo>
                    <a:pt x="171838" y="31823"/>
                  </a:lnTo>
                  <a:lnTo>
                    <a:pt x="166828" y="33932"/>
                  </a:lnTo>
                  <a:lnTo>
                    <a:pt x="165004" y="35481"/>
                  </a:lnTo>
                  <a:lnTo>
                    <a:pt x="163629" y="37451"/>
                  </a:lnTo>
                  <a:lnTo>
                    <a:pt x="160642" y="41076"/>
                  </a:lnTo>
                  <a:lnTo>
                    <a:pt x="159398" y="43861"/>
                  </a:lnTo>
                  <a:lnTo>
                    <a:pt x="156096" y="49910"/>
                  </a:lnTo>
                  <a:lnTo>
                    <a:pt x="154295" y="57482"/>
                  </a:lnTo>
                  <a:lnTo>
                    <a:pt x="153610" y="61734"/>
                  </a:lnTo>
                  <a:lnTo>
                    <a:pt x="152617" y="67893"/>
                  </a:lnTo>
                  <a:lnTo>
                    <a:pt x="151158" y="70988"/>
                  </a:lnTo>
                  <a:lnTo>
                    <a:pt x="149201" y="73895"/>
                  </a:lnTo>
                  <a:lnTo>
                    <a:pt x="147097" y="76735"/>
                  </a:lnTo>
                  <a:lnTo>
                    <a:pt x="145286" y="79844"/>
                  </a:lnTo>
                  <a:lnTo>
                    <a:pt x="143747" y="82277"/>
                  </a:lnTo>
                  <a:lnTo>
                    <a:pt x="143497" y="83114"/>
                  </a:lnTo>
                  <a:lnTo>
                    <a:pt x="144245" y="83784"/>
                  </a:lnTo>
                  <a:lnTo>
                    <a:pt x="147886" y="83114"/>
                  </a:lnTo>
                  <a:lnTo>
                    <a:pt x="149317" y="82382"/>
                  </a:lnTo>
                  <a:lnTo>
                    <a:pt x="151303" y="81441"/>
                  </a:lnTo>
                  <a:lnTo>
                    <a:pt x="152548" y="81942"/>
                  </a:lnTo>
                  <a:lnTo>
                    <a:pt x="153794" y="84622"/>
                  </a:lnTo>
                  <a:lnTo>
                    <a:pt x="155206" y="84957"/>
                  </a:lnTo>
                  <a:lnTo>
                    <a:pt x="156533" y="84622"/>
                  </a:lnTo>
                  <a:lnTo>
                    <a:pt x="157946" y="85291"/>
                  </a:lnTo>
                  <a:lnTo>
                    <a:pt x="159743" y="91953"/>
                  </a:lnTo>
                  <a:lnTo>
                    <a:pt x="161267" y="97592"/>
                  </a:lnTo>
                  <a:lnTo>
                    <a:pt x="164809" y="101113"/>
                  </a:lnTo>
                  <a:lnTo>
                    <a:pt x="167577" y="103863"/>
                  </a:lnTo>
                  <a:lnTo>
                    <a:pt x="168242" y="106286"/>
                  </a:lnTo>
                  <a:lnTo>
                    <a:pt x="168906" y="109714"/>
                  </a:lnTo>
                  <a:lnTo>
                    <a:pt x="169071" y="111386"/>
                  </a:lnTo>
                  <a:lnTo>
                    <a:pt x="168208" y="112396"/>
                  </a:lnTo>
                  <a:lnTo>
                    <a:pt x="166829" y="114477"/>
                  </a:lnTo>
                  <a:lnTo>
                    <a:pt x="166487" y="118464"/>
                  </a:lnTo>
                  <a:lnTo>
                    <a:pt x="166250" y="119788"/>
                  </a:lnTo>
                  <a:lnTo>
                    <a:pt x="165995" y="123479"/>
                  </a:lnTo>
                  <a:lnTo>
                    <a:pt x="166172" y="125747"/>
                  </a:lnTo>
                  <a:lnTo>
                    <a:pt x="166907" y="127516"/>
                  </a:lnTo>
                  <a:lnTo>
                    <a:pt x="168133" y="128530"/>
                  </a:lnTo>
                  <a:lnTo>
                    <a:pt x="170625" y="129054"/>
                  </a:lnTo>
                  <a:lnTo>
                    <a:pt x="172873" y="129673"/>
                  </a:lnTo>
                  <a:lnTo>
                    <a:pt x="174166" y="132747"/>
                  </a:lnTo>
                  <a:lnTo>
                    <a:pt x="176003" y="136641"/>
                  </a:lnTo>
                  <a:lnTo>
                    <a:pt x="177971" y="138278"/>
                  </a:lnTo>
                  <a:lnTo>
                    <a:pt x="180861" y="139355"/>
                  </a:lnTo>
                  <a:lnTo>
                    <a:pt x="182925" y="138961"/>
                  </a:lnTo>
                  <a:lnTo>
                    <a:pt x="187753" y="138270"/>
                  </a:lnTo>
                  <a:lnTo>
                    <a:pt x="191905" y="138437"/>
                  </a:lnTo>
                  <a:lnTo>
                    <a:pt x="197973" y="139486"/>
                  </a:lnTo>
                  <a:lnTo>
                    <a:pt x="200235" y="139447"/>
                  </a:lnTo>
                  <a:lnTo>
                    <a:pt x="203159" y="139251"/>
                  </a:lnTo>
                  <a:lnTo>
                    <a:pt x="208296" y="137133"/>
                  </a:lnTo>
                  <a:lnTo>
                    <a:pt x="210161" y="136815"/>
                  </a:lnTo>
                  <a:lnTo>
                    <a:pt x="212242" y="137000"/>
                  </a:lnTo>
                  <a:lnTo>
                    <a:pt x="215273" y="138077"/>
                  </a:lnTo>
                  <a:lnTo>
                    <a:pt x="216918" y="138927"/>
                  </a:lnTo>
                  <a:lnTo>
                    <a:pt x="219027" y="139807"/>
                  </a:lnTo>
                  <a:lnTo>
                    <a:pt x="222105" y="140435"/>
                  </a:lnTo>
                  <a:lnTo>
                    <a:pt x="224082" y="140331"/>
                  </a:lnTo>
                  <a:lnTo>
                    <a:pt x="225576" y="140291"/>
                  </a:lnTo>
                  <a:lnTo>
                    <a:pt x="226443" y="140690"/>
                  </a:lnTo>
                  <a:lnTo>
                    <a:pt x="231282" y="146745"/>
                  </a:lnTo>
                  <a:lnTo>
                    <a:pt x="235471" y="151986"/>
                  </a:lnTo>
                  <a:lnTo>
                    <a:pt x="239127" y="156389"/>
                  </a:lnTo>
                  <a:lnTo>
                    <a:pt x="243070" y="161137"/>
                  </a:lnTo>
                  <a:lnTo>
                    <a:pt x="243378" y="161416"/>
                  </a:lnTo>
                  <a:lnTo>
                    <a:pt x="245155" y="160805"/>
                  </a:lnTo>
                  <a:lnTo>
                    <a:pt x="246327" y="161068"/>
                  </a:lnTo>
                  <a:lnTo>
                    <a:pt x="247409" y="162034"/>
                  </a:lnTo>
                  <a:lnTo>
                    <a:pt x="249276" y="161636"/>
                  </a:lnTo>
                  <a:lnTo>
                    <a:pt x="251927" y="159879"/>
                  </a:lnTo>
                  <a:lnTo>
                    <a:pt x="255801" y="159527"/>
                  </a:lnTo>
                  <a:lnTo>
                    <a:pt x="260890" y="160581"/>
                  </a:lnTo>
                  <a:lnTo>
                    <a:pt x="267603" y="160587"/>
                  </a:lnTo>
                  <a:lnTo>
                    <a:pt x="275937" y="159544"/>
                  </a:lnTo>
                  <a:lnTo>
                    <a:pt x="281115" y="158414"/>
                  </a:lnTo>
                  <a:lnTo>
                    <a:pt x="283135" y="157192"/>
                  </a:lnTo>
                  <a:lnTo>
                    <a:pt x="286484" y="157319"/>
                  </a:lnTo>
                  <a:lnTo>
                    <a:pt x="290517" y="158417"/>
                  </a:lnTo>
                  <a:lnTo>
                    <a:pt x="292700" y="159982"/>
                  </a:lnTo>
                  <a:lnTo>
                    <a:pt x="292964" y="161522"/>
                  </a:lnTo>
                  <a:lnTo>
                    <a:pt x="293782" y="163921"/>
                  </a:lnTo>
                  <a:lnTo>
                    <a:pt x="292905" y="166352"/>
                  </a:lnTo>
                  <a:lnTo>
                    <a:pt x="290337" y="168817"/>
                  </a:lnTo>
                  <a:lnTo>
                    <a:pt x="288913" y="171964"/>
                  </a:lnTo>
                  <a:lnTo>
                    <a:pt x="288635" y="175794"/>
                  </a:lnTo>
                  <a:lnTo>
                    <a:pt x="287308" y="178625"/>
                  </a:lnTo>
                  <a:lnTo>
                    <a:pt x="284930" y="180456"/>
                  </a:lnTo>
                  <a:lnTo>
                    <a:pt x="284005" y="183127"/>
                  </a:lnTo>
                  <a:lnTo>
                    <a:pt x="284530" y="186633"/>
                  </a:lnTo>
                  <a:lnTo>
                    <a:pt x="284274" y="191761"/>
                  </a:lnTo>
                  <a:lnTo>
                    <a:pt x="283235" y="198504"/>
                  </a:lnTo>
                  <a:lnTo>
                    <a:pt x="283235" y="202534"/>
                  </a:lnTo>
                  <a:lnTo>
                    <a:pt x="284274" y="203850"/>
                  </a:lnTo>
                  <a:lnTo>
                    <a:pt x="284752" y="205739"/>
                  </a:lnTo>
                  <a:lnTo>
                    <a:pt x="284671" y="208198"/>
                  </a:lnTo>
                  <a:lnTo>
                    <a:pt x="285062" y="210374"/>
                  </a:lnTo>
                  <a:lnTo>
                    <a:pt x="286352" y="213211"/>
                  </a:lnTo>
                  <a:lnTo>
                    <a:pt x="288145" y="218856"/>
                  </a:lnTo>
                  <a:lnTo>
                    <a:pt x="289643" y="221280"/>
                  </a:lnTo>
                  <a:lnTo>
                    <a:pt x="290947" y="222168"/>
                  </a:lnTo>
                  <a:lnTo>
                    <a:pt x="292277" y="223253"/>
                  </a:lnTo>
                  <a:lnTo>
                    <a:pt x="296105" y="229024"/>
                  </a:lnTo>
                  <a:lnTo>
                    <a:pt x="297033" y="230241"/>
                  </a:lnTo>
                  <a:lnTo>
                    <a:pt x="296753" y="231304"/>
                  </a:lnTo>
                  <a:lnTo>
                    <a:pt x="296395" y="232099"/>
                  </a:lnTo>
                  <a:lnTo>
                    <a:pt x="295955" y="232606"/>
                  </a:lnTo>
                  <a:lnTo>
                    <a:pt x="291867" y="236043"/>
                  </a:lnTo>
                  <a:lnTo>
                    <a:pt x="283755" y="243515"/>
                  </a:lnTo>
                  <a:lnTo>
                    <a:pt x="283084" y="244467"/>
                  </a:lnTo>
                  <a:lnTo>
                    <a:pt x="283138" y="246033"/>
                  </a:lnTo>
                  <a:lnTo>
                    <a:pt x="285486" y="245026"/>
                  </a:lnTo>
                  <a:lnTo>
                    <a:pt x="288003" y="245866"/>
                  </a:lnTo>
                  <a:lnTo>
                    <a:pt x="289234" y="246033"/>
                  </a:lnTo>
                  <a:lnTo>
                    <a:pt x="289792" y="246649"/>
                  </a:lnTo>
                  <a:lnTo>
                    <a:pt x="290519" y="248664"/>
                  </a:lnTo>
                  <a:lnTo>
                    <a:pt x="291357" y="248999"/>
                  </a:lnTo>
                  <a:lnTo>
                    <a:pt x="292588" y="249838"/>
                  </a:lnTo>
                  <a:lnTo>
                    <a:pt x="294992" y="251963"/>
                  </a:lnTo>
                  <a:lnTo>
                    <a:pt x="297004" y="254201"/>
                  </a:lnTo>
                  <a:lnTo>
                    <a:pt x="298513" y="255273"/>
                  </a:lnTo>
                  <a:lnTo>
                    <a:pt x="299576" y="256270"/>
                  </a:lnTo>
                  <a:lnTo>
                    <a:pt x="299911" y="257726"/>
                  </a:lnTo>
                  <a:lnTo>
                    <a:pt x="299464" y="259179"/>
                  </a:lnTo>
                  <a:lnTo>
                    <a:pt x="300725" y="262551"/>
                  </a:lnTo>
                  <a:lnTo>
                    <a:pt x="301588" y="263599"/>
                  </a:lnTo>
                  <a:lnTo>
                    <a:pt x="302036" y="264884"/>
                  </a:lnTo>
                  <a:lnTo>
                    <a:pt x="301588" y="266171"/>
                  </a:lnTo>
                  <a:lnTo>
                    <a:pt x="302650" y="267681"/>
                  </a:lnTo>
                  <a:lnTo>
                    <a:pt x="303808" y="270652"/>
                  </a:lnTo>
                  <a:lnTo>
                    <a:pt x="305222" y="274280"/>
                  </a:lnTo>
                  <a:lnTo>
                    <a:pt x="305390" y="276294"/>
                  </a:lnTo>
                  <a:lnTo>
                    <a:pt x="305978" y="277222"/>
                  </a:lnTo>
                  <a:lnTo>
                    <a:pt x="306668" y="279914"/>
                  </a:lnTo>
                  <a:lnTo>
                    <a:pt x="307851" y="282445"/>
                  </a:lnTo>
                  <a:lnTo>
                    <a:pt x="307571" y="284179"/>
                  </a:lnTo>
                  <a:lnTo>
                    <a:pt x="308065" y="285874"/>
                  </a:lnTo>
                  <a:lnTo>
                    <a:pt x="303267" y="287007"/>
                  </a:lnTo>
                  <a:lnTo>
                    <a:pt x="302835" y="286828"/>
                  </a:lnTo>
                  <a:lnTo>
                    <a:pt x="302547" y="286204"/>
                  </a:lnTo>
                  <a:lnTo>
                    <a:pt x="302684" y="281370"/>
                  </a:lnTo>
                  <a:lnTo>
                    <a:pt x="302637" y="275919"/>
                  </a:lnTo>
                  <a:lnTo>
                    <a:pt x="301898" y="273685"/>
                  </a:lnTo>
                  <a:lnTo>
                    <a:pt x="299703" y="270104"/>
                  </a:lnTo>
                  <a:lnTo>
                    <a:pt x="296792" y="265354"/>
                  </a:lnTo>
                  <a:lnTo>
                    <a:pt x="295997" y="263991"/>
                  </a:lnTo>
                  <a:lnTo>
                    <a:pt x="294768" y="263208"/>
                  </a:lnTo>
                  <a:lnTo>
                    <a:pt x="293314" y="263095"/>
                  </a:lnTo>
                  <a:lnTo>
                    <a:pt x="292252" y="263430"/>
                  </a:lnTo>
                  <a:lnTo>
                    <a:pt x="290822" y="264317"/>
                  </a:lnTo>
                  <a:lnTo>
                    <a:pt x="289473" y="265279"/>
                  </a:lnTo>
                  <a:lnTo>
                    <a:pt x="286871" y="268143"/>
                  </a:lnTo>
                  <a:lnTo>
                    <a:pt x="284253" y="271492"/>
                  </a:lnTo>
                  <a:lnTo>
                    <a:pt x="282721" y="272240"/>
                  </a:lnTo>
                  <a:lnTo>
                    <a:pt x="281183" y="272548"/>
                  </a:lnTo>
                  <a:lnTo>
                    <a:pt x="279825" y="272444"/>
                  </a:lnTo>
                  <a:lnTo>
                    <a:pt x="278732" y="271544"/>
                  </a:lnTo>
                  <a:lnTo>
                    <a:pt x="277612" y="269716"/>
                  </a:lnTo>
                  <a:lnTo>
                    <a:pt x="276262" y="267290"/>
                  </a:lnTo>
                  <a:lnTo>
                    <a:pt x="274651" y="266496"/>
                  </a:lnTo>
                  <a:lnTo>
                    <a:pt x="274028" y="267243"/>
                  </a:lnTo>
                  <a:lnTo>
                    <a:pt x="273494" y="268669"/>
                  </a:lnTo>
                  <a:lnTo>
                    <a:pt x="273075" y="270086"/>
                  </a:lnTo>
                  <a:lnTo>
                    <a:pt x="274157" y="271886"/>
                  </a:lnTo>
                  <a:lnTo>
                    <a:pt x="275088" y="273275"/>
                  </a:lnTo>
                  <a:lnTo>
                    <a:pt x="273492" y="273227"/>
                  </a:lnTo>
                  <a:lnTo>
                    <a:pt x="268321" y="273230"/>
                  </a:lnTo>
                  <a:lnTo>
                    <a:pt x="262361" y="273232"/>
                  </a:lnTo>
                  <a:lnTo>
                    <a:pt x="256410" y="273235"/>
                  </a:lnTo>
                  <a:lnTo>
                    <a:pt x="251058" y="273237"/>
                  </a:lnTo>
                  <a:lnTo>
                    <a:pt x="246102" y="273238"/>
                  </a:lnTo>
                  <a:lnTo>
                    <a:pt x="244210" y="273123"/>
                  </a:lnTo>
                  <a:lnTo>
                    <a:pt x="242287" y="272308"/>
                  </a:lnTo>
                  <a:lnTo>
                    <a:pt x="240442" y="271919"/>
                  </a:lnTo>
                  <a:lnTo>
                    <a:pt x="239471" y="271982"/>
                  </a:lnTo>
                  <a:lnTo>
                    <a:pt x="237727" y="272776"/>
                  </a:lnTo>
                  <a:lnTo>
                    <a:pt x="235455" y="272893"/>
                  </a:lnTo>
                  <a:lnTo>
                    <a:pt x="233925" y="273646"/>
                  </a:lnTo>
                  <a:lnTo>
                    <a:pt x="232691" y="273556"/>
                  </a:lnTo>
                  <a:lnTo>
                    <a:pt x="232669" y="277737"/>
                  </a:lnTo>
                  <a:lnTo>
                    <a:pt x="232636" y="283698"/>
                  </a:lnTo>
                  <a:lnTo>
                    <a:pt x="232602" y="290020"/>
                  </a:lnTo>
                  <a:lnTo>
                    <a:pt x="233971" y="289541"/>
                  </a:lnTo>
                  <a:lnTo>
                    <a:pt x="235158" y="289587"/>
                  </a:lnTo>
                  <a:lnTo>
                    <a:pt x="236028" y="290032"/>
                  </a:lnTo>
                  <a:lnTo>
                    <a:pt x="238465" y="289673"/>
                  </a:lnTo>
                  <a:lnTo>
                    <a:pt x="239817" y="289862"/>
                  </a:lnTo>
                  <a:lnTo>
                    <a:pt x="241096" y="290021"/>
                  </a:lnTo>
                  <a:lnTo>
                    <a:pt x="242284" y="290044"/>
                  </a:lnTo>
                  <a:lnTo>
                    <a:pt x="243014" y="290545"/>
                  </a:lnTo>
                  <a:lnTo>
                    <a:pt x="243996" y="290455"/>
                  </a:lnTo>
                  <a:lnTo>
                    <a:pt x="245046" y="289907"/>
                  </a:lnTo>
                  <a:lnTo>
                    <a:pt x="246303" y="290250"/>
                  </a:lnTo>
                  <a:lnTo>
                    <a:pt x="247649" y="291139"/>
                  </a:lnTo>
                  <a:lnTo>
                    <a:pt x="248517" y="292465"/>
                  </a:lnTo>
                  <a:lnTo>
                    <a:pt x="249293" y="294109"/>
                  </a:lnTo>
                  <a:lnTo>
                    <a:pt x="250070" y="294977"/>
                  </a:lnTo>
                  <a:lnTo>
                    <a:pt x="250024" y="296552"/>
                  </a:lnTo>
                  <a:lnTo>
                    <a:pt x="250000" y="297786"/>
                  </a:lnTo>
                  <a:lnTo>
                    <a:pt x="249727" y="298812"/>
                  </a:lnTo>
                  <a:lnTo>
                    <a:pt x="250070" y="299475"/>
                  </a:lnTo>
                  <a:lnTo>
                    <a:pt x="250321" y="300182"/>
                  </a:lnTo>
                  <a:lnTo>
                    <a:pt x="250252" y="300594"/>
                  </a:lnTo>
                  <a:lnTo>
                    <a:pt x="249795" y="300776"/>
                  </a:lnTo>
                  <a:lnTo>
                    <a:pt x="248813" y="300914"/>
                  </a:lnTo>
                  <a:lnTo>
                    <a:pt x="247763" y="301028"/>
                  </a:lnTo>
                  <a:lnTo>
                    <a:pt x="247032" y="300982"/>
                  </a:lnTo>
                  <a:lnTo>
                    <a:pt x="246462" y="300343"/>
                  </a:lnTo>
                  <a:lnTo>
                    <a:pt x="245913" y="300274"/>
                  </a:lnTo>
                  <a:lnTo>
                    <a:pt x="245115" y="300365"/>
                  </a:lnTo>
                  <a:lnTo>
                    <a:pt x="244270" y="299977"/>
                  </a:lnTo>
                  <a:lnTo>
                    <a:pt x="243539" y="299178"/>
                  </a:lnTo>
                  <a:lnTo>
                    <a:pt x="242238" y="298379"/>
                  </a:lnTo>
                  <a:lnTo>
                    <a:pt x="240844" y="298721"/>
                  </a:lnTo>
                  <a:lnTo>
                    <a:pt x="239887" y="299132"/>
                  </a:lnTo>
                  <a:lnTo>
                    <a:pt x="238903" y="299635"/>
                  </a:lnTo>
                  <a:lnTo>
                    <a:pt x="238013" y="300159"/>
                  </a:lnTo>
                  <a:lnTo>
                    <a:pt x="237123" y="300023"/>
                  </a:lnTo>
                  <a:lnTo>
                    <a:pt x="235980" y="300411"/>
                  </a:lnTo>
                  <a:lnTo>
                    <a:pt x="235020" y="301005"/>
                  </a:lnTo>
                  <a:lnTo>
                    <a:pt x="233743" y="301484"/>
                  </a:lnTo>
                  <a:lnTo>
                    <a:pt x="232350" y="301711"/>
                  </a:lnTo>
                  <a:lnTo>
                    <a:pt x="230752" y="301941"/>
                  </a:lnTo>
                  <a:lnTo>
                    <a:pt x="229221" y="302032"/>
                  </a:lnTo>
                  <a:lnTo>
                    <a:pt x="227485" y="302216"/>
                  </a:lnTo>
                  <a:lnTo>
                    <a:pt x="227384" y="305543"/>
                  </a:lnTo>
                  <a:lnTo>
                    <a:pt x="227186" y="312085"/>
                  </a:lnTo>
                  <a:lnTo>
                    <a:pt x="227054" y="316416"/>
                  </a:lnTo>
                  <a:lnTo>
                    <a:pt x="227064" y="320408"/>
                  </a:lnTo>
                  <a:lnTo>
                    <a:pt x="227735" y="321862"/>
                  </a:lnTo>
                  <a:lnTo>
                    <a:pt x="230811" y="324938"/>
                  </a:lnTo>
                  <a:lnTo>
                    <a:pt x="233215" y="326557"/>
                  </a:lnTo>
                  <a:lnTo>
                    <a:pt x="235255" y="328362"/>
                  </a:lnTo>
                  <a:lnTo>
                    <a:pt x="237284" y="329120"/>
                  </a:lnTo>
                  <a:lnTo>
                    <a:pt x="238134" y="329800"/>
                  </a:lnTo>
                  <a:lnTo>
                    <a:pt x="238693" y="330917"/>
                  </a:lnTo>
                  <a:lnTo>
                    <a:pt x="238973" y="332091"/>
                  </a:lnTo>
                  <a:lnTo>
                    <a:pt x="239197" y="333099"/>
                  </a:lnTo>
                  <a:lnTo>
                    <a:pt x="238973" y="334161"/>
                  </a:lnTo>
                  <a:lnTo>
                    <a:pt x="238470" y="335166"/>
                  </a:lnTo>
                  <a:lnTo>
                    <a:pt x="238693" y="336229"/>
                  </a:lnTo>
                  <a:lnTo>
                    <a:pt x="239420" y="337068"/>
                  </a:lnTo>
                  <a:lnTo>
                    <a:pt x="239644" y="338131"/>
                  </a:lnTo>
                  <a:lnTo>
                    <a:pt x="240146" y="339136"/>
                  </a:lnTo>
                  <a:lnTo>
                    <a:pt x="240426" y="340144"/>
                  </a:lnTo>
                  <a:lnTo>
                    <a:pt x="241042" y="340869"/>
                  </a:lnTo>
                  <a:lnTo>
                    <a:pt x="241824" y="341375"/>
                  </a:lnTo>
                  <a:lnTo>
                    <a:pt x="242831" y="342212"/>
                  </a:lnTo>
                  <a:lnTo>
                    <a:pt x="242942" y="342994"/>
                  </a:lnTo>
                  <a:lnTo>
                    <a:pt x="242831" y="343891"/>
                  </a:lnTo>
                  <a:lnTo>
                    <a:pt x="242820" y="344567"/>
                  </a:lnTo>
                  <a:lnTo>
                    <a:pt x="243777" y="346105"/>
                  </a:lnTo>
                  <a:lnTo>
                    <a:pt x="244060" y="347188"/>
                  </a:lnTo>
                  <a:lnTo>
                    <a:pt x="243613" y="348475"/>
                  </a:lnTo>
                  <a:lnTo>
                    <a:pt x="243181" y="352938"/>
                  </a:lnTo>
                  <a:lnTo>
                    <a:pt x="242073" y="358017"/>
                  </a:lnTo>
                  <a:lnTo>
                    <a:pt x="241367" y="361896"/>
                  </a:lnTo>
                  <a:lnTo>
                    <a:pt x="240216" y="368221"/>
                  </a:lnTo>
                  <a:lnTo>
                    <a:pt x="238876" y="375578"/>
                  </a:lnTo>
                  <a:lnTo>
                    <a:pt x="237244" y="384545"/>
                  </a:lnTo>
                  <a:lnTo>
                    <a:pt x="235633" y="393401"/>
                  </a:lnTo>
                  <a:lnTo>
                    <a:pt x="234072" y="401978"/>
                  </a:lnTo>
                  <a:lnTo>
                    <a:pt x="232661" y="409728"/>
                  </a:lnTo>
                  <a:lnTo>
                    <a:pt x="231108" y="418278"/>
                  </a:lnTo>
                  <a:lnTo>
                    <a:pt x="230166" y="423459"/>
                  </a:lnTo>
                  <a:lnTo>
                    <a:pt x="229717" y="424357"/>
                  </a:lnTo>
                  <a:lnTo>
                    <a:pt x="228416" y="422480"/>
                  </a:lnTo>
                  <a:lnTo>
                    <a:pt x="226450" y="420706"/>
                  </a:lnTo>
                  <a:lnTo>
                    <a:pt x="224605" y="419639"/>
                  </a:lnTo>
                  <a:lnTo>
                    <a:pt x="223821" y="418242"/>
                  </a:lnTo>
                  <a:lnTo>
                    <a:pt x="222760" y="415386"/>
                  </a:lnTo>
                  <a:lnTo>
                    <a:pt x="221285" y="414409"/>
                  </a:lnTo>
                  <a:lnTo>
                    <a:pt x="220244" y="413651"/>
                  </a:lnTo>
                  <a:lnTo>
                    <a:pt x="219237" y="413763"/>
                  </a:lnTo>
                  <a:lnTo>
                    <a:pt x="218175" y="414546"/>
                  </a:lnTo>
                  <a:lnTo>
                    <a:pt x="216533" y="415047"/>
                  </a:lnTo>
                  <a:lnTo>
                    <a:pt x="215422" y="414972"/>
                  </a:lnTo>
                  <a:lnTo>
                    <a:pt x="210946" y="413006"/>
                  </a:lnTo>
                  <a:lnTo>
                    <a:pt x="210213" y="412818"/>
                  </a:lnTo>
                  <a:lnTo>
                    <a:pt x="213089" y="408325"/>
                  </a:lnTo>
                  <a:lnTo>
                    <a:pt x="218228" y="400295"/>
                  </a:lnTo>
                  <a:lnTo>
                    <a:pt x="221496" y="395194"/>
                  </a:lnTo>
                  <a:lnTo>
                    <a:pt x="225123" y="389529"/>
                  </a:lnTo>
                  <a:lnTo>
                    <a:pt x="226975" y="386639"/>
                  </a:lnTo>
                  <a:lnTo>
                    <a:pt x="227218" y="386146"/>
                  </a:lnTo>
                  <a:lnTo>
                    <a:pt x="227211" y="385408"/>
                  </a:lnTo>
                  <a:lnTo>
                    <a:pt x="226422" y="384305"/>
                  </a:lnTo>
                  <a:lnTo>
                    <a:pt x="224675" y="383839"/>
                  </a:lnTo>
                  <a:lnTo>
                    <a:pt x="222654" y="382994"/>
                  </a:lnTo>
                  <a:lnTo>
                    <a:pt x="221381" y="381623"/>
                  </a:lnTo>
                  <a:lnTo>
                    <a:pt x="219619" y="381034"/>
                  </a:lnTo>
                  <a:lnTo>
                    <a:pt x="218248" y="380056"/>
                  </a:lnTo>
                  <a:lnTo>
                    <a:pt x="215749" y="379102"/>
                  </a:lnTo>
                  <a:lnTo>
                    <a:pt x="214250" y="378217"/>
                  </a:lnTo>
                  <a:lnTo>
                    <a:pt x="212422" y="377900"/>
                  </a:lnTo>
                  <a:lnTo>
                    <a:pt x="210967" y="376282"/>
                  </a:lnTo>
                  <a:lnTo>
                    <a:pt x="205663" y="373150"/>
                  </a:lnTo>
                  <a:lnTo>
                    <a:pt x="204294" y="372853"/>
                  </a:lnTo>
                  <a:lnTo>
                    <a:pt x="202804" y="373334"/>
                  </a:lnTo>
                  <a:lnTo>
                    <a:pt x="200621" y="373832"/>
                  </a:lnTo>
                  <a:lnTo>
                    <a:pt x="198517" y="375548"/>
                  </a:lnTo>
                  <a:lnTo>
                    <a:pt x="195887" y="376101"/>
                  </a:lnTo>
                  <a:lnTo>
                    <a:pt x="193430" y="376081"/>
                  </a:lnTo>
                  <a:lnTo>
                    <a:pt x="192150" y="375057"/>
                  </a:lnTo>
                  <a:lnTo>
                    <a:pt x="190917" y="374689"/>
                  </a:lnTo>
                  <a:lnTo>
                    <a:pt x="189310" y="373295"/>
                  </a:lnTo>
                  <a:lnTo>
                    <a:pt x="186469" y="372226"/>
                  </a:lnTo>
                  <a:lnTo>
                    <a:pt x="184414" y="371481"/>
                  </a:lnTo>
                  <a:lnTo>
                    <a:pt x="183142" y="371825"/>
                  </a:lnTo>
                  <a:lnTo>
                    <a:pt x="181505" y="373383"/>
                  </a:lnTo>
                  <a:lnTo>
                    <a:pt x="179852" y="374929"/>
                  </a:lnTo>
                  <a:lnTo>
                    <a:pt x="178539" y="375890"/>
                  </a:lnTo>
                  <a:lnTo>
                    <a:pt x="176775" y="375841"/>
                  </a:lnTo>
                  <a:lnTo>
                    <a:pt x="174671" y="377264"/>
                  </a:lnTo>
                  <a:lnTo>
                    <a:pt x="172600" y="377766"/>
                  </a:lnTo>
                  <a:lnTo>
                    <a:pt x="170514" y="377988"/>
                  </a:lnTo>
                  <a:lnTo>
                    <a:pt x="168108" y="378487"/>
                  </a:lnTo>
                  <a:lnTo>
                    <a:pt x="165444" y="377627"/>
                  </a:lnTo>
                  <a:lnTo>
                    <a:pt x="163263" y="376869"/>
                  </a:lnTo>
                  <a:lnTo>
                    <a:pt x="162284" y="376527"/>
                  </a:lnTo>
                  <a:lnTo>
                    <a:pt x="161401" y="376765"/>
                  </a:lnTo>
                  <a:lnTo>
                    <a:pt x="160032" y="377556"/>
                  </a:lnTo>
                  <a:lnTo>
                    <a:pt x="157570" y="377892"/>
                  </a:lnTo>
                  <a:lnTo>
                    <a:pt x="155644" y="377969"/>
                  </a:lnTo>
                  <a:lnTo>
                    <a:pt x="154276" y="377602"/>
                  </a:lnTo>
                  <a:lnTo>
                    <a:pt x="153046" y="376225"/>
                  </a:lnTo>
                  <a:lnTo>
                    <a:pt x="151055" y="375522"/>
                  </a:lnTo>
                  <a:lnTo>
                    <a:pt x="148866" y="374664"/>
                  </a:lnTo>
                  <a:lnTo>
                    <a:pt x="148405" y="372892"/>
                  </a:lnTo>
                  <a:lnTo>
                    <a:pt x="148722" y="371572"/>
                  </a:lnTo>
                  <a:lnTo>
                    <a:pt x="149575" y="369662"/>
                  </a:lnTo>
                  <a:lnTo>
                    <a:pt x="149101" y="367691"/>
                  </a:lnTo>
                  <a:lnTo>
                    <a:pt x="148182" y="364572"/>
                  </a:lnTo>
                  <a:lnTo>
                    <a:pt x="147788" y="363301"/>
                  </a:lnTo>
                  <a:lnTo>
                    <a:pt x="147104" y="362221"/>
                  </a:lnTo>
                  <a:lnTo>
                    <a:pt x="146027" y="361830"/>
                  </a:lnTo>
                  <a:lnTo>
                    <a:pt x="143921" y="362125"/>
                  </a:lnTo>
                  <a:lnTo>
                    <a:pt x="141619" y="360946"/>
                  </a:lnTo>
                  <a:lnTo>
                    <a:pt x="140199" y="359821"/>
                  </a:lnTo>
                  <a:lnTo>
                    <a:pt x="139465" y="358446"/>
                  </a:lnTo>
                  <a:lnTo>
                    <a:pt x="140249" y="355853"/>
                  </a:lnTo>
                  <a:lnTo>
                    <a:pt x="139563" y="353649"/>
                  </a:lnTo>
                  <a:lnTo>
                    <a:pt x="138191" y="352422"/>
                  </a:lnTo>
                  <a:lnTo>
                    <a:pt x="137309" y="350268"/>
                  </a:lnTo>
                  <a:lnTo>
                    <a:pt x="135939" y="348554"/>
                  </a:lnTo>
                  <a:lnTo>
                    <a:pt x="134127" y="347675"/>
                  </a:lnTo>
                  <a:lnTo>
                    <a:pt x="132317" y="347771"/>
                  </a:lnTo>
                  <a:lnTo>
                    <a:pt x="130896" y="347231"/>
                  </a:lnTo>
                  <a:lnTo>
                    <a:pt x="129279" y="345419"/>
                  </a:lnTo>
                  <a:lnTo>
                    <a:pt x="127761" y="344734"/>
                  </a:lnTo>
                  <a:lnTo>
                    <a:pt x="126048" y="342970"/>
                  </a:lnTo>
                  <a:lnTo>
                    <a:pt x="122844" y="342187"/>
                  </a:lnTo>
                  <a:lnTo>
                    <a:pt x="121180" y="341499"/>
                  </a:lnTo>
                  <a:lnTo>
                    <a:pt x="120228" y="340414"/>
                  </a:lnTo>
                  <a:lnTo>
                    <a:pt x="118947" y="338462"/>
                  </a:lnTo>
                  <a:lnTo>
                    <a:pt x="119095" y="337385"/>
                  </a:lnTo>
                  <a:lnTo>
                    <a:pt x="118472" y="336326"/>
                  </a:lnTo>
                  <a:lnTo>
                    <a:pt x="117921" y="334419"/>
                  </a:lnTo>
                  <a:lnTo>
                    <a:pt x="116831" y="331611"/>
                  </a:lnTo>
                  <a:lnTo>
                    <a:pt x="115632" y="330013"/>
                  </a:lnTo>
                  <a:lnTo>
                    <a:pt x="114397" y="328808"/>
                  </a:lnTo>
                  <a:lnTo>
                    <a:pt x="113352" y="327787"/>
                  </a:lnTo>
                  <a:lnTo>
                    <a:pt x="111798" y="326269"/>
                  </a:lnTo>
                  <a:lnTo>
                    <a:pt x="109889" y="325388"/>
                  </a:lnTo>
                  <a:lnTo>
                    <a:pt x="108273" y="324460"/>
                  </a:lnTo>
                  <a:lnTo>
                    <a:pt x="107637" y="323088"/>
                  </a:lnTo>
                  <a:lnTo>
                    <a:pt x="107097" y="321961"/>
                  </a:lnTo>
                  <a:lnTo>
                    <a:pt x="106191" y="322042"/>
                  </a:lnTo>
                  <a:lnTo>
                    <a:pt x="104889" y="321944"/>
                  </a:lnTo>
                  <a:lnTo>
                    <a:pt x="103457" y="321658"/>
                  </a:lnTo>
                  <a:lnTo>
                    <a:pt x="101944" y="320839"/>
                  </a:lnTo>
                  <a:lnTo>
                    <a:pt x="100683" y="319846"/>
                  </a:lnTo>
                  <a:lnTo>
                    <a:pt x="98562" y="318168"/>
                  </a:lnTo>
                  <a:lnTo>
                    <a:pt x="97403" y="317945"/>
                  </a:lnTo>
                  <a:lnTo>
                    <a:pt x="96375" y="317945"/>
                  </a:lnTo>
                  <a:lnTo>
                    <a:pt x="94857" y="319588"/>
                  </a:lnTo>
                  <a:lnTo>
                    <a:pt x="90305" y="317861"/>
                  </a:lnTo>
                  <a:lnTo>
                    <a:pt x="86417" y="315292"/>
                  </a:lnTo>
                  <a:lnTo>
                    <a:pt x="82377" y="314624"/>
                  </a:lnTo>
                  <a:lnTo>
                    <a:pt x="79763" y="313059"/>
                  </a:lnTo>
                  <a:lnTo>
                    <a:pt x="77352" y="310605"/>
                  </a:lnTo>
                  <a:lnTo>
                    <a:pt x="76051" y="308948"/>
                  </a:lnTo>
                  <a:lnTo>
                    <a:pt x="74992" y="308125"/>
                  </a:lnTo>
                  <a:lnTo>
                    <a:pt x="69853" y="305745"/>
                  </a:lnTo>
                  <a:lnTo>
                    <a:pt x="68827" y="305515"/>
                  </a:lnTo>
                  <a:lnTo>
                    <a:pt x="66871" y="306618"/>
                  </a:lnTo>
                  <a:lnTo>
                    <a:pt x="66232" y="307281"/>
                  </a:lnTo>
                  <a:lnTo>
                    <a:pt x="66115" y="309181"/>
                  </a:lnTo>
                  <a:lnTo>
                    <a:pt x="65879" y="310263"/>
                  </a:lnTo>
                  <a:lnTo>
                    <a:pt x="64172" y="310917"/>
                  </a:lnTo>
                  <a:lnTo>
                    <a:pt x="61423" y="310777"/>
                  </a:lnTo>
                  <a:lnTo>
                    <a:pt x="59509" y="310088"/>
                  </a:lnTo>
                  <a:lnTo>
                    <a:pt x="58229" y="309987"/>
                  </a:lnTo>
                  <a:lnTo>
                    <a:pt x="57968" y="310527"/>
                  </a:lnTo>
                  <a:lnTo>
                    <a:pt x="57248" y="310760"/>
                  </a:lnTo>
                  <a:lnTo>
                    <a:pt x="55685" y="310605"/>
                  </a:lnTo>
                  <a:lnTo>
                    <a:pt x="53383" y="310079"/>
                  </a:lnTo>
                  <a:lnTo>
                    <a:pt x="51296" y="309376"/>
                  </a:lnTo>
                  <a:lnTo>
                    <a:pt x="48464" y="307884"/>
                  </a:lnTo>
                  <a:lnTo>
                    <a:pt x="47156" y="308070"/>
                  </a:lnTo>
                  <a:lnTo>
                    <a:pt x="43937" y="307748"/>
                  </a:lnTo>
                  <a:lnTo>
                    <a:pt x="41308" y="306899"/>
                  </a:lnTo>
                  <a:lnTo>
                    <a:pt x="40638" y="306114"/>
                  </a:lnTo>
                  <a:lnTo>
                    <a:pt x="39499" y="300747"/>
                  </a:lnTo>
                  <a:lnTo>
                    <a:pt x="39152" y="300375"/>
                  </a:lnTo>
                  <a:lnTo>
                    <a:pt x="38017" y="300142"/>
                  </a:lnTo>
                  <a:lnTo>
                    <a:pt x="36110" y="299404"/>
                  </a:lnTo>
                  <a:lnTo>
                    <a:pt x="34911" y="298538"/>
                  </a:lnTo>
                  <a:lnTo>
                    <a:pt x="34288" y="297052"/>
                  </a:lnTo>
                  <a:lnTo>
                    <a:pt x="33535" y="295641"/>
                  </a:lnTo>
                  <a:lnTo>
                    <a:pt x="30324" y="295958"/>
                  </a:lnTo>
                  <a:lnTo>
                    <a:pt x="25063" y="294098"/>
                  </a:lnTo>
                  <a:lnTo>
                    <a:pt x="21421" y="292327"/>
                  </a:lnTo>
                  <a:lnTo>
                    <a:pt x="18087" y="290361"/>
                  </a:lnTo>
                  <a:lnTo>
                    <a:pt x="13032" y="286487"/>
                  </a:lnTo>
                  <a:lnTo>
                    <a:pt x="11100" y="285527"/>
                  </a:lnTo>
                  <a:lnTo>
                    <a:pt x="8718" y="284342"/>
                  </a:lnTo>
                  <a:lnTo>
                    <a:pt x="7311" y="282434"/>
                  </a:lnTo>
                  <a:lnTo>
                    <a:pt x="4985" y="280507"/>
                  </a:lnTo>
                  <a:lnTo>
                    <a:pt x="4203" y="279982"/>
                  </a:lnTo>
                  <a:lnTo>
                    <a:pt x="3473" y="278239"/>
                  </a:lnTo>
                  <a:lnTo>
                    <a:pt x="0" y="275713"/>
                  </a:lnTo>
                  <a:lnTo>
                    <a:pt x="1718" y="272454"/>
                  </a:lnTo>
                  <a:lnTo>
                    <a:pt x="5894" y="270005"/>
                  </a:lnTo>
                  <a:lnTo>
                    <a:pt x="11373" y="271905"/>
                  </a:lnTo>
                  <a:lnTo>
                    <a:pt x="12044" y="268105"/>
                  </a:lnTo>
                  <a:lnTo>
                    <a:pt x="10062" y="264741"/>
                  </a:lnTo>
                  <a:lnTo>
                    <a:pt x="10355" y="258385"/>
                  </a:lnTo>
                  <a:lnTo>
                    <a:pt x="10998" y="257120"/>
                  </a:lnTo>
                  <a:lnTo>
                    <a:pt x="12443" y="255419"/>
                  </a:lnTo>
                  <a:lnTo>
                    <a:pt x="14326" y="254243"/>
                  </a:lnTo>
                  <a:lnTo>
                    <a:pt x="15430" y="253902"/>
                  </a:lnTo>
                  <a:lnTo>
                    <a:pt x="17308" y="254485"/>
                  </a:lnTo>
                  <a:lnTo>
                    <a:pt x="18492" y="253216"/>
                  </a:lnTo>
                  <a:lnTo>
                    <a:pt x="22959" y="253783"/>
                  </a:lnTo>
                  <a:lnTo>
                    <a:pt x="24312" y="253252"/>
                  </a:lnTo>
                  <a:lnTo>
                    <a:pt x="25236" y="252391"/>
                  </a:lnTo>
                  <a:lnTo>
                    <a:pt x="26325" y="251732"/>
                  </a:lnTo>
                  <a:lnTo>
                    <a:pt x="27719" y="250204"/>
                  </a:lnTo>
                  <a:lnTo>
                    <a:pt x="28517" y="248438"/>
                  </a:lnTo>
                  <a:lnTo>
                    <a:pt x="29183" y="247752"/>
                  </a:lnTo>
                  <a:lnTo>
                    <a:pt x="30728" y="247994"/>
                  </a:lnTo>
                  <a:lnTo>
                    <a:pt x="30871" y="247232"/>
                  </a:lnTo>
                  <a:lnTo>
                    <a:pt x="31665" y="246194"/>
                  </a:lnTo>
                  <a:lnTo>
                    <a:pt x="34369" y="243869"/>
                  </a:lnTo>
                  <a:lnTo>
                    <a:pt x="34341" y="242843"/>
                  </a:lnTo>
                  <a:lnTo>
                    <a:pt x="33583" y="240604"/>
                  </a:lnTo>
                  <a:lnTo>
                    <a:pt x="33769" y="239781"/>
                  </a:lnTo>
                  <a:lnTo>
                    <a:pt x="35332" y="239497"/>
                  </a:lnTo>
                  <a:lnTo>
                    <a:pt x="37180" y="238867"/>
                  </a:lnTo>
                  <a:lnTo>
                    <a:pt x="38165" y="236729"/>
                  </a:lnTo>
                  <a:lnTo>
                    <a:pt x="39384" y="234862"/>
                  </a:lnTo>
                  <a:lnTo>
                    <a:pt x="40781" y="232120"/>
                  </a:lnTo>
                  <a:lnTo>
                    <a:pt x="42316" y="231948"/>
                  </a:lnTo>
                  <a:lnTo>
                    <a:pt x="43132" y="228745"/>
                  </a:lnTo>
                  <a:lnTo>
                    <a:pt x="45202" y="225938"/>
                  </a:lnTo>
                  <a:lnTo>
                    <a:pt x="49410" y="217611"/>
                  </a:lnTo>
                  <a:lnTo>
                    <a:pt x="48142" y="217794"/>
                  </a:lnTo>
                  <a:lnTo>
                    <a:pt x="47134" y="218906"/>
                  </a:lnTo>
                  <a:lnTo>
                    <a:pt x="45981" y="218776"/>
                  </a:lnTo>
                  <a:lnTo>
                    <a:pt x="44675" y="218121"/>
                  </a:lnTo>
                  <a:lnTo>
                    <a:pt x="45059" y="214369"/>
                  </a:lnTo>
                  <a:lnTo>
                    <a:pt x="44308" y="213923"/>
                  </a:lnTo>
                  <a:lnTo>
                    <a:pt x="42275" y="216813"/>
                  </a:lnTo>
                  <a:lnTo>
                    <a:pt x="40523" y="213874"/>
                  </a:lnTo>
                  <a:lnTo>
                    <a:pt x="40365" y="212082"/>
                  </a:lnTo>
                  <a:lnTo>
                    <a:pt x="41101" y="210310"/>
                  </a:lnTo>
                  <a:lnTo>
                    <a:pt x="40993" y="209116"/>
                  </a:lnTo>
                  <a:lnTo>
                    <a:pt x="38154" y="210004"/>
                  </a:lnTo>
                  <a:lnTo>
                    <a:pt x="38286" y="208899"/>
                  </a:lnTo>
                  <a:lnTo>
                    <a:pt x="40053" y="207763"/>
                  </a:lnTo>
                  <a:lnTo>
                    <a:pt x="40853" y="206579"/>
                  </a:lnTo>
                  <a:lnTo>
                    <a:pt x="42394" y="205293"/>
                  </a:lnTo>
                  <a:lnTo>
                    <a:pt x="43033" y="203343"/>
                  </a:lnTo>
                  <a:lnTo>
                    <a:pt x="43404" y="200324"/>
                  </a:lnTo>
                  <a:lnTo>
                    <a:pt x="44097" y="197074"/>
                  </a:lnTo>
                  <a:lnTo>
                    <a:pt x="43585" y="195474"/>
                  </a:lnTo>
                  <a:lnTo>
                    <a:pt x="42750" y="194106"/>
                  </a:lnTo>
                  <a:lnTo>
                    <a:pt x="42058" y="188056"/>
                  </a:lnTo>
                  <a:lnTo>
                    <a:pt x="42250" y="184532"/>
                  </a:lnTo>
                  <a:lnTo>
                    <a:pt x="41892" y="181765"/>
                  </a:lnTo>
                  <a:lnTo>
                    <a:pt x="41171" y="179422"/>
                  </a:lnTo>
                  <a:lnTo>
                    <a:pt x="37806" y="176346"/>
                  </a:lnTo>
                  <a:lnTo>
                    <a:pt x="43127" y="172822"/>
                  </a:lnTo>
                  <a:lnTo>
                    <a:pt x="45038" y="170163"/>
                  </a:lnTo>
                  <a:lnTo>
                    <a:pt x="42618" y="164688"/>
                  </a:lnTo>
                  <a:lnTo>
                    <a:pt x="39454" y="160073"/>
                  </a:lnTo>
                  <a:lnTo>
                    <a:pt x="39363" y="157301"/>
                  </a:lnTo>
                  <a:lnTo>
                    <a:pt x="40198" y="157656"/>
                  </a:lnTo>
                  <a:lnTo>
                    <a:pt x="41259" y="157572"/>
                  </a:lnTo>
                  <a:lnTo>
                    <a:pt x="42233" y="151729"/>
                  </a:lnTo>
                  <a:lnTo>
                    <a:pt x="42007" y="149919"/>
                  </a:lnTo>
                  <a:lnTo>
                    <a:pt x="40229" y="146997"/>
                  </a:lnTo>
                  <a:lnTo>
                    <a:pt x="38021" y="146927"/>
                  </a:lnTo>
                  <a:lnTo>
                    <a:pt x="36090" y="143254"/>
                  </a:lnTo>
                  <a:lnTo>
                    <a:pt x="34981" y="142431"/>
                  </a:lnTo>
                  <a:lnTo>
                    <a:pt x="34091" y="140118"/>
                  </a:lnTo>
                  <a:lnTo>
                    <a:pt x="30979" y="135612"/>
                  </a:lnTo>
                  <a:lnTo>
                    <a:pt x="28508" y="133265"/>
                  </a:lnTo>
                  <a:lnTo>
                    <a:pt x="30355" y="127824"/>
                  </a:lnTo>
                  <a:lnTo>
                    <a:pt x="31967" y="126781"/>
                  </a:lnTo>
                  <a:lnTo>
                    <a:pt x="32495" y="125424"/>
                  </a:lnTo>
                  <a:lnTo>
                    <a:pt x="31865" y="122080"/>
                  </a:lnTo>
                  <a:lnTo>
                    <a:pt x="32038" y="121296"/>
                  </a:lnTo>
                  <a:lnTo>
                    <a:pt x="32418" y="120963"/>
                  </a:lnTo>
                  <a:lnTo>
                    <a:pt x="32796" y="120987"/>
                  </a:lnTo>
                  <a:lnTo>
                    <a:pt x="33448" y="121490"/>
                  </a:lnTo>
                  <a:lnTo>
                    <a:pt x="34659" y="122933"/>
                  </a:lnTo>
                  <a:lnTo>
                    <a:pt x="35672" y="124720"/>
                  </a:lnTo>
                  <a:lnTo>
                    <a:pt x="36484" y="125268"/>
                  </a:lnTo>
                  <a:lnTo>
                    <a:pt x="37709" y="124676"/>
                  </a:lnTo>
                  <a:lnTo>
                    <a:pt x="42463" y="121117"/>
                  </a:lnTo>
                  <a:lnTo>
                    <a:pt x="42159" y="120015"/>
                  </a:lnTo>
                  <a:lnTo>
                    <a:pt x="42595" y="117784"/>
                  </a:lnTo>
                  <a:lnTo>
                    <a:pt x="44183" y="115956"/>
                  </a:lnTo>
                  <a:lnTo>
                    <a:pt x="45882" y="115335"/>
                  </a:lnTo>
                  <a:lnTo>
                    <a:pt x="46387" y="114315"/>
                  </a:lnTo>
                  <a:lnTo>
                    <a:pt x="45974" y="112748"/>
                  </a:lnTo>
                  <a:lnTo>
                    <a:pt x="44191" y="108840"/>
                  </a:lnTo>
                  <a:lnTo>
                    <a:pt x="42597" y="106734"/>
                  </a:lnTo>
                  <a:lnTo>
                    <a:pt x="41573" y="104638"/>
                  </a:lnTo>
                  <a:lnTo>
                    <a:pt x="41031" y="102708"/>
                  </a:lnTo>
                  <a:lnTo>
                    <a:pt x="39225" y="100890"/>
                  </a:lnTo>
                  <a:lnTo>
                    <a:pt x="39990" y="99168"/>
                  </a:lnTo>
                  <a:lnTo>
                    <a:pt x="41391" y="97155"/>
                  </a:lnTo>
                  <a:lnTo>
                    <a:pt x="41869" y="96807"/>
                  </a:lnTo>
                  <a:lnTo>
                    <a:pt x="42632" y="97358"/>
                  </a:lnTo>
                  <a:lnTo>
                    <a:pt x="44726" y="101011"/>
                  </a:lnTo>
                  <a:lnTo>
                    <a:pt x="48058" y="103388"/>
                  </a:lnTo>
                  <a:lnTo>
                    <a:pt x="51553" y="107224"/>
                  </a:lnTo>
                  <a:lnTo>
                    <a:pt x="52984" y="109866"/>
                  </a:lnTo>
                  <a:lnTo>
                    <a:pt x="54122" y="110347"/>
                  </a:lnTo>
                  <a:lnTo>
                    <a:pt x="55114" y="111304"/>
                  </a:lnTo>
                  <a:lnTo>
                    <a:pt x="54677" y="112013"/>
                  </a:lnTo>
                  <a:lnTo>
                    <a:pt x="53584" y="112760"/>
                  </a:lnTo>
                  <a:lnTo>
                    <a:pt x="53268" y="114297"/>
                  </a:lnTo>
                  <a:lnTo>
                    <a:pt x="53979" y="115157"/>
                  </a:lnTo>
                  <a:lnTo>
                    <a:pt x="54733" y="115706"/>
                  </a:lnTo>
                  <a:lnTo>
                    <a:pt x="56770" y="115359"/>
                  </a:lnTo>
                  <a:lnTo>
                    <a:pt x="57891" y="113559"/>
                  </a:lnTo>
                  <a:lnTo>
                    <a:pt x="57137" y="105688"/>
                  </a:lnTo>
                  <a:lnTo>
                    <a:pt x="55957" y="101752"/>
                  </a:lnTo>
                  <a:lnTo>
                    <a:pt x="54598" y="100525"/>
                  </a:lnTo>
                  <a:lnTo>
                    <a:pt x="53374" y="98967"/>
                  </a:lnTo>
                  <a:lnTo>
                    <a:pt x="54198" y="97789"/>
                  </a:lnTo>
                  <a:lnTo>
                    <a:pt x="56372" y="97257"/>
                  </a:lnTo>
                  <a:lnTo>
                    <a:pt x="59234" y="95876"/>
                  </a:lnTo>
                  <a:lnTo>
                    <a:pt x="69694" y="88355"/>
                  </a:lnTo>
                  <a:lnTo>
                    <a:pt x="73278" y="81287"/>
                  </a:lnTo>
                  <a:lnTo>
                    <a:pt x="76023" y="78725"/>
                  </a:lnTo>
                  <a:lnTo>
                    <a:pt x="79123" y="77060"/>
                  </a:lnTo>
                  <a:lnTo>
                    <a:pt x="82911" y="77451"/>
                  </a:lnTo>
                  <a:lnTo>
                    <a:pt x="85859" y="76560"/>
                  </a:lnTo>
                  <a:lnTo>
                    <a:pt x="86764" y="74308"/>
                  </a:lnTo>
                  <a:lnTo>
                    <a:pt x="85961" y="71254"/>
                  </a:lnTo>
                  <a:lnTo>
                    <a:pt x="84828" y="69412"/>
                  </a:lnTo>
                  <a:lnTo>
                    <a:pt x="85916" y="66738"/>
                  </a:lnTo>
                  <a:lnTo>
                    <a:pt x="87042" y="62681"/>
                  </a:lnTo>
                  <a:lnTo>
                    <a:pt x="86961" y="59273"/>
                  </a:lnTo>
                  <a:lnTo>
                    <a:pt x="88415" y="57241"/>
                  </a:lnTo>
                  <a:lnTo>
                    <a:pt x="87911" y="56441"/>
                  </a:lnTo>
                  <a:lnTo>
                    <a:pt x="85787" y="58086"/>
                  </a:lnTo>
                  <a:lnTo>
                    <a:pt x="84110" y="58823"/>
                  </a:lnTo>
                  <a:lnTo>
                    <a:pt x="85059" y="57467"/>
                  </a:lnTo>
                  <a:lnTo>
                    <a:pt x="88030" y="54101"/>
                  </a:lnTo>
                  <a:lnTo>
                    <a:pt x="89575" y="48978"/>
                  </a:lnTo>
                  <a:lnTo>
                    <a:pt x="90762" y="46844"/>
                  </a:lnTo>
                  <a:lnTo>
                    <a:pt x="94955" y="43861"/>
                  </a:lnTo>
                  <a:lnTo>
                    <a:pt x="95783" y="42424"/>
                  </a:lnTo>
                  <a:lnTo>
                    <a:pt x="98951" y="40188"/>
                  </a:lnTo>
                  <a:lnTo>
                    <a:pt x="104059" y="35387"/>
                  </a:lnTo>
                  <a:lnTo>
                    <a:pt x="106011" y="34049"/>
                  </a:lnTo>
                  <a:lnTo>
                    <a:pt x="115908" y="37145"/>
                  </a:lnTo>
                  <a:lnTo>
                    <a:pt x="119054" y="36949"/>
                  </a:lnTo>
                  <a:lnTo>
                    <a:pt x="118492" y="37514"/>
                  </a:lnTo>
                  <a:lnTo>
                    <a:pt x="117041" y="37705"/>
                  </a:lnTo>
                  <a:lnTo>
                    <a:pt x="114944" y="38545"/>
                  </a:lnTo>
                  <a:lnTo>
                    <a:pt x="114336" y="40391"/>
                  </a:lnTo>
                  <a:lnTo>
                    <a:pt x="115757" y="42327"/>
                  </a:lnTo>
                  <a:lnTo>
                    <a:pt x="117263" y="42886"/>
                  </a:lnTo>
                  <a:lnTo>
                    <a:pt x="118547" y="41643"/>
                  </a:lnTo>
                  <a:lnTo>
                    <a:pt x="119821" y="38088"/>
                  </a:lnTo>
                  <a:lnTo>
                    <a:pt x="121870" y="34161"/>
                  </a:lnTo>
                  <a:lnTo>
                    <a:pt x="122351" y="30044"/>
                  </a:lnTo>
                  <a:lnTo>
                    <a:pt x="123802" y="28628"/>
                  </a:lnTo>
                  <a:lnTo>
                    <a:pt x="125927" y="28121"/>
                  </a:lnTo>
                  <a:lnTo>
                    <a:pt x="129719" y="28935"/>
                  </a:lnTo>
                  <a:lnTo>
                    <a:pt x="132607" y="29789"/>
                  </a:lnTo>
                  <a:lnTo>
                    <a:pt x="135619" y="29896"/>
                  </a:lnTo>
                  <a:lnTo>
                    <a:pt x="144838" y="29273"/>
                  </a:lnTo>
                  <a:lnTo>
                    <a:pt x="159837" y="18576"/>
                  </a:lnTo>
                  <a:lnTo>
                    <a:pt x="166804" y="16276"/>
                  </a:lnTo>
                  <a:lnTo>
                    <a:pt x="171166" y="14025"/>
                  </a:lnTo>
                  <a:lnTo>
                    <a:pt x="173949" y="9628"/>
                  </a:lnTo>
                  <a:lnTo>
                    <a:pt x="174697" y="6327"/>
                  </a:lnTo>
                  <a:lnTo>
                    <a:pt x="176743" y="5044"/>
                  </a:lnTo>
                  <a:lnTo>
                    <a:pt x="178898" y="5047"/>
                  </a:lnTo>
                  <a:lnTo>
                    <a:pt x="179883" y="4243"/>
                  </a:lnTo>
                  <a:lnTo>
                    <a:pt x="180190" y="3226"/>
                  </a:lnTo>
                  <a:lnTo>
                    <a:pt x="185378" y="372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29" name="ee4p_CR_1_37365">
              <a:extLst>
                <a:ext uri="{FF2B5EF4-FFF2-40B4-BE49-F238E27FC236}">
                  <a16:creationId xmlns:a16="http://schemas.microsoft.com/office/drawing/2014/main" id="{960CB249-ABE3-C435-8808-D5EF95A639E4}"/>
                </a:ext>
              </a:extLst>
            </p:cNvPr>
            <p:cNvSpPr>
              <a:spLocks noChangeAspect="1"/>
            </p:cNvSpPr>
            <p:nvPr>
              <p:custDataLst>
                <p:tags r:id="rId383"/>
              </p:custDataLst>
            </p:nvPr>
          </p:nvSpPr>
          <p:spPr>
            <a:xfrm>
              <a:off x="4129093" y="4355293"/>
              <a:ext cx="92873" cy="89784"/>
            </a:xfrm>
            <a:custGeom>
              <a:avLst/>
              <a:gdLst/>
              <a:ahLst/>
              <a:cxnLst/>
              <a:rect l="0" t="0" r="0" b="0"/>
              <a:pathLst>
                <a:path w="73953" h="69598">
                  <a:moveTo>
                    <a:pt x="50106" y="6092"/>
                  </a:moveTo>
                  <a:lnTo>
                    <a:pt x="50652" y="6981"/>
                  </a:lnTo>
                  <a:lnTo>
                    <a:pt x="51296" y="8379"/>
                  </a:lnTo>
                  <a:lnTo>
                    <a:pt x="51581" y="10174"/>
                  </a:lnTo>
                  <a:lnTo>
                    <a:pt x="54390" y="16184"/>
                  </a:lnTo>
                  <a:lnTo>
                    <a:pt x="56633" y="19548"/>
                  </a:lnTo>
                  <a:lnTo>
                    <a:pt x="61546" y="25663"/>
                  </a:lnTo>
                  <a:lnTo>
                    <a:pt x="63671" y="26787"/>
                  </a:lnTo>
                  <a:lnTo>
                    <a:pt x="67258" y="31706"/>
                  </a:lnTo>
                  <a:lnTo>
                    <a:pt x="68496" y="32518"/>
                  </a:lnTo>
                  <a:lnTo>
                    <a:pt x="69201" y="33969"/>
                  </a:lnTo>
                  <a:lnTo>
                    <a:pt x="72922" y="35163"/>
                  </a:lnTo>
                  <a:lnTo>
                    <a:pt x="73952" y="36041"/>
                  </a:lnTo>
                  <a:lnTo>
                    <a:pt x="73827" y="36453"/>
                  </a:lnTo>
                  <a:lnTo>
                    <a:pt x="73445" y="36886"/>
                  </a:lnTo>
                  <a:lnTo>
                    <a:pt x="72897" y="37322"/>
                  </a:lnTo>
                  <a:lnTo>
                    <a:pt x="72172" y="37621"/>
                  </a:lnTo>
                  <a:lnTo>
                    <a:pt x="70418" y="36723"/>
                  </a:lnTo>
                  <a:lnTo>
                    <a:pt x="68701" y="35704"/>
                  </a:lnTo>
                  <a:lnTo>
                    <a:pt x="67752" y="36172"/>
                  </a:lnTo>
                  <a:lnTo>
                    <a:pt x="67394" y="37496"/>
                  </a:lnTo>
                  <a:lnTo>
                    <a:pt x="66757" y="38175"/>
                  </a:lnTo>
                  <a:lnTo>
                    <a:pt x="65959" y="38442"/>
                  </a:lnTo>
                  <a:lnTo>
                    <a:pt x="65632" y="38886"/>
                  </a:lnTo>
                  <a:lnTo>
                    <a:pt x="65566" y="43352"/>
                  </a:lnTo>
                  <a:lnTo>
                    <a:pt x="65621" y="47561"/>
                  </a:lnTo>
                  <a:lnTo>
                    <a:pt x="66925" y="47656"/>
                  </a:lnTo>
                  <a:lnTo>
                    <a:pt x="69099" y="49117"/>
                  </a:lnTo>
                  <a:lnTo>
                    <a:pt x="70025" y="49977"/>
                  </a:lnTo>
                  <a:lnTo>
                    <a:pt x="70320" y="50771"/>
                  </a:lnTo>
                  <a:lnTo>
                    <a:pt x="70051" y="51161"/>
                  </a:lnTo>
                  <a:lnTo>
                    <a:pt x="68461" y="52078"/>
                  </a:lnTo>
                  <a:lnTo>
                    <a:pt x="66911" y="53238"/>
                  </a:lnTo>
                  <a:lnTo>
                    <a:pt x="66136" y="54686"/>
                  </a:lnTo>
                  <a:lnTo>
                    <a:pt x="67492" y="57026"/>
                  </a:lnTo>
                  <a:lnTo>
                    <a:pt x="67782" y="58615"/>
                  </a:lnTo>
                  <a:lnTo>
                    <a:pt x="67734" y="60276"/>
                  </a:lnTo>
                  <a:lnTo>
                    <a:pt x="67362" y="61074"/>
                  </a:lnTo>
                  <a:lnTo>
                    <a:pt x="64356" y="62984"/>
                  </a:lnTo>
                  <a:lnTo>
                    <a:pt x="63697" y="63652"/>
                  </a:lnTo>
                  <a:lnTo>
                    <a:pt x="63785" y="64136"/>
                  </a:lnTo>
                  <a:lnTo>
                    <a:pt x="65442" y="65453"/>
                  </a:lnTo>
                  <a:lnTo>
                    <a:pt x="66228" y="66727"/>
                  </a:lnTo>
                  <a:lnTo>
                    <a:pt x="66882" y="68264"/>
                  </a:lnTo>
                  <a:lnTo>
                    <a:pt x="66970" y="69597"/>
                  </a:lnTo>
                  <a:lnTo>
                    <a:pt x="65468" y="67125"/>
                  </a:lnTo>
                  <a:lnTo>
                    <a:pt x="63385" y="64765"/>
                  </a:lnTo>
                  <a:lnTo>
                    <a:pt x="61575" y="63311"/>
                  </a:lnTo>
                  <a:lnTo>
                    <a:pt x="61436" y="59918"/>
                  </a:lnTo>
                  <a:lnTo>
                    <a:pt x="60711" y="58076"/>
                  </a:lnTo>
                  <a:lnTo>
                    <a:pt x="57982" y="56379"/>
                  </a:lnTo>
                  <a:lnTo>
                    <a:pt x="55647" y="55190"/>
                  </a:lnTo>
                  <a:lnTo>
                    <a:pt x="53915" y="55433"/>
                  </a:lnTo>
                  <a:lnTo>
                    <a:pt x="54975" y="57384"/>
                  </a:lnTo>
                  <a:lnTo>
                    <a:pt x="57718" y="59886"/>
                  </a:lnTo>
                  <a:lnTo>
                    <a:pt x="57899" y="60845"/>
                  </a:lnTo>
                  <a:lnTo>
                    <a:pt x="57856" y="62133"/>
                  </a:lnTo>
                  <a:lnTo>
                    <a:pt x="55970" y="61934"/>
                  </a:lnTo>
                  <a:lnTo>
                    <a:pt x="54306" y="61409"/>
                  </a:lnTo>
                  <a:lnTo>
                    <a:pt x="52278" y="61245"/>
                  </a:lnTo>
                  <a:lnTo>
                    <a:pt x="50930" y="60478"/>
                  </a:lnTo>
                  <a:lnTo>
                    <a:pt x="48070" y="57491"/>
                  </a:lnTo>
                  <a:lnTo>
                    <a:pt x="50102" y="54941"/>
                  </a:lnTo>
                  <a:lnTo>
                    <a:pt x="50731" y="53267"/>
                  </a:lnTo>
                  <a:lnTo>
                    <a:pt x="50677" y="49796"/>
                  </a:lnTo>
                  <a:lnTo>
                    <a:pt x="50211" y="48112"/>
                  </a:lnTo>
                  <a:lnTo>
                    <a:pt x="48007" y="45550"/>
                  </a:lnTo>
                  <a:lnTo>
                    <a:pt x="44499" y="42738"/>
                  </a:lnTo>
                  <a:lnTo>
                    <a:pt x="39583" y="40440"/>
                  </a:lnTo>
                  <a:lnTo>
                    <a:pt x="37273" y="38588"/>
                  </a:lnTo>
                  <a:lnTo>
                    <a:pt x="31517" y="37168"/>
                  </a:lnTo>
                  <a:lnTo>
                    <a:pt x="29330" y="36226"/>
                  </a:lnTo>
                  <a:lnTo>
                    <a:pt x="27620" y="34479"/>
                  </a:lnTo>
                  <a:lnTo>
                    <a:pt x="27364" y="33225"/>
                  </a:lnTo>
                  <a:lnTo>
                    <a:pt x="27970" y="31294"/>
                  </a:lnTo>
                  <a:lnTo>
                    <a:pt x="26381" y="28838"/>
                  </a:lnTo>
                  <a:lnTo>
                    <a:pt x="19524" y="24008"/>
                  </a:lnTo>
                  <a:lnTo>
                    <a:pt x="15690" y="22230"/>
                  </a:lnTo>
                  <a:lnTo>
                    <a:pt x="14867" y="21185"/>
                  </a:lnTo>
                  <a:lnTo>
                    <a:pt x="14258" y="20860"/>
                  </a:lnTo>
                  <a:lnTo>
                    <a:pt x="14847" y="24194"/>
                  </a:lnTo>
                  <a:lnTo>
                    <a:pt x="16523" y="26203"/>
                  </a:lnTo>
                  <a:lnTo>
                    <a:pt x="20900" y="28078"/>
                  </a:lnTo>
                  <a:lnTo>
                    <a:pt x="22104" y="29169"/>
                  </a:lnTo>
                  <a:lnTo>
                    <a:pt x="22589" y="30589"/>
                  </a:lnTo>
                  <a:lnTo>
                    <a:pt x="20050" y="33305"/>
                  </a:lnTo>
                  <a:lnTo>
                    <a:pt x="18757" y="33996"/>
                  </a:lnTo>
                  <a:lnTo>
                    <a:pt x="18374" y="35477"/>
                  </a:lnTo>
                  <a:lnTo>
                    <a:pt x="17546" y="35927"/>
                  </a:lnTo>
                  <a:lnTo>
                    <a:pt x="16672" y="35073"/>
                  </a:lnTo>
                  <a:lnTo>
                    <a:pt x="13122" y="30813"/>
                  </a:lnTo>
                  <a:lnTo>
                    <a:pt x="6261" y="28770"/>
                  </a:lnTo>
                  <a:lnTo>
                    <a:pt x="5019" y="27517"/>
                  </a:lnTo>
                  <a:lnTo>
                    <a:pt x="2466" y="23625"/>
                  </a:lnTo>
                  <a:lnTo>
                    <a:pt x="1290" y="20069"/>
                  </a:lnTo>
                  <a:lnTo>
                    <a:pt x="1711" y="17698"/>
                  </a:lnTo>
                  <a:lnTo>
                    <a:pt x="4530" y="14003"/>
                  </a:lnTo>
                  <a:lnTo>
                    <a:pt x="5410" y="12394"/>
                  </a:lnTo>
                  <a:lnTo>
                    <a:pt x="5231" y="11403"/>
                  </a:lnTo>
                  <a:lnTo>
                    <a:pt x="5324" y="9944"/>
                  </a:lnTo>
                  <a:lnTo>
                    <a:pt x="4271" y="8925"/>
                  </a:lnTo>
                  <a:lnTo>
                    <a:pt x="1661" y="7597"/>
                  </a:lnTo>
                  <a:lnTo>
                    <a:pt x="0" y="6532"/>
                  </a:lnTo>
                  <a:lnTo>
                    <a:pt x="455" y="6001"/>
                  </a:lnTo>
                  <a:lnTo>
                    <a:pt x="3444" y="4570"/>
                  </a:lnTo>
                  <a:lnTo>
                    <a:pt x="3633" y="3279"/>
                  </a:lnTo>
                  <a:lnTo>
                    <a:pt x="3619" y="2850"/>
                  </a:lnTo>
                  <a:lnTo>
                    <a:pt x="4107" y="2757"/>
                  </a:lnTo>
                  <a:lnTo>
                    <a:pt x="4541" y="2415"/>
                  </a:lnTo>
                  <a:lnTo>
                    <a:pt x="4808" y="2059"/>
                  </a:lnTo>
                  <a:lnTo>
                    <a:pt x="5624" y="814"/>
                  </a:lnTo>
                  <a:lnTo>
                    <a:pt x="6337" y="112"/>
                  </a:lnTo>
                  <a:lnTo>
                    <a:pt x="7160" y="0"/>
                  </a:lnTo>
                  <a:lnTo>
                    <a:pt x="8165" y="518"/>
                  </a:lnTo>
                  <a:lnTo>
                    <a:pt x="11932" y="1858"/>
                  </a:lnTo>
                  <a:lnTo>
                    <a:pt x="16121" y="3346"/>
                  </a:lnTo>
                  <a:lnTo>
                    <a:pt x="22086" y="5464"/>
                  </a:lnTo>
                  <a:lnTo>
                    <a:pt x="24558" y="4108"/>
                  </a:lnTo>
                  <a:lnTo>
                    <a:pt x="26685" y="3072"/>
                  </a:lnTo>
                  <a:lnTo>
                    <a:pt x="28167" y="3219"/>
                  </a:lnTo>
                  <a:lnTo>
                    <a:pt x="31373" y="4427"/>
                  </a:lnTo>
                  <a:lnTo>
                    <a:pt x="33304" y="4812"/>
                  </a:lnTo>
                  <a:lnTo>
                    <a:pt x="34488" y="4690"/>
                  </a:lnTo>
                  <a:lnTo>
                    <a:pt x="36539" y="6461"/>
                  </a:lnTo>
                  <a:lnTo>
                    <a:pt x="37657" y="7790"/>
                  </a:lnTo>
                  <a:lnTo>
                    <a:pt x="37843" y="8676"/>
                  </a:lnTo>
                  <a:lnTo>
                    <a:pt x="38467" y="9153"/>
                  </a:lnTo>
                  <a:lnTo>
                    <a:pt x="40063" y="9258"/>
                  </a:lnTo>
                  <a:lnTo>
                    <a:pt x="43974" y="10160"/>
                  </a:lnTo>
                  <a:lnTo>
                    <a:pt x="46365" y="9983"/>
                  </a:lnTo>
                  <a:lnTo>
                    <a:pt x="48537" y="9030"/>
                  </a:lnTo>
                  <a:lnTo>
                    <a:pt x="49731" y="7890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30" name="ee4p_CU_1_37365">
              <a:extLst>
                <a:ext uri="{FF2B5EF4-FFF2-40B4-BE49-F238E27FC236}">
                  <a16:creationId xmlns:a16="http://schemas.microsoft.com/office/drawing/2014/main" id="{35F079FC-4B69-C139-427F-C165D53E99FD}"/>
                </a:ext>
              </a:extLst>
            </p:cNvPr>
            <p:cNvSpPr>
              <a:spLocks noChangeAspect="1"/>
            </p:cNvSpPr>
            <p:nvPr>
              <p:custDataLst>
                <p:tags r:id="rId384"/>
              </p:custDataLst>
            </p:nvPr>
          </p:nvSpPr>
          <p:spPr>
            <a:xfrm>
              <a:off x="4157438" y="4002395"/>
              <a:ext cx="298530" cy="99604"/>
            </a:xfrm>
            <a:custGeom>
              <a:avLst/>
              <a:gdLst>
                <a:gd name="connsiteX0" fmla="*/ 48076 w 272590"/>
                <a:gd name="connsiteY0" fmla="*/ 33276 h 88539"/>
                <a:gd name="connsiteX1" fmla="*/ 54046 w 272590"/>
                <a:gd name="connsiteY1" fmla="*/ 34159 h 88539"/>
                <a:gd name="connsiteX2" fmla="*/ 55092 w 272590"/>
                <a:gd name="connsiteY2" fmla="*/ 34672 h 88539"/>
                <a:gd name="connsiteX3" fmla="*/ 55921 w 272590"/>
                <a:gd name="connsiteY3" fmla="*/ 36510 h 88539"/>
                <a:gd name="connsiteX4" fmla="*/ 57251 w 272590"/>
                <a:gd name="connsiteY4" fmla="*/ 37951 h 88539"/>
                <a:gd name="connsiteX5" fmla="*/ 58811 w 272590"/>
                <a:gd name="connsiteY5" fmla="*/ 41805 h 88539"/>
                <a:gd name="connsiteX6" fmla="*/ 58965 w 272590"/>
                <a:gd name="connsiteY6" fmla="*/ 43137 h 88539"/>
                <a:gd name="connsiteX7" fmla="*/ 56605 w 272590"/>
                <a:gd name="connsiteY7" fmla="*/ 44544 h 88539"/>
                <a:gd name="connsiteX8" fmla="*/ 51576 w 272590"/>
                <a:gd name="connsiteY8" fmla="*/ 46529 h 88539"/>
                <a:gd name="connsiteX9" fmla="*/ 48877 w 272590"/>
                <a:gd name="connsiteY9" fmla="*/ 46598 h 88539"/>
                <a:gd name="connsiteX10" fmla="*/ 46147 w 272590"/>
                <a:gd name="connsiteY10" fmla="*/ 45853 h 88539"/>
                <a:gd name="connsiteX11" fmla="*/ 44265 w 272590"/>
                <a:gd name="connsiteY11" fmla="*/ 44193 h 88539"/>
                <a:gd name="connsiteX12" fmla="*/ 43193 w 272590"/>
                <a:gd name="connsiteY12" fmla="*/ 42558 h 88539"/>
                <a:gd name="connsiteX13" fmla="*/ 43284 w 272590"/>
                <a:gd name="connsiteY13" fmla="*/ 41772 h 88539"/>
                <a:gd name="connsiteX14" fmla="*/ 44989 w 272590"/>
                <a:gd name="connsiteY14" fmla="*/ 43084 h 88539"/>
                <a:gd name="connsiteX15" fmla="*/ 46461 w 272590"/>
                <a:gd name="connsiteY15" fmla="*/ 43728 h 88539"/>
                <a:gd name="connsiteX16" fmla="*/ 47670 w 272590"/>
                <a:gd name="connsiteY16" fmla="*/ 43299 h 88539"/>
                <a:gd name="connsiteX17" fmla="*/ 48523 w 272590"/>
                <a:gd name="connsiteY17" fmla="*/ 42590 h 88539"/>
                <a:gd name="connsiteX18" fmla="*/ 45761 w 272590"/>
                <a:gd name="connsiteY18" fmla="*/ 37300 h 88539"/>
                <a:gd name="connsiteX19" fmla="*/ 45882 w 272590"/>
                <a:gd name="connsiteY19" fmla="*/ 36181 h 88539"/>
                <a:gd name="connsiteX20" fmla="*/ 178317 w 272590"/>
                <a:gd name="connsiteY20" fmla="*/ 29307 h 88539"/>
                <a:gd name="connsiteX21" fmla="*/ 180355 w 272590"/>
                <a:gd name="connsiteY21" fmla="*/ 29546 h 88539"/>
                <a:gd name="connsiteX22" fmla="*/ 183922 w 272590"/>
                <a:gd name="connsiteY22" fmla="*/ 30316 h 88539"/>
                <a:gd name="connsiteX23" fmla="*/ 183610 w 272590"/>
                <a:gd name="connsiteY23" fmla="*/ 31847 h 88539"/>
                <a:gd name="connsiteX24" fmla="*/ 183028 w 272590"/>
                <a:gd name="connsiteY24" fmla="*/ 33031 h 88539"/>
                <a:gd name="connsiteX25" fmla="*/ 181987 w 272590"/>
                <a:gd name="connsiteY25" fmla="*/ 33845 h 88539"/>
                <a:gd name="connsiteX26" fmla="*/ 180846 w 272590"/>
                <a:gd name="connsiteY26" fmla="*/ 32670 h 88539"/>
                <a:gd name="connsiteX27" fmla="*/ 180120 w 272590"/>
                <a:gd name="connsiteY27" fmla="*/ 32540 h 88539"/>
                <a:gd name="connsiteX28" fmla="*/ 179118 w 272590"/>
                <a:gd name="connsiteY28" fmla="*/ 32074 h 88539"/>
                <a:gd name="connsiteX29" fmla="*/ 177171 w 272590"/>
                <a:gd name="connsiteY29" fmla="*/ 30765 h 88539"/>
                <a:gd name="connsiteX30" fmla="*/ 176699 w 272590"/>
                <a:gd name="connsiteY30" fmla="*/ 29409 h 88539"/>
                <a:gd name="connsiteX31" fmla="*/ 174999 w 272590"/>
                <a:gd name="connsiteY31" fmla="*/ 23711 h 88539"/>
                <a:gd name="connsiteX32" fmla="*/ 175406 w 272590"/>
                <a:gd name="connsiteY32" fmla="*/ 25347 h 88539"/>
                <a:gd name="connsiteX33" fmla="*/ 177331 w 272590"/>
                <a:gd name="connsiteY33" fmla="*/ 26043 h 88539"/>
                <a:gd name="connsiteX34" fmla="*/ 177446 w 272590"/>
                <a:gd name="connsiteY34" fmla="*/ 26401 h 88539"/>
                <a:gd name="connsiteX35" fmla="*/ 178628 w 272590"/>
                <a:gd name="connsiteY35" fmla="*/ 27788 h 88539"/>
                <a:gd name="connsiteX36" fmla="*/ 177692 w 272590"/>
                <a:gd name="connsiteY36" fmla="*/ 28359 h 88539"/>
                <a:gd name="connsiteX37" fmla="*/ 176858 w 272590"/>
                <a:gd name="connsiteY37" fmla="*/ 28434 h 88539"/>
                <a:gd name="connsiteX38" fmla="*/ 174333 w 272590"/>
                <a:gd name="connsiteY38" fmla="*/ 27324 h 88539"/>
                <a:gd name="connsiteX39" fmla="*/ 173579 w 272590"/>
                <a:gd name="connsiteY39" fmla="*/ 26396 h 88539"/>
                <a:gd name="connsiteX40" fmla="*/ 174464 w 272590"/>
                <a:gd name="connsiteY40" fmla="*/ 25152 h 88539"/>
                <a:gd name="connsiteX41" fmla="*/ 174655 w 272590"/>
                <a:gd name="connsiteY41" fmla="*/ 23801 h 88539"/>
                <a:gd name="connsiteX42" fmla="*/ 169539 w 272590"/>
                <a:gd name="connsiteY42" fmla="*/ 20100 h 88539"/>
                <a:gd name="connsiteX43" fmla="*/ 170817 w 272590"/>
                <a:gd name="connsiteY43" fmla="*/ 20264 h 88539"/>
                <a:gd name="connsiteX44" fmla="*/ 172249 w 272590"/>
                <a:gd name="connsiteY44" fmla="*/ 21444 h 88539"/>
                <a:gd name="connsiteX45" fmla="*/ 173072 w 272590"/>
                <a:gd name="connsiteY45" fmla="*/ 23610 h 88539"/>
                <a:gd name="connsiteX46" fmla="*/ 173948 w 272590"/>
                <a:gd name="connsiteY46" fmla="*/ 24163 h 88539"/>
                <a:gd name="connsiteX47" fmla="*/ 173431 w 272590"/>
                <a:gd name="connsiteY47" fmla="*/ 24607 h 88539"/>
                <a:gd name="connsiteX48" fmla="*/ 172057 w 272590"/>
                <a:gd name="connsiteY48" fmla="*/ 23614 h 88539"/>
                <a:gd name="connsiteX49" fmla="*/ 170071 w 272590"/>
                <a:gd name="connsiteY49" fmla="*/ 23182 h 88539"/>
                <a:gd name="connsiteX50" fmla="*/ 168901 w 272590"/>
                <a:gd name="connsiteY50" fmla="*/ 21637 h 88539"/>
                <a:gd name="connsiteX51" fmla="*/ 167789 w 272590"/>
                <a:gd name="connsiteY51" fmla="*/ 21043 h 88539"/>
                <a:gd name="connsiteX52" fmla="*/ 167699 w 272590"/>
                <a:gd name="connsiteY52" fmla="*/ 20474 h 88539"/>
                <a:gd name="connsiteX53" fmla="*/ 158657 w 272590"/>
                <a:gd name="connsiteY53" fmla="*/ 17044 h 88539"/>
                <a:gd name="connsiteX54" fmla="*/ 162138 w 272590"/>
                <a:gd name="connsiteY54" fmla="*/ 17610 h 88539"/>
                <a:gd name="connsiteX55" fmla="*/ 163344 w 272590"/>
                <a:gd name="connsiteY55" fmla="*/ 17271 h 88539"/>
                <a:gd name="connsiteX56" fmla="*/ 164504 w 272590"/>
                <a:gd name="connsiteY56" fmla="*/ 17171 h 88539"/>
                <a:gd name="connsiteX57" fmla="*/ 165730 w 272590"/>
                <a:gd name="connsiteY57" fmla="*/ 17408 h 88539"/>
                <a:gd name="connsiteX58" fmla="*/ 167437 w 272590"/>
                <a:gd name="connsiteY58" fmla="*/ 19625 h 88539"/>
                <a:gd name="connsiteX59" fmla="*/ 165938 w 272590"/>
                <a:gd name="connsiteY59" fmla="*/ 19901 h 88539"/>
                <a:gd name="connsiteX60" fmla="*/ 164748 w 272590"/>
                <a:gd name="connsiteY60" fmla="*/ 19901 h 88539"/>
                <a:gd name="connsiteX61" fmla="*/ 163870 w 272590"/>
                <a:gd name="connsiteY61" fmla="*/ 19501 h 88539"/>
                <a:gd name="connsiteX62" fmla="*/ 160749 w 272590"/>
                <a:gd name="connsiteY62" fmla="*/ 19396 h 88539"/>
                <a:gd name="connsiteX63" fmla="*/ 158686 w 272590"/>
                <a:gd name="connsiteY63" fmla="*/ 18753 h 88539"/>
                <a:gd name="connsiteX64" fmla="*/ 157554 w 272590"/>
                <a:gd name="connsiteY64" fmla="*/ 18202 h 88539"/>
                <a:gd name="connsiteX65" fmla="*/ 156999 w 272590"/>
                <a:gd name="connsiteY65" fmla="*/ 17532 h 88539"/>
                <a:gd name="connsiteX66" fmla="*/ 134593 w 272590"/>
                <a:gd name="connsiteY66" fmla="*/ 10253 h 88539"/>
                <a:gd name="connsiteX67" fmla="*/ 139587 w 272590"/>
                <a:gd name="connsiteY67" fmla="*/ 13600 h 88539"/>
                <a:gd name="connsiteX68" fmla="*/ 140415 w 272590"/>
                <a:gd name="connsiteY68" fmla="*/ 14064 h 88539"/>
                <a:gd name="connsiteX69" fmla="*/ 140456 w 272590"/>
                <a:gd name="connsiteY69" fmla="*/ 14765 h 88539"/>
                <a:gd name="connsiteX70" fmla="*/ 136023 w 272590"/>
                <a:gd name="connsiteY70" fmla="*/ 12805 h 88539"/>
                <a:gd name="connsiteX71" fmla="*/ 134119 w 272590"/>
                <a:gd name="connsiteY71" fmla="*/ 10763 h 88539"/>
                <a:gd name="connsiteX72" fmla="*/ 133350 w 272590"/>
                <a:gd name="connsiteY72" fmla="*/ 10294 h 88539"/>
                <a:gd name="connsiteX73" fmla="*/ 70638 w 272590"/>
                <a:gd name="connsiteY73" fmla="*/ 0 h 88539"/>
                <a:gd name="connsiteX74" fmla="*/ 77330 w 272590"/>
                <a:gd name="connsiteY74" fmla="*/ 733 h 88539"/>
                <a:gd name="connsiteX75" fmla="*/ 83974 w 272590"/>
                <a:gd name="connsiteY75" fmla="*/ 1977 h 88539"/>
                <a:gd name="connsiteX76" fmla="*/ 89346 w 272590"/>
                <a:gd name="connsiteY76" fmla="*/ 1625 h 88539"/>
                <a:gd name="connsiteX77" fmla="*/ 91913 w 272590"/>
                <a:gd name="connsiteY77" fmla="*/ 899 h 88539"/>
                <a:gd name="connsiteX78" fmla="*/ 91678 w 272590"/>
                <a:gd name="connsiteY78" fmla="*/ 1654 h 88539"/>
                <a:gd name="connsiteX79" fmla="*/ 94036 w 272590"/>
                <a:gd name="connsiteY79" fmla="*/ 3496 h 88539"/>
                <a:gd name="connsiteX80" fmla="*/ 94898 w 272590"/>
                <a:gd name="connsiteY80" fmla="*/ 3623 h 88539"/>
                <a:gd name="connsiteX81" fmla="*/ 98370 w 272590"/>
                <a:gd name="connsiteY81" fmla="*/ 2690 h 88539"/>
                <a:gd name="connsiteX82" fmla="*/ 107436 w 272590"/>
                <a:gd name="connsiteY82" fmla="*/ 2336 h 88539"/>
                <a:gd name="connsiteX83" fmla="*/ 108367 w 272590"/>
                <a:gd name="connsiteY83" fmla="*/ 2853 h 88539"/>
                <a:gd name="connsiteX84" fmla="*/ 109964 w 272590"/>
                <a:gd name="connsiteY84" fmla="*/ 4648 h 88539"/>
                <a:gd name="connsiteX85" fmla="*/ 112278 w 272590"/>
                <a:gd name="connsiteY85" fmla="*/ 5759 h 88539"/>
                <a:gd name="connsiteX86" fmla="*/ 114670 w 272590"/>
                <a:gd name="connsiteY86" fmla="*/ 6603 h 88539"/>
                <a:gd name="connsiteX87" fmla="*/ 117173 w 272590"/>
                <a:gd name="connsiteY87" fmla="*/ 6829 h 88539"/>
                <a:gd name="connsiteX88" fmla="*/ 119672 w 272590"/>
                <a:gd name="connsiteY88" fmla="*/ 6444 h 88539"/>
                <a:gd name="connsiteX89" fmla="*/ 122013 w 272590"/>
                <a:gd name="connsiteY89" fmla="*/ 6632 h 88539"/>
                <a:gd name="connsiteX90" fmla="*/ 124938 w 272590"/>
                <a:gd name="connsiteY90" fmla="*/ 8379 h 88539"/>
                <a:gd name="connsiteX91" fmla="*/ 125861 w 272590"/>
                <a:gd name="connsiteY91" fmla="*/ 8587 h 88539"/>
                <a:gd name="connsiteX92" fmla="*/ 128479 w 272590"/>
                <a:gd name="connsiteY92" fmla="*/ 8110 h 88539"/>
                <a:gd name="connsiteX93" fmla="*/ 127707 w 272590"/>
                <a:gd name="connsiteY93" fmla="*/ 9707 h 88539"/>
                <a:gd name="connsiteX94" fmla="*/ 132121 w 272590"/>
                <a:gd name="connsiteY94" fmla="*/ 11952 h 88539"/>
                <a:gd name="connsiteX95" fmla="*/ 135352 w 272590"/>
                <a:gd name="connsiteY95" fmla="*/ 16363 h 88539"/>
                <a:gd name="connsiteX96" fmla="*/ 137703 w 272590"/>
                <a:gd name="connsiteY96" fmla="*/ 18174 h 88539"/>
                <a:gd name="connsiteX97" fmla="*/ 140192 w 272590"/>
                <a:gd name="connsiteY97" fmla="*/ 19798 h 88539"/>
                <a:gd name="connsiteX98" fmla="*/ 142287 w 272590"/>
                <a:gd name="connsiteY98" fmla="*/ 20900 h 88539"/>
                <a:gd name="connsiteX99" fmla="*/ 144638 w 272590"/>
                <a:gd name="connsiteY99" fmla="*/ 21425 h 88539"/>
                <a:gd name="connsiteX100" fmla="*/ 151765 w 272590"/>
                <a:gd name="connsiteY100" fmla="*/ 21209 h 88539"/>
                <a:gd name="connsiteX101" fmla="*/ 153451 w 272590"/>
                <a:gd name="connsiteY101" fmla="*/ 21345 h 88539"/>
                <a:gd name="connsiteX102" fmla="*/ 154959 w 272590"/>
                <a:gd name="connsiteY102" fmla="*/ 21973 h 88539"/>
                <a:gd name="connsiteX103" fmla="*/ 156397 w 272590"/>
                <a:gd name="connsiteY103" fmla="*/ 22220 h 88539"/>
                <a:gd name="connsiteX104" fmla="*/ 157228 w 272590"/>
                <a:gd name="connsiteY104" fmla="*/ 21986 h 88539"/>
                <a:gd name="connsiteX105" fmla="*/ 171006 w 272590"/>
                <a:gd name="connsiteY105" fmla="*/ 28841 h 88539"/>
                <a:gd name="connsiteX106" fmla="*/ 175383 w 272590"/>
                <a:gd name="connsiteY106" fmla="*/ 32498 h 88539"/>
                <a:gd name="connsiteX107" fmla="*/ 178057 w 272590"/>
                <a:gd name="connsiteY107" fmla="*/ 34397 h 88539"/>
                <a:gd name="connsiteX108" fmla="*/ 183843 w 272590"/>
                <a:gd name="connsiteY108" fmla="*/ 37141 h 88539"/>
                <a:gd name="connsiteX109" fmla="*/ 186169 w 272590"/>
                <a:gd name="connsiteY109" fmla="*/ 37745 h 88539"/>
                <a:gd name="connsiteX110" fmla="*/ 187385 w 272590"/>
                <a:gd name="connsiteY110" fmla="*/ 37381 h 88539"/>
                <a:gd name="connsiteX111" fmla="*/ 187147 w 272590"/>
                <a:gd name="connsiteY111" fmla="*/ 36778 h 88539"/>
                <a:gd name="connsiteX112" fmla="*/ 185453 w 272590"/>
                <a:gd name="connsiteY112" fmla="*/ 35255 h 88539"/>
                <a:gd name="connsiteX113" fmla="*/ 185204 w 272590"/>
                <a:gd name="connsiteY113" fmla="*/ 34697 h 88539"/>
                <a:gd name="connsiteX114" fmla="*/ 187382 w 272590"/>
                <a:gd name="connsiteY114" fmla="*/ 35166 h 88539"/>
                <a:gd name="connsiteX115" fmla="*/ 191315 w 272590"/>
                <a:gd name="connsiteY115" fmla="*/ 38259 h 88539"/>
                <a:gd name="connsiteX116" fmla="*/ 192397 w 272590"/>
                <a:gd name="connsiteY116" fmla="*/ 39402 h 88539"/>
                <a:gd name="connsiteX117" fmla="*/ 194360 w 272590"/>
                <a:gd name="connsiteY117" fmla="*/ 40461 h 88539"/>
                <a:gd name="connsiteX118" fmla="*/ 196336 w 272590"/>
                <a:gd name="connsiteY118" fmla="*/ 41226 h 88539"/>
                <a:gd name="connsiteX119" fmla="*/ 195395 w 272590"/>
                <a:gd name="connsiteY119" fmla="*/ 42446 h 88539"/>
                <a:gd name="connsiteX120" fmla="*/ 193790 w 272590"/>
                <a:gd name="connsiteY120" fmla="*/ 42550 h 88539"/>
                <a:gd name="connsiteX121" fmla="*/ 190706 w 272590"/>
                <a:gd name="connsiteY121" fmla="*/ 42048 h 88539"/>
                <a:gd name="connsiteX122" fmla="*/ 193156 w 272590"/>
                <a:gd name="connsiteY122" fmla="*/ 44033 h 88539"/>
                <a:gd name="connsiteX123" fmla="*/ 193579 w 272590"/>
                <a:gd name="connsiteY123" fmla="*/ 45476 h 88539"/>
                <a:gd name="connsiteX124" fmla="*/ 194719 w 272590"/>
                <a:gd name="connsiteY124" fmla="*/ 45599 h 88539"/>
                <a:gd name="connsiteX125" fmla="*/ 196416 w 272590"/>
                <a:gd name="connsiteY125" fmla="*/ 44013 h 88539"/>
                <a:gd name="connsiteX126" fmla="*/ 197489 w 272590"/>
                <a:gd name="connsiteY126" fmla="*/ 42676 h 88539"/>
                <a:gd name="connsiteX127" fmla="*/ 201815 w 272590"/>
                <a:gd name="connsiteY127" fmla="*/ 46127 h 88539"/>
                <a:gd name="connsiteX128" fmla="*/ 204141 w 272590"/>
                <a:gd name="connsiteY128" fmla="*/ 47706 h 88539"/>
                <a:gd name="connsiteX129" fmla="*/ 203545 w 272590"/>
                <a:gd name="connsiteY129" fmla="*/ 48626 h 88539"/>
                <a:gd name="connsiteX130" fmla="*/ 203352 w 272590"/>
                <a:gd name="connsiteY130" fmla="*/ 49538 h 88539"/>
                <a:gd name="connsiteX131" fmla="*/ 205950 w 272590"/>
                <a:gd name="connsiteY131" fmla="*/ 48690 h 88539"/>
                <a:gd name="connsiteX132" fmla="*/ 206936 w 272590"/>
                <a:gd name="connsiteY132" fmla="*/ 48784 h 88539"/>
                <a:gd name="connsiteX133" fmla="*/ 207889 w 272590"/>
                <a:gd name="connsiteY133" fmla="*/ 49273 h 88539"/>
                <a:gd name="connsiteX134" fmla="*/ 208931 w 272590"/>
                <a:gd name="connsiteY134" fmla="*/ 50756 h 88539"/>
                <a:gd name="connsiteX135" fmla="*/ 211358 w 272590"/>
                <a:gd name="connsiteY135" fmla="*/ 51084 h 88539"/>
                <a:gd name="connsiteX136" fmla="*/ 213806 w 272590"/>
                <a:gd name="connsiteY136" fmla="*/ 51045 h 88539"/>
                <a:gd name="connsiteX137" fmla="*/ 218773 w 272590"/>
                <a:gd name="connsiteY137" fmla="*/ 52270 h 88539"/>
                <a:gd name="connsiteX138" fmla="*/ 223481 w 272590"/>
                <a:gd name="connsiteY138" fmla="*/ 54760 h 88539"/>
                <a:gd name="connsiteX139" fmla="*/ 227908 w 272590"/>
                <a:gd name="connsiteY139" fmla="*/ 55269 h 88539"/>
                <a:gd name="connsiteX140" fmla="*/ 232372 w 272590"/>
                <a:gd name="connsiteY140" fmla="*/ 55354 h 88539"/>
                <a:gd name="connsiteX141" fmla="*/ 234634 w 272590"/>
                <a:gd name="connsiteY141" fmla="*/ 56672 h 88539"/>
                <a:gd name="connsiteX142" fmla="*/ 235596 w 272590"/>
                <a:gd name="connsiteY142" fmla="*/ 58437 h 88539"/>
                <a:gd name="connsiteX143" fmla="*/ 234513 w 272590"/>
                <a:gd name="connsiteY143" fmla="*/ 59688 h 88539"/>
                <a:gd name="connsiteX144" fmla="*/ 233894 w 272590"/>
                <a:gd name="connsiteY144" fmla="*/ 60994 h 88539"/>
                <a:gd name="connsiteX145" fmla="*/ 235559 w 272590"/>
                <a:gd name="connsiteY145" fmla="*/ 62595 h 88539"/>
                <a:gd name="connsiteX146" fmla="*/ 231934 w 272590"/>
                <a:gd name="connsiteY146" fmla="*/ 63275 h 88539"/>
                <a:gd name="connsiteX147" fmla="*/ 231423 w 272590"/>
                <a:gd name="connsiteY147" fmla="*/ 64239 h 88539"/>
                <a:gd name="connsiteX148" fmla="*/ 231611 w 272590"/>
                <a:gd name="connsiteY148" fmla="*/ 65280 h 88539"/>
                <a:gd name="connsiteX149" fmla="*/ 232331 w 272590"/>
                <a:gd name="connsiteY149" fmla="*/ 65852 h 88539"/>
                <a:gd name="connsiteX150" fmla="*/ 234406 w 272590"/>
                <a:gd name="connsiteY150" fmla="*/ 65350 h 88539"/>
                <a:gd name="connsiteX151" fmla="*/ 237401 w 272590"/>
                <a:gd name="connsiteY151" fmla="*/ 65796 h 88539"/>
                <a:gd name="connsiteX152" fmla="*/ 242130 w 272590"/>
                <a:gd name="connsiteY152" fmla="*/ 66194 h 88539"/>
                <a:gd name="connsiteX153" fmla="*/ 245296 w 272590"/>
                <a:gd name="connsiteY153" fmla="*/ 65871 h 88539"/>
                <a:gd name="connsiteX154" fmla="*/ 251726 w 272590"/>
                <a:gd name="connsiteY154" fmla="*/ 66960 h 88539"/>
                <a:gd name="connsiteX155" fmla="*/ 253681 w 272590"/>
                <a:gd name="connsiteY155" fmla="*/ 67543 h 88539"/>
                <a:gd name="connsiteX156" fmla="*/ 257497 w 272590"/>
                <a:gd name="connsiteY156" fmla="*/ 69591 h 88539"/>
                <a:gd name="connsiteX157" fmla="*/ 259263 w 272590"/>
                <a:gd name="connsiteY157" fmla="*/ 70940 h 88539"/>
                <a:gd name="connsiteX158" fmla="*/ 263048 w 272590"/>
                <a:gd name="connsiteY158" fmla="*/ 74575 h 88539"/>
                <a:gd name="connsiteX159" fmla="*/ 266313 w 272590"/>
                <a:gd name="connsiteY159" fmla="*/ 76005 h 88539"/>
                <a:gd name="connsiteX160" fmla="*/ 269143 w 272590"/>
                <a:gd name="connsiteY160" fmla="*/ 76351 h 88539"/>
                <a:gd name="connsiteX161" fmla="*/ 270129 w 272590"/>
                <a:gd name="connsiteY161" fmla="*/ 76112 h 88539"/>
                <a:gd name="connsiteX162" fmla="*/ 271027 w 272590"/>
                <a:gd name="connsiteY162" fmla="*/ 76507 h 88539"/>
                <a:gd name="connsiteX163" fmla="*/ 271813 w 272590"/>
                <a:gd name="connsiteY163" fmla="*/ 77017 h 88539"/>
                <a:gd name="connsiteX164" fmla="*/ 272590 w 272590"/>
                <a:gd name="connsiteY164" fmla="*/ 78607 h 88539"/>
                <a:gd name="connsiteX165" fmla="*/ 272162 w 272590"/>
                <a:gd name="connsiteY165" fmla="*/ 80280 h 88539"/>
                <a:gd name="connsiteX166" fmla="*/ 270547 w 272590"/>
                <a:gd name="connsiteY166" fmla="*/ 81637 h 88539"/>
                <a:gd name="connsiteX167" fmla="*/ 269649 w 272590"/>
                <a:gd name="connsiteY167" fmla="*/ 82625 h 88539"/>
                <a:gd name="connsiteX168" fmla="*/ 265609 w 272590"/>
                <a:gd name="connsiteY168" fmla="*/ 82740 h 88539"/>
                <a:gd name="connsiteX169" fmla="*/ 259965 w 272590"/>
                <a:gd name="connsiteY169" fmla="*/ 83194 h 88539"/>
                <a:gd name="connsiteX170" fmla="*/ 254505 w 272590"/>
                <a:gd name="connsiteY170" fmla="*/ 84668 h 88539"/>
                <a:gd name="connsiteX171" fmla="*/ 251841 w 272590"/>
                <a:gd name="connsiteY171" fmla="*/ 85838 h 88539"/>
                <a:gd name="connsiteX172" fmla="*/ 250624 w 272590"/>
                <a:gd name="connsiteY172" fmla="*/ 86613 h 88539"/>
                <a:gd name="connsiteX173" fmla="*/ 247752 w 272590"/>
                <a:gd name="connsiteY173" fmla="*/ 87328 h 88539"/>
                <a:gd name="connsiteX174" fmla="*/ 247556 w 272590"/>
                <a:gd name="connsiteY174" fmla="*/ 86716 h 88539"/>
                <a:gd name="connsiteX175" fmla="*/ 247611 w 272590"/>
                <a:gd name="connsiteY175" fmla="*/ 85944 h 88539"/>
                <a:gd name="connsiteX176" fmla="*/ 246859 w 272590"/>
                <a:gd name="connsiteY176" fmla="*/ 84507 h 88539"/>
                <a:gd name="connsiteX177" fmla="*/ 246208 w 272590"/>
                <a:gd name="connsiteY177" fmla="*/ 85799 h 88539"/>
                <a:gd name="connsiteX178" fmla="*/ 245139 w 272590"/>
                <a:gd name="connsiteY178" fmla="*/ 86742 h 88539"/>
                <a:gd name="connsiteX179" fmla="*/ 243338 w 272590"/>
                <a:gd name="connsiteY179" fmla="*/ 87547 h 88539"/>
                <a:gd name="connsiteX180" fmla="*/ 236708 w 272590"/>
                <a:gd name="connsiteY180" fmla="*/ 87600 h 88539"/>
                <a:gd name="connsiteX181" fmla="*/ 234039 w 272590"/>
                <a:gd name="connsiteY181" fmla="*/ 86516 h 88539"/>
                <a:gd name="connsiteX182" fmla="*/ 231303 w 272590"/>
                <a:gd name="connsiteY182" fmla="*/ 85772 h 88539"/>
                <a:gd name="connsiteX183" fmla="*/ 221329 w 272590"/>
                <a:gd name="connsiteY183" fmla="*/ 84998 h 88539"/>
                <a:gd name="connsiteX184" fmla="*/ 218936 w 272590"/>
                <a:gd name="connsiteY184" fmla="*/ 85067 h 88539"/>
                <a:gd name="connsiteX185" fmla="*/ 212273 w 272590"/>
                <a:gd name="connsiteY185" fmla="*/ 85871 h 88539"/>
                <a:gd name="connsiteX186" fmla="*/ 205576 w 272590"/>
                <a:gd name="connsiteY186" fmla="*/ 86305 h 88539"/>
                <a:gd name="connsiteX187" fmla="*/ 202774 w 272590"/>
                <a:gd name="connsiteY187" fmla="*/ 86803 h 88539"/>
                <a:gd name="connsiteX188" fmla="*/ 200004 w 272590"/>
                <a:gd name="connsiteY188" fmla="*/ 87554 h 88539"/>
                <a:gd name="connsiteX189" fmla="*/ 194617 w 272590"/>
                <a:gd name="connsiteY189" fmla="*/ 87530 h 88539"/>
                <a:gd name="connsiteX190" fmla="*/ 188246 w 272590"/>
                <a:gd name="connsiteY190" fmla="*/ 88383 h 88539"/>
                <a:gd name="connsiteX191" fmla="*/ 181858 w 272590"/>
                <a:gd name="connsiteY191" fmla="*/ 88539 h 88539"/>
                <a:gd name="connsiteX192" fmla="*/ 185950 w 272590"/>
                <a:gd name="connsiteY192" fmla="*/ 82561 h 88539"/>
                <a:gd name="connsiteX193" fmla="*/ 194580 w 272590"/>
                <a:gd name="connsiteY193" fmla="*/ 76799 h 88539"/>
                <a:gd name="connsiteX194" fmla="*/ 196203 w 272590"/>
                <a:gd name="connsiteY194" fmla="*/ 75562 h 88539"/>
                <a:gd name="connsiteX195" fmla="*/ 197358 w 272590"/>
                <a:gd name="connsiteY195" fmla="*/ 73970 h 88539"/>
                <a:gd name="connsiteX196" fmla="*/ 197633 w 272590"/>
                <a:gd name="connsiteY196" fmla="*/ 72769 h 88539"/>
                <a:gd name="connsiteX197" fmla="*/ 197254 w 272590"/>
                <a:gd name="connsiteY197" fmla="*/ 71747 h 88539"/>
                <a:gd name="connsiteX198" fmla="*/ 195199 w 272590"/>
                <a:gd name="connsiteY198" fmla="*/ 69940 h 88539"/>
                <a:gd name="connsiteX199" fmla="*/ 194781 w 272590"/>
                <a:gd name="connsiteY199" fmla="*/ 68595 h 88539"/>
                <a:gd name="connsiteX200" fmla="*/ 194169 w 272590"/>
                <a:gd name="connsiteY200" fmla="*/ 67725 h 88539"/>
                <a:gd name="connsiteX201" fmla="*/ 191178 w 272590"/>
                <a:gd name="connsiteY201" fmla="*/ 66968 h 88539"/>
                <a:gd name="connsiteX202" fmla="*/ 188148 w 272590"/>
                <a:gd name="connsiteY202" fmla="*/ 66515 h 88539"/>
                <a:gd name="connsiteX203" fmla="*/ 184961 w 272590"/>
                <a:gd name="connsiteY203" fmla="*/ 66499 h 88539"/>
                <a:gd name="connsiteX204" fmla="*/ 178263 w 272590"/>
                <a:gd name="connsiteY204" fmla="*/ 65876 h 88539"/>
                <a:gd name="connsiteX205" fmla="*/ 174703 w 272590"/>
                <a:gd name="connsiteY205" fmla="*/ 65831 h 88539"/>
                <a:gd name="connsiteX206" fmla="*/ 171685 w 272590"/>
                <a:gd name="connsiteY206" fmla="*/ 64600 h 88539"/>
                <a:gd name="connsiteX207" fmla="*/ 166676 w 272590"/>
                <a:gd name="connsiteY207" fmla="*/ 60216 h 88539"/>
                <a:gd name="connsiteX208" fmla="*/ 164331 w 272590"/>
                <a:gd name="connsiteY208" fmla="*/ 58988 h 88539"/>
                <a:gd name="connsiteX209" fmla="*/ 163127 w 272590"/>
                <a:gd name="connsiteY209" fmla="*/ 58005 h 88539"/>
                <a:gd name="connsiteX210" fmla="*/ 162190 w 272590"/>
                <a:gd name="connsiteY210" fmla="*/ 56874 h 88539"/>
                <a:gd name="connsiteX211" fmla="*/ 161012 w 272590"/>
                <a:gd name="connsiteY211" fmla="*/ 50429 h 88539"/>
                <a:gd name="connsiteX212" fmla="*/ 160014 w 272590"/>
                <a:gd name="connsiteY212" fmla="*/ 47326 h 88539"/>
                <a:gd name="connsiteX213" fmla="*/ 158496 w 272590"/>
                <a:gd name="connsiteY213" fmla="*/ 44627 h 88539"/>
                <a:gd name="connsiteX214" fmla="*/ 156183 w 272590"/>
                <a:gd name="connsiteY214" fmla="*/ 42576 h 88539"/>
                <a:gd name="connsiteX215" fmla="*/ 153767 w 272590"/>
                <a:gd name="connsiteY215" fmla="*/ 41880 h 88539"/>
                <a:gd name="connsiteX216" fmla="*/ 144481 w 272590"/>
                <a:gd name="connsiteY216" fmla="*/ 43636 h 88539"/>
                <a:gd name="connsiteX217" fmla="*/ 142319 w 272590"/>
                <a:gd name="connsiteY217" fmla="*/ 43376 h 88539"/>
                <a:gd name="connsiteX218" fmla="*/ 140215 w 272590"/>
                <a:gd name="connsiteY218" fmla="*/ 42778 h 88539"/>
                <a:gd name="connsiteX219" fmla="*/ 126195 w 272590"/>
                <a:gd name="connsiteY219" fmla="*/ 38596 h 88539"/>
                <a:gd name="connsiteX220" fmla="*/ 120414 w 272590"/>
                <a:gd name="connsiteY220" fmla="*/ 36294 h 88539"/>
                <a:gd name="connsiteX221" fmla="*/ 118056 w 272590"/>
                <a:gd name="connsiteY221" fmla="*/ 35153 h 88539"/>
                <a:gd name="connsiteX222" fmla="*/ 116044 w 272590"/>
                <a:gd name="connsiteY222" fmla="*/ 33524 h 88539"/>
                <a:gd name="connsiteX223" fmla="*/ 113959 w 272590"/>
                <a:gd name="connsiteY223" fmla="*/ 30855 h 88539"/>
                <a:gd name="connsiteX224" fmla="*/ 111613 w 272590"/>
                <a:gd name="connsiteY224" fmla="*/ 28468 h 88539"/>
                <a:gd name="connsiteX225" fmla="*/ 111629 w 272590"/>
                <a:gd name="connsiteY225" fmla="*/ 29434 h 88539"/>
                <a:gd name="connsiteX226" fmla="*/ 111267 w 272590"/>
                <a:gd name="connsiteY226" fmla="*/ 30062 h 88539"/>
                <a:gd name="connsiteX227" fmla="*/ 99531 w 272590"/>
                <a:gd name="connsiteY227" fmla="*/ 30346 h 88539"/>
                <a:gd name="connsiteX228" fmla="*/ 97662 w 272590"/>
                <a:gd name="connsiteY228" fmla="*/ 29794 h 88539"/>
                <a:gd name="connsiteX229" fmla="*/ 96458 w 272590"/>
                <a:gd name="connsiteY229" fmla="*/ 29146 h 88539"/>
                <a:gd name="connsiteX230" fmla="*/ 95608 w 272590"/>
                <a:gd name="connsiteY230" fmla="*/ 28181 h 88539"/>
                <a:gd name="connsiteX231" fmla="*/ 94979 w 272590"/>
                <a:gd name="connsiteY231" fmla="*/ 26245 h 88539"/>
                <a:gd name="connsiteX232" fmla="*/ 93861 w 272590"/>
                <a:gd name="connsiteY232" fmla="*/ 24620 h 88539"/>
                <a:gd name="connsiteX233" fmla="*/ 93505 w 272590"/>
                <a:gd name="connsiteY233" fmla="*/ 26352 h 88539"/>
                <a:gd name="connsiteX234" fmla="*/ 92926 w 272590"/>
                <a:gd name="connsiteY234" fmla="*/ 27949 h 88539"/>
                <a:gd name="connsiteX235" fmla="*/ 91355 w 272590"/>
                <a:gd name="connsiteY235" fmla="*/ 28841 h 88539"/>
                <a:gd name="connsiteX236" fmla="*/ 89557 w 272590"/>
                <a:gd name="connsiteY236" fmla="*/ 28982 h 88539"/>
                <a:gd name="connsiteX237" fmla="*/ 87380 w 272590"/>
                <a:gd name="connsiteY237" fmla="*/ 26861 h 88539"/>
                <a:gd name="connsiteX238" fmla="*/ 77869 w 272590"/>
                <a:gd name="connsiteY238" fmla="*/ 26425 h 88539"/>
                <a:gd name="connsiteX239" fmla="*/ 77028 w 272590"/>
                <a:gd name="connsiteY239" fmla="*/ 26066 h 88539"/>
                <a:gd name="connsiteX240" fmla="*/ 73904 w 272590"/>
                <a:gd name="connsiteY240" fmla="*/ 24010 h 88539"/>
                <a:gd name="connsiteX241" fmla="*/ 71238 w 272590"/>
                <a:gd name="connsiteY241" fmla="*/ 21430 h 88539"/>
                <a:gd name="connsiteX242" fmla="*/ 73892 w 272590"/>
                <a:gd name="connsiteY242" fmla="*/ 20521 h 88539"/>
                <a:gd name="connsiteX243" fmla="*/ 79368 w 272590"/>
                <a:gd name="connsiteY243" fmla="*/ 19323 h 88539"/>
                <a:gd name="connsiteX244" fmla="*/ 80554 w 272590"/>
                <a:gd name="connsiteY244" fmla="*/ 18525 h 88539"/>
                <a:gd name="connsiteX245" fmla="*/ 81241 w 272590"/>
                <a:gd name="connsiteY245" fmla="*/ 17508 h 88539"/>
                <a:gd name="connsiteX246" fmla="*/ 80746 w 272590"/>
                <a:gd name="connsiteY246" fmla="*/ 15986 h 88539"/>
                <a:gd name="connsiteX247" fmla="*/ 79658 w 272590"/>
                <a:gd name="connsiteY247" fmla="*/ 14892 h 88539"/>
                <a:gd name="connsiteX248" fmla="*/ 78537 w 272590"/>
                <a:gd name="connsiteY248" fmla="*/ 14249 h 88539"/>
                <a:gd name="connsiteX249" fmla="*/ 77296 w 272590"/>
                <a:gd name="connsiteY249" fmla="*/ 13838 h 88539"/>
                <a:gd name="connsiteX250" fmla="*/ 75658 w 272590"/>
                <a:gd name="connsiteY250" fmla="*/ 13662 h 88539"/>
                <a:gd name="connsiteX251" fmla="*/ 54495 w 272590"/>
                <a:gd name="connsiteY251" fmla="*/ 13389 h 88539"/>
                <a:gd name="connsiteX252" fmla="*/ 53269 w 272590"/>
                <a:gd name="connsiteY252" fmla="*/ 14214 h 88539"/>
                <a:gd name="connsiteX253" fmla="*/ 51371 w 272590"/>
                <a:gd name="connsiteY253" fmla="*/ 15900 h 88539"/>
                <a:gd name="connsiteX254" fmla="*/ 47613 w 272590"/>
                <a:gd name="connsiteY254" fmla="*/ 18063 h 88539"/>
                <a:gd name="connsiteX255" fmla="*/ 45136 w 272590"/>
                <a:gd name="connsiteY255" fmla="*/ 20306 h 88539"/>
                <a:gd name="connsiteX256" fmla="*/ 44207 w 272590"/>
                <a:gd name="connsiteY256" fmla="*/ 21463 h 88539"/>
                <a:gd name="connsiteX257" fmla="*/ 43050 w 272590"/>
                <a:gd name="connsiteY257" fmla="*/ 22290 h 88539"/>
                <a:gd name="connsiteX258" fmla="*/ 40445 w 272590"/>
                <a:gd name="connsiteY258" fmla="*/ 23681 h 88539"/>
                <a:gd name="connsiteX259" fmla="*/ 38226 w 272590"/>
                <a:gd name="connsiteY259" fmla="*/ 25817 h 88539"/>
                <a:gd name="connsiteX260" fmla="*/ 35531 w 272590"/>
                <a:gd name="connsiteY260" fmla="*/ 26772 h 88539"/>
                <a:gd name="connsiteX261" fmla="*/ 34058 w 272590"/>
                <a:gd name="connsiteY261" fmla="*/ 26192 h 88539"/>
                <a:gd name="connsiteX262" fmla="*/ 32600 w 272590"/>
                <a:gd name="connsiteY262" fmla="*/ 26197 h 88539"/>
                <a:gd name="connsiteX263" fmla="*/ 31546 w 272590"/>
                <a:gd name="connsiteY263" fmla="*/ 26723 h 88539"/>
                <a:gd name="connsiteX264" fmla="*/ 30442 w 272590"/>
                <a:gd name="connsiteY264" fmla="*/ 26964 h 88539"/>
                <a:gd name="connsiteX265" fmla="*/ 25014 w 272590"/>
                <a:gd name="connsiteY265" fmla="*/ 27225 h 88539"/>
                <a:gd name="connsiteX266" fmla="*/ 24202 w 272590"/>
                <a:gd name="connsiteY266" fmla="*/ 27770 h 88539"/>
                <a:gd name="connsiteX267" fmla="*/ 23427 w 272590"/>
                <a:gd name="connsiteY267" fmla="*/ 29302 h 88539"/>
                <a:gd name="connsiteX268" fmla="*/ 22546 w 272590"/>
                <a:gd name="connsiteY268" fmla="*/ 32281 h 88539"/>
                <a:gd name="connsiteX269" fmla="*/ 21711 w 272590"/>
                <a:gd name="connsiteY269" fmla="*/ 33265 h 88539"/>
                <a:gd name="connsiteX270" fmla="*/ 18989 w 272590"/>
                <a:gd name="connsiteY270" fmla="*/ 33641 h 88539"/>
                <a:gd name="connsiteX271" fmla="*/ 16394 w 272590"/>
                <a:gd name="connsiteY271" fmla="*/ 34457 h 88539"/>
                <a:gd name="connsiteX272" fmla="*/ 11115 w 272590"/>
                <a:gd name="connsiteY272" fmla="*/ 37292 h 88539"/>
                <a:gd name="connsiteX273" fmla="*/ 9752 w 272590"/>
                <a:gd name="connsiteY273" fmla="*/ 37704 h 88539"/>
                <a:gd name="connsiteX274" fmla="*/ 10048 w 272590"/>
                <a:gd name="connsiteY274" fmla="*/ 35627 h 88539"/>
                <a:gd name="connsiteX275" fmla="*/ 9783 w 272590"/>
                <a:gd name="connsiteY275" fmla="*/ 33607 h 88539"/>
                <a:gd name="connsiteX276" fmla="*/ 8297 w 272590"/>
                <a:gd name="connsiteY276" fmla="*/ 33535 h 88539"/>
                <a:gd name="connsiteX277" fmla="*/ 6601 w 272590"/>
                <a:gd name="connsiteY277" fmla="*/ 33871 h 88539"/>
                <a:gd name="connsiteX278" fmla="*/ 5187 w 272590"/>
                <a:gd name="connsiteY278" fmla="*/ 34437 h 88539"/>
                <a:gd name="connsiteX279" fmla="*/ 2570 w 272590"/>
                <a:gd name="connsiteY279" fmla="*/ 35946 h 88539"/>
                <a:gd name="connsiteX280" fmla="*/ 1241 w 272590"/>
                <a:gd name="connsiteY280" fmla="*/ 36328 h 88539"/>
                <a:gd name="connsiteX281" fmla="*/ 0 w 272590"/>
                <a:gd name="connsiteY281" fmla="*/ 35556 h 88539"/>
                <a:gd name="connsiteX282" fmla="*/ 253 w 272590"/>
                <a:gd name="connsiteY282" fmla="*/ 34568 h 88539"/>
                <a:gd name="connsiteX283" fmla="*/ 8987 w 272590"/>
                <a:gd name="connsiteY283" fmla="*/ 30924 h 88539"/>
                <a:gd name="connsiteX284" fmla="*/ 9964 w 272590"/>
                <a:gd name="connsiteY284" fmla="*/ 30646 h 88539"/>
                <a:gd name="connsiteX285" fmla="*/ 11516 w 272590"/>
                <a:gd name="connsiteY285" fmla="*/ 30920 h 88539"/>
                <a:gd name="connsiteX286" fmla="*/ 13035 w 272590"/>
                <a:gd name="connsiteY286" fmla="*/ 30796 h 88539"/>
                <a:gd name="connsiteX287" fmla="*/ 14221 w 272590"/>
                <a:gd name="connsiteY287" fmla="*/ 29776 h 88539"/>
                <a:gd name="connsiteX288" fmla="*/ 12784 w 272590"/>
                <a:gd name="connsiteY288" fmla="*/ 24950 h 88539"/>
                <a:gd name="connsiteX289" fmla="*/ 13335 w 272590"/>
                <a:gd name="connsiteY289" fmla="*/ 21665 h 88539"/>
                <a:gd name="connsiteX290" fmla="*/ 15362 w 272590"/>
                <a:gd name="connsiteY290" fmla="*/ 19124 h 88539"/>
                <a:gd name="connsiteX291" fmla="*/ 19408 w 272590"/>
                <a:gd name="connsiteY291" fmla="*/ 15275 h 88539"/>
                <a:gd name="connsiteX292" fmla="*/ 21357 w 272590"/>
                <a:gd name="connsiteY292" fmla="*/ 14010 h 88539"/>
                <a:gd name="connsiteX293" fmla="*/ 41315 w 272590"/>
                <a:gd name="connsiteY293" fmla="*/ 5957 h 88539"/>
                <a:gd name="connsiteX294" fmla="*/ 43359 w 272590"/>
                <a:gd name="connsiteY294" fmla="*/ 5546 h 88539"/>
                <a:gd name="connsiteX295" fmla="*/ 56326 w 272590"/>
                <a:gd name="connsiteY295" fmla="*/ 3928 h 88539"/>
                <a:gd name="connsiteX296" fmla="*/ 58305 w 272590"/>
                <a:gd name="connsiteY296" fmla="*/ 3366 h 88539"/>
                <a:gd name="connsiteX297" fmla="*/ 64321 w 272590"/>
                <a:gd name="connsiteY297" fmla="*/ 976 h 88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</a:cxnLst>
              <a:rect l="l" t="t" r="r" b="b"/>
              <a:pathLst>
                <a:path w="272590" h="88539">
                  <a:moveTo>
                    <a:pt x="48076" y="33276"/>
                  </a:moveTo>
                  <a:lnTo>
                    <a:pt x="54046" y="34159"/>
                  </a:lnTo>
                  <a:lnTo>
                    <a:pt x="55092" y="34672"/>
                  </a:lnTo>
                  <a:lnTo>
                    <a:pt x="55921" y="36510"/>
                  </a:lnTo>
                  <a:lnTo>
                    <a:pt x="57251" y="37951"/>
                  </a:lnTo>
                  <a:lnTo>
                    <a:pt x="58811" y="41805"/>
                  </a:lnTo>
                  <a:lnTo>
                    <a:pt x="58965" y="43137"/>
                  </a:lnTo>
                  <a:lnTo>
                    <a:pt x="56605" y="44544"/>
                  </a:lnTo>
                  <a:lnTo>
                    <a:pt x="51576" y="46529"/>
                  </a:lnTo>
                  <a:lnTo>
                    <a:pt x="48877" y="46598"/>
                  </a:lnTo>
                  <a:lnTo>
                    <a:pt x="46147" y="45853"/>
                  </a:lnTo>
                  <a:lnTo>
                    <a:pt x="44265" y="44193"/>
                  </a:lnTo>
                  <a:lnTo>
                    <a:pt x="43193" y="42558"/>
                  </a:lnTo>
                  <a:lnTo>
                    <a:pt x="43284" y="41772"/>
                  </a:lnTo>
                  <a:lnTo>
                    <a:pt x="44989" y="43084"/>
                  </a:lnTo>
                  <a:lnTo>
                    <a:pt x="46461" y="43728"/>
                  </a:lnTo>
                  <a:lnTo>
                    <a:pt x="47670" y="43299"/>
                  </a:lnTo>
                  <a:lnTo>
                    <a:pt x="48523" y="42590"/>
                  </a:lnTo>
                  <a:lnTo>
                    <a:pt x="45761" y="37300"/>
                  </a:lnTo>
                  <a:lnTo>
                    <a:pt x="45882" y="36181"/>
                  </a:lnTo>
                  <a:close/>
                  <a:moveTo>
                    <a:pt x="178317" y="29307"/>
                  </a:moveTo>
                  <a:lnTo>
                    <a:pt x="180355" y="29546"/>
                  </a:lnTo>
                  <a:lnTo>
                    <a:pt x="183922" y="30316"/>
                  </a:lnTo>
                  <a:lnTo>
                    <a:pt x="183610" y="31847"/>
                  </a:lnTo>
                  <a:lnTo>
                    <a:pt x="183028" y="33031"/>
                  </a:lnTo>
                  <a:lnTo>
                    <a:pt x="181987" y="33845"/>
                  </a:lnTo>
                  <a:lnTo>
                    <a:pt x="180846" y="32670"/>
                  </a:lnTo>
                  <a:lnTo>
                    <a:pt x="180120" y="32540"/>
                  </a:lnTo>
                  <a:lnTo>
                    <a:pt x="179118" y="32074"/>
                  </a:lnTo>
                  <a:lnTo>
                    <a:pt x="177171" y="30765"/>
                  </a:lnTo>
                  <a:lnTo>
                    <a:pt x="176699" y="29409"/>
                  </a:lnTo>
                  <a:close/>
                  <a:moveTo>
                    <a:pt x="174999" y="23711"/>
                  </a:moveTo>
                  <a:lnTo>
                    <a:pt x="175406" y="25347"/>
                  </a:lnTo>
                  <a:lnTo>
                    <a:pt x="177331" y="26043"/>
                  </a:lnTo>
                  <a:lnTo>
                    <a:pt x="177446" y="26401"/>
                  </a:lnTo>
                  <a:lnTo>
                    <a:pt x="178628" y="27788"/>
                  </a:lnTo>
                  <a:lnTo>
                    <a:pt x="177692" y="28359"/>
                  </a:lnTo>
                  <a:lnTo>
                    <a:pt x="176858" y="28434"/>
                  </a:lnTo>
                  <a:lnTo>
                    <a:pt x="174333" y="27324"/>
                  </a:lnTo>
                  <a:lnTo>
                    <a:pt x="173579" y="26396"/>
                  </a:lnTo>
                  <a:lnTo>
                    <a:pt x="174464" y="25152"/>
                  </a:lnTo>
                  <a:lnTo>
                    <a:pt x="174655" y="23801"/>
                  </a:lnTo>
                  <a:close/>
                  <a:moveTo>
                    <a:pt x="169539" y="20100"/>
                  </a:moveTo>
                  <a:lnTo>
                    <a:pt x="170817" y="20264"/>
                  </a:lnTo>
                  <a:lnTo>
                    <a:pt x="172249" y="21444"/>
                  </a:lnTo>
                  <a:lnTo>
                    <a:pt x="173072" y="23610"/>
                  </a:lnTo>
                  <a:lnTo>
                    <a:pt x="173948" y="24163"/>
                  </a:lnTo>
                  <a:lnTo>
                    <a:pt x="173431" y="24607"/>
                  </a:lnTo>
                  <a:lnTo>
                    <a:pt x="172057" y="23614"/>
                  </a:lnTo>
                  <a:lnTo>
                    <a:pt x="170071" y="23182"/>
                  </a:lnTo>
                  <a:lnTo>
                    <a:pt x="168901" y="21637"/>
                  </a:lnTo>
                  <a:lnTo>
                    <a:pt x="167789" y="21043"/>
                  </a:lnTo>
                  <a:lnTo>
                    <a:pt x="167699" y="20474"/>
                  </a:lnTo>
                  <a:close/>
                  <a:moveTo>
                    <a:pt x="158657" y="17044"/>
                  </a:moveTo>
                  <a:lnTo>
                    <a:pt x="162138" y="17610"/>
                  </a:lnTo>
                  <a:lnTo>
                    <a:pt x="163344" y="17271"/>
                  </a:lnTo>
                  <a:lnTo>
                    <a:pt x="164504" y="17171"/>
                  </a:lnTo>
                  <a:lnTo>
                    <a:pt x="165730" y="17408"/>
                  </a:lnTo>
                  <a:lnTo>
                    <a:pt x="167437" y="19625"/>
                  </a:lnTo>
                  <a:lnTo>
                    <a:pt x="165938" y="19901"/>
                  </a:lnTo>
                  <a:lnTo>
                    <a:pt x="164748" y="19901"/>
                  </a:lnTo>
                  <a:lnTo>
                    <a:pt x="163870" y="19501"/>
                  </a:lnTo>
                  <a:lnTo>
                    <a:pt x="160749" y="19396"/>
                  </a:lnTo>
                  <a:lnTo>
                    <a:pt x="158686" y="18753"/>
                  </a:lnTo>
                  <a:lnTo>
                    <a:pt x="157554" y="18202"/>
                  </a:lnTo>
                  <a:lnTo>
                    <a:pt x="156999" y="17532"/>
                  </a:lnTo>
                  <a:close/>
                  <a:moveTo>
                    <a:pt x="134593" y="10253"/>
                  </a:moveTo>
                  <a:lnTo>
                    <a:pt x="139587" y="13600"/>
                  </a:lnTo>
                  <a:lnTo>
                    <a:pt x="140415" y="14064"/>
                  </a:lnTo>
                  <a:lnTo>
                    <a:pt x="140456" y="14765"/>
                  </a:lnTo>
                  <a:lnTo>
                    <a:pt x="136023" y="12805"/>
                  </a:lnTo>
                  <a:lnTo>
                    <a:pt x="134119" y="10763"/>
                  </a:lnTo>
                  <a:lnTo>
                    <a:pt x="133350" y="10294"/>
                  </a:lnTo>
                  <a:close/>
                  <a:moveTo>
                    <a:pt x="70638" y="0"/>
                  </a:moveTo>
                  <a:lnTo>
                    <a:pt x="77330" y="733"/>
                  </a:lnTo>
                  <a:lnTo>
                    <a:pt x="83974" y="1977"/>
                  </a:lnTo>
                  <a:lnTo>
                    <a:pt x="89346" y="1625"/>
                  </a:lnTo>
                  <a:lnTo>
                    <a:pt x="91913" y="899"/>
                  </a:lnTo>
                  <a:lnTo>
                    <a:pt x="91678" y="1654"/>
                  </a:lnTo>
                  <a:lnTo>
                    <a:pt x="94036" y="3496"/>
                  </a:lnTo>
                  <a:lnTo>
                    <a:pt x="94898" y="3623"/>
                  </a:lnTo>
                  <a:lnTo>
                    <a:pt x="98370" y="2690"/>
                  </a:lnTo>
                  <a:lnTo>
                    <a:pt x="107436" y="2336"/>
                  </a:lnTo>
                  <a:lnTo>
                    <a:pt x="108367" y="2853"/>
                  </a:lnTo>
                  <a:lnTo>
                    <a:pt x="109964" y="4648"/>
                  </a:lnTo>
                  <a:lnTo>
                    <a:pt x="112278" y="5759"/>
                  </a:lnTo>
                  <a:lnTo>
                    <a:pt x="114670" y="6603"/>
                  </a:lnTo>
                  <a:lnTo>
                    <a:pt x="117173" y="6829"/>
                  </a:lnTo>
                  <a:lnTo>
                    <a:pt x="119672" y="6444"/>
                  </a:lnTo>
                  <a:lnTo>
                    <a:pt x="122013" y="6632"/>
                  </a:lnTo>
                  <a:lnTo>
                    <a:pt x="124938" y="8379"/>
                  </a:lnTo>
                  <a:lnTo>
                    <a:pt x="125861" y="8587"/>
                  </a:lnTo>
                  <a:lnTo>
                    <a:pt x="128479" y="8110"/>
                  </a:lnTo>
                  <a:lnTo>
                    <a:pt x="127707" y="9707"/>
                  </a:lnTo>
                  <a:lnTo>
                    <a:pt x="132121" y="11952"/>
                  </a:lnTo>
                  <a:lnTo>
                    <a:pt x="135352" y="16363"/>
                  </a:lnTo>
                  <a:lnTo>
                    <a:pt x="137703" y="18174"/>
                  </a:lnTo>
                  <a:lnTo>
                    <a:pt x="140192" y="19798"/>
                  </a:lnTo>
                  <a:lnTo>
                    <a:pt x="142287" y="20900"/>
                  </a:lnTo>
                  <a:lnTo>
                    <a:pt x="144638" y="21425"/>
                  </a:lnTo>
                  <a:lnTo>
                    <a:pt x="151765" y="21209"/>
                  </a:lnTo>
                  <a:lnTo>
                    <a:pt x="153451" y="21345"/>
                  </a:lnTo>
                  <a:lnTo>
                    <a:pt x="154959" y="21973"/>
                  </a:lnTo>
                  <a:lnTo>
                    <a:pt x="156397" y="22220"/>
                  </a:lnTo>
                  <a:lnTo>
                    <a:pt x="157228" y="21986"/>
                  </a:lnTo>
                  <a:lnTo>
                    <a:pt x="171006" y="28841"/>
                  </a:lnTo>
                  <a:lnTo>
                    <a:pt x="175383" y="32498"/>
                  </a:lnTo>
                  <a:lnTo>
                    <a:pt x="178057" y="34397"/>
                  </a:lnTo>
                  <a:lnTo>
                    <a:pt x="183843" y="37141"/>
                  </a:lnTo>
                  <a:lnTo>
                    <a:pt x="186169" y="37745"/>
                  </a:lnTo>
                  <a:lnTo>
                    <a:pt x="187385" y="37381"/>
                  </a:lnTo>
                  <a:lnTo>
                    <a:pt x="187147" y="36778"/>
                  </a:lnTo>
                  <a:lnTo>
                    <a:pt x="185453" y="35255"/>
                  </a:lnTo>
                  <a:lnTo>
                    <a:pt x="185204" y="34697"/>
                  </a:lnTo>
                  <a:lnTo>
                    <a:pt x="187382" y="35166"/>
                  </a:lnTo>
                  <a:lnTo>
                    <a:pt x="191315" y="38259"/>
                  </a:lnTo>
                  <a:lnTo>
                    <a:pt x="192397" y="39402"/>
                  </a:lnTo>
                  <a:lnTo>
                    <a:pt x="194360" y="40461"/>
                  </a:lnTo>
                  <a:lnTo>
                    <a:pt x="196336" y="41226"/>
                  </a:lnTo>
                  <a:lnTo>
                    <a:pt x="195395" y="42446"/>
                  </a:lnTo>
                  <a:lnTo>
                    <a:pt x="193790" y="42550"/>
                  </a:lnTo>
                  <a:lnTo>
                    <a:pt x="190706" y="42048"/>
                  </a:lnTo>
                  <a:lnTo>
                    <a:pt x="193156" y="44033"/>
                  </a:lnTo>
                  <a:lnTo>
                    <a:pt x="193579" y="45476"/>
                  </a:lnTo>
                  <a:lnTo>
                    <a:pt x="194719" y="45599"/>
                  </a:lnTo>
                  <a:lnTo>
                    <a:pt x="196416" y="44013"/>
                  </a:lnTo>
                  <a:lnTo>
                    <a:pt x="197489" y="42676"/>
                  </a:lnTo>
                  <a:lnTo>
                    <a:pt x="201815" y="46127"/>
                  </a:lnTo>
                  <a:lnTo>
                    <a:pt x="204141" y="47706"/>
                  </a:lnTo>
                  <a:lnTo>
                    <a:pt x="203545" y="48626"/>
                  </a:lnTo>
                  <a:lnTo>
                    <a:pt x="203352" y="49538"/>
                  </a:lnTo>
                  <a:lnTo>
                    <a:pt x="205950" y="48690"/>
                  </a:lnTo>
                  <a:lnTo>
                    <a:pt x="206936" y="48784"/>
                  </a:lnTo>
                  <a:lnTo>
                    <a:pt x="207889" y="49273"/>
                  </a:lnTo>
                  <a:lnTo>
                    <a:pt x="208931" y="50756"/>
                  </a:lnTo>
                  <a:lnTo>
                    <a:pt x="211358" y="51084"/>
                  </a:lnTo>
                  <a:lnTo>
                    <a:pt x="213806" y="51045"/>
                  </a:lnTo>
                  <a:lnTo>
                    <a:pt x="218773" y="52270"/>
                  </a:lnTo>
                  <a:lnTo>
                    <a:pt x="223481" y="54760"/>
                  </a:lnTo>
                  <a:lnTo>
                    <a:pt x="227908" y="55269"/>
                  </a:lnTo>
                  <a:lnTo>
                    <a:pt x="232372" y="55354"/>
                  </a:lnTo>
                  <a:lnTo>
                    <a:pt x="234634" y="56672"/>
                  </a:lnTo>
                  <a:lnTo>
                    <a:pt x="235596" y="58437"/>
                  </a:lnTo>
                  <a:lnTo>
                    <a:pt x="234513" y="59688"/>
                  </a:lnTo>
                  <a:lnTo>
                    <a:pt x="233894" y="60994"/>
                  </a:lnTo>
                  <a:lnTo>
                    <a:pt x="235559" y="62595"/>
                  </a:lnTo>
                  <a:lnTo>
                    <a:pt x="231934" y="63275"/>
                  </a:lnTo>
                  <a:lnTo>
                    <a:pt x="231423" y="64239"/>
                  </a:lnTo>
                  <a:lnTo>
                    <a:pt x="231611" y="65280"/>
                  </a:lnTo>
                  <a:lnTo>
                    <a:pt x="232331" y="65852"/>
                  </a:lnTo>
                  <a:lnTo>
                    <a:pt x="234406" y="65350"/>
                  </a:lnTo>
                  <a:lnTo>
                    <a:pt x="237401" y="65796"/>
                  </a:lnTo>
                  <a:lnTo>
                    <a:pt x="242130" y="66194"/>
                  </a:lnTo>
                  <a:lnTo>
                    <a:pt x="245296" y="65871"/>
                  </a:lnTo>
                  <a:lnTo>
                    <a:pt x="251726" y="66960"/>
                  </a:lnTo>
                  <a:lnTo>
                    <a:pt x="253681" y="67543"/>
                  </a:lnTo>
                  <a:lnTo>
                    <a:pt x="257497" y="69591"/>
                  </a:lnTo>
                  <a:lnTo>
                    <a:pt x="259263" y="70940"/>
                  </a:lnTo>
                  <a:lnTo>
                    <a:pt x="263048" y="74575"/>
                  </a:lnTo>
                  <a:lnTo>
                    <a:pt x="266313" y="76005"/>
                  </a:lnTo>
                  <a:lnTo>
                    <a:pt x="269143" y="76351"/>
                  </a:lnTo>
                  <a:lnTo>
                    <a:pt x="270129" y="76112"/>
                  </a:lnTo>
                  <a:lnTo>
                    <a:pt x="271027" y="76507"/>
                  </a:lnTo>
                  <a:lnTo>
                    <a:pt x="271813" y="77017"/>
                  </a:lnTo>
                  <a:lnTo>
                    <a:pt x="272590" y="78607"/>
                  </a:lnTo>
                  <a:lnTo>
                    <a:pt x="272162" y="80280"/>
                  </a:lnTo>
                  <a:lnTo>
                    <a:pt x="270547" y="81637"/>
                  </a:lnTo>
                  <a:lnTo>
                    <a:pt x="269649" y="82625"/>
                  </a:lnTo>
                  <a:lnTo>
                    <a:pt x="265609" y="82740"/>
                  </a:lnTo>
                  <a:lnTo>
                    <a:pt x="259965" y="83194"/>
                  </a:lnTo>
                  <a:lnTo>
                    <a:pt x="254505" y="84668"/>
                  </a:lnTo>
                  <a:lnTo>
                    <a:pt x="251841" y="85838"/>
                  </a:lnTo>
                  <a:lnTo>
                    <a:pt x="250624" y="86613"/>
                  </a:lnTo>
                  <a:lnTo>
                    <a:pt x="247752" y="87328"/>
                  </a:lnTo>
                  <a:lnTo>
                    <a:pt x="247556" y="86716"/>
                  </a:lnTo>
                  <a:lnTo>
                    <a:pt x="247611" y="85944"/>
                  </a:lnTo>
                  <a:lnTo>
                    <a:pt x="246859" y="84507"/>
                  </a:lnTo>
                  <a:lnTo>
                    <a:pt x="246208" y="85799"/>
                  </a:lnTo>
                  <a:lnTo>
                    <a:pt x="245139" y="86742"/>
                  </a:lnTo>
                  <a:lnTo>
                    <a:pt x="243338" y="87547"/>
                  </a:lnTo>
                  <a:lnTo>
                    <a:pt x="236708" y="87600"/>
                  </a:lnTo>
                  <a:lnTo>
                    <a:pt x="234039" y="86516"/>
                  </a:lnTo>
                  <a:lnTo>
                    <a:pt x="231303" y="85772"/>
                  </a:lnTo>
                  <a:lnTo>
                    <a:pt x="221329" y="84998"/>
                  </a:lnTo>
                  <a:lnTo>
                    <a:pt x="218936" y="85067"/>
                  </a:lnTo>
                  <a:lnTo>
                    <a:pt x="212273" y="85871"/>
                  </a:lnTo>
                  <a:lnTo>
                    <a:pt x="205576" y="86305"/>
                  </a:lnTo>
                  <a:lnTo>
                    <a:pt x="202774" y="86803"/>
                  </a:lnTo>
                  <a:lnTo>
                    <a:pt x="200004" y="87554"/>
                  </a:lnTo>
                  <a:lnTo>
                    <a:pt x="194617" y="87530"/>
                  </a:lnTo>
                  <a:lnTo>
                    <a:pt x="188246" y="88383"/>
                  </a:lnTo>
                  <a:lnTo>
                    <a:pt x="181858" y="88539"/>
                  </a:lnTo>
                  <a:lnTo>
                    <a:pt x="185950" y="82561"/>
                  </a:lnTo>
                  <a:lnTo>
                    <a:pt x="194580" y="76799"/>
                  </a:lnTo>
                  <a:lnTo>
                    <a:pt x="196203" y="75562"/>
                  </a:lnTo>
                  <a:lnTo>
                    <a:pt x="197358" y="73970"/>
                  </a:lnTo>
                  <a:lnTo>
                    <a:pt x="197633" y="72769"/>
                  </a:lnTo>
                  <a:lnTo>
                    <a:pt x="197254" y="71747"/>
                  </a:lnTo>
                  <a:lnTo>
                    <a:pt x="195199" y="69940"/>
                  </a:lnTo>
                  <a:lnTo>
                    <a:pt x="194781" y="68595"/>
                  </a:lnTo>
                  <a:lnTo>
                    <a:pt x="194169" y="67725"/>
                  </a:lnTo>
                  <a:lnTo>
                    <a:pt x="191178" y="66968"/>
                  </a:lnTo>
                  <a:lnTo>
                    <a:pt x="188148" y="66515"/>
                  </a:lnTo>
                  <a:lnTo>
                    <a:pt x="184961" y="66499"/>
                  </a:lnTo>
                  <a:lnTo>
                    <a:pt x="178263" y="65876"/>
                  </a:lnTo>
                  <a:lnTo>
                    <a:pt x="174703" y="65831"/>
                  </a:lnTo>
                  <a:lnTo>
                    <a:pt x="171685" y="64600"/>
                  </a:lnTo>
                  <a:lnTo>
                    <a:pt x="166676" y="60216"/>
                  </a:lnTo>
                  <a:lnTo>
                    <a:pt x="164331" y="58988"/>
                  </a:lnTo>
                  <a:lnTo>
                    <a:pt x="163127" y="58005"/>
                  </a:lnTo>
                  <a:lnTo>
                    <a:pt x="162190" y="56874"/>
                  </a:lnTo>
                  <a:lnTo>
                    <a:pt x="161012" y="50429"/>
                  </a:lnTo>
                  <a:lnTo>
                    <a:pt x="160014" y="47326"/>
                  </a:lnTo>
                  <a:lnTo>
                    <a:pt x="158496" y="44627"/>
                  </a:lnTo>
                  <a:lnTo>
                    <a:pt x="156183" y="42576"/>
                  </a:lnTo>
                  <a:lnTo>
                    <a:pt x="153767" y="41880"/>
                  </a:lnTo>
                  <a:lnTo>
                    <a:pt x="144481" y="43636"/>
                  </a:lnTo>
                  <a:lnTo>
                    <a:pt x="142319" y="43376"/>
                  </a:lnTo>
                  <a:lnTo>
                    <a:pt x="140215" y="42778"/>
                  </a:lnTo>
                  <a:lnTo>
                    <a:pt x="126195" y="38596"/>
                  </a:lnTo>
                  <a:lnTo>
                    <a:pt x="120414" y="36294"/>
                  </a:lnTo>
                  <a:lnTo>
                    <a:pt x="118056" y="35153"/>
                  </a:lnTo>
                  <a:lnTo>
                    <a:pt x="116044" y="33524"/>
                  </a:lnTo>
                  <a:lnTo>
                    <a:pt x="113959" y="30855"/>
                  </a:lnTo>
                  <a:lnTo>
                    <a:pt x="111613" y="28468"/>
                  </a:lnTo>
                  <a:lnTo>
                    <a:pt x="111629" y="29434"/>
                  </a:lnTo>
                  <a:lnTo>
                    <a:pt x="111267" y="30062"/>
                  </a:lnTo>
                  <a:lnTo>
                    <a:pt x="99531" y="30346"/>
                  </a:lnTo>
                  <a:lnTo>
                    <a:pt x="97662" y="29794"/>
                  </a:lnTo>
                  <a:lnTo>
                    <a:pt x="96458" y="29146"/>
                  </a:lnTo>
                  <a:lnTo>
                    <a:pt x="95608" y="28181"/>
                  </a:lnTo>
                  <a:lnTo>
                    <a:pt x="94979" y="26245"/>
                  </a:lnTo>
                  <a:lnTo>
                    <a:pt x="93861" y="24620"/>
                  </a:lnTo>
                  <a:lnTo>
                    <a:pt x="93505" y="26352"/>
                  </a:lnTo>
                  <a:lnTo>
                    <a:pt x="92926" y="27949"/>
                  </a:lnTo>
                  <a:lnTo>
                    <a:pt x="91355" y="28841"/>
                  </a:lnTo>
                  <a:lnTo>
                    <a:pt x="89557" y="28982"/>
                  </a:lnTo>
                  <a:lnTo>
                    <a:pt x="87380" y="26861"/>
                  </a:lnTo>
                  <a:lnTo>
                    <a:pt x="77869" y="26425"/>
                  </a:lnTo>
                  <a:lnTo>
                    <a:pt x="77028" y="26066"/>
                  </a:lnTo>
                  <a:lnTo>
                    <a:pt x="73904" y="24010"/>
                  </a:lnTo>
                  <a:lnTo>
                    <a:pt x="71238" y="21430"/>
                  </a:lnTo>
                  <a:lnTo>
                    <a:pt x="73892" y="20521"/>
                  </a:lnTo>
                  <a:lnTo>
                    <a:pt x="79368" y="19323"/>
                  </a:lnTo>
                  <a:lnTo>
                    <a:pt x="80554" y="18525"/>
                  </a:lnTo>
                  <a:lnTo>
                    <a:pt x="81241" y="17508"/>
                  </a:lnTo>
                  <a:lnTo>
                    <a:pt x="80746" y="15986"/>
                  </a:lnTo>
                  <a:lnTo>
                    <a:pt x="79658" y="14892"/>
                  </a:lnTo>
                  <a:lnTo>
                    <a:pt x="78537" y="14249"/>
                  </a:lnTo>
                  <a:lnTo>
                    <a:pt x="77296" y="13838"/>
                  </a:lnTo>
                  <a:lnTo>
                    <a:pt x="75658" y="13662"/>
                  </a:lnTo>
                  <a:lnTo>
                    <a:pt x="54495" y="13389"/>
                  </a:lnTo>
                  <a:lnTo>
                    <a:pt x="53269" y="14214"/>
                  </a:lnTo>
                  <a:lnTo>
                    <a:pt x="51371" y="15900"/>
                  </a:lnTo>
                  <a:lnTo>
                    <a:pt x="47613" y="18063"/>
                  </a:lnTo>
                  <a:lnTo>
                    <a:pt x="45136" y="20306"/>
                  </a:lnTo>
                  <a:lnTo>
                    <a:pt x="44207" y="21463"/>
                  </a:lnTo>
                  <a:lnTo>
                    <a:pt x="43050" y="22290"/>
                  </a:lnTo>
                  <a:lnTo>
                    <a:pt x="40445" y="23681"/>
                  </a:lnTo>
                  <a:lnTo>
                    <a:pt x="38226" y="25817"/>
                  </a:lnTo>
                  <a:lnTo>
                    <a:pt x="35531" y="26772"/>
                  </a:lnTo>
                  <a:lnTo>
                    <a:pt x="34058" y="26192"/>
                  </a:lnTo>
                  <a:lnTo>
                    <a:pt x="32600" y="26197"/>
                  </a:lnTo>
                  <a:lnTo>
                    <a:pt x="31546" y="26723"/>
                  </a:lnTo>
                  <a:lnTo>
                    <a:pt x="30442" y="26964"/>
                  </a:lnTo>
                  <a:lnTo>
                    <a:pt x="25014" y="27225"/>
                  </a:lnTo>
                  <a:lnTo>
                    <a:pt x="24202" y="27770"/>
                  </a:lnTo>
                  <a:lnTo>
                    <a:pt x="23427" y="29302"/>
                  </a:lnTo>
                  <a:lnTo>
                    <a:pt x="22546" y="32281"/>
                  </a:lnTo>
                  <a:lnTo>
                    <a:pt x="21711" y="33265"/>
                  </a:lnTo>
                  <a:lnTo>
                    <a:pt x="18989" y="33641"/>
                  </a:lnTo>
                  <a:lnTo>
                    <a:pt x="16394" y="34457"/>
                  </a:lnTo>
                  <a:lnTo>
                    <a:pt x="11115" y="37292"/>
                  </a:lnTo>
                  <a:lnTo>
                    <a:pt x="9752" y="37704"/>
                  </a:lnTo>
                  <a:lnTo>
                    <a:pt x="10048" y="35627"/>
                  </a:lnTo>
                  <a:lnTo>
                    <a:pt x="9783" y="33607"/>
                  </a:lnTo>
                  <a:lnTo>
                    <a:pt x="8297" y="33535"/>
                  </a:lnTo>
                  <a:lnTo>
                    <a:pt x="6601" y="33871"/>
                  </a:lnTo>
                  <a:lnTo>
                    <a:pt x="5187" y="34437"/>
                  </a:lnTo>
                  <a:lnTo>
                    <a:pt x="2570" y="35946"/>
                  </a:lnTo>
                  <a:lnTo>
                    <a:pt x="1241" y="36328"/>
                  </a:lnTo>
                  <a:lnTo>
                    <a:pt x="0" y="35556"/>
                  </a:lnTo>
                  <a:lnTo>
                    <a:pt x="253" y="34568"/>
                  </a:lnTo>
                  <a:lnTo>
                    <a:pt x="8987" y="30924"/>
                  </a:lnTo>
                  <a:lnTo>
                    <a:pt x="9964" y="30646"/>
                  </a:lnTo>
                  <a:lnTo>
                    <a:pt x="11516" y="30920"/>
                  </a:lnTo>
                  <a:lnTo>
                    <a:pt x="13035" y="30796"/>
                  </a:lnTo>
                  <a:lnTo>
                    <a:pt x="14221" y="29776"/>
                  </a:lnTo>
                  <a:lnTo>
                    <a:pt x="12784" y="24950"/>
                  </a:lnTo>
                  <a:lnTo>
                    <a:pt x="13335" y="21665"/>
                  </a:lnTo>
                  <a:lnTo>
                    <a:pt x="15362" y="19124"/>
                  </a:lnTo>
                  <a:lnTo>
                    <a:pt x="19408" y="15275"/>
                  </a:lnTo>
                  <a:lnTo>
                    <a:pt x="21357" y="14010"/>
                  </a:lnTo>
                  <a:lnTo>
                    <a:pt x="41315" y="5957"/>
                  </a:lnTo>
                  <a:lnTo>
                    <a:pt x="43359" y="5546"/>
                  </a:lnTo>
                  <a:lnTo>
                    <a:pt x="56326" y="3928"/>
                  </a:lnTo>
                  <a:lnTo>
                    <a:pt x="58305" y="3366"/>
                  </a:lnTo>
                  <a:lnTo>
                    <a:pt x="64321" y="976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31" name="ee4p_DM_1_37365">
              <a:extLst>
                <a:ext uri="{FF2B5EF4-FFF2-40B4-BE49-F238E27FC236}">
                  <a16:creationId xmlns:a16="http://schemas.microsoft.com/office/drawing/2014/main" id="{EB0E3A55-1580-933C-7442-13B099A18999}"/>
                </a:ext>
              </a:extLst>
            </p:cNvPr>
            <p:cNvSpPr>
              <a:spLocks noChangeAspect="1"/>
            </p:cNvSpPr>
            <p:nvPr>
              <p:custDataLst>
                <p:tags r:id="rId385"/>
              </p:custDataLst>
            </p:nvPr>
          </p:nvSpPr>
          <p:spPr>
            <a:xfrm>
              <a:off x="4807409" y="4226258"/>
              <a:ext cx="6390" cy="11852"/>
            </a:xfrm>
            <a:custGeom>
              <a:avLst/>
              <a:gdLst/>
              <a:ahLst/>
              <a:cxnLst/>
              <a:rect l="0" t="0" r="0" b="0"/>
              <a:pathLst>
                <a:path w="5088" h="9187">
                  <a:moveTo>
                    <a:pt x="4411" y="8694"/>
                  </a:moveTo>
                  <a:lnTo>
                    <a:pt x="2339" y="9186"/>
                  </a:lnTo>
                  <a:lnTo>
                    <a:pt x="1447" y="5281"/>
                  </a:lnTo>
                  <a:lnTo>
                    <a:pt x="0" y="2445"/>
                  </a:lnTo>
                  <a:lnTo>
                    <a:pt x="248" y="671"/>
                  </a:lnTo>
                  <a:lnTo>
                    <a:pt x="510" y="0"/>
                  </a:lnTo>
                  <a:lnTo>
                    <a:pt x="3563" y="1088"/>
                  </a:lnTo>
                  <a:lnTo>
                    <a:pt x="4509" y="2410"/>
                  </a:lnTo>
                  <a:lnTo>
                    <a:pt x="5087" y="5886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32" name="ee4p_DO_1_37365">
              <a:extLst>
                <a:ext uri="{FF2B5EF4-FFF2-40B4-BE49-F238E27FC236}">
                  <a16:creationId xmlns:a16="http://schemas.microsoft.com/office/drawing/2014/main" id="{8EFEF3A6-F948-9D20-C42A-A7C39265D8C8}"/>
                </a:ext>
              </a:extLst>
            </p:cNvPr>
            <p:cNvSpPr>
              <a:spLocks noChangeAspect="1"/>
            </p:cNvSpPr>
            <p:nvPr>
              <p:custDataLst>
                <p:tags r:id="rId386"/>
              </p:custDataLst>
            </p:nvPr>
          </p:nvSpPr>
          <p:spPr>
            <a:xfrm>
              <a:off x="4515295" y="4100264"/>
              <a:ext cx="101671" cy="67296"/>
            </a:xfrm>
            <a:custGeom>
              <a:avLst/>
              <a:gdLst/>
              <a:ahLst/>
              <a:cxnLst/>
              <a:rect l="0" t="0" r="0" b="0"/>
              <a:pathLst>
                <a:path w="80959" h="52166">
                  <a:moveTo>
                    <a:pt x="5132" y="42957"/>
                  </a:moveTo>
                  <a:lnTo>
                    <a:pt x="5233" y="39193"/>
                  </a:lnTo>
                  <a:lnTo>
                    <a:pt x="5819" y="37665"/>
                  </a:lnTo>
                  <a:lnTo>
                    <a:pt x="5274" y="36054"/>
                  </a:lnTo>
                  <a:lnTo>
                    <a:pt x="2827" y="34342"/>
                  </a:lnTo>
                  <a:lnTo>
                    <a:pt x="1327" y="32137"/>
                  </a:lnTo>
                  <a:lnTo>
                    <a:pt x="0" y="30186"/>
                  </a:lnTo>
                  <a:lnTo>
                    <a:pt x="300" y="29902"/>
                  </a:lnTo>
                  <a:lnTo>
                    <a:pt x="2961" y="29814"/>
                  </a:lnTo>
                  <a:lnTo>
                    <a:pt x="3896" y="29097"/>
                  </a:lnTo>
                  <a:lnTo>
                    <a:pt x="5687" y="27097"/>
                  </a:lnTo>
                  <a:lnTo>
                    <a:pt x="6044" y="25487"/>
                  </a:lnTo>
                  <a:lnTo>
                    <a:pt x="5899" y="24269"/>
                  </a:lnTo>
                  <a:lnTo>
                    <a:pt x="4733" y="22812"/>
                  </a:lnTo>
                  <a:lnTo>
                    <a:pt x="4274" y="21277"/>
                  </a:lnTo>
                  <a:lnTo>
                    <a:pt x="5713" y="19937"/>
                  </a:lnTo>
                  <a:lnTo>
                    <a:pt x="7593" y="17982"/>
                  </a:lnTo>
                  <a:lnTo>
                    <a:pt x="7852" y="17231"/>
                  </a:lnTo>
                  <a:lnTo>
                    <a:pt x="7810" y="16488"/>
                  </a:lnTo>
                  <a:lnTo>
                    <a:pt x="5615" y="14426"/>
                  </a:lnTo>
                  <a:lnTo>
                    <a:pt x="5467" y="13541"/>
                  </a:lnTo>
                  <a:lnTo>
                    <a:pt x="6489" y="11303"/>
                  </a:lnTo>
                  <a:lnTo>
                    <a:pt x="6389" y="9820"/>
                  </a:lnTo>
                  <a:lnTo>
                    <a:pt x="5373" y="5190"/>
                  </a:lnTo>
                  <a:lnTo>
                    <a:pt x="4890" y="4501"/>
                  </a:lnTo>
                  <a:lnTo>
                    <a:pt x="5866" y="4112"/>
                  </a:lnTo>
                  <a:lnTo>
                    <a:pt x="6509" y="2731"/>
                  </a:lnTo>
                  <a:lnTo>
                    <a:pt x="7364" y="1502"/>
                  </a:lnTo>
                  <a:lnTo>
                    <a:pt x="8501" y="840"/>
                  </a:lnTo>
                  <a:lnTo>
                    <a:pt x="9788" y="428"/>
                  </a:lnTo>
                  <a:lnTo>
                    <a:pt x="12354" y="460"/>
                  </a:lnTo>
                  <a:lnTo>
                    <a:pt x="15900" y="1532"/>
                  </a:lnTo>
                  <a:lnTo>
                    <a:pt x="16904" y="1514"/>
                  </a:lnTo>
                  <a:lnTo>
                    <a:pt x="20309" y="541"/>
                  </a:lnTo>
                  <a:lnTo>
                    <a:pt x="23135" y="0"/>
                  </a:lnTo>
                  <a:lnTo>
                    <a:pt x="25794" y="615"/>
                  </a:lnTo>
                  <a:lnTo>
                    <a:pt x="26870" y="1451"/>
                  </a:lnTo>
                  <a:lnTo>
                    <a:pt x="29066" y="2775"/>
                  </a:lnTo>
                  <a:lnTo>
                    <a:pt x="30166" y="3180"/>
                  </a:lnTo>
                  <a:lnTo>
                    <a:pt x="33634" y="3150"/>
                  </a:lnTo>
                  <a:lnTo>
                    <a:pt x="34583" y="3281"/>
                  </a:lnTo>
                  <a:lnTo>
                    <a:pt x="37495" y="5468"/>
                  </a:lnTo>
                  <a:lnTo>
                    <a:pt x="39947" y="6342"/>
                  </a:lnTo>
                  <a:lnTo>
                    <a:pt x="41371" y="6386"/>
                  </a:lnTo>
                  <a:lnTo>
                    <a:pt x="43922" y="5540"/>
                  </a:lnTo>
                  <a:lnTo>
                    <a:pt x="45188" y="5565"/>
                  </a:lnTo>
                  <a:lnTo>
                    <a:pt x="46639" y="7451"/>
                  </a:lnTo>
                  <a:lnTo>
                    <a:pt x="46924" y="10125"/>
                  </a:lnTo>
                  <a:lnTo>
                    <a:pt x="48137" y="12561"/>
                  </a:lnTo>
                  <a:lnTo>
                    <a:pt x="49996" y="14120"/>
                  </a:lnTo>
                  <a:lnTo>
                    <a:pt x="59160" y="13465"/>
                  </a:lnTo>
                  <a:lnTo>
                    <a:pt x="61205" y="14748"/>
                  </a:lnTo>
                  <a:lnTo>
                    <a:pt x="60502" y="15806"/>
                  </a:lnTo>
                  <a:lnTo>
                    <a:pt x="59209" y="16371"/>
                  </a:lnTo>
                  <a:lnTo>
                    <a:pt x="54853" y="16120"/>
                  </a:lnTo>
                  <a:lnTo>
                    <a:pt x="52946" y="16246"/>
                  </a:lnTo>
                  <a:lnTo>
                    <a:pt x="52564" y="17301"/>
                  </a:lnTo>
                  <a:lnTo>
                    <a:pt x="52555" y="18279"/>
                  </a:lnTo>
                  <a:lnTo>
                    <a:pt x="55105" y="18513"/>
                  </a:lnTo>
                  <a:lnTo>
                    <a:pt x="57605" y="19007"/>
                  </a:lnTo>
                  <a:lnTo>
                    <a:pt x="60149" y="19790"/>
                  </a:lnTo>
                  <a:lnTo>
                    <a:pt x="62740" y="20327"/>
                  </a:lnTo>
                  <a:lnTo>
                    <a:pt x="65653" y="20678"/>
                  </a:lnTo>
                  <a:lnTo>
                    <a:pt x="68526" y="21244"/>
                  </a:lnTo>
                  <a:lnTo>
                    <a:pt x="73316" y="23161"/>
                  </a:lnTo>
                  <a:lnTo>
                    <a:pt x="78608" y="27519"/>
                  </a:lnTo>
                  <a:lnTo>
                    <a:pt x="80024" y="28510"/>
                  </a:lnTo>
                  <a:lnTo>
                    <a:pt x="80958" y="29874"/>
                  </a:lnTo>
                  <a:lnTo>
                    <a:pt x="80513" y="31555"/>
                  </a:lnTo>
                  <a:lnTo>
                    <a:pt x="78621" y="34307"/>
                  </a:lnTo>
                  <a:lnTo>
                    <a:pt x="77552" y="35192"/>
                  </a:lnTo>
                  <a:lnTo>
                    <a:pt x="75991" y="35730"/>
                  </a:lnTo>
                  <a:lnTo>
                    <a:pt x="74920" y="36855"/>
                  </a:lnTo>
                  <a:lnTo>
                    <a:pt x="73889" y="38780"/>
                  </a:lnTo>
                  <a:lnTo>
                    <a:pt x="73258" y="38942"/>
                  </a:lnTo>
                  <a:lnTo>
                    <a:pt x="72515" y="38863"/>
                  </a:lnTo>
                  <a:lnTo>
                    <a:pt x="71244" y="37773"/>
                  </a:lnTo>
                  <a:lnTo>
                    <a:pt x="70336" y="36100"/>
                  </a:lnTo>
                  <a:lnTo>
                    <a:pt x="67784" y="34529"/>
                  </a:lnTo>
                  <a:lnTo>
                    <a:pt x="64747" y="34730"/>
                  </a:lnTo>
                  <a:lnTo>
                    <a:pt x="60275" y="33801"/>
                  </a:lnTo>
                  <a:lnTo>
                    <a:pt x="57567" y="34252"/>
                  </a:lnTo>
                  <a:lnTo>
                    <a:pt x="54860" y="34354"/>
                  </a:lnTo>
                  <a:lnTo>
                    <a:pt x="52089" y="33881"/>
                  </a:lnTo>
                  <a:lnTo>
                    <a:pt x="49305" y="33716"/>
                  </a:lnTo>
                  <a:lnTo>
                    <a:pt x="46524" y="34307"/>
                  </a:lnTo>
                  <a:lnTo>
                    <a:pt x="43828" y="35315"/>
                  </a:lnTo>
                  <a:lnTo>
                    <a:pt x="42833" y="35955"/>
                  </a:lnTo>
                  <a:lnTo>
                    <a:pt x="41102" y="37522"/>
                  </a:lnTo>
                  <a:lnTo>
                    <a:pt x="40184" y="38101"/>
                  </a:lnTo>
                  <a:lnTo>
                    <a:pt x="33621" y="38888"/>
                  </a:lnTo>
                  <a:lnTo>
                    <a:pt x="31730" y="37739"/>
                  </a:lnTo>
                  <a:lnTo>
                    <a:pt x="29978" y="36170"/>
                  </a:lnTo>
                  <a:lnTo>
                    <a:pt x="27454" y="35956"/>
                  </a:lnTo>
                  <a:lnTo>
                    <a:pt x="23795" y="37170"/>
                  </a:lnTo>
                  <a:lnTo>
                    <a:pt x="21506" y="37611"/>
                  </a:lnTo>
                  <a:lnTo>
                    <a:pt x="20574" y="38133"/>
                  </a:lnTo>
                  <a:lnTo>
                    <a:pt x="20303" y="38727"/>
                  </a:lnTo>
                  <a:lnTo>
                    <a:pt x="20294" y="40919"/>
                  </a:lnTo>
                  <a:lnTo>
                    <a:pt x="19777" y="42252"/>
                  </a:lnTo>
                  <a:lnTo>
                    <a:pt x="16211" y="47283"/>
                  </a:lnTo>
                  <a:lnTo>
                    <a:pt x="14198" y="50829"/>
                  </a:lnTo>
                  <a:lnTo>
                    <a:pt x="13371" y="51925"/>
                  </a:lnTo>
                  <a:lnTo>
                    <a:pt x="12415" y="52165"/>
                  </a:lnTo>
                  <a:lnTo>
                    <a:pt x="10659" y="50126"/>
                  </a:lnTo>
                  <a:lnTo>
                    <a:pt x="9538" y="49387"/>
                  </a:lnTo>
                  <a:lnTo>
                    <a:pt x="8152" y="49016"/>
                  </a:lnTo>
                  <a:lnTo>
                    <a:pt x="7565" y="47933"/>
                  </a:lnTo>
                  <a:lnTo>
                    <a:pt x="7588" y="46392"/>
                  </a:lnTo>
                  <a:lnTo>
                    <a:pt x="7223" y="44898"/>
                  </a:lnTo>
                  <a:lnTo>
                    <a:pt x="6367" y="43726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33" name="ee4p_EC_1_37365">
              <a:extLst>
                <a:ext uri="{FF2B5EF4-FFF2-40B4-BE49-F238E27FC236}">
                  <a16:creationId xmlns:a16="http://schemas.microsoft.com/office/drawing/2014/main" id="{074FB19B-E06A-4910-8543-5271CA9A9051}"/>
                </a:ext>
              </a:extLst>
            </p:cNvPr>
            <p:cNvSpPr>
              <a:spLocks noChangeAspect="1"/>
            </p:cNvSpPr>
            <p:nvPr>
              <p:custDataLst>
                <p:tags r:id="rId387"/>
              </p:custDataLst>
            </p:nvPr>
          </p:nvSpPr>
          <p:spPr>
            <a:xfrm>
              <a:off x="3969524" y="4634266"/>
              <a:ext cx="455543" cy="183993"/>
            </a:xfrm>
            <a:custGeom>
              <a:avLst/>
              <a:gdLst>
                <a:gd name="connsiteX0" fmla="*/ 293460 w 415960"/>
                <a:gd name="connsiteY0" fmla="*/ 104593 h 163552"/>
                <a:gd name="connsiteX1" fmla="*/ 295578 w 415960"/>
                <a:gd name="connsiteY1" fmla="*/ 104719 h 163552"/>
                <a:gd name="connsiteX2" fmla="*/ 297815 w 415960"/>
                <a:gd name="connsiteY2" fmla="*/ 106032 h 163552"/>
                <a:gd name="connsiteX3" fmla="*/ 295173 w 415960"/>
                <a:gd name="connsiteY3" fmla="*/ 108416 h 163552"/>
                <a:gd name="connsiteX4" fmla="*/ 293703 w 415960"/>
                <a:gd name="connsiteY4" fmla="*/ 108779 h 163552"/>
                <a:gd name="connsiteX5" fmla="*/ 293140 w 415960"/>
                <a:gd name="connsiteY5" fmla="*/ 109085 h 163552"/>
                <a:gd name="connsiteX6" fmla="*/ 292171 w 415960"/>
                <a:gd name="connsiteY6" fmla="*/ 112315 h 163552"/>
                <a:gd name="connsiteX7" fmla="*/ 291687 w 415960"/>
                <a:gd name="connsiteY7" fmla="*/ 113293 h 163552"/>
                <a:gd name="connsiteX8" fmla="*/ 289278 w 415960"/>
                <a:gd name="connsiteY8" fmla="*/ 113207 h 163552"/>
                <a:gd name="connsiteX9" fmla="*/ 288587 w 415960"/>
                <a:gd name="connsiteY9" fmla="*/ 112892 h 163552"/>
                <a:gd name="connsiteX10" fmla="*/ 288607 w 415960"/>
                <a:gd name="connsiteY10" fmla="*/ 111771 h 163552"/>
                <a:gd name="connsiteX11" fmla="*/ 289173 w 415960"/>
                <a:gd name="connsiteY11" fmla="*/ 108224 h 163552"/>
                <a:gd name="connsiteX12" fmla="*/ 289836 w 415960"/>
                <a:gd name="connsiteY12" fmla="*/ 106732 h 163552"/>
                <a:gd name="connsiteX13" fmla="*/ 291813 w 415960"/>
                <a:gd name="connsiteY13" fmla="*/ 105289 h 163552"/>
                <a:gd name="connsiteX14" fmla="*/ 29843 w 415960"/>
                <a:gd name="connsiteY14" fmla="*/ 67866 h 163552"/>
                <a:gd name="connsiteX15" fmla="*/ 30990 w 415960"/>
                <a:gd name="connsiteY15" fmla="*/ 68344 h 163552"/>
                <a:gd name="connsiteX16" fmla="*/ 31833 w 415960"/>
                <a:gd name="connsiteY16" fmla="*/ 68914 h 163552"/>
                <a:gd name="connsiteX17" fmla="*/ 32330 w 415960"/>
                <a:gd name="connsiteY17" fmla="*/ 69675 h 163552"/>
                <a:gd name="connsiteX18" fmla="*/ 31194 w 415960"/>
                <a:gd name="connsiteY18" fmla="*/ 70883 h 163552"/>
                <a:gd name="connsiteX19" fmla="*/ 30168 w 415960"/>
                <a:gd name="connsiteY19" fmla="*/ 70935 h 163552"/>
                <a:gd name="connsiteX20" fmla="*/ 28770 w 415960"/>
                <a:gd name="connsiteY20" fmla="*/ 69848 h 163552"/>
                <a:gd name="connsiteX21" fmla="*/ 59227 w 415960"/>
                <a:gd name="connsiteY21" fmla="*/ 54149 h 163552"/>
                <a:gd name="connsiteX22" fmla="*/ 60001 w 415960"/>
                <a:gd name="connsiteY22" fmla="*/ 54397 h 163552"/>
                <a:gd name="connsiteX23" fmla="*/ 60519 w 415960"/>
                <a:gd name="connsiteY23" fmla="*/ 54772 h 163552"/>
                <a:gd name="connsiteX24" fmla="*/ 60724 w 415960"/>
                <a:gd name="connsiteY24" fmla="*/ 55375 h 163552"/>
                <a:gd name="connsiteX25" fmla="*/ 59823 w 415960"/>
                <a:gd name="connsiteY25" fmla="*/ 56834 h 163552"/>
                <a:gd name="connsiteX26" fmla="*/ 58213 w 415960"/>
                <a:gd name="connsiteY26" fmla="*/ 57852 h 163552"/>
                <a:gd name="connsiteX27" fmla="*/ 56678 w 415960"/>
                <a:gd name="connsiteY27" fmla="*/ 60007 h 163552"/>
                <a:gd name="connsiteX28" fmla="*/ 53693 w 415960"/>
                <a:gd name="connsiteY28" fmla="*/ 61054 h 163552"/>
                <a:gd name="connsiteX29" fmla="*/ 52662 w 415960"/>
                <a:gd name="connsiteY29" fmla="*/ 60584 h 163552"/>
                <a:gd name="connsiteX30" fmla="*/ 52020 w 415960"/>
                <a:gd name="connsiteY30" fmla="*/ 60069 h 163552"/>
                <a:gd name="connsiteX31" fmla="*/ 51869 w 415960"/>
                <a:gd name="connsiteY31" fmla="*/ 59437 h 163552"/>
                <a:gd name="connsiteX32" fmla="*/ 53520 w 415960"/>
                <a:gd name="connsiteY32" fmla="*/ 57872 h 163552"/>
                <a:gd name="connsiteX33" fmla="*/ 55131 w 415960"/>
                <a:gd name="connsiteY33" fmla="*/ 57023 h 163552"/>
                <a:gd name="connsiteX34" fmla="*/ 56571 w 415960"/>
                <a:gd name="connsiteY34" fmla="*/ 55219 h 163552"/>
                <a:gd name="connsiteX35" fmla="*/ 35113 w 415960"/>
                <a:gd name="connsiteY35" fmla="*/ 49194 h 163552"/>
                <a:gd name="connsiteX36" fmla="*/ 37246 w 415960"/>
                <a:gd name="connsiteY36" fmla="*/ 50719 h 163552"/>
                <a:gd name="connsiteX37" fmla="*/ 37056 w 415960"/>
                <a:gd name="connsiteY37" fmla="*/ 53610 h 163552"/>
                <a:gd name="connsiteX38" fmla="*/ 35324 w 415960"/>
                <a:gd name="connsiteY38" fmla="*/ 55720 h 163552"/>
                <a:gd name="connsiteX39" fmla="*/ 33945 w 415960"/>
                <a:gd name="connsiteY39" fmla="*/ 56106 h 163552"/>
                <a:gd name="connsiteX40" fmla="*/ 33453 w 415960"/>
                <a:gd name="connsiteY40" fmla="*/ 56470 h 163552"/>
                <a:gd name="connsiteX41" fmla="*/ 32128 w 415960"/>
                <a:gd name="connsiteY41" fmla="*/ 56515 h 163552"/>
                <a:gd name="connsiteX42" fmla="*/ 28197 w 415960"/>
                <a:gd name="connsiteY42" fmla="*/ 54059 h 163552"/>
                <a:gd name="connsiteX43" fmla="*/ 28462 w 415960"/>
                <a:gd name="connsiteY43" fmla="*/ 51648 h 163552"/>
                <a:gd name="connsiteX44" fmla="*/ 30033 w 415960"/>
                <a:gd name="connsiteY44" fmla="*/ 50024 h 163552"/>
                <a:gd name="connsiteX45" fmla="*/ 4919 w 415960"/>
                <a:gd name="connsiteY45" fmla="*/ 43388 h 163552"/>
                <a:gd name="connsiteX46" fmla="*/ 6461 w 415960"/>
                <a:gd name="connsiteY46" fmla="*/ 45082 h 163552"/>
                <a:gd name="connsiteX47" fmla="*/ 6446 w 415960"/>
                <a:gd name="connsiteY47" fmla="*/ 47577 h 163552"/>
                <a:gd name="connsiteX48" fmla="*/ 5786 w 415960"/>
                <a:gd name="connsiteY48" fmla="*/ 48591 h 163552"/>
                <a:gd name="connsiteX49" fmla="*/ 3240 w 415960"/>
                <a:gd name="connsiteY49" fmla="*/ 49031 h 163552"/>
                <a:gd name="connsiteX50" fmla="*/ 1101 w 415960"/>
                <a:gd name="connsiteY50" fmla="*/ 48162 h 163552"/>
                <a:gd name="connsiteX51" fmla="*/ 192 w 415960"/>
                <a:gd name="connsiteY51" fmla="*/ 46815 h 163552"/>
                <a:gd name="connsiteX52" fmla="*/ 0 w 415960"/>
                <a:gd name="connsiteY52" fmla="*/ 44790 h 163552"/>
                <a:gd name="connsiteX53" fmla="*/ 189 w 415960"/>
                <a:gd name="connsiteY53" fmla="*/ 44118 h 163552"/>
                <a:gd name="connsiteX54" fmla="*/ 22156 w 415960"/>
                <a:gd name="connsiteY54" fmla="*/ 40973 h 163552"/>
                <a:gd name="connsiteX55" fmla="*/ 25018 w 415960"/>
                <a:gd name="connsiteY55" fmla="*/ 41719 h 163552"/>
                <a:gd name="connsiteX56" fmla="*/ 27914 w 415960"/>
                <a:gd name="connsiteY56" fmla="*/ 43965 h 163552"/>
                <a:gd name="connsiteX57" fmla="*/ 27391 w 415960"/>
                <a:gd name="connsiteY57" fmla="*/ 45373 h 163552"/>
                <a:gd name="connsiteX58" fmla="*/ 26211 w 415960"/>
                <a:gd name="connsiteY58" fmla="*/ 46141 h 163552"/>
                <a:gd name="connsiteX59" fmla="*/ 21429 w 415960"/>
                <a:gd name="connsiteY59" fmla="*/ 45257 h 163552"/>
                <a:gd name="connsiteX60" fmla="*/ 19941 w 415960"/>
                <a:gd name="connsiteY60" fmla="*/ 43786 h 163552"/>
                <a:gd name="connsiteX61" fmla="*/ 21142 w 415960"/>
                <a:gd name="connsiteY61" fmla="*/ 41778 h 163552"/>
                <a:gd name="connsiteX62" fmla="*/ 7423 w 415960"/>
                <a:gd name="connsiteY62" fmla="*/ 33714 h 163552"/>
                <a:gd name="connsiteX63" fmla="*/ 8834 w 415960"/>
                <a:gd name="connsiteY63" fmla="*/ 34587 h 163552"/>
                <a:gd name="connsiteX64" fmla="*/ 9686 w 415960"/>
                <a:gd name="connsiteY64" fmla="*/ 36267 h 163552"/>
                <a:gd name="connsiteX65" fmla="*/ 11260 w 415960"/>
                <a:gd name="connsiteY65" fmla="*/ 37901 h 163552"/>
                <a:gd name="connsiteX66" fmla="*/ 12118 w 415960"/>
                <a:gd name="connsiteY66" fmla="*/ 42560 h 163552"/>
                <a:gd name="connsiteX67" fmla="*/ 17207 w 415960"/>
                <a:gd name="connsiteY67" fmla="*/ 47476 h 163552"/>
                <a:gd name="connsiteX68" fmla="*/ 17838 w 415960"/>
                <a:gd name="connsiteY68" fmla="*/ 50221 h 163552"/>
                <a:gd name="connsiteX69" fmla="*/ 17386 w 415960"/>
                <a:gd name="connsiteY69" fmla="*/ 51500 h 163552"/>
                <a:gd name="connsiteX70" fmla="*/ 17628 w 415960"/>
                <a:gd name="connsiteY70" fmla="*/ 52000 h 163552"/>
                <a:gd name="connsiteX71" fmla="*/ 20072 w 415960"/>
                <a:gd name="connsiteY71" fmla="*/ 53939 h 163552"/>
                <a:gd name="connsiteX72" fmla="*/ 21667 w 415960"/>
                <a:gd name="connsiteY72" fmla="*/ 55974 h 163552"/>
                <a:gd name="connsiteX73" fmla="*/ 18982 w 415960"/>
                <a:gd name="connsiteY73" fmla="*/ 60754 h 163552"/>
                <a:gd name="connsiteX74" fmla="*/ 13264 w 415960"/>
                <a:gd name="connsiteY74" fmla="*/ 62759 h 163552"/>
                <a:gd name="connsiteX75" fmla="*/ 7165 w 415960"/>
                <a:gd name="connsiteY75" fmla="*/ 62693 h 163552"/>
                <a:gd name="connsiteX76" fmla="*/ 5961 w 415960"/>
                <a:gd name="connsiteY76" fmla="*/ 62178 h 163552"/>
                <a:gd name="connsiteX77" fmla="*/ 4326 w 415960"/>
                <a:gd name="connsiteY77" fmla="*/ 60350 h 163552"/>
                <a:gd name="connsiteX78" fmla="*/ 4025 w 415960"/>
                <a:gd name="connsiteY78" fmla="*/ 58735 h 163552"/>
                <a:gd name="connsiteX79" fmla="*/ 4966 w 415960"/>
                <a:gd name="connsiteY79" fmla="*/ 57178 h 163552"/>
                <a:gd name="connsiteX80" fmla="*/ 8116 w 415960"/>
                <a:gd name="connsiteY80" fmla="*/ 54812 h 163552"/>
                <a:gd name="connsiteX81" fmla="*/ 12918 w 415960"/>
                <a:gd name="connsiteY81" fmla="*/ 52698 h 163552"/>
                <a:gd name="connsiteX82" fmla="*/ 13520 w 415960"/>
                <a:gd name="connsiteY82" fmla="*/ 51081 h 163552"/>
                <a:gd name="connsiteX83" fmla="*/ 11591 w 415960"/>
                <a:gd name="connsiteY83" fmla="*/ 49506 h 163552"/>
                <a:gd name="connsiteX84" fmla="*/ 10260 w 415960"/>
                <a:gd name="connsiteY84" fmla="*/ 46378 h 163552"/>
                <a:gd name="connsiteX85" fmla="*/ 7225 w 415960"/>
                <a:gd name="connsiteY85" fmla="*/ 44187 h 163552"/>
                <a:gd name="connsiteX86" fmla="*/ 5713 w 415960"/>
                <a:gd name="connsiteY86" fmla="*/ 37498 h 163552"/>
                <a:gd name="connsiteX87" fmla="*/ 4702 w 415960"/>
                <a:gd name="connsiteY87" fmla="*/ 37166 h 163552"/>
                <a:gd name="connsiteX88" fmla="*/ 2641 w 415960"/>
                <a:gd name="connsiteY88" fmla="*/ 38089 h 163552"/>
                <a:gd name="connsiteX89" fmla="*/ 1625 w 415960"/>
                <a:gd name="connsiteY89" fmla="*/ 37279 h 163552"/>
                <a:gd name="connsiteX90" fmla="*/ 1454 w 415960"/>
                <a:gd name="connsiteY90" fmla="*/ 36852 h 163552"/>
                <a:gd name="connsiteX91" fmla="*/ 3676 w 415960"/>
                <a:gd name="connsiteY91" fmla="*/ 35327 h 163552"/>
                <a:gd name="connsiteX92" fmla="*/ 4137 w 415960"/>
                <a:gd name="connsiteY92" fmla="*/ 34238 h 163552"/>
                <a:gd name="connsiteX93" fmla="*/ 323405 w 415960"/>
                <a:gd name="connsiteY93" fmla="*/ 2424 h 163552"/>
                <a:gd name="connsiteX94" fmla="*/ 323165 w 415960"/>
                <a:gd name="connsiteY94" fmla="*/ 5137 h 163552"/>
                <a:gd name="connsiteX95" fmla="*/ 321736 w 415960"/>
                <a:gd name="connsiteY95" fmla="*/ 5325 h 163552"/>
                <a:gd name="connsiteX96" fmla="*/ 321075 w 415960"/>
                <a:gd name="connsiteY96" fmla="*/ 4112 h 163552"/>
                <a:gd name="connsiteX97" fmla="*/ 322811 w 415960"/>
                <a:gd name="connsiteY97" fmla="*/ 2699 h 163552"/>
                <a:gd name="connsiteX98" fmla="*/ 324422 w 415960"/>
                <a:gd name="connsiteY98" fmla="*/ 0 h 163552"/>
                <a:gd name="connsiteX99" fmla="*/ 325204 w 415960"/>
                <a:gd name="connsiteY99" fmla="*/ 525 h 163552"/>
                <a:gd name="connsiteX100" fmla="*/ 327530 w 415960"/>
                <a:gd name="connsiteY100" fmla="*/ 2452 h 163552"/>
                <a:gd name="connsiteX101" fmla="*/ 328937 w 415960"/>
                <a:gd name="connsiteY101" fmla="*/ 4360 h 163552"/>
                <a:gd name="connsiteX102" fmla="*/ 331320 w 415960"/>
                <a:gd name="connsiteY102" fmla="*/ 5546 h 163552"/>
                <a:gd name="connsiteX103" fmla="*/ 333251 w 415960"/>
                <a:gd name="connsiteY103" fmla="*/ 6506 h 163552"/>
                <a:gd name="connsiteX104" fmla="*/ 338307 w 415960"/>
                <a:gd name="connsiteY104" fmla="*/ 10379 h 163552"/>
                <a:gd name="connsiteX105" fmla="*/ 341640 w 415960"/>
                <a:gd name="connsiteY105" fmla="*/ 12346 h 163552"/>
                <a:gd name="connsiteX106" fmla="*/ 345282 w 415960"/>
                <a:gd name="connsiteY106" fmla="*/ 14116 h 163552"/>
                <a:gd name="connsiteX107" fmla="*/ 350543 w 415960"/>
                <a:gd name="connsiteY107" fmla="*/ 15976 h 163552"/>
                <a:gd name="connsiteX108" fmla="*/ 353754 w 415960"/>
                <a:gd name="connsiteY108" fmla="*/ 15660 h 163552"/>
                <a:gd name="connsiteX109" fmla="*/ 354507 w 415960"/>
                <a:gd name="connsiteY109" fmla="*/ 17070 h 163552"/>
                <a:gd name="connsiteX110" fmla="*/ 355130 w 415960"/>
                <a:gd name="connsiteY110" fmla="*/ 18556 h 163552"/>
                <a:gd name="connsiteX111" fmla="*/ 356330 w 415960"/>
                <a:gd name="connsiteY111" fmla="*/ 19422 h 163552"/>
                <a:gd name="connsiteX112" fmla="*/ 358237 w 415960"/>
                <a:gd name="connsiteY112" fmla="*/ 20161 h 163552"/>
                <a:gd name="connsiteX113" fmla="*/ 359371 w 415960"/>
                <a:gd name="connsiteY113" fmla="*/ 20393 h 163552"/>
                <a:gd name="connsiteX114" fmla="*/ 359718 w 415960"/>
                <a:gd name="connsiteY114" fmla="*/ 20765 h 163552"/>
                <a:gd name="connsiteX115" fmla="*/ 360857 w 415960"/>
                <a:gd name="connsiteY115" fmla="*/ 26133 h 163552"/>
                <a:gd name="connsiteX116" fmla="*/ 361528 w 415960"/>
                <a:gd name="connsiteY116" fmla="*/ 26917 h 163552"/>
                <a:gd name="connsiteX117" fmla="*/ 364156 w 415960"/>
                <a:gd name="connsiteY117" fmla="*/ 27767 h 163552"/>
                <a:gd name="connsiteX118" fmla="*/ 367375 w 415960"/>
                <a:gd name="connsiteY118" fmla="*/ 28088 h 163552"/>
                <a:gd name="connsiteX119" fmla="*/ 368683 w 415960"/>
                <a:gd name="connsiteY119" fmla="*/ 27902 h 163552"/>
                <a:gd name="connsiteX120" fmla="*/ 371516 w 415960"/>
                <a:gd name="connsiteY120" fmla="*/ 29394 h 163552"/>
                <a:gd name="connsiteX121" fmla="*/ 373603 w 415960"/>
                <a:gd name="connsiteY121" fmla="*/ 30097 h 163552"/>
                <a:gd name="connsiteX122" fmla="*/ 375904 w 415960"/>
                <a:gd name="connsiteY122" fmla="*/ 30623 h 163552"/>
                <a:gd name="connsiteX123" fmla="*/ 377467 w 415960"/>
                <a:gd name="connsiteY123" fmla="*/ 30778 h 163552"/>
                <a:gd name="connsiteX124" fmla="*/ 378187 w 415960"/>
                <a:gd name="connsiteY124" fmla="*/ 30545 h 163552"/>
                <a:gd name="connsiteX125" fmla="*/ 378449 w 415960"/>
                <a:gd name="connsiteY125" fmla="*/ 30005 h 163552"/>
                <a:gd name="connsiteX126" fmla="*/ 379728 w 415960"/>
                <a:gd name="connsiteY126" fmla="*/ 30106 h 163552"/>
                <a:gd name="connsiteX127" fmla="*/ 381642 w 415960"/>
                <a:gd name="connsiteY127" fmla="*/ 30795 h 163552"/>
                <a:gd name="connsiteX128" fmla="*/ 384391 w 415960"/>
                <a:gd name="connsiteY128" fmla="*/ 30935 h 163552"/>
                <a:gd name="connsiteX129" fmla="*/ 386098 w 415960"/>
                <a:gd name="connsiteY129" fmla="*/ 30282 h 163552"/>
                <a:gd name="connsiteX130" fmla="*/ 386335 w 415960"/>
                <a:gd name="connsiteY130" fmla="*/ 29199 h 163552"/>
                <a:gd name="connsiteX131" fmla="*/ 386452 w 415960"/>
                <a:gd name="connsiteY131" fmla="*/ 27299 h 163552"/>
                <a:gd name="connsiteX132" fmla="*/ 387090 w 415960"/>
                <a:gd name="connsiteY132" fmla="*/ 26636 h 163552"/>
                <a:gd name="connsiteX133" fmla="*/ 389047 w 415960"/>
                <a:gd name="connsiteY133" fmla="*/ 25533 h 163552"/>
                <a:gd name="connsiteX134" fmla="*/ 390072 w 415960"/>
                <a:gd name="connsiteY134" fmla="*/ 25764 h 163552"/>
                <a:gd name="connsiteX135" fmla="*/ 395211 w 415960"/>
                <a:gd name="connsiteY135" fmla="*/ 28143 h 163552"/>
                <a:gd name="connsiteX136" fmla="*/ 396270 w 415960"/>
                <a:gd name="connsiteY136" fmla="*/ 28966 h 163552"/>
                <a:gd name="connsiteX137" fmla="*/ 397571 w 415960"/>
                <a:gd name="connsiteY137" fmla="*/ 30623 h 163552"/>
                <a:gd name="connsiteX138" fmla="*/ 399982 w 415960"/>
                <a:gd name="connsiteY138" fmla="*/ 33077 h 163552"/>
                <a:gd name="connsiteX139" fmla="*/ 402596 w 415960"/>
                <a:gd name="connsiteY139" fmla="*/ 34643 h 163552"/>
                <a:gd name="connsiteX140" fmla="*/ 406636 w 415960"/>
                <a:gd name="connsiteY140" fmla="*/ 35310 h 163552"/>
                <a:gd name="connsiteX141" fmla="*/ 410525 w 415960"/>
                <a:gd name="connsiteY141" fmla="*/ 37880 h 163552"/>
                <a:gd name="connsiteX142" fmla="*/ 415076 w 415960"/>
                <a:gd name="connsiteY142" fmla="*/ 39607 h 163552"/>
                <a:gd name="connsiteX143" fmla="*/ 413656 w 415960"/>
                <a:gd name="connsiteY143" fmla="*/ 40510 h 163552"/>
                <a:gd name="connsiteX144" fmla="*/ 412187 w 415960"/>
                <a:gd name="connsiteY144" fmla="*/ 40608 h 163552"/>
                <a:gd name="connsiteX145" fmla="*/ 410221 w 415960"/>
                <a:gd name="connsiteY145" fmla="*/ 40890 h 163552"/>
                <a:gd name="connsiteX146" fmla="*/ 407488 w 415960"/>
                <a:gd name="connsiteY146" fmla="*/ 40021 h 163552"/>
                <a:gd name="connsiteX147" fmla="*/ 406410 w 415960"/>
                <a:gd name="connsiteY147" fmla="*/ 40021 h 163552"/>
                <a:gd name="connsiteX148" fmla="*/ 406263 w 415960"/>
                <a:gd name="connsiteY148" fmla="*/ 40903 h 163552"/>
                <a:gd name="connsiteX149" fmla="*/ 408075 w 415960"/>
                <a:gd name="connsiteY149" fmla="*/ 41979 h 163552"/>
                <a:gd name="connsiteX150" fmla="*/ 409838 w 415960"/>
                <a:gd name="connsiteY150" fmla="*/ 43203 h 163552"/>
                <a:gd name="connsiteX151" fmla="*/ 410474 w 415960"/>
                <a:gd name="connsiteY151" fmla="*/ 45065 h 163552"/>
                <a:gd name="connsiteX152" fmla="*/ 411521 w 415960"/>
                <a:gd name="connsiteY152" fmla="*/ 47274 h 163552"/>
                <a:gd name="connsiteX153" fmla="*/ 414043 w 415960"/>
                <a:gd name="connsiteY153" fmla="*/ 49749 h 163552"/>
                <a:gd name="connsiteX154" fmla="*/ 415615 w 415960"/>
                <a:gd name="connsiteY154" fmla="*/ 50988 h 163552"/>
                <a:gd name="connsiteX155" fmla="*/ 415712 w 415960"/>
                <a:gd name="connsiteY155" fmla="*/ 51870 h 163552"/>
                <a:gd name="connsiteX156" fmla="*/ 415223 w 415960"/>
                <a:gd name="connsiteY156" fmla="*/ 53487 h 163552"/>
                <a:gd name="connsiteX157" fmla="*/ 415099 w 415960"/>
                <a:gd name="connsiteY157" fmla="*/ 54836 h 163552"/>
                <a:gd name="connsiteX158" fmla="*/ 415960 w 415960"/>
                <a:gd name="connsiteY158" fmla="*/ 61041 h 163552"/>
                <a:gd name="connsiteX159" fmla="*/ 415382 w 415960"/>
                <a:gd name="connsiteY159" fmla="*/ 61421 h 163552"/>
                <a:gd name="connsiteX160" fmla="*/ 414450 w 415960"/>
                <a:gd name="connsiteY160" fmla="*/ 61453 h 163552"/>
                <a:gd name="connsiteX161" fmla="*/ 413461 w 415960"/>
                <a:gd name="connsiteY161" fmla="*/ 61421 h 163552"/>
                <a:gd name="connsiteX162" fmla="*/ 412651 w 415960"/>
                <a:gd name="connsiteY162" fmla="*/ 60747 h 163552"/>
                <a:gd name="connsiteX163" fmla="*/ 411943 w 415960"/>
                <a:gd name="connsiteY163" fmla="*/ 60344 h 163552"/>
                <a:gd name="connsiteX164" fmla="*/ 411630 w 415960"/>
                <a:gd name="connsiteY164" fmla="*/ 61304 h 163552"/>
                <a:gd name="connsiteX165" fmla="*/ 410901 w 415960"/>
                <a:gd name="connsiteY165" fmla="*/ 64067 h 163552"/>
                <a:gd name="connsiteX166" fmla="*/ 409260 w 415960"/>
                <a:gd name="connsiteY166" fmla="*/ 70284 h 163552"/>
                <a:gd name="connsiteX167" fmla="*/ 407822 w 415960"/>
                <a:gd name="connsiteY167" fmla="*/ 75735 h 163552"/>
                <a:gd name="connsiteX168" fmla="*/ 406019 w 415960"/>
                <a:gd name="connsiteY168" fmla="*/ 77664 h 163552"/>
                <a:gd name="connsiteX169" fmla="*/ 403412 w 415960"/>
                <a:gd name="connsiteY169" fmla="*/ 80728 h 163552"/>
                <a:gd name="connsiteX170" fmla="*/ 399837 w 415960"/>
                <a:gd name="connsiteY170" fmla="*/ 84923 h 163552"/>
                <a:gd name="connsiteX171" fmla="*/ 394656 w 415960"/>
                <a:gd name="connsiteY171" fmla="*/ 91002 h 163552"/>
                <a:gd name="connsiteX172" fmla="*/ 390824 w 415960"/>
                <a:gd name="connsiteY172" fmla="*/ 93813 h 163552"/>
                <a:gd name="connsiteX173" fmla="*/ 387801 w 415960"/>
                <a:gd name="connsiteY173" fmla="*/ 96031 h 163552"/>
                <a:gd name="connsiteX174" fmla="*/ 384272 w 415960"/>
                <a:gd name="connsiteY174" fmla="*/ 98593 h 163552"/>
                <a:gd name="connsiteX175" fmla="*/ 379713 w 415960"/>
                <a:gd name="connsiteY175" fmla="*/ 101898 h 163552"/>
                <a:gd name="connsiteX176" fmla="*/ 374600 w 415960"/>
                <a:gd name="connsiteY176" fmla="*/ 103759 h 163552"/>
                <a:gd name="connsiteX177" fmla="*/ 367483 w 415960"/>
                <a:gd name="connsiteY177" fmla="*/ 106340 h 163552"/>
                <a:gd name="connsiteX178" fmla="*/ 362447 w 415960"/>
                <a:gd name="connsiteY178" fmla="*/ 108167 h 163552"/>
                <a:gd name="connsiteX179" fmla="*/ 358734 w 415960"/>
                <a:gd name="connsiteY179" fmla="*/ 109443 h 163552"/>
                <a:gd name="connsiteX180" fmla="*/ 354868 w 415960"/>
                <a:gd name="connsiteY180" fmla="*/ 110773 h 163552"/>
                <a:gd name="connsiteX181" fmla="*/ 349755 w 415960"/>
                <a:gd name="connsiteY181" fmla="*/ 112531 h 163552"/>
                <a:gd name="connsiteX182" fmla="*/ 347781 w 415960"/>
                <a:gd name="connsiteY182" fmla="*/ 114189 h 163552"/>
                <a:gd name="connsiteX183" fmla="*/ 344499 w 415960"/>
                <a:gd name="connsiteY183" fmla="*/ 118246 h 163552"/>
                <a:gd name="connsiteX184" fmla="*/ 342969 w 415960"/>
                <a:gd name="connsiteY184" fmla="*/ 120202 h 163552"/>
                <a:gd name="connsiteX185" fmla="*/ 341573 w 415960"/>
                <a:gd name="connsiteY185" fmla="*/ 121885 h 163552"/>
                <a:gd name="connsiteX186" fmla="*/ 341286 w 415960"/>
                <a:gd name="connsiteY186" fmla="*/ 122653 h 163552"/>
                <a:gd name="connsiteX187" fmla="*/ 341467 w 415960"/>
                <a:gd name="connsiteY187" fmla="*/ 123144 h 163552"/>
                <a:gd name="connsiteX188" fmla="*/ 342139 w 415960"/>
                <a:gd name="connsiteY188" fmla="*/ 123965 h 163552"/>
                <a:gd name="connsiteX189" fmla="*/ 342202 w 415960"/>
                <a:gd name="connsiteY189" fmla="*/ 124803 h 163552"/>
                <a:gd name="connsiteX190" fmla="*/ 341279 w 415960"/>
                <a:gd name="connsiteY190" fmla="*/ 125329 h 163552"/>
                <a:gd name="connsiteX191" fmla="*/ 340482 w 415960"/>
                <a:gd name="connsiteY191" fmla="*/ 125412 h 163552"/>
                <a:gd name="connsiteX192" fmla="*/ 340125 w 415960"/>
                <a:gd name="connsiteY192" fmla="*/ 124991 h 163552"/>
                <a:gd name="connsiteX193" fmla="*/ 339863 w 415960"/>
                <a:gd name="connsiteY193" fmla="*/ 124066 h 163552"/>
                <a:gd name="connsiteX194" fmla="*/ 339015 w 415960"/>
                <a:gd name="connsiteY194" fmla="*/ 123125 h 163552"/>
                <a:gd name="connsiteX195" fmla="*/ 338029 w 415960"/>
                <a:gd name="connsiteY195" fmla="*/ 122852 h 163552"/>
                <a:gd name="connsiteX196" fmla="*/ 337464 w 415960"/>
                <a:gd name="connsiteY196" fmla="*/ 123082 h 163552"/>
                <a:gd name="connsiteX197" fmla="*/ 337415 w 415960"/>
                <a:gd name="connsiteY197" fmla="*/ 123942 h 163552"/>
                <a:gd name="connsiteX198" fmla="*/ 336128 w 415960"/>
                <a:gd name="connsiteY198" fmla="*/ 128096 h 163552"/>
                <a:gd name="connsiteX199" fmla="*/ 336080 w 415960"/>
                <a:gd name="connsiteY199" fmla="*/ 130114 h 163552"/>
                <a:gd name="connsiteX200" fmla="*/ 335535 w 415960"/>
                <a:gd name="connsiteY200" fmla="*/ 130912 h 163552"/>
                <a:gd name="connsiteX201" fmla="*/ 335576 w 415960"/>
                <a:gd name="connsiteY201" fmla="*/ 132717 h 163552"/>
                <a:gd name="connsiteX202" fmla="*/ 334277 w 415960"/>
                <a:gd name="connsiteY202" fmla="*/ 134398 h 163552"/>
                <a:gd name="connsiteX203" fmla="*/ 333708 w 415960"/>
                <a:gd name="connsiteY203" fmla="*/ 135896 h 163552"/>
                <a:gd name="connsiteX204" fmla="*/ 333313 w 415960"/>
                <a:gd name="connsiteY204" fmla="*/ 137168 h 163552"/>
                <a:gd name="connsiteX205" fmla="*/ 332263 w 415960"/>
                <a:gd name="connsiteY205" fmla="*/ 138051 h 163552"/>
                <a:gd name="connsiteX206" fmla="*/ 331891 w 415960"/>
                <a:gd name="connsiteY206" fmla="*/ 139440 h 163552"/>
                <a:gd name="connsiteX207" fmla="*/ 330922 w 415960"/>
                <a:gd name="connsiteY207" fmla="*/ 142379 h 163552"/>
                <a:gd name="connsiteX208" fmla="*/ 329790 w 415960"/>
                <a:gd name="connsiteY208" fmla="*/ 144686 h 163552"/>
                <a:gd name="connsiteX209" fmla="*/ 328994 w 415960"/>
                <a:gd name="connsiteY209" fmla="*/ 146661 h 163552"/>
                <a:gd name="connsiteX210" fmla="*/ 328847 w 415960"/>
                <a:gd name="connsiteY210" fmla="*/ 148137 h 163552"/>
                <a:gd name="connsiteX211" fmla="*/ 329454 w 415960"/>
                <a:gd name="connsiteY211" fmla="*/ 149181 h 163552"/>
                <a:gd name="connsiteX212" fmla="*/ 329665 w 415960"/>
                <a:gd name="connsiteY212" fmla="*/ 150022 h 163552"/>
                <a:gd name="connsiteX213" fmla="*/ 329119 w 415960"/>
                <a:gd name="connsiteY213" fmla="*/ 151533 h 163552"/>
                <a:gd name="connsiteX214" fmla="*/ 328826 w 415960"/>
                <a:gd name="connsiteY214" fmla="*/ 152670 h 163552"/>
                <a:gd name="connsiteX215" fmla="*/ 327380 w 415960"/>
                <a:gd name="connsiteY215" fmla="*/ 153439 h 163552"/>
                <a:gd name="connsiteX216" fmla="*/ 324375 w 415960"/>
                <a:gd name="connsiteY216" fmla="*/ 155277 h 163552"/>
                <a:gd name="connsiteX217" fmla="*/ 323207 w 415960"/>
                <a:gd name="connsiteY217" fmla="*/ 156533 h 163552"/>
                <a:gd name="connsiteX218" fmla="*/ 322746 w 415960"/>
                <a:gd name="connsiteY218" fmla="*/ 157963 h 163552"/>
                <a:gd name="connsiteX219" fmla="*/ 323039 w 415960"/>
                <a:gd name="connsiteY219" fmla="*/ 159181 h 163552"/>
                <a:gd name="connsiteX220" fmla="*/ 322913 w 415960"/>
                <a:gd name="connsiteY220" fmla="*/ 160191 h 163552"/>
                <a:gd name="connsiteX221" fmla="*/ 321489 w 415960"/>
                <a:gd name="connsiteY221" fmla="*/ 160568 h 163552"/>
                <a:gd name="connsiteX222" fmla="*/ 320984 w 415960"/>
                <a:gd name="connsiteY222" fmla="*/ 161452 h 163552"/>
                <a:gd name="connsiteX223" fmla="*/ 320020 w 415960"/>
                <a:gd name="connsiteY223" fmla="*/ 163006 h 163552"/>
                <a:gd name="connsiteX224" fmla="*/ 318931 w 415960"/>
                <a:gd name="connsiteY224" fmla="*/ 163552 h 163552"/>
                <a:gd name="connsiteX225" fmla="*/ 316131 w 415960"/>
                <a:gd name="connsiteY225" fmla="*/ 162728 h 163552"/>
                <a:gd name="connsiteX226" fmla="*/ 314066 w 415960"/>
                <a:gd name="connsiteY226" fmla="*/ 162713 h 163552"/>
                <a:gd name="connsiteX227" fmla="*/ 312472 w 415960"/>
                <a:gd name="connsiteY227" fmla="*/ 161956 h 163552"/>
                <a:gd name="connsiteX228" fmla="*/ 310736 w 415960"/>
                <a:gd name="connsiteY228" fmla="*/ 159724 h 163552"/>
                <a:gd name="connsiteX229" fmla="*/ 309307 w 415960"/>
                <a:gd name="connsiteY229" fmla="*/ 157848 h 163552"/>
                <a:gd name="connsiteX230" fmla="*/ 308138 w 415960"/>
                <a:gd name="connsiteY230" fmla="*/ 155418 h 163552"/>
                <a:gd name="connsiteX231" fmla="*/ 307776 w 415960"/>
                <a:gd name="connsiteY231" fmla="*/ 152079 h 163552"/>
                <a:gd name="connsiteX232" fmla="*/ 306217 w 415960"/>
                <a:gd name="connsiteY232" fmla="*/ 151099 h 163552"/>
                <a:gd name="connsiteX233" fmla="*/ 304673 w 415960"/>
                <a:gd name="connsiteY233" fmla="*/ 149938 h 163552"/>
                <a:gd name="connsiteX234" fmla="*/ 302836 w 415960"/>
                <a:gd name="connsiteY234" fmla="*/ 150260 h 163552"/>
                <a:gd name="connsiteX235" fmla="*/ 300648 w 415960"/>
                <a:gd name="connsiteY235" fmla="*/ 150484 h 163552"/>
                <a:gd name="connsiteX236" fmla="*/ 299435 w 415960"/>
                <a:gd name="connsiteY236" fmla="*/ 149710 h 163552"/>
                <a:gd name="connsiteX237" fmla="*/ 296449 w 415960"/>
                <a:gd name="connsiteY237" fmla="*/ 148298 h 163552"/>
                <a:gd name="connsiteX238" fmla="*/ 293897 w 415960"/>
                <a:gd name="connsiteY238" fmla="*/ 146703 h 163552"/>
                <a:gd name="connsiteX239" fmla="*/ 291969 w 415960"/>
                <a:gd name="connsiteY239" fmla="*/ 145904 h 163552"/>
                <a:gd name="connsiteX240" fmla="*/ 290501 w 415960"/>
                <a:gd name="connsiteY240" fmla="*/ 146284 h 163552"/>
                <a:gd name="connsiteX241" fmla="*/ 289620 w 415960"/>
                <a:gd name="connsiteY241" fmla="*/ 147249 h 163552"/>
                <a:gd name="connsiteX242" fmla="*/ 288069 w 415960"/>
                <a:gd name="connsiteY242" fmla="*/ 148970 h 163552"/>
                <a:gd name="connsiteX243" fmla="*/ 285784 w 415960"/>
                <a:gd name="connsiteY243" fmla="*/ 150161 h 163552"/>
                <a:gd name="connsiteX244" fmla="*/ 284753 w 415960"/>
                <a:gd name="connsiteY244" fmla="*/ 150105 h 163552"/>
                <a:gd name="connsiteX245" fmla="*/ 283373 w 415960"/>
                <a:gd name="connsiteY245" fmla="*/ 149308 h 163552"/>
                <a:gd name="connsiteX246" fmla="*/ 283122 w 415960"/>
                <a:gd name="connsiteY246" fmla="*/ 148382 h 163552"/>
                <a:gd name="connsiteX247" fmla="*/ 284254 w 415960"/>
                <a:gd name="connsiteY247" fmla="*/ 146913 h 163552"/>
                <a:gd name="connsiteX248" fmla="*/ 286560 w 415960"/>
                <a:gd name="connsiteY248" fmla="*/ 143679 h 163552"/>
                <a:gd name="connsiteX249" fmla="*/ 284003 w 415960"/>
                <a:gd name="connsiteY249" fmla="*/ 143595 h 163552"/>
                <a:gd name="connsiteX250" fmla="*/ 283122 w 415960"/>
                <a:gd name="connsiteY250" fmla="*/ 142588 h 163552"/>
                <a:gd name="connsiteX251" fmla="*/ 282996 w 415960"/>
                <a:gd name="connsiteY251" fmla="*/ 141409 h 163552"/>
                <a:gd name="connsiteX252" fmla="*/ 282576 w 415960"/>
                <a:gd name="connsiteY252" fmla="*/ 140150 h 163552"/>
                <a:gd name="connsiteX253" fmla="*/ 283080 w 415960"/>
                <a:gd name="connsiteY253" fmla="*/ 138640 h 163552"/>
                <a:gd name="connsiteX254" fmla="*/ 284421 w 415960"/>
                <a:gd name="connsiteY254" fmla="*/ 137840 h 163552"/>
                <a:gd name="connsiteX255" fmla="*/ 286434 w 415960"/>
                <a:gd name="connsiteY255" fmla="*/ 138470 h 163552"/>
                <a:gd name="connsiteX256" fmla="*/ 287818 w 415960"/>
                <a:gd name="connsiteY256" fmla="*/ 138512 h 163552"/>
                <a:gd name="connsiteX257" fmla="*/ 288741 w 415960"/>
                <a:gd name="connsiteY257" fmla="*/ 137084 h 163552"/>
                <a:gd name="connsiteX258" fmla="*/ 289663 w 415960"/>
                <a:gd name="connsiteY258" fmla="*/ 136454 h 163552"/>
                <a:gd name="connsiteX259" fmla="*/ 290585 w 415960"/>
                <a:gd name="connsiteY259" fmla="*/ 135993 h 163552"/>
                <a:gd name="connsiteX260" fmla="*/ 290963 w 415960"/>
                <a:gd name="connsiteY260" fmla="*/ 135279 h 163552"/>
                <a:gd name="connsiteX261" fmla="*/ 289991 w 415960"/>
                <a:gd name="connsiteY261" fmla="*/ 132992 h 163552"/>
                <a:gd name="connsiteX262" fmla="*/ 289705 w 415960"/>
                <a:gd name="connsiteY262" fmla="*/ 131752 h 163552"/>
                <a:gd name="connsiteX263" fmla="*/ 289998 w 415960"/>
                <a:gd name="connsiteY263" fmla="*/ 131038 h 163552"/>
                <a:gd name="connsiteX264" fmla="*/ 289956 w 415960"/>
                <a:gd name="connsiteY264" fmla="*/ 129610 h 163552"/>
                <a:gd name="connsiteX265" fmla="*/ 289914 w 415960"/>
                <a:gd name="connsiteY265" fmla="*/ 128561 h 163552"/>
                <a:gd name="connsiteX266" fmla="*/ 289327 w 415960"/>
                <a:gd name="connsiteY266" fmla="*/ 127637 h 163552"/>
                <a:gd name="connsiteX267" fmla="*/ 289286 w 415960"/>
                <a:gd name="connsiteY267" fmla="*/ 126250 h 163552"/>
                <a:gd name="connsiteX268" fmla="*/ 288782 w 415960"/>
                <a:gd name="connsiteY268" fmla="*/ 125497 h 163552"/>
                <a:gd name="connsiteX269" fmla="*/ 288614 w 415960"/>
                <a:gd name="connsiteY269" fmla="*/ 124699 h 163552"/>
                <a:gd name="connsiteX270" fmla="*/ 288572 w 415960"/>
                <a:gd name="connsiteY270" fmla="*/ 123774 h 163552"/>
                <a:gd name="connsiteX271" fmla="*/ 287943 w 415960"/>
                <a:gd name="connsiteY271" fmla="*/ 123313 h 163552"/>
                <a:gd name="connsiteX272" fmla="*/ 287275 w 415960"/>
                <a:gd name="connsiteY272" fmla="*/ 122842 h 163552"/>
                <a:gd name="connsiteX273" fmla="*/ 287822 w 415960"/>
                <a:gd name="connsiteY273" fmla="*/ 122510 h 163552"/>
                <a:gd name="connsiteX274" fmla="*/ 291454 w 415960"/>
                <a:gd name="connsiteY274" fmla="*/ 121228 h 163552"/>
                <a:gd name="connsiteX275" fmla="*/ 292963 w 415960"/>
                <a:gd name="connsiteY275" fmla="*/ 119952 h 163552"/>
                <a:gd name="connsiteX276" fmla="*/ 294832 w 415960"/>
                <a:gd name="connsiteY276" fmla="*/ 118787 h 163552"/>
                <a:gd name="connsiteX277" fmla="*/ 296438 w 415960"/>
                <a:gd name="connsiteY277" fmla="*/ 117000 h 163552"/>
                <a:gd name="connsiteX278" fmla="*/ 297496 w 415960"/>
                <a:gd name="connsiteY278" fmla="*/ 115284 h 163552"/>
                <a:gd name="connsiteX279" fmla="*/ 300004 w 415960"/>
                <a:gd name="connsiteY279" fmla="*/ 107337 h 163552"/>
                <a:gd name="connsiteX280" fmla="*/ 302357 w 415960"/>
                <a:gd name="connsiteY280" fmla="*/ 102316 h 163552"/>
                <a:gd name="connsiteX281" fmla="*/ 301961 w 415960"/>
                <a:gd name="connsiteY281" fmla="*/ 99921 h 163552"/>
                <a:gd name="connsiteX282" fmla="*/ 300011 w 415960"/>
                <a:gd name="connsiteY282" fmla="*/ 96670 h 163552"/>
                <a:gd name="connsiteX283" fmla="*/ 299572 w 415960"/>
                <a:gd name="connsiteY283" fmla="*/ 91883 h 163552"/>
                <a:gd name="connsiteX284" fmla="*/ 299752 w 415960"/>
                <a:gd name="connsiteY284" fmla="*/ 90429 h 163552"/>
                <a:gd name="connsiteX285" fmla="*/ 299511 w 415960"/>
                <a:gd name="connsiteY285" fmla="*/ 89334 h 163552"/>
                <a:gd name="connsiteX286" fmla="*/ 298211 w 415960"/>
                <a:gd name="connsiteY286" fmla="*/ 91320 h 163552"/>
                <a:gd name="connsiteX287" fmla="*/ 298542 w 415960"/>
                <a:gd name="connsiteY287" fmla="*/ 98371 h 163552"/>
                <a:gd name="connsiteX288" fmla="*/ 297395 w 415960"/>
                <a:gd name="connsiteY288" fmla="*/ 101541 h 163552"/>
                <a:gd name="connsiteX289" fmla="*/ 295786 w 415960"/>
                <a:gd name="connsiteY289" fmla="*/ 102306 h 163552"/>
                <a:gd name="connsiteX290" fmla="*/ 294743 w 415960"/>
                <a:gd name="connsiteY290" fmla="*/ 101749 h 163552"/>
                <a:gd name="connsiteX291" fmla="*/ 295339 w 415960"/>
                <a:gd name="connsiteY291" fmla="*/ 96600 h 163552"/>
                <a:gd name="connsiteX292" fmla="*/ 294161 w 415960"/>
                <a:gd name="connsiteY292" fmla="*/ 97537 h 163552"/>
                <a:gd name="connsiteX293" fmla="*/ 292284 w 415960"/>
                <a:gd name="connsiteY293" fmla="*/ 101030 h 163552"/>
                <a:gd name="connsiteX294" fmla="*/ 289203 w 415960"/>
                <a:gd name="connsiteY294" fmla="*/ 103622 h 163552"/>
                <a:gd name="connsiteX295" fmla="*/ 289036 w 415960"/>
                <a:gd name="connsiteY295" fmla="*/ 104487 h 163552"/>
                <a:gd name="connsiteX296" fmla="*/ 288288 w 415960"/>
                <a:gd name="connsiteY296" fmla="*/ 105555 h 163552"/>
                <a:gd name="connsiteX297" fmla="*/ 285909 w 415960"/>
                <a:gd name="connsiteY297" fmla="*/ 104571 h 163552"/>
                <a:gd name="connsiteX298" fmla="*/ 284096 w 415960"/>
                <a:gd name="connsiteY298" fmla="*/ 103505 h 163552"/>
                <a:gd name="connsiteX299" fmla="*/ 278142 w 415960"/>
                <a:gd name="connsiteY299" fmla="*/ 97693 h 163552"/>
                <a:gd name="connsiteX300" fmla="*/ 274233 w 415960"/>
                <a:gd name="connsiteY300" fmla="*/ 96479 h 163552"/>
                <a:gd name="connsiteX301" fmla="*/ 271872 w 415960"/>
                <a:gd name="connsiteY301" fmla="*/ 94452 h 163552"/>
                <a:gd name="connsiteX302" fmla="*/ 271378 w 415960"/>
                <a:gd name="connsiteY302" fmla="*/ 93598 h 163552"/>
                <a:gd name="connsiteX303" fmla="*/ 271095 w 415960"/>
                <a:gd name="connsiteY303" fmla="*/ 92426 h 163552"/>
                <a:gd name="connsiteX304" fmla="*/ 273508 w 415960"/>
                <a:gd name="connsiteY304" fmla="*/ 91207 h 163552"/>
                <a:gd name="connsiteX305" fmla="*/ 275975 w 415960"/>
                <a:gd name="connsiteY305" fmla="*/ 89569 h 163552"/>
                <a:gd name="connsiteX306" fmla="*/ 276222 w 415960"/>
                <a:gd name="connsiteY306" fmla="*/ 85965 h 163552"/>
                <a:gd name="connsiteX307" fmla="*/ 276158 w 415960"/>
                <a:gd name="connsiteY307" fmla="*/ 83134 h 163552"/>
                <a:gd name="connsiteX308" fmla="*/ 274335 w 415960"/>
                <a:gd name="connsiteY308" fmla="*/ 78302 h 163552"/>
                <a:gd name="connsiteX309" fmla="*/ 275187 w 415960"/>
                <a:gd name="connsiteY309" fmla="*/ 71985 h 163552"/>
                <a:gd name="connsiteX310" fmla="*/ 274715 w 415960"/>
                <a:gd name="connsiteY310" fmla="*/ 69511 h 163552"/>
                <a:gd name="connsiteX311" fmla="*/ 272626 w 415960"/>
                <a:gd name="connsiteY311" fmla="*/ 64263 h 163552"/>
                <a:gd name="connsiteX312" fmla="*/ 274173 w 415960"/>
                <a:gd name="connsiteY312" fmla="*/ 61621 h 163552"/>
                <a:gd name="connsiteX313" fmla="*/ 279693 w 415960"/>
                <a:gd name="connsiteY313" fmla="*/ 59695 h 163552"/>
                <a:gd name="connsiteX314" fmla="*/ 281463 w 415960"/>
                <a:gd name="connsiteY314" fmla="*/ 58407 h 163552"/>
                <a:gd name="connsiteX315" fmla="*/ 282701 w 415960"/>
                <a:gd name="connsiteY315" fmla="*/ 54245 h 163552"/>
                <a:gd name="connsiteX316" fmla="*/ 283959 w 415960"/>
                <a:gd name="connsiteY316" fmla="*/ 51751 h 163552"/>
                <a:gd name="connsiteX317" fmla="*/ 286420 w 415960"/>
                <a:gd name="connsiteY317" fmla="*/ 52756 h 163552"/>
                <a:gd name="connsiteX318" fmla="*/ 288348 w 415960"/>
                <a:gd name="connsiteY318" fmla="*/ 52639 h 163552"/>
                <a:gd name="connsiteX319" fmla="*/ 285751 w 415960"/>
                <a:gd name="connsiteY319" fmla="*/ 51714 h 163552"/>
                <a:gd name="connsiteX320" fmla="*/ 283633 w 415960"/>
                <a:gd name="connsiteY320" fmla="*/ 47962 h 163552"/>
                <a:gd name="connsiteX321" fmla="*/ 283279 w 415960"/>
                <a:gd name="connsiteY321" fmla="*/ 46243 h 163552"/>
                <a:gd name="connsiteX322" fmla="*/ 287361 w 415960"/>
                <a:gd name="connsiteY322" fmla="*/ 41110 h 163552"/>
                <a:gd name="connsiteX323" fmla="*/ 289498 w 415960"/>
                <a:gd name="connsiteY323" fmla="*/ 39773 h 163552"/>
                <a:gd name="connsiteX324" fmla="*/ 292125 w 415960"/>
                <a:gd name="connsiteY324" fmla="*/ 37059 h 163552"/>
                <a:gd name="connsiteX325" fmla="*/ 294338 w 415960"/>
                <a:gd name="connsiteY325" fmla="*/ 32966 h 163552"/>
                <a:gd name="connsiteX326" fmla="*/ 294874 w 415960"/>
                <a:gd name="connsiteY326" fmla="*/ 26505 h 163552"/>
                <a:gd name="connsiteX327" fmla="*/ 293961 w 415960"/>
                <a:gd name="connsiteY327" fmla="*/ 21888 h 163552"/>
                <a:gd name="connsiteX328" fmla="*/ 293269 w 415960"/>
                <a:gd name="connsiteY328" fmla="*/ 17006 h 163552"/>
                <a:gd name="connsiteX329" fmla="*/ 294597 w 415960"/>
                <a:gd name="connsiteY329" fmla="*/ 15744 h 163552"/>
                <a:gd name="connsiteX330" fmla="*/ 297954 w 415960"/>
                <a:gd name="connsiteY330" fmla="*/ 15093 h 163552"/>
                <a:gd name="connsiteX331" fmla="*/ 300684 w 415960"/>
                <a:gd name="connsiteY331" fmla="*/ 13519 h 163552"/>
                <a:gd name="connsiteX332" fmla="*/ 302070 w 415960"/>
                <a:gd name="connsiteY332" fmla="*/ 12060 h 163552"/>
                <a:gd name="connsiteX333" fmla="*/ 305316 w 415960"/>
                <a:gd name="connsiteY333" fmla="*/ 12279 h 163552"/>
                <a:gd name="connsiteX334" fmla="*/ 309064 w 415960"/>
                <a:gd name="connsiteY334" fmla="*/ 10025 h 163552"/>
                <a:gd name="connsiteX335" fmla="*/ 315057 w 415960"/>
                <a:gd name="connsiteY335" fmla="*/ 8895 h 163552"/>
                <a:gd name="connsiteX336" fmla="*/ 323409 w 415960"/>
                <a:gd name="connsiteY336" fmla="*/ 6318 h 163552"/>
                <a:gd name="connsiteX337" fmla="*/ 325250 w 415960"/>
                <a:gd name="connsiteY337" fmla="*/ 4044 h 163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</a:cxnLst>
              <a:rect l="l" t="t" r="r" b="b"/>
              <a:pathLst>
                <a:path w="415960" h="163552">
                  <a:moveTo>
                    <a:pt x="293460" y="104593"/>
                  </a:moveTo>
                  <a:lnTo>
                    <a:pt x="295578" y="104719"/>
                  </a:lnTo>
                  <a:lnTo>
                    <a:pt x="297815" y="106032"/>
                  </a:lnTo>
                  <a:lnTo>
                    <a:pt x="295173" y="108416"/>
                  </a:lnTo>
                  <a:lnTo>
                    <a:pt x="293703" y="108779"/>
                  </a:lnTo>
                  <a:lnTo>
                    <a:pt x="293140" y="109085"/>
                  </a:lnTo>
                  <a:lnTo>
                    <a:pt x="292171" y="112315"/>
                  </a:lnTo>
                  <a:lnTo>
                    <a:pt x="291687" y="113293"/>
                  </a:lnTo>
                  <a:lnTo>
                    <a:pt x="289278" y="113207"/>
                  </a:lnTo>
                  <a:lnTo>
                    <a:pt x="288587" y="112892"/>
                  </a:lnTo>
                  <a:lnTo>
                    <a:pt x="288607" y="111771"/>
                  </a:lnTo>
                  <a:lnTo>
                    <a:pt x="289173" y="108224"/>
                  </a:lnTo>
                  <a:lnTo>
                    <a:pt x="289836" y="106732"/>
                  </a:lnTo>
                  <a:lnTo>
                    <a:pt x="291813" y="105289"/>
                  </a:lnTo>
                  <a:close/>
                  <a:moveTo>
                    <a:pt x="29843" y="67866"/>
                  </a:moveTo>
                  <a:lnTo>
                    <a:pt x="30990" y="68344"/>
                  </a:lnTo>
                  <a:lnTo>
                    <a:pt x="31833" y="68914"/>
                  </a:lnTo>
                  <a:lnTo>
                    <a:pt x="32330" y="69675"/>
                  </a:lnTo>
                  <a:lnTo>
                    <a:pt x="31194" y="70883"/>
                  </a:lnTo>
                  <a:lnTo>
                    <a:pt x="30168" y="70935"/>
                  </a:lnTo>
                  <a:lnTo>
                    <a:pt x="28770" y="69848"/>
                  </a:lnTo>
                  <a:close/>
                  <a:moveTo>
                    <a:pt x="59227" y="54149"/>
                  </a:moveTo>
                  <a:lnTo>
                    <a:pt x="60001" y="54397"/>
                  </a:lnTo>
                  <a:lnTo>
                    <a:pt x="60519" y="54772"/>
                  </a:lnTo>
                  <a:lnTo>
                    <a:pt x="60724" y="55375"/>
                  </a:lnTo>
                  <a:lnTo>
                    <a:pt x="59823" y="56834"/>
                  </a:lnTo>
                  <a:lnTo>
                    <a:pt x="58213" y="57852"/>
                  </a:lnTo>
                  <a:lnTo>
                    <a:pt x="56678" y="60007"/>
                  </a:lnTo>
                  <a:lnTo>
                    <a:pt x="53693" y="61054"/>
                  </a:lnTo>
                  <a:lnTo>
                    <a:pt x="52662" y="60584"/>
                  </a:lnTo>
                  <a:lnTo>
                    <a:pt x="52020" y="60069"/>
                  </a:lnTo>
                  <a:lnTo>
                    <a:pt x="51869" y="59437"/>
                  </a:lnTo>
                  <a:lnTo>
                    <a:pt x="53520" y="57872"/>
                  </a:lnTo>
                  <a:lnTo>
                    <a:pt x="55131" y="57023"/>
                  </a:lnTo>
                  <a:lnTo>
                    <a:pt x="56571" y="55219"/>
                  </a:lnTo>
                  <a:close/>
                  <a:moveTo>
                    <a:pt x="35113" y="49194"/>
                  </a:moveTo>
                  <a:lnTo>
                    <a:pt x="37246" y="50719"/>
                  </a:lnTo>
                  <a:lnTo>
                    <a:pt x="37056" y="53610"/>
                  </a:lnTo>
                  <a:lnTo>
                    <a:pt x="35324" y="55720"/>
                  </a:lnTo>
                  <a:lnTo>
                    <a:pt x="33945" y="56106"/>
                  </a:lnTo>
                  <a:lnTo>
                    <a:pt x="33453" y="56470"/>
                  </a:lnTo>
                  <a:lnTo>
                    <a:pt x="32128" y="56515"/>
                  </a:lnTo>
                  <a:lnTo>
                    <a:pt x="28197" y="54059"/>
                  </a:lnTo>
                  <a:lnTo>
                    <a:pt x="28462" y="51648"/>
                  </a:lnTo>
                  <a:lnTo>
                    <a:pt x="30033" y="50024"/>
                  </a:lnTo>
                  <a:close/>
                  <a:moveTo>
                    <a:pt x="4919" y="43388"/>
                  </a:moveTo>
                  <a:lnTo>
                    <a:pt x="6461" y="45082"/>
                  </a:lnTo>
                  <a:lnTo>
                    <a:pt x="6446" y="47577"/>
                  </a:lnTo>
                  <a:lnTo>
                    <a:pt x="5786" y="48591"/>
                  </a:lnTo>
                  <a:lnTo>
                    <a:pt x="3240" y="49031"/>
                  </a:lnTo>
                  <a:lnTo>
                    <a:pt x="1101" y="48162"/>
                  </a:lnTo>
                  <a:lnTo>
                    <a:pt x="192" y="46815"/>
                  </a:lnTo>
                  <a:lnTo>
                    <a:pt x="0" y="44790"/>
                  </a:lnTo>
                  <a:lnTo>
                    <a:pt x="189" y="44118"/>
                  </a:lnTo>
                  <a:close/>
                  <a:moveTo>
                    <a:pt x="22156" y="40973"/>
                  </a:moveTo>
                  <a:lnTo>
                    <a:pt x="25018" y="41719"/>
                  </a:lnTo>
                  <a:lnTo>
                    <a:pt x="27914" y="43965"/>
                  </a:lnTo>
                  <a:lnTo>
                    <a:pt x="27391" y="45373"/>
                  </a:lnTo>
                  <a:lnTo>
                    <a:pt x="26211" y="46141"/>
                  </a:lnTo>
                  <a:lnTo>
                    <a:pt x="21429" y="45257"/>
                  </a:lnTo>
                  <a:lnTo>
                    <a:pt x="19941" y="43786"/>
                  </a:lnTo>
                  <a:lnTo>
                    <a:pt x="21142" y="41778"/>
                  </a:lnTo>
                  <a:close/>
                  <a:moveTo>
                    <a:pt x="7423" y="33714"/>
                  </a:moveTo>
                  <a:lnTo>
                    <a:pt x="8834" y="34587"/>
                  </a:lnTo>
                  <a:lnTo>
                    <a:pt x="9686" y="36267"/>
                  </a:lnTo>
                  <a:lnTo>
                    <a:pt x="11260" y="37901"/>
                  </a:lnTo>
                  <a:lnTo>
                    <a:pt x="12118" y="42560"/>
                  </a:lnTo>
                  <a:lnTo>
                    <a:pt x="17207" y="47476"/>
                  </a:lnTo>
                  <a:lnTo>
                    <a:pt x="17838" y="50221"/>
                  </a:lnTo>
                  <a:lnTo>
                    <a:pt x="17386" y="51500"/>
                  </a:lnTo>
                  <a:lnTo>
                    <a:pt x="17628" y="52000"/>
                  </a:lnTo>
                  <a:lnTo>
                    <a:pt x="20072" y="53939"/>
                  </a:lnTo>
                  <a:lnTo>
                    <a:pt x="21667" y="55974"/>
                  </a:lnTo>
                  <a:lnTo>
                    <a:pt x="18982" y="60754"/>
                  </a:lnTo>
                  <a:lnTo>
                    <a:pt x="13264" y="62759"/>
                  </a:lnTo>
                  <a:lnTo>
                    <a:pt x="7165" y="62693"/>
                  </a:lnTo>
                  <a:lnTo>
                    <a:pt x="5961" y="62178"/>
                  </a:lnTo>
                  <a:lnTo>
                    <a:pt x="4326" y="60350"/>
                  </a:lnTo>
                  <a:lnTo>
                    <a:pt x="4025" y="58735"/>
                  </a:lnTo>
                  <a:lnTo>
                    <a:pt x="4966" y="57178"/>
                  </a:lnTo>
                  <a:lnTo>
                    <a:pt x="8116" y="54812"/>
                  </a:lnTo>
                  <a:lnTo>
                    <a:pt x="12918" y="52698"/>
                  </a:lnTo>
                  <a:lnTo>
                    <a:pt x="13520" y="51081"/>
                  </a:lnTo>
                  <a:lnTo>
                    <a:pt x="11591" y="49506"/>
                  </a:lnTo>
                  <a:lnTo>
                    <a:pt x="10260" y="46378"/>
                  </a:lnTo>
                  <a:lnTo>
                    <a:pt x="7225" y="44187"/>
                  </a:lnTo>
                  <a:lnTo>
                    <a:pt x="5713" y="37498"/>
                  </a:lnTo>
                  <a:lnTo>
                    <a:pt x="4702" y="37166"/>
                  </a:lnTo>
                  <a:lnTo>
                    <a:pt x="2641" y="38089"/>
                  </a:lnTo>
                  <a:lnTo>
                    <a:pt x="1625" y="37279"/>
                  </a:lnTo>
                  <a:lnTo>
                    <a:pt x="1454" y="36852"/>
                  </a:lnTo>
                  <a:lnTo>
                    <a:pt x="3676" y="35327"/>
                  </a:lnTo>
                  <a:lnTo>
                    <a:pt x="4137" y="34238"/>
                  </a:lnTo>
                  <a:close/>
                  <a:moveTo>
                    <a:pt x="323405" y="2424"/>
                  </a:moveTo>
                  <a:lnTo>
                    <a:pt x="323165" y="5137"/>
                  </a:lnTo>
                  <a:lnTo>
                    <a:pt x="321736" y="5325"/>
                  </a:lnTo>
                  <a:lnTo>
                    <a:pt x="321075" y="4112"/>
                  </a:lnTo>
                  <a:lnTo>
                    <a:pt x="322811" y="2699"/>
                  </a:lnTo>
                  <a:close/>
                  <a:moveTo>
                    <a:pt x="324422" y="0"/>
                  </a:moveTo>
                  <a:lnTo>
                    <a:pt x="325204" y="525"/>
                  </a:lnTo>
                  <a:lnTo>
                    <a:pt x="327530" y="2452"/>
                  </a:lnTo>
                  <a:lnTo>
                    <a:pt x="328937" y="4360"/>
                  </a:lnTo>
                  <a:lnTo>
                    <a:pt x="331320" y="5546"/>
                  </a:lnTo>
                  <a:lnTo>
                    <a:pt x="333251" y="6506"/>
                  </a:lnTo>
                  <a:lnTo>
                    <a:pt x="338307" y="10379"/>
                  </a:lnTo>
                  <a:lnTo>
                    <a:pt x="341640" y="12346"/>
                  </a:lnTo>
                  <a:lnTo>
                    <a:pt x="345282" y="14116"/>
                  </a:lnTo>
                  <a:lnTo>
                    <a:pt x="350543" y="15976"/>
                  </a:lnTo>
                  <a:lnTo>
                    <a:pt x="353754" y="15660"/>
                  </a:lnTo>
                  <a:lnTo>
                    <a:pt x="354507" y="17070"/>
                  </a:lnTo>
                  <a:lnTo>
                    <a:pt x="355130" y="18556"/>
                  </a:lnTo>
                  <a:lnTo>
                    <a:pt x="356330" y="19422"/>
                  </a:lnTo>
                  <a:lnTo>
                    <a:pt x="358237" y="20161"/>
                  </a:lnTo>
                  <a:lnTo>
                    <a:pt x="359371" y="20393"/>
                  </a:lnTo>
                  <a:lnTo>
                    <a:pt x="359718" y="20765"/>
                  </a:lnTo>
                  <a:lnTo>
                    <a:pt x="360857" y="26133"/>
                  </a:lnTo>
                  <a:lnTo>
                    <a:pt x="361528" y="26917"/>
                  </a:lnTo>
                  <a:lnTo>
                    <a:pt x="364156" y="27767"/>
                  </a:lnTo>
                  <a:lnTo>
                    <a:pt x="367375" y="28088"/>
                  </a:lnTo>
                  <a:lnTo>
                    <a:pt x="368683" y="27902"/>
                  </a:lnTo>
                  <a:lnTo>
                    <a:pt x="371516" y="29394"/>
                  </a:lnTo>
                  <a:lnTo>
                    <a:pt x="373603" y="30097"/>
                  </a:lnTo>
                  <a:lnTo>
                    <a:pt x="375904" y="30623"/>
                  </a:lnTo>
                  <a:lnTo>
                    <a:pt x="377467" y="30778"/>
                  </a:lnTo>
                  <a:lnTo>
                    <a:pt x="378187" y="30545"/>
                  </a:lnTo>
                  <a:lnTo>
                    <a:pt x="378449" y="30005"/>
                  </a:lnTo>
                  <a:lnTo>
                    <a:pt x="379728" y="30106"/>
                  </a:lnTo>
                  <a:lnTo>
                    <a:pt x="381642" y="30795"/>
                  </a:lnTo>
                  <a:lnTo>
                    <a:pt x="384391" y="30935"/>
                  </a:lnTo>
                  <a:lnTo>
                    <a:pt x="386098" y="30282"/>
                  </a:lnTo>
                  <a:lnTo>
                    <a:pt x="386335" y="29199"/>
                  </a:lnTo>
                  <a:lnTo>
                    <a:pt x="386452" y="27299"/>
                  </a:lnTo>
                  <a:lnTo>
                    <a:pt x="387090" y="26636"/>
                  </a:lnTo>
                  <a:lnTo>
                    <a:pt x="389047" y="25533"/>
                  </a:lnTo>
                  <a:lnTo>
                    <a:pt x="390072" y="25764"/>
                  </a:lnTo>
                  <a:lnTo>
                    <a:pt x="395211" y="28143"/>
                  </a:lnTo>
                  <a:lnTo>
                    <a:pt x="396270" y="28966"/>
                  </a:lnTo>
                  <a:lnTo>
                    <a:pt x="397571" y="30623"/>
                  </a:lnTo>
                  <a:lnTo>
                    <a:pt x="399982" y="33077"/>
                  </a:lnTo>
                  <a:lnTo>
                    <a:pt x="402596" y="34643"/>
                  </a:lnTo>
                  <a:lnTo>
                    <a:pt x="406636" y="35310"/>
                  </a:lnTo>
                  <a:lnTo>
                    <a:pt x="410525" y="37880"/>
                  </a:lnTo>
                  <a:lnTo>
                    <a:pt x="415076" y="39607"/>
                  </a:lnTo>
                  <a:lnTo>
                    <a:pt x="413656" y="40510"/>
                  </a:lnTo>
                  <a:lnTo>
                    <a:pt x="412187" y="40608"/>
                  </a:lnTo>
                  <a:lnTo>
                    <a:pt x="410221" y="40890"/>
                  </a:lnTo>
                  <a:lnTo>
                    <a:pt x="407488" y="40021"/>
                  </a:lnTo>
                  <a:lnTo>
                    <a:pt x="406410" y="40021"/>
                  </a:lnTo>
                  <a:lnTo>
                    <a:pt x="406263" y="40903"/>
                  </a:lnTo>
                  <a:lnTo>
                    <a:pt x="408075" y="41979"/>
                  </a:lnTo>
                  <a:lnTo>
                    <a:pt x="409838" y="43203"/>
                  </a:lnTo>
                  <a:lnTo>
                    <a:pt x="410474" y="45065"/>
                  </a:lnTo>
                  <a:lnTo>
                    <a:pt x="411521" y="47274"/>
                  </a:lnTo>
                  <a:lnTo>
                    <a:pt x="414043" y="49749"/>
                  </a:lnTo>
                  <a:lnTo>
                    <a:pt x="415615" y="50988"/>
                  </a:lnTo>
                  <a:lnTo>
                    <a:pt x="415712" y="51870"/>
                  </a:lnTo>
                  <a:lnTo>
                    <a:pt x="415223" y="53487"/>
                  </a:lnTo>
                  <a:lnTo>
                    <a:pt x="415099" y="54836"/>
                  </a:lnTo>
                  <a:lnTo>
                    <a:pt x="415960" y="61041"/>
                  </a:lnTo>
                  <a:lnTo>
                    <a:pt x="415382" y="61421"/>
                  </a:lnTo>
                  <a:lnTo>
                    <a:pt x="414450" y="61453"/>
                  </a:lnTo>
                  <a:lnTo>
                    <a:pt x="413461" y="61421"/>
                  </a:lnTo>
                  <a:lnTo>
                    <a:pt x="412651" y="60747"/>
                  </a:lnTo>
                  <a:lnTo>
                    <a:pt x="411943" y="60344"/>
                  </a:lnTo>
                  <a:lnTo>
                    <a:pt x="411630" y="61304"/>
                  </a:lnTo>
                  <a:lnTo>
                    <a:pt x="410901" y="64067"/>
                  </a:lnTo>
                  <a:lnTo>
                    <a:pt x="409260" y="70284"/>
                  </a:lnTo>
                  <a:lnTo>
                    <a:pt x="407822" y="75735"/>
                  </a:lnTo>
                  <a:lnTo>
                    <a:pt x="406019" y="77664"/>
                  </a:lnTo>
                  <a:lnTo>
                    <a:pt x="403412" y="80728"/>
                  </a:lnTo>
                  <a:lnTo>
                    <a:pt x="399837" y="84923"/>
                  </a:lnTo>
                  <a:lnTo>
                    <a:pt x="394656" y="91002"/>
                  </a:lnTo>
                  <a:lnTo>
                    <a:pt x="390824" y="93813"/>
                  </a:lnTo>
                  <a:lnTo>
                    <a:pt x="387801" y="96031"/>
                  </a:lnTo>
                  <a:lnTo>
                    <a:pt x="384272" y="98593"/>
                  </a:lnTo>
                  <a:lnTo>
                    <a:pt x="379713" y="101898"/>
                  </a:lnTo>
                  <a:lnTo>
                    <a:pt x="374600" y="103759"/>
                  </a:lnTo>
                  <a:lnTo>
                    <a:pt x="367483" y="106340"/>
                  </a:lnTo>
                  <a:lnTo>
                    <a:pt x="362447" y="108167"/>
                  </a:lnTo>
                  <a:lnTo>
                    <a:pt x="358734" y="109443"/>
                  </a:lnTo>
                  <a:lnTo>
                    <a:pt x="354868" y="110773"/>
                  </a:lnTo>
                  <a:lnTo>
                    <a:pt x="349755" y="112531"/>
                  </a:lnTo>
                  <a:lnTo>
                    <a:pt x="347781" y="114189"/>
                  </a:lnTo>
                  <a:lnTo>
                    <a:pt x="344499" y="118246"/>
                  </a:lnTo>
                  <a:lnTo>
                    <a:pt x="342969" y="120202"/>
                  </a:lnTo>
                  <a:lnTo>
                    <a:pt x="341573" y="121885"/>
                  </a:lnTo>
                  <a:lnTo>
                    <a:pt x="341286" y="122653"/>
                  </a:lnTo>
                  <a:lnTo>
                    <a:pt x="341467" y="123144"/>
                  </a:lnTo>
                  <a:lnTo>
                    <a:pt x="342139" y="123965"/>
                  </a:lnTo>
                  <a:lnTo>
                    <a:pt x="342202" y="124803"/>
                  </a:lnTo>
                  <a:lnTo>
                    <a:pt x="341279" y="125329"/>
                  </a:lnTo>
                  <a:lnTo>
                    <a:pt x="340482" y="125412"/>
                  </a:lnTo>
                  <a:lnTo>
                    <a:pt x="340125" y="124991"/>
                  </a:lnTo>
                  <a:lnTo>
                    <a:pt x="339863" y="124066"/>
                  </a:lnTo>
                  <a:lnTo>
                    <a:pt x="339015" y="123125"/>
                  </a:lnTo>
                  <a:lnTo>
                    <a:pt x="338029" y="122852"/>
                  </a:lnTo>
                  <a:lnTo>
                    <a:pt x="337464" y="123082"/>
                  </a:lnTo>
                  <a:lnTo>
                    <a:pt x="337415" y="123942"/>
                  </a:lnTo>
                  <a:lnTo>
                    <a:pt x="336128" y="128096"/>
                  </a:lnTo>
                  <a:lnTo>
                    <a:pt x="336080" y="130114"/>
                  </a:lnTo>
                  <a:lnTo>
                    <a:pt x="335535" y="130912"/>
                  </a:lnTo>
                  <a:lnTo>
                    <a:pt x="335576" y="132717"/>
                  </a:lnTo>
                  <a:lnTo>
                    <a:pt x="334277" y="134398"/>
                  </a:lnTo>
                  <a:lnTo>
                    <a:pt x="333708" y="135896"/>
                  </a:lnTo>
                  <a:lnTo>
                    <a:pt x="333313" y="137168"/>
                  </a:lnTo>
                  <a:lnTo>
                    <a:pt x="332263" y="138051"/>
                  </a:lnTo>
                  <a:lnTo>
                    <a:pt x="331891" y="139440"/>
                  </a:lnTo>
                  <a:lnTo>
                    <a:pt x="330922" y="142379"/>
                  </a:lnTo>
                  <a:lnTo>
                    <a:pt x="329790" y="144686"/>
                  </a:lnTo>
                  <a:lnTo>
                    <a:pt x="328994" y="146661"/>
                  </a:lnTo>
                  <a:lnTo>
                    <a:pt x="328847" y="148137"/>
                  </a:lnTo>
                  <a:lnTo>
                    <a:pt x="329454" y="149181"/>
                  </a:lnTo>
                  <a:lnTo>
                    <a:pt x="329665" y="150022"/>
                  </a:lnTo>
                  <a:lnTo>
                    <a:pt x="329119" y="151533"/>
                  </a:lnTo>
                  <a:lnTo>
                    <a:pt x="328826" y="152670"/>
                  </a:lnTo>
                  <a:lnTo>
                    <a:pt x="327380" y="153439"/>
                  </a:lnTo>
                  <a:lnTo>
                    <a:pt x="324375" y="155277"/>
                  </a:lnTo>
                  <a:lnTo>
                    <a:pt x="323207" y="156533"/>
                  </a:lnTo>
                  <a:lnTo>
                    <a:pt x="322746" y="157963"/>
                  </a:lnTo>
                  <a:lnTo>
                    <a:pt x="323039" y="159181"/>
                  </a:lnTo>
                  <a:lnTo>
                    <a:pt x="322913" y="160191"/>
                  </a:lnTo>
                  <a:lnTo>
                    <a:pt x="321489" y="160568"/>
                  </a:lnTo>
                  <a:lnTo>
                    <a:pt x="320984" y="161452"/>
                  </a:lnTo>
                  <a:lnTo>
                    <a:pt x="320020" y="163006"/>
                  </a:lnTo>
                  <a:lnTo>
                    <a:pt x="318931" y="163552"/>
                  </a:lnTo>
                  <a:lnTo>
                    <a:pt x="316131" y="162728"/>
                  </a:lnTo>
                  <a:lnTo>
                    <a:pt x="314066" y="162713"/>
                  </a:lnTo>
                  <a:lnTo>
                    <a:pt x="312472" y="161956"/>
                  </a:lnTo>
                  <a:lnTo>
                    <a:pt x="310736" y="159724"/>
                  </a:lnTo>
                  <a:lnTo>
                    <a:pt x="309307" y="157848"/>
                  </a:lnTo>
                  <a:lnTo>
                    <a:pt x="308138" y="155418"/>
                  </a:lnTo>
                  <a:lnTo>
                    <a:pt x="307776" y="152079"/>
                  </a:lnTo>
                  <a:lnTo>
                    <a:pt x="306217" y="151099"/>
                  </a:lnTo>
                  <a:lnTo>
                    <a:pt x="304673" y="149938"/>
                  </a:lnTo>
                  <a:lnTo>
                    <a:pt x="302836" y="150260"/>
                  </a:lnTo>
                  <a:lnTo>
                    <a:pt x="300648" y="150484"/>
                  </a:lnTo>
                  <a:lnTo>
                    <a:pt x="299435" y="149710"/>
                  </a:lnTo>
                  <a:lnTo>
                    <a:pt x="296449" y="148298"/>
                  </a:lnTo>
                  <a:lnTo>
                    <a:pt x="293897" y="146703"/>
                  </a:lnTo>
                  <a:lnTo>
                    <a:pt x="291969" y="145904"/>
                  </a:lnTo>
                  <a:lnTo>
                    <a:pt x="290501" y="146284"/>
                  </a:lnTo>
                  <a:lnTo>
                    <a:pt x="289620" y="147249"/>
                  </a:lnTo>
                  <a:lnTo>
                    <a:pt x="288069" y="148970"/>
                  </a:lnTo>
                  <a:lnTo>
                    <a:pt x="285784" y="150161"/>
                  </a:lnTo>
                  <a:lnTo>
                    <a:pt x="284753" y="150105"/>
                  </a:lnTo>
                  <a:lnTo>
                    <a:pt x="283373" y="149308"/>
                  </a:lnTo>
                  <a:lnTo>
                    <a:pt x="283122" y="148382"/>
                  </a:lnTo>
                  <a:lnTo>
                    <a:pt x="284254" y="146913"/>
                  </a:lnTo>
                  <a:lnTo>
                    <a:pt x="286560" y="143679"/>
                  </a:lnTo>
                  <a:lnTo>
                    <a:pt x="284003" y="143595"/>
                  </a:lnTo>
                  <a:lnTo>
                    <a:pt x="283122" y="142588"/>
                  </a:lnTo>
                  <a:lnTo>
                    <a:pt x="282996" y="141409"/>
                  </a:lnTo>
                  <a:lnTo>
                    <a:pt x="282576" y="140150"/>
                  </a:lnTo>
                  <a:lnTo>
                    <a:pt x="283080" y="138640"/>
                  </a:lnTo>
                  <a:lnTo>
                    <a:pt x="284421" y="137840"/>
                  </a:lnTo>
                  <a:lnTo>
                    <a:pt x="286434" y="138470"/>
                  </a:lnTo>
                  <a:lnTo>
                    <a:pt x="287818" y="138512"/>
                  </a:lnTo>
                  <a:lnTo>
                    <a:pt x="288741" y="137084"/>
                  </a:lnTo>
                  <a:lnTo>
                    <a:pt x="289663" y="136454"/>
                  </a:lnTo>
                  <a:lnTo>
                    <a:pt x="290585" y="135993"/>
                  </a:lnTo>
                  <a:lnTo>
                    <a:pt x="290963" y="135279"/>
                  </a:lnTo>
                  <a:lnTo>
                    <a:pt x="289991" y="132992"/>
                  </a:lnTo>
                  <a:lnTo>
                    <a:pt x="289705" y="131752"/>
                  </a:lnTo>
                  <a:lnTo>
                    <a:pt x="289998" y="131038"/>
                  </a:lnTo>
                  <a:lnTo>
                    <a:pt x="289956" y="129610"/>
                  </a:lnTo>
                  <a:lnTo>
                    <a:pt x="289914" y="128561"/>
                  </a:lnTo>
                  <a:lnTo>
                    <a:pt x="289327" y="127637"/>
                  </a:lnTo>
                  <a:lnTo>
                    <a:pt x="289286" y="126250"/>
                  </a:lnTo>
                  <a:lnTo>
                    <a:pt x="288782" y="125497"/>
                  </a:lnTo>
                  <a:lnTo>
                    <a:pt x="288614" y="124699"/>
                  </a:lnTo>
                  <a:lnTo>
                    <a:pt x="288572" y="123774"/>
                  </a:lnTo>
                  <a:lnTo>
                    <a:pt x="287943" y="123313"/>
                  </a:lnTo>
                  <a:lnTo>
                    <a:pt x="287275" y="122842"/>
                  </a:lnTo>
                  <a:lnTo>
                    <a:pt x="287822" y="122510"/>
                  </a:lnTo>
                  <a:lnTo>
                    <a:pt x="291454" y="121228"/>
                  </a:lnTo>
                  <a:lnTo>
                    <a:pt x="292963" y="119952"/>
                  </a:lnTo>
                  <a:lnTo>
                    <a:pt x="294832" y="118787"/>
                  </a:lnTo>
                  <a:lnTo>
                    <a:pt x="296438" y="117000"/>
                  </a:lnTo>
                  <a:lnTo>
                    <a:pt x="297496" y="115284"/>
                  </a:lnTo>
                  <a:lnTo>
                    <a:pt x="300004" y="107337"/>
                  </a:lnTo>
                  <a:lnTo>
                    <a:pt x="302357" y="102316"/>
                  </a:lnTo>
                  <a:lnTo>
                    <a:pt x="301961" y="99921"/>
                  </a:lnTo>
                  <a:lnTo>
                    <a:pt x="300011" y="96670"/>
                  </a:lnTo>
                  <a:lnTo>
                    <a:pt x="299572" y="91883"/>
                  </a:lnTo>
                  <a:lnTo>
                    <a:pt x="299752" y="90429"/>
                  </a:lnTo>
                  <a:lnTo>
                    <a:pt x="299511" y="89334"/>
                  </a:lnTo>
                  <a:lnTo>
                    <a:pt x="298211" y="91320"/>
                  </a:lnTo>
                  <a:lnTo>
                    <a:pt x="298542" y="98371"/>
                  </a:lnTo>
                  <a:lnTo>
                    <a:pt x="297395" y="101541"/>
                  </a:lnTo>
                  <a:lnTo>
                    <a:pt x="295786" y="102306"/>
                  </a:lnTo>
                  <a:lnTo>
                    <a:pt x="294743" y="101749"/>
                  </a:lnTo>
                  <a:lnTo>
                    <a:pt x="295339" y="96600"/>
                  </a:lnTo>
                  <a:lnTo>
                    <a:pt x="294161" y="97537"/>
                  </a:lnTo>
                  <a:lnTo>
                    <a:pt x="292284" y="101030"/>
                  </a:lnTo>
                  <a:lnTo>
                    <a:pt x="289203" y="103622"/>
                  </a:lnTo>
                  <a:lnTo>
                    <a:pt x="289036" y="104487"/>
                  </a:lnTo>
                  <a:lnTo>
                    <a:pt x="288288" y="105555"/>
                  </a:lnTo>
                  <a:lnTo>
                    <a:pt x="285909" y="104571"/>
                  </a:lnTo>
                  <a:lnTo>
                    <a:pt x="284096" y="103505"/>
                  </a:lnTo>
                  <a:lnTo>
                    <a:pt x="278142" y="97693"/>
                  </a:lnTo>
                  <a:lnTo>
                    <a:pt x="274233" y="96479"/>
                  </a:lnTo>
                  <a:lnTo>
                    <a:pt x="271872" y="94452"/>
                  </a:lnTo>
                  <a:lnTo>
                    <a:pt x="271378" y="93598"/>
                  </a:lnTo>
                  <a:lnTo>
                    <a:pt x="271095" y="92426"/>
                  </a:lnTo>
                  <a:lnTo>
                    <a:pt x="273508" y="91207"/>
                  </a:lnTo>
                  <a:lnTo>
                    <a:pt x="275975" y="89569"/>
                  </a:lnTo>
                  <a:lnTo>
                    <a:pt x="276222" y="85965"/>
                  </a:lnTo>
                  <a:lnTo>
                    <a:pt x="276158" y="83134"/>
                  </a:lnTo>
                  <a:lnTo>
                    <a:pt x="274335" y="78302"/>
                  </a:lnTo>
                  <a:lnTo>
                    <a:pt x="275187" y="71985"/>
                  </a:lnTo>
                  <a:lnTo>
                    <a:pt x="274715" y="69511"/>
                  </a:lnTo>
                  <a:lnTo>
                    <a:pt x="272626" y="64263"/>
                  </a:lnTo>
                  <a:lnTo>
                    <a:pt x="274173" y="61621"/>
                  </a:lnTo>
                  <a:lnTo>
                    <a:pt x="279693" y="59695"/>
                  </a:lnTo>
                  <a:lnTo>
                    <a:pt x="281463" y="58407"/>
                  </a:lnTo>
                  <a:lnTo>
                    <a:pt x="282701" y="54245"/>
                  </a:lnTo>
                  <a:lnTo>
                    <a:pt x="283959" y="51751"/>
                  </a:lnTo>
                  <a:lnTo>
                    <a:pt x="286420" y="52756"/>
                  </a:lnTo>
                  <a:lnTo>
                    <a:pt x="288348" y="52639"/>
                  </a:lnTo>
                  <a:lnTo>
                    <a:pt x="285751" y="51714"/>
                  </a:lnTo>
                  <a:lnTo>
                    <a:pt x="283633" y="47962"/>
                  </a:lnTo>
                  <a:lnTo>
                    <a:pt x="283279" y="46243"/>
                  </a:lnTo>
                  <a:lnTo>
                    <a:pt x="287361" y="41110"/>
                  </a:lnTo>
                  <a:lnTo>
                    <a:pt x="289498" y="39773"/>
                  </a:lnTo>
                  <a:lnTo>
                    <a:pt x="292125" y="37059"/>
                  </a:lnTo>
                  <a:lnTo>
                    <a:pt x="294338" y="32966"/>
                  </a:lnTo>
                  <a:lnTo>
                    <a:pt x="294874" y="26505"/>
                  </a:lnTo>
                  <a:lnTo>
                    <a:pt x="293961" y="21888"/>
                  </a:lnTo>
                  <a:lnTo>
                    <a:pt x="293269" y="17006"/>
                  </a:lnTo>
                  <a:lnTo>
                    <a:pt x="294597" y="15744"/>
                  </a:lnTo>
                  <a:lnTo>
                    <a:pt x="297954" y="15093"/>
                  </a:lnTo>
                  <a:lnTo>
                    <a:pt x="300684" y="13519"/>
                  </a:lnTo>
                  <a:lnTo>
                    <a:pt x="302070" y="12060"/>
                  </a:lnTo>
                  <a:lnTo>
                    <a:pt x="305316" y="12279"/>
                  </a:lnTo>
                  <a:lnTo>
                    <a:pt x="309064" y="10025"/>
                  </a:lnTo>
                  <a:lnTo>
                    <a:pt x="315057" y="8895"/>
                  </a:lnTo>
                  <a:lnTo>
                    <a:pt x="323409" y="6318"/>
                  </a:lnTo>
                  <a:lnTo>
                    <a:pt x="325250" y="4044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34" name="ee4p_GF_1_37365">
              <a:extLst>
                <a:ext uri="{FF2B5EF4-FFF2-40B4-BE49-F238E27FC236}">
                  <a16:creationId xmlns:a16="http://schemas.microsoft.com/office/drawing/2014/main" id="{F7A24E8E-32D0-88C6-5144-D08F4636A36E}"/>
                </a:ext>
              </a:extLst>
            </p:cNvPr>
            <p:cNvSpPr>
              <a:spLocks noChangeAspect="1"/>
            </p:cNvSpPr>
            <p:nvPr>
              <p:custDataLst>
                <p:tags r:id="rId388"/>
              </p:custDataLst>
            </p:nvPr>
          </p:nvSpPr>
          <p:spPr>
            <a:xfrm>
              <a:off x="4998042" y="4510665"/>
              <a:ext cx="82302" cy="104608"/>
            </a:xfrm>
            <a:custGeom>
              <a:avLst/>
              <a:gdLst/>
              <a:ahLst/>
              <a:cxnLst/>
              <a:rect l="0" t="0" r="0" b="0"/>
              <a:pathLst>
                <a:path w="65535" h="81090">
                  <a:moveTo>
                    <a:pt x="51463" y="20091"/>
                  </a:moveTo>
                  <a:lnTo>
                    <a:pt x="50674" y="22423"/>
                  </a:lnTo>
                  <a:lnTo>
                    <a:pt x="52987" y="20387"/>
                  </a:lnTo>
                  <a:lnTo>
                    <a:pt x="56567" y="23609"/>
                  </a:lnTo>
                  <a:lnTo>
                    <a:pt x="57579" y="25192"/>
                  </a:lnTo>
                  <a:lnTo>
                    <a:pt x="58694" y="28107"/>
                  </a:lnTo>
                  <a:lnTo>
                    <a:pt x="58308" y="29980"/>
                  </a:lnTo>
                  <a:lnTo>
                    <a:pt x="57813" y="30947"/>
                  </a:lnTo>
                  <a:lnTo>
                    <a:pt x="57787" y="31699"/>
                  </a:lnTo>
                  <a:lnTo>
                    <a:pt x="58851" y="30662"/>
                  </a:lnTo>
                  <a:lnTo>
                    <a:pt x="59450" y="29841"/>
                  </a:lnTo>
                  <a:lnTo>
                    <a:pt x="59630" y="27887"/>
                  </a:lnTo>
                  <a:lnTo>
                    <a:pt x="60498" y="25463"/>
                  </a:lnTo>
                  <a:lnTo>
                    <a:pt x="61665" y="25420"/>
                  </a:lnTo>
                  <a:lnTo>
                    <a:pt x="62591" y="26864"/>
                  </a:lnTo>
                  <a:lnTo>
                    <a:pt x="64515" y="33149"/>
                  </a:lnTo>
                  <a:lnTo>
                    <a:pt x="65240" y="34434"/>
                  </a:lnTo>
                  <a:lnTo>
                    <a:pt x="65518" y="36428"/>
                  </a:lnTo>
                  <a:lnTo>
                    <a:pt x="65411" y="37321"/>
                  </a:lnTo>
                  <a:lnTo>
                    <a:pt x="65534" y="38145"/>
                  </a:lnTo>
                  <a:lnTo>
                    <a:pt x="64851" y="38622"/>
                  </a:lnTo>
                  <a:lnTo>
                    <a:pt x="63001" y="39664"/>
                  </a:lnTo>
                  <a:lnTo>
                    <a:pt x="62157" y="41053"/>
                  </a:lnTo>
                  <a:lnTo>
                    <a:pt x="61666" y="42390"/>
                  </a:lnTo>
                  <a:lnTo>
                    <a:pt x="60516" y="43298"/>
                  </a:lnTo>
                  <a:lnTo>
                    <a:pt x="59423" y="44441"/>
                  </a:lnTo>
                  <a:lnTo>
                    <a:pt x="59082" y="45368"/>
                  </a:lnTo>
                  <a:lnTo>
                    <a:pt x="58059" y="46101"/>
                  </a:lnTo>
                  <a:lnTo>
                    <a:pt x="57862" y="47321"/>
                  </a:lnTo>
                  <a:lnTo>
                    <a:pt x="55284" y="51629"/>
                  </a:lnTo>
                  <a:lnTo>
                    <a:pt x="54256" y="53568"/>
                  </a:lnTo>
                  <a:lnTo>
                    <a:pt x="52778" y="55627"/>
                  </a:lnTo>
                  <a:lnTo>
                    <a:pt x="51854" y="56393"/>
                  </a:lnTo>
                  <a:lnTo>
                    <a:pt x="50601" y="57618"/>
                  </a:lnTo>
                  <a:lnTo>
                    <a:pt x="49965" y="59035"/>
                  </a:lnTo>
                  <a:lnTo>
                    <a:pt x="49965" y="60499"/>
                  </a:lnTo>
                  <a:lnTo>
                    <a:pt x="49086" y="62256"/>
                  </a:lnTo>
                  <a:lnTo>
                    <a:pt x="48599" y="63768"/>
                  </a:lnTo>
                  <a:lnTo>
                    <a:pt x="47771" y="64647"/>
                  </a:lnTo>
                  <a:lnTo>
                    <a:pt x="45586" y="69438"/>
                  </a:lnTo>
                  <a:lnTo>
                    <a:pt x="45480" y="71086"/>
                  </a:lnTo>
                  <a:lnTo>
                    <a:pt x="44960" y="72065"/>
                  </a:lnTo>
                  <a:lnTo>
                    <a:pt x="43408" y="74348"/>
                  </a:lnTo>
                  <a:lnTo>
                    <a:pt x="42359" y="75721"/>
                  </a:lnTo>
                  <a:lnTo>
                    <a:pt x="40529" y="76749"/>
                  </a:lnTo>
                  <a:lnTo>
                    <a:pt x="38604" y="77867"/>
                  </a:lnTo>
                  <a:lnTo>
                    <a:pt x="37874" y="79087"/>
                  </a:lnTo>
                  <a:lnTo>
                    <a:pt x="36517" y="79706"/>
                  </a:lnTo>
                  <a:lnTo>
                    <a:pt x="35524" y="79746"/>
                  </a:lnTo>
                  <a:lnTo>
                    <a:pt x="33920" y="79304"/>
                  </a:lnTo>
                  <a:lnTo>
                    <a:pt x="31757" y="79091"/>
                  </a:lnTo>
                  <a:lnTo>
                    <a:pt x="30658" y="79234"/>
                  </a:lnTo>
                  <a:lnTo>
                    <a:pt x="30162" y="78628"/>
                  </a:lnTo>
                  <a:lnTo>
                    <a:pt x="29426" y="77236"/>
                  </a:lnTo>
                  <a:lnTo>
                    <a:pt x="28344" y="76250"/>
                  </a:lnTo>
                  <a:lnTo>
                    <a:pt x="27646" y="76594"/>
                  </a:lnTo>
                  <a:lnTo>
                    <a:pt x="26191" y="77584"/>
                  </a:lnTo>
                  <a:lnTo>
                    <a:pt x="24484" y="78167"/>
                  </a:lnTo>
                  <a:lnTo>
                    <a:pt x="23269" y="77972"/>
                  </a:lnTo>
                  <a:lnTo>
                    <a:pt x="20621" y="77286"/>
                  </a:lnTo>
                  <a:lnTo>
                    <a:pt x="19493" y="76941"/>
                  </a:lnTo>
                  <a:lnTo>
                    <a:pt x="19152" y="76355"/>
                  </a:lnTo>
                  <a:lnTo>
                    <a:pt x="18762" y="75916"/>
                  </a:lnTo>
                  <a:lnTo>
                    <a:pt x="18177" y="76112"/>
                  </a:lnTo>
                  <a:lnTo>
                    <a:pt x="17396" y="76843"/>
                  </a:lnTo>
                  <a:lnTo>
                    <a:pt x="16355" y="77610"/>
                  </a:lnTo>
                  <a:lnTo>
                    <a:pt x="14811" y="78622"/>
                  </a:lnTo>
                  <a:lnTo>
                    <a:pt x="11643" y="80437"/>
                  </a:lnTo>
                  <a:lnTo>
                    <a:pt x="10751" y="81089"/>
                  </a:lnTo>
                  <a:lnTo>
                    <a:pt x="9926" y="80734"/>
                  </a:lnTo>
                  <a:lnTo>
                    <a:pt x="8586" y="80375"/>
                  </a:lnTo>
                  <a:lnTo>
                    <a:pt x="7147" y="80354"/>
                  </a:lnTo>
                  <a:lnTo>
                    <a:pt x="4050" y="79175"/>
                  </a:lnTo>
                  <a:lnTo>
                    <a:pt x="2237" y="78336"/>
                  </a:lnTo>
                  <a:lnTo>
                    <a:pt x="1454" y="77283"/>
                  </a:lnTo>
                  <a:lnTo>
                    <a:pt x="538" y="76825"/>
                  </a:lnTo>
                  <a:lnTo>
                    <a:pt x="0" y="76538"/>
                  </a:lnTo>
                  <a:lnTo>
                    <a:pt x="255" y="76338"/>
                  </a:lnTo>
                  <a:lnTo>
                    <a:pt x="1058" y="76188"/>
                  </a:lnTo>
                  <a:lnTo>
                    <a:pt x="1776" y="76171"/>
                  </a:lnTo>
                  <a:lnTo>
                    <a:pt x="2891" y="74561"/>
                  </a:lnTo>
                  <a:lnTo>
                    <a:pt x="4738" y="73556"/>
                  </a:lnTo>
                  <a:lnTo>
                    <a:pt x="7950" y="67976"/>
                  </a:lnTo>
                  <a:lnTo>
                    <a:pt x="9304" y="65671"/>
                  </a:lnTo>
                  <a:lnTo>
                    <a:pt x="9468" y="64410"/>
                  </a:lnTo>
                  <a:lnTo>
                    <a:pt x="9852" y="61782"/>
                  </a:lnTo>
                  <a:lnTo>
                    <a:pt x="9135" y="58582"/>
                  </a:lnTo>
                  <a:lnTo>
                    <a:pt x="9469" y="57684"/>
                  </a:lnTo>
                  <a:lnTo>
                    <a:pt x="12230" y="53820"/>
                  </a:lnTo>
                  <a:lnTo>
                    <a:pt x="13415" y="51712"/>
                  </a:lnTo>
                  <a:lnTo>
                    <a:pt x="13495" y="49897"/>
                  </a:lnTo>
                  <a:lnTo>
                    <a:pt x="13837" y="48590"/>
                  </a:lnTo>
                  <a:lnTo>
                    <a:pt x="13496" y="47907"/>
                  </a:lnTo>
                  <a:lnTo>
                    <a:pt x="12870" y="47708"/>
                  </a:lnTo>
                  <a:lnTo>
                    <a:pt x="11814" y="46013"/>
                  </a:lnTo>
                  <a:lnTo>
                    <a:pt x="11133" y="44608"/>
                  </a:lnTo>
                  <a:lnTo>
                    <a:pt x="9261" y="43168"/>
                  </a:lnTo>
                  <a:lnTo>
                    <a:pt x="7977" y="41692"/>
                  </a:lnTo>
                  <a:lnTo>
                    <a:pt x="5872" y="38304"/>
                  </a:lnTo>
                  <a:lnTo>
                    <a:pt x="6062" y="36400"/>
                  </a:lnTo>
                  <a:lnTo>
                    <a:pt x="5465" y="35716"/>
                  </a:lnTo>
                  <a:lnTo>
                    <a:pt x="4818" y="35017"/>
                  </a:lnTo>
                  <a:lnTo>
                    <a:pt x="4865" y="34155"/>
                  </a:lnTo>
                  <a:lnTo>
                    <a:pt x="4428" y="32023"/>
                  </a:lnTo>
                  <a:lnTo>
                    <a:pt x="3883" y="30021"/>
                  </a:lnTo>
                  <a:lnTo>
                    <a:pt x="3685" y="28758"/>
                  </a:lnTo>
                  <a:lnTo>
                    <a:pt x="4205" y="26587"/>
                  </a:lnTo>
                  <a:lnTo>
                    <a:pt x="3893" y="24172"/>
                  </a:lnTo>
                  <a:lnTo>
                    <a:pt x="3209" y="22902"/>
                  </a:lnTo>
                  <a:lnTo>
                    <a:pt x="3020" y="20969"/>
                  </a:lnTo>
                  <a:lnTo>
                    <a:pt x="3161" y="19236"/>
                  </a:lnTo>
                  <a:lnTo>
                    <a:pt x="3746" y="18259"/>
                  </a:lnTo>
                  <a:lnTo>
                    <a:pt x="3628" y="17047"/>
                  </a:lnTo>
                  <a:lnTo>
                    <a:pt x="6294" y="13191"/>
                  </a:lnTo>
                  <a:lnTo>
                    <a:pt x="8316" y="10956"/>
                  </a:lnTo>
                  <a:lnTo>
                    <a:pt x="10179" y="9387"/>
                  </a:lnTo>
                  <a:lnTo>
                    <a:pt x="11741" y="8215"/>
                  </a:lnTo>
                  <a:lnTo>
                    <a:pt x="13857" y="2356"/>
                  </a:lnTo>
                  <a:lnTo>
                    <a:pt x="15398" y="293"/>
                  </a:lnTo>
                  <a:lnTo>
                    <a:pt x="17007" y="0"/>
                  </a:lnTo>
                  <a:lnTo>
                    <a:pt x="25691" y="4852"/>
                  </a:lnTo>
                  <a:lnTo>
                    <a:pt x="29761" y="5301"/>
                  </a:lnTo>
                  <a:lnTo>
                    <a:pt x="37965" y="7922"/>
                  </a:lnTo>
                  <a:lnTo>
                    <a:pt x="40936" y="11283"/>
                  </a:lnTo>
                  <a:lnTo>
                    <a:pt x="47813" y="16873"/>
                  </a:lnTo>
                  <a:lnTo>
                    <a:pt x="51427" y="18627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35" name="ee4p_FK_1_37365">
              <a:extLst>
                <a:ext uri="{FF2B5EF4-FFF2-40B4-BE49-F238E27FC236}">
                  <a16:creationId xmlns:a16="http://schemas.microsoft.com/office/drawing/2014/main" id="{529991BF-3707-9F12-FF6D-F2FC86A6C1CE}"/>
                </a:ext>
              </a:extLst>
            </p:cNvPr>
            <p:cNvSpPr>
              <a:spLocks noChangeAspect="1"/>
            </p:cNvSpPr>
            <p:nvPr>
              <p:custDataLst>
                <p:tags r:id="rId389"/>
              </p:custDataLst>
            </p:nvPr>
          </p:nvSpPr>
          <p:spPr>
            <a:xfrm>
              <a:off x="4816744" y="6282046"/>
              <a:ext cx="93116" cy="39497"/>
            </a:xfrm>
            <a:custGeom>
              <a:avLst/>
              <a:gdLst>
                <a:gd name="connsiteX0" fmla="*/ 34275 w 85025"/>
                <a:gd name="connsiteY0" fmla="*/ 29199 h 35109"/>
                <a:gd name="connsiteX1" fmla="*/ 35291 w 85025"/>
                <a:gd name="connsiteY1" fmla="*/ 29445 h 35109"/>
                <a:gd name="connsiteX2" fmla="*/ 37122 w 85025"/>
                <a:gd name="connsiteY2" fmla="*/ 30758 h 35109"/>
                <a:gd name="connsiteX3" fmla="*/ 37079 w 85025"/>
                <a:gd name="connsiteY3" fmla="*/ 32511 h 35109"/>
                <a:gd name="connsiteX4" fmla="*/ 35459 w 85025"/>
                <a:gd name="connsiteY4" fmla="*/ 33166 h 35109"/>
                <a:gd name="connsiteX5" fmla="*/ 35006 w 85025"/>
                <a:gd name="connsiteY5" fmla="*/ 32870 h 35109"/>
                <a:gd name="connsiteX6" fmla="*/ 34488 w 85025"/>
                <a:gd name="connsiteY6" fmla="*/ 31595 h 35109"/>
                <a:gd name="connsiteX7" fmla="*/ 34462 w 85025"/>
                <a:gd name="connsiteY7" fmla="*/ 29946 h 35109"/>
                <a:gd name="connsiteX8" fmla="*/ 67142 w 85025"/>
                <a:gd name="connsiteY8" fmla="*/ 24625 h 35109"/>
                <a:gd name="connsiteX9" fmla="*/ 68069 w 85025"/>
                <a:gd name="connsiteY9" fmla="*/ 24699 h 35109"/>
                <a:gd name="connsiteX10" fmla="*/ 68619 w 85025"/>
                <a:gd name="connsiteY10" fmla="*/ 25020 h 35109"/>
                <a:gd name="connsiteX11" fmla="*/ 68774 w 85025"/>
                <a:gd name="connsiteY11" fmla="*/ 28005 h 35109"/>
                <a:gd name="connsiteX12" fmla="*/ 66743 w 85025"/>
                <a:gd name="connsiteY12" fmla="*/ 27058 h 35109"/>
                <a:gd name="connsiteX13" fmla="*/ 66018 w 85025"/>
                <a:gd name="connsiteY13" fmla="*/ 25609 h 35109"/>
                <a:gd name="connsiteX14" fmla="*/ 3201 w 85025"/>
                <a:gd name="connsiteY14" fmla="*/ 17390 h 35109"/>
                <a:gd name="connsiteX15" fmla="*/ 5013 w 85025"/>
                <a:gd name="connsiteY15" fmla="*/ 17856 h 35109"/>
                <a:gd name="connsiteX16" fmla="*/ 6822 w 85025"/>
                <a:gd name="connsiteY16" fmla="*/ 17677 h 35109"/>
                <a:gd name="connsiteX17" fmla="*/ 5802 w 85025"/>
                <a:gd name="connsiteY17" fmla="*/ 21153 h 35109"/>
                <a:gd name="connsiteX18" fmla="*/ 5006 w 85025"/>
                <a:gd name="connsiteY18" fmla="*/ 22824 h 35109"/>
                <a:gd name="connsiteX19" fmla="*/ 2865 w 85025"/>
                <a:gd name="connsiteY19" fmla="*/ 22695 h 35109"/>
                <a:gd name="connsiteX20" fmla="*/ 741 w 85025"/>
                <a:gd name="connsiteY20" fmla="*/ 20420 h 35109"/>
                <a:gd name="connsiteX21" fmla="*/ 0 w 85025"/>
                <a:gd name="connsiteY21" fmla="*/ 19207 h 35109"/>
                <a:gd name="connsiteX22" fmla="*/ 2367 w 85025"/>
                <a:gd name="connsiteY22" fmla="*/ 18344 h 35109"/>
                <a:gd name="connsiteX23" fmla="*/ 15957 w 85025"/>
                <a:gd name="connsiteY23" fmla="*/ 2837 h 35109"/>
                <a:gd name="connsiteX24" fmla="*/ 17738 w 85025"/>
                <a:gd name="connsiteY24" fmla="*/ 4355 h 35109"/>
                <a:gd name="connsiteX25" fmla="*/ 21775 w 85025"/>
                <a:gd name="connsiteY25" fmla="*/ 6460 h 35109"/>
                <a:gd name="connsiteX26" fmla="*/ 25444 w 85025"/>
                <a:gd name="connsiteY26" fmla="*/ 7102 h 35109"/>
                <a:gd name="connsiteX27" fmla="*/ 28813 w 85025"/>
                <a:gd name="connsiteY27" fmla="*/ 4730 h 35109"/>
                <a:gd name="connsiteX28" fmla="*/ 31136 w 85025"/>
                <a:gd name="connsiteY28" fmla="*/ 3975 h 35109"/>
                <a:gd name="connsiteX29" fmla="*/ 33050 w 85025"/>
                <a:gd name="connsiteY29" fmla="*/ 4487 h 35109"/>
                <a:gd name="connsiteX30" fmla="*/ 34398 w 85025"/>
                <a:gd name="connsiteY30" fmla="*/ 5924 h 35109"/>
                <a:gd name="connsiteX31" fmla="*/ 36354 w 85025"/>
                <a:gd name="connsiteY31" fmla="*/ 5697 h 35109"/>
                <a:gd name="connsiteX32" fmla="*/ 41878 w 85025"/>
                <a:gd name="connsiteY32" fmla="*/ 4230 h 35109"/>
                <a:gd name="connsiteX33" fmla="*/ 42597 w 85025"/>
                <a:gd name="connsiteY33" fmla="*/ 4730 h 35109"/>
                <a:gd name="connsiteX34" fmla="*/ 44562 w 85025"/>
                <a:gd name="connsiteY34" fmla="*/ 3029 h 35109"/>
                <a:gd name="connsiteX35" fmla="*/ 46255 w 85025"/>
                <a:gd name="connsiteY35" fmla="*/ 3823 h 35109"/>
                <a:gd name="connsiteX36" fmla="*/ 47593 w 85025"/>
                <a:gd name="connsiteY36" fmla="*/ 5303 h 35109"/>
                <a:gd name="connsiteX37" fmla="*/ 46937 w 85025"/>
                <a:gd name="connsiteY37" fmla="*/ 7019 h 35109"/>
                <a:gd name="connsiteX38" fmla="*/ 45409 w 85025"/>
                <a:gd name="connsiteY38" fmla="*/ 8112 h 35109"/>
                <a:gd name="connsiteX39" fmla="*/ 44440 w 85025"/>
                <a:gd name="connsiteY39" fmla="*/ 9636 h 35109"/>
                <a:gd name="connsiteX40" fmla="*/ 43309 w 85025"/>
                <a:gd name="connsiteY40" fmla="*/ 10868 h 35109"/>
                <a:gd name="connsiteX41" fmla="*/ 41351 w 85025"/>
                <a:gd name="connsiteY41" fmla="*/ 12012 h 35109"/>
                <a:gd name="connsiteX42" fmla="*/ 39856 w 85025"/>
                <a:gd name="connsiteY42" fmla="*/ 13844 h 35109"/>
                <a:gd name="connsiteX43" fmla="*/ 36263 w 85025"/>
                <a:gd name="connsiteY43" fmla="*/ 18133 h 35109"/>
                <a:gd name="connsiteX44" fmla="*/ 31027 w 85025"/>
                <a:gd name="connsiteY44" fmla="*/ 23612 h 35109"/>
                <a:gd name="connsiteX45" fmla="*/ 29293 w 85025"/>
                <a:gd name="connsiteY45" fmla="*/ 24105 h 35109"/>
                <a:gd name="connsiteX46" fmla="*/ 25679 w 85025"/>
                <a:gd name="connsiteY46" fmla="*/ 24437 h 35109"/>
                <a:gd name="connsiteX47" fmla="*/ 24120 w 85025"/>
                <a:gd name="connsiteY47" fmla="*/ 24059 h 35109"/>
                <a:gd name="connsiteX48" fmla="*/ 22787 w 85025"/>
                <a:gd name="connsiteY48" fmla="*/ 24184 h 35109"/>
                <a:gd name="connsiteX49" fmla="*/ 21724 w 85025"/>
                <a:gd name="connsiteY49" fmla="*/ 27146 h 35109"/>
                <a:gd name="connsiteX50" fmla="*/ 20071 w 85025"/>
                <a:gd name="connsiteY50" fmla="*/ 29394 h 35109"/>
                <a:gd name="connsiteX51" fmla="*/ 19290 w 85025"/>
                <a:gd name="connsiteY51" fmla="*/ 29872 h 35109"/>
                <a:gd name="connsiteX52" fmla="*/ 17573 w 85025"/>
                <a:gd name="connsiteY52" fmla="*/ 30084 h 35109"/>
                <a:gd name="connsiteX53" fmla="*/ 16758 w 85025"/>
                <a:gd name="connsiteY53" fmla="*/ 30426 h 35109"/>
                <a:gd name="connsiteX54" fmla="*/ 16143 w 85025"/>
                <a:gd name="connsiteY54" fmla="*/ 31256 h 35109"/>
                <a:gd name="connsiteX55" fmla="*/ 11629 w 85025"/>
                <a:gd name="connsiteY55" fmla="*/ 31041 h 35109"/>
                <a:gd name="connsiteX56" fmla="*/ 8439 w 85025"/>
                <a:gd name="connsiteY56" fmla="*/ 29660 h 35109"/>
                <a:gd name="connsiteX57" fmla="*/ 4655 w 85025"/>
                <a:gd name="connsiteY57" fmla="*/ 26589 h 35109"/>
                <a:gd name="connsiteX58" fmla="*/ 9699 w 85025"/>
                <a:gd name="connsiteY58" fmla="*/ 22831 h 35109"/>
                <a:gd name="connsiteX59" fmla="*/ 14046 w 85025"/>
                <a:gd name="connsiteY59" fmla="*/ 23003 h 35109"/>
                <a:gd name="connsiteX60" fmla="*/ 17629 w 85025"/>
                <a:gd name="connsiteY60" fmla="*/ 20483 h 35109"/>
                <a:gd name="connsiteX61" fmla="*/ 20552 w 85025"/>
                <a:gd name="connsiteY61" fmla="*/ 19210 h 35109"/>
                <a:gd name="connsiteX62" fmla="*/ 21713 w 85025"/>
                <a:gd name="connsiteY62" fmla="*/ 17914 h 35109"/>
                <a:gd name="connsiteX63" fmla="*/ 22986 w 85025"/>
                <a:gd name="connsiteY63" fmla="*/ 16923 h 35109"/>
                <a:gd name="connsiteX64" fmla="*/ 22995 w 85025"/>
                <a:gd name="connsiteY64" fmla="*/ 15633 h 35109"/>
                <a:gd name="connsiteX65" fmla="*/ 22022 w 85025"/>
                <a:gd name="connsiteY65" fmla="*/ 15052 h 35109"/>
                <a:gd name="connsiteX66" fmla="*/ 20708 w 85025"/>
                <a:gd name="connsiteY66" fmla="*/ 15112 h 35109"/>
                <a:gd name="connsiteX67" fmla="*/ 19408 w 85025"/>
                <a:gd name="connsiteY67" fmla="*/ 15679 h 35109"/>
                <a:gd name="connsiteX68" fmla="*/ 16352 w 85025"/>
                <a:gd name="connsiteY68" fmla="*/ 16402 h 35109"/>
                <a:gd name="connsiteX69" fmla="*/ 14263 w 85025"/>
                <a:gd name="connsiteY69" fmla="*/ 14920 h 35109"/>
                <a:gd name="connsiteX70" fmla="*/ 15643 w 85025"/>
                <a:gd name="connsiteY70" fmla="*/ 14370 h 35109"/>
                <a:gd name="connsiteX71" fmla="*/ 17186 w 85025"/>
                <a:gd name="connsiteY71" fmla="*/ 14396 h 35109"/>
                <a:gd name="connsiteX72" fmla="*/ 21909 w 85025"/>
                <a:gd name="connsiteY72" fmla="*/ 13007 h 35109"/>
                <a:gd name="connsiteX73" fmla="*/ 22817 w 85025"/>
                <a:gd name="connsiteY73" fmla="*/ 12427 h 35109"/>
                <a:gd name="connsiteX74" fmla="*/ 21360 w 85025"/>
                <a:gd name="connsiteY74" fmla="*/ 10456 h 35109"/>
                <a:gd name="connsiteX75" fmla="*/ 18512 w 85025"/>
                <a:gd name="connsiteY75" fmla="*/ 9261 h 35109"/>
                <a:gd name="connsiteX76" fmla="*/ 16208 w 85025"/>
                <a:gd name="connsiteY76" fmla="*/ 7253 h 35109"/>
                <a:gd name="connsiteX77" fmla="*/ 15778 w 85025"/>
                <a:gd name="connsiteY77" fmla="*/ 6503 h 35109"/>
                <a:gd name="connsiteX78" fmla="*/ 15891 w 85025"/>
                <a:gd name="connsiteY78" fmla="*/ 5313 h 35109"/>
                <a:gd name="connsiteX79" fmla="*/ 14620 w 85025"/>
                <a:gd name="connsiteY79" fmla="*/ 2955 h 35109"/>
                <a:gd name="connsiteX80" fmla="*/ 24688 w 85025"/>
                <a:gd name="connsiteY80" fmla="*/ 119 h 35109"/>
                <a:gd name="connsiteX81" fmla="*/ 27263 w 85025"/>
                <a:gd name="connsiteY81" fmla="*/ 1277 h 35109"/>
                <a:gd name="connsiteX82" fmla="*/ 27095 w 85025"/>
                <a:gd name="connsiteY82" fmla="*/ 2443 h 35109"/>
                <a:gd name="connsiteX83" fmla="*/ 26201 w 85025"/>
                <a:gd name="connsiteY83" fmla="*/ 4237 h 35109"/>
                <a:gd name="connsiteX84" fmla="*/ 22724 w 85025"/>
                <a:gd name="connsiteY84" fmla="*/ 4240 h 35109"/>
                <a:gd name="connsiteX85" fmla="*/ 22038 w 85025"/>
                <a:gd name="connsiteY85" fmla="*/ 3136 h 35109"/>
                <a:gd name="connsiteX86" fmla="*/ 22052 w 85025"/>
                <a:gd name="connsiteY86" fmla="*/ 358 h 35109"/>
                <a:gd name="connsiteX87" fmla="*/ 58188 w 85025"/>
                <a:gd name="connsiteY87" fmla="*/ 0 h 35109"/>
                <a:gd name="connsiteX88" fmla="*/ 62060 w 85025"/>
                <a:gd name="connsiteY88" fmla="*/ 1970 h 35109"/>
                <a:gd name="connsiteX89" fmla="*/ 66909 w 85025"/>
                <a:gd name="connsiteY89" fmla="*/ 1285 h 35109"/>
                <a:gd name="connsiteX90" fmla="*/ 68949 w 85025"/>
                <a:gd name="connsiteY90" fmla="*/ 1826 h 35109"/>
                <a:gd name="connsiteX91" fmla="*/ 70143 w 85025"/>
                <a:gd name="connsiteY91" fmla="*/ 3468 h 35109"/>
                <a:gd name="connsiteX92" fmla="*/ 69433 w 85025"/>
                <a:gd name="connsiteY92" fmla="*/ 4993 h 35109"/>
                <a:gd name="connsiteX93" fmla="*/ 67894 w 85025"/>
                <a:gd name="connsiteY93" fmla="*/ 4773 h 35109"/>
                <a:gd name="connsiteX94" fmla="*/ 66580 w 85025"/>
                <a:gd name="connsiteY94" fmla="*/ 5181 h 35109"/>
                <a:gd name="connsiteX95" fmla="*/ 66842 w 85025"/>
                <a:gd name="connsiteY95" fmla="*/ 7190 h 35109"/>
                <a:gd name="connsiteX96" fmla="*/ 67734 w 85025"/>
                <a:gd name="connsiteY96" fmla="*/ 8049 h 35109"/>
                <a:gd name="connsiteX97" fmla="*/ 72860 w 85025"/>
                <a:gd name="connsiteY97" fmla="*/ 10262 h 35109"/>
                <a:gd name="connsiteX98" fmla="*/ 73800 w 85025"/>
                <a:gd name="connsiteY98" fmla="*/ 10394 h 35109"/>
                <a:gd name="connsiteX99" fmla="*/ 73632 w 85025"/>
                <a:gd name="connsiteY99" fmla="*/ 9465 h 35109"/>
                <a:gd name="connsiteX100" fmla="*/ 72743 w 85025"/>
                <a:gd name="connsiteY100" fmla="*/ 7947 h 35109"/>
                <a:gd name="connsiteX101" fmla="*/ 72411 w 85025"/>
                <a:gd name="connsiteY101" fmla="*/ 6312 h 35109"/>
                <a:gd name="connsiteX102" fmla="*/ 73174 w 85025"/>
                <a:gd name="connsiteY102" fmla="*/ 4951 h 35109"/>
                <a:gd name="connsiteX103" fmla="*/ 74512 w 85025"/>
                <a:gd name="connsiteY103" fmla="*/ 4533 h 35109"/>
                <a:gd name="connsiteX104" fmla="*/ 80342 w 85025"/>
                <a:gd name="connsiteY104" fmla="*/ 3850 h 35109"/>
                <a:gd name="connsiteX105" fmla="*/ 81711 w 85025"/>
                <a:gd name="connsiteY105" fmla="*/ 4493 h 35109"/>
                <a:gd name="connsiteX106" fmla="*/ 84602 w 85025"/>
                <a:gd name="connsiteY106" fmla="*/ 8349 h 35109"/>
                <a:gd name="connsiteX107" fmla="*/ 81890 w 85025"/>
                <a:gd name="connsiteY107" fmla="*/ 8883 h 35109"/>
                <a:gd name="connsiteX108" fmla="*/ 80749 w 85025"/>
                <a:gd name="connsiteY108" fmla="*/ 10549 h 35109"/>
                <a:gd name="connsiteX109" fmla="*/ 83135 w 85025"/>
                <a:gd name="connsiteY109" fmla="*/ 11270 h 35109"/>
                <a:gd name="connsiteX110" fmla="*/ 85025 w 85025"/>
                <a:gd name="connsiteY110" fmla="*/ 12334 h 35109"/>
                <a:gd name="connsiteX111" fmla="*/ 84027 w 85025"/>
                <a:gd name="connsiteY111" fmla="*/ 13971 h 35109"/>
                <a:gd name="connsiteX112" fmla="*/ 83850 w 85025"/>
                <a:gd name="connsiteY112" fmla="*/ 14802 h 35109"/>
                <a:gd name="connsiteX113" fmla="*/ 79646 w 85025"/>
                <a:gd name="connsiteY113" fmla="*/ 15960 h 35109"/>
                <a:gd name="connsiteX114" fmla="*/ 75919 w 85025"/>
                <a:gd name="connsiteY114" fmla="*/ 16702 h 35109"/>
                <a:gd name="connsiteX115" fmla="*/ 74228 w 85025"/>
                <a:gd name="connsiteY115" fmla="*/ 18632 h 35109"/>
                <a:gd name="connsiteX116" fmla="*/ 71227 w 85025"/>
                <a:gd name="connsiteY116" fmla="*/ 20030 h 35109"/>
                <a:gd name="connsiteX117" fmla="*/ 62415 w 85025"/>
                <a:gd name="connsiteY117" fmla="*/ 22484 h 35109"/>
                <a:gd name="connsiteX118" fmla="*/ 63440 w 85025"/>
                <a:gd name="connsiteY118" fmla="*/ 24470 h 35109"/>
                <a:gd name="connsiteX119" fmla="*/ 63577 w 85025"/>
                <a:gd name="connsiteY119" fmla="*/ 25427 h 35109"/>
                <a:gd name="connsiteX120" fmla="*/ 63194 w 85025"/>
                <a:gd name="connsiteY120" fmla="*/ 28012 h 35109"/>
                <a:gd name="connsiteX121" fmla="*/ 51062 w 85025"/>
                <a:gd name="connsiteY121" fmla="*/ 24913 h 35109"/>
                <a:gd name="connsiteX122" fmla="*/ 49424 w 85025"/>
                <a:gd name="connsiteY122" fmla="*/ 25245 h 35109"/>
                <a:gd name="connsiteX123" fmla="*/ 52665 w 85025"/>
                <a:gd name="connsiteY123" fmla="*/ 30519 h 35109"/>
                <a:gd name="connsiteX124" fmla="*/ 50262 w 85025"/>
                <a:gd name="connsiteY124" fmla="*/ 31495 h 35109"/>
                <a:gd name="connsiteX125" fmla="*/ 47890 w 85025"/>
                <a:gd name="connsiteY125" fmla="*/ 30861 h 35109"/>
                <a:gd name="connsiteX126" fmla="*/ 45730 w 85025"/>
                <a:gd name="connsiteY126" fmla="*/ 31300 h 35109"/>
                <a:gd name="connsiteX127" fmla="*/ 44358 w 85025"/>
                <a:gd name="connsiteY127" fmla="*/ 35109 h 35109"/>
                <a:gd name="connsiteX128" fmla="*/ 40895 w 85025"/>
                <a:gd name="connsiteY128" fmla="*/ 32673 h 35109"/>
                <a:gd name="connsiteX129" fmla="*/ 37941 w 85025"/>
                <a:gd name="connsiteY129" fmla="*/ 29206 h 35109"/>
                <a:gd name="connsiteX130" fmla="*/ 37929 w 85025"/>
                <a:gd name="connsiteY130" fmla="*/ 27266 h 35109"/>
                <a:gd name="connsiteX131" fmla="*/ 40782 w 85025"/>
                <a:gd name="connsiteY131" fmla="*/ 23649 h 35109"/>
                <a:gd name="connsiteX132" fmla="*/ 39917 w 85025"/>
                <a:gd name="connsiteY132" fmla="*/ 22116 h 35109"/>
                <a:gd name="connsiteX133" fmla="*/ 46562 w 85025"/>
                <a:gd name="connsiteY133" fmla="*/ 17211 h 35109"/>
                <a:gd name="connsiteX134" fmla="*/ 47752 w 85025"/>
                <a:gd name="connsiteY134" fmla="*/ 15751 h 35109"/>
                <a:gd name="connsiteX135" fmla="*/ 49825 w 85025"/>
                <a:gd name="connsiteY135" fmla="*/ 14913 h 35109"/>
                <a:gd name="connsiteX136" fmla="*/ 51971 w 85025"/>
                <a:gd name="connsiteY136" fmla="*/ 14630 h 35109"/>
                <a:gd name="connsiteX137" fmla="*/ 52880 w 85025"/>
                <a:gd name="connsiteY137" fmla="*/ 14000 h 35109"/>
                <a:gd name="connsiteX138" fmla="*/ 52732 w 85025"/>
                <a:gd name="connsiteY138" fmla="*/ 12809 h 35109"/>
                <a:gd name="connsiteX139" fmla="*/ 51868 w 85025"/>
                <a:gd name="connsiteY139" fmla="*/ 10769 h 35109"/>
                <a:gd name="connsiteX140" fmla="*/ 51940 w 85025"/>
                <a:gd name="connsiteY140" fmla="*/ 7454 h 35109"/>
                <a:gd name="connsiteX141" fmla="*/ 57263 w 85025"/>
                <a:gd name="connsiteY141" fmla="*/ 2959 h 35109"/>
                <a:gd name="connsiteX142" fmla="*/ 56482 w 85025"/>
                <a:gd name="connsiteY142" fmla="*/ 72 h 35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</a:cxnLst>
              <a:rect l="l" t="t" r="r" b="b"/>
              <a:pathLst>
                <a:path w="85025" h="35109">
                  <a:moveTo>
                    <a:pt x="34275" y="29199"/>
                  </a:moveTo>
                  <a:lnTo>
                    <a:pt x="35291" y="29445"/>
                  </a:lnTo>
                  <a:lnTo>
                    <a:pt x="37122" y="30758"/>
                  </a:lnTo>
                  <a:lnTo>
                    <a:pt x="37079" y="32511"/>
                  </a:lnTo>
                  <a:lnTo>
                    <a:pt x="35459" y="33166"/>
                  </a:lnTo>
                  <a:lnTo>
                    <a:pt x="35006" y="32870"/>
                  </a:lnTo>
                  <a:lnTo>
                    <a:pt x="34488" y="31595"/>
                  </a:lnTo>
                  <a:lnTo>
                    <a:pt x="34462" y="29946"/>
                  </a:lnTo>
                  <a:close/>
                  <a:moveTo>
                    <a:pt x="67142" y="24625"/>
                  </a:moveTo>
                  <a:lnTo>
                    <a:pt x="68069" y="24699"/>
                  </a:lnTo>
                  <a:lnTo>
                    <a:pt x="68619" y="25020"/>
                  </a:lnTo>
                  <a:lnTo>
                    <a:pt x="68774" y="28005"/>
                  </a:lnTo>
                  <a:lnTo>
                    <a:pt x="66743" y="27058"/>
                  </a:lnTo>
                  <a:lnTo>
                    <a:pt x="66018" y="25609"/>
                  </a:lnTo>
                  <a:close/>
                  <a:moveTo>
                    <a:pt x="3201" y="17390"/>
                  </a:moveTo>
                  <a:lnTo>
                    <a:pt x="5013" y="17856"/>
                  </a:lnTo>
                  <a:lnTo>
                    <a:pt x="6822" y="17677"/>
                  </a:lnTo>
                  <a:lnTo>
                    <a:pt x="5802" y="21153"/>
                  </a:lnTo>
                  <a:lnTo>
                    <a:pt x="5006" y="22824"/>
                  </a:lnTo>
                  <a:lnTo>
                    <a:pt x="2865" y="22695"/>
                  </a:lnTo>
                  <a:lnTo>
                    <a:pt x="741" y="20420"/>
                  </a:lnTo>
                  <a:lnTo>
                    <a:pt x="0" y="19207"/>
                  </a:lnTo>
                  <a:lnTo>
                    <a:pt x="2367" y="18344"/>
                  </a:lnTo>
                  <a:close/>
                  <a:moveTo>
                    <a:pt x="15957" y="2837"/>
                  </a:moveTo>
                  <a:lnTo>
                    <a:pt x="17738" y="4355"/>
                  </a:lnTo>
                  <a:lnTo>
                    <a:pt x="21775" y="6460"/>
                  </a:lnTo>
                  <a:lnTo>
                    <a:pt x="25444" y="7102"/>
                  </a:lnTo>
                  <a:lnTo>
                    <a:pt x="28813" y="4730"/>
                  </a:lnTo>
                  <a:lnTo>
                    <a:pt x="31136" y="3975"/>
                  </a:lnTo>
                  <a:lnTo>
                    <a:pt x="33050" y="4487"/>
                  </a:lnTo>
                  <a:lnTo>
                    <a:pt x="34398" y="5924"/>
                  </a:lnTo>
                  <a:lnTo>
                    <a:pt x="36354" y="5697"/>
                  </a:lnTo>
                  <a:lnTo>
                    <a:pt x="41878" y="4230"/>
                  </a:lnTo>
                  <a:lnTo>
                    <a:pt x="42597" y="4730"/>
                  </a:lnTo>
                  <a:lnTo>
                    <a:pt x="44562" y="3029"/>
                  </a:lnTo>
                  <a:lnTo>
                    <a:pt x="46255" y="3823"/>
                  </a:lnTo>
                  <a:lnTo>
                    <a:pt x="47593" y="5303"/>
                  </a:lnTo>
                  <a:lnTo>
                    <a:pt x="46937" y="7019"/>
                  </a:lnTo>
                  <a:lnTo>
                    <a:pt x="45409" y="8112"/>
                  </a:lnTo>
                  <a:lnTo>
                    <a:pt x="44440" y="9636"/>
                  </a:lnTo>
                  <a:lnTo>
                    <a:pt x="43309" y="10868"/>
                  </a:lnTo>
                  <a:lnTo>
                    <a:pt x="41351" y="12012"/>
                  </a:lnTo>
                  <a:lnTo>
                    <a:pt x="39856" y="13844"/>
                  </a:lnTo>
                  <a:lnTo>
                    <a:pt x="36263" y="18133"/>
                  </a:lnTo>
                  <a:lnTo>
                    <a:pt x="31027" y="23612"/>
                  </a:lnTo>
                  <a:lnTo>
                    <a:pt x="29293" y="24105"/>
                  </a:lnTo>
                  <a:lnTo>
                    <a:pt x="25679" y="24437"/>
                  </a:lnTo>
                  <a:lnTo>
                    <a:pt x="24120" y="24059"/>
                  </a:lnTo>
                  <a:lnTo>
                    <a:pt x="22787" y="24184"/>
                  </a:lnTo>
                  <a:lnTo>
                    <a:pt x="21724" y="27146"/>
                  </a:lnTo>
                  <a:lnTo>
                    <a:pt x="20071" y="29394"/>
                  </a:lnTo>
                  <a:lnTo>
                    <a:pt x="19290" y="29872"/>
                  </a:lnTo>
                  <a:lnTo>
                    <a:pt x="17573" y="30084"/>
                  </a:lnTo>
                  <a:lnTo>
                    <a:pt x="16758" y="30426"/>
                  </a:lnTo>
                  <a:lnTo>
                    <a:pt x="16143" y="31256"/>
                  </a:lnTo>
                  <a:lnTo>
                    <a:pt x="11629" y="31041"/>
                  </a:lnTo>
                  <a:lnTo>
                    <a:pt x="8439" y="29660"/>
                  </a:lnTo>
                  <a:lnTo>
                    <a:pt x="4655" y="26589"/>
                  </a:lnTo>
                  <a:lnTo>
                    <a:pt x="9699" y="22831"/>
                  </a:lnTo>
                  <a:lnTo>
                    <a:pt x="14046" y="23003"/>
                  </a:lnTo>
                  <a:lnTo>
                    <a:pt x="17629" y="20483"/>
                  </a:lnTo>
                  <a:lnTo>
                    <a:pt x="20552" y="19210"/>
                  </a:lnTo>
                  <a:lnTo>
                    <a:pt x="21713" y="17914"/>
                  </a:lnTo>
                  <a:lnTo>
                    <a:pt x="22986" y="16923"/>
                  </a:lnTo>
                  <a:lnTo>
                    <a:pt x="22995" y="15633"/>
                  </a:lnTo>
                  <a:lnTo>
                    <a:pt x="22022" y="15052"/>
                  </a:lnTo>
                  <a:lnTo>
                    <a:pt x="20708" y="15112"/>
                  </a:lnTo>
                  <a:lnTo>
                    <a:pt x="19408" y="15679"/>
                  </a:lnTo>
                  <a:lnTo>
                    <a:pt x="16352" y="16402"/>
                  </a:lnTo>
                  <a:lnTo>
                    <a:pt x="14263" y="14920"/>
                  </a:lnTo>
                  <a:lnTo>
                    <a:pt x="15643" y="14370"/>
                  </a:lnTo>
                  <a:lnTo>
                    <a:pt x="17186" y="14396"/>
                  </a:lnTo>
                  <a:lnTo>
                    <a:pt x="21909" y="13007"/>
                  </a:lnTo>
                  <a:lnTo>
                    <a:pt x="22817" y="12427"/>
                  </a:lnTo>
                  <a:lnTo>
                    <a:pt x="21360" y="10456"/>
                  </a:lnTo>
                  <a:lnTo>
                    <a:pt x="18512" y="9261"/>
                  </a:lnTo>
                  <a:lnTo>
                    <a:pt x="16208" y="7253"/>
                  </a:lnTo>
                  <a:lnTo>
                    <a:pt x="15778" y="6503"/>
                  </a:lnTo>
                  <a:lnTo>
                    <a:pt x="15891" y="5313"/>
                  </a:lnTo>
                  <a:lnTo>
                    <a:pt x="14620" y="2955"/>
                  </a:lnTo>
                  <a:close/>
                  <a:moveTo>
                    <a:pt x="24688" y="119"/>
                  </a:moveTo>
                  <a:lnTo>
                    <a:pt x="27263" y="1277"/>
                  </a:lnTo>
                  <a:lnTo>
                    <a:pt x="27095" y="2443"/>
                  </a:lnTo>
                  <a:lnTo>
                    <a:pt x="26201" y="4237"/>
                  </a:lnTo>
                  <a:lnTo>
                    <a:pt x="22724" y="4240"/>
                  </a:lnTo>
                  <a:lnTo>
                    <a:pt x="22038" y="3136"/>
                  </a:lnTo>
                  <a:lnTo>
                    <a:pt x="22052" y="358"/>
                  </a:lnTo>
                  <a:close/>
                  <a:moveTo>
                    <a:pt x="58188" y="0"/>
                  </a:moveTo>
                  <a:lnTo>
                    <a:pt x="62060" y="1970"/>
                  </a:lnTo>
                  <a:lnTo>
                    <a:pt x="66909" y="1285"/>
                  </a:lnTo>
                  <a:lnTo>
                    <a:pt x="68949" y="1826"/>
                  </a:lnTo>
                  <a:lnTo>
                    <a:pt x="70143" y="3468"/>
                  </a:lnTo>
                  <a:lnTo>
                    <a:pt x="69433" y="4993"/>
                  </a:lnTo>
                  <a:lnTo>
                    <a:pt x="67894" y="4773"/>
                  </a:lnTo>
                  <a:lnTo>
                    <a:pt x="66580" y="5181"/>
                  </a:lnTo>
                  <a:lnTo>
                    <a:pt x="66842" y="7190"/>
                  </a:lnTo>
                  <a:lnTo>
                    <a:pt x="67734" y="8049"/>
                  </a:lnTo>
                  <a:lnTo>
                    <a:pt x="72860" y="10262"/>
                  </a:lnTo>
                  <a:lnTo>
                    <a:pt x="73800" y="10394"/>
                  </a:lnTo>
                  <a:lnTo>
                    <a:pt x="73632" y="9465"/>
                  </a:lnTo>
                  <a:lnTo>
                    <a:pt x="72743" y="7947"/>
                  </a:lnTo>
                  <a:lnTo>
                    <a:pt x="72411" y="6312"/>
                  </a:lnTo>
                  <a:lnTo>
                    <a:pt x="73174" y="4951"/>
                  </a:lnTo>
                  <a:lnTo>
                    <a:pt x="74512" y="4533"/>
                  </a:lnTo>
                  <a:lnTo>
                    <a:pt x="80342" y="3850"/>
                  </a:lnTo>
                  <a:lnTo>
                    <a:pt x="81711" y="4493"/>
                  </a:lnTo>
                  <a:lnTo>
                    <a:pt x="84602" y="8349"/>
                  </a:lnTo>
                  <a:lnTo>
                    <a:pt x="81890" y="8883"/>
                  </a:lnTo>
                  <a:lnTo>
                    <a:pt x="80749" y="10549"/>
                  </a:lnTo>
                  <a:lnTo>
                    <a:pt x="83135" y="11270"/>
                  </a:lnTo>
                  <a:lnTo>
                    <a:pt x="85025" y="12334"/>
                  </a:lnTo>
                  <a:lnTo>
                    <a:pt x="84027" y="13971"/>
                  </a:lnTo>
                  <a:lnTo>
                    <a:pt x="83850" y="14802"/>
                  </a:lnTo>
                  <a:lnTo>
                    <a:pt x="79646" y="15960"/>
                  </a:lnTo>
                  <a:lnTo>
                    <a:pt x="75919" y="16702"/>
                  </a:lnTo>
                  <a:lnTo>
                    <a:pt x="74228" y="18632"/>
                  </a:lnTo>
                  <a:lnTo>
                    <a:pt x="71227" y="20030"/>
                  </a:lnTo>
                  <a:lnTo>
                    <a:pt x="62415" y="22484"/>
                  </a:lnTo>
                  <a:lnTo>
                    <a:pt x="63440" y="24470"/>
                  </a:lnTo>
                  <a:lnTo>
                    <a:pt x="63577" y="25427"/>
                  </a:lnTo>
                  <a:lnTo>
                    <a:pt x="63194" y="28012"/>
                  </a:lnTo>
                  <a:lnTo>
                    <a:pt x="51062" y="24913"/>
                  </a:lnTo>
                  <a:lnTo>
                    <a:pt x="49424" y="25245"/>
                  </a:lnTo>
                  <a:lnTo>
                    <a:pt x="52665" y="30519"/>
                  </a:lnTo>
                  <a:lnTo>
                    <a:pt x="50262" y="31495"/>
                  </a:lnTo>
                  <a:lnTo>
                    <a:pt x="47890" y="30861"/>
                  </a:lnTo>
                  <a:lnTo>
                    <a:pt x="45730" y="31300"/>
                  </a:lnTo>
                  <a:lnTo>
                    <a:pt x="44358" y="35109"/>
                  </a:lnTo>
                  <a:lnTo>
                    <a:pt x="40895" y="32673"/>
                  </a:lnTo>
                  <a:lnTo>
                    <a:pt x="37941" y="29206"/>
                  </a:lnTo>
                  <a:lnTo>
                    <a:pt x="37929" y="27266"/>
                  </a:lnTo>
                  <a:lnTo>
                    <a:pt x="40782" y="23649"/>
                  </a:lnTo>
                  <a:lnTo>
                    <a:pt x="39917" y="22116"/>
                  </a:lnTo>
                  <a:lnTo>
                    <a:pt x="46562" y="17211"/>
                  </a:lnTo>
                  <a:lnTo>
                    <a:pt x="47752" y="15751"/>
                  </a:lnTo>
                  <a:lnTo>
                    <a:pt x="49825" y="14913"/>
                  </a:lnTo>
                  <a:lnTo>
                    <a:pt x="51971" y="14630"/>
                  </a:lnTo>
                  <a:lnTo>
                    <a:pt x="52880" y="14000"/>
                  </a:lnTo>
                  <a:lnTo>
                    <a:pt x="52732" y="12809"/>
                  </a:lnTo>
                  <a:lnTo>
                    <a:pt x="51868" y="10769"/>
                  </a:lnTo>
                  <a:lnTo>
                    <a:pt x="51940" y="7454"/>
                  </a:lnTo>
                  <a:lnTo>
                    <a:pt x="57263" y="2959"/>
                  </a:lnTo>
                  <a:lnTo>
                    <a:pt x="56482" y="72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36" name="ee4p_GD_1_37365">
              <a:extLst>
                <a:ext uri="{FF2B5EF4-FFF2-40B4-BE49-F238E27FC236}">
                  <a16:creationId xmlns:a16="http://schemas.microsoft.com/office/drawing/2014/main" id="{D788DC6B-3716-2336-ABB3-A4CD25F51652}"/>
                </a:ext>
              </a:extLst>
            </p:cNvPr>
            <p:cNvSpPr>
              <a:spLocks noChangeAspect="1"/>
            </p:cNvSpPr>
            <p:nvPr>
              <p:custDataLst>
                <p:tags r:id="rId390"/>
              </p:custDataLst>
            </p:nvPr>
          </p:nvSpPr>
          <p:spPr>
            <a:xfrm>
              <a:off x="4799050" y="4325008"/>
              <a:ext cx="4864" cy="6615"/>
            </a:xfrm>
            <a:custGeom>
              <a:avLst/>
              <a:gdLst/>
              <a:ahLst/>
              <a:cxnLst/>
              <a:rect l="0" t="0" r="0" b="0"/>
              <a:pathLst>
                <a:path w="3873" h="5128">
                  <a:moveTo>
                    <a:pt x="1473" y="5033"/>
                  </a:moveTo>
                  <a:lnTo>
                    <a:pt x="0" y="5127"/>
                  </a:lnTo>
                  <a:lnTo>
                    <a:pt x="584" y="4297"/>
                  </a:lnTo>
                  <a:lnTo>
                    <a:pt x="713" y="2884"/>
                  </a:lnTo>
                  <a:lnTo>
                    <a:pt x="1485" y="1164"/>
                  </a:lnTo>
                  <a:lnTo>
                    <a:pt x="2691" y="0"/>
                  </a:lnTo>
                  <a:lnTo>
                    <a:pt x="3872" y="308"/>
                  </a:lnTo>
                  <a:lnTo>
                    <a:pt x="3428" y="4106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37" name="ee4p_GT_1_37365">
              <a:extLst>
                <a:ext uri="{FF2B5EF4-FFF2-40B4-BE49-F238E27FC236}">
                  <a16:creationId xmlns:a16="http://schemas.microsoft.com/office/drawing/2014/main" id="{7AE6C97C-CD93-0B49-FF26-192AB71C4C5D}"/>
                </a:ext>
              </a:extLst>
            </p:cNvPr>
            <p:cNvSpPr>
              <a:spLocks noChangeAspect="1"/>
            </p:cNvSpPr>
            <p:nvPr>
              <p:custDataLst>
                <p:tags r:id="rId391"/>
              </p:custDataLst>
            </p:nvPr>
          </p:nvSpPr>
          <p:spPr>
            <a:xfrm>
              <a:off x="3953391" y="4162239"/>
              <a:ext cx="111269" cy="119281"/>
            </a:xfrm>
            <a:custGeom>
              <a:avLst/>
              <a:gdLst/>
              <a:ahLst/>
              <a:cxnLst/>
              <a:rect l="0" t="0" r="0" b="0"/>
              <a:pathLst>
                <a:path w="88601" h="92463">
                  <a:moveTo>
                    <a:pt x="67966" y="35"/>
                  </a:moveTo>
                  <a:lnTo>
                    <a:pt x="67753" y="5567"/>
                  </a:lnTo>
                  <a:lnTo>
                    <a:pt x="67508" y="11971"/>
                  </a:lnTo>
                  <a:lnTo>
                    <a:pt x="67326" y="16672"/>
                  </a:lnTo>
                  <a:lnTo>
                    <a:pt x="67086" y="22943"/>
                  </a:lnTo>
                  <a:lnTo>
                    <a:pt x="66838" y="29348"/>
                  </a:lnTo>
                  <a:lnTo>
                    <a:pt x="66503" y="38072"/>
                  </a:lnTo>
                  <a:lnTo>
                    <a:pt x="66284" y="43705"/>
                  </a:lnTo>
                  <a:lnTo>
                    <a:pt x="66388" y="43835"/>
                  </a:lnTo>
                  <a:lnTo>
                    <a:pt x="69025" y="43563"/>
                  </a:lnTo>
                  <a:lnTo>
                    <a:pt x="72926" y="43809"/>
                  </a:lnTo>
                  <a:lnTo>
                    <a:pt x="73879" y="43791"/>
                  </a:lnTo>
                  <a:lnTo>
                    <a:pt x="75074" y="44282"/>
                  </a:lnTo>
                  <a:lnTo>
                    <a:pt x="75995" y="44428"/>
                  </a:lnTo>
                  <a:lnTo>
                    <a:pt x="77979" y="45697"/>
                  </a:lnTo>
                  <a:lnTo>
                    <a:pt x="80306" y="46657"/>
                  </a:lnTo>
                  <a:lnTo>
                    <a:pt x="81791" y="44721"/>
                  </a:lnTo>
                  <a:lnTo>
                    <a:pt x="81010" y="43554"/>
                  </a:lnTo>
                  <a:lnTo>
                    <a:pt x="80425" y="42959"/>
                  </a:lnTo>
                  <a:lnTo>
                    <a:pt x="80515" y="42438"/>
                  </a:lnTo>
                  <a:lnTo>
                    <a:pt x="88600" y="47454"/>
                  </a:lnTo>
                  <a:lnTo>
                    <a:pt x="87646" y="48227"/>
                  </a:lnTo>
                  <a:lnTo>
                    <a:pt x="85587" y="50013"/>
                  </a:lnTo>
                  <a:lnTo>
                    <a:pt x="81856" y="53066"/>
                  </a:lnTo>
                  <a:lnTo>
                    <a:pt x="78513" y="55798"/>
                  </a:lnTo>
                  <a:lnTo>
                    <a:pt x="75297" y="58275"/>
                  </a:lnTo>
                  <a:lnTo>
                    <a:pt x="72399" y="60505"/>
                  </a:lnTo>
                  <a:lnTo>
                    <a:pt x="72058" y="60726"/>
                  </a:lnTo>
                  <a:lnTo>
                    <a:pt x="68383" y="62317"/>
                  </a:lnTo>
                  <a:lnTo>
                    <a:pt x="67770" y="63050"/>
                  </a:lnTo>
                  <a:lnTo>
                    <a:pt x="66979" y="66199"/>
                  </a:lnTo>
                  <a:lnTo>
                    <a:pt x="66619" y="66979"/>
                  </a:lnTo>
                  <a:lnTo>
                    <a:pt x="67285" y="68727"/>
                  </a:lnTo>
                  <a:lnTo>
                    <a:pt x="67949" y="71426"/>
                  </a:lnTo>
                  <a:lnTo>
                    <a:pt x="67738" y="72834"/>
                  </a:lnTo>
                  <a:lnTo>
                    <a:pt x="65196" y="74570"/>
                  </a:lnTo>
                  <a:lnTo>
                    <a:pt x="64031" y="76133"/>
                  </a:lnTo>
                  <a:lnTo>
                    <a:pt x="63518" y="77142"/>
                  </a:lnTo>
                  <a:lnTo>
                    <a:pt x="63062" y="76880"/>
                  </a:lnTo>
                  <a:lnTo>
                    <a:pt x="62275" y="76802"/>
                  </a:lnTo>
                  <a:lnTo>
                    <a:pt x="60461" y="77193"/>
                  </a:lnTo>
                  <a:lnTo>
                    <a:pt x="59584" y="77280"/>
                  </a:lnTo>
                  <a:lnTo>
                    <a:pt x="58852" y="77727"/>
                  </a:lnTo>
                  <a:lnTo>
                    <a:pt x="58779" y="78698"/>
                  </a:lnTo>
                  <a:lnTo>
                    <a:pt x="59263" y="80273"/>
                  </a:lnTo>
                  <a:lnTo>
                    <a:pt x="59437" y="81085"/>
                  </a:lnTo>
                  <a:lnTo>
                    <a:pt x="58926" y="81459"/>
                  </a:lnTo>
                  <a:lnTo>
                    <a:pt x="56693" y="82406"/>
                  </a:lnTo>
                  <a:lnTo>
                    <a:pt x="55811" y="83339"/>
                  </a:lnTo>
                  <a:lnTo>
                    <a:pt x="54966" y="84789"/>
                  </a:lnTo>
                  <a:lnTo>
                    <a:pt x="53986" y="85396"/>
                  </a:lnTo>
                  <a:lnTo>
                    <a:pt x="52963" y="85284"/>
                  </a:lnTo>
                  <a:lnTo>
                    <a:pt x="52239" y="85497"/>
                  </a:lnTo>
                  <a:lnTo>
                    <a:pt x="50692" y="86585"/>
                  </a:lnTo>
                  <a:lnTo>
                    <a:pt x="48360" y="88688"/>
                  </a:lnTo>
                  <a:lnTo>
                    <a:pt x="47108" y="90249"/>
                  </a:lnTo>
                  <a:lnTo>
                    <a:pt x="47082" y="91415"/>
                  </a:lnTo>
                  <a:lnTo>
                    <a:pt x="47319" y="92462"/>
                  </a:lnTo>
                  <a:lnTo>
                    <a:pt x="38830" y="88758"/>
                  </a:lnTo>
                  <a:lnTo>
                    <a:pt x="36004" y="88125"/>
                  </a:lnTo>
                  <a:lnTo>
                    <a:pt x="24083" y="88202"/>
                  </a:lnTo>
                  <a:lnTo>
                    <a:pt x="18968" y="86746"/>
                  </a:lnTo>
                  <a:lnTo>
                    <a:pt x="13140" y="83934"/>
                  </a:lnTo>
                  <a:lnTo>
                    <a:pt x="9200" y="81379"/>
                  </a:lnTo>
                  <a:lnTo>
                    <a:pt x="0" y="74222"/>
                  </a:lnTo>
                  <a:lnTo>
                    <a:pt x="578" y="73644"/>
                  </a:lnTo>
                  <a:lnTo>
                    <a:pt x="1064" y="72310"/>
                  </a:lnTo>
                  <a:lnTo>
                    <a:pt x="1664" y="70934"/>
                  </a:lnTo>
                  <a:lnTo>
                    <a:pt x="1298" y="69345"/>
                  </a:lnTo>
                  <a:lnTo>
                    <a:pt x="1079" y="68057"/>
                  </a:lnTo>
                  <a:lnTo>
                    <a:pt x="1758" y="66182"/>
                  </a:lnTo>
                  <a:lnTo>
                    <a:pt x="1694" y="64775"/>
                  </a:lnTo>
                  <a:lnTo>
                    <a:pt x="2010" y="63907"/>
                  </a:lnTo>
                  <a:lnTo>
                    <a:pt x="3017" y="63347"/>
                  </a:lnTo>
                  <a:lnTo>
                    <a:pt x="3546" y="62274"/>
                  </a:lnTo>
                  <a:lnTo>
                    <a:pt x="681" y="58576"/>
                  </a:lnTo>
                  <a:lnTo>
                    <a:pt x="683" y="57733"/>
                  </a:lnTo>
                  <a:lnTo>
                    <a:pt x="1061" y="56694"/>
                  </a:lnTo>
                  <a:lnTo>
                    <a:pt x="3384" y="52741"/>
                  </a:lnTo>
                  <a:lnTo>
                    <a:pt x="6146" y="48038"/>
                  </a:lnTo>
                  <a:lnTo>
                    <a:pt x="9193" y="42845"/>
                  </a:lnTo>
                  <a:lnTo>
                    <a:pt x="11025" y="39720"/>
                  </a:lnTo>
                  <a:lnTo>
                    <a:pt x="17716" y="39714"/>
                  </a:lnTo>
                  <a:lnTo>
                    <a:pt x="22142" y="39709"/>
                  </a:lnTo>
                  <a:lnTo>
                    <a:pt x="27763" y="39706"/>
                  </a:lnTo>
                  <a:lnTo>
                    <a:pt x="33874" y="39700"/>
                  </a:lnTo>
                  <a:lnTo>
                    <a:pt x="37882" y="39697"/>
                  </a:lnTo>
                  <a:lnTo>
                    <a:pt x="39536" y="39662"/>
                  </a:lnTo>
                  <a:lnTo>
                    <a:pt x="39256" y="37629"/>
                  </a:lnTo>
                  <a:lnTo>
                    <a:pt x="39470" y="35382"/>
                  </a:lnTo>
                  <a:lnTo>
                    <a:pt x="40203" y="33340"/>
                  </a:lnTo>
                  <a:lnTo>
                    <a:pt x="40203" y="32439"/>
                  </a:lnTo>
                  <a:lnTo>
                    <a:pt x="39007" y="31337"/>
                  </a:lnTo>
                  <a:lnTo>
                    <a:pt x="36692" y="30695"/>
                  </a:lnTo>
                  <a:lnTo>
                    <a:pt x="35403" y="29720"/>
                  </a:lnTo>
                  <a:lnTo>
                    <a:pt x="35397" y="28485"/>
                  </a:lnTo>
                  <a:lnTo>
                    <a:pt x="34831" y="26991"/>
                  </a:lnTo>
                  <a:lnTo>
                    <a:pt x="33709" y="25236"/>
                  </a:lnTo>
                  <a:lnTo>
                    <a:pt x="31380" y="23441"/>
                  </a:lnTo>
                  <a:lnTo>
                    <a:pt x="27846" y="21605"/>
                  </a:lnTo>
                  <a:lnTo>
                    <a:pt x="24839" y="19141"/>
                  </a:lnTo>
                  <a:lnTo>
                    <a:pt x="22355" y="16044"/>
                  </a:lnTo>
                  <a:lnTo>
                    <a:pt x="20254" y="14052"/>
                  </a:lnTo>
                  <a:lnTo>
                    <a:pt x="18637" y="13218"/>
                  </a:lnTo>
                  <a:lnTo>
                    <a:pt x="18254" y="12776"/>
                  </a:lnTo>
                  <a:lnTo>
                    <a:pt x="22989" y="12816"/>
                  </a:lnTo>
                  <a:lnTo>
                    <a:pt x="27467" y="12854"/>
                  </a:lnTo>
                  <a:lnTo>
                    <a:pt x="27498" y="8412"/>
                  </a:lnTo>
                  <a:lnTo>
                    <a:pt x="27523" y="4462"/>
                  </a:lnTo>
                  <a:lnTo>
                    <a:pt x="27552" y="0"/>
                  </a:lnTo>
                  <a:lnTo>
                    <a:pt x="35670" y="6"/>
                  </a:lnTo>
                  <a:lnTo>
                    <a:pt x="45364" y="15"/>
                  </a:lnTo>
                  <a:lnTo>
                    <a:pt x="55421" y="24"/>
                  </a:lnTo>
                  <a:lnTo>
                    <a:pt x="63321" y="32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38" name="ee4p_GY_1_37365">
              <a:extLst>
                <a:ext uri="{FF2B5EF4-FFF2-40B4-BE49-F238E27FC236}">
                  <a16:creationId xmlns:a16="http://schemas.microsoft.com/office/drawing/2014/main" id="{D842ED48-9A15-48FD-7F16-CDF3A8CF757E}"/>
                </a:ext>
              </a:extLst>
            </p:cNvPr>
            <p:cNvSpPr>
              <a:spLocks noChangeAspect="1"/>
            </p:cNvSpPr>
            <p:nvPr>
              <p:custDataLst>
                <p:tags r:id="rId392"/>
              </p:custDataLst>
            </p:nvPr>
          </p:nvSpPr>
          <p:spPr>
            <a:xfrm>
              <a:off x="4809917" y="4431329"/>
              <a:ext cx="136294" cy="210188"/>
            </a:xfrm>
            <a:custGeom>
              <a:avLst/>
              <a:gdLst/>
              <a:ahLst/>
              <a:cxnLst/>
              <a:rect l="0" t="0" r="0" b="0"/>
              <a:pathLst>
                <a:path w="108528" h="162932">
                  <a:moveTo>
                    <a:pt x="92784" y="66684"/>
                  </a:moveTo>
                  <a:lnTo>
                    <a:pt x="91609" y="68085"/>
                  </a:lnTo>
                  <a:lnTo>
                    <a:pt x="91396" y="68974"/>
                  </a:lnTo>
                  <a:lnTo>
                    <a:pt x="90636" y="70553"/>
                  </a:lnTo>
                  <a:lnTo>
                    <a:pt x="90047" y="71409"/>
                  </a:lnTo>
                  <a:lnTo>
                    <a:pt x="90907" y="73373"/>
                  </a:lnTo>
                  <a:lnTo>
                    <a:pt x="91888" y="73460"/>
                  </a:lnTo>
                  <a:lnTo>
                    <a:pt x="92260" y="73711"/>
                  </a:lnTo>
                  <a:lnTo>
                    <a:pt x="92506" y="74095"/>
                  </a:lnTo>
                  <a:lnTo>
                    <a:pt x="92451" y="74512"/>
                  </a:lnTo>
                  <a:lnTo>
                    <a:pt x="92074" y="74886"/>
                  </a:lnTo>
                  <a:lnTo>
                    <a:pt x="91136" y="75363"/>
                  </a:lnTo>
                  <a:lnTo>
                    <a:pt x="90245" y="76497"/>
                  </a:lnTo>
                  <a:lnTo>
                    <a:pt x="90329" y="77745"/>
                  </a:lnTo>
                  <a:lnTo>
                    <a:pt x="89771" y="78397"/>
                  </a:lnTo>
                  <a:lnTo>
                    <a:pt x="87977" y="78742"/>
                  </a:lnTo>
                  <a:lnTo>
                    <a:pt x="84467" y="78744"/>
                  </a:lnTo>
                  <a:lnTo>
                    <a:pt x="82744" y="78829"/>
                  </a:lnTo>
                  <a:lnTo>
                    <a:pt x="81367" y="79042"/>
                  </a:lnTo>
                  <a:lnTo>
                    <a:pt x="80462" y="79852"/>
                  </a:lnTo>
                  <a:lnTo>
                    <a:pt x="79310" y="80416"/>
                  </a:lnTo>
                  <a:lnTo>
                    <a:pt x="78408" y="80550"/>
                  </a:lnTo>
                  <a:lnTo>
                    <a:pt x="77608" y="81490"/>
                  </a:lnTo>
                  <a:lnTo>
                    <a:pt x="76813" y="82824"/>
                  </a:lnTo>
                  <a:lnTo>
                    <a:pt x="77082" y="83735"/>
                  </a:lnTo>
                  <a:lnTo>
                    <a:pt x="77900" y="84954"/>
                  </a:lnTo>
                  <a:lnTo>
                    <a:pt x="78384" y="86198"/>
                  </a:lnTo>
                  <a:lnTo>
                    <a:pt x="77749" y="88216"/>
                  </a:lnTo>
                  <a:lnTo>
                    <a:pt x="77052" y="89774"/>
                  </a:lnTo>
                  <a:lnTo>
                    <a:pt x="76643" y="90963"/>
                  </a:lnTo>
                  <a:lnTo>
                    <a:pt x="76090" y="93248"/>
                  </a:lnTo>
                  <a:lnTo>
                    <a:pt x="74741" y="95762"/>
                  </a:lnTo>
                  <a:lnTo>
                    <a:pt x="73773" y="97192"/>
                  </a:lnTo>
                  <a:lnTo>
                    <a:pt x="73778" y="98748"/>
                  </a:lnTo>
                  <a:lnTo>
                    <a:pt x="74266" y="100956"/>
                  </a:lnTo>
                  <a:lnTo>
                    <a:pt x="77019" y="104173"/>
                  </a:lnTo>
                  <a:lnTo>
                    <a:pt x="77929" y="105711"/>
                  </a:lnTo>
                  <a:lnTo>
                    <a:pt x="78679" y="108175"/>
                  </a:lnTo>
                  <a:lnTo>
                    <a:pt x="81162" y="110116"/>
                  </a:lnTo>
                  <a:lnTo>
                    <a:pt x="82730" y="111686"/>
                  </a:lnTo>
                  <a:lnTo>
                    <a:pt x="82583" y="113760"/>
                  </a:lnTo>
                  <a:lnTo>
                    <a:pt x="82790" y="114406"/>
                  </a:lnTo>
                  <a:lnTo>
                    <a:pt x="83763" y="114928"/>
                  </a:lnTo>
                  <a:lnTo>
                    <a:pt x="84938" y="115329"/>
                  </a:lnTo>
                  <a:lnTo>
                    <a:pt x="86243" y="115297"/>
                  </a:lnTo>
                  <a:lnTo>
                    <a:pt x="87408" y="115120"/>
                  </a:lnTo>
                  <a:lnTo>
                    <a:pt x="87680" y="114829"/>
                  </a:lnTo>
                  <a:lnTo>
                    <a:pt x="90376" y="114792"/>
                  </a:lnTo>
                  <a:lnTo>
                    <a:pt x="90679" y="115312"/>
                  </a:lnTo>
                  <a:lnTo>
                    <a:pt x="90835" y="118295"/>
                  </a:lnTo>
                  <a:lnTo>
                    <a:pt x="90945" y="119502"/>
                  </a:lnTo>
                  <a:lnTo>
                    <a:pt x="91585" y="119989"/>
                  </a:lnTo>
                  <a:lnTo>
                    <a:pt x="91969" y="120729"/>
                  </a:lnTo>
                  <a:lnTo>
                    <a:pt x="91992" y="121400"/>
                  </a:lnTo>
                  <a:lnTo>
                    <a:pt x="92115" y="123070"/>
                  </a:lnTo>
                  <a:lnTo>
                    <a:pt x="92515" y="123949"/>
                  </a:lnTo>
                  <a:lnTo>
                    <a:pt x="92451" y="125732"/>
                  </a:lnTo>
                  <a:lnTo>
                    <a:pt x="92727" y="126386"/>
                  </a:lnTo>
                  <a:lnTo>
                    <a:pt x="93473" y="126829"/>
                  </a:lnTo>
                  <a:lnTo>
                    <a:pt x="94412" y="128106"/>
                  </a:lnTo>
                  <a:lnTo>
                    <a:pt x="94766" y="128267"/>
                  </a:lnTo>
                  <a:lnTo>
                    <a:pt x="94949" y="128718"/>
                  </a:lnTo>
                  <a:lnTo>
                    <a:pt x="95754" y="130537"/>
                  </a:lnTo>
                  <a:lnTo>
                    <a:pt x="96163" y="131080"/>
                  </a:lnTo>
                  <a:lnTo>
                    <a:pt x="96450" y="131160"/>
                  </a:lnTo>
                  <a:lnTo>
                    <a:pt x="96571" y="131791"/>
                  </a:lnTo>
                  <a:lnTo>
                    <a:pt x="97154" y="133491"/>
                  </a:lnTo>
                  <a:lnTo>
                    <a:pt x="97548" y="133910"/>
                  </a:lnTo>
                  <a:lnTo>
                    <a:pt x="98302" y="135158"/>
                  </a:lnTo>
                  <a:lnTo>
                    <a:pt x="98605" y="136518"/>
                  </a:lnTo>
                  <a:lnTo>
                    <a:pt x="99602" y="138053"/>
                  </a:lnTo>
                  <a:lnTo>
                    <a:pt x="100617" y="139133"/>
                  </a:lnTo>
                  <a:lnTo>
                    <a:pt x="101075" y="140250"/>
                  </a:lnTo>
                  <a:lnTo>
                    <a:pt x="102373" y="142723"/>
                  </a:lnTo>
                  <a:lnTo>
                    <a:pt x="103628" y="144457"/>
                  </a:lnTo>
                  <a:lnTo>
                    <a:pt x="105334" y="144910"/>
                  </a:lnTo>
                  <a:lnTo>
                    <a:pt x="106760" y="145152"/>
                  </a:lnTo>
                  <a:lnTo>
                    <a:pt x="107652" y="145822"/>
                  </a:lnTo>
                  <a:lnTo>
                    <a:pt x="108527" y="146544"/>
                  </a:lnTo>
                  <a:lnTo>
                    <a:pt x="107583" y="146873"/>
                  </a:lnTo>
                  <a:lnTo>
                    <a:pt x="106741" y="147316"/>
                  </a:lnTo>
                  <a:lnTo>
                    <a:pt x="105572" y="146975"/>
                  </a:lnTo>
                  <a:lnTo>
                    <a:pt x="103949" y="147160"/>
                  </a:lnTo>
                  <a:lnTo>
                    <a:pt x="102259" y="147649"/>
                  </a:lnTo>
                  <a:lnTo>
                    <a:pt x="100701" y="147891"/>
                  </a:lnTo>
                  <a:lnTo>
                    <a:pt x="97764" y="147113"/>
                  </a:lnTo>
                  <a:lnTo>
                    <a:pt x="96868" y="147006"/>
                  </a:lnTo>
                  <a:lnTo>
                    <a:pt x="96259" y="146670"/>
                  </a:lnTo>
                  <a:lnTo>
                    <a:pt x="95042" y="145136"/>
                  </a:lnTo>
                  <a:lnTo>
                    <a:pt x="94462" y="144955"/>
                  </a:lnTo>
                  <a:lnTo>
                    <a:pt x="92898" y="145672"/>
                  </a:lnTo>
                  <a:lnTo>
                    <a:pt x="90997" y="146166"/>
                  </a:lnTo>
                  <a:lnTo>
                    <a:pt x="90071" y="146072"/>
                  </a:lnTo>
                  <a:lnTo>
                    <a:pt x="88980" y="146589"/>
                  </a:lnTo>
                  <a:lnTo>
                    <a:pt x="87965" y="147278"/>
                  </a:lnTo>
                  <a:lnTo>
                    <a:pt x="86025" y="150267"/>
                  </a:lnTo>
                  <a:lnTo>
                    <a:pt x="85023" y="151324"/>
                  </a:lnTo>
                  <a:lnTo>
                    <a:pt x="83947" y="151810"/>
                  </a:lnTo>
                  <a:lnTo>
                    <a:pt x="81795" y="151794"/>
                  </a:lnTo>
                  <a:lnTo>
                    <a:pt x="79497" y="151900"/>
                  </a:lnTo>
                  <a:lnTo>
                    <a:pt x="77777" y="152624"/>
                  </a:lnTo>
                  <a:lnTo>
                    <a:pt x="76165" y="152993"/>
                  </a:lnTo>
                  <a:lnTo>
                    <a:pt x="75359" y="153041"/>
                  </a:lnTo>
                  <a:lnTo>
                    <a:pt x="75087" y="154680"/>
                  </a:lnTo>
                  <a:lnTo>
                    <a:pt x="74718" y="155440"/>
                  </a:lnTo>
                  <a:lnTo>
                    <a:pt x="74212" y="155876"/>
                  </a:lnTo>
                  <a:lnTo>
                    <a:pt x="72960" y="156006"/>
                  </a:lnTo>
                  <a:lnTo>
                    <a:pt x="71833" y="155948"/>
                  </a:lnTo>
                  <a:lnTo>
                    <a:pt x="71151" y="155265"/>
                  </a:lnTo>
                  <a:lnTo>
                    <a:pt x="69883" y="154924"/>
                  </a:lnTo>
                  <a:lnTo>
                    <a:pt x="68762" y="154680"/>
                  </a:lnTo>
                  <a:lnTo>
                    <a:pt x="68031" y="154290"/>
                  </a:lnTo>
                  <a:lnTo>
                    <a:pt x="67446" y="154387"/>
                  </a:lnTo>
                  <a:lnTo>
                    <a:pt x="66959" y="155070"/>
                  </a:lnTo>
                  <a:lnTo>
                    <a:pt x="66568" y="155655"/>
                  </a:lnTo>
                  <a:lnTo>
                    <a:pt x="66226" y="156728"/>
                  </a:lnTo>
                  <a:lnTo>
                    <a:pt x="64521" y="157070"/>
                  </a:lnTo>
                  <a:lnTo>
                    <a:pt x="63789" y="157680"/>
                  </a:lnTo>
                  <a:lnTo>
                    <a:pt x="64213" y="159691"/>
                  </a:lnTo>
                  <a:lnTo>
                    <a:pt x="64018" y="160476"/>
                  </a:lnTo>
                  <a:lnTo>
                    <a:pt x="63660" y="161086"/>
                  </a:lnTo>
                  <a:lnTo>
                    <a:pt x="61599" y="161208"/>
                  </a:lnTo>
                  <a:lnTo>
                    <a:pt x="59840" y="161166"/>
                  </a:lnTo>
                  <a:lnTo>
                    <a:pt x="58830" y="161908"/>
                  </a:lnTo>
                  <a:lnTo>
                    <a:pt x="57572" y="162771"/>
                  </a:lnTo>
                  <a:lnTo>
                    <a:pt x="56807" y="162931"/>
                  </a:lnTo>
                  <a:lnTo>
                    <a:pt x="55907" y="162879"/>
                  </a:lnTo>
                  <a:lnTo>
                    <a:pt x="54711" y="161878"/>
                  </a:lnTo>
                  <a:lnTo>
                    <a:pt x="53563" y="160645"/>
                  </a:lnTo>
                  <a:lnTo>
                    <a:pt x="50647" y="159782"/>
                  </a:lnTo>
                  <a:lnTo>
                    <a:pt x="47754" y="159066"/>
                  </a:lnTo>
                  <a:lnTo>
                    <a:pt x="45857" y="157107"/>
                  </a:lnTo>
                  <a:lnTo>
                    <a:pt x="45409" y="156142"/>
                  </a:lnTo>
                  <a:lnTo>
                    <a:pt x="44515" y="155719"/>
                  </a:lnTo>
                  <a:lnTo>
                    <a:pt x="42265" y="153395"/>
                  </a:lnTo>
                  <a:lnTo>
                    <a:pt x="41021" y="151900"/>
                  </a:lnTo>
                  <a:lnTo>
                    <a:pt x="39674" y="151501"/>
                  </a:lnTo>
                  <a:lnTo>
                    <a:pt x="38126" y="150876"/>
                  </a:lnTo>
                  <a:lnTo>
                    <a:pt x="38189" y="149794"/>
                  </a:lnTo>
                  <a:lnTo>
                    <a:pt x="38084" y="148752"/>
                  </a:lnTo>
                  <a:lnTo>
                    <a:pt x="37420" y="148328"/>
                  </a:lnTo>
                  <a:lnTo>
                    <a:pt x="36488" y="148048"/>
                  </a:lnTo>
                  <a:lnTo>
                    <a:pt x="36145" y="147462"/>
                  </a:lnTo>
                  <a:lnTo>
                    <a:pt x="36243" y="146096"/>
                  </a:lnTo>
                  <a:lnTo>
                    <a:pt x="36426" y="142574"/>
                  </a:lnTo>
                  <a:lnTo>
                    <a:pt x="36167" y="139200"/>
                  </a:lnTo>
                  <a:lnTo>
                    <a:pt x="34091" y="138029"/>
                  </a:lnTo>
                  <a:lnTo>
                    <a:pt x="33195" y="137235"/>
                  </a:lnTo>
                  <a:lnTo>
                    <a:pt x="31621" y="132247"/>
                  </a:lnTo>
                  <a:lnTo>
                    <a:pt x="30880" y="129999"/>
                  </a:lnTo>
                  <a:lnTo>
                    <a:pt x="30845" y="128330"/>
                  </a:lnTo>
                  <a:lnTo>
                    <a:pt x="31367" y="123349"/>
                  </a:lnTo>
                  <a:lnTo>
                    <a:pt x="31956" y="121194"/>
                  </a:lnTo>
                  <a:lnTo>
                    <a:pt x="33562" y="116873"/>
                  </a:lnTo>
                  <a:lnTo>
                    <a:pt x="34488" y="115409"/>
                  </a:lnTo>
                  <a:lnTo>
                    <a:pt x="34540" y="114316"/>
                  </a:lnTo>
                  <a:lnTo>
                    <a:pt x="34446" y="112909"/>
                  </a:lnTo>
                  <a:lnTo>
                    <a:pt x="33974" y="110134"/>
                  </a:lnTo>
                  <a:lnTo>
                    <a:pt x="36688" y="108384"/>
                  </a:lnTo>
                  <a:lnTo>
                    <a:pt x="37852" y="107647"/>
                  </a:lnTo>
                  <a:lnTo>
                    <a:pt x="38047" y="106476"/>
                  </a:lnTo>
                  <a:lnTo>
                    <a:pt x="39501" y="104993"/>
                  </a:lnTo>
                  <a:lnTo>
                    <a:pt x="40143" y="103581"/>
                  </a:lnTo>
                  <a:lnTo>
                    <a:pt x="40680" y="102472"/>
                  </a:lnTo>
                  <a:lnTo>
                    <a:pt x="40533" y="101886"/>
                  </a:lnTo>
                  <a:lnTo>
                    <a:pt x="39899" y="101545"/>
                  </a:lnTo>
                  <a:lnTo>
                    <a:pt x="39152" y="100487"/>
                  </a:lnTo>
                  <a:lnTo>
                    <a:pt x="37582" y="97447"/>
                  </a:lnTo>
                  <a:lnTo>
                    <a:pt x="37014" y="96832"/>
                  </a:lnTo>
                  <a:lnTo>
                    <a:pt x="36535" y="95977"/>
                  </a:lnTo>
                  <a:lnTo>
                    <a:pt x="36780" y="94629"/>
                  </a:lnTo>
                  <a:lnTo>
                    <a:pt x="37395" y="93169"/>
                  </a:lnTo>
                  <a:lnTo>
                    <a:pt x="37316" y="92558"/>
                  </a:lnTo>
                  <a:lnTo>
                    <a:pt x="36375" y="91771"/>
                  </a:lnTo>
                  <a:lnTo>
                    <a:pt x="34439" y="90458"/>
                  </a:lnTo>
                  <a:lnTo>
                    <a:pt x="32830" y="90360"/>
                  </a:lnTo>
                  <a:lnTo>
                    <a:pt x="31587" y="89886"/>
                  </a:lnTo>
                  <a:lnTo>
                    <a:pt x="29759" y="89823"/>
                  </a:lnTo>
                  <a:lnTo>
                    <a:pt x="28297" y="89677"/>
                  </a:lnTo>
                  <a:lnTo>
                    <a:pt x="27468" y="89187"/>
                  </a:lnTo>
                  <a:lnTo>
                    <a:pt x="27638" y="88382"/>
                  </a:lnTo>
                  <a:lnTo>
                    <a:pt x="28000" y="87760"/>
                  </a:lnTo>
                  <a:lnTo>
                    <a:pt x="29230" y="86232"/>
                  </a:lnTo>
                  <a:lnTo>
                    <a:pt x="30051" y="84595"/>
                  </a:lnTo>
                  <a:lnTo>
                    <a:pt x="30163" y="82995"/>
                  </a:lnTo>
                  <a:lnTo>
                    <a:pt x="30412" y="80894"/>
                  </a:lnTo>
                  <a:lnTo>
                    <a:pt x="30768" y="79069"/>
                  </a:lnTo>
                  <a:lnTo>
                    <a:pt x="30961" y="77007"/>
                  </a:lnTo>
                  <a:lnTo>
                    <a:pt x="29028" y="75652"/>
                  </a:lnTo>
                  <a:lnTo>
                    <a:pt x="28411" y="74538"/>
                  </a:lnTo>
                  <a:lnTo>
                    <a:pt x="27614" y="73550"/>
                  </a:lnTo>
                  <a:lnTo>
                    <a:pt x="26736" y="73550"/>
                  </a:lnTo>
                  <a:lnTo>
                    <a:pt x="25411" y="73125"/>
                  </a:lnTo>
                  <a:lnTo>
                    <a:pt x="23342" y="74425"/>
                  </a:lnTo>
                  <a:lnTo>
                    <a:pt x="21715" y="74185"/>
                  </a:lnTo>
                  <a:lnTo>
                    <a:pt x="20593" y="74674"/>
                  </a:lnTo>
                  <a:lnTo>
                    <a:pt x="18009" y="74577"/>
                  </a:lnTo>
                  <a:lnTo>
                    <a:pt x="16351" y="73941"/>
                  </a:lnTo>
                  <a:lnTo>
                    <a:pt x="14344" y="74365"/>
                  </a:lnTo>
                  <a:lnTo>
                    <a:pt x="9659" y="69146"/>
                  </a:lnTo>
                  <a:lnTo>
                    <a:pt x="4945" y="63894"/>
                  </a:lnTo>
                  <a:lnTo>
                    <a:pt x="310" y="58730"/>
                  </a:lnTo>
                  <a:lnTo>
                    <a:pt x="0" y="58025"/>
                  </a:lnTo>
                  <a:lnTo>
                    <a:pt x="1940" y="55567"/>
                  </a:lnTo>
                  <a:lnTo>
                    <a:pt x="3668" y="53799"/>
                  </a:lnTo>
                  <a:lnTo>
                    <a:pt x="5116" y="52795"/>
                  </a:lnTo>
                  <a:lnTo>
                    <a:pt x="5796" y="51910"/>
                  </a:lnTo>
                  <a:lnTo>
                    <a:pt x="5275" y="48119"/>
                  </a:lnTo>
                  <a:lnTo>
                    <a:pt x="5303" y="46755"/>
                  </a:lnTo>
                  <a:lnTo>
                    <a:pt x="4627" y="45271"/>
                  </a:lnTo>
                  <a:lnTo>
                    <a:pt x="4140" y="43605"/>
                  </a:lnTo>
                  <a:lnTo>
                    <a:pt x="4723" y="42216"/>
                  </a:lnTo>
                  <a:lnTo>
                    <a:pt x="5423" y="41248"/>
                  </a:lnTo>
                  <a:lnTo>
                    <a:pt x="6325" y="40874"/>
                  </a:lnTo>
                  <a:lnTo>
                    <a:pt x="8486" y="40535"/>
                  </a:lnTo>
                  <a:lnTo>
                    <a:pt x="10013" y="40399"/>
                  </a:lnTo>
                  <a:lnTo>
                    <a:pt x="10553" y="39842"/>
                  </a:lnTo>
                  <a:lnTo>
                    <a:pt x="11443" y="39196"/>
                  </a:lnTo>
                  <a:lnTo>
                    <a:pt x="12604" y="39161"/>
                  </a:lnTo>
                  <a:lnTo>
                    <a:pt x="14880" y="39609"/>
                  </a:lnTo>
                  <a:lnTo>
                    <a:pt x="15916" y="38773"/>
                  </a:lnTo>
                  <a:lnTo>
                    <a:pt x="17795" y="37637"/>
                  </a:lnTo>
                  <a:lnTo>
                    <a:pt x="22020" y="35676"/>
                  </a:lnTo>
                  <a:lnTo>
                    <a:pt x="22969" y="34399"/>
                  </a:lnTo>
                  <a:lnTo>
                    <a:pt x="23633" y="32417"/>
                  </a:lnTo>
                  <a:lnTo>
                    <a:pt x="23557" y="31485"/>
                  </a:lnTo>
                  <a:lnTo>
                    <a:pt x="23124" y="31129"/>
                  </a:lnTo>
                  <a:lnTo>
                    <a:pt x="22078" y="30806"/>
                  </a:lnTo>
                  <a:lnTo>
                    <a:pt x="20473" y="30762"/>
                  </a:lnTo>
                  <a:lnTo>
                    <a:pt x="19185" y="31269"/>
                  </a:lnTo>
                  <a:lnTo>
                    <a:pt x="17858" y="30991"/>
                  </a:lnTo>
                  <a:lnTo>
                    <a:pt x="16751" y="29772"/>
                  </a:lnTo>
                  <a:lnTo>
                    <a:pt x="16687" y="28761"/>
                  </a:lnTo>
                  <a:lnTo>
                    <a:pt x="17342" y="27332"/>
                  </a:lnTo>
                  <a:lnTo>
                    <a:pt x="16962" y="26388"/>
                  </a:lnTo>
                  <a:lnTo>
                    <a:pt x="14850" y="23379"/>
                  </a:lnTo>
                  <a:lnTo>
                    <a:pt x="14863" y="22550"/>
                  </a:lnTo>
                  <a:lnTo>
                    <a:pt x="16393" y="21201"/>
                  </a:lnTo>
                  <a:lnTo>
                    <a:pt x="17264" y="20051"/>
                  </a:lnTo>
                  <a:lnTo>
                    <a:pt x="18452" y="17300"/>
                  </a:lnTo>
                  <a:lnTo>
                    <a:pt x="19397" y="16385"/>
                  </a:lnTo>
                  <a:lnTo>
                    <a:pt x="22338" y="16063"/>
                  </a:lnTo>
                  <a:lnTo>
                    <a:pt x="23086" y="15476"/>
                  </a:lnTo>
                  <a:lnTo>
                    <a:pt x="24587" y="14021"/>
                  </a:lnTo>
                  <a:lnTo>
                    <a:pt x="26815" y="12361"/>
                  </a:lnTo>
                  <a:lnTo>
                    <a:pt x="30038" y="11036"/>
                  </a:lnTo>
                  <a:lnTo>
                    <a:pt x="30960" y="8623"/>
                  </a:lnTo>
                  <a:lnTo>
                    <a:pt x="31532" y="7964"/>
                  </a:lnTo>
                  <a:lnTo>
                    <a:pt x="34092" y="6694"/>
                  </a:lnTo>
                  <a:lnTo>
                    <a:pt x="34538" y="6016"/>
                  </a:lnTo>
                  <a:lnTo>
                    <a:pt x="34477" y="5419"/>
                  </a:lnTo>
                  <a:lnTo>
                    <a:pt x="30367" y="0"/>
                  </a:lnTo>
                  <a:lnTo>
                    <a:pt x="31183" y="372"/>
                  </a:lnTo>
                  <a:lnTo>
                    <a:pt x="34369" y="3908"/>
                  </a:lnTo>
                  <a:lnTo>
                    <a:pt x="36133" y="4672"/>
                  </a:lnTo>
                  <a:lnTo>
                    <a:pt x="36505" y="4690"/>
                  </a:lnTo>
                  <a:lnTo>
                    <a:pt x="36519" y="3771"/>
                  </a:lnTo>
                  <a:lnTo>
                    <a:pt x="38137" y="4158"/>
                  </a:lnTo>
                  <a:lnTo>
                    <a:pt x="42321" y="6575"/>
                  </a:lnTo>
                  <a:lnTo>
                    <a:pt x="48439" y="10568"/>
                  </a:lnTo>
                  <a:lnTo>
                    <a:pt x="57033" y="18110"/>
                  </a:lnTo>
                  <a:lnTo>
                    <a:pt x="59476" y="20978"/>
                  </a:lnTo>
                  <a:lnTo>
                    <a:pt x="61123" y="22329"/>
                  </a:lnTo>
                  <a:lnTo>
                    <a:pt x="63677" y="25616"/>
                  </a:lnTo>
                  <a:lnTo>
                    <a:pt x="64425" y="27223"/>
                  </a:lnTo>
                  <a:lnTo>
                    <a:pt x="64352" y="33615"/>
                  </a:lnTo>
                  <a:lnTo>
                    <a:pt x="62089" y="37936"/>
                  </a:lnTo>
                  <a:lnTo>
                    <a:pt x="61536" y="41186"/>
                  </a:lnTo>
                  <a:lnTo>
                    <a:pt x="61413" y="45511"/>
                  </a:lnTo>
                  <a:lnTo>
                    <a:pt x="60098" y="47993"/>
                  </a:lnTo>
                  <a:lnTo>
                    <a:pt x="61844" y="46644"/>
                  </a:lnTo>
                  <a:lnTo>
                    <a:pt x="62386" y="42742"/>
                  </a:lnTo>
                  <a:lnTo>
                    <a:pt x="63872" y="40372"/>
                  </a:lnTo>
                  <a:lnTo>
                    <a:pt x="65802" y="37769"/>
                  </a:lnTo>
                  <a:lnTo>
                    <a:pt x="68380" y="37144"/>
                  </a:lnTo>
                  <a:lnTo>
                    <a:pt x="71157" y="38253"/>
                  </a:lnTo>
                  <a:lnTo>
                    <a:pt x="73391" y="38448"/>
                  </a:lnTo>
                  <a:lnTo>
                    <a:pt x="75364" y="39219"/>
                  </a:lnTo>
                  <a:lnTo>
                    <a:pt x="79559" y="43380"/>
                  </a:lnTo>
                  <a:lnTo>
                    <a:pt x="83656" y="46669"/>
                  </a:lnTo>
                  <a:lnTo>
                    <a:pt x="85147" y="49308"/>
                  </a:lnTo>
                  <a:lnTo>
                    <a:pt x="89492" y="50627"/>
                  </a:lnTo>
                  <a:lnTo>
                    <a:pt x="92059" y="52707"/>
                  </a:lnTo>
                  <a:lnTo>
                    <a:pt x="92884" y="54507"/>
                  </a:lnTo>
                  <a:lnTo>
                    <a:pt x="93393" y="59218"/>
                  </a:lnTo>
                  <a:lnTo>
                    <a:pt x="92552" y="66325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39" name="ee4p_HN_1_37365">
              <a:extLst>
                <a:ext uri="{FF2B5EF4-FFF2-40B4-BE49-F238E27FC236}">
                  <a16:creationId xmlns:a16="http://schemas.microsoft.com/office/drawing/2014/main" id="{D6F48B93-3BF7-4D41-B84A-61C4557106A4}"/>
                </a:ext>
              </a:extLst>
            </p:cNvPr>
            <p:cNvSpPr>
              <a:spLocks noChangeAspect="1"/>
            </p:cNvSpPr>
            <p:nvPr>
              <p:custDataLst>
                <p:tags r:id="rId393"/>
              </p:custDataLst>
            </p:nvPr>
          </p:nvSpPr>
          <p:spPr>
            <a:xfrm>
              <a:off x="4033161" y="4200484"/>
              <a:ext cx="172312" cy="103019"/>
            </a:xfrm>
            <a:custGeom>
              <a:avLst/>
              <a:gdLst>
                <a:gd name="connsiteX0" fmla="*/ 85628 w 157339"/>
                <a:gd name="connsiteY0" fmla="*/ 12747 h 91573"/>
                <a:gd name="connsiteX1" fmla="*/ 90741 w 157339"/>
                <a:gd name="connsiteY1" fmla="*/ 13302 h 91573"/>
                <a:gd name="connsiteX2" fmla="*/ 98355 w 157339"/>
                <a:gd name="connsiteY2" fmla="*/ 15989 h 91573"/>
                <a:gd name="connsiteX3" fmla="*/ 106470 w 157339"/>
                <a:gd name="connsiteY3" fmla="*/ 15504 h 91573"/>
                <a:gd name="connsiteX4" fmla="*/ 109397 w 157339"/>
                <a:gd name="connsiteY4" fmla="*/ 14052 h 91573"/>
                <a:gd name="connsiteX5" fmla="*/ 111286 w 157339"/>
                <a:gd name="connsiteY5" fmla="*/ 13639 h 91573"/>
                <a:gd name="connsiteX6" fmla="*/ 119594 w 157339"/>
                <a:gd name="connsiteY6" fmla="*/ 16403 h 91573"/>
                <a:gd name="connsiteX7" fmla="*/ 121785 w 157339"/>
                <a:gd name="connsiteY7" fmla="*/ 18523 h 91573"/>
                <a:gd name="connsiteX8" fmla="*/ 123494 w 157339"/>
                <a:gd name="connsiteY8" fmla="*/ 18732 h 91573"/>
                <a:gd name="connsiteX9" fmla="*/ 124819 w 157339"/>
                <a:gd name="connsiteY9" fmla="*/ 18248 h 91573"/>
                <a:gd name="connsiteX10" fmla="*/ 125175 w 157339"/>
                <a:gd name="connsiteY10" fmla="*/ 17809 h 91573"/>
                <a:gd name="connsiteX11" fmla="*/ 123542 w 157339"/>
                <a:gd name="connsiteY11" fmla="*/ 17347 h 91573"/>
                <a:gd name="connsiteX12" fmla="*/ 122801 w 157339"/>
                <a:gd name="connsiteY12" fmla="*/ 16684 h 91573"/>
                <a:gd name="connsiteX13" fmla="*/ 129348 w 157339"/>
                <a:gd name="connsiteY13" fmla="*/ 17988 h 91573"/>
                <a:gd name="connsiteX14" fmla="*/ 141669 w 157339"/>
                <a:gd name="connsiteY14" fmla="*/ 28007 h 91573"/>
                <a:gd name="connsiteX15" fmla="*/ 141928 w 157339"/>
                <a:gd name="connsiteY15" fmla="*/ 28821 h 91573"/>
                <a:gd name="connsiteX16" fmla="*/ 136666 w 157339"/>
                <a:gd name="connsiteY16" fmla="*/ 25858 h 91573"/>
                <a:gd name="connsiteX17" fmla="*/ 133878 w 157339"/>
                <a:gd name="connsiteY17" fmla="*/ 26085 h 91573"/>
                <a:gd name="connsiteX18" fmla="*/ 133154 w 157339"/>
                <a:gd name="connsiteY18" fmla="*/ 26564 h 91573"/>
                <a:gd name="connsiteX19" fmla="*/ 133310 w 157339"/>
                <a:gd name="connsiteY19" fmla="*/ 28181 h 91573"/>
                <a:gd name="connsiteX20" fmla="*/ 133566 w 157339"/>
                <a:gd name="connsiteY20" fmla="*/ 28939 h 91573"/>
                <a:gd name="connsiteX21" fmla="*/ 134760 w 157339"/>
                <a:gd name="connsiteY21" fmla="*/ 29025 h 91573"/>
                <a:gd name="connsiteX22" fmla="*/ 135642 w 157339"/>
                <a:gd name="connsiteY22" fmla="*/ 28589 h 91573"/>
                <a:gd name="connsiteX23" fmla="*/ 137816 w 157339"/>
                <a:gd name="connsiteY23" fmla="*/ 29118 h 91573"/>
                <a:gd name="connsiteX24" fmla="*/ 139257 w 157339"/>
                <a:gd name="connsiteY24" fmla="*/ 30189 h 91573"/>
                <a:gd name="connsiteX25" fmla="*/ 141005 w 157339"/>
                <a:gd name="connsiteY25" fmla="*/ 31837 h 91573"/>
                <a:gd name="connsiteX26" fmla="*/ 142051 w 157339"/>
                <a:gd name="connsiteY26" fmla="*/ 33625 h 91573"/>
                <a:gd name="connsiteX27" fmla="*/ 143179 w 157339"/>
                <a:gd name="connsiteY27" fmla="*/ 33653 h 91573"/>
                <a:gd name="connsiteX28" fmla="*/ 144289 w 157339"/>
                <a:gd name="connsiteY28" fmla="*/ 32576 h 91573"/>
                <a:gd name="connsiteX29" fmla="*/ 146382 w 157339"/>
                <a:gd name="connsiteY29" fmla="*/ 32447 h 91573"/>
                <a:gd name="connsiteX30" fmla="*/ 147743 w 157339"/>
                <a:gd name="connsiteY30" fmla="*/ 33650 h 91573"/>
                <a:gd name="connsiteX31" fmla="*/ 148707 w 157339"/>
                <a:gd name="connsiteY31" fmla="*/ 33579 h 91573"/>
                <a:gd name="connsiteX32" fmla="*/ 147359 w 157339"/>
                <a:gd name="connsiteY32" fmla="*/ 31714 h 91573"/>
                <a:gd name="connsiteX33" fmla="*/ 144189 w 157339"/>
                <a:gd name="connsiteY33" fmla="*/ 29860 h 91573"/>
                <a:gd name="connsiteX34" fmla="*/ 144943 w 157339"/>
                <a:gd name="connsiteY34" fmla="*/ 29783 h 91573"/>
                <a:gd name="connsiteX35" fmla="*/ 151971 w 157339"/>
                <a:gd name="connsiteY35" fmla="*/ 33114 h 91573"/>
                <a:gd name="connsiteX36" fmla="*/ 153957 w 157339"/>
                <a:gd name="connsiteY36" fmla="*/ 37293 h 91573"/>
                <a:gd name="connsiteX37" fmla="*/ 155613 w 157339"/>
                <a:gd name="connsiteY37" fmla="*/ 38242 h 91573"/>
                <a:gd name="connsiteX38" fmla="*/ 157339 w 157339"/>
                <a:gd name="connsiteY38" fmla="*/ 39519 h 91573"/>
                <a:gd name="connsiteX39" fmla="*/ 150809 w 157339"/>
                <a:gd name="connsiteY39" fmla="*/ 39129 h 91573"/>
                <a:gd name="connsiteX40" fmla="*/ 147728 w 157339"/>
                <a:gd name="connsiteY40" fmla="*/ 39935 h 91573"/>
                <a:gd name="connsiteX41" fmla="*/ 146379 w 157339"/>
                <a:gd name="connsiteY41" fmla="*/ 41734 h 91573"/>
                <a:gd name="connsiteX42" fmla="*/ 145219 w 157339"/>
                <a:gd name="connsiteY42" fmla="*/ 42541 h 91573"/>
                <a:gd name="connsiteX43" fmla="*/ 144253 w 157339"/>
                <a:gd name="connsiteY43" fmla="*/ 42357 h 91573"/>
                <a:gd name="connsiteX44" fmla="*/ 142292 w 157339"/>
                <a:gd name="connsiteY44" fmla="*/ 43064 h 91573"/>
                <a:gd name="connsiteX45" fmla="*/ 139341 w 157339"/>
                <a:gd name="connsiteY45" fmla="*/ 44664 h 91573"/>
                <a:gd name="connsiteX46" fmla="*/ 136680 w 157339"/>
                <a:gd name="connsiteY46" fmla="*/ 45271 h 91573"/>
                <a:gd name="connsiteX47" fmla="*/ 134307 w 157339"/>
                <a:gd name="connsiteY47" fmla="*/ 44882 h 91573"/>
                <a:gd name="connsiteX48" fmla="*/ 133619 w 157339"/>
                <a:gd name="connsiteY48" fmla="*/ 45275 h 91573"/>
                <a:gd name="connsiteX49" fmla="*/ 133433 w 157339"/>
                <a:gd name="connsiteY49" fmla="*/ 45800 h 91573"/>
                <a:gd name="connsiteX50" fmla="*/ 133076 w 157339"/>
                <a:gd name="connsiteY50" fmla="*/ 46308 h 91573"/>
                <a:gd name="connsiteX51" fmla="*/ 132154 w 157339"/>
                <a:gd name="connsiteY51" fmla="*/ 46583 h 91573"/>
                <a:gd name="connsiteX52" fmla="*/ 131099 w 157339"/>
                <a:gd name="connsiteY52" fmla="*/ 46438 h 91573"/>
                <a:gd name="connsiteX53" fmla="*/ 129911 w 157339"/>
                <a:gd name="connsiteY53" fmla="*/ 45873 h 91573"/>
                <a:gd name="connsiteX54" fmla="*/ 129284 w 157339"/>
                <a:gd name="connsiteY54" fmla="*/ 46115 h 91573"/>
                <a:gd name="connsiteX55" fmla="*/ 129216 w 157339"/>
                <a:gd name="connsiteY55" fmla="*/ 47160 h 91573"/>
                <a:gd name="connsiteX56" fmla="*/ 128574 w 157339"/>
                <a:gd name="connsiteY56" fmla="*/ 47439 h 91573"/>
                <a:gd name="connsiteX57" fmla="*/ 127360 w 157339"/>
                <a:gd name="connsiteY57" fmla="*/ 46947 h 91573"/>
                <a:gd name="connsiteX58" fmla="*/ 125995 w 157339"/>
                <a:gd name="connsiteY58" fmla="*/ 47326 h 91573"/>
                <a:gd name="connsiteX59" fmla="*/ 124475 w 157339"/>
                <a:gd name="connsiteY59" fmla="*/ 48570 h 91573"/>
                <a:gd name="connsiteX60" fmla="*/ 122344 w 157339"/>
                <a:gd name="connsiteY60" fmla="*/ 48837 h 91573"/>
                <a:gd name="connsiteX61" fmla="*/ 119598 w 157339"/>
                <a:gd name="connsiteY61" fmla="*/ 48120 h 91573"/>
                <a:gd name="connsiteX62" fmla="*/ 117472 w 157339"/>
                <a:gd name="connsiteY62" fmla="*/ 46765 h 91573"/>
                <a:gd name="connsiteX63" fmla="*/ 115967 w 157339"/>
                <a:gd name="connsiteY63" fmla="*/ 44771 h 91573"/>
                <a:gd name="connsiteX64" fmla="*/ 114158 w 157339"/>
                <a:gd name="connsiteY64" fmla="*/ 44268 h 91573"/>
                <a:gd name="connsiteX65" fmla="*/ 110997 w 157339"/>
                <a:gd name="connsiteY65" fmla="*/ 45753 h 91573"/>
                <a:gd name="connsiteX66" fmla="*/ 109673 w 157339"/>
                <a:gd name="connsiteY66" fmla="*/ 47486 h 91573"/>
                <a:gd name="connsiteX67" fmla="*/ 109387 w 157339"/>
                <a:gd name="connsiteY67" fmla="*/ 48543 h 91573"/>
                <a:gd name="connsiteX68" fmla="*/ 109694 w 157339"/>
                <a:gd name="connsiteY68" fmla="*/ 49503 h 91573"/>
                <a:gd name="connsiteX69" fmla="*/ 109115 w 157339"/>
                <a:gd name="connsiteY69" fmla="*/ 50143 h 91573"/>
                <a:gd name="connsiteX70" fmla="*/ 107646 w 157339"/>
                <a:gd name="connsiteY70" fmla="*/ 50463 h 91573"/>
                <a:gd name="connsiteX71" fmla="*/ 106529 w 157339"/>
                <a:gd name="connsiteY71" fmla="*/ 51640 h 91573"/>
                <a:gd name="connsiteX72" fmla="*/ 105764 w 157339"/>
                <a:gd name="connsiteY72" fmla="*/ 53672 h 91573"/>
                <a:gd name="connsiteX73" fmla="*/ 105611 w 157339"/>
                <a:gd name="connsiteY73" fmla="*/ 55241 h 91573"/>
                <a:gd name="connsiteX74" fmla="*/ 106069 w 157339"/>
                <a:gd name="connsiteY74" fmla="*/ 56346 h 91573"/>
                <a:gd name="connsiteX75" fmla="*/ 105337 w 157339"/>
                <a:gd name="connsiteY75" fmla="*/ 57160 h 91573"/>
                <a:gd name="connsiteX76" fmla="*/ 103415 w 157339"/>
                <a:gd name="connsiteY76" fmla="*/ 57682 h 91573"/>
                <a:gd name="connsiteX77" fmla="*/ 101143 w 157339"/>
                <a:gd name="connsiteY77" fmla="*/ 59435 h 91573"/>
                <a:gd name="connsiteX78" fmla="*/ 98524 w 157339"/>
                <a:gd name="connsiteY78" fmla="*/ 62414 h 91573"/>
                <a:gd name="connsiteX79" fmla="*/ 95919 w 157339"/>
                <a:gd name="connsiteY79" fmla="*/ 64494 h 91573"/>
                <a:gd name="connsiteX80" fmla="*/ 93329 w 157339"/>
                <a:gd name="connsiteY80" fmla="*/ 65674 h 91573"/>
                <a:gd name="connsiteX81" fmla="*/ 92079 w 157339"/>
                <a:gd name="connsiteY81" fmla="*/ 66985 h 91573"/>
                <a:gd name="connsiteX82" fmla="*/ 92168 w 157339"/>
                <a:gd name="connsiteY82" fmla="*/ 68426 h 91573"/>
                <a:gd name="connsiteX83" fmla="*/ 92011 w 157339"/>
                <a:gd name="connsiteY83" fmla="*/ 68876 h 91573"/>
                <a:gd name="connsiteX84" fmla="*/ 91516 w 157339"/>
                <a:gd name="connsiteY84" fmla="*/ 69047 h 91573"/>
                <a:gd name="connsiteX85" fmla="*/ 90671 w 157339"/>
                <a:gd name="connsiteY85" fmla="*/ 69244 h 91573"/>
                <a:gd name="connsiteX86" fmla="*/ 85675 w 157339"/>
                <a:gd name="connsiteY86" fmla="*/ 66111 h 91573"/>
                <a:gd name="connsiteX87" fmla="*/ 84240 w 157339"/>
                <a:gd name="connsiteY87" fmla="*/ 63928 h 91573"/>
                <a:gd name="connsiteX88" fmla="*/ 83001 w 157339"/>
                <a:gd name="connsiteY88" fmla="*/ 64262 h 91573"/>
                <a:gd name="connsiteX89" fmla="*/ 81430 w 157339"/>
                <a:gd name="connsiteY89" fmla="*/ 65364 h 91573"/>
                <a:gd name="connsiteX90" fmla="*/ 79224 w 157339"/>
                <a:gd name="connsiteY90" fmla="*/ 67822 h 91573"/>
                <a:gd name="connsiteX91" fmla="*/ 76852 w 157339"/>
                <a:gd name="connsiteY91" fmla="*/ 71166 h 91573"/>
                <a:gd name="connsiteX92" fmla="*/ 75705 w 157339"/>
                <a:gd name="connsiteY92" fmla="*/ 71538 h 91573"/>
                <a:gd name="connsiteX93" fmla="*/ 69789 w 157339"/>
                <a:gd name="connsiteY93" fmla="*/ 71042 h 91573"/>
                <a:gd name="connsiteX94" fmla="*/ 66661 w 157339"/>
                <a:gd name="connsiteY94" fmla="*/ 71336 h 91573"/>
                <a:gd name="connsiteX95" fmla="*/ 66019 w 157339"/>
                <a:gd name="connsiteY95" fmla="*/ 71784 h 91573"/>
                <a:gd name="connsiteX96" fmla="*/ 65724 w 157339"/>
                <a:gd name="connsiteY96" fmla="*/ 73008 h 91573"/>
                <a:gd name="connsiteX97" fmla="*/ 65903 w 157339"/>
                <a:gd name="connsiteY97" fmla="*/ 74647 h 91573"/>
                <a:gd name="connsiteX98" fmla="*/ 66764 w 157339"/>
                <a:gd name="connsiteY98" fmla="*/ 80534 h 91573"/>
                <a:gd name="connsiteX99" fmla="*/ 67244 w 157339"/>
                <a:gd name="connsiteY99" fmla="*/ 82955 h 91573"/>
                <a:gd name="connsiteX100" fmla="*/ 66771 w 157339"/>
                <a:gd name="connsiteY100" fmla="*/ 83704 h 91573"/>
                <a:gd name="connsiteX101" fmla="*/ 65179 w 157339"/>
                <a:gd name="connsiteY101" fmla="*/ 83822 h 91573"/>
                <a:gd name="connsiteX102" fmla="*/ 63114 w 157339"/>
                <a:gd name="connsiteY102" fmla="*/ 84165 h 91573"/>
                <a:gd name="connsiteX103" fmla="*/ 61981 w 157339"/>
                <a:gd name="connsiteY103" fmla="*/ 85272 h 91573"/>
                <a:gd name="connsiteX104" fmla="*/ 61713 w 157339"/>
                <a:gd name="connsiteY104" fmla="*/ 86412 h 91573"/>
                <a:gd name="connsiteX105" fmla="*/ 61602 w 157339"/>
                <a:gd name="connsiteY105" fmla="*/ 88008 h 91573"/>
                <a:gd name="connsiteX106" fmla="*/ 60951 w 157339"/>
                <a:gd name="connsiteY106" fmla="*/ 89653 h 91573"/>
                <a:gd name="connsiteX107" fmla="*/ 59671 w 157339"/>
                <a:gd name="connsiteY107" fmla="*/ 90837 h 91573"/>
                <a:gd name="connsiteX108" fmla="*/ 58407 w 157339"/>
                <a:gd name="connsiteY108" fmla="*/ 91258 h 91573"/>
                <a:gd name="connsiteX109" fmla="*/ 51356 w 157339"/>
                <a:gd name="connsiteY109" fmla="*/ 91573 h 91573"/>
                <a:gd name="connsiteX110" fmla="*/ 51476 w 157339"/>
                <a:gd name="connsiteY110" fmla="*/ 88854 h 91573"/>
                <a:gd name="connsiteX111" fmla="*/ 49441 w 157339"/>
                <a:gd name="connsiteY111" fmla="*/ 87752 h 91573"/>
                <a:gd name="connsiteX112" fmla="*/ 48283 w 157339"/>
                <a:gd name="connsiteY112" fmla="*/ 85483 h 91573"/>
                <a:gd name="connsiteX113" fmla="*/ 47270 w 157339"/>
                <a:gd name="connsiteY113" fmla="*/ 83949 h 91573"/>
                <a:gd name="connsiteX114" fmla="*/ 47606 w 157339"/>
                <a:gd name="connsiteY114" fmla="*/ 83028 h 91573"/>
                <a:gd name="connsiteX115" fmla="*/ 47505 w 157339"/>
                <a:gd name="connsiteY115" fmla="*/ 81935 h 91573"/>
                <a:gd name="connsiteX116" fmla="*/ 44636 w 157339"/>
                <a:gd name="connsiteY116" fmla="*/ 81092 h 91573"/>
                <a:gd name="connsiteX117" fmla="*/ 41946 w 157339"/>
                <a:gd name="connsiteY117" fmla="*/ 81751 h 91573"/>
                <a:gd name="connsiteX118" fmla="*/ 40399 w 157339"/>
                <a:gd name="connsiteY118" fmla="*/ 81323 h 91573"/>
                <a:gd name="connsiteX119" fmla="*/ 39262 w 157339"/>
                <a:gd name="connsiteY119" fmla="*/ 80742 h 91573"/>
                <a:gd name="connsiteX120" fmla="*/ 41219 w 157339"/>
                <a:gd name="connsiteY120" fmla="*/ 79395 h 91573"/>
                <a:gd name="connsiteX121" fmla="*/ 41355 w 157339"/>
                <a:gd name="connsiteY121" fmla="*/ 78576 h 91573"/>
                <a:gd name="connsiteX122" fmla="*/ 40727 w 157339"/>
                <a:gd name="connsiteY122" fmla="*/ 77984 h 91573"/>
                <a:gd name="connsiteX123" fmla="*/ 40081 w 157339"/>
                <a:gd name="connsiteY123" fmla="*/ 77588 h 91573"/>
                <a:gd name="connsiteX124" fmla="*/ 40276 w 157339"/>
                <a:gd name="connsiteY124" fmla="*/ 76066 h 91573"/>
                <a:gd name="connsiteX125" fmla="*/ 40673 w 157339"/>
                <a:gd name="connsiteY125" fmla="*/ 74268 h 91573"/>
                <a:gd name="connsiteX126" fmla="*/ 41769 w 157339"/>
                <a:gd name="connsiteY126" fmla="*/ 70064 h 91573"/>
                <a:gd name="connsiteX127" fmla="*/ 41361 w 157339"/>
                <a:gd name="connsiteY127" fmla="*/ 69331 h 91573"/>
                <a:gd name="connsiteX128" fmla="*/ 39565 w 157339"/>
                <a:gd name="connsiteY128" fmla="*/ 68068 h 91573"/>
                <a:gd name="connsiteX129" fmla="*/ 37290 w 157339"/>
                <a:gd name="connsiteY129" fmla="*/ 67938 h 91573"/>
                <a:gd name="connsiteX130" fmla="*/ 34779 w 157339"/>
                <a:gd name="connsiteY130" fmla="*/ 68335 h 91573"/>
                <a:gd name="connsiteX131" fmla="*/ 33569 w 157339"/>
                <a:gd name="connsiteY131" fmla="*/ 67689 h 91573"/>
                <a:gd name="connsiteX132" fmla="*/ 32511 w 157339"/>
                <a:gd name="connsiteY132" fmla="*/ 66242 h 91573"/>
                <a:gd name="connsiteX133" fmla="*/ 30722 w 157339"/>
                <a:gd name="connsiteY133" fmla="*/ 65550 h 91573"/>
                <a:gd name="connsiteX134" fmla="*/ 27548 w 157339"/>
                <a:gd name="connsiteY134" fmla="*/ 66705 h 91573"/>
                <a:gd name="connsiteX135" fmla="*/ 24194 w 157339"/>
                <a:gd name="connsiteY135" fmla="*/ 68444 h 91573"/>
                <a:gd name="connsiteX136" fmla="*/ 23163 w 157339"/>
                <a:gd name="connsiteY136" fmla="*/ 69076 h 91573"/>
                <a:gd name="connsiteX137" fmla="*/ 22312 w 157339"/>
                <a:gd name="connsiteY137" fmla="*/ 68991 h 91573"/>
                <a:gd name="connsiteX138" fmla="*/ 21932 w 157339"/>
                <a:gd name="connsiteY138" fmla="*/ 67690 h 91573"/>
                <a:gd name="connsiteX139" fmla="*/ 21763 w 157339"/>
                <a:gd name="connsiteY139" fmla="*/ 66149 h 91573"/>
                <a:gd name="connsiteX140" fmla="*/ 21555 w 157339"/>
                <a:gd name="connsiteY140" fmla="*/ 65767 h 91573"/>
                <a:gd name="connsiteX141" fmla="*/ 19765 w 157339"/>
                <a:gd name="connsiteY141" fmla="*/ 65220 h 91573"/>
                <a:gd name="connsiteX142" fmla="*/ 17673 w 157339"/>
                <a:gd name="connsiteY142" fmla="*/ 64822 h 91573"/>
                <a:gd name="connsiteX143" fmla="*/ 16608 w 157339"/>
                <a:gd name="connsiteY143" fmla="*/ 64395 h 91573"/>
                <a:gd name="connsiteX144" fmla="*/ 15601 w 157339"/>
                <a:gd name="connsiteY144" fmla="*/ 63356 h 91573"/>
                <a:gd name="connsiteX145" fmla="*/ 13102 w 157339"/>
                <a:gd name="connsiteY145" fmla="*/ 61998 h 91573"/>
                <a:gd name="connsiteX146" fmla="*/ 12534 w 157339"/>
                <a:gd name="connsiteY146" fmla="*/ 60992 h 91573"/>
                <a:gd name="connsiteX147" fmla="*/ 9190 w 157339"/>
                <a:gd name="connsiteY147" fmla="*/ 58688 h 91573"/>
                <a:gd name="connsiteX148" fmla="*/ 8513 w 157339"/>
                <a:gd name="connsiteY148" fmla="*/ 57544 h 91573"/>
                <a:gd name="connsiteX149" fmla="*/ 7746 w 157339"/>
                <a:gd name="connsiteY149" fmla="*/ 56712 h 91573"/>
                <a:gd name="connsiteX150" fmla="*/ 6139 w 157339"/>
                <a:gd name="connsiteY150" fmla="*/ 55650 h 91573"/>
                <a:gd name="connsiteX151" fmla="*/ 4881 w 157339"/>
                <a:gd name="connsiteY151" fmla="*/ 55905 h 91573"/>
                <a:gd name="connsiteX152" fmla="*/ 644 w 157339"/>
                <a:gd name="connsiteY152" fmla="*/ 54584 h 91573"/>
                <a:gd name="connsiteX153" fmla="*/ 0 w 157339"/>
                <a:gd name="connsiteY153" fmla="*/ 54464 h 91573"/>
                <a:gd name="connsiteX154" fmla="*/ 589 w 157339"/>
                <a:gd name="connsiteY154" fmla="*/ 53307 h 91573"/>
                <a:gd name="connsiteX155" fmla="*/ 1924 w 157339"/>
                <a:gd name="connsiteY155" fmla="*/ 51515 h 91573"/>
                <a:gd name="connsiteX156" fmla="*/ 4839 w 157339"/>
                <a:gd name="connsiteY156" fmla="*/ 49524 h 91573"/>
                <a:gd name="connsiteX157" fmla="*/ 5081 w 157339"/>
                <a:gd name="connsiteY157" fmla="*/ 47909 h 91573"/>
                <a:gd name="connsiteX158" fmla="*/ 4320 w 157339"/>
                <a:gd name="connsiteY158" fmla="*/ 44814 h 91573"/>
                <a:gd name="connsiteX159" fmla="*/ 3556 w 157339"/>
                <a:gd name="connsiteY159" fmla="*/ 42810 h 91573"/>
                <a:gd name="connsiteX160" fmla="*/ 3969 w 157339"/>
                <a:gd name="connsiteY160" fmla="*/ 41915 h 91573"/>
                <a:gd name="connsiteX161" fmla="*/ 4876 w 157339"/>
                <a:gd name="connsiteY161" fmla="*/ 38304 h 91573"/>
                <a:gd name="connsiteX162" fmla="*/ 5579 w 157339"/>
                <a:gd name="connsiteY162" fmla="*/ 37464 h 91573"/>
                <a:gd name="connsiteX163" fmla="*/ 9793 w 157339"/>
                <a:gd name="connsiteY163" fmla="*/ 35639 h 91573"/>
                <a:gd name="connsiteX164" fmla="*/ 10184 w 157339"/>
                <a:gd name="connsiteY164" fmla="*/ 35386 h 91573"/>
                <a:gd name="connsiteX165" fmla="*/ 13507 w 157339"/>
                <a:gd name="connsiteY165" fmla="*/ 32829 h 91573"/>
                <a:gd name="connsiteX166" fmla="*/ 17195 w 157339"/>
                <a:gd name="connsiteY166" fmla="*/ 29988 h 91573"/>
                <a:gd name="connsiteX167" fmla="*/ 21029 w 157339"/>
                <a:gd name="connsiteY167" fmla="*/ 26855 h 91573"/>
                <a:gd name="connsiteX168" fmla="*/ 25307 w 157339"/>
                <a:gd name="connsiteY168" fmla="*/ 23354 h 91573"/>
                <a:gd name="connsiteX169" fmla="*/ 27668 w 157339"/>
                <a:gd name="connsiteY169" fmla="*/ 21306 h 91573"/>
                <a:gd name="connsiteX170" fmla="*/ 28762 w 157339"/>
                <a:gd name="connsiteY170" fmla="*/ 20420 h 91573"/>
                <a:gd name="connsiteX171" fmla="*/ 31227 w 157339"/>
                <a:gd name="connsiteY171" fmla="*/ 21146 h 91573"/>
                <a:gd name="connsiteX172" fmla="*/ 33167 w 157339"/>
                <a:gd name="connsiteY172" fmla="*/ 19489 h 91573"/>
                <a:gd name="connsiteX173" fmla="*/ 34287 w 157339"/>
                <a:gd name="connsiteY173" fmla="*/ 18934 h 91573"/>
                <a:gd name="connsiteX174" fmla="*/ 36909 w 157339"/>
                <a:gd name="connsiteY174" fmla="*/ 16948 h 91573"/>
                <a:gd name="connsiteX175" fmla="*/ 37722 w 157339"/>
                <a:gd name="connsiteY175" fmla="*/ 16513 h 91573"/>
                <a:gd name="connsiteX176" fmla="*/ 42111 w 157339"/>
                <a:gd name="connsiteY176" fmla="*/ 15699 h 91573"/>
                <a:gd name="connsiteX177" fmla="*/ 44233 w 157339"/>
                <a:gd name="connsiteY177" fmla="*/ 15719 h 91573"/>
                <a:gd name="connsiteX178" fmla="*/ 46089 w 157339"/>
                <a:gd name="connsiteY178" fmla="*/ 17733 h 91573"/>
                <a:gd name="connsiteX179" fmla="*/ 47562 w 157339"/>
                <a:gd name="connsiteY179" fmla="*/ 18829 h 91573"/>
                <a:gd name="connsiteX180" fmla="*/ 50335 w 157339"/>
                <a:gd name="connsiteY180" fmla="*/ 17887 h 91573"/>
                <a:gd name="connsiteX181" fmla="*/ 52659 w 157339"/>
                <a:gd name="connsiteY181" fmla="*/ 17680 h 91573"/>
                <a:gd name="connsiteX182" fmla="*/ 62260 w 157339"/>
                <a:gd name="connsiteY182" fmla="*/ 19553 h 91573"/>
                <a:gd name="connsiteX183" fmla="*/ 66068 w 157339"/>
                <a:gd name="connsiteY183" fmla="*/ 18725 h 91573"/>
                <a:gd name="connsiteX184" fmla="*/ 73073 w 157339"/>
                <a:gd name="connsiteY184" fmla="*/ 18547 h 91573"/>
                <a:gd name="connsiteX185" fmla="*/ 76220 w 157339"/>
                <a:gd name="connsiteY185" fmla="*/ 19012 h 91573"/>
                <a:gd name="connsiteX186" fmla="*/ 80670 w 157339"/>
                <a:gd name="connsiteY186" fmla="*/ 16362 h 91573"/>
                <a:gd name="connsiteX187" fmla="*/ 83526 w 157339"/>
                <a:gd name="connsiteY187" fmla="*/ 15828 h 91573"/>
                <a:gd name="connsiteX188" fmla="*/ 86880 w 157339"/>
                <a:gd name="connsiteY188" fmla="*/ 14588 h 91573"/>
                <a:gd name="connsiteX189" fmla="*/ 86433 w 157339"/>
                <a:gd name="connsiteY189" fmla="*/ 13317 h 91573"/>
                <a:gd name="connsiteX190" fmla="*/ 76697 w 157339"/>
                <a:gd name="connsiteY190" fmla="*/ 1947 h 91573"/>
                <a:gd name="connsiteX191" fmla="*/ 78784 w 157339"/>
                <a:gd name="connsiteY191" fmla="*/ 2232 h 91573"/>
                <a:gd name="connsiteX192" fmla="*/ 74616 w 157339"/>
                <a:gd name="connsiteY192" fmla="*/ 3530 h 91573"/>
                <a:gd name="connsiteX193" fmla="*/ 70550 w 157339"/>
                <a:gd name="connsiteY193" fmla="*/ 5565 h 91573"/>
                <a:gd name="connsiteX194" fmla="*/ 69279 w 157339"/>
                <a:gd name="connsiteY194" fmla="*/ 5525 h 91573"/>
                <a:gd name="connsiteX195" fmla="*/ 71143 w 157339"/>
                <a:gd name="connsiteY195" fmla="*/ 3954 h 91573"/>
                <a:gd name="connsiteX196" fmla="*/ 74150 w 157339"/>
                <a:gd name="connsiteY196" fmla="*/ 2606 h 91573"/>
                <a:gd name="connsiteX197" fmla="*/ 88352 w 157339"/>
                <a:gd name="connsiteY197" fmla="*/ 0 h 91573"/>
                <a:gd name="connsiteX198" fmla="*/ 89479 w 157339"/>
                <a:gd name="connsiteY198" fmla="*/ 80 h 91573"/>
                <a:gd name="connsiteX199" fmla="*/ 89208 w 157339"/>
                <a:gd name="connsiteY199" fmla="*/ 683 h 91573"/>
                <a:gd name="connsiteX200" fmla="*/ 88536 w 157339"/>
                <a:gd name="connsiteY200" fmla="*/ 1366 h 91573"/>
                <a:gd name="connsiteX201" fmla="*/ 86602 w 157339"/>
                <a:gd name="connsiteY201" fmla="*/ 2874 h 91573"/>
                <a:gd name="connsiteX202" fmla="*/ 86253 w 157339"/>
                <a:gd name="connsiteY202" fmla="*/ 2195 h 91573"/>
                <a:gd name="connsiteX203" fmla="*/ 87186 w 157339"/>
                <a:gd name="connsiteY203" fmla="*/ 799 h 91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</a:cxnLst>
              <a:rect l="l" t="t" r="r" b="b"/>
              <a:pathLst>
                <a:path w="157339" h="91573">
                  <a:moveTo>
                    <a:pt x="85628" y="12747"/>
                  </a:moveTo>
                  <a:lnTo>
                    <a:pt x="90741" y="13302"/>
                  </a:lnTo>
                  <a:lnTo>
                    <a:pt x="98355" y="15989"/>
                  </a:lnTo>
                  <a:lnTo>
                    <a:pt x="106470" y="15504"/>
                  </a:lnTo>
                  <a:lnTo>
                    <a:pt x="109397" y="14052"/>
                  </a:lnTo>
                  <a:lnTo>
                    <a:pt x="111286" y="13639"/>
                  </a:lnTo>
                  <a:lnTo>
                    <a:pt x="119594" y="16403"/>
                  </a:lnTo>
                  <a:lnTo>
                    <a:pt x="121785" y="18523"/>
                  </a:lnTo>
                  <a:lnTo>
                    <a:pt x="123494" y="18732"/>
                  </a:lnTo>
                  <a:lnTo>
                    <a:pt x="124819" y="18248"/>
                  </a:lnTo>
                  <a:lnTo>
                    <a:pt x="125175" y="17809"/>
                  </a:lnTo>
                  <a:lnTo>
                    <a:pt x="123542" y="17347"/>
                  </a:lnTo>
                  <a:lnTo>
                    <a:pt x="122801" y="16684"/>
                  </a:lnTo>
                  <a:lnTo>
                    <a:pt x="129348" y="17988"/>
                  </a:lnTo>
                  <a:lnTo>
                    <a:pt x="141669" y="28007"/>
                  </a:lnTo>
                  <a:lnTo>
                    <a:pt x="141928" y="28821"/>
                  </a:lnTo>
                  <a:lnTo>
                    <a:pt x="136666" y="25858"/>
                  </a:lnTo>
                  <a:lnTo>
                    <a:pt x="133878" y="26085"/>
                  </a:lnTo>
                  <a:lnTo>
                    <a:pt x="133154" y="26564"/>
                  </a:lnTo>
                  <a:lnTo>
                    <a:pt x="133310" y="28181"/>
                  </a:lnTo>
                  <a:lnTo>
                    <a:pt x="133566" y="28939"/>
                  </a:lnTo>
                  <a:lnTo>
                    <a:pt x="134760" y="29025"/>
                  </a:lnTo>
                  <a:lnTo>
                    <a:pt x="135642" y="28589"/>
                  </a:lnTo>
                  <a:lnTo>
                    <a:pt x="137816" y="29118"/>
                  </a:lnTo>
                  <a:lnTo>
                    <a:pt x="139257" y="30189"/>
                  </a:lnTo>
                  <a:lnTo>
                    <a:pt x="141005" y="31837"/>
                  </a:lnTo>
                  <a:lnTo>
                    <a:pt x="142051" y="33625"/>
                  </a:lnTo>
                  <a:lnTo>
                    <a:pt x="143179" y="33653"/>
                  </a:lnTo>
                  <a:lnTo>
                    <a:pt x="144289" y="32576"/>
                  </a:lnTo>
                  <a:lnTo>
                    <a:pt x="146382" y="32447"/>
                  </a:lnTo>
                  <a:lnTo>
                    <a:pt x="147743" y="33650"/>
                  </a:lnTo>
                  <a:lnTo>
                    <a:pt x="148707" y="33579"/>
                  </a:lnTo>
                  <a:lnTo>
                    <a:pt x="147359" y="31714"/>
                  </a:lnTo>
                  <a:lnTo>
                    <a:pt x="144189" y="29860"/>
                  </a:lnTo>
                  <a:lnTo>
                    <a:pt x="144943" y="29783"/>
                  </a:lnTo>
                  <a:lnTo>
                    <a:pt x="151971" y="33114"/>
                  </a:lnTo>
                  <a:lnTo>
                    <a:pt x="153957" y="37293"/>
                  </a:lnTo>
                  <a:lnTo>
                    <a:pt x="155613" y="38242"/>
                  </a:lnTo>
                  <a:lnTo>
                    <a:pt x="157339" y="39519"/>
                  </a:lnTo>
                  <a:lnTo>
                    <a:pt x="150809" y="39129"/>
                  </a:lnTo>
                  <a:lnTo>
                    <a:pt x="147728" y="39935"/>
                  </a:lnTo>
                  <a:lnTo>
                    <a:pt x="146379" y="41734"/>
                  </a:lnTo>
                  <a:lnTo>
                    <a:pt x="145219" y="42541"/>
                  </a:lnTo>
                  <a:lnTo>
                    <a:pt x="144253" y="42357"/>
                  </a:lnTo>
                  <a:lnTo>
                    <a:pt x="142292" y="43064"/>
                  </a:lnTo>
                  <a:lnTo>
                    <a:pt x="139341" y="44664"/>
                  </a:lnTo>
                  <a:lnTo>
                    <a:pt x="136680" y="45271"/>
                  </a:lnTo>
                  <a:lnTo>
                    <a:pt x="134307" y="44882"/>
                  </a:lnTo>
                  <a:lnTo>
                    <a:pt x="133619" y="45275"/>
                  </a:lnTo>
                  <a:lnTo>
                    <a:pt x="133433" y="45800"/>
                  </a:lnTo>
                  <a:lnTo>
                    <a:pt x="133076" y="46308"/>
                  </a:lnTo>
                  <a:lnTo>
                    <a:pt x="132154" y="46583"/>
                  </a:lnTo>
                  <a:lnTo>
                    <a:pt x="131099" y="46438"/>
                  </a:lnTo>
                  <a:lnTo>
                    <a:pt x="129911" y="45873"/>
                  </a:lnTo>
                  <a:lnTo>
                    <a:pt x="129284" y="46115"/>
                  </a:lnTo>
                  <a:lnTo>
                    <a:pt x="129216" y="47160"/>
                  </a:lnTo>
                  <a:lnTo>
                    <a:pt x="128574" y="47439"/>
                  </a:lnTo>
                  <a:lnTo>
                    <a:pt x="127360" y="46947"/>
                  </a:lnTo>
                  <a:lnTo>
                    <a:pt x="125995" y="47326"/>
                  </a:lnTo>
                  <a:lnTo>
                    <a:pt x="124475" y="48570"/>
                  </a:lnTo>
                  <a:lnTo>
                    <a:pt x="122344" y="48837"/>
                  </a:lnTo>
                  <a:lnTo>
                    <a:pt x="119598" y="48120"/>
                  </a:lnTo>
                  <a:lnTo>
                    <a:pt x="117472" y="46765"/>
                  </a:lnTo>
                  <a:lnTo>
                    <a:pt x="115967" y="44771"/>
                  </a:lnTo>
                  <a:lnTo>
                    <a:pt x="114158" y="44268"/>
                  </a:lnTo>
                  <a:lnTo>
                    <a:pt x="110997" y="45753"/>
                  </a:lnTo>
                  <a:lnTo>
                    <a:pt x="109673" y="47486"/>
                  </a:lnTo>
                  <a:lnTo>
                    <a:pt x="109387" y="48543"/>
                  </a:lnTo>
                  <a:lnTo>
                    <a:pt x="109694" y="49503"/>
                  </a:lnTo>
                  <a:lnTo>
                    <a:pt x="109115" y="50143"/>
                  </a:lnTo>
                  <a:lnTo>
                    <a:pt x="107646" y="50463"/>
                  </a:lnTo>
                  <a:lnTo>
                    <a:pt x="106529" y="51640"/>
                  </a:lnTo>
                  <a:lnTo>
                    <a:pt x="105764" y="53672"/>
                  </a:lnTo>
                  <a:lnTo>
                    <a:pt x="105611" y="55241"/>
                  </a:lnTo>
                  <a:lnTo>
                    <a:pt x="106069" y="56346"/>
                  </a:lnTo>
                  <a:lnTo>
                    <a:pt x="105337" y="57160"/>
                  </a:lnTo>
                  <a:lnTo>
                    <a:pt x="103415" y="57682"/>
                  </a:lnTo>
                  <a:lnTo>
                    <a:pt x="101143" y="59435"/>
                  </a:lnTo>
                  <a:lnTo>
                    <a:pt x="98524" y="62414"/>
                  </a:lnTo>
                  <a:lnTo>
                    <a:pt x="95919" y="64494"/>
                  </a:lnTo>
                  <a:lnTo>
                    <a:pt x="93329" y="65674"/>
                  </a:lnTo>
                  <a:lnTo>
                    <a:pt x="92079" y="66985"/>
                  </a:lnTo>
                  <a:lnTo>
                    <a:pt x="92168" y="68426"/>
                  </a:lnTo>
                  <a:lnTo>
                    <a:pt x="92011" y="68876"/>
                  </a:lnTo>
                  <a:lnTo>
                    <a:pt x="91516" y="69047"/>
                  </a:lnTo>
                  <a:lnTo>
                    <a:pt x="90671" y="69244"/>
                  </a:lnTo>
                  <a:lnTo>
                    <a:pt x="85675" y="66111"/>
                  </a:lnTo>
                  <a:lnTo>
                    <a:pt x="84240" y="63928"/>
                  </a:lnTo>
                  <a:lnTo>
                    <a:pt x="83001" y="64262"/>
                  </a:lnTo>
                  <a:lnTo>
                    <a:pt x="81430" y="65364"/>
                  </a:lnTo>
                  <a:lnTo>
                    <a:pt x="79224" y="67822"/>
                  </a:lnTo>
                  <a:lnTo>
                    <a:pt x="76852" y="71166"/>
                  </a:lnTo>
                  <a:lnTo>
                    <a:pt x="75705" y="71538"/>
                  </a:lnTo>
                  <a:lnTo>
                    <a:pt x="69789" y="71042"/>
                  </a:lnTo>
                  <a:lnTo>
                    <a:pt x="66661" y="71336"/>
                  </a:lnTo>
                  <a:lnTo>
                    <a:pt x="66019" y="71784"/>
                  </a:lnTo>
                  <a:lnTo>
                    <a:pt x="65724" y="73008"/>
                  </a:lnTo>
                  <a:lnTo>
                    <a:pt x="65903" y="74647"/>
                  </a:lnTo>
                  <a:lnTo>
                    <a:pt x="66764" y="80534"/>
                  </a:lnTo>
                  <a:lnTo>
                    <a:pt x="67244" y="82955"/>
                  </a:lnTo>
                  <a:lnTo>
                    <a:pt x="66771" y="83704"/>
                  </a:lnTo>
                  <a:lnTo>
                    <a:pt x="65179" y="83822"/>
                  </a:lnTo>
                  <a:lnTo>
                    <a:pt x="63114" y="84165"/>
                  </a:lnTo>
                  <a:lnTo>
                    <a:pt x="61981" y="85272"/>
                  </a:lnTo>
                  <a:lnTo>
                    <a:pt x="61713" y="86412"/>
                  </a:lnTo>
                  <a:lnTo>
                    <a:pt x="61602" y="88008"/>
                  </a:lnTo>
                  <a:lnTo>
                    <a:pt x="60951" y="89653"/>
                  </a:lnTo>
                  <a:lnTo>
                    <a:pt x="59671" y="90837"/>
                  </a:lnTo>
                  <a:lnTo>
                    <a:pt x="58407" y="91258"/>
                  </a:lnTo>
                  <a:lnTo>
                    <a:pt x="51356" y="91573"/>
                  </a:lnTo>
                  <a:lnTo>
                    <a:pt x="51476" y="88854"/>
                  </a:lnTo>
                  <a:lnTo>
                    <a:pt x="49441" y="87752"/>
                  </a:lnTo>
                  <a:lnTo>
                    <a:pt x="48283" y="85483"/>
                  </a:lnTo>
                  <a:lnTo>
                    <a:pt x="47270" y="83949"/>
                  </a:lnTo>
                  <a:lnTo>
                    <a:pt x="47606" y="83028"/>
                  </a:lnTo>
                  <a:lnTo>
                    <a:pt x="47505" y="81935"/>
                  </a:lnTo>
                  <a:lnTo>
                    <a:pt x="44636" y="81092"/>
                  </a:lnTo>
                  <a:lnTo>
                    <a:pt x="41946" y="81751"/>
                  </a:lnTo>
                  <a:lnTo>
                    <a:pt x="40399" y="81323"/>
                  </a:lnTo>
                  <a:lnTo>
                    <a:pt x="39262" y="80742"/>
                  </a:lnTo>
                  <a:lnTo>
                    <a:pt x="41219" y="79395"/>
                  </a:lnTo>
                  <a:lnTo>
                    <a:pt x="41355" y="78576"/>
                  </a:lnTo>
                  <a:lnTo>
                    <a:pt x="40727" y="77984"/>
                  </a:lnTo>
                  <a:lnTo>
                    <a:pt x="40081" y="77588"/>
                  </a:lnTo>
                  <a:lnTo>
                    <a:pt x="40276" y="76066"/>
                  </a:lnTo>
                  <a:lnTo>
                    <a:pt x="40673" y="74268"/>
                  </a:lnTo>
                  <a:lnTo>
                    <a:pt x="41769" y="70064"/>
                  </a:lnTo>
                  <a:lnTo>
                    <a:pt x="41361" y="69331"/>
                  </a:lnTo>
                  <a:lnTo>
                    <a:pt x="39565" y="68068"/>
                  </a:lnTo>
                  <a:lnTo>
                    <a:pt x="37290" y="67938"/>
                  </a:lnTo>
                  <a:lnTo>
                    <a:pt x="34779" y="68335"/>
                  </a:lnTo>
                  <a:lnTo>
                    <a:pt x="33569" y="67689"/>
                  </a:lnTo>
                  <a:lnTo>
                    <a:pt x="32511" y="66242"/>
                  </a:lnTo>
                  <a:lnTo>
                    <a:pt x="30722" y="65550"/>
                  </a:lnTo>
                  <a:lnTo>
                    <a:pt x="27548" y="66705"/>
                  </a:lnTo>
                  <a:lnTo>
                    <a:pt x="24194" y="68444"/>
                  </a:lnTo>
                  <a:lnTo>
                    <a:pt x="23163" y="69076"/>
                  </a:lnTo>
                  <a:lnTo>
                    <a:pt x="22312" y="68991"/>
                  </a:lnTo>
                  <a:lnTo>
                    <a:pt x="21932" y="67690"/>
                  </a:lnTo>
                  <a:lnTo>
                    <a:pt x="21763" y="66149"/>
                  </a:lnTo>
                  <a:lnTo>
                    <a:pt x="21555" y="65767"/>
                  </a:lnTo>
                  <a:lnTo>
                    <a:pt x="19765" y="65220"/>
                  </a:lnTo>
                  <a:lnTo>
                    <a:pt x="17673" y="64822"/>
                  </a:lnTo>
                  <a:lnTo>
                    <a:pt x="16608" y="64395"/>
                  </a:lnTo>
                  <a:lnTo>
                    <a:pt x="15601" y="63356"/>
                  </a:lnTo>
                  <a:lnTo>
                    <a:pt x="13102" y="61998"/>
                  </a:lnTo>
                  <a:lnTo>
                    <a:pt x="12534" y="60992"/>
                  </a:lnTo>
                  <a:lnTo>
                    <a:pt x="9190" y="58688"/>
                  </a:lnTo>
                  <a:lnTo>
                    <a:pt x="8513" y="57544"/>
                  </a:lnTo>
                  <a:lnTo>
                    <a:pt x="7746" y="56712"/>
                  </a:lnTo>
                  <a:lnTo>
                    <a:pt x="6139" y="55650"/>
                  </a:lnTo>
                  <a:lnTo>
                    <a:pt x="4881" y="55905"/>
                  </a:lnTo>
                  <a:lnTo>
                    <a:pt x="644" y="54584"/>
                  </a:lnTo>
                  <a:lnTo>
                    <a:pt x="0" y="54464"/>
                  </a:lnTo>
                  <a:lnTo>
                    <a:pt x="589" y="53307"/>
                  </a:lnTo>
                  <a:lnTo>
                    <a:pt x="1924" y="51515"/>
                  </a:lnTo>
                  <a:lnTo>
                    <a:pt x="4839" y="49524"/>
                  </a:lnTo>
                  <a:lnTo>
                    <a:pt x="5081" y="47909"/>
                  </a:lnTo>
                  <a:lnTo>
                    <a:pt x="4320" y="44814"/>
                  </a:lnTo>
                  <a:lnTo>
                    <a:pt x="3556" y="42810"/>
                  </a:lnTo>
                  <a:lnTo>
                    <a:pt x="3969" y="41915"/>
                  </a:lnTo>
                  <a:lnTo>
                    <a:pt x="4876" y="38304"/>
                  </a:lnTo>
                  <a:lnTo>
                    <a:pt x="5579" y="37464"/>
                  </a:lnTo>
                  <a:lnTo>
                    <a:pt x="9793" y="35639"/>
                  </a:lnTo>
                  <a:lnTo>
                    <a:pt x="10184" y="35386"/>
                  </a:lnTo>
                  <a:lnTo>
                    <a:pt x="13507" y="32829"/>
                  </a:lnTo>
                  <a:lnTo>
                    <a:pt x="17195" y="29988"/>
                  </a:lnTo>
                  <a:lnTo>
                    <a:pt x="21029" y="26855"/>
                  </a:lnTo>
                  <a:lnTo>
                    <a:pt x="25307" y="23354"/>
                  </a:lnTo>
                  <a:lnTo>
                    <a:pt x="27668" y="21306"/>
                  </a:lnTo>
                  <a:lnTo>
                    <a:pt x="28762" y="20420"/>
                  </a:lnTo>
                  <a:lnTo>
                    <a:pt x="31227" y="21146"/>
                  </a:lnTo>
                  <a:lnTo>
                    <a:pt x="33167" y="19489"/>
                  </a:lnTo>
                  <a:lnTo>
                    <a:pt x="34287" y="18934"/>
                  </a:lnTo>
                  <a:lnTo>
                    <a:pt x="36909" y="16948"/>
                  </a:lnTo>
                  <a:lnTo>
                    <a:pt x="37722" y="16513"/>
                  </a:lnTo>
                  <a:lnTo>
                    <a:pt x="42111" y="15699"/>
                  </a:lnTo>
                  <a:lnTo>
                    <a:pt x="44233" y="15719"/>
                  </a:lnTo>
                  <a:lnTo>
                    <a:pt x="46089" y="17733"/>
                  </a:lnTo>
                  <a:lnTo>
                    <a:pt x="47562" y="18829"/>
                  </a:lnTo>
                  <a:lnTo>
                    <a:pt x="50335" y="17887"/>
                  </a:lnTo>
                  <a:lnTo>
                    <a:pt x="52659" y="17680"/>
                  </a:lnTo>
                  <a:lnTo>
                    <a:pt x="62260" y="19553"/>
                  </a:lnTo>
                  <a:lnTo>
                    <a:pt x="66068" y="18725"/>
                  </a:lnTo>
                  <a:lnTo>
                    <a:pt x="73073" y="18547"/>
                  </a:lnTo>
                  <a:lnTo>
                    <a:pt x="76220" y="19012"/>
                  </a:lnTo>
                  <a:lnTo>
                    <a:pt x="80670" y="16362"/>
                  </a:lnTo>
                  <a:lnTo>
                    <a:pt x="83526" y="15828"/>
                  </a:lnTo>
                  <a:lnTo>
                    <a:pt x="86880" y="14588"/>
                  </a:lnTo>
                  <a:lnTo>
                    <a:pt x="86433" y="13317"/>
                  </a:lnTo>
                  <a:close/>
                  <a:moveTo>
                    <a:pt x="76697" y="1947"/>
                  </a:moveTo>
                  <a:lnTo>
                    <a:pt x="78784" y="2232"/>
                  </a:lnTo>
                  <a:lnTo>
                    <a:pt x="74616" y="3530"/>
                  </a:lnTo>
                  <a:lnTo>
                    <a:pt x="70550" y="5565"/>
                  </a:lnTo>
                  <a:lnTo>
                    <a:pt x="69279" y="5525"/>
                  </a:lnTo>
                  <a:lnTo>
                    <a:pt x="71143" y="3954"/>
                  </a:lnTo>
                  <a:lnTo>
                    <a:pt x="74150" y="2606"/>
                  </a:lnTo>
                  <a:close/>
                  <a:moveTo>
                    <a:pt x="88352" y="0"/>
                  </a:moveTo>
                  <a:lnTo>
                    <a:pt x="89479" y="80"/>
                  </a:lnTo>
                  <a:lnTo>
                    <a:pt x="89208" y="683"/>
                  </a:lnTo>
                  <a:lnTo>
                    <a:pt x="88536" y="1366"/>
                  </a:lnTo>
                  <a:lnTo>
                    <a:pt x="86602" y="2874"/>
                  </a:lnTo>
                  <a:lnTo>
                    <a:pt x="86253" y="2195"/>
                  </a:lnTo>
                  <a:lnTo>
                    <a:pt x="87186" y="799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40" name="ee4p_HT_1_37365">
              <a:extLst>
                <a:ext uri="{FF2B5EF4-FFF2-40B4-BE49-F238E27FC236}">
                  <a16:creationId xmlns:a16="http://schemas.microsoft.com/office/drawing/2014/main" id="{17B72B5D-A448-E8E6-AE29-E33A8EF0667A}"/>
                </a:ext>
              </a:extLst>
            </p:cNvPr>
            <p:cNvSpPr>
              <a:spLocks noChangeAspect="1"/>
            </p:cNvSpPr>
            <p:nvPr>
              <p:custDataLst>
                <p:tags r:id="rId394"/>
              </p:custDataLst>
            </p:nvPr>
          </p:nvSpPr>
          <p:spPr>
            <a:xfrm>
              <a:off x="4446492" y="4094932"/>
              <a:ext cx="78665" cy="60748"/>
            </a:xfrm>
            <a:custGeom>
              <a:avLst/>
              <a:gdLst>
                <a:gd name="connsiteX0" fmla="*/ 33154 w 71829"/>
                <a:gd name="connsiteY0" fmla="*/ 29656 h 53999"/>
                <a:gd name="connsiteX1" fmla="*/ 35727 w 71829"/>
                <a:gd name="connsiteY1" fmla="*/ 30583 h 53999"/>
                <a:gd name="connsiteX2" fmla="*/ 39528 w 71829"/>
                <a:gd name="connsiteY2" fmla="*/ 32436 h 53999"/>
                <a:gd name="connsiteX3" fmla="*/ 42435 w 71829"/>
                <a:gd name="connsiteY3" fmla="*/ 34636 h 53999"/>
                <a:gd name="connsiteX4" fmla="*/ 41988 w 71829"/>
                <a:gd name="connsiteY4" fmla="*/ 36488 h 53999"/>
                <a:gd name="connsiteX5" fmla="*/ 35502 w 71829"/>
                <a:gd name="connsiteY5" fmla="*/ 34288 h 53999"/>
                <a:gd name="connsiteX6" fmla="*/ 30246 w 71829"/>
                <a:gd name="connsiteY6" fmla="*/ 31509 h 53999"/>
                <a:gd name="connsiteX7" fmla="*/ 30471 w 71829"/>
                <a:gd name="connsiteY7" fmla="*/ 30004 h 53999"/>
                <a:gd name="connsiteX8" fmla="*/ 40610 w 71829"/>
                <a:gd name="connsiteY8" fmla="*/ 4368 h 53999"/>
                <a:gd name="connsiteX9" fmla="*/ 46683 w 71829"/>
                <a:gd name="connsiteY9" fmla="*/ 5085 h 53999"/>
                <a:gd name="connsiteX10" fmla="*/ 51934 w 71829"/>
                <a:gd name="connsiteY10" fmla="*/ 7394 h 53999"/>
                <a:gd name="connsiteX11" fmla="*/ 57261 w 71829"/>
                <a:gd name="connsiteY11" fmla="*/ 9204 h 53999"/>
                <a:gd name="connsiteX12" fmla="*/ 63995 w 71829"/>
                <a:gd name="connsiteY12" fmla="*/ 9808 h 53999"/>
                <a:gd name="connsiteX13" fmla="*/ 67027 w 71829"/>
                <a:gd name="connsiteY13" fmla="*/ 10466 h 53999"/>
                <a:gd name="connsiteX14" fmla="*/ 68433 w 71829"/>
                <a:gd name="connsiteY14" fmla="*/ 9901 h 53999"/>
                <a:gd name="connsiteX15" fmla="*/ 68986 w 71829"/>
                <a:gd name="connsiteY15" fmla="*/ 10691 h 53999"/>
                <a:gd name="connsiteX16" fmla="*/ 70151 w 71829"/>
                <a:gd name="connsiteY16" fmla="*/ 16000 h 53999"/>
                <a:gd name="connsiteX17" fmla="*/ 70266 w 71829"/>
                <a:gd name="connsiteY17" fmla="*/ 17701 h 53999"/>
                <a:gd name="connsiteX18" fmla="*/ 69094 w 71829"/>
                <a:gd name="connsiteY18" fmla="*/ 20267 h 53999"/>
                <a:gd name="connsiteX19" fmla="*/ 69264 w 71829"/>
                <a:gd name="connsiteY19" fmla="*/ 21282 h 53999"/>
                <a:gd name="connsiteX20" fmla="*/ 71781 w 71829"/>
                <a:gd name="connsiteY20" fmla="*/ 23647 h 53999"/>
                <a:gd name="connsiteX21" fmla="*/ 71829 w 71829"/>
                <a:gd name="connsiteY21" fmla="*/ 24499 h 53999"/>
                <a:gd name="connsiteX22" fmla="*/ 71532 w 71829"/>
                <a:gd name="connsiteY22" fmla="*/ 25360 h 53999"/>
                <a:gd name="connsiteX23" fmla="*/ 69376 w 71829"/>
                <a:gd name="connsiteY23" fmla="*/ 27602 h 53999"/>
                <a:gd name="connsiteX24" fmla="*/ 67726 w 71829"/>
                <a:gd name="connsiteY24" fmla="*/ 29138 h 53999"/>
                <a:gd name="connsiteX25" fmla="*/ 68253 w 71829"/>
                <a:gd name="connsiteY25" fmla="*/ 30898 h 53999"/>
                <a:gd name="connsiteX26" fmla="*/ 69590 w 71829"/>
                <a:gd name="connsiteY26" fmla="*/ 32569 h 53999"/>
                <a:gd name="connsiteX27" fmla="*/ 69756 w 71829"/>
                <a:gd name="connsiteY27" fmla="*/ 33966 h 53999"/>
                <a:gd name="connsiteX28" fmla="*/ 69346 w 71829"/>
                <a:gd name="connsiteY28" fmla="*/ 35812 h 53999"/>
                <a:gd name="connsiteX29" fmla="*/ 67293 w 71829"/>
                <a:gd name="connsiteY29" fmla="*/ 38106 h 53999"/>
                <a:gd name="connsiteX30" fmla="*/ 66221 w 71829"/>
                <a:gd name="connsiteY30" fmla="*/ 38928 h 53999"/>
                <a:gd name="connsiteX31" fmla="*/ 63169 w 71829"/>
                <a:gd name="connsiteY31" fmla="*/ 39029 h 53999"/>
                <a:gd name="connsiteX32" fmla="*/ 62825 w 71829"/>
                <a:gd name="connsiteY32" fmla="*/ 39354 h 53999"/>
                <a:gd name="connsiteX33" fmla="*/ 64347 w 71829"/>
                <a:gd name="connsiteY33" fmla="*/ 41592 h 53999"/>
                <a:gd name="connsiteX34" fmla="*/ 66067 w 71829"/>
                <a:gd name="connsiteY34" fmla="*/ 44120 h 53999"/>
                <a:gd name="connsiteX35" fmla="*/ 68873 w 71829"/>
                <a:gd name="connsiteY35" fmla="*/ 46083 h 53999"/>
                <a:gd name="connsiteX36" fmla="*/ 69498 w 71829"/>
                <a:gd name="connsiteY36" fmla="*/ 47931 h 53999"/>
                <a:gd name="connsiteX37" fmla="*/ 68826 w 71829"/>
                <a:gd name="connsiteY37" fmla="*/ 49683 h 53999"/>
                <a:gd name="connsiteX38" fmla="*/ 68710 w 71829"/>
                <a:gd name="connsiteY38" fmla="*/ 53999 h 53999"/>
                <a:gd name="connsiteX39" fmla="*/ 66565 w 71829"/>
                <a:gd name="connsiteY39" fmla="*/ 51904 h 53999"/>
                <a:gd name="connsiteX40" fmla="*/ 64202 w 71829"/>
                <a:gd name="connsiteY40" fmla="*/ 50151 h 53999"/>
                <a:gd name="connsiteX41" fmla="*/ 62784 w 71829"/>
                <a:gd name="connsiteY41" fmla="*/ 49472 h 53999"/>
                <a:gd name="connsiteX42" fmla="*/ 61317 w 71829"/>
                <a:gd name="connsiteY42" fmla="*/ 49037 h 53999"/>
                <a:gd name="connsiteX43" fmla="*/ 50067 w 71829"/>
                <a:gd name="connsiteY43" fmla="*/ 49264 h 53999"/>
                <a:gd name="connsiteX44" fmla="*/ 48808 w 71829"/>
                <a:gd name="connsiteY44" fmla="*/ 49566 h 53999"/>
                <a:gd name="connsiteX45" fmla="*/ 47827 w 71829"/>
                <a:gd name="connsiteY45" fmla="*/ 50129 h 53999"/>
                <a:gd name="connsiteX46" fmla="*/ 46777 w 71829"/>
                <a:gd name="connsiteY46" fmla="*/ 50409 h 53999"/>
                <a:gd name="connsiteX47" fmla="*/ 43684 w 71829"/>
                <a:gd name="connsiteY47" fmla="*/ 50935 h 53999"/>
                <a:gd name="connsiteX48" fmla="*/ 40606 w 71829"/>
                <a:gd name="connsiteY48" fmla="*/ 51050 h 53999"/>
                <a:gd name="connsiteX49" fmla="*/ 33421 w 71829"/>
                <a:gd name="connsiteY49" fmla="*/ 49639 h 53999"/>
                <a:gd name="connsiteX50" fmla="*/ 30576 w 71829"/>
                <a:gd name="connsiteY50" fmla="*/ 48908 h 53999"/>
                <a:gd name="connsiteX51" fmla="*/ 27713 w 71829"/>
                <a:gd name="connsiteY51" fmla="*/ 48445 h 53999"/>
                <a:gd name="connsiteX52" fmla="*/ 24425 w 71829"/>
                <a:gd name="connsiteY52" fmla="*/ 48598 h 53999"/>
                <a:gd name="connsiteX53" fmla="*/ 21149 w 71829"/>
                <a:gd name="connsiteY53" fmla="*/ 49025 h 53999"/>
                <a:gd name="connsiteX54" fmla="*/ 18530 w 71829"/>
                <a:gd name="connsiteY54" fmla="*/ 50042 h 53999"/>
                <a:gd name="connsiteX55" fmla="*/ 16568 w 71829"/>
                <a:gd name="connsiteY55" fmla="*/ 51835 h 53999"/>
                <a:gd name="connsiteX56" fmla="*/ 16201 w 71829"/>
                <a:gd name="connsiteY56" fmla="*/ 53500 h 53999"/>
                <a:gd name="connsiteX57" fmla="*/ 15041 w 71829"/>
                <a:gd name="connsiteY57" fmla="*/ 53927 h 53999"/>
                <a:gd name="connsiteX58" fmla="*/ 12390 w 71829"/>
                <a:gd name="connsiteY58" fmla="*/ 51274 h 53999"/>
                <a:gd name="connsiteX59" fmla="*/ 9957 w 71829"/>
                <a:gd name="connsiteY59" fmla="*/ 49389 h 53999"/>
                <a:gd name="connsiteX60" fmla="*/ 7188 w 71829"/>
                <a:gd name="connsiteY60" fmla="*/ 47973 h 53999"/>
                <a:gd name="connsiteX61" fmla="*/ 1498 w 71829"/>
                <a:gd name="connsiteY61" fmla="*/ 45955 h 53999"/>
                <a:gd name="connsiteX62" fmla="*/ 460 w 71829"/>
                <a:gd name="connsiteY62" fmla="*/ 44727 h 53999"/>
                <a:gd name="connsiteX63" fmla="*/ 0 w 71829"/>
                <a:gd name="connsiteY63" fmla="*/ 43234 h 53999"/>
                <a:gd name="connsiteX64" fmla="*/ 2297 w 71829"/>
                <a:gd name="connsiteY64" fmla="*/ 38651 h 53999"/>
                <a:gd name="connsiteX65" fmla="*/ 4910 w 71829"/>
                <a:gd name="connsiteY65" fmla="*/ 37812 h 53999"/>
                <a:gd name="connsiteX66" fmla="*/ 6348 w 71829"/>
                <a:gd name="connsiteY66" fmla="*/ 37655 h 53999"/>
                <a:gd name="connsiteX67" fmla="*/ 9579 w 71829"/>
                <a:gd name="connsiteY67" fmla="*/ 38220 h 53999"/>
                <a:gd name="connsiteX68" fmla="*/ 12732 w 71829"/>
                <a:gd name="connsiteY68" fmla="*/ 39263 h 53999"/>
                <a:gd name="connsiteX69" fmla="*/ 15609 w 71829"/>
                <a:gd name="connsiteY69" fmla="*/ 39944 h 53999"/>
                <a:gd name="connsiteX70" fmla="*/ 20060 w 71829"/>
                <a:gd name="connsiteY70" fmla="*/ 40209 h 53999"/>
                <a:gd name="connsiteX71" fmla="*/ 22478 w 71829"/>
                <a:gd name="connsiteY71" fmla="*/ 41336 h 53999"/>
                <a:gd name="connsiteX72" fmla="*/ 39577 w 71829"/>
                <a:gd name="connsiteY72" fmla="*/ 43085 h 53999"/>
                <a:gd name="connsiteX73" fmla="*/ 42821 w 71829"/>
                <a:gd name="connsiteY73" fmla="*/ 43632 h 53999"/>
                <a:gd name="connsiteX74" fmla="*/ 44086 w 71829"/>
                <a:gd name="connsiteY74" fmla="*/ 43440 h 53999"/>
                <a:gd name="connsiteX75" fmla="*/ 45188 w 71829"/>
                <a:gd name="connsiteY75" fmla="*/ 42755 h 53999"/>
                <a:gd name="connsiteX76" fmla="*/ 46106 w 71829"/>
                <a:gd name="connsiteY76" fmla="*/ 41520 h 53999"/>
                <a:gd name="connsiteX77" fmla="*/ 47163 w 71829"/>
                <a:gd name="connsiteY77" fmla="*/ 40590 h 53999"/>
                <a:gd name="connsiteX78" fmla="*/ 52234 w 71829"/>
                <a:gd name="connsiteY78" fmla="*/ 40383 h 53999"/>
                <a:gd name="connsiteX79" fmla="*/ 53299 w 71829"/>
                <a:gd name="connsiteY79" fmla="*/ 39969 h 53999"/>
                <a:gd name="connsiteX80" fmla="*/ 54044 w 71829"/>
                <a:gd name="connsiteY80" fmla="*/ 38677 h 53999"/>
                <a:gd name="connsiteX81" fmla="*/ 54021 w 71829"/>
                <a:gd name="connsiteY81" fmla="*/ 37333 h 53999"/>
                <a:gd name="connsiteX82" fmla="*/ 51039 w 71829"/>
                <a:gd name="connsiteY82" fmla="*/ 35532 h 53999"/>
                <a:gd name="connsiteX83" fmla="*/ 46377 w 71829"/>
                <a:gd name="connsiteY83" fmla="*/ 31578 h 53999"/>
                <a:gd name="connsiteX84" fmla="*/ 42269 w 71829"/>
                <a:gd name="connsiteY84" fmla="*/ 26916 h 53999"/>
                <a:gd name="connsiteX85" fmla="*/ 44041 w 71829"/>
                <a:gd name="connsiteY85" fmla="*/ 25345 h 53999"/>
                <a:gd name="connsiteX86" fmla="*/ 43363 w 71829"/>
                <a:gd name="connsiteY86" fmla="*/ 22471 h 53999"/>
                <a:gd name="connsiteX87" fmla="*/ 44026 w 71829"/>
                <a:gd name="connsiteY87" fmla="*/ 19810 h 53999"/>
                <a:gd name="connsiteX88" fmla="*/ 45004 w 71829"/>
                <a:gd name="connsiteY88" fmla="*/ 17199 h 53999"/>
                <a:gd name="connsiteX89" fmla="*/ 40942 w 71829"/>
                <a:gd name="connsiteY89" fmla="*/ 14960 h 53999"/>
                <a:gd name="connsiteX90" fmla="*/ 36142 w 71829"/>
                <a:gd name="connsiteY90" fmla="*/ 12731 h 53999"/>
                <a:gd name="connsiteX91" fmla="*/ 29479 w 71829"/>
                <a:gd name="connsiteY91" fmla="*/ 12032 h 53999"/>
                <a:gd name="connsiteX92" fmla="*/ 27430 w 71829"/>
                <a:gd name="connsiteY92" fmla="*/ 11467 h 53999"/>
                <a:gd name="connsiteX93" fmla="*/ 26363 w 71829"/>
                <a:gd name="connsiteY93" fmla="*/ 9797 h 53999"/>
                <a:gd name="connsiteX94" fmla="*/ 27323 w 71829"/>
                <a:gd name="connsiteY94" fmla="*/ 7549 h 53999"/>
                <a:gd name="connsiteX95" fmla="*/ 29483 w 71829"/>
                <a:gd name="connsiteY95" fmla="*/ 6306 h 53999"/>
                <a:gd name="connsiteX96" fmla="*/ 31958 w 71829"/>
                <a:gd name="connsiteY96" fmla="*/ 5538 h 53999"/>
                <a:gd name="connsiteX97" fmla="*/ 34493 w 71829"/>
                <a:gd name="connsiteY97" fmla="*/ 5008 h 53999"/>
                <a:gd name="connsiteX98" fmla="*/ 41245 w 71829"/>
                <a:gd name="connsiteY98" fmla="*/ 0 h 53999"/>
                <a:gd name="connsiteX99" fmla="*/ 42779 w 71829"/>
                <a:gd name="connsiteY99" fmla="*/ 46 h 53999"/>
                <a:gd name="connsiteX100" fmla="*/ 45997 w 71829"/>
                <a:gd name="connsiteY100" fmla="*/ 1481 h 53999"/>
                <a:gd name="connsiteX101" fmla="*/ 47026 w 71829"/>
                <a:gd name="connsiteY101" fmla="*/ 2097 h 53999"/>
                <a:gd name="connsiteX102" fmla="*/ 46636 w 71829"/>
                <a:gd name="connsiteY102" fmla="*/ 2844 h 53999"/>
                <a:gd name="connsiteX103" fmla="*/ 44078 w 71829"/>
                <a:gd name="connsiteY103" fmla="*/ 2380 h 53999"/>
                <a:gd name="connsiteX104" fmla="*/ 41429 w 71829"/>
                <a:gd name="connsiteY104" fmla="*/ 1535 h 53999"/>
                <a:gd name="connsiteX105" fmla="*/ 40562 w 71829"/>
                <a:gd name="connsiteY105" fmla="*/ 1746 h 53999"/>
                <a:gd name="connsiteX106" fmla="*/ 40032 w 71829"/>
                <a:gd name="connsiteY106" fmla="*/ 1641 h 53999"/>
                <a:gd name="connsiteX107" fmla="*/ 38485 w 71829"/>
                <a:gd name="connsiteY107" fmla="*/ 828 h 53999"/>
                <a:gd name="connsiteX108" fmla="*/ 39844 w 71829"/>
                <a:gd name="connsiteY108" fmla="*/ 206 h 53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</a:cxnLst>
              <a:rect l="l" t="t" r="r" b="b"/>
              <a:pathLst>
                <a:path w="71829" h="53999">
                  <a:moveTo>
                    <a:pt x="33154" y="29656"/>
                  </a:moveTo>
                  <a:lnTo>
                    <a:pt x="35727" y="30583"/>
                  </a:lnTo>
                  <a:lnTo>
                    <a:pt x="39528" y="32436"/>
                  </a:lnTo>
                  <a:lnTo>
                    <a:pt x="42435" y="34636"/>
                  </a:lnTo>
                  <a:lnTo>
                    <a:pt x="41988" y="36488"/>
                  </a:lnTo>
                  <a:lnTo>
                    <a:pt x="35502" y="34288"/>
                  </a:lnTo>
                  <a:lnTo>
                    <a:pt x="30246" y="31509"/>
                  </a:lnTo>
                  <a:lnTo>
                    <a:pt x="30471" y="30004"/>
                  </a:lnTo>
                  <a:close/>
                  <a:moveTo>
                    <a:pt x="40610" y="4368"/>
                  </a:moveTo>
                  <a:lnTo>
                    <a:pt x="46683" y="5085"/>
                  </a:lnTo>
                  <a:lnTo>
                    <a:pt x="51934" y="7394"/>
                  </a:lnTo>
                  <a:lnTo>
                    <a:pt x="57261" y="9204"/>
                  </a:lnTo>
                  <a:lnTo>
                    <a:pt x="63995" y="9808"/>
                  </a:lnTo>
                  <a:lnTo>
                    <a:pt x="67027" y="10466"/>
                  </a:lnTo>
                  <a:lnTo>
                    <a:pt x="68433" y="9901"/>
                  </a:lnTo>
                  <a:lnTo>
                    <a:pt x="68986" y="10691"/>
                  </a:lnTo>
                  <a:lnTo>
                    <a:pt x="70151" y="16000"/>
                  </a:lnTo>
                  <a:lnTo>
                    <a:pt x="70266" y="17701"/>
                  </a:lnTo>
                  <a:lnTo>
                    <a:pt x="69094" y="20267"/>
                  </a:lnTo>
                  <a:lnTo>
                    <a:pt x="69264" y="21282"/>
                  </a:lnTo>
                  <a:lnTo>
                    <a:pt x="71781" y="23647"/>
                  </a:lnTo>
                  <a:lnTo>
                    <a:pt x="71829" y="24499"/>
                  </a:lnTo>
                  <a:lnTo>
                    <a:pt x="71532" y="25360"/>
                  </a:lnTo>
                  <a:lnTo>
                    <a:pt x="69376" y="27602"/>
                  </a:lnTo>
                  <a:lnTo>
                    <a:pt x="67726" y="29138"/>
                  </a:lnTo>
                  <a:lnTo>
                    <a:pt x="68253" y="30898"/>
                  </a:lnTo>
                  <a:lnTo>
                    <a:pt x="69590" y="32569"/>
                  </a:lnTo>
                  <a:lnTo>
                    <a:pt x="69756" y="33966"/>
                  </a:lnTo>
                  <a:lnTo>
                    <a:pt x="69346" y="35812"/>
                  </a:lnTo>
                  <a:lnTo>
                    <a:pt x="67293" y="38106"/>
                  </a:lnTo>
                  <a:lnTo>
                    <a:pt x="66221" y="38928"/>
                  </a:lnTo>
                  <a:lnTo>
                    <a:pt x="63169" y="39029"/>
                  </a:lnTo>
                  <a:lnTo>
                    <a:pt x="62825" y="39354"/>
                  </a:lnTo>
                  <a:lnTo>
                    <a:pt x="64347" y="41592"/>
                  </a:lnTo>
                  <a:lnTo>
                    <a:pt x="66067" y="44120"/>
                  </a:lnTo>
                  <a:lnTo>
                    <a:pt x="68873" y="46083"/>
                  </a:lnTo>
                  <a:lnTo>
                    <a:pt x="69498" y="47931"/>
                  </a:lnTo>
                  <a:lnTo>
                    <a:pt x="68826" y="49683"/>
                  </a:lnTo>
                  <a:lnTo>
                    <a:pt x="68710" y="53999"/>
                  </a:lnTo>
                  <a:lnTo>
                    <a:pt x="66565" y="51904"/>
                  </a:lnTo>
                  <a:lnTo>
                    <a:pt x="64202" y="50151"/>
                  </a:lnTo>
                  <a:lnTo>
                    <a:pt x="62784" y="49472"/>
                  </a:lnTo>
                  <a:lnTo>
                    <a:pt x="61317" y="49037"/>
                  </a:lnTo>
                  <a:lnTo>
                    <a:pt x="50067" y="49264"/>
                  </a:lnTo>
                  <a:lnTo>
                    <a:pt x="48808" y="49566"/>
                  </a:lnTo>
                  <a:lnTo>
                    <a:pt x="47827" y="50129"/>
                  </a:lnTo>
                  <a:lnTo>
                    <a:pt x="46777" y="50409"/>
                  </a:lnTo>
                  <a:lnTo>
                    <a:pt x="43684" y="50935"/>
                  </a:lnTo>
                  <a:lnTo>
                    <a:pt x="40606" y="51050"/>
                  </a:lnTo>
                  <a:lnTo>
                    <a:pt x="33421" y="49639"/>
                  </a:lnTo>
                  <a:lnTo>
                    <a:pt x="30576" y="48908"/>
                  </a:lnTo>
                  <a:lnTo>
                    <a:pt x="27713" y="48445"/>
                  </a:lnTo>
                  <a:lnTo>
                    <a:pt x="24425" y="48598"/>
                  </a:lnTo>
                  <a:lnTo>
                    <a:pt x="21149" y="49025"/>
                  </a:lnTo>
                  <a:lnTo>
                    <a:pt x="18530" y="50042"/>
                  </a:lnTo>
                  <a:lnTo>
                    <a:pt x="16568" y="51835"/>
                  </a:lnTo>
                  <a:lnTo>
                    <a:pt x="16201" y="53500"/>
                  </a:lnTo>
                  <a:lnTo>
                    <a:pt x="15041" y="53927"/>
                  </a:lnTo>
                  <a:lnTo>
                    <a:pt x="12390" y="51274"/>
                  </a:lnTo>
                  <a:lnTo>
                    <a:pt x="9957" y="49389"/>
                  </a:lnTo>
                  <a:lnTo>
                    <a:pt x="7188" y="47973"/>
                  </a:lnTo>
                  <a:lnTo>
                    <a:pt x="1498" y="45955"/>
                  </a:lnTo>
                  <a:lnTo>
                    <a:pt x="460" y="44727"/>
                  </a:lnTo>
                  <a:lnTo>
                    <a:pt x="0" y="43234"/>
                  </a:lnTo>
                  <a:lnTo>
                    <a:pt x="2297" y="38651"/>
                  </a:lnTo>
                  <a:lnTo>
                    <a:pt x="4910" y="37812"/>
                  </a:lnTo>
                  <a:lnTo>
                    <a:pt x="6348" y="37655"/>
                  </a:lnTo>
                  <a:lnTo>
                    <a:pt x="9579" y="38220"/>
                  </a:lnTo>
                  <a:lnTo>
                    <a:pt x="12732" y="39263"/>
                  </a:lnTo>
                  <a:lnTo>
                    <a:pt x="15609" y="39944"/>
                  </a:lnTo>
                  <a:lnTo>
                    <a:pt x="20060" y="40209"/>
                  </a:lnTo>
                  <a:lnTo>
                    <a:pt x="22478" y="41336"/>
                  </a:lnTo>
                  <a:lnTo>
                    <a:pt x="39577" y="43085"/>
                  </a:lnTo>
                  <a:lnTo>
                    <a:pt x="42821" y="43632"/>
                  </a:lnTo>
                  <a:lnTo>
                    <a:pt x="44086" y="43440"/>
                  </a:lnTo>
                  <a:lnTo>
                    <a:pt x="45188" y="42755"/>
                  </a:lnTo>
                  <a:lnTo>
                    <a:pt x="46106" y="41520"/>
                  </a:lnTo>
                  <a:lnTo>
                    <a:pt x="47163" y="40590"/>
                  </a:lnTo>
                  <a:lnTo>
                    <a:pt x="52234" y="40383"/>
                  </a:lnTo>
                  <a:lnTo>
                    <a:pt x="53299" y="39969"/>
                  </a:lnTo>
                  <a:lnTo>
                    <a:pt x="54044" y="38677"/>
                  </a:lnTo>
                  <a:lnTo>
                    <a:pt x="54021" y="37333"/>
                  </a:lnTo>
                  <a:lnTo>
                    <a:pt x="51039" y="35532"/>
                  </a:lnTo>
                  <a:lnTo>
                    <a:pt x="46377" y="31578"/>
                  </a:lnTo>
                  <a:lnTo>
                    <a:pt x="42269" y="26916"/>
                  </a:lnTo>
                  <a:lnTo>
                    <a:pt x="44041" y="25345"/>
                  </a:lnTo>
                  <a:lnTo>
                    <a:pt x="43363" y="22471"/>
                  </a:lnTo>
                  <a:lnTo>
                    <a:pt x="44026" y="19810"/>
                  </a:lnTo>
                  <a:lnTo>
                    <a:pt x="45004" y="17199"/>
                  </a:lnTo>
                  <a:lnTo>
                    <a:pt x="40942" y="14960"/>
                  </a:lnTo>
                  <a:lnTo>
                    <a:pt x="36142" y="12731"/>
                  </a:lnTo>
                  <a:lnTo>
                    <a:pt x="29479" y="12032"/>
                  </a:lnTo>
                  <a:lnTo>
                    <a:pt x="27430" y="11467"/>
                  </a:lnTo>
                  <a:lnTo>
                    <a:pt x="26363" y="9797"/>
                  </a:lnTo>
                  <a:lnTo>
                    <a:pt x="27323" y="7549"/>
                  </a:lnTo>
                  <a:lnTo>
                    <a:pt x="29483" y="6306"/>
                  </a:lnTo>
                  <a:lnTo>
                    <a:pt x="31958" y="5538"/>
                  </a:lnTo>
                  <a:lnTo>
                    <a:pt x="34493" y="5008"/>
                  </a:lnTo>
                  <a:close/>
                  <a:moveTo>
                    <a:pt x="41245" y="0"/>
                  </a:moveTo>
                  <a:lnTo>
                    <a:pt x="42779" y="46"/>
                  </a:lnTo>
                  <a:lnTo>
                    <a:pt x="45997" y="1481"/>
                  </a:lnTo>
                  <a:lnTo>
                    <a:pt x="47026" y="2097"/>
                  </a:lnTo>
                  <a:lnTo>
                    <a:pt x="46636" y="2844"/>
                  </a:lnTo>
                  <a:lnTo>
                    <a:pt x="44078" y="2380"/>
                  </a:lnTo>
                  <a:lnTo>
                    <a:pt x="41429" y="1535"/>
                  </a:lnTo>
                  <a:lnTo>
                    <a:pt x="40562" y="1746"/>
                  </a:lnTo>
                  <a:lnTo>
                    <a:pt x="40032" y="1641"/>
                  </a:lnTo>
                  <a:lnTo>
                    <a:pt x="38485" y="828"/>
                  </a:lnTo>
                  <a:lnTo>
                    <a:pt x="39844" y="206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41" name="ee4p_JM_1_37365">
              <a:extLst>
                <a:ext uri="{FF2B5EF4-FFF2-40B4-BE49-F238E27FC236}">
                  <a16:creationId xmlns:a16="http://schemas.microsoft.com/office/drawing/2014/main" id="{1877F209-2D3D-9CC2-BF52-D3D92E61273E}"/>
                </a:ext>
              </a:extLst>
            </p:cNvPr>
            <p:cNvSpPr>
              <a:spLocks noChangeAspect="1"/>
            </p:cNvSpPr>
            <p:nvPr>
              <p:custDataLst>
                <p:tags r:id="rId395"/>
              </p:custDataLst>
            </p:nvPr>
          </p:nvSpPr>
          <p:spPr>
            <a:xfrm>
              <a:off x="4339264" y="4141439"/>
              <a:ext cx="59115" cy="23786"/>
            </a:xfrm>
            <a:custGeom>
              <a:avLst/>
              <a:gdLst/>
              <a:ahLst/>
              <a:cxnLst/>
              <a:rect l="0" t="0" r="0" b="0"/>
              <a:pathLst>
                <a:path w="47072" h="18438">
                  <a:moveTo>
                    <a:pt x="23838" y="1481"/>
                  </a:moveTo>
                  <a:lnTo>
                    <a:pt x="26534" y="2303"/>
                  </a:lnTo>
                  <a:lnTo>
                    <a:pt x="29315" y="2727"/>
                  </a:lnTo>
                  <a:lnTo>
                    <a:pt x="30518" y="2752"/>
                  </a:lnTo>
                  <a:lnTo>
                    <a:pt x="31649" y="3013"/>
                  </a:lnTo>
                  <a:lnTo>
                    <a:pt x="34191" y="4982"/>
                  </a:lnTo>
                  <a:lnTo>
                    <a:pt x="36237" y="6059"/>
                  </a:lnTo>
                  <a:lnTo>
                    <a:pt x="43996" y="8465"/>
                  </a:lnTo>
                  <a:lnTo>
                    <a:pt x="46585" y="12611"/>
                  </a:lnTo>
                  <a:lnTo>
                    <a:pt x="47071" y="13907"/>
                  </a:lnTo>
                  <a:lnTo>
                    <a:pt x="45065" y="14676"/>
                  </a:lnTo>
                  <a:lnTo>
                    <a:pt x="42543" y="14941"/>
                  </a:lnTo>
                  <a:lnTo>
                    <a:pt x="40131" y="14986"/>
                  </a:lnTo>
                  <a:lnTo>
                    <a:pt x="37903" y="14193"/>
                  </a:lnTo>
                  <a:lnTo>
                    <a:pt x="36930" y="13585"/>
                  </a:lnTo>
                  <a:lnTo>
                    <a:pt x="34610" y="13293"/>
                  </a:lnTo>
                  <a:lnTo>
                    <a:pt x="35185" y="12734"/>
                  </a:lnTo>
                  <a:lnTo>
                    <a:pt x="34156" y="12473"/>
                  </a:lnTo>
                  <a:lnTo>
                    <a:pt x="32865" y="12532"/>
                  </a:lnTo>
                  <a:lnTo>
                    <a:pt x="31914" y="14122"/>
                  </a:lnTo>
                  <a:lnTo>
                    <a:pt x="30855" y="15384"/>
                  </a:lnTo>
                  <a:lnTo>
                    <a:pt x="28825" y="15263"/>
                  </a:lnTo>
                  <a:lnTo>
                    <a:pt x="28043" y="14186"/>
                  </a:lnTo>
                  <a:lnTo>
                    <a:pt x="26977" y="14670"/>
                  </a:lnTo>
                  <a:lnTo>
                    <a:pt x="26117" y="15469"/>
                  </a:lnTo>
                  <a:lnTo>
                    <a:pt x="25087" y="18437"/>
                  </a:lnTo>
                  <a:lnTo>
                    <a:pt x="23431" y="16964"/>
                  </a:lnTo>
                  <a:lnTo>
                    <a:pt x="21628" y="15728"/>
                  </a:lnTo>
                  <a:lnTo>
                    <a:pt x="19362" y="15218"/>
                  </a:lnTo>
                  <a:lnTo>
                    <a:pt x="14788" y="15134"/>
                  </a:lnTo>
                  <a:lnTo>
                    <a:pt x="12634" y="14731"/>
                  </a:lnTo>
                  <a:lnTo>
                    <a:pt x="10837" y="12218"/>
                  </a:lnTo>
                  <a:lnTo>
                    <a:pt x="10132" y="11498"/>
                  </a:lnTo>
                  <a:lnTo>
                    <a:pt x="8326" y="10847"/>
                  </a:lnTo>
                  <a:lnTo>
                    <a:pt x="6524" y="7963"/>
                  </a:lnTo>
                  <a:lnTo>
                    <a:pt x="5879" y="7567"/>
                  </a:lnTo>
                  <a:lnTo>
                    <a:pt x="1004" y="6952"/>
                  </a:lnTo>
                  <a:lnTo>
                    <a:pt x="0" y="5373"/>
                  </a:lnTo>
                  <a:lnTo>
                    <a:pt x="299" y="3943"/>
                  </a:lnTo>
                  <a:lnTo>
                    <a:pt x="1925" y="2194"/>
                  </a:lnTo>
                  <a:lnTo>
                    <a:pt x="2716" y="1695"/>
                  </a:lnTo>
                  <a:lnTo>
                    <a:pt x="5417" y="1769"/>
                  </a:lnTo>
                  <a:lnTo>
                    <a:pt x="7990" y="1243"/>
                  </a:lnTo>
                  <a:lnTo>
                    <a:pt x="9125" y="492"/>
                  </a:lnTo>
                  <a:lnTo>
                    <a:pt x="10306" y="0"/>
                  </a:lnTo>
                  <a:lnTo>
                    <a:pt x="19633" y="1262"/>
                  </a:lnTo>
                  <a:lnTo>
                    <a:pt x="21786" y="1275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42" name="ee4p_KN_1_37365">
              <a:extLst>
                <a:ext uri="{FF2B5EF4-FFF2-40B4-BE49-F238E27FC236}">
                  <a16:creationId xmlns:a16="http://schemas.microsoft.com/office/drawing/2014/main" id="{2FEFD4DD-E473-B760-9CED-FDF163F9F637}"/>
                </a:ext>
              </a:extLst>
            </p:cNvPr>
            <p:cNvSpPr>
              <a:spLocks noChangeAspect="1"/>
            </p:cNvSpPr>
            <p:nvPr>
              <p:custDataLst>
                <p:tags r:id="rId396"/>
              </p:custDataLst>
            </p:nvPr>
          </p:nvSpPr>
          <p:spPr>
            <a:xfrm>
              <a:off x="4769661" y="4174409"/>
              <a:ext cx="8561" cy="8872"/>
            </a:xfrm>
            <a:custGeom>
              <a:avLst/>
              <a:gdLst>
                <a:gd name="connsiteX0" fmla="*/ 6739 w 7817"/>
                <a:gd name="connsiteY0" fmla="*/ 5264 h 7886"/>
                <a:gd name="connsiteX1" fmla="*/ 7767 w 7817"/>
                <a:gd name="connsiteY1" fmla="*/ 6072 h 7886"/>
                <a:gd name="connsiteX2" fmla="*/ 7817 w 7817"/>
                <a:gd name="connsiteY2" fmla="*/ 7331 h 7886"/>
                <a:gd name="connsiteX3" fmla="*/ 6544 w 7817"/>
                <a:gd name="connsiteY3" fmla="*/ 7886 h 7886"/>
                <a:gd name="connsiteX4" fmla="*/ 5466 w 7817"/>
                <a:gd name="connsiteY4" fmla="*/ 7129 h 7886"/>
                <a:gd name="connsiteX5" fmla="*/ 5711 w 7817"/>
                <a:gd name="connsiteY5" fmla="*/ 5313 h 7886"/>
                <a:gd name="connsiteX6" fmla="*/ 1163 w 7817"/>
                <a:gd name="connsiteY6" fmla="*/ 0 h 7886"/>
                <a:gd name="connsiteX7" fmla="*/ 3215 w 7817"/>
                <a:gd name="connsiteY7" fmla="*/ 1288 h 7886"/>
                <a:gd name="connsiteX8" fmla="*/ 4177 w 7817"/>
                <a:gd name="connsiteY8" fmla="*/ 2917 h 7886"/>
                <a:gd name="connsiteX9" fmla="*/ 5071 w 7817"/>
                <a:gd name="connsiteY9" fmla="*/ 3664 h 7886"/>
                <a:gd name="connsiteX10" fmla="*/ 5321 w 7817"/>
                <a:gd name="connsiteY10" fmla="*/ 4247 h 7886"/>
                <a:gd name="connsiteX11" fmla="*/ 4666 w 7817"/>
                <a:gd name="connsiteY11" fmla="*/ 4654 h 7886"/>
                <a:gd name="connsiteX12" fmla="*/ 3512 w 7817"/>
                <a:gd name="connsiteY12" fmla="*/ 3045 h 7886"/>
                <a:gd name="connsiteX13" fmla="*/ 1647 w 7817"/>
                <a:gd name="connsiteY13" fmla="*/ 2606 h 7886"/>
                <a:gd name="connsiteX14" fmla="*/ 40 w 7817"/>
                <a:gd name="connsiteY14" fmla="*/ 1654 h 7886"/>
                <a:gd name="connsiteX15" fmla="*/ 0 w 7817"/>
                <a:gd name="connsiteY15" fmla="*/ 1450 h 7886"/>
                <a:gd name="connsiteX16" fmla="*/ 28 w 7817"/>
                <a:gd name="connsiteY16" fmla="*/ 973 h 7886"/>
                <a:gd name="connsiteX17" fmla="*/ 341 w 7817"/>
                <a:gd name="connsiteY17" fmla="*/ 422 h 78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7817" h="7886">
                  <a:moveTo>
                    <a:pt x="6739" y="5264"/>
                  </a:moveTo>
                  <a:lnTo>
                    <a:pt x="7767" y="6072"/>
                  </a:lnTo>
                  <a:lnTo>
                    <a:pt x="7817" y="7331"/>
                  </a:lnTo>
                  <a:lnTo>
                    <a:pt x="6544" y="7886"/>
                  </a:lnTo>
                  <a:lnTo>
                    <a:pt x="5466" y="7129"/>
                  </a:lnTo>
                  <a:lnTo>
                    <a:pt x="5711" y="5313"/>
                  </a:lnTo>
                  <a:close/>
                  <a:moveTo>
                    <a:pt x="1163" y="0"/>
                  </a:moveTo>
                  <a:lnTo>
                    <a:pt x="3215" y="1288"/>
                  </a:lnTo>
                  <a:lnTo>
                    <a:pt x="4177" y="2917"/>
                  </a:lnTo>
                  <a:lnTo>
                    <a:pt x="5071" y="3664"/>
                  </a:lnTo>
                  <a:lnTo>
                    <a:pt x="5321" y="4247"/>
                  </a:lnTo>
                  <a:lnTo>
                    <a:pt x="4666" y="4654"/>
                  </a:lnTo>
                  <a:lnTo>
                    <a:pt x="3512" y="3045"/>
                  </a:lnTo>
                  <a:lnTo>
                    <a:pt x="1647" y="2606"/>
                  </a:lnTo>
                  <a:lnTo>
                    <a:pt x="40" y="1654"/>
                  </a:lnTo>
                  <a:lnTo>
                    <a:pt x="0" y="1450"/>
                  </a:lnTo>
                  <a:lnTo>
                    <a:pt x="28" y="973"/>
                  </a:lnTo>
                  <a:lnTo>
                    <a:pt x="341" y="422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43" name="ee4p_LC_1_37365">
              <a:extLst>
                <a:ext uri="{FF2B5EF4-FFF2-40B4-BE49-F238E27FC236}">
                  <a16:creationId xmlns:a16="http://schemas.microsoft.com/office/drawing/2014/main" id="{FE5B7A38-3505-08F2-F26E-6A6863ADD446}"/>
                </a:ext>
              </a:extLst>
            </p:cNvPr>
            <p:cNvSpPr>
              <a:spLocks noChangeAspect="1"/>
            </p:cNvSpPr>
            <p:nvPr>
              <p:custDataLst>
                <p:tags r:id="rId397"/>
              </p:custDataLst>
            </p:nvPr>
          </p:nvSpPr>
          <p:spPr>
            <a:xfrm>
              <a:off x="4818739" y="4271145"/>
              <a:ext cx="5178" cy="10927"/>
            </a:xfrm>
            <a:custGeom>
              <a:avLst/>
              <a:gdLst/>
              <a:ahLst/>
              <a:cxnLst/>
              <a:rect l="0" t="0" r="0" b="0"/>
              <a:pathLst>
                <a:path w="4122" h="8469">
                  <a:moveTo>
                    <a:pt x="3934" y="6116"/>
                  </a:moveTo>
                  <a:lnTo>
                    <a:pt x="2692" y="8468"/>
                  </a:lnTo>
                  <a:lnTo>
                    <a:pt x="276" y="6992"/>
                  </a:lnTo>
                  <a:lnTo>
                    <a:pt x="0" y="5134"/>
                  </a:lnTo>
                  <a:lnTo>
                    <a:pt x="211" y="4007"/>
                  </a:lnTo>
                  <a:lnTo>
                    <a:pt x="1691" y="1858"/>
                  </a:lnTo>
                  <a:lnTo>
                    <a:pt x="2843" y="462"/>
                  </a:lnTo>
                  <a:lnTo>
                    <a:pt x="3649" y="0"/>
                  </a:lnTo>
                  <a:lnTo>
                    <a:pt x="4121" y="1853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44" name="ee4p_MX_1_37365">
              <a:extLst>
                <a:ext uri="{FF2B5EF4-FFF2-40B4-BE49-F238E27FC236}">
                  <a16:creationId xmlns:a16="http://schemas.microsoft.com/office/drawing/2014/main" id="{B3295565-C0F6-C0BB-1CCE-1247619AE11E}"/>
                </a:ext>
              </a:extLst>
            </p:cNvPr>
            <p:cNvSpPr>
              <a:spLocks noChangeAspect="1"/>
            </p:cNvSpPr>
            <p:nvPr>
              <p:custDataLst>
                <p:tags r:id="rId398"/>
              </p:custDataLst>
            </p:nvPr>
          </p:nvSpPr>
          <p:spPr>
            <a:xfrm>
              <a:off x="3226771" y="3708307"/>
              <a:ext cx="880430" cy="549681"/>
            </a:xfrm>
            <a:custGeom>
              <a:avLst/>
              <a:gdLst>
                <a:gd name="connsiteX0" fmla="*/ 679862 w 803926"/>
                <a:gd name="connsiteY0" fmla="*/ 378300 h 488614"/>
                <a:gd name="connsiteX1" fmla="*/ 680847 w 803926"/>
                <a:gd name="connsiteY1" fmla="*/ 378414 h 488614"/>
                <a:gd name="connsiteX2" fmla="*/ 681191 w 803926"/>
                <a:gd name="connsiteY2" fmla="*/ 378773 h 488614"/>
                <a:gd name="connsiteX3" fmla="*/ 678211 w 803926"/>
                <a:gd name="connsiteY3" fmla="*/ 380047 h 488614"/>
                <a:gd name="connsiteX4" fmla="*/ 677464 w 803926"/>
                <a:gd name="connsiteY4" fmla="*/ 380942 h 488614"/>
                <a:gd name="connsiteX5" fmla="*/ 674612 w 803926"/>
                <a:gd name="connsiteY5" fmla="*/ 381550 h 488614"/>
                <a:gd name="connsiteX6" fmla="*/ 674106 w 803926"/>
                <a:gd name="connsiteY6" fmla="*/ 380981 h 488614"/>
                <a:gd name="connsiteX7" fmla="*/ 187941 w 803926"/>
                <a:gd name="connsiteY7" fmla="*/ 376066 h 488614"/>
                <a:gd name="connsiteX8" fmla="*/ 189140 w 803926"/>
                <a:gd name="connsiteY8" fmla="*/ 377680 h 488614"/>
                <a:gd name="connsiteX9" fmla="*/ 189841 w 803926"/>
                <a:gd name="connsiteY9" fmla="*/ 379261 h 488614"/>
                <a:gd name="connsiteX10" fmla="*/ 188311 w 803926"/>
                <a:gd name="connsiteY10" fmla="*/ 379815 h 488614"/>
                <a:gd name="connsiteX11" fmla="*/ 186058 w 803926"/>
                <a:gd name="connsiteY11" fmla="*/ 378206 h 488614"/>
                <a:gd name="connsiteX12" fmla="*/ 186660 w 803926"/>
                <a:gd name="connsiteY12" fmla="*/ 376933 h 488614"/>
                <a:gd name="connsiteX13" fmla="*/ 802228 w 803926"/>
                <a:gd name="connsiteY13" fmla="*/ 330852 h 488614"/>
                <a:gd name="connsiteX14" fmla="*/ 802437 w 803926"/>
                <a:gd name="connsiteY14" fmla="*/ 331573 h 488614"/>
                <a:gd name="connsiteX15" fmla="*/ 801074 w 803926"/>
                <a:gd name="connsiteY15" fmla="*/ 333776 h 488614"/>
                <a:gd name="connsiteX16" fmla="*/ 797756 w 803926"/>
                <a:gd name="connsiteY16" fmla="*/ 338139 h 488614"/>
                <a:gd name="connsiteX17" fmla="*/ 796443 w 803926"/>
                <a:gd name="connsiteY17" fmla="*/ 338961 h 488614"/>
                <a:gd name="connsiteX18" fmla="*/ 795733 w 803926"/>
                <a:gd name="connsiteY18" fmla="*/ 336052 h 488614"/>
                <a:gd name="connsiteX19" fmla="*/ 796784 w 803926"/>
                <a:gd name="connsiteY19" fmla="*/ 333212 h 488614"/>
                <a:gd name="connsiteX20" fmla="*/ 798055 w 803926"/>
                <a:gd name="connsiteY20" fmla="*/ 331580 h 488614"/>
                <a:gd name="connsiteX21" fmla="*/ 800573 w 803926"/>
                <a:gd name="connsiteY21" fmla="*/ 331388 h 488614"/>
                <a:gd name="connsiteX22" fmla="*/ 802841 w 803926"/>
                <a:gd name="connsiteY22" fmla="*/ 312292 h 488614"/>
                <a:gd name="connsiteX23" fmla="*/ 803150 w 803926"/>
                <a:gd name="connsiteY23" fmla="*/ 312707 h 488614"/>
                <a:gd name="connsiteX24" fmla="*/ 803476 w 803926"/>
                <a:gd name="connsiteY24" fmla="*/ 313370 h 488614"/>
                <a:gd name="connsiteX25" fmla="*/ 803926 w 803926"/>
                <a:gd name="connsiteY25" fmla="*/ 314650 h 488614"/>
                <a:gd name="connsiteX26" fmla="*/ 803487 w 803926"/>
                <a:gd name="connsiteY26" fmla="*/ 314499 h 488614"/>
                <a:gd name="connsiteX27" fmla="*/ 802910 w 803926"/>
                <a:gd name="connsiteY27" fmla="*/ 313530 h 488614"/>
                <a:gd name="connsiteX28" fmla="*/ 802491 w 803926"/>
                <a:gd name="connsiteY28" fmla="*/ 312323 h 488614"/>
                <a:gd name="connsiteX29" fmla="*/ 299306 w 803926"/>
                <a:gd name="connsiteY29" fmla="*/ 300820 h 488614"/>
                <a:gd name="connsiteX30" fmla="*/ 300852 w 803926"/>
                <a:gd name="connsiteY30" fmla="*/ 301771 h 488614"/>
                <a:gd name="connsiteX31" fmla="*/ 301171 w 803926"/>
                <a:gd name="connsiteY31" fmla="*/ 302409 h 488614"/>
                <a:gd name="connsiteX32" fmla="*/ 301719 w 803926"/>
                <a:gd name="connsiteY32" fmla="*/ 303511 h 488614"/>
                <a:gd name="connsiteX33" fmla="*/ 300981 w 803926"/>
                <a:gd name="connsiteY33" fmla="*/ 305697 h 488614"/>
                <a:gd name="connsiteX34" fmla="*/ 299061 w 803926"/>
                <a:gd name="connsiteY34" fmla="*/ 304822 h 488614"/>
                <a:gd name="connsiteX35" fmla="*/ 298373 w 803926"/>
                <a:gd name="connsiteY35" fmla="*/ 303451 h 488614"/>
                <a:gd name="connsiteX36" fmla="*/ 298242 w 803926"/>
                <a:gd name="connsiteY36" fmla="*/ 301200 h 488614"/>
                <a:gd name="connsiteX37" fmla="*/ 215809 w 803926"/>
                <a:gd name="connsiteY37" fmla="*/ 230454 h 488614"/>
                <a:gd name="connsiteX38" fmla="*/ 218256 w 803926"/>
                <a:gd name="connsiteY38" fmla="*/ 234795 h 488614"/>
                <a:gd name="connsiteX39" fmla="*/ 218210 w 803926"/>
                <a:gd name="connsiteY39" fmla="*/ 235327 h 488614"/>
                <a:gd name="connsiteX40" fmla="*/ 217971 w 803926"/>
                <a:gd name="connsiteY40" fmla="*/ 235663 h 488614"/>
                <a:gd name="connsiteX41" fmla="*/ 217421 w 803926"/>
                <a:gd name="connsiteY41" fmla="*/ 235758 h 488614"/>
                <a:gd name="connsiteX42" fmla="*/ 216123 w 803926"/>
                <a:gd name="connsiteY42" fmla="*/ 234331 h 488614"/>
                <a:gd name="connsiteX43" fmla="*/ 215551 w 803926"/>
                <a:gd name="connsiteY43" fmla="*/ 230829 h 488614"/>
                <a:gd name="connsiteX44" fmla="*/ 163815 w 803926"/>
                <a:gd name="connsiteY44" fmla="*/ 224903 h 488614"/>
                <a:gd name="connsiteX45" fmla="*/ 165946 w 803926"/>
                <a:gd name="connsiteY45" fmla="*/ 225257 h 488614"/>
                <a:gd name="connsiteX46" fmla="*/ 169951 w 803926"/>
                <a:gd name="connsiteY46" fmla="*/ 229142 h 488614"/>
                <a:gd name="connsiteX47" fmla="*/ 169611 w 803926"/>
                <a:gd name="connsiteY47" fmla="*/ 230413 h 488614"/>
                <a:gd name="connsiteX48" fmla="*/ 161979 w 803926"/>
                <a:gd name="connsiteY48" fmla="*/ 225381 h 488614"/>
                <a:gd name="connsiteX49" fmla="*/ 195527 w 803926"/>
                <a:gd name="connsiteY49" fmla="*/ 210433 h 488614"/>
                <a:gd name="connsiteX50" fmla="*/ 197936 w 803926"/>
                <a:gd name="connsiteY50" fmla="*/ 211667 h 488614"/>
                <a:gd name="connsiteX51" fmla="*/ 198643 w 803926"/>
                <a:gd name="connsiteY51" fmla="*/ 212711 h 488614"/>
                <a:gd name="connsiteX52" fmla="*/ 199365 w 803926"/>
                <a:gd name="connsiteY52" fmla="*/ 215730 h 488614"/>
                <a:gd name="connsiteX53" fmla="*/ 198064 w 803926"/>
                <a:gd name="connsiteY53" fmla="*/ 215285 h 488614"/>
                <a:gd name="connsiteX54" fmla="*/ 196359 w 803926"/>
                <a:gd name="connsiteY54" fmla="*/ 213645 h 488614"/>
                <a:gd name="connsiteX55" fmla="*/ 195193 w 803926"/>
                <a:gd name="connsiteY55" fmla="*/ 211545 h 488614"/>
                <a:gd name="connsiteX56" fmla="*/ 195299 w 803926"/>
                <a:gd name="connsiteY56" fmla="*/ 210606 h 488614"/>
                <a:gd name="connsiteX57" fmla="*/ 158273 w 803926"/>
                <a:gd name="connsiteY57" fmla="*/ 205091 h 488614"/>
                <a:gd name="connsiteX58" fmla="*/ 158977 w 803926"/>
                <a:gd name="connsiteY58" fmla="*/ 206747 h 488614"/>
                <a:gd name="connsiteX59" fmla="*/ 157285 w 803926"/>
                <a:gd name="connsiteY59" fmla="*/ 215895 h 488614"/>
                <a:gd name="connsiteX60" fmla="*/ 157370 w 803926"/>
                <a:gd name="connsiteY60" fmla="*/ 217091 h 488614"/>
                <a:gd name="connsiteX61" fmla="*/ 158163 w 803926"/>
                <a:gd name="connsiteY61" fmla="*/ 218207 h 488614"/>
                <a:gd name="connsiteX62" fmla="*/ 159013 w 803926"/>
                <a:gd name="connsiteY62" fmla="*/ 220096 h 488614"/>
                <a:gd name="connsiteX63" fmla="*/ 159114 w 803926"/>
                <a:gd name="connsiteY63" fmla="*/ 222134 h 488614"/>
                <a:gd name="connsiteX64" fmla="*/ 160604 w 803926"/>
                <a:gd name="connsiteY64" fmla="*/ 224028 h 488614"/>
                <a:gd name="connsiteX65" fmla="*/ 160863 w 803926"/>
                <a:gd name="connsiteY65" fmla="*/ 225050 h 488614"/>
                <a:gd name="connsiteX66" fmla="*/ 160354 w 803926"/>
                <a:gd name="connsiteY66" fmla="*/ 225349 h 488614"/>
                <a:gd name="connsiteX67" fmla="*/ 158186 w 803926"/>
                <a:gd name="connsiteY67" fmla="*/ 222232 h 488614"/>
                <a:gd name="connsiteX68" fmla="*/ 157866 w 803926"/>
                <a:gd name="connsiteY68" fmla="*/ 220096 h 488614"/>
                <a:gd name="connsiteX69" fmla="*/ 156978 w 803926"/>
                <a:gd name="connsiteY69" fmla="*/ 219192 h 488614"/>
                <a:gd name="connsiteX70" fmla="*/ 154790 w 803926"/>
                <a:gd name="connsiteY70" fmla="*/ 218478 h 488614"/>
                <a:gd name="connsiteX71" fmla="*/ 156679 w 803926"/>
                <a:gd name="connsiteY71" fmla="*/ 214124 h 488614"/>
                <a:gd name="connsiteX72" fmla="*/ 185367 w 803926"/>
                <a:gd name="connsiteY72" fmla="*/ 183698 h 488614"/>
                <a:gd name="connsiteX73" fmla="*/ 185128 w 803926"/>
                <a:gd name="connsiteY73" fmla="*/ 185192 h 488614"/>
                <a:gd name="connsiteX74" fmla="*/ 185446 w 803926"/>
                <a:gd name="connsiteY74" fmla="*/ 186172 h 488614"/>
                <a:gd name="connsiteX75" fmla="*/ 185278 w 803926"/>
                <a:gd name="connsiteY75" fmla="*/ 186455 h 488614"/>
                <a:gd name="connsiteX76" fmla="*/ 184242 w 803926"/>
                <a:gd name="connsiteY76" fmla="*/ 185775 h 488614"/>
                <a:gd name="connsiteX77" fmla="*/ 182487 w 803926"/>
                <a:gd name="connsiteY77" fmla="*/ 189826 h 488614"/>
                <a:gd name="connsiteX78" fmla="*/ 181975 w 803926"/>
                <a:gd name="connsiteY78" fmla="*/ 190201 h 488614"/>
                <a:gd name="connsiteX79" fmla="*/ 183034 w 803926"/>
                <a:gd name="connsiteY79" fmla="*/ 184650 h 488614"/>
                <a:gd name="connsiteX80" fmla="*/ 184140 w 803926"/>
                <a:gd name="connsiteY80" fmla="*/ 183858 h 488614"/>
                <a:gd name="connsiteX81" fmla="*/ 80324 w 803926"/>
                <a:gd name="connsiteY81" fmla="*/ 121093 h 488614"/>
                <a:gd name="connsiteX82" fmla="*/ 81252 w 803926"/>
                <a:gd name="connsiteY82" fmla="*/ 122205 h 488614"/>
                <a:gd name="connsiteX83" fmla="*/ 82480 w 803926"/>
                <a:gd name="connsiteY83" fmla="*/ 126484 h 488614"/>
                <a:gd name="connsiteX84" fmla="*/ 81921 w 803926"/>
                <a:gd name="connsiteY84" fmla="*/ 129303 h 488614"/>
                <a:gd name="connsiteX85" fmla="*/ 81573 w 803926"/>
                <a:gd name="connsiteY85" fmla="*/ 130184 h 488614"/>
                <a:gd name="connsiteX86" fmla="*/ 77297 w 803926"/>
                <a:gd name="connsiteY86" fmla="*/ 128354 h 488614"/>
                <a:gd name="connsiteX87" fmla="*/ 79643 w 803926"/>
                <a:gd name="connsiteY87" fmla="*/ 125154 h 488614"/>
                <a:gd name="connsiteX88" fmla="*/ 79299 w 803926"/>
                <a:gd name="connsiteY88" fmla="*/ 121796 h 488614"/>
                <a:gd name="connsiteX89" fmla="*/ 851 w 803926"/>
                <a:gd name="connsiteY89" fmla="*/ 98522 h 488614"/>
                <a:gd name="connsiteX90" fmla="*/ 2258 w 803926"/>
                <a:gd name="connsiteY90" fmla="*/ 98653 h 488614"/>
                <a:gd name="connsiteX91" fmla="*/ 2265 w 803926"/>
                <a:gd name="connsiteY91" fmla="*/ 100098 h 488614"/>
                <a:gd name="connsiteX92" fmla="*/ 3445 w 803926"/>
                <a:gd name="connsiteY92" fmla="*/ 101315 h 488614"/>
                <a:gd name="connsiteX93" fmla="*/ 3905 w 803926"/>
                <a:gd name="connsiteY93" fmla="*/ 102503 h 488614"/>
                <a:gd name="connsiteX94" fmla="*/ 4022 w 803926"/>
                <a:gd name="connsiteY94" fmla="*/ 105301 h 488614"/>
                <a:gd name="connsiteX95" fmla="*/ 2938 w 803926"/>
                <a:gd name="connsiteY95" fmla="*/ 106354 h 488614"/>
                <a:gd name="connsiteX96" fmla="*/ 32 w 803926"/>
                <a:gd name="connsiteY96" fmla="*/ 100601 h 488614"/>
                <a:gd name="connsiteX97" fmla="*/ 0 w 803926"/>
                <a:gd name="connsiteY97" fmla="*/ 99209 h 488614"/>
                <a:gd name="connsiteX98" fmla="*/ 155087 w 803926"/>
                <a:gd name="connsiteY98" fmla="*/ 97062 h 488614"/>
                <a:gd name="connsiteX99" fmla="*/ 155636 w 803926"/>
                <a:gd name="connsiteY99" fmla="*/ 97992 h 488614"/>
                <a:gd name="connsiteX100" fmla="*/ 156009 w 803926"/>
                <a:gd name="connsiteY100" fmla="*/ 100224 h 488614"/>
                <a:gd name="connsiteX101" fmla="*/ 157166 w 803926"/>
                <a:gd name="connsiteY101" fmla="*/ 103554 h 488614"/>
                <a:gd name="connsiteX102" fmla="*/ 155256 w 803926"/>
                <a:gd name="connsiteY102" fmla="*/ 110059 h 488614"/>
                <a:gd name="connsiteX103" fmla="*/ 153307 w 803926"/>
                <a:gd name="connsiteY103" fmla="*/ 109955 h 488614"/>
                <a:gd name="connsiteX104" fmla="*/ 149281 w 803926"/>
                <a:gd name="connsiteY104" fmla="*/ 107902 h 488614"/>
                <a:gd name="connsiteX105" fmla="*/ 148851 w 803926"/>
                <a:gd name="connsiteY105" fmla="*/ 106623 h 488614"/>
                <a:gd name="connsiteX106" fmla="*/ 150403 w 803926"/>
                <a:gd name="connsiteY106" fmla="*/ 99071 h 488614"/>
                <a:gd name="connsiteX107" fmla="*/ 151576 w 803926"/>
                <a:gd name="connsiteY107" fmla="*/ 98078 h 488614"/>
                <a:gd name="connsiteX108" fmla="*/ 122070 w 803926"/>
                <a:gd name="connsiteY108" fmla="*/ 87864 h 488614"/>
                <a:gd name="connsiteX109" fmla="*/ 124080 w 803926"/>
                <a:gd name="connsiteY109" fmla="*/ 88228 h 488614"/>
                <a:gd name="connsiteX110" fmla="*/ 126413 w 803926"/>
                <a:gd name="connsiteY110" fmla="*/ 90275 h 488614"/>
                <a:gd name="connsiteX111" fmla="*/ 127429 w 803926"/>
                <a:gd name="connsiteY111" fmla="*/ 92169 h 488614"/>
                <a:gd name="connsiteX112" fmla="*/ 127480 w 803926"/>
                <a:gd name="connsiteY112" fmla="*/ 94341 h 488614"/>
                <a:gd name="connsiteX113" fmla="*/ 131834 w 803926"/>
                <a:gd name="connsiteY113" fmla="*/ 95365 h 488614"/>
                <a:gd name="connsiteX114" fmla="*/ 132448 w 803926"/>
                <a:gd name="connsiteY114" fmla="*/ 100059 h 488614"/>
                <a:gd name="connsiteX115" fmla="*/ 133014 w 803926"/>
                <a:gd name="connsiteY115" fmla="*/ 102258 h 488614"/>
                <a:gd name="connsiteX116" fmla="*/ 132832 w 803926"/>
                <a:gd name="connsiteY116" fmla="*/ 102741 h 488614"/>
                <a:gd name="connsiteX117" fmla="*/ 130246 w 803926"/>
                <a:gd name="connsiteY117" fmla="*/ 101031 h 488614"/>
                <a:gd name="connsiteX118" fmla="*/ 124373 w 803926"/>
                <a:gd name="connsiteY118" fmla="*/ 95206 h 488614"/>
                <a:gd name="connsiteX119" fmla="*/ 122237 w 803926"/>
                <a:gd name="connsiteY119" fmla="*/ 92286 h 488614"/>
                <a:gd name="connsiteX120" fmla="*/ 121887 w 803926"/>
                <a:gd name="connsiteY120" fmla="*/ 90918 h 488614"/>
                <a:gd name="connsiteX121" fmla="*/ 92051 w 803926"/>
                <a:gd name="connsiteY121" fmla="*/ 25947 h 488614"/>
                <a:gd name="connsiteX122" fmla="*/ 93624 w 803926"/>
                <a:gd name="connsiteY122" fmla="*/ 26992 h 488614"/>
                <a:gd name="connsiteX123" fmla="*/ 94159 w 803926"/>
                <a:gd name="connsiteY123" fmla="*/ 27909 h 488614"/>
                <a:gd name="connsiteX124" fmla="*/ 94003 w 803926"/>
                <a:gd name="connsiteY124" fmla="*/ 28431 h 488614"/>
                <a:gd name="connsiteX125" fmla="*/ 93162 w 803926"/>
                <a:gd name="connsiteY125" fmla="*/ 28550 h 488614"/>
                <a:gd name="connsiteX126" fmla="*/ 91591 w 803926"/>
                <a:gd name="connsiteY126" fmla="*/ 27258 h 488614"/>
                <a:gd name="connsiteX127" fmla="*/ 91709 w 803926"/>
                <a:gd name="connsiteY127" fmla="*/ 26068 h 488614"/>
                <a:gd name="connsiteX128" fmla="*/ 93227 w 803926"/>
                <a:gd name="connsiteY128" fmla="*/ 0 h 488614"/>
                <a:gd name="connsiteX129" fmla="*/ 91623 w 803926"/>
                <a:gd name="connsiteY129" fmla="*/ 4251 h 488614"/>
                <a:gd name="connsiteX130" fmla="*/ 90407 w 803926"/>
                <a:gd name="connsiteY130" fmla="*/ 5845 h 488614"/>
                <a:gd name="connsiteX131" fmla="*/ 102432 w 803926"/>
                <a:gd name="connsiteY131" fmla="*/ 10019 h 488614"/>
                <a:gd name="connsiteX132" fmla="*/ 114457 w 803926"/>
                <a:gd name="connsiteY132" fmla="*/ 14188 h 488614"/>
                <a:gd name="connsiteX133" fmla="*/ 126483 w 803926"/>
                <a:gd name="connsiteY133" fmla="*/ 18353 h 488614"/>
                <a:gd name="connsiteX134" fmla="*/ 138507 w 803926"/>
                <a:gd name="connsiteY134" fmla="*/ 22516 h 488614"/>
                <a:gd name="connsiteX135" fmla="*/ 150532 w 803926"/>
                <a:gd name="connsiteY135" fmla="*/ 26673 h 488614"/>
                <a:gd name="connsiteX136" fmla="*/ 162558 w 803926"/>
                <a:gd name="connsiteY136" fmla="*/ 30826 h 488614"/>
                <a:gd name="connsiteX137" fmla="*/ 174583 w 803926"/>
                <a:gd name="connsiteY137" fmla="*/ 34974 h 488614"/>
                <a:gd name="connsiteX138" fmla="*/ 186608 w 803926"/>
                <a:gd name="connsiteY138" fmla="*/ 39119 h 488614"/>
                <a:gd name="connsiteX139" fmla="*/ 195571 w 803926"/>
                <a:gd name="connsiteY139" fmla="*/ 39102 h 488614"/>
                <a:gd name="connsiteX140" fmla="*/ 204532 w 803926"/>
                <a:gd name="connsiteY140" fmla="*/ 39083 h 488614"/>
                <a:gd name="connsiteX141" fmla="*/ 213495 w 803926"/>
                <a:gd name="connsiteY141" fmla="*/ 39065 h 488614"/>
                <a:gd name="connsiteX142" fmla="*/ 222456 w 803926"/>
                <a:gd name="connsiteY142" fmla="*/ 39047 h 488614"/>
                <a:gd name="connsiteX143" fmla="*/ 231418 w 803926"/>
                <a:gd name="connsiteY143" fmla="*/ 39030 h 488614"/>
                <a:gd name="connsiteX144" fmla="*/ 240380 w 803926"/>
                <a:gd name="connsiteY144" fmla="*/ 39010 h 488614"/>
                <a:gd name="connsiteX145" fmla="*/ 249342 w 803926"/>
                <a:gd name="connsiteY145" fmla="*/ 38991 h 488614"/>
                <a:gd name="connsiteX146" fmla="*/ 258304 w 803926"/>
                <a:gd name="connsiteY146" fmla="*/ 38974 h 488614"/>
                <a:gd name="connsiteX147" fmla="*/ 258320 w 803926"/>
                <a:gd name="connsiteY147" fmla="*/ 35825 h 488614"/>
                <a:gd name="connsiteX148" fmla="*/ 258336 w 803926"/>
                <a:gd name="connsiteY148" fmla="*/ 32672 h 488614"/>
                <a:gd name="connsiteX149" fmla="*/ 258353 w 803926"/>
                <a:gd name="connsiteY149" fmla="*/ 29519 h 488614"/>
                <a:gd name="connsiteX150" fmla="*/ 258371 w 803926"/>
                <a:gd name="connsiteY150" fmla="*/ 26361 h 488614"/>
                <a:gd name="connsiteX151" fmla="*/ 263944 w 803926"/>
                <a:gd name="connsiteY151" fmla="*/ 26394 h 488614"/>
                <a:gd name="connsiteX152" fmla="*/ 269518 w 803926"/>
                <a:gd name="connsiteY152" fmla="*/ 26425 h 488614"/>
                <a:gd name="connsiteX153" fmla="*/ 275093 w 803926"/>
                <a:gd name="connsiteY153" fmla="*/ 26458 h 488614"/>
                <a:gd name="connsiteX154" fmla="*/ 280666 w 803926"/>
                <a:gd name="connsiteY154" fmla="*/ 26490 h 488614"/>
                <a:gd name="connsiteX155" fmla="*/ 286240 w 803926"/>
                <a:gd name="connsiteY155" fmla="*/ 26521 h 488614"/>
                <a:gd name="connsiteX156" fmla="*/ 291815 w 803926"/>
                <a:gd name="connsiteY156" fmla="*/ 26555 h 488614"/>
                <a:gd name="connsiteX157" fmla="*/ 297389 w 803926"/>
                <a:gd name="connsiteY157" fmla="*/ 26586 h 488614"/>
                <a:gd name="connsiteX158" fmla="*/ 302962 w 803926"/>
                <a:gd name="connsiteY158" fmla="*/ 26619 h 488614"/>
                <a:gd name="connsiteX159" fmla="*/ 303160 w 803926"/>
                <a:gd name="connsiteY159" fmla="*/ 26668 h 488614"/>
                <a:gd name="connsiteX160" fmla="*/ 303399 w 803926"/>
                <a:gd name="connsiteY160" fmla="*/ 26779 h 488614"/>
                <a:gd name="connsiteX161" fmla="*/ 305657 w 803926"/>
                <a:gd name="connsiteY161" fmla="*/ 29177 h 488614"/>
                <a:gd name="connsiteX162" fmla="*/ 307971 w 803926"/>
                <a:gd name="connsiteY162" fmla="*/ 32944 h 488614"/>
                <a:gd name="connsiteX163" fmla="*/ 310701 w 803926"/>
                <a:gd name="connsiteY163" fmla="*/ 35571 h 488614"/>
                <a:gd name="connsiteX164" fmla="*/ 313844 w 803926"/>
                <a:gd name="connsiteY164" fmla="*/ 37061 h 488614"/>
                <a:gd name="connsiteX165" fmla="*/ 319204 w 803926"/>
                <a:gd name="connsiteY165" fmla="*/ 41448 h 488614"/>
                <a:gd name="connsiteX166" fmla="*/ 326778 w 803926"/>
                <a:gd name="connsiteY166" fmla="*/ 48723 h 488614"/>
                <a:gd name="connsiteX167" fmla="*/ 332817 w 803926"/>
                <a:gd name="connsiteY167" fmla="*/ 53566 h 488614"/>
                <a:gd name="connsiteX168" fmla="*/ 337322 w 803926"/>
                <a:gd name="connsiteY168" fmla="*/ 55984 h 488614"/>
                <a:gd name="connsiteX169" fmla="*/ 340348 w 803926"/>
                <a:gd name="connsiteY169" fmla="*/ 58064 h 488614"/>
                <a:gd name="connsiteX170" fmla="*/ 341894 w 803926"/>
                <a:gd name="connsiteY170" fmla="*/ 59807 h 488614"/>
                <a:gd name="connsiteX171" fmla="*/ 343972 w 803926"/>
                <a:gd name="connsiteY171" fmla="*/ 63587 h 488614"/>
                <a:gd name="connsiteX172" fmla="*/ 347890 w 803926"/>
                <a:gd name="connsiteY172" fmla="*/ 72297 h 488614"/>
                <a:gd name="connsiteX173" fmla="*/ 347890 w 803926"/>
                <a:gd name="connsiteY173" fmla="*/ 76293 h 488614"/>
                <a:gd name="connsiteX174" fmla="*/ 349390 w 803926"/>
                <a:gd name="connsiteY174" fmla="*/ 80071 h 488614"/>
                <a:gd name="connsiteX175" fmla="*/ 352388 w 803926"/>
                <a:gd name="connsiteY175" fmla="*/ 84966 h 488614"/>
                <a:gd name="connsiteX176" fmla="*/ 355009 w 803926"/>
                <a:gd name="connsiteY176" fmla="*/ 87845 h 488614"/>
                <a:gd name="connsiteX177" fmla="*/ 357251 w 803926"/>
                <a:gd name="connsiteY177" fmla="*/ 88712 h 488614"/>
                <a:gd name="connsiteX178" fmla="*/ 359703 w 803926"/>
                <a:gd name="connsiteY178" fmla="*/ 90442 h 488614"/>
                <a:gd name="connsiteX179" fmla="*/ 362363 w 803926"/>
                <a:gd name="connsiteY179" fmla="*/ 93036 h 488614"/>
                <a:gd name="connsiteX180" fmla="*/ 365427 w 803926"/>
                <a:gd name="connsiteY180" fmla="*/ 94777 h 488614"/>
                <a:gd name="connsiteX181" fmla="*/ 368896 w 803926"/>
                <a:gd name="connsiteY181" fmla="*/ 95663 h 488614"/>
                <a:gd name="connsiteX182" fmla="*/ 373688 w 803926"/>
                <a:gd name="connsiteY182" fmla="*/ 97988 h 488614"/>
                <a:gd name="connsiteX183" fmla="*/ 379799 w 803926"/>
                <a:gd name="connsiteY183" fmla="*/ 101749 h 488614"/>
                <a:gd name="connsiteX184" fmla="*/ 383989 w 803926"/>
                <a:gd name="connsiteY184" fmla="*/ 103669 h 488614"/>
                <a:gd name="connsiteX185" fmla="*/ 386256 w 803926"/>
                <a:gd name="connsiteY185" fmla="*/ 103750 h 488614"/>
                <a:gd name="connsiteX186" fmla="*/ 388242 w 803926"/>
                <a:gd name="connsiteY186" fmla="*/ 102544 h 488614"/>
                <a:gd name="connsiteX187" fmla="*/ 389944 w 803926"/>
                <a:gd name="connsiteY187" fmla="*/ 100050 h 488614"/>
                <a:gd name="connsiteX188" fmla="*/ 391618 w 803926"/>
                <a:gd name="connsiteY188" fmla="*/ 98445 h 488614"/>
                <a:gd name="connsiteX189" fmla="*/ 393263 w 803926"/>
                <a:gd name="connsiteY189" fmla="*/ 97726 h 488614"/>
                <a:gd name="connsiteX190" fmla="*/ 393930 w 803926"/>
                <a:gd name="connsiteY190" fmla="*/ 96577 h 488614"/>
                <a:gd name="connsiteX191" fmla="*/ 393622 w 803926"/>
                <a:gd name="connsiteY191" fmla="*/ 94992 h 488614"/>
                <a:gd name="connsiteX192" fmla="*/ 394734 w 803926"/>
                <a:gd name="connsiteY192" fmla="*/ 91436 h 488614"/>
                <a:gd name="connsiteX193" fmla="*/ 397265 w 803926"/>
                <a:gd name="connsiteY193" fmla="*/ 85901 h 488614"/>
                <a:gd name="connsiteX194" fmla="*/ 400287 w 803926"/>
                <a:gd name="connsiteY194" fmla="*/ 82898 h 488614"/>
                <a:gd name="connsiteX195" fmla="*/ 403803 w 803926"/>
                <a:gd name="connsiteY195" fmla="*/ 82433 h 488614"/>
                <a:gd name="connsiteX196" fmla="*/ 406101 w 803926"/>
                <a:gd name="connsiteY196" fmla="*/ 81393 h 488614"/>
                <a:gd name="connsiteX197" fmla="*/ 407182 w 803926"/>
                <a:gd name="connsiteY197" fmla="*/ 79775 h 488614"/>
                <a:gd name="connsiteX198" fmla="*/ 409061 w 803926"/>
                <a:gd name="connsiteY198" fmla="*/ 79603 h 488614"/>
                <a:gd name="connsiteX199" fmla="*/ 411744 w 803926"/>
                <a:gd name="connsiteY199" fmla="*/ 80877 h 488614"/>
                <a:gd name="connsiteX200" fmla="*/ 416111 w 803926"/>
                <a:gd name="connsiteY200" fmla="*/ 81696 h 488614"/>
                <a:gd name="connsiteX201" fmla="*/ 422160 w 803926"/>
                <a:gd name="connsiteY201" fmla="*/ 82063 h 488614"/>
                <a:gd name="connsiteX202" fmla="*/ 425729 w 803926"/>
                <a:gd name="connsiteY202" fmla="*/ 81938 h 488614"/>
                <a:gd name="connsiteX203" fmla="*/ 426817 w 803926"/>
                <a:gd name="connsiteY203" fmla="*/ 81321 h 488614"/>
                <a:gd name="connsiteX204" fmla="*/ 427382 w 803926"/>
                <a:gd name="connsiteY204" fmla="*/ 81353 h 488614"/>
                <a:gd name="connsiteX205" fmla="*/ 427427 w 803926"/>
                <a:gd name="connsiteY205" fmla="*/ 82033 h 488614"/>
                <a:gd name="connsiteX206" fmla="*/ 428324 w 803926"/>
                <a:gd name="connsiteY206" fmla="*/ 82321 h 488614"/>
                <a:gd name="connsiteX207" fmla="*/ 430070 w 803926"/>
                <a:gd name="connsiteY207" fmla="*/ 82218 h 488614"/>
                <a:gd name="connsiteX208" fmla="*/ 431592 w 803926"/>
                <a:gd name="connsiteY208" fmla="*/ 83168 h 488614"/>
                <a:gd name="connsiteX209" fmla="*/ 433540 w 803926"/>
                <a:gd name="connsiteY209" fmla="*/ 86174 h 488614"/>
                <a:gd name="connsiteX210" fmla="*/ 440248 w 803926"/>
                <a:gd name="connsiteY210" fmla="*/ 90981 h 488614"/>
                <a:gd name="connsiteX211" fmla="*/ 440257 w 803926"/>
                <a:gd name="connsiteY211" fmla="*/ 90984 h 488614"/>
                <a:gd name="connsiteX212" fmla="*/ 440823 w 803926"/>
                <a:gd name="connsiteY212" fmla="*/ 92633 h 488614"/>
                <a:gd name="connsiteX213" fmla="*/ 443161 w 803926"/>
                <a:gd name="connsiteY213" fmla="*/ 95010 h 488614"/>
                <a:gd name="connsiteX214" fmla="*/ 447459 w 803926"/>
                <a:gd name="connsiteY214" fmla="*/ 98662 h 488614"/>
                <a:gd name="connsiteX215" fmla="*/ 449892 w 803926"/>
                <a:gd name="connsiteY215" fmla="*/ 101808 h 488614"/>
                <a:gd name="connsiteX216" fmla="*/ 450458 w 803926"/>
                <a:gd name="connsiteY216" fmla="*/ 104450 h 488614"/>
                <a:gd name="connsiteX217" fmla="*/ 452655 w 803926"/>
                <a:gd name="connsiteY217" fmla="*/ 108627 h 488614"/>
                <a:gd name="connsiteX218" fmla="*/ 456478 w 803926"/>
                <a:gd name="connsiteY218" fmla="*/ 114330 h 488614"/>
                <a:gd name="connsiteX219" fmla="*/ 458181 w 803926"/>
                <a:gd name="connsiteY219" fmla="*/ 117404 h 488614"/>
                <a:gd name="connsiteX220" fmla="*/ 457766 w 803926"/>
                <a:gd name="connsiteY220" fmla="*/ 117846 h 488614"/>
                <a:gd name="connsiteX221" fmla="*/ 458066 w 803926"/>
                <a:gd name="connsiteY221" fmla="*/ 119449 h 488614"/>
                <a:gd name="connsiteX222" fmla="*/ 459087 w 803926"/>
                <a:gd name="connsiteY222" fmla="*/ 122211 h 488614"/>
                <a:gd name="connsiteX223" fmla="*/ 460982 w 803926"/>
                <a:gd name="connsiteY223" fmla="*/ 124547 h 488614"/>
                <a:gd name="connsiteX224" fmla="*/ 463754 w 803926"/>
                <a:gd name="connsiteY224" fmla="*/ 126460 h 488614"/>
                <a:gd name="connsiteX225" fmla="*/ 466556 w 803926"/>
                <a:gd name="connsiteY225" fmla="*/ 129894 h 488614"/>
                <a:gd name="connsiteX226" fmla="*/ 469391 w 803926"/>
                <a:gd name="connsiteY226" fmla="*/ 134844 h 488614"/>
                <a:gd name="connsiteX227" fmla="*/ 472824 w 803926"/>
                <a:gd name="connsiteY227" fmla="*/ 138608 h 488614"/>
                <a:gd name="connsiteX228" fmla="*/ 476855 w 803926"/>
                <a:gd name="connsiteY228" fmla="*/ 141182 h 488614"/>
                <a:gd name="connsiteX229" fmla="*/ 479136 w 803926"/>
                <a:gd name="connsiteY229" fmla="*/ 143577 h 488614"/>
                <a:gd name="connsiteX230" fmla="*/ 479670 w 803926"/>
                <a:gd name="connsiteY230" fmla="*/ 145791 h 488614"/>
                <a:gd name="connsiteX231" fmla="*/ 479630 w 803926"/>
                <a:gd name="connsiteY231" fmla="*/ 147686 h 488614"/>
                <a:gd name="connsiteX232" fmla="*/ 479017 w 803926"/>
                <a:gd name="connsiteY232" fmla="*/ 149264 h 488614"/>
                <a:gd name="connsiteX233" fmla="*/ 479276 w 803926"/>
                <a:gd name="connsiteY233" fmla="*/ 150762 h 488614"/>
                <a:gd name="connsiteX234" fmla="*/ 480409 w 803926"/>
                <a:gd name="connsiteY234" fmla="*/ 152177 h 488614"/>
                <a:gd name="connsiteX235" fmla="*/ 480787 w 803926"/>
                <a:gd name="connsiteY235" fmla="*/ 153913 h 488614"/>
                <a:gd name="connsiteX236" fmla="*/ 480343 w 803926"/>
                <a:gd name="connsiteY236" fmla="*/ 156326 h 488614"/>
                <a:gd name="connsiteX237" fmla="*/ 480373 w 803926"/>
                <a:gd name="connsiteY237" fmla="*/ 157008 h 488614"/>
                <a:gd name="connsiteX238" fmla="*/ 480374 w 803926"/>
                <a:gd name="connsiteY238" fmla="*/ 157009 h 488614"/>
                <a:gd name="connsiteX239" fmla="*/ 480702 w 803926"/>
                <a:gd name="connsiteY239" fmla="*/ 157554 h 488614"/>
                <a:gd name="connsiteX240" fmla="*/ 484280 w 803926"/>
                <a:gd name="connsiteY240" fmla="*/ 161697 h 488614"/>
                <a:gd name="connsiteX241" fmla="*/ 486119 w 803926"/>
                <a:gd name="connsiteY241" fmla="*/ 165043 h 488614"/>
                <a:gd name="connsiteX242" fmla="*/ 487579 w 803926"/>
                <a:gd name="connsiteY242" fmla="*/ 170377 h 488614"/>
                <a:gd name="connsiteX243" fmla="*/ 487586 w 803926"/>
                <a:gd name="connsiteY243" fmla="*/ 170426 h 488614"/>
                <a:gd name="connsiteX244" fmla="*/ 489217 w 803926"/>
                <a:gd name="connsiteY244" fmla="*/ 173615 h 488614"/>
                <a:gd name="connsiteX245" fmla="*/ 491562 w 803926"/>
                <a:gd name="connsiteY245" fmla="*/ 174917 h 488614"/>
                <a:gd name="connsiteX246" fmla="*/ 495165 w 803926"/>
                <a:gd name="connsiteY246" fmla="*/ 175399 h 488614"/>
                <a:gd name="connsiteX247" fmla="*/ 497902 w 803926"/>
                <a:gd name="connsiteY247" fmla="*/ 176509 h 488614"/>
                <a:gd name="connsiteX248" fmla="*/ 499775 w 803926"/>
                <a:gd name="connsiteY248" fmla="*/ 178247 h 488614"/>
                <a:gd name="connsiteX249" fmla="*/ 502136 w 803926"/>
                <a:gd name="connsiteY249" fmla="*/ 179296 h 488614"/>
                <a:gd name="connsiteX250" fmla="*/ 504985 w 803926"/>
                <a:gd name="connsiteY250" fmla="*/ 179657 h 488614"/>
                <a:gd name="connsiteX251" fmla="*/ 507718 w 803926"/>
                <a:gd name="connsiteY251" fmla="*/ 180802 h 488614"/>
                <a:gd name="connsiteX252" fmla="*/ 510331 w 803926"/>
                <a:gd name="connsiteY252" fmla="*/ 182735 h 488614"/>
                <a:gd name="connsiteX253" fmla="*/ 515206 w 803926"/>
                <a:gd name="connsiteY253" fmla="*/ 184003 h 488614"/>
                <a:gd name="connsiteX254" fmla="*/ 522341 w 803926"/>
                <a:gd name="connsiteY254" fmla="*/ 184611 h 488614"/>
                <a:gd name="connsiteX255" fmla="*/ 527772 w 803926"/>
                <a:gd name="connsiteY255" fmla="*/ 186180 h 488614"/>
                <a:gd name="connsiteX256" fmla="*/ 531499 w 803926"/>
                <a:gd name="connsiteY256" fmla="*/ 188711 h 488614"/>
                <a:gd name="connsiteX257" fmla="*/ 533137 w 803926"/>
                <a:gd name="connsiteY257" fmla="*/ 189227 h 488614"/>
                <a:gd name="connsiteX258" fmla="*/ 533581 w 803926"/>
                <a:gd name="connsiteY258" fmla="*/ 189263 h 488614"/>
                <a:gd name="connsiteX259" fmla="*/ 533793 w 803926"/>
                <a:gd name="connsiteY259" fmla="*/ 188876 h 488614"/>
                <a:gd name="connsiteX260" fmla="*/ 534075 w 803926"/>
                <a:gd name="connsiteY260" fmla="*/ 188160 h 488614"/>
                <a:gd name="connsiteX261" fmla="*/ 535517 w 803926"/>
                <a:gd name="connsiteY261" fmla="*/ 187335 h 488614"/>
                <a:gd name="connsiteX262" fmla="*/ 538954 w 803926"/>
                <a:gd name="connsiteY262" fmla="*/ 186796 h 488614"/>
                <a:gd name="connsiteX263" fmla="*/ 538492 w 803926"/>
                <a:gd name="connsiteY263" fmla="*/ 192394 h 488614"/>
                <a:gd name="connsiteX264" fmla="*/ 536959 w 803926"/>
                <a:gd name="connsiteY264" fmla="*/ 196984 h 488614"/>
                <a:gd name="connsiteX265" fmla="*/ 531909 w 803926"/>
                <a:gd name="connsiteY265" fmla="*/ 206511 h 488614"/>
                <a:gd name="connsiteX266" fmla="*/ 529805 w 803926"/>
                <a:gd name="connsiteY266" fmla="*/ 212412 h 488614"/>
                <a:gd name="connsiteX267" fmla="*/ 525732 w 803926"/>
                <a:gd name="connsiteY267" fmla="*/ 229240 h 488614"/>
                <a:gd name="connsiteX268" fmla="*/ 524481 w 803926"/>
                <a:gd name="connsiteY268" fmla="*/ 240241 h 488614"/>
                <a:gd name="connsiteX269" fmla="*/ 524187 w 803926"/>
                <a:gd name="connsiteY269" fmla="*/ 245412 h 488614"/>
                <a:gd name="connsiteX270" fmla="*/ 523830 w 803926"/>
                <a:gd name="connsiteY270" fmla="*/ 246144 h 488614"/>
                <a:gd name="connsiteX271" fmla="*/ 524218 w 803926"/>
                <a:gd name="connsiteY271" fmla="*/ 246906 h 488614"/>
                <a:gd name="connsiteX272" fmla="*/ 523242 w 803926"/>
                <a:gd name="connsiteY272" fmla="*/ 258319 h 488614"/>
                <a:gd name="connsiteX273" fmla="*/ 523766 w 803926"/>
                <a:gd name="connsiteY273" fmla="*/ 268046 h 488614"/>
                <a:gd name="connsiteX274" fmla="*/ 523434 w 803926"/>
                <a:gd name="connsiteY274" fmla="*/ 269552 h 488614"/>
                <a:gd name="connsiteX275" fmla="*/ 521953 w 803926"/>
                <a:gd name="connsiteY275" fmla="*/ 272480 h 488614"/>
                <a:gd name="connsiteX276" fmla="*/ 520911 w 803926"/>
                <a:gd name="connsiteY276" fmla="*/ 276532 h 488614"/>
                <a:gd name="connsiteX277" fmla="*/ 521323 w 803926"/>
                <a:gd name="connsiteY277" fmla="*/ 278331 h 488614"/>
                <a:gd name="connsiteX278" fmla="*/ 521300 w 803926"/>
                <a:gd name="connsiteY278" fmla="*/ 279578 h 488614"/>
                <a:gd name="connsiteX279" fmla="*/ 522824 w 803926"/>
                <a:gd name="connsiteY279" fmla="*/ 285734 h 488614"/>
                <a:gd name="connsiteX280" fmla="*/ 523308 w 803926"/>
                <a:gd name="connsiteY280" fmla="*/ 290352 h 488614"/>
                <a:gd name="connsiteX281" fmla="*/ 527835 w 803926"/>
                <a:gd name="connsiteY281" fmla="*/ 298259 h 488614"/>
                <a:gd name="connsiteX282" fmla="*/ 530377 w 803926"/>
                <a:gd name="connsiteY282" fmla="*/ 301015 h 488614"/>
                <a:gd name="connsiteX283" fmla="*/ 533529 w 803926"/>
                <a:gd name="connsiteY283" fmla="*/ 303403 h 488614"/>
                <a:gd name="connsiteX284" fmla="*/ 534688 w 803926"/>
                <a:gd name="connsiteY284" fmla="*/ 304749 h 488614"/>
                <a:gd name="connsiteX285" fmla="*/ 534120 w 803926"/>
                <a:gd name="connsiteY285" fmla="*/ 308103 h 488614"/>
                <a:gd name="connsiteX286" fmla="*/ 532836 w 803926"/>
                <a:gd name="connsiteY286" fmla="*/ 309799 h 488614"/>
                <a:gd name="connsiteX287" fmla="*/ 532286 w 803926"/>
                <a:gd name="connsiteY287" fmla="*/ 312488 h 488614"/>
                <a:gd name="connsiteX288" fmla="*/ 531654 w 803926"/>
                <a:gd name="connsiteY288" fmla="*/ 310262 h 488614"/>
                <a:gd name="connsiteX289" fmla="*/ 531900 w 803926"/>
                <a:gd name="connsiteY289" fmla="*/ 307375 h 488614"/>
                <a:gd name="connsiteX290" fmla="*/ 532904 w 803926"/>
                <a:gd name="connsiteY290" fmla="*/ 305822 h 488614"/>
                <a:gd name="connsiteX291" fmla="*/ 532940 w 803926"/>
                <a:gd name="connsiteY291" fmla="*/ 304684 h 488614"/>
                <a:gd name="connsiteX292" fmla="*/ 531085 w 803926"/>
                <a:gd name="connsiteY292" fmla="*/ 303470 h 488614"/>
                <a:gd name="connsiteX293" fmla="*/ 527693 w 803926"/>
                <a:gd name="connsiteY293" fmla="*/ 299496 h 488614"/>
                <a:gd name="connsiteX294" fmla="*/ 523548 w 803926"/>
                <a:gd name="connsiteY294" fmla="*/ 292460 h 488614"/>
                <a:gd name="connsiteX295" fmla="*/ 526497 w 803926"/>
                <a:gd name="connsiteY295" fmla="*/ 303702 h 488614"/>
                <a:gd name="connsiteX296" fmla="*/ 527509 w 803926"/>
                <a:gd name="connsiteY296" fmla="*/ 305501 h 488614"/>
                <a:gd name="connsiteX297" fmla="*/ 528297 w 803926"/>
                <a:gd name="connsiteY297" fmla="*/ 306250 h 488614"/>
                <a:gd name="connsiteX298" fmla="*/ 529614 w 803926"/>
                <a:gd name="connsiteY298" fmla="*/ 307039 h 488614"/>
                <a:gd name="connsiteX299" fmla="*/ 529957 w 803926"/>
                <a:gd name="connsiteY299" fmla="*/ 308258 h 488614"/>
                <a:gd name="connsiteX300" fmla="*/ 529969 w 803926"/>
                <a:gd name="connsiteY300" fmla="*/ 309160 h 488614"/>
                <a:gd name="connsiteX301" fmla="*/ 533606 w 803926"/>
                <a:gd name="connsiteY301" fmla="*/ 316957 h 488614"/>
                <a:gd name="connsiteX302" fmla="*/ 537718 w 803926"/>
                <a:gd name="connsiteY302" fmla="*/ 325005 h 488614"/>
                <a:gd name="connsiteX303" fmla="*/ 537937 w 803926"/>
                <a:gd name="connsiteY303" fmla="*/ 327202 h 488614"/>
                <a:gd name="connsiteX304" fmla="*/ 539583 w 803926"/>
                <a:gd name="connsiteY304" fmla="*/ 329901 h 488614"/>
                <a:gd name="connsiteX305" fmla="*/ 550049 w 803926"/>
                <a:gd name="connsiteY305" fmla="*/ 341176 h 488614"/>
                <a:gd name="connsiteX306" fmla="*/ 556455 w 803926"/>
                <a:gd name="connsiteY306" fmla="*/ 349578 h 488614"/>
                <a:gd name="connsiteX307" fmla="*/ 558678 w 803926"/>
                <a:gd name="connsiteY307" fmla="*/ 357550 h 488614"/>
                <a:gd name="connsiteX308" fmla="*/ 560023 w 803926"/>
                <a:gd name="connsiteY308" fmla="*/ 360035 h 488614"/>
                <a:gd name="connsiteX309" fmla="*/ 560677 w 803926"/>
                <a:gd name="connsiteY309" fmla="*/ 363432 h 488614"/>
                <a:gd name="connsiteX310" fmla="*/ 564875 w 803926"/>
                <a:gd name="connsiteY310" fmla="*/ 367237 h 488614"/>
                <a:gd name="connsiteX311" fmla="*/ 566158 w 803926"/>
                <a:gd name="connsiteY311" fmla="*/ 369693 h 488614"/>
                <a:gd name="connsiteX312" fmla="*/ 568407 w 803926"/>
                <a:gd name="connsiteY312" fmla="*/ 371057 h 488614"/>
                <a:gd name="connsiteX313" fmla="*/ 570223 w 803926"/>
                <a:gd name="connsiteY313" fmla="*/ 375171 h 488614"/>
                <a:gd name="connsiteX314" fmla="*/ 573645 w 803926"/>
                <a:gd name="connsiteY314" fmla="*/ 377578 h 488614"/>
                <a:gd name="connsiteX315" fmla="*/ 572827 w 803926"/>
                <a:gd name="connsiteY315" fmla="*/ 377622 h 488614"/>
                <a:gd name="connsiteX316" fmla="*/ 569838 w 803926"/>
                <a:gd name="connsiteY316" fmla="*/ 376407 h 488614"/>
                <a:gd name="connsiteX317" fmla="*/ 570037 w 803926"/>
                <a:gd name="connsiteY317" fmla="*/ 377209 h 488614"/>
                <a:gd name="connsiteX318" fmla="*/ 572555 w 803926"/>
                <a:gd name="connsiteY318" fmla="*/ 378914 h 488614"/>
                <a:gd name="connsiteX319" fmla="*/ 577482 w 803926"/>
                <a:gd name="connsiteY319" fmla="*/ 380596 h 488614"/>
                <a:gd name="connsiteX320" fmla="*/ 578711 w 803926"/>
                <a:gd name="connsiteY320" fmla="*/ 380600 h 488614"/>
                <a:gd name="connsiteX321" fmla="*/ 576769 w 803926"/>
                <a:gd name="connsiteY321" fmla="*/ 379727 h 488614"/>
                <a:gd name="connsiteX322" fmla="*/ 575122 w 803926"/>
                <a:gd name="connsiteY322" fmla="*/ 378554 h 488614"/>
                <a:gd name="connsiteX323" fmla="*/ 575699 w 803926"/>
                <a:gd name="connsiteY323" fmla="*/ 378382 h 488614"/>
                <a:gd name="connsiteX324" fmla="*/ 579139 w 803926"/>
                <a:gd name="connsiteY324" fmla="*/ 379846 h 488614"/>
                <a:gd name="connsiteX325" fmla="*/ 588765 w 803926"/>
                <a:gd name="connsiteY325" fmla="*/ 380329 h 488614"/>
                <a:gd name="connsiteX326" fmla="*/ 593003 w 803926"/>
                <a:gd name="connsiteY326" fmla="*/ 383744 h 488614"/>
                <a:gd name="connsiteX327" fmla="*/ 598493 w 803926"/>
                <a:gd name="connsiteY327" fmla="*/ 385213 h 488614"/>
                <a:gd name="connsiteX328" fmla="*/ 601447 w 803926"/>
                <a:gd name="connsiteY328" fmla="*/ 389568 h 488614"/>
                <a:gd name="connsiteX329" fmla="*/ 604882 w 803926"/>
                <a:gd name="connsiteY329" fmla="*/ 394117 h 488614"/>
                <a:gd name="connsiteX330" fmla="*/ 607073 w 803926"/>
                <a:gd name="connsiteY330" fmla="*/ 394333 h 488614"/>
                <a:gd name="connsiteX331" fmla="*/ 608784 w 803926"/>
                <a:gd name="connsiteY331" fmla="*/ 394351 h 488614"/>
                <a:gd name="connsiteX332" fmla="*/ 613938 w 803926"/>
                <a:gd name="connsiteY332" fmla="*/ 393583 h 488614"/>
                <a:gd name="connsiteX333" fmla="*/ 621948 w 803926"/>
                <a:gd name="connsiteY333" fmla="*/ 390722 h 488614"/>
                <a:gd name="connsiteX334" fmla="*/ 624705 w 803926"/>
                <a:gd name="connsiteY334" fmla="*/ 389321 h 488614"/>
                <a:gd name="connsiteX335" fmla="*/ 630082 w 803926"/>
                <a:gd name="connsiteY335" fmla="*/ 387419 h 488614"/>
                <a:gd name="connsiteX336" fmla="*/ 638309 w 803926"/>
                <a:gd name="connsiteY336" fmla="*/ 387070 h 488614"/>
                <a:gd name="connsiteX337" fmla="*/ 640859 w 803926"/>
                <a:gd name="connsiteY337" fmla="*/ 387603 h 488614"/>
                <a:gd name="connsiteX338" fmla="*/ 647010 w 803926"/>
                <a:gd name="connsiteY338" fmla="*/ 386417 h 488614"/>
                <a:gd name="connsiteX339" fmla="*/ 649943 w 803926"/>
                <a:gd name="connsiteY339" fmla="*/ 384963 h 488614"/>
                <a:gd name="connsiteX340" fmla="*/ 650960 w 803926"/>
                <a:gd name="connsiteY340" fmla="*/ 383641 h 488614"/>
                <a:gd name="connsiteX341" fmla="*/ 651438 w 803926"/>
                <a:gd name="connsiteY341" fmla="*/ 382666 h 488614"/>
                <a:gd name="connsiteX342" fmla="*/ 657139 w 803926"/>
                <a:gd name="connsiteY342" fmla="*/ 381272 h 488614"/>
                <a:gd name="connsiteX343" fmla="*/ 658261 w 803926"/>
                <a:gd name="connsiteY343" fmla="*/ 380997 h 488614"/>
                <a:gd name="connsiteX344" fmla="*/ 664039 w 803926"/>
                <a:gd name="connsiteY344" fmla="*/ 380746 h 488614"/>
                <a:gd name="connsiteX345" fmla="*/ 666826 w 803926"/>
                <a:gd name="connsiteY345" fmla="*/ 380233 h 488614"/>
                <a:gd name="connsiteX346" fmla="*/ 670109 w 803926"/>
                <a:gd name="connsiteY346" fmla="*/ 379932 h 488614"/>
                <a:gd name="connsiteX347" fmla="*/ 672477 w 803926"/>
                <a:gd name="connsiteY347" fmla="*/ 381981 h 488614"/>
                <a:gd name="connsiteX348" fmla="*/ 672475 w 803926"/>
                <a:gd name="connsiteY348" fmla="*/ 382982 h 488614"/>
                <a:gd name="connsiteX349" fmla="*/ 670898 w 803926"/>
                <a:gd name="connsiteY349" fmla="*/ 383932 h 488614"/>
                <a:gd name="connsiteX350" fmla="*/ 671636 w 803926"/>
                <a:gd name="connsiteY350" fmla="*/ 384847 h 488614"/>
                <a:gd name="connsiteX351" fmla="*/ 674439 w 803926"/>
                <a:gd name="connsiteY351" fmla="*/ 386367 h 488614"/>
                <a:gd name="connsiteX352" fmla="*/ 679594 w 803926"/>
                <a:gd name="connsiteY352" fmla="*/ 386981 h 488614"/>
                <a:gd name="connsiteX353" fmla="*/ 681260 w 803926"/>
                <a:gd name="connsiteY353" fmla="*/ 386736 h 488614"/>
                <a:gd name="connsiteX354" fmla="*/ 683631 w 803926"/>
                <a:gd name="connsiteY354" fmla="*/ 384498 h 488614"/>
                <a:gd name="connsiteX355" fmla="*/ 687822 w 803926"/>
                <a:gd name="connsiteY355" fmla="*/ 382330 h 488614"/>
                <a:gd name="connsiteX356" fmla="*/ 687732 w 803926"/>
                <a:gd name="connsiteY356" fmla="*/ 379806 h 488614"/>
                <a:gd name="connsiteX357" fmla="*/ 686983 w 803926"/>
                <a:gd name="connsiteY357" fmla="*/ 378425 h 488614"/>
                <a:gd name="connsiteX358" fmla="*/ 685766 w 803926"/>
                <a:gd name="connsiteY358" fmla="*/ 378339 h 488614"/>
                <a:gd name="connsiteX359" fmla="*/ 685475 w 803926"/>
                <a:gd name="connsiteY359" fmla="*/ 377563 h 488614"/>
                <a:gd name="connsiteX360" fmla="*/ 686326 w 803926"/>
                <a:gd name="connsiteY360" fmla="*/ 375707 h 488614"/>
                <a:gd name="connsiteX361" fmla="*/ 686102 w 803926"/>
                <a:gd name="connsiteY361" fmla="*/ 375082 h 488614"/>
                <a:gd name="connsiteX362" fmla="*/ 683503 w 803926"/>
                <a:gd name="connsiteY362" fmla="*/ 376862 h 488614"/>
                <a:gd name="connsiteX363" fmla="*/ 682903 w 803926"/>
                <a:gd name="connsiteY363" fmla="*/ 376857 h 488614"/>
                <a:gd name="connsiteX364" fmla="*/ 683191 w 803926"/>
                <a:gd name="connsiteY364" fmla="*/ 376026 h 488614"/>
                <a:gd name="connsiteX365" fmla="*/ 683728 w 803926"/>
                <a:gd name="connsiteY365" fmla="*/ 375365 h 488614"/>
                <a:gd name="connsiteX366" fmla="*/ 691353 w 803926"/>
                <a:gd name="connsiteY366" fmla="*/ 371485 h 488614"/>
                <a:gd name="connsiteX367" fmla="*/ 693306 w 803926"/>
                <a:gd name="connsiteY367" fmla="*/ 369890 h 488614"/>
                <a:gd name="connsiteX368" fmla="*/ 695940 w 803926"/>
                <a:gd name="connsiteY368" fmla="*/ 368484 h 488614"/>
                <a:gd name="connsiteX369" fmla="*/ 701411 w 803926"/>
                <a:gd name="connsiteY369" fmla="*/ 363209 h 488614"/>
                <a:gd name="connsiteX370" fmla="*/ 702581 w 803926"/>
                <a:gd name="connsiteY370" fmla="*/ 353266 h 488614"/>
                <a:gd name="connsiteX371" fmla="*/ 703673 w 803926"/>
                <a:gd name="connsiteY371" fmla="*/ 351525 h 488614"/>
                <a:gd name="connsiteX372" fmla="*/ 707299 w 803926"/>
                <a:gd name="connsiteY372" fmla="*/ 348469 h 488614"/>
                <a:gd name="connsiteX373" fmla="*/ 707689 w 803926"/>
                <a:gd name="connsiteY373" fmla="*/ 347548 h 488614"/>
                <a:gd name="connsiteX374" fmla="*/ 707925 w 803926"/>
                <a:gd name="connsiteY374" fmla="*/ 345464 h 488614"/>
                <a:gd name="connsiteX375" fmla="*/ 707824 w 803926"/>
                <a:gd name="connsiteY375" fmla="*/ 340232 h 488614"/>
                <a:gd name="connsiteX376" fmla="*/ 708028 w 803926"/>
                <a:gd name="connsiteY376" fmla="*/ 336113 h 488614"/>
                <a:gd name="connsiteX377" fmla="*/ 707881 w 803926"/>
                <a:gd name="connsiteY377" fmla="*/ 331451 h 488614"/>
                <a:gd name="connsiteX378" fmla="*/ 708533 w 803926"/>
                <a:gd name="connsiteY378" fmla="*/ 327290 h 488614"/>
                <a:gd name="connsiteX379" fmla="*/ 709123 w 803926"/>
                <a:gd name="connsiteY379" fmla="*/ 326131 h 488614"/>
                <a:gd name="connsiteX380" fmla="*/ 711203 w 803926"/>
                <a:gd name="connsiteY380" fmla="*/ 319463 h 488614"/>
                <a:gd name="connsiteX381" fmla="*/ 715519 w 803926"/>
                <a:gd name="connsiteY381" fmla="*/ 316509 h 488614"/>
                <a:gd name="connsiteX382" fmla="*/ 723005 w 803926"/>
                <a:gd name="connsiteY382" fmla="*/ 313017 h 488614"/>
                <a:gd name="connsiteX383" fmla="*/ 724726 w 803926"/>
                <a:gd name="connsiteY383" fmla="*/ 312434 h 488614"/>
                <a:gd name="connsiteX384" fmla="*/ 748589 w 803926"/>
                <a:gd name="connsiteY384" fmla="*/ 308734 h 488614"/>
                <a:gd name="connsiteX385" fmla="*/ 751936 w 803926"/>
                <a:gd name="connsiteY385" fmla="*/ 307830 h 488614"/>
                <a:gd name="connsiteX386" fmla="*/ 756039 w 803926"/>
                <a:gd name="connsiteY386" fmla="*/ 305428 h 488614"/>
                <a:gd name="connsiteX387" fmla="*/ 759036 w 803926"/>
                <a:gd name="connsiteY387" fmla="*/ 304612 h 488614"/>
                <a:gd name="connsiteX388" fmla="*/ 764505 w 803926"/>
                <a:gd name="connsiteY388" fmla="*/ 304678 h 488614"/>
                <a:gd name="connsiteX389" fmla="*/ 766185 w 803926"/>
                <a:gd name="connsiteY389" fmla="*/ 304358 h 488614"/>
                <a:gd name="connsiteX390" fmla="*/ 766515 w 803926"/>
                <a:gd name="connsiteY390" fmla="*/ 304027 h 488614"/>
                <a:gd name="connsiteX391" fmla="*/ 766523 w 803926"/>
                <a:gd name="connsiteY391" fmla="*/ 303705 h 488614"/>
                <a:gd name="connsiteX392" fmla="*/ 767531 w 803926"/>
                <a:gd name="connsiteY392" fmla="*/ 303377 h 488614"/>
                <a:gd name="connsiteX393" fmla="*/ 770696 w 803926"/>
                <a:gd name="connsiteY393" fmla="*/ 303692 h 488614"/>
                <a:gd name="connsiteX394" fmla="*/ 776608 w 803926"/>
                <a:gd name="connsiteY394" fmla="*/ 305140 h 488614"/>
                <a:gd name="connsiteX395" fmla="*/ 778760 w 803926"/>
                <a:gd name="connsiteY395" fmla="*/ 305502 h 488614"/>
                <a:gd name="connsiteX396" fmla="*/ 784043 w 803926"/>
                <a:gd name="connsiteY396" fmla="*/ 307185 h 488614"/>
                <a:gd name="connsiteX397" fmla="*/ 789865 w 803926"/>
                <a:gd name="connsiteY397" fmla="*/ 307861 h 488614"/>
                <a:gd name="connsiteX398" fmla="*/ 790701 w 803926"/>
                <a:gd name="connsiteY398" fmla="*/ 307569 h 488614"/>
                <a:gd name="connsiteX399" fmla="*/ 791469 w 803926"/>
                <a:gd name="connsiteY399" fmla="*/ 307057 h 488614"/>
                <a:gd name="connsiteX400" fmla="*/ 792060 w 803926"/>
                <a:gd name="connsiteY400" fmla="*/ 306077 h 488614"/>
                <a:gd name="connsiteX401" fmla="*/ 791452 w 803926"/>
                <a:gd name="connsiteY401" fmla="*/ 305221 h 488614"/>
                <a:gd name="connsiteX402" fmla="*/ 790886 w 803926"/>
                <a:gd name="connsiteY402" fmla="*/ 305288 h 488614"/>
                <a:gd name="connsiteX403" fmla="*/ 789900 w 803926"/>
                <a:gd name="connsiteY403" fmla="*/ 305748 h 488614"/>
                <a:gd name="connsiteX404" fmla="*/ 788727 w 803926"/>
                <a:gd name="connsiteY404" fmla="*/ 305792 h 488614"/>
                <a:gd name="connsiteX405" fmla="*/ 786421 w 803926"/>
                <a:gd name="connsiteY405" fmla="*/ 305088 h 488614"/>
                <a:gd name="connsiteX406" fmla="*/ 786882 w 803926"/>
                <a:gd name="connsiteY406" fmla="*/ 304497 h 488614"/>
                <a:gd name="connsiteX407" fmla="*/ 789234 w 803926"/>
                <a:gd name="connsiteY407" fmla="*/ 304553 h 488614"/>
                <a:gd name="connsiteX408" fmla="*/ 790737 w 803926"/>
                <a:gd name="connsiteY408" fmla="*/ 304266 h 488614"/>
                <a:gd name="connsiteX409" fmla="*/ 792969 w 803926"/>
                <a:gd name="connsiteY409" fmla="*/ 303228 h 488614"/>
                <a:gd name="connsiteX410" fmla="*/ 795345 w 803926"/>
                <a:gd name="connsiteY410" fmla="*/ 304006 h 488614"/>
                <a:gd name="connsiteX411" fmla="*/ 798464 w 803926"/>
                <a:gd name="connsiteY411" fmla="*/ 307440 h 488614"/>
                <a:gd name="connsiteX412" fmla="*/ 800687 w 803926"/>
                <a:gd name="connsiteY412" fmla="*/ 308533 h 488614"/>
                <a:gd name="connsiteX413" fmla="*/ 800864 w 803926"/>
                <a:gd name="connsiteY413" fmla="*/ 313505 h 488614"/>
                <a:gd name="connsiteX414" fmla="*/ 801199 w 803926"/>
                <a:gd name="connsiteY414" fmla="*/ 314411 h 488614"/>
                <a:gd name="connsiteX415" fmla="*/ 802013 w 803926"/>
                <a:gd name="connsiteY415" fmla="*/ 315723 h 488614"/>
                <a:gd name="connsiteX416" fmla="*/ 800903 w 803926"/>
                <a:gd name="connsiteY416" fmla="*/ 319574 h 488614"/>
                <a:gd name="connsiteX417" fmla="*/ 799657 w 803926"/>
                <a:gd name="connsiteY417" fmla="*/ 322756 h 488614"/>
                <a:gd name="connsiteX418" fmla="*/ 798097 w 803926"/>
                <a:gd name="connsiteY418" fmla="*/ 325365 h 488614"/>
                <a:gd name="connsiteX419" fmla="*/ 794715 w 803926"/>
                <a:gd name="connsiteY419" fmla="*/ 329471 h 488614"/>
                <a:gd name="connsiteX420" fmla="*/ 790616 w 803926"/>
                <a:gd name="connsiteY420" fmla="*/ 332750 h 488614"/>
                <a:gd name="connsiteX421" fmla="*/ 785542 w 803926"/>
                <a:gd name="connsiteY421" fmla="*/ 340037 h 488614"/>
                <a:gd name="connsiteX422" fmla="*/ 784380 w 803926"/>
                <a:gd name="connsiteY422" fmla="*/ 343448 h 488614"/>
                <a:gd name="connsiteX423" fmla="*/ 784414 w 803926"/>
                <a:gd name="connsiteY423" fmla="*/ 346182 h 488614"/>
                <a:gd name="connsiteX424" fmla="*/ 785273 w 803926"/>
                <a:gd name="connsiteY424" fmla="*/ 348821 h 488614"/>
                <a:gd name="connsiteX425" fmla="*/ 785024 w 803926"/>
                <a:gd name="connsiteY425" fmla="*/ 349796 h 488614"/>
                <a:gd name="connsiteX426" fmla="*/ 784405 w 803926"/>
                <a:gd name="connsiteY426" fmla="*/ 350781 h 488614"/>
                <a:gd name="connsiteX427" fmla="*/ 783373 w 803926"/>
                <a:gd name="connsiteY427" fmla="*/ 350692 h 488614"/>
                <a:gd name="connsiteX428" fmla="*/ 781372 w 803926"/>
                <a:gd name="connsiteY428" fmla="*/ 351958 h 488614"/>
                <a:gd name="connsiteX429" fmla="*/ 778789 w 803926"/>
                <a:gd name="connsiteY429" fmla="*/ 355709 h 488614"/>
                <a:gd name="connsiteX430" fmla="*/ 778728 w 803926"/>
                <a:gd name="connsiteY430" fmla="*/ 356852 h 488614"/>
                <a:gd name="connsiteX431" fmla="*/ 779863 w 803926"/>
                <a:gd name="connsiteY431" fmla="*/ 357901 h 488614"/>
                <a:gd name="connsiteX432" fmla="*/ 781334 w 803926"/>
                <a:gd name="connsiteY432" fmla="*/ 357398 h 488614"/>
                <a:gd name="connsiteX433" fmla="*/ 783252 w 803926"/>
                <a:gd name="connsiteY433" fmla="*/ 357352 h 488614"/>
                <a:gd name="connsiteX434" fmla="*/ 784324 w 803926"/>
                <a:gd name="connsiteY434" fmla="*/ 357043 h 488614"/>
                <a:gd name="connsiteX435" fmla="*/ 785456 w 803926"/>
                <a:gd name="connsiteY435" fmla="*/ 357125 h 488614"/>
                <a:gd name="connsiteX436" fmla="*/ 785203 w 803926"/>
                <a:gd name="connsiteY436" fmla="*/ 359275 h 488614"/>
                <a:gd name="connsiteX437" fmla="*/ 783987 w 803926"/>
                <a:gd name="connsiteY437" fmla="*/ 360801 h 488614"/>
                <a:gd name="connsiteX438" fmla="*/ 783221 w 803926"/>
                <a:gd name="connsiteY438" fmla="*/ 361279 h 488614"/>
                <a:gd name="connsiteX439" fmla="*/ 781849 w 803926"/>
                <a:gd name="connsiteY439" fmla="*/ 361538 h 488614"/>
                <a:gd name="connsiteX440" fmla="*/ 780314 w 803926"/>
                <a:gd name="connsiteY440" fmla="*/ 362407 h 488614"/>
                <a:gd name="connsiteX441" fmla="*/ 779524 w 803926"/>
                <a:gd name="connsiteY441" fmla="*/ 363206 h 488614"/>
                <a:gd name="connsiteX442" fmla="*/ 779598 w 803926"/>
                <a:gd name="connsiteY442" fmla="*/ 365691 h 488614"/>
                <a:gd name="connsiteX443" fmla="*/ 780452 w 803926"/>
                <a:gd name="connsiteY443" fmla="*/ 365885 h 488614"/>
                <a:gd name="connsiteX444" fmla="*/ 782261 w 803926"/>
                <a:gd name="connsiteY444" fmla="*/ 364032 h 488614"/>
                <a:gd name="connsiteX445" fmla="*/ 783308 w 803926"/>
                <a:gd name="connsiteY445" fmla="*/ 364124 h 488614"/>
                <a:gd name="connsiteX446" fmla="*/ 783521 w 803926"/>
                <a:gd name="connsiteY446" fmla="*/ 364905 h 488614"/>
                <a:gd name="connsiteX447" fmla="*/ 781176 w 803926"/>
                <a:gd name="connsiteY447" fmla="*/ 371251 h 488614"/>
                <a:gd name="connsiteX448" fmla="*/ 779667 w 803926"/>
                <a:gd name="connsiteY448" fmla="*/ 377762 h 488614"/>
                <a:gd name="connsiteX449" fmla="*/ 777626 w 803926"/>
                <a:gd name="connsiteY449" fmla="*/ 381529 h 488614"/>
                <a:gd name="connsiteX450" fmla="*/ 776909 w 803926"/>
                <a:gd name="connsiteY450" fmla="*/ 387008 h 488614"/>
                <a:gd name="connsiteX451" fmla="*/ 775837 w 803926"/>
                <a:gd name="connsiteY451" fmla="*/ 389342 h 488614"/>
                <a:gd name="connsiteX452" fmla="*/ 774592 w 803926"/>
                <a:gd name="connsiteY452" fmla="*/ 391652 h 488614"/>
                <a:gd name="connsiteX453" fmla="*/ 773862 w 803926"/>
                <a:gd name="connsiteY453" fmla="*/ 391524 h 488614"/>
                <a:gd name="connsiteX454" fmla="*/ 771892 w 803926"/>
                <a:gd name="connsiteY454" fmla="*/ 387146 h 488614"/>
                <a:gd name="connsiteX455" fmla="*/ 769880 w 803926"/>
                <a:gd name="connsiteY455" fmla="*/ 386018 h 488614"/>
                <a:gd name="connsiteX456" fmla="*/ 769438 w 803926"/>
                <a:gd name="connsiteY456" fmla="*/ 384954 h 488614"/>
                <a:gd name="connsiteX457" fmla="*/ 770587 w 803926"/>
                <a:gd name="connsiteY457" fmla="*/ 379644 h 488614"/>
                <a:gd name="connsiteX458" fmla="*/ 770064 w 803926"/>
                <a:gd name="connsiteY458" fmla="*/ 376701 h 488614"/>
                <a:gd name="connsiteX459" fmla="*/ 768999 w 803926"/>
                <a:gd name="connsiteY459" fmla="*/ 376818 h 488614"/>
                <a:gd name="connsiteX460" fmla="*/ 767656 w 803926"/>
                <a:gd name="connsiteY460" fmla="*/ 378431 h 488614"/>
                <a:gd name="connsiteX461" fmla="*/ 765880 w 803926"/>
                <a:gd name="connsiteY461" fmla="*/ 379832 h 488614"/>
                <a:gd name="connsiteX462" fmla="*/ 765918 w 803926"/>
                <a:gd name="connsiteY462" fmla="*/ 381854 h 488614"/>
                <a:gd name="connsiteX463" fmla="*/ 763878 w 803926"/>
                <a:gd name="connsiteY463" fmla="*/ 385214 h 488614"/>
                <a:gd name="connsiteX464" fmla="*/ 763373 w 803926"/>
                <a:gd name="connsiteY464" fmla="*/ 386320 h 488614"/>
                <a:gd name="connsiteX465" fmla="*/ 761426 w 803926"/>
                <a:gd name="connsiteY465" fmla="*/ 386059 h 488614"/>
                <a:gd name="connsiteX466" fmla="*/ 759173 w 803926"/>
                <a:gd name="connsiteY466" fmla="*/ 386205 h 488614"/>
                <a:gd name="connsiteX467" fmla="*/ 757609 w 803926"/>
                <a:gd name="connsiteY467" fmla="*/ 387015 h 488614"/>
                <a:gd name="connsiteX468" fmla="*/ 756007 w 803926"/>
                <a:gd name="connsiteY468" fmla="*/ 391088 h 488614"/>
                <a:gd name="connsiteX469" fmla="*/ 752014 w 803926"/>
                <a:gd name="connsiteY469" fmla="*/ 396821 h 488614"/>
                <a:gd name="connsiteX470" fmla="*/ 750423 w 803926"/>
                <a:gd name="connsiteY470" fmla="*/ 399600 h 488614"/>
                <a:gd name="connsiteX471" fmla="*/ 749130 w 803926"/>
                <a:gd name="connsiteY471" fmla="*/ 400561 h 488614"/>
                <a:gd name="connsiteX472" fmla="*/ 748105 w 803926"/>
                <a:gd name="connsiteY472" fmla="*/ 400934 h 488614"/>
                <a:gd name="connsiteX473" fmla="*/ 746968 w 803926"/>
                <a:gd name="connsiteY473" fmla="*/ 400276 h 488614"/>
                <a:gd name="connsiteX474" fmla="*/ 744234 w 803926"/>
                <a:gd name="connsiteY474" fmla="*/ 398704 h 488614"/>
                <a:gd name="connsiteX475" fmla="*/ 742127 w 803926"/>
                <a:gd name="connsiteY475" fmla="*/ 399461 h 488614"/>
                <a:gd name="connsiteX476" fmla="*/ 741396 w 803926"/>
                <a:gd name="connsiteY476" fmla="*/ 401264 h 488614"/>
                <a:gd name="connsiteX477" fmla="*/ 741419 w 803926"/>
                <a:gd name="connsiteY477" fmla="*/ 403542 h 488614"/>
                <a:gd name="connsiteX478" fmla="*/ 736093 w 803926"/>
                <a:gd name="connsiteY478" fmla="*/ 403539 h 488614"/>
                <a:gd name="connsiteX479" fmla="*/ 727034 w 803926"/>
                <a:gd name="connsiteY479" fmla="*/ 403530 h 488614"/>
                <a:gd name="connsiteX480" fmla="*/ 715501 w 803926"/>
                <a:gd name="connsiteY480" fmla="*/ 403519 h 488614"/>
                <a:gd name="connsiteX481" fmla="*/ 704385 w 803926"/>
                <a:gd name="connsiteY481" fmla="*/ 403509 h 488614"/>
                <a:gd name="connsiteX482" fmla="*/ 695076 w 803926"/>
                <a:gd name="connsiteY482" fmla="*/ 403502 h 488614"/>
                <a:gd name="connsiteX483" fmla="*/ 695042 w 803926"/>
                <a:gd name="connsiteY483" fmla="*/ 408619 h 488614"/>
                <a:gd name="connsiteX484" fmla="*/ 695014 w 803926"/>
                <a:gd name="connsiteY484" fmla="*/ 413148 h 488614"/>
                <a:gd name="connsiteX485" fmla="*/ 694978 w 803926"/>
                <a:gd name="connsiteY485" fmla="*/ 418242 h 488614"/>
                <a:gd name="connsiteX486" fmla="*/ 689843 w 803926"/>
                <a:gd name="connsiteY486" fmla="*/ 418199 h 488614"/>
                <a:gd name="connsiteX487" fmla="*/ 684414 w 803926"/>
                <a:gd name="connsiteY487" fmla="*/ 418153 h 488614"/>
                <a:gd name="connsiteX488" fmla="*/ 684853 w 803926"/>
                <a:gd name="connsiteY488" fmla="*/ 418660 h 488614"/>
                <a:gd name="connsiteX489" fmla="*/ 686707 w 803926"/>
                <a:gd name="connsiteY489" fmla="*/ 419616 h 488614"/>
                <a:gd name="connsiteX490" fmla="*/ 689116 w 803926"/>
                <a:gd name="connsiteY490" fmla="*/ 421900 h 488614"/>
                <a:gd name="connsiteX491" fmla="*/ 691965 w 803926"/>
                <a:gd name="connsiteY491" fmla="*/ 425452 h 488614"/>
                <a:gd name="connsiteX492" fmla="*/ 695413 w 803926"/>
                <a:gd name="connsiteY492" fmla="*/ 428277 h 488614"/>
                <a:gd name="connsiteX493" fmla="*/ 699465 w 803926"/>
                <a:gd name="connsiteY493" fmla="*/ 430382 h 488614"/>
                <a:gd name="connsiteX494" fmla="*/ 702136 w 803926"/>
                <a:gd name="connsiteY494" fmla="*/ 432441 h 488614"/>
                <a:gd name="connsiteX495" fmla="*/ 703423 w 803926"/>
                <a:gd name="connsiteY495" fmla="*/ 434453 h 488614"/>
                <a:gd name="connsiteX496" fmla="*/ 704072 w 803926"/>
                <a:gd name="connsiteY496" fmla="*/ 436166 h 488614"/>
                <a:gd name="connsiteX497" fmla="*/ 704079 w 803926"/>
                <a:gd name="connsiteY497" fmla="*/ 437583 h 488614"/>
                <a:gd name="connsiteX498" fmla="*/ 705557 w 803926"/>
                <a:gd name="connsiteY498" fmla="*/ 438701 h 488614"/>
                <a:gd name="connsiteX499" fmla="*/ 708211 w 803926"/>
                <a:gd name="connsiteY499" fmla="*/ 439437 h 488614"/>
                <a:gd name="connsiteX500" fmla="*/ 709583 w 803926"/>
                <a:gd name="connsiteY500" fmla="*/ 440701 h 488614"/>
                <a:gd name="connsiteX501" fmla="*/ 709583 w 803926"/>
                <a:gd name="connsiteY501" fmla="*/ 441734 h 488614"/>
                <a:gd name="connsiteX502" fmla="*/ 708742 w 803926"/>
                <a:gd name="connsiteY502" fmla="*/ 444075 h 488614"/>
                <a:gd name="connsiteX503" fmla="*/ 708497 w 803926"/>
                <a:gd name="connsiteY503" fmla="*/ 446652 h 488614"/>
                <a:gd name="connsiteX504" fmla="*/ 708818 w 803926"/>
                <a:gd name="connsiteY504" fmla="*/ 448983 h 488614"/>
                <a:gd name="connsiteX505" fmla="*/ 706921 w 803926"/>
                <a:gd name="connsiteY505" fmla="*/ 449023 h 488614"/>
                <a:gd name="connsiteX506" fmla="*/ 702325 w 803926"/>
                <a:gd name="connsiteY506" fmla="*/ 449027 h 488614"/>
                <a:gd name="connsiteX507" fmla="*/ 695318 w 803926"/>
                <a:gd name="connsiteY507" fmla="*/ 449034 h 488614"/>
                <a:gd name="connsiteX508" fmla="*/ 688872 w 803926"/>
                <a:gd name="connsiteY508" fmla="*/ 449037 h 488614"/>
                <a:gd name="connsiteX509" fmla="*/ 683797 w 803926"/>
                <a:gd name="connsiteY509" fmla="*/ 449043 h 488614"/>
                <a:gd name="connsiteX510" fmla="*/ 676124 w 803926"/>
                <a:gd name="connsiteY510" fmla="*/ 449050 h 488614"/>
                <a:gd name="connsiteX511" fmla="*/ 674023 w 803926"/>
                <a:gd name="connsiteY511" fmla="*/ 452633 h 488614"/>
                <a:gd name="connsiteX512" fmla="*/ 670529 w 803926"/>
                <a:gd name="connsiteY512" fmla="*/ 458588 h 488614"/>
                <a:gd name="connsiteX513" fmla="*/ 667362 w 803926"/>
                <a:gd name="connsiteY513" fmla="*/ 463981 h 488614"/>
                <a:gd name="connsiteX514" fmla="*/ 664698 w 803926"/>
                <a:gd name="connsiteY514" fmla="*/ 468514 h 488614"/>
                <a:gd name="connsiteX515" fmla="*/ 664265 w 803926"/>
                <a:gd name="connsiteY515" fmla="*/ 469706 h 488614"/>
                <a:gd name="connsiteX516" fmla="*/ 664262 w 803926"/>
                <a:gd name="connsiteY516" fmla="*/ 470673 h 488614"/>
                <a:gd name="connsiteX517" fmla="*/ 667548 w 803926"/>
                <a:gd name="connsiteY517" fmla="*/ 474913 h 488614"/>
                <a:gd name="connsiteX518" fmla="*/ 666941 w 803926"/>
                <a:gd name="connsiteY518" fmla="*/ 476144 h 488614"/>
                <a:gd name="connsiteX519" fmla="*/ 665786 w 803926"/>
                <a:gd name="connsiteY519" fmla="*/ 476786 h 488614"/>
                <a:gd name="connsiteX520" fmla="*/ 665424 w 803926"/>
                <a:gd name="connsiteY520" fmla="*/ 477781 h 488614"/>
                <a:gd name="connsiteX521" fmla="*/ 665497 w 803926"/>
                <a:gd name="connsiteY521" fmla="*/ 479394 h 488614"/>
                <a:gd name="connsiteX522" fmla="*/ 664719 w 803926"/>
                <a:gd name="connsiteY522" fmla="*/ 481545 h 488614"/>
                <a:gd name="connsiteX523" fmla="*/ 664970 w 803926"/>
                <a:gd name="connsiteY523" fmla="*/ 483022 h 488614"/>
                <a:gd name="connsiteX524" fmla="*/ 665389 w 803926"/>
                <a:gd name="connsiteY524" fmla="*/ 484844 h 488614"/>
                <a:gd name="connsiteX525" fmla="*/ 664701 w 803926"/>
                <a:gd name="connsiteY525" fmla="*/ 486422 h 488614"/>
                <a:gd name="connsiteX526" fmla="*/ 664144 w 803926"/>
                <a:gd name="connsiteY526" fmla="*/ 487951 h 488614"/>
                <a:gd name="connsiteX527" fmla="*/ 663481 w 803926"/>
                <a:gd name="connsiteY527" fmla="*/ 488614 h 488614"/>
                <a:gd name="connsiteX528" fmla="*/ 662736 w 803926"/>
                <a:gd name="connsiteY528" fmla="*/ 488035 h 488614"/>
                <a:gd name="connsiteX529" fmla="*/ 655981 w 803926"/>
                <a:gd name="connsiteY529" fmla="*/ 480993 h 488614"/>
                <a:gd name="connsiteX530" fmla="*/ 648933 w 803926"/>
                <a:gd name="connsiteY530" fmla="*/ 473243 h 488614"/>
                <a:gd name="connsiteX531" fmla="*/ 646157 w 803926"/>
                <a:gd name="connsiteY531" fmla="*/ 470714 h 488614"/>
                <a:gd name="connsiteX532" fmla="*/ 643469 w 803926"/>
                <a:gd name="connsiteY532" fmla="*/ 468791 h 488614"/>
                <a:gd name="connsiteX533" fmla="*/ 639855 w 803926"/>
                <a:gd name="connsiteY533" fmla="*/ 465215 h 488614"/>
                <a:gd name="connsiteX534" fmla="*/ 630365 w 803926"/>
                <a:gd name="connsiteY534" fmla="*/ 457362 h 488614"/>
                <a:gd name="connsiteX535" fmla="*/ 625466 w 803926"/>
                <a:gd name="connsiteY535" fmla="*/ 453774 h 488614"/>
                <a:gd name="connsiteX536" fmla="*/ 620860 w 803926"/>
                <a:gd name="connsiteY536" fmla="*/ 449481 h 488614"/>
                <a:gd name="connsiteX537" fmla="*/ 616730 w 803926"/>
                <a:gd name="connsiteY537" fmla="*/ 447097 h 488614"/>
                <a:gd name="connsiteX538" fmla="*/ 612648 w 803926"/>
                <a:gd name="connsiteY538" fmla="*/ 445540 h 488614"/>
                <a:gd name="connsiteX539" fmla="*/ 610839 w 803926"/>
                <a:gd name="connsiteY539" fmla="*/ 444649 h 488614"/>
                <a:gd name="connsiteX540" fmla="*/ 609244 w 803926"/>
                <a:gd name="connsiteY540" fmla="*/ 443466 h 488614"/>
                <a:gd name="connsiteX541" fmla="*/ 608360 w 803926"/>
                <a:gd name="connsiteY541" fmla="*/ 443400 h 488614"/>
                <a:gd name="connsiteX542" fmla="*/ 607919 w 803926"/>
                <a:gd name="connsiteY542" fmla="*/ 444989 h 488614"/>
                <a:gd name="connsiteX543" fmla="*/ 609346 w 803926"/>
                <a:gd name="connsiteY543" fmla="*/ 445792 h 488614"/>
                <a:gd name="connsiteX544" fmla="*/ 611052 w 803926"/>
                <a:gd name="connsiteY544" fmla="*/ 446470 h 488614"/>
                <a:gd name="connsiteX545" fmla="*/ 612404 w 803926"/>
                <a:gd name="connsiteY545" fmla="*/ 446517 h 488614"/>
                <a:gd name="connsiteX546" fmla="*/ 613827 w 803926"/>
                <a:gd name="connsiteY546" fmla="*/ 447088 h 488614"/>
                <a:gd name="connsiteX547" fmla="*/ 618013 w 803926"/>
                <a:gd name="connsiteY547" fmla="*/ 449261 h 488614"/>
                <a:gd name="connsiteX548" fmla="*/ 618700 w 803926"/>
                <a:gd name="connsiteY548" fmla="*/ 450382 h 488614"/>
                <a:gd name="connsiteX549" fmla="*/ 606794 w 803926"/>
                <a:gd name="connsiteY549" fmla="*/ 446023 h 488614"/>
                <a:gd name="connsiteX550" fmla="*/ 601958 w 803926"/>
                <a:gd name="connsiteY550" fmla="*/ 445623 h 488614"/>
                <a:gd name="connsiteX551" fmla="*/ 601431 w 803926"/>
                <a:gd name="connsiteY551" fmla="*/ 444938 h 488614"/>
                <a:gd name="connsiteX552" fmla="*/ 603844 w 803926"/>
                <a:gd name="connsiteY552" fmla="*/ 442658 h 488614"/>
                <a:gd name="connsiteX553" fmla="*/ 603090 w 803926"/>
                <a:gd name="connsiteY553" fmla="*/ 441832 h 488614"/>
                <a:gd name="connsiteX554" fmla="*/ 602230 w 803926"/>
                <a:gd name="connsiteY554" fmla="*/ 441721 h 488614"/>
                <a:gd name="connsiteX555" fmla="*/ 599642 w 803926"/>
                <a:gd name="connsiteY555" fmla="*/ 443299 h 488614"/>
                <a:gd name="connsiteX556" fmla="*/ 598679 w 803926"/>
                <a:gd name="connsiteY556" fmla="*/ 443405 h 488614"/>
                <a:gd name="connsiteX557" fmla="*/ 598511 w 803926"/>
                <a:gd name="connsiteY557" fmla="*/ 442366 h 488614"/>
                <a:gd name="connsiteX558" fmla="*/ 598625 w 803926"/>
                <a:gd name="connsiteY558" fmla="*/ 441389 h 488614"/>
                <a:gd name="connsiteX559" fmla="*/ 596958 w 803926"/>
                <a:gd name="connsiteY559" fmla="*/ 439953 h 488614"/>
                <a:gd name="connsiteX560" fmla="*/ 595899 w 803926"/>
                <a:gd name="connsiteY560" fmla="*/ 440011 h 488614"/>
                <a:gd name="connsiteX561" fmla="*/ 595030 w 803926"/>
                <a:gd name="connsiteY561" fmla="*/ 441011 h 488614"/>
                <a:gd name="connsiteX562" fmla="*/ 592778 w 803926"/>
                <a:gd name="connsiteY562" fmla="*/ 442908 h 488614"/>
                <a:gd name="connsiteX563" fmla="*/ 592846 w 803926"/>
                <a:gd name="connsiteY563" fmla="*/ 443652 h 488614"/>
                <a:gd name="connsiteX564" fmla="*/ 597279 w 803926"/>
                <a:gd name="connsiteY564" fmla="*/ 444461 h 488614"/>
                <a:gd name="connsiteX565" fmla="*/ 598806 w 803926"/>
                <a:gd name="connsiteY565" fmla="*/ 444916 h 488614"/>
                <a:gd name="connsiteX566" fmla="*/ 598461 w 803926"/>
                <a:gd name="connsiteY566" fmla="*/ 445422 h 488614"/>
                <a:gd name="connsiteX567" fmla="*/ 594660 w 803926"/>
                <a:gd name="connsiteY567" fmla="*/ 445411 h 488614"/>
                <a:gd name="connsiteX568" fmla="*/ 589967 w 803926"/>
                <a:gd name="connsiteY568" fmla="*/ 446273 h 488614"/>
                <a:gd name="connsiteX569" fmla="*/ 581600 w 803926"/>
                <a:gd name="connsiteY569" fmla="*/ 451533 h 488614"/>
                <a:gd name="connsiteX570" fmla="*/ 573806 w 803926"/>
                <a:gd name="connsiteY570" fmla="*/ 453792 h 488614"/>
                <a:gd name="connsiteX571" fmla="*/ 562603 w 803926"/>
                <a:gd name="connsiteY571" fmla="*/ 458852 h 488614"/>
                <a:gd name="connsiteX572" fmla="*/ 557656 w 803926"/>
                <a:gd name="connsiteY572" fmla="*/ 459111 h 488614"/>
                <a:gd name="connsiteX573" fmla="*/ 555066 w 803926"/>
                <a:gd name="connsiteY573" fmla="*/ 459921 h 488614"/>
                <a:gd name="connsiteX574" fmla="*/ 547532 w 803926"/>
                <a:gd name="connsiteY574" fmla="*/ 457985 h 488614"/>
                <a:gd name="connsiteX575" fmla="*/ 537980 w 803926"/>
                <a:gd name="connsiteY575" fmla="*/ 453233 h 488614"/>
                <a:gd name="connsiteX576" fmla="*/ 523523 w 803926"/>
                <a:gd name="connsiteY576" fmla="*/ 451737 h 488614"/>
                <a:gd name="connsiteX577" fmla="*/ 513782 w 803926"/>
                <a:gd name="connsiteY577" fmla="*/ 445509 h 488614"/>
                <a:gd name="connsiteX578" fmla="*/ 504113 w 803926"/>
                <a:gd name="connsiteY578" fmla="*/ 442945 h 488614"/>
                <a:gd name="connsiteX579" fmla="*/ 497979 w 803926"/>
                <a:gd name="connsiteY579" fmla="*/ 436958 h 488614"/>
                <a:gd name="connsiteX580" fmla="*/ 494283 w 803926"/>
                <a:gd name="connsiteY580" fmla="*/ 436702 h 488614"/>
                <a:gd name="connsiteX581" fmla="*/ 491907 w 803926"/>
                <a:gd name="connsiteY581" fmla="*/ 435741 h 488614"/>
                <a:gd name="connsiteX582" fmla="*/ 483124 w 803926"/>
                <a:gd name="connsiteY582" fmla="*/ 433571 h 488614"/>
                <a:gd name="connsiteX583" fmla="*/ 474437 w 803926"/>
                <a:gd name="connsiteY583" fmla="*/ 432141 h 488614"/>
                <a:gd name="connsiteX584" fmla="*/ 465972 w 803926"/>
                <a:gd name="connsiteY584" fmla="*/ 426903 h 488614"/>
                <a:gd name="connsiteX585" fmla="*/ 460431 w 803926"/>
                <a:gd name="connsiteY585" fmla="*/ 425243 h 488614"/>
                <a:gd name="connsiteX586" fmla="*/ 455642 w 803926"/>
                <a:gd name="connsiteY586" fmla="*/ 423158 h 488614"/>
                <a:gd name="connsiteX587" fmla="*/ 445096 w 803926"/>
                <a:gd name="connsiteY587" fmla="*/ 419598 h 488614"/>
                <a:gd name="connsiteX588" fmla="*/ 441187 w 803926"/>
                <a:gd name="connsiteY588" fmla="*/ 417623 h 488614"/>
                <a:gd name="connsiteX589" fmla="*/ 437488 w 803926"/>
                <a:gd name="connsiteY589" fmla="*/ 414568 h 488614"/>
                <a:gd name="connsiteX590" fmla="*/ 431462 w 803926"/>
                <a:gd name="connsiteY590" fmla="*/ 411403 h 488614"/>
                <a:gd name="connsiteX591" fmla="*/ 428887 w 803926"/>
                <a:gd name="connsiteY591" fmla="*/ 408760 h 488614"/>
                <a:gd name="connsiteX592" fmla="*/ 426015 w 803926"/>
                <a:gd name="connsiteY592" fmla="*/ 407813 h 488614"/>
                <a:gd name="connsiteX593" fmla="*/ 421904 w 803926"/>
                <a:gd name="connsiteY593" fmla="*/ 402832 h 488614"/>
                <a:gd name="connsiteX594" fmla="*/ 419758 w 803926"/>
                <a:gd name="connsiteY594" fmla="*/ 400732 h 488614"/>
                <a:gd name="connsiteX595" fmla="*/ 417941 w 803926"/>
                <a:gd name="connsiteY595" fmla="*/ 399750 h 488614"/>
                <a:gd name="connsiteX596" fmla="*/ 415994 w 803926"/>
                <a:gd name="connsiteY596" fmla="*/ 399412 h 488614"/>
                <a:gd name="connsiteX597" fmla="*/ 410388 w 803926"/>
                <a:gd name="connsiteY597" fmla="*/ 399812 h 488614"/>
                <a:gd name="connsiteX598" fmla="*/ 402011 w 803926"/>
                <a:gd name="connsiteY598" fmla="*/ 397613 h 488614"/>
                <a:gd name="connsiteX599" fmla="*/ 398142 w 803926"/>
                <a:gd name="connsiteY599" fmla="*/ 397052 h 488614"/>
                <a:gd name="connsiteX600" fmla="*/ 390054 w 803926"/>
                <a:gd name="connsiteY600" fmla="*/ 393803 h 488614"/>
                <a:gd name="connsiteX601" fmla="*/ 379327 w 803926"/>
                <a:gd name="connsiteY601" fmla="*/ 390174 h 488614"/>
                <a:gd name="connsiteX602" fmla="*/ 375810 w 803926"/>
                <a:gd name="connsiteY602" fmla="*/ 386006 h 488614"/>
                <a:gd name="connsiteX603" fmla="*/ 372802 w 803926"/>
                <a:gd name="connsiteY603" fmla="*/ 382108 h 488614"/>
                <a:gd name="connsiteX604" fmla="*/ 367387 w 803926"/>
                <a:gd name="connsiteY604" fmla="*/ 376976 h 488614"/>
                <a:gd name="connsiteX605" fmla="*/ 364010 w 803926"/>
                <a:gd name="connsiteY605" fmla="*/ 374787 h 488614"/>
                <a:gd name="connsiteX606" fmla="*/ 358143 w 803926"/>
                <a:gd name="connsiteY606" fmla="*/ 372182 h 488614"/>
                <a:gd name="connsiteX607" fmla="*/ 354893 w 803926"/>
                <a:gd name="connsiteY607" fmla="*/ 370073 h 488614"/>
                <a:gd name="connsiteX608" fmla="*/ 349878 w 803926"/>
                <a:gd name="connsiteY608" fmla="*/ 368453 h 488614"/>
                <a:gd name="connsiteX609" fmla="*/ 341371 w 803926"/>
                <a:gd name="connsiteY609" fmla="*/ 364337 h 488614"/>
                <a:gd name="connsiteX610" fmla="*/ 338665 w 803926"/>
                <a:gd name="connsiteY610" fmla="*/ 360813 h 488614"/>
                <a:gd name="connsiteX611" fmla="*/ 337081 w 803926"/>
                <a:gd name="connsiteY611" fmla="*/ 357682 h 488614"/>
                <a:gd name="connsiteX612" fmla="*/ 332550 w 803926"/>
                <a:gd name="connsiteY612" fmla="*/ 353881 h 488614"/>
                <a:gd name="connsiteX613" fmla="*/ 327588 w 803926"/>
                <a:gd name="connsiteY613" fmla="*/ 346775 h 488614"/>
                <a:gd name="connsiteX614" fmla="*/ 326310 w 803926"/>
                <a:gd name="connsiteY614" fmla="*/ 344155 h 488614"/>
                <a:gd name="connsiteX615" fmla="*/ 325347 w 803926"/>
                <a:gd name="connsiteY615" fmla="*/ 340131 h 488614"/>
                <a:gd name="connsiteX616" fmla="*/ 324193 w 803926"/>
                <a:gd name="connsiteY616" fmla="*/ 337795 h 488614"/>
                <a:gd name="connsiteX617" fmla="*/ 322837 w 803926"/>
                <a:gd name="connsiteY617" fmla="*/ 335965 h 488614"/>
                <a:gd name="connsiteX618" fmla="*/ 323528 w 803926"/>
                <a:gd name="connsiteY618" fmla="*/ 334634 h 488614"/>
                <a:gd name="connsiteX619" fmla="*/ 326053 w 803926"/>
                <a:gd name="connsiteY619" fmla="*/ 332996 h 488614"/>
                <a:gd name="connsiteX620" fmla="*/ 330250 w 803926"/>
                <a:gd name="connsiteY620" fmla="*/ 332628 h 488614"/>
                <a:gd name="connsiteX621" fmla="*/ 333215 w 803926"/>
                <a:gd name="connsiteY621" fmla="*/ 330852 h 488614"/>
                <a:gd name="connsiteX622" fmla="*/ 333607 w 803926"/>
                <a:gd name="connsiteY622" fmla="*/ 329394 h 488614"/>
                <a:gd name="connsiteX623" fmla="*/ 333414 w 803926"/>
                <a:gd name="connsiteY623" fmla="*/ 328486 h 488614"/>
                <a:gd name="connsiteX624" fmla="*/ 331519 w 803926"/>
                <a:gd name="connsiteY624" fmla="*/ 326251 h 488614"/>
                <a:gd name="connsiteX625" fmla="*/ 329159 w 803926"/>
                <a:gd name="connsiteY625" fmla="*/ 325658 h 488614"/>
                <a:gd name="connsiteX626" fmla="*/ 327326 w 803926"/>
                <a:gd name="connsiteY626" fmla="*/ 325626 h 488614"/>
                <a:gd name="connsiteX627" fmla="*/ 326858 w 803926"/>
                <a:gd name="connsiteY627" fmla="*/ 324775 h 488614"/>
                <a:gd name="connsiteX628" fmla="*/ 328240 w 803926"/>
                <a:gd name="connsiteY628" fmla="*/ 323848 h 488614"/>
                <a:gd name="connsiteX629" fmla="*/ 329820 w 803926"/>
                <a:gd name="connsiteY629" fmla="*/ 321669 h 488614"/>
                <a:gd name="connsiteX630" fmla="*/ 332154 w 803926"/>
                <a:gd name="connsiteY630" fmla="*/ 319008 h 488614"/>
                <a:gd name="connsiteX631" fmla="*/ 333800 w 803926"/>
                <a:gd name="connsiteY631" fmla="*/ 316554 h 488614"/>
                <a:gd name="connsiteX632" fmla="*/ 334106 w 803926"/>
                <a:gd name="connsiteY632" fmla="*/ 313095 h 488614"/>
                <a:gd name="connsiteX633" fmla="*/ 333897 w 803926"/>
                <a:gd name="connsiteY633" fmla="*/ 309628 h 488614"/>
                <a:gd name="connsiteX634" fmla="*/ 334520 w 803926"/>
                <a:gd name="connsiteY634" fmla="*/ 306698 h 488614"/>
                <a:gd name="connsiteX635" fmla="*/ 328871 w 803926"/>
                <a:gd name="connsiteY635" fmla="*/ 303314 h 488614"/>
                <a:gd name="connsiteX636" fmla="*/ 328213 w 803926"/>
                <a:gd name="connsiteY636" fmla="*/ 301875 h 488614"/>
                <a:gd name="connsiteX637" fmla="*/ 326436 w 803926"/>
                <a:gd name="connsiteY637" fmla="*/ 297996 h 488614"/>
                <a:gd name="connsiteX638" fmla="*/ 323352 w 803926"/>
                <a:gd name="connsiteY638" fmla="*/ 293485 h 488614"/>
                <a:gd name="connsiteX639" fmla="*/ 323443 w 803926"/>
                <a:gd name="connsiteY639" fmla="*/ 284466 h 488614"/>
                <a:gd name="connsiteX640" fmla="*/ 319734 w 803926"/>
                <a:gd name="connsiteY640" fmla="*/ 276452 h 488614"/>
                <a:gd name="connsiteX641" fmla="*/ 315891 w 803926"/>
                <a:gd name="connsiteY641" fmla="*/ 272462 h 488614"/>
                <a:gd name="connsiteX642" fmla="*/ 313904 w 803926"/>
                <a:gd name="connsiteY642" fmla="*/ 271073 h 488614"/>
                <a:gd name="connsiteX643" fmla="*/ 308506 w 803926"/>
                <a:gd name="connsiteY643" fmla="*/ 264879 h 488614"/>
                <a:gd name="connsiteX644" fmla="*/ 304255 w 803926"/>
                <a:gd name="connsiteY644" fmla="*/ 261277 h 488614"/>
                <a:gd name="connsiteX645" fmla="*/ 300091 w 803926"/>
                <a:gd name="connsiteY645" fmla="*/ 254484 h 488614"/>
                <a:gd name="connsiteX646" fmla="*/ 295976 w 803926"/>
                <a:gd name="connsiteY646" fmla="*/ 250164 h 488614"/>
                <a:gd name="connsiteX647" fmla="*/ 290733 w 803926"/>
                <a:gd name="connsiteY647" fmla="*/ 242909 h 488614"/>
                <a:gd name="connsiteX648" fmla="*/ 286947 w 803926"/>
                <a:gd name="connsiteY648" fmla="*/ 239288 h 488614"/>
                <a:gd name="connsiteX649" fmla="*/ 269702 w 803926"/>
                <a:gd name="connsiteY649" fmla="*/ 227035 h 488614"/>
                <a:gd name="connsiteX650" fmla="*/ 270674 w 803926"/>
                <a:gd name="connsiteY650" fmla="*/ 227035 h 488614"/>
                <a:gd name="connsiteX651" fmla="*/ 275730 w 803926"/>
                <a:gd name="connsiteY651" fmla="*/ 230045 h 488614"/>
                <a:gd name="connsiteX652" fmla="*/ 276581 w 803926"/>
                <a:gd name="connsiteY652" fmla="*/ 229794 h 488614"/>
                <a:gd name="connsiteX653" fmla="*/ 276701 w 803926"/>
                <a:gd name="connsiteY653" fmla="*/ 228326 h 488614"/>
                <a:gd name="connsiteX654" fmla="*/ 276118 w 803926"/>
                <a:gd name="connsiteY654" fmla="*/ 226571 h 488614"/>
                <a:gd name="connsiteX655" fmla="*/ 275180 w 803926"/>
                <a:gd name="connsiteY655" fmla="*/ 226150 h 488614"/>
                <a:gd name="connsiteX656" fmla="*/ 273834 w 803926"/>
                <a:gd name="connsiteY656" fmla="*/ 226545 h 488614"/>
                <a:gd name="connsiteX657" fmla="*/ 272017 w 803926"/>
                <a:gd name="connsiteY657" fmla="*/ 226184 h 488614"/>
                <a:gd name="connsiteX658" fmla="*/ 271107 w 803926"/>
                <a:gd name="connsiteY658" fmla="*/ 225606 h 488614"/>
                <a:gd name="connsiteX659" fmla="*/ 268389 w 803926"/>
                <a:gd name="connsiteY659" fmla="*/ 225230 h 488614"/>
                <a:gd name="connsiteX660" fmla="*/ 264980 w 803926"/>
                <a:gd name="connsiteY660" fmla="*/ 223186 h 488614"/>
                <a:gd name="connsiteX661" fmla="*/ 263519 w 803926"/>
                <a:gd name="connsiteY661" fmla="*/ 221067 h 488614"/>
                <a:gd name="connsiteX662" fmla="*/ 263359 w 803926"/>
                <a:gd name="connsiteY662" fmla="*/ 218646 h 488614"/>
                <a:gd name="connsiteX663" fmla="*/ 258476 w 803926"/>
                <a:gd name="connsiteY663" fmla="*/ 213485 h 488614"/>
                <a:gd name="connsiteX664" fmla="*/ 256623 w 803926"/>
                <a:gd name="connsiteY664" fmla="*/ 210603 h 488614"/>
                <a:gd name="connsiteX665" fmla="*/ 257572 w 803926"/>
                <a:gd name="connsiteY665" fmla="*/ 210817 h 488614"/>
                <a:gd name="connsiteX666" fmla="*/ 258873 w 803926"/>
                <a:gd name="connsiteY666" fmla="*/ 211977 h 488614"/>
                <a:gd name="connsiteX667" fmla="*/ 260189 w 803926"/>
                <a:gd name="connsiteY667" fmla="*/ 212307 h 488614"/>
                <a:gd name="connsiteX668" fmla="*/ 261722 w 803926"/>
                <a:gd name="connsiteY668" fmla="*/ 212318 h 488614"/>
                <a:gd name="connsiteX669" fmla="*/ 262837 w 803926"/>
                <a:gd name="connsiteY669" fmla="*/ 211851 h 488614"/>
                <a:gd name="connsiteX670" fmla="*/ 262437 w 803926"/>
                <a:gd name="connsiteY670" fmla="*/ 210995 h 488614"/>
                <a:gd name="connsiteX671" fmla="*/ 261389 w 803926"/>
                <a:gd name="connsiteY671" fmla="*/ 210281 h 488614"/>
                <a:gd name="connsiteX672" fmla="*/ 254266 w 803926"/>
                <a:gd name="connsiteY672" fmla="*/ 207558 h 488614"/>
                <a:gd name="connsiteX673" fmla="*/ 251919 w 803926"/>
                <a:gd name="connsiteY673" fmla="*/ 205645 h 488614"/>
                <a:gd name="connsiteX674" fmla="*/ 246083 w 803926"/>
                <a:gd name="connsiteY674" fmla="*/ 202463 h 488614"/>
                <a:gd name="connsiteX675" fmla="*/ 244699 w 803926"/>
                <a:gd name="connsiteY675" fmla="*/ 201346 h 488614"/>
                <a:gd name="connsiteX676" fmla="*/ 243780 w 803926"/>
                <a:gd name="connsiteY676" fmla="*/ 198266 h 488614"/>
                <a:gd name="connsiteX677" fmla="*/ 242351 w 803926"/>
                <a:gd name="connsiteY677" fmla="*/ 198123 h 488614"/>
                <a:gd name="connsiteX678" fmla="*/ 241094 w 803926"/>
                <a:gd name="connsiteY678" fmla="*/ 198982 h 488614"/>
                <a:gd name="connsiteX679" fmla="*/ 237655 w 803926"/>
                <a:gd name="connsiteY679" fmla="*/ 199824 h 488614"/>
                <a:gd name="connsiteX680" fmla="*/ 236776 w 803926"/>
                <a:gd name="connsiteY680" fmla="*/ 198844 h 488614"/>
                <a:gd name="connsiteX681" fmla="*/ 236649 w 803926"/>
                <a:gd name="connsiteY681" fmla="*/ 197900 h 488614"/>
                <a:gd name="connsiteX682" fmla="*/ 239076 w 803926"/>
                <a:gd name="connsiteY682" fmla="*/ 196901 h 488614"/>
                <a:gd name="connsiteX683" fmla="*/ 241305 w 803926"/>
                <a:gd name="connsiteY683" fmla="*/ 193990 h 488614"/>
                <a:gd name="connsiteX684" fmla="*/ 241262 w 803926"/>
                <a:gd name="connsiteY684" fmla="*/ 192976 h 488614"/>
                <a:gd name="connsiteX685" fmla="*/ 240030 w 803926"/>
                <a:gd name="connsiteY685" fmla="*/ 194146 h 488614"/>
                <a:gd name="connsiteX686" fmla="*/ 238173 w 803926"/>
                <a:gd name="connsiteY686" fmla="*/ 195453 h 488614"/>
                <a:gd name="connsiteX687" fmla="*/ 236254 w 803926"/>
                <a:gd name="connsiteY687" fmla="*/ 196182 h 488614"/>
                <a:gd name="connsiteX688" fmla="*/ 233403 w 803926"/>
                <a:gd name="connsiteY688" fmla="*/ 196791 h 488614"/>
                <a:gd name="connsiteX689" fmla="*/ 231947 w 803926"/>
                <a:gd name="connsiteY689" fmla="*/ 196352 h 488614"/>
                <a:gd name="connsiteX690" fmla="*/ 230669 w 803926"/>
                <a:gd name="connsiteY690" fmla="*/ 195692 h 488614"/>
                <a:gd name="connsiteX691" fmla="*/ 228625 w 803926"/>
                <a:gd name="connsiteY691" fmla="*/ 193147 h 488614"/>
                <a:gd name="connsiteX692" fmla="*/ 227593 w 803926"/>
                <a:gd name="connsiteY692" fmla="*/ 184867 h 488614"/>
                <a:gd name="connsiteX693" fmla="*/ 229406 w 803926"/>
                <a:gd name="connsiteY693" fmla="*/ 181994 h 488614"/>
                <a:gd name="connsiteX694" fmla="*/ 231522 w 803926"/>
                <a:gd name="connsiteY694" fmla="*/ 179152 h 488614"/>
                <a:gd name="connsiteX695" fmla="*/ 233322 w 803926"/>
                <a:gd name="connsiteY695" fmla="*/ 177465 h 488614"/>
                <a:gd name="connsiteX696" fmla="*/ 234359 w 803926"/>
                <a:gd name="connsiteY696" fmla="*/ 178739 h 488614"/>
                <a:gd name="connsiteX697" fmla="*/ 235427 w 803926"/>
                <a:gd name="connsiteY697" fmla="*/ 178892 h 488614"/>
                <a:gd name="connsiteX698" fmla="*/ 234675 w 803926"/>
                <a:gd name="connsiteY698" fmla="*/ 177453 h 488614"/>
                <a:gd name="connsiteX699" fmla="*/ 232908 w 803926"/>
                <a:gd name="connsiteY699" fmla="*/ 176105 h 488614"/>
                <a:gd name="connsiteX700" fmla="*/ 232284 w 803926"/>
                <a:gd name="connsiteY700" fmla="*/ 174763 h 488614"/>
                <a:gd name="connsiteX701" fmla="*/ 232217 w 803926"/>
                <a:gd name="connsiteY701" fmla="*/ 173532 h 488614"/>
                <a:gd name="connsiteX702" fmla="*/ 231380 w 803926"/>
                <a:gd name="connsiteY702" fmla="*/ 171249 h 488614"/>
                <a:gd name="connsiteX703" fmla="*/ 226142 w 803926"/>
                <a:gd name="connsiteY703" fmla="*/ 166447 h 488614"/>
                <a:gd name="connsiteX704" fmla="*/ 221243 w 803926"/>
                <a:gd name="connsiteY704" fmla="*/ 166815 h 488614"/>
                <a:gd name="connsiteX705" fmla="*/ 219247 w 803926"/>
                <a:gd name="connsiteY705" fmla="*/ 166648 h 488614"/>
                <a:gd name="connsiteX706" fmla="*/ 217381 w 803926"/>
                <a:gd name="connsiteY706" fmla="*/ 164819 h 488614"/>
                <a:gd name="connsiteX707" fmla="*/ 215795 w 803926"/>
                <a:gd name="connsiteY707" fmla="*/ 161733 h 488614"/>
                <a:gd name="connsiteX708" fmla="*/ 215014 w 803926"/>
                <a:gd name="connsiteY708" fmla="*/ 159149 h 488614"/>
                <a:gd name="connsiteX709" fmla="*/ 214915 w 803926"/>
                <a:gd name="connsiteY709" fmla="*/ 157772 h 488614"/>
                <a:gd name="connsiteX710" fmla="*/ 214449 w 803926"/>
                <a:gd name="connsiteY710" fmla="*/ 156390 h 488614"/>
                <a:gd name="connsiteX711" fmla="*/ 206002 w 803926"/>
                <a:gd name="connsiteY711" fmla="*/ 154128 h 488614"/>
                <a:gd name="connsiteX712" fmla="*/ 203462 w 803926"/>
                <a:gd name="connsiteY712" fmla="*/ 152187 h 488614"/>
                <a:gd name="connsiteX713" fmla="*/ 200914 w 803926"/>
                <a:gd name="connsiteY713" fmla="*/ 149747 h 488614"/>
                <a:gd name="connsiteX714" fmla="*/ 199859 w 803926"/>
                <a:gd name="connsiteY714" fmla="*/ 147753 h 488614"/>
                <a:gd name="connsiteX715" fmla="*/ 198813 w 803926"/>
                <a:gd name="connsiteY715" fmla="*/ 146262 h 488614"/>
                <a:gd name="connsiteX716" fmla="*/ 198002 w 803926"/>
                <a:gd name="connsiteY716" fmla="*/ 143686 h 488614"/>
                <a:gd name="connsiteX717" fmla="*/ 197422 w 803926"/>
                <a:gd name="connsiteY717" fmla="*/ 140689 h 488614"/>
                <a:gd name="connsiteX718" fmla="*/ 198366 w 803926"/>
                <a:gd name="connsiteY718" fmla="*/ 136807 h 488614"/>
                <a:gd name="connsiteX719" fmla="*/ 199593 w 803926"/>
                <a:gd name="connsiteY719" fmla="*/ 134929 h 488614"/>
                <a:gd name="connsiteX720" fmla="*/ 193783 w 803926"/>
                <a:gd name="connsiteY720" fmla="*/ 133531 h 488614"/>
                <a:gd name="connsiteX721" fmla="*/ 191511 w 803926"/>
                <a:gd name="connsiteY721" fmla="*/ 133466 h 488614"/>
                <a:gd name="connsiteX722" fmla="*/ 189681 w 803926"/>
                <a:gd name="connsiteY722" fmla="*/ 134252 h 488614"/>
                <a:gd name="connsiteX723" fmla="*/ 188025 w 803926"/>
                <a:gd name="connsiteY723" fmla="*/ 133235 h 488614"/>
                <a:gd name="connsiteX724" fmla="*/ 184595 w 803926"/>
                <a:gd name="connsiteY724" fmla="*/ 132111 h 488614"/>
                <a:gd name="connsiteX725" fmla="*/ 180512 w 803926"/>
                <a:gd name="connsiteY725" fmla="*/ 128044 h 488614"/>
                <a:gd name="connsiteX726" fmla="*/ 175713 w 803926"/>
                <a:gd name="connsiteY726" fmla="*/ 120664 h 488614"/>
                <a:gd name="connsiteX727" fmla="*/ 170429 w 803926"/>
                <a:gd name="connsiteY727" fmla="*/ 118283 h 488614"/>
                <a:gd name="connsiteX728" fmla="*/ 168726 w 803926"/>
                <a:gd name="connsiteY728" fmla="*/ 115713 h 488614"/>
                <a:gd name="connsiteX729" fmla="*/ 166565 w 803926"/>
                <a:gd name="connsiteY729" fmla="*/ 113397 h 488614"/>
                <a:gd name="connsiteX730" fmla="*/ 164673 w 803926"/>
                <a:gd name="connsiteY730" fmla="*/ 110523 h 488614"/>
                <a:gd name="connsiteX731" fmla="*/ 164380 w 803926"/>
                <a:gd name="connsiteY731" fmla="*/ 109272 h 488614"/>
                <a:gd name="connsiteX732" fmla="*/ 163817 w 803926"/>
                <a:gd name="connsiteY732" fmla="*/ 108575 h 488614"/>
                <a:gd name="connsiteX733" fmla="*/ 161178 w 803926"/>
                <a:gd name="connsiteY733" fmla="*/ 106571 h 488614"/>
                <a:gd name="connsiteX734" fmla="*/ 158215 w 803926"/>
                <a:gd name="connsiteY734" fmla="*/ 103179 h 488614"/>
                <a:gd name="connsiteX735" fmla="*/ 157447 w 803926"/>
                <a:gd name="connsiteY735" fmla="*/ 100445 h 488614"/>
                <a:gd name="connsiteX736" fmla="*/ 156650 w 803926"/>
                <a:gd name="connsiteY736" fmla="*/ 96259 h 488614"/>
                <a:gd name="connsiteX737" fmla="*/ 154674 w 803926"/>
                <a:gd name="connsiteY737" fmla="*/ 94783 h 488614"/>
                <a:gd name="connsiteX738" fmla="*/ 152726 w 803926"/>
                <a:gd name="connsiteY738" fmla="*/ 94098 h 488614"/>
                <a:gd name="connsiteX739" fmla="*/ 152346 w 803926"/>
                <a:gd name="connsiteY739" fmla="*/ 92107 h 488614"/>
                <a:gd name="connsiteX740" fmla="*/ 152461 w 803926"/>
                <a:gd name="connsiteY740" fmla="*/ 90989 h 488614"/>
                <a:gd name="connsiteX741" fmla="*/ 151805 w 803926"/>
                <a:gd name="connsiteY741" fmla="*/ 88878 h 488614"/>
                <a:gd name="connsiteX742" fmla="*/ 147790 w 803926"/>
                <a:gd name="connsiteY742" fmla="*/ 83807 h 488614"/>
                <a:gd name="connsiteX743" fmla="*/ 145756 w 803926"/>
                <a:gd name="connsiteY743" fmla="*/ 79634 h 488614"/>
                <a:gd name="connsiteX744" fmla="*/ 144639 w 803926"/>
                <a:gd name="connsiteY744" fmla="*/ 78336 h 488614"/>
                <a:gd name="connsiteX745" fmla="*/ 143593 w 803926"/>
                <a:gd name="connsiteY745" fmla="*/ 76432 h 488614"/>
                <a:gd name="connsiteX746" fmla="*/ 143065 w 803926"/>
                <a:gd name="connsiteY746" fmla="*/ 72539 h 488614"/>
                <a:gd name="connsiteX747" fmla="*/ 141402 w 803926"/>
                <a:gd name="connsiteY747" fmla="*/ 67690 h 488614"/>
                <a:gd name="connsiteX748" fmla="*/ 138183 w 803926"/>
                <a:gd name="connsiteY748" fmla="*/ 61851 h 488614"/>
                <a:gd name="connsiteX749" fmla="*/ 135497 w 803926"/>
                <a:gd name="connsiteY749" fmla="*/ 57922 h 488614"/>
                <a:gd name="connsiteX750" fmla="*/ 134159 w 803926"/>
                <a:gd name="connsiteY750" fmla="*/ 53954 h 488614"/>
                <a:gd name="connsiteX751" fmla="*/ 134753 w 803926"/>
                <a:gd name="connsiteY751" fmla="*/ 49915 h 488614"/>
                <a:gd name="connsiteX752" fmla="*/ 134298 w 803926"/>
                <a:gd name="connsiteY752" fmla="*/ 47426 h 488614"/>
                <a:gd name="connsiteX753" fmla="*/ 133953 w 803926"/>
                <a:gd name="connsiteY753" fmla="*/ 46841 h 488614"/>
                <a:gd name="connsiteX754" fmla="*/ 134223 w 803926"/>
                <a:gd name="connsiteY754" fmla="*/ 46026 h 488614"/>
                <a:gd name="connsiteX755" fmla="*/ 135114 w 803926"/>
                <a:gd name="connsiteY755" fmla="*/ 46485 h 488614"/>
                <a:gd name="connsiteX756" fmla="*/ 135871 w 803926"/>
                <a:gd name="connsiteY756" fmla="*/ 45754 h 488614"/>
                <a:gd name="connsiteX757" fmla="*/ 135775 w 803926"/>
                <a:gd name="connsiteY757" fmla="*/ 43175 h 488614"/>
                <a:gd name="connsiteX758" fmla="*/ 134839 w 803926"/>
                <a:gd name="connsiteY758" fmla="*/ 42394 h 488614"/>
                <a:gd name="connsiteX759" fmla="*/ 132239 w 803926"/>
                <a:gd name="connsiteY759" fmla="*/ 41587 h 488614"/>
                <a:gd name="connsiteX760" fmla="*/ 131092 w 803926"/>
                <a:gd name="connsiteY760" fmla="*/ 41030 h 488614"/>
                <a:gd name="connsiteX761" fmla="*/ 124769 w 803926"/>
                <a:gd name="connsiteY761" fmla="*/ 39977 h 488614"/>
                <a:gd name="connsiteX762" fmla="*/ 121151 w 803926"/>
                <a:gd name="connsiteY762" fmla="*/ 38513 h 488614"/>
                <a:gd name="connsiteX763" fmla="*/ 120909 w 803926"/>
                <a:gd name="connsiteY763" fmla="*/ 35104 h 488614"/>
                <a:gd name="connsiteX764" fmla="*/ 119212 w 803926"/>
                <a:gd name="connsiteY764" fmla="*/ 33543 h 488614"/>
                <a:gd name="connsiteX765" fmla="*/ 117704 w 803926"/>
                <a:gd name="connsiteY765" fmla="*/ 32577 h 488614"/>
                <a:gd name="connsiteX766" fmla="*/ 112929 w 803926"/>
                <a:gd name="connsiteY766" fmla="*/ 30571 h 488614"/>
                <a:gd name="connsiteX767" fmla="*/ 112174 w 803926"/>
                <a:gd name="connsiteY767" fmla="*/ 31598 h 488614"/>
                <a:gd name="connsiteX768" fmla="*/ 111535 w 803926"/>
                <a:gd name="connsiteY768" fmla="*/ 33491 h 488614"/>
                <a:gd name="connsiteX769" fmla="*/ 109552 w 803926"/>
                <a:gd name="connsiteY769" fmla="*/ 33906 h 488614"/>
                <a:gd name="connsiteX770" fmla="*/ 107818 w 803926"/>
                <a:gd name="connsiteY770" fmla="*/ 33990 h 488614"/>
                <a:gd name="connsiteX771" fmla="*/ 104909 w 803926"/>
                <a:gd name="connsiteY771" fmla="*/ 32670 h 488614"/>
                <a:gd name="connsiteX772" fmla="*/ 97691 w 803926"/>
                <a:gd name="connsiteY772" fmla="*/ 27646 h 488614"/>
                <a:gd name="connsiteX773" fmla="*/ 96167 w 803926"/>
                <a:gd name="connsiteY773" fmla="*/ 26840 h 488614"/>
                <a:gd name="connsiteX774" fmla="*/ 93915 w 803926"/>
                <a:gd name="connsiteY774" fmla="*/ 26415 h 488614"/>
                <a:gd name="connsiteX775" fmla="*/ 92807 w 803926"/>
                <a:gd name="connsiteY775" fmla="*/ 25599 h 488614"/>
                <a:gd name="connsiteX776" fmla="*/ 87931 w 803926"/>
                <a:gd name="connsiteY776" fmla="*/ 22952 h 488614"/>
                <a:gd name="connsiteX777" fmla="*/ 88908 w 803926"/>
                <a:gd name="connsiteY777" fmla="*/ 24359 h 488614"/>
                <a:gd name="connsiteX778" fmla="*/ 90317 w 803926"/>
                <a:gd name="connsiteY778" fmla="*/ 25822 h 488614"/>
                <a:gd name="connsiteX779" fmla="*/ 91575 w 803926"/>
                <a:gd name="connsiteY779" fmla="*/ 30072 h 488614"/>
                <a:gd name="connsiteX780" fmla="*/ 90098 w 803926"/>
                <a:gd name="connsiteY780" fmla="*/ 33133 h 488614"/>
                <a:gd name="connsiteX781" fmla="*/ 89242 w 803926"/>
                <a:gd name="connsiteY781" fmla="*/ 43815 h 488614"/>
                <a:gd name="connsiteX782" fmla="*/ 90186 w 803926"/>
                <a:gd name="connsiteY782" fmla="*/ 45938 h 488614"/>
                <a:gd name="connsiteX783" fmla="*/ 92306 w 803926"/>
                <a:gd name="connsiteY783" fmla="*/ 49338 h 488614"/>
                <a:gd name="connsiteX784" fmla="*/ 93768 w 803926"/>
                <a:gd name="connsiteY784" fmla="*/ 54740 h 488614"/>
                <a:gd name="connsiteX785" fmla="*/ 94223 w 803926"/>
                <a:gd name="connsiteY785" fmla="*/ 58753 h 488614"/>
                <a:gd name="connsiteX786" fmla="*/ 95546 w 803926"/>
                <a:gd name="connsiteY786" fmla="*/ 61938 h 488614"/>
                <a:gd name="connsiteX787" fmla="*/ 95128 w 803926"/>
                <a:gd name="connsiteY787" fmla="*/ 69415 h 488614"/>
                <a:gd name="connsiteX788" fmla="*/ 95630 w 803926"/>
                <a:gd name="connsiteY788" fmla="*/ 71688 h 488614"/>
                <a:gd name="connsiteX789" fmla="*/ 97645 w 803926"/>
                <a:gd name="connsiteY789" fmla="*/ 75411 h 488614"/>
                <a:gd name="connsiteX790" fmla="*/ 101374 w 803926"/>
                <a:gd name="connsiteY790" fmla="*/ 78901 h 488614"/>
                <a:gd name="connsiteX791" fmla="*/ 102155 w 803926"/>
                <a:gd name="connsiteY791" fmla="*/ 80740 h 488614"/>
                <a:gd name="connsiteX792" fmla="*/ 107060 w 803926"/>
                <a:gd name="connsiteY792" fmla="*/ 83398 h 488614"/>
                <a:gd name="connsiteX793" fmla="*/ 110033 w 803926"/>
                <a:gd name="connsiteY793" fmla="*/ 86854 h 488614"/>
                <a:gd name="connsiteX794" fmla="*/ 115940 w 803926"/>
                <a:gd name="connsiteY794" fmla="*/ 91561 h 488614"/>
                <a:gd name="connsiteX795" fmla="*/ 117803 w 803926"/>
                <a:gd name="connsiteY795" fmla="*/ 93551 h 488614"/>
                <a:gd name="connsiteX796" fmla="*/ 123133 w 803926"/>
                <a:gd name="connsiteY796" fmla="*/ 100878 h 488614"/>
                <a:gd name="connsiteX797" fmla="*/ 123307 w 803926"/>
                <a:gd name="connsiteY797" fmla="*/ 103055 h 488614"/>
                <a:gd name="connsiteX798" fmla="*/ 124289 w 803926"/>
                <a:gd name="connsiteY798" fmla="*/ 105721 h 488614"/>
                <a:gd name="connsiteX799" fmla="*/ 127278 w 803926"/>
                <a:gd name="connsiteY799" fmla="*/ 105170 h 488614"/>
                <a:gd name="connsiteX800" fmla="*/ 128620 w 803926"/>
                <a:gd name="connsiteY800" fmla="*/ 107201 h 488614"/>
                <a:gd name="connsiteX801" fmla="*/ 128466 w 803926"/>
                <a:gd name="connsiteY801" fmla="*/ 108138 h 488614"/>
                <a:gd name="connsiteX802" fmla="*/ 128828 w 803926"/>
                <a:gd name="connsiteY802" fmla="*/ 108853 h 488614"/>
                <a:gd name="connsiteX803" fmla="*/ 130396 w 803926"/>
                <a:gd name="connsiteY803" fmla="*/ 108694 h 488614"/>
                <a:gd name="connsiteX804" fmla="*/ 131748 w 803926"/>
                <a:gd name="connsiteY804" fmla="*/ 109248 h 488614"/>
                <a:gd name="connsiteX805" fmla="*/ 134586 w 803926"/>
                <a:gd name="connsiteY805" fmla="*/ 117150 h 488614"/>
                <a:gd name="connsiteX806" fmla="*/ 136109 w 803926"/>
                <a:gd name="connsiteY806" fmla="*/ 118227 h 488614"/>
                <a:gd name="connsiteX807" fmla="*/ 138059 w 803926"/>
                <a:gd name="connsiteY807" fmla="*/ 118687 h 488614"/>
                <a:gd name="connsiteX808" fmla="*/ 140234 w 803926"/>
                <a:gd name="connsiteY808" fmla="*/ 119557 h 488614"/>
                <a:gd name="connsiteX809" fmla="*/ 140377 w 803926"/>
                <a:gd name="connsiteY809" fmla="*/ 121580 h 488614"/>
                <a:gd name="connsiteX810" fmla="*/ 140295 w 803926"/>
                <a:gd name="connsiteY810" fmla="*/ 123191 h 488614"/>
                <a:gd name="connsiteX811" fmla="*/ 142140 w 803926"/>
                <a:gd name="connsiteY811" fmla="*/ 125522 h 488614"/>
                <a:gd name="connsiteX812" fmla="*/ 141827 w 803926"/>
                <a:gd name="connsiteY812" fmla="*/ 128677 h 488614"/>
                <a:gd name="connsiteX813" fmla="*/ 143317 w 803926"/>
                <a:gd name="connsiteY813" fmla="*/ 131347 h 488614"/>
                <a:gd name="connsiteX814" fmla="*/ 143091 w 803926"/>
                <a:gd name="connsiteY814" fmla="*/ 133930 h 488614"/>
                <a:gd name="connsiteX815" fmla="*/ 143704 w 803926"/>
                <a:gd name="connsiteY815" fmla="*/ 135976 h 488614"/>
                <a:gd name="connsiteX816" fmla="*/ 148304 w 803926"/>
                <a:gd name="connsiteY816" fmla="*/ 140591 h 488614"/>
                <a:gd name="connsiteX817" fmla="*/ 153969 w 803926"/>
                <a:gd name="connsiteY817" fmla="*/ 144259 h 488614"/>
                <a:gd name="connsiteX818" fmla="*/ 155150 w 803926"/>
                <a:gd name="connsiteY818" fmla="*/ 149069 h 488614"/>
                <a:gd name="connsiteX819" fmla="*/ 157462 w 803926"/>
                <a:gd name="connsiteY819" fmla="*/ 153461 h 488614"/>
                <a:gd name="connsiteX820" fmla="*/ 159827 w 803926"/>
                <a:gd name="connsiteY820" fmla="*/ 154572 h 488614"/>
                <a:gd name="connsiteX821" fmla="*/ 162216 w 803926"/>
                <a:gd name="connsiteY821" fmla="*/ 156397 h 488614"/>
                <a:gd name="connsiteX822" fmla="*/ 161921 w 803926"/>
                <a:gd name="connsiteY822" fmla="*/ 158289 h 488614"/>
                <a:gd name="connsiteX823" fmla="*/ 162086 w 803926"/>
                <a:gd name="connsiteY823" fmla="*/ 159452 h 488614"/>
                <a:gd name="connsiteX824" fmla="*/ 165279 w 803926"/>
                <a:gd name="connsiteY824" fmla="*/ 162910 h 488614"/>
                <a:gd name="connsiteX825" fmla="*/ 165799 w 803926"/>
                <a:gd name="connsiteY825" fmla="*/ 167313 h 488614"/>
                <a:gd name="connsiteX826" fmla="*/ 168554 w 803926"/>
                <a:gd name="connsiteY826" fmla="*/ 170193 h 488614"/>
                <a:gd name="connsiteX827" fmla="*/ 169330 w 803926"/>
                <a:gd name="connsiteY827" fmla="*/ 170419 h 488614"/>
                <a:gd name="connsiteX828" fmla="*/ 169938 w 803926"/>
                <a:gd name="connsiteY828" fmla="*/ 169969 h 488614"/>
                <a:gd name="connsiteX829" fmla="*/ 167932 w 803926"/>
                <a:gd name="connsiteY829" fmla="*/ 167076 h 488614"/>
                <a:gd name="connsiteX830" fmla="*/ 166961 w 803926"/>
                <a:gd name="connsiteY830" fmla="*/ 165197 h 488614"/>
                <a:gd name="connsiteX831" fmla="*/ 166835 w 803926"/>
                <a:gd name="connsiteY831" fmla="*/ 162231 h 488614"/>
                <a:gd name="connsiteX832" fmla="*/ 167508 w 803926"/>
                <a:gd name="connsiteY832" fmla="*/ 161834 h 488614"/>
                <a:gd name="connsiteX833" fmla="*/ 173228 w 803926"/>
                <a:gd name="connsiteY833" fmla="*/ 166521 h 488614"/>
                <a:gd name="connsiteX834" fmla="*/ 173831 w 803926"/>
                <a:gd name="connsiteY834" fmla="*/ 170016 h 488614"/>
                <a:gd name="connsiteX835" fmla="*/ 175751 w 803926"/>
                <a:gd name="connsiteY835" fmla="*/ 171991 h 488614"/>
                <a:gd name="connsiteX836" fmla="*/ 175895 w 803926"/>
                <a:gd name="connsiteY836" fmla="*/ 174660 h 488614"/>
                <a:gd name="connsiteX837" fmla="*/ 177061 w 803926"/>
                <a:gd name="connsiteY837" fmla="*/ 176250 h 488614"/>
                <a:gd name="connsiteX838" fmla="*/ 177413 w 803926"/>
                <a:gd name="connsiteY838" fmla="*/ 178557 h 488614"/>
                <a:gd name="connsiteX839" fmla="*/ 179252 w 803926"/>
                <a:gd name="connsiteY839" fmla="*/ 182348 h 488614"/>
                <a:gd name="connsiteX840" fmla="*/ 179296 w 803926"/>
                <a:gd name="connsiteY840" fmla="*/ 187613 h 488614"/>
                <a:gd name="connsiteX841" fmla="*/ 180279 w 803926"/>
                <a:gd name="connsiteY841" fmla="*/ 191450 h 488614"/>
                <a:gd name="connsiteX842" fmla="*/ 183881 w 803926"/>
                <a:gd name="connsiteY842" fmla="*/ 197331 h 488614"/>
                <a:gd name="connsiteX843" fmla="*/ 186800 w 803926"/>
                <a:gd name="connsiteY843" fmla="*/ 198566 h 488614"/>
                <a:gd name="connsiteX844" fmla="*/ 187327 w 803926"/>
                <a:gd name="connsiteY844" fmla="*/ 201451 h 488614"/>
                <a:gd name="connsiteX845" fmla="*/ 190362 w 803926"/>
                <a:gd name="connsiteY845" fmla="*/ 208911 h 488614"/>
                <a:gd name="connsiteX846" fmla="*/ 193869 w 803926"/>
                <a:gd name="connsiteY846" fmla="*/ 212951 h 488614"/>
                <a:gd name="connsiteX847" fmla="*/ 195615 w 803926"/>
                <a:gd name="connsiteY847" fmla="*/ 216374 h 488614"/>
                <a:gd name="connsiteX848" fmla="*/ 195857 w 803926"/>
                <a:gd name="connsiteY848" fmla="*/ 218508 h 488614"/>
                <a:gd name="connsiteX849" fmla="*/ 194544 w 803926"/>
                <a:gd name="connsiteY849" fmla="*/ 221661 h 488614"/>
                <a:gd name="connsiteX850" fmla="*/ 194404 w 803926"/>
                <a:gd name="connsiteY850" fmla="*/ 223860 h 488614"/>
                <a:gd name="connsiteX851" fmla="*/ 196311 w 803926"/>
                <a:gd name="connsiteY851" fmla="*/ 230545 h 488614"/>
                <a:gd name="connsiteX852" fmla="*/ 199160 w 803926"/>
                <a:gd name="connsiteY852" fmla="*/ 233968 h 488614"/>
                <a:gd name="connsiteX853" fmla="*/ 202342 w 803926"/>
                <a:gd name="connsiteY853" fmla="*/ 234794 h 488614"/>
                <a:gd name="connsiteX854" fmla="*/ 202896 w 803926"/>
                <a:gd name="connsiteY854" fmla="*/ 235285 h 488614"/>
                <a:gd name="connsiteX855" fmla="*/ 202642 w 803926"/>
                <a:gd name="connsiteY855" fmla="*/ 236204 h 488614"/>
                <a:gd name="connsiteX856" fmla="*/ 203712 w 803926"/>
                <a:gd name="connsiteY856" fmla="*/ 237023 h 488614"/>
                <a:gd name="connsiteX857" fmla="*/ 204915 w 803926"/>
                <a:gd name="connsiteY857" fmla="*/ 235976 h 488614"/>
                <a:gd name="connsiteX858" fmla="*/ 205502 w 803926"/>
                <a:gd name="connsiteY858" fmla="*/ 234486 h 488614"/>
                <a:gd name="connsiteX859" fmla="*/ 204892 w 803926"/>
                <a:gd name="connsiteY859" fmla="*/ 232758 h 488614"/>
                <a:gd name="connsiteX860" fmla="*/ 204786 w 803926"/>
                <a:gd name="connsiteY860" fmla="*/ 231500 h 488614"/>
                <a:gd name="connsiteX861" fmla="*/ 205327 w 803926"/>
                <a:gd name="connsiteY861" fmla="*/ 230599 h 488614"/>
                <a:gd name="connsiteX862" fmla="*/ 206363 w 803926"/>
                <a:gd name="connsiteY862" fmla="*/ 230462 h 488614"/>
                <a:gd name="connsiteX863" fmla="*/ 212451 w 803926"/>
                <a:gd name="connsiteY863" fmla="*/ 235031 h 488614"/>
                <a:gd name="connsiteX864" fmla="*/ 213472 w 803926"/>
                <a:gd name="connsiteY864" fmla="*/ 236783 h 488614"/>
                <a:gd name="connsiteX865" fmla="*/ 215738 w 803926"/>
                <a:gd name="connsiteY865" fmla="*/ 238834 h 488614"/>
                <a:gd name="connsiteX866" fmla="*/ 217813 w 803926"/>
                <a:gd name="connsiteY866" fmla="*/ 241358 h 488614"/>
                <a:gd name="connsiteX867" fmla="*/ 218709 w 803926"/>
                <a:gd name="connsiteY867" fmla="*/ 243348 h 488614"/>
                <a:gd name="connsiteX868" fmla="*/ 220368 w 803926"/>
                <a:gd name="connsiteY868" fmla="*/ 244986 h 488614"/>
                <a:gd name="connsiteX869" fmla="*/ 221231 w 803926"/>
                <a:gd name="connsiteY869" fmla="*/ 248800 h 488614"/>
                <a:gd name="connsiteX870" fmla="*/ 225463 w 803926"/>
                <a:gd name="connsiteY870" fmla="*/ 250507 h 488614"/>
                <a:gd name="connsiteX871" fmla="*/ 227714 w 803926"/>
                <a:gd name="connsiteY871" fmla="*/ 253661 h 488614"/>
                <a:gd name="connsiteX872" fmla="*/ 227862 w 803926"/>
                <a:gd name="connsiteY872" fmla="*/ 255659 h 488614"/>
                <a:gd name="connsiteX873" fmla="*/ 226770 w 803926"/>
                <a:gd name="connsiteY873" fmla="*/ 260765 h 488614"/>
                <a:gd name="connsiteX874" fmla="*/ 225816 w 803926"/>
                <a:gd name="connsiteY874" fmla="*/ 262234 h 488614"/>
                <a:gd name="connsiteX875" fmla="*/ 222399 w 803926"/>
                <a:gd name="connsiteY875" fmla="*/ 264404 h 488614"/>
                <a:gd name="connsiteX876" fmla="*/ 219915 w 803926"/>
                <a:gd name="connsiteY876" fmla="*/ 266992 h 488614"/>
                <a:gd name="connsiteX877" fmla="*/ 217516 w 803926"/>
                <a:gd name="connsiteY877" fmla="*/ 268586 h 488614"/>
                <a:gd name="connsiteX878" fmla="*/ 214971 w 803926"/>
                <a:gd name="connsiteY878" fmla="*/ 269555 h 488614"/>
                <a:gd name="connsiteX879" fmla="*/ 212871 w 803926"/>
                <a:gd name="connsiteY879" fmla="*/ 269337 h 488614"/>
                <a:gd name="connsiteX880" fmla="*/ 210847 w 803926"/>
                <a:gd name="connsiteY880" fmla="*/ 266360 h 488614"/>
                <a:gd name="connsiteX881" fmla="*/ 208449 w 803926"/>
                <a:gd name="connsiteY881" fmla="*/ 257373 h 488614"/>
                <a:gd name="connsiteX882" fmla="*/ 206839 w 803926"/>
                <a:gd name="connsiteY882" fmla="*/ 255480 h 488614"/>
                <a:gd name="connsiteX883" fmla="*/ 205706 w 803926"/>
                <a:gd name="connsiteY883" fmla="*/ 252656 h 488614"/>
                <a:gd name="connsiteX884" fmla="*/ 203833 w 803926"/>
                <a:gd name="connsiteY884" fmla="*/ 250319 h 488614"/>
                <a:gd name="connsiteX885" fmla="*/ 197056 w 803926"/>
                <a:gd name="connsiteY885" fmla="*/ 246770 h 488614"/>
                <a:gd name="connsiteX886" fmla="*/ 193635 w 803926"/>
                <a:gd name="connsiteY886" fmla="*/ 243022 h 488614"/>
                <a:gd name="connsiteX887" fmla="*/ 190321 w 803926"/>
                <a:gd name="connsiteY887" fmla="*/ 240519 h 488614"/>
                <a:gd name="connsiteX888" fmla="*/ 186756 w 803926"/>
                <a:gd name="connsiteY888" fmla="*/ 236894 h 488614"/>
                <a:gd name="connsiteX889" fmla="*/ 177040 w 803926"/>
                <a:gd name="connsiteY889" fmla="*/ 230880 h 488614"/>
                <a:gd name="connsiteX890" fmla="*/ 173011 w 803926"/>
                <a:gd name="connsiteY890" fmla="*/ 227813 h 488614"/>
                <a:gd name="connsiteX891" fmla="*/ 170356 w 803926"/>
                <a:gd name="connsiteY891" fmla="*/ 224777 h 488614"/>
                <a:gd name="connsiteX892" fmla="*/ 168646 w 803926"/>
                <a:gd name="connsiteY892" fmla="*/ 224821 h 488614"/>
                <a:gd name="connsiteX893" fmla="*/ 167325 w 803926"/>
                <a:gd name="connsiteY893" fmla="*/ 225134 h 488614"/>
                <a:gd name="connsiteX894" fmla="*/ 166823 w 803926"/>
                <a:gd name="connsiteY894" fmla="*/ 224303 h 488614"/>
                <a:gd name="connsiteX895" fmla="*/ 166749 w 803926"/>
                <a:gd name="connsiteY895" fmla="*/ 222731 h 488614"/>
                <a:gd name="connsiteX896" fmla="*/ 166164 w 803926"/>
                <a:gd name="connsiteY896" fmla="*/ 221700 h 488614"/>
                <a:gd name="connsiteX897" fmla="*/ 160476 w 803926"/>
                <a:gd name="connsiteY897" fmla="*/ 217119 h 488614"/>
                <a:gd name="connsiteX898" fmla="*/ 159297 w 803926"/>
                <a:gd name="connsiteY898" fmla="*/ 214585 h 488614"/>
                <a:gd name="connsiteX899" fmla="*/ 159058 w 803926"/>
                <a:gd name="connsiteY899" fmla="*/ 211641 h 488614"/>
                <a:gd name="connsiteX900" fmla="*/ 160339 w 803926"/>
                <a:gd name="connsiteY900" fmla="*/ 204055 h 488614"/>
                <a:gd name="connsiteX901" fmla="*/ 160903 w 803926"/>
                <a:gd name="connsiteY901" fmla="*/ 199614 h 488614"/>
                <a:gd name="connsiteX902" fmla="*/ 160545 w 803926"/>
                <a:gd name="connsiteY902" fmla="*/ 197324 h 488614"/>
                <a:gd name="connsiteX903" fmla="*/ 159949 w 803926"/>
                <a:gd name="connsiteY903" fmla="*/ 197012 h 488614"/>
                <a:gd name="connsiteX904" fmla="*/ 159411 w 803926"/>
                <a:gd name="connsiteY904" fmla="*/ 195767 h 488614"/>
                <a:gd name="connsiteX905" fmla="*/ 159279 w 803926"/>
                <a:gd name="connsiteY905" fmla="*/ 192107 h 488614"/>
                <a:gd name="connsiteX906" fmla="*/ 157909 w 803926"/>
                <a:gd name="connsiteY906" fmla="*/ 188122 h 488614"/>
                <a:gd name="connsiteX907" fmla="*/ 152751 w 803926"/>
                <a:gd name="connsiteY907" fmla="*/ 179946 h 488614"/>
                <a:gd name="connsiteX908" fmla="*/ 148977 w 803926"/>
                <a:gd name="connsiteY908" fmla="*/ 178328 h 488614"/>
                <a:gd name="connsiteX909" fmla="*/ 145622 w 803926"/>
                <a:gd name="connsiteY909" fmla="*/ 177152 h 488614"/>
                <a:gd name="connsiteX910" fmla="*/ 136434 w 803926"/>
                <a:gd name="connsiteY910" fmla="*/ 169906 h 488614"/>
                <a:gd name="connsiteX911" fmla="*/ 133937 w 803926"/>
                <a:gd name="connsiteY911" fmla="*/ 166279 h 488614"/>
                <a:gd name="connsiteX912" fmla="*/ 133329 w 803926"/>
                <a:gd name="connsiteY912" fmla="*/ 164218 h 488614"/>
                <a:gd name="connsiteX913" fmla="*/ 133009 w 803926"/>
                <a:gd name="connsiteY913" fmla="*/ 160019 h 488614"/>
                <a:gd name="connsiteX914" fmla="*/ 131743 w 803926"/>
                <a:gd name="connsiteY914" fmla="*/ 162452 h 488614"/>
                <a:gd name="connsiteX915" fmla="*/ 130056 w 803926"/>
                <a:gd name="connsiteY915" fmla="*/ 164252 h 488614"/>
                <a:gd name="connsiteX916" fmla="*/ 126162 w 803926"/>
                <a:gd name="connsiteY916" fmla="*/ 164120 h 488614"/>
                <a:gd name="connsiteX917" fmla="*/ 121784 w 803926"/>
                <a:gd name="connsiteY917" fmla="*/ 166148 h 488614"/>
                <a:gd name="connsiteX918" fmla="*/ 119178 w 803926"/>
                <a:gd name="connsiteY918" fmla="*/ 164241 h 488614"/>
                <a:gd name="connsiteX919" fmla="*/ 117775 w 803926"/>
                <a:gd name="connsiteY919" fmla="*/ 162075 h 488614"/>
                <a:gd name="connsiteX920" fmla="*/ 115636 w 803926"/>
                <a:gd name="connsiteY920" fmla="*/ 159468 h 488614"/>
                <a:gd name="connsiteX921" fmla="*/ 113228 w 803926"/>
                <a:gd name="connsiteY921" fmla="*/ 158956 h 488614"/>
                <a:gd name="connsiteX922" fmla="*/ 111693 w 803926"/>
                <a:gd name="connsiteY922" fmla="*/ 158890 h 488614"/>
                <a:gd name="connsiteX923" fmla="*/ 108813 w 803926"/>
                <a:gd name="connsiteY923" fmla="*/ 155664 h 488614"/>
                <a:gd name="connsiteX924" fmla="*/ 106485 w 803926"/>
                <a:gd name="connsiteY924" fmla="*/ 154639 h 488614"/>
                <a:gd name="connsiteX925" fmla="*/ 103150 w 803926"/>
                <a:gd name="connsiteY925" fmla="*/ 154243 h 488614"/>
                <a:gd name="connsiteX926" fmla="*/ 100313 w 803926"/>
                <a:gd name="connsiteY926" fmla="*/ 152601 h 488614"/>
                <a:gd name="connsiteX927" fmla="*/ 99440 w 803926"/>
                <a:gd name="connsiteY927" fmla="*/ 150814 h 488614"/>
                <a:gd name="connsiteX928" fmla="*/ 98969 w 803926"/>
                <a:gd name="connsiteY928" fmla="*/ 148282 h 488614"/>
                <a:gd name="connsiteX929" fmla="*/ 97914 w 803926"/>
                <a:gd name="connsiteY929" fmla="*/ 146783 h 488614"/>
                <a:gd name="connsiteX930" fmla="*/ 93459 w 803926"/>
                <a:gd name="connsiteY930" fmla="*/ 143817 h 488614"/>
                <a:gd name="connsiteX931" fmla="*/ 89829 w 803926"/>
                <a:gd name="connsiteY931" fmla="*/ 140544 h 488614"/>
                <a:gd name="connsiteX932" fmla="*/ 86412 w 803926"/>
                <a:gd name="connsiteY932" fmla="*/ 138440 h 488614"/>
                <a:gd name="connsiteX933" fmla="*/ 85405 w 803926"/>
                <a:gd name="connsiteY933" fmla="*/ 136719 h 488614"/>
                <a:gd name="connsiteX934" fmla="*/ 85323 w 803926"/>
                <a:gd name="connsiteY934" fmla="*/ 135541 h 488614"/>
                <a:gd name="connsiteX935" fmla="*/ 90721 w 803926"/>
                <a:gd name="connsiteY935" fmla="*/ 135868 h 488614"/>
                <a:gd name="connsiteX936" fmla="*/ 97150 w 803926"/>
                <a:gd name="connsiteY936" fmla="*/ 137128 h 488614"/>
                <a:gd name="connsiteX937" fmla="*/ 100231 w 803926"/>
                <a:gd name="connsiteY937" fmla="*/ 136773 h 488614"/>
                <a:gd name="connsiteX938" fmla="*/ 102153 w 803926"/>
                <a:gd name="connsiteY938" fmla="*/ 135558 h 488614"/>
                <a:gd name="connsiteX939" fmla="*/ 103982 w 803926"/>
                <a:gd name="connsiteY939" fmla="*/ 134688 h 488614"/>
                <a:gd name="connsiteX940" fmla="*/ 104274 w 803926"/>
                <a:gd name="connsiteY940" fmla="*/ 135631 h 488614"/>
                <a:gd name="connsiteX941" fmla="*/ 103940 w 803926"/>
                <a:gd name="connsiteY941" fmla="*/ 137353 h 488614"/>
                <a:gd name="connsiteX942" fmla="*/ 105704 w 803926"/>
                <a:gd name="connsiteY942" fmla="*/ 138931 h 488614"/>
                <a:gd name="connsiteX943" fmla="*/ 108124 w 803926"/>
                <a:gd name="connsiteY943" fmla="*/ 140208 h 488614"/>
                <a:gd name="connsiteX944" fmla="*/ 109845 w 803926"/>
                <a:gd name="connsiteY944" fmla="*/ 140093 h 488614"/>
                <a:gd name="connsiteX945" fmla="*/ 108179 w 803926"/>
                <a:gd name="connsiteY945" fmla="*/ 138698 h 488614"/>
                <a:gd name="connsiteX946" fmla="*/ 107156 w 803926"/>
                <a:gd name="connsiteY946" fmla="*/ 135851 h 488614"/>
                <a:gd name="connsiteX947" fmla="*/ 107615 w 803926"/>
                <a:gd name="connsiteY947" fmla="*/ 134826 h 488614"/>
                <a:gd name="connsiteX948" fmla="*/ 107587 w 803926"/>
                <a:gd name="connsiteY948" fmla="*/ 133408 h 488614"/>
                <a:gd name="connsiteX949" fmla="*/ 105198 w 803926"/>
                <a:gd name="connsiteY949" fmla="*/ 133728 h 488614"/>
                <a:gd name="connsiteX950" fmla="*/ 104862 w 803926"/>
                <a:gd name="connsiteY950" fmla="*/ 133002 h 488614"/>
                <a:gd name="connsiteX951" fmla="*/ 106906 w 803926"/>
                <a:gd name="connsiteY951" fmla="*/ 130842 h 488614"/>
                <a:gd name="connsiteX952" fmla="*/ 109252 w 803926"/>
                <a:gd name="connsiteY952" fmla="*/ 125131 h 488614"/>
                <a:gd name="connsiteX953" fmla="*/ 110374 w 803926"/>
                <a:gd name="connsiteY953" fmla="*/ 119503 h 488614"/>
                <a:gd name="connsiteX954" fmla="*/ 107914 w 803926"/>
                <a:gd name="connsiteY954" fmla="*/ 114572 h 488614"/>
                <a:gd name="connsiteX955" fmla="*/ 103763 w 803926"/>
                <a:gd name="connsiteY955" fmla="*/ 111145 h 488614"/>
                <a:gd name="connsiteX956" fmla="*/ 94767 w 803926"/>
                <a:gd name="connsiteY956" fmla="*/ 101090 h 488614"/>
                <a:gd name="connsiteX957" fmla="*/ 89393 w 803926"/>
                <a:gd name="connsiteY957" fmla="*/ 95918 h 488614"/>
                <a:gd name="connsiteX958" fmla="*/ 87837 w 803926"/>
                <a:gd name="connsiteY958" fmla="*/ 93990 h 488614"/>
                <a:gd name="connsiteX959" fmla="*/ 86412 w 803926"/>
                <a:gd name="connsiteY959" fmla="*/ 93083 h 488614"/>
                <a:gd name="connsiteX960" fmla="*/ 82029 w 803926"/>
                <a:gd name="connsiteY960" fmla="*/ 91898 h 488614"/>
                <a:gd name="connsiteX961" fmla="*/ 78357 w 803926"/>
                <a:gd name="connsiteY961" fmla="*/ 89002 h 488614"/>
                <a:gd name="connsiteX962" fmla="*/ 71914 w 803926"/>
                <a:gd name="connsiteY962" fmla="*/ 84901 h 488614"/>
                <a:gd name="connsiteX963" fmla="*/ 69161 w 803926"/>
                <a:gd name="connsiteY963" fmla="*/ 82785 h 488614"/>
                <a:gd name="connsiteX964" fmla="*/ 67264 w 803926"/>
                <a:gd name="connsiteY964" fmla="*/ 77812 h 488614"/>
                <a:gd name="connsiteX965" fmla="*/ 65752 w 803926"/>
                <a:gd name="connsiteY965" fmla="*/ 77133 h 488614"/>
                <a:gd name="connsiteX966" fmla="*/ 66227 w 803926"/>
                <a:gd name="connsiteY966" fmla="*/ 73692 h 488614"/>
                <a:gd name="connsiteX967" fmla="*/ 65566 w 803926"/>
                <a:gd name="connsiteY967" fmla="*/ 67594 h 488614"/>
                <a:gd name="connsiteX968" fmla="*/ 64487 w 803926"/>
                <a:gd name="connsiteY968" fmla="*/ 66031 h 488614"/>
                <a:gd name="connsiteX969" fmla="*/ 60997 w 803926"/>
                <a:gd name="connsiteY969" fmla="*/ 64510 h 488614"/>
                <a:gd name="connsiteX970" fmla="*/ 60167 w 803926"/>
                <a:gd name="connsiteY970" fmla="*/ 60359 h 488614"/>
                <a:gd name="connsiteX971" fmla="*/ 59994 w 803926"/>
                <a:gd name="connsiteY971" fmla="*/ 56405 h 488614"/>
                <a:gd name="connsiteX972" fmla="*/ 59315 w 803926"/>
                <a:gd name="connsiteY972" fmla="*/ 53653 h 488614"/>
                <a:gd name="connsiteX973" fmla="*/ 53378 w 803926"/>
                <a:gd name="connsiteY973" fmla="*/ 49010 h 488614"/>
                <a:gd name="connsiteX974" fmla="*/ 53040 w 803926"/>
                <a:gd name="connsiteY974" fmla="*/ 46761 h 488614"/>
                <a:gd name="connsiteX975" fmla="*/ 53039 w 803926"/>
                <a:gd name="connsiteY975" fmla="*/ 44627 h 488614"/>
                <a:gd name="connsiteX976" fmla="*/ 52436 w 803926"/>
                <a:gd name="connsiteY976" fmla="*/ 42517 h 488614"/>
                <a:gd name="connsiteX977" fmla="*/ 49265 w 803926"/>
                <a:gd name="connsiteY977" fmla="*/ 38091 h 488614"/>
                <a:gd name="connsiteX978" fmla="*/ 45434 w 803926"/>
                <a:gd name="connsiteY978" fmla="*/ 34223 h 488614"/>
                <a:gd name="connsiteX979" fmla="*/ 44100 w 803926"/>
                <a:gd name="connsiteY979" fmla="*/ 32378 h 488614"/>
                <a:gd name="connsiteX980" fmla="*/ 43941 w 803926"/>
                <a:gd name="connsiteY980" fmla="*/ 28627 h 488614"/>
                <a:gd name="connsiteX981" fmla="*/ 42582 w 803926"/>
                <a:gd name="connsiteY981" fmla="*/ 27618 h 488614"/>
                <a:gd name="connsiteX982" fmla="*/ 43098 w 803926"/>
                <a:gd name="connsiteY982" fmla="*/ 27363 h 488614"/>
                <a:gd name="connsiteX983" fmla="*/ 44356 w 803926"/>
                <a:gd name="connsiteY983" fmla="*/ 27456 h 488614"/>
                <a:gd name="connsiteX984" fmla="*/ 45072 w 803926"/>
                <a:gd name="connsiteY984" fmla="*/ 26961 h 488614"/>
                <a:gd name="connsiteX985" fmla="*/ 45150 w 803926"/>
                <a:gd name="connsiteY985" fmla="*/ 24347 h 488614"/>
                <a:gd name="connsiteX986" fmla="*/ 39388 w 803926"/>
                <a:gd name="connsiteY986" fmla="*/ 20236 h 488614"/>
                <a:gd name="connsiteX987" fmla="*/ 37723 w 803926"/>
                <a:gd name="connsiteY987" fmla="*/ 14576 h 488614"/>
                <a:gd name="connsiteX988" fmla="*/ 34653 w 803926"/>
                <a:gd name="connsiteY988" fmla="*/ 11576 h 488614"/>
                <a:gd name="connsiteX989" fmla="*/ 33934 w 803926"/>
                <a:gd name="connsiteY989" fmla="*/ 10489 h 488614"/>
                <a:gd name="connsiteX990" fmla="*/ 32282 w 803926"/>
                <a:gd name="connsiteY990" fmla="*/ 5139 h 488614"/>
                <a:gd name="connsiteX991" fmla="*/ 39539 w 803926"/>
                <a:gd name="connsiteY991" fmla="*/ 4534 h 488614"/>
                <a:gd name="connsiteX992" fmla="*/ 46794 w 803926"/>
                <a:gd name="connsiteY992" fmla="*/ 3929 h 488614"/>
                <a:gd name="connsiteX993" fmla="*/ 54049 w 803926"/>
                <a:gd name="connsiteY993" fmla="*/ 3326 h 488614"/>
                <a:gd name="connsiteX994" fmla="*/ 61305 w 803926"/>
                <a:gd name="connsiteY994" fmla="*/ 2720 h 488614"/>
                <a:gd name="connsiteX995" fmla="*/ 68561 w 803926"/>
                <a:gd name="connsiteY995" fmla="*/ 2115 h 488614"/>
                <a:gd name="connsiteX996" fmla="*/ 75816 w 803926"/>
                <a:gd name="connsiteY996" fmla="*/ 1510 h 488614"/>
                <a:gd name="connsiteX997" fmla="*/ 83073 w 803926"/>
                <a:gd name="connsiteY997" fmla="*/ 905 h 488614"/>
                <a:gd name="connsiteX998" fmla="*/ 90328 w 803926"/>
                <a:gd name="connsiteY998" fmla="*/ 299 h 488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</a:cxnLst>
              <a:rect l="l" t="t" r="r" b="b"/>
              <a:pathLst>
                <a:path w="803926" h="488614">
                  <a:moveTo>
                    <a:pt x="679862" y="378300"/>
                  </a:moveTo>
                  <a:lnTo>
                    <a:pt x="680847" y="378414"/>
                  </a:lnTo>
                  <a:lnTo>
                    <a:pt x="681191" y="378773"/>
                  </a:lnTo>
                  <a:lnTo>
                    <a:pt x="678211" y="380047"/>
                  </a:lnTo>
                  <a:lnTo>
                    <a:pt x="677464" y="380942"/>
                  </a:lnTo>
                  <a:lnTo>
                    <a:pt x="674612" y="381550"/>
                  </a:lnTo>
                  <a:lnTo>
                    <a:pt x="674106" y="380981"/>
                  </a:lnTo>
                  <a:close/>
                  <a:moveTo>
                    <a:pt x="187941" y="376066"/>
                  </a:moveTo>
                  <a:lnTo>
                    <a:pt x="189140" y="377680"/>
                  </a:lnTo>
                  <a:lnTo>
                    <a:pt x="189841" y="379261"/>
                  </a:lnTo>
                  <a:lnTo>
                    <a:pt x="188311" y="379815"/>
                  </a:lnTo>
                  <a:lnTo>
                    <a:pt x="186058" y="378206"/>
                  </a:lnTo>
                  <a:lnTo>
                    <a:pt x="186660" y="376933"/>
                  </a:lnTo>
                  <a:close/>
                  <a:moveTo>
                    <a:pt x="802228" y="330852"/>
                  </a:moveTo>
                  <a:lnTo>
                    <a:pt x="802437" y="331573"/>
                  </a:lnTo>
                  <a:lnTo>
                    <a:pt x="801074" y="333776"/>
                  </a:lnTo>
                  <a:lnTo>
                    <a:pt x="797756" y="338139"/>
                  </a:lnTo>
                  <a:lnTo>
                    <a:pt x="796443" y="338961"/>
                  </a:lnTo>
                  <a:lnTo>
                    <a:pt x="795733" y="336052"/>
                  </a:lnTo>
                  <a:lnTo>
                    <a:pt x="796784" y="333212"/>
                  </a:lnTo>
                  <a:lnTo>
                    <a:pt x="798055" y="331580"/>
                  </a:lnTo>
                  <a:lnTo>
                    <a:pt x="800573" y="331388"/>
                  </a:lnTo>
                  <a:close/>
                  <a:moveTo>
                    <a:pt x="802841" y="312292"/>
                  </a:moveTo>
                  <a:lnTo>
                    <a:pt x="803150" y="312707"/>
                  </a:lnTo>
                  <a:lnTo>
                    <a:pt x="803476" y="313370"/>
                  </a:lnTo>
                  <a:lnTo>
                    <a:pt x="803926" y="314650"/>
                  </a:lnTo>
                  <a:lnTo>
                    <a:pt x="803487" y="314499"/>
                  </a:lnTo>
                  <a:lnTo>
                    <a:pt x="802910" y="313530"/>
                  </a:lnTo>
                  <a:lnTo>
                    <a:pt x="802491" y="312323"/>
                  </a:lnTo>
                  <a:close/>
                  <a:moveTo>
                    <a:pt x="299306" y="300820"/>
                  </a:moveTo>
                  <a:lnTo>
                    <a:pt x="300852" y="301771"/>
                  </a:lnTo>
                  <a:lnTo>
                    <a:pt x="301171" y="302409"/>
                  </a:lnTo>
                  <a:lnTo>
                    <a:pt x="301719" y="303511"/>
                  </a:lnTo>
                  <a:lnTo>
                    <a:pt x="300981" y="305697"/>
                  </a:lnTo>
                  <a:lnTo>
                    <a:pt x="299061" y="304822"/>
                  </a:lnTo>
                  <a:lnTo>
                    <a:pt x="298373" y="303451"/>
                  </a:lnTo>
                  <a:lnTo>
                    <a:pt x="298242" y="301200"/>
                  </a:lnTo>
                  <a:close/>
                  <a:moveTo>
                    <a:pt x="215809" y="230454"/>
                  </a:moveTo>
                  <a:lnTo>
                    <a:pt x="218256" y="234795"/>
                  </a:lnTo>
                  <a:lnTo>
                    <a:pt x="218210" y="235327"/>
                  </a:lnTo>
                  <a:lnTo>
                    <a:pt x="217971" y="235663"/>
                  </a:lnTo>
                  <a:lnTo>
                    <a:pt x="217421" y="235758"/>
                  </a:lnTo>
                  <a:lnTo>
                    <a:pt x="216123" y="234331"/>
                  </a:lnTo>
                  <a:lnTo>
                    <a:pt x="215551" y="230829"/>
                  </a:lnTo>
                  <a:close/>
                  <a:moveTo>
                    <a:pt x="163815" y="224903"/>
                  </a:moveTo>
                  <a:lnTo>
                    <a:pt x="165946" y="225257"/>
                  </a:lnTo>
                  <a:lnTo>
                    <a:pt x="169951" y="229142"/>
                  </a:lnTo>
                  <a:lnTo>
                    <a:pt x="169611" y="230413"/>
                  </a:lnTo>
                  <a:lnTo>
                    <a:pt x="161979" y="225381"/>
                  </a:lnTo>
                  <a:close/>
                  <a:moveTo>
                    <a:pt x="195527" y="210433"/>
                  </a:moveTo>
                  <a:lnTo>
                    <a:pt x="197936" y="211667"/>
                  </a:lnTo>
                  <a:lnTo>
                    <a:pt x="198643" y="212711"/>
                  </a:lnTo>
                  <a:lnTo>
                    <a:pt x="199365" y="215730"/>
                  </a:lnTo>
                  <a:lnTo>
                    <a:pt x="198064" y="215285"/>
                  </a:lnTo>
                  <a:lnTo>
                    <a:pt x="196359" y="213645"/>
                  </a:lnTo>
                  <a:lnTo>
                    <a:pt x="195193" y="211545"/>
                  </a:lnTo>
                  <a:lnTo>
                    <a:pt x="195299" y="210606"/>
                  </a:lnTo>
                  <a:close/>
                  <a:moveTo>
                    <a:pt x="158273" y="205091"/>
                  </a:moveTo>
                  <a:lnTo>
                    <a:pt x="158977" y="206747"/>
                  </a:lnTo>
                  <a:lnTo>
                    <a:pt x="157285" y="215895"/>
                  </a:lnTo>
                  <a:lnTo>
                    <a:pt x="157370" y="217091"/>
                  </a:lnTo>
                  <a:lnTo>
                    <a:pt x="158163" y="218207"/>
                  </a:lnTo>
                  <a:lnTo>
                    <a:pt x="159013" y="220096"/>
                  </a:lnTo>
                  <a:lnTo>
                    <a:pt x="159114" y="222134"/>
                  </a:lnTo>
                  <a:lnTo>
                    <a:pt x="160604" y="224028"/>
                  </a:lnTo>
                  <a:lnTo>
                    <a:pt x="160863" y="225050"/>
                  </a:lnTo>
                  <a:lnTo>
                    <a:pt x="160354" y="225349"/>
                  </a:lnTo>
                  <a:lnTo>
                    <a:pt x="158186" y="222232"/>
                  </a:lnTo>
                  <a:lnTo>
                    <a:pt x="157866" y="220096"/>
                  </a:lnTo>
                  <a:lnTo>
                    <a:pt x="156978" y="219192"/>
                  </a:lnTo>
                  <a:lnTo>
                    <a:pt x="154790" y="218478"/>
                  </a:lnTo>
                  <a:lnTo>
                    <a:pt x="156679" y="214124"/>
                  </a:lnTo>
                  <a:close/>
                  <a:moveTo>
                    <a:pt x="185367" y="183698"/>
                  </a:moveTo>
                  <a:lnTo>
                    <a:pt x="185128" y="185192"/>
                  </a:lnTo>
                  <a:lnTo>
                    <a:pt x="185446" y="186172"/>
                  </a:lnTo>
                  <a:lnTo>
                    <a:pt x="185278" y="186455"/>
                  </a:lnTo>
                  <a:lnTo>
                    <a:pt x="184242" y="185775"/>
                  </a:lnTo>
                  <a:lnTo>
                    <a:pt x="182487" y="189826"/>
                  </a:lnTo>
                  <a:lnTo>
                    <a:pt x="181975" y="190201"/>
                  </a:lnTo>
                  <a:lnTo>
                    <a:pt x="183034" y="184650"/>
                  </a:lnTo>
                  <a:lnTo>
                    <a:pt x="184140" y="183858"/>
                  </a:lnTo>
                  <a:close/>
                  <a:moveTo>
                    <a:pt x="80324" y="121093"/>
                  </a:moveTo>
                  <a:lnTo>
                    <a:pt x="81252" y="122205"/>
                  </a:lnTo>
                  <a:lnTo>
                    <a:pt x="82480" y="126484"/>
                  </a:lnTo>
                  <a:lnTo>
                    <a:pt x="81921" y="129303"/>
                  </a:lnTo>
                  <a:lnTo>
                    <a:pt x="81573" y="130184"/>
                  </a:lnTo>
                  <a:lnTo>
                    <a:pt x="77297" y="128354"/>
                  </a:lnTo>
                  <a:lnTo>
                    <a:pt x="79643" y="125154"/>
                  </a:lnTo>
                  <a:lnTo>
                    <a:pt x="79299" y="121796"/>
                  </a:lnTo>
                  <a:close/>
                  <a:moveTo>
                    <a:pt x="851" y="98522"/>
                  </a:moveTo>
                  <a:lnTo>
                    <a:pt x="2258" y="98653"/>
                  </a:lnTo>
                  <a:lnTo>
                    <a:pt x="2265" y="100098"/>
                  </a:lnTo>
                  <a:lnTo>
                    <a:pt x="3445" y="101315"/>
                  </a:lnTo>
                  <a:lnTo>
                    <a:pt x="3905" y="102503"/>
                  </a:lnTo>
                  <a:lnTo>
                    <a:pt x="4022" y="105301"/>
                  </a:lnTo>
                  <a:lnTo>
                    <a:pt x="2938" y="106354"/>
                  </a:lnTo>
                  <a:lnTo>
                    <a:pt x="32" y="100601"/>
                  </a:lnTo>
                  <a:lnTo>
                    <a:pt x="0" y="99209"/>
                  </a:lnTo>
                  <a:close/>
                  <a:moveTo>
                    <a:pt x="155087" y="97062"/>
                  </a:moveTo>
                  <a:lnTo>
                    <a:pt x="155636" y="97992"/>
                  </a:lnTo>
                  <a:lnTo>
                    <a:pt x="156009" y="100224"/>
                  </a:lnTo>
                  <a:lnTo>
                    <a:pt x="157166" y="103554"/>
                  </a:lnTo>
                  <a:lnTo>
                    <a:pt x="155256" y="110059"/>
                  </a:lnTo>
                  <a:lnTo>
                    <a:pt x="153307" y="109955"/>
                  </a:lnTo>
                  <a:lnTo>
                    <a:pt x="149281" y="107902"/>
                  </a:lnTo>
                  <a:lnTo>
                    <a:pt x="148851" y="106623"/>
                  </a:lnTo>
                  <a:lnTo>
                    <a:pt x="150403" y="99071"/>
                  </a:lnTo>
                  <a:lnTo>
                    <a:pt x="151576" y="98078"/>
                  </a:lnTo>
                  <a:close/>
                  <a:moveTo>
                    <a:pt x="122070" y="87864"/>
                  </a:moveTo>
                  <a:lnTo>
                    <a:pt x="124080" y="88228"/>
                  </a:lnTo>
                  <a:lnTo>
                    <a:pt x="126413" y="90275"/>
                  </a:lnTo>
                  <a:lnTo>
                    <a:pt x="127429" y="92169"/>
                  </a:lnTo>
                  <a:lnTo>
                    <a:pt x="127480" y="94341"/>
                  </a:lnTo>
                  <a:lnTo>
                    <a:pt x="131834" y="95365"/>
                  </a:lnTo>
                  <a:lnTo>
                    <a:pt x="132448" y="100059"/>
                  </a:lnTo>
                  <a:lnTo>
                    <a:pt x="133014" y="102258"/>
                  </a:lnTo>
                  <a:lnTo>
                    <a:pt x="132832" y="102741"/>
                  </a:lnTo>
                  <a:lnTo>
                    <a:pt x="130246" y="101031"/>
                  </a:lnTo>
                  <a:lnTo>
                    <a:pt x="124373" y="95206"/>
                  </a:lnTo>
                  <a:lnTo>
                    <a:pt x="122237" y="92286"/>
                  </a:lnTo>
                  <a:lnTo>
                    <a:pt x="121887" y="90918"/>
                  </a:lnTo>
                  <a:close/>
                  <a:moveTo>
                    <a:pt x="92051" y="25947"/>
                  </a:moveTo>
                  <a:lnTo>
                    <a:pt x="93624" y="26992"/>
                  </a:lnTo>
                  <a:lnTo>
                    <a:pt x="94159" y="27909"/>
                  </a:lnTo>
                  <a:lnTo>
                    <a:pt x="94003" y="28431"/>
                  </a:lnTo>
                  <a:lnTo>
                    <a:pt x="93162" y="28550"/>
                  </a:lnTo>
                  <a:lnTo>
                    <a:pt x="91591" y="27258"/>
                  </a:lnTo>
                  <a:lnTo>
                    <a:pt x="91709" y="26068"/>
                  </a:lnTo>
                  <a:close/>
                  <a:moveTo>
                    <a:pt x="93227" y="0"/>
                  </a:moveTo>
                  <a:lnTo>
                    <a:pt x="91623" y="4251"/>
                  </a:lnTo>
                  <a:lnTo>
                    <a:pt x="90407" y="5845"/>
                  </a:lnTo>
                  <a:lnTo>
                    <a:pt x="102432" y="10019"/>
                  </a:lnTo>
                  <a:lnTo>
                    <a:pt x="114457" y="14188"/>
                  </a:lnTo>
                  <a:lnTo>
                    <a:pt x="126483" y="18353"/>
                  </a:lnTo>
                  <a:lnTo>
                    <a:pt x="138507" y="22516"/>
                  </a:lnTo>
                  <a:lnTo>
                    <a:pt x="150532" y="26673"/>
                  </a:lnTo>
                  <a:lnTo>
                    <a:pt x="162558" y="30826"/>
                  </a:lnTo>
                  <a:lnTo>
                    <a:pt x="174583" y="34974"/>
                  </a:lnTo>
                  <a:lnTo>
                    <a:pt x="186608" y="39119"/>
                  </a:lnTo>
                  <a:lnTo>
                    <a:pt x="195571" y="39102"/>
                  </a:lnTo>
                  <a:lnTo>
                    <a:pt x="204532" y="39083"/>
                  </a:lnTo>
                  <a:lnTo>
                    <a:pt x="213495" y="39065"/>
                  </a:lnTo>
                  <a:lnTo>
                    <a:pt x="222456" y="39047"/>
                  </a:lnTo>
                  <a:lnTo>
                    <a:pt x="231418" y="39030"/>
                  </a:lnTo>
                  <a:lnTo>
                    <a:pt x="240380" y="39010"/>
                  </a:lnTo>
                  <a:lnTo>
                    <a:pt x="249342" y="38991"/>
                  </a:lnTo>
                  <a:lnTo>
                    <a:pt x="258304" y="38974"/>
                  </a:lnTo>
                  <a:lnTo>
                    <a:pt x="258320" y="35825"/>
                  </a:lnTo>
                  <a:lnTo>
                    <a:pt x="258336" y="32672"/>
                  </a:lnTo>
                  <a:lnTo>
                    <a:pt x="258353" y="29519"/>
                  </a:lnTo>
                  <a:lnTo>
                    <a:pt x="258371" y="26361"/>
                  </a:lnTo>
                  <a:lnTo>
                    <a:pt x="263944" y="26394"/>
                  </a:lnTo>
                  <a:lnTo>
                    <a:pt x="269518" y="26425"/>
                  </a:lnTo>
                  <a:lnTo>
                    <a:pt x="275093" y="26458"/>
                  </a:lnTo>
                  <a:lnTo>
                    <a:pt x="280666" y="26490"/>
                  </a:lnTo>
                  <a:lnTo>
                    <a:pt x="286240" y="26521"/>
                  </a:lnTo>
                  <a:lnTo>
                    <a:pt x="291815" y="26555"/>
                  </a:lnTo>
                  <a:lnTo>
                    <a:pt x="297389" y="26586"/>
                  </a:lnTo>
                  <a:lnTo>
                    <a:pt x="302962" y="26619"/>
                  </a:lnTo>
                  <a:lnTo>
                    <a:pt x="303160" y="26668"/>
                  </a:lnTo>
                  <a:lnTo>
                    <a:pt x="303399" y="26779"/>
                  </a:lnTo>
                  <a:lnTo>
                    <a:pt x="305657" y="29177"/>
                  </a:lnTo>
                  <a:lnTo>
                    <a:pt x="307971" y="32944"/>
                  </a:lnTo>
                  <a:lnTo>
                    <a:pt x="310701" y="35571"/>
                  </a:lnTo>
                  <a:lnTo>
                    <a:pt x="313844" y="37061"/>
                  </a:lnTo>
                  <a:lnTo>
                    <a:pt x="319204" y="41448"/>
                  </a:lnTo>
                  <a:lnTo>
                    <a:pt x="326778" y="48723"/>
                  </a:lnTo>
                  <a:lnTo>
                    <a:pt x="332817" y="53566"/>
                  </a:lnTo>
                  <a:lnTo>
                    <a:pt x="337322" y="55984"/>
                  </a:lnTo>
                  <a:lnTo>
                    <a:pt x="340348" y="58064"/>
                  </a:lnTo>
                  <a:lnTo>
                    <a:pt x="341894" y="59807"/>
                  </a:lnTo>
                  <a:lnTo>
                    <a:pt x="343972" y="63587"/>
                  </a:lnTo>
                  <a:lnTo>
                    <a:pt x="347890" y="72297"/>
                  </a:lnTo>
                  <a:lnTo>
                    <a:pt x="347890" y="76293"/>
                  </a:lnTo>
                  <a:lnTo>
                    <a:pt x="349390" y="80071"/>
                  </a:lnTo>
                  <a:lnTo>
                    <a:pt x="352388" y="84966"/>
                  </a:lnTo>
                  <a:lnTo>
                    <a:pt x="355009" y="87845"/>
                  </a:lnTo>
                  <a:lnTo>
                    <a:pt x="357251" y="88712"/>
                  </a:lnTo>
                  <a:lnTo>
                    <a:pt x="359703" y="90442"/>
                  </a:lnTo>
                  <a:lnTo>
                    <a:pt x="362363" y="93036"/>
                  </a:lnTo>
                  <a:lnTo>
                    <a:pt x="365427" y="94777"/>
                  </a:lnTo>
                  <a:lnTo>
                    <a:pt x="368896" y="95663"/>
                  </a:lnTo>
                  <a:lnTo>
                    <a:pt x="373688" y="97988"/>
                  </a:lnTo>
                  <a:lnTo>
                    <a:pt x="379799" y="101749"/>
                  </a:lnTo>
                  <a:lnTo>
                    <a:pt x="383989" y="103669"/>
                  </a:lnTo>
                  <a:lnTo>
                    <a:pt x="386256" y="103750"/>
                  </a:lnTo>
                  <a:lnTo>
                    <a:pt x="388242" y="102544"/>
                  </a:lnTo>
                  <a:lnTo>
                    <a:pt x="389944" y="100050"/>
                  </a:lnTo>
                  <a:lnTo>
                    <a:pt x="391618" y="98445"/>
                  </a:lnTo>
                  <a:lnTo>
                    <a:pt x="393263" y="97726"/>
                  </a:lnTo>
                  <a:lnTo>
                    <a:pt x="393930" y="96577"/>
                  </a:lnTo>
                  <a:lnTo>
                    <a:pt x="393622" y="94992"/>
                  </a:lnTo>
                  <a:lnTo>
                    <a:pt x="394734" y="91436"/>
                  </a:lnTo>
                  <a:lnTo>
                    <a:pt x="397265" y="85901"/>
                  </a:lnTo>
                  <a:lnTo>
                    <a:pt x="400287" y="82898"/>
                  </a:lnTo>
                  <a:lnTo>
                    <a:pt x="403803" y="82433"/>
                  </a:lnTo>
                  <a:lnTo>
                    <a:pt x="406101" y="81393"/>
                  </a:lnTo>
                  <a:lnTo>
                    <a:pt x="407182" y="79775"/>
                  </a:lnTo>
                  <a:lnTo>
                    <a:pt x="409061" y="79603"/>
                  </a:lnTo>
                  <a:lnTo>
                    <a:pt x="411744" y="80877"/>
                  </a:lnTo>
                  <a:lnTo>
                    <a:pt x="416111" y="81696"/>
                  </a:lnTo>
                  <a:lnTo>
                    <a:pt x="422160" y="82063"/>
                  </a:lnTo>
                  <a:lnTo>
                    <a:pt x="425729" y="81938"/>
                  </a:lnTo>
                  <a:lnTo>
                    <a:pt x="426817" y="81321"/>
                  </a:lnTo>
                  <a:lnTo>
                    <a:pt x="427382" y="81353"/>
                  </a:lnTo>
                  <a:lnTo>
                    <a:pt x="427427" y="82033"/>
                  </a:lnTo>
                  <a:lnTo>
                    <a:pt x="428324" y="82321"/>
                  </a:lnTo>
                  <a:lnTo>
                    <a:pt x="430070" y="82218"/>
                  </a:lnTo>
                  <a:lnTo>
                    <a:pt x="431592" y="83168"/>
                  </a:lnTo>
                  <a:lnTo>
                    <a:pt x="433540" y="86174"/>
                  </a:lnTo>
                  <a:lnTo>
                    <a:pt x="440248" y="90981"/>
                  </a:lnTo>
                  <a:lnTo>
                    <a:pt x="440257" y="90984"/>
                  </a:lnTo>
                  <a:lnTo>
                    <a:pt x="440823" y="92633"/>
                  </a:lnTo>
                  <a:lnTo>
                    <a:pt x="443161" y="95010"/>
                  </a:lnTo>
                  <a:lnTo>
                    <a:pt x="447459" y="98662"/>
                  </a:lnTo>
                  <a:lnTo>
                    <a:pt x="449892" y="101808"/>
                  </a:lnTo>
                  <a:lnTo>
                    <a:pt x="450458" y="104450"/>
                  </a:lnTo>
                  <a:lnTo>
                    <a:pt x="452655" y="108627"/>
                  </a:lnTo>
                  <a:lnTo>
                    <a:pt x="456478" y="114330"/>
                  </a:lnTo>
                  <a:lnTo>
                    <a:pt x="458181" y="117404"/>
                  </a:lnTo>
                  <a:lnTo>
                    <a:pt x="457766" y="117846"/>
                  </a:lnTo>
                  <a:lnTo>
                    <a:pt x="458066" y="119449"/>
                  </a:lnTo>
                  <a:lnTo>
                    <a:pt x="459087" y="122211"/>
                  </a:lnTo>
                  <a:lnTo>
                    <a:pt x="460982" y="124547"/>
                  </a:lnTo>
                  <a:lnTo>
                    <a:pt x="463754" y="126460"/>
                  </a:lnTo>
                  <a:lnTo>
                    <a:pt x="466556" y="129894"/>
                  </a:lnTo>
                  <a:lnTo>
                    <a:pt x="469391" y="134844"/>
                  </a:lnTo>
                  <a:lnTo>
                    <a:pt x="472824" y="138608"/>
                  </a:lnTo>
                  <a:lnTo>
                    <a:pt x="476855" y="141182"/>
                  </a:lnTo>
                  <a:lnTo>
                    <a:pt x="479136" y="143577"/>
                  </a:lnTo>
                  <a:lnTo>
                    <a:pt x="479670" y="145791"/>
                  </a:lnTo>
                  <a:lnTo>
                    <a:pt x="479630" y="147686"/>
                  </a:lnTo>
                  <a:lnTo>
                    <a:pt x="479017" y="149264"/>
                  </a:lnTo>
                  <a:lnTo>
                    <a:pt x="479276" y="150762"/>
                  </a:lnTo>
                  <a:lnTo>
                    <a:pt x="480409" y="152177"/>
                  </a:lnTo>
                  <a:lnTo>
                    <a:pt x="480787" y="153913"/>
                  </a:lnTo>
                  <a:lnTo>
                    <a:pt x="480343" y="156326"/>
                  </a:lnTo>
                  <a:lnTo>
                    <a:pt x="480373" y="157008"/>
                  </a:lnTo>
                  <a:lnTo>
                    <a:pt x="480374" y="157009"/>
                  </a:lnTo>
                  <a:lnTo>
                    <a:pt x="480702" y="157554"/>
                  </a:lnTo>
                  <a:lnTo>
                    <a:pt x="484280" y="161697"/>
                  </a:lnTo>
                  <a:lnTo>
                    <a:pt x="486119" y="165043"/>
                  </a:lnTo>
                  <a:lnTo>
                    <a:pt x="487579" y="170377"/>
                  </a:lnTo>
                  <a:lnTo>
                    <a:pt x="487586" y="170426"/>
                  </a:lnTo>
                  <a:lnTo>
                    <a:pt x="489217" y="173615"/>
                  </a:lnTo>
                  <a:lnTo>
                    <a:pt x="491562" y="174917"/>
                  </a:lnTo>
                  <a:lnTo>
                    <a:pt x="495165" y="175399"/>
                  </a:lnTo>
                  <a:lnTo>
                    <a:pt x="497902" y="176509"/>
                  </a:lnTo>
                  <a:lnTo>
                    <a:pt x="499775" y="178247"/>
                  </a:lnTo>
                  <a:lnTo>
                    <a:pt x="502136" y="179296"/>
                  </a:lnTo>
                  <a:lnTo>
                    <a:pt x="504985" y="179657"/>
                  </a:lnTo>
                  <a:lnTo>
                    <a:pt x="507718" y="180802"/>
                  </a:lnTo>
                  <a:lnTo>
                    <a:pt x="510331" y="182735"/>
                  </a:lnTo>
                  <a:lnTo>
                    <a:pt x="515206" y="184003"/>
                  </a:lnTo>
                  <a:lnTo>
                    <a:pt x="522341" y="184611"/>
                  </a:lnTo>
                  <a:lnTo>
                    <a:pt x="527772" y="186180"/>
                  </a:lnTo>
                  <a:lnTo>
                    <a:pt x="531499" y="188711"/>
                  </a:lnTo>
                  <a:lnTo>
                    <a:pt x="533137" y="189227"/>
                  </a:lnTo>
                  <a:lnTo>
                    <a:pt x="533581" y="189263"/>
                  </a:lnTo>
                  <a:lnTo>
                    <a:pt x="533793" y="188876"/>
                  </a:lnTo>
                  <a:lnTo>
                    <a:pt x="534075" y="188160"/>
                  </a:lnTo>
                  <a:lnTo>
                    <a:pt x="535517" y="187335"/>
                  </a:lnTo>
                  <a:lnTo>
                    <a:pt x="538954" y="186796"/>
                  </a:lnTo>
                  <a:lnTo>
                    <a:pt x="538492" y="192394"/>
                  </a:lnTo>
                  <a:lnTo>
                    <a:pt x="536959" y="196984"/>
                  </a:lnTo>
                  <a:lnTo>
                    <a:pt x="531909" y="206511"/>
                  </a:lnTo>
                  <a:lnTo>
                    <a:pt x="529805" y="212412"/>
                  </a:lnTo>
                  <a:lnTo>
                    <a:pt x="525732" y="229240"/>
                  </a:lnTo>
                  <a:lnTo>
                    <a:pt x="524481" y="240241"/>
                  </a:lnTo>
                  <a:lnTo>
                    <a:pt x="524187" y="245412"/>
                  </a:lnTo>
                  <a:lnTo>
                    <a:pt x="523830" y="246144"/>
                  </a:lnTo>
                  <a:lnTo>
                    <a:pt x="524218" y="246906"/>
                  </a:lnTo>
                  <a:lnTo>
                    <a:pt x="523242" y="258319"/>
                  </a:lnTo>
                  <a:lnTo>
                    <a:pt x="523766" y="268046"/>
                  </a:lnTo>
                  <a:lnTo>
                    <a:pt x="523434" y="269552"/>
                  </a:lnTo>
                  <a:lnTo>
                    <a:pt x="521953" y="272480"/>
                  </a:lnTo>
                  <a:lnTo>
                    <a:pt x="520911" y="276532"/>
                  </a:lnTo>
                  <a:lnTo>
                    <a:pt x="521323" y="278331"/>
                  </a:lnTo>
                  <a:lnTo>
                    <a:pt x="521300" y="279578"/>
                  </a:lnTo>
                  <a:lnTo>
                    <a:pt x="522824" y="285734"/>
                  </a:lnTo>
                  <a:lnTo>
                    <a:pt x="523308" y="290352"/>
                  </a:lnTo>
                  <a:lnTo>
                    <a:pt x="527835" y="298259"/>
                  </a:lnTo>
                  <a:lnTo>
                    <a:pt x="530377" y="301015"/>
                  </a:lnTo>
                  <a:lnTo>
                    <a:pt x="533529" y="303403"/>
                  </a:lnTo>
                  <a:lnTo>
                    <a:pt x="534688" y="304749"/>
                  </a:lnTo>
                  <a:lnTo>
                    <a:pt x="534120" y="308103"/>
                  </a:lnTo>
                  <a:lnTo>
                    <a:pt x="532836" y="309799"/>
                  </a:lnTo>
                  <a:lnTo>
                    <a:pt x="532286" y="312488"/>
                  </a:lnTo>
                  <a:lnTo>
                    <a:pt x="531654" y="310262"/>
                  </a:lnTo>
                  <a:lnTo>
                    <a:pt x="531900" y="307375"/>
                  </a:lnTo>
                  <a:lnTo>
                    <a:pt x="532904" y="305822"/>
                  </a:lnTo>
                  <a:lnTo>
                    <a:pt x="532940" y="304684"/>
                  </a:lnTo>
                  <a:lnTo>
                    <a:pt x="531085" y="303470"/>
                  </a:lnTo>
                  <a:lnTo>
                    <a:pt x="527693" y="299496"/>
                  </a:lnTo>
                  <a:lnTo>
                    <a:pt x="523548" y="292460"/>
                  </a:lnTo>
                  <a:lnTo>
                    <a:pt x="526497" y="303702"/>
                  </a:lnTo>
                  <a:lnTo>
                    <a:pt x="527509" y="305501"/>
                  </a:lnTo>
                  <a:lnTo>
                    <a:pt x="528297" y="306250"/>
                  </a:lnTo>
                  <a:lnTo>
                    <a:pt x="529614" y="307039"/>
                  </a:lnTo>
                  <a:lnTo>
                    <a:pt x="529957" y="308258"/>
                  </a:lnTo>
                  <a:lnTo>
                    <a:pt x="529969" y="309160"/>
                  </a:lnTo>
                  <a:lnTo>
                    <a:pt x="533606" y="316957"/>
                  </a:lnTo>
                  <a:lnTo>
                    <a:pt x="537718" y="325005"/>
                  </a:lnTo>
                  <a:lnTo>
                    <a:pt x="537937" y="327202"/>
                  </a:lnTo>
                  <a:lnTo>
                    <a:pt x="539583" y="329901"/>
                  </a:lnTo>
                  <a:lnTo>
                    <a:pt x="550049" y="341176"/>
                  </a:lnTo>
                  <a:lnTo>
                    <a:pt x="556455" y="349578"/>
                  </a:lnTo>
                  <a:lnTo>
                    <a:pt x="558678" y="357550"/>
                  </a:lnTo>
                  <a:lnTo>
                    <a:pt x="560023" y="360035"/>
                  </a:lnTo>
                  <a:lnTo>
                    <a:pt x="560677" y="363432"/>
                  </a:lnTo>
                  <a:lnTo>
                    <a:pt x="564875" y="367237"/>
                  </a:lnTo>
                  <a:lnTo>
                    <a:pt x="566158" y="369693"/>
                  </a:lnTo>
                  <a:lnTo>
                    <a:pt x="568407" y="371057"/>
                  </a:lnTo>
                  <a:lnTo>
                    <a:pt x="570223" y="375171"/>
                  </a:lnTo>
                  <a:lnTo>
                    <a:pt x="573645" y="377578"/>
                  </a:lnTo>
                  <a:lnTo>
                    <a:pt x="572827" y="377622"/>
                  </a:lnTo>
                  <a:lnTo>
                    <a:pt x="569838" y="376407"/>
                  </a:lnTo>
                  <a:lnTo>
                    <a:pt x="570037" y="377209"/>
                  </a:lnTo>
                  <a:lnTo>
                    <a:pt x="572555" y="378914"/>
                  </a:lnTo>
                  <a:lnTo>
                    <a:pt x="577482" y="380596"/>
                  </a:lnTo>
                  <a:lnTo>
                    <a:pt x="578711" y="380600"/>
                  </a:lnTo>
                  <a:lnTo>
                    <a:pt x="576769" y="379727"/>
                  </a:lnTo>
                  <a:lnTo>
                    <a:pt x="575122" y="378554"/>
                  </a:lnTo>
                  <a:lnTo>
                    <a:pt x="575699" y="378382"/>
                  </a:lnTo>
                  <a:lnTo>
                    <a:pt x="579139" y="379846"/>
                  </a:lnTo>
                  <a:lnTo>
                    <a:pt x="588765" y="380329"/>
                  </a:lnTo>
                  <a:lnTo>
                    <a:pt x="593003" y="383744"/>
                  </a:lnTo>
                  <a:lnTo>
                    <a:pt x="598493" y="385213"/>
                  </a:lnTo>
                  <a:lnTo>
                    <a:pt x="601447" y="389568"/>
                  </a:lnTo>
                  <a:lnTo>
                    <a:pt x="604882" y="394117"/>
                  </a:lnTo>
                  <a:lnTo>
                    <a:pt x="607073" y="394333"/>
                  </a:lnTo>
                  <a:lnTo>
                    <a:pt x="608784" y="394351"/>
                  </a:lnTo>
                  <a:lnTo>
                    <a:pt x="613938" y="393583"/>
                  </a:lnTo>
                  <a:lnTo>
                    <a:pt x="621948" y="390722"/>
                  </a:lnTo>
                  <a:lnTo>
                    <a:pt x="624705" y="389321"/>
                  </a:lnTo>
                  <a:lnTo>
                    <a:pt x="630082" y="387419"/>
                  </a:lnTo>
                  <a:lnTo>
                    <a:pt x="638309" y="387070"/>
                  </a:lnTo>
                  <a:lnTo>
                    <a:pt x="640859" y="387603"/>
                  </a:lnTo>
                  <a:lnTo>
                    <a:pt x="647010" y="386417"/>
                  </a:lnTo>
                  <a:lnTo>
                    <a:pt x="649943" y="384963"/>
                  </a:lnTo>
                  <a:lnTo>
                    <a:pt x="650960" y="383641"/>
                  </a:lnTo>
                  <a:lnTo>
                    <a:pt x="651438" y="382666"/>
                  </a:lnTo>
                  <a:lnTo>
                    <a:pt x="657139" y="381272"/>
                  </a:lnTo>
                  <a:lnTo>
                    <a:pt x="658261" y="380997"/>
                  </a:lnTo>
                  <a:lnTo>
                    <a:pt x="664039" y="380746"/>
                  </a:lnTo>
                  <a:lnTo>
                    <a:pt x="666826" y="380233"/>
                  </a:lnTo>
                  <a:lnTo>
                    <a:pt x="670109" y="379932"/>
                  </a:lnTo>
                  <a:lnTo>
                    <a:pt x="672477" y="381981"/>
                  </a:lnTo>
                  <a:lnTo>
                    <a:pt x="672475" y="382982"/>
                  </a:lnTo>
                  <a:lnTo>
                    <a:pt x="670898" y="383932"/>
                  </a:lnTo>
                  <a:lnTo>
                    <a:pt x="671636" y="384847"/>
                  </a:lnTo>
                  <a:lnTo>
                    <a:pt x="674439" y="386367"/>
                  </a:lnTo>
                  <a:lnTo>
                    <a:pt x="679594" y="386981"/>
                  </a:lnTo>
                  <a:lnTo>
                    <a:pt x="681260" y="386736"/>
                  </a:lnTo>
                  <a:lnTo>
                    <a:pt x="683631" y="384498"/>
                  </a:lnTo>
                  <a:lnTo>
                    <a:pt x="687822" y="382330"/>
                  </a:lnTo>
                  <a:lnTo>
                    <a:pt x="687732" y="379806"/>
                  </a:lnTo>
                  <a:lnTo>
                    <a:pt x="686983" y="378425"/>
                  </a:lnTo>
                  <a:lnTo>
                    <a:pt x="685766" y="378339"/>
                  </a:lnTo>
                  <a:lnTo>
                    <a:pt x="685475" y="377563"/>
                  </a:lnTo>
                  <a:lnTo>
                    <a:pt x="686326" y="375707"/>
                  </a:lnTo>
                  <a:lnTo>
                    <a:pt x="686102" y="375082"/>
                  </a:lnTo>
                  <a:lnTo>
                    <a:pt x="683503" y="376862"/>
                  </a:lnTo>
                  <a:lnTo>
                    <a:pt x="682903" y="376857"/>
                  </a:lnTo>
                  <a:lnTo>
                    <a:pt x="683191" y="376026"/>
                  </a:lnTo>
                  <a:lnTo>
                    <a:pt x="683728" y="375365"/>
                  </a:lnTo>
                  <a:lnTo>
                    <a:pt x="691353" y="371485"/>
                  </a:lnTo>
                  <a:lnTo>
                    <a:pt x="693306" y="369890"/>
                  </a:lnTo>
                  <a:lnTo>
                    <a:pt x="695940" y="368484"/>
                  </a:lnTo>
                  <a:lnTo>
                    <a:pt x="701411" y="363209"/>
                  </a:lnTo>
                  <a:lnTo>
                    <a:pt x="702581" y="353266"/>
                  </a:lnTo>
                  <a:lnTo>
                    <a:pt x="703673" y="351525"/>
                  </a:lnTo>
                  <a:lnTo>
                    <a:pt x="707299" y="348469"/>
                  </a:lnTo>
                  <a:lnTo>
                    <a:pt x="707689" y="347548"/>
                  </a:lnTo>
                  <a:lnTo>
                    <a:pt x="707925" y="345464"/>
                  </a:lnTo>
                  <a:lnTo>
                    <a:pt x="707824" y="340232"/>
                  </a:lnTo>
                  <a:lnTo>
                    <a:pt x="708028" y="336113"/>
                  </a:lnTo>
                  <a:lnTo>
                    <a:pt x="707881" y="331451"/>
                  </a:lnTo>
                  <a:lnTo>
                    <a:pt x="708533" y="327290"/>
                  </a:lnTo>
                  <a:lnTo>
                    <a:pt x="709123" y="326131"/>
                  </a:lnTo>
                  <a:lnTo>
                    <a:pt x="711203" y="319463"/>
                  </a:lnTo>
                  <a:lnTo>
                    <a:pt x="715519" y="316509"/>
                  </a:lnTo>
                  <a:lnTo>
                    <a:pt x="723005" y="313017"/>
                  </a:lnTo>
                  <a:lnTo>
                    <a:pt x="724726" y="312434"/>
                  </a:lnTo>
                  <a:lnTo>
                    <a:pt x="748589" y="308734"/>
                  </a:lnTo>
                  <a:lnTo>
                    <a:pt x="751936" y="307830"/>
                  </a:lnTo>
                  <a:lnTo>
                    <a:pt x="756039" y="305428"/>
                  </a:lnTo>
                  <a:lnTo>
                    <a:pt x="759036" y="304612"/>
                  </a:lnTo>
                  <a:lnTo>
                    <a:pt x="764505" y="304678"/>
                  </a:lnTo>
                  <a:lnTo>
                    <a:pt x="766185" y="304358"/>
                  </a:lnTo>
                  <a:lnTo>
                    <a:pt x="766515" y="304027"/>
                  </a:lnTo>
                  <a:lnTo>
                    <a:pt x="766523" y="303705"/>
                  </a:lnTo>
                  <a:lnTo>
                    <a:pt x="767531" y="303377"/>
                  </a:lnTo>
                  <a:lnTo>
                    <a:pt x="770696" y="303692"/>
                  </a:lnTo>
                  <a:lnTo>
                    <a:pt x="776608" y="305140"/>
                  </a:lnTo>
                  <a:lnTo>
                    <a:pt x="778760" y="305502"/>
                  </a:lnTo>
                  <a:lnTo>
                    <a:pt x="784043" y="307185"/>
                  </a:lnTo>
                  <a:lnTo>
                    <a:pt x="789865" y="307861"/>
                  </a:lnTo>
                  <a:lnTo>
                    <a:pt x="790701" y="307569"/>
                  </a:lnTo>
                  <a:lnTo>
                    <a:pt x="791469" y="307057"/>
                  </a:lnTo>
                  <a:lnTo>
                    <a:pt x="792060" y="306077"/>
                  </a:lnTo>
                  <a:lnTo>
                    <a:pt x="791452" y="305221"/>
                  </a:lnTo>
                  <a:lnTo>
                    <a:pt x="790886" y="305288"/>
                  </a:lnTo>
                  <a:lnTo>
                    <a:pt x="789900" y="305748"/>
                  </a:lnTo>
                  <a:lnTo>
                    <a:pt x="788727" y="305792"/>
                  </a:lnTo>
                  <a:lnTo>
                    <a:pt x="786421" y="305088"/>
                  </a:lnTo>
                  <a:lnTo>
                    <a:pt x="786882" y="304497"/>
                  </a:lnTo>
                  <a:lnTo>
                    <a:pt x="789234" y="304553"/>
                  </a:lnTo>
                  <a:lnTo>
                    <a:pt x="790737" y="304266"/>
                  </a:lnTo>
                  <a:lnTo>
                    <a:pt x="792969" y="303228"/>
                  </a:lnTo>
                  <a:lnTo>
                    <a:pt x="795345" y="304006"/>
                  </a:lnTo>
                  <a:lnTo>
                    <a:pt x="798464" y="307440"/>
                  </a:lnTo>
                  <a:lnTo>
                    <a:pt x="800687" y="308533"/>
                  </a:lnTo>
                  <a:lnTo>
                    <a:pt x="800864" y="313505"/>
                  </a:lnTo>
                  <a:lnTo>
                    <a:pt x="801199" y="314411"/>
                  </a:lnTo>
                  <a:lnTo>
                    <a:pt x="802013" y="315723"/>
                  </a:lnTo>
                  <a:lnTo>
                    <a:pt x="800903" y="319574"/>
                  </a:lnTo>
                  <a:lnTo>
                    <a:pt x="799657" y="322756"/>
                  </a:lnTo>
                  <a:lnTo>
                    <a:pt x="798097" y="325365"/>
                  </a:lnTo>
                  <a:lnTo>
                    <a:pt x="794715" y="329471"/>
                  </a:lnTo>
                  <a:lnTo>
                    <a:pt x="790616" y="332750"/>
                  </a:lnTo>
                  <a:lnTo>
                    <a:pt x="785542" y="340037"/>
                  </a:lnTo>
                  <a:lnTo>
                    <a:pt x="784380" y="343448"/>
                  </a:lnTo>
                  <a:lnTo>
                    <a:pt x="784414" y="346182"/>
                  </a:lnTo>
                  <a:lnTo>
                    <a:pt x="785273" y="348821"/>
                  </a:lnTo>
                  <a:lnTo>
                    <a:pt x="785024" y="349796"/>
                  </a:lnTo>
                  <a:lnTo>
                    <a:pt x="784405" y="350781"/>
                  </a:lnTo>
                  <a:lnTo>
                    <a:pt x="783373" y="350692"/>
                  </a:lnTo>
                  <a:lnTo>
                    <a:pt x="781372" y="351958"/>
                  </a:lnTo>
                  <a:lnTo>
                    <a:pt x="778789" y="355709"/>
                  </a:lnTo>
                  <a:lnTo>
                    <a:pt x="778728" y="356852"/>
                  </a:lnTo>
                  <a:lnTo>
                    <a:pt x="779863" y="357901"/>
                  </a:lnTo>
                  <a:lnTo>
                    <a:pt x="781334" y="357398"/>
                  </a:lnTo>
                  <a:lnTo>
                    <a:pt x="783252" y="357352"/>
                  </a:lnTo>
                  <a:lnTo>
                    <a:pt x="784324" y="357043"/>
                  </a:lnTo>
                  <a:lnTo>
                    <a:pt x="785456" y="357125"/>
                  </a:lnTo>
                  <a:lnTo>
                    <a:pt x="785203" y="359275"/>
                  </a:lnTo>
                  <a:lnTo>
                    <a:pt x="783987" y="360801"/>
                  </a:lnTo>
                  <a:lnTo>
                    <a:pt x="783221" y="361279"/>
                  </a:lnTo>
                  <a:lnTo>
                    <a:pt x="781849" y="361538"/>
                  </a:lnTo>
                  <a:lnTo>
                    <a:pt x="780314" y="362407"/>
                  </a:lnTo>
                  <a:lnTo>
                    <a:pt x="779524" y="363206"/>
                  </a:lnTo>
                  <a:lnTo>
                    <a:pt x="779598" y="365691"/>
                  </a:lnTo>
                  <a:lnTo>
                    <a:pt x="780452" y="365885"/>
                  </a:lnTo>
                  <a:lnTo>
                    <a:pt x="782261" y="364032"/>
                  </a:lnTo>
                  <a:lnTo>
                    <a:pt x="783308" y="364124"/>
                  </a:lnTo>
                  <a:lnTo>
                    <a:pt x="783521" y="364905"/>
                  </a:lnTo>
                  <a:lnTo>
                    <a:pt x="781176" y="371251"/>
                  </a:lnTo>
                  <a:lnTo>
                    <a:pt x="779667" y="377762"/>
                  </a:lnTo>
                  <a:lnTo>
                    <a:pt x="777626" y="381529"/>
                  </a:lnTo>
                  <a:lnTo>
                    <a:pt x="776909" y="387008"/>
                  </a:lnTo>
                  <a:lnTo>
                    <a:pt x="775837" y="389342"/>
                  </a:lnTo>
                  <a:lnTo>
                    <a:pt x="774592" y="391652"/>
                  </a:lnTo>
                  <a:lnTo>
                    <a:pt x="773862" y="391524"/>
                  </a:lnTo>
                  <a:lnTo>
                    <a:pt x="771892" y="387146"/>
                  </a:lnTo>
                  <a:lnTo>
                    <a:pt x="769880" y="386018"/>
                  </a:lnTo>
                  <a:lnTo>
                    <a:pt x="769438" y="384954"/>
                  </a:lnTo>
                  <a:lnTo>
                    <a:pt x="770587" y="379644"/>
                  </a:lnTo>
                  <a:lnTo>
                    <a:pt x="770064" y="376701"/>
                  </a:lnTo>
                  <a:lnTo>
                    <a:pt x="768999" y="376818"/>
                  </a:lnTo>
                  <a:lnTo>
                    <a:pt x="767656" y="378431"/>
                  </a:lnTo>
                  <a:lnTo>
                    <a:pt x="765880" y="379832"/>
                  </a:lnTo>
                  <a:lnTo>
                    <a:pt x="765918" y="381854"/>
                  </a:lnTo>
                  <a:lnTo>
                    <a:pt x="763878" y="385214"/>
                  </a:lnTo>
                  <a:lnTo>
                    <a:pt x="763373" y="386320"/>
                  </a:lnTo>
                  <a:lnTo>
                    <a:pt x="761426" y="386059"/>
                  </a:lnTo>
                  <a:lnTo>
                    <a:pt x="759173" y="386205"/>
                  </a:lnTo>
                  <a:lnTo>
                    <a:pt x="757609" y="387015"/>
                  </a:lnTo>
                  <a:lnTo>
                    <a:pt x="756007" y="391088"/>
                  </a:lnTo>
                  <a:lnTo>
                    <a:pt x="752014" y="396821"/>
                  </a:lnTo>
                  <a:lnTo>
                    <a:pt x="750423" y="399600"/>
                  </a:lnTo>
                  <a:lnTo>
                    <a:pt x="749130" y="400561"/>
                  </a:lnTo>
                  <a:lnTo>
                    <a:pt x="748105" y="400934"/>
                  </a:lnTo>
                  <a:lnTo>
                    <a:pt x="746968" y="400276"/>
                  </a:lnTo>
                  <a:lnTo>
                    <a:pt x="744234" y="398704"/>
                  </a:lnTo>
                  <a:lnTo>
                    <a:pt x="742127" y="399461"/>
                  </a:lnTo>
                  <a:lnTo>
                    <a:pt x="741396" y="401264"/>
                  </a:lnTo>
                  <a:lnTo>
                    <a:pt x="741419" y="403542"/>
                  </a:lnTo>
                  <a:lnTo>
                    <a:pt x="736093" y="403539"/>
                  </a:lnTo>
                  <a:lnTo>
                    <a:pt x="727034" y="403530"/>
                  </a:lnTo>
                  <a:lnTo>
                    <a:pt x="715501" y="403519"/>
                  </a:lnTo>
                  <a:lnTo>
                    <a:pt x="704385" y="403509"/>
                  </a:lnTo>
                  <a:lnTo>
                    <a:pt x="695076" y="403502"/>
                  </a:lnTo>
                  <a:lnTo>
                    <a:pt x="695042" y="408619"/>
                  </a:lnTo>
                  <a:lnTo>
                    <a:pt x="695014" y="413148"/>
                  </a:lnTo>
                  <a:lnTo>
                    <a:pt x="694978" y="418242"/>
                  </a:lnTo>
                  <a:lnTo>
                    <a:pt x="689843" y="418199"/>
                  </a:lnTo>
                  <a:lnTo>
                    <a:pt x="684414" y="418153"/>
                  </a:lnTo>
                  <a:lnTo>
                    <a:pt x="684853" y="418660"/>
                  </a:lnTo>
                  <a:lnTo>
                    <a:pt x="686707" y="419616"/>
                  </a:lnTo>
                  <a:lnTo>
                    <a:pt x="689116" y="421900"/>
                  </a:lnTo>
                  <a:lnTo>
                    <a:pt x="691965" y="425452"/>
                  </a:lnTo>
                  <a:lnTo>
                    <a:pt x="695413" y="428277"/>
                  </a:lnTo>
                  <a:lnTo>
                    <a:pt x="699465" y="430382"/>
                  </a:lnTo>
                  <a:lnTo>
                    <a:pt x="702136" y="432441"/>
                  </a:lnTo>
                  <a:lnTo>
                    <a:pt x="703423" y="434453"/>
                  </a:lnTo>
                  <a:lnTo>
                    <a:pt x="704072" y="436166"/>
                  </a:lnTo>
                  <a:lnTo>
                    <a:pt x="704079" y="437583"/>
                  </a:lnTo>
                  <a:lnTo>
                    <a:pt x="705557" y="438701"/>
                  </a:lnTo>
                  <a:lnTo>
                    <a:pt x="708211" y="439437"/>
                  </a:lnTo>
                  <a:lnTo>
                    <a:pt x="709583" y="440701"/>
                  </a:lnTo>
                  <a:lnTo>
                    <a:pt x="709583" y="441734"/>
                  </a:lnTo>
                  <a:lnTo>
                    <a:pt x="708742" y="444075"/>
                  </a:lnTo>
                  <a:lnTo>
                    <a:pt x="708497" y="446652"/>
                  </a:lnTo>
                  <a:lnTo>
                    <a:pt x="708818" y="448983"/>
                  </a:lnTo>
                  <a:lnTo>
                    <a:pt x="706921" y="449023"/>
                  </a:lnTo>
                  <a:lnTo>
                    <a:pt x="702325" y="449027"/>
                  </a:lnTo>
                  <a:lnTo>
                    <a:pt x="695318" y="449034"/>
                  </a:lnTo>
                  <a:lnTo>
                    <a:pt x="688872" y="449037"/>
                  </a:lnTo>
                  <a:lnTo>
                    <a:pt x="683797" y="449043"/>
                  </a:lnTo>
                  <a:lnTo>
                    <a:pt x="676124" y="449050"/>
                  </a:lnTo>
                  <a:lnTo>
                    <a:pt x="674023" y="452633"/>
                  </a:lnTo>
                  <a:lnTo>
                    <a:pt x="670529" y="458588"/>
                  </a:lnTo>
                  <a:lnTo>
                    <a:pt x="667362" y="463981"/>
                  </a:lnTo>
                  <a:lnTo>
                    <a:pt x="664698" y="468514"/>
                  </a:lnTo>
                  <a:lnTo>
                    <a:pt x="664265" y="469706"/>
                  </a:lnTo>
                  <a:lnTo>
                    <a:pt x="664262" y="470673"/>
                  </a:lnTo>
                  <a:lnTo>
                    <a:pt x="667548" y="474913"/>
                  </a:lnTo>
                  <a:lnTo>
                    <a:pt x="666941" y="476144"/>
                  </a:lnTo>
                  <a:lnTo>
                    <a:pt x="665786" y="476786"/>
                  </a:lnTo>
                  <a:lnTo>
                    <a:pt x="665424" y="477781"/>
                  </a:lnTo>
                  <a:lnTo>
                    <a:pt x="665497" y="479394"/>
                  </a:lnTo>
                  <a:lnTo>
                    <a:pt x="664719" y="481545"/>
                  </a:lnTo>
                  <a:lnTo>
                    <a:pt x="664970" y="483022"/>
                  </a:lnTo>
                  <a:lnTo>
                    <a:pt x="665389" y="484844"/>
                  </a:lnTo>
                  <a:lnTo>
                    <a:pt x="664701" y="486422"/>
                  </a:lnTo>
                  <a:lnTo>
                    <a:pt x="664144" y="487951"/>
                  </a:lnTo>
                  <a:lnTo>
                    <a:pt x="663481" y="488614"/>
                  </a:lnTo>
                  <a:lnTo>
                    <a:pt x="662736" y="488035"/>
                  </a:lnTo>
                  <a:lnTo>
                    <a:pt x="655981" y="480993"/>
                  </a:lnTo>
                  <a:lnTo>
                    <a:pt x="648933" y="473243"/>
                  </a:lnTo>
                  <a:lnTo>
                    <a:pt x="646157" y="470714"/>
                  </a:lnTo>
                  <a:lnTo>
                    <a:pt x="643469" y="468791"/>
                  </a:lnTo>
                  <a:lnTo>
                    <a:pt x="639855" y="465215"/>
                  </a:lnTo>
                  <a:lnTo>
                    <a:pt x="630365" y="457362"/>
                  </a:lnTo>
                  <a:lnTo>
                    <a:pt x="625466" y="453774"/>
                  </a:lnTo>
                  <a:lnTo>
                    <a:pt x="620860" y="449481"/>
                  </a:lnTo>
                  <a:lnTo>
                    <a:pt x="616730" y="447097"/>
                  </a:lnTo>
                  <a:lnTo>
                    <a:pt x="612648" y="445540"/>
                  </a:lnTo>
                  <a:lnTo>
                    <a:pt x="610839" y="444649"/>
                  </a:lnTo>
                  <a:lnTo>
                    <a:pt x="609244" y="443466"/>
                  </a:lnTo>
                  <a:lnTo>
                    <a:pt x="608360" y="443400"/>
                  </a:lnTo>
                  <a:lnTo>
                    <a:pt x="607919" y="444989"/>
                  </a:lnTo>
                  <a:lnTo>
                    <a:pt x="609346" y="445792"/>
                  </a:lnTo>
                  <a:lnTo>
                    <a:pt x="611052" y="446470"/>
                  </a:lnTo>
                  <a:lnTo>
                    <a:pt x="612404" y="446517"/>
                  </a:lnTo>
                  <a:lnTo>
                    <a:pt x="613827" y="447088"/>
                  </a:lnTo>
                  <a:lnTo>
                    <a:pt x="618013" y="449261"/>
                  </a:lnTo>
                  <a:lnTo>
                    <a:pt x="618700" y="450382"/>
                  </a:lnTo>
                  <a:lnTo>
                    <a:pt x="606794" y="446023"/>
                  </a:lnTo>
                  <a:lnTo>
                    <a:pt x="601958" y="445623"/>
                  </a:lnTo>
                  <a:lnTo>
                    <a:pt x="601431" y="444938"/>
                  </a:lnTo>
                  <a:lnTo>
                    <a:pt x="603844" y="442658"/>
                  </a:lnTo>
                  <a:lnTo>
                    <a:pt x="603090" y="441832"/>
                  </a:lnTo>
                  <a:lnTo>
                    <a:pt x="602230" y="441721"/>
                  </a:lnTo>
                  <a:lnTo>
                    <a:pt x="599642" y="443299"/>
                  </a:lnTo>
                  <a:lnTo>
                    <a:pt x="598679" y="443405"/>
                  </a:lnTo>
                  <a:lnTo>
                    <a:pt x="598511" y="442366"/>
                  </a:lnTo>
                  <a:lnTo>
                    <a:pt x="598625" y="441389"/>
                  </a:lnTo>
                  <a:lnTo>
                    <a:pt x="596958" y="439953"/>
                  </a:lnTo>
                  <a:lnTo>
                    <a:pt x="595899" y="440011"/>
                  </a:lnTo>
                  <a:lnTo>
                    <a:pt x="595030" y="441011"/>
                  </a:lnTo>
                  <a:lnTo>
                    <a:pt x="592778" y="442908"/>
                  </a:lnTo>
                  <a:lnTo>
                    <a:pt x="592846" y="443652"/>
                  </a:lnTo>
                  <a:lnTo>
                    <a:pt x="597279" y="444461"/>
                  </a:lnTo>
                  <a:lnTo>
                    <a:pt x="598806" y="444916"/>
                  </a:lnTo>
                  <a:lnTo>
                    <a:pt x="598461" y="445422"/>
                  </a:lnTo>
                  <a:lnTo>
                    <a:pt x="594660" y="445411"/>
                  </a:lnTo>
                  <a:lnTo>
                    <a:pt x="589967" y="446273"/>
                  </a:lnTo>
                  <a:lnTo>
                    <a:pt x="581600" y="451533"/>
                  </a:lnTo>
                  <a:lnTo>
                    <a:pt x="573806" y="453792"/>
                  </a:lnTo>
                  <a:lnTo>
                    <a:pt x="562603" y="458852"/>
                  </a:lnTo>
                  <a:lnTo>
                    <a:pt x="557656" y="459111"/>
                  </a:lnTo>
                  <a:lnTo>
                    <a:pt x="555066" y="459921"/>
                  </a:lnTo>
                  <a:lnTo>
                    <a:pt x="547532" y="457985"/>
                  </a:lnTo>
                  <a:lnTo>
                    <a:pt x="537980" y="453233"/>
                  </a:lnTo>
                  <a:lnTo>
                    <a:pt x="523523" y="451737"/>
                  </a:lnTo>
                  <a:lnTo>
                    <a:pt x="513782" y="445509"/>
                  </a:lnTo>
                  <a:lnTo>
                    <a:pt x="504113" y="442945"/>
                  </a:lnTo>
                  <a:lnTo>
                    <a:pt x="497979" y="436958"/>
                  </a:lnTo>
                  <a:lnTo>
                    <a:pt x="494283" y="436702"/>
                  </a:lnTo>
                  <a:lnTo>
                    <a:pt x="491907" y="435741"/>
                  </a:lnTo>
                  <a:lnTo>
                    <a:pt x="483124" y="433571"/>
                  </a:lnTo>
                  <a:lnTo>
                    <a:pt x="474437" y="432141"/>
                  </a:lnTo>
                  <a:lnTo>
                    <a:pt x="465972" y="426903"/>
                  </a:lnTo>
                  <a:lnTo>
                    <a:pt x="460431" y="425243"/>
                  </a:lnTo>
                  <a:lnTo>
                    <a:pt x="455642" y="423158"/>
                  </a:lnTo>
                  <a:lnTo>
                    <a:pt x="445096" y="419598"/>
                  </a:lnTo>
                  <a:lnTo>
                    <a:pt x="441187" y="417623"/>
                  </a:lnTo>
                  <a:lnTo>
                    <a:pt x="437488" y="414568"/>
                  </a:lnTo>
                  <a:lnTo>
                    <a:pt x="431462" y="411403"/>
                  </a:lnTo>
                  <a:lnTo>
                    <a:pt x="428887" y="408760"/>
                  </a:lnTo>
                  <a:lnTo>
                    <a:pt x="426015" y="407813"/>
                  </a:lnTo>
                  <a:lnTo>
                    <a:pt x="421904" y="402832"/>
                  </a:lnTo>
                  <a:lnTo>
                    <a:pt x="419758" y="400732"/>
                  </a:lnTo>
                  <a:lnTo>
                    <a:pt x="417941" y="399750"/>
                  </a:lnTo>
                  <a:lnTo>
                    <a:pt x="415994" y="399412"/>
                  </a:lnTo>
                  <a:lnTo>
                    <a:pt x="410388" y="399812"/>
                  </a:lnTo>
                  <a:lnTo>
                    <a:pt x="402011" y="397613"/>
                  </a:lnTo>
                  <a:lnTo>
                    <a:pt x="398142" y="397052"/>
                  </a:lnTo>
                  <a:lnTo>
                    <a:pt x="390054" y="393803"/>
                  </a:lnTo>
                  <a:lnTo>
                    <a:pt x="379327" y="390174"/>
                  </a:lnTo>
                  <a:lnTo>
                    <a:pt x="375810" y="386006"/>
                  </a:lnTo>
                  <a:lnTo>
                    <a:pt x="372802" y="382108"/>
                  </a:lnTo>
                  <a:lnTo>
                    <a:pt x="367387" y="376976"/>
                  </a:lnTo>
                  <a:lnTo>
                    <a:pt x="364010" y="374787"/>
                  </a:lnTo>
                  <a:lnTo>
                    <a:pt x="358143" y="372182"/>
                  </a:lnTo>
                  <a:lnTo>
                    <a:pt x="354893" y="370073"/>
                  </a:lnTo>
                  <a:lnTo>
                    <a:pt x="349878" y="368453"/>
                  </a:lnTo>
                  <a:lnTo>
                    <a:pt x="341371" y="364337"/>
                  </a:lnTo>
                  <a:lnTo>
                    <a:pt x="338665" y="360813"/>
                  </a:lnTo>
                  <a:lnTo>
                    <a:pt x="337081" y="357682"/>
                  </a:lnTo>
                  <a:lnTo>
                    <a:pt x="332550" y="353881"/>
                  </a:lnTo>
                  <a:lnTo>
                    <a:pt x="327588" y="346775"/>
                  </a:lnTo>
                  <a:lnTo>
                    <a:pt x="326310" y="344155"/>
                  </a:lnTo>
                  <a:lnTo>
                    <a:pt x="325347" y="340131"/>
                  </a:lnTo>
                  <a:lnTo>
                    <a:pt x="324193" y="337795"/>
                  </a:lnTo>
                  <a:lnTo>
                    <a:pt x="322837" y="335965"/>
                  </a:lnTo>
                  <a:lnTo>
                    <a:pt x="323528" y="334634"/>
                  </a:lnTo>
                  <a:lnTo>
                    <a:pt x="326053" y="332996"/>
                  </a:lnTo>
                  <a:lnTo>
                    <a:pt x="330250" y="332628"/>
                  </a:lnTo>
                  <a:lnTo>
                    <a:pt x="333215" y="330852"/>
                  </a:lnTo>
                  <a:lnTo>
                    <a:pt x="333607" y="329394"/>
                  </a:lnTo>
                  <a:lnTo>
                    <a:pt x="333414" y="328486"/>
                  </a:lnTo>
                  <a:lnTo>
                    <a:pt x="331519" y="326251"/>
                  </a:lnTo>
                  <a:lnTo>
                    <a:pt x="329159" y="325658"/>
                  </a:lnTo>
                  <a:lnTo>
                    <a:pt x="327326" y="325626"/>
                  </a:lnTo>
                  <a:lnTo>
                    <a:pt x="326858" y="324775"/>
                  </a:lnTo>
                  <a:lnTo>
                    <a:pt x="328240" y="323848"/>
                  </a:lnTo>
                  <a:lnTo>
                    <a:pt x="329820" y="321669"/>
                  </a:lnTo>
                  <a:lnTo>
                    <a:pt x="332154" y="319008"/>
                  </a:lnTo>
                  <a:lnTo>
                    <a:pt x="333800" y="316554"/>
                  </a:lnTo>
                  <a:lnTo>
                    <a:pt x="334106" y="313095"/>
                  </a:lnTo>
                  <a:lnTo>
                    <a:pt x="333897" y="309628"/>
                  </a:lnTo>
                  <a:lnTo>
                    <a:pt x="334520" y="306698"/>
                  </a:lnTo>
                  <a:lnTo>
                    <a:pt x="328871" y="303314"/>
                  </a:lnTo>
                  <a:lnTo>
                    <a:pt x="328213" y="301875"/>
                  </a:lnTo>
                  <a:lnTo>
                    <a:pt x="326436" y="297996"/>
                  </a:lnTo>
                  <a:lnTo>
                    <a:pt x="323352" y="293485"/>
                  </a:lnTo>
                  <a:lnTo>
                    <a:pt x="323443" y="284466"/>
                  </a:lnTo>
                  <a:lnTo>
                    <a:pt x="319734" y="276452"/>
                  </a:lnTo>
                  <a:lnTo>
                    <a:pt x="315891" y="272462"/>
                  </a:lnTo>
                  <a:lnTo>
                    <a:pt x="313904" y="271073"/>
                  </a:lnTo>
                  <a:lnTo>
                    <a:pt x="308506" y="264879"/>
                  </a:lnTo>
                  <a:lnTo>
                    <a:pt x="304255" y="261277"/>
                  </a:lnTo>
                  <a:lnTo>
                    <a:pt x="300091" y="254484"/>
                  </a:lnTo>
                  <a:lnTo>
                    <a:pt x="295976" y="250164"/>
                  </a:lnTo>
                  <a:lnTo>
                    <a:pt x="290733" y="242909"/>
                  </a:lnTo>
                  <a:lnTo>
                    <a:pt x="286947" y="239288"/>
                  </a:lnTo>
                  <a:lnTo>
                    <a:pt x="269702" y="227035"/>
                  </a:lnTo>
                  <a:lnTo>
                    <a:pt x="270674" y="227035"/>
                  </a:lnTo>
                  <a:lnTo>
                    <a:pt x="275730" y="230045"/>
                  </a:lnTo>
                  <a:lnTo>
                    <a:pt x="276581" y="229794"/>
                  </a:lnTo>
                  <a:lnTo>
                    <a:pt x="276701" y="228326"/>
                  </a:lnTo>
                  <a:lnTo>
                    <a:pt x="276118" y="226571"/>
                  </a:lnTo>
                  <a:lnTo>
                    <a:pt x="275180" y="226150"/>
                  </a:lnTo>
                  <a:lnTo>
                    <a:pt x="273834" y="226545"/>
                  </a:lnTo>
                  <a:lnTo>
                    <a:pt x="272017" y="226184"/>
                  </a:lnTo>
                  <a:lnTo>
                    <a:pt x="271107" y="225606"/>
                  </a:lnTo>
                  <a:lnTo>
                    <a:pt x="268389" y="225230"/>
                  </a:lnTo>
                  <a:lnTo>
                    <a:pt x="264980" y="223186"/>
                  </a:lnTo>
                  <a:lnTo>
                    <a:pt x="263519" y="221067"/>
                  </a:lnTo>
                  <a:lnTo>
                    <a:pt x="263359" y="218646"/>
                  </a:lnTo>
                  <a:lnTo>
                    <a:pt x="258476" y="213485"/>
                  </a:lnTo>
                  <a:lnTo>
                    <a:pt x="256623" y="210603"/>
                  </a:lnTo>
                  <a:lnTo>
                    <a:pt x="257572" y="210817"/>
                  </a:lnTo>
                  <a:lnTo>
                    <a:pt x="258873" y="211977"/>
                  </a:lnTo>
                  <a:lnTo>
                    <a:pt x="260189" y="212307"/>
                  </a:lnTo>
                  <a:lnTo>
                    <a:pt x="261722" y="212318"/>
                  </a:lnTo>
                  <a:lnTo>
                    <a:pt x="262837" y="211851"/>
                  </a:lnTo>
                  <a:lnTo>
                    <a:pt x="262437" y="210995"/>
                  </a:lnTo>
                  <a:lnTo>
                    <a:pt x="261389" y="210281"/>
                  </a:lnTo>
                  <a:lnTo>
                    <a:pt x="254266" y="207558"/>
                  </a:lnTo>
                  <a:lnTo>
                    <a:pt x="251919" y="205645"/>
                  </a:lnTo>
                  <a:lnTo>
                    <a:pt x="246083" y="202463"/>
                  </a:lnTo>
                  <a:lnTo>
                    <a:pt x="244699" y="201346"/>
                  </a:lnTo>
                  <a:lnTo>
                    <a:pt x="243780" y="198266"/>
                  </a:lnTo>
                  <a:lnTo>
                    <a:pt x="242351" y="198123"/>
                  </a:lnTo>
                  <a:lnTo>
                    <a:pt x="241094" y="198982"/>
                  </a:lnTo>
                  <a:lnTo>
                    <a:pt x="237655" y="199824"/>
                  </a:lnTo>
                  <a:lnTo>
                    <a:pt x="236776" y="198844"/>
                  </a:lnTo>
                  <a:lnTo>
                    <a:pt x="236649" y="197900"/>
                  </a:lnTo>
                  <a:lnTo>
                    <a:pt x="239076" y="196901"/>
                  </a:lnTo>
                  <a:lnTo>
                    <a:pt x="241305" y="193990"/>
                  </a:lnTo>
                  <a:lnTo>
                    <a:pt x="241262" y="192976"/>
                  </a:lnTo>
                  <a:lnTo>
                    <a:pt x="240030" y="194146"/>
                  </a:lnTo>
                  <a:lnTo>
                    <a:pt x="238173" y="195453"/>
                  </a:lnTo>
                  <a:lnTo>
                    <a:pt x="236254" y="196182"/>
                  </a:lnTo>
                  <a:lnTo>
                    <a:pt x="233403" y="196791"/>
                  </a:lnTo>
                  <a:lnTo>
                    <a:pt x="231947" y="196352"/>
                  </a:lnTo>
                  <a:lnTo>
                    <a:pt x="230669" y="195692"/>
                  </a:lnTo>
                  <a:lnTo>
                    <a:pt x="228625" y="193147"/>
                  </a:lnTo>
                  <a:lnTo>
                    <a:pt x="227593" y="184867"/>
                  </a:lnTo>
                  <a:lnTo>
                    <a:pt x="229406" y="181994"/>
                  </a:lnTo>
                  <a:lnTo>
                    <a:pt x="231522" y="179152"/>
                  </a:lnTo>
                  <a:lnTo>
                    <a:pt x="233322" y="177465"/>
                  </a:lnTo>
                  <a:lnTo>
                    <a:pt x="234359" y="178739"/>
                  </a:lnTo>
                  <a:lnTo>
                    <a:pt x="235427" y="178892"/>
                  </a:lnTo>
                  <a:lnTo>
                    <a:pt x="234675" y="177453"/>
                  </a:lnTo>
                  <a:lnTo>
                    <a:pt x="232908" y="176105"/>
                  </a:lnTo>
                  <a:lnTo>
                    <a:pt x="232284" y="174763"/>
                  </a:lnTo>
                  <a:lnTo>
                    <a:pt x="232217" y="173532"/>
                  </a:lnTo>
                  <a:lnTo>
                    <a:pt x="231380" y="171249"/>
                  </a:lnTo>
                  <a:lnTo>
                    <a:pt x="226142" y="166447"/>
                  </a:lnTo>
                  <a:lnTo>
                    <a:pt x="221243" y="166815"/>
                  </a:lnTo>
                  <a:lnTo>
                    <a:pt x="219247" y="166648"/>
                  </a:lnTo>
                  <a:lnTo>
                    <a:pt x="217381" y="164819"/>
                  </a:lnTo>
                  <a:lnTo>
                    <a:pt x="215795" y="161733"/>
                  </a:lnTo>
                  <a:lnTo>
                    <a:pt x="215014" y="159149"/>
                  </a:lnTo>
                  <a:lnTo>
                    <a:pt x="214915" y="157772"/>
                  </a:lnTo>
                  <a:lnTo>
                    <a:pt x="214449" y="156390"/>
                  </a:lnTo>
                  <a:lnTo>
                    <a:pt x="206002" y="154128"/>
                  </a:lnTo>
                  <a:lnTo>
                    <a:pt x="203462" y="152187"/>
                  </a:lnTo>
                  <a:lnTo>
                    <a:pt x="200914" y="149747"/>
                  </a:lnTo>
                  <a:lnTo>
                    <a:pt x="199859" y="147753"/>
                  </a:lnTo>
                  <a:lnTo>
                    <a:pt x="198813" y="146262"/>
                  </a:lnTo>
                  <a:lnTo>
                    <a:pt x="198002" y="143686"/>
                  </a:lnTo>
                  <a:lnTo>
                    <a:pt x="197422" y="140689"/>
                  </a:lnTo>
                  <a:lnTo>
                    <a:pt x="198366" y="136807"/>
                  </a:lnTo>
                  <a:lnTo>
                    <a:pt x="199593" y="134929"/>
                  </a:lnTo>
                  <a:lnTo>
                    <a:pt x="193783" y="133531"/>
                  </a:lnTo>
                  <a:lnTo>
                    <a:pt x="191511" y="133466"/>
                  </a:lnTo>
                  <a:lnTo>
                    <a:pt x="189681" y="134252"/>
                  </a:lnTo>
                  <a:lnTo>
                    <a:pt x="188025" y="133235"/>
                  </a:lnTo>
                  <a:lnTo>
                    <a:pt x="184595" y="132111"/>
                  </a:lnTo>
                  <a:lnTo>
                    <a:pt x="180512" y="128044"/>
                  </a:lnTo>
                  <a:lnTo>
                    <a:pt x="175713" y="120664"/>
                  </a:lnTo>
                  <a:lnTo>
                    <a:pt x="170429" y="118283"/>
                  </a:lnTo>
                  <a:lnTo>
                    <a:pt x="168726" y="115713"/>
                  </a:lnTo>
                  <a:lnTo>
                    <a:pt x="166565" y="113397"/>
                  </a:lnTo>
                  <a:lnTo>
                    <a:pt x="164673" y="110523"/>
                  </a:lnTo>
                  <a:lnTo>
                    <a:pt x="164380" y="109272"/>
                  </a:lnTo>
                  <a:lnTo>
                    <a:pt x="163817" y="108575"/>
                  </a:lnTo>
                  <a:lnTo>
                    <a:pt x="161178" y="106571"/>
                  </a:lnTo>
                  <a:lnTo>
                    <a:pt x="158215" y="103179"/>
                  </a:lnTo>
                  <a:lnTo>
                    <a:pt x="157447" y="100445"/>
                  </a:lnTo>
                  <a:lnTo>
                    <a:pt x="156650" y="96259"/>
                  </a:lnTo>
                  <a:lnTo>
                    <a:pt x="154674" y="94783"/>
                  </a:lnTo>
                  <a:lnTo>
                    <a:pt x="152726" y="94098"/>
                  </a:lnTo>
                  <a:lnTo>
                    <a:pt x="152346" y="92107"/>
                  </a:lnTo>
                  <a:lnTo>
                    <a:pt x="152461" y="90989"/>
                  </a:lnTo>
                  <a:lnTo>
                    <a:pt x="151805" y="88878"/>
                  </a:lnTo>
                  <a:lnTo>
                    <a:pt x="147790" y="83807"/>
                  </a:lnTo>
                  <a:lnTo>
                    <a:pt x="145756" y="79634"/>
                  </a:lnTo>
                  <a:lnTo>
                    <a:pt x="144639" y="78336"/>
                  </a:lnTo>
                  <a:lnTo>
                    <a:pt x="143593" y="76432"/>
                  </a:lnTo>
                  <a:lnTo>
                    <a:pt x="143065" y="72539"/>
                  </a:lnTo>
                  <a:lnTo>
                    <a:pt x="141402" y="67690"/>
                  </a:lnTo>
                  <a:lnTo>
                    <a:pt x="138183" y="61851"/>
                  </a:lnTo>
                  <a:lnTo>
                    <a:pt x="135497" y="57922"/>
                  </a:lnTo>
                  <a:lnTo>
                    <a:pt x="134159" y="53954"/>
                  </a:lnTo>
                  <a:lnTo>
                    <a:pt x="134753" y="49915"/>
                  </a:lnTo>
                  <a:lnTo>
                    <a:pt x="134298" y="47426"/>
                  </a:lnTo>
                  <a:lnTo>
                    <a:pt x="133953" y="46841"/>
                  </a:lnTo>
                  <a:lnTo>
                    <a:pt x="134223" y="46026"/>
                  </a:lnTo>
                  <a:lnTo>
                    <a:pt x="135114" y="46485"/>
                  </a:lnTo>
                  <a:lnTo>
                    <a:pt x="135871" y="45754"/>
                  </a:lnTo>
                  <a:lnTo>
                    <a:pt x="135775" y="43175"/>
                  </a:lnTo>
                  <a:lnTo>
                    <a:pt x="134839" y="42394"/>
                  </a:lnTo>
                  <a:lnTo>
                    <a:pt x="132239" y="41587"/>
                  </a:lnTo>
                  <a:lnTo>
                    <a:pt x="131092" y="41030"/>
                  </a:lnTo>
                  <a:lnTo>
                    <a:pt x="124769" y="39977"/>
                  </a:lnTo>
                  <a:lnTo>
                    <a:pt x="121151" y="38513"/>
                  </a:lnTo>
                  <a:lnTo>
                    <a:pt x="120909" y="35104"/>
                  </a:lnTo>
                  <a:lnTo>
                    <a:pt x="119212" y="33543"/>
                  </a:lnTo>
                  <a:lnTo>
                    <a:pt x="117704" y="32577"/>
                  </a:lnTo>
                  <a:lnTo>
                    <a:pt x="112929" y="30571"/>
                  </a:lnTo>
                  <a:lnTo>
                    <a:pt x="112174" y="31598"/>
                  </a:lnTo>
                  <a:lnTo>
                    <a:pt x="111535" y="33491"/>
                  </a:lnTo>
                  <a:lnTo>
                    <a:pt x="109552" y="33906"/>
                  </a:lnTo>
                  <a:lnTo>
                    <a:pt x="107818" y="33990"/>
                  </a:lnTo>
                  <a:lnTo>
                    <a:pt x="104909" y="32670"/>
                  </a:lnTo>
                  <a:lnTo>
                    <a:pt x="97691" y="27646"/>
                  </a:lnTo>
                  <a:lnTo>
                    <a:pt x="96167" y="26840"/>
                  </a:lnTo>
                  <a:lnTo>
                    <a:pt x="93915" y="26415"/>
                  </a:lnTo>
                  <a:lnTo>
                    <a:pt x="92807" y="25599"/>
                  </a:lnTo>
                  <a:lnTo>
                    <a:pt x="87931" y="22952"/>
                  </a:lnTo>
                  <a:lnTo>
                    <a:pt x="88908" y="24359"/>
                  </a:lnTo>
                  <a:lnTo>
                    <a:pt x="90317" y="25822"/>
                  </a:lnTo>
                  <a:lnTo>
                    <a:pt x="91575" y="30072"/>
                  </a:lnTo>
                  <a:lnTo>
                    <a:pt x="90098" y="33133"/>
                  </a:lnTo>
                  <a:lnTo>
                    <a:pt x="89242" y="43815"/>
                  </a:lnTo>
                  <a:lnTo>
                    <a:pt x="90186" y="45938"/>
                  </a:lnTo>
                  <a:lnTo>
                    <a:pt x="92306" y="49338"/>
                  </a:lnTo>
                  <a:lnTo>
                    <a:pt x="93768" y="54740"/>
                  </a:lnTo>
                  <a:lnTo>
                    <a:pt x="94223" y="58753"/>
                  </a:lnTo>
                  <a:lnTo>
                    <a:pt x="95546" y="61938"/>
                  </a:lnTo>
                  <a:lnTo>
                    <a:pt x="95128" y="69415"/>
                  </a:lnTo>
                  <a:lnTo>
                    <a:pt x="95630" y="71688"/>
                  </a:lnTo>
                  <a:lnTo>
                    <a:pt x="97645" y="75411"/>
                  </a:lnTo>
                  <a:lnTo>
                    <a:pt x="101374" y="78901"/>
                  </a:lnTo>
                  <a:lnTo>
                    <a:pt x="102155" y="80740"/>
                  </a:lnTo>
                  <a:lnTo>
                    <a:pt x="107060" y="83398"/>
                  </a:lnTo>
                  <a:lnTo>
                    <a:pt x="110033" y="86854"/>
                  </a:lnTo>
                  <a:lnTo>
                    <a:pt x="115940" y="91561"/>
                  </a:lnTo>
                  <a:lnTo>
                    <a:pt x="117803" y="93551"/>
                  </a:lnTo>
                  <a:lnTo>
                    <a:pt x="123133" y="100878"/>
                  </a:lnTo>
                  <a:lnTo>
                    <a:pt x="123307" y="103055"/>
                  </a:lnTo>
                  <a:lnTo>
                    <a:pt x="124289" y="105721"/>
                  </a:lnTo>
                  <a:lnTo>
                    <a:pt x="127278" y="105170"/>
                  </a:lnTo>
                  <a:lnTo>
                    <a:pt x="128620" y="107201"/>
                  </a:lnTo>
                  <a:lnTo>
                    <a:pt x="128466" y="108138"/>
                  </a:lnTo>
                  <a:lnTo>
                    <a:pt x="128828" y="108853"/>
                  </a:lnTo>
                  <a:lnTo>
                    <a:pt x="130396" y="108694"/>
                  </a:lnTo>
                  <a:lnTo>
                    <a:pt x="131748" y="109248"/>
                  </a:lnTo>
                  <a:lnTo>
                    <a:pt x="134586" y="117150"/>
                  </a:lnTo>
                  <a:lnTo>
                    <a:pt x="136109" y="118227"/>
                  </a:lnTo>
                  <a:lnTo>
                    <a:pt x="138059" y="118687"/>
                  </a:lnTo>
                  <a:lnTo>
                    <a:pt x="140234" y="119557"/>
                  </a:lnTo>
                  <a:lnTo>
                    <a:pt x="140377" y="121580"/>
                  </a:lnTo>
                  <a:lnTo>
                    <a:pt x="140295" y="123191"/>
                  </a:lnTo>
                  <a:lnTo>
                    <a:pt x="142140" y="125522"/>
                  </a:lnTo>
                  <a:lnTo>
                    <a:pt x="141827" y="128677"/>
                  </a:lnTo>
                  <a:lnTo>
                    <a:pt x="143317" y="131347"/>
                  </a:lnTo>
                  <a:lnTo>
                    <a:pt x="143091" y="133930"/>
                  </a:lnTo>
                  <a:lnTo>
                    <a:pt x="143704" y="135976"/>
                  </a:lnTo>
                  <a:lnTo>
                    <a:pt x="148304" y="140591"/>
                  </a:lnTo>
                  <a:lnTo>
                    <a:pt x="153969" y="144259"/>
                  </a:lnTo>
                  <a:lnTo>
                    <a:pt x="155150" y="149069"/>
                  </a:lnTo>
                  <a:lnTo>
                    <a:pt x="157462" y="153461"/>
                  </a:lnTo>
                  <a:lnTo>
                    <a:pt x="159827" y="154572"/>
                  </a:lnTo>
                  <a:lnTo>
                    <a:pt x="162216" y="156397"/>
                  </a:lnTo>
                  <a:lnTo>
                    <a:pt x="161921" y="158289"/>
                  </a:lnTo>
                  <a:lnTo>
                    <a:pt x="162086" y="159452"/>
                  </a:lnTo>
                  <a:lnTo>
                    <a:pt x="165279" y="162910"/>
                  </a:lnTo>
                  <a:lnTo>
                    <a:pt x="165799" y="167313"/>
                  </a:lnTo>
                  <a:lnTo>
                    <a:pt x="168554" y="170193"/>
                  </a:lnTo>
                  <a:lnTo>
                    <a:pt x="169330" y="170419"/>
                  </a:lnTo>
                  <a:lnTo>
                    <a:pt x="169938" y="169969"/>
                  </a:lnTo>
                  <a:lnTo>
                    <a:pt x="167932" y="167076"/>
                  </a:lnTo>
                  <a:lnTo>
                    <a:pt x="166961" y="165197"/>
                  </a:lnTo>
                  <a:lnTo>
                    <a:pt x="166835" y="162231"/>
                  </a:lnTo>
                  <a:lnTo>
                    <a:pt x="167508" y="161834"/>
                  </a:lnTo>
                  <a:lnTo>
                    <a:pt x="173228" y="166521"/>
                  </a:lnTo>
                  <a:lnTo>
                    <a:pt x="173831" y="170016"/>
                  </a:lnTo>
                  <a:lnTo>
                    <a:pt x="175751" y="171991"/>
                  </a:lnTo>
                  <a:lnTo>
                    <a:pt x="175895" y="174660"/>
                  </a:lnTo>
                  <a:lnTo>
                    <a:pt x="177061" y="176250"/>
                  </a:lnTo>
                  <a:lnTo>
                    <a:pt x="177413" y="178557"/>
                  </a:lnTo>
                  <a:lnTo>
                    <a:pt x="179252" y="182348"/>
                  </a:lnTo>
                  <a:lnTo>
                    <a:pt x="179296" y="187613"/>
                  </a:lnTo>
                  <a:lnTo>
                    <a:pt x="180279" y="191450"/>
                  </a:lnTo>
                  <a:lnTo>
                    <a:pt x="183881" y="197331"/>
                  </a:lnTo>
                  <a:lnTo>
                    <a:pt x="186800" y="198566"/>
                  </a:lnTo>
                  <a:lnTo>
                    <a:pt x="187327" y="201451"/>
                  </a:lnTo>
                  <a:lnTo>
                    <a:pt x="190362" y="208911"/>
                  </a:lnTo>
                  <a:lnTo>
                    <a:pt x="193869" y="212951"/>
                  </a:lnTo>
                  <a:lnTo>
                    <a:pt x="195615" y="216374"/>
                  </a:lnTo>
                  <a:lnTo>
                    <a:pt x="195857" y="218508"/>
                  </a:lnTo>
                  <a:lnTo>
                    <a:pt x="194544" y="221661"/>
                  </a:lnTo>
                  <a:lnTo>
                    <a:pt x="194404" y="223860"/>
                  </a:lnTo>
                  <a:lnTo>
                    <a:pt x="196311" y="230545"/>
                  </a:lnTo>
                  <a:lnTo>
                    <a:pt x="199160" y="233968"/>
                  </a:lnTo>
                  <a:lnTo>
                    <a:pt x="202342" y="234794"/>
                  </a:lnTo>
                  <a:lnTo>
                    <a:pt x="202896" y="235285"/>
                  </a:lnTo>
                  <a:lnTo>
                    <a:pt x="202642" y="236204"/>
                  </a:lnTo>
                  <a:lnTo>
                    <a:pt x="203712" y="237023"/>
                  </a:lnTo>
                  <a:lnTo>
                    <a:pt x="204915" y="235976"/>
                  </a:lnTo>
                  <a:lnTo>
                    <a:pt x="205502" y="234486"/>
                  </a:lnTo>
                  <a:lnTo>
                    <a:pt x="204892" y="232758"/>
                  </a:lnTo>
                  <a:lnTo>
                    <a:pt x="204786" y="231500"/>
                  </a:lnTo>
                  <a:lnTo>
                    <a:pt x="205327" y="230599"/>
                  </a:lnTo>
                  <a:lnTo>
                    <a:pt x="206363" y="230462"/>
                  </a:lnTo>
                  <a:lnTo>
                    <a:pt x="212451" y="235031"/>
                  </a:lnTo>
                  <a:lnTo>
                    <a:pt x="213472" y="236783"/>
                  </a:lnTo>
                  <a:lnTo>
                    <a:pt x="215738" y="238834"/>
                  </a:lnTo>
                  <a:lnTo>
                    <a:pt x="217813" y="241358"/>
                  </a:lnTo>
                  <a:lnTo>
                    <a:pt x="218709" y="243348"/>
                  </a:lnTo>
                  <a:lnTo>
                    <a:pt x="220368" y="244986"/>
                  </a:lnTo>
                  <a:lnTo>
                    <a:pt x="221231" y="248800"/>
                  </a:lnTo>
                  <a:lnTo>
                    <a:pt x="225463" y="250507"/>
                  </a:lnTo>
                  <a:lnTo>
                    <a:pt x="227714" y="253661"/>
                  </a:lnTo>
                  <a:lnTo>
                    <a:pt x="227862" y="255659"/>
                  </a:lnTo>
                  <a:lnTo>
                    <a:pt x="226770" y="260765"/>
                  </a:lnTo>
                  <a:lnTo>
                    <a:pt x="225816" y="262234"/>
                  </a:lnTo>
                  <a:lnTo>
                    <a:pt x="222399" y="264404"/>
                  </a:lnTo>
                  <a:lnTo>
                    <a:pt x="219915" y="266992"/>
                  </a:lnTo>
                  <a:lnTo>
                    <a:pt x="217516" y="268586"/>
                  </a:lnTo>
                  <a:lnTo>
                    <a:pt x="214971" y="269555"/>
                  </a:lnTo>
                  <a:lnTo>
                    <a:pt x="212871" y="269337"/>
                  </a:lnTo>
                  <a:lnTo>
                    <a:pt x="210847" y="266360"/>
                  </a:lnTo>
                  <a:lnTo>
                    <a:pt x="208449" y="257373"/>
                  </a:lnTo>
                  <a:lnTo>
                    <a:pt x="206839" y="255480"/>
                  </a:lnTo>
                  <a:lnTo>
                    <a:pt x="205706" y="252656"/>
                  </a:lnTo>
                  <a:lnTo>
                    <a:pt x="203833" y="250319"/>
                  </a:lnTo>
                  <a:lnTo>
                    <a:pt x="197056" y="246770"/>
                  </a:lnTo>
                  <a:lnTo>
                    <a:pt x="193635" y="243022"/>
                  </a:lnTo>
                  <a:lnTo>
                    <a:pt x="190321" y="240519"/>
                  </a:lnTo>
                  <a:lnTo>
                    <a:pt x="186756" y="236894"/>
                  </a:lnTo>
                  <a:lnTo>
                    <a:pt x="177040" y="230880"/>
                  </a:lnTo>
                  <a:lnTo>
                    <a:pt x="173011" y="227813"/>
                  </a:lnTo>
                  <a:lnTo>
                    <a:pt x="170356" y="224777"/>
                  </a:lnTo>
                  <a:lnTo>
                    <a:pt x="168646" y="224821"/>
                  </a:lnTo>
                  <a:lnTo>
                    <a:pt x="167325" y="225134"/>
                  </a:lnTo>
                  <a:lnTo>
                    <a:pt x="166823" y="224303"/>
                  </a:lnTo>
                  <a:lnTo>
                    <a:pt x="166749" y="222731"/>
                  </a:lnTo>
                  <a:lnTo>
                    <a:pt x="166164" y="221700"/>
                  </a:lnTo>
                  <a:lnTo>
                    <a:pt x="160476" y="217119"/>
                  </a:lnTo>
                  <a:lnTo>
                    <a:pt x="159297" y="214585"/>
                  </a:lnTo>
                  <a:lnTo>
                    <a:pt x="159058" y="211641"/>
                  </a:lnTo>
                  <a:lnTo>
                    <a:pt x="160339" y="204055"/>
                  </a:lnTo>
                  <a:lnTo>
                    <a:pt x="160903" y="199614"/>
                  </a:lnTo>
                  <a:lnTo>
                    <a:pt x="160545" y="197324"/>
                  </a:lnTo>
                  <a:lnTo>
                    <a:pt x="159949" y="197012"/>
                  </a:lnTo>
                  <a:lnTo>
                    <a:pt x="159411" y="195767"/>
                  </a:lnTo>
                  <a:lnTo>
                    <a:pt x="159279" y="192107"/>
                  </a:lnTo>
                  <a:lnTo>
                    <a:pt x="157909" y="188122"/>
                  </a:lnTo>
                  <a:lnTo>
                    <a:pt x="152751" y="179946"/>
                  </a:lnTo>
                  <a:lnTo>
                    <a:pt x="148977" y="178328"/>
                  </a:lnTo>
                  <a:lnTo>
                    <a:pt x="145622" y="177152"/>
                  </a:lnTo>
                  <a:lnTo>
                    <a:pt x="136434" y="169906"/>
                  </a:lnTo>
                  <a:lnTo>
                    <a:pt x="133937" y="166279"/>
                  </a:lnTo>
                  <a:lnTo>
                    <a:pt x="133329" y="164218"/>
                  </a:lnTo>
                  <a:lnTo>
                    <a:pt x="133009" y="160019"/>
                  </a:lnTo>
                  <a:lnTo>
                    <a:pt x="131743" y="162452"/>
                  </a:lnTo>
                  <a:lnTo>
                    <a:pt x="130056" y="164252"/>
                  </a:lnTo>
                  <a:lnTo>
                    <a:pt x="126162" y="164120"/>
                  </a:lnTo>
                  <a:lnTo>
                    <a:pt x="121784" y="166148"/>
                  </a:lnTo>
                  <a:lnTo>
                    <a:pt x="119178" y="164241"/>
                  </a:lnTo>
                  <a:lnTo>
                    <a:pt x="117775" y="162075"/>
                  </a:lnTo>
                  <a:lnTo>
                    <a:pt x="115636" y="159468"/>
                  </a:lnTo>
                  <a:lnTo>
                    <a:pt x="113228" y="158956"/>
                  </a:lnTo>
                  <a:lnTo>
                    <a:pt x="111693" y="158890"/>
                  </a:lnTo>
                  <a:lnTo>
                    <a:pt x="108813" y="155664"/>
                  </a:lnTo>
                  <a:lnTo>
                    <a:pt x="106485" y="154639"/>
                  </a:lnTo>
                  <a:lnTo>
                    <a:pt x="103150" y="154243"/>
                  </a:lnTo>
                  <a:lnTo>
                    <a:pt x="100313" y="152601"/>
                  </a:lnTo>
                  <a:lnTo>
                    <a:pt x="99440" y="150814"/>
                  </a:lnTo>
                  <a:lnTo>
                    <a:pt x="98969" y="148282"/>
                  </a:lnTo>
                  <a:lnTo>
                    <a:pt x="97914" y="146783"/>
                  </a:lnTo>
                  <a:lnTo>
                    <a:pt x="93459" y="143817"/>
                  </a:lnTo>
                  <a:lnTo>
                    <a:pt x="89829" y="140544"/>
                  </a:lnTo>
                  <a:lnTo>
                    <a:pt x="86412" y="138440"/>
                  </a:lnTo>
                  <a:lnTo>
                    <a:pt x="85405" y="136719"/>
                  </a:lnTo>
                  <a:lnTo>
                    <a:pt x="85323" y="135541"/>
                  </a:lnTo>
                  <a:lnTo>
                    <a:pt x="90721" y="135868"/>
                  </a:lnTo>
                  <a:lnTo>
                    <a:pt x="97150" y="137128"/>
                  </a:lnTo>
                  <a:lnTo>
                    <a:pt x="100231" y="136773"/>
                  </a:lnTo>
                  <a:lnTo>
                    <a:pt x="102153" y="135558"/>
                  </a:lnTo>
                  <a:lnTo>
                    <a:pt x="103982" y="134688"/>
                  </a:lnTo>
                  <a:lnTo>
                    <a:pt x="104274" y="135631"/>
                  </a:lnTo>
                  <a:lnTo>
                    <a:pt x="103940" y="137353"/>
                  </a:lnTo>
                  <a:lnTo>
                    <a:pt x="105704" y="138931"/>
                  </a:lnTo>
                  <a:lnTo>
                    <a:pt x="108124" y="140208"/>
                  </a:lnTo>
                  <a:lnTo>
                    <a:pt x="109845" y="140093"/>
                  </a:lnTo>
                  <a:lnTo>
                    <a:pt x="108179" y="138698"/>
                  </a:lnTo>
                  <a:lnTo>
                    <a:pt x="107156" y="135851"/>
                  </a:lnTo>
                  <a:lnTo>
                    <a:pt x="107615" y="134826"/>
                  </a:lnTo>
                  <a:lnTo>
                    <a:pt x="107587" y="133408"/>
                  </a:lnTo>
                  <a:lnTo>
                    <a:pt x="105198" y="133728"/>
                  </a:lnTo>
                  <a:lnTo>
                    <a:pt x="104862" y="133002"/>
                  </a:lnTo>
                  <a:lnTo>
                    <a:pt x="106906" y="130842"/>
                  </a:lnTo>
                  <a:lnTo>
                    <a:pt x="109252" y="125131"/>
                  </a:lnTo>
                  <a:lnTo>
                    <a:pt x="110374" y="119503"/>
                  </a:lnTo>
                  <a:lnTo>
                    <a:pt x="107914" y="114572"/>
                  </a:lnTo>
                  <a:lnTo>
                    <a:pt x="103763" y="111145"/>
                  </a:lnTo>
                  <a:lnTo>
                    <a:pt x="94767" y="101090"/>
                  </a:lnTo>
                  <a:lnTo>
                    <a:pt x="89393" y="95918"/>
                  </a:lnTo>
                  <a:lnTo>
                    <a:pt x="87837" y="93990"/>
                  </a:lnTo>
                  <a:lnTo>
                    <a:pt x="86412" y="93083"/>
                  </a:lnTo>
                  <a:lnTo>
                    <a:pt x="82029" y="91898"/>
                  </a:lnTo>
                  <a:lnTo>
                    <a:pt x="78357" y="89002"/>
                  </a:lnTo>
                  <a:lnTo>
                    <a:pt x="71914" y="84901"/>
                  </a:lnTo>
                  <a:lnTo>
                    <a:pt x="69161" y="82785"/>
                  </a:lnTo>
                  <a:lnTo>
                    <a:pt x="67264" y="77812"/>
                  </a:lnTo>
                  <a:lnTo>
                    <a:pt x="65752" y="77133"/>
                  </a:lnTo>
                  <a:lnTo>
                    <a:pt x="66227" y="73692"/>
                  </a:lnTo>
                  <a:lnTo>
                    <a:pt x="65566" y="67594"/>
                  </a:lnTo>
                  <a:lnTo>
                    <a:pt x="64487" y="66031"/>
                  </a:lnTo>
                  <a:lnTo>
                    <a:pt x="60997" y="64510"/>
                  </a:lnTo>
                  <a:lnTo>
                    <a:pt x="60167" y="60359"/>
                  </a:lnTo>
                  <a:lnTo>
                    <a:pt x="59994" y="56405"/>
                  </a:lnTo>
                  <a:lnTo>
                    <a:pt x="59315" y="53653"/>
                  </a:lnTo>
                  <a:lnTo>
                    <a:pt x="53378" y="49010"/>
                  </a:lnTo>
                  <a:lnTo>
                    <a:pt x="53040" y="46761"/>
                  </a:lnTo>
                  <a:lnTo>
                    <a:pt x="53039" y="44627"/>
                  </a:lnTo>
                  <a:lnTo>
                    <a:pt x="52436" y="42517"/>
                  </a:lnTo>
                  <a:lnTo>
                    <a:pt x="49265" y="38091"/>
                  </a:lnTo>
                  <a:lnTo>
                    <a:pt x="45434" y="34223"/>
                  </a:lnTo>
                  <a:lnTo>
                    <a:pt x="44100" y="32378"/>
                  </a:lnTo>
                  <a:lnTo>
                    <a:pt x="43941" y="28627"/>
                  </a:lnTo>
                  <a:lnTo>
                    <a:pt x="42582" y="27618"/>
                  </a:lnTo>
                  <a:lnTo>
                    <a:pt x="43098" y="27363"/>
                  </a:lnTo>
                  <a:lnTo>
                    <a:pt x="44356" y="27456"/>
                  </a:lnTo>
                  <a:lnTo>
                    <a:pt x="45072" y="26961"/>
                  </a:lnTo>
                  <a:lnTo>
                    <a:pt x="45150" y="24347"/>
                  </a:lnTo>
                  <a:lnTo>
                    <a:pt x="39388" y="20236"/>
                  </a:lnTo>
                  <a:lnTo>
                    <a:pt x="37723" y="14576"/>
                  </a:lnTo>
                  <a:lnTo>
                    <a:pt x="34653" y="11576"/>
                  </a:lnTo>
                  <a:lnTo>
                    <a:pt x="33934" y="10489"/>
                  </a:lnTo>
                  <a:lnTo>
                    <a:pt x="32282" y="5139"/>
                  </a:lnTo>
                  <a:lnTo>
                    <a:pt x="39539" y="4534"/>
                  </a:lnTo>
                  <a:lnTo>
                    <a:pt x="46794" y="3929"/>
                  </a:lnTo>
                  <a:lnTo>
                    <a:pt x="54049" y="3326"/>
                  </a:lnTo>
                  <a:lnTo>
                    <a:pt x="61305" y="2720"/>
                  </a:lnTo>
                  <a:lnTo>
                    <a:pt x="68561" y="2115"/>
                  </a:lnTo>
                  <a:lnTo>
                    <a:pt x="75816" y="1510"/>
                  </a:lnTo>
                  <a:lnTo>
                    <a:pt x="83073" y="905"/>
                  </a:lnTo>
                  <a:lnTo>
                    <a:pt x="90328" y="299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45" name="ee4p_NI_1_37365">
              <a:extLst>
                <a:ext uri="{FF2B5EF4-FFF2-40B4-BE49-F238E27FC236}">
                  <a16:creationId xmlns:a16="http://schemas.microsoft.com/office/drawing/2014/main" id="{3857C5DA-D2F1-7885-9735-B47F655E2658}"/>
                </a:ext>
              </a:extLst>
            </p:cNvPr>
            <p:cNvSpPr>
              <a:spLocks noChangeAspect="1"/>
            </p:cNvSpPr>
            <p:nvPr>
              <p:custDataLst>
                <p:tags r:id="rId399"/>
              </p:custDataLst>
            </p:nvPr>
          </p:nvSpPr>
          <p:spPr>
            <a:xfrm>
              <a:off x="4080158" y="4244503"/>
              <a:ext cx="125313" cy="123898"/>
            </a:xfrm>
            <a:custGeom>
              <a:avLst/>
              <a:gdLst/>
              <a:ahLst/>
              <a:cxnLst/>
              <a:rect l="0" t="0" r="0" b="0"/>
              <a:pathLst>
                <a:path w="99785" h="96042">
                  <a:moveTo>
                    <a:pt x="99784" y="340"/>
                  </a:moveTo>
                  <a:lnTo>
                    <a:pt x="99168" y="1169"/>
                  </a:lnTo>
                  <a:lnTo>
                    <a:pt x="98492" y="1712"/>
                  </a:lnTo>
                  <a:lnTo>
                    <a:pt x="97078" y="4414"/>
                  </a:lnTo>
                  <a:lnTo>
                    <a:pt x="96589" y="4655"/>
                  </a:lnTo>
                  <a:lnTo>
                    <a:pt x="96493" y="2657"/>
                  </a:lnTo>
                  <a:lnTo>
                    <a:pt x="95652" y="2396"/>
                  </a:lnTo>
                  <a:lnTo>
                    <a:pt x="94665" y="3106"/>
                  </a:lnTo>
                  <a:lnTo>
                    <a:pt x="94119" y="4130"/>
                  </a:lnTo>
                  <a:lnTo>
                    <a:pt x="94978" y="5468"/>
                  </a:lnTo>
                  <a:lnTo>
                    <a:pt x="95733" y="5487"/>
                  </a:lnTo>
                  <a:lnTo>
                    <a:pt x="96651" y="5854"/>
                  </a:lnTo>
                  <a:lnTo>
                    <a:pt x="99115" y="15086"/>
                  </a:lnTo>
                  <a:lnTo>
                    <a:pt x="98585" y="16732"/>
                  </a:lnTo>
                  <a:lnTo>
                    <a:pt x="97057" y="19293"/>
                  </a:lnTo>
                  <a:lnTo>
                    <a:pt x="95603" y="21472"/>
                  </a:lnTo>
                  <a:lnTo>
                    <a:pt x="94150" y="22836"/>
                  </a:lnTo>
                  <a:lnTo>
                    <a:pt x="92349" y="28641"/>
                  </a:lnTo>
                  <a:lnTo>
                    <a:pt x="90722" y="38063"/>
                  </a:lnTo>
                  <a:lnTo>
                    <a:pt x="91891" y="46527"/>
                  </a:lnTo>
                  <a:lnTo>
                    <a:pt x="91299" y="54339"/>
                  </a:lnTo>
                  <a:lnTo>
                    <a:pt x="91813" y="56184"/>
                  </a:lnTo>
                  <a:lnTo>
                    <a:pt x="91969" y="58481"/>
                  </a:lnTo>
                  <a:lnTo>
                    <a:pt x="90768" y="58894"/>
                  </a:lnTo>
                  <a:lnTo>
                    <a:pt x="90090" y="58825"/>
                  </a:lnTo>
                  <a:lnTo>
                    <a:pt x="89398" y="57414"/>
                  </a:lnTo>
                  <a:lnTo>
                    <a:pt x="89476" y="56174"/>
                  </a:lnTo>
                  <a:lnTo>
                    <a:pt x="90194" y="54719"/>
                  </a:lnTo>
                  <a:lnTo>
                    <a:pt x="90484" y="52747"/>
                  </a:lnTo>
                  <a:lnTo>
                    <a:pt x="90146" y="51715"/>
                  </a:lnTo>
                  <a:lnTo>
                    <a:pt x="89439" y="53966"/>
                  </a:lnTo>
                  <a:lnTo>
                    <a:pt x="88194" y="54971"/>
                  </a:lnTo>
                  <a:lnTo>
                    <a:pt x="87382" y="55319"/>
                  </a:lnTo>
                  <a:lnTo>
                    <a:pt x="86589" y="56457"/>
                  </a:lnTo>
                  <a:lnTo>
                    <a:pt x="87430" y="58595"/>
                  </a:lnTo>
                  <a:lnTo>
                    <a:pt x="88510" y="60158"/>
                  </a:lnTo>
                  <a:lnTo>
                    <a:pt x="88866" y="61281"/>
                  </a:lnTo>
                  <a:lnTo>
                    <a:pt x="88469" y="62616"/>
                  </a:lnTo>
                  <a:lnTo>
                    <a:pt x="88221" y="67175"/>
                  </a:lnTo>
                  <a:lnTo>
                    <a:pt x="87839" y="67048"/>
                  </a:lnTo>
                  <a:lnTo>
                    <a:pt x="87444" y="66433"/>
                  </a:lnTo>
                  <a:lnTo>
                    <a:pt x="86303" y="66391"/>
                  </a:lnTo>
                  <a:lnTo>
                    <a:pt x="86167" y="68228"/>
                  </a:lnTo>
                  <a:lnTo>
                    <a:pt x="86255" y="69254"/>
                  </a:lnTo>
                  <a:lnTo>
                    <a:pt x="85286" y="70044"/>
                  </a:lnTo>
                  <a:lnTo>
                    <a:pt x="84938" y="70836"/>
                  </a:lnTo>
                  <a:lnTo>
                    <a:pt x="85733" y="71394"/>
                  </a:lnTo>
                  <a:lnTo>
                    <a:pt x="86608" y="71727"/>
                  </a:lnTo>
                  <a:lnTo>
                    <a:pt x="87687" y="71654"/>
                  </a:lnTo>
                  <a:lnTo>
                    <a:pt x="88578" y="73911"/>
                  </a:lnTo>
                  <a:lnTo>
                    <a:pt x="88855" y="75745"/>
                  </a:lnTo>
                  <a:lnTo>
                    <a:pt x="86794" y="77437"/>
                  </a:lnTo>
                  <a:lnTo>
                    <a:pt x="86094" y="78839"/>
                  </a:lnTo>
                  <a:lnTo>
                    <a:pt x="84927" y="80536"/>
                  </a:lnTo>
                  <a:lnTo>
                    <a:pt x="84271" y="82205"/>
                  </a:lnTo>
                  <a:lnTo>
                    <a:pt x="84076" y="83405"/>
                  </a:lnTo>
                  <a:lnTo>
                    <a:pt x="84873" y="87200"/>
                  </a:lnTo>
                  <a:lnTo>
                    <a:pt x="86286" y="89891"/>
                  </a:lnTo>
                  <a:lnTo>
                    <a:pt x="87477" y="91601"/>
                  </a:lnTo>
                  <a:lnTo>
                    <a:pt x="89071" y="91973"/>
                  </a:lnTo>
                  <a:lnTo>
                    <a:pt x="88696" y="93771"/>
                  </a:lnTo>
                  <a:lnTo>
                    <a:pt x="87502" y="94911"/>
                  </a:lnTo>
                  <a:lnTo>
                    <a:pt x="85330" y="95864"/>
                  </a:lnTo>
                  <a:lnTo>
                    <a:pt x="82939" y="96041"/>
                  </a:lnTo>
                  <a:lnTo>
                    <a:pt x="79028" y="95139"/>
                  </a:lnTo>
                  <a:lnTo>
                    <a:pt x="77432" y="95034"/>
                  </a:lnTo>
                  <a:lnTo>
                    <a:pt x="76808" y="94557"/>
                  </a:lnTo>
                  <a:lnTo>
                    <a:pt x="76622" y="93671"/>
                  </a:lnTo>
                  <a:lnTo>
                    <a:pt x="75504" y="92342"/>
                  </a:lnTo>
                  <a:lnTo>
                    <a:pt x="73453" y="90571"/>
                  </a:lnTo>
                  <a:lnTo>
                    <a:pt x="72269" y="90693"/>
                  </a:lnTo>
                  <a:lnTo>
                    <a:pt x="70338" y="90308"/>
                  </a:lnTo>
                  <a:lnTo>
                    <a:pt x="67132" y="89100"/>
                  </a:lnTo>
                  <a:lnTo>
                    <a:pt x="65650" y="88953"/>
                  </a:lnTo>
                  <a:lnTo>
                    <a:pt x="63523" y="89989"/>
                  </a:lnTo>
                  <a:lnTo>
                    <a:pt x="61051" y="91345"/>
                  </a:lnTo>
                  <a:lnTo>
                    <a:pt x="55086" y="89227"/>
                  </a:lnTo>
                  <a:lnTo>
                    <a:pt x="50897" y="87739"/>
                  </a:lnTo>
                  <a:lnTo>
                    <a:pt x="47130" y="86399"/>
                  </a:lnTo>
                  <a:lnTo>
                    <a:pt x="46125" y="85881"/>
                  </a:lnTo>
                  <a:lnTo>
                    <a:pt x="45302" y="85993"/>
                  </a:lnTo>
                  <a:lnTo>
                    <a:pt x="44589" y="86695"/>
                  </a:lnTo>
                  <a:lnTo>
                    <a:pt x="43773" y="87940"/>
                  </a:lnTo>
                  <a:lnTo>
                    <a:pt x="43506" y="88296"/>
                  </a:lnTo>
                  <a:lnTo>
                    <a:pt x="43072" y="88638"/>
                  </a:lnTo>
                  <a:lnTo>
                    <a:pt x="42584" y="88731"/>
                  </a:lnTo>
                  <a:lnTo>
                    <a:pt x="42564" y="88139"/>
                  </a:lnTo>
                  <a:lnTo>
                    <a:pt x="40723" y="85674"/>
                  </a:lnTo>
                  <a:lnTo>
                    <a:pt x="37790" y="82704"/>
                  </a:lnTo>
                  <a:lnTo>
                    <a:pt x="26562" y="73588"/>
                  </a:lnTo>
                  <a:lnTo>
                    <a:pt x="22436" y="68135"/>
                  </a:lnTo>
                  <a:lnTo>
                    <a:pt x="20222" y="64207"/>
                  </a:lnTo>
                  <a:lnTo>
                    <a:pt x="18114" y="62163"/>
                  </a:lnTo>
                  <a:lnTo>
                    <a:pt x="12050" y="57979"/>
                  </a:lnTo>
                  <a:lnTo>
                    <a:pt x="10652" y="56313"/>
                  </a:lnTo>
                  <a:lnTo>
                    <a:pt x="4643" y="50716"/>
                  </a:lnTo>
                  <a:lnTo>
                    <a:pt x="58" y="47435"/>
                  </a:lnTo>
                  <a:lnTo>
                    <a:pt x="0" y="46039"/>
                  </a:lnTo>
                  <a:lnTo>
                    <a:pt x="1881" y="44294"/>
                  </a:lnTo>
                  <a:lnTo>
                    <a:pt x="2804" y="44375"/>
                  </a:lnTo>
                  <a:lnTo>
                    <a:pt x="3808" y="45623"/>
                  </a:lnTo>
                  <a:lnTo>
                    <a:pt x="5435" y="47040"/>
                  </a:lnTo>
                  <a:lnTo>
                    <a:pt x="6203" y="47051"/>
                  </a:lnTo>
                  <a:lnTo>
                    <a:pt x="7332" y="46392"/>
                  </a:lnTo>
                  <a:lnTo>
                    <a:pt x="7361" y="45734"/>
                  </a:lnTo>
                  <a:lnTo>
                    <a:pt x="13510" y="45459"/>
                  </a:lnTo>
                  <a:lnTo>
                    <a:pt x="14612" y="45092"/>
                  </a:lnTo>
                  <a:lnTo>
                    <a:pt x="15728" y="44060"/>
                  </a:lnTo>
                  <a:lnTo>
                    <a:pt x="16296" y="42625"/>
                  </a:lnTo>
                  <a:lnTo>
                    <a:pt x="16393" y="41233"/>
                  </a:lnTo>
                  <a:lnTo>
                    <a:pt x="16627" y="40239"/>
                  </a:lnTo>
                  <a:lnTo>
                    <a:pt x="17615" y="39274"/>
                  </a:lnTo>
                  <a:lnTo>
                    <a:pt x="19415" y="38975"/>
                  </a:lnTo>
                  <a:lnTo>
                    <a:pt x="20804" y="38872"/>
                  </a:lnTo>
                  <a:lnTo>
                    <a:pt x="21216" y="38219"/>
                  </a:lnTo>
                  <a:lnTo>
                    <a:pt x="20798" y="36107"/>
                  </a:lnTo>
                  <a:lnTo>
                    <a:pt x="20047" y="30974"/>
                  </a:lnTo>
                  <a:lnTo>
                    <a:pt x="19891" y="29544"/>
                  </a:lnTo>
                  <a:lnTo>
                    <a:pt x="20148" y="28477"/>
                  </a:lnTo>
                  <a:lnTo>
                    <a:pt x="20708" y="28086"/>
                  </a:lnTo>
                  <a:lnTo>
                    <a:pt x="23436" y="27830"/>
                  </a:lnTo>
                  <a:lnTo>
                    <a:pt x="28595" y="28262"/>
                  </a:lnTo>
                  <a:lnTo>
                    <a:pt x="29595" y="27938"/>
                  </a:lnTo>
                  <a:lnTo>
                    <a:pt x="31663" y="25022"/>
                  </a:lnTo>
                  <a:lnTo>
                    <a:pt x="33587" y="22878"/>
                  </a:lnTo>
                  <a:lnTo>
                    <a:pt x="34957" y="21917"/>
                  </a:lnTo>
                  <a:lnTo>
                    <a:pt x="36038" y="21626"/>
                  </a:lnTo>
                  <a:lnTo>
                    <a:pt x="37289" y="23530"/>
                  </a:lnTo>
                  <a:lnTo>
                    <a:pt x="41646" y="26262"/>
                  </a:lnTo>
                  <a:lnTo>
                    <a:pt x="42383" y="26090"/>
                  </a:lnTo>
                  <a:lnTo>
                    <a:pt x="42814" y="25941"/>
                  </a:lnTo>
                  <a:lnTo>
                    <a:pt x="42951" y="25549"/>
                  </a:lnTo>
                  <a:lnTo>
                    <a:pt x="42874" y="24292"/>
                  </a:lnTo>
                  <a:lnTo>
                    <a:pt x="43964" y="23149"/>
                  </a:lnTo>
                  <a:lnTo>
                    <a:pt x="46222" y="22120"/>
                  </a:lnTo>
                  <a:lnTo>
                    <a:pt x="48494" y="20306"/>
                  </a:lnTo>
                  <a:lnTo>
                    <a:pt x="50778" y="17708"/>
                  </a:lnTo>
                  <a:lnTo>
                    <a:pt x="52759" y="16179"/>
                  </a:lnTo>
                  <a:lnTo>
                    <a:pt x="54435" y="15724"/>
                  </a:lnTo>
                  <a:lnTo>
                    <a:pt x="55074" y="15014"/>
                  </a:lnTo>
                  <a:lnTo>
                    <a:pt x="54674" y="14051"/>
                  </a:lnTo>
                  <a:lnTo>
                    <a:pt x="54808" y="12682"/>
                  </a:lnTo>
                  <a:lnTo>
                    <a:pt x="55475" y="10910"/>
                  </a:lnTo>
                  <a:lnTo>
                    <a:pt x="56449" y="9884"/>
                  </a:lnTo>
                  <a:lnTo>
                    <a:pt x="57730" y="9605"/>
                  </a:lnTo>
                  <a:lnTo>
                    <a:pt x="58235" y="9047"/>
                  </a:lnTo>
                  <a:lnTo>
                    <a:pt x="57967" y="8210"/>
                  </a:lnTo>
                  <a:lnTo>
                    <a:pt x="58217" y="7288"/>
                  </a:lnTo>
                  <a:lnTo>
                    <a:pt x="59371" y="5777"/>
                  </a:lnTo>
                  <a:lnTo>
                    <a:pt x="62128" y="4482"/>
                  </a:lnTo>
                  <a:lnTo>
                    <a:pt x="63705" y="4920"/>
                  </a:lnTo>
                  <a:lnTo>
                    <a:pt x="65018" y="6659"/>
                  </a:lnTo>
                  <a:lnTo>
                    <a:pt x="66872" y="7841"/>
                  </a:lnTo>
                  <a:lnTo>
                    <a:pt x="69266" y="8466"/>
                  </a:lnTo>
                  <a:lnTo>
                    <a:pt x="71125" y="8233"/>
                  </a:lnTo>
                  <a:lnTo>
                    <a:pt x="72450" y="7148"/>
                  </a:lnTo>
                  <a:lnTo>
                    <a:pt x="73641" y="6818"/>
                  </a:lnTo>
                  <a:lnTo>
                    <a:pt x="74699" y="7247"/>
                  </a:lnTo>
                  <a:lnTo>
                    <a:pt x="75259" y="7004"/>
                  </a:lnTo>
                  <a:lnTo>
                    <a:pt x="75318" y="6092"/>
                  </a:lnTo>
                  <a:lnTo>
                    <a:pt x="75865" y="5881"/>
                  </a:lnTo>
                  <a:lnTo>
                    <a:pt x="76901" y="6374"/>
                  </a:lnTo>
                  <a:lnTo>
                    <a:pt x="77821" y="6500"/>
                  </a:lnTo>
                  <a:lnTo>
                    <a:pt x="78625" y="6261"/>
                  </a:lnTo>
                  <a:lnTo>
                    <a:pt x="78937" y="5818"/>
                  </a:lnTo>
                  <a:lnTo>
                    <a:pt x="79099" y="5360"/>
                  </a:lnTo>
                  <a:lnTo>
                    <a:pt x="79699" y="5017"/>
                  </a:lnTo>
                  <a:lnTo>
                    <a:pt x="81768" y="5356"/>
                  </a:lnTo>
                  <a:lnTo>
                    <a:pt x="84089" y="4827"/>
                  </a:lnTo>
                  <a:lnTo>
                    <a:pt x="86662" y="3432"/>
                  </a:lnTo>
                  <a:lnTo>
                    <a:pt x="88372" y="2815"/>
                  </a:lnTo>
                  <a:lnTo>
                    <a:pt x="89215" y="2976"/>
                  </a:lnTo>
                  <a:lnTo>
                    <a:pt x="90226" y="2272"/>
                  </a:lnTo>
                  <a:lnTo>
                    <a:pt x="91403" y="703"/>
                  </a:lnTo>
                  <a:lnTo>
                    <a:pt x="94089" y="0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46" name="ee4p_PA_1_37365">
              <a:extLst>
                <a:ext uri="{FF2B5EF4-FFF2-40B4-BE49-F238E27FC236}">
                  <a16:creationId xmlns:a16="http://schemas.microsoft.com/office/drawing/2014/main" id="{6BE06A77-4F18-183E-C3B1-CD07C6CCB277}"/>
                </a:ext>
              </a:extLst>
            </p:cNvPr>
            <p:cNvSpPr>
              <a:spLocks noChangeAspect="1"/>
            </p:cNvSpPr>
            <p:nvPr>
              <p:custDataLst>
                <p:tags r:id="rId400"/>
              </p:custDataLst>
            </p:nvPr>
          </p:nvSpPr>
          <p:spPr>
            <a:xfrm>
              <a:off x="4209085" y="4401178"/>
              <a:ext cx="161933" cy="68301"/>
            </a:xfrm>
            <a:custGeom>
              <a:avLst/>
              <a:gdLst>
                <a:gd name="connsiteX0" fmla="*/ 32331 w 147862"/>
                <a:gd name="connsiteY0" fmla="*/ 50476 h 60713"/>
                <a:gd name="connsiteX1" fmla="*/ 32929 w 147862"/>
                <a:gd name="connsiteY1" fmla="*/ 50488 h 60713"/>
                <a:gd name="connsiteX2" fmla="*/ 34382 w 147862"/>
                <a:gd name="connsiteY2" fmla="*/ 52979 h 60713"/>
                <a:gd name="connsiteX3" fmla="*/ 33392 w 147862"/>
                <a:gd name="connsiteY3" fmla="*/ 53946 h 60713"/>
                <a:gd name="connsiteX4" fmla="*/ 33791 w 147862"/>
                <a:gd name="connsiteY4" fmla="*/ 55489 h 60713"/>
                <a:gd name="connsiteX5" fmla="*/ 35853 w 147862"/>
                <a:gd name="connsiteY5" fmla="*/ 56632 h 60713"/>
                <a:gd name="connsiteX6" fmla="*/ 36111 w 147862"/>
                <a:gd name="connsiteY6" fmla="*/ 57839 h 60713"/>
                <a:gd name="connsiteX7" fmla="*/ 34720 w 147862"/>
                <a:gd name="connsiteY7" fmla="*/ 57973 h 60713"/>
                <a:gd name="connsiteX8" fmla="*/ 31879 w 147862"/>
                <a:gd name="connsiteY8" fmla="*/ 56883 h 60713"/>
                <a:gd name="connsiteX9" fmla="*/ 29801 w 147862"/>
                <a:gd name="connsiteY9" fmla="*/ 54767 h 60713"/>
                <a:gd name="connsiteX10" fmla="*/ 29636 w 147862"/>
                <a:gd name="connsiteY10" fmla="*/ 54082 h 60713"/>
                <a:gd name="connsiteX11" fmla="*/ 29678 w 147862"/>
                <a:gd name="connsiteY11" fmla="*/ 53382 h 60713"/>
                <a:gd name="connsiteX12" fmla="*/ 30814 w 147862"/>
                <a:gd name="connsiteY12" fmla="*/ 51222 h 60713"/>
                <a:gd name="connsiteX13" fmla="*/ 99957 w 147862"/>
                <a:gd name="connsiteY13" fmla="*/ 33275 h 60713"/>
                <a:gd name="connsiteX14" fmla="*/ 100460 w 147862"/>
                <a:gd name="connsiteY14" fmla="*/ 34337 h 60713"/>
                <a:gd name="connsiteX15" fmla="*/ 99321 w 147862"/>
                <a:gd name="connsiteY15" fmla="*/ 35470 h 60713"/>
                <a:gd name="connsiteX16" fmla="*/ 98885 w 147862"/>
                <a:gd name="connsiteY16" fmla="*/ 34397 h 60713"/>
                <a:gd name="connsiteX17" fmla="*/ 99678 w 147862"/>
                <a:gd name="connsiteY17" fmla="*/ 33286 h 60713"/>
                <a:gd name="connsiteX18" fmla="*/ 105080 w 147862"/>
                <a:gd name="connsiteY18" fmla="*/ 29076 h 60713"/>
                <a:gd name="connsiteX19" fmla="*/ 105767 w 147862"/>
                <a:gd name="connsiteY19" fmla="*/ 29384 h 60713"/>
                <a:gd name="connsiteX20" fmla="*/ 106198 w 147862"/>
                <a:gd name="connsiteY20" fmla="*/ 31945 h 60713"/>
                <a:gd name="connsiteX21" fmla="*/ 105842 w 147862"/>
                <a:gd name="connsiteY21" fmla="*/ 33106 h 60713"/>
                <a:gd name="connsiteX22" fmla="*/ 104697 w 147862"/>
                <a:gd name="connsiteY22" fmla="*/ 33825 h 60713"/>
                <a:gd name="connsiteX23" fmla="*/ 104196 w 147862"/>
                <a:gd name="connsiteY23" fmla="*/ 34906 h 60713"/>
                <a:gd name="connsiteX24" fmla="*/ 103008 w 147862"/>
                <a:gd name="connsiteY24" fmla="*/ 32498 h 60713"/>
                <a:gd name="connsiteX25" fmla="*/ 103200 w 147862"/>
                <a:gd name="connsiteY25" fmla="*/ 31878 h 60713"/>
                <a:gd name="connsiteX26" fmla="*/ 103119 w 147862"/>
                <a:gd name="connsiteY26" fmla="*/ 29700 h 60713"/>
                <a:gd name="connsiteX27" fmla="*/ 104249 w 147862"/>
                <a:gd name="connsiteY27" fmla="*/ 29128 h 60713"/>
                <a:gd name="connsiteX28" fmla="*/ 19057 w 147862"/>
                <a:gd name="connsiteY28" fmla="*/ 4246 h 60713"/>
                <a:gd name="connsiteX29" fmla="*/ 19472 w 147862"/>
                <a:gd name="connsiteY29" fmla="*/ 4288 h 60713"/>
                <a:gd name="connsiteX30" fmla="*/ 20129 w 147862"/>
                <a:gd name="connsiteY30" fmla="*/ 5555 h 60713"/>
                <a:gd name="connsiteX31" fmla="*/ 19852 w 147862"/>
                <a:gd name="connsiteY31" fmla="*/ 6747 h 60713"/>
                <a:gd name="connsiteX32" fmla="*/ 17892 w 147862"/>
                <a:gd name="connsiteY32" fmla="*/ 4598 h 60713"/>
                <a:gd name="connsiteX33" fmla="*/ 87481 w 147862"/>
                <a:gd name="connsiteY33" fmla="*/ 0 h 60713"/>
                <a:gd name="connsiteX34" fmla="*/ 93106 w 147862"/>
                <a:gd name="connsiteY34" fmla="*/ 733 h 60713"/>
                <a:gd name="connsiteX35" fmla="*/ 96754 w 147862"/>
                <a:gd name="connsiteY35" fmla="*/ 1687 h 60713"/>
                <a:gd name="connsiteX36" fmla="*/ 99273 w 147862"/>
                <a:gd name="connsiteY36" fmla="*/ 1563 h 60713"/>
                <a:gd name="connsiteX37" fmla="*/ 101696 w 147862"/>
                <a:gd name="connsiteY37" fmla="*/ 2237 h 60713"/>
                <a:gd name="connsiteX38" fmla="*/ 102753 w 147862"/>
                <a:gd name="connsiteY38" fmla="*/ 3706 h 60713"/>
                <a:gd name="connsiteX39" fmla="*/ 103853 w 147862"/>
                <a:gd name="connsiteY39" fmla="*/ 4334 h 60713"/>
                <a:gd name="connsiteX40" fmla="*/ 109805 w 147862"/>
                <a:gd name="connsiteY40" fmla="*/ 4173 h 60713"/>
                <a:gd name="connsiteX41" fmla="*/ 114687 w 147862"/>
                <a:gd name="connsiteY41" fmla="*/ 4901 h 60713"/>
                <a:gd name="connsiteX42" fmla="*/ 125377 w 147862"/>
                <a:gd name="connsiteY42" fmla="*/ 9249 h 60713"/>
                <a:gd name="connsiteX43" fmla="*/ 131767 w 147862"/>
                <a:gd name="connsiteY43" fmla="*/ 13548 h 60713"/>
                <a:gd name="connsiteX44" fmla="*/ 135153 w 147862"/>
                <a:gd name="connsiteY44" fmla="*/ 18114 h 60713"/>
                <a:gd name="connsiteX45" fmla="*/ 143344 w 147862"/>
                <a:gd name="connsiteY45" fmla="*/ 24019 h 60713"/>
                <a:gd name="connsiteX46" fmla="*/ 142866 w 147862"/>
                <a:gd name="connsiteY46" fmla="*/ 24367 h 60713"/>
                <a:gd name="connsiteX47" fmla="*/ 141465 w 147862"/>
                <a:gd name="connsiteY47" fmla="*/ 26380 h 60713"/>
                <a:gd name="connsiteX48" fmla="*/ 140700 w 147862"/>
                <a:gd name="connsiteY48" fmla="*/ 28102 h 60713"/>
                <a:gd name="connsiteX49" fmla="*/ 142506 w 147862"/>
                <a:gd name="connsiteY49" fmla="*/ 29920 h 60713"/>
                <a:gd name="connsiteX50" fmla="*/ 143048 w 147862"/>
                <a:gd name="connsiteY50" fmla="*/ 31850 h 60713"/>
                <a:gd name="connsiteX51" fmla="*/ 144072 w 147862"/>
                <a:gd name="connsiteY51" fmla="*/ 33946 h 60713"/>
                <a:gd name="connsiteX52" fmla="*/ 145666 w 147862"/>
                <a:gd name="connsiteY52" fmla="*/ 36052 h 60713"/>
                <a:gd name="connsiteX53" fmla="*/ 147449 w 147862"/>
                <a:gd name="connsiteY53" fmla="*/ 39960 h 60713"/>
                <a:gd name="connsiteX54" fmla="*/ 147862 w 147862"/>
                <a:gd name="connsiteY54" fmla="*/ 41527 h 60713"/>
                <a:gd name="connsiteX55" fmla="*/ 147356 w 147862"/>
                <a:gd name="connsiteY55" fmla="*/ 42547 h 60713"/>
                <a:gd name="connsiteX56" fmla="*/ 145658 w 147862"/>
                <a:gd name="connsiteY56" fmla="*/ 43168 h 60713"/>
                <a:gd name="connsiteX57" fmla="*/ 144070 w 147862"/>
                <a:gd name="connsiteY57" fmla="*/ 44996 h 60713"/>
                <a:gd name="connsiteX58" fmla="*/ 143634 w 147862"/>
                <a:gd name="connsiteY58" fmla="*/ 47227 h 60713"/>
                <a:gd name="connsiteX59" fmla="*/ 143938 w 147862"/>
                <a:gd name="connsiteY59" fmla="*/ 48329 h 60713"/>
                <a:gd name="connsiteX60" fmla="*/ 139184 w 147862"/>
                <a:gd name="connsiteY60" fmla="*/ 51888 h 60713"/>
                <a:gd name="connsiteX61" fmla="*/ 137959 w 147862"/>
                <a:gd name="connsiteY61" fmla="*/ 52480 h 60713"/>
                <a:gd name="connsiteX62" fmla="*/ 137147 w 147862"/>
                <a:gd name="connsiteY62" fmla="*/ 51932 h 60713"/>
                <a:gd name="connsiteX63" fmla="*/ 136133 w 147862"/>
                <a:gd name="connsiteY63" fmla="*/ 50145 h 60713"/>
                <a:gd name="connsiteX64" fmla="*/ 134922 w 147862"/>
                <a:gd name="connsiteY64" fmla="*/ 48702 h 60713"/>
                <a:gd name="connsiteX65" fmla="*/ 134271 w 147862"/>
                <a:gd name="connsiteY65" fmla="*/ 48199 h 60713"/>
                <a:gd name="connsiteX66" fmla="*/ 133893 w 147862"/>
                <a:gd name="connsiteY66" fmla="*/ 48175 h 60713"/>
                <a:gd name="connsiteX67" fmla="*/ 133513 w 147862"/>
                <a:gd name="connsiteY67" fmla="*/ 48507 h 60713"/>
                <a:gd name="connsiteX68" fmla="*/ 133340 w 147862"/>
                <a:gd name="connsiteY68" fmla="*/ 49292 h 60713"/>
                <a:gd name="connsiteX69" fmla="*/ 133970 w 147862"/>
                <a:gd name="connsiteY69" fmla="*/ 52636 h 60713"/>
                <a:gd name="connsiteX70" fmla="*/ 133442 w 147862"/>
                <a:gd name="connsiteY70" fmla="*/ 53993 h 60713"/>
                <a:gd name="connsiteX71" fmla="*/ 131830 w 147862"/>
                <a:gd name="connsiteY71" fmla="*/ 55036 h 60713"/>
                <a:gd name="connsiteX72" fmla="*/ 129982 w 147862"/>
                <a:gd name="connsiteY72" fmla="*/ 60477 h 60713"/>
                <a:gd name="connsiteX73" fmla="*/ 129257 w 147862"/>
                <a:gd name="connsiteY73" fmla="*/ 59789 h 60713"/>
                <a:gd name="connsiteX74" fmla="*/ 123163 w 147862"/>
                <a:gd name="connsiteY74" fmla="*/ 52461 h 60713"/>
                <a:gd name="connsiteX75" fmla="*/ 117886 w 147862"/>
                <a:gd name="connsiteY75" fmla="*/ 43379 h 60713"/>
                <a:gd name="connsiteX76" fmla="*/ 116786 w 147862"/>
                <a:gd name="connsiteY76" fmla="*/ 39268 h 60713"/>
                <a:gd name="connsiteX77" fmla="*/ 118154 w 147862"/>
                <a:gd name="connsiteY77" fmla="*/ 39025 h 60713"/>
                <a:gd name="connsiteX78" fmla="*/ 119478 w 147862"/>
                <a:gd name="connsiteY78" fmla="*/ 39117 h 60713"/>
                <a:gd name="connsiteX79" fmla="*/ 120189 w 147862"/>
                <a:gd name="connsiteY79" fmla="*/ 38483 h 60713"/>
                <a:gd name="connsiteX80" fmla="*/ 121013 w 147862"/>
                <a:gd name="connsiteY80" fmla="*/ 37287 h 60713"/>
                <a:gd name="connsiteX81" fmla="*/ 120345 w 147862"/>
                <a:gd name="connsiteY81" fmla="*/ 34507 h 60713"/>
                <a:gd name="connsiteX82" fmla="*/ 122912 w 147862"/>
                <a:gd name="connsiteY82" fmla="*/ 32395 h 60713"/>
                <a:gd name="connsiteX83" fmla="*/ 123878 w 147862"/>
                <a:gd name="connsiteY83" fmla="*/ 30971 h 60713"/>
                <a:gd name="connsiteX84" fmla="*/ 124589 w 147862"/>
                <a:gd name="connsiteY84" fmla="*/ 31136 h 60713"/>
                <a:gd name="connsiteX85" fmla="*/ 126266 w 147862"/>
                <a:gd name="connsiteY85" fmla="*/ 33558 h 60713"/>
                <a:gd name="connsiteX86" fmla="*/ 128702 w 147862"/>
                <a:gd name="connsiteY86" fmla="*/ 34949 h 60713"/>
                <a:gd name="connsiteX87" fmla="*/ 131694 w 147862"/>
                <a:gd name="connsiteY87" fmla="*/ 36967 h 60713"/>
                <a:gd name="connsiteX88" fmla="*/ 133548 w 147862"/>
                <a:gd name="connsiteY88" fmla="*/ 37424 h 60713"/>
                <a:gd name="connsiteX89" fmla="*/ 131205 w 147862"/>
                <a:gd name="connsiteY89" fmla="*/ 35308 h 60713"/>
                <a:gd name="connsiteX90" fmla="*/ 127159 w 147862"/>
                <a:gd name="connsiteY90" fmla="*/ 32520 h 60713"/>
                <a:gd name="connsiteX91" fmla="*/ 126026 w 147862"/>
                <a:gd name="connsiteY91" fmla="*/ 30689 h 60713"/>
                <a:gd name="connsiteX92" fmla="*/ 124954 w 147862"/>
                <a:gd name="connsiteY92" fmla="*/ 28140 h 60713"/>
                <a:gd name="connsiteX93" fmla="*/ 123373 w 147862"/>
                <a:gd name="connsiteY93" fmla="*/ 29244 h 60713"/>
                <a:gd name="connsiteX94" fmla="*/ 122639 w 147862"/>
                <a:gd name="connsiteY94" fmla="*/ 30173 h 60713"/>
                <a:gd name="connsiteX95" fmla="*/ 121820 w 147862"/>
                <a:gd name="connsiteY95" fmla="*/ 30701 h 60713"/>
                <a:gd name="connsiteX96" fmla="*/ 121109 w 147862"/>
                <a:gd name="connsiteY96" fmla="*/ 30068 h 60713"/>
                <a:gd name="connsiteX97" fmla="*/ 120982 w 147862"/>
                <a:gd name="connsiteY97" fmla="*/ 29244 h 60713"/>
                <a:gd name="connsiteX98" fmla="*/ 118598 w 147862"/>
                <a:gd name="connsiteY98" fmla="*/ 29083 h 60713"/>
                <a:gd name="connsiteX99" fmla="*/ 117985 w 147862"/>
                <a:gd name="connsiteY99" fmla="*/ 28337 h 60713"/>
                <a:gd name="connsiteX100" fmla="*/ 117354 w 147862"/>
                <a:gd name="connsiteY100" fmla="*/ 27917 h 60713"/>
                <a:gd name="connsiteX101" fmla="*/ 117640 w 147862"/>
                <a:gd name="connsiteY101" fmla="*/ 29508 h 60713"/>
                <a:gd name="connsiteX102" fmla="*/ 118110 w 147862"/>
                <a:gd name="connsiteY102" fmla="*/ 30490 h 60713"/>
                <a:gd name="connsiteX103" fmla="*/ 117858 w 147862"/>
                <a:gd name="connsiteY103" fmla="*/ 31673 h 60713"/>
                <a:gd name="connsiteX104" fmla="*/ 117083 w 147862"/>
                <a:gd name="connsiteY104" fmla="*/ 31756 h 60713"/>
                <a:gd name="connsiteX105" fmla="*/ 116420 w 147862"/>
                <a:gd name="connsiteY105" fmla="*/ 30530 h 60713"/>
                <a:gd name="connsiteX106" fmla="*/ 115573 w 147862"/>
                <a:gd name="connsiteY106" fmla="*/ 29424 h 60713"/>
                <a:gd name="connsiteX107" fmla="*/ 114441 w 147862"/>
                <a:gd name="connsiteY107" fmla="*/ 24789 h 60713"/>
                <a:gd name="connsiteX108" fmla="*/ 111732 w 147862"/>
                <a:gd name="connsiteY108" fmla="*/ 22603 h 60713"/>
                <a:gd name="connsiteX109" fmla="*/ 110492 w 147862"/>
                <a:gd name="connsiteY109" fmla="*/ 21876 h 60713"/>
                <a:gd name="connsiteX110" fmla="*/ 109468 w 147862"/>
                <a:gd name="connsiteY110" fmla="*/ 21602 h 60713"/>
                <a:gd name="connsiteX111" fmla="*/ 107960 w 147862"/>
                <a:gd name="connsiteY111" fmla="*/ 20116 h 60713"/>
                <a:gd name="connsiteX112" fmla="*/ 105968 w 147862"/>
                <a:gd name="connsiteY112" fmla="*/ 19321 h 60713"/>
                <a:gd name="connsiteX113" fmla="*/ 103256 w 147862"/>
                <a:gd name="connsiteY113" fmla="*/ 17013 h 60713"/>
                <a:gd name="connsiteX114" fmla="*/ 99929 w 147862"/>
                <a:gd name="connsiteY114" fmla="*/ 15362 h 60713"/>
                <a:gd name="connsiteX115" fmla="*/ 95865 w 147862"/>
                <a:gd name="connsiteY115" fmla="*/ 14776 h 60713"/>
                <a:gd name="connsiteX116" fmla="*/ 90925 w 147862"/>
                <a:gd name="connsiteY116" fmla="*/ 15136 h 60713"/>
                <a:gd name="connsiteX117" fmla="*/ 89262 w 147862"/>
                <a:gd name="connsiteY117" fmla="*/ 16053 h 60713"/>
                <a:gd name="connsiteX118" fmla="*/ 88132 w 147862"/>
                <a:gd name="connsiteY118" fmla="*/ 17219 h 60713"/>
                <a:gd name="connsiteX119" fmla="*/ 87606 w 147862"/>
                <a:gd name="connsiteY119" fmla="*/ 17761 h 60713"/>
                <a:gd name="connsiteX120" fmla="*/ 84688 w 147862"/>
                <a:gd name="connsiteY120" fmla="*/ 19098 h 60713"/>
                <a:gd name="connsiteX121" fmla="*/ 83583 w 147862"/>
                <a:gd name="connsiteY121" fmla="*/ 21030 h 60713"/>
                <a:gd name="connsiteX122" fmla="*/ 82885 w 147862"/>
                <a:gd name="connsiteY122" fmla="*/ 22658 h 60713"/>
                <a:gd name="connsiteX123" fmla="*/ 81431 w 147862"/>
                <a:gd name="connsiteY123" fmla="*/ 24507 h 60713"/>
                <a:gd name="connsiteX124" fmla="*/ 83091 w 147862"/>
                <a:gd name="connsiteY124" fmla="*/ 25624 h 60713"/>
                <a:gd name="connsiteX125" fmla="*/ 73574 w 147862"/>
                <a:gd name="connsiteY125" fmla="*/ 31901 h 60713"/>
                <a:gd name="connsiteX126" fmla="*/ 71690 w 147862"/>
                <a:gd name="connsiteY126" fmla="*/ 32812 h 60713"/>
                <a:gd name="connsiteX127" fmla="*/ 67414 w 147862"/>
                <a:gd name="connsiteY127" fmla="*/ 33455 h 60713"/>
                <a:gd name="connsiteX128" fmla="*/ 66429 w 147862"/>
                <a:gd name="connsiteY128" fmla="*/ 34127 h 60713"/>
                <a:gd name="connsiteX129" fmla="*/ 65125 w 147862"/>
                <a:gd name="connsiteY129" fmla="*/ 35367 h 60713"/>
                <a:gd name="connsiteX130" fmla="*/ 64951 w 147862"/>
                <a:gd name="connsiteY130" fmla="*/ 37254 h 60713"/>
                <a:gd name="connsiteX131" fmla="*/ 65147 w 147862"/>
                <a:gd name="connsiteY131" fmla="*/ 38859 h 60713"/>
                <a:gd name="connsiteX132" fmla="*/ 66389 w 147862"/>
                <a:gd name="connsiteY132" fmla="*/ 40096 h 60713"/>
                <a:gd name="connsiteX133" fmla="*/ 67493 w 147862"/>
                <a:gd name="connsiteY133" fmla="*/ 40876 h 60713"/>
                <a:gd name="connsiteX134" fmla="*/ 70146 w 147862"/>
                <a:gd name="connsiteY134" fmla="*/ 44610 h 60713"/>
                <a:gd name="connsiteX135" fmla="*/ 74856 w 147862"/>
                <a:gd name="connsiteY135" fmla="*/ 49318 h 60713"/>
                <a:gd name="connsiteX136" fmla="*/ 75748 w 147862"/>
                <a:gd name="connsiteY136" fmla="*/ 51033 h 60713"/>
                <a:gd name="connsiteX137" fmla="*/ 76479 w 147862"/>
                <a:gd name="connsiteY137" fmla="*/ 53576 h 60713"/>
                <a:gd name="connsiteX138" fmla="*/ 75057 w 147862"/>
                <a:gd name="connsiteY138" fmla="*/ 54770 h 60713"/>
                <a:gd name="connsiteX139" fmla="*/ 73959 w 147862"/>
                <a:gd name="connsiteY139" fmla="*/ 55274 h 60713"/>
                <a:gd name="connsiteX140" fmla="*/ 69478 w 147862"/>
                <a:gd name="connsiteY140" fmla="*/ 55474 h 60713"/>
                <a:gd name="connsiteX141" fmla="*/ 67933 w 147862"/>
                <a:gd name="connsiteY141" fmla="*/ 56492 h 60713"/>
                <a:gd name="connsiteX142" fmla="*/ 67306 w 147862"/>
                <a:gd name="connsiteY142" fmla="*/ 58047 h 60713"/>
                <a:gd name="connsiteX143" fmla="*/ 65635 w 147862"/>
                <a:gd name="connsiteY143" fmla="*/ 59314 h 60713"/>
                <a:gd name="connsiteX144" fmla="*/ 59858 w 147862"/>
                <a:gd name="connsiteY144" fmla="*/ 60570 h 60713"/>
                <a:gd name="connsiteX145" fmla="*/ 55323 w 147862"/>
                <a:gd name="connsiteY145" fmla="*/ 60713 h 60713"/>
                <a:gd name="connsiteX146" fmla="*/ 53911 w 147862"/>
                <a:gd name="connsiteY146" fmla="*/ 59259 h 60713"/>
                <a:gd name="connsiteX147" fmla="*/ 53571 w 147862"/>
                <a:gd name="connsiteY147" fmla="*/ 55171 h 60713"/>
                <a:gd name="connsiteX148" fmla="*/ 50517 w 147862"/>
                <a:gd name="connsiteY148" fmla="*/ 48194 h 60713"/>
                <a:gd name="connsiteX149" fmla="*/ 49788 w 147862"/>
                <a:gd name="connsiteY149" fmla="*/ 43383 h 60713"/>
                <a:gd name="connsiteX150" fmla="*/ 49025 w 147862"/>
                <a:gd name="connsiteY150" fmla="*/ 43980 h 60713"/>
                <a:gd name="connsiteX151" fmla="*/ 47405 w 147862"/>
                <a:gd name="connsiteY151" fmla="*/ 44540 h 60713"/>
                <a:gd name="connsiteX152" fmla="*/ 46858 w 147862"/>
                <a:gd name="connsiteY152" fmla="*/ 45735 h 60713"/>
                <a:gd name="connsiteX153" fmla="*/ 46451 w 147862"/>
                <a:gd name="connsiteY153" fmla="*/ 49283 h 60713"/>
                <a:gd name="connsiteX154" fmla="*/ 45853 w 147862"/>
                <a:gd name="connsiteY154" fmla="*/ 50494 h 60713"/>
                <a:gd name="connsiteX155" fmla="*/ 44601 w 147862"/>
                <a:gd name="connsiteY155" fmla="*/ 50378 h 60713"/>
                <a:gd name="connsiteX156" fmla="*/ 42036 w 147862"/>
                <a:gd name="connsiteY156" fmla="*/ 49107 h 60713"/>
                <a:gd name="connsiteX157" fmla="*/ 38623 w 147862"/>
                <a:gd name="connsiteY157" fmla="*/ 47938 h 60713"/>
                <a:gd name="connsiteX158" fmla="*/ 34273 w 147862"/>
                <a:gd name="connsiteY158" fmla="*/ 40419 h 60713"/>
                <a:gd name="connsiteX159" fmla="*/ 33802 w 147862"/>
                <a:gd name="connsiteY159" fmla="*/ 39003 h 60713"/>
                <a:gd name="connsiteX160" fmla="*/ 32956 w 147862"/>
                <a:gd name="connsiteY160" fmla="*/ 37316 h 60713"/>
                <a:gd name="connsiteX161" fmla="*/ 29594 w 147862"/>
                <a:gd name="connsiteY161" fmla="*/ 36603 h 60713"/>
                <a:gd name="connsiteX162" fmla="*/ 26728 w 147862"/>
                <a:gd name="connsiteY162" fmla="*/ 35336 h 60713"/>
                <a:gd name="connsiteX163" fmla="*/ 23598 w 147862"/>
                <a:gd name="connsiteY163" fmla="*/ 35140 h 60713"/>
                <a:gd name="connsiteX164" fmla="*/ 21997 w 147862"/>
                <a:gd name="connsiteY164" fmla="*/ 35853 h 60713"/>
                <a:gd name="connsiteX165" fmla="*/ 20363 w 147862"/>
                <a:gd name="connsiteY165" fmla="*/ 34945 h 60713"/>
                <a:gd name="connsiteX166" fmla="*/ 20081 w 147862"/>
                <a:gd name="connsiteY166" fmla="*/ 32887 h 60713"/>
                <a:gd name="connsiteX167" fmla="*/ 16799 w 147862"/>
                <a:gd name="connsiteY167" fmla="*/ 33811 h 60713"/>
                <a:gd name="connsiteX168" fmla="*/ 12587 w 147862"/>
                <a:gd name="connsiteY168" fmla="*/ 33490 h 60713"/>
                <a:gd name="connsiteX169" fmla="*/ 8820 w 147862"/>
                <a:gd name="connsiteY169" fmla="*/ 32607 h 60713"/>
                <a:gd name="connsiteX170" fmla="*/ 6243 w 147862"/>
                <a:gd name="connsiteY170" fmla="*/ 33078 h 60713"/>
                <a:gd name="connsiteX171" fmla="*/ 4088 w 147862"/>
                <a:gd name="connsiteY171" fmla="*/ 34538 h 60713"/>
                <a:gd name="connsiteX172" fmla="*/ 4388 w 147862"/>
                <a:gd name="connsiteY172" fmla="*/ 38286 h 60713"/>
                <a:gd name="connsiteX173" fmla="*/ 3753 w 147862"/>
                <a:gd name="connsiteY173" fmla="*/ 39022 h 60713"/>
                <a:gd name="connsiteX174" fmla="*/ 3653 w 147862"/>
                <a:gd name="connsiteY174" fmla="*/ 37493 h 60713"/>
                <a:gd name="connsiteX175" fmla="*/ 2903 w 147862"/>
                <a:gd name="connsiteY175" fmla="*/ 35731 h 60713"/>
                <a:gd name="connsiteX176" fmla="*/ 2001 w 147862"/>
                <a:gd name="connsiteY176" fmla="*/ 34270 h 60713"/>
                <a:gd name="connsiteX177" fmla="*/ 101 w 147862"/>
                <a:gd name="connsiteY177" fmla="*/ 32760 h 60713"/>
                <a:gd name="connsiteX178" fmla="*/ 0 w 147862"/>
                <a:gd name="connsiteY178" fmla="*/ 32205 h 60713"/>
                <a:gd name="connsiteX179" fmla="*/ 756 w 147862"/>
                <a:gd name="connsiteY179" fmla="*/ 31439 h 60713"/>
                <a:gd name="connsiteX180" fmla="*/ 4203 w 147862"/>
                <a:gd name="connsiteY180" fmla="*/ 29248 h 60713"/>
                <a:gd name="connsiteX181" fmla="*/ 4630 w 147862"/>
                <a:gd name="connsiteY181" fmla="*/ 28333 h 60713"/>
                <a:gd name="connsiteX182" fmla="*/ 4685 w 147862"/>
                <a:gd name="connsiteY182" fmla="*/ 26429 h 60713"/>
                <a:gd name="connsiteX183" fmla="*/ 4352 w 147862"/>
                <a:gd name="connsiteY183" fmla="*/ 24606 h 60713"/>
                <a:gd name="connsiteX184" fmla="*/ 2797 w 147862"/>
                <a:gd name="connsiteY184" fmla="*/ 21923 h 60713"/>
                <a:gd name="connsiteX185" fmla="*/ 3686 w 147862"/>
                <a:gd name="connsiteY185" fmla="*/ 20263 h 60713"/>
                <a:gd name="connsiteX186" fmla="*/ 5463 w 147862"/>
                <a:gd name="connsiteY186" fmla="*/ 18933 h 60713"/>
                <a:gd name="connsiteX187" fmla="*/ 7287 w 147862"/>
                <a:gd name="connsiteY187" fmla="*/ 17881 h 60713"/>
                <a:gd name="connsiteX188" fmla="*/ 7595 w 147862"/>
                <a:gd name="connsiteY188" fmla="*/ 17434 h 60713"/>
                <a:gd name="connsiteX189" fmla="*/ 7257 w 147862"/>
                <a:gd name="connsiteY189" fmla="*/ 16523 h 60713"/>
                <a:gd name="connsiteX190" fmla="*/ 6195 w 147862"/>
                <a:gd name="connsiteY190" fmla="*/ 15537 h 60713"/>
                <a:gd name="connsiteX191" fmla="*/ 3702 w 147862"/>
                <a:gd name="connsiteY191" fmla="*/ 13862 h 60713"/>
                <a:gd name="connsiteX192" fmla="*/ 2207 w 147862"/>
                <a:gd name="connsiteY192" fmla="*/ 13753 h 60713"/>
                <a:gd name="connsiteX193" fmla="*/ 2143 w 147862"/>
                <a:gd name="connsiteY193" fmla="*/ 8926 h 60713"/>
                <a:gd name="connsiteX194" fmla="*/ 2219 w 147862"/>
                <a:gd name="connsiteY194" fmla="*/ 3805 h 60713"/>
                <a:gd name="connsiteX195" fmla="*/ 2594 w 147862"/>
                <a:gd name="connsiteY195" fmla="*/ 3296 h 60713"/>
                <a:gd name="connsiteX196" fmla="*/ 3509 w 147862"/>
                <a:gd name="connsiteY196" fmla="*/ 2990 h 60713"/>
                <a:gd name="connsiteX197" fmla="*/ 4240 w 147862"/>
                <a:gd name="connsiteY197" fmla="*/ 2211 h 60713"/>
                <a:gd name="connsiteX198" fmla="*/ 4650 w 147862"/>
                <a:gd name="connsiteY198" fmla="*/ 693 h 60713"/>
                <a:gd name="connsiteX199" fmla="*/ 5738 w 147862"/>
                <a:gd name="connsiteY199" fmla="*/ 156 h 60713"/>
                <a:gd name="connsiteX200" fmla="*/ 7707 w 147862"/>
                <a:gd name="connsiteY200" fmla="*/ 1325 h 60713"/>
                <a:gd name="connsiteX201" fmla="*/ 9719 w 147862"/>
                <a:gd name="connsiteY201" fmla="*/ 2354 h 60713"/>
                <a:gd name="connsiteX202" fmla="*/ 10550 w 147862"/>
                <a:gd name="connsiteY202" fmla="*/ 2012 h 60713"/>
                <a:gd name="connsiteX203" fmla="*/ 11179 w 147862"/>
                <a:gd name="connsiteY203" fmla="*/ 1512 h 60713"/>
                <a:gd name="connsiteX204" fmla="*/ 11617 w 147862"/>
                <a:gd name="connsiteY204" fmla="*/ 1015 h 60713"/>
                <a:gd name="connsiteX205" fmla="*/ 11760 w 147862"/>
                <a:gd name="connsiteY205" fmla="*/ 543 h 60713"/>
                <a:gd name="connsiteX206" fmla="*/ 13363 w 147862"/>
                <a:gd name="connsiteY206" fmla="*/ 1910 h 60713"/>
                <a:gd name="connsiteX207" fmla="*/ 16648 w 147862"/>
                <a:gd name="connsiteY207" fmla="*/ 4331 h 60713"/>
                <a:gd name="connsiteX208" fmla="*/ 16841 w 147862"/>
                <a:gd name="connsiteY208" fmla="*/ 5524 h 60713"/>
                <a:gd name="connsiteX209" fmla="*/ 16531 w 147862"/>
                <a:gd name="connsiteY209" fmla="*/ 6666 h 60713"/>
                <a:gd name="connsiteX210" fmla="*/ 17435 w 147862"/>
                <a:gd name="connsiteY210" fmla="*/ 9941 h 60713"/>
                <a:gd name="connsiteX211" fmla="*/ 19141 w 147862"/>
                <a:gd name="connsiteY211" fmla="*/ 10416 h 60713"/>
                <a:gd name="connsiteX212" fmla="*/ 20856 w 147862"/>
                <a:gd name="connsiteY212" fmla="*/ 9782 h 60713"/>
                <a:gd name="connsiteX213" fmla="*/ 21280 w 147862"/>
                <a:gd name="connsiteY213" fmla="*/ 10387 h 60713"/>
                <a:gd name="connsiteX214" fmla="*/ 20961 w 147862"/>
                <a:gd name="connsiteY214" fmla="*/ 10992 h 60713"/>
                <a:gd name="connsiteX215" fmla="*/ 20081 w 147862"/>
                <a:gd name="connsiteY215" fmla="*/ 11668 h 60713"/>
                <a:gd name="connsiteX216" fmla="*/ 19859 w 147862"/>
                <a:gd name="connsiteY216" fmla="*/ 14483 h 60713"/>
                <a:gd name="connsiteX217" fmla="*/ 22670 w 147862"/>
                <a:gd name="connsiteY217" fmla="*/ 15799 h 60713"/>
                <a:gd name="connsiteX218" fmla="*/ 24076 w 147862"/>
                <a:gd name="connsiteY218" fmla="*/ 16953 h 60713"/>
                <a:gd name="connsiteX219" fmla="*/ 28735 w 147862"/>
                <a:gd name="connsiteY219" fmla="*/ 16411 h 60713"/>
                <a:gd name="connsiteX220" fmla="*/ 30451 w 147862"/>
                <a:gd name="connsiteY220" fmla="*/ 16717 h 60713"/>
                <a:gd name="connsiteX221" fmla="*/ 31623 w 147862"/>
                <a:gd name="connsiteY221" fmla="*/ 16382 h 60713"/>
                <a:gd name="connsiteX222" fmla="*/ 30323 w 147862"/>
                <a:gd name="connsiteY222" fmla="*/ 14123 h 60713"/>
                <a:gd name="connsiteX223" fmla="*/ 28582 w 147862"/>
                <a:gd name="connsiteY223" fmla="*/ 12450 h 60713"/>
                <a:gd name="connsiteX224" fmla="*/ 28726 w 147862"/>
                <a:gd name="connsiteY224" fmla="*/ 11699 h 60713"/>
                <a:gd name="connsiteX225" fmla="*/ 30047 w 147862"/>
                <a:gd name="connsiteY225" fmla="*/ 12254 h 60713"/>
                <a:gd name="connsiteX226" fmla="*/ 31056 w 147862"/>
                <a:gd name="connsiteY226" fmla="*/ 13394 h 60713"/>
                <a:gd name="connsiteX227" fmla="*/ 33348 w 147862"/>
                <a:gd name="connsiteY227" fmla="*/ 14804 h 60713"/>
                <a:gd name="connsiteX228" fmla="*/ 37571 w 147862"/>
                <a:gd name="connsiteY228" fmla="*/ 19710 h 60713"/>
                <a:gd name="connsiteX229" fmla="*/ 42411 w 147862"/>
                <a:gd name="connsiteY229" fmla="*/ 20896 h 60713"/>
                <a:gd name="connsiteX230" fmla="*/ 46240 w 147862"/>
                <a:gd name="connsiteY230" fmla="*/ 20739 h 60713"/>
                <a:gd name="connsiteX231" fmla="*/ 49807 w 147862"/>
                <a:gd name="connsiteY231" fmla="*/ 20076 h 60713"/>
                <a:gd name="connsiteX232" fmla="*/ 55497 w 147862"/>
                <a:gd name="connsiteY232" fmla="*/ 18171 h 60713"/>
                <a:gd name="connsiteX233" fmla="*/ 59610 w 147862"/>
                <a:gd name="connsiteY233" fmla="*/ 14730 h 60713"/>
                <a:gd name="connsiteX234" fmla="*/ 62897 w 147862"/>
                <a:gd name="connsiteY234" fmla="*/ 13194 h 60713"/>
                <a:gd name="connsiteX235" fmla="*/ 73541 w 147862"/>
                <a:gd name="connsiteY235" fmla="*/ 9923 h 60713"/>
                <a:gd name="connsiteX236" fmla="*/ 77321 w 147862"/>
                <a:gd name="connsiteY236" fmla="*/ 6502 h 60713"/>
                <a:gd name="connsiteX237" fmla="*/ 78917 w 147862"/>
                <a:gd name="connsiteY237" fmla="*/ 6051 h 60713"/>
                <a:gd name="connsiteX238" fmla="*/ 80438 w 147862"/>
                <a:gd name="connsiteY238" fmla="*/ 5623 h 60713"/>
                <a:gd name="connsiteX239" fmla="*/ 83784 w 147862"/>
                <a:gd name="connsiteY239" fmla="*/ 3033 h 60713"/>
                <a:gd name="connsiteX240" fmla="*/ 85581 w 147862"/>
                <a:gd name="connsiteY240" fmla="*/ 1015 h 607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</a:cxnLst>
              <a:rect l="l" t="t" r="r" b="b"/>
              <a:pathLst>
                <a:path w="147862" h="60713">
                  <a:moveTo>
                    <a:pt x="32331" y="50476"/>
                  </a:moveTo>
                  <a:lnTo>
                    <a:pt x="32929" y="50488"/>
                  </a:lnTo>
                  <a:lnTo>
                    <a:pt x="34382" y="52979"/>
                  </a:lnTo>
                  <a:lnTo>
                    <a:pt x="33392" y="53946"/>
                  </a:lnTo>
                  <a:lnTo>
                    <a:pt x="33791" y="55489"/>
                  </a:lnTo>
                  <a:lnTo>
                    <a:pt x="35853" y="56632"/>
                  </a:lnTo>
                  <a:lnTo>
                    <a:pt x="36111" y="57839"/>
                  </a:lnTo>
                  <a:lnTo>
                    <a:pt x="34720" y="57973"/>
                  </a:lnTo>
                  <a:lnTo>
                    <a:pt x="31879" y="56883"/>
                  </a:lnTo>
                  <a:lnTo>
                    <a:pt x="29801" y="54767"/>
                  </a:lnTo>
                  <a:lnTo>
                    <a:pt x="29636" y="54082"/>
                  </a:lnTo>
                  <a:lnTo>
                    <a:pt x="29678" y="53382"/>
                  </a:lnTo>
                  <a:lnTo>
                    <a:pt x="30814" y="51222"/>
                  </a:lnTo>
                  <a:close/>
                  <a:moveTo>
                    <a:pt x="99957" y="33275"/>
                  </a:moveTo>
                  <a:lnTo>
                    <a:pt x="100460" y="34337"/>
                  </a:lnTo>
                  <a:lnTo>
                    <a:pt x="99321" y="35470"/>
                  </a:lnTo>
                  <a:lnTo>
                    <a:pt x="98885" y="34397"/>
                  </a:lnTo>
                  <a:lnTo>
                    <a:pt x="99678" y="33286"/>
                  </a:lnTo>
                  <a:close/>
                  <a:moveTo>
                    <a:pt x="105080" y="29076"/>
                  </a:moveTo>
                  <a:lnTo>
                    <a:pt x="105767" y="29384"/>
                  </a:lnTo>
                  <a:lnTo>
                    <a:pt x="106198" y="31945"/>
                  </a:lnTo>
                  <a:lnTo>
                    <a:pt x="105842" y="33106"/>
                  </a:lnTo>
                  <a:lnTo>
                    <a:pt x="104697" y="33825"/>
                  </a:lnTo>
                  <a:lnTo>
                    <a:pt x="104196" y="34906"/>
                  </a:lnTo>
                  <a:lnTo>
                    <a:pt x="103008" y="32498"/>
                  </a:lnTo>
                  <a:lnTo>
                    <a:pt x="103200" y="31878"/>
                  </a:lnTo>
                  <a:lnTo>
                    <a:pt x="103119" y="29700"/>
                  </a:lnTo>
                  <a:lnTo>
                    <a:pt x="104249" y="29128"/>
                  </a:lnTo>
                  <a:close/>
                  <a:moveTo>
                    <a:pt x="19057" y="4246"/>
                  </a:moveTo>
                  <a:lnTo>
                    <a:pt x="19472" y="4288"/>
                  </a:lnTo>
                  <a:lnTo>
                    <a:pt x="20129" y="5555"/>
                  </a:lnTo>
                  <a:lnTo>
                    <a:pt x="19852" y="6747"/>
                  </a:lnTo>
                  <a:lnTo>
                    <a:pt x="17892" y="4598"/>
                  </a:lnTo>
                  <a:close/>
                  <a:moveTo>
                    <a:pt x="87481" y="0"/>
                  </a:moveTo>
                  <a:lnTo>
                    <a:pt x="93106" y="733"/>
                  </a:lnTo>
                  <a:lnTo>
                    <a:pt x="96754" y="1687"/>
                  </a:lnTo>
                  <a:lnTo>
                    <a:pt x="99273" y="1563"/>
                  </a:lnTo>
                  <a:lnTo>
                    <a:pt x="101696" y="2237"/>
                  </a:lnTo>
                  <a:lnTo>
                    <a:pt x="102753" y="3706"/>
                  </a:lnTo>
                  <a:lnTo>
                    <a:pt x="103853" y="4334"/>
                  </a:lnTo>
                  <a:lnTo>
                    <a:pt x="109805" y="4173"/>
                  </a:lnTo>
                  <a:lnTo>
                    <a:pt x="114687" y="4901"/>
                  </a:lnTo>
                  <a:lnTo>
                    <a:pt x="125377" y="9249"/>
                  </a:lnTo>
                  <a:lnTo>
                    <a:pt x="131767" y="13548"/>
                  </a:lnTo>
                  <a:lnTo>
                    <a:pt x="135153" y="18114"/>
                  </a:lnTo>
                  <a:lnTo>
                    <a:pt x="143344" y="24019"/>
                  </a:lnTo>
                  <a:lnTo>
                    <a:pt x="142866" y="24367"/>
                  </a:lnTo>
                  <a:lnTo>
                    <a:pt x="141465" y="26380"/>
                  </a:lnTo>
                  <a:lnTo>
                    <a:pt x="140700" y="28102"/>
                  </a:lnTo>
                  <a:lnTo>
                    <a:pt x="142506" y="29920"/>
                  </a:lnTo>
                  <a:lnTo>
                    <a:pt x="143048" y="31850"/>
                  </a:lnTo>
                  <a:lnTo>
                    <a:pt x="144072" y="33946"/>
                  </a:lnTo>
                  <a:lnTo>
                    <a:pt x="145666" y="36052"/>
                  </a:lnTo>
                  <a:lnTo>
                    <a:pt x="147449" y="39960"/>
                  </a:lnTo>
                  <a:lnTo>
                    <a:pt x="147862" y="41527"/>
                  </a:lnTo>
                  <a:lnTo>
                    <a:pt x="147356" y="42547"/>
                  </a:lnTo>
                  <a:lnTo>
                    <a:pt x="145658" y="43168"/>
                  </a:lnTo>
                  <a:lnTo>
                    <a:pt x="144070" y="44996"/>
                  </a:lnTo>
                  <a:lnTo>
                    <a:pt x="143634" y="47227"/>
                  </a:lnTo>
                  <a:lnTo>
                    <a:pt x="143938" y="48329"/>
                  </a:lnTo>
                  <a:lnTo>
                    <a:pt x="139184" y="51888"/>
                  </a:lnTo>
                  <a:lnTo>
                    <a:pt x="137959" y="52480"/>
                  </a:lnTo>
                  <a:lnTo>
                    <a:pt x="137147" y="51932"/>
                  </a:lnTo>
                  <a:lnTo>
                    <a:pt x="136133" y="50145"/>
                  </a:lnTo>
                  <a:lnTo>
                    <a:pt x="134922" y="48702"/>
                  </a:lnTo>
                  <a:lnTo>
                    <a:pt x="134271" y="48199"/>
                  </a:lnTo>
                  <a:lnTo>
                    <a:pt x="133893" y="48175"/>
                  </a:lnTo>
                  <a:lnTo>
                    <a:pt x="133513" y="48507"/>
                  </a:lnTo>
                  <a:lnTo>
                    <a:pt x="133340" y="49292"/>
                  </a:lnTo>
                  <a:lnTo>
                    <a:pt x="133970" y="52636"/>
                  </a:lnTo>
                  <a:lnTo>
                    <a:pt x="133442" y="53993"/>
                  </a:lnTo>
                  <a:lnTo>
                    <a:pt x="131830" y="55036"/>
                  </a:lnTo>
                  <a:lnTo>
                    <a:pt x="129982" y="60477"/>
                  </a:lnTo>
                  <a:lnTo>
                    <a:pt x="129257" y="59789"/>
                  </a:lnTo>
                  <a:lnTo>
                    <a:pt x="123163" y="52461"/>
                  </a:lnTo>
                  <a:lnTo>
                    <a:pt x="117886" y="43379"/>
                  </a:lnTo>
                  <a:lnTo>
                    <a:pt x="116786" y="39268"/>
                  </a:lnTo>
                  <a:lnTo>
                    <a:pt x="118154" y="39025"/>
                  </a:lnTo>
                  <a:lnTo>
                    <a:pt x="119478" y="39117"/>
                  </a:lnTo>
                  <a:lnTo>
                    <a:pt x="120189" y="38483"/>
                  </a:lnTo>
                  <a:lnTo>
                    <a:pt x="121013" y="37287"/>
                  </a:lnTo>
                  <a:lnTo>
                    <a:pt x="120345" y="34507"/>
                  </a:lnTo>
                  <a:lnTo>
                    <a:pt x="122912" y="32395"/>
                  </a:lnTo>
                  <a:lnTo>
                    <a:pt x="123878" y="30971"/>
                  </a:lnTo>
                  <a:lnTo>
                    <a:pt x="124589" y="31136"/>
                  </a:lnTo>
                  <a:lnTo>
                    <a:pt x="126266" y="33558"/>
                  </a:lnTo>
                  <a:lnTo>
                    <a:pt x="128702" y="34949"/>
                  </a:lnTo>
                  <a:lnTo>
                    <a:pt x="131694" y="36967"/>
                  </a:lnTo>
                  <a:lnTo>
                    <a:pt x="133548" y="37424"/>
                  </a:lnTo>
                  <a:lnTo>
                    <a:pt x="131205" y="35308"/>
                  </a:lnTo>
                  <a:lnTo>
                    <a:pt x="127159" y="32520"/>
                  </a:lnTo>
                  <a:lnTo>
                    <a:pt x="126026" y="30689"/>
                  </a:lnTo>
                  <a:lnTo>
                    <a:pt x="124954" y="28140"/>
                  </a:lnTo>
                  <a:lnTo>
                    <a:pt x="123373" y="29244"/>
                  </a:lnTo>
                  <a:lnTo>
                    <a:pt x="122639" y="30173"/>
                  </a:lnTo>
                  <a:lnTo>
                    <a:pt x="121820" y="30701"/>
                  </a:lnTo>
                  <a:lnTo>
                    <a:pt x="121109" y="30068"/>
                  </a:lnTo>
                  <a:lnTo>
                    <a:pt x="120982" y="29244"/>
                  </a:lnTo>
                  <a:lnTo>
                    <a:pt x="118598" y="29083"/>
                  </a:lnTo>
                  <a:lnTo>
                    <a:pt x="117985" y="28337"/>
                  </a:lnTo>
                  <a:lnTo>
                    <a:pt x="117354" y="27917"/>
                  </a:lnTo>
                  <a:lnTo>
                    <a:pt x="117640" y="29508"/>
                  </a:lnTo>
                  <a:lnTo>
                    <a:pt x="118110" y="30490"/>
                  </a:lnTo>
                  <a:lnTo>
                    <a:pt x="117858" y="31673"/>
                  </a:lnTo>
                  <a:lnTo>
                    <a:pt x="117083" y="31756"/>
                  </a:lnTo>
                  <a:lnTo>
                    <a:pt x="116420" y="30530"/>
                  </a:lnTo>
                  <a:lnTo>
                    <a:pt x="115573" y="29424"/>
                  </a:lnTo>
                  <a:lnTo>
                    <a:pt x="114441" y="24789"/>
                  </a:lnTo>
                  <a:lnTo>
                    <a:pt x="111732" y="22603"/>
                  </a:lnTo>
                  <a:lnTo>
                    <a:pt x="110492" y="21876"/>
                  </a:lnTo>
                  <a:lnTo>
                    <a:pt x="109468" y="21602"/>
                  </a:lnTo>
                  <a:lnTo>
                    <a:pt x="107960" y="20116"/>
                  </a:lnTo>
                  <a:lnTo>
                    <a:pt x="105968" y="19321"/>
                  </a:lnTo>
                  <a:lnTo>
                    <a:pt x="103256" y="17013"/>
                  </a:lnTo>
                  <a:lnTo>
                    <a:pt x="99929" y="15362"/>
                  </a:lnTo>
                  <a:lnTo>
                    <a:pt x="95865" y="14776"/>
                  </a:lnTo>
                  <a:lnTo>
                    <a:pt x="90925" y="15136"/>
                  </a:lnTo>
                  <a:lnTo>
                    <a:pt x="89262" y="16053"/>
                  </a:lnTo>
                  <a:lnTo>
                    <a:pt x="88132" y="17219"/>
                  </a:lnTo>
                  <a:lnTo>
                    <a:pt x="87606" y="17761"/>
                  </a:lnTo>
                  <a:lnTo>
                    <a:pt x="84688" y="19098"/>
                  </a:lnTo>
                  <a:lnTo>
                    <a:pt x="83583" y="21030"/>
                  </a:lnTo>
                  <a:lnTo>
                    <a:pt x="82885" y="22658"/>
                  </a:lnTo>
                  <a:lnTo>
                    <a:pt x="81431" y="24507"/>
                  </a:lnTo>
                  <a:lnTo>
                    <a:pt x="83091" y="25624"/>
                  </a:lnTo>
                  <a:lnTo>
                    <a:pt x="73574" y="31901"/>
                  </a:lnTo>
                  <a:lnTo>
                    <a:pt x="71690" y="32812"/>
                  </a:lnTo>
                  <a:lnTo>
                    <a:pt x="67414" y="33455"/>
                  </a:lnTo>
                  <a:lnTo>
                    <a:pt x="66429" y="34127"/>
                  </a:lnTo>
                  <a:lnTo>
                    <a:pt x="65125" y="35367"/>
                  </a:lnTo>
                  <a:lnTo>
                    <a:pt x="64951" y="37254"/>
                  </a:lnTo>
                  <a:lnTo>
                    <a:pt x="65147" y="38859"/>
                  </a:lnTo>
                  <a:lnTo>
                    <a:pt x="66389" y="40096"/>
                  </a:lnTo>
                  <a:lnTo>
                    <a:pt x="67493" y="40876"/>
                  </a:lnTo>
                  <a:lnTo>
                    <a:pt x="70146" y="44610"/>
                  </a:lnTo>
                  <a:lnTo>
                    <a:pt x="74856" y="49318"/>
                  </a:lnTo>
                  <a:lnTo>
                    <a:pt x="75748" y="51033"/>
                  </a:lnTo>
                  <a:lnTo>
                    <a:pt x="76479" y="53576"/>
                  </a:lnTo>
                  <a:lnTo>
                    <a:pt x="75057" y="54770"/>
                  </a:lnTo>
                  <a:lnTo>
                    <a:pt x="73959" y="55274"/>
                  </a:lnTo>
                  <a:lnTo>
                    <a:pt x="69478" y="55474"/>
                  </a:lnTo>
                  <a:lnTo>
                    <a:pt x="67933" y="56492"/>
                  </a:lnTo>
                  <a:lnTo>
                    <a:pt x="67306" y="58047"/>
                  </a:lnTo>
                  <a:lnTo>
                    <a:pt x="65635" y="59314"/>
                  </a:lnTo>
                  <a:lnTo>
                    <a:pt x="59858" y="60570"/>
                  </a:lnTo>
                  <a:lnTo>
                    <a:pt x="55323" y="60713"/>
                  </a:lnTo>
                  <a:lnTo>
                    <a:pt x="53911" y="59259"/>
                  </a:lnTo>
                  <a:lnTo>
                    <a:pt x="53571" y="55171"/>
                  </a:lnTo>
                  <a:lnTo>
                    <a:pt x="50517" y="48194"/>
                  </a:lnTo>
                  <a:lnTo>
                    <a:pt x="49788" y="43383"/>
                  </a:lnTo>
                  <a:lnTo>
                    <a:pt x="49025" y="43980"/>
                  </a:lnTo>
                  <a:lnTo>
                    <a:pt x="47405" y="44540"/>
                  </a:lnTo>
                  <a:lnTo>
                    <a:pt x="46858" y="45735"/>
                  </a:lnTo>
                  <a:lnTo>
                    <a:pt x="46451" y="49283"/>
                  </a:lnTo>
                  <a:lnTo>
                    <a:pt x="45853" y="50494"/>
                  </a:lnTo>
                  <a:lnTo>
                    <a:pt x="44601" y="50378"/>
                  </a:lnTo>
                  <a:lnTo>
                    <a:pt x="42036" y="49107"/>
                  </a:lnTo>
                  <a:lnTo>
                    <a:pt x="38623" y="47938"/>
                  </a:lnTo>
                  <a:lnTo>
                    <a:pt x="34273" y="40419"/>
                  </a:lnTo>
                  <a:lnTo>
                    <a:pt x="33802" y="39003"/>
                  </a:lnTo>
                  <a:lnTo>
                    <a:pt x="32956" y="37316"/>
                  </a:lnTo>
                  <a:lnTo>
                    <a:pt x="29594" y="36603"/>
                  </a:lnTo>
                  <a:lnTo>
                    <a:pt x="26728" y="35336"/>
                  </a:lnTo>
                  <a:lnTo>
                    <a:pt x="23598" y="35140"/>
                  </a:lnTo>
                  <a:lnTo>
                    <a:pt x="21997" y="35853"/>
                  </a:lnTo>
                  <a:lnTo>
                    <a:pt x="20363" y="34945"/>
                  </a:lnTo>
                  <a:lnTo>
                    <a:pt x="20081" y="32887"/>
                  </a:lnTo>
                  <a:lnTo>
                    <a:pt x="16799" y="33811"/>
                  </a:lnTo>
                  <a:lnTo>
                    <a:pt x="12587" y="33490"/>
                  </a:lnTo>
                  <a:lnTo>
                    <a:pt x="8820" y="32607"/>
                  </a:lnTo>
                  <a:lnTo>
                    <a:pt x="6243" y="33078"/>
                  </a:lnTo>
                  <a:lnTo>
                    <a:pt x="4088" y="34538"/>
                  </a:lnTo>
                  <a:lnTo>
                    <a:pt x="4388" y="38286"/>
                  </a:lnTo>
                  <a:lnTo>
                    <a:pt x="3753" y="39022"/>
                  </a:lnTo>
                  <a:lnTo>
                    <a:pt x="3653" y="37493"/>
                  </a:lnTo>
                  <a:lnTo>
                    <a:pt x="2903" y="35731"/>
                  </a:lnTo>
                  <a:lnTo>
                    <a:pt x="2001" y="34270"/>
                  </a:lnTo>
                  <a:lnTo>
                    <a:pt x="101" y="32760"/>
                  </a:lnTo>
                  <a:lnTo>
                    <a:pt x="0" y="32205"/>
                  </a:lnTo>
                  <a:lnTo>
                    <a:pt x="756" y="31439"/>
                  </a:lnTo>
                  <a:lnTo>
                    <a:pt x="4203" y="29248"/>
                  </a:lnTo>
                  <a:lnTo>
                    <a:pt x="4630" y="28333"/>
                  </a:lnTo>
                  <a:lnTo>
                    <a:pt x="4685" y="26429"/>
                  </a:lnTo>
                  <a:lnTo>
                    <a:pt x="4352" y="24606"/>
                  </a:lnTo>
                  <a:lnTo>
                    <a:pt x="2797" y="21923"/>
                  </a:lnTo>
                  <a:lnTo>
                    <a:pt x="3686" y="20263"/>
                  </a:lnTo>
                  <a:lnTo>
                    <a:pt x="5463" y="18933"/>
                  </a:lnTo>
                  <a:lnTo>
                    <a:pt x="7287" y="17881"/>
                  </a:lnTo>
                  <a:lnTo>
                    <a:pt x="7595" y="17434"/>
                  </a:lnTo>
                  <a:lnTo>
                    <a:pt x="7257" y="16523"/>
                  </a:lnTo>
                  <a:lnTo>
                    <a:pt x="6195" y="15537"/>
                  </a:lnTo>
                  <a:lnTo>
                    <a:pt x="3702" y="13862"/>
                  </a:lnTo>
                  <a:lnTo>
                    <a:pt x="2207" y="13753"/>
                  </a:lnTo>
                  <a:lnTo>
                    <a:pt x="2143" y="8926"/>
                  </a:lnTo>
                  <a:lnTo>
                    <a:pt x="2219" y="3805"/>
                  </a:lnTo>
                  <a:lnTo>
                    <a:pt x="2594" y="3296"/>
                  </a:lnTo>
                  <a:lnTo>
                    <a:pt x="3509" y="2990"/>
                  </a:lnTo>
                  <a:lnTo>
                    <a:pt x="4240" y="2211"/>
                  </a:lnTo>
                  <a:lnTo>
                    <a:pt x="4650" y="693"/>
                  </a:lnTo>
                  <a:lnTo>
                    <a:pt x="5738" y="156"/>
                  </a:lnTo>
                  <a:lnTo>
                    <a:pt x="7707" y="1325"/>
                  </a:lnTo>
                  <a:lnTo>
                    <a:pt x="9719" y="2354"/>
                  </a:lnTo>
                  <a:lnTo>
                    <a:pt x="10550" y="2012"/>
                  </a:lnTo>
                  <a:lnTo>
                    <a:pt x="11179" y="1512"/>
                  </a:lnTo>
                  <a:lnTo>
                    <a:pt x="11617" y="1015"/>
                  </a:lnTo>
                  <a:lnTo>
                    <a:pt x="11760" y="543"/>
                  </a:lnTo>
                  <a:lnTo>
                    <a:pt x="13363" y="1910"/>
                  </a:lnTo>
                  <a:lnTo>
                    <a:pt x="16648" y="4331"/>
                  </a:lnTo>
                  <a:lnTo>
                    <a:pt x="16841" y="5524"/>
                  </a:lnTo>
                  <a:lnTo>
                    <a:pt x="16531" y="6666"/>
                  </a:lnTo>
                  <a:lnTo>
                    <a:pt x="17435" y="9941"/>
                  </a:lnTo>
                  <a:lnTo>
                    <a:pt x="19141" y="10416"/>
                  </a:lnTo>
                  <a:lnTo>
                    <a:pt x="20856" y="9782"/>
                  </a:lnTo>
                  <a:lnTo>
                    <a:pt x="21280" y="10387"/>
                  </a:lnTo>
                  <a:lnTo>
                    <a:pt x="20961" y="10992"/>
                  </a:lnTo>
                  <a:lnTo>
                    <a:pt x="20081" y="11668"/>
                  </a:lnTo>
                  <a:lnTo>
                    <a:pt x="19859" y="14483"/>
                  </a:lnTo>
                  <a:lnTo>
                    <a:pt x="22670" y="15799"/>
                  </a:lnTo>
                  <a:lnTo>
                    <a:pt x="24076" y="16953"/>
                  </a:lnTo>
                  <a:lnTo>
                    <a:pt x="28735" y="16411"/>
                  </a:lnTo>
                  <a:lnTo>
                    <a:pt x="30451" y="16717"/>
                  </a:lnTo>
                  <a:lnTo>
                    <a:pt x="31623" y="16382"/>
                  </a:lnTo>
                  <a:lnTo>
                    <a:pt x="30323" y="14123"/>
                  </a:lnTo>
                  <a:lnTo>
                    <a:pt x="28582" y="12450"/>
                  </a:lnTo>
                  <a:lnTo>
                    <a:pt x="28726" y="11699"/>
                  </a:lnTo>
                  <a:lnTo>
                    <a:pt x="30047" y="12254"/>
                  </a:lnTo>
                  <a:lnTo>
                    <a:pt x="31056" y="13394"/>
                  </a:lnTo>
                  <a:lnTo>
                    <a:pt x="33348" y="14804"/>
                  </a:lnTo>
                  <a:lnTo>
                    <a:pt x="37571" y="19710"/>
                  </a:lnTo>
                  <a:lnTo>
                    <a:pt x="42411" y="20896"/>
                  </a:lnTo>
                  <a:lnTo>
                    <a:pt x="46240" y="20739"/>
                  </a:lnTo>
                  <a:lnTo>
                    <a:pt x="49807" y="20076"/>
                  </a:lnTo>
                  <a:lnTo>
                    <a:pt x="55497" y="18171"/>
                  </a:lnTo>
                  <a:lnTo>
                    <a:pt x="59610" y="14730"/>
                  </a:lnTo>
                  <a:lnTo>
                    <a:pt x="62897" y="13194"/>
                  </a:lnTo>
                  <a:lnTo>
                    <a:pt x="73541" y="9923"/>
                  </a:lnTo>
                  <a:lnTo>
                    <a:pt x="77321" y="6502"/>
                  </a:lnTo>
                  <a:lnTo>
                    <a:pt x="78917" y="6051"/>
                  </a:lnTo>
                  <a:lnTo>
                    <a:pt x="80438" y="5623"/>
                  </a:lnTo>
                  <a:lnTo>
                    <a:pt x="83784" y="3033"/>
                  </a:lnTo>
                  <a:lnTo>
                    <a:pt x="85581" y="1015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47" name="ee4p_PE_1_37365">
              <a:extLst>
                <a:ext uri="{FF2B5EF4-FFF2-40B4-BE49-F238E27FC236}">
                  <a16:creationId xmlns:a16="http://schemas.microsoft.com/office/drawing/2014/main" id="{015B9BE5-C08D-19D6-8B62-4C4003F94991}"/>
                </a:ext>
              </a:extLst>
            </p:cNvPr>
            <p:cNvSpPr>
              <a:spLocks noChangeAspect="1"/>
            </p:cNvSpPr>
            <p:nvPr>
              <p:custDataLst>
                <p:tags r:id="rId401"/>
              </p:custDataLst>
            </p:nvPr>
          </p:nvSpPr>
          <p:spPr>
            <a:xfrm>
              <a:off x="4256035" y="4676974"/>
              <a:ext cx="351323" cy="527947"/>
            </a:xfrm>
            <a:custGeom>
              <a:avLst/>
              <a:gdLst/>
              <a:ahLst/>
              <a:cxnLst/>
              <a:rect l="0" t="0" r="0" b="0"/>
              <a:pathLst>
                <a:path w="279750" h="409249">
                  <a:moveTo>
                    <a:pt x="251431" y="92797"/>
                  </a:moveTo>
                  <a:lnTo>
                    <a:pt x="251296" y="94243"/>
                  </a:lnTo>
                  <a:lnTo>
                    <a:pt x="250590" y="94820"/>
                  </a:lnTo>
                  <a:lnTo>
                    <a:pt x="249498" y="94950"/>
                  </a:lnTo>
                  <a:lnTo>
                    <a:pt x="247829" y="93920"/>
                  </a:lnTo>
                  <a:lnTo>
                    <a:pt x="246609" y="94176"/>
                  </a:lnTo>
                  <a:lnTo>
                    <a:pt x="245389" y="94243"/>
                  </a:lnTo>
                  <a:lnTo>
                    <a:pt x="243670" y="93042"/>
                  </a:lnTo>
                  <a:lnTo>
                    <a:pt x="243078" y="91861"/>
                  </a:lnTo>
                  <a:lnTo>
                    <a:pt x="241730" y="90896"/>
                  </a:lnTo>
                  <a:lnTo>
                    <a:pt x="238943" y="91283"/>
                  </a:lnTo>
                  <a:lnTo>
                    <a:pt x="236646" y="91307"/>
                  </a:lnTo>
                  <a:lnTo>
                    <a:pt x="234722" y="91091"/>
                  </a:lnTo>
                  <a:lnTo>
                    <a:pt x="232998" y="91411"/>
                  </a:lnTo>
                  <a:lnTo>
                    <a:pt x="231528" y="92657"/>
                  </a:lnTo>
                  <a:lnTo>
                    <a:pt x="230431" y="94113"/>
                  </a:lnTo>
                  <a:lnTo>
                    <a:pt x="229147" y="95335"/>
                  </a:lnTo>
                  <a:lnTo>
                    <a:pt x="225376" y="96148"/>
                  </a:lnTo>
                  <a:lnTo>
                    <a:pt x="223369" y="96170"/>
                  </a:lnTo>
                  <a:lnTo>
                    <a:pt x="221560" y="96970"/>
                  </a:lnTo>
                  <a:lnTo>
                    <a:pt x="218874" y="97265"/>
                  </a:lnTo>
                  <a:lnTo>
                    <a:pt x="217037" y="97977"/>
                  </a:lnTo>
                  <a:lnTo>
                    <a:pt x="213786" y="98366"/>
                  </a:lnTo>
                  <a:lnTo>
                    <a:pt x="209886" y="98745"/>
                  </a:lnTo>
                  <a:lnTo>
                    <a:pt x="207710" y="99829"/>
                  </a:lnTo>
                  <a:lnTo>
                    <a:pt x="206842" y="100300"/>
                  </a:lnTo>
                  <a:lnTo>
                    <a:pt x="204628" y="101800"/>
                  </a:lnTo>
                  <a:lnTo>
                    <a:pt x="200775" y="104163"/>
                  </a:lnTo>
                  <a:lnTo>
                    <a:pt x="198651" y="104985"/>
                  </a:lnTo>
                  <a:lnTo>
                    <a:pt x="196082" y="107539"/>
                  </a:lnTo>
                  <a:lnTo>
                    <a:pt x="193001" y="109940"/>
                  </a:lnTo>
                  <a:lnTo>
                    <a:pt x="191003" y="111217"/>
                  </a:lnTo>
                  <a:lnTo>
                    <a:pt x="188057" y="111806"/>
                  </a:lnTo>
                  <a:lnTo>
                    <a:pt x="186838" y="112449"/>
                  </a:lnTo>
                  <a:lnTo>
                    <a:pt x="186387" y="113224"/>
                  </a:lnTo>
                  <a:lnTo>
                    <a:pt x="186645" y="114122"/>
                  </a:lnTo>
                  <a:lnTo>
                    <a:pt x="186148" y="116435"/>
                  </a:lnTo>
                  <a:lnTo>
                    <a:pt x="185249" y="120707"/>
                  </a:lnTo>
                  <a:lnTo>
                    <a:pt x="184999" y="122802"/>
                  </a:lnTo>
                  <a:lnTo>
                    <a:pt x="184786" y="123805"/>
                  </a:lnTo>
                  <a:lnTo>
                    <a:pt x="182836" y="127236"/>
                  </a:lnTo>
                  <a:lnTo>
                    <a:pt x="180739" y="130428"/>
                  </a:lnTo>
                  <a:lnTo>
                    <a:pt x="179711" y="132543"/>
                  </a:lnTo>
                  <a:lnTo>
                    <a:pt x="179132" y="134090"/>
                  </a:lnTo>
                  <a:lnTo>
                    <a:pt x="179775" y="135377"/>
                  </a:lnTo>
                  <a:lnTo>
                    <a:pt x="180632" y="137690"/>
                  </a:lnTo>
                  <a:lnTo>
                    <a:pt x="181348" y="139548"/>
                  </a:lnTo>
                  <a:lnTo>
                    <a:pt x="181548" y="140803"/>
                  </a:lnTo>
                  <a:lnTo>
                    <a:pt x="181304" y="142245"/>
                  </a:lnTo>
                  <a:lnTo>
                    <a:pt x="180417" y="143563"/>
                  </a:lnTo>
                  <a:lnTo>
                    <a:pt x="179027" y="144426"/>
                  </a:lnTo>
                  <a:lnTo>
                    <a:pt x="177144" y="144662"/>
                  </a:lnTo>
                  <a:lnTo>
                    <a:pt x="173287" y="146989"/>
                  </a:lnTo>
                  <a:lnTo>
                    <a:pt x="168983" y="150417"/>
                  </a:lnTo>
                  <a:lnTo>
                    <a:pt x="167578" y="152015"/>
                  </a:lnTo>
                  <a:lnTo>
                    <a:pt x="167176" y="153521"/>
                  </a:lnTo>
                  <a:lnTo>
                    <a:pt x="166549" y="155884"/>
                  </a:lnTo>
                  <a:lnTo>
                    <a:pt x="166806" y="157110"/>
                  </a:lnTo>
                  <a:lnTo>
                    <a:pt x="167576" y="157948"/>
                  </a:lnTo>
                  <a:lnTo>
                    <a:pt x="168346" y="159949"/>
                  </a:lnTo>
                  <a:lnTo>
                    <a:pt x="168411" y="160982"/>
                  </a:lnTo>
                  <a:lnTo>
                    <a:pt x="167769" y="161562"/>
                  </a:lnTo>
                  <a:lnTo>
                    <a:pt x="166549" y="161692"/>
                  </a:lnTo>
                  <a:lnTo>
                    <a:pt x="165457" y="161885"/>
                  </a:lnTo>
                  <a:lnTo>
                    <a:pt x="164623" y="162402"/>
                  </a:lnTo>
                  <a:lnTo>
                    <a:pt x="163789" y="162271"/>
                  </a:lnTo>
                  <a:lnTo>
                    <a:pt x="163018" y="162530"/>
                  </a:lnTo>
                  <a:lnTo>
                    <a:pt x="163018" y="163370"/>
                  </a:lnTo>
                  <a:lnTo>
                    <a:pt x="163275" y="164338"/>
                  </a:lnTo>
                  <a:lnTo>
                    <a:pt x="163147" y="165370"/>
                  </a:lnTo>
                  <a:lnTo>
                    <a:pt x="162633" y="166017"/>
                  </a:lnTo>
                  <a:lnTo>
                    <a:pt x="162183" y="166468"/>
                  </a:lnTo>
                  <a:lnTo>
                    <a:pt x="162633" y="167113"/>
                  </a:lnTo>
                  <a:lnTo>
                    <a:pt x="163403" y="167696"/>
                  </a:lnTo>
                  <a:lnTo>
                    <a:pt x="164559" y="168664"/>
                  </a:lnTo>
                  <a:lnTo>
                    <a:pt x="166163" y="170536"/>
                  </a:lnTo>
                  <a:lnTo>
                    <a:pt x="167383" y="170860"/>
                  </a:lnTo>
                  <a:lnTo>
                    <a:pt x="168411" y="171505"/>
                  </a:lnTo>
                  <a:lnTo>
                    <a:pt x="168540" y="172539"/>
                  </a:lnTo>
                  <a:lnTo>
                    <a:pt x="168154" y="173571"/>
                  </a:lnTo>
                  <a:lnTo>
                    <a:pt x="167255" y="174023"/>
                  </a:lnTo>
                  <a:lnTo>
                    <a:pt x="167191" y="174929"/>
                  </a:lnTo>
                  <a:lnTo>
                    <a:pt x="168411" y="176026"/>
                  </a:lnTo>
                  <a:lnTo>
                    <a:pt x="169246" y="176802"/>
                  </a:lnTo>
                  <a:lnTo>
                    <a:pt x="170080" y="177964"/>
                  </a:lnTo>
                  <a:lnTo>
                    <a:pt x="170850" y="179579"/>
                  </a:lnTo>
                  <a:lnTo>
                    <a:pt x="170850" y="180614"/>
                  </a:lnTo>
                  <a:lnTo>
                    <a:pt x="171685" y="181905"/>
                  </a:lnTo>
                  <a:lnTo>
                    <a:pt x="172199" y="183005"/>
                  </a:lnTo>
                  <a:lnTo>
                    <a:pt x="172199" y="184039"/>
                  </a:lnTo>
                  <a:lnTo>
                    <a:pt x="173547" y="185072"/>
                  </a:lnTo>
                  <a:lnTo>
                    <a:pt x="174702" y="185849"/>
                  </a:lnTo>
                  <a:lnTo>
                    <a:pt x="175537" y="186559"/>
                  </a:lnTo>
                  <a:lnTo>
                    <a:pt x="176372" y="187012"/>
                  </a:lnTo>
                  <a:lnTo>
                    <a:pt x="176564" y="187788"/>
                  </a:lnTo>
                  <a:lnTo>
                    <a:pt x="176453" y="188965"/>
                  </a:lnTo>
                  <a:lnTo>
                    <a:pt x="177653" y="190903"/>
                  </a:lnTo>
                  <a:lnTo>
                    <a:pt x="179849" y="192358"/>
                  </a:lnTo>
                  <a:lnTo>
                    <a:pt x="181631" y="194469"/>
                  </a:lnTo>
                  <a:lnTo>
                    <a:pt x="182782" y="196000"/>
                  </a:lnTo>
                  <a:lnTo>
                    <a:pt x="184915" y="198460"/>
                  </a:lnTo>
                  <a:lnTo>
                    <a:pt x="184996" y="201290"/>
                  </a:lnTo>
                  <a:lnTo>
                    <a:pt x="182354" y="204536"/>
                  </a:lnTo>
                  <a:lnTo>
                    <a:pt x="179710" y="207785"/>
                  </a:lnTo>
                  <a:lnTo>
                    <a:pt x="184036" y="207696"/>
                  </a:lnTo>
                  <a:lnTo>
                    <a:pt x="188448" y="207761"/>
                  </a:lnTo>
                  <a:lnTo>
                    <a:pt x="193065" y="208691"/>
                  </a:lnTo>
                  <a:lnTo>
                    <a:pt x="196177" y="209587"/>
                  </a:lnTo>
                  <a:lnTo>
                    <a:pt x="198072" y="209987"/>
                  </a:lnTo>
                  <a:lnTo>
                    <a:pt x="199420" y="211025"/>
                  </a:lnTo>
                  <a:lnTo>
                    <a:pt x="200062" y="212644"/>
                  </a:lnTo>
                  <a:lnTo>
                    <a:pt x="200575" y="213966"/>
                  </a:lnTo>
                  <a:lnTo>
                    <a:pt x="200705" y="215882"/>
                  </a:lnTo>
                  <a:lnTo>
                    <a:pt x="202631" y="217439"/>
                  </a:lnTo>
                  <a:lnTo>
                    <a:pt x="202493" y="218914"/>
                  </a:lnTo>
                  <a:lnTo>
                    <a:pt x="202438" y="221003"/>
                  </a:lnTo>
                  <a:lnTo>
                    <a:pt x="203292" y="221036"/>
                  </a:lnTo>
                  <a:lnTo>
                    <a:pt x="208942" y="221045"/>
                  </a:lnTo>
                  <a:lnTo>
                    <a:pt x="215121" y="221055"/>
                  </a:lnTo>
                  <a:lnTo>
                    <a:pt x="221060" y="220665"/>
                  </a:lnTo>
                  <a:lnTo>
                    <a:pt x="223304" y="220162"/>
                  </a:lnTo>
                  <a:lnTo>
                    <a:pt x="226016" y="217626"/>
                  </a:lnTo>
                  <a:lnTo>
                    <a:pt x="227642" y="216874"/>
                  </a:lnTo>
                  <a:lnTo>
                    <a:pt x="229212" y="215690"/>
                  </a:lnTo>
                  <a:lnTo>
                    <a:pt x="231119" y="213533"/>
                  </a:lnTo>
                  <a:lnTo>
                    <a:pt x="232628" y="212556"/>
                  </a:lnTo>
                  <a:lnTo>
                    <a:pt x="233905" y="211360"/>
                  </a:lnTo>
                  <a:lnTo>
                    <a:pt x="235808" y="210162"/>
                  </a:lnTo>
                  <a:lnTo>
                    <a:pt x="236594" y="209275"/>
                  </a:lnTo>
                  <a:lnTo>
                    <a:pt x="237235" y="208951"/>
                  </a:lnTo>
                  <a:lnTo>
                    <a:pt x="238712" y="208367"/>
                  </a:lnTo>
                  <a:lnTo>
                    <a:pt x="238070" y="209534"/>
                  </a:lnTo>
                  <a:lnTo>
                    <a:pt x="237582" y="210730"/>
                  </a:lnTo>
                  <a:lnTo>
                    <a:pt x="237428" y="212450"/>
                  </a:lnTo>
                  <a:lnTo>
                    <a:pt x="238134" y="214326"/>
                  </a:lnTo>
                  <a:lnTo>
                    <a:pt x="237547" y="215729"/>
                  </a:lnTo>
                  <a:lnTo>
                    <a:pt x="236594" y="216985"/>
                  </a:lnTo>
                  <a:lnTo>
                    <a:pt x="236579" y="220290"/>
                  </a:lnTo>
                  <a:lnTo>
                    <a:pt x="236558" y="224975"/>
                  </a:lnTo>
                  <a:lnTo>
                    <a:pt x="236540" y="228991"/>
                  </a:lnTo>
                  <a:lnTo>
                    <a:pt x="236518" y="234014"/>
                  </a:lnTo>
                  <a:lnTo>
                    <a:pt x="236491" y="239711"/>
                  </a:lnTo>
                  <a:lnTo>
                    <a:pt x="236474" y="243502"/>
                  </a:lnTo>
                  <a:lnTo>
                    <a:pt x="237487" y="242754"/>
                  </a:lnTo>
                  <a:lnTo>
                    <a:pt x="238886" y="242084"/>
                  </a:lnTo>
                  <a:lnTo>
                    <a:pt x="240707" y="243828"/>
                  </a:lnTo>
                  <a:lnTo>
                    <a:pt x="242003" y="244583"/>
                  </a:lnTo>
                  <a:lnTo>
                    <a:pt x="243115" y="244765"/>
                  </a:lnTo>
                  <a:lnTo>
                    <a:pt x="244256" y="244710"/>
                  </a:lnTo>
                  <a:lnTo>
                    <a:pt x="245811" y="244339"/>
                  </a:lnTo>
                  <a:lnTo>
                    <a:pt x="249211" y="242879"/>
                  </a:lnTo>
                  <a:lnTo>
                    <a:pt x="251554" y="241704"/>
                  </a:lnTo>
                  <a:lnTo>
                    <a:pt x="254220" y="241782"/>
                  </a:lnTo>
                  <a:lnTo>
                    <a:pt x="257885" y="242246"/>
                  </a:lnTo>
                  <a:lnTo>
                    <a:pt x="259995" y="242193"/>
                  </a:lnTo>
                  <a:lnTo>
                    <a:pt x="262759" y="247049"/>
                  </a:lnTo>
                  <a:lnTo>
                    <a:pt x="264784" y="250604"/>
                  </a:lnTo>
                  <a:lnTo>
                    <a:pt x="267091" y="254659"/>
                  </a:lnTo>
                  <a:lnTo>
                    <a:pt x="268948" y="257923"/>
                  </a:lnTo>
                  <a:lnTo>
                    <a:pt x="271768" y="262885"/>
                  </a:lnTo>
                  <a:lnTo>
                    <a:pt x="274204" y="267171"/>
                  </a:lnTo>
                  <a:lnTo>
                    <a:pt x="276798" y="271739"/>
                  </a:lnTo>
                  <a:lnTo>
                    <a:pt x="279749" y="276937"/>
                  </a:lnTo>
                  <a:lnTo>
                    <a:pt x="278801" y="278257"/>
                  </a:lnTo>
                  <a:lnTo>
                    <a:pt x="278032" y="279312"/>
                  </a:lnTo>
                  <a:lnTo>
                    <a:pt x="278117" y="281097"/>
                  </a:lnTo>
                  <a:lnTo>
                    <a:pt x="276951" y="282049"/>
                  </a:lnTo>
                  <a:lnTo>
                    <a:pt x="275715" y="282624"/>
                  </a:lnTo>
                  <a:lnTo>
                    <a:pt x="274254" y="284127"/>
                  </a:lnTo>
                  <a:lnTo>
                    <a:pt x="273262" y="285431"/>
                  </a:lnTo>
                  <a:lnTo>
                    <a:pt x="273220" y="287285"/>
                  </a:lnTo>
                  <a:lnTo>
                    <a:pt x="273403" y="296726"/>
                  </a:lnTo>
                  <a:lnTo>
                    <a:pt x="273156" y="299293"/>
                  </a:lnTo>
                  <a:lnTo>
                    <a:pt x="272402" y="301501"/>
                  </a:lnTo>
                  <a:lnTo>
                    <a:pt x="271621" y="302615"/>
                  </a:lnTo>
                  <a:lnTo>
                    <a:pt x="271150" y="303491"/>
                  </a:lnTo>
                  <a:lnTo>
                    <a:pt x="272280" y="305686"/>
                  </a:lnTo>
                  <a:lnTo>
                    <a:pt x="273358" y="310096"/>
                  </a:lnTo>
                  <a:lnTo>
                    <a:pt x="274172" y="310967"/>
                  </a:lnTo>
                  <a:lnTo>
                    <a:pt x="275184" y="312764"/>
                  </a:lnTo>
                  <a:lnTo>
                    <a:pt x="275644" y="314464"/>
                  </a:lnTo>
                  <a:lnTo>
                    <a:pt x="275436" y="315121"/>
                  </a:lnTo>
                  <a:lnTo>
                    <a:pt x="273413" y="315922"/>
                  </a:lnTo>
                  <a:lnTo>
                    <a:pt x="272690" y="316614"/>
                  </a:lnTo>
                  <a:lnTo>
                    <a:pt x="272499" y="319146"/>
                  </a:lnTo>
                  <a:lnTo>
                    <a:pt x="271622" y="320056"/>
                  </a:lnTo>
                  <a:lnTo>
                    <a:pt x="270142" y="321246"/>
                  </a:lnTo>
                  <a:lnTo>
                    <a:pt x="269192" y="322615"/>
                  </a:lnTo>
                  <a:lnTo>
                    <a:pt x="268383" y="323554"/>
                  </a:lnTo>
                  <a:lnTo>
                    <a:pt x="267595" y="324107"/>
                  </a:lnTo>
                  <a:lnTo>
                    <a:pt x="267210" y="325779"/>
                  </a:lnTo>
                  <a:lnTo>
                    <a:pt x="266686" y="327469"/>
                  </a:lnTo>
                  <a:lnTo>
                    <a:pt x="264841" y="328585"/>
                  </a:lnTo>
                  <a:lnTo>
                    <a:pt x="264525" y="330668"/>
                  </a:lnTo>
                  <a:lnTo>
                    <a:pt x="264504" y="332374"/>
                  </a:lnTo>
                  <a:lnTo>
                    <a:pt x="265477" y="334092"/>
                  </a:lnTo>
                  <a:lnTo>
                    <a:pt x="268652" y="337705"/>
                  </a:lnTo>
                  <a:lnTo>
                    <a:pt x="268976" y="338562"/>
                  </a:lnTo>
                  <a:lnTo>
                    <a:pt x="267166" y="340740"/>
                  </a:lnTo>
                  <a:lnTo>
                    <a:pt x="266114" y="342245"/>
                  </a:lnTo>
                  <a:lnTo>
                    <a:pt x="263535" y="346864"/>
                  </a:lnTo>
                  <a:lnTo>
                    <a:pt x="263482" y="347707"/>
                  </a:lnTo>
                  <a:lnTo>
                    <a:pt x="264124" y="349888"/>
                  </a:lnTo>
                  <a:lnTo>
                    <a:pt x="267978" y="359233"/>
                  </a:lnTo>
                  <a:lnTo>
                    <a:pt x="268633" y="359998"/>
                  </a:lnTo>
                  <a:lnTo>
                    <a:pt x="269822" y="360886"/>
                  </a:lnTo>
                  <a:lnTo>
                    <a:pt x="271767" y="360789"/>
                  </a:lnTo>
                  <a:lnTo>
                    <a:pt x="274703" y="361793"/>
                  </a:lnTo>
                  <a:lnTo>
                    <a:pt x="276132" y="362948"/>
                  </a:lnTo>
                  <a:lnTo>
                    <a:pt x="276266" y="363517"/>
                  </a:lnTo>
                  <a:lnTo>
                    <a:pt x="275934" y="363901"/>
                  </a:lnTo>
                  <a:lnTo>
                    <a:pt x="274381" y="364679"/>
                  </a:lnTo>
                  <a:lnTo>
                    <a:pt x="272651" y="365692"/>
                  </a:lnTo>
                  <a:lnTo>
                    <a:pt x="272062" y="366652"/>
                  </a:lnTo>
                  <a:lnTo>
                    <a:pt x="271941" y="368167"/>
                  </a:lnTo>
                  <a:lnTo>
                    <a:pt x="272332" y="370428"/>
                  </a:lnTo>
                  <a:lnTo>
                    <a:pt x="271583" y="371158"/>
                  </a:lnTo>
                  <a:lnTo>
                    <a:pt x="269859" y="372039"/>
                  </a:lnTo>
                  <a:lnTo>
                    <a:pt x="268371" y="373298"/>
                  </a:lnTo>
                  <a:lnTo>
                    <a:pt x="266880" y="375401"/>
                  </a:lnTo>
                  <a:lnTo>
                    <a:pt x="264353" y="378595"/>
                  </a:lnTo>
                  <a:lnTo>
                    <a:pt x="263478" y="379474"/>
                  </a:lnTo>
                  <a:lnTo>
                    <a:pt x="263097" y="380574"/>
                  </a:lnTo>
                  <a:lnTo>
                    <a:pt x="261660" y="380948"/>
                  </a:lnTo>
                  <a:lnTo>
                    <a:pt x="258972" y="383120"/>
                  </a:lnTo>
                  <a:lnTo>
                    <a:pt x="258511" y="384220"/>
                  </a:lnTo>
                  <a:lnTo>
                    <a:pt x="258950" y="385265"/>
                  </a:lnTo>
                  <a:lnTo>
                    <a:pt x="260322" y="386141"/>
                  </a:lnTo>
                  <a:lnTo>
                    <a:pt x="261248" y="387419"/>
                  </a:lnTo>
                  <a:lnTo>
                    <a:pt x="261490" y="389045"/>
                  </a:lnTo>
                  <a:lnTo>
                    <a:pt x="261488" y="390059"/>
                  </a:lnTo>
                  <a:lnTo>
                    <a:pt x="261491" y="390086"/>
                  </a:lnTo>
                  <a:lnTo>
                    <a:pt x="259822" y="391617"/>
                  </a:lnTo>
                  <a:lnTo>
                    <a:pt x="257648" y="393363"/>
                  </a:lnTo>
                  <a:lnTo>
                    <a:pt x="254965" y="393708"/>
                  </a:lnTo>
                  <a:lnTo>
                    <a:pt x="253948" y="394594"/>
                  </a:lnTo>
                  <a:lnTo>
                    <a:pt x="254182" y="396450"/>
                  </a:lnTo>
                  <a:lnTo>
                    <a:pt x="255046" y="399070"/>
                  </a:lnTo>
                  <a:lnTo>
                    <a:pt x="255042" y="401130"/>
                  </a:lnTo>
                  <a:lnTo>
                    <a:pt x="254222" y="403487"/>
                  </a:lnTo>
                  <a:lnTo>
                    <a:pt x="252305" y="406058"/>
                  </a:lnTo>
                  <a:lnTo>
                    <a:pt x="249371" y="407828"/>
                  </a:lnTo>
                  <a:lnTo>
                    <a:pt x="246613" y="408781"/>
                  </a:lnTo>
                  <a:lnTo>
                    <a:pt x="244436" y="408785"/>
                  </a:lnTo>
                  <a:lnTo>
                    <a:pt x="242330" y="408973"/>
                  </a:lnTo>
                  <a:lnTo>
                    <a:pt x="241429" y="409248"/>
                  </a:lnTo>
                  <a:lnTo>
                    <a:pt x="239807" y="407696"/>
                  </a:lnTo>
                  <a:lnTo>
                    <a:pt x="232601" y="402552"/>
                  </a:lnTo>
                  <a:lnTo>
                    <a:pt x="229854" y="399801"/>
                  </a:lnTo>
                  <a:lnTo>
                    <a:pt x="227314" y="398516"/>
                  </a:lnTo>
                  <a:lnTo>
                    <a:pt x="221114" y="394109"/>
                  </a:lnTo>
                  <a:lnTo>
                    <a:pt x="220496" y="392695"/>
                  </a:lnTo>
                  <a:lnTo>
                    <a:pt x="219733" y="388170"/>
                  </a:lnTo>
                  <a:lnTo>
                    <a:pt x="218927" y="386896"/>
                  </a:lnTo>
                  <a:lnTo>
                    <a:pt x="216796" y="385263"/>
                  </a:lnTo>
                  <a:lnTo>
                    <a:pt x="211440" y="383089"/>
                  </a:lnTo>
                  <a:lnTo>
                    <a:pt x="209364" y="382001"/>
                  </a:lnTo>
                  <a:lnTo>
                    <a:pt x="207185" y="380021"/>
                  </a:lnTo>
                  <a:lnTo>
                    <a:pt x="203992" y="378621"/>
                  </a:lnTo>
                  <a:lnTo>
                    <a:pt x="200514" y="375747"/>
                  </a:lnTo>
                  <a:lnTo>
                    <a:pt x="198437" y="373447"/>
                  </a:lnTo>
                  <a:lnTo>
                    <a:pt x="196112" y="371926"/>
                  </a:lnTo>
                  <a:lnTo>
                    <a:pt x="188897" y="369800"/>
                  </a:lnTo>
                  <a:lnTo>
                    <a:pt x="185276" y="367673"/>
                  </a:lnTo>
                  <a:lnTo>
                    <a:pt x="178508" y="364668"/>
                  </a:lnTo>
                  <a:lnTo>
                    <a:pt x="175495" y="362755"/>
                  </a:lnTo>
                  <a:lnTo>
                    <a:pt x="168250" y="360426"/>
                  </a:lnTo>
                  <a:lnTo>
                    <a:pt x="166099" y="359318"/>
                  </a:lnTo>
                  <a:lnTo>
                    <a:pt x="158977" y="353867"/>
                  </a:lnTo>
                  <a:lnTo>
                    <a:pt x="153983" y="352088"/>
                  </a:lnTo>
                  <a:lnTo>
                    <a:pt x="149959" y="349029"/>
                  </a:lnTo>
                  <a:lnTo>
                    <a:pt x="137812" y="342528"/>
                  </a:lnTo>
                  <a:lnTo>
                    <a:pt x="135904" y="340451"/>
                  </a:lnTo>
                  <a:lnTo>
                    <a:pt x="134046" y="337239"/>
                  </a:lnTo>
                  <a:lnTo>
                    <a:pt x="131347" y="335326"/>
                  </a:lnTo>
                  <a:lnTo>
                    <a:pt x="128317" y="330933"/>
                  </a:lnTo>
                  <a:lnTo>
                    <a:pt x="123805" y="328351"/>
                  </a:lnTo>
                  <a:lnTo>
                    <a:pt x="119467" y="324932"/>
                  </a:lnTo>
                  <a:lnTo>
                    <a:pt x="117865" y="321821"/>
                  </a:lnTo>
                  <a:lnTo>
                    <a:pt x="114987" y="317861"/>
                  </a:lnTo>
                  <a:lnTo>
                    <a:pt x="114132" y="315748"/>
                  </a:lnTo>
                  <a:lnTo>
                    <a:pt x="111614" y="313638"/>
                  </a:lnTo>
                  <a:lnTo>
                    <a:pt x="111437" y="309475"/>
                  </a:lnTo>
                  <a:lnTo>
                    <a:pt x="109680" y="307552"/>
                  </a:lnTo>
                  <a:lnTo>
                    <a:pt x="110940" y="306615"/>
                  </a:lnTo>
                  <a:lnTo>
                    <a:pt x="112272" y="306194"/>
                  </a:lnTo>
                  <a:lnTo>
                    <a:pt x="113937" y="299717"/>
                  </a:lnTo>
                  <a:lnTo>
                    <a:pt x="113060" y="296475"/>
                  </a:lnTo>
                  <a:lnTo>
                    <a:pt x="108555" y="290599"/>
                  </a:lnTo>
                  <a:lnTo>
                    <a:pt x="106901" y="287775"/>
                  </a:lnTo>
                  <a:lnTo>
                    <a:pt x="105728" y="284158"/>
                  </a:lnTo>
                  <a:lnTo>
                    <a:pt x="103917" y="282014"/>
                  </a:lnTo>
                  <a:lnTo>
                    <a:pt x="101243" y="277502"/>
                  </a:lnTo>
                  <a:lnTo>
                    <a:pt x="99604" y="273497"/>
                  </a:lnTo>
                  <a:lnTo>
                    <a:pt x="96023" y="270591"/>
                  </a:lnTo>
                  <a:lnTo>
                    <a:pt x="95049" y="269548"/>
                  </a:lnTo>
                  <a:lnTo>
                    <a:pt x="94506" y="268069"/>
                  </a:lnTo>
                  <a:lnTo>
                    <a:pt x="92515" y="267026"/>
                  </a:lnTo>
                  <a:lnTo>
                    <a:pt x="92407" y="263956"/>
                  </a:lnTo>
                  <a:lnTo>
                    <a:pt x="91021" y="258127"/>
                  </a:lnTo>
                  <a:lnTo>
                    <a:pt x="89040" y="255192"/>
                  </a:lnTo>
                  <a:lnTo>
                    <a:pt x="81891" y="249714"/>
                  </a:lnTo>
                  <a:lnTo>
                    <a:pt x="81772" y="247604"/>
                  </a:lnTo>
                  <a:lnTo>
                    <a:pt x="81203" y="243766"/>
                  </a:lnTo>
                  <a:lnTo>
                    <a:pt x="79616" y="239619"/>
                  </a:lnTo>
                  <a:lnTo>
                    <a:pt x="71670" y="226742"/>
                  </a:lnTo>
                  <a:lnTo>
                    <a:pt x="69676" y="222909"/>
                  </a:lnTo>
                  <a:lnTo>
                    <a:pt x="67687" y="216686"/>
                  </a:lnTo>
                  <a:lnTo>
                    <a:pt x="65898" y="213154"/>
                  </a:lnTo>
                  <a:lnTo>
                    <a:pt x="63926" y="206875"/>
                  </a:lnTo>
                  <a:lnTo>
                    <a:pt x="60953" y="202104"/>
                  </a:lnTo>
                  <a:lnTo>
                    <a:pt x="59085" y="197968"/>
                  </a:lnTo>
                  <a:lnTo>
                    <a:pt x="57095" y="192828"/>
                  </a:lnTo>
                  <a:lnTo>
                    <a:pt x="56925" y="190079"/>
                  </a:lnTo>
                  <a:lnTo>
                    <a:pt x="53318" y="185348"/>
                  </a:lnTo>
                  <a:lnTo>
                    <a:pt x="51397" y="181020"/>
                  </a:lnTo>
                  <a:lnTo>
                    <a:pt x="48033" y="177393"/>
                  </a:lnTo>
                  <a:lnTo>
                    <a:pt x="44751" y="174635"/>
                  </a:lnTo>
                  <a:lnTo>
                    <a:pt x="43327" y="172684"/>
                  </a:lnTo>
                  <a:lnTo>
                    <a:pt x="38647" y="163420"/>
                  </a:lnTo>
                  <a:lnTo>
                    <a:pt x="38009" y="160678"/>
                  </a:lnTo>
                  <a:lnTo>
                    <a:pt x="34820" y="155587"/>
                  </a:lnTo>
                  <a:lnTo>
                    <a:pt x="31664" y="151924"/>
                  </a:lnTo>
                  <a:lnTo>
                    <a:pt x="29667" y="148976"/>
                  </a:lnTo>
                  <a:lnTo>
                    <a:pt x="27118" y="146326"/>
                  </a:lnTo>
                  <a:lnTo>
                    <a:pt x="11609" y="138169"/>
                  </a:lnTo>
                  <a:lnTo>
                    <a:pt x="6152" y="134777"/>
                  </a:lnTo>
                  <a:lnTo>
                    <a:pt x="4303" y="133164"/>
                  </a:lnTo>
                  <a:lnTo>
                    <a:pt x="3452" y="130627"/>
                  </a:lnTo>
                  <a:lnTo>
                    <a:pt x="3811" y="129138"/>
                  </a:lnTo>
                  <a:lnTo>
                    <a:pt x="5413" y="127743"/>
                  </a:lnTo>
                  <a:lnTo>
                    <a:pt x="7629" y="128820"/>
                  </a:lnTo>
                  <a:lnTo>
                    <a:pt x="8977" y="128373"/>
                  </a:lnTo>
                  <a:lnTo>
                    <a:pt x="10037" y="126558"/>
                  </a:lnTo>
                  <a:lnTo>
                    <a:pt x="10055" y="123809"/>
                  </a:lnTo>
                  <a:lnTo>
                    <a:pt x="8702" y="120268"/>
                  </a:lnTo>
                  <a:lnTo>
                    <a:pt x="3736" y="113432"/>
                  </a:lnTo>
                  <a:lnTo>
                    <a:pt x="4111" y="111986"/>
                  </a:lnTo>
                  <a:lnTo>
                    <a:pt x="5045" y="110345"/>
                  </a:lnTo>
                  <a:lnTo>
                    <a:pt x="3131" y="107057"/>
                  </a:lnTo>
                  <a:lnTo>
                    <a:pt x="1045" y="104425"/>
                  </a:lnTo>
                  <a:lnTo>
                    <a:pt x="0" y="102404"/>
                  </a:lnTo>
                  <a:lnTo>
                    <a:pt x="1182" y="94710"/>
                  </a:lnTo>
                  <a:lnTo>
                    <a:pt x="2313" y="92761"/>
                  </a:lnTo>
                  <a:lnTo>
                    <a:pt x="9833" y="84951"/>
                  </a:lnTo>
                  <a:lnTo>
                    <a:pt x="11898" y="81616"/>
                  </a:lnTo>
                  <a:lnTo>
                    <a:pt x="15123" y="79560"/>
                  </a:lnTo>
                  <a:lnTo>
                    <a:pt x="18419" y="76414"/>
                  </a:lnTo>
                  <a:lnTo>
                    <a:pt x="22377" y="74019"/>
                  </a:lnTo>
                  <a:lnTo>
                    <a:pt x="22959" y="74429"/>
                  </a:lnTo>
                  <a:lnTo>
                    <a:pt x="23508" y="74831"/>
                  </a:lnTo>
                  <a:lnTo>
                    <a:pt x="23544" y="75638"/>
                  </a:lnTo>
                  <a:lnTo>
                    <a:pt x="23691" y="76334"/>
                  </a:lnTo>
                  <a:lnTo>
                    <a:pt x="24130" y="76991"/>
                  </a:lnTo>
                  <a:lnTo>
                    <a:pt x="24166" y="78200"/>
                  </a:lnTo>
                  <a:lnTo>
                    <a:pt x="24678" y="79006"/>
                  </a:lnTo>
                  <a:lnTo>
                    <a:pt x="24715" y="79921"/>
                  </a:lnTo>
                  <a:lnTo>
                    <a:pt x="24751" y="81166"/>
                  </a:lnTo>
                  <a:lnTo>
                    <a:pt x="24496" y="81789"/>
                  </a:lnTo>
                  <a:lnTo>
                    <a:pt x="24745" y="82870"/>
                  </a:lnTo>
                  <a:lnTo>
                    <a:pt x="25593" y="84864"/>
                  </a:lnTo>
                  <a:lnTo>
                    <a:pt x="25263" y="85487"/>
                  </a:lnTo>
                  <a:lnTo>
                    <a:pt x="24459" y="85889"/>
                  </a:lnTo>
                  <a:lnTo>
                    <a:pt x="23655" y="86438"/>
                  </a:lnTo>
                  <a:lnTo>
                    <a:pt x="22850" y="87684"/>
                  </a:lnTo>
                  <a:lnTo>
                    <a:pt x="21643" y="87647"/>
                  </a:lnTo>
                  <a:lnTo>
                    <a:pt x="19888" y="87098"/>
                  </a:lnTo>
                  <a:lnTo>
                    <a:pt x="18718" y="87795"/>
                  </a:lnTo>
                  <a:lnTo>
                    <a:pt x="18279" y="89112"/>
                  </a:lnTo>
                  <a:lnTo>
                    <a:pt x="18645" y="90210"/>
                  </a:lnTo>
                  <a:lnTo>
                    <a:pt x="18755" y="91238"/>
                  </a:lnTo>
                  <a:lnTo>
                    <a:pt x="19523" y="92116"/>
                  </a:lnTo>
                  <a:lnTo>
                    <a:pt x="21753" y="92190"/>
                  </a:lnTo>
                  <a:lnTo>
                    <a:pt x="19742" y="95010"/>
                  </a:lnTo>
                  <a:lnTo>
                    <a:pt x="18755" y="96291"/>
                  </a:lnTo>
                  <a:lnTo>
                    <a:pt x="18974" y="97098"/>
                  </a:lnTo>
                  <a:lnTo>
                    <a:pt x="20177" y="97793"/>
                  </a:lnTo>
                  <a:lnTo>
                    <a:pt x="21076" y="97842"/>
                  </a:lnTo>
                  <a:lnTo>
                    <a:pt x="23069" y="96804"/>
                  </a:lnTo>
                  <a:lnTo>
                    <a:pt x="24422" y="95303"/>
                  </a:lnTo>
                  <a:lnTo>
                    <a:pt x="25190" y="94461"/>
                  </a:lnTo>
                  <a:lnTo>
                    <a:pt x="26470" y="94130"/>
                  </a:lnTo>
                  <a:lnTo>
                    <a:pt x="28151" y="94827"/>
                  </a:lnTo>
                  <a:lnTo>
                    <a:pt x="30377" y="96218"/>
                  </a:lnTo>
                  <a:lnTo>
                    <a:pt x="32981" y="97449"/>
                  </a:lnTo>
                  <a:lnTo>
                    <a:pt x="34039" y="98124"/>
                  </a:lnTo>
                  <a:lnTo>
                    <a:pt x="35947" y="97929"/>
                  </a:lnTo>
                  <a:lnTo>
                    <a:pt x="37549" y="97648"/>
                  </a:lnTo>
                  <a:lnTo>
                    <a:pt x="38895" y="98660"/>
                  </a:lnTo>
                  <a:lnTo>
                    <a:pt x="40255" y="99515"/>
                  </a:lnTo>
                  <a:lnTo>
                    <a:pt x="40570" y="102427"/>
                  </a:lnTo>
                  <a:lnTo>
                    <a:pt x="41590" y="104546"/>
                  </a:lnTo>
                  <a:lnTo>
                    <a:pt x="42836" y="106182"/>
                  </a:lnTo>
                  <a:lnTo>
                    <a:pt x="44350" y="108128"/>
                  </a:lnTo>
                  <a:lnTo>
                    <a:pt x="45740" y="108788"/>
                  </a:lnTo>
                  <a:lnTo>
                    <a:pt x="47541" y="108801"/>
                  </a:lnTo>
                  <a:lnTo>
                    <a:pt x="49982" y="109520"/>
                  </a:lnTo>
                  <a:lnTo>
                    <a:pt x="50932" y="109044"/>
                  </a:lnTo>
                  <a:lnTo>
                    <a:pt x="51773" y="107689"/>
                  </a:lnTo>
                  <a:lnTo>
                    <a:pt x="52213" y="106918"/>
                  </a:lnTo>
                  <a:lnTo>
                    <a:pt x="53455" y="106589"/>
                  </a:lnTo>
                  <a:lnTo>
                    <a:pt x="53565" y="105708"/>
                  </a:lnTo>
                  <a:lnTo>
                    <a:pt x="53309" y="104646"/>
                  </a:lnTo>
                  <a:lnTo>
                    <a:pt x="53711" y="103399"/>
                  </a:lnTo>
                  <a:lnTo>
                    <a:pt x="54730" y="102304"/>
                  </a:lnTo>
                  <a:lnTo>
                    <a:pt x="57350" y="100701"/>
                  </a:lnTo>
                  <a:lnTo>
                    <a:pt x="58611" y="100030"/>
                  </a:lnTo>
                  <a:lnTo>
                    <a:pt x="58867" y="99039"/>
                  </a:lnTo>
                  <a:lnTo>
                    <a:pt x="59343" y="97721"/>
                  </a:lnTo>
                  <a:lnTo>
                    <a:pt x="59159" y="96988"/>
                  </a:lnTo>
                  <a:lnTo>
                    <a:pt x="58630" y="96077"/>
                  </a:lnTo>
                  <a:lnTo>
                    <a:pt x="58758" y="94790"/>
                  </a:lnTo>
                  <a:lnTo>
                    <a:pt x="59452" y="93068"/>
                  </a:lnTo>
                  <a:lnTo>
                    <a:pt x="60439" y="91056"/>
                  </a:lnTo>
                  <a:lnTo>
                    <a:pt x="61284" y="88493"/>
                  </a:lnTo>
                  <a:lnTo>
                    <a:pt x="61609" y="87282"/>
                  </a:lnTo>
                  <a:lnTo>
                    <a:pt x="62524" y="86512"/>
                  </a:lnTo>
                  <a:lnTo>
                    <a:pt x="62869" y="85402"/>
                  </a:lnTo>
                  <a:lnTo>
                    <a:pt x="63365" y="84096"/>
                  </a:lnTo>
                  <a:lnTo>
                    <a:pt x="64498" y="82630"/>
                  </a:lnTo>
                  <a:lnTo>
                    <a:pt x="64462" y="81056"/>
                  </a:lnTo>
                  <a:lnTo>
                    <a:pt x="64937" y="80360"/>
                  </a:lnTo>
                  <a:lnTo>
                    <a:pt x="64979" y="78600"/>
                  </a:lnTo>
                  <a:lnTo>
                    <a:pt x="66101" y="74978"/>
                  </a:lnTo>
                  <a:lnTo>
                    <a:pt x="66144" y="74228"/>
                  </a:lnTo>
                  <a:lnTo>
                    <a:pt x="66637" y="74027"/>
                  </a:lnTo>
                  <a:lnTo>
                    <a:pt x="67497" y="74265"/>
                  </a:lnTo>
                  <a:lnTo>
                    <a:pt x="68236" y="75086"/>
                  </a:lnTo>
                  <a:lnTo>
                    <a:pt x="68465" y="75893"/>
                  </a:lnTo>
                  <a:lnTo>
                    <a:pt x="68776" y="76260"/>
                  </a:lnTo>
                  <a:lnTo>
                    <a:pt x="69471" y="76187"/>
                  </a:lnTo>
                  <a:lnTo>
                    <a:pt x="70276" y="75729"/>
                  </a:lnTo>
                  <a:lnTo>
                    <a:pt x="70221" y="74998"/>
                  </a:lnTo>
                  <a:lnTo>
                    <a:pt x="69635" y="74282"/>
                  </a:lnTo>
                  <a:lnTo>
                    <a:pt x="69477" y="73854"/>
                  </a:lnTo>
                  <a:lnTo>
                    <a:pt x="69727" y="73184"/>
                  </a:lnTo>
                  <a:lnTo>
                    <a:pt x="70945" y="71716"/>
                  </a:lnTo>
                  <a:lnTo>
                    <a:pt x="72279" y="70011"/>
                  </a:lnTo>
                  <a:lnTo>
                    <a:pt x="75141" y="66473"/>
                  </a:lnTo>
                  <a:lnTo>
                    <a:pt x="76863" y="65027"/>
                  </a:lnTo>
                  <a:lnTo>
                    <a:pt x="81321" y="63494"/>
                  </a:lnTo>
                  <a:lnTo>
                    <a:pt x="84693" y="62334"/>
                  </a:lnTo>
                  <a:lnTo>
                    <a:pt x="87931" y="61221"/>
                  </a:lnTo>
                  <a:lnTo>
                    <a:pt x="92322" y="59628"/>
                  </a:lnTo>
                  <a:lnTo>
                    <a:pt x="98529" y="57377"/>
                  </a:lnTo>
                  <a:lnTo>
                    <a:pt x="102988" y="55754"/>
                  </a:lnTo>
                  <a:lnTo>
                    <a:pt x="106963" y="52872"/>
                  </a:lnTo>
                  <a:lnTo>
                    <a:pt x="110041" y="50638"/>
                  </a:lnTo>
                  <a:lnTo>
                    <a:pt x="112677" y="48704"/>
                  </a:lnTo>
                  <a:lnTo>
                    <a:pt x="116019" y="46252"/>
                  </a:lnTo>
                  <a:lnTo>
                    <a:pt x="120537" y="40951"/>
                  </a:lnTo>
                  <a:lnTo>
                    <a:pt x="123654" y="37293"/>
                  </a:lnTo>
                  <a:lnTo>
                    <a:pt x="125928" y="34621"/>
                  </a:lnTo>
                  <a:lnTo>
                    <a:pt x="127500" y="32939"/>
                  </a:lnTo>
                  <a:lnTo>
                    <a:pt x="128754" y="28185"/>
                  </a:lnTo>
                  <a:lnTo>
                    <a:pt x="130185" y="22764"/>
                  </a:lnTo>
                  <a:lnTo>
                    <a:pt x="130821" y="20354"/>
                  </a:lnTo>
                  <a:lnTo>
                    <a:pt x="131094" y="19517"/>
                  </a:lnTo>
                  <a:lnTo>
                    <a:pt x="131711" y="19868"/>
                  </a:lnTo>
                  <a:lnTo>
                    <a:pt x="132418" y="20456"/>
                  </a:lnTo>
                  <a:lnTo>
                    <a:pt x="133280" y="20484"/>
                  </a:lnTo>
                  <a:lnTo>
                    <a:pt x="134093" y="20456"/>
                  </a:lnTo>
                  <a:lnTo>
                    <a:pt x="134597" y="20125"/>
                  </a:lnTo>
                  <a:lnTo>
                    <a:pt x="133846" y="14714"/>
                  </a:lnTo>
                  <a:lnTo>
                    <a:pt x="133954" y="13537"/>
                  </a:lnTo>
                  <a:lnTo>
                    <a:pt x="134381" y="12127"/>
                  </a:lnTo>
                  <a:lnTo>
                    <a:pt x="134296" y="11358"/>
                  </a:lnTo>
                  <a:lnTo>
                    <a:pt x="132925" y="10278"/>
                  </a:lnTo>
                  <a:lnTo>
                    <a:pt x="130726" y="8119"/>
                  </a:lnTo>
                  <a:lnTo>
                    <a:pt x="129813" y="6193"/>
                  </a:lnTo>
                  <a:lnTo>
                    <a:pt x="129258" y="4569"/>
                  </a:lnTo>
                  <a:lnTo>
                    <a:pt x="127721" y="3502"/>
                  </a:lnTo>
                  <a:lnTo>
                    <a:pt x="126141" y="2563"/>
                  </a:lnTo>
                  <a:lnTo>
                    <a:pt x="126269" y="1794"/>
                  </a:lnTo>
                  <a:lnTo>
                    <a:pt x="127209" y="1794"/>
                  </a:lnTo>
                  <a:lnTo>
                    <a:pt x="129592" y="2552"/>
                  </a:lnTo>
                  <a:lnTo>
                    <a:pt x="131307" y="2306"/>
                  </a:lnTo>
                  <a:lnTo>
                    <a:pt x="132588" y="2221"/>
                  </a:lnTo>
                  <a:lnTo>
                    <a:pt x="133826" y="1433"/>
                  </a:lnTo>
                  <a:lnTo>
                    <a:pt x="135150" y="0"/>
                  </a:lnTo>
                  <a:lnTo>
                    <a:pt x="136046" y="0"/>
                  </a:lnTo>
                  <a:lnTo>
                    <a:pt x="137057" y="194"/>
                  </a:lnTo>
                  <a:lnTo>
                    <a:pt x="138907" y="1658"/>
                  </a:lnTo>
                  <a:lnTo>
                    <a:pt x="140006" y="2524"/>
                  </a:lnTo>
                  <a:lnTo>
                    <a:pt x="141326" y="3238"/>
                  </a:lnTo>
                  <a:lnTo>
                    <a:pt x="142575" y="3487"/>
                  </a:lnTo>
                  <a:lnTo>
                    <a:pt x="143710" y="3573"/>
                  </a:lnTo>
                  <a:lnTo>
                    <a:pt x="144500" y="3502"/>
                  </a:lnTo>
                  <a:lnTo>
                    <a:pt x="144971" y="4485"/>
                  </a:lnTo>
                  <a:lnTo>
                    <a:pt x="145526" y="5681"/>
                  </a:lnTo>
                  <a:lnTo>
                    <a:pt x="146935" y="6491"/>
                  </a:lnTo>
                  <a:lnTo>
                    <a:pt x="148600" y="7259"/>
                  </a:lnTo>
                  <a:lnTo>
                    <a:pt x="149955" y="8583"/>
                  </a:lnTo>
                  <a:lnTo>
                    <a:pt x="150866" y="9473"/>
                  </a:lnTo>
                  <a:lnTo>
                    <a:pt x="151943" y="10524"/>
                  </a:lnTo>
                  <a:lnTo>
                    <a:pt x="152989" y="11917"/>
                  </a:lnTo>
                  <a:lnTo>
                    <a:pt x="153939" y="14366"/>
                  </a:lnTo>
                  <a:lnTo>
                    <a:pt x="154420" y="16029"/>
                  </a:lnTo>
                  <a:lnTo>
                    <a:pt x="154963" y="16953"/>
                  </a:lnTo>
                  <a:lnTo>
                    <a:pt x="154834" y="17892"/>
                  </a:lnTo>
                  <a:lnTo>
                    <a:pt x="155951" y="19594"/>
                  </a:lnTo>
                  <a:lnTo>
                    <a:pt x="156781" y="20540"/>
                  </a:lnTo>
                  <a:lnTo>
                    <a:pt x="158232" y="21140"/>
                  </a:lnTo>
                  <a:lnTo>
                    <a:pt x="161026" y="21823"/>
                  </a:lnTo>
                  <a:lnTo>
                    <a:pt x="162520" y="23361"/>
                  </a:lnTo>
                  <a:lnTo>
                    <a:pt x="163844" y="23959"/>
                  </a:lnTo>
                  <a:lnTo>
                    <a:pt x="165254" y="25539"/>
                  </a:lnTo>
                  <a:lnTo>
                    <a:pt x="166493" y="26010"/>
                  </a:lnTo>
                  <a:lnTo>
                    <a:pt x="168072" y="25926"/>
                  </a:lnTo>
                  <a:lnTo>
                    <a:pt x="169652" y="26693"/>
                  </a:lnTo>
                  <a:lnTo>
                    <a:pt x="170847" y="28187"/>
                  </a:lnTo>
                  <a:lnTo>
                    <a:pt x="171616" y="30066"/>
                  </a:lnTo>
                  <a:lnTo>
                    <a:pt x="172812" y="31136"/>
                  </a:lnTo>
                  <a:lnTo>
                    <a:pt x="173410" y="33058"/>
                  </a:lnTo>
                  <a:lnTo>
                    <a:pt x="172727" y="35319"/>
                  </a:lnTo>
                  <a:lnTo>
                    <a:pt x="173367" y="36518"/>
                  </a:lnTo>
                  <a:lnTo>
                    <a:pt x="174605" y="37499"/>
                  </a:lnTo>
                  <a:lnTo>
                    <a:pt x="176613" y="38527"/>
                  </a:lnTo>
                  <a:lnTo>
                    <a:pt x="178449" y="38270"/>
                  </a:lnTo>
                  <a:lnTo>
                    <a:pt x="179388" y="38611"/>
                  </a:lnTo>
                  <a:lnTo>
                    <a:pt x="179985" y="39553"/>
                  </a:lnTo>
                  <a:lnTo>
                    <a:pt x="180328" y="40661"/>
                  </a:lnTo>
                  <a:lnTo>
                    <a:pt x="181130" y="43381"/>
                  </a:lnTo>
                  <a:lnTo>
                    <a:pt x="181543" y="45100"/>
                  </a:lnTo>
                  <a:lnTo>
                    <a:pt x="180799" y="46766"/>
                  </a:lnTo>
                  <a:lnTo>
                    <a:pt x="180523" y="47917"/>
                  </a:lnTo>
                  <a:lnTo>
                    <a:pt x="180925" y="49462"/>
                  </a:lnTo>
                  <a:lnTo>
                    <a:pt x="182834" y="50210"/>
                  </a:lnTo>
                  <a:lnTo>
                    <a:pt x="184570" y="50823"/>
                  </a:lnTo>
                  <a:lnTo>
                    <a:pt x="185643" y="52024"/>
                  </a:lnTo>
                  <a:lnTo>
                    <a:pt x="186836" y="52344"/>
                  </a:lnTo>
                  <a:lnTo>
                    <a:pt x="188515" y="52277"/>
                  </a:lnTo>
                  <a:lnTo>
                    <a:pt x="190662" y="51984"/>
                  </a:lnTo>
                  <a:lnTo>
                    <a:pt x="191856" y="51294"/>
                  </a:lnTo>
                  <a:lnTo>
                    <a:pt x="192626" y="51087"/>
                  </a:lnTo>
                  <a:lnTo>
                    <a:pt x="193480" y="51385"/>
                  </a:lnTo>
                  <a:lnTo>
                    <a:pt x="195382" y="52046"/>
                  </a:lnTo>
                  <a:lnTo>
                    <a:pt x="197705" y="52796"/>
                  </a:lnTo>
                  <a:lnTo>
                    <a:pt x="199803" y="52361"/>
                  </a:lnTo>
                  <a:lnTo>
                    <a:pt x="201622" y="52167"/>
                  </a:lnTo>
                  <a:lnTo>
                    <a:pt x="203428" y="51729"/>
                  </a:lnTo>
                  <a:lnTo>
                    <a:pt x="205263" y="50488"/>
                  </a:lnTo>
                  <a:lnTo>
                    <a:pt x="206801" y="50531"/>
                  </a:lnTo>
                  <a:lnTo>
                    <a:pt x="207946" y="49693"/>
                  </a:lnTo>
                  <a:lnTo>
                    <a:pt x="209388" y="48345"/>
                  </a:lnTo>
                  <a:lnTo>
                    <a:pt x="210815" y="46986"/>
                  </a:lnTo>
                  <a:lnTo>
                    <a:pt x="211925" y="46686"/>
                  </a:lnTo>
                  <a:lnTo>
                    <a:pt x="213717" y="47336"/>
                  </a:lnTo>
                  <a:lnTo>
                    <a:pt x="216194" y="48268"/>
                  </a:lnTo>
                  <a:lnTo>
                    <a:pt x="217596" y="49484"/>
                  </a:lnTo>
                  <a:lnTo>
                    <a:pt x="218671" y="49805"/>
                  </a:lnTo>
                  <a:lnTo>
                    <a:pt x="219787" y="50698"/>
                  </a:lnTo>
                  <a:lnTo>
                    <a:pt x="221930" y="50715"/>
                  </a:lnTo>
                  <a:lnTo>
                    <a:pt x="224223" y="50233"/>
                  </a:lnTo>
                  <a:lnTo>
                    <a:pt x="226058" y="48736"/>
                  </a:lnTo>
                  <a:lnTo>
                    <a:pt x="227962" y="48302"/>
                  </a:lnTo>
                  <a:lnTo>
                    <a:pt x="229261" y="47883"/>
                  </a:lnTo>
                  <a:lnTo>
                    <a:pt x="230455" y="48142"/>
                  </a:lnTo>
                  <a:lnTo>
                    <a:pt x="235080" y="50873"/>
                  </a:lnTo>
                  <a:lnTo>
                    <a:pt x="236349" y="52284"/>
                  </a:lnTo>
                  <a:lnTo>
                    <a:pt x="237943" y="52560"/>
                  </a:lnTo>
                  <a:lnTo>
                    <a:pt x="239250" y="53332"/>
                  </a:lnTo>
                  <a:lnTo>
                    <a:pt x="241430" y="54164"/>
                  </a:lnTo>
                  <a:lnTo>
                    <a:pt x="242625" y="55017"/>
                  </a:lnTo>
                  <a:lnTo>
                    <a:pt x="244162" y="55531"/>
                  </a:lnTo>
                  <a:lnTo>
                    <a:pt x="245272" y="56726"/>
                  </a:lnTo>
                  <a:lnTo>
                    <a:pt x="247034" y="57463"/>
                  </a:lnTo>
                  <a:lnTo>
                    <a:pt x="248558" y="57869"/>
                  </a:lnTo>
                  <a:lnTo>
                    <a:pt x="249246" y="58831"/>
                  </a:lnTo>
                  <a:lnTo>
                    <a:pt x="249252" y="59475"/>
                  </a:lnTo>
                  <a:lnTo>
                    <a:pt x="249040" y="59905"/>
                  </a:lnTo>
                  <a:lnTo>
                    <a:pt x="247425" y="62425"/>
                  </a:lnTo>
                  <a:lnTo>
                    <a:pt x="244262" y="67365"/>
                  </a:lnTo>
                  <a:lnTo>
                    <a:pt x="241412" y="71814"/>
                  </a:lnTo>
                  <a:lnTo>
                    <a:pt x="236931" y="78816"/>
                  </a:lnTo>
                  <a:lnTo>
                    <a:pt x="234423" y="82734"/>
                  </a:lnTo>
                  <a:lnTo>
                    <a:pt x="235062" y="82898"/>
                  </a:lnTo>
                  <a:lnTo>
                    <a:pt x="238965" y="84613"/>
                  </a:lnTo>
                  <a:lnTo>
                    <a:pt x="239934" y="84678"/>
                  </a:lnTo>
                  <a:lnTo>
                    <a:pt x="241366" y="84241"/>
                  </a:lnTo>
                  <a:lnTo>
                    <a:pt x="242292" y="83558"/>
                  </a:lnTo>
                  <a:lnTo>
                    <a:pt x="243170" y="83461"/>
                  </a:lnTo>
                  <a:lnTo>
                    <a:pt x="244078" y="84122"/>
                  </a:lnTo>
                  <a:lnTo>
                    <a:pt x="245364" y="84974"/>
                  </a:lnTo>
                  <a:lnTo>
                    <a:pt x="246290" y="87464"/>
                  </a:lnTo>
                  <a:lnTo>
                    <a:pt x="246973" y="88683"/>
                  </a:lnTo>
                  <a:lnTo>
                    <a:pt x="248582" y="89613"/>
                  </a:lnTo>
                  <a:lnTo>
                    <a:pt x="250297" y="91160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48" name="ee4p_PY_1_37365">
              <a:extLst>
                <a:ext uri="{FF2B5EF4-FFF2-40B4-BE49-F238E27FC236}">
                  <a16:creationId xmlns:a16="http://schemas.microsoft.com/office/drawing/2014/main" id="{7FDBEA74-BE43-CF9E-75B1-6AE356422F6B}"/>
                </a:ext>
              </a:extLst>
            </p:cNvPr>
            <p:cNvSpPr>
              <a:spLocks noChangeAspect="1"/>
            </p:cNvSpPr>
            <p:nvPr>
              <p:custDataLst>
                <p:tags r:id="rId402"/>
              </p:custDataLst>
            </p:nvPr>
          </p:nvSpPr>
          <p:spPr>
            <a:xfrm>
              <a:off x="4775152" y="5232834"/>
              <a:ext cx="233518" cy="249204"/>
            </a:xfrm>
            <a:custGeom>
              <a:avLst/>
              <a:gdLst/>
              <a:ahLst/>
              <a:cxnLst/>
              <a:rect l="0" t="0" r="0" b="0"/>
              <a:pathLst>
                <a:path w="185945" h="193176">
                  <a:moveTo>
                    <a:pt x="99310" y="20184"/>
                  </a:moveTo>
                  <a:lnTo>
                    <a:pt x="99796" y="21857"/>
                  </a:lnTo>
                  <a:lnTo>
                    <a:pt x="100087" y="23151"/>
                  </a:lnTo>
                  <a:lnTo>
                    <a:pt x="100819" y="24066"/>
                  </a:lnTo>
                  <a:lnTo>
                    <a:pt x="101550" y="25285"/>
                  </a:lnTo>
                  <a:lnTo>
                    <a:pt x="102281" y="25969"/>
                  </a:lnTo>
                  <a:lnTo>
                    <a:pt x="102793" y="27112"/>
                  </a:lnTo>
                  <a:lnTo>
                    <a:pt x="102647" y="28409"/>
                  </a:lnTo>
                  <a:lnTo>
                    <a:pt x="102940" y="30086"/>
                  </a:lnTo>
                  <a:lnTo>
                    <a:pt x="103306" y="31536"/>
                  </a:lnTo>
                  <a:lnTo>
                    <a:pt x="103672" y="31917"/>
                  </a:lnTo>
                  <a:lnTo>
                    <a:pt x="104719" y="32298"/>
                  </a:lnTo>
                  <a:lnTo>
                    <a:pt x="105244" y="33616"/>
                  </a:lnTo>
                  <a:lnTo>
                    <a:pt x="104866" y="34283"/>
                  </a:lnTo>
                  <a:lnTo>
                    <a:pt x="105012" y="35045"/>
                  </a:lnTo>
                  <a:lnTo>
                    <a:pt x="105390" y="35791"/>
                  </a:lnTo>
                  <a:lnTo>
                    <a:pt x="105043" y="36514"/>
                  </a:lnTo>
                  <a:lnTo>
                    <a:pt x="105226" y="37069"/>
                  </a:lnTo>
                  <a:lnTo>
                    <a:pt x="105938" y="37565"/>
                  </a:lnTo>
                  <a:lnTo>
                    <a:pt x="106597" y="39399"/>
                  </a:lnTo>
                  <a:lnTo>
                    <a:pt x="106669" y="42533"/>
                  </a:lnTo>
                  <a:lnTo>
                    <a:pt x="105938" y="44212"/>
                  </a:lnTo>
                  <a:lnTo>
                    <a:pt x="105353" y="45589"/>
                  </a:lnTo>
                  <a:lnTo>
                    <a:pt x="105207" y="46432"/>
                  </a:lnTo>
                  <a:lnTo>
                    <a:pt x="105645" y="47654"/>
                  </a:lnTo>
                  <a:lnTo>
                    <a:pt x="104914" y="49109"/>
                  </a:lnTo>
                  <a:lnTo>
                    <a:pt x="104037" y="50869"/>
                  </a:lnTo>
                  <a:lnTo>
                    <a:pt x="104256" y="52095"/>
                  </a:lnTo>
                  <a:lnTo>
                    <a:pt x="104403" y="53243"/>
                  </a:lnTo>
                  <a:lnTo>
                    <a:pt x="104475" y="54469"/>
                  </a:lnTo>
                  <a:lnTo>
                    <a:pt x="104695" y="55618"/>
                  </a:lnTo>
                  <a:lnTo>
                    <a:pt x="104403" y="56843"/>
                  </a:lnTo>
                  <a:lnTo>
                    <a:pt x="104110" y="57917"/>
                  </a:lnTo>
                  <a:lnTo>
                    <a:pt x="103963" y="59142"/>
                  </a:lnTo>
                  <a:lnTo>
                    <a:pt x="104329" y="60523"/>
                  </a:lnTo>
                  <a:lnTo>
                    <a:pt x="103672" y="61828"/>
                  </a:lnTo>
                  <a:lnTo>
                    <a:pt x="103306" y="62748"/>
                  </a:lnTo>
                  <a:lnTo>
                    <a:pt x="103159" y="63670"/>
                  </a:lnTo>
                  <a:lnTo>
                    <a:pt x="103818" y="65127"/>
                  </a:lnTo>
                  <a:lnTo>
                    <a:pt x="105500" y="65741"/>
                  </a:lnTo>
                  <a:lnTo>
                    <a:pt x="106816" y="65895"/>
                  </a:lnTo>
                  <a:lnTo>
                    <a:pt x="108060" y="65127"/>
                  </a:lnTo>
                  <a:lnTo>
                    <a:pt x="109010" y="64896"/>
                  </a:lnTo>
                  <a:lnTo>
                    <a:pt x="110765" y="65587"/>
                  </a:lnTo>
                  <a:lnTo>
                    <a:pt x="112374" y="66816"/>
                  </a:lnTo>
                  <a:lnTo>
                    <a:pt x="114421" y="66970"/>
                  </a:lnTo>
                  <a:lnTo>
                    <a:pt x="116250" y="67199"/>
                  </a:lnTo>
                  <a:lnTo>
                    <a:pt x="117639" y="67584"/>
                  </a:lnTo>
                  <a:lnTo>
                    <a:pt x="119687" y="67124"/>
                  </a:lnTo>
                  <a:lnTo>
                    <a:pt x="121808" y="67584"/>
                  </a:lnTo>
                  <a:lnTo>
                    <a:pt x="124294" y="68276"/>
                  </a:lnTo>
                  <a:lnTo>
                    <a:pt x="126342" y="68891"/>
                  </a:lnTo>
                  <a:lnTo>
                    <a:pt x="128389" y="68737"/>
                  </a:lnTo>
                  <a:lnTo>
                    <a:pt x="129926" y="68659"/>
                  </a:lnTo>
                  <a:lnTo>
                    <a:pt x="131535" y="67968"/>
                  </a:lnTo>
                  <a:lnTo>
                    <a:pt x="133070" y="68045"/>
                  </a:lnTo>
                  <a:lnTo>
                    <a:pt x="134240" y="66816"/>
                  </a:lnTo>
                  <a:lnTo>
                    <a:pt x="134899" y="65741"/>
                  </a:lnTo>
                  <a:lnTo>
                    <a:pt x="135484" y="64973"/>
                  </a:lnTo>
                  <a:lnTo>
                    <a:pt x="137165" y="64361"/>
                  </a:lnTo>
                  <a:lnTo>
                    <a:pt x="138335" y="64744"/>
                  </a:lnTo>
                  <a:lnTo>
                    <a:pt x="139286" y="66739"/>
                  </a:lnTo>
                  <a:lnTo>
                    <a:pt x="140969" y="67890"/>
                  </a:lnTo>
                  <a:lnTo>
                    <a:pt x="141626" y="68737"/>
                  </a:lnTo>
                  <a:lnTo>
                    <a:pt x="142869" y="69120"/>
                  </a:lnTo>
                  <a:lnTo>
                    <a:pt x="145575" y="69197"/>
                  </a:lnTo>
                  <a:lnTo>
                    <a:pt x="147257" y="69120"/>
                  </a:lnTo>
                  <a:lnTo>
                    <a:pt x="149159" y="69735"/>
                  </a:lnTo>
                  <a:lnTo>
                    <a:pt x="150402" y="69735"/>
                  </a:lnTo>
                  <a:lnTo>
                    <a:pt x="151499" y="70810"/>
                  </a:lnTo>
                  <a:lnTo>
                    <a:pt x="152522" y="72117"/>
                  </a:lnTo>
                  <a:lnTo>
                    <a:pt x="152669" y="74501"/>
                  </a:lnTo>
                  <a:lnTo>
                    <a:pt x="153620" y="76347"/>
                  </a:lnTo>
                  <a:lnTo>
                    <a:pt x="154863" y="77040"/>
                  </a:lnTo>
                  <a:lnTo>
                    <a:pt x="155521" y="78194"/>
                  </a:lnTo>
                  <a:lnTo>
                    <a:pt x="155302" y="79810"/>
                  </a:lnTo>
                  <a:lnTo>
                    <a:pt x="154716" y="81426"/>
                  </a:lnTo>
                  <a:lnTo>
                    <a:pt x="154790" y="83198"/>
                  </a:lnTo>
                  <a:lnTo>
                    <a:pt x="155447" y="84815"/>
                  </a:lnTo>
                  <a:lnTo>
                    <a:pt x="155447" y="86434"/>
                  </a:lnTo>
                  <a:lnTo>
                    <a:pt x="155887" y="88052"/>
                  </a:lnTo>
                  <a:lnTo>
                    <a:pt x="156765" y="89441"/>
                  </a:lnTo>
                  <a:lnTo>
                    <a:pt x="157057" y="91678"/>
                  </a:lnTo>
                  <a:lnTo>
                    <a:pt x="156910" y="93298"/>
                  </a:lnTo>
                  <a:lnTo>
                    <a:pt x="157496" y="94226"/>
                  </a:lnTo>
                  <a:lnTo>
                    <a:pt x="157715" y="95539"/>
                  </a:lnTo>
                  <a:lnTo>
                    <a:pt x="157350" y="96620"/>
                  </a:lnTo>
                  <a:lnTo>
                    <a:pt x="157203" y="98086"/>
                  </a:lnTo>
                  <a:lnTo>
                    <a:pt x="157276" y="99401"/>
                  </a:lnTo>
                  <a:lnTo>
                    <a:pt x="157715" y="100482"/>
                  </a:lnTo>
                  <a:lnTo>
                    <a:pt x="159032" y="101872"/>
                  </a:lnTo>
                  <a:lnTo>
                    <a:pt x="159397" y="104348"/>
                  </a:lnTo>
                  <a:lnTo>
                    <a:pt x="159397" y="106050"/>
                  </a:lnTo>
                  <a:lnTo>
                    <a:pt x="159982" y="108064"/>
                  </a:lnTo>
                  <a:lnTo>
                    <a:pt x="161079" y="108992"/>
                  </a:lnTo>
                  <a:lnTo>
                    <a:pt x="162835" y="109303"/>
                  </a:lnTo>
                  <a:lnTo>
                    <a:pt x="164882" y="109612"/>
                  </a:lnTo>
                  <a:lnTo>
                    <a:pt x="167368" y="109148"/>
                  </a:lnTo>
                  <a:lnTo>
                    <a:pt x="169562" y="108606"/>
                  </a:lnTo>
                  <a:lnTo>
                    <a:pt x="170805" y="108064"/>
                  </a:lnTo>
                  <a:lnTo>
                    <a:pt x="173219" y="106592"/>
                  </a:lnTo>
                  <a:lnTo>
                    <a:pt x="175340" y="105742"/>
                  </a:lnTo>
                  <a:lnTo>
                    <a:pt x="176437" y="105200"/>
                  </a:lnTo>
                  <a:lnTo>
                    <a:pt x="177460" y="104814"/>
                  </a:lnTo>
                  <a:lnTo>
                    <a:pt x="179581" y="105742"/>
                  </a:lnTo>
                  <a:lnTo>
                    <a:pt x="181557" y="106903"/>
                  </a:lnTo>
                  <a:lnTo>
                    <a:pt x="183092" y="108528"/>
                  </a:lnTo>
                  <a:lnTo>
                    <a:pt x="185944" y="110309"/>
                  </a:lnTo>
                  <a:lnTo>
                    <a:pt x="185389" y="110744"/>
                  </a:lnTo>
                  <a:lnTo>
                    <a:pt x="184254" y="112203"/>
                  </a:lnTo>
                  <a:lnTo>
                    <a:pt x="184275" y="113917"/>
                  </a:lnTo>
                  <a:lnTo>
                    <a:pt x="185077" y="116374"/>
                  </a:lnTo>
                  <a:lnTo>
                    <a:pt x="184371" y="121584"/>
                  </a:lnTo>
                  <a:lnTo>
                    <a:pt x="182159" y="129558"/>
                  </a:lnTo>
                  <a:lnTo>
                    <a:pt x="181250" y="134210"/>
                  </a:lnTo>
                  <a:lnTo>
                    <a:pt x="181645" y="135530"/>
                  </a:lnTo>
                  <a:lnTo>
                    <a:pt x="180829" y="137859"/>
                  </a:lnTo>
                  <a:lnTo>
                    <a:pt x="177791" y="142868"/>
                  </a:lnTo>
                  <a:lnTo>
                    <a:pt x="177673" y="146250"/>
                  </a:lnTo>
                  <a:lnTo>
                    <a:pt x="177318" y="156403"/>
                  </a:lnTo>
                  <a:lnTo>
                    <a:pt x="176305" y="163577"/>
                  </a:lnTo>
                  <a:lnTo>
                    <a:pt x="174595" y="168890"/>
                  </a:lnTo>
                  <a:lnTo>
                    <a:pt x="173038" y="171722"/>
                  </a:lnTo>
                  <a:lnTo>
                    <a:pt x="171635" y="172067"/>
                  </a:lnTo>
                  <a:lnTo>
                    <a:pt x="170628" y="172916"/>
                  </a:lnTo>
                  <a:lnTo>
                    <a:pt x="170016" y="174265"/>
                  </a:lnTo>
                  <a:lnTo>
                    <a:pt x="168878" y="175388"/>
                  </a:lnTo>
                  <a:lnTo>
                    <a:pt x="167214" y="176288"/>
                  </a:lnTo>
                  <a:lnTo>
                    <a:pt x="166312" y="177275"/>
                  </a:lnTo>
                  <a:lnTo>
                    <a:pt x="166173" y="178347"/>
                  </a:lnTo>
                  <a:lnTo>
                    <a:pt x="164579" y="179037"/>
                  </a:lnTo>
                  <a:lnTo>
                    <a:pt x="161533" y="179346"/>
                  </a:lnTo>
                  <a:lnTo>
                    <a:pt x="159745" y="180205"/>
                  </a:lnTo>
                  <a:lnTo>
                    <a:pt x="159215" y="181610"/>
                  </a:lnTo>
                  <a:lnTo>
                    <a:pt x="158195" y="182728"/>
                  </a:lnTo>
                  <a:lnTo>
                    <a:pt x="156688" y="183553"/>
                  </a:lnTo>
                  <a:lnTo>
                    <a:pt x="155972" y="184925"/>
                  </a:lnTo>
                  <a:lnTo>
                    <a:pt x="156049" y="186841"/>
                  </a:lnTo>
                  <a:lnTo>
                    <a:pt x="155184" y="188486"/>
                  </a:lnTo>
                  <a:lnTo>
                    <a:pt x="153377" y="189862"/>
                  </a:lnTo>
                  <a:lnTo>
                    <a:pt x="151710" y="189899"/>
                  </a:lnTo>
                  <a:lnTo>
                    <a:pt x="150184" y="188600"/>
                  </a:lnTo>
                  <a:lnTo>
                    <a:pt x="148140" y="187737"/>
                  </a:lnTo>
                  <a:lnTo>
                    <a:pt x="145578" y="187309"/>
                  </a:lnTo>
                  <a:lnTo>
                    <a:pt x="143439" y="187637"/>
                  </a:lnTo>
                  <a:lnTo>
                    <a:pt x="141722" y="188716"/>
                  </a:lnTo>
                  <a:lnTo>
                    <a:pt x="140200" y="190432"/>
                  </a:lnTo>
                  <a:lnTo>
                    <a:pt x="138874" y="192784"/>
                  </a:lnTo>
                  <a:lnTo>
                    <a:pt x="137400" y="193175"/>
                  </a:lnTo>
                  <a:lnTo>
                    <a:pt x="135778" y="191603"/>
                  </a:lnTo>
                  <a:lnTo>
                    <a:pt x="133725" y="191126"/>
                  </a:lnTo>
                  <a:lnTo>
                    <a:pt x="131241" y="191743"/>
                  </a:lnTo>
                  <a:lnTo>
                    <a:pt x="129263" y="191526"/>
                  </a:lnTo>
                  <a:lnTo>
                    <a:pt x="127791" y="190476"/>
                  </a:lnTo>
                  <a:lnTo>
                    <a:pt x="125530" y="190360"/>
                  </a:lnTo>
                  <a:lnTo>
                    <a:pt x="122482" y="191179"/>
                  </a:lnTo>
                  <a:lnTo>
                    <a:pt x="116303" y="190234"/>
                  </a:lnTo>
                  <a:lnTo>
                    <a:pt x="106995" y="187520"/>
                  </a:lnTo>
                  <a:lnTo>
                    <a:pt x="99122" y="186492"/>
                  </a:lnTo>
                  <a:lnTo>
                    <a:pt x="89468" y="187467"/>
                  </a:lnTo>
                  <a:lnTo>
                    <a:pt x="88652" y="184650"/>
                  </a:lnTo>
                  <a:lnTo>
                    <a:pt x="89164" y="183128"/>
                  </a:lnTo>
                  <a:lnTo>
                    <a:pt x="90732" y="181982"/>
                  </a:lnTo>
                  <a:lnTo>
                    <a:pt x="91715" y="180686"/>
                  </a:lnTo>
                  <a:lnTo>
                    <a:pt x="92113" y="179234"/>
                  </a:lnTo>
                  <a:lnTo>
                    <a:pt x="93195" y="178129"/>
                  </a:lnTo>
                  <a:lnTo>
                    <a:pt x="94961" y="177370"/>
                  </a:lnTo>
                  <a:lnTo>
                    <a:pt x="95710" y="176599"/>
                  </a:lnTo>
                  <a:lnTo>
                    <a:pt x="95443" y="175822"/>
                  </a:lnTo>
                  <a:lnTo>
                    <a:pt x="95818" y="175133"/>
                  </a:lnTo>
                  <a:lnTo>
                    <a:pt x="96835" y="174534"/>
                  </a:lnTo>
                  <a:lnTo>
                    <a:pt x="97413" y="173593"/>
                  </a:lnTo>
                  <a:lnTo>
                    <a:pt x="97550" y="172306"/>
                  </a:lnTo>
                  <a:lnTo>
                    <a:pt x="97932" y="171669"/>
                  </a:lnTo>
                  <a:lnTo>
                    <a:pt x="98612" y="171193"/>
                  </a:lnTo>
                  <a:lnTo>
                    <a:pt x="98687" y="170306"/>
                  </a:lnTo>
                  <a:lnTo>
                    <a:pt x="98306" y="167554"/>
                  </a:lnTo>
                  <a:lnTo>
                    <a:pt x="98353" y="165298"/>
                  </a:lnTo>
                  <a:lnTo>
                    <a:pt x="98829" y="163544"/>
                  </a:lnTo>
                  <a:lnTo>
                    <a:pt x="99422" y="162483"/>
                  </a:lnTo>
                  <a:lnTo>
                    <a:pt x="99843" y="162219"/>
                  </a:lnTo>
                  <a:lnTo>
                    <a:pt x="100232" y="161590"/>
                  </a:lnTo>
                  <a:lnTo>
                    <a:pt x="100385" y="160531"/>
                  </a:lnTo>
                  <a:lnTo>
                    <a:pt x="101020" y="159546"/>
                  </a:lnTo>
                  <a:lnTo>
                    <a:pt x="104101" y="157519"/>
                  </a:lnTo>
                  <a:lnTo>
                    <a:pt x="105261" y="156421"/>
                  </a:lnTo>
                  <a:lnTo>
                    <a:pt x="105358" y="155422"/>
                  </a:lnTo>
                  <a:lnTo>
                    <a:pt x="105823" y="154066"/>
                  </a:lnTo>
                  <a:lnTo>
                    <a:pt x="107653" y="151153"/>
                  </a:lnTo>
                  <a:lnTo>
                    <a:pt x="108214" y="149790"/>
                  </a:lnTo>
                  <a:lnTo>
                    <a:pt x="108265" y="149107"/>
                  </a:lnTo>
                  <a:lnTo>
                    <a:pt x="108913" y="148401"/>
                  </a:lnTo>
                  <a:lnTo>
                    <a:pt x="111116" y="146785"/>
                  </a:lnTo>
                  <a:lnTo>
                    <a:pt x="112314" y="145262"/>
                  </a:lnTo>
                  <a:lnTo>
                    <a:pt x="112503" y="143836"/>
                  </a:lnTo>
                  <a:lnTo>
                    <a:pt x="111971" y="142217"/>
                  </a:lnTo>
                  <a:lnTo>
                    <a:pt x="110717" y="140409"/>
                  </a:lnTo>
                  <a:lnTo>
                    <a:pt x="106786" y="135886"/>
                  </a:lnTo>
                  <a:lnTo>
                    <a:pt x="103731" y="133833"/>
                  </a:lnTo>
                  <a:lnTo>
                    <a:pt x="99825" y="132137"/>
                  </a:lnTo>
                  <a:lnTo>
                    <a:pt x="97253" y="131588"/>
                  </a:lnTo>
                  <a:lnTo>
                    <a:pt x="96017" y="132183"/>
                  </a:lnTo>
                  <a:lnTo>
                    <a:pt x="94763" y="131717"/>
                  </a:lnTo>
                  <a:lnTo>
                    <a:pt x="93494" y="130184"/>
                  </a:lnTo>
                  <a:lnTo>
                    <a:pt x="91352" y="128979"/>
                  </a:lnTo>
                  <a:lnTo>
                    <a:pt x="86833" y="127657"/>
                  </a:lnTo>
                  <a:lnTo>
                    <a:pt x="76590" y="122387"/>
                  </a:lnTo>
                  <a:lnTo>
                    <a:pt x="72484" y="119842"/>
                  </a:lnTo>
                  <a:lnTo>
                    <a:pt x="71103" y="118273"/>
                  </a:lnTo>
                  <a:lnTo>
                    <a:pt x="67273" y="115453"/>
                  </a:lnTo>
                  <a:lnTo>
                    <a:pt x="60996" y="111394"/>
                  </a:lnTo>
                  <a:lnTo>
                    <a:pt x="56179" y="109417"/>
                  </a:lnTo>
                  <a:lnTo>
                    <a:pt x="52821" y="109529"/>
                  </a:lnTo>
                  <a:lnTo>
                    <a:pt x="47444" y="108350"/>
                  </a:lnTo>
                  <a:lnTo>
                    <a:pt x="40048" y="105881"/>
                  </a:lnTo>
                  <a:lnTo>
                    <a:pt x="35779" y="103485"/>
                  </a:lnTo>
                  <a:lnTo>
                    <a:pt x="34633" y="101165"/>
                  </a:lnTo>
                  <a:lnTo>
                    <a:pt x="31898" y="98842"/>
                  </a:lnTo>
                  <a:lnTo>
                    <a:pt x="27574" y="96517"/>
                  </a:lnTo>
                  <a:lnTo>
                    <a:pt x="25328" y="94987"/>
                  </a:lnTo>
                  <a:lnTo>
                    <a:pt x="25162" y="94251"/>
                  </a:lnTo>
                  <a:lnTo>
                    <a:pt x="23880" y="93293"/>
                  </a:lnTo>
                  <a:lnTo>
                    <a:pt x="21481" y="92111"/>
                  </a:lnTo>
                  <a:lnTo>
                    <a:pt x="18849" y="90088"/>
                  </a:lnTo>
                  <a:lnTo>
                    <a:pt x="15986" y="87225"/>
                  </a:lnTo>
                  <a:lnTo>
                    <a:pt x="12922" y="82802"/>
                  </a:lnTo>
                  <a:lnTo>
                    <a:pt x="9659" y="76820"/>
                  </a:lnTo>
                  <a:lnTo>
                    <a:pt x="6157" y="72791"/>
                  </a:lnTo>
                  <a:lnTo>
                    <a:pt x="2419" y="70710"/>
                  </a:lnTo>
                  <a:lnTo>
                    <a:pt x="552" y="69335"/>
                  </a:lnTo>
                  <a:lnTo>
                    <a:pt x="559" y="68664"/>
                  </a:lnTo>
                  <a:lnTo>
                    <a:pt x="0" y="68018"/>
                  </a:lnTo>
                  <a:lnTo>
                    <a:pt x="496" y="66863"/>
                  </a:lnTo>
                  <a:lnTo>
                    <a:pt x="1858" y="62331"/>
                  </a:lnTo>
                  <a:lnTo>
                    <a:pt x="3828" y="55761"/>
                  </a:lnTo>
                  <a:lnTo>
                    <a:pt x="5871" y="48964"/>
                  </a:lnTo>
                  <a:lnTo>
                    <a:pt x="8277" y="40971"/>
                  </a:lnTo>
                  <a:lnTo>
                    <a:pt x="8280" y="35308"/>
                  </a:lnTo>
                  <a:lnTo>
                    <a:pt x="8284" y="29350"/>
                  </a:lnTo>
                  <a:lnTo>
                    <a:pt x="11705" y="24450"/>
                  </a:lnTo>
                  <a:lnTo>
                    <a:pt x="14133" y="20976"/>
                  </a:lnTo>
                  <a:lnTo>
                    <a:pt x="16231" y="17670"/>
                  </a:lnTo>
                  <a:lnTo>
                    <a:pt x="18354" y="12015"/>
                  </a:lnTo>
                  <a:lnTo>
                    <a:pt x="19771" y="8243"/>
                  </a:lnTo>
                  <a:lnTo>
                    <a:pt x="25189" y="7350"/>
                  </a:lnTo>
                  <a:lnTo>
                    <a:pt x="34384" y="5388"/>
                  </a:lnTo>
                  <a:lnTo>
                    <a:pt x="38966" y="4413"/>
                  </a:lnTo>
                  <a:lnTo>
                    <a:pt x="48632" y="2353"/>
                  </a:lnTo>
                  <a:lnTo>
                    <a:pt x="58455" y="260"/>
                  </a:lnTo>
                  <a:lnTo>
                    <a:pt x="68771" y="128"/>
                  </a:lnTo>
                  <a:lnTo>
                    <a:pt x="78729" y="0"/>
                  </a:lnTo>
                  <a:lnTo>
                    <a:pt x="86455" y="4682"/>
                  </a:lnTo>
                  <a:lnTo>
                    <a:pt x="92357" y="8261"/>
                  </a:lnTo>
                  <a:lnTo>
                    <a:pt x="98859" y="12208"/>
                  </a:lnTo>
                  <a:lnTo>
                    <a:pt x="99304" y="13059"/>
                  </a:lnTo>
                  <a:lnTo>
                    <a:pt x="99748" y="16369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49" name="ee4p_SV_1_37365">
              <a:extLst>
                <a:ext uri="{FF2B5EF4-FFF2-40B4-BE49-F238E27FC236}">
                  <a16:creationId xmlns:a16="http://schemas.microsoft.com/office/drawing/2014/main" id="{196DE4E7-B0D0-C9C3-B401-B6CF2453BAF3}"/>
                </a:ext>
              </a:extLst>
            </p:cNvPr>
            <p:cNvSpPr>
              <a:spLocks noChangeAspect="1"/>
            </p:cNvSpPr>
            <p:nvPr>
              <p:custDataLst>
                <p:tags r:id="rId403"/>
              </p:custDataLst>
            </p:nvPr>
          </p:nvSpPr>
          <p:spPr>
            <a:xfrm>
              <a:off x="4012518" y="4261316"/>
              <a:ext cx="66386" cy="36825"/>
            </a:xfrm>
            <a:custGeom>
              <a:avLst/>
              <a:gdLst/>
              <a:ahLst/>
              <a:cxnLst/>
              <a:rect l="0" t="0" r="0" b="0"/>
              <a:pathLst>
                <a:path w="52862" h="28547">
                  <a:moveTo>
                    <a:pt x="16436" y="340"/>
                  </a:moveTo>
                  <a:lnTo>
                    <a:pt x="16997" y="445"/>
                  </a:lnTo>
                  <a:lnTo>
                    <a:pt x="20692" y="1597"/>
                  </a:lnTo>
                  <a:lnTo>
                    <a:pt x="21789" y="1374"/>
                  </a:lnTo>
                  <a:lnTo>
                    <a:pt x="23191" y="2300"/>
                  </a:lnTo>
                  <a:lnTo>
                    <a:pt x="23860" y="3026"/>
                  </a:lnTo>
                  <a:lnTo>
                    <a:pt x="24450" y="4024"/>
                  </a:lnTo>
                  <a:lnTo>
                    <a:pt x="27366" y="6033"/>
                  </a:lnTo>
                  <a:lnTo>
                    <a:pt x="27861" y="6910"/>
                  </a:lnTo>
                  <a:lnTo>
                    <a:pt x="30041" y="8094"/>
                  </a:lnTo>
                  <a:lnTo>
                    <a:pt x="30919" y="9000"/>
                  </a:lnTo>
                  <a:lnTo>
                    <a:pt x="31848" y="9373"/>
                  </a:lnTo>
                  <a:lnTo>
                    <a:pt x="33672" y="9720"/>
                  </a:lnTo>
                  <a:lnTo>
                    <a:pt x="35233" y="10197"/>
                  </a:lnTo>
                  <a:lnTo>
                    <a:pt x="35414" y="10530"/>
                  </a:lnTo>
                  <a:lnTo>
                    <a:pt x="35562" y="11874"/>
                  </a:lnTo>
                  <a:lnTo>
                    <a:pt x="35893" y="13008"/>
                  </a:lnTo>
                  <a:lnTo>
                    <a:pt x="36635" y="13082"/>
                  </a:lnTo>
                  <a:lnTo>
                    <a:pt x="37534" y="12531"/>
                  </a:lnTo>
                  <a:lnTo>
                    <a:pt x="40459" y="11015"/>
                  </a:lnTo>
                  <a:lnTo>
                    <a:pt x="43227" y="10008"/>
                  </a:lnTo>
                  <a:lnTo>
                    <a:pt x="44787" y="10611"/>
                  </a:lnTo>
                  <a:lnTo>
                    <a:pt x="45710" y="11873"/>
                  </a:lnTo>
                  <a:lnTo>
                    <a:pt x="46765" y="12436"/>
                  </a:lnTo>
                  <a:lnTo>
                    <a:pt x="48955" y="12090"/>
                  </a:lnTo>
                  <a:lnTo>
                    <a:pt x="50939" y="12203"/>
                  </a:lnTo>
                  <a:lnTo>
                    <a:pt x="52505" y="13305"/>
                  </a:lnTo>
                  <a:lnTo>
                    <a:pt x="52861" y="13944"/>
                  </a:lnTo>
                  <a:lnTo>
                    <a:pt x="51905" y="17610"/>
                  </a:lnTo>
                  <a:lnTo>
                    <a:pt x="51559" y="19178"/>
                  </a:lnTo>
                  <a:lnTo>
                    <a:pt x="51389" y="20505"/>
                  </a:lnTo>
                  <a:lnTo>
                    <a:pt x="51952" y="20851"/>
                  </a:lnTo>
                  <a:lnTo>
                    <a:pt x="52500" y="21367"/>
                  </a:lnTo>
                  <a:lnTo>
                    <a:pt x="52381" y="22081"/>
                  </a:lnTo>
                  <a:lnTo>
                    <a:pt x="50674" y="23256"/>
                  </a:lnTo>
                  <a:lnTo>
                    <a:pt x="50140" y="23557"/>
                  </a:lnTo>
                  <a:lnTo>
                    <a:pt x="50531" y="25821"/>
                  </a:lnTo>
                  <a:lnTo>
                    <a:pt x="49262" y="27187"/>
                  </a:lnTo>
                  <a:lnTo>
                    <a:pt x="48095" y="28172"/>
                  </a:lnTo>
                  <a:lnTo>
                    <a:pt x="46048" y="28440"/>
                  </a:lnTo>
                  <a:lnTo>
                    <a:pt x="42571" y="28546"/>
                  </a:lnTo>
                  <a:lnTo>
                    <a:pt x="37342" y="27432"/>
                  </a:lnTo>
                  <a:lnTo>
                    <a:pt x="33486" y="25914"/>
                  </a:lnTo>
                  <a:lnTo>
                    <a:pt x="31405" y="25903"/>
                  </a:lnTo>
                  <a:lnTo>
                    <a:pt x="32064" y="26405"/>
                  </a:lnTo>
                  <a:lnTo>
                    <a:pt x="33707" y="26725"/>
                  </a:lnTo>
                  <a:lnTo>
                    <a:pt x="35867" y="27801"/>
                  </a:lnTo>
                  <a:lnTo>
                    <a:pt x="35245" y="28098"/>
                  </a:lnTo>
                  <a:lnTo>
                    <a:pt x="27394" y="25864"/>
                  </a:lnTo>
                  <a:lnTo>
                    <a:pt x="18315" y="21480"/>
                  </a:lnTo>
                  <a:lnTo>
                    <a:pt x="12884" y="20781"/>
                  </a:lnTo>
                  <a:lnTo>
                    <a:pt x="6672" y="19633"/>
                  </a:lnTo>
                  <a:lnTo>
                    <a:pt x="2995" y="16862"/>
                  </a:lnTo>
                  <a:lnTo>
                    <a:pt x="237" y="15660"/>
                  </a:lnTo>
                  <a:lnTo>
                    <a:pt x="0" y="14613"/>
                  </a:lnTo>
                  <a:lnTo>
                    <a:pt x="26" y="13447"/>
                  </a:lnTo>
                  <a:lnTo>
                    <a:pt x="1278" y="11886"/>
                  </a:lnTo>
                  <a:lnTo>
                    <a:pt x="3610" y="9783"/>
                  </a:lnTo>
                  <a:lnTo>
                    <a:pt x="5157" y="8695"/>
                  </a:lnTo>
                  <a:lnTo>
                    <a:pt x="5881" y="8482"/>
                  </a:lnTo>
                  <a:lnTo>
                    <a:pt x="6904" y="8594"/>
                  </a:lnTo>
                  <a:lnTo>
                    <a:pt x="7884" y="7987"/>
                  </a:lnTo>
                  <a:lnTo>
                    <a:pt x="8729" y="6537"/>
                  </a:lnTo>
                  <a:lnTo>
                    <a:pt x="9611" y="5604"/>
                  </a:lnTo>
                  <a:lnTo>
                    <a:pt x="11844" y="4657"/>
                  </a:lnTo>
                  <a:lnTo>
                    <a:pt x="12355" y="4283"/>
                  </a:lnTo>
                  <a:lnTo>
                    <a:pt x="12181" y="3471"/>
                  </a:lnTo>
                  <a:lnTo>
                    <a:pt x="11697" y="1896"/>
                  </a:lnTo>
                  <a:lnTo>
                    <a:pt x="11770" y="925"/>
                  </a:lnTo>
                  <a:lnTo>
                    <a:pt x="12502" y="478"/>
                  </a:lnTo>
                  <a:lnTo>
                    <a:pt x="13379" y="391"/>
                  </a:lnTo>
                  <a:lnTo>
                    <a:pt x="15193" y="0"/>
                  </a:lnTo>
                  <a:lnTo>
                    <a:pt x="15980" y="78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50" name="ee4p_SR_1_37365">
              <a:extLst>
                <a:ext uri="{FF2B5EF4-FFF2-40B4-BE49-F238E27FC236}">
                  <a16:creationId xmlns:a16="http://schemas.microsoft.com/office/drawing/2014/main" id="{F091DB45-13A5-09AB-738B-92BB632BC192}"/>
                </a:ext>
              </a:extLst>
            </p:cNvPr>
            <p:cNvSpPr>
              <a:spLocks noChangeAspect="1"/>
            </p:cNvSpPr>
            <p:nvPr>
              <p:custDataLst>
                <p:tags r:id="rId404"/>
              </p:custDataLst>
            </p:nvPr>
          </p:nvSpPr>
          <p:spPr>
            <a:xfrm>
              <a:off x="4902564" y="4504620"/>
              <a:ext cx="112856" cy="118610"/>
            </a:xfrm>
            <a:custGeom>
              <a:avLst/>
              <a:gdLst/>
              <a:ahLst/>
              <a:cxnLst/>
              <a:rect l="0" t="0" r="0" b="0"/>
              <a:pathLst>
                <a:path w="89865" h="91943">
                  <a:moveTo>
                    <a:pt x="86206" y="14073"/>
                  </a:moveTo>
                  <a:lnTo>
                    <a:pt x="84343" y="15642"/>
                  </a:lnTo>
                  <a:lnTo>
                    <a:pt x="82321" y="17877"/>
                  </a:lnTo>
                  <a:lnTo>
                    <a:pt x="79655" y="21733"/>
                  </a:lnTo>
                  <a:lnTo>
                    <a:pt x="79773" y="22945"/>
                  </a:lnTo>
                  <a:lnTo>
                    <a:pt x="79188" y="23922"/>
                  </a:lnTo>
                  <a:lnTo>
                    <a:pt x="79047" y="25655"/>
                  </a:lnTo>
                  <a:lnTo>
                    <a:pt x="79236" y="27588"/>
                  </a:lnTo>
                  <a:lnTo>
                    <a:pt x="79920" y="28858"/>
                  </a:lnTo>
                  <a:lnTo>
                    <a:pt x="80232" y="31273"/>
                  </a:lnTo>
                  <a:lnTo>
                    <a:pt x="79712" y="33444"/>
                  </a:lnTo>
                  <a:lnTo>
                    <a:pt x="79910" y="34707"/>
                  </a:lnTo>
                  <a:lnTo>
                    <a:pt x="80455" y="36709"/>
                  </a:lnTo>
                  <a:lnTo>
                    <a:pt x="80892" y="38841"/>
                  </a:lnTo>
                  <a:lnTo>
                    <a:pt x="80845" y="39703"/>
                  </a:lnTo>
                  <a:lnTo>
                    <a:pt x="81492" y="40402"/>
                  </a:lnTo>
                  <a:lnTo>
                    <a:pt x="82089" y="41086"/>
                  </a:lnTo>
                  <a:lnTo>
                    <a:pt x="81899" y="42990"/>
                  </a:lnTo>
                  <a:lnTo>
                    <a:pt x="84004" y="46378"/>
                  </a:lnTo>
                  <a:lnTo>
                    <a:pt x="85288" y="47854"/>
                  </a:lnTo>
                  <a:lnTo>
                    <a:pt x="87160" y="49294"/>
                  </a:lnTo>
                  <a:lnTo>
                    <a:pt x="87841" y="50699"/>
                  </a:lnTo>
                  <a:lnTo>
                    <a:pt x="88897" y="52394"/>
                  </a:lnTo>
                  <a:lnTo>
                    <a:pt x="89523" y="52593"/>
                  </a:lnTo>
                  <a:lnTo>
                    <a:pt x="89864" y="53276"/>
                  </a:lnTo>
                  <a:lnTo>
                    <a:pt x="89522" y="54583"/>
                  </a:lnTo>
                  <a:lnTo>
                    <a:pt x="89442" y="56398"/>
                  </a:lnTo>
                  <a:lnTo>
                    <a:pt x="88257" y="58506"/>
                  </a:lnTo>
                  <a:lnTo>
                    <a:pt x="85496" y="62370"/>
                  </a:lnTo>
                  <a:lnTo>
                    <a:pt x="85162" y="63268"/>
                  </a:lnTo>
                  <a:lnTo>
                    <a:pt x="85879" y="66468"/>
                  </a:lnTo>
                  <a:lnTo>
                    <a:pt x="85495" y="69096"/>
                  </a:lnTo>
                  <a:lnTo>
                    <a:pt x="85331" y="70357"/>
                  </a:lnTo>
                  <a:lnTo>
                    <a:pt x="83977" y="72662"/>
                  </a:lnTo>
                  <a:lnTo>
                    <a:pt x="80765" y="78242"/>
                  </a:lnTo>
                  <a:lnTo>
                    <a:pt x="78918" y="79247"/>
                  </a:lnTo>
                  <a:lnTo>
                    <a:pt x="77803" y="80857"/>
                  </a:lnTo>
                  <a:lnTo>
                    <a:pt x="77085" y="80874"/>
                  </a:lnTo>
                  <a:lnTo>
                    <a:pt x="76282" y="81024"/>
                  </a:lnTo>
                  <a:lnTo>
                    <a:pt x="76027" y="81224"/>
                  </a:lnTo>
                  <a:lnTo>
                    <a:pt x="75019" y="81207"/>
                  </a:lnTo>
                  <a:lnTo>
                    <a:pt x="74233" y="80492"/>
                  </a:lnTo>
                  <a:lnTo>
                    <a:pt x="74111" y="79649"/>
                  </a:lnTo>
                  <a:lnTo>
                    <a:pt x="73684" y="78682"/>
                  </a:lnTo>
                  <a:lnTo>
                    <a:pt x="72697" y="78392"/>
                  </a:lnTo>
                  <a:lnTo>
                    <a:pt x="70822" y="78728"/>
                  </a:lnTo>
                  <a:lnTo>
                    <a:pt x="70282" y="78489"/>
                  </a:lnTo>
                  <a:lnTo>
                    <a:pt x="69166" y="77449"/>
                  </a:lnTo>
                  <a:lnTo>
                    <a:pt x="68241" y="76321"/>
                  </a:lnTo>
                  <a:lnTo>
                    <a:pt x="68014" y="75230"/>
                  </a:lnTo>
                  <a:lnTo>
                    <a:pt x="67413" y="75334"/>
                  </a:lnTo>
                  <a:lnTo>
                    <a:pt x="65987" y="76321"/>
                  </a:lnTo>
                  <a:lnTo>
                    <a:pt x="65019" y="76523"/>
                  </a:lnTo>
                  <a:lnTo>
                    <a:pt x="64251" y="76267"/>
                  </a:lnTo>
                  <a:lnTo>
                    <a:pt x="63392" y="76339"/>
                  </a:lnTo>
                  <a:lnTo>
                    <a:pt x="61217" y="77398"/>
                  </a:lnTo>
                  <a:lnTo>
                    <a:pt x="59936" y="77639"/>
                  </a:lnTo>
                  <a:lnTo>
                    <a:pt x="59021" y="78704"/>
                  </a:lnTo>
                  <a:lnTo>
                    <a:pt x="52971" y="79188"/>
                  </a:lnTo>
                  <a:lnTo>
                    <a:pt x="51388" y="79467"/>
                  </a:lnTo>
                  <a:lnTo>
                    <a:pt x="47779" y="77623"/>
                  </a:lnTo>
                  <a:lnTo>
                    <a:pt x="46846" y="77023"/>
                  </a:lnTo>
                  <a:lnTo>
                    <a:pt x="46370" y="76938"/>
                  </a:lnTo>
                  <a:lnTo>
                    <a:pt x="45970" y="77037"/>
                  </a:lnTo>
                  <a:lnTo>
                    <a:pt x="45573" y="77446"/>
                  </a:lnTo>
                  <a:lnTo>
                    <a:pt x="44980" y="79763"/>
                  </a:lnTo>
                  <a:lnTo>
                    <a:pt x="44432" y="80391"/>
                  </a:lnTo>
                  <a:lnTo>
                    <a:pt x="43489" y="80902"/>
                  </a:lnTo>
                  <a:lnTo>
                    <a:pt x="42568" y="81826"/>
                  </a:lnTo>
                  <a:lnTo>
                    <a:pt x="42385" y="82722"/>
                  </a:lnTo>
                  <a:lnTo>
                    <a:pt x="43802" y="83215"/>
                  </a:lnTo>
                  <a:lnTo>
                    <a:pt x="44986" y="84954"/>
                  </a:lnTo>
                  <a:lnTo>
                    <a:pt x="46271" y="86348"/>
                  </a:lnTo>
                  <a:lnTo>
                    <a:pt x="47302" y="87578"/>
                  </a:lnTo>
                  <a:lnTo>
                    <a:pt x="47163" y="88969"/>
                  </a:lnTo>
                  <a:lnTo>
                    <a:pt x="46986" y="90941"/>
                  </a:lnTo>
                  <a:lnTo>
                    <a:pt x="46241" y="91614"/>
                  </a:lnTo>
                  <a:lnTo>
                    <a:pt x="44989" y="91942"/>
                  </a:lnTo>
                  <a:lnTo>
                    <a:pt x="40407" y="90989"/>
                  </a:lnTo>
                  <a:lnTo>
                    <a:pt x="36898" y="90136"/>
                  </a:lnTo>
                  <a:lnTo>
                    <a:pt x="35417" y="89949"/>
                  </a:lnTo>
                  <a:lnTo>
                    <a:pt x="34754" y="89732"/>
                  </a:lnTo>
                  <a:lnTo>
                    <a:pt x="33879" y="89010"/>
                  </a:lnTo>
                  <a:lnTo>
                    <a:pt x="32987" y="88340"/>
                  </a:lnTo>
                  <a:lnTo>
                    <a:pt x="31561" y="88098"/>
                  </a:lnTo>
                  <a:lnTo>
                    <a:pt x="29855" y="87645"/>
                  </a:lnTo>
                  <a:lnTo>
                    <a:pt x="28600" y="85911"/>
                  </a:lnTo>
                  <a:lnTo>
                    <a:pt x="27302" y="83438"/>
                  </a:lnTo>
                  <a:lnTo>
                    <a:pt x="26844" y="82321"/>
                  </a:lnTo>
                  <a:lnTo>
                    <a:pt x="25829" y="81241"/>
                  </a:lnTo>
                  <a:lnTo>
                    <a:pt x="24832" y="79706"/>
                  </a:lnTo>
                  <a:lnTo>
                    <a:pt x="24529" y="78346"/>
                  </a:lnTo>
                  <a:lnTo>
                    <a:pt x="23775" y="77098"/>
                  </a:lnTo>
                  <a:lnTo>
                    <a:pt x="23381" y="76679"/>
                  </a:lnTo>
                  <a:lnTo>
                    <a:pt x="22798" y="74979"/>
                  </a:lnTo>
                  <a:lnTo>
                    <a:pt x="22677" y="74348"/>
                  </a:lnTo>
                  <a:lnTo>
                    <a:pt x="22390" y="74268"/>
                  </a:lnTo>
                  <a:lnTo>
                    <a:pt x="21981" y="73725"/>
                  </a:lnTo>
                  <a:lnTo>
                    <a:pt x="21176" y="71906"/>
                  </a:lnTo>
                  <a:lnTo>
                    <a:pt x="20993" y="71455"/>
                  </a:lnTo>
                  <a:lnTo>
                    <a:pt x="20639" y="71294"/>
                  </a:lnTo>
                  <a:lnTo>
                    <a:pt x="19700" y="70017"/>
                  </a:lnTo>
                  <a:lnTo>
                    <a:pt x="18954" y="69574"/>
                  </a:lnTo>
                  <a:lnTo>
                    <a:pt x="18678" y="68920"/>
                  </a:lnTo>
                  <a:lnTo>
                    <a:pt x="18742" y="67137"/>
                  </a:lnTo>
                  <a:lnTo>
                    <a:pt x="18342" y="66258"/>
                  </a:lnTo>
                  <a:lnTo>
                    <a:pt x="18219" y="64588"/>
                  </a:lnTo>
                  <a:lnTo>
                    <a:pt x="18196" y="63917"/>
                  </a:lnTo>
                  <a:lnTo>
                    <a:pt x="17812" y="63177"/>
                  </a:lnTo>
                  <a:lnTo>
                    <a:pt x="17172" y="62690"/>
                  </a:lnTo>
                  <a:lnTo>
                    <a:pt x="17062" y="61483"/>
                  </a:lnTo>
                  <a:lnTo>
                    <a:pt x="16906" y="58500"/>
                  </a:lnTo>
                  <a:lnTo>
                    <a:pt x="16603" y="57980"/>
                  </a:lnTo>
                  <a:lnTo>
                    <a:pt x="13907" y="58017"/>
                  </a:lnTo>
                  <a:lnTo>
                    <a:pt x="13635" y="58308"/>
                  </a:lnTo>
                  <a:lnTo>
                    <a:pt x="12470" y="58485"/>
                  </a:lnTo>
                  <a:lnTo>
                    <a:pt x="11165" y="58517"/>
                  </a:lnTo>
                  <a:lnTo>
                    <a:pt x="9990" y="58116"/>
                  </a:lnTo>
                  <a:lnTo>
                    <a:pt x="9017" y="57594"/>
                  </a:lnTo>
                  <a:lnTo>
                    <a:pt x="8810" y="56948"/>
                  </a:lnTo>
                  <a:lnTo>
                    <a:pt x="8957" y="54874"/>
                  </a:lnTo>
                  <a:lnTo>
                    <a:pt x="7389" y="53304"/>
                  </a:lnTo>
                  <a:lnTo>
                    <a:pt x="4906" y="51363"/>
                  </a:lnTo>
                  <a:lnTo>
                    <a:pt x="4156" y="48899"/>
                  </a:lnTo>
                  <a:lnTo>
                    <a:pt x="3246" y="47361"/>
                  </a:lnTo>
                  <a:lnTo>
                    <a:pt x="493" y="44144"/>
                  </a:lnTo>
                  <a:lnTo>
                    <a:pt x="5" y="41936"/>
                  </a:lnTo>
                  <a:lnTo>
                    <a:pt x="0" y="40380"/>
                  </a:lnTo>
                  <a:lnTo>
                    <a:pt x="968" y="38950"/>
                  </a:lnTo>
                  <a:lnTo>
                    <a:pt x="2317" y="36436"/>
                  </a:lnTo>
                  <a:lnTo>
                    <a:pt x="2870" y="34151"/>
                  </a:lnTo>
                  <a:lnTo>
                    <a:pt x="3279" y="32962"/>
                  </a:lnTo>
                  <a:lnTo>
                    <a:pt x="3976" y="31404"/>
                  </a:lnTo>
                  <a:lnTo>
                    <a:pt x="4611" y="29386"/>
                  </a:lnTo>
                  <a:lnTo>
                    <a:pt x="4127" y="28142"/>
                  </a:lnTo>
                  <a:lnTo>
                    <a:pt x="3309" y="26923"/>
                  </a:lnTo>
                  <a:lnTo>
                    <a:pt x="3040" y="26012"/>
                  </a:lnTo>
                  <a:lnTo>
                    <a:pt x="3835" y="24678"/>
                  </a:lnTo>
                  <a:lnTo>
                    <a:pt x="4635" y="23738"/>
                  </a:lnTo>
                  <a:lnTo>
                    <a:pt x="5537" y="23604"/>
                  </a:lnTo>
                  <a:lnTo>
                    <a:pt x="6689" y="23040"/>
                  </a:lnTo>
                  <a:lnTo>
                    <a:pt x="7594" y="22230"/>
                  </a:lnTo>
                  <a:lnTo>
                    <a:pt x="8971" y="22017"/>
                  </a:lnTo>
                  <a:lnTo>
                    <a:pt x="10694" y="21932"/>
                  </a:lnTo>
                  <a:lnTo>
                    <a:pt x="14204" y="21930"/>
                  </a:lnTo>
                  <a:lnTo>
                    <a:pt x="15998" y="21585"/>
                  </a:lnTo>
                  <a:lnTo>
                    <a:pt x="16556" y="20933"/>
                  </a:lnTo>
                  <a:lnTo>
                    <a:pt x="16472" y="19685"/>
                  </a:lnTo>
                  <a:lnTo>
                    <a:pt x="17363" y="18551"/>
                  </a:lnTo>
                  <a:lnTo>
                    <a:pt x="18301" y="18074"/>
                  </a:lnTo>
                  <a:lnTo>
                    <a:pt x="18678" y="17700"/>
                  </a:lnTo>
                  <a:lnTo>
                    <a:pt x="18733" y="17283"/>
                  </a:lnTo>
                  <a:lnTo>
                    <a:pt x="18487" y="16899"/>
                  </a:lnTo>
                  <a:lnTo>
                    <a:pt x="18115" y="16648"/>
                  </a:lnTo>
                  <a:lnTo>
                    <a:pt x="17134" y="16561"/>
                  </a:lnTo>
                  <a:lnTo>
                    <a:pt x="16274" y="14597"/>
                  </a:lnTo>
                  <a:lnTo>
                    <a:pt x="16863" y="13741"/>
                  </a:lnTo>
                  <a:lnTo>
                    <a:pt x="17623" y="12162"/>
                  </a:lnTo>
                  <a:lnTo>
                    <a:pt x="17836" y="11273"/>
                  </a:lnTo>
                  <a:lnTo>
                    <a:pt x="19011" y="9872"/>
                  </a:lnTo>
                  <a:lnTo>
                    <a:pt x="19290" y="10305"/>
                  </a:lnTo>
                  <a:lnTo>
                    <a:pt x="20204" y="7756"/>
                  </a:lnTo>
                  <a:lnTo>
                    <a:pt x="20310" y="5684"/>
                  </a:lnTo>
                  <a:lnTo>
                    <a:pt x="21005" y="3640"/>
                  </a:lnTo>
                  <a:lnTo>
                    <a:pt x="22065" y="1215"/>
                  </a:lnTo>
                  <a:lnTo>
                    <a:pt x="23985" y="12"/>
                  </a:lnTo>
                  <a:lnTo>
                    <a:pt x="35125" y="1235"/>
                  </a:lnTo>
                  <a:lnTo>
                    <a:pt x="40220" y="2398"/>
                  </a:lnTo>
                  <a:lnTo>
                    <a:pt x="46766" y="4392"/>
                  </a:lnTo>
                  <a:lnTo>
                    <a:pt x="47694" y="6525"/>
                  </a:lnTo>
                  <a:lnTo>
                    <a:pt x="47740" y="4392"/>
                  </a:lnTo>
                  <a:lnTo>
                    <a:pt x="47422" y="2237"/>
                  </a:lnTo>
                  <a:lnTo>
                    <a:pt x="49229" y="705"/>
                  </a:lnTo>
                  <a:lnTo>
                    <a:pt x="53206" y="167"/>
                  </a:lnTo>
                  <a:lnTo>
                    <a:pt x="59155" y="905"/>
                  </a:lnTo>
                  <a:lnTo>
                    <a:pt x="64263" y="0"/>
                  </a:lnTo>
                  <a:lnTo>
                    <a:pt x="71219" y="113"/>
                  </a:lnTo>
                  <a:lnTo>
                    <a:pt x="81779" y="1854"/>
                  </a:lnTo>
                  <a:lnTo>
                    <a:pt x="86507" y="3042"/>
                  </a:lnTo>
                  <a:lnTo>
                    <a:pt x="88456" y="4116"/>
                  </a:lnTo>
                  <a:lnTo>
                    <a:pt x="88827" y="6055"/>
                  </a:lnTo>
                  <a:lnTo>
                    <a:pt x="88638" y="8531"/>
                  </a:lnTo>
                  <a:lnTo>
                    <a:pt x="87875" y="10896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51" name="ee4p_TT_1_37365">
              <a:extLst>
                <a:ext uri="{FF2B5EF4-FFF2-40B4-BE49-F238E27FC236}">
                  <a16:creationId xmlns:a16="http://schemas.microsoft.com/office/drawing/2014/main" id="{90A0FF28-D839-28A9-00C8-F6A8C1C6FDA8}"/>
                </a:ext>
              </a:extLst>
            </p:cNvPr>
            <p:cNvSpPr>
              <a:spLocks noChangeAspect="1"/>
            </p:cNvSpPr>
            <p:nvPr>
              <p:custDataLst>
                <p:tags r:id="rId405"/>
              </p:custDataLst>
            </p:nvPr>
          </p:nvSpPr>
          <p:spPr>
            <a:xfrm>
              <a:off x="4795608" y="4351369"/>
              <a:ext cx="38340" cy="36367"/>
            </a:xfrm>
            <a:custGeom>
              <a:avLst/>
              <a:gdLst>
                <a:gd name="connsiteX0" fmla="*/ 25065 w 35008"/>
                <a:gd name="connsiteY0" fmla="*/ 12450 h 32327"/>
                <a:gd name="connsiteX1" fmla="*/ 23060 w 35008"/>
                <a:gd name="connsiteY1" fmla="*/ 15632 h 32327"/>
                <a:gd name="connsiteX2" fmla="*/ 22120 w 35008"/>
                <a:gd name="connsiteY2" fmla="*/ 16819 h 32327"/>
                <a:gd name="connsiteX3" fmla="*/ 22486 w 35008"/>
                <a:gd name="connsiteY3" fmla="*/ 19685 h 32327"/>
                <a:gd name="connsiteX4" fmla="*/ 22025 w 35008"/>
                <a:gd name="connsiteY4" fmla="*/ 21628 h 32327"/>
                <a:gd name="connsiteX5" fmla="*/ 22560 w 35008"/>
                <a:gd name="connsiteY5" fmla="*/ 24086 h 32327"/>
                <a:gd name="connsiteX6" fmla="*/ 23776 w 35008"/>
                <a:gd name="connsiteY6" fmla="*/ 25700 h 32327"/>
                <a:gd name="connsiteX7" fmla="*/ 22986 w 35008"/>
                <a:gd name="connsiteY7" fmla="*/ 27286 h 32327"/>
                <a:gd name="connsiteX8" fmla="*/ 22873 w 35008"/>
                <a:gd name="connsiteY8" fmla="*/ 29685 h 32327"/>
                <a:gd name="connsiteX9" fmla="*/ 22670 w 35008"/>
                <a:gd name="connsiteY9" fmla="*/ 30543 h 32327"/>
                <a:gd name="connsiteX10" fmla="*/ 18558 w 35008"/>
                <a:gd name="connsiteY10" fmla="*/ 31985 h 32327"/>
                <a:gd name="connsiteX11" fmla="*/ 7846 w 35008"/>
                <a:gd name="connsiteY11" fmla="*/ 32327 h 32327"/>
                <a:gd name="connsiteX12" fmla="*/ 3409 w 35008"/>
                <a:gd name="connsiteY12" fmla="*/ 31805 h 32327"/>
                <a:gd name="connsiteX13" fmla="*/ 0 w 35008"/>
                <a:gd name="connsiteY13" fmla="*/ 32212 h 32327"/>
                <a:gd name="connsiteX14" fmla="*/ 6204 w 35008"/>
                <a:gd name="connsiteY14" fmla="*/ 29074 h 32327"/>
                <a:gd name="connsiteX15" fmla="*/ 6933 w 35008"/>
                <a:gd name="connsiteY15" fmla="*/ 27749 h 32327"/>
                <a:gd name="connsiteX16" fmla="*/ 9566 w 35008"/>
                <a:gd name="connsiteY16" fmla="*/ 27501 h 32327"/>
                <a:gd name="connsiteX17" fmla="*/ 10315 w 35008"/>
                <a:gd name="connsiteY17" fmla="*/ 27105 h 32327"/>
                <a:gd name="connsiteX18" fmla="*/ 11192 w 35008"/>
                <a:gd name="connsiteY18" fmla="*/ 20176 h 32327"/>
                <a:gd name="connsiteX19" fmla="*/ 10849 w 35008"/>
                <a:gd name="connsiteY19" fmla="*/ 18524 h 32327"/>
                <a:gd name="connsiteX20" fmla="*/ 10328 w 35008"/>
                <a:gd name="connsiteY20" fmla="*/ 17614 h 32327"/>
                <a:gd name="connsiteX21" fmla="*/ 9260 w 35008"/>
                <a:gd name="connsiteY21" fmla="*/ 16958 h 32327"/>
                <a:gd name="connsiteX22" fmla="*/ 6867 w 35008"/>
                <a:gd name="connsiteY22" fmla="*/ 16063 h 32327"/>
                <a:gd name="connsiteX23" fmla="*/ 6464 w 35008"/>
                <a:gd name="connsiteY23" fmla="*/ 15584 h 32327"/>
                <a:gd name="connsiteX24" fmla="*/ 7969 w 35008"/>
                <a:gd name="connsiteY24" fmla="*/ 14817 h 32327"/>
                <a:gd name="connsiteX25" fmla="*/ 11190 w 35008"/>
                <a:gd name="connsiteY25" fmla="*/ 14394 h 32327"/>
                <a:gd name="connsiteX26" fmla="*/ 13595 w 35008"/>
                <a:gd name="connsiteY26" fmla="*/ 13564 h 32327"/>
                <a:gd name="connsiteX27" fmla="*/ 18571 w 35008"/>
                <a:gd name="connsiteY27" fmla="*/ 13397 h 32327"/>
                <a:gd name="connsiteX28" fmla="*/ 20985 w 35008"/>
                <a:gd name="connsiteY28" fmla="*/ 12664 h 32327"/>
                <a:gd name="connsiteX29" fmla="*/ 35008 w 35008"/>
                <a:gd name="connsiteY29" fmla="*/ 0 h 32327"/>
                <a:gd name="connsiteX30" fmla="*/ 34475 w 35008"/>
                <a:gd name="connsiteY30" fmla="*/ 1583 h 32327"/>
                <a:gd name="connsiteX31" fmla="*/ 29156 w 35008"/>
                <a:gd name="connsiteY31" fmla="*/ 3770 h 32327"/>
                <a:gd name="connsiteX32" fmla="*/ 27777 w 35008"/>
                <a:gd name="connsiteY32" fmla="*/ 4025 h 32327"/>
                <a:gd name="connsiteX33" fmla="*/ 27939 w 35008"/>
                <a:gd name="connsiteY33" fmla="*/ 3003 h 32327"/>
                <a:gd name="connsiteX34" fmla="*/ 30356 w 35008"/>
                <a:gd name="connsiteY34" fmla="*/ 1236 h 32327"/>
                <a:gd name="connsiteX35" fmla="*/ 34062 w 35008"/>
                <a:gd name="connsiteY35" fmla="*/ 47 h 32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35008" h="32327">
                  <a:moveTo>
                    <a:pt x="25065" y="12450"/>
                  </a:moveTo>
                  <a:lnTo>
                    <a:pt x="23060" y="15632"/>
                  </a:lnTo>
                  <a:lnTo>
                    <a:pt x="22120" y="16819"/>
                  </a:lnTo>
                  <a:lnTo>
                    <a:pt x="22486" y="19685"/>
                  </a:lnTo>
                  <a:lnTo>
                    <a:pt x="22025" y="21628"/>
                  </a:lnTo>
                  <a:lnTo>
                    <a:pt x="22560" y="24086"/>
                  </a:lnTo>
                  <a:lnTo>
                    <a:pt x="23776" y="25700"/>
                  </a:lnTo>
                  <a:lnTo>
                    <a:pt x="22986" y="27286"/>
                  </a:lnTo>
                  <a:lnTo>
                    <a:pt x="22873" y="29685"/>
                  </a:lnTo>
                  <a:lnTo>
                    <a:pt x="22670" y="30543"/>
                  </a:lnTo>
                  <a:lnTo>
                    <a:pt x="18558" y="31985"/>
                  </a:lnTo>
                  <a:lnTo>
                    <a:pt x="7846" y="32327"/>
                  </a:lnTo>
                  <a:lnTo>
                    <a:pt x="3409" y="31805"/>
                  </a:lnTo>
                  <a:lnTo>
                    <a:pt x="0" y="32212"/>
                  </a:lnTo>
                  <a:lnTo>
                    <a:pt x="6204" y="29074"/>
                  </a:lnTo>
                  <a:lnTo>
                    <a:pt x="6933" y="27749"/>
                  </a:lnTo>
                  <a:lnTo>
                    <a:pt x="9566" y="27501"/>
                  </a:lnTo>
                  <a:lnTo>
                    <a:pt x="10315" y="27105"/>
                  </a:lnTo>
                  <a:lnTo>
                    <a:pt x="11192" y="20176"/>
                  </a:lnTo>
                  <a:lnTo>
                    <a:pt x="10849" y="18524"/>
                  </a:lnTo>
                  <a:lnTo>
                    <a:pt x="10328" y="17614"/>
                  </a:lnTo>
                  <a:lnTo>
                    <a:pt x="9260" y="16958"/>
                  </a:lnTo>
                  <a:lnTo>
                    <a:pt x="6867" y="16063"/>
                  </a:lnTo>
                  <a:lnTo>
                    <a:pt x="6464" y="15584"/>
                  </a:lnTo>
                  <a:lnTo>
                    <a:pt x="7969" y="14817"/>
                  </a:lnTo>
                  <a:lnTo>
                    <a:pt x="11190" y="14394"/>
                  </a:lnTo>
                  <a:lnTo>
                    <a:pt x="13595" y="13564"/>
                  </a:lnTo>
                  <a:lnTo>
                    <a:pt x="18571" y="13397"/>
                  </a:lnTo>
                  <a:lnTo>
                    <a:pt x="20985" y="12664"/>
                  </a:lnTo>
                  <a:close/>
                  <a:moveTo>
                    <a:pt x="35008" y="0"/>
                  </a:moveTo>
                  <a:lnTo>
                    <a:pt x="34475" y="1583"/>
                  </a:lnTo>
                  <a:lnTo>
                    <a:pt x="29156" y="3770"/>
                  </a:lnTo>
                  <a:lnTo>
                    <a:pt x="27777" y="4025"/>
                  </a:lnTo>
                  <a:lnTo>
                    <a:pt x="27939" y="3003"/>
                  </a:lnTo>
                  <a:lnTo>
                    <a:pt x="30356" y="1236"/>
                  </a:lnTo>
                  <a:lnTo>
                    <a:pt x="34062" y="47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52" name="ee4p_UY_1_37365">
              <a:extLst>
                <a:ext uri="{FF2B5EF4-FFF2-40B4-BE49-F238E27FC236}">
                  <a16:creationId xmlns:a16="http://schemas.microsoft.com/office/drawing/2014/main" id="{94026D64-9929-F515-356F-9AC5CBA018E8}"/>
                </a:ext>
              </a:extLst>
            </p:cNvPr>
            <p:cNvSpPr>
              <a:spLocks noChangeAspect="1"/>
            </p:cNvSpPr>
            <p:nvPr>
              <p:custDataLst>
                <p:tags r:id="rId406"/>
              </p:custDataLst>
            </p:nvPr>
          </p:nvSpPr>
          <p:spPr>
            <a:xfrm>
              <a:off x="4891910" y="5560888"/>
              <a:ext cx="147528" cy="153409"/>
            </a:xfrm>
            <a:custGeom>
              <a:avLst/>
              <a:gdLst/>
              <a:ahLst/>
              <a:cxnLst/>
              <a:rect l="0" t="0" r="0" b="0"/>
              <a:pathLst>
                <a:path w="117473" h="118918">
                  <a:moveTo>
                    <a:pt x="112054" y="89243"/>
                  </a:moveTo>
                  <a:lnTo>
                    <a:pt x="110971" y="90162"/>
                  </a:lnTo>
                  <a:lnTo>
                    <a:pt x="109802" y="91903"/>
                  </a:lnTo>
                  <a:lnTo>
                    <a:pt x="108430" y="96082"/>
                  </a:lnTo>
                  <a:lnTo>
                    <a:pt x="103821" y="101856"/>
                  </a:lnTo>
                  <a:lnTo>
                    <a:pt x="102884" y="105117"/>
                  </a:lnTo>
                  <a:lnTo>
                    <a:pt x="97910" y="108524"/>
                  </a:lnTo>
                  <a:lnTo>
                    <a:pt x="94410" y="112363"/>
                  </a:lnTo>
                  <a:lnTo>
                    <a:pt x="92120" y="112267"/>
                  </a:lnTo>
                  <a:lnTo>
                    <a:pt x="90059" y="113912"/>
                  </a:lnTo>
                  <a:lnTo>
                    <a:pt x="78185" y="118917"/>
                  </a:lnTo>
                  <a:lnTo>
                    <a:pt x="73922" y="117973"/>
                  </a:lnTo>
                  <a:lnTo>
                    <a:pt x="70765" y="117991"/>
                  </a:lnTo>
                  <a:lnTo>
                    <a:pt x="67830" y="115784"/>
                  </a:lnTo>
                  <a:lnTo>
                    <a:pt x="61140" y="114986"/>
                  </a:lnTo>
                  <a:lnTo>
                    <a:pt x="56943" y="115867"/>
                  </a:lnTo>
                  <a:lnTo>
                    <a:pt x="51305" y="118294"/>
                  </a:lnTo>
                  <a:lnTo>
                    <a:pt x="49609" y="118257"/>
                  </a:lnTo>
                  <a:lnTo>
                    <a:pt x="48386" y="118127"/>
                  </a:lnTo>
                  <a:lnTo>
                    <a:pt x="45337" y="117121"/>
                  </a:lnTo>
                  <a:lnTo>
                    <a:pt x="43673" y="114979"/>
                  </a:lnTo>
                  <a:lnTo>
                    <a:pt x="35003" y="112511"/>
                  </a:lnTo>
                  <a:lnTo>
                    <a:pt x="28026" y="106911"/>
                  </a:lnTo>
                  <a:lnTo>
                    <a:pt x="19784" y="106804"/>
                  </a:lnTo>
                  <a:lnTo>
                    <a:pt x="13468" y="107535"/>
                  </a:lnTo>
                  <a:lnTo>
                    <a:pt x="12491" y="106795"/>
                  </a:lnTo>
                  <a:lnTo>
                    <a:pt x="11852" y="105360"/>
                  </a:lnTo>
                  <a:lnTo>
                    <a:pt x="10546" y="103286"/>
                  </a:lnTo>
                  <a:lnTo>
                    <a:pt x="5111" y="98360"/>
                  </a:lnTo>
                  <a:lnTo>
                    <a:pt x="839" y="93470"/>
                  </a:lnTo>
                  <a:lnTo>
                    <a:pt x="0" y="88672"/>
                  </a:lnTo>
                  <a:lnTo>
                    <a:pt x="593" y="83459"/>
                  </a:lnTo>
                  <a:lnTo>
                    <a:pt x="1875" y="77300"/>
                  </a:lnTo>
                  <a:lnTo>
                    <a:pt x="1650" y="75378"/>
                  </a:lnTo>
                  <a:lnTo>
                    <a:pt x="3228" y="74282"/>
                  </a:lnTo>
                  <a:lnTo>
                    <a:pt x="4789" y="74062"/>
                  </a:lnTo>
                  <a:lnTo>
                    <a:pt x="6293" y="72470"/>
                  </a:lnTo>
                  <a:lnTo>
                    <a:pt x="7639" y="70069"/>
                  </a:lnTo>
                  <a:lnTo>
                    <a:pt x="7868" y="68249"/>
                  </a:lnTo>
                  <a:lnTo>
                    <a:pt x="6823" y="64886"/>
                  </a:lnTo>
                  <a:lnTo>
                    <a:pt x="6102" y="60188"/>
                  </a:lnTo>
                  <a:lnTo>
                    <a:pt x="5240" y="57855"/>
                  </a:lnTo>
                  <a:lnTo>
                    <a:pt x="6968" y="54172"/>
                  </a:lnTo>
                  <a:lnTo>
                    <a:pt x="7041" y="52380"/>
                  </a:lnTo>
                  <a:lnTo>
                    <a:pt x="6044" y="50807"/>
                  </a:lnTo>
                  <a:lnTo>
                    <a:pt x="5775" y="49192"/>
                  </a:lnTo>
                  <a:lnTo>
                    <a:pt x="6231" y="47536"/>
                  </a:lnTo>
                  <a:lnTo>
                    <a:pt x="6142" y="45941"/>
                  </a:lnTo>
                  <a:lnTo>
                    <a:pt x="5509" y="44414"/>
                  </a:lnTo>
                  <a:lnTo>
                    <a:pt x="5985" y="43151"/>
                  </a:lnTo>
                  <a:lnTo>
                    <a:pt x="7569" y="42151"/>
                  </a:lnTo>
                  <a:lnTo>
                    <a:pt x="8752" y="40618"/>
                  </a:lnTo>
                  <a:lnTo>
                    <a:pt x="9534" y="38555"/>
                  </a:lnTo>
                  <a:lnTo>
                    <a:pt x="9935" y="36981"/>
                  </a:lnTo>
                  <a:lnTo>
                    <a:pt x="9954" y="35894"/>
                  </a:lnTo>
                  <a:lnTo>
                    <a:pt x="9475" y="34872"/>
                  </a:lnTo>
                  <a:lnTo>
                    <a:pt x="8498" y="33908"/>
                  </a:lnTo>
                  <a:lnTo>
                    <a:pt x="8950" y="31995"/>
                  </a:lnTo>
                  <a:lnTo>
                    <a:pt x="10831" y="29134"/>
                  </a:lnTo>
                  <a:lnTo>
                    <a:pt x="12046" y="26594"/>
                  </a:lnTo>
                  <a:lnTo>
                    <a:pt x="12598" y="24377"/>
                  </a:lnTo>
                  <a:lnTo>
                    <a:pt x="12562" y="22590"/>
                  </a:lnTo>
                  <a:lnTo>
                    <a:pt x="11938" y="21229"/>
                  </a:lnTo>
                  <a:lnTo>
                    <a:pt x="12202" y="20309"/>
                  </a:lnTo>
                  <a:lnTo>
                    <a:pt x="13357" y="19824"/>
                  </a:lnTo>
                  <a:lnTo>
                    <a:pt x="13877" y="18390"/>
                  </a:lnTo>
                  <a:lnTo>
                    <a:pt x="13701" y="14825"/>
                  </a:lnTo>
                  <a:lnTo>
                    <a:pt x="12508" y="11884"/>
                  </a:lnTo>
                  <a:lnTo>
                    <a:pt x="13421" y="9558"/>
                  </a:lnTo>
                  <a:lnTo>
                    <a:pt x="16042" y="6869"/>
                  </a:lnTo>
                  <a:lnTo>
                    <a:pt x="17409" y="4700"/>
                  </a:lnTo>
                  <a:lnTo>
                    <a:pt x="17522" y="3049"/>
                  </a:lnTo>
                  <a:lnTo>
                    <a:pt x="18337" y="2100"/>
                  </a:lnTo>
                  <a:lnTo>
                    <a:pt x="19588" y="3880"/>
                  </a:lnTo>
                  <a:lnTo>
                    <a:pt x="23313" y="4352"/>
                  </a:lnTo>
                  <a:lnTo>
                    <a:pt x="27059" y="4418"/>
                  </a:lnTo>
                  <a:lnTo>
                    <a:pt x="27668" y="3968"/>
                  </a:lnTo>
                  <a:lnTo>
                    <a:pt x="29136" y="1050"/>
                  </a:lnTo>
                  <a:lnTo>
                    <a:pt x="31077" y="215"/>
                  </a:lnTo>
                  <a:lnTo>
                    <a:pt x="33188" y="0"/>
                  </a:lnTo>
                  <a:lnTo>
                    <a:pt x="35500" y="149"/>
                  </a:lnTo>
                  <a:lnTo>
                    <a:pt x="37955" y="2079"/>
                  </a:lnTo>
                  <a:lnTo>
                    <a:pt x="44908" y="8398"/>
                  </a:lnTo>
                  <a:lnTo>
                    <a:pt x="50017" y="12793"/>
                  </a:lnTo>
                  <a:lnTo>
                    <a:pt x="51572" y="14868"/>
                  </a:lnTo>
                  <a:lnTo>
                    <a:pt x="52921" y="16421"/>
                  </a:lnTo>
                  <a:lnTo>
                    <a:pt x="53935" y="17870"/>
                  </a:lnTo>
                  <a:lnTo>
                    <a:pt x="53505" y="21636"/>
                  </a:lnTo>
                  <a:lnTo>
                    <a:pt x="53570" y="23287"/>
                  </a:lnTo>
                  <a:lnTo>
                    <a:pt x="53809" y="23763"/>
                  </a:lnTo>
                  <a:lnTo>
                    <a:pt x="54974" y="23804"/>
                  </a:lnTo>
                  <a:lnTo>
                    <a:pt x="56706" y="23530"/>
                  </a:lnTo>
                  <a:lnTo>
                    <a:pt x="58164" y="22728"/>
                  </a:lnTo>
                  <a:lnTo>
                    <a:pt x="59301" y="21519"/>
                  </a:lnTo>
                  <a:lnTo>
                    <a:pt x="60415" y="20533"/>
                  </a:lnTo>
                  <a:lnTo>
                    <a:pt x="61315" y="20005"/>
                  </a:lnTo>
                  <a:lnTo>
                    <a:pt x="61641" y="19206"/>
                  </a:lnTo>
                  <a:lnTo>
                    <a:pt x="62157" y="18379"/>
                  </a:lnTo>
                  <a:lnTo>
                    <a:pt x="62691" y="18201"/>
                  </a:lnTo>
                  <a:lnTo>
                    <a:pt x="63701" y="18814"/>
                  </a:lnTo>
                  <a:lnTo>
                    <a:pt x="66084" y="20968"/>
                  </a:lnTo>
                  <a:lnTo>
                    <a:pt x="67930" y="22959"/>
                  </a:lnTo>
                  <a:lnTo>
                    <a:pt x="68385" y="24099"/>
                  </a:lnTo>
                  <a:lnTo>
                    <a:pt x="69098" y="25287"/>
                  </a:lnTo>
                  <a:lnTo>
                    <a:pt x="69856" y="26322"/>
                  </a:lnTo>
                  <a:lnTo>
                    <a:pt x="70394" y="27333"/>
                  </a:lnTo>
                  <a:lnTo>
                    <a:pt x="72188" y="28650"/>
                  </a:lnTo>
                  <a:lnTo>
                    <a:pt x="74009" y="29489"/>
                  </a:lnTo>
                  <a:lnTo>
                    <a:pt x="75228" y="28636"/>
                  </a:lnTo>
                  <a:lnTo>
                    <a:pt x="78325" y="31375"/>
                  </a:lnTo>
                  <a:lnTo>
                    <a:pt x="85143" y="33670"/>
                  </a:lnTo>
                  <a:lnTo>
                    <a:pt x="86398" y="35059"/>
                  </a:lnTo>
                  <a:lnTo>
                    <a:pt x="87574" y="37033"/>
                  </a:lnTo>
                  <a:lnTo>
                    <a:pt x="89957" y="40025"/>
                  </a:lnTo>
                  <a:lnTo>
                    <a:pt x="93260" y="42722"/>
                  </a:lnTo>
                  <a:lnTo>
                    <a:pt x="95916" y="43859"/>
                  </a:lnTo>
                  <a:lnTo>
                    <a:pt x="98465" y="44510"/>
                  </a:lnTo>
                  <a:lnTo>
                    <a:pt x="99893" y="45103"/>
                  </a:lnTo>
                  <a:lnTo>
                    <a:pt x="100867" y="46138"/>
                  </a:lnTo>
                  <a:lnTo>
                    <a:pt x="102425" y="47251"/>
                  </a:lnTo>
                  <a:lnTo>
                    <a:pt x="103406" y="47665"/>
                  </a:lnTo>
                  <a:lnTo>
                    <a:pt x="103740" y="48662"/>
                  </a:lnTo>
                  <a:lnTo>
                    <a:pt x="104746" y="50843"/>
                  </a:lnTo>
                  <a:lnTo>
                    <a:pt x="105796" y="53603"/>
                  </a:lnTo>
                  <a:lnTo>
                    <a:pt x="106944" y="56167"/>
                  </a:lnTo>
                  <a:lnTo>
                    <a:pt x="109427" y="58631"/>
                  </a:lnTo>
                  <a:lnTo>
                    <a:pt x="112228" y="60549"/>
                  </a:lnTo>
                  <a:lnTo>
                    <a:pt x="115136" y="61638"/>
                  </a:lnTo>
                  <a:lnTo>
                    <a:pt x="116771" y="62985"/>
                  </a:lnTo>
                  <a:lnTo>
                    <a:pt x="117472" y="64380"/>
                  </a:lnTo>
                  <a:lnTo>
                    <a:pt x="115516" y="66460"/>
                  </a:lnTo>
                  <a:lnTo>
                    <a:pt x="113392" y="69073"/>
                  </a:lnTo>
                  <a:lnTo>
                    <a:pt x="111510" y="71129"/>
                  </a:lnTo>
                  <a:lnTo>
                    <a:pt x="109572" y="72567"/>
                  </a:lnTo>
                  <a:lnTo>
                    <a:pt x="108931" y="73558"/>
                  </a:lnTo>
                  <a:lnTo>
                    <a:pt x="108500" y="75095"/>
                  </a:lnTo>
                  <a:lnTo>
                    <a:pt x="108522" y="83246"/>
                  </a:lnTo>
                  <a:lnTo>
                    <a:pt x="108361" y="86284"/>
                  </a:lnTo>
                  <a:lnTo>
                    <a:pt x="108500" y="87092"/>
                  </a:lnTo>
                  <a:lnTo>
                    <a:pt x="108776" y="87632"/>
                  </a:lnTo>
                  <a:lnTo>
                    <a:pt x="109999" y="88442"/>
                  </a:lnTo>
                  <a:lnTo>
                    <a:pt x="111458" y="89123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53" name="ee4p_VC_1_37365">
              <a:extLst>
                <a:ext uri="{FF2B5EF4-FFF2-40B4-BE49-F238E27FC236}">
                  <a16:creationId xmlns:a16="http://schemas.microsoft.com/office/drawing/2014/main" id="{5824A492-5FB6-09E3-63F7-BEE8B5A5130E}"/>
                </a:ext>
              </a:extLst>
            </p:cNvPr>
            <p:cNvSpPr>
              <a:spLocks noChangeAspect="1"/>
            </p:cNvSpPr>
            <p:nvPr>
              <p:custDataLst>
                <p:tags r:id="rId407"/>
              </p:custDataLst>
            </p:nvPr>
          </p:nvSpPr>
          <p:spPr>
            <a:xfrm>
              <a:off x="4810953" y="4292493"/>
              <a:ext cx="6372" cy="19259"/>
            </a:xfrm>
            <a:custGeom>
              <a:avLst/>
              <a:gdLst>
                <a:gd name="connsiteX0" fmla="*/ 853 w 5819"/>
                <a:gd name="connsiteY0" fmla="*/ 16070 h 17119"/>
                <a:gd name="connsiteX1" fmla="*/ 931 w 5819"/>
                <a:gd name="connsiteY1" fmla="*/ 16167 h 17119"/>
                <a:gd name="connsiteX2" fmla="*/ 981 w 5819"/>
                <a:gd name="connsiteY2" fmla="*/ 16402 h 17119"/>
                <a:gd name="connsiteX3" fmla="*/ 848 w 5819"/>
                <a:gd name="connsiteY3" fmla="*/ 16583 h 17119"/>
                <a:gd name="connsiteX4" fmla="*/ 700 w 5819"/>
                <a:gd name="connsiteY4" fmla="*/ 16729 h 17119"/>
                <a:gd name="connsiteX5" fmla="*/ 627 w 5819"/>
                <a:gd name="connsiteY5" fmla="*/ 16954 h 17119"/>
                <a:gd name="connsiteX6" fmla="*/ 485 w 5819"/>
                <a:gd name="connsiteY6" fmla="*/ 17106 h 17119"/>
                <a:gd name="connsiteX7" fmla="*/ 228 w 5819"/>
                <a:gd name="connsiteY7" fmla="*/ 17119 h 17119"/>
                <a:gd name="connsiteX8" fmla="*/ 0 w 5819"/>
                <a:gd name="connsiteY8" fmla="*/ 17031 h 17119"/>
                <a:gd name="connsiteX9" fmla="*/ 61 w 5819"/>
                <a:gd name="connsiteY9" fmla="*/ 16953 h 17119"/>
                <a:gd name="connsiteX10" fmla="*/ 350 w 5819"/>
                <a:gd name="connsiteY10" fmla="*/ 16890 h 17119"/>
                <a:gd name="connsiteX11" fmla="*/ 484 w 5819"/>
                <a:gd name="connsiteY11" fmla="*/ 16720 h 17119"/>
                <a:gd name="connsiteX12" fmla="*/ 436 w 5819"/>
                <a:gd name="connsiteY12" fmla="*/ 16492 h 17119"/>
                <a:gd name="connsiteX13" fmla="*/ 448 w 5819"/>
                <a:gd name="connsiteY13" fmla="*/ 16241 h 17119"/>
                <a:gd name="connsiteX14" fmla="*/ 678 w 5819"/>
                <a:gd name="connsiteY14" fmla="*/ 16086 h 17119"/>
                <a:gd name="connsiteX15" fmla="*/ 3863 w 5819"/>
                <a:gd name="connsiteY15" fmla="*/ 7897 h 17119"/>
                <a:gd name="connsiteX16" fmla="*/ 3897 w 5819"/>
                <a:gd name="connsiteY16" fmla="*/ 7995 h 17119"/>
                <a:gd name="connsiteX17" fmla="*/ 3910 w 5819"/>
                <a:gd name="connsiteY17" fmla="*/ 8089 h 17119"/>
                <a:gd name="connsiteX18" fmla="*/ 3944 w 5819"/>
                <a:gd name="connsiteY18" fmla="*/ 8177 h 17119"/>
                <a:gd name="connsiteX19" fmla="*/ 4051 w 5819"/>
                <a:gd name="connsiteY19" fmla="*/ 8265 h 17119"/>
                <a:gd name="connsiteX20" fmla="*/ 3689 w 5819"/>
                <a:gd name="connsiteY20" fmla="*/ 8615 h 17119"/>
                <a:gd name="connsiteX21" fmla="*/ 3228 w 5819"/>
                <a:gd name="connsiteY21" fmla="*/ 9390 h 17119"/>
                <a:gd name="connsiteX22" fmla="*/ 2822 w 5819"/>
                <a:gd name="connsiteY22" fmla="*/ 9673 h 17119"/>
                <a:gd name="connsiteX23" fmla="*/ 3012 w 5819"/>
                <a:gd name="connsiteY23" fmla="*/ 9673 h 17119"/>
                <a:gd name="connsiteX24" fmla="*/ 2822 w 5819"/>
                <a:gd name="connsiteY24" fmla="*/ 9864 h 17119"/>
                <a:gd name="connsiteX25" fmla="*/ 2695 w 5819"/>
                <a:gd name="connsiteY25" fmla="*/ 9674 h 17119"/>
                <a:gd name="connsiteX26" fmla="*/ 2493 w 5819"/>
                <a:gd name="connsiteY26" fmla="*/ 9557 h 17119"/>
                <a:gd name="connsiteX27" fmla="*/ 2236 w 5819"/>
                <a:gd name="connsiteY27" fmla="*/ 9505 h 17119"/>
                <a:gd name="connsiteX28" fmla="*/ 1941 w 5819"/>
                <a:gd name="connsiteY28" fmla="*/ 9513 h 17119"/>
                <a:gd name="connsiteX29" fmla="*/ 1941 w 5819"/>
                <a:gd name="connsiteY29" fmla="*/ 9319 h 17119"/>
                <a:gd name="connsiteX30" fmla="*/ 2319 w 5819"/>
                <a:gd name="connsiteY30" fmla="*/ 9437 h 17119"/>
                <a:gd name="connsiteX31" fmla="*/ 2894 w 5819"/>
                <a:gd name="connsiteY31" fmla="*/ 9323 h 17119"/>
                <a:gd name="connsiteX32" fmla="*/ 2898 w 5819"/>
                <a:gd name="connsiteY32" fmla="*/ 9114 h 17119"/>
                <a:gd name="connsiteX33" fmla="*/ 2728 w 5819"/>
                <a:gd name="connsiteY33" fmla="*/ 8925 h 17119"/>
                <a:gd name="connsiteX34" fmla="*/ 2650 w 5819"/>
                <a:gd name="connsiteY34" fmla="*/ 8792 h 17119"/>
                <a:gd name="connsiteX35" fmla="*/ 2863 w 5819"/>
                <a:gd name="connsiteY35" fmla="*/ 8589 h 17119"/>
                <a:gd name="connsiteX36" fmla="*/ 3567 w 5819"/>
                <a:gd name="connsiteY36" fmla="*/ 8137 h 17119"/>
                <a:gd name="connsiteX37" fmla="*/ 5441 w 5819"/>
                <a:gd name="connsiteY37" fmla="*/ 0 h 17119"/>
                <a:gd name="connsiteX38" fmla="*/ 5819 w 5819"/>
                <a:gd name="connsiteY38" fmla="*/ 1668 h 17119"/>
                <a:gd name="connsiteX39" fmla="*/ 5553 w 5819"/>
                <a:gd name="connsiteY39" fmla="*/ 4020 h 17119"/>
                <a:gd name="connsiteX40" fmla="*/ 4538 w 5819"/>
                <a:gd name="connsiteY40" fmla="*/ 5175 h 17119"/>
                <a:gd name="connsiteX41" fmla="*/ 3794 w 5819"/>
                <a:gd name="connsiteY41" fmla="*/ 5584 h 17119"/>
                <a:gd name="connsiteX42" fmla="*/ 1933 w 5819"/>
                <a:gd name="connsiteY42" fmla="*/ 3848 h 17119"/>
                <a:gd name="connsiteX43" fmla="*/ 2157 w 5819"/>
                <a:gd name="connsiteY43" fmla="*/ 1832 h 17119"/>
                <a:gd name="connsiteX44" fmla="*/ 3282 w 5819"/>
                <a:gd name="connsiteY44" fmla="*/ 723 h 17119"/>
                <a:gd name="connsiteX45" fmla="*/ 4346 w 5819"/>
                <a:gd name="connsiteY45" fmla="*/ 71 h 171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5819" h="17119">
                  <a:moveTo>
                    <a:pt x="853" y="16070"/>
                  </a:moveTo>
                  <a:lnTo>
                    <a:pt x="931" y="16167"/>
                  </a:lnTo>
                  <a:lnTo>
                    <a:pt x="981" y="16402"/>
                  </a:lnTo>
                  <a:lnTo>
                    <a:pt x="848" y="16583"/>
                  </a:lnTo>
                  <a:lnTo>
                    <a:pt x="700" y="16729"/>
                  </a:lnTo>
                  <a:lnTo>
                    <a:pt x="627" y="16954"/>
                  </a:lnTo>
                  <a:lnTo>
                    <a:pt x="485" y="17106"/>
                  </a:lnTo>
                  <a:lnTo>
                    <a:pt x="228" y="17119"/>
                  </a:lnTo>
                  <a:lnTo>
                    <a:pt x="0" y="17031"/>
                  </a:lnTo>
                  <a:lnTo>
                    <a:pt x="61" y="16953"/>
                  </a:lnTo>
                  <a:lnTo>
                    <a:pt x="350" y="16890"/>
                  </a:lnTo>
                  <a:lnTo>
                    <a:pt x="484" y="16720"/>
                  </a:lnTo>
                  <a:lnTo>
                    <a:pt x="436" y="16492"/>
                  </a:lnTo>
                  <a:lnTo>
                    <a:pt x="448" y="16241"/>
                  </a:lnTo>
                  <a:lnTo>
                    <a:pt x="678" y="16086"/>
                  </a:lnTo>
                  <a:close/>
                  <a:moveTo>
                    <a:pt x="3863" y="7897"/>
                  </a:moveTo>
                  <a:lnTo>
                    <a:pt x="3897" y="7995"/>
                  </a:lnTo>
                  <a:lnTo>
                    <a:pt x="3910" y="8089"/>
                  </a:lnTo>
                  <a:lnTo>
                    <a:pt x="3944" y="8177"/>
                  </a:lnTo>
                  <a:lnTo>
                    <a:pt x="4051" y="8265"/>
                  </a:lnTo>
                  <a:lnTo>
                    <a:pt x="3689" y="8615"/>
                  </a:lnTo>
                  <a:lnTo>
                    <a:pt x="3228" y="9390"/>
                  </a:lnTo>
                  <a:lnTo>
                    <a:pt x="2822" y="9673"/>
                  </a:lnTo>
                  <a:lnTo>
                    <a:pt x="3012" y="9673"/>
                  </a:lnTo>
                  <a:lnTo>
                    <a:pt x="2822" y="9864"/>
                  </a:lnTo>
                  <a:lnTo>
                    <a:pt x="2695" y="9674"/>
                  </a:lnTo>
                  <a:lnTo>
                    <a:pt x="2493" y="9557"/>
                  </a:lnTo>
                  <a:lnTo>
                    <a:pt x="2236" y="9505"/>
                  </a:lnTo>
                  <a:lnTo>
                    <a:pt x="1941" y="9513"/>
                  </a:lnTo>
                  <a:lnTo>
                    <a:pt x="1941" y="9319"/>
                  </a:lnTo>
                  <a:lnTo>
                    <a:pt x="2319" y="9437"/>
                  </a:lnTo>
                  <a:lnTo>
                    <a:pt x="2894" y="9323"/>
                  </a:lnTo>
                  <a:lnTo>
                    <a:pt x="2898" y="9114"/>
                  </a:lnTo>
                  <a:lnTo>
                    <a:pt x="2728" y="8925"/>
                  </a:lnTo>
                  <a:lnTo>
                    <a:pt x="2650" y="8792"/>
                  </a:lnTo>
                  <a:lnTo>
                    <a:pt x="2863" y="8589"/>
                  </a:lnTo>
                  <a:lnTo>
                    <a:pt x="3567" y="8137"/>
                  </a:lnTo>
                  <a:close/>
                  <a:moveTo>
                    <a:pt x="5441" y="0"/>
                  </a:moveTo>
                  <a:lnTo>
                    <a:pt x="5819" y="1668"/>
                  </a:lnTo>
                  <a:lnTo>
                    <a:pt x="5553" y="4020"/>
                  </a:lnTo>
                  <a:lnTo>
                    <a:pt x="4538" y="5175"/>
                  </a:lnTo>
                  <a:lnTo>
                    <a:pt x="3794" y="5584"/>
                  </a:lnTo>
                  <a:lnTo>
                    <a:pt x="1933" y="3848"/>
                  </a:lnTo>
                  <a:lnTo>
                    <a:pt x="2157" y="1832"/>
                  </a:lnTo>
                  <a:lnTo>
                    <a:pt x="3282" y="723"/>
                  </a:lnTo>
                  <a:lnTo>
                    <a:pt x="4346" y="71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54" name="ee4p_VE_1_37365">
              <a:extLst>
                <a:ext uri="{FF2B5EF4-FFF2-40B4-BE49-F238E27FC236}">
                  <a16:creationId xmlns:a16="http://schemas.microsoft.com/office/drawing/2014/main" id="{6D8C56A2-9A8A-235B-1C9A-A73E0828DEAD}"/>
                </a:ext>
              </a:extLst>
            </p:cNvPr>
            <p:cNvSpPr>
              <a:spLocks noChangeAspect="1"/>
            </p:cNvSpPr>
            <p:nvPr>
              <p:custDataLst>
                <p:tags r:id="rId408"/>
              </p:custDataLst>
            </p:nvPr>
          </p:nvSpPr>
          <p:spPr>
            <a:xfrm>
              <a:off x="4477367" y="4326720"/>
              <a:ext cx="375924" cy="329440"/>
            </a:xfrm>
            <a:custGeom>
              <a:avLst/>
              <a:gdLst>
                <a:gd name="connsiteX0" fmla="*/ 315698 w 343258"/>
                <a:gd name="connsiteY0" fmla="*/ 79677 h 292840"/>
                <a:gd name="connsiteX1" fmla="*/ 316236 w 343258"/>
                <a:gd name="connsiteY1" fmla="*/ 80111 h 292840"/>
                <a:gd name="connsiteX2" fmla="*/ 316102 w 343258"/>
                <a:gd name="connsiteY2" fmla="*/ 80660 h 292840"/>
                <a:gd name="connsiteX3" fmla="*/ 317387 w 343258"/>
                <a:gd name="connsiteY3" fmla="*/ 81584 h 292840"/>
                <a:gd name="connsiteX4" fmla="*/ 317076 w 343258"/>
                <a:gd name="connsiteY4" fmla="*/ 82763 h 292840"/>
                <a:gd name="connsiteX5" fmla="*/ 315683 w 343258"/>
                <a:gd name="connsiteY5" fmla="*/ 84048 h 292840"/>
                <a:gd name="connsiteX6" fmla="*/ 313617 w 343258"/>
                <a:gd name="connsiteY6" fmla="*/ 84865 h 292840"/>
                <a:gd name="connsiteX7" fmla="*/ 312043 w 343258"/>
                <a:gd name="connsiteY7" fmla="*/ 85383 h 292840"/>
                <a:gd name="connsiteX8" fmla="*/ 311808 w 343258"/>
                <a:gd name="connsiteY8" fmla="*/ 82821 h 292840"/>
                <a:gd name="connsiteX9" fmla="*/ 312283 w 343258"/>
                <a:gd name="connsiteY9" fmla="*/ 82130 h 292840"/>
                <a:gd name="connsiteX10" fmla="*/ 314963 w 343258"/>
                <a:gd name="connsiteY10" fmla="*/ 80068 h 292840"/>
                <a:gd name="connsiteX11" fmla="*/ 319102 w 343258"/>
                <a:gd name="connsiteY11" fmla="*/ 75893 h 292840"/>
                <a:gd name="connsiteX12" fmla="*/ 319677 w 343258"/>
                <a:gd name="connsiteY12" fmla="*/ 75941 h 292840"/>
                <a:gd name="connsiteX13" fmla="*/ 320262 w 343258"/>
                <a:gd name="connsiteY13" fmla="*/ 76277 h 292840"/>
                <a:gd name="connsiteX14" fmla="*/ 318878 w 343258"/>
                <a:gd name="connsiteY14" fmla="*/ 76946 h 292840"/>
                <a:gd name="connsiteX15" fmla="*/ 318097 w 343258"/>
                <a:gd name="connsiteY15" fmla="*/ 77938 h 292840"/>
                <a:gd name="connsiteX16" fmla="*/ 315049 w 343258"/>
                <a:gd name="connsiteY16" fmla="*/ 78776 h 292840"/>
                <a:gd name="connsiteX17" fmla="*/ 315099 w 343258"/>
                <a:gd name="connsiteY17" fmla="*/ 78093 h 292840"/>
                <a:gd name="connsiteX18" fmla="*/ 315915 w 343258"/>
                <a:gd name="connsiteY18" fmla="*/ 76907 h 292840"/>
                <a:gd name="connsiteX19" fmla="*/ 317497 w 343258"/>
                <a:gd name="connsiteY19" fmla="*/ 76572 h 292840"/>
                <a:gd name="connsiteX20" fmla="*/ 318093 w 343258"/>
                <a:gd name="connsiteY20" fmla="*/ 76166 h 292840"/>
                <a:gd name="connsiteX21" fmla="*/ 202420 w 343258"/>
                <a:gd name="connsiteY21" fmla="*/ 30933 h 292840"/>
                <a:gd name="connsiteX22" fmla="*/ 204471 w 343258"/>
                <a:gd name="connsiteY22" fmla="*/ 30933 h 292840"/>
                <a:gd name="connsiteX23" fmla="*/ 206392 w 343258"/>
                <a:gd name="connsiteY23" fmla="*/ 32051 h 292840"/>
                <a:gd name="connsiteX24" fmla="*/ 206749 w 343258"/>
                <a:gd name="connsiteY24" fmla="*/ 32661 h 292840"/>
                <a:gd name="connsiteX25" fmla="*/ 205382 w 343258"/>
                <a:gd name="connsiteY25" fmla="*/ 33238 h 292840"/>
                <a:gd name="connsiteX26" fmla="*/ 202877 w 343258"/>
                <a:gd name="connsiteY26" fmla="*/ 32661 h 292840"/>
                <a:gd name="connsiteX27" fmla="*/ 201623 w 343258"/>
                <a:gd name="connsiteY27" fmla="*/ 31855 h 292840"/>
                <a:gd name="connsiteX28" fmla="*/ 240204 w 343258"/>
                <a:gd name="connsiteY28" fmla="*/ 25970 h 292840"/>
                <a:gd name="connsiteX29" fmla="*/ 241314 w 343258"/>
                <a:gd name="connsiteY29" fmla="*/ 26899 h 292840"/>
                <a:gd name="connsiteX30" fmla="*/ 242127 w 343258"/>
                <a:gd name="connsiteY30" fmla="*/ 30253 h 292840"/>
                <a:gd name="connsiteX31" fmla="*/ 241878 w 343258"/>
                <a:gd name="connsiteY31" fmla="*/ 30882 h 292840"/>
                <a:gd name="connsiteX32" fmla="*/ 239583 w 343258"/>
                <a:gd name="connsiteY32" fmla="*/ 33146 h 292840"/>
                <a:gd name="connsiteX33" fmla="*/ 237658 w 343258"/>
                <a:gd name="connsiteY33" fmla="*/ 33309 h 292840"/>
                <a:gd name="connsiteX34" fmla="*/ 236108 w 343258"/>
                <a:gd name="connsiteY34" fmla="*/ 33229 h 292840"/>
                <a:gd name="connsiteX35" fmla="*/ 234929 w 343258"/>
                <a:gd name="connsiteY35" fmla="*/ 32791 h 292840"/>
                <a:gd name="connsiteX36" fmla="*/ 233414 w 343258"/>
                <a:gd name="connsiteY36" fmla="*/ 31318 h 292840"/>
                <a:gd name="connsiteX37" fmla="*/ 231943 w 343258"/>
                <a:gd name="connsiteY37" fmla="*/ 31760 h 292840"/>
                <a:gd name="connsiteX38" fmla="*/ 228302 w 343258"/>
                <a:gd name="connsiteY38" fmla="*/ 31248 h 292840"/>
                <a:gd name="connsiteX39" fmla="*/ 227292 w 343258"/>
                <a:gd name="connsiteY39" fmla="*/ 30734 h 292840"/>
                <a:gd name="connsiteX40" fmla="*/ 228655 w 343258"/>
                <a:gd name="connsiteY40" fmla="*/ 28930 h 292840"/>
                <a:gd name="connsiteX41" fmla="*/ 231161 w 343258"/>
                <a:gd name="connsiteY41" fmla="*/ 28201 h 292840"/>
                <a:gd name="connsiteX42" fmla="*/ 232076 w 343258"/>
                <a:gd name="connsiteY42" fmla="*/ 28052 h 292840"/>
                <a:gd name="connsiteX43" fmla="*/ 232808 w 343258"/>
                <a:gd name="connsiteY43" fmla="*/ 29159 h 292840"/>
                <a:gd name="connsiteX44" fmla="*/ 234635 w 343258"/>
                <a:gd name="connsiteY44" fmla="*/ 30116 h 292840"/>
                <a:gd name="connsiteX45" fmla="*/ 236777 w 343258"/>
                <a:gd name="connsiteY45" fmla="*/ 30213 h 292840"/>
                <a:gd name="connsiteX46" fmla="*/ 237309 w 343258"/>
                <a:gd name="connsiteY46" fmla="*/ 28504 h 292840"/>
                <a:gd name="connsiteX47" fmla="*/ 85255 w 343258"/>
                <a:gd name="connsiteY47" fmla="*/ 0 h 292840"/>
                <a:gd name="connsiteX48" fmla="*/ 87527 w 343258"/>
                <a:gd name="connsiteY48" fmla="*/ 1627 h 292840"/>
                <a:gd name="connsiteX49" fmla="*/ 88902 w 343258"/>
                <a:gd name="connsiteY49" fmla="*/ 3181 h 292840"/>
                <a:gd name="connsiteX50" fmla="*/ 89651 w 343258"/>
                <a:gd name="connsiteY50" fmla="*/ 4688 h 292840"/>
                <a:gd name="connsiteX51" fmla="*/ 90160 w 343258"/>
                <a:gd name="connsiteY51" fmla="*/ 8769 h 292840"/>
                <a:gd name="connsiteX52" fmla="*/ 91380 w 343258"/>
                <a:gd name="connsiteY52" fmla="*/ 12903 h 292840"/>
                <a:gd name="connsiteX53" fmla="*/ 92660 w 343258"/>
                <a:gd name="connsiteY53" fmla="*/ 15777 h 292840"/>
                <a:gd name="connsiteX54" fmla="*/ 94696 w 343258"/>
                <a:gd name="connsiteY54" fmla="*/ 17942 h 292840"/>
                <a:gd name="connsiteX55" fmla="*/ 96263 w 343258"/>
                <a:gd name="connsiteY55" fmla="*/ 17800 h 292840"/>
                <a:gd name="connsiteX56" fmla="*/ 97381 w 343258"/>
                <a:gd name="connsiteY56" fmla="*/ 17438 h 292840"/>
                <a:gd name="connsiteX57" fmla="*/ 104815 w 343258"/>
                <a:gd name="connsiteY57" fmla="*/ 16952 h 292840"/>
                <a:gd name="connsiteX58" fmla="*/ 109327 w 343258"/>
                <a:gd name="connsiteY58" fmla="*/ 18427 h 292840"/>
                <a:gd name="connsiteX59" fmla="*/ 115074 w 343258"/>
                <a:gd name="connsiteY59" fmla="*/ 19179 h 292840"/>
                <a:gd name="connsiteX60" fmla="*/ 120444 w 343258"/>
                <a:gd name="connsiteY60" fmla="*/ 22321 h 292840"/>
                <a:gd name="connsiteX61" fmla="*/ 125960 w 343258"/>
                <a:gd name="connsiteY61" fmla="*/ 26131 h 292840"/>
                <a:gd name="connsiteX62" fmla="*/ 127368 w 343258"/>
                <a:gd name="connsiteY62" fmla="*/ 28907 h 292840"/>
                <a:gd name="connsiteX63" fmla="*/ 127832 w 343258"/>
                <a:gd name="connsiteY63" fmla="*/ 31563 h 292840"/>
                <a:gd name="connsiteX64" fmla="*/ 129169 w 343258"/>
                <a:gd name="connsiteY64" fmla="*/ 33340 h 292840"/>
                <a:gd name="connsiteX65" fmla="*/ 127835 w 343258"/>
                <a:gd name="connsiteY65" fmla="*/ 35169 h 292840"/>
                <a:gd name="connsiteX66" fmla="*/ 128556 w 343258"/>
                <a:gd name="connsiteY66" fmla="*/ 38231 h 292840"/>
                <a:gd name="connsiteX67" fmla="*/ 130132 w 343258"/>
                <a:gd name="connsiteY67" fmla="*/ 41312 h 292840"/>
                <a:gd name="connsiteX68" fmla="*/ 132520 w 343258"/>
                <a:gd name="connsiteY68" fmla="*/ 43272 h 292840"/>
                <a:gd name="connsiteX69" fmla="*/ 139323 w 343258"/>
                <a:gd name="connsiteY69" fmla="*/ 43800 h 292840"/>
                <a:gd name="connsiteX70" fmla="*/ 146684 w 343258"/>
                <a:gd name="connsiteY70" fmla="*/ 42477 h 292840"/>
                <a:gd name="connsiteX71" fmla="*/ 158045 w 343258"/>
                <a:gd name="connsiteY71" fmla="*/ 41280 h 292840"/>
                <a:gd name="connsiteX72" fmla="*/ 161703 w 343258"/>
                <a:gd name="connsiteY72" fmla="*/ 40248 h 292840"/>
                <a:gd name="connsiteX73" fmla="*/ 180512 w 343258"/>
                <a:gd name="connsiteY73" fmla="*/ 39695 h 292840"/>
                <a:gd name="connsiteX74" fmla="*/ 184097 w 343258"/>
                <a:gd name="connsiteY74" fmla="*/ 41172 h 292840"/>
                <a:gd name="connsiteX75" fmla="*/ 184444 w 343258"/>
                <a:gd name="connsiteY75" fmla="*/ 42647 h 292840"/>
                <a:gd name="connsiteX76" fmla="*/ 184487 w 343258"/>
                <a:gd name="connsiteY76" fmla="*/ 43777 h 292840"/>
                <a:gd name="connsiteX77" fmla="*/ 190540 w 343258"/>
                <a:gd name="connsiteY77" fmla="*/ 49292 h 292840"/>
                <a:gd name="connsiteX78" fmla="*/ 195507 w 343258"/>
                <a:gd name="connsiteY78" fmla="*/ 50042 h 292840"/>
                <a:gd name="connsiteX79" fmla="*/ 199729 w 343258"/>
                <a:gd name="connsiteY79" fmla="*/ 51811 h 292840"/>
                <a:gd name="connsiteX80" fmla="*/ 204090 w 343258"/>
                <a:gd name="connsiteY80" fmla="*/ 52761 h 292840"/>
                <a:gd name="connsiteX81" fmla="*/ 208864 w 343258"/>
                <a:gd name="connsiteY81" fmla="*/ 54099 h 292840"/>
                <a:gd name="connsiteX82" fmla="*/ 211547 w 343258"/>
                <a:gd name="connsiteY82" fmla="*/ 53930 h 292840"/>
                <a:gd name="connsiteX83" fmla="*/ 213556 w 343258"/>
                <a:gd name="connsiteY83" fmla="*/ 53460 h 292840"/>
                <a:gd name="connsiteX84" fmla="*/ 215929 w 343258"/>
                <a:gd name="connsiteY84" fmla="*/ 53382 h 292840"/>
                <a:gd name="connsiteX85" fmla="*/ 232719 w 343258"/>
                <a:gd name="connsiteY85" fmla="*/ 44166 h 292840"/>
                <a:gd name="connsiteX86" fmla="*/ 241710 w 343258"/>
                <a:gd name="connsiteY86" fmla="*/ 44403 h 292840"/>
                <a:gd name="connsiteX87" fmla="*/ 243097 w 343258"/>
                <a:gd name="connsiteY87" fmla="*/ 43804 h 292840"/>
                <a:gd name="connsiteX88" fmla="*/ 244292 w 343258"/>
                <a:gd name="connsiteY88" fmla="*/ 42996 h 292840"/>
                <a:gd name="connsiteX89" fmla="*/ 240975 w 343258"/>
                <a:gd name="connsiteY89" fmla="*/ 41594 h 292840"/>
                <a:gd name="connsiteX90" fmla="*/ 233490 w 343258"/>
                <a:gd name="connsiteY90" fmla="*/ 41053 h 292840"/>
                <a:gd name="connsiteX91" fmla="*/ 231218 w 343258"/>
                <a:gd name="connsiteY91" fmla="*/ 41993 h 292840"/>
                <a:gd name="connsiteX92" fmla="*/ 229932 w 343258"/>
                <a:gd name="connsiteY92" fmla="*/ 39619 h 292840"/>
                <a:gd name="connsiteX93" fmla="*/ 232374 w 343258"/>
                <a:gd name="connsiteY93" fmla="*/ 39684 h 292840"/>
                <a:gd name="connsiteX94" fmla="*/ 240704 w 343258"/>
                <a:gd name="connsiteY94" fmla="*/ 38887 h 292840"/>
                <a:gd name="connsiteX95" fmla="*/ 250253 w 343258"/>
                <a:gd name="connsiteY95" fmla="*/ 39412 h 292840"/>
                <a:gd name="connsiteX96" fmla="*/ 258035 w 343258"/>
                <a:gd name="connsiteY96" fmla="*/ 37722 h 292840"/>
                <a:gd name="connsiteX97" fmla="*/ 261950 w 343258"/>
                <a:gd name="connsiteY97" fmla="*/ 37442 h 292840"/>
                <a:gd name="connsiteX98" fmla="*/ 264201 w 343258"/>
                <a:gd name="connsiteY98" fmla="*/ 37775 h 292840"/>
                <a:gd name="connsiteX99" fmla="*/ 270398 w 343258"/>
                <a:gd name="connsiteY99" fmla="*/ 36680 h 292840"/>
                <a:gd name="connsiteX100" fmla="*/ 282063 w 343258"/>
                <a:gd name="connsiteY100" fmla="*/ 37968 h 292840"/>
                <a:gd name="connsiteX101" fmla="*/ 291262 w 343258"/>
                <a:gd name="connsiteY101" fmla="*/ 36905 h 292840"/>
                <a:gd name="connsiteX102" fmla="*/ 290199 w 343258"/>
                <a:gd name="connsiteY102" fmla="*/ 38433 h 292840"/>
                <a:gd name="connsiteX103" fmla="*/ 287181 w 343258"/>
                <a:gd name="connsiteY103" fmla="*/ 39358 h 292840"/>
                <a:gd name="connsiteX104" fmla="*/ 282301 w 343258"/>
                <a:gd name="connsiteY104" fmla="*/ 39650 h 292840"/>
                <a:gd name="connsiteX105" fmla="*/ 278572 w 343258"/>
                <a:gd name="connsiteY105" fmla="*/ 41883 h 292840"/>
                <a:gd name="connsiteX106" fmla="*/ 270620 w 343258"/>
                <a:gd name="connsiteY106" fmla="*/ 41470 h 292840"/>
                <a:gd name="connsiteX107" fmla="*/ 265042 w 343258"/>
                <a:gd name="connsiteY107" fmla="*/ 42277 h 292840"/>
                <a:gd name="connsiteX108" fmla="*/ 266832 w 343258"/>
                <a:gd name="connsiteY108" fmla="*/ 42899 h 292840"/>
                <a:gd name="connsiteX109" fmla="*/ 266830 w 343258"/>
                <a:gd name="connsiteY109" fmla="*/ 45188 h 292840"/>
                <a:gd name="connsiteX110" fmla="*/ 267593 w 343258"/>
                <a:gd name="connsiteY110" fmla="*/ 45650 h 292840"/>
                <a:gd name="connsiteX111" fmla="*/ 268397 w 343258"/>
                <a:gd name="connsiteY111" fmla="*/ 45667 h 292840"/>
                <a:gd name="connsiteX112" fmla="*/ 270297 w 343258"/>
                <a:gd name="connsiteY112" fmla="*/ 47363 h 292840"/>
                <a:gd name="connsiteX113" fmla="*/ 270816 w 343258"/>
                <a:gd name="connsiteY113" fmla="*/ 48471 h 292840"/>
                <a:gd name="connsiteX114" fmla="*/ 271430 w 343258"/>
                <a:gd name="connsiteY114" fmla="*/ 50808 h 292840"/>
                <a:gd name="connsiteX115" fmla="*/ 270592 w 343258"/>
                <a:gd name="connsiteY115" fmla="*/ 53331 h 292840"/>
                <a:gd name="connsiteX116" fmla="*/ 269428 w 343258"/>
                <a:gd name="connsiteY116" fmla="*/ 54456 h 292840"/>
                <a:gd name="connsiteX117" fmla="*/ 271695 w 343258"/>
                <a:gd name="connsiteY117" fmla="*/ 54084 h 292840"/>
                <a:gd name="connsiteX118" fmla="*/ 272980 w 343258"/>
                <a:gd name="connsiteY118" fmla="*/ 52900 h 292840"/>
                <a:gd name="connsiteX119" fmla="*/ 272792 w 343258"/>
                <a:gd name="connsiteY119" fmla="*/ 51708 h 292840"/>
                <a:gd name="connsiteX120" fmla="*/ 272980 w 343258"/>
                <a:gd name="connsiteY120" fmla="*/ 50329 h 292840"/>
                <a:gd name="connsiteX121" fmla="*/ 274252 w 343258"/>
                <a:gd name="connsiteY121" fmla="*/ 50761 h 292840"/>
                <a:gd name="connsiteX122" fmla="*/ 275144 w 343258"/>
                <a:gd name="connsiteY122" fmla="*/ 51384 h 292840"/>
                <a:gd name="connsiteX123" fmla="*/ 278041 w 343258"/>
                <a:gd name="connsiteY123" fmla="*/ 57983 h 292840"/>
                <a:gd name="connsiteX124" fmla="*/ 280082 w 343258"/>
                <a:gd name="connsiteY124" fmla="*/ 61447 h 292840"/>
                <a:gd name="connsiteX125" fmla="*/ 280605 w 343258"/>
                <a:gd name="connsiteY125" fmla="*/ 61316 h 292840"/>
                <a:gd name="connsiteX126" fmla="*/ 281090 w 343258"/>
                <a:gd name="connsiteY126" fmla="*/ 61194 h 292840"/>
                <a:gd name="connsiteX127" fmla="*/ 281696 w 343258"/>
                <a:gd name="connsiteY127" fmla="*/ 60530 h 292840"/>
                <a:gd name="connsiteX128" fmla="*/ 282599 w 343258"/>
                <a:gd name="connsiteY128" fmla="*/ 58900 h 292840"/>
                <a:gd name="connsiteX129" fmla="*/ 283378 w 343258"/>
                <a:gd name="connsiteY129" fmla="*/ 59934 h 292840"/>
                <a:gd name="connsiteX130" fmla="*/ 283847 w 343258"/>
                <a:gd name="connsiteY130" fmla="*/ 60330 h 292840"/>
                <a:gd name="connsiteX131" fmla="*/ 284318 w 343258"/>
                <a:gd name="connsiteY131" fmla="*/ 60456 h 292840"/>
                <a:gd name="connsiteX132" fmla="*/ 283888 w 343258"/>
                <a:gd name="connsiteY132" fmla="*/ 58979 h 292840"/>
                <a:gd name="connsiteX133" fmla="*/ 284468 w 343258"/>
                <a:gd name="connsiteY133" fmla="*/ 57086 h 292840"/>
                <a:gd name="connsiteX134" fmla="*/ 284269 w 343258"/>
                <a:gd name="connsiteY134" fmla="*/ 56426 h 292840"/>
                <a:gd name="connsiteX135" fmla="*/ 285173 w 343258"/>
                <a:gd name="connsiteY135" fmla="*/ 56281 h 292840"/>
                <a:gd name="connsiteX136" fmla="*/ 286251 w 343258"/>
                <a:gd name="connsiteY136" fmla="*/ 56532 h 292840"/>
                <a:gd name="connsiteX137" fmla="*/ 287788 w 343258"/>
                <a:gd name="connsiteY137" fmla="*/ 57054 h 292840"/>
                <a:gd name="connsiteX138" fmla="*/ 290524 w 343258"/>
                <a:gd name="connsiteY138" fmla="*/ 59225 h 292840"/>
                <a:gd name="connsiteX139" fmla="*/ 292333 w 343258"/>
                <a:gd name="connsiteY139" fmla="*/ 61472 h 292840"/>
                <a:gd name="connsiteX140" fmla="*/ 292488 w 343258"/>
                <a:gd name="connsiteY140" fmla="*/ 62727 h 292840"/>
                <a:gd name="connsiteX141" fmla="*/ 293142 w 343258"/>
                <a:gd name="connsiteY141" fmla="*/ 63432 h 292840"/>
                <a:gd name="connsiteX142" fmla="*/ 294324 w 343258"/>
                <a:gd name="connsiteY142" fmla="*/ 64174 h 292840"/>
                <a:gd name="connsiteX143" fmla="*/ 294902 w 343258"/>
                <a:gd name="connsiteY143" fmla="*/ 65333 h 292840"/>
                <a:gd name="connsiteX144" fmla="*/ 295009 w 343258"/>
                <a:gd name="connsiteY144" fmla="*/ 63510 h 292840"/>
                <a:gd name="connsiteX145" fmla="*/ 294313 w 343258"/>
                <a:gd name="connsiteY145" fmla="*/ 62180 h 292840"/>
                <a:gd name="connsiteX146" fmla="*/ 294142 w 343258"/>
                <a:gd name="connsiteY146" fmla="*/ 60661 h 292840"/>
                <a:gd name="connsiteX147" fmla="*/ 297706 w 343258"/>
                <a:gd name="connsiteY147" fmla="*/ 60593 h 292840"/>
                <a:gd name="connsiteX148" fmla="*/ 298631 w 343258"/>
                <a:gd name="connsiteY148" fmla="*/ 58594 h 292840"/>
                <a:gd name="connsiteX149" fmla="*/ 300573 w 343258"/>
                <a:gd name="connsiteY149" fmla="*/ 59798 h 292840"/>
                <a:gd name="connsiteX150" fmla="*/ 305718 w 343258"/>
                <a:gd name="connsiteY150" fmla="*/ 65286 h 292840"/>
                <a:gd name="connsiteX151" fmla="*/ 307619 w 343258"/>
                <a:gd name="connsiteY151" fmla="*/ 66193 h 292840"/>
                <a:gd name="connsiteX152" fmla="*/ 313223 w 343258"/>
                <a:gd name="connsiteY152" fmla="*/ 67246 h 292840"/>
                <a:gd name="connsiteX153" fmla="*/ 316756 w 343258"/>
                <a:gd name="connsiteY153" fmla="*/ 69885 h 292840"/>
                <a:gd name="connsiteX154" fmla="*/ 318825 w 343258"/>
                <a:gd name="connsiteY154" fmla="*/ 72252 h 292840"/>
                <a:gd name="connsiteX155" fmla="*/ 317596 w 343258"/>
                <a:gd name="connsiteY155" fmla="*/ 74734 h 292840"/>
                <a:gd name="connsiteX156" fmla="*/ 314297 w 343258"/>
                <a:gd name="connsiteY156" fmla="*/ 75974 h 292840"/>
                <a:gd name="connsiteX157" fmla="*/ 312976 w 343258"/>
                <a:gd name="connsiteY157" fmla="*/ 77523 h 292840"/>
                <a:gd name="connsiteX158" fmla="*/ 312218 w 343258"/>
                <a:gd name="connsiteY158" fmla="*/ 79044 h 292840"/>
                <a:gd name="connsiteX159" fmla="*/ 312205 w 343258"/>
                <a:gd name="connsiteY159" fmla="*/ 80574 h 292840"/>
                <a:gd name="connsiteX160" fmla="*/ 311206 w 343258"/>
                <a:gd name="connsiteY160" fmla="*/ 82350 h 292840"/>
                <a:gd name="connsiteX161" fmla="*/ 311057 w 343258"/>
                <a:gd name="connsiteY161" fmla="*/ 82975 h 292840"/>
                <a:gd name="connsiteX162" fmla="*/ 310461 w 343258"/>
                <a:gd name="connsiteY162" fmla="*/ 85478 h 292840"/>
                <a:gd name="connsiteX163" fmla="*/ 309103 w 343258"/>
                <a:gd name="connsiteY163" fmla="*/ 88491 h 292840"/>
                <a:gd name="connsiteX164" fmla="*/ 307294 w 343258"/>
                <a:gd name="connsiteY164" fmla="*/ 91686 h 292840"/>
                <a:gd name="connsiteX165" fmla="*/ 297874 w 343258"/>
                <a:gd name="connsiteY165" fmla="*/ 91760 h 292840"/>
                <a:gd name="connsiteX166" fmla="*/ 300202 w 343258"/>
                <a:gd name="connsiteY166" fmla="*/ 93070 h 292840"/>
                <a:gd name="connsiteX167" fmla="*/ 302341 w 343258"/>
                <a:gd name="connsiteY167" fmla="*/ 94027 h 292840"/>
                <a:gd name="connsiteX168" fmla="*/ 305854 w 343258"/>
                <a:gd name="connsiteY168" fmla="*/ 96536 h 292840"/>
                <a:gd name="connsiteX169" fmla="*/ 308650 w 343258"/>
                <a:gd name="connsiteY169" fmla="*/ 94566 h 292840"/>
                <a:gd name="connsiteX170" fmla="*/ 312650 w 343258"/>
                <a:gd name="connsiteY170" fmla="*/ 94425 h 292840"/>
                <a:gd name="connsiteX171" fmla="*/ 316980 w 343258"/>
                <a:gd name="connsiteY171" fmla="*/ 92235 h 292840"/>
                <a:gd name="connsiteX172" fmla="*/ 318609 w 343258"/>
                <a:gd name="connsiteY172" fmla="*/ 91895 h 292840"/>
                <a:gd name="connsiteX173" fmla="*/ 326710 w 343258"/>
                <a:gd name="connsiteY173" fmla="*/ 93042 h 292840"/>
                <a:gd name="connsiteX174" fmla="*/ 328663 w 343258"/>
                <a:gd name="connsiteY174" fmla="*/ 91433 h 292840"/>
                <a:gd name="connsiteX175" fmla="*/ 330292 w 343258"/>
                <a:gd name="connsiteY175" fmla="*/ 90960 h 292840"/>
                <a:gd name="connsiteX176" fmla="*/ 334673 w 343258"/>
                <a:gd name="connsiteY176" fmla="*/ 91261 h 292840"/>
                <a:gd name="connsiteX177" fmla="*/ 338475 w 343258"/>
                <a:gd name="connsiteY177" fmla="*/ 92989 h 292840"/>
                <a:gd name="connsiteX178" fmla="*/ 343188 w 343258"/>
                <a:gd name="connsiteY178" fmla="*/ 99203 h 292840"/>
                <a:gd name="connsiteX179" fmla="*/ 343258 w 343258"/>
                <a:gd name="connsiteY179" fmla="*/ 99887 h 292840"/>
                <a:gd name="connsiteX180" fmla="*/ 342747 w 343258"/>
                <a:gd name="connsiteY180" fmla="*/ 100665 h 292840"/>
                <a:gd name="connsiteX181" fmla="*/ 339811 w 343258"/>
                <a:gd name="connsiteY181" fmla="*/ 102121 h 292840"/>
                <a:gd name="connsiteX182" fmla="*/ 339155 w 343258"/>
                <a:gd name="connsiteY182" fmla="*/ 102877 h 292840"/>
                <a:gd name="connsiteX183" fmla="*/ 338098 w 343258"/>
                <a:gd name="connsiteY183" fmla="*/ 105644 h 292840"/>
                <a:gd name="connsiteX184" fmla="*/ 334402 w 343258"/>
                <a:gd name="connsiteY184" fmla="*/ 107163 h 292840"/>
                <a:gd name="connsiteX185" fmla="*/ 331847 w 343258"/>
                <a:gd name="connsiteY185" fmla="*/ 109067 h 292840"/>
                <a:gd name="connsiteX186" fmla="*/ 330126 w 343258"/>
                <a:gd name="connsiteY186" fmla="*/ 110735 h 292840"/>
                <a:gd name="connsiteX187" fmla="*/ 329268 w 343258"/>
                <a:gd name="connsiteY187" fmla="*/ 111409 h 292840"/>
                <a:gd name="connsiteX188" fmla="*/ 325896 w 343258"/>
                <a:gd name="connsiteY188" fmla="*/ 111778 h 292840"/>
                <a:gd name="connsiteX189" fmla="*/ 324812 w 343258"/>
                <a:gd name="connsiteY189" fmla="*/ 112827 h 292840"/>
                <a:gd name="connsiteX190" fmla="*/ 323450 w 343258"/>
                <a:gd name="connsiteY190" fmla="*/ 115982 h 292840"/>
                <a:gd name="connsiteX191" fmla="*/ 322451 w 343258"/>
                <a:gd name="connsiteY191" fmla="*/ 117300 h 292840"/>
                <a:gd name="connsiteX192" fmla="*/ 320696 w 343258"/>
                <a:gd name="connsiteY192" fmla="*/ 118847 h 292840"/>
                <a:gd name="connsiteX193" fmla="*/ 320681 w 343258"/>
                <a:gd name="connsiteY193" fmla="*/ 119798 h 292840"/>
                <a:gd name="connsiteX194" fmla="*/ 323103 w 343258"/>
                <a:gd name="connsiteY194" fmla="*/ 123248 h 292840"/>
                <a:gd name="connsiteX195" fmla="*/ 323539 w 343258"/>
                <a:gd name="connsiteY195" fmla="*/ 124331 h 292840"/>
                <a:gd name="connsiteX196" fmla="*/ 322788 w 343258"/>
                <a:gd name="connsiteY196" fmla="*/ 125970 h 292840"/>
                <a:gd name="connsiteX197" fmla="*/ 322861 w 343258"/>
                <a:gd name="connsiteY197" fmla="*/ 127129 h 292840"/>
                <a:gd name="connsiteX198" fmla="*/ 324131 w 343258"/>
                <a:gd name="connsiteY198" fmla="*/ 128527 h 292840"/>
                <a:gd name="connsiteX199" fmla="*/ 325653 w 343258"/>
                <a:gd name="connsiteY199" fmla="*/ 128846 h 292840"/>
                <a:gd name="connsiteX200" fmla="*/ 327129 w 343258"/>
                <a:gd name="connsiteY200" fmla="*/ 128264 h 292840"/>
                <a:gd name="connsiteX201" fmla="*/ 328970 w 343258"/>
                <a:gd name="connsiteY201" fmla="*/ 128315 h 292840"/>
                <a:gd name="connsiteX202" fmla="*/ 330169 w 343258"/>
                <a:gd name="connsiteY202" fmla="*/ 128685 h 292840"/>
                <a:gd name="connsiteX203" fmla="*/ 330666 w 343258"/>
                <a:gd name="connsiteY203" fmla="*/ 129093 h 292840"/>
                <a:gd name="connsiteX204" fmla="*/ 330753 w 343258"/>
                <a:gd name="connsiteY204" fmla="*/ 130162 h 292840"/>
                <a:gd name="connsiteX205" fmla="*/ 329992 w 343258"/>
                <a:gd name="connsiteY205" fmla="*/ 132435 h 292840"/>
                <a:gd name="connsiteX206" fmla="*/ 328903 w 343258"/>
                <a:gd name="connsiteY206" fmla="*/ 133899 h 292840"/>
                <a:gd name="connsiteX207" fmla="*/ 324059 w 343258"/>
                <a:gd name="connsiteY207" fmla="*/ 136148 h 292840"/>
                <a:gd name="connsiteX208" fmla="*/ 321904 w 343258"/>
                <a:gd name="connsiteY208" fmla="*/ 137451 h 292840"/>
                <a:gd name="connsiteX209" fmla="*/ 320716 w 343258"/>
                <a:gd name="connsiteY209" fmla="*/ 138409 h 292840"/>
                <a:gd name="connsiteX210" fmla="*/ 318106 w 343258"/>
                <a:gd name="connsiteY210" fmla="*/ 137895 h 292840"/>
                <a:gd name="connsiteX211" fmla="*/ 316775 w 343258"/>
                <a:gd name="connsiteY211" fmla="*/ 137936 h 292840"/>
                <a:gd name="connsiteX212" fmla="*/ 315754 w 343258"/>
                <a:gd name="connsiteY212" fmla="*/ 138676 h 292840"/>
                <a:gd name="connsiteX213" fmla="*/ 315135 w 343258"/>
                <a:gd name="connsiteY213" fmla="*/ 139315 h 292840"/>
                <a:gd name="connsiteX214" fmla="*/ 313384 w 343258"/>
                <a:gd name="connsiteY214" fmla="*/ 139471 h 292840"/>
                <a:gd name="connsiteX215" fmla="*/ 310906 w 343258"/>
                <a:gd name="connsiteY215" fmla="*/ 139860 h 292840"/>
                <a:gd name="connsiteX216" fmla="*/ 309871 w 343258"/>
                <a:gd name="connsiteY216" fmla="*/ 140289 h 292840"/>
                <a:gd name="connsiteX217" fmla="*/ 309069 w 343258"/>
                <a:gd name="connsiteY217" fmla="*/ 141399 h 292840"/>
                <a:gd name="connsiteX218" fmla="*/ 308400 w 343258"/>
                <a:gd name="connsiteY218" fmla="*/ 142991 h 292840"/>
                <a:gd name="connsiteX219" fmla="*/ 308959 w 343258"/>
                <a:gd name="connsiteY219" fmla="*/ 144902 h 292840"/>
                <a:gd name="connsiteX220" fmla="*/ 309734 w 343258"/>
                <a:gd name="connsiteY220" fmla="*/ 146604 h 292840"/>
                <a:gd name="connsiteX221" fmla="*/ 309702 w 343258"/>
                <a:gd name="connsiteY221" fmla="*/ 148168 h 292840"/>
                <a:gd name="connsiteX222" fmla="*/ 310299 w 343258"/>
                <a:gd name="connsiteY222" fmla="*/ 152515 h 292840"/>
                <a:gd name="connsiteX223" fmla="*/ 309519 w 343258"/>
                <a:gd name="connsiteY223" fmla="*/ 153530 h 292840"/>
                <a:gd name="connsiteX224" fmla="*/ 307859 w 343258"/>
                <a:gd name="connsiteY224" fmla="*/ 154681 h 292840"/>
                <a:gd name="connsiteX225" fmla="*/ 305877 w 343258"/>
                <a:gd name="connsiteY225" fmla="*/ 156709 h 292840"/>
                <a:gd name="connsiteX226" fmla="*/ 303653 w 343258"/>
                <a:gd name="connsiteY226" fmla="*/ 159527 h 292840"/>
                <a:gd name="connsiteX227" fmla="*/ 304008 w 343258"/>
                <a:gd name="connsiteY227" fmla="*/ 160336 h 292840"/>
                <a:gd name="connsiteX228" fmla="*/ 309323 w 343258"/>
                <a:gd name="connsiteY228" fmla="*/ 166257 h 292840"/>
                <a:gd name="connsiteX229" fmla="*/ 314729 w 343258"/>
                <a:gd name="connsiteY229" fmla="*/ 172280 h 292840"/>
                <a:gd name="connsiteX230" fmla="*/ 320101 w 343258"/>
                <a:gd name="connsiteY230" fmla="*/ 178265 h 292840"/>
                <a:gd name="connsiteX231" fmla="*/ 320866 w 343258"/>
                <a:gd name="connsiteY231" fmla="*/ 178531 h 292840"/>
                <a:gd name="connsiteX232" fmla="*/ 321881 w 343258"/>
                <a:gd name="connsiteY232" fmla="*/ 179222 h 292840"/>
                <a:gd name="connsiteX233" fmla="*/ 322818 w 343258"/>
                <a:gd name="connsiteY233" fmla="*/ 181317 h 292840"/>
                <a:gd name="connsiteX234" fmla="*/ 323592 w 343258"/>
                <a:gd name="connsiteY234" fmla="*/ 183538 h 292840"/>
                <a:gd name="connsiteX235" fmla="*/ 323608 w 343258"/>
                <a:gd name="connsiteY235" fmla="*/ 184687 h 292840"/>
                <a:gd name="connsiteX236" fmla="*/ 323006 w 343258"/>
                <a:gd name="connsiteY236" fmla="*/ 186132 h 292840"/>
                <a:gd name="connsiteX237" fmla="*/ 321699 w 343258"/>
                <a:gd name="connsiteY237" fmla="*/ 187795 h 292840"/>
                <a:gd name="connsiteX238" fmla="*/ 320112 w 343258"/>
                <a:gd name="connsiteY238" fmla="*/ 189141 h 292840"/>
                <a:gd name="connsiteX239" fmla="*/ 317787 w 343258"/>
                <a:gd name="connsiteY239" fmla="*/ 190282 h 292840"/>
                <a:gd name="connsiteX240" fmla="*/ 315940 w 343258"/>
                <a:gd name="connsiteY240" fmla="*/ 191360 h 292840"/>
                <a:gd name="connsiteX241" fmla="*/ 314415 w 343258"/>
                <a:gd name="connsiteY241" fmla="*/ 194209 h 292840"/>
                <a:gd name="connsiteX242" fmla="*/ 313492 w 343258"/>
                <a:gd name="connsiteY242" fmla="*/ 195211 h 292840"/>
                <a:gd name="connsiteX243" fmla="*/ 312643 w 343258"/>
                <a:gd name="connsiteY243" fmla="*/ 195616 h 292840"/>
                <a:gd name="connsiteX244" fmla="*/ 310965 w 343258"/>
                <a:gd name="connsiteY244" fmla="*/ 195987 h 292840"/>
                <a:gd name="connsiteX245" fmla="*/ 308252 w 343258"/>
                <a:gd name="connsiteY245" fmla="*/ 195902 h 292840"/>
                <a:gd name="connsiteX246" fmla="*/ 306461 w 343258"/>
                <a:gd name="connsiteY246" fmla="*/ 195677 h 292840"/>
                <a:gd name="connsiteX247" fmla="*/ 304243 w 343258"/>
                <a:gd name="connsiteY247" fmla="*/ 197809 h 292840"/>
                <a:gd name="connsiteX248" fmla="*/ 301407 w 343258"/>
                <a:gd name="connsiteY248" fmla="*/ 198590 h 292840"/>
                <a:gd name="connsiteX249" fmla="*/ 299510 w 343258"/>
                <a:gd name="connsiteY249" fmla="*/ 201497 h 292840"/>
                <a:gd name="connsiteX250" fmla="*/ 292750 w 343258"/>
                <a:gd name="connsiteY250" fmla="*/ 203803 h 292840"/>
                <a:gd name="connsiteX251" fmla="*/ 286138 w 343258"/>
                <a:gd name="connsiteY251" fmla="*/ 205599 h 292840"/>
                <a:gd name="connsiteX252" fmla="*/ 284324 w 343258"/>
                <a:gd name="connsiteY252" fmla="*/ 206309 h 292840"/>
                <a:gd name="connsiteX253" fmla="*/ 277794 w 343258"/>
                <a:gd name="connsiteY253" fmla="*/ 204826 h 292840"/>
                <a:gd name="connsiteX254" fmla="*/ 276224 w 343258"/>
                <a:gd name="connsiteY254" fmla="*/ 205289 h 292840"/>
                <a:gd name="connsiteX255" fmla="*/ 274414 w 343258"/>
                <a:gd name="connsiteY255" fmla="*/ 206665 h 292840"/>
                <a:gd name="connsiteX256" fmla="*/ 272745 w 343258"/>
                <a:gd name="connsiteY256" fmla="*/ 207733 h 292840"/>
                <a:gd name="connsiteX257" fmla="*/ 271336 w 343258"/>
                <a:gd name="connsiteY257" fmla="*/ 207801 h 292840"/>
                <a:gd name="connsiteX258" fmla="*/ 270150 w 343258"/>
                <a:gd name="connsiteY258" fmla="*/ 208352 h 292840"/>
                <a:gd name="connsiteX259" fmla="*/ 269445 w 343258"/>
                <a:gd name="connsiteY259" fmla="*/ 210322 h 292840"/>
                <a:gd name="connsiteX260" fmla="*/ 268819 w 343258"/>
                <a:gd name="connsiteY260" fmla="*/ 217112 h 292840"/>
                <a:gd name="connsiteX261" fmla="*/ 266477 w 343258"/>
                <a:gd name="connsiteY261" fmla="*/ 219130 h 292840"/>
                <a:gd name="connsiteX262" fmla="*/ 263645 w 343258"/>
                <a:gd name="connsiteY262" fmla="*/ 219118 h 292840"/>
                <a:gd name="connsiteX263" fmla="*/ 261701 w 343258"/>
                <a:gd name="connsiteY263" fmla="*/ 216769 h 292840"/>
                <a:gd name="connsiteX264" fmla="*/ 259396 w 343258"/>
                <a:gd name="connsiteY264" fmla="*/ 214992 h 292840"/>
                <a:gd name="connsiteX265" fmla="*/ 255377 w 343258"/>
                <a:gd name="connsiteY265" fmla="*/ 210781 h 292840"/>
                <a:gd name="connsiteX266" fmla="*/ 254262 w 343258"/>
                <a:gd name="connsiteY266" fmla="*/ 210232 h 292840"/>
                <a:gd name="connsiteX267" fmla="*/ 253220 w 343258"/>
                <a:gd name="connsiteY267" fmla="*/ 210258 h 292840"/>
                <a:gd name="connsiteX268" fmla="*/ 249492 w 343258"/>
                <a:gd name="connsiteY268" fmla="*/ 211507 h 292840"/>
                <a:gd name="connsiteX269" fmla="*/ 247721 w 343258"/>
                <a:gd name="connsiteY269" fmla="*/ 210964 h 292840"/>
                <a:gd name="connsiteX270" fmla="*/ 246294 w 343258"/>
                <a:gd name="connsiteY270" fmla="*/ 210310 h 292840"/>
                <a:gd name="connsiteX271" fmla="*/ 243910 w 343258"/>
                <a:gd name="connsiteY271" fmla="*/ 210519 h 292840"/>
                <a:gd name="connsiteX272" fmla="*/ 239658 w 343258"/>
                <a:gd name="connsiteY272" fmla="*/ 210568 h 292840"/>
                <a:gd name="connsiteX273" fmla="*/ 236949 w 343258"/>
                <a:gd name="connsiteY273" fmla="*/ 210608 h 292840"/>
                <a:gd name="connsiteX274" fmla="*/ 235633 w 343258"/>
                <a:gd name="connsiteY274" fmla="*/ 209458 h 292840"/>
                <a:gd name="connsiteX275" fmla="*/ 234407 w 343258"/>
                <a:gd name="connsiteY275" fmla="*/ 207106 h 292840"/>
                <a:gd name="connsiteX276" fmla="*/ 233581 w 343258"/>
                <a:gd name="connsiteY276" fmla="*/ 206264 h 292840"/>
                <a:gd name="connsiteX277" fmla="*/ 232613 w 343258"/>
                <a:gd name="connsiteY277" fmla="*/ 205585 h 292840"/>
                <a:gd name="connsiteX278" fmla="*/ 231011 w 343258"/>
                <a:gd name="connsiteY278" fmla="*/ 205243 h 292840"/>
                <a:gd name="connsiteX279" fmla="*/ 224168 w 343258"/>
                <a:gd name="connsiteY279" fmla="*/ 205251 h 292840"/>
                <a:gd name="connsiteX280" fmla="*/ 222879 w 343258"/>
                <a:gd name="connsiteY280" fmla="*/ 205255 h 292840"/>
                <a:gd name="connsiteX281" fmla="*/ 221933 w 343258"/>
                <a:gd name="connsiteY281" fmla="*/ 204802 h 292840"/>
                <a:gd name="connsiteX282" fmla="*/ 220619 w 343258"/>
                <a:gd name="connsiteY282" fmla="*/ 202785 h 292840"/>
                <a:gd name="connsiteX283" fmla="*/ 219180 w 343258"/>
                <a:gd name="connsiteY283" fmla="*/ 201838 h 292840"/>
                <a:gd name="connsiteX284" fmla="*/ 217496 w 343258"/>
                <a:gd name="connsiteY284" fmla="*/ 201796 h 292840"/>
                <a:gd name="connsiteX285" fmla="*/ 216755 w 343258"/>
                <a:gd name="connsiteY285" fmla="*/ 202908 h 292840"/>
                <a:gd name="connsiteX286" fmla="*/ 219678 w 343258"/>
                <a:gd name="connsiteY286" fmla="*/ 206539 h 292840"/>
                <a:gd name="connsiteX287" fmla="*/ 220530 w 343258"/>
                <a:gd name="connsiteY287" fmla="*/ 208507 h 292840"/>
                <a:gd name="connsiteX288" fmla="*/ 223093 w 343258"/>
                <a:gd name="connsiteY288" fmla="*/ 211352 h 292840"/>
                <a:gd name="connsiteX289" fmla="*/ 230514 w 343258"/>
                <a:gd name="connsiteY289" fmla="*/ 217372 h 292840"/>
                <a:gd name="connsiteX290" fmla="*/ 231888 w 343258"/>
                <a:gd name="connsiteY290" fmla="*/ 219284 h 292840"/>
                <a:gd name="connsiteX291" fmla="*/ 231736 w 343258"/>
                <a:gd name="connsiteY291" fmla="*/ 221725 h 292840"/>
                <a:gd name="connsiteX292" fmla="*/ 231694 w 343258"/>
                <a:gd name="connsiteY292" fmla="*/ 225463 h 292840"/>
                <a:gd name="connsiteX293" fmla="*/ 231945 w 343258"/>
                <a:gd name="connsiteY293" fmla="*/ 228999 h 292840"/>
                <a:gd name="connsiteX294" fmla="*/ 233854 w 343258"/>
                <a:gd name="connsiteY294" fmla="*/ 234070 h 292840"/>
                <a:gd name="connsiteX295" fmla="*/ 236535 w 343258"/>
                <a:gd name="connsiteY295" fmla="*/ 239231 h 292840"/>
                <a:gd name="connsiteX296" fmla="*/ 237265 w 343258"/>
                <a:gd name="connsiteY296" fmla="*/ 242521 h 292840"/>
                <a:gd name="connsiteX297" fmla="*/ 236766 w 343258"/>
                <a:gd name="connsiteY297" fmla="*/ 244952 h 292840"/>
                <a:gd name="connsiteX298" fmla="*/ 236255 w 343258"/>
                <a:gd name="connsiteY298" fmla="*/ 246245 h 292840"/>
                <a:gd name="connsiteX299" fmla="*/ 236313 w 343258"/>
                <a:gd name="connsiteY299" fmla="*/ 246821 h 292840"/>
                <a:gd name="connsiteX300" fmla="*/ 236862 w 343258"/>
                <a:gd name="connsiteY300" fmla="*/ 247342 h 292840"/>
                <a:gd name="connsiteX301" fmla="*/ 239417 w 343258"/>
                <a:gd name="connsiteY301" fmla="*/ 248088 h 292840"/>
                <a:gd name="connsiteX302" fmla="*/ 244782 w 343258"/>
                <a:gd name="connsiteY302" fmla="*/ 248555 h 292840"/>
                <a:gd name="connsiteX303" fmla="*/ 248026 w 343258"/>
                <a:gd name="connsiteY303" fmla="*/ 248557 h 292840"/>
                <a:gd name="connsiteX304" fmla="*/ 252980 w 343258"/>
                <a:gd name="connsiteY304" fmla="*/ 249117 h 292840"/>
                <a:gd name="connsiteX305" fmla="*/ 253345 w 343258"/>
                <a:gd name="connsiteY305" fmla="*/ 250930 h 292840"/>
                <a:gd name="connsiteX306" fmla="*/ 252861 w 343258"/>
                <a:gd name="connsiteY306" fmla="*/ 253922 h 292840"/>
                <a:gd name="connsiteX307" fmla="*/ 251883 w 343258"/>
                <a:gd name="connsiteY307" fmla="*/ 255620 h 292840"/>
                <a:gd name="connsiteX308" fmla="*/ 251087 w 343258"/>
                <a:gd name="connsiteY308" fmla="*/ 256115 h 292840"/>
                <a:gd name="connsiteX309" fmla="*/ 248390 w 343258"/>
                <a:gd name="connsiteY309" fmla="*/ 256510 h 292840"/>
                <a:gd name="connsiteX310" fmla="*/ 245554 w 343258"/>
                <a:gd name="connsiteY310" fmla="*/ 258345 h 292840"/>
                <a:gd name="connsiteX311" fmla="*/ 241437 w 343258"/>
                <a:gd name="connsiteY311" fmla="*/ 260156 h 292840"/>
                <a:gd name="connsiteX312" fmla="*/ 239088 w 343258"/>
                <a:gd name="connsiteY312" fmla="*/ 260403 h 292840"/>
                <a:gd name="connsiteX313" fmla="*/ 238109 w 343258"/>
                <a:gd name="connsiteY313" fmla="*/ 260757 h 292840"/>
                <a:gd name="connsiteX314" fmla="*/ 237278 w 343258"/>
                <a:gd name="connsiteY314" fmla="*/ 261301 h 292840"/>
                <a:gd name="connsiteX315" fmla="*/ 236595 w 343258"/>
                <a:gd name="connsiteY315" fmla="*/ 261990 h 292840"/>
                <a:gd name="connsiteX316" fmla="*/ 235794 w 343258"/>
                <a:gd name="connsiteY316" fmla="*/ 265388 h 292840"/>
                <a:gd name="connsiteX317" fmla="*/ 234582 w 343258"/>
                <a:gd name="connsiteY317" fmla="*/ 269222 h 292840"/>
                <a:gd name="connsiteX318" fmla="*/ 232295 w 343258"/>
                <a:gd name="connsiteY318" fmla="*/ 271500 h 292840"/>
                <a:gd name="connsiteX319" fmla="*/ 229780 w 343258"/>
                <a:gd name="connsiteY319" fmla="*/ 273383 h 292840"/>
                <a:gd name="connsiteX320" fmla="*/ 227222 w 343258"/>
                <a:gd name="connsiteY320" fmla="*/ 273596 h 292840"/>
                <a:gd name="connsiteX321" fmla="*/ 225170 w 343258"/>
                <a:gd name="connsiteY321" fmla="*/ 273446 h 292840"/>
                <a:gd name="connsiteX322" fmla="*/ 224149 w 343258"/>
                <a:gd name="connsiteY322" fmla="*/ 273998 h 292840"/>
                <a:gd name="connsiteX323" fmla="*/ 222676 w 343258"/>
                <a:gd name="connsiteY323" fmla="*/ 275549 h 292840"/>
                <a:gd name="connsiteX324" fmla="*/ 220571 w 343258"/>
                <a:gd name="connsiteY324" fmla="*/ 277476 h 292840"/>
                <a:gd name="connsiteX325" fmla="*/ 218945 w 343258"/>
                <a:gd name="connsiteY325" fmla="*/ 278504 h 292840"/>
                <a:gd name="connsiteX326" fmla="*/ 216753 w 343258"/>
                <a:gd name="connsiteY326" fmla="*/ 278407 h 292840"/>
                <a:gd name="connsiteX327" fmla="*/ 214417 w 343258"/>
                <a:gd name="connsiteY327" fmla="*/ 279356 h 292840"/>
                <a:gd name="connsiteX328" fmla="*/ 211463 w 343258"/>
                <a:gd name="connsiteY328" fmla="*/ 280910 h 292840"/>
                <a:gd name="connsiteX329" fmla="*/ 209506 w 343258"/>
                <a:gd name="connsiteY329" fmla="*/ 282187 h 292840"/>
                <a:gd name="connsiteX330" fmla="*/ 207836 w 343258"/>
                <a:gd name="connsiteY330" fmla="*/ 284365 h 292840"/>
                <a:gd name="connsiteX331" fmla="*/ 205444 w 343258"/>
                <a:gd name="connsiteY331" fmla="*/ 286656 h 292840"/>
                <a:gd name="connsiteX332" fmla="*/ 202988 w 343258"/>
                <a:gd name="connsiteY332" fmla="*/ 288259 h 292840"/>
                <a:gd name="connsiteX333" fmla="*/ 201811 w 343258"/>
                <a:gd name="connsiteY333" fmla="*/ 290242 h 292840"/>
                <a:gd name="connsiteX334" fmla="*/ 200134 w 343258"/>
                <a:gd name="connsiteY334" fmla="*/ 292758 h 292840"/>
                <a:gd name="connsiteX335" fmla="*/ 198038 w 343258"/>
                <a:gd name="connsiteY335" fmla="*/ 292840 h 292840"/>
                <a:gd name="connsiteX336" fmla="*/ 197869 w 343258"/>
                <a:gd name="connsiteY336" fmla="*/ 291331 h 292840"/>
                <a:gd name="connsiteX337" fmla="*/ 198876 w 343258"/>
                <a:gd name="connsiteY337" fmla="*/ 288899 h 292840"/>
                <a:gd name="connsiteX338" fmla="*/ 197785 w 343258"/>
                <a:gd name="connsiteY338" fmla="*/ 286803 h 292840"/>
                <a:gd name="connsiteX339" fmla="*/ 195791 w 343258"/>
                <a:gd name="connsiteY339" fmla="*/ 285680 h 292840"/>
                <a:gd name="connsiteX340" fmla="*/ 194859 w 343258"/>
                <a:gd name="connsiteY340" fmla="*/ 285347 h 292840"/>
                <a:gd name="connsiteX341" fmla="*/ 193929 w 343258"/>
                <a:gd name="connsiteY341" fmla="*/ 285486 h 292840"/>
                <a:gd name="connsiteX342" fmla="*/ 191565 w 343258"/>
                <a:gd name="connsiteY342" fmla="*/ 286519 h 292840"/>
                <a:gd name="connsiteX343" fmla="*/ 188661 w 343258"/>
                <a:gd name="connsiteY343" fmla="*/ 288399 h 292840"/>
                <a:gd name="connsiteX344" fmla="*/ 186874 w 343258"/>
                <a:gd name="connsiteY344" fmla="*/ 289752 h 292840"/>
                <a:gd name="connsiteX345" fmla="*/ 185259 w 343258"/>
                <a:gd name="connsiteY345" fmla="*/ 290371 h 292840"/>
                <a:gd name="connsiteX346" fmla="*/ 181933 w 343258"/>
                <a:gd name="connsiteY346" fmla="*/ 290931 h 292840"/>
                <a:gd name="connsiteX347" fmla="*/ 179132 w 343258"/>
                <a:gd name="connsiteY347" fmla="*/ 291219 h 292840"/>
                <a:gd name="connsiteX348" fmla="*/ 177979 w 343258"/>
                <a:gd name="connsiteY348" fmla="*/ 290832 h 292840"/>
                <a:gd name="connsiteX349" fmla="*/ 175897 w 343258"/>
                <a:gd name="connsiteY349" fmla="*/ 289450 h 292840"/>
                <a:gd name="connsiteX350" fmla="*/ 171084 w 343258"/>
                <a:gd name="connsiteY350" fmla="*/ 285127 h 292840"/>
                <a:gd name="connsiteX351" fmla="*/ 164568 w 343258"/>
                <a:gd name="connsiteY351" fmla="*/ 279272 h 292840"/>
                <a:gd name="connsiteX352" fmla="*/ 164074 w 343258"/>
                <a:gd name="connsiteY352" fmla="*/ 277577 h 292840"/>
                <a:gd name="connsiteX353" fmla="*/ 164354 w 343258"/>
                <a:gd name="connsiteY353" fmla="*/ 275843 h 292840"/>
                <a:gd name="connsiteX354" fmla="*/ 163172 w 343258"/>
                <a:gd name="connsiteY354" fmla="*/ 273313 h 292840"/>
                <a:gd name="connsiteX355" fmla="*/ 162481 w 343258"/>
                <a:gd name="connsiteY355" fmla="*/ 270620 h 292840"/>
                <a:gd name="connsiteX356" fmla="*/ 161893 w 343258"/>
                <a:gd name="connsiteY356" fmla="*/ 269692 h 292840"/>
                <a:gd name="connsiteX357" fmla="*/ 161726 w 343258"/>
                <a:gd name="connsiteY357" fmla="*/ 267679 h 292840"/>
                <a:gd name="connsiteX358" fmla="*/ 160312 w 343258"/>
                <a:gd name="connsiteY358" fmla="*/ 264051 h 292840"/>
                <a:gd name="connsiteX359" fmla="*/ 159153 w 343258"/>
                <a:gd name="connsiteY359" fmla="*/ 261079 h 292840"/>
                <a:gd name="connsiteX360" fmla="*/ 158092 w 343258"/>
                <a:gd name="connsiteY360" fmla="*/ 259569 h 292840"/>
                <a:gd name="connsiteX361" fmla="*/ 158539 w 343258"/>
                <a:gd name="connsiteY361" fmla="*/ 258283 h 292840"/>
                <a:gd name="connsiteX362" fmla="*/ 158092 w 343258"/>
                <a:gd name="connsiteY362" fmla="*/ 256997 h 292840"/>
                <a:gd name="connsiteX363" fmla="*/ 157228 w 343258"/>
                <a:gd name="connsiteY363" fmla="*/ 255949 h 292840"/>
                <a:gd name="connsiteX364" fmla="*/ 155967 w 343258"/>
                <a:gd name="connsiteY364" fmla="*/ 252578 h 292840"/>
                <a:gd name="connsiteX365" fmla="*/ 156414 w 343258"/>
                <a:gd name="connsiteY365" fmla="*/ 251125 h 292840"/>
                <a:gd name="connsiteX366" fmla="*/ 156079 w 343258"/>
                <a:gd name="connsiteY366" fmla="*/ 249668 h 292840"/>
                <a:gd name="connsiteX367" fmla="*/ 155016 w 343258"/>
                <a:gd name="connsiteY367" fmla="*/ 248672 h 292840"/>
                <a:gd name="connsiteX368" fmla="*/ 153507 w 343258"/>
                <a:gd name="connsiteY368" fmla="*/ 247600 h 292840"/>
                <a:gd name="connsiteX369" fmla="*/ 151496 w 343258"/>
                <a:gd name="connsiteY369" fmla="*/ 245361 h 292840"/>
                <a:gd name="connsiteX370" fmla="*/ 149091 w 343258"/>
                <a:gd name="connsiteY370" fmla="*/ 243236 h 292840"/>
                <a:gd name="connsiteX371" fmla="*/ 147861 w 343258"/>
                <a:gd name="connsiteY371" fmla="*/ 242397 h 292840"/>
                <a:gd name="connsiteX372" fmla="*/ 147022 w 343258"/>
                <a:gd name="connsiteY372" fmla="*/ 242062 h 292840"/>
                <a:gd name="connsiteX373" fmla="*/ 146295 w 343258"/>
                <a:gd name="connsiteY373" fmla="*/ 240047 h 292840"/>
                <a:gd name="connsiteX374" fmla="*/ 145737 w 343258"/>
                <a:gd name="connsiteY374" fmla="*/ 239432 h 292840"/>
                <a:gd name="connsiteX375" fmla="*/ 144506 w 343258"/>
                <a:gd name="connsiteY375" fmla="*/ 239264 h 292840"/>
                <a:gd name="connsiteX376" fmla="*/ 141989 w 343258"/>
                <a:gd name="connsiteY376" fmla="*/ 238425 h 292840"/>
                <a:gd name="connsiteX377" fmla="*/ 139641 w 343258"/>
                <a:gd name="connsiteY377" fmla="*/ 239432 h 292840"/>
                <a:gd name="connsiteX378" fmla="*/ 139587 w 343258"/>
                <a:gd name="connsiteY378" fmla="*/ 237865 h 292840"/>
                <a:gd name="connsiteX379" fmla="*/ 140258 w 343258"/>
                <a:gd name="connsiteY379" fmla="*/ 236913 h 292840"/>
                <a:gd name="connsiteX380" fmla="*/ 148370 w 343258"/>
                <a:gd name="connsiteY380" fmla="*/ 229441 h 292840"/>
                <a:gd name="connsiteX381" fmla="*/ 152458 w 343258"/>
                <a:gd name="connsiteY381" fmla="*/ 226005 h 292840"/>
                <a:gd name="connsiteX382" fmla="*/ 152898 w 343258"/>
                <a:gd name="connsiteY382" fmla="*/ 225498 h 292840"/>
                <a:gd name="connsiteX383" fmla="*/ 153256 w 343258"/>
                <a:gd name="connsiteY383" fmla="*/ 224702 h 292840"/>
                <a:gd name="connsiteX384" fmla="*/ 153536 w 343258"/>
                <a:gd name="connsiteY384" fmla="*/ 223639 h 292840"/>
                <a:gd name="connsiteX385" fmla="*/ 152608 w 343258"/>
                <a:gd name="connsiteY385" fmla="*/ 222422 h 292840"/>
                <a:gd name="connsiteX386" fmla="*/ 148780 w 343258"/>
                <a:gd name="connsiteY386" fmla="*/ 216651 h 292840"/>
                <a:gd name="connsiteX387" fmla="*/ 147450 w 343258"/>
                <a:gd name="connsiteY387" fmla="*/ 215566 h 292840"/>
                <a:gd name="connsiteX388" fmla="*/ 146146 w 343258"/>
                <a:gd name="connsiteY388" fmla="*/ 214679 h 292840"/>
                <a:gd name="connsiteX389" fmla="*/ 144649 w 343258"/>
                <a:gd name="connsiteY389" fmla="*/ 212254 h 292840"/>
                <a:gd name="connsiteX390" fmla="*/ 142855 w 343258"/>
                <a:gd name="connsiteY390" fmla="*/ 206609 h 292840"/>
                <a:gd name="connsiteX391" fmla="*/ 141565 w 343258"/>
                <a:gd name="connsiteY391" fmla="*/ 203772 h 292840"/>
                <a:gd name="connsiteX392" fmla="*/ 141174 w 343258"/>
                <a:gd name="connsiteY392" fmla="*/ 201597 h 292840"/>
                <a:gd name="connsiteX393" fmla="*/ 141255 w 343258"/>
                <a:gd name="connsiteY393" fmla="*/ 199137 h 292840"/>
                <a:gd name="connsiteX394" fmla="*/ 140777 w 343258"/>
                <a:gd name="connsiteY394" fmla="*/ 197248 h 292840"/>
                <a:gd name="connsiteX395" fmla="*/ 139738 w 343258"/>
                <a:gd name="connsiteY395" fmla="*/ 195932 h 292840"/>
                <a:gd name="connsiteX396" fmla="*/ 139738 w 343258"/>
                <a:gd name="connsiteY396" fmla="*/ 191902 h 292840"/>
                <a:gd name="connsiteX397" fmla="*/ 140777 w 343258"/>
                <a:gd name="connsiteY397" fmla="*/ 185160 h 292840"/>
                <a:gd name="connsiteX398" fmla="*/ 141033 w 343258"/>
                <a:gd name="connsiteY398" fmla="*/ 180032 h 292840"/>
                <a:gd name="connsiteX399" fmla="*/ 140508 w 343258"/>
                <a:gd name="connsiteY399" fmla="*/ 176525 h 292840"/>
                <a:gd name="connsiteX400" fmla="*/ 141433 w 343258"/>
                <a:gd name="connsiteY400" fmla="*/ 173854 h 292840"/>
                <a:gd name="connsiteX401" fmla="*/ 143811 w 343258"/>
                <a:gd name="connsiteY401" fmla="*/ 172023 h 292840"/>
                <a:gd name="connsiteX402" fmla="*/ 145138 w 343258"/>
                <a:gd name="connsiteY402" fmla="*/ 169193 h 292840"/>
                <a:gd name="connsiteX403" fmla="*/ 145416 w 343258"/>
                <a:gd name="connsiteY403" fmla="*/ 165363 h 292840"/>
                <a:gd name="connsiteX404" fmla="*/ 146840 w 343258"/>
                <a:gd name="connsiteY404" fmla="*/ 162215 h 292840"/>
                <a:gd name="connsiteX405" fmla="*/ 149409 w 343258"/>
                <a:gd name="connsiteY405" fmla="*/ 159751 h 292840"/>
                <a:gd name="connsiteX406" fmla="*/ 150285 w 343258"/>
                <a:gd name="connsiteY406" fmla="*/ 157320 h 292840"/>
                <a:gd name="connsiteX407" fmla="*/ 149467 w 343258"/>
                <a:gd name="connsiteY407" fmla="*/ 154921 h 292840"/>
                <a:gd name="connsiteX408" fmla="*/ 149203 w 343258"/>
                <a:gd name="connsiteY408" fmla="*/ 153381 h 292840"/>
                <a:gd name="connsiteX409" fmla="*/ 147020 w 343258"/>
                <a:gd name="connsiteY409" fmla="*/ 151815 h 292840"/>
                <a:gd name="connsiteX410" fmla="*/ 142987 w 343258"/>
                <a:gd name="connsiteY410" fmla="*/ 150717 h 292840"/>
                <a:gd name="connsiteX411" fmla="*/ 139639 w 343258"/>
                <a:gd name="connsiteY411" fmla="*/ 150591 h 292840"/>
                <a:gd name="connsiteX412" fmla="*/ 137618 w 343258"/>
                <a:gd name="connsiteY412" fmla="*/ 151812 h 292840"/>
                <a:gd name="connsiteX413" fmla="*/ 132441 w 343258"/>
                <a:gd name="connsiteY413" fmla="*/ 152943 h 292840"/>
                <a:gd name="connsiteX414" fmla="*/ 124106 w 343258"/>
                <a:gd name="connsiteY414" fmla="*/ 153985 h 292840"/>
                <a:gd name="connsiteX415" fmla="*/ 117393 w 343258"/>
                <a:gd name="connsiteY415" fmla="*/ 153979 h 292840"/>
                <a:gd name="connsiteX416" fmla="*/ 112304 w 343258"/>
                <a:gd name="connsiteY416" fmla="*/ 152926 h 292840"/>
                <a:gd name="connsiteX417" fmla="*/ 108431 w 343258"/>
                <a:gd name="connsiteY417" fmla="*/ 153278 h 292840"/>
                <a:gd name="connsiteX418" fmla="*/ 105779 w 343258"/>
                <a:gd name="connsiteY418" fmla="*/ 155034 h 292840"/>
                <a:gd name="connsiteX419" fmla="*/ 103913 w 343258"/>
                <a:gd name="connsiteY419" fmla="*/ 155432 h 292840"/>
                <a:gd name="connsiteX420" fmla="*/ 102830 w 343258"/>
                <a:gd name="connsiteY420" fmla="*/ 154467 h 292840"/>
                <a:gd name="connsiteX421" fmla="*/ 101658 w 343258"/>
                <a:gd name="connsiteY421" fmla="*/ 154203 h 292840"/>
                <a:gd name="connsiteX422" fmla="*/ 99881 w 343258"/>
                <a:gd name="connsiteY422" fmla="*/ 154814 h 292840"/>
                <a:gd name="connsiteX423" fmla="*/ 99573 w 343258"/>
                <a:gd name="connsiteY423" fmla="*/ 154535 h 292840"/>
                <a:gd name="connsiteX424" fmla="*/ 95630 w 343258"/>
                <a:gd name="connsiteY424" fmla="*/ 149787 h 292840"/>
                <a:gd name="connsiteX425" fmla="*/ 91974 w 343258"/>
                <a:gd name="connsiteY425" fmla="*/ 145385 h 292840"/>
                <a:gd name="connsiteX426" fmla="*/ 87785 w 343258"/>
                <a:gd name="connsiteY426" fmla="*/ 140143 h 292840"/>
                <a:gd name="connsiteX427" fmla="*/ 82946 w 343258"/>
                <a:gd name="connsiteY427" fmla="*/ 134088 h 292840"/>
                <a:gd name="connsiteX428" fmla="*/ 82079 w 343258"/>
                <a:gd name="connsiteY428" fmla="*/ 133689 h 292840"/>
                <a:gd name="connsiteX429" fmla="*/ 80585 w 343258"/>
                <a:gd name="connsiteY429" fmla="*/ 133729 h 292840"/>
                <a:gd name="connsiteX430" fmla="*/ 78608 w 343258"/>
                <a:gd name="connsiteY430" fmla="*/ 133834 h 292840"/>
                <a:gd name="connsiteX431" fmla="*/ 75530 w 343258"/>
                <a:gd name="connsiteY431" fmla="*/ 133205 h 292840"/>
                <a:gd name="connsiteX432" fmla="*/ 73421 w 343258"/>
                <a:gd name="connsiteY432" fmla="*/ 132326 h 292840"/>
                <a:gd name="connsiteX433" fmla="*/ 71776 w 343258"/>
                <a:gd name="connsiteY433" fmla="*/ 131475 h 292840"/>
                <a:gd name="connsiteX434" fmla="*/ 68745 w 343258"/>
                <a:gd name="connsiteY434" fmla="*/ 130398 h 292840"/>
                <a:gd name="connsiteX435" fmla="*/ 66664 w 343258"/>
                <a:gd name="connsiteY435" fmla="*/ 130214 h 292840"/>
                <a:gd name="connsiteX436" fmla="*/ 64799 w 343258"/>
                <a:gd name="connsiteY436" fmla="*/ 130531 h 292840"/>
                <a:gd name="connsiteX437" fmla="*/ 59662 w 343258"/>
                <a:gd name="connsiteY437" fmla="*/ 132649 h 292840"/>
                <a:gd name="connsiteX438" fmla="*/ 56738 w 343258"/>
                <a:gd name="connsiteY438" fmla="*/ 132845 h 292840"/>
                <a:gd name="connsiteX439" fmla="*/ 54476 w 343258"/>
                <a:gd name="connsiteY439" fmla="*/ 132884 h 292840"/>
                <a:gd name="connsiteX440" fmla="*/ 48408 w 343258"/>
                <a:gd name="connsiteY440" fmla="*/ 131835 h 292840"/>
                <a:gd name="connsiteX441" fmla="*/ 44256 w 343258"/>
                <a:gd name="connsiteY441" fmla="*/ 131669 h 292840"/>
                <a:gd name="connsiteX442" fmla="*/ 39428 w 343258"/>
                <a:gd name="connsiteY442" fmla="*/ 132359 h 292840"/>
                <a:gd name="connsiteX443" fmla="*/ 37364 w 343258"/>
                <a:gd name="connsiteY443" fmla="*/ 132754 h 292840"/>
                <a:gd name="connsiteX444" fmla="*/ 34474 w 343258"/>
                <a:gd name="connsiteY444" fmla="*/ 131677 h 292840"/>
                <a:gd name="connsiteX445" fmla="*/ 32506 w 343258"/>
                <a:gd name="connsiteY445" fmla="*/ 130039 h 292840"/>
                <a:gd name="connsiteX446" fmla="*/ 30669 w 343258"/>
                <a:gd name="connsiteY446" fmla="*/ 126145 h 292840"/>
                <a:gd name="connsiteX447" fmla="*/ 29376 w 343258"/>
                <a:gd name="connsiteY447" fmla="*/ 123072 h 292840"/>
                <a:gd name="connsiteX448" fmla="*/ 27128 w 343258"/>
                <a:gd name="connsiteY448" fmla="*/ 122453 h 292840"/>
                <a:gd name="connsiteX449" fmla="*/ 24636 w 343258"/>
                <a:gd name="connsiteY449" fmla="*/ 121929 h 292840"/>
                <a:gd name="connsiteX450" fmla="*/ 23411 w 343258"/>
                <a:gd name="connsiteY450" fmla="*/ 120915 h 292840"/>
                <a:gd name="connsiteX451" fmla="*/ 22675 w 343258"/>
                <a:gd name="connsiteY451" fmla="*/ 119145 h 292840"/>
                <a:gd name="connsiteX452" fmla="*/ 22498 w 343258"/>
                <a:gd name="connsiteY452" fmla="*/ 116877 h 292840"/>
                <a:gd name="connsiteX453" fmla="*/ 22753 w 343258"/>
                <a:gd name="connsiteY453" fmla="*/ 113186 h 292840"/>
                <a:gd name="connsiteX454" fmla="*/ 22990 w 343258"/>
                <a:gd name="connsiteY454" fmla="*/ 111863 h 292840"/>
                <a:gd name="connsiteX455" fmla="*/ 23333 w 343258"/>
                <a:gd name="connsiteY455" fmla="*/ 107876 h 292840"/>
                <a:gd name="connsiteX456" fmla="*/ 24711 w 343258"/>
                <a:gd name="connsiteY456" fmla="*/ 105794 h 292840"/>
                <a:gd name="connsiteX457" fmla="*/ 25574 w 343258"/>
                <a:gd name="connsiteY457" fmla="*/ 104784 h 292840"/>
                <a:gd name="connsiteX458" fmla="*/ 25409 w 343258"/>
                <a:gd name="connsiteY458" fmla="*/ 103112 h 292840"/>
                <a:gd name="connsiteX459" fmla="*/ 24745 w 343258"/>
                <a:gd name="connsiteY459" fmla="*/ 99685 h 292840"/>
                <a:gd name="connsiteX460" fmla="*/ 24080 w 343258"/>
                <a:gd name="connsiteY460" fmla="*/ 97261 h 292840"/>
                <a:gd name="connsiteX461" fmla="*/ 21312 w 343258"/>
                <a:gd name="connsiteY461" fmla="*/ 94512 h 292840"/>
                <a:gd name="connsiteX462" fmla="*/ 17770 w 343258"/>
                <a:gd name="connsiteY462" fmla="*/ 90990 h 292840"/>
                <a:gd name="connsiteX463" fmla="*/ 16246 w 343258"/>
                <a:gd name="connsiteY463" fmla="*/ 85352 h 292840"/>
                <a:gd name="connsiteX464" fmla="*/ 14449 w 343258"/>
                <a:gd name="connsiteY464" fmla="*/ 78689 h 292840"/>
                <a:gd name="connsiteX465" fmla="*/ 13036 w 343258"/>
                <a:gd name="connsiteY465" fmla="*/ 78021 h 292840"/>
                <a:gd name="connsiteX466" fmla="*/ 11709 w 343258"/>
                <a:gd name="connsiteY466" fmla="*/ 78356 h 292840"/>
                <a:gd name="connsiteX467" fmla="*/ 10297 w 343258"/>
                <a:gd name="connsiteY467" fmla="*/ 78021 h 292840"/>
                <a:gd name="connsiteX468" fmla="*/ 9051 w 343258"/>
                <a:gd name="connsiteY468" fmla="*/ 75341 h 292840"/>
                <a:gd name="connsiteX469" fmla="*/ 7806 w 343258"/>
                <a:gd name="connsiteY469" fmla="*/ 74840 h 292840"/>
                <a:gd name="connsiteX470" fmla="*/ 5820 w 343258"/>
                <a:gd name="connsiteY470" fmla="*/ 75780 h 292840"/>
                <a:gd name="connsiteX471" fmla="*/ 4389 w 343258"/>
                <a:gd name="connsiteY471" fmla="*/ 76513 h 292840"/>
                <a:gd name="connsiteX472" fmla="*/ 748 w 343258"/>
                <a:gd name="connsiteY472" fmla="*/ 77182 h 292840"/>
                <a:gd name="connsiteX473" fmla="*/ 0 w 343258"/>
                <a:gd name="connsiteY473" fmla="*/ 76513 h 292840"/>
                <a:gd name="connsiteX474" fmla="*/ 250 w 343258"/>
                <a:gd name="connsiteY474" fmla="*/ 75676 h 292840"/>
                <a:gd name="connsiteX475" fmla="*/ 1789 w 343258"/>
                <a:gd name="connsiteY475" fmla="*/ 73242 h 292840"/>
                <a:gd name="connsiteX476" fmla="*/ 3600 w 343258"/>
                <a:gd name="connsiteY476" fmla="*/ 70134 h 292840"/>
                <a:gd name="connsiteX477" fmla="*/ 5704 w 343258"/>
                <a:gd name="connsiteY477" fmla="*/ 67293 h 292840"/>
                <a:gd name="connsiteX478" fmla="*/ 7661 w 343258"/>
                <a:gd name="connsiteY478" fmla="*/ 64386 h 292840"/>
                <a:gd name="connsiteX479" fmla="*/ 9120 w 343258"/>
                <a:gd name="connsiteY479" fmla="*/ 61291 h 292840"/>
                <a:gd name="connsiteX480" fmla="*/ 10113 w 343258"/>
                <a:gd name="connsiteY480" fmla="*/ 55132 h 292840"/>
                <a:gd name="connsiteX481" fmla="*/ 10798 w 343258"/>
                <a:gd name="connsiteY481" fmla="*/ 50880 h 292840"/>
                <a:gd name="connsiteX482" fmla="*/ 12599 w 343258"/>
                <a:gd name="connsiteY482" fmla="*/ 43308 h 292840"/>
                <a:gd name="connsiteX483" fmla="*/ 15901 w 343258"/>
                <a:gd name="connsiteY483" fmla="*/ 37259 h 292840"/>
                <a:gd name="connsiteX484" fmla="*/ 17145 w 343258"/>
                <a:gd name="connsiteY484" fmla="*/ 34474 h 292840"/>
                <a:gd name="connsiteX485" fmla="*/ 20132 w 343258"/>
                <a:gd name="connsiteY485" fmla="*/ 30849 h 292840"/>
                <a:gd name="connsiteX486" fmla="*/ 21507 w 343258"/>
                <a:gd name="connsiteY486" fmla="*/ 28879 h 292840"/>
                <a:gd name="connsiteX487" fmla="*/ 23331 w 343258"/>
                <a:gd name="connsiteY487" fmla="*/ 27330 h 292840"/>
                <a:gd name="connsiteX488" fmla="*/ 28341 w 343258"/>
                <a:gd name="connsiteY488" fmla="*/ 25221 h 292840"/>
                <a:gd name="connsiteX489" fmla="*/ 34331 w 343258"/>
                <a:gd name="connsiteY489" fmla="*/ 14807 h 292840"/>
                <a:gd name="connsiteX490" fmla="*/ 35705 w 343258"/>
                <a:gd name="connsiteY490" fmla="*/ 13151 h 292840"/>
                <a:gd name="connsiteX491" fmla="*/ 41756 w 343258"/>
                <a:gd name="connsiteY491" fmla="*/ 11597 h 292840"/>
                <a:gd name="connsiteX492" fmla="*/ 46406 w 343258"/>
                <a:gd name="connsiteY492" fmla="*/ 10384 h 292840"/>
                <a:gd name="connsiteX493" fmla="*/ 49852 w 343258"/>
                <a:gd name="connsiteY493" fmla="*/ 9112 h 292840"/>
                <a:gd name="connsiteX494" fmla="*/ 50983 w 343258"/>
                <a:gd name="connsiteY494" fmla="*/ 8439 h 292840"/>
                <a:gd name="connsiteX495" fmla="*/ 51892 w 343258"/>
                <a:gd name="connsiteY495" fmla="*/ 8126 h 292840"/>
                <a:gd name="connsiteX496" fmla="*/ 51139 w 343258"/>
                <a:gd name="connsiteY496" fmla="*/ 9333 h 292840"/>
                <a:gd name="connsiteX497" fmla="*/ 49488 w 343258"/>
                <a:gd name="connsiteY497" fmla="*/ 10870 h 292840"/>
                <a:gd name="connsiteX498" fmla="*/ 47615 w 343258"/>
                <a:gd name="connsiteY498" fmla="*/ 11806 h 292840"/>
                <a:gd name="connsiteX499" fmla="*/ 37973 w 343258"/>
                <a:gd name="connsiteY499" fmla="*/ 14154 h 292840"/>
                <a:gd name="connsiteX500" fmla="*/ 36988 w 343258"/>
                <a:gd name="connsiteY500" fmla="*/ 14653 h 292840"/>
                <a:gd name="connsiteX501" fmla="*/ 35734 w 343258"/>
                <a:gd name="connsiteY501" fmla="*/ 15630 h 292840"/>
                <a:gd name="connsiteX502" fmla="*/ 35727 w 343258"/>
                <a:gd name="connsiteY502" fmla="*/ 17867 h 292840"/>
                <a:gd name="connsiteX503" fmla="*/ 35988 w 343258"/>
                <a:gd name="connsiteY503" fmla="*/ 19623 h 292840"/>
                <a:gd name="connsiteX504" fmla="*/ 38824 w 343258"/>
                <a:gd name="connsiteY504" fmla="*/ 25378 h 292840"/>
                <a:gd name="connsiteX505" fmla="*/ 39930 w 343258"/>
                <a:gd name="connsiteY505" fmla="*/ 26797 h 292840"/>
                <a:gd name="connsiteX506" fmla="*/ 43730 w 343258"/>
                <a:gd name="connsiteY506" fmla="*/ 29915 h 292840"/>
                <a:gd name="connsiteX507" fmla="*/ 42866 w 343258"/>
                <a:gd name="connsiteY507" fmla="*/ 30346 h 292840"/>
                <a:gd name="connsiteX508" fmla="*/ 41466 w 343258"/>
                <a:gd name="connsiteY508" fmla="*/ 30399 h 292840"/>
                <a:gd name="connsiteX509" fmla="*/ 42492 w 343258"/>
                <a:gd name="connsiteY509" fmla="*/ 34482 h 292840"/>
                <a:gd name="connsiteX510" fmla="*/ 44824 w 343258"/>
                <a:gd name="connsiteY510" fmla="*/ 37285 h 292840"/>
                <a:gd name="connsiteX511" fmla="*/ 44929 w 343258"/>
                <a:gd name="connsiteY511" fmla="*/ 39051 h 292840"/>
                <a:gd name="connsiteX512" fmla="*/ 43141 w 343258"/>
                <a:gd name="connsiteY512" fmla="*/ 44526 h 292840"/>
                <a:gd name="connsiteX513" fmla="*/ 39879 w 343258"/>
                <a:gd name="connsiteY513" fmla="*/ 47801 h 292840"/>
                <a:gd name="connsiteX514" fmla="*/ 37564 w 343258"/>
                <a:gd name="connsiteY514" fmla="*/ 51611 h 292840"/>
                <a:gd name="connsiteX515" fmla="*/ 35765 w 343258"/>
                <a:gd name="connsiteY515" fmla="*/ 53127 h 292840"/>
                <a:gd name="connsiteX516" fmla="*/ 31782 w 343258"/>
                <a:gd name="connsiteY516" fmla="*/ 60616 h 292840"/>
                <a:gd name="connsiteX517" fmla="*/ 34814 w 343258"/>
                <a:gd name="connsiteY517" fmla="*/ 65070 h 292840"/>
                <a:gd name="connsiteX518" fmla="*/ 35245 w 343258"/>
                <a:gd name="connsiteY518" fmla="*/ 67329 h 292840"/>
                <a:gd name="connsiteX519" fmla="*/ 37861 w 343258"/>
                <a:gd name="connsiteY519" fmla="*/ 70542 h 292840"/>
                <a:gd name="connsiteX520" fmla="*/ 39570 w 343258"/>
                <a:gd name="connsiteY520" fmla="*/ 71596 h 292840"/>
                <a:gd name="connsiteX521" fmla="*/ 40710 w 343258"/>
                <a:gd name="connsiteY521" fmla="*/ 72891 h 292840"/>
                <a:gd name="connsiteX522" fmla="*/ 40187 w 343258"/>
                <a:gd name="connsiteY522" fmla="*/ 75084 h 292840"/>
                <a:gd name="connsiteX523" fmla="*/ 41232 w 343258"/>
                <a:gd name="connsiteY523" fmla="*/ 78053 h 292840"/>
                <a:gd name="connsiteX524" fmla="*/ 42586 w 343258"/>
                <a:gd name="connsiteY524" fmla="*/ 79622 h 292840"/>
                <a:gd name="connsiteX525" fmla="*/ 44290 w 343258"/>
                <a:gd name="connsiteY525" fmla="*/ 80250 h 292840"/>
                <a:gd name="connsiteX526" fmla="*/ 46392 w 343258"/>
                <a:gd name="connsiteY526" fmla="*/ 80241 h 292840"/>
                <a:gd name="connsiteX527" fmla="*/ 52444 w 343258"/>
                <a:gd name="connsiteY527" fmla="*/ 78264 h 292840"/>
                <a:gd name="connsiteX528" fmla="*/ 53878 w 343258"/>
                <a:gd name="connsiteY528" fmla="*/ 77374 h 292840"/>
                <a:gd name="connsiteX529" fmla="*/ 54792 w 343258"/>
                <a:gd name="connsiteY529" fmla="*/ 75788 h 292840"/>
                <a:gd name="connsiteX530" fmla="*/ 57822 w 343258"/>
                <a:gd name="connsiteY530" fmla="*/ 72573 h 292840"/>
                <a:gd name="connsiteX531" fmla="*/ 58010 w 343258"/>
                <a:gd name="connsiteY531" fmla="*/ 68415 h 292840"/>
                <a:gd name="connsiteX532" fmla="*/ 58663 w 343258"/>
                <a:gd name="connsiteY532" fmla="*/ 63424 h 292840"/>
                <a:gd name="connsiteX533" fmla="*/ 57927 w 343258"/>
                <a:gd name="connsiteY533" fmla="*/ 60164 h 292840"/>
                <a:gd name="connsiteX534" fmla="*/ 54745 w 343258"/>
                <a:gd name="connsiteY534" fmla="*/ 55520 h 292840"/>
                <a:gd name="connsiteX535" fmla="*/ 53350 w 343258"/>
                <a:gd name="connsiteY535" fmla="*/ 52216 h 292840"/>
                <a:gd name="connsiteX536" fmla="*/ 50196 w 343258"/>
                <a:gd name="connsiteY536" fmla="*/ 49138 h 292840"/>
                <a:gd name="connsiteX537" fmla="*/ 48265 w 343258"/>
                <a:gd name="connsiteY537" fmla="*/ 43873 h 292840"/>
                <a:gd name="connsiteX538" fmla="*/ 47466 w 343258"/>
                <a:gd name="connsiteY538" fmla="*/ 42234 h 292840"/>
                <a:gd name="connsiteX539" fmla="*/ 46868 w 343258"/>
                <a:gd name="connsiteY539" fmla="*/ 39961 h 292840"/>
                <a:gd name="connsiteX540" fmla="*/ 46189 w 343258"/>
                <a:gd name="connsiteY540" fmla="*/ 35938 h 292840"/>
                <a:gd name="connsiteX541" fmla="*/ 48307 w 343258"/>
                <a:gd name="connsiteY541" fmla="*/ 34479 h 292840"/>
                <a:gd name="connsiteX542" fmla="*/ 48094 w 343258"/>
                <a:gd name="connsiteY542" fmla="*/ 31182 h 292840"/>
                <a:gd name="connsiteX543" fmla="*/ 53296 w 343258"/>
                <a:gd name="connsiteY543" fmla="*/ 30275 h 292840"/>
                <a:gd name="connsiteX544" fmla="*/ 64550 w 343258"/>
                <a:gd name="connsiteY544" fmla="*/ 24913 h 292840"/>
                <a:gd name="connsiteX545" fmla="*/ 71521 w 343258"/>
                <a:gd name="connsiteY545" fmla="*/ 23554 h 292840"/>
                <a:gd name="connsiteX546" fmla="*/ 79460 w 343258"/>
                <a:gd name="connsiteY546" fmla="*/ 20687 h 292840"/>
                <a:gd name="connsiteX547" fmla="*/ 81299 w 343258"/>
                <a:gd name="connsiteY547" fmla="*/ 19273 h 292840"/>
                <a:gd name="connsiteX548" fmla="*/ 82893 w 343258"/>
                <a:gd name="connsiteY548" fmla="*/ 16918 h 292840"/>
                <a:gd name="connsiteX549" fmla="*/ 84125 w 343258"/>
                <a:gd name="connsiteY549" fmla="*/ 16647 h 292840"/>
                <a:gd name="connsiteX550" fmla="*/ 88262 w 343258"/>
                <a:gd name="connsiteY550" fmla="*/ 18856 h 292840"/>
                <a:gd name="connsiteX551" fmla="*/ 90306 w 343258"/>
                <a:gd name="connsiteY551" fmla="*/ 18089 h 292840"/>
                <a:gd name="connsiteX552" fmla="*/ 91114 w 343258"/>
                <a:gd name="connsiteY552" fmla="*/ 16365 h 292840"/>
                <a:gd name="connsiteX553" fmla="*/ 89987 w 343258"/>
                <a:gd name="connsiteY553" fmla="*/ 13005 h 292840"/>
                <a:gd name="connsiteX554" fmla="*/ 87614 w 343258"/>
                <a:gd name="connsiteY554" fmla="*/ 13004 h 292840"/>
                <a:gd name="connsiteX555" fmla="*/ 80472 w 343258"/>
                <a:gd name="connsiteY555" fmla="*/ 14224 h 292840"/>
                <a:gd name="connsiteX556" fmla="*/ 79774 w 343258"/>
                <a:gd name="connsiteY556" fmla="*/ 12779 h 292840"/>
                <a:gd name="connsiteX557" fmla="*/ 79776 w 343258"/>
                <a:gd name="connsiteY557" fmla="*/ 11514 h 292840"/>
                <a:gd name="connsiteX558" fmla="*/ 78091 w 343258"/>
                <a:gd name="connsiteY558" fmla="*/ 7506 h 292840"/>
                <a:gd name="connsiteX559" fmla="*/ 79140 w 343258"/>
                <a:gd name="connsiteY559" fmla="*/ 4485 h 292840"/>
                <a:gd name="connsiteX560" fmla="*/ 80213 w 343258"/>
                <a:gd name="connsiteY560" fmla="*/ 2045 h 292840"/>
                <a:gd name="connsiteX561" fmla="*/ 82261 w 343258"/>
                <a:gd name="connsiteY561" fmla="*/ 1061 h 292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</a:cxnLst>
              <a:rect l="l" t="t" r="r" b="b"/>
              <a:pathLst>
                <a:path w="343258" h="292840">
                  <a:moveTo>
                    <a:pt x="315698" y="79677"/>
                  </a:moveTo>
                  <a:lnTo>
                    <a:pt x="316236" y="80111"/>
                  </a:lnTo>
                  <a:lnTo>
                    <a:pt x="316102" y="80660"/>
                  </a:lnTo>
                  <a:lnTo>
                    <a:pt x="317387" y="81584"/>
                  </a:lnTo>
                  <a:lnTo>
                    <a:pt x="317076" y="82763"/>
                  </a:lnTo>
                  <a:lnTo>
                    <a:pt x="315683" y="84048"/>
                  </a:lnTo>
                  <a:lnTo>
                    <a:pt x="313617" y="84865"/>
                  </a:lnTo>
                  <a:lnTo>
                    <a:pt x="312043" y="85383"/>
                  </a:lnTo>
                  <a:lnTo>
                    <a:pt x="311808" y="82821"/>
                  </a:lnTo>
                  <a:lnTo>
                    <a:pt x="312283" y="82130"/>
                  </a:lnTo>
                  <a:lnTo>
                    <a:pt x="314963" y="80068"/>
                  </a:lnTo>
                  <a:close/>
                  <a:moveTo>
                    <a:pt x="319102" y="75893"/>
                  </a:moveTo>
                  <a:lnTo>
                    <a:pt x="319677" y="75941"/>
                  </a:lnTo>
                  <a:lnTo>
                    <a:pt x="320262" y="76277"/>
                  </a:lnTo>
                  <a:lnTo>
                    <a:pt x="318878" y="76946"/>
                  </a:lnTo>
                  <a:lnTo>
                    <a:pt x="318097" y="77938"/>
                  </a:lnTo>
                  <a:lnTo>
                    <a:pt x="315049" y="78776"/>
                  </a:lnTo>
                  <a:lnTo>
                    <a:pt x="315099" y="78093"/>
                  </a:lnTo>
                  <a:lnTo>
                    <a:pt x="315915" y="76907"/>
                  </a:lnTo>
                  <a:lnTo>
                    <a:pt x="317497" y="76572"/>
                  </a:lnTo>
                  <a:lnTo>
                    <a:pt x="318093" y="76166"/>
                  </a:lnTo>
                  <a:close/>
                  <a:moveTo>
                    <a:pt x="202420" y="30933"/>
                  </a:moveTo>
                  <a:lnTo>
                    <a:pt x="204471" y="30933"/>
                  </a:lnTo>
                  <a:lnTo>
                    <a:pt x="206392" y="32051"/>
                  </a:lnTo>
                  <a:lnTo>
                    <a:pt x="206749" y="32661"/>
                  </a:lnTo>
                  <a:lnTo>
                    <a:pt x="205382" y="33238"/>
                  </a:lnTo>
                  <a:lnTo>
                    <a:pt x="202877" y="32661"/>
                  </a:lnTo>
                  <a:lnTo>
                    <a:pt x="201623" y="31855"/>
                  </a:lnTo>
                  <a:close/>
                  <a:moveTo>
                    <a:pt x="240204" y="25970"/>
                  </a:moveTo>
                  <a:lnTo>
                    <a:pt x="241314" y="26899"/>
                  </a:lnTo>
                  <a:lnTo>
                    <a:pt x="242127" y="30253"/>
                  </a:lnTo>
                  <a:lnTo>
                    <a:pt x="241878" y="30882"/>
                  </a:lnTo>
                  <a:lnTo>
                    <a:pt x="239583" y="33146"/>
                  </a:lnTo>
                  <a:lnTo>
                    <a:pt x="237658" y="33309"/>
                  </a:lnTo>
                  <a:lnTo>
                    <a:pt x="236108" y="33229"/>
                  </a:lnTo>
                  <a:lnTo>
                    <a:pt x="234929" y="32791"/>
                  </a:lnTo>
                  <a:lnTo>
                    <a:pt x="233414" y="31318"/>
                  </a:lnTo>
                  <a:lnTo>
                    <a:pt x="231943" y="31760"/>
                  </a:lnTo>
                  <a:lnTo>
                    <a:pt x="228302" y="31248"/>
                  </a:lnTo>
                  <a:lnTo>
                    <a:pt x="227292" y="30734"/>
                  </a:lnTo>
                  <a:lnTo>
                    <a:pt x="228655" y="28930"/>
                  </a:lnTo>
                  <a:lnTo>
                    <a:pt x="231161" y="28201"/>
                  </a:lnTo>
                  <a:lnTo>
                    <a:pt x="232076" y="28052"/>
                  </a:lnTo>
                  <a:lnTo>
                    <a:pt x="232808" y="29159"/>
                  </a:lnTo>
                  <a:lnTo>
                    <a:pt x="234635" y="30116"/>
                  </a:lnTo>
                  <a:lnTo>
                    <a:pt x="236777" y="30213"/>
                  </a:lnTo>
                  <a:lnTo>
                    <a:pt x="237309" y="28504"/>
                  </a:lnTo>
                  <a:close/>
                  <a:moveTo>
                    <a:pt x="85255" y="0"/>
                  </a:moveTo>
                  <a:lnTo>
                    <a:pt x="87527" y="1627"/>
                  </a:lnTo>
                  <a:lnTo>
                    <a:pt x="88902" y="3181"/>
                  </a:lnTo>
                  <a:lnTo>
                    <a:pt x="89651" y="4688"/>
                  </a:lnTo>
                  <a:lnTo>
                    <a:pt x="90160" y="8769"/>
                  </a:lnTo>
                  <a:lnTo>
                    <a:pt x="91380" y="12903"/>
                  </a:lnTo>
                  <a:lnTo>
                    <a:pt x="92660" y="15777"/>
                  </a:lnTo>
                  <a:lnTo>
                    <a:pt x="94696" y="17942"/>
                  </a:lnTo>
                  <a:lnTo>
                    <a:pt x="96263" y="17800"/>
                  </a:lnTo>
                  <a:lnTo>
                    <a:pt x="97381" y="17438"/>
                  </a:lnTo>
                  <a:lnTo>
                    <a:pt x="104815" y="16952"/>
                  </a:lnTo>
                  <a:lnTo>
                    <a:pt x="109327" y="18427"/>
                  </a:lnTo>
                  <a:lnTo>
                    <a:pt x="115074" y="19179"/>
                  </a:lnTo>
                  <a:lnTo>
                    <a:pt x="120444" y="22321"/>
                  </a:lnTo>
                  <a:lnTo>
                    <a:pt x="125960" y="26131"/>
                  </a:lnTo>
                  <a:lnTo>
                    <a:pt x="127368" y="28907"/>
                  </a:lnTo>
                  <a:lnTo>
                    <a:pt x="127832" y="31563"/>
                  </a:lnTo>
                  <a:lnTo>
                    <a:pt x="129169" y="33340"/>
                  </a:lnTo>
                  <a:lnTo>
                    <a:pt x="127835" y="35169"/>
                  </a:lnTo>
                  <a:lnTo>
                    <a:pt x="128556" y="38231"/>
                  </a:lnTo>
                  <a:lnTo>
                    <a:pt x="130132" y="41312"/>
                  </a:lnTo>
                  <a:lnTo>
                    <a:pt x="132520" y="43272"/>
                  </a:lnTo>
                  <a:lnTo>
                    <a:pt x="139323" y="43800"/>
                  </a:lnTo>
                  <a:lnTo>
                    <a:pt x="146684" y="42477"/>
                  </a:lnTo>
                  <a:lnTo>
                    <a:pt x="158045" y="41280"/>
                  </a:lnTo>
                  <a:lnTo>
                    <a:pt x="161703" y="40248"/>
                  </a:lnTo>
                  <a:lnTo>
                    <a:pt x="180512" y="39695"/>
                  </a:lnTo>
                  <a:lnTo>
                    <a:pt x="184097" y="41172"/>
                  </a:lnTo>
                  <a:lnTo>
                    <a:pt x="184444" y="42647"/>
                  </a:lnTo>
                  <a:lnTo>
                    <a:pt x="184487" y="43777"/>
                  </a:lnTo>
                  <a:lnTo>
                    <a:pt x="190540" y="49292"/>
                  </a:lnTo>
                  <a:lnTo>
                    <a:pt x="195507" y="50042"/>
                  </a:lnTo>
                  <a:lnTo>
                    <a:pt x="199729" y="51811"/>
                  </a:lnTo>
                  <a:lnTo>
                    <a:pt x="204090" y="52761"/>
                  </a:lnTo>
                  <a:lnTo>
                    <a:pt x="208864" y="54099"/>
                  </a:lnTo>
                  <a:lnTo>
                    <a:pt x="211547" y="53930"/>
                  </a:lnTo>
                  <a:lnTo>
                    <a:pt x="213556" y="53460"/>
                  </a:lnTo>
                  <a:lnTo>
                    <a:pt x="215929" y="53382"/>
                  </a:lnTo>
                  <a:lnTo>
                    <a:pt x="232719" y="44166"/>
                  </a:lnTo>
                  <a:lnTo>
                    <a:pt x="241710" y="44403"/>
                  </a:lnTo>
                  <a:lnTo>
                    <a:pt x="243097" y="43804"/>
                  </a:lnTo>
                  <a:lnTo>
                    <a:pt x="244292" y="42996"/>
                  </a:lnTo>
                  <a:lnTo>
                    <a:pt x="240975" y="41594"/>
                  </a:lnTo>
                  <a:lnTo>
                    <a:pt x="233490" y="41053"/>
                  </a:lnTo>
                  <a:lnTo>
                    <a:pt x="231218" y="41993"/>
                  </a:lnTo>
                  <a:lnTo>
                    <a:pt x="229932" y="39619"/>
                  </a:lnTo>
                  <a:lnTo>
                    <a:pt x="232374" y="39684"/>
                  </a:lnTo>
                  <a:lnTo>
                    <a:pt x="240704" y="38887"/>
                  </a:lnTo>
                  <a:lnTo>
                    <a:pt x="250253" y="39412"/>
                  </a:lnTo>
                  <a:lnTo>
                    <a:pt x="258035" y="37722"/>
                  </a:lnTo>
                  <a:lnTo>
                    <a:pt x="261950" y="37442"/>
                  </a:lnTo>
                  <a:lnTo>
                    <a:pt x="264201" y="37775"/>
                  </a:lnTo>
                  <a:lnTo>
                    <a:pt x="270398" y="36680"/>
                  </a:lnTo>
                  <a:lnTo>
                    <a:pt x="282063" y="37968"/>
                  </a:lnTo>
                  <a:lnTo>
                    <a:pt x="291262" y="36905"/>
                  </a:lnTo>
                  <a:lnTo>
                    <a:pt x="290199" y="38433"/>
                  </a:lnTo>
                  <a:lnTo>
                    <a:pt x="287181" y="39358"/>
                  </a:lnTo>
                  <a:lnTo>
                    <a:pt x="282301" y="39650"/>
                  </a:lnTo>
                  <a:lnTo>
                    <a:pt x="278572" y="41883"/>
                  </a:lnTo>
                  <a:lnTo>
                    <a:pt x="270620" y="41470"/>
                  </a:lnTo>
                  <a:lnTo>
                    <a:pt x="265042" y="42277"/>
                  </a:lnTo>
                  <a:lnTo>
                    <a:pt x="266832" y="42899"/>
                  </a:lnTo>
                  <a:lnTo>
                    <a:pt x="266830" y="45188"/>
                  </a:lnTo>
                  <a:lnTo>
                    <a:pt x="267593" y="45650"/>
                  </a:lnTo>
                  <a:lnTo>
                    <a:pt x="268397" y="45667"/>
                  </a:lnTo>
                  <a:lnTo>
                    <a:pt x="270297" y="47363"/>
                  </a:lnTo>
                  <a:lnTo>
                    <a:pt x="270816" y="48471"/>
                  </a:lnTo>
                  <a:lnTo>
                    <a:pt x="271430" y="50808"/>
                  </a:lnTo>
                  <a:lnTo>
                    <a:pt x="270592" y="53331"/>
                  </a:lnTo>
                  <a:lnTo>
                    <a:pt x="269428" y="54456"/>
                  </a:lnTo>
                  <a:lnTo>
                    <a:pt x="271695" y="54084"/>
                  </a:lnTo>
                  <a:lnTo>
                    <a:pt x="272980" y="52900"/>
                  </a:lnTo>
                  <a:lnTo>
                    <a:pt x="272792" y="51708"/>
                  </a:lnTo>
                  <a:lnTo>
                    <a:pt x="272980" y="50329"/>
                  </a:lnTo>
                  <a:lnTo>
                    <a:pt x="274252" y="50761"/>
                  </a:lnTo>
                  <a:lnTo>
                    <a:pt x="275144" y="51384"/>
                  </a:lnTo>
                  <a:lnTo>
                    <a:pt x="278041" y="57983"/>
                  </a:lnTo>
                  <a:lnTo>
                    <a:pt x="280082" y="61447"/>
                  </a:lnTo>
                  <a:lnTo>
                    <a:pt x="280605" y="61316"/>
                  </a:lnTo>
                  <a:lnTo>
                    <a:pt x="281090" y="61194"/>
                  </a:lnTo>
                  <a:lnTo>
                    <a:pt x="281696" y="60530"/>
                  </a:lnTo>
                  <a:lnTo>
                    <a:pt x="282599" y="58900"/>
                  </a:lnTo>
                  <a:lnTo>
                    <a:pt x="283378" y="59934"/>
                  </a:lnTo>
                  <a:lnTo>
                    <a:pt x="283847" y="60330"/>
                  </a:lnTo>
                  <a:lnTo>
                    <a:pt x="284318" y="60456"/>
                  </a:lnTo>
                  <a:lnTo>
                    <a:pt x="283888" y="58979"/>
                  </a:lnTo>
                  <a:lnTo>
                    <a:pt x="284468" y="57086"/>
                  </a:lnTo>
                  <a:lnTo>
                    <a:pt x="284269" y="56426"/>
                  </a:lnTo>
                  <a:lnTo>
                    <a:pt x="285173" y="56281"/>
                  </a:lnTo>
                  <a:lnTo>
                    <a:pt x="286251" y="56532"/>
                  </a:lnTo>
                  <a:lnTo>
                    <a:pt x="287788" y="57054"/>
                  </a:lnTo>
                  <a:lnTo>
                    <a:pt x="290524" y="59225"/>
                  </a:lnTo>
                  <a:lnTo>
                    <a:pt x="292333" y="61472"/>
                  </a:lnTo>
                  <a:lnTo>
                    <a:pt x="292488" y="62727"/>
                  </a:lnTo>
                  <a:lnTo>
                    <a:pt x="293142" y="63432"/>
                  </a:lnTo>
                  <a:lnTo>
                    <a:pt x="294324" y="64174"/>
                  </a:lnTo>
                  <a:lnTo>
                    <a:pt x="294902" y="65333"/>
                  </a:lnTo>
                  <a:lnTo>
                    <a:pt x="295009" y="63510"/>
                  </a:lnTo>
                  <a:lnTo>
                    <a:pt x="294313" y="62180"/>
                  </a:lnTo>
                  <a:lnTo>
                    <a:pt x="294142" y="60661"/>
                  </a:lnTo>
                  <a:lnTo>
                    <a:pt x="297706" y="60593"/>
                  </a:lnTo>
                  <a:lnTo>
                    <a:pt x="298631" y="58594"/>
                  </a:lnTo>
                  <a:lnTo>
                    <a:pt x="300573" y="59798"/>
                  </a:lnTo>
                  <a:lnTo>
                    <a:pt x="305718" y="65286"/>
                  </a:lnTo>
                  <a:lnTo>
                    <a:pt x="307619" y="66193"/>
                  </a:lnTo>
                  <a:lnTo>
                    <a:pt x="313223" y="67246"/>
                  </a:lnTo>
                  <a:lnTo>
                    <a:pt x="316756" y="69885"/>
                  </a:lnTo>
                  <a:lnTo>
                    <a:pt x="318825" y="72252"/>
                  </a:lnTo>
                  <a:lnTo>
                    <a:pt x="317596" y="74734"/>
                  </a:lnTo>
                  <a:lnTo>
                    <a:pt x="314297" y="75974"/>
                  </a:lnTo>
                  <a:lnTo>
                    <a:pt x="312976" y="77523"/>
                  </a:lnTo>
                  <a:lnTo>
                    <a:pt x="312218" y="79044"/>
                  </a:lnTo>
                  <a:lnTo>
                    <a:pt x="312205" y="80574"/>
                  </a:lnTo>
                  <a:lnTo>
                    <a:pt x="311206" y="82350"/>
                  </a:lnTo>
                  <a:lnTo>
                    <a:pt x="311057" y="82975"/>
                  </a:lnTo>
                  <a:lnTo>
                    <a:pt x="310461" y="85478"/>
                  </a:lnTo>
                  <a:lnTo>
                    <a:pt x="309103" y="88491"/>
                  </a:lnTo>
                  <a:lnTo>
                    <a:pt x="307294" y="91686"/>
                  </a:lnTo>
                  <a:lnTo>
                    <a:pt x="297874" y="91760"/>
                  </a:lnTo>
                  <a:lnTo>
                    <a:pt x="300202" y="93070"/>
                  </a:lnTo>
                  <a:lnTo>
                    <a:pt x="302341" y="94027"/>
                  </a:lnTo>
                  <a:lnTo>
                    <a:pt x="305854" y="96536"/>
                  </a:lnTo>
                  <a:lnTo>
                    <a:pt x="308650" y="94566"/>
                  </a:lnTo>
                  <a:lnTo>
                    <a:pt x="312650" y="94425"/>
                  </a:lnTo>
                  <a:lnTo>
                    <a:pt x="316980" y="92235"/>
                  </a:lnTo>
                  <a:lnTo>
                    <a:pt x="318609" y="91895"/>
                  </a:lnTo>
                  <a:lnTo>
                    <a:pt x="326710" y="93042"/>
                  </a:lnTo>
                  <a:lnTo>
                    <a:pt x="328663" y="91433"/>
                  </a:lnTo>
                  <a:lnTo>
                    <a:pt x="330292" y="90960"/>
                  </a:lnTo>
                  <a:lnTo>
                    <a:pt x="334673" y="91261"/>
                  </a:lnTo>
                  <a:lnTo>
                    <a:pt x="338475" y="92989"/>
                  </a:lnTo>
                  <a:lnTo>
                    <a:pt x="343188" y="99203"/>
                  </a:lnTo>
                  <a:lnTo>
                    <a:pt x="343258" y="99887"/>
                  </a:lnTo>
                  <a:lnTo>
                    <a:pt x="342747" y="100665"/>
                  </a:lnTo>
                  <a:lnTo>
                    <a:pt x="339811" y="102121"/>
                  </a:lnTo>
                  <a:lnTo>
                    <a:pt x="339155" y="102877"/>
                  </a:lnTo>
                  <a:lnTo>
                    <a:pt x="338098" y="105644"/>
                  </a:lnTo>
                  <a:lnTo>
                    <a:pt x="334402" y="107163"/>
                  </a:lnTo>
                  <a:lnTo>
                    <a:pt x="331847" y="109067"/>
                  </a:lnTo>
                  <a:lnTo>
                    <a:pt x="330126" y="110735"/>
                  </a:lnTo>
                  <a:lnTo>
                    <a:pt x="329268" y="111409"/>
                  </a:lnTo>
                  <a:lnTo>
                    <a:pt x="325896" y="111778"/>
                  </a:lnTo>
                  <a:lnTo>
                    <a:pt x="324812" y="112827"/>
                  </a:lnTo>
                  <a:lnTo>
                    <a:pt x="323450" y="115982"/>
                  </a:lnTo>
                  <a:lnTo>
                    <a:pt x="322451" y="117300"/>
                  </a:lnTo>
                  <a:lnTo>
                    <a:pt x="320696" y="118847"/>
                  </a:lnTo>
                  <a:lnTo>
                    <a:pt x="320681" y="119798"/>
                  </a:lnTo>
                  <a:lnTo>
                    <a:pt x="323103" y="123248"/>
                  </a:lnTo>
                  <a:lnTo>
                    <a:pt x="323539" y="124331"/>
                  </a:lnTo>
                  <a:lnTo>
                    <a:pt x="322788" y="125970"/>
                  </a:lnTo>
                  <a:lnTo>
                    <a:pt x="322861" y="127129"/>
                  </a:lnTo>
                  <a:lnTo>
                    <a:pt x="324131" y="128527"/>
                  </a:lnTo>
                  <a:lnTo>
                    <a:pt x="325653" y="128846"/>
                  </a:lnTo>
                  <a:lnTo>
                    <a:pt x="327129" y="128264"/>
                  </a:lnTo>
                  <a:lnTo>
                    <a:pt x="328970" y="128315"/>
                  </a:lnTo>
                  <a:lnTo>
                    <a:pt x="330169" y="128685"/>
                  </a:lnTo>
                  <a:lnTo>
                    <a:pt x="330666" y="129093"/>
                  </a:lnTo>
                  <a:lnTo>
                    <a:pt x="330753" y="130162"/>
                  </a:lnTo>
                  <a:lnTo>
                    <a:pt x="329992" y="132435"/>
                  </a:lnTo>
                  <a:lnTo>
                    <a:pt x="328903" y="133899"/>
                  </a:lnTo>
                  <a:lnTo>
                    <a:pt x="324059" y="136148"/>
                  </a:lnTo>
                  <a:lnTo>
                    <a:pt x="321904" y="137451"/>
                  </a:lnTo>
                  <a:lnTo>
                    <a:pt x="320716" y="138409"/>
                  </a:lnTo>
                  <a:lnTo>
                    <a:pt x="318106" y="137895"/>
                  </a:lnTo>
                  <a:lnTo>
                    <a:pt x="316775" y="137936"/>
                  </a:lnTo>
                  <a:lnTo>
                    <a:pt x="315754" y="138676"/>
                  </a:lnTo>
                  <a:lnTo>
                    <a:pt x="315135" y="139315"/>
                  </a:lnTo>
                  <a:lnTo>
                    <a:pt x="313384" y="139471"/>
                  </a:lnTo>
                  <a:lnTo>
                    <a:pt x="310906" y="139860"/>
                  </a:lnTo>
                  <a:lnTo>
                    <a:pt x="309871" y="140289"/>
                  </a:lnTo>
                  <a:lnTo>
                    <a:pt x="309069" y="141399"/>
                  </a:lnTo>
                  <a:lnTo>
                    <a:pt x="308400" y="142991"/>
                  </a:lnTo>
                  <a:lnTo>
                    <a:pt x="308959" y="144902"/>
                  </a:lnTo>
                  <a:lnTo>
                    <a:pt x="309734" y="146604"/>
                  </a:lnTo>
                  <a:lnTo>
                    <a:pt x="309702" y="148168"/>
                  </a:lnTo>
                  <a:lnTo>
                    <a:pt x="310299" y="152515"/>
                  </a:lnTo>
                  <a:lnTo>
                    <a:pt x="309519" y="153530"/>
                  </a:lnTo>
                  <a:lnTo>
                    <a:pt x="307859" y="154681"/>
                  </a:lnTo>
                  <a:lnTo>
                    <a:pt x="305877" y="156709"/>
                  </a:lnTo>
                  <a:lnTo>
                    <a:pt x="303653" y="159527"/>
                  </a:lnTo>
                  <a:lnTo>
                    <a:pt x="304008" y="160336"/>
                  </a:lnTo>
                  <a:lnTo>
                    <a:pt x="309323" y="166257"/>
                  </a:lnTo>
                  <a:lnTo>
                    <a:pt x="314729" y="172280"/>
                  </a:lnTo>
                  <a:lnTo>
                    <a:pt x="320101" y="178265"/>
                  </a:lnTo>
                  <a:lnTo>
                    <a:pt x="320866" y="178531"/>
                  </a:lnTo>
                  <a:lnTo>
                    <a:pt x="321881" y="179222"/>
                  </a:lnTo>
                  <a:lnTo>
                    <a:pt x="322818" y="181317"/>
                  </a:lnTo>
                  <a:lnTo>
                    <a:pt x="323592" y="183538"/>
                  </a:lnTo>
                  <a:lnTo>
                    <a:pt x="323608" y="184687"/>
                  </a:lnTo>
                  <a:lnTo>
                    <a:pt x="323006" y="186132"/>
                  </a:lnTo>
                  <a:lnTo>
                    <a:pt x="321699" y="187795"/>
                  </a:lnTo>
                  <a:lnTo>
                    <a:pt x="320112" y="189141"/>
                  </a:lnTo>
                  <a:lnTo>
                    <a:pt x="317787" y="190282"/>
                  </a:lnTo>
                  <a:lnTo>
                    <a:pt x="315940" y="191360"/>
                  </a:lnTo>
                  <a:lnTo>
                    <a:pt x="314415" y="194209"/>
                  </a:lnTo>
                  <a:lnTo>
                    <a:pt x="313492" y="195211"/>
                  </a:lnTo>
                  <a:lnTo>
                    <a:pt x="312643" y="195616"/>
                  </a:lnTo>
                  <a:lnTo>
                    <a:pt x="310965" y="195987"/>
                  </a:lnTo>
                  <a:lnTo>
                    <a:pt x="308252" y="195902"/>
                  </a:lnTo>
                  <a:lnTo>
                    <a:pt x="306461" y="195677"/>
                  </a:lnTo>
                  <a:lnTo>
                    <a:pt x="304243" y="197809"/>
                  </a:lnTo>
                  <a:lnTo>
                    <a:pt x="301407" y="198590"/>
                  </a:lnTo>
                  <a:lnTo>
                    <a:pt x="299510" y="201497"/>
                  </a:lnTo>
                  <a:lnTo>
                    <a:pt x="292750" y="203803"/>
                  </a:lnTo>
                  <a:lnTo>
                    <a:pt x="286138" y="205599"/>
                  </a:lnTo>
                  <a:lnTo>
                    <a:pt x="284324" y="206309"/>
                  </a:lnTo>
                  <a:lnTo>
                    <a:pt x="277794" y="204826"/>
                  </a:lnTo>
                  <a:lnTo>
                    <a:pt x="276224" y="205289"/>
                  </a:lnTo>
                  <a:lnTo>
                    <a:pt x="274414" y="206665"/>
                  </a:lnTo>
                  <a:lnTo>
                    <a:pt x="272745" y="207733"/>
                  </a:lnTo>
                  <a:lnTo>
                    <a:pt x="271336" y="207801"/>
                  </a:lnTo>
                  <a:lnTo>
                    <a:pt x="270150" y="208352"/>
                  </a:lnTo>
                  <a:lnTo>
                    <a:pt x="269445" y="210322"/>
                  </a:lnTo>
                  <a:lnTo>
                    <a:pt x="268819" y="217112"/>
                  </a:lnTo>
                  <a:lnTo>
                    <a:pt x="266477" y="219130"/>
                  </a:lnTo>
                  <a:lnTo>
                    <a:pt x="263645" y="219118"/>
                  </a:lnTo>
                  <a:lnTo>
                    <a:pt x="261701" y="216769"/>
                  </a:lnTo>
                  <a:lnTo>
                    <a:pt x="259396" y="214992"/>
                  </a:lnTo>
                  <a:lnTo>
                    <a:pt x="255377" y="210781"/>
                  </a:lnTo>
                  <a:lnTo>
                    <a:pt x="254262" y="210232"/>
                  </a:lnTo>
                  <a:lnTo>
                    <a:pt x="253220" y="210258"/>
                  </a:lnTo>
                  <a:lnTo>
                    <a:pt x="249492" y="211507"/>
                  </a:lnTo>
                  <a:lnTo>
                    <a:pt x="247721" y="210964"/>
                  </a:lnTo>
                  <a:lnTo>
                    <a:pt x="246294" y="210310"/>
                  </a:lnTo>
                  <a:lnTo>
                    <a:pt x="243910" y="210519"/>
                  </a:lnTo>
                  <a:lnTo>
                    <a:pt x="239658" y="210568"/>
                  </a:lnTo>
                  <a:lnTo>
                    <a:pt x="236949" y="210608"/>
                  </a:lnTo>
                  <a:lnTo>
                    <a:pt x="235633" y="209458"/>
                  </a:lnTo>
                  <a:lnTo>
                    <a:pt x="234407" y="207106"/>
                  </a:lnTo>
                  <a:lnTo>
                    <a:pt x="233581" y="206264"/>
                  </a:lnTo>
                  <a:lnTo>
                    <a:pt x="232613" y="205585"/>
                  </a:lnTo>
                  <a:lnTo>
                    <a:pt x="231011" y="205243"/>
                  </a:lnTo>
                  <a:lnTo>
                    <a:pt x="224168" y="205251"/>
                  </a:lnTo>
                  <a:lnTo>
                    <a:pt x="222879" y="205255"/>
                  </a:lnTo>
                  <a:lnTo>
                    <a:pt x="221933" y="204802"/>
                  </a:lnTo>
                  <a:lnTo>
                    <a:pt x="220619" y="202785"/>
                  </a:lnTo>
                  <a:lnTo>
                    <a:pt x="219180" y="201838"/>
                  </a:lnTo>
                  <a:lnTo>
                    <a:pt x="217496" y="201796"/>
                  </a:lnTo>
                  <a:lnTo>
                    <a:pt x="216755" y="202908"/>
                  </a:lnTo>
                  <a:lnTo>
                    <a:pt x="219678" y="206539"/>
                  </a:lnTo>
                  <a:lnTo>
                    <a:pt x="220530" y="208507"/>
                  </a:lnTo>
                  <a:lnTo>
                    <a:pt x="223093" y="211352"/>
                  </a:lnTo>
                  <a:lnTo>
                    <a:pt x="230514" y="217372"/>
                  </a:lnTo>
                  <a:lnTo>
                    <a:pt x="231888" y="219284"/>
                  </a:lnTo>
                  <a:lnTo>
                    <a:pt x="231736" y="221725"/>
                  </a:lnTo>
                  <a:lnTo>
                    <a:pt x="231694" y="225463"/>
                  </a:lnTo>
                  <a:lnTo>
                    <a:pt x="231945" y="228999"/>
                  </a:lnTo>
                  <a:lnTo>
                    <a:pt x="233854" y="234070"/>
                  </a:lnTo>
                  <a:lnTo>
                    <a:pt x="236535" y="239231"/>
                  </a:lnTo>
                  <a:lnTo>
                    <a:pt x="237265" y="242521"/>
                  </a:lnTo>
                  <a:lnTo>
                    <a:pt x="236766" y="244952"/>
                  </a:lnTo>
                  <a:lnTo>
                    <a:pt x="236255" y="246245"/>
                  </a:lnTo>
                  <a:lnTo>
                    <a:pt x="236313" y="246821"/>
                  </a:lnTo>
                  <a:lnTo>
                    <a:pt x="236862" y="247342"/>
                  </a:lnTo>
                  <a:lnTo>
                    <a:pt x="239417" y="248088"/>
                  </a:lnTo>
                  <a:lnTo>
                    <a:pt x="244782" y="248555"/>
                  </a:lnTo>
                  <a:lnTo>
                    <a:pt x="248026" y="248557"/>
                  </a:lnTo>
                  <a:lnTo>
                    <a:pt x="252980" y="249117"/>
                  </a:lnTo>
                  <a:lnTo>
                    <a:pt x="253345" y="250930"/>
                  </a:lnTo>
                  <a:lnTo>
                    <a:pt x="252861" y="253922"/>
                  </a:lnTo>
                  <a:lnTo>
                    <a:pt x="251883" y="255620"/>
                  </a:lnTo>
                  <a:lnTo>
                    <a:pt x="251087" y="256115"/>
                  </a:lnTo>
                  <a:lnTo>
                    <a:pt x="248390" y="256510"/>
                  </a:lnTo>
                  <a:lnTo>
                    <a:pt x="245554" y="258345"/>
                  </a:lnTo>
                  <a:lnTo>
                    <a:pt x="241437" y="260156"/>
                  </a:lnTo>
                  <a:lnTo>
                    <a:pt x="239088" y="260403"/>
                  </a:lnTo>
                  <a:lnTo>
                    <a:pt x="238109" y="260757"/>
                  </a:lnTo>
                  <a:lnTo>
                    <a:pt x="237278" y="261301"/>
                  </a:lnTo>
                  <a:lnTo>
                    <a:pt x="236595" y="261990"/>
                  </a:lnTo>
                  <a:lnTo>
                    <a:pt x="235794" y="265388"/>
                  </a:lnTo>
                  <a:lnTo>
                    <a:pt x="234582" y="269222"/>
                  </a:lnTo>
                  <a:lnTo>
                    <a:pt x="232295" y="271500"/>
                  </a:lnTo>
                  <a:lnTo>
                    <a:pt x="229780" y="273383"/>
                  </a:lnTo>
                  <a:lnTo>
                    <a:pt x="227222" y="273596"/>
                  </a:lnTo>
                  <a:lnTo>
                    <a:pt x="225170" y="273446"/>
                  </a:lnTo>
                  <a:lnTo>
                    <a:pt x="224149" y="273998"/>
                  </a:lnTo>
                  <a:lnTo>
                    <a:pt x="222676" y="275549"/>
                  </a:lnTo>
                  <a:lnTo>
                    <a:pt x="220571" y="277476"/>
                  </a:lnTo>
                  <a:lnTo>
                    <a:pt x="218945" y="278504"/>
                  </a:lnTo>
                  <a:lnTo>
                    <a:pt x="216753" y="278407"/>
                  </a:lnTo>
                  <a:lnTo>
                    <a:pt x="214417" y="279356"/>
                  </a:lnTo>
                  <a:lnTo>
                    <a:pt x="211463" y="280910"/>
                  </a:lnTo>
                  <a:lnTo>
                    <a:pt x="209506" y="282187"/>
                  </a:lnTo>
                  <a:lnTo>
                    <a:pt x="207836" y="284365"/>
                  </a:lnTo>
                  <a:lnTo>
                    <a:pt x="205444" y="286656"/>
                  </a:lnTo>
                  <a:lnTo>
                    <a:pt x="202988" y="288259"/>
                  </a:lnTo>
                  <a:lnTo>
                    <a:pt x="201811" y="290242"/>
                  </a:lnTo>
                  <a:lnTo>
                    <a:pt x="200134" y="292758"/>
                  </a:lnTo>
                  <a:lnTo>
                    <a:pt x="198038" y="292840"/>
                  </a:lnTo>
                  <a:lnTo>
                    <a:pt x="197869" y="291331"/>
                  </a:lnTo>
                  <a:lnTo>
                    <a:pt x="198876" y="288899"/>
                  </a:lnTo>
                  <a:lnTo>
                    <a:pt x="197785" y="286803"/>
                  </a:lnTo>
                  <a:lnTo>
                    <a:pt x="195791" y="285680"/>
                  </a:lnTo>
                  <a:lnTo>
                    <a:pt x="194859" y="285347"/>
                  </a:lnTo>
                  <a:lnTo>
                    <a:pt x="193929" y="285486"/>
                  </a:lnTo>
                  <a:lnTo>
                    <a:pt x="191565" y="286519"/>
                  </a:lnTo>
                  <a:lnTo>
                    <a:pt x="188661" y="288399"/>
                  </a:lnTo>
                  <a:lnTo>
                    <a:pt x="186874" y="289752"/>
                  </a:lnTo>
                  <a:lnTo>
                    <a:pt x="185259" y="290371"/>
                  </a:lnTo>
                  <a:lnTo>
                    <a:pt x="181933" y="290931"/>
                  </a:lnTo>
                  <a:lnTo>
                    <a:pt x="179132" y="291219"/>
                  </a:lnTo>
                  <a:lnTo>
                    <a:pt x="177979" y="290832"/>
                  </a:lnTo>
                  <a:lnTo>
                    <a:pt x="175897" y="289450"/>
                  </a:lnTo>
                  <a:lnTo>
                    <a:pt x="171084" y="285127"/>
                  </a:lnTo>
                  <a:lnTo>
                    <a:pt x="164568" y="279272"/>
                  </a:lnTo>
                  <a:lnTo>
                    <a:pt x="164074" y="277577"/>
                  </a:lnTo>
                  <a:lnTo>
                    <a:pt x="164354" y="275843"/>
                  </a:lnTo>
                  <a:lnTo>
                    <a:pt x="163172" y="273313"/>
                  </a:lnTo>
                  <a:lnTo>
                    <a:pt x="162481" y="270620"/>
                  </a:lnTo>
                  <a:lnTo>
                    <a:pt x="161893" y="269692"/>
                  </a:lnTo>
                  <a:lnTo>
                    <a:pt x="161726" y="267679"/>
                  </a:lnTo>
                  <a:lnTo>
                    <a:pt x="160312" y="264051"/>
                  </a:lnTo>
                  <a:lnTo>
                    <a:pt x="159153" y="261079"/>
                  </a:lnTo>
                  <a:lnTo>
                    <a:pt x="158092" y="259569"/>
                  </a:lnTo>
                  <a:lnTo>
                    <a:pt x="158539" y="258283"/>
                  </a:lnTo>
                  <a:lnTo>
                    <a:pt x="158092" y="256997"/>
                  </a:lnTo>
                  <a:lnTo>
                    <a:pt x="157228" y="255949"/>
                  </a:lnTo>
                  <a:lnTo>
                    <a:pt x="155967" y="252578"/>
                  </a:lnTo>
                  <a:lnTo>
                    <a:pt x="156414" y="251125"/>
                  </a:lnTo>
                  <a:lnTo>
                    <a:pt x="156079" y="249668"/>
                  </a:lnTo>
                  <a:lnTo>
                    <a:pt x="155016" y="248672"/>
                  </a:lnTo>
                  <a:lnTo>
                    <a:pt x="153507" y="247600"/>
                  </a:lnTo>
                  <a:lnTo>
                    <a:pt x="151496" y="245361"/>
                  </a:lnTo>
                  <a:lnTo>
                    <a:pt x="149091" y="243236"/>
                  </a:lnTo>
                  <a:lnTo>
                    <a:pt x="147861" y="242397"/>
                  </a:lnTo>
                  <a:lnTo>
                    <a:pt x="147022" y="242062"/>
                  </a:lnTo>
                  <a:lnTo>
                    <a:pt x="146295" y="240047"/>
                  </a:lnTo>
                  <a:lnTo>
                    <a:pt x="145737" y="239432"/>
                  </a:lnTo>
                  <a:lnTo>
                    <a:pt x="144506" y="239264"/>
                  </a:lnTo>
                  <a:lnTo>
                    <a:pt x="141989" y="238425"/>
                  </a:lnTo>
                  <a:lnTo>
                    <a:pt x="139641" y="239432"/>
                  </a:lnTo>
                  <a:lnTo>
                    <a:pt x="139587" y="237865"/>
                  </a:lnTo>
                  <a:lnTo>
                    <a:pt x="140258" y="236913"/>
                  </a:lnTo>
                  <a:lnTo>
                    <a:pt x="148370" y="229441"/>
                  </a:lnTo>
                  <a:lnTo>
                    <a:pt x="152458" y="226005"/>
                  </a:lnTo>
                  <a:lnTo>
                    <a:pt x="152898" y="225498"/>
                  </a:lnTo>
                  <a:lnTo>
                    <a:pt x="153256" y="224702"/>
                  </a:lnTo>
                  <a:lnTo>
                    <a:pt x="153536" y="223639"/>
                  </a:lnTo>
                  <a:lnTo>
                    <a:pt x="152608" y="222422"/>
                  </a:lnTo>
                  <a:lnTo>
                    <a:pt x="148780" y="216651"/>
                  </a:lnTo>
                  <a:lnTo>
                    <a:pt x="147450" y="215566"/>
                  </a:lnTo>
                  <a:lnTo>
                    <a:pt x="146146" y="214679"/>
                  </a:lnTo>
                  <a:lnTo>
                    <a:pt x="144649" y="212254"/>
                  </a:lnTo>
                  <a:lnTo>
                    <a:pt x="142855" y="206609"/>
                  </a:lnTo>
                  <a:lnTo>
                    <a:pt x="141565" y="203772"/>
                  </a:lnTo>
                  <a:lnTo>
                    <a:pt x="141174" y="201597"/>
                  </a:lnTo>
                  <a:lnTo>
                    <a:pt x="141255" y="199137"/>
                  </a:lnTo>
                  <a:lnTo>
                    <a:pt x="140777" y="197248"/>
                  </a:lnTo>
                  <a:lnTo>
                    <a:pt x="139738" y="195932"/>
                  </a:lnTo>
                  <a:lnTo>
                    <a:pt x="139738" y="191902"/>
                  </a:lnTo>
                  <a:lnTo>
                    <a:pt x="140777" y="185160"/>
                  </a:lnTo>
                  <a:lnTo>
                    <a:pt x="141033" y="180032"/>
                  </a:lnTo>
                  <a:lnTo>
                    <a:pt x="140508" y="176525"/>
                  </a:lnTo>
                  <a:lnTo>
                    <a:pt x="141433" y="173854"/>
                  </a:lnTo>
                  <a:lnTo>
                    <a:pt x="143811" y="172023"/>
                  </a:lnTo>
                  <a:lnTo>
                    <a:pt x="145138" y="169193"/>
                  </a:lnTo>
                  <a:lnTo>
                    <a:pt x="145416" y="165363"/>
                  </a:lnTo>
                  <a:lnTo>
                    <a:pt x="146840" y="162215"/>
                  </a:lnTo>
                  <a:lnTo>
                    <a:pt x="149409" y="159751"/>
                  </a:lnTo>
                  <a:lnTo>
                    <a:pt x="150285" y="157320"/>
                  </a:lnTo>
                  <a:lnTo>
                    <a:pt x="149467" y="154921"/>
                  </a:lnTo>
                  <a:lnTo>
                    <a:pt x="149203" y="153381"/>
                  </a:lnTo>
                  <a:lnTo>
                    <a:pt x="147020" y="151815"/>
                  </a:lnTo>
                  <a:lnTo>
                    <a:pt x="142987" y="150717"/>
                  </a:lnTo>
                  <a:lnTo>
                    <a:pt x="139639" y="150591"/>
                  </a:lnTo>
                  <a:lnTo>
                    <a:pt x="137618" y="151812"/>
                  </a:lnTo>
                  <a:lnTo>
                    <a:pt x="132441" y="152943"/>
                  </a:lnTo>
                  <a:lnTo>
                    <a:pt x="124106" y="153985"/>
                  </a:lnTo>
                  <a:lnTo>
                    <a:pt x="117393" y="153979"/>
                  </a:lnTo>
                  <a:lnTo>
                    <a:pt x="112304" y="152926"/>
                  </a:lnTo>
                  <a:lnTo>
                    <a:pt x="108431" y="153278"/>
                  </a:lnTo>
                  <a:lnTo>
                    <a:pt x="105779" y="155034"/>
                  </a:lnTo>
                  <a:lnTo>
                    <a:pt x="103913" y="155432"/>
                  </a:lnTo>
                  <a:lnTo>
                    <a:pt x="102830" y="154467"/>
                  </a:lnTo>
                  <a:lnTo>
                    <a:pt x="101658" y="154203"/>
                  </a:lnTo>
                  <a:lnTo>
                    <a:pt x="99881" y="154814"/>
                  </a:lnTo>
                  <a:lnTo>
                    <a:pt x="99573" y="154535"/>
                  </a:lnTo>
                  <a:lnTo>
                    <a:pt x="95630" y="149787"/>
                  </a:lnTo>
                  <a:lnTo>
                    <a:pt x="91974" y="145385"/>
                  </a:lnTo>
                  <a:lnTo>
                    <a:pt x="87785" y="140143"/>
                  </a:lnTo>
                  <a:lnTo>
                    <a:pt x="82946" y="134088"/>
                  </a:lnTo>
                  <a:lnTo>
                    <a:pt x="82079" y="133689"/>
                  </a:lnTo>
                  <a:lnTo>
                    <a:pt x="80585" y="133729"/>
                  </a:lnTo>
                  <a:lnTo>
                    <a:pt x="78608" y="133834"/>
                  </a:lnTo>
                  <a:lnTo>
                    <a:pt x="75530" y="133205"/>
                  </a:lnTo>
                  <a:lnTo>
                    <a:pt x="73421" y="132326"/>
                  </a:lnTo>
                  <a:lnTo>
                    <a:pt x="71776" y="131475"/>
                  </a:lnTo>
                  <a:lnTo>
                    <a:pt x="68745" y="130398"/>
                  </a:lnTo>
                  <a:lnTo>
                    <a:pt x="66664" y="130214"/>
                  </a:lnTo>
                  <a:lnTo>
                    <a:pt x="64799" y="130531"/>
                  </a:lnTo>
                  <a:lnTo>
                    <a:pt x="59662" y="132649"/>
                  </a:lnTo>
                  <a:lnTo>
                    <a:pt x="56738" y="132845"/>
                  </a:lnTo>
                  <a:lnTo>
                    <a:pt x="54476" y="132884"/>
                  </a:lnTo>
                  <a:lnTo>
                    <a:pt x="48408" y="131835"/>
                  </a:lnTo>
                  <a:lnTo>
                    <a:pt x="44256" y="131669"/>
                  </a:lnTo>
                  <a:lnTo>
                    <a:pt x="39428" y="132359"/>
                  </a:lnTo>
                  <a:lnTo>
                    <a:pt x="37364" y="132754"/>
                  </a:lnTo>
                  <a:lnTo>
                    <a:pt x="34474" y="131677"/>
                  </a:lnTo>
                  <a:lnTo>
                    <a:pt x="32506" y="130039"/>
                  </a:lnTo>
                  <a:lnTo>
                    <a:pt x="30669" y="126145"/>
                  </a:lnTo>
                  <a:lnTo>
                    <a:pt x="29376" y="123072"/>
                  </a:lnTo>
                  <a:lnTo>
                    <a:pt x="27128" y="122453"/>
                  </a:lnTo>
                  <a:lnTo>
                    <a:pt x="24636" y="121929"/>
                  </a:lnTo>
                  <a:lnTo>
                    <a:pt x="23411" y="120915"/>
                  </a:lnTo>
                  <a:lnTo>
                    <a:pt x="22675" y="119145"/>
                  </a:lnTo>
                  <a:lnTo>
                    <a:pt x="22498" y="116877"/>
                  </a:lnTo>
                  <a:lnTo>
                    <a:pt x="22753" y="113186"/>
                  </a:lnTo>
                  <a:lnTo>
                    <a:pt x="22990" y="111863"/>
                  </a:lnTo>
                  <a:lnTo>
                    <a:pt x="23333" y="107876"/>
                  </a:lnTo>
                  <a:lnTo>
                    <a:pt x="24711" y="105794"/>
                  </a:lnTo>
                  <a:lnTo>
                    <a:pt x="25574" y="104784"/>
                  </a:lnTo>
                  <a:lnTo>
                    <a:pt x="25409" y="103112"/>
                  </a:lnTo>
                  <a:lnTo>
                    <a:pt x="24745" y="99685"/>
                  </a:lnTo>
                  <a:lnTo>
                    <a:pt x="24080" y="97261"/>
                  </a:lnTo>
                  <a:lnTo>
                    <a:pt x="21312" y="94512"/>
                  </a:lnTo>
                  <a:lnTo>
                    <a:pt x="17770" y="90990"/>
                  </a:lnTo>
                  <a:lnTo>
                    <a:pt x="16246" y="85352"/>
                  </a:lnTo>
                  <a:lnTo>
                    <a:pt x="14449" y="78689"/>
                  </a:lnTo>
                  <a:lnTo>
                    <a:pt x="13036" y="78021"/>
                  </a:lnTo>
                  <a:lnTo>
                    <a:pt x="11709" y="78356"/>
                  </a:lnTo>
                  <a:lnTo>
                    <a:pt x="10297" y="78021"/>
                  </a:lnTo>
                  <a:lnTo>
                    <a:pt x="9051" y="75341"/>
                  </a:lnTo>
                  <a:lnTo>
                    <a:pt x="7806" y="74840"/>
                  </a:lnTo>
                  <a:lnTo>
                    <a:pt x="5820" y="75780"/>
                  </a:lnTo>
                  <a:lnTo>
                    <a:pt x="4389" y="76513"/>
                  </a:lnTo>
                  <a:lnTo>
                    <a:pt x="748" y="77182"/>
                  </a:lnTo>
                  <a:lnTo>
                    <a:pt x="0" y="76513"/>
                  </a:lnTo>
                  <a:lnTo>
                    <a:pt x="250" y="75676"/>
                  </a:lnTo>
                  <a:lnTo>
                    <a:pt x="1789" y="73242"/>
                  </a:lnTo>
                  <a:lnTo>
                    <a:pt x="3600" y="70134"/>
                  </a:lnTo>
                  <a:lnTo>
                    <a:pt x="5704" y="67293"/>
                  </a:lnTo>
                  <a:lnTo>
                    <a:pt x="7661" y="64386"/>
                  </a:lnTo>
                  <a:lnTo>
                    <a:pt x="9120" y="61291"/>
                  </a:lnTo>
                  <a:lnTo>
                    <a:pt x="10113" y="55132"/>
                  </a:lnTo>
                  <a:lnTo>
                    <a:pt x="10798" y="50880"/>
                  </a:lnTo>
                  <a:lnTo>
                    <a:pt x="12599" y="43308"/>
                  </a:lnTo>
                  <a:lnTo>
                    <a:pt x="15901" y="37259"/>
                  </a:lnTo>
                  <a:lnTo>
                    <a:pt x="17145" y="34474"/>
                  </a:lnTo>
                  <a:lnTo>
                    <a:pt x="20132" y="30849"/>
                  </a:lnTo>
                  <a:lnTo>
                    <a:pt x="21507" y="28879"/>
                  </a:lnTo>
                  <a:lnTo>
                    <a:pt x="23331" y="27330"/>
                  </a:lnTo>
                  <a:lnTo>
                    <a:pt x="28341" y="25221"/>
                  </a:lnTo>
                  <a:lnTo>
                    <a:pt x="34331" y="14807"/>
                  </a:lnTo>
                  <a:lnTo>
                    <a:pt x="35705" y="13151"/>
                  </a:lnTo>
                  <a:lnTo>
                    <a:pt x="41756" y="11597"/>
                  </a:lnTo>
                  <a:lnTo>
                    <a:pt x="46406" y="10384"/>
                  </a:lnTo>
                  <a:lnTo>
                    <a:pt x="49852" y="9112"/>
                  </a:lnTo>
                  <a:lnTo>
                    <a:pt x="50983" y="8439"/>
                  </a:lnTo>
                  <a:lnTo>
                    <a:pt x="51892" y="8126"/>
                  </a:lnTo>
                  <a:lnTo>
                    <a:pt x="51139" y="9333"/>
                  </a:lnTo>
                  <a:lnTo>
                    <a:pt x="49488" y="10870"/>
                  </a:lnTo>
                  <a:lnTo>
                    <a:pt x="47615" y="11806"/>
                  </a:lnTo>
                  <a:lnTo>
                    <a:pt x="37973" y="14154"/>
                  </a:lnTo>
                  <a:lnTo>
                    <a:pt x="36988" y="14653"/>
                  </a:lnTo>
                  <a:lnTo>
                    <a:pt x="35734" y="15630"/>
                  </a:lnTo>
                  <a:lnTo>
                    <a:pt x="35727" y="17867"/>
                  </a:lnTo>
                  <a:lnTo>
                    <a:pt x="35988" y="19623"/>
                  </a:lnTo>
                  <a:lnTo>
                    <a:pt x="38824" y="25378"/>
                  </a:lnTo>
                  <a:lnTo>
                    <a:pt x="39930" y="26797"/>
                  </a:lnTo>
                  <a:lnTo>
                    <a:pt x="43730" y="29915"/>
                  </a:lnTo>
                  <a:lnTo>
                    <a:pt x="42866" y="30346"/>
                  </a:lnTo>
                  <a:lnTo>
                    <a:pt x="41466" y="30399"/>
                  </a:lnTo>
                  <a:lnTo>
                    <a:pt x="42492" y="34482"/>
                  </a:lnTo>
                  <a:lnTo>
                    <a:pt x="44824" y="37285"/>
                  </a:lnTo>
                  <a:lnTo>
                    <a:pt x="44929" y="39051"/>
                  </a:lnTo>
                  <a:lnTo>
                    <a:pt x="43141" y="44526"/>
                  </a:lnTo>
                  <a:lnTo>
                    <a:pt x="39879" y="47801"/>
                  </a:lnTo>
                  <a:lnTo>
                    <a:pt x="37564" y="51611"/>
                  </a:lnTo>
                  <a:lnTo>
                    <a:pt x="35765" y="53127"/>
                  </a:lnTo>
                  <a:lnTo>
                    <a:pt x="31782" y="60616"/>
                  </a:lnTo>
                  <a:lnTo>
                    <a:pt x="34814" y="65070"/>
                  </a:lnTo>
                  <a:lnTo>
                    <a:pt x="35245" y="67329"/>
                  </a:lnTo>
                  <a:lnTo>
                    <a:pt x="37861" y="70542"/>
                  </a:lnTo>
                  <a:lnTo>
                    <a:pt x="39570" y="71596"/>
                  </a:lnTo>
                  <a:lnTo>
                    <a:pt x="40710" y="72891"/>
                  </a:lnTo>
                  <a:lnTo>
                    <a:pt x="40187" y="75084"/>
                  </a:lnTo>
                  <a:lnTo>
                    <a:pt x="41232" y="78053"/>
                  </a:lnTo>
                  <a:lnTo>
                    <a:pt x="42586" y="79622"/>
                  </a:lnTo>
                  <a:lnTo>
                    <a:pt x="44290" y="80250"/>
                  </a:lnTo>
                  <a:lnTo>
                    <a:pt x="46392" y="80241"/>
                  </a:lnTo>
                  <a:lnTo>
                    <a:pt x="52444" y="78264"/>
                  </a:lnTo>
                  <a:lnTo>
                    <a:pt x="53878" y="77374"/>
                  </a:lnTo>
                  <a:lnTo>
                    <a:pt x="54792" y="75788"/>
                  </a:lnTo>
                  <a:lnTo>
                    <a:pt x="57822" y="72573"/>
                  </a:lnTo>
                  <a:lnTo>
                    <a:pt x="58010" y="68415"/>
                  </a:lnTo>
                  <a:lnTo>
                    <a:pt x="58663" y="63424"/>
                  </a:lnTo>
                  <a:lnTo>
                    <a:pt x="57927" y="60164"/>
                  </a:lnTo>
                  <a:lnTo>
                    <a:pt x="54745" y="55520"/>
                  </a:lnTo>
                  <a:lnTo>
                    <a:pt x="53350" y="52216"/>
                  </a:lnTo>
                  <a:lnTo>
                    <a:pt x="50196" y="49138"/>
                  </a:lnTo>
                  <a:lnTo>
                    <a:pt x="48265" y="43873"/>
                  </a:lnTo>
                  <a:lnTo>
                    <a:pt x="47466" y="42234"/>
                  </a:lnTo>
                  <a:lnTo>
                    <a:pt x="46868" y="39961"/>
                  </a:lnTo>
                  <a:lnTo>
                    <a:pt x="46189" y="35938"/>
                  </a:lnTo>
                  <a:lnTo>
                    <a:pt x="48307" y="34479"/>
                  </a:lnTo>
                  <a:lnTo>
                    <a:pt x="48094" y="31182"/>
                  </a:lnTo>
                  <a:lnTo>
                    <a:pt x="53296" y="30275"/>
                  </a:lnTo>
                  <a:lnTo>
                    <a:pt x="64550" y="24913"/>
                  </a:lnTo>
                  <a:lnTo>
                    <a:pt x="71521" y="23554"/>
                  </a:lnTo>
                  <a:lnTo>
                    <a:pt x="79460" y="20687"/>
                  </a:lnTo>
                  <a:lnTo>
                    <a:pt x="81299" y="19273"/>
                  </a:lnTo>
                  <a:lnTo>
                    <a:pt x="82893" y="16918"/>
                  </a:lnTo>
                  <a:lnTo>
                    <a:pt x="84125" y="16647"/>
                  </a:lnTo>
                  <a:lnTo>
                    <a:pt x="88262" y="18856"/>
                  </a:lnTo>
                  <a:lnTo>
                    <a:pt x="90306" y="18089"/>
                  </a:lnTo>
                  <a:lnTo>
                    <a:pt x="91114" y="16365"/>
                  </a:lnTo>
                  <a:lnTo>
                    <a:pt x="89987" y="13005"/>
                  </a:lnTo>
                  <a:lnTo>
                    <a:pt x="87614" y="13004"/>
                  </a:lnTo>
                  <a:lnTo>
                    <a:pt x="80472" y="14224"/>
                  </a:lnTo>
                  <a:lnTo>
                    <a:pt x="79774" y="12779"/>
                  </a:lnTo>
                  <a:lnTo>
                    <a:pt x="79776" y="11514"/>
                  </a:lnTo>
                  <a:lnTo>
                    <a:pt x="78091" y="7506"/>
                  </a:lnTo>
                  <a:lnTo>
                    <a:pt x="79140" y="4485"/>
                  </a:lnTo>
                  <a:lnTo>
                    <a:pt x="80213" y="2045"/>
                  </a:lnTo>
                  <a:lnTo>
                    <a:pt x="82261" y="1061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55" name="ee4p_US_1_37365">
              <a:extLst>
                <a:ext uri="{FF2B5EF4-FFF2-40B4-BE49-F238E27FC236}">
                  <a16:creationId xmlns:a16="http://schemas.microsoft.com/office/drawing/2014/main" id="{0AED21F4-2A43-E65C-93A5-2A44B042AC78}"/>
                </a:ext>
              </a:extLst>
            </p:cNvPr>
            <p:cNvSpPr>
              <a:spLocks noChangeAspect="1"/>
            </p:cNvSpPr>
            <p:nvPr>
              <p:custDataLst>
                <p:tags r:id="rId409"/>
              </p:custDataLst>
            </p:nvPr>
          </p:nvSpPr>
          <p:spPr>
            <a:xfrm>
              <a:off x="1307805" y="2181862"/>
              <a:ext cx="1596489" cy="883794"/>
            </a:xfrm>
            <a:custGeom>
              <a:avLst/>
              <a:gdLst>
                <a:gd name="connsiteX0" fmla="*/ 158093 w 1466597"/>
                <a:gd name="connsiteY0" fmla="*/ 780743 h 790366"/>
                <a:gd name="connsiteX1" fmla="*/ 163600 w 1466597"/>
                <a:gd name="connsiteY1" fmla="*/ 782114 h 790366"/>
                <a:gd name="connsiteX2" fmla="*/ 168095 w 1466597"/>
                <a:gd name="connsiteY2" fmla="*/ 785097 h 790366"/>
                <a:gd name="connsiteX3" fmla="*/ 170583 w 1466597"/>
                <a:gd name="connsiteY3" fmla="*/ 787056 h 790366"/>
                <a:gd name="connsiteX4" fmla="*/ 173455 w 1466597"/>
                <a:gd name="connsiteY4" fmla="*/ 788718 h 790366"/>
                <a:gd name="connsiteX5" fmla="*/ 176546 w 1466597"/>
                <a:gd name="connsiteY5" fmla="*/ 789394 h 790366"/>
                <a:gd name="connsiteX6" fmla="*/ 177466 w 1466597"/>
                <a:gd name="connsiteY6" fmla="*/ 790352 h 790366"/>
                <a:gd name="connsiteX7" fmla="*/ 173041 w 1466597"/>
                <a:gd name="connsiteY7" fmla="*/ 790366 h 790366"/>
                <a:gd name="connsiteX8" fmla="*/ 164055 w 1466597"/>
                <a:gd name="connsiteY8" fmla="*/ 784847 h 790366"/>
                <a:gd name="connsiteX9" fmla="*/ 159494 w 1466597"/>
                <a:gd name="connsiteY9" fmla="*/ 783094 h 790366"/>
                <a:gd name="connsiteX10" fmla="*/ 156965 w 1466597"/>
                <a:gd name="connsiteY10" fmla="*/ 781152 h 790366"/>
                <a:gd name="connsiteX11" fmla="*/ 283840 w 1466597"/>
                <a:gd name="connsiteY11" fmla="*/ 773766 h 790366"/>
                <a:gd name="connsiteX12" fmla="*/ 286349 w 1466597"/>
                <a:gd name="connsiteY12" fmla="*/ 775750 h 790366"/>
                <a:gd name="connsiteX13" fmla="*/ 286184 w 1466597"/>
                <a:gd name="connsiteY13" fmla="*/ 776119 h 790366"/>
                <a:gd name="connsiteX14" fmla="*/ 284578 w 1466597"/>
                <a:gd name="connsiteY14" fmla="*/ 778115 h 790366"/>
                <a:gd name="connsiteX15" fmla="*/ 283393 w 1466597"/>
                <a:gd name="connsiteY15" fmla="*/ 777211 h 790366"/>
                <a:gd name="connsiteX16" fmla="*/ 282943 w 1466597"/>
                <a:gd name="connsiteY16" fmla="*/ 774465 h 790366"/>
                <a:gd name="connsiteX17" fmla="*/ 288558 w 1466597"/>
                <a:gd name="connsiteY17" fmla="*/ 772908 h 790366"/>
                <a:gd name="connsiteX18" fmla="*/ 291671 w 1466597"/>
                <a:gd name="connsiteY18" fmla="*/ 774371 h 790366"/>
                <a:gd name="connsiteX19" fmla="*/ 293268 w 1466597"/>
                <a:gd name="connsiteY19" fmla="*/ 775426 h 790366"/>
                <a:gd name="connsiteX20" fmla="*/ 291115 w 1466597"/>
                <a:gd name="connsiteY20" fmla="*/ 776170 h 790366"/>
                <a:gd name="connsiteX21" fmla="*/ 288282 w 1466597"/>
                <a:gd name="connsiteY21" fmla="*/ 774661 h 790366"/>
                <a:gd name="connsiteX22" fmla="*/ 243655 w 1466597"/>
                <a:gd name="connsiteY22" fmla="*/ 771812 h 790366"/>
                <a:gd name="connsiteX23" fmla="*/ 245898 w 1466597"/>
                <a:gd name="connsiteY23" fmla="*/ 773789 h 790366"/>
                <a:gd name="connsiteX24" fmla="*/ 247588 w 1466597"/>
                <a:gd name="connsiteY24" fmla="*/ 774483 h 790366"/>
                <a:gd name="connsiteX25" fmla="*/ 251546 w 1466597"/>
                <a:gd name="connsiteY25" fmla="*/ 774951 h 790366"/>
                <a:gd name="connsiteX26" fmla="*/ 249494 w 1466597"/>
                <a:gd name="connsiteY26" fmla="*/ 775789 h 790366"/>
                <a:gd name="connsiteX27" fmla="*/ 248328 w 1466597"/>
                <a:gd name="connsiteY27" fmla="*/ 776599 h 790366"/>
                <a:gd name="connsiteX28" fmla="*/ 246892 w 1466597"/>
                <a:gd name="connsiteY28" fmla="*/ 779727 h 790366"/>
                <a:gd name="connsiteX29" fmla="*/ 245563 w 1466597"/>
                <a:gd name="connsiteY29" fmla="*/ 780955 h 790366"/>
                <a:gd name="connsiteX30" fmla="*/ 244995 w 1466597"/>
                <a:gd name="connsiteY30" fmla="*/ 782087 h 790366"/>
                <a:gd name="connsiteX31" fmla="*/ 244381 w 1466597"/>
                <a:gd name="connsiteY31" fmla="*/ 782053 h 790366"/>
                <a:gd name="connsiteX32" fmla="*/ 240974 w 1466597"/>
                <a:gd name="connsiteY32" fmla="*/ 780177 h 790366"/>
                <a:gd name="connsiteX33" fmla="*/ 240476 w 1466597"/>
                <a:gd name="connsiteY33" fmla="*/ 779543 h 790366"/>
                <a:gd name="connsiteX34" fmla="*/ 242475 w 1466597"/>
                <a:gd name="connsiteY34" fmla="*/ 778652 h 790366"/>
                <a:gd name="connsiteX35" fmla="*/ 243057 w 1466597"/>
                <a:gd name="connsiteY35" fmla="*/ 777962 h 790366"/>
                <a:gd name="connsiteX36" fmla="*/ 242824 w 1466597"/>
                <a:gd name="connsiteY36" fmla="*/ 777061 h 790366"/>
                <a:gd name="connsiteX37" fmla="*/ 241326 w 1466597"/>
                <a:gd name="connsiteY37" fmla="*/ 775809 h 790366"/>
                <a:gd name="connsiteX38" fmla="*/ 238562 w 1466597"/>
                <a:gd name="connsiteY38" fmla="*/ 774203 h 790366"/>
                <a:gd name="connsiteX39" fmla="*/ 237514 w 1466597"/>
                <a:gd name="connsiteY39" fmla="*/ 773046 h 790366"/>
                <a:gd name="connsiteX40" fmla="*/ 238184 w 1466597"/>
                <a:gd name="connsiteY40" fmla="*/ 772338 h 790366"/>
                <a:gd name="connsiteX41" fmla="*/ 239502 w 1466597"/>
                <a:gd name="connsiteY41" fmla="*/ 771899 h 790366"/>
                <a:gd name="connsiteX42" fmla="*/ 264633 w 1466597"/>
                <a:gd name="connsiteY42" fmla="*/ 771426 h 790366"/>
                <a:gd name="connsiteX43" fmla="*/ 265179 w 1466597"/>
                <a:gd name="connsiteY43" fmla="*/ 771460 h 790366"/>
                <a:gd name="connsiteX44" fmla="*/ 266379 w 1466597"/>
                <a:gd name="connsiteY44" fmla="*/ 772376 h 790366"/>
                <a:gd name="connsiteX45" fmla="*/ 265958 w 1466597"/>
                <a:gd name="connsiteY45" fmla="*/ 773580 h 790366"/>
                <a:gd name="connsiteX46" fmla="*/ 264889 w 1466597"/>
                <a:gd name="connsiteY46" fmla="*/ 774628 h 790366"/>
                <a:gd name="connsiteX47" fmla="*/ 264540 w 1466597"/>
                <a:gd name="connsiteY47" fmla="*/ 775610 h 790366"/>
                <a:gd name="connsiteX48" fmla="*/ 264205 w 1466597"/>
                <a:gd name="connsiteY48" fmla="*/ 778677 h 790366"/>
                <a:gd name="connsiteX49" fmla="*/ 263471 w 1466597"/>
                <a:gd name="connsiteY49" fmla="*/ 779120 h 790366"/>
                <a:gd name="connsiteX50" fmla="*/ 262122 w 1466597"/>
                <a:gd name="connsiteY50" fmla="*/ 779465 h 790366"/>
                <a:gd name="connsiteX51" fmla="*/ 258232 w 1466597"/>
                <a:gd name="connsiteY51" fmla="*/ 779083 h 790366"/>
                <a:gd name="connsiteX52" fmla="*/ 255878 w 1466597"/>
                <a:gd name="connsiteY52" fmla="*/ 779203 h 790366"/>
                <a:gd name="connsiteX53" fmla="*/ 253252 w 1466597"/>
                <a:gd name="connsiteY53" fmla="*/ 779443 h 790366"/>
                <a:gd name="connsiteX54" fmla="*/ 251281 w 1466597"/>
                <a:gd name="connsiteY54" fmla="*/ 780043 h 790366"/>
                <a:gd name="connsiteX55" fmla="*/ 250890 w 1466597"/>
                <a:gd name="connsiteY55" fmla="*/ 779210 h 790366"/>
                <a:gd name="connsiteX56" fmla="*/ 250955 w 1466597"/>
                <a:gd name="connsiteY56" fmla="*/ 778526 h 790366"/>
                <a:gd name="connsiteX57" fmla="*/ 259448 w 1466597"/>
                <a:gd name="connsiteY57" fmla="*/ 776655 h 790366"/>
                <a:gd name="connsiteX58" fmla="*/ 261424 w 1466597"/>
                <a:gd name="connsiteY58" fmla="*/ 775678 h 790366"/>
                <a:gd name="connsiteX59" fmla="*/ 262636 w 1466597"/>
                <a:gd name="connsiteY59" fmla="*/ 774441 h 790366"/>
                <a:gd name="connsiteX60" fmla="*/ 263741 w 1466597"/>
                <a:gd name="connsiteY60" fmla="*/ 772120 h 790366"/>
                <a:gd name="connsiteX61" fmla="*/ 275682 w 1466597"/>
                <a:gd name="connsiteY61" fmla="*/ 769508 h 790366"/>
                <a:gd name="connsiteX62" fmla="*/ 278271 w 1466597"/>
                <a:gd name="connsiteY62" fmla="*/ 769652 h 790366"/>
                <a:gd name="connsiteX63" fmla="*/ 279469 w 1466597"/>
                <a:gd name="connsiteY63" fmla="*/ 770940 h 790366"/>
                <a:gd name="connsiteX64" fmla="*/ 279425 w 1466597"/>
                <a:gd name="connsiteY64" fmla="*/ 771774 h 790366"/>
                <a:gd name="connsiteX65" fmla="*/ 278361 w 1466597"/>
                <a:gd name="connsiteY65" fmla="*/ 773574 h 790366"/>
                <a:gd name="connsiteX66" fmla="*/ 278498 w 1466597"/>
                <a:gd name="connsiteY66" fmla="*/ 774715 h 790366"/>
                <a:gd name="connsiteX67" fmla="*/ 281421 w 1466597"/>
                <a:gd name="connsiteY67" fmla="*/ 774572 h 790366"/>
                <a:gd name="connsiteX68" fmla="*/ 282336 w 1466597"/>
                <a:gd name="connsiteY68" fmla="*/ 775161 h 790366"/>
                <a:gd name="connsiteX69" fmla="*/ 282340 w 1466597"/>
                <a:gd name="connsiteY69" fmla="*/ 777401 h 790366"/>
                <a:gd name="connsiteX70" fmla="*/ 281957 w 1466597"/>
                <a:gd name="connsiteY70" fmla="*/ 778032 h 790366"/>
                <a:gd name="connsiteX71" fmla="*/ 281513 w 1466597"/>
                <a:gd name="connsiteY71" fmla="*/ 778187 h 790366"/>
                <a:gd name="connsiteX72" fmla="*/ 280462 w 1466597"/>
                <a:gd name="connsiteY72" fmla="*/ 777695 h 790366"/>
                <a:gd name="connsiteX73" fmla="*/ 279275 w 1466597"/>
                <a:gd name="connsiteY73" fmla="*/ 778836 h 790366"/>
                <a:gd name="connsiteX74" fmla="*/ 273829 w 1466597"/>
                <a:gd name="connsiteY74" fmla="*/ 781627 h 790366"/>
                <a:gd name="connsiteX75" fmla="*/ 272142 w 1466597"/>
                <a:gd name="connsiteY75" fmla="*/ 780067 h 790366"/>
                <a:gd name="connsiteX76" fmla="*/ 268966 w 1466597"/>
                <a:gd name="connsiteY76" fmla="*/ 782519 h 790366"/>
                <a:gd name="connsiteX77" fmla="*/ 271190 w 1466597"/>
                <a:gd name="connsiteY77" fmla="*/ 776169 h 790366"/>
                <a:gd name="connsiteX78" fmla="*/ 273762 w 1466597"/>
                <a:gd name="connsiteY78" fmla="*/ 775207 h 790366"/>
                <a:gd name="connsiteX79" fmla="*/ 274711 w 1466597"/>
                <a:gd name="connsiteY79" fmla="*/ 774486 h 790366"/>
                <a:gd name="connsiteX80" fmla="*/ 274488 w 1466597"/>
                <a:gd name="connsiteY80" fmla="*/ 772622 h 790366"/>
                <a:gd name="connsiteX81" fmla="*/ 153430 w 1466597"/>
                <a:gd name="connsiteY81" fmla="*/ 769213 h 790366"/>
                <a:gd name="connsiteX82" fmla="*/ 154993 w 1466597"/>
                <a:gd name="connsiteY82" fmla="*/ 769798 h 790366"/>
                <a:gd name="connsiteX83" fmla="*/ 155929 w 1466597"/>
                <a:gd name="connsiteY83" fmla="*/ 770633 h 790366"/>
                <a:gd name="connsiteX84" fmla="*/ 155117 w 1466597"/>
                <a:gd name="connsiteY84" fmla="*/ 771887 h 790366"/>
                <a:gd name="connsiteX85" fmla="*/ 153492 w 1466597"/>
                <a:gd name="connsiteY85" fmla="*/ 772471 h 790366"/>
                <a:gd name="connsiteX86" fmla="*/ 152624 w 1466597"/>
                <a:gd name="connsiteY86" fmla="*/ 770992 h 790366"/>
                <a:gd name="connsiteX87" fmla="*/ 152554 w 1466597"/>
                <a:gd name="connsiteY87" fmla="*/ 770133 h 790366"/>
                <a:gd name="connsiteX88" fmla="*/ 181946 w 1466597"/>
                <a:gd name="connsiteY88" fmla="*/ 767994 h 790366"/>
                <a:gd name="connsiteX89" fmla="*/ 185844 w 1466597"/>
                <a:gd name="connsiteY89" fmla="*/ 770163 h 790366"/>
                <a:gd name="connsiteX90" fmla="*/ 184511 w 1466597"/>
                <a:gd name="connsiteY90" fmla="*/ 772257 h 790366"/>
                <a:gd name="connsiteX91" fmla="*/ 182407 w 1466597"/>
                <a:gd name="connsiteY91" fmla="*/ 773115 h 790366"/>
                <a:gd name="connsiteX92" fmla="*/ 179967 w 1466597"/>
                <a:gd name="connsiteY92" fmla="*/ 772644 h 790366"/>
                <a:gd name="connsiteX93" fmla="*/ 178642 w 1466597"/>
                <a:gd name="connsiteY93" fmla="*/ 771323 h 790366"/>
                <a:gd name="connsiteX94" fmla="*/ 178801 w 1466597"/>
                <a:gd name="connsiteY94" fmla="*/ 769727 h 790366"/>
                <a:gd name="connsiteX95" fmla="*/ 291522 w 1466597"/>
                <a:gd name="connsiteY95" fmla="*/ 765620 h 790366"/>
                <a:gd name="connsiteX96" fmla="*/ 292701 w 1466597"/>
                <a:gd name="connsiteY96" fmla="*/ 766221 h 790366"/>
                <a:gd name="connsiteX97" fmla="*/ 293800 w 1466597"/>
                <a:gd name="connsiteY97" fmla="*/ 767344 h 790366"/>
                <a:gd name="connsiteX98" fmla="*/ 294127 w 1466597"/>
                <a:gd name="connsiteY98" fmla="*/ 768044 h 790366"/>
                <a:gd name="connsiteX99" fmla="*/ 292947 w 1466597"/>
                <a:gd name="connsiteY99" fmla="*/ 768949 h 790366"/>
                <a:gd name="connsiteX100" fmla="*/ 292347 w 1466597"/>
                <a:gd name="connsiteY100" fmla="*/ 769953 h 790366"/>
                <a:gd name="connsiteX101" fmla="*/ 289852 w 1466597"/>
                <a:gd name="connsiteY101" fmla="*/ 768885 h 790366"/>
                <a:gd name="connsiteX102" fmla="*/ 288968 w 1466597"/>
                <a:gd name="connsiteY102" fmla="*/ 768013 h 790366"/>
                <a:gd name="connsiteX103" fmla="*/ 288789 w 1466597"/>
                <a:gd name="connsiteY103" fmla="*/ 767120 h 790366"/>
                <a:gd name="connsiteX104" fmla="*/ 289525 w 1466597"/>
                <a:gd name="connsiteY104" fmla="*/ 765638 h 790366"/>
                <a:gd name="connsiteX105" fmla="*/ 131164 w 1466597"/>
                <a:gd name="connsiteY105" fmla="*/ 765147 h 790366"/>
                <a:gd name="connsiteX106" fmla="*/ 132010 w 1466597"/>
                <a:gd name="connsiteY106" fmla="*/ 765515 h 790366"/>
                <a:gd name="connsiteX107" fmla="*/ 131587 w 1466597"/>
                <a:gd name="connsiteY107" fmla="*/ 766993 h 790366"/>
                <a:gd name="connsiteX108" fmla="*/ 130131 w 1466597"/>
                <a:gd name="connsiteY108" fmla="*/ 769242 h 790366"/>
                <a:gd name="connsiteX109" fmla="*/ 130085 w 1466597"/>
                <a:gd name="connsiteY109" fmla="*/ 770820 h 790366"/>
                <a:gd name="connsiteX110" fmla="*/ 125525 w 1466597"/>
                <a:gd name="connsiteY110" fmla="*/ 773026 h 790366"/>
                <a:gd name="connsiteX111" fmla="*/ 123308 w 1466597"/>
                <a:gd name="connsiteY111" fmla="*/ 774449 h 790366"/>
                <a:gd name="connsiteX112" fmla="*/ 121575 w 1466597"/>
                <a:gd name="connsiteY112" fmla="*/ 772997 h 790366"/>
                <a:gd name="connsiteX113" fmla="*/ 121312 w 1466597"/>
                <a:gd name="connsiteY113" fmla="*/ 772341 h 790366"/>
                <a:gd name="connsiteX114" fmla="*/ 124638 w 1466597"/>
                <a:gd name="connsiteY114" fmla="*/ 769858 h 790366"/>
                <a:gd name="connsiteX115" fmla="*/ 127132 w 1466597"/>
                <a:gd name="connsiteY115" fmla="*/ 769318 h 790366"/>
                <a:gd name="connsiteX116" fmla="*/ 128205 w 1466597"/>
                <a:gd name="connsiteY116" fmla="*/ 768410 h 790366"/>
                <a:gd name="connsiteX117" fmla="*/ 129309 w 1466597"/>
                <a:gd name="connsiteY117" fmla="*/ 765259 h 790366"/>
                <a:gd name="connsiteX118" fmla="*/ 353272 w 1466597"/>
                <a:gd name="connsiteY118" fmla="*/ 764124 h 790366"/>
                <a:gd name="connsiteX119" fmla="*/ 355912 w 1466597"/>
                <a:gd name="connsiteY119" fmla="*/ 764379 h 790366"/>
                <a:gd name="connsiteX120" fmla="*/ 360915 w 1466597"/>
                <a:gd name="connsiteY120" fmla="*/ 765767 h 790366"/>
                <a:gd name="connsiteX121" fmla="*/ 367137 w 1466597"/>
                <a:gd name="connsiteY121" fmla="*/ 765604 h 790366"/>
                <a:gd name="connsiteX122" fmla="*/ 369407 w 1466597"/>
                <a:gd name="connsiteY122" fmla="*/ 765943 h 790366"/>
                <a:gd name="connsiteX123" fmla="*/ 369444 w 1466597"/>
                <a:gd name="connsiteY123" fmla="*/ 766330 h 790366"/>
                <a:gd name="connsiteX124" fmla="*/ 365465 w 1466597"/>
                <a:gd name="connsiteY124" fmla="*/ 766899 h 790366"/>
                <a:gd name="connsiteX125" fmla="*/ 364104 w 1466597"/>
                <a:gd name="connsiteY125" fmla="*/ 766712 h 790366"/>
                <a:gd name="connsiteX126" fmla="*/ 360630 w 1466597"/>
                <a:gd name="connsiteY126" fmla="*/ 767476 h 790366"/>
                <a:gd name="connsiteX127" fmla="*/ 358267 w 1466597"/>
                <a:gd name="connsiteY127" fmla="*/ 767615 h 790366"/>
                <a:gd name="connsiteX128" fmla="*/ 352870 w 1466597"/>
                <a:gd name="connsiteY128" fmla="*/ 766894 h 790366"/>
                <a:gd name="connsiteX129" fmla="*/ 348706 w 1466597"/>
                <a:gd name="connsiteY129" fmla="*/ 767387 h 790366"/>
                <a:gd name="connsiteX130" fmla="*/ 347604 w 1466597"/>
                <a:gd name="connsiteY130" fmla="*/ 767201 h 790366"/>
                <a:gd name="connsiteX131" fmla="*/ 346298 w 1466597"/>
                <a:gd name="connsiteY131" fmla="*/ 766569 h 790366"/>
                <a:gd name="connsiteX132" fmla="*/ 344782 w 1466597"/>
                <a:gd name="connsiteY132" fmla="*/ 765495 h 790366"/>
                <a:gd name="connsiteX133" fmla="*/ 344709 w 1466597"/>
                <a:gd name="connsiteY133" fmla="*/ 764822 h 790366"/>
                <a:gd name="connsiteX134" fmla="*/ 346075 w 1466597"/>
                <a:gd name="connsiteY134" fmla="*/ 764549 h 790366"/>
                <a:gd name="connsiteX135" fmla="*/ 349770 w 1466597"/>
                <a:gd name="connsiteY135" fmla="*/ 765472 h 790366"/>
                <a:gd name="connsiteX136" fmla="*/ 350156 w 1466597"/>
                <a:gd name="connsiteY136" fmla="*/ 764991 h 790366"/>
                <a:gd name="connsiteX137" fmla="*/ 383537 w 1466597"/>
                <a:gd name="connsiteY137" fmla="*/ 755762 h 790366"/>
                <a:gd name="connsiteX138" fmla="*/ 385764 w 1466597"/>
                <a:gd name="connsiteY138" fmla="*/ 756279 h 790366"/>
                <a:gd name="connsiteX139" fmla="*/ 387537 w 1466597"/>
                <a:gd name="connsiteY139" fmla="*/ 757765 h 790366"/>
                <a:gd name="connsiteX140" fmla="*/ 383680 w 1466597"/>
                <a:gd name="connsiteY140" fmla="*/ 759727 h 790366"/>
                <a:gd name="connsiteX141" fmla="*/ 381784 w 1466597"/>
                <a:gd name="connsiteY141" fmla="*/ 760234 h 790366"/>
                <a:gd name="connsiteX142" fmla="*/ 379725 w 1466597"/>
                <a:gd name="connsiteY142" fmla="*/ 759708 h 790366"/>
                <a:gd name="connsiteX143" fmla="*/ 380686 w 1466597"/>
                <a:gd name="connsiteY143" fmla="*/ 757900 h 790366"/>
                <a:gd name="connsiteX144" fmla="*/ 381669 w 1466597"/>
                <a:gd name="connsiteY144" fmla="*/ 756935 h 790366"/>
                <a:gd name="connsiteX145" fmla="*/ 340208 w 1466597"/>
                <a:gd name="connsiteY145" fmla="*/ 754661 h 790366"/>
                <a:gd name="connsiteX146" fmla="*/ 343353 w 1466597"/>
                <a:gd name="connsiteY146" fmla="*/ 756476 h 790366"/>
                <a:gd name="connsiteX147" fmla="*/ 344049 w 1466597"/>
                <a:gd name="connsiteY147" fmla="*/ 757690 h 790366"/>
                <a:gd name="connsiteX148" fmla="*/ 343750 w 1466597"/>
                <a:gd name="connsiteY148" fmla="*/ 759127 h 790366"/>
                <a:gd name="connsiteX149" fmla="*/ 343116 w 1466597"/>
                <a:gd name="connsiteY149" fmla="*/ 760628 h 790366"/>
                <a:gd name="connsiteX150" fmla="*/ 340353 w 1466597"/>
                <a:gd name="connsiteY150" fmla="*/ 761400 h 790366"/>
                <a:gd name="connsiteX151" fmla="*/ 339940 w 1466597"/>
                <a:gd name="connsiteY151" fmla="*/ 762188 h 790366"/>
                <a:gd name="connsiteX152" fmla="*/ 341439 w 1466597"/>
                <a:gd name="connsiteY152" fmla="*/ 764415 h 790366"/>
                <a:gd name="connsiteX153" fmla="*/ 335753 w 1466597"/>
                <a:gd name="connsiteY153" fmla="*/ 766377 h 790366"/>
                <a:gd name="connsiteX154" fmla="*/ 327236 w 1466597"/>
                <a:gd name="connsiteY154" fmla="*/ 767836 h 790366"/>
                <a:gd name="connsiteX155" fmla="*/ 313550 w 1466597"/>
                <a:gd name="connsiteY155" fmla="*/ 769239 h 790366"/>
                <a:gd name="connsiteX156" fmla="*/ 311467 w 1466597"/>
                <a:gd name="connsiteY156" fmla="*/ 768275 h 790366"/>
                <a:gd name="connsiteX157" fmla="*/ 313543 w 1466597"/>
                <a:gd name="connsiteY157" fmla="*/ 767726 h 790366"/>
                <a:gd name="connsiteX158" fmla="*/ 316005 w 1466597"/>
                <a:gd name="connsiteY158" fmla="*/ 767423 h 790366"/>
                <a:gd name="connsiteX159" fmla="*/ 321152 w 1466597"/>
                <a:gd name="connsiteY159" fmla="*/ 765816 h 790366"/>
                <a:gd name="connsiteX160" fmla="*/ 327482 w 1466597"/>
                <a:gd name="connsiteY160" fmla="*/ 764423 h 790366"/>
                <a:gd name="connsiteX161" fmla="*/ 332419 w 1466597"/>
                <a:gd name="connsiteY161" fmla="*/ 762746 h 790366"/>
                <a:gd name="connsiteX162" fmla="*/ 336707 w 1466597"/>
                <a:gd name="connsiteY162" fmla="*/ 761647 h 790366"/>
                <a:gd name="connsiteX163" fmla="*/ 337913 w 1466597"/>
                <a:gd name="connsiteY163" fmla="*/ 759838 h 790366"/>
                <a:gd name="connsiteX164" fmla="*/ 334146 w 1466597"/>
                <a:gd name="connsiteY164" fmla="*/ 758915 h 790366"/>
                <a:gd name="connsiteX165" fmla="*/ 333406 w 1466597"/>
                <a:gd name="connsiteY165" fmla="*/ 758188 h 790366"/>
                <a:gd name="connsiteX166" fmla="*/ 335195 w 1466597"/>
                <a:gd name="connsiteY166" fmla="*/ 757342 h 790366"/>
                <a:gd name="connsiteX167" fmla="*/ 336689 w 1466597"/>
                <a:gd name="connsiteY167" fmla="*/ 756108 h 790366"/>
                <a:gd name="connsiteX168" fmla="*/ 29663 w 1466597"/>
                <a:gd name="connsiteY168" fmla="*/ 751781 h 790366"/>
                <a:gd name="connsiteX169" fmla="*/ 32685 w 1466597"/>
                <a:gd name="connsiteY169" fmla="*/ 752089 h 790366"/>
                <a:gd name="connsiteX170" fmla="*/ 31885 w 1466597"/>
                <a:gd name="connsiteY170" fmla="*/ 753752 h 790366"/>
                <a:gd name="connsiteX171" fmla="*/ 31325 w 1466597"/>
                <a:gd name="connsiteY171" fmla="*/ 756738 h 790366"/>
                <a:gd name="connsiteX172" fmla="*/ 29668 w 1466597"/>
                <a:gd name="connsiteY172" fmla="*/ 756839 h 790366"/>
                <a:gd name="connsiteX173" fmla="*/ 28606 w 1466597"/>
                <a:gd name="connsiteY173" fmla="*/ 755652 h 790366"/>
                <a:gd name="connsiteX174" fmla="*/ 23151 w 1466597"/>
                <a:gd name="connsiteY174" fmla="*/ 755188 h 790366"/>
                <a:gd name="connsiteX175" fmla="*/ 23716 w 1466597"/>
                <a:gd name="connsiteY175" fmla="*/ 754062 h 790366"/>
                <a:gd name="connsiteX176" fmla="*/ 26062 w 1466597"/>
                <a:gd name="connsiteY176" fmla="*/ 753589 h 790366"/>
                <a:gd name="connsiteX177" fmla="*/ 429157 w 1466597"/>
                <a:gd name="connsiteY177" fmla="*/ 745131 h 790366"/>
                <a:gd name="connsiteX178" fmla="*/ 431046 w 1466597"/>
                <a:gd name="connsiteY178" fmla="*/ 745562 h 790366"/>
                <a:gd name="connsiteX179" fmla="*/ 431644 w 1466597"/>
                <a:gd name="connsiteY179" fmla="*/ 746162 h 790366"/>
                <a:gd name="connsiteX180" fmla="*/ 431592 w 1466597"/>
                <a:gd name="connsiteY180" fmla="*/ 747028 h 790366"/>
                <a:gd name="connsiteX181" fmla="*/ 430893 w 1466597"/>
                <a:gd name="connsiteY181" fmla="*/ 748155 h 790366"/>
                <a:gd name="connsiteX182" fmla="*/ 429995 w 1466597"/>
                <a:gd name="connsiteY182" fmla="*/ 748723 h 790366"/>
                <a:gd name="connsiteX183" fmla="*/ 428896 w 1466597"/>
                <a:gd name="connsiteY183" fmla="*/ 748728 h 790366"/>
                <a:gd name="connsiteX184" fmla="*/ 427848 w 1466597"/>
                <a:gd name="connsiteY184" fmla="*/ 749122 h 790366"/>
                <a:gd name="connsiteX185" fmla="*/ 426216 w 1466597"/>
                <a:gd name="connsiteY185" fmla="*/ 750213 h 790366"/>
                <a:gd name="connsiteX186" fmla="*/ 425739 w 1466597"/>
                <a:gd name="connsiteY186" fmla="*/ 749807 h 790366"/>
                <a:gd name="connsiteX187" fmla="*/ 425458 w 1466597"/>
                <a:gd name="connsiteY187" fmla="*/ 748461 h 790366"/>
                <a:gd name="connsiteX188" fmla="*/ 426374 w 1466597"/>
                <a:gd name="connsiteY188" fmla="*/ 747412 h 790366"/>
                <a:gd name="connsiteX189" fmla="*/ 452810 w 1466597"/>
                <a:gd name="connsiteY189" fmla="*/ 738721 h 790366"/>
                <a:gd name="connsiteX190" fmla="*/ 453930 w 1466597"/>
                <a:gd name="connsiteY190" fmla="*/ 739303 h 790366"/>
                <a:gd name="connsiteX191" fmla="*/ 454416 w 1466597"/>
                <a:gd name="connsiteY191" fmla="*/ 739971 h 790366"/>
                <a:gd name="connsiteX192" fmla="*/ 454003 w 1466597"/>
                <a:gd name="connsiteY192" fmla="*/ 741358 h 790366"/>
                <a:gd name="connsiteX193" fmla="*/ 453630 w 1466597"/>
                <a:gd name="connsiteY193" fmla="*/ 741868 h 790366"/>
                <a:gd name="connsiteX194" fmla="*/ 449685 w 1466597"/>
                <a:gd name="connsiteY194" fmla="*/ 741129 h 790366"/>
                <a:gd name="connsiteX195" fmla="*/ 447053 w 1466597"/>
                <a:gd name="connsiteY195" fmla="*/ 741397 h 790366"/>
                <a:gd name="connsiteX196" fmla="*/ 446765 w 1466597"/>
                <a:gd name="connsiteY196" fmla="*/ 740576 h 790366"/>
                <a:gd name="connsiteX197" fmla="*/ 447001 w 1466597"/>
                <a:gd name="connsiteY197" fmla="*/ 739845 h 790366"/>
                <a:gd name="connsiteX198" fmla="*/ 451132 w 1466597"/>
                <a:gd name="connsiteY198" fmla="*/ 738729 h 790366"/>
                <a:gd name="connsiteX199" fmla="*/ 8086 w 1466597"/>
                <a:gd name="connsiteY199" fmla="*/ 734255 h 790366"/>
                <a:gd name="connsiteX200" fmla="*/ 12478 w 1466597"/>
                <a:gd name="connsiteY200" fmla="*/ 735386 h 790366"/>
                <a:gd name="connsiteX201" fmla="*/ 15492 w 1466597"/>
                <a:gd name="connsiteY201" fmla="*/ 734855 h 790366"/>
                <a:gd name="connsiteX202" fmla="*/ 19306 w 1466597"/>
                <a:gd name="connsiteY202" fmla="*/ 736683 h 790366"/>
                <a:gd name="connsiteX203" fmla="*/ 24011 w 1466597"/>
                <a:gd name="connsiteY203" fmla="*/ 739810 h 790366"/>
                <a:gd name="connsiteX204" fmla="*/ 22956 w 1466597"/>
                <a:gd name="connsiteY204" fmla="*/ 740406 h 790366"/>
                <a:gd name="connsiteX205" fmla="*/ 21771 w 1466597"/>
                <a:gd name="connsiteY205" fmla="*/ 740748 h 790366"/>
                <a:gd name="connsiteX206" fmla="*/ 20605 w 1466597"/>
                <a:gd name="connsiteY206" fmla="*/ 740711 h 790366"/>
                <a:gd name="connsiteX207" fmla="*/ 16935 w 1466597"/>
                <a:gd name="connsiteY207" fmla="*/ 741232 h 790366"/>
                <a:gd name="connsiteX208" fmla="*/ 14934 w 1466597"/>
                <a:gd name="connsiteY208" fmla="*/ 741106 h 790366"/>
                <a:gd name="connsiteX209" fmla="*/ 11232 w 1466597"/>
                <a:gd name="connsiteY209" fmla="*/ 743255 h 790366"/>
                <a:gd name="connsiteX210" fmla="*/ 7162 w 1466597"/>
                <a:gd name="connsiteY210" fmla="*/ 741710 h 790366"/>
                <a:gd name="connsiteX211" fmla="*/ 5789 w 1466597"/>
                <a:gd name="connsiteY211" fmla="*/ 738655 h 790366"/>
                <a:gd name="connsiteX212" fmla="*/ 2559 w 1466597"/>
                <a:gd name="connsiteY212" fmla="*/ 737901 h 790366"/>
                <a:gd name="connsiteX213" fmla="*/ 0 w 1466597"/>
                <a:gd name="connsiteY213" fmla="*/ 736848 h 790366"/>
                <a:gd name="connsiteX214" fmla="*/ 4671 w 1466597"/>
                <a:gd name="connsiteY214" fmla="*/ 734443 h 790366"/>
                <a:gd name="connsiteX215" fmla="*/ 497942 w 1466597"/>
                <a:gd name="connsiteY215" fmla="*/ 715352 h 790366"/>
                <a:gd name="connsiteX216" fmla="*/ 501963 w 1466597"/>
                <a:gd name="connsiteY216" fmla="*/ 717099 h 790366"/>
                <a:gd name="connsiteX217" fmla="*/ 502560 w 1466597"/>
                <a:gd name="connsiteY217" fmla="*/ 717899 h 790366"/>
                <a:gd name="connsiteX218" fmla="*/ 501579 w 1466597"/>
                <a:gd name="connsiteY218" fmla="*/ 719649 h 790366"/>
                <a:gd name="connsiteX219" fmla="*/ 501017 w 1466597"/>
                <a:gd name="connsiteY219" fmla="*/ 721291 h 790366"/>
                <a:gd name="connsiteX220" fmla="*/ 498487 w 1466597"/>
                <a:gd name="connsiteY220" fmla="*/ 722755 h 790366"/>
                <a:gd name="connsiteX221" fmla="*/ 490671 w 1466597"/>
                <a:gd name="connsiteY221" fmla="*/ 726468 h 790366"/>
                <a:gd name="connsiteX222" fmla="*/ 488135 w 1466597"/>
                <a:gd name="connsiteY222" fmla="*/ 729178 h 790366"/>
                <a:gd name="connsiteX223" fmla="*/ 486199 w 1466597"/>
                <a:gd name="connsiteY223" fmla="*/ 731786 h 790366"/>
                <a:gd name="connsiteX224" fmla="*/ 484678 w 1466597"/>
                <a:gd name="connsiteY224" fmla="*/ 733212 h 790366"/>
                <a:gd name="connsiteX225" fmla="*/ 483571 w 1466597"/>
                <a:gd name="connsiteY225" fmla="*/ 733457 h 790366"/>
                <a:gd name="connsiteX226" fmla="*/ 482337 w 1466597"/>
                <a:gd name="connsiteY226" fmla="*/ 734147 h 790366"/>
                <a:gd name="connsiteX227" fmla="*/ 479756 w 1466597"/>
                <a:gd name="connsiteY227" fmla="*/ 735966 h 790366"/>
                <a:gd name="connsiteX228" fmla="*/ 478674 w 1466597"/>
                <a:gd name="connsiteY228" fmla="*/ 736192 h 790366"/>
                <a:gd name="connsiteX229" fmla="*/ 470386 w 1466597"/>
                <a:gd name="connsiteY229" fmla="*/ 740434 h 790366"/>
                <a:gd name="connsiteX230" fmla="*/ 469798 w 1466597"/>
                <a:gd name="connsiteY230" fmla="*/ 740500 h 790366"/>
                <a:gd name="connsiteX231" fmla="*/ 470202 w 1466597"/>
                <a:gd name="connsiteY231" fmla="*/ 739392 h 790366"/>
                <a:gd name="connsiteX232" fmla="*/ 472733 w 1466597"/>
                <a:gd name="connsiteY232" fmla="*/ 737822 h 790366"/>
                <a:gd name="connsiteX233" fmla="*/ 474383 w 1466597"/>
                <a:gd name="connsiteY233" fmla="*/ 736390 h 790366"/>
                <a:gd name="connsiteX234" fmla="*/ 476248 w 1466597"/>
                <a:gd name="connsiteY234" fmla="*/ 734022 h 790366"/>
                <a:gd name="connsiteX235" fmla="*/ 477274 w 1466597"/>
                <a:gd name="connsiteY235" fmla="*/ 733151 h 790366"/>
                <a:gd name="connsiteX236" fmla="*/ 477603 w 1466597"/>
                <a:gd name="connsiteY236" fmla="*/ 731961 h 790366"/>
                <a:gd name="connsiteX237" fmla="*/ 477735 w 1466597"/>
                <a:gd name="connsiteY237" fmla="*/ 729558 h 790366"/>
                <a:gd name="connsiteX238" fmla="*/ 478199 w 1466597"/>
                <a:gd name="connsiteY238" fmla="*/ 728650 h 790366"/>
                <a:gd name="connsiteX239" fmla="*/ 479979 w 1466597"/>
                <a:gd name="connsiteY239" fmla="*/ 726842 h 790366"/>
                <a:gd name="connsiteX240" fmla="*/ 481276 w 1466597"/>
                <a:gd name="connsiteY240" fmla="*/ 725853 h 790366"/>
                <a:gd name="connsiteX241" fmla="*/ 482982 w 1466597"/>
                <a:gd name="connsiteY241" fmla="*/ 725512 h 790366"/>
                <a:gd name="connsiteX242" fmla="*/ 486438 w 1466597"/>
                <a:gd name="connsiteY242" fmla="*/ 725815 h 790366"/>
                <a:gd name="connsiteX243" fmla="*/ 487873 w 1466597"/>
                <a:gd name="connsiteY243" fmla="*/ 724894 h 790366"/>
                <a:gd name="connsiteX244" fmla="*/ 488317 w 1466597"/>
                <a:gd name="connsiteY244" fmla="*/ 724197 h 790366"/>
                <a:gd name="connsiteX245" fmla="*/ 487443 w 1466597"/>
                <a:gd name="connsiteY245" fmla="*/ 723560 h 790366"/>
                <a:gd name="connsiteX246" fmla="*/ 487237 w 1466597"/>
                <a:gd name="connsiteY246" fmla="*/ 722454 h 790366"/>
                <a:gd name="connsiteX247" fmla="*/ 487464 w 1466597"/>
                <a:gd name="connsiteY247" fmla="*/ 720545 h 790366"/>
                <a:gd name="connsiteX248" fmla="*/ 488464 w 1466597"/>
                <a:gd name="connsiteY248" fmla="*/ 718851 h 790366"/>
                <a:gd name="connsiteX249" fmla="*/ 490238 w 1466597"/>
                <a:gd name="connsiteY249" fmla="*/ 717371 h 790366"/>
                <a:gd name="connsiteX250" fmla="*/ 492652 w 1466597"/>
                <a:gd name="connsiteY250" fmla="*/ 716218 h 790366"/>
                <a:gd name="connsiteX251" fmla="*/ 495707 w 1466597"/>
                <a:gd name="connsiteY251" fmla="*/ 715394 h 790366"/>
                <a:gd name="connsiteX252" fmla="*/ 545696 w 1466597"/>
                <a:gd name="connsiteY252" fmla="*/ 705422 h 790366"/>
                <a:gd name="connsiteX253" fmla="*/ 545978 w 1466597"/>
                <a:gd name="connsiteY253" fmla="*/ 705779 h 790366"/>
                <a:gd name="connsiteX254" fmla="*/ 545061 w 1466597"/>
                <a:gd name="connsiteY254" fmla="*/ 707365 h 790366"/>
                <a:gd name="connsiteX255" fmla="*/ 543911 w 1466597"/>
                <a:gd name="connsiteY255" fmla="*/ 708429 h 790366"/>
                <a:gd name="connsiteX256" fmla="*/ 543246 w 1466597"/>
                <a:gd name="connsiteY256" fmla="*/ 709601 h 790366"/>
                <a:gd name="connsiteX257" fmla="*/ 542886 w 1466597"/>
                <a:gd name="connsiteY257" fmla="*/ 709702 h 790366"/>
                <a:gd name="connsiteX258" fmla="*/ 542235 w 1466597"/>
                <a:gd name="connsiteY258" fmla="*/ 708838 h 790366"/>
                <a:gd name="connsiteX259" fmla="*/ 542200 w 1466597"/>
                <a:gd name="connsiteY259" fmla="*/ 708050 h 790366"/>
                <a:gd name="connsiteX260" fmla="*/ 542618 w 1466597"/>
                <a:gd name="connsiteY260" fmla="*/ 707477 h 790366"/>
                <a:gd name="connsiteX261" fmla="*/ 543807 w 1466597"/>
                <a:gd name="connsiteY261" fmla="*/ 706140 h 790366"/>
                <a:gd name="connsiteX262" fmla="*/ 544654 w 1466597"/>
                <a:gd name="connsiteY262" fmla="*/ 705664 h 790366"/>
                <a:gd name="connsiteX263" fmla="*/ 531420 w 1466597"/>
                <a:gd name="connsiteY263" fmla="*/ 699727 h 790366"/>
                <a:gd name="connsiteX264" fmla="*/ 532591 w 1466597"/>
                <a:gd name="connsiteY264" fmla="*/ 700088 h 790366"/>
                <a:gd name="connsiteX265" fmla="*/ 532900 w 1466597"/>
                <a:gd name="connsiteY265" fmla="*/ 703400 h 790366"/>
                <a:gd name="connsiteX266" fmla="*/ 534001 w 1466597"/>
                <a:gd name="connsiteY266" fmla="*/ 705059 h 790366"/>
                <a:gd name="connsiteX267" fmla="*/ 535905 w 1466597"/>
                <a:gd name="connsiteY267" fmla="*/ 704008 h 790366"/>
                <a:gd name="connsiteX268" fmla="*/ 537301 w 1466597"/>
                <a:gd name="connsiteY268" fmla="*/ 702566 h 790366"/>
                <a:gd name="connsiteX269" fmla="*/ 538390 w 1466597"/>
                <a:gd name="connsiteY269" fmla="*/ 700702 h 790366"/>
                <a:gd name="connsiteX270" fmla="*/ 539099 w 1466597"/>
                <a:gd name="connsiteY270" fmla="*/ 699971 h 790366"/>
                <a:gd name="connsiteX271" fmla="*/ 540034 w 1466597"/>
                <a:gd name="connsiteY271" fmla="*/ 700954 h 790366"/>
                <a:gd name="connsiteX272" fmla="*/ 542707 w 1466597"/>
                <a:gd name="connsiteY272" fmla="*/ 702292 h 790366"/>
                <a:gd name="connsiteX273" fmla="*/ 540459 w 1466597"/>
                <a:gd name="connsiteY273" fmla="*/ 704350 h 790366"/>
                <a:gd name="connsiteX274" fmla="*/ 536128 w 1466597"/>
                <a:gd name="connsiteY274" fmla="*/ 707431 h 790366"/>
                <a:gd name="connsiteX275" fmla="*/ 534678 w 1466597"/>
                <a:gd name="connsiteY275" fmla="*/ 709492 h 790366"/>
                <a:gd name="connsiteX276" fmla="*/ 534585 w 1466597"/>
                <a:gd name="connsiteY276" fmla="*/ 710380 h 790366"/>
                <a:gd name="connsiteX277" fmla="*/ 538783 w 1466597"/>
                <a:gd name="connsiteY277" fmla="*/ 709698 h 790366"/>
                <a:gd name="connsiteX278" fmla="*/ 539955 w 1466597"/>
                <a:gd name="connsiteY278" fmla="*/ 709797 h 790366"/>
                <a:gd name="connsiteX279" fmla="*/ 540701 w 1466597"/>
                <a:gd name="connsiteY279" fmla="*/ 710501 h 790366"/>
                <a:gd name="connsiteX280" fmla="*/ 539551 w 1466597"/>
                <a:gd name="connsiteY280" fmla="*/ 711336 h 790366"/>
                <a:gd name="connsiteX281" fmla="*/ 537266 w 1466597"/>
                <a:gd name="connsiteY281" fmla="*/ 712093 h 790366"/>
                <a:gd name="connsiteX282" fmla="*/ 535280 w 1466597"/>
                <a:gd name="connsiteY282" fmla="*/ 713560 h 790366"/>
                <a:gd name="connsiteX283" fmla="*/ 530683 w 1466597"/>
                <a:gd name="connsiteY283" fmla="*/ 716100 h 790366"/>
                <a:gd name="connsiteX284" fmla="*/ 528942 w 1466597"/>
                <a:gd name="connsiteY284" fmla="*/ 718210 h 790366"/>
                <a:gd name="connsiteX285" fmla="*/ 526887 w 1466597"/>
                <a:gd name="connsiteY285" fmla="*/ 719014 h 790366"/>
                <a:gd name="connsiteX286" fmla="*/ 524088 w 1466597"/>
                <a:gd name="connsiteY286" fmla="*/ 719205 h 790366"/>
                <a:gd name="connsiteX287" fmla="*/ 519167 w 1466597"/>
                <a:gd name="connsiteY287" fmla="*/ 720578 h 790366"/>
                <a:gd name="connsiteX288" fmla="*/ 516179 w 1466597"/>
                <a:gd name="connsiteY288" fmla="*/ 721871 h 790366"/>
                <a:gd name="connsiteX289" fmla="*/ 515422 w 1466597"/>
                <a:gd name="connsiteY289" fmla="*/ 722569 h 790366"/>
                <a:gd name="connsiteX290" fmla="*/ 514482 w 1466597"/>
                <a:gd name="connsiteY290" fmla="*/ 722899 h 790366"/>
                <a:gd name="connsiteX291" fmla="*/ 513360 w 1466597"/>
                <a:gd name="connsiteY291" fmla="*/ 722865 h 790366"/>
                <a:gd name="connsiteX292" fmla="*/ 512148 w 1466597"/>
                <a:gd name="connsiteY292" fmla="*/ 723431 h 790366"/>
                <a:gd name="connsiteX293" fmla="*/ 510845 w 1466597"/>
                <a:gd name="connsiteY293" fmla="*/ 724599 h 790366"/>
                <a:gd name="connsiteX294" fmla="*/ 509759 w 1466597"/>
                <a:gd name="connsiteY294" fmla="*/ 725146 h 790366"/>
                <a:gd name="connsiteX295" fmla="*/ 507979 w 1466597"/>
                <a:gd name="connsiteY295" fmla="*/ 725267 h 790366"/>
                <a:gd name="connsiteX296" fmla="*/ 507050 w 1466597"/>
                <a:gd name="connsiteY296" fmla="*/ 725727 h 790366"/>
                <a:gd name="connsiteX297" fmla="*/ 506009 w 1466597"/>
                <a:gd name="connsiteY297" fmla="*/ 725708 h 790366"/>
                <a:gd name="connsiteX298" fmla="*/ 503166 w 1466597"/>
                <a:gd name="connsiteY298" fmla="*/ 724313 h 790366"/>
                <a:gd name="connsiteX299" fmla="*/ 502455 w 1466597"/>
                <a:gd name="connsiteY299" fmla="*/ 723496 h 790366"/>
                <a:gd name="connsiteX300" fmla="*/ 504971 w 1466597"/>
                <a:gd name="connsiteY300" fmla="*/ 721861 h 790366"/>
                <a:gd name="connsiteX301" fmla="*/ 506793 w 1466597"/>
                <a:gd name="connsiteY301" fmla="*/ 721317 h 790366"/>
                <a:gd name="connsiteX302" fmla="*/ 509562 w 1466597"/>
                <a:gd name="connsiteY302" fmla="*/ 721069 h 790366"/>
                <a:gd name="connsiteX303" fmla="*/ 512282 w 1466597"/>
                <a:gd name="connsiteY303" fmla="*/ 719557 h 790366"/>
                <a:gd name="connsiteX304" fmla="*/ 517881 w 1466597"/>
                <a:gd name="connsiteY304" fmla="*/ 717551 h 790366"/>
                <a:gd name="connsiteX305" fmla="*/ 519615 w 1466597"/>
                <a:gd name="connsiteY305" fmla="*/ 716457 h 790366"/>
                <a:gd name="connsiteX306" fmla="*/ 520731 w 1466597"/>
                <a:gd name="connsiteY306" fmla="*/ 712646 h 790366"/>
                <a:gd name="connsiteX307" fmla="*/ 522004 w 1466597"/>
                <a:gd name="connsiteY307" fmla="*/ 711996 h 790366"/>
                <a:gd name="connsiteX308" fmla="*/ 522686 w 1466597"/>
                <a:gd name="connsiteY308" fmla="*/ 710469 h 790366"/>
                <a:gd name="connsiteX309" fmla="*/ 525787 w 1466597"/>
                <a:gd name="connsiteY309" fmla="*/ 710514 h 790366"/>
                <a:gd name="connsiteX310" fmla="*/ 527210 w 1466597"/>
                <a:gd name="connsiteY310" fmla="*/ 712223 h 790366"/>
                <a:gd name="connsiteX311" fmla="*/ 527709 w 1466597"/>
                <a:gd name="connsiteY311" fmla="*/ 712456 h 790366"/>
                <a:gd name="connsiteX312" fmla="*/ 527959 w 1466597"/>
                <a:gd name="connsiteY312" fmla="*/ 712290 h 790366"/>
                <a:gd name="connsiteX313" fmla="*/ 528095 w 1466597"/>
                <a:gd name="connsiteY313" fmla="*/ 710922 h 790366"/>
                <a:gd name="connsiteX314" fmla="*/ 529687 w 1466597"/>
                <a:gd name="connsiteY314" fmla="*/ 709962 h 790366"/>
                <a:gd name="connsiteX315" fmla="*/ 528768 w 1466597"/>
                <a:gd name="connsiteY315" fmla="*/ 709257 h 790366"/>
                <a:gd name="connsiteX316" fmla="*/ 525903 w 1466597"/>
                <a:gd name="connsiteY316" fmla="*/ 708370 h 790366"/>
                <a:gd name="connsiteX317" fmla="*/ 523776 w 1466597"/>
                <a:gd name="connsiteY317" fmla="*/ 707953 h 790366"/>
                <a:gd name="connsiteX318" fmla="*/ 522391 w 1466597"/>
                <a:gd name="connsiteY318" fmla="*/ 708002 h 790366"/>
                <a:gd name="connsiteX319" fmla="*/ 521263 w 1466597"/>
                <a:gd name="connsiteY319" fmla="*/ 707505 h 790366"/>
                <a:gd name="connsiteX320" fmla="*/ 520392 w 1466597"/>
                <a:gd name="connsiteY320" fmla="*/ 706458 h 790366"/>
                <a:gd name="connsiteX321" fmla="*/ 519997 w 1466597"/>
                <a:gd name="connsiteY321" fmla="*/ 705420 h 790366"/>
                <a:gd name="connsiteX322" fmla="*/ 520072 w 1466597"/>
                <a:gd name="connsiteY322" fmla="*/ 704390 h 790366"/>
                <a:gd name="connsiteX323" fmla="*/ 520778 w 1466597"/>
                <a:gd name="connsiteY323" fmla="*/ 703235 h 790366"/>
                <a:gd name="connsiteX324" fmla="*/ 522114 w 1466597"/>
                <a:gd name="connsiteY324" fmla="*/ 701958 h 790366"/>
                <a:gd name="connsiteX325" fmla="*/ 523646 w 1466597"/>
                <a:gd name="connsiteY325" fmla="*/ 701232 h 790366"/>
                <a:gd name="connsiteX326" fmla="*/ 526947 w 1466597"/>
                <a:gd name="connsiteY326" fmla="*/ 700710 h 790366"/>
                <a:gd name="connsiteX327" fmla="*/ 529870 w 1466597"/>
                <a:gd name="connsiteY327" fmla="*/ 699859 h 790366"/>
                <a:gd name="connsiteX328" fmla="*/ 549454 w 1466597"/>
                <a:gd name="connsiteY328" fmla="*/ 692541 h 790366"/>
                <a:gd name="connsiteX329" fmla="*/ 551330 w 1466597"/>
                <a:gd name="connsiteY329" fmla="*/ 692682 h 790366"/>
                <a:gd name="connsiteX330" fmla="*/ 554605 w 1466597"/>
                <a:gd name="connsiteY330" fmla="*/ 694608 h 790366"/>
                <a:gd name="connsiteX331" fmla="*/ 556141 w 1466597"/>
                <a:gd name="connsiteY331" fmla="*/ 695736 h 790366"/>
                <a:gd name="connsiteX332" fmla="*/ 556432 w 1466597"/>
                <a:gd name="connsiteY332" fmla="*/ 696438 h 790366"/>
                <a:gd name="connsiteX333" fmla="*/ 555284 w 1466597"/>
                <a:gd name="connsiteY333" fmla="*/ 697097 h 790366"/>
                <a:gd name="connsiteX334" fmla="*/ 552638 w 1466597"/>
                <a:gd name="connsiteY334" fmla="*/ 697462 h 790366"/>
                <a:gd name="connsiteX335" fmla="*/ 551672 w 1466597"/>
                <a:gd name="connsiteY335" fmla="*/ 698080 h 790366"/>
                <a:gd name="connsiteX336" fmla="*/ 550897 w 1466597"/>
                <a:gd name="connsiteY336" fmla="*/ 698215 h 790366"/>
                <a:gd name="connsiteX337" fmla="*/ 550308 w 1466597"/>
                <a:gd name="connsiteY337" fmla="*/ 697864 h 790366"/>
                <a:gd name="connsiteX338" fmla="*/ 547667 w 1466597"/>
                <a:gd name="connsiteY338" fmla="*/ 698285 h 790366"/>
                <a:gd name="connsiteX339" fmla="*/ 547151 w 1466597"/>
                <a:gd name="connsiteY339" fmla="*/ 698034 h 790366"/>
                <a:gd name="connsiteX340" fmla="*/ 545974 w 1466597"/>
                <a:gd name="connsiteY340" fmla="*/ 695945 h 790366"/>
                <a:gd name="connsiteX341" fmla="*/ 545898 w 1466597"/>
                <a:gd name="connsiteY341" fmla="*/ 694862 h 790366"/>
                <a:gd name="connsiteX342" fmla="*/ 546357 w 1466597"/>
                <a:gd name="connsiteY342" fmla="*/ 694010 h 790366"/>
                <a:gd name="connsiteX343" fmla="*/ 547543 w 1466597"/>
                <a:gd name="connsiteY343" fmla="*/ 693234 h 790366"/>
                <a:gd name="connsiteX344" fmla="*/ 560061 w 1466597"/>
                <a:gd name="connsiteY344" fmla="*/ 689960 h 790366"/>
                <a:gd name="connsiteX345" fmla="*/ 560490 w 1466597"/>
                <a:gd name="connsiteY345" fmla="*/ 690333 h 790366"/>
                <a:gd name="connsiteX346" fmla="*/ 561667 w 1466597"/>
                <a:gd name="connsiteY346" fmla="*/ 692160 h 790366"/>
                <a:gd name="connsiteX347" fmla="*/ 562839 w 1466597"/>
                <a:gd name="connsiteY347" fmla="*/ 692647 h 790366"/>
                <a:gd name="connsiteX348" fmla="*/ 563703 w 1466597"/>
                <a:gd name="connsiteY348" fmla="*/ 693040 h 790366"/>
                <a:gd name="connsiteX349" fmla="*/ 562180 w 1466597"/>
                <a:gd name="connsiteY349" fmla="*/ 693598 h 790366"/>
                <a:gd name="connsiteX350" fmla="*/ 559793 w 1466597"/>
                <a:gd name="connsiteY350" fmla="*/ 695147 h 790366"/>
                <a:gd name="connsiteX351" fmla="*/ 558679 w 1466597"/>
                <a:gd name="connsiteY351" fmla="*/ 695413 h 790366"/>
                <a:gd name="connsiteX352" fmla="*/ 558409 w 1466597"/>
                <a:gd name="connsiteY352" fmla="*/ 695048 h 790366"/>
                <a:gd name="connsiteX353" fmla="*/ 558278 w 1466597"/>
                <a:gd name="connsiteY353" fmla="*/ 693505 h 790366"/>
                <a:gd name="connsiteX354" fmla="*/ 557420 w 1466597"/>
                <a:gd name="connsiteY354" fmla="*/ 691056 h 790366"/>
                <a:gd name="connsiteX355" fmla="*/ 559048 w 1466597"/>
                <a:gd name="connsiteY355" fmla="*/ 690166 h 790366"/>
                <a:gd name="connsiteX356" fmla="*/ 629705 w 1466597"/>
                <a:gd name="connsiteY356" fmla="*/ 682572 h 790366"/>
                <a:gd name="connsiteX357" fmla="*/ 634173 w 1466597"/>
                <a:gd name="connsiteY357" fmla="*/ 683716 h 790366"/>
                <a:gd name="connsiteX358" fmla="*/ 635129 w 1466597"/>
                <a:gd name="connsiteY358" fmla="*/ 684259 h 790366"/>
                <a:gd name="connsiteX359" fmla="*/ 636495 w 1466597"/>
                <a:gd name="connsiteY359" fmla="*/ 685852 h 790366"/>
                <a:gd name="connsiteX360" fmla="*/ 634283 w 1466597"/>
                <a:gd name="connsiteY360" fmla="*/ 686621 h 790366"/>
                <a:gd name="connsiteX361" fmla="*/ 631936 w 1466597"/>
                <a:gd name="connsiteY361" fmla="*/ 685820 h 790366"/>
                <a:gd name="connsiteX362" fmla="*/ 629930 w 1466597"/>
                <a:gd name="connsiteY362" fmla="*/ 684339 h 790366"/>
                <a:gd name="connsiteX363" fmla="*/ 643887 w 1466597"/>
                <a:gd name="connsiteY363" fmla="*/ 665293 h 790366"/>
                <a:gd name="connsiteX364" fmla="*/ 644557 w 1466597"/>
                <a:gd name="connsiteY364" fmla="*/ 666314 h 790366"/>
                <a:gd name="connsiteX365" fmla="*/ 644675 w 1466597"/>
                <a:gd name="connsiteY365" fmla="*/ 667117 h 790366"/>
                <a:gd name="connsiteX366" fmla="*/ 643684 w 1466597"/>
                <a:gd name="connsiteY366" fmla="*/ 669414 h 790366"/>
                <a:gd name="connsiteX367" fmla="*/ 643033 w 1466597"/>
                <a:gd name="connsiteY367" fmla="*/ 670129 h 790366"/>
                <a:gd name="connsiteX368" fmla="*/ 642424 w 1466597"/>
                <a:gd name="connsiteY368" fmla="*/ 670293 h 790366"/>
                <a:gd name="connsiteX369" fmla="*/ 640668 w 1466597"/>
                <a:gd name="connsiteY369" fmla="*/ 669209 h 790366"/>
                <a:gd name="connsiteX370" fmla="*/ 640031 w 1466597"/>
                <a:gd name="connsiteY370" fmla="*/ 668398 h 790366"/>
                <a:gd name="connsiteX371" fmla="*/ 639569 w 1466597"/>
                <a:gd name="connsiteY371" fmla="*/ 667135 h 790366"/>
                <a:gd name="connsiteX372" fmla="*/ 643146 w 1466597"/>
                <a:gd name="connsiteY372" fmla="*/ 665317 h 790366"/>
                <a:gd name="connsiteX373" fmla="*/ 609630 w 1466597"/>
                <a:gd name="connsiteY373" fmla="*/ 662905 h 790366"/>
                <a:gd name="connsiteX374" fmla="*/ 611020 w 1466597"/>
                <a:gd name="connsiteY374" fmla="*/ 663367 h 790366"/>
                <a:gd name="connsiteX375" fmla="*/ 612093 w 1466597"/>
                <a:gd name="connsiteY375" fmla="*/ 664201 h 790366"/>
                <a:gd name="connsiteX376" fmla="*/ 612983 w 1466597"/>
                <a:gd name="connsiteY376" fmla="*/ 665392 h 790366"/>
                <a:gd name="connsiteX377" fmla="*/ 615458 w 1466597"/>
                <a:gd name="connsiteY377" fmla="*/ 671242 h 790366"/>
                <a:gd name="connsiteX378" fmla="*/ 616532 w 1466597"/>
                <a:gd name="connsiteY378" fmla="*/ 672386 h 790366"/>
                <a:gd name="connsiteX379" fmla="*/ 618124 w 1466597"/>
                <a:gd name="connsiteY379" fmla="*/ 673009 h 790366"/>
                <a:gd name="connsiteX380" fmla="*/ 620354 w 1466597"/>
                <a:gd name="connsiteY380" fmla="*/ 673639 h 790366"/>
                <a:gd name="connsiteX381" fmla="*/ 621682 w 1466597"/>
                <a:gd name="connsiteY381" fmla="*/ 674503 h 790366"/>
                <a:gd name="connsiteX382" fmla="*/ 622849 w 1466597"/>
                <a:gd name="connsiteY382" fmla="*/ 675817 h 790366"/>
                <a:gd name="connsiteX383" fmla="*/ 623003 w 1466597"/>
                <a:gd name="connsiteY383" fmla="*/ 676421 h 790366"/>
                <a:gd name="connsiteX384" fmla="*/ 615991 w 1466597"/>
                <a:gd name="connsiteY384" fmla="*/ 674064 h 790366"/>
                <a:gd name="connsiteX385" fmla="*/ 611585 w 1466597"/>
                <a:gd name="connsiteY385" fmla="*/ 677503 h 790366"/>
                <a:gd name="connsiteX386" fmla="*/ 610254 w 1466597"/>
                <a:gd name="connsiteY386" fmla="*/ 677949 h 790366"/>
                <a:gd name="connsiteX387" fmla="*/ 597747 w 1466597"/>
                <a:gd name="connsiteY387" fmla="*/ 678115 h 790366"/>
                <a:gd name="connsiteX388" fmla="*/ 595247 w 1466597"/>
                <a:gd name="connsiteY388" fmla="*/ 678748 h 790366"/>
                <a:gd name="connsiteX389" fmla="*/ 593631 w 1466597"/>
                <a:gd name="connsiteY389" fmla="*/ 679866 h 790366"/>
                <a:gd name="connsiteX390" fmla="*/ 590773 w 1466597"/>
                <a:gd name="connsiteY390" fmla="*/ 682999 h 790366"/>
                <a:gd name="connsiteX391" fmla="*/ 589322 w 1466597"/>
                <a:gd name="connsiteY391" fmla="*/ 684216 h 790366"/>
                <a:gd name="connsiteX392" fmla="*/ 587794 w 1466597"/>
                <a:gd name="connsiteY392" fmla="*/ 684939 h 790366"/>
                <a:gd name="connsiteX393" fmla="*/ 584544 w 1466597"/>
                <a:gd name="connsiteY393" fmla="*/ 685748 h 790366"/>
                <a:gd name="connsiteX394" fmla="*/ 580643 w 1466597"/>
                <a:gd name="connsiteY394" fmla="*/ 685638 h 790366"/>
                <a:gd name="connsiteX395" fmla="*/ 578611 w 1466597"/>
                <a:gd name="connsiteY395" fmla="*/ 685229 h 790366"/>
                <a:gd name="connsiteX396" fmla="*/ 577521 w 1466597"/>
                <a:gd name="connsiteY396" fmla="*/ 683740 h 790366"/>
                <a:gd name="connsiteX397" fmla="*/ 576556 w 1466597"/>
                <a:gd name="connsiteY397" fmla="*/ 680803 h 790366"/>
                <a:gd name="connsiteX398" fmla="*/ 576563 w 1466597"/>
                <a:gd name="connsiteY398" fmla="*/ 679985 h 790366"/>
                <a:gd name="connsiteX399" fmla="*/ 576973 w 1466597"/>
                <a:gd name="connsiteY399" fmla="*/ 678579 h 790366"/>
                <a:gd name="connsiteX400" fmla="*/ 580447 w 1466597"/>
                <a:gd name="connsiteY400" fmla="*/ 676635 h 790366"/>
                <a:gd name="connsiteX401" fmla="*/ 581601 w 1466597"/>
                <a:gd name="connsiteY401" fmla="*/ 675608 h 790366"/>
                <a:gd name="connsiteX402" fmla="*/ 586102 w 1466597"/>
                <a:gd name="connsiteY402" fmla="*/ 668929 h 790366"/>
                <a:gd name="connsiteX403" fmla="*/ 587408 w 1466597"/>
                <a:gd name="connsiteY403" fmla="*/ 668010 h 790366"/>
                <a:gd name="connsiteX404" fmla="*/ 588792 w 1466597"/>
                <a:gd name="connsiteY404" fmla="*/ 667784 h 790366"/>
                <a:gd name="connsiteX405" fmla="*/ 592635 w 1466597"/>
                <a:gd name="connsiteY405" fmla="*/ 668251 h 790366"/>
                <a:gd name="connsiteX406" fmla="*/ 595916 w 1466597"/>
                <a:gd name="connsiteY406" fmla="*/ 666298 h 790366"/>
                <a:gd name="connsiteX407" fmla="*/ 602984 w 1466597"/>
                <a:gd name="connsiteY407" fmla="*/ 663321 h 790366"/>
                <a:gd name="connsiteX408" fmla="*/ 604537 w 1466597"/>
                <a:gd name="connsiteY408" fmla="*/ 662967 h 790366"/>
                <a:gd name="connsiteX409" fmla="*/ 715384 w 1466597"/>
                <a:gd name="connsiteY409" fmla="*/ 662622 h 790366"/>
                <a:gd name="connsiteX410" fmla="*/ 717207 w 1466597"/>
                <a:gd name="connsiteY410" fmla="*/ 663258 h 790366"/>
                <a:gd name="connsiteX411" fmla="*/ 717902 w 1466597"/>
                <a:gd name="connsiteY411" fmla="*/ 664726 h 790366"/>
                <a:gd name="connsiteX412" fmla="*/ 717933 w 1466597"/>
                <a:gd name="connsiteY412" fmla="*/ 665687 h 790366"/>
                <a:gd name="connsiteX413" fmla="*/ 717103 w 1466597"/>
                <a:gd name="connsiteY413" fmla="*/ 665867 h 790366"/>
                <a:gd name="connsiteX414" fmla="*/ 716418 w 1466597"/>
                <a:gd name="connsiteY414" fmla="*/ 665484 h 790366"/>
                <a:gd name="connsiteX415" fmla="*/ 715471 w 1466597"/>
                <a:gd name="connsiteY415" fmla="*/ 663467 h 790366"/>
                <a:gd name="connsiteX416" fmla="*/ 713263 w 1466597"/>
                <a:gd name="connsiteY416" fmla="*/ 656683 h 790366"/>
                <a:gd name="connsiteX417" fmla="*/ 714027 w 1466597"/>
                <a:gd name="connsiteY417" fmla="*/ 659317 h 790366"/>
                <a:gd name="connsiteX418" fmla="*/ 713892 w 1466597"/>
                <a:gd name="connsiteY418" fmla="*/ 662148 h 790366"/>
                <a:gd name="connsiteX419" fmla="*/ 713520 w 1466597"/>
                <a:gd name="connsiteY419" fmla="*/ 662593 h 790366"/>
                <a:gd name="connsiteX420" fmla="*/ 712844 w 1466597"/>
                <a:gd name="connsiteY420" fmla="*/ 661838 h 790366"/>
                <a:gd name="connsiteX421" fmla="*/ 711409 w 1466597"/>
                <a:gd name="connsiteY421" fmla="*/ 662675 h 790366"/>
                <a:gd name="connsiteX422" fmla="*/ 710625 w 1466597"/>
                <a:gd name="connsiteY422" fmla="*/ 662063 h 790366"/>
                <a:gd name="connsiteX423" fmla="*/ 710958 w 1466597"/>
                <a:gd name="connsiteY423" fmla="*/ 661077 h 790366"/>
                <a:gd name="connsiteX424" fmla="*/ 710849 w 1466597"/>
                <a:gd name="connsiteY424" fmla="*/ 660308 h 790366"/>
                <a:gd name="connsiteX425" fmla="*/ 711914 w 1466597"/>
                <a:gd name="connsiteY425" fmla="*/ 660247 h 790366"/>
                <a:gd name="connsiteX426" fmla="*/ 712167 w 1466597"/>
                <a:gd name="connsiteY426" fmla="*/ 658839 h 790366"/>
                <a:gd name="connsiteX427" fmla="*/ 711983 w 1466597"/>
                <a:gd name="connsiteY427" fmla="*/ 658246 h 790366"/>
                <a:gd name="connsiteX428" fmla="*/ 712506 w 1466597"/>
                <a:gd name="connsiteY428" fmla="*/ 656976 h 790366"/>
                <a:gd name="connsiteX429" fmla="*/ 1427023 w 1466597"/>
                <a:gd name="connsiteY429" fmla="*/ 655325 h 790366"/>
                <a:gd name="connsiteX430" fmla="*/ 1428369 w 1466597"/>
                <a:gd name="connsiteY430" fmla="*/ 655374 h 790366"/>
                <a:gd name="connsiteX431" fmla="*/ 1431124 w 1466597"/>
                <a:gd name="connsiteY431" fmla="*/ 657132 h 790366"/>
                <a:gd name="connsiteX432" fmla="*/ 1432779 w 1466597"/>
                <a:gd name="connsiteY432" fmla="*/ 661876 h 790366"/>
                <a:gd name="connsiteX433" fmla="*/ 1435389 w 1466597"/>
                <a:gd name="connsiteY433" fmla="*/ 666497 h 790366"/>
                <a:gd name="connsiteX434" fmla="*/ 1435528 w 1466597"/>
                <a:gd name="connsiteY434" fmla="*/ 668118 h 790366"/>
                <a:gd name="connsiteX435" fmla="*/ 1433040 w 1466597"/>
                <a:gd name="connsiteY435" fmla="*/ 668686 h 790366"/>
                <a:gd name="connsiteX436" fmla="*/ 1431085 w 1466597"/>
                <a:gd name="connsiteY436" fmla="*/ 668453 h 790366"/>
                <a:gd name="connsiteX437" fmla="*/ 1430077 w 1466597"/>
                <a:gd name="connsiteY437" fmla="*/ 667922 h 790366"/>
                <a:gd name="connsiteX438" fmla="*/ 1429812 w 1466597"/>
                <a:gd name="connsiteY438" fmla="*/ 667170 h 790366"/>
                <a:gd name="connsiteX439" fmla="*/ 1430442 w 1466597"/>
                <a:gd name="connsiteY439" fmla="*/ 664833 h 790366"/>
                <a:gd name="connsiteX440" fmla="*/ 1429159 w 1466597"/>
                <a:gd name="connsiteY440" fmla="*/ 663457 h 790366"/>
                <a:gd name="connsiteX441" fmla="*/ 1427671 w 1466597"/>
                <a:gd name="connsiteY441" fmla="*/ 662988 h 790366"/>
                <a:gd name="connsiteX442" fmla="*/ 1426339 w 1466597"/>
                <a:gd name="connsiteY442" fmla="*/ 663796 h 790366"/>
                <a:gd name="connsiteX443" fmla="*/ 1426265 w 1466597"/>
                <a:gd name="connsiteY443" fmla="*/ 661490 h 790366"/>
                <a:gd name="connsiteX444" fmla="*/ 1427263 w 1466597"/>
                <a:gd name="connsiteY444" fmla="*/ 659831 h 790366"/>
                <a:gd name="connsiteX445" fmla="*/ 1426706 w 1466597"/>
                <a:gd name="connsiteY445" fmla="*/ 657576 h 790366"/>
                <a:gd name="connsiteX446" fmla="*/ 1426691 w 1466597"/>
                <a:gd name="connsiteY446" fmla="*/ 655871 h 790366"/>
                <a:gd name="connsiteX447" fmla="*/ 704531 w 1466597"/>
                <a:gd name="connsiteY447" fmla="*/ 655010 h 790366"/>
                <a:gd name="connsiteX448" fmla="*/ 704947 w 1466597"/>
                <a:gd name="connsiteY448" fmla="*/ 655346 h 790366"/>
                <a:gd name="connsiteX449" fmla="*/ 704253 w 1466597"/>
                <a:gd name="connsiteY449" fmla="*/ 656850 h 790366"/>
                <a:gd name="connsiteX450" fmla="*/ 705754 w 1466597"/>
                <a:gd name="connsiteY450" fmla="*/ 658233 h 790366"/>
                <a:gd name="connsiteX451" fmla="*/ 705380 w 1466597"/>
                <a:gd name="connsiteY451" fmla="*/ 659573 h 790366"/>
                <a:gd name="connsiteX452" fmla="*/ 704898 w 1466597"/>
                <a:gd name="connsiteY452" fmla="*/ 660138 h 790366"/>
                <a:gd name="connsiteX453" fmla="*/ 703343 w 1466597"/>
                <a:gd name="connsiteY453" fmla="*/ 660917 h 790366"/>
                <a:gd name="connsiteX454" fmla="*/ 702855 w 1466597"/>
                <a:gd name="connsiteY454" fmla="*/ 661907 h 790366"/>
                <a:gd name="connsiteX455" fmla="*/ 701673 w 1466597"/>
                <a:gd name="connsiteY455" fmla="*/ 662325 h 790366"/>
                <a:gd name="connsiteX456" fmla="*/ 700678 w 1466597"/>
                <a:gd name="connsiteY456" fmla="*/ 663130 h 790366"/>
                <a:gd name="connsiteX457" fmla="*/ 697331 w 1466597"/>
                <a:gd name="connsiteY457" fmla="*/ 666774 h 790366"/>
                <a:gd name="connsiteX458" fmla="*/ 695866 w 1466597"/>
                <a:gd name="connsiteY458" fmla="*/ 667448 h 790366"/>
                <a:gd name="connsiteX459" fmla="*/ 697484 w 1466597"/>
                <a:gd name="connsiteY459" fmla="*/ 664338 h 790366"/>
                <a:gd name="connsiteX460" fmla="*/ 697739 w 1466597"/>
                <a:gd name="connsiteY460" fmla="*/ 663349 h 790366"/>
                <a:gd name="connsiteX461" fmla="*/ 697770 w 1466597"/>
                <a:gd name="connsiteY461" fmla="*/ 662691 h 790366"/>
                <a:gd name="connsiteX462" fmla="*/ 697267 w 1466597"/>
                <a:gd name="connsiteY462" fmla="*/ 660342 h 790366"/>
                <a:gd name="connsiteX463" fmla="*/ 698246 w 1466597"/>
                <a:gd name="connsiteY463" fmla="*/ 660443 h 790366"/>
                <a:gd name="connsiteX464" fmla="*/ 699050 w 1466597"/>
                <a:gd name="connsiteY464" fmla="*/ 659956 h 790366"/>
                <a:gd name="connsiteX465" fmla="*/ 700669 w 1466597"/>
                <a:gd name="connsiteY465" fmla="*/ 657872 h 790366"/>
                <a:gd name="connsiteX466" fmla="*/ 702125 w 1466597"/>
                <a:gd name="connsiteY466" fmla="*/ 657686 h 790366"/>
                <a:gd name="connsiteX467" fmla="*/ 703687 w 1466597"/>
                <a:gd name="connsiteY467" fmla="*/ 655205 h 790366"/>
                <a:gd name="connsiteX468" fmla="*/ 1382861 w 1466597"/>
                <a:gd name="connsiteY468" fmla="*/ 653131 h 790366"/>
                <a:gd name="connsiteX469" fmla="*/ 1387941 w 1466597"/>
                <a:gd name="connsiteY469" fmla="*/ 657118 h 790366"/>
                <a:gd name="connsiteX470" fmla="*/ 1388715 w 1466597"/>
                <a:gd name="connsiteY470" fmla="*/ 658807 h 790366"/>
                <a:gd name="connsiteX471" fmla="*/ 1390535 w 1466597"/>
                <a:gd name="connsiteY471" fmla="*/ 660783 h 790366"/>
                <a:gd name="connsiteX472" fmla="*/ 1390882 w 1466597"/>
                <a:gd name="connsiteY472" fmla="*/ 663537 h 790366"/>
                <a:gd name="connsiteX473" fmla="*/ 1391804 w 1466597"/>
                <a:gd name="connsiteY473" fmla="*/ 664617 h 790366"/>
                <a:gd name="connsiteX474" fmla="*/ 1393941 w 1466597"/>
                <a:gd name="connsiteY474" fmla="*/ 668449 h 790366"/>
                <a:gd name="connsiteX475" fmla="*/ 1394565 w 1466597"/>
                <a:gd name="connsiteY475" fmla="*/ 668926 h 790366"/>
                <a:gd name="connsiteX476" fmla="*/ 1395200 w 1466597"/>
                <a:gd name="connsiteY476" fmla="*/ 668591 h 790366"/>
                <a:gd name="connsiteX477" fmla="*/ 1396235 w 1466597"/>
                <a:gd name="connsiteY477" fmla="*/ 667328 h 790366"/>
                <a:gd name="connsiteX478" fmla="*/ 1398063 w 1466597"/>
                <a:gd name="connsiteY478" fmla="*/ 667577 h 790366"/>
                <a:gd name="connsiteX479" fmla="*/ 1399383 w 1466597"/>
                <a:gd name="connsiteY479" fmla="*/ 668002 h 790366"/>
                <a:gd name="connsiteX480" fmla="*/ 1400191 w 1466597"/>
                <a:gd name="connsiteY480" fmla="*/ 668520 h 790366"/>
                <a:gd name="connsiteX481" fmla="*/ 1399763 w 1466597"/>
                <a:gd name="connsiteY481" fmla="*/ 670359 h 790366"/>
                <a:gd name="connsiteX482" fmla="*/ 1399432 w 1466597"/>
                <a:gd name="connsiteY482" fmla="*/ 673341 h 790366"/>
                <a:gd name="connsiteX483" fmla="*/ 1398675 w 1466597"/>
                <a:gd name="connsiteY483" fmla="*/ 674399 h 790366"/>
                <a:gd name="connsiteX484" fmla="*/ 1397932 w 1466597"/>
                <a:gd name="connsiteY484" fmla="*/ 675885 h 790366"/>
                <a:gd name="connsiteX485" fmla="*/ 1395343 w 1466597"/>
                <a:gd name="connsiteY485" fmla="*/ 675004 h 790366"/>
                <a:gd name="connsiteX486" fmla="*/ 1393242 w 1466597"/>
                <a:gd name="connsiteY486" fmla="*/ 673112 h 790366"/>
                <a:gd name="connsiteX487" fmla="*/ 1390199 w 1466597"/>
                <a:gd name="connsiteY487" fmla="*/ 669851 h 790366"/>
                <a:gd name="connsiteX488" fmla="*/ 1388503 w 1466597"/>
                <a:gd name="connsiteY488" fmla="*/ 667497 h 790366"/>
                <a:gd name="connsiteX489" fmla="*/ 1388372 w 1466597"/>
                <a:gd name="connsiteY489" fmla="*/ 666501 h 790366"/>
                <a:gd name="connsiteX490" fmla="*/ 1387297 w 1466597"/>
                <a:gd name="connsiteY490" fmla="*/ 665778 h 790366"/>
                <a:gd name="connsiteX491" fmla="*/ 1385206 w 1466597"/>
                <a:gd name="connsiteY491" fmla="*/ 661711 h 790366"/>
                <a:gd name="connsiteX492" fmla="*/ 1384019 w 1466597"/>
                <a:gd name="connsiteY492" fmla="*/ 658489 h 790366"/>
                <a:gd name="connsiteX493" fmla="*/ 1382140 w 1466597"/>
                <a:gd name="connsiteY493" fmla="*/ 658122 h 790366"/>
                <a:gd name="connsiteX494" fmla="*/ 1379764 w 1466597"/>
                <a:gd name="connsiteY494" fmla="*/ 657226 h 790366"/>
                <a:gd name="connsiteX495" fmla="*/ 1378851 w 1466597"/>
                <a:gd name="connsiteY495" fmla="*/ 655459 h 790366"/>
                <a:gd name="connsiteX496" fmla="*/ 1379481 w 1466597"/>
                <a:gd name="connsiteY496" fmla="*/ 653912 h 790366"/>
                <a:gd name="connsiteX497" fmla="*/ 692415 w 1466597"/>
                <a:gd name="connsiteY497" fmla="*/ 652017 h 790366"/>
                <a:gd name="connsiteX498" fmla="*/ 693257 w 1466597"/>
                <a:gd name="connsiteY498" fmla="*/ 652705 h 790366"/>
                <a:gd name="connsiteX499" fmla="*/ 692899 w 1466597"/>
                <a:gd name="connsiteY499" fmla="*/ 655515 h 790366"/>
                <a:gd name="connsiteX500" fmla="*/ 689393 w 1466597"/>
                <a:gd name="connsiteY500" fmla="*/ 653727 h 790366"/>
                <a:gd name="connsiteX501" fmla="*/ 688455 w 1466597"/>
                <a:gd name="connsiteY501" fmla="*/ 652842 h 790366"/>
                <a:gd name="connsiteX502" fmla="*/ 689083 w 1466597"/>
                <a:gd name="connsiteY502" fmla="*/ 652182 h 790366"/>
                <a:gd name="connsiteX503" fmla="*/ 683190 w 1466597"/>
                <a:gd name="connsiteY503" fmla="*/ 650319 h 790366"/>
                <a:gd name="connsiteX504" fmla="*/ 683912 w 1466597"/>
                <a:gd name="connsiteY504" fmla="*/ 650543 h 790366"/>
                <a:gd name="connsiteX505" fmla="*/ 684510 w 1466597"/>
                <a:gd name="connsiteY505" fmla="*/ 651219 h 790366"/>
                <a:gd name="connsiteX506" fmla="*/ 684659 w 1466597"/>
                <a:gd name="connsiteY506" fmla="*/ 651931 h 790366"/>
                <a:gd name="connsiteX507" fmla="*/ 684185 w 1466597"/>
                <a:gd name="connsiteY507" fmla="*/ 653521 h 790366"/>
                <a:gd name="connsiteX508" fmla="*/ 684573 w 1466597"/>
                <a:gd name="connsiteY508" fmla="*/ 653539 h 790366"/>
                <a:gd name="connsiteX509" fmla="*/ 685361 w 1466597"/>
                <a:gd name="connsiteY509" fmla="*/ 653267 h 790366"/>
                <a:gd name="connsiteX510" fmla="*/ 687014 w 1466597"/>
                <a:gd name="connsiteY510" fmla="*/ 651258 h 790366"/>
                <a:gd name="connsiteX511" fmla="*/ 687556 w 1466597"/>
                <a:gd name="connsiteY511" fmla="*/ 651169 h 790366"/>
                <a:gd name="connsiteX512" fmla="*/ 687564 w 1466597"/>
                <a:gd name="connsiteY512" fmla="*/ 651789 h 790366"/>
                <a:gd name="connsiteX513" fmla="*/ 686782 w 1466597"/>
                <a:gd name="connsiteY513" fmla="*/ 653775 h 790366"/>
                <a:gd name="connsiteX514" fmla="*/ 688106 w 1466597"/>
                <a:gd name="connsiteY514" fmla="*/ 656424 h 790366"/>
                <a:gd name="connsiteX515" fmla="*/ 689344 w 1466597"/>
                <a:gd name="connsiteY515" fmla="*/ 657698 h 790366"/>
                <a:gd name="connsiteX516" fmla="*/ 689221 w 1466597"/>
                <a:gd name="connsiteY516" fmla="*/ 658143 h 790366"/>
                <a:gd name="connsiteX517" fmla="*/ 686119 w 1466597"/>
                <a:gd name="connsiteY517" fmla="*/ 659061 h 790366"/>
                <a:gd name="connsiteX518" fmla="*/ 683755 w 1466597"/>
                <a:gd name="connsiteY518" fmla="*/ 658400 h 790366"/>
                <a:gd name="connsiteX519" fmla="*/ 682508 w 1466597"/>
                <a:gd name="connsiteY519" fmla="*/ 658629 h 790366"/>
                <a:gd name="connsiteX520" fmla="*/ 681375 w 1466597"/>
                <a:gd name="connsiteY520" fmla="*/ 659553 h 790366"/>
                <a:gd name="connsiteX521" fmla="*/ 680599 w 1466597"/>
                <a:gd name="connsiteY521" fmla="*/ 658531 h 790366"/>
                <a:gd name="connsiteX522" fmla="*/ 680063 w 1466597"/>
                <a:gd name="connsiteY522" fmla="*/ 653644 h 790366"/>
                <a:gd name="connsiteX523" fmla="*/ 680238 w 1466597"/>
                <a:gd name="connsiteY523" fmla="*/ 652787 h 790366"/>
                <a:gd name="connsiteX524" fmla="*/ 681524 w 1466597"/>
                <a:gd name="connsiteY524" fmla="*/ 651086 h 790366"/>
                <a:gd name="connsiteX525" fmla="*/ 1381611 w 1466597"/>
                <a:gd name="connsiteY525" fmla="*/ 644806 h 790366"/>
                <a:gd name="connsiteX526" fmla="*/ 1382645 w 1466597"/>
                <a:gd name="connsiteY526" fmla="*/ 645354 h 790366"/>
                <a:gd name="connsiteX527" fmla="*/ 1383203 w 1466597"/>
                <a:gd name="connsiteY527" fmla="*/ 646358 h 790366"/>
                <a:gd name="connsiteX528" fmla="*/ 1383242 w 1466597"/>
                <a:gd name="connsiteY528" fmla="*/ 646993 h 790366"/>
                <a:gd name="connsiteX529" fmla="*/ 1379548 w 1466597"/>
                <a:gd name="connsiteY529" fmla="*/ 649363 h 790366"/>
                <a:gd name="connsiteX530" fmla="*/ 1379480 w 1466597"/>
                <a:gd name="connsiteY530" fmla="*/ 649851 h 790366"/>
                <a:gd name="connsiteX531" fmla="*/ 1378614 w 1466597"/>
                <a:gd name="connsiteY531" fmla="*/ 651316 h 790366"/>
                <a:gd name="connsiteX532" fmla="*/ 1377840 w 1466597"/>
                <a:gd name="connsiteY532" fmla="*/ 651849 h 790366"/>
                <a:gd name="connsiteX533" fmla="*/ 1376464 w 1466597"/>
                <a:gd name="connsiteY533" fmla="*/ 653433 h 790366"/>
                <a:gd name="connsiteX534" fmla="*/ 1373841 w 1466597"/>
                <a:gd name="connsiteY534" fmla="*/ 655140 h 790366"/>
                <a:gd name="connsiteX535" fmla="*/ 1374228 w 1466597"/>
                <a:gd name="connsiteY535" fmla="*/ 650008 h 790366"/>
                <a:gd name="connsiteX536" fmla="*/ 1371623 w 1466597"/>
                <a:gd name="connsiteY536" fmla="*/ 647025 h 790366"/>
                <a:gd name="connsiteX537" fmla="*/ 1374248 w 1466597"/>
                <a:gd name="connsiteY537" fmla="*/ 645514 h 790366"/>
                <a:gd name="connsiteX538" fmla="*/ 1375970 w 1466597"/>
                <a:gd name="connsiteY538" fmla="*/ 645945 h 790366"/>
                <a:gd name="connsiteX539" fmla="*/ 1378826 w 1466597"/>
                <a:gd name="connsiteY539" fmla="*/ 646119 h 790366"/>
                <a:gd name="connsiteX540" fmla="*/ 814054 w 1466597"/>
                <a:gd name="connsiteY540" fmla="*/ 631722 h 790366"/>
                <a:gd name="connsiteX541" fmla="*/ 814583 w 1466597"/>
                <a:gd name="connsiteY541" fmla="*/ 631838 h 790366"/>
                <a:gd name="connsiteX542" fmla="*/ 814821 w 1466597"/>
                <a:gd name="connsiteY542" fmla="*/ 633073 h 790366"/>
                <a:gd name="connsiteX543" fmla="*/ 814768 w 1466597"/>
                <a:gd name="connsiteY543" fmla="*/ 635424 h 790366"/>
                <a:gd name="connsiteX544" fmla="*/ 813776 w 1466597"/>
                <a:gd name="connsiteY544" fmla="*/ 636557 h 790366"/>
                <a:gd name="connsiteX545" fmla="*/ 811844 w 1466597"/>
                <a:gd name="connsiteY545" fmla="*/ 636475 h 790366"/>
                <a:gd name="connsiteX546" fmla="*/ 810759 w 1466597"/>
                <a:gd name="connsiteY546" fmla="*/ 636104 h 790366"/>
                <a:gd name="connsiteX547" fmla="*/ 810396 w 1466597"/>
                <a:gd name="connsiteY547" fmla="*/ 635115 h 790366"/>
                <a:gd name="connsiteX548" fmla="*/ 813375 w 1466597"/>
                <a:gd name="connsiteY548" fmla="*/ 632125 h 790366"/>
                <a:gd name="connsiteX549" fmla="*/ 1434579 w 1466597"/>
                <a:gd name="connsiteY549" fmla="*/ 630608 h 790366"/>
                <a:gd name="connsiteX550" fmla="*/ 1435422 w 1466597"/>
                <a:gd name="connsiteY550" fmla="*/ 630837 h 790366"/>
                <a:gd name="connsiteX551" fmla="*/ 1438370 w 1466597"/>
                <a:gd name="connsiteY551" fmla="*/ 634152 h 790366"/>
                <a:gd name="connsiteX552" fmla="*/ 1441503 w 1466597"/>
                <a:gd name="connsiteY552" fmla="*/ 638777 h 790366"/>
                <a:gd name="connsiteX553" fmla="*/ 1442316 w 1466597"/>
                <a:gd name="connsiteY553" fmla="*/ 640856 h 790366"/>
                <a:gd name="connsiteX554" fmla="*/ 1442340 w 1466597"/>
                <a:gd name="connsiteY554" fmla="*/ 644487 h 790366"/>
                <a:gd name="connsiteX555" fmla="*/ 1441980 w 1466597"/>
                <a:gd name="connsiteY555" fmla="*/ 647304 h 790366"/>
                <a:gd name="connsiteX556" fmla="*/ 1441093 w 1466597"/>
                <a:gd name="connsiteY556" fmla="*/ 651224 h 790366"/>
                <a:gd name="connsiteX557" fmla="*/ 1439337 w 1466597"/>
                <a:gd name="connsiteY557" fmla="*/ 655230 h 790366"/>
                <a:gd name="connsiteX558" fmla="*/ 1436655 w 1466597"/>
                <a:gd name="connsiteY558" fmla="*/ 657383 h 790366"/>
                <a:gd name="connsiteX559" fmla="*/ 1434767 w 1466597"/>
                <a:gd name="connsiteY559" fmla="*/ 656903 h 790366"/>
                <a:gd name="connsiteX560" fmla="*/ 1433378 w 1466597"/>
                <a:gd name="connsiteY560" fmla="*/ 655168 h 790366"/>
                <a:gd name="connsiteX561" fmla="*/ 1432089 w 1466597"/>
                <a:gd name="connsiteY561" fmla="*/ 655264 h 790366"/>
                <a:gd name="connsiteX562" fmla="*/ 1430715 w 1466597"/>
                <a:gd name="connsiteY562" fmla="*/ 654907 h 790366"/>
                <a:gd name="connsiteX563" fmla="*/ 1429944 w 1466597"/>
                <a:gd name="connsiteY563" fmla="*/ 653467 h 790366"/>
                <a:gd name="connsiteX564" fmla="*/ 1430673 w 1466597"/>
                <a:gd name="connsiteY564" fmla="*/ 651611 h 790366"/>
                <a:gd name="connsiteX565" fmla="*/ 1430030 w 1466597"/>
                <a:gd name="connsiteY565" fmla="*/ 650171 h 790366"/>
                <a:gd name="connsiteX566" fmla="*/ 1429343 w 1466597"/>
                <a:gd name="connsiteY566" fmla="*/ 651430 h 790366"/>
                <a:gd name="connsiteX567" fmla="*/ 1428135 w 1466597"/>
                <a:gd name="connsiteY567" fmla="*/ 652586 h 790366"/>
                <a:gd name="connsiteX568" fmla="*/ 1425087 w 1466597"/>
                <a:gd name="connsiteY568" fmla="*/ 654087 h 790366"/>
                <a:gd name="connsiteX569" fmla="*/ 1422985 w 1466597"/>
                <a:gd name="connsiteY569" fmla="*/ 656953 h 790366"/>
                <a:gd name="connsiteX570" fmla="*/ 1421996 w 1466597"/>
                <a:gd name="connsiteY570" fmla="*/ 658821 h 790366"/>
                <a:gd name="connsiteX571" fmla="*/ 1420759 w 1466597"/>
                <a:gd name="connsiteY571" fmla="*/ 656785 h 790366"/>
                <a:gd name="connsiteX572" fmla="*/ 1419967 w 1466597"/>
                <a:gd name="connsiteY572" fmla="*/ 651957 h 790366"/>
                <a:gd name="connsiteX573" fmla="*/ 1419863 w 1466597"/>
                <a:gd name="connsiteY573" fmla="*/ 649905 h 790366"/>
                <a:gd name="connsiteX574" fmla="*/ 1422073 w 1466597"/>
                <a:gd name="connsiteY574" fmla="*/ 646807 h 790366"/>
                <a:gd name="connsiteX575" fmla="*/ 1424928 w 1466597"/>
                <a:gd name="connsiteY575" fmla="*/ 643860 h 790366"/>
                <a:gd name="connsiteX576" fmla="*/ 1425504 w 1466597"/>
                <a:gd name="connsiteY576" fmla="*/ 635048 h 790366"/>
                <a:gd name="connsiteX577" fmla="*/ 1375984 w 1466597"/>
                <a:gd name="connsiteY577" fmla="*/ 616779 h 790366"/>
                <a:gd name="connsiteX578" fmla="*/ 1380820 w 1466597"/>
                <a:gd name="connsiteY578" fmla="*/ 617553 h 790366"/>
                <a:gd name="connsiteX579" fmla="*/ 1385248 w 1466597"/>
                <a:gd name="connsiteY579" fmla="*/ 617480 h 790366"/>
                <a:gd name="connsiteX580" fmla="*/ 1386761 w 1466597"/>
                <a:gd name="connsiteY580" fmla="*/ 618968 h 790366"/>
                <a:gd name="connsiteX581" fmla="*/ 1387761 w 1466597"/>
                <a:gd name="connsiteY581" fmla="*/ 620537 h 790366"/>
                <a:gd name="connsiteX582" fmla="*/ 1388342 w 1466597"/>
                <a:gd name="connsiteY582" fmla="*/ 622012 h 790366"/>
                <a:gd name="connsiteX583" fmla="*/ 1388502 w 1466597"/>
                <a:gd name="connsiteY583" fmla="*/ 623393 h 790366"/>
                <a:gd name="connsiteX584" fmla="*/ 1388382 w 1466597"/>
                <a:gd name="connsiteY584" fmla="*/ 624371 h 790366"/>
                <a:gd name="connsiteX585" fmla="*/ 1387844 w 1466597"/>
                <a:gd name="connsiteY585" fmla="*/ 625412 h 790366"/>
                <a:gd name="connsiteX586" fmla="*/ 1387962 w 1466597"/>
                <a:gd name="connsiteY586" fmla="*/ 625763 h 790366"/>
                <a:gd name="connsiteX587" fmla="*/ 1396611 w 1466597"/>
                <a:gd name="connsiteY587" fmla="*/ 629182 h 790366"/>
                <a:gd name="connsiteX588" fmla="*/ 1400691 w 1466597"/>
                <a:gd name="connsiteY588" fmla="*/ 632775 h 790366"/>
                <a:gd name="connsiteX589" fmla="*/ 1402319 w 1466597"/>
                <a:gd name="connsiteY589" fmla="*/ 634660 h 790366"/>
                <a:gd name="connsiteX590" fmla="*/ 1403259 w 1466597"/>
                <a:gd name="connsiteY590" fmla="*/ 636252 h 790366"/>
                <a:gd name="connsiteX591" fmla="*/ 1404963 w 1466597"/>
                <a:gd name="connsiteY591" fmla="*/ 640231 h 790366"/>
                <a:gd name="connsiteX592" fmla="*/ 1408568 w 1466597"/>
                <a:gd name="connsiteY592" fmla="*/ 644840 h 790366"/>
                <a:gd name="connsiteX593" fmla="*/ 1410459 w 1466597"/>
                <a:gd name="connsiteY593" fmla="*/ 646244 h 790366"/>
                <a:gd name="connsiteX594" fmla="*/ 1411532 w 1466597"/>
                <a:gd name="connsiteY594" fmla="*/ 647608 h 790366"/>
                <a:gd name="connsiteX595" fmla="*/ 1410928 w 1466597"/>
                <a:gd name="connsiteY595" fmla="*/ 647660 h 790366"/>
                <a:gd name="connsiteX596" fmla="*/ 1408388 w 1466597"/>
                <a:gd name="connsiteY596" fmla="*/ 646649 h 790366"/>
                <a:gd name="connsiteX597" fmla="*/ 1402893 w 1466597"/>
                <a:gd name="connsiteY597" fmla="*/ 643561 h 790366"/>
                <a:gd name="connsiteX598" fmla="*/ 1402445 w 1466597"/>
                <a:gd name="connsiteY598" fmla="*/ 643683 h 790366"/>
                <a:gd name="connsiteX599" fmla="*/ 1401948 w 1466597"/>
                <a:gd name="connsiteY599" fmla="*/ 645355 h 790366"/>
                <a:gd name="connsiteX600" fmla="*/ 1401097 w 1466597"/>
                <a:gd name="connsiteY600" fmla="*/ 646822 h 790366"/>
                <a:gd name="connsiteX601" fmla="*/ 1399832 w 1466597"/>
                <a:gd name="connsiteY601" fmla="*/ 647874 h 790366"/>
                <a:gd name="connsiteX602" fmla="*/ 1400845 w 1466597"/>
                <a:gd name="connsiteY602" fmla="*/ 648188 h 790366"/>
                <a:gd name="connsiteX603" fmla="*/ 1405276 w 1466597"/>
                <a:gd name="connsiteY603" fmla="*/ 647526 h 790366"/>
                <a:gd name="connsiteX604" fmla="*/ 1408997 w 1466597"/>
                <a:gd name="connsiteY604" fmla="*/ 650533 h 790366"/>
                <a:gd name="connsiteX605" fmla="*/ 1410445 w 1466597"/>
                <a:gd name="connsiteY605" fmla="*/ 651071 h 790366"/>
                <a:gd name="connsiteX606" fmla="*/ 1411848 w 1466597"/>
                <a:gd name="connsiteY606" fmla="*/ 653229 h 790366"/>
                <a:gd name="connsiteX607" fmla="*/ 1411896 w 1466597"/>
                <a:gd name="connsiteY607" fmla="*/ 654055 h 790366"/>
                <a:gd name="connsiteX608" fmla="*/ 1411079 w 1466597"/>
                <a:gd name="connsiteY608" fmla="*/ 655650 h 790366"/>
                <a:gd name="connsiteX609" fmla="*/ 1410455 w 1466597"/>
                <a:gd name="connsiteY609" fmla="*/ 656297 h 790366"/>
                <a:gd name="connsiteX610" fmla="*/ 1410664 w 1466597"/>
                <a:gd name="connsiteY610" fmla="*/ 656737 h 790366"/>
                <a:gd name="connsiteX611" fmla="*/ 1411704 w 1466597"/>
                <a:gd name="connsiteY611" fmla="*/ 656964 h 790366"/>
                <a:gd name="connsiteX612" fmla="*/ 1415807 w 1466597"/>
                <a:gd name="connsiteY612" fmla="*/ 656517 h 790366"/>
                <a:gd name="connsiteX613" fmla="*/ 1416539 w 1466597"/>
                <a:gd name="connsiteY613" fmla="*/ 657300 h 790366"/>
                <a:gd name="connsiteX614" fmla="*/ 1415927 w 1466597"/>
                <a:gd name="connsiteY614" fmla="*/ 663508 h 790366"/>
                <a:gd name="connsiteX615" fmla="*/ 1416508 w 1466597"/>
                <a:gd name="connsiteY615" fmla="*/ 665790 h 790366"/>
                <a:gd name="connsiteX616" fmla="*/ 1416499 w 1466597"/>
                <a:gd name="connsiteY616" fmla="*/ 666827 h 790366"/>
                <a:gd name="connsiteX617" fmla="*/ 1416024 w 1466597"/>
                <a:gd name="connsiteY617" fmla="*/ 668202 h 790366"/>
                <a:gd name="connsiteX618" fmla="*/ 1416007 w 1466597"/>
                <a:gd name="connsiteY618" fmla="*/ 669364 h 790366"/>
                <a:gd name="connsiteX619" fmla="*/ 1416378 w 1466597"/>
                <a:gd name="connsiteY619" fmla="*/ 670556 h 790366"/>
                <a:gd name="connsiteX620" fmla="*/ 1416425 w 1466597"/>
                <a:gd name="connsiteY620" fmla="*/ 671621 h 790366"/>
                <a:gd name="connsiteX621" fmla="*/ 1415384 w 1466597"/>
                <a:gd name="connsiteY621" fmla="*/ 674396 h 790366"/>
                <a:gd name="connsiteX622" fmla="*/ 1414285 w 1466597"/>
                <a:gd name="connsiteY622" fmla="*/ 674861 h 790366"/>
                <a:gd name="connsiteX623" fmla="*/ 1412509 w 1466597"/>
                <a:gd name="connsiteY623" fmla="*/ 674882 h 790366"/>
                <a:gd name="connsiteX624" fmla="*/ 1411109 w 1466597"/>
                <a:gd name="connsiteY624" fmla="*/ 674094 h 790366"/>
                <a:gd name="connsiteX625" fmla="*/ 1409143 w 1466597"/>
                <a:gd name="connsiteY625" fmla="*/ 671708 h 790366"/>
                <a:gd name="connsiteX626" fmla="*/ 1407230 w 1466597"/>
                <a:gd name="connsiteY626" fmla="*/ 667996 h 790366"/>
                <a:gd name="connsiteX627" fmla="*/ 1406492 w 1466597"/>
                <a:gd name="connsiteY627" fmla="*/ 667466 h 790366"/>
                <a:gd name="connsiteX628" fmla="*/ 1403981 w 1466597"/>
                <a:gd name="connsiteY628" fmla="*/ 666908 h 790366"/>
                <a:gd name="connsiteX629" fmla="*/ 1403526 w 1466597"/>
                <a:gd name="connsiteY629" fmla="*/ 666468 h 790366"/>
                <a:gd name="connsiteX630" fmla="*/ 1401923 w 1466597"/>
                <a:gd name="connsiteY630" fmla="*/ 666389 h 790366"/>
                <a:gd name="connsiteX631" fmla="*/ 1400788 w 1466597"/>
                <a:gd name="connsiteY631" fmla="*/ 664859 h 790366"/>
                <a:gd name="connsiteX632" fmla="*/ 1400925 w 1466597"/>
                <a:gd name="connsiteY632" fmla="*/ 662851 h 790366"/>
                <a:gd name="connsiteX633" fmla="*/ 1399943 w 1466597"/>
                <a:gd name="connsiteY633" fmla="*/ 660801 h 790366"/>
                <a:gd name="connsiteX634" fmla="*/ 1400065 w 1466597"/>
                <a:gd name="connsiteY634" fmla="*/ 659883 h 790366"/>
                <a:gd name="connsiteX635" fmla="*/ 1398965 w 1466597"/>
                <a:gd name="connsiteY635" fmla="*/ 659498 h 790366"/>
                <a:gd name="connsiteX636" fmla="*/ 1398034 w 1466597"/>
                <a:gd name="connsiteY636" fmla="*/ 660076 h 790366"/>
                <a:gd name="connsiteX637" fmla="*/ 1398517 w 1466597"/>
                <a:gd name="connsiteY637" fmla="*/ 662085 h 790366"/>
                <a:gd name="connsiteX638" fmla="*/ 1397974 w 1466597"/>
                <a:gd name="connsiteY638" fmla="*/ 663640 h 790366"/>
                <a:gd name="connsiteX639" fmla="*/ 1395980 w 1466597"/>
                <a:gd name="connsiteY639" fmla="*/ 662988 h 790366"/>
                <a:gd name="connsiteX640" fmla="*/ 1392656 w 1466597"/>
                <a:gd name="connsiteY640" fmla="*/ 658016 h 790366"/>
                <a:gd name="connsiteX641" fmla="*/ 1388880 w 1466597"/>
                <a:gd name="connsiteY641" fmla="*/ 654015 h 790366"/>
                <a:gd name="connsiteX642" fmla="*/ 1387402 w 1466597"/>
                <a:gd name="connsiteY642" fmla="*/ 653063 h 790366"/>
                <a:gd name="connsiteX643" fmla="*/ 1387799 w 1466597"/>
                <a:gd name="connsiteY643" fmla="*/ 651901 h 790366"/>
                <a:gd name="connsiteX644" fmla="*/ 1389660 w 1466597"/>
                <a:gd name="connsiteY644" fmla="*/ 651285 h 790366"/>
                <a:gd name="connsiteX645" fmla="*/ 1391172 w 1466597"/>
                <a:gd name="connsiteY645" fmla="*/ 651333 h 790366"/>
                <a:gd name="connsiteX646" fmla="*/ 1391475 w 1466597"/>
                <a:gd name="connsiteY646" fmla="*/ 650642 h 790366"/>
                <a:gd name="connsiteX647" fmla="*/ 1388322 w 1466597"/>
                <a:gd name="connsiteY647" fmla="*/ 646770 h 790366"/>
                <a:gd name="connsiteX648" fmla="*/ 1388425 w 1466597"/>
                <a:gd name="connsiteY648" fmla="*/ 645670 h 790366"/>
                <a:gd name="connsiteX649" fmla="*/ 1389575 w 1466597"/>
                <a:gd name="connsiteY649" fmla="*/ 643711 h 790366"/>
                <a:gd name="connsiteX650" fmla="*/ 1388140 w 1466597"/>
                <a:gd name="connsiteY650" fmla="*/ 642894 h 790366"/>
                <a:gd name="connsiteX651" fmla="*/ 1384209 w 1466597"/>
                <a:gd name="connsiteY651" fmla="*/ 643507 h 790366"/>
                <a:gd name="connsiteX652" fmla="*/ 1382818 w 1466597"/>
                <a:gd name="connsiteY652" fmla="*/ 643098 h 790366"/>
                <a:gd name="connsiteX653" fmla="*/ 1381682 w 1466597"/>
                <a:gd name="connsiteY653" fmla="*/ 641525 h 790366"/>
                <a:gd name="connsiteX654" fmla="*/ 1381014 w 1466597"/>
                <a:gd name="connsiteY654" fmla="*/ 640160 h 790366"/>
                <a:gd name="connsiteX655" fmla="*/ 1377602 w 1466597"/>
                <a:gd name="connsiteY655" fmla="*/ 639913 h 790366"/>
                <a:gd name="connsiteX656" fmla="*/ 1376312 w 1466597"/>
                <a:gd name="connsiteY656" fmla="*/ 640082 h 790366"/>
                <a:gd name="connsiteX657" fmla="*/ 1374088 w 1466597"/>
                <a:gd name="connsiteY657" fmla="*/ 638019 h 790366"/>
                <a:gd name="connsiteX658" fmla="*/ 1373075 w 1466597"/>
                <a:gd name="connsiteY658" fmla="*/ 636715 h 790366"/>
                <a:gd name="connsiteX659" fmla="*/ 1373477 w 1466597"/>
                <a:gd name="connsiteY659" fmla="*/ 636046 h 790366"/>
                <a:gd name="connsiteX660" fmla="*/ 1375527 w 1466597"/>
                <a:gd name="connsiteY660" fmla="*/ 634873 h 790366"/>
                <a:gd name="connsiteX661" fmla="*/ 1376724 w 1466597"/>
                <a:gd name="connsiteY661" fmla="*/ 635038 h 790366"/>
                <a:gd name="connsiteX662" fmla="*/ 1379025 w 1466597"/>
                <a:gd name="connsiteY662" fmla="*/ 636290 h 790366"/>
                <a:gd name="connsiteX663" fmla="*/ 1379924 w 1466597"/>
                <a:gd name="connsiteY663" fmla="*/ 636242 h 790366"/>
                <a:gd name="connsiteX664" fmla="*/ 1382210 w 1466597"/>
                <a:gd name="connsiteY664" fmla="*/ 634583 h 790366"/>
                <a:gd name="connsiteX665" fmla="*/ 1382557 w 1466597"/>
                <a:gd name="connsiteY665" fmla="*/ 633080 h 790366"/>
                <a:gd name="connsiteX666" fmla="*/ 1384265 w 1466597"/>
                <a:gd name="connsiteY666" fmla="*/ 631848 h 790366"/>
                <a:gd name="connsiteX667" fmla="*/ 1383995 w 1466597"/>
                <a:gd name="connsiteY667" fmla="*/ 630546 h 790366"/>
                <a:gd name="connsiteX668" fmla="*/ 1383049 w 1466597"/>
                <a:gd name="connsiteY668" fmla="*/ 628331 h 790366"/>
                <a:gd name="connsiteX669" fmla="*/ 1380955 w 1466597"/>
                <a:gd name="connsiteY669" fmla="*/ 627712 h 790366"/>
                <a:gd name="connsiteX670" fmla="*/ 1376686 w 1466597"/>
                <a:gd name="connsiteY670" fmla="*/ 629029 h 790366"/>
                <a:gd name="connsiteX671" fmla="*/ 1372971 w 1466597"/>
                <a:gd name="connsiteY671" fmla="*/ 631059 h 790366"/>
                <a:gd name="connsiteX672" fmla="*/ 1371485 w 1466597"/>
                <a:gd name="connsiteY672" fmla="*/ 630267 h 790366"/>
                <a:gd name="connsiteX673" fmla="*/ 1371162 w 1466597"/>
                <a:gd name="connsiteY673" fmla="*/ 629022 h 790366"/>
                <a:gd name="connsiteX674" fmla="*/ 1375141 w 1466597"/>
                <a:gd name="connsiteY674" fmla="*/ 625634 h 790366"/>
                <a:gd name="connsiteX675" fmla="*/ 1376885 w 1466597"/>
                <a:gd name="connsiteY675" fmla="*/ 623761 h 790366"/>
                <a:gd name="connsiteX676" fmla="*/ 1376547 w 1466597"/>
                <a:gd name="connsiteY676" fmla="*/ 622649 h 790366"/>
                <a:gd name="connsiteX677" fmla="*/ 1375262 w 1466597"/>
                <a:gd name="connsiteY677" fmla="*/ 621213 h 790366"/>
                <a:gd name="connsiteX678" fmla="*/ 1375155 w 1466597"/>
                <a:gd name="connsiteY678" fmla="*/ 617607 h 790366"/>
                <a:gd name="connsiteX679" fmla="*/ 1392925 w 1466597"/>
                <a:gd name="connsiteY679" fmla="*/ 612637 h 790366"/>
                <a:gd name="connsiteX680" fmla="*/ 1397926 w 1466597"/>
                <a:gd name="connsiteY680" fmla="*/ 612829 h 790366"/>
                <a:gd name="connsiteX681" fmla="*/ 1399525 w 1466597"/>
                <a:gd name="connsiteY681" fmla="*/ 613311 h 790366"/>
                <a:gd name="connsiteX682" fmla="*/ 1399889 w 1466597"/>
                <a:gd name="connsiteY682" fmla="*/ 614150 h 790366"/>
                <a:gd name="connsiteX683" fmla="*/ 1399807 w 1466597"/>
                <a:gd name="connsiteY683" fmla="*/ 615006 h 790366"/>
                <a:gd name="connsiteX684" fmla="*/ 1399284 w 1466597"/>
                <a:gd name="connsiteY684" fmla="*/ 615870 h 790366"/>
                <a:gd name="connsiteX685" fmla="*/ 1399162 w 1466597"/>
                <a:gd name="connsiteY685" fmla="*/ 616775 h 790366"/>
                <a:gd name="connsiteX686" fmla="*/ 1399443 w 1466597"/>
                <a:gd name="connsiteY686" fmla="*/ 617719 h 790366"/>
                <a:gd name="connsiteX687" fmla="*/ 1398861 w 1466597"/>
                <a:gd name="connsiteY687" fmla="*/ 618653 h 790366"/>
                <a:gd name="connsiteX688" fmla="*/ 1396042 w 1466597"/>
                <a:gd name="connsiteY688" fmla="*/ 620097 h 790366"/>
                <a:gd name="connsiteX689" fmla="*/ 1394739 w 1466597"/>
                <a:gd name="connsiteY689" fmla="*/ 620211 h 790366"/>
                <a:gd name="connsiteX690" fmla="*/ 1393196 w 1466597"/>
                <a:gd name="connsiteY690" fmla="*/ 619660 h 790366"/>
                <a:gd name="connsiteX691" fmla="*/ 1389533 w 1466597"/>
                <a:gd name="connsiteY691" fmla="*/ 616716 h 790366"/>
                <a:gd name="connsiteX692" fmla="*/ 1389467 w 1466597"/>
                <a:gd name="connsiteY692" fmla="*/ 615853 h 790366"/>
                <a:gd name="connsiteX693" fmla="*/ 1389992 w 1466597"/>
                <a:gd name="connsiteY693" fmla="*/ 614872 h 790366"/>
                <a:gd name="connsiteX694" fmla="*/ 1392071 w 1466597"/>
                <a:gd name="connsiteY694" fmla="*/ 613071 h 790366"/>
                <a:gd name="connsiteX695" fmla="*/ 1406248 w 1466597"/>
                <a:gd name="connsiteY695" fmla="*/ 611009 h 790366"/>
                <a:gd name="connsiteX696" fmla="*/ 1407863 w 1466597"/>
                <a:gd name="connsiteY696" fmla="*/ 611417 h 790366"/>
                <a:gd name="connsiteX697" fmla="*/ 1410692 w 1466597"/>
                <a:gd name="connsiteY697" fmla="*/ 615019 h 790366"/>
                <a:gd name="connsiteX698" fmla="*/ 1414231 w 1466597"/>
                <a:gd name="connsiteY698" fmla="*/ 620207 h 790366"/>
                <a:gd name="connsiteX699" fmla="*/ 1413071 w 1466597"/>
                <a:gd name="connsiteY699" fmla="*/ 625067 h 790366"/>
                <a:gd name="connsiteX700" fmla="*/ 1412545 w 1466597"/>
                <a:gd name="connsiteY700" fmla="*/ 631041 h 790366"/>
                <a:gd name="connsiteX701" fmla="*/ 1411535 w 1466597"/>
                <a:gd name="connsiteY701" fmla="*/ 630705 h 790366"/>
                <a:gd name="connsiteX702" fmla="*/ 1410572 w 1466597"/>
                <a:gd name="connsiteY702" fmla="*/ 630692 h 790366"/>
                <a:gd name="connsiteX703" fmla="*/ 1408608 w 1466597"/>
                <a:gd name="connsiteY703" fmla="*/ 631540 h 790366"/>
                <a:gd name="connsiteX704" fmla="*/ 1406534 w 1466597"/>
                <a:gd name="connsiteY704" fmla="*/ 631167 h 790366"/>
                <a:gd name="connsiteX705" fmla="*/ 1405566 w 1466597"/>
                <a:gd name="connsiteY705" fmla="*/ 630505 h 790366"/>
                <a:gd name="connsiteX706" fmla="*/ 1405207 w 1466597"/>
                <a:gd name="connsiteY706" fmla="*/ 629738 h 790366"/>
                <a:gd name="connsiteX707" fmla="*/ 1405579 w 1466597"/>
                <a:gd name="connsiteY707" fmla="*/ 627965 h 790366"/>
                <a:gd name="connsiteX708" fmla="*/ 1404428 w 1466597"/>
                <a:gd name="connsiteY708" fmla="*/ 626976 h 790366"/>
                <a:gd name="connsiteX709" fmla="*/ 1400554 w 1466597"/>
                <a:gd name="connsiteY709" fmla="*/ 626614 h 790366"/>
                <a:gd name="connsiteX710" fmla="*/ 1399103 w 1466597"/>
                <a:gd name="connsiteY710" fmla="*/ 626190 h 790366"/>
                <a:gd name="connsiteX711" fmla="*/ 1398301 w 1466597"/>
                <a:gd name="connsiteY711" fmla="*/ 624322 h 790366"/>
                <a:gd name="connsiteX712" fmla="*/ 1398106 w 1466597"/>
                <a:gd name="connsiteY712" fmla="*/ 621868 h 790366"/>
                <a:gd name="connsiteX713" fmla="*/ 1398712 w 1466597"/>
                <a:gd name="connsiteY713" fmla="*/ 620950 h 790366"/>
                <a:gd name="connsiteX714" fmla="*/ 1400663 w 1466597"/>
                <a:gd name="connsiteY714" fmla="*/ 620299 h 790366"/>
                <a:gd name="connsiteX715" fmla="*/ 1402187 w 1466597"/>
                <a:gd name="connsiteY715" fmla="*/ 617323 h 790366"/>
                <a:gd name="connsiteX716" fmla="*/ 1403030 w 1466597"/>
                <a:gd name="connsiteY716" fmla="*/ 616922 h 790366"/>
                <a:gd name="connsiteX717" fmla="*/ 841515 w 1466597"/>
                <a:gd name="connsiteY717" fmla="*/ 607322 h 790366"/>
                <a:gd name="connsiteX718" fmla="*/ 842897 w 1466597"/>
                <a:gd name="connsiteY718" fmla="*/ 607407 h 790366"/>
                <a:gd name="connsiteX719" fmla="*/ 843369 w 1466597"/>
                <a:gd name="connsiteY719" fmla="*/ 608313 h 790366"/>
                <a:gd name="connsiteX720" fmla="*/ 841677 w 1466597"/>
                <a:gd name="connsiteY720" fmla="*/ 610189 h 790366"/>
                <a:gd name="connsiteX721" fmla="*/ 837298 w 1466597"/>
                <a:gd name="connsiteY721" fmla="*/ 613288 h 790366"/>
                <a:gd name="connsiteX722" fmla="*/ 835554 w 1466597"/>
                <a:gd name="connsiteY722" fmla="*/ 614143 h 790366"/>
                <a:gd name="connsiteX723" fmla="*/ 834974 w 1466597"/>
                <a:gd name="connsiteY723" fmla="*/ 613850 h 790366"/>
                <a:gd name="connsiteX724" fmla="*/ 834893 w 1466597"/>
                <a:gd name="connsiteY724" fmla="*/ 613139 h 790366"/>
                <a:gd name="connsiteX725" fmla="*/ 835305 w 1466597"/>
                <a:gd name="connsiteY725" fmla="*/ 612009 h 790366"/>
                <a:gd name="connsiteX726" fmla="*/ 836112 w 1466597"/>
                <a:gd name="connsiteY726" fmla="*/ 610886 h 790366"/>
                <a:gd name="connsiteX727" fmla="*/ 838806 w 1466597"/>
                <a:gd name="connsiteY727" fmla="*/ 608743 h 790366"/>
                <a:gd name="connsiteX728" fmla="*/ 849187 w 1466597"/>
                <a:gd name="connsiteY728" fmla="*/ 607025 h 790366"/>
                <a:gd name="connsiteX729" fmla="*/ 851900 w 1466597"/>
                <a:gd name="connsiteY729" fmla="*/ 607235 h 790366"/>
                <a:gd name="connsiteX730" fmla="*/ 852109 w 1466597"/>
                <a:gd name="connsiteY730" fmla="*/ 608006 h 790366"/>
                <a:gd name="connsiteX731" fmla="*/ 851983 w 1466597"/>
                <a:gd name="connsiteY731" fmla="*/ 608871 h 790366"/>
                <a:gd name="connsiteX732" fmla="*/ 851758 w 1466597"/>
                <a:gd name="connsiteY732" fmla="*/ 609375 h 790366"/>
                <a:gd name="connsiteX733" fmla="*/ 850894 w 1466597"/>
                <a:gd name="connsiteY733" fmla="*/ 609893 h 790366"/>
                <a:gd name="connsiteX734" fmla="*/ 849393 w 1466597"/>
                <a:gd name="connsiteY734" fmla="*/ 610425 h 790366"/>
                <a:gd name="connsiteX735" fmla="*/ 848140 w 1466597"/>
                <a:gd name="connsiteY735" fmla="*/ 610505 h 790366"/>
                <a:gd name="connsiteX736" fmla="*/ 846244 w 1466597"/>
                <a:gd name="connsiteY736" fmla="*/ 609551 h 790366"/>
                <a:gd name="connsiteX737" fmla="*/ 846497 w 1466597"/>
                <a:gd name="connsiteY737" fmla="*/ 608407 h 790366"/>
                <a:gd name="connsiteX738" fmla="*/ 452801 w 1466597"/>
                <a:gd name="connsiteY738" fmla="*/ 606071 h 790366"/>
                <a:gd name="connsiteX739" fmla="*/ 456150 w 1466597"/>
                <a:gd name="connsiteY739" fmla="*/ 606793 h 790366"/>
                <a:gd name="connsiteX740" fmla="*/ 458024 w 1466597"/>
                <a:gd name="connsiteY740" fmla="*/ 606321 h 790366"/>
                <a:gd name="connsiteX741" fmla="*/ 459677 w 1466597"/>
                <a:gd name="connsiteY741" fmla="*/ 606699 h 790366"/>
                <a:gd name="connsiteX742" fmla="*/ 459967 w 1466597"/>
                <a:gd name="connsiteY742" fmla="*/ 607558 h 790366"/>
                <a:gd name="connsiteX743" fmla="*/ 457097 w 1466597"/>
                <a:gd name="connsiteY743" fmla="*/ 609428 h 790366"/>
                <a:gd name="connsiteX744" fmla="*/ 455929 w 1466597"/>
                <a:gd name="connsiteY744" fmla="*/ 609309 h 790366"/>
                <a:gd name="connsiteX745" fmla="*/ 452522 w 1466597"/>
                <a:gd name="connsiteY745" fmla="*/ 607053 h 790366"/>
                <a:gd name="connsiteX746" fmla="*/ 1394444 w 1466597"/>
                <a:gd name="connsiteY746" fmla="*/ 600270 h 790366"/>
                <a:gd name="connsiteX747" fmla="*/ 1399206 w 1466597"/>
                <a:gd name="connsiteY747" fmla="*/ 604268 h 790366"/>
                <a:gd name="connsiteX748" fmla="*/ 1400664 w 1466597"/>
                <a:gd name="connsiteY748" fmla="*/ 606045 h 790366"/>
                <a:gd name="connsiteX749" fmla="*/ 1401449 w 1466597"/>
                <a:gd name="connsiteY749" fmla="*/ 608217 h 790366"/>
                <a:gd name="connsiteX750" fmla="*/ 1399758 w 1466597"/>
                <a:gd name="connsiteY750" fmla="*/ 609027 h 790366"/>
                <a:gd name="connsiteX751" fmla="*/ 1397712 w 1466597"/>
                <a:gd name="connsiteY751" fmla="*/ 609424 h 790366"/>
                <a:gd name="connsiteX752" fmla="*/ 1396884 w 1466597"/>
                <a:gd name="connsiteY752" fmla="*/ 610034 h 790366"/>
                <a:gd name="connsiteX753" fmla="*/ 1396611 w 1466597"/>
                <a:gd name="connsiteY753" fmla="*/ 610564 h 790366"/>
                <a:gd name="connsiteX754" fmla="*/ 1393367 w 1466597"/>
                <a:gd name="connsiteY754" fmla="*/ 610513 h 790366"/>
                <a:gd name="connsiteX755" fmla="*/ 1392192 w 1466597"/>
                <a:gd name="connsiteY755" fmla="*/ 610078 h 790366"/>
                <a:gd name="connsiteX756" fmla="*/ 1391752 w 1466597"/>
                <a:gd name="connsiteY756" fmla="*/ 608529 h 790366"/>
                <a:gd name="connsiteX757" fmla="*/ 1392053 w 1466597"/>
                <a:gd name="connsiteY757" fmla="*/ 607094 h 790366"/>
                <a:gd name="connsiteX758" fmla="*/ 1392812 w 1466597"/>
                <a:gd name="connsiteY758" fmla="*/ 605985 h 790366"/>
                <a:gd name="connsiteX759" fmla="*/ 1393727 w 1466597"/>
                <a:gd name="connsiteY759" fmla="*/ 603843 h 790366"/>
                <a:gd name="connsiteX760" fmla="*/ 1361262 w 1466597"/>
                <a:gd name="connsiteY760" fmla="*/ 595265 h 790366"/>
                <a:gd name="connsiteX761" fmla="*/ 1363596 w 1466597"/>
                <a:gd name="connsiteY761" fmla="*/ 596505 h 790366"/>
                <a:gd name="connsiteX762" fmla="*/ 1364902 w 1466597"/>
                <a:gd name="connsiteY762" fmla="*/ 597564 h 790366"/>
                <a:gd name="connsiteX763" fmla="*/ 1365182 w 1466597"/>
                <a:gd name="connsiteY763" fmla="*/ 598445 h 790366"/>
                <a:gd name="connsiteX764" fmla="*/ 1366835 w 1466597"/>
                <a:gd name="connsiteY764" fmla="*/ 600965 h 790366"/>
                <a:gd name="connsiteX765" fmla="*/ 1369232 w 1466597"/>
                <a:gd name="connsiteY765" fmla="*/ 600761 h 790366"/>
                <a:gd name="connsiteX766" fmla="*/ 1370577 w 1466597"/>
                <a:gd name="connsiteY766" fmla="*/ 602664 h 790366"/>
                <a:gd name="connsiteX767" fmla="*/ 1371591 w 1466597"/>
                <a:gd name="connsiteY767" fmla="*/ 605512 h 790366"/>
                <a:gd name="connsiteX768" fmla="*/ 1370854 w 1466597"/>
                <a:gd name="connsiteY768" fmla="*/ 607337 h 790366"/>
                <a:gd name="connsiteX769" fmla="*/ 1369789 w 1466597"/>
                <a:gd name="connsiteY769" fmla="*/ 606931 h 790366"/>
                <a:gd name="connsiteX770" fmla="*/ 1368608 w 1466597"/>
                <a:gd name="connsiteY770" fmla="*/ 607988 h 790366"/>
                <a:gd name="connsiteX771" fmla="*/ 1367887 w 1466597"/>
                <a:gd name="connsiteY771" fmla="*/ 611489 h 790366"/>
                <a:gd name="connsiteX772" fmla="*/ 1368222 w 1466597"/>
                <a:gd name="connsiteY772" fmla="*/ 614993 h 790366"/>
                <a:gd name="connsiteX773" fmla="*/ 1367861 w 1466597"/>
                <a:gd name="connsiteY773" fmla="*/ 618479 h 790366"/>
                <a:gd name="connsiteX774" fmla="*/ 1366486 w 1466597"/>
                <a:gd name="connsiteY774" fmla="*/ 622032 h 790366"/>
                <a:gd name="connsiteX775" fmla="*/ 1366200 w 1466597"/>
                <a:gd name="connsiteY775" fmla="*/ 624407 h 790366"/>
                <a:gd name="connsiteX776" fmla="*/ 1365662 w 1466597"/>
                <a:gd name="connsiteY776" fmla="*/ 625121 h 790366"/>
                <a:gd name="connsiteX777" fmla="*/ 1365071 w 1466597"/>
                <a:gd name="connsiteY777" fmla="*/ 625365 h 790366"/>
                <a:gd name="connsiteX778" fmla="*/ 1364304 w 1466597"/>
                <a:gd name="connsiteY778" fmla="*/ 624721 h 790366"/>
                <a:gd name="connsiteX779" fmla="*/ 1363195 w 1466597"/>
                <a:gd name="connsiteY779" fmla="*/ 624217 h 790366"/>
                <a:gd name="connsiteX780" fmla="*/ 1361795 w 1466597"/>
                <a:gd name="connsiteY780" fmla="*/ 626219 h 790366"/>
                <a:gd name="connsiteX781" fmla="*/ 1360080 w 1466597"/>
                <a:gd name="connsiteY781" fmla="*/ 626235 h 790366"/>
                <a:gd name="connsiteX782" fmla="*/ 1358665 w 1466597"/>
                <a:gd name="connsiteY782" fmla="*/ 621685 h 790366"/>
                <a:gd name="connsiteX783" fmla="*/ 1359931 w 1466597"/>
                <a:gd name="connsiteY783" fmla="*/ 614094 h 790366"/>
                <a:gd name="connsiteX784" fmla="*/ 1362764 w 1466597"/>
                <a:gd name="connsiteY784" fmla="*/ 612545 h 790366"/>
                <a:gd name="connsiteX785" fmla="*/ 1361079 w 1466597"/>
                <a:gd name="connsiteY785" fmla="*/ 610477 h 790366"/>
                <a:gd name="connsiteX786" fmla="*/ 1357512 w 1466597"/>
                <a:gd name="connsiteY786" fmla="*/ 608066 h 790366"/>
                <a:gd name="connsiteX787" fmla="*/ 1357816 w 1466597"/>
                <a:gd name="connsiteY787" fmla="*/ 606722 h 790366"/>
                <a:gd name="connsiteX788" fmla="*/ 1355110 w 1466597"/>
                <a:gd name="connsiteY788" fmla="*/ 602842 h 790366"/>
                <a:gd name="connsiteX789" fmla="*/ 1354953 w 1466597"/>
                <a:gd name="connsiteY789" fmla="*/ 601918 h 790366"/>
                <a:gd name="connsiteX790" fmla="*/ 1355384 w 1466597"/>
                <a:gd name="connsiteY790" fmla="*/ 598673 h 790366"/>
                <a:gd name="connsiteX791" fmla="*/ 1357917 w 1466597"/>
                <a:gd name="connsiteY791" fmla="*/ 595780 h 790366"/>
                <a:gd name="connsiteX792" fmla="*/ 1368336 w 1466597"/>
                <a:gd name="connsiteY792" fmla="*/ 590292 h 790366"/>
                <a:gd name="connsiteX793" fmla="*/ 1372373 w 1466597"/>
                <a:gd name="connsiteY793" fmla="*/ 590506 h 790366"/>
                <a:gd name="connsiteX794" fmla="*/ 1381085 w 1466597"/>
                <a:gd name="connsiteY794" fmla="*/ 592670 h 790366"/>
                <a:gd name="connsiteX795" fmla="*/ 1382781 w 1466597"/>
                <a:gd name="connsiteY795" fmla="*/ 593813 h 790366"/>
                <a:gd name="connsiteX796" fmla="*/ 1383704 w 1466597"/>
                <a:gd name="connsiteY796" fmla="*/ 592616 h 790366"/>
                <a:gd name="connsiteX797" fmla="*/ 1385426 w 1466597"/>
                <a:gd name="connsiteY797" fmla="*/ 592672 h 790366"/>
                <a:gd name="connsiteX798" fmla="*/ 1388622 w 1466597"/>
                <a:gd name="connsiteY798" fmla="*/ 593737 h 790366"/>
                <a:gd name="connsiteX799" fmla="*/ 1390523 w 1466597"/>
                <a:gd name="connsiteY799" fmla="*/ 595334 h 790366"/>
                <a:gd name="connsiteX800" fmla="*/ 1391596 w 1466597"/>
                <a:gd name="connsiteY800" fmla="*/ 597159 h 790366"/>
                <a:gd name="connsiteX801" fmla="*/ 1391688 w 1466597"/>
                <a:gd name="connsiteY801" fmla="*/ 598245 h 790366"/>
                <a:gd name="connsiteX802" fmla="*/ 1391362 w 1466597"/>
                <a:gd name="connsiteY802" fmla="*/ 600714 h 790366"/>
                <a:gd name="connsiteX803" fmla="*/ 1391600 w 1466597"/>
                <a:gd name="connsiteY803" fmla="*/ 603238 h 790366"/>
                <a:gd name="connsiteX804" fmla="*/ 1391469 w 1466597"/>
                <a:gd name="connsiteY804" fmla="*/ 604547 h 790366"/>
                <a:gd name="connsiteX805" fmla="*/ 1391043 w 1466597"/>
                <a:gd name="connsiteY805" fmla="*/ 605627 h 790366"/>
                <a:gd name="connsiteX806" fmla="*/ 1390322 w 1466597"/>
                <a:gd name="connsiteY806" fmla="*/ 606481 h 790366"/>
                <a:gd name="connsiteX807" fmla="*/ 1389536 w 1466597"/>
                <a:gd name="connsiteY807" fmla="*/ 606588 h 790366"/>
                <a:gd name="connsiteX808" fmla="*/ 1387050 w 1466597"/>
                <a:gd name="connsiteY808" fmla="*/ 604321 h 790366"/>
                <a:gd name="connsiteX809" fmla="*/ 1384203 w 1466597"/>
                <a:gd name="connsiteY809" fmla="*/ 600231 h 790366"/>
                <a:gd name="connsiteX810" fmla="*/ 1382035 w 1466597"/>
                <a:gd name="connsiteY810" fmla="*/ 598987 h 790366"/>
                <a:gd name="connsiteX811" fmla="*/ 1381947 w 1466597"/>
                <a:gd name="connsiteY811" fmla="*/ 599407 h 790366"/>
                <a:gd name="connsiteX812" fmla="*/ 1382543 w 1466597"/>
                <a:gd name="connsiteY812" fmla="*/ 600580 h 790366"/>
                <a:gd name="connsiteX813" fmla="*/ 1384313 w 1466597"/>
                <a:gd name="connsiteY813" fmla="*/ 602780 h 790366"/>
                <a:gd name="connsiteX814" fmla="*/ 1384629 w 1466597"/>
                <a:gd name="connsiteY814" fmla="*/ 604103 h 790366"/>
                <a:gd name="connsiteX815" fmla="*/ 1385874 w 1466597"/>
                <a:gd name="connsiteY815" fmla="*/ 605715 h 790366"/>
                <a:gd name="connsiteX816" fmla="*/ 1386431 w 1466597"/>
                <a:gd name="connsiteY816" fmla="*/ 606938 h 790366"/>
                <a:gd name="connsiteX817" fmla="*/ 1386747 w 1466597"/>
                <a:gd name="connsiteY817" fmla="*/ 608542 h 790366"/>
                <a:gd name="connsiteX818" fmla="*/ 1386735 w 1466597"/>
                <a:gd name="connsiteY818" fmla="*/ 609942 h 790366"/>
                <a:gd name="connsiteX819" fmla="*/ 1386392 w 1466597"/>
                <a:gd name="connsiteY819" fmla="*/ 611138 h 790366"/>
                <a:gd name="connsiteX820" fmla="*/ 1385815 w 1466597"/>
                <a:gd name="connsiteY820" fmla="*/ 611905 h 790366"/>
                <a:gd name="connsiteX821" fmla="*/ 1385002 w 1466597"/>
                <a:gd name="connsiteY821" fmla="*/ 612245 h 790366"/>
                <a:gd name="connsiteX822" fmla="*/ 1380664 w 1466597"/>
                <a:gd name="connsiteY822" fmla="*/ 611909 h 790366"/>
                <a:gd name="connsiteX823" fmla="*/ 1378076 w 1466597"/>
                <a:gd name="connsiteY823" fmla="*/ 612710 h 790366"/>
                <a:gd name="connsiteX824" fmla="*/ 1375050 w 1466597"/>
                <a:gd name="connsiteY824" fmla="*/ 612263 h 790366"/>
                <a:gd name="connsiteX825" fmla="*/ 1374321 w 1466597"/>
                <a:gd name="connsiteY825" fmla="*/ 611542 h 790366"/>
                <a:gd name="connsiteX826" fmla="*/ 1373865 w 1466597"/>
                <a:gd name="connsiteY826" fmla="*/ 610356 h 790366"/>
                <a:gd name="connsiteX827" fmla="*/ 1373634 w 1466597"/>
                <a:gd name="connsiteY827" fmla="*/ 607475 h 790366"/>
                <a:gd name="connsiteX828" fmla="*/ 1372872 w 1466597"/>
                <a:gd name="connsiteY828" fmla="*/ 603349 h 790366"/>
                <a:gd name="connsiteX829" fmla="*/ 1373056 w 1466597"/>
                <a:gd name="connsiteY829" fmla="*/ 600170 h 790366"/>
                <a:gd name="connsiteX830" fmla="*/ 1371103 w 1466597"/>
                <a:gd name="connsiteY830" fmla="*/ 597291 h 790366"/>
                <a:gd name="connsiteX831" fmla="*/ 1369431 w 1466597"/>
                <a:gd name="connsiteY831" fmla="*/ 595554 h 790366"/>
                <a:gd name="connsiteX832" fmla="*/ 1367026 w 1466597"/>
                <a:gd name="connsiteY832" fmla="*/ 593998 h 790366"/>
                <a:gd name="connsiteX833" fmla="*/ 1365442 w 1466597"/>
                <a:gd name="connsiteY833" fmla="*/ 592449 h 790366"/>
                <a:gd name="connsiteX834" fmla="*/ 1365877 w 1466597"/>
                <a:gd name="connsiteY834" fmla="*/ 591213 h 790366"/>
                <a:gd name="connsiteX835" fmla="*/ 872952 w 1466597"/>
                <a:gd name="connsiteY835" fmla="*/ 586043 h 790366"/>
                <a:gd name="connsiteX836" fmla="*/ 881874 w 1466597"/>
                <a:gd name="connsiteY836" fmla="*/ 586690 h 790366"/>
                <a:gd name="connsiteX837" fmla="*/ 882565 w 1466597"/>
                <a:gd name="connsiteY837" fmla="*/ 587234 h 790366"/>
                <a:gd name="connsiteX838" fmla="*/ 882581 w 1466597"/>
                <a:gd name="connsiteY838" fmla="*/ 587698 h 790366"/>
                <a:gd name="connsiteX839" fmla="*/ 881925 w 1466597"/>
                <a:gd name="connsiteY839" fmla="*/ 588081 h 790366"/>
                <a:gd name="connsiteX840" fmla="*/ 880046 w 1466597"/>
                <a:gd name="connsiteY840" fmla="*/ 588241 h 790366"/>
                <a:gd name="connsiteX841" fmla="*/ 876803 w 1466597"/>
                <a:gd name="connsiteY841" fmla="*/ 589421 h 790366"/>
                <a:gd name="connsiteX842" fmla="*/ 876226 w 1466597"/>
                <a:gd name="connsiteY842" fmla="*/ 589371 h 790366"/>
                <a:gd name="connsiteX843" fmla="*/ 874223 w 1466597"/>
                <a:gd name="connsiteY843" fmla="*/ 591755 h 790366"/>
                <a:gd name="connsiteX844" fmla="*/ 872692 w 1466597"/>
                <a:gd name="connsiteY844" fmla="*/ 592783 h 790366"/>
                <a:gd name="connsiteX845" fmla="*/ 870671 w 1466597"/>
                <a:gd name="connsiteY845" fmla="*/ 590905 h 790366"/>
                <a:gd name="connsiteX846" fmla="*/ 871188 w 1466597"/>
                <a:gd name="connsiteY846" fmla="*/ 587984 h 790366"/>
                <a:gd name="connsiteX847" fmla="*/ 443594 w 1466597"/>
                <a:gd name="connsiteY847" fmla="*/ 583968 h 790366"/>
                <a:gd name="connsiteX848" fmla="*/ 442462 w 1466597"/>
                <a:gd name="connsiteY848" fmla="*/ 586083 h 790366"/>
                <a:gd name="connsiteX849" fmla="*/ 439822 w 1466597"/>
                <a:gd name="connsiteY849" fmla="*/ 587807 h 790366"/>
                <a:gd name="connsiteX850" fmla="*/ 437424 w 1466597"/>
                <a:gd name="connsiteY850" fmla="*/ 587170 h 790366"/>
                <a:gd name="connsiteX851" fmla="*/ 436712 w 1466597"/>
                <a:gd name="connsiteY851" fmla="*/ 585913 h 790366"/>
                <a:gd name="connsiteX852" fmla="*/ 436694 w 1466597"/>
                <a:gd name="connsiteY852" fmla="*/ 585385 h 790366"/>
                <a:gd name="connsiteX853" fmla="*/ 1327962 w 1466597"/>
                <a:gd name="connsiteY853" fmla="*/ 573241 h 790366"/>
                <a:gd name="connsiteX854" fmla="*/ 1330574 w 1466597"/>
                <a:gd name="connsiteY854" fmla="*/ 573287 h 790366"/>
                <a:gd name="connsiteX855" fmla="*/ 1336074 w 1466597"/>
                <a:gd name="connsiteY855" fmla="*/ 577013 h 790366"/>
                <a:gd name="connsiteX856" fmla="*/ 1337744 w 1466597"/>
                <a:gd name="connsiteY856" fmla="*/ 577560 h 790366"/>
                <a:gd name="connsiteX857" fmla="*/ 1340179 w 1466597"/>
                <a:gd name="connsiteY857" fmla="*/ 579955 h 790366"/>
                <a:gd name="connsiteX858" fmla="*/ 1342345 w 1466597"/>
                <a:gd name="connsiteY858" fmla="*/ 583972 h 790366"/>
                <a:gd name="connsiteX859" fmla="*/ 1343918 w 1466597"/>
                <a:gd name="connsiteY859" fmla="*/ 587085 h 790366"/>
                <a:gd name="connsiteX860" fmla="*/ 1345313 w 1466597"/>
                <a:gd name="connsiteY860" fmla="*/ 590822 h 790366"/>
                <a:gd name="connsiteX861" fmla="*/ 1347652 w 1466597"/>
                <a:gd name="connsiteY861" fmla="*/ 598543 h 790366"/>
                <a:gd name="connsiteX862" fmla="*/ 1348741 w 1466597"/>
                <a:gd name="connsiteY862" fmla="*/ 601459 h 790366"/>
                <a:gd name="connsiteX863" fmla="*/ 1349083 w 1466597"/>
                <a:gd name="connsiteY863" fmla="*/ 603049 h 790366"/>
                <a:gd name="connsiteX864" fmla="*/ 1349342 w 1466597"/>
                <a:gd name="connsiteY864" fmla="*/ 607218 h 790366"/>
                <a:gd name="connsiteX865" fmla="*/ 1348991 w 1466597"/>
                <a:gd name="connsiteY865" fmla="*/ 608113 h 790366"/>
                <a:gd name="connsiteX866" fmla="*/ 1348293 w 1466597"/>
                <a:gd name="connsiteY866" fmla="*/ 608934 h 790366"/>
                <a:gd name="connsiteX867" fmla="*/ 1348156 w 1466597"/>
                <a:gd name="connsiteY867" fmla="*/ 610122 h 790366"/>
                <a:gd name="connsiteX868" fmla="*/ 1348803 w 1466597"/>
                <a:gd name="connsiteY868" fmla="*/ 613293 h 790366"/>
                <a:gd name="connsiteX869" fmla="*/ 1348846 w 1466597"/>
                <a:gd name="connsiteY869" fmla="*/ 618107 h 790366"/>
                <a:gd name="connsiteX870" fmla="*/ 1348234 w 1466597"/>
                <a:gd name="connsiteY870" fmla="*/ 620812 h 790366"/>
                <a:gd name="connsiteX871" fmla="*/ 1347522 w 1466597"/>
                <a:gd name="connsiteY871" fmla="*/ 621220 h 790366"/>
                <a:gd name="connsiteX872" fmla="*/ 1345778 w 1466597"/>
                <a:gd name="connsiteY872" fmla="*/ 620333 h 790366"/>
                <a:gd name="connsiteX873" fmla="*/ 1344345 w 1466597"/>
                <a:gd name="connsiteY873" fmla="*/ 618872 h 790366"/>
                <a:gd name="connsiteX874" fmla="*/ 1343285 w 1466597"/>
                <a:gd name="connsiteY874" fmla="*/ 617347 h 790366"/>
                <a:gd name="connsiteX875" fmla="*/ 1340679 w 1466597"/>
                <a:gd name="connsiteY875" fmla="*/ 612527 h 790366"/>
                <a:gd name="connsiteX876" fmla="*/ 1339903 w 1466597"/>
                <a:gd name="connsiteY876" fmla="*/ 610278 h 790366"/>
                <a:gd name="connsiteX877" fmla="*/ 1339856 w 1466597"/>
                <a:gd name="connsiteY877" fmla="*/ 608659 h 790366"/>
                <a:gd name="connsiteX878" fmla="*/ 1340259 w 1466597"/>
                <a:gd name="connsiteY878" fmla="*/ 607482 h 790366"/>
                <a:gd name="connsiteX879" fmla="*/ 1341111 w 1466597"/>
                <a:gd name="connsiteY879" fmla="*/ 606748 h 790366"/>
                <a:gd name="connsiteX880" fmla="*/ 1342594 w 1466597"/>
                <a:gd name="connsiteY880" fmla="*/ 604786 h 790366"/>
                <a:gd name="connsiteX881" fmla="*/ 1342380 w 1466597"/>
                <a:gd name="connsiteY881" fmla="*/ 604474 h 790366"/>
                <a:gd name="connsiteX882" fmla="*/ 1341254 w 1466597"/>
                <a:gd name="connsiteY882" fmla="*/ 604912 h 790366"/>
                <a:gd name="connsiteX883" fmla="*/ 1338952 w 1466597"/>
                <a:gd name="connsiteY883" fmla="*/ 605159 h 790366"/>
                <a:gd name="connsiteX884" fmla="*/ 1336929 w 1466597"/>
                <a:gd name="connsiteY884" fmla="*/ 603611 h 790366"/>
                <a:gd name="connsiteX885" fmla="*/ 1335351 w 1466597"/>
                <a:gd name="connsiteY885" fmla="*/ 602792 h 790366"/>
                <a:gd name="connsiteX886" fmla="*/ 1335669 w 1466597"/>
                <a:gd name="connsiteY886" fmla="*/ 599995 h 790366"/>
                <a:gd name="connsiteX887" fmla="*/ 1335246 w 1466597"/>
                <a:gd name="connsiteY887" fmla="*/ 599203 h 790366"/>
                <a:gd name="connsiteX888" fmla="*/ 1332141 w 1466597"/>
                <a:gd name="connsiteY888" fmla="*/ 600069 h 790366"/>
                <a:gd name="connsiteX889" fmla="*/ 1330974 w 1466597"/>
                <a:gd name="connsiteY889" fmla="*/ 599285 h 790366"/>
                <a:gd name="connsiteX890" fmla="*/ 1330718 w 1466597"/>
                <a:gd name="connsiteY890" fmla="*/ 598234 h 790366"/>
                <a:gd name="connsiteX891" fmla="*/ 1330775 w 1466597"/>
                <a:gd name="connsiteY891" fmla="*/ 596660 h 790366"/>
                <a:gd name="connsiteX892" fmla="*/ 1331369 w 1466597"/>
                <a:gd name="connsiteY892" fmla="*/ 595283 h 790366"/>
                <a:gd name="connsiteX893" fmla="*/ 1334316 w 1466597"/>
                <a:gd name="connsiteY893" fmla="*/ 591801 h 790366"/>
                <a:gd name="connsiteX894" fmla="*/ 1334019 w 1466597"/>
                <a:gd name="connsiteY894" fmla="*/ 591161 h 790366"/>
                <a:gd name="connsiteX895" fmla="*/ 1332587 w 1466597"/>
                <a:gd name="connsiteY895" fmla="*/ 591017 h 790366"/>
                <a:gd name="connsiteX896" fmla="*/ 1330700 w 1466597"/>
                <a:gd name="connsiteY896" fmla="*/ 589823 h 790366"/>
                <a:gd name="connsiteX897" fmla="*/ 1329835 w 1466597"/>
                <a:gd name="connsiteY897" fmla="*/ 585919 h 790366"/>
                <a:gd name="connsiteX898" fmla="*/ 1327802 w 1466597"/>
                <a:gd name="connsiteY898" fmla="*/ 583689 h 790366"/>
                <a:gd name="connsiteX899" fmla="*/ 1326603 w 1466597"/>
                <a:gd name="connsiteY899" fmla="*/ 583893 h 790366"/>
                <a:gd name="connsiteX900" fmla="*/ 1323874 w 1466597"/>
                <a:gd name="connsiteY900" fmla="*/ 590193 h 790366"/>
                <a:gd name="connsiteX901" fmla="*/ 1322523 w 1466597"/>
                <a:gd name="connsiteY901" fmla="*/ 591568 h 790366"/>
                <a:gd name="connsiteX902" fmla="*/ 1318685 w 1466597"/>
                <a:gd name="connsiteY902" fmla="*/ 592452 h 790366"/>
                <a:gd name="connsiteX903" fmla="*/ 1319467 w 1466597"/>
                <a:gd name="connsiteY903" fmla="*/ 590700 h 790366"/>
                <a:gd name="connsiteX904" fmla="*/ 1319822 w 1466597"/>
                <a:gd name="connsiteY904" fmla="*/ 589136 h 790366"/>
                <a:gd name="connsiteX905" fmla="*/ 1318460 w 1466597"/>
                <a:gd name="connsiteY905" fmla="*/ 584384 h 790366"/>
                <a:gd name="connsiteX906" fmla="*/ 1318419 w 1466597"/>
                <a:gd name="connsiteY906" fmla="*/ 582553 h 790366"/>
                <a:gd name="connsiteX907" fmla="*/ 1319327 w 1466597"/>
                <a:gd name="connsiteY907" fmla="*/ 581205 h 790366"/>
                <a:gd name="connsiteX908" fmla="*/ 1322038 w 1466597"/>
                <a:gd name="connsiteY908" fmla="*/ 580644 h 790366"/>
                <a:gd name="connsiteX909" fmla="*/ 1323476 w 1466597"/>
                <a:gd name="connsiteY909" fmla="*/ 579845 h 790366"/>
                <a:gd name="connsiteX910" fmla="*/ 1324598 w 1466597"/>
                <a:gd name="connsiteY910" fmla="*/ 578540 h 790366"/>
                <a:gd name="connsiteX911" fmla="*/ 1324876 w 1466597"/>
                <a:gd name="connsiteY911" fmla="*/ 577266 h 790366"/>
                <a:gd name="connsiteX912" fmla="*/ 1326976 w 1466597"/>
                <a:gd name="connsiteY912" fmla="*/ 573897 h 790366"/>
                <a:gd name="connsiteX913" fmla="*/ 867956 w 1466597"/>
                <a:gd name="connsiteY913" fmla="*/ 557145 h 790366"/>
                <a:gd name="connsiteX914" fmla="*/ 871377 w 1466597"/>
                <a:gd name="connsiteY914" fmla="*/ 558560 h 790366"/>
                <a:gd name="connsiteX915" fmla="*/ 872828 w 1466597"/>
                <a:gd name="connsiteY915" fmla="*/ 559849 h 790366"/>
                <a:gd name="connsiteX916" fmla="*/ 874089 w 1466597"/>
                <a:gd name="connsiteY916" fmla="*/ 561613 h 790366"/>
                <a:gd name="connsiteX917" fmla="*/ 873377 w 1466597"/>
                <a:gd name="connsiteY917" fmla="*/ 562638 h 790366"/>
                <a:gd name="connsiteX918" fmla="*/ 872703 w 1466597"/>
                <a:gd name="connsiteY918" fmla="*/ 562375 h 790366"/>
                <a:gd name="connsiteX919" fmla="*/ 871277 w 1466597"/>
                <a:gd name="connsiteY919" fmla="*/ 561176 h 790366"/>
                <a:gd name="connsiteX920" fmla="*/ 868363 w 1466597"/>
                <a:gd name="connsiteY920" fmla="*/ 559425 h 790366"/>
                <a:gd name="connsiteX921" fmla="*/ 867036 w 1466597"/>
                <a:gd name="connsiteY921" fmla="*/ 558224 h 790366"/>
                <a:gd name="connsiteX922" fmla="*/ 866960 w 1466597"/>
                <a:gd name="connsiteY922" fmla="*/ 557711 h 790366"/>
                <a:gd name="connsiteX923" fmla="*/ 876133 w 1466597"/>
                <a:gd name="connsiteY923" fmla="*/ 557112 h 790366"/>
                <a:gd name="connsiteX924" fmla="*/ 881675 w 1466597"/>
                <a:gd name="connsiteY924" fmla="*/ 558440 h 790366"/>
                <a:gd name="connsiteX925" fmla="*/ 884043 w 1466597"/>
                <a:gd name="connsiteY925" fmla="*/ 559891 h 790366"/>
                <a:gd name="connsiteX926" fmla="*/ 882829 w 1466597"/>
                <a:gd name="connsiteY926" fmla="*/ 562580 h 790366"/>
                <a:gd name="connsiteX927" fmla="*/ 883012 w 1466597"/>
                <a:gd name="connsiteY927" fmla="*/ 564606 h 790366"/>
                <a:gd name="connsiteX928" fmla="*/ 884050 w 1466597"/>
                <a:gd name="connsiteY928" fmla="*/ 564360 h 790366"/>
                <a:gd name="connsiteX929" fmla="*/ 887976 w 1466597"/>
                <a:gd name="connsiteY929" fmla="*/ 562272 h 790366"/>
                <a:gd name="connsiteX930" fmla="*/ 890023 w 1466597"/>
                <a:gd name="connsiteY930" fmla="*/ 561659 h 790366"/>
                <a:gd name="connsiteX931" fmla="*/ 892686 w 1466597"/>
                <a:gd name="connsiteY931" fmla="*/ 561564 h 790366"/>
                <a:gd name="connsiteX932" fmla="*/ 894799 w 1466597"/>
                <a:gd name="connsiteY932" fmla="*/ 562515 h 790366"/>
                <a:gd name="connsiteX933" fmla="*/ 895229 w 1466597"/>
                <a:gd name="connsiteY933" fmla="*/ 563245 h 790366"/>
                <a:gd name="connsiteX934" fmla="*/ 895044 w 1466597"/>
                <a:gd name="connsiteY934" fmla="*/ 564114 h 790366"/>
                <a:gd name="connsiteX935" fmla="*/ 893354 w 1466597"/>
                <a:gd name="connsiteY935" fmla="*/ 565880 h 790366"/>
                <a:gd name="connsiteX936" fmla="*/ 893424 w 1466597"/>
                <a:gd name="connsiteY936" fmla="*/ 567026 h 790366"/>
                <a:gd name="connsiteX937" fmla="*/ 895240 w 1466597"/>
                <a:gd name="connsiteY937" fmla="*/ 569133 h 790366"/>
                <a:gd name="connsiteX938" fmla="*/ 899703 w 1466597"/>
                <a:gd name="connsiteY938" fmla="*/ 570281 h 790366"/>
                <a:gd name="connsiteX939" fmla="*/ 900245 w 1466597"/>
                <a:gd name="connsiteY939" fmla="*/ 570913 h 790366"/>
                <a:gd name="connsiteX940" fmla="*/ 900221 w 1466597"/>
                <a:gd name="connsiteY940" fmla="*/ 571674 h 790366"/>
                <a:gd name="connsiteX941" fmla="*/ 897149 w 1466597"/>
                <a:gd name="connsiteY941" fmla="*/ 575157 h 790366"/>
                <a:gd name="connsiteX942" fmla="*/ 896020 w 1466597"/>
                <a:gd name="connsiteY942" fmla="*/ 575969 h 790366"/>
                <a:gd name="connsiteX943" fmla="*/ 895222 w 1466597"/>
                <a:gd name="connsiteY943" fmla="*/ 576164 h 790366"/>
                <a:gd name="connsiteX944" fmla="*/ 889642 w 1466597"/>
                <a:gd name="connsiteY944" fmla="*/ 575538 h 790366"/>
                <a:gd name="connsiteX945" fmla="*/ 884535 w 1466597"/>
                <a:gd name="connsiteY945" fmla="*/ 574397 h 790366"/>
                <a:gd name="connsiteX946" fmla="*/ 882467 w 1466597"/>
                <a:gd name="connsiteY946" fmla="*/ 574205 h 790366"/>
                <a:gd name="connsiteX947" fmla="*/ 881738 w 1466597"/>
                <a:gd name="connsiteY947" fmla="*/ 574574 h 790366"/>
                <a:gd name="connsiteX948" fmla="*/ 880291 w 1466597"/>
                <a:gd name="connsiteY948" fmla="*/ 575644 h 790366"/>
                <a:gd name="connsiteX949" fmla="*/ 881329 w 1466597"/>
                <a:gd name="connsiteY949" fmla="*/ 575959 h 790366"/>
                <a:gd name="connsiteX950" fmla="*/ 885805 w 1466597"/>
                <a:gd name="connsiteY950" fmla="*/ 576213 h 790366"/>
                <a:gd name="connsiteX951" fmla="*/ 887382 w 1466597"/>
                <a:gd name="connsiteY951" fmla="*/ 577775 h 790366"/>
                <a:gd name="connsiteX952" fmla="*/ 888070 w 1466597"/>
                <a:gd name="connsiteY952" fmla="*/ 578922 h 790366"/>
                <a:gd name="connsiteX953" fmla="*/ 888414 w 1466597"/>
                <a:gd name="connsiteY953" fmla="*/ 580185 h 790366"/>
                <a:gd name="connsiteX954" fmla="*/ 887522 w 1466597"/>
                <a:gd name="connsiteY954" fmla="*/ 580704 h 790366"/>
                <a:gd name="connsiteX955" fmla="*/ 885606 w 1466597"/>
                <a:gd name="connsiteY955" fmla="*/ 581080 h 790366"/>
                <a:gd name="connsiteX956" fmla="*/ 883312 w 1466597"/>
                <a:gd name="connsiteY956" fmla="*/ 581076 h 790366"/>
                <a:gd name="connsiteX957" fmla="*/ 880474 w 1466597"/>
                <a:gd name="connsiteY957" fmla="*/ 582497 h 790366"/>
                <a:gd name="connsiteX958" fmla="*/ 878910 w 1466597"/>
                <a:gd name="connsiteY958" fmla="*/ 584120 h 790366"/>
                <a:gd name="connsiteX959" fmla="*/ 873228 w 1466597"/>
                <a:gd name="connsiteY959" fmla="*/ 584532 h 790366"/>
                <a:gd name="connsiteX960" fmla="*/ 868908 w 1466597"/>
                <a:gd name="connsiteY960" fmla="*/ 586696 h 790366"/>
                <a:gd name="connsiteX961" fmla="*/ 867381 w 1466597"/>
                <a:gd name="connsiteY961" fmla="*/ 587764 h 790366"/>
                <a:gd name="connsiteX962" fmla="*/ 866848 w 1466597"/>
                <a:gd name="connsiteY962" fmla="*/ 589038 h 790366"/>
                <a:gd name="connsiteX963" fmla="*/ 865220 w 1466597"/>
                <a:gd name="connsiteY963" fmla="*/ 589965 h 790366"/>
                <a:gd name="connsiteX964" fmla="*/ 861538 w 1466597"/>
                <a:gd name="connsiteY964" fmla="*/ 590890 h 790366"/>
                <a:gd name="connsiteX965" fmla="*/ 863734 w 1466597"/>
                <a:gd name="connsiteY965" fmla="*/ 591719 h 790366"/>
                <a:gd name="connsiteX966" fmla="*/ 864078 w 1466597"/>
                <a:gd name="connsiteY966" fmla="*/ 592423 h 790366"/>
                <a:gd name="connsiteX967" fmla="*/ 864118 w 1466597"/>
                <a:gd name="connsiteY967" fmla="*/ 593393 h 790366"/>
                <a:gd name="connsiteX968" fmla="*/ 863816 w 1466597"/>
                <a:gd name="connsiteY968" fmla="*/ 594230 h 790366"/>
                <a:gd name="connsiteX969" fmla="*/ 860910 w 1466597"/>
                <a:gd name="connsiteY969" fmla="*/ 597959 h 790366"/>
                <a:gd name="connsiteX970" fmla="*/ 855412 w 1466597"/>
                <a:gd name="connsiteY970" fmla="*/ 601018 h 790366"/>
                <a:gd name="connsiteX971" fmla="*/ 854019 w 1466597"/>
                <a:gd name="connsiteY971" fmla="*/ 600882 h 790366"/>
                <a:gd name="connsiteX972" fmla="*/ 853422 w 1466597"/>
                <a:gd name="connsiteY972" fmla="*/ 600500 h 790366"/>
                <a:gd name="connsiteX973" fmla="*/ 852931 w 1466597"/>
                <a:gd name="connsiteY973" fmla="*/ 599915 h 790366"/>
                <a:gd name="connsiteX974" fmla="*/ 852909 w 1466597"/>
                <a:gd name="connsiteY974" fmla="*/ 599329 h 790366"/>
                <a:gd name="connsiteX975" fmla="*/ 859991 w 1466597"/>
                <a:gd name="connsiteY975" fmla="*/ 593182 h 790366"/>
                <a:gd name="connsiteX976" fmla="*/ 859712 w 1466597"/>
                <a:gd name="connsiteY976" fmla="*/ 592879 h 790366"/>
                <a:gd name="connsiteX977" fmla="*/ 857785 w 1466597"/>
                <a:gd name="connsiteY977" fmla="*/ 592671 h 790366"/>
                <a:gd name="connsiteX978" fmla="*/ 854733 w 1466597"/>
                <a:gd name="connsiteY978" fmla="*/ 590978 h 790366"/>
                <a:gd name="connsiteX979" fmla="*/ 852579 w 1466597"/>
                <a:gd name="connsiteY979" fmla="*/ 592066 h 790366"/>
                <a:gd name="connsiteX980" fmla="*/ 852089 w 1466597"/>
                <a:gd name="connsiteY980" fmla="*/ 592024 h 790366"/>
                <a:gd name="connsiteX981" fmla="*/ 852664 w 1466597"/>
                <a:gd name="connsiteY981" fmla="*/ 590572 h 790366"/>
                <a:gd name="connsiteX982" fmla="*/ 854068 w 1466597"/>
                <a:gd name="connsiteY982" fmla="*/ 588840 h 790366"/>
                <a:gd name="connsiteX983" fmla="*/ 853823 w 1466597"/>
                <a:gd name="connsiteY983" fmla="*/ 588353 h 790366"/>
                <a:gd name="connsiteX984" fmla="*/ 853049 w 1466597"/>
                <a:gd name="connsiteY984" fmla="*/ 587921 h 790366"/>
                <a:gd name="connsiteX985" fmla="*/ 851277 w 1466597"/>
                <a:gd name="connsiteY985" fmla="*/ 587661 h 790366"/>
                <a:gd name="connsiteX986" fmla="*/ 848499 w 1466597"/>
                <a:gd name="connsiteY986" fmla="*/ 587579 h 790366"/>
                <a:gd name="connsiteX987" fmla="*/ 846440 w 1466597"/>
                <a:gd name="connsiteY987" fmla="*/ 587990 h 790366"/>
                <a:gd name="connsiteX988" fmla="*/ 845104 w 1466597"/>
                <a:gd name="connsiteY988" fmla="*/ 588894 h 790366"/>
                <a:gd name="connsiteX989" fmla="*/ 844995 w 1466597"/>
                <a:gd name="connsiteY989" fmla="*/ 589278 h 790366"/>
                <a:gd name="connsiteX990" fmla="*/ 847841 w 1466597"/>
                <a:gd name="connsiteY990" fmla="*/ 589170 h 790366"/>
                <a:gd name="connsiteX991" fmla="*/ 848615 w 1466597"/>
                <a:gd name="connsiteY991" fmla="*/ 589630 h 790366"/>
                <a:gd name="connsiteX992" fmla="*/ 849381 w 1466597"/>
                <a:gd name="connsiteY992" fmla="*/ 590489 h 790366"/>
                <a:gd name="connsiteX993" fmla="*/ 849848 w 1466597"/>
                <a:gd name="connsiteY993" fmla="*/ 591481 h 790366"/>
                <a:gd name="connsiteX994" fmla="*/ 850014 w 1466597"/>
                <a:gd name="connsiteY994" fmla="*/ 592606 h 790366"/>
                <a:gd name="connsiteX995" fmla="*/ 849418 w 1466597"/>
                <a:gd name="connsiteY995" fmla="*/ 594118 h 790366"/>
                <a:gd name="connsiteX996" fmla="*/ 848060 w 1466597"/>
                <a:gd name="connsiteY996" fmla="*/ 596013 h 790366"/>
                <a:gd name="connsiteX997" fmla="*/ 846070 w 1466597"/>
                <a:gd name="connsiteY997" fmla="*/ 595681 h 790366"/>
                <a:gd name="connsiteX998" fmla="*/ 841993 w 1466597"/>
                <a:gd name="connsiteY998" fmla="*/ 591466 h 790366"/>
                <a:gd name="connsiteX999" fmla="*/ 840193 w 1466597"/>
                <a:gd name="connsiteY999" fmla="*/ 585281 h 790366"/>
                <a:gd name="connsiteX1000" fmla="*/ 836708 w 1466597"/>
                <a:gd name="connsiteY1000" fmla="*/ 580543 h 790366"/>
                <a:gd name="connsiteX1001" fmla="*/ 836549 w 1466597"/>
                <a:gd name="connsiteY1001" fmla="*/ 579410 h 790366"/>
                <a:gd name="connsiteX1002" fmla="*/ 837543 w 1466597"/>
                <a:gd name="connsiteY1002" fmla="*/ 576482 h 790366"/>
                <a:gd name="connsiteX1003" fmla="*/ 841061 w 1466597"/>
                <a:gd name="connsiteY1003" fmla="*/ 572321 h 790366"/>
                <a:gd name="connsiteX1004" fmla="*/ 844843 w 1466597"/>
                <a:gd name="connsiteY1004" fmla="*/ 571179 h 790366"/>
                <a:gd name="connsiteX1005" fmla="*/ 847537 w 1466597"/>
                <a:gd name="connsiteY1005" fmla="*/ 569427 h 790366"/>
                <a:gd name="connsiteX1006" fmla="*/ 850142 w 1466597"/>
                <a:gd name="connsiteY1006" fmla="*/ 568899 h 790366"/>
                <a:gd name="connsiteX1007" fmla="*/ 851753 w 1466597"/>
                <a:gd name="connsiteY1007" fmla="*/ 568944 h 790366"/>
                <a:gd name="connsiteX1008" fmla="*/ 853956 w 1466597"/>
                <a:gd name="connsiteY1008" fmla="*/ 569699 h 790366"/>
                <a:gd name="connsiteX1009" fmla="*/ 854844 w 1466597"/>
                <a:gd name="connsiteY1009" fmla="*/ 571295 h 790366"/>
                <a:gd name="connsiteX1010" fmla="*/ 854312 w 1466597"/>
                <a:gd name="connsiteY1010" fmla="*/ 572046 h 790366"/>
                <a:gd name="connsiteX1011" fmla="*/ 854515 w 1466597"/>
                <a:gd name="connsiteY1011" fmla="*/ 572440 h 790366"/>
                <a:gd name="connsiteX1012" fmla="*/ 856059 w 1466597"/>
                <a:gd name="connsiteY1012" fmla="*/ 573398 h 790366"/>
                <a:gd name="connsiteX1013" fmla="*/ 857730 w 1466597"/>
                <a:gd name="connsiteY1013" fmla="*/ 576742 h 790366"/>
                <a:gd name="connsiteX1014" fmla="*/ 859680 w 1466597"/>
                <a:gd name="connsiteY1014" fmla="*/ 579705 h 790366"/>
                <a:gd name="connsiteX1015" fmla="*/ 860977 w 1466597"/>
                <a:gd name="connsiteY1015" fmla="*/ 580909 h 790366"/>
                <a:gd name="connsiteX1016" fmla="*/ 862684 w 1466597"/>
                <a:gd name="connsiteY1016" fmla="*/ 581649 h 790366"/>
                <a:gd name="connsiteX1017" fmla="*/ 860918 w 1466597"/>
                <a:gd name="connsiteY1017" fmla="*/ 579388 h 790366"/>
                <a:gd name="connsiteX1018" fmla="*/ 859874 w 1466597"/>
                <a:gd name="connsiteY1018" fmla="*/ 576587 h 790366"/>
                <a:gd name="connsiteX1019" fmla="*/ 859350 w 1466597"/>
                <a:gd name="connsiteY1019" fmla="*/ 570991 h 790366"/>
                <a:gd name="connsiteX1020" fmla="*/ 858846 w 1466597"/>
                <a:gd name="connsiteY1020" fmla="*/ 569511 h 790366"/>
                <a:gd name="connsiteX1021" fmla="*/ 859832 w 1466597"/>
                <a:gd name="connsiteY1021" fmla="*/ 569111 h 790366"/>
                <a:gd name="connsiteX1022" fmla="*/ 862621 w 1466597"/>
                <a:gd name="connsiteY1022" fmla="*/ 569331 h 790366"/>
                <a:gd name="connsiteX1023" fmla="*/ 862544 w 1466597"/>
                <a:gd name="connsiteY1023" fmla="*/ 568496 h 790366"/>
                <a:gd name="connsiteX1024" fmla="*/ 859603 w 1466597"/>
                <a:gd name="connsiteY1024" fmla="*/ 566605 h 790366"/>
                <a:gd name="connsiteX1025" fmla="*/ 857793 w 1466597"/>
                <a:gd name="connsiteY1025" fmla="*/ 565041 h 790366"/>
                <a:gd name="connsiteX1026" fmla="*/ 857112 w 1466597"/>
                <a:gd name="connsiteY1026" fmla="*/ 563803 h 790366"/>
                <a:gd name="connsiteX1027" fmla="*/ 857154 w 1466597"/>
                <a:gd name="connsiteY1027" fmla="*/ 562729 h 790366"/>
                <a:gd name="connsiteX1028" fmla="*/ 858760 w 1466597"/>
                <a:gd name="connsiteY1028" fmla="*/ 561144 h 790366"/>
                <a:gd name="connsiteX1029" fmla="*/ 859670 w 1466597"/>
                <a:gd name="connsiteY1029" fmla="*/ 560692 h 790366"/>
                <a:gd name="connsiteX1030" fmla="*/ 860610 w 1466597"/>
                <a:gd name="connsiteY1030" fmla="*/ 560496 h 790366"/>
                <a:gd name="connsiteX1031" fmla="*/ 862482 w 1466597"/>
                <a:gd name="connsiteY1031" fmla="*/ 560833 h 790366"/>
                <a:gd name="connsiteX1032" fmla="*/ 863323 w 1466597"/>
                <a:gd name="connsiteY1032" fmla="*/ 561329 h 790366"/>
                <a:gd name="connsiteX1033" fmla="*/ 865723 w 1466597"/>
                <a:gd name="connsiteY1033" fmla="*/ 564898 h 790366"/>
                <a:gd name="connsiteX1034" fmla="*/ 866847 w 1466597"/>
                <a:gd name="connsiteY1034" fmla="*/ 566006 h 790366"/>
                <a:gd name="connsiteX1035" fmla="*/ 867780 w 1466597"/>
                <a:gd name="connsiteY1035" fmla="*/ 566008 h 790366"/>
                <a:gd name="connsiteX1036" fmla="*/ 868644 w 1466597"/>
                <a:gd name="connsiteY1036" fmla="*/ 565416 h 790366"/>
                <a:gd name="connsiteX1037" fmla="*/ 869443 w 1466597"/>
                <a:gd name="connsiteY1037" fmla="*/ 564231 h 790366"/>
                <a:gd name="connsiteX1038" fmla="*/ 870267 w 1466597"/>
                <a:gd name="connsiteY1038" fmla="*/ 563522 h 790366"/>
                <a:gd name="connsiteX1039" fmla="*/ 871116 w 1466597"/>
                <a:gd name="connsiteY1039" fmla="*/ 563290 h 790366"/>
                <a:gd name="connsiteX1040" fmla="*/ 873788 w 1466597"/>
                <a:gd name="connsiteY1040" fmla="*/ 563813 h 790366"/>
                <a:gd name="connsiteX1041" fmla="*/ 874679 w 1466597"/>
                <a:gd name="connsiteY1041" fmla="*/ 563620 h 790366"/>
                <a:gd name="connsiteX1042" fmla="*/ 875117 w 1466597"/>
                <a:gd name="connsiteY1042" fmla="*/ 562725 h 790366"/>
                <a:gd name="connsiteX1043" fmla="*/ 875099 w 1466597"/>
                <a:gd name="connsiteY1043" fmla="*/ 561128 h 790366"/>
                <a:gd name="connsiteX1044" fmla="*/ 875757 w 1466597"/>
                <a:gd name="connsiteY1044" fmla="*/ 560552 h 790366"/>
                <a:gd name="connsiteX1045" fmla="*/ 875919 w 1466597"/>
                <a:gd name="connsiteY1045" fmla="*/ 559378 h 790366"/>
                <a:gd name="connsiteX1046" fmla="*/ 874463 w 1466597"/>
                <a:gd name="connsiteY1046" fmla="*/ 557642 h 790366"/>
                <a:gd name="connsiteX1047" fmla="*/ 1319328 w 1466597"/>
                <a:gd name="connsiteY1047" fmla="*/ 546123 h 790366"/>
                <a:gd name="connsiteX1048" fmla="*/ 1320775 w 1466597"/>
                <a:gd name="connsiteY1048" fmla="*/ 547023 h 790366"/>
                <a:gd name="connsiteX1049" fmla="*/ 1324420 w 1466597"/>
                <a:gd name="connsiteY1049" fmla="*/ 550639 h 790366"/>
                <a:gd name="connsiteX1050" fmla="*/ 1324451 w 1466597"/>
                <a:gd name="connsiteY1050" fmla="*/ 551468 h 790366"/>
                <a:gd name="connsiteX1051" fmla="*/ 1323710 w 1466597"/>
                <a:gd name="connsiteY1051" fmla="*/ 553948 h 790366"/>
                <a:gd name="connsiteX1052" fmla="*/ 1321726 w 1466597"/>
                <a:gd name="connsiteY1052" fmla="*/ 554649 h 790366"/>
                <a:gd name="connsiteX1053" fmla="*/ 1322287 w 1466597"/>
                <a:gd name="connsiteY1053" fmla="*/ 555633 h 790366"/>
                <a:gd name="connsiteX1054" fmla="*/ 1323763 w 1466597"/>
                <a:gd name="connsiteY1054" fmla="*/ 556377 h 790366"/>
                <a:gd name="connsiteX1055" fmla="*/ 1324815 w 1466597"/>
                <a:gd name="connsiteY1055" fmla="*/ 555758 h 790366"/>
                <a:gd name="connsiteX1056" fmla="*/ 1328663 w 1466597"/>
                <a:gd name="connsiteY1056" fmla="*/ 552284 h 790366"/>
                <a:gd name="connsiteX1057" fmla="*/ 1329849 w 1466597"/>
                <a:gd name="connsiteY1057" fmla="*/ 551553 h 790366"/>
                <a:gd name="connsiteX1058" fmla="*/ 1330564 w 1466597"/>
                <a:gd name="connsiteY1058" fmla="*/ 551479 h 790366"/>
                <a:gd name="connsiteX1059" fmla="*/ 1335253 w 1466597"/>
                <a:gd name="connsiteY1059" fmla="*/ 552526 h 790366"/>
                <a:gd name="connsiteX1060" fmla="*/ 1339354 w 1466597"/>
                <a:gd name="connsiteY1060" fmla="*/ 554184 h 790366"/>
                <a:gd name="connsiteX1061" fmla="*/ 1340563 w 1466597"/>
                <a:gd name="connsiteY1061" fmla="*/ 555507 h 790366"/>
                <a:gd name="connsiteX1062" fmla="*/ 1341244 w 1466597"/>
                <a:gd name="connsiteY1062" fmla="*/ 557821 h 790366"/>
                <a:gd name="connsiteX1063" fmla="*/ 1340156 w 1466597"/>
                <a:gd name="connsiteY1063" fmla="*/ 562826 h 790366"/>
                <a:gd name="connsiteX1064" fmla="*/ 1336790 w 1466597"/>
                <a:gd name="connsiteY1064" fmla="*/ 563697 h 790366"/>
                <a:gd name="connsiteX1065" fmla="*/ 1335204 w 1466597"/>
                <a:gd name="connsiteY1065" fmla="*/ 563606 h 790366"/>
                <a:gd name="connsiteX1066" fmla="*/ 1333510 w 1466597"/>
                <a:gd name="connsiteY1066" fmla="*/ 562879 h 790366"/>
                <a:gd name="connsiteX1067" fmla="*/ 1330773 w 1466597"/>
                <a:gd name="connsiteY1067" fmla="*/ 564618 h 790366"/>
                <a:gd name="connsiteX1068" fmla="*/ 1333041 w 1466597"/>
                <a:gd name="connsiteY1068" fmla="*/ 565948 h 790366"/>
                <a:gd name="connsiteX1069" fmla="*/ 1339947 w 1466597"/>
                <a:gd name="connsiteY1069" fmla="*/ 566251 h 790366"/>
                <a:gd name="connsiteX1070" fmla="*/ 1342044 w 1466597"/>
                <a:gd name="connsiteY1070" fmla="*/ 569062 h 790366"/>
                <a:gd name="connsiteX1071" fmla="*/ 1342645 w 1466597"/>
                <a:gd name="connsiteY1071" fmla="*/ 571225 h 790366"/>
                <a:gd name="connsiteX1072" fmla="*/ 1341155 w 1466597"/>
                <a:gd name="connsiteY1072" fmla="*/ 575195 h 790366"/>
                <a:gd name="connsiteX1073" fmla="*/ 1337242 w 1466597"/>
                <a:gd name="connsiteY1073" fmla="*/ 574097 h 790366"/>
                <a:gd name="connsiteX1074" fmla="*/ 1333790 w 1466597"/>
                <a:gd name="connsiteY1074" fmla="*/ 571797 h 790366"/>
                <a:gd name="connsiteX1075" fmla="*/ 1326708 w 1466597"/>
                <a:gd name="connsiteY1075" fmla="*/ 568537 h 790366"/>
                <a:gd name="connsiteX1076" fmla="*/ 1325013 w 1466597"/>
                <a:gd name="connsiteY1076" fmla="*/ 568385 h 790366"/>
                <a:gd name="connsiteX1077" fmla="*/ 1323884 w 1466597"/>
                <a:gd name="connsiteY1077" fmla="*/ 568961 h 790366"/>
                <a:gd name="connsiteX1078" fmla="*/ 1323574 w 1466597"/>
                <a:gd name="connsiteY1078" fmla="*/ 570939 h 790366"/>
                <a:gd name="connsiteX1079" fmla="*/ 1323645 w 1466597"/>
                <a:gd name="connsiteY1079" fmla="*/ 575224 h 790366"/>
                <a:gd name="connsiteX1080" fmla="*/ 1321756 w 1466597"/>
                <a:gd name="connsiteY1080" fmla="*/ 577442 h 790366"/>
                <a:gd name="connsiteX1081" fmla="*/ 1316172 w 1466597"/>
                <a:gd name="connsiteY1081" fmla="*/ 576464 h 790366"/>
                <a:gd name="connsiteX1082" fmla="*/ 1313981 w 1466597"/>
                <a:gd name="connsiteY1082" fmla="*/ 573222 h 790366"/>
                <a:gd name="connsiteX1083" fmla="*/ 1311943 w 1466597"/>
                <a:gd name="connsiteY1083" fmla="*/ 568084 h 790366"/>
                <a:gd name="connsiteX1084" fmla="*/ 1304249 w 1466597"/>
                <a:gd name="connsiteY1084" fmla="*/ 561986 h 790366"/>
                <a:gd name="connsiteX1085" fmla="*/ 1302164 w 1466597"/>
                <a:gd name="connsiteY1085" fmla="*/ 560764 h 790366"/>
                <a:gd name="connsiteX1086" fmla="*/ 1299392 w 1466597"/>
                <a:gd name="connsiteY1086" fmla="*/ 557104 h 790366"/>
                <a:gd name="connsiteX1087" fmla="*/ 1300502 w 1466597"/>
                <a:gd name="connsiteY1087" fmla="*/ 554202 h 790366"/>
                <a:gd name="connsiteX1088" fmla="*/ 1300829 w 1466597"/>
                <a:gd name="connsiteY1088" fmla="*/ 552521 h 790366"/>
                <a:gd name="connsiteX1089" fmla="*/ 1302305 w 1466597"/>
                <a:gd name="connsiteY1089" fmla="*/ 552076 h 790366"/>
                <a:gd name="connsiteX1090" fmla="*/ 1304471 w 1466597"/>
                <a:gd name="connsiteY1090" fmla="*/ 550777 h 790366"/>
                <a:gd name="connsiteX1091" fmla="*/ 1305683 w 1466597"/>
                <a:gd name="connsiteY1091" fmla="*/ 547964 h 790366"/>
                <a:gd name="connsiteX1092" fmla="*/ 1307629 w 1466597"/>
                <a:gd name="connsiteY1092" fmla="*/ 550243 h 790366"/>
                <a:gd name="connsiteX1093" fmla="*/ 1310229 w 1466597"/>
                <a:gd name="connsiteY1093" fmla="*/ 552429 h 790366"/>
                <a:gd name="connsiteX1094" fmla="*/ 1310267 w 1466597"/>
                <a:gd name="connsiteY1094" fmla="*/ 550375 h 790366"/>
                <a:gd name="connsiteX1095" fmla="*/ 1311489 w 1466597"/>
                <a:gd name="connsiteY1095" fmla="*/ 548735 h 790366"/>
                <a:gd name="connsiteX1096" fmla="*/ 1314040 w 1466597"/>
                <a:gd name="connsiteY1096" fmla="*/ 548795 h 790366"/>
                <a:gd name="connsiteX1097" fmla="*/ 1315239 w 1466597"/>
                <a:gd name="connsiteY1097" fmla="*/ 548450 h 790366"/>
                <a:gd name="connsiteX1098" fmla="*/ 1316914 w 1466597"/>
                <a:gd name="connsiteY1098" fmla="*/ 546916 h 790366"/>
                <a:gd name="connsiteX1099" fmla="*/ 1351652 w 1466597"/>
                <a:gd name="connsiteY1099" fmla="*/ 543744 h 790366"/>
                <a:gd name="connsiteX1100" fmla="*/ 1354742 w 1466597"/>
                <a:gd name="connsiteY1100" fmla="*/ 545429 h 790366"/>
                <a:gd name="connsiteX1101" fmla="*/ 1356940 w 1466597"/>
                <a:gd name="connsiteY1101" fmla="*/ 547594 h 790366"/>
                <a:gd name="connsiteX1102" fmla="*/ 1356758 w 1466597"/>
                <a:gd name="connsiteY1102" fmla="*/ 548514 h 790366"/>
                <a:gd name="connsiteX1103" fmla="*/ 1353279 w 1466597"/>
                <a:gd name="connsiteY1103" fmla="*/ 548424 h 790366"/>
                <a:gd name="connsiteX1104" fmla="*/ 1349765 w 1466597"/>
                <a:gd name="connsiteY1104" fmla="*/ 547065 h 790366"/>
                <a:gd name="connsiteX1105" fmla="*/ 1348040 w 1466597"/>
                <a:gd name="connsiteY1105" fmla="*/ 545291 h 790366"/>
                <a:gd name="connsiteX1106" fmla="*/ 1348386 w 1466597"/>
                <a:gd name="connsiteY1106" fmla="*/ 544492 h 790366"/>
                <a:gd name="connsiteX1107" fmla="*/ 1341359 w 1466597"/>
                <a:gd name="connsiteY1107" fmla="*/ 542923 h 790366"/>
                <a:gd name="connsiteX1108" fmla="*/ 1343566 w 1466597"/>
                <a:gd name="connsiteY1108" fmla="*/ 544203 h 790366"/>
                <a:gd name="connsiteX1109" fmla="*/ 1346214 w 1466597"/>
                <a:gd name="connsiteY1109" fmla="*/ 547738 h 790366"/>
                <a:gd name="connsiteX1110" fmla="*/ 1347563 w 1466597"/>
                <a:gd name="connsiteY1110" fmla="*/ 550087 h 790366"/>
                <a:gd name="connsiteX1111" fmla="*/ 1354047 w 1466597"/>
                <a:gd name="connsiteY1111" fmla="*/ 550935 h 790366"/>
                <a:gd name="connsiteX1112" fmla="*/ 1358792 w 1466597"/>
                <a:gd name="connsiteY1112" fmla="*/ 550742 h 790366"/>
                <a:gd name="connsiteX1113" fmla="*/ 1363128 w 1466597"/>
                <a:gd name="connsiteY1113" fmla="*/ 556277 h 790366"/>
                <a:gd name="connsiteX1114" fmla="*/ 1365796 w 1466597"/>
                <a:gd name="connsiteY1114" fmla="*/ 560740 h 790366"/>
                <a:gd name="connsiteX1115" fmla="*/ 1367365 w 1466597"/>
                <a:gd name="connsiteY1115" fmla="*/ 563861 h 790366"/>
                <a:gd name="connsiteX1116" fmla="*/ 1368252 w 1466597"/>
                <a:gd name="connsiteY1116" fmla="*/ 566871 h 790366"/>
                <a:gd name="connsiteX1117" fmla="*/ 1369440 w 1466597"/>
                <a:gd name="connsiteY1117" fmla="*/ 569774 h 790366"/>
                <a:gd name="connsiteX1118" fmla="*/ 1369333 w 1466597"/>
                <a:gd name="connsiteY1118" fmla="*/ 570182 h 790366"/>
                <a:gd name="connsiteX1119" fmla="*/ 1366831 w 1466597"/>
                <a:gd name="connsiteY1119" fmla="*/ 568224 h 790366"/>
                <a:gd name="connsiteX1120" fmla="*/ 1365030 w 1466597"/>
                <a:gd name="connsiteY1120" fmla="*/ 564256 h 790366"/>
                <a:gd name="connsiteX1121" fmla="*/ 1364111 w 1466597"/>
                <a:gd name="connsiteY1121" fmla="*/ 562702 h 790366"/>
                <a:gd name="connsiteX1122" fmla="*/ 1363202 w 1466597"/>
                <a:gd name="connsiteY1122" fmla="*/ 562000 h 790366"/>
                <a:gd name="connsiteX1123" fmla="*/ 1362246 w 1466597"/>
                <a:gd name="connsiteY1123" fmla="*/ 560535 h 790366"/>
                <a:gd name="connsiteX1124" fmla="*/ 1360388 w 1466597"/>
                <a:gd name="connsiteY1124" fmla="*/ 556734 h 790366"/>
                <a:gd name="connsiteX1125" fmla="*/ 1360319 w 1466597"/>
                <a:gd name="connsiteY1125" fmla="*/ 555662 h 790366"/>
                <a:gd name="connsiteX1126" fmla="*/ 1359494 w 1466597"/>
                <a:gd name="connsiteY1126" fmla="*/ 554670 h 790366"/>
                <a:gd name="connsiteX1127" fmla="*/ 1358540 w 1466597"/>
                <a:gd name="connsiteY1127" fmla="*/ 554255 h 790366"/>
                <a:gd name="connsiteX1128" fmla="*/ 1357460 w 1466597"/>
                <a:gd name="connsiteY1128" fmla="*/ 554420 h 790366"/>
                <a:gd name="connsiteX1129" fmla="*/ 1357089 w 1466597"/>
                <a:gd name="connsiteY1129" fmla="*/ 554803 h 790366"/>
                <a:gd name="connsiteX1130" fmla="*/ 1357255 w 1466597"/>
                <a:gd name="connsiteY1130" fmla="*/ 557428 h 790366"/>
                <a:gd name="connsiteX1131" fmla="*/ 1358104 w 1466597"/>
                <a:gd name="connsiteY1131" fmla="*/ 560342 h 790366"/>
                <a:gd name="connsiteX1132" fmla="*/ 1362783 w 1466597"/>
                <a:gd name="connsiteY1132" fmla="*/ 566696 h 790366"/>
                <a:gd name="connsiteX1133" fmla="*/ 1365909 w 1466597"/>
                <a:gd name="connsiteY1133" fmla="*/ 570307 h 790366"/>
                <a:gd name="connsiteX1134" fmla="*/ 1366524 w 1466597"/>
                <a:gd name="connsiteY1134" fmla="*/ 571505 h 790366"/>
                <a:gd name="connsiteX1135" fmla="*/ 1366936 w 1466597"/>
                <a:gd name="connsiteY1135" fmla="*/ 574797 h 790366"/>
                <a:gd name="connsiteX1136" fmla="*/ 1365588 w 1466597"/>
                <a:gd name="connsiteY1136" fmla="*/ 576288 h 790366"/>
                <a:gd name="connsiteX1137" fmla="*/ 1367243 w 1466597"/>
                <a:gd name="connsiteY1137" fmla="*/ 579321 h 790366"/>
                <a:gd name="connsiteX1138" fmla="*/ 1367184 w 1466597"/>
                <a:gd name="connsiteY1138" fmla="*/ 579912 h 790366"/>
                <a:gd name="connsiteX1139" fmla="*/ 1366823 w 1466597"/>
                <a:gd name="connsiteY1139" fmla="*/ 580491 h 790366"/>
                <a:gd name="connsiteX1140" fmla="*/ 1362365 w 1466597"/>
                <a:gd name="connsiteY1140" fmla="*/ 581834 h 790366"/>
                <a:gd name="connsiteX1141" fmla="*/ 1358280 w 1466597"/>
                <a:gd name="connsiteY1141" fmla="*/ 587442 h 790366"/>
                <a:gd name="connsiteX1142" fmla="*/ 1353813 w 1466597"/>
                <a:gd name="connsiteY1142" fmla="*/ 590720 h 790366"/>
                <a:gd name="connsiteX1143" fmla="*/ 1351754 w 1466597"/>
                <a:gd name="connsiteY1143" fmla="*/ 591247 h 790366"/>
                <a:gd name="connsiteX1144" fmla="*/ 1350765 w 1466597"/>
                <a:gd name="connsiteY1144" fmla="*/ 590699 h 790366"/>
                <a:gd name="connsiteX1145" fmla="*/ 1349828 w 1466597"/>
                <a:gd name="connsiteY1145" fmla="*/ 589443 h 790366"/>
                <a:gd name="connsiteX1146" fmla="*/ 1349278 w 1466597"/>
                <a:gd name="connsiteY1146" fmla="*/ 587765 h 790366"/>
                <a:gd name="connsiteX1147" fmla="*/ 1349113 w 1466597"/>
                <a:gd name="connsiteY1147" fmla="*/ 585660 h 790366"/>
                <a:gd name="connsiteX1148" fmla="*/ 1350226 w 1466597"/>
                <a:gd name="connsiteY1148" fmla="*/ 584336 h 790366"/>
                <a:gd name="connsiteX1149" fmla="*/ 1352438 w 1466597"/>
                <a:gd name="connsiteY1149" fmla="*/ 577433 h 790366"/>
                <a:gd name="connsiteX1150" fmla="*/ 1352500 w 1466597"/>
                <a:gd name="connsiteY1150" fmla="*/ 575163 h 790366"/>
                <a:gd name="connsiteX1151" fmla="*/ 1349742 w 1466597"/>
                <a:gd name="connsiteY1151" fmla="*/ 572011 h 790366"/>
                <a:gd name="connsiteX1152" fmla="*/ 1348083 w 1466597"/>
                <a:gd name="connsiteY1152" fmla="*/ 569427 h 790366"/>
                <a:gd name="connsiteX1153" fmla="*/ 1347185 w 1466597"/>
                <a:gd name="connsiteY1153" fmla="*/ 565820 h 790366"/>
                <a:gd name="connsiteX1154" fmla="*/ 1345680 w 1466597"/>
                <a:gd name="connsiteY1154" fmla="*/ 556259 h 790366"/>
                <a:gd name="connsiteX1155" fmla="*/ 1344982 w 1466597"/>
                <a:gd name="connsiteY1155" fmla="*/ 553193 h 790366"/>
                <a:gd name="connsiteX1156" fmla="*/ 1343997 w 1466597"/>
                <a:gd name="connsiteY1156" fmla="*/ 550636 h 790366"/>
                <a:gd name="connsiteX1157" fmla="*/ 1342724 w 1466597"/>
                <a:gd name="connsiteY1157" fmla="*/ 548587 h 790366"/>
                <a:gd name="connsiteX1158" fmla="*/ 1341762 w 1466597"/>
                <a:gd name="connsiteY1158" fmla="*/ 546335 h 790366"/>
                <a:gd name="connsiteX1159" fmla="*/ 1341113 w 1466597"/>
                <a:gd name="connsiteY1159" fmla="*/ 543876 h 790366"/>
                <a:gd name="connsiteX1160" fmla="*/ 888527 w 1466597"/>
                <a:gd name="connsiteY1160" fmla="*/ 539352 h 790366"/>
                <a:gd name="connsiteX1161" fmla="*/ 890117 w 1466597"/>
                <a:gd name="connsiteY1161" fmla="*/ 539533 h 790366"/>
                <a:gd name="connsiteX1162" fmla="*/ 891871 w 1466597"/>
                <a:gd name="connsiteY1162" fmla="*/ 540186 h 790366"/>
                <a:gd name="connsiteX1163" fmla="*/ 893531 w 1466597"/>
                <a:gd name="connsiteY1163" fmla="*/ 541245 h 790366"/>
                <a:gd name="connsiteX1164" fmla="*/ 895102 w 1466597"/>
                <a:gd name="connsiteY1164" fmla="*/ 542714 h 790366"/>
                <a:gd name="connsiteX1165" fmla="*/ 896024 w 1466597"/>
                <a:gd name="connsiteY1165" fmla="*/ 543016 h 790366"/>
                <a:gd name="connsiteX1166" fmla="*/ 896988 w 1466597"/>
                <a:gd name="connsiteY1166" fmla="*/ 540802 h 790366"/>
                <a:gd name="connsiteX1167" fmla="*/ 897669 w 1466597"/>
                <a:gd name="connsiteY1167" fmla="*/ 540732 h 790366"/>
                <a:gd name="connsiteX1168" fmla="*/ 900687 w 1466597"/>
                <a:gd name="connsiteY1168" fmla="*/ 542608 h 790366"/>
                <a:gd name="connsiteX1169" fmla="*/ 902542 w 1466597"/>
                <a:gd name="connsiteY1169" fmla="*/ 542192 h 790366"/>
                <a:gd name="connsiteX1170" fmla="*/ 903734 w 1466597"/>
                <a:gd name="connsiteY1170" fmla="*/ 544494 h 790366"/>
                <a:gd name="connsiteX1171" fmla="*/ 904803 w 1466597"/>
                <a:gd name="connsiteY1171" fmla="*/ 544703 h 790366"/>
                <a:gd name="connsiteX1172" fmla="*/ 905795 w 1466597"/>
                <a:gd name="connsiteY1172" fmla="*/ 544425 h 790366"/>
                <a:gd name="connsiteX1173" fmla="*/ 906391 w 1466597"/>
                <a:gd name="connsiteY1173" fmla="*/ 544586 h 790366"/>
                <a:gd name="connsiteX1174" fmla="*/ 906183 w 1466597"/>
                <a:gd name="connsiteY1174" fmla="*/ 547020 h 790366"/>
                <a:gd name="connsiteX1175" fmla="*/ 903980 w 1466597"/>
                <a:gd name="connsiteY1175" fmla="*/ 549484 h 790366"/>
                <a:gd name="connsiteX1176" fmla="*/ 902955 w 1466597"/>
                <a:gd name="connsiteY1176" fmla="*/ 550107 h 790366"/>
                <a:gd name="connsiteX1177" fmla="*/ 901516 w 1466597"/>
                <a:gd name="connsiteY1177" fmla="*/ 549472 h 790366"/>
                <a:gd name="connsiteX1178" fmla="*/ 900979 w 1466597"/>
                <a:gd name="connsiteY1178" fmla="*/ 549234 h 790366"/>
                <a:gd name="connsiteX1179" fmla="*/ 900033 w 1466597"/>
                <a:gd name="connsiteY1179" fmla="*/ 548145 h 790366"/>
                <a:gd name="connsiteX1180" fmla="*/ 899317 w 1466597"/>
                <a:gd name="connsiteY1180" fmla="*/ 546768 h 790366"/>
                <a:gd name="connsiteX1181" fmla="*/ 898891 w 1466597"/>
                <a:gd name="connsiteY1181" fmla="*/ 546746 h 790366"/>
                <a:gd name="connsiteX1182" fmla="*/ 897207 w 1466597"/>
                <a:gd name="connsiteY1182" fmla="*/ 548366 h 790366"/>
                <a:gd name="connsiteX1183" fmla="*/ 897250 w 1466597"/>
                <a:gd name="connsiteY1183" fmla="*/ 549165 h 790366"/>
                <a:gd name="connsiteX1184" fmla="*/ 897951 w 1466597"/>
                <a:gd name="connsiteY1184" fmla="*/ 550369 h 790366"/>
                <a:gd name="connsiteX1185" fmla="*/ 897848 w 1466597"/>
                <a:gd name="connsiteY1185" fmla="*/ 551117 h 790366"/>
                <a:gd name="connsiteX1186" fmla="*/ 896014 w 1466597"/>
                <a:gd name="connsiteY1186" fmla="*/ 551473 h 790366"/>
                <a:gd name="connsiteX1187" fmla="*/ 894216 w 1466597"/>
                <a:gd name="connsiteY1187" fmla="*/ 551289 h 790366"/>
                <a:gd name="connsiteX1188" fmla="*/ 892022 w 1466597"/>
                <a:gd name="connsiteY1188" fmla="*/ 552336 h 790366"/>
                <a:gd name="connsiteX1189" fmla="*/ 891497 w 1466597"/>
                <a:gd name="connsiteY1189" fmla="*/ 551683 h 790366"/>
                <a:gd name="connsiteX1190" fmla="*/ 891163 w 1466597"/>
                <a:gd name="connsiteY1190" fmla="*/ 549844 h 790366"/>
                <a:gd name="connsiteX1191" fmla="*/ 890477 w 1466597"/>
                <a:gd name="connsiteY1191" fmla="*/ 550053 h 790366"/>
                <a:gd name="connsiteX1192" fmla="*/ 889442 w 1466597"/>
                <a:gd name="connsiteY1192" fmla="*/ 552306 h 790366"/>
                <a:gd name="connsiteX1193" fmla="*/ 888312 w 1466597"/>
                <a:gd name="connsiteY1193" fmla="*/ 553731 h 790366"/>
                <a:gd name="connsiteX1194" fmla="*/ 886250 w 1466597"/>
                <a:gd name="connsiteY1194" fmla="*/ 554912 h 790366"/>
                <a:gd name="connsiteX1195" fmla="*/ 885800 w 1466597"/>
                <a:gd name="connsiteY1195" fmla="*/ 555485 h 790366"/>
                <a:gd name="connsiteX1196" fmla="*/ 884290 w 1466597"/>
                <a:gd name="connsiteY1196" fmla="*/ 555563 h 790366"/>
                <a:gd name="connsiteX1197" fmla="*/ 882053 w 1466597"/>
                <a:gd name="connsiteY1197" fmla="*/ 556307 h 790366"/>
                <a:gd name="connsiteX1198" fmla="*/ 880672 w 1466597"/>
                <a:gd name="connsiteY1198" fmla="*/ 556182 h 790366"/>
                <a:gd name="connsiteX1199" fmla="*/ 872435 w 1466597"/>
                <a:gd name="connsiteY1199" fmla="*/ 553739 h 790366"/>
                <a:gd name="connsiteX1200" fmla="*/ 870499 w 1466597"/>
                <a:gd name="connsiteY1200" fmla="*/ 552846 h 790366"/>
                <a:gd name="connsiteX1201" fmla="*/ 877272 w 1466597"/>
                <a:gd name="connsiteY1201" fmla="*/ 547236 h 790366"/>
                <a:gd name="connsiteX1202" fmla="*/ 880837 w 1466597"/>
                <a:gd name="connsiteY1202" fmla="*/ 545063 h 790366"/>
                <a:gd name="connsiteX1203" fmla="*/ 882897 w 1466597"/>
                <a:gd name="connsiteY1203" fmla="*/ 545181 h 790366"/>
                <a:gd name="connsiteX1204" fmla="*/ 884958 w 1466597"/>
                <a:gd name="connsiteY1204" fmla="*/ 545857 h 790366"/>
                <a:gd name="connsiteX1205" fmla="*/ 886046 w 1466597"/>
                <a:gd name="connsiteY1205" fmla="*/ 545749 h 790366"/>
                <a:gd name="connsiteX1206" fmla="*/ 886126 w 1466597"/>
                <a:gd name="connsiteY1206" fmla="*/ 543257 h 790366"/>
                <a:gd name="connsiteX1207" fmla="*/ 884208 w 1466597"/>
                <a:gd name="connsiteY1207" fmla="*/ 541398 h 790366"/>
                <a:gd name="connsiteX1208" fmla="*/ 884280 w 1466597"/>
                <a:gd name="connsiteY1208" fmla="*/ 540625 h 790366"/>
                <a:gd name="connsiteX1209" fmla="*/ 895648 w 1466597"/>
                <a:gd name="connsiteY1209" fmla="*/ 533058 h 790366"/>
                <a:gd name="connsiteX1210" fmla="*/ 896352 w 1466597"/>
                <a:gd name="connsiteY1210" fmla="*/ 533368 h 790366"/>
                <a:gd name="connsiteX1211" fmla="*/ 896635 w 1466597"/>
                <a:gd name="connsiteY1211" fmla="*/ 533970 h 790366"/>
                <a:gd name="connsiteX1212" fmla="*/ 896496 w 1466597"/>
                <a:gd name="connsiteY1212" fmla="*/ 534869 h 790366"/>
                <a:gd name="connsiteX1213" fmla="*/ 895716 w 1466597"/>
                <a:gd name="connsiteY1213" fmla="*/ 535987 h 790366"/>
                <a:gd name="connsiteX1214" fmla="*/ 893337 w 1466597"/>
                <a:gd name="connsiteY1214" fmla="*/ 538069 h 790366"/>
                <a:gd name="connsiteX1215" fmla="*/ 892586 w 1466597"/>
                <a:gd name="connsiteY1215" fmla="*/ 538309 h 790366"/>
                <a:gd name="connsiteX1216" fmla="*/ 890721 w 1466597"/>
                <a:gd name="connsiteY1216" fmla="*/ 537168 h 790366"/>
                <a:gd name="connsiteX1217" fmla="*/ 889497 w 1466597"/>
                <a:gd name="connsiteY1217" fmla="*/ 535958 h 790366"/>
                <a:gd name="connsiteX1218" fmla="*/ 890307 w 1466597"/>
                <a:gd name="connsiteY1218" fmla="*/ 535035 h 790366"/>
                <a:gd name="connsiteX1219" fmla="*/ 893921 w 1466597"/>
                <a:gd name="connsiteY1219" fmla="*/ 533091 h 790366"/>
                <a:gd name="connsiteX1220" fmla="*/ 683414 w 1466597"/>
                <a:gd name="connsiteY1220" fmla="*/ 526486 h 790366"/>
                <a:gd name="connsiteX1221" fmla="*/ 678212 w 1466597"/>
                <a:gd name="connsiteY1221" fmla="*/ 534636 h 790366"/>
                <a:gd name="connsiteX1222" fmla="*/ 676341 w 1466597"/>
                <a:gd name="connsiteY1222" fmla="*/ 535236 h 790366"/>
                <a:gd name="connsiteX1223" fmla="*/ 674354 w 1466597"/>
                <a:gd name="connsiteY1223" fmla="*/ 534932 h 790366"/>
                <a:gd name="connsiteX1224" fmla="*/ 672792 w 1466597"/>
                <a:gd name="connsiteY1224" fmla="*/ 531235 h 790366"/>
                <a:gd name="connsiteX1225" fmla="*/ 673989 w 1466597"/>
                <a:gd name="connsiteY1225" fmla="*/ 531119 h 790366"/>
                <a:gd name="connsiteX1226" fmla="*/ 676498 w 1466597"/>
                <a:gd name="connsiteY1226" fmla="*/ 528685 h 790366"/>
                <a:gd name="connsiteX1227" fmla="*/ 682049 w 1466597"/>
                <a:gd name="connsiteY1227" fmla="*/ 526710 h 790366"/>
                <a:gd name="connsiteX1228" fmla="*/ 1103803 w 1466597"/>
                <a:gd name="connsiteY1228" fmla="*/ 480396 h 790366"/>
                <a:gd name="connsiteX1229" fmla="*/ 1103466 w 1466597"/>
                <a:gd name="connsiteY1229" fmla="*/ 481657 h 790366"/>
                <a:gd name="connsiteX1230" fmla="*/ 1099531 w 1466597"/>
                <a:gd name="connsiteY1230" fmla="*/ 483982 h 790366"/>
                <a:gd name="connsiteX1231" fmla="*/ 1095388 w 1466597"/>
                <a:gd name="connsiteY1231" fmla="*/ 487888 h 790366"/>
                <a:gd name="connsiteX1232" fmla="*/ 1094165 w 1466597"/>
                <a:gd name="connsiteY1232" fmla="*/ 488108 h 790366"/>
                <a:gd name="connsiteX1233" fmla="*/ 1096001 w 1466597"/>
                <a:gd name="connsiteY1233" fmla="*/ 485612 h 790366"/>
                <a:gd name="connsiteX1234" fmla="*/ 1098467 w 1466597"/>
                <a:gd name="connsiteY1234" fmla="*/ 482855 h 790366"/>
                <a:gd name="connsiteX1235" fmla="*/ 1100787 w 1466597"/>
                <a:gd name="connsiteY1235" fmla="*/ 481120 h 790366"/>
                <a:gd name="connsiteX1236" fmla="*/ 1005747 w 1466597"/>
                <a:gd name="connsiteY1236" fmla="*/ 475187 h 790366"/>
                <a:gd name="connsiteX1237" fmla="*/ 1009964 w 1466597"/>
                <a:gd name="connsiteY1237" fmla="*/ 477453 h 790366"/>
                <a:gd name="connsiteX1238" fmla="*/ 1007221 w 1466597"/>
                <a:gd name="connsiteY1238" fmla="*/ 478483 h 790366"/>
                <a:gd name="connsiteX1239" fmla="*/ 1005885 w 1466597"/>
                <a:gd name="connsiteY1239" fmla="*/ 479653 h 790366"/>
                <a:gd name="connsiteX1240" fmla="*/ 1000841 w 1466597"/>
                <a:gd name="connsiteY1240" fmla="*/ 478944 h 790366"/>
                <a:gd name="connsiteX1241" fmla="*/ 1001892 w 1466597"/>
                <a:gd name="connsiteY1241" fmla="*/ 476643 h 790366"/>
                <a:gd name="connsiteX1242" fmla="*/ 1030225 w 1466597"/>
                <a:gd name="connsiteY1242" fmla="*/ 467095 h 790366"/>
                <a:gd name="connsiteX1243" fmla="*/ 1032779 w 1466597"/>
                <a:gd name="connsiteY1243" fmla="*/ 468277 h 790366"/>
                <a:gd name="connsiteX1244" fmla="*/ 1034362 w 1466597"/>
                <a:gd name="connsiteY1244" fmla="*/ 469938 h 790366"/>
                <a:gd name="connsiteX1245" fmla="*/ 1033625 w 1466597"/>
                <a:gd name="connsiteY1245" fmla="*/ 471259 h 790366"/>
                <a:gd name="connsiteX1246" fmla="*/ 1025163 w 1466597"/>
                <a:gd name="connsiteY1246" fmla="*/ 478104 h 790366"/>
                <a:gd name="connsiteX1247" fmla="*/ 1024450 w 1466597"/>
                <a:gd name="connsiteY1247" fmla="*/ 478995 h 790366"/>
                <a:gd name="connsiteX1248" fmla="*/ 1023682 w 1466597"/>
                <a:gd name="connsiteY1248" fmla="*/ 481313 h 790366"/>
                <a:gd name="connsiteX1249" fmla="*/ 1022986 w 1466597"/>
                <a:gd name="connsiteY1249" fmla="*/ 482119 h 790366"/>
                <a:gd name="connsiteX1250" fmla="*/ 1021869 w 1466597"/>
                <a:gd name="connsiteY1250" fmla="*/ 482491 h 790366"/>
                <a:gd name="connsiteX1251" fmla="*/ 1021057 w 1466597"/>
                <a:gd name="connsiteY1251" fmla="*/ 483502 h 790366"/>
                <a:gd name="connsiteX1252" fmla="*/ 1020549 w 1466597"/>
                <a:gd name="connsiteY1252" fmla="*/ 485159 h 790366"/>
                <a:gd name="connsiteX1253" fmla="*/ 1019506 w 1466597"/>
                <a:gd name="connsiteY1253" fmla="*/ 486020 h 790366"/>
                <a:gd name="connsiteX1254" fmla="*/ 1017928 w 1466597"/>
                <a:gd name="connsiteY1254" fmla="*/ 486095 h 790366"/>
                <a:gd name="connsiteX1255" fmla="*/ 1016835 w 1466597"/>
                <a:gd name="connsiteY1255" fmla="*/ 486550 h 790366"/>
                <a:gd name="connsiteX1256" fmla="*/ 1016227 w 1466597"/>
                <a:gd name="connsiteY1256" fmla="*/ 487390 h 790366"/>
                <a:gd name="connsiteX1257" fmla="*/ 1014515 w 1466597"/>
                <a:gd name="connsiteY1257" fmla="*/ 488085 h 790366"/>
                <a:gd name="connsiteX1258" fmla="*/ 1011697 w 1466597"/>
                <a:gd name="connsiteY1258" fmla="*/ 488634 h 790366"/>
                <a:gd name="connsiteX1259" fmla="*/ 1011031 w 1466597"/>
                <a:gd name="connsiteY1259" fmla="*/ 487510 h 790366"/>
                <a:gd name="connsiteX1260" fmla="*/ 1012512 w 1466597"/>
                <a:gd name="connsiteY1260" fmla="*/ 484711 h 790366"/>
                <a:gd name="connsiteX1261" fmla="*/ 1013693 w 1466597"/>
                <a:gd name="connsiteY1261" fmla="*/ 483119 h 790366"/>
                <a:gd name="connsiteX1262" fmla="*/ 1014571 w 1466597"/>
                <a:gd name="connsiteY1262" fmla="*/ 482743 h 790366"/>
                <a:gd name="connsiteX1263" fmla="*/ 1017810 w 1466597"/>
                <a:gd name="connsiteY1263" fmla="*/ 479579 h 790366"/>
                <a:gd name="connsiteX1264" fmla="*/ 1021403 w 1466597"/>
                <a:gd name="connsiteY1264" fmla="*/ 477273 h 790366"/>
                <a:gd name="connsiteX1265" fmla="*/ 1024702 w 1466597"/>
                <a:gd name="connsiteY1265" fmla="*/ 473899 h 790366"/>
                <a:gd name="connsiteX1266" fmla="*/ 1028051 w 1466597"/>
                <a:gd name="connsiteY1266" fmla="*/ 469078 h 790366"/>
                <a:gd name="connsiteX1267" fmla="*/ 1028672 w 1466597"/>
                <a:gd name="connsiteY1267" fmla="*/ 467279 h 790366"/>
                <a:gd name="connsiteX1268" fmla="*/ 543878 w 1466597"/>
                <a:gd name="connsiteY1268" fmla="*/ 465802 h 790366"/>
                <a:gd name="connsiteX1269" fmla="*/ 545141 w 1466597"/>
                <a:gd name="connsiteY1269" fmla="*/ 466309 h 790366"/>
                <a:gd name="connsiteX1270" fmla="*/ 547483 w 1466597"/>
                <a:gd name="connsiteY1270" fmla="*/ 468211 h 790366"/>
                <a:gd name="connsiteX1271" fmla="*/ 548727 w 1466597"/>
                <a:gd name="connsiteY1271" fmla="*/ 468318 h 790366"/>
                <a:gd name="connsiteX1272" fmla="*/ 552654 w 1466597"/>
                <a:gd name="connsiteY1272" fmla="*/ 467739 h 790366"/>
                <a:gd name="connsiteX1273" fmla="*/ 554095 w 1466597"/>
                <a:gd name="connsiteY1273" fmla="*/ 468147 h 790366"/>
                <a:gd name="connsiteX1274" fmla="*/ 555492 w 1466597"/>
                <a:gd name="connsiteY1274" fmla="*/ 468967 h 790366"/>
                <a:gd name="connsiteX1275" fmla="*/ 556357 w 1466597"/>
                <a:gd name="connsiteY1275" fmla="*/ 470218 h 790366"/>
                <a:gd name="connsiteX1276" fmla="*/ 556521 w 1466597"/>
                <a:gd name="connsiteY1276" fmla="*/ 472416 h 790366"/>
                <a:gd name="connsiteX1277" fmla="*/ 555883 w 1466597"/>
                <a:gd name="connsiteY1277" fmla="*/ 474376 h 790366"/>
                <a:gd name="connsiteX1278" fmla="*/ 556073 w 1466597"/>
                <a:gd name="connsiteY1278" fmla="*/ 477136 h 790366"/>
                <a:gd name="connsiteX1279" fmla="*/ 555935 w 1466597"/>
                <a:gd name="connsiteY1279" fmla="*/ 478331 h 790366"/>
                <a:gd name="connsiteX1280" fmla="*/ 558022 w 1466597"/>
                <a:gd name="connsiteY1280" fmla="*/ 479893 h 790366"/>
                <a:gd name="connsiteX1281" fmla="*/ 558673 w 1466597"/>
                <a:gd name="connsiteY1281" fmla="*/ 482012 h 790366"/>
                <a:gd name="connsiteX1282" fmla="*/ 559011 w 1466597"/>
                <a:gd name="connsiteY1282" fmla="*/ 484284 h 790366"/>
                <a:gd name="connsiteX1283" fmla="*/ 554482 w 1466597"/>
                <a:gd name="connsiteY1283" fmla="*/ 485043 h 790366"/>
                <a:gd name="connsiteX1284" fmla="*/ 549956 w 1466597"/>
                <a:gd name="connsiteY1284" fmla="*/ 485164 h 790366"/>
                <a:gd name="connsiteX1285" fmla="*/ 546049 w 1466597"/>
                <a:gd name="connsiteY1285" fmla="*/ 486701 h 790366"/>
                <a:gd name="connsiteX1286" fmla="*/ 545251 w 1466597"/>
                <a:gd name="connsiteY1286" fmla="*/ 487836 h 790366"/>
                <a:gd name="connsiteX1287" fmla="*/ 545874 w 1466597"/>
                <a:gd name="connsiteY1287" fmla="*/ 489521 h 790366"/>
                <a:gd name="connsiteX1288" fmla="*/ 544803 w 1466597"/>
                <a:gd name="connsiteY1288" fmla="*/ 489952 h 790366"/>
                <a:gd name="connsiteX1289" fmla="*/ 543813 w 1466597"/>
                <a:gd name="connsiteY1289" fmla="*/ 489582 h 790366"/>
                <a:gd name="connsiteX1290" fmla="*/ 541924 w 1466597"/>
                <a:gd name="connsiteY1290" fmla="*/ 488022 h 790366"/>
                <a:gd name="connsiteX1291" fmla="*/ 539848 w 1466597"/>
                <a:gd name="connsiteY1291" fmla="*/ 487279 h 790366"/>
                <a:gd name="connsiteX1292" fmla="*/ 532585 w 1466597"/>
                <a:gd name="connsiteY1292" fmla="*/ 486130 h 790366"/>
                <a:gd name="connsiteX1293" fmla="*/ 523467 w 1466597"/>
                <a:gd name="connsiteY1293" fmla="*/ 481589 h 790366"/>
                <a:gd name="connsiteX1294" fmla="*/ 519544 w 1466597"/>
                <a:gd name="connsiteY1294" fmla="*/ 480650 h 790366"/>
                <a:gd name="connsiteX1295" fmla="*/ 515558 w 1466597"/>
                <a:gd name="connsiteY1295" fmla="*/ 477323 h 790366"/>
                <a:gd name="connsiteX1296" fmla="*/ 511953 w 1466597"/>
                <a:gd name="connsiteY1296" fmla="*/ 473084 h 790366"/>
                <a:gd name="connsiteX1297" fmla="*/ 514303 w 1466597"/>
                <a:gd name="connsiteY1297" fmla="*/ 472403 h 790366"/>
                <a:gd name="connsiteX1298" fmla="*/ 516666 w 1466597"/>
                <a:gd name="connsiteY1298" fmla="*/ 472055 h 790366"/>
                <a:gd name="connsiteX1299" fmla="*/ 527262 w 1466597"/>
                <a:gd name="connsiteY1299" fmla="*/ 472689 h 790366"/>
                <a:gd name="connsiteX1300" fmla="*/ 528586 w 1466597"/>
                <a:gd name="connsiteY1300" fmla="*/ 469648 h 790366"/>
                <a:gd name="connsiteX1301" fmla="*/ 529951 w 1466597"/>
                <a:gd name="connsiteY1301" fmla="*/ 468888 h 790366"/>
                <a:gd name="connsiteX1302" fmla="*/ 533317 w 1466597"/>
                <a:gd name="connsiteY1302" fmla="*/ 468027 h 790366"/>
                <a:gd name="connsiteX1303" fmla="*/ 536462 w 1466597"/>
                <a:gd name="connsiteY1303" fmla="*/ 466339 h 790366"/>
                <a:gd name="connsiteX1304" fmla="*/ 537874 w 1466597"/>
                <a:gd name="connsiteY1304" fmla="*/ 466380 h 790366"/>
                <a:gd name="connsiteX1305" fmla="*/ 539315 w 1466597"/>
                <a:gd name="connsiteY1305" fmla="*/ 467030 h 790366"/>
                <a:gd name="connsiteX1306" fmla="*/ 542296 w 1466597"/>
                <a:gd name="connsiteY1306" fmla="*/ 466016 h 790366"/>
                <a:gd name="connsiteX1307" fmla="*/ 1081038 w 1466597"/>
                <a:gd name="connsiteY1307" fmla="*/ 465635 h 790366"/>
                <a:gd name="connsiteX1308" fmla="*/ 1081694 w 1466597"/>
                <a:gd name="connsiteY1308" fmla="*/ 466130 h 790366"/>
                <a:gd name="connsiteX1309" fmla="*/ 1081285 w 1466597"/>
                <a:gd name="connsiteY1309" fmla="*/ 468090 h 790366"/>
                <a:gd name="connsiteX1310" fmla="*/ 1080469 w 1466597"/>
                <a:gd name="connsiteY1310" fmla="*/ 469028 h 790366"/>
                <a:gd name="connsiteX1311" fmla="*/ 1078244 w 1466597"/>
                <a:gd name="connsiteY1311" fmla="*/ 468695 h 790366"/>
                <a:gd name="connsiteX1312" fmla="*/ 1077055 w 1466597"/>
                <a:gd name="connsiteY1312" fmla="*/ 468102 h 790366"/>
                <a:gd name="connsiteX1313" fmla="*/ 1044503 w 1466597"/>
                <a:gd name="connsiteY1313" fmla="*/ 462586 h 790366"/>
                <a:gd name="connsiteX1314" fmla="*/ 1048748 w 1466597"/>
                <a:gd name="connsiteY1314" fmla="*/ 463773 h 790366"/>
                <a:gd name="connsiteX1315" fmla="*/ 1049315 w 1466597"/>
                <a:gd name="connsiteY1315" fmla="*/ 464827 h 790366"/>
                <a:gd name="connsiteX1316" fmla="*/ 1054218 w 1466597"/>
                <a:gd name="connsiteY1316" fmla="*/ 464575 h 790366"/>
                <a:gd name="connsiteX1317" fmla="*/ 1055627 w 1466597"/>
                <a:gd name="connsiteY1317" fmla="*/ 464761 h 790366"/>
                <a:gd name="connsiteX1318" fmla="*/ 1056190 w 1466597"/>
                <a:gd name="connsiteY1318" fmla="*/ 465250 h 790366"/>
                <a:gd name="connsiteX1319" fmla="*/ 1055526 w 1466597"/>
                <a:gd name="connsiteY1319" fmla="*/ 465965 h 790366"/>
                <a:gd name="connsiteX1320" fmla="*/ 1053634 w 1466597"/>
                <a:gd name="connsiteY1320" fmla="*/ 466905 h 790366"/>
                <a:gd name="connsiteX1321" fmla="*/ 1048104 w 1466597"/>
                <a:gd name="connsiteY1321" fmla="*/ 468552 h 790366"/>
                <a:gd name="connsiteX1322" fmla="*/ 1043611 w 1466597"/>
                <a:gd name="connsiteY1322" fmla="*/ 470720 h 790366"/>
                <a:gd name="connsiteX1323" fmla="*/ 1043024 w 1466597"/>
                <a:gd name="connsiteY1323" fmla="*/ 470520 h 790366"/>
                <a:gd name="connsiteX1324" fmla="*/ 1042204 w 1466597"/>
                <a:gd name="connsiteY1324" fmla="*/ 468146 h 790366"/>
                <a:gd name="connsiteX1325" fmla="*/ 1041373 w 1466597"/>
                <a:gd name="connsiteY1325" fmla="*/ 467185 h 790366"/>
                <a:gd name="connsiteX1326" fmla="*/ 1040867 w 1466597"/>
                <a:gd name="connsiteY1326" fmla="*/ 465847 h 790366"/>
                <a:gd name="connsiteX1327" fmla="*/ 1040875 w 1466597"/>
                <a:gd name="connsiteY1327" fmla="*/ 465350 h 790366"/>
                <a:gd name="connsiteX1328" fmla="*/ 1041699 w 1466597"/>
                <a:gd name="connsiteY1328" fmla="*/ 464427 h 790366"/>
                <a:gd name="connsiteX1329" fmla="*/ 1043340 w 1466597"/>
                <a:gd name="connsiteY1329" fmla="*/ 463075 h 790366"/>
                <a:gd name="connsiteX1330" fmla="*/ 1015722 w 1466597"/>
                <a:gd name="connsiteY1330" fmla="*/ 462169 h 790366"/>
                <a:gd name="connsiteX1331" fmla="*/ 1016496 w 1466597"/>
                <a:gd name="connsiteY1331" fmla="*/ 463741 h 790366"/>
                <a:gd name="connsiteX1332" fmla="*/ 1016484 w 1466597"/>
                <a:gd name="connsiteY1332" fmla="*/ 464752 h 790366"/>
                <a:gd name="connsiteX1333" fmla="*/ 1015686 w 1466597"/>
                <a:gd name="connsiteY1333" fmla="*/ 465722 h 790366"/>
                <a:gd name="connsiteX1334" fmla="*/ 1016452 w 1466597"/>
                <a:gd name="connsiteY1334" fmla="*/ 467500 h 790366"/>
                <a:gd name="connsiteX1335" fmla="*/ 1015124 w 1466597"/>
                <a:gd name="connsiteY1335" fmla="*/ 470555 h 790366"/>
                <a:gd name="connsiteX1336" fmla="*/ 1014611 w 1466597"/>
                <a:gd name="connsiteY1336" fmla="*/ 472494 h 790366"/>
                <a:gd name="connsiteX1337" fmla="*/ 1013902 w 1466597"/>
                <a:gd name="connsiteY1337" fmla="*/ 473712 h 790366"/>
                <a:gd name="connsiteX1338" fmla="*/ 1013190 w 1466597"/>
                <a:gd name="connsiteY1338" fmla="*/ 474183 h 790366"/>
                <a:gd name="connsiteX1339" fmla="*/ 1012475 w 1466597"/>
                <a:gd name="connsiteY1339" fmla="*/ 473907 h 790366"/>
                <a:gd name="connsiteX1340" fmla="*/ 1012326 w 1466597"/>
                <a:gd name="connsiteY1340" fmla="*/ 473234 h 790366"/>
                <a:gd name="connsiteX1341" fmla="*/ 1012746 w 1466597"/>
                <a:gd name="connsiteY1341" fmla="*/ 472165 h 790366"/>
                <a:gd name="connsiteX1342" fmla="*/ 1011060 w 1466597"/>
                <a:gd name="connsiteY1342" fmla="*/ 472200 h 790366"/>
                <a:gd name="connsiteX1343" fmla="*/ 1010547 w 1466597"/>
                <a:gd name="connsiteY1343" fmla="*/ 469535 h 790366"/>
                <a:gd name="connsiteX1344" fmla="*/ 1011478 w 1466597"/>
                <a:gd name="connsiteY1344" fmla="*/ 468690 h 790366"/>
                <a:gd name="connsiteX1345" fmla="*/ 1011815 w 1466597"/>
                <a:gd name="connsiteY1345" fmla="*/ 467547 h 790366"/>
                <a:gd name="connsiteX1346" fmla="*/ 1011921 w 1466597"/>
                <a:gd name="connsiteY1346" fmla="*/ 466779 h 790366"/>
                <a:gd name="connsiteX1347" fmla="*/ 1013019 w 1466597"/>
                <a:gd name="connsiteY1347" fmla="*/ 463381 h 790366"/>
                <a:gd name="connsiteX1348" fmla="*/ 1013411 w 1466597"/>
                <a:gd name="connsiteY1348" fmla="*/ 463143 h 790366"/>
                <a:gd name="connsiteX1349" fmla="*/ 1013539 w 1466597"/>
                <a:gd name="connsiteY1349" fmla="*/ 463953 h 790366"/>
                <a:gd name="connsiteX1350" fmla="*/ 1013895 w 1466597"/>
                <a:gd name="connsiteY1350" fmla="*/ 464190 h 790366"/>
                <a:gd name="connsiteX1351" fmla="*/ 1014478 w 1466597"/>
                <a:gd name="connsiteY1351" fmla="*/ 463858 h 790366"/>
                <a:gd name="connsiteX1352" fmla="*/ 1015355 w 1466597"/>
                <a:gd name="connsiteY1352" fmla="*/ 462345 h 790366"/>
                <a:gd name="connsiteX1353" fmla="*/ 906765 w 1466597"/>
                <a:gd name="connsiteY1353" fmla="*/ 461694 h 790366"/>
                <a:gd name="connsiteX1354" fmla="*/ 908302 w 1466597"/>
                <a:gd name="connsiteY1354" fmla="*/ 462208 h 790366"/>
                <a:gd name="connsiteX1355" fmla="*/ 908612 w 1466597"/>
                <a:gd name="connsiteY1355" fmla="*/ 462887 h 790366"/>
                <a:gd name="connsiteX1356" fmla="*/ 906071 w 1466597"/>
                <a:gd name="connsiteY1356" fmla="*/ 466676 h 790366"/>
                <a:gd name="connsiteX1357" fmla="*/ 905207 w 1466597"/>
                <a:gd name="connsiteY1357" fmla="*/ 467146 h 790366"/>
                <a:gd name="connsiteX1358" fmla="*/ 903976 w 1466597"/>
                <a:gd name="connsiteY1358" fmla="*/ 467287 h 790366"/>
                <a:gd name="connsiteX1359" fmla="*/ 905622 w 1466597"/>
                <a:gd name="connsiteY1359" fmla="*/ 465394 h 790366"/>
                <a:gd name="connsiteX1360" fmla="*/ 371968 w 1466597"/>
                <a:gd name="connsiteY1360" fmla="*/ 457732 h 790366"/>
                <a:gd name="connsiteX1361" fmla="*/ 373593 w 1466597"/>
                <a:gd name="connsiteY1361" fmla="*/ 461622 h 790366"/>
                <a:gd name="connsiteX1362" fmla="*/ 376603 w 1466597"/>
                <a:gd name="connsiteY1362" fmla="*/ 463477 h 790366"/>
                <a:gd name="connsiteX1363" fmla="*/ 382116 w 1466597"/>
                <a:gd name="connsiteY1363" fmla="*/ 465995 h 790366"/>
                <a:gd name="connsiteX1364" fmla="*/ 385653 w 1466597"/>
                <a:gd name="connsiteY1364" fmla="*/ 465737 h 790366"/>
                <a:gd name="connsiteX1365" fmla="*/ 388456 w 1466597"/>
                <a:gd name="connsiteY1365" fmla="*/ 467839 h 790366"/>
                <a:gd name="connsiteX1366" fmla="*/ 389616 w 1466597"/>
                <a:gd name="connsiteY1366" fmla="*/ 469546 h 790366"/>
                <a:gd name="connsiteX1367" fmla="*/ 385405 w 1466597"/>
                <a:gd name="connsiteY1367" fmla="*/ 468320 h 790366"/>
                <a:gd name="connsiteX1368" fmla="*/ 379318 w 1466597"/>
                <a:gd name="connsiteY1368" fmla="*/ 468407 h 790366"/>
                <a:gd name="connsiteX1369" fmla="*/ 371088 w 1466597"/>
                <a:gd name="connsiteY1369" fmla="*/ 463269 h 790366"/>
                <a:gd name="connsiteX1370" fmla="*/ 368138 w 1466597"/>
                <a:gd name="connsiteY1370" fmla="*/ 462101 h 790366"/>
                <a:gd name="connsiteX1371" fmla="*/ 368810 w 1466597"/>
                <a:gd name="connsiteY1371" fmla="*/ 459212 h 790366"/>
                <a:gd name="connsiteX1372" fmla="*/ 1006814 w 1466597"/>
                <a:gd name="connsiteY1372" fmla="*/ 445489 h 790366"/>
                <a:gd name="connsiteX1373" fmla="*/ 1008686 w 1466597"/>
                <a:gd name="connsiteY1373" fmla="*/ 446415 h 790366"/>
                <a:gd name="connsiteX1374" fmla="*/ 1009230 w 1466597"/>
                <a:gd name="connsiteY1374" fmla="*/ 447372 h 790366"/>
                <a:gd name="connsiteX1375" fmla="*/ 1009546 w 1466597"/>
                <a:gd name="connsiteY1375" fmla="*/ 449274 h 790366"/>
                <a:gd name="connsiteX1376" fmla="*/ 1006312 w 1466597"/>
                <a:gd name="connsiteY1376" fmla="*/ 449594 h 790366"/>
                <a:gd name="connsiteX1377" fmla="*/ 1004832 w 1466597"/>
                <a:gd name="connsiteY1377" fmla="*/ 449103 h 790366"/>
                <a:gd name="connsiteX1378" fmla="*/ 1004619 w 1466597"/>
                <a:gd name="connsiteY1378" fmla="*/ 448572 h 790366"/>
                <a:gd name="connsiteX1379" fmla="*/ 1005234 w 1466597"/>
                <a:gd name="connsiteY1379" fmla="*/ 446622 h 790366"/>
                <a:gd name="connsiteX1380" fmla="*/ 1005184 w 1466597"/>
                <a:gd name="connsiteY1380" fmla="*/ 445798 h 790366"/>
                <a:gd name="connsiteX1381" fmla="*/ 404555 w 1466597"/>
                <a:gd name="connsiteY1381" fmla="*/ 334547 h 790366"/>
                <a:gd name="connsiteX1382" fmla="*/ 409235 w 1466597"/>
                <a:gd name="connsiteY1382" fmla="*/ 338068 h 790366"/>
                <a:gd name="connsiteX1383" fmla="*/ 409622 w 1466597"/>
                <a:gd name="connsiteY1383" fmla="*/ 339054 h 790366"/>
                <a:gd name="connsiteX1384" fmla="*/ 412288 w 1466597"/>
                <a:gd name="connsiteY1384" fmla="*/ 338894 h 790366"/>
                <a:gd name="connsiteX1385" fmla="*/ 416023 w 1466597"/>
                <a:gd name="connsiteY1385" fmla="*/ 339318 h 790366"/>
                <a:gd name="connsiteX1386" fmla="*/ 420157 w 1466597"/>
                <a:gd name="connsiteY1386" fmla="*/ 340273 h 790366"/>
                <a:gd name="connsiteX1387" fmla="*/ 424246 w 1466597"/>
                <a:gd name="connsiteY1387" fmla="*/ 339930 h 790366"/>
                <a:gd name="connsiteX1388" fmla="*/ 429400 w 1466597"/>
                <a:gd name="connsiteY1388" fmla="*/ 336903 h 790366"/>
                <a:gd name="connsiteX1389" fmla="*/ 432480 w 1466597"/>
                <a:gd name="connsiteY1389" fmla="*/ 336107 h 790366"/>
                <a:gd name="connsiteX1390" fmla="*/ 435577 w 1466597"/>
                <a:gd name="connsiteY1390" fmla="*/ 335688 h 790366"/>
                <a:gd name="connsiteX1391" fmla="*/ 438920 w 1466597"/>
                <a:gd name="connsiteY1391" fmla="*/ 336426 h 790366"/>
                <a:gd name="connsiteX1392" fmla="*/ 442188 w 1466597"/>
                <a:gd name="connsiteY1392" fmla="*/ 338032 h 790366"/>
                <a:gd name="connsiteX1393" fmla="*/ 443449 w 1466597"/>
                <a:gd name="connsiteY1393" fmla="*/ 338977 h 790366"/>
                <a:gd name="connsiteX1394" fmla="*/ 444454 w 1466597"/>
                <a:gd name="connsiteY1394" fmla="*/ 340631 h 790366"/>
                <a:gd name="connsiteX1395" fmla="*/ 445121 w 1466597"/>
                <a:gd name="connsiteY1395" fmla="*/ 342629 h 790366"/>
                <a:gd name="connsiteX1396" fmla="*/ 446114 w 1466597"/>
                <a:gd name="connsiteY1396" fmla="*/ 344060 h 790366"/>
                <a:gd name="connsiteX1397" fmla="*/ 452235 w 1466597"/>
                <a:gd name="connsiteY1397" fmla="*/ 345825 h 790366"/>
                <a:gd name="connsiteX1398" fmla="*/ 456146 w 1466597"/>
                <a:gd name="connsiteY1398" fmla="*/ 346528 h 790366"/>
                <a:gd name="connsiteX1399" fmla="*/ 457087 w 1466597"/>
                <a:gd name="connsiteY1399" fmla="*/ 347495 h 790366"/>
                <a:gd name="connsiteX1400" fmla="*/ 457921 w 1466597"/>
                <a:gd name="connsiteY1400" fmla="*/ 348828 h 790366"/>
                <a:gd name="connsiteX1401" fmla="*/ 461159 w 1466597"/>
                <a:gd name="connsiteY1401" fmla="*/ 349841 h 790366"/>
                <a:gd name="connsiteX1402" fmla="*/ 464540 w 1466597"/>
                <a:gd name="connsiteY1402" fmla="*/ 349471 h 790366"/>
                <a:gd name="connsiteX1403" fmla="*/ 466426 w 1466597"/>
                <a:gd name="connsiteY1403" fmla="*/ 349831 h 790366"/>
                <a:gd name="connsiteX1404" fmla="*/ 472168 w 1466597"/>
                <a:gd name="connsiteY1404" fmla="*/ 349881 h 790366"/>
                <a:gd name="connsiteX1405" fmla="*/ 479312 w 1466597"/>
                <a:gd name="connsiteY1405" fmla="*/ 351359 h 790366"/>
                <a:gd name="connsiteX1406" fmla="*/ 478156 w 1466597"/>
                <a:gd name="connsiteY1406" fmla="*/ 355251 h 790366"/>
                <a:gd name="connsiteX1407" fmla="*/ 475832 w 1466597"/>
                <a:gd name="connsiteY1407" fmla="*/ 356959 h 790366"/>
                <a:gd name="connsiteX1408" fmla="*/ 469285 w 1466597"/>
                <a:gd name="connsiteY1408" fmla="*/ 356410 h 790366"/>
                <a:gd name="connsiteX1409" fmla="*/ 462763 w 1466597"/>
                <a:gd name="connsiteY1409" fmla="*/ 356964 h 790366"/>
                <a:gd name="connsiteX1410" fmla="*/ 460056 w 1466597"/>
                <a:gd name="connsiteY1410" fmla="*/ 358963 h 790366"/>
                <a:gd name="connsiteX1411" fmla="*/ 457799 w 1466597"/>
                <a:gd name="connsiteY1411" fmla="*/ 361492 h 790366"/>
                <a:gd name="connsiteX1412" fmla="*/ 457493 w 1466597"/>
                <a:gd name="connsiteY1412" fmla="*/ 363952 h 790366"/>
                <a:gd name="connsiteX1413" fmla="*/ 456178 w 1466597"/>
                <a:gd name="connsiteY1413" fmla="*/ 365081 h 790366"/>
                <a:gd name="connsiteX1414" fmla="*/ 454812 w 1466597"/>
                <a:gd name="connsiteY1414" fmla="*/ 365579 h 790366"/>
                <a:gd name="connsiteX1415" fmla="*/ 453704 w 1466597"/>
                <a:gd name="connsiteY1415" fmla="*/ 364219 h 790366"/>
                <a:gd name="connsiteX1416" fmla="*/ 452225 w 1466597"/>
                <a:gd name="connsiteY1416" fmla="*/ 360067 h 790366"/>
                <a:gd name="connsiteX1417" fmla="*/ 451184 w 1466597"/>
                <a:gd name="connsiteY1417" fmla="*/ 358920 h 790366"/>
                <a:gd name="connsiteX1418" fmla="*/ 450040 w 1466597"/>
                <a:gd name="connsiteY1418" fmla="*/ 358197 h 790366"/>
                <a:gd name="connsiteX1419" fmla="*/ 446851 w 1466597"/>
                <a:gd name="connsiteY1419" fmla="*/ 356883 h 790366"/>
                <a:gd name="connsiteX1420" fmla="*/ 443614 w 1466597"/>
                <a:gd name="connsiteY1420" fmla="*/ 356052 h 790366"/>
                <a:gd name="connsiteX1421" fmla="*/ 441720 w 1466597"/>
                <a:gd name="connsiteY1421" fmla="*/ 355952 h 790366"/>
                <a:gd name="connsiteX1422" fmla="*/ 440354 w 1466597"/>
                <a:gd name="connsiteY1422" fmla="*/ 354509 h 790366"/>
                <a:gd name="connsiteX1423" fmla="*/ 439600 w 1466597"/>
                <a:gd name="connsiteY1423" fmla="*/ 352418 h 790366"/>
                <a:gd name="connsiteX1424" fmla="*/ 438304 w 1466597"/>
                <a:gd name="connsiteY1424" fmla="*/ 351339 h 790366"/>
                <a:gd name="connsiteX1425" fmla="*/ 435736 w 1466597"/>
                <a:gd name="connsiteY1425" fmla="*/ 349803 h 790366"/>
                <a:gd name="connsiteX1426" fmla="*/ 433110 w 1466597"/>
                <a:gd name="connsiteY1426" fmla="*/ 348594 h 790366"/>
                <a:gd name="connsiteX1427" fmla="*/ 424915 w 1466597"/>
                <a:gd name="connsiteY1427" fmla="*/ 345971 h 790366"/>
                <a:gd name="connsiteX1428" fmla="*/ 422219 w 1466597"/>
                <a:gd name="connsiteY1428" fmla="*/ 345626 h 790366"/>
                <a:gd name="connsiteX1429" fmla="*/ 419484 w 1466597"/>
                <a:gd name="connsiteY1429" fmla="*/ 345909 h 790366"/>
                <a:gd name="connsiteX1430" fmla="*/ 416557 w 1466597"/>
                <a:gd name="connsiteY1430" fmla="*/ 347106 h 790366"/>
                <a:gd name="connsiteX1431" fmla="*/ 413718 w 1466597"/>
                <a:gd name="connsiteY1431" fmla="*/ 348881 h 790366"/>
                <a:gd name="connsiteX1432" fmla="*/ 410813 w 1466597"/>
                <a:gd name="connsiteY1432" fmla="*/ 350207 h 790366"/>
                <a:gd name="connsiteX1433" fmla="*/ 407804 w 1466597"/>
                <a:gd name="connsiteY1433" fmla="*/ 350499 h 790366"/>
                <a:gd name="connsiteX1434" fmla="*/ 404929 w 1466597"/>
                <a:gd name="connsiteY1434" fmla="*/ 349724 h 790366"/>
                <a:gd name="connsiteX1435" fmla="*/ 402224 w 1466597"/>
                <a:gd name="connsiteY1435" fmla="*/ 347993 h 790366"/>
                <a:gd name="connsiteX1436" fmla="*/ 400869 w 1466597"/>
                <a:gd name="connsiteY1436" fmla="*/ 346764 h 790366"/>
                <a:gd name="connsiteX1437" fmla="*/ 400145 w 1466597"/>
                <a:gd name="connsiteY1437" fmla="*/ 344646 h 790366"/>
                <a:gd name="connsiteX1438" fmla="*/ 400182 w 1466597"/>
                <a:gd name="connsiteY1438" fmla="*/ 342523 h 790366"/>
                <a:gd name="connsiteX1439" fmla="*/ 400549 w 1466597"/>
                <a:gd name="connsiteY1439" fmla="*/ 340475 h 790366"/>
                <a:gd name="connsiteX1440" fmla="*/ 402007 w 1466597"/>
                <a:gd name="connsiteY1440" fmla="*/ 335516 h 790366"/>
                <a:gd name="connsiteX1441" fmla="*/ 553132 w 1466597"/>
                <a:gd name="connsiteY1441" fmla="*/ 226692 h 790366"/>
                <a:gd name="connsiteX1442" fmla="*/ 552936 w 1466597"/>
                <a:gd name="connsiteY1442" fmla="*/ 227156 h 790366"/>
                <a:gd name="connsiteX1443" fmla="*/ 550069 w 1466597"/>
                <a:gd name="connsiteY1443" fmla="*/ 228809 h 790366"/>
                <a:gd name="connsiteX1444" fmla="*/ 545794 w 1466597"/>
                <a:gd name="connsiteY1444" fmla="*/ 230959 h 790366"/>
                <a:gd name="connsiteX1445" fmla="*/ 544805 w 1466597"/>
                <a:gd name="connsiteY1445" fmla="*/ 231198 h 790366"/>
                <a:gd name="connsiteX1446" fmla="*/ 544860 w 1466597"/>
                <a:gd name="connsiteY1446" fmla="*/ 230547 h 790366"/>
                <a:gd name="connsiteX1447" fmla="*/ 547768 w 1466597"/>
                <a:gd name="connsiteY1447" fmla="*/ 228827 h 790366"/>
                <a:gd name="connsiteX1448" fmla="*/ 791701 w 1466597"/>
                <a:gd name="connsiteY1448" fmla="*/ 0 h 790366"/>
                <a:gd name="connsiteX1449" fmla="*/ 793613 w 1466597"/>
                <a:gd name="connsiteY1449" fmla="*/ 515 h 790366"/>
                <a:gd name="connsiteX1450" fmla="*/ 791026 w 1466597"/>
                <a:gd name="connsiteY1450" fmla="*/ 1342 h 790366"/>
                <a:gd name="connsiteX1451" fmla="*/ 789226 w 1466597"/>
                <a:gd name="connsiteY1451" fmla="*/ 3105 h 790366"/>
                <a:gd name="connsiteX1452" fmla="*/ 791708 w 1466597"/>
                <a:gd name="connsiteY1452" fmla="*/ 5450 h 790366"/>
                <a:gd name="connsiteX1453" fmla="*/ 808514 w 1466597"/>
                <a:gd name="connsiteY1453" fmla="*/ 10279 h 790366"/>
                <a:gd name="connsiteX1454" fmla="*/ 812736 w 1466597"/>
                <a:gd name="connsiteY1454" fmla="*/ 10545 h 790366"/>
                <a:gd name="connsiteX1455" fmla="*/ 814425 w 1466597"/>
                <a:gd name="connsiteY1455" fmla="*/ 13426 h 790366"/>
                <a:gd name="connsiteX1456" fmla="*/ 813018 w 1466597"/>
                <a:gd name="connsiteY1456" fmla="*/ 16206 h 790366"/>
                <a:gd name="connsiteX1457" fmla="*/ 808687 w 1466597"/>
                <a:gd name="connsiteY1457" fmla="*/ 19289 h 790366"/>
                <a:gd name="connsiteX1458" fmla="*/ 799958 w 1466597"/>
                <a:gd name="connsiteY1458" fmla="*/ 22435 h 790366"/>
                <a:gd name="connsiteX1459" fmla="*/ 802627 w 1466597"/>
                <a:gd name="connsiteY1459" fmla="*/ 23624 h 790366"/>
                <a:gd name="connsiteX1460" fmla="*/ 804372 w 1466597"/>
                <a:gd name="connsiteY1460" fmla="*/ 26424 h 790366"/>
                <a:gd name="connsiteX1461" fmla="*/ 806956 w 1466597"/>
                <a:gd name="connsiteY1461" fmla="*/ 26765 h 790366"/>
                <a:gd name="connsiteX1462" fmla="*/ 811144 w 1466597"/>
                <a:gd name="connsiteY1462" fmla="*/ 25715 h 790366"/>
                <a:gd name="connsiteX1463" fmla="*/ 814426 w 1466597"/>
                <a:gd name="connsiteY1463" fmla="*/ 23993 h 790366"/>
                <a:gd name="connsiteX1464" fmla="*/ 821212 w 1466597"/>
                <a:gd name="connsiteY1464" fmla="*/ 18377 h 790366"/>
                <a:gd name="connsiteX1465" fmla="*/ 823346 w 1466597"/>
                <a:gd name="connsiteY1465" fmla="*/ 15241 h 790366"/>
                <a:gd name="connsiteX1466" fmla="*/ 824951 w 1466597"/>
                <a:gd name="connsiteY1466" fmla="*/ 14448 h 790366"/>
                <a:gd name="connsiteX1467" fmla="*/ 830640 w 1466597"/>
                <a:gd name="connsiteY1467" fmla="*/ 15203 h 790366"/>
                <a:gd name="connsiteX1468" fmla="*/ 833862 w 1466597"/>
                <a:gd name="connsiteY1468" fmla="*/ 16815 h 790366"/>
                <a:gd name="connsiteX1469" fmla="*/ 837532 w 1466597"/>
                <a:gd name="connsiteY1469" fmla="*/ 19677 h 790366"/>
                <a:gd name="connsiteX1470" fmla="*/ 836188 w 1466597"/>
                <a:gd name="connsiteY1470" fmla="*/ 22437 h 790366"/>
                <a:gd name="connsiteX1471" fmla="*/ 834687 w 1466597"/>
                <a:gd name="connsiteY1471" fmla="*/ 23995 h 790366"/>
                <a:gd name="connsiteX1472" fmla="*/ 839445 w 1466597"/>
                <a:gd name="connsiteY1472" fmla="*/ 26146 h 790366"/>
                <a:gd name="connsiteX1473" fmla="*/ 844712 w 1466597"/>
                <a:gd name="connsiteY1473" fmla="*/ 26594 h 790366"/>
                <a:gd name="connsiteX1474" fmla="*/ 849736 w 1466597"/>
                <a:gd name="connsiteY1474" fmla="*/ 28322 h 790366"/>
                <a:gd name="connsiteX1475" fmla="*/ 856803 w 1466597"/>
                <a:gd name="connsiteY1475" fmla="*/ 24783 h 790366"/>
                <a:gd name="connsiteX1476" fmla="*/ 862334 w 1466597"/>
                <a:gd name="connsiteY1476" fmla="*/ 24028 h 790366"/>
                <a:gd name="connsiteX1477" fmla="*/ 867530 w 1466597"/>
                <a:gd name="connsiteY1477" fmla="*/ 24146 h 790366"/>
                <a:gd name="connsiteX1478" fmla="*/ 874285 w 1466597"/>
                <a:gd name="connsiteY1478" fmla="*/ 22215 h 790366"/>
                <a:gd name="connsiteX1479" fmla="*/ 885713 w 1466597"/>
                <a:gd name="connsiteY1479" fmla="*/ 24844 h 790366"/>
                <a:gd name="connsiteX1480" fmla="*/ 888622 w 1466597"/>
                <a:gd name="connsiteY1480" fmla="*/ 24160 h 790366"/>
                <a:gd name="connsiteX1481" fmla="*/ 893205 w 1466597"/>
                <a:gd name="connsiteY1481" fmla="*/ 24614 h 790366"/>
                <a:gd name="connsiteX1482" fmla="*/ 898073 w 1466597"/>
                <a:gd name="connsiteY1482" fmla="*/ 26202 h 790366"/>
                <a:gd name="connsiteX1483" fmla="*/ 899795 w 1466597"/>
                <a:gd name="connsiteY1483" fmla="*/ 27893 h 790366"/>
                <a:gd name="connsiteX1484" fmla="*/ 894582 w 1466597"/>
                <a:gd name="connsiteY1484" fmla="*/ 31468 h 790366"/>
                <a:gd name="connsiteX1485" fmla="*/ 893731 w 1466597"/>
                <a:gd name="connsiteY1485" fmla="*/ 35155 h 790366"/>
                <a:gd name="connsiteX1486" fmla="*/ 895553 w 1466597"/>
                <a:gd name="connsiteY1486" fmla="*/ 36687 h 790366"/>
                <a:gd name="connsiteX1487" fmla="*/ 898857 w 1466597"/>
                <a:gd name="connsiteY1487" fmla="*/ 36951 h 790366"/>
                <a:gd name="connsiteX1488" fmla="*/ 899274 w 1466597"/>
                <a:gd name="connsiteY1488" fmla="*/ 39098 h 790366"/>
                <a:gd name="connsiteX1489" fmla="*/ 901325 w 1466597"/>
                <a:gd name="connsiteY1489" fmla="*/ 39634 h 790366"/>
                <a:gd name="connsiteX1490" fmla="*/ 911628 w 1466597"/>
                <a:gd name="connsiteY1490" fmla="*/ 39472 h 790366"/>
                <a:gd name="connsiteX1491" fmla="*/ 910841 w 1466597"/>
                <a:gd name="connsiteY1491" fmla="*/ 40493 h 790366"/>
                <a:gd name="connsiteX1492" fmla="*/ 910338 w 1466597"/>
                <a:gd name="connsiteY1492" fmla="*/ 41724 h 790366"/>
                <a:gd name="connsiteX1493" fmla="*/ 907147 w 1466597"/>
                <a:gd name="connsiteY1493" fmla="*/ 44453 h 790366"/>
                <a:gd name="connsiteX1494" fmla="*/ 925512 w 1466597"/>
                <a:gd name="connsiteY1494" fmla="*/ 45989 h 790366"/>
                <a:gd name="connsiteX1495" fmla="*/ 927982 w 1466597"/>
                <a:gd name="connsiteY1495" fmla="*/ 44476 h 790366"/>
                <a:gd name="connsiteX1496" fmla="*/ 931781 w 1466597"/>
                <a:gd name="connsiteY1496" fmla="*/ 43872 h 790366"/>
                <a:gd name="connsiteX1497" fmla="*/ 939852 w 1466597"/>
                <a:gd name="connsiteY1497" fmla="*/ 41789 h 790366"/>
                <a:gd name="connsiteX1498" fmla="*/ 942891 w 1466597"/>
                <a:gd name="connsiteY1498" fmla="*/ 42700 h 790366"/>
                <a:gd name="connsiteX1499" fmla="*/ 946470 w 1466597"/>
                <a:gd name="connsiteY1499" fmla="*/ 44831 h 790366"/>
                <a:gd name="connsiteX1500" fmla="*/ 949777 w 1466597"/>
                <a:gd name="connsiteY1500" fmla="*/ 45272 h 790366"/>
                <a:gd name="connsiteX1501" fmla="*/ 952865 w 1466597"/>
                <a:gd name="connsiteY1501" fmla="*/ 44841 h 790366"/>
                <a:gd name="connsiteX1502" fmla="*/ 960070 w 1466597"/>
                <a:gd name="connsiteY1502" fmla="*/ 41801 h 790366"/>
                <a:gd name="connsiteX1503" fmla="*/ 968389 w 1466597"/>
                <a:gd name="connsiteY1503" fmla="*/ 41652 h 790366"/>
                <a:gd name="connsiteX1504" fmla="*/ 971791 w 1466597"/>
                <a:gd name="connsiteY1504" fmla="*/ 42642 h 790366"/>
                <a:gd name="connsiteX1505" fmla="*/ 975393 w 1466597"/>
                <a:gd name="connsiteY1505" fmla="*/ 42210 h 790366"/>
                <a:gd name="connsiteX1506" fmla="*/ 986226 w 1466597"/>
                <a:gd name="connsiteY1506" fmla="*/ 45692 h 790366"/>
                <a:gd name="connsiteX1507" fmla="*/ 990215 w 1466597"/>
                <a:gd name="connsiteY1507" fmla="*/ 46102 h 790366"/>
                <a:gd name="connsiteX1508" fmla="*/ 995551 w 1466597"/>
                <a:gd name="connsiteY1508" fmla="*/ 50624 h 790366"/>
                <a:gd name="connsiteX1509" fmla="*/ 998309 w 1466597"/>
                <a:gd name="connsiteY1509" fmla="*/ 50759 h 790366"/>
                <a:gd name="connsiteX1510" fmla="*/ 1001431 w 1466597"/>
                <a:gd name="connsiteY1510" fmla="*/ 48840 h 790366"/>
                <a:gd name="connsiteX1511" fmla="*/ 1004135 w 1466597"/>
                <a:gd name="connsiteY1511" fmla="*/ 48900 h 790366"/>
                <a:gd name="connsiteX1512" fmla="*/ 1006780 w 1466597"/>
                <a:gd name="connsiteY1512" fmla="*/ 50736 h 790366"/>
                <a:gd name="connsiteX1513" fmla="*/ 1011104 w 1466597"/>
                <a:gd name="connsiteY1513" fmla="*/ 51297 h 790366"/>
                <a:gd name="connsiteX1514" fmla="*/ 1013119 w 1466597"/>
                <a:gd name="connsiteY1514" fmla="*/ 54193 h 790366"/>
                <a:gd name="connsiteX1515" fmla="*/ 1015293 w 1466597"/>
                <a:gd name="connsiteY1515" fmla="*/ 55242 h 790366"/>
                <a:gd name="connsiteX1516" fmla="*/ 1031681 w 1466597"/>
                <a:gd name="connsiteY1516" fmla="*/ 57388 h 790366"/>
                <a:gd name="connsiteX1517" fmla="*/ 1039795 w 1466597"/>
                <a:gd name="connsiteY1517" fmla="*/ 56411 h 790366"/>
                <a:gd name="connsiteX1518" fmla="*/ 1051622 w 1466597"/>
                <a:gd name="connsiteY1518" fmla="*/ 56667 h 790366"/>
                <a:gd name="connsiteX1519" fmla="*/ 1057325 w 1466597"/>
                <a:gd name="connsiteY1519" fmla="*/ 58036 h 790366"/>
                <a:gd name="connsiteX1520" fmla="*/ 1063307 w 1466597"/>
                <a:gd name="connsiteY1520" fmla="*/ 57861 h 790366"/>
                <a:gd name="connsiteX1521" fmla="*/ 1073080 w 1466597"/>
                <a:gd name="connsiteY1521" fmla="*/ 62851 h 790366"/>
                <a:gd name="connsiteX1522" fmla="*/ 1078265 w 1466597"/>
                <a:gd name="connsiteY1522" fmla="*/ 63627 h 790366"/>
                <a:gd name="connsiteX1523" fmla="*/ 1079272 w 1466597"/>
                <a:gd name="connsiteY1523" fmla="*/ 64778 h 790366"/>
                <a:gd name="connsiteX1524" fmla="*/ 1094021 w 1466597"/>
                <a:gd name="connsiteY1524" fmla="*/ 65990 h 790366"/>
                <a:gd name="connsiteX1525" fmla="*/ 1099181 w 1466597"/>
                <a:gd name="connsiteY1525" fmla="*/ 63394 h 790366"/>
                <a:gd name="connsiteX1526" fmla="*/ 1108181 w 1466597"/>
                <a:gd name="connsiteY1526" fmla="*/ 62705 h 790366"/>
                <a:gd name="connsiteX1527" fmla="*/ 1116285 w 1466597"/>
                <a:gd name="connsiteY1527" fmla="*/ 60519 h 790366"/>
                <a:gd name="connsiteX1528" fmla="*/ 1120878 w 1466597"/>
                <a:gd name="connsiteY1528" fmla="*/ 60542 h 790366"/>
                <a:gd name="connsiteX1529" fmla="*/ 1126219 w 1466597"/>
                <a:gd name="connsiteY1529" fmla="*/ 61085 h 790366"/>
                <a:gd name="connsiteX1530" fmla="*/ 1128274 w 1466597"/>
                <a:gd name="connsiteY1530" fmla="*/ 60822 h 790366"/>
                <a:gd name="connsiteX1531" fmla="*/ 1129758 w 1466597"/>
                <a:gd name="connsiteY1531" fmla="*/ 59865 h 790366"/>
                <a:gd name="connsiteX1532" fmla="*/ 1142779 w 1466597"/>
                <a:gd name="connsiteY1532" fmla="*/ 63632 h 790366"/>
                <a:gd name="connsiteX1533" fmla="*/ 1150068 w 1466597"/>
                <a:gd name="connsiteY1533" fmla="*/ 67933 h 790366"/>
                <a:gd name="connsiteX1534" fmla="*/ 1153261 w 1466597"/>
                <a:gd name="connsiteY1534" fmla="*/ 71104 h 790366"/>
                <a:gd name="connsiteX1535" fmla="*/ 1168509 w 1466597"/>
                <a:gd name="connsiteY1535" fmla="*/ 75627 h 790366"/>
                <a:gd name="connsiteX1536" fmla="*/ 1172919 w 1466597"/>
                <a:gd name="connsiteY1536" fmla="*/ 78152 h 790366"/>
                <a:gd name="connsiteX1537" fmla="*/ 1175940 w 1466597"/>
                <a:gd name="connsiteY1537" fmla="*/ 80931 h 790366"/>
                <a:gd name="connsiteX1538" fmla="*/ 1177708 w 1466597"/>
                <a:gd name="connsiteY1538" fmla="*/ 81230 h 790366"/>
                <a:gd name="connsiteX1539" fmla="*/ 1178958 w 1466597"/>
                <a:gd name="connsiteY1539" fmla="*/ 80418 h 790366"/>
                <a:gd name="connsiteX1540" fmla="*/ 1184285 w 1466597"/>
                <a:gd name="connsiteY1540" fmla="*/ 80658 h 790366"/>
                <a:gd name="connsiteX1541" fmla="*/ 1186292 w 1466597"/>
                <a:gd name="connsiteY1541" fmla="*/ 81049 h 790366"/>
                <a:gd name="connsiteX1542" fmla="*/ 1186292 w 1466597"/>
                <a:gd name="connsiteY1542" fmla="*/ 94243 h 790366"/>
                <a:gd name="connsiteX1543" fmla="*/ 1186292 w 1466597"/>
                <a:gd name="connsiteY1543" fmla="*/ 107363 h 790366"/>
                <a:gd name="connsiteX1544" fmla="*/ 1186292 w 1466597"/>
                <a:gd name="connsiteY1544" fmla="*/ 120401 h 790366"/>
                <a:gd name="connsiteX1545" fmla="*/ 1186292 w 1466597"/>
                <a:gd name="connsiteY1545" fmla="*/ 133365 h 790366"/>
                <a:gd name="connsiteX1546" fmla="*/ 1186292 w 1466597"/>
                <a:gd name="connsiteY1546" fmla="*/ 146257 h 790366"/>
                <a:gd name="connsiteX1547" fmla="*/ 1186292 w 1466597"/>
                <a:gd name="connsiteY1547" fmla="*/ 159072 h 790366"/>
                <a:gd name="connsiteX1548" fmla="*/ 1186292 w 1466597"/>
                <a:gd name="connsiteY1548" fmla="*/ 171814 h 790366"/>
                <a:gd name="connsiteX1549" fmla="*/ 1186292 w 1466597"/>
                <a:gd name="connsiteY1549" fmla="*/ 184487 h 790366"/>
                <a:gd name="connsiteX1550" fmla="*/ 1186292 w 1466597"/>
                <a:gd name="connsiteY1550" fmla="*/ 197088 h 790366"/>
                <a:gd name="connsiteX1551" fmla="*/ 1186292 w 1466597"/>
                <a:gd name="connsiteY1551" fmla="*/ 209618 h 790366"/>
                <a:gd name="connsiteX1552" fmla="*/ 1186292 w 1466597"/>
                <a:gd name="connsiteY1552" fmla="*/ 222084 h 790366"/>
                <a:gd name="connsiteX1553" fmla="*/ 1186292 w 1466597"/>
                <a:gd name="connsiteY1553" fmla="*/ 234478 h 790366"/>
                <a:gd name="connsiteX1554" fmla="*/ 1186292 w 1466597"/>
                <a:gd name="connsiteY1554" fmla="*/ 246806 h 790366"/>
                <a:gd name="connsiteX1555" fmla="*/ 1186292 w 1466597"/>
                <a:gd name="connsiteY1555" fmla="*/ 259070 h 790366"/>
                <a:gd name="connsiteX1556" fmla="*/ 1186292 w 1466597"/>
                <a:gd name="connsiteY1556" fmla="*/ 271267 h 790366"/>
                <a:gd name="connsiteX1557" fmla="*/ 1186292 w 1466597"/>
                <a:gd name="connsiteY1557" fmla="*/ 283401 h 790366"/>
                <a:gd name="connsiteX1558" fmla="*/ 1186292 w 1466597"/>
                <a:gd name="connsiteY1558" fmla="*/ 295473 h 790366"/>
                <a:gd name="connsiteX1559" fmla="*/ 1186292 w 1466597"/>
                <a:gd name="connsiteY1559" fmla="*/ 307481 h 790366"/>
                <a:gd name="connsiteX1560" fmla="*/ 1186292 w 1466597"/>
                <a:gd name="connsiteY1560" fmla="*/ 319430 h 790366"/>
                <a:gd name="connsiteX1561" fmla="*/ 1186292 w 1466597"/>
                <a:gd name="connsiteY1561" fmla="*/ 331314 h 790366"/>
                <a:gd name="connsiteX1562" fmla="*/ 1186292 w 1466597"/>
                <a:gd name="connsiteY1562" fmla="*/ 343142 h 790366"/>
                <a:gd name="connsiteX1563" fmla="*/ 1186292 w 1466597"/>
                <a:gd name="connsiteY1563" fmla="*/ 354909 h 790366"/>
                <a:gd name="connsiteX1564" fmla="*/ 1186292 w 1466597"/>
                <a:gd name="connsiteY1564" fmla="*/ 366618 h 790366"/>
                <a:gd name="connsiteX1565" fmla="*/ 1186292 w 1466597"/>
                <a:gd name="connsiteY1565" fmla="*/ 378268 h 790366"/>
                <a:gd name="connsiteX1566" fmla="*/ 1186292 w 1466597"/>
                <a:gd name="connsiteY1566" fmla="*/ 389863 h 790366"/>
                <a:gd name="connsiteX1567" fmla="*/ 1186292 w 1466597"/>
                <a:gd name="connsiteY1567" fmla="*/ 401404 h 790366"/>
                <a:gd name="connsiteX1568" fmla="*/ 1186292 w 1466597"/>
                <a:gd name="connsiteY1568" fmla="*/ 412886 h 790366"/>
                <a:gd name="connsiteX1569" fmla="*/ 1186292 w 1466597"/>
                <a:gd name="connsiteY1569" fmla="*/ 424317 h 790366"/>
                <a:gd name="connsiteX1570" fmla="*/ 1186292 w 1466597"/>
                <a:gd name="connsiteY1570" fmla="*/ 435692 h 790366"/>
                <a:gd name="connsiteX1571" fmla="*/ 1186292 w 1466597"/>
                <a:gd name="connsiteY1571" fmla="*/ 447013 h 790366"/>
                <a:gd name="connsiteX1572" fmla="*/ 1186292 w 1466597"/>
                <a:gd name="connsiteY1572" fmla="*/ 458285 h 790366"/>
                <a:gd name="connsiteX1573" fmla="*/ 1186292 w 1466597"/>
                <a:gd name="connsiteY1573" fmla="*/ 469501 h 790366"/>
                <a:gd name="connsiteX1574" fmla="*/ 1192399 w 1466597"/>
                <a:gd name="connsiteY1574" fmla="*/ 471076 h 790366"/>
                <a:gd name="connsiteX1575" fmla="*/ 1198452 w 1466597"/>
                <a:gd name="connsiteY1575" fmla="*/ 472636 h 790366"/>
                <a:gd name="connsiteX1576" fmla="*/ 1200304 w 1466597"/>
                <a:gd name="connsiteY1576" fmla="*/ 469523 h 790366"/>
                <a:gd name="connsiteX1577" fmla="*/ 1206833 w 1466597"/>
                <a:gd name="connsiteY1577" fmla="*/ 471904 h 790366"/>
                <a:gd name="connsiteX1578" fmla="*/ 1212537 w 1466597"/>
                <a:gd name="connsiteY1578" fmla="*/ 473982 h 790366"/>
                <a:gd name="connsiteX1579" fmla="*/ 1216176 w 1466597"/>
                <a:gd name="connsiteY1579" fmla="*/ 471315 h 790366"/>
                <a:gd name="connsiteX1580" fmla="*/ 1220114 w 1466597"/>
                <a:gd name="connsiteY1580" fmla="*/ 468426 h 790366"/>
                <a:gd name="connsiteX1581" fmla="*/ 1225429 w 1466597"/>
                <a:gd name="connsiteY1581" fmla="*/ 468220 h 790366"/>
                <a:gd name="connsiteX1582" fmla="*/ 1231377 w 1466597"/>
                <a:gd name="connsiteY1582" fmla="*/ 467988 h 790366"/>
                <a:gd name="connsiteX1583" fmla="*/ 1235344 w 1466597"/>
                <a:gd name="connsiteY1583" fmla="*/ 467836 h 790366"/>
                <a:gd name="connsiteX1584" fmla="*/ 1235344 w 1466597"/>
                <a:gd name="connsiteY1584" fmla="*/ 470298 h 790366"/>
                <a:gd name="connsiteX1585" fmla="*/ 1233873 w 1466597"/>
                <a:gd name="connsiteY1585" fmla="*/ 474382 h 790366"/>
                <a:gd name="connsiteX1586" fmla="*/ 1232643 w 1466597"/>
                <a:gd name="connsiteY1586" fmla="*/ 477786 h 790366"/>
                <a:gd name="connsiteX1587" fmla="*/ 1236258 w 1466597"/>
                <a:gd name="connsiteY1587" fmla="*/ 481232 h 790366"/>
                <a:gd name="connsiteX1588" fmla="*/ 1240715 w 1466597"/>
                <a:gd name="connsiteY1588" fmla="*/ 483042 h 790366"/>
                <a:gd name="connsiteX1589" fmla="*/ 1244880 w 1466597"/>
                <a:gd name="connsiteY1589" fmla="*/ 484734 h 790366"/>
                <a:gd name="connsiteX1590" fmla="*/ 1246747 w 1466597"/>
                <a:gd name="connsiteY1590" fmla="*/ 489413 h 790366"/>
                <a:gd name="connsiteX1591" fmla="*/ 1251305 w 1466597"/>
                <a:gd name="connsiteY1591" fmla="*/ 493015 h 790366"/>
                <a:gd name="connsiteX1592" fmla="*/ 1254773 w 1466597"/>
                <a:gd name="connsiteY1592" fmla="*/ 495755 h 790366"/>
                <a:gd name="connsiteX1593" fmla="*/ 1258094 w 1466597"/>
                <a:gd name="connsiteY1593" fmla="*/ 498376 h 790366"/>
                <a:gd name="connsiteX1594" fmla="*/ 1262848 w 1466597"/>
                <a:gd name="connsiteY1594" fmla="*/ 502122 h 790366"/>
                <a:gd name="connsiteX1595" fmla="*/ 1266178 w 1466597"/>
                <a:gd name="connsiteY1595" fmla="*/ 504742 h 790366"/>
                <a:gd name="connsiteX1596" fmla="*/ 1270616 w 1466597"/>
                <a:gd name="connsiteY1596" fmla="*/ 508229 h 790366"/>
                <a:gd name="connsiteX1597" fmla="*/ 1273251 w 1466597"/>
                <a:gd name="connsiteY1597" fmla="*/ 510297 h 790366"/>
                <a:gd name="connsiteX1598" fmla="*/ 1274516 w 1466597"/>
                <a:gd name="connsiteY1598" fmla="*/ 514319 h 790366"/>
                <a:gd name="connsiteX1599" fmla="*/ 1276036 w 1466597"/>
                <a:gd name="connsiteY1599" fmla="*/ 519138 h 790366"/>
                <a:gd name="connsiteX1600" fmla="*/ 1275099 w 1466597"/>
                <a:gd name="connsiteY1600" fmla="*/ 521982 h 790366"/>
                <a:gd name="connsiteX1601" fmla="*/ 1277199 w 1466597"/>
                <a:gd name="connsiteY1601" fmla="*/ 522442 h 790366"/>
                <a:gd name="connsiteX1602" fmla="*/ 1281306 w 1466597"/>
                <a:gd name="connsiteY1602" fmla="*/ 519251 h 790366"/>
                <a:gd name="connsiteX1603" fmla="*/ 1285167 w 1466597"/>
                <a:gd name="connsiteY1603" fmla="*/ 517269 h 790366"/>
                <a:gd name="connsiteX1604" fmla="*/ 1289935 w 1466597"/>
                <a:gd name="connsiteY1604" fmla="*/ 514821 h 790366"/>
                <a:gd name="connsiteX1605" fmla="*/ 1293150 w 1466597"/>
                <a:gd name="connsiteY1605" fmla="*/ 513167 h 790366"/>
                <a:gd name="connsiteX1606" fmla="*/ 1299132 w 1466597"/>
                <a:gd name="connsiteY1606" fmla="*/ 513085 h 790366"/>
                <a:gd name="connsiteX1607" fmla="*/ 1301990 w 1466597"/>
                <a:gd name="connsiteY1607" fmla="*/ 508275 h 790366"/>
                <a:gd name="connsiteX1608" fmla="*/ 1302000 w 1466597"/>
                <a:gd name="connsiteY1608" fmla="*/ 501511 h 790366"/>
                <a:gd name="connsiteX1609" fmla="*/ 1305022 w 1466597"/>
                <a:gd name="connsiteY1609" fmla="*/ 501625 h 790366"/>
                <a:gd name="connsiteX1610" fmla="*/ 1306805 w 1466597"/>
                <a:gd name="connsiteY1610" fmla="*/ 500708 h 790366"/>
                <a:gd name="connsiteX1611" fmla="*/ 1307593 w 1466597"/>
                <a:gd name="connsiteY1611" fmla="*/ 498718 h 790366"/>
                <a:gd name="connsiteX1612" fmla="*/ 1305687 w 1466597"/>
                <a:gd name="connsiteY1612" fmla="*/ 495994 h 790366"/>
                <a:gd name="connsiteX1613" fmla="*/ 1311418 w 1466597"/>
                <a:gd name="connsiteY1613" fmla="*/ 494723 h 790366"/>
                <a:gd name="connsiteX1614" fmla="*/ 1315564 w 1466597"/>
                <a:gd name="connsiteY1614" fmla="*/ 493803 h 790366"/>
                <a:gd name="connsiteX1615" fmla="*/ 1321483 w 1466597"/>
                <a:gd name="connsiteY1615" fmla="*/ 491295 h 790366"/>
                <a:gd name="connsiteX1616" fmla="*/ 1327265 w 1466597"/>
                <a:gd name="connsiteY1616" fmla="*/ 488844 h 790366"/>
                <a:gd name="connsiteX1617" fmla="*/ 1330023 w 1466597"/>
                <a:gd name="connsiteY1617" fmla="*/ 490741 h 790366"/>
                <a:gd name="connsiteX1618" fmla="*/ 1332753 w 1466597"/>
                <a:gd name="connsiteY1618" fmla="*/ 492574 h 790366"/>
                <a:gd name="connsiteX1619" fmla="*/ 1338105 w 1466597"/>
                <a:gd name="connsiteY1619" fmla="*/ 496985 h 790366"/>
                <a:gd name="connsiteX1620" fmla="*/ 1338471 w 1466597"/>
                <a:gd name="connsiteY1620" fmla="*/ 498045 h 790366"/>
                <a:gd name="connsiteX1621" fmla="*/ 1338109 w 1466597"/>
                <a:gd name="connsiteY1621" fmla="*/ 500113 h 790366"/>
                <a:gd name="connsiteX1622" fmla="*/ 1337588 w 1466597"/>
                <a:gd name="connsiteY1622" fmla="*/ 502178 h 790366"/>
                <a:gd name="connsiteX1623" fmla="*/ 1340842 w 1466597"/>
                <a:gd name="connsiteY1623" fmla="*/ 507960 h 790366"/>
                <a:gd name="connsiteX1624" fmla="*/ 1341772 w 1466597"/>
                <a:gd name="connsiteY1624" fmla="*/ 508605 h 790366"/>
                <a:gd name="connsiteX1625" fmla="*/ 1344447 w 1466597"/>
                <a:gd name="connsiteY1625" fmla="*/ 509404 h 790366"/>
                <a:gd name="connsiteX1626" fmla="*/ 1347640 w 1466597"/>
                <a:gd name="connsiteY1626" fmla="*/ 511315 h 790366"/>
                <a:gd name="connsiteX1627" fmla="*/ 1349050 w 1466597"/>
                <a:gd name="connsiteY1627" fmla="*/ 512969 h 790366"/>
                <a:gd name="connsiteX1628" fmla="*/ 1353672 w 1466597"/>
                <a:gd name="connsiteY1628" fmla="*/ 515601 h 790366"/>
                <a:gd name="connsiteX1629" fmla="*/ 1354453 w 1466597"/>
                <a:gd name="connsiteY1629" fmla="*/ 516695 h 790366"/>
                <a:gd name="connsiteX1630" fmla="*/ 1354889 w 1466597"/>
                <a:gd name="connsiteY1630" fmla="*/ 518463 h 790366"/>
                <a:gd name="connsiteX1631" fmla="*/ 1355643 w 1466597"/>
                <a:gd name="connsiteY1631" fmla="*/ 519980 h 790366"/>
                <a:gd name="connsiteX1632" fmla="*/ 1356507 w 1466597"/>
                <a:gd name="connsiteY1632" fmla="*/ 521070 h 790366"/>
                <a:gd name="connsiteX1633" fmla="*/ 1357341 w 1466597"/>
                <a:gd name="connsiteY1633" fmla="*/ 522616 h 790366"/>
                <a:gd name="connsiteX1634" fmla="*/ 1359343 w 1466597"/>
                <a:gd name="connsiteY1634" fmla="*/ 524437 h 790366"/>
                <a:gd name="connsiteX1635" fmla="*/ 1363151 w 1466597"/>
                <a:gd name="connsiteY1635" fmla="*/ 526472 h 790366"/>
                <a:gd name="connsiteX1636" fmla="*/ 1365791 w 1466597"/>
                <a:gd name="connsiteY1636" fmla="*/ 527883 h 790366"/>
                <a:gd name="connsiteX1637" fmla="*/ 1369489 w 1466597"/>
                <a:gd name="connsiteY1637" fmla="*/ 529858 h 790366"/>
                <a:gd name="connsiteX1638" fmla="*/ 1373234 w 1466597"/>
                <a:gd name="connsiteY1638" fmla="*/ 533886 h 790366"/>
                <a:gd name="connsiteX1639" fmla="*/ 1376488 w 1466597"/>
                <a:gd name="connsiteY1639" fmla="*/ 537381 h 790366"/>
                <a:gd name="connsiteX1640" fmla="*/ 1380194 w 1466597"/>
                <a:gd name="connsiteY1640" fmla="*/ 540829 h 790366"/>
                <a:gd name="connsiteX1641" fmla="*/ 1379646 w 1466597"/>
                <a:gd name="connsiteY1641" fmla="*/ 543574 h 790366"/>
                <a:gd name="connsiteX1642" fmla="*/ 1383404 w 1466597"/>
                <a:gd name="connsiteY1642" fmla="*/ 547817 h 790366"/>
                <a:gd name="connsiteX1643" fmla="*/ 1387355 w 1466597"/>
                <a:gd name="connsiteY1643" fmla="*/ 553196 h 790366"/>
                <a:gd name="connsiteX1644" fmla="*/ 1390390 w 1466597"/>
                <a:gd name="connsiteY1644" fmla="*/ 557961 h 790366"/>
                <a:gd name="connsiteX1645" fmla="*/ 1392547 w 1466597"/>
                <a:gd name="connsiteY1645" fmla="*/ 560619 h 790366"/>
                <a:gd name="connsiteX1646" fmla="*/ 1395133 w 1466597"/>
                <a:gd name="connsiteY1646" fmla="*/ 564467 h 790366"/>
                <a:gd name="connsiteX1647" fmla="*/ 1398297 w 1466597"/>
                <a:gd name="connsiteY1647" fmla="*/ 569168 h 790366"/>
                <a:gd name="connsiteX1648" fmla="*/ 1401893 w 1466597"/>
                <a:gd name="connsiteY1648" fmla="*/ 574506 h 790366"/>
                <a:gd name="connsiteX1649" fmla="*/ 1404648 w 1466597"/>
                <a:gd name="connsiteY1649" fmla="*/ 577925 h 790366"/>
                <a:gd name="connsiteX1650" fmla="*/ 1408241 w 1466597"/>
                <a:gd name="connsiteY1650" fmla="*/ 582704 h 790366"/>
                <a:gd name="connsiteX1651" fmla="*/ 1410014 w 1466597"/>
                <a:gd name="connsiteY1651" fmla="*/ 585548 h 790366"/>
                <a:gd name="connsiteX1652" fmla="*/ 1408810 w 1466597"/>
                <a:gd name="connsiteY1652" fmla="*/ 587493 h 790366"/>
                <a:gd name="connsiteX1653" fmla="*/ 1407314 w 1466597"/>
                <a:gd name="connsiteY1653" fmla="*/ 589900 h 790366"/>
                <a:gd name="connsiteX1654" fmla="*/ 1411930 w 1466597"/>
                <a:gd name="connsiteY1654" fmla="*/ 591040 h 790366"/>
                <a:gd name="connsiteX1655" fmla="*/ 1415132 w 1466597"/>
                <a:gd name="connsiteY1655" fmla="*/ 591829 h 790366"/>
                <a:gd name="connsiteX1656" fmla="*/ 1414332 w 1466597"/>
                <a:gd name="connsiteY1656" fmla="*/ 594498 h 790366"/>
                <a:gd name="connsiteX1657" fmla="*/ 1413276 w 1466597"/>
                <a:gd name="connsiteY1657" fmla="*/ 598014 h 790366"/>
                <a:gd name="connsiteX1658" fmla="*/ 1416894 w 1466597"/>
                <a:gd name="connsiteY1658" fmla="*/ 599400 h 790366"/>
                <a:gd name="connsiteX1659" fmla="*/ 1419351 w 1466597"/>
                <a:gd name="connsiteY1659" fmla="*/ 600341 h 790366"/>
                <a:gd name="connsiteX1660" fmla="*/ 1418846 w 1466597"/>
                <a:gd name="connsiteY1660" fmla="*/ 602182 h 790366"/>
                <a:gd name="connsiteX1661" fmla="*/ 1420194 w 1466597"/>
                <a:gd name="connsiteY1661" fmla="*/ 604264 h 790366"/>
                <a:gd name="connsiteX1662" fmla="*/ 1420419 w 1466597"/>
                <a:gd name="connsiteY1662" fmla="*/ 607704 h 790366"/>
                <a:gd name="connsiteX1663" fmla="*/ 1424826 w 1466597"/>
                <a:gd name="connsiteY1663" fmla="*/ 607482 h 790366"/>
                <a:gd name="connsiteX1664" fmla="*/ 1426775 w 1466597"/>
                <a:gd name="connsiteY1664" fmla="*/ 607383 h 790366"/>
                <a:gd name="connsiteX1665" fmla="*/ 1429408 w 1466597"/>
                <a:gd name="connsiteY1665" fmla="*/ 608909 h 790366"/>
                <a:gd name="connsiteX1666" fmla="*/ 1432881 w 1466597"/>
                <a:gd name="connsiteY1666" fmla="*/ 610919 h 790366"/>
                <a:gd name="connsiteX1667" fmla="*/ 1436359 w 1466597"/>
                <a:gd name="connsiteY1667" fmla="*/ 612801 h 790366"/>
                <a:gd name="connsiteX1668" fmla="*/ 1439331 w 1466597"/>
                <a:gd name="connsiteY1668" fmla="*/ 614406 h 790366"/>
                <a:gd name="connsiteX1669" fmla="*/ 1443227 w 1466597"/>
                <a:gd name="connsiteY1669" fmla="*/ 615355 h 790366"/>
                <a:gd name="connsiteX1670" fmla="*/ 1448035 w 1466597"/>
                <a:gd name="connsiteY1670" fmla="*/ 616721 h 790366"/>
                <a:gd name="connsiteX1671" fmla="*/ 1450399 w 1466597"/>
                <a:gd name="connsiteY1671" fmla="*/ 619506 h 790366"/>
                <a:gd name="connsiteX1672" fmla="*/ 1454786 w 1466597"/>
                <a:gd name="connsiteY1672" fmla="*/ 620700 h 790366"/>
                <a:gd name="connsiteX1673" fmla="*/ 1456417 w 1466597"/>
                <a:gd name="connsiteY1673" fmla="*/ 624593 h 790366"/>
                <a:gd name="connsiteX1674" fmla="*/ 1461479 w 1466597"/>
                <a:gd name="connsiteY1674" fmla="*/ 626023 h 790366"/>
                <a:gd name="connsiteX1675" fmla="*/ 1464460 w 1466597"/>
                <a:gd name="connsiteY1675" fmla="*/ 625071 h 790366"/>
                <a:gd name="connsiteX1676" fmla="*/ 1465529 w 1466597"/>
                <a:gd name="connsiteY1676" fmla="*/ 626656 h 790366"/>
                <a:gd name="connsiteX1677" fmla="*/ 1466372 w 1466597"/>
                <a:gd name="connsiteY1677" fmla="*/ 628480 h 790366"/>
                <a:gd name="connsiteX1678" fmla="*/ 1466597 w 1466597"/>
                <a:gd name="connsiteY1678" fmla="*/ 630780 h 790366"/>
                <a:gd name="connsiteX1679" fmla="*/ 1466316 w 1466597"/>
                <a:gd name="connsiteY1679" fmla="*/ 633017 h 790366"/>
                <a:gd name="connsiteX1680" fmla="*/ 1465052 w 1466597"/>
                <a:gd name="connsiteY1680" fmla="*/ 634889 h 790366"/>
                <a:gd name="connsiteX1681" fmla="*/ 1464100 w 1466597"/>
                <a:gd name="connsiteY1681" fmla="*/ 636906 h 790366"/>
                <a:gd name="connsiteX1682" fmla="*/ 1463460 w 1466597"/>
                <a:gd name="connsiteY1682" fmla="*/ 639071 h 790366"/>
                <a:gd name="connsiteX1683" fmla="*/ 1463218 w 1466597"/>
                <a:gd name="connsiteY1683" fmla="*/ 641395 h 790366"/>
                <a:gd name="connsiteX1684" fmla="*/ 1463374 w 1466597"/>
                <a:gd name="connsiteY1684" fmla="*/ 643879 h 790366"/>
                <a:gd name="connsiteX1685" fmla="*/ 1463885 w 1466597"/>
                <a:gd name="connsiteY1685" fmla="*/ 646045 h 790366"/>
                <a:gd name="connsiteX1686" fmla="*/ 1465438 w 1466597"/>
                <a:gd name="connsiteY1686" fmla="*/ 650046 h 790366"/>
                <a:gd name="connsiteX1687" fmla="*/ 1465954 w 1466597"/>
                <a:gd name="connsiteY1687" fmla="*/ 652493 h 790366"/>
                <a:gd name="connsiteX1688" fmla="*/ 1466024 w 1466597"/>
                <a:gd name="connsiteY1688" fmla="*/ 654121 h 790366"/>
                <a:gd name="connsiteX1689" fmla="*/ 1462573 w 1466597"/>
                <a:gd name="connsiteY1689" fmla="*/ 659845 h 790366"/>
                <a:gd name="connsiteX1690" fmla="*/ 1461383 w 1466597"/>
                <a:gd name="connsiteY1690" fmla="*/ 662570 h 790366"/>
                <a:gd name="connsiteX1691" fmla="*/ 1461495 w 1466597"/>
                <a:gd name="connsiteY1691" fmla="*/ 663790 h 790366"/>
                <a:gd name="connsiteX1692" fmla="*/ 1458982 w 1466597"/>
                <a:gd name="connsiteY1692" fmla="*/ 666623 h 790366"/>
                <a:gd name="connsiteX1693" fmla="*/ 1454373 w 1466597"/>
                <a:gd name="connsiteY1693" fmla="*/ 670582 h 790366"/>
                <a:gd name="connsiteX1694" fmla="*/ 1452279 w 1466597"/>
                <a:gd name="connsiteY1694" fmla="*/ 672863 h 790366"/>
                <a:gd name="connsiteX1695" fmla="*/ 1451248 w 1466597"/>
                <a:gd name="connsiteY1695" fmla="*/ 672111 h 790366"/>
                <a:gd name="connsiteX1696" fmla="*/ 1445283 w 1466597"/>
                <a:gd name="connsiteY1696" fmla="*/ 671521 h 790366"/>
                <a:gd name="connsiteX1697" fmla="*/ 1443114 w 1466597"/>
                <a:gd name="connsiteY1697" fmla="*/ 666467 h 790366"/>
                <a:gd name="connsiteX1698" fmla="*/ 1441964 w 1466597"/>
                <a:gd name="connsiteY1698" fmla="*/ 662538 h 790366"/>
                <a:gd name="connsiteX1699" fmla="*/ 1440226 w 1466597"/>
                <a:gd name="connsiteY1699" fmla="*/ 659110 h 790366"/>
                <a:gd name="connsiteX1700" fmla="*/ 1440276 w 1466597"/>
                <a:gd name="connsiteY1700" fmla="*/ 658332 h 790366"/>
                <a:gd name="connsiteX1701" fmla="*/ 1441856 w 1466597"/>
                <a:gd name="connsiteY1701" fmla="*/ 656043 h 790366"/>
                <a:gd name="connsiteX1702" fmla="*/ 1447814 w 1466597"/>
                <a:gd name="connsiteY1702" fmla="*/ 654155 h 790366"/>
                <a:gd name="connsiteX1703" fmla="*/ 1447869 w 1466597"/>
                <a:gd name="connsiteY1703" fmla="*/ 653405 h 790366"/>
                <a:gd name="connsiteX1704" fmla="*/ 1445654 w 1466597"/>
                <a:gd name="connsiteY1704" fmla="*/ 652904 h 790366"/>
                <a:gd name="connsiteX1705" fmla="*/ 1445122 w 1466597"/>
                <a:gd name="connsiteY1705" fmla="*/ 652083 h 790366"/>
                <a:gd name="connsiteX1706" fmla="*/ 1444512 w 1466597"/>
                <a:gd name="connsiteY1706" fmla="*/ 648361 h 790366"/>
                <a:gd name="connsiteX1707" fmla="*/ 1444676 w 1466597"/>
                <a:gd name="connsiteY1707" fmla="*/ 645090 h 790366"/>
                <a:gd name="connsiteX1708" fmla="*/ 1444517 w 1466597"/>
                <a:gd name="connsiteY1708" fmla="*/ 642921 h 790366"/>
                <a:gd name="connsiteX1709" fmla="*/ 1443523 w 1466597"/>
                <a:gd name="connsiteY1709" fmla="*/ 638477 h 790366"/>
                <a:gd name="connsiteX1710" fmla="*/ 1442033 w 1466597"/>
                <a:gd name="connsiteY1710" fmla="*/ 635754 h 790366"/>
                <a:gd name="connsiteX1711" fmla="*/ 1438189 w 1466597"/>
                <a:gd name="connsiteY1711" fmla="*/ 630435 h 790366"/>
                <a:gd name="connsiteX1712" fmla="*/ 1437865 w 1466597"/>
                <a:gd name="connsiteY1712" fmla="*/ 629091 h 790366"/>
                <a:gd name="connsiteX1713" fmla="*/ 1439558 w 1466597"/>
                <a:gd name="connsiteY1713" fmla="*/ 627406 h 790366"/>
                <a:gd name="connsiteX1714" fmla="*/ 1440611 w 1466597"/>
                <a:gd name="connsiteY1714" fmla="*/ 625834 h 790366"/>
                <a:gd name="connsiteX1715" fmla="*/ 1434109 w 1466597"/>
                <a:gd name="connsiteY1715" fmla="*/ 628566 h 790366"/>
                <a:gd name="connsiteX1716" fmla="*/ 1425241 w 1466597"/>
                <a:gd name="connsiteY1716" fmla="*/ 631437 h 790366"/>
                <a:gd name="connsiteX1717" fmla="*/ 1421442 w 1466597"/>
                <a:gd name="connsiteY1717" fmla="*/ 633437 h 790366"/>
                <a:gd name="connsiteX1718" fmla="*/ 1420644 w 1466597"/>
                <a:gd name="connsiteY1718" fmla="*/ 634238 h 790366"/>
                <a:gd name="connsiteX1719" fmla="*/ 1420371 w 1466597"/>
                <a:gd name="connsiteY1719" fmla="*/ 634916 h 790366"/>
                <a:gd name="connsiteX1720" fmla="*/ 1421062 w 1466597"/>
                <a:gd name="connsiteY1720" fmla="*/ 636798 h 790366"/>
                <a:gd name="connsiteX1721" fmla="*/ 1420955 w 1466597"/>
                <a:gd name="connsiteY1721" fmla="*/ 637402 h 790366"/>
                <a:gd name="connsiteX1722" fmla="*/ 1420182 w 1466597"/>
                <a:gd name="connsiteY1722" fmla="*/ 638514 h 790366"/>
                <a:gd name="connsiteX1723" fmla="*/ 1419268 w 1466597"/>
                <a:gd name="connsiteY1723" fmla="*/ 641656 h 790366"/>
                <a:gd name="connsiteX1724" fmla="*/ 1417338 w 1466597"/>
                <a:gd name="connsiteY1724" fmla="*/ 644982 h 790366"/>
                <a:gd name="connsiteX1725" fmla="*/ 1416361 w 1466597"/>
                <a:gd name="connsiteY1725" fmla="*/ 645665 h 790366"/>
                <a:gd name="connsiteX1726" fmla="*/ 1412901 w 1466597"/>
                <a:gd name="connsiteY1726" fmla="*/ 644424 h 790366"/>
                <a:gd name="connsiteX1727" fmla="*/ 1411972 w 1466597"/>
                <a:gd name="connsiteY1727" fmla="*/ 643359 h 790366"/>
                <a:gd name="connsiteX1728" fmla="*/ 1410237 w 1466597"/>
                <a:gd name="connsiteY1728" fmla="*/ 639012 h 790366"/>
                <a:gd name="connsiteX1729" fmla="*/ 1410643 w 1466597"/>
                <a:gd name="connsiteY1729" fmla="*/ 637852 h 790366"/>
                <a:gd name="connsiteX1730" fmla="*/ 1411908 w 1466597"/>
                <a:gd name="connsiteY1730" fmla="*/ 636875 h 790366"/>
                <a:gd name="connsiteX1731" fmla="*/ 1413624 w 1466597"/>
                <a:gd name="connsiteY1731" fmla="*/ 634764 h 790366"/>
                <a:gd name="connsiteX1732" fmla="*/ 1415790 w 1466597"/>
                <a:gd name="connsiteY1732" fmla="*/ 631514 h 790366"/>
                <a:gd name="connsiteX1733" fmla="*/ 1419919 w 1466597"/>
                <a:gd name="connsiteY1733" fmla="*/ 623240 h 790366"/>
                <a:gd name="connsiteX1734" fmla="*/ 1422619 w 1466597"/>
                <a:gd name="connsiteY1734" fmla="*/ 623199 h 790366"/>
                <a:gd name="connsiteX1735" fmla="*/ 1427381 w 1466597"/>
                <a:gd name="connsiteY1735" fmla="*/ 621557 h 790366"/>
                <a:gd name="connsiteX1736" fmla="*/ 1419910 w 1466597"/>
                <a:gd name="connsiteY1736" fmla="*/ 620733 h 790366"/>
                <a:gd name="connsiteX1737" fmla="*/ 1418796 w 1466597"/>
                <a:gd name="connsiteY1737" fmla="*/ 620299 h 790366"/>
                <a:gd name="connsiteX1738" fmla="*/ 1417791 w 1466597"/>
                <a:gd name="connsiteY1738" fmla="*/ 619169 h 790366"/>
                <a:gd name="connsiteX1739" fmla="*/ 1416898 w 1466597"/>
                <a:gd name="connsiteY1739" fmla="*/ 617339 h 790366"/>
                <a:gd name="connsiteX1740" fmla="*/ 1415378 w 1466597"/>
                <a:gd name="connsiteY1740" fmla="*/ 615301 h 790366"/>
                <a:gd name="connsiteX1741" fmla="*/ 1412538 w 1466597"/>
                <a:gd name="connsiteY1741" fmla="*/ 614586 h 790366"/>
                <a:gd name="connsiteX1742" fmla="*/ 1411292 w 1466597"/>
                <a:gd name="connsiteY1742" fmla="*/ 613835 h 790366"/>
                <a:gd name="connsiteX1743" fmla="*/ 1409417 w 1466597"/>
                <a:gd name="connsiteY1743" fmla="*/ 611358 h 790366"/>
                <a:gd name="connsiteX1744" fmla="*/ 1408157 w 1466597"/>
                <a:gd name="connsiteY1744" fmla="*/ 610244 h 790366"/>
                <a:gd name="connsiteX1745" fmla="*/ 1407466 w 1466597"/>
                <a:gd name="connsiteY1745" fmla="*/ 608867 h 790366"/>
                <a:gd name="connsiteX1746" fmla="*/ 1407348 w 1466597"/>
                <a:gd name="connsiteY1746" fmla="*/ 607227 h 790366"/>
                <a:gd name="connsiteX1747" fmla="*/ 1406813 w 1466597"/>
                <a:gd name="connsiteY1747" fmla="*/ 606403 h 790366"/>
                <a:gd name="connsiteX1748" fmla="*/ 1404855 w 1466597"/>
                <a:gd name="connsiteY1748" fmla="*/ 606104 h 790366"/>
                <a:gd name="connsiteX1749" fmla="*/ 1403796 w 1466597"/>
                <a:gd name="connsiteY1749" fmla="*/ 605540 h 790366"/>
                <a:gd name="connsiteX1750" fmla="*/ 1403510 w 1466597"/>
                <a:gd name="connsiteY1750" fmla="*/ 601301 h 790366"/>
                <a:gd name="connsiteX1751" fmla="*/ 1399623 w 1466597"/>
                <a:gd name="connsiteY1751" fmla="*/ 600210 h 790366"/>
                <a:gd name="connsiteX1752" fmla="*/ 1398030 w 1466597"/>
                <a:gd name="connsiteY1752" fmla="*/ 599271 h 790366"/>
                <a:gd name="connsiteX1753" fmla="*/ 1395472 w 1466597"/>
                <a:gd name="connsiteY1753" fmla="*/ 596617 h 790366"/>
                <a:gd name="connsiteX1754" fmla="*/ 1394767 w 1466597"/>
                <a:gd name="connsiteY1754" fmla="*/ 595326 h 790366"/>
                <a:gd name="connsiteX1755" fmla="*/ 1394538 w 1466597"/>
                <a:gd name="connsiteY1755" fmla="*/ 594249 h 790366"/>
                <a:gd name="connsiteX1756" fmla="*/ 1395164 w 1466597"/>
                <a:gd name="connsiteY1756" fmla="*/ 591312 h 790366"/>
                <a:gd name="connsiteX1757" fmla="*/ 1394900 w 1466597"/>
                <a:gd name="connsiteY1757" fmla="*/ 590762 h 790366"/>
                <a:gd name="connsiteX1758" fmla="*/ 1392636 w 1466597"/>
                <a:gd name="connsiteY1758" fmla="*/ 591066 h 790366"/>
                <a:gd name="connsiteX1759" fmla="*/ 1378542 w 1466597"/>
                <a:gd name="connsiteY1759" fmla="*/ 586513 h 790366"/>
                <a:gd name="connsiteX1760" fmla="*/ 1379286 w 1466597"/>
                <a:gd name="connsiteY1760" fmla="*/ 580487 h 790366"/>
                <a:gd name="connsiteX1761" fmla="*/ 1376678 w 1466597"/>
                <a:gd name="connsiteY1761" fmla="*/ 572514 h 790366"/>
                <a:gd name="connsiteX1762" fmla="*/ 1373878 w 1466597"/>
                <a:gd name="connsiteY1762" fmla="*/ 569271 h 790366"/>
                <a:gd name="connsiteX1763" fmla="*/ 1374433 w 1466597"/>
                <a:gd name="connsiteY1763" fmla="*/ 568012 h 790366"/>
                <a:gd name="connsiteX1764" fmla="*/ 1375035 w 1466597"/>
                <a:gd name="connsiteY1764" fmla="*/ 567343 h 790366"/>
                <a:gd name="connsiteX1765" fmla="*/ 1376289 w 1466597"/>
                <a:gd name="connsiteY1765" fmla="*/ 567329 h 790366"/>
                <a:gd name="connsiteX1766" fmla="*/ 1381694 w 1466597"/>
                <a:gd name="connsiteY1766" fmla="*/ 569684 h 790366"/>
                <a:gd name="connsiteX1767" fmla="*/ 1386782 w 1466597"/>
                <a:gd name="connsiteY1767" fmla="*/ 572478 h 790366"/>
                <a:gd name="connsiteX1768" fmla="*/ 1387440 w 1466597"/>
                <a:gd name="connsiteY1768" fmla="*/ 572069 h 790366"/>
                <a:gd name="connsiteX1769" fmla="*/ 1379310 w 1466597"/>
                <a:gd name="connsiteY1769" fmla="*/ 566151 h 790366"/>
                <a:gd name="connsiteX1770" fmla="*/ 1377276 w 1466597"/>
                <a:gd name="connsiteY1770" fmla="*/ 564378 h 790366"/>
                <a:gd name="connsiteX1771" fmla="*/ 1376773 w 1466597"/>
                <a:gd name="connsiteY1771" fmla="*/ 562246 h 790366"/>
                <a:gd name="connsiteX1772" fmla="*/ 1376742 w 1466597"/>
                <a:gd name="connsiteY1772" fmla="*/ 561105 h 790366"/>
                <a:gd name="connsiteX1773" fmla="*/ 1377387 w 1466597"/>
                <a:gd name="connsiteY1773" fmla="*/ 560503 h 790366"/>
                <a:gd name="connsiteX1774" fmla="*/ 1385017 w 1466597"/>
                <a:gd name="connsiteY1774" fmla="*/ 561038 h 790366"/>
                <a:gd name="connsiteX1775" fmla="*/ 1385469 w 1466597"/>
                <a:gd name="connsiteY1775" fmla="*/ 560595 h 790366"/>
                <a:gd name="connsiteX1776" fmla="*/ 1377738 w 1466597"/>
                <a:gd name="connsiteY1776" fmla="*/ 558860 h 790366"/>
                <a:gd name="connsiteX1777" fmla="*/ 1376156 w 1466597"/>
                <a:gd name="connsiteY1777" fmla="*/ 558867 h 790366"/>
                <a:gd name="connsiteX1778" fmla="*/ 1374464 w 1466597"/>
                <a:gd name="connsiteY1778" fmla="*/ 561359 h 790366"/>
                <a:gd name="connsiteX1779" fmla="*/ 1373659 w 1466597"/>
                <a:gd name="connsiteY1779" fmla="*/ 561948 h 790366"/>
                <a:gd name="connsiteX1780" fmla="*/ 1371999 w 1466597"/>
                <a:gd name="connsiteY1780" fmla="*/ 561829 h 790366"/>
                <a:gd name="connsiteX1781" fmla="*/ 1371443 w 1466597"/>
                <a:gd name="connsiteY1781" fmla="*/ 561447 h 790366"/>
                <a:gd name="connsiteX1782" fmla="*/ 1369473 w 1466597"/>
                <a:gd name="connsiteY1782" fmla="*/ 558426 h 790366"/>
                <a:gd name="connsiteX1783" fmla="*/ 1367608 w 1466597"/>
                <a:gd name="connsiteY1783" fmla="*/ 556323 h 790366"/>
                <a:gd name="connsiteX1784" fmla="*/ 1364124 w 1466597"/>
                <a:gd name="connsiteY1784" fmla="*/ 553403 h 790366"/>
                <a:gd name="connsiteX1785" fmla="*/ 1363469 w 1466597"/>
                <a:gd name="connsiteY1785" fmla="*/ 551320 h 790366"/>
                <a:gd name="connsiteX1786" fmla="*/ 1363301 w 1466597"/>
                <a:gd name="connsiteY1786" fmla="*/ 548255 h 790366"/>
                <a:gd name="connsiteX1787" fmla="*/ 1363761 w 1466597"/>
                <a:gd name="connsiteY1787" fmla="*/ 545351 h 790366"/>
                <a:gd name="connsiteX1788" fmla="*/ 1366609 w 1466597"/>
                <a:gd name="connsiteY1788" fmla="*/ 538706 h 790366"/>
                <a:gd name="connsiteX1789" fmla="*/ 1367760 w 1466597"/>
                <a:gd name="connsiteY1789" fmla="*/ 537557 h 790366"/>
                <a:gd name="connsiteX1790" fmla="*/ 1368060 w 1466597"/>
                <a:gd name="connsiteY1790" fmla="*/ 536833 h 790366"/>
                <a:gd name="connsiteX1791" fmla="*/ 1367183 w 1466597"/>
                <a:gd name="connsiteY1791" fmla="*/ 536943 h 790366"/>
                <a:gd name="connsiteX1792" fmla="*/ 1366349 w 1466597"/>
                <a:gd name="connsiteY1792" fmla="*/ 537573 h 790366"/>
                <a:gd name="connsiteX1793" fmla="*/ 1363994 w 1466597"/>
                <a:gd name="connsiteY1793" fmla="*/ 540663 h 790366"/>
                <a:gd name="connsiteX1794" fmla="*/ 1361570 w 1466597"/>
                <a:gd name="connsiteY1794" fmla="*/ 545719 h 790366"/>
                <a:gd name="connsiteX1795" fmla="*/ 1359589 w 1466597"/>
                <a:gd name="connsiteY1795" fmla="*/ 547442 h 790366"/>
                <a:gd name="connsiteX1796" fmla="*/ 1358345 w 1466597"/>
                <a:gd name="connsiteY1796" fmla="*/ 547025 h 790366"/>
                <a:gd name="connsiteX1797" fmla="*/ 1356461 w 1466597"/>
                <a:gd name="connsiteY1797" fmla="*/ 544968 h 790366"/>
                <a:gd name="connsiteX1798" fmla="*/ 1352532 w 1466597"/>
                <a:gd name="connsiteY1798" fmla="*/ 542455 h 790366"/>
                <a:gd name="connsiteX1799" fmla="*/ 1347987 w 1466597"/>
                <a:gd name="connsiteY1799" fmla="*/ 541803 h 790366"/>
                <a:gd name="connsiteX1800" fmla="*/ 1345119 w 1466597"/>
                <a:gd name="connsiteY1800" fmla="*/ 539229 h 790366"/>
                <a:gd name="connsiteX1801" fmla="*/ 1340873 w 1466597"/>
                <a:gd name="connsiteY1801" fmla="*/ 532052 h 790366"/>
                <a:gd name="connsiteX1802" fmla="*/ 1340304 w 1466597"/>
                <a:gd name="connsiteY1802" fmla="*/ 528469 h 790366"/>
                <a:gd name="connsiteX1803" fmla="*/ 1339760 w 1466597"/>
                <a:gd name="connsiteY1803" fmla="*/ 527592 h 790366"/>
                <a:gd name="connsiteX1804" fmla="*/ 1337455 w 1466597"/>
                <a:gd name="connsiteY1804" fmla="*/ 526425 h 790366"/>
                <a:gd name="connsiteX1805" fmla="*/ 1336043 w 1466597"/>
                <a:gd name="connsiteY1805" fmla="*/ 524700 h 790366"/>
                <a:gd name="connsiteX1806" fmla="*/ 1333861 w 1466597"/>
                <a:gd name="connsiteY1806" fmla="*/ 515930 h 790366"/>
                <a:gd name="connsiteX1807" fmla="*/ 1330979 w 1466597"/>
                <a:gd name="connsiteY1807" fmla="*/ 509815 h 790366"/>
                <a:gd name="connsiteX1808" fmla="*/ 1330262 w 1466597"/>
                <a:gd name="connsiteY1808" fmla="*/ 506579 h 790366"/>
                <a:gd name="connsiteX1809" fmla="*/ 1330506 w 1466597"/>
                <a:gd name="connsiteY1809" fmla="*/ 503364 h 790366"/>
                <a:gd name="connsiteX1810" fmla="*/ 1330128 w 1466597"/>
                <a:gd name="connsiteY1810" fmla="*/ 503010 h 790366"/>
                <a:gd name="connsiteX1811" fmla="*/ 1329137 w 1466597"/>
                <a:gd name="connsiteY1811" fmla="*/ 505515 h 790366"/>
                <a:gd name="connsiteX1812" fmla="*/ 1328877 w 1466597"/>
                <a:gd name="connsiteY1812" fmla="*/ 506821 h 790366"/>
                <a:gd name="connsiteX1813" fmla="*/ 1327058 w 1466597"/>
                <a:gd name="connsiteY1813" fmla="*/ 507190 h 790366"/>
                <a:gd name="connsiteX1814" fmla="*/ 1328771 w 1466597"/>
                <a:gd name="connsiteY1814" fmla="*/ 509724 h 790366"/>
                <a:gd name="connsiteX1815" fmla="*/ 1329199 w 1466597"/>
                <a:gd name="connsiteY1815" fmla="*/ 510989 h 790366"/>
                <a:gd name="connsiteX1816" fmla="*/ 1328342 w 1466597"/>
                <a:gd name="connsiteY1816" fmla="*/ 510885 h 790366"/>
                <a:gd name="connsiteX1817" fmla="*/ 1326591 w 1466597"/>
                <a:gd name="connsiteY1817" fmla="*/ 511201 h 790366"/>
                <a:gd name="connsiteX1818" fmla="*/ 1329556 w 1466597"/>
                <a:gd name="connsiteY1818" fmla="*/ 515519 h 790366"/>
                <a:gd name="connsiteX1819" fmla="*/ 1330884 w 1466597"/>
                <a:gd name="connsiteY1819" fmla="*/ 522199 h 790366"/>
                <a:gd name="connsiteX1820" fmla="*/ 1332849 w 1466597"/>
                <a:gd name="connsiteY1820" fmla="*/ 527138 h 790366"/>
                <a:gd name="connsiteX1821" fmla="*/ 1334123 w 1466597"/>
                <a:gd name="connsiteY1821" fmla="*/ 531134 h 790366"/>
                <a:gd name="connsiteX1822" fmla="*/ 1334698 w 1466597"/>
                <a:gd name="connsiteY1822" fmla="*/ 534163 h 790366"/>
                <a:gd name="connsiteX1823" fmla="*/ 1335531 w 1466597"/>
                <a:gd name="connsiteY1823" fmla="*/ 537055 h 790366"/>
                <a:gd name="connsiteX1824" fmla="*/ 1337825 w 1466597"/>
                <a:gd name="connsiteY1824" fmla="*/ 543433 h 790366"/>
                <a:gd name="connsiteX1825" fmla="*/ 1338139 w 1466597"/>
                <a:gd name="connsiteY1825" fmla="*/ 544699 h 790366"/>
                <a:gd name="connsiteX1826" fmla="*/ 1337863 w 1466597"/>
                <a:gd name="connsiteY1826" fmla="*/ 545735 h 790366"/>
                <a:gd name="connsiteX1827" fmla="*/ 1337104 w 1466597"/>
                <a:gd name="connsiteY1827" fmla="*/ 546963 h 790366"/>
                <a:gd name="connsiteX1828" fmla="*/ 1335795 w 1466597"/>
                <a:gd name="connsiteY1828" fmla="*/ 547426 h 790366"/>
                <a:gd name="connsiteX1829" fmla="*/ 1331689 w 1466597"/>
                <a:gd name="connsiteY1829" fmla="*/ 546590 h 790366"/>
                <a:gd name="connsiteX1830" fmla="*/ 1330142 w 1466597"/>
                <a:gd name="connsiteY1830" fmla="*/ 545016 h 790366"/>
                <a:gd name="connsiteX1831" fmla="*/ 1327928 w 1466597"/>
                <a:gd name="connsiteY1831" fmla="*/ 542123 h 790366"/>
                <a:gd name="connsiteX1832" fmla="*/ 1324820 w 1466597"/>
                <a:gd name="connsiteY1832" fmla="*/ 540786 h 790366"/>
                <a:gd name="connsiteX1833" fmla="*/ 1317124 w 1466597"/>
                <a:gd name="connsiteY1833" fmla="*/ 541449 h 790366"/>
                <a:gd name="connsiteX1834" fmla="*/ 1316509 w 1466597"/>
                <a:gd name="connsiteY1834" fmla="*/ 541226 h 790366"/>
                <a:gd name="connsiteX1835" fmla="*/ 1316540 w 1466597"/>
                <a:gd name="connsiteY1835" fmla="*/ 538857 h 790366"/>
                <a:gd name="connsiteX1836" fmla="*/ 1317423 w 1466597"/>
                <a:gd name="connsiteY1836" fmla="*/ 534638 h 790366"/>
                <a:gd name="connsiteX1837" fmla="*/ 1316714 w 1466597"/>
                <a:gd name="connsiteY1837" fmla="*/ 532933 h 790366"/>
                <a:gd name="connsiteX1838" fmla="*/ 1312736 w 1466597"/>
                <a:gd name="connsiteY1838" fmla="*/ 526713 h 790366"/>
                <a:gd name="connsiteX1839" fmla="*/ 1312796 w 1466597"/>
                <a:gd name="connsiteY1839" fmla="*/ 525496 h 790366"/>
                <a:gd name="connsiteX1840" fmla="*/ 1318325 w 1466597"/>
                <a:gd name="connsiteY1840" fmla="*/ 522635 h 790366"/>
                <a:gd name="connsiteX1841" fmla="*/ 1315638 w 1466597"/>
                <a:gd name="connsiteY1841" fmla="*/ 522419 h 790366"/>
                <a:gd name="connsiteX1842" fmla="*/ 1313473 w 1466597"/>
                <a:gd name="connsiteY1842" fmla="*/ 523535 h 790366"/>
                <a:gd name="connsiteX1843" fmla="*/ 1312637 w 1466597"/>
                <a:gd name="connsiteY1843" fmla="*/ 522813 h 790366"/>
                <a:gd name="connsiteX1844" fmla="*/ 1311329 w 1466597"/>
                <a:gd name="connsiteY1844" fmla="*/ 518812 h 790366"/>
                <a:gd name="connsiteX1845" fmla="*/ 1310486 w 1466597"/>
                <a:gd name="connsiteY1845" fmla="*/ 517322 h 790366"/>
                <a:gd name="connsiteX1846" fmla="*/ 1310068 w 1466597"/>
                <a:gd name="connsiteY1846" fmla="*/ 517001 h 790366"/>
                <a:gd name="connsiteX1847" fmla="*/ 1309829 w 1466597"/>
                <a:gd name="connsiteY1847" fmla="*/ 520805 h 790366"/>
                <a:gd name="connsiteX1848" fmla="*/ 1310745 w 1466597"/>
                <a:gd name="connsiteY1848" fmla="*/ 522804 h 790366"/>
                <a:gd name="connsiteX1849" fmla="*/ 1310876 w 1466597"/>
                <a:gd name="connsiteY1849" fmla="*/ 523961 h 790366"/>
                <a:gd name="connsiteX1850" fmla="*/ 1310728 w 1466597"/>
                <a:gd name="connsiteY1850" fmla="*/ 525571 h 790366"/>
                <a:gd name="connsiteX1851" fmla="*/ 1310152 w 1466597"/>
                <a:gd name="connsiteY1851" fmla="*/ 526724 h 790366"/>
                <a:gd name="connsiteX1852" fmla="*/ 1309143 w 1466597"/>
                <a:gd name="connsiteY1852" fmla="*/ 527422 h 790366"/>
                <a:gd name="connsiteX1853" fmla="*/ 1308135 w 1466597"/>
                <a:gd name="connsiteY1853" fmla="*/ 527598 h 790366"/>
                <a:gd name="connsiteX1854" fmla="*/ 1306269 w 1466597"/>
                <a:gd name="connsiteY1854" fmla="*/ 526794 h 790366"/>
                <a:gd name="connsiteX1855" fmla="*/ 1304195 w 1466597"/>
                <a:gd name="connsiteY1855" fmla="*/ 525283 h 790366"/>
                <a:gd name="connsiteX1856" fmla="*/ 1302387 w 1466597"/>
                <a:gd name="connsiteY1856" fmla="*/ 524571 h 790366"/>
                <a:gd name="connsiteX1857" fmla="*/ 1301712 w 1466597"/>
                <a:gd name="connsiteY1857" fmla="*/ 523965 h 790366"/>
                <a:gd name="connsiteX1858" fmla="*/ 1300857 w 1466597"/>
                <a:gd name="connsiteY1858" fmla="*/ 522293 h 790366"/>
                <a:gd name="connsiteX1859" fmla="*/ 1299453 w 1466597"/>
                <a:gd name="connsiteY1859" fmla="*/ 521026 h 790366"/>
                <a:gd name="connsiteX1860" fmla="*/ 1292698 w 1466597"/>
                <a:gd name="connsiteY1860" fmla="*/ 519415 h 790366"/>
                <a:gd name="connsiteX1861" fmla="*/ 1288667 w 1466597"/>
                <a:gd name="connsiteY1861" fmla="*/ 517513 h 790366"/>
                <a:gd name="connsiteX1862" fmla="*/ 1288332 w 1466597"/>
                <a:gd name="connsiteY1862" fmla="*/ 518014 h 790366"/>
                <a:gd name="connsiteX1863" fmla="*/ 1289590 w 1466597"/>
                <a:gd name="connsiteY1863" fmla="*/ 520048 h 790366"/>
                <a:gd name="connsiteX1864" fmla="*/ 1289712 w 1466597"/>
                <a:gd name="connsiteY1864" fmla="*/ 521250 h 790366"/>
                <a:gd name="connsiteX1865" fmla="*/ 1288696 w 1466597"/>
                <a:gd name="connsiteY1865" fmla="*/ 521616 h 790366"/>
                <a:gd name="connsiteX1866" fmla="*/ 1286880 w 1466597"/>
                <a:gd name="connsiteY1866" fmla="*/ 523544 h 790366"/>
                <a:gd name="connsiteX1867" fmla="*/ 1287407 w 1466597"/>
                <a:gd name="connsiteY1867" fmla="*/ 523809 h 790366"/>
                <a:gd name="connsiteX1868" fmla="*/ 1289329 w 1466597"/>
                <a:gd name="connsiteY1868" fmla="*/ 523176 h 790366"/>
                <a:gd name="connsiteX1869" fmla="*/ 1291470 w 1466597"/>
                <a:gd name="connsiteY1869" fmla="*/ 523251 h 790366"/>
                <a:gd name="connsiteX1870" fmla="*/ 1295016 w 1466597"/>
                <a:gd name="connsiteY1870" fmla="*/ 524425 h 790366"/>
                <a:gd name="connsiteX1871" fmla="*/ 1298235 w 1466597"/>
                <a:gd name="connsiteY1871" fmla="*/ 525958 h 790366"/>
                <a:gd name="connsiteX1872" fmla="*/ 1299401 w 1466597"/>
                <a:gd name="connsiteY1872" fmla="*/ 526817 h 790366"/>
                <a:gd name="connsiteX1873" fmla="*/ 1299883 w 1466597"/>
                <a:gd name="connsiteY1873" fmla="*/ 528087 h 790366"/>
                <a:gd name="connsiteX1874" fmla="*/ 1300287 w 1466597"/>
                <a:gd name="connsiteY1874" fmla="*/ 528542 h 790366"/>
                <a:gd name="connsiteX1875" fmla="*/ 1303435 w 1466597"/>
                <a:gd name="connsiteY1875" fmla="*/ 530022 h 790366"/>
                <a:gd name="connsiteX1876" fmla="*/ 1303585 w 1466597"/>
                <a:gd name="connsiteY1876" fmla="*/ 530802 h 790366"/>
                <a:gd name="connsiteX1877" fmla="*/ 1301555 w 1466597"/>
                <a:gd name="connsiteY1877" fmla="*/ 533122 h 790366"/>
                <a:gd name="connsiteX1878" fmla="*/ 1305736 w 1466597"/>
                <a:gd name="connsiteY1878" fmla="*/ 532868 h 790366"/>
                <a:gd name="connsiteX1879" fmla="*/ 1308166 w 1466597"/>
                <a:gd name="connsiteY1879" fmla="*/ 533697 h 790366"/>
                <a:gd name="connsiteX1880" fmla="*/ 1311272 w 1466597"/>
                <a:gd name="connsiteY1880" fmla="*/ 537275 h 790366"/>
                <a:gd name="connsiteX1881" fmla="*/ 1312328 w 1466597"/>
                <a:gd name="connsiteY1881" fmla="*/ 539271 h 790366"/>
                <a:gd name="connsiteX1882" fmla="*/ 1312469 w 1466597"/>
                <a:gd name="connsiteY1882" fmla="*/ 541823 h 790366"/>
                <a:gd name="connsiteX1883" fmla="*/ 1311823 w 1466597"/>
                <a:gd name="connsiteY1883" fmla="*/ 542565 h 790366"/>
                <a:gd name="connsiteX1884" fmla="*/ 1310589 w 1466597"/>
                <a:gd name="connsiteY1884" fmla="*/ 543078 h 790366"/>
                <a:gd name="connsiteX1885" fmla="*/ 1302101 w 1466597"/>
                <a:gd name="connsiteY1885" fmla="*/ 543913 h 790366"/>
                <a:gd name="connsiteX1886" fmla="*/ 1299034 w 1466597"/>
                <a:gd name="connsiteY1886" fmla="*/ 546986 h 790366"/>
                <a:gd name="connsiteX1887" fmla="*/ 1298401 w 1466597"/>
                <a:gd name="connsiteY1887" fmla="*/ 547032 h 790366"/>
                <a:gd name="connsiteX1888" fmla="*/ 1296066 w 1466597"/>
                <a:gd name="connsiteY1888" fmla="*/ 546198 h 790366"/>
                <a:gd name="connsiteX1889" fmla="*/ 1291831 w 1466597"/>
                <a:gd name="connsiteY1889" fmla="*/ 543747 h 790366"/>
                <a:gd name="connsiteX1890" fmla="*/ 1286551 w 1466597"/>
                <a:gd name="connsiteY1890" fmla="*/ 541411 h 790366"/>
                <a:gd name="connsiteX1891" fmla="*/ 1274509 w 1466597"/>
                <a:gd name="connsiteY1891" fmla="*/ 534482 h 790366"/>
                <a:gd name="connsiteX1892" fmla="*/ 1274179 w 1466597"/>
                <a:gd name="connsiteY1892" fmla="*/ 534157 h 790366"/>
                <a:gd name="connsiteX1893" fmla="*/ 1273983 w 1466597"/>
                <a:gd name="connsiteY1893" fmla="*/ 532815 h 790366"/>
                <a:gd name="connsiteX1894" fmla="*/ 1273155 w 1466597"/>
                <a:gd name="connsiteY1894" fmla="*/ 532130 h 790366"/>
                <a:gd name="connsiteX1895" fmla="*/ 1271522 w 1466597"/>
                <a:gd name="connsiteY1895" fmla="*/ 531543 h 790366"/>
                <a:gd name="connsiteX1896" fmla="*/ 1269254 w 1466597"/>
                <a:gd name="connsiteY1896" fmla="*/ 529781 h 790366"/>
                <a:gd name="connsiteX1897" fmla="*/ 1266352 w 1466597"/>
                <a:gd name="connsiteY1897" fmla="*/ 526847 h 790366"/>
                <a:gd name="connsiteX1898" fmla="*/ 1264559 w 1466597"/>
                <a:gd name="connsiteY1898" fmla="*/ 524550 h 790366"/>
                <a:gd name="connsiteX1899" fmla="*/ 1263874 w 1466597"/>
                <a:gd name="connsiteY1899" fmla="*/ 522897 h 790366"/>
                <a:gd name="connsiteX1900" fmla="*/ 1262190 w 1466597"/>
                <a:gd name="connsiteY1900" fmla="*/ 521005 h 790366"/>
                <a:gd name="connsiteX1901" fmla="*/ 1256735 w 1466597"/>
                <a:gd name="connsiteY1901" fmla="*/ 517049 h 790366"/>
                <a:gd name="connsiteX1902" fmla="*/ 1253884 w 1466597"/>
                <a:gd name="connsiteY1902" fmla="*/ 515527 h 790366"/>
                <a:gd name="connsiteX1903" fmla="*/ 1251363 w 1466597"/>
                <a:gd name="connsiteY1903" fmla="*/ 514669 h 790366"/>
                <a:gd name="connsiteX1904" fmla="*/ 1249174 w 1466597"/>
                <a:gd name="connsiteY1904" fmla="*/ 514483 h 790366"/>
                <a:gd name="connsiteX1905" fmla="*/ 1248583 w 1466597"/>
                <a:gd name="connsiteY1905" fmla="*/ 513953 h 790366"/>
                <a:gd name="connsiteX1906" fmla="*/ 1249593 w 1466597"/>
                <a:gd name="connsiteY1906" fmla="*/ 513085 h 790366"/>
                <a:gd name="connsiteX1907" fmla="*/ 1249741 w 1466597"/>
                <a:gd name="connsiteY1907" fmla="*/ 512570 h 790366"/>
                <a:gd name="connsiteX1908" fmla="*/ 1244913 w 1466597"/>
                <a:gd name="connsiteY1908" fmla="*/ 511756 h 790366"/>
                <a:gd name="connsiteX1909" fmla="*/ 1240316 w 1466597"/>
                <a:gd name="connsiteY1909" fmla="*/ 509897 h 790366"/>
                <a:gd name="connsiteX1910" fmla="*/ 1228668 w 1466597"/>
                <a:gd name="connsiteY1910" fmla="*/ 504664 h 790366"/>
                <a:gd name="connsiteX1911" fmla="*/ 1222652 w 1466597"/>
                <a:gd name="connsiteY1911" fmla="*/ 501384 h 790366"/>
                <a:gd name="connsiteX1912" fmla="*/ 1219141 w 1466597"/>
                <a:gd name="connsiteY1912" fmla="*/ 499814 h 790366"/>
                <a:gd name="connsiteX1913" fmla="*/ 1217640 w 1466597"/>
                <a:gd name="connsiteY1913" fmla="*/ 498931 h 790366"/>
                <a:gd name="connsiteX1914" fmla="*/ 1216980 w 1466597"/>
                <a:gd name="connsiteY1914" fmla="*/ 498214 h 790366"/>
                <a:gd name="connsiteX1915" fmla="*/ 1217824 w 1466597"/>
                <a:gd name="connsiteY1915" fmla="*/ 497463 h 790366"/>
                <a:gd name="connsiteX1916" fmla="*/ 1220170 w 1466597"/>
                <a:gd name="connsiteY1916" fmla="*/ 496677 h 790366"/>
                <a:gd name="connsiteX1917" fmla="*/ 1221764 w 1466597"/>
                <a:gd name="connsiteY1917" fmla="*/ 495788 h 790366"/>
                <a:gd name="connsiteX1918" fmla="*/ 1224279 w 1466597"/>
                <a:gd name="connsiteY1918" fmla="*/ 492459 h 790366"/>
                <a:gd name="connsiteX1919" fmla="*/ 1224469 w 1466597"/>
                <a:gd name="connsiteY1919" fmla="*/ 491386 h 790366"/>
                <a:gd name="connsiteX1920" fmla="*/ 1223119 w 1466597"/>
                <a:gd name="connsiteY1920" fmla="*/ 488961 h 790366"/>
                <a:gd name="connsiteX1921" fmla="*/ 1222514 w 1466597"/>
                <a:gd name="connsiteY1921" fmla="*/ 486752 h 790366"/>
                <a:gd name="connsiteX1922" fmla="*/ 1222541 w 1466597"/>
                <a:gd name="connsiteY1922" fmla="*/ 485526 h 790366"/>
                <a:gd name="connsiteX1923" fmla="*/ 1222848 w 1466597"/>
                <a:gd name="connsiteY1923" fmla="*/ 484315 h 790366"/>
                <a:gd name="connsiteX1924" fmla="*/ 1223231 w 1466597"/>
                <a:gd name="connsiteY1924" fmla="*/ 483516 h 790366"/>
                <a:gd name="connsiteX1925" fmla="*/ 1224298 w 1466597"/>
                <a:gd name="connsiteY1925" fmla="*/ 482744 h 790366"/>
                <a:gd name="connsiteX1926" fmla="*/ 1225045 w 1466597"/>
                <a:gd name="connsiteY1926" fmla="*/ 482356 h 790366"/>
                <a:gd name="connsiteX1927" fmla="*/ 1225966 w 1466597"/>
                <a:gd name="connsiteY1927" fmla="*/ 482619 h 790366"/>
                <a:gd name="connsiteX1928" fmla="*/ 1228923 w 1466597"/>
                <a:gd name="connsiteY1928" fmla="*/ 485660 h 790366"/>
                <a:gd name="connsiteX1929" fmla="*/ 1229339 w 1466597"/>
                <a:gd name="connsiteY1929" fmla="*/ 486765 h 790366"/>
                <a:gd name="connsiteX1930" fmla="*/ 1229203 w 1466597"/>
                <a:gd name="connsiteY1930" fmla="*/ 490915 h 790366"/>
                <a:gd name="connsiteX1931" fmla="*/ 1230053 w 1466597"/>
                <a:gd name="connsiteY1931" fmla="*/ 495763 h 790366"/>
                <a:gd name="connsiteX1932" fmla="*/ 1230319 w 1466597"/>
                <a:gd name="connsiteY1932" fmla="*/ 495405 h 790366"/>
                <a:gd name="connsiteX1933" fmla="*/ 1230590 w 1466597"/>
                <a:gd name="connsiteY1933" fmla="*/ 493805 h 790366"/>
                <a:gd name="connsiteX1934" fmla="*/ 1230766 w 1466597"/>
                <a:gd name="connsiteY1934" fmla="*/ 490741 h 790366"/>
                <a:gd name="connsiteX1935" fmla="*/ 1231099 w 1466597"/>
                <a:gd name="connsiteY1935" fmla="*/ 489268 h 790366"/>
                <a:gd name="connsiteX1936" fmla="*/ 1231734 w 1466597"/>
                <a:gd name="connsiteY1936" fmla="*/ 487832 h 790366"/>
                <a:gd name="connsiteX1937" fmla="*/ 1232804 w 1466597"/>
                <a:gd name="connsiteY1937" fmla="*/ 487073 h 790366"/>
                <a:gd name="connsiteX1938" fmla="*/ 1236134 w 1466597"/>
                <a:gd name="connsiteY1938" fmla="*/ 487515 h 790366"/>
                <a:gd name="connsiteX1939" fmla="*/ 1237671 w 1466597"/>
                <a:gd name="connsiteY1939" fmla="*/ 487257 h 790366"/>
                <a:gd name="connsiteX1940" fmla="*/ 1231180 w 1466597"/>
                <a:gd name="connsiteY1940" fmla="*/ 485060 h 790366"/>
                <a:gd name="connsiteX1941" fmla="*/ 1227099 w 1466597"/>
                <a:gd name="connsiteY1941" fmla="*/ 480938 h 790366"/>
                <a:gd name="connsiteX1942" fmla="*/ 1226360 w 1466597"/>
                <a:gd name="connsiteY1942" fmla="*/ 480508 h 790366"/>
                <a:gd name="connsiteX1943" fmla="*/ 1224129 w 1466597"/>
                <a:gd name="connsiteY1943" fmla="*/ 480323 h 790366"/>
                <a:gd name="connsiteX1944" fmla="*/ 1221764 w 1466597"/>
                <a:gd name="connsiteY1944" fmla="*/ 481988 h 790366"/>
                <a:gd name="connsiteX1945" fmla="*/ 1215678 w 1466597"/>
                <a:gd name="connsiteY1945" fmla="*/ 487420 h 790366"/>
                <a:gd name="connsiteX1946" fmla="*/ 1213976 w 1466597"/>
                <a:gd name="connsiteY1946" fmla="*/ 488373 h 790366"/>
                <a:gd name="connsiteX1947" fmla="*/ 1206328 w 1466597"/>
                <a:gd name="connsiteY1947" fmla="*/ 491374 h 790366"/>
                <a:gd name="connsiteX1948" fmla="*/ 1201147 w 1466597"/>
                <a:gd name="connsiteY1948" fmla="*/ 491979 h 790366"/>
                <a:gd name="connsiteX1949" fmla="*/ 1195315 w 1466597"/>
                <a:gd name="connsiteY1949" fmla="*/ 491505 h 790366"/>
                <a:gd name="connsiteX1950" fmla="*/ 1190347 w 1466597"/>
                <a:gd name="connsiteY1950" fmla="*/ 490530 h 790366"/>
                <a:gd name="connsiteX1951" fmla="*/ 1177878 w 1466597"/>
                <a:gd name="connsiteY1951" fmla="*/ 485782 h 790366"/>
                <a:gd name="connsiteX1952" fmla="*/ 1175931 w 1466597"/>
                <a:gd name="connsiteY1952" fmla="*/ 484678 h 790366"/>
                <a:gd name="connsiteX1953" fmla="*/ 1178830 w 1466597"/>
                <a:gd name="connsiteY1953" fmla="*/ 481736 h 790366"/>
                <a:gd name="connsiteX1954" fmla="*/ 1178950 w 1466597"/>
                <a:gd name="connsiteY1954" fmla="*/ 480817 h 790366"/>
                <a:gd name="connsiteX1955" fmla="*/ 1177939 w 1466597"/>
                <a:gd name="connsiteY1955" fmla="*/ 477815 h 790366"/>
                <a:gd name="connsiteX1956" fmla="*/ 1177108 w 1466597"/>
                <a:gd name="connsiteY1956" fmla="*/ 476957 h 790366"/>
                <a:gd name="connsiteX1957" fmla="*/ 1175919 w 1466597"/>
                <a:gd name="connsiteY1957" fmla="*/ 476484 h 790366"/>
                <a:gd name="connsiteX1958" fmla="*/ 1175590 w 1466597"/>
                <a:gd name="connsiteY1958" fmla="*/ 476821 h 790366"/>
                <a:gd name="connsiteX1959" fmla="*/ 1175577 w 1466597"/>
                <a:gd name="connsiteY1959" fmla="*/ 477713 h 790366"/>
                <a:gd name="connsiteX1960" fmla="*/ 1175894 w 1466597"/>
                <a:gd name="connsiteY1960" fmla="*/ 479362 h 790366"/>
                <a:gd name="connsiteX1961" fmla="*/ 1174942 w 1466597"/>
                <a:gd name="connsiteY1961" fmla="*/ 480234 h 790366"/>
                <a:gd name="connsiteX1962" fmla="*/ 1172822 w 1466597"/>
                <a:gd name="connsiteY1962" fmla="*/ 481175 h 790366"/>
                <a:gd name="connsiteX1963" fmla="*/ 1169249 w 1466597"/>
                <a:gd name="connsiteY1963" fmla="*/ 482122 h 790366"/>
                <a:gd name="connsiteX1964" fmla="*/ 1158182 w 1466597"/>
                <a:gd name="connsiteY1964" fmla="*/ 479700 h 790366"/>
                <a:gd name="connsiteX1965" fmla="*/ 1146843 w 1466597"/>
                <a:gd name="connsiteY1965" fmla="*/ 477693 h 790366"/>
                <a:gd name="connsiteX1966" fmla="*/ 1136713 w 1466597"/>
                <a:gd name="connsiteY1966" fmla="*/ 477275 h 790366"/>
                <a:gd name="connsiteX1967" fmla="*/ 1122415 w 1466597"/>
                <a:gd name="connsiteY1967" fmla="*/ 478876 h 790366"/>
                <a:gd name="connsiteX1968" fmla="*/ 1114789 w 1466597"/>
                <a:gd name="connsiteY1968" fmla="*/ 480484 h 790366"/>
                <a:gd name="connsiteX1969" fmla="*/ 1110340 w 1466597"/>
                <a:gd name="connsiteY1969" fmla="*/ 480640 h 790366"/>
                <a:gd name="connsiteX1970" fmla="*/ 1106061 w 1466597"/>
                <a:gd name="connsiteY1970" fmla="*/ 480350 h 790366"/>
                <a:gd name="connsiteX1971" fmla="*/ 1105711 w 1466597"/>
                <a:gd name="connsiteY1971" fmla="*/ 479228 h 790366"/>
                <a:gd name="connsiteX1972" fmla="*/ 1107667 w 1466597"/>
                <a:gd name="connsiteY1972" fmla="*/ 478570 h 790366"/>
                <a:gd name="connsiteX1973" fmla="*/ 1107558 w 1466597"/>
                <a:gd name="connsiteY1973" fmla="*/ 477758 h 790366"/>
                <a:gd name="connsiteX1974" fmla="*/ 1105084 w 1466597"/>
                <a:gd name="connsiteY1974" fmla="*/ 475222 h 790366"/>
                <a:gd name="connsiteX1975" fmla="*/ 1101331 w 1466597"/>
                <a:gd name="connsiteY1975" fmla="*/ 473682 h 790366"/>
                <a:gd name="connsiteX1976" fmla="*/ 1096296 w 1466597"/>
                <a:gd name="connsiteY1976" fmla="*/ 473139 h 790366"/>
                <a:gd name="connsiteX1977" fmla="*/ 1093415 w 1466597"/>
                <a:gd name="connsiteY1977" fmla="*/ 472395 h 790366"/>
                <a:gd name="connsiteX1978" fmla="*/ 1092684 w 1466597"/>
                <a:gd name="connsiteY1978" fmla="*/ 471454 h 790366"/>
                <a:gd name="connsiteX1979" fmla="*/ 1090903 w 1466597"/>
                <a:gd name="connsiteY1979" fmla="*/ 470556 h 790366"/>
                <a:gd name="connsiteX1980" fmla="*/ 1088071 w 1466597"/>
                <a:gd name="connsiteY1980" fmla="*/ 469700 h 790366"/>
                <a:gd name="connsiteX1981" fmla="*/ 1086824 w 1466597"/>
                <a:gd name="connsiteY1981" fmla="*/ 468164 h 790366"/>
                <a:gd name="connsiteX1982" fmla="*/ 1087815 w 1466597"/>
                <a:gd name="connsiteY1982" fmla="*/ 463407 h 790366"/>
                <a:gd name="connsiteX1983" fmla="*/ 1088785 w 1466597"/>
                <a:gd name="connsiteY1983" fmla="*/ 460547 h 790366"/>
                <a:gd name="connsiteX1984" fmla="*/ 1089751 w 1466597"/>
                <a:gd name="connsiteY1984" fmla="*/ 458585 h 790366"/>
                <a:gd name="connsiteX1985" fmla="*/ 1092186 w 1466597"/>
                <a:gd name="connsiteY1985" fmla="*/ 455332 h 790366"/>
                <a:gd name="connsiteX1986" fmla="*/ 1091337 w 1466597"/>
                <a:gd name="connsiteY1986" fmla="*/ 455574 h 790366"/>
                <a:gd name="connsiteX1987" fmla="*/ 1087800 w 1466597"/>
                <a:gd name="connsiteY1987" fmla="*/ 457959 h 790366"/>
                <a:gd name="connsiteX1988" fmla="*/ 1084713 w 1466597"/>
                <a:gd name="connsiteY1988" fmla="*/ 460420 h 790366"/>
                <a:gd name="connsiteX1989" fmla="*/ 1081857 w 1466597"/>
                <a:gd name="connsiteY1989" fmla="*/ 463618 h 790366"/>
                <a:gd name="connsiteX1990" fmla="*/ 1080156 w 1466597"/>
                <a:gd name="connsiteY1990" fmla="*/ 465088 h 790366"/>
                <a:gd name="connsiteX1991" fmla="*/ 1077973 w 1466597"/>
                <a:gd name="connsiteY1991" fmla="*/ 466440 h 790366"/>
                <a:gd name="connsiteX1992" fmla="*/ 1074567 w 1466597"/>
                <a:gd name="connsiteY1992" fmla="*/ 466115 h 790366"/>
                <a:gd name="connsiteX1993" fmla="*/ 1069941 w 1466597"/>
                <a:gd name="connsiteY1993" fmla="*/ 464115 h 790366"/>
                <a:gd name="connsiteX1994" fmla="*/ 1065979 w 1466597"/>
                <a:gd name="connsiteY1994" fmla="*/ 463084 h 790366"/>
                <a:gd name="connsiteX1995" fmla="*/ 1062680 w 1466597"/>
                <a:gd name="connsiteY1995" fmla="*/ 463020 h 790366"/>
                <a:gd name="connsiteX1996" fmla="*/ 1061376 w 1466597"/>
                <a:gd name="connsiteY1996" fmla="*/ 462676 h 790366"/>
                <a:gd name="connsiteX1997" fmla="*/ 1063627 w 1466597"/>
                <a:gd name="connsiteY1997" fmla="*/ 460891 h 790366"/>
                <a:gd name="connsiteX1998" fmla="*/ 1064924 w 1466597"/>
                <a:gd name="connsiteY1998" fmla="*/ 459454 h 790366"/>
                <a:gd name="connsiteX1999" fmla="*/ 1066699 w 1466597"/>
                <a:gd name="connsiteY1999" fmla="*/ 457147 h 790366"/>
                <a:gd name="connsiteX2000" fmla="*/ 1067089 w 1466597"/>
                <a:gd name="connsiteY2000" fmla="*/ 456024 h 790366"/>
                <a:gd name="connsiteX2001" fmla="*/ 1054995 w 1466597"/>
                <a:gd name="connsiteY2001" fmla="*/ 455656 h 790366"/>
                <a:gd name="connsiteX2002" fmla="*/ 1054551 w 1466597"/>
                <a:gd name="connsiteY2002" fmla="*/ 454440 h 790366"/>
                <a:gd name="connsiteX2003" fmla="*/ 1054534 w 1466597"/>
                <a:gd name="connsiteY2003" fmla="*/ 453543 h 790366"/>
                <a:gd name="connsiteX2004" fmla="*/ 1054145 w 1466597"/>
                <a:gd name="connsiteY2004" fmla="*/ 452801 h 790366"/>
                <a:gd name="connsiteX2005" fmla="*/ 1052393 w 1466597"/>
                <a:gd name="connsiteY2005" fmla="*/ 452250 h 790366"/>
                <a:gd name="connsiteX2006" fmla="*/ 1049940 w 1466597"/>
                <a:gd name="connsiteY2006" fmla="*/ 452672 h 790366"/>
                <a:gd name="connsiteX2007" fmla="*/ 1045965 w 1466597"/>
                <a:gd name="connsiteY2007" fmla="*/ 454112 h 790366"/>
                <a:gd name="connsiteX2008" fmla="*/ 1044245 w 1466597"/>
                <a:gd name="connsiteY2008" fmla="*/ 453018 h 790366"/>
                <a:gd name="connsiteX2009" fmla="*/ 1044858 w 1466597"/>
                <a:gd name="connsiteY2009" fmla="*/ 452401 h 790366"/>
                <a:gd name="connsiteX2010" fmla="*/ 1046156 w 1466597"/>
                <a:gd name="connsiteY2010" fmla="*/ 451952 h 790366"/>
                <a:gd name="connsiteX2011" fmla="*/ 1048797 w 1466597"/>
                <a:gd name="connsiteY2011" fmla="*/ 449866 h 790366"/>
                <a:gd name="connsiteX2012" fmla="*/ 1045226 w 1466597"/>
                <a:gd name="connsiteY2012" fmla="*/ 448783 h 790366"/>
                <a:gd name="connsiteX2013" fmla="*/ 1043400 w 1466597"/>
                <a:gd name="connsiteY2013" fmla="*/ 447544 h 790366"/>
                <a:gd name="connsiteX2014" fmla="*/ 1042510 w 1466597"/>
                <a:gd name="connsiteY2014" fmla="*/ 446524 h 790366"/>
                <a:gd name="connsiteX2015" fmla="*/ 1042572 w 1466597"/>
                <a:gd name="connsiteY2015" fmla="*/ 442840 h 790366"/>
                <a:gd name="connsiteX2016" fmla="*/ 1043513 w 1466597"/>
                <a:gd name="connsiteY2016" fmla="*/ 440478 h 790366"/>
                <a:gd name="connsiteX2017" fmla="*/ 1051529 w 1466597"/>
                <a:gd name="connsiteY2017" fmla="*/ 438184 h 790366"/>
                <a:gd name="connsiteX2018" fmla="*/ 1048991 w 1466597"/>
                <a:gd name="connsiteY2018" fmla="*/ 437284 h 790366"/>
                <a:gd name="connsiteX2019" fmla="*/ 1043932 w 1466597"/>
                <a:gd name="connsiteY2019" fmla="*/ 437594 h 790366"/>
                <a:gd name="connsiteX2020" fmla="*/ 1040534 w 1466597"/>
                <a:gd name="connsiteY2020" fmla="*/ 439547 h 790366"/>
                <a:gd name="connsiteX2021" fmla="*/ 1036500 w 1466597"/>
                <a:gd name="connsiteY2021" fmla="*/ 442362 h 790366"/>
                <a:gd name="connsiteX2022" fmla="*/ 1033792 w 1466597"/>
                <a:gd name="connsiteY2022" fmla="*/ 443411 h 790366"/>
                <a:gd name="connsiteX2023" fmla="*/ 1032411 w 1466597"/>
                <a:gd name="connsiteY2023" fmla="*/ 442698 h 790366"/>
                <a:gd name="connsiteX2024" fmla="*/ 1030583 w 1466597"/>
                <a:gd name="connsiteY2024" fmla="*/ 442453 h 790366"/>
                <a:gd name="connsiteX2025" fmla="*/ 1028311 w 1466597"/>
                <a:gd name="connsiteY2025" fmla="*/ 442674 h 790366"/>
                <a:gd name="connsiteX2026" fmla="*/ 1026785 w 1466597"/>
                <a:gd name="connsiteY2026" fmla="*/ 443392 h 790366"/>
                <a:gd name="connsiteX2027" fmla="*/ 1026002 w 1466597"/>
                <a:gd name="connsiteY2027" fmla="*/ 444612 h 790366"/>
                <a:gd name="connsiteX2028" fmla="*/ 1025095 w 1466597"/>
                <a:gd name="connsiteY2028" fmla="*/ 445434 h 790366"/>
                <a:gd name="connsiteX2029" fmla="*/ 1024068 w 1466597"/>
                <a:gd name="connsiteY2029" fmla="*/ 445859 h 790366"/>
                <a:gd name="connsiteX2030" fmla="*/ 1023323 w 1466597"/>
                <a:gd name="connsiteY2030" fmla="*/ 445723 h 790366"/>
                <a:gd name="connsiteX2031" fmla="*/ 1022231 w 1466597"/>
                <a:gd name="connsiteY2031" fmla="*/ 444475 h 790366"/>
                <a:gd name="connsiteX2032" fmla="*/ 1019937 w 1466597"/>
                <a:gd name="connsiteY2032" fmla="*/ 443701 h 790366"/>
                <a:gd name="connsiteX2033" fmla="*/ 1018816 w 1466597"/>
                <a:gd name="connsiteY2033" fmla="*/ 442748 h 790366"/>
                <a:gd name="connsiteX2034" fmla="*/ 1018171 w 1466597"/>
                <a:gd name="connsiteY2034" fmla="*/ 443347 h 790366"/>
                <a:gd name="connsiteX2035" fmla="*/ 1017386 w 1466597"/>
                <a:gd name="connsiteY2035" fmla="*/ 445144 h 790366"/>
                <a:gd name="connsiteX2036" fmla="*/ 1016560 w 1466597"/>
                <a:gd name="connsiteY2036" fmla="*/ 446052 h 790366"/>
                <a:gd name="connsiteX2037" fmla="*/ 1012685 w 1466597"/>
                <a:gd name="connsiteY2037" fmla="*/ 446986 h 790366"/>
                <a:gd name="connsiteX2038" fmla="*/ 1010554 w 1466597"/>
                <a:gd name="connsiteY2038" fmla="*/ 446811 h 790366"/>
                <a:gd name="connsiteX2039" fmla="*/ 1008012 w 1466597"/>
                <a:gd name="connsiteY2039" fmla="*/ 444552 h 790366"/>
                <a:gd name="connsiteX2040" fmla="*/ 1007645 w 1466597"/>
                <a:gd name="connsiteY2040" fmla="*/ 443767 h 790366"/>
                <a:gd name="connsiteX2041" fmla="*/ 1008511 w 1466597"/>
                <a:gd name="connsiteY2041" fmla="*/ 441814 h 790366"/>
                <a:gd name="connsiteX2042" fmla="*/ 1014106 w 1466597"/>
                <a:gd name="connsiteY2042" fmla="*/ 434056 h 790366"/>
                <a:gd name="connsiteX2043" fmla="*/ 1013548 w 1466597"/>
                <a:gd name="connsiteY2043" fmla="*/ 434100 h 790366"/>
                <a:gd name="connsiteX2044" fmla="*/ 1011735 w 1466597"/>
                <a:gd name="connsiteY2044" fmla="*/ 435322 h 790366"/>
                <a:gd name="connsiteX2045" fmla="*/ 1008124 w 1466597"/>
                <a:gd name="connsiteY2045" fmla="*/ 438423 h 790366"/>
                <a:gd name="connsiteX2046" fmla="*/ 1006515 w 1466597"/>
                <a:gd name="connsiteY2046" fmla="*/ 439347 h 790366"/>
                <a:gd name="connsiteX2047" fmla="*/ 1003748 w 1466597"/>
                <a:gd name="connsiteY2047" fmla="*/ 439463 h 790366"/>
                <a:gd name="connsiteX2048" fmla="*/ 1002453 w 1466597"/>
                <a:gd name="connsiteY2048" fmla="*/ 439131 h 790366"/>
                <a:gd name="connsiteX2049" fmla="*/ 1000889 w 1466597"/>
                <a:gd name="connsiteY2049" fmla="*/ 439382 h 790366"/>
                <a:gd name="connsiteX2050" fmla="*/ 999056 w 1466597"/>
                <a:gd name="connsiteY2050" fmla="*/ 440211 h 790366"/>
                <a:gd name="connsiteX2051" fmla="*/ 997858 w 1466597"/>
                <a:gd name="connsiteY2051" fmla="*/ 441119 h 790366"/>
                <a:gd name="connsiteX2052" fmla="*/ 997298 w 1466597"/>
                <a:gd name="connsiteY2052" fmla="*/ 442106 h 790366"/>
                <a:gd name="connsiteX2053" fmla="*/ 997679 w 1466597"/>
                <a:gd name="connsiteY2053" fmla="*/ 442275 h 790366"/>
                <a:gd name="connsiteX2054" fmla="*/ 1000445 w 1466597"/>
                <a:gd name="connsiteY2054" fmla="*/ 441147 h 790366"/>
                <a:gd name="connsiteX2055" fmla="*/ 1002014 w 1466597"/>
                <a:gd name="connsiteY2055" fmla="*/ 440845 h 790366"/>
                <a:gd name="connsiteX2056" fmla="*/ 1002453 w 1466597"/>
                <a:gd name="connsiteY2056" fmla="*/ 441391 h 790366"/>
                <a:gd name="connsiteX2057" fmla="*/ 1000298 w 1466597"/>
                <a:gd name="connsiteY2057" fmla="*/ 444884 h 790366"/>
                <a:gd name="connsiteX2058" fmla="*/ 998989 w 1466597"/>
                <a:gd name="connsiteY2058" fmla="*/ 448215 h 790366"/>
                <a:gd name="connsiteX2059" fmla="*/ 997744 w 1466597"/>
                <a:gd name="connsiteY2059" fmla="*/ 449053 h 790366"/>
                <a:gd name="connsiteX2060" fmla="*/ 995761 w 1466597"/>
                <a:gd name="connsiteY2060" fmla="*/ 448913 h 790366"/>
                <a:gd name="connsiteX2061" fmla="*/ 993589 w 1466597"/>
                <a:gd name="connsiteY2061" fmla="*/ 449242 h 790366"/>
                <a:gd name="connsiteX2062" fmla="*/ 993558 w 1466597"/>
                <a:gd name="connsiteY2062" fmla="*/ 450171 h 790366"/>
                <a:gd name="connsiteX2063" fmla="*/ 997606 w 1466597"/>
                <a:gd name="connsiteY2063" fmla="*/ 452830 h 790366"/>
                <a:gd name="connsiteX2064" fmla="*/ 999072 w 1466597"/>
                <a:gd name="connsiteY2064" fmla="*/ 453205 h 790366"/>
                <a:gd name="connsiteX2065" fmla="*/ 1000944 w 1466597"/>
                <a:gd name="connsiteY2065" fmla="*/ 454153 h 790366"/>
                <a:gd name="connsiteX2066" fmla="*/ 1001228 w 1466597"/>
                <a:gd name="connsiteY2066" fmla="*/ 455094 h 790366"/>
                <a:gd name="connsiteX2067" fmla="*/ 1000526 w 1466597"/>
                <a:gd name="connsiteY2067" fmla="*/ 457634 h 790366"/>
                <a:gd name="connsiteX2068" fmla="*/ 999996 w 1466597"/>
                <a:gd name="connsiteY2068" fmla="*/ 458634 h 790366"/>
                <a:gd name="connsiteX2069" fmla="*/ 999143 w 1466597"/>
                <a:gd name="connsiteY2069" fmla="*/ 459154 h 790366"/>
                <a:gd name="connsiteX2070" fmla="*/ 995843 w 1466597"/>
                <a:gd name="connsiteY2070" fmla="*/ 459068 h 790366"/>
                <a:gd name="connsiteX2071" fmla="*/ 994778 w 1466597"/>
                <a:gd name="connsiteY2071" fmla="*/ 459331 h 790366"/>
                <a:gd name="connsiteX2072" fmla="*/ 992556 w 1466597"/>
                <a:gd name="connsiteY2072" fmla="*/ 460924 h 790366"/>
                <a:gd name="connsiteX2073" fmla="*/ 991447 w 1466597"/>
                <a:gd name="connsiteY2073" fmla="*/ 462244 h 790366"/>
                <a:gd name="connsiteX2074" fmla="*/ 991852 w 1466597"/>
                <a:gd name="connsiteY2074" fmla="*/ 462360 h 790366"/>
                <a:gd name="connsiteX2075" fmla="*/ 993769 w 1466597"/>
                <a:gd name="connsiteY2075" fmla="*/ 461270 h 790366"/>
                <a:gd name="connsiteX2076" fmla="*/ 996556 w 1466597"/>
                <a:gd name="connsiteY2076" fmla="*/ 460686 h 790366"/>
                <a:gd name="connsiteX2077" fmla="*/ 1000216 w 1466597"/>
                <a:gd name="connsiteY2077" fmla="*/ 460606 h 790366"/>
                <a:gd name="connsiteX2078" fmla="*/ 1002944 w 1466597"/>
                <a:gd name="connsiteY2078" fmla="*/ 460027 h 790366"/>
                <a:gd name="connsiteX2079" fmla="*/ 1004736 w 1466597"/>
                <a:gd name="connsiteY2079" fmla="*/ 458950 h 790366"/>
                <a:gd name="connsiteX2080" fmla="*/ 1006483 w 1466597"/>
                <a:gd name="connsiteY2080" fmla="*/ 459256 h 790366"/>
                <a:gd name="connsiteX2081" fmla="*/ 1008184 w 1466597"/>
                <a:gd name="connsiteY2081" fmla="*/ 460941 h 790366"/>
                <a:gd name="connsiteX2082" fmla="*/ 1008692 w 1466597"/>
                <a:gd name="connsiteY2082" fmla="*/ 462421 h 790366"/>
                <a:gd name="connsiteX2083" fmla="*/ 1008006 w 1466597"/>
                <a:gd name="connsiteY2083" fmla="*/ 463687 h 790366"/>
                <a:gd name="connsiteX2084" fmla="*/ 1006604 w 1466597"/>
                <a:gd name="connsiteY2084" fmla="*/ 464592 h 790366"/>
                <a:gd name="connsiteX2085" fmla="*/ 1004481 w 1466597"/>
                <a:gd name="connsiteY2085" fmla="*/ 465132 h 790366"/>
                <a:gd name="connsiteX2086" fmla="*/ 1003141 w 1466597"/>
                <a:gd name="connsiteY2086" fmla="*/ 465944 h 790366"/>
                <a:gd name="connsiteX2087" fmla="*/ 1002583 w 1466597"/>
                <a:gd name="connsiteY2087" fmla="*/ 467022 h 790366"/>
                <a:gd name="connsiteX2088" fmla="*/ 1002269 w 1466597"/>
                <a:gd name="connsiteY2088" fmla="*/ 468625 h 790366"/>
                <a:gd name="connsiteX2089" fmla="*/ 1002198 w 1466597"/>
                <a:gd name="connsiteY2089" fmla="*/ 470749 h 790366"/>
                <a:gd name="connsiteX2090" fmla="*/ 1002736 w 1466597"/>
                <a:gd name="connsiteY2090" fmla="*/ 474571 h 790366"/>
                <a:gd name="connsiteX2091" fmla="*/ 1002322 w 1466597"/>
                <a:gd name="connsiteY2091" fmla="*/ 475087 h 790366"/>
                <a:gd name="connsiteX2092" fmla="*/ 1001526 w 1466597"/>
                <a:gd name="connsiteY2092" fmla="*/ 475372 h 790366"/>
                <a:gd name="connsiteX2093" fmla="*/ 1000344 w 1466597"/>
                <a:gd name="connsiteY2093" fmla="*/ 475423 h 790366"/>
                <a:gd name="connsiteX2094" fmla="*/ 999279 w 1466597"/>
                <a:gd name="connsiteY2094" fmla="*/ 476318 h 790366"/>
                <a:gd name="connsiteX2095" fmla="*/ 996789 w 1466597"/>
                <a:gd name="connsiteY2095" fmla="*/ 481390 h 790366"/>
                <a:gd name="connsiteX2096" fmla="*/ 995913 w 1466597"/>
                <a:gd name="connsiteY2096" fmla="*/ 481939 h 790366"/>
                <a:gd name="connsiteX2097" fmla="*/ 994867 w 1466597"/>
                <a:gd name="connsiteY2097" fmla="*/ 481396 h 790366"/>
                <a:gd name="connsiteX2098" fmla="*/ 993940 w 1466597"/>
                <a:gd name="connsiteY2098" fmla="*/ 481454 h 790366"/>
                <a:gd name="connsiteX2099" fmla="*/ 993132 w 1466597"/>
                <a:gd name="connsiteY2099" fmla="*/ 482115 h 790366"/>
                <a:gd name="connsiteX2100" fmla="*/ 991358 w 1466597"/>
                <a:gd name="connsiteY2100" fmla="*/ 482619 h 790366"/>
                <a:gd name="connsiteX2101" fmla="*/ 988622 w 1466597"/>
                <a:gd name="connsiteY2101" fmla="*/ 482965 h 790366"/>
                <a:gd name="connsiteX2102" fmla="*/ 986279 w 1466597"/>
                <a:gd name="connsiteY2102" fmla="*/ 482835 h 790366"/>
                <a:gd name="connsiteX2103" fmla="*/ 982159 w 1466597"/>
                <a:gd name="connsiteY2103" fmla="*/ 481738 h 790366"/>
                <a:gd name="connsiteX2104" fmla="*/ 980478 w 1466597"/>
                <a:gd name="connsiteY2104" fmla="*/ 480965 h 790366"/>
                <a:gd name="connsiteX2105" fmla="*/ 979165 w 1466597"/>
                <a:gd name="connsiteY2105" fmla="*/ 479698 h 790366"/>
                <a:gd name="connsiteX2106" fmla="*/ 975465 w 1466597"/>
                <a:gd name="connsiteY2106" fmla="*/ 481041 h 790366"/>
                <a:gd name="connsiteX2107" fmla="*/ 974488 w 1466597"/>
                <a:gd name="connsiteY2107" fmla="*/ 480453 h 790366"/>
                <a:gd name="connsiteX2108" fmla="*/ 972183 w 1466597"/>
                <a:gd name="connsiteY2108" fmla="*/ 476939 h 790366"/>
                <a:gd name="connsiteX2109" fmla="*/ 971684 w 1466597"/>
                <a:gd name="connsiteY2109" fmla="*/ 477150 h 790366"/>
                <a:gd name="connsiteX2110" fmla="*/ 971240 w 1466597"/>
                <a:gd name="connsiteY2110" fmla="*/ 480935 h 790366"/>
                <a:gd name="connsiteX2111" fmla="*/ 970539 w 1466597"/>
                <a:gd name="connsiteY2111" fmla="*/ 482261 h 790366"/>
                <a:gd name="connsiteX2112" fmla="*/ 968257 w 1466597"/>
                <a:gd name="connsiteY2112" fmla="*/ 485000 h 790366"/>
                <a:gd name="connsiteX2113" fmla="*/ 967010 w 1466597"/>
                <a:gd name="connsiteY2113" fmla="*/ 489710 h 790366"/>
                <a:gd name="connsiteX2114" fmla="*/ 966631 w 1466597"/>
                <a:gd name="connsiteY2114" fmla="*/ 489848 h 790366"/>
                <a:gd name="connsiteX2115" fmla="*/ 966205 w 1466597"/>
                <a:gd name="connsiteY2115" fmla="*/ 489170 h 790366"/>
                <a:gd name="connsiteX2116" fmla="*/ 964800 w 1466597"/>
                <a:gd name="connsiteY2116" fmla="*/ 484963 h 790366"/>
                <a:gd name="connsiteX2117" fmla="*/ 964055 w 1466597"/>
                <a:gd name="connsiteY2117" fmla="*/ 484039 h 790366"/>
                <a:gd name="connsiteX2118" fmla="*/ 961992 w 1466597"/>
                <a:gd name="connsiteY2118" fmla="*/ 486467 h 790366"/>
                <a:gd name="connsiteX2119" fmla="*/ 961765 w 1466597"/>
                <a:gd name="connsiteY2119" fmla="*/ 487344 h 790366"/>
                <a:gd name="connsiteX2120" fmla="*/ 962305 w 1466597"/>
                <a:gd name="connsiteY2120" fmla="*/ 490474 h 790366"/>
                <a:gd name="connsiteX2121" fmla="*/ 961826 w 1466597"/>
                <a:gd name="connsiteY2121" fmla="*/ 490946 h 790366"/>
                <a:gd name="connsiteX2122" fmla="*/ 957649 w 1466597"/>
                <a:gd name="connsiteY2122" fmla="*/ 489261 h 790366"/>
                <a:gd name="connsiteX2123" fmla="*/ 956621 w 1466597"/>
                <a:gd name="connsiteY2123" fmla="*/ 489180 h 790366"/>
                <a:gd name="connsiteX2124" fmla="*/ 956348 w 1466597"/>
                <a:gd name="connsiteY2124" fmla="*/ 489464 h 790366"/>
                <a:gd name="connsiteX2125" fmla="*/ 957772 w 1466597"/>
                <a:gd name="connsiteY2125" fmla="*/ 491890 h 790366"/>
                <a:gd name="connsiteX2126" fmla="*/ 957611 w 1466597"/>
                <a:gd name="connsiteY2126" fmla="*/ 492764 h 790366"/>
                <a:gd name="connsiteX2127" fmla="*/ 951704 w 1466597"/>
                <a:gd name="connsiteY2127" fmla="*/ 497445 h 790366"/>
                <a:gd name="connsiteX2128" fmla="*/ 950163 w 1466597"/>
                <a:gd name="connsiteY2128" fmla="*/ 497279 h 790366"/>
                <a:gd name="connsiteX2129" fmla="*/ 949193 w 1466597"/>
                <a:gd name="connsiteY2129" fmla="*/ 496812 h 790366"/>
                <a:gd name="connsiteX2130" fmla="*/ 948131 w 1466597"/>
                <a:gd name="connsiteY2130" fmla="*/ 496883 h 790366"/>
                <a:gd name="connsiteX2131" fmla="*/ 944375 w 1466597"/>
                <a:gd name="connsiteY2131" fmla="*/ 498628 h 790366"/>
                <a:gd name="connsiteX2132" fmla="*/ 943339 w 1466597"/>
                <a:gd name="connsiteY2132" fmla="*/ 498552 h 790366"/>
                <a:gd name="connsiteX2133" fmla="*/ 941921 w 1466597"/>
                <a:gd name="connsiteY2133" fmla="*/ 497518 h 790366"/>
                <a:gd name="connsiteX2134" fmla="*/ 941262 w 1466597"/>
                <a:gd name="connsiteY2134" fmla="*/ 497564 h 790366"/>
                <a:gd name="connsiteX2135" fmla="*/ 940911 w 1466597"/>
                <a:gd name="connsiteY2135" fmla="*/ 498637 h 790366"/>
                <a:gd name="connsiteX2136" fmla="*/ 940866 w 1466597"/>
                <a:gd name="connsiteY2136" fmla="*/ 500733 h 790366"/>
                <a:gd name="connsiteX2137" fmla="*/ 939476 w 1466597"/>
                <a:gd name="connsiteY2137" fmla="*/ 502725 h 790366"/>
                <a:gd name="connsiteX2138" fmla="*/ 935002 w 1466597"/>
                <a:gd name="connsiteY2138" fmla="*/ 505940 h 790366"/>
                <a:gd name="connsiteX2139" fmla="*/ 933815 w 1466597"/>
                <a:gd name="connsiteY2139" fmla="*/ 507417 h 790366"/>
                <a:gd name="connsiteX2140" fmla="*/ 932916 w 1466597"/>
                <a:gd name="connsiteY2140" fmla="*/ 509437 h 790366"/>
                <a:gd name="connsiteX2141" fmla="*/ 932247 w 1466597"/>
                <a:gd name="connsiteY2141" fmla="*/ 509629 h 790366"/>
                <a:gd name="connsiteX2142" fmla="*/ 929625 w 1466597"/>
                <a:gd name="connsiteY2142" fmla="*/ 508331 h 790366"/>
                <a:gd name="connsiteX2143" fmla="*/ 926584 w 1466597"/>
                <a:gd name="connsiteY2143" fmla="*/ 507489 h 790366"/>
                <a:gd name="connsiteX2144" fmla="*/ 926165 w 1466597"/>
                <a:gd name="connsiteY2144" fmla="*/ 507908 h 790366"/>
                <a:gd name="connsiteX2145" fmla="*/ 927087 w 1466597"/>
                <a:gd name="connsiteY2145" fmla="*/ 509142 h 790366"/>
                <a:gd name="connsiteX2146" fmla="*/ 926892 w 1466597"/>
                <a:gd name="connsiteY2146" fmla="*/ 509897 h 790366"/>
                <a:gd name="connsiteX2147" fmla="*/ 925577 w 1466597"/>
                <a:gd name="connsiteY2147" fmla="*/ 510179 h 790366"/>
                <a:gd name="connsiteX2148" fmla="*/ 923912 w 1466597"/>
                <a:gd name="connsiteY2148" fmla="*/ 510070 h 790366"/>
                <a:gd name="connsiteX2149" fmla="*/ 921900 w 1466597"/>
                <a:gd name="connsiteY2149" fmla="*/ 509570 h 790366"/>
                <a:gd name="connsiteX2150" fmla="*/ 919079 w 1466597"/>
                <a:gd name="connsiteY2150" fmla="*/ 510136 h 790366"/>
                <a:gd name="connsiteX2151" fmla="*/ 915446 w 1466597"/>
                <a:gd name="connsiteY2151" fmla="*/ 511765 h 790366"/>
                <a:gd name="connsiteX2152" fmla="*/ 912415 w 1466597"/>
                <a:gd name="connsiteY2152" fmla="*/ 511719 h 790366"/>
                <a:gd name="connsiteX2153" fmla="*/ 908189 w 1466597"/>
                <a:gd name="connsiteY2153" fmla="*/ 509035 h 790366"/>
                <a:gd name="connsiteX2154" fmla="*/ 907025 w 1466597"/>
                <a:gd name="connsiteY2154" fmla="*/ 508834 h 790366"/>
                <a:gd name="connsiteX2155" fmla="*/ 906653 w 1466597"/>
                <a:gd name="connsiteY2155" fmla="*/ 508080 h 790366"/>
                <a:gd name="connsiteX2156" fmla="*/ 907479 w 1466597"/>
                <a:gd name="connsiteY2156" fmla="*/ 505907 h 790366"/>
                <a:gd name="connsiteX2157" fmla="*/ 908680 w 1466597"/>
                <a:gd name="connsiteY2157" fmla="*/ 504261 h 790366"/>
                <a:gd name="connsiteX2158" fmla="*/ 909565 w 1466597"/>
                <a:gd name="connsiteY2158" fmla="*/ 503503 h 790366"/>
                <a:gd name="connsiteX2159" fmla="*/ 913579 w 1466597"/>
                <a:gd name="connsiteY2159" fmla="*/ 501393 h 790366"/>
                <a:gd name="connsiteX2160" fmla="*/ 918168 w 1466597"/>
                <a:gd name="connsiteY2160" fmla="*/ 500617 h 790366"/>
                <a:gd name="connsiteX2161" fmla="*/ 921053 w 1466597"/>
                <a:gd name="connsiteY2161" fmla="*/ 499347 h 790366"/>
                <a:gd name="connsiteX2162" fmla="*/ 924560 w 1466597"/>
                <a:gd name="connsiteY2162" fmla="*/ 496723 h 790366"/>
                <a:gd name="connsiteX2163" fmla="*/ 926415 w 1466597"/>
                <a:gd name="connsiteY2163" fmla="*/ 494749 h 790366"/>
                <a:gd name="connsiteX2164" fmla="*/ 930061 w 1466597"/>
                <a:gd name="connsiteY2164" fmla="*/ 489659 h 790366"/>
                <a:gd name="connsiteX2165" fmla="*/ 929784 w 1466597"/>
                <a:gd name="connsiteY2165" fmla="*/ 489265 h 790366"/>
                <a:gd name="connsiteX2166" fmla="*/ 928964 w 1466597"/>
                <a:gd name="connsiteY2166" fmla="*/ 488991 h 790366"/>
                <a:gd name="connsiteX2167" fmla="*/ 920949 w 1466597"/>
                <a:gd name="connsiteY2167" fmla="*/ 493817 h 790366"/>
                <a:gd name="connsiteX2168" fmla="*/ 919765 w 1466597"/>
                <a:gd name="connsiteY2168" fmla="*/ 494268 h 790366"/>
                <a:gd name="connsiteX2169" fmla="*/ 918170 w 1466597"/>
                <a:gd name="connsiteY2169" fmla="*/ 494233 h 790366"/>
                <a:gd name="connsiteX2170" fmla="*/ 911761 w 1466597"/>
                <a:gd name="connsiteY2170" fmla="*/ 492385 h 790366"/>
                <a:gd name="connsiteX2171" fmla="*/ 910407 w 1466597"/>
                <a:gd name="connsiteY2171" fmla="*/ 491591 h 790366"/>
                <a:gd name="connsiteX2172" fmla="*/ 909481 w 1466597"/>
                <a:gd name="connsiteY2172" fmla="*/ 489268 h 790366"/>
                <a:gd name="connsiteX2173" fmla="*/ 911261 w 1466597"/>
                <a:gd name="connsiteY2173" fmla="*/ 483979 h 790366"/>
                <a:gd name="connsiteX2174" fmla="*/ 912508 w 1466597"/>
                <a:gd name="connsiteY2174" fmla="*/ 481420 h 790366"/>
                <a:gd name="connsiteX2175" fmla="*/ 915638 w 1466597"/>
                <a:gd name="connsiteY2175" fmla="*/ 477463 h 790366"/>
                <a:gd name="connsiteX2176" fmla="*/ 919729 w 1466597"/>
                <a:gd name="connsiteY2176" fmla="*/ 473237 h 790366"/>
                <a:gd name="connsiteX2177" fmla="*/ 921144 w 1466597"/>
                <a:gd name="connsiteY2177" fmla="*/ 470489 h 790366"/>
                <a:gd name="connsiteX2178" fmla="*/ 923270 w 1466597"/>
                <a:gd name="connsiteY2178" fmla="*/ 463126 h 790366"/>
                <a:gd name="connsiteX2179" fmla="*/ 923146 w 1466597"/>
                <a:gd name="connsiteY2179" fmla="*/ 459780 h 790366"/>
                <a:gd name="connsiteX2180" fmla="*/ 922190 w 1466597"/>
                <a:gd name="connsiteY2180" fmla="*/ 455688 h 790366"/>
                <a:gd name="connsiteX2181" fmla="*/ 922154 w 1466597"/>
                <a:gd name="connsiteY2181" fmla="*/ 453257 h 790366"/>
                <a:gd name="connsiteX2182" fmla="*/ 923038 w 1466597"/>
                <a:gd name="connsiteY2182" fmla="*/ 452487 h 790366"/>
                <a:gd name="connsiteX2183" fmla="*/ 932426 w 1466597"/>
                <a:gd name="connsiteY2183" fmla="*/ 448693 h 790366"/>
                <a:gd name="connsiteX2184" fmla="*/ 936871 w 1466597"/>
                <a:gd name="connsiteY2184" fmla="*/ 445848 h 790366"/>
                <a:gd name="connsiteX2185" fmla="*/ 945500 w 1466597"/>
                <a:gd name="connsiteY2185" fmla="*/ 441637 h 790366"/>
                <a:gd name="connsiteX2186" fmla="*/ 947851 w 1466597"/>
                <a:gd name="connsiteY2186" fmla="*/ 441673 h 790366"/>
                <a:gd name="connsiteX2187" fmla="*/ 949576 w 1466597"/>
                <a:gd name="connsiteY2187" fmla="*/ 443125 h 790366"/>
                <a:gd name="connsiteX2188" fmla="*/ 951583 w 1466597"/>
                <a:gd name="connsiteY2188" fmla="*/ 444285 h 790366"/>
                <a:gd name="connsiteX2189" fmla="*/ 953873 w 1466597"/>
                <a:gd name="connsiteY2189" fmla="*/ 445151 h 790366"/>
                <a:gd name="connsiteX2190" fmla="*/ 956819 w 1466597"/>
                <a:gd name="connsiteY2190" fmla="*/ 445061 h 790366"/>
                <a:gd name="connsiteX2191" fmla="*/ 960424 w 1466597"/>
                <a:gd name="connsiteY2191" fmla="*/ 444012 h 790366"/>
                <a:gd name="connsiteX2192" fmla="*/ 966132 w 1466597"/>
                <a:gd name="connsiteY2192" fmla="*/ 444409 h 790366"/>
                <a:gd name="connsiteX2193" fmla="*/ 977858 w 1466597"/>
                <a:gd name="connsiteY2193" fmla="*/ 447177 h 790366"/>
                <a:gd name="connsiteX2194" fmla="*/ 980351 w 1466597"/>
                <a:gd name="connsiteY2194" fmla="*/ 447333 h 790366"/>
                <a:gd name="connsiteX2195" fmla="*/ 980447 w 1466597"/>
                <a:gd name="connsiteY2195" fmla="*/ 446980 h 790366"/>
                <a:gd name="connsiteX2196" fmla="*/ 978638 w 1466597"/>
                <a:gd name="connsiteY2196" fmla="*/ 445040 h 790366"/>
                <a:gd name="connsiteX2197" fmla="*/ 970554 w 1466597"/>
                <a:gd name="connsiteY2197" fmla="*/ 443915 h 790366"/>
                <a:gd name="connsiteX2198" fmla="*/ 967152 w 1466597"/>
                <a:gd name="connsiteY2198" fmla="*/ 442790 h 790366"/>
                <a:gd name="connsiteX2199" fmla="*/ 957580 w 1466597"/>
                <a:gd name="connsiteY2199" fmla="*/ 437833 h 790366"/>
                <a:gd name="connsiteX2200" fmla="*/ 955397 w 1466597"/>
                <a:gd name="connsiteY2200" fmla="*/ 435916 h 790366"/>
                <a:gd name="connsiteX2201" fmla="*/ 956283 w 1466597"/>
                <a:gd name="connsiteY2201" fmla="*/ 435016 h 790366"/>
                <a:gd name="connsiteX2202" fmla="*/ 958625 w 1466597"/>
                <a:gd name="connsiteY2202" fmla="*/ 434276 h 790366"/>
                <a:gd name="connsiteX2203" fmla="*/ 959427 w 1466597"/>
                <a:gd name="connsiteY2203" fmla="*/ 433559 h 790366"/>
                <a:gd name="connsiteX2204" fmla="*/ 959766 w 1466597"/>
                <a:gd name="connsiteY2204" fmla="*/ 432315 h 790366"/>
                <a:gd name="connsiteX2205" fmla="*/ 961113 w 1466597"/>
                <a:gd name="connsiteY2205" fmla="*/ 430611 h 790366"/>
                <a:gd name="connsiteX2206" fmla="*/ 963468 w 1466597"/>
                <a:gd name="connsiteY2206" fmla="*/ 428438 h 790366"/>
                <a:gd name="connsiteX2207" fmla="*/ 967063 w 1466597"/>
                <a:gd name="connsiteY2207" fmla="*/ 426335 h 790366"/>
                <a:gd name="connsiteX2208" fmla="*/ 973872 w 1466597"/>
                <a:gd name="connsiteY2208" fmla="*/ 423212 h 790366"/>
                <a:gd name="connsiteX2209" fmla="*/ 971207 w 1466597"/>
                <a:gd name="connsiteY2209" fmla="*/ 423078 h 790366"/>
                <a:gd name="connsiteX2210" fmla="*/ 966311 w 1466597"/>
                <a:gd name="connsiteY2210" fmla="*/ 423653 h 790366"/>
                <a:gd name="connsiteX2211" fmla="*/ 964531 w 1466597"/>
                <a:gd name="connsiteY2211" fmla="*/ 424252 h 790366"/>
                <a:gd name="connsiteX2212" fmla="*/ 961253 w 1466597"/>
                <a:gd name="connsiteY2212" fmla="*/ 426488 h 790366"/>
                <a:gd name="connsiteX2213" fmla="*/ 959978 w 1466597"/>
                <a:gd name="connsiteY2213" fmla="*/ 428062 h 790366"/>
                <a:gd name="connsiteX2214" fmla="*/ 958154 w 1466597"/>
                <a:gd name="connsiteY2214" fmla="*/ 431128 h 790366"/>
                <a:gd name="connsiteX2215" fmla="*/ 957377 w 1466597"/>
                <a:gd name="connsiteY2215" fmla="*/ 431708 h 790366"/>
                <a:gd name="connsiteX2216" fmla="*/ 953977 w 1466597"/>
                <a:gd name="connsiteY2216" fmla="*/ 432152 h 790366"/>
                <a:gd name="connsiteX2217" fmla="*/ 944722 w 1466597"/>
                <a:gd name="connsiteY2217" fmla="*/ 432462 h 790366"/>
                <a:gd name="connsiteX2218" fmla="*/ 943154 w 1466597"/>
                <a:gd name="connsiteY2218" fmla="*/ 430895 h 790366"/>
                <a:gd name="connsiteX2219" fmla="*/ 942287 w 1466597"/>
                <a:gd name="connsiteY2219" fmla="*/ 430640 h 790366"/>
                <a:gd name="connsiteX2220" fmla="*/ 941138 w 1466597"/>
                <a:gd name="connsiteY2220" fmla="*/ 430861 h 790366"/>
                <a:gd name="connsiteX2221" fmla="*/ 932637 w 1466597"/>
                <a:gd name="connsiteY2221" fmla="*/ 434862 h 790366"/>
                <a:gd name="connsiteX2222" fmla="*/ 929588 w 1466597"/>
                <a:gd name="connsiteY2222" fmla="*/ 436901 h 790366"/>
                <a:gd name="connsiteX2223" fmla="*/ 927416 w 1466597"/>
                <a:gd name="connsiteY2223" fmla="*/ 439225 h 790366"/>
                <a:gd name="connsiteX2224" fmla="*/ 924055 w 1466597"/>
                <a:gd name="connsiteY2224" fmla="*/ 440926 h 790366"/>
                <a:gd name="connsiteX2225" fmla="*/ 919508 w 1466597"/>
                <a:gd name="connsiteY2225" fmla="*/ 442004 h 790366"/>
                <a:gd name="connsiteX2226" fmla="*/ 916107 w 1466597"/>
                <a:gd name="connsiteY2226" fmla="*/ 443340 h 790366"/>
                <a:gd name="connsiteX2227" fmla="*/ 912523 w 1466597"/>
                <a:gd name="connsiteY2227" fmla="*/ 446005 h 790366"/>
                <a:gd name="connsiteX2228" fmla="*/ 911306 w 1466597"/>
                <a:gd name="connsiteY2228" fmla="*/ 448045 h 790366"/>
                <a:gd name="connsiteX2229" fmla="*/ 911236 w 1466597"/>
                <a:gd name="connsiteY2229" fmla="*/ 449004 h 790366"/>
                <a:gd name="connsiteX2230" fmla="*/ 912101 w 1466597"/>
                <a:gd name="connsiteY2230" fmla="*/ 452026 h 790366"/>
                <a:gd name="connsiteX2231" fmla="*/ 911219 w 1466597"/>
                <a:gd name="connsiteY2231" fmla="*/ 452590 h 790366"/>
                <a:gd name="connsiteX2232" fmla="*/ 909150 w 1466597"/>
                <a:gd name="connsiteY2232" fmla="*/ 452828 h 790366"/>
                <a:gd name="connsiteX2233" fmla="*/ 905832 w 1466597"/>
                <a:gd name="connsiteY2233" fmla="*/ 454827 h 790366"/>
                <a:gd name="connsiteX2234" fmla="*/ 898830 w 1466597"/>
                <a:gd name="connsiteY2234" fmla="*/ 460758 h 790366"/>
                <a:gd name="connsiteX2235" fmla="*/ 897915 w 1466597"/>
                <a:gd name="connsiteY2235" fmla="*/ 462906 h 790366"/>
                <a:gd name="connsiteX2236" fmla="*/ 897954 w 1466597"/>
                <a:gd name="connsiteY2236" fmla="*/ 463642 h 790366"/>
                <a:gd name="connsiteX2237" fmla="*/ 899096 w 1466597"/>
                <a:gd name="connsiteY2237" fmla="*/ 465316 h 790366"/>
                <a:gd name="connsiteX2238" fmla="*/ 898301 w 1466597"/>
                <a:gd name="connsiteY2238" fmla="*/ 466403 h 790366"/>
                <a:gd name="connsiteX2239" fmla="*/ 896327 w 1466597"/>
                <a:gd name="connsiteY2239" fmla="*/ 468119 h 790366"/>
                <a:gd name="connsiteX2240" fmla="*/ 891937 w 1466597"/>
                <a:gd name="connsiteY2240" fmla="*/ 470835 h 790366"/>
                <a:gd name="connsiteX2241" fmla="*/ 889054 w 1466597"/>
                <a:gd name="connsiteY2241" fmla="*/ 471868 h 790366"/>
                <a:gd name="connsiteX2242" fmla="*/ 887183 w 1466597"/>
                <a:gd name="connsiteY2242" fmla="*/ 471921 h 790366"/>
                <a:gd name="connsiteX2243" fmla="*/ 885382 w 1466597"/>
                <a:gd name="connsiteY2243" fmla="*/ 471533 h 790366"/>
                <a:gd name="connsiteX2244" fmla="*/ 882181 w 1466597"/>
                <a:gd name="connsiteY2244" fmla="*/ 469784 h 790366"/>
                <a:gd name="connsiteX2245" fmla="*/ 879588 w 1466597"/>
                <a:gd name="connsiteY2245" fmla="*/ 469678 h 790366"/>
                <a:gd name="connsiteX2246" fmla="*/ 879429 w 1466597"/>
                <a:gd name="connsiteY2246" fmla="*/ 469923 h 790366"/>
                <a:gd name="connsiteX2247" fmla="*/ 882958 w 1466597"/>
                <a:gd name="connsiteY2247" fmla="*/ 471794 h 790366"/>
                <a:gd name="connsiteX2248" fmla="*/ 886543 w 1466597"/>
                <a:gd name="connsiteY2248" fmla="*/ 474200 h 790366"/>
                <a:gd name="connsiteX2249" fmla="*/ 888778 w 1466597"/>
                <a:gd name="connsiteY2249" fmla="*/ 476194 h 790366"/>
                <a:gd name="connsiteX2250" fmla="*/ 889662 w 1466597"/>
                <a:gd name="connsiteY2250" fmla="*/ 477778 h 790366"/>
                <a:gd name="connsiteX2251" fmla="*/ 889701 w 1466597"/>
                <a:gd name="connsiteY2251" fmla="*/ 479407 h 790366"/>
                <a:gd name="connsiteX2252" fmla="*/ 888897 w 1466597"/>
                <a:gd name="connsiteY2252" fmla="*/ 481081 h 790366"/>
                <a:gd name="connsiteX2253" fmla="*/ 886363 w 1466597"/>
                <a:gd name="connsiteY2253" fmla="*/ 483988 h 790366"/>
                <a:gd name="connsiteX2254" fmla="*/ 883877 w 1466597"/>
                <a:gd name="connsiteY2254" fmla="*/ 484857 h 790366"/>
                <a:gd name="connsiteX2255" fmla="*/ 877521 w 1466597"/>
                <a:gd name="connsiteY2255" fmla="*/ 485733 h 790366"/>
                <a:gd name="connsiteX2256" fmla="*/ 875472 w 1466597"/>
                <a:gd name="connsiteY2256" fmla="*/ 486424 h 790366"/>
                <a:gd name="connsiteX2257" fmla="*/ 874837 w 1466597"/>
                <a:gd name="connsiteY2257" fmla="*/ 486964 h 790366"/>
                <a:gd name="connsiteX2258" fmla="*/ 879204 w 1466597"/>
                <a:gd name="connsiteY2258" fmla="*/ 488189 h 790366"/>
                <a:gd name="connsiteX2259" fmla="*/ 879599 w 1466597"/>
                <a:gd name="connsiteY2259" fmla="*/ 488816 h 790366"/>
                <a:gd name="connsiteX2260" fmla="*/ 878998 w 1466597"/>
                <a:gd name="connsiteY2260" fmla="*/ 491245 h 790366"/>
                <a:gd name="connsiteX2261" fmla="*/ 877839 w 1466597"/>
                <a:gd name="connsiteY2261" fmla="*/ 492039 h 790366"/>
                <a:gd name="connsiteX2262" fmla="*/ 874202 w 1466597"/>
                <a:gd name="connsiteY2262" fmla="*/ 493488 h 790366"/>
                <a:gd name="connsiteX2263" fmla="*/ 870941 w 1466597"/>
                <a:gd name="connsiteY2263" fmla="*/ 493908 h 790366"/>
                <a:gd name="connsiteX2264" fmla="*/ 870443 w 1466597"/>
                <a:gd name="connsiteY2264" fmla="*/ 493631 h 790366"/>
                <a:gd name="connsiteX2265" fmla="*/ 871053 w 1466597"/>
                <a:gd name="connsiteY2265" fmla="*/ 491722 h 790366"/>
                <a:gd name="connsiteX2266" fmla="*/ 870879 w 1466597"/>
                <a:gd name="connsiteY2266" fmla="*/ 491252 h 790366"/>
                <a:gd name="connsiteX2267" fmla="*/ 869655 w 1466597"/>
                <a:gd name="connsiteY2267" fmla="*/ 490862 h 790366"/>
                <a:gd name="connsiteX2268" fmla="*/ 867915 w 1466597"/>
                <a:gd name="connsiteY2268" fmla="*/ 491590 h 790366"/>
                <a:gd name="connsiteX2269" fmla="*/ 863580 w 1466597"/>
                <a:gd name="connsiteY2269" fmla="*/ 494395 h 790366"/>
                <a:gd name="connsiteX2270" fmla="*/ 863116 w 1466597"/>
                <a:gd name="connsiteY2270" fmla="*/ 494858 h 790366"/>
                <a:gd name="connsiteX2271" fmla="*/ 864682 w 1466597"/>
                <a:gd name="connsiteY2271" fmla="*/ 495608 h 790366"/>
                <a:gd name="connsiteX2272" fmla="*/ 864352 w 1466597"/>
                <a:gd name="connsiteY2272" fmla="*/ 496234 h 790366"/>
                <a:gd name="connsiteX2273" fmla="*/ 862003 w 1466597"/>
                <a:gd name="connsiteY2273" fmla="*/ 498251 h 790366"/>
                <a:gd name="connsiteX2274" fmla="*/ 861027 w 1466597"/>
                <a:gd name="connsiteY2274" fmla="*/ 499591 h 790366"/>
                <a:gd name="connsiteX2275" fmla="*/ 859457 w 1466597"/>
                <a:gd name="connsiteY2275" fmla="*/ 500958 h 790366"/>
                <a:gd name="connsiteX2276" fmla="*/ 852464 w 1466597"/>
                <a:gd name="connsiteY2276" fmla="*/ 505130 h 790366"/>
                <a:gd name="connsiteX2277" fmla="*/ 852995 w 1466597"/>
                <a:gd name="connsiteY2277" fmla="*/ 506145 h 790366"/>
                <a:gd name="connsiteX2278" fmla="*/ 851175 w 1466597"/>
                <a:gd name="connsiteY2278" fmla="*/ 509775 h 790366"/>
                <a:gd name="connsiteX2279" fmla="*/ 850168 w 1466597"/>
                <a:gd name="connsiteY2279" fmla="*/ 512960 h 790366"/>
                <a:gd name="connsiteX2280" fmla="*/ 851404 w 1466597"/>
                <a:gd name="connsiteY2280" fmla="*/ 514303 h 790366"/>
                <a:gd name="connsiteX2281" fmla="*/ 857279 w 1466597"/>
                <a:gd name="connsiteY2281" fmla="*/ 515877 h 790366"/>
                <a:gd name="connsiteX2282" fmla="*/ 860126 w 1466597"/>
                <a:gd name="connsiteY2282" fmla="*/ 516256 h 790366"/>
                <a:gd name="connsiteX2283" fmla="*/ 863482 w 1466597"/>
                <a:gd name="connsiteY2283" fmla="*/ 517356 h 790366"/>
                <a:gd name="connsiteX2284" fmla="*/ 869556 w 1466597"/>
                <a:gd name="connsiteY2284" fmla="*/ 520310 h 790366"/>
                <a:gd name="connsiteX2285" fmla="*/ 871580 w 1466597"/>
                <a:gd name="connsiteY2285" fmla="*/ 522239 h 790366"/>
                <a:gd name="connsiteX2286" fmla="*/ 871883 w 1466597"/>
                <a:gd name="connsiteY2286" fmla="*/ 523146 h 790366"/>
                <a:gd name="connsiteX2287" fmla="*/ 871695 w 1466597"/>
                <a:gd name="connsiteY2287" fmla="*/ 524139 h 790366"/>
                <a:gd name="connsiteX2288" fmla="*/ 870968 w 1466597"/>
                <a:gd name="connsiteY2288" fmla="*/ 525473 h 790366"/>
                <a:gd name="connsiteX2289" fmla="*/ 869064 w 1466597"/>
                <a:gd name="connsiteY2289" fmla="*/ 527996 h 790366"/>
                <a:gd name="connsiteX2290" fmla="*/ 864478 w 1466597"/>
                <a:gd name="connsiteY2290" fmla="*/ 531737 h 790366"/>
                <a:gd name="connsiteX2291" fmla="*/ 862406 w 1466597"/>
                <a:gd name="connsiteY2291" fmla="*/ 532797 h 790366"/>
                <a:gd name="connsiteX2292" fmla="*/ 859270 w 1466597"/>
                <a:gd name="connsiteY2292" fmla="*/ 533628 h 790366"/>
                <a:gd name="connsiteX2293" fmla="*/ 858238 w 1466597"/>
                <a:gd name="connsiteY2293" fmla="*/ 534235 h 790366"/>
                <a:gd name="connsiteX2294" fmla="*/ 854210 w 1466597"/>
                <a:gd name="connsiteY2294" fmla="*/ 537772 h 790366"/>
                <a:gd name="connsiteX2295" fmla="*/ 853124 w 1466597"/>
                <a:gd name="connsiteY2295" fmla="*/ 539680 h 790366"/>
                <a:gd name="connsiteX2296" fmla="*/ 853295 w 1466597"/>
                <a:gd name="connsiteY2296" fmla="*/ 541339 h 790366"/>
                <a:gd name="connsiteX2297" fmla="*/ 852526 w 1466597"/>
                <a:gd name="connsiteY2297" fmla="*/ 542505 h 790366"/>
                <a:gd name="connsiteX2298" fmla="*/ 847344 w 1466597"/>
                <a:gd name="connsiteY2298" fmla="*/ 544791 h 790366"/>
                <a:gd name="connsiteX2299" fmla="*/ 847528 w 1466597"/>
                <a:gd name="connsiteY2299" fmla="*/ 545196 h 790366"/>
                <a:gd name="connsiteX2300" fmla="*/ 849409 w 1466597"/>
                <a:gd name="connsiteY2300" fmla="*/ 545370 h 790366"/>
                <a:gd name="connsiteX2301" fmla="*/ 848718 w 1466597"/>
                <a:gd name="connsiteY2301" fmla="*/ 547379 h 790366"/>
                <a:gd name="connsiteX2302" fmla="*/ 848415 w 1466597"/>
                <a:gd name="connsiteY2302" fmla="*/ 550170 h 790366"/>
                <a:gd name="connsiteX2303" fmla="*/ 847515 w 1466597"/>
                <a:gd name="connsiteY2303" fmla="*/ 550639 h 790366"/>
                <a:gd name="connsiteX2304" fmla="*/ 844277 w 1466597"/>
                <a:gd name="connsiteY2304" fmla="*/ 550619 h 790366"/>
                <a:gd name="connsiteX2305" fmla="*/ 840161 w 1466597"/>
                <a:gd name="connsiteY2305" fmla="*/ 551702 h 790366"/>
                <a:gd name="connsiteX2306" fmla="*/ 839871 w 1466597"/>
                <a:gd name="connsiteY2306" fmla="*/ 552010 h 790366"/>
                <a:gd name="connsiteX2307" fmla="*/ 839795 w 1466597"/>
                <a:gd name="connsiteY2307" fmla="*/ 554014 h 790366"/>
                <a:gd name="connsiteX2308" fmla="*/ 829032 w 1466597"/>
                <a:gd name="connsiteY2308" fmla="*/ 555479 h 790366"/>
                <a:gd name="connsiteX2309" fmla="*/ 826674 w 1466597"/>
                <a:gd name="connsiteY2309" fmla="*/ 559279 h 790366"/>
                <a:gd name="connsiteX2310" fmla="*/ 825447 w 1466597"/>
                <a:gd name="connsiteY2310" fmla="*/ 560441 h 790366"/>
                <a:gd name="connsiteX2311" fmla="*/ 821228 w 1466597"/>
                <a:gd name="connsiteY2311" fmla="*/ 563199 h 790366"/>
                <a:gd name="connsiteX2312" fmla="*/ 818646 w 1466597"/>
                <a:gd name="connsiteY2312" fmla="*/ 564307 h 790366"/>
                <a:gd name="connsiteX2313" fmla="*/ 815695 w 1466597"/>
                <a:gd name="connsiteY2313" fmla="*/ 564977 h 790366"/>
                <a:gd name="connsiteX2314" fmla="*/ 814150 w 1466597"/>
                <a:gd name="connsiteY2314" fmla="*/ 565910 h 790366"/>
                <a:gd name="connsiteX2315" fmla="*/ 814006 w 1466597"/>
                <a:gd name="connsiteY2315" fmla="*/ 567107 h 790366"/>
                <a:gd name="connsiteX2316" fmla="*/ 813168 w 1466597"/>
                <a:gd name="connsiteY2316" fmla="*/ 568139 h 790366"/>
                <a:gd name="connsiteX2317" fmla="*/ 810611 w 1466597"/>
                <a:gd name="connsiteY2317" fmla="*/ 569849 h 790366"/>
                <a:gd name="connsiteX2318" fmla="*/ 809360 w 1466597"/>
                <a:gd name="connsiteY2318" fmla="*/ 571997 h 790366"/>
                <a:gd name="connsiteX2319" fmla="*/ 808450 w 1466597"/>
                <a:gd name="connsiteY2319" fmla="*/ 572334 h 790366"/>
                <a:gd name="connsiteX2320" fmla="*/ 803691 w 1466597"/>
                <a:gd name="connsiteY2320" fmla="*/ 572851 h 790366"/>
                <a:gd name="connsiteX2321" fmla="*/ 802744 w 1466597"/>
                <a:gd name="connsiteY2321" fmla="*/ 573529 h 790366"/>
                <a:gd name="connsiteX2322" fmla="*/ 802284 w 1466597"/>
                <a:gd name="connsiteY2322" fmla="*/ 576428 h 790366"/>
                <a:gd name="connsiteX2323" fmla="*/ 801403 w 1466597"/>
                <a:gd name="connsiteY2323" fmla="*/ 576519 h 790366"/>
                <a:gd name="connsiteX2324" fmla="*/ 799717 w 1466597"/>
                <a:gd name="connsiteY2324" fmla="*/ 575845 h 790366"/>
                <a:gd name="connsiteX2325" fmla="*/ 797518 w 1466597"/>
                <a:gd name="connsiteY2325" fmla="*/ 576367 h 790366"/>
                <a:gd name="connsiteX2326" fmla="*/ 792578 w 1466597"/>
                <a:gd name="connsiteY2326" fmla="*/ 579640 h 790366"/>
                <a:gd name="connsiteX2327" fmla="*/ 791493 w 1466597"/>
                <a:gd name="connsiteY2327" fmla="*/ 580815 h 790366"/>
                <a:gd name="connsiteX2328" fmla="*/ 791613 w 1466597"/>
                <a:gd name="connsiteY2328" fmla="*/ 581446 h 790366"/>
                <a:gd name="connsiteX2329" fmla="*/ 792382 w 1466597"/>
                <a:gd name="connsiteY2329" fmla="*/ 582069 h 790366"/>
                <a:gd name="connsiteX2330" fmla="*/ 793553 w 1466597"/>
                <a:gd name="connsiteY2330" fmla="*/ 584011 h 790366"/>
                <a:gd name="connsiteX2331" fmla="*/ 793480 w 1466597"/>
                <a:gd name="connsiteY2331" fmla="*/ 585319 h 790366"/>
                <a:gd name="connsiteX2332" fmla="*/ 791575 w 1466597"/>
                <a:gd name="connsiteY2332" fmla="*/ 588960 h 790366"/>
                <a:gd name="connsiteX2333" fmla="*/ 790908 w 1466597"/>
                <a:gd name="connsiteY2333" fmla="*/ 589522 h 790366"/>
                <a:gd name="connsiteX2334" fmla="*/ 788593 w 1466597"/>
                <a:gd name="connsiteY2334" fmla="*/ 590424 h 790366"/>
                <a:gd name="connsiteX2335" fmla="*/ 787650 w 1466597"/>
                <a:gd name="connsiteY2335" fmla="*/ 592435 h 790366"/>
                <a:gd name="connsiteX2336" fmla="*/ 785517 w 1466597"/>
                <a:gd name="connsiteY2336" fmla="*/ 592212 h 790366"/>
                <a:gd name="connsiteX2337" fmla="*/ 783802 w 1466597"/>
                <a:gd name="connsiteY2337" fmla="*/ 592593 h 790366"/>
                <a:gd name="connsiteX2338" fmla="*/ 782679 w 1466597"/>
                <a:gd name="connsiteY2338" fmla="*/ 593934 h 790366"/>
                <a:gd name="connsiteX2339" fmla="*/ 781459 w 1466597"/>
                <a:gd name="connsiteY2339" fmla="*/ 594706 h 790366"/>
                <a:gd name="connsiteX2340" fmla="*/ 780140 w 1466597"/>
                <a:gd name="connsiteY2340" fmla="*/ 594909 h 790366"/>
                <a:gd name="connsiteX2341" fmla="*/ 778482 w 1466597"/>
                <a:gd name="connsiteY2341" fmla="*/ 595970 h 790366"/>
                <a:gd name="connsiteX2342" fmla="*/ 776485 w 1466597"/>
                <a:gd name="connsiteY2342" fmla="*/ 597890 h 790366"/>
                <a:gd name="connsiteX2343" fmla="*/ 774637 w 1466597"/>
                <a:gd name="connsiteY2343" fmla="*/ 599114 h 790366"/>
                <a:gd name="connsiteX2344" fmla="*/ 772938 w 1466597"/>
                <a:gd name="connsiteY2344" fmla="*/ 599641 h 790366"/>
                <a:gd name="connsiteX2345" fmla="*/ 771285 w 1466597"/>
                <a:gd name="connsiteY2345" fmla="*/ 599771 h 790366"/>
                <a:gd name="connsiteX2346" fmla="*/ 769676 w 1466597"/>
                <a:gd name="connsiteY2346" fmla="*/ 599502 h 790366"/>
                <a:gd name="connsiteX2347" fmla="*/ 768231 w 1466597"/>
                <a:gd name="connsiteY2347" fmla="*/ 599723 h 790366"/>
                <a:gd name="connsiteX2348" fmla="*/ 766947 w 1466597"/>
                <a:gd name="connsiteY2348" fmla="*/ 600431 h 790366"/>
                <a:gd name="connsiteX2349" fmla="*/ 765695 w 1466597"/>
                <a:gd name="connsiteY2349" fmla="*/ 601542 h 790366"/>
                <a:gd name="connsiteX2350" fmla="*/ 764698 w 1466597"/>
                <a:gd name="connsiteY2350" fmla="*/ 604685 h 790366"/>
                <a:gd name="connsiteX2351" fmla="*/ 763433 w 1466597"/>
                <a:gd name="connsiteY2351" fmla="*/ 606091 h 790366"/>
                <a:gd name="connsiteX2352" fmla="*/ 762631 w 1466597"/>
                <a:gd name="connsiteY2352" fmla="*/ 606336 h 790366"/>
                <a:gd name="connsiteX2353" fmla="*/ 760996 w 1466597"/>
                <a:gd name="connsiteY2353" fmla="*/ 606128 h 790366"/>
                <a:gd name="connsiteX2354" fmla="*/ 758526 w 1466597"/>
                <a:gd name="connsiteY2354" fmla="*/ 605467 h 790366"/>
                <a:gd name="connsiteX2355" fmla="*/ 756016 w 1466597"/>
                <a:gd name="connsiteY2355" fmla="*/ 605701 h 790366"/>
                <a:gd name="connsiteX2356" fmla="*/ 751966 w 1466597"/>
                <a:gd name="connsiteY2356" fmla="*/ 607625 h 790366"/>
                <a:gd name="connsiteX2357" fmla="*/ 750679 w 1466597"/>
                <a:gd name="connsiteY2357" fmla="*/ 609079 h 790366"/>
                <a:gd name="connsiteX2358" fmla="*/ 753231 w 1466597"/>
                <a:gd name="connsiteY2358" fmla="*/ 609401 h 790366"/>
                <a:gd name="connsiteX2359" fmla="*/ 754496 w 1466597"/>
                <a:gd name="connsiteY2359" fmla="*/ 609816 h 790366"/>
                <a:gd name="connsiteX2360" fmla="*/ 754463 w 1466597"/>
                <a:gd name="connsiteY2360" fmla="*/ 610223 h 790366"/>
                <a:gd name="connsiteX2361" fmla="*/ 753132 w 1466597"/>
                <a:gd name="connsiteY2361" fmla="*/ 610617 h 790366"/>
                <a:gd name="connsiteX2362" fmla="*/ 750867 w 1466597"/>
                <a:gd name="connsiteY2362" fmla="*/ 610589 h 790366"/>
                <a:gd name="connsiteX2363" fmla="*/ 749505 w 1466597"/>
                <a:gd name="connsiteY2363" fmla="*/ 610927 h 790366"/>
                <a:gd name="connsiteX2364" fmla="*/ 747845 w 1466597"/>
                <a:gd name="connsiteY2364" fmla="*/ 611754 h 790366"/>
                <a:gd name="connsiteX2365" fmla="*/ 743685 w 1466597"/>
                <a:gd name="connsiteY2365" fmla="*/ 612646 h 790366"/>
                <a:gd name="connsiteX2366" fmla="*/ 742105 w 1466597"/>
                <a:gd name="connsiteY2366" fmla="*/ 613285 h 790366"/>
                <a:gd name="connsiteX2367" fmla="*/ 738967 w 1466597"/>
                <a:gd name="connsiteY2367" fmla="*/ 616914 h 790366"/>
                <a:gd name="connsiteX2368" fmla="*/ 738591 w 1466597"/>
                <a:gd name="connsiteY2368" fmla="*/ 617736 h 790366"/>
                <a:gd name="connsiteX2369" fmla="*/ 738993 w 1466597"/>
                <a:gd name="connsiteY2369" fmla="*/ 617917 h 790366"/>
                <a:gd name="connsiteX2370" fmla="*/ 740755 w 1466597"/>
                <a:gd name="connsiteY2370" fmla="*/ 617535 h 790366"/>
                <a:gd name="connsiteX2371" fmla="*/ 742825 w 1466597"/>
                <a:gd name="connsiteY2371" fmla="*/ 618137 h 790366"/>
                <a:gd name="connsiteX2372" fmla="*/ 743901 w 1466597"/>
                <a:gd name="connsiteY2372" fmla="*/ 618905 h 790366"/>
                <a:gd name="connsiteX2373" fmla="*/ 744590 w 1466597"/>
                <a:gd name="connsiteY2373" fmla="*/ 619850 h 790366"/>
                <a:gd name="connsiteX2374" fmla="*/ 745243 w 1466597"/>
                <a:gd name="connsiteY2374" fmla="*/ 621670 h 790366"/>
                <a:gd name="connsiteX2375" fmla="*/ 745645 w 1466597"/>
                <a:gd name="connsiteY2375" fmla="*/ 621937 h 790366"/>
                <a:gd name="connsiteX2376" fmla="*/ 741660 w 1466597"/>
                <a:gd name="connsiteY2376" fmla="*/ 624992 h 790366"/>
                <a:gd name="connsiteX2377" fmla="*/ 740530 w 1466597"/>
                <a:gd name="connsiteY2377" fmla="*/ 626287 h 790366"/>
                <a:gd name="connsiteX2378" fmla="*/ 739802 w 1466597"/>
                <a:gd name="connsiteY2378" fmla="*/ 626768 h 790366"/>
                <a:gd name="connsiteX2379" fmla="*/ 739325 w 1466597"/>
                <a:gd name="connsiteY2379" fmla="*/ 626395 h 790366"/>
                <a:gd name="connsiteX2380" fmla="*/ 738833 w 1466597"/>
                <a:gd name="connsiteY2380" fmla="*/ 622997 h 790366"/>
                <a:gd name="connsiteX2381" fmla="*/ 738534 w 1466597"/>
                <a:gd name="connsiteY2381" fmla="*/ 622420 h 790366"/>
                <a:gd name="connsiteX2382" fmla="*/ 737596 w 1466597"/>
                <a:gd name="connsiteY2382" fmla="*/ 622360 h 790366"/>
                <a:gd name="connsiteX2383" fmla="*/ 736689 w 1466597"/>
                <a:gd name="connsiteY2383" fmla="*/ 623435 h 790366"/>
                <a:gd name="connsiteX2384" fmla="*/ 734695 w 1466597"/>
                <a:gd name="connsiteY2384" fmla="*/ 627453 h 790366"/>
                <a:gd name="connsiteX2385" fmla="*/ 732528 w 1466597"/>
                <a:gd name="connsiteY2385" fmla="*/ 629472 h 790366"/>
                <a:gd name="connsiteX2386" fmla="*/ 716212 w 1466597"/>
                <a:gd name="connsiteY2386" fmla="*/ 634650 h 790366"/>
                <a:gd name="connsiteX2387" fmla="*/ 713819 w 1466597"/>
                <a:gd name="connsiteY2387" fmla="*/ 635823 h 790366"/>
                <a:gd name="connsiteX2388" fmla="*/ 713358 w 1466597"/>
                <a:gd name="connsiteY2388" fmla="*/ 638029 h 790366"/>
                <a:gd name="connsiteX2389" fmla="*/ 712686 w 1466597"/>
                <a:gd name="connsiteY2389" fmla="*/ 639936 h 790366"/>
                <a:gd name="connsiteX2390" fmla="*/ 711604 w 1466597"/>
                <a:gd name="connsiteY2390" fmla="*/ 641455 h 790366"/>
                <a:gd name="connsiteX2391" fmla="*/ 710339 w 1466597"/>
                <a:gd name="connsiteY2391" fmla="*/ 642416 h 790366"/>
                <a:gd name="connsiteX2392" fmla="*/ 710067 w 1466597"/>
                <a:gd name="connsiteY2392" fmla="*/ 641734 h 790366"/>
                <a:gd name="connsiteX2393" fmla="*/ 710195 w 1466597"/>
                <a:gd name="connsiteY2393" fmla="*/ 636366 h 790366"/>
                <a:gd name="connsiteX2394" fmla="*/ 709858 w 1466597"/>
                <a:gd name="connsiteY2394" fmla="*/ 635298 h 790366"/>
                <a:gd name="connsiteX2395" fmla="*/ 708212 w 1466597"/>
                <a:gd name="connsiteY2395" fmla="*/ 634613 h 790366"/>
                <a:gd name="connsiteX2396" fmla="*/ 707488 w 1466597"/>
                <a:gd name="connsiteY2396" fmla="*/ 634707 h 790366"/>
                <a:gd name="connsiteX2397" fmla="*/ 706494 w 1466597"/>
                <a:gd name="connsiteY2397" fmla="*/ 635009 h 790366"/>
                <a:gd name="connsiteX2398" fmla="*/ 704861 w 1466597"/>
                <a:gd name="connsiteY2398" fmla="*/ 636171 h 790366"/>
                <a:gd name="connsiteX2399" fmla="*/ 703862 w 1466597"/>
                <a:gd name="connsiteY2399" fmla="*/ 636462 h 790366"/>
                <a:gd name="connsiteX2400" fmla="*/ 702618 w 1466597"/>
                <a:gd name="connsiteY2400" fmla="*/ 636366 h 790366"/>
                <a:gd name="connsiteX2401" fmla="*/ 700493 w 1466597"/>
                <a:gd name="connsiteY2401" fmla="*/ 637511 h 790366"/>
                <a:gd name="connsiteX2402" fmla="*/ 695437 w 1466597"/>
                <a:gd name="connsiteY2402" fmla="*/ 641177 h 790366"/>
                <a:gd name="connsiteX2403" fmla="*/ 692136 w 1466597"/>
                <a:gd name="connsiteY2403" fmla="*/ 642088 h 790366"/>
                <a:gd name="connsiteX2404" fmla="*/ 691263 w 1466597"/>
                <a:gd name="connsiteY2404" fmla="*/ 642849 h 790366"/>
                <a:gd name="connsiteX2405" fmla="*/ 689853 w 1466597"/>
                <a:gd name="connsiteY2405" fmla="*/ 644850 h 790366"/>
                <a:gd name="connsiteX2406" fmla="*/ 688920 w 1466597"/>
                <a:gd name="connsiteY2406" fmla="*/ 645583 h 790366"/>
                <a:gd name="connsiteX2407" fmla="*/ 687537 w 1466597"/>
                <a:gd name="connsiteY2407" fmla="*/ 645648 h 790366"/>
                <a:gd name="connsiteX2408" fmla="*/ 685707 w 1466597"/>
                <a:gd name="connsiteY2408" fmla="*/ 645045 h 790366"/>
                <a:gd name="connsiteX2409" fmla="*/ 684236 w 1466597"/>
                <a:gd name="connsiteY2409" fmla="*/ 645472 h 790366"/>
                <a:gd name="connsiteX2410" fmla="*/ 683123 w 1466597"/>
                <a:gd name="connsiteY2410" fmla="*/ 646928 h 790366"/>
                <a:gd name="connsiteX2411" fmla="*/ 681992 w 1466597"/>
                <a:gd name="connsiteY2411" fmla="*/ 647503 h 790366"/>
                <a:gd name="connsiteX2412" fmla="*/ 678782 w 1466597"/>
                <a:gd name="connsiteY2412" fmla="*/ 646430 h 790366"/>
                <a:gd name="connsiteX2413" fmla="*/ 677365 w 1466597"/>
                <a:gd name="connsiteY2413" fmla="*/ 647163 h 790366"/>
                <a:gd name="connsiteX2414" fmla="*/ 675529 w 1466597"/>
                <a:gd name="connsiteY2414" fmla="*/ 649042 h 790366"/>
                <a:gd name="connsiteX2415" fmla="*/ 673609 w 1466597"/>
                <a:gd name="connsiteY2415" fmla="*/ 650280 h 790366"/>
                <a:gd name="connsiteX2416" fmla="*/ 671606 w 1466597"/>
                <a:gd name="connsiteY2416" fmla="*/ 650881 h 790366"/>
                <a:gd name="connsiteX2417" fmla="*/ 666403 w 1466597"/>
                <a:gd name="connsiteY2417" fmla="*/ 651507 h 790366"/>
                <a:gd name="connsiteX2418" fmla="*/ 664314 w 1466597"/>
                <a:gd name="connsiteY2418" fmla="*/ 651107 h 790366"/>
                <a:gd name="connsiteX2419" fmla="*/ 663889 w 1466597"/>
                <a:gd name="connsiteY2419" fmla="*/ 650563 h 790366"/>
                <a:gd name="connsiteX2420" fmla="*/ 663986 w 1466597"/>
                <a:gd name="connsiteY2420" fmla="*/ 648168 h 790366"/>
                <a:gd name="connsiteX2421" fmla="*/ 664826 w 1466597"/>
                <a:gd name="connsiteY2421" fmla="*/ 646442 h 790366"/>
                <a:gd name="connsiteX2422" fmla="*/ 665603 w 1466597"/>
                <a:gd name="connsiteY2422" fmla="*/ 645626 h 790366"/>
                <a:gd name="connsiteX2423" fmla="*/ 666639 w 1466597"/>
                <a:gd name="connsiteY2423" fmla="*/ 644905 h 790366"/>
                <a:gd name="connsiteX2424" fmla="*/ 668155 w 1466597"/>
                <a:gd name="connsiteY2424" fmla="*/ 644822 h 790366"/>
                <a:gd name="connsiteX2425" fmla="*/ 670991 w 1466597"/>
                <a:gd name="connsiteY2425" fmla="*/ 645360 h 790366"/>
                <a:gd name="connsiteX2426" fmla="*/ 670670 w 1466597"/>
                <a:gd name="connsiteY2426" fmla="*/ 644781 h 790366"/>
                <a:gd name="connsiteX2427" fmla="*/ 669639 w 1466597"/>
                <a:gd name="connsiteY2427" fmla="*/ 644094 h 790366"/>
                <a:gd name="connsiteX2428" fmla="*/ 667028 w 1466597"/>
                <a:gd name="connsiteY2428" fmla="*/ 642907 h 790366"/>
                <a:gd name="connsiteX2429" fmla="*/ 664442 w 1466597"/>
                <a:gd name="connsiteY2429" fmla="*/ 642301 h 790366"/>
                <a:gd name="connsiteX2430" fmla="*/ 662960 w 1466597"/>
                <a:gd name="connsiteY2430" fmla="*/ 642685 h 790366"/>
                <a:gd name="connsiteX2431" fmla="*/ 660872 w 1466597"/>
                <a:gd name="connsiteY2431" fmla="*/ 643599 h 790366"/>
                <a:gd name="connsiteX2432" fmla="*/ 659455 w 1466597"/>
                <a:gd name="connsiteY2432" fmla="*/ 644652 h 790366"/>
                <a:gd name="connsiteX2433" fmla="*/ 658710 w 1466597"/>
                <a:gd name="connsiteY2433" fmla="*/ 645847 h 790366"/>
                <a:gd name="connsiteX2434" fmla="*/ 657769 w 1466597"/>
                <a:gd name="connsiteY2434" fmla="*/ 649746 h 790366"/>
                <a:gd name="connsiteX2435" fmla="*/ 657230 w 1466597"/>
                <a:gd name="connsiteY2435" fmla="*/ 650799 h 790366"/>
                <a:gd name="connsiteX2436" fmla="*/ 651138 w 1466597"/>
                <a:gd name="connsiteY2436" fmla="*/ 657654 h 790366"/>
                <a:gd name="connsiteX2437" fmla="*/ 648749 w 1466597"/>
                <a:gd name="connsiteY2437" fmla="*/ 659763 h 790366"/>
                <a:gd name="connsiteX2438" fmla="*/ 646387 w 1466597"/>
                <a:gd name="connsiteY2438" fmla="*/ 659605 h 790366"/>
                <a:gd name="connsiteX2439" fmla="*/ 645242 w 1466597"/>
                <a:gd name="connsiteY2439" fmla="*/ 660401 h 790366"/>
                <a:gd name="connsiteX2440" fmla="*/ 643630 w 1466597"/>
                <a:gd name="connsiteY2440" fmla="*/ 662108 h 790366"/>
                <a:gd name="connsiteX2441" fmla="*/ 642144 w 1466597"/>
                <a:gd name="connsiteY2441" fmla="*/ 662925 h 790366"/>
                <a:gd name="connsiteX2442" fmla="*/ 640780 w 1466597"/>
                <a:gd name="connsiteY2442" fmla="*/ 662850 h 790366"/>
                <a:gd name="connsiteX2443" fmla="*/ 639721 w 1466597"/>
                <a:gd name="connsiteY2443" fmla="*/ 662527 h 790366"/>
                <a:gd name="connsiteX2444" fmla="*/ 638966 w 1466597"/>
                <a:gd name="connsiteY2444" fmla="*/ 661951 h 790366"/>
                <a:gd name="connsiteX2445" fmla="*/ 639097 w 1466597"/>
                <a:gd name="connsiteY2445" fmla="*/ 661414 h 790366"/>
                <a:gd name="connsiteX2446" fmla="*/ 640113 w 1466597"/>
                <a:gd name="connsiteY2446" fmla="*/ 660914 h 790366"/>
                <a:gd name="connsiteX2447" fmla="*/ 639750 w 1466597"/>
                <a:gd name="connsiteY2447" fmla="*/ 659546 h 790366"/>
                <a:gd name="connsiteX2448" fmla="*/ 638002 w 1466597"/>
                <a:gd name="connsiteY2448" fmla="*/ 657305 h 790366"/>
                <a:gd name="connsiteX2449" fmla="*/ 636812 w 1466597"/>
                <a:gd name="connsiteY2449" fmla="*/ 656085 h 790366"/>
                <a:gd name="connsiteX2450" fmla="*/ 634555 w 1466597"/>
                <a:gd name="connsiteY2450" fmla="*/ 655945 h 790366"/>
                <a:gd name="connsiteX2451" fmla="*/ 634204 w 1466597"/>
                <a:gd name="connsiteY2451" fmla="*/ 656964 h 790366"/>
                <a:gd name="connsiteX2452" fmla="*/ 634966 w 1466597"/>
                <a:gd name="connsiteY2452" fmla="*/ 662172 h 790366"/>
                <a:gd name="connsiteX2453" fmla="*/ 634848 w 1466597"/>
                <a:gd name="connsiteY2453" fmla="*/ 663345 h 790366"/>
                <a:gd name="connsiteX2454" fmla="*/ 633434 w 1466597"/>
                <a:gd name="connsiteY2454" fmla="*/ 664829 h 790366"/>
                <a:gd name="connsiteX2455" fmla="*/ 629728 w 1466597"/>
                <a:gd name="connsiteY2455" fmla="*/ 666481 h 790366"/>
                <a:gd name="connsiteX2456" fmla="*/ 628569 w 1466597"/>
                <a:gd name="connsiteY2456" fmla="*/ 666320 h 790366"/>
                <a:gd name="connsiteX2457" fmla="*/ 625231 w 1466597"/>
                <a:gd name="connsiteY2457" fmla="*/ 663059 h 790366"/>
                <a:gd name="connsiteX2458" fmla="*/ 622075 w 1466597"/>
                <a:gd name="connsiteY2458" fmla="*/ 662412 h 790366"/>
                <a:gd name="connsiteX2459" fmla="*/ 621865 w 1466597"/>
                <a:gd name="connsiteY2459" fmla="*/ 663474 h 790366"/>
                <a:gd name="connsiteX2460" fmla="*/ 622571 w 1466597"/>
                <a:gd name="connsiteY2460" fmla="*/ 665642 h 790366"/>
                <a:gd name="connsiteX2461" fmla="*/ 621783 w 1466597"/>
                <a:gd name="connsiteY2461" fmla="*/ 667666 h 790366"/>
                <a:gd name="connsiteX2462" fmla="*/ 619500 w 1466597"/>
                <a:gd name="connsiteY2462" fmla="*/ 669548 h 790366"/>
                <a:gd name="connsiteX2463" fmla="*/ 617764 w 1466597"/>
                <a:gd name="connsiteY2463" fmla="*/ 670461 h 790366"/>
                <a:gd name="connsiteX2464" fmla="*/ 616573 w 1466597"/>
                <a:gd name="connsiteY2464" fmla="*/ 670405 h 790366"/>
                <a:gd name="connsiteX2465" fmla="*/ 616507 w 1466597"/>
                <a:gd name="connsiteY2465" fmla="*/ 669088 h 790366"/>
                <a:gd name="connsiteX2466" fmla="*/ 617566 w 1466597"/>
                <a:gd name="connsiteY2466" fmla="*/ 666506 h 790366"/>
                <a:gd name="connsiteX2467" fmla="*/ 617839 w 1466597"/>
                <a:gd name="connsiteY2467" fmla="*/ 664355 h 790366"/>
                <a:gd name="connsiteX2468" fmla="*/ 617322 w 1466597"/>
                <a:gd name="connsiteY2468" fmla="*/ 662630 h 790366"/>
                <a:gd name="connsiteX2469" fmla="*/ 617380 w 1466597"/>
                <a:gd name="connsiteY2469" fmla="*/ 661306 h 790366"/>
                <a:gd name="connsiteX2470" fmla="*/ 618014 w 1466597"/>
                <a:gd name="connsiteY2470" fmla="*/ 660384 h 790366"/>
                <a:gd name="connsiteX2471" fmla="*/ 622205 w 1466597"/>
                <a:gd name="connsiteY2471" fmla="*/ 657820 h 790366"/>
                <a:gd name="connsiteX2472" fmla="*/ 623970 w 1466597"/>
                <a:gd name="connsiteY2472" fmla="*/ 657437 h 790366"/>
                <a:gd name="connsiteX2473" fmla="*/ 624915 w 1466597"/>
                <a:gd name="connsiteY2473" fmla="*/ 658073 h 790366"/>
                <a:gd name="connsiteX2474" fmla="*/ 626097 w 1466597"/>
                <a:gd name="connsiteY2474" fmla="*/ 658180 h 790366"/>
                <a:gd name="connsiteX2475" fmla="*/ 627510 w 1466597"/>
                <a:gd name="connsiteY2475" fmla="*/ 657763 h 790366"/>
                <a:gd name="connsiteX2476" fmla="*/ 628401 w 1466597"/>
                <a:gd name="connsiteY2476" fmla="*/ 656943 h 790366"/>
                <a:gd name="connsiteX2477" fmla="*/ 628771 w 1466597"/>
                <a:gd name="connsiteY2477" fmla="*/ 655719 h 790366"/>
                <a:gd name="connsiteX2478" fmla="*/ 630580 w 1466597"/>
                <a:gd name="connsiteY2478" fmla="*/ 654151 h 790366"/>
                <a:gd name="connsiteX2479" fmla="*/ 633825 w 1466597"/>
                <a:gd name="connsiteY2479" fmla="*/ 652239 h 790366"/>
                <a:gd name="connsiteX2480" fmla="*/ 637540 w 1466597"/>
                <a:gd name="connsiteY2480" fmla="*/ 648701 h 790366"/>
                <a:gd name="connsiteX2481" fmla="*/ 641725 w 1466597"/>
                <a:gd name="connsiteY2481" fmla="*/ 643532 h 790366"/>
                <a:gd name="connsiteX2482" fmla="*/ 646628 w 1466597"/>
                <a:gd name="connsiteY2482" fmla="*/ 639070 h 790366"/>
                <a:gd name="connsiteX2483" fmla="*/ 652254 w 1466597"/>
                <a:gd name="connsiteY2483" fmla="*/ 635316 h 790366"/>
                <a:gd name="connsiteX2484" fmla="*/ 658358 w 1466597"/>
                <a:gd name="connsiteY2484" fmla="*/ 632336 h 790366"/>
                <a:gd name="connsiteX2485" fmla="*/ 670646 w 1466597"/>
                <a:gd name="connsiteY2485" fmla="*/ 628231 h 790366"/>
                <a:gd name="connsiteX2486" fmla="*/ 671591 w 1466597"/>
                <a:gd name="connsiteY2486" fmla="*/ 628483 h 790366"/>
                <a:gd name="connsiteX2487" fmla="*/ 670469 w 1466597"/>
                <a:gd name="connsiteY2487" fmla="*/ 629813 h 790366"/>
                <a:gd name="connsiteX2488" fmla="*/ 671235 w 1466597"/>
                <a:gd name="connsiteY2488" fmla="*/ 630645 h 790366"/>
                <a:gd name="connsiteX2489" fmla="*/ 672443 w 1466597"/>
                <a:gd name="connsiteY2489" fmla="*/ 630751 h 790366"/>
                <a:gd name="connsiteX2490" fmla="*/ 676946 w 1466597"/>
                <a:gd name="connsiteY2490" fmla="*/ 630094 h 790366"/>
                <a:gd name="connsiteX2491" fmla="*/ 678733 w 1466597"/>
                <a:gd name="connsiteY2491" fmla="*/ 629230 h 790366"/>
                <a:gd name="connsiteX2492" fmla="*/ 679263 w 1466597"/>
                <a:gd name="connsiteY2492" fmla="*/ 630061 h 790366"/>
                <a:gd name="connsiteX2493" fmla="*/ 678637 w 1466597"/>
                <a:gd name="connsiteY2493" fmla="*/ 631112 h 790366"/>
                <a:gd name="connsiteX2494" fmla="*/ 675933 w 1466597"/>
                <a:gd name="connsiteY2494" fmla="*/ 632174 h 790366"/>
                <a:gd name="connsiteX2495" fmla="*/ 676009 w 1466597"/>
                <a:gd name="connsiteY2495" fmla="*/ 633055 h 790366"/>
                <a:gd name="connsiteX2496" fmla="*/ 679940 w 1466597"/>
                <a:gd name="connsiteY2496" fmla="*/ 637190 h 790366"/>
                <a:gd name="connsiteX2497" fmla="*/ 681176 w 1466597"/>
                <a:gd name="connsiteY2497" fmla="*/ 637816 h 790366"/>
                <a:gd name="connsiteX2498" fmla="*/ 682203 w 1466597"/>
                <a:gd name="connsiteY2498" fmla="*/ 637739 h 790366"/>
                <a:gd name="connsiteX2499" fmla="*/ 682639 w 1466597"/>
                <a:gd name="connsiteY2499" fmla="*/ 637204 h 790366"/>
                <a:gd name="connsiteX2500" fmla="*/ 682310 w 1466597"/>
                <a:gd name="connsiteY2500" fmla="*/ 634223 h 790366"/>
                <a:gd name="connsiteX2501" fmla="*/ 683637 w 1466597"/>
                <a:gd name="connsiteY2501" fmla="*/ 633655 h 790366"/>
                <a:gd name="connsiteX2502" fmla="*/ 686358 w 1466597"/>
                <a:gd name="connsiteY2502" fmla="*/ 633517 h 790366"/>
                <a:gd name="connsiteX2503" fmla="*/ 688131 w 1466597"/>
                <a:gd name="connsiteY2503" fmla="*/ 633905 h 790366"/>
                <a:gd name="connsiteX2504" fmla="*/ 688955 w 1466597"/>
                <a:gd name="connsiteY2504" fmla="*/ 634824 h 790366"/>
                <a:gd name="connsiteX2505" fmla="*/ 690510 w 1466597"/>
                <a:gd name="connsiteY2505" fmla="*/ 635584 h 790366"/>
                <a:gd name="connsiteX2506" fmla="*/ 692796 w 1466597"/>
                <a:gd name="connsiteY2506" fmla="*/ 636185 h 790366"/>
                <a:gd name="connsiteX2507" fmla="*/ 694215 w 1466597"/>
                <a:gd name="connsiteY2507" fmla="*/ 636001 h 790366"/>
                <a:gd name="connsiteX2508" fmla="*/ 694765 w 1466597"/>
                <a:gd name="connsiteY2508" fmla="*/ 635028 h 790366"/>
                <a:gd name="connsiteX2509" fmla="*/ 693787 w 1466597"/>
                <a:gd name="connsiteY2509" fmla="*/ 633870 h 790366"/>
                <a:gd name="connsiteX2510" fmla="*/ 689415 w 1466597"/>
                <a:gd name="connsiteY2510" fmla="*/ 631322 h 790366"/>
                <a:gd name="connsiteX2511" fmla="*/ 688203 w 1466597"/>
                <a:gd name="connsiteY2511" fmla="*/ 630259 h 790366"/>
                <a:gd name="connsiteX2512" fmla="*/ 687906 w 1466597"/>
                <a:gd name="connsiteY2512" fmla="*/ 628776 h 790366"/>
                <a:gd name="connsiteX2513" fmla="*/ 688526 w 1466597"/>
                <a:gd name="connsiteY2513" fmla="*/ 626875 h 790366"/>
                <a:gd name="connsiteX2514" fmla="*/ 689901 w 1466597"/>
                <a:gd name="connsiteY2514" fmla="*/ 624053 h 790366"/>
                <a:gd name="connsiteX2515" fmla="*/ 692027 w 1466597"/>
                <a:gd name="connsiteY2515" fmla="*/ 620307 h 790366"/>
                <a:gd name="connsiteX2516" fmla="*/ 693951 w 1466597"/>
                <a:gd name="connsiteY2516" fmla="*/ 617685 h 790366"/>
                <a:gd name="connsiteX2517" fmla="*/ 697849 w 1466597"/>
                <a:gd name="connsiteY2517" fmla="*/ 614714 h 790366"/>
                <a:gd name="connsiteX2518" fmla="*/ 700477 w 1466597"/>
                <a:gd name="connsiteY2518" fmla="*/ 613244 h 790366"/>
                <a:gd name="connsiteX2519" fmla="*/ 707140 w 1466597"/>
                <a:gd name="connsiteY2519" fmla="*/ 608732 h 790366"/>
                <a:gd name="connsiteX2520" fmla="*/ 719944 w 1466597"/>
                <a:gd name="connsiteY2520" fmla="*/ 604127 h 790366"/>
                <a:gd name="connsiteX2521" fmla="*/ 723110 w 1466597"/>
                <a:gd name="connsiteY2521" fmla="*/ 601168 h 790366"/>
                <a:gd name="connsiteX2522" fmla="*/ 727412 w 1466597"/>
                <a:gd name="connsiteY2522" fmla="*/ 597896 h 790366"/>
                <a:gd name="connsiteX2523" fmla="*/ 729258 w 1466597"/>
                <a:gd name="connsiteY2523" fmla="*/ 597090 h 790366"/>
                <a:gd name="connsiteX2524" fmla="*/ 729258 w 1466597"/>
                <a:gd name="connsiteY2524" fmla="*/ 598355 h 790366"/>
                <a:gd name="connsiteX2525" fmla="*/ 729848 w 1466597"/>
                <a:gd name="connsiteY2525" fmla="*/ 599483 h 790366"/>
                <a:gd name="connsiteX2526" fmla="*/ 732726 w 1466597"/>
                <a:gd name="connsiteY2526" fmla="*/ 600234 h 790366"/>
                <a:gd name="connsiteX2527" fmla="*/ 734595 w 1466597"/>
                <a:gd name="connsiteY2527" fmla="*/ 600495 h 790366"/>
                <a:gd name="connsiteX2528" fmla="*/ 735454 w 1466597"/>
                <a:gd name="connsiteY2528" fmla="*/ 600266 h 790366"/>
                <a:gd name="connsiteX2529" fmla="*/ 735690 w 1466597"/>
                <a:gd name="connsiteY2529" fmla="*/ 599064 h 790366"/>
                <a:gd name="connsiteX2530" fmla="*/ 735303 w 1466597"/>
                <a:gd name="connsiteY2530" fmla="*/ 596889 h 790366"/>
                <a:gd name="connsiteX2531" fmla="*/ 735208 w 1466597"/>
                <a:gd name="connsiteY2531" fmla="*/ 594830 h 790366"/>
                <a:gd name="connsiteX2532" fmla="*/ 735400 w 1466597"/>
                <a:gd name="connsiteY2532" fmla="*/ 592894 h 790366"/>
                <a:gd name="connsiteX2533" fmla="*/ 735819 w 1466597"/>
                <a:gd name="connsiteY2533" fmla="*/ 591361 h 790366"/>
                <a:gd name="connsiteX2534" fmla="*/ 737738 w 1466597"/>
                <a:gd name="connsiteY2534" fmla="*/ 588636 h 790366"/>
                <a:gd name="connsiteX2535" fmla="*/ 740592 w 1466597"/>
                <a:gd name="connsiteY2535" fmla="*/ 585529 h 790366"/>
                <a:gd name="connsiteX2536" fmla="*/ 744489 w 1466597"/>
                <a:gd name="connsiteY2536" fmla="*/ 581913 h 790366"/>
                <a:gd name="connsiteX2537" fmla="*/ 746949 w 1466597"/>
                <a:gd name="connsiteY2537" fmla="*/ 580273 h 790366"/>
                <a:gd name="connsiteX2538" fmla="*/ 749269 w 1466597"/>
                <a:gd name="connsiteY2538" fmla="*/ 579403 h 790366"/>
                <a:gd name="connsiteX2539" fmla="*/ 751511 w 1466597"/>
                <a:gd name="connsiteY2539" fmla="*/ 577825 h 790366"/>
                <a:gd name="connsiteX2540" fmla="*/ 755372 w 1466597"/>
                <a:gd name="connsiteY2540" fmla="*/ 574085 h 790366"/>
                <a:gd name="connsiteX2541" fmla="*/ 756612 w 1466597"/>
                <a:gd name="connsiteY2541" fmla="*/ 573470 h 790366"/>
                <a:gd name="connsiteX2542" fmla="*/ 759380 w 1466597"/>
                <a:gd name="connsiteY2542" fmla="*/ 572734 h 790366"/>
                <a:gd name="connsiteX2543" fmla="*/ 760395 w 1466597"/>
                <a:gd name="connsiteY2543" fmla="*/ 573060 h 790366"/>
                <a:gd name="connsiteX2544" fmla="*/ 760992 w 1466597"/>
                <a:gd name="connsiteY2544" fmla="*/ 573999 h 790366"/>
                <a:gd name="connsiteX2545" fmla="*/ 761718 w 1466597"/>
                <a:gd name="connsiteY2545" fmla="*/ 574583 h 790366"/>
                <a:gd name="connsiteX2546" fmla="*/ 764531 w 1466597"/>
                <a:gd name="connsiteY2546" fmla="*/ 575110 h 790366"/>
                <a:gd name="connsiteX2547" fmla="*/ 766403 w 1466597"/>
                <a:gd name="connsiteY2547" fmla="*/ 574275 h 790366"/>
                <a:gd name="connsiteX2548" fmla="*/ 766098 w 1466597"/>
                <a:gd name="connsiteY2548" fmla="*/ 573834 h 790366"/>
                <a:gd name="connsiteX2549" fmla="*/ 764577 w 1466597"/>
                <a:gd name="connsiteY2549" fmla="*/ 573552 h 790366"/>
                <a:gd name="connsiteX2550" fmla="*/ 763605 w 1466597"/>
                <a:gd name="connsiteY2550" fmla="*/ 573009 h 790366"/>
                <a:gd name="connsiteX2551" fmla="*/ 762687 w 1466597"/>
                <a:gd name="connsiteY2551" fmla="*/ 570773 h 790366"/>
                <a:gd name="connsiteX2552" fmla="*/ 760823 w 1466597"/>
                <a:gd name="connsiteY2552" fmla="*/ 569426 h 790366"/>
                <a:gd name="connsiteX2553" fmla="*/ 760401 w 1466597"/>
                <a:gd name="connsiteY2553" fmla="*/ 567905 h 790366"/>
                <a:gd name="connsiteX2554" fmla="*/ 760737 w 1466597"/>
                <a:gd name="connsiteY2554" fmla="*/ 565531 h 790366"/>
                <a:gd name="connsiteX2555" fmla="*/ 762340 w 1466597"/>
                <a:gd name="connsiteY2555" fmla="*/ 559948 h 790366"/>
                <a:gd name="connsiteX2556" fmla="*/ 762604 w 1466597"/>
                <a:gd name="connsiteY2556" fmla="*/ 554193 h 790366"/>
                <a:gd name="connsiteX2557" fmla="*/ 764028 w 1466597"/>
                <a:gd name="connsiteY2557" fmla="*/ 550892 h 790366"/>
                <a:gd name="connsiteX2558" fmla="*/ 766893 w 1466597"/>
                <a:gd name="connsiteY2558" fmla="*/ 549697 h 790366"/>
                <a:gd name="connsiteX2559" fmla="*/ 773246 w 1466597"/>
                <a:gd name="connsiteY2559" fmla="*/ 548880 h 790366"/>
                <a:gd name="connsiteX2560" fmla="*/ 769528 w 1466597"/>
                <a:gd name="connsiteY2560" fmla="*/ 547384 h 790366"/>
                <a:gd name="connsiteX2561" fmla="*/ 768145 w 1466597"/>
                <a:gd name="connsiteY2561" fmla="*/ 547372 h 790366"/>
                <a:gd name="connsiteX2562" fmla="*/ 765728 w 1466597"/>
                <a:gd name="connsiteY2562" fmla="*/ 546671 h 790366"/>
                <a:gd name="connsiteX2563" fmla="*/ 764809 w 1466597"/>
                <a:gd name="connsiteY2563" fmla="*/ 543066 h 790366"/>
                <a:gd name="connsiteX2564" fmla="*/ 764829 w 1466597"/>
                <a:gd name="connsiteY2564" fmla="*/ 540441 h 790366"/>
                <a:gd name="connsiteX2565" fmla="*/ 766429 w 1466597"/>
                <a:gd name="connsiteY2565" fmla="*/ 537397 h 790366"/>
                <a:gd name="connsiteX2566" fmla="*/ 772348 w 1466597"/>
                <a:gd name="connsiteY2566" fmla="*/ 532253 h 790366"/>
                <a:gd name="connsiteX2567" fmla="*/ 778833 w 1466597"/>
                <a:gd name="connsiteY2567" fmla="*/ 528688 h 790366"/>
                <a:gd name="connsiteX2568" fmla="*/ 777956 w 1466597"/>
                <a:gd name="connsiteY2568" fmla="*/ 528394 h 790366"/>
                <a:gd name="connsiteX2569" fmla="*/ 777153 w 1466597"/>
                <a:gd name="connsiteY2569" fmla="*/ 527333 h 790366"/>
                <a:gd name="connsiteX2570" fmla="*/ 780144 w 1466597"/>
                <a:gd name="connsiteY2570" fmla="*/ 520171 h 790366"/>
                <a:gd name="connsiteX2571" fmla="*/ 783063 w 1466597"/>
                <a:gd name="connsiteY2571" fmla="*/ 513761 h 790366"/>
                <a:gd name="connsiteX2572" fmla="*/ 779120 w 1466597"/>
                <a:gd name="connsiteY2572" fmla="*/ 519226 h 790366"/>
                <a:gd name="connsiteX2573" fmla="*/ 774564 w 1466597"/>
                <a:gd name="connsiteY2573" fmla="*/ 523397 h 790366"/>
                <a:gd name="connsiteX2574" fmla="*/ 761204 w 1466597"/>
                <a:gd name="connsiteY2574" fmla="*/ 528233 h 790366"/>
                <a:gd name="connsiteX2575" fmla="*/ 752117 w 1466597"/>
                <a:gd name="connsiteY2575" fmla="*/ 532280 h 790366"/>
                <a:gd name="connsiteX2576" fmla="*/ 747806 w 1466597"/>
                <a:gd name="connsiteY2576" fmla="*/ 533248 h 790366"/>
                <a:gd name="connsiteX2577" fmla="*/ 744958 w 1466597"/>
                <a:gd name="connsiteY2577" fmla="*/ 532220 h 790366"/>
                <a:gd name="connsiteX2578" fmla="*/ 742737 w 1466597"/>
                <a:gd name="connsiteY2578" fmla="*/ 528339 h 790366"/>
                <a:gd name="connsiteX2579" fmla="*/ 741470 w 1466597"/>
                <a:gd name="connsiteY2579" fmla="*/ 526956 h 790366"/>
                <a:gd name="connsiteX2580" fmla="*/ 739841 w 1466597"/>
                <a:gd name="connsiteY2580" fmla="*/ 524420 h 790366"/>
                <a:gd name="connsiteX2581" fmla="*/ 740527 w 1466597"/>
                <a:gd name="connsiteY2581" fmla="*/ 521120 h 790366"/>
                <a:gd name="connsiteX2582" fmla="*/ 741818 w 1466597"/>
                <a:gd name="connsiteY2582" fmla="*/ 518833 h 790366"/>
                <a:gd name="connsiteX2583" fmla="*/ 744653 w 1466597"/>
                <a:gd name="connsiteY2583" fmla="*/ 518457 h 790366"/>
                <a:gd name="connsiteX2584" fmla="*/ 747850 w 1466597"/>
                <a:gd name="connsiteY2584" fmla="*/ 519561 h 790366"/>
                <a:gd name="connsiteX2585" fmla="*/ 750622 w 1466597"/>
                <a:gd name="connsiteY2585" fmla="*/ 519654 h 790366"/>
                <a:gd name="connsiteX2586" fmla="*/ 747048 w 1466597"/>
                <a:gd name="connsiteY2586" fmla="*/ 517400 h 790366"/>
                <a:gd name="connsiteX2587" fmla="*/ 741890 w 1466597"/>
                <a:gd name="connsiteY2587" fmla="*/ 515432 h 790366"/>
                <a:gd name="connsiteX2588" fmla="*/ 739554 w 1466597"/>
                <a:gd name="connsiteY2588" fmla="*/ 516071 h 790366"/>
                <a:gd name="connsiteX2589" fmla="*/ 737767 w 1466597"/>
                <a:gd name="connsiteY2589" fmla="*/ 519266 h 790366"/>
                <a:gd name="connsiteX2590" fmla="*/ 735374 w 1466597"/>
                <a:gd name="connsiteY2590" fmla="*/ 521457 h 790366"/>
                <a:gd name="connsiteX2591" fmla="*/ 733274 w 1466597"/>
                <a:gd name="connsiteY2591" fmla="*/ 520681 h 790366"/>
                <a:gd name="connsiteX2592" fmla="*/ 732026 w 1466597"/>
                <a:gd name="connsiteY2592" fmla="*/ 519788 h 790366"/>
                <a:gd name="connsiteX2593" fmla="*/ 732893 w 1466597"/>
                <a:gd name="connsiteY2593" fmla="*/ 522464 h 790366"/>
                <a:gd name="connsiteX2594" fmla="*/ 731305 w 1466597"/>
                <a:gd name="connsiteY2594" fmla="*/ 526532 h 790366"/>
                <a:gd name="connsiteX2595" fmla="*/ 730703 w 1466597"/>
                <a:gd name="connsiteY2595" fmla="*/ 529345 h 790366"/>
                <a:gd name="connsiteX2596" fmla="*/ 732979 w 1466597"/>
                <a:gd name="connsiteY2596" fmla="*/ 536753 h 790366"/>
                <a:gd name="connsiteX2597" fmla="*/ 732559 w 1466597"/>
                <a:gd name="connsiteY2597" fmla="*/ 539709 h 790366"/>
                <a:gd name="connsiteX2598" fmla="*/ 728425 w 1466597"/>
                <a:gd name="connsiteY2598" fmla="*/ 541064 h 790366"/>
                <a:gd name="connsiteX2599" fmla="*/ 725057 w 1466597"/>
                <a:gd name="connsiteY2599" fmla="*/ 538636 h 790366"/>
                <a:gd name="connsiteX2600" fmla="*/ 718029 w 1466597"/>
                <a:gd name="connsiteY2600" fmla="*/ 529250 h 790366"/>
                <a:gd name="connsiteX2601" fmla="*/ 715579 w 1466597"/>
                <a:gd name="connsiteY2601" fmla="*/ 526571 h 790366"/>
                <a:gd name="connsiteX2602" fmla="*/ 710067 w 1466597"/>
                <a:gd name="connsiteY2602" fmla="*/ 522142 h 790366"/>
                <a:gd name="connsiteX2603" fmla="*/ 708251 w 1466597"/>
                <a:gd name="connsiteY2603" fmla="*/ 522773 h 790366"/>
                <a:gd name="connsiteX2604" fmla="*/ 705936 w 1466597"/>
                <a:gd name="connsiteY2604" fmla="*/ 524958 h 790366"/>
                <a:gd name="connsiteX2605" fmla="*/ 703693 w 1466597"/>
                <a:gd name="connsiteY2605" fmla="*/ 525562 h 790366"/>
                <a:gd name="connsiteX2606" fmla="*/ 697764 w 1466597"/>
                <a:gd name="connsiteY2606" fmla="*/ 522339 h 790366"/>
                <a:gd name="connsiteX2607" fmla="*/ 695005 w 1466597"/>
                <a:gd name="connsiteY2607" fmla="*/ 519877 h 790366"/>
                <a:gd name="connsiteX2608" fmla="*/ 692394 w 1466597"/>
                <a:gd name="connsiteY2608" fmla="*/ 516886 h 790366"/>
                <a:gd name="connsiteX2609" fmla="*/ 688394 w 1466597"/>
                <a:gd name="connsiteY2609" fmla="*/ 518533 h 790366"/>
                <a:gd name="connsiteX2610" fmla="*/ 684905 w 1466597"/>
                <a:gd name="connsiteY2610" fmla="*/ 520493 h 790366"/>
                <a:gd name="connsiteX2611" fmla="*/ 680813 w 1466597"/>
                <a:gd name="connsiteY2611" fmla="*/ 523621 h 790366"/>
                <a:gd name="connsiteX2612" fmla="*/ 678079 w 1466597"/>
                <a:gd name="connsiteY2612" fmla="*/ 523593 h 790366"/>
                <a:gd name="connsiteX2613" fmla="*/ 670639 w 1466597"/>
                <a:gd name="connsiteY2613" fmla="*/ 526269 h 790366"/>
                <a:gd name="connsiteX2614" fmla="*/ 669850 w 1466597"/>
                <a:gd name="connsiteY2614" fmla="*/ 526326 h 790366"/>
                <a:gd name="connsiteX2615" fmla="*/ 668804 w 1466597"/>
                <a:gd name="connsiteY2615" fmla="*/ 527767 h 790366"/>
                <a:gd name="connsiteX2616" fmla="*/ 667777 w 1466597"/>
                <a:gd name="connsiteY2616" fmla="*/ 528412 h 790366"/>
                <a:gd name="connsiteX2617" fmla="*/ 666928 w 1466597"/>
                <a:gd name="connsiteY2617" fmla="*/ 531185 h 790366"/>
                <a:gd name="connsiteX2618" fmla="*/ 656874 w 1466597"/>
                <a:gd name="connsiteY2618" fmla="*/ 533333 h 790366"/>
                <a:gd name="connsiteX2619" fmla="*/ 646939 w 1466597"/>
                <a:gd name="connsiteY2619" fmla="*/ 532130 h 790366"/>
                <a:gd name="connsiteX2620" fmla="*/ 650415 w 1466597"/>
                <a:gd name="connsiteY2620" fmla="*/ 530606 h 790366"/>
                <a:gd name="connsiteX2621" fmla="*/ 654297 w 1466597"/>
                <a:gd name="connsiteY2621" fmla="*/ 529407 h 790366"/>
                <a:gd name="connsiteX2622" fmla="*/ 657668 w 1466597"/>
                <a:gd name="connsiteY2622" fmla="*/ 526519 h 790366"/>
                <a:gd name="connsiteX2623" fmla="*/ 656235 w 1466597"/>
                <a:gd name="connsiteY2623" fmla="*/ 522656 h 790366"/>
                <a:gd name="connsiteX2624" fmla="*/ 655986 w 1466597"/>
                <a:gd name="connsiteY2624" fmla="*/ 520687 h 790366"/>
                <a:gd name="connsiteX2625" fmla="*/ 656028 w 1466597"/>
                <a:gd name="connsiteY2625" fmla="*/ 518192 h 790366"/>
                <a:gd name="connsiteX2626" fmla="*/ 659709 w 1466597"/>
                <a:gd name="connsiteY2626" fmla="*/ 514685 h 790366"/>
                <a:gd name="connsiteX2627" fmla="*/ 655880 w 1466597"/>
                <a:gd name="connsiteY2627" fmla="*/ 514694 h 790366"/>
                <a:gd name="connsiteX2628" fmla="*/ 653422 w 1466597"/>
                <a:gd name="connsiteY2628" fmla="*/ 515950 h 790366"/>
                <a:gd name="connsiteX2629" fmla="*/ 651120 w 1466597"/>
                <a:gd name="connsiteY2629" fmla="*/ 513314 h 790366"/>
                <a:gd name="connsiteX2630" fmla="*/ 650043 w 1466597"/>
                <a:gd name="connsiteY2630" fmla="*/ 508123 h 790366"/>
                <a:gd name="connsiteX2631" fmla="*/ 652674 w 1466597"/>
                <a:gd name="connsiteY2631" fmla="*/ 505047 h 790366"/>
                <a:gd name="connsiteX2632" fmla="*/ 653897 w 1466597"/>
                <a:gd name="connsiteY2632" fmla="*/ 502675 h 790366"/>
                <a:gd name="connsiteX2633" fmla="*/ 654929 w 1466597"/>
                <a:gd name="connsiteY2633" fmla="*/ 499415 h 790366"/>
                <a:gd name="connsiteX2634" fmla="*/ 655007 w 1466597"/>
                <a:gd name="connsiteY2634" fmla="*/ 496608 h 790366"/>
                <a:gd name="connsiteX2635" fmla="*/ 652967 w 1466597"/>
                <a:gd name="connsiteY2635" fmla="*/ 491850 h 790366"/>
                <a:gd name="connsiteX2636" fmla="*/ 647113 w 1466597"/>
                <a:gd name="connsiteY2636" fmla="*/ 481736 h 790366"/>
                <a:gd name="connsiteX2637" fmla="*/ 644450 w 1466597"/>
                <a:gd name="connsiteY2637" fmla="*/ 474166 h 790366"/>
                <a:gd name="connsiteX2638" fmla="*/ 639888 w 1466597"/>
                <a:gd name="connsiteY2638" fmla="*/ 470124 h 790366"/>
                <a:gd name="connsiteX2639" fmla="*/ 643294 w 1466597"/>
                <a:gd name="connsiteY2639" fmla="*/ 463494 h 790366"/>
                <a:gd name="connsiteX2640" fmla="*/ 647094 w 1466597"/>
                <a:gd name="connsiteY2640" fmla="*/ 457440 h 790366"/>
                <a:gd name="connsiteX2641" fmla="*/ 651999 w 1466597"/>
                <a:gd name="connsiteY2641" fmla="*/ 454726 h 790366"/>
                <a:gd name="connsiteX2642" fmla="*/ 651605 w 1466597"/>
                <a:gd name="connsiteY2642" fmla="*/ 454320 h 790366"/>
                <a:gd name="connsiteX2643" fmla="*/ 648895 w 1466597"/>
                <a:gd name="connsiteY2643" fmla="*/ 454339 h 790366"/>
                <a:gd name="connsiteX2644" fmla="*/ 647115 w 1466597"/>
                <a:gd name="connsiteY2644" fmla="*/ 454699 h 790366"/>
                <a:gd name="connsiteX2645" fmla="*/ 645538 w 1466597"/>
                <a:gd name="connsiteY2645" fmla="*/ 456671 h 790366"/>
                <a:gd name="connsiteX2646" fmla="*/ 643875 w 1466597"/>
                <a:gd name="connsiteY2646" fmla="*/ 458177 h 790366"/>
                <a:gd name="connsiteX2647" fmla="*/ 638680 w 1466597"/>
                <a:gd name="connsiteY2647" fmla="*/ 465883 h 790366"/>
                <a:gd name="connsiteX2648" fmla="*/ 635338 w 1466597"/>
                <a:gd name="connsiteY2648" fmla="*/ 469627 h 790366"/>
                <a:gd name="connsiteX2649" fmla="*/ 633163 w 1466597"/>
                <a:gd name="connsiteY2649" fmla="*/ 470701 h 790366"/>
                <a:gd name="connsiteX2650" fmla="*/ 636664 w 1466597"/>
                <a:gd name="connsiteY2650" fmla="*/ 472150 h 790366"/>
                <a:gd name="connsiteX2651" fmla="*/ 637194 w 1466597"/>
                <a:gd name="connsiteY2651" fmla="*/ 473372 h 790366"/>
                <a:gd name="connsiteX2652" fmla="*/ 637868 w 1466597"/>
                <a:gd name="connsiteY2652" fmla="*/ 476145 h 790366"/>
                <a:gd name="connsiteX2653" fmla="*/ 636972 w 1466597"/>
                <a:gd name="connsiteY2653" fmla="*/ 479511 h 790366"/>
                <a:gd name="connsiteX2654" fmla="*/ 636076 w 1466597"/>
                <a:gd name="connsiteY2654" fmla="*/ 481366 h 790366"/>
                <a:gd name="connsiteX2655" fmla="*/ 631947 w 1466597"/>
                <a:gd name="connsiteY2655" fmla="*/ 481217 h 790366"/>
                <a:gd name="connsiteX2656" fmla="*/ 628242 w 1466597"/>
                <a:gd name="connsiteY2656" fmla="*/ 483917 h 790366"/>
                <a:gd name="connsiteX2657" fmla="*/ 619530 w 1466597"/>
                <a:gd name="connsiteY2657" fmla="*/ 486854 h 790366"/>
                <a:gd name="connsiteX2658" fmla="*/ 607770 w 1466597"/>
                <a:gd name="connsiteY2658" fmla="*/ 488530 h 790366"/>
                <a:gd name="connsiteX2659" fmla="*/ 601992 w 1466597"/>
                <a:gd name="connsiteY2659" fmla="*/ 488331 h 790366"/>
                <a:gd name="connsiteX2660" fmla="*/ 595973 w 1466597"/>
                <a:gd name="connsiteY2660" fmla="*/ 484907 h 790366"/>
                <a:gd name="connsiteX2661" fmla="*/ 596017 w 1466597"/>
                <a:gd name="connsiteY2661" fmla="*/ 482923 h 790366"/>
                <a:gd name="connsiteX2662" fmla="*/ 596261 w 1466597"/>
                <a:gd name="connsiteY2662" fmla="*/ 481194 h 790366"/>
                <a:gd name="connsiteX2663" fmla="*/ 587614 w 1466597"/>
                <a:gd name="connsiteY2663" fmla="*/ 475275 h 790366"/>
                <a:gd name="connsiteX2664" fmla="*/ 582722 w 1466597"/>
                <a:gd name="connsiteY2664" fmla="*/ 469366 h 790366"/>
                <a:gd name="connsiteX2665" fmla="*/ 579209 w 1466597"/>
                <a:gd name="connsiteY2665" fmla="*/ 469234 h 790366"/>
                <a:gd name="connsiteX2666" fmla="*/ 576155 w 1466597"/>
                <a:gd name="connsiteY2666" fmla="*/ 467654 h 790366"/>
                <a:gd name="connsiteX2667" fmla="*/ 572547 w 1466597"/>
                <a:gd name="connsiteY2667" fmla="*/ 465196 h 790366"/>
                <a:gd name="connsiteX2668" fmla="*/ 572863 w 1466597"/>
                <a:gd name="connsiteY2668" fmla="*/ 463212 h 790366"/>
                <a:gd name="connsiteX2669" fmla="*/ 573429 w 1466597"/>
                <a:gd name="connsiteY2669" fmla="*/ 461815 h 790366"/>
                <a:gd name="connsiteX2670" fmla="*/ 571217 w 1466597"/>
                <a:gd name="connsiteY2670" fmla="*/ 460836 h 790366"/>
                <a:gd name="connsiteX2671" fmla="*/ 568379 w 1466597"/>
                <a:gd name="connsiteY2671" fmla="*/ 460932 h 790366"/>
                <a:gd name="connsiteX2672" fmla="*/ 565081 w 1466597"/>
                <a:gd name="connsiteY2672" fmla="*/ 460255 h 790366"/>
                <a:gd name="connsiteX2673" fmla="*/ 573698 w 1466597"/>
                <a:gd name="connsiteY2673" fmla="*/ 452598 h 790366"/>
                <a:gd name="connsiteX2674" fmla="*/ 576662 w 1466597"/>
                <a:gd name="connsiteY2674" fmla="*/ 447459 h 790366"/>
                <a:gd name="connsiteX2675" fmla="*/ 579076 w 1466597"/>
                <a:gd name="connsiteY2675" fmla="*/ 446728 h 790366"/>
                <a:gd name="connsiteX2676" fmla="*/ 582209 w 1466597"/>
                <a:gd name="connsiteY2676" fmla="*/ 447521 h 790366"/>
                <a:gd name="connsiteX2677" fmla="*/ 586532 w 1466597"/>
                <a:gd name="connsiteY2677" fmla="*/ 449549 h 790366"/>
                <a:gd name="connsiteX2678" fmla="*/ 590176 w 1466597"/>
                <a:gd name="connsiteY2678" fmla="*/ 450443 h 790366"/>
                <a:gd name="connsiteX2679" fmla="*/ 591491 w 1466597"/>
                <a:gd name="connsiteY2679" fmla="*/ 451392 h 790366"/>
                <a:gd name="connsiteX2680" fmla="*/ 592839 w 1466597"/>
                <a:gd name="connsiteY2680" fmla="*/ 453191 h 790366"/>
                <a:gd name="connsiteX2681" fmla="*/ 591419 w 1466597"/>
                <a:gd name="connsiteY2681" fmla="*/ 456198 h 790366"/>
                <a:gd name="connsiteX2682" fmla="*/ 590118 w 1466597"/>
                <a:gd name="connsiteY2682" fmla="*/ 458306 h 790366"/>
                <a:gd name="connsiteX2683" fmla="*/ 591717 w 1466597"/>
                <a:gd name="connsiteY2683" fmla="*/ 457735 h 790366"/>
                <a:gd name="connsiteX2684" fmla="*/ 596254 w 1466597"/>
                <a:gd name="connsiteY2684" fmla="*/ 454469 h 790366"/>
                <a:gd name="connsiteX2685" fmla="*/ 599628 w 1466597"/>
                <a:gd name="connsiteY2685" fmla="*/ 451595 h 790366"/>
                <a:gd name="connsiteX2686" fmla="*/ 601246 w 1466597"/>
                <a:gd name="connsiteY2686" fmla="*/ 451893 h 790366"/>
                <a:gd name="connsiteX2687" fmla="*/ 602297 w 1466597"/>
                <a:gd name="connsiteY2687" fmla="*/ 452400 h 790366"/>
                <a:gd name="connsiteX2688" fmla="*/ 604174 w 1466597"/>
                <a:gd name="connsiteY2688" fmla="*/ 455364 h 790366"/>
                <a:gd name="connsiteX2689" fmla="*/ 606506 w 1466597"/>
                <a:gd name="connsiteY2689" fmla="*/ 458377 h 790366"/>
                <a:gd name="connsiteX2690" fmla="*/ 611639 w 1466597"/>
                <a:gd name="connsiteY2690" fmla="*/ 455507 h 790366"/>
                <a:gd name="connsiteX2691" fmla="*/ 614388 w 1466597"/>
                <a:gd name="connsiteY2691" fmla="*/ 451928 h 790366"/>
                <a:gd name="connsiteX2692" fmla="*/ 612068 w 1466597"/>
                <a:gd name="connsiteY2692" fmla="*/ 450356 h 790366"/>
                <a:gd name="connsiteX2693" fmla="*/ 609233 w 1466597"/>
                <a:gd name="connsiteY2693" fmla="*/ 449427 h 790366"/>
                <a:gd name="connsiteX2694" fmla="*/ 602001 w 1466597"/>
                <a:gd name="connsiteY2694" fmla="*/ 448206 h 790366"/>
                <a:gd name="connsiteX2695" fmla="*/ 603766 w 1466597"/>
                <a:gd name="connsiteY2695" fmla="*/ 447177 h 790366"/>
                <a:gd name="connsiteX2696" fmla="*/ 608407 w 1466597"/>
                <a:gd name="connsiteY2696" fmla="*/ 447291 h 790366"/>
                <a:gd name="connsiteX2697" fmla="*/ 610155 w 1466597"/>
                <a:gd name="connsiteY2697" fmla="*/ 446306 h 790366"/>
                <a:gd name="connsiteX2698" fmla="*/ 608316 w 1466597"/>
                <a:gd name="connsiteY2698" fmla="*/ 444943 h 790366"/>
                <a:gd name="connsiteX2699" fmla="*/ 606020 w 1466597"/>
                <a:gd name="connsiteY2699" fmla="*/ 443723 h 790366"/>
                <a:gd name="connsiteX2700" fmla="*/ 599754 w 1466597"/>
                <a:gd name="connsiteY2700" fmla="*/ 447785 h 790366"/>
                <a:gd name="connsiteX2701" fmla="*/ 588352 w 1466597"/>
                <a:gd name="connsiteY2701" fmla="*/ 447581 h 790366"/>
                <a:gd name="connsiteX2702" fmla="*/ 580383 w 1466597"/>
                <a:gd name="connsiteY2702" fmla="*/ 445210 h 790366"/>
                <a:gd name="connsiteX2703" fmla="*/ 572431 w 1466597"/>
                <a:gd name="connsiteY2703" fmla="*/ 445622 h 790366"/>
                <a:gd name="connsiteX2704" fmla="*/ 571177 w 1466597"/>
                <a:gd name="connsiteY2704" fmla="*/ 445151 h 790366"/>
                <a:gd name="connsiteX2705" fmla="*/ 569629 w 1466597"/>
                <a:gd name="connsiteY2705" fmla="*/ 443880 h 790366"/>
                <a:gd name="connsiteX2706" fmla="*/ 574109 w 1466597"/>
                <a:gd name="connsiteY2706" fmla="*/ 440860 h 790366"/>
                <a:gd name="connsiteX2707" fmla="*/ 577281 w 1466597"/>
                <a:gd name="connsiteY2707" fmla="*/ 439188 h 790366"/>
                <a:gd name="connsiteX2708" fmla="*/ 577449 w 1466597"/>
                <a:gd name="connsiteY2708" fmla="*/ 438219 h 790366"/>
                <a:gd name="connsiteX2709" fmla="*/ 575606 w 1466597"/>
                <a:gd name="connsiteY2709" fmla="*/ 438097 h 790366"/>
                <a:gd name="connsiteX2710" fmla="*/ 572140 w 1466597"/>
                <a:gd name="connsiteY2710" fmla="*/ 438900 h 790366"/>
                <a:gd name="connsiteX2711" fmla="*/ 570594 w 1466597"/>
                <a:gd name="connsiteY2711" fmla="*/ 437506 h 790366"/>
                <a:gd name="connsiteX2712" fmla="*/ 570847 w 1466597"/>
                <a:gd name="connsiteY2712" fmla="*/ 435086 h 790366"/>
                <a:gd name="connsiteX2713" fmla="*/ 570279 w 1466597"/>
                <a:gd name="connsiteY2713" fmla="*/ 435303 h 790366"/>
                <a:gd name="connsiteX2714" fmla="*/ 568908 w 1466597"/>
                <a:gd name="connsiteY2714" fmla="*/ 436624 h 790366"/>
                <a:gd name="connsiteX2715" fmla="*/ 566969 w 1466597"/>
                <a:gd name="connsiteY2715" fmla="*/ 435972 h 790366"/>
                <a:gd name="connsiteX2716" fmla="*/ 565309 w 1466597"/>
                <a:gd name="connsiteY2716" fmla="*/ 434882 h 790366"/>
                <a:gd name="connsiteX2717" fmla="*/ 566178 w 1466597"/>
                <a:gd name="connsiteY2717" fmla="*/ 433718 h 790366"/>
                <a:gd name="connsiteX2718" fmla="*/ 567884 w 1466597"/>
                <a:gd name="connsiteY2718" fmla="*/ 432120 h 790366"/>
                <a:gd name="connsiteX2719" fmla="*/ 567126 w 1466597"/>
                <a:gd name="connsiteY2719" fmla="*/ 431883 h 790366"/>
                <a:gd name="connsiteX2720" fmla="*/ 565594 w 1466597"/>
                <a:gd name="connsiteY2720" fmla="*/ 432223 h 790366"/>
                <a:gd name="connsiteX2721" fmla="*/ 564106 w 1466597"/>
                <a:gd name="connsiteY2721" fmla="*/ 434315 h 790366"/>
                <a:gd name="connsiteX2722" fmla="*/ 564431 w 1466597"/>
                <a:gd name="connsiteY2722" fmla="*/ 436007 h 790366"/>
                <a:gd name="connsiteX2723" fmla="*/ 564393 w 1466597"/>
                <a:gd name="connsiteY2723" fmla="*/ 438431 h 790366"/>
                <a:gd name="connsiteX2724" fmla="*/ 561851 w 1466597"/>
                <a:gd name="connsiteY2724" fmla="*/ 438874 h 790366"/>
                <a:gd name="connsiteX2725" fmla="*/ 559672 w 1466597"/>
                <a:gd name="connsiteY2725" fmla="*/ 438584 h 790366"/>
                <a:gd name="connsiteX2726" fmla="*/ 558096 w 1466597"/>
                <a:gd name="connsiteY2726" fmla="*/ 436146 h 790366"/>
                <a:gd name="connsiteX2727" fmla="*/ 556469 w 1466597"/>
                <a:gd name="connsiteY2727" fmla="*/ 430908 h 790366"/>
                <a:gd name="connsiteX2728" fmla="*/ 552068 w 1466597"/>
                <a:gd name="connsiteY2728" fmla="*/ 429516 h 790366"/>
                <a:gd name="connsiteX2729" fmla="*/ 550987 w 1466597"/>
                <a:gd name="connsiteY2729" fmla="*/ 426862 h 790366"/>
                <a:gd name="connsiteX2730" fmla="*/ 553772 w 1466597"/>
                <a:gd name="connsiteY2730" fmla="*/ 423454 h 790366"/>
                <a:gd name="connsiteX2731" fmla="*/ 552543 w 1466597"/>
                <a:gd name="connsiteY2731" fmla="*/ 421694 h 790366"/>
                <a:gd name="connsiteX2732" fmla="*/ 549584 w 1466597"/>
                <a:gd name="connsiteY2732" fmla="*/ 421121 h 790366"/>
                <a:gd name="connsiteX2733" fmla="*/ 546198 w 1466597"/>
                <a:gd name="connsiteY2733" fmla="*/ 422846 h 790366"/>
                <a:gd name="connsiteX2734" fmla="*/ 544700 w 1466597"/>
                <a:gd name="connsiteY2734" fmla="*/ 421314 h 790366"/>
                <a:gd name="connsiteX2735" fmla="*/ 544426 w 1466597"/>
                <a:gd name="connsiteY2735" fmla="*/ 419631 h 790366"/>
                <a:gd name="connsiteX2736" fmla="*/ 544308 w 1466597"/>
                <a:gd name="connsiteY2736" fmla="*/ 417213 h 790366"/>
                <a:gd name="connsiteX2737" fmla="*/ 545252 w 1466597"/>
                <a:gd name="connsiteY2737" fmla="*/ 416959 h 790366"/>
                <a:gd name="connsiteX2738" fmla="*/ 546033 w 1466597"/>
                <a:gd name="connsiteY2738" fmla="*/ 417439 h 790366"/>
                <a:gd name="connsiteX2739" fmla="*/ 552817 w 1466597"/>
                <a:gd name="connsiteY2739" fmla="*/ 416095 h 790366"/>
                <a:gd name="connsiteX2740" fmla="*/ 553470 w 1466597"/>
                <a:gd name="connsiteY2740" fmla="*/ 415441 h 790366"/>
                <a:gd name="connsiteX2741" fmla="*/ 548088 w 1466597"/>
                <a:gd name="connsiteY2741" fmla="*/ 413397 h 790366"/>
                <a:gd name="connsiteX2742" fmla="*/ 546586 w 1466597"/>
                <a:gd name="connsiteY2742" fmla="*/ 411246 h 790366"/>
                <a:gd name="connsiteX2743" fmla="*/ 548816 w 1466597"/>
                <a:gd name="connsiteY2743" fmla="*/ 410026 h 790366"/>
                <a:gd name="connsiteX2744" fmla="*/ 552835 w 1466597"/>
                <a:gd name="connsiteY2744" fmla="*/ 409923 h 790366"/>
                <a:gd name="connsiteX2745" fmla="*/ 558473 w 1466597"/>
                <a:gd name="connsiteY2745" fmla="*/ 408649 h 790366"/>
                <a:gd name="connsiteX2746" fmla="*/ 556102 w 1466597"/>
                <a:gd name="connsiteY2746" fmla="*/ 406363 h 790366"/>
                <a:gd name="connsiteX2747" fmla="*/ 555606 w 1466597"/>
                <a:gd name="connsiteY2747" fmla="*/ 405108 h 790366"/>
                <a:gd name="connsiteX2748" fmla="*/ 555129 w 1466597"/>
                <a:gd name="connsiteY2748" fmla="*/ 403048 h 790366"/>
                <a:gd name="connsiteX2749" fmla="*/ 556064 w 1466597"/>
                <a:gd name="connsiteY2749" fmla="*/ 399552 h 790366"/>
                <a:gd name="connsiteX2750" fmla="*/ 562687 w 1466597"/>
                <a:gd name="connsiteY2750" fmla="*/ 391517 h 790366"/>
                <a:gd name="connsiteX2751" fmla="*/ 569144 w 1466597"/>
                <a:gd name="connsiteY2751" fmla="*/ 384798 h 790366"/>
                <a:gd name="connsiteX2752" fmla="*/ 571157 w 1466597"/>
                <a:gd name="connsiteY2752" fmla="*/ 383244 h 790366"/>
                <a:gd name="connsiteX2753" fmla="*/ 574113 w 1466597"/>
                <a:gd name="connsiteY2753" fmla="*/ 382407 h 790366"/>
                <a:gd name="connsiteX2754" fmla="*/ 576865 w 1466597"/>
                <a:gd name="connsiteY2754" fmla="*/ 383051 h 790366"/>
                <a:gd name="connsiteX2755" fmla="*/ 579739 w 1466597"/>
                <a:gd name="connsiteY2755" fmla="*/ 384496 h 790366"/>
                <a:gd name="connsiteX2756" fmla="*/ 580284 w 1466597"/>
                <a:gd name="connsiteY2756" fmla="*/ 383878 h 790366"/>
                <a:gd name="connsiteX2757" fmla="*/ 579308 w 1466597"/>
                <a:gd name="connsiteY2757" fmla="*/ 383287 h 790366"/>
                <a:gd name="connsiteX2758" fmla="*/ 578076 w 1466597"/>
                <a:gd name="connsiteY2758" fmla="*/ 380529 h 790366"/>
                <a:gd name="connsiteX2759" fmla="*/ 582066 w 1466597"/>
                <a:gd name="connsiteY2759" fmla="*/ 379447 h 790366"/>
                <a:gd name="connsiteX2760" fmla="*/ 584405 w 1466597"/>
                <a:gd name="connsiteY2760" fmla="*/ 376328 h 790366"/>
                <a:gd name="connsiteX2761" fmla="*/ 584580 w 1466597"/>
                <a:gd name="connsiteY2761" fmla="*/ 375424 h 790366"/>
                <a:gd name="connsiteX2762" fmla="*/ 582040 w 1466597"/>
                <a:gd name="connsiteY2762" fmla="*/ 376723 h 790366"/>
                <a:gd name="connsiteX2763" fmla="*/ 579395 w 1466597"/>
                <a:gd name="connsiteY2763" fmla="*/ 378854 h 790366"/>
                <a:gd name="connsiteX2764" fmla="*/ 578733 w 1466597"/>
                <a:gd name="connsiteY2764" fmla="*/ 376711 h 790366"/>
                <a:gd name="connsiteX2765" fmla="*/ 578050 w 1466597"/>
                <a:gd name="connsiteY2765" fmla="*/ 371773 h 790366"/>
                <a:gd name="connsiteX2766" fmla="*/ 579217 w 1466597"/>
                <a:gd name="connsiteY2766" fmla="*/ 367098 h 790366"/>
                <a:gd name="connsiteX2767" fmla="*/ 580126 w 1466597"/>
                <a:gd name="connsiteY2767" fmla="*/ 364998 h 790366"/>
                <a:gd name="connsiteX2768" fmla="*/ 582335 w 1466597"/>
                <a:gd name="connsiteY2768" fmla="*/ 363002 h 790366"/>
                <a:gd name="connsiteX2769" fmla="*/ 588695 w 1466597"/>
                <a:gd name="connsiteY2769" fmla="*/ 362202 h 790366"/>
                <a:gd name="connsiteX2770" fmla="*/ 589815 w 1466597"/>
                <a:gd name="connsiteY2770" fmla="*/ 362602 h 790366"/>
                <a:gd name="connsiteX2771" fmla="*/ 590048 w 1466597"/>
                <a:gd name="connsiteY2771" fmla="*/ 361659 h 790366"/>
                <a:gd name="connsiteX2772" fmla="*/ 586219 w 1466597"/>
                <a:gd name="connsiteY2772" fmla="*/ 358708 h 790366"/>
                <a:gd name="connsiteX2773" fmla="*/ 587799 w 1466597"/>
                <a:gd name="connsiteY2773" fmla="*/ 356397 h 790366"/>
                <a:gd name="connsiteX2774" fmla="*/ 589182 w 1466597"/>
                <a:gd name="connsiteY2774" fmla="*/ 355200 h 790366"/>
                <a:gd name="connsiteX2775" fmla="*/ 596871 w 1466597"/>
                <a:gd name="connsiteY2775" fmla="*/ 353324 h 790366"/>
                <a:gd name="connsiteX2776" fmla="*/ 601074 w 1466597"/>
                <a:gd name="connsiteY2776" fmla="*/ 353906 h 790366"/>
                <a:gd name="connsiteX2777" fmla="*/ 606345 w 1466597"/>
                <a:gd name="connsiteY2777" fmla="*/ 356091 h 790366"/>
                <a:gd name="connsiteX2778" fmla="*/ 609404 w 1466597"/>
                <a:gd name="connsiteY2778" fmla="*/ 358807 h 790366"/>
                <a:gd name="connsiteX2779" fmla="*/ 608960 w 1466597"/>
                <a:gd name="connsiteY2779" fmla="*/ 360200 h 790366"/>
                <a:gd name="connsiteX2780" fmla="*/ 608199 w 1466597"/>
                <a:gd name="connsiteY2780" fmla="*/ 361006 h 790366"/>
                <a:gd name="connsiteX2781" fmla="*/ 606612 w 1466597"/>
                <a:gd name="connsiteY2781" fmla="*/ 361907 h 790366"/>
                <a:gd name="connsiteX2782" fmla="*/ 606021 w 1466597"/>
                <a:gd name="connsiteY2782" fmla="*/ 362608 h 790366"/>
                <a:gd name="connsiteX2783" fmla="*/ 606304 w 1466597"/>
                <a:gd name="connsiteY2783" fmla="*/ 363165 h 790366"/>
                <a:gd name="connsiteX2784" fmla="*/ 608561 w 1466597"/>
                <a:gd name="connsiteY2784" fmla="*/ 361547 h 790366"/>
                <a:gd name="connsiteX2785" fmla="*/ 612261 w 1466597"/>
                <a:gd name="connsiteY2785" fmla="*/ 359581 h 790366"/>
                <a:gd name="connsiteX2786" fmla="*/ 614331 w 1466597"/>
                <a:gd name="connsiteY2786" fmla="*/ 360437 h 790366"/>
                <a:gd name="connsiteX2787" fmla="*/ 615973 w 1466597"/>
                <a:gd name="connsiteY2787" fmla="*/ 361989 h 790366"/>
                <a:gd name="connsiteX2788" fmla="*/ 617783 w 1466597"/>
                <a:gd name="connsiteY2788" fmla="*/ 361963 h 790366"/>
                <a:gd name="connsiteX2789" fmla="*/ 623538 w 1466597"/>
                <a:gd name="connsiteY2789" fmla="*/ 360628 h 790366"/>
                <a:gd name="connsiteX2790" fmla="*/ 626461 w 1466597"/>
                <a:gd name="connsiteY2790" fmla="*/ 359214 h 790366"/>
                <a:gd name="connsiteX2791" fmla="*/ 630031 w 1466597"/>
                <a:gd name="connsiteY2791" fmla="*/ 355539 h 790366"/>
                <a:gd name="connsiteX2792" fmla="*/ 634783 w 1466597"/>
                <a:gd name="connsiteY2792" fmla="*/ 353159 h 790366"/>
                <a:gd name="connsiteX2793" fmla="*/ 641458 w 1466597"/>
                <a:gd name="connsiteY2793" fmla="*/ 345640 h 790366"/>
                <a:gd name="connsiteX2794" fmla="*/ 643423 w 1466597"/>
                <a:gd name="connsiteY2794" fmla="*/ 342548 h 790366"/>
                <a:gd name="connsiteX2795" fmla="*/ 645705 w 1466597"/>
                <a:gd name="connsiteY2795" fmla="*/ 342072 h 790366"/>
                <a:gd name="connsiteX2796" fmla="*/ 647766 w 1466597"/>
                <a:gd name="connsiteY2796" fmla="*/ 342346 h 790366"/>
                <a:gd name="connsiteX2797" fmla="*/ 649203 w 1466597"/>
                <a:gd name="connsiteY2797" fmla="*/ 344883 h 790366"/>
                <a:gd name="connsiteX2798" fmla="*/ 651301 w 1466597"/>
                <a:gd name="connsiteY2798" fmla="*/ 345625 h 790366"/>
                <a:gd name="connsiteX2799" fmla="*/ 663253 w 1466597"/>
                <a:gd name="connsiteY2799" fmla="*/ 345011 h 790366"/>
                <a:gd name="connsiteX2800" fmla="*/ 669360 w 1466597"/>
                <a:gd name="connsiteY2800" fmla="*/ 343848 h 790366"/>
                <a:gd name="connsiteX2801" fmla="*/ 673604 w 1466597"/>
                <a:gd name="connsiteY2801" fmla="*/ 341387 h 790366"/>
                <a:gd name="connsiteX2802" fmla="*/ 678016 w 1466597"/>
                <a:gd name="connsiteY2802" fmla="*/ 337237 h 790366"/>
                <a:gd name="connsiteX2803" fmla="*/ 680573 w 1466597"/>
                <a:gd name="connsiteY2803" fmla="*/ 334451 h 790366"/>
                <a:gd name="connsiteX2804" fmla="*/ 681796 w 1466597"/>
                <a:gd name="connsiteY2804" fmla="*/ 330817 h 790366"/>
                <a:gd name="connsiteX2805" fmla="*/ 680215 w 1466597"/>
                <a:gd name="connsiteY2805" fmla="*/ 326107 h 790366"/>
                <a:gd name="connsiteX2806" fmla="*/ 678597 w 1466597"/>
                <a:gd name="connsiteY2806" fmla="*/ 322187 h 790366"/>
                <a:gd name="connsiteX2807" fmla="*/ 676465 w 1466597"/>
                <a:gd name="connsiteY2807" fmla="*/ 313206 h 790366"/>
                <a:gd name="connsiteX2808" fmla="*/ 670531 w 1466597"/>
                <a:gd name="connsiteY2808" fmla="*/ 307256 h 790366"/>
                <a:gd name="connsiteX2809" fmla="*/ 666308 w 1466597"/>
                <a:gd name="connsiteY2809" fmla="*/ 305478 h 790366"/>
                <a:gd name="connsiteX2810" fmla="*/ 663628 w 1466597"/>
                <a:gd name="connsiteY2810" fmla="*/ 305730 h 790366"/>
                <a:gd name="connsiteX2811" fmla="*/ 665570 w 1466597"/>
                <a:gd name="connsiteY2811" fmla="*/ 301930 h 790366"/>
                <a:gd name="connsiteX2812" fmla="*/ 671221 w 1466597"/>
                <a:gd name="connsiteY2812" fmla="*/ 302339 h 790366"/>
                <a:gd name="connsiteX2813" fmla="*/ 674901 w 1466597"/>
                <a:gd name="connsiteY2813" fmla="*/ 301597 h 790366"/>
                <a:gd name="connsiteX2814" fmla="*/ 677882 w 1466597"/>
                <a:gd name="connsiteY2814" fmla="*/ 299762 h 790366"/>
                <a:gd name="connsiteX2815" fmla="*/ 678857 w 1466597"/>
                <a:gd name="connsiteY2815" fmla="*/ 298373 h 790366"/>
                <a:gd name="connsiteX2816" fmla="*/ 680329 w 1466597"/>
                <a:gd name="connsiteY2816" fmla="*/ 295530 h 790366"/>
                <a:gd name="connsiteX2817" fmla="*/ 679822 w 1466597"/>
                <a:gd name="connsiteY2817" fmla="*/ 292491 h 790366"/>
                <a:gd name="connsiteX2818" fmla="*/ 679030 w 1466597"/>
                <a:gd name="connsiteY2818" fmla="*/ 290844 h 790366"/>
                <a:gd name="connsiteX2819" fmla="*/ 676976 w 1466597"/>
                <a:gd name="connsiteY2819" fmla="*/ 289026 h 790366"/>
                <a:gd name="connsiteX2820" fmla="*/ 674533 w 1466597"/>
                <a:gd name="connsiteY2820" fmla="*/ 286362 h 790366"/>
                <a:gd name="connsiteX2821" fmla="*/ 672826 w 1466597"/>
                <a:gd name="connsiteY2821" fmla="*/ 285474 h 790366"/>
                <a:gd name="connsiteX2822" fmla="*/ 671378 w 1466597"/>
                <a:gd name="connsiteY2822" fmla="*/ 285534 h 790366"/>
                <a:gd name="connsiteX2823" fmla="*/ 664249 w 1466597"/>
                <a:gd name="connsiteY2823" fmla="*/ 290872 h 790366"/>
                <a:gd name="connsiteX2824" fmla="*/ 659975 w 1466597"/>
                <a:gd name="connsiteY2824" fmla="*/ 290970 h 790366"/>
                <a:gd name="connsiteX2825" fmla="*/ 656775 w 1466597"/>
                <a:gd name="connsiteY2825" fmla="*/ 289988 h 790366"/>
                <a:gd name="connsiteX2826" fmla="*/ 653996 w 1466597"/>
                <a:gd name="connsiteY2826" fmla="*/ 293026 h 790366"/>
                <a:gd name="connsiteX2827" fmla="*/ 646242 w 1466597"/>
                <a:gd name="connsiteY2827" fmla="*/ 295688 h 790366"/>
                <a:gd name="connsiteX2828" fmla="*/ 642101 w 1466597"/>
                <a:gd name="connsiteY2828" fmla="*/ 298374 h 790366"/>
                <a:gd name="connsiteX2829" fmla="*/ 634420 w 1466597"/>
                <a:gd name="connsiteY2829" fmla="*/ 305031 h 790366"/>
                <a:gd name="connsiteX2830" fmla="*/ 632496 w 1466597"/>
                <a:gd name="connsiteY2830" fmla="*/ 308037 h 790366"/>
                <a:gd name="connsiteX2831" fmla="*/ 630049 w 1466597"/>
                <a:gd name="connsiteY2831" fmla="*/ 308173 h 790366"/>
                <a:gd name="connsiteX2832" fmla="*/ 628280 w 1466597"/>
                <a:gd name="connsiteY2832" fmla="*/ 302339 h 790366"/>
                <a:gd name="connsiteX2833" fmla="*/ 619924 w 1466597"/>
                <a:gd name="connsiteY2833" fmla="*/ 296762 h 790366"/>
                <a:gd name="connsiteX2834" fmla="*/ 617401 w 1466597"/>
                <a:gd name="connsiteY2834" fmla="*/ 298660 h 790366"/>
                <a:gd name="connsiteX2835" fmla="*/ 618793 w 1466597"/>
                <a:gd name="connsiteY2835" fmla="*/ 300413 h 790366"/>
                <a:gd name="connsiteX2836" fmla="*/ 620686 w 1466597"/>
                <a:gd name="connsiteY2836" fmla="*/ 301660 h 790366"/>
                <a:gd name="connsiteX2837" fmla="*/ 623807 w 1466597"/>
                <a:gd name="connsiteY2837" fmla="*/ 302203 h 790366"/>
                <a:gd name="connsiteX2838" fmla="*/ 622461 w 1466597"/>
                <a:gd name="connsiteY2838" fmla="*/ 303892 h 790366"/>
                <a:gd name="connsiteX2839" fmla="*/ 621446 w 1466597"/>
                <a:gd name="connsiteY2839" fmla="*/ 306139 h 790366"/>
                <a:gd name="connsiteX2840" fmla="*/ 618315 w 1466597"/>
                <a:gd name="connsiteY2840" fmla="*/ 304031 h 790366"/>
                <a:gd name="connsiteX2841" fmla="*/ 612724 w 1466597"/>
                <a:gd name="connsiteY2841" fmla="*/ 300968 h 790366"/>
                <a:gd name="connsiteX2842" fmla="*/ 606935 w 1466597"/>
                <a:gd name="connsiteY2842" fmla="*/ 299387 h 790366"/>
                <a:gd name="connsiteX2843" fmla="*/ 591863 w 1466597"/>
                <a:gd name="connsiteY2843" fmla="*/ 299563 h 790366"/>
                <a:gd name="connsiteX2844" fmla="*/ 581968 w 1466597"/>
                <a:gd name="connsiteY2844" fmla="*/ 302708 h 790366"/>
                <a:gd name="connsiteX2845" fmla="*/ 581057 w 1466597"/>
                <a:gd name="connsiteY2845" fmla="*/ 302056 h 790366"/>
                <a:gd name="connsiteX2846" fmla="*/ 580103 w 1466597"/>
                <a:gd name="connsiteY2846" fmla="*/ 301796 h 790366"/>
                <a:gd name="connsiteX2847" fmla="*/ 578455 w 1466597"/>
                <a:gd name="connsiteY2847" fmla="*/ 302546 h 790366"/>
                <a:gd name="connsiteX2848" fmla="*/ 577747 w 1466597"/>
                <a:gd name="connsiteY2848" fmla="*/ 303822 h 790366"/>
                <a:gd name="connsiteX2849" fmla="*/ 576670 w 1466597"/>
                <a:gd name="connsiteY2849" fmla="*/ 304629 h 790366"/>
                <a:gd name="connsiteX2850" fmla="*/ 574648 w 1466597"/>
                <a:gd name="connsiteY2850" fmla="*/ 304915 h 790366"/>
                <a:gd name="connsiteX2851" fmla="*/ 570582 w 1466597"/>
                <a:gd name="connsiteY2851" fmla="*/ 304440 h 790366"/>
                <a:gd name="connsiteX2852" fmla="*/ 562724 w 1466597"/>
                <a:gd name="connsiteY2852" fmla="*/ 302486 h 790366"/>
                <a:gd name="connsiteX2853" fmla="*/ 544954 w 1466597"/>
                <a:gd name="connsiteY2853" fmla="*/ 299611 h 790366"/>
                <a:gd name="connsiteX2854" fmla="*/ 540303 w 1466597"/>
                <a:gd name="connsiteY2854" fmla="*/ 297844 h 790366"/>
                <a:gd name="connsiteX2855" fmla="*/ 536316 w 1466597"/>
                <a:gd name="connsiteY2855" fmla="*/ 293627 h 790366"/>
                <a:gd name="connsiteX2856" fmla="*/ 536400 w 1466597"/>
                <a:gd name="connsiteY2856" fmla="*/ 290761 h 790366"/>
                <a:gd name="connsiteX2857" fmla="*/ 538171 w 1466597"/>
                <a:gd name="connsiteY2857" fmla="*/ 289547 h 790366"/>
                <a:gd name="connsiteX2858" fmla="*/ 538004 w 1466597"/>
                <a:gd name="connsiteY2858" fmla="*/ 285431 h 790366"/>
                <a:gd name="connsiteX2859" fmla="*/ 534544 w 1466597"/>
                <a:gd name="connsiteY2859" fmla="*/ 284334 h 790366"/>
                <a:gd name="connsiteX2860" fmla="*/ 527501 w 1466597"/>
                <a:gd name="connsiteY2860" fmla="*/ 278403 h 790366"/>
                <a:gd name="connsiteX2861" fmla="*/ 524912 w 1466597"/>
                <a:gd name="connsiteY2861" fmla="*/ 275869 h 790366"/>
                <a:gd name="connsiteX2862" fmla="*/ 525475 w 1466597"/>
                <a:gd name="connsiteY2862" fmla="*/ 275590 h 790366"/>
                <a:gd name="connsiteX2863" fmla="*/ 526739 w 1466597"/>
                <a:gd name="connsiteY2863" fmla="*/ 276278 h 790366"/>
                <a:gd name="connsiteX2864" fmla="*/ 529144 w 1466597"/>
                <a:gd name="connsiteY2864" fmla="*/ 276791 h 790366"/>
                <a:gd name="connsiteX2865" fmla="*/ 535050 w 1466597"/>
                <a:gd name="connsiteY2865" fmla="*/ 275967 h 790366"/>
                <a:gd name="connsiteX2866" fmla="*/ 537075 w 1466597"/>
                <a:gd name="connsiteY2866" fmla="*/ 272118 h 790366"/>
                <a:gd name="connsiteX2867" fmla="*/ 541462 w 1466597"/>
                <a:gd name="connsiteY2867" fmla="*/ 271015 h 790366"/>
                <a:gd name="connsiteX2868" fmla="*/ 545497 w 1466597"/>
                <a:gd name="connsiteY2868" fmla="*/ 271557 h 790366"/>
                <a:gd name="connsiteX2869" fmla="*/ 544591 w 1466597"/>
                <a:gd name="connsiteY2869" fmla="*/ 270513 h 790366"/>
                <a:gd name="connsiteX2870" fmla="*/ 543561 w 1466597"/>
                <a:gd name="connsiteY2870" fmla="*/ 269691 h 790366"/>
                <a:gd name="connsiteX2871" fmla="*/ 533051 w 1466597"/>
                <a:gd name="connsiteY2871" fmla="*/ 267725 h 790366"/>
                <a:gd name="connsiteX2872" fmla="*/ 531624 w 1466597"/>
                <a:gd name="connsiteY2872" fmla="*/ 268329 h 790366"/>
                <a:gd name="connsiteX2873" fmla="*/ 512780 w 1466597"/>
                <a:gd name="connsiteY2873" fmla="*/ 264831 h 790366"/>
                <a:gd name="connsiteX2874" fmla="*/ 497902 w 1466597"/>
                <a:gd name="connsiteY2874" fmla="*/ 258742 h 790366"/>
                <a:gd name="connsiteX2875" fmla="*/ 496683 w 1466597"/>
                <a:gd name="connsiteY2875" fmla="*/ 257575 h 790366"/>
                <a:gd name="connsiteX2876" fmla="*/ 495322 w 1466597"/>
                <a:gd name="connsiteY2876" fmla="*/ 254972 h 790366"/>
                <a:gd name="connsiteX2877" fmla="*/ 497329 w 1466597"/>
                <a:gd name="connsiteY2877" fmla="*/ 252397 h 790366"/>
                <a:gd name="connsiteX2878" fmla="*/ 499348 w 1466597"/>
                <a:gd name="connsiteY2878" fmla="*/ 251179 h 790366"/>
                <a:gd name="connsiteX2879" fmla="*/ 499440 w 1466597"/>
                <a:gd name="connsiteY2879" fmla="*/ 252597 h 790366"/>
                <a:gd name="connsiteX2880" fmla="*/ 499761 w 1466597"/>
                <a:gd name="connsiteY2880" fmla="*/ 253989 h 790366"/>
                <a:gd name="connsiteX2881" fmla="*/ 508290 w 1466597"/>
                <a:gd name="connsiteY2881" fmla="*/ 250751 h 790366"/>
                <a:gd name="connsiteX2882" fmla="*/ 512747 w 1466597"/>
                <a:gd name="connsiteY2882" fmla="*/ 246504 h 790366"/>
                <a:gd name="connsiteX2883" fmla="*/ 521194 w 1466597"/>
                <a:gd name="connsiteY2883" fmla="*/ 245758 h 790366"/>
                <a:gd name="connsiteX2884" fmla="*/ 523158 w 1466597"/>
                <a:gd name="connsiteY2884" fmla="*/ 244584 h 790366"/>
                <a:gd name="connsiteX2885" fmla="*/ 525779 w 1466597"/>
                <a:gd name="connsiteY2885" fmla="*/ 242297 h 790366"/>
                <a:gd name="connsiteX2886" fmla="*/ 529525 w 1466597"/>
                <a:gd name="connsiteY2886" fmla="*/ 238388 h 790366"/>
                <a:gd name="connsiteX2887" fmla="*/ 534818 w 1466597"/>
                <a:gd name="connsiteY2887" fmla="*/ 236326 h 790366"/>
                <a:gd name="connsiteX2888" fmla="*/ 538426 w 1466597"/>
                <a:gd name="connsiteY2888" fmla="*/ 234474 h 790366"/>
                <a:gd name="connsiteX2889" fmla="*/ 543122 w 1466597"/>
                <a:gd name="connsiteY2889" fmla="*/ 233381 h 790366"/>
                <a:gd name="connsiteX2890" fmla="*/ 547132 w 1466597"/>
                <a:gd name="connsiteY2890" fmla="*/ 235201 h 790366"/>
                <a:gd name="connsiteX2891" fmla="*/ 548368 w 1466597"/>
                <a:gd name="connsiteY2891" fmla="*/ 235450 h 790366"/>
                <a:gd name="connsiteX2892" fmla="*/ 555646 w 1466597"/>
                <a:gd name="connsiteY2892" fmla="*/ 235823 h 790366"/>
                <a:gd name="connsiteX2893" fmla="*/ 558038 w 1466597"/>
                <a:gd name="connsiteY2893" fmla="*/ 235033 h 790366"/>
                <a:gd name="connsiteX2894" fmla="*/ 559056 w 1466597"/>
                <a:gd name="connsiteY2894" fmla="*/ 234446 h 790366"/>
                <a:gd name="connsiteX2895" fmla="*/ 559815 w 1466597"/>
                <a:gd name="connsiteY2895" fmla="*/ 233515 h 790366"/>
                <a:gd name="connsiteX2896" fmla="*/ 552671 w 1466597"/>
                <a:gd name="connsiteY2896" fmla="*/ 230212 h 790366"/>
                <a:gd name="connsiteX2897" fmla="*/ 553397 w 1466597"/>
                <a:gd name="connsiteY2897" fmla="*/ 228371 h 790366"/>
                <a:gd name="connsiteX2898" fmla="*/ 554306 w 1466597"/>
                <a:gd name="connsiteY2898" fmla="*/ 227075 h 790366"/>
                <a:gd name="connsiteX2899" fmla="*/ 562641 w 1466597"/>
                <a:gd name="connsiteY2899" fmla="*/ 223216 h 790366"/>
                <a:gd name="connsiteX2900" fmla="*/ 569048 w 1466597"/>
                <a:gd name="connsiteY2900" fmla="*/ 221939 h 790366"/>
                <a:gd name="connsiteX2901" fmla="*/ 572475 w 1466597"/>
                <a:gd name="connsiteY2901" fmla="*/ 222027 h 790366"/>
                <a:gd name="connsiteX2902" fmla="*/ 582421 w 1466597"/>
                <a:gd name="connsiteY2902" fmla="*/ 217037 h 790366"/>
                <a:gd name="connsiteX2903" fmla="*/ 587869 w 1466597"/>
                <a:gd name="connsiteY2903" fmla="*/ 215614 h 790366"/>
                <a:gd name="connsiteX2904" fmla="*/ 598131 w 1466597"/>
                <a:gd name="connsiteY2904" fmla="*/ 214662 h 790366"/>
                <a:gd name="connsiteX2905" fmla="*/ 606563 w 1466597"/>
                <a:gd name="connsiteY2905" fmla="*/ 214416 h 790366"/>
                <a:gd name="connsiteX2906" fmla="*/ 608845 w 1466597"/>
                <a:gd name="connsiteY2906" fmla="*/ 216200 h 790366"/>
                <a:gd name="connsiteX2907" fmla="*/ 604318 w 1466597"/>
                <a:gd name="connsiteY2907" fmla="*/ 215823 h 790366"/>
                <a:gd name="connsiteX2908" fmla="*/ 602322 w 1466597"/>
                <a:gd name="connsiteY2908" fmla="*/ 216149 h 790366"/>
                <a:gd name="connsiteX2909" fmla="*/ 603743 w 1466597"/>
                <a:gd name="connsiteY2909" fmla="*/ 216758 h 790366"/>
                <a:gd name="connsiteX2910" fmla="*/ 605344 w 1466597"/>
                <a:gd name="connsiteY2910" fmla="*/ 218056 h 790366"/>
                <a:gd name="connsiteX2911" fmla="*/ 604880 w 1466597"/>
                <a:gd name="connsiteY2911" fmla="*/ 219696 h 790366"/>
                <a:gd name="connsiteX2912" fmla="*/ 602095 w 1466597"/>
                <a:gd name="connsiteY2912" fmla="*/ 224555 h 790366"/>
                <a:gd name="connsiteX2913" fmla="*/ 602322 w 1466597"/>
                <a:gd name="connsiteY2913" fmla="*/ 228439 h 790366"/>
                <a:gd name="connsiteX2914" fmla="*/ 600509 w 1466597"/>
                <a:gd name="connsiteY2914" fmla="*/ 229692 h 790366"/>
                <a:gd name="connsiteX2915" fmla="*/ 598756 w 1466597"/>
                <a:gd name="connsiteY2915" fmla="*/ 231465 h 790366"/>
                <a:gd name="connsiteX2916" fmla="*/ 607388 w 1466597"/>
                <a:gd name="connsiteY2916" fmla="*/ 237036 h 790366"/>
                <a:gd name="connsiteX2917" fmla="*/ 620753 w 1466597"/>
                <a:gd name="connsiteY2917" fmla="*/ 237391 h 790366"/>
                <a:gd name="connsiteX2918" fmla="*/ 628022 w 1466597"/>
                <a:gd name="connsiteY2918" fmla="*/ 236386 h 790366"/>
                <a:gd name="connsiteX2919" fmla="*/ 632224 w 1466597"/>
                <a:gd name="connsiteY2919" fmla="*/ 238051 h 790366"/>
                <a:gd name="connsiteX2920" fmla="*/ 635665 w 1466597"/>
                <a:gd name="connsiteY2920" fmla="*/ 238430 h 790366"/>
                <a:gd name="connsiteX2921" fmla="*/ 645170 w 1466597"/>
                <a:gd name="connsiteY2921" fmla="*/ 237577 h 790366"/>
                <a:gd name="connsiteX2922" fmla="*/ 652328 w 1466597"/>
                <a:gd name="connsiteY2922" fmla="*/ 238767 h 790366"/>
                <a:gd name="connsiteX2923" fmla="*/ 655323 w 1466597"/>
                <a:gd name="connsiteY2923" fmla="*/ 238310 h 790366"/>
                <a:gd name="connsiteX2924" fmla="*/ 661941 w 1466597"/>
                <a:gd name="connsiteY2924" fmla="*/ 229981 h 790366"/>
                <a:gd name="connsiteX2925" fmla="*/ 664529 w 1466597"/>
                <a:gd name="connsiteY2925" fmla="*/ 228672 h 790366"/>
                <a:gd name="connsiteX2926" fmla="*/ 667344 w 1466597"/>
                <a:gd name="connsiteY2926" fmla="*/ 230124 h 790366"/>
                <a:gd name="connsiteX2927" fmla="*/ 671017 w 1466597"/>
                <a:gd name="connsiteY2927" fmla="*/ 231301 h 790366"/>
                <a:gd name="connsiteX2928" fmla="*/ 673360 w 1466597"/>
                <a:gd name="connsiteY2928" fmla="*/ 230448 h 790366"/>
                <a:gd name="connsiteX2929" fmla="*/ 675272 w 1466597"/>
                <a:gd name="connsiteY2929" fmla="*/ 232595 h 790366"/>
                <a:gd name="connsiteX2930" fmla="*/ 674373 w 1466597"/>
                <a:gd name="connsiteY2930" fmla="*/ 228111 h 790366"/>
                <a:gd name="connsiteX2931" fmla="*/ 673077 w 1466597"/>
                <a:gd name="connsiteY2931" fmla="*/ 226427 h 790366"/>
                <a:gd name="connsiteX2932" fmla="*/ 662258 w 1466597"/>
                <a:gd name="connsiteY2932" fmla="*/ 223338 h 790366"/>
                <a:gd name="connsiteX2933" fmla="*/ 655020 w 1466597"/>
                <a:gd name="connsiteY2933" fmla="*/ 224874 h 790366"/>
                <a:gd name="connsiteX2934" fmla="*/ 652757 w 1466597"/>
                <a:gd name="connsiteY2934" fmla="*/ 223134 h 790366"/>
                <a:gd name="connsiteX2935" fmla="*/ 653504 w 1466597"/>
                <a:gd name="connsiteY2935" fmla="*/ 219678 h 790366"/>
                <a:gd name="connsiteX2936" fmla="*/ 645760 w 1466597"/>
                <a:gd name="connsiteY2936" fmla="*/ 211143 h 790366"/>
                <a:gd name="connsiteX2937" fmla="*/ 642531 w 1466597"/>
                <a:gd name="connsiteY2937" fmla="*/ 209407 h 790366"/>
                <a:gd name="connsiteX2938" fmla="*/ 638713 w 1466597"/>
                <a:gd name="connsiteY2938" fmla="*/ 209325 h 790366"/>
                <a:gd name="connsiteX2939" fmla="*/ 636768 w 1466597"/>
                <a:gd name="connsiteY2939" fmla="*/ 206351 h 790366"/>
                <a:gd name="connsiteX2940" fmla="*/ 635142 w 1466597"/>
                <a:gd name="connsiteY2940" fmla="*/ 202525 h 790366"/>
                <a:gd name="connsiteX2941" fmla="*/ 638435 w 1466597"/>
                <a:gd name="connsiteY2941" fmla="*/ 200961 h 790366"/>
                <a:gd name="connsiteX2942" fmla="*/ 641412 w 1466597"/>
                <a:gd name="connsiteY2942" fmla="*/ 200252 h 790366"/>
                <a:gd name="connsiteX2943" fmla="*/ 644168 w 1466597"/>
                <a:gd name="connsiteY2943" fmla="*/ 201483 h 790366"/>
                <a:gd name="connsiteX2944" fmla="*/ 647285 w 1466597"/>
                <a:gd name="connsiteY2944" fmla="*/ 206512 h 790366"/>
                <a:gd name="connsiteX2945" fmla="*/ 650188 w 1466597"/>
                <a:gd name="connsiteY2945" fmla="*/ 207249 h 790366"/>
                <a:gd name="connsiteX2946" fmla="*/ 649343 w 1466597"/>
                <a:gd name="connsiteY2946" fmla="*/ 212247 h 790366"/>
                <a:gd name="connsiteX2947" fmla="*/ 652942 w 1466597"/>
                <a:gd name="connsiteY2947" fmla="*/ 216842 h 790366"/>
                <a:gd name="connsiteX2948" fmla="*/ 661069 w 1466597"/>
                <a:gd name="connsiteY2948" fmla="*/ 221106 h 790366"/>
                <a:gd name="connsiteX2949" fmla="*/ 667577 w 1466597"/>
                <a:gd name="connsiteY2949" fmla="*/ 219538 h 790366"/>
                <a:gd name="connsiteX2950" fmla="*/ 672172 w 1466597"/>
                <a:gd name="connsiteY2950" fmla="*/ 219581 h 790366"/>
                <a:gd name="connsiteX2951" fmla="*/ 674919 w 1466597"/>
                <a:gd name="connsiteY2951" fmla="*/ 220480 h 790366"/>
                <a:gd name="connsiteX2952" fmla="*/ 681645 w 1466597"/>
                <a:gd name="connsiteY2952" fmla="*/ 224300 h 790366"/>
                <a:gd name="connsiteX2953" fmla="*/ 685061 w 1466597"/>
                <a:gd name="connsiteY2953" fmla="*/ 224780 h 790366"/>
                <a:gd name="connsiteX2954" fmla="*/ 695746 w 1466597"/>
                <a:gd name="connsiteY2954" fmla="*/ 222775 h 790366"/>
                <a:gd name="connsiteX2955" fmla="*/ 695857 w 1466597"/>
                <a:gd name="connsiteY2955" fmla="*/ 219018 h 790366"/>
                <a:gd name="connsiteX2956" fmla="*/ 694959 w 1466597"/>
                <a:gd name="connsiteY2956" fmla="*/ 216294 h 790366"/>
                <a:gd name="connsiteX2957" fmla="*/ 692450 w 1466597"/>
                <a:gd name="connsiteY2957" fmla="*/ 214586 h 790366"/>
                <a:gd name="connsiteX2958" fmla="*/ 685234 w 1466597"/>
                <a:gd name="connsiteY2958" fmla="*/ 214907 h 790366"/>
                <a:gd name="connsiteX2959" fmla="*/ 679616 w 1466597"/>
                <a:gd name="connsiteY2959" fmla="*/ 212094 h 790366"/>
                <a:gd name="connsiteX2960" fmla="*/ 674833 w 1466597"/>
                <a:gd name="connsiteY2960" fmla="*/ 212866 h 790366"/>
                <a:gd name="connsiteX2961" fmla="*/ 665993 w 1466597"/>
                <a:gd name="connsiteY2961" fmla="*/ 217173 h 790366"/>
                <a:gd name="connsiteX2962" fmla="*/ 661562 w 1466597"/>
                <a:gd name="connsiteY2962" fmla="*/ 215478 h 790366"/>
                <a:gd name="connsiteX2963" fmla="*/ 658776 w 1466597"/>
                <a:gd name="connsiteY2963" fmla="*/ 213177 h 790366"/>
                <a:gd name="connsiteX2964" fmla="*/ 654292 w 1466597"/>
                <a:gd name="connsiteY2964" fmla="*/ 210835 h 790366"/>
                <a:gd name="connsiteX2965" fmla="*/ 653730 w 1466597"/>
                <a:gd name="connsiteY2965" fmla="*/ 206401 h 790366"/>
                <a:gd name="connsiteX2966" fmla="*/ 657492 w 1466597"/>
                <a:gd name="connsiteY2966" fmla="*/ 201304 h 790366"/>
                <a:gd name="connsiteX2967" fmla="*/ 660274 w 1466597"/>
                <a:gd name="connsiteY2967" fmla="*/ 198877 h 790366"/>
                <a:gd name="connsiteX2968" fmla="*/ 657781 w 1466597"/>
                <a:gd name="connsiteY2968" fmla="*/ 197105 h 790366"/>
                <a:gd name="connsiteX2969" fmla="*/ 651519 w 1466597"/>
                <a:gd name="connsiteY2969" fmla="*/ 195857 h 790366"/>
                <a:gd name="connsiteX2970" fmla="*/ 640648 w 1466597"/>
                <a:gd name="connsiteY2970" fmla="*/ 197134 h 790366"/>
                <a:gd name="connsiteX2971" fmla="*/ 640137 w 1466597"/>
                <a:gd name="connsiteY2971" fmla="*/ 195395 h 790366"/>
                <a:gd name="connsiteX2972" fmla="*/ 640192 w 1466597"/>
                <a:gd name="connsiteY2972" fmla="*/ 193515 h 790366"/>
                <a:gd name="connsiteX2973" fmla="*/ 635761 w 1466597"/>
                <a:gd name="connsiteY2973" fmla="*/ 197193 h 790366"/>
                <a:gd name="connsiteX2974" fmla="*/ 631212 w 1466597"/>
                <a:gd name="connsiteY2974" fmla="*/ 196422 h 790366"/>
                <a:gd name="connsiteX2975" fmla="*/ 625082 w 1466597"/>
                <a:gd name="connsiteY2975" fmla="*/ 196815 h 790366"/>
                <a:gd name="connsiteX2976" fmla="*/ 611560 w 1466597"/>
                <a:gd name="connsiteY2976" fmla="*/ 193575 h 790366"/>
                <a:gd name="connsiteX2977" fmla="*/ 606745 w 1466597"/>
                <a:gd name="connsiteY2977" fmla="*/ 189567 h 790366"/>
                <a:gd name="connsiteX2978" fmla="*/ 604724 w 1466597"/>
                <a:gd name="connsiteY2978" fmla="*/ 186309 h 790366"/>
                <a:gd name="connsiteX2979" fmla="*/ 601080 w 1466597"/>
                <a:gd name="connsiteY2979" fmla="*/ 177364 h 790366"/>
                <a:gd name="connsiteX2980" fmla="*/ 596422 w 1466597"/>
                <a:gd name="connsiteY2980" fmla="*/ 171755 h 790366"/>
                <a:gd name="connsiteX2981" fmla="*/ 564259 w 1466597"/>
                <a:gd name="connsiteY2981" fmla="*/ 152587 h 790366"/>
                <a:gd name="connsiteX2982" fmla="*/ 549628 w 1466597"/>
                <a:gd name="connsiteY2982" fmla="*/ 147744 h 790366"/>
                <a:gd name="connsiteX2983" fmla="*/ 542579 w 1466597"/>
                <a:gd name="connsiteY2983" fmla="*/ 142373 h 790366"/>
                <a:gd name="connsiteX2984" fmla="*/ 538160 w 1466597"/>
                <a:gd name="connsiteY2984" fmla="*/ 141051 h 790366"/>
                <a:gd name="connsiteX2985" fmla="*/ 533942 w 1466597"/>
                <a:gd name="connsiteY2985" fmla="*/ 140508 h 790366"/>
                <a:gd name="connsiteX2986" fmla="*/ 528538 w 1466597"/>
                <a:gd name="connsiteY2986" fmla="*/ 138772 h 790366"/>
                <a:gd name="connsiteX2987" fmla="*/ 532171 w 1466597"/>
                <a:gd name="connsiteY2987" fmla="*/ 136636 h 790366"/>
                <a:gd name="connsiteX2988" fmla="*/ 534671 w 1466597"/>
                <a:gd name="connsiteY2988" fmla="*/ 135914 h 790366"/>
                <a:gd name="connsiteX2989" fmla="*/ 532069 w 1466597"/>
                <a:gd name="connsiteY2989" fmla="*/ 138145 h 790366"/>
                <a:gd name="connsiteX2990" fmla="*/ 534046 w 1466597"/>
                <a:gd name="connsiteY2990" fmla="*/ 138707 h 790366"/>
                <a:gd name="connsiteX2991" fmla="*/ 537193 w 1466597"/>
                <a:gd name="connsiteY2991" fmla="*/ 137420 h 790366"/>
                <a:gd name="connsiteX2992" fmla="*/ 538889 w 1466597"/>
                <a:gd name="connsiteY2992" fmla="*/ 135878 h 790366"/>
                <a:gd name="connsiteX2993" fmla="*/ 541378 w 1466597"/>
                <a:gd name="connsiteY2993" fmla="*/ 129325 h 790366"/>
                <a:gd name="connsiteX2994" fmla="*/ 543953 w 1466597"/>
                <a:gd name="connsiteY2994" fmla="*/ 119376 h 790366"/>
                <a:gd name="connsiteX2995" fmla="*/ 543264 w 1466597"/>
                <a:gd name="connsiteY2995" fmla="*/ 115448 h 790366"/>
                <a:gd name="connsiteX2996" fmla="*/ 561110 w 1466597"/>
                <a:gd name="connsiteY2996" fmla="*/ 116241 h 790366"/>
                <a:gd name="connsiteX2997" fmla="*/ 572986 w 1466597"/>
                <a:gd name="connsiteY2997" fmla="*/ 115578 h 790366"/>
                <a:gd name="connsiteX2998" fmla="*/ 576920 w 1466597"/>
                <a:gd name="connsiteY2998" fmla="*/ 114687 h 790366"/>
                <a:gd name="connsiteX2999" fmla="*/ 591905 w 1466597"/>
                <a:gd name="connsiteY2999" fmla="*/ 113168 h 790366"/>
                <a:gd name="connsiteX3000" fmla="*/ 595785 w 1466597"/>
                <a:gd name="connsiteY3000" fmla="*/ 112065 h 790366"/>
                <a:gd name="connsiteX3001" fmla="*/ 602985 w 1466597"/>
                <a:gd name="connsiteY3001" fmla="*/ 108691 h 790366"/>
                <a:gd name="connsiteX3002" fmla="*/ 611461 w 1466597"/>
                <a:gd name="connsiteY3002" fmla="*/ 102713 h 790366"/>
                <a:gd name="connsiteX3003" fmla="*/ 618735 w 1466597"/>
                <a:gd name="connsiteY3003" fmla="*/ 94839 h 790366"/>
                <a:gd name="connsiteX3004" fmla="*/ 619892 w 1466597"/>
                <a:gd name="connsiteY3004" fmla="*/ 92714 h 790366"/>
                <a:gd name="connsiteX3005" fmla="*/ 620354 w 1466597"/>
                <a:gd name="connsiteY3005" fmla="*/ 93259 h 790366"/>
                <a:gd name="connsiteX3006" fmla="*/ 621007 w 1466597"/>
                <a:gd name="connsiteY3006" fmla="*/ 92922 h 790366"/>
                <a:gd name="connsiteX3007" fmla="*/ 621785 w 1466597"/>
                <a:gd name="connsiteY3007" fmla="*/ 89929 h 790366"/>
                <a:gd name="connsiteX3008" fmla="*/ 622739 w 1466597"/>
                <a:gd name="connsiteY3008" fmla="*/ 82864 h 790366"/>
                <a:gd name="connsiteX3009" fmla="*/ 626348 w 1466597"/>
                <a:gd name="connsiteY3009" fmla="*/ 76182 h 790366"/>
                <a:gd name="connsiteX3010" fmla="*/ 641697 w 1466597"/>
                <a:gd name="connsiteY3010" fmla="*/ 60877 h 790366"/>
                <a:gd name="connsiteX3011" fmla="*/ 648821 w 1466597"/>
                <a:gd name="connsiteY3011" fmla="*/ 54786 h 790366"/>
                <a:gd name="connsiteX3012" fmla="*/ 651199 w 1466597"/>
                <a:gd name="connsiteY3012" fmla="*/ 52014 h 790366"/>
                <a:gd name="connsiteX3013" fmla="*/ 653674 w 1466597"/>
                <a:gd name="connsiteY3013" fmla="*/ 49989 h 790366"/>
                <a:gd name="connsiteX3014" fmla="*/ 655417 w 1466597"/>
                <a:gd name="connsiteY3014" fmla="*/ 51913 h 790366"/>
                <a:gd name="connsiteX3015" fmla="*/ 656250 w 1466597"/>
                <a:gd name="connsiteY3015" fmla="*/ 52486 h 790366"/>
                <a:gd name="connsiteX3016" fmla="*/ 656731 w 1466597"/>
                <a:gd name="connsiteY3016" fmla="*/ 53390 h 790366"/>
                <a:gd name="connsiteX3017" fmla="*/ 655268 w 1466597"/>
                <a:gd name="connsiteY3017" fmla="*/ 53813 h 790366"/>
                <a:gd name="connsiteX3018" fmla="*/ 652883 w 1466597"/>
                <a:gd name="connsiteY3018" fmla="*/ 55782 h 790366"/>
                <a:gd name="connsiteX3019" fmla="*/ 649556 w 1466597"/>
                <a:gd name="connsiteY3019" fmla="*/ 57102 h 790366"/>
                <a:gd name="connsiteX3020" fmla="*/ 648751 w 1466597"/>
                <a:gd name="connsiteY3020" fmla="*/ 57774 h 790366"/>
                <a:gd name="connsiteX3021" fmla="*/ 650703 w 1466597"/>
                <a:gd name="connsiteY3021" fmla="*/ 57624 h 790366"/>
                <a:gd name="connsiteX3022" fmla="*/ 656551 w 1466597"/>
                <a:gd name="connsiteY3022" fmla="*/ 56192 h 790366"/>
                <a:gd name="connsiteX3023" fmla="*/ 659845 w 1466597"/>
                <a:gd name="connsiteY3023" fmla="*/ 54451 h 790366"/>
                <a:gd name="connsiteX3024" fmla="*/ 676241 w 1466597"/>
                <a:gd name="connsiteY3024" fmla="*/ 51236 h 790366"/>
                <a:gd name="connsiteX3025" fmla="*/ 685134 w 1466597"/>
                <a:gd name="connsiteY3025" fmla="*/ 45906 h 790366"/>
                <a:gd name="connsiteX3026" fmla="*/ 685479 w 1466597"/>
                <a:gd name="connsiteY3026" fmla="*/ 44716 h 790366"/>
                <a:gd name="connsiteX3027" fmla="*/ 698669 w 1466597"/>
                <a:gd name="connsiteY3027" fmla="*/ 38037 h 790366"/>
                <a:gd name="connsiteX3028" fmla="*/ 700494 w 1466597"/>
                <a:gd name="connsiteY3028" fmla="*/ 38297 h 790366"/>
                <a:gd name="connsiteX3029" fmla="*/ 702596 w 1466597"/>
                <a:gd name="connsiteY3029" fmla="*/ 39103 h 790366"/>
                <a:gd name="connsiteX3030" fmla="*/ 698943 w 1466597"/>
                <a:gd name="connsiteY3030" fmla="*/ 43512 h 790366"/>
                <a:gd name="connsiteX3031" fmla="*/ 701515 w 1466597"/>
                <a:gd name="connsiteY3031" fmla="*/ 44663 h 790366"/>
                <a:gd name="connsiteX3032" fmla="*/ 699231 w 1466597"/>
                <a:gd name="connsiteY3032" fmla="*/ 49918 h 790366"/>
                <a:gd name="connsiteX3033" fmla="*/ 704015 w 1466597"/>
                <a:gd name="connsiteY3033" fmla="*/ 50002 h 790366"/>
                <a:gd name="connsiteX3034" fmla="*/ 705084 w 1466597"/>
                <a:gd name="connsiteY3034" fmla="*/ 52417 h 790366"/>
                <a:gd name="connsiteX3035" fmla="*/ 705350 w 1466597"/>
                <a:gd name="connsiteY3035" fmla="*/ 50336 h 790366"/>
                <a:gd name="connsiteX3036" fmla="*/ 705291 w 1466597"/>
                <a:gd name="connsiteY3036" fmla="*/ 47345 h 790366"/>
                <a:gd name="connsiteX3037" fmla="*/ 705671 w 1466597"/>
                <a:gd name="connsiteY3037" fmla="*/ 44411 h 790366"/>
                <a:gd name="connsiteX3038" fmla="*/ 706376 w 1466597"/>
                <a:gd name="connsiteY3038" fmla="*/ 42381 h 790366"/>
                <a:gd name="connsiteX3039" fmla="*/ 709735 w 1466597"/>
                <a:gd name="connsiteY3039" fmla="*/ 43300 h 790366"/>
                <a:gd name="connsiteX3040" fmla="*/ 717300 w 1466597"/>
                <a:gd name="connsiteY3040" fmla="*/ 41117 h 790366"/>
                <a:gd name="connsiteX3041" fmla="*/ 708132 w 1466597"/>
                <a:gd name="connsiteY3041" fmla="*/ 40841 h 790366"/>
                <a:gd name="connsiteX3042" fmla="*/ 702629 w 1466597"/>
                <a:gd name="connsiteY3042" fmla="*/ 36056 h 790366"/>
                <a:gd name="connsiteX3043" fmla="*/ 699575 w 1466597"/>
                <a:gd name="connsiteY3043" fmla="*/ 36021 h 790366"/>
                <a:gd name="connsiteX3044" fmla="*/ 709797 w 1466597"/>
                <a:gd name="connsiteY3044" fmla="*/ 28987 h 790366"/>
                <a:gd name="connsiteX3045" fmla="*/ 719144 w 1466597"/>
                <a:gd name="connsiteY3045" fmla="*/ 24728 h 790366"/>
                <a:gd name="connsiteX3046" fmla="*/ 721255 w 1466597"/>
                <a:gd name="connsiteY3046" fmla="*/ 24810 h 790366"/>
                <a:gd name="connsiteX3047" fmla="*/ 722276 w 1466597"/>
                <a:gd name="connsiteY3047" fmla="*/ 25603 h 790366"/>
                <a:gd name="connsiteX3048" fmla="*/ 722495 w 1466597"/>
                <a:gd name="connsiteY3048" fmla="*/ 26892 h 790366"/>
                <a:gd name="connsiteX3049" fmla="*/ 720477 w 1466597"/>
                <a:gd name="connsiteY3049" fmla="*/ 27729 h 790366"/>
                <a:gd name="connsiteX3050" fmla="*/ 718497 w 1466597"/>
                <a:gd name="connsiteY3050" fmla="*/ 29243 h 790366"/>
                <a:gd name="connsiteX3051" fmla="*/ 719407 w 1466597"/>
                <a:gd name="connsiteY3051" fmla="*/ 30574 h 790366"/>
                <a:gd name="connsiteX3052" fmla="*/ 720759 w 1466597"/>
                <a:gd name="connsiteY3052" fmla="*/ 30764 h 790366"/>
                <a:gd name="connsiteX3053" fmla="*/ 725252 w 1466597"/>
                <a:gd name="connsiteY3053" fmla="*/ 29669 h 790366"/>
                <a:gd name="connsiteX3054" fmla="*/ 727262 w 1466597"/>
                <a:gd name="connsiteY3054" fmla="*/ 28299 h 790366"/>
                <a:gd name="connsiteX3055" fmla="*/ 736836 w 1466597"/>
                <a:gd name="connsiteY3055" fmla="*/ 28418 h 790366"/>
                <a:gd name="connsiteX3056" fmla="*/ 739645 w 1466597"/>
                <a:gd name="connsiteY3056" fmla="*/ 27440 h 790366"/>
                <a:gd name="connsiteX3057" fmla="*/ 740320 w 1466597"/>
                <a:gd name="connsiteY3057" fmla="*/ 26468 h 790366"/>
                <a:gd name="connsiteX3058" fmla="*/ 752715 w 1466597"/>
                <a:gd name="connsiteY3058" fmla="*/ 26270 h 790366"/>
                <a:gd name="connsiteX3059" fmla="*/ 754988 w 1466597"/>
                <a:gd name="connsiteY3059" fmla="*/ 25583 h 790366"/>
                <a:gd name="connsiteX3060" fmla="*/ 762737 w 1466597"/>
                <a:gd name="connsiteY3060" fmla="*/ 21810 h 790366"/>
                <a:gd name="connsiteX3061" fmla="*/ 769903 w 1466597"/>
                <a:gd name="connsiteY3061" fmla="*/ 17230 h 790366"/>
                <a:gd name="connsiteX3062" fmla="*/ 773204 w 1466597"/>
                <a:gd name="connsiteY3062" fmla="*/ 14727 h 790366"/>
                <a:gd name="connsiteX3063" fmla="*/ 778867 w 1466597"/>
                <a:gd name="connsiteY3063" fmla="*/ 8333 h 790366"/>
                <a:gd name="connsiteX3064" fmla="*/ 783716 w 1466597"/>
                <a:gd name="connsiteY3064" fmla="*/ 4166 h 790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  <a:cxn ang="0">
                  <a:pos x="connsiteX2223" y="connsiteY2223"/>
                </a:cxn>
                <a:cxn ang="0">
                  <a:pos x="connsiteX2224" y="connsiteY2224"/>
                </a:cxn>
                <a:cxn ang="0">
                  <a:pos x="connsiteX2225" y="connsiteY2225"/>
                </a:cxn>
                <a:cxn ang="0">
                  <a:pos x="connsiteX2226" y="connsiteY2226"/>
                </a:cxn>
                <a:cxn ang="0">
                  <a:pos x="connsiteX2227" y="connsiteY2227"/>
                </a:cxn>
                <a:cxn ang="0">
                  <a:pos x="connsiteX2228" y="connsiteY2228"/>
                </a:cxn>
                <a:cxn ang="0">
                  <a:pos x="connsiteX2229" y="connsiteY2229"/>
                </a:cxn>
                <a:cxn ang="0">
                  <a:pos x="connsiteX2230" y="connsiteY2230"/>
                </a:cxn>
                <a:cxn ang="0">
                  <a:pos x="connsiteX2231" y="connsiteY2231"/>
                </a:cxn>
                <a:cxn ang="0">
                  <a:pos x="connsiteX2232" y="connsiteY2232"/>
                </a:cxn>
                <a:cxn ang="0">
                  <a:pos x="connsiteX2233" y="connsiteY2233"/>
                </a:cxn>
                <a:cxn ang="0">
                  <a:pos x="connsiteX2234" y="connsiteY2234"/>
                </a:cxn>
                <a:cxn ang="0">
                  <a:pos x="connsiteX2235" y="connsiteY2235"/>
                </a:cxn>
                <a:cxn ang="0">
                  <a:pos x="connsiteX2236" y="connsiteY2236"/>
                </a:cxn>
                <a:cxn ang="0">
                  <a:pos x="connsiteX2237" y="connsiteY2237"/>
                </a:cxn>
                <a:cxn ang="0">
                  <a:pos x="connsiteX2238" y="connsiteY2238"/>
                </a:cxn>
                <a:cxn ang="0">
                  <a:pos x="connsiteX2239" y="connsiteY2239"/>
                </a:cxn>
                <a:cxn ang="0">
                  <a:pos x="connsiteX2240" y="connsiteY2240"/>
                </a:cxn>
                <a:cxn ang="0">
                  <a:pos x="connsiteX2241" y="connsiteY2241"/>
                </a:cxn>
                <a:cxn ang="0">
                  <a:pos x="connsiteX2242" y="connsiteY2242"/>
                </a:cxn>
                <a:cxn ang="0">
                  <a:pos x="connsiteX2243" y="connsiteY2243"/>
                </a:cxn>
                <a:cxn ang="0">
                  <a:pos x="connsiteX2244" y="connsiteY2244"/>
                </a:cxn>
                <a:cxn ang="0">
                  <a:pos x="connsiteX2245" y="connsiteY2245"/>
                </a:cxn>
                <a:cxn ang="0">
                  <a:pos x="connsiteX2246" y="connsiteY2246"/>
                </a:cxn>
                <a:cxn ang="0">
                  <a:pos x="connsiteX2247" y="connsiteY2247"/>
                </a:cxn>
                <a:cxn ang="0">
                  <a:pos x="connsiteX2248" y="connsiteY2248"/>
                </a:cxn>
                <a:cxn ang="0">
                  <a:pos x="connsiteX2249" y="connsiteY2249"/>
                </a:cxn>
                <a:cxn ang="0">
                  <a:pos x="connsiteX2250" y="connsiteY2250"/>
                </a:cxn>
                <a:cxn ang="0">
                  <a:pos x="connsiteX2251" y="connsiteY2251"/>
                </a:cxn>
                <a:cxn ang="0">
                  <a:pos x="connsiteX2252" y="connsiteY2252"/>
                </a:cxn>
                <a:cxn ang="0">
                  <a:pos x="connsiteX2253" y="connsiteY2253"/>
                </a:cxn>
                <a:cxn ang="0">
                  <a:pos x="connsiteX2254" y="connsiteY2254"/>
                </a:cxn>
                <a:cxn ang="0">
                  <a:pos x="connsiteX2255" y="connsiteY2255"/>
                </a:cxn>
                <a:cxn ang="0">
                  <a:pos x="connsiteX2256" y="connsiteY2256"/>
                </a:cxn>
                <a:cxn ang="0">
                  <a:pos x="connsiteX2257" y="connsiteY2257"/>
                </a:cxn>
                <a:cxn ang="0">
                  <a:pos x="connsiteX2258" y="connsiteY2258"/>
                </a:cxn>
                <a:cxn ang="0">
                  <a:pos x="connsiteX2259" y="connsiteY2259"/>
                </a:cxn>
                <a:cxn ang="0">
                  <a:pos x="connsiteX2260" y="connsiteY2260"/>
                </a:cxn>
                <a:cxn ang="0">
                  <a:pos x="connsiteX2261" y="connsiteY2261"/>
                </a:cxn>
                <a:cxn ang="0">
                  <a:pos x="connsiteX2262" y="connsiteY2262"/>
                </a:cxn>
                <a:cxn ang="0">
                  <a:pos x="connsiteX2263" y="connsiteY2263"/>
                </a:cxn>
                <a:cxn ang="0">
                  <a:pos x="connsiteX2264" y="connsiteY2264"/>
                </a:cxn>
                <a:cxn ang="0">
                  <a:pos x="connsiteX2265" y="connsiteY2265"/>
                </a:cxn>
                <a:cxn ang="0">
                  <a:pos x="connsiteX2266" y="connsiteY2266"/>
                </a:cxn>
                <a:cxn ang="0">
                  <a:pos x="connsiteX2267" y="connsiteY2267"/>
                </a:cxn>
                <a:cxn ang="0">
                  <a:pos x="connsiteX2268" y="connsiteY2268"/>
                </a:cxn>
                <a:cxn ang="0">
                  <a:pos x="connsiteX2269" y="connsiteY2269"/>
                </a:cxn>
                <a:cxn ang="0">
                  <a:pos x="connsiteX2270" y="connsiteY2270"/>
                </a:cxn>
                <a:cxn ang="0">
                  <a:pos x="connsiteX2271" y="connsiteY2271"/>
                </a:cxn>
                <a:cxn ang="0">
                  <a:pos x="connsiteX2272" y="connsiteY2272"/>
                </a:cxn>
                <a:cxn ang="0">
                  <a:pos x="connsiteX2273" y="connsiteY2273"/>
                </a:cxn>
                <a:cxn ang="0">
                  <a:pos x="connsiteX2274" y="connsiteY2274"/>
                </a:cxn>
                <a:cxn ang="0">
                  <a:pos x="connsiteX2275" y="connsiteY2275"/>
                </a:cxn>
                <a:cxn ang="0">
                  <a:pos x="connsiteX2276" y="connsiteY2276"/>
                </a:cxn>
                <a:cxn ang="0">
                  <a:pos x="connsiteX2277" y="connsiteY2277"/>
                </a:cxn>
                <a:cxn ang="0">
                  <a:pos x="connsiteX2278" y="connsiteY2278"/>
                </a:cxn>
                <a:cxn ang="0">
                  <a:pos x="connsiteX2279" y="connsiteY2279"/>
                </a:cxn>
                <a:cxn ang="0">
                  <a:pos x="connsiteX2280" y="connsiteY2280"/>
                </a:cxn>
                <a:cxn ang="0">
                  <a:pos x="connsiteX2281" y="connsiteY2281"/>
                </a:cxn>
                <a:cxn ang="0">
                  <a:pos x="connsiteX2282" y="connsiteY2282"/>
                </a:cxn>
                <a:cxn ang="0">
                  <a:pos x="connsiteX2283" y="connsiteY2283"/>
                </a:cxn>
                <a:cxn ang="0">
                  <a:pos x="connsiteX2284" y="connsiteY2284"/>
                </a:cxn>
                <a:cxn ang="0">
                  <a:pos x="connsiteX2285" y="connsiteY2285"/>
                </a:cxn>
                <a:cxn ang="0">
                  <a:pos x="connsiteX2286" y="connsiteY2286"/>
                </a:cxn>
                <a:cxn ang="0">
                  <a:pos x="connsiteX2287" y="connsiteY2287"/>
                </a:cxn>
                <a:cxn ang="0">
                  <a:pos x="connsiteX2288" y="connsiteY2288"/>
                </a:cxn>
                <a:cxn ang="0">
                  <a:pos x="connsiteX2289" y="connsiteY2289"/>
                </a:cxn>
                <a:cxn ang="0">
                  <a:pos x="connsiteX2290" y="connsiteY2290"/>
                </a:cxn>
                <a:cxn ang="0">
                  <a:pos x="connsiteX2291" y="connsiteY2291"/>
                </a:cxn>
                <a:cxn ang="0">
                  <a:pos x="connsiteX2292" y="connsiteY2292"/>
                </a:cxn>
                <a:cxn ang="0">
                  <a:pos x="connsiteX2293" y="connsiteY2293"/>
                </a:cxn>
                <a:cxn ang="0">
                  <a:pos x="connsiteX2294" y="connsiteY2294"/>
                </a:cxn>
                <a:cxn ang="0">
                  <a:pos x="connsiteX2295" y="connsiteY2295"/>
                </a:cxn>
                <a:cxn ang="0">
                  <a:pos x="connsiteX2296" y="connsiteY2296"/>
                </a:cxn>
                <a:cxn ang="0">
                  <a:pos x="connsiteX2297" y="connsiteY2297"/>
                </a:cxn>
                <a:cxn ang="0">
                  <a:pos x="connsiteX2298" y="connsiteY2298"/>
                </a:cxn>
                <a:cxn ang="0">
                  <a:pos x="connsiteX2299" y="connsiteY2299"/>
                </a:cxn>
                <a:cxn ang="0">
                  <a:pos x="connsiteX2300" y="connsiteY2300"/>
                </a:cxn>
                <a:cxn ang="0">
                  <a:pos x="connsiteX2301" y="connsiteY2301"/>
                </a:cxn>
                <a:cxn ang="0">
                  <a:pos x="connsiteX2302" y="connsiteY2302"/>
                </a:cxn>
                <a:cxn ang="0">
                  <a:pos x="connsiteX2303" y="connsiteY2303"/>
                </a:cxn>
                <a:cxn ang="0">
                  <a:pos x="connsiteX2304" y="connsiteY2304"/>
                </a:cxn>
                <a:cxn ang="0">
                  <a:pos x="connsiteX2305" y="connsiteY2305"/>
                </a:cxn>
                <a:cxn ang="0">
                  <a:pos x="connsiteX2306" y="connsiteY2306"/>
                </a:cxn>
                <a:cxn ang="0">
                  <a:pos x="connsiteX2307" y="connsiteY2307"/>
                </a:cxn>
                <a:cxn ang="0">
                  <a:pos x="connsiteX2308" y="connsiteY2308"/>
                </a:cxn>
                <a:cxn ang="0">
                  <a:pos x="connsiteX2309" y="connsiteY2309"/>
                </a:cxn>
                <a:cxn ang="0">
                  <a:pos x="connsiteX2310" y="connsiteY2310"/>
                </a:cxn>
                <a:cxn ang="0">
                  <a:pos x="connsiteX2311" y="connsiteY2311"/>
                </a:cxn>
                <a:cxn ang="0">
                  <a:pos x="connsiteX2312" y="connsiteY2312"/>
                </a:cxn>
                <a:cxn ang="0">
                  <a:pos x="connsiteX2313" y="connsiteY2313"/>
                </a:cxn>
                <a:cxn ang="0">
                  <a:pos x="connsiteX2314" y="connsiteY2314"/>
                </a:cxn>
                <a:cxn ang="0">
                  <a:pos x="connsiteX2315" y="connsiteY2315"/>
                </a:cxn>
                <a:cxn ang="0">
                  <a:pos x="connsiteX2316" y="connsiteY2316"/>
                </a:cxn>
                <a:cxn ang="0">
                  <a:pos x="connsiteX2317" y="connsiteY2317"/>
                </a:cxn>
                <a:cxn ang="0">
                  <a:pos x="connsiteX2318" y="connsiteY2318"/>
                </a:cxn>
                <a:cxn ang="0">
                  <a:pos x="connsiteX2319" y="connsiteY2319"/>
                </a:cxn>
                <a:cxn ang="0">
                  <a:pos x="connsiteX2320" y="connsiteY2320"/>
                </a:cxn>
                <a:cxn ang="0">
                  <a:pos x="connsiteX2321" y="connsiteY2321"/>
                </a:cxn>
                <a:cxn ang="0">
                  <a:pos x="connsiteX2322" y="connsiteY2322"/>
                </a:cxn>
                <a:cxn ang="0">
                  <a:pos x="connsiteX2323" y="connsiteY2323"/>
                </a:cxn>
                <a:cxn ang="0">
                  <a:pos x="connsiteX2324" y="connsiteY2324"/>
                </a:cxn>
                <a:cxn ang="0">
                  <a:pos x="connsiteX2325" y="connsiteY2325"/>
                </a:cxn>
                <a:cxn ang="0">
                  <a:pos x="connsiteX2326" y="connsiteY2326"/>
                </a:cxn>
                <a:cxn ang="0">
                  <a:pos x="connsiteX2327" y="connsiteY2327"/>
                </a:cxn>
                <a:cxn ang="0">
                  <a:pos x="connsiteX2328" y="connsiteY2328"/>
                </a:cxn>
                <a:cxn ang="0">
                  <a:pos x="connsiteX2329" y="connsiteY2329"/>
                </a:cxn>
                <a:cxn ang="0">
                  <a:pos x="connsiteX2330" y="connsiteY2330"/>
                </a:cxn>
                <a:cxn ang="0">
                  <a:pos x="connsiteX2331" y="connsiteY2331"/>
                </a:cxn>
                <a:cxn ang="0">
                  <a:pos x="connsiteX2332" y="connsiteY2332"/>
                </a:cxn>
                <a:cxn ang="0">
                  <a:pos x="connsiteX2333" y="connsiteY2333"/>
                </a:cxn>
                <a:cxn ang="0">
                  <a:pos x="connsiteX2334" y="connsiteY2334"/>
                </a:cxn>
                <a:cxn ang="0">
                  <a:pos x="connsiteX2335" y="connsiteY2335"/>
                </a:cxn>
                <a:cxn ang="0">
                  <a:pos x="connsiteX2336" y="connsiteY2336"/>
                </a:cxn>
                <a:cxn ang="0">
                  <a:pos x="connsiteX2337" y="connsiteY2337"/>
                </a:cxn>
                <a:cxn ang="0">
                  <a:pos x="connsiteX2338" y="connsiteY2338"/>
                </a:cxn>
                <a:cxn ang="0">
                  <a:pos x="connsiteX2339" y="connsiteY2339"/>
                </a:cxn>
                <a:cxn ang="0">
                  <a:pos x="connsiteX2340" y="connsiteY2340"/>
                </a:cxn>
                <a:cxn ang="0">
                  <a:pos x="connsiteX2341" y="connsiteY2341"/>
                </a:cxn>
                <a:cxn ang="0">
                  <a:pos x="connsiteX2342" y="connsiteY2342"/>
                </a:cxn>
                <a:cxn ang="0">
                  <a:pos x="connsiteX2343" y="connsiteY2343"/>
                </a:cxn>
                <a:cxn ang="0">
                  <a:pos x="connsiteX2344" y="connsiteY2344"/>
                </a:cxn>
                <a:cxn ang="0">
                  <a:pos x="connsiteX2345" y="connsiteY2345"/>
                </a:cxn>
                <a:cxn ang="0">
                  <a:pos x="connsiteX2346" y="connsiteY2346"/>
                </a:cxn>
                <a:cxn ang="0">
                  <a:pos x="connsiteX2347" y="connsiteY2347"/>
                </a:cxn>
                <a:cxn ang="0">
                  <a:pos x="connsiteX2348" y="connsiteY2348"/>
                </a:cxn>
                <a:cxn ang="0">
                  <a:pos x="connsiteX2349" y="connsiteY2349"/>
                </a:cxn>
                <a:cxn ang="0">
                  <a:pos x="connsiteX2350" y="connsiteY2350"/>
                </a:cxn>
                <a:cxn ang="0">
                  <a:pos x="connsiteX2351" y="connsiteY2351"/>
                </a:cxn>
                <a:cxn ang="0">
                  <a:pos x="connsiteX2352" y="connsiteY2352"/>
                </a:cxn>
                <a:cxn ang="0">
                  <a:pos x="connsiteX2353" y="connsiteY2353"/>
                </a:cxn>
                <a:cxn ang="0">
                  <a:pos x="connsiteX2354" y="connsiteY2354"/>
                </a:cxn>
                <a:cxn ang="0">
                  <a:pos x="connsiteX2355" y="connsiteY2355"/>
                </a:cxn>
                <a:cxn ang="0">
                  <a:pos x="connsiteX2356" y="connsiteY2356"/>
                </a:cxn>
                <a:cxn ang="0">
                  <a:pos x="connsiteX2357" y="connsiteY2357"/>
                </a:cxn>
                <a:cxn ang="0">
                  <a:pos x="connsiteX2358" y="connsiteY2358"/>
                </a:cxn>
                <a:cxn ang="0">
                  <a:pos x="connsiteX2359" y="connsiteY2359"/>
                </a:cxn>
                <a:cxn ang="0">
                  <a:pos x="connsiteX2360" y="connsiteY2360"/>
                </a:cxn>
                <a:cxn ang="0">
                  <a:pos x="connsiteX2361" y="connsiteY2361"/>
                </a:cxn>
                <a:cxn ang="0">
                  <a:pos x="connsiteX2362" y="connsiteY2362"/>
                </a:cxn>
                <a:cxn ang="0">
                  <a:pos x="connsiteX2363" y="connsiteY2363"/>
                </a:cxn>
                <a:cxn ang="0">
                  <a:pos x="connsiteX2364" y="connsiteY2364"/>
                </a:cxn>
                <a:cxn ang="0">
                  <a:pos x="connsiteX2365" y="connsiteY2365"/>
                </a:cxn>
                <a:cxn ang="0">
                  <a:pos x="connsiteX2366" y="connsiteY2366"/>
                </a:cxn>
                <a:cxn ang="0">
                  <a:pos x="connsiteX2367" y="connsiteY2367"/>
                </a:cxn>
                <a:cxn ang="0">
                  <a:pos x="connsiteX2368" y="connsiteY2368"/>
                </a:cxn>
                <a:cxn ang="0">
                  <a:pos x="connsiteX2369" y="connsiteY2369"/>
                </a:cxn>
                <a:cxn ang="0">
                  <a:pos x="connsiteX2370" y="connsiteY2370"/>
                </a:cxn>
                <a:cxn ang="0">
                  <a:pos x="connsiteX2371" y="connsiteY2371"/>
                </a:cxn>
                <a:cxn ang="0">
                  <a:pos x="connsiteX2372" y="connsiteY2372"/>
                </a:cxn>
                <a:cxn ang="0">
                  <a:pos x="connsiteX2373" y="connsiteY2373"/>
                </a:cxn>
                <a:cxn ang="0">
                  <a:pos x="connsiteX2374" y="connsiteY2374"/>
                </a:cxn>
                <a:cxn ang="0">
                  <a:pos x="connsiteX2375" y="connsiteY2375"/>
                </a:cxn>
                <a:cxn ang="0">
                  <a:pos x="connsiteX2376" y="connsiteY2376"/>
                </a:cxn>
                <a:cxn ang="0">
                  <a:pos x="connsiteX2377" y="connsiteY2377"/>
                </a:cxn>
                <a:cxn ang="0">
                  <a:pos x="connsiteX2378" y="connsiteY2378"/>
                </a:cxn>
                <a:cxn ang="0">
                  <a:pos x="connsiteX2379" y="connsiteY2379"/>
                </a:cxn>
                <a:cxn ang="0">
                  <a:pos x="connsiteX2380" y="connsiteY2380"/>
                </a:cxn>
                <a:cxn ang="0">
                  <a:pos x="connsiteX2381" y="connsiteY2381"/>
                </a:cxn>
                <a:cxn ang="0">
                  <a:pos x="connsiteX2382" y="connsiteY2382"/>
                </a:cxn>
                <a:cxn ang="0">
                  <a:pos x="connsiteX2383" y="connsiteY2383"/>
                </a:cxn>
                <a:cxn ang="0">
                  <a:pos x="connsiteX2384" y="connsiteY2384"/>
                </a:cxn>
                <a:cxn ang="0">
                  <a:pos x="connsiteX2385" y="connsiteY2385"/>
                </a:cxn>
                <a:cxn ang="0">
                  <a:pos x="connsiteX2386" y="connsiteY2386"/>
                </a:cxn>
                <a:cxn ang="0">
                  <a:pos x="connsiteX2387" y="connsiteY2387"/>
                </a:cxn>
                <a:cxn ang="0">
                  <a:pos x="connsiteX2388" y="connsiteY2388"/>
                </a:cxn>
                <a:cxn ang="0">
                  <a:pos x="connsiteX2389" y="connsiteY2389"/>
                </a:cxn>
                <a:cxn ang="0">
                  <a:pos x="connsiteX2390" y="connsiteY2390"/>
                </a:cxn>
                <a:cxn ang="0">
                  <a:pos x="connsiteX2391" y="connsiteY2391"/>
                </a:cxn>
                <a:cxn ang="0">
                  <a:pos x="connsiteX2392" y="connsiteY2392"/>
                </a:cxn>
                <a:cxn ang="0">
                  <a:pos x="connsiteX2393" y="connsiteY2393"/>
                </a:cxn>
                <a:cxn ang="0">
                  <a:pos x="connsiteX2394" y="connsiteY2394"/>
                </a:cxn>
                <a:cxn ang="0">
                  <a:pos x="connsiteX2395" y="connsiteY2395"/>
                </a:cxn>
                <a:cxn ang="0">
                  <a:pos x="connsiteX2396" y="connsiteY2396"/>
                </a:cxn>
                <a:cxn ang="0">
                  <a:pos x="connsiteX2397" y="connsiteY2397"/>
                </a:cxn>
                <a:cxn ang="0">
                  <a:pos x="connsiteX2398" y="connsiteY2398"/>
                </a:cxn>
                <a:cxn ang="0">
                  <a:pos x="connsiteX2399" y="connsiteY2399"/>
                </a:cxn>
                <a:cxn ang="0">
                  <a:pos x="connsiteX2400" y="connsiteY2400"/>
                </a:cxn>
                <a:cxn ang="0">
                  <a:pos x="connsiteX2401" y="connsiteY2401"/>
                </a:cxn>
                <a:cxn ang="0">
                  <a:pos x="connsiteX2402" y="connsiteY2402"/>
                </a:cxn>
                <a:cxn ang="0">
                  <a:pos x="connsiteX2403" y="connsiteY2403"/>
                </a:cxn>
                <a:cxn ang="0">
                  <a:pos x="connsiteX2404" y="connsiteY2404"/>
                </a:cxn>
                <a:cxn ang="0">
                  <a:pos x="connsiteX2405" y="connsiteY2405"/>
                </a:cxn>
                <a:cxn ang="0">
                  <a:pos x="connsiteX2406" y="connsiteY2406"/>
                </a:cxn>
                <a:cxn ang="0">
                  <a:pos x="connsiteX2407" y="connsiteY2407"/>
                </a:cxn>
                <a:cxn ang="0">
                  <a:pos x="connsiteX2408" y="connsiteY2408"/>
                </a:cxn>
                <a:cxn ang="0">
                  <a:pos x="connsiteX2409" y="connsiteY2409"/>
                </a:cxn>
                <a:cxn ang="0">
                  <a:pos x="connsiteX2410" y="connsiteY2410"/>
                </a:cxn>
                <a:cxn ang="0">
                  <a:pos x="connsiteX2411" y="connsiteY2411"/>
                </a:cxn>
                <a:cxn ang="0">
                  <a:pos x="connsiteX2412" y="connsiteY2412"/>
                </a:cxn>
                <a:cxn ang="0">
                  <a:pos x="connsiteX2413" y="connsiteY2413"/>
                </a:cxn>
                <a:cxn ang="0">
                  <a:pos x="connsiteX2414" y="connsiteY2414"/>
                </a:cxn>
                <a:cxn ang="0">
                  <a:pos x="connsiteX2415" y="connsiteY2415"/>
                </a:cxn>
                <a:cxn ang="0">
                  <a:pos x="connsiteX2416" y="connsiteY2416"/>
                </a:cxn>
                <a:cxn ang="0">
                  <a:pos x="connsiteX2417" y="connsiteY2417"/>
                </a:cxn>
                <a:cxn ang="0">
                  <a:pos x="connsiteX2418" y="connsiteY2418"/>
                </a:cxn>
                <a:cxn ang="0">
                  <a:pos x="connsiteX2419" y="connsiteY2419"/>
                </a:cxn>
                <a:cxn ang="0">
                  <a:pos x="connsiteX2420" y="connsiteY2420"/>
                </a:cxn>
                <a:cxn ang="0">
                  <a:pos x="connsiteX2421" y="connsiteY2421"/>
                </a:cxn>
                <a:cxn ang="0">
                  <a:pos x="connsiteX2422" y="connsiteY2422"/>
                </a:cxn>
                <a:cxn ang="0">
                  <a:pos x="connsiteX2423" y="connsiteY2423"/>
                </a:cxn>
                <a:cxn ang="0">
                  <a:pos x="connsiteX2424" y="connsiteY2424"/>
                </a:cxn>
                <a:cxn ang="0">
                  <a:pos x="connsiteX2425" y="connsiteY2425"/>
                </a:cxn>
                <a:cxn ang="0">
                  <a:pos x="connsiteX2426" y="connsiteY2426"/>
                </a:cxn>
                <a:cxn ang="0">
                  <a:pos x="connsiteX2427" y="connsiteY2427"/>
                </a:cxn>
                <a:cxn ang="0">
                  <a:pos x="connsiteX2428" y="connsiteY2428"/>
                </a:cxn>
                <a:cxn ang="0">
                  <a:pos x="connsiteX2429" y="connsiteY2429"/>
                </a:cxn>
                <a:cxn ang="0">
                  <a:pos x="connsiteX2430" y="connsiteY2430"/>
                </a:cxn>
                <a:cxn ang="0">
                  <a:pos x="connsiteX2431" y="connsiteY2431"/>
                </a:cxn>
                <a:cxn ang="0">
                  <a:pos x="connsiteX2432" y="connsiteY2432"/>
                </a:cxn>
                <a:cxn ang="0">
                  <a:pos x="connsiteX2433" y="connsiteY2433"/>
                </a:cxn>
                <a:cxn ang="0">
                  <a:pos x="connsiteX2434" y="connsiteY2434"/>
                </a:cxn>
                <a:cxn ang="0">
                  <a:pos x="connsiteX2435" y="connsiteY2435"/>
                </a:cxn>
                <a:cxn ang="0">
                  <a:pos x="connsiteX2436" y="connsiteY2436"/>
                </a:cxn>
                <a:cxn ang="0">
                  <a:pos x="connsiteX2437" y="connsiteY2437"/>
                </a:cxn>
                <a:cxn ang="0">
                  <a:pos x="connsiteX2438" y="connsiteY2438"/>
                </a:cxn>
                <a:cxn ang="0">
                  <a:pos x="connsiteX2439" y="connsiteY2439"/>
                </a:cxn>
                <a:cxn ang="0">
                  <a:pos x="connsiteX2440" y="connsiteY2440"/>
                </a:cxn>
                <a:cxn ang="0">
                  <a:pos x="connsiteX2441" y="connsiteY2441"/>
                </a:cxn>
                <a:cxn ang="0">
                  <a:pos x="connsiteX2442" y="connsiteY2442"/>
                </a:cxn>
                <a:cxn ang="0">
                  <a:pos x="connsiteX2443" y="connsiteY2443"/>
                </a:cxn>
                <a:cxn ang="0">
                  <a:pos x="connsiteX2444" y="connsiteY2444"/>
                </a:cxn>
                <a:cxn ang="0">
                  <a:pos x="connsiteX2445" y="connsiteY2445"/>
                </a:cxn>
                <a:cxn ang="0">
                  <a:pos x="connsiteX2446" y="connsiteY2446"/>
                </a:cxn>
                <a:cxn ang="0">
                  <a:pos x="connsiteX2447" y="connsiteY2447"/>
                </a:cxn>
                <a:cxn ang="0">
                  <a:pos x="connsiteX2448" y="connsiteY2448"/>
                </a:cxn>
                <a:cxn ang="0">
                  <a:pos x="connsiteX2449" y="connsiteY2449"/>
                </a:cxn>
                <a:cxn ang="0">
                  <a:pos x="connsiteX2450" y="connsiteY2450"/>
                </a:cxn>
                <a:cxn ang="0">
                  <a:pos x="connsiteX2451" y="connsiteY2451"/>
                </a:cxn>
                <a:cxn ang="0">
                  <a:pos x="connsiteX2452" y="connsiteY2452"/>
                </a:cxn>
                <a:cxn ang="0">
                  <a:pos x="connsiteX2453" y="connsiteY2453"/>
                </a:cxn>
                <a:cxn ang="0">
                  <a:pos x="connsiteX2454" y="connsiteY2454"/>
                </a:cxn>
                <a:cxn ang="0">
                  <a:pos x="connsiteX2455" y="connsiteY2455"/>
                </a:cxn>
                <a:cxn ang="0">
                  <a:pos x="connsiteX2456" y="connsiteY2456"/>
                </a:cxn>
                <a:cxn ang="0">
                  <a:pos x="connsiteX2457" y="connsiteY2457"/>
                </a:cxn>
                <a:cxn ang="0">
                  <a:pos x="connsiteX2458" y="connsiteY2458"/>
                </a:cxn>
                <a:cxn ang="0">
                  <a:pos x="connsiteX2459" y="connsiteY2459"/>
                </a:cxn>
                <a:cxn ang="0">
                  <a:pos x="connsiteX2460" y="connsiteY2460"/>
                </a:cxn>
                <a:cxn ang="0">
                  <a:pos x="connsiteX2461" y="connsiteY2461"/>
                </a:cxn>
                <a:cxn ang="0">
                  <a:pos x="connsiteX2462" y="connsiteY2462"/>
                </a:cxn>
                <a:cxn ang="0">
                  <a:pos x="connsiteX2463" y="connsiteY2463"/>
                </a:cxn>
                <a:cxn ang="0">
                  <a:pos x="connsiteX2464" y="connsiteY2464"/>
                </a:cxn>
                <a:cxn ang="0">
                  <a:pos x="connsiteX2465" y="connsiteY2465"/>
                </a:cxn>
                <a:cxn ang="0">
                  <a:pos x="connsiteX2466" y="connsiteY2466"/>
                </a:cxn>
                <a:cxn ang="0">
                  <a:pos x="connsiteX2467" y="connsiteY2467"/>
                </a:cxn>
                <a:cxn ang="0">
                  <a:pos x="connsiteX2468" y="connsiteY2468"/>
                </a:cxn>
                <a:cxn ang="0">
                  <a:pos x="connsiteX2469" y="connsiteY2469"/>
                </a:cxn>
                <a:cxn ang="0">
                  <a:pos x="connsiteX2470" y="connsiteY2470"/>
                </a:cxn>
                <a:cxn ang="0">
                  <a:pos x="connsiteX2471" y="connsiteY2471"/>
                </a:cxn>
                <a:cxn ang="0">
                  <a:pos x="connsiteX2472" y="connsiteY2472"/>
                </a:cxn>
                <a:cxn ang="0">
                  <a:pos x="connsiteX2473" y="connsiteY2473"/>
                </a:cxn>
                <a:cxn ang="0">
                  <a:pos x="connsiteX2474" y="connsiteY2474"/>
                </a:cxn>
                <a:cxn ang="0">
                  <a:pos x="connsiteX2475" y="connsiteY2475"/>
                </a:cxn>
                <a:cxn ang="0">
                  <a:pos x="connsiteX2476" y="connsiteY2476"/>
                </a:cxn>
                <a:cxn ang="0">
                  <a:pos x="connsiteX2477" y="connsiteY2477"/>
                </a:cxn>
                <a:cxn ang="0">
                  <a:pos x="connsiteX2478" y="connsiteY2478"/>
                </a:cxn>
                <a:cxn ang="0">
                  <a:pos x="connsiteX2479" y="connsiteY2479"/>
                </a:cxn>
                <a:cxn ang="0">
                  <a:pos x="connsiteX2480" y="connsiteY2480"/>
                </a:cxn>
                <a:cxn ang="0">
                  <a:pos x="connsiteX2481" y="connsiteY2481"/>
                </a:cxn>
                <a:cxn ang="0">
                  <a:pos x="connsiteX2482" y="connsiteY2482"/>
                </a:cxn>
                <a:cxn ang="0">
                  <a:pos x="connsiteX2483" y="connsiteY2483"/>
                </a:cxn>
                <a:cxn ang="0">
                  <a:pos x="connsiteX2484" y="connsiteY2484"/>
                </a:cxn>
                <a:cxn ang="0">
                  <a:pos x="connsiteX2485" y="connsiteY2485"/>
                </a:cxn>
                <a:cxn ang="0">
                  <a:pos x="connsiteX2486" y="connsiteY2486"/>
                </a:cxn>
                <a:cxn ang="0">
                  <a:pos x="connsiteX2487" y="connsiteY2487"/>
                </a:cxn>
                <a:cxn ang="0">
                  <a:pos x="connsiteX2488" y="connsiteY2488"/>
                </a:cxn>
                <a:cxn ang="0">
                  <a:pos x="connsiteX2489" y="connsiteY2489"/>
                </a:cxn>
                <a:cxn ang="0">
                  <a:pos x="connsiteX2490" y="connsiteY2490"/>
                </a:cxn>
                <a:cxn ang="0">
                  <a:pos x="connsiteX2491" y="connsiteY2491"/>
                </a:cxn>
                <a:cxn ang="0">
                  <a:pos x="connsiteX2492" y="connsiteY2492"/>
                </a:cxn>
                <a:cxn ang="0">
                  <a:pos x="connsiteX2493" y="connsiteY2493"/>
                </a:cxn>
                <a:cxn ang="0">
                  <a:pos x="connsiteX2494" y="connsiteY2494"/>
                </a:cxn>
                <a:cxn ang="0">
                  <a:pos x="connsiteX2495" y="connsiteY2495"/>
                </a:cxn>
                <a:cxn ang="0">
                  <a:pos x="connsiteX2496" y="connsiteY2496"/>
                </a:cxn>
                <a:cxn ang="0">
                  <a:pos x="connsiteX2497" y="connsiteY2497"/>
                </a:cxn>
                <a:cxn ang="0">
                  <a:pos x="connsiteX2498" y="connsiteY2498"/>
                </a:cxn>
                <a:cxn ang="0">
                  <a:pos x="connsiteX2499" y="connsiteY2499"/>
                </a:cxn>
                <a:cxn ang="0">
                  <a:pos x="connsiteX2500" y="connsiteY2500"/>
                </a:cxn>
                <a:cxn ang="0">
                  <a:pos x="connsiteX2501" y="connsiteY2501"/>
                </a:cxn>
                <a:cxn ang="0">
                  <a:pos x="connsiteX2502" y="connsiteY2502"/>
                </a:cxn>
                <a:cxn ang="0">
                  <a:pos x="connsiteX2503" y="connsiteY2503"/>
                </a:cxn>
                <a:cxn ang="0">
                  <a:pos x="connsiteX2504" y="connsiteY2504"/>
                </a:cxn>
                <a:cxn ang="0">
                  <a:pos x="connsiteX2505" y="connsiteY2505"/>
                </a:cxn>
                <a:cxn ang="0">
                  <a:pos x="connsiteX2506" y="connsiteY2506"/>
                </a:cxn>
                <a:cxn ang="0">
                  <a:pos x="connsiteX2507" y="connsiteY2507"/>
                </a:cxn>
                <a:cxn ang="0">
                  <a:pos x="connsiteX2508" y="connsiteY2508"/>
                </a:cxn>
                <a:cxn ang="0">
                  <a:pos x="connsiteX2509" y="connsiteY2509"/>
                </a:cxn>
                <a:cxn ang="0">
                  <a:pos x="connsiteX2510" y="connsiteY2510"/>
                </a:cxn>
                <a:cxn ang="0">
                  <a:pos x="connsiteX2511" y="connsiteY2511"/>
                </a:cxn>
                <a:cxn ang="0">
                  <a:pos x="connsiteX2512" y="connsiteY2512"/>
                </a:cxn>
                <a:cxn ang="0">
                  <a:pos x="connsiteX2513" y="connsiteY2513"/>
                </a:cxn>
                <a:cxn ang="0">
                  <a:pos x="connsiteX2514" y="connsiteY2514"/>
                </a:cxn>
                <a:cxn ang="0">
                  <a:pos x="connsiteX2515" y="connsiteY2515"/>
                </a:cxn>
                <a:cxn ang="0">
                  <a:pos x="connsiteX2516" y="connsiteY2516"/>
                </a:cxn>
                <a:cxn ang="0">
                  <a:pos x="connsiteX2517" y="connsiteY2517"/>
                </a:cxn>
                <a:cxn ang="0">
                  <a:pos x="connsiteX2518" y="connsiteY2518"/>
                </a:cxn>
                <a:cxn ang="0">
                  <a:pos x="connsiteX2519" y="connsiteY2519"/>
                </a:cxn>
                <a:cxn ang="0">
                  <a:pos x="connsiteX2520" y="connsiteY2520"/>
                </a:cxn>
                <a:cxn ang="0">
                  <a:pos x="connsiteX2521" y="connsiteY2521"/>
                </a:cxn>
                <a:cxn ang="0">
                  <a:pos x="connsiteX2522" y="connsiteY2522"/>
                </a:cxn>
                <a:cxn ang="0">
                  <a:pos x="connsiteX2523" y="connsiteY2523"/>
                </a:cxn>
                <a:cxn ang="0">
                  <a:pos x="connsiteX2524" y="connsiteY2524"/>
                </a:cxn>
                <a:cxn ang="0">
                  <a:pos x="connsiteX2525" y="connsiteY2525"/>
                </a:cxn>
                <a:cxn ang="0">
                  <a:pos x="connsiteX2526" y="connsiteY2526"/>
                </a:cxn>
                <a:cxn ang="0">
                  <a:pos x="connsiteX2527" y="connsiteY2527"/>
                </a:cxn>
                <a:cxn ang="0">
                  <a:pos x="connsiteX2528" y="connsiteY2528"/>
                </a:cxn>
                <a:cxn ang="0">
                  <a:pos x="connsiteX2529" y="connsiteY2529"/>
                </a:cxn>
                <a:cxn ang="0">
                  <a:pos x="connsiteX2530" y="connsiteY2530"/>
                </a:cxn>
                <a:cxn ang="0">
                  <a:pos x="connsiteX2531" y="connsiteY2531"/>
                </a:cxn>
                <a:cxn ang="0">
                  <a:pos x="connsiteX2532" y="connsiteY2532"/>
                </a:cxn>
                <a:cxn ang="0">
                  <a:pos x="connsiteX2533" y="connsiteY2533"/>
                </a:cxn>
                <a:cxn ang="0">
                  <a:pos x="connsiteX2534" y="connsiteY2534"/>
                </a:cxn>
                <a:cxn ang="0">
                  <a:pos x="connsiteX2535" y="connsiteY2535"/>
                </a:cxn>
                <a:cxn ang="0">
                  <a:pos x="connsiteX2536" y="connsiteY2536"/>
                </a:cxn>
                <a:cxn ang="0">
                  <a:pos x="connsiteX2537" y="connsiteY2537"/>
                </a:cxn>
                <a:cxn ang="0">
                  <a:pos x="connsiteX2538" y="connsiteY2538"/>
                </a:cxn>
                <a:cxn ang="0">
                  <a:pos x="connsiteX2539" y="connsiteY2539"/>
                </a:cxn>
                <a:cxn ang="0">
                  <a:pos x="connsiteX2540" y="connsiteY2540"/>
                </a:cxn>
                <a:cxn ang="0">
                  <a:pos x="connsiteX2541" y="connsiteY2541"/>
                </a:cxn>
                <a:cxn ang="0">
                  <a:pos x="connsiteX2542" y="connsiteY2542"/>
                </a:cxn>
                <a:cxn ang="0">
                  <a:pos x="connsiteX2543" y="connsiteY2543"/>
                </a:cxn>
                <a:cxn ang="0">
                  <a:pos x="connsiteX2544" y="connsiteY2544"/>
                </a:cxn>
                <a:cxn ang="0">
                  <a:pos x="connsiteX2545" y="connsiteY2545"/>
                </a:cxn>
                <a:cxn ang="0">
                  <a:pos x="connsiteX2546" y="connsiteY2546"/>
                </a:cxn>
                <a:cxn ang="0">
                  <a:pos x="connsiteX2547" y="connsiteY2547"/>
                </a:cxn>
                <a:cxn ang="0">
                  <a:pos x="connsiteX2548" y="connsiteY2548"/>
                </a:cxn>
                <a:cxn ang="0">
                  <a:pos x="connsiteX2549" y="connsiteY2549"/>
                </a:cxn>
                <a:cxn ang="0">
                  <a:pos x="connsiteX2550" y="connsiteY2550"/>
                </a:cxn>
                <a:cxn ang="0">
                  <a:pos x="connsiteX2551" y="connsiteY2551"/>
                </a:cxn>
                <a:cxn ang="0">
                  <a:pos x="connsiteX2552" y="connsiteY2552"/>
                </a:cxn>
                <a:cxn ang="0">
                  <a:pos x="connsiteX2553" y="connsiteY2553"/>
                </a:cxn>
                <a:cxn ang="0">
                  <a:pos x="connsiteX2554" y="connsiteY2554"/>
                </a:cxn>
                <a:cxn ang="0">
                  <a:pos x="connsiteX2555" y="connsiteY2555"/>
                </a:cxn>
                <a:cxn ang="0">
                  <a:pos x="connsiteX2556" y="connsiteY2556"/>
                </a:cxn>
                <a:cxn ang="0">
                  <a:pos x="connsiteX2557" y="connsiteY2557"/>
                </a:cxn>
                <a:cxn ang="0">
                  <a:pos x="connsiteX2558" y="connsiteY2558"/>
                </a:cxn>
                <a:cxn ang="0">
                  <a:pos x="connsiteX2559" y="connsiteY2559"/>
                </a:cxn>
                <a:cxn ang="0">
                  <a:pos x="connsiteX2560" y="connsiteY2560"/>
                </a:cxn>
                <a:cxn ang="0">
                  <a:pos x="connsiteX2561" y="connsiteY2561"/>
                </a:cxn>
                <a:cxn ang="0">
                  <a:pos x="connsiteX2562" y="connsiteY2562"/>
                </a:cxn>
                <a:cxn ang="0">
                  <a:pos x="connsiteX2563" y="connsiteY2563"/>
                </a:cxn>
                <a:cxn ang="0">
                  <a:pos x="connsiteX2564" y="connsiteY2564"/>
                </a:cxn>
                <a:cxn ang="0">
                  <a:pos x="connsiteX2565" y="connsiteY2565"/>
                </a:cxn>
                <a:cxn ang="0">
                  <a:pos x="connsiteX2566" y="connsiteY2566"/>
                </a:cxn>
                <a:cxn ang="0">
                  <a:pos x="connsiteX2567" y="connsiteY2567"/>
                </a:cxn>
                <a:cxn ang="0">
                  <a:pos x="connsiteX2568" y="connsiteY2568"/>
                </a:cxn>
                <a:cxn ang="0">
                  <a:pos x="connsiteX2569" y="connsiteY2569"/>
                </a:cxn>
                <a:cxn ang="0">
                  <a:pos x="connsiteX2570" y="connsiteY2570"/>
                </a:cxn>
                <a:cxn ang="0">
                  <a:pos x="connsiteX2571" y="connsiteY2571"/>
                </a:cxn>
                <a:cxn ang="0">
                  <a:pos x="connsiteX2572" y="connsiteY2572"/>
                </a:cxn>
                <a:cxn ang="0">
                  <a:pos x="connsiteX2573" y="connsiteY2573"/>
                </a:cxn>
                <a:cxn ang="0">
                  <a:pos x="connsiteX2574" y="connsiteY2574"/>
                </a:cxn>
                <a:cxn ang="0">
                  <a:pos x="connsiteX2575" y="connsiteY2575"/>
                </a:cxn>
                <a:cxn ang="0">
                  <a:pos x="connsiteX2576" y="connsiteY2576"/>
                </a:cxn>
                <a:cxn ang="0">
                  <a:pos x="connsiteX2577" y="connsiteY2577"/>
                </a:cxn>
                <a:cxn ang="0">
                  <a:pos x="connsiteX2578" y="connsiteY2578"/>
                </a:cxn>
                <a:cxn ang="0">
                  <a:pos x="connsiteX2579" y="connsiteY2579"/>
                </a:cxn>
                <a:cxn ang="0">
                  <a:pos x="connsiteX2580" y="connsiteY2580"/>
                </a:cxn>
                <a:cxn ang="0">
                  <a:pos x="connsiteX2581" y="connsiteY2581"/>
                </a:cxn>
                <a:cxn ang="0">
                  <a:pos x="connsiteX2582" y="connsiteY2582"/>
                </a:cxn>
                <a:cxn ang="0">
                  <a:pos x="connsiteX2583" y="connsiteY2583"/>
                </a:cxn>
                <a:cxn ang="0">
                  <a:pos x="connsiteX2584" y="connsiteY2584"/>
                </a:cxn>
                <a:cxn ang="0">
                  <a:pos x="connsiteX2585" y="connsiteY2585"/>
                </a:cxn>
                <a:cxn ang="0">
                  <a:pos x="connsiteX2586" y="connsiteY2586"/>
                </a:cxn>
                <a:cxn ang="0">
                  <a:pos x="connsiteX2587" y="connsiteY2587"/>
                </a:cxn>
                <a:cxn ang="0">
                  <a:pos x="connsiteX2588" y="connsiteY2588"/>
                </a:cxn>
                <a:cxn ang="0">
                  <a:pos x="connsiteX2589" y="connsiteY2589"/>
                </a:cxn>
                <a:cxn ang="0">
                  <a:pos x="connsiteX2590" y="connsiteY2590"/>
                </a:cxn>
                <a:cxn ang="0">
                  <a:pos x="connsiteX2591" y="connsiteY2591"/>
                </a:cxn>
                <a:cxn ang="0">
                  <a:pos x="connsiteX2592" y="connsiteY2592"/>
                </a:cxn>
                <a:cxn ang="0">
                  <a:pos x="connsiteX2593" y="connsiteY2593"/>
                </a:cxn>
                <a:cxn ang="0">
                  <a:pos x="connsiteX2594" y="connsiteY2594"/>
                </a:cxn>
                <a:cxn ang="0">
                  <a:pos x="connsiteX2595" y="connsiteY2595"/>
                </a:cxn>
                <a:cxn ang="0">
                  <a:pos x="connsiteX2596" y="connsiteY2596"/>
                </a:cxn>
                <a:cxn ang="0">
                  <a:pos x="connsiteX2597" y="connsiteY2597"/>
                </a:cxn>
                <a:cxn ang="0">
                  <a:pos x="connsiteX2598" y="connsiteY2598"/>
                </a:cxn>
                <a:cxn ang="0">
                  <a:pos x="connsiteX2599" y="connsiteY2599"/>
                </a:cxn>
                <a:cxn ang="0">
                  <a:pos x="connsiteX2600" y="connsiteY2600"/>
                </a:cxn>
                <a:cxn ang="0">
                  <a:pos x="connsiteX2601" y="connsiteY2601"/>
                </a:cxn>
                <a:cxn ang="0">
                  <a:pos x="connsiteX2602" y="connsiteY2602"/>
                </a:cxn>
                <a:cxn ang="0">
                  <a:pos x="connsiteX2603" y="connsiteY2603"/>
                </a:cxn>
                <a:cxn ang="0">
                  <a:pos x="connsiteX2604" y="connsiteY2604"/>
                </a:cxn>
                <a:cxn ang="0">
                  <a:pos x="connsiteX2605" y="connsiteY2605"/>
                </a:cxn>
                <a:cxn ang="0">
                  <a:pos x="connsiteX2606" y="connsiteY2606"/>
                </a:cxn>
                <a:cxn ang="0">
                  <a:pos x="connsiteX2607" y="connsiteY2607"/>
                </a:cxn>
                <a:cxn ang="0">
                  <a:pos x="connsiteX2608" y="connsiteY2608"/>
                </a:cxn>
                <a:cxn ang="0">
                  <a:pos x="connsiteX2609" y="connsiteY2609"/>
                </a:cxn>
                <a:cxn ang="0">
                  <a:pos x="connsiteX2610" y="connsiteY2610"/>
                </a:cxn>
                <a:cxn ang="0">
                  <a:pos x="connsiteX2611" y="connsiteY2611"/>
                </a:cxn>
                <a:cxn ang="0">
                  <a:pos x="connsiteX2612" y="connsiteY2612"/>
                </a:cxn>
                <a:cxn ang="0">
                  <a:pos x="connsiteX2613" y="connsiteY2613"/>
                </a:cxn>
                <a:cxn ang="0">
                  <a:pos x="connsiteX2614" y="connsiteY2614"/>
                </a:cxn>
                <a:cxn ang="0">
                  <a:pos x="connsiteX2615" y="connsiteY2615"/>
                </a:cxn>
                <a:cxn ang="0">
                  <a:pos x="connsiteX2616" y="connsiteY2616"/>
                </a:cxn>
                <a:cxn ang="0">
                  <a:pos x="connsiteX2617" y="connsiteY2617"/>
                </a:cxn>
                <a:cxn ang="0">
                  <a:pos x="connsiteX2618" y="connsiteY2618"/>
                </a:cxn>
                <a:cxn ang="0">
                  <a:pos x="connsiteX2619" y="connsiteY2619"/>
                </a:cxn>
                <a:cxn ang="0">
                  <a:pos x="connsiteX2620" y="connsiteY2620"/>
                </a:cxn>
                <a:cxn ang="0">
                  <a:pos x="connsiteX2621" y="connsiteY2621"/>
                </a:cxn>
                <a:cxn ang="0">
                  <a:pos x="connsiteX2622" y="connsiteY2622"/>
                </a:cxn>
                <a:cxn ang="0">
                  <a:pos x="connsiteX2623" y="connsiteY2623"/>
                </a:cxn>
                <a:cxn ang="0">
                  <a:pos x="connsiteX2624" y="connsiteY2624"/>
                </a:cxn>
                <a:cxn ang="0">
                  <a:pos x="connsiteX2625" y="connsiteY2625"/>
                </a:cxn>
                <a:cxn ang="0">
                  <a:pos x="connsiteX2626" y="connsiteY2626"/>
                </a:cxn>
                <a:cxn ang="0">
                  <a:pos x="connsiteX2627" y="connsiteY2627"/>
                </a:cxn>
                <a:cxn ang="0">
                  <a:pos x="connsiteX2628" y="connsiteY2628"/>
                </a:cxn>
                <a:cxn ang="0">
                  <a:pos x="connsiteX2629" y="connsiteY2629"/>
                </a:cxn>
                <a:cxn ang="0">
                  <a:pos x="connsiteX2630" y="connsiteY2630"/>
                </a:cxn>
                <a:cxn ang="0">
                  <a:pos x="connsiteX2631" y="connsiteY2631"/>
                </a:cxn>
                <a:cxn ang="0">
                  <a:pos x="connsiteX2632" y="connsiteY2632"/>
                </a:cxn>
                <a:cxn ang="0">
                  <a:pos x="connsiteX2633" y="connsiteY2633"/>
                </a:cxn>
                <a:cxn ang="0">
                  <a:pos x="connsiteX2634" y="connsiteY2634"/>
                </a:cxn>
                <a:cxn ang="0">
                  <a:pos x="connsiteX2635" y="connsiteY2635"/>
                </a:cxn>
                <a:cxn ang="0">
                  <a:pos x="connsiteX2636" y="connsiteY2636"/>
                </a:cxn>
                <a:cxn ang="0">
                  <a:pos x="connsiteX2637" y="connsiteY2637"/>
                </a:cxn>
                <a:cxn ang="0">
                  <a:pos x="connsiteX2638" y="connsiteY2638"/>
                </a:cxn>
                <a:cxn ang="0">
                  <a:pos x="connsiteX2639" y="connsiteY2639"/>
                </a:cxn>
                <a:cxn ang="0">
                  <a:pos x="connsiteX2640" y="connsiteY2640"/>
                </a:cxn>
                <a:cxn ang="0">
                  <a:pos x="connsiteX2641" y="connsiteY2641"/>
                </a:cxn>
                <a:cxn ang="0">
                  <a:pos x="connsiteX2642" y="connsiteY2642"/>
                </a:cxn>
                <a:cxn ang="0">
                  <a:pos x="connsiteX2643" y="connsiteY2643"/>
                </a:cxn>
                <a:cxn ang="0">
                  <a:pos x="connsiteX2644" y="connsiteY2644"/>
                </a:cxn>
                <a:cxn ang="0">
                  <a:pos x="connsiteX2645" y="connsiteY2645"/>
                </a:cxn>
                <a:cxn ang="0">
                  <a:pos x="connsiteX2646" y="connsiteY2646"/>
                </a:cxn>
                <a:cxn ang="0">
                  <a:pos x="connsiteX2647" y="connsiteY2647"/>
                </a:cxn>
                <a:cxn ang="0">
                  <a:pos x="connsiteX2648" y="connsiteY2648"/>
                </a:cxn>
                <a:cxn ang="0">
                  <a:pos x="connsiteX2649" y="connsiteY2649"/>
                </a:cxn>
                <a:cxn ang="0">
                  <a:pos x="connsiteX2650" y="connsiteY2650"/>
                </a:cxn>
                <a:cxn ang="0">
                  <a:pos x="connsiteX2651" y="connsiteY2651"/>
                </a:cxn>
                <a:cxn ang="0">
                  <a:pos x="connsiteX2652" y="connsiteY2652"/>
                </a:cxn>
                <a:cxn ang="0">
                  <a:pos x="connsiteX2653" y="connsiteY2653"/>
                </a:cxn>
                <a:cxn ang="0">
                  <a:pos x="connsiteX2654" y="connsiteY2654"/>
                </a:cxn>
                <a:cxn ang="0">
                  <a:pos x="connsiteX2655" y="connsiteY2655"/>
                </a:cxn>
                <a:cxn ang="0">
                  <a:pos x="connsiteX2656" y="connsiteY2656"/>
                </a:cxn>
                <a:cxn ang="0">
                  <a:pos x="connsiteX2657" y="connsiteY2657"/>
                </a:cxn>
                <a:cxn ang="0">
                  <a:pos x="connsiteX2658" y="connsiteY2658"/>
                </a:cxn>
                <a:cxn ang="0">
                  <a:pos x="connsiteX2659" y="connsiteY2659"/>
                </a:cxn>
                <a:cxn ang="0">
                  <a:pos x="connsiteX2660" y="connsiteY2660"/>
                </a:cxn>
                <a:cxn ang="0">
                  <a:pos x="connsiteX2661" y="connsiteY2661"/>
                </a:cxn>
                <a:cxn ang="0">
                  <a:pos x="connsiteX2662" y="connsiteY2662"/>
                </a:cxn>
                <a:cxn ang="0">
                  <a:pos x="connsiteX2663" y="connsiteY2663"/>
                </a:cxn>
                <a:cxn ang="0">
                  <a:pos x="connsiteX2664" y="connsiteY2664"/>
                </a:cxn>
                <a:cxn ang="0">
                  <a:pos x="connsiteX2665" y="connsiteY2665"/>
                </a:cxn>
                <a:cxn ang="0">
                  <a:pos x="connsiteX2666" y="connsiteY2666"/>
                </a:cxn>
                <a:cxn ang="0">
                  <a:pos x="connsiteX2667" y="connsiteY2667"/>
                </a:cxn>
                <a:cxn ang="0">
                  <a:pos x="connsiteX2668" y="connsiteY2668"/>
                </a:cxn>
                <a:cxn ang="0">
                  <a:pos x="connsiteX2669" y="connsiteY2669"/>
                </a:cxn>
                <a:cxn ang="0">
                  <a:pos x="connsiteX2670" y="connsiteY2670"/>
                </a:cxn>
                <a:cxn ang="0">
                  <a:pos x="connsiteX2671" y="connsiteY2671"/>
                </a:cxn>
                <a:cxn ang="0">
                  <a:pos x="connsiteX2672" y="connsiteY2672"/>
                </a:cxn>
                <a:cxn ang="0">
                  <a:pos x="connsiteX2673" y="connsiteY2673"/>
                </a:cxn>
                <a:cxn ang="0">
                  <a:pos x="connsiteX2674" y="connsiteY2674"/>
                </a:cxn>
                <a:cxn ang="0">
                  <a:pos x="connsiteX2675" y="connsiteY2675"/>
                </a:cxn>
                <a:cxn ang="0">
                  <a:pos x="connsiteX2676" y="connsiteY2676"/>
                </a:cxn>
                <a:cxn ang="0">
                  <a:pos x="connsiteX2677" y="connsiteY2677"/>
                </a:cxn>
                <a:cxn ang="0">
                  <a:pos x="connsiteX2678" y="connsiteY2678"/>
                </a:cxn>
                <a:cxn ang="0">
                  <a:pos x="connsiteX2679" y="connsiteY2679"/>
                </a:cxn>
                <a:cxn ang="0">
                  <a:pos x="connsiteX2680" y="connsiteY2680"/>
                </a:cxn>
                <a:cxn ang="0">
                  <a:pos x="connsiteX2681" y="connsiteY2681"/>
                </a:cxn>
                <a:cxn ang="0">
                  <a:pos x="connsiteX2682" y="connsiteY2682"/>
                </a:cxn>
                <a:cxn ang="0">
                  <a:pos x="connsiteX2683" y="connsiteY2683"/>
                </a:cxn>
                <a:cxn ang="0">
                  <a:pos x="connsiteX2684" y="connsiteY2684"/>
                </a:cxn>
                <a:cxn ang="0">
                  <a:pos x="connsiteX2685" y="connsiteY2685"/>
                </a:cxn>
                <a:cxn ang="0">
                  <a:pos x="connsiteX2686" y="connsiteY2686"/>
                </a:cxn>
                <a:cxn ang="0">
                  <a:pos x="connsiteX2687" y="connsiteY2687"/>
                </a:cxn>
                <a:cxn ang="0">
                  <a:pos x="connsiteX2688" y="connsiteY2688"/>
                </a:cxn>
                <a:cxn ang="0">
                  <a:pos x="connsiteX2689" y="connsiteY2689"/>
                </a:cxn>
                <a:cxn ang="0">
                  <a:pos x="connsiteX2690" y="connsiteY2690"/>
                </a:cxn>
                <a:cxn ang="0">
                  <a:pos x="connsiteX2691" y="connsiteY2691"/>
                </a:cxn>
                <a:cxn ang="0">
                  <a:pos x="connsiteX2692" y="connsiteY2692"/>
                </a:cxn>
                <a:cxn ang="0">
                  <a:pos x="connsiteX2693" y="connsiteY2693"/>
                </a:cxn>
                <a:cxn ang="0">
                  <a:pos x="connsiteX2694" y="connsiteY2694"/>
                </a:cxn>
                <a:cxn ang="0">
                  <a:pos x="connsiteX2695" y="connsiteY2695"/>
                </a:cxn>
                <a:cxn ang="0">
                  <a:pos x="connsiteX2696" y="connsiteY2696"/>
                </a:cxn>
                <a:cxn ang="0">
                  <a:pos x="connsiteX2697" y="connsiteY2697"/>
                </a:cxn>
                <a:cxn ang="0">
                  <a:pos x="connsiteX2698" y="connsiteY2698"/>
                </a:cxn>
                <a:cxn ang="0">
                  <a:pos x="connsiteX2699" y="connsiteY2699"/>
                </a:cxn>
                <a:cxn ang="0">
                  <a:pos x="connsiteX2700" y="connsiteY2700"/>
                </a:cxn>
                <a:cxn ang="0">
                  <a:pos x="connsiteX2701" y="connsiteY2701"/>
                </a:cxn>
                <a:cxn ang="0">
                  <a:pos x="connsiteX2702" y="connsiteY2702"/>
                </a:cxn>
                <a:cxn ang="0">
                  <a:pos x="connsiteX2703" y="connsiteY2703"/>
                </a:cxn>
                <a:cxn ang="0">
                  <a:pos x="connsiteX2704" y="connsiteY2704"/>
                </a:cxn>
                <a:cxn ang="0">
                  <a:pos x="connsiteX2705" y="connsiteY2705"/>
                </a:cxn>
                <a:cxn ang="0">
                  <a:pos x="connsiteX2706" y="connsiteY2706"/>
                </a:cxn>
                <a:cxn ang="0">
                  <a:pos x="connsiteX2707" y="connsiteY2707"/>
                </a:cxn>
                <a:cxn ang="0">
                  <a:pos x="connsiteX2708" y="connsiteY2708"/>
                </a:cxn>
                <a:cxn ang="0">
                  <a:pos x="connsiteX2709" y="connsiteY2709"/>
                </a:cxn>
                <a:cxn ang="0">
                  <a:pos x="connsiteX2710" y="connsiteY2710"/>
                </a:cxn>
                <a:cxn ang="0">
                  <a:pos x="connsiteX2711" y="connsiteY2711"/>
                </a:cxn>
                <a:cxn ang="0">
                  <a:pos x="connsiteX2712" y="connsiteY2712"/>
                </a:cxn>
                <a:cxn ang="0">
                  <a:pos x="connsiteX2713" y="connsiteY2713"/>
                </a:cxn>
                <a:cxn ang="0">
                  <a:pos x="connsiteX2714" y="connsiteY2714"/>
                </a:cxn>
                <a:cxn ang="0">
                  <a:pos x="connsiteX2715" y="connsiteY2715"/>
                </a:cxn>
                <a:cxn ang="0">
                  <a:pos x="connsiteX2716" y="connsiteY2716"/>
                </a:cxn>
                <a:cxn ang="0">
                  <a:pos x="connsiteX2717" y="connsiteY2717"/>
                </a:cxn>
                <a:cxn ang="0">
                  <a:pos x="connsiteX2718" y="connsiteY2718"/>
                </a:cxn>
                <a:cxn ang="0">
                  <a:pos x="connsiteX2719" y="connsiteY2719"/>
                </a:cxn>
                <a:cxn ang="0">
                  <a:pos x="connsiteX2720" y="connsiteY2720"/>
                </a:cxn>
                <a:cxn ang="0">
                  <a:pos x="connsiteX2721" y="connsiteY2721"/>
                </a:cxn>
                <a:cxn ang="0">
                  <a:pos x="connsiteX2722" y="connsiteY2722"/>
                </a:cxn>
                <a:cxn ang="0">
                  <a:pos x="connsiteX2723" y="connsiteY2723"/>
                </a:cxn>
                <a:cxn ang="0">
                  <a:pos x="connsiteX2724" y="connsiteY2724"/>
                </a:cxn>
                <a:cxn ang="0">
                  <a:pos x="connsiteX2725" y="connsiteY2725"/>
                </a:cxn>
                <a:cxn ang="0">
                  <a:pos x="connsiteX2726" y="connsiteY2726"/>
                </a:cxn>
                <a:cxn ang="0">
                  <a:pos x="connsiteX2727" y="connsiteY2727"/>
                </a:cxn>
                <a:cxn ang="0">
                  <a:pos x="connsiteX2728" y="connsiteY2728"/>
                </a:cxn>
                <a:cxn ang="0">
                  <a:pos x="connsiteX2729" y="connsiteY2729"/>
                </a:cxn>
                <a:cxn ang="0">
                  <a:pos x="connsiteX2730" y="connsiteY2730"/>
                </a:cxn>
                <a:cxn ang="0">
                  <a:pos x="connsiteX2731" y="connsiteY2731"/>
                </a:cxn>
                <a:cxn ang="0">
                  <a:pos x="connsiteX2732" y="connsiteY2732"/>
                </a:cxn>
                <a:cxn ang="0">
                  <a:pos x="connsiteX2733" y="connsiteY2733"/>
                </a:cxn>
                <a:cxn ang="0">
                  <a:pos x="connsiteX2734" y="connsiteY2734"/>
                </a:cxn>
                <a:cxn ang="0">
                  <a:pos x="connsiteX2735" y="connsiteY2735"/>
                </a:cxn>
                <a:cxn ang="0">
                  <a:pos x="connsiteX2736" y="connsiteY2736"/>
                </a:cxn>
                <a:cxn ang="0">
                  <a:pos x="connsiteX2737" y="connsiteY2737"/>
                </a:cxn>
                <a:cxn ang="0">
                  <a:pos x="connsiteX2738" y="connsiteY2738"/>
                </a:cxn>
                <a:cxn ang="0">
                  <a:pos x="connsiteX2739" y="connsiteY2739"/>
                </a:cxn>
                <a:cxn ang="0">
                  <a:pos x="connsiteX2740" y="connsiteY2740"/>
                </a:cxn>
                <a:cxn ang="0">
                  <a:pos x="connsiteX2741" y="connsiteY2741"/>
                </a:cxn>
                <a:cxn ang="0">
                  <a:pos x="connsiteX2742" y="connsiteY2742"/>
                </a:cxn>
                <a:cxn ang="0">
                  <a:pos x="connsiteX2743" y="connsiteY2743"/>
                </a:cxn>
                <a:cxn ang="0">
                  <a:pos x="connsiteX2744" y="connsiteY2744"/>
                </a:cxn>
                <a:cxn ang="0">
                  <a:pos x="connsiteX2745" y="connsiteY2745"/>
                </a:cxn>
                <a:cxn ang="0">
                  <a:pos x="connsiteX2746" y="connsiteY2746"/>
                </a:cxn>
                <a:cxn ang="0">
                  <a:pos x="connsiteX2747" y="connsiteY2747"/>
                </a:cxn>
                <a:cxn ang="0">
                  <a:pos x="connsiteX2748" y="connsiteY2748"/>
                </a:cxn>
                <a:cxn ang="0">
                  <a:pos x="connsiteX2749" y="connsiteY2749"/>
                </a:cxn>
                <a:cxn ang="0">
                  <a:pos x="connsiteX2750" y="connsiteY2750"/>
                </a:cxn>
                <a:cxn ang="0">
                  <a:pos x="connsiteX2751" y="connsiteY2751"/>
                </a:cxn>
                <a:cxn ang="0">
                  <a:pos x="connsiteX2752" y="connsiteY2752"/>
                </a:cxn>
                <a:cxn ang="0">
                  <a:pos x="connsiteX2753" y="connsiteY2753"/>
                </a:cxn>
                <a:cxn ang="0">
                  <a:pos x="connsiteX2754" y="connsiteY2754"/>
                </a:cxn>
                <a:cxn ang="0">
                  <a:pos x="connsiteX2755" y="connsiteY2755"/>
                </a:cxn>
                <a:cxn ang="0">
                  <a:pos x="connsiteX2756" y="connsiteY2756"/>
                </a:cxn>
                <a:cxn ang="0">
                  <a:pos x="connsiteX2757" y="connsiteY2757"/>
                </a:cxn>
                <a:cxn ang="0">
                  <a:pos x="connsiteX2758" y="connsiteY2758"/>
                </a:cxn>
                <a:cxn ang="0">
                  <a:pos x="connsiteX2759" y="connsiteY2759"/>
                </a:cxn>
                <a:cxn ang="0">
                  <a:pos x="connsiteX2760" y="connsiteY2760"/>
                </a:cxn>
                <a:cxn ang="0">
                  <a:pos x="connsiteX2761" y="connsiteY2761"/>
                </a:cxn>
                <a:cxn ang="0">
                  <a:pos x="connsiteX2762" y="connsiteY2762"/>
                </a:cxn>
                <a:cxn ang="0">
                  <a:pos x="connsiteX2763" y="connsiteY2763"/>
                </a:cxn>
                <a:cxn ang="0">
                  <a:pos x="connsiteX2764" y="connsiteY2764"/>
                </a:cxn>
                <a:cxn ang="0">
                  <a:pos x="connsiteX2765" y="connsiteY2765"/>
                </a:cxn>
                <a:cxn ang="0">
                  <a:pos x="connsiteX2766" y="connsiteY2766"/>
                </a:cxn>
                <a:cxn ang="0">
                  <a:pos x="connsiteX2767" y="connsiteY2767"/>
                </a:cxn>
                <a:cxn ang="0">
                  <a:pos x="connsiteX2768" y="connsiteY2768"/>
                </a:cxn>
                <a:cxn ang="0">
                  <a:pos x="connsiteX2769" y="connsiteY2769"/>
                </a:cxn>
                <a:cxn ang="0">
                  <a:pos x="connsiteX2770" y="connsiteY2770"/>
                </a:cxn>
                <a:cxn ang="0">
                  <a:pos x="connsiteX2771" y="connsiteY2771"/>
                </a:cxn>
                <a:cxn ang="0">
                  <a:pos x="connsiteX2772" y="connsiteY2772"/>
                </a:cxn>
                <a:cxn ang="0">
                  <a:pos x="connsiteX2773" y="connsiteY2773"/>
                </a:cxn>
                <a:cxn ang="0">
                  <a:pos x="connsiteX2774" y="connsiteY2774"/>
                </a:cxn>
                <a:cxn ang="0">
                  <a:pos x="connsiteX2775" y="connsiteY2775"/>
                </a:cxn>
                <a:cxn ang="0">
                  <a:pos x="connsiteX2776" y="connsiteY2776"/>
                </a:cxn>
                <a:cxn ang="0">
                  <a:pos x="connsiteX2777" y="connsiteY2777"/>
                </a:cxn>
                <a:cxn ang="0">
                  <a:pos x="connsiteX2778" y="connsiteY2778"/>
                </a:cxn>
                <a:cxn ang="0">
                  <a:pos x="connsiteX2779" y="connsiteY2779"/>
                </a:cxn>
                <a:cxn ang="0">
                  <a:pos x="connsiteX2780" y="connsiteY2780"/>
                </a:cxn>
                <a:cxn ang="0">
                  <a:pos x="connsiteX2781" y="connsiteY2781"/>
                </a:cxn>
                <a:cxn ang="0">
                  <a:pos x="connsiteX2782" y="connsiteY2782"/>
                </a:cxn>
                <a:cxn ang="0">
                  <a:pos x="connsiteX2783" y="connsiteY2783"/>
                </a:cxn>
                <a:cxn ang="0">
                  <a:pos x="connsiteX2784" y="connsiteY2784"/>
                </a:cxn>
                <a:cxn ang="0">
                  <a:pos x="connsiteX2785" y="connsiteY2785"/>
                </a:cxn>
                <a:cxn ang="0">
                  <a:pos x="connsiteX2786" y="connsiteY2786"/>
                </a:cxn>
                <a:cxn ang="0">
                  <a:pos x="connsiteX2787" y="connsiteY2787"/>
                </a:cxn>
                <a:cxn ang="0">
                  <a:pos x="connsiteX2788" y="connsiteY2788"/>
                </a:cxn>
                <a:cxn ang="0">
                  <a:pos x="connsiteX2789" y="connsiteY2789"/>
                </a:cxn>
                <a:cxn ang="0">
                  <a:pos x="connsiteX2790" y="connsiteY2790"/>
                </a:cxn>
                <a:cxn ang="0">
                  <a:pos x="connsiteX2791" y="connsiteY2791"/>
                </a:cxn>
                <a:cxn ang="0">
                  <a:pos x="connsiteX2792" y="connsiteY2792"/>
                </a:cxn>
                <a:cxn ang="0">
                  <a:pos x="connsiteX2793" y="connsiteY2793"/>
                </a:cxn>
                <a:cxn ang="0">
                  <a:pos x="connsiteX2794" y="connsiteY2794"/>
                </a:cxn>
                <a:cxn ang="0">
                  <a:pos x="connsiteX2795" y="connsiteY2795"/>
                </a:cxn>
                <a:cxn ang="0">
                  <a:pos x="connsiteX2796" y="connsiteY2796"/>
                </a:cxn>
                <a:cxn ang="0">
                  <a:pos x="connsiteX2797" y="connsiteY2797"/>
                </a:cxn>
                <a:cxn ang="0">
                  <a:pos x="connsiteX2798" y="connsiteY2798"/>
                </a:cxn>
                <a:cxn ang="0">
                  <a:pos x="connsiteX2799" y="connsiteY2799"/>
                </a:cxn>
                <a:cxn ang="0">
                  <a:pos x="connsiteX2800" y="connsiteY2800"/>
                </a:cxn>
                <a:cxn ang="0">
                  <a:pos x="connsiteX2801" y="connsiteY2801"/>
                </a:cxn>
                <a:cxn ang="0">
                  <a:pos x="connsiteX2802" y="connsiteY2802"/>
                </a:cxn>
                <a:cxn ang="0">
                  <a:pos x="connsiteX2803" y="connsiteY2803"/>
                </a:cxn>
                <a:cxn ang="0">
                  <a:pos x="connsiteX2804" y="connsiteY2804"/>
                </a:cxn>
                <a:cxn ang="0">
                  <a:pos x="connsiteX2805" y="connsiteY2805"/>
                </a:cxn>
                <a:cxn ang="0">
                  <a:pos x="connsiteX2806" y="connsiteY2806"/>
                </a:cxn>
                <a:cxn ang="0">
                  <a:pos x="connsiteX2807" y="connsiteY2807"/>
                </a:cxn>
                <a:cxn ang="0">
                  <a:pos x="connsiteX2808" y="connsiteY2808"/>
                </a:cxn>
                <a:cxn ang="0">
                  <a:pos x="connsiteX2809" y="connsiteY2809"/>
                </a:cxn>
                <a:cxn ang="0">
                  <a:pos x="connsiteX2810" y="connsiteY2810"/>
                </a:cxn>
                <a:cxn ang="0">
                  <a:pos x="connsiteX2811" y="connsiteY2811"/>
                </a:cxn>
                <a:cxn ang="0">
                  <a:pos x="connsiteX2812" y="connsiteY2812"/>
                </a:cxn>
                <a:cxn ang="0">
                  <a:pos x="connsiteX2813" y="connsiteY2813"/>
                </a:cxn>
                <a:cxn ang="0">
                  <a:pos x="connsiteX2814" y="connsiteY2814"/>
                </a:cxn>
                <a:cxn ang="0">
                  <a:pos x="connsiteX2815" y="connsiteY2815"/>
                </a:cxn>
                <a:cxn ang="0">
                  <a:pos x="connsiteX2816" y="connsiteY2816"/>
                </a:cxn>
                <a:cxn ang="0">
                  <a:pos x="connsiteX2817" y="connsiteY2817"/>
                </a:cxn>
                <a:cxn ang="0">
                  <a:pos x="connsiteX2818" y="connsiteY2818"/>
                </a:cxn>
                <a:cxn ang="0">
                  <a:pos x="connsiteX2819" y="connsiteY2819"/>
                </a:cxn>
                <a:cxn ang="0">
                  <a:pos x="connsiteX2820" y="connsiteY2820"/>
                </a:cxn>
                <a:cxn ang="0">
                  <a:pos x="connsiteX2821" y="connsiteY2821"/>
                </a:cxn>
                <a:cxn ang="0">
                  <a:pos x="connsiteX2822" y="connsiteY2822"/>
                </a:cxn>
                <a:cxn ang="0">
                  <a:pos x="connsiteX2823" y="connsiteY2823"/>
                </a:cxn>
                <a:cxn ang="0">
                  <a:pos x="connsiteX2824" y="connsiteY2824"/>
                </a:cxn>
                <a:cxn ang="0">
                  <a:pos x="connsiteX2825" y="connsiteY2825"/>
                </a:cxn>
                <a:cxn ang="0">
                  <a:pos x="connsiteX2826" y="connsiteY2826"/>
                </a:cxn>
                <a:cxn ang="0">
                  <a:pos x="connsiteX2827" y="connsiteY2827"/>
                </a:cxn>
                <a:cxn ang="0">
                  <a:pos x="connsiteX2828" y="connsiteY2828"/>
                </a:cxn>
                <a:cxn ang="0">
                  <a:pos x="connsiteX2829" y="connsiteY2829"/>
                </a:cxn>
                <a:cxn ang="0">
                  <a:pos x="connsiteX2830" y="connsiteY2830"/>
                </a:cxn>
                <a:cxn ang="0">
                  <a:pos x="connsiteX2831" y="connsiteY2831"/>
                </a:cxn>
                <a:cxn ang="0">
                  <a:pos x="connsiteX2832" y="connsiteY2832"/>
                </a:cxn>
                <a:cxn ang="0">
                  <a:pos x="connsiteX2833" y="connsiteY2833"/>
                </a:cxn>
                <a:cxn ang="0">
                  <a:pos x="connsiteX2834" y="connsiteY2834"/>
                </a:cxn>
                <a:cxn ang="0">
                  <a:pos x="connsiteX2835" y="connsiteY2835"/>
                </a:cxn>
                <a:cxn ang="0">
                  <a:pos x="connsiteX2836" y="connsiteY2836"/>
                </a:cxn>
                <a:cxn ang="0">
                  <a:pos x="connsiteX2837" y="connsiteY2837"/>
                </a:cxn>
                <a:cxn ang="0">
                  <a:pos x="connsiteX2838" y="connsiteY2838"/>
                </a:cxn>
                <a:cxn ang="0">
                  <a:pos x="connsiteX2839" y="connsiteY2839"/>
                </a:cxn>
                <a:cxn ang="0">
                  <a:pos x="connsiteX2840" y="connsiteY2840"/>
                </a:cxn>
                <a:cxn ang="0">
                  <a:pos x="connsiteX2841" y="connsiteY2841"/>
                </a:cxn>
                <a:cxn ang="0">
                  <a:pos x="connsiteX2842" y="connsiteY2842"/>
                </a:cxn>
                <a:cxn ang="0">
                  <a:pos x="connsiteX2843" y="connsiteY2843"/>
                </a:cxn>
                <a:cxn ang="0">
                  <a:pos x="connsiteX2844" y="connsiteY2844"/>
                </a:cxn>
                <a:cxn ang="0">
                  <a:pos x="connsiteX2845" y="connsiteY2845"/>
                </a:cxn>
                <a:cxn ang="0">
                  <a:pos x="connsiteX2846" y="connsiteY2846"/>
                </a:cxn>
                <a:cxn ang="0">
                  <a:pos x="connsiteX2847" y="connsiteY2847"/>
                </a:cxn>
                <a:cxn ang="0">
                  <a:pos x="connsiteX2848" y="connsiteY2848"/>
                </a:cxn>
                <a:cxn ang="0">
                  <a:pos x="connsiteX2849" y="connsiteY2849"/>
                </a:cxn>
                <a:cxn ang="0">
                  <a:pos x="connsiteX2850" y="connsiteY2850"/>
                </a:cxn>
                <a:cxn ang="0">
                  <a:pos x="connsiteX2851" y="connsiteY2851"/>
                </a:cxn>
                <a:cxn ang="0">
                  <a:pos x="connsiteX2852" y="connsiteY2852"/>
                </a:cxn>
                <a:cxn ang="0">
                  <a:pos x="connsiteX2853" y="connsiteY2853"/>
                </a:cxn>
                <a:cxn ang="0">
                  <a:pos x="connsiteX2854" y="connsiteY2854"/>
                </a:cxn>
                <a:cxn ang="0">
                  <a:pos x="connsiteX2855" y="connsiteY2855"/>
                </a:cxn>
                <a:cxn ang="0">
                  <a:pos x="connsiteX2856" y="connsiteY2856"/>
                </a:cxn>
                <a:cxn ang="0">
                  <a:pos x="connsiteX2857" y="connsiteY2857"/>
                </a:cxn>
                <a:cxn ang="0">
                  <a:pos x="connsiteX2858" y="connsiteY2858"/>
                </a:cxn>
                <a:cxn ang="0">
                  <a:pos x="connsiteX2859" y="connsiteY2859"/>
                </a:cxn>
                <a:cxn ang="0">
                  <a:pos x="connsiteX2860" y="connsiteY2860"/>
                </a:cxn>
                <a:cxn ang="0">
                  <a:pos x="connsiteX2861" y="connsiteY2861"/>
                </a:cxn>
                <a:cxn ang="0">
                  <a:pos x="connsiteX2862" y="connsiteY2862"/>
                </a:cxn>
                <a:cxn ang="0">
                  <a:pos x="connsiteX2863" y="connsiteY2863"/>
                </a:cxn>
                <a:cxn ang="0">
                  <a:pos x="connsiteX2864" y="connsiteY2864"/>
                </a:cxn>
                <a:cxn ang="0">
                  <a:pos x="connsiteX2865" y="connsiteY2865"/>
                </a:cxn>
                <a:cxn ang="0">
                  <a:pos x="connsiteX2866" y="connsiteY2866"/>
                </a:cxn>
                <a:cxn ang="0">
                  <a:pos x="connsiteX2867" y="connsiteY2867"/>
                </a:cxn>
                <a:cxn ang="0">
                  <a:pos x="connsiteX2868" y="connsiteY2868"/>
                </a:cxn>
                <a:cxn ang="0">
                  <a:pos x="connsiteX2869" y="connsiteY2869"/>
                </a:cxn>
                <a:cxn ang="0">
                  <a:pos x="connsiteX2870" y="connsiteY2870"/>
                </a:cxn>
                <a:cxn ang="0">
                  <a:pos x="connsiteX2871" y="connsiteY2871"/>
                </a:cxn>
                <a:cxn ang="0">
                  <a:pos x="connsiteX2872" y="connsiteY2872"/>
                </a:cxn>
                <a:cxn ang="0">
                  <a:pos x="connsiteX2873" y="connsiteY2873"/>
                </a:cxn>
                <a:cxn ang="0">
                  <a:pos x="connsiteX2874" y="connsiteY2874"/>
                </a:cxn>
                <a:cxn ang="0">
                  <a:pos x="connsiteX2875" y="connsiteY2875"/>
                </a:cxn>
                <a:cxn ang="0">
                  <a:pos x="connsiteX2876" y="connsiteY2876"/>
                </a:cxn>
                <a:cxn ang="0">
                  <a:pos x="connsiteX2877" y="connsiteY2877"/>
                </a:cxn>
                <a:cxn ang="0">
                  <a:pos x="connsiteX2878" y="connsiteY2878"/>
                </a:cxn>
                <a:cxn ang="0">
                  <a:pos x="connsiteX2879" y="connsiteY2879"/>
                </a:cxn>
                <a:cxn ang="0">
                  <a:pos x="connsiteX2880" y="connsiteY2880"/>
                </a:cxn>
                <a:cxn ang="0">
                  <a:pos x="connsiteX2881" y="connsiteY2881"/>
                </a:cxn>
                <a:cxn ang="0">
                  <a:pos x="connsiteX2882" y="connsiteY2882"/>
                </a:cxn>
                <a:cxn ang="0">
                  <a:pos x="connsiteX2883" y="connsiteY2883"/>
                </a:cxn>
                <a:cxn ang="0">
                  <a:pos x="connsiteX2884" y="connsiteY2884"/>
                </a:cxn>
                <a:cxn ang="0">
                  <a:pos x="connsiteX2885" y="connsiteY2885"/>
                </a:cxn>
                <a:cxn ang="0">
                  <a:pos x="connsiteX2886" y="connsiteY2886"/>
                </a:cxn>
                <a:cxn ang="0">
                  <a:pos x="connsiteX2887" y="connsiteY2887"/>
                </a:cxn>
                <a:cxn ang="0">
                  <a:pos x="connsiteX2888" y="connsiteY2888"/>
                </a:cxn>
                <a:cxn ang="0">
                  <a:pos x="connsiteX2889" y="connsiteY2889"/>
                </a:cxn>
                <a:cxn ang="0">
                  <a:pos x="connsiteX2890" y="connsiteY2890"/>
                </a:cxn>
                <a:cxn ang="0">
                  <a:pos x="connsiteX2891" y="connsiteY2891"/>
                </a:cxn>
                <a:cxn ang="0">
                  <a:pos x="connsiteX2892" y="connsiteY2892"/>
                </a:cxn>
                <a:cxn ang="0">
                  <a:pos x="connsiteX2893" y="connsiteY2893"/>
                </a:cxn>
                <a:cxn ang="0">
                  <a:pos x="connsiteX2894" y="connsiteY2894"/>
                </a:cxn>
                <a:cxn ang="0">
                  <a:pos x="connsiteX2895" y="connsiteY2895"/>
                </a:cxn>
                <a:cxn ang="0">
                  <a:pos x="connsiteX2896" y="connsiteY2896"/>
                </a:cxn>
                <a:cxn ang="0">
                  <a:pos x="connsiteX2897" y="connsiteY2897"/>
                </a:cxn>
                <a:cxn ang="0">
                  <a:pos x="connsiteX2898" y="connsiteY2898"/>
                </a:cxn>
                <a:cxn ang="0">
                  <a:pos x="connsiteX2899" y="connsiteY2899"/>
                </a:cxn>
                <a:cxn ang="0">
                  <a:pos x="connsiteX2900" y="connsiteY2900"/>
                </a:cxn>
                <a:cxn ang="0">
                  <a:pos x="connsiteX2901" y="connsiteY2901"/>
                </a:cxn>
                <a:cxn ang="0">
                  <a:pos x="connsiteX2902" y="connsiteY2902"/>
                </a:cxn>
                <a:cxn ang="0">
                  <a:pos x="connsiteX2903" y="connsiteY2903"/>
                </a:cxn>
                <a:cxn ang="0">
                  <a:pos x="connsiteX2904" y="connsiteY2904"/>
                </a:cxn>
                <a:cxn ang="0">
                  <a:pos x="connsiteX2905" y="connsiteY2905"/>
                </a:cxn>
                <a:cxn ang="0">
                  <a:pos x="connsiteX2906" y="connsiteY2906"/>
                </a:cxn>
                <a:cxn ang="0">
                  <a:pos x="connsiteX2907" y="connsiteY2907"/>
                </a:cxn>
                <a:cxn ang="0">
                  <a:pos x="connsiteX2908" y="connsiteY2908"/>
                </a:cxn>
                <a:cxn ang="0">
                  <a:pos x="connsiteX2909" y="connsiteY2909"/>
                </a:cxn>
                <a:cxn ang="0">
                  <a:pos x="connsiteX2910" y="connsiteY2910"/>
                </a:cxn>
                <a:cxn ang="0">
                  <a:pos x="connsiteX2911" y="connsiteY2911"/>
                </a:cxn>
                <a:cxn ang="0">
                  <a:pos x="connsiteX2912" y="connsiteY2912"/>
                </a:cxn>
                <a:cxn ang="0">
                  <a:pos x="connsiteX2913" y="connsiteY2913"/>
                </a:cxn>
                <a:cxn ang="0">
                  <a:pos x="connsiteX2914" y="connsiteY2914"/>
                </a:cxn>
                <a:cxn ang="0">
                  <a:pos x="connsiteX2915" y="connsiteY2915"/>
                </a:cxn>
                <a:cxn ang="0">
                  <a:pos x="connsiteX2916" y="connsiteY2916"/>
                </a:cxn>
                <a:cxn ang="0">
                  <a:pos x="connsiteX2917" y="connsiteY2917"/>
                </a:cxn>
                <a:cxn ang="0">
                  <a:pos x="connsiteX2918" y="connsiteY2918"/>
                </a:cxn>
                <a:cxn ang="0">
                  <a:pos x="connsiteX2919" y="connsiteY2919"/>
                </a:cxn>
                <a:cxn ang="0">
                  <a:pos x="connsiteX2920" y="connsiteY2920"/>
                </a:cxn>
                <a:cxn ang="0">
                  <a:pos x="connsiteX2921" y="connsiteY2921"/>
                </a:cxn>
                <a:cxn ang="0">
                  <a:pos x="connsiteX2922" y="connsiteY2922"/>
                </a:cxn>
                <a:cxn ang="0">
                  <a:pos x="connsiteX2923" y="connsiteY2923"/>
                </a:cxn>
                <a:cxn ang="0">
                  <a:pos x="connsiteX2924" y="connsiteY2924"/>
                </a:cxn>
                <a:cxn ang="0">
                  <a:pos x="connsiteX2925" y="connsiteY2925"/>
                </a:cxn>
                <a:cxn ang="0">
                  <a:pos x="connsiteX2926" y="connsiteY2926"/>
                </a:cxn>
                <a:cxn ang="0">
                  <a:pos x="connsiteX2927" y="connsiteY2927"/>
                </a:cxn>
                <a:cxn ang="0">
                  <a:pos x="connsiteX2928" y="connsiteY2928"/>
                </a:cxn>
                <a:cxn ang="0">
                  <a:pos x="connsiteX2929" y="connsiteY2929"/>
                </a:cxn>
                <a:cxn ang="0">
                  <a:pos x="connsiteX2930" y="connsiteY2930"/>
                </a:cxn>
                <a:cxn ang="0">
                  <a:pos x="connsiteX2931" y="connsiteY2931"/>
                </a:cxn>
                <a:cxn ang="0">
                  <a:pos x="connsiteX2932" y="connsiteY2932"/>
                </a:cxn>
                <a:cxn ang="0">
                  <a:pos x="connsiteX2933" y="connsiteY2933"/>
                </a:cxn>
                <a:cxn ang="0">
                  <a:pos x="connsiteX2934" y="connsiteY2934"/>
                </a:cxn>
                <a:cxn ang="0">
                  <a:pos x="connsiteX2935" y="connsiteY2935"/>
                </a:cxn>
                <a:cxn ang="0">
                  <a:pos x="connsiteX2936" y="connsiteY2936"/>
                </a:cxn>
                <a:cxn ang="0">
                  <a:pos x="connsiteX2937" y="connsiteY2937"/>
                </a:cxn>
                <a:cxn ang="0">
                  <a:pos x="connsiteX2938" y="connsiteY2938"/>
                </a:cxn>
                <a:cxn ang="0">
                  <a:pos x="connsiteX2939" y="connsiteY2939"/>
                </a:cxn>
                <a:cxn ang="0">
                  <a:pos x="connsiteX2940" y="connsiteY2940"/>
                </a:cxn>
                <a:cxn ang="0">
                  <a:pos x="connsiteX2941" y="connsiteY2941"/>
                </a:cxn>
                <a:cxn ang="0">
                  <a:pos x="connsiteX2942" y="connsiteY2942"/>
                </a:cxn>
                <a:cxn ang="0">
                  <a:pos x="connsiteX2943" y="connsiteY2943"/>
                </a:cxn>
                <a:cxn ang="0">
                  <a:pos x="connsiteX2944" y="connsiteY2944"/>
                </a:cxn>
                <a:cxn ang="0">
                  <a:pos x="connsiteX2945" y="connsiteY2945"/>
                </a:cxn>
                <a:cxn ang="0">
                  <a:pos x="connsiteX2946" y="connsiteY2946"/>
                </a:cxn>
                <a:cxn ang="0">
                  <a:pos x="connsiteX2947" y="connsiteY2947"/>
                </a:cxn>
                <a:cxn ang="0">
                  <a:pos x="connsiteX2948" y="connsiteY2948"/>
                </a:cxn>
                <a:cxn ang="0">
                  <a:pos x="connsiteX2949" y="connsiteY2949"/>
                </a:cxn>
                <a:cxn ang="0">
                  <a:pos x="connsiteX2950" y="connsiteY2950"/>
                </a:cxn>
                <a:cxn ang="0">
                  <a:pos x="connsiteX2951" y="connsiteY2951"/>
                </a:cxn>
                <a:cxn ang="0">
                  <a:pos x="connsiteX2952" y="connsiteY2952"/>
                </a:cxn>
                <a:cxn ang="0">
                  <a:pos x="connsiteX2953" y="connsiteY2953"/>
                </a:cxn>
                <a:cxn ang="0">
                  <a:pos x="connsiteX2954" y="connsiteY2954"/>
                </a:cxn>
                <a:cxn ang="0">
                  <a:pos x="connsiteX2955" y="connsiteY2955"/>
                </a:cxn>
                <a:cxn ang="0">
                  <a:pos x="connsiteX2956" y="connsiteY2956"/>
                </a:cxn>
                <a:cxn ang="0">
                  <a:pos x="connsiteX2957" y="connsiteY2957"/>
                </a:cxn>
                <a:cxn ang="0">
                  <a:pos x="connsiteX2958" y="connsiteY2958"/>
                </a:cxn>
                <a:cxn ang="0">
                  <a:pos x="connsiteX2959" y="connsiteY2959"/>
                </a:cxn>
                <a:cxn ang="0">
                  <a:pos x="connsiteX2960" y="connsiteY2960"/>
                </a:cxn>
                <a:cxn ang="0">
                  <a:pos x="connsiteX2961" y="connsiteY2961"/>
                </a:cxn>
                <a:cxn ang="0">
                  <a:pos x="connsiteX2962" y="connsiteY2962"/>
                </a:cxn>
                <a:cxn ang="0">
                  <a:pos x="connsiteX2963" y="connsiteY2963"/>
                </a:cxn>
                <a:cxn ang="0">
                  <a:pos x="connsiteX2964" y="connsiteY2964"/>
                </a:cxn>
                <a:cxn ang="0">
                  <a:pos x="connsiteX2965" y="connsiteY2965"/>
                </a:cxn>
                <a:cxn ang="0">
                  <a:pos x="connsiteX2966" y="connsiteY2966"/>
                </a:cxn>
                <a:cxn ang="0">
                  <a:pos x="connsiteX2967" y="connsiteY2967"/>
                </a:cxn>
                <a:cxn ang="0">
                  <a:pos x="connsiteX2968" y="connsiteY2968"/>
                </a:cxn>
                <a:cxn ang="0">
                  <a:pos x="connsiteX2969" y="connsiteY2969"/>
                </a:cxn>
                <a:cxn ang="0">
                  <a:pos x="connsiteX2970" y="connsiteY2970"/>
                </a:cxn>
                <a:cxn ang="0">
                  <a:pos x="connsiteX2971" y="connsiteY2971"/>
                </a:cxn>
                <a:cxn ang="0">
                  <a:pos x="connsiteX2972" y="connsiteY2972"/>
                </a:cxn>
                <a:cxn ang="0">
                  <a:pos x="connsiteX2973" y="connsiteY2973"/>
                </a:cxn>
                <a:cxn ang="0">
                  <a:pos x="connsiteX2974" y="connsiteY2974"/>
                </a:cxn>
                <a:cxn ang="0">
                  <a:pos x="connsiteX2975" y="connsiteY2975"/>
                </a:cxn>
                <a:cxn ang="0">
                  <a:pos x="connsiteX2976" y="connsiteY2976"/>
                </a:cxn>
                <a:cxn ang="0">
                  <a:pos x="connsiteX2977" y="connsiteY2977"/>
                </a:cxn>
                <a:cxn ang="0">
                  <a:pos x="connsiteX2978" y="connsiteY2978"/>
                </a:cxn>
                <a:cxn ang="0">
                  <a:pos x="connsiteX2979" y="connsiteY2979"/>
                </a:cxn>
                <a:cxn ang="0">
                  <a:pos x="connsiteX2980" y="connsiteY2980"/>
                </a:cxn>
                <a:cxn ang="0">
                  <a:pos x="connsiteX2981" y="connsiteY2981"/>
                </a:cxn>
                <a:cxn ang="0">
                  <a:pos x="connsiteX2982" y="connsiteY2982"/>
                </a:cxn>
                <a:cxn ang="0">
                  <a:pos x="connsiteX2983" y="connsiteY2983"/>
                </a:cxn>
                <a:cxn ang="0">
                  <a:pos x="connsiteX2984" y="connsiteY2984"/>
                </a:cxn>
                <a:cxn ang="0">
                  <a:pos x="connsiteX2985" y="connsiteY2985"/>
                </a:cxn>
                <a:cxn ang="0">
                  <a:pos x="connsiteX2986" y="connsiteY2986"/>
                </a:cxn>
                <a:cxn ang="0">
                  <a:pos x="connsiteX2987" y="connsiteY2987"/>
                </a:cxn>
                <a:cxn ang="0">
                  <a:pos x="connsiteX2988" y="connsiteY2988"/>
                </a:cxn>
                <a:cxn ang="0">
                  <a:pos x="connsiteX2989" y="connsiteY2989"/>
                </a:cxn>
                <a:cxn ang="0">
                  <a:pos x="connsiteX2990" y="connsiteY2990"/>
                </a:cxn>
                <a:cxn ang="0">
                  <a:pos x="connsiteX2991" y="connsiteY2991"/>
                </a:cxn>
                <a:cxn ang="0">
                  <a:pos x="connsiteX2992" y="connsiteY2992"/>
                </a:cxn>
                <a:cxn ang="0">
                  <a:pos x="connsiteX2993" y="connsiteY2993"/>
                </a:cxn>
                <a:cxn ang="0">
                  <a:pos x="connsiteX2994" y="connsiteY2994"/>
                </a:cxn>
                <a:cxn ang="0">
                  <a:pos x="connsiteX2995" y="connsiteY2995"/>
                </a:cxn>
                <a:cxn ang="0">
                  <a:pos x="connsiteX2996" y="connsiteY2996"/>
                </a:cxn>
                <a:cxn ang="0">
                  <a:pos x="connsiteX2997" y="connsiteY2997"/>
                </a:cxn>
                <a:cxn ang="0">
                  <a:pos x="connsiteX2998" y="connsiteY2998"/>
                </a:cxn>
                <a:cxn ang="0">
                  <a:pos x="connsiteX2999" y="connsiteY2999"/>
                </a:cxn>
                <a:cxn ang="0">
                  <a:pos x="connsiteX3000" y="connsiteY3000"/>
                </a:cxn>
                <a:cxn ang="0">
                  <a:pos x="connsiteX3001" y="connsiteY3001"/>
                </a:cxn>
                <a:cxn ang="0">
                  <a:pos x="connsiteX3002" y="connsiteY3002"/>
                </a:cxn>
                <a:cxn ang="0">
                  <a:pos x="connsiteX3003" y="connsiteY3003"/>
                </a:cxn>
                <a:cxn ang="0">
                  <a:pos x="connsiteX3004" y="connsiteY3004"/>
                </a:cxn>
                <a:cxn ang="0">
                  <a:pos x="connsiteX3005" y="connsiteY3005"/>
                </a:cxn>
                <a:cxn ang="0">
                  <a:pos x="connsiteX3006" y="connsiteY3006"/>
                </a:cxn>
                <a:cxn ang="0">
                  <a:pos x="connsiteX3007" y="connsiteY3007"/>
                </a:cxn>
                <a:cxn ang="0">
                  <a:pos x="connsiteX3008" y="connsiteY3008"/>
                </a:cxn>
                <a:cxn ang="0">
                  <a:pos x="connsiteX3009" y="connsiteY3009"/>
                </a:cxn>
                <a:cxn ang="0">
                  <a:pos x="connsiteX3010" y="connsiteY3010"/>
                </a:cxn>
                <a:cxn ang="0">
                  <a:pos x="connsiteX3011" y="connsiteY3011"/>
                </a:cxn>
                <a:cxn ang="0">
                  <a:pos x="connsiteX3012" y="connsiteY3012"/>
                </a:cxn>
                <a:cxn ang="0">
                  <a:pos x="connsiteX3013" y="connsiteY3013"/>
                </a:cxn>
                <a:cxn ang="0">
                  <a:pos x="connsiteX3014" y="connsiteY3014"/>
                </a:cxn>
                <a:cxn ang="0">
                  <a:pos x="connsiteX3015" y="connsiteY3015"/>
                </a:cxn>
                <a:cxn ang="0">
                  <a:pos x="connsiteX3016" y="connsiteY3016"/>
                </a:cxn>
                <a:cxn ang="0">
                  <a:pos x="connsiteX3017" y="connsiteY3017"/>
                </a:cxn>
                <a:cxn ang="0">
                  <a:pos x="connsiteX3018" y="connsiteY3018"/>
                </a:cxn>
                <a:cxn ang="0">
                  <a:pos x="connsiteX3019" y="connsiteY3019"/>
                </a:cxn>
                <a:cxn ang="0">
                  <a:pos x="connsiteX3020" y="connsiteY3020"/>
                </a:cxn>
                <a:cxn ang="0">
                  <a:pos x="connsiteX3021" y="connsiteY3021"/>
                </a:cxn>
                <a:cxn ang="0">
                  <a:pos x="connsiteX3022" y="connsiteY3022"/>
                </a:cxn>
                <a:cxn ang="0">
                  <a:pos x="connsiteX3023" y="connsiteY3023"/>
                </a:cxn>
                <a:cxn ang="0">
                  <a:pos x="connsiteX3024" y="connsiteY3024"/>
                </a:cxn>
                <a:cxn ang="0">
                  <a:pos x="connsiteX3025" y="connsiteY3025"/>
                </a:cxn>
                <a:cxn ang="0">
                  <a:pos x="connsiteX3026" y="connsiteY3026"/>
                </a:cxn>
                <a:cxn ang="0">
                  <a:pos x="connsiteX3027" y="connsiteY3027"/>
                </a:cxn>
                <a:cxn ang="0">
                  <a:pos x="connsiteX3028" y="connsiteY3028"/>
                </a:cxn>
                <a:cxn ang="0">
                  <a:pos x="connsiteX3029" y="connsiteY3029"/>
                </a:cxn>
                <a:cxn ang="0">
                  <a:pos x="connsiteX3030" y="connsiteY3030"/>
                </a:cxn>
                <a:cxn ang="0">
                  <a:pos x="connsiteX3031" y="connsiteY3031"/>
                </a:cxn>
                <a:cxn ang="0">
                  <a:pos x="connsiteX3032" y="connsiteY3032"/>
                </a:cxn>
                <a:cxn ang="0">
                  <a:pos x="connsiteX3033" y="connsiteY3033"/>
                </a:cxn>
                <a:cxn ang="0">
                  <a:pos x="connsiteX3034" y="connsiteY3034"/>
                </a:cxn>
                <a:cxn ang="0">
                  <a:pos x="connsiteX3035" y="connsiteY3035"/>
                </a:cxn>
                <a:cxn ang="0">
                  <a:pos x="connsiteX3036" y="connsiteY3036"/>
                </a:cxn>
                <a:cxn ang="0">
                  <a:pos x="connsiteX3037" y="connsiteY3037"/>
                </a:cxn>
                <a:cxn ang="0">
                  <a:pos x="connsiteX3038" y="connsiteY3038"/>
                </a:cxn>
                <a:cxn ang="0">
                  <a:pos x="connsiteX3039" y="connsiteY3039"/>
                </a:cxn>
                <a:cxn ang="0">
                  <a:pos x="connsiteX3040" y="connsiteY3040"/>
                </a:cxn>
                <a:cxn ang="0">
                  <a:pos x="connsiteX3041" y="connsiteY3041"/>
                </a:cxn>
                <a:cxn ang="0">
                  <a:pos x="connsiteX3042" y="connsiteY3042"/>
                </a:cxn>
                <a:cxn ang="0">
                  <a:pos x="connsiteX3043" y="connsiteY3043"/>
                </a:cxn>
                <a:cxn ang="0">
                  <a:pos x="connsiteX3044" y="connsiteY3044"/>
                </a:cxn>
                <a:cxn ang="0">
                  <a:pos x="connsiteX3045" y="connsiteY3045"/>
                </a:cxn>
                <a:cxn ang="0">
                  <a:pos x="connsiteX3046" y="connsiteY3046"/>
                </a:cxn>
                <a:cxn ang="0">
                  <a:pos x="connsiteX3047" y="connsiteY3047"/>
                </a:cxn>
                <a:cxn ang="0">
                  <a:pos x="connsiteX3048" y="connsiteY3048"/>
                </a:cxn>
                <a:cxn ang="0">
                  <a:pos x="connsiteX3049" y="connsiteY3049"/>
                </a:cxn>
                <a:cxn ang="0">
                  <a:pos x="connsiteX3050" y="connsiteY3050"/>
                </a:cxn>
                <a:cxn ang="0">
                  <a:pos x="connsiteX3051" y="connsiteY3051"/>
                </a:cxn>
                <a:cxn ang="0">
                  <a:pos x="connsiteX3052" y="connsiteY3052"/>
                </a:cxn>
                <a:cxn ang="0">
                  <a:pos x="connsiteX3053" y="connsiteY3053"/>
                </a:cxn>
                <a:cxn ang="0">
                  <a:pos x="connsiteX3054" y="connsiteY3054"/>
                </a:cxn>
                <a:cxn ang="0">
                  <a:pos x="connsiteX3055" y="connsiteY3055"/>
                </a:cxn>
                <a:cxn ang="0">
                  <a:pos x="connsiteX3056" y="connsiteY3056"/>
                </a:cxn>
                <a:cxn ang="0">
                  <a:pos x="connsiteX3057" y="connsiteY3057"/>
                </a:cxn>
                <a:cxn ang="0">
                  <a:pos x="connsiteX3058" y="connsiteY3058"/>
                </a:cxn>
                <a:cxn ang="0">
                  <a:pos x="connsiteX3059" y="connsiteY3059"/>
                </a:cxn>
                <a:cxn ang="0">
                  <a:pos x="connsiteX3060" y="connsiteY3060"/>
                </a:cxn>
                <a:cxn ang="0">
                  <a:pos x="connsiteX3061" y="connsiteY3061"/>
                </a:cxn>
                <a:cxn ang="0">
                  <a:pos x="connsiteX3062" y="connsiteY3062"/>
                </a:cxn>
                <a:cxn ang="0">
                  <a:pos x="connsiteX3063" y="connsiteY3063"/>
                </a:cxn>
                <a:cxn ang="0">
                  <a:pos x="connsiteX3064" y="connsiteY3064"/>
                </a:cxn>
              </a:cxnLst>
              <a:rect l="l" t="t" r="r" b="b"/>
              <a:pathLst>
                <a:path w="1466597" h="790366">
                  <a:moveTo>
                    <a:pt x="158093" y="780743"/>
                  </a:moveTo>
                  <a:lnTo>
                    <a:pt x="163600" y="782114"/>
                  </a:lnTo>
                  <a:lnTo>
                    <a:pt x="168095" y="785097"/>
                  </a:lnTo>
                  <a:lnTo>
                    <a:pt x="170583" y="787056"/>
                  </a:lnTo>
                  <a:lnTo>
                    <a:pt x="173455" y="788718"/>
                  </a:lnTo>
                  <a:lnTo>
                    <a:pt x="176546" y="789394"/>
                  </a:lnTo>
                  <a:lnTo>
                    <a:pt x="177466" y="790352"/>
                  </a:lnTo>
                  <a:lnTo>
                    <a:pt x="173041" y="790366"/>
                  </a:lnTo>
                  <a:lnTo>
                    <a:pt x="164055" y="784847"/>
                  </a:lnTo>
                  <a:lnTo>
                    <a:pt x="159494" y="783094"/>
                  </a:lnTo>
                  <a:lnTo>
                    <a:pt x="156965" y="781152"/>
                  </a:lnTo>
                  <a:close/>
                  <a:moveTo>
                    <a:pt x="283840" y="773766"/>
                  </a:moveTo>
                  <a:lnTo>
                    <a:pt x="286349" y="775750"/>
                  </a:lnTo>
                  <a:lnTo>
                    <a:pt x="286184" y="776119"/>
                  </a:lnTo>
                  <a:lnTo>
                    <a:pt x="284578" y="778115"/>
                  </a:lnTo>
                  <a:lnTo>
                    <a:pt x="283393" y="777211"/>
                  </a:lnTo>
                  <a:lnTo>
                    <a:pt x="282943" y="774465"/>
                  </a:lnTo>
                  <a:close/>
                  <a:moveTo>
                    <a:pt x="288558" y="772908"/>
                  </a:moveTo>
                  <a:lnTo>
                    <a:pt x="291671" y="774371"/>
                  </a:lnTo>
                  <a:lnTo>
                    <a:pt x="293268" y="775426"/>
                  </a:lnTo>
                  <a:lnTo>
                    <a:pt x="291115" y="776170"/>
                  </a:lnTo>
                  <a:lnTo>
                    <a:pt x="288282" y="774661"/>
                  </a:lnTo>
                  <a:close/>
                  <a:moveTo>
                    <a:pt x="243655" y="771812"/>
                  </a:moveTo>
                  <a:lnTo>
                    <a:pt x="245898" y="773789"/>
                  </a:lnTo>
                  <a:lnTo>
                    <a:pt x="247588" y="774483"/>
                  </a:lnTo>
                  <a:lnTo>
                    <a:pt x="251546" y="774951"/>
                  </a:lnTo>
                  <a:lnTo>
                    <a:pt x="249494" y="775789"/>
                  </a:lnTo>
                  <a:lnTo>
                    <a:pt x="248328" y="776599"/>
                  </a:lnTo>
                  <a:lnTo>
                    <a:pt x="246892" y="779727"/>
                  </a:lnTo>
                  <a:lnTo>
                    <a:pt x="245563" y="780955"/>
                  </a:lnTo>
                  <a:lnTo>
                    <a:pt x="244995" y="782087"/>
                  </a:lnTo>
                  <a:lnTo>
                    <a:pt x="244381" y="782053"/>
                  </a:lnTo>
                  <a:lnTo>
                    <a:pt x="240974" y="780177"/>
                  </a:lnTo>
                  <a:lnTo>
                    <a:pt x="240476" y="779543"/>
                  </a:lnTo>
                  <a:lnTo>
                    <a:pt x="242475" y="778652"/>
                  </a:lnTo>
                  <a:lnTo>
                    <a:pt x="243057" y="777962"/>
                  </a:lnTo>
                  <a:lnTo>
                    <a:pt x="242824" y="777061"/>
                  </a:lnTo>
                  <a:lnTo>
                    <a:pt x="241326" y="775809"/>
                  </a:lnTo>
                  <a:lnTo>
                    <a:pt x="238562" y="774203"/>
                  </a:lnTo>
                  <a:lnTo>
                    <a:pt x="237514" y="773046"/>
                  </a:lnTo>
                  <a:lnTo>
                    <a:pt x="238184" y="772338"/>
                  </a:lnTo>
                  <a:lnTo>
                    <a:pt x="239502" y="771899"/>
                  </a:lnTo>
                  <a:close/>
                  <a:moveTo>
                    <a:pt x="264633" y="771426"/>
                  </a:moveTo>
                  <a:lnTo>
                    <a:pt x="265179" y="771460"/>
                  </a:lnTo>
                  <a:lnTo>
                    <a:pt x="266379" y="772376"/>
                  </a:lnTo>
                  <a:lnTo>
                    <a:pt x="265958" y="773580"/>
                  </a:lnTo>
                  <a:lnTo>
                    <a:pt x="264889" y="774628"/>
                  </a:lnTo>
                  <a:lnTo>
                    <a:pt x="264540" y="775610"/>
                  </a:lnTo>
                  <a:lnTo>
                    <a:pt x="264205" y="778677"/>
                  </a:lnTo>
                  <a:lnTo>
                    <a:pt x="263471" y="779120"/>
                  </a:lnTo>
                  <a:lnTo>
                    <a:pt x="262122" y="779465"/>
                  </a:lnTo>
                  <a:lnTo>
                    <a:pt x="258232" y="779083"/>
                  </a:lnTo>
                  <a:lnTo>
                    <a:pt x="255878" y="779203"/>
                  </a:lnTo>
                  <a:lnTo>
                    <a:pt x="253252" y="779443"/>
                  </a:lnTo>
                  <a:lnTo>
                    <a:pt x="251281" y="780043"/>
                  </a:lnTo>
                  <a:lnTo>
                    <a:pt x="250890" y="779210"/>
                  </a:lnTo>
                  <a:lnTo>
                    <a:pt x="250955" y="778526"/>
                  </a:lnTo>
                  <a:lnTo>
                    <a:pt x="259448" y="776655"/>
                  </a:lnTo>
                  <a:lnTo>
                    <a:pt x="261424" y="775678"/>
                  </a:lnTo>
                  <a:lnTo>
                    <a:pt x="262636" y="774441"/>
                  </a:lnTo>
                  <a:lnTo>
                    <a:pt x="263741" y="772120"/>
                  </a:lnTo>
                  <a:close/>
                  <a:moveTo>
                    <a:pt x="275682" y="769508"/>
                  </a:moveTo>
                  <a:lnTo>
                    <a:pt x="278271" y="769652"/>
                  </a:lnTo>
                  <a:lnTo>
                    <a:pt x="279469" y="770940"/>
                  </a:lnTo>
                  <a:lnTo>
                    <a:pt x="279425" y="771774"/>
                  </a:lnTo>
                  <a:lnTo>
                    <a:pt x="278361" y="773574"/>
                  </a:lnTo>
                  <a:lnTo>
                    <a:pt x="278498" y="774715"/>
                  </a:lnTo>
                  <a:lnTo>
                    <a:pt x="281421" y="774572"/>
                  </a:lnTo>
                  <a:lnTo>
                    <a:pt x="282336" y="775161"/>
                  </a:lnTo>
                  <a:lnTo>
                    <a:pt x="282340" y="777401"/>
                  </a:lnTo>
                  <a:lnTo>
                    <a:pt x="281957" y="778032"/>
                  </a:lnTo>
                  <a:lnTo>
                    <a:pt x="281513" y="778187"/>
                  </a:lnTo>
                  <a:lnTo>
                    <a:pt x="280462" y="777695"/>
                  </a:lnTo>
                  <a:lnTo>
                    <a:pt x="279275" y="778836"/>
                  </a:lnTo>
                  <a:lnTo>
                    <a:pt x="273829" y="781627"/>
                  </a:lnTo>
                  <a:lnTo>
                    <a:pt x="272142" y="780067"/>
                  </a:lnTo>
                  <a:lnTo>
                    <a:pt x="268966" y="782519"/>
                  </a:lnTo>
                  <a:lnTo>
                    <a:pt x="271190" y="776169"/>
                  </a:lnTo>
                  <a:lnTo>
                    <a:pt x="273762" y="775207"/>
                  </a:lnTo>
                  <a:lnTo>
                    <a:pt x="274711" y="774486"/>
                  </a:lnTo>
                  <a:lnTo>
                    <a:pt x="274488" y="772622"/>
                  </a:lnTo>
                  <a:close/>
                  <a:moveTo>
                    <a:pt x="153430" y="769213"/>
                  </a:moveTo>
                  <a:lnTo>
                    <a:pt x="154993" y="769798"/>
                  </a:lnTo>
                  <a:lnTo>
                    <a:pt x="155929" y="770633"/>
                  </a:lnTo>
                  <a:lnTo>
                    <a:pt x="155117" y="771887"/>
                  </a:lnTo>
                  <a:lnTo>
                    <a:pt x="153492" y="772471"/>
                  </a:lnTo>
                  <a:lnTo>
                    <a:pt x="152624" y="770992"/>
                  </a:lnTo>
                  <a:lnTo>
                    <a:pt x="152554" y="770133"/>
                  </a:lnTo>
                  <a:close/>
                  <a:moveTo>
                    <a:pt x="181946" y="767994"/>
                  </a:moveTo>
                  <a:lnTo>
                    <a:pt x="185844" y="770163"/>
                  </a:lnTo>
                  <a:lnTo>
                    <a:pt x="184511" y="772257"/>
                  </a:lnTo>
                  <a:lnTo>
                    <a:pt x="182407" y="773115"/>
                  </a:lnTo>
                  <a:lnTo>
                    <a:pt x="179967" y="772644"/>
                  </a:lnTo>
                  <a:lnTo>
                    <a:pt x="178642" y="771323"/>
                  </a:lnTo>
                  <a:lnTo>
                    <a:pt x="178801" y="769727"/>
                  </a:lnTo>
                  <a:close/>
                  <a:moveTo>
                    <a:pt x="291522" y="765620"/>
                  </a:moveTo>
                  <a:lnTo>
                    <a:pt x="292701" y="766221"/>
                  </a:lnTo>
                  <a:lnTo>
                    <a:pt x="293800" y="767344"/>
                  </a:lnTo>
                  <a:lnTo>
                    <a:pt x="294127" y="768044"/>
                  </a:lnTo>
                  <a:lnTo>
                    <a:pt x="292947" y="768949"/>
                  </a:lnTo>
                  <a:lnTo>
                    <a:pt x="292347" y="769953"/>
                  </a:lnTo>
                  <a:lnTo>
                    <a:pt x="289852" y="768885"/>
                  </a:lnTo>
                  <a:lnTo>
                    <a:pt x="288968" y="768013"/>
                  </a:lnTo>
                  <a:lnTo>
                    <a:pt x="288789" y="767120"/>
                  </a:lnTo>
                  <a:lnTo>
                    <a:pt x="289525" y="765638"/>
                  </a:lnTo>
                  <a:close/>
                  <a:moveTo>
                    <a:pt x="131164" y="765147"/>
                  </a:moveTo>
                  <a:lnTo>
                    <a:pt x="132010" y="765515"/>
                  </a:lnTo>
                  <a:lnTo>
                    <a:pt x="131587" y="766993"/>
                  </a:lnTo>
                  <a:lnTo>
                    <a:pt x="130131" y="769242"/>
                  </a:lnTo>
                  <a:lnTo>
                    <a:pt x="130085" y="770820"/>
                  </a:lnTo>
                  <a:lnTo>
                    <a:pt x="125525" y="773026"/>
                  </a:lnTo>
                  <a:lnTo>
                    <a:pt x="123308" y="774449"/>
                  </a:lnTo>
                  <a:lnTo>
                    <a:pt x="121575" y="772997"/>
                  </a:lnTo>
                  <a:lnTo>
                    <a:pt x="121312" y="772341"/>
                  </a:lnTo>
                  <a:lnTo>
                    <a:pt x="124638" y="769858"/>
                  </a:lnTo>
                  <a:lnTo>
                    <a:pt x="127132" y="769318"/>
                  </a:lnTo>
                  <a:lnTo>
                    <a:pt x="128205" y="768410"/>
                  </a:lnTo>
                  <a:lnTo>
                    <a:pt x="129309" y="765259"/>
                  </a:lnTo>
                  <a:close/>
                  <a:moveTo>
                    <a:pt x="353272" y="764124"/>
                  </a:moveTo>
                  <a:lnTo>
                    <a:pt x="355912" y="764379"/>
                  </a:lnTo>
                  <a:lnTo>
                    <a:pt x="360915" y="765767"/>
                  </a:lnTo>
                  <a:lnTo>
                    <a:pt x="367137" y="765604"/>
                  </a:lnTo>
                  <a:lnTo>
                    <a:pt x="369407" y="765943"/>
                  </a:lnTo>
                  <a:lnTo>
                    <a:pt x="369444" y="766330"/>
                  </a:lnTo>
                  <a:lnTo>
                    <a:pt x="365465" y="766899"/>
                  </a:lnTo>
                  <a:lnTo>
                    <a:pt x="364104" y="766712"/>
                  </a:lnTo>
                  <a:lnTo>
                    <a:pt x="360630" y="767476"/>
                  </a:lnTo>
                  <a:lnTo>
                    <a:pt x="358267" y="767615"/>
                  </a:lnTo>
                  <a:lnTo>
                    <a:pt x="352870" y="766894"/>
                  </a:lnTo>
                  <a:lnTo>
                    <a:pt x="348706" y="767387"/>
                  </a:lnTo>
                  <a:lnTo>
                    <a:pt x="347604" y="767201"/>
                  </a:lnTo>
                  <a:lnTo>
                    <a:pt x="346298" y="766569"/>
                  </a:lnTo>
                  <a:lnTo>
                    <a:pt x="344782" y="765495"/>
                  </a:lnTo>
                  <a:lnTo>
                    <a:pt x="344709" y="764822"/>
                  </a:lnTo>
                  <a:lnTo>
                    <a:pt x="346075" y="764549"/>
                  </a:lnTo>
                  <a:lnTo>
                    <a:pt x="349770" y="765472"/>
                  </a:lnTo>
                  <a:lnTo>
                    <a:pt x="350156" y="764991"/>
                  </a:lnTo>
                  <a:close/>
                  <a:moveTo>
                    <a:pt x="383537" y="755762"/>
                  </a:moveTo>
                  <a:lnTo>
                    <a:pt x="385764" y="756279"/>
                  </a:lnTo>
                  <a:lnTo>
                    <a:pt x="387537" y="757765"/>
                  </a:lnTo>
                  <a:lnTo>
                    <a:pt x="383680" y="759727"/>
                  </a:lnTo>
                  <a:lnTo>
                    <a:pt x="381784" y="760234"/>
                  </a:lnTo>
                  <a:lnTo>
                    <a:pt x="379725" y="759708"/>
                  </a:lnTo>
                  <a:lnTo>
                    <a:pt x="380686" y="757900"/>
                  </a:lnTo>
                  <a:lnTo>
                    <a:pt x="381669" y="756935"/>
                  </a:lnTo>
                  <a:close/>
                  <a:moveTo>
                    <a:pt x="340208" y="754661"/>
                  </a:moveTo>
                  <a:lnTo>
                    <a:pt x="343353" y="756476"/>
                  </a:lnTo>
                  <a:lnTo>
                    <a:pt x="344049" y="757690"/>
                  </a:lnTo>
                  <a:lnTo>
                    <a:pt x="343750" y="759127"/>
                  </a:lnTo>
                  <a:lnTo>
                    <a:pt x="343116" y="760628"/>
                  </a:lnTo>
                  <a:lnTo>
                    <a:pt x="340353" y="761400"/>
                  </a:lnTo>
                  <a:lnTo>
                    <a:pt x="339940" y="762188"/>
                  </a:lnTo>
                  <a:lnTo>
                    <a:pt x="341439" y="764415"/>
                  </a:lnTo>
                  <a:lnTo>
                    <a:pt x="335753" y="766377"/>
                  </a:lnTo>
                  <a:lnTo>
                    <a:pt x="327236" y="767836"/>
                  </a:lnTo>
                  <a:lnTo>
                    <a:pt x="313550" y="769239"/>
                  </a:lnTo>
                  <a:lnTo>
                    <a:pt x="311467" y="768275"/>
                  </a:lnTo>
                  <a:lnTo>
                    <a:pt x="313543" y="767726"/>
                  </a:lnTo>
                  <a:lnTo>
                    <a:pt x="316005" y="767423"/>
                  </a:lnTo>
                  <a:lnTo>
                    <a:pt x="321152" y="765816"/>
                  </a:lnTo>
                  <a:lnTo>
                    <a:pt x="327482" y="764423"/>
                  </a:lnTo>
                  <a:lnTo>
                    <a:pt x="332419" y="762746"/>
                  </a:lnTo>
                  <a:lnTo>
                    <a:pt x="336707" y="761647"/>
                  </a:lnTo>
                  <a:lnTo>
                    <a:pt x="337913" y="759838"/>
                  </a:lnTo>
                  <a:lnTo>
                    <a:pt x="334146" y="758915"/>
                  </a:lnTo>
                  <a:lnTo>
                    <a:pt x="333406" y="758188"/>
                  </a:lnTo>
                  <a:lnTo>
                    <a:pt x="335195" y="757342"/>
                  </a:lnTo>
                  <a:lnTo>
                    <a:pt x="336689" y="756108"/>
                  </a:lnTo>
                  <a:close/>
                  <a:moveTo>
                    <a:pt x="29663" y="751781"/>
                  </a:moveTo>
                  <a:lnTo>
                    <a:pt x="32685" y="752089"/>
                  </a:lnTo>
                  <a:lnTo>
                    <a:pt x="31885" y="753752"/>
                  </a:lnTo>
                  <a:lnTo>
                    <a:pt x="31325" y="756738"/>
                  </a:lnTo>
                  <a:lnTo>
                    <a:pt x="29668" y="756839"/>
                  </a:lnTo>
                  <a:lnTo>
                    <a:pt x="28606" y="755652"/>
                  </a:lnTo>
                  <a:lnTo>
                    <a:pt x="23151" y="755188"/>
                  </a:lnTo>
                  <a:lnTo>
                    <a:pt x="23716" y="754062"/>
                  </a:lnTo>
                  <a:lnTo>
                    <a:pt x="26062" y="753589"/>
                  </a:lnTo>
                  <a:close/>
                  <a:moveTo>
                    <a:pt x="429157" y="745131"/>
                  </a:moveTo>
                  <a:lnTo>
                    <a:pt x="431046" y="745562"/>
                  </a:lnTo>
                  <a:lnTo>
                    <a:pt x="431644" y="746162"/>
                  </a:lnTo>
                  <a:lnTo>
                    <a:pt x="431592" y="747028"/>
                  </a:lnTo>
                  <a:lnTo>
                    <a:pt x="430893" y="748155"/>
                  </a:lnTo>
                  <a:lnTo>
                    <a:pt x="429995" y="748723"/>
                  </a:lnTo>
                  <a:lnTo>
                    <a:pt x="428896" y="748728"/>
                  </a:lnTo>
                  <a:lnTo>
                    <a:pt x="427848" y="749122"/>
                  </a:lnTo>
                  <a:lnTo>
                    <a:pt x="426216" y="750213"/>
                  </a:lnTo>
                  <a:lnTo>
                    <a:pt x="425739" y="749807"/>
                  </a:lnTo>
                  <a:lnTo>
                    <a:pt x="425458" y="748461"/>
                  </a:lnTo>
                  <a:lnTo>
                    <a:pt x="426374" y="747412"/>
                  </a:lnTo>
                  <a:close/>
                  <a:moveTo>
                    <a:pt x="452810" y="738721"/>
                  </a:moveTo>
                  <a:lnTo>
                    <a:pt x="453930" y="739303"/>
                  </a:lnTo>
                  <a:lnTo>
                    <a:pt x="454416" y="739971"/>
                  </a:lnTo>
                  <a:lnTo>
                    <a:pt x="454003" y="741358"/>
                  </a:lnTo>
                  <a:lnTo>
                    <a:pt x="453630" y="741868"/>
                  </a:lnTo>
                  <a:lnTo>
                    <a:pt x="449685" y="741129"/>
                  </a:lnTo>
                  <a:lnTo>
                    <a:pt x="447053" y="741397"/>
                  </a:lnTo>
                  <a:lnTo>
                    <a:pt x="446765" y="740576"/>
                  </a:lnTo>
                  <a:lnTo>
                    <a:pt x="447001" y="739845"/>
                  </a:lnTo>
                  <a:lnTo>
                    <a:pt x="451132" y="738729"/>
                  </a:lnTo>
                  <a:close/>
                  <a:moveTo>
                    <a:pt x="8086" y="734255"/>
                  </a:moveTo>
                  <a:lnTo>
                    <a:pt x="12478" y="735386"/>
                  </a:lnTo>
                  <a:lnTo>
                    <a:pt x="15492" y="734855"/>
                  </a:lnTo>
                  <a:lnTo>
                    <a:pt x="19306" y="736683"/>
                  </a:lnTo>
                  <a:lnTo>
                    <a:pt x="24011" y="739810"/>
                  </a:lnTo>
                  <a:lnTo>
                    <a:pt x="22956" y="740406"/>
                  </a:lnTo>
                  <a:lnTo>
                    <a:pt x="21771" y="740748"/>
                  </a:lnTo>
                  <a:lnTo>
                    <a:pt x="20605" y="740711"/>
                  </a:lnTo>
                  <a:lnTo>
                    <a:pt x="16935" y="741232"/>
                  </a:lnTo>
                  <a:lnTo>
                    <a:pt x="14934" y="741106"/>
                  </a:lnTo>
                  <a:lnTo>
                    <a:pt x="11232" y="743255"/>
                  </a:lnTo>
                  <a:lnTo>
                    <a:pt x="7162" y="741710"/>
                  </a:lnTo>
                  <a:lnTo>
                    <a:pt x="5789" y="738655"/>
                  </a:lnTo>
                  <a:lnTo>
                    <a:pt x="2559" y="737901"/>
                  </a:lnTo>
                  <a:lnTo>
                    <a:pt x="0" y="736848"/>
                  </a:lnTo>
                  <a:lnTo>
                    <a:pt x="4671" y="734443"/>
                  </a:lnTo>
                  <a:close/>
                  <a:moveTo>
                    <a:pt x="497942" y="715352"/>
                  </a:moveTo>
                  <a:lnTo>
                    <a:pt x="501963" y="717099"/>
                  </a:lnTo>
                  <a:lnTo>
                    <a:pt x="502560" y="717899"/>
                  </a:lnTo>
                  <a:lnTo>
                    <a:pt x="501579" y="719649"/>
                  </a:lnTo>
                  <a:lnTo>
                    <a:pt x="501017" y="721291"/>
                  </a:lnTo>
                  <a:lnTo>
                    <a:pt x="498487" y="722755"/>
                  </a:lnTo>
                  <a:lnTo>
                    <a:pt x="490671" y="726468"/>
                  </a:lnTo>
                  <a:lnTo>
                    <a:pt x="488135" y="729178"/>
                  </a:lnTo>
                  <a:lnTo>
                    <a:pt x="486199" y="731786"/>
                  </a:lnTo>
                  <a:lnTo>
                    <a:pt x="484678" y="733212"/>
                  </a:lnTo>
                  <a:lnTo>
                    <a:pt x="483571" y="733457"/>
                  </a:lnTo>
                  <a:lnTo>
                    <a:pt x="482337" y="734147"/>
                  </a:lnTo>
                  <a:lnTo>
                    <a:pt x="479756" y="735966"/>
                  </a:lnTo>
                  <a:lnTo>
                    <a:pt x="478674" y="736192"/>
                  </a:lnTo>
                  <a:lnTo>
                    <a:pt x="470386" y="740434"/>
                  </a:lnTo>
                  <a:lnTo>
                    <a:pt x="469798" y="740500"/>
                  </a:lnTo>
                  <a:lnTo>
                    <a:pt x="470202" y="739392"/>
                  </a:lnTo>
                  <a:lnTo>
                    <a:pt x="472733" y="737822"/>
                  </a:lnTo>
                  <a:lnTo>
                    <a:pt x="474383" y="736390"/>
                  </a:lnTo>
                  <a:lnTo>
                    <a:pt x="476248" y="734022"/>
                  </a:lnTo>
                  <a:lnTo>
                    <a:pt x="477274" y="733151"/>
                  </a:lnTo>
                  <a:lnTo>
                    <a:pt x="477603" y="731961"/>
                  </a:lnTo>
                  <a:lnTo>
                    <a:pt x="477735" y="729558"/>
                  </a:lnTo>
                  <a:lnTo>
                    <a:pt x="478199" y="728650"/>
                  </a:lnTo>
                  <a:lnTo>
                    <a:pt x="479979" y="726842"/>
                  </a:lnTo>
                  <a:lnTo>
                    <a:pt x="481276" y="725853"/>
                  </a:lnTo>
                  <a:lnTo>
                    <a:pt x="482982" y="725512"/>
                  </a:lnTo>
                  <a:lnTo>
                    <a:pt x="486438" y="725815"/>
                  </a:lnTo>
                  <a:lnTo>
                    <a:pt x="487873" y="724894"/>
                  </a:lnTo>
                  <a:lnTo>
                    <a:pt x="488317" y="724197"/>
                  </a:lnTo>
                  <a:lnTo>
                    <a:pt x="487443" y="723560"/>
                  </a:lnTo>
                  <a:lnTo>
                    <a:pt x="487237" y="722454"/>
                  </a:lnTo>
                  <a:lnTo>
                    <a:pt x="487464" y="720545"/>
                  </a:lnTo>
                  <a:lnTo>
                    <a:pt x="488464" y="718851"/>
                  </a:lnTo>
                  <a:lnTo>
                    <a:pt x="490238" y="717371"/>
                  </a:lnTo>
                  <a:lnTo>
                    <a:pt x="492652" y="716218"/>
                  </a:lnTo>
                  <a:lnTo>
                    <a:pt x="495707" y="715394"/>
                  </a:lnTo>
                  <a:close/>
                  <a:moveTo>
                    <a:pt x="545696" y="705422"/>
                  </a:moveTo>
                  <a:lnTo>
                    <a:pt x="545978" y="705779"/>
                  </a:lnTo>
                  <a:lnTo>
                    <a:pt x="545061" y="707365"/>
                  </a:lnTo>
                  <a:lnTo>
                    <a:pt x="543911" y="708429"/>
                  </a:lnTo>
                  <a:lnTo>
                    <a:pt x="543246" y="709601"/>
                  </a:lnTo>
                  <a:lnTo>
                    <a:pt x="542886" y="709702"/>
                  </a:lnTo>
                  <a:lnTo>
                    <a:pt x="542235" y="708838"/>
                  </a:lnTo>
                  <a:lnTo>
                    <a:pt x="542200" y="708050"/>
                  </a:lnTo>
                  <a:lnTo>
                    <a:pt x="542618" y="707477"/>
                  </a:lnTo>
                  <a:lnTo>
                    <a:pt x="543807" y="706140"/>
                  </a:lnTo>
                  <a:lnTo>
                    <a:pt x="544654" y="705664"/>
                  </a:lnTo>
                  <a:close/>
                  <a:moveTo>
                    <a:pt x="531420" y="699727"/>
                  </a:moveTo>
                  <a:lnTo>
                    <a:pt x="532591" y="700088"/>
                  </a:lnTo>
                  <a:lnTo>
                    <a:pt x="532900" y="703400"/>
                  </a:lnTo>
                  <a:lnTo>
                    <a:pt x="534001" y="705059"/>
                  </a:lnTo>
                  <a:lnTo>
                    <a:pt x="535905" y="704008"/>
                  </a:lnTo>
                  <a:lnTo>
                    <a:pt x="537301" y="702566"/>
                  </a:lnTo>
                  <a:lnTo>
                    <a:pt x="538390" y="700702"/>
                  </a:lnTo>
                  <a:lnTo>
                    <a:pt x="539099" y="699971"/>
                  </a:lnTo>
                  <a:lnTo>
                    <a:pt x="540034" y="700954"/>
                  </a:lnTo>
                  <a:lnTo>
                    <a:pt x="542707" y="702292"/>
                  </a:lnTo>
                  <a:lnTo>
                    <a:pt x="540459" y="704350"/>
                  </a:lnTo>
                  <a:lnTo>
                    <a:pt x="536128" y="707431"/>
                  </a:lnTo>
                  <a:lnTo>
                    <a:pt x="534678" y="709492"/>
                  </a:lnTo>
                  <a:lnTo>
                    <a:pt x="534585" y="710380"/>
                  </a:lnTo>
                  <a:lnTo>
                    <a:pt x="538783" y="709698"/>
                  </a:lnTo>
                  <a:lnTo>
                    <a:pt x="539955" y="709797"/>
                  </a:lnTo>
                  <a:lnTo>
                    <a:pt x="540701" y="710501"/>
                  </a:lnTo>
                  <a:lnTo>
                    <a:pt x="539551" y="711336"/>
                  </a:lnTo>
                  <a:lnTo>
                    <a:pt x="537266" y="712093"/>
                  </a:lnTo>
                  <a:lnTo>
                    <a:pt x="535280" y="713560"/>
                  </a:lnTo>
                  <a:lnTo>
                    <a:pt x="530683" y="716100"/>
                  </a:lnTo>
                  <a:lnTo>
                    <a:pt x="528942" y="718210"/>
                  </a:lnTo>
                  <a:lnTo>
                    <a:pt x="526887" y="719014"/>
                  </a:lnTo>
                  <a:lnTo>
                    <a:pt x="524088" y="719205"/>
                  </a:lnTo>
                  <a:lnTo>
                    <a:pt x="519167" y="720578"/>
                  </a:lnTo>
                  <a:lnTo>
                    <a:pt x="516179" y="721871"/>
                  </a:lnTo>
                  <a:lnTo>
                    <a:pt x="515422" y="722569"/>
                  </a:lnTo>
                  <a:lnTo>
                    <a:pt x="514482" y="722899"/>
                  </a:lnTo>
                  <a:lnTo>
                    <a:pt x="513360" y="722865"/>
                  </a:lnTo>
                  <a:lnTo>
                    <a:pt x="512148" y="723431"/>
                  </a:lnTo>
                  <a:lnTo>
                    <a:pt x="510845" y="724599"/>
                  </a:lnTo>
                  <a:lnTo>
                    <a:pt x="509759" y="725146"/>
                  </a:lnTo>
                  <a:lnTo>
                    <a:pt x="507979" y="725267"/>
                  </a:lnTo>
                  <a:lnTo>
                    <a:pt x="507050" y="725727"/>
                  </a:lnTo>
                  <a:lnTo>
                    <a:pt x="506009" y="725708"/>
                  </a:lnTo>
                  <a:lnTo>
                    <a:pt x="503166" y="724313"/>
                  </a:lnTo>
                  <a:lnTo>
                    <a:pt x="502455" y="723496"/>
                  </a:lnTo>
                  <a:lnTo>
                    <a:pt x="504971" y="721861"/>
                  </a:lnTo>
                  <a:lnTo>
                    <a:pt x="506793" y="721317"/>
                  </a:lnTo>
                  <a:lnTo>
                    <a:pt x="509562" y="721069"/>
                  </a:lnTo>
                  <a:lnTo>
                    <a:pt x="512282" y="719557"/>
                  </a:lnTo>
                  <a:lnTo>
                    <a:pt x="517881" y="717551"/>
                  </a:lnTo>
                  <a:lnTo>
                    <a:pt x="519615" y="716457"/>
                  </a:lnTo>
                  <a:lnTo>
                    <a:pt x="520731" y="712646"/>
                  </a:lnTo>
                  <a:lnTo>
                    <a:pt x="522004" y="711996"/>
                  </a:lnTo>
                  <a:lnTo>
                    <a:pt x="522686" y="710469"/>
                  </a:lnTo>
                  <a:lnTo>
                    <a:pt x="525787" y="710514"/>
                  </a:lnTo>
                  <a:lnTo>
                    <a:pt x="527210" y="712223"/>
                  </a:lnTo>
                  <a:lnTo>
                    <a:pt x="527709" y="712456"/>
                  </a:lnTo>
                  <a:lnTo>
                    <a:pt x="527959" y="712290"/>
                  </a:lnTo>
                  <a:lnTo>
                    <a:pt x="528095" y="710922"/>
                  </a:lnTo>
                  <a:lnTo>
                    <a:pt x="529687" y="709962"/>
                  </a:lnTo>
                  <a:lnTo>
                    <a:pt x="528768" y="709257"/>
                  </a:lnTo>
                  <a:lnTo>
                    <a:pt x="525903" y="708370"/>
                  </a:lnTo>
                  <a:lnTo>
                    <a:pt x="523776" y="707953"/>
                  </a:lnTo>
                  <a:lnTo>
                    <a:pt x="522391" y="708002"/>
                  </a:lnTo>
                  <a:lnTo>
                    <a:pt x="521263" y="707505"/>
                  </a:lnTo>
                  <a:lnTo>
                    <a:pt x="520392" y="706458"/>
                  </a:lnTo>
                  <a:lnTo>
                    <a:pt x="519997" y="705420"/>
                  </a:lnTo>
                  <a:lnTo>
                    <a:pt x="520072" y="704390"/>
                  </a:lnTo>
                  <a:lnTo>
                    <a:pt x="520778" y="703235"/>
                  </a:lnTo>
                  <a:lnTo>
                    <a:pt x="522114" y="701958"/>
                  </a:lnTo>
                  <a:lnTo>
                    <a:pt x="523646" y="701232"/>
                  </a:lnTo>
                  <a:lnTo>
                    <a:pt x="526947" y="700710"/>
                  </a:lnTo>
                  <a:lnTo>
                    <a:pt x="529870" y="699859"/>
                  </a:lnTo>
                  <a:close/>
                  <a:moveTo>
                    <a:pt x="549454" y="692541"/>
                  </a:moveTo>
                  <a:lnTo>
                    <a:pt x="551330" y="692682"/>
                  </a:lnTo>
                  <a:lnTo>
                    <a:pt x="554605" y="694608"/>
                  </a:lnTo>
                  <a:lnTo>
                    <a:pt x="556141" y="695736"/>
                  </a:lnTo>
                  <a:lnTo>
                    <a:pt x="556432" y="696438"/>
                  </a:lnTo>
                  <a:lnTo>
                    <a:pt x="555284" y="697097"/>
                  </a:lnTo>
                  <a:lnTo>
                    <a:pt x="552638" y="697462"/>
                  </a:lnTo>
                  <a:lnTo>
                    <a:pt x="551672" y="698080"/>
                  </a:lnTo>
                  <a:lnTo>
                    <a:pt x="550897" y="698215"/>
                  </a:lnTo>
                  <a:lnTo>
                    <a:pt x="550308" y="697864"/>
                  </a:lnTo>
                  <a:lnTo>
                    <a:pt x="547667" y="698285"/>
                  </a:lnTo>
                  <a:lnTo>
                    <a:pt x="547151" y="698034"/>
                  </a:lnTo>
                  <a:lnTo>
                    <a:pt x="545974" y="695945"/>
                  </a:lnTo>
                  <a:lnTo>
                    <a:pt x="545898" y="694862"/>
                  </a:lnTo>
                  <a:lnTo>
                    <a:pt x="546357" y="694010"/>
                  </a:lnTo>
                  <a:lnTo>
                    <a:pt x="547543" y="693234"/>
                  </a:lnTo>
                  <a:close/>
                  <a:moveTo>
                    <a:pt x="560061" y="689960"/>
                  </a:moveTo>
                  <a:lnTo>
                    <a:pt x="560490" y="690333"/>
                  </a:lnTo>
                  <a:lnTo>
                    <a:pt x="561667" y="692160"/>
                  </a:lnTo>
                  <a:lnTo>
                    <a:pt x="562839" y="692647"/>
                  </a:lnTo>
                  <a:lnTo>
                    <a:pt x="563703" y="693040"/>
                  </a:lnTo>
                  <a:lnTo>
                    <a:pt x="562180" y="693598"/>
                  </a:lnTo>
                  <a:lnTo>
                    <a:pt x="559793" y="695147"/>
                  </a:lnTo>
                  <a:lnTo>
                    <a:pt x="558679" y="695413"/>
                  </a:lnTo>
                  <a:lnTo>
                    <a:pt x="558409" y="695048"/>
                  </a:lnTo>
                  <a:lnTo>
                    <a:pt x="558278" y="693505"/>
                  </a:lnTo>
                  <a:lnTo>
                    <a:pt x="557420" y="691056"/>
                  </a:lnTo>
                  <a:lnTo>
                    <a:pt x="559048" y="690166"/>
                  </a:lnTo>
                  <a:close/>
                  <a:moveTo>
                    <a:pt x="629705" y="682572"/>
                  </a:moveTo>
                  <a:lnTo>
                    <a:pt x="634173" y="683716"/>
                  </a:lnTo>
                  <a:lnTo>
                    <a:pt x="635129" y="684259"/>
                  </a:lnTo>
                  <a:lnTo>
                    <a:pt x="636495" y="685852"/>
                  </a:lnTo>
                  <a:lnTo>
                    <a:pt x="634283" y="686621"/>
                  </a:lnTo>
                  <a:lnTo>
                    <a:pt x="631936" y="685820"/>
                  </a:lnTo>
                  <a:lnTo>
                    <a:pt x="629930" y="684339"/>
                  </a:lnTo>
                  <a:close/>
                  <a:moveTo>
                    <a:pt x="643887" y="665293"/>
                  </a:moveTo>
                  <a:lnTo>
                    <a:pt x="644557" y="666314"/>
                  </a:lnTo>
                  <a:lnTo>
                    <a:pt x="644675" y="667117"/>
                  </a:lnTo>
                  <a:lnTo>
                    <a:pt x="643684" y="669414"/>
                  </a:lnTo>
                  <a:lnTo>
                    <a:pt x="643033" y="670129"/>
                  </a:lnTo>
                  <a:lnTo>
                    <a:pt x="642424" y="670293"/>
                  </a:lnTo>
                  <a:lnTo>
                    <a:pt x="640668" y="669209"/>
                  </a:lnTo>
                  <a:lnTo>
                    <a:pt x="640031" y="668398"/>
                  </a:lnTo>
                  <a:lnTo>
                    <a:pt x="639569" y="667135"/>
                  </a:lnTo>
                  <a:lnTo>
                    <a:pt x="643146" y="665317"/>
                  </a:lnTo>
                  <a:close/>
                  <a:moveTo>
                    <a:pt x="609630" y="662905"/>
                  </a:moveTo>
                  <a:lnTo>
                    <a:pt x="611020" y="663367"/>
                  </a:lnTo>
                  <a:lnTo>
                    <a:pt x="612093" y="664201"/>
                  </a:lnTo>
                  <a:lnTo>
                    <a:pt x="612983" y="665392"/>
                  </a:lnTo>
                  <a:lnTo>
                    <a:pt x="615458" y="671242"/>
                  </a:lnTo>
                  <a:lnTo>
                    <a:pt x="616532" y="672386"/>
                  </a:lnTo>
                  <a:lnTo>
                    <a:pt x="618124" y="673009"/>
                  </a:lnTo>
                  <a:lnTo>
                    <a:pt x="620354" y="673639"/>
                  </a:lnTo>
                  <a:lnTo>
                    <a:pt x="621682" y="674503"/>
                  </a:lnTo>
                  <a:lnTo>
                    <a:pt x="622849" y="675817"/>
                  </a:lnTo>
                  <a:lnTo>
                    <a:pt x="623003" y="676421"/>
                  </a:lnTo>
                  <a:lnTo>
                    <a:pt x="615991" y="674064"/>
                  </a:lnTo>
                  <a:lnTo>
                    <a:pt x="611585" y="677503"/>
                  </a:lnTo>
                  <a:lnTo>
                    <a:pt x="610254" y="677949"/>
                  </a:lnTo>
                  <a:lnTo>
                    <a:pt x="597747" y="678115"/>
                  </a:lnTo>
                  <a:lnTo>
                    <a:pt x="595247" y="678748"/>
                  </a:lnTo>
                  <a:lnTo>
                    <a:pt x="593631" y="679866"/>
                  </a:lnTo>
                  <a:lnTo>
                    <a:pt x="590773" y="682999"/>
                  </a:lnTo>
                  <a:lnTo>
                    <a:pt x="589322" y="684216"/>
                  </a:lnTo>
                  <a:lnTo>
                    <a:pt x="587794" y="684939"/>
                  </a:lnTo>
                  <a:lnTo>
                    <a:pt x="584544" y="685748"/>
                  </a:lnTo>
                  <a:lnTo>
                    <a:pt x="580643" y="685638"/>
                  </a:lnTo>
                  <a:lnTo>
                    <a:pt x="578611" y="685229"/>
                  </a:lnTo>
                  <a:lnTo>
                    <a:pt x="577521" y="683740"/>
                  </a:lnTo>
                  <a:lnTo>
                    <a:pt x="576556" y="680803"/>
                  </a:lnTo>
                  <a:lnTo>
                    <a:pt x="576563" y="679985"/>
                  </a:lnTo>
                  <a:lnTo>
                    <a:pt x="576973" y="678579"/>
                  </a:lnTo>
                  <a:lnTo>
                    <a:pt x="580447" y="676635"/>
                  </a:lnTo>
                  <a:lnTo>
                    <a:pt x="581601" y="675608"/>
                  </a:lnTo>
                  <a:lnTo>
                    <a:pt x="586102" y="668929"/>
                  </a:lnTo>
                  <a:lnTo>
                    <a:pt x="587408" y="668010"/>
                  </a:lnTo>
                  <a:lnTo>
                    <a:pt x="588792" y="667784"/>
                  </a:lnTo>
                  <a:lnTo>
                    <a:pt x="592635" y="668251"/>
                  </a:lnTo>
                  <a:lnTo>
                    <a:pt x="595916" y="666298"/>
                  </a:lnTo>
                  <a:lnTo>
                    <a:pt x="602984" y="663321"/>
                  </a:lnTo>
                  <a:lnTo>
                    <a:pt x="604537" y="662967"/>
                  </a:lnTo>
                  <a:close/>
                  <a:moveTo>
                    <a:pt x="715384" y="662622"/>
                  </a:moveTo>
                  <a:lnTo>
                    <a:pt x="717207" y="663258"/>
                  </a:lnTo>
                  <a:lnTo>
                    <a:pt x="717902" y="664726"/>
                  </a:lnTo>
                  <a:lnTo>
                    <a:pt x="717933" y="665687"/>
                  </a:lnTo>
                  <a:lnTo>
                    <a:pt x="717103" y="665867"/>
                  </a:lnTo>
                  <a:lnTo>
                    <a:pt x="716418" y="665484"/>
                  </a:lnTo>
                  <a:lnTo>
                    <a:pt x="715471" y="663467"/>
                  </a:lnTo>
                  <a:close/>
                  <a:moveTo>
                    <a:pt x="713263" y="656683"/>
                  </a:moveTo>
                  <a:lnTo>
                    <a:pt x="714027" y="659317"/>
                  </a:lnTo>
                  <a:lnTo>
                    <a:pt x="713892" y="662148"/>
                  </a:lnTo>
                  <a:lnTo>
                    <a:pt x="713520" y="662593"/>
                  </a:lnTo>
                  <a:lnTo>
                    <a:pt x="712844" y="661838"/>
                  </a:lnTo>
                  <a:lnTo>
                    <a:pt x="711409" y="662675"/>
                  </a:lnTo>
                  <a:lnTo>
                    <a:pt x="710625" y="662063"/>
                  </a:lnTo>
                  <a:lnTo>
                    <a:pt x="710958" y="661077"/>
                  </a:lnTo>
                  <a:lnTo>
                    <a:pt x="710849" y="660308"/>
                  </a:lnTo>
                  <a:lnTo>
                    <a:pt x="711914" y="660247"/>
                  </a:lnTo>
                  <a:lnTo>
                    <a:pt x="712167" y="658839"/>
                  </a:lnTo>
                  <a:lnTo>
                    <a:pt x="711983" y="658246"/>
                  </a:lnTo>
                  <a:lnTo>
                    <a:pt x="712506" y="656976"/>
                  </a:lnTo>
                  <a:close/>
                  <a:moveTo>
                    <a:pt x="1427023" y="655325"/>
                  </a:moveTo>
                  <a:lnTo>
                    <a:pt x="1428369" y="655374"/>
                  </a:lnTo>
                  <a:lnTo>
                    <a:pt x="1431124" y="657132"/>
                  </a:lnTo>
                  <a:lnTo>
                    <a:pt x="1432779" y="661876"/>
                  </a:lnTo>
                  <a:lnTo>
                    <a:pt x="1435389" y="666497"/>
                  </a:lnTo>
                  <a:lnTo>
                    <a:pt x="1435528" y="668118"/>
                  </a:lnTo>
                  <a:lnTo>
                    <a:pt x="1433040" y="668686"/>
                  </a:lnTo>
                  <a:lnTo>
                    <a:pt x="1431085" y="668453"/>
                  </a:lnTo>
                  <a:lnTo>
                    <a:pt x="1430077" y="667922"/>
                  </a:lnTo>
                  <a:lnTo>
                    <a:pt x="1429812" y="667170"/>
                  </a:lnTo>
                  <a:lnTo>
                    <a:pt x="1430442" y="664833"/>
                  </a:lnTo>
                  <a:lnTo>
                    <a:pt x="1429159" y="663457"/>
                  </a:lnTo>
                  <a:lnTo>
                    <a:pt x="1427671" y="662988"/>
                  </a:lnTo>
                  <a:lnTo>
                    <a:pt x="1426339" y="663796"/>
                  </a:lnTo>
                  <a:lnTo>
                    <a:pt x="1426265" y="661490"/>
                  </a:lnTo>
                  <a:lnTo>
                    <a:pt x="1427263" y="659831"/>
                  </a:lnTo>
                  <a:lnTo>
                    <a:pt x="1426706" y="657576"/>
                  </a:lnTo>
                  <a:lnTo>
                    <a:pt x="1426691" y="655871"/>
                  </a:lnTo>
                  <a:close/>
                  <a:moveTo>
                    <a:pt x="704531" y="655010"/>
                  </a:moveTo>
                  <a:lnTo>
                    <a:pt x="704947" y="655346"/>
                  </a:lnTo>
                  <a:lnTo>
                    <a:pt x="704253" y="656850"/>
                  </a:lnTo>
                  <a:lnTo>
                    <a:pt x="705754" y="658233"/>
                  </a:lnTo>
                  <a:lnTo>
                    <a:pt x="705380" y="659573"/>
                  </a:lnTo>
                  <a:lnTo>
                    <a:pt x="704898" y="660138"/>
                  </a:lnTo>
                  <a:lnTo>
                    <a:pt x="703343" y="660917"/>
                  </a:lnTo>
                  <a:lnTo>
                    <a:pt x="702855" y="661907"/>
                  </a:lnTo>
                  <a:lnTo>
                    <a:pt x="701673" y="662325"/>
                  </a:lnTo>
                  <a:lnTo>
                    <a:pt x="700678" y="663130"/>
                  </a:lnTo>
                  <a:lnTo>
                    <a:pt x="697331" y="666774"/>
                  </a:lnTo>
                  <a:lnTo>
                    <a:pt x="695866" y="667448"/>
                  </a:lnTo>
                  <a:lnTo>
                    <a:pt x="697484" y="664338"/>
                  </a:lnTo>
                  <a:lnTo>
                    <a:pt x="697739" y="663349"/>
                  </a:lnTo>
                  <a:lnTo>
                    <a:pt x="697770" y="662691"/>
                  </a:lnTo>
                  <a:lnTo>
                    <a:pt x="697267" y="660342"/>
                  </a:lnTo>
                  <a:lnTo>
                    <a:pt x="698246" y="660443"/>
                  </a:lnTo>
                  <a:lnTo>
                    <a:pt x="699050" y="659956"/>
                  </a:lnTo>
                  <a:lnTo>
                    <a:pt x="700669" y="657872"/>
                  </a:lnTo>
                  <a:lnTo>
                    <a:pt x="702125" y="657686"/>
                  </a:lnTo>
                  <a:lnTo>
                    <a:pt x="703687" y="655205"/>
                  </a:lnTo>
                  <a:close/>
                  <a:moveTo>
                    <a:pt x="1382861" y="653131"/>
                  </a:moveTo>
                  <a:lnTo>
                    <a:pt x="1387941" y="657118"/>
                  </a:lnTo>
                  <a:lnTo>
                    <a:pt x="1388715" y="658807"/>
                  </a:lnTo>
                  <a:lnTo>
                    <a:pt x="1390535" y="660783"/>
                  </a:lnTo>
                  <a:lnTo>
                    <a:pt x="1390882" y="663537"/>
                  </a:lnTo>
                  <a:lnTo>
                    <a:pt x="1391804" y="664617"/>
                  </a:lnTo>
                  <a:lnTo>
                    <a:pt x="1393941" y="668449"/>
                  </a:lnTo>
                  <a:lnTo>
                    <a:pt x="1394565" y="668926"/>
                  </a:lnTo>
                  <a:lnTo>
                    <a:pt x="1395200" y="668591"/>
                  </a:lnTo>
                  <a:lnTo>
                    <a:pt x="1396235" y="667328"/>
                  </a:lnTo>
                  <a:lnTo>
                    <a:pt x="1398063" y="667577"/>
                  </a:lnTo>
                  <a:lnTo>
                    <a:pt x="1399383" y="668002"/>
                  </a:lnTo>
                  <a:lnTo>
                    <a:pt x="1400191" y="668520"/>
                  </a:lnTo>
                  <a:lnTo>
                    <a:pt x="1399763" y="670359"/>
                  </a:lnTo>
                  <a:lnTo>
                    <a:pt x="1399432" y="673341"/>
                  </a:lnTo>
                  <a:lnTo>
                    <a:pt x="1398675" y="674399"/>
                  </a:lnTo>
                  <a:lnTo>
                    <a:pt x="1397932" y="675885"/>
                  </a:lnTo>
                  <a:lnTo>
                    <a:pt x="1395343" y="675004"/>
                  </a:lnTo>
                  <a:lnTo>
                    <a:pt x="1393242" y="673112"/>
                  </a:lnTo>
                  <a:lnTo>
                    <a:pt x="1390199" y="669851"/>
                  </a:lnTo>
                  <a:lnTo>
                    <a:pt x="1388503" y="667497"/>
                  </a:lnTo>
                  <a:lnTo>
                    <a:pt x="1388372" y="666501"/>
                  </a:lnTo>
                  <a:lnTo>
                    <a:pt x="1387297" y="665778"/>
                  </a:lnTo>
                  <a:lnTo>
                    <a:pt x="1385206" y="661711"/>
                  </a:lnTo>
                  <a:lnTo>
                    <a:pt x="1384019" y="658489"/>
                  </a:lnTo>
                  <a:lnTo>
                    <a:pt x="1382140" y="658122"/>
                  </a:lnTo>
                  <a:lnTo>
                    <a:pt x="1379764" y="657226"/>
                  </a:lnTo>
                  <a:lnTo>
                    <a:pt x="1378851" y="655459"/>
                  </a:lnTo>
                  <a:lnTo>
                    <a:pt x="1379481" y="653912"/>
                  </a:lnTo>
                  <a:close/>
                  <a:moveTo>
                    <a:pt x="692415" y="652017"/>
                  </a:moveTo>
                  <a:lnTo>
                    <a:pt x="693257" y="652705"/>
                  </a:lnTo>
                  <a:lnTo>
                    <a:pt x="692899" y="655515"/>
                  </a:lnTo>
                  <a:lnTo>
                    <a:pt x="689393" y="653727"/>
                  </a:lnTo>
                  <a:lnTo>
                    <a:pt x="688455" y="652842"/>
                  </a:lnTo>
                  <a:lnTo>
                    <a:pt x="689083" y="652182"/>
                  </a:lnTo>
                  <a:close/>
                  <a:moveTo>
                    <a:pt x="683190" y="650319"/>
                  </a:moveTo>
                  <a:lnTo>
                    <a:pt x="683912" y="650543"/>
                  </a:lnTo>
                  <a:lnTo>
                    <a:pt x="684510" y="651219"/>
                  </a:lnTo>
                  <a:lnTo>
                    <a:pt x="684659" y="651931"/>
                  </a:lnTo>
                  <a:lnTo>
                    <a:pt x="684185" y="653521"/>
                  </a:lnTo>
                  <a:lnTo>
                    <a:pt x="684573" y="653539"/>
                  </a:lnTo>
                  <a:lnTo>
                    <a:pt x="685361" y="653267"/>
                  </a:lnTo>
                  <a:lnTo>
                    <a:pt x="687014" y="651258"/>
                  </a:lnTo>
                  <a:lnTo>
                    <a:pt x="687556" y="651169"/>
                  </a:lnTo>
                  <a:lnTo>
                    <a:pt x="687564" y="651789"/>
                  </a:lnTo>
                  <a:lnTo>
                    <a:pt x="686782" y="653775"/>
                  </a:lnTo>
                  <a:lnTo>
                    <a:pt x="688106" y="656424"/>
                  </a:lnTo>
                  <a:lnTo>
                    <a:pt x="689344" y="657698"/>
                  </a:lnTo>
                  <a:lnTo>
                    <a:pt x="689221" y="658143"/>
                  </a:lnTo>
                  <a:lnTo>
                    <a:pt x="686119" y="659061"/>
                  </a:lnTo>
                  <a:lnTo>
                    <a:pt x="683755" y="658400"/>
                  </a:lnTo>
                  <a:lnTo>
                    <a:pt x="682508" y="658629"/>
                  </a:lnTo>
                  <a:lnTo>
                    <a:pt x="681375" y="659553"/>
                  </a:lnTo>
                  <a:lnTo>
                    <a:pt x="680599" y="658531"/>
                  </a:lnTo>
                  <a:lnTo>
                    <a:pt x="680063" y="653644"/>
                  </a:lnTo>
                  <a:lnTo>
                    <a:pt x="680238" y="652787"/>
                  </a:lnTo>
                  <a:lnTo>
                    <a:pt x="681524" y="651086"/>
                  </a:lnTo>
                  <a:close/>
                  <a:moveTo>
                    <a:pt x="1381611" y="644806"/>
                  </a:moveTo>
                  <a:lnTo>
                    <a:pt x="1382645" y="645354"/>
                  </a:lnTo>
                  <a:lnTo>
                    <a:pt x="1383203" y="646358"/>
                  </a:lnTo>
                  <a:lnTo>
                    <a:pt x="1383242" y="646993"/>
                  </a:lnTo>
                  <a:lnTo>
                    <a:pt x="1379548" y="649363"/>
                  </a:lnTo>
                  <a:lnTo>
                    <a:pt x="1379480" y="649851"/>
                  </a:lnTo>
                  <a:lnTo>
                    <a:pt x="1378614" y="651316"/>
                  </a:lnTo>
                  <a:lnTo>
                    <a:pt x="1377840" y="651849"/>
                  </a:lnTo>
                  <a:lnTo>
                    <a:pt x="1376464" y="653433"/>
                  </a:lnTo>
                  <a:lnTo>
                    <a:pt x="1373841" y="655140"/>
                  </a:lnTo>
                  <a:lnTo>
                    <a:pt x="1374228" y="650008"/>
                  </a:lnTo>
                  <a:lnTo>
                    <a:pt x="1371623" y="647025"/>
                  </a:lnTo>
                  <a:lnTo>
                    <a:pt x="1374248" y="645514"/>
                  </a:lnTo>
                  <a:lnTo>
                    <a:pt x="1375970" y="645945"/>
                  </a:lnTo>
                  <a:lnTo>
                    <a:pt x="1378826" y="646119"/>
                  </a:lnTo>
                  <a:close/>
                  <a:moveTo>
                    <a:pt x="814054" y="631722"/>
                  </a:moveTo>
                  <a:lnTo>
                    <a:pt x="814583" y="631838"/>
                  </a:lnTo>
                  <a:lnTo>
                    <a:pt x="814821" y="633073"/>
                  </a:lnTo>
                  <a:lnTo>
                    <a:pt x="814768" y="635424"/>
                  </a:lnTo>
                  <a:lnTo>
                    <a:pt x="813776" y="636557"/>
                  </a:lnTo>
                  <a:lnTo>
                    <a:pt x="811844" y="636475"/>
                  </a:lnTo>
                  <a:lnTo>
                    <a:pt x="810759" y="636104"/>
                  </a:lnTo>
                  <a:lnTo>
                    <a:pt x="810396" y="635115"/>
                  </a:lnTo>
                  <a:lnTo>
                    <a:pt x="813375" y="632125"/>
                  </a:lnTo>
                  <a:close/>
                  <a:moveTo>
                    <a:pt x="1434579" y="630608"/>
                  </a:moveTo>
                  <a:lnTo>
                    <a:pt x="1435422" y="630837"/>
                  </a:lnTo>
                  <a:lnTo>
                    <a:pt x="1438370" y="634152"/>
                  </a:lnTo>
                  <a:lnTo>
                    <a:pt x="1441503" y="638777"/>
                  </a:lnTo>
                  <a:lnTo>
                    <a:pt x="1442316" y="640856"/>
                  </a:lnTo>
                  <a:lnTo>
                    <a:pt x="1442340" y="644487"/>
                  </a:lnTo>
                  <a:lnTo>
                    <a:pt x="1441980" y="647304"/>
                  </a:lnTo>
                  <a:lnTo>
                    <a:pt x="1441093" y="651224"/>
                  </a:lnTo>
                  <a:lnTo>
                    <a:pt x="1439337" y="655230"/>
                  </a:lnTo>
                  <a:lnTo>
                    <a:pt x="1436655" y="657383"/>
                  </a:lnTo>
                  <a:lnTo>
                    <a:pt x="1434767" y="656903"/>
                  </a:lnTo>
                  <a:lnTo>
                    <a:pt x="1433378" y="655168"/>
                  </a:lnTo>
                  <a:lnTo>
                    <a:pt x="1432089" y="655264"/>
                  </a:lnTo>
                  <a:lnTo>
                    <a:pt x="1430715" y="654907"/>
                  </a:lnTo>
                  <a:lnTo>
                    <a:pt x="1429944" y="653467"/>
                  </a:lnTo>
                  <a:lnTo>
                    <a:pt x="1430673" y="651611"/>
                  </a:lnTo>
                  <a:lnTo>
                    <a:pt x="1430030" y="650171"/>
                  </a:lnTo>
                  <a:lnTo>
                    <a:pt x="1429343" y="651430"/>
                  </a:lnTo>
                  <a:lnTo>
                    <a:pt x="1428135" y="652586"/>
                  </a:lnTo>
                  <a:lnTo>
                    <a:pt x="1425087" y="654087"/>
                  </a:lnTo>
                  <a:lnTo>
                    <a:pt x="1422985" y="656953"/>
                  </a:lnTo>
                  <a:lnTo>
                    <a:pt x="1421996" y="658821"/>
                  </a:lnTo>
                  <a:lnTo>
                    <a:pt x="1420759" y="656785"/>
                  </a:lnTo>
                  <a:lnTo>
                    <a:pt x="1419967" y="651957"/>
                  </a:lnTo>
                  <a:lnTo>
                    <a:pt x="1419863" y="649905"/>
                  </a:lnTo>
                  <a:lnTo>
                    <a:pt x="1422073" y="646807"/>
                  </a:lnTo>
                  <a:lnTo>
                    <a:pt x="1424928" y="643860"/>
                  </a:lnTo>
                  <a:lnTo>
                    <a:pt x="1425504" y="635048"/>
                  </a:lnTo>
                  <a:close/>
                  <a:moveTo>
                    <a:pt x="1375984" y="616779"/>
                  </a:moveTo>
                  <a:lnTo>
                    <a:pt x="1380820" y="617553"/>
                  </a:lnTo>
                  <a:lnTo>
                    <a:pt x="1385248" y="617480"/>
                  </a:lnTo>
                  <a:lnTo>
                    <a:pt x="1386761" y="618968"/>
                  </a:lnTo>
                  <a:lnTo>
                    <a:pt x="1387761" y="620537"/>
                  </a:lnTo>
                  <a:lnTo>
                    <a:pt x="1388342" y="622012"/>
                  </a:lnTo>
                  <a:lnTo>
                    <a:pt x="1388502" y="623393"/>
                  </a:lnTo>
                  <a:lnTo>
                    <a:pt x="1388382" y="624371"/>
                  </a:lnTo>
                  <a:lnTo>
                    <a:pt x="1387844" y="625412"/>
                  </a:lnTo>
                  <a:lnTo>
                    <a:pt x="1387962" y="625763"/>
                  </a:lnTo>
                  <a:lnTo>
                    <a:pt x="1396611" y="629182"/>
                  </a:lnTo>
                  <a:lnTo>
                    <a:pt x="1400691" y="632775"/>
                  </a:lnTo>
                  <a:lnTo>
                    <a:pt x="1402319" y="634660"/>
                  </a:lnTo>
                  <a:lnTo>
                    <a:pt x="1403259" y="636252"/>
                  </a:lnTo>
                  <a:lnTo>
                    <a:pt x="1404963" y="640231"/>
                  </a:lnTo>
                  <a:lnTo>
                    <a:pt x="1408568" y="644840"/>
                  </a:lnTo>
                  <a:lnTo>
                    <a:pt x="1410459" y="646244"/>
                  </a:lnTo>
                  <a:lnTo>
                    <a:pt x="1411532" y="647608"/>
                  </a:lnTo>
                  <a:lnTo>
                    <a:pt x="1410928" y="647660"/>
                  </a:lnTo>
                  <a:lnTo>
                    <a:pt x="1408388" y="646649"/>
                  </a:lnTo>
                  <a:lnTo>
                    <a:pt x="1402893" y="643561"/>
                  </a:lnTo>
                  <a:lnTo>
                    <a:pt x="1402445" y="643683"/>
                  </a:lnTo>
                  <a:lnTo>
                    <a:pt x="1401948" y="645355"/>
                  </a:lnTo>
                  <a:lnTo>
                    <a:pt x="1401097" y="646822"/>
                  </a:lnTo>
                  <a:lnTo>
                    <a:pt x="1399832" y="647874"/>
                  </a:lnTo>
                  <a:lnTo>
                    <a:pt x="1400845" y="648188"/>
                  </a:lnTo>
                  <a:lnTo>
                    <a:pt x="1405276" y="647526"/>
                  </a:lnTo>
                  <a:lnTo>
                    <a:pt x="1408997" y="650533"/>
                  </a:lnTo>
                  <a:lnTo>
                    <a:pt x="1410445" y="651071"/>
                  </a:lnTo>
                  <a:lnTo>
                    <a:pt x="1411848" y="653229"/>
                  </a:lnTo>
                  <a:lnTo>
                    <a:pt x="1411896" y="654055"/>
                  </a:lnTo>
                  <a:lnTo>
                    <a:pt x="1411079" y="655650"/>
                  </a:lnTo>
                  <a:lnTo>
                    <a:pt x="1410455" y="656297"/>
                  </a:lnTo>
                  <a:lnTo>
                    <a:pt x="1410664" y="656737"/>
                  </a:lnTo>
                  <a:lnTo>
                    <a:pt x="1411704" y="656964"/>
                  </a:lnTo>
                  <a:lnTo>
                    <a:pt x="1415807" y="656517"/>
                  </a:lnTo>
                  <a:lnTo>
                    <a:pt x="1416539" y="657300"/>
                  </a:lnTo>
                  <a:lnTo>
                    <a:pt x="1415927" y="663508"/>
                  </a:lnTo>
                  <a:lnTo>
                    <a:pt x="1416508" y="665790"/>
                  </a:lnTo>
                  <a:lnTo>
                    <a:pt x="1416499" y="666827"/>
                  </a:lnTo>
                  <a:lnTo>
                    <a:pt x="1416024" y="668202"/>
                  </a:lnTo>
                  <a:lnTo>
                    <a:pt x="1416007" y="669364"/>
                  </a:lnTo>
                  <a:lnTo>
                    <a:pt x="1416378" y="670556"/>
                  </a:lnTo>
                  <a:lnTo>
                    <a:pt x="1416425" y="671621"/>
                  </a:lnTo>
                  <a:lnTo>
                    <a:pt x="1415384" y="674396"/>
                  </a:lnTo>
                  <a:lnTo>
                    <a:pt x="1414285" y="674861"/>
                  </a:lnTo>
                  <a:lnTo>
                    <a:pt x="1412509" y="674882"/>
                  </a:lnTo>
                  <a:lnTo>
                    <a:pt x="1411109" y="674094"/>
                  </a:lnTo>
                  <a:lnTo>
                    <a:pt x="1409143" y="671708"/>
                  </a:lnTo>
                  <a:lnTo>
                    <a:pt x="1407230" y="667996"/>
                  </a:lnTo>
                  <a:lnTo>
                    <a:pt x="1406492" y="667466"/>
                  </a:lnTo>
                  <a:lnTo>
                    <a:pt x="1403981" y="666908"/>
                  </a:lnTo>
                  <a:lnTo>
                    <a:pt x="1403526" y="666468"/>
                  </a:lnTo>
                  <a:lnTo>
                    <a:pt x="1401923" y="666389"/>
                  </a:lnTo>
                  <a:lnTo>
                    <a:pt x="1400788" y="664859"/>
                  </a:lnTo>
                  <a:lnTo>
                    <a:pt x="1400925" y="662851"/>
                  </a:lnTo>
                  <a:lnTo>
                    <a:pt x="1399943" y="660801"/>
                  </a:lnTo>
                  <a:lnTo>
                    <a:pt x="1400065" y="659883"/>
                  </a:lnTo>
                  <a:lnTo>
                    <a:pt x="1398965" y="659498"/>
                  </a:lnTo>
                  <a:lnTo>
                    <a:pt x="1398034" y="660076"/>
                  </a:lnTo>
                  <a:lnTo>
                    <a:pt x="1398517" y="662085"/>
                  </a:lnTo>
                  <a:lnTo>
                    <a:pt x="1397974" y="663640"/>
                  </a:lnTo>
                  <a:lnTo>
                    <a:pt x="1395980" y="662988"/>
                  </a:lnTo>
                  <a:lnTo>
                    <a:pt x="1392656" y="658016"/>
                  </a:lnTo>
                  <a:lnTo>
                    <a:pt x="1388880" y="654015"/>
                  </a:lnTo>
                  <a:lnTo>
                    <a:pt x="1387402" y="653063"/>
                  </a:lnTo>
                  <a:lnTo>
                    <a:pt x="1387799" y="651901"/>
                  </a:lnTo>
                  <a:lnTo>
                    <a:pt x="1389660" y="651285"/>
                  </a:lnTo>
                  <a:lnTo>
                    <a:pt x="1391172" y="651333"/>
                  </a:lnTo>
                  <a:lnTo>
                    <a:pt x="1391475" y="650642"/>
                  </a:lnTo>
                  <a:lnTo>
                    <a:pt x="1388322" y="646770"/>
                  </a:lnTo>
                  <a:lnTo>
                    <a:pt x="1388425" y="645670"/>
                  </a:lnTo>
                  <a:lnTo>
                    <a:pt x="1389575" y="643711"/>
                  </a:lnTo>
                  <a:lnTo>
                    <a:pt x="1388140" y="642894"/>
                  </a:lnTo>
                  <a:lnTo>
                    <a:pt x="1384209" y="643507"/>
                  </a:lnTo>
                  <a:lnTo>
                    <a:pt x="1382818" y="643098"/>
                  </a:lnTo>
                  <a:lnTo>
                    <a:pt x="1381682" y="641525"/>
                  </a:lnTo>
                  <a:lnTo>
                    <a:pt x="1381014" y="640160"/>
                  </a:lnTo>
                  <a:lnTo>
                    <a:pt x="1377602" y="639913"/>
                  </a:lnTo>
                  <a:lnTo>
                    <a:pt x="1376312" y="640082"/>
                  </a:lnTo>
                  <a:lnTo>
                    <a:pt x="1374088" y="638019"/>
                  </a:lnTo>
                  <a:lnTo>
                    <a:pt x="1373075" y="636715"/>
                  </a:lnTo>
                  <a:lnTo>
                    <a:pt x="1373477" y="636046"/>
                  </a:lnTo>
                  <a:lnTo>
                    <a:pt x="1375527" y="634873"/>
                  </a:lnTo>
                  <a:lnTo>
                    <a:pt x="1376724" y="635038"/>
                  </a:lnTo>
                  <a:lnTo>
                    <a:pt x="1379025" y="636290"/>
                  </a:lnTo>
                  <a:lnTo>
                    <a:pt x="1379924" y="636242"/>
                  </a:lnTo>
                  <a:lnTo>
                    <a:pt x="1382210" y="634583"/>
                  </a:lnTo>
                  <a:lnTo>
                    <a:pt x="1382557" y="633080"/>
                  </a:lnTo>
                  <a:lnTo>
                    <a:pt x="1384265" y="631848"/>
                  </a:lnTo>
                  <a:lnTo>
                    <a:pt x="1383995" y="630546"/>
                  </a:lnTo>
                  <a:lnTo>
                    <a:pt x="1383049" y="628331"/>
                  </a:lnTo>
                  <a:lnTo>
                    <a:pt x="1380955" y="627712"/>
                  </a:lnTo>
                  <a:lnTo>
                    <a:pt x="1376686" y="629029"/>
                  </a:lnTo>
                  <a:lnTo>
                    <a:pt x="1372971" y="631059"/>
                  </a:lnTo>
                  <a:lnTo>
                    <a:pt x="1371485" y="630267"/>
                  </a:lnTo>
                  <a:lnTo>
                    <a:pt x="1371162" y="629022"/>
                  </a:lnTo>
                  <a:lnTo>
                    <a:pt x="1375141" y="625634"/>
                  </a:lnTo>
                  <a:lnTo>
                    <a:pt x="1376885" y="623761"/>
                  </a:lnTo>
                  <a:lnTo>
                    <a:pt x="1376547" y="622649"/>
                  </a:lnTo>
                  <a:lnTo>
                    <a:pt x="1375262" y="621213"/>
                  </a:lnTo>
                  <a:lnTo>
                    <a:pt x="1375155" y="617607"/>
                  </a:lnTo>
                  <a:close/>
                  <a:moveTo>
                    <a:pt x="1392925" y="612637"/>
                  </a:moveTo>
                  <a:lnTo>
                    <a:pt x="1397926" y="612829"/>
                  </a:lnTo>
                  <a:lnTo>
                    <a:pt x="1399525" y="613311"/>
                  </a:lnTo>
                  <a:lnTo>
                    <a:pt x="1399889" y="614150"/>
                  </a:lnTo>
                  <a:lnTo>
                    <a:pt x="1399807" y="615006"/>
                  </a:lnTo>
                  <a:lnTo>
                    <a:pt x="1399284" y="615870"/>
                  </a:lnTo>
                  <a:lnTo>
                    <a:pt x="1399162" y="616775"/>
                  </a:lnTo>
                  <a:lnTo>
                    <a:pt x="1399443" y="617719"/>
                  </a:lnTo>
                  <a:lnTo>
                    <a:pt x="1398861" y="618653"/>
                  </a:lnTo>
                  <a:lnTo>
                    <a:pt x="1396042" y="620097"/>
                  </a:lnTo>
                  <a:lnTo>
                    <a:pt x="1394739" y="620211"/>
                  </a:lnTo>
                  <a:lnTo>
                    <a:pt x="1393196" y="619660"/>
                  </a:lnTo>
                  <a:lnTo>
                    <a:pt x="1389533" y="616716"/>
                  </a:lnTo>
                  <a:lnTo>
                    <a:pt x="1389467" y="615853"/>
                  </a:lnTo>
                  <a:lnTo>
                    <a:pt x="1389992" y="614872"/>
                  </a:lnTo>
                  <a:lnTo>
                    <a:pt x="1392071" y="613071"/>
                  </a:lnTo>
                  <a:close/>
                  <a:moveTo>
                    <a:pt x="1406248" y="611009"/>
                  </a:moveTo>
                  <a:lnTo>
                    <a:pt x="1407863" y="611417"/>
                  </a:lnTo>
                  <a:lnTo>
                    <a:pt x="1410692" y="615019"/>
                  </a:lnTo>
                  <a:lnTo>
                    <a:pt x="1414231" y="620207"/>
                  </a:lnTo>
                  <a:lnTo>
                    <a:pt x="1413071" y="625067"/>
                  </a:lnTo>
                  <a:lnTo>
                    <a:pt x="1412545" y="631041"/>
                  </a:lnTo>
                  <a:lnTo>
                    <a:pt x="1411535" y="630705"/>
                  </a:lnTo>
                  <a:lnTo>
                    <a:pt x="1410572" y="630692"/>
                  </a:lnTo>
                  <a:lnTo>
                    <a:pt x="1408608" y="631540"/>
                  </a:lnTo>
                  <a:lnTo>
                    <a:pt x="1406534" y="631167"/>
                  </a:lnTo>
                  <a:lnTo>
                    <a:pt x="1405566" y="630505"/>
                  </a:lnTo>
                  <a:lnTo>
                    <a:pt x="1405207" y="629738"/>
                  </a:lnTo>
                  <a:lnTo>
                    <a:pt x="1405579" y="627965"/>
                  </a:lnTo>
                  <a:lnTo>
                    <a:pt x="1404428" y="626976"/>
                  </a:lnTo>
                  <a:lnTo>
                    <a:pt x="1400554" y="626614"/>
                  </a:lnTo>
                  <a:lnTo>
                    <a:pt x="1399103" y="626190"/>
                  </a:lnTo>
                  <a:lnTo>
                    <a:pt x="1398301" y="624322"/>
                  </a:lnTo>
                  <a:lnTo>
                    <a:pt x="1398106" y="621868"/>
                  </a:lnTo>
                  <a:lnTo>
                    <a:pt x="1398712" y="620950"/>
                  </a:lnTo>
                  <a:lnTo>
                    <a:pt x="1400663" y="620299"/>
                  </a:lnTo>
                  <a:lnTo>
                    <a:pt x="1402187" y="617323"/>
                  </a:lnTo>
                  <a:lnTo>
                    <a:pt x="1403030" y="616922"/>
                  </a:lnTo>
                  <a:close/>
                  <a:moveTo>
                    <a:pt x="841515" y="607322"/>
                  </a:moveTo>
                  <a:lnTo>
                    <a:pt x="842897" y="607407"/>
                  </a:lnTo>
                  <a:lnTo>
                    <a:pt x="843369" y="608313"/>
                  </a:lnTo>
                  <a:lnTo>
                    <a:pt x="841677" y="610189"/>
                  </a:lnTo>
                  <a:lnTo>
                    <a:pt x="837298" y="613288"/>
                  </a:lnTo>
                  <a:lnTo>
                    <a:pt x="835554" y="614143"/>
                  </a:lnTo>
                  <a:lnTo>
                    <a:pt x="834974" y="613850"/>
                  </a:lnTo>
                  <a:lnTo>
                    <a:pt x="834893" y="613139"/>
                  </a:lnTo>
                  <a:lnTo>
                    <a:pt x="835305" y="612009"/>
                  </a:lnTo>
                  <a:lnTo>
                    <a:pt x="836112" y="610886"/>
                  </a:lnTo>
                  <a:lnTo>
                    <a:pt x="838806" y="608743"/>
                  </a:lnTo>
                  <a:close/>
                  <a:moveTo>
                    <a:pt x="849187" y="607025"/>
                  </a:moveTo>
                  <a:lnTo>
                    <a:pt x="851900" y="607235"/>
                  </a:lnTo>
                  <a:lnTo>
                    <a:pt x="852109" y="608006"/>
                  </a:lnTo>
                  <a:lnTo>
                    <a:pt x="851983" y="608871"/>
                  </a:lnTo>
                  <a:lnTo>
                    <a:pt x="851758" y="609375"/>
                  </a:lnTo>
                  <a:lnTo>
                    <a:pt x="850894" y="609893"/>
                  </a:lnTo>
                  <a:lnTo>
                    <a:pt x="849393" y="610425"/>
                  </a:lnTo>
                  <a:lnTo>
                    <a:pt x="848140" y="610505"/>
                  </a:lnTo>
                  <a:lnTo>
                    <a:pt x="846244" y="609551"/>
                  </a:lnTo>
                  <a:lnTo>
                    <a:pt x="846497" y="608407"/>
                  </a:lnTo>
                  <a:close/>
                  <a:moveTo>
                    <a:pt x="452801" y="606071"/>
                  </a:moveTo>
                  <a:lnTo>
                    <a:pt x="456150" y="606793"/>
                  </a:lnTo>
                  <a:lnTo>
                    <a:pt x="458024" y="606321"/>
                  </a:lnTo>
                  <a:lnTo>
                    <a:pt x="459677" y="606699"/>
                  </a:lnTo>
                  <a:lnTo>
                    <a:pt x="459967" y="607558"/>
                  </a:lnTo>
                  <a:lnTo>
                    <a:pt x="457097" y="609428"/>
                  </a:lnTo>
                  <a:lnTo>
                    <a:pt x="455929" y="609309"/>
                  </a:lnTo>
                  <a:lnTo>
                    <a:pt x="452522" y="607053"/>
                  </a:lnTo>
                  <a:close/>
                  <a:moveTo>
                    <a:pt x="1394444" y="600270"/>
                  </a:moveTo>
                  <a:lnTo>
                    <a:pt x="1399206" y="604268"/>
                  </a:lnTo>
                  <a:lnTo>
                    <a:pt x="1400664" y="606045"/>
                  </a:lnTo>
                  <a:lnTo>
                    <a:pt x="1401449" y="608217"/>
                  </a:lnTo>
                  <a:lnTo>
                    <a:pt x="1399758" y="609027"/>
                  </a:lnTo>
                  <a:lnTo>
                    <a:pt x="1397712" y="609424"/>
                  </a:lnTo>
                  <a:lnTo>
                    <a:pt x="1396884" y="610034"/>
                  </a:lnTo>
                  <a:lnTo>
                    <a:pt x="1396611" y="610564"/>
                  </a:lnTo>
                  <a:lnTo>
                    <a:pt x="1393367" y="610513"/>
                  </a:lnTo>
                  <a:lnTo>
                    <a:pt x="1392192" y="610078"/>
                  </a:lnTo>
                  <a:lnTo>
                    <a:pt x="1391752" y="608529"/>
                  </a:lnTo>
                  <a:lnTo>
                    <a:pt x="1392053" y="607094"/>
                  </a:lnTo>
                  <a:lnTo>
                    <a:pt x="1392812" y="605985"/>
                  </a:lnTo>
                  <a:lnTo>
                    <a:pt x="1393727" y="603843"/>
                  </a:lnTo>
                  <a:close/>
                  <a:moveTo>
                    <a:pt x="1361262" y="595265"/>
                  </a:moveTo>
                  <a:lnTo>
                    <a:pt x="1363596" y="596505"/>
                  </a:lnTo>
                  <a:lnTo>
                    <a:pt x="1364902" y="597564"/>
                  </a:lnTo>
                  <a:lnTo>
                    <a:pt x="1365182" y="598445"/>
                  </a:lnTo>
                  <a:lnTo>
                    <a:pt x="1366835" y="600965"/>
                  </a:lnTo>
                  <a:lnTo>
                    <a:pt x="1369232" y="600761"/>
                  </a:lnTo>
                  <a:lnTo>
                    <a:pt x="1370577" y="602664"/>
                  </a:lnTo>
                  <a:lnTo>
                    <a:pt x="1371591" y="605512"/>
                  </a:lnTo>
                  <a:lnTo>
                    <a:pt x="1370854" y="607337"/>
                  </a:lnTo>
                  <a:lnTo>
                    <a:pt x="1369789" y="606931"/>
                  </a:lnTo>
                  <a:lnTo>
                    <a:pt x="1368608" y="607988"/>
                  </a:lnTo>
                  <a:lnTo>
                    <a:pt x="1367887" y="611489"/>
                  </a:lnTo>
                  <a:lnTo>
                    <a:pt x="1368222" y="614993"/>
                  </a:lnTo>
                  <a:lnTo>
                    <a:pt x="1367861" y="618479"/>
                  </a:lnTo>
                  <a:lnTo>
                    <a:pt x="1366486" y="622032"/>
                  </a:lnTo>
                  <a:lnTo>
                    <a:pt x="1366200" y="624407"/>
                  </a:lnTo>
                  <a:lnTo>
                    <a:pt x="1365662" y="625121"/>
                  </a:lnTo>
                  <a:lnTo>
                    <a:pt x="1365071" y="625365"/>
                  </a:lnTo>
                  <a:lnTo>
                    <a:pt x="1364304" y="624721"/>
                  </a:lnTo>
                  <a:lnTo>
                    <a:pt x="1363195" y="624217"/>
                  </a:lnTo>
                  <a:lnTo>
                    <a:pt x="1361795" y="626219"/>
                  </a:lnTo>
                  <a:lnTo>
                    <a:pt x="1360080" y="626235"/>
                  </a:lnTo>
                  <a:lnTo>
                    <a:pt x="1358665" y="621685"/>
                  </a:lnTo>
                  <a:lnTo>
                    <a:pt x="1359931" y="614094"/>
                  </a:lnTo>
                  <a:lnTo>
                    <a:pt x="1362764" y="612545"/>
                  </a:lnTo>
                  <a:lnTo>
                    <a:pt x="1361079" y="610477"/>
                  </a:lnTo>
                  <a:lnTo>
                    <a:pt x="1357512" y="608066"/>
                  </a:lnTo>
                  <a:lnTo>
                    <a:pt x="1357816" y="606722"/>
                  </a:lnTo>
                  <a:lnTo>
                    <a:pt x="1355110" y="602842"/>
                  </a:lnTo>
                  <a:lnTo>
                    <a:pt x="1354953" y="601918"/>
                  </a:lnTo>
                  <a:lnTo>
                    <a:pt x="1355384" y="598673"/>
                  </a:lnTo>
                  <a:lnTo>
                    <a:pt x="1357917" y="595780"/>
                  </a:lnTo>
                  <a:close/>
                  <a:moveTo>
                    <a:pt x="1368336" y="590292"/>
                  </a:moveTo>
                  <a:lnTo>
                    <a:pt x="1372373" y="590506"/>
                  </a:lnTo>
                  <a:lnTo>
                    <a:pt x="1381085" y="592670"/>
                  </a:lnTo>
                  <a:lnTo>
                    <a:pt x="1382781" y="593813"/>
                  </a:lnTo>
                  <a:lnTo>
                    <a:pt x="1383704" y="592616"/>
                  </a:lnTo>
                  <a:lnTo>
                    <a:pt x="1385426" y="592672"/>
                  </a:lnTo>
                  <a:lnTo>
                    <a:pt x="1388622" y="593737"/>
                  </a:lnTo>
                  <a:lnTo>
                    <a:pt x="1390523" y="595334"/>
                  </a:lnTo>
                  <a:lnTo>
                    <a:pt x="1391596" y="597159"/>
                  </a:lnTo>
                  <a:lnTo>
                    <a:pt x="1391688" y="598245"/>
                  </a:lnTo>
                  <a:lnTo>
                    <a:pt x="1391362" y="600714"/>
                  </a:lnTo>
                  <a:lnTo>
                    <a:pt x="1391600" y="603238"/>
                  </a:lnTo>
                  <a:lnTo>
                    <a:pt x="1391469" y="604547"/>
                  </a:lnTo>
                  <a:lnTo>
                    <a:pt x="1391043" y="605627"/>
                  </a:lnTo>
                  <a:lnTo>
                    <a:pt x="1390322" y="606481"/>
                  </a:lnTo>
                  <a:lnTo>
                    <a:pt x="1389536" y="606588"/>
                  </a:lnTo>
                  <a:lnTo>
                    <a:pt x="1387050" y="604321"/>
                  </a:lnTo>
                  <a:lnTo>
                    <a:pt x="1384203" y="600231"/>
                  </a:lnTo>
                  <a:lnTo>
                    <a:pt x="1382035" y="598987"/>
                  </a:lnTo>
                  <a:lnTo>
                    <a:pt x="1381947" y="599407"/>
                  </a:lnTo>
                  <a:lnTo>
                    <a:pt x="1382543" y="600580"/>
                  </a:lnTo>
                  <a:lnTo>
                    <a:pt x="1384313" y="602780"/>
                  </a:lnTo>
                  <a:lnTo>
                    <a:pt x="1384629" y="604103"/>
                  </a:lnTo>
                  <a:lnTo>
                    <a:pt x="1385874" y="605715"/>
                  </a:lnTo>
                  <a:lnTo>
                    <a:pt x="1386431" y="606938"/>
                  </a:lnTo>
                  <a:lnTo>
                    <a:pt x="1386747" y="608542"/>
                  </a:lnTo>
                  <a:lnTo>
                    <a:pt x="1386735" y="609942"/>
                  </a:lnTo>
                  <a:lnTo>
                    <a:pt x="1386392" y="611138"/>
                  </a:lnTo>
                  <a:lnTo>
                    <a:pt x="1385815" y="611905"/>
                  </a:lnTo>
                  <a:lnTo>
                    <a:pt x="1385002" y="612245"/>
                  </a:lnTo>
                  <a:lnTo>
                    <a:pt x="1380664" y="611909"/>
                  </a:lnTo>
                  <a:lnTo>
                    <a:pt x="1378076" y="612710"/>
                  </a:lnTo>
                  <a:lnTo>
                    <a:pt x="1375050" y="612263"/>
                  </a:lnTo>
                  <a:lnTo>
                    <a:pt x="1374321" y="611542"/>
                  </a:lnTo>
                  <a:lnTo>
                    <a:pt x="1373865" y="610356"/>
                  </a:lnTo>
                  <a:lnTo>
                    <a:pt x="1373634" y="607475"/>
                  </a:lnTo>
                  <a:lnTo>
                    <a:pt x="1372872" y="603349"/>
                  </a:lnTo>
                  <a:lnTo>
                    <a:pt x="1373056" y="600170"/>
                  </a:lnTo>
                  <a:lnTo>
                    <a:pt x="1371103" y="597291"/>
                  </a:lnTo>
                  <a:lnTo>
                    <a:pt x="1369431" y="595554"/>
                  </a:lnTo>
                  <a:lnTo>
                    <a:pt x="1367026" y="593998"/>
                  </a:lnTo>
                  <a:lnTo>
                    <a:pt x="1365442" y="592449"/>
                  </a:lnTo>
                  <a:lnTo>
                    <a:pt x="1365877" y="591213"/>
                  </a:lnTo>
                  <a:close/>
                  <a:moveTo>
                    <a:pt x="872952" y="586043"/>
                  </a:moveTo>
                  <a:lnTo>
                    <a:pt x="881874" y="586690"/>
                  </a:lnTo>
                  <a:lnTo>
                    <a:pt x="882565" y="587234"/>
                  </a:lnTo>
                  <a:lnTo>
                    <a:pt x="882581" y="587698"/>
                  </a:lnTo>
                  <a:lnTo>
                    <a:pt x="881925" y="588081"/>
                  </a:lnTo>
                  <a:lnTo>
                    <a:pt x="880046" y="588241"/>
                  </a:lnTo>
                  <a:lnTo>
                    <a:pt x="876803" y="589421"/>
                  </a:lnTo>
                  <a:lnTo>
                    <a:pt x="876226" y="589371"/>
                  </a:lnTo>
                  <a:lnTo>
                    <a:pt x="874223" y="591755"/>
                  </a:lnTo>
                  <a:lnTo>
                    <a:pt x="872692" y="592783"/>
                  </a:lnTo>
                  <a:lnTo>
                    <a:pt x="870671" y="590905"/>
                  </a:lnTo>
                  <a:lnTo>
                    <a:pt x="871188" y="587984"/>
                  </a:lnTo>
                  <a:close/>
                  <a:moveTo>
                    <a:pt x="443594" y="583968"/>
                  </a:moveTo>
                  <a:lnTo>
                    <a:pt x="442462" y="586083"/>
                  </a:lnTo>
                  <a:lnTo>
                    <a:pt x="439822" y="587807"/>
                  </a:lnTo>
                  <a:lnTo>
                    <a:pt x="437424" y="587170"/>
                  </a:lnTo>
                  <a:lnTo>
                    <a:pt x="436712" y="585913"/>
                  </a:lnTo>
                  <a:lnTo>
                    <a:pt x="436694" y="585385"/>
                  </a:lnTo>
                  <a:close/>
                  <a:moveTo>
                    <a:pt x="1327962" y="573241"/>
                  </a:moveTo>
                  <a:lnTo>
                    <a:pt x="1330574" y="573287"/>
                  </a:lnTo>
                  <a:lnTo>
                    <a:pt x="1336074" y="577013"/>
                  </a:lnTo>
                  <a:lnTo>
                    <a:pt x="1337744" y="577560"/>
                  </a:lnTo>
                  <a:lnTo>
                    <a:pt x="1340179" y="579955"/>
                  </a:lnTo>
                  <a:lnTo>
                    <a:pt x="1342345" y="583972"/>
                  </a:lnTo>
                  <a:lnTo>
                    <a:pt x="1343918" y="587085"/>
                  </a:lnTo>
                  <a:lnTo>
                    <a:pt x="1345313" y="590822"/>
                  </a:lnTo>
                  <a:lnTo>
                    <a:pt x="1347652" y="598543"/>
                  </a:lnTo>
                  <a:lnTo>
                    <a:pt x="1348741" y="601459"/>
                  </a:lnTo>
                  <a:lnTo>
                    <a:pt x="1349083" y="603049"/>
                  </a:lnTo>
                  <a:lnTo>
                    <a:pt x="1349342" y="607218"/>
                  </a:lnTo>
                  <a:lnTo>
                    <a:pt x="1348991" y="608113"/>
                  </a:lnTo>
                  <a:lnTo>
                    <a:pt x="1348293" y="608934"/>
                  </a:lnTo>
                  <a:lnTo>
                    <a:pt x="1348156" y="610122"/>
                  </a:lnTo>
                  <a:lnTo>
                    <a:pt x="1348803" y="613293"/>
                  </a:lnTo>
                  <a:lnTo>
                    <a:pt x="1348846" y="618107"/>
                  </a:lnTo>
                  <a:lnTo>
                    <a:pt x="1348234" y="620812"/>
                  </a:lnTo>
                  <a:lnTo>
                    <a:pt x="1347522" y="621220"/>
                  </a:lnTo>
                  <a:lnTo>
                    <a:pt x="1345778" y="620333"/>
                  </a:lnTo>
                  <a:lnTo>
                    <a:pt x="1344345" y="618872"/>
                  </a:lnTo>
                  <a:lnTo>
                    <a:pt x="1343285" y="617347"/>
                  </a:lnTo>
                  <a:lnTo>
                    <a:pt x="1340679" y="612527"/>
                  </a:lnTo>
                  <a:lnTo>
                    <a:pt x="1339903" y="610278"/>
                  </a:lnTo>
                  <a:lnTo>
                    <a:pt x="1339856" y="608659"/>
                  </a:lnTo>
                  <a:lnTo>
                    <a:pt x="1340259" y="607482"/>
                  </a:lnTo>
                  <a:lnTo>
                    <a:pt x="1341111" y="606748"/>
                  </a:lnTo>
                  <a:lnTo>
                    <a:pt x="1342594" y="604786"/>
                  </a:lnTo>
                  <a:lnTo>
                    <a:pt x="1342380" y="604474"/>
                  </a:lnTo>
                  <a:lnTo>
                    <a:pt x="1341254" y="604912"/>
                  </a:lnTo>
                  <a:lnTo>
                    <a:pt x="1338952" y="605159"/>
                  </a:lnTo>
                  <a:lnTo>
                    <a:pt x="1336929" y="603611"/>
                  </a:lnTo>
                  <a:lnTo>
                    <a:pt x="1335351" y="602792"/>
                  </a:lnTo>
                  <a:lnTo>
                    <a:pt x="1335669" y="599995"/>
                  </a:lnTo>
                  <a:lnTo>
                    <a:pt x="1335246" y="599203"/>
                  </a:lnTo>
                  <a:lnTo>
                    <a:pt x="1332141" y="600069"/>
                  </a:lnTo>
                  <a:lnTo>
                    <a:pt x="1330974" y="599285"/>
                  </a:lnTo>
                  <a:lnTo>
                    <a:pt x="1330718" y="598234"/>
                  </a:lnTo>
                  <a:lnTo>
                    <a:pt x="1330775" y="596660"/>
                  </a:lnTo>
                  <a:lnTo>
                    <a:pt x="1331369" y="595283"/>
                  </a:lnTo>
                  <a:lnTo>
                    <a:pt x="1334316" y="591801"/>
                  </a:lnTo>
                  <a:lnTo>
                    <a:pt x="1334019" y="591161"/>
                  </a:lnTo>
                  <a:lnTo>
                    <a:pt x="1332587" y="591017"/>
                  </a:lnTo>
                  <a:lnTo>
                    <a:pt x="1330700" y="589823"/>
                  </a:lnTo>
                  <a:lnTo>
                    <a:pt x="1329835" y="585919"/>
                  </a:lnTo>
                  <a:lnTo>
                    <a:pt x="1327802" y="583689"/>
                  </a:lnTo>
                  <a:lnTo>
                    <a:pt x="1326603" y="583893"/>
                  </a:lnTo>
                  <a:lnTo>
                    <a:pt x="1323874" y="590193"/>
                  </a:lnTo>
                  <a:lnTo>
                    <a:pt x="1322523" y="591568"/>
                  </a:lnTo>
                  <a:lnTo>
                    <a:pt x="1318685" y="592452"/>
                  </a:lnTo>
                  <a:lnTo>
                    <a:pt x="1319467" y="590700"/>
                  </a:lnTo>
                  <a:lnTo>
                    <a:pt x="1319822" y="589136"/>
                  </a:lnTo>
                  <a:lnTo>
                    <a:pt x="1318460" y="584384"/>
                  </a:lnTo>
                  <a:lnTo>
                    <a:pt x="1318419" y="582553"/>
                  </a:lnTo>
                  <a:lnTo>
                    <a:pt x="1319327" y="581205"/>
                  </a:lnTo>
                  <a:lnTo>
                    <a:pt x="1322038" y="580644"/>
                  </a:lnTo>
                  <a:lnTo>
                    <a:pt x="1323476" y="579845"/>
                  </a:lnTo>
                  <a:lnTo>
                    <a:pt x="1324598" y="578540"/>
                  </a:lnTo>
                  <a:lnTo>
                    <a:pt x="1324876" y="577266"/>
                  </a:lnTo>
                  <a:lnTo>
                    <a:pt x="1326976" y="573897"/>
                  </a:lnTo>
                  <a:close/>
                  <a:moveTo>
                    <a:pt x="867956" y="557145"/>
                  </a:moveTo>
                  <a:lnTo>
                    <a:pt x="871377" y="558560"/>
                  </a:lnTo>
                  <a:lnTo>
                    <a:pt x="872828" y="559849"/>
                  </a:lnTo>
                  <a:lnTo>
                    <a:pt x="874089" y="561613"/>
                  </a:lnTo>
                  <a:lnTo>
                    <a:pt x="873377" y="562638"/>
                  </a:lnTo>
                  <a:lnTo>
                    <a:pt x="872703" y="562375"/>
                  </a:lnTo>
                  <a:lnTo>
                    <a:pt x="871277" y="561176"/>
                  </a:lnTo>
                  <a:lnTo>
                    <a:pt x="868363" y="559425"/>
                  </a:lnTo>
                  <a:lnTo>
                    <a:pt x="867036" y="558224"/>
                  </a:lnTo>
                  <a:lnTo>
                    <a:pt x="866960" y="557711"/>
                  </a:lnTo>
                  <a:close/>
                  <a:moveTo>
                    <a:pt x="876133" y="557112"/>
                  </a:moveTo>
                  <a:lnTo>
                    <a:pt x="881675" y="558440"/>
                  </a:lnTo>
                  <a:lnTo>
                    <a:pt x="884043" y="559891"/>
                  </a:lnTo>
                  <a:lnTo>
                    <a:pt x="882829" y="562580"/>
                  </a:lnTo>
                  <a:lnTo>
                    <a:pt x="883012" y="564606"/>
                  </a:lnTo>
                  <a:lnTo>
                    <a:pt x="884050" y="564360"/>
                  </a:lnTo>
                  <a:lnTo>
                    <a:pt x="887976" y="562272"/>
                  </a:lnTo>
                  <a:lnTo>
                    <a:pt x="890023" y="561659"/>
                  </a:lnTo>
                  <a:lnTo>
                    <a:pt x="892686" y="561564"/>
                  </a:lnTo>
                  <a:lnTo>
                    <a:pt x="894799" y="562515"/>
                  </a:lnTo>
                  <a:lnTo>
                    <a:pt x="895229" y="563245"/>
                  </a:lnTo>
                  <a:lnTo>
                    <a:pt x="895044" y="564114"/>
                  </a:lnTo>
                  <a:lnTo>
                    <a:pt x="893354" y="565880"/>
                  </a:lnTo>
                  <a:lnTo>
                    <a:pt x="893424" y="567026"/>
                  </a:lnTo>
                  <a:lnTo>
                    <a:pt x="895240" y="569133"/>
                  </a:lnTo>
                  <a:lnTo>
                    <a:pt x="899703" y="570281"/>
                  </a:lnTo>
                  <a:lnTo>
                    <a:pt x="900245" y="570913"/>
                  </a:lnTo>
                  <a:lnTo>
                    <a:pt x="900221" y="571674"/>
                  </a:lnTo>
                  <a:lnTo>
                    <a:pt x="897149" y="575157"/>
                  </a:lnTo>
                  <a:lnTo>
                    <a:pt x="896020" y="575969"/>
                  </a:lnTo>
                  <a:lnTo>
                    <a:pt x="895222" y="576164"/>
                  </a:lnTo>
                  <a:lnTo>
                    <a:pt x="889642" y="575538"/>
                  </a:lnTo>
                  <a:lnTo>
                    <a:pt x="884535" y="574397"/>
                  </a:lnTo>
                  <a:lnTo>
                    <a:pt x="882467" y="574205"/>
                  </a:lnTo>
                  <a:lnTo>
                    <a:pt x="881738" y="574574"/>
                  </a:lnTo>
                  <a:lnTo>
                    <a:pt x="880291" y="575644"/>
                  </a:lnTo>
                  <a:lnTo>
                    <a:pt x="881329" y="575959"/>
                  </a:lnTo>
                  <a:lnTo>
                    <a:pt x="885805" y="576213"/>
                  </a:lnTo>
                  <a:lnTo>
                    <a:pt x="887382" y="577775"/>
                  </a:lnTo>
                  <a:lnTo>
                    <a:pt x="888070" y="578922"/>
                  </a:lnTo>
                  <a:lnTo>
                    <a:pt x="888414" y="580185"/>
                  </a:lnTo>
                  <a:lnTo>
                    <a:pt x="887522" y="580704"/>
                  </a:lnTo>
                  <a:lnTo>
                    <a:pt x="885606" y="581080"/>
                  </a:lnTo>
                  <a:lnTo>
                    <a:pt x="883312" y="581076"/>
                  </a:lnTo>
                  <a:lnTo>
                    <a:pt x="880474" y="582497"/>
                  </a:lnTo>
                  <a:lnTo>
                    <a:pt x="878910" y="584120"/>
                  </a:lnTo>
                  <a:lnTo>
                    <a:pt x="873228" y="584532"/>
                  </a:lnTo>
                  <a:lnTo>
                    <a:pt x="868908" y="586696"/>
                  </a:lnTo>
                  <a:lnTo>
                    <a:pt x="867381" y="587764"/>
                  </a:lnTo>
                  <a:lnTo>
                    <a:pt x="866848" y="589038"/>
                  </a:lnTo>
                  <a:lnTo>
                    <a:pt x="865220" y="589965"/>
                  </a:lnTo>
                  <a:lnTo>
                    <a:pt x="861538" y="590890"/>
                  </a:lnTo>
                  <a:lnTo>
                    <a:pt x="863734" y="591719"/>
                  </a:lnTo>
                  <a:lnTo>
                    <a:pt x="864078" y="592423"/>
                  </a:lnTo>
                  <a:lnTo>
                    <a:pt x="864118" y="593393"/>
                  </a:lnTo>
                  <a:lnTo>
                    <a:pt x="863816" y="594230"/>
                  </a:lnTo>
                  <a:lnTo>
                    <a:pt x="860910" y="597959"/>
                  </a:lnTo>
                  <a:lnTo>
                    <a:pt x="855412" y="601018"/>
                  </a:lnTo>
                  <a:lnTo>
                    <a:pt x="854019" y="600882"/>
                  </a:lnTo>
                  <a:lnTo>
                    <a:pt x="853422" y="600500"/>
                  </a:lnTo>
                  <a:lnTo>
                    <a:pt x="852931" y="599915"/>
                  </a:lnTo>
                  <a:lnTo>
                    <a:pt x="852909" y="599329"/>
                  </a:lnTo>
                  <a:lnTo>
                    <a:pt x="859991" y="593182"/>
                  </a:lnTo>
                  <a:lnTo>
                    <a:pt x="859712" y="592879"/>
                  </a:lnTo>
                  <a:lnTo>
                    <a:pt x="857785" y="592671"/>
                  </a:lnTo>
                  <a:lnTo>
                    <a:pt x="854733" y="590978"/>
                  </a:lnTo>
                  <a:lnTo>
                    <a:pt x="852579" y="592066"/>
                  </a:lnTo>
                  <a:lnTo>
                    <a:pt x="852089" y="592024"/>
                  </a:lnTo>
                  <a:lnTo>
                    <a:pt x="852664" y="590572"/>
                  </a:lnTo>
                  <a:lnTo>
                    <a:pt x="854068" y="588840"/>
                  </a:lnTo>
                  <a:lnTo>
                    <a:pt x="853823" y="588353"/>
                  </a:lnTo>
                  <a:lnTo>
                    <a:pt x="853049" y="587921"/>
                  </a:lnTo>
                  <a:lnTo>
                    <a:pt x="851277" y="587661"/>
                  </a:lnTo>
                  <a:lnTo>
                    <a:pt x="848499" y="587579"/>
                  </a:lnTo>
                  <a:lnTo>
                    <a:pt x="846440" y="587990"/>
                  </a:lnTo>
                  <a:lnTo>
                    <a:pt x="845104" y="588894"/>
                  </a:lnTo>
                  <a:lnTo>
                    <a:pt x="844995" y="589278"/>
                  </a:lnTo>
                  <a:lnTo>
                    <a:pt x="847841" y="589170"/>
                  </a:lnTo>
                  <a:lnTo>
                    <a:pt x="848615" y="589630"/>
                  </a:lnTo>
                  <a:lnTo>
                    <a:pt x="849381" y="590489"/>
                  </a:lnTo>
                  <a:lnTo>
                    <a:pt x="849848" y="591481"/>
                  </a:lnTo>
                  <a:lnTo>
                    <a:pt x="850014" y="592606"/>
                  </a:lnTo>
                  <a:lnTo>
                    <a:pt x="849418" y="594118"/>
                  </a:lnTo>
                  <a:lnTo>
                    <a:pt x="848060" y="596013"/>
                  </a:lnTo>
                  <a:lnTo>
                    <a:pt x="846070" y="595681"/>
                  </a:lnTo>
                  <a:lnTo>
                    <a:pt x="841993" y="591466"/>
                  </a:lnTo>
                  <a:lnTo>
                    <a:pt x="840193" y="585281"/>
                  </a:lnTo>
                  <a:lnTo>
                    <a:pt x="836708" y="580543"/>
                  </a:lnTo>
                  <a:lnTo>
                    <a:pt x="836549" y="579410"/>
                  </a:lnTo>
                  <a:lnTo>
                    <a:pt x="837543" y="576482"/>
                  </a:lnTo>
                  <a:lnTo>
                    <a:pt x="841061" y="572321"/>
                  </a:lnTo>
                  <a:lnTo>
                    <a:pt x="844843" y="571179"/>
                  </a:lnTo>
                  <a:lnTo>
                    <a:pt x="847537" y="569427"/>
                  </a:lnTo>
                  <a:lnTo>
                    <a:pt x="850142" y="568899"/>
                  </a:lnTo>
                  <a:lnTo>
                    <a:pt x="851753" y="568944"/>
                  </a:lnTo>
                  <a:lnTo>
                    <a:pt x="853956" y="569699"/>
                  </a:lnTo>
                  <a:lnTo>
                    <a:pt x="854844" y="571295"/>
                  </a:lnTo>
                  <a:lnTo>
                    <a:pt x="854312" y="572046"/>
                  </a:lnTo>
                  <a:lnTo>
                    <a:pt x="854515" y="572440"/>
                  </a:lnTo>
                  <a:lnTo>
                    <a:pt x="856059" y="573398"/>
                  </a:lnTo>
                  <a:lnTo>
                    <a:pt x="857730" y="576742"/>
                  </a:lnTo>
                  <a:lnTo>
                    <a:pt x="859680" y="579705"/>
                  </a:lnTo>
                  <a:lnTo>
                    <a:pt x="860977" y="580909"/>
                  </a:lnTo>
                  <a:lnTo>
                    <a:pt x="862684" y="581649"/>
                  </a:lnTo>
                  <a:lnTo>
                    <a:pt x="860918" y="579388"/>
                  </a:lnTo>
                  <a:lnTo>
                    <a:pt x="859874" y="576587"/>
                  </a:lnTo>
                  <a:lnTo>
                    <a:pt x="859350" y="570991"/>
                  </a:lnTo>
                  <a:lnTo>
                    <a:pt x="858846" y="569511"/>
                  </a:lnTo>
                  <a:lnTo>
                    <a:pt x="859832" y="569111"/>
                  </a:lnTo>
                  <a:lnTo>
                    <a:pt x="862621" y="569331"/>
                  </a:lnTo>
                  <a:lnTo>
                    <a:pt x="862544" y="568496"/>
                  </a:lnTo>
                  <a:lnTo>
                    <a:pt x="859603" y="566605"/>
                  </a:lnTo>
                  <a:lnTo>
                    <a:pt x="857793" y="565041"/>
                  </a:lnTo>
                  <a:lnTo>
                    <a:pt x="857112" y="563803"/>
                  </a:lnTo>
                  <a:lnTo>
                    <a:pt x="857154" y="562729"/>
                  </a:lnTo>
                  <a:lnTo>
                    <a:pt x="858760" y="561144"/>
                  </a:lnTo>
                  <a:lnTo>
                    <a:pt x="859670" y="560692"/>
                  </a:lnTo>
                  <a:lnTo>
                    <a:pt x="860610" y="560496"/>
                  </a:lnTo>
                  <a:lnTo>
                    <a:pt x="862482" y="560833"/>
                  </a:lnTo>
                  <a:lnTo>
                    <a:pt x="863323" y="561329"/>
                  </a:lnTo>
                  <a:lnTo>
                    <a:pt x="865723" y="564898"/>
                  </a:lnTo>
                  <a:lnTo>
                    <a:pt x="866847" y="566006"/>
                  </a:lnTo>
                  <a:lnTo>
                    <a:pt x="867780" y="566008"/>
                  </a:lnTo>
                  <a:lnTo>
                    <a:pt x="868644" y="565416"/>
                  </a:lnTo>
                  <a:lnTo>
                    <a:pt x="869443" y="564231"/>
                  </a:lnTo>
                  <a:lnTo>
                    <a:pt x="870267" y="563522"/>
                  </a:lnTo>
                  <a:lnTo>
                    <a:pt x="871116" y="563290"/>
                  </a:lnTo>
                  <a:lnTo>
                    <a:pt x="873788" y="563813"/>
                  </a:lnTo>
                  <a:lnTo>
                    <a:pt x="874679" y="563620"/>
                  </a:lnTo>
                  <a:lnTo>
                    <a:pt x="875117" y="562725"/>
                  </a:lnTo>
                  <a:lnTo>
                    <a:pt x="875099" y="561128"/>
                  </a:lnTo>
                  <a:lnTo>
                    <a:pt x="875757" y="560552"/>
                  </a:lnTo>
                  <a:lnTo>
                    <a:pt x="875919" y="559378"/>
                  </a:lnTo>
                  <a:lnTo>
                    <a:pt x="874463" y="557642"/>
                  </a:lnTo>
                  <a:close/>
                  <a:moveTo>
                    <a:pt x="1319328" y="546123"/>
                  </a:moveTo>
                  <a:lnTo>
                    <a:pt x="1320775" y="547023"/>
                  </a:lnTo>
                  <a:lnTo>
                    <a:pt x="1324420" y="550639"/>
                  </a:lnTo>
                  <a:lnTo>
                    <a:pt x="1324451" y="551468"/>
                  </a:lnTo>
                  <a:lnTo>
                    <a:pt x="1323710" y="553948"/>
                  </a:lnTo>
                  <a:lnTo>
                    <a:pt x="1321726" y="554649"/>
                  </a:lnTo>
                  <a:lnTo>
                    <a:pt x="1322287" y="555633"/>
                  </a:lnTo>
                  <a:lnTo>
                    <a:pt x="1323763" y="556377"/>
                  </a:lnTo>
                  <a:lnTo>
                    <a:pt x="1324815" y="555758"/>
                  </a:lnTo>
                  <a:lnTo>
                    <a:pt x="1328663" y="552284"/>
                  </a:lnTo>
                  <a:lnTo>
                    <a:pt x="1329849" y="551553"/>
                  </a:lnTo>
                  <a:lnTo>
                    <a:pt x="1330564" y="551479"/>
                  </a:lnTo>
                  <a:lnTo>
                    <a:pt x="1335253" y="552526"/>
                  </a:lnTo>
                  <a:lnTo>
                    <a:pt x="1339354" y="554184"/>
                  </a:lnTo>
                  <a:lnTo>
                    <a:pt x="1340563" y="555507"/>
                  </a:lnTo>
                  <a:lnTo>
                    <a:pt x="1341244" y="557821"/>
                  </a:lnTo>
                  <a:lnTo>
                    <a:pt x="1340156" y="562826"/>
                  </a:lnTo>
                  <a:lnTo>
                    <a:pt x="1336790" y="563697"/>
                  </a:lnTo>
                  <a:lnTo>
                    <a:pt x="1335204" y="563606"/>
                  </a:lnTo>
                  <a:lnTo>
                    <a:pt x="1333510" y="562879"/>
                  </a:lnTo>
                  <a:lnTo>
                    <a:pt x="1330773" y="564618"/>
                  </a:lnTo>
                  <a:lnTo>
                    <a:pt x="1333041" y="565948"/>
                  </a:lnTo>
                  <a:lnTo>
                    <a:pt x="1339947" y="566251"/>
                  </a:lnTo>
                  <a:lnTo>
                    <a:pt x="1342044" y="569062"/>
                  </a:lnTo>
                  <a:lnTo>
                    <a:pt x="1342645" y="571225"/>
                  </a:lnTo>
                  <a:lnTo>
                    <a:pt x="1341155" y="575195"/>
                  </a:lnTo>
                  <a:lnTo>
                    <a:pt x="1337242" y="574097"/>
                  </a:lnTo>
                  <a:lnTo>
                    <a:pt x="1333790" y="571797"/>
                  </a:lnTo>
                  <a:lnTo>
                    <a:pt x="1326708" y="568537"/>
                  </a:lnTo>
                  <a:lnTo>
                    <a:pt x="1325013" y="568385"/>
                  </a:lnTo>
                  <a:lnTo>
                    <a:pt x="1323884" y="568961"/>
                  </a:lnTo>
                  <a:lnTo>
                    <a:pt x="1323574" y="570939"/>
                  </a:lnTo>
                  <a:lnTo>
                    <a:pt x="1323645" y="575224"/>
                  </a:lnTo>
                  <a:lnTo>
                    <a:pt x="1321756" y="577442"/>
                  </a:lnTo>
                  <a:lnTo>
                    <a:pt x="1316172" y="576464"/>
                  </a:lnTo>
                  <a:lnTo>
                    <a:pt x="1313981" y="573222"/>
                  </a:lnTo>
                  <a:lnTo>
                    <a:pt x="1311943" y="568084"/>
                  </a:lnTo>
                  <a:lnTo>
                    <a:pt x="1304249" y="561986"/>
                  </a:lnTo>
                  <a:lnTo>
                    <a:pt x="1302164" y="560764"/>
                  </a:lnTo>
                  <a:lnTo>
                    <a:pt x="1299392" y="557104"/>
                  </a:lnTo>
                  <a:lnTo>
                    <a:pt x="1300502" y="554202"/>
                  </a:lnTo>
                  <a:lnTo>
                    <a:pt x="1300829" y="552521"/>
                  </a:lnTo>
                  <a:lnTo>
                    <a:pt x="1302305" y="552076"/>
                  </a:lnTo>
                  <a:lnTo>
                    <a:pt x="1304471" y="550777"/>
                  </a:lnTo>
                  <a:lnTo>
                    <a:pt x="1305683" y="547964"/>
                  </a:lnTo>
                  <a:lnTo>
                    <a:pt x="1307629" y="550243"/>
                  </a:lnTo>
                  <a:lnTo>
                    <a:pt x="1310229" y="552429"/>
                  </a:lnTo>
                  <a:lnTo>
                    <a:pt x="1310267" y="550375"/>
                  </a:lnTo>
                  <a:lnTo>
                    <a:pt x="1311489" y="548735"/>
                  </a:lnTo>
                  <a:lnTo>
                    <a:pt x="1314040" y="548795"/>
                  </a:lnTo>
                  <a:lnTo>
                    <a:pt x="1315239" y="548450"/>
                  </a:lnTo>
                  <a:lnTo>
                    <a:pt x="1316914" y="546916"/>
                  </a:lnTo>
                  <a:close/>
                  <a:moveTo>
                    <a:pt x="1351652" y="543744"/>
                  </a:moveTo>
                  <a:lnTo>
                    <a:pt x="1354742" y="545429"/>
                  </a:lnTo>
                  <a:lnTo>
                    <a:pt x="1356940" y="547594"/>
                  </a:lnTo>
                  <a:lnTo>
                    <a:pt x="1356758" y="548514"/>
                  </a:lnTo>
                  <a:lnTo>
                    <a:pt x="1353279" y="548424"/>
                  </a:lnTo>
                  <a:lnTo>
                    <a:pt x="1349765" y="547065"/>
                  </a:lnTo>
                  <a:lnTo>
                    <a:pt x="1348040" y="545291"/>
                  </a:lnTo>
                  <a:lnTo>
                    <a:pt x="1348386" y="544492"/>
                  </a:lnTo>
                  <a:close/>
                  <a:moveTo>
                    <a:pt x="1341359" y="542923"/>
                  </a:moveTo>
                  <a:lnTo>
                    <a:pt x="1343566" y="544203"/>
                  </a:lnTo>
                  <a:lnTo>
                    <a:pt x="1346214" y="547738"/>
                  </a:lnTo>
                  <a:lnTo>
                    <a:pt x="1347563" y="550087"/>
                  </a:lnTo>
                  <a:lnTo>
                    <a:pt x="1354047" y="550935"/>
                  </a:lnTo>
                  <a:lnTo>
                    <a:pt x="1358792" y="550742"/>
                  </a:lnTo>
                  <a:lnTo>
                    <a:pt x="1363128" y="556277"/>
                  </a:lnTo>
                  <a:lnTo>
                    <a:pt x="1365796" y="560740"/>
                  </a:lnTo>
                  <a:lnTo>
                    <a:pt x="1367365" y="563861"/>
                  </a:lnTo>
                  <a:lnTo>
                    <a:pt x="1368252" y="566871"/>
                  </a:lnTo>
                  <a:lnTo>
                    <a:pt x="1369440" y="569774"/>
                  </a:lnTo>
                  <a:lnTo>
                    <a:pt x="1369333" y="570182"/>
                  </a:lnTo>
                  <a:lnTo>
                    <a:pt x="1366831" y="568224"/>
                  </a:lnTo>
                  <a:lnTo>
                    <a:pt x="1365030" y="564256"/>
                  </a:lnTo>
                  <a:lnTo>
                    <a:pt x="1364111" y="562702"/>
                  </a:lnTo>
                  <a:lnTo>
                    <a:pt x="1363202" y="562000"/>
                  </a:lnTo>
                  <a:lnTo>
                    <a:pt x="1362246" y="560535"/>
                  </a:lnTo>
                  <a:lnTo>
                    <a:pt x="1360388" y="556734"/>
                  </a:lnTo>
                  <a:lnTo>
                    <a:pt x="1360319" y="555662"/>
                  </a:lnTo>
                  <a:lnTo>
                    <a:pt x="1359494" y="554670"/>
                  </a:lnTo>
                  <a:lnTo>
                    <a:pt x="1358540" y="554255"/>
                  </a:lnTo>
                  <a:lnTo>
                    <a:pt x="1357460" y="554420"/>
                  </a:lnTo>
                  <a:lnTo>
                    <a:pt x="1357089" y="554803"/>
                  </a:lnTo>
                  <a:lnTo>
                    <a:pt x="1357255" y="557428"/>
                  </a:lnTo>
                  <a:lnTo>
                    <a:pt x="1358104" y="560342"/>
                  </a:lnTo>
                  <a:lnTo>
                    <a:pt x="1362783" y="566696"/>
                  </a:lnTo>
                  <a:lnTo>
                    <a:pt x="1365909" y="570307"/>
                  </a:lnTo>
                  <a:lnTo>
                    <a:pt x="1366524" y="571505"/>
                  </a:lnTo>
                  <a:lnTo>
                    <a:pt x="1366936" y="574797"/>
                  </a:lnTo>
                  <a:lnTo>
                    <a:pt x="1365588" y="576288"/>
                  </a:lnTo>
                  <a:lnTo>
                    <a:pt x="1367243" y="579321"/>
                  </a:lnTo>
                  <a:lnTo>
                    <a:pt x="1367184" y="579912"/>
                  </a:lnTo>
                  <a:lnTo>
                    <a:pt x="1366823" y="580491"/>
                  </a:lnTo>
                  <a:lnTo>
                    <a:pt x="1362365" y="581834"/>
                  </a:lnTo>
                  <a:lnTo>
                    <a:pt x="1358280" y="587442"/>
                  </a:lnTo>
                  <a:lnTo>
                    <a:pt x="1353813" y="590720"/>
                  </a:lnTo>
                  <a:lnTo>
                    <a:pt x="1351754" y="591247"/>
                  </a:lnTo>
                  <a:lnTo>
                    <a:pt x="1350765" y="590699"/>
                  </a:lnTo>
                  <a:lnTo>
                    <a:pt x="1349828" y="589443"/>
                  </a:lnTo>
                  <a:lnTo>
                    <a:pt x="1349278" y="587765"/>
                  </a:lnTo>
                  <a:lnTo>
                    <a:pt x="1349113" y="585660"/>
                  </a:lnTo>
                  <a:lnTo>
                    <a:pt x="1350226" y="584336"/>
                  </a:lnTo>
                  <a:lnTo>
                    <a:pt x="1352438" y="577433"/>
                  </a:lnTo>
                  <a:lnTo>
                    <a:pt x="1352500" y="575163"/>
                  </a:lnTo>
                  <a:lnTo>
                    <a:pt x="1349742" y="572011"/>
                  </a:lnTo>
                  <a:lnTo>
                    <a:pt x="1348083" y="569427"/>
                  </a:lnTo>
                  <a:lnTo>
                    <a:pt x="1347185" y="565820"/>
                  </a:lnTo>
                  <a:lnTo>
                    <a:pt x="1345680" y="556259"/>
                  </a:lnTo>
                  <a:lnTo>
                    <a:pt x="1344982" y="553193"/>
                  </a:lnTo>
                  <a:lnTo>
                    <a:pt x="1343997" y="550636"/>
                  </a:lnTo>
                  <a:lnTo>
                    <a:pt x="1342724" y="548587"/>
                  </a:lnTo>
                  <a:lnTo>
                    <a:pt x="1341762" y="546335"/>
                  </a:lnTo>
                  <a:lnTo>
                    <a:pt x="1341113" y="543876"/>
                  </a:lnTo>
                  <a:close/>
                  <a:moveTo>
                    <a:pt x="888527" y="539352"/>
                  </a:moveTo>
                  <a:lnTo>
                    <a:pt x="890117" y="539533"/>
                  </a:lnTo>
                  <a:lnTo>
                    <a:pt x="891871" y="540186"/>
                  </a:lnTo>
                  <a:lnTo>
                    <a:pt x="893531" y="541245"/>
                  </a:lnTo>
                  <a:lnTo>
                    <a:pt x="895102" y="542714"/>
                  </a:lnTo>
                  <a:lnTo>
                    <a:pt x="896024" y="543016"/>
                  </a:lnTo>
                  <a:lnTo>
                    <a:pt x="896988" y="540802"/>
                  </a:lnTo>
                  <a:lnTo>
                    <a:pt x="897669" y="540732"/>
                  </a:lnTo>
                  <a:lnTo>
                    <a:pt x="900687" y="542608"/>
                  </a:lnTo>
                  <a:lnTo>
                    <a:pt x="902542" y="542192"/>
                  </a:lnTo>
                  <a:lnTo>
                    <a:pt x="903734" y="544494"/>
                  </a:lnTo>
                  <a:lnTo>
                    <a:pt x="904803" y="544703"/>
                  </a:lnTo>
                  <a:lnTo>
                    <a:pt x="905795" y="544425"/>
                  </a:lnTo>
                  <a:lnTo>
                    <a:pt x="906391" y="544586"/>
                  </a:lnTo>
                  <a:lnTo>
                    <a:pt x="906183" y="547020"/>
                  </a:lnTo>
                  <a:lnTo>
                    <a:pt x="903980" y="549484"/>
                  </a:lnTo>
                  <a:lnTo>
                    <a:pt x="902955" y="550107"/>
                  </a:lnTo>
                  <a:lnTo>
                    <a:pt x="901516" y="549472"/>
                  </a:lnTo>
                  <a:lnTo>
                    <a:pt x="900979" y="549234"/>
                  </a:lnTo>
                  <a:lnTo>
                    <a:pt x="900033" y="548145"/>
                  </a:lnTo>
                  <a:lnTo>
                    <a:pt x="899317" y="546768"/>
                  </a:lnTo>
                  <a:lnTo>
                    <a:pt x="898891" y="546746"/>
                  </a:lnTo>
                  <a:lnTo>
                    <a:pt x="897207" y="548366"/>
                  </a:lnTo>
                  <a:lnTo>
                    <a:pt x="897250" y="549165"/>
                  </a:lnTo>
                  <a:lnTo>
                    <a:pt x="897951" y="550369"/>
                  </a:lnTo>
                  <a:lnTo>
                    <a:pt x="897848" y="551117"/>
                  </a:lnTo>
                  <a:lnTo>
                    <a:pt x="896014" y="551473"/>
                  </a:lnTo>
                  <a:lnTo>
                    <a:pt x="894216" y="551289"/>
                  </a:lnTo>
                  <a:lnTo>
                    <a:pt x="892022" y="552336"/>
                  </a:lnTo>
                  <a:lnTo>
                    <a:pt x="891497" y="551683"/>
                  </a:lnTo>
                  <a:lnTo>
                    <a:pt x="891163" y="549844"/>
                  </a:lnTo>
                  <a:lnTo>
                    <a:pt x="890477" y="550053"/>
                  </a:lnTo>
                  <a:lnTo>
                    <a:pt x="889442" y="552306"/>
                  </a:lnTo>
                  <a:lnTo>
                    <a:pt x="888312" y="553731"/>
                  </a:lnTo>
                  <a:lnTo>
                    <a:pt x="886250" y="554912"/>
                  </a:lnTo>
                  <a:lnTo>
                    <a:pt x="885800" y="555485"/>
                  </a:lnTo>
                  <a:lnTo>
                    <a:pt x="884290" y="555563"/>
                  </a:lnTo>
                  <a:lnTo>
                    <a:pt x="882053" y="556307"/>
                  </a:lnTo>
                  <a:lnTo>
                    <a:pt x="880672" y="556182"/>
                  </a:lnTo>
                  <a:lnTo>
                    <a:pt x="872435" y="553739"/>
                  </a:lnTo>
                  <a:lnTo>
                    <a:pt x="870499" y="552846"/>
                  </a:lnTo>
                  <a:lnTo>
                    <a:pt x="877272" y="547236"/>
                  </a:lnTo>
                  <a:lnTo>
                    <a:pt x="880837" y="545063"/>
                  </a:lnTo>
                  <a:lnTo>
                    <a:pt x="882897" y="545181"/>
                  </a:lnTo>
                  <a:lnTo>
                    <a:pt x="884958" y="545857"/>
                  </a:lnTo>
                  <a:lnTo>
                    <a:pt x="886046" y="545749"/>
                  </a:lnTo>
                  <a:lnTo>
                    <a:pt x="886126" y="543257"/>
                  </a:lnTo>
                  <a:lnTo>
                    <a:pt x="884208" y="541398"/>
                  </a:lnTo>
                  <a:lnTo>
                    <a:pt x="884280" y="540625"/>
                  </a:lnTo>
                  <a:close/>
                  <a:moveTo>
                    <a:pt x="895648" y="533058"/>
                  </a:moveTo>
                  <a:lnTo>
                    <a:pt x="896352" y="533368"/>
                  </a:lnTo>
                  <a:lnTo>
                    <a:pt x="896635" y="533970"/>
                  </a:lnTo>
                  <a:lnTo>
                    <a:pt x="896496" y="534869"/>
                  </a:lnTo>
                  <a:lnTo>
                    <a:pt x="895716" y="535987"/>
                  </a:lnTo>
                  <a:lnTo>
                    <a:pt x="893337" y="538069"/>
                  </a:lnTo>
                  <a:lnTo>
                    <a:pt x="892586" y="538309"/>
                  </a:lnTo>
                  <a:lnTo>
                    <a:pt x="890721" y="537168"/>
                  </a:lnTo>
                  <a:lnTo>
                    <a:pt x="889497" y="535958"/>
                  </a:lnTo>
                  <a:lnTo>
                    <a:pt x="890307" y="535035"/>
                  </a:lnTo>
                  <a:lnTo>
                    <a:pt x="893921" y="533091"/>
                  </a:lnTo>
                  <a:close/>
                  <a:moveTo>
                    <a:pt x="683414" y="526486"/>
                  </a:moveTo>
                  <a:lnTo>
                    <a:pt x="678212" y="534636"/>
                  </a:lnTo>
                  <a:lnTo>
                    <a:pt x="676341" y="535236"/>
                  </a:lnTo>
                  <a:lnTo>
                    <a:pt x="674354" y="534932"/>
                  </a:lnTo>
                  <a:lnTo>
                    <a:pt x="672792" y="531235"/>
                  </a:lnTo>
                  <a:lnTo>
                    <a:pt x="673989" y="531119"/>
                  </a:lnTo>
                  <a:lnTo>
                    <a:pt x="676498" y="528685"/>
                  </a:lnTo>
                  <a:lnTo>
                    <a:pt x="682049" y="526710"/>
                  </a:lnTo>
                  <a:close/>
                  <a:moveTo>
                    <a:pt x="1103803" y="480396"/>
                  </a:moveTo>
                  <a:lnTo>
                    <a:pt x="1103466" y="481657"/>
                  </a:lnTo>
                  <a:lnTo>
                    <a:pt x="1099531" y="483982"/>
                  </a:lnTo>
                  <a:lnTo>
                    <a:pt x="1095388" y="487888"/>
                  </a:lnTo>
                  <a:lnTo>
                    <a:pt x="1094165" y="488108"/>
                  </a:lnTo>
                  <a:lnTo>
                    <a:pt x="1096001" y="485612"/>
                  </a:lnTo>
                  <a:lnTo>
                    <a:pt x="1098467" y="482855"/>
                  </a:lnTo>
                  <a:lnTo>
                    <a:pt x="1100787" y="481120"/>
                  </a:lnTo>
                  <a:close/>
                  <a:moveTo>
                    <a:pt x="1005747" y="475187"/>
                  </a:moveTo>
                  <a:lnTo>
                    <a:pt x="1009964" y="477453"/>
                  </a:lnTo>
                  <a:lnTo>
                    <a:pt x="1007221" y="478483"/>
                  </a:lnTo>
                  <a:lnTo>
                    <a:pt x="1005885" y="479653"/>
                  </a:lnTo>
                  <a:lnTo>
                    <a:pt x="1000841" y="478944"/>
                  </a:lnTo>
                  <a:lnTo>
                    <a:pt x="1001892" y="476643"/>
                  </a:lnTo>
                  <a:close/>
                  <a:moveTo>
                    <a:pt x="1030225" y="467095"/>
                  </a:moveTo>
                  <a:lnTo>
                    <a:pt x="1032779" y="468277"/>
                  </a:lnTo>
                  <a:lnTo>
                    <a:pt x="1034362" y="469938"/>
                  </a:lnTo>
                  <a:lnTo>
                    <a:pt x="1033625" y="471259"/>
                  </a:lnTo>
                  <a:lnTo>
                    <a:pt x="1025163" y="478104"/>
                  </a:lnTo>
                  <a:lnTo>
                    <a:pt x="1024450" y="478995"/>
                  </a:lnTo>
                  <a:lnTo>
                    <a:pt x="1023682" y="481313"/>
                  </a:lnTo>
                  <a:lnTo>
                    <a:pt x="1022986" y="482119"/>
                  </a:lnTo>
                  <a:lnTo>
                    <a:pt x="1021869" y="482491"/>
                  </a:lnTo>
                  <a:lnTo>
                    <a:pt x="1021057" y="483502"/>
                  </a:lnTo>
                  <a:lnTo>
                    <a:pt x="1020549" y="485159"/>
                  </a:lnTo>
                  <a:lnTo>
                    <a:pt x="1019506" y="486020"/>
                  </a:lnTo>
                  <a:lnTo>
                    <a:pt x="1017928" y="486095"/>
                  </a:lnTo>
                  <a:lnTo>
                    <a:pt x="1016835" y="486550"/>
                  </a:lnTo>
                  <a:lnTo>
                    <a:pt x="1016227" y="487390"/>
                  </a:lnTo>
                  <a:lnTo>
                    <a:pt x="1014515" y="488085"/>
                  </a:lnTo>
                  <a:lnTo>
                    <a:pt x="1011697" y="488634"/>
                  </a:lnTo>
                  <a:lnTo>
                    <a:pt x="1011031" y="487510"/>
                  </a:lnTo>
                  <a:lnTo>
                    <a:pt x="1012512" y="484711"/>
                  </a:lnTo>
                  <a:lnTo>
                    <a:pt x="1013693" y="483119"/>
                  </a:lnTo>
                  <a:lnTo>
                    <a:pt x="1014571" y="482743"/>
                  </a:lnTo>
                  <a:lnTo>
                    <a:pt x="1017810" y="479579"/>
                  </a:lnTo>
                  <a:lnTo>
                    <a:pt x="1021403" y="477273"/>
                  </a:lnTo>
                  <a:lnTo>
                    <a:pt x="1024702" y="473899"/>
                  </a:lnTo>
                  <a:lnTo>
                    <a:pt x="1028051" y="469078"/>
                  </a:lnTo>
                  <a:lnTo>
                    <a:pt x="1028672" y="467279"/>
                  </a:lnTo>
                  <a:close/>
                  <a:moveTo>
                    <a:pt x="543878" y="465802"/>
                  </a:moveTo>
                  <a:lnTo>
                    <a:pt x="545141" y="466309"/>
                  </a:lnTo>
                  <a:lnTo>
                    <a:pt x="547483" y="468211"/>
                  </a:lnTo>
                  <a:lnTo>
                    <a:pt x="548727" y="468318"/>
                  </a:lnTo>
                  <a:lnTo>
                    <a:pt x="552654" y="467739"/>
                  </a:lnTo>
                  <a:lnTo>
                    <a:pt x="554095" y="468147"/>
                  </a:lnTo>
                  <a:lnTo>
                    <a:pt x="555492" y="468967"/>
                  </a:lnTo>
                  <a:lnTo>
                    <a:pt x="556357" y="470218"/>
                  </a:lnTo>
                  <a:lnTo>
                    <a:pt x="556521" y="472416"/>
                  </a:lnTo>
                  <a:lnTo>
                    <a:pt x="555883" y="474376"/>
                  </a:lnTo>
                  <a:lnTo>
                    <a:pt x="556073" y="477136"/>
                  </a:lnTo>
                  <a:lnTo>
                    <a:pt x="555935" y="478331"/>
                  </a:lnTo>
                  <a:lnTo>
                    <a:pt x="558022" y="479893"/>
                  </a:lnTo>
                  <a:lnTo>
                    <a:pt x="558673" y="482012"/>
                  </a:lnTo>
                  <a:lnTo>
                    <a:pt x="559011" y="484284"/>
                  </a:lnTo>
                  <a:lnTo>
                    <a:pt x="554482" y="485043"/>
                  </a:lnTo>
                  <a:lnTo>
                    <a:pt x="549956" y="485164"/>
                  </a:lnTo>
                  <a:lnTo>
                    <a:pt x="546049" y="486701"/>
                  </a:lnTo>
                  <a:lnTo>
                    <a:pt x="545251" y="487836"/>
                  </a:lnTo>
                  <a:lnTo>
                    <a:pt x="545874" y="489521"/>
                  </a:lnTo>
                  <a:lnTo>
                    <a:pt x="544803" y="489952"/>
                  </a:lnTo>
                  <a:lnTo>
                    <a:pt x="543813" y="489582"/>
                  </a:lnTo>
                  <a:lnTo>
                    <a:pt x="541924" y="488022"/>
                  </a:lnTo>
                  <a:lnTo>
                    <a:pt x="539848" y="487279"/>
                  </a:lnTo>
                  <a:lnTo>
                    <a:pt x="532585" y="486130"/>
                  </a:lnTo>
                  <a:lnTo>
                    <a:pt x="523467" y="481589"/>
                  </a:lnTo>
                  <a:lnTo>
                    <a:pt x="519544" y="480650"/>
                  </a:lnTo>
                  <a:lnTo>
                    <a:pt x="515558" y="477323"/>
                  </a:lnTo>
                  <a:lnTo>
                    <a:pt x="511953" y="473084"/>
                  </a:lnTo>
                  <a:lnTo>
                    <a:pt x="514303" y="472403"/>
                  </a:lnTo>
                  <a:lnTo>
                    <a:pt x="516666" y="472055"/>
                  </a:lnTo>
                  <a:lnTo>
                    <a:pt x="527262" y="472689"/>
                  </a:lnTo>
                  <a:lnTo>
                    <a:pt x="528586" y="469648"/>
                  </a:lnTo>
                  <a:lnTo>
                    <a:pt x="529951" y="468888"/>
                  </a:lnTo>
                  <a:lnTo>
                    <a:pt x="533317" y="468027"/>
                  </a:lnTo>
                  <a:lnTo>
                    <a:pt x="536462" y="466339"/>
                  </a:lnTo>
                  <a:lnTo>
                    <a:pt x="537874" y="466380"/>
                  </a:lnTo>
                  <a:lnTo>
                    <a:pt x="539315" y="467030"/>
                  </a:lnTo>
                  <a:lnTo>
                    <a:pt x="542296" y="466016"/>
                  </a:lnTo>
                  <a:close/>
                  <a:moveTo>
                    <a:pt x="1081038" y="465635"/>
                  </a:moveTo>
                  <a:lnTo>
                    <a:pt x="1081694" y="466130"/>
                  </a:lnTo>
                  <a:lnTo>
                    <a:pt x="1081285" y="468090"/>
                  </a:lnTo>
                  <a:lnTo>
                    <a:pt x="1080469" y="469028"/>
                  </a:lnTo>
                  <a:lnTo>
                    <a:pt x="1078244" y="468695"/>
                  </a:lnTo>
                  <a:lnTo>
                    <a:pt x="1077055" y="468102"/>
                  </a:lnTo>
                  <a:close/>
                  <a:moveTo>
                    <a:pt x="1044503" y="462586"/>
                  </a:moveTo>
                  <a:lnTo>
                    <a:pt x="1048748" y="463773"/>
                  </a:lnTo>
                  <a:lnTo>
                    <a:pt x="1049315" y="464827"/>
                  </a:lnTo>
                  <a:lnTo>
                    <a:pt x="1054218" y="464575"/>
                  </a:lnTo>
                  <a:lnTo>
                    <a:pt x="1055627" y="464761"/>
                  </a:lnTo>
                  <a:lnTo>
                    <a:pt x="1056190" y="465250"/>
                  </a:lnTo>
                  <a:lnTo>
                    <a:pt x="1055526" y="465965"/>
                  </a:lnTo>
                  <a:lnTo>
                    <a:pt x="1053634" y="466905"/>
                  </a:lnTo>
                  <a:lnTo>
                    <a:pt x="1048104" y="468552"/>
                  </a:lnTo>
                  <a:lnTo>
                    <a:pt x="1043611" y="470720"/>
                  </a:lnTo>
                  <a:lnTo>
                    <a:pt x="1043024" y="470520"/>
                  </a:lnTo>
                  <a:lnTo>
                    <a:pt x="1042204" y="468146"/>
                  </a:lnTo>
                  <a:lnTo>
                    <a:pt x="1041373" y="467185"/>
                  </a:lnTo>
                  <a:lnTo>
                    <a:pt x="1040867" y="465847"/>
                  </a:lnTo>
                  <a:lnTo>
                    <a:pt x="1040875" y="465350"/>
                  </a:lnTo>
                  <a:lnTo>
                    <a:pt x="1041699" y="464427"/>
                  </a:lnTo>
                  <a:lnTo>
                    <a:pt x="1043340" y="463075"/>
                  </a:lnTo>
                  <a:close/>
                  <a:moveTo>
                    <a:pt x="1015722" y="462169"/>
                  </a:moveTo>
                  <a:lnTo>
                    <a:pt x="1016496" y="463741"/>
                  </a:lnTo>
                  <a:lnTo>
                    <a:pt x="1016484" y="464752"/>
                  </a:lnTo>
                  <a:lnTo>
                    <a:pt x="1015686" y="465722"/>
                  </a:lnTo>
                  <a:lnTo>
                    <a:pt x="1016452" y="467500"/>
                  </a:lnTo>
                  <a:lnTo>
                    <a:pt x="1015124" y="470555"/>
                  </a:lnTo>
                  <a:lnTo>
                    <a:pt x="1014611" y="472494"/>
                  </a:lnTo>
                  <a:lnTo>
                    <a:pt x="1013902" y="473712"/>
                  </a:lnTo>
                  <a:lnTo>
                    <a:pt x="1013190" y="474183"/>
                  </a:lnTo>
                  <a:lnTo>
                    <a:pt x="1012475" y="473907"/>
                  </a:lnTo>
                  <a:lnTo>
                    <a:pt x="1012326" y="473234"/>
                  </a:lnTo>
                  <a:lnTo>
                    <a:pt x="1012746" y="472165"/>
                  </a:lnTo>
                  <a:lnTo>
                    <a:pt x="1011060" y="472200"/>
                  </a:lnTo>
                  <a:lnTo>
                    <a:pt x="1010547" y="469535"/>
                  </a:lnTo>
                  <a:lnTo>
                    <a:pt x="1011478" y="468690"/>
                  </a:lnTo>
                  <a:lnTo>
                    <a:pt x="1011815" y="467547"/>
                  </a:lnTo>
                  <a:lnTo>
                    <a:pt x="1011921" y="466779"/>
                  </a:lnTo>
                  <a:lnTo>
                    <a:pt x="1013019" y="463381"/>
                  </a:lnTo>
                  <a:lnTo>
                    <a:pt x="1013411" y="463143"/>
                  </a:lnTo>
                  <a:lnTo>
                    <a:pt x="1013539" y="463953"/>
                  </a:lnTo>
                  <a:lnTo>
                    <a:pt x="1013895" y="464190"/>
                  </a:lnTo>
                  <a:lnTo>
                    <a:pt x="1014478" y="463858"/>
                  </a:lnTo>
                  <a:lnTo>
                    <a:pt x="1015355" y="462345"/>
                  </a:lnTo>
                  <a:close/>
                  <a:moveTo>
                    <a:pt x="906765" y="461694"/>
                  </a:moveTo>
                  <a:lnTo>
                    <a:pt x="908302" y="462208"/>
                  </a:lnTo>
                  <a:lnTo>
                    <a:pt x="908612" y="462887"/>
                  </a:lnTo>
                  <a:lnTo>
                    <a:pt x="906071" y="466676"/>
                  </a:lnTo>
                  <a:lnTo>
                    <a:pt x="905207" y="467146"/>
                  </a:lnTo>
                  <a:lnTo>
                    <a:pt x="903976" y="467287"/>
                  </a:lnTo>
                  <a:lnTo>
                    <a:pt x="905622" y="465394"/>
                  </a:lnTo>
                  <a:close/>
                  <a:moveTo>
                    <a:pt x="371968" y="457732"/>
                  </a:moveTo>
                  <a:lnTo>
                    <a:pt x="373593" y="461622"/>
                  </a:lnTo>
                  <a:lnTo>
                    <a:pt x="376603" y="463477"/>
                  </a:lnTo>
                  <a:lnTo>
                    <a:pt x="382116" y="465995"/>
                  </a:lnTo>
                  <a:lnTo>
                    <a:pt x="385653" y="465737"/>
                  </a:lnTo>
                  <a:lnTo>
                    <a:pt x="388456" y="467839"/>
                  </a:lnTo>
                  <a:lnTo>
                    <a:pt x="389616" y="469546"/>
                  </a:lnTo>
                  <a:lnTo>
                    <a:pt x="385405" y="468320"/>
                  </a:lnTo>
                  <a:lnTo>
                    <a:pt x="379318" y="468407"/>
                  </a:lnTo>
                  <a:lnTo>
                    <a:pt x="371088" y="463269"/>
                  </a:lnTo>
                  <a:lnTo>
                    <a:pt x="368138" y="462101"/>
                  </a:lnTo>
                  <a:lnTo>
                    <a:pt x="368810" y="459212"/>
                  </a:lnTo>
                  <a:close/>
                  <a:moveTo>
                    <a:pt x="1006814" y="445489"/>
                  </a:moveTo>
                  <a:lnTo>
                    <a:pt x="1008686" y="446415"/>
                  </a:lnTo>
                  <a:lnTo>
                    <a:pt x="1009230" y="447372"/>
                  </a:lnTo>
                  <a:lnTo>
                    <a:pt x="1009546" y="449274"/>
                  </a:lnTo>
                  <a:lnTo>
                    <a:pt x="1006312" y="449594"/>
                  </a:lnTo>
                  <a:lnTo>
                    <a:pt x="1004832" y="449103"/>
                  </a:lnTo>
                  <a:lnTo>
                    <a:pt x="1004619" y="448572"/>
                  </a:lnTo>
                  <a:lnTo>
                    <a:pt x="1005234" y="446622"/>
                  </a:lnTo>
                  <a:lnTo>
                    <a:pt x="1005184" y="445798"/>
                  </a:lnTo>
                  <a:close/>
                  <a:moveTo>
                    <a:pt x="404555" y="334547"/>
                  </a:moveTo>
                  <a:lnTo>
                    <a:pt x="409235" y="338068"/>
                  </a:lnTo>
                  <a:lnTo>
                    <a:pt x="409622" y="339054"/>
                  </a:lnTo>
                  <a:lnTo>
                    <a:pt x="412288" y="338894"/>
                  </a:lnTo>
                  <a:lnTo>
                    <a:pt x="416023" y="339318"/>
                  </a:lnTo>
                  <a:lnTo>
                    <a:pt x="420157" y="340273"/>
                  </a:lnTo>
                  <a:lnTo>
                    <a:pt x="424246" y="339930"/>
                  </a:lnTo>
                  <a:lnTo>
                    <a:pt x="429400" y="336903"/>
                  </a:lnTo>
                  <a:lnTo>
                    <a:pt x="432480" y="336107"/>
                  </a:lnTo>
                  <a:lnTo>
                    <a:pt x="435577" y="335688"/>
                  </a:lnTo>
                  <a:lnTo>
                    <a:pt x="438920" y="336426"/>
                  </a:lnTo>
                  <a:lnTo>
                    <a:pt x="442188" y="338032"/>
                  </a:lnTo>
                  <a:lnTo>
                    <a:pt x="443449" y="338977"/>
                  </a:lnTo>
                  <a:lnTo>
                    <a:pt x="444454" y="340631"/>
                  </a:lnTo>
                  <a:lnTo>
                    <a:pt x="445121" y="342629"/>
                  </a:lnTo>
                  <a:lnTo>
                    <a:pt x="446114" y="344060"/>
                  </a:lnTo>
                  <a:lnTo>
                    <a:pt x="452235" y="345825"/>
                  </a:lnTo>
                  <a:lnTo>
                    <a:pt x="456146" y="346528"/>
                  </a:lnTo>
                  <a:lnTo>
                    <a:pt x="457087" y="347495"/>
                  </a:lnTo>
                  <a:lnTo>
                    <a:pt x="457921" y="348828"/>
                  </a:lnTo>
                  <a:lnTo>
                    <a:pt x="461159" y="349841"/>
                  </a:lnTo>
                  <a:lnTo>
                    <a:pt x="464540" y="349471"/>
                  </a:lnTo>
                  <a:lnTo>
                    <a:pt x="466426" y="349831"/>
                  </a:lnTo>
                  <a:lnTo>
                    <a:pt x="472168" y="349881"/>
                  </a:lnTo>
                  <a:lnTo>
                    <a:pt x="479312" y="351359"/>
                  </a:lnTo>
                  <a:lnTo>
                    <a:pt x="478156" y="355251"/>
                  </a:lnTo>
                  <a:lnTo>
                    <a:pt x="475832" y="356959"/>
                  </a:lnTo>
                  <a:lnTo>
                    <a:pt x="469285" y="356410"/>
                  </a:lnTo>
                  <a:lnTo>
                    <a:pt x="462763" y="356964"/>
                  </a:lnTo>
                  <a:lnTo>
                    <a:pt x="460056" y="358963"/>
                  </a:lnTo>
                  <a:lnTo>
                    <a:pt x="457799" y="361492"/>
                  </a:lnTo>
                  <a:lnTo>
                    <a:pt x="457493" y="363952"/>
                  </a:lnTo>
                  <a:lnTo>
                    <a:pt x="456178" y="365081"/>
                  </a:lnTo>
                  <a:lnTo>
                    <a:pt x="454812" y="365579"/>
                  </a:lnTo>
                  <a:lnTo>
                    <a:pt x="453704" y="364219"/>
                  </a:lnTo>
                  <a:lnTo>
                    <a:pt x="452225" y="360067"/>
                  </a:lnTo>
                  <a:lnTo>
                    <a:pt x="451184" y="358920"/>
                  </a:lnTo>
                  <a:lnTo>
                    <a:pt x="450040" y="358197"/>
                  </a:lnTo>
                  <a:lnTo>
                    <a:pt x="446851" y="356883"/>
                  </a:lnTo>
                  <a:lnTo>
                    <a:pt x="443614" y="356052"/>
                  </a:lnTo>
                  <a:lnTo>
                    <a:pt x="441720" y="355952"/>
                  </a:lnTo>
                  <a:lnTo>
                    <a:pt x="440354" y="354509"/>
                  </a:lnTo>
                  <a:lnTo>
                    <a:pt x="439600" y="352418"/>
                  </a:lnTo>
                  <a:lnTo>
                    <a:pt x="438304" y="351339"/>
                  </a:lnTo>
                  <a:lnTo>
                    <a:pt x="435736" y="349803"/>
                  </a:lnTo>
                  <a:lnTo>
                    <a:pt x="433110" y="348594"/>
                  </a:lnTo>
                  <a:lnTo>
                    <a:pt x="424915" y="345971"/>
                  </a:lnTo>
                  <a:lnTo>
                    <a:pt x="422219" y="345626"/>
                  </a:lnTo>
                  <a:lnTo>
                    <a:pt x="419484" y="345909"/>
                  </a:lnTo>
                  <a:lnTo>
                    <a:pt x="416557" y="347106"/>
                  </a:lnTo>
                  <a:lnTo>
                    <a:pt x="413718" y="348881"/>
                  </a:lnTo>
                  <a:lnTo>
                    <a:pt x="410813" y="350207"/>
                  </a:lnTo>
                  <a:lnTo>
                    <a:pt x="407804" y="350499"/>
                  </a:lnTo>
                  <a:lnTo>
                    <a:pt x="404929" y="349724"/>
                  </a:lnTo>
                  <a:lnTo>
                    <a:pt x="402224" y="347993"/>
                  </a:lnTo>
                  <a:lnTo>
                    <a:pt x="400869" y="346764"/>
                  </a:lnTo>
                  <a:lnTo>
                    <a:pt x="400145" y="344646"/>
                  </a:lnTo>
                  <a:lnTo>
                    <a:pt x="400182" y="342523"/>
                  </a:lnTo>
                  <a:lnTo>
                    <a:pt x="400549" y="340475"/>
                  </a:lnTo>
                  <a:lnTo>
                    <a:pt x="402007" y="335516"/>
                  </a:lnTo>
                  <a:close/>
                  <a:moveTo>
                    <a:pt x="553132" y="226692"/>
                  </a:moveTo>
                  <a:lnTo>
                    <a:pt x="552936" y="227156"/>
                  </a:lnTo>
                  <a:lnTo>
                    <a:pt x="550069" y="228809"/>
                  </a:lnTo>
                  <a:lnTo>
                    <a:pt x="545794" y="230959"/>
                  </a:lnTo>
                  <a:lnTo>
                    <a:pt x="544805" y="231198"/>
                  </a:lnTo>
                  <a:lnTo>
                    <a:pt x="544860" y="230547"/>
                  </a:lnTo>
                  <a:lnTo>
                    <a:pt x="547768" y="228827"/>
                  </a:lnTo>
                  <a:close/>
                  <a:moveTo>
                    <a:pt x="791701" y="0"/>
                  </a:moveTo>
                  <a:lnTo>
                    <a:pt x="793613" y="515"/>
                  </a:lnTo>
                  <a:lnTo>
                    <a:pt x="791026" y="1342"/>
                  </a:lnTo>
                  <a:lnTo>
                    <a:pt x="789226" y="3105"/>
                  </a:lnTo>
                  <a:lnTo>
                    <a:pt x="791708" y="5450"/>
                  </a:lnTo>
                  <a:lnTo>
                    <a:pt x="808514" y="10279"/>
                  </a:lnTo>
                  <a:lnTo>
                    <a:pt x="812736" y="10545"/>
                  </a:lnTo>
                  <a:lnTo>
                    <a:pt x="814425" y="13426"/>
                  </a:lnTo>
                  <a:lnTo>
                    <a:pt x="813018" y="16206"/>
                  </a:lnTo>
                  <a:lnTo>
                    <a:pt x="808687" y="19289"/>
                  </a:lnTo>
                  <a:lnTo>
                    <a:pt x="799958" y="22435"/>
                  </a:lnTo>
                  <a:lnTo>
                    <a:pt x="802627" y="23624"/>
                  </a:lnTo>
                  <a:lnTo>
                    <a:pt x="804372" y="26424"/>
                  </a:lnTo>
                  <a:lnTo>
                    <a:pt x="806956" y="26765"/>
                  </a:lnTo>
                  <a:lnTo>
                    <a:pt x="811144" y="25715"/>
                  </a:lnTo>
                  <a:lnTo>
                    <a:pt x="814426" y="23993"/>
                  </a:lnTo>
                  <a:lnTo>
                    <a:pt x="821212" y="18377"/>
                  </a:lnTo>
                  <a:lnTo>
                    <a:pt x="823346" y="15241"/>
                  </a:lnTo>
                  <a:lnTo>
                    <a:pt x="824951" y="14448"/>
                  </a:lnTo>
                  <a:lnTo>
                    <a:pt x="830640" y="15203"/>
                  </a:lnTo>
                  <a:lnTo>
                    <a:pt x="833862" y="16815"/>
                  </a:lnTo>
                  <a:lnTo>
                    <a:pt x="837532" y="19677"/>
                  </a:lnTo>
                  <a:lnTo>
                    <a:pt x="836188" y="22437"/>
                  </a:lnTo>
                  <a:lnTo>
                    <a:pt x="834687" y="23995"/>
                  </a:lnTo>
                  <a:lnTo>
                    <a:pt x="839445" y="26146"/>
                  </a:lnTo>
                  <a:lnTo>
                    <a:pt x="844712" y="26594"/>
                  </a:lnTo>
                  <a:lnTo>
                    <a:pt x="849736" y="28322"/>
                  </a:lnTo>
                  <a:lnTo>
                    <a:pt x="856803" y="24783"/>
                  </a:lnTo>
                  <a:lnTo>
                    <a:pt x="862334" y="24028"/>
                  </a:lnTo>
                  <a:lnTo>
                    <a:pt x="867530" y="24146"/>
                  </a:lnTo>
                  <a:lnTo>
                    <a:pt x="874285" y="22215"/>
                  </a:lnTo>
                  <a:lnTo>
                    <a:pt x="885713" y="24844"/>
                  </a:lnTo>
                  <a:lnTo>
                    <a:pt x="888622" y="24160"/>
                  </a:lnTo>
                  <a:lnTo>
                    <a:pt x="893205" y="24614"/>
                  </a:lnTo>
                  <a:lnTo>
                    <a:pt x="898073" y="26202"/>
                  </a:lnTo>
                  <a:lnTo>
                    <a:pt x="899795" y="27893"/>
                  </a:lnTo>
                  <a:lnTo>
                    <a:pt x="894582" y="31468"/>
                  </a:lnTo>
                  <a:lnTo>
                    <a:pt x="893731" y="35155"/>
                  </a:lnTo>
                  <a:lnTo>
                    <a:pt x="895553" y="36687"/>
                  </a:lnTo>
                  <a:lnTo>
                    <a:pt x="898857" y="36951"/>
                  </a:lnTo>
                  <a:lnTo>
                    <a:pt x="899274" y="39098"/>
                  </a:lnTo>
                  <a:lnTo>
                    <a:pt x="901325" y="39634"/>
                  </a:lnTo>
                  <a:lnTo>
                    <a:pt x="911628" y="39472"/>
                  </a:lnTo>
                  <a:lnTo>
                    <a:pt x="910841" y="40493"/>
                  </a:lnTo>
                  <a:lnTo>
                    <a:pt x="910338" y="41724"/>
                  </a:lnTo>
                  <a:lnTo>
                    <a:pt x="907147" y="44453"/>
                  </a:lnTo>
                  <a:lnTo>
                    <a:pt x="925512" y="45989"/>
                  </a:lnTo>
                  <a:lnTo>
                    <a:pt x="927982" y="44476"/>
                  </a:lnTo>
                  <a:lnTo>
                    <a:pt x="931781" y="43872"/>
                  </a:lnTo>
                  <a:lnTo>
                    <a:pt x="939852" y="41789"/>
                  </a:lnTo>
                  <a:lnTo>
                    <a:pt x="942891" y="42700"/>
                  </a:lnTo>
                  <a:lnTo>
                    <a:pt x="946470" y="44831"/>
                  </a:lnTo>
                  <a:lnTo>
                    <a:pt x="949777" y="45272"/>
                  </a:lnTo>
                  <a:lnTo>
                    <a:pt x="952865" y="44841"/>
                  </a:lnTo>
                  <a:lnTo>
                    <a:pt x="960070" y="41801"/>
                  </a:lnTo>
                  <a:lnTo>
                    <a:pt x="968389" y="41652"/>
                  </a:lnTo>
                  <a:lnTo>
                    <a:pt x="971791" y="42642"/>
                  </a:lnTo>
                  <a:lnTo>
                    <a:pt x="975393" y="42210"/>
                  </a:lnTo>
                  <a:lnTo>
                    <a:pt x="986226" y="45692"/>
                  </a:lnTo>
                  <a:lnTo>
                    <a:pt x="990215" y="46102"/>
                  </a:lnTo>
                  <a:lnTo>
                    <a:pt x="995551" y="50624"/>
                  </a:lnTo>
                  <a:lnTo>
                    <a:pt x="998309" y="50759"/>
                  </a:lnTo>
                  <a:lnTo>
                    <a:pt x="1001431" y="48840"/>
                  </a:lnTo>
                  <a:lnTo>
                    <a:pt x="1004135" y="48900"/>
                  </a:lnTo>
                  <a:lnTo>
                    <a:pt x="1006780" y="50736"/>
                  </a:lnTo>
                  <a:lnTo>
                    <a:pt x="1011104" y="51297"/>
                  </a:lnTo>
                  <a:lnTo>
                    <a:pt x="1013119" y="54193"/>
                  </a:lnTo>
                  <a:lnTo>
                    <a:pt x="1015293" y="55242"/>
                  </a:lnTo>
                  <a:lnTo>
                    <a:pt x="1031681" y="57388"/>
                  </a:lnTo>
                  <a:lnTo>
                    <a:pt x="1039795" y="56411"/>
                  </a:lnTo>
                  <a:lnTo>
                    <a:pt x="1051622" y="56667"/>
                  </a:lnTo>
                  <a:lnTo>
                    <a:pt x="1057325" y="58036"/>
                  </a:lnTo>
                  <a:lnTo>
                    <a:pt x="1063307" y="57861"/>
                  </a:lnTo>
                  <a:lnTo>
                    <a:pt x="1073080" y="62851"/>
                  </a:lnTo>
                  <a:lnTo>
                    <a:pt x="1078265" y="63627"/>
                  </a:lnTo>
                  <a:lnTo>
                    <a:pt x="1079272" y="64778"/>
                  </a:lnTo>
                  <a:lnTo>
                    <a:pt x="1094021" y="65990"/>
                  </a:lnTo>
                  <a:lnTo>
                    <a:pt x="1099181" y="63394"/>
                  </a:lnTo>
                  <a:lnTo>
                    <a:pt x="1108181" y="62705"/>
                  </a:lnTo>
                  <a:lnTo>
                    <a:pt x="1116285" y="60519"/>
                  </a:lnTo>
                  <a:lnTo>
                    <a:pt x="1120878" y="60542"/>
                  </a:lnTo>
                  <a:lnTo>
                    <a:pt x="1126219" y="61085"/>
                  </a:lnTo>
                  <a:lnTo>
                    <a:pt x="1128274" y="60822"/>
                  </a:lnTo>
                  <a:lnTo>
                    <a:pt x="1129758" y="59865"/>
                  </a:lnTo>
                  <a:lnTo>
                    <a:pt x="1142779" y="63632"/>
                  </a:lnTo>
                  <a:lnTo>
                    <a:pt x="1150068" y="67933"/>
                  </a:lnTo>
                  <a:lnTo>
                    <a:pt x="1153261" y="71104"/>
                  </a:lnTo>
                  <a:lnTo>
                    <a:pt x="1168509" y="75627"/>
                  </a:lnTo>
                  <a:lnTo>
                    <a:pt x="1172919" y="78152"/>
                  </a:lnTo>
                  <a:lnTo>
                    <a:pt x="1175940" y="80931"/>
                  </a:lnTo>
                  <a:lnTo>
                    <a:pt x="1177708" y="81230"/>
                  </a:lnTo>
                  <a:lnTo>
                    <a:pt x="1178958" y="80418"/>
                  </a:lnTo>
                  <a:lnTo>
                    <a:pt x="1184285" y="80658"/>
                  </a:lnTo>
                  <a:lnTo>
                    <a:pt x="1186292" y="81049"/>
                  </a:lnTo>
                  <a:lnTo>
                    <a:pt x="1186292" y="94243"/>
                  </a:lnTo>
                  <a:lnTo>
                    <a:pt x="1186292" y="107363"/>
                  </a:lnTo>
                  <a:lnTo>
                    <a:pt x="1186292" y="120401"/>
                  </a:lnTo>
                  <a:lnTo>
                    <a:pt x="1186292" y="133365"/>
                  </a:lnTo>
                  <a:lnTo>
                    <a:pt x="1186292" y="146257"/>
                  </a:lnTo>
                  <a:lnTo>
                    <a:pt x="1186292" y="159072"/>
                  </a:lnTo>
                  <a:lnTo>
                    <a:pt x="1186292" y="171814"/>
                  </a:lnTo>
                  <a:lnTo>
                    <a:pt x="1186292" y="184487"/>
                  </a:lnTo>
                  <a:lnTo>
                    <a:pt x="1186292" y="197088"/>
                  </a:lnTo>
                  <a:lnTo>
                    <a:pt x="1186292" y="209618"/>
                  </a:lnTo>
                  <a:lnTo>
                    <a:pt x="1186292" y="222084"/>
                  </a:lnTo>
                  <a:lnTo>
                    <a:pt x="1186292" y="234478"/>
                  </a:lnTo>
                  <a:lnTo>
                    <a:pt x="1186292" y="246806"/>
                  </a:lnTo>
                  <a:lnTo>
                    <a:pt x="1186292" y="259070"/>
                  </a:lnTo>
                  <a:lnTo>
                    <a:pt x="1186292" y="271267"/>
                  </a:lnTo>
                  <a:lnTo>
                    <a:pt x="1186292" y="283401"/>
                  </a:lnTo>
                  <a:lnTo>
                    <a:pt x="1186292" y="295473"/>
                  </a:lnTo>
                  <a:lnTo>
                    <a:pt x="1186292" y="307481"/>
                  </a:lnTo>
                  <a:lnTo>
                    <a:pt x="1186292" y="319430"/>
                  </a:lnTo>
                  <a:lnTo>
                    <a:pt x="1186292" y="331314"/>
                  </a:lnTo>
                  <a:lnTo>
                    <a:pt x="1186292" y="343142"/>
                  </a:lnTo>
                  <a:lnTo>
                    <a:pt x="1186292" y="354909"/>
                  </a:lnTo>
                  <a:lnTo>
                    <a:pt x="1186292" y="366618"/>
                  </a:lnTo>
                  <a:lnTo>
                    <a:pt x="1186292" y="378268"/>
                  </a:lnTo>
                  <a:lnTo>
                    <a:pt x="1186292" y="389863"/>
                  </a:lnTo>
                  <a:lnTo>
                    <a:pt x="1186292" y="401404"/>
                  </a:lnTo>
                  <a:lnTo>
                    <a:pt x="1186292" y="412886"/>
                  </a:lnTo>
                  <a:lnTo>
                    <a:pt x="1186292" y="424317"/>
                  </a:lnTo>
                  <a:lnTo>
                    <a:pt x="1186292" y="435692"/>
                  </a:lnTo>
                  <a:lnTo>
                    <a:pt x="1186292" y="447013"/>
                  </a:lnTo>
                  <a:lnTo>
                    <a:pt x="1186292" y="458285"/>
                  </a:lnTo>
                  <a:lnTo>
                    <a:pt x="1186292" y="469501"/>
                  </a:lnTo>
                  <a:lnTo>
                    <a:pt x="1192399" y="471076"/>
                  </a:lnTo>
                  <a:lnTo>
                    <a:pt x="1198452" y="472636"/>
                  </a:lnTo>
                  <a:lnTo>
                    <a:pt x="1200304" y="469523"/>
                  </a:lnTo>
                  <a:lnTo>
                    <a:pt x="1206833" y="471904"/>
                  </a:lnTo>
                  <a:lnTo>
                    <a:pt x="1212537" y="473982"/>
                  </a:lnTo>
                  <a:lnTo>
                    <a:pt x="1216176" y="471315"/>
                  </a:lnTo>
                  <a:lnTo>
                    <a:pt x="1220114" y="468426"/>
                  </a:lnTo>
                  <a:lnTo>
                    <a:pt x="1225429" y="468220"/>
                  </a:lnTo>
                  <a:lnTo>
                    <a:pt x="1231377" y="467988"/>
                  </a:lnTo>
                  <a:lnTo>
                    <a:pt x="1235344" y="467836"/>
                  </a:lnTo>
                  <a:lnTo>
                    <a:pt x="1235344" y="470298"/>
                  </a:lnTo>
                  <a:lnTo>
                    <a:pt x="1233873" y="474382"/>
                  </a:lnTo>
                  <a:lnTo>
                    <a:pt x="1232643" y="477786"/>
                  </a:lnTo>
                  <a:lnTo>
                    <a:pt x="1236258" y="481232"/>
                  </a:lnTo>
                  <a:lnTo>
                    <a:pt x="1240715" y="483042"/>
                  </a:lnTo>
                  <a:lnTo>
                    <a:pt x="1244880" y="484734"/>
                  </a:lnTo>
                  <a:lnTo>
                    <a:pt x="1246747" y="489413"/>
                  </a:lnTo>
                  <a:lnTo>
                    <a:pt x="1251305" y="493015"/>
                  </a:lnTo>
                  <a:lnTo>
                    <a:pt x="1254773" y="495755"/>
                  </a:lnTo>
                  <a:lnTo>
                    <a:pt x="1258094" y="498376"/>
                  </a:lnTo>
                  <a:lnTo>
                    <a:pt x="1262848" y="502122"/>
                  </a:lnTo>
                  <a:lnTo>
                    <a:pt x="1266178" y="504742"/>
                  </a:lnTo>
                  <a:lnTo>
                    <a:pt x="1270616" y="508229"/>
                  </a:lnTo>
                  <a:lnTo>
                    <a:pt x="1273251" y="510297"/>
                  </a:lnTo>
                  <a:lnTo>
                    <a:pt x="1274516" y="514319"/>
                  </a:lnTo>
                  <a:lnTo>
                    <a:pt x="1276036" y="519138"/>
                  </a:lnTo>
                  <a:lnTo>
                    <a:pt x="1275099" y="521982"/>
                  </a:lnTo>
                  <a:lnTo>
                    <a:pt x="1277199" y="522442"/>
                  </a:lnTo>
                  <a:lnTo>
                    <a:pt x="1281306" y="519251"/>
                  </a:lnTo>
                  <a:lnTo>
                    <a:pt x="1285167" y="517269"/>
                  </a:lnTo>
                  <a:lnTo>
                    <a:pt x="1289935" y="514821"/>
                  </a:lnTo>
                  <a:lnTo>
                    <a:pt x="1293150" y="513167"/>
                  </a:lnTo>
                  <a:lnTo>
                    <a:pt x="1299132" y="513085"/>
                  </a:lnTo>
                  <a:lnTo>
                    <a:pt x="1301990" y="508275"/>
                  </a:lnTo>
                  <a:lnTo>
                    <a:pt x="1302000" y="501511"/>
                  </a:lnTo>
                  <a:lnTo>
                    <a:pt x="1305022" y="501625"/>
                  </a:lnTo>
                  <a:lnTo>
                    <a:pt x="1306805" y="500708"/>
                  </a:lnTo>
                  <a:lnTo>
                    <a:pt x="1307593" y="498718"/>
                  </a:lnTo>
                  <a:lnTo>
                    <a:pt x="1305687" y="495994"/>
                  </a:lnTo>
                  <a:lnTo>
                    <a:pt x="1311418" y="494723"/>
                  </a:lnTo>
                  <a:lnTo>
                    <a:pt x="1315564" y="493803"/>
                  </a:lnTo>
                  <a:lnTo>
                    <a:pt x="1321483" y="491295"/>
                  </a:lnTo>
                  <a:lnTo>
                    <a:pt x="1327265" y="488844"/>
                  </a:lnTo>
                  <a:lnTo>
                    <a:pt x="1330023" y="490741"/>
                  </a:lnTo>
                  <a:lnTo>
                    <a:pt x="1332753" y="492574"/>
                  </a:lnTo>
                  <a:lnTo>
                    <a:pt x="1338105" y="496985"/>
                  </a:lnTo>
                  <a:lnTo>
                    <a:pt x="1338471" y="498045"/>
                  </a:lnTo>
                  <a:lnTo>
                    <a:pt x="1338109" y="500113"/>
                  </a:lnTo>
                  <a:lnTo>
                    <a:pt x="1337588" y="502178"/>
                  </a:lnTo>
                  <a:lnTo>
                    <a:pt x="1340842" y="507960"/>
                  </a:lnTo>
                  <a:lnTo>
                    <a:pt x="1341772" y="508605"/>
                  </a:lnTo>
                  <a:lnTo>
                    <a:pt x="1344447" y="509404"/>
                  </a:lnTo>
                  <a:lnTo>
                    <a:pt x="1347640" y="511315"/>
                  </a:lnTo>
                  <a:lnTo>
                    <a:pt x="1349050" y="512969"/>
                  </a:lnTo>
                  <a:lnTo>
                    <a:pt x="1353672" y="515601"/>
                  </a:lnTo>
                  <a:lnTo>
                    <a:pt x="1354453" y="516695"/>
                  </a:lnTo>
                  <a:lnTo>
                    <a:pt x="1354889" y="518463"/>
                  </a:lnTo>
                  <a:lnTo>
                    <a:pt x="1355643" y="519980"/>
                  </a:lnTo>
                  <a:lnTo>
                    <a:pt x="1356507" y="521070"/>
                  </a:lnTo>
                  <a:lnTo>
                    <a:pt x="1357341" y="522616"/>
                  </a:lnTo>
                  <a:lnTo>
                    <a:pt x="1359343" y="524437"/>
                  </a:lnTo>
                  <a:lnTo>
                    <a:pt x="1363151" y="526472"/>
                  </a:lnTo>
                  <a:lnTo>
                    <a:pt x="1365791" y="527883"/>
                  </a:lnTo>
                  <a:lnTo>
                    <a:pt x="1369489" y="529858"/>
                  </a:lnTo>
                  <a:lnTo>
                    <a:pt x="1373234" y="533886"/>
                  </a:lnTo>
                  <a:lnTo>
                    <a:pt x="1376488" y="537381"/>
                  </a:lnTo>
                  <a:lnTo>
                    <a:pt x="1380194" y="540829"/>
                  </a:lnTo>
                  <a:lnTo>
                    <a:pt x="1379646" y="543574"/>
                  </a:lnTo>
                  <a:lnTo>
                    <a:pt x="1383404" y="547817"/>
                  </a:lnTo>
                  <a:lnTo>
                    <a:pt x="1387355" y="553196"/>
                  </a:lnTo>
                  <a:lnTo>
                    <a:pt x="1390390" y="557961"/>
                  </a:lnTo>
                  <a:lnTo>
                    <a:pt x="1392547" y="560619"/>
                  </a:lnTo>
                  <a:lnTo>
                    <a:pt x="1395133" y="564467"/>
                  </a:lnTo>
                  <a:lnTo>
                    <a:pt x="1398297" y="569168"/>
                  </a:lnTo>
                  <a:lnTo>
                    <a:pt x="1401893" y="574506"/>
                  </a:lnTo>
                  <a:lnTo>
                    <a:pt x="1404648" y="577925"/>
                  </a:lnTo>
                  <a:lnTo>
                    <a:pt x="1408241" y="582704"/>
                  </a:lnTo>
                  <a:lnTo>
                    <a:pt x="1410014" y="585548"/>
                  </a:lnTo>
                  <a:lnTo>
                    <a:pt x="1408810" y="587493"/>
                  </a:lnTo>
                  <a:lnTo>
                    <a:pt x="1407314" y="589900"/>
                  </a:lnTo>
                  <a:lnTo>
                    <a:pt x="1411930" y="591040"/>
                  </a:lnTo>
                  <a:lnTo>
                    <a:pt x="1415132" y="591829"/>
                  </a:lnTo>
                  <a:lnTo>
                    <a:pt x="1414332" y="594498"/>
                  </a:lnTo>
                  <a:lnTo>
                    <a:pt x="1413276" y="598014"/>
                  </a:lnTo>
                  <a:lnTo>
                    <a:pt x="1416894" y="599400"/>
                  </a:lnTo>
                  <a:lnTo>
                    <a:pt x="1419351" y="600341"/>
                  </a:lnTo>
                  <a:lnTo>
                    <a:pt x="1418846" y="602182"/>
                  </a:lnTo>
                  <a:lnTo>
                    <a:pt x="1420194" y="604264"/>
                  </a:lnTo>
                  <a:lnTo>
                    <a:pt x="1420419" y="607704"/>
                  </a:lnTo>
                  <a:lnTo>
                    <a:pt x="1424826" y="607482"/>
                  </a:lnTo>
                  <a:lnTo>
                    <a:pt x="1426775" y="607383"/>
                  </a:lnTo>
                  <a:lnTo>
                    <a:pt x="1429408" y="608909"/>
                  </a:lnTo>
                  <a:lnTo>
                    <a:pt x="1432881" y="610919"/>
                  </a:lnTo>
                  <a:lnTo>
                    <a:pt x="1436359" y="612801"/>
                  </a:lnTo>
                  <a:lnTo>
                    <a:pt x="1439331" y="614406"/>
                  </a:lnTo>
                  <a:lnTo>
                    <a:pt x="1443227" y="615355"/>
                  </a:lnTo>
                  <a:lnTo>
                    <a:pt x="1448035" y="616721"/>
                  </a:lnTo>
                  <a:lnTo>
                    <a:pt x="1450399" y="619506"/>
                  </a:lnTo>
                  <a:lnTo>
                    <a:pt x="1454786" y="620700"/>
                  </a:lnTo>
                  <a:lnTo>
                    <a:pt x="1456417" y="624593"/>
                  </a:lnTo>
                  <a:lnTo>
                    <a:pt x="1461479" y="626023"/>
                  </a:lnTo>
                  <a:lnTo>
                    <a:pt x="1464460" y="625071"/>
                  </a:lnTo>
                  <a:lnTo>
                    <a:pt x="1465529" y="626656"/>
                  </a:lnTo>
                  <a:lnTo>
                    <a:pt x="1466372" y="628480"/>
                  </a:lnTo>
                  <a:lnTo>
                    <a:pt x="1466597" y="630780"/>
                  </a:lnTo>
                  <a:lnTo>
                    <a:pt x="1466316" y="633017"/>
                  </a:lnTo>
                  <a:lnTo>
                    <a:pt x="1465052" y="634889"/>
                  </a:lnTo>
                  <a:lnTo>
                    <a:pt x="1464100" y="636906"/>
                  </a:lnTo>
                  <a:lnTo>
                    <a:pt x="1463460" y="639071"/>
                  </a:lnTo>
                  <a:lnTo>
                    <a:pt x="1463218" y="641395"/>
                  </a:lnTo>
                  <a:lnTo>
                    <a:pt x="1463374" y="643879"/>
                  </a:lnTo>
                  <a:lnTo>
                    <a:pt x="1463885" y="646045"/>
                  </a:lnTo>
                  <a:lnTo>
                    <a:pt x="1465438" y="650046"/>
                  </a:lnTo>
                  <a:lnTo>
                    <a:pt x="1465954" y="652493"/>
                  </a:lnTo>
                  <a:lnTo>
                    <a:pt x="1466024" y="654121"/>
                  </a:lnTo>
                  <a:lnTo>
                    <a:pt x="1462573" y="659845"/>
                  </a:lnTo>
                  <a:lnTo>
                    <a:pt x="1461383" y="662570"/>
                  </a:lnTo>
                  <a:lnTo>
                    <a:pt x="1461495" y="663790"/>
                  </a:lnTo>
                  <a:lnTo>
                    <a:pt x="1458982" y="666623"/>
                  </a:lnTo>
                  <a:lnTo>
                    <a:pt x="1454373" y="670582"/>
                  </a:lnTo>
                  <a:lnTo>
                    <a:pt x="1452279" y="672863"/>
                  </a:lnTo>
                  <a:lnTo>
                    <a:pt x="1451248" y="672111"/>
                  </a:lnTo>
                  <a:lnTo>
                    <a:pt x="1445283" y="671521"/>
                  </a:lnTo>
                  <a:lnTo>
                    <a:pt x="1443114" y="666467"/>
                  </a:lnTo>
                  <a:lnTo>
                    <a:pt x="1441964" y="662538"/>
                  </a:lnTo>
                  <a:lnTo>
                    <a:pt x="1440226" y="659110"/>
                  </a:lnTo>
                  <a:lnTo>
                    <a:pt x="1440276" y="658332"/>
                  </a:lnTo>
                  <a:lnTo>
                    <a:pt x="1441856" y="656043"/>
                  </a:lnTo>
                  <a:lnTo>
                    <a:pt x="1447814" y="654155"/>
                  </a:lnTo>
                  <a:lnTo>
                    <a:pt x="1447869" y="653405"/>
                  </a:lnTo>
                  <a:lnTo>
                    <a:pt x="1445654" y="652904"/>
                  </a:lnTo>
                  <a:lnTo>
                    <a:pt x="1445122" y="652083"/>
                  </a:lnTo>
                  <a:lnTo>
                    <a:pt x="1444512" y="648361"/>
                  </a:lnTo>
                  <a:lnTo>
                    <a:pt x="1444676" y="645090"/>
                  </a:lnTo>
                  <a:lnTo>
                    <a:pt x="1444517" y="642921"/>
                  </a:lnTo>
                  <a:lnTo>
                    <a:pt x="1443523" y="638477"/>
                  </a:lnTo>
                  <a:lnTo>
                    <a:pt x="1442033" y="635754"/>
                  </a:lnTo>
                  <a:lnTo>
                    <a:pt x="1438189" y="630435"/>
                  </a:lnTo>
                  <a:lnTo>
                    <a:pt x="1437865" y="629091"/>
                  </a:lnTo>
                  <a:lnTo>
                    <a:pt x="1439558" y="627406"/>
                  </a:lnTo>
                  <a:lnTo>
                    <a:pt x="1440611" y="625834"/>
                  </a:lnTo>
                  <a:lnTo>
                    <a:pt x="1434109" y="628566"/>
                  </a:lnTo>
                  <a:lnTo>
                    <a:pt x="1425241" y="631437"/>
                  </a:lnTo>
                  <a:lnTo>
                    <a:pt x="1421442" y="633437"/>
                  </a:lnTo>
                  <a:lnTo>
                    <a:pt x="1420644" y="634238"/>
                  </a:lnTo>
                  <a:lnTo>
                    <a:pt x="1420371" y="634916"/>
                  </a:lnTo>
                  <a:lnTo>
                    <a:pt x="1421062" y="636798"/>
                  </a:lnTo>
                  <a:lnTo>
                    <a:pt x="1420955" y="637402"/>
                  </a:lnTo>
                  <a:lnTo>
                    <a:pt x="1420182" y="638514"/>
                  </a:lnTo>
                  <a:lnTo>
                    <a:pt x="1419268" y="641656"/>
                  </a:lnTo>
                  <a:lnTo>
                    <a:pt x="1417338" y="644982"/>
                  </a:lnTo>
                  <a:lnTo>
                    <a:pt x="1416361" y="645665"/>
                  </a:lnTo>
                  <a:lnTo>
                    <a:pt x="1412901" y="644424"/>
                  </a:lnTo>
                  <a:lnTo>
                    <a:pt x="1411972" y="643359"/>
                  </a:lnTo>
                  <a:lnTo>
                    <a:pt x="1410237" y="639012"/>
                  </a:lnTo>
                  <a:lnTo>
                    <a:pt x="1410643" y="637852"/>
                  </a:lnTo>
                  <a:lnTo>
                    <a:pt x="1411908" y="636875"/>
                  </a:lnTo>
                  <a:lnTo>
                    <a:pt x="1413624" y="634764"/>
                  </a:lnTo>
                  <a:lnTo>
                    <a:pt x="1415790" y="631514"/>
                  </a:lnTo>
                  <a:lnTo>
                    <a:pt x="1419919" y="623240"/>
                  </a:lnTo>
                  <a:lnTo>
                    <a:pt x="1422619" y="623199"/>
                  </a:lnTo>
                  <a:lnTo>
                    <a:pt x="1427381" y="621557"/>
                  </a:lnTo>
                  <a:lnTo>
                    <a:pt x="1419910" y="620733"/>
                  </a:lnTo>
                  <a:lnTo>
                    <a:pt x="1418796" y="620299"/>
                  </a:lnTo>
                  <a:lnTo>
                    <a:pt x="1417791" y="619169"/>
                  </a:lnTo>
                  <a:lnTo>
                    <a:pt x="1416898" y="617339"/>
                  </a:lnTo>
                  <a:lnTo>
                    <a:pt x="1415378" y="615301"/>
                  </a:lnTo>
                  <a:lnTo>
                    <a:pt x="1412538" y="614586"/>
                  </a:lnTo>
                  <a:lnTo>
                    <a:pt x="1411292" y="613835"/>
                  </a:lnTo>
                  <a:lnTo>
                    <a:pt x="1409417" y="611358"/>
                  </a:lnTo>
                  <a:lnTo>
                    <a:pt x="1408157" y="610244"/>
                  </a:lnTo>
                  <a:lnTo>
                    <a:pt x="1407466" y="608867"/>
                  </a:lnTo>
                  <a:lnTo>
                    <a:pt x="1407348" y="607227"/>
                  </a:lnTo>
                  <a:lnTo>
                    <a:pt x="1406813" y="606403"/>
                  </a:lnTo>
                  <a:lnTo>
                    <a:pt x="1404855" y="606104"/>
                  </a:lnTo>
                  <a:lnTo>
                    <a:pt x="1403796" y="605540"/>
                  </a:lnTo>
                  <a:lnTo>
                    <a:pt x="1403510" y="601301"/>
                  </a:lnTo>
                  <a:lnTo>
                    <a:pt x="1399623" y="600210"/>
                  </a:lnTo>
                  <a:lnTo>
                    <a:pt x="1398030" y="599271"/>
                  </a:lnTo>
                  <a:lnTo>
                    <a:pt x="1395472" y="596617"/>
                  </a:lnTo>
                  <a:lnTo>
                    <a:pt x="1394767" y="595326"/>
                  </a:lnTo>
                  <a:lnTo>
                    <a:pt x="1394538" y="594249"/>
                  </a:lnTo>
                  <a:lnTo>
                    <a:pt x="1395164" y="591312"/>
                  </a:lnTo>
                  <a:lnTo>
                    <a:pt x="1394900" y="590762"/>
                  </a:lnTo>
                  <a:lnTo>
                    <a:pt x="1392636" y="591066"/>
                  </a:lnTo>
                  <a:lnTo>
                    <a:pt x="1378542" y="586513"/>
                  </a:lnTo>
                  <a:lnTo>
                    <a:pt x="1379286" y="580487"/>
                  </a:lnTo>
                  <a:lnTo>
                    <a:pt x="1376678" y="572514"/>
                  </a:lnTo>
                  <a:lnTo>
                    <a:pt x="1373878" y="569271"/>
                  </a:lnTo>
                  <a:lnTo>
                    <a:pt x="1374433" y="568012"/>
                  </a:lnTo>
                  <a:lnTo>
                    <a:pt x="1375035" y="567343"/>
                  </a:lnTo>
                  <a:lnTo>
                    <a:pt x="1376289" y="567329"/>
                  </a:lnTo>
                  <a:lnTo>
                    <a:pt x="1381694" y="569684"/>
                  </a:lnTo>
                  <a:lnTo>
                    <a:pt x="1386782" y="572478"/>
                  </a:lnTo>
                  <a:lnTo>
                    <a:pt x="1387440" y="572069"/>
                  </a:lnTo>
                  <a:lnTo>
                    <a:pt x="1379310" y="566151"/>
                  </a:lnTo>
                  <a:lnTo>
                    <a:pt x="1377276" y="564378"/>
                  </a:lnTo>
                  <a:lnTo>
                    <a:pt x="1376773" y="562246"/>
                  </a:lnTo>
                  <a:lnTo>
                    <a:pt x="1376742" y="561105"/>
                  </a:lnTo>
                  <a:lnTo>
                    <a:pt x="1377387" y="560503"/>
                  </a:lnTo>
                  <a:lnTo>
                    <a:pt x="1385017" y="561038"/>
                  </a:lnTo>
                  <a:lnTo>
                    <a:pt x="1385469" y="560595"/>
                  </a:lnTo>
                  <a:lnTo>
                    <a:pt x="1377738" y="558860"/>
                  </a:lnTo>
                  <a:lnTo>
                    <a:pt x="1376156" y="558867"/>
                  </a:lnTo>
                  <a:lnTo>
                    <a:pt x="1374464" y="561359"/>
                  </a:lnTo>
                  <a:lnTo>
                    <a:pt x="1373659" y="561948"/>
                  </a:lnTo>
                  <a:lnTo>
                    <a:pt x="1371999" y="561829"/>
                  </a:lnTo>
                  <a:lnTo>
                    <a:pt x="1371443" y="561447"/>
                  </a:lnTo>
                  <a:lnTo>
                    <a:pt x="1369473" y="558426"/>
                  </a:lnTo>
                  <a:lnTo>
                    <a:pt x="1367608" y="556323"/>
                  </a:lnTo>
                  <a:lnTo>
                    <a:pt x="1364124" y="553403"/>
                  </a:lnTo>
                  <a:lnTo>
                    <a:pt x="1363469" y="551320"/>
                  </a:lnTo>
                  <a:lnTo>
                    <a:pt x="1363301" y="548255"/>
                  </a:lnTo>
                  <a:lnTo>
                    <a:pt x="1363761" y="545351"/>
                  </a:lnTo>
                  <a:lnTo>
                    <a:pt x="1366609" y="538706"/>
                  </a:lnTo>
                  <a:lnTo>
                    <a:pt x="1367760" y="537557"/>
                  </a:lnTo>
                  <a:lnTo>
                    <a:pt x="1368060" y="536833"/>
                  </a:lnTo>
                  <a:lnTo>
                    <a:pt x="1367183" y="536943"/>
                  </a:lnTo>
                  <a:lnTo>
                    <a:pt x="1366349" y="537573"/>
                  </a:lnTo>
                  <a:lnTo>
                    <a:pt x="1363994" y="540663"/>
                  </a:lnTo>
                  <a:lnTo>
                    <a:pt x="1361570" y="545719"/>
                  </a:lnTo>
                  <a:lnTo>
                    <a:pt x="1359589" y="547442"/>
                  </a:lnTo>
                  <a:lnTo>
                    <a:pt x="1358345" y="547025"/>
                  </a:lnTo>
                  <a:lnTo>
                    <a:pt x="1356461" y="544968"/>
                  </a:lnTo>
                  <a:lnTo>
                    <a:pt x="1352532" y="542455"/>
                  </a:lnTo>
                  <a:lnTo>
                    <a:pt x="1347987" y="541803"/>
                  </a:lnTo>
                  <a:lnTo>
                    <a:pt x="1345119" y="539229"/>
                  </a:lnTo>
                  <a:lnTo>
                    <a:pt x="1340873" y="532052"/>
                  </a:lnTo>
                  <a:lnTo>
                    <a:pt x="1340304" y="528469"/>
                  </a:lnTo>
                  <a:lnTo>
                    <a:pt x="1339760" y="527592"/>
                  </a:lnTo>
                  <a:lnTo>
                    <a:pt x="1337455" y="526425"/>
                  </a:lnTo>
                  <a:lnTo>
                    <a:pt x="1336043" y="524700"/>
                  </a:lnTo>
                  <a:lnTo>
                    <a:pt x="1333861" y="515930"/>
                  </a:lnTo>
                  <a:lnTo>
                    <a:pt x="1330979" y="509815"/>
                  </a:lnTo>
                  <a:lnTo>
                    <a:pt x="1330262" y="506579"/>
                  </a:lnTo>
                  <a:lnTo>
                    <a:pt x="1330506" y="503364"/>
                  </a:lnTo>
                  <a:lnTo>
                    <a:pt x="1330128" y="503010"/>
                  </a:lnTo>
                  <a:lnTo>
                    <a:pt x="1329137" y="505515"/>
                  </a:lnTo>
                  <a:lnTo>
                    <a:pt x="1328877" y="506821"/>
                  </a:lnTo>
                  <a:lnTo>
                    <a:pt x="1327058" y="507190"/>
                  </a:lnTo>
                  <a:lnTo>
                    <a:pt x="1328771" y="509724"/>
                  </a:lnTo>
                  <a:lnTo>
                    <a:pt x="1329199" y="510989"/>
                  </a:lnTo>
                  <a:lnTo>
                    <a:pt x="1328342" y="510885"/>
                  </a:lnTo>
                  <a:lnTo>
                    <a:pt x="1326591" y="511201"/>
                  </a:lnTo>
                  <a:lnTo>
                    <a:pt x="1329556" y="515519"/>
                  </a:lnTo>
                  <a:lnTo>
                    <a:pt x="1330884" y="522199"/>
                  </a:lnTo>
                  <a:lnTo>
                    <a:pt x="1332849" y="527138"/>
                  </a:lnTo>
                  <a:lnTo>
                    <a:pt x="1334123" y="531134"/>
                  </a:lnTo>
                  <a:lnTo>
                    <a:pt x="1334698" y="534163"/>
                  </a:lnTo>
                  <a:lnTo>
                    <a:pt x="1335531" y="537055"/>
                  </a:lnTo>
                  <a:lnTo>
                    <a:pt x="1337825" y="543433"/>
                  </a:lnTo>
                  <a:lnTo>
                    <a:pt x="1338139" y="544699"/>
                  </a:lnTo>
                  <a:lnTo>
                    <a:pt x="1337863" y="545735"/>
                  </a:lnTo>
                  <a:lnTo>
                    <a:pt x="1337104" y="546963"/>
                  </a:lnTo>
                  <a:lnTo>
                    <a:pt x="1335795" y="547426"/>
                  </a:lnTo>
                  <a:lnTo>
                    <a:pt x="1331689" y="546590"/>
                  </a:lnTo>
                  <a:lnTo>
                    <a:pt x="1330142" y="545016"/>
                  </a:lnTo>
                  <a:lnTo>
                    <a:pt x="1327928" y="542123"/>
                  </a:lnTo>
                  <a:lnTo>
                    <a:pt x="1324820" y="540786"/>
                  </a:lnTo>
                  <a:lnTo>
                    <a:pt x="1317124" y="541449"/>
                  </a:lnTo>
                  <a:lnTo>
                    <a:pt x="1316509" y="541226"/>
                  </a:lnTo>
                  <a:lnTo>
                    <a:pt x="1316540" y="538857"/>
                  </a:lnTo>
                  <a:lnTo>
                    <a:pt x="1317423" y="534638"/>
                  </a:lnTo>
                  <a:lnTo>
                    <a:pt x="1316714" y="532933"/>
                  </a:lnTo>
                  <a:lnTo>
                    <a:pt x="1312736" y="526713"/>
                  </a:lnTo>
                  <a:lnTo>
                    <a:pt x="1312796" y="525496"/>
                  </a:lnTo>
                  <a:lnTo>
                    <a:pt x="1318325" y="522635"/>
                  </a:lnTo>
                  <a:lnTo>
                    <a:pt x="1315638" y="522419"/>
                  </a:lnTo>
                  <a:lnTo>
                    <a:pt x="1313473" y="523535"/>
                  </a:lnTo>
                  <a:lnTo>
                    <a:pt x="1312637" y="522813"/>
                  </a:lnTo>
                  <a:lnTo>
                    <a:pt x="1311329" y="518812"/>
                  </a:lnTo>
                  <a:lnTo>
                    <a:pt x="1310486" y="517322"/>
                  </a:lnTo>
                  <a:lnTo>
                    <a:pt x="1310068" y="517001"/>
                  </a:lnTo>
                  <a:lnTo>
                    <a:pt x="1309829" y="520805"/>
                  </a:lnTo>
                  <a:lnTo>
                    <a:pt x="1310745" y="522804"/>
                  </a:lnTo>
                  <a:lnTo>
                    <a:pt x="1310876" y="523961"/>
                  </a:lnTo>
                  <a:lnTo>
                    <a:pt x="1310728" y="525571"/>
                  </a:lnTo>
                  <a:lnTo>
                    <a:pt x="1310152" y="526724"/>
                  </a:lnTo>
                  <a:lnTo>
                    <a:pt x="1309143" y="527422"/>
                  </a:lnTo>
                  <a:lnTo>
                    <a:pt x="1308135" y="527598"/>
                  </a:lnTo>
                  <a:lnTo>
                    <a:pt x="1306269" y="526794"/>
                  </a:lnTo>
                  <a:lnTo>
                    <a:pt x="1304195" y="525283"/>
                  </a:lnTo>
                  <a:lnTo>
                    <a:pt x="1302387" y="524571"/>
                  </a:lnTo>
                  <a:lnTo>
                    <a:pt x="1301712" y="523965"/>
                  </a:lnTo>
                  <a:lnTo>
                    <a:pt x="1300857" y="522293"/>
                  </a:lnTo>
                  <a:lnTo>
                    <a:pt x="1299453" y="521026"/>
                  </a:lnTo>
                  <a:lnTo>
                    <a:pt x="1292698" y="519415"/>
                  </a:lnTo>
                  <a:lnTo>
                    <a:pt x="1288667" y="517513"/>
                  </a:lnTo>
                  <a:lnTo>
                    <a:pt x="1288332" y="518014"/>
                  </a:lnTo>
                  <a:lnTo>
                    <a:pt x="1289590" y="520048"/>
                  </a:lnTo>
                  <a:lnTo>
                    <a:pt x="1289712" y="521250"/>
                  </a:lnTo>
                  <a:lnTo>
                    <a:pt x="1288696" y="521616"/>
                  </a:lnTo>
                  <a:lnTo>
                    <a:pt x="1286880" y="523544"/>
                  </a:lnTo>
                  <a:lnTo>
                    <a:pt x="1287407" y="523809"/>
                  </a:lnTo>
                  <a:lnTo>
                    <a:pt x="1289329" y="523176"/>
                  </a:lnTo>
                  <a:lnTo>
                    <a:pt x="1291470" y="523251"/>
                  </a:lnTo>
                  <a:lnTo>
                    <a:pt x="1295016" y="524425"/>
                  </a:lnTo>
                  <a:lnTo>
                    <a:pt x="1298235" y="525958"/>
                  </a:lnTo>
                  <a:lnTo>
                    <a:pt x="1299401" y="526817"/>
                  </a:lnTo>
                  <a:lnTo>
                    <a:pt x="1299883" y="528087"/>
                  </a:lnTo>
                  <a:lnTo>
                    <a:pt x="1300287" y="528542"/>
                  </a:lnTo>
                  <a:lnTo>
                    <a:pt x="1303435" y="530022"/>
                  </a:lnTo>
                  <a:lnTo>
                    <a:pt x="1303585" y="530802"/>
                  </a:lnTo>
                  <a:lnTo>
                    <a:pt x="1301555" y="533122"/>
                  </a:lnTo>
                  <a:lnTo>
                    <a:pt x="1305736" y="532868"/>
                  </a:lnTo>
                  <a:lnTo>
                    <a:pt x="1308166" y="533697"/>
                  </a:lnTo>
                  <a:lnTo>
                    <a:pt x="1311272" y="537275"/>
                  </a:lnTo>
                  <a:lnTo>
                    <a:pt x="1312328" y="539271"/>
                  </a:lnTo>
                  <a:lnTo>
                    <a:pt x="1312469" y="541823"/>
                  </a:lnTo>
                  <a:lnTo>
                    <a:pt x="1311823" y="542565"/>
                  </a:lnTo>
                  <a:lnTo>
                    <a:pt x="1310589" y="543078"/>
                  </a:lnTo>
                  <a:lnTo>
                    <a:pt x="1302101" y="543913"/>
                  </a:lnTo>
                  <a:lnTo>
                    <a:pt x="1299034" y="546986"/>
                  </a:lnTo>
                  <a:lnTo>
                    <a:pt x="1298401" y="547032"/>
                  </a:lnTo>
                  <a:lnTo>
                    <a:pt x="1296066" y="546198"/>
                  </a:lnTo>
                  <a:lnTo>
                    <a:pt x="1291831" y="543747"/>
                  </a:lnTo>
                  <a:lnTo>
                    <a:pt x="1286551" y="541411"/>
                  </a:lnTo>
                  <a:lnTo>
                    <a:pt x="1274509" y="534482"/>
                  </a:lnTo>
                  <a:lnTo>
                    <a:pt x="1274179" y="534157"/>
                  </a:lnTo>
                  <a:lnTo>
                    <a:pt x="1273983" y="532815"/>
                  </a:lnTo>
                  <a:lnTo>
                    <a:pt x="1273155" y="532130"/>
                  </a:lnTo>
                  <a:lnTo>
                    <a:pt x="1271522" y="531543"/>
                  </a:lnTo>
                  <a:lnTo>
                    <a:pt x="1269254" y="529781"/>
                  </a:lnTo>
                  <a:lnTo>
                    <a:pt x="1266352" y="526847"/>
                  </a:lnTo>
                  <a:lnTo>
                    <a:pt x="1264559" y="524550"/>
                  </a:lnTo>
                  <a:lnTo>
                    <a:pt x="1263874" y="522897"/>
                  </a:lnTo>
                  <a:lnTo>
                    <a:pt x="1262190" y="521005"/>
                  </a:lnTo>
                  <a:lnTo>
                    <a:pt x="1256735" y="517049"/>
                  </a:lnTo>
                  <a:lnTo>
                    <a:pt x="1253884" y="515527"/>
                  </a:lnTo>
                  <a:lnTo>
                    <a:pt x="1251363" y="514669"/>
                  </a:lnTo>
                  <a:lnTo>
                    <a:pt x="1249174" y="514483"/>
                  </a:lnTo>
                  <a:lnTo>
                    <a:pt x="1248583" y="513953"/>
                  </a:lnTo>
                  <a:lnTo>
                    <a:pt x="1249593" y="513085"/>
                  </a:lnTo>
                  <a:lnTo>
                    <a:pt x="1249741" y="512570"/>
                  </a:lnTo>
                  <a:lnTo>
                    <a:pt x="1244913" y="511756"/>
                  </a:lnTo>
                  <a:lnTo>
                    <a:pt x="1240316" y="509897"/>
                  </a:lnTo>
                  <a:lnTo>
                    <a:pt x="1228668" y="504664"/>
                  </a:lnTo>
                  <a:lnTo>
                    <a:pt x="1222652" y="501384"/>
                  </a:lnTo>
                  <a:lnTo>
                    <a:pt x="1219141" y="499814"/>
                  </a:lnTo>
                  <a:lnTo>
                    <a:pt x="1217640" y="498931"/>
                  </a:lnTo>
                  <a:lnTo>
                    <a:pt x="1216980" y="498214"/>
                  </a:lnTo>
                  <a:lnTo>
                    <a:pt x="1217824" y="497463"/>
                  </a:lnTo>
                  <a:lnTo>
                    <a:pt x="1220170" y="496677"/>
                  </a:lnTo>
                  <a:lnTo>
                    <a:pt x="1221764" y="495788"/>
                  </a:lnTo>
                  <a:lnTo>
                    <a:pt x="1224279" y="492459"/>
                  </a:lnTo>
                  <a:lnTo>
                    <a:pt x="1224469" y="491386"/>
                  </a:lnTo>
                  <a:lnTo>
                    <a:pt x="1223119" y="488961"/>
                  </a:lnTo>
                  <a:lnTo>
                    <a:pt x="1222514" y="486752"/>
                  </a:lnTo>
                  <a:lnTo>
                    <a:pt x="1222541" y="485526"/>
                  </a:lnTo>
                  <a:lnTo>
                    <a:pt x="1222848" y="484315"/>
                  </a:lnTo>
                  <a:lnTo>
                    <a:pt x="1223231" y="483516"/>
                  </a:lnTo>
                  <a:lnTo>
                    <a:pt x="1224298" y="482744"/>
                  </a:lnTo>
                  <a:lnTo>
                    <a:pt x="1225045" y="482356"/>
                  </a:lnTo>
                  <a:lnTo>
                    <a:pt x="1225966" y="482619"/>
                  </a:lnTo>
                  <a:lnTo>
                    <a:pt x="1228923" y="485660"/>
                  </a:lnTo>
                  <a:lnTo>
                    <a:pt x="1229339" y="486765"/>
                  </a:lnTo>
                  <a:lnTo>
                    <a:pt x="1229203" y="490915"/>
                  </a:lnTo>
                  <a:lnTo>
                    <a:pt x="1230053" y="495763"/>
                  </a:lnTo>
                  <a:lnTo>
                    <a:pt x="1230319" y="495405"/>
                  </a:lnTo>
                  <a:lnTo>
                    <a:pt x="1230590" y="493805"/>
                  </a:lnTo>
                  <a:lnTo>
                    <a:pt x="1230766" y="490741"/>
                  </a:lnTo>
                  <a:lnTo>
                    <a:pt x="1231099" y="489268"/>
                  </a:lnTo>
                  <a:lnTo>
                    <a:pt x="1231734" y="487832"/>
                  </a:lnTo>
                  <a:lnTo>
                    <a:pt x="1232804" y="487073"/>
                  </a:lnTo>
                  <a:lnTo>
                    <a:pt x="1236134" y="487515"/>
                  </a:lnTo>
                  <a:lnTo>
                    <a:pt x="1237671" y="487257"/>
                  </a:lnTo>
                  <a:lnTo>
                    <a:pt x="1231180" y="485060"/>
                  </a:lnTo>
                  <a:lnTo>
                    <a:pt x="1227099" y="480938"/>
                  </a:lnTo>
                  <a:lnTo>
                    <a:pt x="1226360" y="480508"/>
                  </a:lnTo>
                  <a:lnTo>
                    <a:pt x="1224129" y="480323"/>
                  </a:lnTo>
                  <a:lnTo>
                    <a:pt x="1221764" y="481988"/>
                  </a:lnTo>
                  <a:lnTo>
                    <a:pt x="1215678" y="487420"/>
                  </a:lnTo>
                  <a:lnTo>
                    <a:pt x="1213976" y="488373"/>
                  </a:lnTo>
                  <a:lnTo>
                    <a:pt x="1206328" y="491374"/>
                  </a:lnTo>
                  <a:lnTo>
                    <a:pt x="1201147" y="491979"/>
                  </a:lnTo>
                  <a:lnTo>
                    <a:pt x="1195315" y="491505"/>
                  </a:lnTo>
                  <a:lnTo>
                    <a:pt x="1190347" y="490530"/>
                  </a:lnTo>
                  <a:lnTo>
                    <a:pt x="1177878" y="485782"/>
                  </a:lnTo>
                  <a:lnTo>
                    <a:pt x="1175931" y="484678"/>
                  </a:lnTo>
                  <a:lnTo>
                    <a:pt x="1178830" y="481736"/>
                  </a:lnTo>
                  <a:lnTo>
                    <a:pt x="1178950" y="480817"/>
                  </a:lnTo>
                  <a:lnTo>
                    <a:pt x="1177939" y="477815"/>
                  </a:lnTo>
                  <a:lnTo>
                    <a:pt x="1177108" y="476957"/>
                  </a:lnTo>
                  <a:lnTo>
                    <a:pt x="1175919" y="476484"/>
                  </a:lnTo>
                  <a:lnTo>
                    <a:pt x="1175590" y="476821"/>
                  </a:lnTo>
                  <a:lnTo>
                    <a:pt x="1175577" y="477713"/>
                  </a:lnTo>
                  <a:lnTo>
                    <a:pt x="1175894" y="479362"/>
                  </a:lnTo>
                  <a:lnTo>
                    <a:pt x="1174942" y="480234"/>
                  </a:lnTo>
                  <a:lnTo>
                    <a:pt x="1172822" y="481175"/>
                  </a:lnTo>
                  <a:lnTo>
                    <a:pt x="1169249" y="482122"/>
                  </a:lnTo>
                  <a:lnTo>
                    <a:pt x="1158182" y="479700"/>
                  </a:lnTo>
                  <a:lnTo>
                    <a:pt x="1146843" y="477693"/>
                  </a:lnTo>
                  <a:lnTo>
                    <a:pt x="1136713" y="477275"/>
                  </a:lnTo>
                  <a:lnTo>
                    <a:pt x="1122415" y="478876"/>
                  </a:lnTo>
                  <a:lnTo>
                    <a:pt x="1114789" y="480484"/>
                  </a:lnTo>
                  <a:lnTo>
                    <a:pt x="1110340" y="480640"/>
                  </a:lnTo>
                  <a:lnTo>
                    <a:pt x="1106061" y="480350"/>
                  </a:lnTo>
                  <a:lnTo>
                    <a:pt x="1105711" y="479228"/>
                  </a:lnTo>
                  <a:lnTo>
                    <a:pt x="1107667" y="478570"/>
                  </a:lnTo>
                  <a:lnTo>
                    <a:pt x="1107558" y="477758"/>
                  </a:lnTo>
                  <a:lnTo>
                    <a:pt x="1105084" y="475222"/>
                  </a:lnTo>
                  <a:lnTo>
                    <a:pt x="1101331" y="473682"/>
                  </a:lnTo>
                  <a:lnTo>
                    <a:pt x="1096296" y="473139"/>
                  </a:lnTo>
                  <a:lnTo>
                    <a:pt x="1093415" y="472395"/>
                  </a:lnTo>
                  <a:lnTo>
                    <a:pt x="1092684" y="471454"/>
                  </a:lnTo>
                  <a:lnTo>
                    <a:pt x="1090903" y="470556"/>
                  </a:lnTo>
                  <a:lnTo>
                    <a:pt x="1088071" y="469700"/>
                  </a:lnTo>
                  <a:lnTo>
                    <a:pt x="1086824" y="468164"/>
                  </a:lnTo>
                  <a:lnTo>
                    <a:pt x="1087815" y="463407"/>
                  </a:lnTo>
                  <a:lnTo>
                    <a:pt x="1088785" y="460547"/>
                  </a:lnTo>
                  <a:lnTo>
                    <a:pt x="1089751" y="458585"/>
                  </a:lnTo>
                  <a:lnTo>
                    <a:pt x="1092186" y="455332"/>
                  </a:lnTo>
                  <a:lnTo>
                    <a:pt x="1091337" y="455574"/>
                  </a:lnTo>
                  <a:lnTo>
                    <a:pt x="1087800" y="457959"/>
                  </a:lnTo>
                  <a:lnTo>
                    <a:pt x="1084713" y="460420"/>
                  </a:lnTo>
                  <a:lnTo>
                    <a:pt x="1081857" y="463618"/>
                  </a:lnTo>
                  <a:lnTo>
                    <a:pt x="1080156" y="465088"/>
                  </a:lnTo>
                  <a:lnTo>
                    <a:pt x="1077973" y="466440"/>
                  </a:lnTo>
                  <a:lnTo>
                    <a:pt x="1074567" y="466115"/>
                  </a:lnTo>
                  <a:lnTo>
                    <a:pt x="1069941" y="464115"/>
                  </a:lnTo>
                  <a:lnTo>
                    <a:pt x="1065979" y="463084"/>
                  </a:lnTo>
                  <a:lnTo>
                    <a:pt x="1062680" y="463020"/>
                  </a:lnTo>
                  <a:lnTo>
                    <a:pt x="1061376" y="462676"/>
                  </a:lnTo>
                  <a:lnTo>
                    <a:pt x="1063627" y="460891"/>
                  </a:lnTo>
                  <a:lnTo>
                    <a:pt x="1064924" y="459454"/>
                  </a:lnTo>
                  <a:lnTo>
                    <a:pt x="1066699" y="457147"/>
                  </a:lnTo>
                  <a:lnTo>
                    <a:pt x="1067089" y="456024"/>
                  </a:lnTo>
                  <a:lnTo>
                    <a:pt x="1054995" y="455656"/>
                  </a:lnTo>
                  <a:lnTo>
                    <a:pt x="1054551" y="454440"/>
                  </a:lnTo>
                  <a:lnTo>
                    <a:pt x="1054534" y="453543"/>
                  </a:lnTo>
                  <a:lnTo>
                    <a:pt x="1054145" y="452801"/>
                  </a:lnTo>
                  <a:lnTo>
                    <a:pt x="1052393" y="452250"/>
                  </a:lnTo>
                  <a:lnTo>
                    <a:pt x="1049940" y="452672"/>
                  </a:lnTo>
                  <a:lnTo>
                    <a:pt x="1045965" y="454112"/>
                  </a:lnTo>
                  <a:lnTo>
                    <a:pt x="1044245" y="453018"/>
                  </a:lnTo>
                  <a:lnTo>
                    <a:pt x="1044858" y="452401"/>
                  </a:lnTo>
                  <a:lnTo>
                    <a:pt x="1046156" y="451952"/>
                  </a:lnTo>
                  <a:lnTo>
                    <a:pt x="1048797" y="449866"/>
                  </a:lnTo>
                  <a:lnTo>
                    <a:pt x="1045226" y="448783"/>
                  </a:lnTo>
                  <a:lnTo>
                    <a:pt x="1043400" y="447544"/>
                  </a:lnTo>
                  <a:lnTo>
                    <a:pt x="1042510" y="446524"/>
                  </a:lnTo>
                  <a:lnTo>
                    <a:pt x="1042572" y="442840"/>
                  </a:lnTo>
                  <a:lnTo>
                    <a:pt x="1043513" y="440478"/>
                  </a:lnTo>
                  <a:lnTo>
                    <a:pt x="1051529" y="438184"/>
                  </a:lnTo>
                  <a:lnTo>
                    <a:pt x="1048991" y="437284"/>
                  </a:lnTo>
                  <a:lnTo>
                    <a:pt x="1043932" y="437594"/>
                  </a:lnTo>
                  <a:lnTo>
                    <a:pt x="1040534" y="439547"/>
                  </a:lnTo>
                  <a:lnTo>
                    <a:pt x="1036500" y="442362"/>
                  </a:lnTo>
                  <a:lnTo>
                    <a:pt x="1033792" y="443411"/>
                  </a:lnTo>
                  <a:lnTo>
                    <a:pt x="1032411" y="442698"/>
                  </a:lnTo>
                  <a:lnTo>
                    <a:pt x="1030583" y="442453"/>
                  </a:lnTo>
                  <a:lnTo>
                    <a:pt x="1028311" y="442674"/>
                  </a:lnTo>
                  <a:lnTo>
                    <a:pt x="1026785" y="443392"/>
                  </a:lnTo>
                  <a:lnTo>
                    <a:pt x="1026002" y="444612"/>
                  </a:lnTo>
                  <a:lnTo>
                    <a:pt x="1025095" y="445434"/>
                  </a:lnTo>
                  <a:lnTo>
                    <a:pt x="1024068" y="445859"/>
                  </a:lnTo>
                  <a:lnTo>
                    <a:pt x="1023323" y="445723"/>
                  </a:lnTo>
                  <a:lnTo>
                    <a:pt x="1022231" y="444475"/>
                  </a:lnTo>
                  <a:lnTo>
                    <a:pt x="1019937" y="443701"/>
                  </a:lnTo>
                  <a:lnTo>
                    <a:pt x="1018816" y="442748"/>
                  </a:lnTo>
                  <a:lnTo>
                    <a:pt x="1018171" y="443347"/>
                  </a:lnTo>
                  <a:lnTo>
                    <a:pt x="1017386" y="445144"/>
                  </a:lnTo>
                  <a:lnTo>
                    <a:pt x="1016560" y="446052"/>
                  </a:lnTo>
                  <a:lnTo>
                    <a:pt x="1012685" y="446986"/>
                  </a:lnTo>
                  <a:lnTo>
                    <a:pt x="1010554" y="446811"/>
                  </a:lnTo>
                  <a:lnTo>
                    <a:pt x="1008012" y="444552"/>
                  </a:lnTo>
                  <a:lnTo>
                    <a:pt x="1007645" y="443767"/>
                  </a:lnTo>
                  <a:lnTo>
                    <a:pt x="1008511" y="441814"/>
                  </a:lnTo>
                  <a:lnTo>
                    <a:pt x="1014106" y="434056"/>
                  </a:lnTo>
                  <a:lnTo>
                    <a:pt x="1013548" y="434100"/>
                  </a:lnTo>
                  <a:lnTo>
                    <a:pt x="1011735" y="435322"/>
                  </a:lnTo>
                  <a:lnTo>
                    <a:pt x="1008124" y="438423"/>
                  </a:lnTo>
                  <a:lnTo>
                    <a:pt x="1006515" y="439347"/>
                  </a:lnTo>
                  <a:lnTo>
                    <a:pt x="1003748" y="439463"/>
                  </a:lnTo>
                  <a:lnTo>
                    <a:pt x="1002453" y="439131"/>
                  </a:lnTo>
                  <a:lnTo>
                    <a:pt x="1000889" y="439382"/>
                  </a:lnTo>
                  <a:lnTo>
                    <a:pt x="999056" y="440211"/>
                  </a:lnTo>
                  <a:lnTo>
                    <a:pt x="997858" y="441119"/>
                  </a:lnTo>
                  <a:lnTo>
                    <a:pt x="997298" y="442106"/>
                  </a:lnTo>
                  <a:lnTo>
                    <a:pt x="997679" y="442275"/>
                  </a:lnTo>
                  <a:lnTo>
                    <a:pt x="1000445" y="441147"/>
                  </a:lnTo>
                  <a:lnTo>
                    <a:pt x="1002014" y="440845"/>
                  </a:lnTo>
                  <a:lnTo>
                    <a:pt x="1002453" y="441391"/>
                  </a:lnTo>
                  <a:lnTo>
                    <a:pt x="1000298" y="444884"/>
                  </a:lnTo>
                  <a:lnTo>
                    <a:pt x="998989" y="448215"/>
                  </a:lnTo>
                  <a:lnTo>
                    <a:pt x="997744" y="449053"/>
                  </a:lnTo>
                  <a:lnTo>
                    <a:pt x="995761" y="448913"/>
                  </a:lnTo>
                  <a:lnTo>
                    <a:pt x="993589" y="449242"/>
                  </a:lnTo>
                  <a:lnTo>
                    <a:pt x="993558" y="450171"/>
                  </a:lnTo>
                  <a:lnTo>
                    <a:pt x="997606" y="452830"/>
                  </a:lnTo>
                  <a:lnTo>
                    <a:pt x="999072" y="453205"/>
                  </a:lnTo>
                  <a:lnTo>
                    <a:pt x="1000944" y="454153"/>
                  </a:lnTo>
                  <a:lnTo>
                    <a:pt x="1001228" y="455094"/>
                  </a:lnTo>
                  <a:lnTo>
                    <a:pt x="1000526" y="457634"/>
                  </a:lnTo>
                  <a:lnTo>
                    <a:pt x="999996" y="458634"/>
                  </a:lnTo>
                  <a:lnTo>
                    <a:pt x="999143" y="459154"/>
                  </a:lnTo>
                  <a:lnTo>
                    <a:pt x="995843" y="459068"/>
                  </a:lnTo>
                  <a:lnTo>
                    <a:pt x="994778" y="459331"/>
                  </a:lnTo>
                  <a:lnTo>
                    <a:pt x="992556" y="460924"/>
                  </a:lnTo>
                  <a:lnTo>
                    <a:pt x="991447" y="462244"/>
                  </a:lnTo>
                  <a:lnTo>
                    <a:pt x="991852" y="462360"/>
                  </a:lnTo>
                  <a:lnTo>
                    <a:pt x="993769" y="461270"/>
                  </a:lnTo>
                  <a:lnTo>
                    <a:pt x="996556" y="460686"/>
                  </a:lnTo>
                  <a:lnTo>
                    <a:pt x="1000216" y="460606"/>
                  </a:lnTo>
                  <a:lnTo>
                    <a:pt x="1002944" y="460027"/>
                  </a:lnTo>
                  <a:lnTo>
                    <a:pt x="1004736" y="458950"/>
                  </a:lnTo>
                  <a:lnTo>
                    <a:pt x="1006483" y="459256"/>
                  </a:lnTo>
                  <a:lnTo>
                    <a:pt x="1008184" y="460941"/>
                  </a:lnTo>
                  <a:lnTo>
                    <a:pt x="1008692" y="462421"/>
                  </a:lnTo>
                  <a:lnTo>
                    <a:pt x="1008006" y="463687"/>
                  </a:lnTo>
                  <a:lnTo>
                    <a:pt x="1006604" y="464592"/>
                  </a:lnTo>
                  <a:lnTo>
                    <a:pt x="1004481" y="465132"/>
                  </a:lnTo>
                  <a:lnTo>
                    <a:pt x="1003141" y="465944"/>
                  </a:lnTo>
                  <a:lnTo>
                    <a:pt x="1002583" y="467022"/>
                  </a:lnTo>
                  <a:lnTo>
                    <a:pt x="1002269" y="468625"/>
                  </a:lnTo>
                  <a:lnTo>
                    <a:pt x="1002198" y="470749"/>
                  </a:lnTo>
                  <a:lnTo>
                    <a:pt x="1002736" y="474571"/>
                  </a:lnTo>
                  <a:lnTo>
                    <a:pt x="1002322" y="475087"/>
                  </a:lnTo>
                  <a:lnTo>
                    <a:pt x="1001526" y="475372"/>
                  </a:lnTo>
                  <a:lnTo>
                    <a:pt x="1000344" y="475423"/>
                  </a:lnTo>
                  <a:lnTo>
                    <a:pt x="999279" y="476318"/>
                  </a:lnTo>
                  <a:lnTo>
                    <a:pt x="996789" y="481390"/>
                  </a:lnTo>
                  <a:lnTo>
                    <a:pt x="995913" y="481939"/>
                  </a:lnTo>
                  <a:lnTo>
                    <a:pt x="994867" y="481396"/>
                  </a:lnTo>
                  <a:lnTo>
                    <a:pt x="993940" y="481454"/>
                  </a:lnTo>
                  <a:lnTo>
                    <a:pt x="993132" y="482115"/>
                  </a:lnTo>
                  <a:lnTo>
                    <a:pt x="991358" y="482619"/>
                  </a:lnTo>
                  <a:lnTo>
                    <a:pt x="988622" y="482965"/>
                  </a:lnTo>
                  <a:lnTo>
                    <a:pt x="986279" y="482835"/>
                  </a:lnTo>
                  <a:lnTo>
                    <a:pt x="982159" y="481738"/>
                  </a:lnTo>
                  <a:lnTo>
                    <a:pt x="980478" y="480965"/>
                  </a:lnTo>
                  <a:lnTo>
                    <a:pt x="979165" y="479698"/>
                  </a:lnTo>
                  <a:lnTo>
                    <a:pt x="975465" y="481041"/>
                  </a:lnTo>
                  <a:lnTo>
                    <a:pt x="974488" y="480453"/>
                  </a:lnTo>
                  <a:lnTo>
                    <a:pt x="972183" y="476939"/>
                  </a:lnTo>
                  <a:lnTo>
                    <a:pt x="971684" y="477150"/>
                  </a:lnTo>
                  <a:lnTo>
                    <a:pt x="971240" y="480935"/>
                  </a:lnTo>
                  <a:lnTo>
                    <a:pt x="970539" y="482261"/>
                  </a:lnTo>
                  <a:lnTo>
                    <a:pt x="968257" y="485000"/>
                  </a:lnTo>
                  <a:lnTo>
                    <a:pt x="967010" y="489710"/>
                  </a:lnTo>
                  <a:lnTo>
                    <a:pt x="966631" y="489848"/>
                  </a:lnTo>
                  <a:lnTo>
                    <a:pt x="966205" y="489170"/>
                  </a:lnTo>
                  <a:lnTo>
                    <a:pt x="964800" y="484963"/>
                  </a:lnTo>
                  <a:lnTo>
                    <a:pt x="964055" y="484039"/>
                  </a:lnTo>
                  <a:lnTo>
                    <a:pt x="961992" y="486467"/>
                  </a:lnTo>
                  <a:lnTo>
                    <a:pt x="961765" y="487344"/>
                  </a:lnTo>
                  <a:lnTo>
                    <a:pt x="962305" y="490474"/>
                  </a:lnTo>
                  <a:lnTo>
                    <a:pt x="961826" y="490946"/>
                  </a:lnTo>
                  <a:lnTo>
                    <a:pt x="957649" y="489261"/>
                  </a:lnTo>
                  <a:lnTo>
                    <a:pt x="956621" y="489180"/>
                  </a:lnTo>
                  <a:lnTo>
                    <a:pt x="956348" y="489464"/>
                  </a:lnTo>
                  <a:lnTo>
                    <a:pt x="957772" y="491890"/>
                  </a:lnTo>
                  <a:lnTo>
                    <a:pt x="957611" y="492764"/>
                  </a:lnTo>
                  <a:lnTo>
                    <a:pt x="951704" y="497445"/>
                  </a:lnTo>
                  <a:lnTo>
                    <a:pt x="950163" y="497279"/>
                  </a:lnTo>
                  <a:lnTo>
                    <a:pt x="949193" y="496812"/>
                  </a:lnTo>
                  <a:lnTo>
                    <a:pt x="948131" y="496883"/>
                  </a:lnTo>
                  <a:lnTo>
                    <a:pt x="944375" y="498628"/>
                  </a:lnTo>
                  <a:lnTo>
                    <a:pt x="943339" y="498552"/>
                  </a:lnTo>
                  <a:lnTo>
                    <a:pt x="941921" y="497518"/>
                  </a:lnTo>
                  <a:lnTo>
                    <a:pt x="941262" y="497564"/>
                  </a:lnTo>
                  <a:lnTo>
                    <a:pt x="940911" y="498637"/>
                  </a:lnTo>
                  <a:lnTo>
                    <a:pt x="940866" y="500733"/>
                  </a:lnTo>
                  <a:lnTo>
                    <a:pt x="939476" y="502725"/>
                  </a:lnTo>
                  <a:lnTo>
                    <a:pt x="935002" y="505940"/>
                  </a:lnTo>
                  <a:lnTo>
                    <a:pt x="933815" y="507417"/>
                  </a:lnTo>
                  <a:lnTo>
                    <a:pt x="932916" y="509437"/>
                  </a:lnTo>
                  <a:lnTo>
                    <a:pt x="932247" y="509629"/>
                  </a:lnTo>
                  <a:lnTo>
                    <a:pt x="929625" y="508331"/>
                  </a:lnTo>
                  <a:lnTo>
                    <a:pt x="926584" y="507489"/>
                  </a:lnTo>
                  <a:lnTo>
                    <a:pt x="926165" y="507908"/>
                  </a:lnTo>
                  <a:lnTo>
                    <a:pt x="927087" y="509142"/>
                  </a:lnTo>
                  <a:lnTo>
                    <a:pt x="926892" y="509897"/>
                  </a:lnTo>
                  <a:lnTo>
                    <a:pt x="925577" y="510179"/>
                  </a:lnTo>
                  <a:lnTo>
                    <a:pt x="923912" y="510070"/>
                  </a:lnTo>
                  <a:lnTo>
                    <a:pt x="921900" y="509570"/>
                  </a:lnTo>
                  <a:lnTo>
                    <a:pt x="919079" y="510136"/>
                  </a:lnTo>
                  <a:lnTo>
                    <a:pt x="915446" y="511765"/>
                  </a:lnTo>
                  <a:lnTo>
                    <a:pt x="912415" y="511719"/>
                  </a:lnTo>
                  <a:lnTo>
                    <a:pt x="908189" y="509035"/>
                  </a:lnTo>
                  <a:lnTo>
                    <a:pt x="907025" y="508834"/>
                  </a:lnTo>
                  <a:lnTo>
                    <a:pt x="906653" y="508080"/>
                  </a:lnTo>
                  <a:lnTo>
                    <a:pt x="907479" y="505907"/>
                  </a:lnTo>
                  <a:lnTo>
                    <a:pt x="908680" y="504261"/>
                  </a:lnTo>
                  <a:lnTo>
                    <a:pt x="909565" y="503503"/>
                  </a:lnTo>
                  <a:lnTo>
                    <a:pt x="913579" y="501393"/>
                  </a:lnTo>
                  <a:lnTo>
                    <a:pt x="918168" y="500617"/>
                  </a:lnTo>
                  <a:lnTo>
                    <a:pt x="921053" y="499347"/>
                  </a:lnTo>
                  <a:lnTo>
                    <a:pt x="924560" y="496723"/>
                  </a:lnTo>
                  <a:lnTo>
                    <a:pt x="926415" y="494749"/>
                  </a:lnTo>
                  <a:lnTo>
                    <a:pt x="930061" y="489659"/>
                  </a:lnTo>
                  <a:lnTo>
                    <a:pt x="929784" y="489265"/>
                  </a:lnTo>
                  <a:lnTo>
                    <a:pt x="928964" y="488991"/>
                  </a:lnTo>
                  <a:lnTo>
                    <a:pt x="920949" y="493817"/>
                  </a:lnTo>
                  <a:lnTo>
                    <a:pt x="919765" y="494268"/>
                  </a:lnTo>
                  <a:lnTo>
                    <a:pt x="918170" y="494233"/>
                  </a:lnTo>
                  <a:lnTo>
                    <a:pt x="911761" y="492385"/>
                  </a:lnTo>
                  <a:lnTo>
                    <a:pt x="910407" y="491591"/>
                  </a:lnTo>
                  <a:lnTo>
                    <a:pt x="909481" y="489268"/>
                  </a:lnTo>
                  <a:lnTo>
                    <a:pt x="911261" y="483979"/>
                  </a:lnTo>
                  <a:lnTo>
                    <a:pt x="912508" y="481420"/>
                  </a:lnTo>
                  <a:lnTo>
                    <a:pt x="915638" y="477463"/>
                  </a:lnTo>
                  <a:lnTo>
                    <a:pt x="919729" y="473237"/>
                  </a:lnTo>
                  <a:lnTo>
                    <a:pt x="921144" y="470489"/>
                  </a:lnTo>
                  <a:lnTo>
                    <a:pt x="923270" y="463126"/>
                  </a:lnTo>
                  <a:lnTo>
                    <a:pt x="923146" y="459780"/>
                  </a:lnTo>
                  <a:lnTo>
                    <a:pt x="922190" y="455688"/>
                  </a:lnTo>
                  <a:lnTo>
                    <a:pt x="922154" y="453257"/>
                  </a:lnTo>
                  <a:lnTo>
                    <a:pt x="923038" y="452487"/>
                  </a:lnTo>
                  <a:lnTo>
                    <a:pt x="932426" y="448693"/>
                  </a:lnTo>
                  <a:lnTo>
                    <a:pt x="936871" y="445848"/>
                  </a:lnTo>
                  <a:lnTo>
                    <a:pt x="945500" y="441637"/>
                  </a:lnTo>
                  <a:lnTo>
                    <a:pt x="947851" y="441673"/>
                  </a:lnTo>
                  <a:lnTo>
                    <a:pt x="949576" y="443125"/>
                  </a:lnTo>
                  <a:lnTo>
                    <a:pt x="951583" y="444285"/>
                  </a:lnTo>
                  <a:lnTo>
                    <a:pt x="953873" y="445151"/>
                  </a:lnTo>
                  <a:lnTo>
                    <a:pt x="956819" y="445061"/>
                  </a:lnTo>
                  <a:lnTo>
                    <a:pt x="960424" y="444012"/>
                  </a:lnTo>
                  <a:lnTo>
                    <a:pt x="966132" y="444409"/>
                  </a:lnTo>
                  <a:lnTo>
                    <a:pt x="977858" y="447177"/>
                  </a:lnTo>
                  <a:lnTo>
                    <a:pt x="980351" y="447333"/>
                  </a:lnTo>
                  <a:lnTo>
                    <a:pt x="980447" y="446980"/>
                  </a:lnTo>
                  <a:lnTo>
                    <a:pt x="978638" y="445040"/>
                  </a:lnTo>
                  <a:lnTo>
                    <a:pt x="970554" y="443915"/>
                  </a:lnTo>
                  <a:lnTo>
                    <a:pt x="967152" y="442790"/>
                  </a:lnTo>
                  <a:lnTo>
                    <a:pt x="957580" y="437833"/>
                  </a:lnTo>
                  <a:lnTo>
                    <a:pt x="955397" y="435916"/>
                  </a:lnTo>
                  <a:lnTo>
                    <a:pt x="956283" y="435016"/>
                  </a:lnTo>
                  <a:lnTo>
                    <a:pt x="958625" y="434276"/>
                  </a:lnTo>
                  <a:lnTo>
                    <a:pt x="959427" y="433559"/>
                  </a:lnTo>
                  <a:lnTo>
                    <a:pt x="959766" y="432315"/>
                  </a:lnTo>
                  <a:lnTo>
                    <a:pt x="961113" y="430611"/>
                  </a:lnTo>
                  <a:lnTo>
                    <a:pt x="963468" y="428438"/>
                  </a:lnTo>
                  <a:lnTo>
                    <a:pt x="967063" y="426335"/>
                  </a:lnTo>
                  <a:lnTo>
                    <a:pt x="973872" y="423212"/>
                  </a:lnTo>
                  <a:lnTo>
                    <a:pt x="971207" y="423078"/>
                  </a:lnTo>
                  <a:lnTo>
                    <a:pt x="966311" y="423653"/>
                  </a:lnTo>
                  <a:lnTo>
                    <a:pt x="964531" y="424252"/>
                  </a:lnTo>
                  <a:lnTo>
                    <a:pt x="961253" y="426488"/>
                  </a:lnTo>
                  <a:lnTo>
                    <a:pt x="959978" y="428062"/>
                  </a:lnTo>
                  <a:lnTo>
                    <a:pt x="958154" y="431128"/>
                  </a:lnTo>
                  <a:lnTo>
                    <a:pt x="957377" y="431708"/>
                  </a:lnTo>
                  <a:lnTo>
                    <a:pt x="953977" y="432152"/>
                  </a:lnTo>
                  <a:lnTo>
                    <a:pt x="944722" y="432462"/>
                  </a:lnTo>
                  <a:lnTo>
                    <a:pt x="943154" y="430895"/>
                  </a:lnTo>
                  <a:lnTo>
                    <a:pt x="942287" y="430640"/>
                  </a:lnTo>
                  <a:lnTo>
                    <a:pt x="941138" y="430861"/>
                  </a:lnTo>
                  <a:lnTo>
                    <a:pt x="932637" y="434862"/>
                  </a:lnTo>
                  <a:lnTo>
                    <a:pt x="929588" y="436901"/>
                  </a:lnTo>
                  <a:lnTo>
                    <a:pt x="927416" y="439225"/>
                  </a:lnTo>
                  <a:lnTo>
                    <a:pt x="924055" y="440926"/>
                  </a:lnTo>
                  <a:lnTo>
                    <a:pt x="919508" y="442004"/>
                  </a:lnTo>
                  <a:lnTo>
                    <a:pt x="916107" y="443340"/>
                  </a:lnTo>
                  <a:lnTo>
                    <a:pt x="912523" y="446005"/>
                  </a:lnTo>
                  <a:lnTo>
                    <a:pt x="911306" y="448045"/>
                  </a:lnTo>
                  <a:lnTo>
                    <a:pt x="911236" y="449004"/>
                  </a:lnTo>
                  <a:lnTo>
                    <a:pt x="912101" y="452026"/>
                  </a:lnTo>
                  <a:lnTo>
                    <a:pt x="911219" y="452590"/>
                  </a:lnTo>
                  <a:lnTo>
                    <a:pt x="909150" y="452828"/>
                  </a:lnTo>
                  <a:lnTo>
                    <a:pt x="905832" y="454827"/>
                  </a:lnTo>
                  <a:lnTo>
                    <a:pt x="898830" y="460758"/>
                  </a:lnTo>
                  <a:lnTo>
                    <a:pt x="897915" y="462906"/>
                  </a:lnTo>
                  <a:lnTo>
                    <a:pt x="897954" y="463642"/>
                  </a:lnTo>
                  <a:lnTo>
                    <a:pt x="899096" y="465316"/>
                  </a:lnTo>
                  <a:lnTo>
                    <a:pt x="898301" y="466403"/>
                  </a:lnTo>
                  <a:lnTo>
                    <a:pt x="896327" y="468119"/>
                  </a:lnTo>
                  <a:lnTo>
                    <a:pt x="891937" y="470835"/>
                  </a:lnTo>
                  <a:lnTo>
                    <a:pt x="889054" y="471868"/>
                  </a:lnTo>
                  <a:lnTo>
                    <a:pt x="887183" y="471921"/>
                  </a:lnTo>
                  <a:lnTo>
                    <a:pt x="885382" y="471533"/>
                  </a:lnTo>
                  <a:lnTo>
                    <a:pt x="882181" y="469784"/>
                  </a:lnTo>
                  <a:lnTo>
                    <a:pt x="879588" y="469678"/>
                  </a:lnTo>
                  <a:lnTo>
                    <a:pt x="879429" y="469923"/>
                  </a:lnTo>
                  <a:lnTo>
                    <a:pt x="882958" y="471794"/>
                  </a:lnTo>
                  <a:lnTo>
                    <a:pt x="886543" y="474200"/>
                  </a:lnTo>
                  <a:lnTo>
                    <a:pt x="888778" y="476194"/>
                  </a:lnTo>
                  <a:lnTo>
                    <a:pt x="889662" y="477778"/>
                  </a:lnTo>
                  <a:lnTo>
                    <a:pt x="889701" y="479407"/>
                  </a:lnTo>
                  <a:lnTo>
                    <a:pt x="888897" y="481081"/>
                  </a:lnTo>
                  <a:lnTo>
                    <a:pt x="886363" y="483988"/>
                  </a:lnTo>
                  <a:lnTo>
                    <a:pt x="883877" y="484857"/>
                  </a:lnTo>
                  <a:lnTo>
                    <a:pt x="877521" y="485733"/>
                  </a:lnTo>
                  <a:lnTo>
                    <a:pt x="875472" y="486424"/>
                  </a:lnTo>
                  <a:lnTo>
                    <a:pt x="874837" y="486964"/>
                  </a:lnTo>
                  <a:lnTo>
                    <a:pt x="879204" y="488189"/>
                  </a:lnTo>
                  <a:lnTo>
                    <a:pt x="879599" y="488816"/>
                  </a:lnTo>
                  <a:lnTo>
                    <a:pt x="878998" y="491245"/>
                  </a:lnTo>
                  <a:lnTo>
                    <a:pt x="877839" y="492039"/>
                  </a:lnTo>
                  <a:lnTo>
                    <a:pt x="874202" y="493488"/>
                  </a:lnTo>
                  <a:lnTo>
                    <a:pt x="870941" y="493908"/>
                  </a:lnTo>
                  <a:lnTo>
                    <a:pt x="870443" y="493631"/>
                  </a:lnTo>
                  <a:lnTo>
                    <a:pt x="871053" y="491722"/>
                  </a:lnTo>
                  <a:lnTo>
                    <a:pt x="870879" y="491252"/>
                  </a:lnTo>
                  <a:lnTo>
                    <a:pt x="869655" y="490862"/>
                  </a:lnTo>
                  <a:lnTo>
                    <a:pt x="867915" y="491590"/>
                  </a:lnTo>
                  <a:lnTo>
                    <a:pt x="863580" y="494395"/>
                  </a:lnTo>
                  <a:lnTo>
                    <a:pt x="863116" y="494858"/>
                  </a:lnTo>
                  <a:lnTo>
                    <a:pt x="864682" y="495608"/>
                  </a:lnTo>
                  <a:lnTo>
                    <a:pt x="864352" y="496234"/>
                  </a:lnTo>
                  <a:lnTo>
                    <a:pt x="862003" y="498251"/>
                  </a:lnTo>
                  <a:lnTo>
                    <a:pt x="861027" y="499591"/>
                  </a:lnTo>
                  <a:lnTo>
                    <a:pt x="859457" y="500958"/>
                  </a:lnTo>
                  <a:lnTo>
                    <a:pt x="852464" y="505130"/>
                  </a:lnTo>
                  <a:lnTo>
                    <a:pt x="852995" y="506145"/>
                  </a:lnTo>
                  <a:lnTo>
                    <a:pt x="851175" y="509775"/>
                  </a:lnTo>
                  <a:lnTo>
                    <a:pt x="850168" y="512960"/>
                  </a:lnTo>
                  <a:lnTo>
                    <a:pt x="851404" y="514303"/>
                  </a:lnTo>
                  <a:lnTo>
                    <a:pt x="857279" y="515877"/>
                  </a:lnTo>
                  <a:lnTo>
                    <a:pt x="860126" y="516256"/>
                  </a:lnTo>
                  <a:lnTo>
                    <a:pt x="863482" y="517356"/>
                  </a:lnTo>
                  <a:lnTo>
                    <a:pt x="869556" y="520310"/>
                  </a:lnTo>
                  <a:lnTo>
                    <a:pt x="871580" y="522239"/>
                  </a:lnTo>
                  <a:lnTo>
                    <a:pt x="871883" y="523146"/>
                  </a:lnTo>
                  <a:lnTo>
                    <a:pt x="871695" y="524139"/>
                  </a:lnTo>
                  <a:lnTo>
                    <a:pt x="870968" y="525473"/>
                  </a:lnTo>
                  <a:lnTo>
                    <a:pt x="869064" y="527996"/>
                  </a:lnTo>
                  <a:lnTo>
                    <a:pt x="864478" y="531737"/>
                  </a:lnTo>
                  <a:lnTo>
                    <a:pt x="862406" y="532797"/>
                  </a:lnTo>
                  <a:lnTo>
                    <a:pt x="859270" y="533628"/>
                  </a:lnTo>
                  <a:lnTo>
                    <a:pt x="858238" y="534235"/>
                  </a:lnTo>
                  <a:lnTo>
                    <a:pt x="854210" y="537772"/>
                  </a:lnTo>
                  <a:lnTo>
                    <a:pt x="853124" y="539680"/>
                  </a:lnTo>
                  <a:lnTo>
                    <a:pt x="853295" y="541339"/>
                  </a:lnTo>
                  <a:lnTo>
                    <a:pt x="852526" y="542505"/>
                  </a:lnTo>
                  <a:lnTo>
                    <a:pt x="847344" y="544791"/>
                  </a:lnTo>
                  <a:lnTo>
                    <a:pt x="847528" y="545196"/>
                  </a:lnTo>
                  <a:lnTo>
                    <a:pt x="849409" y="545370"/>
                  </a:lnTo>
                  <a:lnTo>
                    <a:pt x="848718" y="547379"/>
                  </a:lnTo>
                  <a:lnTo>
                    <a:pt x="848415" y="550170"/>
                  </a:lnTo>
                  <a:lnTo>
                    <a:pt x="847515" y="550639"/>
                  </a:lnTo>
                  <a:lnTo>
                    <a:pt x="844277" y="550619"/>
                  </a:lnTo>
                  <a:lnTo>
                    <a:pt x="840161" y="551702"/>
                  </a:lnTo>
                  <a:lnTo>
                    <a:pt x="839871" y="552010"/>
                  </a:lnTo>
                  <a:lnTo>
                    <a:pt x="839795" y="554014"/>
                  </a:lnTo>
                  <a:lnTo>
                    <a:pt x="829032" y="555479"/>
                  </a:lnTo>
                  <a:lnTo>
                    <a:pt x="826674" y="559279"/>
                  </a:lnTo>
                  <a:lnTo>
                    <a:pt x="825447" y="560441"/>
                  </a:lnTo>
                  <a:lnTo>
                    <a:pt x="821228" y="563199"/>
                  </a:lnTo>
                  <a:lnTo>
                    <a:pt x="818646" y="564307"/>
                  </a:lnTo>
                  <a:lnTo>
                    <a:pt x="815695" y="564977"/>
                  </a:lnTo>
                  <a:lnTo>
                    <a:pt x="814150" y="565910"/>
                  </a:lnTo>
                  <a:lnTo>
                    <a:pt x="814006" y="567107"/>
                  </a:lnTo>
                  <a:lnTo>
                    <a:pt x="813168" y="568139"/>
                  </a:lnTo>
                  <a:lnTo>
                    <a:pt x="810611" y="569849"/>
                  </a:lnTo>
                  <a:lnTo>
                    <a:pt x="809360" y="571997"/>
                  </a:lnTo>
                  <a:lnTo>
                    <a:pt x="808450" y="572334"/>
                  </a:lnTo>
                  <a:lnTo>
                    <a:pt x="803691" y="572851"/>
                  </a:lnTo>
                  <a:lnTo>
                    <a:pt x="802744" y="573529"/>
                  </a:lnTo>
                  <a:lnTo>
                    <a:pt x="802284" y="576428"/>
                  </a:lnTo>
                  <a:lnTo>
                    <a:pt x="801403" y="576519"/>
                  </a:lnTo>
                  <a:lnTo>
                    <a:pt x="799717" y="575845"/>
                  </a:lnTo>
                  <a:lnTo>
                    <a:pt x="797518" y="576367"/>
                  </a:lnTo>
                  <a:lnTo>
                    <a:pt x="792578" y="579640"/>
                  </a:lnTo>
                  <a:lnTo>
                    <a:pt x="791493" y="580815"/>
                  </a:lnTo>
                  <a:lnTo>
                    <a:pt x="791613" y="581446"/>
                  </a:lnTo>
                  <a:lnTo>
                    <a:pt x="792382" y="582069"/>
                  </a:lnTo>
                  <a:lnTo>
                    <a:pt x="793553" y="584011"/>
                  </a:lnTo>
                  <a:lnTo>
                    <a:pt x="793480" y="585319"/>
                  </a:lnTo>
                  <a:lnTo>
                    <a:pt x="791575" y="588960"/>
                  </a:lnTo>
                  <a:lnTo>
                    <a:pt x="790908" y="589522"/>
                  </a:lnTo>
                  <a:lnTo>
                    <a:pt x="788593" y="590424"/>
                  </a:lnTo>
                  <a:lnTo>
                    <a:pt x="787650" y="592435"/>
                  </a:lnTo>
                  <a:lnTo>
                    <a:pt x="785517" y="592212"/>
                  </a:lnTo>
                  <a:lnTo>
                    <a:pt x="783802" y="592593"/>
                  </a:lnTo>
                  <a:lnTo>
                    <a:pt x="782679" y="593934"/>
                  </a:lnTo>
                  <a:lnTo>
                    <a:pt x="781459" y="594706"/>
                  </a:lnTo>
                  <a:lnTo>
                    <a:pt x="780140" y="594909"/>
                  </a:lnTo>
                  <a:lnTo>
                    <a:pt x="778482" y="595970"/>
                  </a:lnTo>
                  <a:lnTo>
                    <a:pt x="776485" y="597890"/>
                  </a:lnTo>
                  <a:lnTo>
                    <a:pt x="774637" y="599114"/>
                  </a:lnTo>
                  <a:lnTo>
                    <a:pt x="772938" y="599641"/>
                  </a:lnTo>
                  <a:lnTo>
                    <a:pt x="771285" y="599771"/>
                  </a:lnTo>
                  <a:lnTo>
                    <a:pt x="769676" y="599502"/>
                  </a:lnTo>
                  <a:lnTo>
                    <a:pt x="768231" y="599723"/>
                  </a:lnTo>
                  <a:lnTo>
                    <a:pt x="766947" y="600431"/>
                  </a:lnTo>
                  <a:lnTo>
                    <a:pt x="765695" y="601542"/>
                  </a:lnTo>
                  <a:lnTo>
                    <a:pt x="764698" y="604685"/>
                  </a:lnTo>
                  <a:lnTo>
                    <a:pt x="763433" y="606091"/>
                  </a:lnTo>
                  <a:lnTo>
                    <a:pt x="762631" y="606336"/>
                  </a:lnTo>
                  <a:lnTo>
                    <a:pt x="760996" y="606128"/>
                  </a:lnTo>
                  <a:lnTo>
                    <a:pt x="758526" y="605467"/>
                  </a:lnTo>
                  <a:lnTo>
                    <a:pt x="756016" y="605701"/>
                  </a:lnTo>
                  <a:lnTo>
                    <a:pt x="751966" y="607625"/>
                  </a:lnTo>
                  <a:lnTo>
                    <a:pt x="750679" y="609079"/>
                  </a:lnTo>
                  <a:lnTo>
                    <a:pt x="753231" y="609401"/>
                  </a:lnTo>
                  <a:lnTo>
                    <a:pt x="754496" y="609816"/>
                  </a:lnTo>
                  <a:lnTo>
                    <a:pt x="754463" y="610223"/>
                  </a:lnTo>
                  <a:lnTo>
                    <a:pt x="753132" y="610617"/>
                  </a:lnTo>
                  <a:lnTo>
                    <a:pt x="750867" y="610589"/>
                  </a:lnTo>
                  <a:lnTo>
                    <a:pt x="749505" y="610927"/>
                  </a:lnTo>
                  <a:lnTo>
                    <a:pt x="747845" y="611754"/>
                  </a:lnTo>
                  <a:lnTo>
                    <a:pt x="743685" y="612646"/>
                  </a:lnTo>
                  <a:lnTo>
                    <a:pt x="742105" y="613285"/>
                  </a:lnTo>
                  <a:lnTo>
                    <a:pt x="738967" y="616914"/>
                  </a:lnTo>
                  <a:lnTo>
                    <a:pt x="738591" y="617736"/>
                  </a:lnTo>
                  <a:lnTo>
                    <a:pt x="738993" y="617917"/>
                  </a:lnTo>
                  <a:lnTo>
                    <a:pt x="740755" y="617535"/>
                  </a:lnTo>
                  <a:lnTo>
                    <a:pt x="742825" y="618137"/>
                  </a:lnTo>
                  <a:lnTo>
                    <a:pt x="743901" y="618905"/>
                  </a:lnTo>
                  <a:lnTo>
                    <a:pt x="744590" y="619850"/>
                  </a:lnTo>
                  <a:lnTo>
                    <a:pt x="745243" y="621670"/>
                  </a:lnTo>
                  <a:lnTo>
                    <a:pt x="745645" y="621937"/>
                  </a:lnTo>
                  <a:lnTo>
                    <a:pt x="741660" y="624992"/>
                  </a:lnTo>
                  <a:lnTo>
                    <a:pt x="740530" y="626287"/>
                  </a:lnTo>
                  <a:lnTo>
                    <a:pt x="739802" y="626768"/>
                  </a:lnTo>
                  <a:lnTo>
                    <a:pt x="739325" y="626395"/>
                  </a:lnTo>
                  <a:lnTo>
                    <a:pt x="738833" y="622997"/>
                  </a:lnTo>
                  <a:lnTo>
                    <a:pt x="738534" y="622420"/>
                  </a:lnTo>
                  <a:lnTo>
                    <a:pt x="737596" y="622360"/>
                  </a:lnTo>
                  <a:lnTo>
                    <a:pt x="736689" y="623435"/>
                  </a:lnTo>
                  <a:lnTo>
                    <a:pt x="734695" y="627453"/>
                  </a:lnTo>
                  <a:lnTo>
                    <a:pt x="732528" y="629472"/>
                  </a:lnTo>
                  <a:lnTo>
                    <a:pt x="716212" y="634650"/>
                  </a:lnTo>
                  <a:lnTo>
                    <a:pt x="713819" y="635823"/>
                  </a:lnTo>
                  <a:lnTo>
                    <a:pt x="713358" y="638029"/>
                  </a:lnTo>
                  <a:lnTo>
                    <a:pt x="712686" y="639936"/>
                  </a:lnTo>
                  <a:lnTo>
                    <a:pt x="711604" y="641455"/>
                  </a:lnTo>
                  <a:lnTo>
                    <a:pt x="710339" y="642416"/>
                  </a:lnTo>
                  <a:lnTo>
                    <a:pt x="710067" y="641734"/>
                  </a:lnTo>
                  <a:lnTo>
                    <a:pt x="710195" y="636366"/>
                  </a:lnTo>
                  <a:lnTo>
                    <a:pt x="709858" y="635298"/>
                  </a:lnTo>
                  <a:lnTo>
                    <a:pt x="708212" y="634613"/>
                  </a:lnTo>
                  <a:lnTo>
                    <a:pt x="707488" y="634707"/>
                  </a:lnTo>
                  <a:lnTo>
                    <a:pt x="706494" y="635009"/>
                  </a:lnTo>
                  <a:lnTo>
                    <a:pt x="704861" y="636171"/>
                  </a:lnTo>
                  <a:lnTo>
                    <a:pt x="703862" y="636462"/>
                  </a:lnTo>
                  <a:lnTo>
                    <a:pt x="702618" y="636366"/>
                  </a:lnTo>
                  <a:lnTo>
                    <a:pt x="700493" y="637511"/>
                  </a:lnTo>
                  <a:lnTo>
                    <a:pt x="695437" y="641177"/>
                  </a:lnTo>
                  <a:lnTo>
                    <a:pt x="692136" y="642088"/>
                  </a:lnTo>
                  <a:lnTo>
                    <a:pt x="691263" y="642849"/>
                  </a:lnTo>
                  <a:lnTo>
                    <a:pt x="689853" y="644850"/>
                  </a:lnTo>
                  <a:lnTo>
                    <a:pt x="688920" y="645583"/>
                  </a:lnTo>
                  <a:lnTo>
                    <a:pt x="687537" y="645648"/>
                  </a:lnTo>
                  <a:lnTo>
                    <a:pt x="685707" y="645045"/>
                  </a:lnTo>
                  <a:lnTo>
                    <a:pt x="684236" y="645472"/>
                  </a:lnTo>
                  <a:lnTo>
                    <a:pt x="683123" y="646928"/>
                  </a:lnTo>
                  <a:lnTo>
                    <a:pt x="681992" y="647503"/>
                  </a:lnTo>
                  <a:lnTo>
                    <a:pt x="678782" y="646430"/>
                  </a:lnTo>
                  <a:lnTo>
                    <a:pt x="677365" y="647163"/>
                  </a:lnTo>
                  <a:lnTo>
                    <a:pt x="675529" y="649042"/>
                  </a:lnTo>
                  <a:lnTo>
                    <a:pt x="673609" y="650280"/>
                  </a:lnTo>
                  <a:lnTo>
                    <a:pt x="671606" y="650881"/>
                  </a:lnTo>
                  <a:lnTo>
                    <a:pt x="666403" y="651507"/>
                  </a:lnTo>
                  <a:lnTo>
                    <a:pt x="664314" y="651107"/>
                  </a:lnTo>
                  <a:lnTo>
                    <a:pt x="663889" y="650563"/>
                  </a:lnTo>
                  <a:lnTo>
                    <a:pt x="663986" y="648168"/>
                  </a:lnTo>
                  <a:lnTo>
                    <a:pt x="664826" y="646442"/>
                  </a:lnTo>
                  <a:lnTo>
                    <a:pt x="665603" y="645626"/>
                  </a:lnTo>
                  <a:lnTo>
                    <a:pt x="666639" y="644905"/>
                  </a:lnTo>
                  <a:lnTo>
                    <a:pt x="668155" y="644822"/>
                  </a:lnTo>
                  <a:lnTo>
                    <a:pt x="670991" y="645360"/>
                  </a:lnTo>
                  <a:lnTo>
                    <a:pt x="670670" y="644781"/>
                  </a:lnTo>
                  <a:lnTo>
                    <a:pt x="669639" y="644094"/>
                  </a:lnTo>
                  <a:lnTo>
                    <a:pt x="667028" y="642907"/>
                  </a:lnTo>
                  <a:lnTo>
                    <a:pt x="664442" y="642301"/>
                  </a:lnTo>
                  <a:lnTo>
                    <a:pt x="662960" y="642685"/>
                  </a:lnTo>
                  <a:lnTo>
                    <a:pt x="660872" y="643599"/>
                  </a:lnTo>
                  <a:lnTo>
                    <a:pt x="659455" y="644652"/>
                  </a:lnTo>
                  <a:lnTo>
                    <a:pt x="658710" y="645847"/>
                  </a:lnTo>
                  <a:lnTo>
                    <a:pt x="657769" y="649746"/>
                  </a:lnTo>
                  <a:lnTo>
                    <a:pt x="657230" y="650799"/>
                  </a:lnTo>
                  <a:lnTo>
                    <a:pt x="651138" y="657654"/>
                  </a:lnTo>
                  <a:lnTo>
                    <a:pt x="648749" y="659763"/>
                  </a:lnTo>
                  <a:lnTo>
                    <a:pt x="646387" y="659605"/>
                  </a:lnTo>
                  <a:lnTo>
                    <a:pt x="645242" y="660401"/>
                  </a:lnTo>
                  <a:lnTo>
                    <a:pt x="643630" y="662108"/>
                  </a:lnTo>
                  <a:lnTo>
                    <a:pt x="642144" y="662925"/>
                  </a:lnTo>
                  <a:lnTo>
                    <a:pt x="640780" y="662850"/>
                  </a:lnTo>
                  <a:lnTo>
                    <a:pt x="639721" y="662527"/>
                  </a:lnTo>
                  <a:lnTo>
                    <a:pt x="638966" y="661951"/>
                  </a:lnTo>
                  <a:lnTo>
                    <a:pt x="639097" y="661414"/>
                  </a:lnTo>
                  <a:lnTo>
                    <a:pt x="640113" y="660914"/>
                  </a:lnTo>
                  <a:lnTo>
                    <a:pt x="639750" y="659546"/>
                  </a:lnTo>
                  <a:lnTo>
                    <a:pt x="638002" y="657305"/>
                  </a:lnTo>
                  <a:lnTo>
                    <a:pt x="636812" y="656085"/>
                  </a:lnTo>
                  <a:lnTo>
                    <a:pt x="634555" y="655945"/>
                  </a:lnTo>
                  <a:lnTo>
                    <a:pt x="634204" y="656964"/>
                  </a:lnTo>
                  <a:lnTo>
                    <a:pt x="634966" y="662172"/>
                  </a:lnTo>
                  <a:lnTo>
                    <a:pt x="634848" y="663345"/>
                  </a:lnTo>
                  <a:lnTo>
                    <a:pt x="633434" y="664829"/>
                  </a:lnTo>
                  <a:lnTo>
                    <a:pt x="629728" y="666481"/>
                  </a:lnTo>
                  <a:lnTo>
                    <a:pt x="628569" y="666320"/>
                  </a:lnTo>
                  <a:lnTo>
                    <a:pt x="625231" y="663059"/>
                  </a:lnTo>
                  <a:lnTo>
                    <a:pt x="622075" y="662412"/>
                  </a:lnTo>
                  <a:lnTo>
                    <a:pt x="621865" y="663474"/>
                  </a:lnTo>
                  <a:lnTo>
                    <a:pt x="622571" y="665642"/>
                  </a:lnTo>
                  <a:lnTo>
                    <a:pt x="621783" y="667666"/>
                  </a:lnTo>
                  <a:lnTo>
                    <a:pt x="619500" y="669548"/>
                  </a:lnTo>
                  <a:lnTo>
                    <a:pt x="617764" y="670461"/>
                  </a:lnTo>
                  <a:lnTo>
                    <a:pt x="616573" y="670405"/>
                  </a:lnTo>
                  <a:lnTo>
                    <a:pt x="616507" y="669088"/>
                  </a:lnTo>
                  <a:lnTo>
                    <a:pt x="617566" y="666506"/>
                  </a:lnTo>
                  <a:lnTo>
                    <a:pt x="617839" y="664355"/>
                  </a:lnTo>
                  <a:lnTo>
                    <a:pt x="617322" y="662630"/>
                  </a:lnTo>
                  <a:lnTo>
                    <a:pt x="617380" y="661306"/>
                  </a:lnTo>
                  <a:lnTo>
                    <a:pt x="618014" y="660384"/>
                  </a:lnTo>
                  <a:lnTo>
                    <a:pt x="622205" y="657820"/>
                  </a:lnTo>
                  <a:lnTo>
                    <a:pt x="623970" y="657437"/>
                  </a:lnTo>
                  <a:lnTo>
                    <a:pt x="624915" y="658073"/>
                  </a:lnTo>
                  <a:lnTo>
                    <a:pt x="626097" y="658180"/>
                  </a:lnTo>
                  <a:lnTo>
                    <a:pt x="627510" y="657763"/>
                  </a:lnTo>
                  <a:lnTo>
                    <a:pt x="628401" y="656943"/>
                  </a:lnTo>
                  <a:lnTo>
                    <a:pt x="628771" y="655719"/>
                  </a:lnTo>
                  <a:lnTo>
                    <a:pt x="630580" y="654151"/>
                  </a:lnTo>
                  <a:lnTo>
                    <a:pt x="633825" y="652239"/>
                  </a:lnTo>
                  <a:lnTo>
                    <a:pt x="637540" y="648701"/>
                  </a:lnTo>
                  <a:lnTo>
                    <a:pt x="641725" y="643532"/>
                  </a:lnTo>
                  <a:lnTo>
                    <a:pt x="646628" y="639070"/>
                  </a:lnTo>
                  <a:lnTo>
                    <a:pt x="652254" y="635316"/>
                  </a:lnTo>
                  <a:lnTo>
                    <a:pt x="658358" y="632336"/>
                  </a:lnTo>
                  <a:lnTo>
                    <a:pt x="670646" y="628231"/>
                  </a:lnTo>
                  <a:lnTo>
                    <a:pt x="671591" y="628483"/>
                  </a:lnTo>
                  <a:lnTo>
                    <a:pt x="670469" y="629813"/>
                  </a:lnTo>
                  <a:lnTo>
                    <a:pt x="671235" y="630645"/>
                  </a:lnTo>
                  <a:lnTo>
                    <a:pt x="672443" y="630751"/>
                  </a:lnTo>
                  <a:lnTo>
                    <a:pt x="676946" y="630094"/>
                  </a:lnTo>
                  <a:lnTo>
                    <a:pt x="678733" y="629230"/>
                  </a:lnTo>
                  <a:lnTo>
                    <a:pt x="679263" y="630061"/>
                  </a:lnTo>
                  <a:lnTo>
                    <a:pt x="678637" y="631112"/>
                  </a:lnTo>
                  <a:lnTo>
                    <a:pt x="675933" y="632174"/>
                  </a:lnTo>
                  <a:lnTo>
                    <a:pt x="676009" y="633055"/>
                  </a:lnTo>
                  <a:lnTo>
                    <a:pt x="679940" y="637190"/>
                  </a:lnTo>
                  <a:lnTo>
                    <a:pt x="681176" y="637816"/>
                  </a:lnTo>
                  <a:lnTo>
                    <a:pt x="682203" y="637739"/>
                  </a:lnTo>
                  <a:lnTo>
                    <a:pt x="682639" y="637204"/>
                  </a:lnTo>
                  <a:lnTo>
                    <a:pt x="682310" y="634223"/>
                  </a:lnTo>
                  <a:lnTo>
                    <a:pt x="683637" y="633655"/>
                  </a:lnTo>
                  <a:lnTo>
                    <a:pt x="686358" y="633517"/>
                  </a:lnTo>
                  <a:lnTo>
                    <a:pt x="688131" y="633905"/>
                  </a:lnTo>
                  <a:lnTo>
                    <a:pt x="688955" y="634824"/>
                  </a:lnTo>
                  <a:lnTo>
                    <a:pt x="690510" y="635584"/>
                  </a:lnTo>
                  <a:lnTo>
                    <a:pt x="692796" y="636185"/>
                  </a:lnTo>
                  <a:lnTo>
                    <a:pt x="694215" y="636001"/>
                  </a:lnTo>
                  <a:lnTo>
                    <a:pt x="694765" y="635028"/>
                  </a:lnTo>
                  <a:lnTo>
                    <a:pt x="693787" y="633870"/>
                  </a:lnTo>
                  <a:lnTo>
                    <a:pt x="689415" y="631322"/>
                  </a:lnTo>
                  <a:lnTo>
                    <a:pt x="688203" y="630259"/>
                  </a:lnTo>
                  <a:lnTo>
                    <a:pt x="687906" y="628776"/>
                  </a:lnTo>
                  <a:lnTo>
                    <a:pt x="688526" y="626875"/>
                  </a:lnTo>
                  <a:lnTo>
                    <a:pt x="689901" y="624053"/>
                  </a:lnTo>
                  <a:lnTo>
                    <a:pt x="692027" y="620307"/>
                  </a:lnTo>
                  <a:lnTo>
                    <a:pt x="693951" y="617685"/>
                  </a:lnTo>
                  <a:lnTo>
                    <a:pt x="697849" y="614714"/>
                  </a:lnTo>
                  <a:lnTo>
                    <a:pt x="700477" y="613244"/>
                  </a:lnTo>
                  <a:lnTo>
                    <a:pt x="707140" y="608732"/>
                  </a:lnTo>
                  <a:lnTo>
                    <a:pt x="719944" y="604127"/>
                  </a:lnTo>
                  <a:lnTo>
                    <a:pt x="723110" y="601168"/>
                  </a:lnTo>
                  <a:lnTo>
                    <a:pt x="727412" y="597896"/>
                  </a:lnTo>
                  <a:lnTo>
                    <a:pt x="729258" y="597090"/>
                  </a:lnTo>
                  <a:lnTo>
                    <a:pt x="729258" y="598355"/>
                  </a:lnTo>
                  <a:lnTo>
                    <a:pt x="729848" y="599483"/>
                  </a:lnTo>
                  <a:lnTo>
                    <a:pt x="732726" y="600234"/>
                  </a:lnTo>
                  <a:lnTo>
                    <a:pt x="734595" y="600495"/>
                  </a:lnTo>
                  <a:lnTo>
                    <a:pt x="735454" y="600266"/>
                  </a:lnTo>
                  <a:lnTo>
                    <a:pt x="735690" y="599064"/>
                  </a:lnTo>
                  <a:lnTo>
                    <a:pt x="735303" y="596889"/>
                  </a:lnTo>
                  <a:lnTo>
                    <a:pt x="735208" y="594830"/>
                  </a:lnTo>
                  <a:lnTo>
                    <a:pt x="735400" y="592894"/>
                  </a:lnTo>
                  <a:lnTo>
                    <a:pt x="735819" y="591361"/>
                  </a:lnTo>
                  <a:lnTo>
                    <a:pt x="737738" y="588636"/>
                  </a:lnTo>
                  <a:lnTo>
                    <a:pt x="740592" y="585529"/>
                  </a:lnTo>
                  <a:lnTo>
                    <a:pt x="744489" y="581913"/>
                  </a:lnTo>
                  <a:lnTo>
                    <a:pt x="746949" y="580273"/>
                  </a:lnTo>
                  <a:lnTo>
                    <a:pt x="749269" y="579403"/>
                  </a:lnTo>
                  <a:lnTo>
                    <a:pt x="751511" y="577825"/>
                  </a:lnTo>
                  <a:lnTo>
                    <a:pt x="755372" y="574085"/>
                  </a:lnTo>
                  <a:lnTo>
                    <a:pt x="756612" y="573470"/>
                  </a:lnTo>
                  <a:lnTo>
                    <a:pt x="759380" y="572734"/>
                  </a:lnTo>
                  <a:lnTo>
                    <a:pt x="760395" y="573060"/>
                  </a:lnTo>
                  <a:lnTo>
                    <a:pt x="760992" y="573999"/>
                  </a:lnTo>
                  <a:lnTo>
                    <a:pt x="761718" y="574583"/>
                  </a:lnTo>
                  <a:lnTo>
                    <a:pt x="764531" y="575110"/>
                  </a:lnTo>
                  <a:lnTo>
                    <a:pt x="766403" y="574275"/>
                  </a:lnTo>
                  <a:lnTo>
                    <a:pt x="766098" y="573834"/>
                  </a:lnTo>
                  <a:lnTo>
                    <a:pt x="764577" y="573552"/>
                  </a:lnTo>
                  <a:lnTo>
                    <a:pt x="763605" y="573009"/>
                  </a:lnTo>
                  <a:lnTo>
                    <a:pt x="762687" y="570773"/>
                  </a:lnTo>
                  <a:lnTo>
                    <a:pt x="760823" y="569426"/>
                  </a:lnTo>
                  <a:lnTo>
                    <a:pt x="760401" y="567905"/>
                  </a:lnTo>
                  <a:lnTo>
                    <a:pt x="760737" y="565531"/>
                  </a:lnTo>
                  <a:lnTo>
                    <a:pt x="762340" y="559948"/>
                  </a:lnTo>
                  <a:lnTo>
                    <a:pt x="762604" y="554193"/>
                  </a:lnTo>
                  <a:lnTo>
                    <a:pt x="764028" y="550892"/>
                  </a:lnTo>
                  <a:lnTo>
                    <a:pt x="766893" y="549697"/>
                  </a:lnTo>
                  <a:lnTo>
                    <a:pt x="773246" y="548880"/>
                  </a:lnTo>
                  <a:lnTo>
                    <a:pt x="769528" y="547384"/>
                  </a:lnTo>
                  <a:lnTo>
                    <a:pt x="768145" y="547372"/>
                  </a:lnTo>
                  <a:lnTo>
                    <a:pt x="765728" y="546671"/>
                  </a:lnTo>
                  <a:lnTo>
                    <a:pt x="764809" y="543066"/>
                  </a:lnTo>
                  <a:lnTo>
                    <a:pt x="764829" y="540441"/>
                  </a:lnTo>
                  <a:lnTo>
                    <a:pt x="766429" y="537397"/>
                  </a:lnTo>
                  <a:lnTo>
                    <a:pt x="772348" y="532253"/>
                  </a:lnTo>
                  <a:lnTo>
                    <a:pt x="778833" y="528688"/>
                  </a:lnTo>
                  <a:lnTo>
                    <a:pt x="777956" y="528394"/>
                  </a:lnTo>
                  <a:lnTo>
                    <a:pt x="777153" y="527333"/>
                  </a:lnTo>
                  <a:lnTo>
                    <a:pt x="780144" y="520171"/>
                  </a:lnTo>
                  <a:lnTo>
                    <a:pt x="783063" y="513761"/>
                  </a:lnTo>
                  <a:lnTo>
                    <a:pt x="779120" y="519226"/>
                  </a:lnTo>
                  <a:lnTo>
                    <a:pt x="774564" y="523397"/>
                  </a:lnTo>
                  <a:lnTo>
                    <a:pt x="761204" y="528233"/>
                  </a:lnTo>
                  <a:lnTo>
                    <a:pt x="752117" y="532280"/>
                  </a:lnTo>
                  <a:lnTo>
                    <a:pt x="747806" y="533248"/>
                  </a:lnTo>
                  <a:lnTo>
                    <a:pt x="744958" y="532220"/>
                  </a:lnTo>
                  <a:lnTo>
                    <a:pt x="742737" y="528339"/>
                  </a:lnTo>
                  <a:lnTo>
                    <a:pt x="741470" y="526956"/>
                  </a:lnTo>
                  <a:lnTo>
                    <a:pt x="739841" y="524420"/>
                  </a:lnTo>
                  <a:lnTo>
                    <a:pt x="740527" y="521120"/>
                  </a:lnTo>
                  <a:lnTo>
                    <a:pt x="741818" y="518833"/>
                  </a:lnTo>
                  <a:lnTo>
                    <a:pt x="744653" y="518457"/>
                  </a:lnTo>
                  <a:lnTo>
                    <a:pt x="747850" y="519561"/>
                  </a:lnTo>
                  <a:lnTo>
                    <a:pt x="750622" y="519654"/>
                  </a:lnTo>
                  <a:lnTo>
                    <a:pt x="747048" y="517400"/>
                  </a:lnTo>
                  <a:lnTo>
                    <a:pt x="741890" y="515432"/>
                  </a:lnTo>
                  <a:lnTo>
                    <a:pt x="739554" y="516071"/>
                  </a:lnTo>
                  <a:lnTo>
                    <a:pt x="737767" y="519266"/>
                  </a:lnTo>
                  <a:lnTo>
                    <a:pt x="735374" y="521457"/>
                  </a:lnTo>
                  <a:lnTo>
                    <a:pt x="733274" y="520681"/>
                  </a:lnTo>
                  <a:lnTo>
                    <a:pt x="732026" y="519788"/>
                  </a:lnTo>
                  <a:lnTo>
                    <a:pt x="732893" y="522464"/>
                  </a:lnTo>
                  <a:lnTo>
                    <a:pt x="731305" y="526532"/>
                  </a:lnTo>
                  <a:lnTo>
                    <a:pt x="730703" y="529345"/>
                  </a:lnTo>
                  <a:lnTo>
                    <a:pt x="732979" y="536753"/>
                  </a:lnTo>
                  <a:lnTo>
                    <a:pt x="732559" y="539709"/>
                  </a:lnTo>
                  <a:lnTo>
                    <a:pt x="728425" y="541064"/>
                  </a:lnTo>
                  <a:lnTo>
                    <a:pt x="725057" y="538636"/>
                  </a:lnTo>
                  <a:lnTo>
                    <a:pt x="718029" y="529250"/>
                  </a:lnTo>
                  <a:lnTo>
                    <a:pt x="715579" y="526571"/>
                  </a:lnTo>
                  <a:lnTo>
                    <a:pt x="710067" y="522142"/>
                  </a:lnTo>
                  <a:lnTo>
                    <a:pt x="708251" y="522773"/>
                  </a:lnTo>
                  <a:lnTo>
                    <a:pt x="705936" y="524958"/>
                  </a:lnTo>
                  <a:lnTo>
                    <a:pt x="703693" y="525562"/>
                  </a:lnTo>
                  <a:lnTo>
                    <a:pt x="697764" y="522339"/>
                  </a:lnTo>
                  <a:lnTo>
                    <a:pt x="695005" y="519877"/>
                  </a:lnTo>
                  <a:lnTo>
                    <a:pt x="692394" y="516886"/>
                  </a:lnTo>
                  <a:lnTo>
                    <a:pt x="688394" y="518533"/>
                  </a:lnTo>
                  <a:lnTo>
                    <a:pt x="684905" y="520493"/>
                  </a:lnTo>
                  <a:lnTo>
                    <a:pt x="680813" y="523621"/>
                  </a:lnTo>
                  <a:lnTo>
                    <a:pt x="678079" y="523593"/>
                  </a:lnTo>
                  <a:lnTo>
                    <a:pt x="670639" y="526269"/>
                  </a:lnTo>
                  <a:lnTo>
                    <a:pt x="669850" y="526326"/>
                  </a:lnTo>
                  <a:lnTo>
                    <a:pt x="668804" y="527767"/>
                  </a:lnTo>
                  <a:lnTo>
                    <a:pt x="667777" y="528412"/>
                  </a:lnTo>
                  <a:lnTo>
                    <a:pt x="666928" y="531185"/>
                  </a:lnTo>
                  <a:lnTo>
                    <a:pt x="656874" y="533333"/>
                  </a:lnTo>
                  <a:lnTo>
                    <a:pt x="646939" y="532130"/>
                  </a:lnTo>
                  <a:lnTo>
                    <a:pt x="650415" y="530606"/>
                  </a:lnTo>
                  <a:lnTo>
                    <a:pt x="654297" y="529407"/>
                  </a:lnTo>
                  <a:lnTo>
                    <a:pt x="657668" y="526519"/>
                  </a:lnTo>
                  <a:lnTo>
                    <a:pt x="656235" y="522656"/>
                  </a:lnTo>
                  <a:lnTo>
                    <a:pt x="655986" y="520687"/>
                  </a:lnTo>
                  <a:lnTo>
                    <a:pt x="656028" y="518192"/>
                  </a:lnTo>
                  <a:lnTo>
                    <a:pt x="659709" y="514685"/>
                  </a:lnTo>
                  <a:lnTo>
                    <a:pt x="655880" y="514694"/>
                  </a:lnTo>
                  <a:lnTo>
                    <a:pt x="653422" y="515950"/>
                  </a:lnTo>
                  <a:lnTo>
                    <a:pt x="651120" y="513314"/>
                  </a:lnTo>
                  <a:lnTo>
                    <a:pt x="650043" y="508123"/>
                  </a:lnTo>
                  <a:lnTo>
                    <a:pt x="652674" y="505047"/>
                  </a:lnTo>
                  <a:lnTo>
                    <a:pt x="653897" y="502675"/>
                  </a:lnTo>
                  <a:lnTo>
                    <a:pt x="654929" y="499415"/>
                  </a:lnTo>
                  <a:lnTo>
                    <a:pt x="655007" y="496608"/>
                  </a:lnTo>
                  <a:lnTo>
                    <a:pt x="652967" y="491850"/>
                  </a:lnTo>
                  <a:lnTo>
                    <a:pt x="647113" y="481736"/>
                  </a:lnTo>
                  <a:lnTo>
                    <a:pt x="644450" y="474166"/>
                  </a:lnTo>
                  <a:lnTo>
                    <a:pt x="639888" y="470124"/>
                  </a:lnTo>
                  <a:lnTo>
                    <a:pt x="643294" y="463494"/>
                  </a:lnTo>
                  <a:lnTo>
                    <a:pt x="647094" y="457440"/>
                  </a:lnTo>
                  <a:lnTo>
                    <a:pt x="651999" y="454726"/>
                  </a:lnTo>
                  <a:lnTo>
                    <a:pt x="651605" y="454320"/>
                  </a:lnTo>
                  <a:lnTo>
                    <a:pt x="648895" y="454339"/>
                  </a:lnTo>
                  <a:lnTo>
                    <a:pt x="647115" y="454699"/>
                  </a:lnTo>
                  <a:lnTo>
                    <a:pt x="645538" y="456671"/>
                  </a:lnTo>
                  <a:lnTo>
                    <a:pt x="643875" y="458177"/>
                  </a:lnTo>
                  <a:lnTo>
                    <a:pt x="638680" y="465883"/>
                  </a:lnTo>
                  <a:lnTo>
                    <a:pt x="635338" y="469627"/>
                  </a:lnTo>
                  <a:lnTo>
                    <a:pt x="633163" y="470701"/>
                  </a:lnTo>
                  <a:lnTo>
                    <a:pt x="636664" y="472150"/>
                  </a:lnTo>
                  <a:lnTo>
                    <a:pt x="637194" y="473372"/>
                  </a:lnTo>
                  <a:lnTo>
                    <a:pt x="637868" y="476145"/>
                  </a:lnTo>
                  <a:lnTo>
                    <a:pt x="636972" y="479511"/>
                  </a:lnTo>
                  <a:lnTo>
                    <a:pt x="636076" y="481366"/>
                  </a:lnTo>
                  <a:lnTo>
                    <a:pt x="631947" y="481217"/>
                  </a:lnTo>
                  <a:lnTo>
                    <a:pt x="628242" y="483917"/>
                  </a:lnTo>
                  <a:lnTo>
                    <a:pt x="619530" y="486854"/>
                  </a:lnTo>
                  <a:lnTo>
                    <a:pt x="607770" y="488530"/>
                  </a:lnTo>
                  <a:lnTo>
                    <a:pt x="601992" y="488331"/>
                  </a:lnTo>
                  <a:lnTo>
                    <a:pt x="595973" y="484907"/>
                  </a:lnTo>
                  <a:lnTo>
                    <a:pt x="596017" y="482923"/>
                  </a:lnTo>
                  <a:lnTo>
                    <a:pt x="596261" y="481194"/>
                  </a:lnTo>
                  <a:lnTo>
                    <a:pt x="587614" y="475275"/>
                  </a:lnTo>
                  <a:lnTo>
                    <a:pt x="582722" y="469366"/>
                  </a:lnTo>
                  <a:lnTo>
                    <a:pt x="579209" y="469234"/>
                  </a:lnTo>
                  <a:lnTo>
                    <a:pt x="576155" y="467654"/>
                  </a:lnTo>
                  <a:lnTo>
                    <a:pt x="572547" y="465196"/>
                  </a:lnTo>
                  <a:lnTo>
                    <a:pt x="572863" y="463212"/>
                  </a:lnTo>
                  <a:lnTo>
                    <a:pt x="573429" y="461815"/>
                  </a:lnTo>
                  <a:lnTo>
                    <a:pt x="571217" y="460836"/>
                  </a:lnTo>
                  <a:lnTo>
                    <a:pt x="568379" y="460932"/>
                  </a:lnTo>
                  <a:lnTo>
                    <a:pt x="565081" y="460255"/>
                  </a:lnTo>
                  <a:lnTo>
                    <a:pt x="573698" y="452598"/>
                  </a:lnTo>
                  <a:lnTo>
                    <a:pt x="576662" y="447459"/>
                  </a:lnTo>
                  <a:lnTo>
                    <a:pt x="579076" y="446728"/>
                  </a:lnTo>
                  <a:lnTo>
                    <a:pt x="582209" y="447521"/>
                  </a:lnTo>
                  <a:lnTo>
                    <a:pt x="586532" y="449549"/>
                  </a:lnTo>
                  <a:lnTo>
                    <a:pt x="590176" y="450443"/>
                  </a:lnTo>
                  <a:lnTo>
                    <a:pt x="591491" y="451392"/>
                  </a:lnTo>
                  <a:lnTo>
                    <a:pt x="592839" y="453191"/>
                  </a:lnTo>
                  <a:lnTo>
                    <a:pt x="591419" y="456198"/>
                  </a:lnTo>
                  <a:lnTo>
                    <a:pt x="590118" y="458306"/>
                  </a:lnTo>
                  <a:lnTo>
                    <a:pt x="591717" y="457735"/>
                  </a:lnTo>
                  <a:lnTo>
                    <a:pt x="596254" y="454469"/>
                  </a:lnTo>
                  <a:lnTo>
                    <a:pt x="599628" y="451595"/>
                  </a:lnTo>
                  <a:lnTo>
                    <a:pt x="601246" y="451893"/>
                  </a:lnTo>
                  <a:lnTo>
                    <a:pt x="602297" y="452400"/>
                  </a:lnTo>
                  <a:lnTo>
                    <a:pt x="604174" y="455364"/>
                  </a:lnTo>
                  <a:lnTo>
                    <a:pt x="606506" y="458377"/>
                  </a:lnTo>
                  <a:lnTo>
                    <a:pt x="611639" y="455507"/>
                  </a:lnTo>
                  <a:lnTo>
                    <a:pt x="614388" y="451928"/>
                  </a:lnTo>
                  <a:lnTo>
                    <a:pt x="612068" y="450356"/>
                  </a:lnTo>
                  <a:lnTo>
                    <a:pt x="609233" y="449427"/>
                  </a:lnTo>
                  <a:lnTo>
                    <a:pt x="602001" y="448206"/>
                  </a:lnTo>
                  <a:lnTo>
                    <a:pt x="603766" y="447177"/>
                  </a:lnTo>
                  <a:lnTo>
                    <a:pt x="608407" y="447291"/>
                  </a:lnTo>
                  <a:lnTo>
                    <a:pt x="610155" y="446306"/>
                  </a:lnTo>
                  <a:lnTo>
                    <a:pt x="608316" y="444943"/>
                  </a:lnTo>
                  <a:lnTo>
                    <a:pt x="606020" y="443723"/>
                  </a:lnTo>
                  <a:lnTo>
                    <a:pt x="599754" y="447785"/>
                  </a:lnTo>
                  <a:lnTo>
                    <a:pt x="588352" y="447581"/>
                  </a:lnTo>
                  <a:lnTo>
                    <a:pt x="580383" y="445210"/>
                  </a:lnTo>
                  <a:lnTo>
                    <a:pt x="572431" y="445622"/>
                  </a:lnTo>
                  <a:lnTo>
                    <a:pt x="571177" y="445151"/>
                  </a:lnTo>
                  <a:lnTo>
                    <a:pt x="569629" y="443880"/>
                  </a:lnTo>
                  <a:lnTo>
                    <a:pt x="574109" y="440860"/>
                  </a:lnTo>
                  <a:lnTo>
                    <a:pt x="577281" y="439188"/>
                  </a:lnTo>
                  <a:lnTo>
                    <a:pt x="577449" y="438219"/>
                  </a:lnTo>
                  <a:lnTo>
                    <a:pt x="575606" y="438097"/>
                  </a:lnTo>
                  <a:lnTo>
                    <a:pt x="572140" y="438900"/>
                  </a:lnTo>
                  <a:lnTo>
                    <a:pt x="570594" y="437506"/>
                  </a:lnTo>
                  <a:lnTo>
                    <a:pt x="570847" y="435086"/>
                  </a:lnTo>
                  <a:lnTo>
                    <a:pt x="570279" y="435303"/>
                  </a:lnTo>
                  <a:lnTo>
                    <a:pt x="568908" y="436624"/>
                  </a:lnTo>
                  <a:lnTo>
                    <a:pt x="566969" y="435972"/>
                  </a:lnTo>
                  <a:lnTo>
                    <a:pt x="565309" y="434882"/>
                  </a:lnTo>
                  <a:lnTo>
                    <a:pt x="566178" y="433718"/>
                  </a:lnTo>
                  <a:lnTo>
                    <a:pt x="567884" y="432120"/>
                  </a:lnTo>
                  <a:lnTo>
                    <a:pt x="567126" y="431883"/>
                  </a:lnTo>
                  <a:lnTo>
                    <a:pt x="565594" y="432223"/>
                  </a:lnTo>
                  <a:lnTo>
                    <a:pt x="564106" y="434315"/>
                  </a:lnTo>
                  <a:lnTo>
                    <a:pt x="564431" y="436007"/>
                  </a:lnTo>
                  <a:lnTo>
                    <a:pt x="564393" y="438431"/>
                  </a:lnTo>
                  <a:lnTo>
                    <a:pt x="561851" y="438874"/>
                  </a:lnTo>
                  <a:lnTo>
                    <a:pt x="559672" y="438584"/>
                  </a:lnTo>
                  <a:lnTo>
                    <a:pt x="558096" y="436146"/>
                  </a:lnTo>
                  <a:lnTo>
                    <a:pt x="556469" y="430908"/>
                  </a:lnTo>
                  <a:lnTo>
                    <a:pt x="552068" y="429516"/>
                  </a:lnTo>
                  <a:lnTo>
                    <a:pt x="550987" y="426862"/>
                  </a:lnTo>
                  <a:lnTo>
                    <a:pt x="553772" y="423454"/>
                  </a:lnTo>
                  <a:lnTo>
                    <a:pt x="552543" y="421694"/>
                  </a:lnTo>
                  <a:lnTo>
                    <a:pt x="549584" y="421121"/>
                  </a:lnTo>
                  <a:lnTo>
                    <a:pt x="546198" y="422846"/>
                  </a:lnTo>
                  <a:lnTo>
                    <a:pt x="544700" y="421314"/>
                  </a:lnTo>
                  <a:lnTo>
                    <a:pt x="544426" y="419631"/>
                  </a:lnTo>
                  <a:lnTo>
                    <a:pt x="544308" y="417213"/>
                  </a:lnTo>
                  <a:lnTo>
                    <a:pt x="545252" y="416959"/>
                  </a:lnTo>
                  <a:lnTo>
                    <a:pt x="546033" y="417439"/>
                  </a:lnTo>
                  <a:lnTo>
                    <a:pt x="552817" y="416095"/>
                  </a:lnTo>
                  <a:lnTo>
                    <a:pt x="553470" y="415441"/>
                  </a:lnTo>
                  <a:lnTo>
                    <a:pt x="548088" y="413397"/>
                  </a:lnTo>
                  <a:lnTo>
                    <a:pt x="546586" y="411246"/>
                  </a:lnTo>
                  <a:lnTo>
                    <a:pt x="548816" y="410026"/>
                  </a:lnTo>
                  <a:lnTo>
                    <a:pt x="552835" y="409923"/>
                  </a:lnTo>
                  <a:lnTo>
                    <a:pt x="558473" y="408649"/>
                  </a:lnTo>
                  <a:lnTo>
                    <a:pt x="556102" y="406363"/>
                  </a:lnTo>
                  <a:lnTo>
                    <a:pt x="555606" y="405108"/>
                  </a:lnTo>
                  <a:lnTo>
                    <a:pt x="555129" y="403048"/>
                  </a:lnTo>
                  <a:lnTo>
                    <a:pt x="556064" y="399552"/>
                  </a:lnTo>
                  <a:lnTo>
                    <a:pt x="562687" y="391517"/>
                  </a:lnTo>
                  <a:lnTo>
                    <a:pt x="569144" y="384798"/>
                  </a:lnTo>
                  <a:lnTo>
                    <a:pt x="571157" y="383244"/>
                  </a:lnTo>
                  <a:lnTo>
                    <a:pt x="574113" y="382407"/>
                  </a:lnTo>
                  <a:lnTo>
                    <a:pt x="576865" y="383051"/>
                  </a:lnTo>
                  <a:lnTo>
                    <a:pt x="579739" y="384496"/>
                  </a:lnTo>
                  <a:lnTo>
                    <a:pt x="580284" y="383878"/>
                  </a:lnTo>
                  <a:lnTo>
                    <a:pt x="579308" y="383287"/>
                  </a:lnTo>
                  <a:lnTo>
                    <a:pt x="578076" y="380529"/>
                  </a:lnTo>
                  <a:lnTo>
                    <a:pt x="582066" y="379447"/>
                  </a:lnTo>
                  <a:lnTo>
                    <a:pt x="584405" y="376328"/>
                  </a:lnTo>
                  <a:lnTo>
                    <a:pt x="584580" y="375424"/>
                  </a:lnTo>
                  <a:lnTo>
                    <a:pt x="582040" y="376723"/>
                  </a:lnTo>
                  <a:lnTo>
                    <a:pt x="579395" y="378854"/>
                  </a:lnTo>
                  <a:lnTo>
                    <a:pt x="578733" y="376711"/>
                  </a:lnTo>
                  <a:lnTo>
                    <a:pt x="578050" y="371773"/>
                  </a:lnTo>
                  <a:lnTo>
                    <a:pt x="579217" y="367098"/>
                  </a:lnTo>
                  <a:lnTo>
                    <a:pt x="580126" y="364998"/>
                  </a:lnTo>
                  <a:lnTo>
                    <a:pt x="582335" y="363002"/>
                  </a:lnTo>
                  <a:lnTo>
                    <a:pt x="588695" y="362202"/>
                  </a:lnTo>
                  <a:lnTo>
                    <a:pt x="589815" y="362602"/>
                  </a:lnTo>
                  <a:lnTo>
                    <a:pt x="590048" y="361659"/>
                  </a:lnTo>
                  <a:lnTo>
                    <a:pt x="586219" y="358708"/>
                  </a:lnTo>
                  <a:lnTo>
                    <a:pt x="587799" y="356397"/>
                  </a:lnTo>
                  <a:lnTo>
                    <a:pt x="589182" y="355200"/>
                  </a:lnTo>
                  <a:lnTo>
                    <a:pt x="596871" y="353324"/>
                  </a:lnTo>
                  <a:lnTo>
                    <a:pt x="601074" y="353906"/>
                  </a:lnTo>
                  <a:lnTo>
                    <a:pt x="606345" y="356091"/>
                  </a:lnTo>
                  <a:lnTo>
                    <a:pt x="609404" y="358807"/>
                  </a:lnTo>
                  <a:lnTo>
                    <a:pt x="608960" y="360200"/>
                  </a:lnTo>
                  <a:lnTo>
                    <a:pt x="608199" y="361006"/>
                  </a:lnTo>
                  <a:lnTo>
                    <a:pt x="606612" y="361907"/>
                  </a:lnTo>
                  <a:lnTo>
                    <a:pt x="606021" y="362608"/>
                  </a:lnTo>
                  <a:lnTo>
                    <a:pt x="606304" y="363165"/>
                  </a:lnTo>
                  <a:lnTo>
                    <a:pt x="608561" y="361547"/>
                  </a:lnTo>
                  <a:lnTo>
                    <a:pt x="612261" y="359581"/>
                  </a:lnTo>
                  <a:lnTo>
                    <a:pt x="614331" y="360437"/>
                  </a:lnTo>
                  <a:lnTo>
                    <a:pt x="615973" y="361989"/>
                  </a:lnTo>
                  <a:lnTo>
                    <a:pt x="617783" y="361963"/>
                  </a:lnTo>
                  <a:lnTo>
                    <a:pt x="623538" y="360628"/>
                  </a:lnTo>
                  <a:lnTo>
                    <a:pt x="626461" y="359214"/>
                  </a:lnTo>
                  <a:lnTo>
                    <a:pt x="630031" y="355539"/>
                  </a:lnTo>
                  <a:lnTo>
                    <a:pt x="634783" y="353159"/>
                  </a:lnTo>
                  <a:lnTo>
                    <a:pt x="641458" y="345640"/>
                  </a:lnTo>
                  <a:lnTo>
                    <a:pt x="643423" y="342548"/>
                  </a:lnTo>
                  <a:lnTo>
                    <a:pt x="645705" y="342072"/>
                  </a:lnTo>
                  <a:lnTo>
                    <a:pt x="647766" y="342346"/>
                  </a:lnTo>
                  <a:lnTo>
                    <a:pt x="649203" y="344883"/>
                  </a:lnTo>
                  <a:lnTo>
                    <a:pt x="651301" y="345625"/>
                  </a:lnTo>
                  <a:lnTo>
                    <a:pt x="663253" y="345011"/>
                  </a:lnTo>
                  <a:lnTo>
                    <a:pt x="669360" y="343848"/>
                  </a:lnTo>
                  <a:lnTo>
                    <a:pt x="673604" y="341387"/>
                  </a:lnTo>
                  <a:lnTo>
                    <a:pt x="678016" y="337237"/>
                  </a:lnTo>
                  <a:lnTo>
                    <a:pt x="680573" y="334451"/>
                  </a:lnTo>
                  <a:lnTo>
                    <a:pt x="681796" y="330817"/>
                  </a:lnTo>
                  <a:lnTo>
                    <a:pt x="680215" y="326107"/>
                  </a:lnTo>
                  <a:lnTo>
                    <a:pt x="678597" y="322187"/>
                  </a:lnTo>
                  <a:lnTo>
                    <a:pt x="676465" y="313206"/>
                  </a:lnTo>
                  <a:lnTo>
                    <a:pt x="670531" y="307256"/>
                  </a:lnTo>
                  <a:lnTo>
                    <a:pt x="666308" y="305478"/>
                  </a:lnTo>
                  <a:lnTo>
                    <a:pt x="663628" y="305730"/>
                  </a:lnTo>
                  <a:lnTo>
                    <a:pt x="665570" y="301930"/>
                  </a:lnTo>
                  <a:lnTo>
                    <a:pt x="671221" y="302339"/>
                  </a:lnTo>
                  <a:lnTo>
                    <a:pt x="674901" y="301597"/>
                  </a:lnTo>
                  <a:lnTo>
                    <a:pt x="677882" y="299762"/>
                  </a:lnTo>
                  <a:lnTo>
                    <a:pt x="678857" y="298373"/>
                  </a:lnTo>
                  <a:lnTo>
                    <a:pt x="680329" y="295530"/>
                  </a:lnTo>
                  <a:lnTo>
                    <a:pt x="679822" y="292491"/>
                  </a:lnTo>
                  <a:lnTo>
                    <a:pt x="679030" y="290844"/>
                  </a:lnTo>
                  <a:lnTo>
                    <a:pt x="676976" y="289026"/>
                  </a:lnTo>
                  <a:lnTo>
                    <a:pt x="674533" y="286362"/>
                  </a:lnTo>
                  <a:lnTo>
                    <a:pt x="672826" y="285474"/>
                  </a:lnTo>
                  <a:lnTo>
                    <a:pt x="671378" y="285534"/>
                  </a:lnTo>
                  <a:lnTo>
                    <a:pt x="664249" y="290872"/>
                  </a:lnTo>
                  <a:lnTo>
                    <a:pt x="659975" y="290970"/>
                  </a:lnTo>
                  <a:lnTo>
                    <a:pt x="656775" y="289988"/>
                  </a:lnTo>
                  <a:lnTo>
                    <a:pt x="653996" y="293026"/>
                  </a:lnTo>
                  <a:lnTo>
                    <a:pt x="646242" y="295688"/>
                  </a:lnTo>
                  <a:lnTo>
                    <a:pt x="642101" y="298374"/>
                  </a:lnTo>
                  <a:lnTo>
                    <a:pt x="634420" y="305031"/>
                  </a:lnTo>
                  <a:lnTo>
                    <a:pt x="632496" y="308037"/>
                  </a:lnTo>
                  <a:lnTo>
                    <a:pt x="630049" y="308173"/>
                  </a:lnTo>
                  <a:lnTo>
                    <a:pt x="628280" y="302339"/>
                  </a:lnTo>
                  <a:lnTo>
                    <a:pt x="619924" y="296762"/>
                  </a:lnTo>
                  <a:lnTo>
                    <a:pt x="617401" y="298660"/>
                  </a:lnTo>
                  <a:lnTo>
                    <a:pt x="618793" y="300413"/>
                  </a:lnTo>
                  <a:lnTo>
                    <a:pt x="620686" y="301660"/>
                  </a:lnTo>
                  <a:lnTo>
                    <a:pt x="623807" y="302203"/>
                  </a:lnTo>
                  <a:lnTo>
                    <a:pt x="622461" y="303892"/>
                  </a:lnTo>
                  <a:lnTo>
                    <a:pt x="621446" y="306139"/>
                  </a:lnTo>
                  <a:lnTo>
                    <a:pt x="618315" y="304031"/>
                  </a:lnTo>
                  <a:lnTo>
                    <a:pt x="612724" y="300968"/>
                  </a:lnTo>
                  <a:lnTo>
                    <a:pt x="606935" y="299387"/>
                  </a:lnTo>
                  <a:lnTo>
                    <a:pt x="591863" y="299563"/>
                  </a:lnTo>
                  <a:lnTo>
                    <a:pt x="581968" y="302708"/>
                  </a:lnTo>
                  <a:lnTo>
                    <a:pt x="581057" y="302056"/>
                  </a:lnTo>
                  <a:lnTo>
                    <a:pt x="580103" y="301796"/>
                  </a:lnTo>
                  <a:lnTo>
                    <a:pt x="578455" y="302546"/>
                  </a:lnTo>
                  <a:lnTo>
                    <a:pt x="577747" y="303822"/>
                  </a:lnTo>
                  <a:lnTo>
                    <a:pt x="576670" y="304629"/>
                  </a:lnTo>
                  <a:lnTo>
                    <a:pt x="574648" y="304915"/>
                  </a:lnTo>
                  <a:lnTo>
                    <a:pt x="570582" y="304440"/>
                  </a:lnTo>
                  <a:lnTo>
                    <a:pt x="562724" y="302486"/>
                  </a:lnTo>
                  <a:lnTo>
                    <a:pt x="544954" y="299611"/>
                  </a:lnTo>
                  <a:lnTo>
                    <a:pt x="540303" y="297844"/>
                  </a:lnTo>
                  <a:lnTo>
                    <a:pt x="536316" y="293627"/>
                  </a:lnTo>
                  <a:lnTo>
                    <a:pt x="536400" y="290761"/>
                  </a:lnTo>
                  <a:lnTo>
                    <a:pt x="538171" y="289547"/>
                  </a:lnTo>
                  <a:lnTo>
                    <a:pt x="538004" y="285431"/>
                  </a:lnTo>
                  <a:lnTo>
                    <a:pt x="534544" y="284334"/>
                  </a:lnTo>
                  <a:lnTo>
                    <a:pt x="527501" y="278403"/>
                  </a:lnTo>
                  <a:lnTo>
                    <a:pt x="524912" y="275869"/>
                  </a:lnTo>
                  <a:lnTo>
                    <a:pt x="525475" y="275590"/>
                  </a:lnTo>
                  <a:lnTo>
                    <a:pt x="526739" y="276278"/>
                  </a:lnTo>
                  <a:lnTo>
                    <a:pt x="529144" y="276791"/>
                  </a:lnTo>
                  <a:lnTo>
                    <a:pt x="535050" y="275967"/>
                  </a:lnTo>
                  <a:lnTo>
                    <a:pt x="537075" y="272118"/>
                  </a:lnTo>
                  <a:lnTo>
                    <a:pt x="541462" y="271015"/>
                  </a:lnTo>
                  <a:lnTo>
                    <a:pt x="545497" y="271557"/>
                  </a:lnTo>
                  <a:lnTo>
                    <a:pt x="544591" y="270513"/>
                  </a:lnTo>
                  <a:lnTo>
                    <a:pt x="543561" y="269691"/>
                  </a:lnTo>
                  <a:lnTo>
                    <a:pt x="533051" y="267725"/>
                  </a:lnTo>
                  <a:lnTo>
                    <a:pt x="531624" y="268329"/>
                  </a:lnTo>
                  <a:lnTo>
                    <a:pt x="512780" y="264831"/>
                  </a:lnTo>
                  <a:lnTo>
                    <a:pt x="497902" y="258742"/>
                  </a:lnTo>
                  <a:lnTo>
                    <a:pt x="496683" y="257575"/>
                  </a:lnTo>
                  <a:lnTo>
                    <a:pt x="495322" y="254972"/>
                  </a:lnTo>
                  <a:lnTo>
                    <a:pt x="497329" y="252397"/>
                  </a:lnTo>
                  <a:lnTo>
                    <a:pt x="499348" y="251179"/>
                  </a:lnTo>
                  <a:lnTo>
                    <a:pt x="499440" y="252597"/>
                  </a:lnTo>
                  <a:lnTo>
                    <a:pt x="499761" y="253989"/>
                  </a:lnTo>
                  <a:lnTo>
                    <a:pt x="508290" y="250751"/>
                  </a:lnTo>
                  <a:lnTo>
                    <a:pt x="512747" y="246504"/>
                  </a:lnTo>
                  <a:lnTo>
                    <a:pt x="521194" y="245758"/>
                  </a:lnTo>
                  <a:lnTo>
                    <a:pt x="523158" y="244584"/>
                  </a:lnTo>
                  <a:lnTo>
                    <a:pt x="525779" y="242297"/>
                  </a:lnTo>
                  <a:lnTo>
                    <a:pt x="529525" y="238388"/>
                  </a:lnTo>
                  <a:lnTo>
                    <a:pt x="534818" y="236326"/>
                  </a:lnTo>
                  <a:lnTo>
                    <a:pt x="538426" y="234474"/>
                  </a:lnTo>
                  <a:lnTo>
                    <a:pt x="543122" y="233381"/>
                  </a:lnTo>
                  <a:lnTo>
                    <a:pt x="547132" y="235201"/>
                  </a:lnTo>
                  <a:lnTo>
                    <a:pt x="548368" y="235450"/>
                  </a:lnTo>
                  <a:lnTo>
                    <a:pt x="555646" y="235823"/>
                  </a:lnTo>
                  <a:lnTo>
                    <a:pt x="558038" y="235033"/>
                  </a:lnTo>
                  <a:lnTo>
                    <a:pt x="559056" y="234446"/>
                  </a:lnTo>
                  <a:lnTo>
                    <a:pt x="559815" y="233515"/>
                  </a:lnTo>
                  <a:lnTo>
                    <a:pt x="552671" y="230212"/>
                  </a:lnTo>
                  <a:lnTo>
                    <a:pt x="553397" y="228371"/>
                  </a:lnTo>
                  <a:lnTo>
                    <a:pt x="554306" y="227075"/>
                  </a:lnTo>
                  <a:lnTo>
                    <a:pt x="562641" y="223216"/>
                  </a:lnTo>
                  <a:lnTo>
                    <a:pt x="569048" y="221939"/>
                  </a:lnTo>
                  <a:lnTo>
                    <a:pt x="572475" y="222027"/>
                  </a:lnTo>
                  <a:lnTo>
                    <a:pt x="582421" y="217037"/>
                  </a:lnTo>
                  <a:lnTo>
                    <a:pt x="587869" y="215614"/>
                  </a:lnTo>
                  <a:lnTo>
                    <a:pt x="598131" y="214662"/>
                  </a:lnTo>
                  <a:lnTo>
                    <a:pt x="606563" y="214416"/>
                  </a:lnTo>
                  <a:lnTo>
                    <a:pt x="608845" y="216200"/>
                  </a:lnTo>
                  <a:lnTo>
                    <a:pt x="604318" y="215823"/>
                  </a:lnTo>
                  <a:lnTo>
                    <a:pt x="602322" y="216149"/>
                  </a:lnTo>
                  <a:lnTo>
                    <a:pt x="603743" y="216758"/>
                  </a:lnTo>
                  <a:lnTo>
                    <a:pt x="605344" y="218056"/>
                  </a:lnTo>
                  <a:lnTo>
                    <a:pt x="604880" y="219696"/>
                  </a:lnTo>
                  <a:lnTo>
                    <a:pt x="602095" y="224555"/>
                  </a:lnTo>
                  <a:lnTo>
                    <a:pt x="602322" y="228439"/>
                  </a:lnTo>
                  <a:lnTo>
                    <a:pt x="600509" y="229692"/>
                  </a:lnTo>
                  <a:lnTo>
                    <a:pt x="598756" y="231465"/>
                  </a:lnTo>
                  <a:lnTo>
                    <a:pt x="607388" y="237036"/>
                  </a:lnTo>
                  <a:lnTo>
                    <a:pt x="620753" y="237391"/>
                  </a:lnTo>
                  <a:lnTo>
                    <a:pt x="628022" y="236386"/>
                  </a:lnTo>
                  <a:lnTo>
                    <a:pt x="632224" y="238051"/>
                  </a:lnTo>
                  <a:lnTo>
                    <a:pt x="635665" y="238430"/>
                  </a:lnTo>
                  <a:lnTo>
                    <a:pt x="645170" y="237577"/>
                  </a:lnTo>
                  <a:lnTo>
                    <a:pt x="652328" y="238767"/>
                  </a:lnTo>
                  <a:lnTo>
                    <a:pt x="655323" y="238310"/>
                  </a:lnTo>
                  <a:lnTo>
                    <a:pt x="661941" y="229981"/>
                  </a:lnTo>
                  <a:lnTo>
                    <a:pt x="664529" y="228672"/>
                  </a:lnTo>
                  <a:lnTo>
                    <a:pt x="667344" y="230124"/>
                  </a:lnTo>
                  <a:lnTo>
                    <a:pt x="671017" y="231301"/>
                  </a:lnTo>
                  <a:lnTo>
                    <a:pt x="673360" y="230448"/>
                  </a:lnTo>
                  <a:lnTo>
                    <a:pt x="675272" y="232595"/>
                  </a:lnTo>
                  <a:lnTo>
                    <a:pt x="674373" y="228111"/>
                  </a:lnTo>
                  <a:lnTo>
                    <a:pt x="673077" y="226427"/>
                  </a:lnTo>
                  <a:lnTo>
                    <a:pt x="662258" y="223338"/>
                  </a:lnTo>
                  <a:lnTo>
                    <a:pt x="655020" y="224874"/>
                  </a:lnTo>
                  <a:lnTo>
                    <a:pt x="652757" y="223134"/>
                  </a:lnTo>
                  <a:lnTo>
                    <a:pt x="653504" y="219678"/>
                  </a:lnTo>
                  <a:lnTo>
                    <a:pt x="645760" y="211143"/>
                  </a:lnTo>
                  <a:lnTo>
                    <a:pt x="642531" y="209407"/>
                  </a:lnTo>
                  <a:lnTo>
                    <a:pt x="638713" y="209325"/>
                  </a:lnTo>
                  <a:lnTo>
                    <a:pt x="636768" y="206351"/>
                  </a:lnTo>
                  <a:lnTo>
                    <a:pt x="635142" y="202525"/>
                  </a:lnTo>
                  <a:lnTo>
                    <a:pt x="638435" y="200961"/>
                  </a:lnTo>
                  <a:lnTo>
                    <a:pt x="641412" y="200252"/>
                  </a:lnTo>
                  <a:lnTo>
                    <a:pt x="644168" y="201483"/>
                  </a:lnTo>
                  <a:lnTo>
                    <a:pt x="647285" y="206512"/>
                  </a:lnTo>
                  <a:lnTo>
                    <a:pt x="650188" y="207249"/>
                  </a:lnTo>
                  <a:lnTo>
                    <a:pt x="649343" y="212247"/>
                  </a:lnTo>
                  <a:lnTo>
                    <a:pt x="652942" y="216842"/>
                  </a:lnTo>
                  <a:lnTo>
                    <a:pt x="661069" y="221106"/>
                  </a:lnTo>
                  <a:lnTo>
                    <a:pt x="667577" y="219538"/>
                  </a:lnTo>
                  <a:lnTo>
                    <a:pt x="672172" y="219581"/>
                  </a:lnTo>
                  <a:lnTo>
                    <a:pt x="674919" y="220480"/>
                  </a:lnTo>
                  <a:lnTo>
                    <a:pt x="681645" y="224300"/>
                  </a:lnTo>
                  <a:lnTo>
                    <a:pt x="685061" y="224780"/>
                  </a:lnTo>
                  <a:lnTo>
                    <a:pt x="695746" y="222775"/>
                  </a:lnTo>
                  <a:lnTo>
                    <a:pt x="695857" y="219018"/>
                  </a:lnTo>
                  <a:lnTo>
                    <a:pt x="694959" y="216294"/>
                  </a:lnTo>
                  <a:lnTo>
                    <a:pt x="692450" y="214586"/>
                  </a:lnTo>
                  <a:lnTo>
                    <a:pt x="685234" y="214907"/>
                  </a:lnTo>
                  <a:lnTo>
                    <a:pt x="679616" y="212094"/>
                  </a:lnTo>
                  <a:lnTo>
                    <a:pt x="674833" y="212866"/>
                  </a:lnTo>
                  <a:lnTo>
                    <a:pt x="665993" y="217173"/>
                  </a:lnTo>
                  <a:lnTo>
                    <a:pt x="661562" y="215478"/>
                  </a:lnTo>
                  <a:lnTo>
                    <a:pt x="658776" y="213177"/>
                  </a:lnTo>
                  <a:lnTo>
                    <a:pt x="654292" y="210835"/>
                  </a:lnTo>
                  <a:lnTo>
                    <a:pt x="653730" y="206401"/>
                  </a:lnTo>
                  <a:lnTo>
                    <a:pt x="657492" y="201304"/>
                  </a:lnTo>
                  <a:lnTo>
                    <a:pt x="660274" y="198877"/>
                  </a:lnTo>
                  <a:lnTo>
                    <a:pt x="657781" y="197105"/>
                  </a:lnTo>
                  <a:lnTo>
                    <a:pt x="651519" y="195857"/>
                  </a:lnTo>
                  <a:lnTo>
                    <a:pt x="640648" y="197134"/>
                  </a:lnTo>
                  <a:lnTo>
                    <a:pt x="640137" y="195395"/>
                  </a:lnTo>
                  <a:lnTo>
                    <a:pt x="640192" y="193515"/>
                  </a:lnTo>
                  <a:lnTo>
                    <a:pt x="635761" y="197193"/>
                  </a:lnTo>
                  <a:lnTo>
                    <a:pt x="631212" y="196422"/>
                  </a:lnTo>
                  <a:lnTo>
                    <a:pt x="625082" y="196815"/>
                  </a:lnTo>
                  <a:lnTo>
                    <a:pt x="611560" y="193575"/>
                  </a:lnTo>
                  <a:lnTo>
                    <a:pt x="606745" y="189567"/>
                  </a:lnTo>
                  <a:lnTo>
                    <a:pt x="604724" y="186309"/>
                  </a:lnTo>
                  <a:lnTo>
                    <a:pt x="601080" y="177364"/>
                  </a:lnTo>
                  <a:lnTo>
                    <a:pt x="596422" y="171755"/>
                  </a:lnTo>
                  <a:lnTo>
                    <a:pt x="564259" y="152587"/>
                  </a:lnTo>
                  <a:lnTo>
                    <a:pt x="549628" y="147744"/>
                  </a:lnTo>
                  <a:lnTo>
                    <a:pt x="542579" y="142373"/>
                  </a:lnTo>
                  <a:lnTo>
                    <a:pt x="538160" y="141051"/>
                  </a:lnTo>
                  <a:lnTo>
                    <a:pt x="533942" y="140508"/>
                  </a:lnTo>
                  <a:lnTo>
                    <a:pt x="528538" y="138772"/>
                  </a:lnTo>
                  <a:lnTo>
                    <a:pt x="532171" y="136636"/>
                  </a:lnTo>
                  <a:lnTo>
                    <a:pt x="534671" y="135914"/>
                  </a:lnTo>
                  <a:lnTo>
                    <a:pt x="532069" y="138145"/>
                  </a:lnTo>
                  <a:lnTo>
                    <a:pt x="534046" y="138707"/>
                  </a:lnTo>
                  <a:lnTo>
                    <a:pt x="537193" y="137420"/>
                  </a:lnTo>
                  <a:lnTo>
                    <a:pt x="538889" y="135878"/>
                  </a:lnTo>
                  <a:lnTo>
                    <a:pt x="541378" y="129325"/>
                  </a:lnTo>
                  <a:lnTo>
                    <a:pt x="543953" y="119376"/>
                  </a:lnTo>
                  <a:lnTo>
                    <a:pt x="543264" y="115448"/>
                  </a:lnTo>
                  <a:lnTo>
                    <a:pt x="561110" y="116241"/>
                  </a:lnTo>
                  <a:lnTo>
                    <a:pt x="572986" y="115578"/>
                  </a:lnTo>
                  <a:lnTo>
                    <a:pt x="576920" y="114687"/>
                  </a:lnTo>
                  <a:lnTo>
                    <a:pt x="591905" y="113168"/>
                  </a:lnTo>
                  <a:lnTo>
                    <a:pt x="595785" y="112065"/>
                  </a:lnTo>
                  <a:lnTo>
                    <a:pt x="602985" y="108691"/>
                  </a:lnTo>
                  <a:lnTo>
                    <a:pt x="611461" y="102713"/>
                  </a:lnTo>
                  <a:lnTo>
                    <a:pt x="618735" y="94839"/>
                  </a:lnTo>
                  <a:lnTo>
                    <a:pt x="619892" y="92714"/>
                  </a:lnTo>
                  <a:lnTo>
                    <a:pt x="620354" y="93259"/>
                  </a:lnTo>
                  <a:lnTo>
                    <a:pt x="621007" y="92922"/>
                  </a:lnTo>
                  <a:lnTo>
                    <a:pt x="621785" y="89929"/>
                  </a:lnTo>
                  <a:lnTo>
                    <a:pt x="622739" y="82864"/>
                  </a:lnTo>
                  <a:lnTo>
                    <a:pt x="626348" y="76182"/>
                  </a:lnTo>
                  <a:lnTo>
                    <a:pt x="641697" y="60877"/>
                  </a:lnTo>
                  <a:lnTo>
                    <a:pt x="648821" y="54786"/>
                  </a:lnTo>
                  <a:lnTo>
                    <a:pt x="651199" y="52014"/>
                  </a:lnTo>
                  <a:lnTo>
                    <a:pt x="653674" y="49989"/>
                  </a:lnTo>
                  <a:lnTo>
                    <a:pt x="655417" y="51913"/>
                  </a:lnTo>
                  <a:lnTo>
                    <a:pt x="656250" y="52486"/>
                  </a:lnTo>
                  <a:lnTo>
                    <a:pt x="656731" y="53390"/>
                  </a:lnTo>
                  <a:lnTo>
                    <a:pt x="655268" y="53813"/>
                  </a:lnTo>
                  <a:lnTo>
                    <a:pt x="652883" y="55782"/>
                  </a:lnTo>
                  <a:lnTo>
                    <a:pt x="649556" y="57102"/>
                  </a:lnTo>
                  <a:lnTo>
                    <a:pt x="648751" y="57774"/>
                  </a:lnTo>
                  <a:lnTo>
                    <a:pt x="650703" y="57624"/>
                  </a:lnTo>
                  <a:lnTo>
                    <a:pt x="656551" y="56192"/>
                  </a:lnTo>
                  <a:lnTo>
                    <a:pt x="659845" y="54451"/>
                  </a:lnTo>
                  <a:lnTo>
                    <a:pt x="676241" y="51236"/>
                  </a:lnTo>
                  <a:lnTo>
                    <a:pt x="685134" y="45906"/>
                  </a:lnTo>
                  <a:lnTo>
                    <a:pt x="685479" y="44716"/>
                  </a:lnTo>
                  <a:lnTo>
                    <a:pt x="698669" y="38037"/>
                  </a:lnTo>
                  <a:lnTo>
                    <a:pt x="700494" y="38297"/>
                  </a:lnTo>
                  <a:lnTo>
                    <a:pt x="702596" y="39103"/>
                  </a:lnTo>
                  <a:lnTo>
                    <a:pt x="698943" y="43512"/>
                  </a:lnTo>
                  <a:lnTo>
                    <a:pt x="701515" y="44663"/>
                  </a:lnTo>
                  <a:lnTo>
                    <a:pt x="699231" y="49918"/>
                  </a:lnTo>
                  <a:lnTo>
                    <a:pt x="704015" y="50002"/>
                  </a:lnTo>
                  <a:lnTo>
                    <a:pt x="705084" y="52417"/>
                  </a:lnTo>
                  <a:lnTo>
                    <a:pt x="705350" y="50336"/>
                  </a:lnTo>
                  <a:lnTo>
                    <a:pt x="705291" y="47345"/>
                  </a:lnTo>
                  <a:lnTo>
                    <a:pt x="705671" y="44411"/>
                  </a:lnTo>
                  <a:lnTo>
                    <a:pt x="706376" y="42381"/>
                  </a:lnTo>
                  <a:lnTo>
                    <a:pt x="709735" y="43300"/>
                  </a:lnTo>
                  <a:lnTo>
                    <a:pt x="717300" y="41117"/>
                  </a:lnTo>
                  <a:lnTo>
                    <a:pt x="708132" y="40841"/>
                  </a:lnTo>
                  <a:lnTo>
                    <a:pt x="702629" y="36056"/>
                  </a:lnTo>
                  <a:lnTo>
                    <a:pt x="699575" y="36021"/>
                  </a:lnTo>
                  <a:lnTo>
                    <a:pt x="709797" y="28987"/>
                  </a:lnTo>
                  <a:lnTo>
                    <a:pt x="719144" y="24728"/>
                  </a:lnTo>
                  <a:lnTo>
                    <a:pt x="721255" y="24810"/>
                  </a:lnTo>
                  <a:lnTo>
                    <a:pt x="722276" y="25603"/>
                  </a:lnTo>
                  <a:lnTo>
                    <a:pt x="722495" y="26892"/>
                  </a:lnTo>
                  <a:lnTo>
                    <a:pt x="720477" y="27729"/>
                  </a:lnTo>
                  <a:lnTo>
                    <a:pt x="718497" y="29243"/>
                  </a:lnTo>
                  <a:lnTo>
                    <a:pt x="719407" y="30574"/>
                  </a:lnTo>
                  <a:lnTo>
                    <a:pt x="720759" y="30764"/>
                  </a:lnTo>
                  <a:lnTo>
                    <a:pt x="725252" y="29669"/>
                  </a:lnTo>
                  <a:lnTo>
                    <a:pt x="727262" y="28299"/>
                  </a:lnTo>
                  <a:lnTo>
                    <a:pt x="736836" y="28418"/>
                  </a:lnTo>
                  <a:lnTo>
                    <a:pt x="739645" y="27440"/>
                  </a:lnTo>
                  <a:lnTo>
                    <a:pt x="740320" y="26468"/>
                  </a:lnTo>
                  <a:lnTo>
                    <a:pt x="752715" y="26270"/>
                  </a:lnTo>
                  <a:lnTo>
                    <a:pt x="754988" y="25583"/>
                  </a:lnTo>
                  <a:lnTo>
                    <a:pt x="762737" y="21810"/>
                  </a:lnTo>
                  <a:lnTo>
                    <a:pt x="769903" y="17230"/>
                  </a:lnTo>
                  <a:lnTo>
                    <a:pt x="773204" y="14727"/>
                  </a:lnTo>
                  <a:lnTo>
                    <a:pt x="778867" y="8333"/>
                  </a:lnTo>
                  <a:lnTo>
                    <a:pt x="783716" y="4166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56" name="ee4p_US_2_37365">
              <a:extLst>
                <a:ext uri="{FF2B5EF4-FFF2-40B4-BE49-F238E27FC236}">
                  <a16:creationId xmlns:a16="http://schemas.microsoft.com/office/drawing/2014/main" id="{00952085-37F8-B9EF-68E3-ED37CDB883E8}"/>
                </a:ext>
              </a:extLst>
            </p:cNvPr>
            <p:cNvSpPr>
              <a:spLocks noChangeAspect="1"/>
            </p:cNvSpPr>
            <p:nvPr>
              <p:custDataLst>
                <p:tags r:id="rId410"/>
              </p:custDataLst>
            </p:nvPr>
          </p:nvSpPr>
          <p:spPr>
            <a:xfrm>
              <a:off x="2064845" y="4031437"/>
              <a:ext cx="151045" cy="96961"/>
            </a:xfrm>
            <a:custGeom>
              <a:avLst/>
              <a:gdLst>
                <a:gd name="connsiteX0" fmla="*/ 112546 w 138756"/>
                <a:gd name="connsiteY0" fmla="*/ 51947 h 86711"/>
                <a:gd name="connsiteX1" fmla="*/ 117891 w 138756"/>
                <a:gd name="connsiteY1" fmla="*/ 54933 h 86711"/>
                <a:gd name="connsiteX2" fmla="*/ 128689 w 138756"/>
                <a:gd name="connsiteY2" fmla="*/ 59421 h 86711"/>
                <a:gd name="connsiteX3" fmla="*/ 131564 w 138756"/>
                <a:gd name="connsiteY3" fmla="*/ 62571 h 86711"/>
                <a:gd name="connsiteX4" fmla="*/ 132080 w 138756"/>
                <a:gd name="connsiteY4" fmla="*/ 65951 h 86711"/>
                <a:gd name="connsiteX5" fmla="*/ 134041 w 138756"/>
                <a:gd name="connsiteY5" fmla="*/ 66379 h 86711"/>
                <a:gd name="connsiteX6" fmla="*/ 134970 w 138756"/>
                <a:gd name="connsiteY6" fmla="*/ 68696 h 86711"/>
                <a:gd name="connsiteX7" fmla="*/ 137808 w 138756"/>
                <a:gd name="connsiteY7" fmla="*/ 70722 h 86711"/>
                <a:gd name="connsiteX8" fmla="*/ 138756 w 138756"/>
                <a:gd name="connsiteY8" fmla="*/ 71879 h 86711"/>
                <a:gd name="connsiteX9" fmla="*/ 137580 w 138756"/>
                <a:gd name="connsiteY9" fmla="*/ 73743 h 86711"/>
                <a:gd name="connsiteX10" fmla="*/ 132397 w 138756"/>
                <a:gd name="connsiteY10" fmla="*/ 77314 h 86711"/>
                <a:gd name="connsiteX11" fmla="*/ 125862 w 138756"/>
                <a:gd name="connsiteY11" fmla="*/ 78878 h 86711"/>
                <a:gd name="connsiteX12" fmla="*/ 120106 w 138756"/>
                <a:gd name="connsiteY12" fmla="*/ 82874 h 86711"/>
                <a:gd name="connsiteX13" fmla="*/ 118930 w 138756"/>
                <a:gd name="connsiteY13" fmla="*/ 85439 h 86711"/>
                <a:gd name="connsiteX14" fmla="*/ 117802 w 138756"/>
                <a:gd name="connsiteY14" fmla="*/ 86711 h 86711"/>
                <a:gd name="connsiteX15" fmla="*/ 116395 w 138756"/>
                <a:gd name="connsiteY15" fmla="*/ 86611 h 86711"/>
                <a:gd name="connsiteX16" fmla="*/ 111279 w 138756"/>
                <a:gd name="connsiteY16" fmla="*/ 83894 h 86711"/>
                <a:gd name="connsiteX17" fmla="*/ 110659 w 138756"/>
                <a:gd name="connsiteY17" fmla="*/ 82431 h 86711"/>
                <a:gd name="connsiteX18" fmla="*/ 111038 w 138756"/>
                <a:gd name="connsiteY18" fmla="*/ 75638 h 86711"/>
                <a:gd name="connsiteX19" fmla="*/ 109122 w 138756"/>
                <a:gd name="connsiteY19" fmla="*/ 70122 h 86711"/>
                <a:gd name="connsiteX20" fmla="*/ 107009 w 138756"/>
                <a:gd name="connsiteY20" fmla="*/ 65904 h 86711"/>
                <a:gd name="connsiteX21" fmla="*/ 108546 w 138756"/>
                <a:gd name="connsiteY21" fmla="*/ 63739 h 86711"/>
                <a:gd name="connsiteX22" fmla="*/ 110574 w 138756"/>
                <a:gd name="connsiteY22" fmla="*/ 62065 h 86711"/>
                <a:gd name="connsiteX23" fmla="*/ 112835 w 138756"/>
                <a:gd name="connsiteY23" fmla="*/ 58896 h 86711"/>
                <a:gd name="connsiteX24" fmla="*/ 110987 w 138756"/>
                <a:gd name="connsiteY24" fmla="*/ 54828 h 86711"/>
                <a:gd name="connsiteX25" fmla="*/ 111458 w 138756"/>
                <a:gd name="connsiteY25" fmla="*/ 52373 h 86711"/>
                <a:gd name="connsiteX26" fmla="*/ 84225 w 138756"/>
                <a:gd name="connsiteY26" fmla="*/ 34543 h 86711"/>
                <a:gd name="connsiteX27" fmla="*/ 85789 w 138756"/>
                <a:gd name="connsiteY27" fmla="*/ 35215 h 86711"/>
                <a:gd name="connsiteX28" fmla="*/ 86611 w 138756"/>
                <a:gd name="connsiteY28" fmla="*/ 35934 h 86711"/>
                <a:gd name="connsiteX29" fmla="*/ 87605 w 138756"/>
                <a:gd name="connsiteY29" fmla="*/ 37176 h 86711"/>
                <a:gd name="connsiteX30" fmla="*/ 86578 w 138756"/>
                <a:gd name="connsiteY30" fmla="*/ 38735 h 86711"/>
                <a:gd name="connsiteX31" fmla="*/ 85065 w 138756"/>
                <a:gd name="connsiteY31" fmla="*/ 39484 h 86711"/>
                <a:gd name="connsiteX32" fmla="*/ 83420 w 138756"/>
                <a:gd name="connsiteY32" fmla="*/ 39137 h 86711"/>
                <a:gd name="connsiteX33" fmla="*/ 83037 w 138756"/>
                <a:gd name="connsiteY33" fmla="*/ 37322 h 86711"/>
                <a:gd name="connsiteX34" fmla="*/ 81451 w 138756"/>
                <a:gd name="connsiteY34" fmla="*/ 35011 h 86711"/>
                <a:gd name="connsiteX35" fmla="*/ 93317 w 138756"/>
                <a:gd name="connsiteY35" fmla="*/ 31765 h 86711"/>
                <a:gd name="connsiteX36" fmla="*/ 94672 w 138756"/>
                <a:gd name="connsiteY36" fmla="*/ 32875 h 86711"/>
                <a:gd name="connsiteX37" fmla="*/ 95832 w 138756"/>
                <a:gd name="connsiteY37" fmla="*/ 34476 h 86711"/>
                <a:gd name="connsiteX38" fmla="*/ 96494 w 138756"/>
                <a:gd name="connsiteY38" fmla="*/ 34950 h 86711"/>
                <a:gd name="connsiteX39" fmla="*/ 99211 w 138756"/>
                <a:gd name="connsiteY39" fmla="*/ 34239 h 86711"/>
                <a:gd name="connsiteX40" fmla="*/ 101171 w 138756"/>
                <a:gd name="connsiteY40" fmla="*/ 33978 h 86711"/>
                <a:gd name="connsiteX41" fmla="*/ 104468 w 138756"/>
                <a:gd name="connsiteY41" fmla="*/ 35730 h 86711"/>
                <a:gd name="connsiteX42" fmla="*/ 105611 w 138756"/>
                <a:gd name="connsiteY42" fmla="*/ 36932 h 86711"/>
                <a:gd name="connsiteX43" fmla="*/ 107775 w 138756"/>
                <a:gd name="connsiteY43" fmla="*/ 38218 h 86711"/>
                <a:gd name="connsiteX44" fmla="*/ 108511 w 138756"/>
                <a:gd name="connsiteY44" fmla="*/ 39148 h 86711"/>
                <a:gd name="connsiteX45" fmla="*/ 107905 w 138756"/>
                <a:gd name="connsiteY45" fmla="*/ 40274 h 86711"/>
                <a:gd name="connsiteX46" fmla="*/ 105519 w 138756"/>
                <a:gd name="connsiteY46" fmla="*/ 42137 h 86711"/>
                <a:gd name="connsiteX47" fmla="*/ 102262 w 138756"/>
                <a:gd name="connsiteY47" fmla="*/ 42568 h 86711"/>
                <a:gd name="connsiteX48" fmla="*/ 100344 w 138756"/>
                <a:gd name="connsiteY48" fmla="*/ 43362 h 86711"/>
                <a:gd name="connsiteX49" fmla="*/ 97824 w 138756"/>
                <a:gd name="connsiteY49" fmla="*/ 43191 h 86711"/>
                <a:gd name="connsiteX50" fmla="*/ 97073 w 138756"/>
                <a:gd name="connsiteY50" fmla="*/ 42854 h 86711"/>
                <a:gd name="connsiteX51" fmla="*/ 96800 w 138756"/>
                <a:gd name="connsiteY51" fmla="*/ 40501 h 86711"/>
                <a:gd name="connsiteX52" fmla="*/ 96004 w 138756"/>
                <a:gd name="connsiteY52" fmla="*/ 37974 h 86711"/>
                <a:gd name="connsiteX53" fmla="*/ 94378 w 138756"/>
                <a:gd name="connsiteY53" fmla="*/ 38273 h 86711"/>
                <a:gd name="connsiteX54" fmla="*/ 92552 w 138756"/>
                <a:gd name="connsiteY54" fmla="*/ 37425 h 86711"/>
                <a:gd name="connsiteX55" fmla="*/ 90657 w 138756"/>
                <a:gd name="connsiteY55" fmla="*/ 35305 h 86711"/>
                <a:gd name="connsiteX56" fmla="*/ 90452 w 138756"/>
                <a:gd name="connsiteY56" fmla="*/ 34037 h 86711"/>
                <a:gd name="connsiteX57" fmla="*/ 91493 w 138756"/>
                <a:gd name="connsiteY57" fmla="*/ 32025 h 86711"/>
                <a:gd name="connsiteX58" fmla="*/ 76365 w 138756"/>
                <a:gd name="connsiteY58" fmla="*/ 26552 h 86711"/>
                <a:gd name="connsiteX59" fmla="*/ 77292 w 138756"/>
                <a:gd name="connsiteY59" fmla="*/ 26937 h 86711"/>
                <a:gd name="connsiteX60" fmla="*/ 82682 w 138756"/>
                <a:gd name="connsiteY60" fmla="*/ 27669 h 86711"/>
                <a:gd name="connsiteX61" fmla="*/ 83956 w 138756"/>
                <a:gd name="connsiteY61" fmla="*/ 27355 h 86711"/>
                <a:gd name="connsiteX62" fmla="*/ 84854 w 138756"/>
                <a:gd name="connsiteY62" fmla="*/ 27953 h 86711"/>
                <a:gd name="connsiteX63" fmla="*/ 89317 w 138756"/>
                <a:gd name="connsiteY63" fmla="*/ 28320 h 86711"/>
                <a:gd name="connsiteX64" fmla="*/ 90084 w 138756"/>
                <a:gd name="connsiteY64" fmla="*/ 28544 h 86711"/>
                <a:gd name="connsiteX65" fmla="*/ 89172 w 138756"/>
                <a:gd name="connsiteY65" fmla="*/ 29919 h 86711"/>
                <a:gd name="connsiteX66" fmla="*/ 86315 w 138756"/>
                <a:gd name="connsiteY66" fmla="*/ 31177 h 86711"/>
                <a:gd name="connsiteX67" fmla="*/ 82208 w 138756"/>
                <a:gd name="connsiteY67" fmla="*/ 30073 h 86711"/>
                <a:gd name="connsiteX68" fmla="*/ 75335 w 138756"/>
                <a:gd name="connsiteY68" fmla="*/ 29677 h 86711"/>
                <a:gd name="connsiteX69" fmla="*/ 75610 w 138756"/>
                <a:gd name="connsiteY69" fmla="*/ 28619 h 86711"/>
                <a:gd name="connsiteX70" fmla="*/ 76265 w 138756"/>
                <a:gd name="connsiteY70" fmla="*/ 27865 h 86711"/>
                <a:gd name="connsiteX71" fmla="*/ 58189 w 138756"/>
                <a:gd name="connsiteY71" fmla="*/ 13962 h 86711"/>
                <a:gd name="connsiteX72" fmla="*/ 61020 w 138756"/>
                <a:gd name="connsiteY72" fmla="*/ 17916 h 86711"/>
                <a:gd name="connsiteX73" fmla="*/ 60946 w 138756"/>
                <a:gd name="connsiteY73" fmla="*/ 19023 h 86711"/>
                <a:gd name="connsiteX74" fmla="*/ 61579 w 138756"/>
                <a:gd name="connsiteY74" fmla="*/ 20104 h 86711"/>
                <a:gd name="connsiteX75" fmla="*/ 62350 w 138756"/>
                <a:gd name="connsiteY75" fmla="*/ 20500 h 86711"/>
                <a:gd name="connsiteX76" fmla="*/ 63226 w 138756"/>
                <a:gd name="connsiteY76" fmla="*/ 20652 h 86711"/>
                <a:gd name="connsiteX77" fmla="*/ 64351 w 138756"/>
                <a:gd name="connsiteY77" fmla="*/ 20471 h 86711"/>
                <a:gd name="connsiteX78" fmla="*/ 64743 w 138756"/>
                <a:gd name="connsiteY78" fmla="*/ 22597 h 86711"/>
                <a:gd name="connsiteX79" fmla="*/ 66054 w 138756"/>
                <a:gd name="connsiteY79" fmla="*/ 23775 h 86711"/>
                <a:gd name="connsiteX80" fmla="*/ 66532 w 138756"/>
                <a:gd name="connsiteY80" fmla="*/ 24478 h 86711"/>
                <a:gd name="connsiteX81" fmla="*/ 65117 w 138756"/>
                <a:gd name="connsiteY81" fmla="*/ 25220 h 86711"/>
                <a:gd name="connsiteX82" fmla="*/ 62365 w 138756"/>
                <a:gd name="connsiteY82" fmla="*/ 25518 h 86711"/>
                <a:gd name="connsiteX83" fmla="*/ 61075 w 138756"/>
                <a:gd name="connsiteY83" fmla="*/ 24926 h 86711"/>
                <a:gd name="connsiteX84" fmla="*/ 59738 w 138756"/>
                <a:gd name="connsiteY84" fmla="*/ 23598 h 86711"/>
                <a:gd name="connsiteX85" fmla="*/ 58291 w 138756"/>
                <a:gd name="connsiteY85" fmla="*/ 23962 h 86711"/>
                <a:gd name="connsiteX86" fmla="*/ 58040 w 138756"/>
                <a:gd name="connsiteY86" fmla="*/ 22894 h 86711"/>
                <a:gd name="connsiteX87" fmla="*/ 57782 w 138756"/>
                <a:gd name="connsiteY87" fmla="*/ 22585 h 86711"/>
                <a:gd name="connsiteX88" fmla="*/ 56790 w 138756"/>
                <a:gd name="connsiteY88" fmla="*/ 22873 h 86711"/>
                <a:gd name="connsiteX89" fmla="*/ 57718 w 138756"/>
                <a:gd name="connsiteY89" fmla="*/ 24251 h 86711"/>
                <a:gd name="connsiteX90" fmla="*/ 55213 w 138756"/>
                <a:gd name="connsiteY90" fmla="*/ 24353 h 86711"/>
                <a:gd name="connsiteX91" fmla="*/ 54416 w 138756"/>
                <a:gd name="connsiteY91" fmla="*/ 24183 h 86711"/>
                <a:gd name="connsiteX92" fmla="*/ 53715 w 138756"/>
                <a:gd name="connsiteY92" fmla="*/ 22622 h 86711"/>
                <a:gd name="connsiteX93" fmla="*/ 51131 w 138756"/>
                <a:gd name="connsiteY93" fmla="*/ 19627 h 86711"/>
                <a:gd name="connsiteX94" fmla="*/ 51143 w 138756"/>
                <a:gd name="connsiteY94" fmla="*/ 18459 h 86711"/>
                <a:gd name="connsiteX95" fmla="*/ 50264 w 138756"/>
                <a:gd name="connsiteY95" fmla="*/ 17064 h 86711"/>
                <a:gd name="connsiteX96" fmla="*/ 54092 w 138756"/>
                <a:gd name="connsiteY96" fmla="*/ 16664 h 86711"/>
                <a:gd name="connsiteX97" fmla="*/ 56712 w 138756"/>
                <a:gd name="connsiteY97" fmla="*/ 14218 h 86711"/>
                <a:gd name="connsiteX98" fmla="*/ 3643 w 138756"/>
                <a:gd name="connsiteY98" fmla="*/ 5567 h 86711"/>
                <a:gd name="connsiteX99" fmla="*/ 4968 w 138756"/>
                <a:gd name="connsiteY99" fmla="*/ 5850 h 86711"/>
                <a:gd name="connsiteX100" fmla="*/ 4254 w 138756"/>
                <a:gd name="connsiteY100" fmla="*/ 7096 h 86711"/>
                <a:gd name="connsiteX101" fmla="*/ 4169 w 138756"/>
                <a:gd name="connsiteY101" fmla="*/ 8451 h 86711"/>
                <a:gd name="connsiteX102" fmla="*/ 2297 w 138756"/>
                <a:gd name="connsiteY102" fmla="*/ 9219 h 86711"/>
                <a:gd name="connsiteX103" fmla="*/ 1619 w 138756"/>
                <a:gd name="connsiteY103" fmla="*/ 10227 h 86711"/>
                <a:gd name="connsiteX104" fmla="*/ 1103 w 138756"/>
                <a:gd name="connsiteY104" fmla="*/ 11408 h 86711"/>
                <a:gd name="connsiteX105" fmla="*/ 223 w 138756"/>
                <a:gd name="connsiteY105" fmla="*/ 11227 h 86711"/>
                <a:gd name="connsiteX106" fmla="*/ 0 w 138756"/>
                <a:gd name="connsiteY106" fmla="*/ 10173 h 86711"/>
                <a:gd name="connsiteX107" fmla="*/ 576 w 138756"/>
                <a:gd name="connsiteY107" fmla="*/ 8724 h 86711"/>
                <a:gd name="connsiteX108" fmla="*/ 2030 w 138756"/>
                <a:gd name="connsiteY108" fmla="*/ 7472 h 86711"/>
                <a:gd name="connsiteX109" fmla="*/ 16945 w 138756"/>
                <a:gd name="connsiteY109" fmla="*/ 0 h 86711"/>
                <a:gd name="connsiteX110" fmla="*/ 22740 w 138756"/>
                <a:gd name="connsiteY110" fmla="*/ 95 h 86711"/>
                <a:gd name="connsiteX111" fmla="*/ 23946 w 138756"/>
                <a:gd name="connsiteY111" fmla="*/ 1851 h 86711"/>
                <a:gd name="connsiteX112" fmla="*/ 24050 w 138756"/>
                <a:gd name="connsiteY112" fmla="*/ 3157 h 86711"/>
                <a:gd name="connsiteX113" fmla="*/ 23298 w 138756"/>
                <a:gd name="connsiteY113" fmla="*/ 4618 h 86711"/>
                <a:gd name="connsiteX114" fmla="*/ 22951 w 138756"/>
                <a:gd name="connsiteY114" fmla="*/ 6681 h 86711"/>
                <a:gd name="connsiteX115" fmla="*/ 22212 w 138756"/>
                <a:gd name="connsiteY115" fmla="*/ 7785 h 86711"/>
                <a:gd name="connsiteX116" fmla="*/ 19968 w 138756"/>
                <a:gd name="connsiteY116" fmla="*/ 9290 h 86711"/>
                <a:gd name="connsiteX117" fmla="*/ 18664 w 138756"/>
                <a:gd name="connsiteY117" fmla="*/ 8640 h 86711"/>
                <a:gd name="connsiteX118" fmla="*/ 16190 w 138756"/>
                <a:gd name="connsiteY118" fmla="*/ 8395 h 86711"/>
                <a:gd name="connsiteX119" fmla="*/ 15231 w 138756"/>
                <a:gd name="connsiteY119" fmla="*/ 7266 h 86711"/>
                <a:gd name="connsiteX120" fmla="*/ 12638 w 138756"/>
                <a:gd name="connsiteY120" fmla="*/ 6246 h 86711"/>
                <a:gd name="connsiteX121" fmla="*/ 11590 w 138756"/>
                <a:gd name="connsiteY121" fmla="*/ 4856 h 86711"/>
                <a:gd name="connsiteX122" fmla="*/ 13186 w 138756"/>
                <a:gd name="connsiteY122" fmla="*/ 2222 h 86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</a:cxnLst>
              <a:rect l="l" t="t" r="r" b="b"/>
              <a:pathLst>
                <a:path w="138756" h="86711">
                  <a:moveTo>
                    <a:pt x="112546" y="51947"/>
                  </a:moveTo>
                  <a:lnTo>
                    <a:pt x="117891" y="54933"/>
                  </a:lnTo>
                  <a:lnTo>
                    <a:pt x="128689" y="59421"/>
                  </a:lnTo>
                  <a:lnTo>
                    <a:pt x="131564" y="62571"/>
                  </a:lnTo>
                  <a:lnTo>
                    <a:pt x="132080" y="65951"/>
                  </a:lnTo>
                  <a:lnTo>
                    <a:pt x="134041" y="66379"/>
                  </a:lnTo>
                  <a:lnTo>
                    <a:pt x="134970" y="68696"/>
                  </a:lnTo>
                  <a:lnTo>
                    <a:pt x="137808" y="70722"/>
                  </a:lnTo>
                  <a:lnTo>
                    <a:pt x="138756" y="71879"/>
                  </a:lnTo>
                  <a:lnTo>
                    <a:pt x="137580" y="73743"/>
                  </a:lnTo>
                  <a:lnTo>
                    <a:pt x="132397" y="77314"/>
                  </a:lnTo>
                  <a:lnTo>
                    <a:pt x="125862" y="78878"/>
                  </a:lnTo>
                  <a:lnTo>
                    <a:pt x="120106" y="82874"/>
                  </a:lnTo>
                  <a:lnTo>
                    <a:pt x="118930" y="85439"/>
                  </a:lnTo>
                  <a:lnTo>
                    <a:pt x="117802" y="86711"/>
                  </a:lnTo>
                  <a:lnTo>
                    <a:pt x="116395" y="86611"/>
                  </a:lnTo>
                  <a:lnTo>
                    <a:pt x="111279" y="83894"/>
                  </a:lnTo>
                  <a:lnTo>
                    <a:pt x="110659" y="82431"/>
                  </a:lnTo>
                  <a:lnTo>
                    <a:pt x="111038" y="75638"/>
                  </a:lnTo>
                  <a:lnTo>
                    <a:pt x="109122" y="70122"/>
                  </a:lnTo>
                  <a:lnTo>
                    <a:pt x="107009" y="65904"/>
                  </a:lnTo>
                  <a:lnTo>
                    <a:pt x="108546" y="63739"/>
                  </a:lnTo>
                  <a:lnTo>
                    <a:pt x="110574" y="62065"/>
                  </a:lnTo>
                  <a:lnTo>
                    <a:pt x="112835" y="58896"/>
                  </a:lnTo>
                  <a:lnTo>
                    <a:pt x="110987" y="54828"/>
                  </a:lnTo>
                  <a:lnTo>
                    <a:pt x="111458" y="52373"/>
                  </a:lnTo>
                  <a:close/>
                  <a:moveTo>
                    <a:pt x="84225" y="34543"/>
                  </a:moveTo>
                  <a:lnTo>
                    <a:pt x="85789" y="35215"/>
                  </a:lnTo>
                  <a:lnTo>
                    <a:pt x="86611" y="35934"/>
                  </a:lnTo>
                  <a:lnTo>
                    <a:pt x="87605" y="37176"/>
                  </a:lnTo>
                  <a:lnTo>
                    <a:pt x="86578" y="38735"/>
                  </a:lnTo>
                  <a:lnTo>
                    <a:pt x="85065" y="39484"/>
                  </a:lnTo>
                  <a:lnTo>
                    <a:pt x="83420" y="39137"/>
                  </a:lnTo>
                  <a:lnTo>
                    <a:pt x="83037" y="37322"/>
                  </a:lnTo>
                  <a:lnTo>
                    <a:pt x="81451" y="35011"/>
                  </a:lnTo>
                  <a:close/>
                  <a:moveTo>
                    <a:pt x="93317" y="31765"/>
                  </a:moveTo>
                  <a:lnTo>
                    <a:pt x="94672" y="32875"/>
                  </a:lnTo>
                  <a:lnTo>
                    <a:pt x="95832" y="34476"/>
                  </a:lnTo>
                  <a:lnTo>
                    <a:pt x="96494" y="34950"/>
                  </a:lnTo>
                  <a:lnTo>
                    <a:pt x="99211" y="34239"/>
                  </a:lnTo>
                  <a:lnTo>
                    <a:pt x="101171" y="33978"/>
                  </a:lnTo>
                  <a:lnTo>
                    <a:pt x="104468" y="35730"/>
                  </a:lnTo>
                  <a:lnTo>
                    <a:pt x="105611" y="36932"/>
                  </a:lnTo>
                  <a:lnTo>
                    <a:pt x="107775" y="38218"/>
                  </a:lnTo>
                  <a:lnTo>
                    <a:pt x="108511" y="39148"/>
                  </a:lnTo>
                  <a:lnTo>
                    <a:pt x="107905" y="40274"/>
                  </a:lnTo>
                  <a:lnTo>
                    <a:pt x="105519" y="42137"/>
                  </a:lnTo>
                  <a:lnTo>
                    <a:pt x="102262" y="42568"/>
                  </a:lnTo>
                  <a:lnTo>
                    <a:pt x="100344" y="43362"/>
                  </a:lnTo>
                  <a:lnTo>
                    <a:pt x="97824" y="43191"/>
                  </a:lnTo>
                  <a:lnTo>
                    <a:pt x="97073" y="42854"/>
                  </a:lnTo>
                  <a:lnTo>
                    <a:pt x="96800" y="40501"/>
                  </a:lnTo>
                  <a:lnTo>
                    <a:pt x="96004" y="37974"/>
                  </a:lnTo>
                  <a:lnTo>
                    <a:pt x="94378" y="38273"/>
                  </a:lnTo>
                  <a:lnTo>
                    <a:pt x="92552" y="37425"/>
                  </a:lnTo>
                  <a:lnTo>
                    <a:pt x="90657" y="35305"/>
                  </a:lnTo>
                  <a:lnTo>
                    <a:pt x="90452" y="34037"/>
                  </a:lnTo>
                  <a:lnTo>
                    <a:pt x="91493" y="32025"/>
                  </a:lnTo>
                  <a:close/>
                  <a:moveTo>
                    <a:pt x="76365" y="26552"/>
                  </a:moveTo>
                  <a:lnTo>
                    <a:pt x="77292" y="26937"/>
                  </a:lnTo>
                  <a:lnTo>
                    <a:pt x="82682" y="27669"/>
                  </a:lnTo>
                  <a:lnTo>
                    <a:pt x="83956" y="27355"/>
                  </a:lnTo>
                  <a:lnTo>
                    <a:pt x="84854" y="27953"/>
                  </a:lnTo>
                  <a:lnTo>
                    <a:pt x="89317" y="28320"/>
                  </a:lnTo>
                  <a:lnTo>
                    <a:pt x="90084" y="28544"/>
                  </a:lnTo>
                  <a:lnTo>
                    <a:pt x="89172" y="29919"/>
                  </a:lnTo>
                  <a:lnTo>
                    <a:pt x="86315" y="31177"/>
                  </a:lnTo>
                  <a:lnTo>
                    <a:pt x="82208" y="30073"/>
                  </a:lnTo>
                  <a:lnTo>
                    <a:pt x="75335" y="29677"/>
                  </a:lnTo>
                  <a:lnTo>
                    <a:pt x="75610" y="28619"/>
                  </a:lnTo>
                  <a:lnTo>
                    <a:pt x="76265" y="27865"/>
                  </a:lnTo>
                  <a:close/>
                  <a:moveTo>
                    <a:pt x="58189" y="13962"/>
                  </a:moveTo>
                  <a:lnTo>
                    <a:pt x="61020" y="17916"/>
                  </a:lnTo>
                  <a:lnTo>
                    <a:pt x="60946" y="19023"/>
                  </a:lnTo>
                  <a:lnTo>
                    <a:pt x="61579" y="20104"/>
                  </a:lnTo>
                  <a:lnTo>
                    <a:pt x="62350" y="20500"/>
                  </a:lnTo>
                  <a:lnTo>
                    <a:pt x="63226" y="20652"/>
                  </a:lnTo>
                  <a:lnTo>
                    <a:pt x="64351" y="20471"/>
                  </a:lnTo>
                  <a:lnTo>
                    <a:pt x="64743" y="22597"/>
                  </a:lnTo>
                  <a:lnTo>
                    <a:pt x="66054" y="23775"/>
                  </a:lnTo>
                  <a:lnTo>
                    <a:pt x="66532" y="24478"/>
                  </a:lnTo>
                  <a:lnTo>
                    <a:pt x="65117" y="25220"/>
                  </a:lnTo>
                  <a:lnTo>
                    <a:pt x="62365" y="25518"/>
                  </a:lnTo>
                  <a:lnTo>
                    <a:pt x="61075" y="24926"/>
                  </a:lnTo>
                  <a:lnTo>
                    <a:pt x="59738" y="23598"/>
                  </a:lnTo>
                  <a:lnTo>
                    <a:pt x="58291" y="23962"/>
                  </a:lnTo>
                  <a:lnTo>
                    <a:pt x="58040" y="22894"/>
                  </a:lnTo>
                  <a:lnTo>
                    <a:pt x="57782" y="22585"/>
                  </a:lnTo>
                  <a:lnTo>
                    <a:pt x="56790" y="22873"/>
                  </a:lnTo>
                  <a:lnTo>
                    <a:pt x="57718" y="24251"/>
                  </a:lnTo>
                  <a:lnTo>
                    <a:pt x="55213" y="24353"/>
                  </a:lnTo>
                  <a:lnTo>
                    <a:pt x="54416" y="24183"/>
                  </a:lnTo>
                  <a:lnTo>
                    <a:pt x="53715" y="22622"/>
                  </a:lnTo>
                  <a:lnTo>
                    <a:pt x="51131" y="19627"/>
                  </a:lnTo>
                  <a:lnTo>
                    <a:pt x="51143" y="18459"/>
                  </a:lnTo>
                  <a:lnTo>
                    <a:pt x="50264" y="17064"/>
                  </a:lnTo>
                  <a:lnTo>
                    <a:pt x="54092" y="16664"/>
                  </a:lnTo>
                  <a:lnTo>
                    <a:pt x="56712" y="14218"/>
                  </a:lnTo>
                  <a:close/>
                  <a:moveTo>
                    <a:pt x="3643" y="5567"/>
                  </a:moveTo>
                  <a:lnTo>
                    <a:pt x="4968" y="5850"/>
                  </a:lnTo>
                  <a:lnTo>
                    <a:pt x="4254" y="7096"/>
                  </a:lnTo>
                  <a:lnTo>
                    <a:pt x="4169" y="8451"/>
                  </a:lnTo>
                  <a:lnTo>
                    <a:pt x="2297" y="9219"/>
                  </a:lnTo>
                  <a:lnTo>
                    <a:pt x="1619" y="10227"/>
                  </a:lnTo>
                  <a:lnTo>
                    <a:pt x="1103" y="11408"/>
                  </a:lnTo>
                  <a:lnTo>
                    <a:pt x="223" y="11227"/>
                  </a:lnTo>
                  <a:lnTo>
                    <a:pt x="0" y="10173"/>
                  </a:lnTo>
                  <a:lnTo>
                    <a:pt x="576" y="8724"/>
                  </a:lnTo>
                  <a:lnTo>
                    <a:pt x="2030" y="7472"/>
                  </a:lnTo>
                  <a:close/>
                  <a:moveTo>
                    <a:pt x="16945" y="0"/>
                  </a:moveTo>
                  <a:lnTo>
                    <a:pt x="22740" y="95"/>
                  </a:lnTo>
                  <a:lnTo>
                    <a:pt x="23946" y="1851"/>
                  </a:lnTo>
                  <a:lnTo>
                    <a:pt x="24050" y="3157"/>
                  </a:lnTo>
                  <a:lnTo>
                    <a:pt x="23298" y="4618"/>
                  </a:lnTo>
                  <a:lnTo>
                    <a:pt x="22951" y="6681"/>
                  </a:lnTo>
                  <a:lnTo>
                    <a:pt x="22212" y="7785"/>
                  </a:lnTo>
                  <a:lnTo>
                    <a:pt x="19968" y="9290"/>
                  </a:lnTo>
                  <a:lnTo>
                    <a:pt x="18664" y="8640"/>
                  </a:lnTo>
                  <a:lnTo>
                    <a:pt x="16190" y="8395"/>
                  </a:lnTo>
                  <a:lnTo>
                    <a:pt x="15231" y="7266"/>
                  </a:lnTo>
                  <a:lnTo>
                    <a:pt x="12638" y="6246"/>
                  </a:lnTo>
                  <a:lnTo>
                    <a:pt x="11590" y="4856"/>
                  </a:lnTo>
                  <a:lnTo>
                    <a:pt x="13186" y="2222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57" name="ee4p_US_3_37365">
              <a:extLst>
                <a:ext uri="{FF2B5EF4-FFF2-40B4-BE49-F238E27FC236}">
                  <a16:creationId xmlns:a16="http://schemas.microsoft.com/office/drawing/2014/main" id="{11278613-71BA-4558-C5F1-59DF0AFBE82B}"/>
                </a:ext>
              </a:extLst>
            </p:cNvPr>
            <p:cNvSpPr>
              <a:spLocks noChangeAspect="1"/>
            </p:cNvSpPr>
            <p:nvPr>
              <p:custDataLst>
                <p:tags r:id="rId411"/>
              </p:custDataLst>
            </p:nvPr>
          </p:nvSpPr>
          <p:spPr>
            <a:xfrm>
              <a:off x="4628133" y="4141443"/>
              <a:ext cx="93210" cy="24173"/>
            </a:xfrm>
            <a:custGeom>
              <a:avLst/>
              <a:gdLst>
                <a:gd name="connsiteX0" fmla="*/ 80904 w 85626"/>
                <a:gd name="connsiteY0" fmla="*/ 19180 h 21617"/>
                <a:gd name="connsiteX1" fmla="*/ 83041 w 85626"/>
                <a:gd name="connsiteY1" fmla="*/ 20342 h 21617"/>
                <a:gd name="connsiteX2" fmla="*/ 85626 w 85626"/>
                <a:gd name="connsiteY2" fmla="*/ 20342 h 21617"/>
                <a:gd name="connsiteX3" fmla="*/ 82928 w 85626"/>
                <a:gd name="connsiteY3" fmla="*/ 21500 h 21617"/>
                <a:gd name="connsiteX4" fmla="*/ 77754 w 85626"/>
                <a:gd name="connsiteY4" fmla="*/ 21617 h 21617"/>
                <a:gd name="connsiteX5" fmla="*/ 77865 w 85626"/>
                <a:gd name="connsiteY5" fmla="*/ 19761 h 21617"/>
                <a:gd name="connsiteX6" fmla="*/ 1939 w 85626"/>
                <a:gd name="connsiteY6" fmla="*/ 10535 h 21617"/>
                <a:gd name="connsiteX7" fmla="*/ 2090 w 85626"/>
                <a:gd name="connsiteY7" fmla="*/ 10574 h 21617"/>
                <a:gd name="connsiteX8" fmla="*/ 2384 w 85626"/>
                <a:gd name="connsiteY8" fmla="*/ 10839 h 21617"/>
                <a:gd name="connsiteX9" fmla="*/ 2391 w 85626"/>
                <a:gd name="connsiteY9" fmla="*/ 11025 h 21617"/>
                <a:gd name="connsiteX10" fmla="*/ 2246 w 85626"/>
                <a:gd name="connsiteY10" fmla="*/ 11209 h 21617"/>
                <a:gd name="connsiteX11" fmla="*/ 1987 w 85626"/>
                <a:gd name="connsiteY11" fmla="*/ 11667 h 21617"/>
                <a:gd name="connsiteX12" fmla="*/ 1879 w 85626"/>
                <a:gd name="connsiteY12" fmla="*/ 11784 h 21617"/>
                <a:gd name="connsiteX13" fmla="*/ 1793 w 85626"/>
                <a:gd name="connsiteY13" fmla="*/ 11904 h 21617"/>
                <a:gd name="connsiteX14" fmla="*/ 1760 w 85626"/>
                <a:gd name="connsiteY14" fmla="*/ 12110 h 21617"/>
                <a:gd name="connsiteX15" fmla="*/ 1649 w 85626"/>
                <a:gd name="connsiteY15" fmla="*/ 12187 h 21617"/>
                <a:gd name="connsiteX16" fmla="*/ 1409 w 85626"/>
                <a:gd name="connsiteY16" fmla="*/ 12212 h 21617"/>
                <a:gd name="connsiteX17" fmla="*/ 1172 w 85626"/>
                <a:gd name="connsiteY17" fmla="*/ 12186 h 21617"/>
                <a:gd name="connsiteX18" fmla="*/ 1062 w 85626"/>
                <a:gd name="connsiteY18" fmla="*/ 12110 h 21617"/>
                <a:gd name="connsiteX19" fmla="*/ 898 w 85626"/>
                <a:gd name="connsiteY19" fmla="*/ 11872 h 21617"/>
                <a:gd name="connsiteX20" fmla="*/ 172 w 85626"/>
                <a:gd name="connsiteY20" fmla="*/ 11474 h 21617"/>
                <a:gd name="connsiteX21" fmla="*/ 0 w 85626"/>
                <a:gd name="connsiteY21" fmla="*/ 11114 h 21617"/>
                <a:gd name="connsiteX22" fmla="*/ 165 w 85626"/>
                <a:gd name="connsiteY22" fmla="*/ 10732 h 21617"/>
                <a:gd name="connsiteX23" fmla="*/ 463 w 85626"/>
                <a:gd name="connsiteY23" fmla="*/ 10580 h 21617"/>
                <a:gd name="connsiteX24" fmla="*/ 62753 w 85626"/>
                <a:gd name="connsiteY24" fmla="*/ 9417 h 21617"/>
                <a:gd name="connsiteX25" fmla="*/ 65583 w 85626"/>
                <a:gd name="connsiteY25" fmla="*/ 9520 h 21617"/>
                <a:gd name="connsiteX26" fmla="*/ 67204 w 85626"/>
                <a:gd name="connsiteY26" fmla="*/ 9961 h 21617"/>
                <a:gd name="connsiteX27" fmla="*/ 67403 w 85626"/>
                <a:gd name="connsiteY27" fmla="*/ 10253 h 21617"/>
                <a:gd name="connsiteX28" fmla="*/ 64068 w 85626"/>
                <a:gd name="connsiteY28" fmla="*/ 10983 h 21617"/>
                <a:gd name="connsiteX29" fmla="*/ 62068 w 85626"/>
                <a:gd name="connsiteY29" fmla="*/ 11143 h 21617"/>
                <a:gd name="connsiteX30" fmla="*/ 60765 w 85626"/>
                <a:gd name="connsiteY30" fmla="*/ 10929 h 21617"/>
                <a:gd name="connsiteX31" fmla="*/ 60328 w 85626"/>
                <a:gd name="connsiteY31" fmla="*/ 10147 h 21617"/>
                <a:gd name="connsiteX32" fmla="*/ 81241 w 85626"/>
                <a:gd name="connsiteY32" fmla="*/ 3961 h 21617"/>
                <a:gd name="connsiteX33" fmla="*/ 83603 w 85626"/>
                <a:gd name="connsiteY33" fmla="*/ 4426 h 21617"/>
                <a:gd name="connsiteX34" fmla="*/ 81915 w 85626"/>
                <a:gd name="connsiteY34" fmla="*/ 5124 h 21617"/>
                <a:gd name="connsiteX35" fmla="*/ 80777 w 85626"/>
                <a:gd name="connsiteY35" fmla="*/ 5026 h 21617"/>
                <a:gd name="connsiteX36" fmla="*/ 80340 w 85626"/>
                <a:gd name="connsiteY36" fmla="*/ 4776 h 21617"/>
                <a:gd name="connsiteX37" fmla="*/ 76404 w 85626"/>
                <a:gd name="connsiteY37" fmla="*/ 3613 h 21617"/>
                <a:gd name="connsiteX38" fmla="*/ 77755 w 85626"/>
                <a:gd name="connsiteY38" fmla="*/ 3903 h 21617"/>
                <a:gd name="connsiteX39" fmla="*/ 78879 w 85626"/>
                <a:gd name="connsiteY39" fmla="*/ 5067 h 21617"/>
                <a:gd name="connsiteX40" fmla="*/ 76968 w 85626"/>
                <a:gd name="connsiteY40" fmla="*/ 5299 h 21617"/>
                <a:gd name="connsiteX41" fmla="*/ 74322 w 85626"/>
                <a:gd name="connsiteY41" fmla="*/ 4078 h 21617"/>
                <a:gd name="connsiteX42" fmla="*/ 22383 w 85626"/>
                <a:gd name="connsiteY42" fmla="*/ 0 h 21617"/>
                <a:gd name="connsiteX43" fmla="*/ 28678 w 85626"/>
                <a:gd name="connsiteY43" fmla="*/ 783 h 21617"/>
                <a:gd name="connsiteX44" fmla="*/ 44604 w 85626"/>
                <a:gd name="connsiteY44" fmla="*/ 1224 h 21617"/>
                <a:gd name="connsiteX45" fmla="*/ 45511 w 85626"/>
                <a:gd name="connsiteY45" fmla="*/ 1359 h 21617"/>
                <a:gd name="connsiteX46" fmla="*/ 46114 w 85626"/>
                <a:gd name="connsiteY46" fmla="*/ 2037 h 21617"/>
                <a:gd name="connsiteX47" fmla="*/ 46903 w 85626"/>
                <a:gd name="connsiteY47" fmla="*/ 2557 h 21617"/>
                <a:gd name="connsiteX48" fmla="*/ 47670 w 85626"/>
                <a:gd name="connsiteY48" fmla="*/ 2483 h 21617"/>
                <a:gd name="connsiteX49" fmla="*/ 47050 w 85626"/>
                <a:gd name="connsiteY49" fmla="*/ 1403 h 21617"/>
                <a:gd name="connsiteX50" fmla="*/ 47619 w 85626"/>
                <a:gd name="connsiteY50" fmla="*/ 1403 h 21617"/>
                <a:gd name="connsiteX51" fmla="*/ 52509 w 85626"/>
                <a:gd name="connsiteY51" fmla="*/ 2066 h 21617"/>
                <a:gd name="connsiteX52" fmla="*/ 55651 w 85626"/>
                <a:gd name="connsiteY52" fmla="*/ 3181 h 21617"/>
                <a:gd name="connsiteX53" fmla="*/ 58884 w 85626"/>
                <a:gd name="connsiteY53" fmla="*/ 3713 h 21617"/>
                <a:gd name="connsiteX54" fmla="*/ 59086 w 85626"/>
                <a:gd name="connsiteY54" fmla="*/ 7380 h 21617"/>
                <a:gd name="connsiteX55" fmla="*/ 56598 w 85626"/>
                <a:gd name="connsiteY55" fmla="*/ 8847 h 21617"/>
                <a:gd name="connsiteX56" fmla="*/ 54971 w 85626"/>
                <a:gd name="connsiteY56" fmla="*/ 10378 h 21617"/>
                <a:gd name="connsiteX57" fmla="*/ 53646 w 85626"/>
                <a:gd name="connsiteY57" fmla="*/ 12255 h 21617"/>
                <a:gd name="connsiteX58" fmla="*/ 50160 w 85626"/>
                <a:gd name="connsiteY58" fmla="*/ 14440 h 21617"/>
                <a:gd name="connsiteX59" fmla="*/ 45959 w 85626"/>
                <a:gd name="connsiteY59" fmla="*/ 15096 h 21617"/>
                <a:gd name="connsiteX60" fmla="*/ 43164 w 85626"/>
                <a:gd name="connsiteY60" fmla="*/ 15153 h 21617"/>
                <a:gd name="connsiteX61" fmla="*/ 42122 w 85626"/>
                <a:gd name="connsiteY61" fmla="*/ 15083 h 21617"/>
                <a:gd name="connsiteX62" fmla="*/ 41104 w 85626"/>
                <a:gd name="connsiteY62" fmla="*/ 14710 h 21617"/>
                <a:gd name="connsiteX63" fmla="*/ 38993 w 85626"/>
                <a:gd name="connsiteY63" fmla="*/ 15067 h 21617"/>
                <a:gd name="connsiteX64" fmla="*/ 36385 w 85626"/>
                <a:gd name="connsiteY64" fmla="*/ 14107 h 21617"/>
                <a:gd name="connsiteX65" fmla="*/ 34149 w 85626"/>
                <a:gd name="connsiteY65" fmla="*/ 14348 h 21617"/>
                <a:gd name="connsiteX66" fmla="*/ 29710 w 85626"/>
                <a:gd name="connsiteY66" fmla="*/ 14118 h 21617"/>
                <a:gd name="connsiteX67" fmla="*/ 28048 w 85626"/>
                <a:gd name="connsiteY67" fmla="*/ 14948 h 21617"/>
                <a:gd name="connsiteX68" fmla="*/ 26456 w 85626"/>
                <a:gd name="connsiteY68" fmla="*/ 15137 h 21617"/>
                <a:gd name="connsiteX69" fmla="*/ 24894 w 85626"/>
                <a:gd name="connsiteY69" fmla="*/ 14982 h 21617"/>
                <a:gd name="connsiteX70" fmla="*/ 23565 w 85626"/>
                <a:gd name="connsiteY70" fmla="*/ 14611 h 21617"/>
                <a:gd name="connsiteX71" fmla="*/ 20273 w 85626"/>
                <a:gd name="connsiteY71" fmla="*/ 14642 h 21617"/>
                <a:gd name="connsiteX72" fmla="*/ 18882 w 85626"/>
                <a:gd name="connsiteY72" fmla="*/ 13918 h 21617"/>
                <a:gd name="connsiteX73" fmla="*/ 19458 w 85626"/>
                <a:gd name="connsiteY73" fmla="*/ 9748 h 21617"/>
                <a:gd name="connsiteX74" fmla="*/ 19505 w 85626"/>
                <a:gd name="connsiteY74" fmla="*/ 7857 h 21617"/>
                <a:gd name="connsiteX75" fmla="*/ 18697 w 85626"/>
                <a:gd name="connsiteY75" fmla="*/ 6298 h 21617"/>
                <a:gd name="connsiteX76" fmla="*/ 17810 w 85626"/>
                <a:gd name="connsiteY76" fmla="*/ 5315 h 21617"/>
                <a:gd name="connsiteX77" fmla="*/ 17169 w 85626"/>
                <a:gd name="connsiteY77" fmla="*/ 4157 h 21617"/>
                <a:gd name="connsiteX78" fmla="*/ 18462 w 85626"/>
                <a:gd name="connsiteY78" fmla="*/ 3391 h 21617"/>
                <a:gd name="connsiteX79" fmla="*/ 19523 w 85626"/>
                <a:gd name="connsiteY79" fmla="*/ 2279 h 21617"/>
                <a:gd name="connsiteX80" fmla="*/ 19858 w 85626"/>
                <a:gd name="connsiteY80" fmla="*/ 606 h 21617"/>
                <a:gd name="connsiteX81" fmla="*/ 21021 w 85626"/>
                <a:gd name="connsiteY81" fmla="*/ 194 h 21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85626" h="21617">
                  <a:moveTo>
                    <a:pt x="80904" y="19180"/>
                  </a:moveTo>
                  <a:lnTo>
                    <a:pt x="83041" y="20342"/>
                  </a:lnTo>
                  <a:lnTo>
                    <a:pt x="85626" y="20342"/>
                  </a:lnTo>
                  <a:lnTo>
                    <a:pt x="82928" y="21500"/>
                  </a:lnTo>
                  <a:lnTo>
                    <a:pt x="77754" y="21617"/>
                  </a:lnTo>
                  <a:lnTo>
                    <a:pt x="77865" y="19761"/>
                  </a:lnTo>
                  <a:close/>
                  <a:moveTo>
                    <a:pt x="1939" y="10535"/>
                  </a:moveTo>
                  <a:lnTo>
                    <a:pt x="2090" y="10574"/>
                  </a:lnTo>
                  <a:lnTo>
                    <a:pt x="2384" y="10839"/>
                  </a:lnTo>
                  <a:lnTo>
                    <a:pt x="2391" y="11025"/>
                  </a:lnTo>
                  <a:lnTo>
                    <a:pt x="2246" y="11209"/>
                  </a:lnTo>
                  <a:lnTo>
                    <a:pt x="1987" y="11667"/>
                  </a:lnTo>
                  <a:lnTo>
                    <a:pt x="1879" y="11784"/>
                  </a:lnTo>
                  <a:lnTo>
                    <a:pt x="1793" y="11904"/>
                  </a:lnTo>
                  <a:lnTo>
                    <a:pt x="1760" y="12110"/>
                  </a:lnTo>
                  <a:lnTo>
                    <a:pt x="1649" y="12187"/>
                  </a:lnTo>
                  <a:lnTo>
                    <a:pt x="1409" y="12212"/>
                  </a:lnTo>
                  <a:lnTo>
                    <a:pt x="1172" y="12186"/>
                  </a:lnTo>
                  <a:lnTo>
                    <a:pt x="1062" y="12110"/>
                  </a:lnTo>
                  <a:lnTo>
                    <a:pt x="898" y="11872"/>
                  </a:lnTo>
                  <a:lnTo>
                    <a:pt x="172" y="11474"/>
                  </a:lnTo>
                  <a:lnTo>
                    <a:pt x="0" y="11114"/>
                  </a:lnTo>
                  <a:lnTo>
                    <a:pt x="165" y="10732"/>
                  </a:lnTo>
                  <a:lnTo>
                    <a:pt x="463" y="10580"/>
                  </a:lnTo>
                  <a:close/>
                  <a:moveTo>
                    <a:pt x="62753" y="9417"/>
                  </a:moveTo>
                  <a:lnTo>
                    <a:pt x="65583" y="9520"/>
                  </a:lnTo>
                  <a:lnTo>
                    <a:pt x="67204" y="9961"/>
                  </a:lnTo>
                  <a:lnTo>
                    <a:pt x="67403" y="10253"/>
                  </a:lnTo>
                  <a:lnTo>
                    <a:pt x="64068" y="10983"/>
                  </a:lnTo>
                  <a:lnTo>
                    <a:pt x="62068" y="11143"/>
                  </a:lnTo>
                  <a:lnTo>
                    <a:pt x="60765" y="10929"/>
                  </a:lnTo>
                  <a:lnTo>
                    <a:pt x="60328" y="10147"/>
                  </a:lnTo>
                  <a:close/>
                  <a:moveTo>
                    <a:pt x="81241" y="3961"/>
                  </a:moveTo>
                  <a:lnTo>
                    <a:pt x="83603" y="4426"/>
                  </a:lnTo>
                  <a:lnTo>
                    <a:pt x="81915" y="5124"/>
                  </a:lnTo>
                  <a:lnTo>
                    <a:pt x="80777" y="5026"/>
                  </a:lnTo>
                  <a:lnTo>
                    <a:pt x="80340" y="4776"/>
                  </a:lnTo>
                  <a:close/>
                  <a:moveTo>
                    <a:pt x="76404" y="3613"/>
                  </a:moveTo>
                  <a:lnTo>
                    <a:pt x="77755" y="3903"/>
                  </a:lnTo>
                  <a:lnTo>
                    <a:pt x="78879" y="5067"/>
                  </a:lnTo>
                  <a:lnTo>
                    <a:pt x="76968" y="5299"/>
                  </a:lnTo>
                  <a:lnTo>
                    <a:pt x="74322" y="4078"/>
                  </a:lnTo>
                  <a:close/>
                  <a:moveTo>
                    <a:pt x="22383" y="0"/>
                  </a:moveTo>
                  <a:lnTo>
                    <a:pt x="28678" y="783"/>
                  </a:lnTo>
                  <a:lnTo>
                    <a:pt x="44604" y="1224"/>
                  </a:lnTo>
                  <a:lnTo>
                    <a:pt x="45511" y="1359"/>
                  </a:lnTo>
                  <a:lnTo>
                    <a:pt x="46114" y="2037"/>
                  </a:lnTo>
                  <a:lnTo>
                    <a:pt x="46903" y="2557"/>
                  </a:lnTo>
                  <a:lnTo>
                    <a:pt x="47670" y="2483"/>
                  </a:lnTo>
                  <a:lnTo>
                    <a:pt x="47050" y="1403"/>
                  </a:lnTo>
                  <a:lnTo>
                    <a:pt x="47619" y="1403"/>
                  </a:lnTo>
                  <a:lnTo>
                    <a:pt x="52509" y="2066"/>
                  </a:lnTo>
                  <a:lnTo>
                    <a:pt x="55651" y="3181"/>
                  </a:lnTo>
                  <a:lnTo>
                    <a:pt x="58884" y="3713"/>
                  </a:lnTo>
                  <a:lnTo>
                    <a:pt x="59086" y="7380"/>
                  </a:lnTo>
                  <a:lnTo>
                    <a:pt x="56598" y="8847"/>
                  </a:lnTo>
                  <a:lnTo>
                    <a:pt x="54971" y="10378"/>
                  </a:lnTo>
                  <a:lnTo>
                    <a:pt x="53646" y="12255"/>
                  </a:lnTo>
                  <a:lnTo>
                    <a:pt x="50160" y="14440"/>
                  </a:lnTo>
                  <a:lnTo>
                    <a:pt x="45959" y="15096"/>
                  </a:lnTo>
                  <a:lnTo>
                    <a:pt x="43164" y="15153"/>
                  </a:lnTo>
                  <a:lnTo>
                    <a:pt x="42122" y="15083"/>
                  </a:lnTo>
                  <a:lnTo>
                    <a:pt x="41104" y="14710"/>
                  </a:lnTo>
                  <a:lnTo>
                    <a:pt x="38993" y="15067"/>
                  </a:lnTo>
                  <a:lnTo>
                    <a:pt x="36385" y="14107"/>
                  </a:lnTo>
                  <a:lnTo>
                    <a:pt x="34149" y="14348"/>
                  </a:lnTo>
                  <a:lnTo>
                    <a:pt x="29710" y="14118"/>
                  </a:lnTo>
                  <a:lnTo>
                    <a:pt x="28048" y="14948"/>
                  </a:lnTo>
                  <a:lnTo>
                    <a:pt x="26456" y="15137"/>
                  </a:lnTo>
                  <a:lnTo>
                    <a:pt x="24894" y="14982"/>
                  </a:lnTo>
                  <a:lnTo>
                    <a:pt x="23565" y="14611"/>
                  </a:lnTo>
                  <a:lnTo>
                    <a:pt x="20273" y="14642"/>
                  </a:lnTo>
                  <a:lnTo>
                    <a:pt x="18882" y="13918"/>
                  </a:lnTo>
                  <a:lnTo>
                    <a:pt x="19458" y="9748"/>
                  </a:lnTo>
                  <a:lnTo>
                    <a:pt x="19505" y="7857"/>
                  </a:lnTo>
                  <a:lnTo>
                    <a:pt x="18697" y="6298"/>
                  </a:lnTo>
                  <a:lnTo>
                    <a:pt x="17810" y="5315"/>
                  </a:lnTo>
                  <a:lnTo>
                    <a:pt x="17169" y="4157"/>
                  </a:lnTo>
                  <a:lnTo>
                    <a:pt x="18462" y="3391"/>
                  </a:lnTo>
                  <a:lnTo>
                    <a:pt x="19523" y="2279"/>
                  </a:lnTo>
                  <a:lnTo>
                    <a:pt x="19858" y="606"/>
                  </a:lnTo>
                  <a:lnTo>
                    <a:pt x="21021" y="194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58" name="ee4p_US_4_37365">
              <a:extLst>
                <a:ext uri="{FF2B5EF4-FFF2-40B4-BE49-F238E27FC236}">
                  <a16:creationId xmlns:a16="http://schemas.microsoft.com/office/drawing/2014/main" id="{81876A0F-B5BB-371E-A2D2-BB2627545ADF}"/>
                </a:ext>
              </a:extLst>
            </p:cNvPr>
            <p:cNvSpPr>
              <a:spLocks noChangeAspect="1"/>
            </p:cNvSpPr>
            <p:nvPr>
              <p:custDataLst>
                <p:tags r:id="rId412"/>
              </p:custDataLst>
            </p:nvPr>
          </p:nvSpPr>
          <p:spPr>
            <a:xfrm>
              <a:off x="3051588" y="3140558"/>
              <a:ext cx="1602928" cy="821029"/>
            </a:xfrm>
            <a:custGeom>
              <a:avLst/>
              <a:gdLst>
                <a:gd name="connsiteX0" fmla="*/ 1095457 w 1472512"/>
                <a:gd name="connsiteY0" fmla="*/ 733306 h 734237"/>
                <a:gd name="connsiteX1" fmla="*/ 1096197 w 1472512"/>
                <a:gd name="connsiteY1" fmla="*/ 733339 h 734237"/>
                <a:gd name="connsiteX2" fmla="*/ 1096170 w 1472512"/>
                <a:gd name="connsiteY2" fmla="*/ 733907 h 734237"/>
                <a:gd name="connsiteX3" fmla="*/ 1095045 w 1472512"/>
                <a:gd name="connsiteY3" fmla="*/ 734176 h 734237"/>
                <a:gd name="connsiteX4" fmla="*/ 1094396 w 1472512"/>
                <a:gd name="connsiteY4" fmla="*/ 734237 h 734237"/>
                <a:gd name="connsiteX5" fmla="*/ 1094341 w 1472512"/>
                <a:gd name="connsiteY5" fmla="*/ 733817 h 734237"/>
                <a:gd name="connsiteX6" fmla="*/ 1100696 w 1472512"/>
                <a:gd name="connsiteY6" fmla="*/ 730258 h 734237"/>
                <a:gd name="connsiteX7" fmla="*/ 1101478 w 1472512"/>
                <a:gd name="connsiteY7" fmla="*/ 731523 h 734237"/>
                <a:gd name="connsiteX8" fmla="*/ 1101463 w 1472512"/>
                <a:gd name="connsiteY8" fmla="*/ 732291 h 734237"/>
                <a:gd name="connsiteX9" fmla="*/ 1100584 w 1472512"/>
                <a:gd name="connsiteY9" fmla="*/ 732677 h 734237"/>
                <a:gd name="connsiteX10" fmla="*/ 1098932 w 1472512"/>
                <a:gd name="connsiteY10" fmla="*/ 732945 h 734237"/>
                <a:gd name="connsiteX11" fmla="*/ 1100265 w 1472512"/>
                <a:gd name="connsiteY11" fmla="*/ 731877 h 734237"/>
                <a:gd name="connsiteX12" fmla="*/ 1104323 w 1472512"/>
                <a:gd name="connsiteY12" fmla="*/ 728609 h 734237"/>
                <a:gd name="connsiteX13" fmla="*/ 1106818 w 1472512"/>
                <a:gd name="connsiteY13" fmla="*/ 730369 h 734237"/>
                <a:gd name="connsiteX14" fmla="*/ 1106882 w 1472512"/>
                <a:gd name="connsiteY14" fmla="*/ 730841 h 734237"/>
                <a:gd name="connsiteX15" fmla="*/ 1106499 w 1472512"/>
                <a:gd name="connsiteY15" fmla="*/ 731306 h 734237"/>
                <a:gd name="connsiteX16" fmla="*/ 1105735 w 1472512"/>
                <a:gd name="connsiteY16" fmla="*/ 731863 h 734237"/>
                <a:gd name="connsiteX17" fmla="*/ 1105370 w 1472512"/>
                <a:gd name="connsiteY17" fmla="*/ 731691 h 734237"/>
                <a:gd name="connsiteX18" fmla="*/ 1105370 w 1472512"/>
                <a:gd name="connsiteY18" fmla="*/ 730879 h 734237"/>
                <a:gd name="connsiteX19" fmla="*/ 1104283 w 1472512"/>
                <a:gd name="connsiteY19" fmla="*/ 729079 h 734237"/>
                <a:gd name="connsiteX20" fmla="*/ 1116814 w 1472512"/>
                <a:gd name="connsiteY20" fmla="*/ 728352 h 734237"/>
                <a:gd name="connsiteX21" fmla="*/ 1115323 w 1472512"/>
                <a:gd name="connsiteY21" fmla="*/ 729209 h 734237"/>
                <a:gd name="connsiteX22" fmla="*/ 1113913 w 1472512"/>
                <a:gd name="connsiteY22" fmla="*/ 729509 h 734237"/>
                <a:gd name="connsiteX23" fmla="*/ 1112745 w 1472512"/>
                <a:gd name="connsiteY23" fmla="*/ 730152 h 734237"/>
                <a:gd name="connsiteX24" fmla="*/ 1111537 w 1472512"/>
                <a:gd name="connsiteY24" fmla="*/ 729680 h 734237"/>
                <a:gd name="connsiteX25" fmla="*/ 1112866 w 1472512"/>
                <a:gd name="connsiteY25" fmla="*/ 729038 h 734237"/>
                <a:gd name="connsiteX26" fmla="*/ 1120157 w 1472512"/>
                <a:gd name="connsiteY26" fmla="*/ 725997 h 734237"/>
                <a:gd name="connsiteX27" fmla="*/ 1120520 w 1472512"/>
                <a:gd name="connsiteY27" fmla="*/ 726297 h 734237"/>
                <a:gd name="connsiteX28" fmla="*/ 1120479 w 1472512"/>
                <a:gd name="connsiteY28" fmla="*/ 726682 h 734237"/>
                <a:gd name="connsiteX29" fmla="*/ 1119392 w 1472512"/>
                <a:gd name="connsiteY29" fmla="*/ 727154 h 734237"/>
                <a:gd name="connsiteX30" fmla="*/ 1118908 w 1472512"/>
                <a:gd name="connsiteY30" fmla="*/ 727154 h 734237"/>
                <a:gd name="connsiteX31" fmla="*/ 1119150 w 1472512"/>
                <a:gd name="connsiteY31" fmla="*/ 726768 h 734237"/>
                <a:gd name="connsiteX32" fmla="*/ 1124589 w 1472512"/>
                <a:gd name="connsiteY32" fmla="*/ 723424 h 734237"/>
                <a:gd name="connsiteX33" fmla="*/ 1124872 w 1472512"/>
                <a:gd name="connsiteY33" fmla="*/ 723511 h 734237"/>
                <a:gd name="connsiteX34" fmla="*/ 1124267 w 1472512"/>
                <a:gd name="connsiteY34" fmla="*/ 724455 h 734237"/>
                <a:gd name="connsiteX35" fmla="*/ 1123583 w 1472512"/>
                <a:gd name="connsiteY35" fmla="*/ 724582 h 734237"/>
                <a:gd name="connsiteX36" fmla="*/ 1133991 w 1472512"/>
                <a:gd name="connsiteY36" fmla="*/ 712382 h 734237"/>
                <a:gd name="connsiteX37" fmla="*/ 1130810 w 1472512"/>
                <a:gd name="connsiteY37" fmla="*/ 717962 h 734237"/>
                <a:gd name="connsiteX38" fmla="*/ 1125740 w 1472512"/>
                <a:gd name="connsiteY38" fmla="*/ 723068 h 734237"/>
                <a:gd name="connsiteX39" fmla="*/ 1126302 w 1472512"/>
                <a:gd name="connsiteY39" fmla="*/ 721791 h 734237"/>
                <a:gd name="connsiteX40" fmla="*/ 1128278 w 1472512"/>
                <a:gd name="connsiteY40" fmla="*/ 719058 h 734237"/>
                <a:gd name="connsiteX41" fmla="*/ 1128917 w 1472512"/>
                <a:gd name="connsiteY41" fmla="*/ 717771 h 734237"/>
                <a:gd name="connsiteX42" fmla="*/ 1130252 w 1472512"/>
                <a:gd name="connsiteY42" fmla="*/ 716956 h 734237"/>
                <a:gd name="connsiteX43" fmla="*/ 1131496 w 1472512"/>
                <a:gd name="connsiteY43" fmla="*/ 715480 h 734237"/>
                <a:gd name="connsiteX44" fmla="*/ 1131589 w 1472512"/>
                <a:gd name="connsiteY44" fmla="*/ 713758 h 734237"/>
                <a:gd name="connsiteX45" fmla="*/ 1133394 w 1472512"/>
                <a:gd name="connsiteY45" fmla="*/ 712555 h 734237"/>
                <a:gd name="connsiteX46" fmla="*/ 1084393 w 1472512"/>
                <a:gd name="connsiteY46" fmla="*/ 679632 h 734237"/>
                <a:gd name="connsiteX47" fmla="*/ 1085996 w 1472512"/>
                <a:gd name="connsiteY47" fmla="*/ 681575 h 734237"/>
                <a:gd name="connsiteX48" fmla="*/ 1086569 w 1472512"/>
                <a:gd name="connsiteY48" fmla="*/ 682015 h 734237"/>
                <a:gd name="connsiteX49" fmla="*/ 1088581 w 1472512"/>
                <a:gd name="connsiteY49" fmla="*/ 682215 h 734237"/>
                <a:gd name="connsiteX50" fmla="*/ 1087672 w 1472512"/>
                <a:gd name="connsiteY50" fmla="*/ 682928 h 734237"/>
                <a:gd name="connsiteX51" fmla="*/ 1085832 w 1472512"/>
                <a:gd name="connsiteY51" fmla="*/ 682404 h 734237"/>
                <a:gd name="connsiteX52" fmla="*/ 1084827 w 1472512"/>
                <a:gd name="connsiteY52" fmla="*/ 681468 h 734237"/>
                <a:gd name="connsiteX53" fmla="*/ 1085215 w 1472512"/>
                <a:gd name="connsiteY53" fmla="*/ 675451 h 734237"/>
                <a:gd name="connsiteX54" fmla="*/ 1086439 w 1472512"/>
                <a:gd name="connsiteY54" fmla="*/ 676415 h 734237"/>
                <a:gd name="connsiteX55" fmla="*/ 1087392 w 1472512"/>
                <a:gd name="connsiteY55" fmla="*/ 679514 h 734237"/>
                <a:gd name="connsiteX56" fmla="*/ 1087357 w 1472512"/>
                <a:gd name="connsiteY56" fmla="*/ 681122 h 734237"/>
                <a:gd name="connsiteX57" fmla="*/ 1086071 w 1472512"/>
                <a:gd name="connsiteY57" fmla="*/ 678429 h 734237"/>
                <a:gd name="connsiteX58" fmla="*/ 697033 w 1472512"/>
                <a:gd name="connsiteY58" fmla="*/ 661854 h 734237"/>
                <a:gd name="connsiteX59" fmla="*/ 697921 w 1472512"/>
                <a:gd name="connsiteY59" fmla="*/ 672691 h 734237"/>
                <a:gd name="connsiteX60" fmla="*/ 701721 w 1472512"/>
                <a:gd name="connsiteY60" fmla="*/ 686423 h 734237"/>
                <a:gd name="connsiteX61" fmla="*/ 702526 w 1472512"/>
                <a:gd name="connsiteY61" fmla="*/ 690259 h 734237"/>
                <a:gd name="connsiteX62" fmla="*/ 702172 w 1472512"/>
                <a:gd name="connsiteY62" fmla="*/ 691526 h 734237"/>
                <a:gd name="connsiteX63" fmla="*/ 700061 w 1472512"/>
                <a:gd name="connsiteY63" fmla="*/ 685603 h 734237"/>
                <a:gd name="connsiteX64" fmla="*/ 696623 w 1472512"/>
                <a:gd name="connsiteY64" fmla="*/ 672170 h 734237"/>
                <a:gd name="connsiteX65" fmla="*/ 696493 w 1472512"/>
                <a:gd name="connsiteY65" fmla="*/ 664497 h 734237"/>
                <a:gd name="connsiteX66" fmla="*/ 705335 w 1472512"/>
                <a:gd name="connsiteY66" fmla="*/ 644642 h 734237"/>
                <a:gd name="connsiteX67" fmla="*/ 700481 w 1472512"/>
                <a:gd name="connsiteY67" fmla="*/ 652376 h 734237"/>
                <a:gd name="connsiteX68" fmla="*/ 697859 w 1472512"/>
                <a:gd name="connsiteY68" fmla="*/ 659007 h 734237"/>
                <a:gd name="connsiteX69" fmla="*/ 697064 w 1472512"/>
                <a:gd name="connsiteY69" fmla="*/ 660588 h 734237"/>
                <a:gd name="connsiteX70" fmla="*/ 697283 w 1472512"/>
                <a:gd name="connsiteY70" fmla="*/ 658232 h 734237"/>
                <a:gd name="connsiteX71" fmla="*/ 699355 w 1472512"/>
                <a:gd name="connsiteY71" fmla="*/ 652874 h 734237"/>
                <a:gd name="connsiteX72" fmla="*/ 703564 w 1472512"/>
                <a:gd name="connsiteY72" fmla="*/ 645823 h 734237"/>
                <a:gd name="connsiteX73" fmla="*/ 1129404 w 1472512"/>
                <a:gd name="connsiteY73" fmla="*/ 643855 h 734237"/>
                <a:gd name="connsiteX74" fmla="*/ 1130455 w 1472512"/>
                <a:gd name="connsiteY74" fmla="*/ 645400 h 734237"/>
                <a:gd name="connsiteX75" fmla="*/ 1131481 w 1472512"/>
                <a:gd name="connsiteY75" fmla="*/ 648594 h 734237"/>
                <a:gd name="connsiteX76" fmla="*/ 1135785 w 1472512"/>
                <a:gd name="connsiteY76" fmla="*/ 659603 h 734237"/>
                <a:gd name="connsiteX77" fmla="*/ 1136200 w 1472512"/>
                <a:gd name="connsiteY77" fmla="*/ 661625 h 734237"/>
                <a:gd name="connsiteX78" fmla="*/ 1133855 w 1472512"/>
                <a:gd name="connsiteY78" fmla="*/ 656932 h 734237"/>
                <a:gd name="connsiteX79" fmla="*/ 1130956 w 1472512"/>
                <a:gd name="connsiteY79" fmla="*/ 649563 h 734237"/>
                <a:gd name="connsiteX80" fmla="*/ 710518 w 1472512"/>
                <a:gd name="connsiteY80" fmla="*/ 636064 h 734237"/>
                <a:gd name="connsiteX81" fmla="*/ 710968 w 1472512"/>
                <a:gd name="connsiteY81" fmla="*/ 637283 h 734237"/>
                <a:gd name="connsiteX82" fmla="*/ 708887 w 1472512"/>
                <a:gd name="connsiteY82" fmla="*/ 639291 h 734237"/>
                <a:gd name="connsiteX83" fmla="*/ 706515 w 1472512"/>
                <a:gd name="connsiteY83" fmla="*/ 642447 h 734237"/>
                <a:gd name="connsiteX84" fmla="*/ 705960 w 1472512"/>
                <a:gd name="connsiteY84" fmla="*/ 642514 h 734237"/>
                <a:gd name="connsiteX85" fmla="*/ 707195 w 1472512"/>
                <a:gd name="connsiteY85" fmla="*/ 640256 h 734237"/>
                <a:gd name="connsiteX86" fmla="*/ 707424 w 1472512"/>
                <a:gd name="connsiteY86" fmla="*/ 639351 h 734237"/>
                <a:gd name="connsiteX87" fmla="*/ 709449 w 1472512"/>
                <a:gd name="connsiteY87" fmla="*/ 636491 h 734237"/>
                <a:gd name="connsiteX88" fmla="*/ 722095 w 1472512"/>
                <a:gd name="connsiteY88" fmla="*/ 629193 h 734237"/>
                <a:gd name="connsiteX89" fmla="*/ 721846 w 1472512"/>
                <a:gd name="connsiteY89" fmla="*/ 630404 h 734237"/>
                <a:gd name="connsiteX90" fmla="*/ 718516 w 1472512"/>
                <a:gd name="connsiteY90" fmla="*/ 632124 h 734237"/>
                <a:gd name="connsiteX91" fmla="*/ 712890 w 1472512"/>
                <a:gd name="connsiteY91" fmla="*/ 635521 h 734237"/>
                <a:gd name="connsiteX92" fmla="*/ 711953 w 1472512"/>
                <a:gd name="connsiteY92" fmla="*/ 635637 h 734237"/>
                <a:gd name="connsiteX93" fmla="*/ 713114 w 1472512"/>
                <a:gd name="connsiteY93" fmla="*/ 634145 h 734237"/>
                <a:gd name="connsiteX94" fmla="*/ 715002 w 1472512"/>
                <a:gd name="connsiteY94" fmla="*/ 633391 h 734237"/>
                <a:gd name="connsiteX95" fmla="*/ 719142 w 1472512"/>
                <a:gd name="connsiteY95" fmla="*/ 630525 h 734237"/>
                <a:gd name="connsiteX96" fmla="*/ 720831 w 1472512"/>
                <a:gd name="connsiteY96" fmla="*/ 630327 h 734237"/>
                <a:gd name="connsiteX97" fmla="*/ 721710 w 1472512"/>
                <a:gd name="connsiteY97" fmla="*/ 629339 h 734237"/>
                <a:gd name="connsiteX98" fmla="*/ 762341 w 1472512"/>
                <a:gd name="connsiteY98" fmla="*/ 602578 h 734237"/>
                <a:gd name="connsiteX99" fmla="*/ 763829 w 1472512"/>
                <a:gd name="connsiteY99" fmla="*/ 602640 h 734237"/>
                <a:gd name="connsiteX100" fmla="*/ 761346 w 1472512"/>
                <a:gd name="connsiteY100" fmla="*/ 605036 h 734237"/>
                <a:gd name="connsiteX101" fmla="*/ 756888 w 1472512"/>
                <a:gd name="connsiteY101" fmla="*/ 608009 h 734237"/>
                <a:gd name="connsiteX102" fmla="*/ 755613 w 1472512"/>
                <a:gd name="connsiteY102" fmla="*/ 608276 h 734237"/>
                <a:gd name="connsiteX103" fmla="*/ 761174 w 1472512"/>
                <a:gd name="connsiteY103" fmla="*/ 604001 h 734237"/>
                <a:gd name="connsiteX104" fmla="*/ 836342 w 1472512"/>
                <a:gd name="connsiteY104" fmla="*/ 594154 h 734237"/>
                <a:gd name="connsiteX105" fmla="*/ 837613 w 1472512"/>
                <a:gd name="connsiteY105" fmla="*/ 594237 h 734237"/>
                <a:gd name="connsiteX106" fmla="*/ 839622 w 1472512"/>
                <a:gd name="connsiteY106" fmla="*/ 595463 h 734237"/>
                <a:gd name="connsiteX107" fmla="*/ 840358 w 1472512"/>
                <a:gd name="connsiteY107" fmla="*/ 595804 h 734237"/>
                <a:gd name="connsiteX108" fmla="*/ 840699 w 1472512"/>
                <a:gd name="connsiteY108" fmla="*/ 596300 h 734237"/>
                <a:gd name="connsiteX109" fmla="*/ 840503 w 1472512"/>
                <a:gd name="connsiteY109" fmla="*/ 597076 h 734237"/>
                <a:gd name="connsiteX110" fmla="*/ 839694 w 1472512"/>
                <a:gd name="connsiteY110" fmla="*/ 598142 h 734237"/>
                <a:gd name="connsiteX111" fmla="*/ 838746 w 1472512"/>
                <a:gd name="connsiteY111" fmla="*/ 598539 h 734237"/>
                <a:gd name="connsiteX112" fmla="*/ 834526 w 1472512"/>
                <a:gd name="connsiteY112" fmla="*/ 596128 h 734237"/>
                <a:gd name="connsiteX113" fmla="*/ 834261 w 1472512"/>
                <a:gd name="connsiteY113" fmla="*/ 595091 h 734237"/>
                <a:gd name="connsiteX114" fmla="*/ 1019706 w 1472512"/>
                <a:gd name="connsiteY114" fmla="*/ 591687 h 734237"/>
                <a:gd name="connsiteX115" fmla="*/ 1015349 w 1472512"/>
                <a:gd name="connsiteY115" fmla="*/ 594190 h 734237"/>
                <a:gd name="connsiteX116" fmla="*/ 1012789 w 1472512"/>
                <a:gd name="connsiteY116" fmla="*/ 595193 h 734237"/>
                <a:gd name="connsiteX117" fmla="*/ 1010021 w 1472512"/>
                <a:gd name="connsiteY117" fmla="*/ 594464 h 734237"/>
                <a:gd name="connsiteX118" fmla="*/ 1011742 w 1472512"/>
                <a:gd name="connsiteY118" fmla="*/ 594325 h 734237"/>
                <a:gd name="connsiteX119" fmla="*/ 1012986 w 1472512"/>
                <a:gd name="connsiteY119" fmla="*/ 594620 h 734237"/>
                <a:gd name="connsiteX120" fmla="*/ 1016137 w 1472512"/>
                <a:gd name="connsiteY120" fmla="*/ 593187 h 734237"/>
                <a:gd name="connsiteX121" fmla="*/ 1017790 w 1472512"/>
                <a:gd name="connsiteY121" fmla="*/ 592101 h 734237"/>
                <a:gd name="connsiteX122" fmla="*/ 914208 w 1472512"/>
                <a:gd name="connsiteY122" fmla="*/ 591115 h 734237"/>
                <a:gd name="connsiteX123" fmla="*/ 913784 w 1472512"/>
                <a:gd name="connsiteY123" fmla="*/ 592239 h 734237"/>
                <a:gd name="connsiteX124" fmla="*/ 912398 w 1472512"/>
                <a:gd name="connsiteY124" fmla="*/ 593699 h 734237"/>
                <a:gd name="connsiteX125" fmla="*/ 912462 w 1472512"/>
                <a:gd name="connsiteY125" fmla="*/ 593143 h 734237"/>
                <a:gd name="connsiteX126" fmla="*/ 913482 w 1472512"/>
                <a:gd name="connsiteY126" fmla="*/ 591682 h 734237"/>
                <a:gd name="connsiteX127" fmla="*/ 914355 w 1472512"/>
                <a:gd name="connsiteY127" fmla="*/ 582638 h 734237"/>
                <a:gd name="connsiteX128" fmla="*/ 915401 w 1472512"/>
                <a:gd name="connsiteY128" fmla="*/ 584211 h 734237"/>
                <a:gd name="connsiteX129" fmla="*/ 915741 w 1472512"/>
                <a:gd name="connsiteY129" fmla="*/ 586082 h 734237"/>
                <a:gd name="connsiteX130" fmla="*/ 915362 w 1472512"/>
                <a:gd name="connsiteY130" fmla="*/ 589588 h 734237"/>
                <a:gd name="connsiteX131" fmla="*/ 914643 w 1472512"/>
                <a:gd name="connsiteY131" fmla="*/ 590476 h 734237"/>
                <a:gd name="connsiteX132" fmla="*/ 915348 w 1472512"/>
                <a:gd name="connsiteY132" fmla="*/ 586222 h 734237"/>
                <a:gd name="connsiteX133" fmla="*/ 906250 w 1472512"/>
                <a:gd name="connsiteY133" fmla="*/ 579511 h 734237"/>
                <a:gd name="connsiteX134" fmla="*/ 905586 w 1472512"/>
                <a:gd name="connsiteY134" fmla="*/ 580697 h 734237"/>
                <a:gd name="connsiteX135" fmla="*/ 905247 w 1472512"/>
                <a:gd name="connsiteY135" fmla="*/ 581875 h 734237"/>
                <a:gd name="connsiteX136" fmla="*/ 905337 w 1472512"/>
                <a:gd name="connsiteY136" fmla="*/ 583173 h 734237"/>
                <a:gd name="connsiteX137" fmla="*/ 904087 w 1472512"/>
                <a:gd name="connsiteY137" fmla="*/ 582527 h 734237"/>
                <a:gd name="connsiteX138" fmla="*/ 902236 w 1472512"/>
                <a:gd name="connsiteY138" fmla="*/ 582468 h 734237"/>
                <a:gd name="connsiteX139" fmla="*/ 903051 w 1472512"/>
                <a:gd name="connsiteY139" fmla="*/ 582024 h 734237"/>
                <a:gd name="connsiteX140" fmla="*/ 903624 w 1472512"/>
                <a:gd name="connsiteY140" fmla="*/ 581592 h 734237"/>
                <a:gd name="connsiteX141" fmla="*/ 903908 w 1472512"/>
                <a:gd name="connsiteY141" fmla="*/ 581127 h 734237"/>
                <a:gd name="connsiteX142" fmla="*/ 918030 w 1472512"/>
                <a:gd name="connsiteY142" fmla="*/ 576838 h 734237"/>
                <a:gd name="connsiteX143" fmla="*/ 921827 w 1472512"/>
                <a:gd name="connsiteY143" fmla="*/ 577820 h 734237"/>
                <a:gd name="connsiteX144" fmla="*/ 922232 w 1472512"/>
                <a:gd name="connsiteY144" fmla="*/ 578190 h 734237"/>
                <a:gd name="connsiteX145" fmla="*/ 921912 w 1472512"/>
                <a:gd name="connsiteY145" fmla="*/ 578501 h 734237"/>
                <a:gd name="connsiteX146" fmla="*/ 919652 w 1472512"/>
                <a:gd name="connsiteY146" fmla="*/ 577919 h 734237"/>
                <a:gd name="connsiteX147" fmla="*/ 918279 w 1472512"/>
                <a:gd name="connsiteY147" fmla="*/ 577378 h 734237"/>
                <a:gd name="connsiteX148" fmla="*/ 933681 w 1472512"/>
                <a:gd name="connsiteY148" fmla="*/ 576572 h 734237"/>
                <a:gd name="connsiteX149" fmla="*/ 934650 w 1472512"/>
                <a:gd name="connsiteY149" fmla="*/ 577170 h 734237"/>
                <a:gd name="connsiteX150" fmla="*/ 932406 w 1472512"/>
                <a:gd name="connsiteY150" fmla="*/ 577769 h 734237"/>
                <a:gd name="connsiteX151" fmla="*/ 929078 w 1472512"/>
                <a:gd name="connsiteY151" fmla="*/ 577714 h 734237"/>
                <a:gd name="connsiteX152" fmla="*/ 928402 w 1472512"/>
                <a:gd name="connsiteY152" fmla="*/ 577503 h 734237"/>
                <a:gd name="connsiteX153" fmla="*/ 929737 w 1472512"/>
                <a:gd name="connsiteY153" fmla="*/ 577104 h 734237"/>
                <a:gd name="connsiteX154" fmla="*/ 1104351 w 1472512"/>
                <a:gd name="connsiteY154" fmla="*/ 557012 h 734237"/>
                <a:gd name="connsiteX155" fmla="*/ 1103218 w 1472512"/>
                <a:gd name="connsiteY155" fmla="*/ 563852 h 734237"/>
                <a:gd name="connsiteX156" fmla="*/ 1102726 w 1472512"/>
                <a:gd name="connsiteY156" fmla="*/ 561431 h 734237"/>
                <a:gd name="connsiteX157" fmla="*/ 1102677 w 1472512"/>
                <a:gd name="connsiteY157" fmla="*/ 559079 h 734237"/>
                <a:gd name="connsiteX158" fmla="*/ 1103537 w 1472512"/>
                <a:gd name="connsiteY158" fmla="*/ 557687 h 734237"/>
                <a:gd name="connsiteX159" fmla="*/ 156960 w 1472512"/>
                <a:gd name="connsiteY159" fmla="*/ 498703 h 734237"/>
                <a:gd name="connsiteX160" fmla="*/ 158226 w 1472512"/>
                <a:gd name="connsiteY160" fmla="*/ 500775 h 734237"/>
                <a:gd name="connsiteX161" fmla="*/ 161396 w 1472512"/>
                <a:gd name="connsiteY161" fmla="*/ 503919 h 734237"/>
                <a:gd name="connsiteX162" fmla="*/ 162232 w 1472512"/>
                <a:gd name="connsiteY162" fmla="*/ 504540 h 734237"/>
                <a:gd name="connsiteX163" fmla="*/ 160747 w 1472512"/>
                <a:gd name="connsiteY163" fmla="*/ 504799 h 734237"/>
                <a:gd name="connsiteX164" fmla="*/ 159100 w 1472512"/>
                <a:gd name="connsiteY164" fmla="*/ 504218 h 734237"/>
                <a:gd name="connsiteX165" fmla="*/ 157679 w 1472512"/>
                <a:gd name="connsiteY165" fmla="*/ 501467 h 734237"/>
                <a:gd name="connsiteX166" fmla="*/ 156115 w 1472512"/>
                <a:gd name="connsiteY166" fmla="*/ 499316 h 734237"/>
                <a:gd name="connsiteX167" fmla="*/ 132264 w 1472512"/>
                <a:gd name="connsiteY167" fmla="*/ 491593 h 734237"/>
                <a:gd name="connsiteX168" fmla="*/ 133447 w 1472512"/>
                <a:gd name="connsiteY168" fmla="*/ 491806 h 734237"/>
                <a:gd name="connsiteX169" fmla="*/ 134383 w 1472512"/>
                <a:gd name="connsiteY169" fmla="*/ 493009 h 734237"/>
                <a:gd name="connsiteX170" fmla="*/ 134486 w 1472512"/>
                <a:gd name="connsiteY170" fmla="*/ 493443 h 734237"/>
                <a:gd name="connsiteX171" fmla="*/ 133351 w 1472512"/>
                <a:gd name="connsiteY171" fmla="*/ 493497 h 734237"/>
                <a:gd name="connsiteX172" fmla="*/ 131793 w 1472512"/>
                <a:gd name="connsiteY172" fmla="*/ 493231 h 734237"/>
                <a:gd name="connsiteX173" fmla="*/ 130987 w 1472512"/>
                <a:gd name="connsiteY173" fmla="*/ 491700 h 734237"/>
                <a:gd name="connsiteX174" fmla="*/ 157017 w 1472512"/>
                <a:gd name="connsiteY174" fmla="*/ 486023 h 734237"/>
                <a:gd name="connsiteX175" fmla="*/ 161179 w 1472512"/>
                <a:gd name="connsiteY175" fmla="*/ 487794 h 734237"/>
                <a:gd name="connsiteX176" fmla="*/ 162294 w 1472512"/>
                <a:gd name="connsiteY176" fmla="*/ 488632 h 734237"/>
                <a:gd name="connsiteX177" fmla="*/ 163583 w 1472512"/>
                <a:gd name="connsiteY177" fmla="*/ 490734 h 734237"/>
                <a:gd name="connsiteX178" fmla="*/ 161727 w 1472512"/>
                <a:gd name="connsiteY178" fmla="*/ 490475 h 734237"/>
                <a:gd name="connsiteX179" fmla="*/ 159786 w 1472512"/>
                <a:gd name="connsiteY179" fmla="*/ 490592 h 734237"/>
                <a:gd name="connsiteX180" fmla="*/ 159198 w 1472512"/>
                <a:gd name="connsiteY180" fmla="*/ 489449 h 734237"/>
                <a:gd name="connsiteX181" fmla="*/ 158618 w 1472512"/>
                <a:gd name="connsiteY181" fmla="*/ 487860 h 734237"/>
                <a:gd name="connsiteX182" fmla="*/ 158229 w 1472512"/>
                <a:gd name="connsiteY182" fmla="*/ 487454 h 734237"/>
                <a:gd name="connsiteX183" fmla="*/ 156900 w 1472512"/>
                <a:gd name="connsiteY183" fmla="*/ 487312 h 734237"/>
                <a:gd name="connsiteX184" fmla="*/ 156800 w 1472512"/>
                <a:gd name="connsiteY184" fmla="*/ 487168 h 734237"/>
                <a:gd name="connsiteX185" fmla="*/ 156644 w 1472512"/>
                <a:gd name="connsiteY185" fmla="*/ 486392 h 734237"/>
                <a:gd name="connsiteX186" fmla="*/ 118317 w 1472512"/>
                <a:gd name="connsiteY186" fmla="*/ 470293 h 734237"/>
                <a:gd name="connsiteX187" fmla="*/ 120293 w 1472512"/>
                <a:gd name="connsiteY187" fmla="*/ 471486 h 734237"/>
                <a:gd name="connsiteX188" fmla="*/ 120560 w 1472512"/>
                <a:gd name="connsiteY188" fmla="*/ 471818 h 734237"/>
                <a:gd name="connsiteX189" fmla="*/ 119040 w 1472512"/>
                <a:gd name="connsiteY189" fmla="*/ 473381 h 734237"/>
                <a:gd name="connsiteX190" fmla="*/ 117245 w 1472512"/>
                <a:gd name="connsiteY190" fmla="*/ 473781 h 734237"/>
                <a:gd name="connsiteX191" fmla="*/ 115887 w 1472512"/>
                <a:gd name="connsiteY191" fmla="*/ 473404 h 734237"/>
                <a:gd name="connsiteX192" fmla="*/ 113725 w 1472512"/>
                <a:gd name="connsiteY192" fmla="*/ 470655 h 734237"/>
                <a:gd name="connsiteX193" fmla="*/ 110770 w 1472512"/>
                <a:gd name="connsiteY193" fmla="*/ 468951 h 734237"/>
                <a:gd name="connsiteX194" fmla="*/ 111137 w 1472512"/>
                <a:gd name="connsiteY194" fmla="*/ 469314 h 734237"/>
                <a:gd name="connsiteX195" fmla="*/ 112328 w 1472512"/>
                <a:gd name="connsiteY195" fmla="*/ 470340 h 734237"/>
                <a:gd name="connsiteX196" fmla="*/ 110973 w 1472512"/>
                <a:gd name="connsiteY196" fmla="*/ 470414 h 734237"/>
                <a:gd name="connsiteX197" fmla="*/ 108886 w 1472512"/>
                <a:gd name="connsiteY197" fmla="*/ 470109 h 734237"/>
                <a:gd name="connsiteX198" fmla="*/ 109616 w 1472512"/>
                <a:gd name="connsiteY198" fmla="*/ 469438 h 734237"/>
                <a:gd name="connsiteX199" fmla="*/ 123152 w 1472512"/>
                <a:gd name="connsiteY199" fmla="*/ 468768 h 734237"/>
                <a:gd name="connsiteX200" fmla="*/ 128344 w 1472512"/>
                <a:gd name="connsiteY200" fmla="*/ 470238 h 734237"/>
                <a:gd name="connsiteX201" fmla="*/ 131143 w 1472512"/>
                <a:gd name="connsiteY201" fmla="*/ 469533 h 734237"/>
                <a:gd name="connsiteX202" fmla="*/ 131649 w 1472512"/>
                <a:gd name="connsiteY202" fmla="*/ 470246 h 734237"/>
                <a:gd name="connsiteX203" fmla="*/ 131319 w 1472512"/>
                <a:gd name="connsiteY203" fmla="*/ 470864 h 734237"/>
                <a:gd name="connsiteX204" fmla="*/ 125009 w 1472512"/>
                <a:gd name="connsiteY204" fmla="*/ 471977 h 734237"/>
                <a:gd name="connsiteX205" fmla="*/ 123071 w 1472512"/>
                <a:gd name="connsiteY205" fmla="*/ 471198 h 734237"/>
                <a:gd name="connsiteX206" fmla="*/ 122894 w 1472512"/>
                <a:gd name="connsiteY206" fmla="*/ 470130 h 734237"/>
                <a:gd name="connsiteX207" fmla="*/ 122240 w 1472512"/>
                <a:gd name="connsiteY207" fmla="*/ 469108 h 734237"/>
                <a:gd name="connsiteX208" fmla="*/ 1225398 w 1472512"/>
                <a:gd name="connsiteY208" fmla="*/ 450920 h 734237"/>
                <a:gd name="connsiteX209" fmla="*/ 1226716 w 1472512"/>
                <a:gd name="connsiteY209" fmla="*/ 451083 h 734237"/>
                <a:gd name="connsiteX210" fmla="*/ 1228655 w 1472512"/>
                <a:gd name="connsiteY210" fmla="*/ 452225 h 734237"/>
                <a:gd name="connsiteX211" fmla="*/ 1228087 w 1472512"/>
                <a:gd name="connsiteY211" fmla="*/ 452294 h 734237"/>
                <a:gd name="connsiteX212" fmla="*/ 1227085 w 1472512"/>
                <a:gd name="connsiteY212" fmla="*/ 451975 h 734237"/>
                <a:gd name="connsiteX213" fmla="*/ 1225703 w 1472512"/>
                <a:gd name="connsiteY213" fmla="*/ 451367 h 734237"/>
                <a:gd name="connsiteX214" fmla="*/ 1237300 w 1472512"/>
                <a:gd name="connsiteY214" fmla="*/ 444032 h 734237"/>
                <a:gd name="connsiteX215" fmla="*/ 1233465 w 1472512"/>
                <a:gd name="connsiteY215" fmla="*/ 447936 h 734237"/>
                <a:gd name="connsiteX216" fmla="*/ 1229742 w 1472512"/>
                <a:gd name="connsiteY216" fmla="*/ 452569 h 734237"/>
                <a:gd name="connsiteX217" fmla="*/ 1229107 w 1472512"/>
                <a:gd name="connsiteY217" fmla="*/ 452899 h 734237"/>
                <a:gd name="connsiteX218" fmla="*/ 1231442 w 1472512"/>
                <a:gd name="connsiteY218" fmla="*/ 449301 h 734237"/>
                <a:gd name="connsiteX219" fmla="*/ 1236055 w 1472512"/>
                <a:gd name="connsiteY219" fmla="*/ 444731 h 734237"/>
                <a:gd name="connsiteX220" fmla="*/ 1248152 w 1472512"/>
                <a:gd name="connsiteY220" fmla="*/ 436768 h 734237"/>
                <a:gd name="connsiteX221" fmla="*/ 1243517 w 1472512"/>
                <a:gd name="connsiteY221" fmla="*/ 438833 h 734237"/>
                <a:gd name="connsiteX222" fmla="*/ 1242993 w 1472512"/>
                <a:gd name="connsiteY222" fmla="*/ 438709 h 734237"/>
                <a:gd name="connsiteX223" fmla="*/ 1246036 w 1472512"/>
                <a:gd name="connsiteY223" fmla="*/ 437233 h 734237"/>
                <a:gd name="connsiteX224" fmla="*/ 1255255 w 1472512"/>
                <a:gd name="connsiteY224" fmla="*/ 419981 h 734237"/>
                <a:gd name="connsiteX225" fmla="*/ 1255894 w 1472512"/>
                <a:gd name="connsiteY225" fmla="*/ 421510 h 734237"/>
                <a:gd name="connsiteX226" fmla="*/ 1256456 w 1472512"/>
                <a:gd name="connsiteY226" fmla="*/ 425933 h 734237"/>
                <a:gd name="connsiteX227" fmla="*/ 1256244 w 1472512"/>
                <a:gd name="connsiteY227" fmla="*/ 429283 h 734237"/>
                <a:gd name="connsiteX228" fmla="*/ 1255106 w 1472512"/>
                <a:gd name="connsiteY228" fmla="*/ 434160 h 734237"/>
                <a:gd name="connsiteX229" fmla="*/ 1254220 w 1472512"/>
                <a:gd name="connsiteY229" fmla="*/ 435324 h 734237"/>
                <a:gd name="connsiteX230" fmla="*/ 1250798 w 1472512"/>
                <a:gd name="connsiteY230" fmla="*/ 436113 h 734237"/>
                <a:gd name="connsiteX231" fmla="*/ 1250495 w 1472512"/>
                <a:gd name="connsiteY231" fmla="*/ 435861 h 734237"/>
                <a:gd name="connsiteX232" fmla="*/ 1254417 w 1472512"/>
                <a:gd name="connsiteY232" fmla="*/ 434210 h 734237"/>
                <a:gd name="connsiteX233" fmla="*/ 1255654 w 1472512"/>
                <a:gd name="connsiteY233" fmla="*/ 428390 h 734237"/>
                <a:gd name="connsiteX234" fmla="*/ 1255824 w 1472512"/>
                <a:gd name="connsiteY234" fmla="*/ 425703 h 734237"/>
                <a:gd name="connsiteX235" fmla="*/ 1255236 w 1472512"/>
                <a:gd name="connsiteY235" fmla="*/ 420961 h 734237"/>
                <a:gd name="connsiteX236" fmla="*/ 1249804 w 1472512"/>
                <a:gd name="connsiteY236" fmla="*/ 414834 h 734237"/>
                <a:gd name="connsiteX237" fmla="*/ 1251548 w 1472512"/>
                <a:gd name="connsiteY237" fmla="*/ 415874 h 734237"/>
                <a:gd name="connsiteX238" fmla="*/ 1251860 w 1472512"/>
                <a:gd name="connsiteY238" fmla="*/ 416740 h 734237"/>
                <a:gd name="connsiteX239" fmla="*/ 1251884 w 1472512"/>
                <a:gd name="connsiteY239" fmla="*/ 417460 h 734237"/>
                <a:gd name="connsiteX240" fmla="*/ 1251499 w 1472512"/>
                <a:gd name="connsiteY240" fmla="*/ 418050 h 734237"/>
                <a:gd name="connsiteX241" fmla="*/ 1265603 w 1472512"/>
                <a:gd name="connsiteY241" fmla="*/ 345759 h 734237"/>
                <a:gd name="connsiteX242" fmla="*/ 1264626 w 1472512"/>
                <a:gd name="connsiteY242" fmla="*/ 349242 h 734237"/>
                <a:gd name="connsiteX243" fmla="*/ 1262916 w 1472512"/>
                <a:gd name="connsiteY243" fmla="*/ 352443 h 734237"/>
                <a:gd name="connsiteX244" fmla="*/ 1259604 w 1472512"/>
                <a:gd name="connsiteY244" fmla="*/ 357889 h 734237"/>
                <a:gd name="connsiteX245" fmla="*/ 1258444 w 1472512"/>
                <a:gd name="connsiteY245" fmla="*/ 358368 h 734237"/>
                <a:gd name="connsiteX246" fmla="*/ 1262336 w 1472512"/>
                <a:gd name="connsiteY246" fmla="*/ 352446 h 734237"/>
                <a:gd name="connsiteX247" fmla="*/ 1264595 w 1472512"/>
                <a:gd name="connsiteY247" fmla="*/ 347478 h 734237"/>
                <a:gd name="connsiteX248" fmla="*/ 1290888 w 1472512"/>
                <a:gd name="connsiteY248" fmla="*/ 302554 h 734237"/>
                <a:gd name="connsiteX249" fmla="*/ 1290213 w 1472512"/>
                <a:gd name="connsiteY249" fmla="*/ 304525 h 734237"/>
                <a:gd name="connsiteX250" fmla="*/ 1287221 w 1472512"/>
                <a:gd name="connsiteY250" fmla="*/ 309062 h 734237"/>
                <a:gd name="connsiteX251" fmla="*/ 1287152 w 1472512"/>
                <a:gd name="connsiteY251" fmla="*/ 308191 h 734237"/>
                <a:gd name="connsiteX252" fmla="*/ 1291048 w 1472512"/>
                <a:gd name="connsiteY252" fmla="*/ 275071 h 734237"/>
                <a:gd name="connsiteX253" fmla="*/ 1291858 w 1472512"/>
                <a:gd name="connsiteY253" fmla="*/ 275347 h 734237"/>
                <a:gd name="connsiteX254" fmla="*/ 1291892 w 1472512"/>
                <a:gd name="connsiteY254" fmla="*/ 276372 h 734237"/>
                <a:gd name="connsiteX255" fmla="*/ 1291578 w 1472512"/>
                <a:gd name="connsiteY255" fmla="*/ 277249 h 734237"/>
                <a:gd name="connsiteX256" fmla="*/ 1290077 w 1472512"/>
                <a:gd name="connsiteY256" fmla="*/ 278597 h 734237"/>
                <a:gd name="connsiteX257" fmla="*/ 1288811 w 1472512"/>
                <a:gd name="connsiteY257" fmla="*/ 279171 h 734237"/>
                <a:gd name="connsiteX258" fmla="*/ 1287593 w 1472512"/>
                <a:gd name="connsiteY258" fmla="*/ 279296 h 734237"/>
                <a:gd name="connsiteX259" fmla="*/ 1288810 w 1472512"/>
                <a:gd name="connsiteY259" fmla="*/ 276397 h 734237"/>
                <a:gd name="connsiteX260" fmla="*/ 1337638 w 1472512"/>
                <a:gd name="connsiteY260" fmla="*/ 260074 h 734237"/>
                <a:gd name="connsiteX261" fmla="*/ 1333727 w 1472512"/>
                <a:gd name="connsiteY261" fmla="*/ 263553 h 734237"/>
                <a:gd name="connsiteX262" fmla="*/ 1331626 w 1472512"/>
                <a:gd name="connsiteY262" fmla="*/ 265146 h 734237"/>
                <a:gd name="connsiteX263" fmla="*/ 1329813 w 1472512"/>
                <a:gd name="connsiteY263" fmla="*/ 267108 h 734237"/>
                <a:gd name="connsiteX264" fmla="*/ 1331452 w 1472512"/>
                <a:gd name="connsiteY264" fmla="*/ 267307 h 734237"/>
                <a:gd name="connsiteX265" fmla="*/ 1332861 w 1472512"/>
                <a:gd name="connsiteY265" fmla="*/ 266731 h 734237"/>
                <a:gd name="connsiteX266" fmla="*/ 1334197 w 1472512"/>
                <a:gd name="connsiteY266" fmla="*/ 265567 h 734237"/>
                <a:gd name="connsiteX267" fmla="*/ 1337298 w 1472512"/>
                <a:gd name="connsiteY267" fmla="*/ 263991 h 734237"/>
                <a:gd name="connsiteX268" fmla="*/ 1339940 w 1472512"/>
                <a:gd name="connsiteY268" fmla="*/ 263303 h 734237"/>
                <a:gd name="connsiteX269" fmla="*/ 1340771 w 1472512"/>
                <a:gd name="connsiteY269" fmla="*/ 263160 h 734237"/>
                <a:gd name="connsiteX270" fmla="*/ 1342032 w 1472512"/>
                <a:gd name="connsiteY270" fmla="*/ 264265 h 734237"/>
                <a:gd name="connsiteX271" fmla="*/ 1344530 w 1472512"/>
                <a:gd name="connsiteY271" fmla="*/ 263377 h 734237"/>
                <a:gd name="connsiteX272" fmla="*/ 1347099 w 1472512"/>
                <a:gd name="connsiteY272" fmla="*/ 262879 h 734237"/>
                <a:gd name="connsiteX273" fmla="*/ 1335983 w 1472512"/>
                <a:gd name="connsiteY273" fmla="*/ 267933 h 734237"/>
                <a:gd name="connsiteX274" fmla="*/ 1333710 w 1472512"/>
                <a:gd name="connsiteY274" fmla="*/ 268502 h 734237"/>
                <a:gd name="connsiteX275" fmla="*/ 1330458 w 1472512"/>
                <a:gd name="connsiteY275" fmla="*/ 270005 h 734237"/>
                <a:gd name="connsiteX276" fmla="*/ 1327384 w 1472512"/>
                <a:gd name="connsiteY276" fmla="*/ 271070 h 734237"/>
                <a:gd name="connsiteX277" fmla="*/ 1325170 w 1472512"/>
                <a:gd name="connsiteY277" fmla="*/ 271458 h 734237"/>
                <a:gd name="connsiteX278" fmla="*/ 1314164 w 1472512"/>
                <a:gd name="connsiteY278" fmla="*/ 275200 h 734237"/>
                <a:gd name="connsiteX279" fmla="*/ 1313291 w 1472512"/>
                <a:gd name="connsiteY279" fmla="*/ 275281 h 734237"/>
                <a:gd name="connsiteX280" fmla="*/ 1312347 w 1472512"/>
                <a:gd name="connsiteY280" fmla="*/ 274916 h 734237"/>
                <a:gd name="connsiteX281" fmla="*/ 1303281 w 1472512"/>
                <a:gd name="connsiteY281" fmla="*/ 276842 h 734237"/>
                <a:gd name="connsiteX282" fmla="*/ 1299561 w 1472512"/>
                <a:gd name="connsiteY282" fmla="*/ 277060 h 734237"/>
                <a:gd name="connsiteX283" fmla="*/ 1296173 w 1472512"/>
                <a:gd name="connsiteY283" fmla="*/ 277731 h 734237"/>
                <a:gd name="connsiteX284" fmla="*/ 1298679 w 1472512"/>
                <a:gd name="connsiteY284" fmla="*/ 276181 h 734237"/>
                <a:gd name="connsiteX285" fmla="*/ 1298734 w 1472512"/>
                <a:gd name="connsiteY285" fmla="*/ 275601 h 734237"/>
                <a:gd name="connsiteX286" fmla="*/ 1298134 w 1472512"/>
                <a:gd name="connsiteY286" fmla="*/ 275147 h 734237"/>
                <a:gd name="connsiteX287" fmla="*/ 1296793 w 1472512"/>
                <a:gd name="connsiteY287" fmla="*/ 275279 h 734237"/>
                <a:gd name="connsiteX288" fmla="*/ 1295422 w 1472512"/>
                <a:gd name="connsiteY288" fmla="*/ 276875 h 734237"/>
                <a:gd name="connsiteX289" fmla="*/ 1293231 w 1472512"/>
                <a:gd name="connsiteY289" fmla="*/ 277409 h 734237"/>
                <a:gd name="connsiteX290" fmla="*/ 1292792 w 1472512"/>
                <a:gd name="connsiteY290" fmla="*/ 275670 h 734237"/>
                <a:gd name="connsiteX291" fmla="*/ 1293524 w 1472512"/>
                <a:gd name="connsiteY291" fmla="*/ 274325 h 734237"/>
                <a:gd name="connsiteX292" fmla="*/ 1294515 w 1472512"/>
                <a:gd name="connsiteY292" fmla="*/ 273047 h 734237"/>
                <a:gd name="connsiteX293" fmla="*/ 1296691 w 1472512"/>
                <a:gd name="connsiteY293" fmla="*/ 271039 h 734237"/>
                <a:gd name="connsiteX294" fmla="*/ 1299803 w 1472512"/>
                <a:gd name="connsiteY294" fmla="*/ 269765 h 734237"/>
                <a:gd name="connsiteX295" fmla="*/ 1301385 w 1472512"/>
                <a:gd name="connsiteY295" fmla="*/ 268665 h 734237"/>
                <a:gd name="connsiteX296" fmla="*/ 1302480 w 1472512"/>
                <a:gd name="connsiteY296" fmla="*/ 269634 h 734237"/>
                <a:gd name="connsiteX297" fmla="*/ 1302722 w 1472512"/>
                <a:gd name="connsiteY297" fmla="*/ 268324 h 734237"/>
                <a:gd name="connsiteX298" fmla="*/ 1303565 w 1472512"/>
                <a:gd name="connsiteY298" fmla="*/ 267567 h 734237"/>
                <a:gd name="connsiteX299" fmla="*/ 1304482 w 1472512"/>
                <a:gd name="connsiteY299" fmla="*/ 267160 h 734237"/>
                <a:gd name="connsiteX300" fmla="*/ 1306686 w 1472512"/>
                <a:gd name="connsiteY300" fmla="*/ 267150 h 734237"/>
                <a:gd name="connsiteX301" fmla="*/ 1307873 w 1472512"/>
                <a:gd name="connsiteY301" fmla="*/ 266944 h 734237"/>
                <a:gd name="connsiteX302" fmla="*/ 1308731 w 1472512"/>
                <a:gd name="connsiteY302" fmla="*/ 266508 h 734237"/>
                <a:gd name="connsiteX303" fmla="*/ 1309613 w 1472512"/>
                <a:gd name="connsiteY303" fmla="*/ 266427 h 734237"/>
                <a:gd name="connsiteX304" fmla="*/ 1312024 w 1472512"/>
                <a:gd name="connsiteY304" fmla="*/ 267021 h 734237"/>
                <a:gd name="connsiteX305" fmla="*/ 1314380 w 1472512"/>
                <a:gd name="connsiteY305" fmla="*/ 266851 h 734237"/>
                <a:gd name="connsiteX306" fmla="*/ 1316282 w 1472512"/>
                <a:gd name="connsiteY306" fmla="*/ 266031 h 734237"/>
                <a:gd name="connsiteX307" fmla="*/ 1318259 w 1472512"/>
                <a:gd name="connsiteY307" fmla="*/ 265755 h 734237"/>
                <a:gd name="connsiteX308" fmla="*/ 1323487 w 1472512"/>
                <a:gd name="connsiteY308" fmla="*/ 265569 h 734237"/>
                <a:gd name="connsiteX309" fmla="*/ 1328684 w 1472512"/>
                <a:gd name="connsiteY309" fmla="*/ 264970 h 734237"/>
                <a:gd name="connsiteX310" fmla="*/ 1330762 w 1472512"/>
                <a:gd name="connsiteY310" fmla="*/ 263902 h 734237"/>
                <a:gd name="connsiteX311" fmla="*/ 1335126 w 1472512"/>
                <a:gd name="connsiteY311" fmla="*/ 260909 h 734237"/>
                <a:gd name="connsiteX312" fmla="*/ 1394599 w 1472512"/>
                <a:gd name="connsiteY312" fmla="*/ 252637 h 734237"/>
                <a:gd name="connsiteX313" fmla="*/ 1396018 w 1472512"/>
                <a:gd name="connsiteY313" fmla="*/ 255646 h 734237"/>
                <a:gd name="connsiteX314" fmla="*/ 1396213 w 1472512"/>
                <a:gd name="connsiteY314" fmla="*/ 256653 h 734237"/>
                <a:gd name="connsiteX315" fmla="*/ 1394245 w 1472512"/>
                <a:gd name="connsiteY315" fmla="*/ 257142 h 734237"/>
                <a:gd name="connsiteX316" fmla="*/ 1389705 w 1472512"/>
                <a:gd name="connsiteY316" fmla="*/ 256020 h 734237"/>
                <a:gd name="connsiteX317" fmla="*/ 1393440 w 1472512"/>
                <a:gd name="connsiteY317" fmla="*/ 255069 h 734237"/>
                <a:gd name="connsiteX318" fmla="*/ 1394051 w 1472512"/>
                <a:gd name="connsiteY318" fmla="*/ 254738 h 734237"/>
                <a:gd name="connsiteX319" fmla="*/ 1394538 w 1472512"/>
                <a:gd name="connsiteY319" fmla="*/ 253339 h 734237"/>
                <a:gd name="connsiteX320" fmla="*/ 1379936 w 1472512"/>
                <a:gd name="connsiteY320" fmla="*/ 250817 h 734237"/>
                <a:gd name="connsiteX321" fmla="*/ 1382249 w 1472512"/>
                <a:gd name="connsiteY321" fmla="*/ 252110 h 734237"/>
                <a:gd name="connsiteX322" fmla="*/ 1382642 w 1472512"/>
                <a:gd name="connsiteY322" fmla="*/ 253282 h 734237"/>
                <a:gd name="connsiteX323" fmla="*/ 1375618 w 1472512"/>
                <a:gd name="connsiteY323" fmla="*/ 254770 h 734237"/>
                <a:gd name="connsiteX324" fmla="*/ 1374497 w 1472512"/>
                <a:gd name="connsiteY324" fmla="*/ 253809 h 734237"/>
                <a:gd name="connsiteX325" fmla="*/ 1376250 w 1472512"/>
                <a:gd name="connsiteY325" fmla="*/ 253365 h 734237"/>
                <a:gd name="connsiteX326" fmla="*/ 1378464 w 1472512"/>
                <a:gd name="connsiteY326" fmla="*/ 251082 h 734237"/>
                <a:gd name="connsiteX327" fmla="*/ 1360847 w 1472512"/>
                <a:gd name="connsiteY327" fmla="*/ 247322 h 734237"/>
                <a:gd name="connsiteX328" fmla="*/ 1361097 w 1472512"/>
                <a:gd name="connsiteY328" fmla="*/ 248224 h 734237"/>
                <a:gd name="connsiteX329" fmla="*/ 1360821 w 1472512"/>
                <a:gd name="connsiteY329" fmla="*/ 249962 h 734237"/>
                <a:gd name="connsiteX330" fmla="*/ 1360114 w 1472512"/>
                <a:gd name="connsiteY330" fmla="*/ 250527 h 734237"/>
                <a:gd name="connsiteX331" fmla="*/ 1359849 w 1472512"/>
                <a:gd name="connsiteY331" fmla="*/ 249055 h 734237"/>
                <a:gd name="connsiteX332" fmla="*/ 1360344 w 1472512"/>
                <a:gd name="connsiteY332" fmla="*/ 247362 h 734237"/>
                <a:gd name="connsiteX333" fmla="*/ 1364221 w 1472512"/>
                <a:gd name="connsiteY333" fmla="*/ 244805 h 734237"/>
                <a:gd name="connsiteX334" fmla="*/ 1363983 w 1472512"/>
                <a:gd name="connsiteY334" fmla="*/ 249758 h 734237"/>
                <a:gd name="connsiteX335" fmla="*/ 1362719 w 1472512"/>
                <a:gd name="connsiteY335" fmla="*/ 250592 h 734237"/>
                <a:gd name="connsiteX336" fmla="*/ 1361308 w 1472512"/>
                <a:gd name="connsiteY336" fmla="*/ 250445 h 734237"/>
                <a:gd name="connsiteX337" fmla="*/ 1362024 w 1472512"/>
                <a:gd name="connsiteY337" fmla="*/ 249320 h 734237"/>
                <a:gd name="connsiteX338" fmla="*/ 1362297 w 1472512"/>
                <a:gd name="connsiteY338" fmla="*/ 247667 h 734237"/>
                <a:gd name="connsiteX339" fmla="*/ 1362994 w 1472512"/>
                <a:gd name="connsiteY339" fmla="*/ 245851 h 734237"/>
                <a:gd name="connsiteX340" fmla="*/ 1363394 w 1472512"/>
                <a:gd name="connsiteY340" fmla="*/ 245295 h 734237"/>
                <a:gd name="connsiteX341" fmla="*/ 1429406 w 1472512"/>
                <a:gd name="connsiteY341" fmla="*/ 164388 h 734237"/>
                <a:gd name="connsiteX342" fmla="*/ 1429937 w 1472512"/>
                <a:gd name="connsiteY342" fmla="*/ 164822 h 734237"/>
                <a:gd name="connsiteX343" fmla="*/ 1430772 w 1472512"/>
                <a:gd name="connsiteY343" fmla="*/ 166270 h 734237"/>
                <a:gd name="connsiteX344" fmla="*/ 1429803 w 1472512"/>
                <a:gd name="connsiteY344" fmla="*/ 166889 h 734237"/>
                <a:gd name="connsiteX345" fmla="*/ 1428770 w 1472512"/>
                <a:gd name="connsiteY345" fmla="*/ 166690 h 734237"/>
                <a:gd name="connsiteX346" fmla="*/ 1428736 w 1472512"/>
                <a:gd name="connsiteY346" fmla="*/ 165145 h 734237"/>
                <a:gd name="connsiteX347" fmla="*/ 1429049 w 1472512"/>
                <a:gd name="connsiteY347" fmla="*/ 164622 h 734237"/>
                <a:gd name="connsiteX348" fmla="*/ 1439032 w 1472512"/>
                <a:gd name="connsiteY348" fmla="*/ 158114 h 734237"/>
                <a:gd name="connsiteX349" fmla="*/ 1440597 w 1472512"/>
                <a:gd name="connsiteY349" fmla="*/ 158682 h 734237"/>
                <a:gd name="connsiteX350" fmla="*/ 1441799 w 1472512"/>
                <a:gd name="connsiteY350" fmla="*/ 161001 h 734237"/>
                <a:gd name="connsiteX351" fmla="*/ 1441893 w 1472512"/>
                <a:gd name="connsiteY351" fmla="*/ 162001 h 734237"/>
                <a:gd name="connsiteX352" fmla="*/ 1440408 w 1472512"/>
                <a:gd name="connsiteY352" fmla="*/ 162610 h 734237"/>
                <a:gd name="connsiteX353" fmla="*/ 1438781 w 1472512"/>
                <a:gd name="connsiteY353" fmla="*/ 162345 h 734237"/>
                <a:gd name="connsiteX354" fmla="*/ 1438815 w 1472512"/>
                <a:gd name="connsiteY354" fmla="*/ 163998 h 734237"/>
                <a:gd name="connsiteX355" fmla="*/ 1438632 w 1472512"/>
                <a:gd name="connsiteY355" fmla="*/ 164592 h 734237"/>
                <a:gd name="connsiteX356" fmla="*/ 1436829 w 1472512"/>
                <a:gd name="connsiteY356" fmla="*/ 163742 h 734237"/>
                <a:gd name="connsiteX357" fmla="*/ 1436167 w 1472512"/>
                <a:gd name="connsiteY357" fmla="*/ 163195 h 734237"/>
                <a:gd name="connsiteX358" fmla="*/ 1436225 w 1472512"/>
                <a:gd name="connsiteY358" fmla="*/ 161006 h 734237"/>
                <a:gd name="connsiteX359" fmla="*/ 1437818 w 1472512"/>
                <a:gd name="connsiteY359" fmla="*/ 158933 h 734237"/>
                <a:gd name="connsiteX360" fmla="*/ 46551 w 1472512"/>
                <a:gd name="connsiteY360" fmla="*/ 68443 h 734237"/>
                <a:gd name="connsiteX361" fmla="*/ 47469 w 1472512"/>
                <a:gd name="connsiteY361" fmla="*/ 70328 h 734237"/>
                <a:gd name="connsiteX362" fmla="*/ 47368 w 1472512"/>
                <a:gd name="connsiteY362" fmla="*/ 70702 h 734237"/>
                <a:gd name="connsiteX363" fmla="*/ 47126 w 1472512"/>
                <a:gd name="connsiteY363" fmla="*/ 71337 h 734237"/>
                <a:gd name="connsiteX364" fmla="*/ 46766 w 1472512"/>
                <a:gd name="connsiteY364" fmla="*/ 71302 h 734237"/>
                <a:gd name="connsiteX365" fmla="*/ 45969 w 1472512"/>
                <a:gd name="connsiteY365" fmla="*/ 70013 h 734237"/>
                <a:gd name="connsiteX366" fmla="*/ 45867 w 1472512"/>
                <a:gd name="connsiteY366" fmla="*/ 69101 h 734237"/>
                <a:gd name="connsiteX367" fmla="*/ 57175 w 1472512"/>
                <a:gd name="connsiteY367" fmla="*/ 61483 h 734237"/>
                <a:gd name="connsiteX368" fmla="*/ 57852 w 1472512"/>
                <a:gd name="connsiteY368" fmla="*/ 62902 h 734237"/>
                <a:gd name="connsiteX369" fmla="*/ 59076 w 1472512"/>
                <a:gd name="connsiteY369" fmla="*/ 64548 h 734237"/>
                <a:gd name="connsiteX370" fmla="*/ 58959 w 1472512"/>
                <a:gd name="connsiteY370" fmla="*/ 65283 h 734237"/>
                <a:gd name="connsiteX371" fmla="*/ 57980 w 1472512"/>
                <a:gd name="connsiteY371" fmla="*/ 65857 h 734237"/>
                <a:gd name="connsiteX372" fmla="*/ 57473 w 1472512"/>
                <a:gd name="connsiteY372" fmla="*/ 65709 h 734237"/>
                <a:gd name="connsiteX373" fmla="*/ 57442 w 1472512"/>
                <a:gd name="connsiteY373" fmla="*/ 64842 h 734237"/>
                <a:gd name="connsiteX374" fmla="*/ 57178 w 1472512"/>
                <a:gd name="connsiteY374" fmla="*/ 64710 h 734237"/>
                <a:gd name="connsiteX375" fmla="*/ 56122 w 1472512"/>
                <a:gd name="connsiteY375" fmla="*/ 65752 h 734237"/>
                <a:gd name="connsiteX376" fmla="*/ 56200 w 1472512"/>
                <a:gd name="connsiteY376" fmla="*/ 63694 h 734237"/>
                <a:gd name="connsiteX377" fmla="*/ 56721 w 1472512"/>
                <a:gd name="connsiteY377" fmla="*/ 61522 h 734237"/>
                <a:gd name="connsiteX378" fmla="*/ 55106 w 1472512"/>
                <a:gd name="connsiteY378" fmla="*/ 54548 h 734237"/>
                <a:gd name="connsiteX379" fmla="*/ 55936 w 1472512"/>
                <a:gd name="connsiteY379" fmla="*/ 54983 h 734237"/>
                <a:gd name="connsiteX380" fmla="*/ 56175 w 1472512"/>
                <a:gd name="connsiteY380" fmla="*/ 55240 h 734237"/>
                <a:gd name="connsiteX381" fmla="*/ 56445 w 1472512"/>
                <a:gd name="connsiteY381" fmla="*/ 58096 h 734237"/>
                <a:gd name="connsiteX382" fmla="*/ 56308 w 1472512"/>
                <a:gd name="connsiteY382" fmla="*/ 58716 h 734237"/>
                <a:gd name="connsiteX383" fmla="*/ 54901 w 1472512"/>
                <a:gd name="connsiteY383" fmla="*/ 57975 h 734237"/>
                <a:gd name="connsiteX384" fmla="*/ 54439 w 1472512"/>
                <a:gd name="connsiteY384" fmla="*/ 57289 h 734237"/>
                <a:gd name="connsiteX385" fmla="*/ 54494 w 1472512"/>
                <a:gd name="connsiteY385" fmla="*/ 55753 h 734237"/>
                <a:gd name="connsiteX386" fmla="*/ 54841 w 1472512"/>
                <a:gd name="connsiteY386" fmla="*/ 54751 h 734237"/>
                <a:gd name="connsiteX387" fmla="*/ 53094 w 1472512"/>
                <a:gd name="connsiteY387" fmla="*/ 32395 h 734237"/>
                <a:gd name="connsiteX388" fmla="*/ 53734 w 1472512"/>
                <a:gd name="connsiteY388" fmla="*/ 32513 h 734237"/>
                <a:gd name="connsiteX389" fmla="*/ 54526 w 1472512"/>
                <a:gd name="connsiteY389" fmla="*/ 33201 h 734237"/>
                <a:gd name="connsiteX390" fmla="*/ 55468 w 1472512"/>
                <a:gd name="connsiteY390" fmla="*/ 34455 h 734237"/>
                <a:gd name="connsiteX391" fmla="*/ 55293 w 1472512"/>
                <a:gd name="connsiteY391" fmla="*/ 35344 h 734237"/>
                <a:gd name="connsiteX392" fmla="*/ 51474 w 1472512"/>
                <a:gd name="connsiteY392" fmla="*/ 37071 h 734237"/>
                <a:gd name="connsiteX393" fmla="*/ 51349 w 1472512"/>
                <a:gd name="connsiteY393" fmla="*/ 37476 h 734237"/>
                <a:gd name="connsiteX394" fmla="*/ 53201 w 1472512"/>
                <a:gd name="connsiteY394" fmla="*/ 37963 h 734237"/>
                <a:gd name="connsiteX395" fmla="*/ 53885 w 1472512"/>
                <a:gd name="connsiteY395" fmla="*/ 38396 h 734237"/>
                <a:gd name="connsiteX396" fmla="*/ 54519 w 1472512"/>
                <a:gd name="connsiteY396" fmla="*/ 39826 h 734237"/>
                <a:gd name="connsiteX397" fmla="*/ 55768 w 1472512"/>
                <a:gd name="connsiteY397" fmla="*/ 44100 h 734237"/>
                <a:gd name="connsiteX398" fmla="*/ 56303 w 1472512"/>
                <a:gd name="connsiteY398" fmla="*/ 42321 h 734237"/>
                <a:gd name="connsiteX399" fmla="*/ 59775 w 1472512"/>
                <a:gd name="connsiteY399" fmla="*/ 45402 h 734237"/>
                <a:gd name="connsiteX400" fmla="*/ 59778 w 1472512"/>
                <a:gd name="connsiteY400" fmla="*/ 46920 h 734237"/>
                <a:gd name="connsiteX401" fmla="*/ 59355 w 1472512"/>
                <a:gd name="connsiteY401" fmla="*/ 47427 h 734237"/>
                <a:gd name="connsiteX402" fmla="*/ 58635 w 1472512"/>
                <a:gd name="connsiteY402" fmla="*/ 47605 h 734237"/>
                <a:gd name="connsiteX403" fmla="*/ 57967 w 1472512"/>
                <a:gd name="connsiteY403" fmla="*/ 47162 h 734237"/>
                <a:gd name="connsiteX404" fmla="*/ 57354 w 1472512"/>
                <a:gd name="connsiteY404" fmla="*/ 46101 h 734237"/>
                <a:gd name="connsiteX405" fmla="*/ 56572 w 1472512"/>
                <a:gd name="connsiteY405" fmla="*/ 45537 h 734237"/>
                <a:gd name="connsiteX406" fmla="*/ 54909 w 1472512"/>
                <a:gd name="connsiteY406" fmla="*/ 45173 h 734237"/>
                <a:gd name="connsiteX407" fmla="*/ 54044 w 1472512"/>
                <a:gd name="connsiteY407" fmla="*/ 43964 h 734237"/>
                <a:gd name="connsiteX408" fmla="*/ 53744 w 1472512"/>
                <a:gd name="connsiteY408" fmla="*/ 43137 h 734237"/>
                <a:gd name="connsiteX409" fmla="*/ 53663 w 1472512"/>
                <a:gd name="connsiteY409" fmla="*/ 40740 h 734237"/>
                <a:gd name="connsiteX410" fmla="*/ 53246 w 1472512"/>
                <a:gd name="connsiteY410" fmla="*/ 39995 h 734237"/>
                <a:gd name="connsiteX411" fmla="*/ 52363 w 1472512"/>
                <a:gd name="connsiteY411" fmla="*/ 39830 h 734237"/>
                <a:gd name="connsiteX412" fmla="*/ 51519 w 1472512"/>
                <a:gd name="connsiteY412" fmla="*/ 39263 h 734237"/>
                <a:gd name="connsiteX413" fmla="*/ 50214 w 1472512"/>
                <a:gd name="connsiteY413" fmla="*/ 37586 h 734237"/>
                <a:gd name="connsiteX414" fmla="*/ 50029 w 1472512"/>
                <a:gd name="connsiteY414" fmla="*/ 37138 h 734237"/>
                <a:gd name="connsiteX415" fmla="*/ 50648 w 1472512"/>
                <a:gd name="connsiteY415" fmla="*/ 35770 h 734237"/>
                <a:gd name="connsiteX416" fmla="*/ 52064 w 1472512"/>
                <a:gd name="connsiteY416" fmla="*/ 33481 h 734237"/>
                <a:gd name="connsiteX417" fmla="*/ 46541 w 1472512"/>
                <a:gd name="connsiteY417" fmla="*/ 26918 h 734237"/>
                <a:gd name="connsiteX418" fmla="*/ 46965 w 1472512"/>
                <a:gd name="connsiteY418" fmla="*/ 27015 h 734237"/>
                <a:gd name="connsiteX419" fmla="*/ 47144 w 1472512"/>
                <a:gd name="connsiteY419" fmla="*/ 28547 h 734237"/>
                <a:gd name="connsiteX420" fmla="*/ 48350 w 1472512"/>
                <a:gd name="connsiteY420" fmla="*/ 30168 h 734237"/>
                <a:gd name="connsiteX421" fmla="*/ 48190 w 1472512"/>
                <a:gd name="connsiteY421" fmla="*/ 30854 h 734237"/>
                <a:gd name="connsiteX422" fmla="*/ 47790 w 1472512"/>
                <a:gd name="connsiteY422" fmla="*/ 31176 h 734237"/>
                <a:gd name="connsiteX423" fmla="*/ 46426 w 1472512"/>
                <a:gd name="connsiteY423" fmla="*/ 30745 h 734237"/>
                <a:gd name="connsiteX424" fmla="*/ 45620 w 1472512"/>
                <a:gd name="connsiteY424" fmla="*/ 30018 h 734237"/>
                <a:gd name="connsiteX425" fmla="*/ 45348 w 1472512"/>
                <a:gd name="connsiteY425" fmla="*/ 29106 h 734237"/>
                <a:gd name="connsiteX426" fmla="*/ 45860 w 1472512"/>
                <a:gd name="connsiteY426" fmla="*/ 27364 h 734237"/>
                <a:gd name="connsiteX427" fmla="*/ 40708 w 1472512"/>
                <a:gd name="connsiteY427" fmla="*/ 24897 h 734237"/>
                <a:gd name="connsiteX428" fmla="*/ 43004 w 1472512"/>
                <a:gd name="connsiteY428" fmla="*/ 27348 h 734237"/>
                <a:gd name="connsiteX429" fmla="*/ 43286 w 1472512"/>
                <a:gd name="connsiteY429" fmla="*/ 28578 h 734237"/>
                <a:gd name="connsiteX430" fmla="*/ 43958 w 1472512"/>
                <a:gd name="connsiteY430" fmla="*/ 29655 h 734237"/>
                <a:gd name="connsiteX431" fmla="*/ 41211 w 1472512"/>
                <a:gd name="connsiteY431" fmla="*/ 28965 h 734237"/>
                <a:gd name="connsiteX432" fmla="*/ 40050 w 1472512"/>
                <a:gd name="connsiteY432" fmla="*/ 28348 h 734237"/>
                <a:gd name="connsiteX433" fmla="*/ 39707 w 1472512"/>
                <a:gd name="connsiteY433" fmla="*/ 27745 h 734237"/>
                <a:gd name="connsiteX434" fmla="*/ 39295 w 1472512"/>
                <a:gd name="connsiteY434" fmla="*/ 25768 h 734237"/>
                <a:gd name="connsiteX435" fmla="*/ 39484 w 1472512"/>
                <a:gd name="connsiteY435" fmla="*/ 25123 h 734237"/>
                <a:gd name="connsiteX436" fmla="*/ 46229 w 1472512"/>
                <a:gd name="connsiteY436" fmla="*/ 21714 h 734237"/>
                <a:gd name="connsiteX437" fmla="*/ 49178 w 1472512"/>
                <a:gd name="connsiteY437" fmla="*/ 22948 h 734237"/>
                <a:gd name="connsiteX438" fmla="*/ 49517 w 1472512"/>
                <a:gd name="connsiteY438" fmla="*/ 23661 h 734237"/>
                <a:gd name="connsiteX439" fmla="*/ 48493 w 1472512"/>
                <a:gd name="connsiteY439" fmla="*/ 24355 h 734237"/>
                <a:gd name="connsiteX440" fmla="*/ 47763 w 1472512"/>
                <a:gd name="connsiteY440" fmla="*/ 24461 h 734237"/>
                <a:gd name="connsiteX441" fmla="*/ 46602 w 1472512"/>
                <a:gd name="connsiteY441" fmla="*/ 23344 h 734237"/>
                <a:gd name="connsiteX442" fmla="*/ 46095 w 1472512"/>
                <a:gd name="connsiteY442" fmla="*/ 23211 h 734237"/>
                <a:gd name="connsiteX443" fmla="*/ 46503 w 1472512"/>
                <a:gd name="connsiteY443" fmla="*/ 24929 h 734237"/>
                <a:gd name="connsiteX444" fmla="*/ 46362 w 1472512"/>
                <a:gd name="connsiteY444" fmla="*/ 25513 h 734237"/>
                <a:gd name="connsiteX445" fmla="*/ 43987 w 1472512"/>
                <a:gd name="connsiteY445" fmla="*/ 24457 h 734237"/>
                <a:gd name="connsiteX446" fmla="*/ 43548 w 1472512"/>
                <a:gd name="connsiteY446" fmla="*/ 23621 h 734237"/>
                <a:gd name="connsiteX447" fmla="*/ 44215 w 1472512"/>
                <a:gd name="connsiteY447" fmla="*/ 22737 h 734237"/>
                <a:gd name="connsiteX448" fmla="*/ 45711 w 1472512"/>
                <a:gd name="connsiteY448" fmla="*/ 21824 h 734237"/>
                <a:gd name="connsiteX449" fmla="*/ 753940 w 1472512"/>
                <a:gd name="connsiteY449" fmla="*/ 0 h 734237"/>
                <a:gd name="connsiteX450" fmla="*/ 759448 w 1472512"/>
                <a:gd name="connsiteY450" fmla="*/ 670 h 734237"/>
                <a:gd name="connsiteX451" fmla="*/ 761095 w 1472512"/>
                <a:gd name="connsiteY451" fmla="*/ 1674 h 734237"/>
                <a:gd name="connsiteX452" fmla="*/ 761616 w 1472512"/>
                <a:gd name="connsiteY452" fmla="*/ 2152 h 734237"/>
                <a:gd name="connsiteX453" fmla="*/ 761461 w 1472512"/>
                <a:gd name="connsiteY453" fmla="*/ 3670 h 734237"/>
                <a:gd name="connsiteX454" fmla="*/ 761917 w 1472512"/>
                <a:gd name="connsiteY454" fmla="*/ 8269 h 734237"/>
                <a:gd name="connsiteX455" fmla="*/ 762914 w 1472512"/>
                <a:gd name="connsiteY455" fmla="*/ 12099 h 734237"/>
                <a:gd name="connsiteX456" fmla="*/ 765227 w 1472512"/>
                <a:gd name="connsiteY456" fmla="*/ 16687 h 734237"/>
                <a:gd name="connsiteX457" fmla="*/ 765234 w 1472512"/>
                <a:gd name="connsiteY457" fmla="*/ 16702 h 734237"/>
                <a:gd name="connsiteX458" fmla="*/ 765424 w 1472512"/>
                <a:gd name="connsiteY458" fmla="*/ 18492 h 734237"/>
                <a:gd name="connsiteX459" fmla="*/ 766183 w 1472512"/>
                <a:gd name="connsiteY459" fmla="*/ 19611 h 734237"/>
                <a:gd name="connsiteX460" fmla="*/ 767571 w 1472512"/>
                <a:gd name="connsiteY460" fmla="*/ 20655 h 734237"/>
                <a:gd name="connsiteX461" fmla="*/ 772846 w 1472512"/>
                <a:gd name="connsiteY461" fmla="*/ 21920 h 734237"/>
                <a:gd name="connsiteX462" fmla="*/ 782004 w 1472512"/>
                <a:gd name="connsiteY462" fmla="*/ 23398 h 734237"/>
                <a:gd name="connsiteX463" fmla="*/ 787196 w 1472512"/>
                <a:gd name="connsiteY463" fmla="*/ 25095 h 734237"/>
                <a:gd name="connsiteX464" fmla="*/ 788422 w 1472512"/>
                <a:gd name="connsiteY464" fmla="*/ 27007 h 734237"/>
                <a:gd name="connsiteX465" fmla="*/ 790868 w 1472512"/>
                <a:gd name="connsiteY465" fmla="*/ 27774 h 734237"/>
                <a:gd name="connsiteX466" fmla="*/ 794527 w 1472512"/>
                <a:gd name="connsiteY466" fmla="*/ 27400 h 734237"/>
                <a:gd name="connsiteX467" fmla="*/ 797094 w 1472512"/>
                <a:gd name="connsiteY467" fmla="*/ 26601 h 734237"/>
                <a:gd name="connsiteX468" fmla="*/ 799281 w 1472512"/>
                <a:gd name="connsiteY468" fmla="*/ 24790 h 734237"/>
                <a:gd name="connsiteX469" fmla="*/ 802341 w 1472512"/>
                <a:gd name="connsiteY469" fmla="*/ 24388 h 734237"/>
                <a:gd name="connsiteX470" fmla="*/ 804960 w 1472512"/>
                <a:gd name="connsiteY470" fmla="*/ 24503 h 734237"/>
                <a:gd name="connsiteX471" fmla="*/ 807601 w 1472512"/>
                <a:gd name="connsiteY471" fmla="*/ 24682 h 734237"/>
                <a:gd name="connsiteX472" fmla="*/ 809017 w 1472512"/>
                <a:gd name="connsiteY472" fmla="*/ 24946 h 734237"/>
                <a:gd name="connsiteX473" fmla="*/ 813086 w 1472512"/>
                <a:gd name="connsiteY473" fmla="*/ 26389 h 734237"/>
                <a:gd name="connsiteX474" fmla="*/ 815740 w 1472512"/>
                <a:gd name="connsiteY474" fmla="*/ 27566 h 734237"/>
                <a:gd name="connsiteX475" fmla="*/ 819552 w 1472512"/>
                <a:gd name="connsiteY475" fmla="*/ 29751 h 734237"/>
                <a:gd name="connsiteX476" fmla="*/ 821661 w 1472512"/>
                <a:gd name="connsiteY476" fmla="*/ 30723 h 734237"/>
                <a:gd name="connsiteX477" fmla="*/ 822674 w 1472512"/>
                <a:gd name="connsiteY477" fmla="*/ 32995 h 734237"/>
                <a:gd name="connsiteX478" fmla="*/ 823854 w 1472512"/>
                <a:gd name="connsiteY478" fmla="*/ 35910 h 734237"/>
                <a:gd name="connsiteX479" fmla="*/ 825542 w 1472512"/>
                <a:gd name="connsiteY479" fmla="*/ 35910 h 734237"/>
                <a:gd name="connsiteX480" fmla="*/ 826811 w 1472512"/>
                <a:gd name="connsiteY480" fmla="*/ 34203 h 734237"/>
                <a:gd name="connsiteX481" fmla="*/ 830048 w 1472512"/>
                <a:gd name="connsiteY481" fmla="*/ 33894 h 734237"/>
                <a:gd name="connsiteX482" fmla="*/ 834298 w 1472512"/>
                <a:gd name="connsiteY482" fmla="*/ 35086 h 734237"/>
                <a:gd name="connsiteX483" fmla="*/ 838044 w 1472512"/>
                <a:gd name="connsiteY483" fmla="*/ 38491 h 734237"/>
                <a:gd name="connsiteX484" fmla="*/ 843428 w 1472512"/>
                <a:gd name="connsiteY484" fmla="*/ 41523 h 734237"/>
                <a:gd name="connsiteX485" fmla="*/ 846719 w 1472512"/>
                <a:gd name="connsiteY485" fmla="*/ 43031 h 734237"/>
                <a:gd name="connsiteX486" fmla="*/ 850063 w 1472512"/>
                <a:gd name="connsiteY486" fmla="*/ 43023 h 734237"/>
                <a:gd name="connsiteX487" fmla="*/ 854313 w 1472512"/>
                <a:gd name="connsiteY487" fmla="*/ 41523 h 734237"/>
                <a:gd name="connsiteX488" fmla="*/ 858832 w 1472512"/>
                <a:gd name="connsiteY488" fmla="*/ 38617 h 734237"/>
                <a:gd name="connsiteX489" fmla="*/ 862082 w 1472512"/>
                <a:gd name="connsiteY489" fmla="*/ 38113 h 734237"/>
                <a:gd name="connsiteX490" fmla="*/ 864013 w 1472512"/>
                <a:gd name="connsiteY490" fmla="*/ 38394 h 734237"/>
                <a:gd name="connsiteX491" fmla="*/ 865112 w 1472512"/>
                <a:gd name="connsiteY491" fmla="*/ 40660 h 734237"/>
                <a:gd name="connsiteX492" fmla="*/ 866462 w 1472512"/>
                <a:gd name="connsiteY492" fmla="*/ 41523 h 734237"/>
                <a:gd name="connsiteX493" fmla="*/ 869964 w 1472512"/>
                <a:gd name="connsiteY493" fmla="*/ 41261 h 734237"/>
                <a:gd name="connsiteX494" fmla="*/ 877285 w 1472512"/>
                <a:gd name="connsiteY494" fmla="*/ 41699 h 734237"/>
                <a:gd name="connsiteX495" fmla="*/ 883109 w 1472512"/>
                <a:gd name="connsiteY495" fmla="*/ 41081 h 734237"/>
                <a:gd name="connsiteX496" fmla="*/ 884432 w 1472512"/>
                <a:gd name="connsiteY496" fmla="*/ 42383 h 734237"/>
                <a:gd name="connsiteX497" fmla="*/ 885613 w 1472512"/>
                <a:gd name="connsiteY497" fmla="*/ 44431 h 734237"/>
                <a:gd name="connsiteX498" fmla="*/ 887976 w 1472512"/>
                <a:gd name="connsiteY498" fmla="*/ 45076 h 734237"/>
                <a:gd name="connsiteX499" fmla="*/ 891181 w 1472512"/>
                <a:gd name="connsiteY499" fmla="*/ 44431 h 734237"/>
                <a:gd name="connsiteX500" fmla="*/ 896916 w 1472512"/>
                <a:gd name="connsiteY500" fmla="*/ 44932 h 734237"/>
                <a:gd name="connsiteX501" fmla="*/ 899338 w 1472512"/>
                <a:gd name="connsiteY501" fmla="*/ 45050 h 734237"/>
                <a:gd name="connsiteX502" fmla="*/ 903992 w 1472512"/>
                <a:gd name="connsiteY502" fmla="*/ 44279 h 734237"/>
                <a:gd name="connsiteX503" fmla="*/ 906225 w 1472512"/>
                <a:gd name="connsiteY503" fmla="*/ 43385 h 734237"/>
                <a:gd name="connsiteX504" fmla="*/ 909364 w 1472512"/>
                <a:gd name="connsiteY504" fmla="*/ 41873 h 734237"/>
                <a:gd name="connsiteX505" fmla="*/ 913545 w 1472512"/>
                <a:gd name="connsiteY505" fmla="*/ 39856 h 734237"/>
                <a:gd name="connsiteX506" fmla="*/ 920865 w 1472512"/>
                <a:gd name="connsiteY506" fmla="*/ 36322 h 734237"/>
                <a:gd name="connsiteX507" fmla="*/ 926823 w 1472512"/>
                <a:gd name="connsiteY507" fmla="*/ 35046 h 734237"/>
                <a:gd name="connsiteX508" fmla="*/ 932373 w 1472512"/>
                <a:gd name="connsiteY508" fmla="*/ 37583 h 734237"/>
                <a:gd name="connsiteX509" fmla="*/ 936791 w 1472512"/>
                <a:gd name="connsiteY509" fmla="*/ 39818 h 734237"/>
                <a:gd name="connsiteX510" fmla="*/ 938499 w 1472512"/>
                <a:gd name="connsiteY510" fmla="*/ 40682 h 734237"/>
                <a:gd name="connsiteX511" fmla="*/ 943004 w 1472512"/>
                <a:gd name="connsiteY511" fmla="*/ 42957 h 734237"/>
                <a:gd name="connsiteX512" fmla="*/ 949373 w 1472512"/>
                <a:gd name="connsiteY512" fmla="*/ 46173 h 734237"/>
                <a:gd name="connsiteX513" fmla="*/ 956675 w 1472512"/>
                <a:gd name="connsiteY513" fmla="*/ 49857 h 734237"/>
                <a:gd name="connsiteX514" fmla="*/ 963975 w 1472512"/>
                <a:gd name="connsiteY514" fmla="*/ 53534 h 734237"/>
                <a:gd name="connsiteX515" fmla="*/ 970343 w 1472512"/>
                <a:gd name="connsiteY515" fmla="*/ 56740 h 734237"/>
                <a:gd name="connsiteX516" fmla="*/ 974849 w 1472512"/>
                <a:gd name="connsiteY516" fmla="*/ 59002 h 734237"/>
                <a:gd name="connsiteX517" fmla="*/ 976558 w 1472512"/>
                <a:gd name="connsiteY517" fmla="*/ 59861 h 734237"/>
                <a:gd name="connsiteX518" fmla="*/ 981510 w 1472512"/>
                <a:gd name="connsiteY518" fmla="*/ 62451 h 734237"/>
                <a:gd name="connsiteX519" fmla="*/ 986461 w 1472512"/>
                <a:gd name="connsiteY519" fmla="*/ 65041 h 734237"/>
                <a:gd name="connsiteX520" fmla="*/ 991410 w 1472512"/>
                <a:gd name="connsiteY520" fmla="*/ 67627 h 734237"/>
                <a:gd name="connsiteX521" fmla="*/ 996362 w 1472512"/>
                <a:gd name="connsiteY521" fmla="*/ 70211 h 734237"/>
                <a:gd name="connsiteX522" fmla="*/ 1001313 w 1472512"/>
                <a:gd name="connsiteY522" fmla="*/ 72793 h 734237"/>
                <a:gd name="connsiteX523" fmla="*/ 1006264 w 1472512"/>
                <a:gd name="connsiteY523" fmla="*/ 75370 h 734237"/>
                <a:gd name="connsiteX524" fmla="*/ 1011213 w 1472512"/>
                <a:gd name="connsiteY524" fmla="*/ 77948 h 734237"/>
                <a:gd name="connsiteX525" fmla="*/ 1016164 w 1472512"/>
                <a:gd name="connsiteY525" fmla="*/ 80524 h 734237"/>
                <a:gd name="connsiteX526" fmla="*/ 1017413 w 1472512"/>
                <a:gd name="connsiteY526" fmla="*/ 84800 h 734237"/>
                <a:gd name="connsiteX527" fmla="*/ 1018629 w 1472512"/>
                <a:gd name="connsiteY527" fmla="*/ 88957 h 734237"/>
                <a:gd name="connsiteX528" fmla="*/ 1021527 w 1472512"/>
                <a:gd name="connsiteY528" fmla="*/ 91972 h 734237"/>
                <a:gd name="connsiteX529" fmla="*/ 1024181 w 1472512"/>
                <a:gd name="connsiteY529" fmla="*/ 94723 h 734237"/>
                <a:gd name="connsiteX530" fmla="*/ 1025716 w 1472512"/>
                <a:gd name="connsiteY530" fmla="*/ 94578 h 734237"/>
                <a:gd name="connsiteX531" fmla="*/ 1027274 w 1472512"/>
                <a:gd name="connsiteY531" fmla="*/ 93418 h 734237"/>
                <a:gd name="connsiteX532" fmla="*/ 1028263 w 1472512"/>
                <a:gd name="connsiteY532" fmla="*/ 92857 h 734237"/>
                <a:gd name="connsiteX533" fmla="*/ 1029921 w 1472512"/>
                <a:gd name="connsiteY533" fmla="*/ 92766 h 734237"/>
                <a:gd name="connsiteX534" fmla="*/ 1033608 w 1472512"/>
                <a:gd name="connsiteY534" fmla="*/ 91771 h 734237"/>
                <a:gd name="connsiteX535" fmla="*/ 1034698 w 1472512"/>
                <a:gd name="connsiteY535" fmla="*/ 91988 h 734237"/>
                <a:gd name="connsiteX536" fmla="*/ 1035317 w 1472512"/>
                <a:gd name="connsiteY536" fmla="*/ 92485 h 734237"/>
                <a:gd name="connsiteX537" fmla="*/ 1035369 w 1472512"/>
                <a:gd name="connsiteY537" fmla="*/ 93265 h 734237"/>
                <a:gd name="connsiteX538" fmla="*/ 1035242 w 1472512"/>
                <a:gd name="connsiteY538" fmla="*/ 93883 h 734237"/>
                <a:gd name="connsiteX539" fmla="*/ 1034672 w 1472512"/>
                <a:gd name="connsiteY539" fmla="*/ 95126 h 734237"/>
                <a:gd name="connsiteX540" fmla="*/ 1035573 w 1472512"/>
                <a:gd name="connsiteY540" fmla="*/ 97493 h 734237"/>
                <a:gd name="connsiteX541" fmla="*/ 1035762 w 1472512"/>
                <a:gd name="connsiteY541" fmla="*/ 100120 h 734237"/>
                <a:gd name="connsiteX542" fmla="*/ 1036256 w 1472512"/>
                <a:gd name="connsiteY542" fmla="*/ 102104 h 734237"/>
                <a:gd name="connsiteX543" fmla="*/ 1037766 w 1472512"/>
                <a:gd name="connsiteY543" fmla="*/ 104641 h 734237"/>
                <a:gd name="connsiteX544" fmla="*/ 1039077 w 1472512"/>
                <a:gd name="connsiteY544" fmla="*/ 106623 h 734237"/>
                <a:gd name="connsiteX545" fmla="*/ 1040728 w 1472512"/>
                <a:gd name="connsiteY545" fmla="*/ 107005 h 734237"/>
                <a:gd name="connsiteX546" fmla="*/ 1044552 w 1472512"/>
                <a:gd name="connsiteY546" fmla="*/ 105851 h 734237"/>
                <a:gd name="connsiteX547" fmla="*/ 1046947 w 1472512"/>
                <a:gd name="connsiteY547" fmla="*/ 105415 h 734237"/>
                <a:gd name="connsiteX548" fmla="*/ 1048307 w 1472512"/>
                <a:gd name="connsiteY548" fmla="*/ 105604 h 734237"/>
                <a:gd name="connsiteX549" fmla="*/ 1050634 w 1472512"/>
                <a:gd name="connsiteY549" fmla="*/ 107458 h 734237"/>
                <a:gd name="connsiteX550" fmla="*/ 1051773 w 1472512"/>
                <a:gd name="connsiteY550" fmla="*/ 108573 h 734237"/>
                <a:gd name="connsiteX551" fmla="*/ 1052045 w 1472512"/>
                <a:gd name="connsiteY551" fmla="*/ 109498 h 734237"/>
                <a:gd name="connsiteX552" fmla="*/ 1048902 w 1472512"/>
                <a:gd name="connsiteY552" fmla="*/ 115148 h 734237"/>
                <a:gd name="connsiteX553" fmla="*/ 1053885 w 1472512"/>
                <a:gd name="connsiteY553" fmla="*/ 117948 h 734237"/>
                <a:gd name="connsiteX554" fmla="*/ 1059447 w 1472512"/>
                <a:gd name="connsiteY554" fmla="*/ 121006 h 734237"/>
                <a:gd name="connsiteX555" fmla="*/ 1066078 w 1472512"/>
                <a:gd name="connsiteY555" fmla="*/ 124647 h 734237"/>
                <a:gd name="connsiteX556" fmla="*/ 1070133 w 1472512"/>
                <a:gd name="connsiteY556" fmla="*/ 126873 h 734237"/>
                <a:gd name="connsiteX557" fmla="*/ 1075472 w 1472512"/>
                <a:gd name="connsiteY557" fmla="*/ 130050 h 734237"/>
                <a:gd name="connsiteX558" fmla="*/ 1076387 w 1472512"/>
                <a:gd name="connsiteY558" fmla="*/ 134571 h 734237"/>
                <a:gd name="connsiteX559" fmla="*/ 1077157 w 1472512"/>
                <a:gd name="connsiteY559" fmla="*/ 138381 h 734237"/>
                <a:gd name="connsiteX560" fmla="*/ 1078138 w 1472512"/>
                <a:gd name="connsiteY560" fmla="*/ 143686 h 734237"/>
                <a:gd name="connsiteX561" fmla="*/ 1079139 w 1472512"/>
                <a:gd name="connsiteY561" fmla="*/ 149086 h 734237"/>
                <a:gd name="connsiteX562" fmla="*/ 1080137 w 1472512"/>
                <a:gd name="connsiteY562" fmla="*/ 154459 h 734237"/>
                <a:gd name="connsiteX563" fmla="*/ 1081195 w 1472512"/>
                <a:gd name="connsiteY563" fmla="*/ 160149 h 734237"/>
                <a:gd name="connsiteX564" fmla="*/ 1082356 w 1472512"/>
                <a:gd name="connsiteY564" fmla="*/ 166390 h 734237"/>
                <a:gd name="connsiteX565" fmla="*/ 1083389 w 1472512"/>
                <a:gd name="connsiteY565" fmla="*/ 171918 h 734237"/>
                <a:gd name="connsiteX566" fmla="*/ 1084516 w 1472512"/>
                <a:gd name="connsiteY566" fmla="*/ 177943 h 734237"/>
                <a:gd name="connsiteX567" fmla="*/ 1086015 w 1472512"/>
                <a:gd name="connsiteY567" fmla="*/ 185765 h 734237"/>
                <a:gd name="connsiteX568" fmla="*/ 1084674 w 1472512"/>
                <a:gd name="connsiteY568" fmla="*/ 188774 h 734237"/>
                <a:gd name="connsiteX569" fmla="*/ 1081755 w 1472512"/>
                <a:gd name="connsiteY569" fmla="*/ 195316 h 734237"/>
                <a:gd name="connsiteX570" fmla="*/ 1079118 w 1472512"/>
                <a:gd name="connsiteY570" fmla="*/ 201217 h 734237"/>
                <a:gd name="connsiteX571" fmla="*/ 1078887 w 1472512"/>
                <a:gd name="connsiteY571" fmla="*/ 202927 h 734237"/>
                <a:gd name="connsiteX572" fmla="*/ 1077074 w 1472512"/>
                <a:gd name="connsiteY572" fmla="*/ 211508 h 734237"/>
                <a:gd name="connsiteX573" fmla="*/ 1075620 w 1472512"/>
                <a:gd name="connsiteY573" fmla="*/ 215047 h 734237"/>
                <a:gd name="connsiteX574" fmla="*/ 1073074 w 1472512"/>
                <a:gd name="connsiteY574" fmla="*/ 217098 h 734237"/>
                <a:gd name="connsiteX575" fmla="*/ 1070546 w 1472512"/>
                <a:gd name="connsiteY575" fmla="*/ 219087 h 734237"/>
                <a:gd name="connsiteX576" fmla="*/ 1067395 w 1472512"/>
                <a:gd name="connsiteY576" fmla="*/ 222415 h 734237"/>
                <a:gd name="connsiteX577" fmla="*/ 1063927 w 1472512"/>
                <a:gd name="connsiteY577" fmla="*/ 224059 h 734237"/>
                <a:gd name="connsiteX578" fmla="*/ 1062154 w 1472512"/>
                <a:gd name="connsiteY578" fmla="*/ 225025 h 734237"/>
                <a:gd name="connsiteX579" fmla="*/ 1061227 w 1472512"/>
                <a:gd name="connsiteY579" fmla="*/ 226548 h 734237"/>
                <a:gd name="connsiteX580" fmla="*/ 1060203 w 1472512"/>
                <a:gd name="connsiteY580" fmla="*/ 229885 h 734237"/>
                <a:gd name="connsiteX581" fmla="*/ 1060400 w 1472512"/>
                <a:gd name="connsiteY581" fmla="*/ 234973 h 734237"/>
                <a:gd name="connsiteX582" fmla="*/ 1063256 w 1472512"/>
                <a:gd name="connsiteY582" fmla="*/ 239346 h 734237"/>
                <a:gd name="connsiteX583" fmla="*/ 1067434 w 1472512"/>
                <a:gd name="connsiteY583" fmla="*/ 241790 h 734237"/>
                <a:gd name="connsiteX584" fmla="*/ 1071928 w 1472512"/>
                <a:gd name="connsiteY584" fmla="*/ 244167 h 734237"/>
                <a:gd name="connsiteX585" fmla="*/ 1078330 w 1472512"/>
                <a:gd name="connsiteY585" fmla="*/ 244178 h 734237"/>
                <a:gd name="connsiteX586" fmla="*/ 1084089 w 1472512"/>
                <a:gd name="connsiteY586" fmla="*/ 241005 h 734237"/>
                <a:gd name="connsiteX587" fmla="*/ 1090190 w 1472512"/>
                <a:gd name="connsiteY587" fmla="*/ 237641 h 734237"/>
                <a:gd name="connsiteX588" fmla="*/ 1095629 w 1472512"/>
                <a:gd name="connsiteY588" fmla="*/ 234639 h 734237"/>
                <a:gd name="connsiteX589" fmla="*/ 1102099 w 1472512"/>
                <a:gd name="connsiteY589" fmla="*/ 231064 h 734237"/>
                <a:gd name="connsiteX590" fmla="*/ 1107958 w 1472512"/>
                <a:gd name="connsiteY590" fmla="*/ 227823 h 734237"/>
                <a:gd name="connsiteX591" fmla="*/ 1114321 w 1472512"/>
                <a:gd name="connsiteY591" fmla="*/ 226656 h 734237"/>
                <a:gd name="connsiteX592" fmla="*/ 1123137 w 1472512"/>
                <a:gd name="connsiteY592" fmla="*/ 225041 h 734237"/>
                <a:gd name="connsiteX593" fmla="*/ 1134235 w 1472512"/>
                <a:gd name="connsiteY593" fmla="*/ 223006 h 734237"/>
                <a:gd name="connsiteX594" fmla="*/ 1139639 w 1472512"/>
                <a:gd name="connsiteY594" fmla="*/ 220686 h 734237"/>
                <a:gd name="connsiteX595" fmla="*/ 1146623 w 1472512"/>
                <a:gd name="connsiteY595" fmla="*/ 217687 h 734237"/>
                <a:gd name="connsiteX596" fmla="*/ 1154677 w 1472512"/>
                <a:gd name="connsiteY596" fmla="*/ 214222 h 734237"/>
                <a:gd name="connsiteX597" fmla="*/ 1161629 w 1472512"/>
                <a:gd name="connsiteY597" fmla="*/ 211229 h 734237"/>
                <a:gd name="connsiteX598" fmla="*/ 1165123 w 1472512"/>
                <a:gd name="connsiteY598" fmla="*/ 209569 h 734237"/>
                <a:gd name="connsiteX599" fmla="*/ 1167610 w 1472512"/>
                <a:gd name="connsiteY599" fmla="*/ 207675 h 734237"/>
                <a:gd name="connsiteX600" fmla="*/ 1168227 w 1472512"/>
                <a:gd name="connsiteY600" fmla="*/ 206272 h 734237"/>
                <a:gd name="connsiteX601" fmla="*/ 1168079 w 1472512"/>
                <a:gd name="connsiteY601" fmla="*/ 205467 h 734237"/>
                <a:gd name="connsiteX602" fmla="*/ 1167438 w 1472512"/>
                <a:gd name="connsiteY602" fmla="*/ 204659 h 734237"/>
                <a:gd name="connsiteX603" fmla="*/ 1166552 w 1472512"/>
                <a:gd name="connsiteY603" fmla="*/ 204064 h 734237"/>
                <a:gd name="connsiteX604" fmla="*/ 1165763 w 1472512"/>
                <a:gd name="connsiteY604" fmla="*/ 203557 h 734237"/>
                <a:gd name="connsiteX605" fmla="*/ 1165394 w 1472512"/>
                <a:gd name="connsiteY605" fmla="*/ 202928 h 734237"/>
                <a:gd name="connsiteX606" fmla="*/ 1165320 w 1472512"/>
                <a:gd name="connsiteY606" fmla="*/ 201554 h 734237"/>
                <a:gd name="connsiteX607" fmla="*/ 1164837 w 1472512"/>
                <a:gd name="connsiteY607" fmla="*/ 200763 h 734237"/>
                <a:gd name="connsiteX608" fmla="*/ 1164375 w 1472512"/>
                <a:gd name="connsiteY608" fmla="*/ 200181 h 734237"/>
                <a:gd name="connsiteX609" fmla="*/ 1164551 w 1472512"/>
                <a:gd name="connsiteY609" fmla="*/ 194855 h 734237"/>
                <a:gd name="connsiteX610" fmla="*/ 1163942 w 1472512"/>
                <a:gd name="connsiteY610" fmla="*/ 193202 h 734237"/>
                <a:gd name="connsiteX611" fmla="*/ 1161677 w 1472512"/>
                <a:gd name="connsiteY611" fmla="*/ 189007 h 734237"/>
                <a:gd name="connsiteX612" fmla="*/ 1165998 w 1472512"/>
                <a:gd name="connsiteY612" fmla="*/ 187125 h 734237"/>
                <a:gd name="connsiteX613" fmla="*/ 1170001 w 1472512"/>
                <a:gd name="connsiteY613" fmla="*/ 185378 h 734237"/>
                <a:gd name="connsiteX614" fmla="*/ 1173193 w 1472512"/>
                <a:gd name="connsiteY614" fmla="*/ 184084 h 734237"/>
                <a:gd name="connsiteX615" fmla="*/ 1179880 w 1472512"/>
                <a:gd name="connsiteY615" fmla="*/ 183880 h 734237"/>
                <a:gd name="connsiteX616" fmla="*/ 1186092 w 1472512"/>
                <a:gd name="connsiteY616" fmla="*/ 183906 h 734237"/>
                <a:gd name="connsiteX617" fmla="*/ 1194651 w 1472512"/>
                <a:gd name="connsiteY617" fmla="*/ 183942 h 734237"/>
                <a:gd name="connsiteX618" fmla="*/ 1201864 w 1472512"/>
                <a:gd name="connsiteY618" fmla="*/ 183971 h 734237"/>
                <a:gd name="connsiteX619" fmla="*/ 1210277 w 1472512"/>
                <a:gd name="connsiteY619" fmla="*/ 184005 h 734237"/>
                <a:gd name="connsiteX620" fmla="*/ 1215210 w 1472512"/>
                <a:gd name="connsiteY620" fmla="*/ 184025 h 734237"/>
                <a:gd name="connsiteX621" fmla="*/ 1221673 w 1472512"/>
                <a:gd name="connsiteY621" fmla="*/ 183964 h 734237"/>
                <a:gd name="connsiteX622" fmla="*/ 1224824 w 1472512"/>
                <a:gd name="connsiteY622" fmla="*/ 179108 h 734237"/>
                <a:gd name="connsiteX623" fmla="*/ 1227639 w 1472512"/>
                <a:gd name="connsiteY623" fmla="*/ 174758 h 734237"/>
                <a:gd name="connsiteX624" fmla="*/ 1230738 w 1472512"/>
                <a:gd name="connsiteY624" fmla="*/ 170598 h 734237"/>
                <a:gd name="connsiteX625" fmla="*/ 1236251 w 1472512"/>
                <a:gd name="connsiteY625" fmla="*/ 165706 h 734237"/>
                <a:gd name="connsiteX626" fmla="*/ 1237851 w 1472512"/>
                <a:gd name="connsiteY626" fmla="*/ 164826 h 734237"/>
                <a:gd name="connsiteX627" fmla="*/ 1238735 w 1472512"/>
                <a:gd name="connsiteY627" fmla="*/ 162894 h 734237"/>
                <a:gd name="connsiteX628" fmla="*/ 1242076 w 1472512"/>
                <a:gd name="connsiteY628" fmla="*/ 161058 h 734237"/>
                <a:gd name="connsiteX629" fmla="*/ 1245756 w 1472512"/>
                <a:gd name="connsiteY629" fmla="*/ 159353 h 734237"/>
                <a:gd name="connsiteX630" fmla="*/ 1247199 w 1472512"/>
                <a:gd name="connsiteY630" fmla="*/ 157752 h 734237"/>
                <a:gd name="connsiteX631" fmla="*/ 1247898 w 1472512"/>
                <a:gd name="connsiteY631" fmla="*/ 156841 h 734237"/>
                <a:gd name="connsiteX632" fmla="*/ 1257865 w 1472512"/>
                <a:gd name="connsiteY632" fmla="*/ 148195 h 734237"/>
                <a:gd name="connsiteX633" fmla="*/ 1263525 w 1472512"/>
                <a:gd name="connsiteY633" fmla="*/ 144194 h 734237"/>
                <a:gd name="connsiteX634" fmla="*/ 1268199 w 1472512"/>
                <a:gd name="connsiteY634" fmla="*/ 141966 h 734237"/>
                <a:gd name="connsiteX635" fmla="*/ 1271757 w 1472512"/>
                <a:gd name="connsiteY635" fmla="*/ 140899 h 734237"/>
                <a:gd name="connsiteX636" fmla="*/ 1274160 w 1472512"/>
                <a:gd name="connsiteY636" fmla="*/ 141052 h 734237"/>
                <a:gd name="connsiteX637" fmla="*/ 1275527 w 1472512"/>
                <a:gd name="connsiteY637" fmla="*/ 140901 h 734237"/>
                <a:gd name="connsiteX638" fmla="*/ 1276691 w 1472512"/>
                <a:gd name="connsiteY638" fmla="*/ 140899 h 734237"/>
                <a:gd name="connsiteX639" fmla="*/ 1282632 w 1472512"/>
                <a:gd name="connsiteY639" fmla="*/ 140890 h 734237"/>
                <a:gd name="connsiteX640" fmla="*/ 1293247 w 1472512"/>
                <a:gd name="connsiteY640" fmla="*/ 140875 h 734237"/>
                <a:gd name="connsiteX641" fmla="*/ 1303863 w 1472512"/>
                <a:gd name="connsiteY641" fmla="*/ 140860 h 734237"/>
                <a:gd name="connsiteX642" fmla="*/ 1314478 w 1472512"/>
                <a:gd name="connsiteY642" fmla="*/ 140846 h 734237"/>
                <a:gd name="connsiteX643" fmla="*/ 1325093 w 1472512"/>
                <a:gd name="connsiteY643" fmla="*/ 140830 h 734237"/>
                <a:gd name="connsiteX644" fmla="*/ 1335709 w 1472512"/>
                <a:gd name="connsiteY644" fmla="*/ 140815 h 734237"/>
                <a:gd name="connsiteX645" fmla="*/ 1346324 w 1472512"/>
                <a:gd name="connsiteY645" fmla="*/ 140801 h 734237"/>
                <a:gd name="connsiteX646" fmla="*/ 1356939 w 1472512"/>
                <a:gd name="connsiteY646" fmla="*/ 140785 h 734237"/>
                <a:gd name="connsiteX647" fmla="*/ 1359451 w 1472512"/>
                <a:gd name="connsiteY647" fmla="*/ 134700 h 734237"/>
                <a:gd name="connsiteX648" fmla="*/ 1361792 w 1472512"/>
                <a:gd name="connsiteY648" fmla="*/ 131862 h 734237"/>
                <a:gd name="connsiteX649" fmla="*/ 1364998 w 1472512"/>
                <a:gd name="connsiteY649" fmla="*/ 132802 h 734237"/>
                <a:gd name="connsiteX650" fmla="*/ 1366705 w 1472512"/>
                <a:gd name="connsiteY650" fmla="*/ 132723 h 734237"/>
                <a:gd name="connsiteX651" fmla="*/ 1368604 w 1472512"/>
                <a:gd name="connsiteY651" fmla="*/ 131259 h 734237"/>
                <a:gd name="connsiteX652" fmla="*/ 1370143 w 1472512"/>
                <a:gd name="connsiteY652" fmla="*/ 130370 h 734237"/>
                <a:gd name="connsiteX653" fmla="*/ 1371157 w 1472512"/>
                <a:gd name="connsiteY653" fmla="*/ 130502 h 734237"/>
                <a:gd name="connsiteX654" fmla="*/ 1372022 w 1472512"/>
                <a:gd name="connsiteY654" fmla="*/ 131842 h 734237"/>
                <a:gd name="connsiteX655" fmla="*/ 1372744 w 1472512"/>
                <a:gd name="connsiteY655" fmla="*/ 132736 h 734237"/>
                <a:gd name="connsiteX656" fmla="*/ 1373585 w 1472512"/>
                <a:gd name="connsiteY656" fmla="*/ 132476 h 734237"/>
                <a:gd name="connsiteX657" fmla="*/ 1374304 w 1472512"/>
                <a:gd name="connsiteY657" fmla="*/ 131211 h 734237"/>
                <a:gd name="connsiteX658" fmla="*/ 1374279 w 1472512"/>
                <a:gd name="connsiteY658" fmla="*/ 129456 h 734237"/>
                <a:gd name="connsiteX659" fmla="*/ 1375264 w 1472512"/>
                <a:gd name="connsiteY659" fmla="*/ 128232 h 734237"/>
                <a:gd name="connsiteX660" fmla="*/ 1376434 w 1472512"/>
                <a:gd name="connsiteY660" fmla="*/ 128045 h 734237"/>
                <a:gd name="connsiteX661" fmla="*/ 1377515 w 1472512"/>
                <a:gd name="connsiteY661" fmla="*/ 128084 h 734237"/>
                <a:gd name="connsiteX662" fmla="*/ 1378054 w 1472512"/>
                <a:gd name="connsiteY662" fmla="*/ 127487 h 734237"/>
                <a:gd name="connsiteX663" fmla="*/ 1377995 w 1472512"/>
                <a:gd name="connsiteY663" fmla="*/ 126632 h 734237"/>
                <a:gd name="connsiteX664" fmla="*/ 1377605 w 1472512"/>
                <a:gd name="connsiteY664" fmla="*/ 125251 h 734237"/>
                <a:gd name="connsiteX665" fmla="*/ 1377737 w 1472512"/>
                <a:gd name="connsiteY665" fmla="*/ 123588 h 734237"/>
                <a:gd name="connsiteX666" fmla="*/ 1380437 w 1472512"/>
                <a:gd name="connsiteY666" fmla="*/ 120649 h 734237"/>
                <a:gd name="connsiteX667" fmla="*/ 1383748 w 1472512"/>
                <a:gd name="connsiteY667" fmla="*/ 118654 h 734237"/>
                <a:gd name="connsiteX668" fmla="*/ 1384909 w 1472512"/>
                <a:gd name="connsiteY668" fmla="*/ 117656 h 734237"/>
                <a:gd name="connsiteX669" fmla="*/ 1385247 w 1472512"/>
                <a:gd name="connsiteY669" fmla="*/ 115633 h 734237"/>
                <a:gd name="connsiteX670" fmla="*/ 1387144 w 1472512"/>
                <a:gd name="connsiteY670" fmla="*/ 113529 h 734237"/>
                <a:gd name="connsiteX671" fmla="*/ 1388094 w 1472512"/>
                <a:gd name="connsiteY671" fmla="*/ 112318 h 734237"/>
                <a:gd name="connsiteX672" fmla="*/ 1388326 w 1472512"/>
                <a:gd name="connsiteY672" fmla="*/ 111267 h 734237"/>
                <a:gd name="connsiteX673" fmla="*/ 1387833 w 1472512"/>
                <a:gd name="connsiteY673" fmla="*/ 109971 h 734237"/>
                <a:gd name="connsiteX674" fmla="*/ 1387883 w 1472512"/>
                <a:gd name="connsiteY674" fmla="*/ 107500 h 734237"/>
                <a:gd name="connsiteX675" fmla="*/ 1388536 w 1472512"/>
                <a:gd name="connsiteY675" fmla="*/ 104547 h 734237"/>
                <a:gd name="connsiteX676" fmla="*/ 1389317 w 1472512"/>
                <a:gd name="connsiteY676" fmla="*/ 101325 h 734237"/>
                <a:gd name="connsiteX677" fmla="*/ 1391067 w 1472512"/>
                <a:gd name="connsiteY677" fmla="*/ 98419 h 734237"/>
                <a:gd name="connsiteX678" fmla="*/ 1393937 w 1472512"/>
                <a:gd name="connsiteY678" fmla="*/ 95245 h 734237"/>
                <a:gd name="connsiteX679" fmla="*/ 1394676 w 1472512"/>
                <a:gd name="connsiteY679" fmla="*/ 91069 h 734237"/>
                <a:gd name="connsiteX680" fmla="*/ 1395454 w 1472512"/>
                <a:gd name="connsiteY680" fmla="*/ 86659 h 734237"/>
                <a:gd name="connsiteX681" fmla="*/ 1398923 w 1472512"/>
                <a:gd name="connsiteY681" fmla="*/ 82355 h 734237"/>
                <a:gd name="connsiteX682" fmla="*/ 1402856 w 1472512"/>
                <a:gd name="connsiteY682" fmla="*/ 77467 h 734237"/>
                <a:gd name="connsiteX683" fmla="*/ 1405095 w 1472512"/>
                <a:gd name="connsiteY683" fmla="*/ 74682 h 734237"/>
                <a:gd name="connsiteX684" fmla="*/ 1409134 w 1472512"/>
                <a:gd name="connsiteY684" fmla="*/ 69608 h 734237"/>
                <a:gd name="connsiteX685" fmla="*/ 1412006 w 1472512"/>
                <a:gd name="connsiteY685" fmla="*/ 65991 h 734237"/>
                <a:gd name="connsiteX686" fmla="*/ 1413453 w 1472512"/>
                <a:gd name="connsiteY686" fmla="*/ 64330 h 734237"/>
                <a:gd name="connsiteX687" fmla="*/ 1414965 w 1472512"/>
                <a:gd name="connsiteY687" fmla="*/ 62356 h 734237"/>
                <a:gd name="connsiteX688" fmla="*/ 1417430 w 1472512"/>
                <a:gd name="connsiteY688" fmla="*/ 62946 h 734237"/>
                <a:gd name="connsiteX689" fmla="*/ 1419879 w 1472512"/>
                <a:gd name="connsiteY689" fmla="*/ 63534 h 734237"/>
                <a:gd name="connsiteX690" fmla="*/ 1419522 w 1472512"/>
                <a:gd name="connsiteY690" fmla="*/ 66395 h 734237"/>
                <a:gd name="connsiteX691" fmla="*/ 1419922 w 1472512"/>
                <a:gd name="connsiteY691" fmla="*/ 68478 h 734237"/>
                <a:gd name="connsiteX692" fmla="*/ 1421081 w 1472512"/>
                <a:gd name="connsiteY692" fmla="*/ 69681 h 734237"/>
                <a:gd name="connsiteX693" fmla="*/ 1422763 w 1472512"/>
                <a:gd name="connsiteY693" fmla="*/ 70493 h 734237"/>
                <a:gd name="connsiteX694" fmla="*/ 1424033 w 1472512"/>
                <a:gd name="connsiteY694" fmla="*/ 70764 h 734237"/>
                <a:gd name="connsiteX695" fmla="*/ 1425531 w 1472512"/>
                <a:gd name="connsiteY695" fmla="*/ 70748 h 734237"/>
                <a:gd name="connsiteX696" fmla="*/ 1429616 w 1472512"/>
                <a:gd name="connsiteY696" fmla="*/ 69129 h 734237"/>
                <a:gd name="connsiteX697" fmla="*/ 1434416 w 1472512"/>
                <a:gd name="connsiteY697" fmla="*/ 68086 h 734237"/>
                <a:gd name="connsiteX698" fmla="*/ 1437056 w 1472512"/>
                <a:gd name="connsiteY698" fmla="*/ 67105 h 734237"/>
                <a:gd name="connsiteX699" fmla="*/ 1437538 w 1472512"/>
                <a:gd name="connsiteY699" fmla="*/ 66189 h 734237"/>
                <a:gd name="connsiteX700" fmla="*/ 1438740 w 1472512"/>
                <a:gd name="connsiteY700" fmla="*/ 65867 h 734237"/>
                <a:gd name="connsiteX701" fmla="*/ 1440664 w 1472512"/>
                <a:gd name="connsiteY701" fmla="*/ 66142 h 734237"/>
                <a:gd name="connsiteX702" fmla="*/ 1444202 w 1472512"/>
                <a:gd name="connsiteY702" fmla="*/ 68439 h 734237"/>
                <a:gd name="connsiteX703" fmla="*/ 1448333 w 1472512"/>
                <a:gd name="connsiteY703" fmla="*/ 71900 h 734237"/>
                <a:gd name="connsiteX704" fmla="*/ 1451600 w 1472512"/>
                <a:gd name="connsiteY704" fmla="*/ 74634 h 734237"/>
                <a:gd name="connsiteX705" fmla="*/ 1451700 w 1472512"/>
                <a:gd name="connsiteY705" fmla="*/ 79370 h 734237"/>
                <a:gd name="connsiteX706" fmla="*/ 1451764 w 1472512"/>
                <a:gd name="connsiteY706" fmla="*/ 84380 h 734237"/>
                <a:gd name="connsiteX707" fmla="*/ 1451832 w 1472512"/>
                <a:gd name="connsiteY707" fmla="*/ 89653 h 734237"/>
                <a:gd name="connsiteX708" fmla="*/ 1451880 w 1472512"/>
                <a:gd name="connsiteY708" fmla="*/ 93409 h 734237"/>
                <a:gd name="connsiteX709" fmla="*/ 1451964 w 1472512"/>
                <a:gd name="connsiteY709" fmla="*/ 98561 h 734237"/>
                <a:gd name="connsiteX710" fmla="*/ 1452029 w 1472512"/>
                <a:gd name="connsiteY710" fmla="*/ 102652 h 734237"/>
                <a:gd name="connsiteX711" fmla="*/ 1452118 w 1472512"/>
                <a:gd name="connsiteY711" fmla="*/ 107985 h 734237"/>
                <a:gd name="connsiteX712" fmla="*/ 1452164 w 1472512"/>
                <a:gd name="connsiteY712" fmla="*/ 110832 h 734237"/>
                <a:gd name="connsiteX713" fmla="*/ 1452614 w 1472512"/>
                <a:gd name="connsiteY713" fmla="*/ 111654 h 734237"/>
                <a:gd name="connsiteX714" fmla="*/ 1452343 w 1472512"/>
                <a:gd name="connsiteY714" fmla="*/ 112774 h 734237"/>
                <a:gd name="connsiteX715" fmla="*/ 1452225 w 1472512"/>
                <a:gd name="connsiteY715" fmla="*/ 113335 h 734237"/>
                <a:gd name="connsiteX716" fmla="*/ 1452254 w 1472512"/>
                <a:gd name="connsiteY716" fmla="*/ 113780 h 734237"/>
                <a:gd name="connsiteX717" fmla="*/ 1452433 w 1472512"/>
                <a:gd name="connsiteY717" fmla="*/ 114342 h 734237"/>
                <a:gd name="connsiteX718" fmla="*/ 1452403 w 1472512"/>
                <a:gd name="connsiteY718" fmla="*/ 115125 h 734237"/>
                <a:gd name="connsiteX719" fmla="*/ 1451984 w 1472512"/>
                <a:gd name="connsiteY719" fmla="*/ 115836 h 734237"/>
                <a:gd name="connsiteX720" fmla="*/ 1451776 w 1472512"/>
                <a:gd name="connsiteY720" fmla="*/ 116654 h 734237"/>
                <a:gd name="connsiteX721" fmla="*/ 1451715 w 1472512"/>
                <a:gd name="connsiteY721" fmla="*/ 117998 h 734237"/>
                <a:gd name="connsiteX722" fmla="*/ 1452164 w 1472512"/>
                <a:gd name="connsiteY722" fmla="*/ 118817 h 734237"/>
                <a:gd name="connsiteX723" fmla="*/ 1452912 w 1472512"/>
                <a:gd name="connsiteY723" fmla="*/ 119300 h 734237"/>
                <a:gd name="connsiteX724" fmla="*/ 1453541 w 1472512"/>
                <a:gd name="connsiteY724" fmla="*/ 119300 h 734237"/>
                <a:gd name="connsiteX725" fmla="*/ 1454350 w 1472512"/>
                <a:gd name="connsiteY725" fmla="*/ 119786 h 734237"/>
                <a:gd name="connsiteX726" fmla="*/ 1455397 w 1472512"/>
                <a:gd name="connsiteY726" fmla="*/ 120643 h 734237"/>
                <a:gd name="connsiteX727" fmla="*/ 1456983 w 1472512"/>
                <a:gd name="connsiteY727" fmla="*/ 121388 h 734237"/>
                <a:gd name="connsiteX728" fmla="*/ 1458629 w 1472512"/>
                <a:gd name="connsiteY728" fmla="*/ 121648 h 734237"/>
                <a:gd name="connsiteX729" fmla="*/ 1459767 w 1472512"/>
                <a:gd name="connsiteY729" fmla="*/ 121461 h 734237"/>
                <a:gd name="connsiteX730" fmla="*/ 1461144 w 1472512"/>
                <a:gd name="connsiteY730" fmla="*/ 121947 h 734237"/>
                <a:gd name="connsiteX731" fmla="*/ 1461623 w 1472512"/>
                <a:gd name="connsiteY731" fmla="*/ 123137 h 734237"/>
                <a:gd name="connsiteX732" fmla="*/ 1461354 w 1472512"/>
                <a:gd name="connsiteY732" fmla="*/ 124252 h 734237"/>
                <a:gd name="connsiteX733" fmla="*/ 1460576 w 1472512"/>
                <a:gd name="connsiteY733" fmla="*/ 124773 h 734237"/>
                <a:gd name="connsiteX734" fmla="*/ 1459738 w 1472512"/>
                <a:gd name="connsiteY734" fmla="*/ 125185 h 734237"/>
                <a:gd name="connsiteX735" fmla="*/ 1459588 w 1472512"/>
                <a:gd name="connsiteY735" fmla="*/ 126038 h 734237"/>
                <a:gd name="connsiteX736" fmla="*/ 1460007 w 1472512"/>
                <a:gd name="connsiteY736" fmla="*/ 126931 h 734237"/>
                <a:gd name="connsiteX737" fmla="*/ 1460606 w 1472512"/>
                <a:gd name="connsiteY737" fmla="*/ 127712 h 734237"/>
                <a:gd name="connsiteX738" fmla="*/ 1461265 w 1472512"/>
                <a:gd name="connsiteY738" fmla="*/ 129083 h 734237"/>
                <a:gd name="connsiteX739" fmla="*/ 1460994 w 1472512"/>
                <a:gd name="connsiteY739" fmla="*/ 130270 h 734237"/>
                <a:gd name="connsiteX740" fmla="*/ 1460396 w 1472512"/>
                <a:gd name="connsiteY740" fmla="*/ 131273 h 734237"/>
                <a:gd name="connsiteX741" fmla="*/ 1460126 w 1472512"/>
                <a:gd name="connsiteY741" fmla="*/ 132312 h 734237"/>
                <a:gd name="connsiteX742" fmla="*/ 1460636 w 1472512"/>
                <a:gd name="connsiteY742" fmla="*/ 133203 h 734237"/>
                <a:gd name="connsiteX743" fmla="*/ 1461982 w 1472512"/>
                <a:gd name="connsiteY743" fmla="*/ 134389 h 734237"/>
                <a:gd name="connsiteX744" fmla="*/ 1462820 w 1472512"/>
                <a:gd name="connsiteY744" fmla="*/ 135538 h 734237"/>
                <a:gd name="connsiteX745" fmla="*/ 1464138 w 1472512"/>
                <a:gd name="connsiteY745" fmla="*/ 136170 h 734237"/>
                <a:gd name="connsiteX746" fmla="*/ 1464766 w 1472512"/>
                <a:gd name="connsiteY746" fmla="*/ 135723 h 734237"/>
                <a:gd name="connsiteX747" fmla="*/ 1465276 w 1472512"/>
                <a:gd name="connsiteY747" fmla="*/ 135130 h 734237"/>
                <a:gd name="connsiteX748" fmla="*/ 1465813 w 1472512"/>
                <a:gd name="connsiteY748" fmla="*/ 134686 h 734237"/>
                <a:gd name="connsiteX749" fmla="*/ 1466741 w 1472512"/>
                <a:gd name="connsiteY749" fmla="*/ 134946 h 734237"/>
                <a:gd name="connsiteX750" fmla="*/ 1467819 w 1472512"/>
                <a:gd name="connsiteY750" fmla="*/ 135279 h 734237"/>
                <a:gd name="connsiteX751" fmla="*/ 1468996 w 1472512"/>
                <a:gd name="connsiteY751" fmla="*/ 135676 h 734237"/>
                <a:gd name="connsiteX752" fmla="*/ 1468855 w 1472512"/>
                <a:gd name="connsiteY752" fmla="*/ 136637 h 734237"/>
                <a:gd name="connsiteX753" fmla="*/ 1469573 w 1472512"/>
                <a:gd name="connsiteY753" fmla="*/ 138256 h 734237"/>
                <a:gd name="connsiteX754" fmla="*/ 1470128 w 1472512"/>
                <a:gd name="connsiteY754" fmla="*/ 141364 h 734237"/>
                <a:gd name="connsiteX755" fmla="*/ 1469275 w 1472512"/>
                <a:gd name="connsiteY755" fmla="*/ 142777 h 734237"/>
                <a:gd name="connsiteX756" fmla="*/ 1469458 w 1472512"/>
                <a:gd name="connsiteY756" fmla="*/ 144646 h 734237"/>
                <a:gd name="connsiteX757" fmla="*/ 1471823 w 1472512"/>
                <a:gd name="connsiteY757" fmla="*/ 145189 h 734237"/>
                <a:gd name="connsiteX758" fmla="*/ 1472399 w 1472512"/>
                <a:gd name="connsiteY758" fmla="*/ 145761 h 734237"/>
                <a:gd name="connsiteX759" fmla="*/ 1472512 w 1472512"/>
                <a:gd name="connsiteY759" fmla="*/ 146452 h 734237"/>
                <a:gd name="connsiteX760" fmla="*/ 1467301 w 1472512"/>
                <a:gd name="connsiteY760" fmla="*/ 151236 h 734237"/>
                <a:gd name="connsiteX761" fmla="*/ 1462894 w 1472512"/>
                <a:gd name="connsiteY761" fmla="*/ 150567 h 734237"/>
                <a:gd name="connsiteX762" fmla="*/ 1460502 w 1472512"/>
                <a:gd name="connsiteY762" fmla="*/ 151834 h 734237"/>
                <a:gd name="connsiteX763" fmla="*/ 1457997 w 1472512"/>
                <a:gd name="connsiteY763" fmla="*/ 152205 h 734237"/>
                <a:gd name="connsiteX764" fmla="*/ 1456898 w 1472512"/>
                <a:gd name="connsiteY764" fmla="*/ 154338 h 734237"/>
                <a:gd name="connsiteX765" fmla="*/ 1455523 w 1472512"/>
                <a:gd name="connsiteY765" fmla="*/ 154791 h 734237"/>
                <a:gd name="connsiteX766" fmla="*/ 1453640 w 1472512"/>
                <a:gd name="connsiteY766" fmla="*/ 154661 h 734237"/>
                <a:gd name="connsiteX767" fmla="*/ 1452015 w 1472512"/>
                <a:gd name="connsiteY767" fmla="*/ 154060 h 734237"/>
                <a:gd name="connsiteX768" fmla="*/ 1450777 w 1472512"/>
                <a:gd name="connsiteY768" fmla="*/ 154356 h 734237"/>
                <a:gd name="connsiteX769" fmla="*/ 1449042 w 1472512"/>
                <a:gd name="connsiteY769" fmla="*/ 158205 h 734237"/>
                <a:gd name="connsiteX770" fmla="*/ 1447623 w 1472512"/>
                <a:gd name="connsiteY770" fmla="*/ 157869 h 734237"/>
                <a:gd name="connsiteX771" fmla="*/ 1447057 w 1472512"/>
                <a:gd name="connsiteY771" fmla="*/ 159253 h 734237"/>
                <a:gd name="connsiteX772" fmla="*/ 1446315 w 1472512"/>
                <a:gd name="connsiteY772" fmla="*/ 159858 h 734237"/>
                <a:gd name="connsiteX773" fmla="*/ 1445226 w 1472512"/>
                <a:gd name="connsiteY773" fmla="*/ 160376 h 734237"/>
                <a:gd name="connsiteX774" fmla="*/ 1444280 w 1472512"/>
                <a:gd name="connsiteY774" fmla="*/ 158668 h 734237"/>
                <a:gd name="connsiteX775" fmla="*/ 1443679 w 1472512"/>
                <a:gd name="connsiteY775" fmla="*/ 157043 h 734237"/>
                <a:gd name="connsiteX776" fmla="*/ 1442791 w 1472512"/>
                <a:gd name="connsiteY776" fmla="*/ 156687 h 734237"/>
                <a:gd name="connsiteX777" fmla="*/ 1441613 w 1472512"/>
                <a:gd name="connsiteY777" fmla="*/ 156271 h 734237"/>
                <a:gd name="connsiteX778" fmla="*/ 1440401 w 1472512"/>
                <a:gd name="connsiteY778" fmla="*/ 156285 h 734237"/>
                <a:gd name="connsiteX779" fmla="*/ 1439594 w 1472512"/>
                <a:gd name="connsiteY779" fmla="*/ 156517 h 734237"/>
                <a:gd name="connsiteX780" fmla="*/ 1438590 w 1472512"/>
                <a:gd name="connsiteY780" fmla="*/ 157569 h 734237"/>
                <a:gd name="connsiteX781" fmla="*/ 1437136 w 1472512"/>
                <a:gd name="connsiteY781" fmla="*/ 158471 h 734237"/>
                <a:gd name="connsiteX782" fmla="*/ 1436037 w 1472512"/>
                <a:gd name="connsiteY782" fmla="*/ 157719 h 734237"/>
                <a:gd name="connsiteX783" fmla="*/ 1435177 w 1472512"/>
                <a:gd name="connsiteY783" fmla="*/ 156509 h 734237"/>
                <a:gd name="connsiteX784" fmla="*/ 1434440 w 1472512"/>
                <a:gd name="connsiteY784" fmla="*/ 158454 h 734237"/>
                <a:gd name="connsiteX785" fmla="*/ 1433369 w 1472512"/>
                <a:gd name="connsiteY785" fmla="*/ 160506 h 734237"/>
                <a:gd name="connsiteX786" fmla="*/ 1433548 w 1472512"/>
                <a:gd name="connsiteY786" fmla="*/ 162896 h 734237"/>
                <a:gd name="connsiteX787" fmla="*/ 1433086 w 1472512"/>
                <a:gd name="connsiteY787" fmla="*/ 164312 h 734237"/>
                <a:gd name="connsiteX788" fmla="*/ 1432070 w 1472512"/>
                <a:gd name="connsiteY788" fmla="*/ 163930 h 734237"/>
                <a:gd name="connsiteX789" fmla="*/ 1431059 w 1472512"/>
                <a:gd name="connsiteY789" fmla="*/ 162688 h 734237"/>
                <a:gd name="connsiteX790" fmla="*/ 1428220 w 1472512"/>
                <a:gd name="connsiteY790" fmla="*/ 161694 h 734237"/>
                <a:gd name="connsiteX791" fmla="*/ 1425958 w 1472512"/>
                <a:gd name="connsiteY791" fmla="*/ 161785 h 734237"/>
                <a:gd name="connsiteX792" fmla="*/ 1426419 w 1472512"/>
                <a:gd name="connsiteY792" fmla="*/ 160458 h 734237"/>
                <a:gd name="connsiteX793" fmla="*/ 1428557 w 1472512"/>
                <a:gd name="connsiteY793" fmla="*/ 158551 h 734237"/>
                <a:gd name="connsiteX794" fmla="*/ 1427898 w 1472512"/>
                <a:gd name="connsiteY794" fmla="*/ 158176 h 734237"/>
                <a:gd name="connsiteX795" fmla="*/ 1426849 w 1472512"/>
                <a:gd name="connsiteY795" fmla="*/ 158441 h 734237"/>
                <a:gd name="connsiteX796" fmla="*/ 1426393 w 1472512"/>
                <a:gd name="connsiteY796" fmla="*/ 158176 h 734237"/>
                <a:gd name="connsiteX797" fmla="*/ 1427142 w 1472512"/>
                <a:gd name="connsiteY797" fmla="*/ 156443 h 734237"/>
                <a:gd name="connsiteX798" fmla="*/ 1427215 w 1472512"/>
                <a:gd name="connsiteY798" fmla="*/ 154530 h 734237"/>
                <a:gd name="connsiteX799" fmla="*/ 1426257 w 1472512"/>
                <a:gd name="connsiteY799" fmla="*/ 155199 h 734237"/>
                <a:gd name="connsiteX800" fmla="*/ 1425054 w 1472512"/>
                <a:gd name="connsiteY800" fmla="*/ 157219 h 734237"/>
                <a:gd name="connsiteX801" fmla="*/ 1422143 w 1472512"/>
                <a:gd name="connsiteY801" fmla="*/ 158824 h 734237"/>
                <a:gd name="connsiteX802" fmla="*/ 1422280 w 1472512"/>
                <a:gd name="connsiteY802" fmla="*/ 161511 h 734237"/>
                <a:gd name="connsiteX803" fmla="*/ 1419539 w 1472512"/>
                <a:gd name="connsiteY803" fmla="*/ 167012 h 734237"/>
                <a:gd name="connsiteX804" fmla="*/ 1419418 w 1472512"/>
                <a:gd name="connsiteY804" fmla="*/ 169350 h 734237"/>
                <a:gd name="connsiteX805" fmla="*/ 1417660 w 1472512"/>
                <a:gd name="connsiteY805" fmla="*/ 171216 h 734237"/>
                <a:gd name="connsiteX806" fmla="*/ 1415394 w 1472512"/>
                <a:gd name="connsiteY806" fmla="*/ 172820 h 734237"/>
                <a:gd name="connsiteX807" fmla="*/ 1412372 w 1472512"/>
                <a:gd name="connsiteY807" fmla="*/ 172368 h 734237"/>
                <a:gd name="connsiteX808" fmla="*/ 1410064 w 1472512"/>
                <a:gd name="connsiteY808" fmla="*/ 173761 h 734237"/>
                <a:gd name="connsiteX809" fmla="*/ 1408894 w 1472512"/>
                <a:gd name="connsiteY809" fmla="*/ 175360 h 734237"/>
                <a:gd name="connsiteX810" fmla="*/ 1407876 w 1472512"/>
                <a:gd name="connsiteY810" fmla="*/ 175599 h 734237"/>
                <a:gd name="connsiteX811" fmla="*/ 1407346 w 1472512"/>
                <a:gd name="connsiteY811" fmla="*/ 173564 h 734237"/>
                <a:gd name="connsiteX812" fmla="*/ 1406960 w 1472512"/>
                <a:gd name="connsiteY812" fmla="*/ 172934 h 734237"/>
                <a:gd name="connsiteX813" fmla="*/ 1406111 w 1472512"/>
                <a:gd name="connsiteY813" fmla="*/ 175936 h 734237"/>
                <a:gd name="connsiteX814" fmla="*/ 1405244 w 1472512"/>
                <a:gd name="connsiteY814" fmla="*/ 176123 h 734237"/>
                <a:gd name="connsiteX815" fmla="*/ 1404916 w 1472512"/>
                <a:gd name="connsiteY815" fmla="*/ 173995 h 734237"/>
                <a:gd name="connsiteX816" fmla="*/ 1404506 w 1472512"/>
                <a:gd name="connsiteY816" fmla="*/ 172587 h 734237"/>
                <a:gd name="connsiteX817" fmla="*/ 1403326 w 1472512"/>
                <a:gd name="connsiteY817" fmla="*/ 173801 h 734237"/>
                <a:gd name="connsiteX818" fmla="*/ 1402543 w 1472512"/>
                <a:gd name="connsiteY818" fmla="*/ 177014 h 734237"/>
                <a:gd name="connsiteX819" fmla="*/ 1401722 w 1472512"/>
                <a:gd name="connsiteY819" fmla="*/ 176743 h 734237"/>
                <a:gd name="connsiteX820" fmla="*/ 1401461 w 1472512"/>
                <a:gd name="connsiteY820" fmla="*/ 175548 h 734237"/>
                <a:gd name="connsiteX821" fmla="*/ 1400872 w 1472512"/>
                <a:gd name="connsiteY821" fmla="*/ 175186 h 734237"/>
                <a:gd name="connsiteX822" fmla="*/ 1400672 w 1472512"/>
                <a:gd name="connsiteY822" fmla="*/ 176551 h 734237"/>
                <a:gd name="connsiteX823" fmla="*/ 1400967 w 1472512"/>
                <a:gd name="connsiteY823" fmla="*/ 178473 h 734237"/>
                <a:gd name="connsiteX824" fmla="*/ 1400540 w 1472512"/>
                <a:gd name="connsiteY824" fmla="*/ 179497 h 734237"/>
                <a:gd name="connsiteX825" fmla="*/ 1399724 w 1472512"/>
                <a:gd name="connsiteY825" fmla="*/ 178950 h 734237"/>
                <a:gd name="connsiteX826" fmla="*/ 1398903 w 1472512"/>
                <a:gd name="connsiteY826" fmla="*/ 178026 h 734237"/>
                <a:gd name="connsiteX827" fmla="*/ 1397550 w 1472512"/>
                <a:gd name="connsiteY827" fmla="*/ 178727 h 734237"/>
                <a:gd name="connsiteX828" fmla="*/ 1396306 w 1472512"/>
                <a:gd name="connsiteY828" fmla="*/ 179012 h 734237"/>
                <a:gd name="connsiteX829" fmla="*/ 1396301 w 1472512"/>
                <a:gd name="connsiteY829" fmla="*/ 178072 h 734237"/>
                <a:gd name="connsiteX830" fmla="*/ 1396538 w 1472512"/>
                <a:gd name="connsiteY830" fmla="*/ 176918 h 734237"/>
                <a:gd name="connsiteX831" fmla="*/ 1394060 w 1472512"/>
                <a:gd name="connsiteY831" fmla="*/ 177556 h 734237"/>
                <a:gd name="connsiteX832" fmla="*/ 1391089 w 1472512"/>
                <a:gd name="connsiteY832" fmla="*/ 179682 h 734237"/>
                <a:gd name="connsiteX833" fmla="*/ 1388783 w 1472512"/>
                <a:gd name="connsiteY833" fmla="*/ 182623 h 734237"/>
                <a:gd name="connsiteX834" fmla="*/ 1389582 w 1472512"/>
                <a:gd name="connsiteY834" fmla="*/ 183113 h 734237"/>
                <a:gd name="connsiteX835" fmla="*/ 1390483 w 1472512"/>
                <a:gd name="connsiteY835" fmla="*/ 184048 h 734237"/>
                <a:gd name="connsiteX836" fmla="*/ 1386475 w 1472512"/>
                <a:gd name="connsiteY836" fmla="*/ 188583 h 734237"/>
                <a:gd name="connsiteX837" fmla="*/ 1382368 w 1472512"/>
                <a:gd name="connsiteY837" fmla="*/ 192661 h 734237"/>
                <a:gd name="connsiteX838" fmla="*/ 1379265 w 1472512"/>
                <a:gd name="connsiteY838" fmla="*/ 199305 h 734237"/>
                <a:gd name="connsiteX839" fmla="*/ 1378019 w 1472512"/>
                <a:gd name="connsiteY839" fmla="*/ 200083 h 734237"/>
                <a:gd name="connsiteX840" fmla="*/ 1376950 w 1472512"/>
                <a:gd name="connsiteY840" fmla="*/ 201298 h 734237"/>
                <a:gd name="connsiteX841" fmla="*/ 1375813 w 1472512"/>
                <a:gd name="connsiteY841" fmla="*/ 205300 h 734237"/>
                <a:gd name="connsiteX842" fmla="*/ 1374501 w 1472512"/>
                <a:gd name="connsiteY842" fmla="*/ 208860 h 734237"/>
                <a:gd name="connsiteX843" fmla="*/ 1375236 w 1472512"/>
                <a:gd name="connsiteY843" fmla="*/ 210442 h 734237"/>
                <a:gd name="connsiteX844" fmla="*/ 1375719 w 1472512"/>
                <a:gd name="connsiteY844" fmla="*/ 212072 h 734237"/>
                <a:gd name="connsiteX845" fmla="*/ 1376884 w 1472512"/>
                <a:gd name="connsiteY845" fmla="*/ 213672 h 734237"/>
                <a:gd name="connsiteX846" fmla="*/ 1377874 w 1472512"/>
                <a:gd name="connsiteY846" fmla="*/ 213818 h 734237"/>
                <a:gd name="connsiteX847" fmla="*/ 1378946 w 1472512"/>
                <a:gd name="connsiteY847" fmla="*/ 213528 h 734237"/>
                <a:gd name="connsiteX848" fmla="*/ 1379734 w 1472512"/>
                <a:gd name="connsiteY848" fmla="*/ 213595 h 734237"/>
                <a:gd name="connsiteX849" fmla="*/ 1380239 w 1472512"/>
                <a:gd name="connsiteY849" fmla="*/ 214276 h 734237"/>
                <a:gd name="connsiteX850" fmla="*/ 1380015 w 1472512"/>
                <a:gd name="connsiteY850" fmla="*/ 215092 h 734237"/>
                <a:gd name="connsiteX851" fmla="*/ 1378778 w 1472512"/>
                <a:gd name="connsiteY851" fmla="*/ 215294 h 734237"/>
                <a:gd name="connsiteX852" fmla="*/ 1376471 w 1472512"/>
                <a:gd name="connsiteY852" fmla="*/ 216720 h 734237"/>
                <a:gd name="connsiteX853" fmla="*/ 1374449 w 1472512"/>
                <a:gd name="connsiteY853" fmla="*/ 217267 h 734237"/>
                <a:gd name="connsiteX854" fmla="*/ 1373435 w 1472512"/>
                <a:gd name="connsiteY854" fmla="*/ 218990 h 734237"/>
                <a:gd name="connsiteX855" fmla="*/ 1371915 w 1472512"/>
                <a:gd name="connsiteY855" fmla="*/ 220978 h 734237"/>
                <a:gd name="connsiteX856" fmla="*/ 1368963 w 1472512"/>
                <a:gd name="connsiteY856" fmla="*/ 224079 h 734237"/>
                <a:gd name="connsiteX857" fmla="*/ 1370223 w 1472512"/>
                <a:gd name="connsiteY857" fmla="*/ 225034 h 734237"/>
                <a:gd name="connsiteX858" fmla="*/ 1374784 w 1472512"/>
                <a:gd name="connsiteY858" fmla="*/ 226111 h 734237"/>
                <a:gd name="connsiteX859" fmla="*/ 1376817 w 1472512"/>
                <a:gd name="connsiteY859" fmla="*/ 227218 h 734237"/>
                <a:gd name="connsiteX860" fmla="*/ 1379894 w 1472512"/>
                <a:gd name="connsiteY860" fmla="*/ 232997 h 734237"/>
                <a:gd name="connsiteX861" fmla="*/ 1379191 w 1472512"/>
                <a:gd name="connsiteY861" fmla="*/ 233574 h 734237"/>
                <a:gd name="connsiteX862" fmla="*/ 1378912 w 1472512"/>
                <a:gd name="connsiteY862" fmla="*/ 234632 h 734237"/>
                <a:gd name="connsiteX863" fmla="*/ 1381647 w 1472512"/>
                <a:gd name="connsiteY863" fmla="*/ 236114 h 734237"/>
                <a:gd name="connsiteX864" fmla="*/ 1382521 w 1472512"/>
                <a:gd name="connsiteY864" fmla="*/ 240254 h 734237"/>
                <a:gd name="connsiteX865" fmla="*/ 1384767 w 1472512"/>
                <a:gd name="connsiteY865" fmla="*/ 241661 h 734237"/>
                <a:gd name="connsiteX866" fmla="*/ 1388114 w 1472512"/>
                <a:gd name="connsiteY866" fmla="*/ 242526 h 734237"/>
                <a:gd name="connsiteX867" fmla="*/ 1392207 w 1472512"/>
                <a:gd name="connsiteY867" fmla="*/ 241276 h 734237"/>
                <a:gd name="connsiteX868" fmla="*/ 1395614 w 1472512"/>
                <a:gd name="connsiteY868" fmla="*/ 239555 h 734237"/>
                <a:gd name="connsiteX869" fmla="*/ 1395495 w 1472512"/>
                <a:gd name="connsiteY869" fmla="*/ 238143 h 734237"/>
                <a:gd name="connsiteX870" fmla="*/ 1393354 w 1472512"/>
                <a:gd name="connsiteY870" fmla="*/ 234857 h 734237"/>
                <a:gd name="connsiteX871" fmla="*/ 1392838 w 1472512"/>
                <a:gd name="connsiteY871" fmla="*/ 233312 h 734237"/>
                <a:gd name="connsiteX872" fmla="*/ 1391249 w 1472512"/>
                <a:gd name="connsiteY872" fmla="*/ 232312 h 734237"/>
                <a:gd name="connsiteX873" fmla="*/ 1390644 w 1472512"/>
                <a:gd name="connsiteY873" fmla="*/ 233159 h 734237"/>
                <a:gd name="connsiteX874" fmla="*/ 1389617 w 1472512"/>
                <a:gd name="connsiteY874" fmla="*/ 232058 h 734237"/>
                <a:gd name="connsiteX875" fmla="*/ 1389502 w 1472512"/>
                <a:gd name="connsiteY875" fmla="*/ 231441 h 734237"/>
                <a:gd name="connsiteX876" fmla="*/ 1390459 w 1472512"/>
                <a:gd name="connsiteY876" fmla="*/ 231140 h 734237"/>
                <a:gd name="connsiteX877" fmla="*/ 1391572 w 1472512"/>
                <a:gd name="connsiteY877" fmla="*/ 231260 h 734237"/>
                <a:gd name="connsiteX878" fmla="*/ 1392872 w 1472512"/>
                <a:gd name="connsiteY878" fmla="*/ 231835 h 734237"/>
                <a:gd name="connsiteX879" fmla="*/ 1396215 w 1472512"/>
                <a:gd name="connsiteY879" fmla="*/ 235421 h 734237"/>
                <a:gd name="connsiteX880" fmla="*/ 1397142 w 1472512"/>
                <a:gd name="connsiteY880" fmla="*/ 240114 h 734237"/>
                <a:gd name="connsiteX881" fmla="*/ 1397339 w 1472512"/>
                <a:gd name="connsiteY881" fmla="*/ 243092 h 734237"/>
                <a:gd name="connsiteX882" fmla="*/ 1396961 w 1472512"/>
                <a:gd name="connsiteY882" fmla="*/ 244109 h 734237"/>
                <a:gd name="connsiteX883" fmla="*/ 1395989 w 1472512"/>
                <a:gd name="connsiteY883" fmla="*/ 243900 h 734237"/>
                <a:gd name="connsiteX884" fmla="*/ 1394132 w 1472512"/>
                <a:gd name="connsiteY884" fmla="*/ 244102 h 734237"/>
                <a:gd name="connsiteX885" fmla="*/ 1385327 w 1472512"/>
                <a:gd name="connsiteY885" fmla="*/ 245642 h 734237"/>
                <a:gd name="connsiteX886" fmla="*/ 1383372 w 1472512"/>
                <a:gd name="connsiteY886" fmla="*/ 246997 h 734237"/>
                <a:gd name="connsiteX887" fmla="*/ 1378888 w 1472512"/>
                <a:gd name="connsiteY887" fmla="*/ 248470 h 734237"/>
                <a:gd name="connsiteX888" fmla="*/ 1378609 w 1472512"/>
                <a:gd name="connsiteY888" fmla="*/ 247736 h 734237"/>
                <a:gd name="connsiteX889" fmla="*/ 1378933 w 1472512"/>
                <a:gd name="connsiteY889" fmla="*/ 246217 h 734237"/>
                <a:gd name="connsiteX890" fmla="*/ 1378650 w 1472512"/>
                <a:gd name="connsiteY890" fmla="*/ 243102 h 734237"/>
                <a:gd name="connsiteX891" fmla="*/ 1377765 w 1472512"/>
                <a:gd name="connsiteY891" fmla="*/ 242958 h 734237"/>
                <a:gd name="connsiteX892" fmla="*/ 1370798 w 1472512"/>
                <a:gd name="connsiteY892" fmla="*/ 248034 h 734237"/>
                <a:gd name="connsiteX893" fmla="*/ 1368106 w 1472512"/>
                <a:gd name="connsiteY893" fmla="*/ 248353 h 734237"/>
                <a:gd name="connsiteX894" fmla="*/ 1365841 w 1472512"/>
                <a:gd name="connsiteY894" fmla="*/ 249835 h 734237"/>
                <a:gd name="connsiteX895" fmla="*/ 1365335 w 1472512"/>
                <a:gd name="connsiteY895" fmla="*/ 249014 h 734237"/>
                <a:gd name="connsiteX896" fmla="*/ 1364930 w 1472512"/>
                <a:gd name="connsiteY896" fmla="*/ 245209 h 734237"/>
                <a:gd name="connsiteX897" fmla="*/ 1366346 w 1472512"/>
                <a:gd name="connsiteY897" fmla="*/ 242013 h 734237"/>
                <a:gd name="connsiteX898" fmla="*/ 1365592 w 1472512"/>
                <a:gd name="connsiteY898" fmla="*/ 242065 h 734237"/>
                <a:gd name="connsiteX899" fmla="*/ 1363225 w 1472512"/>
                <a:gd name="connsiteY899" fmla="*/ 243983 h 734237"/>
                <a:gd name="connsiteX900" fmla="*/ 1362214 w 1472512"/>
                <a:gd name="connsiteY900" fmla="*/ 242803 h 734237"/>
                <a:gd name="connsiteX901" fmla="*/ 1361707 w 1472512"/>
                <a:gd name="connsiteY901" fmla="*/ 241508 h 734237"/>
                <a:gd name="connsiteX902" fmla="*/ 1360979 w 1472512"/>
                <a:gd name="connsiteY902" fmla="*/ 240776 h 734237"/>
                <a:gd name="connsiteX903" fmla="*/ 1360188 w 1472512"/>
                <a:gd name="connsiteY903" fmla="*/ 240498 h 734237"/>
                <a:gd name="connsiteX904" fmla="*/ 1360864 w 1472512"/>
                <a:gd name="connsiteY904" fmla="*/ 243326 h 734237"/>
                <a:gd name="connsiteX905" fmla="*/ 1359259 w 1472512"/>
                <a:gd name="connsiteY905" fmla="*/ 245447 h 734237"/>
                <a:gd name="connsiteX906" fmla="*/ 1358820 w 1472512"/>
                <a:gd name="connsiteY906" fmla="*/ 250924 h 734237"/>
                <a:gd name="connsiteX907" fmla="*/ 1356804 w 1472512"/>
                <a:gd name="connsiteY907" fmla="*/ 253201 h 734237"/>
                <a:gd name="connsiteX908" fmla="*/ 1350517 w 1472512"/>
                <a:gd name="connsiteY908" fmla="*/ 254664 h 734237"/>
                <a:gd name="connsiteX909" fmla="*/ 1346418 w 1472512"/>
                <a:gd name="connsiteY909" fmla="*/ 254356 h 734237"/>
                <a:gd name="connsiteX910" fmla="*/ 1342746 w 1472512"/>
                <a:gd name="connsiteY910" fmla="*/ 254810 h 734237"/>
                <a:gd name="connsiteX911" fmla="*/ 1337864 w 1472512"/>
                <a:gd name="connsiteY911" fmla="*/ 255859 h 734237"/>
                <a:gd name="connsiteX912" fmla="*/ 1335165 w 1472512"/>
                <a:gd name="connsiteY912" fmla="*/ 255235 h 734237"/>
                <a:gd name="connsiteX913" fmla="*/ 1332402 w 1472512"/>
                <a:gd name="connsiteY913" fmla="*/ 256343 h 734237"/>
                <a:gd name="connsiteX914" fmla="*/ 1323019 w 1472512"/>
                <a:gd name="connsiteY914" fmla="*/ 256643 h 734237"/>
                <a:gd name="connsiteX915" fmla="*/ 1321042 w 1472512"/>
                <a:gd name="connsiteY915" fmla="*/ 256056 h 734237"/>
                <a:gd name="connsiteX916" fmla="*/ 1318515 w 1472512"/>
                <a:gd name="connsiteY916" fmla="*/ 258147 h 734237"/>
                <a:gd name="connsiteX917" fmla="*/ 1314471 w 1472512"/>
                <a:gd name="connsiteY917" fmla="*/ 259381 h 734237"/>
                <a:gd name="connsiteX918" fmla="*/ 1304248 w 1472512"/>
                <a:gd name="connsiteY918" fmla="*/ 264058 h 734237"/>
                <a:gd name="connsiteX919" fmla="*/ 1301994 w 1472512"/>
                <a:gd name="connsiteY919" fmla="*/ 265757 h 734237"/>
                <a:gd name="connsiteX920" fmla="*/ 1299248 w 1472512"/>
                <a:gd name="connsiteY920" fmla="*/ 268409 h 734237"/>
                <a:gd name="connsiteX921" fmla="*/ 1297404 w 1472512"/>
                <a:gd name="connsiteY921" fmla="*/ 269835 h 734237"/>
                <a:gd name="connsiteX922" fmla="*/ 1295890 w 1472512"/>
                <a:gd name="connsiteY922" fmla="*/ 270299 h 734237"/>
                <a:gd name="connsiteX923" fmla="*/ 1294957 w 1472512"/>
                <a:gd name="connsiteY923" fmla="*/ 271484 h 734237"/>
                <a:gd name="connsiteX924" fmla="*/ 1293940 w 1472512"/>
                <a:gd name="connsiteY924" fmla="*/ 272259 h 734237"/>
                <a:gd name="connsiteX925" fmla="*/ 1294923 w 1472512"/>
                <a:gd name="connsiteY925" fmla="*/ 269612 h 734237"/>
                <a:gd name="connsiteX926" fmla="*/ 1295990 w 1472512"/>
                <a:gd name="connsiteY926" fmla="*/ 267378 h 734237"/>
                <a:gd name="connsiteX927" fmla="*/ 1296877 w 1472512"/>
                <a:gd name="connsiteY927" fmla="*/ 263047 h 734237"/>
                <a:gd name="connsiteX928" fmla="*/ 1296615 w 1472512"/>
                <a:gd name="connsiteY928" fmla="*/ 259540 h 734237"/>
                <a:gd name="connsiteX929" fmla="*/ 1295516 w 1472512"/>
                <a:gd name="connsiteY929" fmla="*/ 258097 h 734237"/>
                <a:gd name="connsiteX930" fmla="*/ 1294379 w 1472512"/>
                <a:gd name="connsiteY930" fmla="*/ 257135 h 734237"/>
                <a:gd name="connsiteX931" fmla="*/ 1295711 w 1472512"/>
                <a:gd name="connsiteY931" fmla="*/ 260598 h 734237"/>
                <a:gd name="connsiteX932" fmla="*/ 1295926 w 1472512"/>
                <a:gd name="connsiteY932" fmla="*/ 264840 h 734237"/>
                <a:gd name="connsiteX933" fmla="*/ 1295468 w 1472512"/>
                <a:gd name="connsiteY933" fmla="*/ 267323 h 734237"/>
                <a:gd name="connsiteX934" fmla="*/ 1292960 w 1472512"/>
                <a:gd name="connsiteY934" fmla="*/ 272108 h 734237"/>
                <a:gd name="connsiteX935" fmla="*/ 1291894 w 1472512"/>
                <a:gd name="connsiteY935" fmla="*/ 273220 h 734237"/>
                <a:gd name="connsiteX936" fmla="*/ 1290645 w 1472512"/>
                <a:gd name="connsiteY936" fmla="*/ 274199 h 734237"/>
                <a:gd name="connsiteX937" fmla="*/ 1289705 w 1472512"/>
                <a:gd name="connsiteY937" fmla="*/ 274625 h 734237"/>
                <a:gd name="connsiteX938" fmla="*/ 1288836 w 1472512"/>
                <a:gd name="connsiteY938" fmla="*/ 275388 h 734237"/>
                <a:gd name="connsiteX939" fmla="*/ 1287827 w 1472512"/>
                <a:gd name="connsiteY939" fmla="*/ 276598 h 734237"/>
                <a:gd name="connsiteX940" fmla="*/ 1286871 w 1472512"/>
                <a:gd name="connsiteY940" fmla="*/ 278998 h 734237"/>
                <a:gd name="connsiteX941" fmla="*/ 1287451 w 1472512"/>
                <a:gd name="connsiteY941" fmla="*/ 281184 h 734237"/>
                <a:gd name="connsiteX942" fmla="*/ 1292338 w 1472512"/>
                <a:gd name="connsiteY942" fmla="*/ 281981 h 734237"/>
                <a:gd name="connsiteX943" fmla="*/ 1293650 w 1472512"/>
                <a:gd name="connsiteY943" fmla="*/ 281308 h 734237"/>
                <a:gd name="connsiteX944" fmla="*/ 1294318 w 1472512"/>
                <a:gd name="connsiteY944" fmla="*/ 282872 h 734237"/>
                <a:gd name="connsiteX945" fmla="*/ 1294692 w 1472512"/>
                <a:gd name="connsiteY945" fmla="*/ 285044 h 734237"/>
                <a:gd name="connsiteX946" fmla="*/ 1294326 w 1472512"/>
                <a:gd name="connsiteY946" fmla="*/ 287391 h 734237"/>
                <a:gd name="connsiteX947" fmla="*/ 1293508 w 1472512"/>
                <a:gd name="connsiteY947" fmla="*/ 289778 h 734237"/>
                <a:gd name="connsiteX948" fmla="*/ 1292889 w 1472512"/>
                <a:gd name="connsiteY948" fmla="*/ 292740 h 734237"/>
                <a:gd name="connsiteX949" fmla="*/ 1292363 w 1472512"/>
                <a:gd name="connsiteY949" fmla="*/ 297250 h 734237"/>
                <a:gd name="connsiteX950" fmla="*/ 1291572 w 1472512"/>
                <a:gd name="connsiteY950" fmla="*/ 301303 h 734237"/>
                <a:gd name="connsiteX951" fmla="*/ 1291469 w 1472512"/>
                <a:gd name="connsiteY951" fmla="*/ 300072 h 734237"/>
                <a:gd name="connsiteX952" fmla="*/ 1291962 w 1472512"/>
                <a:gd name="connsiteY952" fmla="*/ 295142 h 734237"/>
                <a:gd name="connsiteX953" fmla="*/ 1291162 w 1472512"/>
                <a:gd name="connsiteY953" fmla="*/ 295658 h 734237"/>
                <a:gd name="connsiteX954" fmla="*/ 1290610 w 1472512"/>
                <a:gd name="connsiteY954" fmla="*/ 296797 h 734237"/>
                <a:gd name="connsiteX955" fmla="*/ 1289118 w 1472512"/>
                <a:gd name="connsiteY955" fmla="*/ 303151 h 734237"/>
                <a:gd name="connsiteX956" fmla="*/ 1287067 w 1472512"/>
                <a:gd name="connsiteY956" fmla="*/ 306532 h 734237"/>
                <a:gd name="connsiteX957" fmla="*/ 1285176 w 1472512"/>
                <a:gd name="connsiteY957" fmla="*/ 308869 h 734237"/>
                <a:gd name="connsiteX958" fmla="*/ 1283229 w 1472512"/>
                <a:gd name="connsiteY958" fmla="*/ 308483 h 734237"/>
                <a:gd name="connsiteX959" fmla="*/ 1283666 w 1472512"/>
                <a:gd name="connsiteY959" fmla="*/ 310339 h 734237"/>
                <a:gd name="connsiteX960" fmla="*/ 1283130 w 1472512"/>
                <a:gd name="connsiteY960" fmla="*/ 311306 h 734237"/>
                <a:gd name="connsiteX961" fmla="*/ 1282672 w 1472512"/>
                <a:gd name="connsiteY961" fmla="*/ 313320 h 734237"/>
                <a:gd name="connsiteX962" fmla="*/ 1281509 w 1472512"/>
                <a:gd name="connsiteY962" fmla="*/ 314656 h 734237"/>
                <a:gd name="connsiteX963" fmla="*/ 1280418 w 1472512"/>
                <a:gd name="connsiteY963" fmla="*/ 314528 h 734237"/>
                <a:gd name="connsiteX964" fmla="*/ 1278847 w 1472512"/>
                <a:gd name="connsiteY964" fmla="*/ 315447 h 734237"/>
                <a:gd name="connsiteX965" fmla="*/ 1278229 w 1472512"/>
                <a:gd name="connsiteY965" fmla="*/ 316151 h 734237"/>
                <a:gd name="connsiteX966" fmla="*/ 1278183 w 1472512"/>
                <a:gd name="connsiteY966" fmla="*/ 317498 h 734237"/>
                <a:gd name="connsiteX967" fmla="*/ 1277133 w 1472512"/>
                <a:gd name="connsiteY967" fmla="*/ 318683 h 734237"/>
                <a:gd name="connsiteX968" fmla="*/ 1273343 w 1472512"/>
                <a:gd name="connsiteY968" fmla="*/ 324830 h 734237"/>
                <a:gd name="connsiteX969" fmla="*/ 1270054 w 1472512"/>
                <a:gd name="connsiteY969" fmla="*/ 326643 h 734237"/>
                <a:gd name="connsiteX970" fmla="*/ 1269266 w 1472512"/>
                <a:gd name="connsiteY970" fmla="*/ 326379 h 734237"/>
                <a:gd name="connsiteX971" fmla="*/ 1270134 w 1472512"/>
                <a:gd name="connsiteY971" fmla="*/ 323480 h 734237"/>
                <a:gd name="connsiteX972" fmla="*/ 1270728 w 1472512"/>
                <a:gd name="connsiteY972" fmla="*/ 320546 h 734237"/>
                <a:gd name="connsiteX973" fmla="*/ 1268731 w 1472512"/>
                <a:gd name="connsiteY973" fmla="*/ 319270 h 734237"/>
                <a:gd name="connsiteX974" fmla="*/ 1266821 w 1472512"/>
                <a:gd name="connsiteY974" fmla="*/ 318594 h 734237"/>
                <a:gd name="connsiteX975" fmla="*/ 1264629 w 1472512"/>
                <a:gd name="connsiteY975" fmla="*/ 318683 h 734237"/>
                <a:gd name="connsiteX976" fmla="*/ 1262207 w 1472512"/>
                <a:gd name="connsiteY976" fmla="*/ 316398 h 734237"/>
                <a:gd name="connsiteX977" fmla="*/ 1259085 w 1472512"/>
                <a:gd name="connsiteY977" fmla="*/ 314737 h 734237"/>
                <a:gd name="connsiteX978" fmla="*/ 1254728 w 1472512"/>
                <a:gd name="connsiteY978" fmla="*/ 310238 h 734237"/>
                <a:gd name="connsiteX979" fmla="*/ 1254855 w 1472512"/>
                <a:gd name="connsiteY979" fmla="*/ 308989 h 734237"/>
                <a:gd name="connsiteX980" fmla="*/ 1254745 w 1472512"/>
                <a:gd name="connsiteY980" fmla="*/ 306891 h 734237"/>
                <a:gd name="connsiteX981" fmla="*/ 1256070 w 1472512"/>
                <a:gd name="connsiteY981" fmla="*/ 303576 h 734237"/>
                <a:gd name="connsiteX982" fmla="*/ 1257339 w 1472512"/>
                <a:gd name="connsiteY982" fmla="*/ 301256 h 734237"/>
                <a:gd name="connsiteX983" fmla="*/ 1259091 w 1472512"/>
                <a:gd name="connsiteY983" fmla="*/ 300054 h 734237"/>
                <a:gd name="connsiteX984" fmla="*/ 1264178 w 1472512"/>
                <a:gd name="connsiteY984" fmla="*/ 298828 h 734237"/>
                <a:gd name="connsiteX985" fmla="*/ 1265453 w 1472512"/>
                <a:gd name="connsiteY985" fmla="*/ 296986 h 734237"/>
                <a:gd name="connsiteX986" fmla="*/ 1266209 w 1472512"/>
                <a:gd name="connsiteY986" fmla="*/ 295432 h 734237"/>
                <a:gd name="connsiteX987" fmla="*/ 1263689 w 1472512"/>
                <a:gd name="connsiteY987" fmla="*/ 298099 h 734237"/>
                <a:gd name="connsiteX988" fmla="*/ 1259915 w 1472512"/>
                <a:gd name="connsiteY988" fmla="*/ 299004 h 734237"/>
                <a:gd name="connsiteX989" fmla="*/ 1257881 w 1472512"/>
                <a:gd name="connsiteY989" fmla="*/ 299999 h 734237"/>
                <a:gd name="connsiteX990" fmla="*/ 1256254 w 1472512"/>
                <a:gd name="connsiteY990" fmla="*/ 301519 h 734237"/>
                <a:gd name="connsiteX991" fmla="*/ 1255291 w 1472512"/>
                <a:gd name="connsiteY991" fmla="*/ 303427 h 734237"/>
                <a:gd name="connsiteX992" fmla="*/ 1253111 w 1472512"/>
                <a:gd name="connsiteY992" fmla="*/ 305725 h 734237"/>
                <a:gd name="connsiteX993" fmla="*/ 1253264 w 1472512"/>
                <a:gd name="connsiteY993" fmla="*/ 307263 h 734237"/>
                <a:gd name="connsiteX994" fmla="*/ 1253629 w 1472512"/>
                <a:gd name="connsiteY994" fmla="*/ 308357 h 734237"/>
                <a:gd name="connsiteX995" fmla="*/ 1253461 w 1472512"/>
                <a:gd name="connsiteY995" fmla="*/ 310634 h 734237"/>
                <a:gd name="connsiteX996" fmla="*/ 1254840 w 1472512"/>
                <a:gd name="connsiteY996" fmla="*/ 312852 h 734237"/>
                <a:gd name="connsiteX997" fmla="*/ 1257574 w 1472512"/>
                <a:gd name="connsiteY997" fmla="*/ 316485 h 734237"/>
                <a:gd name="connsiteX998" fmla="*/ 1258096 w 1472512"/>
                <a:gd name="connsiteY998" fmla="*/ 322120 h 734237"/>
                <a:gd name="connsiteX999" fmla="*/ 1260183 w 1472512"/>
                <a:gd name="connsiteY999" fmla="*/ 325884 h 734237"/>
                <a:gd name="connsiteX1000" fmla="*/ 1263380 w 1472512"/>
                <a:gd name="connsiteY1000" fmla="*/ 330269 h 734237"/>
                <a:gd name="connsiteX1001" fmla="*/ 1265839 w 1472512"/>
                <a:gd name="connsiteY1001" fmla="*/ 331515 h 734237"/>
                <a:gd name="connsiteX1002" fmla="*/ 1265959 w 1472512"/>
                <a:gd name="connsiteY1002" fmla="*/ 333144 h 734237"/>
                <a:gd name="connsiteX1003" fmla="*/ 1264824 w 1472512"/>
                <a:gd name="connsiteY1003" fmla="*/ 335832 h 734237"/>
                <a:gd name="connsiteX1004" fmla="*/ 1263328 w 1472512"/>
                <a:gd name="connsiteY1004" fmla="*/ 337061 h 734237"/>
                <a:gd name="connsiteX1005" fmla="*/ 1265273 w 1472512"/>
                <a:gd name="connsiteY1005" fmla="*/ 336815 h 734237"/>
                <a:gd name="connsiteX1006" fmla="*/ 1266242 w 1472512"/>
                <a:gd name="connsiteY1006" fmla="*/ 337429 h 734237"/>
                <a:gd name="connsiteX1007" fmla="*/ 1267185 w 1472512"/>
                <a:gd name="connsiteY1007" fmla="*/ 339669 h 734237"/>
                <a:gd name="connsiteX1008" fmla="*/ 1267112 w 1472512"/>
                <a:gd name="connsiteY1008" fmla="*/ 341953 h 734237"/>
                <a:gd name="connsiteX1009" fmla="*/ 1266793 w 1472512"/>
                <a:gd name="connsiteY1009" fmla="*/ 343240 h 734237"/>
                <a:gd name="connsiteX1010" fmla="*/ 1266203 w 1472512"/>
                <a:gd name="connsiteY1010" fmla="*/ 343753 h 734237"/>
                <a:gd name="connsiteX1011" fmla="*/ 1266229 w 1472512"/>
                <a:gd name="connsiteY1011" fmla="*/ 342439 h 734237"/>
                <a:gd name="connsiteX1012" fmla="*/ 1265812 w 1472512"/>
                <a:gd name="connsiteY1012" fmla="*/ 341982 h 734237"/>
                <a:gd name="connsiteX1013" fmla="*/ 1265123 w 1472512"/>
                <a:gd name="connsiteY1013" fmla="*/ 342553 h 734237"/>
                <a:gd name="connsiteX1014" fmla="*/ 1264676 w 1472512"/>
                <a:gd name="connsiteY1014" fmla="*/ 343202 h 734237"/>
                <a:gd name="connsiteX1015" fmla="*/ 1264492 w 1472512"/>
                <a:gd name="connsiteY1015" fmla="*/ 345757 h 734237"/>
                <a:gd name="connsiteX1016" fmla="*/ 1264020 w 1472512"/>
                <a:gd name="connsiteY1016" fmla="*/ 347035 h 734237"/>
                <a:gd name="connsiteX1017" fmla="*/ 1262350 w 1472512"/>
                <a:gd name="connsiteY1017" fmla="*/ 347413 h 734237"/>
                <a:gd name="connsiteX1018" fmla="*/ 1260658 w 1472512"/>
                <a:gd name="connsiteY1018" fmla="*/ 350763 h 734237"/>
                <a:gd name="connsiteX1019" fmla="*/ 1259083 w 1472512"/>
                <a:gd name="connsiteY1019" fmla="*/ 352662 h 734237"/>
                <a:gd name="connsiteX1020" fmla="*/ 1252887 w 1472512"/>
                <a:gd name="connsiteY1020" fmla="*/ 365477 h 734237"/>
                <a:gd name="connsiteX1021" fmla="*/ 1253123 w 1472512"/>
                <a:gd name="connsiteY1021" fmla="*/ 367615 h 734237"/>
                <a:gd name="connsiteX1022" fmla="*/ 1251990 w 1472512"/>
                <a:gd name="connsiteY1022" fmla="*/ 368304 h 734237"/>
                <a:gd name="connsiteX1023" fmla="*/ 1250273 w 1472512"/>
                <a:gd name="connsiteY1023" fmla="*/ 368862 h 734237"/>
                <a:gd name="connsiteX1024" fmla="*/ 1248538 w 1472512"/>
                <a:gd name="connsiteY1024" fmla="*/ 370140 h 734237"/>
                <a:gd name="connsiteX1025" fmla="*/ 1247385 w 1472512"/>
                <a:gd name="connsiteY1025" fmla="*/ 371547 h 734237"/>
                <a:gd name="connsiteX1026" fmla="*/ 1246315 w 1472512"/>
                <a:gd name="connsiteY1026" fmla="*/ 375330 h 734237"/>
                <a:gd name="connsiteX1027" fmla="*/ 1244265 w 1472512"/>
                <a:gd name="connsiteY1027" fmla="*/ 379584 h 734237"/>
                <a:gd name="connsiteX1028" fmla="*/ 1242986 w 1472512"/>
                <a:gd name="connsiteY1028" fmla="*/ 377812 h 734237"/>
                <a:gd name="connsiteX1029" fmla="*/ 1242658 w 1472512"/>
                <a:gd name="connsiteY1029" fmla="*/ 376295 h 734237"/>
                <a:gd name="connsiteX1030" fmla="*/ 1243227 w 1472512"/>
                <a:gd name="connsiteY1030" fmla="*/ 372334 h 734237"/>
                <a:gd name="connsiteX1031" fmla="*/ 1245444 w 1472512"/>
                <a:gd name="connsiteY1031" fmla="*/ 365833 h 734237"/>
                <a:gd name="connsiteX1032" fmla="*/ 1247888 w 1472512"/>
                <a:gd name="connsiteY1032" fmla="*/ 361786 h 734237"/>
                <a:gd name="connsiteX1033" fmla="*/ 1249751 w 1472512"/>
                <a:gd name="connsiteY1033" fmla="*/ 359865 h 734237"/>
                <a:gd name="connsiteX1034" fmla="*/ 1251283 w 1472512"/>
                <a:gd name="connsiteY1034" fmla="*/ 355947 h 734237"/>
                <a:gd name="connsiteX1035" fmla="*/ 1249348 w 1472512"/>
                <a:gd name="connsiteY1035" fmla="*/ 355363 h 734237"/>
                <a:gd name="connsiteX1036" fmla="*/ 1246396 w 1472512"/>
                <a:gd name="connsiteY1036" fmla="*/ 355427 h 734237"/>
                <a:gd name="connsiteX1037" fmla="*/ 1246952 w 1472512"/>
                <a:gd name="connsiteY1037" fmla="*/ 353617 h 734237"/>
                <a:gd name="connsiteX1038" fmla="*/ 1247813 w 1472512"/>
                <a:gd name="connsiteY1038" fmla="*/ 352022 h 734237"/>
                <a:gd name="connsiteX1039" fmla="*/ 1246274 w 1472512"/>
                <a:gd name="connsiteY1039" fmla="*/ 350432 h 734237"/>
                <a:gd name="connsiteX1040" fmla="*/ 1245364 w 1472512"/>
                <a:gd name="connsiteY1040" fmla="*/ 350229 h 734237"/>
                <a:gd name="connsiteX1041" fmla="*/ 1244426 w 1472512"/>
                <a:gd name="connsiteY1041" fmla="*/ 349577 h 734237"/>
                <a:gd name="connsiteX1042" fmla="*/ 1245526 w 1472512"/>
                <a:gd name="connsiteY1042" fmla="*/ 348253 h 734237"/>
                <a:gd name="connsiteX1043" fmla="*/ 1246063 w 1472512"/>
                <a:gd name="connsiteY1043" fmla="*/ 346852 h 734237"/>
                <a:gd name="connsiteX1044" fmla="*/ 1245735 w 1472512"/>
                <a:gd name="connsiteY1044" fmla="*/ 345147 h 734237"/>
                <a:gd name="connsiteX1045" fmla="*/ 1246196 w 1472512"/>
                <a:gd name="connsiteY1045" fmla="*/ 343862 h 734237"/>
                <a:gd name="connsiteX1046" fmla="*/ 1245427 w 1472512"/>
                <a:gd name="connsiteY1046" fmla="*/ 344056 h 734237"/>
                <a:gd name="connsiteX1047" fmla="*/ 1244191 w 1472512"/>
                <a:gd name="connsiteY1047" fmla="*/ 345416 h 734237"/>
                <a:gd name="connsiteX1048" fmla="*/ 1243423 w 1472512"/>
                <a:gd name="connsiteY1048" fmla="*/ 345958 h 734237"/>
                <a:gd name="connsiteX1049" fmla="*/ 1242955 w 1472512"/>
                <a:gd name="connsiteY1049" fmla="*/ 344756 h 734237"/>
                <a:gd name="connsiteX1050" fmla="*/ 1242421 w 1472512"/>
                <a:gd name="connsiteY1050" fmla="*/ 345027 h 734237"/>
                <a:gd name="connsiteX1051" fmla="*/ 1242074 w 1472512"/>
                <a:gd name="connsiteY1051" fmla="*/ 345855 h 734237"/>
                <a:gd name="connsiteX1052" fmla="*/ 1241284 w 1472512"/>
                <a:gd name="connsiteY1052" fmla="*/ 346308 h 734237"/>
                <a:gd name="connsiteX1053" fmla="*/ 1239618 w 1472512"/>
                <a:gd name="connsiteY1053" fmla="*/ 345179 h 734237"/>
                <a:gd name="connsiteX1054" fmla="*/ 1237191 w 1472512"/>
                <a:gd name="connsiteY1054" fmla="*/ 343884 h 734237"/>
                <a:gd name="connsiteX1055" fmla="*/ 1235840 w 1472512"/>
                <a:gd name="connsiteY1055" fmla="*/ 341654 h 734237"/>
                <a:gd name="connsiteX1056" fmla="*/ 1235069 w 1472512"/>
                <a:gd name="connsiteY1056" fmla="*/ 339927 h 734237"/>
                <a:gd name="connsiteX1057" fmla="*/ 1235853 w 1472512"/>
                <a:gd name="connsiteY1057" fmla="*/ 336798 h 734237"/>
                <a:gd name="connsiteX1058" fmla="*/ 1237530 w 1472512"/>
                <a:gd name="connsiteY1058" fmla="*/ 336242 h 734237"/>
                <a:gd name="connsiteX1059" fmla="*/ 1239709 w 1472512"/>
                <a:gd name="connsiteY1059" fmla="*/ 336751 h 734237"/>
                <a:gd name="connsiteX1060" fmla="*/ 1242567 w 1472512"/>
                <a:gd name="connsiteY1060" fmla="*/ 336746 h 734237"/>
                <a:gd name="connsiteX1061" fmla="*/ 1242158 w 1472512"/>
                <a:gd name="connsiteY1061" fmla="*/ 336051 h 734237"/>
                <a:gd name="connsiteX1062" fmla="*/ 1241139 w 1472512"/>
                <a:gd name="connsiteY1062" fmla="*/ 336164 h 734237"/>
                <a:gd name="connsiteX1063" fmla="*/ 1238127 w 1472512"/>
                <a:gd name="connsiteY1063" fmla="*/ 333624 h 734237"/>
                <a:gd name="connsiteX1064" fmla="*/ 1237157 w 1472512"/>
                <a:gd name="connsiteY1064" fmla="*/ 332088 h 734237"/>
                <a:gd name="connsiteX1065" fmla="*/ 1235490 w 1472512"/>
                <a:gd name="connsiteY1065" fmla="*/ 331666 h 734237"/>
                <a:gd name="connsiteX1066" fmla="*/ 1234732 w 1472512"/>
                <a:gd name="connsiteY1066" fmla="*/ 333143 h 734237"/>
                <a:gd name="connsiteX1067" fmla="*/ 1233888 w 1472512"/>
                <a:gd name="connsiteY1067" fmla="*/ 333535 h 734237"/>
                <a:gd name="connsiteX1068" fmla="*/ 1234929 w 1472512"/>
                <a:gd name="connsiteY1068" fmla="*/ 330304 h 734237"/>
                <a:gd name="connsiteX1069" fmla="*/ 1236291 w 1472512"/>
                <a:gd name="connsiteY1069" fmla="*/ 330172 h 734237"/>
                <a:gd name="connsiteX1070" fmla="*/ 1238301 w 1472512"/>
                <a:gd name="connsiteY1070" fmla="*/ 329276 h 734237"/>
                <a:gd name="connsiteX1071" fmla="*/ 1237717 w 1472512"/>
                <a:gd name="connsiteY1071" fmla="*/ 327404 h 734237"/>
                <a:gd name="connsiteX1072" fmla="*/ 1236448 w 1472512"/>
                <a:gd name="connsiteY1072" fmla="*/ 326585 h 734237"/>
                <a:gd name="connsiteX1073" fmla="*/ 1234156 w 1472512"/>
                <a:gd name="connsiteY1073" fmla="*/ 327613 h 734237"/>
                <a:gd name="connsiteX1074" fmla="*/ 1234183 w 1472512"/>
                <a:gd name="connsiteY1074" fmla="*/ 326295 h 734237"/>
                <a:gd name="connsiteX1075" fmla="*/ 1234613 w 1472512"/>
                <a:gd name="connsiteY1075" fmla="*/ 324607 h 734237"/>
                <a:gd name="connsiteX1076" fmla="*/ 1236341 w 1472512"/>
                <a:gd name="connsiteY1076" fmla="*/ 324613 h 734237"/>
                <a:gd name="connsiteX1077" fmla="*/ 1237854 w 1472512"/>
                <a:gd name="connsiteY1077" fmla="*/ 325163 h 734237"/>
                <a:gd name="connsiteX1078" fmla="*/ 1239142 w 1472512"/>
                <a:gd name="connsiteY1078" fmla="*/ 322437 h 734237"/>
                <a:gd name="connsiteX1079" fmla="*/ 1239199 w 1472512"/>
                <a:gd name="connsiteY1079" fmla="*/ 321218 h 734237"/>
                <a:gd name="connsiteX1080" fmla="*/ 1237060 w 1472512"/>
                <a:gd name="connsiteY1080" fmla="*/ 322990 h 734237"/>
                <a:gd name="connsiteX1081" fmla="*/ 1236579 w 1472512"/>
                <a:gd name="connsiteY1081" fmla="*/ 319169 h 734237"/>
                <a:gd name="connsiteX1082" fmla="*/ 1238685 w 1472512"/>
                <a:gd name="connsiteY1082" fmla="*/ 315480 h 734237"/>
                <a:gd name="connsiteX1083" fmla="*/ 1240693 w 1472512"/>
                <a:gd name="connsiteY1083" fmla="*/ 313870 h 734237"/>
                <a:gd name="connsiteX1084" fmla="*/ 1243204 w 1472512"/>
                <a:gd name="connsiteY1084" fmla="*/ 313916 h 734237"/>
                <a:gd name="connsiteX1085" fmla="*/ 1245755 w 1472512"/>
                <a:gd name="connsiteY1085" fmla="*/ 313657 h 734237"/>
                <a:gd name="connsiteX1086" fmla="*/ 1244154 w 1472512"/>
                <a:gd name="connsiteY1086" fmla="*/ 312981 h 734237"/>
                <a:gd name="connsiteX1087" fmla="*/ 1242511 w 1472512"/>
                <a:gd name="connsiteY1087" fmla="*/ 312613 h 734237"/>
                <a:gd name="connsiteX1088" fmla="*/ 1243745 w 1472512"/>
                <a:gd name="connsiteY1088" fmla="*/ 311153 h 734237"/>
                <a:gd name="connsiteX1089" fmla="*/ 1244798 w 1472512"/>
                <a:gd name="connsiteY1089" fmla="*/ 310891 h 734237"/>
                <a:gd name="connsiteX1090" fmla="*/ 1245832 w 1472512"/>
                <a:gd name="connsiteY1090" fmla="*/ 309617 h 734237"/>
                <a:gd name="connsiteX1091" fmla="*/ 1243345 w 1472512"/>
                <a:gd name="connsiteY1091" fmla="*/ 309807 h 734237"/>
                <a:gd name="connsiteX1092" fmla="*/ 1243639 w 1472512"/>
                <a:gd name="connsiteY1092" fmla="*/ 307395 h 734237"/>
                <a:gd name="connsiteX1093" fmla="*/ 1242430 w 1472512"/>
                <a:gd name="connsiteY1093" fmla="*/ 307886 h 734237"/>
                <a:gd name="connsiteX1094" fmla="*/ 1240984 w 1472512"/>
                <a:gd name="connsiteY1094" fmla="*/ 308112 h 734237"/>
                <a:gd name="connsiteX1095" fmla="*/ 1240422 w 1472512"/>
                <a:gd name="connsiteY1095" fmla="*/ 309136 h 734237"/>
                <a:gd name="connsiteX1096" fmla="*/ 1240532 w 1472512"/>
                <a:gd name="connsiteY1096" fmla="*/ 310833 h 734237"/>
                <a:gd name="connsiteX1097" fmla="*/ 1240110 w 1472512"/>
                <a:gd name="connsiteY1097" fmla="*/ 311946 h 734237"/>
                <a:gd name="connsiteX1098" fmla="*/ 1238985 w 1472512"/>
                <a:gd name="connsiteY1098" fmla="*/ 312841 h 734237"/>
                <a:gd name="connsiteX1099" fmla="*/ 1237085 w 1472512"/>
                <a:gd name="connsiteY1099" fmla="*/ 313538 h 734237"/>
                <a:gd name="connsiteX1100" fmla="*/ 1236902 w 1472512"/>
                <a:gd name="connsiteY1100" fmla="*/ 312330 h 734237"/>
                <a:gd name="connsiteX1101" fmla="*/ 1236273 w 1472512"/>
                <a:gd name="connsiteY1101" fmla="*/ 311781 h 734237"/>
                <a:gd name="connsiteX1102" fmla="*/ 1236038 w 1472512"/>
                <a:gd name="connsiteY1102" fmla="*/ 314369 h 734237"/>
                <a:gd name="connsiteX1103" fmla="*/ 1235540 w 1472512"/>
                <a:gd name="connsiteY1103" fmla="*/ 315248 h 734237"/>
                <a:gd name="connsiteX1104" fmla="*/ 1234152 w 1472512"/>
                <a:gd name="connsiteY1104" fmla="*/ 312822 h 734237"/>
                <a:gd name="connsiteX1105" fmla="*/ 1233735 w 1472512"/>
                <a:gd name="connsiteY1105" fmla="*/ 313311 h 734237"/>
                <a:gd name="connsiteX1106" fmla="*/ 1233788 w 1472512"/>
                <a:gd name="connsiteY1106" fmla="*/ 313999 h 734237"/>
                <a:gd name="connsiteX1107" fmla="*/ 1233434 w 1472512"/>
                <a:gd name="connsiteY1107" fmla="*/ 315191 h 734237"/>
                <a:gd name="connsiteX1108" fmla="*/ 1232243 w 1472512"/>
                <a:gd name="connsiteY1108" fmla="*/ 315812 h 734237"/>
                <a:gd name="connsiteX1109" fmla="*/ 1232316 w 1472512"/>
                <a:gd name="connsiteY1109" fmla="*/ 317339 h 734237"/>
                <a:gd name="connsiteX1110" fmla="*/ 1231854 w 1472512"/>
                <a:gd name="connsiteY1110" fmla="*/ 318171 h 734237"/>
                <a:gd name="connsiteX1111" fmla="*/ 1228040 w 1472512"/>
                <a:gd name="connsiteY1111" fmla="*/ 316845 h 734237"/>
                <a:gd name="connsiteX1112" fmla="*/ 1227950 w 1472512"/>
                <a:gd name="connsiteY1112" fmla="*/ 317295 h 734237"/>
                <a:gd name="connsiteX1113" fmla="*/ 1230108 w 1472512"/>
                <a:gd name="connsiteY1113" fmla="*/ 320152 h 734237"/>
                <a:gd name="connsiteX1114" fmla="*/ 1231683 w 1472512"/>
                <a:gd name="connsiteY1114" fmla="*/ 321127 h 734237"/>
                <a:gd name="connsiteX1115" fmla="*/ 1231875 w 1472512"/>
                <a:gd name="connsiteY1115" fmla="*/ 322683 h 734237"/>
                <a:gd name="connsiteX1116" fmla="*/ 1230522 w 1472512"/>
                <a:gd name="connsiteY1116" fmla="*/ 323974 h 734237"/>
                <a:gd name="connsiteX1117" fmla="*/ 1228656 w 1472512"/>
                <a:gd name="connsiteY1117" fmla="*/ 322859 h 734237"/>
                <a:gd name="connsiteX1118" fmla="*/ 1228342 w 1472512"/>
                <a:gd name="connsiteY1118" fmla="*/ 322942 h 734237"/>
                <a:gd name="connsiteX1119" fmla="*/ 1229356 w 1472512"/>
                <a:gd name="connsiteY1119" fmla="*/ 324851 h 734237"/>
                <a:gd name="connsiteX1120" fmla="*/ 1229996 w 1472512"/>
                <a:gd name="connsiteY1120" fmla="*/ 326521 h 734237"/>
                <a:gd name="connsiteX1121" fmla="*/ 1229338 w 1472512"/>
                <a:gd name="connsiteY1121" fmla="*/ 327918 h 734237"/>
                <a:gd name="connsiteX1122" fmla="*/ 1229440 w 1472512"/>
                <a:gd name="connsiteY1122" fmla="*/ 329637 h 734237"/>
                <a:gd name="connsiteX1123" fmla="*/ 1229298 w 1472512"/>
                <a:gd name="connsiteY1123" fmla="*/ 331195 h 734237"/>
                <a:gd name="connsiteX1124" fmla="*/ 1228895 w 1472512"/>
                <a:gd name="connsiteY1124" fmla="*/ 332555 h 734237"/>
                <a:gd name="connsiteX1125" fmla="*/ 1229802 w 1472512"/>
                <a:gd name="connsiteY1125" fmla="*/ 338812 h 734237"/>
                <a:gd name="connsiteX1126" fmla="*/ 1230894 w 1472512"/>
                <a:gd name="connsiteY1126" fmla="*/ 340511 h 734237"/>
                <a:gd name="connsiteX1127" fmla="*/ 1231969 w 1472512"/>
                <a:gd name="connsiteY1127" fmla="*/ 342136 h 734237"/>
                <a:gd name="connsiteX1128" fmla="*/ 1232538 w 1472512"/>
                <a:gd name="connsiteY1128" fmla="*/ 343656 h 734237"/>
                <a:gd name="connsiteX1129" fmla="*/ 1231398 w 1472512"/>
                <a:gd name="connsiteY1129" fmla="*/ 343878 h 734237"/>
                <a:gd name="connsiteX1130" fmla="*/ 1229583 w 1472512"/>
                <a:gd name="connsiteY1130" fmla="*/ 342627 h 734237"/>
                <a:gd name="connsiteX1131" fmla="*/ 1227988 w 1472512"/>
                <a:gd name="connsiteY1131" fmla="*/ 341674 h 734237"/>
                <a:gd name="connsiteX1132" fmla="*/ 1226089 w 1472512"/>
                <a:gd name="connsiteY1132" fmla="*/ 338623 h 734237"/>
                <a:gd name="connsiteX1133" fmla="*/ 1225776 w 1472512"/>
                <a:gd name="connsiteY1133" fmla="*/ 337405 h 734237"/>
                <a:gd name="connsiteX1134" fmla="*/ 1225312 w 1472512"/>
                <a:gd name="connsiteY1134" fmla="*/ 336440 h 734237"/>
                <a:gd name="connsiteX1135" fmla="*/ 1225535 w 1472512"/>
                <a:gd name="connsiteY1135" fmla="*/ 338654 h 734237"/>
                <a:gd name="connsiteX1136" fmla="*/ 1226214 w 1472512"/>
                <a:gd name="connsiteY1136" fmla="*/ 341123 h 734237"/>
                <a:gd name="connsiteX1137" fmla="*/ 1232162 w 1472512"/>
                <a:gd name="connsiteY1137" fmla="*/ 346643 h 734237"/>
                <a:gd name="connsiteX1138" fmla="*/ 1233262 w 1472512"/>
                <a:gd name="connsiteY1138" fmla="*/ 348759 h 734237"/>
                <a:gd name="connsiteX1139" fmla="*/ 1234098 w 1472512"/>
                <a:gd name="connsiteY1139" fmla="*/ 350420 h 734237"/>
                <a:gd name="connsiteX1140" fmla="*/ 1233888 w 1472512"/>
                <a:gd name="connsiteY1140" fmla="*/ 352012 h 734237"/>
                <a:gd name="connsiteX1141" fmla="*/ 1232336 w 1472512"/>
                <a:gd name="connsiteY1141" fmla="*/ 350885 h 734237"/>
                <a:gd name="connsiteX1142" fmla="*/ 1230999 w 1472512"/>
                <a:gd name="connsiteY1142" fmla="*/ 349450 h 734237"/>
                <a:gd name="connsiteX1143" fmla="*/ 1227449 w 1472512"/>
                <a:gd name="connsiteY1143" fmla="*/ 347827 h 734237"/>
                <a:gd name="connsiteX1144" fmla="*/ 1222970 w 1472512"/>
                <a:gd name="connsiteY1144" fmla="*/ 346801 h 734237"/>
                <a:gd name="connsiteX1145" fmla="*/ 1220445 w 1472512"/>
                <a:gd name="connsiteY1145" fmla="*/ 343025 h 734237"/>
                <a:gd name="connsiteX1146" fmla="*/ 1220454 w 1472512"/>
                <a:gd name="connsiteY1146" fmla="*/ 344600 h 734237"/>
                <a:gd name="connsiteX1147" fmla="*/ 1219893 w 1472512"/>
                <a:gd name="connsiteY1147" fmla="*/ 345937 h 734237"/>
                <a:gd name="connsiteX1148" fmla="*/ 1218351 w 1472512"/>
                <a:gd name="connsiteY1148" fmla="*/ 344308 h 734237"/>
                <a:gd name="connsiteX1149" fmla="*/ 1217377 w 1472512"/>
                <a:gd name="connsiteY1149" fmla="*/ 342917 h 734237"/>
                <a:gd name="connsiteX1150" fmla="*/ 1217051 w 1472512"/>
                <a:gd name="connsiteY1150" fmla="*/ 341393 h 734237"/>
                <a:gd name="connsiteX1151" fmla="*/ 1215123 w 1472512"/>
                <a:gd name="connsiteY1151" fmla="*/ 341496 h 734237"/>
                <a:gd name="connsiteX1152" fmla="*/ 1213103 w 1472512"/>
                <a:gd name="connsiteY1152" fmla="*/ 342822 h 734237"/>
                <a:gd name="connsiteX1153" fmla="*/ 1211149 w 1472512"/>
                <a:gd name="connsiteY1153" fmla="*/ 342508 h 734237"/>
                <a:gd name="connsiteX1154" fmla="*/ 1210917 w 1472512"/>
                <a:gd name="connsiteY1154" fmla="*/ 339921 h 734237"/>
                <a:gd name="connsiteX1155" fmla="*/ 1211446 w 1472512"/>
                <a:gd name="connsiteY1155" fmla="*/ 338551 h 734237"/>
                <a:gd name="connsiteX1156" fmla="*/ 1213638 w 1472512"/>
                <a:gd name="connsiteY1156" fmla="*/ 335307 h 734237"/>
                <a:gd name="connsiteX1157" fmla="*/ 1215705 w 1472512"/>
                <a:gd name="connsiteY1157" fmla="*/ 333651 h 734237"/>
                <a:gd name="connsiteX1158" fmla="*/ 1216617 w 1472512"/>
                <a:gd name="connsiteY1158" fmla="*/ 331509 h 734237"/>
                <a:gd name="connsiteX1159" fmla="*/ 1216307 w 1472512"/>
                <a:gd name="connsiteY1159" fmla="*/ 328188 h 734237"/>
                <a:gd name="connsiteX1160" fmla="*/ 1215917 w 1472512"/>
                <a:gd name="connsiteY1160" fmla="*/ 331569 h 734237"/>
                <a:gd name="connsiteX1161" fmla="*/ 1214736 w 1472512"/>
                <a:gd name="connsiteY1161" fmla="*/ 333241 h 734237"/>
                <a:gd name="connsiteX1162" fmla="*/ 1212881 w 1472512"/>
                <a:gd name="connsiteY1162" fmla="*/ 334519 h 734237"/>
                <a:gd name="connsiteX1163" fmla="*/ 1210438 w 1472512"/>
                <a:gd name="connsiteY1163" fmla="*/ 336797 h 734237"/>
                <a:gd name="connsiteX1164" fmla="*/ 1209841 w 1472512"/>
                <a:gd name="connsiteY1164" fmla="*/ 338901 h 734237"/>
                <a:gd name="connsiteX1165" fmla="*/ 1209078 w 1472512"/>
                <a:gd name="connsiteY1165" fmla="*/ 342836 h 734237"/>
                <a:gd name="connsiteX1166" fmla="*/ 1210111 w 1472512"/>
                <a:gd name="connsiteY1166" fmla="*/ 344168 h 734237"/>
                <a:gd name="connsiteX1167" fmla="*/ 1211165 w 1472512"/>
                <a:gd name="connsiteY1167" fmla="*/ 344515 h 734237"/>
                <a:gd name="connsiteX1168" fmla="*/ 1214277 w 1472512"/>
                <a:gd name="connsiteY1168" fmla="*/ 343623 h 734237"/>
                <a:gd name="connsiteX1169" fmla="*/ 1215887 w 1472512"/>
                <a:gd name="connsiteY1169" fmla="*/ 344021 h 734237"/>
                <a:gd name="connsiteX1170" fmla="*/ 1219470 w 1472512"/>
                <a:gd name="connsiteY1170" fmla="*/ 348753 h 734237"/>
                <a:gd name="connsiteX1171" fmla="*/ 1226140 w 1472512"/>
                <a:gd name="connsiteY1171" fmla="*/ 350623 h 734237"/>
                <a:gd name="connsiteX1172" fmla="*/ 1228573 w 1472512"/>
                <a:gd name="connsiteY1172" fmla="*/ 351791 h 734237"/>
                <a:gd name="connsiteX1173" fmla="*/ 1230556 w 1472512"/>
                <a:gd name="connsiteY1173" fmla="*/ 354255 h 734237"/>
                <a:gd name="connsiteX1174" fmla="*/ 1233536 w 1472512"/>
                <a:gd name="connsiteY1174" fmla="*/ 355674 h 734237"/>
                <a:gd name="connsiteX1175" fmla="*/ 1235849 w 1472512"/>
                <a:gd name="connsiteY1175" fmla="*/ 357733 h 734237"/>
                <a:gd name="connsiteX1176" fmla="*/ 1235912 w 1472512"/>
                <a:gd name="connsiteY1176" fmla="*/ 359076 h 734237"/>
                <a:gd name="connsiteX1177" fmla="*/ 1235111 w 1472512"/>
                <a:gd name="connsiteY1177" fmla="*/ 360664 h 734237"/>
                <a:gd name="connsiteX1178" fmla="*/ 1234795 w 1472512"/>
                <a:gd name="connsiteY1178" fmla="*/ 362812 h 734237"/>
                <a:gd name="connsiteX1179" fmla="*/ 1233812 w 1472512"/>
                <a:gd name="connsiteY1179" fmla="*/ 364165 h 734237"/>
                <a:gd name="connsiteX1180" fmla="*/ 1231453 w 1472512"/>
                <a:gd name="connsiteY1180" fmla="*/ 364321 h 734237"/>
                <a:gd name="connsiteX1181" fmla="*/ 1230028 w 1472512"/>
                <a:gd name="connsiteY1181" fmla="*/ 363973 h 734237"/>
                <a:gd name="connsiteX1182" fmla="*/ 1222368 w 1472512"/>
                <a:gd name="connsiteY1182" fmla="*/ 356419 h 734237"/>
                <a:gd name="connsiteX1183" fmla="*/ 1221453 w 1472512"/>
                <a:gd name="connsiteY1183" fmla="*/ 355724 h 734237"/>
                <a:gd name="connsiteX1184" fmla="*/ 1218612 w 1472512"/>
                <a:gd name="connsiteY1184" fmla="*/ 351762 h 734237"/>
                <a:gd name="connsiteX1185" fmla="*/ 1215278 w 1472512"/>
                <a:gd name="connsiteY1185" fmla="*/ 349638 h 734237"/>
                <a:gd name="connsiteX1186" fmla="*/ 1214247 w 1472512"/>
                <a:gd name="connsiteY1186" fmla="*/ 349683 h 734237"/>
                <a:gd name="connsiteX1187" fmla="*/ 1218992 w 1472512"/>
                <a:gd name="connsiteY1187" fmla="*/ 353610 h 734237"/>
                <a:gd name="connsiteX1188" fmla="*/ 1220929 w 1472512"/>
                <a:gd name="connsiteY1188" fmla="*/ 356354 h 734237"/>
                <a:gd name="connsiteX1189" fmla="*/ 1224340 w 1472512"/>
                <a:gd name="connsiteY1189" fmla="*/ 360197 h 734237"/>
                <a:gd name="connsiteX1190" fmla="*/ 1226780 w 1472512"/>
                <a:gd name="connsiteY1190" fmla="*/ 361823 h 734237"/>
                <a:gd name="connsiteX1191" fmla="*/ 1228574 w 1472512"/>
                <a:gd name="connsiteY1191" fmla="*/ 364359 h 734237"/>
                <a:gd name="connsiteX1192" fmla="*/ 1230242 w 1472512"/>
                <a:gd name="connsiteY1192" fmla="*/ 365547 h 734237"/>
                <a:gd name="connsiteX1193" fmla="*/ 1234796 w 1472512"/>
                <a:gd name="connsiteY1193" fmla="*/ 367237 h 734237"/>
                <a:gd name="connsiteX1194" fmla="*/ 1233213 w 1472512"/>
                <a:gd name="connsiteY1194" fmla="*/ 368452 h 734237"/>
                <a:gd name="connsiteX1195" fmla="*/ 1235740 w 1472512"/>
                <a:gd name="connsiteY1195" fmla="*/ 369487 h 734237"/>
                <a:gd name="connsiteX1196" fmla="*/ 1236101 w 1472512"/>
                <a:gd name="connsiteY1196" fmla="*/ 371387 h 734237"/>
                <a:gd name="connsiteX1197" fmla="*/ 1235870 w 1472512"/>
                <a:gd name="connsiteY1197" fmla="*/ 373552 h 734237"/>
                <a:gd name="connsiteX1198" fmla="*/ 1232362 w 1472512"/>
                <a:gd name="connsiteY1198" fmla="*/ 372696 h 734237"/>
                <a:gd name="connsiteX1199" fmla="*/ 1232248 w 1472512"/>
                <a:gd name="connsiteY1199" fmla="*/ 374292 h 734237"/>
                <a:gd name="connsiteX1200" fmla="*/ 1232561 w 1472512"/>
                <a:gd name="connsiteY1200" fmla="*/ 375233 h 734237"/>
                <a:gd name="connsiteX1201" fmla="*/ 1231012 w 1472512"/>
                <a:gd name="connsiteY1201" fmla="*/ 376008 h 734237"/>
                <a:gd name="connsiteX1202" fmla="*/ 1228857 w 1472512"/>
                <a:gd name="connsiteY1202" fmla="*/ 374955 h 734237"/>
                <a:gd name="connsiteX1203" fmla="*/ 1223261 w 1472512"/>
                <a:gd name="connsiteY1203" fmla="*/ 369185 h 734237"/>
                <a:gd name="connsiteX1204" fmla="*/ 1223309 w 1472512"/>
                <a:gd name="connsiteY1204" fmla="*/ 369957 h 734237"/>
                <a:gd name="connsiteX1205" fmla="*/ 1223762 w 1472512"/>
                <a:gd name="connsiteY1205" fmla="*/ 370853 h 734237"/>
                <a:gd name="connsiteX1206" fmla="*/ 1227008 w 1472512"/>
                <a:gd name="connsiteY1206" fmla="*/ 374567 h 734237"/>
                <a:gd name="connsiteX1207" fmla="*/ 1229903 w 1472512"/>
                <a:gd name="connsiteY1207" fmla="*/ 376793 h 734237"/>
                <a:gd name="connsiteX1208" fmla="*/ 1232358 w 1472512"/>
                <a:gd name="connsiteY1208" fmla="*/ 377798 h 734237"/>
                <a:gd name="connsiteX1209" fmla="*/ 1234251 w 1472512"/>
                <a:gd name="connsiteY1209" fmla="*/ 379661 h 734237"/>
                <a:gd name="connsiteX1210" fmla="*/ 1234919 w 1472512"/>
                <a:gd name="connsiteY1210" fmla="*/ 380788 h 734237"/>
                <a:gd name="connsiteX1211" fmla="*/ 1235363 w 1472512"/>
                <a:gd name="connsiteY1211" fmla="*/ 382497 h 734237"/>
                <a:gd name="connsiteX1212" fmla="*/ 1233962 w 1472512"/>
                <a:gd name="connsiteY1212" fmla="*/ 383657 h 734237"/>
                <a:gd name="connsiteX1213" fmla="*/ 1232364 w 1472512"/>
                <a:gd name="connsiteY1213" fmla="*/ 384298 h 734237"/>
                <a:gd name="connsiteX1214" fmla="*/ 1230804 w 1472512"/>
                <a:gd name="connsiteY1214" fmla="*/ 383140 h 734237"/>
                <a:gd name="connsiteX1215" fmla="*/ 1229661 w 1472512"/>
                <a:gd name="connsiteY1215" fmla="*/ 381920 h 734237"/>
                <a:gd name="connsiteX1216" fmla="*/ 1227226 w 1472512"/>
                <a:gd name="connsiteY1216" fmla="*/ 379849 h 734237"/>
                <a:gd name="connsiteX1217" fmla="*/ 1226497 w 1472512"/>
                <a:gd name="connsiteY1217" fmla="*/ 377531 h 734237"/>
                <a:gd name="connsiteX1218" fmla="*/ 1224644 w 1472512"/>
                <a:gd name="connsiteY1218" fmla="*/ 377651 h 734237"/>
                <a:gd name="connsiteX1219" fmla="*/ 1216902 w 1472512"/>
                <a:gd name="connsiteY1219" fmla="*/ 374710 h 734237"/>
                <a:gd name="connsiteX1220" fmla="*/ 1210681 w 1472512"/>
                <a:gd name="connsiteY1220" fmla="*/ 374371 h 734237"/>
                <a:gd name="connsiteX1221" fmla="*/ 1211289 w 1472512"/>
                <a:gd name="connsiteY1221" fmla="*/ 374964 h 734237"/>
                <a:gd name="connsiteX1222" fmla="*/ 1212076 w 1472512"/>
                <a:gd name="connsiteY1222" fmla="*/ 375357 h 734237"/>
                <a:gd name="connsiteX1223" fmla="*/ 1217031 w 1472512"/>
                <a:gd name="connsiteY1223" fmla="*/ 376083 h 734237"/>
                <a:gd name="connsiteX1224" fmla="*/ 1218989 w 1472512"/>
                <a:gd name="connsiteY1224" fmla="*/ 377436 h 734237"/>
                <a:gd name="connsiteX1225" fmla="*/ 1223064 w 1472512"/>
                <a:gd name="connsiteY1225" fmla="*/ 378637 h 734237"/>
                <a:gd name="connsiteX1226" fmla="*/ 1225452 w 1472512"/>
                <a:gd name="connsiteY1226" fmla="*/ 378965 h 734237"/>
                <a:gd name="connsiteX1227" fmla="*/ 1226419 w 1472512"/>
                <a:gd name="connsiteY1227" fmla="*/ 382651 h 734237"/>
                <a:gd name="connsiteX1228" fmla="*/ 1229717 w 1472512"/>
                <a:gd name="connsiteY1228" fmla="*/ 385187 h 734237"/>
                <a:gd name="connsiteX1229" fmla="*/ 1230146 w 1472512"/>
                <a:gd name="connsiteY1229" fmla="*/ 387063 h 734237"/>
                <a:gd name="connsiteX1230" fmla="*/ 1232398 w 1472512"/>
                <a:gd name="connsiteY1230" fmla="*/ 387274 h 734237"/>
                <a:gd name="connsiteX1231" fmla="*/ 1236360 w 1472512"/>
                <a:gd name="connsiteY1231" fmla="*/ 385432 h 734237"/>
                <a:gd name="connsiteX1232" fmla="*/ 1238918 w 1472512"/>
                <a:gd name="connsiteY1232" fmla="*/ 386078 h 734237"/>
                <a:gd name="connsiteX1233" fmla="*/ 1242605 w 1472512"/>
                <a:gd name="connsiteY1233" fmla="*/ 386605 h 734237"/>
                <a:gd name="connsiteX1234" fmla="*/ 1243450 w 1472512"/>
                <a:gd name="connsiteY1234" fmla="*/ 388091 h 734237"/>
                <a:gd name="connsiteX1235" fmla="*/ 1244082 w 1472512"/>
                <a:gd name="connsiteY1235" fmla="*/ 390916 h 734237"/>
                <a:gd name="connsiteX1236" fmla="*/ 1245386 w 1472512"/>
                <a:gd name="connsiteY1236" fmla="*/ 394091 h 734237"/>
                <a:gd name="connsiteX1237" fmla="*/ 1248768 w 1472512"/>
                <a:gd name="connsiteY1237" fmla="*/ 406587 h 734237"/>
                <a:gd name="connsiteX1238" fmla="*/ 1253849 w 1472512"/>
                <a:gd name="connsiteY1238" fmla="*/ 416778 h 734237"/>
                <a:gd name="connsiteX1239" fmla="*/ 1254474 w 1472512"/>
                <a:gd name="connsiteY1239" fmla="*/ 418529 h 734237"/>
                <a:gd name="connsiteX1240" fmla="*/ 1253292 w 1472512"/>
                <a:gd name="connsiteY1240" fmla="*/ 416993 h 734237"/>
                <a:gd name="connsiteX1241" fmla="*/ 1249524 w 1472512"/>
                <a:gd name="connsiteY1241" fmla="*/ 410247 h 734237"/>
                <a:gd name="connsiteX1242" fmla="*/ 1247444 w 1472512"/>
                <a:gd name="connsiteY1242" fmla="*/ 405368 h 734237"/>
                <a:gd name="connsiteX1243" fmla="*/ 1245306 w 1472512"/>
                <a:gd name="connsiteY1243" fmla="*/ 396739 h 734237"/>
                <a:gd name="connsiteX1244" fmla="*/ 1244686 w 1472512"/>
                <a:gd name="connsiteY1244" fmla="*/ 394804 h 734237"/>
                <a:gd name="connsiteX1245" fmla="*/ 1243956 w 1472512"/>
                <a:gd name="connsiteY1245" fmla="*/ 394031 h 734237"/>
                <a:gd name="connsiteX1246" fmla="*/ 1243475 w 1472512"/>
                <a:gd name="connsiteY1246" fmla="*/ 394660 h 734237"/>
                <a:gd name="connsiteX1247" fmla="*/ 1243269 w 1472512"/>
                <a:gd name="connsiteY1247" fmla="*/ 395762 h 734237"/>
                <a:gd name="connsiteX1248" fmla="*/ 1243617 w 1472512"/>
                <a:gd name="connsiteY1248" fmla="*/ 396606 h 734237"/>
                <a:gd name="connsiteX1249" fmla="*/ 1242775 w 1472512"/>
                <a:gd name="connsiteY1249" fmla="*/ 399450 h 734237"/>
                <a:gd name="connsiteX1250" fmla="*/ 1243140 w 1472512"/>
                <a:gd name="connsiteY1250" fmla="*/ 400753 h 734237"/>
                <a:gd name="connsiteX1251" fmla="*/ 1244507 w 1472512"/>
                <a:gd name="connsiteY1251" fmla="*/ 402101 h 734237"/>
                <a:gd name="connsiteX1252" fmla="*/ 1245993 w 1472512"/>
                <a:gd name="connsiteY1252" fmla="*/ 405461 h 734237"/>
                <a:gd name="connsiteX1253" fmla="*/ 1247180 w 1472512"/>
                <a:gd name="connsiteY1253" fmla="*/ 409981 h 734237"/>
                <a:gd name="connsiteX1254" fmla="*/ 1245575 w 1472512"/>
                <a:gd name="connsiteY1254" fmla="*/ 408150 h 734237"/>
                <a:gd name="connsiteX1255" fmla="*/ 1243861 w 1472512"/>
                <a:gd name="connsiteY1255" fmla="*/ 407178 h 734237"/>
                <a:gd name="connsiteX1256" fmla="*/ 1241194 w 1472512"/>
                <a:gd name="connsiteY1256" fmla="*/ 406433 h 734237"/>
                <a:gd name="connsiteX1257" fmla="*/ 1238819 w 1472512"/>
                <a:gd name="connsiteY1257" fmla="*/ 405129 h 734237"/>
                <a:gd name="connsiteX1258" fmla="*/ 1238992 w 1472512"/>
                <a:gd name="connsiteY1258" fmla="*/ 407001 h 734237"/>
                <a:gd name="connsiteX1259" fmla="*/ 1238765 w 1472512"/>
                <a:gd name="connsiteY1259" fmla="*/ 409022 h 734237"/>
                <a:gd name="connsiteX1260" fmla="*/ 1236934 w 1472512"/>
                <a:gd name="connsiteY1260" fmla="*/ 408406 h 734237"/>
                <a:gd name="connsiteX1261" fmla="*/ 1235688 w 1472512"/>
                <a:gd name="connsiteY1261" fmla="*/ 407735 h 734237"/>
                <a:gd name="connsiteX1262" fmla="*/ 1236790 w 1472512"/>
                <a:gd name="connsiteY1262" fmla="*/ 409888 h 734237"/>
                <a:gd name="connsiteX1263" fmla="*/ 1234396 w 1472512"/>
                <a:gd name="connsiteY1263" fmla="*/ 409242 h 734237"/>
                <a:gd name="connsiteX1264" fmla="*/ 1232803 w 1472512"/>
                <a:gd name="connsiteY1264" fmla="*/ 409377 h 734237"/>
                <a:gd name="connsiteX1265" fmla="*/ 1231767 w 1472512"/>
                <a:gd name="connsiteY1265" fmla="*/ 411288 h 734237"/>
                <a:gd name="connsiteX1266" fmla="*/ 1230376 w 1472512"/>
                <a:gd name="connsiteY1266" fmla="*/ 412448 h 734237"/>
                <a:gd name="connsiteX1267" fmla="*/ 1228322 w 1472512"/>
                <a:gd name="connsiteY1267" fmla="*/ 412821 h 734237"/>
                <a:gd name="connsiteX1268" fmla="*/ 1225272 w 1472512"/>
                <a:gd name="connsiteY1268" fmla="*/ 411074 h 734237"/>
                <a:gd name="connsiteX1269" fmla="*/ 1224284 w 1472512"/>
                <a:gd name="connsiteY1269" fmla="*/ 408954 h 734237"/>
                <a:gd name="connsiteX1270" fmla="*/ 1223875 w 1472512"/>
                <a:gd name="connsiteY1270" fmla="*/ 406590 h 734237"/>
                <a:gd name="connsiteX1271" fmla="*/ 1223713 w 1472512"/>
                <a:gd name="connsiteY1271" fmla="*/ 409384 h 734237"/>
                <a:gd name="connsiteX1272" fmla="*/ 1224255 w 1472512"/>
                <a:gd name="connsiteY1272" fmla="*/ 412292 h 734237"/>
                <a:gd name="connsiteX1273" fmla="*/ 1224064 w 1472512"/>
                <a:gd name="connsiteY1273" fmla="*/ 414501 h 734237"/>
                <a:gd name="connsiteX1274" fmla="*/ 1227001 w 1472512"/>
                <a:gd name="connsiteY1274" fmla="*/ 414906 h 734237"/>
                <a:gd name="connsiteX1275" fmla="*/ 1229746 w 1472512"/>
                <a:gd name="connsiteY1275" fmla="*/ 414547 h 734237"/>
                <a:gd name="connsiteX1276" fmla="*/ 1233451 w 1472512"/>
                <a:gd name="connsiteY1276" fmla="*/ 414638 h 734237"/>
                <a:gd name="connsiteX1277" fmla="*/ 1235867 w 1472512"/>
                <a:gd name="connsiteY1277" fmla="*/ 414225 h 734237"/>
                <a:gd name="connsiteX1278" fmla="*/ 1237322 w 1472512"/>
                <a:gd name="connsiteY1278" fmla="*/ 413522 h 734237"/>
                <a:gd name="connsiteX1279" fmla="*/ 1240811 w 1472512"/>
                <a:gd name="connsiteY1279" fmla="*/ 414131 h 734237"/>
                <a:gd name="connsiteX1280" fmla="*/ 1241060 w 1472512"/>
                <a:gd name="connsiteY1280" fmla="*/ 416798 h 734237"/>
                <a:gd name="connsiteX1281" fmla="*/ 1240660 w 1472512"/>
                <a:gd name="connsiteY1281" fmla="*/ 419447 h 734237"/>
                <a:gd name="connsiteX1282" fmla="*/ 1240458 w 1472512"/>
                <a:gd name="connsiteY1282" fmla="*/ 422265 h 734237"/>
                <a:gd name="connsiteX1283" fmla="*/ 1241425 w 1472512"/>
                <a:gd name="connsiteY1283" fmla="*/ 422247 h 734237"/>
                <a:gd name="connsiteX1284" fmla="*/ 1242562 w 1472512"/>
                <a:gd name="connsiteY1284" fmla="*/ 421346 h 734237"/>
                <a:gd name="connsiteX1285" fmla="*/ 1243129 w 1472512"/>
                <a:gd name="connsiteY1285" fmla="*/ 416295 h 734237"/>
                <a:gd name="connsiteX1286" fmla="*/ 1246317 w 1472512"/>
                <a:gd name="connsiteY1286" fmla="*/ 414427 h 734237"/>
                <a:gd name="connsiteX1287" fmla="*/ 1247386 w 1472512"/>
                <a:gd name="connsiteY1287" fmla="*/ 414555 h 734237"/>
                <a:gd name="connsiteX1288" fmla="*/ 1248401 w 1472512"/>
                <a:gd name="connsiteY1288" fmla="*/ 416179 h 734237"/>
                <a:gd name="connsiteX1289" fmla="*/ 1248743 w 1472512"/>
                <a:gd name="connsiteY1289" fmla="*/ 417827 h 734237"/>
                <a:gd name="connsiteX1290" fmla="*/ 1249103 w 1472512"/>
                <a:gd name="connsiteY1290" fmla="*/ 420088 h 734237"/>
                <a:gd name="connsiteX1291" fmla="*/ 1248359 w 1472512"/>
                <a:gd name="connsiteY1291" fmla="*/ 423530 h 734237"/>
                <a:gd name="connsiteX1292" fmla="*/ 1243459 w 1472512"/>
                <a:gd name="connsiteY1292" fmla="*/ 427551 h 734237"/>
                <a:gd name="connsiteX1293" fmla="*/ 1239950 w 1472512"/>
                <a:gd name="connsiteY1293" fmla="*/ 431266 h 734237"/>
                <a:gd name="connsiteX1294" fmla="*/ 1238157 w 1472512"/>
                <a:gd name="connsiteY1294" fmla="*/ 432022 h 734237"/>
                <a:gd name="connsiteX1295" fmla="*/ 1235569 w 1472512"/>
                <a:gd name="connsiteY1295" fmla="*/ 431590 h 734237"/>
                <a:gd name="connsiteX1296" fmla="*/ 1232636 w 1472512"/>
                <a:gd name="connsiteY1296" fmla="*/ 430656 h 734237"/>
                <a:gd name="connsiteX1297" fmla="*/ 1231197 w 1472512"/>
                <a:gd name="connsiteY1297" fmla="*/ 430468 h 734237"/>
                <a:gd name="connsiteX1298" fmla="*/ 1230104 w 1472512"/>
                <a:gd name="connsiteY1298" fmla="*/ 430780 h 734237"/>
                <a:gd name="connsiteX1299" fmla="*/ 1229438 w 1472512"/>
                <a:gd name="connsiteY1299" fmla="*/ 429637 h 734237"/>
                <a:gd name="connsiteX1300" fmla="*/ 1229008 w 1472512"/>
                <a:gd name="connsiteY1300" fmla="*/ 427550 h 734237"/>
                <a:gd name="connsiteX1301" fmla="*/ 1227867 w 1472512"/>
                <a:gd name="connsiteY1301" fmla="*/ 426857 h 734237"/>
                <a:gd name="connsiteX1302" fmla="*/ 1227003 w 1472512"/>
                <a:gd name="connsiteY1302" fmla="*/ 426934 h 734237"/>
                <a:gd name="connsiteX1303" fmla="*/ 1226413 w 1472512"/>
                <a:gd name="connsiteY1303" fmla="*/ 429151 h 734237"/>
                <a:gd name="connsiteX1304" fmla="*/ 1223678 w 1472512"/>
                <a:gd name="connsiteY1304" fmla="*/ 429781 h 734237"/>
                <a:gd name="connsiteX1305" fmla="*/ 1219958 w 1472512"/>
                <a:gd name="connsiteY1305" fmla="*/ 428866 h 734237"/>
                <a:gd name="connsiteX1306" fmla="*/ 1216060 w 1472512"/>
                <a:gd name="connsiteY1306" fmla="*/ 427000 h 734237"/>
                <a:gd name="connsiteX1307" fmla="*/ 1217732 w 1472512"/>
                <a:gd name="connsiteY1307" fmla="*/ 429001 h 734237"/>
                <a:gd name="connsiteX1308" fmla="*/ 1227401 w 1472512"/>
                <a:gd name="connsiteY1308" fmla="*/ 432731 h 734237"/>
                <a:gd name="connsiteX1309" fmla="*/ 1228489 w 1472512"/>
                <a:gd name="connsiteY1309" fmla="*/ 433428 h 734237"/>
                <a:gd name="connsiteX1310" fmla="*/ 1229505 w 1472512"/>
                <a:gd name="connsiteY1310" fmla="*/ 434447 h 734237"/>
                <a:gd name="connsiteX1311" fmla="*/ 1228153 w 1472512"/>
                <a:gd name="connsiteY1311" fmla="*/ 436046 h 734237"/>
                <a:gd name="connsiteX1312" fmla="*/ 1227093 w 1472512"/>
                <a:gd name="connsiteY1312" fmla="*/ 437846 h 734237"/>
                <a:gd name="connsiteX1313" fmla="*/ 1226945 w 1472512"/>
                <a:gd name="connsiteY1313" fmla="*/ 439257 h 734237"/>
                <a:gd name="connsiteX1314" fmla="*/ 1226570 w 1472512"/>
                <a:gd name="connsiteY1314" fmla="*/ 440147 h 734237"/>
                <a:gd name="connsiteX1315" fmla="*/ 1222715 w 1472512"/>
                <a:gd name="connsiteY1315" fmla="*/ 442548 h 734237"/>
                <a:gd name="connsiteX1316" fmla="*/ 1220626 w 1472512"/>
                <a:gd name="connsiteY1316" fmla="*/ 442124 h 734237"/>
                <a:gd name="connsiteX1317" fmla="*/ 1215288 w 1472512"/>
                <a:gd name="connsiteY1317" fmla="*/ 437796 h 734237"/>
                <a:gd name="connsiteX1318" fmla="*/ 1217719 w 1472512"/>
                <a:gd name="connsiteY1318" fmla="*/ 441539 h 734237"/>
                <a:gd name="connsiteX1319" fmla="*/ 1219667 w 1472512"/>
                <a:gd name="connsiteY1319" fmla="*/ 443126 h 734237"/>
                <a:gd name="connsiteX1320" fmla="*/ 1223587 w 1472512"/>
                <a:gd name="connsiteY1320" fmla="*/ 443974 h 734237"/>
                <a:gd name="connsiteX1321" fmla="*/ 1230940 w 1472512"/>
                <a:gd name="connsiteY1321" fmla="*/ 442575 h 734237"/>
                <a:gd name="connsiteX1322" fmla="*/ 1233350 w 1472512"/>
                <a:gd name="connsiteY1322" fmla="*/ 444101 h 734237"/>
                <a:gd name="connsiteX1323" fmla="*/ 1231372 w 1472512"/>
                <a:gd name="connsiteY1323" fmla="*/ 446804 h 734237"/>
                <a:gd name="connsiteX1324" fmla="*/ 1229404 w 1472512"/>
                <a:gd name="connsiteY1324" fmla="*/ 448698 h 734237"/>
                <a:gd name="connsiteX1325" fmla="*/ 1226825 w 1472512"/>
                <a:gd name="connsiteY1325" fmla="*/ 448909 h 734237"/>
                <a:gd name="connsiteX1326" fmla="*/ 1224554 w 1472512"/>
                <a:gd name="connsiteY1326" fmla="*/ 449422 h 734237"/>
                <a:gd name="connsiteX1327" fmla="*/ 1223887 w 1472512"/>
                <a:gd name="connsiteY1327" fmla="*/ 450725 h 734237"/>
                <a:gd name="connsiteX1328" fmla="*/ 1222267 w 1472512"/>
                <a:gd name="connsiteY1328" fmla="*/ 450806 h 734237"/>
                <a:gd name="connsiteX1329" fmla="*/ 1219736 w 1472512"/>
                <a:gd name="connsiteY1329" fmla="*/ 450883 h 734237"/>
                <a:gd name="connsiteX1330" fmla="*/ 1215819 w 1472512"/>
                <a:gd name="connsiteY1330" fmla="*/ 451002 h 734237"/>
                <a:gd name="connsiteX1331" fmla="*/ 1213666 w 1472512"/>
                <a:gd name="connsiteY1331" fmla="*/ 450698 h 734237"/>
                <a:gd name="connsiteX1332" fmla="*/ 1210659 w 1472512"/>
                <a:gd name="connsiteY1332" fmla="*/ 453357 h 734237"/>
                <a:gd name="connsiteX1333" fmla="*/ 1209524 w 1472512"/>
                <a:gd name="connsiteY1333" fmla="*/ 453723 h 734237"/>
                <a:gd name="connsiteX1334" fmla="*/ 1207937 w 1472512"/>
                <a:gd name="connsiteY1334" fmla="*/ 453223 h 734237"/>
                <a:gd name="connsiteX1335" fmla="*/ 1207273 w 1472512"/>
                <a:gd name="connsiteY1335" fmla="*/ 451088 h 734237"/>
                <a:gd name="connsiteX1336" fmla="*/ 1206565 w 1472512"/>
                <a:gd name="connsiteY1336" fmla="*/ 450037 h 734237"/>
                <a:gd name="connsiteX1337" fmla="*/ 1206546 w 1472512"/>
                <a:gd name="connsiteY1337" fmla="*/ 454033 h 734237"/>
                <a:gd name="connsiteX1338" fmla="*/ 1206824 w 1472512"/>
                <a:gd name="connsiteY1338" fmla="*/ 455110 h 734237"/>
                <a:gd name="connsiteX1339" fmla="*/ 1207393 w 1472512"/>
                <a:gd name="connsiteY1339" fmla="*/ 455920 h 734237"/>
                <a:gd name="connsiteX1340" fmla="*/ 1203876 w 1472512"/>
                <a:gd name="connsiteY1340" fmla="*/ 458087 h 734237"/>
                <a:gd name="connsiteX1341" fmla="*/ 1200507 w 1472512"/>
                <a:gd name="connsiteY1341" fmla="*/ 460786 h 734237"/>
                <a:gd name="connsiteX1342" fmla="*/ 1199301 w 1472512"/>
                <a:gd name="connsiteY1342" fmla="*/ 461521 h 734237"/>
                <a:gd name="connsiteX1343" fmla="*/ 1197930 w 1472512"/>
                <a:gd name="connsiteY1343" fmla="*/ 462871 h 734237"/>
                <a:gd name="connsiteX1344" fmla="*/ 1195121 w 1472512"/>
                <a:gd name="connsiteY1344" fmla="*/ 466774 h 734237"/>
                <a:gd name="connsiteX1345" fmla="*/ 1194427 w 1472512"/>
                <a:gd name="connsiteY1345" fmla="*/ 469615 h 734237"/>
                <a:gd name="connsiteX1346" fmla="*/ 1193412 w 1472512"/>
                <a:gd name="connsiteY1346" fmla="*/ 472782 h 734237"/>
                <a:gd name="connsiteX1347" fmla="*/ 1193284 w 1472512"/>
                <a:gd name="connsiteY1347" fmla="*/ 471355 h 734237"/>
                <a:gd name="connsiteX1348" fmla="*/ 1193458 w 1472512"/>
                <a:gd name="connsiteY1348" fmla="*/ 468955 h 734237"/>
                <a:gd name="connsiteX1349" fmla="*/ 1192764 w 1472512"/>
                <a:gd name="connsiteY1349" fmla="*/ 466203 h 734237"/>
                <a:gd name="connsiteX1350" fmla="*/ 1192321 w 1472512"/>
                <a:gd name="connsiteY1350" fmla="*/ 471243 h 734237"/>
                <a:gd name="connsiteX1351" fmla="*/ 1191232 w 1472512"/>
                <a:gd name="connsiteY1351" fmla="*/ 473582 h 734237"/>
                <a:gd name="connsiteX1352" fmla="*/ 1181217 w 1472512"/>
                <a:gd name="connsiteY1352" fmla="*/ 473417 h 734237"/>
                <a:gd name="connsiteX1353" fmla="*/ 1176834 w 1472512"/>
                <a:gd name="connsiteY1353" fmla="*/ 474687 h 734237"/>
                <a:gd name="connsiteX1354" fmla="*/ 1170105 w 1472512"/>
                <a:gd name="connsiteY1354" fmla="*/ 478959 h 734237"/>
                <a:gd name="connsiteX1355" fmla="*/ 1168093 w 1472512"/>
                <a:gd name="connsiteY1355" fmla="*/ 480830 h 734237"/>
                <a:gd name="connsiteX1356" fmla="*/ 1162536 w 1472512"/>
                <a:gd name="connsiteY1356" fmla="*/ 488057 h 734237"/>
                <a:gd name="connsiteX1357" fmla="*/ 1161117 w 1472512"/>
                <a:gd name="connsiteY1357" fmla="*/ 492675 h 734237"/>
                <a:gd name="connsiteX1358" fmla="*/ 1159979 w 1472512"/>
                <a:gd name="connsiteY1358" fmla="*/ 490734 h 734237"/>
                <a:gd name="connsiteX1359" fmla="*/ 1160261 w 1472512"/>
                <a:gd name="connsiteY1359" fmla="*/ 489278 h 734237"/>
                <a:gd name="connsiteX1360" fmla="*/ 1160284 w 1472512"/>
                <a:gd name="connsiteY1360" fmla="*/ 488086 h 734237"/>
                <a:gd name="connsiteX1361" fmla="*/ 1158884 w 1472512"/>
                <a:gd name="connsiteY1361" fmla="*/ 490641 h 734237"/>
                <a:gd name="connsiteX1362" fmla="*/ 1160213 w 1472512"/>
                <a:gd name="connsiteY1362" fmla="*/ 494358 h 734237"/>
                <a:gd name="connsiteX1363" fmla="*/ 1159020 w 1472512"/>
                <a:gd name="connsiteY1363" fmla="*/ 495776 h 734237"/>
                <a:gd name="connsiteX1364" fmla="*/ 1155348 w 1472512"/>
                <a:gd name="connsiteY1364" fmla="*/ 498423 h 734237"/>
                <a:gd name="connsiteX1365" fmla="*/ 1153339 w 1472512"/>
                <a:gd name="connsiteY1365" fmla="*/ 498857 h 734237"/>
                <a:gd name="connsiteX1366" fmla="*/ 1151084 w 1472512"/>
                <a:gd name="connsiteY1366" fmla="*/ 499609 h 734237"/>
                <a:gd name="connsiteX1367" fmla="*/ 1150372 w 1472512"/>
                <a:gd name="connsiteY1367" fmla="*/ 502217 h 734237"/>
                <a:gd name="connsiteX1368" fmla="*/ 1147311 w 1472512"/>
                <a:gd name="connsiteY1368" fmla="*/ 504621 h 734237"/>
                <a:gd name="connsiteX1369" fmla="*/ 1145526 w 1472512"/>
                <a:gd name="connsiteY1369" fmla="*/ 505684 h 734237"/>
                <a:gd name="connsiteX1370" fmla="*/ 1142257 w 1472512"/>
                <a:gd name="connsiteY1370" fmla="*/ 505040 h 734237"/>
                <a:gd name="connsiteX1371" fmla="*/ 1143264 w 1472512"/>
                <a:gd name="connsiteY1371" fmla="*/ 507353 h 734237"/>
                <a:gd name="connsiteX1372" fmla="*/ 1142063 w 1472512"/>
                <a:gd name="connsiteY1372" fmla="*/ 509104 h 734237"/>
                <a:gd name="connsiteX1373" fmla="*/ 1139996 w 1472512"/>
                <a:gd name="connsiteY1373" fmla="*/ 510444 h 734237"/>
                <a:gd name="connsiteX1374" fmla="*/ 1137425 w 1472512"/>
                <a:gd name="connsiteY1374" fmla="*/ 511320 h 734237"/>
                <a:gd name="connsiteX1375" fmla="*/ 1135951 w 1472512"/>
                <a:gd name="connsiteY1375" fmla="*/ 511212 h 734237"/>
                <a:gd name="connsiteX1376" fmla="*/ 1134691 w 1472512"/>
                <a:gd name="connsiteY1376" fmla="*/ 511677 h 734237"/>
                <a:gd name="connsiteX1377" fmla="*/ 1133705 w 1472512"/>
                <a:gd name="connsiteY1377" fmla="*/ 512790 h 734237"/>
                <a:gd name="connsiteX1378" fmla="*/ 1131295 w 1472512"/>
                <a:gd name="connsiteY1378" fmla="*/ 513829 h 734237"/>
                <a:gd name="connsiteX1379" fmla="*/ 1128792 w 1472512"/>
                <a:gd name="connsiteY1379" fmla="*/ 513245 h 734237"/>
                <a:gd name="connsiteX1380" fmla="*/ 1125953 w 1472512"/>
                <a:gd name="connsiteY1380" fmla="*/ 512894 h 734237"/>
                <a:gd name="connsiteX1381" fmla="*/ 1124373 w 1472512"/>
                <a:gd name="connsiteY1381" fmla="*/ 513516 h 734237"/>
                <a:gd name="connsiteX1382" fmla="*/ 1127030 w 1472512"/>
                <a:gd name="connsiteY1382" fmla="*/ 514548 h 734237"/>
                <a:gd name="connsiteX1383" fmla="*/ 1128452 w 1472512"/>
                <a:gd name="connsiteY1383" fmla="*/ 516042 h 734237"/>
                <a:gd name="connsiteX1384" fmla="*/ 1128159 w 1472512"/>
                <a:gd name="connsiteY1384" fmla="*/ 518054 h 734237"/>
                <a:gd name="connsiteX1385" fmla="*/ 1127448 w 1472512"/>
                <a:gd name="connsiteY1385" fmla="*/ 518830 h 734237"/>
                <a:gd name="connsiteX1386" fmla="*/ 1125772 w 1472512"/>
                <a:gd name="connsiteY1386" fmla="*/ 519883 h 734237"/>
                <a:gd name="connsiteX1387" fmla="*/ 1125036 w 1472512"/>
                <a:gd name="connsiteY1387" fmla="*/ 519726 h 734237"/>
                <a:gd name="connsiteX1388" fmla="*/ 1124586 w 1472512"/>
                <a:gd name="connsiteY1388" fmla="*/ 518777 h 734237"/>
                <a:gd name="connsiteX1389" fmla="*/ 1124041 w 1472512"/>
                <a:gd name="connsiteY1389" fmla="*/ 516802 h 734237"/>
                <a:gd name="connsiteX1390" fmla="*/ 1123260 w 1472512"/>
                <a:gd name="connsiteY1390" fmla="*/ 517224 h 734237"/>
                <a:gd name="connsiteX1391" fmla="*/ 1123125 w 1472512"/>
                <a:gd name="connsiteY1391" fmla="*/ 518144 h 734237"/>
                <a:gd name="connsiteX1392" fmla="*/ 1122456 w 1472512"/>
                <a:gd name="connsiteY1392" fmla="*/ 518471 h 734237"/>
                <a:gd name="connsiteX1393" fmla="*/ 1120078 w 1472512"/>
                <a:gd name="connsiteY1393" fmla="*/ 515324 h 734237"/>
                <a:gd name="connsiteX1394" fmla="*/ 1120197 w 1472512"/>
                <a:gd name="connsiteY1394" fmla="*/ 517725 h 734237"/>
                <a:gd name="connsiteX1395" fmla="*/ 1121027 w 1472512"/>
                <a:gd name="connsiteY1395" fmla="*/ 519570 h 734237"/>
                <a:gd name="connsiteX1396" fmla="*/ 1121831 w 1472512"/>
                <a:gd name="connsiteY1396" fmla="*/ 520504 h 734237"/>
                <a:gd name="connsiteX1397" fmla="*/ 1122641 w 1472512"/>
                <a:gd name="connsiteY1397" fmla="*/ 521056 h 734237"/>
                <a:gd name="connsiteX1398" fmla="*/ 1122841 w 1472512"/>
                <a:gd name="connsiteY1398" fmla="*/ 521911 h 734237"/>
                <a:gd name="connsiteX1399" fmla="*/ 1121214 w 1472512"/>
                <a:gd name="connsiteY1399" fmla="*/ 523992 h 734237"/>
                <a:gd name="connsiteX1400" fmla="*/ 1120377 w 1472512"/>
                <a:gd name="connsiteY1400" fmla="*/ 524455 h 734237"/>
                <a:gd name="connsiteX1401" fmla="*/ 1118887 w 1472512"/>
                <a:gd name="connsiteY1401" fmla="*/ 524793 h 734237"/>
                <a:gd name="connsiteX1402" fmla="*/ 1118049 w 1472512"/>
                <a:gd name="connsiteY1402" fmla="*/ 526075 h 734237"/>
                <a:gd name="connsiteX1403" fmla="*/ 1118296 w 1472512"/>
                <a:gd name="connsiteY1403" fmla="*/ 527180 h 734237"/>
                <a:gd name="connsiteX1404" fmla="*/ 1116993 w 1472512"/>
                <a:gd name="connsiteY1404" fmla="*/ 529574 h 734237"/>
                <a:gd name="connsiteX1405" fmla="*/ 1113879 w 1472512"/>
                <a:gd name="connsiteY1405" fmla="*/ 531069 h 734237"/>
                <a:gd name="connsiteX1406" fmla="*/ 1112927 w 1472512"/>
                <a:gd name="connsiteY1406" fmla="*/ 531012 h 734237"/>
                <a:gd name="connsiteX1407" fmla="*/ 1112151 w 1472512"/>
                <a:gd name="connsiteY1407" fmla="*/ 531449 h 734237"/>
                <a:gd name="connsiteX1408" fmla="*/ 1112604 w 1472512"/>
                <a:gd name="connsiteY1408" fmla="*/ 532515 h 734237"/>
                <a:gd name="connsiteX1409" fmla="*/ 1113382 w 1472512"/>
                <a:gd name="connsiteY1409" fmla="*/ 533290 h 734237"/>
                <a:gd name="connsiteX1410" fmla="*/ 1113355 w 1472512"/>
                <a:gd name="connsiteY1410" fmla="*/ 534010 h 734237"/>
                <a:gd name="connsiteX1411" fmla="*/ 1112532 w 1472512"/>
                <a:gd name="connsiteY1411" fmla="*/ 534988 h 734237"/>
                <a:gd name="connsiteX1412" fmla="*/ 1110906 w 1472512"/>
                <a:gd name="connsiteY1412" fmla="*/ 535261 h 734237"/>
                <a:gd name="connsiteX1413" fmla="*/ 1109992 w 1472512"/>
                <a:gd name="connsiteY1413" fmla="*/ 536376 h 734237"/>
                <a:gd name="connsiteX1414" fmla="*/ 1110281 w 1472512"/>
                <a:gd name="connsiteY1414" fmla="*/ 537427 h 734237"/>
                <a:gd name="connsiteX1415" fmla="*/ 1110818 w 1472512"/>
                <a:gd name="connsiteY1415" fmla="*/ 538015 h 734237"/>
                <a:gd name="connsiteX1416" fmla="*/ 1110707 w 1472512"/>
                <a:gd name="connsiteY1416" fmla="*/ 539025 h 734237"/>
                <a:gd name="connsiteX1417" fmla="*/ 1108857 w 1472512"/>
                <a:gd name="connsiteY1417" fmla="*/ 540042 h 734237"/>
                <a:gd name="connsiteX1418" fmla="*/ 1108425 w 1472512"/>
                <a:gd name="connsiteY1418" fmla="*/ 541039 h 734237"/>
                <a:gd name="connsiteX1419" fmla="*/ 1109341 w 1472512"/>
                <a:gd name="connsiteY1419" fmla="*/ 541334 h 734237"/>
                <a:gd name="connsiteX1420" fmla="*/ 1110049 w 1472512"/>
                <a:gd name="connsiteY1420" fmla="*/ 541039 h 734237"/>
                <a:gd name="connsiteX1421" fmla="*/ 1110566 w 1472512"/>
                <a:gd name="connsiteY1421" fmla="*/ 541254 h 734237"/>
                <a:gd name="connsiteX1422" fmla="*/ 1109457 w 1472512"/>
                <a:gd name="connsiteY1422" fmla="*/ 542922 h 734237"/>
                <a:gd name="connsiteX1423" fmla="*/ 1108461 w 1472512"/>
                <a:gd name="connsiteY1423" fmla="*/ 543940 h 734237"/>
                <a:gd name="connsiteX1424" fmla="*/ 1107516 w 1472512"/>
                <a:gd name="connsiteY1424" fmla="*/ 545767 h 734237"/>
                <a:gd name="connsiteX1425" fmla="*/ 1105322 w 1472512"/>
                <a:gd name="connsiteY1425" fmla="*/ 546272 h 734237"/>
                <a:gd name="connsiteX1426" fmla="*/ 1105406 w 1472512"/>
                <a:gd name="connsiteY1426" fmla="*/ 546862 h 734237"/>
                <a:gd name="connsiteX1427" fmla="*/ 1106644 w 1472512"/>
                <a:gd name="connsiteY1427" fmla="*/ 547383 h 734237"/>
                <a:gd name="connsiteX1428" fmla="*/ 1107681 w 1472512"/>
                <a:gd name="connsiteY1428" fmla="*/ 548788 h 734237"/>
                <a:gd name="connsiteX1429" fmla="*/ 1105733 w 1472512"/>
                <a:gd name="connsiteY1429" fmla="*/ 551377 h 734237"/>
                <a:gd name="connsiteX1430" fmla="*/ 1104516 w 1472512"/>
                <a:gd name="connsiteY1430" fmla="*/ 551165 h 734237"/>
                <a:gd name="connsiteX1431" fmla="*/ 1103772 w 1472512"/>
                <a:gd name="connsiteY1431" fmla="*/ 550595 h 734237"/>
                <a:gd name="connsiteX1432" fmla="*/ 1103298 w 1472512"/>
                <a:gd name="connsiteY1432" fmla="*/ 552639 h 734237"/>
                <a:gd name="connsiteX1433" fmla="*/ 1103479 w 1472512"/>
                <a:gd name="connsiteY1433" fmla="*/ 553728 h 734237"/>
                <a:gd name="connsiteX1434" fmla="*/ 1103016 w 1472512"/>
                <a:gd name="connsiteY1434" fmla="*/ 555956 h 734237"/>
                <a:gd name="connsiteX1435" fmla="*/ 1102271 w 1472512"/>
                <a:gd name="connsiteY1435" fmla="*/ 558633 h 734237"/>
                <a:gd name="connsiteX1436" fmla="*/ 1101766 w 1472512"/>
                <a:gd name="connsiteY1436" fmla="*/ 559732 h 734237"/>
                <a:gd name="connsiteX1437" fmla="*/ 1101872 w 1472512"/>
                <a:gd name="connsiteY1437" fmla="*/ 561777 h 734237"/>
                <a:gd name="connsiteX1438" fmla="*/ 1102185 w 1472512"/>
                <a:gd name="connsiteY1438" fmla="*/ 563751 h 734237"/>
                <a:gd name="connsiteX1439" fmla="*/ 1103378 w 1472512"/>
                <a:gd name="connsiteY1439" fmla="*/ 566293 h 734237"/>
                <a:gd name="connsiteX1440" fmla="*/ 1105200 w 1472512"/>
                <a:gd name="connsiteY1440" fmla="*/ 576678 h 734237"/>
                <a:gd name="connsiteX1441" fmla="*/ 1106441 w 1472512"/>
                <a:gd name="connsiteY1441" fmla="*/ 580278 h 734237"/>
                <a:gd name="connsiteX1442" fmla="*/ 1108676 w 1472512"/>
                <a:gd name="connsiteY1442" fmla="*/ 589977 h 734237"/>
                <a:gd name="connsiteX1443" fmla="*/ 1112375 w 1472512"/>
                <a:gd name="connsiteY1443" fmla="*/ 599360 h 734237"/>
                <a:gd name="connsiteX1444" fmla="*/ 1117591 w 1472512"/>
                <a:gd name="connsiteY1444" fmla="*/ 610677 h 734237"/>
                <a:gd name="connsiteX1445" fmla="*/ 1126156 w 1472512"/>
                <a:gd name="connsiteY1445" fmla="*/ 624357 h 734237"/>
                <a:gd name="connsiteX1446" fmla="*/ 1127181 w 1472512"/>
                <a:gd name="connsiteY1446" fmla="*/ 626302 h 734237"/>
                <a:gd name="connsiteX1447" fmla="*/ 1126065 w 1472512"/>
                <a:gd name="connsiteY1447" fmla="*/ 627952 h 734237"/>
                <a:gd name="connsiteX1448" fmla="*/ 1125726 w 1472512"/>
                <a:gd name="connsiteY1448" fmla="*/ 629661 h 734237"/>
                <a:gd name="connsiteX1449" fmla="*/ 1125628 w 1472512"/>
                <a:gd name="connsiteY1449" fmla="*/ 632234 h 734237"/>
                <a:gd name="connsiteX1450" fmla="*/ 1125937 w 1472512"/>
                <a:gd name="connsiteY1450" fmla="*/ 634741 h 734237"/>
                <a:gd name="connsiteX1451" fmla="*/ 1126950 w 1472512"/>
                <a:gd name="connsiteY1451" fmla="*/ 637800 h 734237"/>
                <a:gd name="connsiteX1452" fmla="*/ 1128895 w 1472512"/>
                <a:gd name="connsiteY1452" fmla="*/ 642473 h 734237"/>
                <a:gd name="connsiteX1453" fmla="*/ 1127808 w 1472512"/>
                <a:gd name="connsiteY1453" fmla="*/ 641541 h 734237"/>
                <a:gd name="connsiteX1454" fmla="*/ 1124990 w 1472512"/>
                <a:gd name="connsiteY1454" fmla="*/ 634832 h 734237"/>
                <a:gd name="connsiteX1455" fmla="*/ 1124663 w 1472512"/>
                <a:gd name="connsiteY1455" fmla="*/ 630886 h 734237"/>
                <a:gd name="connsiteX1456" fmla="*/ 1125068 w 1472512"/>
                <a:gd name="connsiteY1456" fmla="*/ 625283 h 734237"/>
                <a:gd name="connsiteX1457" fmla="*/ 1124406 w 1472512"/>
                <a:gd name="connsiteY1457" fmla="*/ 625420 h 734237"/>
                <a:gd name="connsiteX1458" fmla="*/ 1123870 w 1472512"/>
                <a:gd name="connsiteY1458" fmla="*/ 627240 h 734237"/>
                <a:gd name="connsiteX1459" fmla="*/ 1123574 w 1472512"/>
                <a:gd name="connsiteY1459" fmla="*/ 629378 h 734237"/>
                <a:gd name="connsiteX1460" fmla="*/ 1122859 w 1472512"/>
                <a:gd name="connsiteY1460" fmla="*/ 630205 h 734237"/>
                <a:gd name="connsiteX1461" fmla="*/ 1121884 w 1472512"/>
                <a:gd name="connsiteY1461" fmla="*/ 626945 h 734237"/>
                <a:gd name="connsiteX1462" fmla="*/ 1121952 w 1472512"/>
                <a:gd name="connsiteY1462" fmla="*/ 625469 h 734237"/>
                <a:gd name="connsiteX1463" fmla="*/ 1122989 w 1472512"/>
                <a:gd name="connsiteY1463" fmla="*/ 623745 h 734237"/>
                <a:gd name="connsiteX1464" fmla="*/ 1122688 w 1472512"/>
                <a:gd name="connsiteY1464" fmla="*/ 623124 h 734237"/>
                <a:gd name="connsiteX1465" fmla="*/ 1121012 w 1472512"/>
                <a:gd name="connsiteY1465" fmla="*/ 622241 h 734237"/>
                <a:gd name="connsiteX1466" fmla="*/ 1120656 w 1472512"/>
                <a:gd name="connsiteY1466" fmla="*/ 620853 h 734237"/>
                <a:gd name="connsiteX1467" fmla="*/ 1120883 w 1472512"/>
                <a:gd name="connsiteY1467" fmla="*/ 619480 h 734237"/>
                <a:gd name="connsiteX1468" fmla="*/ 1119921 w 1472512"/>
                <a:gd name="connsiteY1468" fmla="*/ 618747 h 734237"/>
                <a:gd name="connsiteX1469" fmla="*/ 1119169 w 1472512"/>
                <a:gd name="connsiteY1469" fmla="*/ 618781 h 734237"/>
                <a:gd name="connsiteX1470" fmla="*/ 1119673 w 1472512"/>
                <a:gd name="connsiteY1470" fmla="*/ 622165 h 734237"/>
                <a:gd name="connsiteX1471" fmla="*/ 1120468 w 1472512"/>
                <a:gd name="connsiteY1471" fmla="*/ 624239 h 734237"/>
                <a:gd name="connsiteX1472" fmla="*/ 1121453 w 1472512"/>
                <a:gd name="connsiteY1472" fmla="*/ 629210 h 734237"/>
                <a:gd name="connsiteX1473" fmla="*/ 1123042 w 1472512"/>
                <a:gd name="connsiteY1473" fmla="*/ 632218 h 734237"/>
                <a:gd name="connsiteX1474" fmla="*/ 1123966 w 1472512"/>
                <a:gd name="connsiteY1474" fmla="*/ 634739 h 734237"/>
                <a:gd name="connsiteX1475" fmla="*/ 1134783 w 1472512"/>
                <a:gd name="connsiteY1475" fmla="*/ 661564 h 734237"/>
                <a:gd name="connsiteX1476" fmla="*/ 1137342 w 1472512"/>
                <a:gd name="connsiteY1476" fmla="*/ 664969 h 734237"/>
                <a:gd name="connsiteX1477" fmla="*/ 1138289 w 1472512"/>
                <a:gd name="connsiteY1477" fmla="*/ 667413 h 734237"/>
                <a:gd name="connsiteX1478" fmla="*/ 1139275 w 1472512"/>
                <a:gd name="connsiteY1478" fmla="*/ 672521 h 734237"/>
                <a:gd name="connsiteX1479" fmla="*/ 1139497 w 1472512"/>
                <a:gd name="connsiteY1479" fmla="*/ 679070 h 734237"/>
                <a:gd name="connsiteX1480" fmla="*/ 1137730 w 1472512"/>
                <a:gd name="connsiteY1480" fmla="*/ 691017 h 734237"/>
                <a:gd name="connsiteX1481" fmla="*/ 1137327 w 1472512"/>
                <a:gd name="connsiteY1481" fmla="*/ 699150 h 734237"/>
                <a:gd name="connsiteX1482" fmla="*/ 1137074 w 1472512"/>
                <a:gd name="connsiteY1482" fmla="*/ 698903 h 734237"/>
                <a:gd name="connsiteX1483" fmla="*/ 1136905 w 1472512"/>
                <a:gd name="connsiteY1483" fmla="*/ 698047 h 734237"/>
                <a:gd name="connsiteX1484" fmla="*/ 1136497 w 1472512"/>
                <a:gd name="connsiteY1484" fmla="*/ 697929 h 734237"/>
                <a:gd name="connsiteX1485" fmla="*/ 1134963 w 1472512"/>
                <a:gd name="connsiteY1485" fmla="*/ 701651 h 734237"/>
                <a:gd name="connsiteX1486" fmla="*/ 1132876 w 1472512"/>
                <a:gd name="connsiteY1486" fmla="*/ 705007 h 734237"/>
                <a:gd name="connsiteX1487" fmla="*/ 1132190 w 1472512"/>
                <a:gd name="connsiteY1487" fmla="*/ 710220 h 734237"/>
                <a:gd name="connsiteX1488" fmla="*/ 1131190 w 1472512"/>
                <a:gd name="connsiteY1488" fmla="*/ 712827 h 734237"/>
                <a:gd name="connsiteX1489" fmla="*/ 1128187 w 1472512"/>
                <a:gd name="connsiteY1489" fmla="*/ 715583 h 734237"/>
                <a:gd name="connsiteX1490" fmla="*/ 1126326 w 1472512"/>
                <a:gd name="connsiteY1490" fmla="*/ 715513 h 734237"/>
                <a:gd name="connsiteX1491" fmla="*/ 1121762 w 1472512"/>
                <a:gd name="connsiteY1491" fmla="*/ 717580 h 734237"/>
                <a:gd name="connsiteX1492" fmla="*/ 1118556 w 1472512"/>
                <a:gd name="connsiteY1492" fmla="*/ 717042 h 734237"/>
                <a:gd name="connsiteX1493" fmla="*/ 1114735 w 1472512"/>
                <a:gd name="connsiteY1493" fmla="*/ 718208 h 734237"/>
                <a:gd name="connsiteX1494" fmla="*/ 1112223 w 1472512"/>
                <a:gd name="connsiteY1494" fmla="*/ 718077 h 734237"/>
                <a:gd name="connsiteX1495" fmla="*/ 1110771 w 1472512"/>
                <a:gd name="connsiteY1495" fmla="*/ 715619 h 734237"/>
                <a:gd name="connsiteX1496" fmla="*/ 1110992 w 1472512"/>
                <a:gd name="connsiteY1496" fmla="*/ 714520 h 734237"/>
                <a:gd name="connsiteX1497" fmla="*/ 1111571 w 1472512"/>
                <a:gd name="connsiteY1497" fmla="*/ 713413 h 734237"/>
                <a:gd name="connsiteX1498" fmla="*/ 1112550 w 1472512"/>
                <a:gd name="connsiteY1498" fmla="*/ 713157 h 734237"/>
                <a:gd name="connsiteX1499" fmla="*/ 1115924 w 1472512"/>
                <a:gd name="connsiteY1499" fmla="*/ 715733 h 734237"/>
                <a:gd name="connsiteX1500" fmla="*/ 1116560 w 1472512"/>
                <a:gd name="connsiteY1500" fmla="*/ 714648 h 734237"/>
                <a:gd name="connsiteX1501" fmla="*/ 1115542 w 1472512"/>
                <a:gd name="connsiteY1501" fmla="*/ 713359 h 734237"/>
                <a:gd name="connsiteX1502" fmla="*/ 1113591 w 1472512"/>
                <a:gd name="connsiteY1502" fmla="*/ 712639 h 734237"/>
                <a:gd name="connsiteX1503" fmla="*/ 1112149 w 1472512"/>
                <a:gd name="connsiteY1503" fmla="*/ 711848 h 734237"/>
                <a:gd name="connsiteX1504" fmla="*/ 1109246 w 1472512"/>
                <a:gd name="connsiteY1504" fmla="*/ 705965 h 734237"/>
                <a:gd name="connsiteX1505" fmla="*/ 1106239 w 1472512"/>
                <a:gd name="connsiteY1505" fmla="*/ 701922 h 734237"/>
                <a:gd name="connsiteX1506" fmla="*/ 1105731 w 1472512"/>
                <a:gd name="connsiteY1506" fmla="*/ 699218 h 734237"/>
                <a:gd name="connsiteX1507" fmla="*/ 1100545 w 1472512"/>
                <a:gd name="connsiteY1507" fmla="*/ 697568 h 734237"/>
                <a:gd name="connsiteX1508" fmla="*/ 1096789 w 1472512"/>
                <a:gd name="connsiteY1508" fmla="*/ 695069 h 734237"/>
                <a:gd name="connsiteX1509" fmla="*/ 1094340 w 1472512"/>
                <a:gd name="connsiteY1509" fmla="*/ 690622 h 734237"/>
                <a:gd name="connsiteX1510" fmla="*/ 1092936 w 1472512"/>
                <a:gd name="connsiteY1510" fmla="*/ 682724 h 734237"/>
                <a:gd name="connsiteX1511" fmla="*/ 1091279 w 1472512"/>
                <a:gd name="connsiteY1511" fmla="*/ 681836 h 734237"/>
                <a:gd name="connsiteX1512" fmla="*/ 1090578 w 1472512"/>
                <a:gd name="connsiteY1512" fmla="*/ 681221 h 734237"/>
                <a:gd name="connsiteX1513" fmla="*/ 1092197 w 1472512"/>
                <a:gd name="connsiteY1513" fmla="*/ 678288 h 734237"/>
                <a:gd name="connsiteX1514" fmla="*/ 1093902 w 1472512"/>
                <a:gd name="connsiteY1514" fmla="*/ 675826 h 734237"/>
                <a:gd name="connsiteX1515" fmla="*/ 1092552 w 1472512"/>
                <a:gd name="connsiteY1515" fmla="*/ 676438 h 734237"/>
                <a:gd name="connsiteX1516" fmla="*/ 1091556 w 1472512"/>
                <a:gd name="connsiteY1516" fmla="*/ 677349 h 734237"/>
                <a:gd name="connsiteX1517" fmla="*/ 1090293 w 1472512"/>
                <a:gd name="connsiteY1517" fmla="*/ 679522 h 734237"/>
                <a:gd name="connsiteX1518" fmla="*/ 1089368 w 1472512"/>
                <a:gd name="connsiteY1518" fmla="*/ 679857 h 734237"/>
                <a:gd name="connsiteX1519" fmla="*/ 1088520 w 1472512"/>
                <a:gd name="connsiteY1519" fmla="*/ 679522 h 734237"/>
                <a:gd name="connsiteX1520" fmla="*/ 1087544 w 1472512"/>
                <a:gd name="connsiteY1520" fmla="*/ 675353 h 734237"/>
                <a:gd name="connsiteX1521" fmla="*/ 1087824 w 1472512"/>
                <a:gd name="connsiteY1521" fmla="*/ 670222 h 734237"/>
                <a:gd name="connsiteX1522" fmla="*/ 1089192 w 1472512"/>
                <a:gd name="connsiteY1522" fmla="*/ 668301 h 734237"/>
                <a:gd name="connsiteX1523" fmla="*/ 1087089 w 1472512"/>
                <a:gd name="connsiteY1523" fmla="*/ 668251 h 734237"/>
                <a:gd name="connsiteX1524" fmla="*/ 1084910 w 1472512"/>
                <a:gd name="connsiteY1524" fmla="*/ 668982 h 734237"/>
                <a:gd name="connsiteX1525" fmla="*/ 1085230 w 1472512"/>
                <a:gd name="connsiteY1525" fmla="*/ 670693 h 734237"/>
                <a:gd name="connsiteX1526" fmla="*/ 1084922 w 1472512"/>
                <a:gd name="connsiteY1526" fmla="*/ 671633 h 734237"/>
                <a:gd name="connsiteX1527" fmla="*/ 1083335 w 1472512"/>
                <a:gd name="connsiteY1527" fmla="*/ 671392 h 734237"/>
                <a:gd name="connsiteX1528" fmla="*/ 1082133 w 1472512"/>
                <a:gd name="connsiteY1528" fmla="*/ 670791 h 734237"/>
                <a:gd name="connsiteX1529" fmla="*/ 1080499 w 1472512"/>
                <a:gd name="connsiteY1529" fmla="*/ 669010 h 734237"/>
                <a:gd name="connsiteX1530" fmla="*/ 1078272 w 1472512"/>
                <a:gd name="connsiteY1530" fmla="*/ 665610 h 734237"/>
                <a:gd name="connsiteX1531" fmla="*/ 1073703 w 1472512"/>
                <a:gd name="connsiteY1531" fmla="*/ 656231 h 734237"/>
                <a:gd name="connsiteX1532" fmla="*/ 1072812 w 1472512"/>
                <a:gd name="connsiteY1532" fmla="*/ 654908 h 734237"/>
                <a:gd name="connsiteX1533" fmla="*/ 1071302 w 1472512"/>
                <a:gd name="connsiteY1533" fmla="*/ 653520 h 734237"/>
                <a:gd name="connsiteX1534" fmla="*/ 1072013 w 1472512"/>
                <a:gd name="connsiteY1534" fmla="*/ 653089 h 734237"/>
                <a:gd name="connsiteX1535" fmla="*/ 1073310 w 1472512"/>
                <a:gd name="connsiteY1535" fmla="*/ 652834 h 734237"/>
                <a:gd name="connsiteX1536" fmla="*/ 1076244 w 1472512"/>
                <a:gd name="connsiteY1536" fmla="*/ 648603 h 734237"/>
                <a:gd name="connsiteX1537" fmla="*/ 1078548 w 1472512"/>
                <a:gd name="connsiteY1537" fmla="*/ 646043 h 734237"/>
                <a:gd name="connsiteX1538" fmla="*/ 1079313 w 1472512"/>
                <a:gd name="connsiteY1538" fmla="*/ 644273 h 734237"/>
                <a:gd name="connsiteX1539" fmla="*/ 1079180 w 1472512"/>
                <a:gd name="connsiteY1539" fmla="*/ 643515 h 734237"/>
                <a:gd name="connsiteX1540" fmla="*/ 1078161 w 1472512"/>
                <a:gd name="connsiteY1540" fmla="*/ 642415 h 734237"/>
                <a:gd name="connsiteX1541" fmla="*/ 1076824 w 1472512"/>
                <a:gd name="connsiteY1541" fmla="*/ 643376 h 734237"/>
                <a:gd name="connsiteX1542" fmla="*/ 1076250 w 1472512"/>
                <a:gd name="connsiteY1542" fmla="*/ 643102 h 734237"/>
                <a:gd name="connsiteX1543" fmla="*/ 1074745 w 1472512"/>
                <a:gd name="connsiteY1543" fmla="*/ 640880 h 734237"/>
                <a:gd name="connsiteX1544" fmla="*/ 1073308 w 1472512"/>
                <a:gd name="connsiteY1544" fmla="*/ 640252 h 734237"/>
                <a:gd name="connsiteX1545" fmla="*/ 1072306 w 1472512"/>
                <a:gd name="connsiteY1545" fmla="*/ 640733 h 734237"/>
                <a:gd name="connsiteX1546" fmla="*/ 1073364 w 1472512"/>
                <a:gd name="connsiteY1546" fmla="*/ 642554 h 734237"/>
                <a:gd name="connsiteX1547" fmla="*/ 1074311 w 1472512"/>
                <a:gd name="connsiteY1547" fmla="*/ 643230 h 734237"/>
                <a:gd name="connsiteX1548" fmla="*/ 1073945 w 1472512"/>
                <a:gd name="connsiteY1548" fmla="*/ 645875 h 734237"/>
                <a:gd name="connsiteX1549" fmla="*/ 1073561 w 1472512"/>
                <a:gd name="connsiteY1549" fmla="*/ 646738 h 734237"/>
                <a:gd name="connsiteX1550" fmla="*/ 1072672 w 1472512"/>
                <a:gd name="connsiteY1550" fmla="*/ 647497 h 734237"/>
                <a:gd name="connsiteX1551" fmla="*/ 1071282 w 1472512"/>
                <a:gd name="connsiteY1551" fmla="*/ 647093 h 734237"/>
                <a:gd name="connsiteX1552" fmla="*/ 1070580 w 1472512"/>
                <a:gd name="connsiteY1552" fmla="*/ 647746 h 734237"/>
                <a:gd name="connsiteX1553" fmla="*/ 1069752 w 1472512"/>
                <a:gd name="connsiteY1553" fmla="*/ 647056 h 734237"/>
                <a:gd name="connsiteX1554" fmla="*/ 1068930 w 1472512"/>
                <a:gd name="connsiteY1554" fmla="*/ 645895 h 734237"/>
                <a:gd name="connsiteX1555" fmla="*/ 1068013 w 1472512"/>
                <a:gd name="connsiteY1555" fmla="*/ 643981 h 734237"/>
                <a:gd name="connsiteX1556" fmla="*/ 1070435 w 1472512"/>
                <a:gd name="connsiteY1556" fmla="*/ 633194 h 734237"/>
                <a:gd name="connsiteX1557" fmla="*/ 1072679 w 1472512"/>
                <a:gd name="connsiteY1557" fmla="*/ 626310 h 734237"/>
                <a:gd name="connsiteX1558" fmla="*/ 1072934 w 1472512"/>
                <a:gd name="connsiteY1558" fmla="*/ 618442 h 734237"/>
                <a:gd name="connsiteX1559" fmla="*/ 1073101 w 1472512"/>
                <a:gd name="connsiteY1559" fmla="*/ 617276 h 734237"/>
                <a:gd name="connsiteX1560" fmla="*/ 1072912 w 1472512"/>
                <a:gd name="connsiteY1560" fmla="*/ 615183 h 734237"/>
                <a:gd name="connsiteX1561" fmla="*/ 1069905 w 1472512"/>
                <a:gd name="connsiteY1561" fmla="*/ 610630 h 734237"/>
                <a:gd name="connsiteX1562" fmla="*/ 1056611 w 1472512"/>
                <a:gd name="connsiteY1562" fmla="*/ 599501 h 734237"/>
                <a:gd name="connsiteX1563" fmla="*/ 1046308 w 1472512"/>
                <a:gd name="connsiteY1563" fmla="*/ 586289 h 734237"/>
                <a:gd name="connsiteX1564" fmla="*/ 1037383 w 1472512"/>
                <a:gd name="connsiteY1564" fmla="*/ 581324 h 734237"/>
                <a:gd name="connsiteX1565" fmla="*/ 1030611 w 1472512"/>
                <a:gd name="connsiteY1565" fmla="*/ 582414 h 734237"/>
                <a:gd name="connsiteX1566" fmla="*/ 1029439 w 1472512"/>
                <a:gd name="connsiteY1566" fmla="*/ 583412 h 734237"/>
                <a:gd name="connsiteX1567" fmla="*/ 1028936 w 1472512"/>
                <a:gd name="connsiteY1567" fmla="*/ 584717 h 734237"/>
                <a:gd name="connsiteX1568" fmla="*/ 1029361 w 1472512"/>
                <a:gd name="connsiteY1568" fmla="*/ 586194 h 734237"/>
                <a:gd name="connsiteX1569" fmla="*/ 1028745 w 1472512"/>
                <a:gd name="connsiteY1569" fmla="*/ 586808 h 734237"/>
                <a:gd name="connsiteX1570" fmla="*/ 1026928 w 1472512"/>
                <a:gd name="connsiteY1570" fmla="*/ 586730 h 734237"/>
                <a:gd name="connsiteX1571" fmla="*/ 1024480 w 1472512"/>
                <a:gd name="connsiteY1571" fmla="*/ 587074 h 734237"/>
                <a:gd name="connsiteX1572" fmla="*/ 1018089 w 1472512"/>
                <a:gd name="connsiteY1572" fmla="*/ 590556 h 734237"/>
                <a:gd name="connsiteX1573" fmla="*/ 1015834 w 1472512"/>
                <a:gd name="connsiteY1573" fmla="*/ 590427 h 734237"/>
                <a:gd name="connsiteX1574" fmla="*/ 1013787 w 1472512"/>
                <a:gd name="connsiteY1574" fmla="*/ 591329 h 734237"/>
                <a:gd name="connsiteX1575" fmla="*/ 1012254 w 1472512"/>
                <a:gd name="connsiteY1575" fmla="*/ 592004 h 734237"/>
                <a:gd name="connsiteX1576" fmla="*/ 1008255 w 1472512"/>
                <a:gd name="connsiteY1576" fmla="*/ 592372 h 734237"/>
                <a:gd name="connsiteX1577" fmla="*/ 1004864 w 1472512"/>
                <a:gd name="connsiteY1577" fmla="*/ 593144 h 734237"/>
                <a:gd name="connsiteX1578" fmla="*/ 1003399 w 1472512"/>
                <a:gd name="connsiteY1578" fmla="*/ 592726 h 734237"/>
                <a:gd name="connsiteX1579" fmla="*/ 1002444 w 1472512"/>
                <a:gd name="connsiteY1579" fmla="*/ 590708 h 734237"/>
                <a:gd name="connsiteX1580" fmla="*/ 1002444 w 1472512"/>
                <a:gd name="connsiteY1580" fmla="*/ 588619 h 734237"/>
                <a:gd name="connsiteX1581" fmla="*/ 1003219 w 1472512"/>
                <a:gd name="connsiteY1581" fmla="*/ 590220 h 734237"/>
                <a:gd name="connsiteX1582" fmla="*/ 1004418 w 1472512"/>
                <a:gd name="connsiteY1582" fmla="*/ 591473 h 734237"/>
                <a:gd name="connsiteX1583" fmla="*/ 1004968 w 1472512"/>
                <a:gd name="connsiteY1583" fmla="*/ 590973 h 734237"/>
                <a:gd name="connsiteX1584" fmla="*/ 1005174 w 1472512"/>
                <a:gd name="connsiteY1584" fmla="*/ 589864 h 734237"/>
                <a:gd name="connsiteX1585" fmla="*/ 1003980 w 1472512"/>
                <a:gd name="connsiteY1585" fmla="*/ 587691 h 734237"/>
                <a:gd name="connsiteX1586" fmla="*/ 1000136 w 1472512"/>
                <a:gd name="connsiteY1586" fmla="*/ 584898 h 734237"/>
                <a:gd name="connsiteX1587" fmla="*/ 995762 w 1472512"/>
                <a:gd name="connsiteY1587" fmla="*/ 580817 h 734237"/>
                <a:gd name="connsiteX1588" fmla="*/ 997095 w 1472512"/>
                <a:gd name="connsiteY1588" fmla="*/ 580951 h 734237"/>
                <a:gd name="connsiteX1589" fmla="*/ 997433 w 1472512"/>
                <a:gd name="connsiteY1589" fmla="*/ 580077 h 734237"/>
                <a:gd name="connsiteX1590" fmla="*/ 996077 w 1472512"/>
                <a:gd name="connsiteY1590" fmla="*/ 578929 h 734237"/>
                <a:gd name="connsiteX1591" fmla="*/ 996649 w 1472512"/>
                <a:gd name="connsiteY1591" fmla="*/ 577602 h 734237"/>
                <a:gd name="connsiteX1592" fmla="*/ 997606 w 1472512"/>
                <a:gd name="connsiteY1592" fmla="*/ 576208 h 734237"/>
                <a:gd name="connsiteX1593" fmla="*/ 995759 w 1472512"/>
                <a:gd name="connsiteY1593" fmla="*/ 576417 h 734237"/>
                <a:gd name="connsiteX1594" fmla="*/ 994103 w 1472512"/>
                <a:gd name="connsiteY1594" fmla="*/ 577393 h 734237"/>
                <a:gd name="connsiteX1595" fmla="*/ 994048 w 1472512"/>
                <a:gd name="connsiteY1595" fmla="*/ 578599 h 734237"/>
                <a:gd name="connsiteX1596" fmla="*/ 993720 w 1472512"/>
                <a:gd name="connsiteY1596" fmla="*/ 579557 h 734237"/>
                <a:gd name="connsiteX1597" fmla="*/ 992829 w 1472512"/>
                <a:gd name="connsiteY1597" fmla="*/ 579418 h 734237"/>
                <a:gd name="connsiteX1598" fmla="*/ 991173 w 1472512"/>
                <a:gd name="connsiteY1598" fmla="*/ 578231 h 734237"/>
                <a:gd name="connsiteX1599" fmla="*/ 983022 w 1472512"/>
                <a:gd name="connsiteY1599" fmla="*/ 574927 h 734237"/>
                <a:gd name="connsiteX1600" fmla="*/ 975898 w 1472512"/>
                <a:gd name="connsiteY1600" fmla="*/ 573063 h 734237"/>
                <a:gd name="connsiteX1601" fmla="*/ 981367 w 1472512"/>
                <a:gd name="connsiteY1601" fmla="*/ 572224 h 734237"/>
                <a:gd name="connsiteX1602" fmla="*/ 984332 w 1472512"/>
                <a:gd name="connsiteY1602" fmla="*/ 572876 h 734237"/>
                <a:gd name="connsiteX1603" fmla="*/ 983978 w 1472512"/>
                <a:gd name="connsiteY1603" fmla="*/ 571876 h 734237"/>
                <a:gd name="connsiteX1604" fmla="*/ 983264 w 1472512"/>
                <a:gd name="connsiteY1604" fmla="*/ 571239 h 734237"/>
                <a:gd name="connsiteX1605" fmla="*/ 980925 w 1472512"/>
                <a:gd name="connsiteY1605" fmla="*/ 570434 h 734237"/>
                <a:gd name="connsiteX1606" fmla="*/ 977946 w 1472512"/>
                <a:gd name="connsiteY1606" fmla="*/ 570741 h 734237"/>
                <a:gd name="connsiteX1607" fmla="*/ 976063 w 1472512"/>
                <a:gd name="connsiteY1607" fmla="*/ 570363 h 734237"/>
                <a:gd name="connsiteX1608" fmla="*/ 974139 w 1472512"/>
                <a:gd name="connsiteY1608" fmla="*/ 571160 h 734237"/>
                <a:gd name="connsiteX1609" fmla="*/ 972030 w 1472512"/>
                <a:gd name="connsiteY1609" fmla="*/ 572348 h 734237"/>
                <a:gd name="connsiteX1610" fmla="*/ 970153 w 1472512"/>
                <a:gd name="connsiteY1610" fmla="*/ 572958 h 734237"/>
                <a:gd name="connsiteX1611" fmla="*/ 962806 w 1472512"/>
                <a:gd name="connsiteY1611" fmla="*/ 573812 h 734237"/>
                <a:gd name="connsiteX1612" fmla="*/ 956849 w 1472512"/>
                <a:gd name="connsiteY1612" fmla="*/ 574739 h 734237"/>
                <a:gd name="connsiteX1613" fmla="*/ 957804 w 1472512"/>
                <a:gd name="connsiteY1613" fmla="*/ 573761 h 734237"/>
                <a:gd name="connsiteX1614" fmla="*/ 958823 w 1472512"/>
                <a:gd name="connsiteY1614" fmla="*/ 573132 h 734237"/>
                <a:gd name="connsiteX1615" fmla="*/ 962344 w 1472512"/>
                <a:gd name="connsiteY1615" fmla="*/ 572175 h 734237"/>
                <a:gd name="connsiteX1616" fmla="*/ 962870 w 1472512"/>
                <a:gd name="connsiteY1616" fmla="*/ 570186 h 734237"/>
                <a:gd name="connsiteX1617" fmla="*/ 962042 w 1472512"/>
                <a:gd name="connsiteY1617" fmla="*/ 568268 h 734237"/>
                <a:gd name="connsiteX1618" fmla="*/ 961117 w 1472512"/>
                <a:gd name="connsiteY1618" fmla="*/ 568729 h 734237"/>
                <a:gd name="connsiteX1619" fmla="*/ 960144 w 1472512"/>
                <a:gd name="connsiteY1619" fmla="*/ 570226 h 734237"/>
                <a:gd name="connsiteX1620" fmla="*/ 958951 w 1472512"/>
                <a:gd name="connsiteY1620" fmla="*/ 569147 h 734237"/>
                <a:gd name="connsiteX1621" fmla="*/ 957629 w 1472512"/>
                <a:gd name="connsiteY1621" fmla="*/ 569152 h 734237"/>
                <a:gd name="connsiteX1622" fmla="*/ 957270 w 1472512"/>
                <a:gd name="connsiteY1622" fmla="*/ 571536 h 734237"/>
                <a:gd name="connsiteX1623" fmla="*/ 955575 w 1472512"/>
                <a:gd name="connsiteY1623" fmla="*/ 573132 h 734237"/>
                <a:gd name="connsiteX1624" fmla="*/ 954812 w 1472512"/>
                <a:gd name="connsiteY1624" fmla="*/ 574739 h 734237"/>
                <a:gd name="connsiteX1625" fmla="*/ 949844 w 1472512"/>
                <a:gd name="connsiteY1625" fmla="*/ 575998 h 734237"/>
                <a:gd name="connsiteX1626" fmla="*/ 949207 w 1472512"/>
                <a:gd name="connsiteY1626" fmla="*/ 575578 h 734237"/>
                <a:gd name="connsiteX1627" fmla="*/ 950661 w 1472512"/>
                <a:gd name="connsiteY1627" fmla="*/ 574052 h 734237"/>
                <a:gd name="connsiteX1628" fmla="*/ 950545 w 1472512"/>
                <a:gd name="connsiteY1628" fmla="*/ 573203 h 734237"/>
                <a:gd name="connsiteX1629" fmla="*/ 948887 w 1472512"/>
                <a:gd name="connsiteY1629" fmla="*/ 573932 h 734237"/>
                <a:gd name="connsiteX1630" fmla="*/ 946107 w 1472512"/>
                <a:gd name="connsiteY1630" fmla="*/ 576824 h 734237"/>
                <a:gd name="connsiteX1631" fmla="*/ 936318 w 1472512"/>
                <a:gd name="connsiteY1631" fmla="*/ 577770 h 734237"/>
                <a:gd name="connsiteX1632" fmla="*/ 936854 w 1472512"/>
                <a:gd name="connsiteY1632" fmla="*/ 577113 h 734237"/>
                <a:gd name="connsiteX1633" fmla="*/ 938920 w 1472512"/>
                <a:gd name="connsiteY1633" fmla="*/ 576981 h 734237"/>
                <a:gd name="connsiteX1634" fmla="*/ 941821 w 1472512"/>
                <a:gd name="connsiteY1634" fmla="*/ 576067 h 734237"/>
                <a:gd name="connsiteX1635" fmla="*/ 941234 w 1472512"/>
                <a:gd name="connsiteY1635" fmla="*/ 574526 h 734237"/>
                <a:gd name="connsiteX1636" fmla="*/ 940115 w 1472512"/>
                <a:gd name="connsiteY1636" fmla="*/ 572831 h 734237"/>
                <a:gd name="connsiteX1637" fmla="*/ 939082 w 1472512"/>
                <a:gd name="connsiteY1637" fmla="*/ 572643 h 734237"/>
                <a:gd name="connsiteX1638" fmla="*/ 938402 w 1472512"/>
                <a:gd name="connsiteY1638" fmla="*/ 571648 h 734237"/>
                <a:gd name="connsiteX1639" fmla="*/ 938435 w 1472512"/>
                <a:gd name="connsiteY1639" fmla="*/ 568515 h 734237"/>
                <a:gd name="connsiteX1640" fmla="*/ 937775 w 1472512"/>
                <a:gd name="connsiteY1640" fmla="*/ 566682 h 734237"/>
                <a:gd name="connsiteX1641" fmla="*/ 936182 w 1472512"/>
                <a:gd name="connsiteY1641" fmla="*/ 564796 h 734237"/>
                <a:gd name="connsiteX1642" fmla="*/ 935643 w 1472512"/>
                <a:gd name="connsiteY1642" fmla="*/ 565158 h 734237"/>
                <a:gd name="connsiteX1643" fmla="*/ 934471 w 1472512"/>
                <a:gd name="connsiteY1643" fmla="*/ 568384 h 734237"/>
                <a:gd name="connsiteX1644" fmla="*/ 933497 w 1472512"/>
                <a:gd name="connsiteY1644" fmla="*/ 572609 h 734237"/>
                <a:gd name="connsiteX1645" fmla="*/ 933016 w 1472512"/>
                <a:gd name="connsiteY1645" fmla="*/ 573974 h 734237"/>
                <a:gd name="connsiteX1646" fmla="*/ 930114 w 1472512"/>
                <a:gd name="connsiteY1646" fmla="*/ 574069 h 734237"/>
                <a:gd name="connsiteX1647" fmla="*/ 927545 w 1472512"/>
                <a:gd name="connsiteY1647" fmla="*/ 573780 h 734237"/>
                <a:gd name="connsiteX1648" fmla="*/ 918816 w 1472512"/>
                <a:gd name="connsiteY1648" fmla="*/ 574288 h 734237"/>
                <a:gd name="connsiteX1649" fmla="*/ 915554 w 1472512"/>
                <a:gd name="connsiteY1649" fmla="*/ 572858 h 734237"/>
                <a:gd name="connsiteX1650" fmla="*/ 914202 w 1472512"/>
                <a:gd name="connsiteY1650" fmla="*/ 572582 h 734237"/>
                <a:gd name="connsiteX1651" fmla="*/ 913378 w 1472512"/>
                <a:gd name="connsiteY1651" fmla="*/ 572615 h 734237"/>
                <a:gd name="connsiteX1652" fmla="*/ 909582 w 1472512"/>
                <a:gd name="connsiteY1652" fmla="*/ 573927 h 734237"/>
                <a:gd name="connsiteX1653" fmla="*/ 905255 w 1472512"/>
                <a:gd name="connsiteY1653" fmla="*/ 574932 h 734237"/>
                <a:gd name="connsiteX1654" fmla="*/ 904237 w 1472512"/>
                <a:gd name="connsiteY1654" fmla="*/ 574616 h 734237"/>
                <a:gd name="connsiteX1655" fmla="*/ 902784 w 1472512"/>
                <a:gd name="connsiteY1655" fmla="*/ 574570 h 734237"/>
                <a:gd name="connsiteX1656" fmla="*/ 899647 w 1472512"/>
                <a:gd name="connsiteY1656" fmla="*/ 577987 h 734237"/>
                <a:gd name="connsiteX1657" fmla="*/ 895949 w 1472512"/>
                <a:gd name="connsiteY1657" fmla="*/ 579586 h 734237"/>
                <a:gd name="connsiteX1658" fmla="*/ 886618 w 1472512"/>
                <a:gd name="connsiteY1658" fmla="*/ 576712 h 734237"/>
                <a:gd name="connsiteX1659" fmla="*/ 884297 w 1472512"/>
                <a:gd name="connsiteY1659" fmla="*/ 574399 h 734237"/>
                <a:gd name="connsiteX1660" fmla="*/ 882237 w 1472512"/>
                <a:gd name="connsiteY1660" fmla="*/ 573904 h 734237"/>
                <a:gd name="connsiteX1661" fmla="*/ 879704 w 1472512"/>
                <a:gd name="connsiteY1661" fmla="*/ 573618 h 734237"/>
                <a:gd name="connsiteX1662" fmla="*/ 876982 w 1472512"/>
                <a:gd name="connsiteY1662" fmla="*/ 576464 h 734237"/>
                <a:gd name="connsiteX1663" fmla="*/ 874915 w 1472512"/>
                <a:gd name="connsiteY1663" fmla="*/ 580302 h 734237"/>
                <a:gd name="connsiteX1664" fmla="*/ 878181 w 1472512"/>
                <a:gd name="connsiteY1664" fmla="*/ 582405 h 734237"/>
                <a:gd name="connsiteX1665" fmla="*/ 880978 w 1472512"/>
                <a:gd name="connsiteY1665" fmla="*/ 583410 h 734237"/>
                <a:gd name="connsiteX1666" fmla="*/ 885600 w 1472512"/>
                <a:gd name="connsiteY1666" fmla="*/ 582567 h 734237"/>
                <a:gd name="connsiteX1667" fmla="*/ 888153 w 1472512"/>
                <a:gd name="connsiteY1667" fmla="*/ 580706 h 734237"/>
                <a:gd name="connsiteX1668" fmla="*/ 890241 w 1472512"/>
                <a:gd name="connsiteY1668" fmla="*/ 580767 h 734237"/>
                <a:gd name="connsiteX1669" fmla="*/ 891238 w 1472512"/>
                <a:gd name="connsiteY1669" fmla="*/ 580390 h 734237"/>
                <a:gd name="connsiteX1670" fmla="*/ 892147 w 1472512"/>
                <a:gd name="connsiteY1670" fmla="*/ 579418 h 734237"/>
                <a:gd name="connsiteX1671" fmla="*/ 893932 w 1472512"/>
                <a:gd name="connsiteY1671" fmla="*/ 580185 h 734237"/>
                <a:gd name="connsiteX1672" fmla="*/ 893996 w 1472512"/>
                <a:gd name="connsiteY1672" fmla="*/ 580952 h 734237"/>
                <a:gd name="connsiteX1673" fmla="*/ 892729 w 1472512"/>
                <a:gd name="connsiteY1673" fmla="*/ 582035 h 734237"/>
                <a:gd name="connsiteX1674" fmla="*/ 891133 w 1472512"/>
                <a:gd name="connsiteY1674" fmla="*/ 582946 h 734237"/>
                <a:gd name="connsiteX1675" fmla="*/ 890166 w 1472512"/>
                <a:gd name="connsiteY1675" fmla="*/ 584019 h 734237"/>
                <a:gd name="connsiteX1676" fmla="*/ 891986 w 1472512"/>
                <a:gd name="connsiteY1676" fmla="*/ 586181 h 734237"/>
                <a:gd name="connsiteX1677" fmla="*/ 894847 w 1472512"/>
                <a:gd name="connsiteY1677" fmla="*/ 586908 h 734237"/>
                <a:gd name="connsiteX1678" fmla="*/ 895922 w 1472512"/>
                <a:gd name="connsiteY1678" fmla="*/ 586594 h 734237"/>
                <a:gd name="connsiteX1679" fmla="*/ 896589 w 1472512"/>
                <a:gd name="connsiteY1679" fmla="*/ 584164 h 734237"/>
                <a:gd name="connsiteX1680" fmla="*/ 898348 w 1472512"/>
                <a:gd name="connsiteY1680" fmla="*/ 582598 h 734237"/>
                <a:gd name="connsiteX1681" fmla="*/ 900738 w 1472512"/>
                <a:gd name="connsiteY1681" fmla="*/ 582936 h 734237"/>
                <a:gd name="connsiteX1682" fmla="*/ 900398 w 1472512"/>
                <a:gd name="connsiteY1682" fmla="*/ 583919 h 734237"/>
                <a:gd name="connsiteX1683" fmla="*/ 900733 w 1472512"/>
                <a:gd name="connsiteY1683" fmla="*/ 584845 h 734237"/>
                <a:gd name="connsiteX1684" fmla="*/ 901832 w 1472512"/>
                <a:gd name="connsiteY1684" fmla="*/ 586428 h 734237"/>
                <a:gd name="connsiteX1685" fmla="*/ 901706 w 1472512"/>
                <a:gd name="connsiteY1685" fmla="*/ 588694 h 734237"/>
                <a:gd name="connsiteX1686" fmla="*/ 901919 w 1472512"/>
                <a:gd name="connsiteY1686" fmla="*/ 589239 h 734237"/>
                <a:gd name="connsiteX1687" fmla="*/ 899343 w 1472512"/>
                <a:gd name="connsiteY1687" fmla="*/ 590240 h 734237"/>
                <a:gd name="connsiteX1688" fmla="*/ 897423 w 1472512"/>
                <a:gd name="connsiteY1688" fmla="*/ 590579 h 734237"/>
                <a:gd name="connsiteX1689" fmla="*/ 895888 w 1472512"/>
                <a:gd name="connsiteY1689" fmla="*/ 591887 h 734237"/>
                <a:gd name="connsiteX1690" fmla="*/ 896692 w 1472512"/>
                <a:gd name="connsiteY1690" fmla="*/ 592647 h 734237"/>
                <a:gd name="connsiteX1691" fmla="*/ 895127 w 1472512"/>
                <a:gd name="connsiteY1691" fmla="*/ 593313 h 734237"/>
                <a:gd name="connsiteX1692" fmla="*/ 894071 w 1472512"/>
                <a:gd name="connsiteY1692" fmla="*/ 593046 h 734237"/>
                <a:gd name="connsiteX1693" fmla="*/ 893538 w 1472512"/>
                <a:gd name="connsiteY1693" fmla="*/ 593293 h 734237"/>
                <a:gd name="connsiteX1694" fmla="*/ 893379 w 1472512"/>
                <a:gd name="connsiteY1694" fmla="*/ 594096 h 734237"/>
                <a:gd name="connsiteX1695" fmla="*/ 892571 w 1472512"/>
                <a:gd name="connsiteY1695" fmla="*/ 594842 h 734237"/>
                <a:gd name="connsiteX1696" fmla="*/ 893747 w 1472512"/>
                <a:gd name="connsiteY1696" fmla="*/ 597087 h 734237"/>
                <a:gd name="connsiteX1697" fmla="*/ 896157 w 1472512"/>
                <a:gd name="connsiteY1697" fmla="*/ 598552 h 734237"/>
                <a:gd name="connsiteX1698" fmla="*/ 897857 w 1472512"/>
                <a:gd name="connsiteY1698" fmla="*/ 600387 h 734237"/>
                <a:gd name="connsiteX1699" fmla="*/ 904693 w 1472512"/>
                <a:gd name="connsiteY1699" fmla="*/ 602804 h 734237"/>
                <a:gd name="connsiteX1700" fmla="*/ 906349 w 1472512"/>
                <a:gd name="connsiteY1700" fmla="*/ 602736 h 734237"/>
                <a:gd name="connsiteX1701" fmla="*/ 907980 w 1472512"/>
                <a:gd name="connsiteY1701" fmla="*/ 605166 h 734237"/>
                <a:gd name="connsiteX1702" fmla="*/ 909295 w 1472512"/>
                <a:gd name="connsiteY1702" fmla="*/ 606002 h 734237"/>
                <a:gd name="connsiteX1703" fmla="*/ 910559 w 1472512"/>
                <a:gd name="connsiteY1703" fmla="*/ 606427 h 734237"/>
                <a:gd name="connsiteX1704" fmla="*/ 910415 w 1472512"/>
                <a:gd name="connsiteY1704" fmla="*/ 608099 h 734237"/>
                <a:gd name="connsiteX1705" fmla="*/ 908167 w 1472512"/>
                <a:gd name="connsiteY1705" fmla="*/ 609321 h 734237"/>
                <a:gd name="connsiteX1706" fmla="*/ 907559 w 1472512"/>
                <a:gd name="connsiteY1706" fmla="*/ 610780 h 734237"/>
                <a:gd name="connsiteX1707" fmla="*/ 906993 w 1472512"/>
                <a:gd name="connsiteY1707" fmla="*/ 611600 h 734237"/>
                <a:gd name="connsiteX1708" fmla="*/ 905979 w 1472512"/>
                <a:gd name="connsiteY1708" fmla="*/ 610562 h 734237"/>
                <a:gd name="connsiteX1709" fmla="*/ 904938 w 1472512"/>
                <a:gd name="connsiteY1709" fmla="*/ 609809 h 734237"/>
                <a:gd name="connsiteX1710" fmla="*/ 902529 w 1472512"/>
                <a:gd name="connsiteY1710" fmla="*/ 612098 h 734237"/>
                <a:gd name="connsiteX1711" fmla="*/ 901366 w 1472512"/>
                <a:gd name="connsiteY1711" fmla="*/ 612580 h 734237"/>
                <a:gd name="connsiteX1712" fmla="*/ 901942 w 1472512"/>
                <a:gd name="connsiteY1712" fmla="*/ 610112 h 734237"/>
                <a:gd name="connsiteX1713" fmla="*/ 901032 w 1472512"/>
                <a:gd name="connsiteY1713" fmla="*/ 609145 h 734237"/>
                <a:gd name="connsiteX1714" fmla="*/ 899656 w 1472512"/>
                <a:gd name="connsiteY1714" fmla="*/ 606669 h 734237"/>
                <a:gd name="connsiteX1715" fmla="*/ 897651 w 1472512"/>
                <a:gd name="connsiteY1715" fmla="*/ 605138 h 734237"/>
                <a:gd name="connsiteX1716" fmla="*/ 896237 w 1472512"/>
                <a:gd name="connsiteY1716" fmla="*/ 604631 h 734237"/>
                <a:gd name="connsiteX1717" fmla="*/ 895138 w 1472512"/>
                <a:gd name="connsiteY1717" fmla="*/ 603660 h 734237"/>
                <a:gd name="connsiteX1718" fmla="*/ 893806 w 1472512"/>
                <a:gd name="connsiteY1718" fmla="*/ 603268 h 734237"/>
                <a:gd name="connsiteX1719" fmla="*/ 892671 w 1472512"/>
                <a:gd name="connsiteY1719" fmla="*/ 603368 h 734237"/>
                <a:gd name="connsiteX1720" fmla="*/ 890747 w 1472512"/>
                <a:gd name="connsiteY1720" fmla="*/ 602804 h 734237"/>
                <a:gd name="connsiteX1721" fmla="*/ 890620 w 1472512"/>
                <a:gd name="connsiteY1721" fmla="*/ 601485 h 734237"/>
                <a:gd name="connsiteX1722" fmla="*/ 890087 w 1472512"/>
                <a:gd name="connsiteY1722" fmla="*/ 600498 h 734237"/>
                <a:gd name="connsiteX1723" fmla="*/ 888582 w 1472512"/>
                <a:gd name="connsiteY1723" fmla="*/ 599332 h 734237"/>
                <a:gd name="connsiteX1724" fmla="*/ 881393 w 1472512"/>
                <a:gd name="connsiteY1724" fmla="*/ 597129 h 734237"/>
                <a:gd name="connsiteX1725" fmla="*/ 881349 w 1472512"/>
                <a:gd name="connsiteY1725" fmla="*/ 598041 h 734237"/>
                <a:gd name="connsiteX1726" fmla="*/ 881847 w 1472512"/>
                <a:gd name="connsiteY1726" fmla="*/ 598727 h 734237"/>
                <a:gd name="connsiteX1727" fmla="*/ 882880 w 1472512"/>
                <a:gd name="connsiteY1727" fmla="*/ 599184 h 734237"/>
                <a:gd name="connsiteX1728" fmla="*/ 884116 w 1472512"/>
                <a:gd name="connsiteY1728" fmla="*/ 600073 h 734237"/>
                <a:gd name="connsiteX1729" fmla="*/ 884104 w 1472512"/>
                <a:gd name="connsiteY1729" fmla="*/ 602704 h 734237"/>
                <a:gd name="connsiteX1730" fmla="*/ 883571 w 1472512"/>
                <a:gd name="connsiteY1730" fmla="*/ 603817 h 734237"/>
                <a:gd name="connsiteX1731" fmla="*/ 883340 w 1472512"/>
                <a:gd name="connsiteY1731" fmla="*/ 605403 h 734237"/>
                <a:gd name="connsiteX1732" fmla="*/ 882866 w 1472512"/>
                <a:gd name="connsiteY1732" fmla="*/ 607013 h 734237"/>
                <a:gd name="connsiteX1733" fmla="*/ 881985 w 1472512"/>
                <a:gd name="connsiteY1733" fmla="*/ 608282 h 734237"/>
                <a:gd name="connsiteX1734" fmla="*/ 880022 w 1472512"/>
                <a:gd name="connsiteY1734" fmla="*/ 609148 h 734237"/>
                <a:gd name="connsiteX1735" fmla="*/ 879156 w 1472512"/>
                <a:gd name="connsiteY1735" fmla="*/ 608424 h 734237"/>
                <a:gd name="connsiteX1736" fmla="*/ 877757 w 1472512"/>
                <a:gd name="connsiteY1736" fmla="*/ 604956 h 734237"/>
                <a:gd name="connsiteX1737" fmla="*/ 875777 w 1472512"/>
                <a:gd name="connsiteY1737" fmla="*/ 603863 h 734237"/>
                <a:gd name="connsiteX1738" fmla="*/ 872632 w 1472512"/>
                <a:gd name="connsiteY1738" fmla="*/ 603735 h 734237"/>
                <a:gd name="connsiteX1739" fmla="*/ 870496 w 1472512"/>
                <a:gd name="connsiteY1739" fmla="*/ 604518 h 734237"/>
                <a:gd name="connsiteX1740" fmla="*/ 868168 w 1472512"/>
                <a:gd name="connsiteY1740" fmla="*/ 607879 h 734237"/>
                <a:gd name="connsiteX1741" fmla="*/ 866292 w 1472512"/>
                <a:gd name="connsiteY1741" fmla="*/ 608428 h 734237"/>
                <a:gd name="connsiteX1742" fmla="*/ 859872 w 1472512"/>
                <a:gd name="connsiteY1742" fmla="*/ 606687 h 734237"/>
                <a:gd name="connsiteX1743" fmla="*/ 852539 w 1472512"/>
                <a:gd name="connsiteY1743" fmla="*/ 604034 h 734237"/>
                <a:gd name="connsiteX1744" fmla="*/ 852729 w 1472512"/>
                <a:gd name="connsiteY1744" fmla="*/ 603150 h 734237"/>
                <a:gd name="connsiteX1745" fmla="*/ 853882 w 1472512"/>
                <a:gd name="connsiteY1745" fmla="*/ 602866 h 734237"/>
                <a:gd name="connsiteX1746" fmla="*/ 856094 w 1472512"/>
                <a:gd name="connsiteY1746" fmla="*/ 603229 h 734237"/>
                <a:gd name="connsiteX1747" fmla="*/ 855977 w 1472512"/>
                <a:gd name="connsiteY1747" fmla="*/ 602318 h 734237"/>
                <a:gd name="connsiteX1748" fmla="*/ 853717 w 1472512"/>
                <a:gd name="connsiteY1748" fmla="*/ 599351 h 734237"/>
                <a:gd name="connsiteX1749" fmla="*/ 853302 w 1472512"/>
                <a:gd name="connsiteY1749" fmla="*/ 598011 h 734237"/>
                <a:gd name="connsiteX1750" fmla="*/ 853593 w 1472512"/>
                <a:gd name="connsiteY1750" fmla="*/ 596375 h 734237"/>
                <a:gd name="connsiteX1751" fmla="*/ 852856 w 1472512"/>
                <a:gd name="connsiteY1751" fmla="*/ 596411 h 734237"/>
                <a:gd name="connsiteX1752" fmla="*/ 851499 w 1472512"/>
                <a:gd name="connsiteY1752" fmla="*/ 597785 h 734237"/>
                <a:gd name="connsiteX1753" fmla="*/ 846824 w 1472512"/>
                <a:gd name="connsiteY1753" fmla="*/ 596621 h 734237"/>
                <a:gd name="connsiteX1754" fmla="*/ 845533 w 1472512"/>
                <a:gd name="connsiteY1754" fmla="*/ 595230 h 734237"/>
                <a:gd name="connsiteX1755" fmla="*/ 842786 w 1472512"/>
                <a:gd name="connsiteY1755" fmla="*/ 591307 h 734237"/>
                <a:gd name="connsiteX1756" fmla="*/ 838910 w 1472512"/>
                <a:gd name="connsiteY1756" fmla="*/ 591179 h 734237"/>
                <a:gd name="connsiteX1757" fmla="*/ 837156 w 1472512"/>
                <a:gd name="connsiteY1757" fmla="*/ 588799 h 734237"/>
                <a:gd name="connsiteX1758" fmla="*/ 833988 w 1472512"/>
                <a:gd name="connsiteY1758" fmla="*/ 589796 h 734237"/>
                <a:gd name="connsiteX1759" fmla="*/ 832385 w 1472512"/>
                <a:gd name="connsiteY1759" fmla="*/ 590898 h 734237"/>
                <a:gd name="connsiteX1760" fmla="*/ 830975 w 1472512"/>
                <a:gd name="connsiteY1760" fmla="*/ 592608 h 734237"/>
                <a:gd name="connsiteX1761" fmla="*/ 831523 w 1472512"/>
                <a:gd name="connsiteY1761" fmla="*/ 593493 h 734237"/>
                <a:gd name="connsiteX1762" fmla="*/ 832929 w 1472512"/>
                <a:gd name="connsiteY1762" fmla="*/ 594899 h 734237"/>
                <a:gd name="connsiteX1763" fmla="*/ 832288 w 1472512"/>
                <a:gd name="connsiteY1763" fmla="*/ 595577 h 734237"/>
                <a:gd name="connsiteX1764" fmla="*/ 827777 w 1472512"/>
                <a:gd name="connsiteY1764" fmla="*/ 596580 h 734237"/>
                <a:gd name="connsiteX1765" fmla="*/ 817306 w 1472512"/>
                <a:gd name="connsiteY1765" fmla="*/ 595460 h 734237"/>
                <a:gd name="connsiteX1766" fmla="*/ 814244 w 1472512"/>
                <a:gd name="connsiteY1766" fmla="*/ 594412 h 734237"/>
                <a:gd name="connsiteX1767" fmla="*/ 810135 w 1472512"/>
                <a:gd name="connsiteY1767" fmla="*/ 592198 h 734237"/>
                <a:gd name="connsiteX1768" fmla="*/ 804439 w 1472512"/>
                <a:gd name="connsiteY1768" fmla="*/ 590391 h 734237"/>
                <a:gd name="connsiteX1769" fmla="*/ 801696 w 1472512"/>
                <a:gd name="connsiteY1769" fmla="*/ 590099 h 734237"/>
                <a:gd name="connsiteX1770" fmla="*/ 799012 w 1472512"/>
                <a:gd name="connsiteY1770" fmla="*/ 590458 h 734237"/>
                <a:gd name="connsiteX1771" fmla="*/ 791197 w 1472512"/>
                <a:gd name="connsiteY1771" fmla="*/ 590643 h 734237"/>
                <a:gd name="connsiteX1772" fmla="*/ 789383 w 1472512"/>
                <a:gd name="connsiteY1772" fmla="*/ 591124 h 734237"/>
                <a:gd name="connsiteX1773" fmla="*/ 787838 w 1472512"/>
                <a:gd name="connsiteY1773" fmla="*/ 591890 h 734237"/>
                <a:gd name="connsiteX1774" fmla="*/ 786836 w 1472512"/>
                <a:gd name="connsiteY1774" fmla="*/ 591041 h 734237"/>
                <a:gd name="connsiteX1775" fmla="*/ 786372 w 1472512"/>
                <a:gd name="connsiteY1775" fmla="*/ 589525 h 734237"/>
                <a:gd name="connsiteX1776" fmla="*/ 787280 w 1472512"/>
                <a:gd name="connsiteY1776" fmla="*/ 589278 h 734237"/>
                <a:gd name="connsiteX1777" fmla="*/ 788289 w 1472512"/>
                <a:gd name="connsiteY1777" fmla="*/ 588386 h 734237"/>
                <a:gd name="connsiteX1778" fmla="*/ 789199 w 1472512"/>
                <a:gd name="connsiteY1778" fmla="*/ 586622 h 734237"/>
                <a:gd name="connsiteX1779" fmla="*/ 789303 w 1472512"/>
                <a:gd name="connsiteY1779" fmla="*/ 585555 h 734237"/>
                <a:gd name="connsiteX1780" fmla="*/ 788666 w 1472512"/>
                <a:gd name="connsiteY1780" fmla="*/ 584858 h 734237"/>
                <a:gd name="connsiteX1781" fmla="*/ 787456 w 1472512"/>
                <a:gd name="connsiteY1781" fmla="*/ 584788 h 734237"/>
                <a:gd name="connsiteX1782" fmla="*/ 784781 w 1472512"/>
                <a:gd name="connsiteY1782" fmla="*/ 589386 h 734237"/>
                <a:gd name="connsiteX1783" fmla="*/ 786309 w 1472512"/>
                <a:gd name="connsiteY1783" fmla="*/ 591960 h 734237"/>
                <a:gd name="connsiteX1784" fmla="*/ 786204 w 1472512"/>
                <a:gd name="connsiteY1784" fmla="*/ 592888 h 734237"/>
                <a:gd name="connsiteX1785" fmla="*/ 780868 w 1472512"/>
                <a:gd name="connsiteY1785" fmla="*/ 593417 h 734237"/>
                <a:gd name="connsiteX1786" fmla="*/ 768756 w 1472512"/>
                <a:gd name="connsiteY1786" fmla="*/ 598594 h 734237"/>
                <a:gd name="connsiteX1787" fmla="*/ 764033 w 1472512"/>
                <a:gd name="connsiteY1787" fmla="*/ 601383 h 734237"/>
                <a:gd name="connsiteX1788" fmla="*/ 764274 w 1472512"/>
                <a:gd name="connsiteY1788" fmla="*/ 600445 h 734237"/>
                <a:gd name="connsiteX1789" fmla="*/ 769986 w 1472512"/>
                <a:gd name="connsiteY1789" fmla="*/ 596828 h 734237"/>
                <a:gd name="connsiteX1790" fmla="*/ 767970 w 1472512"/>
                <a:gd name="connsiteY1790" fmla="*/ 596275 h 734237"/>
                <a:gd name="connsiteX1791" fmla="*/ 764722 w 1472512"/>
                <a:gd name="connsiteY1791" fmla="*/ 597179 h 734237"/>
                <a:gd name="connsiteX1792" fmla="*/ 763557 w 1472512"/>
                <a:gd name="connsiteY1792" fmla="*/ 596831 h 734237"/>
                <a:gd name="connsiteX1793" fmla="*/ 764933 w 1472512"/>
                <a:gd name="connsiteY1793" fmla="*/ 593838 h 734237"/>
                <a:gd name="connsiteX1794" fmla="*/ 764485 w 1472512"/>
                <a:gd name="connsiteY1794" fmla="*/ 591198 h 734237"/>
                <a:gd name="connsiteX1795" fmla="*/ 762178 w 1472512"/>
                <a:gd name="connsiteY1795" fmla="*/ 591126 h 734237"/>
                <a:gd name="connsiteX1796" fmla="*/ 760710 w 1472512"/>
                <a:gd name="connsiteY1796" fmla="*/ 593234 h 734237"/>
                <a:gd name="connsiteX1797" fmla="*/ 759690 w 1472512"/>
                <a:gd name="connsiteY1797" fmla="*/ 593145 h 734237"/>
                <a:gd name="connsiteX1798" fmla="*/ 758353 w 1472512"/>
                <a:gd name="connsiteY1798" fmla="*/ 592240 h 734237"/>
                <a:gd name="connsiteX1799" fmla="*/ 757317 w 1472512"/>
                <a:gd name="connsiteY1799" fmla="*/ 592526 h 734237"/>
                <a:gd name="connsiteX1800" fmla="*/ 758084 w 1472512"/>
                <a:gd name="connsiteY1800" fmla="*/ 597302 h 734237"/>
                <a:gd name="connsiteX1801" fmla="*/ 759536 w 1472512"/>
                <a:gd name="connsiteY1801" fmla="*/ 599264 h 734237"/>
                <a:gd name="connsiteX1802" fmla="*/ 760751 w 1472512"/>
                <a:gd name="connsiteY1802" fmla="*/ 601765 h 734237"/>
                <a:gd name="connsiteX1803" fmla="*/ 757434 w 1472512"/>
                <a:gd name="connsiteY1803" fmla="*/ 604854 h 734237"/>
                <a:gd name="connsiteX1804" fmla="*/ 754354 w 1472512"/>
                <a:gd name="connsiteY1804" fmla="*/ 607401 h 734237"/>
                <a:gd name="connsiteX1805" fmla="*/ 754020 w 1472512"/>
                <a:gd name="connsiteY1805" fmla="*/ 609861 h 734237"/>
                <a:gd name="connsiteX1806" fmla="*/ 750924 w 1472512"/>
                <a:gd name="connsiteY1806" fmla="*/ 613064 h 734237"/>
                <a:gd name="connsiteX1807" fmla="*/ 748012 w 1472512"/>
                <a:gd name="connsiteY1807" fmla="*/ 614879 h 734237"/>
                <a:gd name="connsiteX1808" fmla="*/ 741170 w 1472512"/>
                <a:gd name="connsiteY1808" fmla="*/ 619143 h 734237"/>
                <a:gd name="connsiteX1809" fmla="*/ 739217 w 1472512"/>
                <a:gd name="connsiteY1809" fmla="*/ 620055 h 734237"/>
                <a:gd name="connsiteX1810" fmla="*/ 736131 w 1472512"/>
                <a:gd name="connsiteY1810" fmla="*/ 622033 h 734237"/>
                <a:gd name="connsiteX1811" fmla="*/ 731870 w 1472512"/>
                <a:gd name="connsiteY1811" fmla="*/ 623515 h 734237"/>
                <a:gd name="connsiteX1812" fmla="*/ 727786 w 1472512"/>
                <a:gd name="connsiteY1812" fmla="*/ 625866 h 734237"/>
                <a:gd name="connsiteX1813" fmla="*/ 726408 w 1472512"/>
                <a:gd name="connsiteY1813" fmla="*/ 626223 h 734237"/>
                <a:gd name="connsiteX1814" fmla="*/ 729016 w 1472512"/>
                <a:gd name="connsiteY1814" fmla="*/ 624233 h 734237"/>
                <a:gd name="connsiteX1815" fmla="*/ 732109 w 1472512"/>
                <a:gd name="connsiteY1815" fmla="*/ 622265 h 734237"/>
                <a:gd name="connsiteX1816" fmla="*/ 729457 w 1472512"/>
                <a:gd name="connsiteY1816" fmla="*/ 622535 h 734237"/>
                <a:gd name="connsiteX1817" fmla="*/ 725367 w 1472512"/>
                <a:gd name="connsiteY1817" fmla="*/ 621623 h 734237"/>
                <a:gd name="connsiteX1818" fmla="*/ 722865 w 1472512"/>
                <a:gd name="connsiteY1818" fmla="*/ 621570 h 734237"/>
                <a:gd name="connsiteX1819" fmla="*/ 722847 w 1472512"/>
                <a:gd name="connsiteY1819" fmla="*/ 622288 h 734237"/>
                <a:gd name="connsiteX1820" fmla="*/ 720943 w 1472512"/>
                <a:gd name="connsiteY1820" fmla="*/ 623302 h 734237"/>
                <a:gd name="connsiteX1821" fmla="*/ 718972 w 1472512"/>
                <a:gd name="connsiteY1821" fmla="*/ 621812 h 734237"/>
                <a:gd name="connsiteX1822" fmla="*/ 718112 w 1472512"/>
                <a:gd name="connsiteY1822" fmla="*/ 620809 h 734237"/>
                <a:gd name="connsiteX1823" fmla="*/ 717705 w 1472512"/>
                <a:gd name="connsiteY1823" fmla="*/ 619944 h 734237"/>
                <a:gd name="connsiteX1824" fmla="*/ 716868 w 1472512"/>
                <a:gd name="connsiteY1824" fmla="*/ 619735 h 734237"/>
                <a:gd name="connsiteX1825" fmla="*/ 716064 w 1472512"/>
                <a:gd name="connsiteY1825" fmla="*/ 620136 h 734237"/>
                <a:gd name="connsiteX1826" fmla="*/ 719007 w 1472512"/>
                <a:gd name="connsiteY1826" fmla="*/ 626230 h 734237"/>
                <a:gd name="connsiteX1827" fmla="*/ 720260 w 1472512"/>
                <a:gd name="connsiteY1827" fmla="*/ 626493 h 734237"/>
                <a:gd name="connsiteX1828" fmla="*/ 721649 w 1472512"/>
                <a:gd name="connsiteY1828" fmla="*/ 627098 h 734237"/>
                <a:gd name="connsiteX1829" fmla="*/ 719921 w 1472512"/>
                <a:gd name="connsiteY1829" fmla="*/ 628518 h 734237"/>
                <a:gd name="connsiteX1830" fmla="*/ 718062 w 1472512"/>
                <a:gd name="connsiteY1830" fmla="*/ 629592 h 734237"/>
                <a:gd name="connsiteX1831" fmla="*/ 715136 w 1472512"/>
                <a:gd name="connsiteY1831" fmla="*/ 630307 h 734237"/>
                <a:gd name="connsiteX1832" fmla="*/ 712659 w 1472512"/>
                <a:gd name="connsiteY1832" fmla="*/ 628086 h 734237"/>
                <a:gd name="connsiteX1833" fmla="*/ 712121 w 1472512"/>
                <a:gd name="connsiteY1833" fmla="*/ 630872 h 734237"/>
                <a:gd name="connsiteX1834" fmla="*/ 711806 w 1472512"/>
                <a:gd name="connsiteY1834" fmla="*/ 633654 h 734237"/>
                <a:gd name="connsiteX1835" fmla="*/ 710974 w 1472512"/>
                <a:gd name="connsiteY1835" fmla="*/ 634368 h 734237"/>
                <a:gd name="connsiteX1836" fmla="*/ 709645 w 1472512"/>
                <a:gd name="connsiteY1836" fmla="*/ 635384 h 734237"/>
                <a:gd name="connsiteX1837" fmla="*/ 708925 w 1472512"/>
                <a:gd name="connsiteY1837" fmla="*/ 634617 h 734237"/>
                <a:gd name="connsiteX1838" fmla="*/ 708582 w 1472512"/>
                <a:gd name="connsiteY1838" fmla="*/ 633541 h 734237"/>
                <a:gd name="connsiteX1839" fmla="*/ 707732 w 1472512"/>
                <a:gd name="connsiteY1839" fmla="*/ 634502 h 734237"/>
                <a:gd name="connsiteX1840" fmla="*/ 706486 w 1472512"/>
                <a:gd name="connsiteY1840" fmla="*/ 635221 h 734237"/>
                <a:gd name="connsiteX1841" fmla="*/ 704431 w 1472512"/>
                <a:gd name="connsiteY1841" fmla="*/ 635365 h 734237"/>
                <a:gd name="connsiteX1842" fmla="*/ 702889 w 1472512"/>
                <a:gd name="connsiteY1842" fmla="*/ 635749 h 734237"/>
                <a:gd name="connsiteX1843" fmla="*/ 702925 w 1472512"/>
                <a:gd name="connsiteY1843" fmla="*/ 636901 h 734237"/>
                <a:gd name="connsiteX1844" fmla="*/ 703278 w 1472512"/>
                <a:gd name="connsiteY1844" fmla="*/ 638057 h 734237"/>
                <a:gd name="connsiteX1845" fmla="*/ 706004 w 1472512"/>
                <a:gd name="connsiteY1845" fmla="*/ 637144 h 734237"/>
                <a:gd name="connsiteX1846" fmla="*/ 705017 w 1472512"/>
                <a:gd name="connsiteY1846" fmla="*/ 640118 h 734237"/>
                <a:gd name="connsiteX1847" fmla="*/ 702507 w 1472512"/>
                <a:gd name="connsiteY1847" fmla="*/ 643054 h 734237"/>
                <a:gd name="connsiteX1848" fmla="*/ 700464 w 1472512"/>
                <a:gd name="connsiteY1848" fmla="*/ 643748 h 734237"/>
                <a:gd name="connsiteX1849" fmla="*/ 697337 w 1472512"/>
                <a:gd name="connsiteY1849" fmla="*/ 643319 h 734237"/>
                <a:gd name="connsiteX1850" fmla="*/ 696565 w 1472512"/>
                <a:gd name="connsiteY1850" fmla="*/ 643614 h 734237"/>
                <a:gd name="connsiteX1851" fmla="*/ 695873 w 1472512"/>
                <a:gd name="connsiteY1851" fmla="*/ 644223 h 734237"/>
                <a:gd name="connsiteX1852" fmla="*/ 699515 w 1472512"/>
                <a:gd name="connsiteY1852" fmla="*/ 648814 h 734237"/>
                <a:gd name="connsiteX1853" fmla="*/ 697174 w 1472512"/>
                <a:gd name="connsiteY1853" fmla="*/ 655729 h 734237"/>
                <a:gd name="connsiteX1854" fmla="*/ 695679 w 1472512"/>
                <a:gd name="connsiteY1854" fmla="*/ 658233 h 734237"/>
                <a:gd name="connsiteX1855" fmla="*/ 694641 w 1472512"/>
                <a:gd name="connsiteY1855" fmla="*/ 658553 h 734237"/>
                <a:gd name="connsiteX1856" fmla="*/ 693516 w 1472512"/>
                <a:gd name="connsiteY1856" fmla="*/ 658626 h 734237"/>
                <a:gd name="connsiteX1857" fmla="*/ 689480 w 1472512"/>
                <a:gd name="connsiteY1857" fmla="*/ 656401 h 734237"/>
                <a:gd name="connsiteX1858" fmla="*/ 687278 w 1472512"/>
                <a:gd name="connsiteY1858" fmla="*/ 654679 h 734237"/>
                <a:gd name="connsiteX1859" fmla="*/ 689217 w 1472512"/>
                <a:gd name="connsiteY1859" fmla="*/ 659363 h 734237"/>
                <a:gd name="connsiteX1860" fmla="*/ 694506 w 1472512"/>
                <a:gd name="connsiteY1860" fmla="*/ 660730 h 734237"/>
                <a:gd name="connsiteX1861" fmla="*/ 694776 w 1472512"/>
                <a:gd name="connsiteY1861" fmla="*/ 662499 h 734237"/>
                <a:gd name="connsiteX1862" fmla="*/ 694747 w 1472512"/>
                <a:gd name="connsiteY1862" fmla="*/ 664013 h 734237"/>
                <a:gd name="connsiteX1863" fmla="*/ 693704 w 1472512"/>
                <a:gd name="connsiteY1863" fmla="*/ 665786 h 734237"/>
                <a:gd name="connsiteX1864" fmla="*/ 692731 w 1472512"/>
                <a:gd name="connsiteY1864" fmla="*/ 668143 h 734237"/>
                <a:gd name="connsiteX1865" fmla="*/ 693450 w 1472512"/>
                <a:gd name="connsiteY1865" fmla="*/ 669784 h 734237"/>
                <a:gd name="connsiteX1866" fmla="*/ 694284 w 1472512"/>
                <a:gd name="connsiteY1866" fmla="*/ 673838 h 734237"/>
                <a:gd name="connsiteX1867" fmla="*/ 694998 w 1472512"/>
                <a:gd name="connsiteY1867" fmla="*/ 675698 h 734237"/>
                <a:gd name="connsiteX1868" fmla="*/ 695782 w 1472512"/>
                <a:gd name="connsiteY1868" fmla="*/ 681335 h 734237"/>
                <a:gd name="connsiteX1869" fmla="*/ 696618 w 1472512"/>
                <a:gd name="connsiteY1869" fmla="*/ 683777 h 734237"/>
                <a:gd name="connsiteX1870" fmla="*/ 701424 w 1472512"/>
                <a:gd name="connsiteY1870" fmla="*/ 692757 h 734237"/>
                <a:gd name="connsiteX1871" fmla="*/ 703045 w 1472512"/>
                <a:gd name="connsiteY1871" fmla="*/ 692826 h 734237"/>
                <a:gd name="connsiteX1872" fmla="*/ 703305 w 1472512"/>
                <a:gd name="connsiteY1872" fmla="*/ 693798 h 734237"/>
                <a:gd name="connsiteX1873" fmla="*/ 703150 w 1472512"/>
                <a:gd name="connsiteY1873" fmla="*/ 695661 h 734237"/>
                <a:gd name="connsiteX1874" fmla="*/ 699692 w 1472512"/>
                <a:gd name="connsiteY1874" fmla="*/ 696202 h 734237"/>
                <a:gd name="connsiteX1875" fmla="*/ 698242 w 1472512"/>
                <a:gd name="connsiteY1875" fmla="*/ 697032 h 734237"/>
                <a:gd name="connsiteX1876" fmla="*/ 697958 w 1472512"/>
                <a:gd name="connsiteY1876" fmla="*/ 697754 h 734237"/>
                <a:gd name="connsiteX1877" fmla="*/ 697745 w 1472512"/>
                <a:gd name="connsiteY1877" fmla="*/ 698142 h 734237"/>
                <a:gd name="connsiteX1878" fmla="*/ 697298 w 1472512"/>
                <a:gd name="connsiteY1878" fmla="*/ 698107 h 734237"/>
                <a:gd name="connsiteX1879" fmla="*/ 695649 w 1472512"/>
                <a:gd name="connsiteY1879" fmla="*/ 697588 h 734237"/>
                <a:gd name="connsiteX1880" fmla="*/ 691901 w 1472512"/>
                <a:gd name="connsiteY1880" fmla="*/ 695041 h 734237"/>
                <a:gd name="connsiteX1881" fmla="*/ 686437 w 1472512"/>
                <a:gd name="connsiteY1881" fmla="*/ 693462 h 734237"/>
                <a:gd name="connsiteX1882" fmla="*/ 679258 w 1472512"/>
                <a:gd name="connsiteY1882" fmla="*/ 692850 h 734237"/>
                <a:gd name="connsiteX1883" fmla="*/ 674354 w 1472512"/>
                <a:gd name="connsiteY1883" fmla="*/ 691575 h 734237"/>
                <a:gd name="connsiteX1884" fmla="*/ 671725 w 1472512"/>
                <a:gd name="connsiteY1884" fmla="*/ 689631 h 734237"/>
                <a:gd name="connsiteX1885" fmla="*/ 668975 w 1472512"/>
                <a:gd name="connsiteY1885" fmla="*/ 688478 h 734237"/>
                <a:gd name="connsiteX1886" fmla="*/ 666109 w 1472512"/>
                <a:gd name="connsiteY1886" fmla="*/ 688115 h 734237"/>
                <a:gd name="connsiteX1887" fmla="*/ 663733 w 1472512"/>
                <a:gd name="connsiteY1887" fmla="*/ 687060 h 734237"/>
                <a:gd name="connsiteX1888" fmla="*/ 661850 w 1472512"/>
                <a:gd name="connsiteY1888" fmla="*/ 685311 h 734237"/>
                <a:gd name="connsiteX1889" fmla="*/ 659096 w 1472512"/>
                <a:gd name="connsiteY1889" fmla="*/ 684194 h 734237"/>
                <a:gd name="connsiteX1890" fmla="*/ 655471 w 1472512"/>
                <a:gd name="connsiteY1890" fmla="*/ 683710 h 734237"/>
                <a:gd name="connsiteX1891" fmla="*/ 653112 w 1472512"/>
                <a:gd name="connsiteY1891" fmla="*/ 682399 h 734237"/>
                <a:gd name="connsiteX1892" fmla="*/ 651471 w 1472512"/>
                <a:gd name="connsiteY1892" fmla="*/ 679191 h 734237"/>
                <a:gd name="connsiteX1893" fmla="*/ 651464 w 1472512"/>
                <a:gd name="connsiteY1893" fmla="*/ 679143 h 734237"/>
                <a:gd name="connsiteX1894" fmla="*/ 649995 w 1472512"/>
                <a:gd name="connsiteY1894" fmla="*/ 673775 h 734237"/>
                <a:gd name="connsiteX1895" fmla="*/ 648145 w 1472512"/>
                <a:gd name="connsiteY1895" fmla="*/ 670409 h 734237"/>
                <a:gd name="connsiteX1896" fmla="*/ 644545 w 1472512"/>
                <a:gd name="connsiteY1896" fmla="*/ 666241 h 734237"/>
                <a:gd name="connsiteX1897" fmla="*/ 644215 w 1472512"/>
                <a:gd name="connsiteY1897" fmla="*/ 665693 h 734237"/>
                <a:gd name="connsiteX1898" fmla="*/ 644214 w 1472512"/>
                <a:gd name="connsiteY1898" fmla="*/ 665692 h 734237"/>
                <a:gd name="connsiteX1899" fmla="*/ 644184 w 1472512"/>
                <a:gd name="connsiteY1899" fmla="*/ 665006 h 734237"/>
                <a:gd name="connsiteX1900" fmla="*/ 644631 w 1472512"/>
                <a:gd name="connsiteY1900" fmla="*/ 662578 h 734237"/>
                <a:gd name="connsiteX1901" fmla="*/ 644251 w 1472512"/>
                <a:gd name="connsiteY1901" fmla="*/ 660831 h 734237"/>
                <a:gd name="connsiteX1902" fmla="*/ 643111 w 1472512"/>
                <a:gd name="connsiteY1902" fmla="*/ 659408 h 734237"/>
                <a:gd name="connsiteX1903" fmla="*/ 642850 w 1472512"/>
                <a:gd name="connsiteY1903" fmla="*/ 657901 h 734237"/>
                <a:gd name="connsiteX1904" fmla="*/ 643467 w 1472512"/>
                <a:gd name="connsiteY1904" fmla="*/ 656314 h 734237"/>
                <a:gd name="connsiteX1905" fmla="*/ 643507 w 1472512"/>
                <a:gd name="connsiteY1905" fmla="*/ 654407 h 734237"/>
                <a:gd name="connsiteX1906" fmla="*/ 642970 w 1472512"/>
                <a:gd name="connsiteY1906" fmla="*/ 652180 h 734237"/>
                <a:gd name="connsiteX1907" fmla="*/ 640675 w 1472512"/>
                <a:gd name="connsiteY1907" fmla="*/ 649770 h 734237"/>
                <a:gd name="connsiteX1908" fmla="*/ 636620 w 1472512"/>
                <a:gd name="connsiteY1908" fmla="*/ 647180 h 734237"/>
                <a:gd name="connsiteX1909" fmla="*/ 633166 w 1472512"/>
                <a:gd name="connsiteY1909" fmla="*/ 643393 h 734237"/>
                <a:gd name="connsiteX1910" fmla="*/ 630314 w 1472512"/>
                <a:gd name="connsiteY1910" fmla="*/ 638413 h 734237"/>
                <a:gd name="connsiteX1911" fmla="*/ 627495 w 1472512"/>
                <a:gd name="connsiteY1911" fmla="*/ 634960 h 734237"/>
                <a:gd name="connsiteX1912" fmla="*/ 624706 w 1472512"/>
                <a:gd name="connsiteY1912" fmla="*/ 633034 h 734237"/>
                <a:gd name="connsiteX1913" fmla="*/ 622799 w 1472512"/>
                <a:gd name="connsiteY1913" fmla="*/ 630684 h 734237"/>
                <a:gd name="connsiteX1914" fmla="*/ 621772 w 1472512"/>
                <a:gd name="connsiteY1914" fmla="*/ 627906 h 734237"/>
                <a:gd name="connsiteX1915" fmla="*/ 621470 w 1472512"/>
                <a:gd name="connsiteY1915" fmla="*/ 626293 h 734237"/>
                <a:gd name="connsiteX1916" fmla="*/ 621888 w 1472512"/>
                <a:gd name="connsiteY1916" fmla="*/ 625848 h 734237"/>
                <a:gd name="connsiteX1917" fmla="*/ 620175 w 1472512"/>
                <a:gd name="connsiteY1917" fmla="*/ 622756 h 734237"/>
                <a:gd name="connsiteX1918" fmla="*/ 616328 w 1472512"/>
                <a:gd name="connsiteY1918" fmla="*/ 617018 h 734237"/>
                <a:gd name="connsiteX1919" fmla="*/ 614117 w 1472512"/>
                <a:gd name="connsiteY1919" fmla="*/ 612816 h 734237"/>
                <a:gd name="connsiteX1920" fmla="*/ 613549 w 1472512"/>
                <a:gd name="connsiteY1920" fmla="*/ 610158 h 734237"/>
                <a:gd name="connsiteX1921" fmla="*/ 611101 w 1472512"/>
                <a:gd name="connsiteY1921" fmla="*/ 606992 h 734237"/>
                <a:gd name="connsiteX1922" fmla="*/ 606777 w 1472512"/>
                <a:gd name="connsiteY1922" fmla="*/ 603319 h 734237"/>
                <a:gd name="connsiteX1923" fmla="*/ 604425 w 1472512"/>
                <a:gd name="connsiteY1923" fmla="*/ 600928 h 734237"/>
                <a:gd name="connsiteX1924" fmla="*/ 603855 w 1472512"/>
                <a:gd name="connsiteY1924" fmla="*/ 599269 h 734237"/>
                <a:gd name="connsiteX1925" fmla="*/ 603846 w 1472512"/>
                <a:gd name="connsiteY1925" fmla="*/ 599265 h 734237"/>
                <a:gd name="connsiteX1926" fmla="*/ 597098 w 1472512"/>
                <a:gd name="connsiteY1926" fmla="*/ 594429 h 734237"/>
                <a:gd name="connsiteX1927" fmla="*/ 595138 w 1472512"/>
                <a:gd name="connsiteY1927" fmla="*/ 591405 h 734237"/>
                <a:gd name="connsiteX1928" fmla="*/ 593607 w 1472512"/>
                <a:gd name="connsiteY1928" fmla="*/ 590449 h 734237"/>
                <a:gd name="connsiteX1929" fmla="*/ 591850 w 1472512"/>
                <a:gd name="connsiteY1929" fmla="*/ 590552 h 734237"/>
                <a:gd name="connsiteX1930" fmla="*/ 590948 w 1472512"/>
                <a:gd name="connsiteY1930" fmla="*/ 590262 h 734237"/>
                <a:gd name="connsiteX1931" fmla="*/ 590902 w 1472512"/>
                <a:gd name="connsiteY1931" fmla="*/ 589578 h 734237"/>
                <a:gd name="connsiteX1932" fmla="*/ 590334 w 1472512"/>
                <a:gd name="connsiteY1932" fmla="*/ 589546 h 734237"/>
                <a:gd name="connsiteX1933" fmla="*/ 589238 w 1472512"/>
                <a:gd name="connsiteY1933" fmla="*/ 590167 h 734237"/>
                <a:gd name="connsiteX1934" fmla="*/ 585649 w 1472512"/>
                <a:gd name="connsiteY1934" fmla="*/ 590293 h 734237"/>
                <a:gd name="connsiteX1935" fmla="*/ 579563 w 1472512"/>
                <a:gd name="connsiteY1935" fmla="*/ 589923 h 734237"/>
                <a:gd name="connsiteX1936" fmla="*/ 575170 w 1472512"/>
                <a:gd name="connsiteY1936" fmla="*/ 589100 h 734237"/>
                <a:gd name="connsiteX1937" fmla="*/ 572470 w 1472512"/>
                <a:gd name="connsiteY1937" fmla="*/ 587819 h 734237"/>
                <a:gd name="connsiteX1938" fmla="*/ 570579 w 1472512"/>
                <a:gd name="connsiteY1938" fmla="*/ 587992 h 734237"/>
                <a:gd name="connsiteX1939" fmla="*/ 569492 w 1472512"/>
                <a:gd name="connsiteY1939" fmla="*/ 589620 h 734237"/>
                <a:gd name="connsiteX1940" fmla="*/ 567180 w 1472512"/>
                <a:gd name="connsiteY1940" fmla="*/ 590666 h 734237"/>
                <a:gd name="connsiteX1941" fmla="*/ 563643 w 1472512"/>
                <a:gd name="connsiteY1941" fmla="*/ 591133 h 734237"/>
                <a:gd name="connsiteX1942" fmla="*/ 560603 w 1472512"/>
                <a:gd name="connsiteY1942" fmla="*/ 594154 h 734237"/>
                <a:gd name="connsiteX1943" fmla="*/ 558057 w 1472512"/>
                <a:gd name="connsiteY1943" fmla="*/ 599723 h 734237"/>
                <a:gd name="connsiteX1944" fmla="*/ 556937 w 1472512"/>
                <a:gd name="connsiteY1944" fmla="*/ 603301 h 734237"/>
                <a:gd name="connsiteX1945" fmla="*/ 557248 w 1472512"/>
                <a:gd name="connsiteY1945" fmla="*/ 604895 h 734237"/>
                <a:gd name="connsiteX1946" fmla="*/ 556577 w 1472512"/>
                <a:gd name="connsiteY1946" fmla="*/ 606051 h 734237"/>
                <a:gd name="connsiteX1947" fmla="*/ 554922 w 1472512"/>
                <a:gd name="connsiteY1947" fmla="*/ 606774 h 734237"/>
                <a:gd name="connsiteX1948" fmla="*/ 553238 w 1472512"/>
                <a:gd name="connsiteY1948" fmla="*/ 608390 h 734237"/>
                <a:gd name="connsiteX1949" fmla="*/ 551525 w 1472512"/>
                <a:gd name="connsiteY1949" fmla="*/ 610899 h 734237"/>
                <a:gd name="connsiteX1950" fmla="*/ 549527 w 1472512"/>
                <a:gd name="connsiteY1950" fmla="*/ 612111 h 734237"/>
                <a:gd name="connsiteX1951" fmla="*/ 547246 w 1472512"/>
                <a:gd name="connsiteY1951" fmla="*/ 612031 h 734237"/>
                <a:gd name="connsiteX1952" fmla="*/ 543031 w 1472512"/>
                <a:gd name="connsiteY1952" fmla="*/ 610098 h 734237"/>
                <a:gd name="connsiteX1953" fmla="*/ 536883 w 1472512"/>
                <a:gd name="connsiteY1953" fmla="*/ 606315 h 734237"/>
                <a:gd name="connsiteX1954" fmla="*/ 532062 w 1472512"/>
                <a:gd name="connsiteY1954" fmla="*/ 603975 h 734237"/>
                <a:gd name="connsiteX1955" fmla="*/ 528572 w 1472512"/>
                <a:gd name="connsiteY1955" fmla="*/ 603084 h 734237"/>
                <a:gd name="connsiteX1956" fmla="*/ 525489 w 1472512"/>
                <a:gd name="connsiteY1956" fmla="*/ 601332 h 734237"/>
                <a:gd name="connsiteX1957" fmla="*/ 522813 w 1472512"/>
                <a:gd name="connsiteY1957" fmla="*/ 598722 h 734237"/>
                <a:gd name="connsiteX1958" fmla="*/ 520346 w 1472512"/>
                <a:gd name="connsiteY1958" fmla="*/ 596982 h 734237"/>
                <a:gd name="connsiteX1959" fmla="*/ 518091 w 1472512"/>
                <a:gd name="connsiteY1959" fmla="*/ 596110 h 734237"/>
                <a:gd name="connsiteX1960" fmla="*/ 515454 w 1472512"/>
                <a:gd name="connsiteY1960" fmla="*/ 593214 h 734237"/>
                <a:gd name="connsiteX1961" fmla="*/ 512438 w 1472512"/>
                <a:gd name="connsiteY1961" fmla="*/ 588289 h 734237"/>
                <a:gd name="connsiteX1962" fmla="*/ 510929 w 1472512"/>
                <a:gd name="connsiteY1962" fmla="*/ 584488 h 734237"/>
                <a:gd name="connsiteX1963" fmla="*/ 510929 w 1472512"/>
                <a:gd name="connsiteY1963" fmla="*/ 580468 h 734237"/>
                <a:gd name="connsiteX1964" fmla="*/ 506987 w 1472512"/>
                <a:gd name="connsiteY1964" fmla="*/ 571705 h 734237"/>
                <a:gd name="connsiteX1965" fmla="*/ 504896 w 1472512"/>
                <a:gd name="connsiteY1965" fmla="*/ 567903 h 734237"/>
                <a:gd name="connsiteX1966" fmla="*/ 503341 w 1472512"/>
                <a:gd name="connsiteY1966" fmla="*/ 566149 h 734237"/>
                <a:gd name="connsiteX1967" fmla="*/ 500297 w 1472512"/>
                <a:gd name="connsiteY1967" fmla="*/ 564057 h 734237"/>
                <a:gd name="connsiteX1968" fmla="*/ 495764 w 1472512"/>
                <a:gd name="connsiteY1968" fmla="*/ 561623 h 734237"/>
                <a:gd name="connsiteX1969" fmla="*/ 489689 w 1472512"/>
                <a:gd name="connsiteY1969" fmla="*/ 556752 h 734237"/>
                <a:gd name="connsiteX1970" fmla="*/ 482069 w 1472512"/>
                <a:gd name="connsiteY1970" fmla="*/ 549433 h 734237"/>
                <a:gd name="connsiteX1971" fmla="*/ 476677 w 1472512"/>
                <a:gd name="connsiteY1971" fmla="*/ 545018 h 734237"/>
                <a:gd name="connsiteX1972" fmla="*/ 473514 w 1472512"/>
                <a:gd name="connsiteY1972" fmla="*/ 543520 h 734237"/>
                <a:gd name="connsiteX1973" fmla="*/ 470768 w 1472512"/>
                <a:gd name="connsiteY1973" fmla="*/ 540877 h 734237"/>
                <a:gd name="connsiteX1974" fmla="*/ 468440 w 1472512"/>
                <a:gd name="connsiteY1974" fmla="*/ 537087 h 734237"/>
                <a:gd name="connsiteX1975" fmla="*/ 466168 w 1472512"/>
                <a:gd name="connsiteY1975" fmla="*/ 534675 h 734237"/>
                <a:gd name="connsiteX1976" fmla="*/ 465928 w 1472512"/>
                <a:gd name="connsiteY1976" fmla="*/ 534563 h 734237"/>
                <a:gd name="connsiteX1977" fmla="*/ 465729 w 1472512"/>
                <a:gd name="connsiteY1977" fmla="*/ 534513 h 734237"/>
                <a:gd name="connsiteX1978" fmla="*/ 460122 w 1472512"/>
                <a:gd name="connsiteY1978" fmla="*/ 534480 h 734237"/>
                <a:gd name="connsiteX1979" fmla="*/ 454514 w 1472512"/>
                <a:gd name="connsiteY1979" fmla="*/ 534448 h 734237"/>
                <a:gd name="connsiteX1980" fmla="*/ 448905 w 1472512"/>
                <a:gd name="connsiteY1980" fmla="*/ 534415 h 734237"/>
                <a:gd name="connsiteX1981" fmla="*/ 443298 w 1472512"/>
                <a:gd name="connsiteY1981" fmla="*/ 534384 h 734237"/>
                <a:gd name="connsiteX1982" fmla="*/ 437691 w 1472512"/>
                <a:gd name="connsiteY1982" fmla="*/ 534352 h 734237"/>
                <a:gd name="connsiteX1983" fmla="*/ 432082 w 1472512"/>
                <a:gd name="connsiteY1983" fmla="*/ 534319 h 734237"/>
                <a:gd name="connsiteX1984" fmla="*/ 426474 w 1472512"/>
                <a:gd name="connsiteY1984" fmla="*/ 534287 h 734237"/>
                <a:gd name="connsiteX1985" fmla="*/ 420867 w 1472512"/>
                <a:gd name="connsiteY1985" fmla="*/ 534253 h 734237"/>
                <a:gd name="connsiteX1986" fmla="*/ 420849 w 1472512"/>
                <a:gd name="connsiteY1986" fmla="*/ 537430 h 734237"/>
                <a:gd name="connsiteX1987" fmla="*/ 420832 w 1472512"/>
                <a:gd name="connsiteY1987" fmla="*/ 540603 h 734237"/>
                <a:gd name="connsiteX1988" fmla="*/ 420816 w 1472512"/>
                <a:gd name="connsiteY1988" fmla="*/ 543775 h 734237"/>
                <a:gd name="connsiteX1989" fmla="*/ 420800 w 1472512"/>
                <a:gd name="connsiteY1989" fmla="*/ 546943 h 734237"/>
                <a:gd name="connsiteX1990" fmla="*/ 411784 w 1472512"/>
                <a:gd name="connsiteY1990" fmla="*/ 546960 h 734237"/>
                <a:gd name="connsiteX1991" fmla="*/ 402767 w 1472512"/>
                <a:gd name="connsiteY1991" fmla="*/ 546980 h 734237"/>
                <a:gd name="connsiteX1992" fmla="*/ 393751 w 1472512"/>
                <a:gd name="connsiteY1992" fmla="*/ 546999 h 734237"/>
                <a:gd name="connsiteX1993" fmla="*/ 384735 w 1472512"/>
                <a:gd name="connsiteY1993" fmla="*/ 547017 h 734237"/>
                <a:gd name="connsiteX1994" fmla="*/ 375720 w 1472512"/>
                <a:gd name="connsiteY1994" fmla="*/ 547035 h 734237"/>
                <a:gd name="connsiteX1995" fmla="*/ 366702 w 1472512"/>
                <a:gd name="connsiteY1995" fmla="*/ 547052 h 734237"/>
                <a:gd name="connsiteX1996" fmla="*/ 357686 w 1472512"/>
                <a:gd name="connsiteY1996" fmla="*/ 547072 h 734237"/>
                <a:gd name="connsiteX1997" fmla="*/ 348670 w 1472512"/>
                <a:gd name="connsiteY1997" fmla="*/ 547089 h 734237"/>
                <a:gd name="connsiteX1998" fmla="*/ 336572 w 1472512"/>
                <a:gd name="connsiteY1998" fmla="*/ 542918 h 734237"/>
                <a:gd name="connsiteX1999" fmla="*/ 324474 w 1472512"/>
                <a:gd name="connsiteY1999" fmla="*/ 538746 h 734237"/>
                <a:gd name="connsiteX2000" fmla="*/ 312375 w 1472512"/>
                <a:gd name="connsiteY2000" fmla="*/ 534567 h 734237"/>
                <a:gd name="connsiteX2001" fmla="*/ 300277 w 1472512"/>
                <a:gd name="connsiteY2001" fmla="*/ 530385 h 734237"/>
                <a:gd name="connsiteX2002" fmla="*/ 288180 w 1472512"/>
                <a:gd name="connsiteY2002" fmla="*/ 526198 h 734237"/>
                <a:gd name="connsiteX2003" fmla="*/ 276082 w 1472512"/>
                <a:gd name="connsiteY2003" fmla="*/ 522007 h 734237"/>
                <a:gd name="connsiteX2004" fmla="*/ 263984 w 1472512"/>
                <a:gd name="connsiteY2004" fmla="*/ 517813 h 734237"/>
                <a:gd name="connsiteX2005" fmla="*/ 251886 w 1472512"/>
                <a:gd name="connsiteY2005" fmla="*/ 513613 h 734237"/>
                <a:gd name="connsiteX2006" fmla="*/ 253109 w 1472512"/>
                <a:gd name="connsiteY2006" fmla="*/ 512010 h 734237"/>
                <a:gd name="connsiteX2007" fmla="*/ 254723 w 1472512"/>
                <a:gd name="connsiteY2007" fmla="*/ 507733 h 734237"/>
                <a:gd name="connsiteX2008" fmla="*/ 251806 w 1472512"/>
                <a:gd name="connsiteY2008" fmla="*/ 508034 h 734237"/>
                <a:gd name="connsiteX2009" fmla="*/ 244507 w 1472512"/>
                <a:gd name="connsiteY2009" fmla="*/ 508643 h 734237"/>
                <a:gd name="connsiteX2010" fmla="*/ 237206 w 1472512"/>
                <a:gd name="connsiteY2010" fmla="*/ 509253 h 734237"/>
                <a:gd name="connsiteX2011" fmla="*/ 229907 w 1472512"/>
                <a:gd name="connsiteY2011" fmla="*/ 509860 h 734237"/>
                <a:gd name="connsiteX2012" fmla="*/ 222608 w 1472512"/>
                <a:gd name="connsiteY2012" fmla="*/ 510470 h 734237"/>
                <a:gd name="connsiteX2013" fmla="*/ 215308 w 1472512"/>
                <a:gd name="connsiteY2013" fmla="*/ 511079 h 734237"/>
                <a:gd name="connsiteX2014" fmla="*/ 208009 w 1472512"/>
                <a:gd name="connsiteY2014" fmla="*/ 511685 h 734237"/>
                <a:gd name="connsiteX2015" fmla="*/ 200710 w 1472512"/>
                <a:gd name="connsiteY2015" fmla="*/ 512295 h 734237"/>
                <a:gd name="connsiteX2016" fmla="*/ 193409 w 1472512"/>
                <a:gd name="connsiteY2016" fmla="*/ 512903 h 734237"/>
                <a:gd name="connsiteX2017" fmla="*/ 193352 w 1472512"/>
                <a:gd name="connsiteY2017" fmla="*/ 512722 h 734237"/>
                <a:gd name="connsiteX2018" fmla="*/ 193176 w 1472512"/>
                <a:gd name="connsiteY2018" fmla="*/ 509614 h 734237"/>
                <a:gd name="connsiteX2019" fmla="*/ 191993 w 1472512"/>
                <a:gd name="connsiteY2019" fmla="*/ 508513 h 734237"/>
                <a:gd name="connsiteX2020" fmla="*/ 190471 w 1472512"/>
                <a:gd name="connsiteY2020" fmla="*/ 509191 h 734237"/>
                <a:gd name="connsiteX2021" fmla="*/ 189775 w 1472512"/>
                <a:gd name="connsiteY2021" fmla="*/ 505149 h 734237"/>
                <a:gd name="connsiteX2022" fmla="*/ 190157 w 1472512"/>
                <a:gd name="connsiteY2022" fmla="*/ 503238 h 734237"/>
                <a:gd name="connsiteX2023" fmla="*/ 189972 w 1472512"/>
                <a:gd name="connsiteY2023" fmla="*/ 501374 h 734237"/>
                <a:gd name="connsiteX2024" fmla="*/ 188547 w 1472512"/>
                <a:gd name="connsiteY2024" fmla="*/ 496784 h 734237"/>
                <a:gd name="connsiteX2025" fmla="*/ 184757 w 1472512"/>
                <a:gd name="connsiteY2025" fmla="*/ 491209 h 734237"/>
                <a:gd name="connsiteX2026" fmla="*/ 176565 w 1472512"/>
                <a:gd name="connsiteY2026" fmla="*/ 484269 h 734237"/>
                <a:gd name="connsiteX2027" fmla="*/ 172392 w 1472512"/>
                <a:gd name="connsiteY2027" fmla="*/ 481948 h 734237"/>
                <a:gd name="connsiteX2028" fmla="*/ 169117 w 1472512"/>
                <a:gd name="connsiteY2028" fmla="*/ 479015 h 734237"/>
                <a:gd name="connsiteX2029" fmla="*/ 167041 w 1472512"/>
                <a:gd name="connsiteY2029" fmla="*/ 478198 h 734237"/>
                <a:gd name="connsiteX2030" fmla="*/ 164426 w 1472512"/>
                <a:gd name="connsiteY2030" fmla="*/ 477972 h 734237"/>
                <a:gd name="connsiteX2031" fmla="*/ 163667 w 1472512"/>
                <a:gd name="connsiteY2031" fmla="*/ 479297 h 734237"/>
                <a:gd name="connsiteX2032" fmla="*/ 160700 w 1472512"/>
                <a:gd name="connsiteY2032" fmla="*/ 478391 h 734237"/>
                <a:gd name="connsiteX2033" fmla="*/ 161145 w 1472512"/>
                <a:gd name="connsiteY2033" fmla="*/ 475115 h 734237"/>
                <a:gd name="connsiteX2034" fmla="*/ 158258 w 1472512"/>
                <a:gd name="connsiteY2034" fmla="*/ 470555 h 734237"/>
                <a:gd name="connsiteX2035" fmla="*/ 155894 w 1472512"/>
                <a:gd name="connsiteY2035" fmla="*/ 470050 h 734237"/>
                <a:gd name="connsiteX2036" fmla="*/ 149946 w 1472512"/>
                <a:gd name="connsiteY2036" fmla="*/ 470352 h 734237"/>
                <a:gd name="connsiteX2037" fmla="*/ 141993 w 1472512"/>
                <a:gd name="connsiteY2037" fmla="*/ 467839 h 734237"/>
                <a:gd name="connsiteX2038" fmla="*/ 139645 w 1472512"/>
                <a:gd name="connsiteY2038" fmla="*/ 466344 h 734237"/>
                <a:gd name="connsiteX2039" fmla="*/ 138832 w 1472512"/>
                <a:gd name="connsiteY2039" fmla="*/ 463663 h 734237"/>
                <a:gd name="connsiteX2040" fmla="*/ 135109 w 1472512"/>
                <a:gd name="connsiteY2040" fmla="*/ 461330 h 734237"/>
                <a:gd name="connsiteX2041" fmla="*/ 130201 w 1472512"/>
                <a:gd name="connsiteY2041" fmla="*/ 459046 h 734237"/>
                <a:gd name="connsiteX2042" fmla="*/ 127468 w 1472512"/>
                <a:gd name="connsiteY2042" fmla="*/ 459574 h 734237"/>
                <a:gd name="connsiteX2043" fmla="*/ 123892 w 1472512"/>
                <a:gd name="connsiteY2043" fmla="*/ 459220 h 734237"/>
                <a:gd name="connsiteX2044" fmla="*/ 118799 w 1472512"/>
                <a:gd name="connsiteY2044" fmla="*/ 457570 h 734237"/>
                <a:gd name="connsiteX2045" fmla="*/ 115826 w 1472512"/>
                <a:gd name="connsiteY2045" fmla="*/ 457364 h 734237"/>
                <a:gd name="connsiteX2046" fmla="*/ 110037 w 1472512"/>
                <a:gd name="connsiteY2046" fmla="*/ 457851 h 734237"/>
                <a:gd name="connsiteX2047" fmla="*/ 107875 w 1472512"/>
                <a:gd name="connsiteY2047" fmla="*/ 457504 h 734237"/>
                <a:gd name="connsiteX2048" fmla="*/ 105870 w 1472512"/>
                <a:gd name="connsiteY2048" fmla="*/ 455422 h 734237"/>
                <a:gd name="connsiteX2049" fmla="*/ 103705 w 1472512"/>
                <a:gd name="connsiteY2049" fmla="*/ 454384 h 734237"/>
                <a:gd name="connsiteX2050" fmla="*/ 104163 w 1472512"/>
                <a:gd name="connsiteY2050" fmla="*/ 451821 h 734237"/>
                <a:gd name="connsiteX2051" fmla="*/ 103886 w 1472512"/>
                <a:gd name="connsiteY2051" fmla="*/ 449502 h 734237"/>
                <a:gd name="connsiteX2052" fmla="*/ 104210 w 1472512"/>
                <a:gd name="connsiteY2052" fmla="*/ 447696 h 734237"/>
                <a:gd name="connsiteX2053" fmla="*/ 103238 w 1472512"/>
                <a:gd name="connsiteY2053" fmla="*/ 443733 h 734237"/>
                <a:gd name="connsiteX2054" fmla="*/ 103988 w 1472512"/>
                <a:gd name="connsiteY2054" fmla="*/ 440058 h 734237"/>
                <a:gd name="connsiteX2055" fmla="*/ 103337 w 1472512"/>
                <a:gd name="connsiteY2055" fmla="*/ 438729 h 734237"/>
                <a:gd name="connsiteX2056" fmla="*/ 102115 w 1472512"/>
                <a:gd name="connsiteY2056" fmla="*/ 437709 h 734237"/>
                <a:gd name="connsiteX2057" fmla="*/ 98279 w 1472512"/>
                <a:gd name="connsiteY2057" fmla="*/ 436206 h 734237"/>
                <a:gd name="connsiteX2058" fmla="*/ 97578 w 1472512"/>
                <a:gd name="connsiteY2058" fmla="*/ 434316 h 734237"/>
                <a:gd name="connsiteX2059" fmla="*/ 98205 w 1472512"/>
                <a:gd name="connsiteY2059" fmla="*/ 431695 h 734237"/>
                <a:gd name="connsiteX2060" fmla="*/ 97201 w 1472512"/>
                <a:gd name="connsiteY2060" fmla="*/ 429965 h 734237"/>
                <a:gd name="connsiteX2061" fmla="*/ 94057 w 1472512"/>
                <a:gd name="connsiteY2061" fmla="*/ 428352 h 734237"/>
                <a:gd name="connsiteX2062" fmla="*/ 91122 w 1472512"/>
                <a:gd name="connsiteY2062" fmla="*/ 424686 h 734237"/>
                <a:gd name="connsiteX2063" fmla="*/ 87399 w 1472512"/>
                <a:gd name="connsiteY2063" fmla="*/ 422678 h 734237"/>
                <a:gd name="connsiteX2064" fmla="*/ 85870 w 1472512"/>
                <a:gd name="connsiteY2064" fmla="*/ 419310 h 734237"/>
                <a:gd name="connsiteX2065" fmla="*/ 83576 w 1472512"/>
                <a:gd name="connsiteY2065" fmla="*/ 417228 h 734237"/>
                <a:gd name="connsiteX2066" fmla="*/ 82779 w 1472512"/>
                <a:gd name="connsiteY2066" fmla="*/ 415380 h 734237"/>
                <a:gd name="connsiteX2067" fmla="*/ 77693 w 1472512"/>
                <a:gd name="connsiteY2067" fmla="*/ 408780 h 734237"/>
                <a:gd name="connsiteX2068" fmla="*/ 72259 w 1472512"/>
                <a:gd name="connsiteY2068" fmla="*/ 403618 h 734237"/>
                <a:gd name="connsiteX2069" fmla="*/ 71422 w 1472512"/>
                <a:gd name="connsiteY2069" fmla="*/ 400644 h 734237"/>
                <a:gd name="connsiteX2070" fmla="*/ 71206 w 1472512"/>
                <a:gd name="connsiteY2070" fmla="*/ 396568 h 734237"/>
                <a:gd name="connsiteX2071" fmla="*/ 73336 w 1472512"/>
                <a:gd name="connsiteY2071" fmla="*/ 394078 h 734237"/>
                <a:gd name="connsiteX2072" fmla="*/ 74488 w 1472512"/>
                <a:gd name="connsiteY2072" fmla="*/ 391889 h 734237"/>
                <a:gd name="connsiteX2073" fmla="*/ 74373 w 1472512"/>
                <a:gd name="connsiteY2073" fmla="*/ 389877 h 734237"/>
                <a:gd name="connsiteX2074" fmla="*/ 74044 w 1472512"/>
                <a:gd name="connsiteY2074" fmla="*/ 388405 h 734237"/>
                <a:gd name="connsiteX2075" fmla="*/ 72175 w 1472512"/>
                <a:gd name="connsiteY2075" fmla="*/ 385834 h 734237"/>
                <a:gd name="connsiteX2076" fmla="*/ 64942 w 1472512"/>
                <a:gd name="connsiteY2076" fmla="*/ 384308 h 734237"/>
                <a:gd name="connsiteX2077" fmla="*/ 59057 w 1472512"/>
                <a:gd name="connsiteY2077" fmla="*/ 377949 h 734237"/>
                <a:gd name="connsiteX2078" fmla="*/ 58712 w 1472512"/>
                <a:gd name="connsiteY2078" fmla="*/ 373080 h 734237"/>
                <a:gd name="connsiteX2079" fmla="*/ 56396 w 1472512"/>
                <a:gd name="connsiteY2079" fmla="*/ 368089 h 734237"/>
                <a:gd name="connsiteX2080" fmla="*/ 56365 w 1472512"/>
                <a:gd name="connsiteY2080" fmla="*/ 364841 h 734237"/>
                <a:gd name="connsiteX2081" fmla="*/ 56013 w 1472512"/>
                <a:gd name="connsiteY2081" fmla="*/ 361324 h 734237"/>
                <a:gd name="connsiteX2082" fmla="*/ 57763 w 1472512"/>
                <a:gd name="connsiteY2082" fmla="*/ 360555 h 734237"/>
                <a:gd name="connsiteX2083" fmla="*/ 59333 w 1472512"/>
                <a:gd name="connsiteY2083" fmla="*/ 360836 h 734237"/>
                <a:gd name="connsiteX2084" fmla="*/ 59175 w 1472512"/>
                <a:gd name="connsiteY2084" fmla="*/ 362236 h 734237"/>
                <a:gd name="connsiteX2085" fmla="*/ 59699 w 1472512"/>
                <a:gd name="connsiteY2085" fmla="*/ 364750 h 734237"/>
                <a:gd name="connsiteX2086" fmla="*/ 61540 w 1472512"/>
                <a:gd name="connsiteY2086" fmla="*/ 366638 h 734237"/>
                <a:gd name="connsiteX2087" fmla="*/ 63297 w 1472512"/>
                <a:gd name="connsiteY2087" fmla="*/ 367461 h 734237"/>
                <a:gd name="connsiteX2088" fmla="*/ 64896 w 1472512"/>
                <a:gd name="connsiteY2088" fmla="*/ 369296 h 734237"/>
                <a:gd name="connsiteX2089" fmla="*/ 66094 w 1472512"/>
                <a:gd name="connsiteY2089" fmla="*/ 369850 h 734237"/>
                <a:gd name="connsiteX2090" fmla="*/ 67331 w 1472512"/>
                <a:gd name="connsiteY2090" fmla="*/ 369984 h 734237"/>
                <a:gd name="connsiteX2091" fmla="*/ 66668 w 1472512"/>
                <a:gd name="connsiteY2091" fmla="*/ 368808 h 734237"/>
                <a:gd name="connsiteX2092" fmla="*/ 65964 w 1472512"/>
                <a:gd name="connsiteY2092" fmla="*/ 368054 h 734237"/>
                <a:gd name="connsiteX2093" fmla="*/ 65098 w 1472512"/>
                <a:gd name="connsiteY2093" fmla="*/ 365617 h 734237"/>
                <a:gd name="connsiteX2094" fmla="*/ 63462 w 1472512"/>
                <a:gd name="connsiteY2094" fmla="*/ 362503 h 734237"/>
                <a:gd name="connsiteX2095" fmla="*/ 61580 w 1472512"/>
                <a:gd name="connsiteY2095" fmla="*/ 360783 h 734237"/>
                <a:gd name="connsiteX2096" fmla="*/ 60624 w 1472512"/>
                <a:gd name="connsiteY2096" fmla="*/ 357644 h 734237"/>
                <a:gd name="connsiteX2097" fmla="*/ 59807 w 1472512"/>
                <a:gd name="connsiteY2097" fmla="*/ 356916 h 734237"/>
                <a:gd name="connsiteX2098" fmla="*/ 59297 w 1472512"/>
                <a:gd name="connsiteY2098" fmla="*/ 355751 h 734237"/>
                <a:gd name="connsiteX2099" fmla="*/ 61115 w 1472512"/>
                <a:gd name="connsiteY2099" fmla="*/ 354369 h 734237"/>
                <a:gd name="connsiteX2100" fmla="*/ 63594 w 1472512"/>
                <a:gd name="connsiteY2100" fmla="*/ 353384 h 734237"/>
                <a:gd name="connsiteX2101" fmla="*/ 66919 w 1472512"/>
                <a:gd name="connsiteY2101" fmla="*/ 353118 h 734237"/>
                <a:gd name="connsiteX2102" fmla="*/ 76355 w 1472512"/>
                <a:gd name="connsiteY2102" fmla="*/ 353578 h 734237"/>
                <a:gd name="connsiteX2103" fmla="*/ 78363 w 1472512"/>
                <a:gd name="connsiteY2103" fmla="*/ 352774 h 734237"/>
                <a:gd name="connsiteX2104" fmla="*/ 80023 w 1472512"/>
                <a:gd name="connsiteY2104" fmla="*/ 353037 h 734237"/>
                <a:gd name="connsiteX2105" fmla="*/ 81239 w 1472512"/>
                <a:gd name="connsiteY2105" fmla="*/ 352932 h 734237"/>
                <a:gd name="connsiteX2106" fmla="*/ 78678 w 1472512"/>
                <a:gd name="connsiteY2106" fmla="*/ 352102 h 734237"/>
                <a:gd name="connsiteX2107" fmla="*/ 77237 w 1472512"/>
                <a:gd name="connsiteY2107" fmla="*/ 352372 h 734237"/>
                <a:gd name="connsiteX2108" fmla="*/ 75544 w 1472512"/>
                <a:gd name="connsiteY2108" fmla="*/ 352206 h 734237"/>
                <a:gd name="connsiteX2109" fmla="*/ 72173 w 1472512"/>
                <a:gd name="connsiteY2109" fmla="*/ 352367 h 734237"/>
                <a:gd name="connsiteX2110" fmla="*/ 70810 w 1472512"/>
                <a:gd name="connsiteY2110" fmla="*/ 352017 h 734237"/>
                <a:gd name="connsiteX2111" fmla="*/ 69306 w 1472512"/>
                <a:gd name="connsiteY2111" fmla="*/ 351032 h 734237"/>
                <a:gd name="connsiteX2112" fmla="*/ 68327 w 1472512"/>
                <a:gd name="connsiteY2112" fmla="*/ 350930 h 734237"/>
                <a:gd name="connsiteX2113" fmla="*/ 65208 w 1472512"/>
                <a:gd name="connsiteY2113" fmla="*/ 352647 h 734237"/>
                <a:gd name="connsiteX2114" fmla="*/ 63816 w 1472512"/>
                <a:gd name="connsiteY2114" fmla="*/ 352439 h 734237"/>
                <a:gd name="connsiteX2115" fmla="*/ 60530 w 1472512"/>
                <a:gd name="connsiteY2115" fmla="*/ 350565 h 734237"/>
                <a:gd name="connsiteX2116" fmla="*/ 59096 w 1472512"/>
                <a:gd name="connsiteY2116" fmla="*/ 350300 h 734237"/>
                <a:gd name="connsiteX2117" fmla="*/ 56787 w 1472512"/>
                <a:gd name="connsiteY2117" fmla="*/ 351367 h 734237"/>
                <a:gd name="connsiteX2118" fmla="*/ 56505 w 1472512"/>
                <a:gd name="connsiteY2118" fmla="*/ 355960 h 734237"/>
                <a:gd name="connsiteX2119" fmla="*/ 57221 w 1472512"/>
                <a:gd name="connsiteY2119" fmla="*/ 359369 h 734237"/>
                <a:gd name="connsiteX2120" fmla="*/ 55832 w 1472512"/>
                <a:gd name="connsiteY2120" fmla="*/ 359716 h 734237"/>
                <a:gd name="connsiteX2121" fmla="*/ 54229 w 1472512"/>
                <a:gd name="connsiteY2121" fmla="*/ 358309 h 734237"/>
                <a:gd name="connsiteX2122" fmla="*/ 51766 w 1472512"/>
                <a:gd name="connsiteY2122" fmla="*/ 357474 h 734237"/>
                <a:gd name="connsiteX2123" fmla="*/ 49733 w 1472512"/>
                <a:gd name="connsiteY2123" fmla="*/ 356193 h 734237"/>
                <a:gd name="connsiteX2124" fmla="*/ 46862 w 1472512"/>
                <a:gd name="connsiteY2124" fmla="*/ 353815 h 734237"/>
                <a:gd name="connsiteX2125" fmla="*/ 45355 w 1472512"/>
                <a:gd name="connsiteY2125" fmla="*/ 352945 h 734237"/>
                <a:gd name="connsiteX2126" fmla="*/ 43652 w 1472512"/>
                <a:gd name="connsiteY2126" fmla="*/ 354922 h 734237"/>
                <a:gd name="connsiteX2127" fmla="*/ 43583 w 1472512"/>
                <a:gd name="connsiteY2127" fmla="*/ 354015 h 734237"/>
                <a:gd name="connsiteX2128" fmla="*/ 44433 w 1472512"/>
                <a:gd name="connsiteY2128" fmla="*/ 351716 h 734237"/>
                <a:gd name="connsiteX2129" fmla="*/ 44192 w 1472512"/>
                <a:gd name="connsiteY2129" fmla="*/ 347856 h 734237"/>
                <a:gd name="connsiteX2130" fmla="*/ 46763 w 1472512"/>
                <a:gd name="connsiteY2130" fmla="*/ 350936 h 734237"/>
                <a:gd name="connsiteX2131" fmla="*/ 45964 w 1472512"/>
                <a:gd name="connsiteY2131" fmla="*/ 348767 h 734237"/>
                <a:gd name="connsiteX2132" fmla="*/ 43964 w 1472512"/>
                <a:gd name="connsiteY2132" fmla="*/ 346382 h 734237"/>
                <a:gd name="connsiteX2133" fmla="*/ 42443 w 1472512"/>
                <a:gd name="connsiteY2133" fmla="*/ 345552 h 734237"/>
                <a:gd name="connsiteX2134" fmla="*/ 40531 w 1472512"/>
                <a:gd name="connsiteY2134" fmla="*/ 341274 h 734237"/>
                <a:gd name="connsiteX2135" fmla="*/ 36229 w 1472512"/>
                <a:gd name="connsiteY2135" fmla="*/ 338703 h 734237"/>
                <a:gd name="connsiteX2136" fmla="*/ 32784 w 1472512"/>
                <a:gd name="connsiteY2136" fmla="*/ 334548 h 734237"/>
                <a:gd name="connsiteX2137" fmla="*/ 25735 w 1472512"/>
                <a:gd name="connsiteY2137" fmla="*/ 327652 h 734237"/>
                <a:gd name="connsiteX2138" fmla="*/ 25265 w 1472512"/>
                <a:gd name="connsiteY2138" fmla="*/ 321575 h 734237"/>
                <a:gd name="connsiteX2139" fmla="*/ 22696 w 1472512"/>
                <a:gd name="connsiteY2139" fmla="*/ 313882 h 734237"/>
                <a:gd name="connsiteX2140" fmla="*/ 23779 w 1472512"/>
                <a:gd name="connsiteY2140" fmla="*/ 309497 h 734237"/>
                <a:gd name="connsiteX2141" fmla="*/ 23634 w 1472512"/>
                <a:gd name="connsiteY2141" fmla="*/ 306386 h 734237"/>
                <a:gd name="connsiteX2142" fmla="*/ 22374 w 1472512"/>
                <a:gd name="connsiteY2142" fmla="*/ 301683 h 734237"/>
                <a:gd name="connsiteX2143" fmla="*/ 21058 w 1472512"/>
                <a:gd name="connsiteY2143" fmla="*/ 299120 h 734237"/>
                <a:gd name="connsiteX2144" fmla="*/ 15342 w 1472512"/>
                <a:gd name="connsiteY2144" fmla="*/ 292091 h 734237"/>
                <a:gd name="connsiteX2145" fmla="*/ 9844 w 1472512"/>
                <a:gd name="connsiteY2145" fmla="*/ 287348 h 734237"/>
                <a:gd name="connsiteX2146" fmla="*/ 9015 w 1472512"/>
                <a:gd name="connsiteY2146" fmla="*/ 283755 h 734237"/>
                <a:gd name="connsiteX2147" fmla="*/ 8630 w 1472512"/>
                <a:gd name="connsiteY2147" fmla="*/ 280128 h 734237"/>
                <a:gd name="connsiteX2148" fmla="*/ 9833 w 1472512"/>
                <a:gd name="connsiteY2148" fmla="*/ 276897 h 734237"/>
                <a:gd name="connsiteX2149" fmla="*/ 10873 w 1472512"/>
                <a:gd name="connsiteY2149" fmla="*/ 273495 h 734237"/>
                <a:gd name="connsiteX2150" fmla="*/ 11634 w 1472512"/>
                <a:gd name="connsiteY2150" fmla="*/ 272596 h 734237"/>
                <a:gd name="connsiteX2151" fmla="*/ 11929 w 1472512"/>
                <a:gd name="connsiteY2151" fmla="*/ 272970 h 734237"/>
                <a:gd name="connsiteX2152" fmla="*/ 11718 w 1472512"/>
                <a:gd name="connsiteY2152" fmla="*/ 273696 h 734237"/>
                <a:gd name="connsiteX2153" fmla="*/ 12498 w 1472512"/>
                <a:gd name="connsiteY2153" fmla="*/ 273920 h 734237"/>
                <a:gd name="connsiteX2154" fmla="*/ 12793 w 1472512"/>
                <a:gd name="connsiteY2154" fmla="*/ 272418 h 734237"/>
                <a:gd name="connsiteX2155" fmla="*/ 13258 w 1472512"/>
                <a:gd name="connsiteY2155" fmla="*/ 271643 h 734237"/>
                <a:gd name="connsiteX2156" fmla="*/ 12435 w 1472512"/>
                <a:gd name="connsiteY2156" fmla="*/ 271542 h 734237"/>
                <a:gd name="connsiteX2157" fmla="*/ 12519 w 1472512"/>
                <a:gd name="connsiteY2157" fmla="*/ 271067 h 734237"/>
                <a:gd name="connsiteX2158" fmla="*/ 13011 w 1472512"/>
                <a:gd name="connsiteY2158" fmla="*/ 270118 h 734237"/>
                <a:gd name="connsiteX2159" fmla="*/ 14716 w 1472512"/>
                <a:gd name="connsiteY2159" fmla="*/ 265639 h 734237"/>
                <a:gd name="connsiteX2160" fmla="*/ 14539 w 1472512"/>
                <a:gd name="connsiteY2160" fmla="*/ 259987 h 734237"/>
                <a:gd name="connsiteX2161" fmla="*/ 16363 w 1472512"/>
                <a:gd name="connsiteY2161" fmla="*/ 253043 h 734237"/>
                <a:gd name="connsiteX2162" fmla="*/ 16276 w 1472512"/>
                <a:gd name="connsiteY2162" fmla="*/ 250747 h 734237"/>
                <a:gd name="connsiteX2163" fmla="*/ 15109 w 1472512"/>
                <a:gd name="connsiteY2163" fmla="*/ 245800 h 734237"/>
                <a:gd name="connsiteX2164" fmla="*/ 13947 w 1472512"/>
                <a:gd name="connsiteY2164" fmla="*/ 242830 h 734237"/>
                <a:gd name="connsiteX2165" fmla="*/ 11870 w 1472512"/>
                <a:gd name="connsiteY2165" fmla="*/ 240723 h 734237"/>
                <a:gd name="connsiteX2166" fmla="*/ 12786 w 1472512"/>
                <a:gd name="connsiteY2166" fmla="*/ 237646 h 734237"/>
                <a:gd name="connsiteX2167" fmla="*/ 12712 w 1472512"/>
                <a:gd name="connsiteY2167" fmla="*/ 234706 h 734237"/>
                <a:gd name="connsiteX2168" fmla="*/ 9047 w 1472512"/>
                <a:gd name="connsiteY2168" fmla="*/ 230469 h 734237"/>
                <a:gd name="connsiteX2169" fmla="*/ 7651 w 1472512"/>
                <a:gd name="connsiteY2169" fmla="*/ 224900 h 734237"/>
                <a:gd name="connsiteX2170" fmla="*/ 7383 w 1472512"/>
                <a:gd name="connsiteY2170" fmla="*/ 222544 h 734237"/>
                <a:gd name="connsiteX2171" fmla="*/ 7751 w 1472512"/>
                <a:gd name="connsiteY2171" fmla="*/ 216309 h 734237"/>
                <a:gd name="connsiteX2172" fmla="*/ 6790 w 1472512"/>
                <a:gd name="connsiteY2172" fmla="*/ 213645 h 734237"/>
                <a:gd name="connsiteX2173" fmla="*/ 4345 w 1472512"/>
                <a:gd name="connsiteY2173" fmla="*/ 209244 h 734237"/>
                <a:gd name="connsiteX2174" fmla="*/ 5391 w 1472512"/>
                <a:gd name="connsiteY2174" fmla="*/ 205415 h 734237"/>
                <a:gd name="connsiteX2175" fmla="*/ 6518 w 1472512"/>
                <a:gd name="connsiteY2175" fmla="*/ 203082 h 734237"/>
                <a:gd name="connsiteX2176" fmla="*/ 9269 w 1472512"/>
                <a:gd name="connsiteY2176" fmla="*/ 192884 h 734237"/>
                <a:gd name="connsiteX2177" fmla="*/ 9932 w 1472512"/>
                <a:gd name="connsiteY2177" fmla="*/ 192061 h 734237"/>
                <a:gd name="connsiteX2178" fmla="*/ 11084 w 1472512"/>
                <a:gd name="connsiteY2178" fmla="*/ 192086 h 734237"/>
                <a:gd name="connsiteX2179" fmla="*/ 13088 w 1472512"/>
                <a:gd name="connsiteY2179" fmla="*/ 190349 h 734237"/>
                <a:gd name="connsiteX2180" fmla="*/ 12163 w 1472512"/>
                <a:gd name="connsiteY2180" fmla="*/ 189944 h 734237"/>
                <a:gd name="connsiteX2181" fmla="*/ 10764 w 1472512"/>
                <a:gd name="connsiteY2181" fmla="*/ 190772 h 734237"/>
                <a:gd name="connsiteX2182" fmla="*/ 12008 w 1472512"/>
                <a:gd name="connsiteY2182" fmla="*/ 186724 h 734237"/>
                <a:gd name="connsiteX2183" fmla="*/ 13407 w 1472512"/>
                <a:gd name="connsiteY2183" fmla="*/ 183257 h 734237"/>
                <a:gd name="connsiteX2184" fmla="*/ 14317 w 1472512"/>
                <a:gd name="connsiteY2184" fmla="*/ 182006 h 734237"/>
                <a:gd name="connsiteX2185" fmla="*/ 14778 w 1472512"/>
                <a:gd name="connsiteY2185" fmla="*/ 170659 h 734237"/>
                <a:gd name="connsiteX2186" fmla="*/ 15581 w 1472512"/>
                <a:gd name="connsiteY2186" fmla="*/ 161960 h 734237"/>
                <a:gd name="connsiteX2187" fmla="*/ 16901 w 1472512"/>
                <a:gd name="connsiteY2187" fmla="*/ 159086 h 734237"/>
                <a:gd name="connsiteX2188" fmla="*/ 16442 w 1472512"/>
                <a:gd name="connsiteY2188" fmla="*/ 156120 h 734237"/>
                <a:gd name="connsiteX2189" fmla="*/ 16975 w 1472512"/>
                <a:gd name="connsiteY2189" fmla="*/ 152095 h 734237"/>
                <a:gd name="connsiteX2190" fmla="*/ 16602 w 1472512"/>
                <a:gd name="connsiteY2190" fmla="*/ 148023 h 734237"/>
                <a:gd name="connsiteX2191" fmla="*/ 19422 w 1472512"/>
                <a:gd name="connsiteY2191" fmla="*/ 128358 h 734237"/>
                <a:gd name="connsiteX2192" fmla="*/ 19053 w 1472512"/>
                <a:gd name="connsiteY2192" fmla="*/ 125975 h 734237"/>
                <a:gd name="connsiteX2193" fmla="*/ 19914 w 1472512"/>
                <a:gd name="connsiteY2193" fmla="*/ 122776 h 734237"/>
                <a:gd name="connsiteX2194" fmla="*/ 19100 w 1472512"/>
                <a:gd name="connsiteY2194" fmla="*/ 114327 h 734237"/>
                <a:gd name="connsiteX2195" fmla="*/ 19460 w 1472512"/>
                <a:gd name="connsiteY2195" fmla="*/ 104847 h 734237"/>
                <a:gd name="connsiteX2196" fmla="*/ 18743 w 1472512"/>
                <a:gd name="connsiteY2196" fmla="*/ 103642 h 734237"/>
                <a:gd name="connsiteX2197" fmla="*/ 18384 w 1472512"/>
                <a:gd name="connsiteY2197" fmla="*/ 102331 h 734237"/>
                <a:gd name="connsiteX2198" fmla="*/ 19057 w 1472512"/>
                <a:gd name="connsiteY2198" fmla="*/ 102139 h 734237"/>
                <a:gd name="connsiteX2199" fmla="*/ 20365 w 1472512"/>
                <a:gd name="connsiteY2199" fmla="*/ 103519 h 734237"/>
                <a:gd name="connsiteX2200" fmla="*/ 26436 w 1472512"/>
                <a:gd name="connsiteY2200" fmla="*/ 103504 h 734237"/>
                <a:gd name="connsiteX2201" fmla="*/ 30314 w 1472512"/>
                <a:gd name="connsiteY2201" fmla="*/ 102228 h 734237"/>
                <a:gd name="connsiteX2202" fmla="*/ 31724 w 1472512"/>
                <a:gd name="connsiteY2202" fmla="*/ 102650 h 734237"/>
                <a:gd name="connsiteX2203" fmla="*/ 33359 w 1472512"/>
                <a:gd name="connsiteY2203" fmla="*/ 104388 h 734237"/>
                <a:gd name="connsiteX2204" fmla="*/ 35418 w 1472512"/>
                <a:gd name="connsiteY2204" fmla="*/ 104738 h 734237"/>
                <a:gd name="connsiteX2205" fmla="*/ 37993 w 1472512"/>
                <a:gd name="connsiteY2205" fmla="*/ 104431 h 734237"/>
                <a:gd name="connsiteX2206" fmla="*/ 37209 w 1472512"/>
                <a:gd name="connsiteY2206" fmla="*/ 103995 h 734237"/>
                <a:gd name="connsiteX2207" fmla="*/ 36002 w 1472512"/>
                <a:gd name="connsiteY2207" fmla="*/ 103881 h 734237"/>
                <a:gd name="connsiteX2208" fmla="*/ 33296 w 1472512"/>
                <a:gd name="connsiteY2208" fmla="*/ 102281 h 734237"/>
                <a:gd name="connsiteX2209" fmla="*/ 31763 w 1472512"/>
                <a:gd name="connsiteY2209" fmla="*/ 100679 h 734237"/>
                <a:gd name="connsiteX2210" fmla="*/ 27031 w 1472512"/>
                <a:gd name="connsiteY2210" fmla="*/ 100788 h 734237"/>
                <a:gd name="connsiteX2211" fmla="*/ 26060 w 1472512"/>
                <a:gd name="connsiteY2211" fmla="*/ 99761 h 734237"/>
                <a:gd name="connsiteX2212" fmla="*/ 20771 w 1472512"/>
                <a:gd name="connsiteY2212" fmla="*/ 100787 h 734237"/>
                <a:gd name="connsiteX2213" fmla="*/ 19137 w 1472512"/>
                <a:gd name="connsiteY2213" fmla="*/ 99734 h 734237"/>
                <a:gd name="connsiteX2214" fmla="*/ 16256 w 1472512"/>
                <a:gd name="connsiteY2214" fmla="*/ 100413 h 734237"/>
                <a:gd name="connsiteX2215" fmla="*/ 16960 w 1472512"/>
                <a:gd name="connsiteY2215" fmla="*/ 97426 h 734237"/>
                <a:gd name="connsiteX2216" fmla="*/ 16830 w 1472512"/>
                <a:gd name="connsiteY2216" fmla="*/ 93662 h 734237"/>
                <a:gd name="connsiteX2217" fmla="*/ 16980 w 1472512"/>
                <a:gd name="connsiteY2217" fmla="*/ 89991 h 734237"/>
                <a:gd name="connsiteX2218" fmla="*/ 17692 w 1472512"/>
                <a:gd name="connsiteY2218" fmla="*/ 92673 h 734237"/>
                <a:gd name="connsiteX2219" fmla="*/ 19484 w 1472512"/>
                <a:gd name="connsiteY2219" fmla="*/ 95517 h 734237"/>
                <a:gd name="connsiteX2220" fmla="*/ 20345 w 1472512"/>
                <a:gd name="connsiteY2220" fmla="*/ 92290 h 734237"/>
                <a:gd name="connsiteX2221" fmla="*/ 20938 w 1472512"/>
                <a:gd name="connsiteY2221" fmla="*/ 88229 h 734237"/>
                <a:gd name="connsiteX2222" fmla="*/ 19190 w 1472512"/>
                <a:gd name="connsiteY2222" fmla="*/ 86667 h 734237"/>
                <a:gd name="connsiteX2223" fmla="*/ 16282 w 1472512"/>
                <a:gd name="connsiteY2223" fmla="*/ 85509 h 734237"/>
                <a:gd name="connsiteX2224" fmla="*/ 15240 w 1472512"/>
                <a:gd name="connsiteY2224" fmla="*/ 81720 h 734237"/>
                <a:gd name="connsiteX2225" fmla="*/ 22119 w 1472512"/>
                <a:gd name="connsiteY2225" fmla="*/ 78488 h 734237"/>
                <a:gd name="connsiteX2226" fmla="*/ 18467 w 1472512"/>
                <a:gd name="connsiteY2226" fmla="*/ 77801 h 734237"/>
                <a:gd name="connsiteX2227" fmla="*/ 17035 w 1472512"/>
                <a:gd name="connsiteY2227" fmla="*/ 76347 h 734237"/>
                <a:gd name="connsiteX2228" fmla="*/ 15261 w 1472512"/>
                <a:gd name="connsiteY2228" fmla="*/ 76169 h 734237"/>
                <a:gd name="connsiteX2229" fmla="*/ 15132 w 1472512"/>
                <a:gd name="connsiteY2229" fmla="*/ 77291 h 734237"/>
                <a:gd name="connsiteX2230" fmla="*/ 14559 w 1472512"/>
                <a:gd name="connsiteY2230" fmla="*/ 78761 h 734237"/>
                <a:gd name="connsiteX2231" fmla="*/ 13938 w 1472512"/>
                <a:gd name="connsiteY2231" fmla="*/ 76808 h 734237"/>
                <a:gd name="connsiteX2232" fmla="*/ 13761 w 1472512"/>
                <a:gd name="connsiteY2232" fmla="*/ 74511 h 734237"/>
                <a:gd name="connsiteX2233" fmla="*/ 13038 w 1472512"/>
                <a:gd name="connsiteY2233" fmla="*/ 70579 h 734237"/>
                <a:gd name="connsiteX2234" fmla="*/ 10221 w 1472512"/>
                <a:gd name="connsiteY2234" fmla="*/ 64247 h 734237"/>
                <a:gd name="connsiteX2235" fmla="*/ 8519 w 1472512"/>
                <a:gd name="connsiteY2235" fmla="*/ 56018 h 734237"/>
                <a:gd name="connsiteX2236" fmla="*/ 6374 w 1472512"/>
                <a:gd name="connsiteY2236" fmla="*/ 51944 h 734237"/>
                <a:gd name="connsiteX2237" fmla="*/ 2268 w 1472512"/>
                <a:gd name="connsiteY2237" fmla="*/ 48047 h 734237"/>
                <a:gd name="connsiteX2238" fmla="*/ 1195 w 1472512"/>
                <a:gd name="connsiteY2238" fmla="*/ 45771 h 734237"/>
                <a:gd name="connsiteX2239" fmla="*/ 211 w 1472512"/>
                <a:gd name="connsiteY2239" fmla="*/ 39988 h 734237"/>
                <a:gd name="connsiteX2240" fmla="*/ 764 w 1472512"/>
                <a:gd name="connsiteY2240" fmla="*/ 35608 h 734237"/>
                <a:gd name="connsiteX2241" fmla="*/ 0 w 1472512"/>
                <a:gd name="connsiteY2241" fmla="*/ 32521 h 734237"/>
                <a:gd name="connsiteX2242" fmla="*/ 1973 w 1472512"/>
                <a:gd name="connsiteY2242" fmla="*/ 32695 h 734237"/>
                <a:gd name="connsiteX2243" fmla="*/ 7166 w 1472512"/>
                <a:gd name="connsiteY2243" fmla="*/ 35121 h 734237"/>
                <a:gd name="connsiteX2244" fmla="*/ 13634 w 1472512"/>
                <a:gd name="connsiteY2244" fmla="*/ 37027 h 734237"/>
                <a:gd name="connsiteX2245" fmla="*/ 15591 w 1472512"/>
                <a:gd name="connsiteY2245" fmla="*/ 38411 h 734237"/>
                <a:gd name="connsiteX2246" fmla="*/ 18729 w 1472512"/>
                <a:gd name="connsiteY2246" fmla="*/ 39440 h 734237"/>
                <a:gd name="connsiteX2247" fmla="*/ 36110 w 1472512"/>
                <a:gd name="connsiteY2247" fmla="*/ 41035 h 734237"/>
                <a:gd name="connsiteX2248" fmla="*/ 37246 w 1472512"/>
                <a:gd name="connsiteY2248" fmla="*/ 40882 h 734237"/>
                <a:gd name="connsiteX2249" fmla="*/ 39492 w 1472512"/>
                <a:gd name="connsiteY2249" fmla="*/ 39894 h 734237"/>
                <a:gd name="connsiteX2250" fmla="*/ 40447 w 1472512"/>
                <a:gd name="connsiteY2250" fmla="*/ 40012 h 734237"/>
                <a:gd name="connsiteX2251" fmla="*/ 43003 w 1472512"/>
                <a:gd name="connsiteY2251" fmla="*/ 42272 h 734237"/>
                <a:gd name="connsiteX2252" fmla="*/ 44288 w 1472512"/>
                <a:gd name="connsiteY2252" fmla="*/ 42543 h 734237"/>
                <a:gd name="connsiteX2253" fmla="*/ 45945 w 1472512"/>
                <a:gd name="connsiteY2253" fmla="*/ 42423 h 734237"/>
                <a:gd name="connsiteX2254" fmla="*/ 47170 w 1472512"/>
                <a:gd name="connsiteY2254" fmla="*/ 41996 h 734237"/>
                <a:gd name="connsiteX2255" fmla="*/ 49269 w 1472512"/>
                <a:gd name="connsiteY2255" fmla="*/ 40447 h 734237"/>
                <a:gd name="connsiteX2256" fmla="*/ 49551 w 1472512"/>
                <a:gd name="connsiteY2256" fmla="*/ 41020 h 734237"/>
                <a:gd name="connsiteX2257" fmla="*/ 49511 w 1472512"/>
                <a:gd name="connsiteY2257" fmla="*/ 42455 h 734237"/>
                <a:gd name="connsiteX2258" fmla="*/ 50260 w 1472512"/>
                <a:gd name="connsiteY2258" fmla="*/ 44498 h 734237"/>
                <a:gd name="connsiteX2259" fmla="*/ 51798 w 1472512"/>
                <a:gd name="connsiteY2259" fmla="*/ 47148 h 734237"/>
                <a:gd name="connsiteX2260" fmla="*/ 52380 w 1472512"/>
                <a:gd name="connsiteY2260" fmla="*/ 48795 h 734237"/>
                <a:gd name="connsiteX2261" fmla="*/ 49274 w 1472512"/>
                <a:gd name="connsiteY2261" fmla="*/ 53431 h 734237"/>
                <a:gd name="connsiteX2262" fmla="*/ 48678 w 1472512"/>
                <a:gd name="connsiteY2262" fmla="*/ 53531 h 734237"/>
                <a:gd name="connsiteX2263" fmla="*/ 48586 w 1472512"/>
                <a:gd name="connsiteY2263" fmla="*/ 51962 h 734237"/>
                <a:gd name="connsiteX2264" fmla="*/ 48177 w 1472512"/>
                <a:gd name="connsiteY2264" fmla="*/ 51654 h 734237"/>
                <a:gd name="connsiteX2265" fmla="*/ 42330 w 1472512"/>
                <a:gd name="connsiteY2265" fmla="*/ 59477 h 734237"/>
                <a:gd name="connsiteX2266" fmla="*/ 40278 w 1472512"/>
                <a:gd name="connsiteY2266" fmla="*/ 63173 h 734237"/>
                <a:gd name="connsiteX2267" fmla="*/ 40073 w 1472512"/>
                <a:gd name="connsiteY2267" fmla="*/ 64845 h 734237"/>
                <a:gd name="connsiteX2268" fmla="*/ 40143 w 1472512"/>
                <a:gd name="connsiteY2268" fmla="*/ 65823 h 734237"/>
                <a:gd name="connsiteX2269" fmla="*/ 40963 w 1472512"/>
                <a:gd name="connsiteY2269" fmla="*/ 66064 h 734237"/>
                <a:gd name="connsiteX2270" fmla="*/ 42832 w 1472512"/>
                <a:gd name="connsiteY2270" fmla="*/ 65681 h 734237"/>
                <a:gd name="connsiteX2271" fmla="*/ 45607 w 1472512"/>
                <a:gd name="connsiteY2271" fmla="*/ 64147 h 734237"/>
                <a:gd name="connsiteX2272" fmla="*/ 45740 w 1472512"/>
                <a:gd name="connsiteY2272" fmla="*/ 63814 h 734237"/>
                <a:gd name="connsiteX2273" fmla="*/ 43157 w 1472512"/>
                <a:gd name="connsiteY2273" fmla="*/ 64361 h 734237"/>
                <a:gd name="connsiteX2274" fmla="*/ 41916 w 1472512"/>
                <a:gd name="connsiteY2274" fmla="*/ 64406 h 734237"/>
                <a:gd name="connsiteX2275" fmla="*/ 42086 w 1472512"/>
                <a:gd name="connsiteY2275" fmla="*/ 62659 h 734237"/>
                <a:gd name="connsiteX2276" fmla="*/ 42380 w 1472512"/>
                <a:gd name="connsiteY2276" fmla="*/ 61827 h 734237"/>
                <a:gd name="connsiteX2277" fmla="*/ 44068 w 1472512"/>
                <a:gd name="connsiteY2277" fmla="*/ 59237 h 734237"/>
                <a:gd name="connsiteX2278" fmla="*/ 45843 w 1472512"/>
                <a:gd name="connsiteY2278" fmla="*/ 57681 h 734237"/>
                <a:gd name="connsiteX2279" fmla="*/ 48364 w 1472512"/>
                <a:gd name="connsiteY2279" fmla="*/ 56022 h 734237"/>
                <a:gd name="connsiteX2280" fmla="*/ 49817 w 1472512"/>
                <a:gd name="connsiteY2280" fmla="*/ 54661 h 734237"/>
                <a:gd name="connsiteX2281" fmla="*/ 50818 w 1472512"/>
                <a:gd name="connsiteY2281" fmla="*/ 52663 h 734237"/>
                <a:gd name="connsiteX2282" fmla="*/ 53617 w 1472512"/>
                <a:gd name="connsiteY2282" fmla="*/ 50278 h 734237"/>
                <a:gd name="connsiteX2283" fmla="*/ 54134 w 1472512"/>
                <a:gd name="connsiteY2283" fmla="*/ 49614 h 734237"/>
                <a:gd name="connsiteX2284" fmla="*/ 54011 w 1472512"/>
                <a:gd name="connsiteY2284" fmla="*/ 47649 h 734237"/>
                <a:gd name="connsiteX2285" fmla="*/ 54189 w 1472512"/>
                <a:gd name="connsiteY2285" fmla="*/ 47275 h 734237"/>
                <a:gd name="connsiteX2286" fmla="*/ 55538 w 1472512"/>
                <a:gd name="connsiteY2286" fmla="*/ 47540 h 734237"/>
                <a:gd name="connsiteX2287" fmla="*/ 56101 w 1472512"/>
                <a:gd name="connsiteY2287" fmla="*/ 50921 h 734237"/>
                <a:gd name="connsiteX2288" fmla="*/ 55765 w 1472512"/>
                <a:gd name="connsiteY2288" fmla="*/ 52428 h 734237"/>
                <a:gd name="connsiteX2289" fmla="*/ 53355 w 1472512"/>
                <a:gd name="connsiteY2289" fmla="*/ 54263 h 734237"/>
                <a:gd name="connsiteX2290" fmla="*/ 53055 w 1472512"/>
                <a:gd name="connsiteY2290" fmla="*/ 54911 h 734237"/>
                <a:gd name="connsiteX2291" fmla="*/ 53477 w 1472512"/>
                <a:gd name="connsiteY2291" fmla="*/ 57415 h 734237"/>
                <a:gd name="connsiteX2292" fmla="*/ 53104 w 1472512"/>
                <a:gd name="connsiteY2292" fmla="*/ 57656 h 734237"/>
                <a:gd name="connsiteX2293" fmla="*/ 52184 w 1472512"/>
                <a:gd name="connsiteY2293" fmla="*/ 57361 h 734237"/>
                <a:gd name="connsiteX2294" fmla="*/ 51899 w 1472512"/>
                <a:gd name="connsiteY2294" fmla="*/ 57520 h 734237"/>
                <a:gd name="connsiteX2295" fmla="*/ 54185 w 1472512"/>
                <a:gd name="connsiteY2295" fmla="*/ 60239 h 734237"/>
                <a:gd name="connsiteX2296" fmla="*/ 54912 w 1472512"/>
                <a:gd name="connsiteY2296" fmla="*/ 62351 h 734237"/>
                <a:gd name="connsiteX2297" fmla="*/ 55009 w 1472512"/>
                <a:gd name="connsiteY2297" fmla="*/ 64235 h 734237"/>
                <a:gd name="connsiteX2298" fmla="*/ 54388 w 1472512"/>
                <a:gd name="connsiteY2298" fmla="*/ 67849 h 734237"/>
                <a:gd name="connsiteX2299" fmla="*/ 53725 w 1472512"/>
                <a:gd name="connsiteY2299" fmla="*/ 68447 h 734237"/>
                <a:gd name="connsiteX2300" fmla="*/ 52585 w 1472512"/>
                <a:gd name="connsiteY2300" fmla="*/ 68227 h 734237"/>
                <a:gd name="connsiteX2301" fmla="*/ 51077 w 1472512"/>
                <a:gd name="connsiteY2301" fmla="*/ 67097 h 734237"/>
                <a:gd name="connsiteX2302" fmla="*/ 50741 w 1472512"/>
                <a:gd name="connsiteY2302" fmla="*/ 67461 h 734237"/>
                <a:gd name="connsiteX2303" fmla="*/ 49544 w 1472512"/>
                <a:gd name="connsiteY2303" fmla="*/ 70263 h 734237"/>
                <a:gd name="connsiteX2304" fmla="*/ 49149 w 1472512"/>
                <a:gd name="connsiteY2304" fmla="*/ 70018 h 734237"/>
                <a:gd name="connsiteX2305" fmla="*/ 48402 w 1472512"/>
                <a:gd name="connsiteY2305" fmla="*/ 66692 h 734237"/>
                <a:gd name="connsiteX2306" fmla="*/ 47996 w 1472512"/>
                <a:gd name="connsiteY2306" fmla="*/ 66445 h 734237"/>
                <a:gd name="connsiteX2307" fmla="*/ 45674 w 1472512"/>
                <a:gd name="connsiteY2307" fmla="*/ 67961 h 734237"/>
                <a:gd name="connsiteX2308" fmla="*/ 44738 w 1472512"/>
                <a:gd name="connsiteY2308" fmla="*/ 69416 h 734237"/>
                <a:gd name="connsiteX2309" fmla="*/ 43936 w 1472512"/>
                <a:gd name="connsiteY2309" fmla="*/ 71741 h 734237"/>
                <a:gd name="connsiteX2310" fmla="*/ 42916 w 1472512"/>
                <a:gd name="connsiteY2310" fmla="*/ 72827 h 734237"/>
                <a:gd name="connsiteX2311" fmla="*/ 45811 w 1472512"/>
                <a:gd name="connsiteY2311" fmla="*/ 73065 h 734237"/>
                <a:gd name="connsiteX2312" fmla="*/ 48418 w 1472512"/>
                <a:gd name="connsiteY2312" fmla="*/ 72597 h 734237"/>
                <a:gd name="connsiteX2313" fmla="*/ 50511 w 1472512"/>
                <a:gd name="connsiteY2313" fmla="*/ 73700 h 734237"/>
                <a:gd name="connsiteX2314" fmla="*/ 51224 w 1472512"/>
                <a:gd name="connsiteY2314" fmla="*/ 73730 h 734237"/>
                <a:gd name="connsiteX2315" fmla="*/ 53135 w 1472512"/>
                <a:gd name="connsiteY2315" fmla="*/ 72654 h 734237"/>
                <a:gd name="connsiteX2316" fmla="*/ 53719 w 1472512"/>
                <a:gd name="connsiteY2316" fmla="*/ 71921 h 734237"/>
                <a:gd name="connsiteX2317" fmla="*/ 55300 w 1472512"/>
                <a:gd name="connsiteY2317" fmla="*/ 68416 h 734237"/>
                <a:gd name="connsiteX2318" fmla="*/ 56093 w 1472512"/>
                <a:gd name="connsiteY2318" fmla="*/ 67787 h 734237"/>
                <a:gd name="connsiteX2319" fmla="*/ 57273 w 1472512"/>
                <a:gd name="connsiteY2319" fmla="*/ 67763 h 734237"/>
                <a:gd name="connsiteX2320" fmla="*/ 58414 w 1472512"/>
                <a:gd name="connsiteY2320" fmla="*/ 67236 h 734237"/>
                <a:gd name="connsiteX2321" fmla="*/ 60105 w 1472512"/>
                <a:gd name="connsiteY2321" fmla="*/ 65313 h 734237"/>
                <a:gd name="connsiteX2322" fmla="*/ 60174 w 1472512"/>
                <a:gd name="connsiteY2322" fmla="*/ 64550 h 734237"/>
                <a:gd name="connsiteX2323" fmla="*/ 59559 w 1472512"/>
                <a:gd name="connsiteY2323" fmla="*/ 60241 h 734237"/>
                <a:gd name="connsiteX2324" fmla="*/ 59734 w 1472512"/>
                <a:gd name="connsiteY2324" fmla="*/ 57794 h 734237"/>
                <a:gd name="connsiteX2325" fmla="*/ 59418 w 1472512"/>
                <a:gd name="connsiteY2325" fmla="*/ 57019 h 734237"/>
                <a:gd name="connsiteX2326" fmla="*/ 58658 w 1472512"/>
                <a:gd name="connsiteY2326" fmla="*/ 56213 h 734237"/>
                <a:gd name="connsiteX2327" fmla="*/ 58754 w 1472512"/>
                <a:gd name="connsiteY2327" fmla="*/ 55432 h 734237"/>
                <a:gd name="connsiteX2328" fmla="*/ 59343 w 1472512"/>
                <a:gd name="connsiteY2328" fmla="*/ 54144 h 734237"/>
                <a:gd name="connsiteX2329" fmla="*/ 59387 w 1472512"/>
                <a:gd name="connsiteY2329" fmla="*/ 52979 h 734237"/>
                <a:gd name="connsiteX2330" fmla="*/ 58882 w 1472512"/>
                <a:gd name="connsiteY2330" fmla="*/ 51943 h 734237"/>
                <a:gd name="connsiteX2331" fmla="*/ 59110 w 1472512"/>
                <a:gd name="connsiteY2331" fmla="*/ 50764 h 734237"/>
                <a:gd name="connsiteX2332" fmla="*/ 60704 w 1472512"/>
                <a:gd name="connsiteY2332" fmla="*/ 48226 h 734237"/>
                <a:gd name="connsiteX2333" fmla="*/ 61007 w 1472512"/>
                <a:gd name="connsiteY2333" fmla="*/ 47107 h 734237"/>
                <a:gd name="connsiteX2334" fmla="*/ 62958 w 1472512"/>
                <a:gd name="connsiteY2334" fmla="*/ 44578 h 734237"/>
                <a:gd name="connsiteX2335" fmla="*/ 62465 w 1472512"/>
                <a:gd name="connsiteY2335" fmla="*/ 43560 h 734237"/>
                <a:gd name="connsiteX2336" fmla="*/ 61031 w 1472512"/>
                <a:gd name="connsiteY2336" fmla="*/ 42318 h 734237"/>
                <a:gd name="connsiteX2337" fmla="*/ 60126 w 1472512"/>
                <a:gd name="connsiteY2337" fmla="*/ 41222 h 734237"/>
                <a:gd name="connsiteX2338" fmla="*/ 59216 w 1472512"/>
                <a:gd name="connsiteY2338" fmla="*/ 39509 h 734237"/>
                <a:gd name="connsiteX2339" fmla="*/ 58523 w 1472512"/>
                <a:gd name="connsiteY2339" fmla="*/ 38935 h 734237"/>
                <a:gd name="connsiteX2340" fmla="*/ 58296 w 1472512"/>
                <a:gd name="connsiteY2340" fmla="*/ 39196 h 734237"/>
                <a:gd name="connsiteX2341" fmla="*/ 59269 w 1472512"/>
                <a:gd name="connsiteY2341" fmla="*/ 41999 h 734237"/>
                <a:gd name="connsiteX2342" fmla="*/ 59060 w 1472512"/>
                <a:gd name="connsiteY2342" fmla="*/ 42188 h 734237"/>
                <a:gd name="connsiteX2343" fmla="*/ 56527 w 1472512"/>
                <a:gd name="connsiteY2343" fmla="*/ 40678 h 734237"/>
                <a:gd name="connsiteX2344" fmla="*/ 55943 w 1472512"/>
                <a:gd name="connsiteY2344" fmla="*/ 39726 h 734237"/>
                <a:gd name="connsiteX2345" fmla="*/ 55632 w 1472512"/>
                <a:gd name="connsiteY2345" fmla="*/ 38433 h 734237"/>
                <a:gd name="connsiteX2346" fmla="*/ 55857 w 1472512"/>
                <a:gd name="connsiteY2346" fmla="*/ 37462 h 734237"/>
                <a:gd name="connsiteX2347" fmla="*/ 57217 w 1472512"/>
                <a:gd name="connsiteY2347" fmla="*/ 36502 h 734237"/>
                <a:gd name="connsiteX2348" fmla="*/ 58840 w 1472512"/>
                <a:gd name="connsiteY2348" fmla="*/ 36154 h 734237"/>
                <a:gd name="connsiteX2349" fmla="*/ 58710 w 1472512"/>
                <a:gd name="connsiteY2349" fmla="*/ 35346 h 734237"/>
                <a:gd name="connsiteX2350" fmla="*/ 56670 w 1472512"/>
                <a:gd name="connsiteY2350" fmla="*/ 32719 h 734237"/>
                <a:gd name="connsiteX2351" fmla="*/ 55313 w 1472512"/>
                <a:gd name="connsiteY2351" fmla="*/ 31522 h 734237"/>
                <a:gd name="connsiteX2352" fmla="*/ 54270 w 1472512"/>
                <a:gd name="connsiteY2352" fmla="*/ 30941 h 734237"/>
                <a:gd name="connsiteX2353" fmla="*/ 52861 w 1472512"/>
                <a:gd name="connsiteY2353" fmla="*/ 30790 h 734237"/>
                <a:gd name="connsiteX2354" fmla="*/ 52230 w 1472512"/>
                <a:gd name="connsiteY2354" fmla="*/ 30362 h 734237"/>
                <a:gd name="connsiteX2355" fmla="*/ 52065 w 1472512"/>
                <a:gd name="connsiteY2355" fmla="*/ 29746 h 734237"/>
                <a:gd name="connsiteX2356" fmla="*/ 52364 w 1472512"/>
                <a:gd name="connsiteY2356" fmla="*/ 28935 h 734237"/>
                <a:gd name="connsiteX2357" fmla="*/ 53112 w 1472512"/>
                <a:gd name="connsiteY2357" fmla="*/ 28677 h 734237"/>
                <a:gd name="connsiteX2358" fmla="*/ 55287 w 1472512"/>
                <a:gd name="connsiteY2358" fmla="*/ 29001 h 734237"/>
                <a:gd name="connsiteX2359" fmla="*/ 56458 w 1472512"/>
                <a:gd name="connsiteY2359" fmla="*/ 28426 h 734237"/>
                <a:gd name="connsiteX2360" fmla="*/ 56347 w 1472512"/>
                <a:gd name="connsiteY2360" fmla="*/ 27380 h 734237"/>
                <a:gd name="connsiteX2361" fmla="*/ 55998 w 1472512"/>
                <a:gd name="connsiteY2361" fmla="*/ 26801 h 734237"/>
                <a:gd name="connsiteX2362" fmla="*/ 56051 w 1472512"/>
                <a:gd name="connsiteY2362" fmla="*/ 23057 h 734237"/>
                <a:gd name="connsiteX2363" fmla="*/ 55226 w 1472512"/>
                <a:gd name="connsiteY2363" fmla="*/ 20009 h 734237"/>
                <a:gd name="connsiteX2364" fmla="*/ 54794 w 1472512"/>
                <a:gd name="connsiteY2364" fmla="*/ 19494 h 734237"/>
                <a:gd name="connsiteX2365" fmla="*/ 54331 w 1472512"/>
                <a:gd name="connsiteY2365" fmla="*/ 19442 h 734237"/>
                <a:gd name="connsiteX2366" fmla="*/ 53839 w 1472512"/>
                <a:gd name="connsiteY2366" fmla="*/ 19853 h 734237"/>
                <a:gd name="connsiteX2367" fmla="*/ 52472 w 1472512"/>
                <a:gd name="connsiteY2367" fmla="*/ 19958 h 734237"/>
                <a:gd name="connsiteX2368" fmla="*/ 51633 w 1472512"/>
                <a:gd name="connsiteY2368" fmla="*/ 18958 h 734237"/>
                <a:gd name="connsiteX2369" fmla="*/ 50700 w 1472512"/>
                <a:gd name="connsiteY2369" fmla="*/ 17030 h 734237"/>
                <a:gd name="connsiteX2370" fmla="*/ 49009 w 1472512"/>
                <a:gd name="connsiteY2370" fmla="*/ 12425 h 734237"/>
                <a:gd name="connsiteX2371" fmla="*/ 51621 w 1472512"/>
                <a:gd name="connsiteY2371" fmla="*/ 12425 h 734237"/>
                <a:gd name="connsiteX2372" fmla="*/ 62497 w 1472512"/>
                <a:gd name="connsiteY2372" fmla="*/ 12425 h 734237"/>
                <a:gd name="connsiteX2373" fmla="*/ 73376 w 1472512"/>
                <a:gd name="connsiteY2373" fmla="*/ 12425 h 734237"/>
                <a:gd name="connsiteX2374" fmla="*/ 84252 w 1472512"/>
                <a:gd name="connsiteY2374" fmla="*/ 12425 h 734237"/>
                <a:gd name="connsiteX2375" fmla="*/ 95129 w 1472512"/>
                <a:gd name="connsiteY2375" fmla="*/ 12425 h 734237"/>
                <a:gd name="connsiteX2376" fmla="*/ 106006 w 1472512"/>
                <a:gd name="connsiteY2376" fmla="*/ 12425 h 734237"/>
                <a:gd name="connsiteX2377" fmla="*/ 116884 w 1472512"/>
                <a:gd name="connsiteY2377" fmla="*/ 12425 h 734237"/>
                <a:gd name="connsiteX2378" fmla="*/ 127760 w 1472512"/>
                <a:gd name="connsiteY2378" fmla="*/ 12425 h 734237"/>
                <a:gd name="connsiteX2379" fmla="*/ 138636 w 1472512"/>
                <a:gd name="connsiteY2379" fmla="*/ 12424 h 734237"/>
                <a:gd name="connsiteX2380" fmla="*/ 149514 w 1472512"/>
                <a:gd name="connsiteY2380" fmla="*/ 12424 h 734237"/>
                <a:gd name="connsiteX2381" fmla="*/ 160391 w 1472512"/>
                <a:gd name="connsiteY2381" fmla="*/ 12424 h 734237"/>
                <a:gd name="connsiteX2382" fmla="*/ 171267 w 1472512"/>
                <a:gd name="connsiteY2382" fmla="*/ 12424 h 734237"/>
                <a:gd name="connsiteX2383" fmla="*/ 182146 w 1472512"/>
                <a:gd name="connsiteY2383" fmla="*/ 12424 h 734237"/>
                <a:gd name="connsiteX2384" fmla="*/ 193022 w 1472512"/>
                <a:gd name="connsiteY2384" fmla="*/ 12424 h 734237"/>
                <a:gd name="connsiteX2385" fmla="*/ 203899 w 1472512"/>
                <a:gd name="connsiteY2385" fmla="*/ 12424 h 734237"/>
                <a:gd name="connsiteX2386" fmla="*/ 214777 w 1472512"/>
                <a:gd name="connsiteY2386" fmla="*/ 12424 h 734237"/>
                <a:gd name="connsiteX2387" fmla="*/ 225654 w 1472512"/>
                <a:gd name="connsiteY2387" fmla="*/ 12424 h 734237"/>
                <a:gd name="connsiteX2388" fmla="*/ 236530 w 1472512"/>
                <a:gd name="connsiteY2388" fmla="*/ 12424 h 734237"/>
                <a:gd name="connsiteX2389" fmla="*/ 247408 w 1472512"/>
                <a:gd name="connsiteY2389" fmla="*/ 12424 h 734237"/>
                <a:gd name="connsiteX2390" fmla="*/ 258285 w 1472512"/>
                <a:gd name="connsiteY2390" fmla="*/ 12424 h 734237"/>
                <a:gd name="connsiteX2391" fmla="*/ 269161 w 1472512"/>
                <a:gd name="connsiteY2391" fmla="*/ 12424 h 734237"/>
                <a:gd name="connsiteX2392" fmla="*/ 280037 w 1472512"/>
                <a:gd name="connsiteY2392" fmla="*/ 12424 h 734237"/>
                <a:gd name="connsiteX2393" fmla="*/ 290916 w 1472512"/>
                <a:gd name="connsiteY2393" fmla="*/ 12424 h 734237"/>
                <a:gd name="connsiteX2394" fmla="*/ 301792 w 1472512"/>
                <a:gd name="connsiteY2394" fmla="*/ 12424 h 734237"/>
                <a:gd name="connsiteX2395" fmla="*/ 312669 w 1472512"/>
                <a:gd name="connsiteY2395" fmla="*/ 12424 h 734237"/>
                <a:gd name="connsiteX2396" fmla="*/ 323547 w 1472512"/>
                <a:gd name="connsiteY2396" fmla="*/ 12424 h 734237"/>
                <a:gd name="connsiteX2397" fmla="*/ 334424 w 1472512"/>
                <a:gd name="connsiteY2397" fmla="*/ 12424 h 734237"/>
                <a:gd name="connsiteX2398" fmla="*/ 345300 w 1472512"/>
                <a:gd name="connsiteY2398" fmla="*/ 12424 h 734237"/>
                <a:gd name="connsiteX2399" fmla="*/ 356179 w 1472512"/>
                <a:gd name="connsiteY2399" fmla="*/ 12424 h 734237"/>
                <a:gd name="connsiteX2400" fmla="*/ 367054 w 1472512"/>
                <a:gd name="connsiteY2400" fmla="*/ 12424 h 734237"/>
                <a:gd name="connsiteX2401" fmla="*/ 377931 w 1472512"/>
                <a:gd name="connsiteY2401" fmla="*/ 12424 h 734237"/>
                <a:gd name="connsiteX2402" fmla="*/ 388807 w 1472512"/>
                <a:gd name="connsiteY2402" fmla="*/ 12424 h 734237"/>
                <a:gd name="connsiteX2403" fmla="*/ 399686 w 1472512"/>
                <a:gd name="connsiteY2403" fmla="*/ 12422 h 734237"/>
                <a:gd name="connsiteX2404" fmla="*/ 410562 w 1472512"/>
                <a:gd name="connsiteY2404" fmla="*/ 12422 h 734237"/>
                <a:gd name="connsiteX2405" fmla="*/ 421439 w 1472512"/>
                <a:gd name="connsiteY2405" fmla="*/ 12422 h 734237"/>
                <a:gd name="connsiteX2406" fmla="*/ 432317 w 1472512"/>
                <a:gd name="connsiteY2406" fmla="*/ 12422 h 734237"/>
                <a:gd name="connsiteX2407" fmla="*/ 443194 w 1472512"/>
                <a:gd name="connsiteY2407" fmla="*/ 12422 h 734237"/>
                <a:gd name="connsiteX2408" fmla="*/ 454070 w 1472512"/>
                <a:gd name="connsiteY2408" fmla="*/ 12422 h 734237"/>
                <a:gd name="connsiteX2409" fmla="*/ 464949 w 1472512"/>
                <a:gd name="connsiteY2409" fmla="*/ 12422 h 734237"/>
                <a:gd name="connsiteX2410" fmla="*/ 475824 w 1472512"/>
                <a:gd name="connsiteY2410" fmla="*/ 12422 h 734237"/>
                <a:gd name="connsiteX2411" fmla="*/ 486701 w 1472512"/>
                <a:gd name="connsiteY2411" fmla="*/ 12422 h 734237"/>
                <a:gd name="connsiteX2412" fmla="*/ 497579 w 1472512"/>
                <a:gd name="connsiteY2412" fmla="*/ 12422 h 734237"/>
                <a:gd name="connsiteX2413" fmla="*/ 508456 w 1472512"/>
                <a:gd name="connsiteY2413" fmla="*/ 12422 h 734237"/>
                <a:gd name="connsiteX2414" fmla="*/ 519332 w 1472512"/>
                <a:gd name="connsiteY2414" fmla="*/ 12422 h 734237"/>
                <a:gd name="connsiteX2415" fmla="*/ 530209 w 1472512"/>
                <a:gd name="connsiteY2415" fmla="*/ 12422 h 734237"/>
                <a:gd name="connsiteX2416" fmla="*/ 541087 w 1472512"/>
                <a:gd name="connsiteY2416" fmla="*/ 12422 h 734237"/>
                <a:gd name="connsiteX2417" fmla="*/ 551964 w 1472512"/>
                <a:gd name="connsiteY2417" fmla="*/ 12422 h 734237"/>
                <a:gd name="connsiteX2418" fmla="*/ 562840 w 1472512"/>
                <a:gd name="connsiteY2418" fmla="*/ 12422 h 734237"/>
                <a:gd name="connsiteX2419" fmla="*/ 573719 w 1472512"/>
                <a:gd name="connsiteY2419" fmla="*/ 12422 h 734237"/>
                <a:gd name="connsiteX2420" fmla="*/ 584594 w 1472512"/>
                <a:gd name="connsiteY2420" fmla="*/ 12422 h 734237"/>
                <a:gd name="connsiteX2421" fmla="*/ 595471 w 1472512"/>
                <a:gd name="connsiteY2421" fmla="*/ 12422 h 734237"/>
                <a:gd name="connsiteX2422" fmla="*/ 606348 w 1472512"/>
                <a:gd name="connsiteY2422" fmla="*/ 12422 h 734237"/>
                <a:gd name="connsiteX2423" fmla="*/ 617226 w 1472512"/>
                <a:gd name="connsiteY2423" fmla="*/ 12422 h 734237"/>
                <a:gd name="connsiteX2424" fmla="*/ 628102 w 1472512"/>
                <a:gd name="connsiteY2424" fmla="*/ 12422 h 734237"/>
                <a:gd name="connsiteX2425" fmla="*/ 638980 w 1472512"/>
                <a:gd name="connsiteY2425" fmla="*/ 12422 h 734237"/>
                <a:gd name="connsiteX2426" fmla="*/ 649857 w 1472512"/>
                <a:gd name="connsiteY2426" fmla="*/ 12422 h 734237"/>
                <a:gd name="connsiteX2427" fmla="*/ 660734 w 1472512"/>
                <a:gd name="connsiteY2427" fmla="*/ 12421 h 734237"/>
                <a:gd name="connsiteX2428" fmla="*/ 671610 w 1472512"/>
                <a:gd name="connsiteY2428" fmla="*/ 12421 h 734237"/>
                <a:gd name="connsiteX2429" fmla="*/ 682489 w 1472512"/>
                <a:gd name="connsiteY2429" fmla="*/ 12421 h 734237"/>
                <a:gd name="connsiteX2430" fmla="*/ 693365 w 1472512"/>
                <a:gd name="connsiteY2430" fmla="*/ 12421 h 734237"/>
                <a:gd name="connsiteX2431" fmla="*/ 704241 w 1472512"/>
                <a:gd name="connsiteY2431" fmla="*/ 12421 h 734237"/>
                <a:gd name="connsiteX2432" fmla="*/ 715120 w 1472512"/>
                <a:gd name="connsiteY2432" fmla="*/ 12421 h 734237"/>
                <a:gd name="connsiteX2433" fmla="*/ 725996 w 1472512"/>
                <a:gd name="connsiteY2433" fmla="*/ 12421 h 734237"/>
                <a:gd name="connsiteX2434" fmla="*/ 736872 w 1472512"/>
                <a:gd name="connsiteY2434" fmla="*/ 12421 h 734237"/>
                <a:gd name="connsiteX2435" fmla="*/ 747750 w 1472512"/>
                <a:gd name="connsiteY2435" fmla="*/ 12421 h 734237"/>
                <a:gd name="connsiteX2436" fmla="*/ 753767 w 1472512"/>
                <a:gd name="connsiteY2436" fmla="*/ 12467 h 734237"/>
                <a:gd name="connsiteX2437" fmla="*/ 753864 w 1472512"/>
                <a:gd name="connsiteY2437" fmla="*/ 5502 h 734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  <a:cxn ang="0">
                  <a:pos x="connsiteX2223" y="connsiteY2223"/>
                </a:cxn>
                <a:cxn ang="0">
                  <a:pos x="connsiteX2224" y="connsiteY2224"/>
                </a:cxn>
                <a:cxn ang="0">
                  <a:pos x="connsiteX2225" y="connsiteY2225"/>
                </a:cxn>
                <a:cxn ang="0">
                  <a:pos x="connsiteX2226" y="connsiteY2226"/>
                </a:cxn>
                <a:cxn ang="0">
                  <a:pos x="connsiteX2227" y="connsiteY2227"/>
                </a:cxn>
                <a:cxn ang="0">
                  <a:pos x="connsiteX2228" y="connsiteY2228"/>
                </a:cxn>
                <a:cxn ang="0">
                  <a:pos x="connsiteX2229" y="connsiteY2229"/>
                </a:cxn>
                <a:cxn ang="0">
                  <a:pos x="connsiteX2230" y="connsiteY2230"/>
                </a:cxn>
                <a:cxn ang="0">
                  <a:pos x="connsiteX2231" y="connsiteY2231"/>
                </a:cxn>
                <a:cxn ang="0">
                  <a:pos x="connsiteX2232" y="connsiteY2232"/>
                </a:cxn>
                <a:cxn ang="0">
                  <a:pos x="connsiteX2233" y="connsiteY2233"/>
                </a:cxn>
                <a:cxn ang="0">
                  <a:pos x="connsiteX2234" y="connsiteY2234"/>
                </a:cxn>
                <a:cxn ang="0">
                  <a:pos x="connsiteX2235" y="connsiteY2235"/>
                </a:cxn>
                <a:cxn ang="0">
                  <a:pos x="connsiteX2236" y="connsiteY2236"/>
                </a:cxn>
                <a:cxn ang="0">
                  <a:pos x="connsiteX2237" y="connsiteY2237"/>
                </a:cxn>
                <a:cxn ang="0">
                  <a:pos x="connsiteX2238" y="connsiteY2238"/>
                </a:cxn>
                <a:cxn ang="0">
                  <a:pos x="connsiteX2239" y="connsiteY2239"/>
                </a:cxn>
                <a:cxn ang="0">
                  <a:pos x="connsiteX2240" y="connsiteY2240"/>
                </a:cxn>
                <a:cxn ang="0">
                  <a:pos x="connsiteX2241" y="connsiteY2241"/>
                </a:cxn>
                <a:cxn ang="0">
                  <a:pos x="connsiteX2242" y="connsiteY2242"/>
                </a:cxn>
                <a:cxn ang="0">
                  <a:pos x="connsiteX2243" y="connsiteY2243"/>
                </a:cxn>
                <a:cxn ang="0">
                  <a:pos x="connsiteX2244" y="connsiteY2244"/>
                </a:cxn>
                <a:cxn ang="0">
                  <a:pos x="connsiteX2245" y="connsiteY2245"/>
                </a:cxn>
                <a:cxn ang="0">
                  <a:pos x="connsiteX2246" y="connsiteY2246"/>
                </a:cxn>
                <a:cxn ang="0">
                  <a:pos x="connsiteX2247" y="connsiteY2247"/>
                </a:cxn>
                <a:cxn ang="0">
                  <a:pos x="connsiteX2248" y="connsiteY2248"/>
                </a:cxn>
                <a:cxn ang="0">
                  <a:pos x="connsiteX2249" y="connsiteY2249"/>
                </a:cxn>
                <a:cxn ang="0">
                  <a:pos x="connsiteX2250" y="connsiteY2250"/>
                </a:cxn>
                <a:cxn ang="0">
                  <a:pos x="connsiteX2251" y="connsiteY2251"/>
                </a:cxn>
                <a:cxn ang="0">
                  <a:pos x="connsiteX2252" y="connsiteY2252"/>
                </a:cxn>
                <a:cxn ang="0">
                  <a:pos x="connsiteX2253" y="connsiteY2253"/>
                </a:cxn>
                <a:cxn ang="0">
                  <a:pos x="connsiteX2254" y="connsiteY2254"/>
                </a:cxn>
                <a:cxn ang="0">
                  <a:pos x="connsiteX2255" y="connsiteY2255"/>
                </a:cxn>
                <a:cxn ang="0">
                  <a:pos x="connsiteX2256" y="connsiteY2256"/>
                </a:cxn>
                <a:cxn ang="0">
                  <a:pos x="connsiteX2257" y="connsiteY2257"/>
                </a:cxn>
                <a:cxn ang="0">
                  <a:pos x="connsiteX2258" y="connsiteY2258"/>
                </a:cxn>
                <a:cxn ang="0">
                  <a:pos x="connsiteX2259" y="connsiteY2259"/>
                </a:cxn>
                <a:cxn ang="0">
                  <a:pos x="connsiteX2260" y="connsiteY2260"/>
                </a:cxn>
                <a:cxn ang="0">
                  <a:pos x="connsiteX2261" y="connsiteY2261"/>
                </a:cxn>
                <a:cxn ang="0">
                  <a:pos x="connsiteX2262" y="connsiteY2262"/>
                </a:cxn>
                <a:cxn ang="0">
                  <a:pos x="connsiteX2263" y="connsiteY2263"/>
                </a:cxn>
                <a:cxn ang="0">
                  <a:pos x="connsiteX2264" y="connsiteY2264"/>
                </a:cxn>
                <a:cxn ang="0">
                  <a:pos x="connsiteX2265" y="connsiteY2265"/>
                </a:cxn>
                <a:cxn ang="0">
                  <a:pos x="connsiteX2266" y="connsiteY2266"/>
                </a:cxn>
                <a:cxn ang="0">
                  <a:pos x="connsiteX2267" y="connsiteY2267"/>
                </a:cxn>
                <a:cxn ang="0">
                  <a:pos x="connsiteX2268" y="connsiteY2268"/>
                </a:cxn>
                <a:cxn ang="0">
                  <a:pos x="connsiteX2269" y="connsiteY2269"/>
                </a:cxn>
                <a:cxn ang="0">
                  <a:pos x="connsiteX2270" y="connsiteY2270"/>
                </a:cxn>
                <a:cxn ang="0">
                  <a:pos x="connsiteX2271" y="connsiteY2271"/>
                </a:cxn>
                <a:cxn ang="0">
                  <a:pos x="connsiteX2272" y="connsiteY2272"/>
                </a:cxn>
                <a:cxn ang="0">
                  <a:pos x="connsiteX2273" y="connsiteY2273"/>
                </a:cxn>
                <a:cxn ang="0">
                  <a:pos x="connsiteX2274" y="connsiteY2274"/>
                </a:cxn>
                <a:cxn ang="0">
                  <a:pos x="connsiteX2275" y="connsiteY2275"/>
                </a:cxn>
                <a:cxn ang="0">
                  <a:pos x="connsiteX2276" y="connsiteY2276"/>
                </a:cxn>
                <a:cxn ang="0">
                  <a:pos x="connsiteX2277" y="connsiteY2277"/>
                </a:cxn>
                <a:cxn ang="0">
                  <a:pos x="connsiteX2278" y="connsiteY2278"/>
                </a:cxn>
                <a:cxn ang="0">
                  <a:pos x="connsiteX2279" y="connsiteY2279"/>
                </a:cxn>
                <a:cxn ang="0">
                  <a:pos x="connsiteX2280" y="connsiteY2280"/>
                </a:cxn>
                <a:cxn ang="0">
                  <a:pos x="connsiteX2281" y="connsiteY2281"/>
                </a:cxn>
                <a:cxn ang="0">
                  <a:pos x="connsiteX2282" y="connsiteY2282"/>
                </a:cxn>
                <a:cxn ang="0">
                  <a:pos x="connsiteX2283" y="connsiteY2283"/>
                </a:cxn>
                <a:cxn ang="0">
                  <a:pos x="connsiteX2284" y="connsiteY2284"/>
                </a:cxn>
                <a:cxn ang="0">
                  <a:pos x="connsiteX2285" y="connsiteY2285"/>
                </a:cxn>
                <a:cxn ang="0">
                  <a:pos x="connsiteX2286" y="connsiteY2286"/>
                </a:cxn>
                <a:cxn ang="0">
                  <a:pos x="connsiteX2287" y="connsiteY2287"/>
                </a:cxn>
                <a:cxn ang="0">
                  <a:pos x="connsiteX2288" y="connsiteY2288"/>
                </a:cxn>
                <a:cxn ang="0">
                  <a:pos x="connsiteX2289" y="connsiteY2289"/>
                </a:cxn>
                <a:cxn ang="0">
                  <a:pos x="connsiteX2290" y="connsiteY2290"/>
                </a:cxn>
                <a:cxn ang="0">
                  <a:pos x="connsiteX2291" y="connsiteY2291"/>
                </a:cxn>
                <a:cxn ang="0">
                  <a:pos x="connsiteX2292" y="connsiteY2292"/>
                </a:cxn>
                <a:cxn ang="0">
                  <a:pos x="connsiteX2293" y="connsiteY2293"/>
                </a:cxn>
                <a:cxn ang="0">
                  <a:pos x="connsiteX2294" y="connsiteY2294"/>
                </a:cxn>
                <a:cxn ang="0">
                  <a:pos x="connsiteX2295" y="connsiteY2295"/>
                </a:cxn>
                <a:cxn ang="0">
                  <a:pos x="connsiteX2296" y="connsiteY2296"/>
                </a:cxn>
                <a:cxn ang="0">
                  <a:pos x="connsiteX2297" y="connsiteY2297"/>
                </a:cxn>
                <a:cxn ang="0">
                  <a:pos x="connsiteX2298" y="connsiteY2298"/>
                </a:cxn>
                <a:cxn ang="0">
                  <a:pos x="connsiteX2299" y="connsiteY2299"/>
                </a:cxn>
                <a:cxn ang="0">
                  <a:pos x="connsiteX2300" y="connsiteY2300"/>
                </a:cxn>
                <a:cxn ang="0">
                  <a:pos x="connsiteX2301" y="connsiteY2301"/>
                </a:cxn>
                <a:cxn ang="0">
                  <a:pos x="connsiteX2302" y="connsiteY2302"/>
                </a:cxn>
                <a:cxn ang="0">
                  <a:pos x="connsiteX2303" y="connsiteY2303"/>
                </a:cxn>
                <a:cxn ang="0">
                  <a:pos x="connsiteX2304" y="connsiteY2304"/>
                </a:cxn>
                <a:cxn ang="0">
                  <a:pos x="connsiteX2305" y="connsiteY2305"/>
                </a:cxn>
                <a:cxn ang="0">
                  <a:pos x="connsiteX2306" y="connsiteY2306"/>
                </a:cxn>
                <a:cxn ang="0">
                  <a:pos x="connsiteX2307" y="connsiteY2307"/>
                </a:cxn>
                <a:cxn ang="0">
                  <a:pos x="connsiteX2308" y="connsiteY2308"/>
                </a:cxn>
                <a:cxn ang="0">
                  <a:pos x="connsiteX2309" y="connsiteY2309"/>
                </a:cxn>
                <a:cxn ang="0">
                  <a:pos x="connsiteX2310" y="connsiteY2310"/>
                </a:cxn>
                <a:cxn ang="0">
                  <a:pos x="connsiteX2311" y="connsiteY2311"/>
                </a:cxn>
                <a:cxn ang="0">
                  <a:pos x="connsiteX2312" y="connsiteY2312"/>
                </a:cxn>
                <a:cxn ang="0">
                  <a:pos x="connsiteX2313" y="connsiteY2313"/>
                </a:cxn>
                <a:cxn ang="0">
                  <a:pos x="connsiteX2314" y="connsiteY2314"/>
                </a:cxn>
                <a:cxn ang="0">
                  <a:pos x="connsiteX2315" y="connsiteY2315"/>
                </a:cxn>
                <a:cxn ang="0">
                  <a:pos x="connsiteX2316" y="connsiteY2316"/>
                </a:cxn>
                <a:cxn ang="0">
                  <a:pos x="connsiteX2317" y="connsiteY2317"/>
                </a:cxn>
                <a:cxn ang="0">
                  <a:pos x="connsiteX2318" y="connsiteY2318"/>
                </a:cxn>
                <a:cxn ang="0">
                  <a:pos x="connsiteX2319" y="connsiteY2319"/>
                </a:cxn>
                <a:cxn ang="0">
                  <a:pos x="connsiteX2320" y="connsiteY2320"/>
                </a:cxn>
                <a:cxn ang="0">
                  <a:pos x="connsiteX2321" y="connsiteY2321"/>
                </a:cxn>
                <a:cxn ang="0">
                  <a:pos x="connsiteX2322" y="connsiteY2322"/>
                </a:cxn>
                <a:cxn ang="0">
                  <a:pos x="connsiteX2323" y="connsiteY2323"/>
                </a:cxn>
                <a:cxn ang="0">
                  <a:pos x="connsiteX2324" y="connsiteY2324"/>
                </a:cxn>
                <a:cxn ang="0">
                  <a:pos x="connsiteX2325" y="connsiteY2325"/>
                </a:cxn>
                <a:cxn ang="0">
                  <a:pos x="connsiteX2326" y="connsiteY2326"/>
                </a:cxn>
                <a:cxn ang="0">
                  <a:pos x="connsiteX2327" y="connsiteY2327"/>
                </a:cxn>
                <a:cxn ang="0">
                  <a:pos x="connsiteX2328" y="connsiteY2328"/>
                </a:cxn>
                <a:cxn ang="0">
                  <a:pos x="connsiteX2329" y="connsiteY2329"/>
                </a:cxn>
                <a:cxn ang="0">
                  <a:pos x="connsiteX2330" y="connsiteY2330"/>
                </a:cxn>
                <a:cxn ang="0">
                  <a:pos x="connsiteX2331" y="connsiteY2331"/>
                </a:cxn>
                <a:cxn ang="0">
                  <a:pos x="connsiteX2332" y="connsiteY2332"/>
                </a:cxn>
                <a:cxn ang="0">
                  <a:pos x="connsiteX2333" y="connsiteY2333"/>
                </a:cxn>
                <a:cxn ang="0">
                  <a:pos x="connsiteX2334" y="connsiteY2334"/>
                </a:cxn>
                <a:cxn ang="0">
                  <a:pos x="connsiteX2335" y="connsiteY2335"/>
                </a:cxn>
                <a:cxn ang="0">
                  <a:pos x="connsiteX2336" y="connsiteY2336"/>
                </a:cxn>
                <a:cxn ang="0">
                  <a:pos x="connsiteX2337" y="connsiteY2337"/>
                </a:cxn>
                <a:cxn ang="0">
                  <a:pos x="connsiteX2338" y="connsiteY2338"/>
                </a:cxn>
                <a:cxn ang="0">
                  <a:pos x="connsiteX2339" y="connsiteY2339"/>
                </a:cxn>
                <a:cxn ang="0">
                  <a:pos x="connsiteX2340" y="connsiteY2340"/>
                </a:cxn>
                <a:cxn ang="0">
                  <a:pos x="connsiteX2341" y="connsiteY2341"/>
                </a:cxn>
                <a:cxn ang="0">
                  <a:pos x="connsiteX2342" y="connsiteY2342"/>
                </a:cxn>
                <a:cxn ang="0">
                  <a:pos x="connsiteX2343" y="connsiteY2343"/>
                </a:cxn>
                <a:cxn ang="0">
                  <a:pos x="connsiteX2344" y="connsiteY2344"/>
                </a:cxn>
                <a:cxn ang="0">
                  <a:pos x="connsiteX2345" y="connsiteY2345"/>
                </a:cxn>
                <a:cxn ang="0">
                  <a:pos x="connsiteX2346" y="connsiteY2346"/>
                </a:cxn>
                <a:cxn ang="0">
                  <a:pos x="connsiteX2347" y="connsiteY2347"/>
                </a:cxn>
                <a:cxn ang="0">
                  <a:pos x="connsiteX2348" y="connsiteY2348"/>
                </a:cxn>
                <a:cxn ang="0">
                  <a:pos x="connsiteX2349" y="connsiteY2349"/>
                </a:cxn>
                <a:cxn ang="0">
                  <a:pos x="connsiteX2350" y="connsiteY2350"/>
                </a:cxn>
                <a:cxn ang="0">
                  <a:pos x="connsiteX2351" y="connsiteY2351"/>
                </a:cxn>
                <a:cxn ang="0">
                  <a:pos x="connsiteX2352" y="connsiteY2352"/>
                </a:cxn>
                <a:cxn ang="0">
                  <a:pos x="connsiteX2353" y="connsiteY2353"/>
                </a:cxn>
                <a:cxn ang="0">
                  <a:pos x="connsiteX2354" y="connsiteY2354"/>
                </a:cxn>
                <a:cxn ang="0">
                  <a:pos x="connsiteX2355" y="connsiteY2355"/>
                </a:cxn>
                <a:cxn ang="0">
                  <a:pos x="connsiteX2356" y="connsiteY2356"/>
                </a:cxn>
                <a:cxn ang="0">
                  <a:pos x="connsiteX2357" y="connsiteY2357"/>
                </a:cxn>
                <a:cxn ang="0">
                  <a:pos x="connsiteX2358" y="connsiteY2358"/>
                </a:cxn>
                <a:cxn ang="0">
                  <a:pos x="connsiteX2359" y="connsiteY2359"/>
                </a:cxn>
                <a:cxn ang="0">
                  <a:pos x="connsiteX2360" y="connsiteY2360"/>
                </a:cxn>
                <a:cxn ang="0">
                  <a:pos x="connsiteX2361" y="connsiteY2361"/>
                </a:cxn>
                <a:cxn ang="0">
                  <a:pos x="connsiteX2362" y="connsiteY2362"/>
                </a:cxn>
                <a:cxn ang="0">
                  <a:pos x="connsiteX2363" y="connsiteY2363"/>
                </a:cxn>
                <a:cxn ang="0">
                  <a:pos x="connsiteX2364" y="connsiteY2364"/>
                </a:cxn>
                <a:cxn ang="0">
                  <a:pos x="connsiteX2365" y="connsiteY2365"/>
                </a:cxn>
                <a:cxn ang="0">
                  <a:pos x="connsiteX2366" y="connsiteY2366"/>
                </a:cxn>
                <a:cxn ang="0">
                  <a:pos x="connsiteX2367" y="connsiteY2367"/>
                </a:cxn>
                <a:cxn ang="0">
                  <a:pos x="connsiteX2368" y="connsiteY2368"/>
                </a:cxn>
                <a:cxn ang="0">
                  <a:pos x="connsiteX2369" y="connsiteY2369"/>
                </a:cxn>
                <a:cxn ang="0">
                  <a:pos x="connsiteX2370" y="connsiteY2370"/>
                </a:cxn>
                <a:cxn ang="0">
                  <a:pos x="connsiteX2371" y="connsiteY2371"/>
                </a:cxn>
                <a:cxn ang="0">
                  <a:pos x="connsiteX2372" y="connsiteY2372"/>
                </a:cxn>
                <a:cxn ang="0">
                  <a:pos x="connsiteX2373" y="connsiteY2373"/>
                </a:cxn>
                <a:cxn ang="0">
                  <a:pos x="connsiteX2374" y="connsiteY2374"/>
                </a:cxn>
                <a:cxn ang="0">
                  <a:pos x="connsiteX2375" y="connsiteY2375"/>
                </a:cxn>
                <a:cxn ang="0">
                  <a:pos x="connsiteX2376" y="connsiteY2376"/>
                </a:cxn>
                <a:cxn ang="0">
                  <a:pos x="connsiteX2377" y="connsiteY2377"/>
                </a:cxn>
                <a:cxn ang="0">
                  <a:pos x="connsiteX2378" y="connsiteY2378"/>
                </a:cxn>
                <a:cxn ang="0">
                  <a:pos x="connsiteX2379" y="connsiteY2379"/>
                </a:cxn>
                <a:cxn ang="0">
                  <a:pos x="connsiteX2380" y="connsiteY2380"/>
                </a:cxn>
                <a:cxn ang="0">
                  <a:pos x="connsiteX2381" y="connsiteY2381"/>
                </a:cxn>
                <a:cxn ang="0">
                  <a:pos x="connsiteX2382" y="connsiteY2382"/>
                </a:cxn>
                <a:cxn ang="0">
                  <a:pos x="connsiteX2383" y="connsiteY2383"/>
                </a:cxn>
                <a:cxn ang="0">
                  <a:pos x="connsiteX2384" y="connsiteY2384"/>
                </a:cxn>
                <a:cxn ang="0">
                  <a:pos x="connsiteX2385" y="connsiteY2385"/>
                </a:cxn>
                <a:cxn ang="0">
                  <a:pos x="connsiteX2386" y="connsiteY2386"/>
                </a:cxn>
                <a:cxn ang="0">
                  <a:pos x="connsiteX2387" y="connsiteY2387"/>
                </a:cxn>
                <a:cxn ang="0">
                  <a:pos x="connsiteX2388" y="connsiteY2388"/>
                </a:cxn>
                <a:cxn ang="0">
                  <a:pos x="connsiteX2389" y="connsiteY2389"/>
                </a:cxn>
                <a:cxn ang="0">
                  <a:pos x="connsiteX2390" y="connsiteY2390"/>
                </a:cxn>
                <a:cxn ang="0">
                  <a:pos x="connsiteX2391" y="connsiteY2391"/>
                </a:cxn>
                <a:cxn ang="0">
                  <a:pos x="connsiteX2392" y="connsiteY2392"/>
                </a:cxn>
                <a:cxn ang="0">
                  <a:pos x="connsiteX2393" y="connsiteY2393"/>
                </a:cxn>
                <a:cxn ang="0">
                  <a:pos x="connsiteX2394" y="connsiteY2394"/>
                </a:cxn>
                <a:cxn ang="0">
                  <a:pos x="connsiteX2395" y="connsiteY2395"/>
                </a:cxn>
                <a:cxn ang="0">
                  <a:pos x="connsiteX2396" y="connsiteY2396"/>
                </a:cxn>
                <a:cxn ang="0">
                  <a:pos x="connsiteX2397" y="connsiteY2397"/>
                </a:cxn>
                <a:cxn ang="0">
                  <a:pos x="connsiteX2398" y="connsiteY2398"/>
                </a:cxn>
                <a:cxn ang="0">
                  <a:pos x="connsiteX2399" y="connsiteY2399"/>
                </a:cxn>
                <a:cxn ang="0">
                  <a:pos x="connsiteX2400" y="connsiteY2400"/>
                </a:cxn>
                <a:cxn ang="0">
                  <a:pos x="connsiteX2401" y="connsiteY2401"/>
                </a:cxn>
                <a:cxn ang="0">
                  <a:pos x="connsiteX2402" y="connsiteY2402"/>
                </a:cxn>
                <a:cxn ang="0">
                  <a:pos x="connsiteX2403" y="connsiteY2403"/>
                </a:cxn>
                <a:cxn ang="0">
                  <a:pos x="connsiteX2404" y="connsiteY2404"/>
                </a:cxn>
                <a:cxn ang="0">
                  <a:pos x="connsiteX2405" y="connsiteY2405"/>
                </a:cxn>
                <a:cxn ang="0">
                  <a:pos x="connsiteX2406" y="connsiteY2406"/>
                </a:cxn>
                <a:cxn ang="0">
                  <a:pos x="connsiteX2407" y="connsiteY2407"/>
                </a:cxn>
                <a:cxn ang="0">
                  <a:pos x="connsiteX2408" y="connsiteY2408"/>
                </a:cxn>
                <a:cxn ang="0">
                  <a:pos x="connsiteX2409" y="connsiteY2409"/>
                </a:cxn>
                <a:cxn ang="0">
                  <a:pos x="connsiteX2410" y="connsiteY2410"/>
                </a:cxn>
                <a:cxn ang="0">
                  <a:pos x="connsiteX2411" y="connsiteY2411"/>
                </a:cxn>
                <a:cxn ang="0">
                  <a:pos x="connsiteX2412" y="connsiteY2412"/>
                </a:cxn>
                <a:cxn ang="0">
                  <a:pos x="connsiteX2413" y="connsiteY2413"/>
                </a:cxn>
                <a:cxn ang="0">
                  <a:pos x="connsiteX2414" y="connsiteY2414"/>
                </a:cxn>
                <a:cxn ang="0">
                  <a:pos x="connsiteX2415" y="connsiteY2415"/>
                </a:cxn>
                <a:cxn ang="0">
                  <a:pos x="connsiteX2416" y="connsiteY2416"/>
                </a:cxn>
                <a:cxn ang="0">
                  <a:pos x="connsiteX2417" y="connsiteY2417"/>
                </a:cxn>
                <a:cxn ang="0">
                  <a:pos x="connsiteX2418" y="connsiteY2418"/>
                </a:cxn>
                <a:cxn ang="0">
                  <a:pos x="connsiteX2419" y="connsiteY2419"/>
                </a:cxn>
                <a:cxn ang="0">
                  <a:pos x="connsiteX2420" y="connsiteY2420"/>
                </a:cxn>
                <a:cxn ang="0">
                  <a:pos x="connsiteX2421" y="connsiteY2421"/>
                </a:cxn>
                <a:cxn ang="0">
                  <a:pos x="connsiteX2422" y="connsiteY2422"/>
                </a:cxn>
                <a:cxn ang="0">
                  <a:pos x="connsiteX2423" y="connsiteY2423"/>
                </a:cxn>
                <a:cxn ang="0">
                  <a:pos x="connsiteX2424" y="connsiteY2424"/>
                </a:cxn>
                <a:cxn ang="0">
                  <a:pos x="connsiteX2425" y="connsiteY2425"/>
                </a:cxn>
                <a:cxn ang="0">
                  <a:pos x="connsiteX2426" y="connsiteY2426"/>
                </a:cxn>
                <a:cxn ang="0">
                  <a:pos x="connsiteX2427" y="connsiteY2427"/>
                </a:cxn>
                <a:cxn ang="0">
                  <a:pos x="connsiteX2428" y="connsiteY2428"/>
                </a:cxn>
                <a:cxn ang="0">
                  <a:pos x="connsiteX2429" y="connsiteY2429"/>
                </a:cxn>
                <a:cxn ang="0">
                  <a:pos x="connsiteX2430" y="connsiteY2430"/>
                </a:cxn>
                <a:cxn ang="0">
                  <a:pos x="connsiteX2431" y="connsiteY2431"/>
                </a:cxn>
                <a:cxn ang="0">
                  <a:pos x="connsiteX2432" y="connsiteY2432"/>
                </a:cxn>
                <a:cxn ang="0">
                  <a:pos x="connsiteX2433" y="connsiteY2433"/>
                </a:cxn>
                <a:cxn ang="0">
                  <a:pos x="connsiteX2434" y="connsiteY2434"/>
                </a:cxn>
                <a:cxn ang="0">
                  <a:pos x="connsiteX2435" y="connsiteY2435"/>
                </a:cxn>
                <a:cxn ang="0">
                  <a:pos x="connsiteX2436" y="connsiteY2436"/>
                </a:cxn>
                <a:cxn ang="0">
                  <a:pos x="connsiteX2437" y="connsiteY2437"/>
                </a:cxn>
              </a:cxnLst>
              <a:rect l="l" t="t" r="r" b="b"/>
              <a:pathLst>
                <a:path w="1472512" h="734237">
                  <a:moveTo>
                    <a:pt x="1095457" y="733306"/>
                  </a:moveTo>
                  <a:lnTo>
                    <a:pt x="1096197" y="733339"/>
                  </a:lnTo>
                  <a:lnTo>
                    <a:pt x="1096170" y="733907"/>
                  </a:lnTo>
                  <a:lnTo>
                    <a:pt x="1095045" y="734176"/>
                  </a:lnTo>
                  <a:lnTo>
                    <a:pt x="1094396" y="734237"/>
                  </a:lnTo>
                  <a:lnTo>
                    <a:pt x="1094341" y="733817"/>
                  </a:lnTo>
                  <a:close/>
                  <a:moveTo>
                    <a:pt x="1100696" y="730258"/>
                  </a:moveTo>
                  <a:lnTo>
                    <a:pt x="1101478" y="731523"/>
                  </a:lnTo>
                  <a:lnTo>
                    <a:pt x="1101463" y="732291"/>
                  </a:lnTo>
                  <a:lnTo>
                    <a:pt x="1100584" y="732677"/>
                  </a:lnTo>
                  <a:lnTo>
                    <a:pt x="1098932" y="732945"/>
                  </a:lnTo>
                  <a:lnTo>
                    <a:pt x="1100265" y="731877"/>
                  </a:lnTo>
                  <a:close/>
                  <a:moveTo>
                    <a:pt x="1104323" y="728609"/>
                  </a:moveTo>
                  <a:lnTo>
                    <a:pt x="1106818" y="730369"/>
                  </a:lnTo>
                  <a:lnTo>
                    <a:pt x="1106882" y="730841"/>
                  </a:lnTo>
                  <a:lnTo>
                    <a:pt x="1106499" y="731306"/>
                  </a:lnTo>
                  <a:lnTo>
                    <a:pt x="1105735" y="731863"/>
                  </a:lnTo>
                  <a:lnTo>
                    <a:pt x="1105370" y="731691"/>
                  </a:lnTo>
                  <a:lnTo>
                    <a:pt x="1105370" y="730879"/>
                  </a:lnTo>
                  <a:lnTo>
                    <a:pt x="1104283" y="729079"/>
                  </a:lnTo>
                  <a:close/>
                  <a:moveTo>
                    <a:pt x="1116814" y="728352"/>
                  </a:moveTo>
                  <a:lnTo>
                    <a:pt x="1115323" y="729209"/>
                  </a:lnTo>
                  <a:lnTo>
                    <a:pt x="1113913" y="729509"/>
                  </a:lnTo>
                  <a:lnTo>
                    <a:pt x="1112745" y="730152"/>
                  </a:lnTo>
                  <a:lnTo>
                    <a:pt x="1111537" y="729680"/>
                  </a:lnTo>
                  <a:lnTo>
                    <a:pt x="1112866" y="729038"/>
                  </a:lnTo>
                  <a:close/>
                  <a:moveTo>
                    <a:pt x="1120157" y="725997"/>
                  </a:moveTo>
                  <a:lnTo>
                    <a:pt x="1120520" y="726297"/>
                  </a:lnTo>
                  <a:lnTo>
                    <a:pt x="1120479" y="726682"/>
                  </a:lnTo>
                  <a:lnTo>
                    <a:pt x="1119392" y="727154"/>
                  </a:lnTo>
                  <a:lnTo>
                    <a:pt x="1118908" y="727154"/>
                  </a:lnTo>
                  <a:lnTo>
                    <a:pt x="1119150" y="726768"/>
                  </a:lnTo>
                  <a:close/>
                  <a:moveTo>
                    <a:pt x="1124589" y="723424"/>
                  </a:moveTo>
                  <a:lnTo>
                    <a:pt x="1124872" y="723511"/>
                  </a:lnTo>
                  <a:lnTo>
                    <a:pt x="1124267" y="724455"/>
                  </a:lnTo>
                  <a:lnTo>
                    <a:pt x="1123583" y="724582"/>
                  </a:lnTo>
                  <a:close/>
                  <a:moveTo>
                    <a:pt x="1133991" y="712382"/>
                  </a:moveTo>
                  <a:lnTo>
                    <a:pt x="1130810" y="717962"/>
                  </a:lnTo>
                  <a:lnTo>
                    <a:pt x="1125740" y="723068"/>
                  </a:lnTo>
                  <a:lnTo>
                    <a:pt x="1126302" y="721791"/>
                  </a:lnTo>
                  <a:lnTo>
                    <a:pt x="1128278" y="719058"/>
                  </a:lnTo>
                  <a:lnTo>
                    <a:pt x="1128917" y="717771"/>
                  </a:lnTo>
                  <a:lnTo>
                    <a:pt x="1130252" y="716956"/>
                  </a:lnTo>
                  <a:lnTo>
                    <a:pt x="1131496" y="715480"/>
                  </a:lnTo>
                  <a:lnTo>
                    <a:pt x="1131589" y="713758"/>
                  </a:lnTo>
                  <a:lnTo>
                    <a:pt x="1133394" y="712555"/>
                  </a:lnTo>
                  <a:close/>
                  <a:moveTo>
                    <a:pt x="1084393" y="679632"/>
                  </a:moveTo>
                  <a:lnTo>
                    <a:pt x="1085996" y="681575"/>
                  </a:lnTo>
                  <a:lnTo>
                    <a:pt x="1086569" y="682015"/>
                  </a:lnTo>
                  <a:lnTo>
                    <a:pt x="1088581" y="682215"/>
                  </a:lnTo>
                  <a:lnTo>
                    <a:pt x="1087672" y="682928"/>
                  </a:lnTo>
                  <a:lnTo>
                    <a:pt x="1085832" y="682404"/>
                  </a:lnTo>
                  <a:lnTo>
                    <a:pt x="1084827" y="681468"/>
                  </a:lnTo>
                  <a:close/>
                  <a:moveTo>
                    <a:pt x="1085215" y="675451"/>
                  </a:moveTo>
                  <a:lnTo>
                    <a:pt x="1086439" y="676415"/>
                  </a:lnTo>
                  <a:lnTo>
                    <a:pt x="1087392" y="679514"/>
                  </a:lnTo>
                  <a:lnTo>
                    <a:pt x="1087357" y="681122"/>
                  </a:lnTo>
                  <a:lnTo>
                    <a:pt x="1086071" y="678429"/>
                  </a:lnTo>
                  <a:close/>
                  <a:moveTo>
                    <a:pt x="697033" y="661854"/>
                  </a:moveTo>
                  <a:lnTo>
                    <a:pt x="697921" y="672691"/>
                  </a:lnTo>
                  <a:lnTo>
                    <a:pt x="701721" y="686423"/>
                  </a:lnTo>
                  <a:lnTo>
                    <a:pt x="702526" y="690259"/>
                  </a:lnTo>
                  <a:lnTo>
                    <a:pt x="702172" y="691526"/>
                  </a:lnTo>
                  <a:lnTo>
                    <a:pt x="700061" y="685603"/>
                  </a:lnTo>
                  <a:lnTo>
                    <a:pt x="696623" y="672170"/>
                  </a:lnTo>
                  <a:lnTo>
                    <a:pt x="696493" y="664497"/>
                  </a:lnTo>
                  <a:close/>
                  <a:moveTo>
                    <a:pt x="705335" y="644642"/>
                  </a:moveTo>
                  <a:lnTo>
                    <a:pt x="700481" y="652376"/>
                  </a:lnTo>
                  <a:lnTo>
                    <a:pt x="697859" y="659007"/>
                  </a:lnTo>
                  <a:lnTo>
                    <a:pt x="697064" y="660588"/>
                  </a:lnTo>
                  <a:lnTo>
                    <a:pt x="697283" y="658232"/>
                  </a:lnTo>
                  <a:lnTo>
                    <a:pt x="699355" y="652874"/>
                  </a:lnTo>
                  <a:lnTo>
                    <a:pt x="703564" y="645823"/>
                  </a:lnTo>
                  <a:close/>
                  <a:moveTo>
                    <a:pt x="1129404" y="643855"/>
                  </a:moveTo>
                  <a:lnTo>
                    <a:pt x="1130455" y="645400"/>
                  </a:lnTo>
                  <a:lnTo>
                    <a:pt x="1131481" y="648594"/>
                  </a:lnTo>
                  <a:lnTo>
                    <a:pt x="1135785" y="659603"/>
                  </a:lnTo>
                  <a:lnTo>
                    <a:pt x="1136200" y="661625"/>
                  </a:lnTo>
                  <a:lnTo>
                    <a:pt x="1133855" y="656932"/>
                  </a:lnTo>
                  <a:lnTo>
                    <a:pt x="1130956" y="649563"/>
                  </a:lnTo>
                  <a:close/>
                  <a:moveTo>
                    <a:pt x="710518" y="636064"/>
                  </a:moveTo>
                  <a:lnTo>
                    <a:pt x="710968" y="637283"/>
                  </a:lnTo>
                  <a:lnTo>
                    <a:pt x="708887" y="639291"/>
                  </a:lnTo>
                  <a:lnTo>
                    <a:pt x="706515" y="642447"/>
                  </a:lnTo>
                  <a:lnTo>
                    <a:pt x="705960" y="642514"/>
                  </a:lnTo>
                  <a:lnTo>
                    <a:pt x="707195" y="640256"/>
                  </a:lnTo>
                  <a:lnTo>
                    <a:pt x="707424" y="639351"/>
                  </a:lnTo>
                  <a:lnTo>
                    <a:pt x="709449" y="636491"/>
                  </a:lnTo>
                  <a:close/>
                  <a:moveTo>
                    <a:pt x="722095" y="629193"/>
                  </a:moveTo>
                  <a:lnTo>
                    <a:pt x="721846" y="630404"/>
                  </a:lnTo>
                  <a:lnTo>
                    <a:pt x="718516" y="632124"/>
                  </a:lnTo>
                  <a:lnTo>
                    <a:pt x="712890" y="635521"/>
                  </a:lnTo>
                  <a:lnTo>
                    <a:pt x="711953" y="635637"/>
                  </a:lnTo>
                  <a:lnTo>
                    <a:pt x="713114" y="634145"/>
                  </a:lnTo>
                  <a:lnTo>
                    <a:pt x="715002" y="633391"/>
                  </a:lnTo>
                  <a:lnTo>
                    <a:pt x="719142" y="630525"/>
                  </a:lnTo>
                  <a:lnTo>
                    <a:pt x="720831" y="630327"/>
                  </a:lnTo>
                  <a:lnTo>
                    <a:pt x="721710" y="629339"/>
                  </a:lnTo>
                  <a:close/>
                  <a:moveTo>
                    <a:pt x="762341" y="602578"/>
                  </a:moveTo>
                  <a:lnTo>
                    <a:pt x="763829" y="602640"/>
                  </a:lnTo>
                  <a:lnTo>
                    <a:pt x="761346" y="605036"/>
                  </a:lnTo>
                  <a:lnTo>
                    <a:pt x="756888" y="608009"/>
                  </a:lnTo>
                  <a:lnTo>
                    <a:pt x="755613" y="608276"/>
                  </a:lnTo>
                  <a:lnTo>
                    <a:pt x="761174" y="604001"/>
                  </a:lnTo>
                  <a:close/>
                  <a:moveTo>
                    <a:pt x="836342" y="594154"/>
                  </a:moveTo>
                  <a:lnTo>
                    <a:pt x="837613" y="594237"/>
                  </a:lnTo>
                  <a:lnTo>
                    <a:pt x="839622" y="595463"/>
                  </a:lnTo>
                  <a:lnTo>
                    <a:pt x="840358" y="595804"/>
                  </a:lnTo>
                  <a:lnTo>
                    <a:pt x="840699" y="596300"/>
                  </a:lnTo>
                  <a:lnTo>
                    <a:pt x="840503" y="597076"/>
                  </a:lnTo>
                  <a:lnTo>
                    <a:pt x="839694" y="598142"/>
                  </a:lnTo>
                  <a:lnTo>
                    <a:pt x="838746" y="598539"/>
                  </a:lnTo>
                  <a:lnTo>
                    <a:pt x="834526" y="596128"/>
                  </a:lnTo>
                  <a:lnTo>
                    <a:pt x="834261" y="595091"/>
                  </a:lnTo>
                  <a:close/>
                  <a:moveTo>
                    <a:pt x="1019706" y="591687"/>
                  </a:moveTo>
                  <a:lnTo>
                    <a:pt x="1015349" y="594190"/>
                  </a:lnTo>
                  <a:lnTo>
                    <a:pt x="1012789" y="595193"/>
                  </a:lnTo>
                  <a:lnTo>
                    <a:pt x="1010021" y="594464"/>
                  </a:lnTo>
                  <a:lnTo>
                    <a:pt x="1011742" y="594325"/>
                  </a:lnTo>
                  <a:lnTo>
                    <a:pt x="1012986" y="594620"/>
                  </a:lnTo>
                  <a:lnTo>
                    <a:pt x="1016137" y="593187"/>
                  </a:lnTo>
                  <a:lnTo>
                    <a:pt x="1017790" y="592101"/>
                  </a:lnTo>
                  <a:close/>
                  <a:moveTo>
                    <a:pt x="914208" y="591115"/>
                  </a:moveTo>
                  <a:lnTo>
                    <a:pt x="913784" y="592239"/>
                  </a:lnTo>
                  <a:lnTo>
                    <a:pt x="912398" y="593699"/>
                  </a:lnTo>
                  <a:lnTo>
                    <a:pt x="912462" y="593143"/>
                  </a:lnTo>
                  <a:lnTo>
                    <a:pt x="913482" y="591682"/>
                  </a:lnTo>
                  <a:close/>
                  <a:moveTo>
                    <a:pt x="914355" y="582638"/>
                  </a:moveTo>
                  <a:lnTo>
                    <a:pt x="915401" y="584211"/>
                  </a:lnTo>
                  <a:lnTo>
                    <a:pt x="915741" y="586082"/>
                  </a:lnTo>
                  <a:lnTo>
                    <a:pt x="915362" y="589588"/>
                  </a:lnTo>
                  <a:lnTo>
                    <a:pt x="914643" y="590476"/>
                  </a:lnTo>
                  <a:lnTo>
                    <a:pt x="915348" y="586222"/>
                  </a:lnTo>
                  <a:close/>
                  <a:moveTo>
                    <a:pt x="906250" y="579511"/>
                  </a:moveTo>
                  <a:lnTo>
                    <a:pt x="905586" y="580697"/>
                  </a:lnTo>
                  <a:lnTo>
                    <a:pt x="905247" y="581875"/>
                  </a:lnTo>
                  <a:lnTo>
                    <a:pt x="905337" y="583173"/>
                  </a:lnTo>
                  <a:lnTo>
                    <a:pt x="904087" y="582527"/>
                  </a:lnTo>
                  <a:lnTo>
                    <a:pt x="902236" y="582468"/>
                  </a:lnTo>
                  <a:lnTo>
                    <a:pt x="903051" y="582024"/>
                  </a:lnTo>
                  <a:lnTo>
                    <a:pt x="903624" y="581592"/>
                  </a:lnTo>
                  <a:lnTo>
                    <a:pt x="903908" y="581127"/>
                  </a:lnTo>
                  <a:close/>
                  <a:moveTo>
                    <a:pt x="918030" y="576838"/>
                  </a:moveTo>
                  <a:lnTo>
                    <a:pt x="921827" y="577820"/>
                  </a:lnTo>
                  <a:lnTo>
                    <a:pt x="922232" y="578190"/>
                  </a:lnTo>
                  <a:lnTo>
                    <a:pt x="921912" y="578501"/>
                  </a:lnTo>
                  <a:lnTo>
                    <a:pt x="919652" y="577919"/>
                  </a:lnTo>
                  <a:lnTo>
                    <a:pt x="918279" y="577378"/>
                  </a:lnTo>
                  <a:close/>
                  <a:moveTo>
                    <a:pt x="933681" y="576572"/>
                  </a:moveTo>
                  <a:lnTo>
                    <a:pt x="934650" y="577170"/>
                  </a:lnTo>
                  <a:lnTo>
                    <a:pt x="932406" y="577769"/>
                  </a:lnTo>
                  <a:lnTo>
                    <a:pt x="929078" y="577714"/>
                  </a:lnTo>
                  <a:lnTo>
                    <a:pt x="928402" y="577503"/>
                  </a:lnTo>
                  <a:lnTo>
                    <a:pt x="929737" y="577104"/>
                  </a:lnTo>
                  <a:close/>
                  <a:moveTo>
                    <a:pt x="1104351" y="557012"/>
                  </a:moveTo>
                  <a:lnTo>
                    <a:pt x="1103218" y="563852"/>
                  </a:lnTo>
                  <a:lnTo>
                    <a:pt x="1102726" y="561431"/>
                  </a:lnTo>
                  <a:lnTo>
                    <a:pt x="1102677" y="559079"/>
                  </a:lnTo>
                  <a:lnTo>
                    <a:pt x="1103537" y="557687"/>
                  </a:lnTo>
                  <a:close/>
                  <a:moveTo>
                    <a:pt x="156960" y="498703"/>
                  </a:moveTo>
                  <a:lnTo>
                    <a:pt x="158226" y="500775"/>
                  </a:lnTo>
                  <a:lnTo>
                    <a:pt x="161396" y="503919"/>
                  </a:lnTo>
                  <a:lnTo>
                    <a:pt x="162232" y="504540"/>
                  </a:lnTo>
                  <a:lnTo>
                    <a:pt x="160747" y="504799"/>
                  </a:lnTo>
                  <a:lnTo>
                    <a:pt x="159100" y="504218"/>
                  </a:lnTo>
                  <a:lnTo>
                    <a:pt x="157679" y="501467"/>
                  </a:lnTo>
                  <a:lnTo>
                    <a:pt x="156115" y="499316"/>
                  </a:lnTo>
                  <a:close/>
                  <a:moveTo>
                    <a:pt x="132264" y="491593"/>
                  </a:moveTo>
                  <a:lnTo>
                    <a:pt x="133447" y="491806"/>
                  </a:lnTo>
                  <a:lnTo>
                    <a:pt x="134383" y="493009"/>
                  </a:lnTo>
                  <a:lnTo>
                    <a:pt x="134486" y="493443"/>
                  </a:lnTo>
                  <a:lnTo>
                    <a:pt x="133351" y="493497"/>
                  </a:lnTo>
                  <a:lnTo>
                    <a:pt x="131793" y="493231"/>
                  </a:lnTo>
                  <a:lnTo>
                    <a:pt x="130987" y="491700"/>
                  </a:lnTo>
                  <a:close/>
                  <a:moveTo>
                    <a:pt x="157017" y="486023"/>
                  </a:moveTo>
                  <a:lnTo>
                    <a:pt x="161179" y="487794"/>
                  </a:lnTo>
                  <a:lnTo>
                    <a:pt x="162294" y="488632"/>
                  </a:lnTo>
                  <a:lnTo>
                    <a:pt x="163583" y="490734"/>
                  </a:lnTo>
                  <a:lnTo>
                    <a:pt x="161727" y="490475"/>
                  </a:lnTo>
                  <a:lnTo>
                    <a:pt x="159786" y="490592"/>
                  </a:lnTo>
                  <a:lnTo>
                    <a:pt x="159198" y="489449"/>
                  </a:lnTo>
                  <a:lnTo>
                    <a:pt x="158618" y="487860"/>
                  </a:lnTo>
                  <a:lnTo>
                    <a:pt x="158229" y="487454"/>
                  </a:lnTo>
                  <a:lnTo>
                    <a:pt x="156900" y="487312"/>
                  </a:lnTo>
                  <a:lnTo>
                    <a:pt x="156800" y="487168"/>
                  </a:lnTo>
                  <a:lnTo>
                    <a:pt x="156644" y="486392"/>
                  </a:lnTo>
                  <a:close/>
                  <a:moveTo>
                    <a:pt x="118317" y="470293"/>
                  </a:moveTo>
                  <a:lnTo>
                    <a:pt x="120293" y="471486"/>
                  </a:lnTo>
                  <a:lnTo>
                    <a:pt x="120560" y="471818"/>
                  </a:lnTo>
                  <a:lnTo>
                    <a:pt x="119040" y="473381"/>
                  </a:lnTo>
                  <a:lnTo>
                    <a:pt x="117245" y="473781"/>
                  </a:lnTo>
                  <a:lnTo>
                    <a:pt x="115887" y="473404"/>
                  </a:lnTo>
                  <a:lnTo>
                    <a:pt x="113725" y="470655"/>
                  </a:lnTo>
                  <a:close/>
                  <a:moveTo>
                    <a:pt x="110770" y="468951"/>
                  </a:moveTo>
                  <a:lnTo>
                    <a:pt x="111137" y="469314"/>
                  </a:lnTo>
                  <a:lnTo>
                    <a:pt x="112328" y="470340"/>
                  </a:lnTo>
                  <a:lnTo>
                    <a:pt x="110973" y="470414"/>
                  </a:lnTo>
                  <a:lnTo>
                    <a:pt x="108886" y="470109"/>
                  </a:lnTo>
                  <a:lnTo>
                    <a:pt x="109616" y="469438"/>
                  </a:lnTo>
                  <a:close/>
                  <a:moveTo>
                    <a:pt x="123152" y="468768"/>
                  </a:moveTo>
                  <a:lnTo>
                    <a:pt x="128344" y="470238"/>
                  </a:lnTo>
                  <a:lnTo>
                    <a:pt x="131143" y="469533"/>
                  </a:lnTo>
                  <a:lnTo>
                    <a:pt x="131649" y="470246"/>
                  </a:lnTo>
                  <a:lnTo>
                    <a:pt x="131319" y="470864"/>
                  </a:lnTo>
                  <a:lnTo>
                    <a:pt x="125009" y="471977"/>
                  </a:lnTo>
                  <a:lnTo>
                    <a:pt x="123071" y="471198"/>
                  </a:lnTo>
                  <a:lnTo>
                    <a:pt x="122894" y="470130"/>
                  </a:lnTo>
                  <a:lnTo>
                    <a:pt x="122240" y="469108"/>
                  </a:lnTo>
                  <a:close/>
                  <a:moveTo>
                    <a:pt x="1225398" y="450920"/>
                  </a:moveTo>
                  <a:lnTo>
                    <a:pt x="1226716" y="451083"/>
                  </a:lnTo>
                  <a:lnTo>
                    <a:pt x="1228655" y="452225"/>
                  </a:lnTo>
                  <a:lnTo>
                    <a:pt x="1228087" y="452294"/>
                  </a:lnTo>
                  <a:lnTo>
                    <a:pt x="1227085" y="451975"/>
                  </a:lnTo>
                  <a:lnTo>
                    <a:pt x="1225703" y="451367"/>
                  </a:lnTo>
                  <a:close/>
                  <a:moveTo>
                    <a:pt x="1237300" y="444032"/>
                  </a:moveTo>
                  <a:lnTo>
                    <a:pt x="1233465" y="447936"/>
                  </a:lnTo>
                  <a:lnTo>
                    <a:pt x="1229742" y="452569"/>
                  </a:lnTo>
                  <a:lnTo>
                    <a:pt x="1229107" y="452899"/>
                  </a:lnTo>
                  <a:lnTo>
                    <a:pt x="1231442" y="449301"/>
                  </a:lnTo>
                  <a:lnTo>
                    <a:pt x="1236055" y="444731"/>
                  </a:lnTo>
                  <a:close/>
                  <a:moveTo>
                    <a:pt x="1248152" y="436768"/>
                  </a:moveTo>
                  <a:lnTo>
                    <a:pt x="1243517" y="438833"/>
                  </a:lnTo>
                  <a:lnTo>
                    <a:pt x="1242993" y="438709"/>
                  </a:lnTo>
                  <a:lnTo>
                    <a:pt x="1246036" y="437233"/>
                  </a:lnTo>
                  <a:close/>
                  <a:moveTo>
                    <a:pt x="1255255" y="419981"/>
                  </a:moveTo>
                  <a:lnTo>
                    <a:pt x="1255894" y="421510"/>
                  </a:lnTo>
                  <a:lnTo>
                    <a:pt x="1256456" y="425933"/>
                  </a:lnTo>
                  <a:lnTo>
                    <a:pt x="1256244" y="429283"/>
                  </a:lnTo>
                  <a:lnTo>
                    <a:pt x="1255106" y="434160"/>
                  </a:lnTo>
                  <a:lnTo>
                    <a:pt x="1254220" y="435324"/>
                  </a:lnTo>
                  <a:lnTo>
                    <a:pt x="1250798" y="436113"/>
                  </a:lnTo>
                  <a:lnTo>
                    <a:pt x="1250495" y="435861"/>
                  </a:lnTo>
                  <a:lnTo>
                    <a:pt x="1254417" y="434210"/>
                  </a:lnTo>
                  <a:lnTo>
                    <a:pt x="1255654" y="428390"/>
                  </a:lnTo>
                  <a:lnTo>
                    <a:pt x="1255824" y="425703"/>
                  </a:lnTo>
                  <a:lnTo>
                    <a:pt x="1255236" y="420961"/>
                  </a:lnTo>
                  <a:close/>
                  <a:moveTo>
                    <a:pt x="1249804" y="414834"/>
                  </a:moveTo>
                  <a:lnTo>
                    <a:pt x="1251548" y="415874"/>
                  </a:lnTo>
                  <a:lnTo>
                    <a:pt x="1251860" y="416740"/>
                  </a:lnTo>
                  <a:lnTo>
                    <a:pt x="1251884" y="417460"/>
                  </a:lnTo>
                  <a:lnTo>
                    <a:pt x="1251499" y="418050"/>
                  </a:lnTo>
                  <a:close/>
                  <a:moveTo>
                    <a:pt x="1265603" y="345759"/>
                  </a:moveTo>
                  <a:lnTo>
                    <a:pt x="1264626" y="349242"/>
                  </a:lnTo>
                  <a:lnTo>
                    <a:pt x="1262916" y="352443"/>
                  </a:lnTo>
                  <a:lnTo>
                    <a:pt x="1259604" y="357889"/>
                  </a:lnTo>
                  <a:lnTo>
                    <a:pt x="1258444" y="358368"/>
                  </a:lnTo>
                  <a:lnTo>
                    <a:pt x="1262336" y="352446"/>
                  </a:lnTo>
                  <a:lnTo>
                    <a:pt x="1264595" y="347478"/>
                  </a:lnTo>
                  <a:close/>
                  <a:moveTo>
                    <a:pt x="1290888" y="302554"/>
                  </a:moveTo>
                  <a:lnTo>
                    <a:pt x="1290213" y="304525"/>
                  </a:lnTo>
                  <a:lnTo>
                    <a:pt x="1287221" y="309062"/>
                  </a:lnTo>
                  <a:lnTo>
                    <a:pt x="1287152" y="308191"/>
                  </a:lnTo>
                  <a:close/>
                  <a:moveTo>
                    <a:pt x="1291048" y="275071"/>
                  </a:moveTo>
                  <a:lnTo>
                    <a:pt x="1291858" y="275347"/>
                  </a:lnTo>
                  <a:lnTo>
                    <a:pt x="1291892" y="276372"/>
                  </a:lnTo>
                  <a:lnTo>
                    <a:pt x="1291578" y="277249"/>
                  </a:lnTo>
                  <a:lnTo>
                    <a:pt x="1290077" y="278597"/>
                  </a:lnTo>
                  <a:lnTo>
                    <a:pt x="1288811" y="279171"/>
                  </a:lnTo>
                  <a:lnTo>
                    <a:pt x="1287593" y="279296"/>
                  </a:lnTo>
                  <a:lnTo>
                    <a:pt x="1288810" y="276397"/>
                  </a:lnTo>
                  <a:close/>
                  <a:moveTo>
                    <a:pt x="1337638" y="260074"/>
                  </a:moveTo>
                  <a:lnTo>
                    <a:pt x="1333727" y="263553"/>
                  </a:lnTo>
                  <a:lnTo>
                    <a:pt x="1331626" y="265146"/>
                  </a:lnTo>
                  <a:lnTo>
                    <a:pt x="1329813" y="267108"/>
                  </a:lnTo>
                  <a:lnTo>
                    <a:pt x="1331452" y="267307"/>
                  </a:lnTo>
                  <a:lnTo>
                    <a:pt x="1332861" y="266731"/>
                  </a:lnTo>
                  <a:lnTo>
                    <a:pt x="1334197" y="265567"/>
                  </a:lnTo>
                  <a:lnTo>
                    <a:pt x="1337298" y="263991"/>
                  </a:lnTo>
                  <a:lnTo>
                    <a:pt x="1339940" y="263303"/>
                  </a:lnTo>
                  <a:lnTo>
                    <a:pt x="1340771" y="263160"/>
                  </a:lnTo>
                  <a:lnTo>
                    <a:pt x="1342032" y="264265"/>
                  </a:lnTo>
                  <a:lnTo>
                    <a:pt x="1344530" y="263377"/>
                  </a:lnTo>
                  <a:lnTo>
                    <a:pt x="1347099" y="262879"/>
                  </a:lnTo>
                  <a:lnTo>
                    <a:pt x="1335983" y="267933"/>
                  </a:lnTo>
                  <a:lnTo>
                    <a:pt x="1333710" y="268502"/>
                  </a:lnTo>
                  <a:lnTo>
                    <a:pt x="1330458" y="270005"/>
                  </a:lnTo>
                  <a:lnTo>
                    <a:pt x="1327384" y="271070"/>
                  </a:lnTo>
                  <a:lnTo>
                    <a:pt x="1325170" y="271458"/>
                  </a:lnTo>
                  <a:lnTo>
                    <a:pt x="1314164" y="275200"/>
                  </a:lnTo>
                  <a:lnTo>
                    <a:pt x="1313291" y="275281"/>
                  </a:lnTo>
                  <a:lnTo>
                    <a:pt x="1312347" y="274916"/>
                  </a:lnTo>
                  <a:lnTo>
                    <a:pt x="1303281" y="276842"/>
                  </a:lnTo>
                  <a:lnTo>
                    <a:pt x="1299561" y="277060"/>
                  </a:lnTo>
                  <a:lnTo>
                    <a:pt x="1296173" y="277731"/>
                  </a:lnTo>
                  <a:lnTo>
                    <a:pt x="1298679" y="276181"/>
                  </a:lnTo>
                  <a:lnTo>
                    <a:pt x="1298734" y="275601"/>
                  </a:lnTo>
                  <a:lnTo>
                    <a:pt x="1298134" y="275147"/>
                  </a:lnTo>
                  <a:lnTo>
                    <a:pt x="1296793" y="275279"/>
                  </a:lnTo>
                  <a:lnTo>
                    <a:pt x="1295422" y="276875"/>
                  </a:lnTo>
                  <a:lnTo>
                    <a:pt x="1293231" y="277409"/>
                  </a:lnTo>
                  <a:lnTo>
                    <a:pt x="1292792" y="275670"/>
                  </a:lnTo>
                  <a:lnTo>
                    <a:pt x="1293524" y="274325"/>
                  </a:lnTo>
                  <a:lnTo>
                    <a:pt x="1294515" y="273047"/>
                  </a:lnTo>
                  <a:lnTo>
                    <a:pt x="1296691" y="271039"/>
                  </a:lnTo>
                  <a:lnTo>
                    <a:pt x="1299803" y="269765"/>
                  </a:lnTo>
                  <a:lnTo>
                    <a:pt x="1301385" y="268665"/>
                  </a:lnTo>
                  <a:lnTo>
                    <a:pt x="1302480" y="269634"/>
                  </a:lnTo>
                  <a:lnTo>
                    <a:pt x="1302722" y="268324"/>
                  </a:lnTo>
                  <a:lnTo>
                    <a:pt x="1303565" y="267567"/>
                  </a:lnTo>
                  <a:lnTo>
                    <a:pt x="1304482" y="267160"/>
                  </a:lnTo>
                  <a:lnTo>
                    <a:pt x="1306686" y="267150"/>
                  </a:lnTo>
                  <a:lnTo>
                    <a:pt x="1307873" y="266944"/>
                  </a:lnTo>
                  <a:lnTo>
                    <a:pt x="1308731" y="266508"/>
                  </a:lnTo>
                  <a:lnTo>
                    <a:pt x="1309613" y="266427"/>
                  </a:lnTo>
                  <a:lnTo>
                    <a:pt x="1312024" y="267021"/>
                  </a:lnTo>
                  <a:lnTo>
                    <a:pt x="1314380" y="266851"/>
                  </a:lnTo>
                  <a:lnTo>
                    <a:pt x="1316282" y="266031"/>
                  </a:lnTo>
                  <a:lnTo>
                    <a:pt x="1318259" y="265755"/>
                  </a:lnTo>
                  <a:lnTo>
                    <a:pt x="1323487" y="265569"/>
                  </a:lnTo>
                  <a:lnTo>
                    <a:pt x="1328684" y="264970"/>
                  </a:lnTo>
                  <a:lnTo>
                    <a:pt x="1330762" y="263902"/>
                  </a:lnTo>
                  <a:lnTo>
                    <a:pt x="1335126" y="260909"/>
                  </a:lnTo>
                  <a:close/>
                  <a:moveTo>
                    <a:pt x="1394599" y="252637"/>
                  </a:moveTo>
                  <a:lnTo>
                    <a:pt x="1396018" y="255646"/>
                  </a:lnTo>
                  <a:lnTo>
                    <a:pt x="1396213" y="256653"/>
                  </a:lnTo>
                  <a:lnTo>
                    <a:pt x="1394245" y="257142"/>
                  </a:lnTo>
                  <a:lnTo>
                    <a:pt x="1389705" y="256020"/>
                  </a:lnTo>
                  <a:lnTo>
                    <a:pt x="1393440" y="255069"/>
                  </a:lnTo>
                  <a:lnTo>
                    <a:pt x="1394051" y="254738"/>
                  </a:lnTo>
                  <a:lnTo>
                    <a:pt x="1394538" y="253339"/>
                  </a:lnTo>
                  <a:close/>
                  <a:moveTo>
                    <a:pt x="1379936" y="250817"/>
                  </a:moveTo>
                  <a:lnTo>
                    <a:pt x="1382249" y="252110"/>
                  </a:lnTo>
                  <a:lnTo>
                    <a:pt x="1382642" y="253282"/>
                  </a:lnTo>
                  <a:lnTo>
                    <a:pt x="1375618" y="254770"/>
                  </a:lnTo>
                  <a:lnTo>
                    <a:pt x="1374497" y="253809"/>
                  </a:lnTo>
                  <a:lnTo>
                    <a:pt x="1376250" y="253365"/>
                  </a:lnTo>
                  <a:lnTo>
                    <a:pt x="1378464" y="251082"/>
                  </a:lnTo>
                  <a:close/>
                  <a:moveTo>
                    <a:pt x="1360847" y="247322"/>
                  </a:moveTo>
                  <a:lnTo>
                    <a:pt x="1361097" y="248224"/>
                  </a:lnTo>
                  <a:lnTo>
                    <a:pt x="1360821" y="249962"/>
                  </a:lnTo>
                  <a:lnTo>
                    <a:pt x="1360114" y="250527"/>
                  </a:lnTo>
                  <a:lnTo>
                    <a:pt x="1359849" y="249055"/>
                  </a:lnTo>
                  <a:lnTo>
                    <a:pt x="1360344" y="247362"/>
                  </a:lnTo>
                  <a:close/>
                  <a:moveTo>
                    <a:pt x="1364221" y="244805"/>
                  </a:moveTo>
                  <a:lnTo>
                    <a:pt x="1363983" y="249758"/>
                  </a:lnTo>
                  <a:lnTo>
                    <a:pt x="1362719" y="250592"/>
                  </a:lnTo>
                  <a:lnTo>
                    <a:pt x="1361308" y="250445"/>
                  </a:lnTo>
                  <a:lnTo>
                    <a:pt x="1362024" y="249320"/>
                  </a:lnTo>
                  <a:lnTo>
                    <a:pt x="1362297" y="247667"/>
                  </a:lnTo>
                  <a:lnTo>
                    <a:pt x="1362994" y="245851"/>
                  </a:lnTo>
                  <a:lnTo>
                    <a:pt x="1363394" y="245295"/>
                  </a:lnTo>
                  <a:close/>
                  <a:moveTo>
                    <a:pt x="1429406" y="164388"/>
                  </a:moveTo>
                  <a:lnTo>
                    <a:pt x="1429937" y="164822"/>
                  </a:lnTo>
                  <a:lnTo>
                    <a:pt x="1430772" y="166270"/>
                  </a:lnTo>
                  <a:lnTo>
                    <a:pt x="1429803" y="166889"/>
                  </a:lnTo>
                  <a:lnTo>
                    <a:pt x="1428770" y="166690"/>
                  </a:lnTo>
                  <a:lnTo>
                    <a:pt x="1428736" y="165145"/>
                  </a:lnTo>
                  <a:lnTo>
                    <a:pt x="1429049" y="164622"/>
                  </a:lnTo>
                  <a:close/>
                  <a:moveTo>
                    <a:pt x="1439032" y="158114"/>
                  </a:moveTo>
                  <a:lnTo>
                    <a:pt x="1440597" y="158682"/>
                  </a:lnTo>
                  <a:lnTo>
                    <a:pt x="1441799" y="161001"/>
                  </a:lnTo>
                  <a:lnTo>
                    <a:pt x="1441893" y="162001"/>
                  </a:lnTo>
                  <a:lnTo>
                    <a:pt x="1440408" y="162610"/>
                  </a:lnTo>
                  <a:lnTo>
                    <a:pt x="1438781" y="162345"/>
                  </a:lnTo>
                  <a:lnTo>
                    <a:pt x="1438815" y="163998"/>
                  </a:lnTo>
                  <a:lnTo>
                    <a:pt x="1438632" y="164592"/>
                  </a:lnTo>
                  <a:lnTo>
                    <a:pt x="1436829" y="163742"/>
                  </a:lnTo>
                  <a:lnTo>
                    <a:pt x="1436167" y="163195"/>
                  </a:lnTo>
                  <a:lnTo>
                    <a:pt x="1436225" y="161006"/>
                  </a:lnTo>
                  <a:lnTo>
                    <a:pt x="1437818" y="158933"/>
                  </a:lnTo>
                  <a:close/>
                  <a:moveTo>
                    <a:pt x="46551" y="68443"/>
                  </a:moveTo>
                  <a:lnTo>
                    <a:pt x="47469" y="70328"/>
                  </a:lnTo>
                  <a:lnTo>
                    <a:pt x="47368" y="70702"/>
                  </a:lnTo>
                  <a:lnTo>
                    <a:pt x="47126" y="71337"/>
                  </a:lnTo>
                  <a:lnTo>
                    <a:pt x="46766" y="71302"/>
                  </a:lnTo>
                  <a:lnTo>
                    <a:pt x="45969" y="70013"/>
                  </a:lnTo>
                  <a:lnTo>
                    <a:pt x="45867" y="69101"/>
                  </a:lnTo>
                  <a:close/>
                  <a:moveTo>
                    <a:pt x="57175" y="61483"/>
                  </a:moveTo>
                  <a:lnTo>
                    <a:pt x="57852" y="62902"/>
                  </a:lnTo>
                  <a:lnTo>
                    <a:pt x="59076" y="64548"/>
                  </a:lnTo>
                  <a:lnTo>
                    <a:pt x="58959" y="65283"/>
                  </a:lnTo>
                  <a:lnTo>
                    <a:pt x="57980" y="65857"/>
                  </a:lnTo>
                  <a:lnTo>
                    <a:pt x="57473" y="65709"/>
                  </a:lnTo>
                  <a:lnTo>
                    <a:pt x="57442" y="64842"/>
                  </a:lnTo>
                  <a:lnTo>
                    <a:pt x="57178" y="64710"/>
                  </a:lnTo>
                  <a:lnTo>
                    <a:pt x="56122" y="65752"/>
                  </a:lnTo>
                  <a:lnTo>
                    <a:pt x="56200" y="63694"/>
                  </a:lnTo>
                  <a:lnTo>
                    <a:pt x="56721" y="61522"/>
                  </a:lnTo>
                  <a:close/>
                  <a:moveTo>
                    <a:pt x="55106" y="54548"/>
                  </a:moveTo>
                  <a:lnTo>
                    <a:pt x="55936" y="54983"/>
                  </a:lnTo>
                  <a:lnTo>
                    <a:pt x="56175" y="55240"/>
                  </a:lnTo>
                  <a:lnTo>
                    <a:pt x="56445" y="58096"/>
                  </a:lnTo>
                  <a:lnTo>
                    <a:pt x="56308" y="58716"/>
                  </a:lnTo>
                  <a:lnTo>
                    <a:pt x="54901" y="57975"/>
                  </a:lnTo>
                  <a:lnTo>
                    <a:pt x="54439" y="57289"/>
                  </a:lnTo>
                  <a:lnTo>
                    <a:pt x="54494" y="55753"/>
                  </a:lnTo>
                  <a:lnTo>
                    <a:pt x="54841" y="54751"/>
                  </a:lnTo>
                  <a:close/>
                  <a:moveTo>
                    <a:pt x="53094" y="32395"/>
                  </a:moveTo>
                  <a:lnTo>
                    <a:pt x="53734" y="32513"/>
                  </a:lnTo>
                  <a:lnTo>
                    <a:pt x="54526" y="33201"/>
                  </a:lnTo>
                  <a:lnTo>
                    <a:pt x="55468" y="34455"/>
                  </a:lnTo>
                  <a:lnTo>
                    <a:pt x="55293" y="35344"/>
                  </a:lnTo>
                  <a:lnTo>
                    <a:pt x="51474" y="37071"/>
                  </a:lnTo>
                  <a:lnTo>
                    <a:pt x="51349" y="37476"/>
                  </a:lnTo>
                  <a:lnTo>
                    <a:pt x="53201" y="37963"/>
                  </a:lnTo>
                  <a:lnTo>
                    <a:pt x="53885" y="38396"/>
                  </a:lnTo>
                  <a:lnTo>
                    <a:pt x="54519" y="39826"/>
                  </a:lnTo>
                  <a:lnTo>
                    <a:pt x="55768" y="44100"/>
                  </a:lnTo>
                  <a:lnTo>
                    <a:pt x="56303" y="42321"/>
                  </a:lnTo>
                  <a:lnTo>
                    <a:pt x="59775" y="45402"/>
                  </a:lnTo>
                  <a:lnTo>
                    <a:pt x="59778" y="46920"/>
                  </a:lnTo>
                  <a:lnTo>
                    <a:pt x="59355" y="47427"/>
                  </a:lnTo>
                  <a:lnTo>
                    <a:pt x="58635" y="47605"/>
                  </a:lnTo>
                  <a:lnTo>
                    <a:pt x="57967" y="47162"/>
                  </a:lnTo>
                  <a:lnTo>
                    <a:pt x="57354" y="46101"/>
                  </a:lnTo>
                  <a:lnTo>
                    <a:pt x="56572" y="45537"/>
                  </a:lnTo>
                  <a:lnTo>
                    <a:pt x="54909" y="45173"/>
                  </a:lnTo>
                  <a:lnTo>
                    <a:pt x="54044" y="43964"/>
                  </a:lnTo>
                  <a:lnTo>
                    <a:pt x="53744" y="43137"/>
                  </a:lnTo>
                  <a:lnTo>
                    <a:pt x="53663" y="40740"/>
                  </a:lnTo>
                  <a:lnTo>
                    <a:pt x="53246" y="39995"/>
                  </a:lnTo>
                  <a:lnTo>
                    <a:pt x="52363" y="39830"/>
                  </a:lnTo>
                  <a:lnTo>
                    <a:pt x="51519" y="39263"/>
                  </a:lnTo>
                  <a:lnTo>
                    <a:pt x="50214" y="37586"/>
                  </a:lnTo>
                  <a:lnTo>
                    <a:pt x="50029" y="37138"/>
                  </a:lnTo>
                  <a:lnTo>
                    <a:pt x="50648" y="35770"/>
                  </a:lnTo>
                  <a:lnTo>
                    <a:pt x="52064" y="33481"/>
                  </a:lnTo>
                  <a:close/>
                  <a:moveTo>
                    <a:pt x="46541" y="26918"/>
                  </a:moveTo>
                  <a:lnTo>
                    <a:pt x="46965" y="27015"/>
                  </a:lnTo>
                  <a:lnTo>
                    <a:pt x="47144" y="28547"/>
                  </a:lnTo>
                  <a:lnTo>
                    <a:pt x="48350" y="30168"/>
                  </a:lnTo>
                  <a:lnTo>
                    <a:pt x="48190" y="30854"/>
                  </a:lnTo>
                  <a:lnTo>
                    <a:pt x="47790" y="31176"/>
                  </a:lnTo>
                  <a:lnTo>
                    <a:pt x="46426" y="30745"/>
                  </a:lnTo>
                  <a:lnTo>
                    <a:pt x="45620" y="30018"/>
                  </a:lnTo>
                  <a:lnTo>
                    <a:pt x="45348" y="29106"/>
                  </a:lnTo>
                  <a:lnTo>
                    <a:pt x="45860" y="27364"/>
                  </a:lnTo>
                  <a:close/>
                  <a:moveTo>
                    <a:pt x="40708" y="24897"/>
                  </a:moveTo>
                  <a:lnTo>
                    <a:pt x="43004" y="27348"/>
                  </a:lnTo>
                  <a:lnTo>
                    <a:pt x="43286" y="28578"/>
                  </a:lnTo>
                  <a:lnTo>
                    <a:pt x="43958" y="29655"/>
                  </a:lnTo>
                  <a:lnTo>
                    <a:pt x="41211" y="28965"/>
                  </a:lnTo>
                  <a:lnTo>
                    <a:pt x="40050" y="28348"/>
                  </a:lnTo>
                  <a:lnTo>
                    <a:pt x="39707" y="27745"/>
                  </a:lnTo>
                  <a:lnTo>
                    <a:pt x="39295" y="25768"/>
                  </a:lnTo>
                  <a:lnTo>
                    <a:pt x="39484" y="25123"/>
                  </a:lnTo>
                  <a:close/>
                  <a:moveTo>
                    <a:pt x="46229" y="21714"/>
                  </a:moveTo>
                  <a:lnTo>
                    <a:pt x="49178" y="22948"/>
                  </a:lnTo>
                  <a:lnTo>
                    <a:pt x="49517" y="23661"/>
                  </a:lnTo>
                  <a:lnTo>
                    <a:pt x="48493" y="24355"/>
                  </a:lnTo>
                  <a:lnTo>
                    <a:pt x="47763" y="24461"/>
                  </a:lnTo>
                  <a:lnTo>
                    <a:pt x="46602" y="23344"/>
                  </a:lnTo>
                  <a:lnTo>
                    <a:pt x="46095" y="23211"/>
                  </a:lnTo>
                  <a:lnTo>
                    <a:pt x="46503" y="24929"/>
                  </a:lnTo>
                  <a:lnTo>
                    <a:pt x="46362" y="25513"/>
                  </a:lnTo>
                  <a:lnTo>
                    <a:pt x="43987" y="24457"/>
                  </a:lnTo>
                  <a:lnTo>
                    <a:pt x="43548" y="23621"/>
                  </a:lnTo>
                  <a:lnTo>
                    <a:pt x="44215" y="22737"/>
                  </a:lnTo>
                  <a:lnTo>
                    <a:pt x="45711" y="21824"/>
                  </a:lnTo>
                  <a:close/>
                  <a:moveTo>
                    <a:pt x="753940" y="0"/>
                  </a:moveTo>
                  <a:lnTo>
                    <a:pt x="759448" y="670"/>
                  </a:lnTo>
                  <a:lnTo>
                    <a:pt x="761095" y="1674"/>
                  </a:lnTo>
                  <a:lnTo>
                    <a:pt x="761616" y="2152"/>
                  </a:lnTo>
                  <a:lnTo>
                    <a:pt x="761461" y="3670"/>
                  </a:lnTo>
                  <a:lnTo>
                    <a:pt x="761917" y="8269"/>
                  </a:lnTo>
                  <a:lnTo>
                    <a:pt x="762914" y="12099"/>
                  </a:lnTo>
                  <a:lnTo>
                    <a:pt x="765227" y="16687"/>
                  </a:lnTo>
                  <a:lnTo>
                    <a:pt x="765234" y="16702"/>
                  </a:lnTo>
                  <a:lnTo>
                    <a:pt x="765424" y="18492"/>
                  </a:lnTo>
                  <a:lnTo>
                    <a:pt x="766183" y="19611"/>
                  </a:lnTo>
                  <a:lnTo>
                    <a:pt x="767571" y="20655"/>
                  </a:lnTo>
                  <a:lnTo>
                    <a:pt x="772846" y="21920"/>
                  </a:lnTo>
                  <a:lnTo>
                    <a:pt x="782004" y="23398"/>
                  </a:lnTo>
                  <a:lnTo>
                    <a:pt x="787196" y="25095"/>
                  </a:lnTo>
                  <a:lnTo>
                    <a:pt x="788422" y="27007"/>
                  </a:lnTo>
                  <a:lnTo>
                    <a:pt x="790868" y="27774"/>
                  </a:lnTo>
                  <a:lnTo>
                    <a:pt x="794527" y="27400"/>
                  </a:lnTo>
                  <a:lnTo>
                    <a:pt x="797094" y="26601"/>
                  </a:lnTo>
                  <a:lnTo>
                    <a:pt x="799281" y="24790"/>
                  </a:lnTo>
                  <a:lnTo>
                    <a:pt x="802341" y="24388"/>
                  </a:lnTo>
                  <a:lnTo>
                    <a:pt x="804960" y="24503"/>
                  </a:lnTo>
                  <a:lnTo>
                    <a:pt x="807601" y="24682"/>
                  </a:lnTo>
                  <a:lnTo>
                    <a:pt x="809017" y="24946"/>
                  </a:lnTo>
                  <a:lnTo>
                    <a:pt x="813086" y="26389"/>
                  </a:lnTo>
                  <a:lnTo>
                    <a:pt x="815740" y="27566"/>
                  </a:lnTo>
                  <a:lnTo>
                    <a:pt x="819552" y="29751"/>
                  </a:lnTo>
                  <a:lnTo>
                    <a:pt x="821661" y="30723"/>
                  </a:lnTo>
                  <a:lnTo>
                    <a:pt x="822674" y="32995"/>
                  </a:lnTo>
                  <a:lnTo>
                    <a:pt x="823854" y="35910"/>
                  </a:lnTo>
                  <a:lnTo>
                    <a:pt x="825542" y="35910"/>
                  </a:lnTo>
                  <a:lnTo>
                    <a:pt x="826811" y="34203"/>
                  </a:lnTo>
                  <a:lnTo>
                    <a:pt x="830048" y="33894"/>
                  </a:lnTo>
                  <a:lnTo>
                    <a:pt x="834298" y="35086"/>
                  </a:lnTo>
                  <a:lnTo>
                    <a:pt x="838044" y="38491"/>
                  </a:lnTo>
                  <a:lnTo>
                    <a:pt x="843428" y="41523"/>
                  </a:lnTo>
                  <a:lnTo>
                    <a:pt x="846719" y="43031"/>
                  </a:lnTo>
                  <a:lnTo>
                    <a:pt x="850063" y="43023"/>
                  </a:lnTo>
                  <a:lnTo>
                    <a:pt x="854313" y="41523"/>
                  </a:lnTo>
                  <a:lnTo>
                    <a:pt x="858832" y="38617"/>
                  </a:lnTo>
                  <a:lnTo>
                    <a:pt x="862082" y="38113"/>
                  </a:lnTo>
                  <a:lnTo>
                    <a:pt x="864013" y="38394"/>
                  </a:lnTo>
                  <a:lnTo>
                    <a:pt x="865112" y="40660"/>
                  </a:lnTo>
                  <a:lnTo>
                    <a:pt x="866462" y="41523"/>
                  </a:lnTo>
                  <a:lnTo>
                    <a:pt x="869964" y="41261"/>
                  </a:lnTo>
                  <a:lnTo>
                    <a:pt x="877285" y="41699"/>
                  </a:lnTo>
                  <a:lnTo>
                    <a:pt x="883109" y="41081"/>
                  </a:lnTo>
                  <a:lnTo>
                    <a:pt x="884432" y="42383"/>
                  </a:lnTo>
                  <a:lnTo>
                    <a:pt x="885613" y="44431"/>
                  </a:lnTo>
                  <a:lnTo>
                    <a:pt x="887976" y="45076"/>
                  </a:lnTo>
                  <a:lnTo>
                    <a:pt x="891181" y="44431"/>
                  </a:lnTo>
                  <a:lnTo>
                    <a:pt x="896916" y="44932"/>
                  </a:lnTo>
                  <a:lnTo>
                    <a:pt x="899338" y="45050"/>
                  </a:lnTo>
                  <a:lnTo>
                    <a:pt x="903992" y="44279"/>
                  </a:lnTo>
                  <a:lnTo>
                    <a:pt x="906225" y="43385"/>
                  </a:lnTo>
                  <a:lnTo>
                    <a:pt x="909364" y="41873"/>
                  </a:lnTo>
                  <a:lnTo>
                    <a:pt x="913545" y="39856"/>
                  </a:lnTo>
                  <a:lnTo>
                    <a:pt x="920865" y="36322"/>
                  </a:lnTo>
                  <a:lnTo>
                    <a:pt x="926823" y="35046"/>
                  </a:lnTo>
                  <a:lnTo>
                    <a:pt x="932373" y="37583"/>
                  </a:lnTo>
                  <a:lnTo>
                    <a:pt x="936791" y="39818"/>
                  </a:lnTo>
                  <a:lnTo>
                    <a:pt x="938499" y="40682"/>
                  </a:lnTo>
                  <a:lnTo>
                    <a:pt x="943004" y="42957"/>
                  </a:lnTo>
                  <a:lnTo>
                    <a:pt x="949373" y="46173"/>
                  </a:lnTo>
                  <a:lnTo>
                    <a:pt x="956675" y="49857"/>
                  </a:lnTo>
                  <a:lnTo>
                    <a:pt x="963975" y="53534"/>
                  </a:lnTo>
                  <a:lnTo>
                    <a:pt x="970343" y="56740"/>
                  </a:lnTo>
                  <a:lnTo>
                    <a:pt x="974849" y="59002"/>
                  </a:lnTo>
                  <a:lnTo>
                    <a:pt x="976558" y="59861"/>
                  </a:lnTo>
                  <a:lnTo>
                    <a:pt x="981510" y="62451"/>
                  </a:lnTo>
                  <a:lnTo>
                    <a:pt x="986461" y="65041"/>
                  </a:lnTo>
                  <a:lnTo>
                    <a:pt x="991410" y="67627"/>
                  </a:lnTo>
                  <a:lnTo>
                    <a:pt x="996362" y="70211"/>
                  </a:lnTo>
                  <a:lnTo>
                    <a:pt x="1001313" y="72793"/>
                  </a:lnTo>
                  <a:lnTo>
                    <a:pt x="1006264" y="75370"/>
                  </a:lnTo>
                  <a:lnTo>
                    <a:pt x="1011213" y="77948"/>
                  </a:lnTo>
                  <a:lnTo>
                    <a:pt x="1016164" y="80524"/>
                  </a:lnTo>
                  <a:lnTo>
                    <a:pt x="1017413" y="84800"/>
                  </a:lnTo>
                  <a:lnTo>
                    <a:pt x="1018629" y="88957"/>
                  </a:lnTo>
                  <a:lnTo>
                    <a:pt x="1021527" y="91972"/>
                  </a:lnTo>
                  <a:lnTo>
                    <a:pt x="1024181" y="94723"/>
                  </a:lnTo>
                  <a:lnTo>
                    <a:pt x="1025716" y="94578"/>
                  </a:lnTo>
                  <a:lnTo>
                    <a:pt x="1027274" y="93418"/>
                  </a:lnTo>
                  <a:lnTo>
                    <a:pt x="1028263" y="92857"/>
                  </a:lnTo>
                  <a:lnTo>
                    <a:pt x="1029921" y="92766"/>
                  </a:lnTo>
                  <a:lnTo>
                    <a:pt x="1033608" y="91771"/>
                  </a:lnTo>
                  <a:lnTo>
                    <a:pt x="1034698" y="91988"/>
                  </a:lnTo>
                  <a:lnTo>
                    <a:pt x="1035317" y="92485"/>
                  </a:lnTo>
                  <a:lnTo>
                    <a:pt x="1035369" y="93265"/>
                  </a:lnTo>
                  <a:lnTo>
                    <a:pt x="1035242" y="93883"/>
                  </a:lnTo>
                  <a:lnTo>
                    <a:pt x="1034672" y="95126"/>
                  </a:lnTo>
                  <a:lnTo>
                    <a:pt x="1035573" y="97493"/>
                  </a:lnTo>
                  <a:lnTo>
                    <a:pt x="1035762" y="100120"/>
                  </a:lnTo>
                  <a:lnTo>
                    <a:pt x="1036256" y="102104"/>
                  </a:lnTo>
                  <a:lnTo>
                    <a:pt x="1037766" y="104641"/>
                  </a:lnTo>
                  <a:lnTo>
                    <a:pt x="1039077" y="106623"/>
                  </a:lnTo>
                  <a:lnTo>
                    <a:pt x="1040728" y="107005"/>
                  </a:lnTo>
                  <a:lnTo>
                    <a:pt x="1044552" y="105851"/>
                  </a:lnTo>
                  <a:lnTo>
                    <a:pt x="1046947" y="105415"/>
                  </a:lnTo>
                  <a:lnTo>
                    <a:pt x="1048307" y="105604"/>
                  </a:lnTo>
                  <a:lnTo>
                    <a:pt x="1050634" y="107458"/>
                  </a:lnTo>
                  <a:lnTo>
                    <a:pt x="1051773" y="108573"/>
                  </a:lnTo>
                  <a:lnTo>
                    <a:pt x="1052045" y="109498"/>
                  </a:lnTo>
                  <a:lnTo>
                    <a:pt x="1048902" y="115148"/>
                  </a:lnTo>
                  <a:lnTo>
                    <a:pt x="1053885" y="117948"/>
                  </a:lnTo>
                  <a:lnTo>
                    <a:pt x="1059447" y="121006"/>
                  </a:lnTo>
                  <a:lnTo>
                    <a:pt x="1066078" y="124647"/>
                  </a:lnTo>
                  <a:lnTo>
                    <a:pt x="1070133" y="126873"/>
                  </a:lnTo>
                  <a:lnTo>
                    <a:pt x="1075472" y="130050"/>
                  </a:lnTo>
                  <a:lnTo>
                    <a:pt x="1076387" y="134571"/>
                  </a:lnTo>
                  <a:lnTo>
                    <a:pt x="1077157" y="138381"/>
                  </a:lnTo>
                  <a:lnTo>
                    <a:pt x="1078138" y="143686"/>
                  </a:lnTo>
                  <a:lnTo>
                    <a:pt x="1079139" y="149086"/>
                  </a:lnTo>
                  <a:lnTo>
                    <a:pt x="1080137" y="154459"/>
                  </a:lnTo>
                  <a:lnTo>
                    <a:pt x="1081195" y="160149"/>
                  </a:lnTo>
                  <a:lnTo>
                    <a:pt x="1082356" y="166390"/>
                  </a:lnTo>
                  <a:lnTo>
                    <a:pt x="1083389" y="171918"/>
                  </a:lnTo>
                  <a:lnTo>
                    <a:pt x="1084516" y="177943"/>
                  </a:lnTo>
                  <a:lnTo>
                    <a:pt x="1086015" y="185765"/>
                  </a:lnTo>
                  <a:lnTo>
                    <a:pt x="1084674" y="188774"/>
                  </a:lnTo>
                  <a:lnTo>
                    <a:pt x="1081755" y="195316"/>
                  </a:lnTo>
                  <a:lnTo>
                    <a:pt x="1079118" y="201217"/>
                  </a:lnTo>
                  <a:lnTo>
                    <a:pt x="1078887" y="202927"/>
                  </a:lnTo>
                  <a:lnTo>
                    <a:pt x="1077074" y="211508"/>
                  </a:lnTo>
                  <a:lnTo>
                    <a:pt x="1075620" y="215047"/>
                  </a:lnTo>
                  <a:lnTo>
                    <a:pt x="1073074" y="217098"/>
                  </a:lnTo>
                  <a:lnTo>
                    <a:pt x="1070546" y="219087"/>
                  </a:lnTo>
                  <a:lnTo>
                    <a:pt x="1067395" y="222415"/>
                  </a:lnTo>
                  <a:lnTo>
                    <a:pt x="1063927" y="224059"/>
                  </a:lnTo>
                  <a:lnTo>
                    <a:pt x="1062154" y="225025"/>
                  </a:lnTo>
                  <a:lnTo>
                    <a:pt x="1061227" y="226548"/>
                  </a:lnTo>
                  <a:lnTo>
                    <a:pt x="1060203" y="229885"/>
                  </a:lnTo>
                  <a:lnTo>
                    <a:pt x="1060400" y="234973"/>
                  </a:lnTo>
                  <a:lnTo>
                    <a:pt x="1063256" y="239346"/>
                  </a:lnTo>
                  <a:lnTo>
                    <a:pt x="1067434" y="241790"/>
                  </a:lnTo>
                  <a:lnTo>
                    <a:pt x="1071928" y="244167"/>
                  </a:lnTo>
                  <a:lnTo>
                    <a:pt x="1078330" y="244178"/>
                  </a:lnTo>
                  <a:lnTo>
                    <a:pt x="1084089" y="241005"/>
                  </a:lnTo>
                  <a:lnTo>
                    <a:pt x="1090190" y="237641"/>
                  </a:lnTo>
                  <a:lnTo>
                    <a:pt x="1095629" y="234639"/>
                  </a:lnTo>
                  <a:lnTo>
                    <a:pt x="1102099" y="231064"/>
                  </a:lnTo>
                  <a:lnTo>
                    <a:pt x="1107958" y="227823"/>
                  </a:lnTo>
                  <a:lnTo>
                    <a:pt x="1114321" y="226656"/>
                  </a:lnTo>
                  <a:lnTo>
                    <a:pt x="1123137" y="225041"/>
                  </a:lnTo>
                  <a:lnTo>
                    <a:pt x="1134235" y="223006"/>
                  </a:lnTo>
                  <a:lnTo>
                    <a:pt x="1139639" y="220686"/>
                  </a:lnTo>
                  <a:lnTo>
                    <a:pt x="1146623" y="217687"/>
                  </a:lnTo>
                  <a:lnTo>
                    <a:pt x="1154677" y="214222"/>
                  </a:lnTo>
                  <a:lnTo>
                    <a:pt x="1161629" y="211229"/>
                  </a:lnTo>
                  <a:lnTo>
                    <a:pt x="1165123" y="209569"/>
                  </a:lnTo>
                  <a:lnTo>
                    <a:pt x="1167610" y="207675"/>
                  </a:lnTo>
                  <a:lnTo>
                    <a:pt x="1168227" y="206272"/>
                  </a:lnTo>
                  <a:lnTo>
                    <a:pt x="1168079" y="205467"/>
                  </a:lnTo>
                  <a:lnTo>
                    <a:pt x="1167438" y="204659"/>
                  </a:lnTo>
                  <a:lnTo>
                    <a:pt x="1166552" y="204064"/>
                  </a:lnTo>
                  <a:lnTo>
                    <a:pt x="1165763" y="203557"/>
                  </a:lnTo>
                  <a:lnTo>
                    <a:pt x="1165394" y="202928"/>
                  </a:lnTo>
                  <a:lnTo>
                    <a:pt x="1165320" y="201554"/>
                  </a:lnTo>
                  <a:lnTo>
                    <a:pt x="1164837" y="200763"/>
                  </a:lnTo>
                  <a:lnTo>
                    <a:pt x="1164375" y="200181"/>
                  </a:lnTo>
                  <a:lnTo>
                    <a:pt x="1164551" y="194855"/>
                  </a:lnTo>
                  <a:lnTo>
                    <a:pt x="1163942" y="193202"/>
                  </a:lnTo>
                  <a:lnTo>
                    <a:pt x="1161677" y="189007"/>
                  </a:lnTo>
                  <a:lnTo>
                    <a:pt x="1165998" y="187125"/>
                  </a:lnTo>
                  <a:lnTo>
                    <a:pt x="1170001" y="185378"/>
                  </a:lnTo>
                  <a:lnTo>
                    <a:pt x="1173193" y="184084"/>
                  </a:lnTo>
                  <a:lnTo>
                    <a:pt x="1179880" y="183880"/>
                  </a:lnTo>
                  <a:lnTo>
                    <a:pt x="1186092" y="183906"/>
                  </a:lnTo>
                  <a:lnTo>
                    <a:pt x="1194651" y="183942"/>
                  </a:lnTo>
                  <a:lnTo>
                    <a:pt x="1201864" y="183971"/>
                  </a:lnTo>
                  <a:lnTo>
                    <a:pt x="1210277" y="184005"/>
                  </a:lnTo>
                  <a:lnTo>
                    <a:pt x="1215210" y="184025"/>
                  </a:lnTo>
                  <a:lnTo>
                    <a:pt x="1221673" y="183964"/>
                  </a:lnTo>
                  <a:lnTo>
                    <a:pt x="1224824" y="179108"/>
                  </a:lnTo>
                  <a:lnTo>
                    <a:pt x="1227639" y="174758"/>
                  </a:lnTo>
                  <a:lnTo>
                    <a:pt x="1230738" y="170598"/>
                  </a:lnTo>
                  <a:lnTo>
                    <a:pt x="1236251" y="165706"/>
                  </a:lnTo>
                  <a:lnTo>
                    <a:pt x="1237851" y="164826"/>
                  </a:lnTo>
                  <a:lnTo>
                    <a:pt x="1238735" y="162894"/>
                  </a:lnTo>
                  <a:lnTo>
                    <a:pt x="1242076" y="161058"/>
                  </a:lnTo>
                  <a:lnTo>
                    <a:pt x="1245756" y="159353"/>
                  </a:lnTo>
                  <a:lnTo>
                    <a:pt x="1247199" y="157752"/>
                  </a:lnTo>
                  <a:lnTo>
                    <a:pt x="1247898" y="156841"/>
                  </a:lnTo>
                  <a:lnTo>
                    <a:pt x="1257865" y="148195"/>
                  </a:lnTo>
                  <a:lnTo>
                    <a:pt x="1263525" y="144194"/>
                  </a:lnTo>
                  <a:lnTo>
                    <a:pt x="1268199" y="141966"/>
                  </a:lnTo>
                  <a:lnTo>
                    <a:pt x="1271757" y="140899"/>
                  </a:lnTo>
                  <a:lnTo>
                    <a:pt x="1274160" y="141052"/>
                  </a:lnTo>
                  <a:lnTo>
                    <a:pt x="1275527" y="140901"/>
                  </a:lnTo>
                  <a:lnTo>
                    <a:pt x="1276691" y="140899"/>
                  </a:lnTo>
                  <a:lnTo>
                    <a:pt x="1282632" y="140890"/>
                  </a:lnTo>
                  <a:lnTo>
                    <a:pt x="1293247" y="140875"/>
                  </a:lnTo>
                  <a:lnTo>
                    <a:pt x="1303863" y="140860"/>
                  </a:lnTo>
                  <a:lnTo>
                    <a:pt x="1314478" y="140846"/>
                  </a:lnTo>
                  <a:lnTo>
                    <a:pt x="1325093" y="140830"/>
                  </a:lnTo>
                  <a:lnTo>
                    <a:pt x="1335709" y="140815"/>
                  </a:lnTo>
                  <a:lnTo>
                    <a:pt x="1346324" y="140801"/>
                  </a:lnTo>
                  <a:lnTo>
                    <a:pt x="1356939" y="140785"/>
                  </a:lnTo>
                  <a:lnTo>
                    <a:pt x="1359451" y="134700"/>
                  </a:lnTo>
                  <a:lnTo>
                    <a:pt x="1361792" y="131862"/>
                  </a:lnTo>
                  <a:lnTo>
                    <a:pt x="1364998" y="132802"/>
                  </a:lnTo>
                  <a:lnTo>
                    <a:pt x="1366705" y="132723"/>
                  </a:lnTo>
                  <a:lnTo>
                    <a:pt x="1368604" y="131259"/>
                  </a:lnTo>
                  <a:lnTo>
                    <a:pt x="1370143" y="130370"/>
                  </a:lnTo>
                  <a:lnTo>
                    <a:pt x="1371157" y="130502"/>
                  </a:lnTo>
                  <a:lnTo>
                    <a:pt x="1372022" y="131842"/>
                  </a:lnTo>
                  <a:lnTo>
                    <a:pt x="1372744" y="132736"/>
                  </a:lnTo>
                  <a:lnTo>
                    <a:pt x="1373585" y="132476"/>
                  </a:lnTo>
                  <a:lnTo>
                    <a:pt x="1374304" y="131211"/>
                  </a:lnTo>
                  <a:lnTo>
                    <a:pt x="1374279" y="129456"/>
                  </a:lnTo>
                  <a:lnTo>
                    <a:pt x="1375264" y="128232"/>
                  </a:lnTo>
                  <a:lnTo>
                    <a:pt x="1376434" y="128045"/>
                  </a:lnTo>
                  <a:lnTo>
                    <a:pt x="1377515" y="128084"/>
                  </a:lnTo>
                  <a:lnTo>
                    <a:pt x="1378054" y="127487"/>
                  </a:lnTo>
                  <a:lnTo>
                    <a:pt x="1377995" y="126632"/>
                  </a:lnTo>
                  <a:lnTo>
                    <a:pt x="1377605" y="125251"/>
                  </a:lnTo>
                  <a:lnTo>
                    <a:pt x="1377737" y="123588"/>
                  </a:lnTo>
                  <a:lnTo>
                    <a:pt x="1380437" y="120649"/>
                  </a:lnTo>
                  <a:lnTo>
                    <a:pt x="1383748" y="118654"/>
                  </a:lnTo>
                  <a:lnTo>
                    <a:pt x="1384909" y="117656"/>
                  </a:lnTo>
                  <a:lnTo>
                    <a:pt x="1385247" y="115633"/>
                  </a:lnTo>
                  <a:lnTo>
                    <a:pt x="1387144" y="113529"/>
                  </a:lnTo>
                  <a:lnTo>
                    <a:pt x="1388094" y="112318"/>
                  </a:lnTo>
                  <a:lnTo>
                    <a:pt x="1388326" y="111267"/>
                  </a:lnTo>
                  <a:lnTo>
                    <a:pt x="1387833" y="109971"/>
                  </a:lnTo>
                  <a:lnTo>
                    <a:pt x="1387883" y="107500"/>
                  </a:lnTo>
                  <a:lnTo>
                    <a:pt x="1388536" y="104547"/>
                  </a:lnTo>
                  <a:lnTo>
                    <a:pt x="1389317" y="101325"/>
                  </a:lnTo>
                  <a:lnTo>
                    <a:pt x="1391067" y="98419"/>
                  </a:lnTo>
                  <a:lnTo>
                    <a:pt x="1393937" y="95245"/>
                  </a:lnTo>
                  <a:lnTo>
                    <a:pt x="1394676" y="91069"/>
                  </a:lnTo>
                  <a:lnTo>
                    <a:pt x="1395454" y="86659"/>
                  </a:lnTo>
                  <a:lnTo>
                    <a:pt x="1398923" y="82355"/>
                  </a:lnTo>
                  <a:lnTo>
                    <a:pt x="1402856" y="77467"/>
                  </a:lnTo>
                  <a:lnTo>
                    <a:pt x="1405095" y="74682"/>
                  </a:lnTo>
                  <a:lnTo>
                    <a:pt x="1409134" y="69608"/>
                  </a:lnTo>
                  <a:lnTo>
                    <a:pt x="1412006" y="65991"/>
                  </a:lnTo>
                  <a:lnTo>
                    <a:pt x="1413453" y="64330"/>
                  </a:lnTo>
                  <a:lnTo>
                    <a:pt x="1414965" y="62356"/>
                  </a:lnTo>
                  <a:lnTo>
                    <a:pt x="1417430" y="62946"/>
                  </a:lnTo>
                  <a:lnTo>
                    <a:pt x="1419879" y="63534"/>
                  </a:lnTo>
                  <a:lnTo>
                    <a:pt x="1419522" y="66395"/>
                  </a:lnTo>
                  <a:lnTo>
                    <a:pt x="1419922" y="68478"/>
                  </a:lnTo>
                  <a:lnTo>
                    <a:pt x="1421081" y="69681"/>
                  </a:lnTo>
                  <a:lnTo>
                    <a:pt x="1422763" y="70493"/>
                  </a:lnTo>
                  <a:lnTo>
                    <a:pt x="1424033" y="70764"/>
                  </a:lnTo>
                  <a:lnTo>
                    <a:pt x="1425531" y="70748"/>
                  </a:lnTo>
                  <a:lnTo>
                    <a:pt x="1429616" y="69129"/>
                  </a:lnTo>
                  <a:lnTo>
                    <a:pt x="1434416" y="68086"/>
                  </a:lnTo>
                  <a:lnTo>
                    <a:pt x="1437056" y="67105"/>
                  </a:lnTo>
                  <a:lnTo>
                    <a:pt x="1437538" y="66189"/>
                  </a:lnTo>
                  <a:lnTo>
                    <a:pt x="1438740" y="65867"/>
                  </a:lnTo>
                  <a:lnTo>
                    <a:pt x="1440664" y="66142"/>
                  </a:lnTo>
                  <a:lnTo>
                    <a:pt x="1444202" y="68439"/>
                  </a:lnTo>
                  <a:lnTo>
                    <a:pt x="1448333" y="71900"/>
                  </a:lnTo>
                  <a:lnTo>
                    <a:pt x="1451600" y="74634"/>
                  </a:lnTo>
                  <a:lnTo>
                    <a:pt x="1451700" y="79370"/>
                  </a:lnTo>
                  <a:lnTo>
                    <a:pt x="1451764" y="84380"/>
                  </a:lnTo>
                  <a:lnTo>
                    <a:pt x="1451832" y="89653"/>
                  </a:lnTo>
                  <a:lnTo>
                    <a:pt x="1451880" y="93409"/>
                  </a:lnTo>
                  <a:lnTo>
                    <a:pt x="1451964" y="98561"/>
                  </a:lnTo>
                  <a:lnTo>
                    <a:pt x="1452029" y="102652"/>
                  </a:lnTo>
                  <a:lnTo>
                    <a:pt x="1452118" y="107985"/>
                  </a:lnTo>
                  <a:lnTo>
                    <a:pt x="1452164" y="110832"/>
                  </a:lnTo>
                  <a:lnTo>
                    <a:pt x="1452614" y="111654"/>
                  </a:lnTo>
                  <a:lnTo>
                    <a:pt x="1452343" y="112774"/>
                  </a:lnTo>
                  <a:lnTo>
                    <a:pt x="1452225" y="113335"/>
                  </a:lnTo>
                  <a:lnTo>
                    <a:pt x="1452254" y="113780"/>
                  </a:lnTo>
                  <a:lnTo>
                    <a:pt x="1452433" y="114342"/>
                  </a:lnTo>
                  <a:lnTo>
                    <a:pt x="1452403" y="115125"/>
                  </a:lnTo>
                  <a:lnTo>
                    <a:pt x="1451984" y="115836"/>
                  </a:lnTo>
                  <a:lnTo>
                    <a:pt x="1451776" y="116654"/>
                  </a:lnTo>
                  <a:lnTo>
                    <a:pt x="1451715" y="117998"/>
                  </a:lnTo>
                  <a:lnTo>
                    <a:pt x="1452164" y="118817"/>
                  </a:lnTo>
                  <a:lnTo>
                    <a:pt x="1452912" y="119300"/>
                  </a:lnTo>
                  <a:lnTo>
                    <a:pt x="1453541" y="119300"/>
                  </a:lnTo>
                  <a:lnTo>
                    <a:pt x="1454350" y="119786"/>
                  </a:lnTo>
                  <a:lnTo>
                    <a:pt x="1455397" y="120643"/>
                  </a:lnTo>
                  <a:lnTo>
                    <a:pt x="1456983" y="121388"/>
                  </a:lnTo>
                  <a:lnTo>
                    <a:pt x="1458629" y="121648"/>
                  </a:lnTo>
                  <a:lnTo>
                    <a:pt x="1459767" y="121461"/>
                  </a:lnTo>
                  <a:lnTo>
                    <a:pt x="1461144" y="121947"/>
                  </a:lnTo>
                  <a:lnTo>
                    <a:pt x="1461623" y="123137"/>
                  </a:lnTo>
                  <a:lnTo>
                    <a:pt x="1461354" y="124252"/>
                  </a:lnTo>
                  <a:lnTo>
                    <a:pt x="1460576" y="124773"/>
                  </a:lnTo>
                  <a:lnTo>
                    <a:pt x="1459738" y="125185"/>
                  </a:lnTo>
                  <a:lnTo>
                    <a:pt x="1459588" y="126038"/>
                  </a:lnTo>
                  <a:lnTo>
                    <a:pt x="1460007" y="126931"/>
                  </a:lnTo>
                  <a:lnTo>
                    <a:pt x="1460606" y="127712"/>
                  </a:lnTo>
                  <a:lnTo>
                    <a:pt x="1461265" y="129083"/>
                  </a:lnTo>
                  <a:lnTo>
                    <a:pt x="1460994" y="130270"/>
                  </a:lnTo>
                  <a:lnTo>
                    <a:pt x="1460396" y="131273"/>
                  </a:lnTo>
                  <a:lnTo>
                    <a:pt x="1460126" y="132312"/>
                  </a:lnTo>
                  <a:lnTo>
                    <a:pt x="1460636" y="133203"/>
                  </a:lnTo>
                  <a:lnTo>
                    <a:pt x="1461982" y="134389"/>
                  </a:lnTo>
                  <a:lnTo>
                    <a:pt x="1462820" y="135538"/>
                  </a:lnTo>
                  <a:lnTo>
                    <a:pt x="1464138" y="136170"/>
                  </a:lnTo>
                  <a:lnTo>
                    <a:pt x="1464766" y="135723"/>
                  </a:lnTo>
                  <a:lnTo>
                    <a:pt x="1465276" y="135130"/>
                  </a:lnTo>
                  <a:lnTo>
                    <a:pt x="1465813" y="134686"/>
                  </a:lnTo>
                  <a:lnTo>
                    <a:pt x="1466741" y="134946"/>
                  </a:lnTo>
                  <a:lnTo>
                    <a:pt x="1467819" y="135279"/>
                  </a:lnTo>
                  <a:lnTo>
                    <a:pt x="1468996" y="135676"/>
                  </a:lnTo>
                  <a:lnTo>
                    <a:pt x="1468855" y="136637"/>
                  </a:lnTo>
                  <a:lnTo>
                    <a:pt x="1469573" y="138256"/>
                  </a:lnTo>
                  <a:lnTo>
                    <a:pt x="1470128" y="141364"/>
                  </a:lnTo>
                  <a:lnTo>
                    <a:pt x="1469275" y="142777"/>
                  </a:lnTo>
                  <a:lnTo>
                    <a:pt x="1469458" y="144646"/>
                  </a:lnTo>
                  <a:lnTo>
                    <a:pt x="1471823" y="145189"/>
                  </a:lnTo>
                  <a:lnTo>
                    <a:pt x="1472399" y="145761"/>
                  </a:lnTo>
                  <a:lnTo>
                    <a:pt x="1472512" y="146452"/>
                  </a:lnTo>
                  <a:lnTo>
                    <a:pt x="1467301" y="151236"/>
                  </a:lnTo>
                  <a:lnTo>
                    <a:pt x="1462894" y="150567"/>
                  </a:lnTo>
                  <a:lnTo>
                    <a:pt x="1460502" y="151834"/>
                  </a:lnTo>
                  <a:lnTo>
                    <a:pt x="1457997" y="152205"/>
                  </a:lnTo>
                  <a:lnTo>
                    <a:pt x="1456898" y="154338"/>
                  </a:lnTo>
                  <a:lnTo>
                    <a:pt x="1455523" y="154791"/>
                  </a:lnTo>
                  <a:lnTo>
                    <a:pt x="1453640" y="154661"/>
                  </a:lnTo>
                  <a:lnTo>
                    <a:pt x="1452015" y="154060"/>
                  </a:lnTo>
                  <a:lnTo>
                    <a:pt x="1450777" y="154356"/>
                  </a:lnTo>
                  <a:lnTo>
                    <a:pt x="1449042" y="158205"/>
                  </a:lnTo>
                  <a:lnTo>
                    <a:pt x="1447623" y="157869"/>
                  </a:lnTo>
                  <a:lnTo>
                    <a:pt x="1447057" y="159253"/>
                  </a:lnTo>
                  <a:lnTo>
                    <a:pt x="1446315" y="159858"/>
                  </a:lnTo>
                  <a:lnTo>
                    <a:pt x="1445226" y="160376"/>
                  </a:lnTo>
                  <a:lnTo>
                    <a:pt x="1444280" y="158668"/>
                  </a:lnTo>
                  <a:lnTo>
                    <a:pt x="1443679" y="157043"/>
                  </a:lnTo>
                  <a:lnTo>
                    <a:pt x="1442791" y="156687"/>
                  </a:lnTo>
                  <a:lnTo>
                    <a:pt x="1441613" y="156271"/>
                  </a:lnTo>
                  <a:lnTo>
                    <a:pt x="1440401" y="156285"/>
                  </a:lnTo>
                  <a:lnTo>
                    <a:pt x="1439594" y="156517"/>
                  </a:lnTo>
                  <a:lnTo>
                    <a:pt x="1438590" y="157569"/>
                  </a:lnTo>
                  <a:lnTo>
                    <a:pt x="1437136" y="158471"/>
                  </a:lnTo>
                  <a:lnTo>
                    <a:pt x="1436037" y="157719"/>
                  </a:lnTo>
                  <a:lnTo>
                    <a:pt x="1435177" y="156509"/>
                  </a:lnTo>
                  <a:lnTo>
                    <a:pt x="1434440" y="158454"/>
                  </a:lnTo>
                  <a:lnTo>
                    <a:pt x="1433369" y="160506"/>
                  </a:lnTo>
                  <a:lnTo>
                    <a:pt x="1433548" y="162896"/>
                  </a:lnTo>
                  <a:lnTo>
                    <a:pt x="1433086" y="164312"/>
                  </a:lnTo>
                  <a:lnTo>
                    <a:pt x="1432070" y="163930"/>
                  </a:lnTo>
                  <a:lnTo>
                    <a:pt x="1431059" y="162688"/>
                  </a:lnTo>
                  <a:lnTo>
                    <a:pt x="1428220" y="161694"/>
                  </a:lnTo>
                  <a:lnTo>
                    <a:pt x="1425958" y="161785"/>
                  </a:lnTo>
                  <a:lnTo>
                    <a:pt x="1426419" y="160458"/>
                  </a:lnTo>
                  <a:lnTo>
                    <a:pt x="1428557" y="158551"/>
                  </a:lnTo>
                  <a:lnTo>
                    <a:pt x="1427898" y="158176"/>
                  </a:lnTo>
                  <a:lnTo>
                    <a:pt x="1426849" y="158441"/>
                  </a:lnTo>
                  <a:lnTo>
                    <a:pt x="1426393" y="158176"/>
                  </a:lnTo>
                  <a:lnTo>
                    <a:pt x="1427142" y="156443"/>
                  </a:lnTo>
                  <a:lnTo>
                    <a:pt x="1427215" y="154530"/>
                  </a:lnTo>
                  <a:lnTo>
                    <a:pt x="1426257" y="155199"/>
                  </a:lnTo>
                  <a:lnTo>
                    <a:pt x="1425054" y="157219"/>
                  </a:lnTo>
                  <a:lnTo>
                    <a:pt x="1422143" y="158824"/>
                  </a:lnTo>
                  <a:lnTo>
                    <a:pt x="1422280" y="161511"/>
                  </a:lnTo>
                  <a:lnTo>
                    <a:pt x="1419539" y="167012"/>
                  </a:lnTo>
                  <a:lnTo>
                    <a:pt x="1419418" y="169350"/>
                  </a:lnTo>
                  <a:lnTo>
                    <a:pt x="1417660" y="171216"/>
                  </a:lnTo>
                  <a:lnTo>
                    <a:pt x="1415394" y="172820"/>
                  </a:lnTo>
                  <a:lnTo>
                    <a:pt x="1412372" y="172368"/>
                  </a:lnTo>
                  <a:lnTo>
                    <a:pt x="1410064" y="173761"/>
                  </a:lnTo>
                  <a:lnTo>
                    <a:pt x="1408894" y="175360"/>
                  </a:lnTo>
                  <a:lnTo>
                    <a:pt x="1407876" y="175599"/>
                  </a:lnTo>
                  <a:lnTo>
                    <a:pt x="1407346" y="173564"/>
                  </a:lnTo>
                  <a:lnTo>
                    <a:pt x="1406960" y="172934"/>
                  </a:lnTo>
                  <a:lnTo>
                    <a:pt x="1406111" y="175936"/>
                  </a:lnTo>
                  <a:lnTo>
                    <a:pt x="1405244" y="176123"/>
                  </a:lnTo>
                  <a:lnTo>
                    <a:pt x="1404916" y="173995"/>
                  </a:lnTo>
                  <a:lnTo>
                    <a:pt x="1404506" y="172587"/>
                  </a:lnTo>
                  <a:lnTo>
                    <a:pt x="1403326" y="173801"/>
                  </a:lnTo>
                  <a:lnTo>
                    <a:pt x="1402543" y="177014"/>
                  </a:lnTo>
                  <a:lnTo>
                    <a:pt x="1401722" y="176743"/>
                  </a:lnTo>
                  <a:lnTo>
                    <a:pt x="1401461" y="175548"/>
                  </a:lnTo>
                  <a:lnTo>
                    <a:pt x="1400872" y="175186"/>
                  </a:lnTo>
                  <a:lnTo>
                    <a:pt x="1400672" y="176551"/>
                  </a:lnTo>
                  <a:lnTo>
                    <a:pt x="1400967" y="178473"/>
                  </a:lnTo>
                  <a:lnTo>
                    <a:pt x="1400540" y="179497"/>
                  </a:lnTo>
                  <a:lnTo>
                    <a:pt x="1399724" y="178950"/>
                  </a:lnTo>
                  <a:lnTo>
                    <a:pt x="1398903" y="178026"/>
                  </a:lnTo>
                  <a:lnTo>
                    <a:pt x="1397550" y="178727"/>
                  </a:lnTo>
                  <a:lnTo>
                    <a:pt x="1396306" y="179012"/>
                  </a:lnTo>
                  <a:lnTo>
                    <a:pt x="1396301" y="178072"/>
                  </a:lnTo>
                  <a:lnTo>
                    <a:pt x="1396538" y="176918"/>
                  </a:lnTo>
                  <a:lnTo>
                    <a:pt x="1394060" y="177556"/>
                  </a:lnTo>
                  <a:lnTo>
                    <a:pt x="1391089" y="179682"/>
                  </a:lnTo>
                  <a:lnTo>
                    <a:pt x="1388783" y="182623"/>
                  </a:lnTo>
                  <a:lnTo>
                    <a:pt x="1389582" y="183113"/>
                  </a:lnTo>
                  <a:lnTo>
                    <a:pt x="1390483" y="184048"/>
                  </a:lnTo>
                  <a:lnTo>
                    <a:pt x="1386475" y="188583"/>
                  </a:lnTo>
                  <a:lnTo>
                    <a:pt x="1382368" y="192661"/>
                  </a:lnTo>
                  <a:lnTo>
                    <a:pt x="1379265" y="199305"/>
                  </a:lnTo>
                  <a:lnTo>
                    <a:pt x="1378019" y="200083"/>
                  </a:lnTo>
                  <a:lnTo>
                    <a:pt x="1376950" y="201298"/>
                  </a:lnTo>
                  <a:lnTo>
                    <a:pt x="1375813" y="205300"/>
                  </a:lnTo>
                  <a:lnTo>
                    <a:pt x="1374501" y="208860"/>
                  </a:lnTo>
                  <a:lnTo>
                    <a:pt x="1375236" y="210442"/>
                  </a:lnTo>
                  <a:lnTo>
                    <a:pt x="1375719" y="212072"/>
                  </a:lnTo>
                  <a:lnTo>
                    <a:pt x="1376884" y="213672"/>
                  </a:lnTo>
                  <a:lnTo>
                    <a:pt x="1377874" y="213818"/>
                  </a:lnTo>
                  <a:lnTo>
                    <a:pt x="1378946" y="213528"/>
                  </a:lnTo>
                  <a:lnTo>
                    <a:pt x="1379734" y="213595"/>
                  </a:lnTo>
                  <a:lnTo>
                    <a:pt x="1380239" y="214276"/>
                  </a:lnTo>
                  <a:lnTo>
                    <a:pt x="1380015" y="215092"/>
                  </a:lnTo>
                  <a:lnTo>
                    <a:pt x="1378778" y="215294"/>
                  </a:lnTo>
                  <a:lnTo>
                    <a:pt x="1376471" y="216720"/>
                  </a:lnTo>
                  <a:lnTo>
                    <a:pt x="1374449" y="217267"/>
                  </a:lnTo>
                  <a:lnTo>
                    <a:pt x="1373435" y="218990"/>
                  </a:lnTo>
                  <a:lnTo>
                    <a:pt x="1371915" y="220978"/>
                  </a:lnTo>
                  <a:lnTo>
                    <a:pt x="1368963" y="224079"/>
                  </a:lnTo>
                  <a:lnTo>
                    <a:pt x="1370223" y="225034"/>
                  </a:lnTo>
                  <a:lnTo>
                    <a:pt x="1374784" y="226111"/>
                  </a:lnTo>
                  <a:lnTo>
                    <a:pt x="1376817" y="227218"/>
                  </a:lnTo>
                  <a:lnTo>
                    <a:pt x="1379894" y="232997"/>
                  </a:lnTo>
                  <a:lnTo>
                    <a:pt x="1379191" y="233574"/>
                  </a:lnTo>
                  <a:lnTo>
                    <a:pt x="1378912" y="234632"/>
                  </a:lnTo>
                  <a:lnTo>
                    <a:pt x="1381647" y="236114"/>
                  </a:lnTo>
                  <a:lnTo>
                    <a:pt x="1382521" y="240254"/>
                  </a:lnTo>
                  <a:lnTo>
                    <a:pt x="1384767" y="241661"/>
                  </a:lnTo>
                  <a:lnTo>
                    <a:pt x="1388114" y="242526"/>
                  </a:lnTo>
                  <a:lnTo>
                    <a:pt x="1392207" y="241276"/>
                  </a:lnTo>
                  <a:lnTo>
                    <a:pt x="1395614" y="239555"/>
                  </a:lnTo>
                  <a:lnTo>
                    <a:pt x="1395495" y="238143"/>
                  </a:lnTo>
                  <a:lnTo>
                    <a:pt x="1393354" y="234857"/>
                  </a:lnTo>
                  <a:lnTo>
                    <a:pt x="1392838" y="233312"/>
                  </a:lnTo>
                  <a:lnTo>
                    <a:pt x="1391249" y="232312"/>
                  </a:lnTo>
                  <a:lnTo>
                    <a:pt x="1390644" y="233159"/>
                  </a:lnTo>
                  <a:lnTo>
                    <a:pt x="1389617" y="232058"/>
                  </a:lnTo>
                  <a:lnTo>
                    <a:pt x="1389502" y="231441"/>
                  </a:lnTo>
                  <a:lnTo>
                    <a:pt x="1390459" y="231140"/>
                  </a:lnTo>
                  <a:lnTo>
                    <a:pt x="1391572" y="231260"/>
                  </a:lnTo>
                  <a:lnTo>
                    <a:pt x="1392872" y="231835"/>
                  </a:lnTo>
                  <a:lnTo>
                    <a:pt x="1396215" y="235421"/>
                  </a:lnTo>
                  <a:lnTo>
                    <a:pt x="1397142" y="240114"/>
                  </a:lnTo>
                  <a:lnTo>
                    <a:pt x="1397339" y="243092"/>
                  </a:lnTo>
                  <a:lnTo>
                    <a:pt x="1396961" y="244109"/>
                  </a:lnTo>
                  <a:lnTo>
                    <a:pt x="1395989" y="243900"/>
                  </a:lnTo>
                  <a:lnTo>
                    <a:pt x="1394132" y="244102"/>
                  </a:lnTo>
                  <a:lnTo>
                    <a:pt x="1385327" y="245642"/>
                  </a:lnTo>
                  <a:lnTo>
                    <a:pt x="1383372" y="246997"/>
                  </a:lnTo>
                  <a:lnTo>
                    <a:pt x="1378888" y="248470"/>
                  </a:lnTo>
                  <a:lnTo>
                    <a:pt x="1378609" y="247736"/>
                  </a:lnTo>
                  <a:lnTo>
                    <a:pt x="1378933" y="246217"/>
                  </a:lnTo>
                  <a:lnTo>
                    <a:pt x="1378650" y="243102"/>
                  </a:lnTo>
                  <a:lnTo>
                    <a:pt x="1377765" y="242958"/>
                  </a:lnTo>
                  <a:lnTo>
                    <a:pt x="1370798" y="248034"/>
                  </a:lnTo>
                  <a:lnTo>
                    <a:pt x="1368106" y="248353"/>
                  </a:lnTo>
                  <a:lnTo>
                    <a:pt x="1365841" y="249835"/>
                  </a:lnTo>
                  <a:lnTo>
                    <a:pt x="1365335" y="249014"/>
                  </a:lnTo>
                  <a:lnTo>
                    <a:pt x="1364930" y="245209"/>
                  </a:lnTo>
                  <a:lnTo>
                    <a:pt x="1366346" y="242013"/>
                  </a:lnTo>
                  <a:lnTo>
                    <a:pt x="1365592" y="242065"/>
                  </a:lnTo>
                  <a:lnTo>
                    <a:pt x="1363225" y="243983"/>
                  </a:lnTo>
                  <a:lnTo>
                    <a:pt x="1362214" y="242803"/>
                  </a:lnTo>
                  <a:lnTo>
                    <a:pt x="1361707" y="241508"/>
                  </a:lnTo>
                  <a:lnTo>
                    <a:pt x="1360979" y="240776"/>
                  </a:lnTo>
                  <a:lnTo>
                    <a:pt x="1360188" y="240498"/>
                  </a:lnTo>
                  <a:lnTo>
                    <a:pt x="1360864" y="243326"/>
                  </a:lnTo>
                  <a:lnTo>
                    <a:pt x="1359259" y="245447"/>
                  </a:lnTo>
                  <a:lnTo>
                    <a:pt x="1358820" y="250924"/>
                  </a:lnTo>
                  <a:lnTo>
                    <a:pt x="1356804" y="253201"/>
                  </a:lnTo>
                  <a:lnTo>
                    <a:pt x="1350517" y="254664"/>
                  </a:lnTo>
                  <a:lnTo>
                    <a:pt x="1346418" y="254356"/>
                  </a:lnTo>
                  <a:lnTo>
                    <a:pt x="1342746" y="254810"/>
                  </a:lnTo>
                  <a:lnTo>
                    <a:pt x="1337864" y="255859"/>
                  </a:lnTo>
                  <a:lnTo>
                    <a:pt x="1335165" y="255235"/>
                  </a:lnTo>
                  <a:lnTo>
                    <a:pt x="1332402" y="256343"/>
                  </a:lnTo>
                  <a:lnTo>
                    <a:pt x="1323019" y="256643"/>
                  </a:lnTo>
                  <a:lnTo>
                    <a:pt x="1321042" y="256056"/>
                  </a:lnTo>
                  <a:lnTo>
                    <a:pt x="1318515" y="258147"/>
                  </a:lnTo>
                  <a:lnTo>
                    <a:pt x="1314471" y="259381"/>
                  </a:lnTo>
                  <a:lnTo>
                    <a:pt x="1304248" y="264058"/>
                  </a:lnTo>
                  <a:lnTo>
                    <a:pt x="1301994" y="265757"/>
                  </a:lnTo>
                  <a:lnTo>
                    <a:pt x="1299248" y="268409"/>
                  </a:lnTo>
                  <a:lnTo>
                    <a:pt x="1297404" y="269835"/>
                  </a:lnTo>
                  <a:lnTo>
                    <a:pt x="1295890" y="270299"/>
                  </a:lnTo>
                  <a:lnTo>
                    <a:pt x="1294957" y="271484"/>
                  </a:lnTo>
                  <a:lnTo>
                    <a:pt x="1293940" y="272259"/>
                  </a:lnTo>
                  <a:lnTo>
                    <a:pt x="1294923" y="269612"/>
                  </a:lnTo>
                  <a:lnTo>
                    <a:pt x="1295990" y="267378"/>
                  </a:lnTo>
                  <a:lnTo>
                    <a:pt x="1296877" y="263047"/>
                  </a:lnTo>
                  <a:lnTo>
                    <a:pt x="1296615" y="259540"/>
                  </a:lnTo>
                  <a:lnTo>
                    <a:pt x="1295516" y="258097"/>
                  </a:lnTo>
                  <a:lnTo>
                    <a:pt x="1294379" y="257135"/>
                  </a:lnTo>
                  <a:lnTo>
                    <a:pt x="1295711" y="260598"/>
                  </a:lnTo>
                  <a:lnTo>
                    <a:pt x="1295926" y="264840"/>
                  </a:lnTo>
                  <a:lnTo>
                    <a:pt x="1295468" y="267323"/>
                  </a:lnTo>
                  <a:lnTo>
                    <a:pt x="1292960" y="272108"/>
                  </a:lnTo>
                  <a:lnTo>
                    <a:pt x="1291894" y="273220"/>
                  </a:lnTo>
                  <a:lnTo>
                    <a:pt x="1290645" y="274199"/>
                  </a:lnTo>
                  <a:lnTo>
                    <a:pt x="1289705" y="274625"/>
                  </a:lnTo>
                  <a:lnTo>
                    <a:pt x="1288836" y="275388"/>
                  </a:lnTo>
                  <a:lnTo>
                    <a:pt x="1287827" y="276598"/>
                  </a:lnTo>
                  <a:lnTo>
                    <a:pt x="1286871" y="278998"/>
                  </a:lnTo>
                  <a:lnTo>
                    <a:pt x="1287451" y="281184"/>
                  </a:lnTo>
                  <a:lnTo>
                    <a:pt x="1292338" y="281981"/>
                  </a:lnTo>
                  <a:lnTo>
                    <a:pt x="1293650" y="281308"/>
                  </a:lnTo>
                  <a:lnTo>
                    <a:pt x="1294318" y="282872"/>
                  </a:lnTo>
                  <a:lnTo>
                    <a:pt x="1294692" y="285044"/>
                  </a:lnTo>
                  <a:lnTo>
                    <a:pt x="1294326" y="287391"/>
                  </a:lnTo>
                  <a:lnTo>
                    <a:pt x="1293508" y="289778"/>
                  </a:lnTo>
                  <a:lnTo>
                    <a:pt x="1292889" y="292740"/>
                  </a:lnTo>
                  <a:lnTo>
                    <a:pt x="1292363" y="297250"/>
                  </a:lnTo>
                  <a:lnTo>
                    <a:pt x="1291572" y="301303"/>
                  </a:lnTo>
                  <a:lnTo>
                    <a:pt x="1291469" y="300072"/>
                  </a:lnTo>
                  <a:lnTo>
                    <a:pt x="1291962" y="295142"/>
                  </a:lnTo>
                  <a:lnTo>
                    <a:pt x="1291162" y="295658"/>
                  </a:lnTo>
                  <a:lnTo>
                    <a:pt x="1290610" y="296797"/>
                  </a:lnTo>
                  <a:lnTo>
                    <a:pt x="1289118" y="303151"/>
                  </a:lnTo>
                  <a:lnTo>
                    <a:pt x="1287067" y="306532"/>
                  </a:lnTo>
                  <a:lnTo>
                    <a:pt x="1285176" y="308869"/>
                  </a:lnTo>
                  <a:lnTo>
                    <a:pt x="1283229" y="308483"/>
                  </a:lnTo>
                  <a:lnTo>
                    <a:pt x="1283666" y="310339"/>
                  </a:lnTo>
                  <a:lnTo>
                    <a:pt x="1283130" y="311306"/>
                  </a:lnTo>
                  <a:lnTo>
                    <a:pt x="1282672" y="313320"/>
                  </a:lnTo>
                  <a:lnTo>
                    <a:pt x="1281509" y="314656"/>
                  </a:lnTo>
                  <a:lnTo>
                    <a:pt x="1280418" y="314528"/>
                  </a:lnTo>
                  <a:lnTo>
                    <a:pt x="1278847" y="315447"/>
                  </a:lnTo>
                  <a:lnTo>
                    <a:pt x="1278229" y="316151"/>
                  </a:lnTo>
                  <a:lnTo>
                    <a:pt x="1278183" y="317498"/>
                  </a:lnTo>
                  <a:lnTo>
                    <a:pt x="1277133" y="318683"/>
                  </a:lnTo>
                  <a:lnTo>
                    <a:pt x="1273343" y="324830"/>
                  </a:lnTo>
                  <a:lnTo>
                    <a:pt x="1270054" y="326643"/>
                  </a:lnTo>
                  <a:lnTo>
                    <a:pt x="1269266" y="326379"/>
                  </a:lnTo>
                  <a:lnTo>
                    <a:pt x="1270134" y="323480"/>
                  </a:lnTo>
                  <a:lnTo>
                    <a:pt x="1270728" y="320546"/>
                  </a:lnTo>
                  <a:lnTo>
                    <a:pt x="1268731" y="319270"/>
                  </a:lnTo>
                  <a:lnTo>
                    <a:pt x="1266821" y="318594"/>
                  </a:lnTo>
                  <a:lnTo>
                    <a:pt x="1264629" y="318683"/>
                  </a:lnTo>
                  <a:lnTo>
                    <a:pt x="1262207" y="316398"/>
                  </a:lnTo>
                  <a:lnTo>
                    <a:pt x="1259085" y="314737"/>
                  </a:lnTo>
                  <a:lnTo>
                    <a:pt x="1254728" y="310238"/>
                  </a:lnTo>
                  <a:lnTo>
                    <a:pt x="1254855" y="308989"/>
                  </a:lnTo>
                  <a:lnTo>
                    <a:pt x="1254745" y="306891"/>
                  </a:lnTo>
                  <a:lnTo>
                    <a:pt x="1256070" y="303576"/>
                  </a:lnTo>
                  <a:lnTo>
                    <a:pt x="1257339" y="301256"/>
                  </a:lnTo>
                  <a:lnTo>
                    <a:pt x="1259091" y="300054"/>
                  </a:lnTo>
                  <a:lnTo>
                    <a:pt x="1264178" y="298828"/>
                  </a:lnTo>
                  <a:lnTo>
                    <a:pt x="1265453" y="296986"/>
                  </a:lnTo>
                  <a:lnTo>
                    <a:pt x="1266209" y="295432"/>
                  </a:lnTo>
                  <a:lnTo>
                    <a:pt x="1263689" y="298099"/>
                  </a:lnTo>
                  <a:lnTo>
                    <a:pt x="1259915" y="299004"/>
                  </a:lnTo>
                  <a:lnTo>
                    <a:pt x="1257881" y="299999"/>
                  </a:lnTo>
                  <a:lnTo>
                    <a:pt x="1256254" y="301519"/>
                  </a:lnTo>
                  <a:lnTo>
                    <a:pt x="1255291" y="303427"/>
                  </a:lnTo>
                  <a:lnTo>
                    <a:pt x="1253111" y="305725"/>
                  </a:lnTo>
                  <a:lnTo>
                    <a:pt x="1253264" y="307263"/>
                  </a:lnTo>
                  <a:lnTo>
                    <a:pt x="1253629" y="308357"/>
                  </a:lnTo>
                  <a:lnTo>
                    <a:pt x="1253461" y="310634"/>
                  </a:lnTo>
                  <a:lnTo>
                    <a:pt x="1254840" y="312852"/>
                  </a:lnTo>
                  <a:lnTo>
                    <a:pt x="1257574" y="316485"/>
                  </a:lnTo>
                  <a:lnTo>
                    <a:pt x="1258096" y="322120"/>
                  </a:lnTo>
                  <a:lnTo>
                    <a:pt x="1260183" y="325884"/>
                  </a:lnTo>
                  <a:lnTo>
                    <a:pt x="1263380" y="330269"/>
                  </a:lnTo>
                  <a:lnTo>
                    <a:pt x="1265839" y="331515"/>
                  </a:lnTo>
                  <a:lnTo>
                    <a:pt x="1265959" y="333144"/>
                  </a:lnTo>
                  <a:lnTo>
                    <a:pt x="1264824" y="335832"/>
                  </a:lnTo>
                  <a:lnTo>
                    <a:pt x="1263328" y="337061"/>
                  </a:lnTo>
                  <a:lnTo>
                    <a:pt x="1265273" y="336815"/>
                  </a:lnTo>
                  <a:lnTo>
                    <a:pt x="1266242" y="337429"/>
                  </a:lnTo>
                  <a:lnTo>
                    <a:pt x="1267185" y="339669"/>
                  </a:lnTo>
                  <a:lnTo>
                    <a:pt x="1267112" y="341953"/>
                  </a:lnTo>
                  <a:lnTo>
                    <a:pt x="1266793" y="343240"/>
                  </a:lnTo>
                  <a:lnTo>
                    <a:pt x="1266203" y="343753"/>
                  </a:lnTo>
                  <a:lnTo>
                    <a:pt x="1266229" y="342439"/>
                  </a:lnTo>
                  <a:lnTo>
                    <a:pt x="1265812" y="341982"/>
                  </a:lnTo>
                  <a:lnTo>
                    <a:pt x="1265123" y="342553"/>
                  </a:lnTo>
                  <a:lnTo>
                    <a:pt x="1264676" y="343202"/>
                  </a:lnTo>
                  <a:lnTo>
                    <a:pt x="1264492" y="345757"/>
                  </a:lnTo>
                  <a:lnTo>
                    <a:pt x="1264020" y="347035"/>
                  </a:lnTo>
                  <a:lnTo>
                    <a:pt x="1262350" y="347413"/>
                  </a:lnTo>
                  <a:lnTo>
                    <a:pt x="1260658" y="350763"/>
                  </a:lnTo>
                  <a:lnTo>
                    <a:pt x="1259083" y="352662"/>
                  </a:lnTo>
                  <a:lnTo>
                    <a:pt x="1252887" y="365477"/>
                  </a:lnTo>
                  <a:lnTo>
                    <a:pt x="1253123" y="367615"/>
                  </a:lnTo>
                  <a:lnTo>
                    <a:pt x="1251990" y="368304"/>
                  </a:lnTo>
                  <a:lnTo>
                    <a:pt x="1250273" y="368862"/>
                  </a:lnTo>
                  <a:lnTo>
                    <a:pt x="1248538" y="370140"/>
                  </a:lnTo>
                  <a:lnTo>
                    <a:pt x="1247385" y="371547"/>
                  </a:lnTo>
                  <a:lnTo>
                    <a:pt x="1246315" y="375330"/>
                  </a:lnTo>
                  <a:lnTo>
                    <a:pt x="1244265" y="379584"/>
                  </a:lnTo>
                  <a:lnTo>
                    <a:pt x="1242986" y="377812"/>
                  </a:lnTo>
                  <a:lnTo>
                    <a:pt x="1242658" y="376295"/>
                  </a:lnTo>
                  <a:lnTo>
                    <a:pt x="1243227" y="372334"/>
                  </a:lnTo>
                  <a:lnTo>
                    <a:pt x="1245444" y="365833"/>
                  </a:lnTo>
                  <a:lnTo>
                    <a:pt x="1247888" y="361786"/>
                  </a:lnTo>
                  <a:lnTo>
                    <a:pt x="1249751" y="359865"/>
                  </a:lnTo>
                  <a:lnTo>
                    <a:pt x="1251283" y="355947"/>
                  </a:lnTo>
                  <a:lnTo>
                    <a:pt x="1249348" y="355363"/>
                  </a:lnTo>
                  <a:lnTo>
                    <a:pt x="1246396" y="355427"/>
                  </a:lnTo>
                  <a:lnTo>
                    <a:pt x="1246952" y="353617"/>
                  </a:lnTo>
                  <a:lnTo>
                    <a:pt x="1247813" y="352022"/>
                  </a:lnTo>
                  <a:lnTo>
                    <a:pt x="1246274" y="350432"/>
                  </a:lnTo>
                  <a:lnTo>
                    <a:pt x="1245364" y="350229"/>
                  </a:lnTo>
                  <a:lnTo>
                    <a:pt x="1244426" y="349577"/>
                  </a:lnTo>
                  <a:lnTo>
                    <a:pt x="1245526" y="348253"/>
                  </a:lnTo>
                  <a:lnTo>
                    <a:pt x="1246063" y="346852"/>
                  </a:lnTo>
                  <a:lnTo>
                    <a:pt x="1245735" y="345147"/>
                  </a:lnTo>
                  <a:lnTo>
                    <a:pt x="1246196" y="343862"/>
                  </a:lnTo>
                  <a:lnTo>
                    <a:pt x="1245427" y="344056"/>
                  </a:lnTo>
                  <a:lnTo>
                    <a:pt x="1244191" y="345416"/>
                  </a:lnTo>
                  <a:lnTo>
                    <a:pt x="1243423" y="345958"/>
                  </a:lnTo>
                  <a:lnTo>
                    <a:pt x="1242955" y="344756"/>
                  </a:lnTo>
                  <a:lnTo>
                    <a:pt x="1242421" y="345027"/>
                  </a:lnTo>
                  <a:lnTo>
                    <a:pt x="1242074" y="345855"/>
                  </a:lnTo>
                  <a:lnTo>
                    <a:pt x="1241284" y="346308"/>
                  </a:lnTo>
                  <a:lnTo>
                    <a:pt x="1239618" y="345179"/>
                  </a:lnTo>
                  <a:lnTo>
                    <a:pt x="1237191" y="343884"/>
                  </a:lnTo>
                  <a:lnTo>
                    <a:pt x="1235840" y="341654"/>
                  </a:lnTo>
                  <a:lnTo>
                    <a:pt x="1235069" y="339927"/>
                  </a:lnTo>
                  <a:lnTo>
                    <a:pt x="1235853" y="336798"/>
                  </a:lnTo>
                  <a:lnTo>
                    <a:pt x="1237530" y="336242"/>
                  </a:lnTo>
                  <a:lnTo>
                    <a:pt x="1239709" y="336751"/>
                  </a:lnTo>
                  <a:lnTo>
                    <a:pt x="1242567" y="336746"/>
                  </a:lnTo>
                  <a:lnTo>
                    <a:pt x="1242158" y="336051"/>
                  </a:lnTo>
                  <a:lnTo>
                    <a:pt x="1241139" y="336164"/>
                  </a:lnTo>
                  <a:lnTo>
                    <a:pt x="1238127" y="333624"/>
                  </a:lnTo>
                  <a:lnTo>
                    <a:pt x="1237157" y="332088"/>
                  </a:lnTo>
                  <a:lnTo>
                    <a:pt x="1235490" y="331666"/>
                  </a:lnTo>
                  <a:lnTo>
                    <a:pt x="1234732" y="333143"/>
                  </a:lnTo>
                  <a:lnTo>
                    <a:pt x="1233888" y="333535"/>
                  </a:lnTo>
                  <a:lnTo>
                    <a:pt x="1234929" y="330304"/>
                  </a:lnTo>
                  <a:lnTo>
                    <a:pt x="1236291" y="330172"/>
                  </a:lnTo>
                  <a:lnTo>
                    <a:pt x="1238301" y="329276"/>
                  </a:lnTo>
                  <a:lnTo>
                    <a:pt x="1237717" y="327404"/>
                  </a:lnTo>
                  <a:lnTo>
                    <a:pt x="1236448" y="326585"/>
                  </a:lnTo>
                  <a:lnTo>
                    <a:pt x="1234156" y="327613"/>
                  </a:lnTo>
                  <a:lnTo>
                    <a:pt x="1234183" y="326295"/>
                  </a:lnTo>
                  <a:lnTo>
                    <a:pt x="1234613" y="324607"/>
                  </a:lnTo>
                  <a:lnTo>
                    <a:pt x="1236341" y="324613"/>
                  </a:lnTo>
                  <a:lnTo>
                    <a:pt x="1237854" y="325163"/>
                  </a:lnTo>
                  <a:lnTo>
                    <a:pt x="1239142" y="322437"/>
                  </a:lnTo>
                  <a:lnTo>
                    <a:pt x="1239199" y="321218"/>
                  </a:lnTo>
                  <a:lnTo>
                    <a:pt x="1237060" y="322990"/>
                  </a:lnTo>
                  <a:lnTo>
                    <a:pt x="1236579" y="319169"/>
                  </a:lnTo>
                  <a:lnTo>
                    <a:pt x="1238685" y="315480"/>
                  </a:lnTo>
                  <a:lnTo>
                    <a:pt x="1240693" y="313870"/>
                  </a:lnTo>
                  <a:lnTo>
                    <a:pt x="1243204" y="313916"/>
                  </a:lnTo>
                  <a:lnTo>
                    <a:pt x="1245755" y="313657"/>
                  </a:lnTo>
                  <a:lnTo>
                    <a:pt x="1244154" y="312981"/>
                  </a:lnTo>
                  <a:lnTo>
                    <a:pt x="1242511" y="312613"/>
                  </a:lnTo>
                  <a:lnTo>
                    <a:pt x="1243745" y="311153"/>
                  </a:lnTo>
                  <a:lnTo>
                    <a:pt x="1244798" y="310891"/>
                  </a:lnTo>
                  <a:lnTo>
                    <a:pt x="1245832" y="309617"/>
                  </a:lnTo>
                  <a:lnTo>
                    <a:pt x="1243345" y="309807"/>
                  </a:lnTo>
                  <a:lnTo>
                    <a:pt x="1243639" y="307395"/>
                  </a:lnTo>
                  <a:lnTo>
                    <a:pt x="1242430" y="307886"/>
                  </a:lnTo>
                  <a:lnTo>
                    <a:pt x="1240984" y="308112"/>
                  </a:lnTo>
                  <a:lnTo>
                    <a:pt x="1240422" y="309136"/>
                  </a:lnTo>
                  <a:lnTo>
                    <a:pt x="1240532" y="310833"/>
                  </a:lnTo>
                  <a:lnTo>
                    <a:pt x="1240110" y="311946"/>
                  </a:lnTo>
                  <a:lnTo>
                    <a:pt x="1238985" y="312841"/>
                  </a:lnTo>
                  <a:lnTo>
                    <a:pt x="1237085" y="313538"/>
                  </a:lnTo>
                  <a:lnTo>
                    <a:pt x="1236902" y="312330"/>
                  </a:lnTo>
                  <a:lnTo>
                    <a:pt x="1236273" y="311781"/>
                  </a:lnTo>
                  <a:lnTo>
                    <a:pt x="1236038" y="314369"/>
                  </a:lnTo>
                  <a:lnTo>
                    <a:pt x="1235540" y="315248"/>
                  </a:lnTo>
                  <a:lnTo>
                    <a:pt x="1234152" y="312822"/>
                  </a:lnTo>
                  <a:lnTo>
                    <a:pt x="1233735" y="313311"/>
                  </a:lnTo>
                  <a:lnTo>
                    <a:pt x="1233788" y="313999"/>
                  </a:lnTo>
                  <a:lnTo>
                    <a:pt x="1233434" y="315191"/>
                  </a:lnTo>
                  <a:lnTo>
                    <a:pt x="1232243" y="315812"/>
                  </a:lnTo>
                  <a:lnTo>
                    <a:pt x="1232316" y="317339"/>
                  </a:lnTo>
                  <a:lnTo>
                    <a:pt x="1231854" y="318171"/>
                  </a:lnTo>
                  <a:lnTo>
                    <a:pt x="1228040" y="316845"/>
                  </a:lnTo>
                  <a:lnTo>
                    <a:pt x="1227950" y="317295"/>
                  </a:lnTo>
                  <a:lnTo>
                    <a:pt x="1230108" y="320152"/>
                  </a:lnTo>
                  <a:lnTo>
                    <a:pt x="1231683" y="321127"/>
                  </a:lnTo>
                  <a:lnTo>
                    <a:pt x="1231875" y="322683"/>
                  </a:lnTo>
                  <a:lnTo>
                    <a:pt x="1230522" y="323974"/>
                  </a:lnTo>
                  <a:lnTo>
                    <a:pt x="1228656" y="322859"/>
                  </a:lnTo>
                  <a:lnTo>
                    <a:pt x="1228342" y="322942"/>
                  </a:lnTo>
                  <a:lnTo>
                    <a:pt x="1229356" y="324851"/>
                  </a:lnTo>
                  <a:lnTo>
                    <a:pt x="1229996" y="326521"/>
                  </a:lnTo>
                  <a:lnTo>
                    <a:pt x="1229338" y="327918"/>
                  </a:lnTo>
                  <a:lnTo>
                    <a:pt x="1229440" y="329637"/>
                  </a:lnTo>
                  <a:lnTo>
                    <a:pt x="1229298" y="331195"/>
                  </a:lnTo>
                  <a:lnTo>
                    <a:pt x="1228895" y="332555"/>
                  </a:lnTo>
                  <a:lnTo>
                    <a:pt x="1229802" y="338812"/>
                  </a:lnTo>
                  <a:lnTo>
                    <a:pt x="1230894" y="340511"/>
                  </a:lnTo>
                  <a:lnTo>
                    <a:pt x="1231969" y="342136"/>
                  </a:lnTo>
                  <a:lnTo>
                    <a:pt x="1232538" y="343656"/>
                  </a:lnTo>
                  <a:lnTo>
                    <a:pt x="1231398" y="343878"/>
                  </a:lnTo>
                  <a:lnTo>
                    <a:pt x="1229583" y="342627"/>
                  </a:lnTo>
                  <a:lnTo>
                    <a:pt x="1227988" y="341674"/>
                  </a:lnTo>
                  <a:lnTo>
                    <a:pt x="1226089" y="338623"/>
                  </a:lnTo>
                  <a:lnTo>
                    <a:pt x="1225776" y="337405"/>
                  </a:lnTo>
                  <a:lnTo>
                    <a:pt x="1225312" y="336440"/>
                  </a:lnTo>
                  <a:lnTo>
                    <a:pt x="1225535" y="338654"/>
                  </a:lnTo>
                  <a:lnTo>
                    <a:pt x="1226214" y="341123"/>
                  </a:lnTo>
                  <a:lnTo>
                    <a:pt x="1232162" y="346643"/>
                  </a:lnTo>
                  <a:lnTo>
                    <a:pt x="1233262" y="348759"/>
                  </a:lnTo>
                  <a:lnTo>
                    <a:pt x="1234098" y="350420"/>
                  </a:lnTo>
                  <a:lnTo>
                    <a:pt x="1233888" y="352012"/>
                  </a:lnTo>
                  <a:lnTo>
                    <a:pt x="1232336" y="350885"/>
                  </a:lnTo>
                  <a:lnTo>
                    <a:pt x="1230999" y="349450"/>
                  </a:lnTo>
                  <a:lnTo>
                    <a:pt x="1227449" y="347827"/>
                  </a:lnTo>
                  <a:lnTo>
                    <a:pt x="1222970" y="346801"/>
                  </a:lnTo>
                  <a:lnTo>
                    <a:pt x="1220445" y="343025"/>
                  </a:lnTo>
                  <a:lnTo>
                    <a:pt x="1220454" y="344600"/>
                  </a:lnTo>
                  <a:lnTo>
                    <a:pt x="1219893" y="345937"/>
                  </a:lnTo>
                  <a:lnTo>
                    <a:pt x="1218351" y="344308"/>
                  </a:lnTo>
                  <a:lnTo>
                    <a:pt x="1217377" y="342917"/>
                  </a:lnTo>
                  <a:lnTo>
                    <a:pt x="1217051" y="341393"/>
                  </a:lnTo>
                  <a:lnTo>
                    <a:pt x="1215123" y="341496"/>
                  </a:lnTo>
                  <a:lnTo>
                    <a:pt x="1213103" y="342822"/>
                  </a:lnTo>
                  <a:lnTo>
                    <a:pt x="1211149" y="342508"/>
                  </a:lnTo>
                  <a:lnTo>
                    <a:pt x="1210917" y="339921"/>
                  </a:lnTo>
                  <a:lnTo>
                    <a:pt x="1211446" y="338551"/>
                  </a:lnTo>
                  <a:lnTo>
                    <a:pt x="1213638" y="335307"/>
                  </a:lnTo>
                  <a:lnTo>
                    <a:pt x="1215705" y="333651"/>
                  </a:lnTo>
                  <a:lnTo>
                    <a:pt x="1216617" y="331509"/>
                  </a:lnTo>
                  <a:lnTo>
                    <a:pt x="1216307" y="328188"/>
                  </a:lnTo>
                  <a:lnTo>
                    <a:pt x="1215917" y="331569"/>
                  </a:lnTo>
                  <a:lnTo>
                    <a:pt x="1214736" y="333241"/>
                  </a:lnTo>
                  <a:lnTo>
                    <a:pt x="1212881" y="334519"/>
                  </a:lnTo>
                  <a:lnTo>
                    <a:pt x="1210438" y="336797"/>
                  </a:lnTo>
                  <a:lnTo>
                    <a:pt x="1209841" y="338901"/>
                  </a:lnTo>
                  <a:lnTo>
                    <a:pt x="1209078" y="342836"/>
                  </a:lnTo>
                  <a:lnTo>
                    <a:pt x="1210111" y="344168"/>
                  </a:lnTo>
                  <a:lnTo>
                    <a:pt x="1211165" y="344515"/>
                  </a:lnTo>
                  <a:lnTo>
                    <a:pt x="1214277" y="343623"/>
                  </a:lnTo>
                  <a:lnTo>
                    <a:pt x="1215887" y="344021"/>
                  </a:lnTo>
                  <a:lnTo>
                    <a:pt x="1219470" y="348753"/>
                  </a:lnTo>
                  <a:lnTo>
                    <a:pt x="1226140" y="350623"/>
                  </a:lnTo>
                  <a:lnTo>
                    <a:pt x="1228573" y="351791"/>
                  </a:lnTo>
                  <a:lnTo>
                    <a:pt x="1230556" y="354255"/>
                  </a:lnTo>
                  <a:lnTo>
                    <a:pt x="1233536" y="355674"/>
                  </a:lnTo>
                  <a:lnTo>
                    <a:pt x="1235849" y="357733"/>
                  </a:lnTo>
                  <a:lnTo>
                    <a:pt x="1235912" y="359076"/>
                  </a:lnTo>
                  <a:lnTo>
                    <a:pt x="1235111" y="360664"/>
                  </a:lnTo>
                  <a:lnTo>
                    <a:pt x="1234795" y="362812"/>
                  </a:lnTo>
                  <a:lnTo>
                    <a:pt x="1233812" y="364165"/>
                  </a:lnTo>
                  <a:lnTo>
                    <a:pt x="1231453" y="364321"/>
                  </a:lnTo>
                  <a:lnTo>
                    <a:pt x="1230028" y="363973"/>
                  </a:lnTo>
                  <a:lnTo>
                    <a:pt x="1222368" y="356419"/>
                  </a:lnTo>
                  <a:lnTo>
                    <a:pt x="1221453" y="355724"/>
                  </a:lnTo>
                  <a:lnTo>
                    <a:pt x="1218612" y="351762"/>
                  </a:lnTo>
                  <a:lnTo>
                    <a:pt x="1215278" y="349638"/>
                  </a:lnTo>
                  <a:lnTo>
                    <a:pt x="1214247" y="349683"/>
                  </a:lnTo>
                  <a:lnTo>
                    <a:pt x="1218992" y="353610"/>
                  </a:lnTo>
                  <a:lnTo>
                    <a:pt x="1220929" y="356354"/>
                  </a:lnTo>
                  <a:lnTo>
                    <a:pt x="1224340" y="360197"/>
                  </a:lnTo>
                  <a:lnTo>
                    <a:pt x="1226780" y="361823"/>
                  </a:lnTo>
                  <a:lnTo>
                    <a:pt x="1228574" y="364359"/>
                  </a:lnTo>
                  <a:lnTo>
                    <a:pt x="1230242" y="365547"/>
                  </a:lnTo>
                  <a:lnTo>
                    <a:pt x="1234796" y="367237"/>
                  </a:lnTo>
                  <a:lnTo>
                    <a:pt x="1233213" y="368452"/>
                  </a:lnTo>
                  <a:lnTo>
                    <a:pt x="1235740" y="369487"/>
                  </a:lnTo>
                  <a:lnTo>
                    <a:pt x="1236101" y="371387"/>
                  </a:lnTo>
                  <a:lnTo>
                    <a:pt x="1235870" y="373552"/>
                  </a:lnTo>
                  <a:lnTo>
                    <a:pt x="1232362" y="372696"/>
                  </a:lnTo>
                  <a:lnTo>
                    <a:pt x="1232248" y="374292"/>
                  </a:lnTo>
                  <a:lnTo>
                    <a:pt x="1232561" y="375233"/>
                  </a:lnTo>
                  <a:lnTo>
                    <a:pt x="1231012" y="376008"/>
                  </a:lnTo>
                  <a:lnTo>
                    <a:pt x="1228857" y="374955"/>
                  </a:lnTo>
                  <a:lnTo>
                    <a:pt x="1223261" y="369185"/>
                  </a:lnTo>
                  <a:lnTo>
                    <a:pt x="1223309" y="369957"/>
                  </a:lnTo>
                  <a:lnTo>
                    <a:pt x="1223762" y="370853"/>
                  </a:lnTo>
                  <a:lnTo>
                    <a:pt x="1227008" y="374567"/>
                  </a:lnTo>
                  <a:lnTo>
                    <a:pt x="1229903" y="376793"/>
                  </a:lnTo>
                  <a:lnTo>
                    <a:pt x="1232358" y="377798"/>
                  </a:lnTo>
                  <a:lnTo>
                    <a:pt x="1234251" y="379661"/>
                  </a:lnTo>
                  <a:lnTo>
                    <a:pt x="1234919" y="380788"/>
                  </a:lnTo>
                  <a:lnTo>
                    <a:pt x="1235363" y="382497"/>
                  </a:lnTo>
                  <a:lnTo>
                    <a:pt x="1233962" y="383657"/>
                  </a:lnTo>
                  <a:lnTo>
                    <a:pt x="1232364" y="384298"/>
                  </a:lnTo>
                  <a:lnTo>
                    <a:pt x="1230804" y="383140"/>
                  </a:lnTo>
                  <a:lnTo>
                    <a:pt x="1229661" y="381920"/>
                  </a:lnTo>
                  <a:lnTo>
                    <a:pt x="1227226" y="379849"/>
                  </a:lnTo>
                  <a:lnTo>
                    <a:pt x="1226497" y="377531"/>
                  </a:lnTo>
                  <a:lnTo>
                    <a:pt x="1224644" y="377651"/>
                  </a:lnTo>
                  <a:lnTo>
                    <a:pt x="1216902" y="374710"/>
                  </a:lnTo>
                  <a:lnTo>
                    <a:pt x="1210681" y="374371"/>
                  </a:lnTo>
                  <a:lnTo>
                    <a:pt x="1211289" y="374964"/>
                  </a:lnTo>
                  <a:lnTo>
                    <a:pt x="1212076" y="375357"/>
                  </a:lnTo>
                  <a:lnTo>
                    <a:pt x="1217031" y="376083"/>
                  </a:lnTo>
                  <a:lnTo>
                    <a:pt x="1218989" y="377436"/>
                  </a:lnTo>
                  <a:lnTo>
                    <a:pt x="1223064" y="378637"/>
                  </a:lnTo>
                  <a:lnTo>
                    <a:pt x="1225452" y="378965"/>
                  </a:lnTo>
                  <a:lnTo>
                    <a:pt x="1226419" y="382651"/>
                  </a:lnTo>
                  <a:lnTo>
                    <a:pt x="1229717" y="385187"/>
                  </a:lnTo>
                  <a:lnTo>
                    <a:pt x="1230146" y="387063"/>
                  </a:lnTo>
                  <a:lnTo>
                    <a:pt x="1232398" y="387274"/>
                  </a:lnTo>
                  <a:lnTo>
                    <a:pt x="1236360" y="385432"/>
                  </a:lnTo>
                  <a:lnTo>
                    <a:pt x="1238918" y="386078"/>
                  </a:lnTo>
                  <a:lnTo>
                    <a:pt x="1242605" y="386605"/>
                  </a:lnTo>
                  <a:lnTo>
                    <a:pt x="1243450" y="388091"/>
                  </a:lnTo>
                  <a:lnTo>
                    <a:pt x="1244082" y="390916"/>
                  </a:lnTo>
                  <a:lnTo>
                    <a:pt x="1245386" y="394091"/>
                  </a:lnTo>
                  <a:lnTo>
                    <a:pt x="1248768" y="406587"/>
                  </a:lnTo>
                  <a:lnTo>
                    <a:pt x="1253849" y="416778"/>
                  </a:lnTo>
                  <a:lnTo>
                    <a:pt x="1254474" y="418529"/>
                  </a:lnTo>
                  <a:lnTo>
                    <a:pt x="1253292" y="416993"/>
                  </a:lnTo>
                  <a:lnTo>
                    <a:pt x="1249524" y="410247"/>
                  </a:lnTo>
                  <a:lnTo>
                    <a:pt x="1247444" y="405368"/>
                  </a:lnTo>
                  <a:lnTo>
                    <a:pt x="1245306" y="396739"/>
                  </a:lnTo>
                  <a:lnTo>
                    <a:pt x="1244686" y="394804"/>
                  </a:lnTo>
                  <a:lnTo>
                    <a:pt x="1243956" y="394031"/>
                  </a:lnTo>
                  <a:lnTo>
                    <a:pt x="1243475" y="394660"/>
                  </a:lnTo>
                  <a:lnTo>
                    <a:pt x="1243269" y="395762"/>
                  </a:lnTo>
                  <a:lnTo>
                    <a:pt x="1243617" y="396606"/>
                  </a:lnTo>
                  <a:lnTo>
                    <a:pt x="1242775" y="399450"/>
                  </a:lnTo>
                  <a:lnTo>
                    <a:pt x="1243140" y="400753"/>
                  </a:lnTo>
                  <a:lnTo>
                    <a:pt x="1244507" y="402101"/>
                  </a:lnTo>
                  <a:lnTo>
                    <a:pt x="1245993" y="405461"/>
                  </a:lnTo>
                  <a:lnTo>
                    <a:pt x="1247180" y="409981"/>
                  </a:lnTo>
                  <a:lnTo>
                    <a:pt x="1245575" y="408150"/>
                  </a:lnTo>
                  <a:lnTo>
                    <a:pt x="1243861" y="407178"/>
                  </a:lnTo>
                  <a:lnTo>
                    <a:pt x="1241194" y="406433"/>
                  </a:lnTo>
                  <a:lnTo>
                    <a:pt x="1238819" y="405129"/>
                  </a:lnTo>
                  <a:lnTo>
                    <a:pt x="1238992" y="407001"/>
                  </a:lnTo>
                  <a:lnTo>
                    <a:pt x="1238765" y="409022"/>
                  </a:lnTo>
                  <a:lnTo>
                    <a:pt x="1236934" y="408406"/>
                  </a:lnTo>
                  <a:lnTo>
                    <a:pt x="1235688" y="407735"/>
                  </a:lnTo>
                  <a:lnTo>
                    <a:pt x="1236790" y="409888"/>
                  </a:lnTo>
                  <a:lnTo>
                    <a:pt x="1234396" y="409242"/>
                  </a:lnTo>
                  <a:lnTo>
                    <a:pt x="1232803" y="409377"/>
                  </a:lnTo>
                  <a:lnTo>
                    <a:pt x="1231767" y="411288"/>
                  </a:lnTo>
                  <a:lnTo>
                    <a:pt x="1230376" y="412448"/>
                  </a:lnTo>
                  <a:lnTo>
                    <a:pt x="1228322" y="412821"/>
                  </a:lnTo>
                  <a:lnTo>
                    <a:pt x="1225272" y="411074"/>
                  </a:lnTo>
                  <a:lnTo>
                    <a:pt x="1224284" y="408954"/>
                  </a:lnTo>
                  <a:lnTo>
                    <a:pt x="1223875" y="406590"/>
                  </a:lnTo>
                  <a:lnTo>
                    <a:pt x="1223713" y="409384"/>
                  </a:lnTo>
                  <a:lnTo>
                    <a:pt x="1224255" y="412292"/>
                  </a:lnTo>
                  <a:lnTo>
                    <a:pt x="1224064" y="414501"/>
                  </a:lnTo>
                  <a:lnTo>
                    <a:pt x="1227001" y="414906"/>
                  </a:lnTo>
                  <a:lnTo>
                    <a:pt x="1229746" y="414547"/>
                  </a:lnTo>
                  <a:lnTo>
                    <a:pt x="1233451" y="414638"/>
                  </a:lnTo>
                  <a:lnTo>
                    <a:pt x="1235867" y="414225"/>
                  </a:lnTo>
                  <a:lnTo>
                    <a:pt x="1237322" y="413522"/>
                  </a:lnTo>
                  <a:lnTo>
                    <a:pt x="1240811" y="414131"/>
                  </a:lnTo>
                  <a:lnTo>
                    <a:pt x="1241060" y="416798"/>
                  </a:lnTo>
                  <a:lnTo>
                    <a:pt x="1240660" y="419447"/>
                  </a:lnTo>
                  <a:lnTo>
                    <a:pt x="1240458" y="422265"/>
                  </a:lnTo>
                  <a:lnTo>
                    <a:pt x="1241425" y="422247"/>
                  </a:lnTo>
                  <a:lnTo>
                    <a:pt x="1242562" y="421346"/>
                  </a:lnTo>
                  <a:lnTo>
                    <a:pt x="1243129" y="416295"/>
                  </a:lnTo>
                  <a:lnTo>
                    <a:pt x="1246317" y="414427"/>
                  </a:lnTo>
                  <a:lnTo>
                    <a:pt x="1247386" y="414555"/>
                  </a:lnTo>
                  <a:lnTo>
                    <a:pt x="1248401" y="416179"/>
                  </a:lnTo>
                  <a:lnTo>
                    <a:pt x="1248743" y="417827"/>
                  </a:lnTo>
                  <a:lnTo>
                    <a:pt x="1249103" y="420088"/>
                  </a:lnTo>
                  <a:lnTo>
                    <a:pt x="1248359" y="423530"/>
                  </a:lnTo>
                  <a:lnTo>
                    <a:pt x="1243459" y="427551"/>
                  </a:lnTo>
                  <a:lnTo>
                    <a:pt x="1239950" y="431266"/>
                  </a:lnTo>
                  <a:lnTo>
                    <a:pt x="1238157" y="432022"/>
                  </a:lnTo>
                  <a:lnTo>
                    <a:pt x="1235569" y="431590"/>
                  </a:lnTo>
                  <a:lnTo>
                    <a:pt x="1232636" y="430656"/>
                  </a:lnTo>
                  <a:lnTo>
                    <a:pt x="1231197" y="430468"/>
                  </a:lnTo>
                  <a:lnTo>
                    <a:pt x="1230104" y="430780"/>
                  </a:lnTo>
                  <a:lnTo>
                    <a:pt x="1229438" y="429637"/>
                  </a:lnTo>
                  <a:lnTo>
                    <a:pt x="1229008" y="427550"/>
                  </a:lnTo>
                  <a:lnTo>
                    <a:pt x="1227867" y="426857"/>
                  </a:lnTo>
                  <a:lnTo>
                    <a:pt x="1227003" y="426934"/>
                  </a:lnTo>
                  <a:lnTo>
                    <a:pt x="1226413" y="429151"/>
                  </a:lnTo>
                  <a:lnTo>
                    <a:pt x="1223678" y="429781"/>
                  </a:lnTo>
                  <a:lnTo>
                    <a:pt x="1219958" y="428866"/>
                  </a:lnTo>
                  <a:lnTo>
                    <a:pt x="1216060" y="427000"/>
                  </a:lnTo>
                  <a:lnTo>
                    <a:pt x="1217732" y="429001"/>
                  </a:lnTo>
                  <a:lnTo>
                    <a:pt x="1227401" y="432731"/>
                  </a:lnTo>
                  <a:lnTo>
                    <a:pt x="1228489" y="433428"/>
                  </a:lnTo>
                  <a:lnTo>
                    <a:pt x="1229505" y="434447"/>
                  </a:lnTo>
                  <a:lnTo>
                    <a:pt x="1228153" y="436046"/>
                  </a:lnTo>
                  <a:lnTo>
                    <a:pt x="1227093" y="437846"/>
                  </a:lnTo>
                  <a:lnTo>
                    <a:pt x="1226945" y="439257"/>
                  </a:lnTo>
                  <a:lnTo>
                    <a:pt x="1226570" y="440147"/>
                  </a:lnTo>
                  <a:lnTo>
                    <a:pt x="1222715" y="442548"/>
                  </a:lnTo>
                  <a:lnTo>
                    <a:pt x="1220626" y="442124"/>
                  </a:lnTo>
                  <a:lnTo>
                    <a:pt x="1215288" y="437796"/>
                  </a:lnTo>
                  <a:lnTo>
                    <a:pt x="1217719" y="441539"/>
                  </a:lnTo>
                  <a:lnTo>
                    <a:pt x="1219667" y="443126"/>
                  </a:lnTo>
                  <a:lnTo>
                    <a:pt x="1223587" y="443974"/>
                  </a:lnTo>
                  <a:lnTo>
                    <a:pt x="1230940" y="442575"/>
                  </a:lnTo>
                  <a:lnTo>
                    <a:pt x="1233350" y="444101"/>
                  </a:lnTo>
                  <a:lnTo>
                    <a:pt x="1231372" y="446804"/>
                  </a:lnTo>
                  <a:lnTo>
                    <a:pt x="1229404" y="448698"/>
                  </a:lnTo>
                  <a:lnTo>
                    <a:pt x="1226825" y="448909"/>
                  </a:lnTo>
                  <a:lnTo>
                    <a:pt x="1224554" y="449422"/>
                  </a:lnTo>
                  <a:lnTo>
                    <a:pt x="1223887" y="450725"/>
                  </a:lnTo>
                  <a:lnTo>
                    <a:pt x="1222267" y="450806"/>
                  </a:lnTo>
                  <a:lnTo>
                    <a:pt x="1219736" y="450883"/>
                  </a:lnTo>
                  <a:lnTo>
                    <a:pt x="1215819" y="451002"/>
                  </a:lnTo>
                  <a:lnTo>
                    <a:pt x="1213666" y="450698"/>
                  </a:lnTo>
                  <a:lnTo>
                    <a:pt x="1210659" y="453357"/>
                  </a:lnTo>
                  <a:lnTo>
                    <a:pt x="1209524" y="453723"/>
                  </a:lnTo>
                  <a:lnTo>
                    <a:pt x="1207937" y="453223"/>
                  </a:lnTo>
                  <a:lnTo>
                    <a:pt x="1207273" y="451088"/>
                  </a:lnTo>
                  <a:lnTo>
                    <a:pt x="1206565" y="450037"/>
                  </a:lnTo>
                  <a:lnTo>
                    <a:pt x="1206546" y="454033"/>
                  </a:lnTo>
                  <a:lnTo>
                    <a:pt x="1206824" y="455110"/>
                  </a:lnTo>
                  <a:lnTo>
                    <a:pt x="1207393" y="455920"/>
                  </a:lnTo>
                  <a:lnTo>
                    <a:pt x="1203876" y="458087"/>
                  </a:lnTo>
                  <a:lnTo>
                    <a:pt x="1200507" y="460786"/>
                  </a:lnTo>
                  <a:lnTo>
                    <a:pt x="1199301" y="461521"/>
                  </a:lnTo>
                  <a:lnTo>
                    <a:pt x="1197930" y="462871"/>
                  </a:lnTo>
                  <a:lnTo>
                    <a:pt x="1195121" y="466774"/>
                  </a:lnTo>
                  <a:lnTo>
                    <a:pt x="1194427" y="469615"/>
                  </a:lnTo>
                  <a:lnTo>
                    <a:pt x="1193412" y="472782"/>
                  </a:lnTo>
                  <a:lnTo>
                    <a:pt x="1193284" y="471355"/>
                  </a:lnTo>
                  <a:lnTo>
                    <a:pt x="1193458" y="468955"/>
                  </a:lnTo>
                  <a:lnTo>
                    <a:pt x="1192764" y="466203"/>
                  </a:lnTo>
                  <a:lnTo>
                    <a:pt x="1192321" y="471243"/>
                  </a:lnTo>
                  <a:lnTo>
                    <a:pt x="1191232" y="473582"/>
                  </a:lnTo>
                  <a:lnTo>
                    <a:pt x="1181217" y="473417"/>
                  </a:lnTo>
                  <a:lnTo>
                    <a:pt x="1176834" y="474687"/>
                  </a:lnTo>
                  <a:lnTo>
                    <a:pt x="1170105" y="478959"/>
                  </a:lnTo>
                  <a:lnTo>
                    <a:pt x="1168093" y="480830"/>
                  </a:lnTo>
                  <a:lnTo>
                    <a:pt x="1162536" y="488057"/>
                  </a:lnTo>
                  <a:lnTo>
                    <a:pt x="1161117" y="492675"/>
                  </a:lnTo>
                  <a:lnTo>
                    <a:pt x="1159979" y="490734"/>
                  </a:lnTo>
                  <a:lnTo>
                    <a:pt x="1160261" y="489278"/>
                  </a:lnTo>
                  <a:lnTo>
                    <a:pt x="1160284" y="488086"/>
                  </a:lnTo>
                  <a:lnTo>
                    <a:pt x="1158884" y="490641"/>
                  </a:lnTo>
                  <a:lnTo>
                    <a:pt x="1160213" y="494358"/>
                  </a:lnTo>
                  <a:lnTo>
                    <a:pt x="1159020" y="495776"/>
                  </a:lnTo>
                  <a:lnTo>
                    <a:pt x="1155348" y="498423"/>
                  </a:lnTo>
                  <a:lnTo>
                    <a:pt x="1153339" y="498857"/>
                  </a:lnTo>
                  <a:lnTo>
                    <a:pt x="1151084" y="499609"/>
                  </a:lnTo>
                  <a:lnTo>
                    <a:pt x="1150372" y="502217"/>
                  </a:lnTo>
                  <a:lnTo>
                    <a:pt x="1147311" y="504621"/>
                  </a:lnTo>
                  <a:lnTo>
                    <a:pt x="1145526" y="505684"/>
                  </a:lnTo>
                  <a:lnTo>
                    <a:pt x="1142257" y="505040"/>
                  </a:lnTo>
                  <a:lnTo>
                    <a:pt x="1143264" y="507353"/>
                  </a:lnTo>
                  <a:lnTo>
                    <a:pt x="1142063" y="509104"/>
                  </a:lnTo>
                  <a:lnTo>
                    <a:pt x="1139996" y="510444"/>
                  </a:lnTo>
                  <a:lnTo>
                    <a:pt x="1137425" y="511320"/>
                  </a:lnTo>
                  <a:lnTo>
                    <a:pt x="1135951" y="511212"/>
                  </a:lnTo>
                  <a:lnTo>
                    <a:pt x="1134691" y="511677"/>
                  </a:lnTo>
                  <a:lnTo>
                    <a:pt x="1133705" y="512790"/>
                  </a:lnTo>
                  <a:lnTo>
                    <a:pt x="1131295" y="513829"/>
                  </a:lnTo>
                  <a:lnTo>
                    <a:pt x="1128792" y="513245"/>
                  </a:lnTo>
                  <a:lnTo>
                    <a:pt x="1125953" y="512894"/>
                  </a:lnTo>
                  <a:lnTo>
                    <a:pt x="1124373" y="513516"/>
                  </a:lnTo>
                  <a:lnTo>
                    <a:pt x="1127030" y="514548"/>
                  </a:lnTo>
                  <a:lnTo>
                    <a:pt x="1128452" y="516042"/>
                  </a:lnTo>
                  <a:lnTo>
                    <a:pt x="1128159" y="518054"/>
                  </a:lnTo>
                  <a:lnTo>
                    <a:pt x="1127448" y="518830"/>
                  </a:lnTo>
                  <a:lnTo>
                    <a:pt x="1125772" y="519883"/>
                  </a:lnTo>
                  <a:lnTo>
                    <a:pt x="1125036" y="519726"/>
                  </a:lnTo>
                  <a:lnTo>
                    <a:pt x="1124586" y="518777"/>
                  </a:lnTo>
                  <a:lnTo>
                    <a:pt x="1124041" y="516802"/>
                  </a:lnTo>
                  <a:lnTo>
                    <a:pt x="1123260" y="517224"/>
                  </a:lnTo>
                  <a:lnTo>
                    <a:pt x="1123125" y="518144"/>
                  </a:lnTo>
                  <a:lnTo>
                    <a:pt x="1122456" y="518471"/>
                  </a:lnTo>
                  <a:lnTo>
                    <a:pt x="1120078" y="515324"/>
                  </a:lnTo>
                  <a:lnTo>
                    <a:pt x="1120197" y="517725"/>
                  </a:lnTo>
                  <a:lnTo>
                    <a:pt x="1121027" y="519570"/>
                  </a:lnTo>
                  <a:lnTo>
                    <a:pt x="1121831" y="520504"/>
                  </a:lnTo>
                  <a:lnTo>
                    <a:pt x="1122641" y="521056"/>
                  </a:lnTo>
                  <a:lnTo>
                    <a:pt x="1122841" y="521911"/>
                  </a:lnTo>
                  <a:lnTo>
                    <a:pt x="1121214" y="523992"/>
                  </a:lnTo>
                  <a:lnTo>
                    <a:pt x="1120377" y="524455"/>
                  </a:lnTo>
                  <a:lnTo>
                    <a:pt x="1118887" y="524793"/>
                  </a:lnTo>
                  <a:lnTo>
                    <a:pt x="1118049" y="526075"/>
                  </a:lnTo>
                  <a:lnTo>
                    <a:pt x="1118296" y="527180"/>
                  </a:lnTo>
                  <a:lnTo>
                    <a:pt x="1116993" y="529574"/>
                  </a:lnTo>
                  <a:lnTo>
                    <a:pt x="1113879" y="531069"/>
                  </a:lnTo>
                  <a:lnTo>
                    <a:pt x="1112927" y="531012"/>
                  </a:lnTo>
                  <a:lnTo>
                    <a:pt x="1112151" y="531449"/>
                  </a:lnTo>
                  <a:lnTo>
                    <a:pt x="1112604" y="532515"/>
                  </a:lnTo>
                  <a:lnTo>
                    <a:pt x="1113382" y="533290"/>
                  </a:lnTo>
                  <a:lnTo>
                    <a:pt x="1113355" y="534010"/>
                  </a:lnTo>
                  <a:lnTo>
                    <a:pt x="1112532" y="534988"/>
                  </a:lnTo>
                  <a:lnTo>
                    <a:pt x="1110906" y="535261"/>
                  </a:lnTo>
                  <a:lnTo>
                    <a:pt x="1109992" y="536376"/>
                  </a:lnTo>
                  <a:lnTo>
                    <a:pt x="1110281" y="537427"/>
                  </a:lnTo>
                  <a:lnTo>
                    <a:pt x="1110818" y="538015"/>
                  </a:lnTo>
                  <a:lnTo>
                    <a:pt x="1110707" y="539025"/>
                  </a:lnTo>
                  <a:lnTo>
                    <a:pt x="1108857" y="540042"/>
                  </a:lnTo>
                  <a:lnTo>
                    <a:pt x="1108425" y="541039"/>
                  </a:lnTo>
                  <a:lnTo>
                    <a:pt x="1109341" y="541334"/>
                  </a:lnTo>
                  <a:lnTo>
                    <a:pt x="1110049" y="541039"/>
                  </a:lnTo>
                  <a:lnTo>
                    <a:pt x="1110566" y="541254"/>
                  </a:lnTo>
                  <a:lnTo>
                    <a:pt x="1109457" y="542922"/>
                  </a:lnTo>
                  <a:lnTo>
                    <a:pt x="1108461" y="543940"/>
                  </a:lnTo>
                  <a:lnTo>
                    <a:pt x="1107516" y="545767"/>
                  </a:lnTo>
                  <a:lnTo>
                    <a:pt x="1105322" y="546272"/>
                  </a:lnTo>
                  <a:lnTo>
                    <a:pt x="1105406" y="546862"/>
                  </a:lnTo>
                  <a:lnTo>
                    <a:pt x="1106644" y="547383"/>
                  </a:lnTo>
                  <a:lnTo>
                    <a:pt x="1107681" y="548788"/>
                  </a:lnTo>
                  <a:lnTo>
                    <a:pt x="1105733" y="551377"/>
                  </a:lnTo>
                  <a:lnTo>
                    <a:pt x="1104516" y="551165"/>
                  </a:lnTo>
                  <a:lnTo>
                    <a:pt x="1103772" y="550595"/>
                  </a:lnTo>
                  <a:lnTo>
                    <a:pt x="1103298" y="552639"/>
                  </a:lnTo>
                  <a:lnTo>
                    <a:pt x="1103479" y="553728"/>
                  </a:lnTo>
                  <a:lnTo>
                    <a:pt x="1103016" y="555956"/>
                  </a:lnTo>
                  <a:lnTo>
                    <a:pt x="1102271" y="558633"/>
                  </a:lnTo>
                  <a:lnTo>
                    <a:pt x="1101766" y="559732"/>
                  </a:lnTo>
                  <a:lnTo>
                    <a:pt x="1101872" y="561777"/>
                  </a:lnTo>
                  <a:lnTo>
                    <a:pt x="1102185" y="563751"/>
                  </a:lnTo>
                  <a:lnTo>
                    <a:pt x="1103378" y="566293"/>
                  </a:lnTo>
                  <a:lnTo>
                    <a:pt x="1105200" y="576678"/>
                  </a:lnTo>
                  <a:lnTo>
                    <a:pt x="1106441" y="580278"/>
                  </a:lnTo>
                  <a:lnTo>
                    <a:pt x="1108676" y="589977"/>
                  </a:lnTo>
                  <a:lnTo>
                    <a:pt x="1112375" y="599360"/>
                  </a:lnTo>
                  <a:lnTo>
                    <a:pt x="1117591" y="610677"/>
                  </a:lnTo>
                  <a:lnTo>
                    <a:pt x="1126156" y="624357"/>
                  </a:lnTo>
                  <a:lnTo>
                    <a:pt x="1127181" y="626302"/>
                  </a:lnTo>
                  <a:lnTo>
                    <a:pt x="1126065" y="627952"/>
                  </a:lnTo>
                  <a:lnTo>
                    <a:pt x="1125726" y="629661"/>
                  </a:lnTo>
                  <a:lnTo>
                    <a:pt x="1125628" y="632234"/>
                  </a:lnTo>
                  <a:lnTo>
                    <a:pt x="1125937" y="634741"/>
                  </a:lnTo>
                  <a:lnTo>
                    <a:pt x="1126950" y="637800"/>
                  </a:lnTo>
                  <a:lnTo>
                    <a:pt x="1128895" y="642473"/>
                  </a:lnTo>
                  <a:lnTo>
                    <a:pt x="1127808" y="641541"/>
                  </a:lnTo>
                  <a:lnTo>
                    <a:pt x="1124990" y="634832"/>
                  </a:lnTo>
                  <a:lnTo>
                    <a:pt x="1124663" y="630886"/>
                  </a:lnTo>
                  <a:lnTo>
                    <a:pt x="1125068" y="625283"/>
                  </a:lnTo>
                  <a:lnTo>
                    <a:pt x="1124406" y="625420"/>
                  </a:lnTo>
                  <a:lnTo>
                    <a:pt x="1123870" y="627240"/>
                  </a:lnTo>
                  <a:lnTo>
                    <a:pt x="1123574" y="629378"/>
                  </a:lnTo>
                  <a:lnTo>
                    <a:pt x="1122859" y="630205"/>
                  </a:lnTo>
                  <a:lnTo>
                    <a:pt x="1121884" y="626945"/>
                  </a:lnTo>
                  <a:lnTo>
                    <a:pt x="1121952" y="625469"/>
                  </a:lnTo>
                  <a:lnTo>
                    <a:pt x="1122989" y="623745"/>
                  </a:lnTo>
                  <a:lnTo>
                    <a:pt x="1122688" y="623124"/>
                  </a:lnTo>
                  <a:lnTo>
                    <a:pt x="1121012" y="622241"/>
                  </a:lnTo>
                  <a:lnTo>
                    <a:pt x="1120656" y="620853"/>
                  </a:lnTo>
                  <a:lnTo>
                    <a:pt x="1120883" y="619480"/>
                  </a:lnTo>
                  <a:lnTo>
                    <a:pt x="1119921" y="618747"/>
                  </a:lnTo>
                  <a:lnTo>
                    <a:pt x="1119169" y="618781"/>
                  </a:lnTo>
                  <a:lnTo>
                    <a:pt x="1119673" y="622165"/>
                  </a:lnTo>
                  <a:lnTo>
                    <a:pt x="1120468" y="624239"/>
                  </a:lnTo>
                  <a:lnTo>
                    <a:pt x="1121453" y="629210"/>
                  </a:lnTo>
                  <a:lnTo>
                    <a:pt x="1123042" y="632218"/>
                  </a:lnTo>
                  <a:lnTo>
                    <a:pt x="1123966" y="634739"/>
                  </a:lnTo>
                  <a:lnTo>
                    <a:pt x="1134783" y="661564"/>
                  </a:lnTo>
                  <a:lnTo>
                    <a:pt x="1137342" y="664969"/>
                  </a:lnTo>
                  <a:lnTo>
                    <a:pt x="1138289" y="667413"/>
                  </a:lnTo>
                  <a:lnTo>
                    <a:pt x="1139275" y="672521"/>
                  </a:lnTo>
                  <a:lnTo>
                    <a:pt x="1139497" y="679070"/>
                  </a:lnTo>
                  <a:lnTo>
                    <a:pt x="1137730" y="691017"/>
                  </a:lnTo>
                  <a:lnTo>
                    <a:pt x="1137327" y="699150"/>
                  </a:lnTo>
                  <a:lnTo>
                    <a:pt x="1137074" y="698903"/>
                  </a:lnTo>
                  <a:lnTo>
                    <a:pt x="1136905" y="698047"/>
                  </a:lnTo>
                  <a:lnTo>
                    <a:pt x="1136497" y="697929"/>
                  </a:lnTo>
                  <a:lnTo>
                    <a:pt x="1134963" y="701651"/>
                  </a:lnTo>
                  <a:lnTo>
                    <a:pt x="1132876" y="705007"/>
                  </a:lnTo>
                  <a:lnTo>
                    <a:pt x="1132190" y="710220"/>
                  </a:lnTo>
                  <a:lnTo>
                    <a:pt x="1131190" y="712827"/>
                  </a:lnTo>
                  <a:lnTo>
                    <a:pt x="1128187" y="715583"/>
                  </a:lnTo>
                  <a:lnTo>
                    <a:pt x="1126326" y="715513"/>
                  </a:lnTo>
                  <a:lnTo>
                    <a:pt x="1121762" y="717580"/>
                  </a:lnTo>
                  <a:lnTo>
                    <a:pt x="1118556" y="717042"/>
                  </a:lnTo>
                  <a:lnTo>
                    <a:pt x="1114735" y="718208"/>
                  </a:lnTo>
                  <a:lnTo>
                    <a:pt x="1112223" y="718077"/>
                  </a:lnTo>
                  <a:lnTo>
                    <a:pt x="1110771" y="715619"/>
                  </a:lnTo>
                  <a:lnTo>
                    <a:pt x="1110992" y="714520"/>
                  </a:lnTo>
                  <a:lnTo>
                    <a:pt x="1111571" y="713413"/>
                  </a:lnTo>
                  <a:lnTo>
                    <a:pt x="1112550" y="713157"/>
                  </a:lnTo>
                  <a:lnTo>
                    <a:pt x="1115924" y="715733"/>
                  </a:lnTo>
                  <a:lnTo>
                    <a:pt x="1116560" y="714648"/>
                  </a:lnTo>
                  <a:lnTo>
                    <a:pt x="1115542" y="713359"/>
                  </a:lnTo>
                  <a:lnTo>
                    <a:pt x="1113591" y="712639"/>
                  </a:lnTo>
                  <a:lnTo>
                    <a:pt x="1112149" y="711848"/>
                  </a:lnTo>
                  <a:lnTo>
                    <a:pt x="1109246" y="705965"/>
                  </a:lnTo>
                  <a:lnTo>
                    <a:pt x="1106239" y="701922"/>
                  </a:lnTo>
                  <a:lnTo>
                    <a:pt x="1105731" y="699218"/>
                  </a:lnTo>
                  <a:lnTo>
                    <a:pt x="1100545" y="697568"/>
                  </a:lnTo>
                  <a:lnTo>
                    <a:pt x="1096789" y="695069"/>
                  </a:lnTo>
                  <a:lnTo>
                    <a:pt x="1094340" y="690622"/>
                  </a:lnTo>
                  <a:lnTo>
                    <a:pt x="1092936" y="682724"/>
                  </a:lnTo>
                  <a:lnTo>
                    <a:pt x="1091279" y="681836"/>
                  </a:lnTo>
                  <a:lnTo>
                    <a:pt x="1090578" y="681221"/>
                  </a:lnTo>
                  <a:lnTo>
                    <a:pt x="1092197" y="678288"/>
                  </a:lnTo>
                  <a:lnTo>
                    <a:pt x="1093902" y="675826"/>
                  </a:lnTo>
                  <a:lnTo>
                    <a:pt x="1092552" y="676438"/>
                  </a:lnTo>
                  <a:lnTo>
                    <a:pt x="1091556" y="677349"/>
                  </a:lnTo>
                  <a:lnTo>
                    <a:pt x="1090293" y="679522"/>
                  </a:lnTo>
                  <a:lnTo>
                    <a:pt x="1089368" y="679857"/>
                  </a:lnTo>
                  <a:lnTo>
                    <a:pt x="1088520" y="679522"/>
                  </a:lnTo>
                  <a:lnTo>
                    <a:pt x="1087544" y="675353"/>
                  </a:lnTo>
                  <a:lnTo>
                    <a:pt x="1087824" y="670222"/>
                  </a:lnTo>
                  <a:lnTo>
                    <a:pt x="1089192" y="668301"/>
                  </a:lnTo>
                  <a:lnTo>
                    <a:pt x="1087089" y="668251"/>
                  </a:lnTo>
                  <a:lnTo>
                    <a:pt x="1084910" y="668982"/>
                  </a:lnTo>
                  <a:lnTo>
                    <a:pt x="1085230" y="670693"/>
                  </a:lnTo>
                  <a:lnTo>
                    <a:pt x="1084922" y="671633"/>
                  </a:lnTo>
                  <a:lnTo>
                    <a:pt x="1083335" y="671392"/>
                  </a:lnTo>
                  <a:lnTo>
                    <a:pt x="1082133" y="670791"/>
                  </a:lnTo>
                  <a:lnTo>
                    <a:pt x="1080499" y="669010"/>
                  </a:lnTo>
                  <a:lnTo>
                    <a:pt x="1078272" y="665610"/>
                  </a:lnTo>
                  <a:lnTo>
                    <a:pt x="1073703" y="656231"/>
                  </a:lnTo>
                  <a:lnTo>
                    <a:pt x="1072812" y="654908"/>
                  </a:lnTo>
                  <a:lnTo>
                    <a:pt x="1071302" y="653520"/>
                  </a:lnTo>
                  <a:lnTo>
                    <a:pt x="1072013" y="653089"/>
                  </a:lnTo>
                  <a:lnTo>
                    <a:pt x="1073310" y="652834"/>
                  </a:lnTo>
                  <a:lnTo>
                    <a:pt x="1076244" y="648603"/>
                  </a:lnTo>
                  <a:lnTo>
                    <a:pt x="1078548" y="646043"/>
                  </a:lnTo>
                  <a:lnTo>
                    <a:pt x="1079313" y="644273"/>
                  </a:lnTo>
                  <a:lnTo>
                    <a:pt x="1079180" y="643515"/>
                  </a:lnTo>
                  <a:lnTo>
                    <a:pt x="1078161" y="642415"/>
                  </a:lnTo>
                  <a:lnTo>
                    <a:pt x="1076824" y="643376"/>
                  </a:lnTo>
                  <a:lnTo>
                    <a:pt x="1076250" y="643102"/>
                  </a:lnTo>
                  <a:lnTo>
                    <a:pt x="1074745" y="640880"/>
                  </a:lnTo>
                  <a:lnTo>
                    <a:pt x="1073308" y="640252"/>
                  </a:lnTo>
                  <a:lnTo>
                    <a:pt x="1072306" y="640733"/>
                  </a:lnTo>
                  <a:lnTo>
                    <a:pt x="1073364" y="642554"/>
                  </a:lnTo>
                  <a:lnTo>
                    <a:pt x="1074311" y="643230"/>
                  </a:lnTo>
                  <a:lnTo>
                    <a:pt x="1073945" y="645875"/>
                  </a:lnTo>
                  <a:lnTo>
                    <a:pt x="1073561" y="646738"/>
                  </a:lnTo>
                  <a:lnTo>
                    <a:pt x="1072672" y="647497"/>
                  </a:lnTo>
                  <a:lnTo>
                    <a:pt x="1071282" y="647093"/>
                  </a:lnTo>
                  <a:lnTo>
                    <a:pt x="1070580" y="647746"/>
                  </a:lnTo>
                  <a:lnTo>
                    <a:pt x="1069752" y="647056"/>
                  </a:lnTo>
                  <a:lnTo>
                    <a:pt x="1068930" y="645895"/>
                  </a:lnTo>
                  <a:lnTo>
                    <a:pt x="1068013" y="643981"/>
                  </a:lnTo>
                  <a:lnTo>
                    <a:pt x="1070435" y="633194"/>
                  </a:lnTo>
                  <a:lnTo>
                    <a:pt x="1072679" y="626310"/>
                  </a:lnTo>
                  <a:lnTo>
                    <a:pt x="1072934" y="618442"/>
                  </a:lnTo>
                  <a:lnTo>
                    <a:pt x="1073101" y="617276"/>
                  </a:lnTo>
                  <a:lnTo>
                    <a:pt x="1072912" y="615183"/>
                  </a:lnTo>
                  <a:lnTo>
                    <a:pt x="1069905" y="610630"/>
                  </a:lnTo>
                  <a:lnTo>
                    <a:pt x="1056611" y="599501"/>
                  </a:lnTo>
                  <a:lnTo>
                    <a:pt x="1046308" y="586289"/>
                  </a:lnTo>
                  <a:lnTo>
                    <a:pt x="1037383" y="581324"/>
                  </a:lnTo>
                  <a:lnTo>
                    <a:pt x="1030611" y="582414"/>
                  </a:lnTo>
                  <a:lnTo>
                    <a:pt x="1029439" y="583412"/>
                  </a:lnTo>
                  <a:lnTo>
                    <a:pt x="1028936" y="584717"/>
                  </a:lnTo>
                  <a:lnTo>
                    <a:pt x="1029361" y="586194"/>
                  </a:lnTo>
                  <a:lnTo>
                    <a:pt x="1028745" y="586808"/>
                  </a:lnTo>
                  <a:lnTo>
                    <a:pt x="1026928" y="586730"/>
                  </a:lnTo>
                  <a:lnTo>
                    <a:pt x="1024480" y="587074"/>
                  </a:lnTo>
                  <a:lnTo>
                    <a:pt x="1018089" y="590556"/>
                  </a:lnTo>
                  <a:lnTo>
                    <a:pt x="1015834" y="590427"/>
                  </a:lnTo>
                  <a:lnTo>
                    <a:pt x="1013787" y="591329"/>
                  </a:lnTo>
                  <a:lnTo>
                    <a:pt x="1012254" y="592004"/>
                  </a:lnTo>
                  <a:lnTo>
                    <a:pt x="1008255" y="592372"/>
                  </a:lnTo>
                  <a:lnTo>
                    <a:pt x="1004864" y="593144"/>
                  </a:lnTo>
                  <a:lnTo>
                    <a:pt x="1003399" y="592726"/>
                  </a:lnTo>
                  <a:lnTo>
                    <a:pt x="1002444" y="590708"/>
                  </a:lnTo>
                  <a:lnTo>
                    <a:pt x="1002444" y="588619"/>
                  </a:lnTo>
                  <a:lnTo>
                    <a:pt x="1003219" y="590220"/>
                  </a:lnTo>
                  <a:lnTo>
                    <a:pt x="1004418" y="591473"/>
                  </a:lnTo>
                  <a:lnTo>
                    <a:pt x="1004968" y="590973"/>
                  </a:lnTo>
                  <a:lnTo>
                    <a:pt x="1005174" y="589864"/>
                  </a:lnTo>
                  <a:lnTo>
                    <a:pt x="1003980" y="587691"/>
                  </a:lnTo>
                  <a:lnTo>
                    <a:pt x="1000136" y="584898"/>
                  </a:lnTo>
                  <a:lnTo>
                    <a:pt x="995762" y="580817"/>
                  </a:lnTo>
                  <a:lnTo>
                    <a:pt x="997095" y="580951"/>
                  </a:lnTo>
                  <a:lnTo>
                    <a:pt x="997433" y="580077"/>
                  </a:lnTo>
                  <a:lnTo>
                    <a:pt x="996077" y="578929"/>
                  </a:lnTo>
                  <a:lnTo>
                    <a:pt x="996649" y="577602"/>
                  </a:lnTo>
                  <a:lnTo>
                    <a:pt x="997606" y="576208"/>
                  </a:lnTo>
                  <a:lnTo>
                    <a:pt x="995759" y="576417"/>
                  </a:lnTo>
                  <a:lnTo>
                    <a:pt x="994103" y="577393"/>
                  </a:lnTo>
                  <a:lnTo>
                    <a:pt x="994048" y="578599"/>
                  </a:lnTo>
                  <a:lnTo>
                    <a:pt x="993720" y="579557"/>
                  </a:lnTo>
                  <a:lnTo>
                    <a:pt x="992829" y="579418"/>
                  </a:lnTo>
                  <a:lnTo>
                    <a:pt x="991173" y="578231"/>
                  </a:lnTo>
                  <a:lnTo>
                    <a:pt x="983022" y="574927"/>
                  </a:lnTo>
                  <a:lnTo>
                    <a:pt x="975898" y="573063"/>
                  </a:lnTo>
                  <a:lnTo>
                    <a:pt x="981367" y="572224"/>
                  </a:lnTo>
                  <a:lnTo>
                    <a:pt x="984332" y="572876"/>
                  </a:lnTo>
                  <a:lnTo>
                    <a:pt x="983978" y="571876"/>
                  </a:lnTo>
                  <a:lnTo>
                    <a:pt x="983264" y="571239"/>
                  </a:lnTo>
                  <a:lnTo>
                    <a:pt x="980925" y="570434"/>
                  </a:lnTo>
                  <a:lnTo>
                    <a:pt x="977946" y="570741"/>
                  </a:lnTo>
                  <a:lnTo>
                    <a:pt x="976063" y="570363"/>
                  </a:lnTo>
                  <a:lnTo>
                    <a:pt x="974139" y="571160"/>
                  </a:lnTo>
                  <a:lnTo>
                    <a:pt x="972030" y="572348"/>
                  </a:lnTo>
                  <a:lnTo>
                    <a:pt x="970153" y="572958"/>
                  </a:lnTo>
                  <a:lnTo>
                    <a:pt x="962806" y="573812"/>
                  </a:lnTo>
                  <a:lnTo>
                    <a:pt x="956849" y="574739"/>
                  </a:lnTo>
                  <a:lnTo>
                    <a:pt x="957804" y="573761"/>
                  </a:lnTo>
                  <a:lnTo>
                    <a:pt x="958823" y="573132"/>
                  </a:lnTo>
                  <a:lnTo>
                    <a:pt x="962344" y="572175"/>
                  </a:lnTo>
                  <a:lnTo>
                    <a:pt x="962870" y="570186"/>
                  </a:lnTo>
                  <a:lnTo>
                    <a:pt x="962042" y="568268"/>
                  </a:lnTo>
                  <a:lnTo>
                    <a:pt x="961117" y="568729"/>
                  </a:lnTo>
                  <a:lnTo>
                    <a:pt x="960144" y="570226"/>
                  </a:lnTo>
                  <a:lnTo>
                    <a:pt x="958951" y="569147"/>
                  </a:lnTo>
                  <a:lnTo>
                    <a:pt x="957629" y="569152"/>
                  </a:lnTo>
                  <a:lnTo>
                    <a:pt x="957270" y="571536"/>
                  </a:lnTo>
                  <a:lnTo>
                    <a:pt x="955575" y="573132"/>
                  </a:lnTo>
                  <a:lnTo>
                    <a:pt x="954812" y="574739"/>
                  </a:lnTo>
                  <a:lnTo>
                    <a:pt x="949844" y="575998"/>
                  </a:lnTo>
                  <a:lnTo>
                    <a:pt x="949207" y="575578"/>
                  </a:lnTo>
                  <a:lnTo>
                    <a:pt x="950661" y="574052"/>
                  </a:lnTo>
                  <a:lnTo>
                    <a:pt x="950545" y="573203"/>
                  </a:lnTo>
                  <a:lnTo>
                    <a:pt x="948887" y="573932"/>
                  </a:lnTo>
                  <a:lnTo>
                    <a:pt x="946107" y="576824"/>
                  </a:lnTo>
                  <a:lnTo>
                    <a:pt x="936318" y="577770"/>
                  </a:lnTo>
                  <a:lnTo>
                    <a:pt x="936854" y="577113"/>
                  </a:lnTo>
                  <a:lnTo>
                    <a:pt x="938920" y="576981"/>
                  </a:lnTo>
                  <a:lnTo>
                    <a:pt x="941821" y="576067"/>
                  </a:lnTo>
                  <a:lnTo>
                    <a:pt x="941234" y="574526"/>
                  </a:lnTo>
                  <a:lnTo>
                    <a:pt x="940115" y="572831"/>
                  </a:lnTo>
                  <a:lnTo>
                    <a:pt x="939082" y="572643"/>
                  </a:lnTo>
                  <a:lnTo>
                    <a:pt x="938402" y="571648"/>
                  </a:lnTo>
                  <a:lnTo>
                    <a:pt x="938435" y="568515"/>
                  </a:lnTo>
                  <a:lnTo>
                    <a:pt x="937775" y="566682"/>
                  </a:lnTo>
                  <a:lnTo>
                    <a:pt x="936182" y="564796"/>
                  </a:lnTo>
                  <a:lnTo>
                    <a:pt x="935643" y="565158"/>
                  </a:lnTo>
                  <a:lnTo>
                    <a:pt x="934471" y="568384"/>
                  </a:lnTo>
                  <a:lnTo>
                    <a:pt x="933497" y="572609"/>
                  </a:lnTo>
                  <a:lnTo>
                    <a:pt x="933016" y="573974"/>
                  </a:lnTo>
                  <a:lnTo>
                    <a:pt x="930114" y="574069"/>
                  </a:lnTo>
                  <a:lnTo>
                    <a:pt x="927545" y="573780"/>
                  </a:lnTo>
                  <a:lnTo>
                    <a:pt x="918816" y="574288"/>
                  </a:lnTo>
                  <a:lnTo>
                    <a:pt x="915554" y="572858"/>
                  </a:lnTo>
                  <a:lnTo>
                    <a:pt x="914202" y="572582"/>
                  </a:lnTo>
                  <a:lnTo>
                    <a:pt x="913378" y="572615"/>
                  </a:lnTo>
                  <a:lnTo>
                    <a:pt x="909582" y="573927"/>
                  </a:lnTo>
                  <a:lnTo>
                    <a:pt x="905255" y="574932"/>
                  </a:lnTo>
                  <a:lnTo>
                    <a:pt x="904237" y="574616"/>
                  </a:lnTo>
                  <a:lnTo>
                    <a:pt x="902784" y="574570"/>
                  </a:lnTo>
                  <a:lnTo>
                    <a:pt x="899647" y="577987"/>
                  </a:lnTo>
                  <a:lnTo>
                    <a:pt x="895949" y="579586"/>
                  </a:lnTo>
                  <a:lnTo>
                    <a:pt x="886618" y="576712"/>
                  </a:lnTo>
                  <a:lnTo>
                    <a:pt x="884297" y="574399"/>
                  </a:lnTo>
                  <a:lnTo>
                    <a:pt x="882237" y="573904"/>
                  </a:lnTo>
                  <a:lnTo>
                    <a:pt x="879704" y="573618"/>
                  </a:lnTo>
                  <a:lnTo>
                    <a:pt x="876982" y="576464"/>
                  </a:lnTo>
                  <a:lnTo>
                    <a:pt x="874915" y="580302"/>
                  </a:lnTo>
                  <a:lnTo>
                    <a:pt x="878181" y="582405"/>
                  </a:lnTo>
                  <a:lnTo>
                    <a:pt x="880978" y="583410"/>
                  </a:lnTo>
                  <a:lnTo>
                    <a:pt x="885600" y="582567"/>
                  </a:lnTo>
                  <a:lnTo>
                    <a:pt x="888153" y="580706"/>
                  </a:lnTo>
                  <a:lnTo>
                    <a:pt x="890241" y="580767"/>
                  </a:lnTo>
                  <a:lnTo>
                    <a:pt x="891238" y="580390"/>
                  </a:lnTo>
                  <a:lnTo>
                    <a:pt x="892147" y="579418"/>
                  </a:lnTo>
                  <a:lnTo>
                    <a:pt x="893932" y="580185"/>
                  </a:lnTo>
                  <a:lnTo>
                    <a:pt x="893996" y="580952"/>
                  </a:lnTo>
                  <a:lnTo>
                    <a:pt x="892729" y="582035"/>
                  </a:lnTo>
                  <a:lnTo>
                    <a:pt x="891133" y="582946"/>
                  </a:lnTo>
                  <a:lnTo>
                    <a:pt x="890166" y="584019"/>
                  </a:lnTo>
                  <a:lnTo>
                    <a:pt x="891986" y="586181"/>
                  </a:lnTo>
                  <a:lnTo>
                    <a:pt x="894847" y="586908"/>
                  </a:lnTo>
                  <a:lnTo>
                    <a:pt x="895922" y="586594"/>
                  </a:lnTo>
                  <a:lnTo>
                    <a:pt x="896589" y="584164"/>
                  </a:lnTo>
                  <a:lnTo>
                    <a:pt x="898348" y="582598"/>
                  </a:lnTo>
                  <a:lnTo>
                    <a:pt x="900738" y="582936"/>
                  </a:lnTo>
                  <a:lnTo>
                    <a:pt x="900398" y="583919"/>
                  </a:lnTo>
                  <a:lnTo>
                    <a:pt x="900733" y="584845"/>
                  </a:lnTo>
                  <a:lnTo>
                    <a:pt x="901832" y="586428"/>
                  </a:lnTo>
                  <a:lnTo>
                    <a:pt x="901706" y="588694"/>
                  </a:lnTo>
                  <a:lnTo>
                    <a:pt x="901919" y="589239"/>
                  </a:lnTo>
                  <a:lnTo>
                    <a:pt x="899343" y="590240"/>
                  </a:lnTo>
                  <a:lnTo>
                    <a:pt x="897423" y="590579"/>
                  </a:lnTo>
                  <a:lnTo>
                    <a:pt x="895888" y="591887"/>
                  </a:lnTo>
                  <a:lnTo>
                    <a:pt x="896692" y="592647"/>
                  </a:lnTo>
                  <a:lnTo>
                    <a:pt x="895127" y="593313"/>
                  </a:lnTo>
                  <a:lnTo>
                    <a:pt x="894071" y="593046"/>
                  </a:lnTo>
                  <a:lnTo>
                    <a:pt x="893538" y="593293"/>
                  </a:lnTo>
                  <a:lnTo>
                    <a:pt x="893379" y="594096"/>
                  </a:lnTo>
                  <a:lnTo>
                    <a:pt x="892571" y="594842"/>
                  </a:lnTo>
                  <a:lnTo>
                    <a:pt x="893747" y="597087"/>
                  </a:lnTo>
                  <a:lnTo>
                    <a:pt x="896157" y="598552"/>
                  </a:lnTo>
                  <a:lnTo>
                    <a:pt x="897857" y="600387"/>
                  </a:lnTo>
                  <a:lnTo>
                    <a:pt x="904693" y="602804"/>
                  </a:lnTo>
                  <a:lnTo>
                    <a:pt x="906349" y="602736"/>
                  </a:lnTo>
                  <a:lnTo>
                    <a:pt x="907980" y="605166"/>
                  </a:lnTo>
                  <a:lnTo>
                    <a:pt x="909295" y="606002"/>
                  </a:lnTo>
                  <a:lnTo>
                    <a:pt x="910559" y="606427"/>
                  </a:lnTo>
                  <a:lnTo>
                    <a:pt x="910415" y="608099"/>
                  </a:lnTo>
                  <a:lnTo>
                    <a:pt x="908167" y="609321"/>
                  </a:lnTo>
                  <a:lnTo>
                    <a:pt x="907559" y="610780"/>
                  </a:lnTo>
                  <a:lnTo>
                    <a:pt x="906993" y="611600"/>
                  </a:lnTo>
                  <a:lnTo>
                    <a:pt x="905979" y="610562"/>
                  </a:lnTo>
                  <a:lnTo>
                    <a:pt x="904938" y="609809"/>
                  </a:lnTo>
                  <a:lnTo>
                    <a:pt x="902529" y="612098"/>
                  </a:lnTo>
                  <a:lnTo>
                    <a:pt x="901366" y="612580"/>
                  </a:lnTo>
                  <a:lnTo>
                    <a:pt x="901942" y="610112"/>
                  </a:lnTo>
                  <a:lnTo>
                    <a:pt x="901032" y="609145"/>
                  </a:lnTo>
                  <a:lnTo>
                    <a:pt x="899656" y="606669"/>
                  </a:lnTo>
                  <a:lnTo>
                    <a:pt x="897651" y="605138"/>
                  </a:lnTo>
                  <a:lnTo>
                    <a:pt x="896237" y="604631"/>
                  </a:lnTo>
                  <a:lnTo>
                    <a:pt x="895138" y="603660"/>
                  </a:lnTo>
                  <a:lnTo>
                    <a:pt x="893806" y="603268"/>
                  </a:lnTo>
                  <a:lnTo>
                    <a:pt x="892671" y="603368"/>
                  </a:lnTo>
                  <a:lnTo>
                    <a:pt x="890747" y="602804"/>
                  </a:lnTo>
                  <a:lnTo>
                    <a:pt x="890620" y="601485"/>
                  </a:lnTo>
                  <a:lnTo>
                    <a:pt x="890087" y="600498"/>
                  </a:lnTo>
                  <a:lnTo>
                    <a:pt x="888582" y="599332"/>
                  </a:lnTo>
                  <a:lnTo>
                    <a:pt x="881393" y="597129"/>
                  </a:lnTo>
                  <a:lnTo>
                    <a:pt x="881349" y="598041"/>
                  </a:lnTo>
                  <a:lnTo>
                    <a:pt x="881847" y="598727"/>
                  </a:lnTo>
                  <a:lnTo>
                    <a:pt x="882880" y="599184"/>
                  </a:lnTo>
                  <a:lnTo>
                    <a:pt x="884116" y="600073"/>
                  </a:lnTo>
                  <a:lnTo>
                    <a:pt x="884104" y="602704"/>
                  </a:lnTo>
                  <a:lnTo>
                    <a:pt x="883571" y="603817"/>
                  </a:lnTo>
                  <a:lnTo>
                    <a:pt x="883340" y="605403"/>
                  </a:lnTo>
                  <a:lnTo>
                    <a:pt x="882866" y="607013"/>
                  </a:lnTo>
                  <a:lnTo>
                    <a:pt x="881985" y="608282"/>
                  </a:lnTo>
                  <a:lnTo>
                    <a:pt x="880022" y="609148"/>
                  </a:lnTo>
                  <a:lnTo>
                    <a:pt x="879156" y="608424"/>
                  </a:lnTo>
                  <a:lnTo>
                    <a:pt x="877757" y="604956"/>
                  </a:lnTo>
                  <a:lnTo>
                    <a:pt x="875777" y="603863"/>
                  </a:lnTo>
                  <a:lnTo>
                    <a:pt x="872632" y="603735"/>
                  </a:lnTo>
                  <a:lnTo>
                    <a:pt x="870496" y="604518"/>
                  </a:lnTo>
                  <a:lnTo>
                    <a:pt x="868168" y="607879"/>
                  </a:lnTo>
                  <a:lnTo>
                    <a:pt x="866292" y="608428"/>
                  </a:lnTo>
                  <a:lnTo>
                    <a:pt x="859872" y="606687"/>
                  </a:lnTo>
                  <a:lnTo>
                    <a:pt x="852539" y="604034"/>
                  </a:lnTo>
                  <a:lnTo>
                    <a:pt x="852729" y="603150"/>
                  </a:lnTo>
                  <a:lnTo>
                    <a:pt x="853882" y="602866"/>
                  </a:lnTo>
                  <a:lnTo>
                    <a:pt x="856094" y="603229"/>
                  </a:lnTo>
                  <a:lnTo>
                    <a:pt x="855977" y="602318"/>
                  </a:lnTo>
                  <a:lnTo>
                    <a:pt x="853717" y="599351"/>
                  </a:lnTo>
                  <a:lnTo>
                    <a:pt x="853302" y="598011"/>
                  </a:lnTo>
                  <a:lnTo>
                    <a:pt x="853593" y="596375"/>
                  </a:lnTo>
                  <a:lnTo>
                    <a:pt x="852856" y="596411"/>
                  </a:lnTo>
                  <a:lnTo>
                    <a:pt x="851499" y="597785"/>
                  </a:lnTo>
                  <a:lnTo>
                    <a:pt x="846824" y="596621"/>
                  </a:lnTo>
                  <a:lnTo>
                    <a:pt x="845533" y="595230"/>
                  </a:lnTo>
                  <a:lnTo>
                    <a:pt x="842786" y="591307"/>
                  </a:lnTo>
                  <a:lnTo>
                    <a:pt x="838910" y="591179"/>
                  </a:lnTo>
                  <a:lnTo>
                    <a:pt x="837156" y="588799"/>
                  </a:lnTo>
                  <a:lnTo>
                    <a:pt x="833988" y="589796"/>
                  </a:lnTo>
                  <a:lnTo>
                    <a:pt x="832385" y="590898"/>
                  </a:lnTo>
                  <a:lnTo>
                    <a:pt x="830975" y="592608"/>
                  </a:lnTo>
                  <a:lnTo>
                    <a:pt x="831523" y="593493"/>
                  </a:lnTo>
                  <a:lnTo>
                    <a:pt x="832929" y="594899"/>
                  </a:lnTo>
                  <a:lnTo>
                    <a:pt x="832288" y="595577"/>
                  </a:lnTo>
                  <a:lnTo>
                    <a:pt x="827777" y="596580"/>
                  </a:lnTo>
                  <a:lnTo>
                    <a:pt x="817306" y="595460"/>
                  </a:lnTo>
                  <a:lnTo>
                    <a:pt x="814244" y="594412"/>
                  </a:lnTo>
                  <a:lnTo>
                    <a:pt x="810135" y="592198"/>
                  </a:lnTo>
                  <a:lnTo>
                    <a:pt x="804439" y="590391"/>
                  </a:lnTo>
                  <a:lnTo>
                    <a:pt x="801696" y="590099"/>
                  </a:lnTo>
                  <a:lnTo>
                    <a:pt x="799012" y="590458"/>
                  </a:lnTo>
                  <a:lnTo>
                    <a:pt x="791197" y="590643"/>
                  </a:lnTo>
                  <a:lnTo>
                    <a:pt x="789383" y="591124"/>
                  </a:lnTo>
                  <a:lnTo>
                    <a:pt x="787838" y="591890"/>
                  </a:lnTo>
                  <a:lnTo>
                    <a:pt x="786836" y="591041"/>
                  </a:lnTo>
                  <a:lnTo>
                    <a:pt x="786372" y="589525"/>
                  </a:lnTo>
                  <a:lnTo>
                    <a:pt x="787280" y="589278"/>
                  </a:lnTo>
                  <a:lnTo>
                    <a:pt x="788289" y="588386"/>
                  </a:lnTo>
                  <a:lnTo>
                    <a:pt x="789199" y="586622"/>
                  </a:lnTo>
                  <a:lnTo>
                    <a:pt x="789303" y="585555"/>
                  </a:lnTo>
                  <a:lnTo>
                    <a:pt x="788666" y="584858"/>
                  </a:lnTo>
                  <a:lnTo>
                    <a:pt x="787456" y="584788"/>
                  </a:lnTo>
                  <a:lnTo>
                    <a:pt x="784781" y="589386"/>
                  </a:lnTo>
                  <a:lnTo>
                    <a:pt x="786309" y="591960"/>
                  </a:lnTo>
                  <a:lnTo>
                    <a:pt x="786204" y="592888"/>
                  </a:lnTo>
                  <a:lnTo>
                    <a:pt x="780868" y="593417"/>
                  </a:lnTo>
                  <a:lnTo>
                    <a:pt x="768756" y="598594"/>
                  </a:lnTo>
                  <a:lnTo>
                    <a:pt x="764033" y="601383"/>
                  </a:lnTo>
                  <a:lnTo>
                    <a:pt x="764274" y="600445"/>
                  </a:lnTo>
                  <a:lnTo>
                    <a:pt x="769986" y="596828"/>
                  </a:lnTo>
                  <a:lnTo>
                    <a:pt x="767970" y="596275"/>
                  </a:lnTo>
                  <a:lnTo>
                    <a:pt x="764722" y="597179"/>
                  </a:lnTo>
                  <a:lnTo>
                    <a:pt x="763557" y="596831"/>
                  </a:lnTo>
                  <a:lnTo>
                    <a:pt x="764933" y="593838"/>
                  </a:lnTo>
                  <a:lnTo>
                    <a:pt x="764485" y="591198"/>
                  </a:lnTo>
                  <a:lnTo>
                    <a:pt x="762178" y="591126"/>
                  </a:lnTo>
                  <a:lnTo>
                    <a:pt x="760710" y="593234"/>
                  </a:lnTo>
                  <a:lnTo>
                    <a:pt x="759690" y="593145"/>
                  </a:lnTo>
                  <a:lnTo>
                    <a:pt x="758353" y="592240"/>
                  </a:lnTo>
                  <a:lnTo>
                    <a:pt x="757317" y="592526"/>
                  </a:lnTo>
                  <a:lnTo>
                    <a:pt x="758084" y="597302"/>
                  </a:lnTo>
                  <a:lnTo>
                    <a:pt x="759536" y="599264"/>
                  </a:lnTo>
                  <a:lnTo>
                    <a:pt x="760751" y="601765"/>
                  </a:lnTo>
                  <a:lnTo>
                    <a:pt x="757434" y="604854"/>
                  </a:lnTo>
                  <a:lnTo>
                    <a:pt x="754354" y="607401"/>
                  </a:lnTo>
                  <a:lnTo>
                    <a:pt x="754020" y="609861"/>
                  </a:lnTo>
                  <a:lnTo>
                    <a:pt x="750924" y="613064"/>
                  </a:lnTo>
                  <a:lnTo>
                    <a:pt x="748012" y="614879"/>
                  </a:lnTo>
                  <a:lnTo>
                    <a:pt x="741170" y="619143"/>
                  </a:lnTo>
                  <a:lnTo>
                    <a:pt x="739217" y="620055"/>
                  </a:lnTo>
                  <a:lnTo>
                    <a:pt x="736131" y="622033"/>
                  </a:lnTo>
                  <a:lnTo>
                    <a:pt x="731870" y="623515"/>
                  </a:lnTo>
                  <a:lnTo>
                    <a:pt x="727786" y="625866"/>
                  </a:lnTo>
                  <a:lnTo>
                    <a:pt x="726408" y="626223"/>
                  </a:lnTo>
                  <a:lnTo>
                    <a:pt x="729016" y="624233"/>
                  </a:lnTo>
                  <a:lnTo>
                    <a:pt x="732109" y="622265"/>
                  </a:lnTo>
                  <a:lnTo>
                    <a:pt x="729457" y="622535"/>
                  </a:lnTo>
                  <a:lnTo>
                    <a:pt x="725367" y="621623"/>
                  </a:lnTo>
                  <a:lnTo>
                    <a:pt x="722865" y="621570"/>
                  </a:lnTo>
                  <a:lnTo>
                    <a:pt x="722847" y="622288"/>
                  </a:lnTo>
                  <a:lnTo>
                    <a:pt x="720943" y="623302"/>
                  </a:lnTo>
                  <a:lnTo>
                    <a:pt x="718972" y="621812"/>
                  </a:lnTo>
                  <a:lnTo>
                    <a:pt x="718112" y="620809"/>
                  </a:lnTo>
                  <a:lnTo>
                    <a:pt x="717705" y="619944"/>
                  </a:lnTo>
                  <a:lnTo>
                    <a:pt x="716868" y="619735"/>
                  </a:lnTo>
                  <a:lnTo>
                    <a:pt x="716064" y="620136"/>
                  </a:lnTo>
                  <a:lnTo>
                    <a:pt x="719007" y="626230"/>
                  </a:lnTo>
                  <a:lnTo>
                    <a:pt x="720260" y="626493"/>
                  </a:lnTo>
                  <a:lnTo>
                    <a:pt x="721649" y="627098"/>
                  </a:lnTo>
                  <a:lnTo>
                    <a:pt x="719921" y="628518"/>
                  </a:lnTo>
                  <a:lnTo>
                    <a:pt x="718062" y="629592"/>
                  </a:lnTo>
                  <a:lnTo>
                    <a:pt x="715136" y="630307"/>
                  </a:lnTo>
                  <a:lnTo>
                    <a:pt x="712659" y="628086"/>
                  </a:lnTo>
                  <a:lnTo>
                    <a:pt x="712121" y="630872"/>
                  </a:lnTo>
                  <a:lnTo>
                    <a:pt x="711806" y="633654"/>
                  </a:lnTo>
                  <a:lnTo>
                    <a:pt x="710974" y="634368"/>
                  </a:lnTo>
                  <a:lnTo>
                    <a:pt x="709645" y="635384"/>
                  </a:lnTo>
                  <a:lnTo>
                    <a:pt x="708925" y="634617"/>
                  </a:lnTo>
                  <a:lnTo>
                    <a:pt x="708582" y="633541"/>
                  </a:lnTo>
                  <a:lnTo>
                    <a:pt x="707732" y="634502"/>
                  </a:lnTo>
                  <a:lnTo>
                    <a:pt x="706486" y="635221"/>
                  </a:lnTo>
                  <a:lnTo>
                    <a:pt x="704431" y="635365"/>
                  </a:lnTo>
                  <a:lnTo>
                    <a:pt x="702889" y="635749"/>
                  </a:lnTo>
                  <a:lnTo>
                    <a:pt x="702925" y="636901"/>
                  </a:lnTo>
                  <a:lnTo>
                    <a:pt x="703278" y="638057"/>
                  </a:lnTo>
                  <a:lnTo>
                    <a:pt x="706004" y="637144"/>
                  </a:lnTo>
                  <a:lnTo>
                    <a:pt x="705017" y="640118"/>
                  </a:lnTo>
                  <a:lnTo>
                    <a:pt x="702507" y="643054"/>
                  </a:lnTo>
                  <a:lnTo>
                    <a:pt x="700464" y="643748"/>
                  </a:lnTo>
                  <a:lnTo>
                    <a:pt x="697337" y="643319"/>
                  </a:lnTo>
                  <a:lnTo>
                    <a:pt x="696565" y="643614"/>
                  </a:lnTo>
                  <a:lnTo>
                    <a:pt x="695873" y="644223"/>
                  </a:lnTo>
                  <a:lnTo>
                    <a:pt x="699515" y="648814"/>
                  </a:lnTo>
                  <a:lnTo>
                    <a:pt x="697174" y="655729"/>
                  </a:lnTo>
                  <a:lnTo>
                    <a:pt x="695679" y="658233"/>
                  </a:lnTo>
                  <a:lnTo>
                    <a:pt x="694641" y="658553"/>
                  </a:lnTo>
                  <a:lnTo>
                    <a:pt x="693516" y="658626"/>
                  </a:lnTo>
                  <a:lnTo>
                    <a:pt x="689480" y="656401"/>
                  </a:lnTo>
                  <a:lnTo>
                    <a:pt x="687278" y="654679"/>
                  </a:lnTo>
                  <a:lnTo>
                    <a:pt x="689217" y="659363"/>
                  </a:lnTo>
                  <a:lnTo>
                    <a:pt x="694506" y="660730"/>
                  </a:lnTo>
                  <a:lnTo>
                    <a:pt x="694776" y="662499"/>
                  </a:lnTo>
                  <a:lnTo>
                    <a:pt x="694747" y="664013"/>
                  </a:lnTo>
                  <a:lnTo>
                    <a:pt x="693704" y="665786"/>
                  </a:lnTo>
                  <a:lnTo>
                    <a:pt x="692731" y="668143"/>
                  </a:lnTo>
                  <a:lnTo>
                    <a:pt x="693450" y="669784"/>
                  </a:lnTo>
                  <a:lnTo>
                    <a:pt x="694284" y="673838"/>
                  </a:lnTo>
                  <a:lnTo>
                    <a:pt x="694998" y="675698"/>
                  </a:lnTo>
                  <a:lnTo>
                    <a:pt x="695782" y="681335"/>
                  </a:lnTo>
                  <a:lnTo>
                    <a:pt x="696618" y="683777"/>
                  </a:lnTo>
                  <a:lnTo>
                    <a:pt x="701424" y="692757"/>
                  </a:lnTo>
                  <a:lnTo>
                    <a:pt x="703045" y="692826"/>
                  </a:lnTo>
                  <a:lnTo>
                    <a:pt x="703305" y="693798"/>
                  </a:lnTo>
                  <a:lnTo>
                    <a:pt x="703150" y="695661"/>
                  </a:lnTo>
                  <a:lnTo>
                    <a:pt x="699692" y="696202"/>
                  </a:lnTo>
                  <a:lnTo>
                    <a:pt x="698242" y="697032"/>
                  </a:lnTo>
                  <a:lnTo>
                    <a:pt x="697958" y="697754"/>
                  </a:lnTo>
                  <a:lnTo>
                    <a:pt x="697745" y="698142"/>
                  </a:lnTo>
                  <a:lnTo>
                    <a:pt x="697298" y="698107"/>
                  </a:lnTo>
                  <a:lnTo>
                    <a:pt x="695649" y="697588"/>
                  </a:lnTo>
                  <a:lnTo>
                    <a:pt x="691901" y="695041"/>
                  </a:lnTo>
                  <a:lnTo>
                    <a:pt x="686437" y="693462"/>
                  </a:lnTo>
                  <a:lnTo>
                    <a:pt x="679258" y="692850"/>
                  </a:lnTo>
                  <a:lnTo>
                    <a:pt x="674354" y="691575"/>
                  </a:lnTo>
                  <a:lnTo>
                    <a:pt x="671725" y="689631"/>
                  </a:lnTo>
                  <a:lnTo>
                    <a:pt x="668975" y="688478"/>
                  </a:lnTo>
                  <a:lnTo>
                    <a:pt x="666109" y="688115"/>
                  </a:lnTo>
                  <a:lnTo>
                    <a:pt x="663733" y="687060"/>
                  </a:lnTo>
                  <a:lnTo>
                    <a:pt x="661850" y="685311"/>
                  </a:lnTo>
                  <a:lnTo>
                    <a:pt x="659096" y="684194"/>
                  </a:lnTo>
                  <a:lnTo>
                    <a:pt x="655471" y="683710"/>
                  </a:lnTo>
                  <a:lnTo>
                    <a:pt x="653112" y="682399"/>
                  </a:lnTo>
                  <a:lnTo>
                    <a:pt x="651471" y="679191"/>
                  </a:lnTo>
                  <a:lnTo>
                    <a:pt x="651464" y="679143"/>
                  </a:lnTo>
                  <a:lnTo>
                    <a:pt x="649995" y="673775"/>
                  </a:lnTo>
                  <a:lnTo>
                    <a:pt x="648145" y="670409"/>
                  </a:lnTo>
                  <a:lnTo>
                    <a:pt x="644545" y="666241"/>
                  </a:lnTo>
                  <a:lnTo>
                    <a:pt x="644215" y="665693"/>
                  </a:lnTo>
                  <a:lnTo>
                    <a:pt x="644214" y="665692"/>
                  </a:lnTo>
                  <a:lnTo>
                    <a:pt x="644184" y="665006"/>
                  </a:lnTo>
                  <a:lnTo>
                    <a:pt x="644631" y="662578"/>
                  </a:lnTo>
                  <a:lnTo>
                    <a:pt x="644251" y="660831"/>
                  </a:lnTo>
                  <a:lnTo>
                    <a:pt x="643111" y="659408"/>
                  </a:lnTo>
                  <a:lnTo>
                    <a:pt x="642850" y="657901"/>
                  </a:lnTo>
                  <a:lnTo>
                    <a:pt x="643467" y="656314"/>
                  </a:lnTo>
                  <a:lnTo>
                    <a:pt x="643507" y="654407"/>
                  </a:lnTo>
                  <a:lnTo>
                    <a:pt x="642970" y="652180"/>
                  </a:lnTo>
                  <a:lnTo>
                    <a:pt x="640675" y="649770"/>
                  </a:lnTo>
                  <a:lnTo>
                    <a:pt x="636620" y="647180"/>
                  </a:lnTo>
                  <a:lnTo>
                    <a:pt x="633166" y="643393"/>
                  </a:lnTo>
                  <a:lnTo>
                    <a:pt x="630314" y="638413"/>
                  </a:lnTo>
                  <a:lnTo>
                    <a:pt x="627495" y="634960"/>
                  </a:lnTo>
                  <a:lnTo>
                    <a:pt x="624706" y="633034"/>
                  </a:lnTo>
                  <a:lnTo>
                    <a:pt x="622799" y="630684"/>
                  </a:lnTo>
                  <a:lnTo>
                    <a:pt x="621772" y="627906"/>
                  </a:lnTo>
                  <a:lnTo>
                    <a:pt x="621470" y="626293"/>
                  </a:lnTo>
                  <a:lnTo>
                    <a:pt x="621888" y="625848"/>
                  </a:lnTo>
                  <a:lnTo>
                    <a:pt x="620175" y="622756"/>
                  </a:lnTo>
                  <a:lnTo>
                    <a:pt x="616328" y="617018"/>
                  </a:lnTo>
                  <a:lnTo>
                    <a:pt x="614117" y="612816"/>
                  </a:lnTo>
                  <a:lnTo>
                    <a:pt x="613549" y="610158"/>
                  </a:lnTo>
                  <a:lnTo>
                    <a:pt x="611101" y="606992"/>
                  </a:lnTo>
                  <a:lnTo>
                    <a:pt x="606777" y="603319"/>
                  </a:lnTo>
                  <a:lnTo>
                    <a:pt x="604425" y="600928"/>
                  </a:lnTo>
                  <a:lnTo>
                    <a:pt x="603855" y="599269"/>
                  </a:lnTo>
                  <a:lnTo>
                    <a:pt x="603846" y="599265"/>
                  </a:lnTo>
                  <a:lnTo>
                    <a:pt x="597098" y="594429"/>
                  </a:lnTo>
                  <a:lnTo>
                    <a:pt x="595138" y="591405"/>
                  </a:lnTo>
                  <a:lnTo>
                    <a:pt x="593607" y="590449"/>
                  </a:lnTo>
                  <a:lnTo>
                    <a:pt x="591850" y="590552"/>
                  </a:lnTo>
                  <a:lnTo>
                    <a:pt x="590948" y="590262"/>
                  </a:lnTo>
                  <a:lnTo>
                    <a:pt x="590902" y="589578"/>
                  </a:lnTo>
                  <a:lnTo>
                    <a:pt x="590334" y="589546"/>
                  </a:lnTo>
                  <a:lnTo>
                    <a:pt x="589238" y="590167"/>
                  </a:lnTo>
                  <a:lnTo>
                    <a:pt x="585649" y="590293"/>
                  </a:lnTo>
                  <a:lnTo>
                    <a:pt x="579563" y="589923"/>
                  </a:lnTo>
                  <a:lnTo>
                    <a:pt x="575170" y="589100"/>
                  </a:lnTo>
                  <a:lnTo>
                    <a:pt x="572470" y="587819"/>
                  </a:lnTo>
                  <a:lnTo>
                    <a:pt x="570579" y="587992"/>
                  </a:lnTo>
                  <a:lnTo>
                    <a:pt x="569492" y="589620"/>
                  </a:lnTo>
                  <a:lnTo>
                    <a:pt x="567180" y="590666"/>
                  </a:lnTo>
                  <a:lnTo>
                    <a:pt x="563643" y="591133"/>
                  </a:lnTo>
                  <a:lnTo>
                    <a:pt x="560603" y="594154"/>
                  </a:lnTo>
                  <a:lnTo>
                    <a:pt x="558057" y="599723"/>
                  </a:lnTo>
                  <a:lnTo>
                    <a:pt x="556937" y="603301"/>
                  </a:lnTo>
                  <a:lnTo>
                    <a:pt x="557248" y="604895"/>
                  </a:lnTo>
                  <a:lnTo>
                    <a:pt x="556577" y="606051"/>
                  </a:lnTo>
                  <a:lnTo>
                    <a:pt x="554922" y="606774"/>
                  </a:lnTo>
                  <a:lnTo>
                    <a:pt x="553238" y="608390"/>
                  </a:lnTo>
                  <a:lnTo>
                    <a:pt x="551525" y="610899"/>
                  </a:lnTo>
                  <a:lnTo>
                    <a:pt x="549527" y="612111"/>
                  </a:lnTo>
                  <a:lnTo>
                    <a:pt x="547246" y="612031"/>
                  </a:lnTo>
                  <a:lnTo>
                    <a:pt x="543031" y="610098"/>
                  </a:lnTo>
                  <a:lnTo>
                    <a:pt x="536883" y="606315"/>
                  </a:lnTo>
                  <a:lnTo>
                    <a:pt x="532062" y="603975"/>
                  </a:lnTo>
                  <a:lnTo>
                    <a:pt x="528572" y="603084"/>
                  </a:lnTo>
                  <a:lnTo>
                    <a:pt x="525489" y="601332"/>
                  </a:lnTo>
                  <a:lnTo>
                    <a:pt x="522813" y="598722"/>
                  </a:lnTo>
                  <a:lnTo>
                    <a:pt x="520346" y="596982"/>
                  </a:lnTo>
                  <a:lnTo>
                    <a:pt x="518091" y="596110"/>
                  </a:lnTo>
                  <a:lnTo>
                    <a:pt x="515454" y="593214"/>
                  </a:lnTo>
                  <a:lnTo>
                    <a:pt x="512438" y="588289"/>
                  </a:lnTo>
                  <a:lnTo>
                    <a:pt x="510929" y="584488"/>
                  </a:lnTo>
                  <a:lnTo>
                    <a:pt x="510929" y="580468"/>
                  </a:lnTo>
                  <a:lnTo>
                    <a:pt x="506987" y="571705"/>
                  </a:lnTo>
                  <a:lnTo>
                    <a:pt x="504896" y="567903"/>
                  </a:lnTo>
                  <a:lnTo>
                    <a:pt x="503341" y="566149"/>
                  </a:lnTo>
                  <a:lnTo>
                    <a:pt x="500297" y="564057"/>
                  </a:lnTo>
                  <a:lnTo>
                    <a:pt x="495764" y="561623"/>
                  </a:lnTo>
                  <a:lnTo>
                    <a:pt x="489689" y="556752"/>
                  </a:lnTo>
                  <a:lnTo>
                    <a:pt x="482069" y="549433"/>
                  </a:lnTo>
                  <a:lnTo>
                    <a:pt x="476677" y="545018"/>
                  </a:lnTo>
                  <a:lnTo>
                    <a:pt x="473514" y="543520"/>
                  </a:lnTo>
                  <a:lnTo>
                    <a:pt x="470768" y="540877"/>
                  </a:lnTo>
                  <a:lnTo>
                    <a:pt x="468440" y="537087"/>
                  </a:lnTo>
                  <a:lnTo>
                    <a:pt x="466168" y="534675"/>
                  </a:lnTo>
                  <a:lnTo>
                    <a:pt x="465928" y="534563"/>
                  </a:lnTo>
                  <a:lnTo>
                    <a:pt x="465729" y="534513"/>
                  </a:lnTo>
                  <a:lnTo>
                    <a:pt x="460122" y="534480"/>
                  </a:lnTo>
                  <a:lnTo>
                    <a:pt x="454514" y="534448"/>
                  </a:lnTo>
                  <a:lnTo>
                    <a:pt x="448905" y="534415"/>
                  </a:lnTo>
                  <a:lnTo>
                    <a:pt x="443298" y="534384"/>
                  </a:lnTo>
                  <a:lnTo>
                    <a:pt x="437691" y="534352"/>
                  </a:lnTo>
                  <a:lnTo>
                    <a:pt x="432082" y="534319"/>
                  </a:lnTo>
                  <a:lnTo>
                    <a:pt x="426474" y="534287"/>
                  </a:lnTo>
                  <a:lnTo>
                    <a:pt x="420867" y="534253"/>
                  </a:lnTo>
                  <a:lnTo>
                    <a:pt x="420849" y="537430"/>
                  </a:lnTo>
                  <a:lnTo>
                    <a:pt x="420832" y="540603"/>
                  </a:lnTo>
                  <a:lnTo>
                    <a:pt x="420816" y="543775"/>
                  </a:lnTo>
                  <a:lnTo>
                    <a:pt x="420800" y="546943"/>
                  </a:lnTo>
                  <a:lnTo>
                    <a:pt x="411784" y="546960"/>
                  </a:lnTo>
                  <a:lnTo>
                    <a:pt x="402767" y="546980"/>
                  </a:lnTo>
                  <a:lnTo>
                    <a:pt x="393751" y="546999"/>
                  </a:lnTo>
                  <a:lnTo>
                    <a:pt x="384735" y="547017"/>
                  </a:lnTo>
                  <a:lnTo>
                    <a:pt x="375720" y="547035"/>
                  </a:lnTo>
                  <a:lnTo>
                    <a:pt x="366702" y="547052"/>
                  </a:lnTo>
                  <a:lnTo>
                    <a:pt x="357686" y="547072"/>
                  </a:lnTo>
                  <a:lnTo>
                    <a:pt x="348670" y="547089"/>
                  </a:lnTo>
                  <a:lnTo>
                    <a:pt x="336572" y="542918"/>
                  </a:lnTo>
                  <a:lnTo>
                    <a:pt x="324474" y="538746"/>
                  </a:lnTo>
                  <a:lnTo>
                    <a:pt x="312375" y="534567"/>
                  </a:lnTo>
                  <a:lnTo>
                    <a:pt x="300277" y="530385"/>
                  </a:lnTo>
                  <a:lnTo>
                    <a:pt x="288180" y="526198"/>
                  </a:lnTo>
                  <a:lnTo>
                    <a:pt x="276082" y="522007"/>
                  </a:lnTo>
                  <a:lnTo>
                    <a:pt x="263984" y="517813"/>
                  </a:lnTo>
                  <a:lnTo>
                    <a:pt x="251886" y="513613"/>
                  </a:lnTo>
                  <a:lnTo>
                    <a:pt x="253109" y="512010"/>
                  </a:lnTo>
                  <a:lnTo>
                    <a:pt x="254723" y="507733"/>
                  </a:lnTo>
                  <a:lnTo>
                    <a:pt x="251806" y="508034"/>
                  </a:lnTo>
                  <a:lnTo>
                    <a:pt x="244507" y="508643"/>
                  </a:lnTo>
                  <a:lnTo>
                    <a:pt x="237206" y="509253"/>
                  </a:lnTo>
                  <a:lnTo>
                    <a:pt x="229907" y="509860"/>
                  </a:lnTo>
                  <a:lnTo>
                    <a:pt x="222608" y="510470"/>
                  </a:lnTo>
                  <a:lnTo>
                    <a:pt x="215308" y="511079"/>
                  </a:lnTo>
                  <a:lnTo>
                    <a:pt x="208009" y="511685"/>
                  </a:lnTo>
                  <a:lnTo>
                    <a:pt x="200710" y="512295"/>
                  </a:lnTo>
                  <a:lnTo>
                    <a:pt x="193409" y="512903"/>
                  </a:lnTo>
                  <a:lnTo>
                    <a:pt x="193352" y="512722"/>
                  </a:lnTo>
                  <a:lnTo>
                    <a:pt x="193176" y="509614"/>
                  </a:lnTo>
                  <a:lnTo>
                    <a:pt x="191993" y="508513"/>
                  </a:lnTo>
                  <a:lnTo>
                    <a:pt x="190471" y="509191"/>
                  </a:lnTo>
                  <a:lnTo>
                    <a:pt x="189775" y="505149"/>
                  </a:lnTo>
                  <a:lnTo>
                    <a:pt x="190157" y="503238"/>
                  </a:lnTo>
                  <a:lnTo>
                    <a:pt x="189972" y="501374"/>
                  </a:lnTo>
                  <a:lnTo>
                    <a:pt x="188547" y="496784"/>
                  </a:lnTo>
                  <a:lnTo>
                    <a:pt x="184757" y="491209"/>
                  </a:lnTo>
                  <a:lnTo>
                    <a:pt x="176565" y="484269"/>
                  </a:lnTo>
                  <a:lnTo>
                    <a:pt x="172392" y="481948"/>
                  </a:lnTo>
                  <a:lnTo>
                    <a:pt x="169117" y="479015"/>
                  </a:lnTo>
                  <a:lnTo>
                    <a:pt x="167041" y="478198"/>
                  </a:lnTo>
                  <a:lnTo>
                    <a:pt x="164426" y="477972"/>
                  </a:lnTo>
                  <a:lnTo>
                    <a:pt x="163667" y="479297"/>
                  </a:lnTo>
                  <a:lnTo>
                    <a:pt x="160700" y="478391"/>
                  </a:lnTo>
                  <a:lnTo>
                    <a:pt x="161145" y="475115"/>
                  </a:lnTo>
                  <a:lnTo>
                    <a:pt x="158258" y="470555"/>
                  </a:lnTo>
                  <a:lnTo>
                    <a:pt x="155894" y="470050"/>
                  </a:lnTo>
                  <a:lnTo>
                    <a:pt x="149946" y="470352"/>
                  </a:lnTo>
                  <a:lnTo>
                    <a:pt x="141993" y="467839"/>
                  </a:lnTo>
                  <a:lnTo>
                    <a:pt x="139645" y="466344"/>
                  </a:lnTo>
                  <a:lnTo>
                    <a:pt x="138832" y="463663"/>
                  </a:lnTo>
                  <a:lnTo>
                    <a:pt x="135109" y="461330"/>
                  </a:lnTo>
                  <a:lnTo>
                    <a:pt x="130201" y="459046"/>
                  </a:lnTo>
                  <a:lnTo>
                    <a:pt x="127468" y="459574"/>
                  </a:lnTo>
                  <a:lnTo>
                    <a:pt x="123892" y="459220"/>
                  </a:lnTo>
                  <a:lnTo>
                    <a:pt x="118799" y="457570"/>
                  </a:lnTo>
                  <a:lnTo>
                    <a:pt x="115826" y="457364"/>
                  </a:lnTo>
                  <a:lnTo>
                    <a:pt x="110037" y="457851"/>
                  </a:lnTo>
                  <a:lnTo>
                    <a:pt x="107875" y="457504"/>
                  </a:lnTo>
                  <a:lnTo>
                    <a:pt x="105870" y="455422"/>
                  </a:lnTo>
                  <a:lnTo>
                    <a:pt x="103705" y="454384"/>
                  </a:lnTo>
                  <a:lnTo>
                    <a:pt x="104163" y="451821"/>
                  </a:lnTo>
                  <a:lnTo>
                    <a:pt x="103886" y="449502"/>
                  </a:lnTo>
                  <a:lnTo>
                    <a:pt x="104210" y="447696"/>
                  </a:lnTo>
                  <a:lnTo>
                    <a:pt x="103238" y="443733"/>
                  </a:lnTo>
                  <a:lnTo>
                    <a:pt x="103988" y="440058"/>
                  </a:lnTo>
                  <a:lnTo>
                    <a:pt x="103337" y="438729"/>
                  </a:lnTo>
                  <a:lnTo>
                    <a:pt x="102115" y="437709"/>
                  </a:lnTo>
                  <a:lnTo>
                    <a:pt x="98279" y="436206"/>
                  </a:lnTo>
                  <a:lnTo>
                    <a:pt x="97578" y="434316"/>
                  </a:lnTo>
                  <a:lnTo>
                    <a:pt x="98205" y="431695"/>
                  </a:lnTo>
                  <a:lnTo>
                    <a:pt x="97201" y="429965"/>
                  </a:lnTo>
                  <a:lnTo>
                    <a:pt x="94057" y="428352"/>
                  </a:lnTo>
                  <a:lnTo>
                    <a:pt x="91122" y="424686"/>
                  </a:lnTo>
                  <a:lnTo>
                    <a:pt x="87399" y="422678"/>
                  </a:lnTo>
                  <a:lnTo>
                    <a:pt x="85870" y="419310"/>
                  </a:lnTo>
                  <a:lnTo>
                    <a:pt x="83576" y="417228"/>
                  </a:lnTo>
                  <a:lnTo>
                    <a:pt x="82779" y="415380"/>
                  </a:lnTo>
                  <a:lnTo>
                    <a:pt x="77693" y="408780"/>
                  </a:lnTo>
                  <a:lnTo>
                    <a:pt x="72259" y="403618"/>
                  </a:lnTo>
                  <a:lnTo>
                    <a:pt x="71422" y="400644"/>
                  </a:lnTo>
                  <a:lnTo>
                    <a:pt x="71206" y="396568"/>
                  </a:lnTo>
                  <a:lnTo>
                    <a:pt x="73336" y="394078"/>
                  </a:lnTo>
                  <a:lnTo>
                    <a:pt x="74488" y="391889"/>
                  </a:lnTo>
                  <a:lnTo>
                    <a:pt x="74373" y="389877"/>
                  </a:lnTo>
                  <a:lnTo>
                    <a:pt x="74044" y="388405"/>
                  </a:lnTo>
                  <a:lnTo>
                    <a:pt x="72175" y="385834"/>
                  </a:lnTo>
                  <a:lnTo>
                    <a:pt x="64942" y="384308"/>
                  </a:lnTo>
                  <a:lnTo>
                    <a:pt x="59057" y="377949"/>
                  </a:lnTo>
                  <a:lnTo>
                    <a:pt x="58712" y="373080"/>
                  </a:lnTo>
                  <a:lnTo>
                    <a:pt x="56396" y="368089"/>
                  </a:lnTo>
                  <a:lnTo>
                    <a:pt x="56365" y="364841"/>
                  </a:lnTo>
                  <a:lnTo>
                    <a:pt x="56013" y="361324"/>
                  </a:lnTo>
                  <a:lnTo>
                    <a:pt x="57763" y="360555"/>
                  </a:lnTo>
                  <a:lnTo>
                    <a:pt x="59333" y="360836"/>
                  </a:lnTo>
                  <a:lnTo>
                    <a:pt x="59175" y="362236"/>
                  </a:lnTo>
                  <a:lnTo>
                    <a:pt x="59699" y="364750"/>
                  </a:lnTo>
                  <a:lnTo>
                    <a:pt x="61540" y="366638"/>
                  </a:lnTo>
                  <a:lnTo>
                    <a:pt x="63297" y="367461"/>
                  </a:lnTo>
                  <a:lnTo>
                    <a:pt x="64896" y="369296"/>
                  </a:lnTo>
                  <a:lnTo>
                    <a:pt x="66094" y="369850"/>
                  </a:lnTo>
                  <a:lnTo>
                    <a:pt x="67331" y="369984"/>
                  </a:lnTo>
                  <a:lnTo>
                    <a:pt x="66668" y="368808"/>
                  </a:lnTo>
                  <a:lnTo>
                    <a:pt x="65964" y="368054"/>
                  </a:lnTo>
                  <a:lnTo>
                    <a:pt x="65098" y="365617"/>
                  </a:lnTo>
                  <a:lnTo>
                    <a:pt x="63462" y="362503"/>
                  </a:lnTo>
                  <a:lnTo>
                    <a:pt x="61580" y="360783"/>
                  </a:lnTo>
                  <a:lnTo>
                    <a:pt x="60624" y="357644"/>
                  </a:lnTo>
                  <a:lnTo>
                    <a:pt x="59807" y="356916"/>
                  </a:lnTo>
                  <a:lnTo>
                    <a:pt x="59297" y="355751"/>
                  </a:lnTo>
                  <a:lnTo>
                    <a:pt x="61115" y="354369"/>
                  </a:lnTo>
                  <a:lnTo>
                    <a:pt x="63594" y="353384"/>
                  </a:lnTo>
                  <a:lnTo>
                    <a:pt x="66919" y="353118"/>
                  </a:lnTo>
                  <a:lnTo>
                    <a:pt x="76355" y="353578"/>
                  </a:lnTo>
                  <a:lnTo>
                    <a:pt x="78363" y="352774"/>
                  </a:lnTo>
                  <a:lnTo>
                    <a:pt x="80023" y="353037"/>
                  </a:lnTo>
                  <a:lnTo>
                    <a:pt x="81239" y="352932"/>
                  </a:lnTo>
                  <a:lnTo>
                    <a:pt x="78678" y="352102"/>
                  </a:lnTo>
                  <a:lnTo>
                    <a:pt x="77237" y="352372"/>
                  </a:lnTo>
                  <a:lnTo>
                    <a:pt x="75544" y="352206"/>
                  </a:lnTo>
                  <a:lnTo>
                    <a:pt x="72173" y="352367"/>
                  </a:lnTo>
                  <a:lnTo>
                    <a:pt x="70810" y="352017"/>
                  </a:lnTo>
                  <a:lnTo>
                    <a:pt x="69306" y="351032"/>
                  </a:lnTo>
                  <a:lnTo>
                    <a:pt x="68327" y="350930"/>
                  </a:lnTo>
                  <a:lnTo>
                    <a:pt x="65208" y="352647"/>
                  </a:lnTo>
                  <a:lnTo>
                    <a:pt x="63816" y="352439"/>
                  </a:lnTo>
                  <a:lnTo>
                    <a:pt x="60530" y="350565"/>
                  </a:lnTo>
                  <a:lnTo>
                    <a:pt x="59096" y="350300"/>
                  </a:lnTo>
                  <a:lnTo>
                    <a:pt x="56787" y="351367"/>
                  </a:lnTo>
                  <a:lnTo>
                    <a:pt x="56505" y="355960"/>
                  </a:lnTo>
                  <a:lnTo>
                    <a:pt x="57221" y="359369"/>
                  </a:lnTo>
                  <a:lnTo>
                    <a:pt x="55832" y="359716"/>
                  </a:lnTo>
                  <a:lnTo>
                    <a:pt x="54229" y="358309"/>
                  </a:lnTo>
                  <a:lnTo>
                    <a:pt x="51766" y="357474"/>
                  </a:lnTo>
                  <a:lnTo>
                    <a:pt x="49733" y="356193"/>
                  </a:lnTo>
                  <a:lnTo>
                    <a:pt x="46862" y="353815"/>
                  </a:lnTo>
                  <a:lnTo>
                    <a:pt x="45355" y="352945"/>
                  </a:lnTo>
                  <a:lnTo>
                    <a:pt x="43652" y="354922"/>
                  </a:lnTo>
                  <a:lnTo>
                    <a:pt x="43583" y="354015"/>
                  </a:lnTo>
                  <a:lnTo>
                    <a:pt x="44433" y="351716"/>
                  </a:lnTo>
                  <a:lnTo>
                    <a:pt x="44192" y="347856"/>
                  </a:lnTo>
                  <a:lnTo>
                    <a:pt x="46763" y="350936"/>
                  </a:lnTo>
                  <a:lnTo>
                    <a:pt x="45964" y="348767"/>
                  </a:lnTo>
                  <a:lnTo>
                    <a:pt x="43964" y="346382"/>
                  </a:lnTo>
                  <a:lnTo>
                    <a:pt x="42443" y="345552"/>
                  </a:lnTo>
                  <a:lnTo>
                    <a:pt x="40531" y="341274"/>
                  </a:lnTo>
                  <a:lnTo>
                    <a:pt x="36229" y="338703"/>
                  </a:lnTo>
                  <a:lnTo>
                    <a:pt x="32784" y="334548"/>
                  </a:lnTo>
                  <a:lnTo>
                    <a:pt x="25735" y="327652"/>
                  </a:lnTo>
                  <a:lnTo>
                    <a:pt x="25265" y="321575"/>
                  </a:lnTo>
                  <a:lnTo>
                    <a:pt x="22696" y="313882"/>
                  </a:lnTo>
                  <a:lnTo>
                    <a:pt x="23779" y="309497"/>
                  </a:lnTo>
                  <a:lnTo>
                    <a:pt x="23634" y="306386"/>
                  </a:lnTo>
                  <a:lnTo>
                    <a:pt x="22374" y="301683"/>
                  </a:lnTo>
                  <a:lnTo>
                    <a:pt x="21058" y="299120"/>
                  </a:lnTo>
                  <a:lnTo>
                    <a:pt x="15342" y="292091"/>
                  </a:lnTo>
                  <a:lnTo>
                    <a:pt x="9844" y="287348"/>
                  </a:lnTo>
                  <a:lnTo>
                    <a:pt x="9015" y="283755"/>
                  </a:lnTo>
                  <a:lnTo>
                    <a:pt x="8630" y="280128"/>
                  </a:lnTo>
                  <a:lnTo>
                    <a:pt x="9833" y="276897"/>
                  </a:lnTo>
                  <a:lnTo>
                    <a:pt x="10873" y="273495"/>
                  </a:lnTo>
                  <a:lnTo>
                    <a:pt x="11634" y="272596"/>
                  </a:lnTo>
                  <a:lnTo>
                    <a:pt x="11929" y="272970"/>
                  </a:lnTo>
                  <a:lnTo>
                    <a:pt x="11718" y="273696"/>
                  </a:lnTo>
                  <a:lnTo>
                    <a:pt x="12498" y="273920"/>
                  </a:lnTo>
                  <a:lnTo>
                    <a:pt x="12793" y="272418"/>
                  </a:lnTo>
                  <a:lnTo>
                    <a:pt x="13258" y="271643"/>
                  </a:lnTo>
                  <a:lnTo>
                    <a:pt x="12435" y="271542"/>
                  </a:lnTo>
                  <a:lnTo>
                    <a:pt x="12519" y="271067"/>
                  </a:lnTo>
                  <a:lnTo>
                    <a:pt x="13011" y="270118"/>
                  </a:lnTo>
                  <a:lnTo>
                    <a:pt x="14716" y="265639"/>
                  </a:lnTo>
                  <a:lnTo>
                    <a:pt x="14539" y="259987"/>
                  </a:lnTo>
                  <a:lnTo>
                    <a:pt x="16363" y="253043"/>
                  </a:lnTo>
                  <a:lnTo>
                    <a:pt x="16276" y="250747"/>
                  </a:lnTo>
                  <a:lnTo>
                    <a:pt x="15109" y="245800"/>
                  </a:lnTo>
                  <a:lnTo>
                    <a:pt x="13947" y="242830"/>
                  </a:lnTo>
                  <a:lnTo>
                    <a:pt x="11870" y="240723"/>
                  </a:lnTo>
                  <a:lnTo>
                    <a:pt x="12786" y="237646"/>
                  </a:lnTo>
                  <a:lnTo>
                    <a:pt x="12712" y="234706"/>
                  </a:lnTo>
                  <a:lnTo>
                    <a:pt x="9047" y="230469"/>
                  </a:lnTo>
                  <a:lnTo>
                    <a:pt x="7651" y="224900"/>
                  </a:lnTo>
                  <a:lnTo>
                    <a:pt x="7383" y="222544"/>
                  </a:lnTo>
                  <a:lnTo>
                    <a:pt x="7751" y="216309"/>
                  </a:lnTo>
                  <a:lnTo>
                    <a:pt x="6790" y="213645"/>
                  </a:lnTo>
                  <a:lnTo>
                    <a:pt x="4345" y="209244"/>
                  </a:lnTo>
                  <a:lnTo>
                    <a:pt x="5391" y="205415"/>
                  </a:lnTo>
                  <a:lnTo>
                    <a:pt x="6518" y="203082"/>
                  </a:lnTo>
                  <a:lnTo>
                    <a:pt x="9269" y="192884"/>
                  </a:lnTo>
                  <a:lnTo>
                    <a:pt x="9932" y="192061"/>
                  </a:lnTo>
                  <a:lnTo>
                    <a:pt x="11084" y="192086"/>
                  </a:lnTo>
                  <a:lnTo>
                    <a:pt x="13088" y="190349"/>
                  </a:lnTo>
                  <a:lnTo>
                    <a:pt x="12163" y="189944"/>
                  </a:lnTo>
                  <a:lnTo>
                    <a:pt x="10764" y="190772"/>
                  </a:lnTo>
                  <a:lnTo>
                    <a:pt x="12008" y="186724"/>
                  </a:lnTo>
                  <a:lnTo>
                    <a:pt x="13407" y="183257"/>
                  </a:lnTo>
                  <a:lnTo>
                    <a:pt x="14317" y="182006"/>
                  </a:lnTo>
                  <a:lnTo>
                    <a:pt x="14778" y="170659"/>
                  </a:lnTo>
                  <a:lnTo>
                    <a:pt x="15581" y="161960"/>
                  </a:lnTo>
                  <a:lnTo>
                    <a:pt x="16901" y="159086"/>
                  </a:lnTo>
                  <a:lnTo>
                    <a:pt x="16442" y="156120"/>
                  </a:lnTo>
                  <a:lnTo>
                    <a:pt x="16975" y="152095"/>
                  </a:lnTo>
                  <a:lnTo>
                    <a:pt x="16602" y="148023"/>
                  </a:lnTo>
                  <a:lnTo>
                    <a:pt x="19422" y="128358"/>
                  </a:lnTo>
                  <a:lnTo>
                    <a:pt x="19053" y="125975"/>
                  </a:lnTo>
                  <a:lnTo>
                    <a:pt x="19914" y="122776"/>
                  </a:lnTo>
                  <a:lnTo>
                    <a:pt x="19100" y="114327"/>
                  </a:lnTo>
                  <a:lnTo>
                    <a:pt x="19460" y="104847"/>
                  </a:lnTo>
                  <a:lnTo>
                    <a:pt x="18743" y="103642"/>
                  </a:lnTo>
                  <a:lnTo>
                    <a:pt x="18384" y="102331"/>
                  </a:lnTo>
                  <a:lnTo>
                    <a:pt x="19057" y="102139"/>
                  </a:lnTo>
                  <a:lnTo>
                    <a:pt x="20365" y="103519"/>
                  </a:lnTo>
                  <a:lnTo>
                    <a:pt x="26436" y="103504"/>
                  </a:lnTo>
                  <a:lnTo>
                    <a:pt x="30314" y="102228"/>
                  </a:lnTo>
                  <a:lnTo>
                    <a:pt x="31724" y="102650"/>
                  </a:lnTo>
                  <a:lnTo>
                    <a:pt x="33359" y="104388"/>
                  </a:lnTo>
                  <a:lnTo>
                    <a:pt x="35418" y="104738"/>
                  </a:lnTo>
                  <a:lnTo>
                    <a:pt x="37993" y="104431"/>
                  </a:lnTo>
                  <a:lnTo>
                    <a:pt x="37209" y="103995"/>
                  </a:lnTo>
                  <a:lnTo>
                    <a:pt x="36002" y="103881"/>
                  </a:lnTo>
                  <a:lnTo>
                    <a:pt x="33296" y="102281"/>
                  </a:lnTo>
                  <a:lnTo>
                    <a:pt x="31763" y="100679"/>
                  </a:lnTo>
                  <a:lnTo>
                    <a:pt x="27031" y="100788"/>
                  </a:lnTo>
                  <a:lnTo>
                    <a:pt x="26060" y="99761"/>
                  </a:lnTo>
                  <a:lnTo>
                    <a:pt x="20771" y="100787"/>
                  </a:lnTo>
                  <a:lnTo>
                    <a:pt x="19137" y="99734"/>
                  </a:lnTo>
                  <a:lnTo>
                    <a:pt x="16256" y="100413"/>
                  </a:lnTo>
                  <a:lnTo>
                    <a:pt x="16960" y="97426"/>
                  </a:lnTo>
                  <a:lnTo>
                    <a:pt x="16830" y="93662"/>
                  </a:lnTo>
                  <a:lnTo>
                    <a:pt x="16980" y="89991"/>
                  </a:lnTo>
                  <a:lnTo>
                    <a:pt x="17692" y="92673"/>
                  </a:lnTo>
                  <a:lnTo>
                    <a:pt x="19484" y="95517"/>
                  </a:lnTo>
                  <a:lnTo>
                    <a:pt x="20345" y="92290"/>
                  </a:lnTo>
                  <a:lnTo>
                    <a:pt x="20938" y="88229"/>
                  </a:lnTo>
                  <a:lnTo>
                    <a:pt x="19190" y="86667"/>
                  </a:lnTo>
                  <a:lnTo>
                    <a:pt x="16282" y="85509"/>
                  </a:lnTo>
                  <a:lnTo>
                    <a:pt x="15240" y="81720"/>
                  </a:lnTo>
                  <a:lnTo>
                    <a:pt x="22119" y="78488"/>
                  </a:lnTo>
                  <a:lnTo>
                    <a:pt x="18467" y="77801"/>
                  </a:lnTo>
                  <a:lnTo>
                    <a:pt x="17035" y="76347"/>
                  </a:lnTo>
                  <a:lnTo>
                    <a:pt x="15261" y="76169"/>
                  </a:lnTo>
                  <a:lnTo>
                    <a:pt x="15132" y="77291"/>
                  </a:lnTo>
                  <a:lnTo>
                    <a:pt x="14559" y="78761"/>
                  </a:lnTo>
                  <a:lnTo>
                    <a:pt x="13938" y="76808"/>
                  </a:lnTo>
                  <a:lnTo>
                    <a:pt x="13761" y="74511"/>
                  </a:lnTo>
                  <a:lnTo>
                    <a:pt x="13038" y="70579"/>
                  </a:lnTo>
                  <a:lnTo>
                    <a:pt x="10221" y="64247"/>
                  </a:lnTo>
                  <a:lnTo>
                    <a:pt x="8519" y="56018"/>
                  </a:lnTo>
                  <a:lnTo>
                    <a:pt x="6374" y="51944"/>
                  </a:lnTo>
                  <a:lnTo>
                    <a:pt x="2268" y="48047"/>
                  </a:lnTo>
                  <a:lnTo>
                    <a:pt x="1195" y="45771"/>
                  </a:lnTo>
                  <a:lnTo>
                    <a:pt x="211" y="39988"/>
                  </a:lnTo>
                  <a:lnTo>
                    <a:pt x="764" y="35608"/>
                  </a:lnTo>
                  <a:lnTo>
                    <a:pt x="0" y="32521"/>
                  </a:lnTo>
                  <a:lnTo>
                    <a:pt x="1973" y="32695"/>
                  </a:lnTo>
                  <a:lnTo>
                    <a:pt x="7166" y="35121"/>
                  </a:lnTo>
                  <a:lnTo>
                    <a:pt x="13634" y="37027"/>
                  </a:lnTo>
                  <a:lnTo>
                    <a:pt x="15591" y="38411"/>
                  </a:lnTo>
                  <a:lnTo>
                    <a:pt x="18729" y="39440"/>
                  </a:lnTo>
                  <a:lnTo>
                    <a:pt x="36110" y="41035"/>
                  </a:lnTo>
                  <a:lnTo>
                    <a:pt x="37246" y="40882"/>
                  </a:lnTo>
                  <a:lnTo>
                    <a:pt x="39492" y="39894"/>
                  </a:lnTo>
                  <a:lnTo>
                    <a:pt x="40447" y="40012"/>
                  </a:lnTo>
                  <a:lnTo>
                    <a:pt x="43003" y="42272"/>
                  </a:lnTo>
                  <a:lnTo>
                    <a:pt x="44288" y="42543"/>
                  </a:lnTo>
                  <a:lnTo>
                    <a:pt x="45945" y="42423"/>
                  </a:lnTo>
                  <a:lnTo>
                    <a:pt x="47170" y="41996"/>
                  </a:lnTo>
                  <a:lnTo>
                    <a:pt x="49269" y="40447"/>
                  </a:lnTo>
                  <a:lnTo>
                    <a:pt x="49551" y="41020"/>
                  </a:lnTo>
                  <a:lnTo>
                    <a:pt x="49511" y="42455"/>
                  </a:lnTo>
                  <a:lnTo>
                    <a:pt x="50260" y="44498"/>
                  </a:lnTo>
                  <a:lnTo>
                    <a:pt x="51798" y="47148"/>
                  </a:lnTo>
                  <a:lnTo>
                    <a:pt x="52380" y="48795"/>
                  </a:lnTo>
                  <a:lnTo>
                    <a:pt x="49274" y="53431"/>
                  </a:lnTo>
                  <a:lnTo>
                    <a:pt x="48678" y="53531"/>
                  </a:lnTo>
                  <a:lnTo>
                    <a:pt x="48586" y="51962"/>
                  </a:lnTo>
                  <a:lnTo>
                    <a:pt x="48177" y="51654"/>
                  </a:lnTo>
                  <a:lnTo>
                    <a:pt x="42330" y="59477"/>
                  </a:lnTo>
                  <a:lnTo>
                    <a:pt x="40278" y="63173"/>
                  </a:lnTo>
                  <a:lnTo>
                    <a:pt x="40073" y="64845"/>
                  </a:lnTo>
                  <a:lnTo>
                    <a:pt x="40143" y="65823"/>
                  </a:lnTo>
                  <a:lnTo>
                    <a:pt x="40963" y="66064"/>
                  </a:lnTo>
                  <a:lnTo>
                    <a:pt x="42832" y="65681"/>
                  </a:lnTo>
                  <a:lnTo>
                    <a:pt x="45607" y="64147"/>
                  </a:lnTo>
                  <a:lnTo>
                    <a:pt x="45740" y="63814"/>
                  </a:lnTo>
                  <a:lnTo>
                    <a:pt x="43157" y="64361"/>
                  </a:lnTo>
                  <a:lnTo>
                    <a:pt x="41916" y="64406"/>
                  </a:lnTo>
                  <a:lnTo>
                    <a:pt x="42086" y="62659"/>
                  </a:lnTo>
                  <a:lnTo>
                    <a:pt x="42380" y="61827"/>
                  </a:lnTo>
                  <a:lnTo>
                    <a:pt x="44068" y="59237"/>
                  </a:lnTo>
                  <a:lnTo>
                    <a:pt x="45843" y="57681"/>
                  </a:lnTo>
                  <a:lnTo>
                    <a:pt x="48364" y="56022"/>
                  </a:lnTo>
                  <a:lnTo>
                    <a:pt x="49817" y="54661"/>
                  </a:lnTo>
                  <a:lnTo>
                    <a:pt x="50818" y="52663"/>
                  </a:lnTo>
                  <a:lnTo>
                    <a:pt x="53617" y="50278"/>
                  </a:lnTo>
                  <a:lnTo>
                    <a:pt x="54134" y="49614"/>
                  </a:lnTo>
                  <a:lnTo>
                    <a:pt x="54011" y="47649"/>
                  </a:lnTo>
                  <a:lnTo>
                    <a:pt x="54189" y="47275"/>
                  </a:lnTo>
                  <a:lnTo>
                    <a:pt x="55538" y="47540"/>
                  </a:lnTo>
                  <a:lnTo>
                    <a:pt x="56101" y="50921"/>
                  </a:lnTo>
                  <a:lnTo>
                    <a:pt x="55765" y="52428"/>
                  </a:lnTo>
                  <a:lnTo>
                    <a:pt x="53355" y="54263"/>
                  </a:lnTo>
                  <a:lnTo>
                    <a:pt x="53055" y="54911"/>
                  </a:lnTo>
                  <a:lnTo>
                    <a:pt x="53477" y="57415"/>
                  </a:lnTo>
                  <a:lnTo>
                    <a:pt x="53104" y="57656"/>
                  </a:lnTo>
                  <a:lnTo>
                    <a:pt x="52184" y="57361"/>
                  </a:lnTo>
                  <a:lnTo>
                    <a:pt x="51899" y="57520"/>
                  </a:lnTo>
                  <a:lnTo>
                    <a:pt x="54185" y="60239"/>
                  </a:lnTo>
                  <a:lnTo>
                    <a:pt x="54912" y="62351"/>
                  </a:lnTo>
                  <a:lnTo>
                    <a:pt x="55009" y="64235"/>
                  </a:lnTo>
                  <a:lnTo>
                    <a:pt x="54388" y="67849"/>
                  </a:lnTo>
                  <a:lnTo>
                    <a:pt x="53725" y="68447"/>
                  </a:lnTo>
                  <a:lnTo>
                    <a:pt x="52585" y="68227"/>
                  </a:lnTo>
                  <a:lnTo>
                    <a:pt x="51077" y="67097"/>
                  </a:lnTo>
                  <a:lnTo>
                    <a:pt x="50741" y="67461"/>
                  </a:lnTo>
                  <a:lnTo>
                    <a:pt x="49544" y="70263"/>
                  </a:lnTo>
                  <a:lnTo>
                    <a:pt x="49149" y="70018"/>
                  </a:lnTo>
                  <a:lnTo>
                    <a:pt x="48402" y="66692"/>
                  </a:lnTo>
                  <a:lnTo>
                    <a:pt x="47996" y="66445"/>
                  </a:lnTo>
                  <a:lnTo>
                    <a:pt x="45674" y="67961"/>
                  </a:lnTo>
                  <a:lnTo>
                    <a:pt x="44738" y="69416"/>
                  </a:lnTo>
                  <a:lnTo>
                    <a:pt x="43936" y="71741"/>
                  </a:lnTo>
                  <a:lnTo>
                    <a:pt x="42916" y="72827"/>
                  </a:lnTo>
                  <a:lnTo>
                    <a:pt x="45811" y="73065"/>
                  </a:lnTo>
                  <a:lnTo>
                    <a:pt x="48418" y="72597"/>
                  </a:lnTo>
                  <a:lnTo>
                    <a:pt x="50511" y="73700"/>
                  </a:lnTo>
                  <a:lnTo>
                    <a:pt x="51224" y="73730"/>
                  </a:lnTo>
                  <a:lnTo>
                    <a:pt x="53135" y="72654"/>
                  </a:lnTo>
                  <a:lnTo>
                    <a:pt x="53719" y="71921"/>
                  </a:lnTo>
                  <a:lnTo>
                    <a:pt x="55300" y="68416"/>
                  </a:lnTo>
                  <a:lnTo>
                    <a:pt x="56093" y="67787"/>
                  </a:lnTo>
                  <a:lnTo>
                    <a:pt x="57273" y="67763"/>
                  </a:lnTo>
                  <a:lnTo>
                    <a:pt x="58414" y="67236"/>
                  </a:lnTo>
                  <a:lnTo>
                    <a:pt x="60105" y="65313"/>
                  </a:lnTo>
                  <a:lnTo>
                    <a:pt x="60174" y="64550"/>
                  </a:lnTo>
                  <a:lnTo>
                    <a:pt x="59559" y="60241"/>
                  </a:lnTo>
                  <a:lnTo>
                    <a:pt x="59734" y="57794"/>
                  </a:lnTo>
                  <a:lnTo>
                    <a:pt x="59418" y="57019"/>
                  </a:lnTo>
                  <a:lnTo>
                    <a:pt x="58658" y="56213"/>
                  </a:lnTo>
                  <a:lnTo>
                    <a:pt x="58754" y="55432"/>
                  </a:lnTo>
                  <a:lnTo>
                    <a:pt x="59343" y="54144"/>
                  </a:lnTo>
                  <a:lnTo>
                    <a:pt x="59387" y="52979"/>
                  </a:lnTo>
                  <a:lnTo>
                    <a:pt x="58882" y="51943"/>
                  </a:lnTo>
                  <a:lnTo>
                    <a:pt x="59110" y="50764"/>
                  </a:lnTo>
                  <a:lnTo>
                    <a:pt x="60704" y="48226"/>
                  </a:lnTo>
                  <a:lnTo>
                    <a:pt x="61007" y="47107"/>
                  </a:lnTo>
                  <a:lnTo>
                    <a:pt x="62958" y="44578"/>
                  </a:lnTo>
                  <a:lnTo>
                    <a:pt x="62465" y="43560"/>
                  </a:lnTo>
                  <a:lnTo>
                    <a:pt x="61031" y="42318"/>
                  </a:lnTo>
                  <a:lnTo>
                    <a:pt x="60126" y="41222"/>
                  </a:lnTo>
                  <a:lnTo>
                    <a:pt x="59216" y="39509"/>
                  </a:lnTo>
                  <a:lnTo>
                    <a:pt x="58523" y="38935"/>
                  </a:lnTo>
                  <a:lnTo>
                    <a:pt x="58296" y="39196"/>
                  </a:lnTo>
                  <a:lnTo>
                    <a:pt x="59269" y="41999"/>
                  </a:lnTo>
                  <a:lnTo>
                    <a:pt x="59060" y="42188"/>
                  </a:lnTo>
                  <a:lnTo>
                    <a:pt x="56527" y="40678"/>
                  </a:lnTo>
                  <a:lnTo>
                    <a:pt x="55943" y="39726"/>
                  </a:lnTo>
                  <a:lnTo>
                    <a:pt x="55632" y="38433"/>
                  </a:lnTo>
                  <a:lnTo>
                    <a:pt x="55857" y="37462"/>
                  </a:lnTo>
                  <a:lnTo>
                    <a:pt x="57217" y="36502"/>
                  </a:lnTo>
                  <a:lnTo>
                    <a:pt x="58840" y="36154"/>
                  </a:lnTo>
                  <a:lnTo>
                    <a:pt x="58710" y="35346"/>
                  </a:lnTo>
                  <a:lnTo>
                    <a:pt x="56670" y="32719"/>
                  </a:lnTo>
                  <a:lnTo>
                    <a:pt x="55313" y="31522"/>
                  </a:lnTo>
                  <a:lnTo>
                    <a:pt x="54270" y="30941"/>
                  </a:lnTo>
                  <a:lnTo>
                    <a:pt x="52861" y="30790"/>
                  </a:lnTo>
                  <a:lnTo>
                    <a:pt x="52230" y="30362"/>
                  </a:lnTo>
                  <a:lnTo>
                    <a:pt x="52065" y="29746"/>
                  </a:lnTo>
                  <a:lnTo>
                    <a:pt x="52364" y="28935"/>
                  </a:lnTo>
                  <a:lnTo>
                    <a:pt x="53112" y="28677"/>
                  </a:lnTo>
                  <a:lnTo>
                    <a:pt x="55287" y="29001"/>
                  </a:lnTo>
                  <a:lnTo>
                    <a:pt x="56458" y="28426"/>
                  </a:lnTo>
                  <a:lnTo>
                    <a:pt x="56347" y="27380"/>
                  </a:lnTo>
                  <a:lnTo>
                    <a:pt x="55998" y="26801"/>
                  </a:lnTo>
                  <a:lnTo>
                    <a:pt x="56051" y="23057"/>
                  </a:lnTo>
                  <a:lnTo>
                    <a:pt x="55226" y="20009"/>
                  </a:lnTo>
                  <a:lnTo>
                    <a:pt x="54794" y="19494"/>
                  </a:lnTo>
                  <a:lnTo>
                    <a:pt x="54331" y="19442"/>
                  </a:lnTo>
                  <a:lnTo>
                    <a:pt x="53839" y="19853"/>
                  </a:lnTo>
                  <a:lnTo>
                    <a:pt x="52472" y="19958"/>
                  </a:lnTo>
                  <a:lnTo>
                    <a:pt x="51633" y="18958"/>
                  </a:lnTo>
                  <a:lnTo>
                    <a:pt x="50700" y="17030"/>
                  </a:lnTo>
                  <a:lnTo>
                    <a:pt x="49009" y="12425"/>
                  </a:lnTo>
                  <a:lnTo>
                    <a:pt x="51621" y="12425"/>
                  </a:lnTo>
                  <a:lnTo>
                    <a:pt x="62497" y="12425"/>
                  </a:lnTo>
                  <a:lnTo>
                    <a:pt x="73376" y="12425"/>
                  </a:lnTo>
                  <a:lnTo>
                    <a:pt x="84252" y="12425"/>
                  </a:lnTo>
                  <a:lnTo>
                    <a:pt x="95129" y="12425"/>
                  </a:lnTo>
                  <a:lnTo>
                    <a:pt x="106006" y="12425"/>
                  </a:lnTo>
                  <a:lnTo>
                    <a:pt x="116884" y="12425"/>
                  </a:lnTo>
                  <a:lnTo>
                    <a:pt x="127760" y="12425"/>
                  </a:lnTo>
                  <a:lnTo>
                    <a:pt x="138636" y="12424"/>
                  </a:lnTo>
                  <a:lnTo>
                    <a:pt x="149514" y="12424"/>
                  </a:lnTo>
                  <a:lnTo>
                    <a:pt x="160391" y="12424"/>
                  </a:lnTo>
                  <a:lnTo>
                    <a:pt x="171267" y="12424"/>
                  </a:lnTo>
                  <a:lnTo>
                    <a:pt x="182146" y="12424"/>
                  </a:lnTo>
                  <a:lnTo>
                    <a:pt x="193022" y="12424"/>
                  </a:lnTo>
                  <a:lnTo>
                    <a:pt x="203899" y="12424"/>
                  </a:lnTo>
                  <a:lnTo>
                    <a:pt x="214777" y="12424"/>
                  </a:lnTo>
                  <a:lnTo>
                    <a:pt x="225654" y="12424"/>
                  </a:lnTo>
                  <a:lnTo>
                    <a:pt x="236530" y="12424"/>
                  </a:lnTo>
                  <a:lnTo>
                    <a:pt x="247408" y="12424"/>
                  </a:lnTo>
                  <a:lnTo>
                    <a:pt x="258285" y="12424"/>
                  </a:lnTo>
                  <a:lnTo>
                    <a:pt x="269161" y="12424"/>
                  </a:lnTo>
                  <a:lnTo>
                    <a:pt x="280037" y="12424"/>
                  </a:lnTo>
                  <a:lnTo>
                    <a:pt x="290916" y="12424"/>
                  </a:lnTo>
                  <a:lnTo>
                    <a:pt x="301792" y="12424"/>
                  </a:lnTo>
                  <a:lnTo>
                    <a:pt x="312669" y="12424"/>
                  </a:lnTo>
                  <a:lnTo>
                    <a:pt x="323547" y="12424"/>
                  </a:lnTo>
                  <a:lnTo>
                    <a:pt x="334424" y="12424"/>
                  </a:lnTo>
                  <a:lnTo>
                    <a:pt x="345300" y="12424"/>
                  </a:lnTo>
                  <a:lnTo>
                    <a:pt x="356179" y="12424"/>
                  </a:lnTo>
                  <a:lnTo>
                    <a:pt x="367054" y="12424"/>
                  </a:lnTo>
                  <a:lnTo>
                    <a:pt x="377931" y="12424"/>
                  </a:lnTo>
                  <a:lnTo>
                    <a:pt x="388807" y="12424"/>
                  </a:lnTo>
                  <a:lnTo>
                    <a:pt x="399686" y="12422"/>
                  </a:lnTo>
                  <a:lnTo>
                    <a:pt x="410562" y="12422"/>
                  </a:lnTo>
                  <a:lnTo>
                    <a:pt x="421439" y="12422"/>
                  </a:lnTo>
                  <a:lnTo>
                    <a:pt x="432317" y="12422"/>
                  </a:lnTo>
                  <a:lnTo>
                    <a:pt x="443194" y="12422"/>
                  </a:lnTo>
                  <a:lnTo>
                    <a:pt x="454070" y="12422"/>
                  </a:lnTo>
                  <a:lnTo>
                    <a:pt x="464949" y="12422"/>
                  </a:lnTo>
                  <a:lnTo>
                    <a:pt x="475824" y="12422"/>
                  </a:lnTo>
                  <a:lnTo>
                    <a:pt x="486701" y="12422"/>
                  </a:lnTo>
                  <a:lnTo>
                    <a:pt x="497579" y="12422"/>
                  </a:lnTo>
                  <a:lnTo>
                    <a:pt x="508456" y="12422"/>
                  </a:lnTo>
                  <a:lnTo>
                    <a:pt x="519332" y="12422"/>
                  </a:lnTo>
                  <a:lnTo>
                    <a:pt x="530209" y="12422"/>
                  </a:lnTo>
                  <a:lnTo>
                    <a:pt x="541087" y="12422"/>
                  </a:lnTo>
                  <a:lnTo>
                    <a:pt x="551964" y="12422"/>
                  </a:lnTo>
                  <a:lnTo>
                    <a:pt x="562840" y="12422"/>
                  </a:lnTo>
                  <a:lnTo>
                    <a:pt x="573719" y="12422"/>
                  </a:lnTo>
                  <a:lnTo>
                    <a:pt x="584594" y="12422"/>
                  </a:lnTo>
                  <a:lnTo>
                    <a:pt x="595471" y="12422"/>
                  </a:lnTo>
                  <a:lnTo>
                    <a:pt x="606348" y="12422"/>
                  </a:lnTo>
                  <a:lnTo>
                    <a:pt x="617226" y="12422"/>
                  </a:lnTo>
                  <a:lnTo>
                    <a:pt x="628102" y="12422"/>
                  </a:lnTo>
                  <a:lnTo>
                    <a:pt x="638980" y="12422"/>
                  </a:lnTo>
                  <a:lnTo>
                    <a:pt x="649857" y="12422"/>
                  </a:lnTo>
                  <a:lnTo>
                    <a:pt x="660734" y="12421"/>
                  </a:lnTo>
                  <a:lnTo>
                    <a:pt x="671610" y="12421"/>
                  </a:lnTo>
                  <a:lnTo>
                    <a:pt x="682489" y="12421"/>
                  </a:lnTo>
                  <a:lnTo>
                    <a:pt x="693365" y="12421"/>
                  </a:lnTo>
                  <a:lnTo>
                    <a:pt x="704241" y="12421"/>
                  </a:lnTo>
                  <a:lnTo>
                    <a:pt x="715120" y="12421"/>
                  </a:lnTo>
                  <a:lnTo>
                    <a:pt x="725996" y="12421"/>
                  </a:lnTo>
                  <a:lnTo>
                    <a:pt x="736872" y="12421"/>
                  </a:lnTo>
                  <a:lnTo>
                    <a:pt x="747750" y="12421"/>
                  </a:lnTo>
                  <a:lnTo>
                    <a:pt x="753767" y="12467"/>
                  </a:lnTo>
                  <a:lnTo>
                    <a:pt x="753864" y="5502"/>
                  </a:lnTo>
                  <a:close/>
                </a:path>
              </a:pathLst>
            </a:custGeom>
            <a:solidFill>
              <a:srgbClr val="B0BCC5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67" name="ee4pMapWizardData_37365">
              <a:extLst>
                <a:ext uri="{FF2B5EF4-FFF2-40B4-BE49-F238E27FC236}">
                  <a16:creationId xmlns:a16="http://schemas.microsoft.com/office/drawing/2014/main" id="{F27D776E-FD9E-B6C2-4948-78AC4D4E901A}"/>
                </a:ext>
              </a:extLst>
            </p:cNvPr>
            <p:cNvSpPr/>
            <p:nvPr>
              <p:custDataLst>
                <p:tags r:id="rId413"/>
              </p:custDataLst>
            </p:nvPr>
          </p:nvSpPr>
          <p:spPr>
            <a:xfrm>
              <a:off x="6553101" y="3947819"/>
              <a:ext cx="0" cy="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073" name="Gruppieren 1072">
            <a:extLst>
              <a:ext uri="{FF2B5EF4-FFF2-40B4-BE49-F238E27FC236}">
                <a16:creationId xmlns:a16="http://schemas.microsoft.com/office/drawing/2014/main" id="{B5BC8629-C68D-FF88-68E9-CF7FB8E8219D}"/>
              </a:ext>
            </a:extLst>
          </p:cNvPr>
          <p:cNvGrpSpPr/>
          <p:nvPr/>
        </p:nvGrpSpPr>
        <p:grpSpPr>
          <a:xfrm>
            <a:off x="1306800" y="1432800"/>
            <a:ext cx="10490592" cy="5028361"/>
            <a:chOff x="1307805" y="1433639"/>
            <a:chExt cx="10490592" cy="5028361"/>
          </a:xfrm>
        </p:grpSpPr>
        <p:sp>
          <p:nvSpPr>
            <p:cNvPr id="1074" name="ee4p_NC_1_82333">
              <a:extLst>
                <a:ext uri="{FF2B5EF4-FFF2-40B4-BE49-F238E27FC236}">
                  <a16:creationId xmlns:a16="http://schemas.microsoft.com/office/drawing/2014/main" id="{FA2E961F-6607-1F59-15E0-EAFEF5F08B03}"/>
                </a:ext>
              </a:extLst>
            </p:cNvPr>
            <p:cNvSpPr>
              <a:spLocks noChangeAspect="1"/>
            </p:cNvSpPr>
            <p:nvPr>
              <p:custDataLst>
                <p:tags r:id="rId2"/>
              </p:custDataLst>
            </p:nvPr>
          </p:nvSpPr>
          <p:spPr>
            <a:xfrm>
              <a:off x="10955802" y="5227626"/>
              <a:ext cx="228008" cy="105639"/>
            </a:xfrm>
            <a:custGeom>
              <a:avLst/>
              <a:gdLst>
                <a:gd name="connsiteX0" fmla="*/ 166177 w 181558"/>
                <a:gd name="connsiteY0" fmla="*/ 79103 h 81888"/>
                <a:gd name="connsiteX1" fmla="*/ 168080 w 181558"/>
                <a:gd name="connsiteY1" fmla="*/ 79982 h 81888"/>
                <a:gd name="connsiteX2" fmla="*/ 168410 w 181558"/>
                <a:gd name="connsiteY2" fmla="*/ 81007 h 81888"/>
                <a:gd name="connsiteX3" fmla="*/ 167708 w 181558"/>
                <a:gd name="connsiteY3" fmla="*/ 81888 h 81888"/>
                <a:gd name="connsiteX4" fmla="*/ 166840 w 181558"/>
                <a:gd name="connsiteY4" fmla="*/ 81707 h 81888"/>
                <a:gd name="connsiteX5" fmla="*/ 166184 w 181558"/>
                <a:gd name="connsiteY5" fmla="*/ 81377 h 81888"/>
                <a:gd name="connsiteX6" fmla="*/ 165704 w 181558"/>
                <a:gd name="connsiteY6" fmla="*/ 80898 h 81888"/>
                <a:gd name="connsiteX7" fmla="*/ 178229 w 181558"/>
                <a:gd name="connsiteY7" fmla="*/ 51191 h 81888"/>
                <a:gd name="connsiteX8" fmla="*/ 178151 w 181558"/>
                <a:gd name="connsiteY8" fmla="*/ 51928 h 81888"/>
                <a:gd name="connsiteX9" fmla="*/ 178365 w 181558"/>
                <a:gd name="connsiteY9" fmla="*/ 52789 h 81888"/>
                <a:gd name="connsiteX10" fmla="*/ 178726 w 181558"/>
                <a:gd name="connsiteY10" fmla="*/ 53322 h 81888"/>
                <a:gd name="connsiteX11" fmla="*/ 179764 w 181558"/>
                <a:gd name="connsiteY11" fmla="*/ 53749 h 81888"/>
                <a:gd name="connsiteX12" fmla="*/ 181558 w 181558"/>
                <a:gd name="connsiteY12" fmla="*/ 53674 h 81888"/>
                <a:gd name="connsiteX13" fmla="*/ 181152 w 181558"/>
                <a:gd name="connsiteY13" fmla="*/ 57624 h 81888"/>
                <a:gd name="connsiteX14" fmla="*/ 178626 w 181558"/>
                <a:gd name="connsiteY14" fmla="*/ 58257 h 81888"/>
                <a:gd name="connsiteX15" fmla="*/ 177749 w 181558"/>
                <a:gd name="connsiteY15" fmla="*/ 58221 h 81888"/>
                <a:gd name="connsiteX16" fmla="*/ 177186 w 181558"/>
                <a:gd name="connsiteY16" fmla="*/ 57391 h 81888"/>
                <a:gd name="connsiteX17" fmla="*/ 175739 w 181558"/>
                <a:gd name="connsiteY17" fmla="*/ 56844 h 81888"/>
                <a:gd name="connsiteX18" fmla="*/ 175811 w 181558"/>
                <a:gd name="connsiteY18" fmla="*/ 55489 h 81888"/>
                <a:gd name="connsiteX19" fmla="*/ 174402 w 181558"/>
                <a:gd name="connsiteY19" fmla="*/ 52459 h 81888"/>
                <a:gd name="connsiteX20" fmla="*/ 176847 w 181558"/>
                <a:gd name="connsiteY20" fmla="*/ 52000 h 81888"/>
                <a:gd name="connsiteX21" fmla="*/ 160883 w 181558"/>
                <a:gd name="connsiteY21" fmla="*/ 35845 h 81888"/>
                <a:gd name="connsiteX22" fmla="*/ 162318 w 181558"/>
                <a:gd name="connsiteY22" fmla="*/ 36469 h 81888"/>
                <a:gd name="connsiteX23" fmla="*/ 162959 w 181558"/>
                <a:gd name="connsiteY23" fmla="*/ 37206 h 81888"/>
                <a:gd name="connsiteX24" fmla="*/ 162860 w 181558"/>
                <a:gd name="connsiteY24" fmla="*/ 40876 h 81888"/>
                <a:gd name="connsiteX25" fmla="*/ 164350 w 181558"/>
                <a:gd name="connsiteY25" fmla="*/ 42044 h 81888"/>
                <a:gd name="connsiteX26" fmla="*/ 165893 w 181558"/>
                <a:gd name="connsiteY26" fmla="*/ 44658 h 81888"/>
                <a:gd name="connsiteX27" fmla="*/ 165886 w 181558"/>
                <a:gd name="connsiteY27" fmla="*/ 45391 h 81888"/>
                <a:gd name="connsiteX28" fmla="*/ 165235 w 181558"/>
                <a:gd name="connsiteY28" fmla="*/ 47093 h 81888"/>
                <a:gd name="connsiteX29" fmla="*/ 164027 w 181558"/>
                <a:gd name="connsiteY29" fmla="*/ 47280 h 81888"/>
                <a:gd name="connsiteX30" fmla="*/ 162414 w 181558"/>
                <a:gd name="connsiteY30" fmla="*/ 45617 h 81888"/>
                <a:gd name="connsiteX31" fmla="*/ 159332 w 181558"/>
                <a:gd name="connsiteY31" fmla="*/ 44782 h 81888"/>
                <a:gd name="connsiteX32" fmla="*/ 157978 w 181558"/>
                <a:gd name="connsiteY32" fmla="*/ 43318 h 81888"/>
                <a:gd name="connsiteX33" fmla="*/ 157095 w 181558"/>
                <a:gd name="connsiteY33" fmla="*/ 41593 h 81888"/>
                <a:gd name="connsiteX34" fmla="*/ 158842 w 181558"/>
                <a:gd name="connsiteY34" fmla="*/ 41166 h 81888"/>
                <a:gd name="connsiteX35" fmla="*/ 160560 w 181558"/>
                <a:gd name="connsiteY35" fmla="*/ 38845 h 81888"/>
                <a:gd name="connsiteX36" fmla="*/ 159388 w 181558"/>
                <a:gd name="connsiteY36" fmla="*/ 37981 h 81888"/>
                <a:gd name="connsiteX37" fmla="*/ 157367 w 181558"/>
                <a:gd name="connsiteY37" fmla="*/ 37828 h 81888"/>
                <a:gd name="connsiteX38" fmla="*/ 157605 w 181558"/>
                <a:gd name="connsiteY38" fmla="*/ 36923 h 81888"/>
                <a:gd name="connsiteX39" fmla="*/ 147140 w 181558"/>
                <a:gd name="connsiteY39" fmla="*/ 29848 h 81888"/>
                <a:gd name="connsiteX40" fmla="*/ 148073 w 181558"/>
                <a:gd name="connsiteY40" fmla="*/ 29961 h 81888"/>
                <a:gd name="connsiteX41" fmla="*/ 149092 w 181558"/>
                <a:gd name="connsiteY41" fmla="*/ 30696 h 81888"/>
                <a:gd name="connsiteX42" fmla="*/ 147922 w 181558"/>
                <a:gd name="connsiteY42" fmla="*/ 31326 h 81888"/>
                <a:gd name="connsiteX43" fmla="*/ 147533 w 181558"/>
                <a:gd name="connsiteY43" fmla="*/ 32429 h 81888"/>
                <a:gd name="connsiteX44" fmla="*/ 147574 w 181558"/>
                <a:gd name="connsiteY44" fmla="*/ 33812 h 81888"/>
                <a:gd name="connsiteX45" fmla="*/ 148025 w 181558"/>
                <a:gd name="connsiteY45" fmla="*/ 34064 h 81888"/>
                <a:gd name="connsiteX46" fmla="*/ 147281 w 181558"/>
                <a:gd name="connsiteY46" fmla="*/ 35578 h 81888"/>
                <a:gd name="connsiteX47" fmla="*/ 146350 w 181558"/>
                <a:gd name="connsiteY47" fmla="*/ 36427 h 81888"/>
                <a:gd name="connsiteX48" fmla="*/ 145173 w 181558"/>
                <a:gd name="connsiteY48" fmla="*/ 36654 h 81888"/>
                <a:gd name="connsiteX49" fmla="*/ 146594 w 181558"/>
                <a:gd name="connsiteY49" fmla="*/ 34544 h 81888"/>
                <a:gd name="connsiteX50" fmla="*/ 146635 w 181558"/>
                <a:gd name="connsiteY50" fmla="*/ 33253 h 81888"/>
                <a:gd name="connsiteX51" fmla="*/ 147205 w 181558"/>
                <a:gd name="connsiteY51" fmla="*/ 30703 h 81888"/>
                <a:gd name="connsiteX52" fmla="*/ 91354 w 181558"/>
                <a:gd name="connsiteY52" fmla="*/ 23587 h 81888"/>
                <a:gd name="connsiteX53" fmla="*/ 94509 w 181558"/>
                <a:gd name="connsiteY53" fmla="*/ 25995 h 81888"/>
                <a:gd name="connsiteX54" fmla="*/ 97004 w 181558"/>
                <a:gd name="connsiteY54" fmla="*/ 27441 h 81888"/>
                <a:gd name="connsiteX55" fmla="*/ 99675 w 181558"/>
                <a:gd name="connsiteY55" fmla="*/ 26827 h 81888"/>
                <a:gd name="connsiteX56" fmla="*/ 103039 w 181558"/>
                <a:gd name="connsiteY56" fmla="*/ 29106 h 81888"/>
                <a:gd name="connsiteX57" fmla="*/ 111609 w 181558"/>
                <a:gd name="connsiteY57" fmla="*/ 36019 h 81888"/>
                <a:gd name="connsiteX58" fmla="*/ 114622 w 181558"/>
                <a:gd name="connsiteY58" fmla="*/ 37483 h 81888"/>
                <a:gd name="connsiteX59" fmla="*/ 116389 w 181558"/>
                <a:gd name="connsiteY59" fmla="*/ 38045 h 81888"/>
                <a:gd name="connsiteX60" fmla="*/ 117727 w 181558"/>
                <a:gd name="connsiteY60" fmla="*/ 39178 h 81888"/>
                <a:gd name="connsiteX61" fmla="*/ 118928 w 181558"/>
                <a:gd name="connsiteY61" fmla="*/ 40772 h 81888"/>
                <a:gd name="connsiteX62" fmla="*/ 120563 w 181558"/>
                <a:gd name="connsiteY62" fmla="*/ 41899 h 81888"/>
                <a:gd name="connsiteX63" fmla="*/ 121269 w 181558"/>
                <a:gd name="connsiteY63" fmla="*/ 42950 h 81888"/>
                <a:gd name="connsiteX64" fmla="*/ 121446 w 181558"/>
                <a:gd name="connsiteY64" fmla="*/ 44369 h 81888"/>
                <a:gd name="connsiteX65" fmla="*/ 122036 w 181558"/>
                <a:gd name="connsiteY65" fmla="*/ 45242 h 81888"/>
                <a:gd name="connsiteX66" fmla="*/ 125026 w 181558"/>
                <a:gd name="connsiteY66" fmla="*/ 47540 h 81888"/>
                <a:gd name="connsiteX67" fmla="*/ 126803 w 181558"/>
                <a:gd name="connsiteY67" fmla="*/ 49556 h 81888"/>
                <a:gd name="connsiteX68" fmla="*/ 129275 w 181558"/>
                <a:gd name="connsiteY68" fmla="*/ 50586 h 81888"/>
                <a:gd name="connsiteX69" fmla="*/ 130342 w 181558"/>
                <a:gd name="connsiteY69" fmla="*/ 51790 h 81888"/>
                <a:gd name="connsiteX70" fmla="*/ 131724 w 181558"/>
                <a:gd name="connsiteY70" fmla="*/ 52377 h 81888"/>
                <a:gd name="connsiteX71" fmla="*/ 133143 w 181558"/>
                <a:gd name="connsiteY71" fmla="*/ 53609 h 81888"/>
                <a:gd name="connsiteX72" fmla="*/ 135538 w 181558"/>
                <a:gd name="connsiteY72" fmla="*/ 54570 h 81888"/>
                <a:gd name="connsiteX73" fmla="*/ 140966 w 181558"/>
                <a:gd name="connsiteY73" fmla="*/ 58119 h 81888"/>
                <a:gd name="connsiteX74" fmla="*/ 145160 w 181558"/>
                <a:gd name="connsiteY74" fmla="*/ 61493 h 81888"/>
                <a:gd name="connsiteX75" fmla="*/ 147250 w 181558"/>
                <a:gd name="connsiteY75" fmla="*/ 63580 h 81888"/>
                <a:gd name="connsiteX76" fmla="*/ 149509 w 181558"/>
                <a:gd name="connsiteY76" fmla="*/ 65439 h 81888"/>
                <a:gd name="connsiteX77" fmla="*/ 152394 w 181558"/>
                <a:gd name="connsiteY77" fmla="*/ 66923 h 81888"/>
                <a:gd name="connsiteX78" fmla="*/ 155097 w 181558"/>
                <a:gd name="connsiteY78" fmla="*/ 68620 h 81888"/>
                <a:gd name="connsiteX79" fmla="*/ 156467 w 181558"/>
                <a:gd name="connsiteY79" fmla="*/ 72599 h 81888"/>
                <a:gd name="connsiteX80" fmla="*/ 155715 w 181558"/>
                <a:gd name="connsiteY80" fmla="*/ 74023 h 81888"/>
                <a:gd name="connsiteX81" fmla="*/ 154160 w 181558"/>
                <a:gd name="connsiteY81" fmla="*/ 74731 h 81888"/>
                <a:gd name="connsiteX82" fmla="*/ 152722 w 181558"/>
                <a:gd name="connsiteY82" fmla="*/ 74781 h 81888"/>
                <a:gd name="connsiteX83" fmla="*/ 151377 w 181558"/>
                <a:gd name="connsiteY83" fmla="*/ 75262 h 81888"/>
                <a:gd name="connsiteX84" fmla="*/ 146877 w 181558"/>
                <a:gd name="connsiteY84" fmla="*/ 72692 h 81888"/>
                <a:gd name="connsiteX85" fmla="*/ 145805 w 181558"/>
                <a:gd name="connsiteY85" fmla="*/ 72313 h 81888"/>
                <a:gd name="connsiteX86" fmla="*/ 144607 w 181558"/>
                <a:gd name="connsiteY86" fmla="*/ 72472 h 81888"/>
                <a:gd name="connsiteX87" fmla="*/ 143937 w 181558"/>
                <a:gd name="connsiteY87" fmla="*/ 71903 h 81888"/>
                <a:gd name="connsiteX88" fmla="*/ 143467 w 181558"/>
                <a:gd name="connsiteY88" fmla="*/ 71082 h 81888"/>
                <a:gd name="connsiteX89" fmla="*/ 140722 w 181558"/>
                <a:gd name="connsiteY89" fmla="*/ 70128 h 81888"/>
                <a:gd name="connsiteX90" fmla="*/ 138166 w 181558"/>
                <a:gd name="connsiteY90" fmla="*/ 68597 h 81888"/>
                <a:gd name="connsiteX91" fmla="*/ 137425 w 181558"/>
                <a:gd name="connsiteY91" fmla="*/ 67559 h 81888"/>
                <a:gd name="connsiteX92" fmla="*/ 136995 w 181558"/>
                <a:gd name="connsiteY92" fmla="*/ 66268 h 81888"/>
                <a:gd name="connsiteX93" fmla="*/ 136384 w 181558"/>
                <a:gd name="connsiteY93" fmla="*/ 65523 h 81888"/>
                <a:gd name="connsiteX94" fmla="*/ 132778 w 181558"/>
                <a:gd name="connsiteY94" fmla="*/ 64395 h 81888"/>
                <a:gd name="connsiteX95" fmla="*/ 130355 w 181558"/>
                <a:gd name="connsiteY95" fmla="*/ 63138 h 81888"/>
                <a:gd name="connsiteX96" fmla="*/ 128596 w 181558"/>
                <a:gd name="connsiteY96" fmla="*/ 61366 h 81888"/>
                <a:gd name="connsiteX97" fmla="*/ 125861 w 181558"/>
                <a:gd name="connsiteY97" fmla="*/ 60135 h 81888"/>
                <a:gd name="connsiteX98" fmla="*/ 121603 w 181558"/>
                <a:gd name="connsiteY98" fmla="*/ 57606 h 81888"/>
                <a:gd name="connsiteX99" fmla="*/ 119413 w 181558"/>
                <a:gd name="connsiteY99" fmla="*/ 56796 h 81888"/>
                <a:gd name="connsiteX100" fmla="*/ 117498 w 181558"/>
                <a:gd name="connsiteY100" fmla="*/ 55532 h 81888"/>
                <a:gd name="connsiteX101" fmla="*/ 112372 w 181558"/>
                <a:gd name="connsiteY101" fmla="*/ 50936 h 81888"/>
                <a:gd name="connsiteX102" fmla="*/ 110543 w 181558"/>
                <a:gd name="connsiteY102" fmla="*/ 50080 h 81888"/>
                <a:gd name="connsiteX103" fmla="*/ 108947 w 181558"/>
                <a:gd name="connsiteY103" fmla="*/ 48039 h 81888"/>
                <a:gd name="connsiteX104" fmla="*/ 104534 w 181558"/>
                <a:gd name="connsiteY104" fmla="*/ 43199 h 81888"/>
                <a:gd name="connsiteX105" fmla="*/ 102407 w 181558"/>
                <a:gd name="connsiteY105" fmla="*/ 41207 h 81888"/>
                <a:gd name="connsiteX106" fmla="*/ 100089 w 181558"/>
                <a:gd name="connsiteY106" fmla="*/ 39435 h 81888"/>
                <a:gd name="connsiteX107" fmla="*/ 98316 w 181558"/>
                <a:gd name="connsiteY107" fmla="*/ 37362 h 81888"/>
                <a:gd name="connsiteX108" fmla="*/ 96954 w 181558"/>
                <a:gd name="connsiteY108" fmla="*/ 34904 h 81888"/>
                <a:gd name="connsiteX109" fmla="*/ 93788 w 181558"/>
                <a:gd name="connsiteY109" fmla="*/ 31387 h 81888"/>
                <a:gd name="connsiteX110" fmla="*/ 93399 w 181558"/>
                <a:gd name="connsiteY110" fmla="*/ 29884 h 81888"/>
                <a:gd name="connsiteX111" fmla="*/ 93531 w 181558"/>
                <a:gd name="connsiteY111" fmla="*/ 28341 h 81888"/>
                <a:gd name="connsiteX112" fmla="*/ 92769 w 181558"/>
                <a:gd name="connsiteY112" fmla="*/ 27348 h 81888"/>
                <a:gd name="connsiteX113" fmla="*/ 91473 w 181558"/>
                <a:gd name="connsiteY113" fmla="*/ 26744 h 81888"/>
                <a:gd name="connsiteX114" fmla="*/ 90860 w 181558"/>
                <a:gd name="connsiteY114" fmla="*/ 25707 h 81888"/>
                <a:gd name="connsiteX115" fmla="*/ 90931 w 181558"/>
                <a:gd name="connsiteY115" fmla="*/ 24309 h 81888"/>
                <a:gd name="connsiteX116" fmla="*/ 700 w 181558"/>
                <a:gd name="connsiteY116" fmla="*/ 0 h 81888"/>
                <a:gd name="connsiteX117" fmla="*/ 1036 w 181558"/>
                <a:gd name="connsiteY117" fmla="*/ 2835 h 81888"/>
                <a:gd name="connsiteX118" fmla="*/ 520 w 181558"/>
                <a:gd name="connsiteY118" fmla="*/ 4520 h 81888"/>
                <a:gd name="connsiteX119" fmla="*/ 181 w 181558"/>
                <a:gd name="connsiteY119" fmla="*/ 5011 h 81888"/>
                <a:gd name="connsiteX120" fmla="*/ 0 w 181558"/>
                <a:gd name="connsiteY120" fmla="*/ 1369 h 81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181558" h="81888">
                  <a:moveTo>
                    <a:pt x="166177" y="79103"/>
                  </a:moveTo>
                  <a:lnTo>
                    <a:pt x="168080" y="79982"/>
                  </a:lnTo>
                  <a:lnTo>
                    <a:pt x="168410" y="81007"/>
                  </a:lnTo>
                  <a:lnTo>
                    <a:pt x="167708" y="81888"/>
                  </a:lnTo>
                  <a:lnTo>
                    <a:pt x="166840" y="81707"/>
                  </a:lnTo>
                  <a:lnTo>
                    <a:pt x="166184" y="81377"/>
                  </a:lnTo>
                  <a:lnTo>
                    <a:pt x="165704" y="80898"/>
                  </a:lnTo>
                  <a:close/>
                  <a:moveTo>
                    <a:pt x="178229" y="51191"/>
                  </a:moveTo>
                  <a:lnTo>
                    <a:pt x="178151" y="51928"/>
                  </a:lnTo>
                  <a:lnTo>
                    <a:pt x="178365" y="52789"/>
                  </a:lnTo>
                  <a:lnTo>
                    <a:pt x="178726" y="53322"/>
                  </a:lnTo>
                  <a:lnTo>
                    <a:pt x="179764" y="53749"/>
                  </a:lnTo>
                  <a:lnTo>
                    <a:pt x="181558" y="53674"/>
                  </a:lnTo>
                  <a:lnTo>
                    <a:pt x="181152" y="57624"/>
                  </a:lnTo>
                  <a:lnTo>
                    <a:pt x="178626" y="58257"/>
                  </a:lnTo>
                  <a:lnTo>
                    <a:pt x="177749" y="58221"/>
                  </a:lnTo>
                  <a:lnTo>
                    <a:pt x="177186" y="57391"/>
                  </a:lnTo>
                  <a:lnTo>
                    <a:pt x="175739" y="56844"/>
                  </a:lnTo>
                  <a:lnTo>
                    <a:pt x="175811" y="55489"/>
                  </a:lnTo>
                  <a:lnTo>
                    <a:pt x="174402" y="52459"/>
                  </a:lnTo>
                  <a:lnTo>
                    <a:pt x="176847" y="52000"/>
                  </a:lnTo>
                  <a:close/>
                  <a:moveTo>
                    <a:pt x="160883" y="35845"/>
                  </a:moveTo>
                  <a:lnTo>
                    <a:pt x="162318" y="36469"/>
                  </a:lnTo>
                  <a:lnTo>
                    <a:pt x="162959" y="37206"/>
                  </a:lnTo>
                  <a:lnTo>
                    <a:pt x="162860" y="40876"/>
                  </a:lnTo>
                  <a:lnTo>
                    <a:pt x="164350" y="42044"/>
                  </a:lnTo>
                  <a:lnTo>
                    <a:pt x="165893" y="44658"/>
                  </a:lnTo>
                  <a:lnTo>
                    <a:pt x="165886" y="45391"/>
                  </a:lnTo>
                  <a:lnTo>
                    <a:pt x="165235" y="47093"/>
                  </a:lnTo>
                  <a:lnTo>
                    <a:pt x="164027" y="47280"/>
                  </a:lnTo>
                  <a:lnTo>
                    <a:pt x="162414" y="45617"/>
                  </a:lnTo>
                  <a:lnTo>
                    <a:pt x="159332" y="44782"/>
                  </a:lnTo>
                  <a:lnTo>
                    <a:pt x="157978" y="43318"/>
                  </a:lnTo>
                  <a:lnTo>
                    <a:pt x="157095" y="41593"/>
                  </a:lnTo>
                  <a:lnTo>
                    <a:pt x="158842" y="41166"/>
                  </a:lnTo>
                  <a:lnTo>
                    <a:pt x="160560" y="38845"/>
                  </a:lnTo>
                  <a:lnTo>
                    <a:pt x="159388" y="37981"/>
                  </a:lnTo>
                  <a:lnTo>
                    <a:pt x="157367" y="37828"/>
                  </a:lnTo>
                  <a:lnTo>
                    <a:pt x="157605" y="36923"/>
                  </a:lnTo>
                  <a:close/>
                  <a:moveTo>
                    <a:pt x="147140" y="29848"/>
                  </a:moveTo>
                  <a:lnTo>
                    <a:pt x="148073" y="29961"/>
                  </a:lnTo>
                  <a:lnTo>
                    <a:pt x="149092" y="30696"/>
                  </a:lnTo>
                  <a:lnTo>
                    <a:pt x="147922" y="31326"/>
                  </a:lnTo>
                  <a:lnTo>
                    <a:pt x="147533" y="32429"/>
                  </a:lnTo>
                  <a:lnTo>
                    <a:pt x="147574" y="33812"/>
                  </a:lnTo>
                  <a:lnTo>
                    <a:pt x="148025" y="34064"/>
                  </a:lnTo>
                  <a:lnTo>
                    <a:pt x="147281" y="35578"/>
                  </a:lnTo>
                  <a:lnTo>
                    <a:pt x="146350" y="36427"/>
                  </a:lnTo>
                  <a:lnTo>
                    <a:pt x="145173" y="36654"/>
                  </a:lnTo>
                  <a:lnTo>
                    <a:pt x="146594" y="34544"/>
                  </a:lnTo>
                  <a:lnTo>
                    <a:pt x="146635" y="33253"/>
                  </a:lnTo>
                  <a:lnTo>
                    <a:pt x="147205" y="30703"/>
                  </a:lnTo>
                  <a:close/>
                  <a:moveTo>
                    <a:pt x="91354" y="23587"/>
                  </a:moveTo>
                  <a:lnTo>
                    <a:pt x="94509" y="25995"/>
                  </a:lnTo>
                  <a:lnTo>
                    <a:pt x="97004" y="27441"/>
                  </a:lnTo>
                  <a:lnTo>
                    <a:pt x="99675" y="26827"/>
                  </a:lnTo>
                  <a:lnTo>
                    <a:pt x="103039" y="29106"/>
                  </a:lnTo>
                  <a:lnTo>
                    <a:pt x="111609" y="36019"/>
                  </a:lnTo>
                  <a:lnTo>
                    <a:pt x="114622" y="37483"/>
                  </a:lnTo>
                  <a:lnTo>
                    <a:pt x="116389" y="38045"/>
                  </a:lnTo>
                  <a:lnTo>
                    <a:pt x="117727" y="39178"/>
                  </a:lnTo>
                  <a:lnTo>
                    <a:pt x="118928" y="40772"/>
                  </a:lnTo>
                  <a:lnTo>
                    <a:pt x="120563" y="41899"/>
                  </a:lnTo>
                  <a:lnTo>
                    <a:pt x="121269" y="42950"/>
                  </a:lnTo>
                  <a:lnTo>
                    <a:pt x="121446" y="44369"/>
                  </a:lnTo>
                  <a:lnTo>
                    <a:pt x="122036" y="45242"/>
                  </a:lnTo>
                  <a:lnTo>
                    <a:pt x="125026" y="47540"/>
                  </a:lnTo>
                  <a:lnTo>
                    <a:pt x="126803" y="49556"/>
                  </a:lnTo>
                  <a:lnTo>
                    <a:pt x="129275" y="50586"/>
                  </a:lnTo>
                  <a:lnTo>
                    <a:pt x="130342" y="51790"/>
                  </a:lnTo>
                  <a:lnTo>
                    <a:pt x="131724" y="52377"/>
                  </a:lnTo>
                  <a:lnTo>
                    <a:pt x="133143" y="53609"/>
                  </a:lnTo>
                  <a:lnTo>
                    <a:pt x="135538" y="54570"/>
                  </a:lnTo>
                  <a:lnTo>
                    <a:pt x="140966" y="58119"/>
                  </a:lnTo>
                  <a:lnTo>
                    <a:pt x="145160" y="61493"/>
                  </a:lnTo>
                  <a:lnTo>
                    <a:pt x="147250" y="63580"/>
                  </a:lnTo>
                  <a:lnTo>
                    <a:pt x="149509" y="65439"/>
                  </a:lnTo>
                  <a:lnTo>
                    <a:pt x="152394" y="66923"/>
                  </a:lnTo>
                  <a:lnTo>
                    <a:pt x="155097" y="68620"/>
                  </a:lnTo>
                  <a:lnTo>
                    <a:pt x="156467" y="72599"/>
                  </a:lnTo>
                  <a:lnTo>
                    <a:pt x="155715" y="74023"/>
                  </a:lnTo>
                  <a:lnTo>
                    <a:pt x="154160" y="74731"/>
                  </a:lnTo>
                  <a:lnTo>
                    <a:pt x="152722" y="74781"/>
                  </a:lnTo>
                  <a:lnTo>
                    <a:pt x="151377" y="75262"/>
                  </a:lnTo>
                  <a:lnTo>
                    <a:pt x="146877" y="72692"/>
                  </a:lnTo>
                  <a:lnTo>
                    <a:pt x="145805" y="72313"/>
                  </a:lnTo>
                  <a:lnTo>
                    <a:pt x="144607" y="72472"/>
                  </a:lnTo>
                  <a:lnTo>
                    <a:pt x="143937" y="71903"/>
                  </a:lnTo>
                  <a:lnTo>
                    <a:pt x="143467" y="71082"/>
                  </a:lnTo>
                  <a:lnTo>
                    <a:pt x="140722" y="70128"/>
                  </a:lnTo>
                  <a:lnTo>
                    <a:pt x="138166" y="68597"/>
                  </a:lnTo>
                  <a:lnTo>
                    <a:pt x="137425" y="67559"/>
                  </a:lnTo>
                  <a:lnTo>
                    <a:pt x="136995" y="66268"/>
                  </a:lnTo>
                  <a:lnTo>
                    <a:pt x="136384" y="65523"/>
                  </a:lnTo>
                  <a:lnTo>
                    <a:pt x="132778" y="64395"/>
                  </a:lnTo>
                  <a:lnTo>
                    <a:pt x="130355" y="63138"/>
                  </a:lnTo>
                  <a:lnTo>
                    <a:pt x="128596" y="61366"/>
                  </a:lnTo>
                  <a:lnTo>
                    <a:pt x="125861" y="60135"/>
                  </a:lnTo>
                  <a:lnTo>
                    <a:pt x="121603" y="57606"/>
                  </a:lnTo>
                  <a:lnTo>
                    <a:pt x="119413" y="56796"/>
                  </a:lnTo>
                  <a:lnTo>
                    <a:pt x="117498" y="55532"/>
                  </a:lnTo>
                  <a:lnTo>
                    <a:pt x="112372" y="50936"/>
                  </a:lnTo>
                  <a:lnTo>
                    <a:pt x="110543" y="50080"/>
                  </a:lnTo>
                  <a:lnTo>
                    <a:pt x="108947" y="48039"/>
                  </a:lnTo>
                  <a:lnTo>
                    <a:pt x="104534" y="43199"/>
                  </a:lnTo>
                  <a:lnTo>
                    <a:pt x="102407" y="41207"/>
                  </a:lnTo>
                  <a:lnTo>
                    <a:pt x="100089" y="39435"/>
                  </a:lnTo>
                  <a:lnTo>
                    <a:pt x="98316" y="37362"/>
                  </a:lnTo>
                  <a:lnTo>
                    <a:pt x="96954" y="34904"/>
                  </a:lnTo>
                  <a:lnTo>
                    <a:pt x="93788" y="31387"/>
                  </a:lnTo>
                  <a:lnTo>
                    <a:pt x="93399" y="29884"/>
                  </a:lnTo>
                  <a:lnTo>
                    <a:pt x="93531" y="28341"/>
                  </a:lnTo>
                  <a:lnTo>
                    <a:pt x="92769" y="27348"/>
                  </a:lnTo>
                  <a:lnTo>
                    <a:pt x="91473" y="26744"/>
                  </a:lnTo>
                  <a:lnTo>
                    <a:pt x="90860" y="25707"/>
                  </a:lnTo>
                  <a:lnTo>
                    <a:pt x="90931" y="24309"/>
                  </a:lnTo>
                  <a:close/>
                  <a:moveTo>
                    <a:pt x="700" y="0"/>
                  </a:moveTo>
                  <a:lnTo>
                    <a:pt x="1036" y="2835"/>
                  </a:lnTo>
                  <a:lnTo>
                    <a:pt x="520" y="4520"/>
                  </a:lnTo>
                  <a:lnTo>
                    <a:pt x="181" y="5011"/>
                  </a:lnTo>
                  <a:lnTo>
                    <a:pt x="0" y="1369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75" name="ee4p_AU_1_82333">
              <a:extLst>
                <a:ext uri="{FF2B5EF4-FFF2-40B4-BE49-F238E27FC236}">
                  <a16:creationId xmlns:a16="http://schemas.microsoft.com/office/drawing/2014/main" id="{942E6255-F991-C564-8A7F-C8D196096E4E}"/>
                </a:ext>
              </a:extLst>
            </p:cNvPr>
            <p:cNvSpPr>
              <a:spLocks noChangeAspect="1"/>
            </p:cNvSpPr>
            <p:nvPr>
              <p:custDataLst>
                <p:tags r:id="rId3"/>
              </p:custDataLst>
            </p:nvPr>
          </p:nvSpPr>
          <p:spPr>
            <a:xfrm>
              <a:off x="9650088" y="4963459"/>
              <a:ext cx="1130454" cy="1041511"/>
            </a:xfrm>
            <a:custGeom>
              <a:avLst/>
              <a:gdLst>
                <a:gd name="connsiteX0" fmla="*/ 760119 w 900155"/>
                <a:gd name="connsiteY0" fmla="*/ 798187 h 807349"/>
                <a:gd name="connsiteX1" fmla="*/ 760751 w 900155"/>
                <a:gd name="connsiteY1" fmla="*/ 798224 h 807349"/>
                <a:gd name="connsiteX2" fmla="*/ 761414 w 900155"/>
                <a:gd name="connsiteY2" fmla="*/ 799998 h 807349"/>
                <a:gd name="connsiteX3" fmla="*/ 761714 w 900155"/>
                <a:gd name="connsiteY3" fmla="*/ 801361 h 807349"/>
                <a:gd name="connsiteX4" fmla="*/ 760671 w 900155"/>
                <a:gd name="connsiteY4" fmla="*/ 804155 h 807349"/>
                <a:gd name="connsiteX5" fmla="*/ 758959 w 900155"/>
                <a:gd name="connsiteY5" fmla="*/ 803680 h 807349"/>
                <a:gd name="connsiteX6" fmla="*/ 757242 w 900155"/>
                <a:gd name="connsiteY6" fmla="*/ 804140 h 807349"/>
                <a:gd name="connsiteX7" fmla="*/ 756162 w 900155"/>
                <a:gd name="connsiteY7" fmla="*/ 802281 h 807349"/>
                <a:gd name="connsiteX8" fmla="*/ 756156 w 900155"/>
                <a:gd name="connsiteY8" fmla="*/ 801790 h 807349"/>
                <a:gd name="connsiteX9" fmla="*/ 757447 w 900155"/>
                <a:gd name="connsiteY9" fmla="*/ 802258 h 807349"/>
                <a:gd name="connsiteX10" fmla="*/ 757924 w 900155"/>
                <a:gd name="connsiteY10" fmla="*/ 801653 h 807349"/>
                <a:gd name="connsiteX11" fmla="*/ 758230 w 900155"/>
                <a:gd name="connsiteY11" fmla="*/ 800883 h 807349"/>
                <a:gd name="connsiteX12" fmla="*/ 758700 w 900155"/>
                <a:gd name="connsiteY12" fmla="*/ 800673 h 807349"/>
                <a:gd name="connsiteX13" fmla="*/ 759015 w 900155"/>
                <a:gd name="connsiteY13" fmla="*/ 799573 h 807349"/>
                <a:gd name="connsiteX14" fmla="*/ 761636 w 900155"/>
                <a:gd name="connsiteY14" fmla="*/ 792855 h 807349"/>
                <a:gd name="connsiteX15" fmla="*/ 762625 w 900155"/>
                <a:gd name="connsiteY15" fmla="*/ 793874 h 807349"/>
                <a:gd name="connsiteX16" fmla="*/ 763450 w 900155"/>
                <a:gd name="connsiteY16" fmla="*/ 797161 h 807349"/>
                <a:gd name="connsiteX17" fmla="*/ 762064 w 900155"/>
                <a:gd name="connsiteY17" fmla="*/ 797164 h 807349"/>
                <a:gd name="connsiteX18" fmla="*/ 761555 w 900155"/>
                <a:gd name="connsiteY18" fmla="*/ 796938 h 807349"/>
                <a:gd name="connsiteX19" fmla="*/ 761306 w 900155"/>
                <a:gd name="connsiteY19" fmla="*/ 795619 h 807349"/>
                <a:gd name="connsiteX20" fmla="*/ 760388 w 900155"/>
                <a:gd name="connsiteY20" fmla="*/ 795040 h 807349"/>
                <a:gd name="connsiteX21" fmla="*/ 760898 w 900155"/>
                <a:gd name="connsiteY21" fmla="*/ 794599 h 807349"/>
                <a:gd name="connsiteX22" fmla="*/ 761080 w 900155"/>
                <a:gd name="connsiteY22" fmla="*/ 793777 h 807349"/>
                <a:gd name="connsiteX23" fmla="*/ 777558 w 900155"/>
                <a:gd name="connsiteY23" fmla="*/ 779821 h 807349"/>
                <a:gd name="connsiteX24" fmla="*/ 779110 w 900155"/>
                <a:gd name="connsiteY24" fmla="*/ 780428 h 807349"/>
                <a:gd name="connsiteX25" fmla="*/ 779702 w 900155"/>
                <a:gd name="connsiteY25" fmla="*/ 781386 h 807349"/>
                <a:gd name="connsiteX26" fmla="*/ 778178 w 900155"/>
                <a:gd name="connsiteY26" fmla="*/ 782155 h 807349"/>
                <a:gd name="connsiteX27" fmla="*/ 778259 w 900155"/>
                <a:gd name="connsiteY27" fmla="*/ 782954 h 807349"/>
                <a:gd name="connsiteX28" fmla="*/ 777018 w 900155"/>
                <a:gd name="connsiteY28" fmla="*/ 783189 h 807349"/>
                <a:gd name="connsiteX29" fmla="*/ 776610 w 900155"/>
                <a:gd name="connsiteY29" fmla="*/ 783071 h 807349"/>
                <a:gd name="connsiteX30" fmla="*/ 776635 w 900155"/>
                <a:gd name="connsiteY30" fmla="*/ 781696 h 807349"/>
                <a:gd name="connsiteX31" fmla="*/ 776456 w 900155"/>
                <a:gd name="connsiteY31" fmla="*/ 781083 h 807349"/>
                <a:gd name="connsiteX32" fmla="*/ 703393 w 900155"/>
                <a:gd name="connsiteY32" fmla="*/ 728995 h 807349"/>
                <a:gd name="connsiteX33" fmla="*/ 705605 w 900155"/>
                <a:gd name="connsiteY33" fmla="*/ 730292 h 807349"/>
                <a:gd name="connsiteX34" fmla="*/ 710567 w 900155"/>
                <a:gd name="connsiteY34" fmla="*/ 731999 h 807349"/>
                <a:gd name="connsiteX35" fmla="*/ 713126 w 900155"/>
                <a:gd name="connsiteY35" fmla="*/ 732101 h 807349"/>
                <a:gd name="connsiteX36" fmla="*/ 714577 w 900155"/>
                <a:gd name="connsiteY36" fmla="*/ 731432 h 807349"/>
                <a:gd name="connsiteX37" fmla="*/ 715875 w 900155"/>
                <a:gd name="connsiteY37" fmla="*/ 731558 h 807349"/>
                <a:gd name="connsiteX38" fmla="*/ 717344 w 900155"/>
                <a:gd name="connsiteY38" fmla="*/ 733040 h 807349"/>
                <a:gd name="connsiteX39" fmla="*/ 719112 w 900155"/>
                <a:gd name="connsiteY39" fmla="*/ 733876 h 807349"/>
                <a:gd name="connsiteX40" fmla="*/ 720344 w 900155"/>
                <a:gd name="connsiteY40" fmla="*/ 733723 h 807349"/>
                <a:gd name="connsiteX41" fmla="*/ 721414 w 900155"/>
                <a:gd name="connsiteY41" fmla="*/ 734028 h 807349"/>
                <a:gd name="connsiteX42" fmla="*/ 722364 w 900155"/>
                <a:gd name="connsiteY42" fmla="*/ 735083 h 807349"/>
                <a:gd name="connsiteX43" fmla="*/ 724787 w 900155"/>
                <a:gd name="connsiteY43" fmla="*/ 736001 h 807349"/>
                <a:gd name="connsiteX44" fmla="*/ 725842 w 900155"/>
                <a:gd name="connsiteY44" fmla="*/ 736605 h 807349"/>
                <a:gd name="connsiteX45" fmla="*/ 726762 w 900155"/>
                <a:gd name="connsiteY45" fmla="*/ 737530 h 807349"/>
                <a:gd name="connsiteX46" fmla="*/ 727782 w 900155"/>
                <a:gd name="connsiteY46" fmla="*/ 738251 h 807349"/>
                <a:gd name="connsiteX47" fmla="*/ 734187 w 900155"/>
                <a:gd name="connsiteY47" fmla="*/ 740712 h 807349"/>
                <a:gd name="connsiteX48" fmla="*/ 738749 w 900155"/>
                <a:gd name="connsiteY48" fmla="*/ 741908 h 807349"/>
                <a:gd name="connsiteX49" fmla="*/ 744430 w 900155"/>
                <a:gd name="connsiteY49" fmla="*/ 741352 h 807349"/>
                <a:gd name="connsiteX50" fmla="*/ 746115 w 900155"/>
                <a:gd name="connsiteY50" fmla="*/ 740663 h 807349"/>
                <a:gd name="connsiteX51" fmla="*/ 747726 w 900155"/>
                <a:gd name="connsiteY51" fmla="*/ 739657 h 807349"/>
                <a:gd name="connsiteX52" fmla="*/ 749110 w 900155"/>
                <a:gd name="connsiteY52" fmla="*/ 740596 h 807349"/>
                <a:gd name="connsiteX53" fmla="*/ 750484 w 900155"/>
                <a:gd name="connsiteY53" fmla="*/ 742029 h 807349"/>
                <a:gd name="connsiteX54" fmla="*/ 750215 w 900155"/>
                <a:gd name="connsiteY54" fmla="*/ 740483 h 807349"/>
                <a:gd name="connsiteX55" fmla="*/ 750671 w 900155"/>
                <a:gd name="connsiteY55" fmla="*/ 739138 h 807349"/>
                <a:gd name="connsiteX56" fmla="*/ 752059 w 900155"/>
                <a:gd name="connsiteY56" fmla="*/ 738072 h 807349"/>
                <a:gd name="connsiteX57" fmla="*/ 753617 w 900155"/>
                <a:gd name="connsiteY57" fmla="*/ 737404 h 807349"/>
                <a:gd name="connsiteX58" fmla="*/ 756180 w 900155"/>
                <a:gd name="connsiteY58" fmla="*/ 737453 h 807349"/>
                <a:gd name="connsiteX59" fmla="*/ 758680 w 900155"/>
                <a:gd name="connsiteY59" fmla="*/ 737167 h 807349"/>
                <a:gd name="connsiteX60" fmla="*/ 759788 w 900155"/>
                <a:gd name="connsiteY60" fmla="*/ 736546 h 807349"/>
                <a:gd name="connsiteX61" fmla="*/ 760929 w 900155"/>
                <a:gd name="connsiteY61" fmla="*/ 736458 h 807349"/>
                <a:gd name="connsiteX62" fmla="*/ 762414 w 900155"/>
                <a:gd name="connsiteY62" fmla="*/ 737224 h 807349"/>
                <a:gd name="connsiteX63" fmla="*/ 763897 w 900155"/>
                <a:gd name="connsiteY63" fmla="*/ 737648 h 807349"/>
                <a:gd name="connsiteX64" fmla="*/ 764914 w 900155"/>
                <a:gd name="connsiteY64" fmla="*/ 736662 h 807349"/>
                <a:gd name="connsiteX65" fmla="*/ 766651 w 900155"/>
                <a:gd name="connsiteY65" fmla="*/ 734333 h 807349"/>
                <a:gd name="connsiteX66" fmla="*/ 767588 w 900155"/>
                <a:gd name="connsiteY66" fmla="*/ 733522 h 807349"/>
                <a:gd name="connsiteX67" fmla="*/ 771922 w 900155"/>
                <a:gd name="connsiteY67" fmla="*/ 734230 h 807349"/>
                <a:gd name="connsiteX68" fmla="*/ 773144 w 900155"/>
                <a:gd name="connsiteY68" fmla="*/ 734254 h 807349"/>
                <a:gd name="connsiteX69" fmla="*/ 775263 w 900155"/>
                <a:gd name="connsiteY69" fmla="*/ 731812 h 807349"/>
                <a:gd name="connsiteX70" fmla="*/ 776679 w 900155"/>
                <a:gd name="connsiteY70" fmla="*/ 731847 h 807349"/>
                <a:gd name="connsiteX71" fmla="*/ 780713 w 900155"/>
                <a:gd name="connsiteY71" fmla="*/ 733789 h 807349"/>
                <a:gd name="connsiteX72" fmla="*/ 782430 w 900155"/>
                <a:gd name="connsiteY72" fmla="*/ 736212 h 807349"/>
                <a:gd name="connsiteX73" fmla="*/ 782265 w 900155"/>
                <a:gd name="connsiteY73" fmla="*/ 740640 h 807349"/>
                <a:gd name="connsiteX74" fmla="*/ 782401 w 900155"/>
                <a:gd name="connsiteY74" fmla="*/ 742201 h 807349"/>
                <a:gd name="connsiteX75" fmla="*/ 782725 w 900155"/>
                <a:gd name="connsiteY75" fmla="*/ 743742 h 807349"/>
                <a:gd name="connsiteX76" fmla="*/ 782858 w 900155"/>
                <a:gd name="connsiteY76" fmla="*/ 746818 h 807349"/>
                <a:gd name="connsiteX77" fmla="*/ 782362 w 900155"/>
                <a:gd name="connsiteY77" fmla="*/ 749863 h 807349"/>
                <a:gd name="connsiteX78" fmla="*/ 782298 w 900155"/>
                <a:gd name="connsiteY78" fmla="*/ 752240 h 807349"/>
                <a:gd name="connsiteX79" fmla="*/ 782512 w 900155"/>
                <a:gd name="connsiteY79" fmla="*/ 754653 h 807349"/>
                <a:gd name="connsiteX80" fmla="*/ 782313 w 900155"/>
                <a:gd name="connsiteY80" fmla="*/ 759142 h 807349"/>
                <a:gd name="connsiteX81" fmla="*/ 782934 w 900155"/>
                <a:gd name="connsiteY81" fmla="*/ 762112 h 807349"/>
                <a:gd name="connsiteX82" fmla="*/ 782624 w 900155"/>
                <a:gd name="connsiteY82" fmla="*/ 764142 h 807349"/>
                <a:gd name="connsiteX83" fmla="*/ 782620 w 900155"/>
                <a:gd name="connsiteY83" fmla="*/ 765091 h 807349"/>
                <a:gd name="connsiteX84" fmla="*/ 783207 w 900155"/>
                <a:gd name="connsiteY84" fmla="*/ 765988 h 807349"/>
                <a:gd name="connsiteX85" fmla="*/ 783489 w 900155"/>
                <a:gd name="connsiteY85" fmla="*/ 766982 h 807349"/>
                <a:gd name="connsiteX86" fmla="*/ 783274 w 900155"/>
                <a:gd name="connsiteY86" fmla="*/ 768259 h 807349"/>
                <a:gd name="connsiteX87" fmla="*/ 783528 w 900155"/>
                <a:gd name="connsiteY87" fmla="*/ 769753 h 807349"/>
                <a:gd name="connsiteX88" fmla="*/ 783278 w 900155"/>
                <a:gd name="connsiteY88" fmla="*/ 770984 h 807349"/>
                <a:gd name="connsiteX89" fmla="*/ 782373 w 900155"/>
                <a:gd name="connsiteY89" fmla="*/ 770808 h 807349"/>
                <a:gd name="connsiteX90" fmla="*/ 782077 w 900155"/>
                <a:gd name="connsiteY90" fmla="*/ 769861 h 807349"/>
                <a:gd name="connsiteX91" fmla="*/ 782246 w 900155"/>
                <a:gd name="connsiteY91" fmla="*/ 768638 h 807349"/>
                <a:gd name="connsiteX92" fmla="*/ 782082 w 900155"/>
                <a:gd name="connsiteY92" fmla="*/ 767654 h 807349"/>
                <a:gd name="connsiteX93" fmla="*/ 781609 w 900155"/>
                <a:gd name="connsiteY93" fmla="*/ 766756 h 807349"/>
                <a:gd name="connsiteX94" fmla="*/ 780002 w 900155"/>
                <a:gd name="connsiteY94" fmla="*/ 765750 h 807349"/>
                <a:gd name="connsiteX95" fmla="*/ 780473 w 900155"/>
                <a:gd name="connsiteY95" fmla="*/ 765145 h 807349"/>
                <a:gd name="connsiteX96" fmla="*/ 781296 w 900155"/>
                <a:gd name="connsiteY96" fmla="*/ 764611 h 807349"/>
                <a:gd name="connsiteX97" fmla="*/ 780678 w 900155"/>
                <a:gd name="connsiteY97" fmla="*/ 763234 h 807349"/>
                <a:gd name="connsiteX98" fmla="*/ 779650 w 900155"/>
                <a:gd name="connsiteY98" fmla="*/ 764357 h 807349"/>
                <a:gd name="connsiteX99" fmla="*/ 779076 w 900155"/>
                <a:gd name="connsiteY99" fmla="*/ 765885 h 807349"/>
                <a:gd name="connsiteX100" fmla="*/ 779409 w 900155"/>
                <a:gd name="connsiteY100" fmla="*/ 766375 h 807349"/>
                <a:gd name="connsiteX101" fmla="*/ 778773 w 900155"/>
                <a:gd name="connsiteY101" fmla="*/ 766785 h 807349"/>
                <a:gd name="connsiteX102" fmla="*/ 777426 w 900155"/>
                <a:gd name="connsiteY102" fmla="*/ 768555 h 807349"/>
                <a:gd name="connsiteX103" fmla="*/ 776456 w 900155"/>
                <a:gd name="connsiteY103" fmla="*/ 770927 h 807349"/>
                <a:gd name="connsiteX104" fmla="*/ 776061 w 900155"/>
                <a:gd name="connsiteY104" fmla="*/ 773207 h 807349"/>
                <a:gd name="connsiteX105" fmla="*/ 776160 w 900155"/>
                <a:gd name="connsiteY105" fmla="*/ 775627 h 807349"/>
                <a:gd name="connsiteX106" fmla="*/ 775368 w 900155"/>
                <a:gd name="connsiteY106" fmla="*/ 777491 h 807349"/>
                <a:gd name="connsiteX107" fmla="*/ 774282 w 900155"/>
                <a:gd name="connsiteY107" fmla="*/ 779268 h 807349"/>
                <a:gd name="connsiteX108" fmla="*/ 774010 w 900155"/>
                <a:gd name="connsiteY108" fmla="*/ 781566 h 807349"/>
                <a:gd name="connsiteX109" fmla="*/ 774075 w 900155"/>
                <a:gd name="connsiteY109" fmla="*/ 785787 h 807349"/>
                <a:gd name="connsiteX110" fmla="*/ 775018 w 900155"/>
                <a:gd name="connsiteY110" fmla="*/ 789643 h 807349"/>
                <a:gd name="connsiteX111" fmla="*/ 775530 w 900155"/>
                <a:gd name="connsiteY111" fmla="*/ 794914 h 807349"/>
                <a:gd name="connsiteX112" fmla="*/ 774746 w 900155"/>
                <a:gd name="connsiteY112" fmla="*/ 795580 h 807349"/>
                <a:gd name="connsiteX113" fmla="*/ 772384 w 900155"/>
                <a:gd name="connsiteY113" fmla="*/ 795937 h 807349"/>
                <a:gd name="connsiteX114" fmla="*/ 771218 w 900155"/>
                <a:gd name="connsiteY114" fmla="*/ 796605 h 807349"/>
                <a:gd name="connsiteX115" fmla="*/ 769296 w 900155"/>
                <a:gd name="connsiteY115" fmla="*/ 793989 h 807349"/>
                <a:gd name="connsiteX116" fmla="*/ 768168 w 900155"/>
                <a:gd name="connsiteY116" fmla="*/ 791255 h 807349"/>
                <a:gd name="connsiteX117" fmla="*/ 769039 w 900155"/>
                <a:gd name="connsiteY117" fmla="*/ 790164 h 807349"/>
                <a:gd name="connsiteX118" fmla="*/ 770954 w 900155"/>
                <a:gd name="connsiteY118" fmla="*/ 790794 h 807349"/>
                <a:gd name="connsiteX119" fmla="*/ 771540 w 900155"/>
                <a:gd name="connsiteY119" fmla="*/ 790174 h 807349"/>
                <a:gd name="connsiteX120" fmla="*/ 771695 w 900155"/>
                <a:gd name="connsiteY120" fmla="*/ 789473 h 807349"/>
                <a:gd name="connsiteX121" fmla="*/ 771531 w 900155"/>
                <a:gd name="connsiteY121" fmla="*/ 788777 h 807349"/>
                <a:gd name="connsiteX122" fmla="*/ 769175 w 900155"/>
                <a:gd name="connsiteY122" fmla="*/ 787274 h 807349"/>
                <a:gd name="connsiteX123" fmla="*/ 766530 w 900155"/>
                <a:gd name="connsiteY123" fmla="*/ 786571 h 807349"/>
                <a:gd name="connsiteX124" fmla="*/ 765690 w 900155"/>
                <a:gd name="connsiteY124" fmla="*/ 787436 h 807349"/>
                <a:gd name="connsiteX125" fmla="*/ 765981 w 900155"/>
                <a:gd name="connsiteY125" fmla="*/ 790020 h 807349"/>
                <a:gd name="connsiteX126" fmla="*/ 765709 w 900155"/>
                <a:gd name="connsiteY126" fmla="*/ 790608 h 807349"/>
                <a:gd name="connsiteX127" fmla="*/ 763844 w 900155"/>
                <a:gd name="connsiteY127" fmla="*/ 791598 h 807349"/>
                <a:gd name="connsiteX128" fmla="*/ 762863 w 900155"/>
                <a:gd name="connsiteY128" fmla="*/ 787859 h 807349"/>
                <a:gd name="connsiteX129" fmla="*/ 760429 w 900155"/>
                <a:gd name="connsiteY129" fmla="*/ 785105 h 807349"/>
                <a:gd name="connsiteX130" fmla="*/ 760518 w 900155"/>
                <a:gd name="connsiteY130" fmla="*/ 786432 h 807349"/>
                <a:gd name="connsiteX131" fmla="*/ 761529 w 900155"/>
                <a:gd name="connsiteY131" fmla="*/ 788735 h 807349"/>
                <a:gd name="connsiteX132" fmla="*/ 761419 w 900155"/>
                <a:gd name="connsiteY132" fmla="*/ 789750 h 807349"/>
                <a:gd name="connsiteX133" fmla="*/ 761028 w 900155"/>
                <a:gd name="connsiteY133" fmla="*/ 791064 h 807349"/>
                <a:gd name="connsiteX134" fmla="*/ 760050 w 900155"/>
                <a:gd name="connsiteY134" fmla="*/ 791553 h 807349"/>
                <a:gd name="connsiteX135" fmla="*/ 759585 w 900155"/>
                <a:gd name="connsiteY135" fmla="*/ 792609 h 807349"/>
                <a:gd name="connsiteX136" fmla="*/ 759585 w 900155"/>
                <a:gd name="connsiteY136" fmla="*/ 794094 h 807349"/>
                <a:gd name="connsiteX137" fmla="*/ 759259 w 900155"/>
                <a:gd name="connsiteY137" fmla="*/ 796495 h 807349"/>
                <a:gd name="connsiteX138" fmla="*/ 757663 w 900155"/>
                <a:gd name="connsiteY138" fmla="*/ 797568 h 807349"/>
                <a:gd name="connsiteX139" fmla="*/ 753775 w 900155"/>
                <a:gd name="connsiteY139" fmla="*/ 794896 h 807349"/>
                <a:gd name="connsiteX140" fmla="*/ 753507 w 900155"/>
                <a:gd name="connsiteY140" fmla="*/ 795795 h 807349"/>
                <a:gd name="connsiteX141" fmla="*/ 753565 w 900155"/>
                <a:gd name="connsiteY141" fmla="*/ 796571 h 807349"/>
                <a:gd name="connsiteX142" fmla="*/ 755551 w 900155"/>
                <a:gd name="connsiteY142" fmla="*/ 798105 h 807349"/>
                <a:gd name="connsiteX143" fmla="*/ 754636 w 900155"/>
                <a:gd name="connsiteY143" fmla="*/ 799266 h 807349"/>
                <a:gd name="connsiteX144" fmla="*/ 753945 w 900155"/>
                <a:gd name="connsiteY144" fmla="*/ 800626 h 807349"/>
                <a:gd name="connsiteX145" fmla="*/ 752839 w 900155"/>
                <a:gd name="connsiteY145" fmla="*/ 804200 h 807349"/>
                <a:gd name="connsiteX146" fmla="*/ 751053 w 900155"/>
                <a:gd name="connsiteY146" fmla="*/ 807165 h 807349"/>
                <a:gd name="connsiteX147" fmla="*/ 750177 w 900155"/>
                <a:gd name="connsiteY147" fmla="*/ 807349 h 807349"/>
                <a:gd name="connsiteX148" fmla="*/ 747190 w 900155"/>
                <a:gd name="connsiteY148" fmla="*/ 806881 h 807349"/>
                <a:gd name="connsiteX149" fmla="*/ 743858 w 900155"/>
                <a:gd name="connsiteY149" fmla="*/ 804374 h 807349"/>
                <a:gd name="connsiteX150" fmla="*/ 740866 w 900155"/>
                <a:gd name="connsiteY150" fmla="*/ 804660 h 807349"/>
                <a:gd name="connsiteX151" fmla="*/ 735858 w 900155"/>
                <a:gd name="connsiteY151" fmla="*/ 804479 h 807349"/>
                <a:gd name="connsiteX152" fmla="*/ 732684 w 900155"/>
                <a:gd name="connsiteY152" fmla="*/ 805405 h 807349"/>
                <a:gd name="connsiteX153" fmla="*/ 732019 w 900155"/>
                <a:gd name="connsiteY153" fmla="*/ 802649 h 807349"/>
                <a:gd name="connsiteX154" fmla="*/ 731325 w 900155"/>
                <a:gd name="connsiteY154" fmla="*/ 801669 h 807349"/>
                <a:gd name="connsiteX155" fmla="*/ 731606 w 900155"/>
                <a:gd name="connsiteY155" fmla="*/ 800799 h 807349"/>
                <a:gd name="connsiteX156" fmla="*/ 734135 w 900155"/>
                <a:gd name="connsiteY156" fmla="*/ 800216 h 807349"/>
                <a:gd name="connsiteX157" fmla="*/ 736735 w 900155"/>
                <a:gd name="connsiteY157" fmla="*/ 800240 h 807349"/>
                <a:gd name="connsiteX158" fmla="*/ 736329 w 900155"/>
                <a:gd name="connsiteY158" fmla="*/ 799189 h 807349"/>
                <a:gd name="connsiteX159" fmla="*/ 735631 w 900155"/>
                <a:gd name="connsiteY159" fmla="*/ 798801 h 807349"/>
                <a:gd name="connsiteX160" fmla="*/ 734495 w 900155"/>
                <a:gd name="connsiteY160" fmla="*/ 799056 h 807349"/>
                <a:gd name="connsiteX161" fmla="*/ 731183 w 900155"/>
                <a:gd name="connsiteY161" fmla="*/ 798140 h 807349"/>
                <a:gd name="connsiteX162" fmla="*/ 728927 w 900155"/>
                <a:gd name="connsiteY162" fmla="*/ 798549 h 807349"/>
                <a:gd name="connsiteX163" fmla="*/ 727367 w 900155"/>
                <a:gd name="connsiteY163" fmla="*/ 797250 h 807349"/>
                <a:gd name="connsiteX164" fmla="*/ 724687 w 900155"/>
                <a:gd name="connsiteY164" fmla="*/ 792740 h 807349"/>
                <a:gd name="connsiteX165" fmla="*/ 723105 w 900155"/>
                <a:gd name="connsiteY165" fmla="*/ 790656 h 807349"/>
                <a:gd name="connsiteX166" fmla="*/ 722163 w 900155"/>
                <a:gd name="connsiteY166" fmla="*/ 789844 h 807349"/>
                <a:gd name="connsiteX167" fmla="*/ 721062 w 900155"/>
                <a:gd name="connsiteY167" fmla="*/ 789400 h 807349"/>
                <a:gd name="connsiteX168" fmla="*/ 720399 w 900155"/>
                <a:gd name="connsiteY168" fmla="*/ 788738 h 807349"/>
                <a:gd name="connsiteX169" fmla="*/ 715546 w 900155"/>
                <a:gd name="connsiteY169" fmla="*/ 778518 h 807349"/>
                <a:gd name="connsiteX170" fmla="*/ 714860 w 900155"/>
                <a:gd name="connsiteY170" fmla="*/ 776150 h 807349"/>
                <a:gd name="connsiteX171" fmla="*/ 714014 w 900155"/>
                <a:gd name="connsiteY171" fmla="*/ 770165 h 807349"/>
                <a:gd name="connsiteX172" fmla="*/ 717864 w 900155"/>
                <a:gd name="connsiteY172" fmla="*/ 773030 h 807349"/>
                <a:gd name="connsiteX173" fmla="*/ 719233 w 900155"/>
                <a:gd name="connsiteY173" fmla="*/ 774843 h 807349"/>
                <a:gd name="connsiteX174" fmla="*/ 719971 w 900155"/>
                <a:gd name="connsiteY174" fmla="*/ 777145 h 807349"/>
                <a:gd name="connsiteX175" fmla="*/ 721275 w 900155"/>
                <a:gd name="connsiteY175" fmla="*/ 774354 h 807349"/>
                <a:gd name="connsiteX176" fmla="*/ 721040 w 900155"/>
                <a:gd name="connsiteY176" fmla="*/ 773457 h 807349"/>
                <a:gd name="connsiteX177" fmla="*/ 717585 w 900155"/>
                <a:gd name="connsiteY177" fmla="*/ 770077 h 807349"/>
                <a:gd name="connsiteX178" fmla="*/ 717127 w 900155"/>
                <a:gd name="connsiteY178" fmla="*/ 769098 h 807349"/>
                <a:gd name="connsiteX179" fmla="*/ 716938 w 900155"/>
                <a:gd name="connsiteY179" fmla="*/ 767937 h 807349"/>
                <a:gd name="connsiteX180" fmla="*/ 716127 w 900155"/>
                <a:gd name="connsiteY180" fmla="*/ 769106 h 807349"/>
                <a:gd name="connsiteX181" fmla="*/ 714811 w 900155"/>
                <a:gd name="connsiteY181" fmla="*/ 769264 h 807349"/>
                <a:gd name="connsiteX182" fmla="*/ 715344 w 900155"/>
                <a:gd name="connsiteY182" fmla="*/ 766881 h 807349"/>
                <a:gd name="connsiteX183" fmla="*/ 714884 w 900155"/>
                <a:gd name="connsiteY183" fmla="*/ 764551 h 807349"/>
                <a:gd name="connsiteX184" fmla="*/ 710842 w 900155"/>
                <a:gd name="connsiteY184" fmla="*/ 759435 h 807349"/>
                <a:gd name="connsiteX185" fmla="*/ 707749 w 900155"/>
                <a:gd name="connsiteY185" fmla="*/ 754596 h 807349"/>
                <a:gd name="connsiteX186" fmla="*/ 704706 w 900155"/>
                <a:gd name="connsiteY186" fmla="*/ 748643 h 807349"/>
                <a:gd name="connsiteX187" fmla="*/ 704445 w 900155"/>
                <a:gd name="connsiteY187" fmla="*/ 747883 h 807349"/>
                <a:gd name="connsiteX188" fmla="*/ 704406 w 900155"/>
                <a:gd name="connsiteY188" fmla="*/ 746602 h 807349"/>
                <a:gd name="connsiteX189" fmla="*/ 702934 w 900155"/>
                <a:gd name="connsiteY189" fmla="*/ 742626 h 807349"/>
                <a:gd name="connsiteX190" fmla="*/ 702152 w 900155"/>
                <a:gd name="connsiteY190" fmla="*/ 739681 h 807349"/>
                <a:gd name="connsiteX191" fmla="*/ 701791 w 900155"/>
                <a:gd name="connsiteY191" fmla="*/ 737101 h 807349"/>
                <a:gd name="connsiteX192" fmla="*/ 703197 w 900155"/>
                <a:gd name="connsiteY192" fmla="*/ 731899 h 807349"/>
                <a:gd name="connsiteX193" fmla="*/ 780224 w 900155"/>
                <a:gd name="connsiteY193" fmla="*/ 724562 h 807349"/>
                <a:gd name="connsiteX194" fmla="*/ 780782 w 900155"/>
                <a:gd name="connsiteY194" fmla="*/ 724613 h 807349"/>
                <a:gd name="connsiteX195" fmla="*/ 781192 w 900155"/>
                <a:gd name="connsiteY195" fmla="*/ 724877 h 807349"/>
                <a:gd name="connsiteX196" fmla="*/ 780106 w 900155"/>
                <a:gd name="connsiteY196" fmla="*/ 726906 h 807349"/>
                <a:gd name="connsiteX197" fmla="*/ 778761 w 900155"/>
                <a:gd name="connsiteY197" fmla="*/ 725632 h 807349"/>
                <a:gd name="connsiteX198" fmla="*/ 778547 w 900155"/>
                <a:gd name="connsiteY198" fmla="*/ 725043 h 807349"/>
                <a:gd name="connsiteX199" fmla="*/ 704827 w 900155"/>
                <a:gd name="connsiteY199" fmla="*/ 722775 h 807349"/>
                <a:gd name="connsiteX200" fmla="*/ 704992 w 900155"/>
                <a:gd name="connsiteY200" fmla="*/ 722918 h 807349"/>
                <a:gd name="connsiteX201" fmla="*/ 704849 w 900155"/>
                <a:gd name="connsiteY201" fmla="*/ 724657 h 807349"/>
                <a:gd name="connsiteX202" fmla="*/ 704046 w 900155"/>
                <a:gd name="connsiteY202" fmla="*/ 726824 h 807349"/>
                <a:gd name="connsiteX203" fmla="*/ 703208 w 900155"/>
                <a:gd name="connsiteY203" fmla="*/ 724094 h 807349"/>
                <a:gd name="connsiteX204" fmla="*/ 704115 w 900155"/>
                <a:gd name="connsiteY204" fmla="*/ 723700 h 807349"/>
                <a:gd name="connsiteX205" fmla="*/ 783168 w 900155"/>
                <a:gd name="connsiteY205" fmla="*/ 719428 h 807349"/>
                <a:gd name="connsiteX206" fmla="*/ 785256 w 900155"/>
                <a:gd name="connsiteY206" fmla="*/ 721004 h 807349"/>
                <a:gd name="connsiteX207" fmla="*/ 786439 w 900155"/>
                <a:gd name="connsiteY207" fmla="*/ 722711 h 807349"/>
                <a:gd name="connsiteX208" fmla="*/ 784887 w 900155"/>
                <a:gd name="connsiteY208" fmla="*/ 724127 h 807349"/>
                <a:gd name="connsiteX209" fmla="*/ 783753 w 900155"/>
                <a:gd name="connsiteY209" fmla="*/ 724409 h 807349"/>
                <a:gd name="connsiteX210" fmla="*/ 783016 w 900155"/>
                <a:gd name="connsiteY210" fmla="*/ 722767 h 807349"/>
                <a:gd name="connsiteX211" fmla="*/ 780687 w 900155"/>
                <a:gd name="connsiteY211" fmla="*/ 723368 h 807349"/>
                <a:gd name="connsiteX212" fmla="*/ 778221 w 900155"/>
                <a:gd name="connsiteY212" fmla="*/ 723215 h 807349"/>
                <a:gd name="connsiteX213" fmla="*/ 776398 w 900155"/>
                <a:gd name="connsiteY213" fmla="*/ 721973 h 807349"/>
                <a:gd name="connsiteX214" fmla="*/ 776184 w 900155"/>
                <a:gd name="connsiteY214" fmla="*/ 721354 h 807349"/>
                <a:gd name="connsiteX215" fmla="*/ 777253 w 900155"/>
                <a:gd name="connsiteY215" fmla="*/ 720733 h 807349"/>
                <a:gd name="connsiteX216" fmla="*/ 780335 w 900155"/>
                <a:gd name="connsiteY216" fmla="*/ 720761 h 807349"/>
                <a:gd name="connsiteX217" fmla="*/ 774472 w 900155"/>
                <a:gd name="connsiteY217" fmla="*/ 704278 h 807349"/>
                <a:gd name="connsiteX218" fmla="*/ 775962 w 900155"/>
                <a:gd name="connsiteY218" fmla="*/ 705101 h 807349"/>
                <a:gd name="connsiteX219" fmla="*/ 779888 w 900155"/>
                <a:gd name="connsiteY219" fmla="*/ 709811 h 807349"/>
                <a:gd name="connsiteX220" fmla="*/ 781924 w 900155"/>
                <a:gd name="connsiteY220" fmla="*/ 710546 h 807349"/>
                <a:gd name="connsiteX221" fmla="*/ 782529 w 900155"/>
                <a:gd name="connsiteY221" fmla="*/ 711043 h 807349"/>
                <a:gd name="connsiteX222" fmla="*/ 782362 w 900155"/>
                <a:gd name="connsiteY222" fmla="*/ 713121 h 807349"/>
                <a:gd name="connsiteX223" fmla="*/ 781499 w 900155"/>
                <a:gd name="connsiteY223" fmla="*/ 714011 h 807349"/>
                <a:gd name="connsiteX224" fmla="*/ 783101 w 900155"/>
                <a:gd name="connsiteY224" fmla="*/ 715183 h 807349"/>
                <a:gd name="connsiteX225" fmla="*/ 782887 w 900155"/>
                <a:gd name="connsiteY225" fmla="*/ 715943 h 807349"/>
                <a:gd name="connsiteX226" fmla="*/ 782574 w 900155"/>
                <a:gd name="connsiteY226" fmla="*/ 715915 h 807349"/>
                <a:gd name="connsiteX227" fmla="*/ 780605 w 900155"/>
                <a:gd name="connsiteY227" fmla="*/ 717514 h 807349"/>
                <a:gd name="connsiteX228" fmla="*/ 778290 w 900155"/>
                <a:gd name="connsiteY228" fmla="*/ 718257 h 807349"/>
                <a:gd name="connsiteX229" fmla="*/ 777582 w 900155"/>
                <a:gd name="connsiteY229" fmla="*/ 717701 h 807349"/>
                <a:gd name="connsiteX230" fmla="*/ 776990 w 900155"/>
                <a:gd name="connsiteY230" fmla="*/ 716968 h 807349"/>
                <a:gd name="connsiteX231" fmla="*/ 776502 w 900155"/>
                <a:gd name="connsiteY231" fmla="*/ 715902 h 807349"/>
                <a:gd name="connsiteX232" fmla="*/ 773533 w 900155"/>
                <a:gd name="connsiteY232" fmla="*/ 711794 h 807349"/>
                <a:gd name="connsiteX233" fmla="*/ 773874 w 900155"/>
                <a:gd name="connsiteY233" fmla="*/ 710669 h 807349"/>
                <a:gd name="connsiteX234" fmla="*/ 773218 w 900155"/>
                <a:gd name="connsiteY234" fmla="*/ 708951 h 807349"/>
                <a:gd name="connsiteX235" fmla="*/ 771803 w 900155"/>
                <a:gd name="connsiteY235" fmla="*/ 709081 h 807349"/>
                <a:gd name="connsiteX236" fmla="*/ 770806 w 900155"/>
                <a:gd name="connsiteY236" fmla="*/ 708035 h 807349"/>
                <a:gd name="connsiteX237" fmla="*/ 772397 w 900155"/>
                <a:gd name="connsiteY237" fmla="*/ 707026 h 807349"/>
                <a:gd name="connsiteX238" fmla="*/ 687522 w 900155"/>
                <a:gd name="connsiteY238" fmla="*/ 700488 h 807349"/>
                <a:gd name="connsiteX239" fmla="*/ 689524 w 900155"/>
                <a:gd name="connsiteY239" fmla="*/ 701993 h 807349"/>
                <a:gd name="connsiteX240" fmla="*/ 690178 w 900155"/>
                <a:gd name="connsiteY240" fmla="*/ 705821 h 807349"/>
                <a:gd name="connsiteX241" fmla="*/ 689850 w 900155"/>
                <a:gd name="connsiteY241" fmla="*/ 708132 h 807349"/>
                <a:gd name="connsiteX242" fmla="*/ 690623 w 900155"/>
                <a:gd name="connsiteY242" fmla="*/ 710210 h 807349"/>
                <a:gd name="connsiteX243" fmla="*/ 689979 w 900155"/>
                <a:gd name="connsiteY243" fmla="*/ 711990 h 807349"/>
                <a:gd name="connsiteX244" fmla="*/ 688280 w 900155"/>
                <a:gd name="connsiteY244" fmla="*/ 713455 h 807349"/>
                <a:gd name="connsiteX245" fmla="*/ 685911 w 900155"/>
                <a:gd name="connsiteY245" fmla="*/ 714444 h 807349"/>
                <a:gd name="connsiteX246" fmla="*/ 685266 w 900155"/>
                <a:gd name="connsiteY246" fmla="*/ 714551 h 807349"/>
                <a:gd name="connsiteX247" fmla="*/ 684758 w 900155"/>
                <a:gd name="connsiteY247" fmla="*/ 713083 h 807349"/>
                <a:gd name="connsiteX248" fmla="*/ 685019 w 900155"/>
                <a:gd name="connsiteY248" fmla="*/ 710987 h 807349"/>
                <a:gd name="connsiteX249" fmla="*/ 683936 w 900155"/>
                <a:gd name="connsiteY249" fmla="*/ 708915 h 807349"/>
                <a:gd name="connsiteX250" fmla="*/ 684525 w 900155"/>
                <a:gd name="connsiteY250" fmla="*/ 706835 h 807349"/>
                <a:gd name="connsiteX251" fmla="*/ 684450 w 900155"/>
                <a:gd name="connsiteY251" fmla="*/ 704591 h 807349"/>
                <a:gd name="connsiteX252" fmla="*/ 684838 w 900155"/>
                <a:gd name="connsiteY252" fmla="*/ 703603 h 807349"/>
                <a:gd name="connsiteX253" fmla="*/ 686164 w 900155"/>
                <a:gd name="connsiteY253" fmla="*/ 702513 h 807349"/>
                <a:gd name="connsiteX254" fmla="*/ 686373 w 900155"/>
                <a:gd name="connsiteY254" fmla="*/ 700579 h 807349"/>
                <a:gd name="connsiteX255" fmla="*/ 714432 w 900155"/>
                <a:gd name="connsiteY255" fmla="*/ 671489 h 807349"/>
                <a:gd name="connsiteX256" fmla="*/ 715983 w 900155"/>
                <a:gd name="connsiteY256" fmla="*/ 671838 h 807349"/>
                <a:gd name="connsiteX257" fmla="*/ 716570 w 900155"/>
                <a:gd name="connsiteY257" fmla="*/ 672318 h 807349"/>
                <a:gd name="connsiteX258" fmla="*/ 717339 w 900155"/>
                <a:gd name="connsiteY258" fmla="*/ 673537 h 807349"/>
                <a:gd name="connsiteX259" fmla="*/ 717468 w 900155"/>
                <a:gd name="connsiteY259" fmla="*/ 674023 h 807349"/>
                <a:gd name="connsiteX260" fmla="*/ 715607 w 900155"/>
                <a:gd name="connsiteY260" fmla="*/ 673062 h 807349"/>
                <a:gd name="connsiteX261" fmla="*/ 712456 w 900155"/>
                <a:gd name="connsiteY261" fmla="*/ 673266 h 807349"/>
                <a:gd name="connsiteX262" fmla="*/ 719049 w 900155"/>
                <a:gd name="connsiteY262" fmla="*/ 667774 h 807349"/>
                <a:gd name="connsiteX263" fmla="*/ 720375 w 900155"/>
                <a:gd name="connsiteY263" fmla="*/ 668821 h 807349"/>
                <a:gd name="connsiteX264" fmla="*/ 717044 w 900155"/>
                <a:gd name="connsiteY264" fmla="*/ 670521 h 807349"/>
                <a:gd name="connsiteX265" fmla="*/ 715814 w 900155"/>
                <a:gd name="connsiteY265" fmla="*/ 669740 h 807349"/>
                <a:gd name="connsiteX266" fmla="*/ 715938 w 900155"/>
                <a:gd name="connsiteY266" fmla="*/ 668465 h 807349"/>
                <a:gd name="connsiteX267" fmla="*/ 716147 w 900155"/>
                <a:gd name="connsiteY267" fmla="*/ 667897 h 807349"/>
                <a:gd name="connsiteX268" fmla="*/ 540107 w 900155"/>
                <a:gd name="connsiteY268" fmla="*/ 598578 h 807349"/>
                <a:gd name="connsiteX269" fmla="*/ 544450 w 900155"/>
                <a:gd name="connsiteY269" fmla="*/ 598895 h 807349"/>
                <a:gd name="connsiteX270" fmla="*/ 545655 w 900155"/>
                <a:gd name="connsiteY270" fmla="*/ 599276 h 807349"/>
                <a:gd name="connsiteX271" fmla="*/ 546771 w 900155"/>
                <a:gd name="connsiteY271" fmla="*/ 600187 h 807349"/>
                <a:gd name="connsiteX272" fmla="*/ 545946 w 900155"/>
                <a:gd name="connsiteY272" fmla="*/ 601844 h 807349"/>
                <a:gd name="connsiteX273" fmla="*/ 545910 w 900155"/>
                <a:gd name="connsiteY273" fmla="*/ 602257 h 807349"/>
                <a:gd name="connsiteX274" fmla="*/ 551204 w 900155"/>
                <a:gd name="connsiteY274" fmla="*/ 602848 h 807349"/>
                <a:gd name="connsiteX275" fmla="*/ 553260 w 900155"/>
                <a:gd name="connsiteY275" fmla="*/ 601940 h 807349"/>
                <a:gd name="connsiteX276" fmla="*/ 555862 w 900155"/>
                <a:gd name="connsiteY276" fmla="*/ 602673 h 807349"/>
                <a:gd name="connsiteX277" fmla="*/ 557562 w 900155"/>
                <a:gd name="connsiteY277" fmla="*/ 605121 h 807349"/>
                <a:gd name="connsiteX278" fmla="*/ 556302 w 900155"/>
                <a:gd name="connsiteY278" fmla="*/ 606337 h 807349"/>
                <a:gd name="connsiteX279" fmla="*/ 555096 w 900155"/>
                <a:gd name="connsiteY279" fmla="*/ 606514 h 807349"/>
                <a:gd name="connsiteX280" fmla="*/ 551196 w 900155"/>
                <a:gd name="connsiteY280" fmla="*/ 605510 h 807349"/>
                <a:gd name="connsiteX281" fmla="*/ 547556 w 900155"/>
                <a:gd name="connsiteY281" fmla="*/ 606271 h 807349"/>
                <a:gd name="connsiteX282" fmla="*/ 546480 w 900155"/>
                <a:gd name="connsiteY282" fmla="*/ 607283 h 807349"/>
                <a:gd name="connsiteX283" fmla="*/ 545772 w 900155"/>
                <a:gd name="connsiteY283" fmla="*/ 609530 h 807349"/>
                <a:gd name="connsiteX284" fmla="*/ 542637 w 900155"/>
                <a:gd name="connsiteY284" fmla="*/ 610733 h 807349"/>
                <a:gd name="connsiteX285" fmla="*/ 541172 w 900155"/>
                <a:gd name="connsiteY285" fmla="*/ 609372 h 807349"/>
                <a:gd name="connsiteX286" fmla="*/ 537354 w 900155"/>
                <a:gd name="connsiteY286" fmla="*/ 608402 h 807349"/>
                <a:gd name="connsiteX287" fmla="*/ 535987 w 900155"/>
                <a:gd name="connsiteY287" fmla="*/ 609831 h 807349"/>
                <a:gd name="connsiteX288" fmla="*/ 533292 w 900155"/>
                <a:gd name="connsiteY288" fmla="*/ 609449 h 807349"/>
                <a:gd name="connsiteX289" fmla="*/ 530789 w 900155"/>
                <a:gd name="connsiteY289" fmla="*/ 610023 h 807349"/>
                <a:gd name="connsiteX290" fmla="*/ 527305 w 900155"/>
                <a:gd name="connsiteY290" fmla="*/ 609680 h 807349"/>
                <a:gd name="connsiteX291" fmla="*/ 523638 w 900155"/>
                <a:gd name="connsiteY291" fmla="*/ 607214 h 807349"/>
                <a:gd name="connsiteX292" fmla="*/ 522563 w 900155"/>
                <a:gd name="connsiteY292" fmla="*/ 606074 h 807349"/>
                <a:gd name="connsiteX293" fmla="*/ 523413 w 900155"/>
                <a:gd name="connsiteY293" fmla="*/ 604021 h 807349"/>
                <a:gd name="connsiteX294" fmla="*/ 524731 w 900155"/>
                <a:gd name="connsiteY294" fmla="*/ 602513 h 807349"/>
                <a:gd name="connsiteX295" fmla="*/ 534750 w 900155"/>
                <a:gd name="connsiteY295" fmla="*/ 600374 h 807349"/>
                <a:gd name="connsiteX296" fmla="*/ 896143 w 900155"/>
                <a:gd name="connsiteY296" fmla="*/ 398346 h 807349"/>
                <a:gd name="connsiteX297" fmla="*/ 898054 w 900155"/>
                <a:gd name="connsiteY297" fmla="*/ 398753 h 807349"/>
                <a:gd name="connsiteX298" fmla="*/ 898427 w 900155"/>
                <a:gd name="connsiteY298" fmla="*/ 399086 h 807349"/>
                <a:gd name="connsiteX299" fmla="*/ 896525 w 900155"/>
                <a:gd name="connsiteY299" fmla="*/ 405654 h 807349"/>
                <a:gd name="connsiteX300" fmla="*/ 895946 w 900155"/>
                <a:gd name="connsiteY300" fmla="*/ 405528 h 807349"/>
                <a:gd name="connsiteX301" fmla="*/ 895266 w 900155"/>
                <a:gd name="connsiteY301" fmla="*/ 404540 h 807349"/>
                <a:gd name="connsiteX302" fmla="*/ 895379 w 900155"/>
                <a:gd name="connsiteY302" fmla="*/ 400737 h 807349"/>
                <a:gd name="connsiteX303" fmla="*/ 896074 w 900155"/>
                <a:gd name="connsiteY303" fmla="*/ 389405 h 807349"/>
                <a:gd name="connsiteX304" fmla="*/ 896836 w 900155"/>
                <a:gd name="connsiteY304" fmla="*/ 389600 h 807349"/>
                <a:gd name="connsiteX305" fmla="*/ 895941 w 900155"/>
                <a:gd name="connsiteY305" fmla="*/ 393488 h 807349"/>
                <a:gd name="connsiteX306" fmla="*/ 896298 w 900155"/>
                <a:gd name="connsiteY306" fmla="*/ 396216 h 807349"/>
                <a:gd name="connsiteX307" fmla="*/ 895821 w 900155"/>
                <a:gd name="connsiteY307" fmla="*/ 396572 h 807349"/>
                <a:gd name="connsiteX308" fmla="*/ 894841 w 900155"/>
                <a:gd name="connsiteY308" fmla="*/ 394295 h 807349"/>
                <a:gd name="connsiteX309" fmla="*/ 894586 w 900155"/>
                <a:gd name="connsiteY309" fmla="*/ 391998 h 807349"/>
                <a:gd name="connsiteX310" fmla="*/ 894914 w 900155"/>
                <a:gd name="connsiteY310" fmla="*/ 389870 h 807349"/>
                <a:gd name="connsiteX311" fmla="*/ 1641 w 900155"/>
                <a:gd name="connsiteY311" fmla="*/ 353642 h 807349"/>
                <a:gd name="connsiteX312" fmla="*/ 4159 w 900155"/>
                <a:gd name="connsiteY312" fmla="*/ 360604 h 807349"/>
                <a:gd name="connsiteX313" fmla="*/ 4938 w 900155"/>
                <a:gd name="connsiteY313" fmla="*/ 362201 h 807349"/>
                <a:gd name="connsiteX314" fmla="*/ 4945 w 900155"/>
                <a:gd name="connsiteY314" fmla="*/ 363840 h 807349"/>
                <a:gd name="connsiteX315" fmla="*/ 5310 w 900155"/>
                <a:gd name="connsiteY315" fmla="*/ 364358 h 807349"/>
                <a:gd name="connsiteX316" fmla="*/ 6076 w 900155"/>
                <a:gd name="connsiteY316" fmla="*/ 366234 h 807349"/>
                <a:gd name="connsiteX317" fmla="*/ 5489 w 900155"/>
                <a:gd name="connsiteY317" fmla="*/ 367214 h 807349"/>
                <a:gd name="connsiteX318" fmla="*/ 1239 w 900155"/>
                <a:gd name="connsiteY318" fmla="*/ 359849 h 807349"/>
                <a:gd name="connsiteX319" fmla="*/ 0 w 900155"/>
                <a:gd name="connsiteY319" fmla="*/ 354813 h 807349"/>
                <a:gd name="connsiteX320" fmla="*/ 859 w 900155"/>
                <a:gd name="connsiteY320" fmla="*/ 353910 h 807349"/>
                <a:gd name="connsiteX321" fmla="*/ 892195 w 900155"/>
                <a:gd name="connsiteY321" fmla="*/ 335010 h 807349"/>
                <a:gd name="connsiteX322" fmla="*/ 892752 w 900155"/>
                <a:gd name="connsiteY322" fmla="*/ 335230 h 807349"/>
                <a:gd name="connsiteX323" fmla="*/ 893102 w 900155"/>
                <a:gd name="connsiteY323" fmla="*/ 339390 h 807349"/>
                <a:gd name="connsiteX324" fmla="*/ 894458 w 900155"/>
                <a:gd name="connsiteY324" fmla="*/ 340861 h 807349"/>
                <a:gd name="connsiteX325" fmla="*/ 894258 w 900155"/>
                <a:gd name="connsiteY325" fmla="*/ 342870 h 807349"/>
                <a:gd name="connsiteX326" fmla="*/ 889641 w 900155"/>
                <a:gd name="connsiteY326" fmla="*/ 353467 h 807349"/>
                <a:gd name="connsiteX327" fmla="*/ 888367 w 900155"/>
                <a:gd name="connsiteY327" fmla="*/ 357473 h 807349"/>
                <a:gd name="connsiteX328" fmla="*/ 888226 w 900155"/>
                <a:gd name="connsiteY328" fmla="*/ 359086 h 807349"/>
                <a:gd name="connsiteX329" fmla="*/ 887663 w 900155"/>
                <a:gd name="connsiteY329" fmla="*/ 359736 h 807349"/>
                <a:gd name="connsiteX330" fmla="*/ 886667 w 900155"/>
                <a:gd name="connsiteY330" fmla="*/ 358569 h 807349"/>
                <a:gd name="connsiteX331" fmla="*/ 885998 w 900155"/>
                <a:gd name="connsiteY331" fmla="*/ 354377 h 807349"/>
                <a:gd name="connsiteX332" fmla="*/ 886492 w 900155"/>
                <a:gd name="connsiteY332" fmla="*/ 351949 h 807349"/>
                <a:gd name="connsiteX333" fmla="*/ 887654 w 900155"/>
                <a:gd name="connsiteY333" fmla="*/ 349729 h 807349"/>
                <a:gd name="connsiteX334" fmla="*/ 887857 w 900155"/>
                <a:gd name="connsiteY334" fmla="*/ 348503 h 807349"/>
                <a:gd name="connsiteX335" fmla="*/ 887356 w 900155"/>
                <a:gd name="connsiteY335" fmla="*/ 345932 h 807349"/>
                <a:gd name="connsiteX336" fmla="*/ 890699 w 900155"/>
                <a:gd name="connsiteY336" fmla="*/ 343044 h 807349"/>
                <a:gd name="connsiteX337" fmla="*/ 891545 w 900155"/>
                <a:gd name="connsiteY337" fmla="*/ 341521 h 807349"/>
                <a:gd name="connsiteX338" fmla="*/ 891865 w 900155"/>
                <a:gd name="connsiteY338" fmla="*/ 339563 h 807349"/>
                <a:gd name="connsiteX339" fmla="*/ 890634 w 900155"/>
                <a:gd name="connsiteY339" fmla="*/ 337448 h 807349"/>
                <a:gd name="connsiteX340" fmla="*/ 889693 w 900155"/>
                <a:gd name="connsiteY340" fmla="*/ 337030 h 807349"/>
                <a:gd name="connsiteX341" fmla="*/ 890515 w 900155"/>
                <a:gd name="connsiteY341" fmla="*/ 335855 h 807349"/>
                <a:gd name="connsiteX342" fmla="*/ 891449 w 900155"/>
                <a:gd name="connsiteY342" fmla="*/ 335260 h 807349"/>
                <a:gd name="connsiteX343" fmla="*/ 843616 w 900155"/>
                <a:gd name="connsiteY343" fmla="*/ 305298 h 807349"/>
                <a:gd name="connsiteX344" fmla="*/ 845531 w 900155"/>
                <a:gd name="connsiteY344" fmla="*/ 306005 h 807349"/>
                <a:gd name="connsiteX345" fmla="*/ 846287 w 900155"/>
                <a:gd name="connsiteY345" fmla="*/ 306598 h 807349"/>
                <a:gd name="connsiteX346" fmla="*/ 846978 w 900155"/>
                <a:gd name="connsiteY346" fmla="*/ 306525 h 807349"/>
                <a:gd name="connsiteX347" fmla="*/ 847600 w 900155"/>
                <a:gd name="connsiteY347" fmla="*/ 306913 h 807349"/>
                <a:gd name="connsiteX348" fmla="*/ 847349 w 900155"/>
                <a:gd name="connsiteY348" fmla="*/ 308437 h 807349"/>
                <a:gd name="connsiteX349" fmla="*/ 848356 w 900155"/>
                <a:gd name="connsiteY349" fmla="*/ 310156 h 807349"/>
                <a:gd name="connsiteX350" fmla="*/ 848830 w 900155"/>
                <a:gd name="connsiteY350" fmla="*/ 311368 h 807349"/>
                <a:gd name="connsiteX351" fmla="*/ 848072 w 900155"/>
                <a:gd name="connsiteY351" fmla="*/ 312350 h 807349"/>
                <a:gd name="connsiteX352" fmla="*/ 847559 w 900155"/>
                <a:gd name="connsiteY352" fmla="*/ 312665 h 807349"/>
                <a:gd name="connsiteX353" fmla="*/ 846362 w 900155"/>
                <a:gd name="connsiteY353" fmla="*/ 311845 h 807349"/>
                <a:gd name="connsiteX354" fmla="*/ 843026 w 900155"/>
                <a:gd name="connsiteY354" fmla="*/ 306924 h 807349"/>
                <a:gd name="connsiteX355" fmla="*/ 830979 w 900155"/>
                <a:gd name="connsiteY355" fmla="*/ 276195 h 807349"/>
                <a:gd name="connsiteX356" fmla="*/ 831709 w 900155"/>
                <a:gd name="connsiteY356" fmla="*/ 276603 h 807349"/>
                <a:gd name="connsiteX357" fmla="*/ 832313 w 900155"/>
                <a:gd name="connsiteY357" fmla="*/ 278429 h 807349"/>
                <a:gd name="connsiteX358" fmla="*/ 831603 w 900155"/>
                <a:gd name="connsiteY358" fmla="*/ 278792 h 807349"/>
                <a:gd name="connsiteX359" fmla="*/ 830979 w 900155"/>
                <a:gd name="connsiteY359" fmla="*/ 278842 h 807349"/>
                <a:gd name="connsiteX360" fmla="*/ 830402 w 900155"/>
                <a:gd name="connsiteY360" fmla="*/ 278447 h 807349"/>
                <a:gd name="connsiteX361" fmla="*/ 830895 w 900155"/>
                <a:gd name="connsiteY361" fmla="*/ 277521 h 807349"/>
                <a:gd name="connsiteX362" fmla="*/ 818238 w 900155"/>
                <a:gd name="connsiteY362" fmla="*/ 272434 h 807349"/>
                <a:gd name="connsiteX363" fmla="*/ 818584 w 900155"/>
                <a:gd name="connsiteY363" fmla="*/ 274769 h 807349"/>
                <a:gd name="connsiteX364" fmla="*/ 818593 w 900155"/>
                <a:gd name="connsiteY364" fmla="*/ 275784 h 807349"/>
                <a:gd name="connsiteX365" fmla="*/ 817826 w 900155"/>
                <a:gd name="connsiteY365" fmla="*/ 276485 h 807349"/>
                <a:gd name="connsiteX366" fmla="*/ 817293 w 900155"/>
                <a:gd name="connsiteY366" fmla="*/ 274794 h 807349"/>
                <a:gd name="connsiteX367" fmla="*/ 817422 w 900155"/>
                <a:gd name="connsiteY367" fmla="*/ 273021 h 807349"/>
                <a:gd name="connsiteX368" fmla="*/ 55863 w 900155"/>
                <a:gd name="connsiteY368" fmla="*/ 240492 h 807349"/>
                <a:gd name="connsiteX369" fmla="*/ 56372 w 900155"/>
                <a:gd name="connsiteY369" fmla="*/ 241607 h 807349"/>
                <a:gd name="connsiteX370" fmla="*/ 56120 w 900155"/>
                <a:gd name="connsiteY370" fmla="*/ 243257 h 807349"/>
                <a:gd name="connsiteX371" fmla="*/ 54835 w 900155"/>
                <a:gd name="connsiteY371" fmla="*/ 245062 h 807349"/>
                <a:gd name="connsiteX372" fmla="*/ 53287 w 900155"/>
                <a:gd name="connsiteY372" fmla="*/ 244706 h 807349"/>
                <a:gd name="connsiteX373" fmla="*/ 53077 w 900155"/>
                <a:gd name="connsiteY373" fmla="*/ 243795 h 807349"/>
                <a:gd name="connsiteX374" fmla="*/ 54088 w 900155"/>
                <a:gd name="connsiteY374" fmla="*/ 242299 h 807349"/>
                <a:gd name="connsiteX375" fmla="*/ 797647 w 900155"/>
                <a:gd name="connsiteY375" fmla="*/ 228638 h 807349"/>
                <a:gd name="connsiteX376" fmla="*/ 798163 w 900155"/>
                <a:gd name="connsiteY376" fmla="*/ 230203 h 807349"/>
                <a:gd name="connsiteX377" fmla="*/ 799067 w 900155"/>
                <a:gd name="connsiteY377" fmla="*/ 231494 h 807349"/>
                <a:gd name="connsiteX378" fmla="*/ 799033 w 900155"/>
                <a:gd name="connsiteY378" fmla="*/ 231816 h 807349"/>
                <a:gd name="connsiteX379" fmla="*/ 798506 w 900155"/>
                <a:gd name="connsiteY379" fmla="*/ 232069 h 807349"/>
                <a:gd name="connsiteX380" fmla="*/ 797787 w 900155"/>
                <a:gd name="connsiteY380" fmla="*/ 232052 h 807349"/>
                <a:gd name="connsiteX381" fmla="*/ 796714 w 900155"/>
                <a:gd name="connsiteY381" fmla="*/ 231635 h 807349"/>
                <a:gd name="connsiteX382" fmla="*/ 797355 w 900155"/>
                <a:gd name="connsiteY382" fmla="*/ 226126 h 807349"/>
                <a:gd name="connsiteX383" fmla="*/ 797098 w 900155"/>
                <a:gd name="connsiteY383" fmla="*/ 228205 h 807349"/>
                <a:gd name="connsiteX384" fmla="*/ 796640 w 900155"/>
                <a:gd name="connsiteY384" fmla="*/ 228555 h 807349"/>
                <a:gd name="connsiteX385" fmla="*/ 796152 w 900155"/>
                <a:gd name="connsiteY385" fmla="*/ 228656 h 807349"/>
                <a:gd name="connsiteX386" fmla="*/ 795565 w 900155"/>
                <a:gd name="connsiteY386" fmla="*/ 228409 h 807349"/>
                <a:gd name="connsiteX387" fmla="*/ 795997 w 900155"/>
                <a:gd name="connsiteY387" fmla="*/ 227452 h 807349"/>
                <a:gd name="connsiteX388" fmla="*/ 796554 w 900155"/>
                <a:gd name="connsiteY388" fmla="*/ 226692 h 807349"/>
                <a:gd name="connsiteX389" fmla="*/ 737238 w 900155"/>
                <a:gd name="connsiteY389" fmla="*/ 184436 h 807349"/>
                <a:gd name="connsiteX390" fmla="*/ 737884 w 900155"/>
                <a:gd name="connsiteY390" fmla="*/ 184558 h 807349"/>
                <a:gd name="connsiteX391" fmla="*/ 738337 w 900155"/>
                <a:gd name="connsiteY391" fmla="*/ 186725 h 807349"/>
                <a:gd name="connsiteX392" fmla="*/ 739291 w 900155"/>
                <a:gd name="connsiteY392" fmla="*/ 188417 h 807349"/>
                <a:gd name="connsiteX393" fmla="*/ 738961 w 900155"/>
                <a:gd name="connsiteY393" fmla="*/ 189527 h 807349"/>
                <a:gd name="connsiteX394" fmla="*/ 738337 w 900155"/>
                <a:gd name="connsiteY394" fmla="*/ 190353 h 807349"/>
                <a:gd name="connsiteX395" fmla="*/ 736940 w 900155"/>
                <a:gd name="connsiteY395" fmla="*/ 189576 h 807349"/>
                <a:gd name="connsiteX396" fmla="*/ 735960 w 900155"/>
                <a:gd name="connsiteY396" fmla="*/ 187567 h 807349"/>
                <a:gd name="connsiteX397" fmla="*/ 734299 w 900155"/>
                <a:gd name="connsiteY397" fmla="*/ 185955 h 807349"/>
                <a:gd name="connsiteX398" fmla="*/ 733915 w 900155"/>
                <a:gd name="connsiteY398" fmla="*/ 185027 h 807349"/>
                <a:gd name="connsiteX399" fmla="*/ 735858 w 900155"/>
                <a:gd name="connsiteY399" fmla="*/ 185105 h 807349"/>
                <a:gd name="connsiteX400" fmla="*/ 736834 w 900155"/>
                <a:gd name="connsiteY400" fmla="*/ 184790 h 807349"/>
                <a:gd name="connsiteX401" fmla="*/ 587841 w 900155"/>
                <a:gd name="connsiteY401" fmla="*/ 156270 h 807349"/>
                <a:gd name="connsiteX402" fmla="*/ 589328 w 900155"/>
                <a:gd name="connsiteY402" fmla="*/ 157443 h 807349"/>
                <a:gd name="connsiteX403" fmla="*/ 589568 w 900155"/>
                <a:gd name="connsiteY403" fmla="*/ 158636 h 807349"/>
                <a:gd name="connsiteX404" fmla="*/ 587098 w 900155"/>
                <a:gd name="connsiteY404" fmla="*/ 159094 h 807349"/>
                <a:gd name="connsiteX405" fmla="*/ 586269 w 900155"/>
                <a:gd name="connsiteY405" fmla="*/ 159483 h 807349"/>
                <a:gd name="connsiteX406" fmla="*/ 585970 w 900155"/>
                <a:gd name="connsiteY406" fmla="*/ 158550 h 807349"/>
                <a:gd name="connsiteX407" fmla="*/ 587098 w 900155"/>
                <a:gd name="connsiteY407" fmla="*/ 157605 h 807349"/>
                <a:gd name="connsiteX408" fmla="*/ 589944 w 900155"/>
                <a:gd name="connsiteY408" fmla="*/ 142742 h 807349"/>
                <a:gd name="connsiteX409" fmla="*/ 590311 w 900155"/>
                <a:gd name="connsiteY409" fmla="*/ 142925 h 807349"/>
                <a:gd name="connsiteX410" fmla="*/ 592373 w 900155"/>
                <a:gd name="connsiteY410" fmla="*/ 145462 h 807349"/>
                <a:gd name="connsiteX411" fmla="*/ 589320 w 900155"/>
                <a:gd name="connsiteY411" fmla="*/ 145792 h 807349"/>
                <a:gd name="connsiteX412" fmla="*/ 588173 w 900155"/>
                <a:gd name="connsiteY412" fmla="*/ 146781 h 807349"/>
                <a:gd name="connsiteX413" fmla="*/ 586465 w 900155"/>
                <a:gd name="connsiteY413" fmla="*/ 148780 h 807349"/>
                <a:gd name="connsiteX414" fmla="*/ 585601 w 900155"/>
                <a:gd name="connsiteY414" fmla="*/ 148499 h 807349"/>
                <a:gd name="connsiteX415" fmla="*/ 584779 w 900155"/>
                <a:gd name="connsiteY415" fmla="*/ 149588 h 807349"/>
                <a:gd name="connsiteX416" fmla="*/ 583202 w 900155"/>
                <a:gd name="connsiteY416" fmla="*/ 150108 h 807349"/>
                <a:gd name="connsiteX417" fmla="*/ 582230 w 900155"/>
                <a:gd name="connsiteY417" fmla="*/ 150090 h 807349"/>
                <a:gd name="connsiteX418" fmla="*/ 580473 w 900155"/>
                <a:gd name="connsiteY418" fmla="*/ 150614 h 807349"/>
                <a:gd name="connsiteX419" fmla="*/ 580209 w 900155"/>
                <a:gd name="connsiteY419" fmla="*/ 149981 h 807349"/>
                <a:gd name="connsiteX420" fmla="*/ 580542 w 900155"/>
                <a:gd name="connsiteY420" fmla="*/ 147982 h 807349"/>
                <a:gd name="connsiteX421" fmla="*/ 582002 w 900155"/>
                <a:gd name="connsiteY421" fmla="*/ 145748 h 807349"/>
                <a:gd name="connsiteX422" fmla="*/ 583422 w 900155"/>
                <a:gd name="connsiteY422" fmla="*/ 144379 h 807349"/>
                <a:gd name="connsiteX423" fmla="*/ 587092 w 900155"/>
                <a:gd name="connsiteY423" fmla="*/ 143725 h 807349"/>
                <a:gd name="connsiteX424" fmla="*/ 532932 w 900155"/>
                <a:gd name="connsiteY424" fmla="*/ 124593 h 807349"/>
                <a:gd name="connsiteX425" fmla="*/ 534147 w 900155"/>
                <a:gd name="connsiteY425" fmla="*/ 126135 h 807349"/>
                <a:gd name="connsiteX426" fmla="*/ 534292 w 900155"/>
                <a:gd name="connsiteY426" fmla="*/ 127839 h 807349"/>
                <a:gd name="connsiteX427" fmla="*/ 534791 w 900155"/>
                <a:gd name="connsiteY427" fmla="*/ 128746 h 807349"/>
                <a:gd name="connsiteX428" fmla="*/ 533845 w 900155"/>
                <a:gd name="connsiteY428" fmla="*/ 129795 h 807349"/>
                <a:gd name="connsiteX429" fmla="*/ 532643 w 900155"/>
                <a:gd name="connsiteY429" fmla="*/ 128693 h 807349"/>
                <a:gd name="connsiteX430" fmla="*/ 532390 w 900155"/>
                <a:gd name="connsiteY430" fmla="*/ 127564 h 807349"/>
                <a:gd name="connsiteX431" fmla="*/ 531453 w 900155"/>
                <a:gd name="connsiteY431" fmla="*/ 127241 h 807349"/>
                <a:gd name="connsiteX432" fmla="*/ 531910 w 900155"/>
                <a:gd name="connsiteY432" fmla="*/ 126199 h 807349"/>
                <a:gd name="connsiteX433" fmla="*/ 532405 w 900155"/>
                <a:gd name="connsiteY433" fmla="*/ 125898 h 807349"/>
                <a:gd name="connsiteX434" fmla="*/ 523566 w 900155"/>
                <a:gd name="connsiteY434" fmla="*/ 123209 h 807349"/>
                <a:gd name="connsiteX435" fmla="*/ 524148 w 900155"/>
                <a:gd name="connsiteY435" fmla="*/ 123446 h 807349"/>
                <a:gd name="connsiteX436" fmla="*/ 523677 w 900155"/>
                <a:gd name="connsiteY436" fmla="*/ 125350 h 807349"/>
                <a:gd name="connsiteX437" fmla="*/ 522353 w 900155"/>
                <a:gd name="connsiteY437" fmla="*/ 125445 h 807349"/>
                <a:gd name="connsiteX438" fmla="*/ 521980 w 900155"/>
                <a:gd name="connsiteY438" fmla="*/ 125330 h 807349"/>
                <a:gd name="connsiteX439" fmla="*/ 521725 w 900155"/>
                <a:gd name="connsiteY439" fmla="*/ 124328 h 807349"/>
                <a:gd name="connsiteX440" fmla="*/ 522163 w 900155"/>
                <a:gd name="connsiteY440" fmla="*/ 123423 h 807349"/>
                <a:gd name="connsiteX441" fmla="*/ 529998 w 900155"/>
                <a:gd name="connsiteY441" fmla="*/ 122504 h 807349"/>
                <a:gd name="connsiteX442" fmla="*/ 530293 w 900155"/>
                <a:gd name="connsiteY442" fmla="*/ 124459 h 807349"/>
                <a:gd name="connsiteX443" fmla="*/ 529684 w 900155"/>
                <a:gd name="connsiteY443" fmla="*/ 125162 h 807349"/>
                <a:gd name="connsiteX444" fmla="*/ 529332 w 900155"/>
                <a:gd name="connsiteY444" fmla="*/ 125330 h 807349"/>
                <a:gd name="connsiteX445" fmla="*/ 529306 w 900155"/>
                <a:gd name="connsiteY445" fmla="*/ 123444 h 807349"/>
                <a:gd name="connsiteX446" fmla="*/ 256746 w 900155"/>
                <a:gd name="connsiteY446" fmla="*/ 117184 h 807349"/>
                <a:gd name="connsiteX447" fmla="*/ 257444 w 900155"/>
                <a:gd name="connsiteY447" fmla="*/ 117248 h 807349"/>
                <a:gd name="connsiteX448" fmla="*/ 257746 w 900155"/>
                <a:gd name="connsiteY448" fmla="*/ 118165 h 807349"/>
                <a:gd name="connsiteX449" fmla="*/ 258642 w 900155"/>
                <a:gd name="connsiteY449" fmla="*/ 119199 h 807349"/>
                <a:gd name="connsiteX450" fmla="*/ 258469 w 900155"/>
                <a:gd name="connsiteY450" fmla="*/ 120227 h 807349"/>
                <a:gd name="connsiteX451" fmla="*/ 257636 w 900155"/>
                <a:gd name="connsiteY451" fmla="*/ 120866 h 807349"/>
                <a:gd name="connsiteX452" fmla="*/ 256854 w 900155"/>
                <a:gd name="connsiteY452" fmla="*/ 120669 h 807349"/>
                <a:gd name="connsiteX453" fmla="*/ 256844 w 900155"/>
                <a:gd name="connsiteY453" fmla="*/ 119785 h 807349"/>
                <a:gd name="connsiteX454" fmla="*/ 255939 w 900155"/>
                <a:gd name="connsiteY454" fmla="*/ 118832 h 807349"/>
                <a:gd name="connsiteX455" fmla="*/ 256410 w 900155"/>
                <a:gd name="connsiteY455" fmla="*/ 117749 h 807349"/>
                <a:gd name="connsiteX456" fmla="*/ 270912 w 900155"/>
                <a:gd name="connsiteY456" fmla="*/ 98848 h 807349"/>
                <a:gd name="connsiteX457" fmla="*/ 271756 w 900155"/>
                <a:gd name="connsiteY457" fmla="*/ 99271 h 807349"/>
                <a:gd name="connsiteX458" fmla="*/ 271655 w 900155"/>
                <a:gd name="connsiteY458" fmla="*/ 101028 h 807349"/>
                <a:gd name="connsiteX459" fmla="*/ 271772 w 900155"/>
                <a:gd name="connsiteY459" fmla="*/ 101634 h 807349"/>
                <a:gd name="connsiteX460" fmla="*/ 270355 w 900155"/>
                <a:gd name="connsiteY460" fmla="*/ 103039 h 807349"/>
                <a:gd name="connsiteX461" fmla="*/ 269392 w 900155"/>
                <a:gd name="connsiteY461" fmla="*/ 101910 h 807349"/>
                <a:gd name="connsiteX462" fmla="*/ 269970 w 900155"/>
                <a:gd name="connsiteY462" fmla="*/ 99659 h 807349"/>
                <a:gd name="connsiteX463" fmla="*/ 525106 w 900155"/>
                <a:gd name="connsiteY463" fmla="*/ 81259 h 807349"/>
                <a:gd name="connsiteX464" fmla="*/ 526130 w 900155"/>
                <a:gd name="connsiteY464" fmla="*/ 81388 h 807349"/>
                <a:gd name="connsiteX465" fmla="*/ 525998 w 900155"/>
                <a:gd name="connsiteY465" fmla="*/ 82391 h 807349"/>
                <a:gd name="connsiteX466" fmla="*/ 526410 w 900155"/>
                <a:gd name="connsiteY466" fmla="*/ 84142 h 807349"/>
                <a:gd name="connsiteX467" fmla="*/ 527369 w 900155"/>
                <a:gd name="connsiteY467" fmla="*/ 85077 h 807349"/>
                <a:gd name="connsiteX468" fmla="*/ 528397 w 900155"/>
                <a:gd name="connsiteY468" fmla="*/ 85011 h 807349"/>
                <a:gd name="connsiteX469" fmla="*/ 529299 w 900155"/>
                <a:gd name="connsiteY469" fmla="*/ 82950 h 807349"/>
                <a:gd name="connsiteX470" fmla="*/ 529861 w 900155"/>
                <a:gd name="connsiteY470" fmla="*/ 83236 h 807349"/>
                <a:gd name="connsiteX471" fmla="*/ 530306 w 900155"/>
                <a:gd name="connsiteY471" fmla="*/ 83753 h 807349"/>
                <a:gd name="connsiteX472" fmla="*/ 530632 w 900155"/>
                <a:gd name="connsiteY472" fmla="*/ 84661 h 807349"/>
                <a:gd name="connsiteX473" fmla="*/ 529248 w 900155"/>
                <a:gd name="connsiteY473" fmla="*/ 86231 h 807349"/>
                <a:gd name="connsiteX474" fmla="*/ 528628 w 900155"/>
                <a:gd name="connsiteY474" fmla="*/ 86473 h 807349"/>
                <a:gd name="connsiteX475" fmla="*/ 528036 w 900155"/>
                <a:gd name="connsiteY475" fmla="*/ 87340 h 807349"/>
                <a:gd name="connsiteX476" fmla="*/ 527089 w 900155"/>
                <a:gd name="connsiteY476" fmla="*/ 90199 h 807349"/>
                <a:gd name="connsiteX477" fmla="*/ 527190 w 900155"/>
                <a:gd name="connsiteY477" fmla="*/ 91159 h 807349"/>
                <a:gd name="connsiteX478" fmla="*/ 528011 w 900155"/>
                <a:gd name="connsiteY478" fmla="*/ 92119 h 807349"/>
                <a:gd name="connsiteX479" fmla="*/ 530187 w 900155"/>
                <a:gd name="connsiteY479" fmla="*/ 93009 h 807349"/>
                <a:gd name="connsiteX480" fmla="*/ 531258 w 900155"/>
                <a:gd name="connsiteY480" fmla="*/ 92597 h 807349"/>
                <a:gd name="connsiteX481" fmla="*/ 531632 w 900155"/>
                <a:gd name="connsiteY481" fmla="*/ 92716 h 807349"/>
                <a:gd name="connsiteX482" fmla="*/ 531202 w 900155"/>
                <a:gd name="connsiteY482" fmla="*/ 94109 h 807349"/>
                <a:gd name="connsiteX483" fmla="*/ 530384 w 900155"/>
                <a:gd name="connsiteY483" fmla="*/ 95170 h 807349"/>
                <a:gd name="connsiteX484" fmla="*/ 527484 w 900155"/>
                <a:gd name="connsiteY484" fmla="*/ 94727 h 807349"/>
                <a:gd name="connsiteX485" fmla="*/ 524975 w 900155"/>
                <a:gd name="connsiteY485" fmla="*/ 94886 h 807349"/>
                <a:gd name="connsiteX486" fmla="*/ 520791 w 900155"/>
                <a:gd name="connsiteY486" fmla="*/ 93851 h 807349"/>
                <a:gd name="connsiteX487" fmla="*/ 518641 w 900155"/>
                <a:gd name="connsiteY487" fmla="*/ 93723 h 807349"/>
                <a:gd name="connsiteX488" fmla="*/ 518026 w 900155"/>
                <a:gd name="connsiteY488" fmla="*/ 93337 h 807349"/>
                <a:gd name="connsiteX489" fmla="*/ 519280 w 900155"/>
                <a:gd name="connsiteY489" fmla="*/ 92518 h 807349"/>
                <a:gd name="connsiteX490" fmla="*/ 520066 w 900155"/>
                <a:gd name="connsiteY490" fmla="*/ 91413 h 807349"/>
                <a:gd name="connsiteX491" fmla="*/ 519699 w 900155"/>
                <a:gd name="connsiteY491" fmla="*/ 88812 h 807349"/>
                <a:gd name="connsiteX492" fmla="*/ 519999 w 900155"/>
                <a:gd name="connsiteY492" fmla="*/ 85515 h 807349"/>
                <a:gd name="connsiteX493" fmla="*/ 522411 w 900155"/>
                <a:gd name="connsiteY493" fmla="*/ 83913 h 807349"/>
                <a:gd name="connsiteX494" fmla="*/ 523495 w 900155"/>
                <a:gd name="connsiteY494" fmla="*/ 82277 h 807349"/>
                <a:gd name="connsiteX495" fmla="*/ 515372 w 900155"/>
                <a:gd name="connsiteY495" fmla="*/ 81008 h 807349"/>
                <a:gd name="connsiteX496" fmla="*/ 516300 w 900155"/>
                <a:gd name="connsiteY496" fmla="*/ 81951 h 807349"/>
                <a:gd name="connsiteX497" fmla="*/ 516698 w 900155"/>
                <a:gd name="connsiteY497" fmla="*/ 83854 h 807349"/>
                <a:gd name="connsiteX498" fmla="*/ 515858 w 900155"/>
                <a:gd name="connsiteY498" fmla="*/ 84606 h 807349"/>
                <a:gd name="connsiteX499" fmla="*/ 515333 w 900155"/>
                <a:gd name="connsiteY499" fmla="*/ 84864 h 807349"/>
                <a:gd name="connsiteX500" fmla="*/ 513320 w 900155"/>
                <a:gd name="connsiteY500" fmla="*/ 84428 h 807349"/>
                <a:gd name="connsiteX501" fmla="*/ 513312 w 900155"/>
                <a:gd name="connsiteY501" fmla="*/ 83617 h 807349"/>
                <a:gd name="connsiteX502" fmla="*/ 513579 w 900155"/>
                <a:gd name="connsiteY502" fmla="*/ 82998 h 807349"/>
                <a:gd name="connsiteX503" fmla="*/ 514137 w 900155"/>
                <a:gd name="connsiteY503" fmla="*/ 82629 h 807349"/>
                <a:gd name="connsiteX504" fmla="*/ 521206 w 900155"/>
                <a:gd name="connsiteY504" fmla="*/ 31627 h 807349"/>
                <a:gd name="connsiteX505" fmla="*/ 521011 w 900155"/>
                <a:gd name="connsiteY505" fmla="*/ 32598 h 807349"/>
                <a:gd name="connsiteX506" fmla="*/ 518998 w 900155"/>
                <a:gd name="connsiteY506" fmla="*/ 34254 h 807349"/>
                <a:gd name="connsiteX507" fmla="*/ 518097 w 900155"/>
                <a:gd name="connsiteY507" fmla="*/ 34683 h 807349"/>
                <a:gd name="connsiteX508" fmla="*/ 514594 w 900155"/>
                <a:gd name="connsiteY508" fmla="*/ 36350 h 807349"/>
                <a:gd name="connsiteX509" fmla="*/ 516520 w 900155"/>
                <a:gd name="connsiteY509" fmla="*/ 34103 h 807349"/>
                <a:gd name="connsiteX510" fmla="*/ 520541 w 900155"/>
                <a:gd name="connsiteY510" fmla="*/ 32101 h 807349"/>
                <a:gd name="connsiteX511" fmla="*/ 384456 w 900155"/>
                <a:gd name="connsiteY511" fmla="*/ 28736 h 807349"/>
                <a:gd name="connsiteX512" fmla="*/ 385438 w 900155"/>
                <a:gd name="connsiteY512" fmla="*/ 28740 h 807349"/>
                <a:gd name="connsiteX513" fmla="*/ 386266 w 900155"/>
                <a:gd name="connsiteY513" fmla="*/ 30601 h 807349"/>
                <a:gd name="connsiteX514" fmla="*/ 386463 w 900155"/>
                <a:gd name="connsiteY514" fmla="*/ 32611 h 807349"/>
                <a:gd name="connsiteX515" fmla="*/ 387506 w 900155"/>
                <a:gd name="connsiteY515" fmla="*/ 34456 h 807349"/>
                <a:gd name="connsiteX516" fmla="*/ 388091 w 900155"/>
                <a:gd name="connsiteY516" fmla="*/ 36407 h 807349"/>
                <a:gd name="connsiteX517" fmla="*/ 389916 w 900155"/>
                <a:gd name="connsiteY517" fmla="*/ 36941 h 807349"/>
                <a:gd name="connsiteX518" fmla="*/ 390758 w 900155"/>
                <a:gd name="connsiteY518" fmla="*/ 37703 h 807349"/>
                <a:gd name="connsiteX519" fmla="*/ 391263 w 900155"/>
                <a:gd name="connsiteY519" fmla="*/ 38513 h 807349"/>
                <a:gd name="connsiteX520" fmla="*/ 391341 w 900155"/>
                <a:gd name="connsiteY520" fmla="*/ 39485 h 807349"/>
                <a:gd name="connsiteX521" fmla="*/ 389047 w 900155"/>
                <a:gd name="connsiteY521" fmla="*/ 39912 h 807349"/>
                <a:gd name="connsiteX522" fmla="*/ 384955 w 900155"/>
                <a:gd name="connsiteY522" fmla="*/ 38480 h 807349"/>
                <a:gd name="connsiteX523" fmla="*/ 380838 w 900155"/>
                <a:gd name="connsiteY523" fmla="*/ 39662 h 807349"/>
                <a:gd name="connsiteX524" fmla="*/ 379629 w 900155"/>
                <a:gd name="connsiteY524" fmla="*/ 39684 h 807349"/>
                <a:gd name="connsiteX525" fmla="*/ 378892 w 900155"/>
                <a:gd name="connsiteY525" fmla="*/ 38828 h 807349"/>
                <a:gd name="connsiteX526" fmla="*/ 379529 w 900155"/>
                <a:gd name="connsiteY526" fmla="*/ 36440 h 807349"/>
                <a:gd name="connsiteX527" fmla="*/ 381011 w 900155"/>
                <a:gd name="connsiteY527" fmla="*/ 36806 h 807349"/>
                <a:gd name="connsiteX528" fmla="*/ 382304 w 900155"/>
                <a:gd name="connsiteY528" fmla="*/ 35935 h 807349"/>
                <a:gd name="connsiteX529" fmla="*/ 382073 w 900155"/>
                <a:gd name="connsiteY529" fmla="*/ 33313 h 807349"/>
                <a:gd name="connsiteX530" fmla="*/ 381315 w 900155"/>
                <a:gd name="connsiteY530" fmla="*/ 31887 h 807349"/>
                <a:gd name="connsiteX531" fmla="*/ 383490 w 900155"/>
                <a:gd name="connsiteY531" fmla="*/ 29267 h 807349"/>
                <a:gd name="connsiteX532" fmla="*/ 386845 w 900155"/>
                <a:gd name="connsiteY532" fmla="*/ 25235 h 807349"/>
                <a:gd name="connsiteX533" fmla="*/ 387370 w 900155"/>
                <a:gd name="connsiteY533" fmla="*/ 25294 h 807349"/>
                <a:gd name="connsiteX534" fmla="*/ 389415 w 900155"/>
                <a:gd name="connsiteY534" fmla="*/ 27452 h 807349"/>
                <a:gd name="connsiteX535" fmla="*/ 390313 w 900155"/>
                <a:gd name="connsiteY535" fmla="*/ 28045 h 807349"/>
                <a:gd name="connsiteX536" fmla="*/ 391619 w 900155"/>
                <a:gd name="connsiteY536" fmla="*/ 29615 h 807349"/>
                <a:gd name="connsiteX537" fmla="*/ 394569 w 900155"/>
                <a:gd name="connsiteY537" fmla="*/ 29801 h 807349"/>
                <a:gd name="connsiteX538" fmla="*/ 398119 w 900155"/>
                <a:gd name="connsiteY538" fmla="*/ 28119 h 807349"/>
                <a:gd name="connsiteX539" fmla="*/ 399769 w 900155"/>
                <a:gd name="connsiteY539" fmla="*/ 28804 h 807349"/>
                <a:gd name="connsiteX540" fmla="*/ 400557 w 900155"/>
                <a:gd name="connsiteY540" fmla="*/ 28681 h 807349"/>
                <a:gd name="connsiteX541" fmla="*/ 403157 w 900155"/>
                <a:gd name="connsiteY541" fmla="*/ 27085 h 807349"/>
                <a:gd name="connsiteX542" fmla="*/ 404850 w 900155"/>
                <a:gd name="connsiteY542" fmla="*/ 26626 h 807349"/>
                <a:gd name="connsiteX543" fmla="*/ 405979 w 900155"/>
                <a:gd name="connsiteY543" fmla="*/ 25445 h 807349"/>
                <a:gd name="connsiteX544" fmla="*/ 407135 w 900155"/>
                <a:gd name="connsiteY544" fmla="*/ 26722 h 807349"/>
                <a:gd name="connsiteX545" fmla="*/ 409709 w 900155"/>
                <a:gd name="connsiteY545" fmla="*/ 28206 h 807349"/>
                <a:gd name="connsiteX546" fmla="*/ 410514 w 900155"/>
                <a:gd name="connsiteY546" fmla="*/ 29759 h 807349"/>
                <a:gd name="connsiteX547" fmla="*/ 411596 w 900155"/>
                <a:gd name="connsiteY547" fmla="*/ 30492 h 807349"/>
                <a:gd name="connsiteX548" fmla="*/ 411956 w 900155"/>
                <a:gd name="connsiteY548" fmla="*/ 30977 h 807349"/>
                <a:gd name="connsiteX549" fmla="*/ 410393 w 900155"/>
                <a:gd name="connsiteY549" fmla="*/ 32605 h 807349"/>
                <a:gd name="connsiteX550" fmla="*/ 410188 w 900155"/>
                <a:gd name="connsiteY550" fmla="*/ 34359 h 807349"/>
                <a:gd name="connsiteX551" fmla="*/ 408512 w 900155"/>
                <a:gd name="connsiteY551" fmla="*/ 34239 h 807349"/>
                <a:gd name="connsiteX552" fmla="*/ 406506 w 900155"/>
                <a:gd name="connsiteY552" fmla="*/ 37117 h 807349"/>
                <a:gd name="connsiteX553" fmla="*/ 398963 w 900155"/>
                <a:gd name="connsiteY553" fmla="*/ 41948 h 807349"/>
                <a:gd name="connsiteX554" fmla="*/ 392196 w 900155"/>
                <a:gd name="connsiteY554" fmla="*/ 37821 h 807349"/>
                <a:gd name="connsiteX555" fmla="*/ 389254 w 900155"/>
                <a:gd name="connsiteY555" fmla="*/ 35031 h 807349"/>
                <a:gd name="connsiteX556" fmla="*/ 387283 w 900155"/>
                <a:gd name="connsiteY556" fmla="*/ 31176 h 807349"/>
                <a:gd name="connsiteX557" fmla="*/ 386886 w 900155"/>
                <a:gd name="connsiteY557" fmla="*/ 28023 h 807349"/>
                <a:gd name="connsiteX558" fmla="*/ 386085 w 900155"/>
                <a:gd name="connsiteY558" fmla="*/ 26007 h 807349"/>
                <a:gd name="connsiteX559" fmla="*/ 386439 w 900155"/>
                <a:gd name="connsiteY559" fmla="*/ 25498 h 807349"/>
                <a:gd name="connsiteX560" fmla="*/ 527861 w 900155"/>
                <a:gd name="connsiteY560" fmla="*/ 21476 h 807349"/>
                <a:gd name="connsiteX561" fmla="*/ 527003 w 900155"/>
                <a:gd name="connsiteY561" fmla="*/ 25552 h 807349"/>
                <a:gd name="connsiteX562" fmla="*/ 523843 w 900155"/>
                <a:gd name="connsiteY562" fmla="*/ 29678 h 807349"/>
                <a:gd name="connsiteX563" fmla="*/ 522252 w 900155"/>
                <a:gd name="connsiteY563" fmla="*/ 31021 h 807349"/>
                <a:gd name="connsiteX564" fmla="*/ 522143 w 900155"/>
                <a:gd name="connsiteY564" fmla="*/ 30013 h 807349"/>
                <a:gd name="connsiteX565" fmla="*/ 522986 w 900155"/>
                <a:gd name="connsiteY565" fmla="*/ 29208 h 807349"/>
                <a:gd name="connsiteX566" fmla="*/ 524959 w 900155"/>
                <a:gd name="connsiteY566" fmla="*/ 25933 h 807349"/>
                <a:gd name="connsiteX567" fmla="*/ 525820 w 900155"/>
                <a:gd name="connsiteY567" fmla="*/ 25172 h 807349"/>
                <a:gd name="connsiteX568" fmla="*/ 526320 w 900155"/>
                <a:gd name="connsiteY568" fmla="*/ 24741 h 807349"/>
                <a:gd name="connsiteX569" fmla="*/ 526691 w 900155"/>
                <a:gd name="connsiteY569" fmla="*/ 23541 h 807349"/>
                <a:gd name="connsiteX570" fmla="*/ 526789 w 900155"/>
                <a:gd name="connsiteY570" fmla="*/ 21747 h 807349"/>
                <a:gd name="connsiteX571" fmla="*/ 434959 w 900155"/>
                <a:gd name="connsiteY571" fmla="*/ 20499 h 807349"/>
                <a:gd name="connsiteX572" fmla="*/ 435278 w 900155"/>
                <a:gd name="connsiteY572" fmla="*/ 21144 h 807349"/>
                <a:gd name="connsiteX573" fmla="*/ 435358 w 900155"/>
                <a:gd name="connsiteY573" fmla="*/ 23578 h 807349"/>
                <a:gd name="connsiteX574" fmla="*/ 436070 w 900155"/>
                <a:gd name="connsiteY574" fmla="*/ 24982 h 807349"/>
                <a:gd name="connsiteX575" fmla="*/ 435280 w 900155"/>
                <a:gd name="connsiteY575" fmla="*/ 27975 h 807349"/>
                <a:gd name="connsiteX576" fmla="*/ 434844 w 900155"/>
                <a:gd name="connsiteY576" fmla="*/ 28322 h 807349"/>
                <a:gd name="connsiteX577" fmla="*/ 433077 w 900155"/>
                <a:gd name="connsiteY577" fmla="*/ 24859 h 807349"/>
                <a:gd name="connsiteX578" fmla="*/ 433577 w 900155"/>
                <a:gd name="connsiteY578" fmla="*/ 23793 h 807349"/>
                <a:gd name="connsiteX579" fmla="*/ 432857 w 900155"/>
                <a:gd name="connsiteY579" fmla="*/ 22031 h 807349"/>
                <a:gd name="connsiteX580" fmla="*/ 434052 w 900155"/>
                <a:gd name="connsiteY580" fmla="*/ 21832 h 807349"/>
                <a:gd name="connsiteX581" fmla="*/ 653374 w 900155"/>
                <a:gd name="connsiteY581" fmla="*/ 14650 h 807349"/>
                <a:gd name="connsiteX582" fmla="*/ 655328 w 900155"/>
                <a:gd name="connsiteY582" fmla="*/ 14650 h 807349"/>
                <a:gd name="connsiteX583" fmla="*/ 656660 w 900155"/>
                <a:gd name="connsiteY583" fmla="*/ 15565 h 807349"/>
                <a:gd name="connsiteX584" fmla="*/ 655784 w 900155"/>
                <a:gd name="connsiteY584" fmla="*/ 17157 h 807349"/>
                <a:gd name="connsiteX585" fmla="*/ 655503 w 900155"/>
                <a:gd name="connsiteY585" fmla="*/ 18387 h 807349"/>
                <a:gd name="connsiteX586" fmla="*/ 659269 w 900155"/>
                <a:gd name="connsiteY586" fmla="*/ 21430 h 807349"/>
                <a:gd name="connsiteX587" fmla="*/ 660522 w 900155"/>
                <a:gd name="connsiteY587" fmla="*/ 23778 h 807349"/>
                <a:gd name="connsiteX588" fmla="*/ 661044 w 900155"/>
                <a:gd name="connsiteY588" fmla="*/ 25985 h 807349"/>
                <a:gd name="connsiteX589" fmla="*/ 661784 w 900155"/>
                <a:gd name="connsiteY589" fmla="*/ 28066 h 807349"/>
                <a:gd name="connsiteX590" fmla="*/ 662141 w 900155"/>
                <a:gd name="connsiteY590" fmla="*/ 30872 h 807349"/>
                <a:gd name="connsiteX591" fmla="*/ 662089 w 900155"/>
                <a:gd name="connsiteY591" fmla="*/ 35355 h 807349"/>
                <a:gd name="connsiteX592" fmla="*/ 662575 w 900155"/>
                <a:gd name="connsiteY592" fmla="*/ 39592 h 807349"/>
                <a:gd name="connsiteX593" fmla="*/ 663933 w 900155"/>
                <a:gd name="connsiteY593" fmla="*/ 40923 h 807349"/>
                <a:gd name="connsiteX594" fmla="*/ 665138 w 900155"/>
                <a:gd name="connsiteY594" fmla="*/ 41781 h 807349"/>
                <a:gd name="connsiteX595" fmla="*/ 666861 w 900155"/>
                <a:gd name="connsiteY595" fmla="*/ 41895 h 807349"/>
                <a:gd name="connsiteX596" fmla="*/ 669349 w 900155"/>
                <a:gd name="connsiteY596" fmla="*/ 42576 h 807349"/>
                <a:gd name="connsiteX597" fmla="*/ 668775 w 900155"/>
                <a:gd name="connsiteY597" fmla="*/ 45299 h 807349"/>
                <a:gd name="connsiteX598" fmla="*/ 667708 w 900155"/>
                <a:gd name="connsiteY598" fmla="*/ 47402 h 807349"/>
                <a:gd name="connsiteX599" fmla="*/ 667582 w 900155"/>
                <a:gd name="connsiteY599" fmla="*/ 48666 h 807349"/>
                <a:gd name="connsiteX600" fmla="*/ 667831 w 900155"/>
                <a:gd name="connsiteY600" fmla="*/ 50406 h 807349"/>
                <a:gd name="connsiteX601" fmla="*/ 669608 w 900155"/>
                <a:gd name="connsiteY601" fmla="*/ 51701 h 807349"/>
                <a:gd name="connsiteX602" fmla="*/ 671012 w 900155"/>
                <a:gd name="connsiteY602" fmla="*/ 52519 h 807349"/>
                <a:gd name="connsiteX603" fmla="*/ 671798 w 900155"/>
                <a:gd name="connsiteY603" fmla="*/ 54790 h 807349"/>
                <a:gd name="connsiteX604" fmla="*/ 674273 w 900155"/>
                <a:gd name="connsiteY604" fmla="*/ 57960 h 807349"/>
                <a:gd name="connsiteX605" fmla="*/ 674184 w 900155"/>
                <a:gd name="connsiteY605" fmla="*/ 60120 h 807349"/>
                <a:gd name="connsiteX606" fmla="*/ 675514 w 900155"/>
                <a:gd name="connsiteY606" fmla="*/ 62808 h 807349"/>
                <a:gd name="connsiteX607" fmla="*/ 676714 w 900155"/>
                <a:gd name="connsiteY607" fmla="*/ 68176 h 807349"/>
                <a:gd name="connsiteX608" fmla="*/ 677101 w 900155"/>
                <a:gd name="connsiteY608" fmla="*/ 72883 h 807349"/>
                <a:gd name="connsiteX609" fmla="*/ 678365 w 900155"/>
                <a:gd name="connsiteY609" fmla="*/ 76030 h 807349"/>
                <a:gd name="connsiteX610" fmla="*/ 677520 w 900155"/>
                <a:gd name="connsiteY610" fmla="*/ 82725 h 807349"/>
                <a:gd name="connsiteX611" fmla="*/ 678423 w 900155"/>
                <a:gd name="connsiteY611" fmla="*/ 85469 h 807349"/>
                <a:gd name="connsiteX612" fmla="*/ 679619 w 900155"/>
                <a:gd name="connsiteY612" fmla="*/ 87743 h 807349"/>
                <a:gd name="connsiteX613" fmla="*/ 681031 w 900155"/>
                <a:gd name="connsiteY613" fmla="*/ 92271 h 807349"/>
                <a:gd name="connsiteX614" fmla="*/ 682117 w 900155"/>
                <a:gd name="connsiteY614" fmla="*/ 96428 h 807349"/>
                <a:gd name="connsiteX615" fmla="*/ 683577 w 900155"/>
                <a:gd name="connsiteY615" fmla="*/ 97607 h 807349"/>
                <a:gd name="connsiteX616" fmla="*/ 686661 w 900155"/>
                <a:gd name="connsiteY616" fmla="*/ 99002 h 807349"/>
                <a:gd name="connsiteX617" fmla="*/ 689846 w 900155"/>
                <a:gd name="connsiteY617" fmla="*/ 97459 h 807349"/>
                <a:gd name="connsiteX618" fmla="*/ 692145 w 900155"/>
                <a:gd name="connsiteY618" fmla="*/ 95371 h 807349"/>
                <a:gd name="connsiteX619" fmla="*/ 694618 w 900155"/>
                <a:gd name="connsiteY619" fmla="*/ 94862 h 807349"/>
                <a:gd name="connsiteX620" fmla="*/ 697965 w 900155"/>
                <a:gd name="connsiteY620" fmla="*/ 93789 h 807349"/>
                <a:gd name="connsiteX621" fmla="*/ 700472 w 900155"/>
                <a:gd name="connsiteY621" fmla="*/ 96560 h 807349"/>
                <a:gd name="connsiteX622" fmla="*/ 701835 w 900155"/>
                <a:gd name="connsiteY622" fmla="*/ 99670 h 807349"/>
                <a:gd name="connsiteX623" fmla="*/ 707754 w 900155"/>
                <a:gd name="connsiteY623" fmla="*/ 103776 h 807349"/>
                <a:gd name="connsiteX624" fmla="*/ 711042 w 900155"/>
                <a:gd name="connsiteY624" fmla="*/ 106412 h 807349"/>
                <a:gd name="connsiteX625" fmla="*/ 713597 w 900155"/>
                <a:gd name="connsiteY625" fmla="*/ 107901 h 807349"/>
                <a:gd name="connsiteX626" fmla="*/ 715979 w 900155"/>
                <a:gd name="connsiteY626" fmla="*/ 109850 h 807349"/>
                <a:gd name="connsiteX627" fmla="*/ 715741 w 900155"/>
                <a:gd name="connsiteY627" fmla="*/ 111799 h 807349"/>
                <a:gd name="connsiteX628" fmla="*/ 715182 w 900155"/>
                <a:gd name="connsiteY628" fmla="*/ 113338 h 807349"/>
                <a:gd name="connsiteX629" fmla="*/ 715724 w 900155"/>
                <a:gd name="connsiteY629" fmla="*/ 115746 h 807349"/>
                <a:gd name="connsiteX630" fmla="*/ 716097 w 900155"/>
                <a:gd name="connsiteY630" fmla="*/ 118536 h 807349"/>
                <a:gd name="connsiteX631" fmla="*/ 715622 w 900155"/>
                <a:gd name="connsiteY631" fmla="*/ 121918 h 807349"/>
                <a:gd name="connsiteX632" fmla="*/ 717345 w 900155"/>
                <a:gd name="connsiteY632" fmla="*/ 127011 h 807349"/>
                <a:gd name="connsiteX633" fmla="*/ 717918 w 900155"/>
                <a:gd name="connsiteY633" fmla="*/ 131079 h 807349"/>
                <a:gd name="connsiteX634" fmla="*/ 719744 w 900155"/>
                <a:gd name="connsiteY634" fmla="*/ 135055 h 807349"/>
                <a:gd name="connsiteX635" fmla="*/ 719609 w 900155"/>
                <a:gd name="connsiteY635" fmla="*/ 139150 h 807349"/>
                <a:gd name="connsiteX636" fmla="*/ 719268 w 900155"/>
                <a:gd name="connsiteY636" fmla="*/ 140694 h 807349"/>
                <a:gd name="connsiteX637" fmla="*/ 719038 w 900155"/>
                <a:gd name="connsiteY637" fmla="*/ 142991 h 807349"/>
                <a:gd name="connsiteX638" fmla="*/ 720461 w 900155"/>
                <a:gd name="connsiteY638" fmla="*/ 145852 h 807349"/>
                <a:gd name="connsiteX639" fmla="*/ 721777 w 900155"/>
                <a:gd name="connsiteY639" fmla="*/ 147964 h 807349"/>
                <a:gd name="connsiteX640" fmla="*/ 723731 w 900155"/>
                <a:gd name="connsiteY640" fmla="*/ 150259 h 807349"/>
                <a:gd name="connsiteX641" fmla="*/ 726307 w 900155"/>
                <a:gd name="connsiteY641" fmla="*/ 153747 h 807349"/>
                <a:gd name="connsiteX642" fmla="*/ 728145 w 900155"/>
                <a:gd name="connsiteY642" fmla="*/ 154448 h 807349"/>
                <a:gd name="connsiteX643" fmla="*/ 729786 w 900155"/>
                <a:gd name="connsiteY643" fmla="*/ 154497 h 807349"/>
                <a:gd name="connsiteX644" fmla="*/ 729561 w 900155"/>
                <a:gd name="connsiteY644" fmla="*/ 158085 h 807349"/>
                <a:gd name="connsiteX645" fmla="*/ 732830 w 900155"/>
                <a:gd name="connsiteY645" fmla="*/ 165162 h 807349"/>
                <a:gd name="connsiteX646" fmla="*/ 734512 w 900155"/>
                <a:gd name="connsiteY646" fmla="*/ 170955 h 807349"/>
                <a:gd name="connsiteX647" fmla="*/ 733366 w 900155"/>
                <a:gd name="connsiteY647" fmla="*/ 178760 h 807349"/>
                <a:gd name="connsiteX648" fmla="*/ 732234 w 900155"/>
                <a:gd name="connsiteY648" fmla="*/ 183291 h 807349"/>
                <a:gd name="connsiteX649" fmla="*/ 732442 w 900155"/>
                <a:gd name="connsiteY649" fmla="*/ 185509 h 807349"/>
                <a:gd name="connsiteX650" fmla="*/ 736661 w 900155"/>
                <a:gd name="connsiteY650" fmla="*/ 190927 h 807349"/>
                <a:gd name="connsiteX651" fmla="*/ 739097 w 900155"/>
                <a:gd name="connsiteY651" fmla="*/ 191930 h 807349"/>
                <a:gd name="connsiteX652" fmla="*/ 738622 w 900155"/>
                <a:gd name="connsiteY652" fmla="*/ 194516 h 807349"/>
                <a:gd name="connsiteX653" fmla="*/ 738294 w 900155"/>
                <a:gd name="connsiteY653" fmla="*/ 198511 h 807349"/>
                <a:gd name="connsiteX654" fmla="*/ 740207 w 900155"/>
                <a:gd name="connsiteY654" fmla="*/ 201622 h 807349"/>
                <a:gd name="connsiteX655" fmla="*/ 742369 w 900155"/>
                <a:gd name="connsiteY655" fmla="*/ 203952 h 807349"/>
                <a:gd name="connsiteX656" fmla="*/ 744716 w 900155"/>
                <a:gd name="connsiteY656" fmla="*/ 205344 h 807349"/>
                <a:gd name="connsiteX657" fmla="*/ 747030 w 900155"/>
                <a:gd name="connsiteY657" fmla="*/ 206444 h 807349"/>
                <a:gd name="connsiteX658" fmla="*/ 750060 w 900155"/>
                <a:gd name="connsiteY658" fmla="*/ 207552 h 807349"/>
                <a:gd name="connsiteX659" fmla="*/ 753900 w 900155"/>
                <a:gd name="connsiteY659" fmla="*/ 208018 h 807349"/>
                <a:gd name="connsiteX660" fmla="*/ 755892 w 900155"/>
                <a:gd name="connsiteY660" fmla="*/ 209774 h 807349"/>
                <a:gd name="connsiteX661" fmla="*/ 756909 w 900155"/>
                <a:gd name="connsiteY661" fmla="*/ 211163 h 807349"/>
                <a:gd name="connsiteX662" fmla="*/ 759991 w 900155"/>
                <a:gd name="connsiteY662" fmla="*/ 211646 h 807349"/>
                <a:gd name="connsiteX663" fmla="*/ 761393 w 900155"/>
                <a:gd name="connsiteY663" fmla="*/ 211388 h 807349"/>
                <a:gd name="connsiteX664" fmla="*/ 763097 w 900155"/>
                <a:gd name="connsiteY664" fmla="*/ 210818 h 807349"/>
                <a:gd name="connsiteX665" fmla="*/ 764254 w 900155"/>
                <a:gd name="connsiteY665" fmla="*/ 211764 h 807349"/>
                <a:gd name="connsiteX666" fmla="*/ 765113 w 900155"/>
                <a:gd name="connsiteY666" fmla="*/ 213022 h 807349"/>
                <a:gd name="connsiteX667" fmla="*/ 766800 w 900155"/>
                <a:gd name="connsiteY667" fmla="*/ 216435 h 807349"/>
                <a:gd name="connsiteX668" fmla="*/ 770257 w 900155"/>
                <a:gd name="connsiteY668" fmla="*/ 219820 h 807349"/>
                <a:gd name="connsiteX669" fmla="*/ 772708 w 900155"/>
                <a:gd name="connsiteY669" fmla="*/ 220386 h 807349"/>
                <a:gd name="connsiteX670" fmla="*/ 774088 w 900155"/>
                <a:gd name="connsiteY670" fmla="*/ 222099 h 807349"/>
                <a:gd name="connsiteX671" fmla="*/ 776053 w 900155"/>
                <a:gd name="connsiteY671" fmla="*/ 222566 h 807349"/>
                <a:gd name="connsiteX672" fmla="*/ 777745 w 900155"/>
                <a:gd name="connsiteY672" fmla="*/ 222775 h 807349"/>
                <a:gd name="connsiteX673" fmla="*/ 780147 w 900155"/>
                <a:gd name="connsiteY673" fmla="*/ 224091 h 807349"/>
                <a:gd name="connsiteX674" fmla="*/ 784066 w 900155"/>
                <a:gd name="connsiteY674" fmla="*/ 227119 h 807349"/>
                <a:gd name="connsiteX675" fmla="*/ 787601 w 900155"/>
                <a:gd name="connsiteY675" fmla="*/ 227611 h 807349"/>
                <a:gd name="connsiteX676" fmla="*/ 789232 w 900155"/>
                <a:gd name="connsiteY676" fmla="*/ 228447 h 807349"/>
                <a:gd name="connsiteX677" fmla="*/ 792745 w 900155"/>
                <a:gd name="connsiteY677" fmla="*/ 231770 h 807349"/>
                <a:gd name="connsiteX678" fmla="*/ 794107 w 900155"/>
                <a:gd name="connsiteY678" fmla="*/ 233541 h 807349"/>
                <a:gd name="connsiteX679" fmla="*/ 795517 w 900155"/>
                <a:gd name="connsiteY679" fmla="*/ 236178 h 807349"/>
                <a:gd name="connsiteX680" fmla="*/ 793755 w 900155"/>
                <a:gd name="connsiteY680" fmla="*/ 236428 h 807349"/>
                <a:gd name="connsiteX681" fmla="*/ 792095 w 900155"/>
                <a:gd name="connsiteY681" fmla="*/ 235877 h 807349"/>
                <a:gd name="connsiteX682" fmla="*/ 791071 w 900155"/>
                <a:gd name="connsiteY682" fmla="*/ 238468 h 807349"/>
                <a:gd name="connsiteX683" fmla="*/ 793410 w 900155"/>
                <a:gd name="connsiteY683" fmla="*/ 242053 h 807349"/>
                <a:gd name="connsiteX684" fmla="*/ 796129 w 900155"/>
                <a:gd name="connsiteY684" fmla="*/ 244582 h 807349"/>
                <a:gd name="connsiteX685" fmla="*/ 799405 w 900155"/>
                <a:gd name="connsiteY685" fmla="*/ 247258 h 807349"/>
                <a:gd name="connsiteX686" fmla="*/ 802596 w 900155"/>
                <a:gd name="connsiteY686" fmla="*/ 251046 h 807349"/>
                <a:gd name="connsiteX687" fmla="*/ 803404 w 900155"/>
                <a:gd name="connsiteY687" fmla="*/ 253938 h 807349"/>
                <a:gd name="connsiteX688" fmla="*/ 804263 w 900155"/>
                <a:gd name="connsiteY688" fmla="*/ 255079 h 807349"/>
                <a:gd name="connsiteX689" fmla="*/ 805347 w 900155"/>
                <a:gd name="connsiteY689" fmla="*/ 259164 h 807349"/>
                <a:gd name="connsiteX690" fmla="*/ 808106 w 900155"/>
                <a:gd name="connsiteY690" fmla="*/ 261540 h 807349"/>
                <a:gd name="connsiteX691" fmla="*/ 808238 w 900155"/>
                <a:gd name="connsiteY691" fmla="*/ 265865 h 807349"/>
                <a:gd name="connsiteX692" fmla="*/ 809653 w 900155"/>
                <a:gd name="connsiteY692" fmla="*/ 271852 h 807349"/>
                <a:gd name="connsiteX693" fmla="*/ 811238 w 900155"/>
                <a:gd name="connsiteY693" fmla="*/ 277283 h 807349"/>
                <a:gd name="connsiteX694" fmla="*/ 812335 w 900155"/>
                <a:gd name="connsiteY694" fmla="*/ 278926 h 807349"/>
                <a:gd name="connsiteX695" fmla="*/ 813630 w 900155"/>
                <a:gd name="connsiteY695" fmla="*/ 281533 h 807349"/>
                <a:gd name="connsiteX696" fmla="*/ 815127 w 900155"/>
                <a:gd name="connsiteY696" fmla="*/ 281202 h 807349"/>
                <a:gd name="connsiteX697" fmla="*/ 816252 w 900155"/>
                <a:gd name="connsiteY697" fmla="*/ 280355 h 807349"/>
                <a:gd name="connsiteX698" fmla="*/ 818416 w 900155"/>
                <a:gd name="connsiteY698" fmla="*/ 282947 h 807349"/>
                <a:gd name="connsiteX699" fmla="*/ 819612 w 900155"/>
                <a:gd name="connsiteY699" fmla="*/ 284094 h 807349"/>
                <a:gd name="connsiteX700" fmla="*/ 820301 w 900155"/>
                <a:gd name="connsiteY700" fmla="*/ 283417 h 807349"/>
                <a:gd name="connsiteX701" fmla="*/ 818893 w 900155"/>
                <a:gd name="connsiteY701" fmla="*/ 278456 h 807349"/>
                <a:gd name="connsiteX702" fmla="*/ 819763 w 900155"/>
                <a:gd name="connsiteY702" fmla="*/ 275580 h 807349"/>
                <a:gd name="connsiteX703" fmla="*/ 820633 w 900155"/>
                <a:gd name="connsiteY703" fmla="*/ 275211 h 807349"/>
                <a:gd name="connsiteX704" fmla="*/ 821862 w 900155"/>
                <a:gd name="connsiteY704" fmla="*/ 275120 h 807349"/>
                <a:gd name="connsiteX705" fmla="*/ 823340 w 900155"/>
                <a:gd name="connsiteY705" fmla="*/ 277465 h 807349"/>
                <a:gd name="connsiteX706" fmla="*/ 825371 w 900155"/>
                <a:gd name="connsiteY706" fmla="*/ 279963 h 807349"/>
                <a:gd name="connsiteX707" fmla="*/ 829135 w 900155"/>
                <a:gd name="connsiteY707" fmla="*/ 282194 h 807349"/>
                <a:gd name="connsiteX708" fmla="*/ 832147 w 900155"/>
                <a:gd name="connsiteY708" fmla="*/ 284290 h 807349"/>
                <a:gd name="connsiteX709" fmla="*/ 832994 w 900155"/>
                <a:gd name="connsiteY709" fmla="*/ 284212 h 807349"/>
                <a:gd name="connsiteX710" fmla="*/ 832657 w 900155"/>
                <a:gd name="connsiteY710" fmla="*/ 282593 h 807349"/>
                <a:gd name="connsiteX711" fmla="*/ 832750 w 900155"/>
                <a:gd name="connsiteY711" fmla="*/ 280219 h 807349"/>
                <a:gd name="connsiteX712" fmla="*/ 833950 w 900155"/>
                <a:gd name="connsiteY712" fmla="*/ 279831 h 807349"/>
                <a:gd name="connsiteX713" fmla="*/ 835047 w 900155"/>
                <a:gd name="connsiteY713" fmla="*/ 281013 h 807349"/>
                <a:gd name="connsiteX714" fmla="*/ 837068 w 900155"/>
                <a:gd name="connsiteY714" fmla="*/ 284687 h 807349"/>
                <a:gd name="connsiteX715" fmla="*/ 837487 w 900155"/>
                <a:gd name="connsiteY715" fmla="*/ 292292 h 807349"/>
                <a:gd name="connsiteX716" fmla="*/ 837491 w 900155"/>
                <a:gd name="connsiteY716" fmla="*/ 298670 h 807349"/>
                <a:gd name="connsiteX717" fmla="*/ 838822 w 900155"/>
                <a:gd name="connsiteY717" fmla="*/ 305239 h 807349"/>
                <a:gd name="connsiteX718" fmla="*/ 840766 w 900155"/>
                <a:gd name="connsiteY718" fmla="*/ 306965 h 807349"/>
                <a:gd name="connsiteX719" fmla="*/ 842042 w 900155"/>
                <a:gd name="connsiteY719" fmla="*/ 308597 h 807349"/>
                <a:gd name="connsiteX720" fmla="*/ 844229 w 900155"/>
                <a:gd name="connsiteY720" fmla="*/ 310802 h 807349"/>
                <a:gd name="connsiteX721" fmla="*/ 845691 w 900155"/>
                <a:gd name="connsiteY721" fmla="*/ 312859 h 807349"/>
                <a:gd name="connsiteX722" fmla="*/ 847516 w 900155"/>
                <a:gd name="connsiteY722" fmla="*/ 313817 h 807349"/>
                <a:gd name="connsiteX723" fmla="*/ 853363 w 900155"/>
                <a:gd name="connsiteY723" fmla="*/ 318203 h 807349"/>
                <a:gd name="connsiteX724" fmla="*/ 855013 w 900155"/>
                <a:gd name="connsiteY724" fmla="*/ 318699 h 807349"/>
                <a:gd name="connsiteX725" fmla="*/ 857568 w 900155"/>
                <a:gd name="connsiteY725" fmla="*/ 318811 h 807349"/>
                <a:gd name="connsiteX726" fmla="*/ 860679 w 900155"/>
                <a:gd name="connsiteY726" fmla="*/ 320792 h 807349"/>
                <a:gd name="connsiteX727" fmla="*/ 862251 w 900155"/>
                <a:gd name="connsiteY727" fmla="*/ 322621 h 807349"/>
                <a:gd name="connsiteX728" fmla="*/ 865626 w 900155"/>
                <a:gd name="connsiteY728" fmla="*/ 329503 h 807349"/>
                <a:gd name="connsiteX729" fmla="*/ 867274 w 900155"/>
                <a:gd name="connsiteY729" fmla="*/ 331925 h 807349"/>
                <a:gd name="connsiteX730" fmla="*/ 870638 w 900155"/>
                <a:gd name="connsiteY730" fmla="*/ 334315 h 807349"/>
                <a:gd name="connsiteX731" fmla="*/ 872210 w 900155"/>
                <a:gd name="connsiteY731" fmla="*/ 335095 h 807349"/>
                <a:gd name="connsiteX732" fmla="*/ 874492 w 900155"/>
                <a:gd name="connsiteY732" fmla="*/ 336738 h 807349"/>
                <a:gd name="connsiteX733" fmla="*/ 875307 w 900155"/>
                <a:gd name="connsiteY733" fmla="*/ 339126 h 807349"/>
                <a:gd name="connsiteX734" fmla="*/ 875503 w 900155"/>
                <a:gd name="connsiteY734" fmla="*/ 340537 h 807349"/>
                <a:gd name="connsiteX735" fmla="*/ 876857 w 900155"/>
                <a:gd name="connsiteY735" fmla="*/ 343081 h 807349"/>
                <a:gd name="connsiteX736" fmla="*/ 878869 w 900155"/>
                <a:gd name="connsiteY736" fmla="*/ 346140 h 807349"/>
                <a:gd name="connsiteX737" fmla="*/ 881851 w 900155"/>
                <a:gd name="connsiteY737" fmla="*/ 347840 h 807349"/>
                <a:gd name="connsiteX738" fmla="*/ 884601 w 900155"/>
                <a:gd name="connsiteY738" fmla="*/ 351564 h 807349"/>
                <a:gd name="connsiteX739" fmla="*/ 884756 w 900155"/>
                <a:gd name="connsiteY739" fmla="*/ 357616 h 807349"/>
                <a:gd name="connsiteX740" fmla="*/ 886181 w 900155"/>
                <a:gd name="connsiteY740" fmla="*/ 360632 h 807349"/>
                <a:gd name="connsiteX741" fmla="*/ 887138 w 900155"/>
                <a:gd name="connsiteY741" fmla="*/ 361910 h 807349"/>
                <a:gd name="connsiteX742" fmla="*/ 889289 w 900155"/>
                <a:gd name="connsiteY742" fmla="*/ 363148 h 807349"/>
                <a:gd name="connsiteX743" fmla="*/ 890161 w 900155"/>
                <a:gd name="connsiteY743" fmla="*/ 364129 h 807349"/>
                <a:gd name="connsiteX744" fmla="*/ 888375 w 900155"/>
                <a:gd name="connsiteY744" fmla="*/ 372169 h 807349"/>
                <a:gd name="connsiteX745" fmla="*/ 890098 w 900155"/>
                <a:gd name="connsiteY745" fmla="*/ 388283 h 807349"/>
                <a:gd name="connsiteX746" fmla="*/ 889097 w 900155"/>
                <a:gd name="connsiteY746" fmla="*/ 393321 h 807349"/>
                <a:gd name="connsiteX747" fmla="*/ 890891 w 900155"/>
                <a:gd name="connsiteY747" fmla="*/ 398329 h 807349"/>
                <a:gd name="connsiteX748" fmla="*/ 895044 w 900155"/>
                <a:gd name="connsiteY748" fmla="*/ 407011 h 807349"/>
                <a:gd name="connsiteX749" fmla="*/ 895987 w 900155"/>
                <a:gd name="connsiteY749" fmla="*/ 410096 h 807349"/>
                <a:gd name="connsiteX750" fmla="*/ 896572 w 900155"/>
                <a:gd name="connsiteY750" fmla="*/ 413699 h 807349"/>
                <a:gd name="connsiteX751" fmla="*/ 899243 w 900155"/>
                <a:gd name="connsiteY751" fmla="*/ 418300 h 807349"/>
                <a:gd name="connsiteX752" fmla="*/ 899098 w 900155"/>
                <a:gd name="connsiteY752" fmla="*/ 425320 h 807349"/>
                <a:gd name="connsiteX753" fmla="*/ 900155 w 900155"/>
                <a:gd name="connsiteY753" fmla="*/ 428672 h 807349"/>
                <a:gd name="connsiteX754" fmla="*/ 899883 w 900155"/>
                <a:gd name="connsiteY754" fmla="*/ 433031 h 807349"/>
                <a:gd name="connsiteX755" fmla="*/ 896734 w 900155"/>
                <a:gd name="connsiteY755" fmla="*/ 437738 h 807349"/>
                <a:gd name="connsiteX756" fmla="*/ 894210 w 900155"/>
                <a:gd name="connsiteY756" fmla="*/ 443523 h 807349"/>
                <a:gd name="connsiteX757" fmla="*/ 894186 w 900155"/>
                <a:gd name="connsiteY757" fmla="*/ 448494 h 807349"/>
                <a:gd name="connsiteX758" fmla="*/ 892537 w 900155"/>
                <a:gd name="connsiteY758" fmla="*/ 458059 h 807349"/>
                <a:gd name="connsiteX759" fmla="*/ 891463 w 900155"/>
                <a:gd name="connsiteY759" fmla="*/ 460627 h 807349"/>
                <a:gd name="connsiteX760" fmla="*/ 890675 w 900155"/>
                <a:gd name="connsiteY760" fmla="*/ 464629 h 807349"/>
                <a:gd name="connsiteX761" fmla="*/ 887190 w 900155"/>
                <a:gd name="connsiteY761" fmla="*/ 474321 h 807349"/>
                <a:gd name="connsiteX762" fmla="*/ 887039 w 900155"/>
                <a:gd name="connsiteY762" fmla="*/ 478130 h 807349"/>
                <a:gd name="connsiteX763" fmla="*/ 887572 w 900155"/>
                <a:gd name="connsiteY763" fmla="*/ 482680 h 807349"/>
                <a:gd name="connsiteX764" fmla="*/ 886991 w 900155"/>
                <a:gd name="connsiteY764" fmla="*/ 487052 h 807349"/>
                <a:gd name="connsiteX765" fmla="*/ 886121 w 900155"/>
                <a:gd name="connsiteY765" fmla="*/ 490030 h 807349"/>
                <a:gd name="connsiteX766" fmla="*/ 885275 w 900155"/>
                <a:gd name="connsiteY766" fmla="*/ 495549 h 807349"/>
                <a:gd name="connsiteX767" fmla="*/ 881779 w 900155"/>
                <a:gd name="connsiteY767" fmla="*/ 504144 h 807349"/>
                <a:gd name="connsiteX768" fmla="*/ 876769 w 900155"/>
                <a:gd name="connsiteY768" fmla="*/ 510501 h 807349"/>
                <a:gd name="connsiteX769" fmla="*/ 876460 w 900155"/>
                <a:gd name="connsiteY769" fmla="*/ 515344 h 807349"/>
                <a:gd name="connsiteX770" fmla="*/ 875825 w 900155"/>
                <a:gd name="connsiteY770" fmla="*/ 517484 h 807349"/>
                <a:gd name="connsiteX771" fmla="*/ 874804 w 900155"/>
                <a:gd name="connsiteY771" fmla="*/ 520161 h 807349"/>
                <a:gd name="connsiteX772" fmla="*/ 871727 w 900155"/>
                <a:gd name="connsiteY772" fmla="*/ 523075 h 807349"/>
                <a:gd name="connsiteX773" fmla="*/ 869874 w 900155"/>
                <a:gd name="connsiteY773" fmla="*/ 524335 h 807349"/>
                <a:gd name="connsiteX774" fmla="*/ 869172 w 900155"/>
                <a:gd name="connsiteY774" fmla="*/ 526045 h 807349"/>
                <a:gd name="connsiteX775" fmla="*/ 867421 w 900155"/>
                <a:gd name="connsiteY775" fmla="*/ 526045 h 807349"/>
                <a:gd name="connsiteX776" fmla="*/ 867377 w 900155"/>
                <a:gd name="connsiteY776" fmla="*/ 526581 h 807349"/>
                <a:gd name="connsiteX777" fmla="*/ 868561 w 900155"/>
                <a:gd name="connsiteY777" fmla="*/ 527118 h 807349"/>
                <a:gd name="connsiteX778" fmla="*/ 868034 w 900155"/>
                <a:gd name="connsiteY778" fmla="*/ 527998 h 807349"/>
                <a:gd name="connsiteX779" fmla="*/ 863391 w 900155"/>
                <a:gd name="connsiteY779" fmla="*/ 529549 h 807349"/>
                <a:gd name="connsiteX780" fmla="*/ 860264 w 900155"/>
                <a:gd name="connsiteY780" fmla="*/ 531541 h 807349"/>
                <a:gd name="connsiteX781" fmla="*/ 857068 w 900155"/>
                <a:gd name="connsiteY781" fmla="*/ 536418 h 807349"/>
                <a:gd name="connsiteX782" fmla="*/ 855727 w 900155"/>
                <a:gd name="connsiteY782" fmla="*/ 538969 h 807349"/>
                <a:gd name="connsiteX783" fmla="*/ 854011 w 900155"/>
                <a:gd name="connsiteY783" fmla="*/ 541420 h 807349"/>
                <a:gd name="connsiteX784" fmla="*/ 852987 w 900155"/>
                <a:gd name="connsiteY784" fmla="*/ 542570 h 807349"/>
                <a:gd name="connsiteX785" fmla="*/ 852536 w 900155"/>
                <a:gd name="connsiteY785" fmla="*/ 543805 h 807349"/>
                <a:gd name="connsiteX786" fmla="*/ 851843 w 900155"/>
                <a:gd name="connsiteY786" fmla="*/ 546882 h 807349"/>
                <a:gd name="connsiteX787" fmla="*/ 850195 w 900155"/>
                <a:gd name="connsiteY787" fmla="*/ 547435 h 807349"/>
                <a:gd name="connsiteX788" fmla="*/ 848748 w 900155"/>
                <a:gd name="connsiteY788" fmla="*/ 548353 h 807349"/>
                <a:gd name="connsiteX789" fmla="*/ 849426 w 900155"/>
                <a:gd name="connsiteY789" fmla="*/ 551288 h 807349"/>
                <a:gd name="connsiteX790" fmla="*/ 848667 w 900155"/>
                <a:gd name="connsiteY790" fmla="*/ 554652 h 807349"/>
                <a:gd name="connsiteX791" fmla="*/ 848487 w 900155"/>
                <a:gd name="connsiteY791" fmla="*/ 556933 h 807349"/>
                <a:gd name="connsiteX792" fmla="*/ 847699 w 900155"/>
                <a:gd name="connsiteY792" fmla="*/ 558384 h 807349"/>
                <a:gd name="connsiteX793" fmla="*/ 846749 w 900155"/>
                <a:gd name="connsiteY793" fmla="*/ 557862 h 807349"/>
                <a:gd name="connsiteX794" fmla="*/ 846002 w 900155"/>
                <a:gd name="connsiteY794" fmla="*/ 558095 h 807349"/>
                <a:gd name="connsiteX795" fmla="*/ 845049 w 900155"/>
                <a:gd name="connsiteY795" fmla="*/ 558886 h 807349"/>
                <a:gd name="connsiteX796" fmla="*/ 846518 w 900155"/>
                <a:gd name="connsiteY796" fmla="*/ 559134 h 807349"/>
                <a:gd name="connsiteX797" fmla="*/ 847409 w 900155"/>
                <a:gd name="connsiteY797" fmla="*/ 559493 h 807349"/>
                <a:gd name="connsiteX798" fmla="*/ 844279 w 900155"/>
                <a:gd name="connsiteY798" fmla="*/ 562798 h 807349"/>
                <a:gd name="connsiteX799" fmla="*/ 841413 w 900155"/>
                <a:gd name="connsiteY799" fmla="*/ 566149 h 807349"/>
                <a:gd name="connsiteX800" fmla="*/ 840685 w 900155"/>
                <a:gd name="connsiteY800" fmla="*/ 568381 h 807349"/>
                <a:gd name="connsiteX801" fmla="*/ 839444 w 900155"/>
                <a:gd name="connsiteY801" fmla="*/ 571186 h 807349"/>
                <a:gd name="connsiteX802" fmla="*/ 838351 w 900155"/>
                <a:gd name="connsiteY802" fmla="*/ 577432 h 807349"/>
                <a:gd name="connsiteX803" fmla="*/ 837449 w 900155"/>
                <a:gd name="connsiteY803" fmla="*/ 581008 h 807349"/>
                <a:gd name="connsiteX804" fmla="*/ 838070 w 900155"/>
                <a:gd name="connsiteY804" fmla="*/ 583553 h 807349"/>
                <a:gd name="connsiteX805" fmla="*/ 837969 w 900155"/>
                <a:gd name="connsiteY805" fmla="*/ 584030 h 807349"/>
                <a:gd name="connsiteX806" fmla="*/ 837306 w 900155"/>
                <a:gd name="connsiteY806" fmla="*/ 584218 h 807349"/>
                <a:gd name="connsiteX807" fmla="*/ 836895 w 900155"/>
                <a:gd name="connsiteY807" fmla="*/ 583886 h 807349"/>
                <a:gd name="connsiteX808" fmla="*/ 835598 w 900155"/>
                <a:gd name="connsiteY808" fmla="*/ 584756 h 807349"/>
                <a:gd name="connsiteX809" fmla="*/ 835235 w 900155"/>
                <a:gd name="connsiteY809" fmla="*/ 585627 h 807349"/>
                <a:gd name="connsiteX810" fmla="*/ 835781 w 900155"/>
                <a:gd name="connsiteY810" fmla="*/ 586707 h 807349"/>
                <a:gd name="connsiteX811" fmla="*/ 836147 w 900155"/>
                <a:gd name="connsiteY811" fmla="*/ 587079 h 807349"/>
                <a:gd name="connsiteX812" fmla="*/ 835980 w 900155"/>
                <a:gd name="connsiteY812" fmla="*/ 587595 h 807349"/>
                <a:gd name="connsiteX813" fmla="*/ 835443 w 900155"/>
                <a:gd name="connsiteY813" fmla="*/ 588161 h 807349"/>
                <a:gd name="connsiteX814" fmla="*/ 834207 w 900155"/>
                <a:gd name="connsiteY814" fmla="*/ 588159 h 807349"/>
                <a:gd name="connsiteX815" fmla="*/ 832726 w 900155"/>
                <a:gd name="connsiteY815" fmla="*/ 589077 h 807349"/>
                <a:gd name="connsiteX816" fmla="*/ 828450 w 900155"/>
                <a:gd name="connsiteY816" fmla="*/ 598369 h 807349"/>
                <a:gd name="connsiteX817" fmla="*/ 826639 w 900155"/>
                <a:gd name="connsiteY817" fmla="*/ 600838 h 807349"/>
                <a:gd name="connsiteX818" fmla="*/ 824496 w 900155"/>
                <a:gd name="connsiteY818" fmla="*/ 604649 h 807349"/>
                <a:gd name="connsiteX819" fmla="*/ 823682 w 900155"/>
                <a:gd name="connsiteY819" fmla="*/ 608103 h 807349"/>
                <a:gd name="connsiteX820" fmla="*/ 823028 w 900155"/>
                <a:gd name="connsiteY820" fmla="*/ 611885 h 807349"/>
                <a:gd name="connsiteX821" fmla="*/ 822285 w 900155"/>
                <a:gd name="connsiteY821" fmla="*/ 618262 h 807349"/>
                <a:gd name="connsiteX822" fmla="*/ 821566 w 900155"/>
                <a:gd name="connsiteY822" fmla="*/ 622763 h 807349"/>
                <a:gd name="connsiteX823" fmla="*/ 819916 w 900155"/>
                <a:gd name="connsiteY823" fmla="*/ 627133 h 807349"/>
                <a:gd name="connsiteX824" fmla="*/ 819299 w 900155"/>
                <a:gd name="connsiteY824" fmla="*/ 630250 h 807349"/>
                <a:gd name="connsiteX825" fmla="*/ 819085 w 900155"/>
                <a:gd name="connsiteY825" fmla="*/ 636218 h 807349"/>
                <a:gd name="connsiteX826" fmla="*/ 819875 w 900155"/>
                <a:gd name="connsiteY826" fmla="*/ 640755 h 807349"/>
                <a:gd name="connsiteX827" fmla="*/ 819357 w 900155"/>
                <a:gd name="connsiteY827" fmla="*/ 643167 h 807349"/>
                <a:gd name="connsiteX828" fmla="*/ 819344 w 900155"/>
                <a:gd name="connsiteY828" fmla="*/ 645484 h 807349"/>
                <a:gd name="connsiteX829" fmla="*/ 818689 w 900155"/>
                <a:gd name="connsiteY829" fmla="*/ 647645 h 807349"/>
                <a:gd name="connsiteX830" fmla="*/ 815962 w 900155"/>
                <a:gd name="connsiteY830" fmla="*/ 648139 h 807349"/>
                <a:gd name="connsiteX831" fmla="*/ 813742 w 900155"/>
                <a:gd name="connsiteY831" fmla="*/ 649906 h 807349"/>
                <a:gd name="connsiteX832" fmla="*/ 810568 w 900155"/>
                <a:gd name="connsiteY832" fmla="*/ 652795 h 807349"/>
                <a:gd name="connsiteX833" fmla="*/ 808699 w 900155"/>
                <a:gd name="connsiteY833" fmla="*/ 653849 h 807349"/>
                <a:gd name="connsiteX834" fmla="*/ 804665 w 900155"/>
                <a:gd name="connsiteY834" fmla="*/ 654641 h 807349"/>
                <a:gd name="connsiteX835" fmla="*/ 796826 w 900155"/>
                <a:gd name="connsiteY835" fmla="*/ 654291 h 807349"/>
                <a:gd name="connsiteX836" fmla="*/ 781758 w 900155"/>
                <a:gd name="connsiteY836" fmla="*/ 655372 h 807349"/>
                <a:gd name="connsiteX837" fmla="*/ 778842 w 900155"/>
                <a:gd name="connsiteY837" fmla="*/ 656021 h 807349"/>
                <a:gd name="connsiteX838" fmla="*/ 773228 w 900155"/>
                <a:gd name="connsiteY838" fmla="*/ 658023 h 807349"/>
                <a:gd name="connsiteX839" fmla="*/ 767803 w 900155"/>
                <a:gd name="connsiteY839" fmla="*/ 661137 h 807349"/>
                <a:gd name="connsiteX840" fmla="*/ 762589 w 900155"/>
                <a:gd name="connsiteY840" fmla="*/ 665333 h 807349"/>
                <a:gd name="connsiteX841" fmla="*/ 750676 w 900155"/>
                <a:gd name="connsiteY841" fmla="*/ 676766 h 807349"/>
                <a:gd name="connsiteX842" fmla="*/ 741365 w 900155"/>
                <a:gd name="connsiteY842" fmla="*/ 678012 h 807349"/>
                <a:gd name="connsiteX843" fmla="*/ 739607 w 900155"/>
                <a:gd name="connsiteY843" fmla="*/ 678012 h 807349"/>
                <a:gd name="connsiteX844" fmla="*/ 738198 w 900155"/>
                <a:gd name="connsiteY844" fmla="*/ 677702 h 807349"/>
                <a:gd name="connsiteX845" fmla="*/ 736538 w 900155"/>
                <a:gd name="connsiteY845" fmla="*/ 678415 h 807349"/>
                <a:gd name="connsiteX846" fmla="*/ 736510 w 900155"/>
                <a:gd name="connsiteY846" fmla="*/ 679841 h 807349"/>
                <a:gd name="connsiteX847" fmla="*/ 738043 w 900155"/>
                <a:gd name="connsiteY847" fmla="*/ 681325 h 807349"/>
                <a:gd name="connsiteX848" fmla="*/ 739173 w 900155"/>
                <a:gd name="connsiteY848" fmla="*/ 682720 h 807349"/>
                <a:gd name="connsiteX849" fmla="*/ 741170 w 900155"/>
                <a:gd name="connsiteY849" fmla="*/ 680794 h 807349"/>
                <a:gd name="connsiteX850" fmla="*/ 742047 w 900155"/>
                <a:gd name="connsiteY850" fmla="*/ 681328 h 807349"/>
                <a:gd name="connsiteX851" fmla="*/ 742379 w 900155"/>
                <a:gd name="connsiteY851" fmla="*/ 684882 h 807349"/>
                <a:gd name="connsiteX852" fmla="*/ 742427 w 900155"/>
                <a:gd name="connsiteY852" fmla="*/ 687135 h 807349"/>
                <a:gd name="connsiteX853" fmla="*/ 741826 w 900155"/>
                <a:gd name="connsiteY853" fmla="*/ 688357 h 807349"/>
                <a:gd name="connsiteX854" fmla="*/ 740574 w 900155"/>
                <a:gd name="connsiteY854" fmla="*/ 689217 h 807349"/>
                <a:gd name="connsiteX855" fmla="*/ 739248 w 900155"/>
                <a:gd name="connsiteY855" fmla="*/ 688656 h 807349"/>
                <a:gd name="connsiteX856" fmla="*/ 739071 w 900155"/>
                <a:gd name="connsiteY856" fmla="*/ 687435 h 807349"/>
                <a:gd name="connsiteX857" fmla="*/ 737353 w 900155"/>
                <a:gd name="connsiteY857" fmla="*/ 684534 h 807349"/>
                <a:gd name="connsiteX858" fmla="*/ 735232 w 900155"/>
                <a:gd name="connsiteY858" fmla="*/ 681983 h 807349"/>
                <a:gd name="connsiteX859" fmla="*/ 733275 w 900155"/>
                <a:gd name="connsiteY859" fmla="*/ 681167 h 807349"/>
                <a:gd name="connsiteX860" fmla="*/ 732130 w 900155"/>
                <a:gd name="connsiteY860" fmla="*/ 682019 h 807349"/>
                <a:gd name="connsiteX861" fmla="*/ 730299 w 900155"/>
                <a:gd name="connsiteY861" fmla="*/ 682914 h 807349"/>
                <a:gd name="connsiteX862" fmla="*/ 728755 w 900155"/>
                <a:gd name="connsiteY862" fmla="*/ 679667 h 807349"/>
                <a:gd name="connsiteX863" fmla="*/ 727104 w 900155"/>
                <a:gd name="connsiteY863" fmla="*/ 676856 h 807349"/>
                <a:gd name="connsiteX864" fmla="*/ 724916 w 900155"/>
                <a:gd name="connsiteY864" fmla="*/ 676564 h 807349"/>
                <a:gd name="connsiteX865" fmla="*/ 723025 w 900155"/>
                <a:gd name="connsiteY865" fmla="*/ 676595 h 807349"/>
                <a:gd name="connsiteX866" fmla="*/ 721455 w 900155"/>
                <a:gd name="connsiteY866" fmla="*/ 675379 h 807349"/>
                <a:gd name="connsiteX867" fmla="*/ 718401 w 900155"/>
                <a:gd name="connsiteY867" fmla="*/ 673465 h 807349"/>
                <a:gd name="connsiteX868" fmla="*/ 718997 w 900155"/>
                <a:gd name="connsiteY868" fmla="*/ 671971 h 807349"/>
                <a:gd name="connsiteX869" fmla="*/ 719851 w 900155"/>
                <a:gd name="connsiteY869" fmla="*/ 670401 h 807349"/>
                <a:gd name="connsiteX870" fmla="*/ 721606 w 900155"/>
                <a:gd name="connsiteY870" fmla="*/ 669823 h 807349"/>
                <a:gd name="connsiteX871" fmla="*/ 721079 w 900155"/>
                <a:gd name="connsiteY871" fmla="*/ 667704 h 807349"/>
                <a:gd name="connsiteX872" fmla="*/ 720138 w 900155"/>
                <a:gd name="connsiteY872" fmla="*/ 665965 h 807349"/>
                <a:gd name="connsiteX873" fmla="*/ 717719 w 900155"/>
                <a:gd name="connsiteY873" fmla="*/ 665501 h 807349"/>
                <a:gd name="connsiteX874" fmla="*/ 716091 w 900155"/>
                <a:gd name="connsiteY874" fmla="*/ 665807 h 807349"/>
                <a:gd name="connsiteX875" fmla="*/ 715121 w 900155"/>
                <a:gd name="connsiteY875" fmla="*/ 667184 h 807349"/>
                <a:gd name="connsiteX876" fmla="*/ 713845 w 900155"/>
                <a:gd name="connsiteY876" fmla="*/ 669559 h 807349"/>
                <a:gd name="connsiteX877" fmla="*/ 708723 w 900155"/>
                <a:gd name="connsiteY877" fmla="*/ 672574 h 807349"/>
                <a:gd name="connsiteX878" fmla="*/ 706240 w 900155"/>
                <a:gd name="connsiteY878" fmla="*/ 670916 h 807349"/>
                <a:gd name="connsiteX879" fmla="*/ 703376 w 900155"/>
                <a:gd name="connsiteY879" fmla="*/ 668447 h 807349"/>
                <a:gd name="connsiteX880" fmla="*/ 704758 w 900155"/>
                <a:gd name="connsiteY880" fmla="*/ 668628 h 807349"/>
                <a:gd name="connsiteX881" fmla="*/ 707658 w 900155"/>
                <a:gd name="connsiteY881" fmla="*/ 668542 h 807349"/>
                <a:gd name="connsiteX882" fmla="*/ 710062 w 900155"/>
                <a:gd name="connsiteY882" fmla="*/ 666341 h 807349"/>
                <a:gd name="connsiteX883" fmla="*/ 711098 w 900155"/>
                <a:gd name="connsiteY883" fmla="*/ 664967 h 807349"/>
                <a:gd name="connsiteX884" fmla="*/ 712269 w 900155"/>
                <a:gd name="connsiteY884" fmla="*/ 662051 h 807349"/>
                <a:gd name="connsiteX885" fmla="*/ 710714 w 900155"/>
                <a:gd name="connsiteY885" fmla="*/ 659990 h 807349"/>
                <a:gd name="connsiteX886" fmla="*/ 709282 w 900155"/>
                <a:gd name="connsiteY886" fmla="*/ 658486 h 807349"/>
                <a:gd name="connsiteX887" fmla="*/ 707214 w 900155"/>
                <a:gd name="connsiteY887" fmla="*/ 657142 h 807349"/>
                <a:gd name="connsiteX888" fmla="*/ 699412 w 900155"/>
                <a:gd name="connsiteY888" fmla="*/ 661688 h 807349"/>
                <a:gd name="connsiteX889" fmla="*/ 697794 w 900155"/>
                <a:gd name="connsiteY889" fmla="*/ 662339 h 807349"/>
                <a:gd name="connsiteX890" fmla="*/ 696250 w 900155"/>
                <a:gd name="connsiteY890" fmla="*/ 663221 h 807349"/>
                <a:gd name="connsiteX891" fmla="*/ 698954 w 900155"/>
                <a:gd name="connsiteY891" fmla="*/ 663978 h 807349"/>
                <a:gd name="connsiteX892" fmla="*/ 700539 w 900155"/>
                <a:gd name="connsiteY892" fmla="*/ 663753 h 807349"/>
                <a:gd name="connsiteX893" fmla="*/ 702214 w 900155"/>
                <a:gd name="connsiteY893" fmla="*/ 665097 h 807349"/>
                <a:gd name="connsiteX894" fmla="*/ 699526 w 900155"/>
                <a:gd name="connsiteY894" fmla="*/ 667001 h 807349"/>
                <a:gd name="connsiteX895" fmla="*/ 697408 w 900155"/>
                <a:gd name="connsiteY895" fmla="*/ 667506 h 807349"/>
                <a:gd name="connsiteX896" fmla="*/ 694773 w 900155"/>
                <a:gd name="connsiteY896" fmla="*/ 668650 h 807349"/>
                <a:gd name="connsiteX897" fmla="*/ 689751 w 900155"/>
                <a:gd name="connsiteY897" fmla="*/ 671584 h 807349"/>
                <a:gd name="connsiteX898" fmla="*/ 683342 w 900155"/>
                <a:gd name="connsiteY898" fmla="*/ 677677 h 807349"/>
                <a:gd name="connsiteX899" fmla="*/ 680578 w 900155"/>
                <a:gd name="connsiteY899" fmla="*/ 679433 h 807349"/>
                <a:gd name="connsiteX900" fmla="*/ 677310 w 900155"/>
                <a:gd name="connsiteY900" fmla="*/ 680827 h 807349"/>
                <a:gd name="connsiteX901" fmla="*/ 672877 w 900155"/>
                <a:gd name="connsiteY901" fmla="*/ 679198 h 807349"/>
                <a:gd name="connsiteX902" fmla="*/ 670401 w 900155"/>
                <a:gd name="connsiteY902" fmla="*/ 678820 h 807349"/>
                <a:gd name="connsiteX903" fmla="*/ 667220 w 900155"/>
                <a:gd name="connsiteY903" fmla="*/ 676312 h 807349"/>
                <a:gd name="connsiteX904" fmla="*/ 661860 w 900155"/>
                <a:gd name="connsiteY904" fmla="*/ 674637 h 807349"/>
                <a:gd name="connsiteX905" fmla="*/ 656816 w 900155"/>
                <a:gd name="connsiteY905" fmla="*/ 671310 h 807349"/>
                <a:gd name="connsiteX906" fmla="*/ 653361 w 900155"/>
                <a:gd name="connsiteY906" fmla="*/ 669630 h 807349"/>
                <a:gd name="connsiteX907" fmla="*/ 650899 w 900155"/>
                <a:gd name="connsiteY907" fmla="*/ 669265 h 807349"/>
                <a:gd name="connsiteX908" fmla="*/ 647431 w 900155"/>
                <a:gd name="connsiteY908" fmla="*/ 669966 h 807349"/>
                <a:gd name="connsiteX909" fmla="*/ 641616 w 900155"/>
                <a:gd name="connsiteY909" fmla="*/ 666994 h 807349"/>
                <a:gd name="connsiteX910" fmla="*/ 637200 w 900155"/>
                <a:gd name="connsiteY910" fmla="*/ 666675 h 807349"/>
                <a:gd name="connsiteX911" fmla="*/ 634302 w 900155"/>
                <a:gd name="connsiteY911" fmla="*/ 669667 h 807349"/>
                <a:gd name="connsiteX912" fmla="*/ 632043 w 900155"/>
                <a:gd name="connsiteY912" fmla="*/ 669461 h 807349"/>
                <a:gd name="connsiteX913" fmla="*/ 630549 w 900155"/>
                <a:gd name="connsiteY913" fmla="*/ 669042 h 807349"/>
                <a:gd name="connsiteX914" fmla="*/ 625897 w 900155"/>
                <a:gd name="connsiteY914" fmla="*/ 664121 h 807349"/>
                <a:gd name="connsiteX915" fmla="*/ 621411 w 900155"/>
                <a:gd name="connsiteY915" fmla="*/ 661683 h 807349"/>
                <a:gd name="connsiteX916" fmla="*/ 612926 w 900155"/>
                <a:gd name="connsiteY916" fmla="*/ 660438 h 807349"/>
                <a:gd name="connsiteX917" fmla="*/ 607690 w 900155"/>
                <a:gd name="connsiteY917" fmla="*/ 657062 h 807349"/>
                <a:gd name="connsiteX918" fmla="*/ 603747 w 900155"/>
                <a:gd name="connsiteY918" fmla="*/ 650550 h 807349"/>
                <a:gd name="connsiteX919" fmla="*/ 596288 w 900155"/>
                <a:gd name="connsiteY919" fmla="*/ 643142 h 807349"/>
                <a:gd name="connsiteX920" fmla="*/ 594286 w 900155"/>
                <a:gd name="connsiteY920" fmla="*/ 640433 h 807349"/>
                <a:gd name="connsiteX921" fmla="*/ 593357 w 900155"/>
                <a:gd name="connsiteY921" fmla="*/ 637782 h 807349"/>
                <a:gd name="connsiteX922" fmla="*/ 593274 w 900155"/>
                <a:gd name="connsiteY922" fmla="*/ 635692 h 807349"/>
                <a:gd name="connsiteX923" fmla="*/ 594278 w 900155"/>
                <a:gd name="connsiteY923" fmla="*/ 631701 h 807349"/>
                <a:gd name="connsiteX924" fmla="*/ 595664 w 900155"/>
                <a:gd name="connsiteY924" fmla="*/ 627775 h 807349"/>
                <a:gd name="connsiteX925" fmla="*/ 595901 w 900155"/>
                <a:gd name="connsiteY925" fmla="*/ 625595 h 807349"/>
                <a:gd name="connsiteX926" fmla="*/ 593064 w 900155"/>
                <a:gd name="connsiteY926" fmla="*/ 618230 h 807349"/>
                <a:gd name="connsiteX927" fmla="*/ 589078 w 900155"/>
                <a:gd name="connsiteY927" fmla="*/ 611285 h 807349"/>
                <a:gd name="connsiteX928" fmla="*/ 587246 w 900155"/>
                <a:gd name="connsiteY928" fmla="*/ 609106 h 807349"/>
                <a:gd name="connsiteX929" fmla="*/ 582360 w 900155"/>
                <a:gd name="connsiteY929" fmla="*/ 604491 h 807349"/>
                <a:gd name="connsiteX930" fmla="*/ 577778 w 900155"/>
                <a:gd name="connsiteY930" fmla="*/ 601013 h 807349"/>
                <a:gd name="connsiteX931" fmla="*/ 576614 w 900155"/>
                <a:gd name="connsiteY931" fmla="*/ 599209 h 807349"/>
                <a:gd name="connsiteX932" fmla="*/ 576258 w 900155"/>
                <a:gd name="connsiteY932" fmla="*/ 598283 h 807349"/>
                <a:gd name="connsiteX933" fmla="*/ 578423 w 900155"/>
                <a:gd name="connsiteY933" fmla="*/ 598728 h 807349"/>
                <a:gd name="connsiteX934" fmla="*/ 579432 w 900155"/>
                <a:gd name="connsiteY934" fmla="*/ 597315 h 807349"/>
                <a:gd name="connsiteX935" fmla="*/ 580881 w 900155"/>
                <a:gd name="connsiteY935" fmla="*/ 596832 h 807349"/>
                <a:gd name="connsiteX936" fmla="*/ 582043 w 900155"/>
                <a:gd name="connsiteY936" fmla="*/ 598708 h 807349"/>
                <a:gd name="connsiteX937" fmla="*/ 583345 w 900155"/>
                <a:gd name="connsiteY937" fmla="*/ 599052 h 807349"/>
                <a:gd name="connsiteX938" fmla="*/ 583403 w 900155"/>
                <a:gd name="connsiteY938" fmla="*/ 595899 h 807349"/>
                <a:gd name="connsiteX939" fmla="*/ 584133 w 900155"/>
                <a:gd name="connsiteY939" fmla="*/ 594409 h 807349"/>
                <a:gd name="connsiteX940" fmla="*/ 583634 w 900155"/>
                <a:gd name="connsiteY940" fmla="*/ 593725 h 807349"/>
                <a:gd name="connsiteX941" fmla="*/ 583191 w 900155"/>
                <a:gd name="connsiteY941" fmla="*/ 593121 h 807349"/>
                <a:gd name="connsiteX942" fmla="*/ 581207 w 900155"/>
                <a:gd name="connsiteY942" fmla="*/ 592415 h 807349"/>
                <a:gd name="connsiteX943" fmla="*/ 579017 w 900155"/>
                <a:gd name="connsiteY943" fmla="*/ 593477 h 807349"/>
                <a:gd name="connsiteX944" fmla="*/ 577335 w 900155"/>
                <a:gd name="connsiteY944" fmla="*/ 594826 h 807349"/>
                <a:gd name="connsiteX945" fmla="*/ 575070 w 900155"/>
                <a:gd name="connsiteY945" fmla="*/ 595972 h 807349"/>
                <a:gd name="connsiteX946" fmla="*/ 574187 w 900155"/>
                <a:gd name="connsiteY946" fmla="*/ 597178 h 807349"/>
                <a:gd name="connsiteX947" fmla="*/ 571880 w 900155"/>
                <a:gd name="connsiteY947" fmla="*/ 597217 h 807349"/>
                <a:gd name="connsiteX948" fmla="*/ 570967 w 900155"/>
                <a:gd name="connsiteY948" fmla="*/ 597529 h 807349"/>
                <a:gd name="connsiteX949" fmla="*/ 566372 w 900155"/>
                <a:gd name="connsiteY949" fmla="*/ 599833 h 807349"/>
                <a:gd name="connsiteX950" fmla="*/ 563439 w 900155"/>
                <a:gd name="connsiteY950" fmla="*/ 599892 h 807349"/>
                <a:gd name="connsiteX951" fmla="*/ 558909 w 900155"/>
                <a:gd name="connsiteY951" fmla="*/ 599086 h 807349"/>
                <a:gd name="connsiteX952" fmla="*/ 560408 w 900155"/>
                <a:gd name="connsiteY952" fmla="*/ 595914 h 807349"/>
                <a:gd name="connsiteX953" fmla="*/ 562193 w 900155"/>
                <a:gd name="connsiteY953" fmla="*/ 594034 h 807349"/>
                <a:gd name="connsiteX954" fmla="*/ 563673 w 900155"/>
                <a:gd name="connsiteY954" fmla="*/ 591876 h 807349"/>
                <a:gd name="connsiteX955" fmla="*/ 566134 w 900155"/>
                <a:gd name="connsiteY955" fmla="*/ 584319 h 807349"/>
                <a:gd name="connsiteX956" fmla="*/ 565666 w 900155"/>
                <a:gd name="connsiteY956" fmla="*/ 577791 h 807349"/>
                <a:gd name="connsiteX957" fmla="*/ 564478 w 900155"/>
                <a:gd name="connsiteY957" fmla="*/ 575109 h 807349"/>
                <a:gd name="connsiteX958" fmla="*/ 560677 w 900155"/>
                <a:gd name="connsiteY958" fmla="*/ 569720 h 807349"/>
                <a:gd name="connsiteX959" fmla="*/ 558950 w 900155"/>
                <a:gd name="connsiteY959" fmla="*/ 566402 h 807349"/>
                <a:gd name="connsiteX960" fmla="*/ 556806 w 900155"/>
                <a:gd name="connsiteY960" fmla="*/ 562980 h 807349"/>
                <a:gd name="connsiteX961" fmla="*/ 555746 w 900155"/>
                <a:gd name="connsiteY961" fmla="*/ 564971 h 807349"/>
                <a:gd name="connsiteX962" fmla="*/ 555104 w 900155"/>
                <a:gd name="connsiteY962" fmla="*/ 567071 h 807349"/>
                <a:gd name="connsiteX963" fmla="*/ 553047 w 900155"/>
                <a:gd name="connsiteY963" fmla="*/ 570112 h 807349"/>
                <a:gd name="connsiteX964" fmla="*/ 552048 w 900155"/>
                <a:gd name="connsiteY964" fmla="*/ 576888 h 807349"/>
                <a:gd name="connsiteX965" fmla="*/ 548015 w 900155"/>
                <a:gd name="connsiteY965" fmla="*/ 587289 h 807349"/>
                <a:gd name="connsiteX966" fmla="*/ 545245 w 900155"/>
                <a:gd name="connsiteY966" fmla="*/ 587417 h 807349"/>
                <a:gd name="connsiteX967" fmla="*/ 542882 w 900155"/>
                <a:gd name="connsiteY967" fmla="*/ 586998 h 807349"/>
                <a:gd name="connsiteX968" fmla="*/ 538743 w 900155"/>
                <a:gd name="connsiteY968" fmla="*/ 588186 h 807349"/>
                <a:gd name="connsiteX969" fmla="*/ 535914 w 900155"/>
                <a:gd name="connsiteY969" fmla="*/ 589633 h 807349"/>
                <a:gd name="connsiteX970" fmla="*/ 533380 w 900155"/>
                <a:gd name="connsiteY970" fmla="*/ 589636 h 807349"/>
                <a:gd name="connsiteX971" fmla="*/ 531981 w 900155"/>
                <a:gd name="connsiteY971" fmla="*/ 590096 h 807349"/>
                <a:gd name="connsiteX972" fmla="*/ 530146 w 900155"/>
                <a:gd name="connsiteY972" fmla="*/ 589717 h 807349"/>
                <a:gd name="connsiteX973" fmla="*/ 533036 w 900155"/>
                <a:gd name="connsiteY973" fmla="*/ 581600 h 807349"/>
                <a:gd name="connsiteX974" fmla="*/ 535560 w 900155"/>
                <a:gd name="connsiteY974" fmla="*/ 581822 h 807349"/>
                <a:gd name="connsiteX975" fmla="*/ 538293 w 900155"/>
                <a:gd name="connsiteY975" fmla="*/ 581492 h 807349"/>
                <a:gd name="connsiteX976" fmla="*/ 539540 w 900155"/>
                <a:gd name="connsiteY976" fmla="*/ 581629 h 807349"/>
                <a:gd name="connsiteX977" fmla="*/ 541366 w 900155"/>
                <a:gd name="connsiteY977" fmla="*/ 581536 h 807349"/>
                <a:gd name="connsiteX978" fmla="*/ 542766 w 900155"/>
                <a:gd name="connsiteY978" fmla="*/ 577813 h 807349"/>
                <a:gd name="connsiteX979" fmla="*/ 543621 w 900155"/>
                <a:gd name="connsiteY979" fmla="*/ 573649 h 807349"/>
                <a:gd name="connsiteX980" fmla="*/ 543081 w 900155"/>
                <a:gd name="connsiteY980" fmla="*/ 570965 h 807349"/>
                <a:gd name="connsiteX981" fmla="*/ 542869 w 900155"/>
                <a:gd name="connsiteY981" fmla="*/ 568188 h 807349"/>
                <a:gd name="connsiteX982" fmla="*/ 543413 w 900155"/>
                <a:gd name="connsiteY982" fmla="*/ 565030 h 807349"/>
                <a:gd name="connsiteX983" fmla="*/ 543640 w 900155"/>
                <a:gd name="connsiteY983" fmla="*/ 562764 h 807349"/>
                <a:gd name="connsiteX984" fmla="*/ 547101 w 900155"/>
                <a:gd name="connsiteY984" fmla="*/ 555254 h 807349"/>
                <a:gd name="connsiteX985" fmla="*/ 549986 w 900155"/>
                <a:gd name="connsiteY985" fmla="*/ 551383 h 807349"/>
                <a:gd name="connsiteX986" fmla="*/ 553325 w 900155"/>
                <a:gd name="connsiteY986" fmla="*/ 548307 h 807349"/>
                <a:gd name="connsiteX987" fmla="*/ 552930 w 900155"/>
                <a:gd name="connsiteY987" fmla="*/ 545389 h 807349"/>
                <a:gd name="connsiteX988" fmla="*/ 551869 w 900155"/>
                <a:gd name="connsiteY988" fmla="*/ 541744 h 807349"/>
                <a:gd name="connsiteX989" fmla="*/ 551567 w 900155"/>
                <a:gd name="connsiteY989" fmla="*/ 538942 h 807349"/>
                <a:gd name="connsiteX990" fmla="*/ 553159 w 900155"/>
                <a:gd name="connsiteY990" fmla="*/ 538061 h 807349"/>
                <a:gd name="connsiteX991" fmla="*/ 554668 w 900155"/>
                <a:gd name="connsiteY991" fmla="*/ 536309 h 807349"/>
                <a:gd name="connsiteX992" fmla="*/ 552913 w 900155"/>
                <a:gd name="connsiteY992" fmla="*/ 528326 h 807349"/>
                <a:gd name="connsiteX993" fmla="*/ 551805 w 900155"/>
                <a:gd name="connsiteY993" fmla="*/ 525936 h 807349"/>
                <a:gd name="connsiteX994" fmla="*/ 550038 w 900155"/>
                <a:gd name="connsiteY994" fmla="*/ 523582 h 807349"/>
                <a:gd name="connsiteX995" fmla="*/ 550008 w 900155"/>
                <a:gd name="connsiteY995" fmla="*/ 526632 h 807349"/>
                <a:gd name="connsiteX996" fmla="*/ 550209 w 900155"/>
                <a:gd name="connsiteY996" fmla="*/ 529621 h 807349"/>
                <a:gd name="connsiteX997" fmla="*/ 547760 w 900155"/>
                <a:gd name="connsiteY997" fmla="*/ 533439 h 807349"/>
                <a:gd name="connsiteX998" fmla="*/ 544577 w 900155"/>
                <a:gd name="connsiteY998" fmla="*/ 536183 h 807349"/>
                <a:gd name="connsiteX999" fmla="*/ 542500 w 900155"/>
                <a:gd name="connsiteY999" fmla="*/ 538763 h 807349"/>
                <a:gd name="connsiteX1000" fmla="*/ 540552 w 900155"/>
                <a:gd name="connsiteY1000" fmla="*/ 544617 h 807349"/>
                <a:gd name="connsiteX1001" fmla="*/ 537968 w 900155"/>
                <a:gd name="connsiteY1001" fmla="*/ 549556 h 807349"/>
                <a:gd name="connsiteX1002" fmla="*/ 535601 w 900155"/>
                <a:gd name="connsiteY1002" fmla="*/ 551380 h 807349"/>
                <a:gd name="connsiteX1003" fmla="*/ 533482 w 900155"/>
                <a:gd name="connsiteY1003" fmla="*/ 551789 h 807349"/>
                <a:gd name="connsiteX1004" fmla="*/ 531316 w 900155"/>
                <a:gd name="connsiteY1004" fmla="*/ 552550 h 807349"/>
                <a:gd name="connsiteX1005" fmla="*/ 527933 w 900155"/>
                <a:gd name="connsiteY1005" fmla="*/ 554524 h 807349"/>
                <a:gd name="connsiteX1006" fmla="*/ 524661 w 900155"/>
                <a:gd name="connsiteY1006" fmla="*/ 556185 h 807349"/>
                <a:gd name="connsiteX1007" fmla="*/ 522236 w 900155"/>
                <a:gd name="connsiteY1007" fmla="*/ 558362 h 807349"/>
                <a:gd name="connsiteX1008" fmla="*/ 520131 w 900155"/>
                <a:gd name="connsiteY1008" fmla="*/ 559501 h 807349"/>
                <a:gd name="connsiteX1009" fmla="*/ 513286 w 900155"/>
                <a:gd name="connsiteY1009" fmla="*/ 569430 h 807349"/>
                <a:gd name="connsiteX1010" fmla="*/ 510159 w 900155"/>
                <a:gd name="connsiteY1010" fmla="*/ 572754 h 807349"/>
                <a:gd name="connsiteX1011" fmla="*/ 509515 w 900155"/>
                <a:gd name="connsiteY1011" fmla="*/ 574097 h 807349"/>
                <a:gd name="connsiteX1012" fmla="*/ 508198 w 900155"/>
                <a:gd name="connsiteY1012" fmla="*/ 575226 h 807349"/>
                <a:gd name="connsiteX1013" fmla="*/ 508455 w 900155"/>
                <a:gd name="connsiteY1013" fmla="*/ 576798 h 807349"/>
                <a:gd name="connsiteX1014" fmla="*/ 509515 w 900155"/>
                <a:gd name="connsiteY1014" fmla="*/ 577872 h 807349"/>
                <a:gd name="connsiteX1015" fmla="*/ 510576 w 900155"/>
                <a:gd name="connsiteY1015" fmla="*/ 582298 h 807349"/>
                <a:gd name="connsiteX1016" fmla="*/ 509939 w 900155"/>
                <a:gd name="connsiteY1016" fmla="*/ 583252 h 807349"/>
                <a:gd name="connsiteX1017" fmla="*/ 508820 w 900155"/>
                <a:gd name="connsiteY1017" fmla="*/ 582753 h 807349"/>
                <a:gd name="connsiteX1018" fmla="*/ 506017 w 900155"/>
                <a:gd name="connsiteY1018" fmla="*/ 580285 h 807349"/>
                <a:gd name="connsiteX1019" fmla="*/ 504250 w 900155"/>
                <a:gd name="connsiteY1019" fmla="*/ 581184 h 807349"/>
                <a:gd name="connsiteX1020" fmla="*/ 502815 w 900155"/>
                <a:gd name="connsiteY1020" fmla="*/ 582196 h 807349"/>
                <a:gd name="connsiteX1021" fmla="*/ 499129 w 900155"/>
                <a:gd name="connsiteY1021" fmla="*/ 577657 h 807349"/>
                <a:gd name="connsiteX1022" fmla="*/ 497600 w 900155"/>
                <a:gd name="connsiteY1022" fmla="*/ 576590 h 807349"/>
                <a:gd name="connsiteX1023" fmla="*/ 495665 w 900155"/>
                <a:gd name="connsiteY1023" fmla="*/ 574770 h 807349"/>
                <a:gd name="connsiteX1024" fmla="*/ 493597 w 900155"/>
                <a:gd name="connsiteY1024" fmla="*/ 573200 h 807349"/>
                <a:gd name="connsiteX1025" fmla="*/ 492716 w 900155"/>
                <a:gd name="connsiteY1025" fmla="*/ 573022 h 807349"/>
                <a:gd name="connsiteX1026" fmla="*/ 491217 w 900155"/>
                <a:gd name="connsiteY1026" fmla="*/ 573349 h 807349"/>
                <a:gd name="connsiteX1027" fmla="*/ 491361 w 900155"/>
                <a:gd name="connsiteY1027" fmla="*/ 572120 h 807349"/>
                <a:gd name="connsiteX1028" fmla="*/ 492387 w 900155"/>
                <a:gd name="connsiteY1028" fmla="*/ 571123 h 807349"/>
                <a:gd name="connsiteX1029" fmla="*/ 493290 w 900155"/>
                <a:gd name="connsiteY1029" fmla="*/ 570892 h 807349"/>
                <a:gd name="connsiteX1030" fmla="*/ 494963 w 900155"/>
                <a:gd name="connsiteY1030" fmla="*/ 572346 h 807349"/>
                <a:gd name="connsiteX1031" fmla="*/ 496870 w 900155"/>
                <a:gd name="connsiteY1031" fmla="*/ 573646 h 807349"/>
                <a:gd name="connsiteX1032" fmla="*/ 497945 w 900155"/>
                <a:gd name="connsiteY1032" fmla="*/ 573753 h 807349"/>
                <a:gd name="connsiteX1033" fmla="*/ 498446 w 900155"/>
                <a:gd name="connsiteY1033" fmla="*/ 573232 h 807349"/>
                <a:gd name="connsiteX1034" fmla="*/ 496632 w 900155"/>
                <a:gd name="connsiteY1034" fmla="*/ 568106 h 807349"/>
                <a:gd name="connsiteX1035" fmla="*/ 495395 w 900155"/>
                <a:gd name="connsiteY1035" fmla="*/ 563619 h 807349"/>
                <a:gd name="connsiteX1036" fmla="*/ 494827 w 900155"/>
                <a:gd name="connsiteY1036" fmla="*/ 562295 h 807349"/>
                <a:gd name="connsiteX1037" fmla="*/ 493337 w 900155"/>
                <a:gd name="connsiteY1037" fmla="*/ 557755 h 807349"/>
                <a:gd name="connsiteX1038" fmla="*/ 492597 w 900155"/>
                <a:gd name="connsiteY1038" fmla="*/ 556438 h 807349"/>
                <a:gd name="connsiteX1039" fmla="*/ 489427 w 900155"/>
                <a:gd name="connsiteY1039" fmla="*/ 553234 h 807349"/>
                <a:gd name="connsiteX1040" fmla="*/ 486036 w 900155"/>
                <a:gd name="connsiteY1040" fmla="*/ 549479 h 807349"/>
                <a:gd name="connsiteX1041" fmla="*/ 485106 w 900155"/>
                <a:gd name="connsiteY1041" fmla="*/ 544975 h 807349"/>
                <a:gd name="connsiteX1042" fmla="*/ 483875 w 900155"/>
                <a:gd name="connsiteY1042" fmla="*/ 542096 h 807349"/>
                <a:gd name="connsiteX1043" fmla="*/ 482283 w 900155"/>
                <a:gd name="connsiteY1043" fmla="*/ 540287 h 807349"/>
                <a:gd name="connsiteX1044" fmla="*/ 479822 w 900155"/>
                <a:gd name="connsiteY1044" fmla="*/ 538679 h 807349"/>
                <a:gd name="connsiteX1045" fmla="*/ 473045 w 900155"/>
                <a:gd name="connsiteY1045" fmla="*/ 538059 h 807349"/>
                <a:gd name="connsiteX1046" fmla="*/ 470221 w 900155"/>
                <a:gd name="connsiteY1046" fmla="*/ 533466 h 807349"/>
                <a:gd name="connsiteX1047" fmla="*/ 468604 w 900155"/>
                <a:gd name="connsiteY1047" fmla="*/ 527782 h 807349"/>
                <a:gd name="connsiteX1048" fmla="*/ 469887 w 900155"/>
                <a:gd name="connsiteY1048" fmla="*/ 527406 h 807349"/>
                <a:gd name="connsiteX1049" fmla="*/ 471406 w 900155"/>
                <a:gd name="connsiteY1049" fmla="*/ 527337 h 807349"/>
                <a:gd name="connsiteX1050" fmla="*/ 471895 w 900155"/>
                <a:gd name="connsiteY1050" fmla="*/ 525566 h 807349"/>
                <a:gd name="connsiteX1051" fmla="*/ 471562 w 900155"/>
                <a:gd name="connsiteY1051" fmla="*/ 522854 h 807349"/>
                <a:gd name="connsiteX1052" fmla="*/ 464840 w 900155"/>
                <a:gd name="connsiteY1052" fmla="*/ 519489 h 807349"/>
                <a:gd name="connsiteX1053" fmla="*/ 461668 w 900155"/>
                <a:gd name="connsiteY1053" fmla="*/ 515977 h 807349"/>
                <a:gd name="connsiteX1054" fmla="*/ 458983 w 900155"/>
                <a:gd name="connsiteY1054" fmla="*/ 514464 h 807349"/>
                <a:gd name="connsiteX1055" fmla="*/ 456463 w 900155"/>
                <a:gd name="connsiteY1055" fmla="*/ 513867 h 807349"/>
                <a:gd name="connsiteX1056" fmla="*/ 453130 w 900155"/>
                <a:gd name="connsiteY1056" fmla="*/ 514004 h 807349"/>
                <a:gd name="connsiteX1057" fmla="*/ 448962 w 900155"/>
                <a:gd name="connsiteY1057" fmla="*/ 513889 h 807349"/>
                <a:gd name="connsiteX1058" fmla="*/ 438908 w 900155"/>
                <a:gd name="connsiteY1058" fmla="*/ 508307 h 807349"/>
                <a:gd name="connsiteX1059" fmla="*/ 436503 w 900155"/>
                <a:gd name="connsiteY1059" fmla="*/ 508137 h 807349"/>
                <a:gd name="connsiteX1060" fmla="*/ 429316 w 900155"/>
                <a:gd name="connsiteY1060" fmla="*/ 509870 h 807349"/>
                <a:gd name="connsiteX1061" fmla="*/ 426906 w 900155"/>
                <a:gd name="connsiteY1061" fmla="*/ 509554 h 807349"/>
                <a:gd name="connsiteX1062" fmla="*/ 415995 w 900155"/>
                <a:gd name="connsiteY1062" fmla="*/ 501941 h 807349"/>
                <a:gd name="connsiteX1063" fmla="*/ 408741 w 900155"/>
                <a:gd name="connsiteY1063" fmla="*/ 498327 h 807349"/>
                <a:gd name="connsiteX1064" fmla="*/ 406349 w 900155"/>
                <a:gd name="connsiteY1064" fmla="*/ 497654 h 807349"/>
                <a:gd name="connsiteX1065" fmla="*/ 403224 w 900155"/>
                <a:gd name="connsiteY1065" fmla="*/ 497035 h 807349"/>
                <a:gd name="connsiteX1066" fmla="*/ 400696 w 900155"/>
                <a:gd name="connsiteY1066" fmla="*/ 497918 h 807349"/>
                <a:gd name="connsiteX1067" fmla="*/ 398901 w 900155"/>
                <a:gd name="connsiteY1067" fmla="*/ 498749 h 807349"/>
                <a:gd name="connsiteX1068" fmla="*/ 395249 w 900155"/>
                <a:gd name="connsiteY1068" fmla="*/ 499683 h 807349"/>
                <a:gd name="connsiteX1069" fmla="*/ 380805 w 900155"/>
                <a:gd name="connsiteY1069" fmla="*/ 499074 h 807349"/>
                <a:gd name="connsiteX1070" fmla="*/ 368401 w 900155"/>
                <a:gd name="connsiteY1070" fmla="*/ 500252 h 807349"/>
                <a:gd name="connsiteX1071" fmla="*/ 359974 w 900155"/>
                <a:gd name="connsiteY1071" fmla="*/ 501051 h 807349"/>
                <a:gd name="connsiteX1072" fmla="*/ 354633 w 900155"/>
                <a:gd name="connsiteY1072" fmla="*/ 502096 h 807349"/>
                <a:gd name="connsiteX1073" fmla="*/ 345787 w 900155"/>
                <a:gd name="connsiteY1073" fmla="*/ 506627 h 807349"/>
                <a:gd name="connsiteX1074" fmla="*/ 335207 w 900155"/>
                <a:gd name="connsiteY1074" fmla="*/ 511011 h 807349"/>
                <a:gd name="connsiteX1075" fmla="*/ 326592 w 900155"/>
                <a:gd name="connsiteY1075" fmla="*/ 513090 h 807349"/>
                <a:gd name="connsiteX1076" fmla="*/ 318671 w 900155"/>
                <a:gd name="connsiteY1076" fmla="*/ 515860 h 807349"/>
                <a:gd name="connsiteX1077" fmla="*/ 313458 w 900155"/>
                <a:gd name="connsiteY1077" fmla="*/ 516666 h 807349"/>
                <a:gd name="connsiteX1078" fmla="*/ 306719 w 900155"/>
                <a:gd name="connsiteY1078" fmla="*/ 517011 h 807349"/>
                <a:gd name="connsiteX1079" fmla="*/ 292505 w 900155"/>
                <a:gd name="connsiteY1079" fmla="*/ 515682 h 807349"/>
                <a:gd name="connsiteX1080" fmla="*/ 287656 w 900155"/>
                <a:gd name="connsiteY1080" fmla="*/ 516668 h 807349"/>
                <a:gd name="connsiteX1081" fmla="*/ 279923 w 900155"/>
                <a:gd name="connsiteY1081" fmla="*/ 521804 h 807349"/>
                <a:gd name="connsiteX1082" fmla="*/ 277627 w 900155"/>
                <a:gd name="connsiteY1082" fmla="*/ 523051 h 807349"/>
                <a:gd name="connsiteX1083" fmla="*/ 273270 w 900155"/>
                <a:gd name="connsiteY1083" fmla="*/ 524477 h 807349"/>
                <a:gd name="connsiteX1084" fmla="*/ 262041 w 900155"/>
                <a:gd name="connsiteY1084" fmla="*/ 531088 h 807349"/>
                <a:gd name="connsiteX1085" fmla="*/ 256863 w 900155"/>
                <a:gd name="connsiteY1085" fmla="*/ 532504 h 807349"/>
                <a:gd name="connsiteX1086" fmla="*/ 253516 w 900155"/>
                <a:gd name="connsiteY1086" fmla="*/ 532955 h 807349"/>
                <a:gd name="connsiteX1087" fmla="*/ 250653 w 900155"/>
                <a:gd name="connsiteY1087" fmla="*/ 534358 h 807349"/>
                <a:gd name="connsiteX1088" fmla="*/ 248051 w 900155"/>
                <a:gd name="connsiteY1088" fmla="*/ 537178 h 807349"/>
                <a:gd name="connsiteX1089" fmla="*/ 244537 w 900155"/>
                <a:gd name="connsiteY1089" fmla="*/ 545017 h 807349"/>
                <a:gd name="connsiteX1090" fmla="*/ 242352 w 900155"/>
                <a:gd name="connsiteY1090" fmla="*/ 548735 h 807349"/>
                <a:gd name="connsiteX1091" fmla="*/ 237532 w 900155"/>
                <a:gd name="connsiteY1091" fmla="*/ 554689 h 807349"/>
                <a:gd name="connsiteX1092" fmla="*/ 234358 w 900155"/>
                <a:gd name="connsiteY1092" fmla="*/ 556673 h 807349"/>
                <a:gd name="connsiteX1093" fmla="*/ 231231 w 900155"/>
                <a:gd name="connsiteY1093" fmla="*/ 556404 h 807349"/>
                <a:gd name="connsiteX1094" fmla="*/ 227742 w 900155"/>
                <a:gd name="connsiteY1094" fmla="*/ 558464 h 807349"/>
                <a:gd name="connsiteX1095" fmla="*/ 224645 w 900155"/>
                <a:gd name="connsiteY1095" fmla="*/ 556285 h 807349"/>
                <a:gd name="connsiteX1096" fmla="*/ 222170 w 900155"/>
                <a:gd name="connsiteY1096" fmla="*/ 555868 h 807349"/>
                <a:gd name="connsiteX1097" fmla="*/ 218232 w 900155"/>
                <a:gd name="connsiteY1097" fmla="*/ 556042 h 807349"/>
                <a:gd name="connsiteX1098" fmla="*/ 204377 w 900155"/>
                <a:gd name="connsiteY1098" fmla="*/ 558551 h 807349"/>
                <a:gd name="connsiteX1099" fmla="*/ 202391 w 900155"/>
                <a:gd name="connsiteY1099" fmla="*/ 555634 h 807349"/>
                <a:gd name="connsiteX1100" fmla="*/ 199853 w 900155"/>
                <a:gd name="connsiteY1100" fmla="*/ 555195 h 807349"/>
                <a:gd name="connsiteX1101" fmla="*/ 195062 w 900155"/>
                <a:gd name="connsiteY1101" fmla="*/ 555338 h 807349"/>
                <a:gd name="connsiteX1102" fmla="*/ 187883 w 900155"/>
                <a:gd name="connsiteY1102" fmla="*/ 554451 h 807349"/>
                <a:gd name="connsiteX1103" fmla="*/ 174826 w 900155"/>
                <a:gd name="connsiteY1103" fmla="*/ 555557 h 807349"/>
                <a:gd name="connsiteX1104" fmla="*/ 168546 w 900155"/>
                <a:gd name="connsiteY1104" fmla="*/ 556760 h 807349"/>
                <a:gd name="connsiteX1105" fmla="*/ 166065 w 900155"/>
                <a:gd name="connsiteY1105" fmla="*/ 557838 h 807349"/>
                <a:gd name="connsiteX1106" fmla="*/ 161444 w 900155"/>
                <a:gd name="connsiteY1106" fmla="*/ 557151 h 807349"/>
                <a:gd name="connsiteX1107" fmla="*/ 153588 w 900155"/>
                <a:gd name="connsiteY1107" fmla="*/ 558127 h 807349"/>
                <a:gd name="connsiteX1108" fmla="*/ 150824 w 900155"/>
                <a:gd name="connsiteY1108" fmla="*/ 559787 h 807349"/>
                <a:gd name="connsiteX1109" fmla="*/ 148747 w 900155"/>
                <a:gd name="connsiteY1109" fmla="*/ 561271 h 807349"/>
                <a:gd name="connsiteX1110" fmla="*/ 144665 w 900155"/>
                <a:gd name="connsiteY1110" fmla="*/ 567923 h 807349"/>
                <a:gd name="connsiteX1111" fmla="*/ 140178 w 900155"/>
                <a:gd name="connsiteY1111" fmla="*/ 570122 h 807349"/>
                <a:gd name="connsiteX1112" fmla="*/ 136501 w 900155"/>
                <a:gd name="connsiteY1112" fmla="*/ 570195 h 807349"/>
                <a:gd name="connsiteX1113" fmla="*/ 132387 w 900155"/>
                <a:gd name="connsiteY1113" fmla="*/ 570707 h 807349"/>
                <a:gd name="connsiteX1114" fmla="*/ 124091 w 900155"/>
                <a:gd name="connsiteY1114" fmla="*/ 577130 h 807349"/>
                <a:gd name="connsiteX1115" fmla="*/ 115587 w 900155"/>
                <a:gd name="connsiteY1115" fmla="*/ 583372 h 807349"/>
                <a:gd name="connsiteX1116" fmla="*/ 112733 w 900155"/>
                <a:gd name="connsiteY1116" fmla="*/ 584040 h 807349"/>
                <a:gd name="connsiteX1117" fmla="*/ 109562 w 900155"/>
                <a:gd name="connsiteY1117" fmla="*/ 585084 h 807349"/>
                <a:gd name="connsiteX1118" fmla="*/ 105412 w 900155"/>
                <a:gd name="connsiteY1118" fmla="*/ 585584 h 807349"/>
                <a:gd name="connsiteX1119" fmla="*/ 103346 w 900155"/>
                <a:gd name="connsiteY1119" fmla="*/ 586156 h 807349"/>
                <a:gd name="connsiteX1120" fmla="*/ 93661 w 900155"/>
                <a:gd name="connsiteY1120" fmla="*/ 584551 h 807349"/>
                <a:gd name="connsiteX1121" fmla="*/ 87502 w 900155"/>
                <a:gd name="connsiteY1121" fmla="*/ 584372 h 807349"/>
                <a:gd name="connsiteX1122" fmla="*/ 79802 w 900155"/>
                <a:gd name="connsiteY1122" fmla="*/ 583404 h 807349"/>
                <a:gd name="connsiteX1123" fmla="*/ 73166 w 900155"/>
                <a:gd name="connsiteY1123" fmla="*/ 580349 h 807349"/>
                <a:gd name="connsiteX1124" fmla="*/ 68072 w 900155"/>
                <a:gd name="connsiteY1124" fmla="*/ 578578 h 807349"/>
                <a:gd name="connsiteX1125" fmla="*/ 62313 w 900155"/>
                <a:gd name="connsiteY1125" fmla="*/ 571859 h 807349"/>
                <a:gd name="connsiteX1126" fmla="*/ 58748 w 900155"/>
                <a:gd name="connsiteY1126" fmla="*/ 569357 h 807349"/>
                <a:gd name="connsiteX1127" fmla="*/ 52393 w 900155"/>
                <a:gd name="connsiteY1127" fmla="*/ 566319 h 807349"/>
                <a:gd name="connsiteX1128" fmla="*/ 50562 w 900155"/>
                <a:gd name="connsiteY1128" fmla="*/ 566434 h 807349"/>
                <a:gd name="connsiteX1129" fmla="*/ 49083 w 900155"/>
                <a:gd name="connsiteY1129" fmla="*/ 567263 h 807349"/>
                <a:gd name="connsiteX1130" fmla="*/ 46448 w 900155"/>
                <a:gd name="connsiteY1130" fmla="*/ 565122 h 807349"/>
                <a:gd name="connsiteX1131" fmla="*/ 46379 w 900155"/>
                <a:gd name="connsiteY1131" fmla="*/ 562365 h 807349"/>
                <a:gd name="connsiteX1132" fmla="*/ 45666 w 900155"/>
                <a:gd name="connsiteY1132" fmla="*/ 560028 h 807349"/>
                <a:gd name="connsiteX1133" fmla="*/ 45716 w 900155"/>
                <a:gd name="connsiteY1133" fmla="*/ 553891 h 807349"/>
                <a:gd name="connsiteX1134" fmla="*/ 46118 w 900155"/>
                <a:gd name="connsiteY1134" fmla="*/ 546727 h 807349"/>
                <a:gd name="connsiteX1135" fmla="*/ 48441 w 900155"/>
                <a:gd name="connsiteY1135" fmla="*/ 548336 h 807349"/>
                <a:gd name="connsiteX1136" fmla="*/ 50270 w 900155"/>
                <a:gd name="connsiteY1136" fmla="*/ 549902 h 807349"/>
                <a:gd name="connsiteX1137" fmla="*/ 54187 w 900155"/>
                <a:gd name="connsiteY1137" fmla="*/ 549815 h 807349"/>
                <a:gd name="connsiteX1138" fmla="*/ 57649 w 900155"/>
                <a:gd name="connsiteY1138" fmla="*/ 547123 h 807349"/>
                <a:gd name="connsiteX1139" fmla="*/ 59620 w 900155"/>
                <a:gd name="connsiteY1139" fmla="*/ 543184 h 807349"/>
                <a:gd name="connsiteX1140" fmla="*/ 61357 w 900155"/>
                <a:gd name="connsiteY1140" fmla="*/ 538746 h 807349"/>
                <a:gd name="connsiteX1141" fmla="*/ 61088 w 900155"/>
                <a:gd name="connsiteY1141" fmla="*/ 534035 h 807349"/>
                <a:gd name="connsiteX1142" fmla="*/ 59931 w 900155"/>
                <a:gd name="connsiteY1142" fmla="*/ 525771 h 807349"/>
                <a:gd name="connsiteX1143" fmla="*/ 60722 w 900155"/>
                <a:gd name="connsiteY1143" fmla="*/ 524037 h 807349"/>
                <a:gd name="connsiteX1144" fmla="*/ 61907 w 900155"/>
                <a:gd name="connsiteY1144" fmla="*/ 523332 h 807349"/>
                <a:gd name="connsiteX1145" fmla="*/ 62294 w 900155"/>
                <a:gd name="connsiteY1145" fmla="*/ 519227 h 807349"/>
                <a:gd name="connsiteX1146" fmla="*/ 62574 w 900155"/>
                <a:gd name="connsiteY1146" fmla="*/ 506632 h 807349"/>
                <a:gd name="connsiteX1147" fmla="*/ 61698 w 900155"/>
                <a:gd name="connsiteY1147" fmla="*/ 501898 h 807349"/>
                <a:gd name="connsiteX1148" fmla="*/ 56306 w 900155"/>
                <a:gd name="connsiteY1148" fmla="*/ 492318 h 807349"/>
                <a:gd name="connsiteX1149" fmla="*/ 52762 w 900155"/>
                <a:gd name="connsiteY1149" fmla="*/ 484011 h 807349"/>
                <a:gd name="connsiteX1150" fmla="*/ 50164 w 900155"/>
                <a:gd name="connsiteY1150" fmla="*/ 480267 h 807349"/>
                <a:gd name="connsiteX1151" fmla="*/ 47977 w 900155"/>
                <a:gd name="connsiteY1151" fmla="*/ 474250 h 807349"/>
                <a:gd name="connsiteX1152" fmla="*/ 46133 w 900155"/>
                <a:gd name="connsiteY1152" fmla="*/ 465897 h 807349"/>
                <a:gd name="connsiteX1153" fmla="*/ 45565 w 900155"/>
                <a:gd name="connsiteY1153" fmla="*/ 461684 h 807349"/>
                <a:gd name="connsiteX1154" fmla="*/ 44973 w 900155"/>
                <a:gd name="connsiteY1154" fmla="*/ 453927 h 807349"/>
                <a:gd name="connsiteX1155" fmla="*/ 45621 w 900155"/>
                <a:gd name="connsiteY1155" fmla="*/ 449536 h 807349"/>
                <a:gd name="connsiteX1156" fmla="*/ 45347 w 900155"/>
                <a:gd name="connsiteY1156" fmla="*/ 446975 h 807349"/>
                <a:gd name="connsiteX1157" fmla="*/ 43088 w 900155"/>
                <a:gd name="connsiteY1157" fmla="*/ 439971 h 807349"/>
                <a:gd name="connsiteX1158" fmla="*/ 38037 w 900155"/>
                <a:gd name="connsiteY1158" fmla="*/ 433446 h 807349"/>
                <a:gd name="connsiteX1159" fmla="*/ 37201 w 900155"/>
                <a:gd name="connsiteY1159" fmla="*/ 431041 h 807349"/>
                <a:gd name="connsiteX1160" fmla="*/ 37227 w 900155"/>
                <a:gd name="connsiteY1160" fmla="*/ 428507 h 807349"/>
                <a:gd name="connsiteX1161" fmla="*/ 36025 w 900155"/>
                <a:gd name="connsiteY1161" fmla="*/ 425547 h 807349"/>
                <a:gd name="connsiteX1162" fmla="*/ 31958 w 900155"/>
                <a:gd name="connsiteY1162" fmla="*/ 419603 h 807349"/>
                <a:gd name="connsiteX1163" fmla="*/ 27793 w 900155"/>
                <a:gd name="connsiteY1163" fmla="*/ 414473 h 807349"/>
                <a:gd name="connsiteX1164" fmla="*/ 27094 w 900155"/>
                <a:gd name="connsiteY1164" fmla="*/ 411980 h 807349"/>
                <a:gd name="connsiteX1165" fmla="*/ 26318 w 900155"/>
                <a:gd name="connsiteY1165" fmla="*/ 401657 h 807349"/>
                <a:gd name="connsiteX1166" fmla="*/ 24763 w 900155"/>
                <a:gd name="connsiteY1166" fmla="*/ 396961 h 807349"/>
                <a:gd name="connsiteX1167" fmla="*/ 17715 w 900155"/>
                <a:gd name="connsiteY1167" fmla="*/ 385075 h 807349"/>
                <a:gd name="connsiteX1168" fmla="*/ 9393 w 900155"/>
                <a:gd name="connsiteY1168" fmla="*/ 374860 h 807349"/>
                <a:gd name="connsiteX1169" fmla="*/ 7138 w 900155"/>
                <a:gd name="connsiteY1169" fmla="*/ 370690 h 807349"/>
                <a:gd name="connsiteX1170" fmla="*/ 6115 w 900155"/>
                <a:gd name="connsiteY1170" fmla="*/ 369289 h 807349"/>
                <a:gd name="connsiteX1171" fmla="*/ 6689 w 900155"/>
                <a:gd name="connsiteY1171" fmla="*/ 369099 h 807349"/>
                <a:gd name="connsiteX1172" fmla="*/ 7627 w 900155"/>
                <a:gd name="connsiteY1172" fmla="*/ 369645 h 807349"/>
                <a:gd name="connsiteX1173" fmla="*/ 8665 w 900155"/>
                <a:gd name="connsiteY1173" fmla="*/ 370663 h 807349"/>
                <a:gd name="connsiteX1174" fmla="*/ 9177 w 900155"/>
                <a:gd name="connsiteY1174" fmla="*/ 370749 h 807349"/>
                <a:gd name="connsiteX1175" fmla="*/ 9665 w 900155"/>
                <a:gd name="connsiteY1175" fmla="*/ 369907 h 807349"/>
                <a:gd name="connsiteX1176" fmla="*/ 9611 w 900155"/>
                <a:gd name="connsiteY1176" fmla="*/ 367960 h 807349"/>
                <a:gd name="connsiteX1177" fmla="*/ 9902 w 900155"/>
                <a:gd name="connsiteY1177" fmla="*/ 366881 h 807349"/>
                <a:gd name="connsiteX1178" fmla="*/ 10630 w 900155"/>
                <a:gd name="connsiteY1178" fmla="*/ 367474 h 807349"/>
                <a:gd name="connsiteX1179" fmla="*/ 11481 w 900155"/>
                <a:gd name="connsiteY1179" fmla="*/ 369664 h 807349"/>
                <a:gd name="connsiteX1180" fmla="*/ 14116 w 900155"/>
                <a:gd name="connsiteY1180" fmla="*/ 375319 h 807349"/>
                <a:gd name="connsiteX1181" fmla="*/ 14890 w 900155"/>
                <a:gd name="connsiteY1181" fmla="*/ 378198 h 807349"/>
                <a:gd name="connsiteX1182" fmla="*/ 18253 w 900155"/>
                <a:gd name="connsiteY1182" fmla="*/ 379076 h 807349"/>
                <a:gd name="connsiteX1183" fmla="*/ 19286 w 900155"/>
                <a:gd name="connsiteY1183" fmla="*/ 378321 h 807349"/>
                <a:gd name="connsiteX1184" fmla="*/ 20525 w 900155"/>
                <a:gd name="connsiteY1184" fmla="*/ 376833 h 807349"/>
                <a:gd name="connsiteX1185" fmla="*/ 20887 w 900155"/>
                <a:gd name="connsiteY1185" fmla="*/ 372840 h 807349"/>
                <a:gd name="connsiteX1186" fmla="*/ 19184 w 900155"/>
                <a:gd name="connsiteY1186" fmla="*/ 371035 h 807349"/>
                <a:gd name="connsiteX1187" fmla="*/ 17651 w 900155"/>
                <a:gd name="connsiteY1187" fmla="*/ 370270 h 807349"/>
                <a:gd name="connsiteX1188" fmla="*/ 15055 w 900155"/>
                <a:gd name="connsiteY1188" fmla="*/ 367310 h 807349"/>
                <a:gd name="connsiteX1189" fmla="*/ 13381 w 900155"/>
                <a:gd name="connsiteY1189" fmla="*/ 362573 h 807349"/>
                <a:gd name="connsiteX1190" fmla="*/ 10771 w 900155"/>
                <a:gd name="connsiteY1190" fmla="*/ 358200 h 807349"/>
                <a:gd name="connsiteX1191" fmla="*/ 10816 w 900155"/>
                <a:gd name="connsiteY1191" fmla="*/ 356639 h 807349"/>
                <a:gd name="connsiteX1192" fmla="*/ 12010 w 900155"/>
                <a:gd name="connsiteY1192" fmla="*/ 355505 h 807349"/>
                <a:gd name="connsiteX1193" fmla="*/ 13958 w 900155"/>
                <a:gd name="connsiteY1193" fmla="*/ 356120 h 807349"/>
                <a:gd name="connsiteX1194" fmla="*/ 15766 w 900155"/>
                <a:gd name="connsiteY1194" fmla="*/ 358633 h 807349"/>
                <a:gd name="connsiteX1195" fmla="*/ 17797 w 900155"/>
                <a:gd name="connsiteY1195" fmla="*/ 360976 h 807349"/>
                <a:gd name="connsiteX1196" fmla="*/ 17461 w 900155"/>
                <a:gd name="connsiteY1196" fmla="*/ 365076 h 807349"/>
                <a:gd name="connsiteX1197" fmla="*/ 17145 w 900155"/>
                <a:gd name="connsiteY1197" fmla="*/ 366199 h 807349"/>
                <a:gd name="connsiteX1198" fmla="*/ 17324 w 900155"/>
                <a:gd name="connsiteY1198" fmla="*/ 367146 h 807349"/>
                <a:gd name="connsiteX1199" fmla="*/ 18033 w 900155"/>
                <a:gd name="connsiteY1199" fmla="*/ 368048 h 807349"/>
                <a:gd name="connsiteX1200" fmla="*/ 18964 w 900155"/>
                <a:gd name="connsiteY1200" fmla="*/ 368757 h 807349"/>
                <a:gd name="connsiteX1201" fmla="*/ 19980 w 900155"/>
                <a:gd name="connsiteY1201" fmla="*/ 367717 h 807349"/>
                <a:gd name="connsiteX1202" fmla="*/ 20911 w 900155"/>
                <a:gd name="connsiteY1202" fmla="*/ 365319 h 807349"/>
                <a:gd name="connsiteX1203" fmla="*/ 21485 w 900155"/>
                <a:gd name="connsiteY1203" fmla="*/ 365631 h 807349"/>
                <a:gd name="connsiteX1204" fmla="*/ 22867 w 900155"/>
                <a:gd name="connsiteY1204" fmla="*/ 371100 h 807349"/>
                <a:gd name="connsiteX1205" fmla="*/ 23964 w 900155"/>
                <a:gd name="connsiteY1205" fmla="*/ 372588 h 807349"/>
                <a:gd name="connsiteX1206" fmla="*/ 26139 w 900155"/>
                <a:gd name="connsiteY1206" fmla="*/ 374298 h 807349"/>
                <a:gd name="connsiteX1207" fmla="*/ 28033 w 900155"/>
                <a:gd name="connsiteY1207" fmla="*/ 372967 h 807349"/>
                <a:gd name="connsiteX1208" fmla="*/ 28911 w 900155"/>
                <a:gd name="connsiteY1208" fmla="*/ 371829 h 807349"/>
                <a:gd name="connsiteX1209" fmla="*/ 28638 w 900155"/>
                <a:gd name="connsiteY1209" fmla="*/ 367967 h 807349"/>
                <a:gd name="connsiteX1210" fmla="*/ 29194 w 900155"/>
                <a:gd name="connsiteY1210" fmla="*/ 364238 h 807349"/>
                <a:gd name="connsiteX1211" fmla="*/ 28880 w 900155"/>
                <a:gd name="connsiteY1211" fmla="*/ 361467 h 807349"/>
                <a:gd name="connsiteX1212" fmla="*/ 23982 w 900155"/>
                <a:gd name="connsiteY1212" fmla="*/ 354223 h 807349"/>
                <a:gd name="connsiteX1213" fmla="*/ 19551 w 900155"/>
                <a:gd name="connsiteY1213" fmla="*/ 345286 h 807349"/>
                <a:gd name="connsiteX1214" fmla="*/ 16862 w 900155"/>
                <a:gd name="connsiteY1214" fmla="*/ 340845 h 807349"/>
                <a:gd name="connsiteX1215" fmla="*/ 14617 w 900155"/>
                <a:gd name="connsiteY1215" fmla="*/ 334166 h 807349"/>
                <a:gd name="connsiteX1216" fmla="*/ 13163 w 900155"/>
                <a:gd name="connsiteY1216" fmla="*/ 331856 h 807349"/>
                <a:gd name="connsiteX1217" fmla="*/ 11265 w 900155"/>
                <a:gd name="connsiteY1217" fmla="*/ 328124 h 807349"/>
                <a:gd name="connsiteX1218" fmla="*/ 11161 w 900155"/>
                <a:gd name="connsiteY1218" fmla="*/ 323863 h 807349"/>
                <a:gd name="connsiteX1219" fmla="*/ 11345 w 900155"/>
                <a:gd name="connsiteY1219" fmla="*/ 321012 h 807349"/>
                <a:gd name="connsiteX1220" fmla="*/ 12861 w 900155"/>
                <a:gd name="connsiteY1220" fmla="*/ 314861 h 807349"/>
                <a:gd name="connsiteX1221" fmla="*/ 14256 w 900155"/>
                <a:gd name="connsiteY1221" fmla="*/ 311660 h 807349"/>
                <a:gd name="connsiteX1222" fmla="*/ 18769 w 900155"/>
                <a:gd name="connsiteY1222" fmla="*/ 304308 h 807349"/>
                <a:gd name="connsiteX1223" fmla="*/ 18989 w 900155"/>
                <a:gd name="connsiteY1223" fmla="*/ 301142 h 807349"/>
                <a:gd name="connsiteX1224" fmla="*/ 18942 w 900155"/>
                <a:gd name="connsiteY1224" fmla="*/ 298761 h 807349"/>
                <a:gd name="connsiteX1225" fmla="*/ 19607 w 900155"/>
                <a:gd name="connsiteY1225" fmla="*/ 295105 h 807349"/>
                <a:gd name="connsiteX1226" fmla="*/ 19611 w 900155"/>
                <a:gd name="connsiteY1226" fmla="*/ 292563 h 807349"/>
                <a:gd name="connsiteX1227" fmla="*/ 19009 w 900155"/>
                <a:gd name="connsiteY1227" fmla="*/ 290195 h 807349"/>
                <a:gd name="connsiteX1228" fmla="*/ 17128 w 900155"/>
                <a:gd name="connsiteY1228" fmla="*/ 286120 h 807349"/>
                <a:gd name="connsiteX1229" fmla="*/ 19609 w 900155"/>
                <a:gd name="connsiteY1229" fmla="*/ 279014 h 807349"/>
                <a:gd name="connsiteX1230" fmla="*/ 23222 w 900155"/>
                <a:gd name="connsiteY1230" fmla="*/ 269892 h 807349"/>
                <a:gd name="connsiteX1231" fmla="*/ 24647 w 900155"/>
                <a:gd name="connsiteY1231" fmla="*/ 268554 h 807349"/>
                <a:gd name="connsiteX1232" fmla="*/ 26882 w 900155"/>
                <a:gd name="connsiteY1232" fmla="*/ 267329 h 807349"/>
                <a:gd name="connsiteX1233" fmla="*/ 27294 w 900155"/>
                <a:gd name="connsiteY1233" fmla="*/ 269211 h 807349"/>
                <a:gd name="connsiteX1234" fmla="*/ 26193 w 900155"/>
                <a:gd name="connsiteY1234" fmla="*/ 275512 h 807349"/>
                <a:gd name="connsiteX1235" fmla="*/ 27765 w 900155"/>
                <a:gd name="connsiteY1235" fmla="*/ 278810 h 807349"/>
                <a:gd name="connsiteX1236" fmla="*/ 27273 w 900155"/>
                <a:gd name="connsiteY1236" fmla="*/ 282523 h 807349"/>
                <a:gd name="connsiteX1237" fmla="*/ 28679 w 900155"/>
                <a:gd name="connsiteY1237" fmla="*/ 281889 h 807349"/>
                <a:gd name="connsiteX1238" fmla="*/ 30853 w 900155"/>
                <a:gd name="connsiteY1238" fmla="*/ 281181 h 807349"/>
                <a:gd name="connsiteX1239" fmla="*/ 32494 w 900155"/>
                <a:gd name="connsiteY1239" fmla="*/ 279232 h 807349"/>
                <a:gd name="connsiteX1240" fmla="*/ 33362 w 900155"/>
                <a:gd name="connsiteY1240" fmla="*/ 277363 h 807349"/>
                <a:gd name="connsiteX1241" fmla="*/ 37471 w 900155"/>
                <a:gd name="connsiteY1241" fmla="*/ 269962 h 807349"/>
                <a:gd name="connsiteX1242" fmla="*/ 39825 w 900155"/>
                <a:gd name="connsiteY1242" fmla="*/ 267209 h 807349"/>
                <a:gd name="connsiteX1243" fmla="*/ 43138 w 900155"/>
                <a:gd name="connsiteY1243" fmla="*/ 265181 h 807349"/>
                <a:gd name="connsiteX1244" fmla="*/ 49829 w 900155"/>
                <a:gd name="connsiteY1244" fmla="*/ 262740 h 807349"/>
                <a:gd name="connsiteX1245" fmla="*/ 56340 w 900155"/>
                <a:gd name="connsiteY1245" fmla="*/ 259525 h 807349"/>
                <a:gd name="connsiteX1246" fmla="*/ 59434 w 900155"/>
                <a:gd name="connsiteY1246" fmla="*/ 256434 h 807349"/>
                <a:gd name="connsiteX1247" fmla="*/ 63313 w 900155"/>
                <a:gd name="connsiteY1247" fmla="*/ 253755 h 807349"/>
                <a:gd name="connsiteX1248" fmla="*/ 66012 w 900155"/>
                <a:gd name="connsiteY1248" fmla="*/ 250852 h 807349"/>
                <a:gd name="connsiteX1249" fmla="*/ 68608 w 900155"/>
                <a:gd name="connsiteY1249" fmla="*/ 248858 h 807349"/>
                <a:gd name="connsiteX1250" fmla="*/ 81763 w 900155"/>
                <a:gd name="connsiteY1250" fmla="*/ 241540 h 807349"/>
                <a:gd name="connsiteX1251" fmla="*/ 83993 w 900155"/>
                <a:gd name="connsiteY1251" fmla="*/ 240165 h 807349"/>
                <a:gd name="connsiteX1252" fmla="*/ 86859 w 900155"/>
                <a:gd name="connsiteY1252" fmla="*/ 240010 h 807349"/>
                <a:gd name="connsiteX1253" fmla="*/ 90374 w 900155"/>
                <a:gd name="connsiteY1253" fmla="*/ 240253 h 807349"/>
                <a:gd name="connsiteX1254" fmla="*/ 93553 w 900155"/>
                <a:gd name="connsiteY1254" fmla="*/ 239868 h 807349"/>
                <a:gd name="connsiteX1255" fmla="*/ 96952 w 900155"/>
                <a:gd name="connsiteY1255" fmla="*/ 241533 h 807349"/>
                <a:gd name="connsiteX1256" fmla="*/ 99461 w 900155"/>
                <a:gd name="connsiteY1256" fmla="*/ 241720 h 807349"/>
                <a:gd name="connsiteX1257" fmla="*/ 105600 w 900155"/>
                <a:gd name="connsiteY1257" fmla="*/ 239911 h 807349"/>
                <a:gd name="connsiteX1258" fmla="*/ 108882 w 900155"/>
                <a:gd name="connsiteY1258" fmla="*/ 238292 h 807349"/>
                <a:gd name="connsiteX1259" fmla="*/ 114521 w 900155"/>
                <a:gd name="connsiteY1259" fmla="*/ 234753 h 807349"/>
                <a:gd name="connsiteX1260" fmla="*/ 116995 w 900155"/>
                <a:gd name="connsiteY1260" fmla="*/ 233743 h 807349"/>
                <a:gd name="connsiteX1261" fmla="*/ 122724 w 900155"/>
                <a:gd name="connsiteY1261" fmla="*/ 232625 h 807349"/>
                <a:gd name="connsiteX1262" fmla="*/ 129207 w 900155"/>
                <a:gd name="connsiteY1262" fmla="*/ 231134 h 807349"/>
                <a:gd name="connsiteX1263" fmla="*/ 137012 w 900155"/>
                <a:gd name="connsiteY1263" fmla="*/ 224998 h 807349"/>
                <a:gd name="connsiteX1264" fmla="*/ 142635 w 900155"/>
                <a:gd name="connsiteY1264" fmla="*/ 225389 h 807349"/>
                <a:gd name="connsiteX1265" fmla="*/ 147658 w 900155"/>
                <a:gd name="connsiteY1265" fmla="*/ 225986 h 807349"/>
                <a:gd name="connsiteX1266" fmla="*/ 151679 w 900155"/>
                <a:gd name="connsiteY1266" fmla="*/ 224149 h 807349"/>
                <a:gd name="connsiteX1267" fmla="*/ 161154 w 900155"/>
                <a:gd name="connsiteY1267" fmla="*/ 223024 h 807349"/>
                <a:gd name="connsiteX1268" fmla="*/ 166404 w 900155"/>
                <a:gd name="connsiteY1268" fmla="*/ 221472 h 807349"/>
                <a:gd name="connsiteX1269" fmla="*/ 176238 w 900155"/>
                <a:gd name="connsiteY1269" fmla="*/ 217406 h 807349"/>
                <a:gd name="connsiteX1270" fmla="*/ 178881 w 900155"/>
                <a:gd name="connsiteY1270" fmla="*/ 216013 h 807349"/>
                <a:gd name="connsiteX1271" fmla="*/ 182902 w 900155"/>
                <a:gd name="connsiteY1271" fmla="*/ 213109 h 807349"/>
                <a:gd name="connsiteX1272" fmla="*/ 186394 w 900155"/>
                <a:gd name="connsiteY1272" fmla="*/ 209483 h 807349"/>
                <a:gd name="connsiteX1273" fmla="*/ 189839 w 900155"/>
                <a:gd name="connsiteY1273" fmla="*/ 204587 h 807349"/>
                <a:gd name="connsiteX1274" fmla="*/ 191960 w 900155"/>
                <a:gd name="connsiteY1274" fmla="*/ 200204 h 807349"/>
                <a:gd name="connsiteX1275" fmla="*/ 192872 w 900155"/>
                <a:gd name="connsiteY1275" fmla="*/ 197947 h 807349"/>
                <a:gd name="connsiteX1276" fmla="*/ 194891 w 900155"/>
                <a:gd name="connsiteY1276" fmla="*/ 194361 h 807349"/>
                <a:gd name="connsiteX1277" fmla="*/ 196282 w 900155"/>
                <a:gd name="connsiteY1277" fmla="*/ 191524 h 807349"/>
                <a:gd name="connsiteX1278" fmla="*/ 197363 w 900155"/>
                <a:gd name="connsiteY1278" fmla="*/ 190177 h 807349"/>
                <a:gd name="connsiteX1279" fmla="*/ 201177 w 900155"/>
                <a:gd name="connsiteY1279" fmla="*/ 188270 h 807349"/>
                <a:gd name="connsiteX1280" fmla="*/ 206835 w 900155"/>
                <a:gd name="connsiteY1280" fmla="*/ 182910 h 807349"/>
                <a:gd name="connsiteX1281" fmla="*/ 208676 w 900155"/>
                <a:gd name="connsiteY1281" fmla="*/ 181832 h 807349"/>
                <a:gd name="connsiteX1282" fmla="*/ 209020 w 900155"/>
                <a:gd name="connsiteY1282" fmla="*/ 180120 h 807349"/>
                <a:gd name="connsiteX1283" fmla="*/ 207800 w 900155"/>
                <a:gd name="connsiteY1283" fmla="*/ 179161 h 807349"/>
                <a:gd name="connsiteX1284" fmla="*/ 206288 w 900155"/>
                <a:gd name="connsiteY1284" fmla="*/ 178559 h 807349"/>
                <a:gd name="connsiteX1285" fmla="*/ 205269 w 900155"/>
                <a:gd name="connsiteY1285" fmla="*/ 172895 h 807349"/>
                <a:gd name="connsiteX1286" fmla="*/ 204299 w 900155"/>
                <a:gd name="connsiteY1286" fmla="*/ 168990 h 807349"/>
                <a:gd name="connsiteX1287" fmla="*/ 204204 w 900155"/>
                <a:gd name="connsiteY1287" fmla="*/ 166241 h 807349"/>
                <a:gd name="connsiteX1288" fmla="*/ 204582 w 900155"/>
                <a:gd name="connsiteY1288" fmla="*/ 163628 h 807349"/>
                <a:gd name="connsiteX1289" fmla="*/ 206808 w 900155"/>
                <a:gd name="connsiteY1289" fmla="*/ 159577 h 807349"/>
                <a:gd name="connsiteX1290" fmla="*/ 208396 w 900155"/>
                <a:gd name="connsiteY1290" fmla="*/ 157838 h 807349"/>
                <a:gd name="connsiteX1291" fmla="*/ 210592 w 900155"/>
                <a:gd name="connsiteY1291" fmla="*/ 155814 h 807349"/>
                <a:gd name="connsiteX1292" fmla="*/ 212593 w 900155"/>
                <a:gd name="connsiteY1292" fmla="*/ 155188 h 807349"/>
                <a:gd name="connsiteX1293" fmla="*/ 214260 w 900155"/>
                <a:gd name="connsiteY1293" fmla="*/ 153416 h 807349"/>
                <a:gd name="connsiteX1294" fmla="*/ 216968 w 900155"/>
                <a:gd name="connsiteY1294" fmla="*/ 151659 h 807349"/>
                <a:gd name="connsiteX1295" fmla="*/ 218111 w 900155"/>
                <a:gd name="connsiteY1295" fmla="*/ 149897 h 807349"/>
                <a:gd name="connsiteX1296" fmla="*/ 219790 w 900155"/>
                <a:gd name="connsiteY1296" fmla="*/ 146313 h 807349"/>
                <a:gd name="connsiteX1297" fmla="*/ 221310 w 900155"/>
                <a:gd name="connsiteY1297" fmla="*/ 143592 h 807349"/>
                <a:gd name="connsiteX1298" fmla="*/ 222503 w 900155"/>
                <a:gd name="connsiteY1298" fmla="*/ 143687 h 807349"/>
                <a:gd name="connsiteX1299" fmla="*/ 224796 w 900155"/>
                <a:gd name="connsiteY1299" fmla="*/ 150014 h 807349"/>
                <a:gd name="connsiteX1300" fmla="*/ 226292 w 900155"/>
                <a:gd name="connsiteY1300" fmla="*/ 153373 h 807349"/>
                <a:gd name="connsiteX1301" fmla="*/ 229031 w 900155"/>
                <a:gd name="connsiteY1301" fmla="*/ 157325 h 807349"/>
                <a:gd name="connsiteX1302" fmla="*/ 231624 w 900155"/>
                <a:gd name="connsiteY1302" fmla="*/ 163152 h 807349"/>
                <a:gd name="connsiteX1303" fmla="*/ 233738 w 900155"/>
                <a:gd name="connsiteY1303" fmla="*/ 165821 h 807349"/>
                <a:gd name="connsiteX1304" fmla="*/ 234764 w 900155"/>
                <a:gd name="connsiteY1304" fmla="*/ 167547 h 807349"/>
                <a:gd name="connsiteX1305" fmla="*/ 235602 w 900155"/>
                <a:gd name="connsiteY1305" fmla="*/ 168349 h 807349"/>
                <a:gd name="connsiteX1306" fmla="*/ 235787 w 900155"/>
                <a:gd name="connsiteY1306" fmla="*/ 167240 h 807349"/>
                <a:gd name="connsiteX1307" fmla="*/ 235573 w 900155"/>
                <a:gd name="connsiteY1307" fmla="*/ 165945 h 807349"/>
                <a:gd name="connsiteX1308" fmla="*/ 236593 w 900155"/>
                <a:gd name="connsiteY1308" fmla="*/ 161493 h 807349"/>
                <a:gd name="connsiteX1309" fmla="*/ 236116 w 900155"/>
                <a:gd name="connsiteY1309" fmla="*/ 158370 h 807349"/>
                <a:gd name="connsiteX1310" fmla="*/ 236275 w 900155"/>
                <a:gd name="connsiteY1310" fmla="*/ 157179 h 807349"/>
                <a:gd name="connsiteX1311" fmla="*/ 236809 w 900155"/>
                <a:gd name="connsiteY1311" fmla="*/ 156676 h 807349"/>
                <a:gd name="connsiteX1312" fmla="*/ 237834 w 900155"/>
                <a:gd name="connsiteY1312" fmla="*/ 157016 h 807349"/>
                <a:gd name="connsiteX1313" fmla="*/ 239819 w 900155"/>
                <a:gd name="connsiteY1313" fmla="*/ 158758 h 807349"/>
                <a:gd name="connsiteX1314" fmla="*/ 240819 w 900155"/>
                <a:gd name="connsiteY1314" fmla="*/ 159381 h 807349"/>
                <a:gd name="connsiteX1315" fmla="*/ 241527 w 900155"/>
                <a:gd name="connsiteY1315" fmla="*/ 159236 h 807349"/>
                <a:gd name="connsiteX1316" fmla="*/ 241492 w 900155"/>
                <a:gd name="connsiteY1316" fmla="*/ 156416 h 807349"/>
                <a:gd name="connsiteX1317" fmla="*/ 242486 w 900155"/>
                <a:gd name="connsiteY1317" fmla="*/ 154637 h 807349"/>
                <a:gd name="connsiteX1318" fmla="*/ 242086 w 900155"/>
                <a:gd name="connsiteY1318" fmla="*/ 153411 h 807349"/>
                <a:gd name="connsiteX1319" fmla="*/ 240357 w 900155"/>
                <a:gd name="connsiteY1319" fmla="*/ 153480 h 807349"/>
                <a:gd name="connsiteX1320" fmla="*/ 239625 w 900155"/>
                <a:gd name="connsiteY1320" fmla="*/ 151961 h 807349"/>
                <a:gd name="connsiteX1321" fmla="*/ 238197 w 900155"/>
                <a:gd name="connsiteY1321" fmla="*/ 150203 h 807349"/>
                <a:gd name="connsiteX1322" fmla="*/ 236575 w 900155"/>
                <a:gd name="connsiteY1322" fmla="*/ 148940 h 807349"/>
                <a:gd name="connsiteX1323" fmla="*/ 234604 w 900155"/>
                <a:gd name="connsiteY1323" fmla="*/ 146047 h 807349"/>
                <a:gd name="connsiteX1324" fmla="*/ 233995 w 900155"/>
                <a:gd name="connsiteY1324" fmla="*/ 144911 h 807349"/>
                <a:gd name="connsiteX1325" fmla="*/ 234762 w 900155"/>
                <a:gd name="connsiteY1325" fmla="*/ 144386 h 807349"/>
                <a:gd name="connsiteX1326" fmla="*/ 236006 w 900155"/>
                <a:gd name="connsiteY1326" fmla="*/ 144461 h 807349"/>
                <a:gd name="connsiteX1327" fmla="*/ 236992 w 900155"/>
                <a:gd name="connsiteY1327" fmla="*/ 143221 h 807349"/>
                <a:gd name="connsiteX1328" fmla="*/ 237446 w 900155"/>
                <a:gd name="connsiteY1328" fmla="*/ 141559 h 807349"/>
                <a:gd name="connsiteX1329" fmla="*/ 236573 w 900155"/>
                <a:gd name="connsiteY1329" fmla="*/ 138857 h 807349"/>
                <a:gd name="connsiteX1330" fmla="*/ 237468 w 900155"/>
                <a:gd name="connsiteY1330" fmla="*/ 137855 h 807349"/>
                <a:gd name="connsiteX1331" fmla="*/ 239268 w 900155"/>
                <a:gd name="connsiteY1331" fmla="*/ 138141 h 807349"/>
                <a:gd name="connsiteX1332" fmla="*/ 242149 w 900155"/>
                <a:gd name="connsiteY1332" fmla="*/ 142450 h 807349"/>
                <a:gd name="connsiteX1333" fmla="*/ 243388 w 900155"/>
                <a:gd name="connsiteY1333" fmla="*/ 142024 h 807349"/>
                <a:gd name="connsiteX1334" fmla="*/ 244407 w 900155"/>
                <a:gd name="connsiteY1334" fmla="*/ 140284 h 807349"/>
                <a:gd name="connsiteX1335" fmla="*/ 246245 w 900155"/>
                <a:gd name="connsiteY1335" fmla="*/ 139786 h 807349"/>
                <a:gd name="connsiteX1336" fmla="*/ 248133 w 900155"/>
                <a:gd name="connsiteY1336" fmla="*/ 140100 h 807349"/>
                <a:gd name="connsiteX1337" fmla="*/ 249376 w 900155"/>
                <a:gd name="connsiteY1337" fmla="*/ 141344 h 807349"/>
                <a:gd name="connsiteX1338" fmla="*/ 251905 w 900155"/>
                <a:gd name="connsiteY1338" fmla="*/ 142585 h 807349"/>
                <a:gd name="connsiteX1339" fmla="*/ 255273 w 900155"/>
                <a:gd name="connsiteY1339" fmla="*/ 142443 h 807349"/>
                <a:gd name="connsiteX1340" fmla="*/ 256982 w 900155"/>
                <a:gd name="connsiteY1340" fmla="*/ 142742 h 807349"/>
                <a:gd name="connsiteX1341" fmla="*/ 260573 w 900155"/>
                <a:gd name="connsiteY1341" fmla="*/ 142537 h 807349"/>
                <a:gd name="connsiteX1342" fmla="*/ 262333 w 900155"/>
                <a:gd name="connsiteY1342" fmla="*/ 142911 h 807349"/>
                <a:gd name="connsiteX1343" fmla="*/ 262002 w 900155"/>
                <a:gd name="connsiteY1343" fmla="*/ 142246 h 807349"/>
                <a:gd name="connsiteX1344" fmla="*/ 260061 w 900155"/>
                <a:gd name="connsiteY1344" fmla="*/ 141461 h 807349"/>
                <a:gd name="connsiteX1345" fmla="*/ 257873 w 900155"/>
                <a:gd name="connsiteY1345" fmla="*/ 141304 h 807349"/>
                <a:gd name="connsiteX1346" fmla="*/ 255312 w 900155"/>
                <a:gd name="connsiteY1346" fmla="*/ 141381 h 807349"/>
                <a:gd name="connsiteX1347" fmla="*/ 254215 w 900155"/>
                <a:gd name="connsiteY1347" fmla="*/ 140557 h 807349"/>
                <a:gd name="connsiteX1348" fmla="*/ 253848 w 900155"/>
                <a:gd name="connsiteY1348" fmla="*/ 138381 h 807349"/>
                <a:gd name="connsiteX1349" fmla="*/ 254470 w 900155"/>
                <a:gd name="connsiteY1349" fmla="*/ 136803 h 807349"/>
                <a:gd name="connsiteX1350" fmla="*/ 254872 w 900155"/>
                <a:gd name="connsiteY1350" fmla="*/ 136130 h 807349"/>
                <a:gd name="connsiteX1351" fmla="*/ 256539 w 900155"/>
                <a:gd name="connsiteY1351" fmla="*/ 136413 h 807349"/>
                <a:gd name="connsiteX1352" fmla="*/ 258018 w 900155"/>
                <a:gd name="connsiteY1352" fmla="*/ 136353 h 807349"/>
                <a:gd name="connsiteX1353" fmla="*/ 258200 w 900155"/>
                <a:gd name="connsiteY1353" fmla="*/ 134231 h 807349"/>
                <a:gd name="connsiteX1354" fmla="*/ 258720 w 900155"/>
                <a:gd name="connsiteY1354" fmla="*/ 132358 h 807349"/>
                <a:gd name="connsiteX1355" fmla="*/ 259603 w 900155"/>
                <a:gd name="connsiteY1355" fmla="*/ 130833 h 807349"/>
                <a:gd name="connsiteX1356" fmla="*/ 259599 w 900155"/>
                <a:gd name="connsiteY1356" fmla="*/ 129365 h 807349"/>
                <a:gd name="connsiteX1357" fmla="*/ 258677 w 900155"/>
                <a:gd name="connsiteY1357" fmla="*/ 129755 h 807349"/>
                <a:gd name="connsiteX1358" fmla="*/ 256414 w 900155"/>
                <a:gd name="connsiteY1358" fmla="*/ 133151 h 807349"/>
                <a:gd name="connsiteX1359" fmla="*/ 255330 w 900155"/>
                <a:gd name="connsiteY1359" fmla="*/ 130388 h 807349"/>
                <a:gd name="connsiteX1360" fmla="*/ 253701 w 900155"/>
                <a:gd name="connsiteY1360" fmla="*/ 128294 h 807349"/>
                <a:gd name="connsiteX1361" fmla="*/ 254032 w 900155"/>
                <a:gd name="connsiteY1361" fmla="*/ 125297 h 807349"/>
                <a:gd name="connsiteX1362" fmla="*/ 254982 w 900155"/>
                <a:gd name="connsiteY1362" fmla="*/ 122300 h 807349"/>
                <a:gd name="connsiteX1363" fmla="*/ 256444 w 900155"/>
                <a:gd name="connsiteY1363" fmla="*/ 121889 h 807349"/>
                <a:gd name="connsiteX1364" fmla="*/ 257682 w 900155"/>
                <a:gd name="connsiteY1364" fmla="*/ 122362 h 807349"/>
                <a:gd name="connsiteX1365" fmla="*/ 259510 w 900155"/>
                <a:gd name="connsiteY1365" fmla="*/ 120609 h 807349"/>
                <a:gd name="connsiteX1366" fmla="*/ 260541 w 900155"/>
                <a:gd name="connsiteY1366" fmla="*/ 119270 h 807349"/>
                <a:gd name="connsiteX1367" fmla="*/ 260303 w 900155"/>
                <a:gd name="connsiteY1367" fmla="*/ 118169 h 807349"/>
                <a:gd name="connsiteX1368" fmla="*/ 260577 w 900155"/>
                <a:gd name="connsiteY1368" fmla="*/ 117323 h 807349"/>
                <a:gd name="connsiteX1369" fmla="*/ 261858 w 900155"/>
                <a:gd name="connsiteY1369" fmla="*/ 117586 h 807349"/>
                <a:gd name="connsiteX1370" fmla="*/ 266757 w 900155"/>
                <a:gd name="connsiteY1370" fmla="*/ 120280 h 807349"/>
                <a:gd name="connsiteX1371" fmla="*/ 267738 w 900155"/>
                <a:gd name="connsiteY1371" fmla="*/ 121688 h 807349"/>
                <a:gd name="connsiteX1372" fmla="*/ 268768 w 900155"/>
                <a:gd name="connsiteY1372" fmla="*/ 121140 h 807349"/>
                <a:gd name="connsiteX1373" fmla="*/ 269098 w 900155"/>
                <a:gd name="connsiteY1373" fmla="*/ 119606 h 807349"/>
                <a:gd name="connsiteX1374" fmla="*/ 268988 w 900155"/>
                <a:gd name="connsiteY1374" fmla="*/ 118072 h 807349"/>
                <a:gd name="connsiteX1375" fmla="*/ 267906 w 900155"/>
                <a:gd name="connsiteY1375" fmla="*/ 118304 h 807349"/>
                <a:gd name="connsiteX1376" fmla="*/ 265367 w 900155"/>
                <a:gd name="connsiteY1376" fmla="*/ 118147 h 807349"/>
                <a:gd name="connsiteX1377" fmla="*/ 264781 w 900155"/>
                <a:gd name="connsiteY1377" fmla="*/ 117285 h 807349"/>
                <a:gd name="connsiteX1378" fmla="*/ 265002 w 900155"/>
                <a:gd name="connsiteY1378" fmla="*/ 116574 h 807349"/>
                <a:gd name="connsiteX1379" fmla="*/ 263816 w 900155"/>
                <a:gd name="connsiteY1379" fmla="*/ 114769 h 807349"/>
                <a:gd name="connsiteX1380" fmla="*/ 265477 w 900155"/>
                <a:gd name="connsiteY1380" fmla="*/ 113621 h 807349"/>
                <a:gd name="connsiteX1381" fmla="*/ 266905 w 900155"/>
                <a:gd name="connsiteY1381" fmla="*/ 113546 h 807349"/>
                <a:gd name="connsiteX1382" fmla="*/ 267891 w 900155"/>
                <a:gd name="connsiteY1382" fmla="*/ 112760 h 807349"/>
                <a:gd name="connsiteX1383" fmla="*/ 267906 w 900155"/>
                <a:gd name="connsiteY1383" fmla="*/ 111686 h 807349"/>
                <a:gd name="connsiteX1384" fmla="*/ 268219 w 900155"/>
                <a:gd name="connsiteY1384" fmla="*/ 111228 h 807349"/>
                <a:gd name="connsiteX1385" fmla="*/ 268988 w 900155"/>
                <a:gd name="connsiteY1385" fmla="*/ 111866 h 807349"/>
                <a:gd name="connsiteX1386" fmla="*/ 271547 w 900155"/>
                <a:gd name="connsiteY1386" fmla="*/ 112161 h 807349"/>
                <a:gd name="connsiteX1387" fmla="*/ 274061 w 900155"/>
                <a:gd name="connsiteY1387" fmla="*/ 113550 h 807349"/>
                <a:gd name="connsiteX1388" fmla="*/ 275240 w 900155"/>
                <a:gd name="connsiteY1388" fmla="*/ 113844 h 807349"/>
                <a:gd name="connsiteX1389" fmla="*/ 275680 w 900155"/>
                <a:gd name="connsiteY1389" fmla="*/ 113098 h 807349"/>
                <a:gd name="connsiteX1390" fmla="*/ 275861 w 900155"/>
                <a:gd name="connsiteY1390" fmla="*/ 111488 h 807349"/>
                <a:gd name="connsiteX1391" fmla="*/ 272754 w 900155"/>
                <a:gd name="connsiteY1391" fmla="*/ 109881 h 807349"/>
                <a:gd name="connsiteX1392" fmla="*/ 272670 w 900155"/>
                <a:gd name="connsiteY1392" fmla="*/ 108301 h 807349"/>
                <a:gd name="connsiteX1393" fmla="*/ 271363 w 900155"/>
                <a:gd name="connsiteY1393" fmla="*/ 106480 h 807349"/>
                <a:gd name="connsiteX1394" fmla="*/ 271327 w 900155"/>
                <a:gd name="connsiteY1394" fmla="*/ 104689 h 807349"/>
                <a:gd name="connsiteX1395" fmla="*/ 273268 w 900155"/>
                <a:gd name="connsiteY1395" fmla="*/ 103191 h 807349"/>
                <a:gd name="connsiteX1396" fmla="*/ 273668 w 900155"/>
                <a:gd name="connsiteY1396" fmla="*/ 101738 h 807349"/>
                <a:gd name="connsiteX1397" fmla="*/ 274792 w 900155"/>
                <a:gd name="connsiteY1397" fmla="*/ 101147 h 807349"/>
                <a:gd name="connsiteX1398" fmla="*/ 277014 w 900155"/>
                <a:gd name="connsiteY1398" fmla="*/ 101123 h 807349"/>
                <a:gd name="connsiteX1399" fmla="*/ 278513 w 900155"/>
                <a:gd name="connsiteY1399" fmla="*/ 99891 h 807349"/>
                <a:gd name="connsiteX1400" fmla="*/ 280195 w 900155"/>
                <a:gd name="connsiteY1400" fmla="*/ 99461 h 807349"/>
                <a:gd name="connsiteX1401" fmla="*/ 280605 w 900155"/>
                <a:gd name="connsiteY1401" fmla="*/ 96717 h 807349"/>
                <a:gd name="connsiteX1402" fmla="*/ 280577 w 900155"/>
                <a:gd name="connsiteY1402" fmla="*/ 94833 h 807349"/>
                <a:gd name="connsiteX1403" fmla="*/ 281256 w 900155"/>
                <a:gd name="connsiteY1403" fmla="*/ 94348 h 807349"/>
                <a:gd name="connsiteX1404" fmla="*/ 282955 w 900155"/>
                <a:gd name="connsiteY1404" fmla="*/ 95133 h 807349"/>
                <a:gd name="connsiteX1405" fmla="*/ 282438 w 900155"/>
                <a:gd name="connsiteY1405" fmla="*/ 97312 h 807349"/>
                <a:gd name="connsiteX1406" fmla="*/ 282432 w 900155"/>
                <a:gd name="connsiteY1406" fmla="*/ 99392 h 807349"/>
                <a:gd name="connsiteX1407" fmla="*/ 282004 w 900155"/>
                <a:gd name="connsiteY1407" fmla="*/ 100506 h 807349"/>
                <a:gd name="connsiteX1408" fmla="*/ 282644 w 900155"/>
                <a:gd name="connsiteY1408" fmla="*/ 100413 h 807349"/>
                <a:gd name="connsiteX1409" fmla="*/ 283039 w 900155"/>
                <a:gd name="connsiteY1409" fmla="*/ 99950 h 807349"/>
                <a:gd name="connsiteX1410" fmla="*/ 283704 w 900155"/>
                <a:gd name="connsiteY1410" fmla="*/ 98583 h 807349"/>
                <a:gd name="connsiteX1411" fmla="*/ 285496 w 900155"/>
                <a:gd name="connsiteY1411" fmla="*/ 99143 h 807349"/>
                <a:gd name="connsiteX1412" fmla="*/ 285939 w 900155"/>
                <a:gd name="connsiteY1412" fmla="*/ 100605 h 807349"/>
                <a:gd name="connsiteX1413" fmla="*/ 286172 w 900155"/>
                <a:gd name="connsiteY1413" fmla="*/ 102036 h 807349"/>
                <a:gd name="connsiteX1414" fmla="*/ 287068 w 900155"/>
                <a:gd name="connsiteY1414" fmla="*/ 102503 h 807349"/>
                <a:gd name="connsiteX1415" fmla="*/ 288295 w 900155"/>
                <a:gd name="connsiteY1415" fmla="*/ 100301 h 807349"/>
                <a:gd name="connsiteX1416" fmla="*/ 289945 w 900155"/>
                <a:gd name="connsiteY1416" fmla="*/ 99717 h 807349"/>
                <a:gd name="connsiteX1417" fmla="*/ 289854 w 900155"/>
                <a:gd name="connsiteY1417" fmla="*/ 96935 h 807349"/>
                <a:gd name="connsiteX1418" fmla="*/ 290478 w 900155"/>
                <a:gd name="connsiteY1418" fmla="*/ 94943 h 807349"/>
                <a:gd name="connsiteX1419" fmla="*/ 290672 w 900155"/>
                <a:gd name="connsiteY1419" fmla="*/ 93448 h 807349"/>
                <a:gd name="connsiteX1420" fmla="*/ 291718 w 900155"/>
                <a:gd name="connsiteY1420" fmla="*/ 92719 h 807349"/>
                <a:gd name="connsiteX1421" fmla="*/ 291949 w 900155"/>
                <a:gd name="connsiteY1421" fmla="*/ 91133 h 807349"/>
                <a:gd name="connsiteX1422" fmla="*/ 291111 w 900155"/>
                <a:gd name="connsiteY1422" fmla="*/ 90039 h 807349"/>
                <a:gd name="connsiteX1423" fmla="*/ 290679 w 900155"/>
                <a:gd name="connsiteY1423" fmla="*/ 88048 h 807349"/>
                <a:gd name="connsiteX1424" fmla="*/ 292119 w 900155"/>
                <a:gd name="connsiteY1424" fmla="*/ 87608 h 807349"/>
                <a:gd name="connsiteX1425" fmla="*/ 293562 w 900155"/>
                <a:gd name="connsiteY1425" fmla="*/ 88608 h 807349"/>
                <a:gd name="connsiteX1426" fmla="*/ 294533 w 900155"/>
                <a:gd name="connsiteY1426" fmla="*/ 91118 h 807349"/>
                <a:gd name="connsiteX1427" fmla="*/ 295203 w 900155"/>
                <a:gd name="connsiteY1427" fmla="*/ 92249 h 807349"/>
                <a:gd name="connsiteX1428" fmla="*/ 296095 w 900155"/>
                <a:gd name="connsiteY1428" fmla="*/ 91633 h 807349"/>
                <a:gd name="connsiteX1429" fmla="*/ 296630 w 900155"/>
                <a:gd name="connsiteY1429" fmla="*/ 89961 h 807349"/>
                <a:gd name="connsiteX1430" fmla="*/ 298401 w 900155"/>
                <a:gd name="connsiteY1430" fmla="*/ 88988 h 807349"/>
                <a:gd name="connsiteX1431" fmla="*/ 300154 w 900155"/>
                <a:gd name="connsiteY1431" fmla="*/ 90340 h 807349"/>
                <a:gd name="connsiteX1432" fmla="*/ 302085 w 900155"/>
                <a:gd name="connsiteY1432" fmla="*/ 92190 h 807349"/>
                <a:gd name="connsiteX1433" fmla="*/ 304503 w 900155"/>
                <a:gd name="connsiteY1433" fmla="*/ 90576 h 807349"/>
                <a:gd name="connsiteX1434" fmla="*/ 306749 w 900155"/>
                <a:gd name="connsiteY1434" fmla="*/ 87551 h 807349"/>
                <a:gd name="connsiteX1435" fmla="*/ 306390 w 900155"/>
                <a:gd name="connsiteY1435" fmla="*/ 85700 h 807349"/>
                <a:gd name="connsiteX1436" fmla="*/ 306637 w 900155"/>
                <a:gd name="connsiteY1436" fmla="*/ 83795 h 807349"/>
                <a:gd name="connsiteX1437" fmla="*/ 309459 w 900155"/>
                <a:gd name="connsiteY1437" fmla="*/ 82796 h 807349"/>
                <a:gd name="connsiteX1438" fmla="*/ 311733 w 900155"/>
                <a:gd name="connsiteY1438" fmla="*/ 83531 h 807349"/>
                <a:gd name="connsiteX1439" fmla="*/ 313793 w 900155"/>
                <a:gd name="connsiteY1439" fmla="*/ 85573 h 807349"/>
                <a:gd name="connsiteX1440" fmla="*/ 318080 w 900155"/>
                <a:gd name="connsiteY1440" fmla="*/ 87091 h 807349"/>
                <a:gd name="connsiteX1441" fmla="*/ 321718 w 900155"/>
                <a:gd name="connsiteY1441" fmla="*/ 89270 h 807349"/>
                <a:gd name="connsiteX1442" fmla="*/ 323341 w 900155"/>
                <a:gd name="connsiteY1442" fmla="*/ 90695 h 807349"/>
                <a:gd name="connsiteX1443" fmla="*/ 326477 w 900155"/>
                <a:gd name="connsiteY1443" fmla="*/ 92961 h 807349"/>
                <a:gd name="connsiteX1444" fmla="*/ 328481 w 900155"/>
                <a:gd name="connsiteY1444" fmla="*/ 95313 h 807349"/>
                <a:gd name="connsiteX1445" fmla="*/ 331225 w 900155"/>
                <a:gd name="connsiteY1445" fmla="*/ 99505 h 807349"/>
                <a:gd name="connsiteX1446" fmla="*/ 337702 w 900155"/>
                <a:gd name="connsiteY1446" fmla="*/ 104618 h 807349"/>
                <a:gd name="connsiteX1447" fmla="*/ 338120 w 900155"/>
                <a:gd name="connsiteY1447" fmla="*/ 105525 h 807349"/>
                <a:gd name="connsiteX1448" fmla="*/ 337246 w 900155"/>
                <a:gd name="connsiteY1448" fmla="*/ 107233 h 807349"/>
                <a:gd name="connsiteX1449" fmla="*/ 336462 w 900155"/>
                <a:gd name="connsiteY1449" fmla="*/ 109420 h 807349"/>
                <a:gd name="connsiteX1450" fmla="*/ 335490 w 900155"/>
                <a:gd name="connsiteY1450" fmla="*/ 113124 h 807349"/>
                <a:gd name="connsiteX1451" fmla="*/ 335246 w 900155"/>
                <a:gd name="connsiteY1451" fmla="*/ 118583 h 807349"/>
                <a:gd name="connsiteX1452" fmla="*/ 336182 w 900155"/>
                <a:gd name="connsiteY1452" fmla="*/ 118192 h 807349"/>
                <a:gd name="connsiteX1453" fmla="*/ 337149 w 900155"/>
                <a:gd name="connsiteY1453" fmla="*/ 116236 h 807349"/>
                <a:gd name="connsiteX1454" fmla="*/ 338172 w 900155"/>
                <a:gd name="connsiteY1454" fmla="*/ 116638 h 807349"/>
                <a:gd name="connsiteX1455" fmla="*/ 339343 w 900155"/>
                <a:gd name="connsiteY1455" fmla="*/ 117887 h 807349"/>
                <a:gd name="connsiteX1456" fmla="*/ 339438 w 900155"/>
                <a:gd name="connsiteY1456" fmla="*/ 116689 h 807349"/>
                <a:gd name="connsiteX1457" fmla="*/ 338737 w 900155"/>
                <a:gd name="connsiteY1457" fmla="*/ 115965 h 807349"/>
                <a:gd name="connsiteX1458" fmla="*/ 337535 w 900155"/>
                <a:gd name="connsiteY1458" fmla="*/ 113446 h 807349"/>
                <a:gd name="connsiteX1459" fmla="*/ 337581 w 900155"/>
                <a:gd name="connsiteY1459" fmla="*/ 112111 h 807349"/>
                <a:gd name="connsiteX1460" fmla="*/ 338539 w 900155"/>
                <a:gd name="connsiteY1460" fmla="*/ 111038 h 807349"/>
                <a:gd name="connsiteX1461" fmla="*/ 340016 w 900155"/>
                <a:gd name="connsiteY1461" fmla="*/ 109753 h 807349"/>
                <a:gd name="connsiteX1462" fmla="*/ 341632 w 900155"/>
                <a:gd name="connsiteY1462" fmla="*/ 108912 h 807349"/>
                <a:gd name="connsiteX1463" fmla="*/ 342627 w 900155"/>
                <a:gd name="connsiteY1463" fmla="*/ 108177 h 807349"/>
                <a:gd name="connsiteX1464" fmla="*/ 342774 w 900155"/>
                <a:gd name="connsiteY1464" fmla="*/ 107268 h 807349"/>
                <a:gd name="connsiteX1465" fmla="*/ 344269 w 900155"/>
                <a:gd name="connsiteY1465" fmla="*/ 106343 h 807349"/>
                <a:gd name="connsiteX1466" fmla="*/ 346442 w 900155"/>
                <a:gd name="connsiteY1466" fmla="*/ 106039 h 807349"/>
                <a:gd name="connsiteX1467" fmla="*/ 347765 w 900155"/>
                <a:gd name="connsiteY1467" fmla="*/ 106185 h 807349"/>
                <a:gd name="connsiteX1468" fmla="*/ 357110 w 900155"/>
                <a:gd name="connsiteY1468" fmla="*/ 108521 h 807349"/>
                <a:gd name="connsiteX1469" fmla="*/ 359475 w 900155"/>
                <a:gd name="connsiteY1469" fmla="*/ 110854 h 807349"/>
                <a:gd name="connsiteX1470" fmla="*/ 359697 w 900155"/>
                <a:gd name="connsiteY1470" fmla="*/ 113736 h 807349"/>
                <a:gd name="connsiteX1471" fmla="*/ 360596 w 900155"/>
                <a:gd name="connsiteY1471" fmla="*/ 114758 h 807349"/>
                <a:gd name="connsiteX1472" fmla="*/ 361083 w 900155"/>
                <a:gd name="connsiteY1472" fmla="*/ 112947 h 807349"/>
                <a:gd name="connsiteX1473" fmla="*/ 360989 w 900155"/>
                <a:gd name="connsiteY1473" fmla="*/ 109011 h 807349"/>
                <a:gd name="connsiteX1474" fmla="*/ 361740 w 900155"/>
                <a:gd name="connsiteY1474" fmla="*/ 108230 h 807349"/>
                <a:gd name="connsiteX1475" fmla="*/ 364254 w 900155"/>
                <a:gd name="connsiteY1475" fmla="*/ 108839 h 807349"/>
                <a:gd name="connsiteX1476" fmla="*/ 365972 w 900155"/>
                <a:gd name="connsiteY1476" fmla="*/ 109625 h 807349"/>
                <a:gd name="connsiteX1477" fmla="*/ 368363 w 900155"/>
                <a:gd name="connsiteY1477" fmla="*/ 112205 h 807349"/>
                <a:gd name="connsiteX1478" fmla="*/ 368818 w 900155"/>
                <a:gd name="connsiteY1478" fmla="*/ 113471 h 807349"/>
                <a:gd name="connsiteX1479" fmla="*/ 369859 w 900155"/>
                <a:gd name="connsiteY1479" fmla="*/ 114294 h 807349"/>
                <a:gd name="connsiteX1480" fmla="*/ 370203 w 900155"/>
                <a:gd name="connsiteY1480" fmla="*/ 113098 h 807349"/>
                <a:gd name="connsiteX1481" fmla="*/ 369715 w 900155"/>
                <a:gd name="connsiteY1481" fmla="*/ 111402 h 807349"/>
                <a:gd name="connsiteX1482" fmla="*/ 369371 w 900155"/>
                <a:gd name="connsiteY1482" fmla="*/ 109459 h 807349"/>
                <a:gd name="connsiteX1483" fmla="*/ 369911 w 900155"/>
                <a:gd name="connsiteY1483" fmla="*/ 107767 h 807349"/>
                <a:gd name="connsiteX1484" fmla="*/ 372705 w 900155"/>
                <a:gd name="connsiteY1484" fmla="*/ 107632 h 807349"/>
                <a:gd name="connsiteX1485" fmla="*/ 374590 w 900155"/>
                <a:gd name="connsiteY1485" fmla="*/ 107268 h 807349"/>
                <a:gd name="connsiteX1486" fmla="*/ 373699 w 900155"/>
                <a:gd name="connsiteY1486" fmla="*/ 106608 h 807349"/>
                <a:gd name="connsiteX1487" fmla="*/ 372485 w 900155"/>
                <a:gd name="connsiteY1487" fmla="*/ 106379 h 807349"/>
                <a:gd name="connsiteX1488" fmla="*/ 370483 w 900155"/>
                <a:gd name="connsiteY1488" fmla="*/ 104828 h 807349"/>
                <a:gd name="connsiteX1489" fmla="*/ 369194 w 900155"/>
                <a:gd name="connsiteY1489" fmla="*/ 103161 h 807349"/>
                <a:gd name="connsiteX1490" fmla="*/ 371272 w 900155"/>
                <a:gd name="connsiteY1490" fmla="*/ 101540 h 807349"/>
                <a:gd name="connsiteX1491" fmla="*/ 371256 w 900155"/>
                <a:gd name="connsiteY1491" fmla="*/ 101136 h 807349"/>
                <a:gd name="connsiteX1492" fmla="*/ 369266 w 900155"/>
                <a:gd name="connsiteY1492" fmla="*/ 101187 h 807349"/>
                <a:gd name="connsiteX1493" fmla="*/ 366523 w 900155"/>
                <a:gd name="connsiteY1493" fmla="*/ 99609 h 807349"/>
                <a:gd name="connsiteX1494" fmla="*/ 364198 w 900155"/>
                <a:gd name="connsiteY1494" fmla="*/ 97413 h 807349"/>
                <a:gd name="connsiteX1495" fmla="*/ 365977 w 900155"/>
                <a:gd name="connsiteY1495" fmla="*/ 93375 h 807349"/>
                <a:gd name="connsiteX1496" fmla="*/ 369525 w 900155"/>
                <a:gd name="connsiteY1496" fmla="*/ 89427 h 807349"/>
                <a:gd name="connsiteX1497" fmla="*/ 371520 w 900155"/>
                <a:gd name="connsiteY1497" fmla="*/ 88110 h 807349"/>
                <a:gd name="connsiteX1498" fmla="*/ 371707 w 900155"/>
                <a:gd name="connsiteY1498" fmla="*/ 86778 h 807349"/>
                <a:gd name="connsiteX1499" fmla="*/ 372666 w 900155"/>
                <a:gd name="connsiteY1499" fmla="*/ 84323 h 807349"/>
                <a:gd name="connsiteX1500" fmla="*/ 373276 w 900155"/>
                <a:gd name="connsiteY1500" fmla="*/ 82250 h 807349"/>
                <a:gd name="connsiteX1501" fmla="*/ 373450 w 900155"/>
                <a:gd name="connsiteY1501" fmla="*/ 80640 h 807349"/>
                <a:gd name="connsiteX1502" fmla="*/ 374372 w 900155"/>
                <a:gd name="connsiteY1502" fmla="*/ 78941 h 807349"/>
                <a:gd name="connsiteX1503" fmla="*/ 376562 w 900155"/>
                <a:gd name="connsiteY1503" fmla="*/ 77336 h 807349"/>
                <a:gd name="connsiteX1504" fmla="*/ 379542 w 900155"/>
                <a:gd name="connsiteY1504" fmla="*/ 76762 h 807349"/>
                <a:gd name="connsiteX1505" fmla="*/ 380941 w 900155"/>
                <a:gd name="connsiteY1505" fmla="*/ 76136 h 807349"/>
                <a:gd name="connsiteX1506" fmla="*/ 382342 w 900155"/>
                <a:gd name="connsiteY1506" fmla="*/ 74656 h 807349"/>
                <a:gd name="connsiteX1507" fmla="*/ 383680 w 900155"/>
                <a:gd name="connsiteY1507" fmla="*/ 72848 h 807349"/>
                <a:gd name="connsiteX1508" fmla="*/ 380920 w 900155"/>
                <a:gd name="connsiteY1508" fmla="*/ 69322 h 807349"/>
                <a:gd name="connsiteX1509" fmla="*/ 381149 w 900155"/>
                <a:gd name="connsiteY1509" fmla="*/ 67381 h 807349"/>
                <a:gd name="connsiteX1510" fmla="*/ 381654 w 900155"/>
                <a:gd name="connsiteY1510" fmla="*/ 65093 h 807349"/>
                <a:gd name="connsiteX1511" fmla="*/ 384966 w 900155"/>
                <a:gd name="connsiteY1511" fmla="*/ 63419 h 807349"/>
                <a:gd name="connsiteX1512" fmla="*/ 386778 w 900155"/>
                <a:gd name="connsiteY1512" fmla="*/ 59037 h 807349"/>
                <a:gd name="connsiteX1513" fmla="*/ 387979 w 900155"/>
                <a:gd name="connsiteY1513" fmla="*/ 58379 h 807349"/>
                <a:gd name="connsiteX1514" fmla="*/ 390581 w 900155"/>
                <a:gd name="connsiteY1514" fmla="*/ 58508 h 807349"/>
                <a:gd name="connsiteX1515" fmla="*/ 391589 w 900155"/>
                <a:gd name="connsiteY1515" fmla="*/ 58115 h 807349"/>
                <a:gd name="connsiteX1516" fmla="*/ 391414 w 900155"/>
                <a:gd name="connsiteY1516" fmla="*/ 54621 h 807349"/>
                <a:gd name="connsiteX1517" fmla="*/ 391704 w 900155"/>
                <a:gd name="connsiteY1517" fmla="*/ 53269 h 807349"/>
                <a:gd name="connsiteX1518" fmla="*/ 392803 w 900155"/>
                <a:gd name="connsiteY1518" fmla="*/ 52727 h 807349"/>
                <a:gd name="connsiteX1519" fmla="*/ 394213 w 900155"/>
                <a:gd name="connsiteY1519" fmla="*/ 53194 h 807349"/>
                <a:gd name="connsiteX1520" fmla="*/ 395107 w 900155"/>
                <a:gd name="connsiteY1520" fmla="*/ 54711 h 807349"/>
                <a:gd name="connsiteX1521" fmla="*/ 397115 w 900155"/>
                <a:gd name="connsiteY1521" fmla="*/ 56115 h 807349"/>
                <a:gd name="connsiteX1522" fmla="*/ 397797 w 900155"/>
                <a:gd name="connsiteY1522" fmla="*/ 55347 h 807349"/>
                <a:gd name="connsiteX1523" fmla="*/ 397458 w 900155"/>
                <a:gd name="connsiteY1523" fmla="*/ 53808 h 807349"/>
                <a:gd name="connsiteX1524" fmla="*/ 397258 w 900155"/>
                <a:gd name="connsiteY1524" fmla="*/ 51835 h 807349"/>
                <a:gd name="connsiteX1525" fmla="*/ 399089 w 900155"/>
                <a:gd name="connsiteY1525" fmla="*/ 51410 h 807349"/>
                <a:gd name="connsiteX1526" fmla="*/ 400565 w 900155"/>
                <a:gd name="connsiteY1526" fmla="*/ 51289 h 807349"/>
                <a:gd name="connsiteX1527" fmla="*/ 400713 w 900155"/>
                <a:gd name="connsiteY1527" fmla="*/ 49678 h 807349"/>
                <a:gd name="connsiteX1528" fmla="*/ 400479 w 900155"/>
                <a:gd name="connsiteY1528" fmla="*/ 48394 h 807349"/>
                <a:gd name="connsiteX1529" fmla="*/ 401058 w 900155"/>
                <a:gd name="connsiteY1529" fmla="*/ 47851 h 807349"/>
                <a:gd name="connsiteX1530" fmla="*/ 404911 w 900155"/>
                <a:gd name="connsiteY1530" fmla="*/ 47588 h 807349"/>
                <a:gd name="connsiteX1531" fmla="*/ 405917 w 900155"/>
                <a:gd name="connsiteY1531" fmla="*/ 46267 h 807349"/>
                <a:gd name="connsiteX1532" fmla="*/ 406495 w 900155"/>
                <a:gd name="connsiteY1532" fmla="*/ 45119 h 807349"/>
                <a:gd name="connsiteX1533" fmla="*/ 406985 w 900155"/>
                <a:gd name="connsiteY1533" fmla="*/ 45748 h 807349"/>
                <a:gd name="connsiteX1534" fmla="*/ 407612 w 900155"/>
                <a:gd name="connsiteY1534" fmla="*/ 48309 h 807349"/>
                <a:gd name="connsiteX1535" fmla="*/ 409738 w 900155"/>
                <a:gd name="connsiteY1535" fmla="*/ 49810 h 807349"/>
                <a:gd name="connsiteX1536" fmla="*/ 416107 w 900155"/>
                <a:gd name="connsiteY1536" fmla="*/ 49836 h 807349"/>
                <a:gd name="connsiteX1537" fmla="*/ 419683 w 900155"/>
                <a:gd name="connsiteY1537" fmla="*/ 48800 h 807349"/>
                <a:gd name="connsiteX1538" fmla="*/ 421203 w 900155"/>
                <a:gd name="connsiteY1538" fmla="*/ 49413 h 807349"/>
                <a:gd name="connsiteX1539" fmla="*/ 423576 w 900155"/>
                <a:gd name="connsiteY1539" fmla="*/ 49895 h 807349"/>
                <a:gd name="connsiteX1540" fmla="*/ 426191 w 900155"/>
                <a:gd name="connsiteY1540" fmla="*/ 48688 h 807349"/>
                <a:gd name="connsiteX1541" fmla="*/ 427759 w 900155"/>
                <a:gd name="connsiteY1541" fmla="*/ 47770 h 807349"/>
                <a:gd name="connsiteX1542" fmla="*/ 430387 w 900155"/>
                <a:gd name="connsiteY1542" fmla="*/ 48962 h 807349"/>
                <a:gd name="connsiteX1543" fmla="*/ 431249 w 900155"/>
                <a:gd name="connsiteY1543" fmla="*/ 50217 h 807349"/>
                <a:gd name="connsiteX1544" fmla="*/ 431925 w 900155"/>
                <a:gd name="connsiteY1544" fmla="*/ 47553 h 807349"/>
                <a:gd name="connsiteX1545" fmla="*/ 433449 w 900155"/>
                <a:gd name="connsiteY1545" fmla="*/ 46622 h 807349"/>
                <a:gd name="connsiteX1546" fmla="*/ 435068 w 900155"/>
                <a:gd name="connsiteY1546" fmla="*/ 46070 h 807349"/>
                <a:gd name="connsiteX1547" fmla="*/ 437115 w 900155"/>
                <a:gd name="connsiteY1547" fmla="*/ 46515 h 807349"/>
                <a:gd name="connsiteX1548" fmla="*/ 437921 w 900155"/>
                <a:gd name="connsiteY1548" fmla="*/ 46366 h 807349"/>
                <a:gd name="connsiteX1549" fmla="*/ 436100 w 900155"/>
                <a:gd name="connsiteY1549" fmla="*/ 44385 h 807349"/>
                <a:gd name="connsiteX1550" fmla="*/ 436207 w 900155"/>
                <a:gd name="connsiteY1550" fmla="*/ 42581 h 807349"/>
                <a:gd name="connsiteX1551" fmla="*/ 436088 w 900155"/>
                <a:gd name="connsiteY1551" fmla="*/ 39916 h 807349"/>
                <a:gd name="connsiteX1552" fmla="*/ 436416 w 900155"/>
                <a:gd name="connsiteY1552" fmla="*/ 37480 h 807349"/>
                <a:gd name="connsiteX1553" fmla="*/ 437068 w 900155"/>
                <a:gd name="connsiteY1553" fmla="*/ 35729 h 807349"/>
                <a:gd name="connsiteX1554" fmla="*/ 432667 w 900155"/>
                <a:gd name="connsiteY1554" fmla="*/ 32200 h 807349"/>
                <a:gd name="connsiteX1555" fmla="*/ 428305 w 900155"/>
                <a:gd name="connsiteY1555" fmla="*/ 31666 h 807349"/>
                <a:gd name="connsiteX1556" fmla="*/ 425113 w 900155"/>
                <a:gd name="connsiteY1556" fmla="*/ 32406 h 807349"/>
                <a:gd name="connsiteX1557" fmla="*/ 423770 w 900155"/>
                <a:gd name="connsiteY1557" fmla="*/ 31824 h 807349"/>
                <a:gd name="connsiteX1558" fmla="*/ 420935 w 900155"/>
                <a:gd name="connsiteY1558" fmla="*/ 28998 h 807349"/>
                <a:gd name="connsiteX1559" fmla="*/ 418234 w 900155"/>
                <a:gd name="connsiteY1559" fmla="*/ 27966 h 807349"/>
                <a:gd name="connsiteX1560" fmla="*/ 417998 w 900155"/>
                <a:gd name="connsiteY1560" fmla="*/ 27271 h 807349"/>
                <a:gd name="connsiteX1561" fmla="*/ 421309 w 900155"/>
                <a:gd name="connsiteY1561" fmla="*/ 25244 h 807349"/>
                <a:gd name="connsiteX1562" fmla="*/ 422570 w 900155"/>
                <a:gd name="connsiteY1562" fmla="*/ 25592 h 807349"/>
                <a:gd name="connsiteX1563" fmla="*/ 424498 w 900155"/>
                <a:gd name="connsiteY1563" fmla="*/ 27489 h 807349"/>
                <a:gd name="connsiteX1564" fmla="*/ 425597 w 900155"/>
                <a:gd name="connsiteY1564" fmla="*/ 28161 h 807349"/>
                <a:gd name="connsiteX1565" fmla="*/ 426532 w 900155"/>
                <a:gd name="connsiteY1565" fmla="*/ 28023 h 807349"/>
                <a:gd name="connsiteX1566" fmla="*/ 427135 w 900155"/>
                <a:gd name="connsiteY1566" fmla="*/ 26541 h 807349"/>
                <a:gd name="connsiteX1567" fmla="*/ 427968 w 900155"/>
                <a:gd name="connsiteY1567" fmla="*/ 25762 h 807349"/>
                <a:gd name="connsiteX1568" fmla="*/ 429545 w 900155"/>
                <a:gd name="connsiteY1568" fmla="*/ 26199 h 807349"/>
                <a:gd name="connsiteX1569" fmla="*/ 434483 w 900155"/>
                <a:gd name="connsiteY1569" fmla="*/ 29409 h 807349"/>
                <a:gd name="connsiteX1570" fmla="*/ 437258 w 900155"/>
                <a:gd name="connsiteY1570" fmla="*/ 32515 h 807349"/>
                <a:gd name="connsiteX1571" fmla="*/ 438679 w 900155"/>
                <a:gd name="connsiteY1571" fmla="*/ 31695 h 807349"/>
                <a:gd name="connsiteX1572" fmla="*/ 441112 w 900155"/>
                <a:gd name="connsiteY1572" fmla="*/ 29952 h 807349"/>
                <a:gd name="connsiteX1573" fmla="*/ 443410 w 900155"/>
                <a:gd name="connsiteY1573" fmla="*/ 30315 h 807349"/>
                <a:gd name="connsiteX1574" fmla="*/ 444822 w 900155"/>
                <a:gd name="connsiteY1574" fmla="*/ 31334 h 807349"/>
                <a:gd name="connsiteX1575" fmla="*/ 446801 w 900155"/>
                <a:gd name="connsiteY1575" fmla="*/ 35119 h 807349"/>
                <a:gd name="connsiteX1576" fmla="*/ 448368 w 900155"/>
                <a:gd name="connsiteY1576" fmla="*/ 36998 h 807349"/>
                <a:gd name="connsiteX1577" fmla="*/ 452147 w 900155"/>
                <a:gd name="connsiteY1577" fmla="*/ 37504 h 807349"/>
                <a:gd name="connsiteX1578" fmla="*/ 454071 w 900155"/>
                <a:gd name="connsiteY1578" fmla="*/ 38224 h 807349"/>
                <a:gd name="connsiteX1579" fmla="*/ 456062 w 900155"/>
                <a:gd name="connsiteY1579" fmla="*/ 39476 h 807349"/>
                <a:gd name="connsiteX1580" fmla="*/ 458744 w 900155"/>
                <a:gd name="connsiteY1580" fmla="*/ 39366 h 807349"/>
                <a:gd name="connsiteX1581" fmla="*/ 464265 w 900155"/>
                <a:gd name="connsiteY1581" fmla="*/ 39831 h 807349"/>
                <a:gd name="connsiteX1582" fmla="*/ 469467 w 900155"/>
                <a:gd name="connsiteY1582" fmla="*/ 42255 h 807349"/>
                <a:gd name="connsiteX1583" fmla="*/ 471627 w 900155"/>
                <a:gd name="connsiteY1583" fmla="*/ 43770 h 807349"/>
                <a:gd name="connsiteX1584" fmla="*/ 474147 w 900155"/>
                <a:gd name="connsiteY1584" fmla="*/ 44175 h 807349"/>
                <a:gd name="connsiteX1585" fmla="*/ 475613 w 900155"/>
                <a:gd name="connsiteY1585" fmla="*/ 44780 h 807349"/>
                <a:gd name="connsiteX1586" fmla="*/ 478282 w 900155"/>
                <a:gd name="connsiteY1586" fmla="*/ 44962 h 807349"/>
                <a:gd name="connsiteX1587" fmla="*/ 482532 w 900155"/>
                <a:gd name="connsiteY1587" fmla="*/ 43246 h 807349"/>
                <a:gd name="connsiteX1588" fmla="*/ 484436 w 900155"/>
                <a:gd name="connsiteY1588" fmla="*/ 44824 h 807349"/>
                <a:gd name="connsiteX1589" fmla="*/ 485283 w 900155"/>
                <a:gd name="connsiteY1589" fmla="*/ 45897 h 807349"/>
                <a:gd name="connsiteX1590" fmla="*/ 489153 w 900155"/>
                <a:gd name="connsiteY1590" fmla="*/ 47943 h 807349"/>
                <a:gd name="connsiteX1591" fmla="*/ 493316 w 900155"/>
                <a:gd name="connsiteY1591" fmla="*/ 48570 h 807349"/>
                <a:gd name="connsiteX1592" fmla="*/ 496287 w 900155"/>
                <a:gd name="connsiteY1592" fmla="*/ 46495 h 807349"/>
                <a:gd name="connsiteX1593" fmla="*/ 500630 w 900155"/>
                <a:gd name="connsiteY1593" fmla="*/ 44957 h 807349"/>
                <a:gd name="connsiteX1594" fmla="*/ 503655 w 900155"/>
                <a:gd name="connsiteY1594" fmla="*/ 42614 h 807349"/>
                <a:gd name="connsiteX1595" fmla="*/ 505931 w 900155"/>
                <a:gd name="connsiteY1595" fmla="*/ 41512 h 807349"/>
                <a:gd name="connsiteX1596" fmla="*/ 508070 w 900155"/>
                <a:gd name="connsiteY1596" fmla="*/ 39599 h 807349"/>
                <a:gd name="connsiteX1597" fmla="*/ 508894 w 900155"/>
                <a:gd name="connsiteY1597" fmla="*/ 39691 h 807349"/>
                <a:gd name="connsiteX1598" fmla="*/ 507149 w 900155"/>
                <a:gd name="connsiteY1598" fmla="*/ 41477 h 807349"/>
                <a:gd name="connsiteX1599" fmla="*/ 506937 w 900155"/>
                <a:gd name="connsiteY1599" fmla="*/ 42491 h 807349"/>
                <a:gd name="connsiteX1600" fmla="*/ 508304 w 900155"/>
                <a:gd name="connsiteY1600" fmla="*/ 42914 h 807349"/>
                <a:gd name="connsiteX1601" fmla="*/ 508163 w 900155"/>
                <a:gd name="connsiteY1601" fmla="*/ 43435 h 807349"/>
                <a:gd name="connsiteX1602" fmla="*/ 506281 w 900155"/>
                <a:gd name="connsiteY1602" fmla="*/ 44825 h 807349"/>
                <a:gd name="connsiteX1603" fmla="*/ 504030 w 900155"/>
                <a:gd name="connsiteY1603" fmla="*/ 46997 h 807349"/>
                <a:gd name="connsiteX1604" fmla="*/ 504071 w 900155"/>
                <a:gd name="connsiteY1604" fmla="*/ 48305 h 807349"/>
                <a:gd name="connsiteX1605" fmla="*/ 504946 w 900155"/>
                <a:gd name="connsiteY1605" fmla="*/ 49019 h 807349"/>
                <a:gd name="connsiteX1606" fmla="*/ 505982 w 900155"/>
                <a:gd name="connsiteY1606" fmla="*/ 48701 h 807349"/>
                <a:gd name="connsiteX1607" fmla="*/ 507455 w 900155"/>
                <a:gd name="connsiteY1607" fmla="*/ 47601 h 807349"/>
                <a:gd name="connsiteX1608" fmla="*/ 509232 w 900155"/>
                <a:gd name="connsiteY1608" fmla="*/ 47009 h 807349"/>
                <a:gd name="connsiteX1609" fmla="*/ 510796 w 900155"/>
                <a:gd name="connsiteY1609" fmla="*/ 47890 h 807349"/>
                <a:gd name="connsiteX1610" fmla="*/ 511304 w 900155"/>
                <a:gd name="connsiteY1610" fmla="*/ 51020 h 807349"/>
                <a:gd name="connsiteX1611" fmla="*/ 512417 w 900155"/>
                <a:gd name="connsiteY1611" fmla="*/ 53076 h 807349"/>
                <a:gd name="connsiteX1612" fmla="*/ 514868 w 900155"/>
                <a:gd name="connsiteY1612" fmla="*/ 53361 h 807349"/>
                <a:gd name="connsiteX1613" fmla="*/ 516371 w 900155"/>
                <a:gd name="connsiteY1613" fmla="*/ 53330 h 807349"/>
                <a:gd name="connsiteX1614" fmla="*/ 517872 w 900155"/>
                <a:gd name="connsiteY1614" fmla="*/ 50452 h 807349"/>
                <a:gd name="connsiteX1615" fmla="*/ 517063 w 900155"/>
                <a:gd name="connsiteY1615" fmla="*/ 48002 h 807349"/>
                <a:gd name="connsiteX1616" fmla="*/ 516134 w 900155"/>
                <a:gd name="connsiteY1616" fmla="*/ 47478 h 807349"/>
                <a:gd name="connsiteX1617" fmla="*/ 516581 w 900155"/>
                <a:gd name="connsiteY1617" fmla="*/ 46549 h 807349"/>
                <a:gd name="connsiteX1618" fmla="*/ 520412 w 900155"/>
                <a:gd name="connsiteY1618" fmla="*/ 42509 h 807349"/>
                <a:gd name="connsiteX1619" fmla="*/ 522554 w 900155"/>
                <a:gd name="connsiteY1619" fmla="*/ 42647 h 807349"/>
                <a:gd name="connsiteX1620" fmla="*/ 524091 w 900155"/>
                <a:gd name="connsiteY1620" fmla="*/ 46593 h 807349"/>
                <a:gd name="connsiteX1621" fmla="*/ 526517 w 900155"/>
                <a:gd name="connsiteY1621" fmla="*/ 48677 h 807349"/>
                <a:gd name="connsiteX1622" fmla="*/ 529103 w 900155"/>
                <a:gd name="connsiteY1622" fmla="*/ 48513 h 807349"/>
                <a:gd name="connsiteX1623" fmla="*/ 530453 w 900155"/>
                <a:gd name="connsiteY1623" fmla="*/ 49060 h 807349"/>
                <a:gd name="connsiteX1624" fmla="*/ 531558 w 900155"/>
                <a:gd name="connsiteY1624" fmla="*/ 51447 h 807349"/>
                <a:gd name="connsiteX1625" fmla="*/ 522483 w 900155"/>
                <a:gd name="connsiteY1625" fmla="*/ 61202 h 807349"/>
                <a:gd name="connsiteX1626" fmla="*/ 522057 w 900155"/>
                <a:gd name="connsiteY1626" fmla="*/ 62293 h 807349"/>
                <a:gd name="connsiteX1627" fmla="*/ 523280 w 900155"/>
                <a:gd name="connsiteY1627" fmla="*/ 64064 h 807349"/>
                <a:gd name="connsiteX1628" fmla="*/ 523750 w 900155"/>
                <a:gd name="connsiteY1628" fmla="*/ 66136 h 807349"/>
                <a:gd name="connsiteX1629" fmla="*/ 520802 w 900155"/>
                <a:gd name="connsiteY1629" fmla="*/ 71115 h 807349"/>
                <a:gd name="connsiteX1630" fmla="*/ 519716 w 900155"/>
                <a:gd name="connsiteY1630" fmla="*/ 71361 h 807349"/>
                <a:gd name="connsiteX1631" fmla="*/ 518669 w 900155"/>
                <a:gd name="connsiteY1631" fmla="*/ 70016 h 807349"/>
                <a:gd name="connsiteX1632" fmla="*/ 517112 w 900155"/>
                <a:gd name="connsiteY1632" fmla="*/ 69153 h 807349"/>
                <a:gd name="connsiteX1633" fmla="*/ 515745 w 900155"/>
                <a:gd name="connsiteY1633" fmla="*/ 69759 h 807349"/>
                <a:gd name="connsiteX1634" fmla="*/ 514281 w 900155"/>
                <a:gd name="connsiteY1634" fmla="*/ 70122 h 807349"/>
                <a:gd name="connsiteX1635" fmla="*/ 509001 w 900155"/>
                <a:gd name="connsiteY1635" fmla="*/ 72894 h 807349"/>
                <a:gd name="connsiteX1636" fmla="*/ 509042 w 900155"/>
                <a:gd name="connsiteY1636" fmla="*/ 80036 h 807349"/>
                <a:gd name="connsiteX1637" fmla="*/ 510376 w 900155"/>
                <a:gd name="connsiteY1637" fmla="*/ 84283 h 807349"/>
                <a:gd name="connsiteX1638" fmla="*/ 509602 w 900155"/>
                <a:gd name="connsiteY1638" fmla="*/ 87093 h 807349"/>
                <a:gd name="connsiteX1639" fmla="*/ 508029 w 900155"/>
                <a:gd name="connsiteY1639" fmla="*/ 92014 h 807349"/>
                <a:gd name="connsiteX1640" fmla="*/ 506326 w 900155"/>
                <a:gd name="connsiteY1640" fmla="*/ 93842 h 807349"/>
                <a:gd name="connsiteX1641" fmla="*/ 504959 w 900155"/>
                <a:gd name="connsiteY1641" fmla="*/ 95025 h 807349"/>
                <a:gd name="connsiteX1642" fmla="*/ 500411 w 900155"/>
                <a:gd name="connsiteY1642" fmla="*/ 101758 h 807349"/>
                <a:gd name="connsiteX1643" fmla="*/ 498960 w 900155"/>
                <a:gd name="connsiteY1643" fmla="*/ 103377 h 807349"/>
                <a:gd name="connsiteX1644" fmla="*/ 497456 w 900155"/>
                <a:gd name="connsiteY1644" fmla="*/ 105671 h 807349"/>
                <a:gd name="connsiteX1645" fmla="*/ 497960 w 900155"/>
                <a:gd name="connsiteY1645" fmla="*/ 107872 h 807349"/>
                <a:gd name="connsiteX1646" fmla="*/ 498520 w 900155"/>
                <a:gd name="connsiteY1646" fmla="*/ 109397 h 807349"/>
                <a:gd name="connsiteX1647" fmla="*/ 500232 w 900155"/>
                <a:gd name="connsiteY1647" fmla="*/ 111144 h 807349"/>
                <a:gd name="connsiteX1648" fmla="*/ 506907 w 900155"/>
                <a:gd name="connsiteY1648" fmla="*/ 114756 h 807349"/>
                <a:gd name="connsiteX1649" fmla="*/ 509935 w 900155"/>
                <a:gd name="connsiteY1649" fmla="*/ 117246 h 807349"/>
                <a:gd name="connsiteX1650" fmla="*/ 515149 w 900155"/>
                <a:gd name="connsiteY1650" fmla="*/ 120260 h 807349"/>
                <a:gd name="connsiteX1651" fmla="*/ 516341 w 900155"/>
                <a:gd name="connsiteY1651" fmla="*/ 122338 h 807349"/>
                <a:gd name="connsiteX1652" fmla="*/ 517052 w 900155"/>
                <a:gd name="connsiteY1652" fmla="*/ 124034 h 807349"/>
                <a:gd name="connsiteX1653" fmla="*/ 520822 w 900155"/>
                <a:gd name="connsiteY1653" fmla="*/ 125962 h 807349"/>
                <a:gd name="connsiteX1654" fmla="*/ 523513 w 900155"/>
                <a:gd name="connsiteY1654" fmla="*/ 127124 h 807349"/>
                <a:gd name="connsiteX1655" fmla="*/ 524290 w 900155"/>
                <a:gd name="connsiteY1655" fmla="*/ 126825 h 807349"/>
                <a:gd name="connsiteX1656" fmla="*/ 524852 w 900155"/>
                <a:gd name="connsiteY1656" fmla="*/ 126423 h 807349"/>
                <a:gd name="connsiteX1657" fmla="*/ 525525 w 900155"/>
                <a:gd name="connsiteY1657" fmla="*/ 126418 h 807349"/>
                <a:gd name="connsiteX1658" fmla="*/ 526195 w 900155"/>
                <a:gd name="connsiteY1658" fmla="*/ 126642 h 807349"/>
                <a:gd name="connsiteX1659" fmla="*/ 526089 w 900155"/>
                <a:gd name="connsiteY1659" fmla="*/ 128153 h 807349"/>
                <a:gd name="connsiteX1660" fmla="*/ 525793 w 900155"/>
                <a:gd name="connsiteY1660" fmla="*/ 128980 h 807349"/>
                <a:gd name="connsiteX1661" fmla="*/ 526045 w 900155"/>
                <a:gd name="connsiteY1661" fmla="*/ 130034 h 807349"/>
                <a:gd name="connsiteX1662" fmla="*/ 527959 w 900155"/>
                <a:gd name="connsiteY1662" fmla="*/ 131378 h 807349"/>
                <a:gd name="connsiteX1663" fmla="*/ 531010 w 900155"/>
                <a:gd name="connsiteY1663" fmla="*/ 131335 h 807349"/>
                <a:gd name="connsiteX1664" fmla="*/ 532767 w 900155"/>
                <a:gd name="connsiteY1664" fmla="*/ 131017 h 807349"/>
                <a:gd name="connsiteX1665" fmla="*/ 534707 w 900155"/>
                <a:gd name="connsiteY1665" fmla="*/ 132445 h 807349"/>
                <a:gd name="connsiteX1666" fmla="*/ 536456 w 900155"/>
                <a:gd name="connsiteY1666" fmla="*/ 133370 h 807349"/>
                <a:gd name="connsiteX1667" fmla="*/ 539338 w 900155"/>
                <a:gd name="connsiteY1667" fmla="*/ 135279 h 807349"/>
                <a:gd name="connsiteX1668" fmla="*/ 544359 w 900155"/>
                <a:gd name="connsiteY1668" fmla="*/ 137565 h 807349"/>
                <a:gd name="connsiteX1669" fmla="*/ 548280 w 900155"/>
                <a:gd name="connsiteY1669" fmla="*/ 139061 h 807349"/>
                <a:gd name="connsiteX1670" fmla="*/ 552906 w 900155"/>
                <a:gd name="connsiteY1670" fmla="*/ 144590 h 807349"/>
                <a:gd name="connsiteX1671" fmla="*/ 556415 w 900155"/>
                <a:gd name="connsiteY1671" fmla="*/ 147780 h 807349"/>
                <a:gd name="connsiteX1672" fmla="*/ 560250 w 900155"/>
                <a:gd name="connsiteY1672" fmla="*/ 150083 h 807349"/>
                <a:gd name="connsiteX1673" fmla="*/ 566013 w 900155"/>
                <a:gd name="connsiteY1673" fmla="*/ 151701 h 807349"/>
                <a:gd name="connsiteX1674" fmla="*/ 568667 w 900155"/>
                <a:gd name="connsiteY1674" fmla="*/ 151435 h 807349"/>
                <a:gd name="connsiteX1675" fmla="*/ 572971 w 900155"/>
                <a:gd name="connsiteY1675" fmla="*/ 153318 h 807349"/>
                <a:gd name="connsiteX1676" fmla="*/ 577162 w 900155"/>
                <a:gd name="connsiteY1676" fmla="*/ 154197 h 807349"/>
                <a:gd name="connsiteX1677" fmla="*/ 579385 w 900155"/>
                <a:gd name="connsiteY1677" fmla="*/ 156807 h 807349"/>
                <a:gd name="connsiteX1678" fmla="*/ 580140 w 900155"/>
                <a:gd name="connsiteY1678" fmla="*/ 158787 h 807349"/>
                <a:gd name="connsiteX1679" fmla="*/ 580352 w 900155"/>
                <a:gd name="connsiteY1679" fmla="*/ 160306 h 807349"/>
                <a:gd name="connsiteX1680" fmla="*/ 582438 w 900155"/>
                <a:gd name="connsiteY1680" fmla="*/ 163968 h 807349"/>
                <a:gd name="connsiteX1681" fmla="*/ 586685 w 900155"/>
                <a:gd name="connsiteY1681" fmla="*/ 165151 h 807349"/>
                <a:gd name="connsiteX1682" fmla="*/ 592194 w 900155"/>
                <a:gd name="connsiteY1682" fmla="*/ 168800 h 807349"/>
                <a:gd name="connsiteX1683" fmla="*/ 596724 w 900155"/>
                <a:gd name="connsiteY1683" fmla="*/ 170410 h 807349"/>
                <a:gd name="connsiteX1684" fmla="*/ 597863 w 900155"/>
                <a:gd name="connsiteY1684" fmla="*/ 171374 h 807349"/>
                <a:gd name="connsiteX1685" fmla="*/ 599849 w 900155"/>
                <a:gd name="connsiteY1685" fmla="*/ 172492 h 807349"/>
                <a:gd name="connsiteX1686" fmla="*/ 603692 w 900155"/>
                <a:gd name="connsiteY1686" fmla="*/ 172532 h 807349"/>
                <a:gd name="connsiteX1687" fmla="*/ 610359 w 900155"/>
                <a:gd name="connsiteY1687" fmla="*/ 170710 h 807349"/>
                <a:gd name="connsiteX1688" fmla="*/ 613395 w 900155"/>
                <a:gd name="connsiteY1688" fmla="*/ 168869 h 807349"/>
                <a:gd name="connsiteX1689" fmla="*/ 617420 w 900155"/>
                <a:gd name="connsiteY1689" fmla="*/ 165923 h 807349"/>
                <a:gd name="connsiteX1690" fmla="*/ 619307 w 900155"/>
                <a:gd name="connsiteY1690" fmla="*/ 160870 h 807349"/>
                <a:gd name="connsiteX1691" fmla="*/ 620417 w 900155"/>
                <a:gd name="connsiteY1691" fmla="*/ 156819 h 807349"/>
                <a:gd name="connsiteX1692" fmla="*/ 626014 w 900155"/>
                <a:gd name="connsiteY1692" fmla="*/ 148443 h 807349"/>
                <a:gd name="connsiteX1693" fmla="*/ 627612 w 900155"/>
                <a:gd name="connsiteY1693" fmla="*/ 144293 h 807349"/>
                <a:gd name="connsiteX1694" fmla="*/ 629033 w 900155"/>
                <a:gd name="connsiteY1694" fmla="*/ 138790 h 807349"/>
                <a:gd name="connsiteX1695" fmla="*/ 630277 w 900155"/>
                <a:gd name="connsiteY1695" fmla="*/ 135352 h 807349"/>
                <a:gd name="connsiteX1696" fmla="*/ 629862 w 900155"/>
                <a:gd name="connsiteY1696" fmla="*/ 131614 h 807349"/>
                <a:gd name="connsiteX1697" fmla="*/ 631154 w 900155"/>
                <a:gd name="connsiteY1697" fmla="*/ 124830 h 807349"/>
                <a:gd name="connsiteX1698" fmla="*/ 634026 w 900155"/>
                <a:gd name="connsiteY1698" fmla="*/ 115553 h 807349"/>
                <a:gd name="connsiteX1699" fmla="*/ 634999 w 900155"/>
                <a:gd name="connsiteY1699" fmla="*/ 112415 h 807349"/>
                <a:gd name="connsiteX1700" fmla="*/ 634513 w 900155"/>
                <a:gd name="connsiteY1700" fmla="*/ 107807 h 807349"/>
                <a:gd name="connsiteX1701" fmla="*/ 632733 w 900155"/>
                <a:gd name="connsiteY1701" fmla="*/ 99166 h 807349"/>
                <a:gd name="connsiteX1702" fmla="*/ 633529 w 900155"/>
                <a:gd name="connsiteY1702" fmla="*/ 96182 h 807349"/>
                <a:gd name="connsiteX1703" fmla="*/ 634311 w 900155"/>
                <a:gd name="connsiteY1703" fmla="*/ 92007 h 807349"/>
                <a:gd name="connsiteX1704" fmla="*/ 633009 w 900155"/>
                <a:gd name="connsiteY1704" fmla="*/ 88982 h 807349"/>
                <a:gd name="connsiteX1705" fmla="*/ 631797 w 900155"/>
                <a:gd name="connsiteY1705" fmla="*/ 86910 h 807349"/>
                <a:gd name="connsiteX1706" fmla="*/ 631618 w 900155"/>
                <a:gd name="connsiteY1706" fmla="*/ 83999 h 807349"/>
                <a:gd name="connsiteX1707" fmla="*/ 632981 w 900155"/>
                <a:gd name="connsiteY1707" fmla="*/ 78510 h 807349"/>
                <a:gd name="connsiteX1708" fmla="*/ 634188 w 900155"/>
                <a:gd name="connsiteY1708" fmla="*/ 75612 h 807349"/>
                <a:gd name="connsiteX1709" fmla="*/ 635440 w 900155"/>
                <a:gd name="connsiteY1709" fmla="*/ 71877 h 807349"/>
                <a:gd name="connsiteX1710" fmla="*/ 634736 w 900155"/>
                <a:gd name="connsiteY1710" fmla="*/ 64779 h 807349"/>
                <a:gd name="connsiteX1711" fmla="*/ 637411 w 900155"/>
                <a:gd name="connsiteY1711" fmla="*/ 62308 h 807349"/>
                <a:gd name="connsiteX1712" fmla="*/ 638466 w 900155"/>
                <a:gd name="connsiteY1712" fmla="*/ 61077 h 807349"/>
                <a:gd name="connsiteX1713" fmla="*/ 640534 w 900155"/>
                <a:gd name="connsiteY1713" fmla="*/ 61066 h 807349"/>
                <a:gd name="connsiteX1714" fmla="*/ 641519 w 900155"/>
                <a:gd name="connsiteY1714" fmla="*/ 61621 h 807349"/>
                <a:gd name="connsiteX1715" fmla="*/ 641728 w 900155"/>
                <a:gd name="connsiteY1715" fmla="*/ 60204 h 807349"/>
                <a:gd name="connsiteX1716" fmla="*/ 640912 w 900155"/>
                <a:gd name="connsiteY1716" fmla="*/ 58889 h 807349"/>
                <a:gd name="connsiteX1717" fmla="*/ 640590 w 900155"/>
                <a:gd name="connsiteY1717" fmla="*/ 57361 h 807349"/>
                <a:gd name="connsiteX1718" fmla="*/ 640011 w 900155"/>
                <a:gd name="connsiteY1718" fmla="*/ 56584 h 807349"/>
                <a:gd name="connsiteX1719" fmla="*/ 638737 w 900155"/>
                <a:gd name="connsiteY1719" fmla="*/ 56312 h 807349"/>
                <a:gd name="connsiteX1720" fmla="*/ 637679 w 900155"/>
                <a:gd name="connsiteY1720" fmla="*/ 55477 h 807349"/>
                <a:gd name="connsiteX1721" fmla="*/ 636155 w 900155"/>
                <a:gd name="connsiteY1721" fmla="*/ 54624 h 807349"/>
                <a:gd name="connsiteX1722" fmla="*/ 636394 w 900155"/>
                <a:gd name="connsiteY1722" fmla="*/ 51474 h 807349"/>
                <a:gd name="connsiteX1723" fmla="*/ 638986 w 900155"/>
                <a:gd name="connsiteY1723" fmla="*/ 45393 h 807349"/>
                <a:gd name="connsiteX1724" fmla="*/ 640417 w 900155"/>
                <a:gd name="connsiteY1724" fmla="*/ 43050 h 807349"/>
                <a:gd name="connsiteX1725" fmla="*/ 641357 w 900155"/>
                <a:gd name="connsiteY1725" fmla="*/ 44028 h 807349"/>
                <a:gd name="connsiteX1726" fmla="*/ 642421 w 900155"/>
                <a:gd name="connsiteY1726" fmla="*/ 44815 h 807349"/>
                <a:gd name="connsiteX1727" fmla="*/ 642568 w 900155"/>
                <a:gd name="connsiteY1727" fmla="*/ 43065 h 807349"/>
                <a:gd name="connsiteX1728" fmla="*/ 642210 w 900155"/>
                <a:gd name="connsiteY1728" fmla="*/ 41269 h 807349"/>
                <a:gd name="connsiteX1729" fmla="*/ 644177 w 900155"/>
                <a:gd name="connsiteY1729" fmla="*/ 35342 h 807349"/>
                <a:gd name="connsiteX1730" fmla="*/ 646353 w 900155"/>
                <a:gd name="connsiteY1730" fmla="*/ 27312 h 807349"/>
                <a:gd name="connsiteX1731" fmla="*/ 647004 w 900155"/>
                <a:gd name="connsiteY1731" fmla="*/ 20001 h 807349"/>
                <a:gd name="connsiteX1732" fmla="*/ 650500 w 900155"/>
                <a:gd name="connsiteY1732" fmla="*/ 18605 h 807349"/>
                <a:gd name="connsiteX1733" fmla="*/ 652276 w 900155"/>
                <a:gd name="connsiteY1733" fmla="*/ 16773 h 807349"/>
                <a:gd name="connsiteX1734" fmla="*/ 647658 w 900155"/>
                <a:gd name="connsiteY1734" fmla="*/ 12071 h 807349"/>
                <a:gd name="connsiteX1735" fmla="*/ 649357 w 900155"/>
                <a:gd name="connsiteY1735" fmla="*/ 14593 h 807349"/>
                <a:gd name="connsiteX1736" fmla="*/ 647513 w 900155"/>
                <a:gd name="connsiteY1736" fmla="*/ 15873 h 807349"/>
                <a:gd name="connsiteX1737" fmla="*/ 646315 w 900155"/>
                <a:gd name="connsiteY1737" fmla="*/ 15200 h 807349"/>
                <a:gd name="connsiteX1738" fmla="*/ 646056 w 900155"/>
                <a:gd name="connsiteY1738" fmla="*/ 13780 h 807349"/>
                <a:gd name="connsiteX1739" fmla="*/ 646179 w 900155"/>
                <a:gd name="connsiteY1739" fmla="*/ 13158 h 807349"/>
                <a:gd name="connsiteX1740" fmla="*/ 649887 w 900155"/>
                <a:gd name="connsiteY1740" fmla="*/ 1980 h 807349"/>
                <a:gd name="connsiteX1741" fmla="*/ 650776 w 900155"/>
                <a:gd name="connsiteY1741" fmla="*/ 3137 h 807349"/>
                <a:gd name="connsiteX1742" fmla="*/ 649459 w 900155"/>
                <a:gd name="connsiteY1742" fmla="*/ 4522 h 807349"/>
                <a:gd name="connsiteX1743" fmla="*/ 648062 w 900155"/>
                <a:gd name="connsiteY1743" fmla="*/ 4107 h 807349"/>
                <a:gd name="connsiteX1744" fmla="*/ 647595 w 900155"/>
                <a:gd name="connsiteY1744" fmla="*/ 3296 h 807349"/>
                <a:gd name="connsiteX1745" fmla="*/ 648118 w 900155"/>
                <a:gd name="connsiteY1745" fmla="*/ 2181 h 807349"/>
                <a:gd name="connsiteX1746" fmla="*/ 646572 w 900155"/>
                <a:gd name="connsiteY1746" fmla="*/ 0 h 807349"/>
                <a:gd name="connsiteX1747" fmla="*/ 647526 w 900155"/>
                <a:gd name="connsiteY1747" fmla="*/ 748 h 807349"/>
                <a:gd name="connsiteX1748" fmla="*/ 646986 w 900155"/>
                <a:gd name="connsiteY1748" fmla="*/ 2286 h 807349"/>
                <a:gd name="connsiteX1749" fmla="*/ 646421 w 900155"/>
                <a:gd name="connsiteY1749" fmla="*/ 2892 h 807349"/>
                <a:gd name="connsiteX1750" fmla="*/ 645440 w 900155"/>
                <a:gd name="connsiteY1750" fmla="*/ 1564 h 807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</a:cxnLst>
              <a:rect l="l" t="t" r="r" b="b"/>
              <a:pathLst>
                <a:path w="900155" h="807349">
                  <a:moveTo>
                    <a:pt x="760119" y="798187"/>
                  </a:moveTo>
                  <a:lnTo>
                    <a:pt x="760751" y="798224"/>
                  </a:lnTo>
                  <a:lnTo>
                    <a:pt x="761414" y="799998"/>
                  </a:lnTo>
                  <a:lnTo>
                    <a:pt x="761714" y="801361"/>
                  </a:lnTo>
                  <a:lnTo>
                    <a:pt x="760671" y="804155"/>
                  </a:lnTo>
                  <a:lnTo>
                    <a:pt x="758959" y="803680"/>
                  </a:lnTo>
                  <a:lnTo>
                    <a:pt x="757242" y="804140"/>
                  </a:lnTo>
                  <a:lnTo>
                    <a:pt x="756162" y="802281"/>
                  </a:lnTo>
                  <a:lnTo>
                    <a:pt x="756156" y="801790"/>
                  </a:lnTo>
                  <a:lnTo>
                    <a:pt x="757447" y="802258"/>
                  </a:lnTo>
                  <a:lnTo>
                    <a:pt x="757924" y="801653"/>
                  </a:lnTo>
                  <a:lnTo>
                    <a:pt x="758230" y="800883"/>
                  </a:lnTo>
                  <a:lnTo>
                    <a:pt x="758700" y="800673"/>
                  </a:lnTo>
                  <a:lnTo>
                    <a:pt x="759015" y="799573"/>
                  </a:lnTo>
                  <a:close/>
                  <a:moveTo>
                    <a:pt x="761636" y="792855"/>
                  </a:moveTo>
                  <a:lnTo>
                    <a:pt x="762625" y="793874"/>
                  </a:lnTo>
                  <a:lnTo>
                    <a:pt x="763450" y="797161"/>
                  </a:lnTo>
                  <a:lnTo>
                    <a:pt x="762064" y="797164"/>
                  </a:lnTo>
                  <a:lnTo>
                    <a:pt x="761555" y="796938"/>
                  </a:lnTo>
                  <a:lnTo>
                    <a:pt x="761306" y="795619"/>
                  </a:lnTo>
                  <a:lnTo>
                    <a:pt x="760388" y="795040"/>
                  </a:lnTo>
                  <a:lnTo>
                    <a:pt x="760898" y="794599"/>
                  </a:lnTo>
                  <a:lnTo>
                    <a:pt x="761080" y="793777"/>
                  </a:lnTo>
                  <a:close/>
                  <a:moveTo>
                    <a:pt x="777558" y="779821"/>
                  </a:moveTo>
                  <a:lnTo>
                    <a:pt x="779110" y="780428"/>
                  </a:lnTo>
                  <a:lnTo>
                    <a:pt x="779702" y="781386"/>
                  </a:lnTo>
                  <a:lnTo>
                    <a:pt x="778178" y="782155"/>
                  </a:lnTo>
                  <a:lnTo>
                    <a:pt x="778259" y="782954"/>
                  </a:lnTo>
                  <a:lnTo>
                    <a:pt x="777018" y="783189"/>
                  </a:lnTo>
                  <a:lnTo>
                    <a:pt x="776610" y="783071"/>
                  </a:lnTo>
                  <a:lnTo>
                    <a:pt x="776635" y="781696"/>
                  </a:lnTo>
                  <a:lnTo>
                    <a:pt x="776456" y="781083"/>
                  </a:lnTo>
                  <a:close/>
                  <a:moveTo>
                    <a:pt x="703393" y="728995"/>
                  </a:moveTo>
                  <a:lnTo>
                    <a:pt x="705605" y="730292"/>
                  </a:lnTo>
                  <a:lnTo>
                    <a:pt x="710567" y="731999"/>
                  </a:lnTo>
                  <a:lnTo>
                    <a:pt x="713126" y="732101"/>
                  </a:lnTo>
                  <a:lnTo>
                    <a:pt x="714577" y="731432"/>
                  </a:lnTo>
                  <a:lnTo>
                    <a:pt x="715875" y="731558"/>
                  </a:lnTo>
                  <a:lnTo>
                    <a:pt x="717344" y="733040"/>
                  </a:lnTo>
                  <a:lnTo>
                    <a:pt x="719112" y="733876"/>
                  </a:lnTo>
                  <a:lnTo>
                    <a:pt x="720344" y="733723"/>
                  </a:lnTo>
                  <a:lnTo>
                    <a:pt x="721414" y="734028"/>
                  </a:lnTo>
                  <a:lnTo>
                    <a:pt x="722364" y="735083"/>
                  </a:lnTo>
                  <a:lnTo>
                    <a:pt x="724787" y="736001"/>
                  </a:lnTo>
                  <a:lnTo>
                    <a:pt x="725842" y="736605"/>
                  </a:lnTo>
                  <a:lnTo>
                    <a:pt x="726762" y="737530"/>
                  </a:lnTo>
                  <a:lnTo>
                    <a:pt x="727782" y="738251"/>
                  </a:lnTo>
                  <a:lnTo>
                    <a:pt x="734187" y="740712"/>
                  </a:lnTo>
                  <a:lnTo>
                    <a:pt x="738749" y="741908"/>
                  </a:lnTo>
                  <a:lnTo>
                    <a:pt x="744430" y="741352"/>
                  </a:lnTo>
                  <a:lnTo>
                    <a:pt x="746115" y="740663"/>
                  </a:lnTo>
                  <a:lnTo>
                    <a:pt x="747726" y="739657"/>
                  </a:lnTo>
                  <a:lnTo>
                    <a:pt x="749110" y="740596"/>
                  </a:lnTo>
                  <a:lnTo>
                    <a:pt x="750484" y="742029"/>
                  </a:lnTo>
                  <a:lnTo>
                    <a:pt x="750215" y="740483"/>
                  </a:lnTo>
                  <a:lnTo>
                    <a:pt x="750671" y="739138"/>
                  </a:lnTo>
                  <a:lnTo>
                    <a:pt x="752059" y="738072"/>
                  </a:lnTo>
                  <a:lnTo>
                    <a:pt x="753617" y="737404"/>
                  </a:lnTo>
                  <a:lnTo>
                    <a:pt x="756180" y="737453"/>
                  </a:lnTo>
                  <a:lnTo>
                    <a:pt x="758680" y="737167"/>
                  </a:lnTo>
                  <a:lnTo>
                    <a:pt x="759788" y="736546"/>
                  </a:lnTo>
                  <a:lnTo>
                    <a:pt x="760929" y="736458"/>
                  </a:lnTo>
                  <a:lnTo>
                    <a:pt x="762414" y="737224"/>
                  </a:lnTo>
                  <a:lnTo>
                    <a:pt x="763897" y="737648"/>
                  </a:lnTo>
                  <a:lnTo>
                    <a:pt x="764914" y="736662"/>
                  </a:lnTo>
                  <a:lnTo>
                    <a:pt x="766651" y="734333"/>
                  </a:lnTo>
                  <a:lnTo>
                    <a:pt x="767588" y="733522"/>
                  </a:lnTo>
                  <a:lnTo>
                    <a:pt x="771922" y="734230"/>
                  </a:lnTo>
                  <a:lnTo>
                    <a:pt x="773144" y="734254"/>
                  </a:lnTo>
                  <a:lnTo>
                    <a:pt x="775263" y="731812"/>
                  </a:lnTo>
                  <a:lnTo>
                    <a:pt x="776679" y="731847"/>
                  </a:lnTo>
                  <a:lnTo>
                    <a:pt x="780713" y="733789"/>
                  </a:lnTo>
                  <a:lnTo>
                    <a:pt x="782430" y="736212"/>
                  </a:lnTo>
                  <a:lnTo>
                    <a:pt x="782265" y="740640"/>
                  </a:lnTo>
                  <a:lnTo>
                    <a:pt x="782401" y="742201"/>
                  </a:lnTo>
                  <a:lnTo>
                    <a:pt x="782725" y="743742"/>
                  </a:lnTo>
                  <a:lnTo>
                    <a:pt x="782858" y="746818"/>
                  </a:lnTo>
                  <a:lnTo>
                    <a:pt x="782362" y="749863"/>
                  </a:lnTo>
                  <a:lnTo>
                    <a:pt x="782298" y="752240"/>
                  </a:lnTo>
                  <a:lnTo>
                    <a:pt x="782512" y="754653"/>
                  </a:lnTo>
                  <a:lnTo>
                    <a:pt x="782313" y="759142"/>
                  </a:lnTo>
                  <a:lnTo>
                    <a:pt x="782934" y="762112"/>
                  </a:lnTo>
                  <a:lnTo>
                    <a:pt x="782624" y="764142"/>
                  </a:lnTo>
                  <a:lnTo>
                    <a:pt x="782620" y="765091"/>
                  </a:lnTo>
                  <a:lnTo>
                    <a:pt x="783207" y="765988"/>
                  </a:lnTo>
                  <a:lnTo>
                    <a:pt x="783489" y="766982"/>
                  </a:lnTo>
                  <a:lnTo>
                    <a:pt x="783274" y="768259"/>
                  </a:lnTo>
                  <a:lnTo>
                    <a:pt x="783528" y="769753"/>
                  </a:lnTo>
                  <a:lnTo>
                    <a:pt x="783278" y="770984"/>
                  </a:lnTo>
                  <a:lnTo>
                    <a:pt x="782373" y="770808"/>
                  </a:lnTo>
                  <a:lnTo>
                    <a:pt x="782077" y="769861"/>
                  </a:lnTo>
                  <a:lnTo>
                    <a:pt x="782246" y="768638"/>
                  </a:lnTo>
                  <a:lnTo>
                    <a:pt x="782082" y="767654"/>
                  </a:lnTo>
                  <a:lnTo>
                    <a:pt x="781609" y="766756"/>
                  </a:lnTo>
                  <a:lnTo>
                    <a:pt x="780002" y="765750"/>
                  </a:lnTo>
                  <a:lnTo>
                    <a:pt x="780473" y="765145"/>
                  </a:lnTo>
                  <a:lnTo>
                    <a:pt x="781296" y="764611"/>
                  </a:lnTo>
                  <a:lnTo>
                    <a:pt x="780678" y="763234"/>
                  </a:lnTo>
                  <a:lnTo>
                    <a:pt x="779650" y="764357"/>
                  </a:lnTo>
                  <a:lnTo>
                    <a:pt x="779076" y="765885"/>
                  </a:lnTo>
                  <a:lnTo>
                    <a:pt x="779409" y="766375"/>
                  </a:lnTo>
                  <a:lnTo>
                    <a:pt x="778773" y="766785"/>
                  </a:lnTo>
                  <a:lnTo>
                    <a:pt x="777426" y="768555"/>
                  </a:lnTo>
                  <a:lnTo>
                    <a:pt x="776456" y="770927"/>
                  </a:lnTo>
                  <a:lnTo>
                    <a:pt x="776061" y="773207"/>
                  </a:lnTo>
                  <a:lnTo>
                    <a:pt x="776160" y="775627"/>
                  </a:lnTo>
                  <a:lnTo>
                    <a:pt x="775368" y="777491"/>
                  </a:lnTo>
                  <a:lnTo>
                    <a:pt x="774282" y="779268"/>
                  </a:lnTo>
                  <a:lnTo>
                    <a:pt x="774010" y="781566"/>
                  </a:lnTo>
                  <a:lnTo>
                    <a:pt x="774075" y="785787"/>
                  </a:lnTo>
                  <a:lnTo>
                    <a:pt x="775018" y="789643"/>
                  </a:lnTo>
                  <a:lnTo>
                    <a:pt x="775530" y="794914"/>
                  </a:lnTo>
                  <a:lnTo>
                    <a:pt x="774746" y="795580"/>
                  </a:lnTo>
                  <a:lnTo>
                    <a:pt x="772384" y="795937"/>
                  </a:lnTo>
                  <a:lnTo>
                    <a:pt x="771218" y="796605"/>
                  </a:lnTo>
                  <a:lnTo>
                    <a:pt x="769296" y="793989"/>
                  </a:lnTo>
                  <a:lnTo>
                    <a:pt x="768168" y="791255"/>
                  </a:lnTo>
                  <a:lnTo>
                    <a:pt x="769039" y="790164"/>
                  </a:lnTo>
                  <a:lnTo>
                    <a:pt x="770954" y="790794"/>
                  </a:lnTo>
                  <a:lnTo>
                    <a:pt x="771540" y="790174"/>
                  </a:lnTo>
                  <a:lnTo>
                    <a:pt x="771695" y="789473"/>
                  </a:lnTo>
                  <a:lnTo>
                    <a:pt x="771531" y="788777"/>
                  </a:lnTo>
                  <a:lnTo>
                    <a:pt x="769175" y="787274"/>
                  </a:lnTo>
                  <a:lnTo>
                    <a:pt x="766530" y="786571"/>
                  </a:lnTo>
                  <a:lnTo>
                    <a:pt x="765690" y="787436"/>
                  </a:lnTo>
                  <a:lnTo>
                    <a:pt x="765981" y="790020"/>
                  </a:lnTo>
                  <a:lnTo>
                    <a:pt x="765709" y="790608"/>
                  </a:lnTo>
                  <a:lnTo>
                    <a:pt x="763844" y="791598"/>
                  </a:lnTo>
                  <a:lnTo>
                    <a:pt x="762863" y="787859"/>
                  </a:lnTo>
                  <a:lnTo>
                    <a:pt x="760429" y="785105"/>
                  </a:lnTo>
                  <a:lnTo>
                    <a:pt x="760518" y="786432"/>
                  </a:lnTo>
                  <a:lnTo>
                    <a:pt x="761529" y="788735"/>
                  </a:lnTo>
                  <a:lnTo>
                    <a:pt x="761419" y="789750"/>
                  </a:lnTo>
                  <a:lnTo>
                    <a:pt x="761028" y="791064"/>
                  </a:lnTo>
                  <a:lnTo>
                    <a:pt x="760050" y="791553"/>
                  </a:lnTo>
                  <a:lnTo>
                    <a:pt x="759585" y="792609"/>
                  </a:lnTo>
                  <a:lnTo>
                    <a:pt x="759585" y="794094"/>
                  </a:lnTo>
                  <a:lnTo>
                    <a:pt x="759259" y="796495"/>
                  </a:lnTo>
                  <a:lnTo>
                    <a:pt x="757663" y="797568"/>
                  </a:lnTo>
                  <a:lnTo>
                    <a:pt x="753775" y="794896"/>
                  </a:lnTo>
                  <a:lnTo>
                    <a:pt x="753507" y="795795"/>
                  </a:lnTo>
                  <a:lnTo>
                    <a:pt x="753565" y="796571"/>
                  </a:lnTo>
                  <a:lnTo>
                    <a:pt x="755551" y="798105"/>
                  </a:lnTo>
                  <a:lnTo>
                    <a:pt x="754636" y="799266"/>
                  </a:lnTo>
                  <a:lnTo>
                    <a:pt x="753945" y="800626"/>
                  </a:lnTo>
                  <a:lnTo>
                    <a:pt x="752839" y="804200"/>
                  </a:lnTo>
                  <a:lnTo>
                    <a:pt x="751053" y="807165"/>
                  </a:lnTo>
                  <a:lnTo>
                    <a:pt x="750177" y="807349"/>
                  </a:lnTo>
                  <a:lnTo>
                    <a:pt x="747190" y="806881"/>
                  </a:lnTo>
                  <a:lnTo>
                    <a:pt x="743858" y="804374"/>
                  </a:lnTo>
                  <a:lnTo>
                    <a:pt x="740866" y="804660"/>
                  </a:lnTo>
                  <a:lnTo>
                    <a:pt x="735858" y="804479"/>
                  </a:lnTo>
                  <a:lnTo>
                    <a:pt x="732684" y="805405"/>
                  </a:lnTo>
                  <a:lnTo>
                    <a:pt x="732019" y="802649"/>
                  </a:lnTo>
                  <a:lnTo>
                    <a:pt x="731325" y="801669"/>
                  </a:lnTo>
                  <a:lnTo>
                    <a:pt x="731606" y="800799"/>
                  </a:lnTo>
                  <a:lnTo>
                    <a:pt x="734135" y="800216"/>
                  </a:lnTo>
                  <a:lnTo>
                    <a:pt x="736735" y="800240"/>
                  </a:lnTo>
                  <a:lnTo>
                    <a:pt x="736329" y="799189"/>
                  </a:lnTo>
                  <a:lnTo>
                    <a:pt x="735631" y="798801"/>
                  </a:lnTo>
                  <a:lnTo>
                    <a:pt x="734495" y="799056"/>
                  </a:lnTo>
                  <a:lnTo>
                    <a:pt x="731183" y="798140"/>
                  </a:lnTo>
                  <a:lnTo>
                    <a:pt x="728927" y="798549"/>
                  </a:lnTo>
                  <a:lnTo>
                    <a:pt x="727367" y="797250"/>
                  </a:lnTo>
                  <a:lnTo>
                    <a:pt x="724687" y="792740"/>
                  </a:lnTo>
                  <a:lnTo>
                    <a:pt x="723105" y="790656"/>
                  </a:lnTo>
                  <a:lnTo>
                    <a:pt x="722163" y="789844"/>
                  </a:lnTo>
                  <a:lnTo>
                    <a:pt x="721062" y="789400"/>
                  </a:lnTo>
                  <a:lnTo>
                    <a:pt x="720399" y="788738"/>
                  </a:lnTo>
                  <a:lnTo>
                    <a:pt x="715546" y="778518"/>
                  </a:lnTo>
                  <a:lnTo>
                    <a:pt x="714860" y="776150"/>
                  </a:lnTo>
                  <a:lnTo>
                    <a:pt x="714014" y="770165"/>
                  </a:lnTo>
                  <a:lnTo>
                    <a:pt x="717864" y="773030"/>
                  </a:lnTo>
                  <a:lnTo>
                    <a:pt x="719233" y="774843"/>
                  </a:lnTo>
                  <a:lnTo>
                    <a:pt x="719971" y="777145"/>
                  </a:lnTo>
                  <a:lnTo>
                    <a:pt x="721275" y="774354"/>
                  </a:lnTo>
                  <a:lnTo>
                    <a:pt x="721040" y="773457"/>
                  </a:lnTo>
                  <a:lnTo>
                    <a:pt x="717585" y="770077"/>
                  </a:lnTo>
                  <a:lnTo>
                    <a:pt x="717127" y="769098"/>
                  </a:lnTo>
                  <a:lnTo>
                    <a:pt x="716938" y="767937"/>
                  </a:lnTo>
                  <a:lnTo>
                    <a:pt x="716127" y="769106"/>
                  </a:lnTo>
                  <a:lnTo>
                    <a:pt x="714811" y="769264"/>
                  </a:lnTo>
                  <a:lnTo>
                    <a:pt x="715344" y="766881"/>
                  </a:lnTo>
                  <a:lnTo>
                    <a:pt x="714884" y="764551"/>
                  </a:lnTo>
                  <a:lnTo>
                    <a:pt x="710842" y="759435"/>
                  </a:lnTo>
                  <a:lnTo>
                    <a:pt x="707749" y="754596"/>
                  </a:lnTo>
                  <a:lnTo>
                    <a:pt x="704706" y="748643"/>
                  </a:lnTo>
                  <a:lnTo>
                    <a:pt x="704445" y="747883"/>
                  </a:lnTo>
                  <a:lnTo>
                    <a:pt x="704406" y="746602"/>
                  </a:lnTo>
                  <a:lnTo>
                    <a:pt x="702934" y="742626"/>
                  </a:lnTo>
                  <a:lnTo>
                    <a:pt x="702152" y="739681"/>
                  </a:lnTo>
                  <a:lnTo>
                    <a:pt x="701791" y="737101"/>
                  </a:lnTo>
                  <a:lnTo>
                    <a:pt x="703197" y="731899"/>
                  </a:lnTo>
                  <a:close/>
                  <a:moveTo>
                    <a:pt x="780224" y="724562"/>
                  </a:moveTo>
                  <a:lnTo>
                    <a:pt x="780782" y="724613"/>
                  </a:lnTo>
                  <a:lnTo>
                    <a:pt x="781192" y="724877"/>
                  </a:lnTo>
                  <a:lnTo>
                    <a:pt x="780106" y="726906"/>
                  </a:lnTo>
                  <a:lnTo>
                    <a:pt x="778761" y="725632"/>
                  </a:lnTo>
                  <a:lnTo>
                    <a:pt x="778547" y="725043"/>
                  </a:lnTo>
                  <a:close/>
                  <a:moveTo>
                    <a:pt x="704827" y="722775"/>
                  </a:moveTo>
                  <a:lnTo>
                    <a:pt x="704992" y="722918"/>
                  </a:lnTo>
                  <a:lnTo>
                    <a:pt x="704849" y="724657"/>
                  </a:lnTo>
                  <a:lnTo>
                    <a:pt x="704046" y="726824"/>
                  </a:lnTo>
                  <a:lnTo>
                    <a:pt x="703208" y="724094"/>
                  </a:lnTo>
                  <a:lnTo>
                    <a:pt x="704115" y="723700"/>
                  </a:lnTo>
                  <a:close/>
                  <a:moveTo>
                    <a:pt x="783168" y="719428"/>
                  </a:moveTo>
                  <a:lnTo>
                    <a:pt x="785256" y="721004"/>
                  </a:lnTo>
                  <a:lnTo>
                    <a:pt x="786439" y="722711"/>
                  </a:lnTo>
                  <a:lnTo>
                    <a:pt x="784887" y="724127"/>
                  </a:lnTo>
                  <a:lnTo>
                    <a:pt x="783753" y="724409"/>
                  </a:lnTo>
                  <a:lnTo>
                    <a:pt x="783016" y="722767"/>
                  </a:lnTo>
                  <a:lnTo>
                    <a:pt x="780687" y="723368"/>
                  </a:lnTo>
                  <a:lnTo>
                    <a:pt x="778221" y="723215"/>
                  </a:lnTo>
                  <a:lnTo>
                    <a:pt x="776398" y="721973"/>
                  </a:lnTo>
                  <a:lnTo>
                    <a:pt x="776184" y="721354"/>
                  </a:lnTo>
                  <a:lnTo>
                    <a:pt x="777253" y="720733"/>
                  </a:lnTo>
                  <a:lnTo>
                    <a:pt x="780335" y="720761"/>
                  </a:lnTo>
                  <a:close/>
                  <a:moveTo>
                    <a:pt x="774472" y="704278"/>
                  </a:moveTo>
                  <a:lnTo>
                    <a:pt x="775962" y="705101"/>
                  </a:lnTo>
                  <a:lnTo>
                    <a:pt x="779888" y="709811"/>
                  </a:lnTo>
                  <a:lnTo>
                    <a:pt x="781924" y="710546"/>
                  </a:lnTo>
                  <a:lnTo>
                    <a:pt x="782529" y="711043"/>
                  </a:lnTo>
                  <a:lnTo>
                    <a:pt x="782362" y="713121"/>
                  </a:lnTo>
                  <a:lnTo>
                    <a:pt x="781499" y="714011"/>
                  </a:lnTo>
                  <a:lnTo>
                    <a:pt x="783101" y="715183"/>
                  </a:lnTo>
                  <a:lnTo>
                    <a:pt x="782887" y="715943"/>
                  </a:lnTo>
                  <a:lnTo>
                    <a:pt x="782574" y="715915"/>
                  </a:lnTo>
                  <a:lnTo>
                    <a:pt x="780605" y="717514"/>
                  </a:lnTo>
                  <a:lnTo>
                    <a:pt x="778290" y="718257"/>
                  </a:lnTo>
                  <a:lnTo>
                    <a:pt x="777582" y="717701"/>
                  </a:lnTo>
                  <a:lnTo>
                    <a:pt x="776990" y="716968"/>
                  </a:lnTo>
                  <a:lnTo>
                    <a:pt x="776502" y="715902"/>
                  </a:lnTo>
                  <a:lnTo>
                    <a:pt x="773533" y="711794"/>
                  </a:lnTo>
                  <a:lnTo>
                    <a:pt x="773874" y="710669"/>
                  </a:lnTo>
                  <a:lnTo>
                    <a:pt x="773218" y="708951"/>
                  </a:lnTo>
                  <a:lnTo>
                    <a:pt x="771803" y="709081"/>
                  </a:lnTo>
                  <a:lnTo>
                    <a:pt x="770806" y="708035"/>
                  </a:lnTo>
                  <a:lnTo>
                    <a:pt x="772397" y="707026"/>
                  </a:lnTo>
                  <a:close/>
                  <a:moveTo>
                    <a:pt x="687522" y="700488"/>
                  </a:moveTo>
                  <a:lnTo>
                    <a:pt x="689524" y="701993"/>
                  </a:lnTo>
                  <a:lnTo>
                    <a:pt x="690178" y="705821"/>
                  </a:lnTo>
                  <a:lnTo>
                    <a:pt x="689850" y="708132"/>
                  </a:lnTo>
                  <a:lnTo>
                    <a:pt x="690623" y="710210"/>
                  </a:lnTo>
                  <a:lnTo>
                    <a:pt x="689979" y="711990"/>
                  </a:lnTo>
                  <a:lnTo>
                    <a:pt x="688280" y="713455"/>
                  </a:lnTo>
                  <a:lnTo>
                    <a:pt x="685911" y="714444"/>
                  </a:lnTo>
                  <a:lnTo>
                    <a:pt x="685266" y="714551"/>
                  </a:lnTo>
                  <a:lnTo>
                    <a:pt x="684758" y="713083"/>
                  </a:lnTo>
                  <a:lnTo>
                    <a:pt x="685019" y="710987"/>
                  </a:lnTo>
                  <a:lnTo>
                    <a:pt x="683936" y="708915"/>
                  </a:lnTo>
                  <a:lnTo>
                    <a:pt x="684525" y="706835"/>
                  </a:lnTo>
                  <a:lnTo>
                    <a:pt x="684450" y="704591"/>
                  </a:lnTo>
                  <a:lnTo>
                    <a:pt x="684838" y="703603"/>
                  </a:lnTo>
                  <a:lnTo>
                    <a:pt x="686164" y="702513"/>
                  </a:lnTo>
                  <a:lnTo>
                    <a:pt x="686373" y="700579"/>
                  </a:lnTo>
                  <a:close/>
                  <a:moveTo>
                    <a:pt x="714432" y="671489"/>
                  </a:moveTo>
                  <a:lnTo>
                    <a:pt x="715983" y="671838"/>
                  </a:lnTo>
                  <a:lnTo>
                    <a:pt x="716570" y="672318"/>
                  </a:lnTo>
                  <a:lnTo>
                    <a:pt x="717339" y="673537"/>
                  </a:lnTo>
                  <a:lnTo>
                    <a:pt x="717468" y="674023"/>
                  </a:lnTo>
                  <a:lnTo>
                    <a:pt x="715607" y="673062"/>
                  </a:lnTo>
                  <a:lnTo>
                    <a:pt x="712456" y="673266"/>
                  </a:lnTo>
                  <a:close/>
                  <a:moveTo>
                    <a:pt x="719049" y="667774"/>
                  </a:moveTo>
                  <a:lnTo>
                    <a:pt x="720375" y="668821"/>
                  </a:lnTo>
                  <a:lnTo>
                    <a:pt x="717044" y="670521"/>
                  </a:lnTo>
                  <a:lnTo>
                    <a:pt x="715814" y="669740"/>
                  </a:lnTo>
                  <a:lnTo>
                    <a:pt x="715938" y="668465"/>
                  </a:lnTo>
                  <a:lnTo>
                    <a:pt x="716147" y="667897"/>
                  </a:lnTo>
                  <a:close/>
                  <a:moveTo>
                    <a:pt x="540107" y="598578"/>
                  </a:moveTo>
                  <a:lnTo>
                    <a:pt x="544450" y="598895"/>
                  </a:lnTo>
                  <a:lnTo>
                    <a:pt x="545655" y="599276"/>
                  </a:lnTo>
                  <a:lnTo>
                    <a:pt x="546771" y="600187"/>
                  </a:lnTo>
                  <a:lnTo>
                    <a:pt x="545946" y="601844"/>
                  </a:lnTo>
                  <a:lnTo>
                    <a:pt x="545910" y="602257"/>
                  </a:lnTo>
                  <a:lnTo>
                    <a:pt x="551204" y="602848"/>
                  </a:lnTo>
                  <a:lnTo>
                    <a:pt x="553260" y="601940"/>
                  </a:lnTo>
                  <a:lnTo>
                    <a:pt x="555862" y="602673"/>
                  </a:lnTo>
                  <a:lnTo>
                    <a:pt x="557562" y="605121"/>
                  </a:lnTo>
                  <a:lnTo>
                    <a:pt x="556302" y="606337"/>
                  </a:lnTo>
                  <a:lnTo>
                    <a:pt x="555096" y="606514"/>
                  </a:lnTo>
                  <a:lnTo>
                    <a:pt x="551196" y="605510"/>
                  </a:lnTo>
                  <a:lnTo>
                    <a:pt x="547556" y="606271"/>
                  </a:lnTo>
                  <a:lnTo>
                    <a:pt x="546480" y="607283"/>
                  </a:lnTo>
                  <a:lnTo>
                    <a:pt x="545772" y="609530"/>
                  </a:lnTo>
                  <a:lnTo>
                    <a:pt x="542637" y="610733"/>
                  </a:lnTo>
                  <a:lnTo>
                    <a:pt x="541172" y="609372"/>
                  </a:lnTo>
                  <a:lnTo>
                    <a:pt x="537354" y="608402"/>
                  </a:lnTo>
                  <a:lnTo>
                    <a:pt x="535987" y="609831"/>
                  </a:lnTo>
                  <a:lnTo>
                    <a:pt x="533292" y="609449"/>
                  </a:lnTo>
                  <a:lnTo>
                    <a:pt x="530789" y="610023"/>
                  </a:lnTo>
                  <a:lnTo>
                    <a:pt x="527305" y="609680"/>
                  </a:lnTo>
                  <a:lnTo>
                    <a:pt x="523638" y="607214"/>
                  </a:lnTo>
                  <a:lnTo>
                    <a:pt x="522563" y="606074"/>
                  </a:lnTo>
                  <a:lnTo>
                    <a:pt x="523413" y="604021"/>
                  </a:lnTo>
                  <a:lnTo>
                    <a:pt x="524731" y="602513"/>
                  </a:lnTo>
                  <a:lnTo>
                    <a:pt x="534750" y="600374"/>
                  </a:lnTo>
                  <a:close/>
                  <a:moveTo>
                    <a:pt x="896143" y="398346"/>
                  </a:moveTo>
                  <a:lnTo>
                    <a:pt x="898054" y="398753"/>
                  </a:lnTo>
                  <a:lnTo>
                    <a:pt x="898427" y="399086"/>
                  </a:lnTo>
                  <a:lnTo>
                    <a:pt x="896525" y="405654"/>
                  </a:lnTo>
                  <a:lnTo>
                    <a:pt x="895946" y="405528"/>
                  </a:lnTo>
                  <a:lnTo>
                    <a:pt x="895266" y="404540"/>
                  </a:lnTo>
                  <a:lnTo>
                    <a:pt x="895379" y="400737"/>
                  </a:lnTo>
                  <a:close/>
                  <a:moveTo>
                    <a:pt x="896074" y="389405"/>
                  </a:moveTo>
                  <a:lnTo>
                    <a:pt x="896836" y="389600"/>
                  </a:lnTo>
                  <a:lnTo>
                    <a:pt x="895941" y="393488"/>
                  </a:lnTo>
                  <a:lnTo>
                    <a:pt x="896298" y="396216"/>
                  </a:lnTo>
                  <a:lnTo>
                    <a:pt x="895821" y="396572"/>
                  </a:lnTo>
                  <a:lnTo>
                    <a:pt x="894841" y="394295"/>
                  </a:lnTo>
                  <a:lnTo>
                    <a:pt x="894586" y="391998"/>
                  </a:lnTo>
                  <a:lnTo>
                    <a:pt x="894914" y="389870"/>
                  </a:lnTo>
                  <a:close/>
                  <a:moveTo>
                    <a:pt x="1641" y="353642"/>
                  </a:moveTo>
                  <a:lnTo>
                    <a:pt x="4159" y="360604"/>
                  </a:lnTo>
                  <a:lnTo>
                    <a:pt x="4938" y="362201"/>
                  </a:lnTo>
                  <a:lnTo>
                    <a:pt x="4945" y="363840"/>
                  </a:lnTo>
                  <a:lnTo>
                    <a:pt x="5310" y="364358"/>
                  </a:lnTo>
                  <a:lnTo>
                    <a:pt x="6076" y="366234"/>
                  </a:lnTo>
                  <a:lnTo>
                    <a:pt x="5489" y="367214"/>
                  </a:lnTo>
                  <a:lnTo>
                    <a:pt x="1239" y="359849"/>
                  </a:lnTo>
                  <a:lnTo>
                    <a:pt x="0" y="354813"/>
                  </a:lnTo>
                  <a:lnTo>
                    <a:pt x="859" y="353910"/>
                  </a:lnTo>
                  <a:close/>
                  <a:moveTo>
                    <a:pt x="892195" y="335010"/>
                  </a:moveTo>
                  <a:lnTo>
                    <a:pt x="892752" y="335230"/>
                  </a:lnTo>
                  <a:lnTo>
                    <a:pt x="893102" y="339390"/>
                  </a:lnTo>
                  <a:lnTo>
                    <a:pt x="894458" y="340861"/>
                  </a:lnTo>
                  <a:lnTo>
                    <a:pt x="894258" y="342870"/>
                  </a:lnTo>
                  <a:lnTo>
                    <a:pt x="889641" y="353467"/>
                  </a:lnTo>
                  <a:lnTo>
                    <a:pt x="888367" y="357473"/>
                  </a:lnTo>
                  <a:lnTo>
                    <a:pt x="888226" y="359086"/>
                  </a:lnTo>
                  <a:lnTo>
                    <a:pt x="887663" y="359736"/>
                  </a:lnTo>
                  <a:lnTo>
                    <a:pt x="886667" y="358569"/>
                  </a:lnTo>
                  <a:lnTo>
                    <a:pt x="885998" y="354377"/>
                  </a:lnTo>
                  <a:lnTo>
                    <a:pt x="886492" y="351949"/>
                  </a:lnTo>
                  <a:lnTo>
                    <a:pt x="887654" y="349729"/>
                  </a:lnTo>
                  <a:lnTo>
                    <a:pt x="887857" y="348503"/>
                  </a:lnTo>
                  <a:lnTo>
                    <a:pt x="887356" y="345932"/>
                  </a:lnTo>
                  <a:lnTo>
                    <a:pt x="890699" y="343044"/>
                  </a:lnTo>
                  <a:lnTo>
                    <a:pt x="891545" y="341521"/>
                  </a:lnTo>
                  <a:lnTo>
                    <a:pt x="891865" y="339563"/>
                  </a:lnTo>
                  <a:lnTo>
                    <a:pt x="890634" y="337448"/>
                  </a:lnTo>
                  <a:lnTo>
                    <a:pt x="889693" y="337030"/>
                  </a:lnTo>
                  <a:lnTo>
                    <a:pt x="890515" y="335855"/>
                  </a:lnTo>
                  <a:lnTo>
                    <a:pt x="891449" y="335260"/>
                  </a:lnTo>
                  <a:close/>
                  <a:moveTo>
                    <a:pt x="843616" y="305298"/>
                  </a:moveTo>
                  <a:lnTo>
                    <a:pt x="845531" y="306005"/>
                  </a:lnTo>
                  <a:lnTo>
                    <a:pt x="846287" y="306598"/>
                  </a:lnTo>
                  <a:lnTo>
                    <a:pt x="846978" y="306525"/>
                  </a:lnTo>
                  <a:lnTo>
                    <a:pt x="847600" y="306913"/>
                  </a:lnTo>
                  <a:lnTo>
                    <a:pt x="847349" y="308437"/>
                  </a:lnTo>
                  <a:lnTo>
                    <a:pt x="848356" y="310156"/>
                  </a:lnTo>
                  <a:lnTo>
                    <a:pt x="848830" y="311368"/>
                  </a:lnTo>
                  <a:lnTo>
                    <a:pt x="848072" y="312350"/>
                  </a:lnTo>
                  <a:lnTo>
                    <a:pt x="847559" y="312665"/>
                  </a:lnTo>
                  <a:lnTo>
                    <a:pt x="846362" y="311845"/>
                  </a:lnTo>
                  <a:lnTo>
                    <a:pt x="843026" y="306924"/>
                  </a:lnTo>
                  <a:close/>
                  <a:moveTo>
                    <a:pt x="830979" y="276195"/>
                  </a:moveTo>
                  <a:lnTo>
                    <a:pt x="831709" y="276603"/>
                  </a:lnTo>
                  <a:lnTo>
                    <a:pt x="832313" y="278429"/>
                  </a:lnTo>
                  <a:lnTo>
                    <a:pt x="831603" y="278792"/>
                  </a:lnTo>
                  <a:lnTo>
                    <a:pt x="830979" y="278842"/>
                  </a:lnTo>
                  <a:lnTo>
                    <a:pt x="830402" y="278447"/>
                  </a:lnTo>
                  <a:lnTo>
                    <a:pt x="830895" y="277521"/>
                  </a:lnTo>
                  <a:close/>
                  <a:moveTo>
                    <a:pt x="818238" y="272434"/>
                  </a:moveTo>
                  <a:lnTo>
                    <a:pt x="818584" y="274769"/>
                  </a:lnTo>
                  <a:lnTo>
                    <a:pt x="818593" y="275784"/>
                  </a:lnTo>
                  <a:lnTo>
                    <a:pt x="817826" y="276485"/>
                  </a:lnTo>
                  <a:lnTo>
                    <a:pt x="817293" y="274794"/>
                  </a:lnTo>
                  <a:lnTo>
                    <a:pt x="817422" y="273021"/>
                  </a:lnTo>
                  <a:close/>
                  <a:moveTo>
                    <a:pt x="55863" y="240492"/>
                  </a:moveTo>
                  <a:lnTo>
                    <a:pt x="56372" y="241607"/>
                  </a:lnTo>
                  <a:lnTo>
                    <a:pt x="56120" y="243257"/>
                  </a:lnTo>
                  <a:lnTo>
                    <a:pt x="54835" y="245062"/>
                  </a:lnTo>
                  <a:lnTo>
                    <a:pt x="53287" y="244706"/>
                  </a:lnTo>
                  <a:lnTo>
                    <a:pt x="53077" y="243795"/>
                  </a:lnTo>
                  <a:lnTo>
                    <a:pt x="54088" y="242299"/>
                  </a:lnTo>
                  <a:close/>
                  <a:moveTo>
                    <a:pt x="797647" y="228638"/>
                  </a:moveTo>
                  <a:lnTo>
                    <a:pt x="798163" y="230203"/>
                  </a:lnTo>
                  <a:lnTo>
                    <a:pt x="799067" y="231494"/>
                  </a:lnTo>
                  <a:lnTo>
                    <a:pt x="799033" y="231816"/>
                  </a:lnTo>
                  <a:lnTo>
                    <a:pt x="798506" y="232069"/>
                  </a:lnTo>
                  <a:lnTo>
                    <a:pt x="797787" y="232052"/>
                  </a:lnTo>
                  <a:lnTo>
                    <a:pt x="796714" y="231635"/>
                  </a:lnTo>
                  <a:close/>
                  <a:moveTo>
                    <a:pt x="797355" y="226126"/>
                  </a:moveTo>
                  <a:lnTo>
                    <a:pt x="797098" y="228205"/>
                  </a:lnTo>
                  <a:lnTo>
                    <a:pt x="796640" y="228555"/>
                  </a:lnTo>
                  <a:lnTo>
                    <a:pt x="796152" y="228656"/>
                  </a:lnTo>
                  <a:lnTo>
                    <a:pt x="795565" y="228409"/>
                  </a:lnTo>
                  <a:lnTo>
                    <a:pt x="795997" y="227452"/>
                  </a:lnTo>
                  <a:lnTo>
                    <a:pt x="796554" y="226692"/>
                  </a:lnTo>
                  <a:close/>
                  <a:moveTo>
                    <a:pt x="737238" y="184436"/>
                  </a:moveTo>
                  <a:lnTo>
                    <a:pt x="737884" y="184558"/>
                  </a:lnTo>
                  <a:lnTo>
                    <a:pt x="738337" y="186725"/>
                  </a:lnTo>
                  <a:lnTo>
                    <a:pt x="739291" y="188417"/>
                  </a:lnTo>
                  <a:lnTo>
                    <a:pt x="738961" y="189527"/>
                  </a:lnTo>
                  <a:lnTo>
                    <a:pt x="738337" y="190353"/>
                  </a:lnTo>
                  <a:lnTo>
                    <a:pt x="736940" y="189576"/>
                  </a:lnTo>
                  <a:lnTo>
                    <a:pt x="735960" y="187567"/>
                  </a:lnTo>
                  <a:lnTo>
                    <a:pt x="734299" y="185955"/>
                  </a:lnTo>
                  <a:lnTo>
                    <a:pt x="733915" y="185027"/>
                  </a:lnTo>
                  <a:lnTo>
                    <a:pt x="735858" y="185105"/>
                  </a:lnTo>
                  <a:lnTo>
                    <a:pt x="736834" y="184790"/>
                  </a:lnTo>
                  <a:close/>
                  <a:moveTo>
                    <a:pt x="587841" y="156270"/>
                  </a:moveTo>
                  <a:lnTo>
                    <a:pt x="589328" y="157443"/>
                  </a:lnTo>
                  <a:lnTo>
                    <a:pt x="589568" y="158636"/>
                  </a:lnTo>
                  <a:lnTo>
                    <a:pt x="587098" y="159094"/>
                  </a:lnTo>
                  <a:lnTo>
                    <a:pt x="586269" y="159483"/>
                  </a:lnTo>
                  <a:lnTo>
                    <a:pt x="585970" y="158550"/>
                  </a:lnTo>
                  <a:lnTo>
                    <a:pt x="587098" y="157605"/>
                  </a:lnTo>
                  <a:close/>
                  <a:moveTo>
                    <a:pt x="589944" y="142742"/>
                  </a:moveTo>
                  <a:lnTo>
                    <a:pt x="590311" y="142925"/>
                  </a:lnTo>
                  <a:lnTo>
                    <a:pt x="592373" y="145462"/>
                  </a:lnTo>
                  <a:lnTo>
                    <a:pt x="589320" y="145792"/>
                  </a:lnTo>
                  <a:lnTo>
                    <a:pt x="588173" y="146781"/>
                  </a:lnTo>
                  <a:lnTo>
                    <a:pt x="586465" y="148780"/>
                  </a:lnTo>
                  <a:lnTo>
                    <a:pt x="585601" y="148499"/>
                  </a:lnTo>
                  <a:lnTo>
                    <a:pt x="584779" y="149588"/>
                  </a:lnTo>
                  <a:lnTo>
                    <a:pt x="583202" y="150108"/>
                  </a:lnTo>
                  <a:lnTo>
                    <a:pt x="582230" y="150090"/>
                  </a:lnTo>
                  <a:lnTo>
                    <a:pt x="580473" y="150614"/>
                  </a:lnTo>
                  <a:lnTo>
                    <a:pt x="580209" y="149981"/>
                  </a:lnTo>
                  <a:lnTo>
                    <a:pt x="580542" y="147982"/>
                  </a:lnTo>
                  <a:lnTo>
                    <a:pt x="582002" y="145748"/>
                  </a:lnTo>
                  <a:lnTo>
                    <a:pt x="583422" y="144379"/>
                  </a:lnTo>
                  <a:lnTo>
                    <a:pt x="587092" y="143725"/>
                  </a:lnTo>
                  <a:close/>
                  <a:moveTo>
                    <a:pt x="532932" y="124593"/>
                  </a:moveTo>
                  <a:lnTo>
                    <a:pt x="534147" y="126135"/>
                  </a:lnTo>
                  <a:lnTo>
                    <a:pt x="534292" y="127839"/>
                  </a:lnTo>
                  <a:lnTo>
                    <a:pt x="534791" y="128746"/>
                  </a:lnTo>
                  <a:lnTo>
                    <a:pt x="533845" y="129795"/>
                  </a:lnTo>
                  <a:lnTo>
                    <a:pt x="532643" y="128693"/>
                  </a:lnTo>
                  <a:lnTo>
                    <a:pt x="532390" y="127564"/>
                  </a:lnTo>
                  <a:lnTo>
                    <a:pt x="531453" y="127241"/>
                  </a:lnTo>
                  <a:lnTo>
                    <a:pt x="531910" y="126199"/>
                  </a:lnTo>
                  <a:lnTo>
                    <a:pt x="532405" y="125898"/>
                  </a:lnTo>
                  <a:close/>
                  <a:moveTo>
                    <a:pt x="523566" y="123209"/>
                  </a:moveTo>
                  <a:lnTo>
                    <a:pt x="524148" y="123446"/>
                  </a:lnTo>
                  <a:lnTo>
                    <a:pt x="523677" y="125350"/>
                  </a:lnTo>
                  <a:lnTo>
                    <a:pt x="522353" y="125445"/>
                  </a:lnTo>
                  <a:lnTo>
                    <a:pt x="521980" y="125330"/>
                  </a:lnTo>
                  <a:lnTo>
                    <a:pt x="521725" y="124328"/>
                  </a:lnTo>
                  <a:lnTo>
                    <a:pt x="522163" y="123423"/>
                  </a:lnTo>
                  <a:close/>
                  <a:moveTo>
                    <a:pt x="529998" y="122504"/>
                  </a:moveTo>
                  <a:lnTo>
                    <a:pt x="530293" y="124459"/>
                  </a:lnTo>
                  <a:lnTo>
                    <a:pt x="529684" y="125162"/>
                  </a:lnTo>
                  <a:lnTo>
                    <a:pt x="529332" y="125330"/>
                  </a:lnTo>
                  <a:lnTo>
                    <a:pt x="529306" y="123444"/>
                  </a:lnTo>
                  <a:close/>
                  <a:moveTo>
                    <a:pt x="256746" y="117184"/>
                  </a:moveTo>
                  <a:lnTo>
                    <a:pt x="257444" y="117248"/>
                  </a:lnTo>
                  <a:lnTo>
                    <a:pt x="257746" y="118165"/>
                  </a:lnTo>
                  <a:lnTo>
                    <a:pt x="258642" y="119199"/>
                  </a:lnTo>
                  <a:lnTo>
                    <a:pt x="258469" y="120227"/>
                  </a:lnTo>
                  <a:lnTo>
                    <a:pt x="257636" y="120866"/>
                  </a:lnTo>
                  <a:lnTo>
                    <a:pt x="256854" y="120669"/>
                  </a:lnTo>
                  <a:lnTo>
                    <a:pt x="256844" y="119785"/>
                  </a:lnTo>
                  <a:lnTo>
                    <a:pt x="255939" y="118832"/>
                  </a:lnTo>
                  <a:lnTo>
                    <a:pt x="256410" y="117749"/>
                  </a:lnTo>
                  <a:close/>
                  <a:moveTo>
                    <a:pt x="270912" y="98848"/>
                  </a:moveTo>
                  <a:lnTo>
                    <a:pt x="271756" y="99271"/>
                  </a:lnTo>
                  <a:lnTo>
                    <a:pt x="271655" y="101028"/>
                  </a:lnTo>
                  <a:lnTo>
                    <a:pt x="271772" y="101634"/>
                  </a:lnTo>
                  <a:lnTo>
                    <a:pt x="270355" y="103039"/>
                  </a:lnTo>
                  <a:lnTo>
                    <a:pt x="269392" y="101910"/>
                  </a:lnTo>
                  <a:lnTo>
                    <a:pt x="269970" y="99659"/>
                  </a:lnTo>
                  <a:close/>
                  <a:moveTo>
                    <a:pt x="525106" y="81259"/>
                  </a:moveTo>
                  <a:lnTo>
                    <a:pt x="526130" y="81388"/>
                  </a:lnTo>
                  <a:lnTo>
                    <a:pt x="525998" y="82391"/>
                  </a:lnTo>
                  <a:lnTo>
                    <a:pt x="526410" y="84142"/>
                  </a:lnTo>
                  <a:lnTo>
                    <a:pt x="527369" y="85077"/>
                  </a:lnTo>
                  <a:lnTo>
                    <a:pt x="528397" y="85011"/>
                  </a:lnTo>
                  <a:lnTo>
                    <a:pt x="529299" y="82950"/>
                  </a:lnTo>
                  <a:lnTo>
                    <a:pt x="529861" y="83236"/>
                  </a:lnTo>
                  <a:lnTo>
                    <a:pt x="530306" y="83753"/>
                  </a:lnTo>
                  <a:lnTo>
                    <a:pt x="530632" y="84661"/>
                  </a:lnTo>
                  <a:lnTo>
                    <a:pt x="529248" y="86231"/>
                  </a:lnTo>
                  <a:lnTo>
                    <a:pt x="528628" y="86473"/>
                  </a:lnTo>
                  <a:lnTo>
                    <a:pt x="528036" y="87340"/>
                  </a:lnTo>
                  <a:lnTo>
                    <a:pt x="527089" y="90199"/>
                  </a:lnTo>
                  <a:lnTo>
                    <a:pt x="527190" y="91159"/>
                  </a:lnTo>
                  <a:lnTo>
                    <a:pt x="528011" y="92119"/>
                  </a:lnTo>
                  <a:lnTo>
                    <a:pt x="530187" y="93009"/>
                  </a:lnTo>
                  <a:lnTo>
                    <a:pt x="531258" y="92597"/>
                  </a:lnTo>
                  <a:lnTo>
                    <a:pt x="531632" y="92716"/>
                  </a:lnTo>
                  <a:lnTo>
                    <a:pt x="531202" y="94109"/>
                  </a:lnTo>
                  <a:lnTo>
                    <a:pt x="530384" y="95170"/>
                  </a:lnTo>
                  <a:lnTo>
                    <a:pt x="527484" y="94727"/>
                  </a:lnTo>
                  <a:lnTo>
                    <a:pt x="524975" y="94886"/>
                  </a:lnTo>
                  <a:lnTo>
                    <a:pt x="520791" y="93851"/>
                  </a:lnTo>
                  <a:lnTo>
                    <a:pt x="518641" y="93723"/>
                  </a:lnTo>
                  <a:lnTo>
                    <a:pt x="518026" y="93337"/>
                  </a:lnTo>
                  <a:lnTo>
                    <a:pt x="519280" y="92518"/>
                  </a:lnTo>
                  <a:lnTo>
                    <a:pt x="520066" y="91413"/>
                  </a:lnTo>
                  <a:lnTo>
                    <a:pt x="519699" y="88812"/>
                  </a:lnTo>
                  <a:lnTo>
                    <a:pt x="519999" y="85515"/>
                  </a:lnTo>
                  <a:lnTo>
                    <a:pt x="522411" y="83913"/>
                  </a:lnTo>
                  <a:lnTo>
                    <a:pt x="523495" y="82277"/>
                  </a:lnTo>
                  <a:close/>
                  <a:moveTo>
                    <a:pt x="515372" y="81008"/>
                  </a:moveTo>
                  <a:lnTo>
                    <a:pt x="516300" y="81951"/>
                  </a:lnTo>
                  <a:lnTo>
                    <a:pt x="516698" y="83854"/>
                  </a:lnTo>
                  <a:lnTo>
                    <a:pt x="515858" y="84606"/>
                  </a:lnTo>
                  <a:lnTo>
                    <a:pt x="515333" y="84864"/>
                  </a:lnTo>
                  <a:lnTo>
                    <a:pt x="513320" y="84428"/>
                  </a:lnTo>
                  <a:lnTo>
                    <a:pt x="513312" y="83617"/>
                  </a:lnTo>
                  <a:lnTo>
                    <a:pt x="513579" y="82998"/>
                  </a:lnTo>
                  <a:lnTo>
                    <a:pt x="514137" y="82629"/>
                  </a:lnTo>
                  <a:close/>
                  <a:moveTo>
                    <a:pt x="521206" y="31627"/>
                  </a:moveTo>
                  <a:lnTo>
                    <a:pt x="521011" y="32598"/>
                  </a:lnTo>
                  <a:lnTo>
                    <a:pt x="518998" y="34254"/>
                  </a:lnTo>
                  <a:lnTo>
                    <a:pt x="518097" y="34683"/>
                  </a:lnTo>
                  <a:lnTo>
                    <a:pt x="514594" y="36350"/>
                  </a:lnTo>
                  <a:lnTo>
                    <a:pt x="516520" y="34103"/>
                  </a:lnTo>
                  <a:lnTo>
                    <a:pt x="520541" y="32101"/>
                  </a:lnTo>
                  <a:close/>
                  <a:moveTo>
                    <a:pt x="384456" y="28736"/>
                  </a:moveTo>
                  <a:lnTo>
                    <a:pt x="385438" y="28740"/>
                  </a:lnTo>
                  <a:lnTo>
                    <a:pt x="386266" y="30601"/>
                  </a:lnTo>
                  <a:lnTo>
                    <a:pt x="386463" y="32611"/>
                  </a:lnTo>
                  <a:lnTo>
                    <a:pt x="387506" y="34456"/>
                  </a:lnTo>
                  <a:lnTo>
                    <a:pt x="388091" y="36407"/>
                  </a:lnTo>
                  <a:lnTo>
                    <a:pt x="389916" y="36941"/>
                  </a:lnTo>
                  <a:lnTo>
                    <a:pt x="390758" y="37703"/>
                  </a:lnTo>
                  <a:lnTo>
                    <a:pt x="391263" y="38513"/>
                  </a:lnTo>
                  <a:lnTo>
                    <a:pt x="391341" y="39485"/>
                  </a:lnTo>
                  <a:lnTo>
                    <a:pt x="389047" y="39912"/>
                  </a:lnTo>
                  <a:lnTo>
                    <a:pt x="384955" y="38480"/>
                  </a:lnTo>
                  <a:lnTo>
                    <a:pt x="380838" y="39662"/>
                  </a:lnTo>
                  <a:lnTo>
                    <a:pt x="379629" y="39684"/>
                  </a:lnTo>
                  <a:lnTo>
                    <a:pt x="378892" y="38828"/>
                  </a:lnTo>
                  <a:lnTo>
                    <a:pt x="379529" y="36440"/>
                  </a:lnTo>
                  <a:lnTo>
                    <a:pt x="381011" y="36806"/>
                  </a:lnTo>
                  <a:lnTo>
                    <a:pt x="382304" y="35935"/>
                  </a:lnTo>
                  <a:lnTo>
                    <a:pt x="382073" y="33313"/>
                  </a:lnTo>
                  <a:lnTo>
                    <a:pt x="381315" y="31887"/>
                  </a:lnTo>
                  <a:lnTo>
                    <a:pt x="383490" y="29267"/>
                  </a:lnTo>
                  <a:close/>
                  <a:moveTo>
                    <a:pt x="386845" y="25235"/>
                  </a:moveTo>
                  <a:lnTo>
                    <a:pt x="387370" y="25294"/>
                  </a:lnTo>
                  <a:lnTo>
                    <a:pt x="389415" y="27452"/>
                  </a:lnTo>
                  <a:lnTo>
                    <a:pt x="390313" y="28045"/>
                  </a:lnTo>
                  <a:lnTo>
                    <a:pt x="391619" y="29615"/>
                  </a:lnTo>
                  <a:lnTo>
                    <a:pt x="394569" y="29801"/>
                  </a:lnTo>
                  <a:lnTo>
                    <a:pt x="398119" y="28119"/>
                  </a:lnTo>
                  <a:lnTo>
                    <a:pt x="399769" y="28804"/>
                  </a:lnTo>
                  <a:lnTo>
                    <a:pt x="400557" y="28681"/>
                  </a:lnTo>
                  <a:lnTo>
                    <a:pt x="403157" y="27085"/>
                  </a:lnTo>
                  <a:lnTo>
                    <a:pt x="404850" y="26626"/>
                  </a:lnTo>
                  <a:lnTo>
                    <a:pt x="405979" y="25445"/>
                  </a:lnTo>
                  <a:lnTo>
                    <a:pt x="407135" y="26722"/>
                  </a:lnTo>
                  <a:lnTo>
                    <a:pt x="409709" y="28206"/>
                  </a:lnTo>
                  <a:lnTo>
                    <a:pt x="410514" y="29759"/>
                  </a:lnTo>
                  <a:lnTo>
                    <a:pt x="411596" y="30492"/>
                  </a:lnTo>
                  <a:lnTo>
                    <a:pt x="411956" y="30977"/>
                  </a:lnTo>
                  <a:lnTo>
                    <a:pt x="410393" y="32605"/>
                  </a:lnTo>
                  <a:lnTo>
                    <a:pt x="410188" y="34359"/>
                  </a:lnTo>
                  <a:lnTo>
                    <a:pt x="408512" y="34239"/>
                  </a:lnTo>
                  <a:lnTo>
                    <a:pt x="406506" y="37117"/>
                  </a:lnTo>
                  <a:lnTo>
                    <a:pt x="398963" y="41948"/>
                  </a:lnTo>
                  <a:lnTo>
                    <a:pt x="392196" y="37821"/>
                  </a:lnTo>
                  <a:lnTo>
                    <a:pt x="389254" y="35031"/>
                  </a:lnTo>
                  <a:lnTo>
                    <a:pt x="387283" y="31176"/>
                  </a:lnTo>
                  <a:lnTo>
                    <a:pt x="386886" y="28023"/>
                  </a:lnTo>
                  <a:lnTo>
                    <a:pt x="386085" y="26007"/>
                  </a:lnTo>
                  <a:lnTo>
                    <a:pt x="386439" y="25498"/>
                  </a:lnTo>
                  <a:close/>
                  <a:moveTo>
                    <a:pt x="527861" y="21476"/>
                  </a:moveTo>
                  <a:lnTo>
                    <a:pt x="527003" y="25552"/>
                  </a:lnTo>
                  <a:lnTo>
                    <a:pt x="523843" y="29678"/>
                  </a:lnTo>
                  <a:lnTo>
                    <a:pt x="522252" y="31021"/>
                  </a:lnTo>
                  <a:lnTo>
                    <a:pt x="522143" y="30013"/>
                  </a:lnTo>
                  <a:lnTo>
                    <a:pt x="522986" y="29208"/>
                  </a:lnTo>
                  <a:lnTo>
                    <a:pt x="524959" y="25933"/>
                  </a:lnTo>
                  <a:lnTo>
                    <a:pt x="525820" y="25172"/>
                  </a:lnTo>
                  <a:lnTo>
                    <a:pt x="526320" y="24741"/>
                  </a:lnTo>
                  <a:lnTo>
                    <a:pt x="526691" y="23541"/>
                  </a:lnTo>
                  <a:lnTo>
                    <a:pt x="526789" y="21747"/>
                  </a:lnTo>
                  <a:close/>
                  <a:moveTo>
                    <a:pt x="434959" y="20499"/>
                  </a:moveTo>
                  <a:lnTo>
                    <a:pt x="435278" y="21144"/>
                  </a:lnTo>
                  <a:lnTo>
                    <a:pt x="435358" y="23578"/>
                  </a:lnTo>
                  <a:lnTo>
                    <a:pt x="436070" y="24982"/>
                  </a:lnTo>
                  <a:lnTo>
                    <a:pt x="435280" y="27975"/>
                  </a:lnTo>
                  <a:lnTo>
                    <a:pt x="434844" y="28322"/>
                  </a:lnTo>
                  <a:lnTo>
                    <a:pt x="433077" y="24859"/>
                  </a:lnTo>
                  <a:lnTo>
                    <a:pt x="433577" y="23793"/>
                  </a:lnTo>
                  <a:lnTo>
                    <a:pt x="432857" y="22031"/>
                  </a:lnTo>
                  <a:lnTo>
                    <a:pt x="434052" y="21832"/>
                  </a:lnTo>
                  <a:close/>
                  <a:moveTo>
                    <a:pt x="653374" y="14650"/>
                  </a:moveTo>
                  <a:lnTo>
                    <a:pt x="655328" y="14650"/>
                  </a:lnTo>
                  <a:lnTo>
                    <a:pt x="656660" y="15565"/>
                  </a:lnTo>
                  <a:lnTo>
                    <a:pt x="655784" y="17157"/>
                  </a:lnTo>
                  <a:lnTo>
                    <a:pt x="655503" y="18387"/>
                  </a:lnTo>
                  <a:lnTo>
                    <a:pt x="659269" y="21430"/>
                  </a:lnTo>
                  <a:lnTo>
                    <a:pt x="660522" y="23778"/>
                  </a:lnTo>
                  <a:lnTo>
                    <a:pt x="661044" y="25985"/>
                  </a:lnTo>
                  <a:lnTo>
                    <a:pt x="661784" y="28066"/>
                  </a:lnTo>
                  <a:lnTo>
                    <a:pt x="662141" y="30872"/>
                  </a:lnTo>
                  <a:lnTo>
                    <a:pt x="662089" y="35355"/>
                  </a:lnTo>
                  <a:lnTo>
                    <a:pt x="662575" y="39592"/>
                  </a:lnTo>
                  <a:lnTo>
                    <a:pt x="663933" y="40923"/>
                  </a:lnTo>
                  <a:lnTo>
                    <a:pt x="665138" y="41781"/>
                  </a:lnTo>
                  <a:lnTo>
                    <a:pt x="666861" y="41895"/>
                  </a:lnTo>
                  <a:lnTo>
                    <a:pt x="669349" y="42576"/>
                  </a:lnTo>
                  <a:lnTo>
                    <a:pt x="668775" y="45299"/>
                  </a:lnTo>
                  <a:lnTo>
                    <a:pt x="667708" y="47402"/>
                  </a:lnTo>
                  <a:lnTo>
                    <a:pt x="667582" y="48666"/>
                  </a:lnTo>
                  <a:lnTo>
                    <a:pt x="667831" y="50406"/>
                  </a:lnTo>
                  <a:lnTo>
                    <a:pt x="669608" y="51701"/>
                  </a:lnTo>
                  <a:lnTo>
                    <a:pt x="671012" y="52519"/>
                  </a:lnTo>
                  <a:lnTo>
                    <a:pt x="671798" y="54790"/>
                  </a:lnTo>
                  <a:lnTo>
                    <a:pt x="674273" y="57960"/>
                  </a:lnTo>
                  <a:lnTo>
                    <a:pt x="674184" y="60120"/>
                  </a:lnTo>
                  <a:lnTo>
                    <a:pt x="675514" y="62808"/>
                  </a:lnTo>
                  <a:lnTo>
                    <a:pt x="676714" y="68176"/>
                  </a:lnTo>
                  <a:lnTo>
                    <a:pt x="677101" y="72883"/>
                  </a:lnTo>
                  <a:lnTo>
                    <a:pt x="678365" y="76030"/>
                  </a:lnTo>
                  <a:lnTo>
                    <a:pt x="677520" y="82725"/>
                  </a:lnTo>
                  <a:lnTo>
                    <a:pt x="678423" y="85469"/>
                  </a:lnTo>
                  <a:lnTo>
                    <a:pt x="679619" y="87743"/>
                  </a:lnTo>
                  <a:lnTo>
                    <a:pt x="681031" y="92271"/>
                  </a:lnTo>
                  <a:lnTo>
                    <a:pt x="682117" y="96428"/>
                  </a:lnTo>
                  <a:lnTo>
                    <a:pt x="683577" y="97607"/>
                  </a:lnTo>
                  <a:lnTo>
                    <a:pt x="686661" y="99002"/>
                  </a:lnTo>
                  <a:lnTo>
                    <a:pt x="689846" y="97459"/>
                  </a:lnTo>
                  <a:lnTo>
                    <a:pt x="692145" y="95371"/>
                  </a:lnTo>
                  <a:lnTo>
                    <a:pt x="694618" y="94862"/>
                  </a:lnTo>
                  <a:lnTo>
                    <a:pt x="697965" y="93789"/>
                  </a:lnTo>
                  <a:lnTo>
                    <a:pt x="700472" y="96560"/>
                  </a:lnTo>
                  <a:lnTo>
                    <a:pt x="701835" y="99670"/>
                  </a:lnTo>
                  <a:lnTo>
                    <a:pt x="707754" y="103776"/>
                  </a:lnTo>
                  <a:lnTo>
                    <a:pt x="711042" y="106412"/>
                  </a:lnTo>
                  <a:lnTo>
                    <a:pt x="713597" y="107901"/>
                  </a:lnTo>
                  <a:lnTo>
                    <a:pt x="715979" y="109850"/>
                  </a:lnTo>
                  <a:lnTo>
                    <a:pt x="715741" y="111799"/>
                  </a:lnTo>
                  <a:lnTo>
                    <a:pt x="715182" y="113338"/>
                  </a:lnTo>
                  <a:lnTo>
                    <a:pt x="715724" y="115746"/>
                  </a:lnTo>
                  <a:lnTo>
                    <a:pt x="716097" y="118536"/>
                  </a:lnTo>
                  <a:lnTo>
                    <a:pt x="715622" y="121918"/>
                  </a:lnTo>
                  <a:lnTo>
                    <a:pt x="717345" y="127011"/>
                  </a:lnTo>
                  <a:lnTo>
                    <a:pt x="717918" y="131079"/>
                  </a:lnTo>
                  <a:lnTo>
                    <a:pt x="719744" y="135055"/>
                  </a:lnTo>
                  <a:lnTo>
                    <a:pt x="719609" y="139150"/>
                  </a:lnTo>
                  <a:lnTo>
                    <a:pt x="719268" y="140694"/>
                  </a:lnTo>
                  <a:lnTo>
                    <a:pt x="719038" y="142991"/>
                  </a:lnTo>
                  <a:lnTo>
                    <a:pt x="720461" y="145852"/>
                  </a:lnTo>
                  <a:lnTo>
                    <a:pt x="721777" y="147964"/>
                  </a:lnTo>
                  <a:lnTo>
                    <a:pt x="723731" y="150259"/>
                  </a:lnTo>
                  <a:lnTo>
                    <a:pt x="726307" y="153747"/>
                  </a:lnTo>
                  <a:lnTo>
                    <a:pt x="728145" y="154448"/>
                  </a:lnTo>
                  <a:lnTo>
                    <a:pt x="729786" y="154497"/>
                  </a:lnTo>
                  <a:lnTo>
                    <a:pt x="729561" y="158085"/>
                  </a:lnTo>
                  <a:lnTo>
                    <a:pt x="732830" y="165162"/>
                  </a:lnTo>
                  <a:lnTo>
                    <a:pt x="734512" y="170955"/>
                  </a:lnTo>
                  <a:lnTo>
                    <a:pt x="733366" y="178760"/>
                  </a:lnTo>
                  <a:lnTo>
                    <a:pt x="732234" y="183291"/>
                  </a:lnTo>
                  <a:lnTo>
                    <a:pt x="732442" y="185509"/>
                  </a:lnTo>
                  <a:lnTo>
                    <a:pt x="736661" y="190927"/>
                  </a:lnTo>
                  <a:lnTo>
                    <a:pt x="739097" y="191930"/>
                  </a:lnTo>
                  <a:lnTo>
                    <a:pt x="738622" y="194516"/>
                  </a:lnTo>
                  <a:lnTo>
                    <a:pt x="738294" y="198511"/>
                  </a:lnTo>
                  <a:lnTo>
                    <a:pt x="740207" y="201622"/>
                  </a:lnTo>
                  <a:lnTo>
                    <a:pt x="742369" y="203952"/>
                  </a:lnTo>
                  <a:lnTo>
                    <a:pt x="744716" y="205344"/>
                  </a:lnTo>
                  <a:lnTo>
                    <a:pt x="747030" y="206444"/>
                  </a:lnTo>
                  <a:lnTo>
                    <a:pt x="750060" y="207552"/>
                  </a:lnTo>
                  <a:lnTo>
                    <a:pt x="753900" y="208018"/>
                  </a:lnTo>
                  <a:lnTo>
                    <a:pt x="755892" y="209774"/>
                  </a:lnTo>
                  <a:lnTo>
                    <a:pt x="756909" y="211163"/>
                  </a:lnTo>
                  <a:lnTo>
                    <a:pt x="759991" y="211646"/>
                  </a:lnTo>
                  <a:lnTo>
                    <a:pt x="761393" y="211388"/>
                  </a:lnTo>
                  <a:lnTo>
                    <a:pt x="763097" y="210818"/>
                  </a:lnTo>
                  <a:lnTo>
                    <a:pt x="764254" y="211764"/>
                  </a:lnTo>
                  <a:lnTo>
                    <a:pt x="765113" y="213022"/>
                  </a:lnTo>
                  <a:lnTo>
                    <a:pt x="766800" y="216435"/>
                  </a:lnTo>
                  <a:lnTo>
                    <a:pt x="770257" y="219820"/>
                  </a:lnTo>
                  <a:lnTo>
                    <a:pt x="772708" y="220386"/>
                  </a:lnTo>
                  <a:lnTo>
                    <a:pt x="774088" y="222099"/>
                  </a:lnTo>
                  <a:lnTo>
                    <a:pt x="776053" y="222566"/>
                  </a:lnTo>
                  <a:lnTo>
                    <a:pt x="777745" y="222775"/>
                  </a:lnTo>
                  <a:lnTo>
                    <a:pt x="780147" y="224091"/>
                  </a:lnTo>
                  <a:lnTo>
                    <a:pt x="784066" y="227119"/>
                  </a:lnTo>
                  <a:lnTo>
                    <a:pt x="787601" y="227611"/>
                  </a:lnTo>
                  <a:lnTo>
                    <a:pt x="789232" y="228447"/>
                  </a:lnTo>
                  <a:lnTo>
                    <a:pt x="792745" y="231770"/>
                  </a:lnTo>
                  <a:lnTo>
                    <a:pt x="794107" y="233541"/>
                  </a:lnTo>
                  <a:lnTo>
                    <a:pt x="795517" y="236178"/>
                  </a:lnTo>
                  <a:lnTo>
                    <a:pt x="793755" y="236428"/>
                  </a:lnTo>
                  <a:lnTo>
                    <a:pt x="792095" y="235877"/>
                  </a:lnTo>
                  <a:lnTo>
                    <a:pt x="791071" y="238468"/>
                  </a:lnTo>
                  <a:lnTo>
                    <a:pt x="793410" y="242053"/>
                  </a:lnTo>
                  <a:lnTo>
                    <a:pt x="796129" y="244582"/>
                  </a:lnTo>
                  <a:lnTo>
                    <a:pt x="799405" y="247258"/>
                  </a:lnTo>
                  <a:lnTo>
                    <a:pt x="802596" y="251046"/>
                  </a:lnTo>
                  <a:lnTo>
                    <a:pt x="803404" y="253938"/>
                  </a:lnTo>
                  <a:lnTo>
                    <a:pt x="804263" y="255079"/>
                  </a:lnTo>
                  <a:lnTo>
                    <a:pt x="805347" y="259164"/>
                  </a:lnTo>
                  <a:lnTo>
                    <a:pt x="808106" y="261540"/>
                  </a:lnTo>
                  <a:lnTo>
                    <a:pt x="808238" y="265865"/>
                  </a:lnTo>
                  <a:lnTo>
                    <a:pt x="809653" y="271852"/>
                  </a:lnTo>
                  <a:lnTo>
                    <a:pt x="811238" y="277283"/>
                  </a:lnTo>
                  <a:lnTo>
                    <a:pt x="812335" y="278926"/>
                  </a:lnTo>
                  <a:lnTo>
                    <a:pt x="813630" y="281533"/>
                  </a:lnTo>
                  <a:lnTo>
                    <a:pt x="815127" y="281202"/>
                  </a:lnTo>
                  <a:lnTo>
                    <a:pt x="816252" y="280355"/>
                  </a:lnTo>
                  <a:lnTo>
                    <a:pt x="818416" y="282947"/>
                  </a:lnTo>
                  <a:lnTo>
                    <a:pt x="819612" y="284094"/>
                  </a:lnTo>
                  <a:lnTo>
                    <a:pt x="820301" y="283417"/>
                  </a:lnTo>
                  <a:lnTo>
                    <a:pt x="818893" y="278456"/>
                  </a:lnTo>
                  <a:lnTo>
                    <a:pt x="819763" y="275580"/>
                  </a:lnTo>
                  <a:lnTo>
                    <a:pt x="820633" y="275211"/>
                  </a:lnTo>
                  <a:lnTo>
                    <a:pt x="821862" y="275120"/>
                  </a:lnTo>
                  <a:lnTo>
                    <a:pt x="823340" y="277465"/>
                  </a:lnTo>
                  <a:lnTo>
                    <a:pt x="825371" y="279963"/>
                  </a:lnTo>
                  <a:lnTo>
                    <a:pt x="829135" y="282194"/>
                  </a:lnTo>
                  <a:lnTo>
                    <a:pt x="832147" y="284290"/>
                  </a:lnTo>
                  <a:lnTo>
                    <a:pt x="832994" y="284212"/>
                  </a:lnTo>
                  <a:lnTo>
                    <a:pt x="832657" y="282593"/>
                  </a:lnTo>
                  <a:lnTo>
                    <a:pt x="832750" y="280219"/>
                  </a:lnTo>
                  <a:lnTo>
                    <a:pt x="833950" y="279831"/>
                  </a:lnTo>
                  <a:lnTo>
                    <a:pt x="835047" y="281013"/>
                  </a:lnTo>
                  <a:lnTo>
                    <a:pt x="837068" y="284687"/>
                  </a:lnTo>
                  <a:lnTo>
                    <a:pt x="837487" y="292292"/>
                  </a:lnTo>
                  <a:lnTo>
                    <a:pt x="837491" y="298670"/>
                  </a:lnTo>
                  <a:lnTo>
                    <a:pt x="838822" y="305239"/>
                  </a:lnTo>
                  <a:lnTo>
                    <a:pt x="840766" y="306965"/>
                  </a:lnTo>
                  <a:lnTo>
                    <a:pt x="842042" y="308597"/>
                  </a:lnTo>
                  <a:lnTo>
                    <a:pt x="844229" y="310802"/>
                  </a:lnTo>
                  <a:lnTo>
                    <a:pt x="845691" y="312859"/>
                  </a:lnTo>
                  <a:lnTo>
                    <a:pt x="847516" y="313817"/>
                  </a:lnTo>
                  <a:lnTo>
                    <a:pt x="853363" y="318203"/>
                  </a:lnTo>
                  <a:lnTo>
                    <a:pt x="855013" y="318699"/>
                  </a:lnTo>
                  <a:lnTo>
                    <a:pt x="857568" y="318811"/>
                  </a:lnTo>
                  <a:lnTo>
                    <a:pt x="860679" y="320792"/>
                  </a:lnTo>
                  <a:lnTo>
                    <a:pt x="862251" y="322621"/>
                  </a:lnTo>
                  <a:lnTo>
                    <a:pt x="865626" y="329503"/>
                  </a:lnTo>
                  <a:lnTo>
                    <a:pt x="867274" y="331925"/>
                  </a:lnTo>
                  <a:lnTo>
                    <a:pt x="870638" y="334315"/>
                  </a:lnTo>
                  <a:lnTo>
                    <a:pt x="872210" y="335095"/>
                  </a:lnTo>
                  <a:lnTo>
                    <a:pt x="874492" y="336738"/>
                  </a:lnTo>
                  <a:lnTo>
                    <a:pt x="875307" y="339126"/>
                  </a:lnTo>
                  <a:lnTo>
                    <a:pt x="875503" y="340537"/>
                  </a:lnTo>
                  <a:lnTo>
                    <a:pt x="876857" y="343081"/>
                  </a:lnTo>
                  <a:lnTo>
                    <a:pt x="878869" y="346140"/>
                  </a:lnTo>
                  <a:lnTo>
                    <a:pt x="881851" y="347840"/>
                  </a:lnTo>
                  <a:lnTo>
                    <a:pt x="884601" y="351564"/>
                  </a:lnTo>
                  <a:lnTo>
                    <a:pt x="884756" y="357616"/>
                  </a:lnTo>
                  <a:lnTo>
                    <a:pt x="886181" y="360632"/>
                  </a:lnTo>
                  <a:lnTo>
                    <a:pt x="887138" y="361910"/>
                  </a:lnTo>
                  <a:lnTo>
                    <a:pt x="889289" y="363148"/>
                  </a:lnTo>
                  <a:lnTo>
                    <a:pt x="890161" y="364129"/>
                  </a:lnTo>
                  <a:lnTo>
                    <a:pt x="888375" y="372169"/>
                  </a:lnTo>
                  <a:lnTo>
                    <a:pt x="890098" y="388283"/>
                  </a:lnTo>
                  <a:lnTo>
                    <a:pt x="889097" y="393321"/>
                  </a:lnTo>
                  <a:lnTo>
                    <a:pt x="890891" y="398329"/>
                  </a:lnTo>
                  <a:lnTo>
                    <a:pt x="895044" y="407011"/>
                  </a:lnTo>
                  <a:lnTo>
                    <a:pt x="895987" y="410096"/>
                  </a:lnTo>
                  <a:lnTo>
                    <a:pt x="896572" y="413699"/>
                  </a:lnTo>
                  <a:lnTo>
                    <a:pt x="899243" y="418300"/>
                  </a:lnTo>
                  <a:lnTo>
                    <a:pt x="899098" y="425320"/>
                  </a:lnTo>
                  <a:lnTo>
                    <a:pt x="900155" y="428672"/>
                  </a:lnTo>
                  <a:lnTo>
                    <a:pt x="899883" y="433031"/>
                  </a:lnTo>
                  <a:lnTo>
                    <a:pt x="896734" y="437738"/>
                  </a:lnTo>
                  <a:lnTo>
                    <a:pt x="894210" y="443523"/>
                  </a:lnTo>
                  <a:lnTo>
                    <a:pt x="894186" y="448494"/>
                  </a:lnTo>
                  <a:lnTo>
                    <a:pt x="892537" y="458059"/>
                  </a:lnTo>
                  <a:lnTo>
                    <a:pt x="891463" y="460627"/>
                  </a:lnTo>
                  <a:lnTo>
                    <a:pt x="890675" y="464629"/>
                  </a:lnTo>
                  <a:lnTo>
                    <a:pt x="887190" y="474321"/>
                  </a:lnTo>
                  <a:lnTo>
                    <a:pt x="887039" y="478130"/>
                  </a:lnTo>
                  <a:lnTo>
                    <a:pt x="887572" y="482680"/>
                  </a:lnTo>
                  <a:lnTo>
                    <a:pt x="886991" y="487052"/>
                  </a:lnTo>
                  <a:lnTo>
                    <a:pt x="886121" y="490030"/>
                  </a:lnTo>
                  <a:lnTo>
                    <a:pt x="885275" y="495549"/>
                  </a:lnTo>
                  <a:lnTo>
                    <a:pt x="881779" y="504144"/>
                  </a:lnTo>
                  <a:lnTo>
                    <a:pt x="876769" y="510501"/>
                  </a:lnTo>
                  <a:lnTo>
                    <a:pt x="876460" y="515344"/>
                  </a:lnTo>
                  <a:lnTo>
                    <a:pt x="875825" y="517484"/>
                  </a:lnTo>
                  <a:lnTo>
                    <a:pt x="874804" y="520161"/>
                  </a:lnTo>
                  <a:lnTo>
                    <a:pt x="871727" y="523075"/>
                  </a:lnTo>
                  <a:lnTo>
                    <a:pt x="869874" y="524335"/>
                  </a:lnTo>
                  <a:lnTo>
                    <a:pt x="869172" y="526045"/>
                  </a:lnTo>
                  <a:lnTo>
                    <a:pt x="867421" y="526045"/>
                  </a:lnTo>
                  <a:lnTo>
                    <a:pt x="867377" y="526581"/>
                  </a:lnTo>
                  <a:lnTo>
                    <a:pt x="868561" y="527118"/>
                  </a:lnTo>
                  <a:lnTo>
                    <a:pt x="868034" y="527998"/>
                  </a:lnTo>
                  <a:lnTo>
                    <a:pt x="863391" y="529549"/>
                  </a:lnTo>
                  <a:lnTo>
                    <a:pt x="860264" y="531541"/>
                  </a:lnTo>
                  <a:lnTo>
                    <a:pt x="857068" y="536418"/>
                  </a:lnTo>
                  <a:lnTo>
                    <a:pt x="855727" y="538969"/>
                  </a:lnTo>
                  <a:lnTo>
                    <a:pt x="854011" y="541420"/>
                  </a:lnTo>
                  <a:lnTo>
                    <a:pt x="852987" y="542570"/>
                  </a:lnTo>
                  <a:lnTo>
                    <a:pt x="852536" y="543805"/>
                  </a:lnTo>
                  <a:lnTo>
                    <a:pt x="851843" y="546882"/>
                  </a:lnTo>
                  <a:lnTo>
                    <a:pt x="850195" y="547435"/>
                  </a:lnTo>
                  <a:lnTo>
                    <a:pt x="848748" y="548353"/>
                  </a:lnTo>
                  <a:lnTo>
                    <a:pt x="849426" y="551288"/>
                  </a:lnTo>
                  <a:lnTo>
                    <a:pt x="848667" y="554652"/>
                  </a:lnTo>
                  <a:lnTo>
                    <a:pt x="848487" y="556933"/>
                  </a:lnTo>
                  <a:lnTo>
                    <a:pt x="847699" y="558384"/>
                  </a:lnTo>
                  <a:lnTo>
                    <a:pt x="846749" y="557862"/>
                  </a:lnTo>
                  <a:lnTo>
                    <a:pt x="846002" y="558095"/>
                  </a:lnTo>
                  <a:lnTo>
                    <a:pt x="845049" y="558886"/>
                  </a:lnTo>
                  <a:lnTo>
                    <a:pt x="846518" y="559134"/>
                  </a:lnTo>
                  <a:lnTo>
                    <a:pt x="847409" y="559493"/>
                  </a:lnTo>
                  <a:lnTo>
                    <a:pt x="844279" y="562798"/>
                  </a:lnTo>
                  <a:lnTo>
                    <a:pt x="841413" y="566149"/>
                  </a:lnTo>
                  <a:lnTo>
                    <a:pt x="840685" y="568381"/>
                  </a:lnTo>
                  <a:lnTo>
                    <a:pt x="839444" y="571186"/>
                  </a:lnTo>
                  <a:lnTo>
                    <a:pt x="838351" y="577432"/>
                  </a:lnTo>
                  <a:lnTo>
                    <a:pt x="837449" y="581008"/>
                  </a:lnTo>
                  <a:lnTo>
                    <a:pt x="838070" y="583553"/>
                  </a:lnTo>
                  <a:lnTo>
                    <a:pt x="837969" y="584030"/>
                  </a:lnTo>
                  <a:lnTo>
                    <a:pt x="837306" y="584218"/>
                  </a:lnTo>
                  <a:lnTo>
                    <a:pt x="836895" y="583886"/>
                  </a:lnTo>
                  <a:lnTo>
                    <a:pt x="835598" y="584756"/>
                  </a:lnTo>
                  <a:lnTo>
                    <a:pt x="835235" y="585627"/>
                  </a:lnTo>
                  <a:lnTo>
                    <a:pt x="835781" y="586707"/>
                  </a:lnTo>
                  <a:lnTo>
                    <a:pt x="836147" y="587079"/>
                  </a:lnTo>
                  <a:lnTo>
                    <a:pt x="835980" y="587595"/>
                  </a:lnTo>
                  <a:lnTo>
                    <a:pt x="835443" y="588161"/>
                  </a:lnTo>
                  <a:lnTo>
                    <a:pt x="834207" y="588159"/>
                  </a:lnTo>
                  <a:lnTo>
                    <a:pt x="832726" y="589077"/>
                  </a:lnTo>
                  <a:lnTo>
                    <a:pt x="828450" y="598369"/>
                  </a:lnTo>
                  <a:lnTo>
                    <a:pt x="826639" y="600838"/>
                  </a:lnTo>
                  <a:lnTo>
                    <a:pt x="824496" y="604649"/>
                  </a:lnTo>
                  <a:lnTo>
                    <a:pt x="823682" y="608103"/>
                  </a:lnTo>
                  <a:lnTo>
                    <a:pt x="823028" y="611885"/>
                  </a:lnTo>
                  <a:lnTo>
                    <a:pt x="822285" y="618262"/>
                  </a:lnTo>
                  <a:lnTo>
                    <a:pt x="821566" y="622763"/>
                  </a:lnTo>
                  <a:lnTo>
                    <a:pt x="819916" y="627133"/>
                  </a:lnTo>
                  <a:lnTo>
                    <a:pt x="819299" y="630250"/>
                  </a:lnTo>
                  <a:lnTo>
                    <a:pt x="819085" y="636218"/>
                  </a:lnTo>
                  <a:lnTo>
                    <a:pt x="819875" y="640755"/>
                  </a:lnTo>
                  <a:lnTo>
                    <a:pt x="819357" y="643167"/>
                  </a:lnTo>
                  <a:lnTo>
                    <a:pt x="819344" y="645484"/>
                  </a:lnTo>
                  <a:lnTo>
                    <a:pt x="818689" y="647645"/>
                  </a:lnTo>
                  <a:lnTo>
                    <a:pt x="815962" y="648139"/>
                  </a:lnTo>
                  <a:lnTo>
                    <a:pt x="813742" y="649906"/>
                  </a:lnTo>
                  <a:lnTo>
                    <a:pt x="810568" y="652795"/>
                  </a:lnTo>
                  <a:lnTo>
                    <a:pt x="808699" y="653849"/>
                  </a:lnTo>
                  <a:lnTo>
                    <a:pt x="804665" y="654641"/>
                  </a:lnTo>
                  <a:lnTo>
                    <a:pt x="796826" y="654291"/>
                  </a:lnTo>
                  <a:lnTo>
                    <a:pt x="781758" y="655372"/>
                  </a:lnTo>
                  <a:lnTo>
                    <a:pt x="778842" y="656021"/>
                  </a:lnTo>
                  <a:lnTo>
                    <a:pt x="773228" y="658023"/>
                  </a:lnTo>
                  <a:lnTo>
                    <a:pt x="767803" y="661137"/>
                  </a:lnTo>
                  <a:lnTo>
                    <a:pt x="762589" y="665333"/>
                  </a:lnTo>
                  <a:lnTo>
                    <a:pt x="750676" y="676766"/>
                  </a:lnTo>
                  <a:lnTo>
                    <a:pt x="741365" y="678012"/>
                  </a:lnTo>
                  <a:lnTo>
                    <a:pt x="739607" y="678012"/>
                  </a:lnTo>
                  <a:lnTo>
                    <a:pt x="738198" y="677702"/>
                  </a:lnTo>
                  <a:lnTo>
                    <a:pt x="736538" y="678415"/>
                  </a:lnTo>
                  <a:lnTo>
                    <a:pt x="736510" y="679841"/>
                  </a:lnTo>
                  <a:lnTo>
                    <a:pt x="738043" y="681325"/>
                  </a:lnTo>
                  <a:lnTo>
                    <a:pt x="739173" y="682720"/>
                  </a:lnTo>
                  <a:lnTo>
                    <a:pt x="741170" y="680794"/>
                  </a:lnTo>
                  <a:lnTo>
                    <a:pt x="742047" y="681328"/>
                  </a:lnTo>
                  <a:lnTo>
                    <a:pt x="742379" y="684882"/>
                  </a:lnTo>
                  <a:lnTo>
                    <a:pt x="742427" y="687135"/>
                  </a:lnTo>
                  <a:lnTo>
                    <a:pt x="741826" y="688357"/>
                  </a:lnTo>
                  <a:lnTo>
                    <a:pt x="740574" y="689217"/>
                  </a:lnTo>
                  <a:lnTo>
                    <a:pt x="739248" y="688656"/>
                  </a:lnTo>
                  <a:lnTo>
                    <a:pt x="739071" y="687435"/>
                  </a:lnTo>
                  <a:lnTo>
                    <a:pt x="737353" y="684534"/>
                  </a:lnTo>
                  <a:lnTo>
                    <a:pt x="735232" y="681983"/>
                  </a:lnTo>
                  <a:lnTo>
                    <a:pt x="733275" y="681167"/>
                  </a:lnTo>
                  <a:lnTo>
                    <a:pt x="732130" y="682019"/>
                  </a:lnTo>
                  <a:lnTo>
                    <a:pt x="730299" y="682914"/>
                  </a:lnTo>
                  <a:lnTo>
                    <a:pt x="728755" y="679667"/>
                  </a:lnTo>
                  <a:lnTo>
                    <a:pt x="727104" y="676856"/>
                  </a:lnTo>
                  <a:lnTo>
                    <a:pt x="724916" y="676564"/>
                  </a:lnTo>
                  <a:lnTo>
                    <a:pt x="723025" y="676595"/>
                  </a:lnTo>
                  <a:lnTo>
                    <a:pt x="721455" y="675379"/>
                  </a:lnTo>
                  <a:lnTo>
                    <a:pt x="718401" y="673465"/>
                  </a:lnTo>
                  <a:lnTo>
                    <a:pt x="718997" y="671971"/>
                  </a:lnTo>
                  <a:lnTo>
                    <a:pt x="719851" y="670401"/>
                  </a:lnTo>
                  <a:lnTo>
                    <a:pt x="721606" y="669823"/>
                  </a:lnTo>
                  <a:lnTo>
                    <a:pt x="721079" y="667704"/>
                  </a:lnTo>
                  <a:lnTo>
                    <a:pt x="720138" y="665965"/>
                  </a:lnTo>
                  <a:lnTo>
                    <a:pt x="717719" y="665501"/>
                  </a:lnTo>
                  <a:lnTo>
                    <a:pt x="716091" y="665807"/>
                  </a:lnTo>
                  <a:lnTo>
                    <a:pt x="715121" y="667184"/>
                  </a:lnTo>
                  <a:lnTo>
                    <a:pt x="713845" y="669559"/>
                  </a:lnTo>
                  <a:lnTo>
                    <a:pt x="708723" y="672574"/>
                  </a:lnTo>
                  <a:lnTo>
                    <a:pt x="706240" y="670916"/>
                  </a:lnTo>
                  <a:lnTo>
                    <a:pt x="703376" y="668447"/>
                  </a:lnTo>
                  <a:lnTo>
                    <a:pt x="704758" y="668628"/>
                  </a:lnTo>
                  <a:lnTo>
                    <a:pt x="707658" y="668542"/>
                  </a:lnTo>
                  <a:lnTo>
                    <a:pt x="710062" y="666341"/>
                  </a:lnTo>
                  <a:lnTo>
                    <a:pt x="711098" y="664967"/>
                  </a:lnTo>
                  <a:lnTo>
                    <a:pt x="712269" y="662051"/>
                  </a:lnTo>
                  <a:lnTo>
                    <a:pt x="710714" y="659990"/>
                  </a:lnTo>
                  <a:lnTo>
                    <a:pt x="709282" y="658486"/>
                  </a:lnTo>
                  <a:lnTo>
                    <a:pt x="707214" y="657142"/>
                  </a:lnTo>
                  <a:lnTo>
                    <a:pt x="699412" y="661688"/>
                  </a:lnTo>
                  <a:lnTo>
                    <a:pt x="697794" y="662339"/>
                  </a:lnTo>
                  <a:lnTo>
                    <a:pt x="696250" y="663221"/>
                  </a:lnTo>
                  <a:lnTo>
                    <a:pt x="698954" y="663978"/>
                  </a:lnTo>
                  <a:lnTo>
                    <a:pt x="700539" y="663753"/>
                  </a:lnTo>
                  <a:lnTo>
                    <a:pt x="702214" y="665097"/>
                  </a:lnTo>
                  <a:lnTo>
                    <a:pt x="699526" y="667001"/>
                  </a:lnTo>
                  <a:lnTo>
                    <a:pt x="697408" y="667506"/>
                  </a:lnTo>
                  <a:lnTo>
                    <a:pt x="694773" y="668650"/>
                  </a:lnTo>
                  <a:lnTo>
                    <a:pt x="689751" y="671584"/>
                  </a:lnTo>
                  <a:lnTo>
                    <a:pt x="683342" y="677677"/>
                  </a:lnTo>
                  <a:lnTo>
                    <a:pt x="680578" y="679433"/>
                  </a:lnTo>
                  <a:lnTo>
                    <a:pt x="677310" y="680827"/>
                  </a:lnTo>
                  <a:lnTo>
                    <a:pt x="672877" y="679198"/>
                  </a:lnTo>
                  <a:lnTo>
                    <a:pt x="670401" y="678820"/>
                  </a:lnTo>
                  <a:lnTo>
                    <a:pt x="667220" y="676312"/>
                  </a:lnTo>
                  <a:lnTo>
                    <a:pt x="661860" y="674637"/>
                  </a:lnTo>
                  <a:lnTo>
                    <a:pt x="656816" y="671310"/>
                  </a:lnTo>
                  <a:lnTo>
                    <a:pt x="653361" y="669630"/>
                  </a:lnTo>
                  <a:lnTo>
                    <a:pt x="650899" y="669265"/>
                  </a:lnTo>
                  <a:lnTo>
                    <a:pt x="647431" y="669966"/>
                  </a:lnTo>
                  <a:lnTo>
                    <a:pt x="641616" y="666994"/>
                  </a:lnTo>
                  <a:lnTo>
                    <a:pt x="637200" y="666675"/>
                  </a:lnTo>
                  <a:lnTo>
                    <a:pt x="634302" y="669667"/>
                  </a:lnTo>
                  <a:lnTo>
                    <a:pt x="632043" y="669461"/>
                  </a:lnTo>
                  <a:lnTo>
                    <a:pt x="630549" y="669042"/>
                  </a:lnTo>
                  <a:lnTo>
                    <a:pt x="625897" y="664121"/>
                  </a:lnTo>
                  <a:lnTo>
                    <a:pt x="621411" y="661683"/>
                  </a:lnTo>
                  <a:lnTo>
                    <a:pt x="612926" y="660438"/>
                  </a:lnTo>
                  <a:lnTo>
                    <a:pt x="607690" y="657062"/>
                  </a:lnTo>
                  <a:lnTo>
                    <a:pt x="603747" y="650550"/>
                  </a:lnTo>
                  <a:lnTo>
                    <a:pt x="596288" y="643142"/>
                  </a:lnTo>
                  <a:lnTo>
                    <a:pt x="594286" y="640433"/>
                  </a:lnTo>
                  <a:lnTo>
                    <a:pt x="593357" y="637782"/>
                  </a:lnTo>
                  <a:lnTo>
                    <a:pt x="593274" y="635692"/>
                  </a:lnTo>
                  <a:lnTo>
                    <a:pt x="594278" y="631701"/>
                  </a:lnTo>
                  <a:lnTo>
                    <a:pt x="595664" y="627775"/>
                  </a:lnTo>
                  <a:lnTo>
                    <a:pt x="595901" y="625595"/>
                  </a:lnTo>
                  <a:lnTo>
                    <a:pt x="593064" y="618230"/>
                  </a:lnTo>
                  <a:lnTo>
                    <a:pt x="589078" y="611285"/>
                  </a:lnTo>
                  <a:lnTo>
                    <a:pt x="587246" y="609106"/>
                  </a:lnTo>
                  <a:lnTo>
                    <a:pt x="582360" y="604491"/>
                  </a:lnTo>
                  <a:lnTo>
                    <a:pt x="577778" y="601013"/>
                  </a:lnTo>
                  <a:lnTo>
                    <a:pt x="576614" y="599209"/>
                  </a:lnTo>
                  <a:lnTo>
                    <a:pt x="576258" y="598283"/>
                  </a:lnTo>
                  <a:lnTo>
                    <a:pt x="578423" y="598728"/>
                  </a:lnTo>
                  <a:lnTo>
                    <a:pt x="579432" y="597315"/>
                  </a:lnTo>
                  <a:lnTo>
                    <a:pt x="580881" y="596832"/>
                  </a:lnTo>
                  <a:lnTo>
                    <a:pt x="582043" y="598708"/>
                  </a:lnTo>
                  <a:lnTo>
                    <a:pt x="583345" y="599052"/>
                  </a:lnTo>
                  <a:lnTo>
                    <a:pt x="583403" y="595899"/>
                  </a:lnTo>
                  <a:lnTo>
                    <a:pt x="584133" y="594409"/>
                  </a:lnTo>
                  <a:lnTo>
                    <a:pt x="583634" y="593725"/>
                  </a:lnTo>
                  <a:lnTo>
                    <a:pt x="583191" y="593121"/>
                  </a:lnTo>
                  <a:lnTo>
                    <a:pt x="581207" y="592415"/>
                  </a:lnTo>
                  <a:lnTo>
                    <a:pt x="579017" y="593477"/>
                  </a:lnTo>
                  <a:lnTo>
                    <a:pt x="577335" y="594826"/>
                  </a:lnTo>
                  <a:lnTo>
                    <a:pt x="575070" y="595972"/>
                  </a:lnTo>
                  <a:lnTo>
                    <a:pt x="574187" y="597178"/>
                  </a:lnTo>
                  <a:lnTo>
                    <a:pt x="571880" y="597217"/>
                  </a:lnTo>
                  <a:lnTo>
                    <a:pt x="570967" y="597529"/>
                  </a:lnTo>
                  <a:lnTo>
                    <a:pt x="566372" y="599833"/>
                  </a:lnTo>
                  <a:lnTo>
                    <a:pt x="563439" y="599892"/>
                  </a:lnTo>
                  <a:lnTo>
                    <a:pt x="558909" y="599086"/>
                  </a:lnTo>
                  <a:lnTo>
                    <a:pt x="560408" y="595914"/>
                  </a:lnTo>
                  <a:lnTo>
                    <a:pt x="562193" y="594034"/>
                  </a:lnTo>
                  <a:lnTo>
                    <a:pt x="563673" y="591876"/>
                  </a:lnTo>
                  <a:lnTo>
                    <a:pt x="566134" y="584319"/>
                  </a:lnTo>
                  <a:lnTo>
                    <a:pt x="565666" y="577791"/>
                  </a:lnTo>
                  <a:lnTo>
                    <a:pt x="564478" y="575109"/>
                  </a:lnTo>
                  <a:lnTo>
                    <a:pt x="560677" y="569720"/>
                  </a:lnTo>
                  <a:lnTo>
                    <a:pt x="558950" y="566402"/>
                  </a:lnTo>
                  <a:lnTo>
                    <a:pt x="556806" y="562980"/>
                  </a:lnTo>
                  <a:lnTo>
                    <a:pt x="555746" y="564971"/>
                  </a:lnTo>
                  <a:lnTo>
                    <a:pt x="555104" y="567071"/>
                  </a:lnTo>
                  <a:lnTo>
                    <a:pt x="553047" y="570112"/>
                  </a:lnTo>
                  <a:lnTo>
                    <a:pt x="552048" y="576888"/>
                  </a:lnTo>
                  <a:lnTo>
                    <a:pt x="548015" y="587289"/>
                  </a:lnTo>
                  <a:lnTo>
                    <a:pt x="545245" y="587417"/>
                  </a:lnTo>
                  <a:lnTo>
                    <a:pt x="542882" y="586998"/>
                  </a:lnTo>
                  <a:lnTo>
                    <a:pt x="538743" y="588186"/>
                  </a:lnTo>
                  <a:lnTo>
                    <a:pt x="535914" y="589633"/>
                  </a:lnTo>
                  <a:lnTo>
                    <a:pt x="533380" y="589636"/>
                  </a:lnTo>
                  <a:lnTo>
                    <a:pt x="531981" y="590096"/>
                  </a:lnTo>
                  <a:lnTo>
                    <a:pt x="530146" y="589717"/>
                  </a:lnTo>
                  <a:lnTo>
                    <a:pt x="533036" y="581600"/>
                  </a:lnTo>
                  <a:lnTo>
                    <a:pt x="535560" y="581822"/>
                  </a:lnTo>
                  <a:lnTo>
                    <a:pt x="538293" y="581492"/>
                  </a:lnTo>
                  <a:lnTo>
                    <a:pt x="539540" y="581629"/>
                  </a:lnTo>
                  <a:lnTo>
                    <a:pt x="541366" y="581536"/>
                  </a:lnTo>
                  <a:lnTo>
                    <a:pt x="542766" y="577813"/>
                  </a:lnTo>
                  <a:lnTo>
                    <a:pt x="543621" y="573649"/>
                  </a:lnTo>
                  <a:lnTo>
                    <a:pt x="543081" y="570965"/>
                  </a:lnTo>
                  <a:lnTo>
                    <a:pt x="542869" y="568188"/>
                  </a:lnTo>
                  <a:lnTo>
                    <a:pt x="543413" y="565030"/>
                  </a:lnTo>
                  <a:lnTo>
                    <a:pt x="543640" y="562764"/>
                  </a:lnTo>
                  <a:lnTo>
                    <a:pt x="547101" y="555254"/>
                  </a:lnTo>
                  <a:lnTo>
                    <a:pt x="549986" y="551383"/>
                  </a:lnTo>
                  <a:lnTo>
                    <a:pt x="553325" y="548307"/>
                  </a:lnTo>
                  <a:lnTo>
                    <a:pt x="552930" y="545389"/>
                  </a:lnTo>
                  <a:lnTo>
                    <a:pt x="551869" y="541744"/>
                  </a:lnTo>
                  <a:lnTo>
                    <a:pt x="551567" y="538942"/>
                  </a:lnTo>
                  <a:lnTo>
                    <a:pt x="553159" y="538061"/>
                  </a:lnTo>
                  <a:lnTo>
                    <a:pt x="554668" y="536309"/>
                  </a:lnTo>
                  <a:lnTo>
                    <a:pt x="552913" y="528326"/>
                  </a:lnTo>
                  <a:lnTo>
                    <a:pt x="551805" y="525936"/>
                  </a:lnTo>
                  <a:lnTo>
                    <a:pt x="550038" y="523582"/>
                  </a:lnTo>
                  <a:lnTo>
                    <a:pt x="550008" y="526632"/>
                  </a:lnTo>
                  <a:lnTo>
                    <a:pt x="550209" y="529621"/>
                  </a:lnTo>
                  <a:lnTo>
                    <a:pt x="547760" y="533439"/>
                  </a:lnTo>
                  <a:lnTo>
                    <a:pt x="544577" y="536183"/>
                  </a:lnTo>
                  <a:lnTo>
                    <a:pt x="542500" y="538763"/>
                  </a:lnTo>
                  <a:lnTo>
                    <a:pt x="540552" y="544617"/>
                  </a:lnTo>
                  <a:lnTo>
                    <a:pt x="537968" y="549556"/>
                  </a:lnTo>
                  <a:lnTo>
                    <a:pt x="535601" y="551380"/>
                  </a:lnTo>
                  <a:lnTo>
                    <a:pt x="533482" y="551789"/>
                  </a:lnTo>
                  <a:lnTo>
                    <a:pt x="531316" y="552550"/>
                  </a:lnTo>
                  <a:lnTo>
                    <a:pt x="527933" y="554524"/>
                  </a:lnTo>
                  <a:lnTo>
                    <a:pt x="524661" y="556185"/>
                  </a:lnTo>
                  <a:lnTo>
                    <a:pt x="522236" y="558362"/>
                  </a:lnTo>
                  <a:lnTo>
                    <a:pt x="520131" y="559501"/>
                  </a:lnTo>
                  <a:lnTo>
                    <a:pt x="513286" y="569430"/>
                  </a:lnTo>
                  <a:lnTo>
                    <a:pt x="510159" y="572754"/>
                  </a:lnTo>
                  <a:lnTo>
                    <a:pt x="509515" y="574097"/>
                  </a:lnTo>
                  <a:lnTo>
                    <a:pt x="508198" y="575226"/>
                  </a:lnTo>
                  <a:lnTo>
                    <a:pt x="508455" y="576798"/>
                  </a:lnTo>
                  <a:lnTo>
                    <a:pt x="509515" y="577872"/>
                  </a:lnTo>
                  <a:lnTo>
                    <a:pt x="510576" y="582298"/>
                  </a:lnTo>
                  <a:lnTo>
                    <a:pt x="509939" y="583252"/>
                  </a:lnTo>
                  <a:lnTo>
                    <a:pt x="508820" y="582753"/>
                  </a:lnTo>
                  <a:lnTo>
                    <a:pt x="506017" y="580285"/>
                  </a:lnTo>
                  <a:lnTo>
                    <a:pt x="504250" y="581184"/>
                  </a:lnTo>
                  <a:lnTo>
                    <a:pt x="502815" y="582196"/>
                  </a:lnTo>
                  <a:lnTo>
                    <a:pt x="499129" y="577657"/>
                  </a:lnTo>
                  <a:lnTo>
                    <a:pt x="497600" y="576590"/>
                  </a:lnTo>
                  <a:lnTo>
                    <a:pt x="495665" y="574770"/>
                  </a:lnTo>
                  <a:lnTo>
                    <a:pt x="493597" y="573200"/>
                  </a:lnTo>
                  <a:lnTo>
                    <a:pt x="492716" y="573022"/>
                  </a:lnTo>
                  <a:lnTo>
                    <a:pt x="491217" y="573349"/>
                  </a:lnTo>
                  <a:lnTo>
                    <a:pt x="491361" y="572120"/>
                  </a:lnTo>
                  <a:lnTo>
                    <a:pt x="492387" y="571123"/>
                  </a:lnTo>
                  <a:lnTo>
                    <a:pt x="493290" y="570892"/>
                  </a:lnTo>
                  <a:lnTo>
                    <a:pt x="494963" y="572346"/>
                  </a:lnTo>
                  <a:lnTo>
                    <a:pt x="496870" y="573646"/>
                  </a:lnTo>
                  <a:lnTo>
                    <a:pt x="497945" y="573753"/>
                  </a:lnTo>
                  <a:lnTo>
                    <a:pt x="498446" y="573232"/>
                  </a:lnTo>
                  <a:lnTo>
                    <a:pt x="496632" y="568106"/>
                  </a:lnTo>
                  <a:lnTo>
                    <a:pt x="495395" y="563619"/>
                  </a:lnTo>
                  <a:lnTo>
                    <a:pt x="494827" y="562295"/>
                  </a:lnTo>
                  <a:lnTo>
                    <a:pt x="493337" y="557755"/>
                  </a:lnTo>
                  <a:lnTo>
                    <a:pt x="492597" y="556438"/>
                  </a:lnTo>
                  <a:lnTo>
                    <a:pt x="489427" y="553234"/>
                  </a:lnTo>
                  <a:lnTo>
                    <a:pt x="486036" y="549479"/>
                  </a:lnTo>
                  <a:lnTo>
                    <a:pt x="485106" y="544975"/>
                  </a:lnTo>
                  <a:lnTo>
                    <a:pt x="483875" y="542096"/>
                  </a:lnTo>
                  <a:lnTo>
                    <a:pt x="482283" y="540287"/>
                  </a:lnTo>
                  <a:lnTo>
                    <a:pt x="479822" y="538679"/>
                  </a:lnTo>
                  <a:lnTo>
                    <a:pt x="473045" y="538059"/>
                  </a:lnTo>
                  <a:lnTo>
                    <a:pt x="470221" y="533466"/>
                  </a:lnTo>
                  <a:lnTo>
                    <a:pt x="468604" y="527782"/>
                  </a:lnTo>
                  <a:lnTo>
                    <a:pt x="469887" y="527406"/>
                  </a:lnTo>
                  <a:lnTo>
                    <a:pt x="471406" y="527337"/>
                  </a:lnTo>
                  <a:lnTo>
                    <a:pt x="471895" y="525566"/>
                  </a:lnTo>
                  <a:lnTo>
                    <a:pt x="471562" y="522854"/>
                  </a:lnTo>
                  <a:lnTo>
                    <a:pt x="464840" y="519489"/>
                  </a:lnTo>
                  <a:lnTo>
                    <a:pt x="461668" y="515977"/>
                  </a:lnTo>
                  <a:lnTo>
                    <a:pt x="458983" y="514464"/>
                  </a:lnTo>
                  <a:lnTo>
                    <a:pt x="456463" y="513867"/>
                  </a:lnTo>
                  <a:lnTo>
                    <a:pt x="453130" y="514004"/>
                  </a:lnTo>
                  <a:lnTo>
                    <a:pt x="448962" y="513889"/>
                  </a:lnTo>
                  <a:lnTo>
                    <a:pt x="438908" y="508307"/>
                  </a:lnTo>
                  <a:lnTo>
                    <a:pt x="436503" y="508137"/>
                  </a:lnTo>
                  <a:lnTo>
                    <a:pt x="429316" y="509870"/>
                  </a:lnTo>
                  <a:lnTo>
                    <a:pt x="426906" y="509554"/>
                  </a:lnTo>
                  <a:lnTo>
                    <a:pt x="415995" y="501941"/>
                  </a:lnTo>
                  <a:lnTo>
                    <a:pt x="408741" y="498327"/>
                  </a:lnTo>
                  <a:lnTo>
                    <a:pt x="406349" y="497654"/>
                  </a:lnTo>
                  <a:lnTo>
                    <a:pt x="403224" y="497035"/>
                  </a:lnTo>
                  <a:lnTo>
                    <a:pt x="400696" y="497918"/>
                  </a:lnTo>
                  <a:lnTo>
                    <a:pt x="398901" y="498749"/>
                  </a:lnTo>
                  <a:lnTo>
                    <a:pt x="395249" y="499683"/>
                  </a:lnTo>
                  <a:lnTo>
                    <a:pt x="380805" y="499074"/>
                  </a:lnTo>
                  <a:lnTo>
                    <a:pt x="368401" y="500252"/>
                  </a:lnTo>
                  <a:lnTo>
                    <a:pt x="359974" y="501051"/>
                  </a:lnTo>
                  <a:lnTo>
                    <a:pt x="354633" y="502096"/>
                  </a:lnTo>
                  <a:lnTo>
                    <a:pt x="345787" y="506627"/>
                  </a:lnTo>
                  <a:lnTo>
                    <a:pt x="335207" y="511011"/>
                  </a:lnTo>
                  <a:lnTo>
                    <a:pt x="326592" y="513090"/>
                  </a:lnTo>
                  <a:lnTo>
                    <a:pt x="318671" y="515860"/>
                  </a:lnTo>
                  <a:lnTo>
                    <a:pt x="313458" y="516666"/>
                  </a:lnTo>
                  <a:lnTo>
                    <a:pt x="306719" y="517011"/>
                  </a:lnTo>
                  <a:lnTo>
                    <a:pt x="292505" y="515682"/>
                  </a:lnTo>
                  <a:lnTo>
                    <a:pt x="287656" y="516668"/>
                  </a:lnTo>
                  <a:lnTo>
                    <a:pt x="279923" y="521804"/>
                  </a:lnTo>
                  <a:lnTo>
                    <a:pt x="277627" y="523051"/>
                  </a:lnTo>
                  <a:lnTo>
                    <a:pt x="273270" y="524477"/>
                  </a:lnTo>
                  <a:lnTo>
                    <a:pt x="262041" y="531088"/>
                  </a:lnTo>
                  <a:lnTo>
                    <a:pt x="256863" y="532504"/>
                  </a:lnTo>
                  <a:lnTo>
                    <a:pt x="253516" y="532955"/>
                  </a:lnTo>
                  <a:lnTo>
                    <a:pt x="250653" y="534358"/>
                  </a:lnTo>
                  <a:lnTo>
                    <a:pt x="248051" y="537178"/>
                  </a:lnTo>
                  <a:lnTo>
                    <a:pt x="244537" y="545017"/>
                  </a:lnTo>
                  <a:lnTo>
                    <a:pt x="242352" y="548735"/>
                  </a:lnTo>
                  <a:lnTo>
                    <a:pt x="237532" y="554689"/>
                  </a:lnTo>
                  <a:lnTo>
                    <a:pt x="234358" y="556673"/>
                  </a:lnTo>
                  <a:lnTo>
                    <a:pt x="231231" y="556404"/>
                  </a:lnTo>
                  <a:lnTo>
                    <a:pt x="227742" y="558464"/>
                  </a:lnTo>
                  <a:lnTo>
                    <a:pt x="224645" y="556285"/>
                  </a:lnTo>
                  <a:lnTo>
                    <a:pt x="222170" y="555868"/>
                  </a:lnTo>
                  <a:lnTo>
                    <a:pt x="218232" y="556042"/>
                  </a:lnTo>
                  <a:lnTo>
                    <a:pt x="204377" y="558551"/>
                  </a:lnTo>
                  <a:lnTo>
                    <a:pt x="202391" y="555634"/>
                  </a:lnTo>
                  <a:lnTo>
                    <a:pt x="199853" y="555195"/>
                  </a:lnTo>
                  <a:lnTo>
                    <a:pt x="195062" y="555338"/>
                  </a:lnTo>
                  <a:lnTo>
                    <a:pt x="187883" y="554451"/>
                  </a:lnTo>
                  <a:lnTo>
                    <a:pt x="174826" y="555557"/>
                  </a:lnTo>
                  <a:lnTo>
                    <a:pt x="168546" y="556760"/>
                  </a:lnTo>
                  <a:lnTo>
                    <a:pt x="166065" y="557838"/>
                  </a:lnTo>
                  <a:lnTo>
                    <a:pt x="161444" y="557151"/>
                  </a:lnTo>
                  <a:lnTo>
                    <a:pt x="153588" y="558127"/>
                  </a:lnTo>
                  <a:lnTo>
                    <a:pt x="150824" y="559787"/>
                  </a:lnTo>
                  <a:lnTo>
                    <a:pt x="148747" y="561271"/>
                  </a:lnTo>
                  <a:lnTo>
                    <a:pt x="144665" y="567923"/>
                  </a:lnTo>
                  <a:lnTo>
                    <a:pt x="140178" y="570122"/>
                  </a:lnTo>
                  <a:lnTo>
                    <a:pt x="136501" y="570195"/>
                  </a:lnTo>
                  <a:lnTo>
                    <a:pt x="132387" y="570707"/>
                  </a:lnTo>
                  <a:lnTo>
                    <a:pt x="124091" y="577130"/>
                  </a:lnTo>
                  <a:lnTo>
                    <a:pt x="115587" y="583372"/>
                  </a:lnTo>
                  <a:lnTo>
                    <a:pt x="112733" y="584040"/>
                  </a:lnTo>
                  <a:lnTo>
                    <a:pt x="109562" y="585084"/>
                  </a:lnTo>
                  <a:lnTo>
                    <a:pt x="105412" y="585584"/>
                  </a:lnTo>
                  <a:lnTo>
                    <a:pt x="103346" y="586156"/>
                  </a:lnTo>
                  <a:lnTo>
                    <a:pt x="93661" y="584551"/>
                  </a:lnTo>
                  <a:lnTo>
                    <a:pt x="87502" y="584372"/>
                  </a:lnTo>
                  <a:lnTo>
                    <a:pt x="79802" y="583404"/>
                  </a:lnTo>
                  <a:lnTo>
                    <a:pt x="73166" y="580349"/>
                  </a:lnTo>
                  <a:lnTo>
                    <a:pt x="68072" y="578578"/>
                  </a:lnTo>
                  <a:lnTo>
                    <a:pt x="62313" y="571859"/>
                  </a:lnTo>
                  <a:lnTo>
                    <a:pt x="58748" y="569357"/>
                  </a:lnTo>
                  <a:lnTo>
                    <a:pt x="52393" y="566319"/>
                  </a:lnTo>
                  <a:lnTo>
                    <a:pt x="50562" y="566434"/>
                  </a:lnTo>
                  <a:lnTo>
                    <a:pt x="49083" y="567263"/>
                  </a:lnTo>
                  <a:lnTo>
                    <a:pt x="46448" y="565122"/>
                  </a:lnTo>
                  <a:lnTo>
                    <a:pt x="46379" y="562365"/>
                  </a:lnTo>
                  <a:lnTo>
                    <a:pt x="45666" y="560028"/>
                  </a:lnTo>
                  <a:lnTo>
                    <a:pt x="45716" y="553891"/>
                  </a:lnTo>
                  <a:lnTo>
                    <a:pt x="46118" y="546727"/>
                  </a:lnTo>
                  <a:lnTo>
                    <a:pt x="48441" y="548336"/>
                  </a:lnTo>
                  <a:lnTo>
                    <a:pt x="50270" y="549902"/>
                  </a:lnTo>
                  <a:lnTo>
                    <a:pt x="54187" y="549815"/>
                  </a:lnTo>
                  <a:lnTo>
                    <a:pt x="57649" y="547123"/>
                  </a:lnTo>
                  <a:lnTo>
                    <a:pt x="59620" y="543184"/>
                  </a:lnTo>
                  <a:lnTo>
                    <a:pt x="61357" y="538746"/>
                  </a:lnTo>
                  <a:lnTo>
                    <a:pt x="61088" y="534035"/>
                  </a:lnTo>
                  <a:lnTo>
                    <a:pt x="59931" y="525771"/>
                  </a:lnTo>
                  <a:lnTo>
                    <a:pt x="60722" y="524037"/>
                  </a:lnTo>
                  <a:lnTo>
                    <a:pt x="61907" y="523332"/>
                  </a:lnTo>
                  <a:lnTo>
                    <a:pt x="62294" y="519227"/>
                  </a:lnTo>
                  <a:lnTo>
                    <a:pt x="62574" y="506632"/>
                  </a:lnTo>
                  <a:lnTo>
                    <a:pt x="61698" y="501898"/>
                  </a:lnTo>
                  <a:lnTo>
                    <a:pt x="56306" y="492318"/>
                  </a:lnTo>
                  <a:lnTo>
                    <a:pt x="52762" y="484011"/>
                  </a:lnTo>
                  <a:lnTo>
                    <a:pt x="50164" y="480267"/>
                  </a:lnTo>
                  <a:lnTo>
                    <a:pt x="47977" y="474250"/>
                  </a:lnTo>
                  <a:lnTo>
                    <a:pt x="46133" y="465897"/>
                  </a:lnTo>
                  <a:lnTo>
                    <a:pt x="45565" y="461684"/>
                  </a:lnTo>
                  <a:lnTo>
                    <a:pt x="44973" y="453927"/>
                  </a:lnTo>
                  <a:lnTo>
                    <a:pt x="45621" y="449536"/>
                  </a:lnTo>
                  <a:lnTo>
                    <a:pt x="45347" y="446975"/>
                  </a:lnTo>
                  <a:lnTo>
                    <a:pt x="43088" y="439971"/>
                  </a:lnTo>
                  <a:lnTo>
                    <a:pt x="38037" y="433446"/>
                  </a:lnTo>
                  <a:lnTo>
                    <a:pt x="37201" y="431041"/>
                  </a:lnTo>
                  <a:lnTo>
                    <a:pt x="37227" y="428507"/>
                  </a:lnTo>
                  <a:lnTo>
                    <a:pt x="36025" y="425547"/>
                  </a:lnTo>
                  <a:lnTo>
                    <a:pt x="31958" y="419603"/>
                  </a:lnTo>
                  <a:lnTo>
                    <a:pt x="27793" y="414473"/>
                  </a:lnTo>
                  <a:lnTo>
                    <a:pt x="27094" y="411980"/>
                  </a:lnTo>
                  <a:lnTo>
                    <a:pt x="26318" y="401657"/>
                  </a:lnTo>
                  <a:lnTo>
                    <a:pt x="24763" y="396961"/>
                  </a:lnTo>
                  <a:lnTo>
                    <a:pt x="17715" y="385075"/>
                  </a:lnTo>
                  <a:lnTo>
                    <a:pt x="9393" y="374860"/>
                  </a:lnTo>
                  <a:lnTo>
                    <a:pt x="7138" y="370690"/>
                  </a:lnTo>
                  <a:lnTo>
                    <a:pt x="6115" y="369289"/>
                  </a:lnTo>
                  <a:lnTo>
                    <a:pt x="6689" y="369099"/>
                  </a:lnTo>
                  <a:lnTo>
                    <a:pt x="7627" y="369645"/>
                  </a:lnTo>
                  <a:lnTo>
                    <a:pt x="8665" y="370663"/>
                  </a:lnTo>
                  <a:lnTo>
                    <a:pt x="9177" y="370749"/>
                  </a:lnTo>
                  <a:lnTo>
                    <a:pt x="9665" y="369907"/>
                  </a:lnTo>
                  <a:lnTo>
                    <a:pt x="9611" y="367960"/>
                  </a:lnTo>
                  <a:lnTo>
                    <a:pt x="9902" y="366881"/>
                  </a:lnTo>
                  <a:lnTo>
                    <a:pt x="10630" y="367474"/>
                  </a:lnTo>
                  <a:lnTo>
                    <a:pt x="11481" y="369664"/>
                  </a:lnTo>
                  <a:lnTo>
                    <a:pt x="14116" y="375319"/>
                  </a:lnTo>
                  <a:lnTo>
                    <a:pt x="14890" y="378198"/>
                  </a:lnTo>
                  <a:lnTo>
                    <a:pt x="18253" y="379076"/>
                  </a:lnTo>
                  <a:lnTo>
                    <a:pt x="19286" y="378321"/>
                  </a:lnTo>
                  <a:lnTo>
                    <a:pt x="20525" y="376833"/>
                  </a:lnTo>
                  <a:lnTo>
                    <a:pt x="20887" y="372840"/>
                  </a:lnTo>
                  <a:lnTo>
                    <a:pt x="19184" y="371035"/>
                  </a:lnTo>
                  <a:lnTo>
                    <a:pt x="17651" y="370270"/>
                  </a:lnTo>
                  <a:lnTo>
                    <a:pt x="15055" y="367310"/>
                  </a:lnTo>
                  <a:lnTo>
                    <a:pt x="13381" y="362573"/>
                  </a:lnTo>
                  <a:lnTo>
                    <a:pt x="10771" y="358200"/>
                  </a:lnTo>
                  <a:lnTo>
                    <a:pt x="10816" y="356639"/>
                  </a:lnTo>
                  <a:lnTo>
                    <a:pt x="12010" y="355505"/>
                  </a:lnTo>
                  <a:lnTo>
                    <a:pt x="13958" y="356120"/>
                  </a:lnTo>
                  <a:lnTo>
                    <a:pt x="15766" y="358633"/>
                  </a:lnTo>
                  <a:lnTo>
                    <a:pt x="17797" y="360976"/>
                  </a:lnTo>
                  <a:lnTo>
                    <a:pt x="17461" y="365076"/>
                  </a:lnTo>
                  <a:lnTo>
                    <a:pt x="17145" y="366199"/>
                  </a:lnTo>
                  <a:lnTo>
                    <a:pt x="17324" y="367146"/>
                  </a:lnTo>
                  <a:lnTo>
                    <a:pt x="18033" y="368048"/>
                  </a:lnTo>
                  <a:lnTo>
                    <a:pt x="18964" y="368757"/>
                  </a:lnTo>
                  <a:lnTo>
                    <a:pt x="19980" y="367717"/>
                  </a:lnTo>
                  <a:lnTo>
                    <a:pt x="20911" y="365319"/>
                  </a:lnTo>
                  <a:lnTo>
                    <a:pt x="21485" y="365631"/>
                  </a:lnTo>
                  <a:lnTo>
                    <a:pt x="22867" y="371100"/>
                  </a:lnTo>
                  <a:lnTo>
                    <a:pt x="23964" y="372588"/>
                  </a:lnTo>
                  <a:lnTo>
                    <a:pt x="26139" y="374298"/>
                  </a:lnTo>
                  <a:lnTo>
                    <a:pt x="28033" y="372967"/>
                  </a:lnTo>
                  <a:lnTo>
                    <a:pt x="28911" y="371829"/>
                  </a:lnTo>
                  <a:lnTo>
                    <a:pt x="28638" y="367967"/>
                  </a:lnTo>
                  <a:lnTo>
                    <a:pt x="29194" y="364238"/>
                  </a:lnTo>
                  <a:lnTo>
                    <a:pt x="28880" y="361467"/>
                  </a:lnTo>
                  <a:lnTo>
                    <a:pt x="23982" y="354223"/>
                  </a:lnTo>
                  <a:lnTo>
                    <a:pt x="19551" y="345286"/>
                  </a:lnTo>
                  <a:lnTo>
                    <a:pt x="16862" y="340845"/>
                  </a:lnTo>
                  <a:lnTo>
                    <a:pt x="14617" y="334166"/>
                  </a:lnTo>
                  <a:lnTo>
                    <a:pt x="13163" y="331856"/>
                  </a:lnTo>
                  <a:lnTo>
                    <a:pt x="11265" y="328124"/>
                  </a:lnTo>
                  <a:lnTo>
                    <a:pt x="11161" y="323863"/>
                  </a:lnTo>
                  <a:lnTo>
                    <a:pt x="11345" y="321012"/>
                  </a:lnTo>
                  <a:lnTo>
                    <a:pt x="12861" y="314861"/>
                  </a:lnTo>
                  <a:lnTo>
                    <a:pt x="14256" y="311660"/>
                  </a:lnTo>
                  <a:lnTo>
                    <a:pt x="18769" y="304308"/>
                  </a:lnTo>
                  <a:lnTo>
                    <a:pt x="18989" y="301142"/>
                  </a:lnTo>
                  <a:lnTo>
                    <a:pt x="18942" y="298761"/>
                  </a:lnTo>
                  <a:lnTo>
                    <a:pt x="19607" y="295105"/>
                  </a:lnTo>
                  <a:lnTo>
                    <a:pt x="19611" y="292563"/>
                  </a:lnTo>
                  <a:lnTo>
                    <a:pt x="19009" y="290195"/>
                  </a:lnTo>
                  <a:lnTo>
                    <a:pt x="17128" y="286120"/>
                  </a:lnTo>
                  <a:lnTo>
                    <a:pt x="19609" y="279014"/>
                  </a:lnTo>
                  <a:lnTo>
                    <a:pt x="23222" y="269892"/>
                  </a:lnTo>
                  <a:lnTo>
                    <a:pt x="24647" y="268554"/>
                  </a:lnTo>
                  <a:lnTo>
                    <a:pt x="26882" y="267329"/>
                  </a:lnTo>
                  <a:lnTo>
                    <a:pt x="27294" y="269211"/>
                  </a:lnTo>
                  <a:lnTo>
                    <a:pt x="26193" y="275512"/>
                  </a:lnTo>
                  <a:lnTo>
                    <a:pt x="27765" y="278810"/>
                  </a:lnTo>
                  <a:lnTo>
                    <a:pt x="27273" y="282523"/>
                  </a:lnTo>
                  <a:lnTo>
                    <a:pt x="28679" y="281889"/>
                  </a:lnTo>
                  <a:lnTo>
                    <a:pt x="30853" y="281181"/>
                  </a:lnTo>
                  <a:lnTo>
                    <a:pt x="32494" y="279232"/>
                  </a:lnTo>
                  <a:lnTo>
                    <a:pt x="33362" y="277363"/>
                  </a:lnTo>
                  <a:lnTo>
                    <a:pt x="37471" y="269962"/>
                  </a:lnTo>
                  <a:lnTo>
                    <a:pt x="39825" y="267209"/>
                  </a:lnTo>
                  <a:lnTo>
                    <a:pt x="43138" y="265181"/>
                  </a:lnTo>
                  <a:lnTo>
                    <a:pt x="49829" y="262740"/>
                  </a:lnTo>
                  <a:lnTo>
                    <a:pt x="56340" y="259525"/>
                  </a:lnTo>
                  <a:lnTo>
                    <a:pt x="59434" y="256434"/>
                  </a:lnTo>
                  <a:lnTo>
                    <a:pt x="63313" y="253755"/>
                  </a:lnTo>
                  <a:lnTo>
                    <a:pt x="66012" y="250852"/>
                  </a:lnTo>
                  <a:lnTo>
                    <a:pt x="68608" y="248858"/>
                  </a:lnTo>
                  <a:lnTo>
                    <a:pt x="81763" y="241540"/>
                  </a:lnTo>
                  <a:lnTo>
                    <a:pt x="83993" y="240165"/>
                  </a:lnTo>
                  <a:lnTo>
                    <a:pt x="86859" y="240010"/>
                  </a:lnTo>
                  <a:lnTo>
                    <a:pt x="90374" y="240253"/>
                  </a:lnTo>
                  <a:lnTo>
                    <a:pt x="93553" y="239868"/>
                  </a:lnTo>
                  <a:lnTo>
                    <a:pt x="96952" y="241533"/>
                  </a:lnTo>
                  <a:lnTo>
                    <a:pt x="99461" y="241720"/>
                  </a:lnTo>
                  <a:lnTo>
                    <a:pt x="105600" y="239911"/>
                  </a:lnTo>
                  <a:lnTo>
                    <a:pt x="108882" y="238292"/>
                  </a:lnTo>
                  <a:lnTo>
                    <a:pt x="114521" y="234753"/>
                  </a:lnTo>
                  <a:lnTo>
                    <a:pt x="116995" y="233743"/>
                  </a:lnTo>
                  <a:lnTo>
                    <a:pt x="122724" y="232625"/>
                  </a:lnTo>
                  <a:lnTo>
                    <a:pt x="129207" y="231134"/>
                  </a:lnTo>
                  <a:lnTo>
                    <a:pt x="137012" y="224998"/>
                  </a:lnTo>
                  <a:lnTo>
                    <a:pt x="142635" y="225389"/>
                  </a:lnTo>
                  <a:lnTo>
                    <a:pt x="147658" y="225986"/>
                  </a:lnTo>
                  <a:lnTo>
                    <a:pt x="151679" y="224149"/>
                  </a:lnTo>
                  <a:lnTo>
                    <a:pt x="161154" y="223024"/>
                  </a:lnTo>
                  <a:lnTo>
                    <a:pt x="166404" y="221472"/>
                  </a:lnTo>
                  <a:lnTo>
                    <a:pt x="176238" y="217406"/>
                  </a:lnTo>
                  <a:lnTo>
                    <a:pt x="178881" y="216013"/>
                  </a:lnTo>
                  <a:lnTo>
                    <a:pt x="182902" y="213109"/>
                  </a:lnTo>
                  <a:lnTo>
                    <a:pt x="186394" y="209483"/>
                  </a:lnTo>
                  <a:lnTo>
                    <a:pt x="189839" y="204587"/>
                  </a:lnTo>
                  <a:lnTo>
                    <a:pt x="191960" y="200204"/>
                  </a:lnTo>
                  <a:lnTo>
                    <a:pt x="192872" y="197947"/>
                  </a:lnTo>
                  <a:lnTo>
                    <a:pt x="194891" y="194361"/>
                  </a:lnTo>
                  <a:lnTo>
                    <a:pt x="196282" y="191524"/>
                  </a:lnTo>
                  <a:lnTo>
                    <a:pt x="197363" y="190177"/>
                  </a:lnTo>
                  <a:lnTo>
                    <a:pt x="201177" y="188270"/>
                  </a:lnTo>
                  <a:lnTo>
                    <a:pt x="206835" y="182910"/>
                  </a:lnTo>
                  <a:lnTo>
                    <a:pt x="208676" y="181832"/>
                  </a:lnTo>
                  <a:lnTo>
                    <a:pt x="209020" y="180120"/>
                  </a:lnTo>
                  <a:lnTo>
                    <a:pt x="207800" y="179161"/>
                  </a:lnTo>
                  <a:lnTo>
                    <a:pt x="206288" y="178559"/>
                  </a:lnTo>
                  <a:lnTo>
                    <a:pt x="205269" y="172895"/>
                  </a:lnTo>
                  <a:lnTo>
                    <a:pt x="204299" y="168990"/>
                  </a:lnTo>
                  <a:lnTo>
                    <a:pt x="204204" y="166241"/>
                  </a:lnTo>
                  <a:lnTo>
                    <a:pt x="204582" y="163628"/>
                  </a:lnTo>
                  <a:lnTo>
                    <a:pt x="206808" y="159577"/>
                  </a:lnTo>
                  <a:lnTo>
                    <a:pt x="208396" y="157838"/>
                  </a:lnTo>
                  <a:lnTo>
                    <a:pt x="210592" y="155814"/>
                  </a:lnTo>
                  <a:lnTo>
                    <a:pt x="212593" y="155188"/>
                  </a:lnTo>
                  <a:lnTo>
                    <a:pt x="214260" y="153416"/>
                  </a:lnTo>
                  <a:lnTo>
                    <a:pt x="216968" y="151659"/>
                  </a:lnTo>
                  <a:lnTo>
                    <a:pt x="218111" y="149897"/>
                  </a:lnTo>
                  <a:lnTo>
                    <a:pt x="219790" y="146313"/>
                  </a:lnTo>
                  <a:lnTo>
                    <a:pt x="221310" y="143592"/>
                  </a:lnTo>
                  <a:lnTo>
                    <a:pt x="222503" y="143687"/>
                  </a:lnTo>
                  <a:lnTo>
                    <a:pt x="224796" y="150014"/>
                  </a:lnTo>
                  <a:lnTo>
                    <a:pt x="226292" y="153373"/>
                  </a:lnTo>
                  <a:lnTo>
                    <a:pt x="229031" y="157325"/>
                  </a:lnTo>
                  <a:lnTo>
                    <a:pt x="231624" y="163152"/>
                  </a:lnTo>
                  <a:lnTo>
                    <a:pt x="233738" y="165821"/>
                  </a:lnTo>
                  <a:lnTo>
                    <a:pt x="234764" y="167547"/>
                  </a:lnTo>
                  <a:lnTo>
                    <a:pt x="235602" y="168349"/>
                  </a:lnTo>
                  <a:lnTo>
                    <a:pt x="235787" y="167240"/>
                  </a:lnTo>
                  <a:lnTo>
                    <a:pt x="235573" y="165945"/>
                  </a:lnTo>
                  <a:lnTo>
                    <a:pt x="236593" y="161493"/>
                  </a:lnTo>
                  <a:lnTo>
                    <a:pt x="236116" y="158370"/>
                  </a:lnTo>
                  <a:lnTo>
                    <a:pt x="236275" y="157179"/>
                  </a:lnTo>
                  <a:lnTo>
                    <a:pt x="236809" y="156676"/>
                  </a:lnTo>
                  <a:lnTo>
                    <a:pt x="237834" y="157016"/>
                  </a:lnTo>
                  <a:lnTo>
                    <a:pt x="239819" y="158758"/>
                  </a:lnTo>
                  <a:lnTo>
                    <a:pt x="240819" y="159381"/>
                  </a:lnTo>
                  <a:lnTo>
                    <a:pt x="241527" y="159236"/>
                  </a:lnTo>
                  <a:lnTo>
                    <a:pt x="241492" y="156416"/>
                  </a:lnTo>
                  <a:lnTo>
                    <a:pt x="242486" y="154637"/>
                  </a:lnTo>
                  <a:lnTo>
                    <a:pt x="242086" y="153411"/>
                  </a:lnTo>
                  <a:lnTo>
                    <a:pt x="240357" y="153480"/>
                  </a:lnTo>
                  <a:lnTo>
                    <a:pt x="239625" y="151961"/>
                  </a:lnTo>
                  <a:lnTo>
                    <a:pt x="238197" y="150203"/>
                  </a:lnTo>
                  <a:lnTo>
                    <a:pt x="236575" y="148940"/>
                  </a:lnTo>
                  <a:lnTo>
                    <a:pt x="234604" y="146047"/>
                  </a:lnTo>
                  <a:lnTo>
                    <a:pt x="233995" y="144911"/>
                  </a:lnTo>
                  <a:lnTo>
                    <a:pt x="234762" y="144386"/>
                  </a:lnTo>
                  <a:lnTo>
                    <a:pt x="236006" y="144461"/>
                  </a:lnTo>
                  <a:lnTo>
                    <a:pt x="236992" y="143221"/>
                  </a:lnTo>
                  <a:lnTo>
                    <a:pt x="237446" y="141559"/>
                  </a:lnTo>
                  <a:lnTo>
                    <a:pt x="236573" y="138857"/>
                  </a:lnTo>
                  <a:lnTo>
                    <a:pt x="237468" y="137855"/>
                  </a:lnTo>
                  <a:lnTo>
                    <a:pt x="239268" y="138141"/>
                  </a:lnTo>
                  <a:lnTo>
                    <a:pt x="242149" y="142450"/>
                  </a:lnTo>
                  <a:lnTo>
                    <a:pt x="243388" y="142024"/>
                  </a:lnTo>
                  <a:lnTo>
                    <a:pt x="244407" y="140284"/>
                  </a:lnTo>
                  <a:lnTo>
                    <a:pt x="246245" y="139786"/>
                  </a:lnTo>
                  <a:lnTo>
                    <a:pt x="248133" y="140100"/>
                  </a:lnTo>
                  <a:lnTo>
                    <a:pt x="249376" y="141344"/>
                  </a:lnTo>
                  <a:lnTo>
                    <a:pt x="251905" y="142585"/>
                  </a:lnTo>
                  <a:lnTo>
                    <a:pt x="255273" y="142443"/>
                  </a:lnTo>
                  <a:lnTo>
                    <a:pt x="256982" y="142742"/>
                  </a:lnTo>
                  <a:lnTo>
                    <a:pt x="260573" y="142537"/>
                  </a:lnTo>
                  <a:lnTo>
                    <a:pt x="262333" y="142911"/>
                  </a:lnTo>
                  <a:lnTo>
                    <a:pt x="262002" y="142246"/>
                  </a:lnTo>
                  <a:lnTo>
                    <a:pt x="260061" y="141461"/>
                  </a:lnTo>
                  <a:lnTo>
                    <a:pt x="257873" y="141304"/>
                  </a:lnTo>
                  <a:lnTo>
                    <a:pt x="255312" y="141381"/>
                  </a:lnTo>
                  <a:lnTo>
                    <a:pt x="254215" y="140557"/>
                  </a:lnTo>
                  <a:lnTo>
                    <a:pt x="253848" y="138381"/>
                  </a:lnTo>
                  <a:lnTo>
                    <a:pt x="254470" y="136803"/>
                  </a:lnTo>
                  <a:lnTo>
                    <a:pt x="254872" y="136130"/>
                  </a:lnTo>
                  <a:lnTo>
                    <a:pt x="256539" y="136413"/>
                  </a:lnTo>
                  <a:lnTo>
                    <a:pt x="258018" y="136353"/>
                  </a:lnTo>
                  <a:lnTo>
                    <a:pt x="258200" y="134231"/>
                  </a:lnTo>
                  <a:lnTo>
                    <a:pt x="258720" y="132358"/>
                  </a:lnTo>
                  <a:lnTo>
                    <a:pt x="259603" y="130833"/>
                  </a:lnTo>
                  <a:lnTo>
                    <a:pt x="259599" y="129365"/>
                  </a:lnTo>
                  <a:lnTo>
                    <a:pt x="258677" y="129755"/>
                  </a:lnTo>
                  <a:lnTo>
                    <a:pt x="256414" y="133151"/>
                  </a:lnTo>
                  <a:lnTo>
                    <a:pt x="255330" y="130388"/>
                  </a:lnTo>
                  <a:lnTo>
                    <a:pt x="253701" y="128294"/>
                  </a:lnTo>
                  <a:lnTo>
                    <a:pt x="254032" y="125297"/>
                  </a:lnTo>
                  <a:lnTo>
                    <a:pt x="254982" y="122300"/>
                  </a:lnTo>
                  <a:lnTo>
                    <a:pt x="256444" y="121889"/>
                  </a:lnTo>
                  <a:lnTo>
                    <a:pt x="257682" y="122362"/>
                  </a:lnTo>
                  <a:lnTo>
                    <a:pt x="259510" y="120609"/>
                  </a:lnTo>
                  <a:lnTo>
                    <a:pt x="260541" y="119270"/>
                  </a:lnTo>
                  <a:lnTo>
                    <a:pt x="260303" y="118169"/>
                  </a:lnTo>
                  <a:lnTo>
                    <a:pt x="260577" y="117323"/>
                  </a:lnTo>
                  <a:lnTo>
                    <a:pt x="261858" y="117586"/>
                  </a:lnTo>
                  <a:lnTo>
                    <a:pt x="266757" y="120280"/>
                  </a:lnTo>
                  <a:lnTo>
                    <a:pt x="267738" y="121688"/>
                  </a:lnTo>
                  <a:lnTo>
                    <a:pt x="268768" y="121140"/>
                  </a:lnTo>
                  <a:lnTo>
                    <a:pt x="269098" y="119606"/>
                  </a:lnTo>
                  <a:lnTo>
                    <a:pt x="268988" y="118072"/>
                  </a:lnTo>
                  <a:lnTo>
                    <a:pt x="267906" y="118304"/>
                  </a:lnTo>
                  <a:lnTo>
                    <a:pt x="265367" y="118147"/>
                  </a:lnTo>
                  <a:lnTo>
                    <a:pt x="264781" y="117285"/>
                  </a:lnTo>
                  <a:lnTo>
                    <a:pt x="265002" y="116574"/>
                  </a:lnTo>
                  <a:lnTo>
                    <a:pt x="263816" y="114769"/>
                  </a:lnTo>
                  <a:lnTo>
                    <a:pt x="265477" y="113621"/>
                  </a:lnTo>
                  <a:lnTo>
                    <a:pt x="266905" y="113546"/>
                  </a:lnTo>
                  <a:lnTo>
                    <a:pt x="267891" y="112760"/>
                  </a:lnTo>
                  <a:lnTo>
                    <a:pt x="267906" y="111686"/>
                  </a:lnTo>
                  <a:lnTo>
                    <a:pt x="268219" y="111228"/>
                  </a:lnTo>
                  <a:lnTo>
                    <a:pt x="268988" y="111866"/>
                  </a:lnTo>
                  <a:lnTo>
                    <a:pt x="271547" y="112161"/>
                  </a:lnTo>
                  <a:lnTo>
                    <a:pt x="274061" y="113550"/>
                  </a:lnTo>
                  <a:lnTo>
                    <a:pt x="275240" y="113844"/>
                  </a:lnTo>
                  <a:lnTo>
                    <a:pt x="275680" y="113098"/>
                  </a:lnTo>
                  <a:lnTo>
                    <a:pt x="275861" y="111488"/>
                  </a:lnTo>
                  <a:lnTo>
                    <a:pt x="272754" y="109881"/>
                  </a:lnTo>
                  <a:lnTo>
                    <a:pt x="272670" y="108301"/>
                  </a:lnTo>
                  <a:lnTo>
                    <a:pt x="271363" y="106480"/>
                  </a:lnTo>
                  <a:lnTo>
                    <a:pt x="271327" y="104689"/>
                  </a:lnTo>
                  <a:lnTo>
                    <a:pt x="273268" y="103191"/>
                  </a:lnTo>
                  <a:lnTo>
                    <a:pt x="273668" y="101738"/>
                  </a:lnTo>
                  <a:lnTo>
                    <a:pt x="274792" y="101147"/>
                  </a:lnTo>
                  <a:lnTo>
                    <a:pt x="277014" y="101123"/>
                  </a:lnTo>
                  <a:lnTo>
                    <a:pt x="278513" y="99891"/>
                  </a:lnTo>
                  <a:lnTo>
                    <a:pt x="280195" y="99461"/>
                  </a:lnTo>
                  <a:lnTo>
                    <a:pt x="280605" y="96717"/>
                  </a:lnTo>
                  <a:lnTo>
                    <a:pt x="280577" y="94833"/>
                  </a:lnTo>
                  <a:lnTo>
                    <a:pt x="281256" y="94348"/>
                  </a:lnTo>
                  <a:lnTo>
                    <a:pt x="282955" y="95133"/>
                  </a:lnTo>
                  <a:lnTo>
                    <a:pt x="282438" y="97312"/>
                  </a:lnTo>
                  <a:lnTo>
                    <a:pt x="282432" y="99392"/>
                  </a:lnTo>
                  <a:lnTo>
                    <a:pt x="282004" y="100506"/>
                  </a:lnTo>
                  <a:lnTo>
                    <a:pt x="282644" y="100413"/>
                  </a:lnTo>
                  <a:lnTo>
                    <a:pt x="283039" y="99950"/>
                  </a:lnTo>
                  <a:lnTo>
                    <a:pt x="283704" y="98583"/>
                  </a:lnTo>
                  <a:lnTo>
                    <a:pt x="285496" y="99143"/>
                  </a:lnTo>
                  <a:lnTo>
                    <a:pt x="285939" y="100605"/>
                  </a:lnTo>
                  <a:lnTo>
                    <a:pt x="286172" y="102036"/>
                  </a:lnTo>
                  <a:lnTo>
                    <a:pt x="287068" y="102503"/>
                  </a:lnTo>
                  <a:lnTo>
                    <a:pt x="288295" y="100301"/>
                  </a:lnTo>
                  <a:lnTo>
                    <a:pt x="289945" y="99717"/>
                  </a:lnTo>
                  <a:lnTo>
                    <a:pt x="289854" y="96935"/>
                  </a:lnTo>
                  <a:lnTo>
                    <a:pt x="290478" y="94943"/>
                  </a:lnTo>
                  <a:lnTo>
                    <a:pt x="290672" y="93448"/>
                  </a:lnTo>
                  <a:lnTo>
                    <a:pt x="291718" y="92719"/>
                  </a:lnTo>
                  <a:lnTo>
                    <a:pt x="291949" y="91133"/>
                  </a:lnTo>
                  <a:lnTo>
                    <a:pt x="291111" y="90039"/>
                  </a:lnTo>
                  <a:lnTo>
                    <a:pt x="290679" y="88048"/>
                  </a:lnTo>
                  <a:lnTo>
                    <a:pt x="292119" y="87608"/>
                  </a:lnTo>
                  <a:lnTo>
                    <a:pt x="293562" y="88608"/>
                  </a:lnTo>
                  <a:lnTo>
                    <a:pt x="294533" y="91118"/>
                  </a:lnTo>
                  <a:lnTo>
                    <a:pt x="295203" y="92249"/>
                  </a:lnTo>
                  <a:lnTo>
                    <a:pt x="296095" y="91633"/>
                  </a:lnTo>
                  <a:lnTo>
                    <a:pt x="296630" y="89961"/>
                  </a:lnTo>
                  <a:lnTo>
                    <a:pt x="298401" y="88988"/>
                  </a:lnTo>
                  <a:lnTo>
                    <a:pt x="300154" y="90340"/>
                  </a:lnTo>
                  <a:lnTo>
                    <a:pt x="302085" y="92190"/>
                  </a:lnTo>
                  <a:lnTo>
                    <a:pt x="304503" y="90576"/>
                  </a:lnTo>
                  <a:lnTo>
                    <a:pt x="306749" y="87551"/>
                  </a:lnTo>
                  <a:lnTo>
                    <a:pt x="306390" y="85700"/>
                  </a:lnTo>
                  <a:lnTo>
                    <a:pt x="306637" y="83795"/>
                  </a:lnTo>
                  <a:lnTo>
                    <a:pt x="309459" y="82796"/>
                  </a:lnTo>
                  <a:lnTo>
                    <a:pt x="311733" y="83531"/>
                  </a:lnTo>
                  <a:lnTo>
                    <a:pt x="313793" y="85573"/>
                  </a:lnTo>
                  <a:lnTo>
                    <a:pt x="318080" y="87091"/>
                  </a:lnTo>
                  <a:lnTo>
                    <a:pt x="321718" y="89270"/>
                  </a:lnTo>
                  <a:lnTo>
                    <a:pt x="323341" y="90695"/>
                  </a:lnTo>
                  <a:lnTo>
                    <a:pt x="326477" y="92961"/>
                  </a:lnTo>
                  <a:lnTo>
                    <a:pt x="328481" y="95313"/>
                  </a:lnTo>
                  <a:lnTo>
                    <a:pt x="331225" y="99505"/>
                  </a:lnTo>
                  <a:lnTo>
                    <a:pt x="337702" y="104618"/>
                  </a:lnTo>
                  <a:lnTo>
                    <a:pt x="338120" y="105525"/>
                  </a:lnTo>
                  <a:lnTo>
                    <a:pt x="337246" y="107233"/>
                  </a:lnTo>
                  <a:lnTo>
                    <a:pt x="336462" y="109420"/>
                  </a:lnTo>
                  <a:lnTo>
                    <a:pt x="335490" y="113124"/>
                  </a:lnTo>
                  <a:lnTo>
                    <a:pt x="335246" y="118583"/>
                  </a:lnTo>
                  <a:lnTo>
                    <a:pt x="336182" y="118192"/>
                  </a:lnTo>
                  <a:lnTo>
                    <a:pt x="337149" y="116236"/>
                  </a:lnTo>
                  <a:lnTo>
                    <a:pt x="338172" y="116638"/>
                  </a:lnTo>
                  <a:lnTo>
                    <a:pt x="339343" y="117887"/>
                  </a:lnTo>
                  <a:lnTo>
                    <a:pt x="339438" y="116689"/>
                  </a:lnTo>
                  <a:lnTo>
                    <a:pt x="338737" y="115965"/>
                  </a:lnTo>
                  <a:lnTo>
                    <a:pt x="337535" y="113446"/>
                  </a:lnTo>
                  <a:lnTo>
                    <a:pt x="337581" y="112111"/>
                  </a:lnTo>
                  <a:lnTo>
                    <a:pt x="338539" y="111038"/>
                  </a:lnTo>
                  <a:lnTo>
                    <a:pt x="340016" y="109753"/>
                  </a:lnTo>
                  <a:lnTo>
                    <a:pt x="341632" y="108912"/>
                  </a:lnTo>
                  <a:lnTo>
                    <a:pt x="342627" y="108177"/>
                  </a:lnTo>
                  <a:lnTo>
                    <a:pt x="342774" y="107268"/>
                  </a:lnTo>
                  <a:lnTo>
                    <a:pt x="344269" y="106343"/>
                  </a:lnTo>
                  <a:lnTo>
                    <a:pt x="346442" y="106039"/>
                  </a:lnTo>
                  <a:lnTo>
                    <a:pt x="347765" y="106185"/>
                  </a:lnTo>
                  <a:lnTo>
                    <a:pt x="357110" y="108521"/>
                  </a:lnTo>
                  <a:lnTo>
                    <a:pt x="359475" y="110854"/>
                  </a:lnTo>
                  <a:lnTo>
                    <a:pt x="359697" y="113736"/>
                  </a:lnTo>
                  <a:lnTo>
                    <a:pt x="360596" y="114758"/>
                  </a:lnTo>
                  <a:lnTo>
                    <a:pt x="361083" y="112947"/>
                  </a:lnTo>
                  <a:lnTo>
                    <a:pt x="360989" y="109011"/>
                  </a:lnTo>
                  <a:lnTo>
                    <a:pt x="361740" y="108230"/>
                  </a:lnTo>
                  <a:lnTo>
                    <a:pt x="364254" y="108839"/>
                  </a:lnTo>
                  <a:lnTo>
                    <a:pt x="365972" y="109625"/>
                  </a:lnTo>
                  <a:lnTo>
                    <a:pt x="368363" y="112205"/>
                  </a:lnTo>
                  <a:lnTo>
                    <a:pt x="368818" y="113471"/>
                  </a:lnTo>
                  <a:lnTo>
                    <a:pt x="369859" y="114294"/>
                  </a:lnTo>
                  <a:lnTo>
                    <a:pt x="370203" y="113098"/>
                  </a:lnTo>
                  <a:lnTo>
                    <a:pt x="369715" y="111402"/>
                  </a:lnTo>
                  <a:lnTo>
                    <a:pt x="369371" y="109459"/>
                  </a:lnTo>
                  <a:lnTo>
                    <a:pt x="369911" y="107767"/>
                  </a:lnTo>
                  <a:lnTo>
                    <a:pt x="372705" y="107632"/>
                  </a:lnTo>
                  <a:lnTo>
                    <a:pt x="374590" y="107268"/>
                  </a:lnTo>
                  <a:lnTo>
                    <a:pt x="373699" y="106608"/>
                  </a:lnTo>
                  <a:lnTo>
                    <a:pt x="372485" y="106379"/>
                  </a:lnTo>
                  <a:lnTo>
                    <a:pt x="370483" y="104828"/>
                  </a:lnTo>
                  <a:lnTo>
                    <a:pt x="369194" y="103161"/>
                  </a:lnTo>
                  <a:lnTo>
                    <a:pt x="371272" y="101540"/>
                  </a:lnTo>
                  <a:lnTo>
                    <a:pt x="371256" y="101136"/>
                  </a:lnTo>
                  <a:lnTo>
                    <a:pt x="369266" y="101187"/>
                  </a:lnTo>
                  <a:lnTo>
                    <a:pt x="366523" y="99609"/>
                  </a:lnTo>
                  <a:lnTo>
                    <a:pt x="364198" y="97413"/>
                  </a:lnTo>
                  <a:lnTo>
                    <a:pt x="365977" y="93375"/>
                  </a:lnTo>
                  <a:lnTo>
                    <a:pt x="369525" y="89427"/>
                  </a:lnTo>
                  <a:lnTo>
                    <a:pt x="371520" y="88110"/>
                  </a:lnTo>
                  <a:lnTo>
                    <a:pt x="371707" y="86778"/>
                  </a:lnTo>
                  <a:lnTo>
                    <a:pt x="372666" y="84323"/>
                  </a:lnTo>
                  <a:lnTo>
                    <a:pt x="373276" y="82250"/>
                  </a:lnTo>
                  <a:lnTo>
                    <a:pt x="373450" y="80640"/>
                  </a:lnTo>
                  <a:lnTo>
                    <a:pt x="374372" y="78941"/>
                  </a:lnTo>
                  <a:lnTo>
                    <a:pt x="376562" y="77336"/>
                  </a:lnTo>
                  <a:lnTo>
                    <a:pt x="379542" y="76762"/>
                  </a:lnTo>
                  <a:lnTo>
                    <a:pt x="380941" y="76136"/>
                  </a:lnTo>
                  <a:lnTo>
                    <a:pt x="382342" y="74656"/>
                  </a:lnTo>
                  <a:lnTo>
                    <a:pt x="383680" y="72848"/>
                  </a:lnTo>
                  <a:lnTo>
                    <a:pt x="380920" y="69322"/>
                  </a:lnTo>
                  <a:lnTo>
                    <a:pt x="381149" y="67381"/>
                  </a:lnTo>
                  <a:lnTo>
                    <a:pt x="381654" y="65093"/>
                  </a:lnTo>
                  <a:lnTo>
                    <a:pt x="384966" y="63419"/>
                  </a:lnTo>
                  <a:lnTo>
                    <a:pt x="386778" y="59037"/>
                  </a:lnTo>
                  <a:lnTo>
                    <a:pt x="387979" y="58379"/>
                  </a:lnTo>
                  <a:lnTo>
                    <a:pt x="390581" y="58508"/>
                  </a:lnTo>
                  <a:lnTo>
                    <a:pt x="391589" y="58115"/>
                  </a:lnTo>
                  <a:lnTo>
                    <a:pt x="391414" y="54621"/>
                  </a:lnTo>
                  <a:lnTo>
                    <a:pt x="391704" y="53269"/>
                  </a:lnTo>
                  <a:lnTo>
                    <a:pt x="392803" y="52727"/>
                  </a:lnTo>
                  <a:lnTo>
                    <a:pt x="394213" y="53194"/>
                  </a:lnTo>
                  <a:lnTo>
                    <a:pt x="395107" y="54711"/>
                  </a:lnTo>
                  <a:lnTo>
                    <a:pt x="397115" y="56115"/>
                  </a:lnTo>
                  <a:lnTo>
                    <a:pt x="397797" y="55347"/>
                  </a:lnTo>
                  <a:lnTo>
                    <a:pt x="397458" y="53808"/>
                  </a:lnTo>
                  <a:lnTo>
                    <a:pt x="397258" y="51835"/>
                  </a:lnTo>
                  <a:lnTo>
                    <a:pt x="399089" y="51410"/>
                  </a:lnTo>
                  <a:lnTo>
                    <a:pt x="400565" y="51289"/>
                  </a:lnTo>
                  <a:lnTo>
                    <a:pt x="400713" y="49678"/>
                  </a:lnTo>
                  <a:lnTo>
                    <a:pt x="400479" y="48394"/>
                  </a:lnTo>
                  <a:lnTo>
                    <a:pt x="401058" y="47851"/>
                  </a:lnTo>
                  <a:lnTo>
                    <a:pt x="404911" y="47588"/>
                  </a:lnTo>
                  <a:lnTo>
                    <a:pt x="405917" y="46267"/>
                  </a:lnTo>
                  <a:lnTo>
                    <a:pt x="406495" y="45119"/>
                  </a:lnTo>
                  <a:lnTo>
                    <a:pt x="406985" y="45748"/>
                  </a:lnTo>
                  <a:lnTo>
                    <a:pt x="407612" y="48309"/>
                  </a:lnTo>
                  <a:lnTo>
                    <a:pt x="409738" y="49810"/>
                  </a:lnTo>
                  <a:lnTo>
                    <a:pt x="416107" y="49836"/>
                  </a:lnTo>
                  <a:lnTo>
                    <a:pt x="419683" y="48800"/>
                  </a:lnTo>
                  <a:lnTo>
                    <a:pt x="421203" y="49413"/>
                  </a:lnTo>
                  <a:lnTo>
                    <a:pt x="423576" y="49895"/>
                  </a:lnTo>
                  <a:lnTo>
                    <a:pt x="426191" y="48688"/>
                  </a:lnTo>
                  <a:lnTo>
                    <a:pt x="427759" y="47770"/>
                  </a:lnTo>
                  <a:lnTo>
                    <a:pt x="430387" y="48962"/>
                  </a:lnTo>
                  <a:lnTo>
                    <a:pt x="431249" y="50217"/>
                  </a:lnTo>
                  <a:lnTo>
                    <a:pt x="431925" y="47553"/>
                  </a:lnTo>
                  <a:lnTo>
                    <a:pt x="433449" y="46622"/>
                  </a:lnTo>
                  <a:lnTo>
                    <a:pt x="435068" y="46070"/>
                  </a:lnTo>
                  <a:lnTo>
                    <a:pt x="437115" y="46515"/>
                  </a:lnTo>
                  <a:lnTo>
                    <a:pt x="437921" y="46366"/>
                  </a:lnTo>
                  <a:lnTo>
                    <a:pt x="436100" y="44385"/>
                  </a:lnTo>
                  <a:lnTo>
                    <a:pt x="436207" y="42581"/>
                  </a:lnTo>
                  <a:lnTo>
                    <a:pt x="436088" y="39916"/>
                  </a:lnTo>
                  <a:lnTo>
                    <a:pt x="436416" y="37480"/>
                  </a:lnTo>
                  <a:lnTo>
                    <a:pt x="437068" y="35729"/>
                  </a:lnTo>
                  <a:lnTo>
                    <a:pt x="432667" y="32200"/>
                  </a:lnTo>
                  <a:lnTo>
                    <a:pt x="428305" y="31666"/>
                  </a:lnTo>
                  <a:lnTo>
                    <a:pt x="425113" y="32406"/>
                  </a:lnTo>
                  <a:lnTo>
                    <a:pt x="423770" y="31824"/>
                  </a:lnTo>
                  <a:lnTo>
                    <a:pt x="420935" y="28998"/>
                  </a:lnTo>
                  <a:lnTo>
                    <a:pt x="418234" y="27966"/>
                  </a:lnTo>
                  <a:lnTo>
                    <a:pt x="417998" y="27271"/>
                  </a:lnTo>
                  <a:lnTo>
                    <a:pt x="421309" y="25244"/>
                  </a:lnTo>
                  <a:lnTo>
                    <a:pt x="422570" y="25592"/>
                  </a:lnTo>
                  <a:lnTo>
                    <a:pt x="424498" y="27489"/>
                  </a:lnTo>
                  <a:lnTo>
                    <a:pt x="425597" y="28161"/>
                  </a:lnTo>
                  <a:lnTo>
                    <a:pt x="426532" y="28023"/>
                  </a:lnTo>
                  <a:lnTo>
                    <a:pt x="427135" y="26541"/>
                  </a:lnTo>
                  <a:lnTo>
                    <a:pt x="427968" y="25762"/>
                  </a:lnTo>
                  <a:lnTo>
                    <a:pt x="429545" y="26199"/>
                  </a:lnTo>
                  <a:lnTo>
                    <a:pt x="434483" y="29409"/>
                  </a:lnTo>
                  <a:lnTo>
                    <a:pt x="437258" y="32515"/>
                  </a:lnTo>
                  <a:lnTo>
                    <a:pt x="438679" y="31695"/>
                  </a:lnTo>
                  <a:lnTo>
                    <a:pt x="441112" y="29952"/>
                  </a:lnTo>
                  <a:lnTo>
                    <a:pt x="443410" y="30315"/>
                  </a:lnTo>
                  <a:lnTo>
                    <a:pt x="444822" y="31334"/>
                  </a:lnTo>
                  <a:lnTo>
                    <a:pt x="446801" y="35119"/>
                  </a:lnTo>
                  <a:lnTo>
                    <a:pt x="448368" y="36998"/>
                  </a:lnTo>
                  <a:lnTo>
                    <a:pt x="452147" y="37504"/>
                  </a:lnTo>
                  <a:lnTo>
                    <a:pt x="454071" y="38224"/>
                  </a:lnTo>
                  <a:lnTo>
                    <a:pt x="456062" y="39476"/>
                  </a:lnTo>
                  <a:lnTo>
                    <a:pt x="458744" y="39366"/>
                  </a:lnTo>
                  <a:lnTo>
                    <a:pt x="464265" y="39831"/>
                  </a:lnTo>
                  <a:lnTo>
                    <a:pt x="469467" y="42255"/>
                  </a:lnTo>
                  <a:lnTo>
                    <a:pt x="471627" y="43770"/>
                  </a:lnTo>
                  <a:lnTo>
                    <a:pt x="474147" y="44175"/>
                  </a:lnTo>
                  <a:lnTo>
                    <a:pt x="475613" y="44780"/>
                  </a:lnTo>
                  <a:lnTo>
                    <a:pt x="478282" y="44962"/>
                  </a:lnTo>
                  <a:lnTo>
                    <a:pt x="482532" y="43246"/>
                  </a:lnTo>
                  <a:lnTo>
                    <a:pt x="484436" y="44824"/>
                  </a:lnTo>
                  <a:lnTo>
                    <a:pt x="485283" y="45897"/>
                  </a:lnTo>
                  <a:lnTo>
                    <a:pt x="489153" y="47943"/>
                  </a:lnTo>
                  <a:lnTo>
                    <a:pt x="493316" y="48570"/>
                  </a:lnTo>
                  <a:lnTo>
                    <a:pt x="496287" y="46495"/>
                  </a:lnTo>
                  <a:lnTo>
                    <a:pt x="500630" y="44957"/>
                  </a:lnTo>
                  <a:lnTo>
                    <a:pt x="503655" y="42614"/>
                  </a:lnTo>
                  <a:lnTo>
                    <a:pt x="505931" y="41512"/>
                  </a:lnTo>
                  <a:lnTo>
                    <a:pt x="508070" y="39599"/>
                  </a:lnTo>
                  <a:lnTo>
                    <a:pt x="508894" y="39691"/>
                  </a:lnTo>
                  <a:lnTo>
                    <a:pt x="507149" y="41477"/>
                  </a:lnTo>
                  <a:lnTo>
                    <a:pt x="506937" y="42491"/>
                  </a:lnTo>
                  <a:lnTo>
                    <a:pt x="508304" y="42914"/>
                  </a:lnTo>
                  <a:lnTo>
                    <a:pt x="508163" y="43435"/>
                  </a:lnTo>
                  <a:lnTo>
                    <a:pt x="506281" y="44825"/>
                  </a:lnTo>
                  <a:lnTo>
                    <a:pt x="504030" y="46997"/>
                  </a:lnTo>
                  <a:lnTo>
                    <a:pt x="504071" y="48305"/>
                  </a:lnTo>
                  <a:lnTo>
                    <a:pt x="504946" y="49019"/>
                  </a:lnTo>
                  <a:lnTo>
                    <a:pt x="505982" y="48701"/>
                  </a:lnTo>
                  <a:lnTo>
                    <a:pt x="507455" y="47601"/>
                  </a:lnTo>
                  <a:lnTo>
                    <a:pt x="509232" y="47009"/>
                  </a:lnTo>
                  <a:lnTo>
                    <a:pt x="510796" y="47890"/>
                  </a:lnTo>
                  <a:lnTo>
                    <a:pt x="511304" y="51020"/>
                  </a:lnTo>
                  <a:lnTo>
                    <a:pt x="512417" y="53076"/>
                  </a:lnTo>
                  <a:lnTo>
                    <a:pt x="514868" y="53361"/>
                  </a:lnTo>
                  <a:lnTo>
                    <a:pt x="516371" y="53330"/>
                  </a:lnTo>
                  <a:lnTo>
                    <a:pt x="517872" y="50452"/>
                  </a:lnTo>
                  <a:lnTo>
                    <a:pt x="517063" y="48002"/>
                  </a:lnTo>
                  <a:lnTo>
                    <a:pt x="516134" y="47478"/>
                  </a:lnTo>
                  <a:lnTo>
                    <a:pt x="516581" y="46549"/>
                  </a:lnTo>
                  <a:lnTo>
                    <a:pt x="520412" y="42509"/>
                  </a:lnTo>
                  <a:lnTo>
                    <a:pt x="522554" y="42647"/>
                  </a:lnTo>
                  <a:lnTo>
                    <a:pt x="524091" y="46593"/>
                  </a:lnTo>
                  <a:lnTo>
                    <a:pt x="526517" y="48677"/>
                  </a:lnTo>
                  <a:lnTo>
                    <a:pt x="529103" y="48513"/>
                  </a:lnTo>
                  <a:lnTo>
                    <a:pt x="530453" y="49060"/>
                  </a:lnTo>
                  <a:lnTo>
                    <a:pt x="531558" y="51447"/>
                  </a:lnTo>
                  <a:lnTo>
                    <a:pt x="522483" y="61202"/>
                  </a:lnTo>
                  <a:lnTo>
                    <a:pt x="522057" y="62293"/>
                  </a:lnTo>
                  <a:lnTo>
                    <a:pt x="523280" y="64064"/>
                  </a:lnTo>
                  <a:lnTo>
                    <a:pt x="523750" y="66136"/>
                  </a:lnTo>
                  <a:lnTo>
                    <a:pt x="520802" y="71115"/>
                  </a:lnTo>
                  <a:lnTo>
                    <a:pt x="519716" y="71361"/>
                  </a:lnTo>
                  <a:lnTo>
                    <a:pt x="518669" y="70016"/>
                  </a:lnTo>
                  <a:lnTo>
                    <a:pt x="517112" y="69153"/>
                  </a:lnTo>
                  <a:lnTo>
                    <a:pt x="515745" y="69759"/>
                  </a:lnTo>
                  <a:lnTo>
                    <a:pt x="514281" y="70122"/>
                  </a:lnTo>
                  <a:lnTo>
                    <a:pt x="509001" y="72894"/>
                  </a:lnTo>
                  <a:lnTo>
                    <a:pt x="509042" y="80036"/>
                  </a:lnTo>
                  <a:lnTo>
                    <a:pt x="510376" y="84283"/>
                  </a:lnTo>
                  <a:lnTo>
                    <a:pt x="509602" y="87093"/>
                  </a:lnTo>
                  <a:lnTo>
                    <a:pt x="508029" y="92014"/>
                  </a:lnTo>
                  <a:lnTo>
                    <a:pt x="506326" y="93842"/>
                  </a:lnTo>
                  <a:lnTo>
                    <a:pt x="504959" y="95025"/>
                  </a:lnTo>
                  <a:lnTo>
                    <a:pt x="500411" y="101758"/>
                  </a:lnTo>
                  <a:lnTo>
                    <a:pt x="498960" y="103377"/>
                  </a:lnTo>
                  <a:lnTo>
                    <a:pt x="497456" y="105671"/>
                  </a:lnTo>
                  <a:lnTo>
                    <a:pt x="497960" y="107872"/>
                  </a:lnTo>
                  <a:lnTo>
                    <a:pt x="498520" y="109397"/>
                  </a:lnTo>
                  <a:lnTo>
                    <a:pt x="500232" y="111144"/>
                  </a:lnTo>
                  <a:lnTo>
                    <a:pt x="506907" y="114756"/>
                  </a:lnTo>
                  <a:lnTo>
                    <a:pt x="509935" y="117246"/>
                  </a:lnTo>
                  <a:lnTo>
                    <a:pt x="515149" y="120260"/>
                  </a:lnTo>
                  <a:lnTo>
                    <a:pt x="516341" y="122338"/>
                  </a:lnTo>
                  <a:lnTo>
                    <a:pt x="517052" y="124034"/>
                  </a:lnTo>
                  <a:lnTo>
                    <a:pt x="520822" y="125962"/>
                  </a:lnTo>
                  <a:lnTo>
                    <a:pt x="523513" y="127124"/>
                  </a:lnTo>
                  <a:lnTo>
                    <a:pt x="524290" y="126825"/>
                  </a:lnTo>
                  <a:lnTo>
                    <a:pt x="524852" y="126423"/>
                  </a:lnTo>
                  <a:lnTo>
                    <a:pt x="525525" y="126418"/>
                  </a:lnTo>
                  <a:lnTo>
                    <a:pt x="526195" y="126642"/>
                  </a:lnTo>
                  <a:lnTo>
                    <a:pt x="526089" y="128153"/>
                  </a:lnTo>
                  <a:lnTo>
                    <a:pt x="525793" y="128980"/>
                  </a:lnTo>
                  <a:lnTo>
                    <a:pt x="526045" y="130034"/>
                  </a:lnTo>
                  <a:lnTo>
                    <a:pt x="527959" y="131378"/>
                  </a:lnTo>
                  <a:lnTo>
                    <a:pt x="531010" y="131335"/>
                  </a:lnTo>
                  <a:lnTo>
                    <a:pt x="532767" y="131017"/>
                  </a:lnTo>
                  <a:lnTo>
                    <a:pt x="534707" y="132445"/>
                  </a:lnTo>
                  <a:lnTo>
                    <a:pt x="536456" y="133370"/>
                  </a:lnTo>
                  <a:lnTo>
                    <a:pt x="539338" y="135279"/>
                  </a:lnTo>
                  <a:lnTo>
                    <a:pt x="544359" y="137565"/>
                  </a:lnTo>
                  <a:lnTo>
                    <a:pt x="548280" y="139061"/>
                  </a:lnTo>
                  <a:lnTo>
                    <a:pt x="552906" y="144590"/>
                  </a:lnTo>
                  <a:lnTo>
                    <a:pt x="556415" y="147780"/>
                  </a:lnTo>
                  <a:lnTo>
                    <a:pt x="560250" y="150083"/>
                  </a:lnTo>
                  <a:lnTo>
                    <a:pt x="566013" y="151701"/>
                  </a:lnTo>
                  <a:lnTo>
                    <a:pt x="568667" y="151435"/>
                  </a:lnTo>
                  <a:lnTo>
                    <a:pt x="572971" y="153318"/>
                  </a:lnTo>
                  <a:lnTo>
                    <a:pt x="577162" y="154197"/>
                  </a:lnTo>
                  <a:lnTo>
                    <a:pt x="579385" y="156807"/>
                  </a:lnTo>
                  <a:lnTo>
                    <a:pt x="580140" y="158787"/>
                  </a:lnTo>
                  <a:lnTo>
                    <a:pt x="580352" y="160306"/>
                  </a:lnTo>
                  <a:lnTo>
                    <a:pt x="582438" y="163968"/>
                  </a:lnTo>
                  <a:lnTo>
                    <a:pt x="586685" y="165151"/>
                  </a:lnTo>
                  <a:lnTo>
                    <a:pt x="592194" y="168800"/>
                  </a:lnTo>
                  <a:lnTo>
                    <a:pt x="596724" y="170410"/>
                  </a:lnTo>
                  <a:lnTo>
                    <a:pt x="597863" y="171374"/>
                  </a:lnTo>
                  <a:lnTo>
                    <a:pt x="599849" y="172492"/>
                  </a:lnTo>
                  <a:lnTo>
                    <a:pt x="603692" y="172532"/>
                  </a:lnTo>
                  <a:lnTo>
                    <a:pt x="610359" y="170710"/>
                  </a:lnTo>
                  <a:lnTo>
                    <a:pt x="613395" y="168869"/>
                  </a:lnTo>
                  <a:lnTo>
                    <a:pt x="617420" y="165923"/>
                  </a:lnTo>
                  <a:lnTo>
                    <a:pt x="619307" y="160870"/>
                  </a:lnTo>
                  <a:lnTo>
                    <a:pt x="620417" y="156819"/>
                  </a:lnTo>
                  <a:lnTo>
                    <a:pt x="626014" y="148443"/>
                  </a:lnTo>
                  <a:lnTo>
                    <a:pt x="627612" y="144293"/>
                  </a:lnTo>
                  <a:lnTo>
                    <a:pt x="629033" y="138790"/>
                  </a:lnTo>
                  <a:lnTo>
                    <a:pt x="630277" y="135352"/>
                  </a:lnTo>
                  <a:lnTo>
                    <a:pt x="629862" y="131614"/>
                  </a:lnTo>
                  <a:lnTo>
                    <a:pt x="631154" y="124830"/>
                  </a:lnTo>
                  <a:lnTo>
                    <a:pt x="634026" y="115553"/>
                  </a:lnTo>
                  <a:lnTo>
                    <a:pt x="634999" y="112415"/>
                  </a:lnTo>
                  <a:lnTo>
                    <a:pt x="634513" y="107807"/>
                  </a:lnTo>
                  <a:lnTo>
                    <a:pt x="632733" y="99166"/>
                  </a:lnTo>
                  <a:lnTo>
                    <a:pt x="633529" y="96182"/>
                  </a:lnTo>
                  <a:lnTo>
                    <a:pt x="634311" y="92007"/>
                  </a:lnTo>
                  <a:lnTo>
                    <a:pt x="633009" y="88982"/>
                  </a:lnTo>
                  <a:lnTo>
                    <a:pt x="631797" y="86910"/>
                  </a:lnTo>
                  <a:lnTo>
                    <a:pt x="631618" y="83999"/>
                  </a:lnTo>
                  <a:lnTo>
                    <a:pt x="632981" y="78510"/>
                  </a:lnTo>
                  <a:lnTo>
                    <a:pt x="634188" y="75612"/>
                  </a:lnTo>
                  <a:lnTo>
                    <a:pt x="635440" y="71877"/>
                  </a:lnTo>
                  <a:lnTo>
                    <a:pt x="634736" y="64779"/>
                  </a:lnTo>
                  <a:lnTo>
                    <a:pt x="637411" y="62308"/>
                  </a:lnTo>
                  <a:lnTo>
                    <a:pt x="638466" y="61077"/>
                  </a:lnTo>
                  <a:lnTo>
                    <a:pt x="640534" y="61066"/>
                  </a:lnTo>
                  <a:lnTo>
                    <a:pt x="641519" y="61621"/>
                  </a:lnTo>
                  <a:lnTo>
                    <a:pt x="641728" y="60204"/>
                  </a:lnTo>
                  <a:lnTo>
                    <a:pt x="640912" y="58889"/>
                  </a:lnTo>
                  <a:lnTo>
                    <a:pt x="640590" y="57361"/>
                  </a:lnTo>
                  <a:lnTo>
                    <a:pt x="640011" y="56584"/>
                  </a:lnTo>
                  <a:lnTo>
                    <a:pt x="638737" y="56312"/>
                  </a:lnTo>
                  <a:lnTo>
                    <a:pt x="637679" y="55477"/>
                  </a:lnTo>
                  <a:lnTo>
                    <a:pt x="636155" y="54624"/>
                  </a:lnTo>
                  <a:lnTo>
                    <a:pt x="636394" y="51474"/>
                  </a:lnTo>
                  <a:lnTo>
                    <a:pt x="638986" y="45393"/>
                  </a:lnTo>
                  <a:lnTo>
                    <a:pt x="640417" y="43050"/>
                  </a:lnTo>
                  <a:lnTo>
                    <a:pt x="641357" y="44028"/>
                  </a:lnTo>
                  <a:lnTo>
                    <a:pt x="642421" y="44815"/>
                  </a:lnTo>
                  <a:lnTo>
                    <a:pt x="642568" y="43065"/>
                  </a:lnTo>
                  <a:lnTo>
                    <a:pt x="642210" y="41269"/>
                  </a:lnTo>
                  <a:lnTo>
                    <a:pt x="644177" y="35342"/>
                  </a:lnTo>
                  <a:lnTo>
                    <a:pt x="646353" y="27312"/>
                  </a:lnTo>
                  <a:lnTo>
                    <a:pt x="647004" y="20001"/>
                  </a:lnTo>
                  <a:lnTo>
                    <a:pt x="650500" y="18605"/>
                  </a:lnTo>
                  <a:lnTo>
                    <a:pt x="652276" y="16773"/>
                  </a:lnTo>
                  <a:close/>
                  <a:moveTo>
                    <a:pt x="647658" y="12071"/>
                  </a:moveTo>
                  <a:lnTo>
                    <a:pt x="649357" y="14593"/>
                  </a:lnTo>
                  <a:lnTo>
                    <a:pt x="647513" y="15873"/>
                  </a:lnTo>
                  <a:lnTo>
                    <a:pt x="646315" y="15200"/>
                  </a:lnTo>
                  <a:lnTo>
                    <a:pt x="646056" y="13780"/>
                  </a:lnTo>
                  <a:lnTo>
                    <a:pt x="646179" y="13158"/>
                  </a:lnTo>
                  <a:close/>
                  <a:moveTo>
                    <a:pt x="649887" y="1980"/>
                  </a:moveTo>
                  <a:lnTo>
                    <a:pt x="650776" y="3137"/>
                  </a:lnTo>
                  <a:lnTo>
                    <a:pt x="649459" y="4522"/>
                  </a:lnTo>
                  <a:lnTo>
                    <a:pt x="648062" y="4107"/>
                  </a:lnTo>
                  <a:lnTo>
                    <a:pt x="647595" y="3296"/>
                  </a:lnTo>
                  <a:lnTo>
                    <a:pt x="648118" y="2181"/>
                  </a:lnTo>
                  <a:close/>
                  <a:moveTo>
                    <a:pt x="646572" y="0"/>
                  </a:moveTo>
                  <a:lnTo>
                    <a:pt x="647526" y="748"/>
                  </a:lnTo>
                  <a:lnTo>
                    <a:pt x="646986" y="2286"/>
                  </a:lnTo>
                  <a:lnTo>
                    <a:pt x="646421" y="2892"/>
                  </a:lnTo>
                  <a:lnTo>
                    <a:pt x="645440" y="1564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76" name="ee4p_FJ_1_82333">
              <a:extLst>
                <a:ext uri="{FF2B5EF4-FFF2-40B4-BE49-F238E27FC236}">
                  <a16:creationId xmlns:a16="http://schemas.microsoft.com/office/drawing/2014/main" id="{8CA0076F-FE4B-2F2A-F6C4-24C3FA6BE0D9}"/>
                </a:ext>
              </a:extLst>
            </p:cNvPr>
            <p:cNvSpPr>
              <a:spLocks noChangeAspect="1"/>
            </p:cNvSpPr>
            <p:nvPr>
              <p:custDataLst>
                <p:tags r:id="rId4"/>
              </p:custDataLst>
            </p:nvPr>
          </p:nvSpPr>
          <p:spPr>
            <a:xfrm>
              <a:off x="11362871" y="5139723"/>
              <a:ext cx="155245" cy="164931"/>
            </a:xfrm>
            <a:custGeom>
              <a:avLst/>
              <a:gdLst>
                <a:gd name="connsiteX0" fmla="*/ 376 w 123618"/>
                <a:gd name="connsiteY0" fmla="*/ 126960 h 127850"/>
                <a:gd name="connsiteX1" fmla="*/ 897 w 123618"/>
                <a:gd name="connsiteY1" fmla="*/ 127157 h 127850"/>
                <a:gd name="connsiteX2" fmla="*/ 940 w 123618"/>
                <a:gd name="connsiteY2" fmla="*/ 127598 h 127850"/>
                <a:gd name="connsiteX3" fmla="*/ 767 w 123618"/>
                <a:gd name="connsiteY3" fmla="*/ 127850 h 127850"/>
                <a:gd name="connsiteX4" fmla="*/ 128 w 123618"/>
                <a:gd name="connsiteY4" fmla="*/ 127768 h 127850"/>
                <a:gd name="connsiteX5" fmla="*/ 0 w 123618"/>
                <a:gd name="connsiteY5" fmla="*/ 127252 h 127850"/>
                <a:gd name="connsiteX6" fmla="*/ 82856 w 123618"/>
                <a:gd name="connsiteY6" fmla="*/ 64012 h 127850"/>
                <a:gd name="connsiteX7" fmla="*/ 84759 w 123618"/>
                <a:gd name="connsiteY7" fmla="*/ 64385 h 127850"/>
                <a:gd name="connsiteX8" fmla="*/ 86253 w 123618"/>
                <a:gd name="connsiteY8" fmla="*/ 64920 h 127850"/>
                <a:gd name="connsiteX9" fmla="*/ 86249 w 123618"/>
                <a:gd name="connsiteY9" fmla="*/ 65904 h 127850"/>
                <a:gd name="connsiteX10" fmla="*/ 83403 w 123618"/>
                <a:gd name="connsiteY10" fmla="*/ 66558 h 127850"/>
                <a:gd name="connsiteX11" fmla="*/ 82444 w 123618"/>
                <a:gd name="connsiteY11" fmla="*/ 65746 h 127850"/>
                <a:gd name="connsiteX12" fmla="*/ 81833 w 123618"/>
                <a:gd name="connsiteY12" fmla="*/ 65598 h 127850"/>
                <a:gd name="connsiteX13" fmla="*/ 80137 w 123618"/>
                <a:gd name="connsiteY13" fmla="*/ 67037 h 127850"/>
                <a:gd name="connsiteX14" fmla="*/ 79647 w 123618"/>
                <a:gd name="connsiteY14" fmla="*/ 67628 h 127850"/>
                <a:gd name="connsiteX15" fmla="*/ 79485 w 123618"/>
                <a:gd name="connsiteY15" fmla="*/ 68073 h 127850"/>
                <a:gd name="connsiteX16" fmla="*/ 79049 w 123618"/>
                <a:gd name="connsiteY16" fmla="*/ 68297 h 127850"/>
                <a:gd name="connsiteX17" fmla="*/ 75924 w 123618"/>
                <a:gd name="connsiteY17" fmla="*/ 68989 h 127850"/>
                <a:gd name="connsiteX18" fmla="*/ 74552 w 123618"/>
                <a:gd name="connsiteY18" fmla="*/ 68299 h 127850"/>
                <a:gd name="connsiteX19" fmla="*/ 75482 w 123618"/>
                <a:gd name="connsiteY19" fmla="*/ 67829 h 127850"/>
                <a:gd name="connsiteX20" fmla="*/ 76613 w 123618"/>
                <a:gd name="connsiteY20" fmla="*/ 66892 h 127850"/>
                <a:gd name="connsiteX21" fmla="*/ 77766 w 123618"/>
                <a:gd name="connsiteY21" fmla="*/ 67030 h 127850"/>
                <a:gd name="connsiteX22" fmla="*/ 78929 w 123618"/>
                <a:gd name="connsiteY22" fmla="*/ 66153 h 127850"/>
                <a:gd name="connsiteX23" fmla="*/ 80073 w 123618"/>
                <a:gd name="connsiteY23" fmla="*/ 64817 h 127850"/>
                <a:gd name="connsiteX24" fmla="*/ 81705 w 123618"/>
                <a:gd name="connsiteY24" fmla="*/ 64529 h 127850"/>
                <a:gd name="connsiteX25" fmla="*/ 104353 w 123618"/>
                <a:gd name="connsiteY25" fmla="*/ 41365 h 127850"/>
                <a:gd name="connsiteX26" fmla="*/ 105048 w 123618"/>
                <a:gd name="connsiteY26" fmla="*/ 42403 h 127850"/>
                <a:gd name="connsiteX27" fmla="*/ 105590 w 123618"/>
                <a:gd name="connsiteY27" fmla="*/ 44131 h 127850"/>
                <a:gd name="connsiteX28" fmla="*/ 105301 w 123618"/>
                <a:gd name="connsiteY28" fmla="*/ 44979 h 127850"/>
                <a:gd name="connsiteX29" fmla="*/ 105105 w 123618"/>
                <a:gd name="connsiteY29" fmla="*/ 45164 h 127850"/>
                <a:gd name="connsiteX30" fmla="*/ 103182 w 123618"/>
                <a:gd name="connsiteY30" fmla="*/ 43340 h 127850"/>
                <a:gd name="connsiteX31" fmla="*/ 103247 w 123618"/>
                <a:gd name="connsiteY31" fmla="*/ 42619 h 127850"/>
                <a:gd name="connsiteX32" fmla="*/ 103586 w 123618"/>
                <a:gd name="connsiteY32" fmla="*/ 41973 h 127850"/>
                <a:gd name="connsiteX33" fmla="*/ 93841 w 123618"/>
                <a:gd name="connsiteY33" fmla="*/ 33946 h 127850"/>
                <a:gd name="connsiteX34" fmla="*/ 94316 w 123618"/>
                <a:gd name="connsiteY34" fmla="*/ 35369 h 127850"/>
                <a:gd name="connsiteX35" fmla="*/ 93764 w 123618"/>
                <a:gd name="connsiteY35" fmla="*/ 36458 h 127850"/>
                <a:gd name="connsiteX36" fmla="*/ 92626 w 123618"/>
                <a:gd name="connsiteY36" fmla="*/ 36864 h 127850"/>
                <a:gd name="connsiteX37" fmla="*/ 91997 w 123618"/>
                <a:gd name="connsiteY37" fmla="*/ 35471 h 127850"/>
                <a:gd name="connsiteX38" fmla="*/ 92870 w 123618"/>
                <a:gd name="connsiteY38" fmla="*/ 34073 h 127850"/>
                <a:gd name="connsiteX39" fmla="*/ 79612 w 123618"/>
                <a:gd name="connsiteY39" fmla="*/ 26977 h 127850"/>
                <a:gd name="connsiteX40" fmla="*/ 80930 w 123618"/>
                <a:gd name="connsiteY40" fmla="*/ 27344 h 127850"/>
                <a:gd name="connsiteX41" fmla="*/ 81660 w 123618"/>
                <a:gd name="connsiteY41" fmla="*/ 28320 h 127850"/>
                <a:gd name="connsiteX42" fmla="*/ 81660 w 123618"/>
                <a:gd name="connsiteY42" fmla="*/ 29328 h 127850"/>
                <a:gd name="connsiteX43" fmla="*/ 82308 w 123618"/>
                <a:gd name="connsiteY43" fmla="*/ 29764 h 127850"/>
                <a:gd name="connsiteX44" fmla="*/ 82951 w 123618"/>
                <a:gd name="connsiteY44" fmla="*/ 29835 h 127850"/>
                <a:gd name="connsiteX45" fmla="*/ 84551 w 123618"/>
                <a:gd name="connsiteY45" fmla="*/ 31762 h 127850"/>
                <a:gd name="connsiteX46" fmla="*/ 87035 w 123618"/>
                <a:gd name="connsiteY46" fmla="*/ 33421 h 127850"/>
                <a:gd name="connsiteX47" fmla="*/ 88546 w 123618"/>
                <a:gd name="connsiteY47" fmla="*/ 34690 h 127850"/>
                <a:gd name="connsiteX48" fmla="*/ 88637 w 123618"/>
                <a:gd name="connsiteY48" fmla="*/ 35775 h 127850"/>
                <a:gd name="connsiteX49" fmla="*/ 88177 w 123618"/>
                <a:gd name="connsiteY49" fmla="*/ 36921 h 127850"/>
                <a:gd name="connsiteX50" fmla="*/ 88816 w 123618"/>
                <a:gd name="connsiteY50" fmla="*/ 38976 h 127850"/>
                <a:gd name="connsiteX51" fmla="*/ 89127 w 123618"/>
                <a:gd name="connsiteY51" fmla="*/ 41108 h 127850"/>
                <a:gd name="connsiteX52" fmla="*/ 90229 w 123618"/>
                <a:gd name="connsiteY52" fmla="*/ 44488 h 127850"/>
                <a:gd name="connsiteX53" fmla="*/ 88674 w 123618"/>
                <a:gd name="connsiteY53" fmla="*/ 45130 h 127850"/>
                <a:gd name="connsiteX54" fmla="*/ 86227 w 123618"/>
                <a:gd name="connsiteY54" fmla="*/ 45206 h 127850"/>
                <a:gd name="connsiteX55" fmla="*/ 85662 w 123618"/>
                <a:gd name="connsiteY55" fmla="*/ 45815 h 127850"/>
                <a:gd name="connsiteX56" fmla="*/ 84828 w 123618"/>
                <a:gd name="connsiteY56" fmla="*/ 45478 h 127850"/>
                <a:gd name="connsiteX57" fmla="*/ 82796 w 123618"/>
                <a:gd name="connsiteY57" fmla="*/ 45730 h 127850"/>
                <a:gd name="connsiteX58" fmla="*/ 80854 w 123618"/>
                <a:gd name="connsiteY58" fmla="*/ 46844 h 127850"/>
                <a:gd name="connsiteX59" fmla="*/ 79006 w 123618"/>
                <a:gd name="connsiteY59" fmla="*/ 48356 h 127850"/>
                <a:gd name="connsiteX60" fmla="*/ 76879 w 123618"/>
                <a:gd name="connsiteY60" fmla="*/ 48361 h 127850"/>
                <a:gd name="connsiteX61" fmla="*/ 74480 w 123618"/>
                <a:gd name="connsiteY61" fmla="*/ 48673 h 127850"/>
                <a:gd name="connsiteX62" fmla="*/ 72083 w 123618"/>
                <a:gd name="connsiteY62" fmla="*/ 48463 h 127850"/>
                <a:gd name="connsiteX63" fmla="*/ 70397 w 123618"/>
                <a:gd name="connsiteY63" fmla="*/ 47656 h 127850"/>
                <a:gd name="connsiteX64" fmla="*/ 67426 w 123618"/>
                <a:gd name="connsiteY64" fmla="*/ 46777 h 127850"/>
                <a:gd name="connsiteX65" fmla="*/ 63465 w 123618"/>
                <a:gd name="connsiteY65" fmla="*/ 46027 h 127850"/>
                <a:gd name="connsiteX66" fmla="*/ 61826 w 123618"/>
                <a:gd name="connsiteY66" fmla="*/ 45398 h 127850"/>
                <a:gd name="connsiteX67" fmla="*/ 60459 w 123618"/>
                <a:gd name="connsiteY67" fmla="*/ 44412 h 127850"/>
                <a:gd name="connsiteX68" fmla="*/ 59179 w 123618"/>
                <a:gd name="connsiteY68" fmla="*/ 41926 h 127850"/>
                <a:gd name="connsiteX69" fmla="*/ 58989 w 123618"/>
                <a:gd name="connsiteY69" fmla="*/ 40700 h 127850"/>
                <a:gd name="connsiteX70" fmla="*/ 59190 w 123618"/>
                <a:gd name="connsiteY70" fmla="*/ 39526 h 127850"/>
                <a:gd name="connsiteX71" fmla="*/ 60347 w 123618"/>
                <a:gd name="connsiteY71" fmla="*/ 39129 h 127850"/>
                <a:gd name="connsiteX72" fmla="*/ 61316 w 123618"/>
                <a:gd name="connsiteY72" fmla="*/ 38534 h 127850"/>
                <a:gd name="connsiteX73" fmla="*/ 61455 w 123618"/>
                <a:gd name="connsiteY73" fmla="*/ 37759 h 127850"/>
                <a:gd name="connsiteX74" fmla="*/ 61882 w 123618"/>
                <a:gd name="connsiteY74" fmla="*/ 37218 h 127850"/>
                <a:gd name="connsiteX75" fmla="*/ 62439 w 123618"/>
                <a:gd name="connsiteY75" fmla="*/ 37022 h 127850"/>
                <a:gd name="connsiteX76" fmla="*/ 62711 w 123618"/>
                <a:gd name="connsiteY76" fmla="*/ 36647 h 127850"/>
                <a:gd name="connsiteX77" fmla="*/ 62321 w 123618"/>
                <a:gd name="connsiteY77" fmla="*/ 35389 h 127850"/>
                <a:gd name="connsiteX78" fmla="*/ 62213 w 123618"/>
                <a:gd name="connsiteY78" fmla="*/ 34238 h 127850"/>
                <a:gd name="connsiteX79" fmla="*/ 64508 w 123618"/>
                <a:gd name="connsiteY79" fmla="*/ 32139 h 127850"/>
                <a:gd name="connsiteX80" fmla="*/ 67017 w 123618"/>
                <a:gd name="connsiteY80" fmla="*/ 30349 h 127850"/>
                <a:gd name="connsiteX81" fmla="*/ 71439 w 123618"/>
                <a:gd name="connsiteY81" fmla="*/ 28696 h 127850"/>
                <a:gd name="connsiteX82" fmla="*/ 74143 w 123618"/>
                <a:gd name="connsiteY82" fmla="*/ 28847 h 127850"/>
                <a:gd name="connsiteX83" fmla="*/ 78287 w 123618"/>
                <a:gd name="connsiteY83" fmla="*/ 27575 h 127850"/>
                <a:gd name="connsiteX84" fmla="*/ 105828 w 123618"/>
                <a:gd name="connsiteY84" fmla="*/ 25683 h 127850"/>
                <a:gd name="connsiteX85" fmla="*/ 106590 w 123618"/>
                <a:gd name="connsiteY85" fmla="*/ 25709 h 127850"/>
                <a:gd name="connsiteX86" fmla="*/ 107147 w 123618"/>
                <a:gd name="connsiteY86" fmla="*/ 26034 h 127850"/>
                <a:gd name="connsiteX87" fmla="*/ 107464 w 123618"/>
                <a:gd name="connsiteY87" fmla="*/ 26824 h 127850"/>
                <a:gd name="connsiteX88" fmla="*/ 106916 w 123618"/>
                <a:gd name="connsiteY88" fmla="*/ 28203 h 127850"/>
                <a:gd name="connsiteX89" fmla="*/ 106178 w 123618"/>
                <a:gd name="connsiteY89" fmla="*/ 28819 h 127850"/>
                <a:gd name="connsiteX90" fmla="*/ 122763 w 123618"/>
                <a:gd name="connsiteY90" fmla="*/ 12765 h 127850"/>
                <a:gd name="connsiteX91" fmla="*/ 123618 w 123618"/>
                <a:gd name="connsiteY91" fmla="*/ 14516 h 127850"/>
                <a:gd name="connsiteX92" fmla="*/ 122613 w 123618"/>
                <a:gd name="connsiteY92" fmla="*/ 16447 h 127850"/>
                <a:gd name="connsiteX93" fmla="*/ 120244 w 123618"/>
                <a:gd name="connsiteY93" fmla="*/ 18142 h 127850"/>
                <a:gd name="connsiteX94" fmla="*/ 119689 w 123618"/>
                <a:gd name="connsiteY94" fmla="*/ 19013 h 127850"/>
                <a:gd name="connsiteX95" fmla="*/ 118050 w 123618"/>
                <a:gd name="connsiteY95" fmla="*/ 19859 h 127850"/>
                <a:gd name="connsiteX96" fmla="*/ 117411 w 123618"/>
                <a:gd name="connsiteY96" fmla="*/ 19035 h 127850"/>
                <a:gd name="connsiteX97" fmla="*/ 118162 w 123618"/>
                <a:gd name="connsiteY97" fmla="*/ 17031 h 127850"/>
                <a:gd name="connsiteX98" fmla="*/ 119689 w 123618"/>
                <a:gd name="connsiteY98" fmla="*/ 14980 h 127850"/>
                <a:gd name="connsiteX99" fmla="*/ 122042 w 123618"/>
                <a:gd name="connsiteY99" fmla="*/ 13040 h 127850"/>
                <a:gd name="connsiteX100" fmla="*/ 121880 w 123618"/>
                <a:gd name="connsiteY100" fmla="*/ 6932 h 127850"/>
                <a:gd name="connsiteX101" fmla="*/ 121296 w 123618"/>
                <a:gd name="connsiteY101" fmla="*/ 8012 h 127850"/>
                <a:gd name="connsiteX102" fmla="*/ 121249 w 123618"/>
                <a:gd name="connsiteY102" fmla="*/ 8551 h 127850"/>
                <a:gd name="connsiteX103" fmla="*/ 119689 w 123618"/>
                <a:gd name="connsiteY103" fmla="*/ 9397 h 127850"/>
                <a:gd name="connsiteX104" fmla="*/ 119406 w 123618"/>
                <a:gd name="connsiteY104" fmla="*/ 9423 h 127850"/>
                <a:gd name="connsiteX105" fmla="*/ 119350 w 123618"/>
                <a:gd name="connsiteY105" fmla="*/ 8991 h 127850"/>
                <a:gd name="connsiteX106" fmla="*/ 119689 w 123618"/>
                <a:gd name="connsiteY106" fmla="*/ 8234 h 127850"/>
                <a:gd name="connsiteX107" fmla="*/ 120935 w 123618"/>
                <a:gd name="connsiteY107" fmla="*/ 7157 h 127850"/>
                <a:gd name="connsiteX108" fmla="*/ 120366 w 123618"/>
                <a:gd name="connsiteY108" fmla="*/ 0 h 127850"/>
                <a:gd name="connsiteX109" fmla="*/ 120915 w 123618"/>
                <a:gd name="connsiteY109" fmla="*/ 0 h 127850"/>
                <a:gd name="connsiteX110" fmla="*/ 120659 w 123618"/>
                <a:gd name="connsiteY110" fmla="*/ 525 h 127850"/>
                <a:gd name="connsiteX111" fmla="*/ 119689 w 123618"/>
                <a:gd name="connsiteY111" fmla="*/ 957 h 127850"/>
                <a:gd name="connsiteX112" fmla="*/ 119672 w 123618"/>
                <a:gd name="connsiteY112" fmla="*/ 963 h 127850"/>
                <a:gd name="connsiteX113" fmla="*/ 116333 w 123618"/>
                <a:gd name="connsiteY113" fmla="*/ 3984 h 127850"/>
                <a:gd name="connsiteX114" fmla="*/ 115130 w 123618"/>
                <a:gd name="connsiteY114" fmla="*/ 5542 h 127850"/>
                <a:gd name="connsiteX115" fmla="*/ 114120 w 123618"/>
                <a:gd name="connsiteY115" fmla="*/ 7267 h 127850"/>
                <a:gd name="connsiteX116" fmla="*/ 111267 w 123618"/>
                <a:gd name="connsiteY116" fmla="*/ 9117 h 127850"/>
                <a:gd name="connsiteX117" fmla="*/ 110052 w 123618"/>
                <a:gd name="connsiteY117" fmla="*/ 11597 h 127850"/>
                <a:gd name="connsiteX118" fmla="*/ 110140 w 123618"/>
                <a:gd name="connsiteY118" fmla="*/ 14110 h 127850"/>
                <a:gd name="connsiteX119" fmla="*/ 112990 w 123618"/>
                <a:gd name="connsiteY119" fmla="*/ 11484 h 127850"/>
                <a:gd name="connsiteX120" fmla="*/ 116173 w 123618"/>
                <a:gd name="connsiteY120" fmla="*/ 9339 h 127850"/>
                <a:gd name="connsiteX121" fmla="*/ 117145 w 123618"/>
                <a:gd name="connsiteY121" fmla="*/ 8906 h 127850"/>
                <a:gd name="connsiteX122" fmla="*/ 118150 w 123618"/>
                <a:gd name="connsiteY122" fmla="*/ 8928 h 127850"/>
                <a:gd name="connsiteX123" fmla="*/ 118065 w 123618"/>
                <a:gd name="connsiteY123" fmla="*/ 9661 h 127850"/>
                <a:gd name="connsiteX124" fmla="*/ 117609 w 123618"/>
                <a:gd name="connsiteY124" fmla="*/ 10386 h 127850"/>
                <a:gd name="connsiteX125" fmla="*/ 117257 w 123618"/>
                <a:gd name="connsiteY125" fmla="*/ 12281 h 127850"/>
                <a:gd name="connsiteX126" fmla="*/ 118095 w 123618"/>
                <a:gd name="connsiteY126" fmla="*/ 14041 h 127850"/>
                <a:gd name="connsiteX127" fmla="*/ 115727 w 123618"/>
                <a:gd name="connsiteY127" fmla="*/ 13870 h 127850"/>
                <a:gd name="connsiteX128" fmla="*/ 113382 w 123618"/>
                <a:gd name="connsiteY128" fmla="*/ 14021 h 127850"/>
                <a:gd name="connsiteX129" fmla="*/ 110600 w 123618"/>
                <a:gd name="connsiteY129" fmla="*/ 15009 h 127850"/>
                <a:gd name="connsiteX130" fmla="*/ 107868 w 123618"/>
                <a:gd name="connsiteY130" fmla="*/ 15442 h 127850"/>
                <a:gd name="connsiteX131" fmla="*/ 106850 w 123618"/>
                <a:gd name="connsiteY131" fmla="*/ 15453 h 127850"/>
                <a:gd name="connsiteX132" fmla="*/ 105869 w 123618"/>
                <a:gd name="connsiteY132" fmla="*/ 15122 h 127850"/>
                <a:gd name="connsiteX133" fmla="*/ 105227 w 123618"/>
                <a:gd name="connsiteY133" fmla="*/ 14616 h 127850"/>
                <a:gd name="connsiteX134" fmla="*/ 104726 w 123618"/>
                <a:gd name="connsiteY134" fmla="*/ 13442 h 127850"/>
                <a:gd name="connsiteX135" fmla="*/ 104221 w 123618"/>
                <a:gd name="connsiteY135" fmla="*/ 13266 h 127850"/>
                <a:gd name="connsiteX136" fmla="*/ 102051 w 123618"/>
                <a:gd name="connsiteY136" fmla="*/ 13320 h 127850"/>
                <a:gd name="connsiteX137" fmla="*/ 98804 w 123618"/>
                <a:gd name="connsiteY137" fmla="*/ 15613 h 127850"/>
                <a:gd name="connsiteX138" fmla="*/ 97728 w 123618"/>
                <a:gd name="connsiteY138" fmla="*/ 17582 h 127850"/>
                <a:gd name="connsiteX139" fmla="*/ 96480 w 123618"/>
                <a:gd name="connsiteY139" fmla="*/ 17669 h 127850"/>
                <a:gd name="connsiteX140" fmla="*/ 95005 w 123618"/>
                <a:gd name="connsiteY140" fmla="*/ 17261 h 127850"/>
                <a:gd name="connsiteX141" fmla="*/ 93219 w 123618"/>
                <a:gd name="connsiteY141" fmla="*/ 18764 h 127850"/>
                <a:gd name="connsiteX142" fmla="*/ 91090 w 123618"/>
                <a:gd name="connsiteY142" fmla="*/ 19310 h 127850"/>
                <a:gd name="connsiteX143" fmla="*/ 90170 w 123618"/>
                <a:gd name="connsiteY143" fmla="*/ 18033 h 127850"/>
                <a:gd name="connsiteX144" fmla="*/ 89574 w 123618"/>
                <a:gd name="connsiteY144" fmla="*/ 16470 h 127850"/>
                <a:gd name="connsiteX145" fmla="*/ 88814 w 123618"/>
                <a:gd name="connsiteY145" fmla="*/ 15317 h 127850"/>
                <a:gd name="connsiteX146" fmla="*/ 86465 w 123618"/>
                <a:gd name="connsiteY146" fmla="*/ 15029 h 127850"/>
                <a:gd name="connsiteX147" fmla="*/ 86825 w 123618"/>
                <a:gd name="connsiteY147" fmla="*/ 13624 h 127850"/>
                <a:gd name="connsiteX148" fmla="*/ 87449 w 123618"/>
                <a:gd name="connsiteY148" fmla="*/ 13042 h 127850"/>
                <a:gd name="connsiteX149" fmla="*/ 88020 w 123618"/>
                <a:gd name="connsiteY149" fmla="*/ 12210 h 127850"/>
                <a:gd name="connsiteX150" fmla="*/ 88369 w 123618"/>
                <a:gd name="connsiteY150" fmla="*/ 11256 h 127850"/>
                <a:gd name="connsiteX151" fmla="*/ 89490 w 123618"/>
                <a:gd name="connsiteY151" fmla="*/ 11861 h 127850"/>
                <a:gd name="connsiteX152" fmla="*/ 90640 w 123618"/>
                <a:gd name="connsiteY152" fmla="*/ 12250 h 127850"/>
                <a:gd name="connsiteX153" fmla="*/ 91928 w 123618"/>
                <a:gd name="connsiteY153" fmla="*/ 11535 h 127850"/>
                <a:gd name="connsiteX154" fmla="*/ 93267 w 123618"/>
                <a:gd name="connsiteY154" fmla="*/ 11473 h 127850"/>
                <a:gd name="connsiteX155" fmla="*/ 94608 w 123618"/>
                <a:gd name="connsiteY155" fmla="*/ 9397 h 127850"/>
                <a:gd name="connsiteX156" fmla="*/ 96704 w 123618"/>
                <a:gd name="connsiteY156" fmla="*/ 8097 h 127850"/>
                <a:gd name="connsiteX157" fmla="*/ 99598 w 123618"/>
                <a:gd name="connsiteY157" fmla="*/ 7068 h 127850"/>
                <a:gd name="connsiteX158" fmla="*/ 102544 w 123618"/>
                <a:gd name="connsiteY158" fmla="*/ 6334 h 127850"/>
                <a:gd name="connsiteX159" fmla="*/ 104068 w 123618"/>
                <a:gd name="connsiteY159" fmla="*/ 6185 h 127850"/>
                <a:gd name="connsiteX160" fmla="*/ 105519 w 123618"/>
                <a:gd name="connsiteY160" fmla="*/ 5759 h 127850"/>
                <a:gd name="connsiteX161" fmla="*/ 108082 w 123618"/>
                <a:gd name="connsiteY161" fmla="*/ 3813 h 127850"/>
                <a:gd name="connsiteX162" fmla="*/ 109777 w 123618"/>
                <a:gd name="connsiteY162" fmla="*/ 2809 h 127850"/>
                <a:gd name="connsiteX163" fmla="*/ 111624 w 123618"/>
                <a:gd name="connsiteY163" fmla="*/ 2204 h 127850"/>
                <a:gd name="connsiteX164" fmla="*/ 113388 w 123618"/>
                <a:gd name="connsiteY164" fmla="*/ 1849 h 127850"/>
                <a:gd name="connsiteX165" fmla="*/ 115020 w 123618"/>
                <a:gd name="connsiteY165" fmla="*/ 2164 h 127850"/>
                <a:gd name="connsiteX166" fmla="*/ 116331 w 123618"/>
                <a:gd name="connsiteY166" fmla="*/ 2000 h 127850"/>
                <a:gd name="connsiteX167" fmla="*/ 119689 w 123618"/>
                <a:gd name="connsiteY167" fmla="*/ 609 h 127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</a:cxnLst>
              <a:rect l="l" t="t" r="r" b="b"/>
              <a:pathLst>
                <a:path w="123618" h="127850">
                  <a:moveTo>
                    <a:pt x="376" y="126960"/>
                  </a:moveTo>
                  <a:lnTo>
                    <a:pt x="897" y="127157"/>
                  </a:lnTo>
                  <a:lnTo>
                    <a:pt x="940" y="127598"/>
                  </a:lnTo>
                  <a:lnTo>
                    <a:pt x="767" y="127850"/>
                  </a:lnTo>
                  <a:lnTo>
                    <a:pt x="128" y="127768"/>
                  </a:lnTo>
                  <a:lnTo>
                    <a:pt x="0" y="127252"/>
                  </a:lnTo>
                  <a:close/>
                  <a:moveTo>
                    <a:pt x="82856" y="64012"/>
                  </a:moveTo>
                  <a:lnTo>
                    <a:pt x="84759" y="64385"/>
                  </a:lnTo>
                  <a:lnTo>
                    <a:pt x="86253" y="64920"/>
                  </a:lnTo>
                  <a:lnTo>
                    <a:pt x="86249" y="65904"/>
                  </a:lnTo>
                  <a:lnTo>
                    <a:pt x="83403" y="66558"/>
                  </a:lnTo>
                  <a:lnTo>
                    <a:pt x="82444" y="65746"/>
                  </a:lnTo>
                  <a:lnTo>
                    <a:pt x="81833" y="65598"/>
                  </a:lnTo>
                  <a:lnTo>
                    <a:pt x="80137" y="67037"/>
                  </a:lnTo>
                  <a:lnTo>
                    <a:pt x="79647" y="67628"/>
                  </a:lnTo>
                  <a:lnTo>
                    <a:pt x="79485" y="68073"/>
                  </a:lnTo>
                  <a:lnTo>
                    <a:pt x="79049" y="68297"/>
                  </a:lnTo>
                  <a:lnTo>
                    <a:pt x="75924" y="68989"/>
                  </a:lnTo>
                  <a:lnTo>
                    <a:pt x="74552" y="68299"/>
                  </a:lnTo>
                  <a:lnTo>
                    <a:pt x="75482" y="67829"/>
                  </a:lnTo>
                  <a:lnTo>
                    <a:pt x="76613" y="66892"/>
                  </a:lnTo>
                  <a:lnTo>
                    <a:pt x="77766" y="67030"/>
                  </a:lnTo>
                  <a:lnTo>
                    <a:pt x="78929" y="66153"/>
                  </a:lnTo>
                  <a:lnTo>
                    <a:pt x="80073" y="64817"/>
                  </a:lnTo>
                  <a:lnTo>
                    <a:pt x="81705" y="64529"/>
                  </a:lnTo>
                  <a:close/>
                  <a:moveTo>
                    <a:pt x="104353" y="41365"/>
                  </a:moveTo>
                  <a:lnTo>
                    <a:pt x="105048" y="42403"/>
                  </a:lnTo>
                  <a:lnTo>
                    <a:pt x="105590" y="44131"/>
                  </a:lnTo>
                  <a:lnTo>
                    <a:pt x="105301" y="44979"/>
                  </a:lnTo>
                  <a:lnTo>
                    <a:pt x="105105" y="45164"/>
                  </a:lnTo>
                  <a:lnTo>
                    <a:pt x="103182" y="43340"/>
                  </a:lnTo>
                  <a:lnTo>
                    <a:pt x="103247" y="42619"/>
                  </a:lnTo>
                  <a:lnTo>
                    <a:pt x="103586" y="41973"/>
                  </a:lnTo>
                  <a:close/>
                  <a:moveTo>
                    <a:pt x="93841" y="33946"/>
                  </a:moveTo>
                  <a:lnTo>
                    <a:pt x="94316" y="35369"/>
                  </a:lnTo>
                  <a:lnTo>
                    <a:pt x="93764" y="36458"/>
                  </a:lnTo>
                  <a:lnTo>
                    <a:pt x="92626" y="36864"/>
                  </a:lnTo>
                  <a:lnTo>
                    <a:pt x="91997" y="35471"/>
                  </a:lnTo>
                  <a:lnTo>
                    <a:pt x="92870" y="34073"/>
                  </a:lnTo>
                  <a:close/>
                  <a:moveTo>
                    <a:pt x="79612" y="26977"/>
                  </a:moveTo>
                  <a:lnTo>
                    <a:pt x="80930" y="27344"/>
                  </a:lnTo>
                  <a:lnTo>
                    <a:pt x="81660" y="28320"/>
                  </a:lnTo>
                  <a:lnTo>
                    <a:pt x="81660" y="29328"/>
                  </a:lnTo>
                  <a:lnTo>
                    <a:pt x="82308" y="29764"/>
                  </a:lnTo>
                  <a:lnTo>
                    <a:pt x="82951" y="29835"/>
                  </a:lnTo>
                  <a:lnTo>
                    <a:pt x="84551" y="31762"/>
                  </a:lnTo>
                  <a:lnTo>
                    <a:pt x="87035" y="33421"/>
                  </a:lnTo>
                  <a:lnTo>
                    <a:pt x="88546" y="34690"/>
                  </a:lnTo>
                  <a:lnTo>
                    <a:pt x="88637" y="35775"/>
                  </a:lnTo>
                  <a:lnTo>
                    <a:pt x="88177" y="36921"/>
                  </a:lnTo>
                  <a:lnTo>
                    <a:pt x="88816" y="38976"/>
                  </a:lnTo>
                  <a:lnTo>
                    <a:pt x="89127" y="41108"/>
                  </a:lnTo>
                  <a:lnTo>
                    <a:pt x="90229" y="44488"/>
                  </a:lnTo>
                  <a:lnTo>
                    <a:pt x="88674" y="45130"/>
                  </a:lnTo>
                  <a:lnTo>
                    <a:pt x="86227" y="45206"/>
                  </a:lnTo>
                  <a:lnTo>
                    <a:pt x="85662" y="45815"/>
                  </a:lnTo>
                  <a:lnTo>
                    <a:pt x="84828" y="45478"/>
                  </a:lnTo>
                  <a:lnTo>
                    <a:pt x="82796" y="45730"/>
                  </a:lnTo>
                  <a:lnTo>
                    <a:pt x="80854" y="46844"/>
                  </a:lnTo>
                  <a:lnTo>
                    <a:pt x="79006" y="48356"/>
                  </a:lnTo>
                  <a:lnTo>
                    <a:pt x="76879" y="48361"/>
                  </a:lnTo>
                  <a:lnTo>
                    <a:pt x="74480" y="48673"/>
                  </a:lnTo>
                  <a:lnTo>
                    <a:pt x="72083" y="48463"/>
                  </a:lnTo>
                  <a:lnTo>
                    <a:pt x="70397" y="47656"/>
                  </a:lnTo>
                  <a:lnTo>
                    <a:pt x="67426" y="46777"/>
                  </a:lnTo>
                  <a:lnTo>
                    <a:pt x="63465" y="46027"/>
                  </a:lnTo>
                  <a:lnTo>
                    <a:pt x="61826" y="45398"/>
                  </a:lnTo>
                  <a:lnTo>
                    <a:pt x="60459" y="44412"/>
                  </a:lnTo>
                  <a:lnTo>
                    <a:pt x="59179" y="41926"/>
                  </a:lnTo>
                  <a:lnTo>
                    <a:pt x="58989" y="40700"/>
                  </a:lnTo>
                  <a:lnTo>
                    <a:pt x="59190" y="39526"/>
                  </a:lnTo>
                  <a:lnTo>
                    <a:pt x="60347" y="39129"/>
                  </a:lnTo>
                  <a:lnTo>
                    <a:pt x="61316" y="38534"/>
                  </a:lnTo>
                  <a:lnTo>
                    <a:pt x="61455" y="37759"/>
                  </a:lnTo>
                  <a:lnTo>
                    <a:pt x="61882" y="37218"/>
                  </a:lnTo>
                  <a:lnTo>
                    <a:pt x="62439" y="37022"/>
                  </a:lnTo>
                  <a:lnTo>
                    <a:pt x="62711" y="36647"/>
                  </a:lnTo>
                  <a:lnTo>
                    <a:pt x="62321" y="35389"/>
                  </a:lnTo>
                  <a:lnTo>
                    <a:pt x="62213" y="34238"/>
                  </a:lnTo>
                  <a:lnTo>
                    <a:pt x="64508" y="32139"/>
                  </a:lnTo>
                  <a:lnTo>
                    <a:pt x="67017" y="30349"/>
                  </a:lnTo>
                  <a:lnTo>
                    <a:pt x="71439" y="28696"/>
                  </a:lnTo>
                  <a:lnTo>
                    <a:pt x="74143" y="28847"/>
                  </a:lnTo>
                  <a:lnTo>
                    <a:pt x="78287" y="27575"/>
                  </a:lnTo>
                  <a:close/>
                  <a:moveTo>
                    <a:pt x="105828" y="25683"/>
                  </a:moveTo>
                  <a:lnTo>
                    <a:pt x="106590" y="25709"/>
                  </a:lnTo>
                  <a:lnTo>
                    <a:pt x="107147" y="26034"/>
                  </a:lnTo>
                  <a:lnTo>
                    <a:pt x="107464" y="26824"/>
                  </a:lnTo>
                  <a:lnTo>
                    <a:pt x="106916" y="28203"/>
                  </a:lnTo>
                  <a:lnTo>
                    <a:pt x="106178" y="28819"/>
                  </a:lnTo>
                  <a:close/>
                  <a:moveTo>
                    <a:pt x="122763" y="12765"/>
                  </a:moveTo>
                  <a:lnTo>
                    <a:pt x="123618" y="14516"/>
                  </a:lnTo>
                  <a:lnTo>
                    <a:pt x="122613" y="16447"/>
                  </a:lnTo>
                  <a:lnTo>
                    <a:pt x="120244" y="18142"/>
                  </a:lnTo>
                  <a:lnTo>
                    <a:pt x="119689" y="19013"/>
                  </a:lnTo>
                  <a:lnTo>
                    <a:pt x="118050" y="19859"/>
                  </a:lnTo>
                  <a:lnTo>
                    <a:pt x="117411" y="19035"/>
                  </a:lnTo>
                  <a:lnTo>
                    <a:pt x="118162" y="17031"/>
                  </a:lnTo>
                  <a:lnTo>
                    <a:pt x="119689" y="14980"/>
                  </a:lnTo>
                  <a:lnTo>
                    <a:pt x="122042" y="13040"/>
                  </a:lnTo>
                  <a:close/>
                  <a:moveTo>
                    <a:pt x="121880" y="6932"/>
                  </a:moveTo>
                  <a:lnTo>
                    <a:pt x="121296" y="8012"/>
                  </a:lnTo>
                  <a:lnTo>
                    <a:pt x="121249" y="8551"/>
                  </a:lnTo>
                  <a:lnTo>
                    <a:pt x="119689" y="9397"/>
                  </a:lnTo>
                  <a:lnTo>
                    <a:pt x="119406" y="9423"/>
                  </a:lnTo>
                  <a:lnTo>
                    <a:pt x="119350" y="8991"/>
                  </a:lnTo>
                  <a:lnTo>
                    <a:pt x="119689" y="8234"/>
                  </a:lnTo>
                  <a:lnTo>
                    <a:pt x="120935" y="7157"/>
                  </a:lnTo>
                  <a:close/>
                  <a:moveTo>
                    <a:pt x="120366" y="0"/>
                  </a:moveTo>
                  <a:lnTo>
                    <a:pt x="120915" y="0"/>
                  </a:lnTo>
                  <a:lnTo>
                    <a:pt x="120659" y="525"/>
                  </a:lnTo>
                  <a:lnTo>
                    <a:pt x="119689" y="957"/>
                  </a:lnTo>
                  <a:lnTo>
                    <a:pt x="119672" y="963"/>
                  </a:lnTo>
                  <a:lnTo>
                    <a:pt x="116333" y="3984"/>
                  </a:lnTo>
                  <a:lnTo>
                    <a:pt x="115130" y="5542"/>
                  </a:lnTo>
                  <a:lnTo>
                    <a:pt x="114120" y="7267"/>
                  </a:lnTo>
                  <a:lnTo>
                    <a:pt x="111267" y="9117"/>
                  </a:lnTo>
                  <a:lnTo>
                    <a:pt x="110052" y="11597"/>
                  </a:lnTo>
                  <a:lnTo>
                    <a:pt x="110140" y="14110"/>
                  </a:lnTo>
                  <a:lnTo>
                    <a:pt x="112990" y="11484"/>
                  </a:lnTo>
                  <a:lnTo>
                    <a:pt x="116173" y="9339"/>
                  </a:lnTo>
                  <a:lnTo>
                    <a:pt x="117145" y="8906"/>
                  </a:lnTo>
                  <a:lnTo>
                    <a:pt x="118150" y="8928"/>
                  </a:lnTo>
                  <a:lnTo>
                    <a:pt x="118065" y="9661"/>
                  </a:lnTo>
                  <a:lnTo>
                    <a:pt x="117609" y="10386"/>
                  </a:lnTo>
                  <a:lnTo>
                    <a:pt x="117257" y="12281"/>
                  </a:lnTo>
                  <a:lnTo>
                    <a:pt x="118095" y="14041"/>
                  </a:lnTo>
                  <a:lnTo>
                    <a:pt x="115727" y="13870"/>
                  </a:lnTo>
                  <a:lnTo>
                    <a:pt x="113382" y="14021"/>
                  </a:lnTo>
                  <a:lnTo>
                    <a:pt x="110600" y="15009"/>
                  </a:lnTo>
                  <a:lnTo>
                    <a:pt x="107868" y="15442"/>
                  </a:lnTo>
                  <a:lnTo>
                    <a:pt x="106850" y="15453"/>
                  </a:lnTo>
                  <a:lnTo>
                    <a:pt x="105869" y="15122"/>
                  </a:lnTo>
                  <a:lnTo>
                    <a:pt x="105227" y="14616"/>
                  </a:lnTo>
                  <a:lnTo>
                    <a:pt x="104726" y="13442"/>
                  </a:lnTo>
                  <a:lnTo>
                    <a:pt x="104221" y="13266"/>
                  </a:lnTo>
                  <a:lnTo>
                    <a:pt x="102051" y="13320"/>
                  </a:lnTo>
                  <a:lnTo>
                    <a:pt x="98804" y="15613"/>
                  </a:lnTo>
                  <a:lnTo>
                    <a:pt x="97728" y="17582"/>
                  </a:lnTo>
                  <a:lnTo>
                    <a:pt x="96480" y="17669"/>
                  </a:lnTo>
                  <a:lnTo>
                    <a:pt x="95005" y="17261"/>
                  </a:lnTo>
                  <a:lnTo>
                    <a:pt x="93219" y="18764"/>
                  </a:lnTo>
                  <a:lnTo>
                    <a:pt x="91090" y="19310"/>
                  </a:lnTo>
                  <a:lnTo>
                    <a:pt x="90170" y="18033"/>
                  </a:lnTo>
                  <a:lnTo>
                    <a:pt x="89574" y="16470"/>
                  </a:lnTo>
                  <a:lnTo>
                    <a:pt x="88814" y="15317"/>
                  </a:lnTo>
                  <a:lnTo>
                    <a:pt x="86465" y="15029"/>
                  </a:lnTo>
                  <a:lnTo>
                    <a:pt x="86825" y="13624"/>
                  </a:lnTo>
                  <a:lnTo>
                    <a:pt x="87449" y="13042"/>
                  </a:lnTo>
                  <a:lnTo>
                    <a:pt x="88020" y="12210"/>
                  </a:lnTo>
                  <a:lnTo>
                    <a:pt x="88369" y="11256"/>
                  </a:lnTo>
                  <a:lnTo>
                    <a:pt x="89490" y="11861"/>
                  </a:lnTo>
                  <a:lnTo>
                    <a:pt x="90640" y="12250"/>
                  </a:lnTo>
                  <a:lnTo>
                    <a:pt x="91928" y="11535"/>
                  </a:lnTo>
                  <a:lnTo>
                    <a:pt x="93267" y="11473"/>
                  </a:lnTo>
                  <a:lnTo>
                    <a:pt x="94608" y="9397"/>
                  </a:lnTo>
                  <a:lnTo>
                    <a:pt x="96704" y="8097"/>
                  </a:lnTo>
                  <a:lnTo>
                    <a:pt x="99598" y="7068"/>
                  </a:lnTo>
                  <a:lnTo>
                    <a:pt x="102544" y="6334"/>
                  </a:lnTo>
                  <a:lnTo>
                    <a:pt x="104068" y="6185"/>
                  </a:lnTo>
                  <a:lnTo>
                    <a:pt x="105519" y="5759"/>
                  </a:lnTo>
                  <a:lnTo>
                    <a:pt x="108082" y="3813"/>
                  </a:lnTo>
                  <a:lnTo>
                    <a:pt x="109777" y="2809"/>
                  </a:lnTo>
                  <a:lnTo>
                    <a:pt x="111624" y="2204"/>
                  </a:lnTo>
                  <a:lnTo>
                    <a:pt x="113388" y="1849"/>
                  </a:lnTo>
                  <a:lnTo>
                    <a:pt x="115020" y="2164"/>
                  </a:lnTo>
                  <a:lnTo>
                    <a:pt x="116331" y="2000"/>
                  </a:lnTo>
                  <a:lnTo>
                    <a:pt x="119689" y="609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77" name="ee4p_NZ_1_82333">
              <a:extLst>
                <a:ext uri="{FF2B5EF4-FFF2-40B4-BE49-F238E27FC236}">
                  <a16:creationId xmlns:a16="http://schemas.microsoft.com/office/drawing/2014/main" id="{8ACF89A6-096C-3848-987B-BF5DBE18A454}"/>
                </a:ext>
              </a:extLst>
            </p:cNvPr>
            <p:cNvSpPr>
              <a:spLocks noChangeAspect="1"/>
            </p:cNvSpPr>
            <p:nvPr>
              <p:custDataLst>
                <p:tags r:id="rId5"/>
              </p:custDataLst>
            </p:nvPr>
          </p:nvSpPr>
          <p:spPr>
            <a:xfrm>
              <a:off x="11137675" y="5698059"/>
              <a:ext cx="334859" cy="436019"/>
            </a:xfrm>
            <a:custGeom>
              <a:avLst/>
              <a:gdLst>
                <a:gd name="connsiteX0" fmla="*/ 32684 w 266641"/>
                <a:gd name="connsiteY0" fmla="*/ 322106 h 337989"/>
                <a:gd name="connsiteX1" fmla="*/ 36868 w 266641"/>
                <a:gd name="connsiteY1" fmla="*/ 326777 h 337989"/>
                <a:gd name="connsiteX2" fmla="*/ 36876 w 266641"/>
                <a:gd name="connsiteY2" fmla="*/ 327891 h 337989"/>
                <a:gd name="connsiteX3" fmla="*/ 34569 w 266641"/>
                <a:gd name="connsiteY3" fmla="*/ 327490 h 337989"/>
                <a:gd name="connsiteX4" fmla="*/ 34617 w 266641"/>
                <a:gd name="connsiteY4" fmla="*/ 328740 h 337989"/>
                <a:gd name="connsiteX5" fmla="*/ 36437 w 266641"/>
                <a:gd name="connsiteY5" fmla="*/ 329397 h 337989"/>
                <a:gd name="connsiteX6" fmla="*/ 37111 w 266641"/>
                <a:gd name="connsiteY6" fmla="*/ 330293 h 337989"/>
                <a:gd name="connsiteX7" fmla="*/ 39001 w 266641"/>
                <a:gd name="connsiteY7" fmla="*/ 330034 h 337989"/>
                <a:gd name="connsiteX8" fmla="*/ 39426 w 266641"/>
                <a:gd name="connsiteY8" fmla="*/ 331375 h 337989"/>
                <a:gd name="connsiteX9" fmla="*/ 38990 w 266641"/>
                <a:gd name="connsiteY9" fmla="*/ 332575 h 337989"/>
                <a:gd name="connsiteX10" fmla="*/ 37729 w 266641"/>
                <a:gd name="connsiteY10" fmla="*/ 333456 h 337989"/>
                <a:gd name="connsiteX11" fmla="*/ 33996 w 266641"/>
                <a:gd name="connsiteY11" fmla="*/ 333901 h 337989"/>
                <a:gd name="connsiteX12" fmla="*/ 31574 w 266641"/>
                <a:gd name="connsiteY12" fmla="*/ 335645 h 337989"/>
                <a:gd name="connsiteX13" fmla="*/ 29477 w 266641"/>
                <a:gd name="connsiteY13" fmla="*/ 335381 h 337989"/>
                <a:gd name="connsiteX14" fmla="*/ 28908 w 266641"/>
                <a:gd name="connsiteY14" fmla="*/ 335539 h 337989"/>
                <a:gd name="connsiteX15" fmla="*/ 26506 w 266641"/>
                <a:gd name="connsiteY15" fmla="*/ 337410 h 337989"/>
                <a:gd name="connsiteX16" fmla="*/ 23820 w 266641"/>
                <a:gd name="connsiteY16" fmla="*/ 337989 h 337989"/>
                <a:gd name="connsiteX17" fmla="*/ 23092 w 266641"/>
                <a:gd name="connsiteY17" fmla="*/ 337850 h 337989"/>
                <a:gd name="connsiteX18" fmla="*/ 23464 w 266641"/>
                <a:gd name="connsiteY18" fmla="*/ 336181 h 337989"/>
                <a:gd name="connsiteX19" fmla="*/ 25459 w 266641"/>
                <a:gd name="connsiteY19" fmla="*/ 334594 h 337989"/>
                <a:gd name="connsiteX20" fmla="*/ 25502 w 266641"/>
                <a:gd name="connsiteY20" fmla="*/ 333071 h 337989"/>
                <a:gd name="connsiteX21" fmla="*/ 26014 w 266641"/>
                <a:gd name="connsiteY21" fmla="*/ 331855 h 337989"/>
                <a:gd name="connsiteX22" fmla="*/ 27934 w 266641"/>
                <a:gd name="connsiteY22" fmla="*/ 330999 h 337989"/>
                <a:gd name="connsiteX23" fmla="*/ 27957 w 266641"/>
                <a:gd name="connsiteY23" fmla="*/ 329416 h 337989"/>
                <a:gd name="connsiteX24" fmla="*/ 29257 w 266641"/>
                <a:gd name="connsiteY24" fmla="*/ 328013 h 337989"/>
                <a:gd name="connsiteX25" fmla="*/ 28471 w 266641"/>
                <a:gd name="connsiteY25" fmla="*/ 324979 h 337989"/>
                <a:gd name="connsiteX26" fmla="*/ 28886 w 266641"/>
                <a:gd name="connsiteY26" fmla="*/ 322255 h 337989"/>
                <a:gd name="connsiteX27" fmla="*/ 4600 w 266641"/>
                <a:gd name="connsiteY27" fmla="*/ 292250 h 337989"/>
                <a:gd name="connsiteX28" fmla="*/ 5612 w 266641"/>
                <a:gd name="connsiteY28" fmla="*/ 292900 h 337989"/>
                <a:gd name="connsiteX29" fmla="*/ 5941 w 266641"/>
                <a:gd name="connsiteY29" fmla="*/ 293373 h 337989"/>
                <a:gd name="connsiteX30" fmla="*/ 5824 w 266641"/>
                <a:gd name="connsiteY30" fmla="*/ 294725 h 337989"/>
                <a:gd name="connsiteX31" fmla="*/ 5562 w 266641"/>
                <a:gd name="connsiteY31" fmla="*/ 295405 h 337989"/>
                <a:gd name="connsiteX32" fmla="*/ 4796 w 266641"/>
                <a:gd name="connsiteY32" fmla="*/ 295410 h 337989"/>
                <a:gd name="connsiteX33" fmla="*/ 3646 w 266641"/>
                <a:gd name="connsiteY33" fmla="*/ 295260 h 337989"/>
                <a:gd name="connsiteX34" fmla="*/ 2522 w 266641"/>
                <a:gd name="connsiteY34" fmla="*/ 294636 h 337989"/>
                <a:gd name="connsiteX35" fmla="*/ 1803 w 266641"/>
                <a:gd name="connsiteY35" fmla="*/ 294813 h 337989"/>
                <a:gd name="connsiteX36" fmla="*/ 1203 w 266641"/>
                <a:gd name="connsiteY36" fmla="*/ 294582 h 337989"/>
                <a:gd name="connsiteX37" fmla="*/ 1978 w 266641"/>
                <a:gd name="connsiteY37" fmla="*/ 293058 h 337989"/>
                <a:gd name="connsiteX38" fmla="*/ 11097 w 266641"/>
                <a:gd name="connsiteY38" fmla="*/ 280302 h 337989"/>
                <a:gd name="connsiteX39" fmla="*/ 12051 w 266641"/>
                <a:gd name="connsiteY39" fmla="*/ 283593 h 337989"/>
                <a:gd name="connsiteX40" fmla="*/ 10028 w 266641"/>
                <a:gd name="connsiteY40" fmla="*/ 282964 h 337989"/>
                <a:gd name="connsiteX41" fmla="*/ 9177 w 266641"/>
                <a:gd name="connsiteY41" fmla="*/ 281969 h 337989"/>
                <a:gd name="connsiteX42" fmla="*/ 10726 w 266641"/>
                <a:gd name="connsiteY42" fmla="*/ 280321 h 337989"/>
                <a:gd name="connsiteX43" fmla="*/ 165550 w 266641"/>
                <a:gd name="connsiteY43" fmla="*/ 160623 h 337989"/>
                <a:gd name="connsiteX44" fmla="*/ 165407 w 266641"/>
                <a:gd name="connsiteY44" fmla="*/ 162561 h 337989"/>
                <a:gd name="connsiteX45" fmla="*/ 164448 w 266641"/>
                <a:gd name="connsiteY45" fmla="*/ 164580 h 337989"/>
                <a:gd name="connsiteX46" fmla="*/ 161489 w 266641"/>
                <a:gd name="connsiteY46" fmla="*/ 166107 h 337989"/>
                <a:gd name="connsiteX47" fmla="*/ 161608 w 266641"/>
                <a:gd name="connsiteY47" fmla="*/ 165047 h 337989"/>
                <a:gd name="connsiteX48" fmla="*/ 162187 w 266641"/>
                <a:gd name="connsiteY48" fmla="*/ 162741 h 337989"/>
                <a:gd name="connsiteX49" fmla="*/ 163534 w 266641"/>
                <a:gd name="connsiteY49" fmla="*/ 161577 h 337989"/>
                <a:gd name="connsiteX50" fmla="*/ 164198 w 266641"/>
                <a:gd name="connsiteY50" fmla="*/ 161497 h 337989"/>
                <a:gd name="connsiteX51" fmla="*/ 140467 w 266641"/>
                <a:gd name="connsiteY51" fmla="*/ 154780 h 337989"/>
                <a:gd name="connsiteX52" fmla="*/ 142977 w 266641"/>
                <a:gd name="connsiteY52" fmla="*/ 155532 h 337989"/>
                <a:gd name="connsiteX53" fmla="*/ 138311 w 266641"/>
                <a:gd name="connsiteY53" fmla="*/ 156187 h 337989"/>
                <a:gd name="connsiteX54" fmla="*/ 137836 w 266641"/>
                <a:gd name="connsiteY54" fmla="*/ 157801 h 337989"/>
                <a:gd name="connsiteX55" fmla="*/ 137687 w 266641"/>
                <a:gd name="connsiteY55" fmla="*/ 159438 h 337989"/>
                <a:gd name="connsiteX56" fmla="*/ 138229 w 266641"/>
                <a:gd name="connsiteY56" fmla="*/ 160903 h 337989"/>
                <a:gd name="connsiteX57" fmla="*/ 139067 w 266641"/>
                <a:gd name="connsiteY57" fmla="*/ 162210 h 337989"/>
                <a:gd name="connsiteX58" fmla="*/ 141329 w 266641"/>
                <a:gd name="connsiteY58" fmla="*/ 163441 h 337989"/>
                <a:gd name="connsiteX59" fmla="*/ 143973 w 266641"/>
                <a:gd name="connsiteY59" fmla="*/ 164175 h 337989"/>
                <a:gd name="connsiteX60" fmla="*/ 145158 w 266641"/>
                <a:gd name="connsiteY60" fmla="*/ 166944 h 337989"/>
                <a:gd name="connsiteX61" fmla="*/ 145376 w 266641"/>
                <a:gd name="connsiteY61" fmla="*/ 170233 h 337989"/>
                <a:gd name="connsiteX62" fmla="*/ 145741 w 266641"/>
                <a:gd name="connsiteY62" fmla="*/ 173057 h 337989"/>
                <a:gd name="connsiteX63" fmla="*/ 146773 w 266641"/>
                <a:gd name="connsiteY63" fmla="*/ 175521 h 337989"/>
                <a:gd name="connsiteX64" fmla="*/ 149328 w 266641"/>
                <a:gd name="connsiteY64" fmla="*/ 175649 h 337989"/>
                <a:gd name="connsiteX65" fmla="*/ 151692 w 266641"/>
                <a:gd name="connsiteY65" fmla="*/ 173718 h 337989"/>
                <a:gd name="connsiteX66" fmla="*/ 154113 w 266641"/>
                <a:gd name="connsiteY66" fmla="*/ 172149 h 337989"/>
                <a:gd name="connsiteX67" fmla="*/ 156661 w 266641"/>
                <a:gd name="connsiteY67" fmla="*/ 170850 h 337989"/>
                <a:gd name="connsiteX68" fmla="*/ 160539 w 266641"/>
                <a:gd name="connsiteY68" fmla="*/ 167874 h 337989"/>
                <a:gd name="connsiteX69" fmla="*/ 161554 w 266641"/>
                <a:gd name="connsiteY69" fmla="*/ 167437 h 337989"/>
                <a:gd name="connsiteX70" fmla="*/ 164070 w 266641"/>
                <a:gd name="connsiteY70" fmla="*/ 166870 h 337989"/>
                <a:gd name="connsiteX71" fmla="*/ 165167 w 266641"/>
                <a:gd name="connsiteY71" fmla="*/ 166169 h 337989"/>
                <a:gd name="connsiteX72" fmla="*/ 166389 w 266641"/>
                <a:gd name="connsiteY72" fmla="*/ 166002 h 337989"/>
                <a:gd name="connsiteX73" fmla="*/ 165292 w 266641"/>
                <a:gd name="connsiteY73" fmla="*/ 167766 h 337989"/>
                <a:gd name="connsiteX74" fmla="*/ 163899 w 266641"/>
                <a:gd name="connsiteY74" fmla="*/ 168354 h 337989"/>
                <a:gd name="connsiteX75" fmla="*/ 163679 w 266641"/>
                <a:gd name="connsiteY75" fmla="*/ 168992 h 337989"/>
                <a:gd name="connsiteX76" fmla="*/ 164458 w 266641"/>
                <a:gd name="connsiteY76" fmla="*/ 170009 h 337989"/>
                <a:gd name="connsiteX77" fmla="*/ 163247 w 266641"/>
                <a:gd name="connsiteY77" fmla="*/ 171439 h 337989"/>
                <a:gd name="connsiteX78" fmla="*/ 163292 w 266641"/>
                <a:gd name="connsiteY78" fmla="*/ 173222 h 337989"/>
                <a:gd name="connsiteX79" fmla="*/ 161865 w 266641"/>
                <a:gd name="connsiteY79" fmla="*/ 175327 h 337989"/>
                <a:gd name="connsiteX80" fmla="*/ 164059 w 266641"/>
                <a:gd name="connsiteY80" fmla="*/ 174468 h 337989"/>
                <a:gd name="connsiteX81" fmla="*/ 164862 w 266641"/>
                <a:gd name="connsiteY81" fmla="*/ 173096 h 337989"/>
                <a:gd name="connsiteX82" fmla="*/ 164448 w 266641"/>
                <a:gd name="connsiteY82" fmla="*/ 172324 h 337989"/>
                <a:gd name="connsiteX83" fmla="*/ 165398 w 266641"/>
                <a:gd name="connsiteY83" fmla="*/ 170793 h 337989"/>
                <a:gd name="connsiteX84" fmla="*/ 166867 w 266641"/>
                <a:gd name="connsiteY84" fmla="*/ 170066 h 337989"/>
                <a:gd name="connsiteX85" fmla="*/ 166281 w 266641"/>
                <a:gd name="connsiteY85" fmla="*/ 168904 h 337989"/>
                <a:gd name="connsiteX86" fmla="*/ 166322 w 266641"/>
                <a:gd name="connsiteY86" fmla="*/ 167987 h 337989"/>
                <a:gd name="connsiteX87" fmla="*/ 168117 w 266641"/>
                <a:gd name="connsiteY87" fmla="*/ 168326 h 337989"/>
                <a:gd name="connsiteX88" fmla="*/ 169014 w 266641"/>
                <a:gd name="connsiteY88" fmla="*/ 168287 h 337989"/>
                <a:gd name="connsiteX89" fmla="*/ 169724 w 266641"/>
                <a:gd name="connsiteY89" fmla="*/ 167925 h 337989"/>
                <a:gd name="connsiteX90" fmla="*/ 171019 w 266641"/>
                <a:gd name="connsiteY90" fmla="*/ 167781 h 337989"/>
                <a:gd name="connsiteX91" fmla="*/ 171285 w 266641"/>
                <a:gd name="connsiteY91" fmla="*/ 168806 h 337989"/>
                <a:gd name="connsiteX92" fmla="*/ 173025 w 266641"/>
                <a:gd name="connsiteY92" fmla="*/ 168678 h 337989"/>
                <a:gd name="connsiteX93" fmla="*/ 172393 w 266641"/>
                <a:gd name="connsiteY93" fmla="*/ 169973 h 337989"/>
                <a:gd name="connsiteX94" fmla="*/ 171060 w 266641"/>
                <a:gd name="connsiteY94" fmla="*/ 171470 h 337989"/>
                <a:gd name="connsiteX95" fmla="*/ 170747 w 266641"/>
                <a:gd name="connsiteY95" fmla="*/ 172380 h 337989"/>
                <a:gd name="connsiteX96" fmla="*/ 168615 w 266641"/>
                <a:gd name="connsiteY96" fmla="*/ 173888 h 337989"/>
                <a:gd name="connsiteX97" fmla="*/ 167188 w 266641"/>
                <a:gd name="connsiteY97" fmla="*/ 174534 h 337989"/>
                <a:gd name="connsiteX98" fmla="*/ 169389 w 266641"/>
                <a:gd name="connsiteY98" fmla="*/ 174702 h 337989"/>
                <a:gd name="connsiteX99" fmla="*/ 172607 w 266641"/>
                <a:gd name="connsiteY99" fmla="*/ 172681 h 337989"/>
                <a:gd name="connsiteX100" fmla="*/ 174520 w 266641"/>
                <a:gd name="connsiteY100" fmla="*/ 170893 h 337989"/>
                <a:gd name="connsiteX101" fmla="*/ 174463 w 266641"/>
                <a:gd name="connsiteY101" fmla="*/ 173124 h 337989"/>
                <a:gd name="connsiteX102" fmla="*/ 172909 w 266641"/>
                <a:gd name="connsiteY102" fmla="*/ 175124 h 337989"/>
                <a:gd name="connsiteX103" fmla="*/ 171578 w 266641"/>
                <a:gd name="connsiteY103" fmla="*/ 176389 h 337989"/>
                <a:gd name="connsiteX104" fmla="*/ 170083 w 266641"/>
                <a:gd name="connsiteY104" fmla="*/ 176780 h 337989"/>
                <a:gd name="connsiteX105" fmla="*/ 168592 w 266641"/>
                <a:gd name="connsiteY105" fmla="*/ 177806 h 337989"/>
                <a:gd name="connsiteX106" fmla="*/ 167869 w 266641"/>
                <a:gd name="connsiteY106" fmla="*/ 179484 h 337989"/>
                <a:gd name="connsiteX107" fmla="*/ 167949 w 266641"/>
                <a:gd name="connsiteY107" fmla="*/ 180599 h 337989"/>
                <a:gd name="connsiteX108" fmla="*/ 168378 w 266641"/>
                <a:gd name="connsiteY108" fmla="*/ 181484 h 337989"/>
                <a:gd name="connsiteX109" fmla="*/ 169898 w 266641"/>
                <a:gd name="connsiteY109" fmla="*/ 182981 h 337989"/>
                <a:gd name="connsiteX110" fmla="*/ 168186 w 266641"/>
                <a:gd name="connsiteY110" fmla="*/ 185864 h 337989"/>
                <a:gd name="connsiteX111" fmla="*/ 170093 w 266641"/>
                <a:gd name="connsiteY111" fmla="*/ 185505 h 337989"/>
                <a:gd name="connsiteX112" fmla="*/ 171135 w 266641"/>
                <a:gd name="connsiteY112" fmla="*/ 186048 h 337989"/>
                <a:gd name="connsiteX113" fmla="*/ 172596 w 266641"/>
                <a:gd name="connsiteY113" fmla="*/ 187713 h 337989"/>
                <a:gd name="connsiteX114" fmla="*/ 171717 w 266641"/>
                <a:gd name="connsiteY114" fmla="*/ 189633 h 337989"/>
                <a:gd name="connsiteX115" fmla="*/ 171099 w 266641"/>
                <a:gd name="connsiteY115" fmla="*/ 190616 h 337989"/>
                <a:gd name="connsiteX116" fmla="*/ 167380 w 266641"/>
                <a:gd name="connsiteY116" fmla="*/ 194671 h 337989"/>
                <a:gd name="connsiteX117" fmla="*/ 165759 w 266641"/>
                <a:gd name="connsiteY117" fmla="*/ 196730 h 337989"/>
                <a:gd name="connsiteX118" fmla="*/ 163858 w 266641"/>
                <a:gd name="connsiteY118" fmla="*/ 198048 h 337989"/>
                <a:gd name="connsiteX119" fmla="*/ 163885 w 266641"/>
                <a:gd name="connsiteY119" fmla="*/ 200214 h 337989"/>
                <a:gd name="connsiteX120" fmla="*/ 162794 w 266641"/>
                <a:gd name="connsiteY120" fmla="*/ 201791 h 337989"/>
                <a:gd name="connsiteX121" fmla="*/ 157253 w 266641"/>
                <a:gd name="connsiteY121" fmla="*/ 207200 h 337989"/>
                <a:gd name="connsiteX122" fmla="*/ 156277 w 266641"/>
                <a:gd name="connsiteY122" fmla="*/ 208374 h 337989"/>
                <a:gd name="connsiteX123" fmla="*/ 151909 w 266641"/>
                <a:gd name="connsiteY123" fmla="*/ 217000 h 337989"/>
                <a:gd name="connsiteX124" fmla="*/ 149114 w 266641"/>
                <a:gd name="connsiteY124" fmla="*/ 220635 h 337989"/>
                <a:gd name="connsiteX125" fmla="*/ 147514 w 266641"/>
                <a:gd name="connsiteY125" fmla="*/ 221872 h 337989"/>
                <a:gd name="connsiteX126" fmla="*/ 145823 w 266641"/>
                <a:gd name="connsiteY126" fmla="*/ 222878 h 337989"/>
                <a:gd name="connsiteX127" fmla="*/ 141766 w 266641"/>
                <a:gd name="connsiteY127" fmla="*/ 224594 h 337989"/>
                <a:gd name="connsiteX128" fmla="*/ 139978 w 266641"/>
                <a:gd name="connsiteY128" fmla="*/ 226567 h 337989"/>
                <a:gd name="connsiteX129" fmla="*/ 137999 w 266641"/>
                <a:gd name="connsiteY129" fmla="*/ 228207 h 337989"/>
                <a:gd name="connsiteX130" fmla="*/ 135910 w 266641"/>
                <a:gd name="connsiteY130" fmla="*/ 228574 h 337989"/>
                <a:gd name="connsiteX131" fmla="*/ 135975 w 266641"/>
                <a:gd name="connsiteY131" fmla="*/ 229301 h 337989"/>
                <a:gd name="connsiteX132" fmla="*/ 137313 w 266641"/>
                <a:gd name="connsiteY132" fmla="*/ 229708 h 337989"/>
                <a:gd name="connsiteX133" fmla="*/ 138358 w 266641"/>
                <a:gd name="connsiteY133" fmla="*/ 230787 h 337989"/>
                <a:gd name="connsiteX134" fmla="*/ 137583 w 266641"/>
                <a:gd name="connsiteY134" fmla="*/ 231995 h 337989"/>
                <a:gd name="connsiteX135" fmla="*/ 136091 w 266641"/>
                <a:gd name="connsiteY135" fmla="*/ 232754 h 337989"/>
                <a:gd name="connsiteX136" fmla="*/ 134543 w 266641"/>
                <a:gd name="connsiteY136" fmla="*/ 232973 h 337989"/>
                <a:gd name="connsiteX137" fmla="*/ 133756 w 266641"/>
                <a:gd name="connsiteY137" fmla="*/ 233745 h 337989"/>
                <a:gd name="connsiteX138" fmla="*/ 137444 w 266641"/>
                <a:gd name="connsiteY138" fmla="*/ 233196 h 337989"/>
                <a:gd name="connsiteX139" fmla="*/ 138484 w 266641"/>
                <a:gd name="connsiteY139" fmla="*/ 233829 h 337989"/>
                <a:gd name="connsiteX140" fmla="*/ 138678 w 266641"/>
                <a:gd name="connsiteY140" fmla="*/ 235160 h 337989"/>
                <a:gd name="connsiteX141" fmla="*/ 139062 w 266641"/>
                <a:gd name="connsiteY141" fmla="*/ 236362 h 337989"/>
                <a:gd name="connsiteX142" fmla="*/ 139957 w 266641"/>
                <a:gd name="connsiteY142" fmla="*/ 237954 h 337989"/>
                <a:gd name="connsiteX143" fmla="*/ 143057 w 266641"/>
                <a:gd name="connsiteY143" fmla="*/ 238968 h 337989"/>
                <a:gd name="connsiteX144" fmla="*/ 145842 w 266641"/>
                <a:gd name="connsiteY144" fmla="*/ 239442 h 337989"/>
                <a:gd name="connsiteX145" fmla="*/ 146391 w 266641"/>
                <a:gd name="connsiteY145" fmla="*/ 240180 h 337989"/>
                <a:gd name="connsiteX146" fmla="*/ 146808 w 266641"/>
                <a:gd name="connsiteY146" fmla="*/ 242727 h 337989"/>
                <a:gd name="connsiteX147" fmla="*/ 146300 w 266641"/>
                <a:gd name="connsiteY147" fmla="*/ 243977 h 337989"/>
                <a:gd name="connsiteX148" fmla="*/ 145674 w 266641"/>
                <a:gd name="connsiteY148" fmla="*/ 244801 h 337989"/>
                <a:gd name="connsiteX149" fmla="*/ 144739 w 266641"/>
                <a:gd name="connsiteY149" fmla="*/ 245093 h 337989"/>
                <a:gd name="connsiteX150" fmla="*/ 142467 w 266641"/>
                <a:gd name="connsiteY150" fmla="*/ 245254 h 337989"/>
                <a:gd name="connsiteX151" fmla="*/ 140191 w 266641"/>
                <a:gd name="connsiteY151" fmla="*/ 244679 h 337989"/>
                <a:gd name="connsiteX152" fmla="*/ 138680 w 266641"/>
                <a:gd name="connsiteY152" fmla="*/ 243138 h 337989"/>
                <a:gd name="connsiteX153" fmla="*/ 134376 w 266641"/>
                <a:gd name="connsiteY153" fmla="*/ 243631 h 337989"/>
                <a:gd name="connsiteX154" fmla="*/ 133228 w 266641"/>
                <a:gd name="connsiteY154" fmla="*/ 243964 h 337989"/>
                <a:gd name="connsiteX155" fmla="*/ 132636 w 266641"/>
                <a:gd name="connsiteY155" fmla="*/ 243687 h 337989"/>
                <a:gd name="connsiteX156" fmla="*/ 135020 w 266641"/>
                <a:gd name="connsiteY156" fmla="*/ 242070 h 337989"/>
                <a:gd name="connsiteX157" fmla="*/ 133770 w 266641"/>
                <a:gd name="connsiteY157" fmla="*/ 241150 h 337989"/>
                <a:gd name="connsiteX158" fmla="*/ 132733 w 266641"/>
                <a:gd name="connsiteY158" fmla="*/ 240805 h 337989"/>
                <a:gd name="connsiteX159" fmla="*/ 131612 w 266641"/>
                <a:gd name="connsiteY159" fmla="*/ 241339 h 337989"/>
                <a:gd name="connsiteX160" fmla="*/ 130859 w 266641"/>
                <a:gd name="connsiteY160" fmla="*/ 242186 h 337989"/>
                <a:gd name="connsiteX161" fmla="*/ 130630 w 266641"/>
                <a:gd name="connsiteY161" fmla="*/ 243584 h 337989"/>
                <a:gd name="connsiteX162" fmla="*/ 129859 w 266641"/>
                <a:gd name="connsiteY162" fmla="*/ 244389 h 337989"/>
                <a:gd name="connsiteX163" fmla="*/ 128669 w 266641"/>
                <a:gd name="connsiteY163" fmla="*/ 244618 h 337989"/>
                <a:gd name="connsiteX164" fmla="*/ 126991 w 266641"/>
                <a:gd name="connsiteY164" fmla="*/ 243460 h 337989"/>
                <a:gd name="connsiteX165" fmla="*/ 125335 w 266641"/>
                <a:gd name="connsiteY165" fmla="*/ 241801 h 337989"/>
                <a:gd name="connsiteX166" fmla="*/ 122897 w 266641"/>
                <a:gd name="connsiteY166" fmla="*/ 240133 h 337989"/>
                <a:gd name="connsiteX167" fmla="*/ 123266 w 266641"/>
                <a:gd name="connsiteY167" fmla="*/ 241166 h 337989"/>
                <a:gd name="connsiteX168" fmla="*/ 125145 w 266641"/>
                <a:gd name="connsiteY168" fmla="*/ 243697 h 337989"/>
                <a:gd name="connsiteX169" fmla="*/ 126086 w 266641"/>
                <a:gd name="connsiteY169" fmla="*/ 245378 h 337989"/>
                <a:gd name="connsiteX170" fmla="*/ 123897 w 266641"/>
                <a:gd name="connsiteY170" fmla="*/ 246720 h 337989"/>
                <a:gd name="connsiteX171" fmla="*/ 121617 w 266641"/>
                <a:gd name="connsiteY171" fmla="*/ 247766 h 337989"/>
                <a:gd name="connsiteX172" fmla="*/ 119693 w 266641"/>
                <a:gd name="connsiteY172" fmla="*/ 248379 h 337989"/>
                <a:gd name="connsiteX173" fmla="*/ 117874 w 266641"/>
                <a:gd name="connsiteY173" fmla="*/ 249336 h 337989"/>
                <a:gd name="connsiteX174" fmla="*/ 115743 w 266641"/>
                <a:gd name="connsiteY174" fmla="*/ 250830 h 337989"/>
                <a:gd name="connsiteX175" fmla="*/ 114571 w 266641"/>
                <a:gd name="connsiteY175" fmla="*/ 251364 h 337989"/>
                <a:gd name="connsiteX176" fmla="*/ 111448 w 266641"/>
                <a:gd name="connsiteY176" fmla="*/ 251396 h 337989"/>
                <a:gd name="connsiteX177" fmla="*/ 109786 w 266641"/>
                <a:gd name="connsiteY177" fmla="*/ 251869 h 337989"/>
                <a:gd name="connsiteX178" fmla="*/ 109231 w 266641"/>
                <a:gd name="connsiteY178" fmla="*/ 253845 h 337989"/>
                <a:gd name="connsiteX179" fmla="*/ 108060 w 266641"/>
                <a:gd name="connsiteY179" fmla="*/ 255100 h 337989"/>
                <a:gd name="connsiteX180" fmla="*/ 105321 w 266641"/>
                <a:gd name="connsiteY180" fmla="*/ 255349 h 337989"/>
                <a:gd name="connsiteX181" fmla="*/ 106309 w 266641"/>
                <a:gd name="connsiteY181" fmla="*/ 255744 h 337989"/>
                <a:gd name="connsiteX182" fmla="*/ 106920 w 266641"/>
                <a:gd name="connsiteY182" fmla="*/ 256372 h 337989"/>
                <a:gd name="connsiteX183" fmla="*/ 105108 w 266641"/>
                <a:gd name="connsiteY183" fmla="*/ 262331 h 337989"/>
                <a:gd name="connsiteX184" fmla="*/ 104711 w 266641"/>
                <a:gd name="connsiteY184" fmla="*/ 264808 h 337989"/>
                <a:gd name="connsiteX185" fmla="*/ 104373 w 266641"/>
                <a:gd name="connsiteY185" fmla="*/ 269049 h 337989"/>
                <a:gd name="connsiteX186" fmla="*/ 103234 w 266641"/>
                <a:gd name="connsiteY186" fmla="*/ 272991 h 337989"/>
                <a:gd name="connsiteX187" fmla="*/ 99977 w 266641"/>
                <a:gd name="connsiteY187" fmla="*/ 272967 h 337989"/>
                <a:gd name="connsiteX188" fmla="*/ 100504 w 266641"/>
                <a:gd name="connsiteY188" fmla="*/ 273665 h 337989"/>
                <a:gd name="connsiteX189" fmla="*/ 102966 w 266641"/>
                <a:gd name="connsiteY189" fmla="*/ 274778 h 337989"/>
                <a:gd name="connsiteX190" fmla="*/ 102504 w 266641"/>
                <a:gd name="connsiteY190" fmla="*/ 276460 h 337989"/>
                <a:gd name="connsiteX191" fmla="*/ 99794 w 266641"/>
                <a:gd name="connsiteY191" fmla="*/ 279530 h 337989"/>
                <a:gd name="connsiteX192" fmla="*/ 98665 w 266641"/>
                <a:gd name="connsiteY192" fmla="*/ 281308 h 337989"/>
                <a:gd name="connsiteX193" fmla="*/ 97565 w 266641"/>
                <a:gd name="connsiteY193" fmla="*/ 285626 h 337989"/>
                <a:gd name="connsiteX194" fmla="*/ 95914 w 266641"/>
                <a:gd name="connsiteY194" fmla="*/ 289613 h 337989"/>
                <a:gd name="connsiteX195" fmla="*/ 93378 w 266641"/>
                <a:gd name="connsiteY195" fmla="*/ 294155 h 337989"/>
                <a:gd name="connsiteX196" fmla="*/ 93359 w 266641"/>
                <a:gd name="connsiteY196" fmla="*/ 294972 h 337989"/>
                <a:gd name="connsiteX197" fmla="*/ 94246 w 266641"/>
                <a:gd name="connsiteY197" fmla="*/ 296131 h 337989"/>
                <a:gd name="connsiteX198" fmla="*/ 95322 w 266641"/>
                <a:gd name="connsiteY198" fmla="*/ 297135 h 337989"/>
                <a:gd name="connsiteX199" fmla="*/ 95383 w 266641"/>
                <a:gd name="connsiteY199" fmla="*/ 298551 h 337989"/>
                <a:gd name="connsiteX200" fmla="*/ 95052 w 266641"/>
                <a:gd name="connsiteY200" fmla="*/ 299296 h 337989"/>
                <a:gd name="connsiteX201" fmla="*/ 93846 w 266641"/>
                <a:gd name="connsiteY201" fmla="*/ 299493 h 337989"/>
                <a:gd name="connsiteX202" fmla="*/ 92795 w 266641"/>
                <a:gd name="connsiteY202" fmla="*/ 299980 h 337989"/>
                <a:gd name="connsiteX203" fmla="*/ 87155 w 266641"/>
                <a:gd name="connsiteY203" fmla="*/ 301231 h 337989"/>
                <a:gd name="connsiteX204" fmla="*/ 85304 w 266641"/>
                <a:gd name="connsiteY204" fmla="*/ 302633 h 337989"/>
                <a:gd name="connsiteX205" fmla="*/ 83786 w 266641"/>
                <a:gd name="connsiteY205" fmla="*/ 305141 h 337989"/>
                <a:gd name="connsiteX206" fmla="*/ 82003 w 266641"/>
                <a:gd name="connsiteY206" fmla="*/ 307304 h 337989"/>
                <a:gd name="connsiteX207" fmla="*/ 76079 w 266641"/>
                <a:gd name="connsiteY207" fmla="*/ 312109 h 337989"/>
                <a:gd name="connsiteX208" fmla="*/ 72596 w 266641"/>
                <a:gd name="connsiteY208" fmla="*/ 316142 h 337989"/>
                <a:gd name="connsiteX209" fmla="*/ 71896 w 266641"/>
                <a:gd name="connsiteY209" fmla="*/ 317296 h 337989"/>
                <a:gd name="connsiteX210" fmla="*/ 70957 w 266641"/>
                <a:gd name="connsiteY210" fmla="*/ 318138 h 337989"/>
                <a:gd name="connsiteX211" fmla="*/ 63343 w 266641"/>
                <a:gd name="connsiteY211" fmla="*/ 320050 h 337989"/>
                <a:gd name="connsiteX212" fmla="*/ 57955 w 266641"/>
                <a:gd name="connsiteY212" fmla="*/ 320333 h 337989"/>
                <a:gd name="connsiteX213" fmla="*/ 55019 w 266641"/>
                <a:gd name="connsiteY213" fmla="*/ 319841 h 337989"/>
                <a:gd name="connsiteX214" fmla="*/ 52188 w 266641"/>
                <a:gd name="connsiteY214" fmla="*/ 318875 h 337989"/>
                <a:gd name="connsiteX215" fmla="*/ 50618 w 266641"/>
                <a:gd name="connsiteY215" fmla="*/ 318544 h 337989"/>
                <a:gd name="connsiteX216" fmla="*/ 47625 w 266641"/>
                <a:gd name="connsiteY216" fmla="*/ 319136 h 337989"/>
                <a:gd name="connsiteX217" fmla="*/ 46317 w 266641"/>
                <a:gd name="connsiteY217" fmla="*/ 319787 h 337989"/>
                <a:gd name="connsiteX218" fmla="*/ 43976 w 266641"/>
                <a:gd name="connsiteY218" fmla="*/ 319144 h 337989"/>
                <a:gd name="connsiteX219" fmla="*/ 42112 w 266641"/>
                <a:gd name="connsiteY219" fmla="*/ 319630 h 337989"/>
                <a:gd name="connsiteX220" fmla="*/ 41562 w 266641"/>
                <a:gd name="connsiteY220" fmla="*/ 319158 h 337989"/>
                <a:gd name="connsiteX221" fmla="*/ 40864 w 266641"/>
                <a:gd name="connsiteY221" fmla="*/ 317972 h 337989"/>
                <a:gd name="connsiteX222" fmla="*/ 41249 w 266641"/>
                <a:gd name="connsiteY222" fmla="*/ 316399 h 337989"/>
                <a:gd name="connsiteX223" fmla="*/ 40732 w 266641"/>
                <a:gd name="connsiteY223" fmla="*/ 315237 h 337989"/>
                <a:gd name="connsiteX224" fmla="*/ 39549 w 266641"/>
                <a:gd name="connsiteY224" fmla="*/ 314448 h 337989"/>
                <a:gd name="connsiteX225" fmla="*/ 38754 w 266641"/>
                <a:gd name="connsiteY225" fmla="*/ 313533 h 337989"/>
                <a:gd name="connsiteX226" fmla="*/ 37845 w 266641"/>
                <a:gd name="connsiteY226" fmla="*/ 312880 h 337989"/>
                <a:gd name="connsiteX227" fmla="*/ 35373 w 266641"/>
                <a:gd name="connsiteY227" fmla="*/ 312623 h 337989"/>
                <a:gd name="connsiteX228" fmla="*/ 31460 w 266641"/>
                <a:gd name="connsiteY228" fmla="*/ 313035 h 337989"/>
                <a:gd name="connsiteX229" fmla="*/ 30169 w 266641"/>
                <a:gd name="connsiteY229" fmla="*/ 312991 h 337989"/>
                <a:gd name="connsiteX230" fmla="*/ 27517 w 266641"/>
                <a:gd name="connsiteY230" fmla="*/ 309139 h 337989"/>
                <a:gd name="connsiteX231" fmla="*/ 26636 w 266641"/>
                <a:gd name="connsiteY231" fmla="*/ 308194 h 337989"/>
                <a:gd name="connsiteX232" fmla="*/ 23479 w 266641"/>
                <a:gd name="connsiteY232" fmla="*/ 306964 h 337989"/>
                <a:gd name="connsiteX233" fmla="*/ 22399 w 266641"/>
                <a:gd name="connsiteY233" fmla="*/ 307134 h 337989"/>
                <a:gd name="connsiteX234" fmla="*/ 20710 w 266641"/>
                <a:gd name="connsiteY234" fmla="*/ 309188 h 337989"/>
                <a:gd name="connsiteX235" fmla="*/ 19708 w 266641"/>
                <a:gd name="connsiteY235" fmla="*/ 309537 h 337989"/>
                <a:gd name="connsiteX236" fmla="*/ 13768 w 266641"/>
                <a:gd name="connsiteY236" fmla="*/ 309755 h 337989"/>
                <a:gd name="connsiteX237" fmla="*/ 7808 w 266641"/>
                <a:gd name="connsiteY237" fmla="*/ 309093 h 337989"/>
                <a:gd name="connsiteX238" fmla="*/ 5614 w 266641"/>
                <a:gd name="connsiteY238" fmla="*/ 308328 h 337989"/>
                <a:gd name="connsiteX239" fmla="*/ 5185 w 266641"/>
                <a:gd name="connsiteY239" fmla="*/ 306553 h 337989"/>
                <a:gd name="connsiteX240" fmla="*/ 9709 w 266641"/>
                <a:gd name="connsiteY240" fmla="*/ 301678 h 337989"/>
                <a:gd name="connsiteX241" fmla="*/ 8376 w 266641"/>
                <a:gd name="connsiteY241" fmla="*/ 302331 h 337989"/>
                <a:gd name="connsiteX242" fmla="*/ 5586 w 266641"/>
                <a:gd name="connsiteY242" fmla="*/ 304316 h 337989"/>
                <a:gd name="connsiteX243" fmla="*/ 3809 w 266641"/>
                <a:gd name="connsiteY243" fmla="*/ 304011 h 337989"/>
                <a:gd name="connsiteX244" fmla="*/ 5513 w 266641"/>
                <a:gd name="connsiteY244" fmla="*/ 301845 h 337989"/>
                <a:gd name="connsiteX245" fmla="*/ 5664 w 266641"/>
                <a:gd name="connsiteY245" fmla="*/ 300880 h 337989"/>
                <a:gd name="connsiteX246" fmla="*/ 5314 w 266641"/>
                <a:gd name="connsiteY246" fmla="*/ 299805 h 337989"/>
                <a:gd name="connsiteX247" fmla="*/ 2987 w 266641"/>
                <a:gd name="connsiteY247" fmla="*/ 301627 h 337989"/>
                <a:gd name="connsiteX248" fmla="*/ 343 w 266641"/>
                <a:gd name="connsiteY248" fmla="*/ 301861 h 337989"/>
                <a:gd name="connsiteX249" fmla="*/ 0 w 266641"/>
                <a:gd name="connsiteY249" fmla="*/ 300174 h 337989"/>
                <a:gd name="connsiteX250" fmla="*/ 235 w 266641"/>
                <a:gd name="connsiteY250" fmla="*/ 298219 h 337989"/>
                <a:gd name="connsiteX251" fmla="*/ 780 w 266641"/>
                <a:gd name="connsiteY251" fmla="*/ 297665 h 337989"/>
                <a:gd name="connsiteX252" fmla="*/ 7925 w 266641"/>
                <a:gd name="connsiteY252" fmla="*/ 296640 h 337989"/>
                <a:gd name="connsiteX253" fmla="*/ 10501 w 266641"/>
                <a:gd name="connsiteY253" fmla="*/ 295970 h 337989"/>
                <a:gd name="connsiteX254" fmla="*/ 11624 w 266641"/>
                <a:gd name="connsiteY254" fmla="*/ 294921 h 337989"/>
                <a:gd name="connsiteX255" fmla="*/ 7348 w 266641"/>
                <a:gd name="connsiteY255" fmla="*/ 294561 h 337989"/>
                <a:gd name="connsiteX256" fmla="*/ 7076 w 266641"/>
                <a:gd name="connsiteY256" fmla="*/ 293091 h 337989"/>
                <a:gd name="connsiteX257" fmla="*/ 7694 w 266641"/>
                <a:gd name="connsiteY257" fmla="*/ 291914 h 337989"/>
                <a:gd name="connsiteX258" fmla="*/ 11347 w 266641"/>
                <a:gd name="connsiteY258" fmla="*/ 289959 h 337989"/>
                <a:gd name="connsiteX259" fmla="*/ 8655 w 266641"/>
                <a:gd name="connsiteY259" fmla="*/ 290459 h 337989"/>
                <a:gd name="connsiteX260" fmla="*/ 5668 w 266641"/>
                <a:gd name="connsiteY260" fmla="*/ 290284 h 337989"/>
                <a:gd name="connsiteX261" fmla="*/ 5869 w 266641"/>
                <a:gd name="connsiteY261" fmla="*/ 288221 h 337989"/>
                <a:gd name="connsiteX262" fmla="*/ 6648 w 266641"/>
                <a:gd name="connsiteY262" fmla="*/ 286607 h 337989"/>
                <a:gd name="connsiteX263" fmla="*/ 9780 w 266641"/>
                <a:gd name="connsiteY263" fmla="*/ 286559 h 337989"/>
                <a:gd name="connsiteX264" fmla="*/ 8799 w 266641"/>
                <a:gd name="connsiteY264" fmla="*/ 285452 h 337989"/>
                <a:gd name="connsiteX265" fmla="*/ 8658 w 266641"/>
                <a:gd name="connsiteY265" fmla="*/ 283907 h 337989"/>
                <a:gd name="connsiteX266" fmla="*/ 9530 w 266641"/>
                <a:gd name="connsiteY266" fmla="*/ 283802 h 337989"/>
                <a:gd name="connsiteX267" fmla="*/ 12704 w 266641"/>
                <a:gd name="connsiteY267" fmla="*/ 285881 h 337989"/>
                <a:gd name="connsiteX268" fmla="*/ 14993 w 266641"/>
                <a:gd name="connsiteY268" fmla="*/ 286642 h 337989"/>
                <a:gd name="connsiteX269" fmla="*/ 14029 w 266641"/>
                <a:gd name="connsiteY269" fmla="*/ 285077 h 337989"/>
                <a:gd name="connsiteX270" fmla="*/ 14154 w 266641"/>
                <a:gd name="connsiteY270" fmla="*/ 284092 h 337989"/>
                <a:gd name="connsiteX271" fmla="*/ 14763 w 266641"/>
                <a:gd name="connsiteY271" fmla="*/ 283650 h 337989"/>
                <a:gd name="connsiteX272" fmla="*/ 16638 w 266641"/>
                <a:gd name="connsiteY272" fmla="*/ 283334 h 337989"/>
                <a:gd name="connsiteX273" fmla="*/ 16124 w 266641"/>
                <a:gd name="connsiteY273" fmla="*/ 283058 h 337989"/>
                <a:gd name="connsiteX274" fmla="*/ 14367 w 266641"/>
                <a:gd name="connsiteY274" fmla="*/ 282662 h 337989"/>
                <a:gd name="connsiteX275" fmla="*/ 12276 w 266641"/>
                <a:gd name="connsiteY275" fmla="*/ 281474 h 337989"/>
                <a:gd name="connsiteX276" fmla="*/ 12051 w 266641"/>
                <a:gd name="connsiteY276" fmla="*/ 280219 h 337989"/>
                <a:gd name="connsiteX277" fmla="*/ 12123 w 266641"/>
                <a:gd name="connsiteY277" fmla="*/ 278768 h 337989"/>
                <a:gd name="connsiteX278" fmla="*/ 14379 w 266641"/>
                <a:gd name="connsiteY278" fmla="*/ 276775 h 337989"/>
                <a:gd name="connsiteX279" fmla="*/ 15711 w 266641"/>
                <a:gd name="connsiteY279" fmla="*/ 277961 h 337989"/>
                <a:gd name="connsiteX280" fmla="*/ 17288 w 266641"/>
                <a:gd name="connsiteY280" fmla="*/ 277635 h 337989"/>
                <a:gd name="connsiteX281" fmla="*/ 16085 w 266641"/>
                <a:gd name="connsiteY281" fmla="*/ 276703 h 337989"/>
                <a:gd name="connsiteX282" fmla="*/ 15351 w 266641"/>
                <a:gd name="connsiteY282" fmla="*/ 275306 h 337989"/>
                <a:gd name="connsiteX283" fmla="*/ 15852 w 266641"/>
                <a:gd name="connsiteY283" fmla="*/ 274389 h 337989"/>
                <a:gd name="connsiteX284" fmla="*/ 20633 w 266641"/>
                <a:gd name="connsiteY284" fmla="*/ 270688 h 337989"/>
                <a:gd name="connsiteX285" fmla="*/ 21859 w 266641"/>
                <a:gd name="connsiteY285" fmla="*/ 274247 h 337989"/>
                <a:gd name="connsiteX286" fmla="*/ 22147 w 266641"/>
                <a:gd name="connsiteY286" fmla="*/ 273065 h 337989"/>
                <a:gd name="connsiteX287" fmla="*/ 22211 w 266641"/>
                <a:gd name="connsiteY287" fmla="*/ 271943 h 337989"/>
                <a:gd name="connsiteX288" fmla="*/ 21639 w 266641"/>
                <a:gd name="connsiteY288" fmla="*/ 270970 h 337989"/>
                <a:gd name="connsiteX289" fmla="*/ 21721 w 266641"/>
                <a:gd name="connsiteY289" fmla="*/ 269990 h 337989"/>
                <a:gd name="connsiteX290" fmla="*/ 22274 w 266641"/>
                <a:gd name="connsiteY290" fmla="*/ 269145 h 337989"/>
                <a:gd name="connsiteX291" fmla="*/ 24323 w 266641"/>
                <a:gd name="connsiteY291" fmla="*/ 268312 h 337989"/>
                <a:gd name="connsiteX292" fmla="*/ 26988 w 266641"/>
                <a:gd name="connsiteY292" fmla="*/ 265600 h 337989"/>
                <a:gd name="connsiteX293" fmla="*/ 28953 w 266641"/>
                <a:gd name="connsiteY293" fmla="*/ 264340 h 337989"/>
                <a:gd name="connsiteX294" fmla="*/ 30553 w 266641"/>
                <a:gd name="connsiteY294" fmla="*/ 265148 h 337989"/>
                <a:gd name="connsiteX295" fmla="*/ 31650 w 266641"/>
                <a:gd name="connsiteY295" fmla="*/ 266239 h 337989"/>
                <a:gd name="connsiteX296" fmla="*/ 31486 w 266641"/>
                <a:gd name="connsiteY296" fmla="*/ 265156 h 337989"/>
                <a:gd name="connsiteX297" fmla="*/ 30708 w 266641"/>
                <a:gd name="connsiteY297" fmla="*/ 264261 h 337989"/>
                <a:gd name="connsiteX298" fmla="*/ 30490 w 266641"/>
                <a:gd name="connsiteY298" fmla="*/ 261774 h 337989"/>
                <a:gd name="connsiteX299" fmla="*/ 34068 w 266641"/>
                <a:gd name="connsiteY299" fmla="*/ 257918 h 337989"/>
                <a:gd name="connsiteX300" fmla="*/ 38001 w 266641"/>
                <a:gd name="connsiteY300" fmla="*/ 254250 h 337989"/>
                <a:gd name="connsiteX301" fmla="*/ 41769 w 266641"/>
                <a:gd name="connsiteY301" fmla="*/ 250412 h 337989"/>
                <a:gd name="connsiteX302" fmla="*/ 43777 w 266641"/>
                <a:gd name="connsiteY302" fmla="*/ 249018 h 337989"/>
                <a:gd name="connsiteX303" fmla="*/ 48057 w 266641"/>
                <a:gd name="connsiteY303" fmla="*/ 247438 h 337989"/>
                <a:gd name="connsiteX304" fmla="*/ 50795 w 266641"/>
                <a:gd name="connsiteY304" fmla="*/ 248096 h 337989"/>
                <a:gd name="connsiteX305" fmla="*/ 51495 w 266641"/>
                <a:gd name="connsiteY305" fmla="*/ 247975 h 337989"/>
                <a:gd name="connsiteX306" fmla="*/ 55563 w 266641"/>
                <a:gd name="connsiteY306" fmla="*/ 245215 h 337989"/>
                <a:gd name="connsiteX307" fmla="*/ 57245 w 266641"/>
                <a:gd name="connsiteY307" fmla="*/ 244499 h 337989"/>
                <a:gd name="connsiteX308" fmla="*/ 58781 w 266641"/>
                <a:gd name="connsiteY308" fmla="*/ 245484 h 337989"/>
                <a:gd name="connsiteX309" fmla="*/ 59730 w 266641"/>
                <a:gd name="connsiteY309" fmla="*/ 245840 h 337989"/>
                <a:gd name="connsiteX310" fmla="*/ 58776 w 266641"/>
                <a:gd name="connsiteY310" fmla="*/ 243320 h 337989"/>
                <a:gd name="connsiteX311" fmla="*/ 59523 w 266641"/>
                <a:gd name="connsiteY311" fmla="*/ 242165 h 337989"/>
                <a:gd name="connsiteX312" fmla="*/ 62920 w 266641"/>
                <a:gd name="connsiteY312" fmla="*/ 240127 h 337989"/>
                <a:gd name="connsiteX313" fmla="*/ 67167 w 266641"/>
                <a:gd name="connsiteY313" fmla="*/ 238026 h 337989"/>
                <a:gd name="connsiteX314" fmla="*/ 70403 w 266641"/>
                <a:gd name="connsiteY314" fmla="*/ 237151 h 337989"/>
                <a:gd name="connsiteX315" fmla="*/ 72784 w 266641"/>
                <a:gd name="connsiteY315" fmla="*/ 235731 h 337989"/>
                <a:gd name="connsiteX316" fmla="*/ 74214 w 266641"/>
                <a:gd name="connsiteY316" fmla="*/ 235691 h 337989"/>
                <a:gd name="connsiteX317" fmla="*/ 73995 w 266641"/>
                <a:gd name="connsiteY317" fmla="*/ 234618 h 337989"/>
                <a:gd name="connsiteX318" fmla="*/ 74240 w 266641"/>
                <a:gd name="connsiteY318" fmla="*/ 233590 h 337989"/>
                <a:gd name="connsiteX319" fmla="*/ 75473 w 266641"/>
                <a:gd name="connsiteY319" fmla="*/ 233661 h 337989"/>
                <a:gd name="connsiteX320" fmla="*/ 75853 w 266641"/>
                <a:gd name="connsiteY320" fmla="*/ 233256 h 337989"/>
                <a:gd name="connsiteX321" fmla="*/ 74768 w 266641"/>
                <a:gd name="connsiteY321" fmla="*/ 232702 h 337989"/>
                <a:gd name="connsiteX322" fmla="*/ 78275 w 266641"/>
                <a:gd name="connsiteY322" fmla="*/ 230642 h 337989"/>
                <a:gd name="connsiteX323" fmla="*/ 80180 w 266641"/>
                <a:gd name="connsiteY323" fmla="*/ 228374 h 337989"/>
                <a:gd name="connsiteX324" fmla="*/ 81178 w 266641"/>
                <a:gd name="connsiteY324" fmla="*/ 227905 h 337989"/>
                <a:gd name="connsiteX325" fmla="*/ 82080 w 266641"/>
                <a:gd name="connsiteY325" fmla="*/ 227220 h 337989"/>
                <a:gd name="connsiteX326" fmla="*/ 83199 w 266641"/>
                <a:gd name="connsiteY326" fmla="*/ 225657 h 337989"/>
                <a:gd name="connsiteX327" fmla="*/ 84520 w 266641"/>
                <a:gd name="connsiteY327" fmla="*/ 225141 h 337989"/>
                <a:gd name="connsiteX328" fmla="*/ 85754 w 266641"/>
                <a:gd name="connsiteY328" fmla="*/ 225382 h 337989"/>
                <a:gd name="connsiteX329" fmla="*/ 86645 w 266641"/>
                <a:gd name="connsiteY329" fmla="*/ 226150 h 337989"/>
                <a:gd name="connsiteX330" fmla="*/ 86164 w 266641"/>
                <a:gd name="connsiteY330" fmla="*/ 224874 h 337989"/>
                <a:gd name="connsiteX331" fmla="*/ 84583 w 266641"/>
                <a:gd name="connsiteY331" fmla="*/ 224148 h 337989"/>
                <a:gd name="connsiteX332" fmla="*/ 86278 w 266641"/>
                <a:gd name="connsiteY332" fmla="*/ 223038 h 337989"/>
                <a:gd name="connsiteX333" fmla="*/ 88030 w 266641"/>
                <a:gd name="connsiteY333" fmla="*/ 222273 h 337989"/>
                <a:gd name="connsiteX334" fmla="*/ 89736 w 266641"/>
                <a:gd name="connsiteY334" fmla="*/ 222831 h 337989"/>
                <a:gd name="connsiteX335" fmla="*/ 91415 w 266641"/>
                <a:gd name="connsiteY335" fmla="*/ 223724 h 337989"/>
                <a:gd name="connsiteX336" fmla="*/ 89736 w 266641"/>
                <a:gd name="connsiteY336" fmla="*/ 222354 h 337989"/>
                <a:gd name="connsiteX337" fmla="*/ 89466 w 266641"/>
                <a:gd name="connsiteY337" fmla="*/ 221503 h 337989"/>
                <a:gd name="connsiteX338" fmla="*/ 91498 w 266641"/>
                <a:gd name="connsiteY338" fmla="*/ 220525 h 337989"/>
                <a:gd name="connsiteX339" fmla="*/ 92601 w 266641"/>
                <a:gd name="connsiteY339" fmla="*/ 220224 h 337989"/>
                <a:gd name="connsiteX340" fmla="*/ 94145 w 266641"/>
                <a:gd name="connsiteY340" fmla="*/ 222061 h 337989"/>
                <a:gd name="connsiteX341" fmla="*/ 93925 w 266641"/>
                <a:gd name="connsiteY341" fmla="*/ 220606 h 337989"/>
                <a:gd name="connsiteX342" fmla="*/ 94285 w 266641"/>
                <a:gd name="connsiteY342" fmla="*/ 219316 h 337989"/>
                <a:gd name="connsiteX343" fmla="*/ 96469 w 266641"/>
                <a:gd name="connsiteY343" fmla="*/ 217209 h 337989"/>
                <a:gd name="connsiteX344" fmla="*/ 99333 w 266641"/>
                <a:gd name="connsiteY344" fmla="*/ 213725 h 337989"/>
                <a:gd name="connsiteX345" fmla="*/ 100252 w 266641"/>
                <a:gd name="connsiteY345" fmla="*/ 214936 h 337989"/>
                <a:gd name="connsiteX346" fmla="*/ 100392 w 266641"/>
                <a:gd name="connsiteY346" fmla="*/ 216410 h 337989"/>
                <a:gd name="connsiteX347" fmla="*/ 100258 w 266641"/>
                <a:gd name="connsiteY347" fmla="*/ 218184 h 337989"/>
                <a:gd name="connsiteX348" fmla="*/ 100847 w 266641"/>
                <a:gd name="connsiteY348" fmla="*/ 217570 h 337989"/>
                <a:gd name="connsiteX349" fmla="*/ 101050 w 266641"/>
                <a:gd name="connsiteY349" fmla="*/ 215958 h 337989"/>
                <a:gd name="connsiteX350" fmla="*/ 100612 w 266641"/>
                <a:gd name="connsiteY350" fmla="*/ 213130 h 337989"/>
                <a:gd name="connsiteX351" fmla="*/ 104190 w 266641"/>
                <a:gd name="connsiteY351" fmla="*/ 207908 h 337989"/>
                <a:gd name="connsiteX352" fmla="*/ 104892 w 266641"/>
                <a:gd name="connsiteY352" fmla="*/ 207325 h 337989"/>
                <a:gd name="connsiteX353" fmla="*/ 105683 w 266641"/>
                <a:gd name="connsiteY353" fmla="*/ 206971 h 337989"/>
                <a:gd name="connsiteX354" fmla="*/ 106928 w 266641"/>
                <a:gd name="connsiteY354" fmla="*/ 206832 h 337989"/>
                <a:gd name="connsiteX355" fmla="*/ 106546 w 266641"/>
                <a:gd name="connsiteY355" fmla="*/ 206044 h 337989"/>
                <a:gd name="connsiteX356" fmla="*/ 105577 w 266641"/>
                <a:gd name="connsiteY356" fmla="*/ 205281 h 337989"/>
                <a:gd name="connsiteX357" fmla="*/ 106555 w 266641"/>
                <a:gd name="connsiteY357" fmla="*/ 202633 h 337989"/>
                <a:gd name="connsiteX358" fmla="*/ 107134 w 266641"/>
                <a:gd name="connsiteY358" fmla="*/ 199614 h 337989"/>
                <a:gd name="connsiteX359" fmla="*/ 107966 w 266641"/>
                <a:gd name="connsiteY359" fmla="*/ 196714 h 337989"/>
                <a:gd name="connsiteX360" fmla="*/ 109300 w 266641"/>
                <a:gd name="connsiteY360" fmla="*/ 193875 h 337989"/>
                <a:gd name="connsiteX361" fmla="*/ 110751 w 266641"/>
                <a:gd name="connsiteY361" fmla="*/ 189146 h 337989"/>
                <a:gd name="connsiteX362" fmla="*/ 111858 w 266641"/>
                <a:gd name="connsiteY362" fmla="*/ 188160 h 337989"/>
                <a:gd name="connsiteX363" fmla="*/ 114862 w 266641"/>
                <a:gd name="connsiteY363" fmla="*/ 187821 h 337989"/>
                <a:gd name="connsiteX364" fmla="*/ 116177 w 266641"/>
                <a:gd name="connsiteY364" fmla="*/ 187157 h 337989"/>
                <a:gd name="connsiteX365" fmla="*/ 118366 w 266641"/>
                <a:gd name="connsiteY365" fmla="*/ 185451 h 337989"/>
                <a:gd name="connsiteX366" fmla="*/ 120962 w 266641"/>
                <a:gd name="connsiteY366" fmla="*/ 182369 h 337989"/>
                <a:gd name="connsiteX367" fmla="*/ 122348 w 266641"/>
                <a:gd name="connsiteY367" fmla="*/ 179887 h 337989"/>
                <a:gd name="connsiteX368" fmla="*/ 124175 w 266641"/>
                <a:gd name="connsiteY368" fmla="*/ 173471 h 337989"/>
                <a:gd name="connsiteX369" fmla="*/ 125195 w 266641"/>
                <a:gd name="connsiteY369" fmla="*/ 166777 h 337989"/>
                <a:gd name="connsiteX370" fmla="*/ 128142 w 266641"/>
                <a:gd name="connsiteY370" fmla="*/ 161823 h 337989"/>
                <a:gd name="connsiteX371" fmla="*/ 132463 w 266641"/>
                <a:gd name="connsiteY371" fmla="*/ 158241 h 337989"/>
                <a:gd name="connsiteX372" fmla="*/ 136277 w 266641"/>
                <a:gd name="connsiteY372" fmla="*/ 155519 h 337989"/>
                <a:gd name="connsiteX373" fmla="*/ 137836 w 266641"/>
                <a:gd name="connsiteY373" fmla="*/ 154953 h 337989"/>
                <a:gd name="connsiteX374" fmla="*/ 197500 w 266641"/>
                <a:gd name="connsiteY374" fmla="*/ 41194 h 337989"/>
                <a:gd name="connsiteX375" fmla="*/ 198272 w 266641"/>
                <a:gd name="connsiteY375" fmla="*/ 42299 h 337989"/>
                <a:gd name="connsiteX376" fmla="*/ 199782 w 266641"/>
                <a:gd name="connsiteY376" fmla="*/ 43873 h 337989"/>
                <a:gd name="connsiteX377" fmla="*/ 200458 w 266641"/>
                <a:gd name="connsiteY377" fmla="*/ 46460 h 337989"/>
                <a:gd name="connsiteX378" fmla="*/ 200635 w 266641"/>
                <a:gd name="connsiteY378" fmla="*/ 47841 h 337989"/>
                <a:gd name="connsiteX379" fmla="*/ 198942 w 266641"/>
                <a:gd name="connsiteY379" fmla="*/ 47349 h 337989"/>
                <a:gd name="connsiteX380" fmla="*/ 198279 w 266641"/>
                <a:gd name="connsiteY380" fmla="*/ 46307 h 337989"/>
                <a:gd name="connsiteX381" fmla="*/ 196381 w 266641"/>
                <a:gd name="connsiteY381" fmla="*/ 45231 h 337989"/>
                <a:gd name="connsiteX382" fmla="*/ 196102 w 266641"/>
                <a:gd name="connsiteY382" fmla="*/ 44905 h 337989"/>
                <a:gd name="connsiteX383" fmla="*/ 195891 w 266641"/>
                <a:gd name="connsiteY383" fmla="*/ 42807 h 337989"/>
                <a:gd name="connsiteX384" fmla="*/ 196886 w 266641"/>
                <a:gd name="connsiteY384" fmla="*/ 41799 h 337989"/>
                <a:gd name="connsiteX385" fmla="*/ 197062 w 266641"/>
                <a:gd name="connsiteY385" fmla="*/ 41367 h 337989"/>
                <a:gd name="connsiteX386" fmla="*/ 145195 w 266641"/>
                <a:gd name="connsiteY386" fmla="*/ 0 h 337989"/>
                <a:gd name="connsiteX387" fmla="*/ 143422 w 266641"/>
                <a:gd name="connsiteY387" fmla="*/ 2646 h 337989"/>
                <a:gd name="connsiteX388" fmla="*/ 144218 w 266641"/>
                <a:gd name="connsiteY388" fmla="*/ 4177 h 337989"/>
                <a:gd name="connsiteX389" fmla="*/ 145426 w 266641"/>
                <a:gd name="connsiteY389" fmla="*/ 5469 h 337989"/>
                <a:gd name="connsiteX390" fmla="*/ 148006 w 266641"/>
                <a:gd name="connsiteY390" fmla="*/ 9435 h 337989"/>
                <a:gd name="connsiteX391" fmla="*/ 148231 w 266641"/>
                <a:gd name="connsiteY391" fmla="*/ 10581 h 337989"/>
                <a:gd name="connsiteX392" fmla="*/ 149541 w 266641"/>
                <a:gd name="connsiteY392" fmla="*/ 11739 h 337989"/>
                <a:gd name="connsiteX393" fmla="*/ 150181 w 266641"/>
                <a:gd name="connsiteY393" fmla="*/ 12634 h 337989"/>
                <a:gd name="connsiteX394" fmla="*/ 150516 w 266641"/>
                <a:gd name="connsiteY394" fmla="*/ 13781 h 337989"/>
                <a:gd name="connsiteX395" fmla="*/ 151740 w 266641"/>
                <a:gd name="connsiteY395" fmla="*/ 12964 h 337989"/>
                <a:gd name="connsiteX396" fmla="*/ 152653 w 266641"/>
                <a:gd name="connsiteY396" fmla="*/ 11676 h 337989"/>
                <a:gd name="connsiteX397" fmla="*/ 154126 w 266641"/>
                <a:gd name="connsiteY397" fmla="*/ 10371 h 337989"/>
                <a:gd name="connsiteX398" fmla="*/ 153923 w 266641"/>
                <a:gd name="connsiteY398" fmla="*/ 12477 h 337989"/>
                <a:gd name="connsiteX399" fmla="*/ 154674 w 266641"/>
                <a:gd name="connsiteY399" fmla="*/ 12939 h 337989"/>
                <a:gd name="connsiteX400" fmla="*/ 159564 w 266641"/>
                <a:gd name="connsiteY400" fmla="*/ 14409 h 337989"/>
                <a:gd name="connsiteX401" fmla="*/ 160570 w 266641"/>
                <a:gd name="connsiteY401" fmla="*/ 15635 h 337989"/>
                <a:gd name="connsiteX402" fmla="*/ 161608 w 266641"/>
                <a:gd name="connsiteY402" fmla="*/ 15984 h 337989"/>
                <a:gd name="connsiteX403" fmla="*/ 162196 w 266641"/>
                <a:gd name="connsiteY403" fmla="*/ 15299 h 337989"/>
                <a:gd name="connsiteX404" fmla="*/ 162885 w 266641"/>
                <a:gd name="connsiteY404" fmla="*/ 14925 h 337989"/>
                <a:gd name="connsiteX405" fmla="*/ 164651 w 266641"/>
                <a:gd name="connsiteY405" fmla="*/ 15698 h 337989"/>
                <a:gd name="connsiteX406" fmla="*/ 168635 w 266641"/>
                <a:gd name="connsiteY406" fmla="*/ 17847 h 337989"/>
                <a:gd name="connsiteX407" fmla="*/ 168965 w 266641"/>
                <a:gd name="connsiteY407" fmla="*/ 18586 h 337989"/>
                <a:gd name="connsiteX408" fmla="*/ 168763 w 266641"/>
                <a:gd name="connsiteY408" fmla="*/ 19691 h 337989"/>
                <a:gd name="connsiteX409" fmla="*/ 168961 w 266641"/>
                <a:gd name="connsiteY409" fmla="*/ 20857 h 337989"/>
                <a:gd name="connsiteX410" fmla="*/ 169501 w 266641"/>
                <a:gd name="connsiteY410" fmla="*/ 21789 h 337989"/>
                <a:gd name="connsiteX411" fmla="*/ 170828 w 266641"/>
                <a:gd name="connsiteY411" fmla="*/ 22004 h 337989"/>
                <a:gd name="connsiteX412" fmla="*/ 172591 w 266641"/>
                <a:gd name="connsiteY412" fmla="*/ 20622 h 337989"/>
                <a:gd name="connsiteX413" fmla="*/ 173418 w 266641"/>
                <a:gd name="connsiteY413" fmla="*/ 20451 h 337989"/>
                <a:gd name="connsiteX414" fmla="*/ 174590 w 266641"/>
                <a:gd name="connsiteY414" fmla="*/ 22404 h 337989"/>
                <a:gd name="connsiteX415" fmla="*/ 175029 w 266641"/>
                <a:gd name="connsiteY415" fmla="*/ 23510 h 337989"/>
                <a:gd name="connsiteX416" fmla="*/ 174847 w 266641"/>
                <a:gd name="connsiteY416" fmla="*/ 23473 h 337989"/>
                <a:gd name="connsiteX417" fmla="*/ 175603 w 266641"/>
                <a:gd name="connsiteY417" fmla="*/ 24569 h 337989"/>
                <a:gd name="connsiteX418" fmla="*/ 176612 w 266641"/>
                <a:gd name="connsiteY418" fmla="*/ 25659 h 337989"/>
                <a:gd name="connsiteX419" fmla="*/ 178353 w 266641"/>
                <a:gd name="connsiteY419" fmla="*/ 28875 h 337989"/>
                <a:gd name="connsiteX420" fmla="*/ 178093 w 266641"/>
                <a:gd name="connsiteY420" fmla="*/ 30005 h 337989"/>
                <a:gd name="connsiteX421" fmla="*/ 177581 w 266641"/>
                <a:gd name="connsiteY421" fmla="*/ 31022 h 337989"/>
                <a:gd name="connsiteX422" fmla="*/ 179175 w 266641"/>
                <a:gd name="connsiteY422" fmla="*/ 33998 h 337989"/>
                <a:gd name="connsiteX423" fmla="*/ 178132 w 266641"/>
                <a:gd name="connsiteY423" fmla="*/ 34204 h 337989"/>
                <a:gd name="connsiteX424" fmla="*/ 174982 w 266641"/>
                <a:gd name="connsiteY424" fmla="*/ 33700 h 337989"/>
                <a:gd name="connsiteX425" fmla="*/ 175087 w 266641"/>
                <a:gd name="connsiteY425" fmla="*/ 34296 h 337989"/>
                <a:gd name="connsiteX426" fmla="*/ 176920 w 266641"/>
                <a:gd name="connsiteY426" fmla="*/ 36481 h 337989"/>
                <a:gd name="connsiteX427" fmla="*/ 178469 w 266641"/>
                <a:gd name="connsiteY427" fmla="*/ 39572 h 337989"/>
                <a:gd name="connsiteX428" fmla="*/ 179711 w 266641"/>
                <a:gd name="connsiteY428" fmla="*/ 41439 h 337989"/>
                <a:gd name="connsiteX429" fmla="*/ 184072 w 266641"/>
                <a:gd name="connsiteY429" fmla="*/ 47223 h 337989"/>
                <a:gd name="connsiteX430" fmla="*/ 183416 w 266641"/>
                <a:gd name="connsiteY430" fmla="*/ 49284 h 337989"/>
                <a:gd name="connsiteX431" fmla="*/ 183517 w 266641"/>
                <a:gd name="connsiteY431" fmla="*/ 50644 h 337989"/>
                <a:gd name="connsiteX432" fmla="*/ 182958 w 266641"/>
                <a:gd name="connsiteY432" fmla="*/ 51813 h 337989"/>
                <a:gd name="connsiteX433" fmla="*/ 184450 w 266641"/>
                <a:gd name="connsiteY433" fmla="*/ 54887 h 337989"/>
                <a:gd name="connsiteX434" fmla="*/ 183520 w 266641"/>
                <a:gd name="connsiteY434" fmla="*/ 55843 h 337989"/>
                <a:gd name="connsiteX435" fmla="*/ 182902 w 266641"/>
                <a:gd name="connsiteY435" fmla="*/ 58995 h 337989"/>
                <a:gd name="connsiteX436" fmla="*/ 182226 w 266641"/>
                <a:gd name="connsiteY436" fmla="*/ 59547 h 337989"/>
                <a:gd name="connsiteX437" fmla="*/ 182311 w 266641"/>
                <a:gd name="connsiteY437" fmla="*/ 60701 h 337989"/>
                <a:gd name="connsiteX438" fmla="*/ 184068 w 266641"/>
                <a:gd name="connsiteY438" fmla="*/ 61006 h 337989"/>
                <a:gd name="connsiteX439" fmla="*/ 185128 w 266641"/>
                <a:gd name="connsiteY439" fmla="*/ 61497 h 337989"/>
                <a:gd name="connsiteX440" fmla="*/ 186046 w 266641"/>
                <a:gd name="connsiteY440" fmla="*/ 62433 h 337989"/>
                <a:gd name="connsiteX441" fmla="*/ 186617 w 266641"/>
                <a:gd name="connsiteY441" fmla="*/ 61306 h 337989"/>
                <a:gd name="connsiteX442" fmla="*/ 187387 w 266641"/>
                <a:gd name="connsiteY442" fmla="*/ 60999 h 337989"/>
                <a:gd name="connsiteX443" fmla="*/ 189488 w 266641"/>
                <a:gd name="connsiteY443" fmla="*/ 62505 h 337989"/>
                <a:gd name="connsiteX444" fmla="*/ 193867 w 266641"/>
                <a:gd name="connsiteY444" fmla="*/ 64007 h 337989"/>
                <a:gd name="connsiteX445" fmla="*/ 195070 w 266641"/>
                <a:gd name="connsiteY445" fmla="*/ 64565 h 337989"/>
                <a:gd name="connsiteX446" fmla="*/ 195666 w 266641"/>
                <a:gd name="connsiteY446" fmla="*/ 65777 h 337989"/>
                <a:gd name="connsiteX447" fmla="*/ 196113 w 266641"/>
                <a:gd name="connsiteY447" fmla="*/ 68710 h 337989"/>
                <a:gd name="connsiteX448" fmla="*/ 196969 w 266641"/>
                <a:gd name="connsiteY448" fmla="*/ 70003 h 337989"/>
                <a:gd name="connsiteX449" fmla="*/ 198640 w 266641"/>
                <a:gd name="connsiteY449" fmla="*/ 70252 h 337989"/>
                <a:gd name="connsiteX450" fmla="*/ 200443 w 266641"/>
                <a:gd name="connsiteY450" fmla="*/ 69862 h 337989"/>
                <a:gd name="connsiteX451" fmla="*/ 201010 w 266641"/>
                <a:gd name="connsiteY451" fmla="*/ 68792 h 337989"/>
                <a:gd name="connsiteX452" fmla="*/ 200652 w 266641"/>
                <a:gd name="connsiteY452" fmla="*/ 65919 h 337989"/>
                <a:gd name="connsiteX453" fmla="*/ 199352 w 266641"/>
                <a:gd name="connsiteY453" fmla="*/ 61323 h 337989"/>
                <a:gd name="connsiteX454" fmla="*/ 199346 w 266641"/>
                <a:gd name="connsiteY454" fmla="*/ 59830 h 337989"/>
                <a:gd name="connsiteX455" fmla="*/ 199531 w 266641"/>
                <a:gd name="connsiteY455" fmla="*/ 58335 h 337989"/>
                <a:gd name="connsiteX456" fmla="*/ 199225 w 266641"/>
                <a:gd name="connsiteY456" fmla="*/ 56851 h 337989"/>
                <a:gd name="connsiteX457" fmla="*/ 198575 w 266641"/>
                <a:gd name="connsiteY457" fmla="*/ 55449 h 337989"/>
                <a:gd name="connsiteX458" fmla="*/ 197875 w 266641"/>
                <a:gd name="connsiteY458" fmla="*/ 54375 h 337989"/>
                <a:gd name="connsiteX459" fmla="*/ 196972 w 266641"/>
                <a:gd name="connsiteY459" fmla="*/ 53473 h 337989"/>
                <a:gd name="connsiteX460" fmla="*/ 197288 w 266641"/>
                <a:gd name="connsiteY460" fmla="*/ 52066 h 337989"/>
                <a:gd name="connsiteX461" fmla="*/ 198637 w 266641"/>
                <a:gd name="connsiteY461" fmla="*/ 51430 h 337989"/>
                <a:gd name="connsiteX462" fmla="*/ 199451 w 266641"/>
                <a:gd name="connsiteY462" fmla="*/ 52620 h 337989"/>
                <a:gd name="connsiteX463" fmla="*/ 200123 w 266641"/>
                <a:gd name="connsiteY463" fmla="*/ 54055 h 337989"/>
                <a:gd name="connsiteX464" fmla="*/ 203515 w 266641"/>
                <a:gd name="connsiteY464" fmla="*/ 58308 h 337989"/>
                <a:gd name="connsiteX465" fmla="*/ 205522 w 266641"/>
                <a:gd name="connsiteY465" fmla="*/ 58008 h 337989"/>
                <a:gd name="connsiteX466" fmla="*/ 205710 w 266641"/>
                <a:gd name="connsiteY466" fmla="*/ 59771 h 337989"/>
                <a:gd name="connsiteX467" fmla="*/ 207070 w 266641"/>
                <a:gd name="connsiteY467" fmla="*/ 61562 h 337989"/>
                <a:gd name="connsiteX468" fmla="*/ 207821 w 266641"/>
                <a:gd name="connsiteY468" fmla="*/ 63661 h 337989"/>
                <a:gd name="connsiteX469" fmla="*/ 208814 w 266641"/>
                <a:gd name="connsiteY469" fmla="*/ 69943 h 337989"/>
                <a:gd name="connsiteX470" fmla="*/ 210341 w 266641"/>
                <a:gd name="connsiteY470" fmla="*/ 75869 h 337989"/>
                <a:gd name="connsiteX471" fmla="*/ 213092 w 266641"/>
                <a:gd name="connsiteY471" fmla="*/ 78455 h 337989"/>
                <a:gd name="connsiteX472" fmla="*/ 213412 w 266641"/>
                <a:gd name="connsiteY472" fmla="*/ 79692 h 337989"/>
                <a:gd name="connsiteX473" fmla="*/ 211738 w 266641"/>
                <a:gd name="connsiteY473" fmla="*/ 79054 h 337989"/>
                <a:gd name="connsiteX474" fmla="*/ 211220 w 266641"/>
                <a:gd name="connsiteY474" fmla="*/ 79425 h 337989"/>
                <a:gd name="connsiteX475" fmla="*/ 211397 w 266641"/>
                <a:gd name="connsiteY475" fmla="*/ 80049 h 337989"/>
                <a:gd name="connsiteX476" fmla="*/ 212956 w 266641"/>
                <a:gd name="connsiteY476" fmla="*/ 81185 h 337989"/>
                <a:gd name="connsiteX477" fmla="*/ 214785 w 266641"/>
                <a:gd name="connsiteY477" fmla="*/ 81744 h 337989"/>
                <a:gd name="connsiteX478" fmla="*/ 215936 w 266641"/>
                <a:gd name="connsiteY478" fmla="*/ 81664 h 337989"/>
                <a:gd name="connsiteX479" fmla="*/ 217010 w 266641"/>
                <a:gd name="connsiteY479" fmla="*/ 82078 h 337989"/>
                <a:gd name="connsiteX480" fmla="*/ 224153 w 266641"/>
                <a:gd name="connsiteY480" fmla="*/ 85939 h 337989"/>
                <a:gd name="connsiteX481" fmla="*/ 227586 w 266641"/>
                <a:gd name="connsiteY481" fmla="*/ 87442 h 337989"/>
                <a:gd name="connsiteX482" fmla="*/ 236250 w 266641"/>
                <a:gd name="connsiteY482" fmla="*/ 89904 h 337989"/>
                <a:gd name="connsiteX483" fmla="*/ 238730 w 266641"/>
                <a:gd name="connsiteY483" fmla="*/ 90102 h 337989"/>
                <a:gd name="connsiteX484" fmla="*/ 240100 w 266641"/>
                <a:gd name="connsiteY484" fmla="*/ 90034 h 337989"/>
                <a:gd name="connsiteX485" fmla="*/ 242695 w 266641"/>
                <a:gd name="connsiteY485" fmla="*/ 89178 h 337989"/>
                <a:gd name="connsiteX486" fmla="*/ 245017 w 266641"/>
                <a:gd name="connsiteY486" fmla="*/ 87642 h 337989"/>
                <a:gd name="connsiteX487" fmla="*/ 247021 w 266641"/>
                <a:gd name="connsiteY487" fmla="*/ 85346 h 337989"/>
                <a:gd name="connsiteX488" fmla="*/ 248755 w 266641"/>
                <a:gd name="connsiteY488" fmla="*/ 82730 h 337989"/>
                <a:gd name="connsiteX489" fmla="*/ 250642 w 266641"/>
                <a:gd name="connsiteY489" fmla="*/ 81462 h 337989"/>
                <a:gd name="connsiteX490" fmla="*/ 252782 w 266641"/>
                <a:gd name="connsiteY490" fmla="*/ 80463 h 337989"/>
                <a:gd name="connsiteX491" fmla="*/ 253855 w 266641"/>
                <a:gd name="connsiteY491" fmla="*/ 79537 h 337989"/>
                <a:gd name="connsiteX492" fmla="*/ 254987 w 266641"/>
                <a:gd name="connsiteY492" fmla="*/ 78879 h 337989"/>
                <a:gd name="connsiteX493" fmla="*/ 260802 w 266641"/>
                <a:gd name="connsiteY493" fmla="*/ 79186 h 337989"/>
                <a:gd name="connsiteX494" fmla="*/ 262761 w 266641"/>
                <a:gd name="connsiteY494" fmla="*/ 80503 h 337989"/>
                <a:gd name="connsiteX495" fmla="*/ 265309 w 266641"/>
                <a:gd name="connsiteY495" fmla="*/ 81559 h 337989"/>
                <a:gd name="connsiteX496" fmla="*/ 266641 w 266641"/>
                <a:gd name="connsiteY496" fmla="*/ 82386 h 337989"/>
                <a:gd name="connsiteX497" fmla="*/ 266194 w 266641"/>
                <a:gd name="connsiteY497" fmla="*/ 84062 h 337989"/>
                <a:gd name="connsiteX498" fmla="*/ 264669 w 266641"/>
                <a:gd name="connsiteY498" fmla="*/ 86539 h 337989"/>
                <a:gd name="connsiteX499" fmla="*/ 263495 w 266641"/>
                <a:gd name="connsiteY499" fmla="*/ 89251 h 337989"/>
                <a:gd name="connsiteX500" fmla="*/ 262462 w 266641"/>
                <a:gd name="connsiteY500" fmla="*/ 95424 h 337989"/>
                <a:gd name="connsiteX501" fmla="*/ 261758 w 266641"/>
                <a:gd name="connsiteY501" fmla="*/ 101674 h 337989"/>
                <a:gd name="connsiteX502" fmla="*/ 260702 w 266641"/>
                <a:gd name="connsiteY502" fmla="*/ 104432 h 337989"/>
                <a:gd name="connsiteX503" fmla="*/ 258779 w 266641"/>
                <a:gd name="connsiteY503" fmla="*/ 106558 h 337989"/>
                <a:gd name="connsiteX504" fmla="*/ 256660 w 266641"/>
                <a:gd name="connsiteY504" fmla="*/ 108111 h 337989"/>
                <a:gd name="connsiteX505" fmla="*/ 254257 w 266641"/>
                <a:gd name="connsiteY505" fmla="*/ 108841 h 337989"/>
                <a:gd name="connsiteX506" fmla="*/ 253283 w 266641"/>
                <a:gd name="connsiteY506" fmla="*/ 112402 h 337989"/>
                <a:gd name="connsiteX507" fmla="*/ 252802 w 266641"/>
                <a:gd name="connsiteY507" fmla="*/ 116576 h 337989"/>
                <a:gd name="connsiteX508" fmla="*/ 252940 w 266641"/>
                <a:gd name="connsiteY508" fmla="*/ 117626 h 337989"/>
                <a:gd name="connsiteX509" fmla="*/ 253709 w 266641"/>
                <a:gd name="connsiteY509" fmla="*/ 118457 h 337989"/>
                <a:gd name="connsiteX510" fmla="*/ 254023 w 266641"/>
                <a:gd name="connsiteY510" fmla="*/ 119698 h 337989"/>
                <a:gd name="connsiteX511" fmla="*/ 252767 w 266641"/>
                <a:gd name="connsiteY511" fmla="*/ 122212 h 337989"/>
                <a:gd name="connsiteX512" fmla="*/ 252030 w 266641"/>
                <a:gd name="connsiteY512" fmla="*/ 121848 h 337989"/>
                <a:gd name="connsiteX513" fmla="*/ 250996 w 266641"/>
                <a:gd name="connsiteY513" fmla="*/ 119756 h 337989"/>
                <a:gd name="connsiteX514" fmla="*/ 250055 w 266641"/>
                <a:gd name="connsiteY514" fmla="*/ 118882 h 337989"/>
                <a:gd name="connsiteX515" fmla="*/ 247174 w 266641"/>
                <a:gd name="connsiteY515" fmla="*/ 118230 h 337989"/>
                <a:gd name="connsiteX516" fmla="*/ 244235 w 266641"/>
                <a:gd name="connsiteY516" fmla="*/ 117922 h 337989"/>
                <a:gd name="connsiteX517" fmla="*/ 241682 w 266641"/>
                <a:gd name="connsiteY517" fmla="*/ 118111 h 337989"/>
                <a:gd name="connsiteX518" fmla="*/ 239230 w 266641"/>
                <a:gd name="connsiteY518" fmla="*/ 119009 h 337989"/>
                <a:gd name="connsiteX519" fmla="*/ 235517 w 266641"/>
                <a:gd name="connsiteY519" fmla="*/ 120828 h 337989"/>
                <a:gd name="connsiteX520" fmla="*/ 234369 w 266641"/>
                <a:gd name="connsiteY520" fmla="*/ 121751 h 337989"/>
                <a:gd name="connsiteX521" fmla="*/ 233363 w 266641"/>
                <a:gd name="connsiteY521" fmla="*/ 122920 h 337989"/>
                <a:gd name="connsiteX522" fmla="*/ 231656 w 266641"/>
                <a:gd name="connsiteY522" fmla="*/ 125530 h 337989"/>
                <a:gd name="connsiteX523" fmla="*/ 231251 w 266641"/>
                <a:gd name="connsiteY523" fmla="*/ 128725 h 337989"/>
                <a:gd name="connsiteX524" fmla="*/ 231329 w 266641"/>
                <a:gd name="connsiteY524" fmla="*/ 130401 h 337989"/>
                <a:gd name="connsiteX525" fmla="*/ 231933 w 266641"/>
                <a:gd name="connsiteY525" fmla="*/ 131698 h 337989"/>
                <a:gd name="connsiteX526" fmla="*/ 235101 w 266641"/>
                <a:gd name="connsiteY526" fmla="*/ 133464 h 337989"/>
                <a:gd name="connsiteX527" fmla="*/ 231963 w 266641"/>
                <a:gd name="connsiteY527" fmla="*/ 139648 h 337989"/>
                <a:gd name="connsiteX528" fmla="*/ 229182 w 266641"/>
                <a:gd name="connsiteY528" fmla="*/ 146092 h 337989"/>
                <a:gd name="connsiteX529" fmla="*/ 227602 w 266641"/>
                <a:gd name="connsiteY529" fmla="*/ 147936 h 337989"/>
                <a:gd name="connsiteX530" fmla="*/ 225789 w 266641"/>
                <a:gd name="connsiteY530" fmla="*/ 149636 h 337989"/>
                <a:gd name="connsiteX531" fmla="*/ 224082 w 266641"/>
                <a:gd name="connsiteY531" fmla="*/ 153522 h 337989"/>
                <a:gd name="connsiteX532" fmla="*/ 221095 w 266641"/>
                <a:gd name="connsiteY532" fmla="*/ 156874 h 337989"/>
                <a:gd name="connsiteX533" fmla="*/ 219077 w 266641"/>
                <a:gd name="connsiteY533" fmla="*/ 159435 h 337989"/>
                <a:gd name="connsiteX534" fmla="*/ 217500 w 266641"/>
                <a:gd name="connsiteY534" fmla="*/ 162092 h 337989"/>
                <a:gd name="connsiteX535" fmla="*/ 216126 w 266641"/>
                <a:gd name="connsiteY535" fmla="*/ 164926 h 337989"/>
                <a:gd name="connsiteX536" fmla="*/ 213183 w 266641"/>
                <a:gd name="connsiteY536" fmla="*/ 168930 h 337989"/>
                <a:gd name="connsiteX537" fmla="*/ 211886 w 266641"/>
                <a:gd name="connsiteY537" fmla="*/ 171578 h 337989"/>
                <a:gd name="connsiteX538" fmla="*/ 210182 w 266641"/>
                <a:gd name="connsiteY538" fmla="*/ 173780 h 337989"/>
                <a:gd name="connsiteX539" fmla="*/ 207014 w 266641"/>
                <a:gd name="connsiteY539" fmla="*/ 176597 h 337989"/>
                <a:gd name="connsiteX540" fmla="*/ 203645 w 266641"/>
                <a:gd name="connsiteY540" fmla="*/ 179015 h 337989"/>
                <a:gd name="connsiteX541" fmla="*/ 198333 w 266641"/>
                <a:gd name="connsiteY541" fmla="*/ 182359 h 337989"/>
                <a:gd name="connsiteX542" fmla="*/ 196856 w 266641"/>
                <a:gd name="connsiteY542" fmla="*/ 183464 h 337989"/>
                <a:gd name="connsiteX543" fmla="*/ 195297 w 266641"/>
                <a:gd name="connsiteY543" fmla="*/ 184272 h 337989"/>
                <a:gd name="connsiteX544" fmla="*/ 193360 w 266641"/>
                <a:gd name="connsiteY544" fmla="*/ 183314 h 337989"/>
                <a:gd name="connsiteX545" fmla="*/ 192970 w 266641"/>
                <a:gd name="connsiteY545" fmla="*/ 182271 h 337989"/>
                <a:gd name="connsiteX546" fmla="*/ 192531 w 266641"/>
                <a:gd name="connsiteY546" fmla="*/ 180000 h 337989"/>
                <a:gd name="connsiteX547" fmla="*/ 192110 w 266641"/>
                <a:gd name="connsiteY547" fmla="*/ 179165 h 337989"/>
                <a:gd name="connsiteX548" fmla="*/ 189640 w 266641"/>
                <a:gd name="connsiteY548" fmla="*/ 178474 h 337989"/>
                <a:gd name="connsiteX549" fmla="*/ 186370 w 266641"/>
                <a:gd name="connsiteY549" fmla="*/ 179575 h 337989"/>
                <a:gd name="connsiteX550" fmla="*/ 185824 w 266641"/>
                <a:gd name="connsiteY550" fmla="*/ 179340 h 337989"/>
                <a:gd name="connsiteX551" fmla="*/ 185688 w 266641"/>
                <a:gd name="connsiteY551" fmla="*/ 178819 h 337989"/>
                <a:gd name="connsiteX552" fmla="*/ 185683 w 266641"/>
                <a:gd name="connsiteY552" fmla="*/ 175492 h 337989"/>
                <a:gd name="connsiteX553" fmla="*/ 186241 w 266641"/>
                <a:gd name="connsiteY553" fmla="*/ 174555 h 337989"/>
                <a:gd name="connsiteX554" fmla="*/ 185476 w 266641"/>
                <a:gd name="connsiteY554" fmla="*/ 174037 h 337989"/>
                <a:gd name="connsiteX555" fmla="*/ 184723 w 266641"/>
                <a:gd name="connsiteY555" fmla="*/ 174241 h 337989"/>
                <a:gd name="connsiteX556" fmla="*/ 184461 w 266641"/>
                <a:gd name="connsiteY556" fmla="*/ 175088 h 337989"/>
                <a:gd name="connsiteX557" fmla="*/ 184936 w 266641"/>
                <a:gd name="connsiteY557" fmla="*/ 175822 h 337989"/>
                <a:gd name="connsiteX558" fmla="*/ 183075 w 266641"/>
                <a:gd name="connsiteY558" fmla="*/ 176734 h 337989"/>
                <a:gd name="connsiteX559" fmla="*/ 181140 w 266641"/>
                <a:gd name="connsiteY559" fmla="*/ 176760 h 337989"/>
                <a:gd name="connsiteX560" fmla="*/ 180553 w 266641"/>
                <a:gd name="connsiteY560" fmla="*/ 176402 h 337989"/>
                <a:gd name="connsiteX561" fmla="*/ 180384 w 266641"/>
                <a:gd name="connsiteY561" fmla="*/ 175788 h 337989"/>
                <a:gd name="connsiteX562" fmla="*/ 180853 w 266641"/>
                <a:gd name="connsiteY562" fmla="*/ 174782 h 337989"/>
                <a:gd name="connsiteX563" fmla="*/ 181479 w 266641"/>
                <a:gd name="connsiteY563" fmla="*/ 173896 h 337989"/>
                <a:gd name="connsiteX564" fmla="*/ 185081 w 266641"/>
                <a:gd name="connsiteY564" fmla="*/ 169711 h 337989"/>
                <a:gd name="connsiteX565" fmla="*/ 188819 w 266641"/>
                <a:gd name="connsiteY565" fmla="*/ 164159 h 337989"/>
                <a:gd name="connsiteX566" fmla="*/ 192041 w 266641"/>
                <a:gd name="connsiteY566" fmla="*/ 158226 h 337989"/>
                <a:gd name="connsiteX567" fmla="*/ 192880 w 266641"/>
                <a:gd name="connsiteY567" fmla="*/ 155181 h 337989"/>
                <a:gd name="connsiteX568" fmla="*/ 194066 w 266641"/>
                <a:gd name="connsiteY568" fmla="*/ 149529 h 337989"/>
                <a:gd name="connsiteX569" fmla="*/ 193094 w 266641"/>
                <a:gd name="connsiteY569" fmla="*/ 147179 h 337989"/>
                <a:gd name="connsiteX570" fmla="*/ 191896 w 266641"/>
                <a:gd name="connsiteY570" fmla="*/ 144973 h 337989"/>
                <a:gd name="connsiteX571" fmla="*/ 188653 w 266641"/>
                <a:gd name="connsiteY571" fmla="*/ 140727 h 337989"/>
                <a:gd name="connsiteX572" fmla="*/ 184329 w 266641"/>
                <a:gd name="connsiteY572" fmla="*/ 138331 h 337989"/>
                <a:gd name="connsiteX573" fmla="*/ 181533 w 266641"/>
                <a:gd name="connsiteY573" fmla="*/ 137992 h 337989"/>
                <a:gd name="connsiteX574" fmla="*/ 178884 w 266641"/>
                <a:gd name="connsiteY574" fmla="*/ 137102 h 337989"/>
                <a:gd name="connsiteX575" fmla="*/ 176389 w 266641"/>
                <a:gd name="connsiteY575" fmla="*/ 135077 h 337989"/>
                <a:gd name="connsiteX576" fmla="*/ 174120 w 266641"/>
                <a:gd name="connsiteY576" fmla="*/ 132690 h 337989"/>
                <a:gd name="connsiteX577" fmla="*/ 169622 w 266641"/>
                <a:gd name="connsiteY577" fmla="*/ 130736 h 337989"/>
                <a:gd name="connsiteX578" fmla="*/ 164884 w 266641"/>
                <a:gd name="connsiteY578" fmla="*/ 129202 h 337989"/>
                <a:gd name="connsiteX579" fmla="*/ 162180 w 266641"/>
                <a:gd name="connsiteY579" fmla="*/ 127039 h 337989"/>
                <a:gd name="connsiteX580" fmla="*/ 161537 w 266641"/>
                <a:gd name="connsiteY580" fmla="*/ 125753 h 337989"/>
                <a:gd name="connsiteX581" fmla="*/ 161110 w 266641"/>
                <a:gd name="connsiteY581" fmla="*/ 124264 h 337989"/>
                <a:gd name="connsiteX582" fmla="*/ 161170 w 266641"/>
                <a:gd name="connsiteY582" fmla="*/ 122880 h 337989"/>
                <a:gd name="connsiteX583" fmla="*/ 161507 w 266641"/>
                <a:gd name="connsiteY583" fmla="*/ 121478 h 337989"/>
                <a:gd name="connsiteX584" fmla="*/ 162047 w 266641"/>
                <a:gd name="connsiteY584" fmla="*/ 120398 h 337989"/>
                <a:gd name="connsiteX585" fmla="*/ 162893 w 266641"/>
                <a:gd name="connsiteY585" fmla="*/ 119617 h 337989"/>
                <a:gd name="connsiteX586" fmla="*/ 167914 w 266641"/>
                <a:gd name="connsiteY586" fmla="*/ 116821 h 337989"/>
                <a:gd name="connsiteX587" fmla="*/ 173228 w 266641"/>
                <a:gd name="connsiteY587" fmla="*/ 115266 h 337989"/>
                <a:gd name="connsiteX588" fmla="*/ 174208 w 266641"/>
                <a:gd name="connsiteY588" fmla="*/ 115293 h 337989"/>
                <a:gd name="connsiteX589" fmla="*/ 175146 w 266641"/>
                <a:gd name="connsiteY589" fmla="*/ 115046 h 337989"/>
                <a:gd name="connsiteX590" fmla="*/ 176474 w 266641"/>
                <a:gd name="connsiteY590" fmla="*/ 114095 h 337989"/>
                <a:gd name="connsiteX591" fmla="*/ 178855 w 266641"/>
                <a:gd name="connsiteY591" fmla="*/ 111921 h 337989"/>
                <a:gd name="connsiteX592" fmla="*/ 179544 w 266641"/>
                <a:gd name="connsiteY592" fmla="*/ 110461 h 337989"/>
                <a:gd name="connsiteX593" fmla="*/ 180013 w 266641"/>
                <a:gd name="connsiteY593" fmla="*/ 105826 h 337989"/>
                <a:gd name="connsiteX594" fmla="*/ 180775 w 266641"/>
                <a:gd name="connsiteY594" fmla="*/ 101270 h 337989"/>
                <a:gd name="connsiteX595" fmla="*/ 182153 w 266641"/>
                <a:gd name="connsiteY595" fmla="*/ 96058 h 337989"/>
                <a:gd name="connsiteX596" fmla="*/ 184230 w 266641"/>
                <a:gd name="connsiteY596" fmla="*/ 92829 h 337989"/>
                <a:gd name="connsiteX597" fmla="*/ 184910 w 266641"/>
                <a:gd name="connsiteY597" fmla="*/ 90850 h 337989"/>
                <a:gd name="connsiteX598" fmla="*/ 184062 w 266641"/>
                <a:gd name="connsiteY598" fmla="*/ 87592 h 337989"/>
                <a:gd name="connsiteX599" fmla="*/ 184839 w 266641"/>
                <a:gd name="connsiteY599" fmla="*/ 86399 h 337989"/>
                <a:gd name="connsiteX600" fmla="*/ 185785 w 266641"/>
                <a:gd name="connsiteY600" fmla="*/ 85679 h 337989"/>
                <a:gd name="connsiteX601" fmla="*/ 186856 w 266641"/>
                <a:gd name="connsiteY601" fmla="*/ 85261 h 337989"/>
                <a:gd name="connsiteX602" fmla="*/ 185042 w 266641"/>
                <a:gd name="connsiteY602" fmla="*/ 82209 h 337989"/>
                <a:gd name="connsiteX603" fmla="*/ 182907 w 266641"/>
                <a:gd name="connsiteY603" fmla="*/ 77597 h 337989"/>
                <a:gd name="connsiteX604" fmla="*/ 182459 w 266641"/>
                <a:gd name="connsiteY604" fmla="*/ 76169 h 337989"/>
                <a:gd name="connsiteX605" fmla="*/ 182786 w 266641"/>
                <a:gd name="connsiteY605" fmla="*/ 74758 h 337989"/>
                <a:gd name="connsiteX606" fmla="*/ 183310 w 266641"/>
                <a:gd name="connsiteY606" fmla="*/ 73371 h 337989"/>
                <a:gd name="connsiteX607" fmla="*/ 181978 w 266641"/>
                <a:gd name="connsiteY607" fmla="*/ 73020 h 337989"/>
                <a:gd name="connsiteX608" fmla="*/ 181207 w 266641"/>
                <a:gd name="connsiteY608" fmla="*/ 71690 h 337989"/>
                <a:gd name="connsiteX609" fmla="*/ 179290 w 266641"/>
                <a:gd name="connsiteY609" fmla="*/ 67223 h 337989"/>
                <a:gd name="connsiteX610" fmla="*/ 179816 w 266641"/>
                <a:gd name="connsiteY610" fmla="*/ 66515 h 337989"/>
                <a:gd name="connsiteX611" fmla="*/ 180922 w 266641"/>
                <a:gd name="connsiteY611" fmla="*/ 66995 h 337989"/>
                <a:gd name="connsiteX612" fmla="*/ 182572 w 266641"/>
                <a:gd name="connsiteY612" fmla="*/ 70215 h 337989"/>
                <a:gd name="connsiteX613" fmla="*/ 182839 w 266641"/>
                <a:gd name="connsiteY613" fmla="*/ 68556 h 337989"/>
                <a:gd name="connsiteX614" fmla="*/ 184105 w 266641"/>
                <a:gd name="connsiteY614" fmla="*/ 67537 h 337989"/>
                <a:gd name="connsiteX615" fmla="*/ 185438 w 266641"/>
                <a:gd name="connsiteY615" fmla="*/ 67007 h 337989"/>
                <a:gd name="connsiteX616" fmla="*/ 186875 w 266641"/>
                <a:gd name="connsiteY616" fmla="*/ 66893 h 337989"/>
                <a:gd name="connsiteX617" fmla="*/ 183628 w 266641"/>
                <a:gd name="connsiteY617" fmla="*/ 63306 h 337989"/>
                <a:gd name="connsiteX618" fmla="*/ 182542 w 266641"/>
                <a:gd name="connsiteY618" fmla="*/ 63450 h 337989"/>
                <a:gd name="connsiteX619" fmla="*/ 181105 w 266641"/>
                <a:gd name="connsiteY619" fmla="*/ 64021 h 337989"/>
                <a:gd name="connsiteX620" fmla="*/ 179635 w 266641"/>
                <a:gd name="connsiteY620" fmla="*/ 64374 h 337989"/>
                <a:gd name="connsiteX621" fmla="*/ 178199 w 266641"/>
                <a:gd name="connsiteY621" fmla="*/ 64058 h 337989"/>
                <a:gd name="connsiteX622" fmla="*/ 176851 w 266641"/>
                <a:gd name="connsiteY622" fmla="*/ 63259 h 337989"/>
                <a:gd name="connsiteX623" fmla="*/ 176164 w 266641"/>
                <a:gd name="connsiteY623" fmla="*/ 61750 h 337989"/>
                <a:gd name="connsiteX624" fmla="*/ 175314 w 266641"/>
                <a:gd name="connsiteY624" fmla="*/ 58848 h 337989"/>
                <a:gd name="connsiteX625" fmla="*/ 174781 w 266641"/>
                <a:gd name="connsiteY625" fmla="*/ 57775 h 337989"/>
                <a:gd name="connsiteX626" fmla="*/ 170512 w 266641"/>
                <a:gd name="connsiteY626" fmla="*/ 51851 h 337989"/>
                <a:gd name="connsiteX627" fmla="*/ 171768 w 266641"/>
                <a:gd name="connsiteY627" fmla="*/ 51665 h 337989"/>
                <a:gd name="connsiteX628" fmla="*/ 175215 w 266641"/>
                <a:gd name="connsiteY628" fmla="*/ 54630 h 337989"/>
                <a:gd name="connsiteX629" fmla="*/ 175882 w 266641"/>
                <a:gd name="connsiteY629" fmla="*/ 53682 h 337989"/>
                <a:gd name="connsiteX630" fmla="*/ 176381 w 266641"/>
                <a:gd name="connsiteY630" fmla="*/ 52318 h 337989"/>
                <a:gd name="connsiteX631" fmla="*/ 176216 w 266641"/>
                <a:gd name="connsiteY631" fmla="*/ 50802 h 337989"/>
                <a:gd name="connsiteX632" fmla="*/ 175392 w 266641"/>
                <a:gd name="connsiteY632" fmla="*/ 49655 h 337989"/>
                <a:gd name="connsiteX633" fmla="*/ 174165 w 266641"/>
                <a:gd name="connsiteY633" fmla="*/ 48906 h 337989"/>
                <a:gd name="connsiteX634" fmla="*/ 174144 w 266641"/>
                <a:gd name="connsiteY634" fmla="*/ 47562 h 337989"/>
                <a:gd name="connsiteX635" fmla="*/ 175078 w 266641"/>
                <a:gd name="connsiteY635" fmla="*/ 46329 h 337989"/>
                <a:gd name="connsiteX636" fmla="*/ 175020 w 266641"/>
                <a:gd name="connsiteY636" fmla="*/ 45467 h 337989"/>
                <a:gd name="connsiteX637" fmla="*/ 173047 w 266641"/>
                <a:gd name="connsiteY637" fmla="*/ 43710 h 337989"/>
                <a:gd name="connsiteX638" fmla="*/ 172258 w 266641"/>
                <a:gd name="connsiteY638" fmla="*/ 43522 h 337989"/>
                <a:gd name="connsiteX639" fmla="*/ 171909 w 266641"/>
                <a:gd name="connsiteY639" fmla="*/ 44345 h 337989"/>
                <a:gd name="connsiteX640" fmla="*/ 172472 w 266641"/>
                <a:gd name="connsiteY640" fmla="*/ 45561 h 337989"/>
                <a:gd name="connsiteX641" fmla="*/ 171945 w 266641"/>
                <a:gd name="connsiteY641" fmla="*/ 45697 h 337989"/>
                <a:gd name="connsiteX642" fmla="*/ 167140 w 266641"/>
                <a:gd name="connsiteY642" fmla="*/ 42496 h 337989"/>
                <a:gd name="connsiteX643" fmla="*/ 165657 w 266641"/>
                <a:gd name="connsiteY643" fmla="*/ 39925 h 337989"/>
                <a:gd name="connsiteX644" fmla="*/ 164443 w 266641"/>
                <a:gd name="connsiteY644" fmla="*/ 37102 h 337989"/>
                <a:gd name="connsiteX645" fmla="*/ 164320 w 266641"/>
                <a:gd name="connsiteY645" fmla="*/ 38250 h 337989"/>
                <a:gd name="connsiteX646" fmla="*/ 164506 w 266641"/>
                <a:gd name="connsiteY646" fmla="*/ 39863 h 337989"/>
                <a:gd name="connsiteX647" fmla="*/ 166405 w 266641"/>
                <a:gd name="connsiteY647" fmla="*/ 43098 h 337989"/>
                <a:gd name="connsiteX648" fmla="*/ 169483 w 266641"/>
                <a:gd name="connsiteY648" fmla="*/ 46717 h 337989"/>
                <a:gd name="connsiteX649" fmla="*/ 170015 w 266641"/>
                <a:gd name="connsiteY649" fmla="*/ 47683 h 337989"/>
                <a:gd name="connsiteX650" fmla="*/ 169559 w 266641"/>
                <a:gd name="connsiteY650" fmla="*/ 48930 h 337989"/>
                <a:gd name="connsiteX651" fmla="*/ 168490 w 266641"/>
                <a:gd name="connsiteY651" fmla="*/ 49286 h 337989"/>
                <a:gd name="connsiteX652" fmla="*/ 167545 w 266641"/>
                <a:gd name="connsiteY652" fmla="*/ 48495 h 337989"/>
                <a:gd name="connsiteX653" fmla="*/ 166136 w 266641"/>
                <a:gd name="connsiteY653" fmla="*/ 45396 h 337989"/>
                <a:gd name="connsiteX654" fmla="*/ 165122 w 266641"/>
                <a:gd name="connsiteY654" fmla="*/ 43846 h 337989"/>
                <a:gd name="connsiteX655" fmla="*/ 153338 w 266641"/>
                <a:gd name="connsiteY655" fmla="*/ 27883 h 337989"/>
                <a:gd name="connsiteX656" fmla="*/ 154843 w 266641"/>
                <a:gd name="connsiteY656" fmla="*/ 25781 h 337989"/>
                <a:gd name="connsiteX657" fmla="*/ 157177 w 266641"/>
                <a:gd name="connsiteY657" fmla="*/ 24012 h 337989"/>
                <a:gd name="connsiteX658" fmla="*/ 157719 w 266641"/>
                <a:gd name="connsiteY658" fmla="*/ 23225 h 337989"/>
                <a:gd name="connsiteX659" fmla="*/ 158069 w 266641"/>
                <a:gd name="connsiteY659" fmla="*/ 22269 h 337989"/>
                <a:gd name="connsiteX660" fmla="*/ 157084 w 266641"/>
                <a:gd name="connsiteY660" fmla="*/ 22105 h 337989"/>
                <a:gd name="connsiteX661" fmla="*/ 156201 w 266641"/>
                <a:gd name="connsiteY661" fmla="*/ 22539 h 337989"/>
                <a:gd name="connsiteX662" fmla="*/ 155193 w 266641"/>
                <a:gd name="connsiteY662" fmla="*/ 23353 h 337989"/>
                <a:gd name="connsiteX663" fmla="*/ 154269 w 266641"/>
                <a:gd name="connsiteY663" fmla="*/ 24280 h 337989"/>
                <a:gd name="connsiteX664" fmla="*/ 153105 w 266641"/>
                <a:gd name="connsiteY664" fmla="*/ 26339 h 337989"/>
                <a:gd name="connsiteX665" fmla="*/ 152546 w 266641"/>
                <a:gd name="connsiteY665" fmla="*/ 26815 h 337989"/>
                <a:gd name="connsiteX666" fmla="*/ 151165 w 266641"/>
                <a:gd name="connsiteY666" fmla="*/ 25389 h 337989"/>
                <a:gd name="connsiteX667" fmla="*/ 150640 w 266641"/>
                <a:gd name="connsiteY667" fmla="*/ 24508 h 337989"/>
                <a:gd name="connsiteX668" fmla="*/ 150663 w 266641"/>
                <a:gd name="connsiteY668" fmla="*/ 23453 h 337989"/>
                <a:gd name="connsiteX669" fmla="*/ 150293 w 266641"/>
                <a:gd name="connsiteY669" fmla="*/ 22784 h 337989"/>
                <a:gd name="connsiteX670" fmla="*/ 149268 w 266641"/>
                <a:gd name="connsiteY670" fmla="*/ 22573 h 337989"/>
                <a:gd name="connsiteX671" fmla="*/ 147765 w 266641"/>
                <a:gd name="connsiteY671" fmla="*/ 20477 h 337989"/>
                <a:gd name="connsiteX672" fmla="*/ 146803 w 266641"/>
                <a:gd name="connsiteY672" fmla="*/ 19412 h 337989"/>
                <a:gd name="connsiteX673" fmla="*/ 148397 w 266641"/>
                <a:gd name="connsiteY673" fmla="*/ 17367 h 337989"/>
                <a:gd name="connsiteX674" fmla="*/ 148438 w 266641"/>
                <a:gd name="connsiteY674" fmla="*/ 14673 h 337989"/>
                <a:gd name="connsiteX675" fmla="*/ 146817 w 266641"/>
                <a:gd name="connsiteY675" fmla="*/ 11847 h 337989"/>
                <a:gd name="connsiteX676" fmla="*/ 144877 w 266641"/>
                <a:gd name="connsiteY676" fmla="*/ 9260 h 337989"/>
                <a:gd name="connsiteX677" fmla="*/ 141144 w 266641"/>
                <a:gd name="connsiteY677" fmla="*/ 5072 h 337989"/>
                <a:gd name="connsiteX678" fmla="*/ 137721 w 266641"/>
                <a:gd name="connsiteY678" fmla="*/ 650 h 337989"/>
                <a:gd name="connsiteX679" fmla="*/ 141431 w 266641"/>
                <a:gd name="connsiteY679" fmla="*/ 95 h 3379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</a:cxnLst>
              <a:rect l="l" t="t" r="r" b="b"/>
              <a:pathLst>
                <a:path w="266641" h="337989">
                  <a:moveTo>
                    <a:pt x="32684" y="322106"/>
                  </a:moveTo>
                  <a:lnTo>
                    <a:pt x="36868" y="326777"/>
                  </a:lnTo>
                  <a:lnTo>
                    <a:pt x="36876" y="327891"/>
                  </a:lnTo>
                  <a:lnTo>
                    <a:pt x="34569" y="327490"/>
                  </a:lnTo>
                  <a:lnTo>
                    <a:pt x="34617" y="328740"/>
                  </a:lnTo>
                  <a:lnTo>
                    <a:pt x="36437" y="329397"/>
                  </a:lnTo>
                  <a:lnTo>
                    <a:pt x="37111" y="330293"/>
                  </a:lnTo>
                  <a:lnTo>
                    <a:pt x="39001" y="330034"/>
                  </a:lnTo>
                  <a:lnTo>
                    <a:pt x="39426" y="331375"/>
                  </a:lnTo>
                  <a:lnTo>
                    <a:pt x="38990" y="332575"/>
                  </a:lnTo>
                  <a:lnTo>
                    <a:pt x="37729" y="333456"/>
                  </a:lnTo>
                  <a:lnTo>
                    <a:pt x="33996" y="333901"/>
                  </a:lnTo>
                  <a:lnTo>
                    <a:pt x="31574" y="335645"/>
                  </a:lnTo>
                  <a:lnTo>
                    <a:pt x="29477" y="335381"/>
                  </a:lnTo>
                  <a:lnTo>
                    <a:pt x="28908" y="335539"/>
                  </a:lnTo>
                  <a:lnTo>
                    <a:pt x="26506" y="337410"/>
                  </a:lnTo>
                  <a:lnTo>
                    <a:pt x="23820" y="337989"/>
                  </a:lnTo>
                  <a:lnTo>
                    <a:pt x="23092" y="337850"/>
                  </a:lnTo>
                  <a:lnTo>
                    <a:pt x="23464" y="336181"/>
                  </a:lnTo>
                  <a:lnTo>
                    <a:pt x="25459" y="334594"/>
                  </a:lnTo>
                  <a:lnTo>
                    <a:pt x="25502" y="333071"/>
                  </a:lnTo>
                  <a:lnTo>
                    <a:pt x="26014" y="331855"/>
                  </a:lnTo>
                  <a:lnTo>
                    <a:pt x="27934" y="330999"/>
                  </a:lnTo>
                  <a:lnTo>
                    <a:pt x="27957" y="329416"/>
                  </a:lnTo>
                  <a:lnTo>
                    <a:pt x="29257" y="328013"/>
                  </a:lnTo>
                  <a:lnTo>
                    <a:pt x="28471" y="324979"/>
                  </a:lnTo>
                  <a:lnTo>
                    <a:pt x="28886" y="322255"/>
                  </a:lnTo>
                  <a:close/>
                  <a:moveTo>
                    <a:pt x="4600" y="292250"/>
                  </a:moveTo>
                  <a:lnTo>
                    <a:pt x="5612" y="292900"/>
                  </a:lnTo>
                  <a:lnTo>
                    <a:pt x="5941" y="293373"/>
                  </a:lnTo>
                  <a:lnTo>
                    <a:pt x="5824" y="294725"/>
                  </a:lnTo>
                  <a:lnTo>
                    <a:pt x="5562" y="295405"/>
                  </a:lnTo>
                  <a:lnTo>
                    <a:pt x="4796" y="295410"/>
                  </a:lnTo>
                  <a:lnTo>
                    <a:pt x="3646" y="295260"/>
                  </a:lnTo>
                  <a:lnTo>
                    <a:pt x="2522" y="294636"/>
                  </a:lnTo>
                  <a:lnTo>
                    <a:pt x="1803" y="294813"/>
                  </a:lnTo>
                  <a:lnTo>
                    <a:pt x="1203" y="294582"/>
                  </a:lnTo>
                  <a:lnTo>
                    <a:pt x="1978" y="293058"/>
                  </a:lnTo>
                  <a:close/>
                  <a:moveTo>
                    <a:pt x="11097" y="280302"/>
                  </a:moveTo>
                  <a:lnTo>
                    <a:pt x="12051" y="283593"/>
                  </a:lnTo>
                  <a:lnTo>
                    <a:pt x="10028" y="282964"/>
                  </a:lnTo>
                  <a:lnTo>
                    <a:pt x="9177" y="281969"/>
                  </a:lnTo>
                  <a:lnTo>
                    <a:pt x="10726" y="280321"/>
                  </a:lnTo>
                  <a:close/>
                  <a:moveTo>
                    <a:pt x="165550" y="160623"/>
                  </a:moveTo>
                  <a:lnTo>
                    <a:pt x="165407" y="162561"/>
                  </a:lnTo>
                  <a:lnTo>
                    <a:pt x="164448" y="164580"/>
                  </a:lnTo>
                  <a:lnTo>
                    <a:pt x="161489" y="166107"/>
                  </a:lnTo>
                  <a:lnTo>
                    <a:pt x="161608" y="165047"/>
                  </a:lnTo>
                  <a:lnTo>
                    <a:pt x="162187" y="162741"/>
                  </a:lnTo>
                  <a:lnTo>
                    <a:pt x="163534" y="161577"/>
                  </a:lnTo>
                  <a:lnTo>
                    <a:pt x="164198" y="161497"/>
                  </a:lnTo>
                  <a:close/>
                  <a:moveTo>
                    <a:pt x="140467" y="154780"/>
                  </a:moveTo>
                  <a:lnTo>
                    <a:pt x="142977" y="155532"/>
                  </a:lnTo>
                  <a:lnTo>
                    <a:pt x="138311" y="156187"/>
                  </a:lnTo>
                  <a:lnTo>
                    <a:pt x="137836" y="157801"/>
                  </a:lnTo>
                  <a:lnTo>
                    <a:pt x="137687" y="159438"/>
                  </a:lnTo>
                  <a:lnTo>
                    <a:pt x="138229" y="160903"/>
                  </a:lnTo>
                  <a:lnTo>
                    <a:pt x="139067" y="162210"/>
                  </a:lnTo>
                  <a:lnTo>
                    <a:pt x="141329" y="163441"/>
                  </a:lnTo>
                  <a:lnTo>
                    <a:pt x="143973" y="164175"/>
                  </a:lnTo>
                  <a:lnTo>
                    <a:pt x="145158" y="166944"/>
                  </a:lnTo>
                  <a:lnTo>
                    <a:pt x="145376" y="170233"/>
                  </a:lnTo>
                  <a:lnTo>
                    <a:pt x="145741" y="173057"/>
                  </a:lnTo>
                  <a:lnTo>
                    <a:pt x="146773" y="175521"/>
                  </a:lnTo>
                  <a:lnTo>
                    <a:pt x="149328" y="175649"/>
                  </a:lnTo>
                  <a:lnTo>
                    <a:pt x="151692" y="173718"/>
                  </a:lnTo>
                  <a:lnTo>
                    <a:pt x="154113" y="172149"/>
                  </a:lnTo>
                  <a:lnTo>
                    <a:pt x="156661" y="170850"/>
                  </a:lnTo>
                  <a:lnTo>
                    <a:pt x="160539" y="167874"/>
                  </a:lnTo>
                  <a:lnTo>
                    <a:pt x="161554" y="167437"/>
                  </a:lnTo>
                  <a:lnTo>
                    <a:pt x="164070" y="166870"/>
                  </a:lnTo>
                  <a:lnTo>
                    <a:pt x="165167" y="166169"/>
                  </a:lnTo>
                  <a:lnTo>
                    <a:pt x="166389" y="166002"/>
                  </a:lnTo>
                  <a:lnTo>
                    <a:pt x="165292" y="167766"/>
                  </a:lnTo>
                  <a:lnTo>
                    <a:pt x="163899" y="168354"/>
                  </a:lnTo>
                  <a:lnTo>
                    <a:pt x="163679" y="168992"/>
                  </a:lnTo>
                  <a:lnTo>
                    <a:pt x="164458" y="170009"/>
                  </a:lnTo>
                  <a:lnTo>
                    <a:pt x="163247" y="171439"/>
                  </a:lnTo>
                  <a:lnTo>
                    <a:pt x="163292" y="173222"/>
                  </a:lnTo>
                  <a:lnTo>
                    <a:pt x="161865" y="175327"/>
                  </a:lnTo>
                  <a:lnTo>
                    <a:pt x="164059" y="174468"/>
                  </a:lnTo>
                  <a:lnTo>
                    <a:pt x="164862" y="173096"/>
                  </a:lnTo>
                  <a:lnTo>
                    <a:pt x="164448" y="172324"/>
                  </a:lnTo>
                  <a:lnTo>
                    <a:pt x="165398" y="170793"/>
                  </a:lnTo>
                  <a:lnTo>
                    <a:pt x="166867" y="170066"/>
                  </a:lnTo>
                  <a:lnTo>
                    <a:pt x="166281" y="168904"/>
                  </a:lnTo>
                  <a:lnTo>
                    <a:pt x="166322" y="167987"/>
                  </a:lnTo>
                  <a:lnTo>
                    <a:pt x="168117" y="168326"/>
                  </a:lnTo>
                  <a:lnTo>
                    <a:pt x="169014" y="168287"/>
                  </a:lnTo>
                  <a:lnTo>
                    <a:pt x="169724" y="167925"/>
                  </a:lnTo>
                  <a:lnTo>
                    <a:pt x="171019" y="167781"/>
                  </a:lnTo>
                  <a:lnTo>
                    <a:pt x="171285" y="168806"/>
                  </a:lnTo>
                  <a:lnTo>
                    <a:pt x="173025" y="168678"/>
                  </a:lnTo>
                  <a:lnTo>
                    <a:pt x="172393" y="169973"/>
                  </a:lnTo>
                  <a:lnTo>
                    <a:pt x="171060" y="171470"/>
                  </a:lnTo>
                  <a:lnTo>
                    <a:pt x="170747" y="172380"/>
                  </a:lnTo>
                  <a:lnTo>
                    <a:pt x="168615" y="173888"/>
                  </a:lnTo>
                  <a:lnTo>
                    <a:pt x="167188" y="174534"/>
                  </a:lnTo>
                  <a:lnTo>
                    <a:pt x="169389" y="174702"/>
                  </a:lnTo>
                  <a:lnTo>
                    <a:pt x="172607" y="172681"/>
                  </a:lnTo>
                  <a:lnTo>
                    <a:pt x="174520" y="170893"/>
                  </a:lnTo>
                  <a:lnTo>
                    <a:pt x="174463" y="173124"/>
                  </a:lnTo>
                  <a:lnTo>
                    <a:pt x="172909" y="175124"/>
                  </a:lnTo>
                  <a:lnTo>
                    <a:pt x="171578" y="176389"/>
                  </a:lnTo>
                  <a:lnTo>
                    <a:pt x="170083" y="176780"/>
                  </a:lnTo>
                  <a:lnTo>
                    <a:pt x="168592" y="177806"/>
                  </a:lnTo>
                  <a:lnTo>
                    <a:pt x="167869" y="179484"/>
                  </a:lnTo>
                  <a:lnTo>
                    <a:pt x="167949" y="180599"/>
                  </a:lnTo>
                  <a:lnTo>
                    <a:pt x="168378" y="181484"/>
                  </a:lnTo>
                  <a:lnTo>
                    <a:pt x="169898" y="182981"/>
                  </a:lnTo>
                  <a:lnTo>
                    <a:pt x="168186" y="185864"/>
                  </a:lnTo>
                  <a:lnTo>
                    <a:pt x="170093" y="185505"/>
                  </a:lnTo>
                  <a:lnTo>
                    <a:pt x="171135" y="186048"/>
                  </a:lnTo>
                  <a:lnTo>
                    <a:pt x="172596" y="187713"/>
                  </a:lnTo>
                  <a:lnTo>
                    <a:pt x="171717" y="189633"/>
                  </a:lnTo>
                  <a:lnTo>
                    <a:pt x="171099" y="190616"/>
                  </a:lnTo>
                  <a:lnTo>
                    <a:pt x="167380" y="194671"/>
                  </a:lnTo>
                  <a:lnTo>
                    <a:pt x="165759" y="196730"/>
                  </a:lnTo>
                  <a:lnTo>
                    <a:pt x="163858" y="198048"/>
                  </a:lnTo>
                  <a:lnTo>
                    <a:pt x="163885" y="200214"/>
                  </a:lnTo>
                  <a:lnTo>
                    <a:pt x="162794" y="201791"/>
                  </a:lnTo>
                  <a:lnTo>
                    <a:pt x="157253" y="207200"/>
                  </a:lnTo>
                  <a:lnTo>
                    <a:pt x="156277" y="208374"/>
                  </a:lnTo>
                  <a:lnTo>
                    <a:pt x="151909" y="217000"/>
                  </a:lnTo>
                  <a:lnTo>
                    <a:pt x="149114" y="220635"/>
                  </a:lnTo>
                  <a:lnTo>
                    <a:pt x="147514" y="221872"/>
                  </a:lnTo>
                  <a:lnTo>
                    <a:pt x="145823" y="222878"/>
                  </a:lnTo>
                  <a:lnTo>
                    <a:pt x="141766" y="224594"/>
                  </a:lnTo>
                  <a:lnTo>
                    <a:pt x="139978" y="226567"/>
                  </a:lnTo>
                  <a:lnTo>
                    <a:pt x="137999" y="228207"/>
                  </a:lnTo>
                  <a:lnTo>
                    <a:pt x="135910" y="228574"/>
                  </a:lnTo>
                  <a:lnTo>
                    <a:pt x="135975" y="229301"/>
                  </a:lnTo>
                  <a:lnTo>
                    <a:pt x="137313" y="229708"/>
                  </a:lnTo>
                  <a:lnTo>
                    <a:pt x="138358" y="230787"/>
                  </a:lnTo>
                  <a:lnTo>
                    <a:pt x="137583" y="231995"/>
                  </a:lnTo>
                  <a:lnTo>
                    <a:pt x="136091" y="232754"/>
                  </a:lnTo>
                  <a:lnTo>
                    <a:pt x="134543" y="232973"/>
                  </a:lnTo>
                  <a:lnTo>
                    <a:pt x="133756" y="233745"/>
                  </a:lnTo>
                  <a:lnTo>
                    <a:pt x="137444" y="233196"/>
                  </a:lnTo>
                  <a:lnTo>
                    <a:pt x="138484" y="233829"/>
                  </a:lnTo>
                  <a:lnTo>
                    <a:pt x="138678" y="235160"/>
                  </a:lnTo>
                  <a:lnTo>
                    <a:pt x="139062" y="236362"/>
                  </a:lnTo>
                  <a:lnTo>
                    <a:pt x="139957" y="237954"/>
                  </a:lnTo>
                  <a:lnTo>
                    <a:pt x="143057" y="238968"/>
                  </a:lnTo>
                  <a:lnTo>
                    <a:pt x="145842" y="239442"/>
                  </a:lnTo>
                  <a:lnTo>
                    <a:pt x="146391" y="240180"/>
                  </a:lnTo>
                  <a:lnTo>
                    <a:pt x="146808" y="242727"/>
                  </a:lnTo>
                  <a:lnTo>
                    <a:pt x="146300" y="243977"/>
                  </a:lnTo>
                  <a:lnTo>
                    <a:pt x="145674" y="244801"/>
                  </a:lnTo>
                  <a:lnTo>
                    <a:pt x="144739" y="245093"/>
                  </a:lnTo>
                  <a:lnTo>
                    <a:pt x="142467" y="245254"/>
                  </a:lnTo>
                  <a:lnTo>
                    <a:pt x="140191" y="244679"/>
                  </a:lnTo>
                  <a:lnTo>
                    <a:pt x="138680" y="243138"/>
                  </a:lnTo>
                  <a:lnTo>
                    <a:pt x="134376" y="243631"/>
                  </a:lnTo>
                  <a:lnTo>
                    <a:pt x="133228" y="243964"/>
                  </a:lnTo>
                  <a:lnTo>
                    <a:pt x="132636" y="243687"/>
                  </a:lnTo>
                  <a:lnTo>
                    <a:pt x="135020" y="242070"/>
                  </a:lnTo>
                  <a:lnTo>
                    <a:pt x="133770" y="241150"/>
                  </a:lnTo>
                  <a:lnTo>
                    <a:pt x="132733" y="240805"/>
                  </a:lnTo>
                  <a:lnTo>
                    <a:pt x="131612" y="241339"/>
                  </a:lnTo>
                  <a:lnTo>
                    <a:pt x="130859" y="242186"/>
                  </a:lnTo>
                  <a:lnTo>
                    <a:pt x="130630" y="243584"/>
                  </a:lnTo>
                  <a:lnTo>
                    <a:pt x="129859" y="244389"/>
                  </a:lnTo>
                  <a:lnTo>
                    <a:pt x="128669" y="244618"/>
                  </a:lnTo>
                  <a:lnTo>
                    <a:pt x="126991" y="243460"/>
                  </a:lnTo>
                  <a:lnTo>
                    <a:pt x="125335" y="241801"/>
                  </a:lnTo>
                  <a:lnTo>
                    <a:pt x="122897" y="240133"/>
                  </a:lnTo>
                  <a:lnTo>
                    <a:pt x="123266" y="241166"/>
                  </a:lnTo>
                  <a:lnTo>
                    <a:pt x="125145" y="243697"/>
                  </a:lnTo>
                  <a:lnTo>
                    <a:pt x="126086" y="245378"/>
                  </a:lnTo>
                  <a:lnTo>
                    <a:pt x="123897" y="246720"/>
                  </a:lnTo>
                  <a:lnTo>
                    <a:pt x="121617" y="247766"/>
                  </a:lnTo>
                  <a:lnTo>
                    <a:pt x="119693" y="248379"/>
                  </a:lnTo>
                  <a:lnTo>
                    <a:pt x="117874" y="249336"/>
                  </a:lnTo>
                  <a:lnTo>
                    <a:pt x="115743" y="250830"/>
                  </a:lnTo>
                  <a:lnTo>
                    <a:pt x="114571" y="251364"/>
                  </a:lnTo>
                  <a:lnTo>
                    <a:pt x="111448" y="251396"/>
                  </a:lnTo>
                  <a:lnTo>
                    <a:pt x="109786" y="251869"/>
                  </a:lnTo>
                  <a:lnTo>
                    <a:pt x="109231" y="253845"/>
                  </a:lnTo>
                  <a:lnTo>
                    <a:pt x="108060" y="255100"/>
                  </a:lnTo>
                  <a:lnTo>
                    <a:pt x="105321" y="255349"/>
                  </a:lnTo>
                  <a:lnTo>
                    <a:pt x="106309" y="255744"/>
                  </a:lnTo>
                  <a:lnTo>
                    <a:pt x="106920" y="256372"/>
                  </a:lnTo>
                  <a:lnTo>
                    <a:pt x="105108" y="262331"/>
                  </a:lnTo>
                  <a:lnTo>
                    <a:pt x="104711" y="264808"/>
                  </a:lnTo>
                  <a:lnTo>
                    <a:pt x="104373" y="269049"/>
                  </a:lnTo>
                  <a:lnTo>
                    <a:pt x="103234" y="272991"/>
                  </a:lnTo>
                  <a:lnTo>
                    <a:pt x="99977" y="272967"/>
                  </a:lnTo>
                  <a:lnTo>
                    <a:pt x="100504" y="273665"/>
                  </a:lnTo>
                  <a:lnTo>
                    <a:pt x="102966" y="274778"/>
                  </a:lnTo>
                  <a:lnTo>
                    <a:pt x="102504" y="276460"/>
                  </a:lnTo>
                  <a:lnTo>
                    <a:pt x="99794" y="279530"/>
                  </a:lnTo>
                  <a:lnTo>
                    <a:pt x="98665" y="281308"/>
                  </a:lnTo>
                  <a:lnTo>
                    <a:pt x="97565" y="285626"/>
                  </a:lnTo>
                  <a:lnTo>
                    <a:pt x="95914" y="289613"/>
                  </a:lnTo>
                  <a:lnTo>
                    <a:pt x="93378" y="294155"/>
                  </a:lnTo>
                  <a:lnTo>
                    <a:pt x="93359" y="294972"/>
                  </a:lnTo>
                  <a:lnTo>
                    <a:pt x="94246" y="296131"/>
                  </a:lnTo>
                  <a:lnTo>
                    <a:pt x="95322" y="297135"/>
                  </a:lnTo>
                  <a:lnTo>
                    <a:pt x="95383" y="298551"/>
                  </a:lnTo>
                  <a:lnTo>
                    <a:pt x="95052" y="299296"/>
                  </a:lnTo>
                  <a:lnTo>
                    <a:pt x="93846" y="299493"/>
                  </a:lnTo>
                  <a:lnTo>
                    <a:pt x="92795" y="299980"/>
                  </a:lnTo>
                  <a:lnTo>
                    <a:pt x="87155" y="301231"/>
                  </a:lnTo>
                  <a:lnTo>
                    <a:pt x="85304" y="302633"/>
                  </a:lnTo>
                  <a:lnTo>
                    <a:pt x="83786" y="305141"/>
                  </a:lnTo>
                  <a:lnTo>
                    <a:pt x="82003" y="307304"/>
                  </a:lnTo>
                  <a:lnTo>
                    <a:pt x="76079" y="312109"/>
                  </a:lnTo>
                  <a:lnTo>
                    <a:pt x="72596" y="316142"/>
                  </a:lnTo>
                  <a:lnTo>
                    <a:pt x="71896" y="317296"/>
                  </a:lnTo>
                  <a:lnTo>
                    <a:pt x="70957" y="318138"/>
                  </a:lnTo>
                  <a:lnTo>
                    <a:pt x="63343" y="320050"/>
                  </a:lnTo>
                  <a:lnTo>
                    <a:pt x="57955" y="320333"/>
                  </a:lnTo>
                  <a:lnTo>
                    <a:pt x="55019" y="319841"/>
                  </a:lnTo>
                  <a:lnTo>
                    <a:pt x="52188" y="318875"/>
                  </a:lnTo>
                  <a:lnTo>
                    <a:pt x="50618" y="318544"/>
                  </a:lnTo>
                  <a:lnTo>
                    <a:pt x="47625" y="319136"/>
                  </a:lnTo>
                  <a:lnTo>
                    <a:pt x="46317" y="319787"/>
                  </a:lnTo>
                  <a:lnTo>
                    <a:pt x="43976" y="319144"/>
                  </a:lnTo>
                  <a:lnTo>
                    <a:pt x="42112" y="319630"/>
                  </a:lnTo>
                  <a:lnTo>
                    <a:pt x="41562" y="319158"/>
                  </a:lnTo>
                  <a:lnTo>
                    <a:pt x="40864" y="317972"/>
                  </a:lnTo>
                  <a:lnTo>
                    <a:pt x="41249" y="316399"/>
                  </a:lnTo>
                  <a:lnTo>
                    <a:pt x="40732" y="315237"/>
                  </a:lnTo>
                  <a:lnTo>
                    <a:pt x="39549" y="314448"/>
                  </a:lnTo>
                  <a:lnTo>
                    <a:pt x="38754" y="313533"/>
                  </a:lnTo>
                  <a:lnTo>
                    <a:pt x="37845" y="312880"/>
                  </a:lnTo>
                  <a:lnTo>
                    <a:pt x="35373" y="312623"/>
                  </a:lnTo>
                  <a:lnTo>
                    <a:pt x="31460" y="313035"/>
                  </a:lnTo>
                  <a:lnTo>
                    <a:pt x="30169" y="312991"/>
                  </a:lnTo>
                  <a:lnTo>
                    <a:pt x="27517" y="309139"/>
                  </a:lnTo>
                  <a:lnTo>
                    <a:pt x="26636" y="308194"/>
                  </a:lnTo>
                  <a:lnTo>
                    <a:pt x="23479" y="306964"/>
                  </a:lnTo>
                  <a:lnTo>
                    <a:pt x="22399" y="307134"/>
                  </a:lnTo>
                  <a:lnTo>
                    <a:pt x="20710" y="309188"/>
                  </a:lnTo>
                  <a:lnTo>
                    <a:pt x="19708" y="309537"/>
                  </a:lnTo>
                  <a:lnTo>
                    <a:pt x="13768" y="309755"/>
                  </a:lnTo>
                  <a:lnTo>
                    <a:pt x="7808" y="309093"/>
                  </a:lnTo>
                  <a:lnTo>
                    <a:pt x="5614" y="308328"/>
                  </a:lnTo>
                  <a:lnTo>
                    <a:pt x="5185" y="306553"/>
                  </a:lnTo>
                  <a:lnTo>
                    <a:pt x="9709" y="301678"/>
                  </a:lnTo>
                  <a:lnTo>
                    <a:pt x="8376" y="302331"/>
                  </a:lnTo>
                  <a:lnTo>
                    <a:pt x="5586" y="304316"/>
                  </a:lnTo>
                  <a:lnTo>
                    <a:pt x="3809" y="304011"/>
                  </a:lnTo>
                  <a:lnTo>
                    <a:pt x="5513" y="301845"/>
                  </a:lnTo>
                  <a:lnTo>
                    <a:pt x="5664" y="300880"/>
                  </a:lnTo>
                  <a:lnTo>
                    <a:pt x="5314" y="299805"/>
                  </a:lnTo>
                  <a:lnTo>
                    <a:pt x="2987" y="301627"/>
                  </a:lnTo>
                  <a:lnTo>
                    <a:pt x="343" y="301861"/>
                  </a:lnTo>
                  <a:lnTo>
                    <a:pt x="0" y="300174"/>
                  </a:lnTo>
                  <a:lnTo>
                    <a:pt x="235" y="298219"/>
                  </a:lnTo>
                  <a:lnTo>
                    <a:pt x="780" y="297665"/>
                  </a:lnTo>
                  <a:lnTo>
                    <a:pt x="7925" y="296640"/>
                  </a:lnTo>
                  <a:lnTo>
                    <a:pt x="10501" y="295970"/>
                  </a:lnTo>
                  <a:lnTo>
                    <a:pt x="11624" y="294921"/>
                  </a:lnTo>
                  <a:lnTo>
                    <a:pt x="7348" y="294561"/>
                  </a:lnTo>
                  <a:lnTo>
                    <a:pt x="7076" y="293091"/>
                  </a:lnTo>
                  <a:lnTo>
                    <a:pt x="7694" y="291914"/>
                  </a:lnTo>
                  <a:lnTo>
                    <a:pt x="11347" y="289959"/>
                  </a:lnTo>
                  <a:lnTo>
                    <a:pt x="8655" y="290459"/>
                  </a:lnTo>
                  <a:lnTo>
                    <a:pt x="5668" y="290284"/>
                  </a:lnTo>
                  <a:lnTo>
                    <a:pt x="5869" y="288221"/>
                  </a:lnTo>
                  <a:lnTo>
                    <a:pt x="6648" y="286607"/>
                  </a:lnTo>
                  <a:lnTo>
                    <a:pt x="9780" y="286559"/>
                  </a:lnTo>
                  <a:lnTo>
                    <a:pt x="8799" y="285452"/>
                  </a:lnTo>
                  <a:lnTo>
                    <a:pt x="8658" y="283907"/>
                  </a:lnTo>
                  <a:lnTo>
                    <a:pt x="9530" y="283802"/>
                  </a:lnTo>
                  <a:lnTo>
                    <a:pt x="12704" y="285881"/>
                  </a:lnTo>
                  <a:lnTo>
                    <a:pt x="14993" y="286642"/>
                  </a:lnTo>
                  <a:lnTo>
                    <a:pt x="14029" y="285077"/>
                  </a:lnTo>
                  <a:lnTo>
                    <a:pt x="14154" y="284092"/>
                  </a:lnTo>
                  <a:lnTo>
                    <a:pt x="14763" y="283650"/>
                  </a:lnTo>
                  <a:lnTo>
                    <a:pt x="16638" y="283334"/>
                  </a:lnTo>
                  <a:lnTo>
                    <a:pt x="16124" y="283058"/>
                  </a:lnTo>
                  <a:lnTo>
                    <a:pt x="14367" y="282662"/>
                  </a:lnTo>
                  <a:lnTo>
                    <a:pt x="12276" y="281474"/>
                  </a:lnTo>
                  <a:lnTo>
                    <a:pt x="12051" y="280219"/>
                  </a:lnTo>
                  <a:lnTo>
                    <a:pt x="12123" y="278768"/>
                  </a:lnTo>
                  <a:lnTo>
                    <a:pt x="14379" y="276775"/>
                  </a:lnTo>
                  <a:lnTo>
                    <a:pt x="15711" y="277961"/>
                  </a:lnTo>
                  <a:lnTo>
                    <a:pt x="17288" y="277635"/>
                  </a:lnTo>
                  <a:lnTo>
                    <a:pt x="16085" y="276703"/>
                  </a:lnTo>
                  <a:lnTo>
                    <a:pt x="15351" y="275306"/>
                  </a:lnTo>
                  <a:lnTo>
                    <a:pt x="15852" y="274389"/>
                  </a:lnTo>
                  <a:lnTo>
                    <a:pt x="20633" y="270688"/>
                  </a:lnTo>
                  <a:lnTo>
                    <a:pt x="21859" y="274247"/>
                  </a:lnTo>
                  <a:lnTo>
                    <a:pt x="22147" y="273065"/>
                  </a:lnTo>
                  <a:lnTo>
                    <a:pt x="22211" y="271943"/>
                  </a:lnTo>
                  <a:lnTo>
                    <a:pt x="21639" y="270970"/>
                  </a:lnTo>
                  <a:lnTo>
                    <a:pt x="21721" y="269990"/>
                  </a:lnTo>
                  <a:lnTo>
                    <a:pt x="22274" y="269145"/>
                  </a:lnTo>
                  <a:lnTo>
                    <a:pt x="24323" y="268312"/>
                  </a:lnTo>
                  <a:lnTo>
                    <a:pt x="26988" y="265600"/>
                  </a:lnTo>
                  <a:lnTo>
                    <a:pt x="28953" y="264340"/>
                  </a:lnTo>
                  <a:lnTo>
                    <a:pt x="30553" y="265148"/>
                  </a:lnTo>
                  <a:lnTo>
                    <a:pt x="31650" y="266239"/>
                  </a:lnTo>
                  <a:lnTo>
                    <a:pt x="31486" y="265156"/>
                  </a:lnTo>
                  <a:lnTo>
                    <a:pt x="30708" y="264261"/>
                  </a:lnTo>
                  <a:lnTo>
                    <a:pt x="30490" y="261774"/>
                  </a:lnTo>
                  <a:lnTo>
                    <a:pt x="34068" y="257918"/>
                  </a:lnTo>
                  <a:lnTo>
                    <a:pt x="38001" y="254250"/>
                  </a:lnTo>
                  <a:lnTo>
                    <a:pt x="41769" y="250412"/>
                  </a:lnTo>
                  <a:lnTo>
                    <a:pt x="43777" y="249018"/>
                  </a:lnTo>
                  <a:lnTo>
                    <a:pt x="48057" y="247438"/>
                  </a:lnTo>
                  <a:lnTo>
                    <a:pt x="50795" y="248096"/>
                  </a:lnTo>
                  <a:lnTo>
                    <a:pt x="51495" y="247975"/>
                  </a:lnTo>
                  <a:lnTo>
                    <a:pt x="55563" y="245215"/>
                  </a:lnTo>
                  <a:lnTo>
                    <a:pt x="57245" y="244499"/>
                  </a:lnTo>
                  <a:lnTo>
                    <a:pt x="58781" y="245484"/>
                  </a:lnTo>
                  <a:lnTo>
                    <a:pt x="59730" y="245840"/>
                  </a:lnTo>
                  <a:lnTo>
                    <a:pt x="58776" y="243320"/>
                  </a:lnTo>
                  <a:lnTo>
                    <a:pt x="59523" y="242165"/>
                  </a:lnTo>
                  <a:lnTo>
                    <a:pt x="62920" y="240127"/>
                  </a:lnTo>
                  <a:lnTo>
                    <a:pt x="67167" y="238026"/>
                  </a:lnTo>
                  <a:lnTo>
                    <a:pt x="70403" y="237151"/>
                  </a:lnTo>
                  <a:lnTo>
                    <a:pt x="72784" y="235731"/>
                  </a:lnTo>
                  <a:lnTo>
                    <a:pt x="74214" y="235691"/>
                  </a:lnTo>
                  <a:lnTo>
                    <a:pt x="73995" y="234618"/>
                  </a:lnTo>
                  <a:lnTo>
                    <a:pt x="74240" y="233590"/>
                  </a:lnTo>
                  <a:lnTo>
                    <a:pt x="75473" y="233661"/>
                  </a:lnTo>
                  <a:lnTo>
                    <a:pt x="75853" y="233256"/>
                  </a:lnTo>
                  <a:lnTo>
                    <a:pt x="74768" y="232702"/>
                  </a:lnTo>
                  <a:lnTo>
                    <a:pt x="78275" y="230642"/>
                  </a:lnTo>
                  <a:lnTo>
                    <a:pt x="80180" y="228374"/>
                  </a:lnTo>
                  <a:lnTo>
                    <a:pt x="81178" y="227905"/>
                  </a:lnTo>
                  <a:lnTo>
                    <a:pt x="82080" y="227220"/>
                  </a:lnTo>
                  <a:lnTo>
                    <a:pt x="83199" y="225657"/>
                  </a:lnTo>
                  <a:lnTo>
                    <a:pt x="84520" y="225141"/>
                  </a:lnTo>
                  <a:lnTo>
                    <a:pt x="85754" y="225382"/>
                  </a:lnTo>
                  <a:lnTo>
                    <a:pt x="86645" y="226150"/>
                  </a:lnTo>
                  <a:lnTo>
                    <a:pt x="86164" y="224874"/>
                  </a:lnTo>
                  <a:lnTo>
                    <a:pt x="84583" y="224148"/>
                  </a:lnTo>
                  <a:lnTo>
                    <a:pt x="86278" y="223038"/>
                  </a:lnTo>
                  <a:lnTo>
                    <a:pt x="88030" y="222273"/>
                  </a:lnTo>
                  <a:lnTo>
                    <a:pt x="89736" y="222831"/>
                  </a:lnTo>
                  <a:lnTo>
                    <a:pt x="91415" y="223724"/>
                  </a:lnTo>
                  <a:lnTo>
                    <a:pt x="89736" y="222354"/>
                  </a:lnTo>
                  <a:lnTo>
                    <a:pt x="89466" y="221503"/>
                  </a:lnTo>
                  <a:lnTo>
                    <a:pt x="91498" y="220525"/>
                  </a:lnTo>
                  <a:lnTo>
                    <a:pt x="92601" y="220224"/>
                  </a:lnTo>
                  <a:lnTo>
                    <a:pt x="94145" y="222061"/>
                  </a:lnTo>
                  <a:lnTo>
                    <a:pt x="93925" y="220606"/>
                  </a:lnTo>
                  <a:lnTo>
                    <a:pt x="94285" y="219316"/>
                  </a:lnTo>
                  <a:lnTo>
                    <a:pt x="96469" y="217209"/>
                  </a:lnTo>
                  <a:lnTo>
                    <a:pt x="99333" y="213725"/>
                  </a:lnTo>
                  <a:lnTo>
                    <a:pt x="100252" y="214936"/>
                  </a:lnTo>
                  <a:lnTo>
                    <a:pt x="100392" y="216410"/>
                  </a:lnTo>
                  <a:lnTo>
                    <a:pt x="100258" y="218184"/>
                  </a:lnTo>
                  <a:lnTo>
                    <a:pt x="100847" y="217570"/>
                  </a:lnTo>
                  <a:lnTo>
                    <a:pt x="101050" y="215958"/>
                  </a:lnTo>
                  <a:lnTo>
                    <a:pt x="100612" y="213130"/>
                  </a:lnTo>
                  <a:lnTo>
                    <a:pt x="104190" y="207908"/>
                  </a:lnTo>
                  <a:lnTo>
                    <a:pt x="104892" y="207325"/>
                  </a:lnTo>
                  <a:lnTo>
                    <a:pt x="105683" y="206971"/>
                  </a:lnTo>
                  <a:lnTo>
                    <a:pt x="106928" y="206832"/>
                  </a:lnTo>
                  <a:lnTo>
                    <a:pt x="106546" y="206044"/>
                  </a:lnTo>
                  <a:lnTo>
                    <a:pt x="105577" y="205281"/>
                  </a:lnTo>
                  <a:lnTo>
                    <a:pt x="106555" y="202633"/>
                  </a:lnTo>
                  <a:lnTo>
                    <a:pt x="107134" y="199614"/>
                  </a:lnTo>
                  <a:lnTo>
                    <a:pt x="107966" y="196714"/>
                  </a:lnTo>
                  <a:lnTo>
                    <a:pt x="109300" y="193875"/>
                  </a:lnTo>
                  <a:lnTo>
                    <a:pt x="110751" y="189146"/>
                  </a:lnTo>
                  <a:lnTo>
                    <a:pt x="111858" y="188160"/>
                  </a:lnTo>
                  <a:lnTo>
                    <a:pt x="114862" y="187821"/>
                  </a:lnTo>
                  <a:lnTo>
                    <a:pt x="116177" y="187157"/>
                  </a:lnTo>
                  <a:lnTo>
                    <a:pt x="118366" y="185451"/>
                  </a:lnTo>
                  <a:lnTo>
                    <a:pt x="120962" y="182369"/>
                  </a:lnTo>
                  <a:lnTo>
                    <a:pt x="122348" y="179887"/>
                  </a:lnTo>
                  <a:lnTo>
                    <a:pt x="124175" y="173471"/>
                  </a:lnTo>
                  <a:lnTo>
                    <a:pt x="125195" y="166777"/>
                  </a:lnTo>
                  <a:lnTo>
                    <a:pt x="128142" y="161823"/>
                  </a:lnTo>
                  <a:lnTo>
                    <a:pt x="132463" y="158241"/>
                  </a:lnTo>
                  <a:lnTo>
                    <a:pt x="136277" y="155519"/>
                  </a:lnTo>
                  <a:lnTo>
                    <a:pt x="137836" y="154953"/>
                  </a:lnTo>
                  <a:close/>
                  <a:moveTo>
                    <a:pt x="197500" y="41194"/>
                  </a:moveTo>
                  <a:lnTo>
                    <a:pt x="198272" y="42299"/>
                  </a:lnTo>
                  <a:lnTo>
                    <a:pt x="199782" y="43873"/>
                  </a:lnTo>
                  <a:lnTo>
                    <a:pt x="200458" y="46460"/>
                  </a:lnTo>
                  <a:lnTo>
                    <a:pt x="200635" y="47841"/>
                  </a:lnTo>
                  <a:lnTo>
                    <a:pt x="198942" y="47349"/>
                  </a:lnTo>
                  <a:lnTo>
                    <a:pt x="198279" y="46307"/>
                  </a:lnTo>
                  <a:lnTo>
                    <a:pt x="196381" y="45231"/>
                  </a:lnTo>
                  <a:lnTo>
                    <a:pt x="196102" y="44905"/>
                  </a:lnTo>
                  <a:lnTo>
                    <a:pt x="195891" y="42807"/>
                  </a:lnTo>
                  <a:lnTo>
                    <a:pt x="196886" y="41799"/>
                  </a:lnTo>
                  <a:lnTo>
                    <a:pt x="197062" y="41367"/>
                  </a:lnTo>
                  <a:close/>
                  <a:moveTo>
                    <a:pt x="145195" y="0"/>
                  </a:moveTo>
                  <a:lnTo>
                    <a:pt x="143422" y="2646"/>
                  </a:lnTo>
                  <a:lnTo>
                    <a:pt x="144218" y="4177"/>
                  </a:lnTo>
                  <a:lnTo>
                    <a:pt x="145426" y="5469"/>
                  </a:lnTo>
                  <a:lnTo>
                    <a:pt x="148006" y="9435"/>
                  </a:lnTo>
                  <a:lnTo>
                    <a:pt x="148231" y="10581"/>
                  </a:lnTo>
                  <a:lnTo>
                    <a:pt x="149541" y="11739"/>
                  </a:lnTo>
                  <a:lnTo>
                    <a:pt x="150181" y="12634"/>
                  </a:lnTo>
                  <a:lnTo>
                    <a:pt x="150516" y="13781"/>
                  </a:lnTo>
                  <a:lnTo>
                    <a:pt x="151740" y="12964"/>
                  </a:lnTo>
                  <a:lnTo>
                    <a:pt x="152653" y="11676"/>
                  </a:lnTo>
                  <a:lnTo>
                    <a:pt x="154126" y="10371"/>
                  </a:lnTo>
                  <a:lnTo>
                    <a:pt x="153923" y="12477"/>
                  </a:lnTo>
                  <a:lnTo>
                    <a:pt x="154674" y="12939"/>
                  </a:lnTo>
                  <a:lnTo>
                    <a:pt x="159564" y="14409"/>
                  </a:lnTo>
                  <a:lnTo>
                    <a:pt x="160570" y="15635"/>
                  </a:lnTo>
                  <a:lnTo>
                    <a:pt x="161608" y="15984"/>
                  </a:lnTo>
                  <a:lnTo>
                    <a:pt x="162196" y="15299"/>
                  </a:lnTo>
                  <a:lnTo>
                    <a:pt x="162885" y="14925"/>
                  </a:lnTo>
                  <a:lnTo>
                    <a:pt x="164651" y="15698"/>
                  </a:lnTo>
                  <a:lnTo>
                    <a:pt x="168635" y="17847"/>
                  </a:lnTo>
                  <a:lnTo>
                    <a:pt x="168965" y="18586"/>
                  </a:lnTo>
                  <a:lnTo>
                    <a:pt x="168763" y="19691"/>
                  </a:lnTo>
                  <a:lnTo>
                    <a:pt x="168961" y="20857"/>
                  </a:lnTo>
                  <a:lnTo>
                    <a:pt x="169501" y="21789"/>
                  </a:lnTo>
                  <a:lnTo>
                    <a:pt x="170828" y="22004"/>
                  </a:lnTo>
                  <a:lnTo>
                    <a:pt x="172591" y="20622"/>
                  </a:lnTo>
                  <a:lnTo>
                    <a:pt x="173418" y="20451"/>
                  </a:lnTo>
                  <a:lnTo>
                    <a:pt x="174590" y="22404"/>
                  </a:lnTo>
                  <a:lnTo>
                    <a:pt x="175029" y="23510"/>
                  </a:lnTo>
                  <a:lnTo>
                    <a:pt x="174847" y="23473"/>
                  </a:lnTo>
                  <a:lnTo>
                    <a:pt x="175603" y="24569"/>
                  </a:lnTo>
                  <a:lnTo>
                    <a:pt x="176612" y="25659"/>
                  </a:lnTo>
                  <a:lnTo>
                    <a:pt x="178353" y="28875"/>
                  </a:lnTo>
                  <a:lnTo>
                    <a:pt x="178093" y="30005"/>
                  </a:lnTo>
                  <a:lnTo>
                    <a:pt x="177581" y="31022"/>
                  </a:lnTo>
                  <a:lnTo>
                    <a:pt x="179175" y="33998"/>
                  </a:lnTo>
                  <a:lnTo>
                    <a:pt x="178132" y="34204"/>
                  </a:lnTo>
                  <a:lnTo>
                    <a:pt x="174982" y="33700"/>
                  </a:lnTo>
                  <a:lnTo>
                    <a:pt x="175087" y="34296"/>
                  </a:lnTo>
                  <a:lnTo>
                    <a:pt x="176920" y="36481"/>
                  </a:lnTo>
                  <a:lnTo>
                    <a:pt x="178469" y="39572"/>
                  </a:lnTo>
                  <a:lnTo>
                    <a:pt x="179711" y="41439"/>
                  </a:lnTo>
                  <a:lnTo>
                    <a:pt x="184072" y="47223"/>
                  </a:lnTo>
                  <a:lnTo>
                    <a:pt x="183416" y="49284"/>
                  </a:lnTo>
                  <a:lnTo>
                    <a:pt x="183517" y="50644"/>
                  </a:lnTo>
                  <a:lnTo>
                    <a:pt x="182958" y="51813"/>
                  </a:lnTo>
                  <a:lnTo>
                    <a:pt x="184450" y="54887"/>
                  </a:lnTo>
                  <a:lnTo>
                    <a:pt x="183520" y="55843"/>
                  </a:lnTo>
                  <a:lnTo>
                    <a:pt x="182902" y="58995"/>
                  </a:lnTo>
                  <a:lnTo>
                    <a:pt x="182226" y="59547"/>
                  </a:lnTo>
                  <a:lnTo>
                    <a:pt x="182311" y="60701"/>
                  </a:lnTo>
                  <a:lnTo>
                    <a:pt x="184068" y="61006"/>
                  </a:lnTo>
                  <a:lnTo>
                    <a:pt x="185128" y="61497"/>
                  </a:lnTo>
                  <a:lnTo>
                    <a:pt x="186046" y="62433"/>
                  </a:lnTo>
                  <a:lnTo>
                    <a:pt x="186617" y="61306"/>
                  </a:lnTo>
                  <a:lnTo>
                    <a:pt x="187387" y="60999"/>
                  </a:lnTo>
                  <a:lnTo>
                    <a:pt x="189488" y="62505"/>
                  </a:lnTo>
                  <a:lnTo>
                    <a:pt x="193867" y="64007"/>
                  </a:lnTo>
                  <a:lnTo>
                    <a:pt x="195070" y="64565"/>
                  </a:lnTo>
                  <a:lnTo>
                    <a:pt x="195666" y="65777"/>
                  </a:lnTo>
                  <a:lnTo>
                    <a:pt x="196113" y="68710"/>
                  </a:lnTo>
                  <a:lnTo>
                    <a:pt x="196969" y="70003"/>
                  </a:lnTo>
                  <a:lnTo>
                    <a:pt x="198640" y="70252"/>
                  </a:lnTo>
                  <a:lnTo>
                    <a:pt x="200443" y="69862"/>
                  </a:lnTo>
                  <a:lnTo>
                    <a:pt x="201010" y="68792"/>
                  </a:lnTo>
                  <a:lnTo>
                    <a:pt x="200652" y="65919"/>
                  </a:lnTo>
                  <a:lnTo>
                    <a:pt x="199352" y="61323"/>
                  </a:lnTo>
                  <a:lnTo>
                    <a:pt x="199346" y="59830"/>
                  </a:lnTo>
                  <a:lnTo>
                    <a:pt x="199531" y="58335"/>
                  </a:lnTo>
                  <a:lnTo>
                    <a:pt x="199225" y="56851"/>
                  </a:lnTo>
                  <a:lnTo>
                    <a:pt x="198575" y="55449"/>
                  </a:lnTo>
                  <a:lnTo>
                    <a:pt x="197875" y="54375"/>
                  </a:lnTo>
                  <a:lnTo>
                    <a:pt x="196972" y="53473"/>
                  </a:lnTo>
                  <a:lnTo>
                    <a:pt x="197288" y="52066"/>
                  </a:lnTo>
                  <a:lnTo>
                    <a:pt x="198637" y="51430"/>
                  </a:lnTo>
                  <a:lnTo>
                    <a:pt x="199451" y="52620"/>
                  </a:lnTo>
                  <a:lnTo>
                    <a:pt x="200123" y="54055"/>
                  </a:lnTo>
                  <a:lnTo>
                    <a:pt x="203515" y="58308"/>
                  </a:lnTo>
                  <a:lnTo>
                    <a:pt x="205522" y="58008"/>
                  </a:lnTo>
                  <a:lnTo>
                    <a:pt x="205710" y="59771"/>
                  </a:lnTo>
                  <a:lnTo>
                    <a:pt x="207070" y="61562"/>
                  </a:lnTo>
                  <a:lnTo>
                    <a:pt x="207821" y="63661"/>
                  </a:lnTo>
                  <a:lnTo>
                    <a:pt x="208814" y="69943"/>
                  </a:lnTo>
                  <a:lnTo>
                    <a:pt x="210341" y="75869"/>
                  </a:lnTo>
                  <a:lnTo>
                    <a:pt x="213092" y="78455"/>
                  </a:lnTo>
                  <a:lnTo>
                    <a:pt x="213412" y="79692"/>
                  </a:lnTo>
                  <a:lnTo>
                    <a:pt x="211738" y="79054"/>
                  </a:lnTo>
                  <a:lnTo>
                    <a:pt x="211220" y="79425"/>
                  </a:lnTo>
                  <a:lnTo>
                    <a:pt x="211397" y="80049"/>
                  </a:lnTo>
                  <a:lnTo>
                    <a:pt x="212956" y="81185"/>
                  </a:lnTo>
                  <a:lnTo>
                    <a:pt x="214785" y="81744"/>
                  </a:lnTo>
                  <a:lnTo>
                    <a:pt x="215936" y="81664"/>
                  </a:lnTo>
                  <a:lnTo>
                    <a:pt x="217010" y="82078"/>
                  </a:lnTo>
                  <a:lnTo>
                    <a:pt x="224153" y="85939"/>
                  </a:lnTo>
                  <a:lnTo>
                    <a:pt x="227586" y="87442"/>
                  </a:lnTo>
                  <a:lnTo>
                    <a:pt x="236250" y="89904"/>
                  </a:lnTo>
                  <a:lnTo>
                    <a:pt x="238730" y="90102"/>
                  </a:lnTo>
                  <a:lnTo>
                    <a:pt x="240100" y="90034"/>
                  </a:lnTo>
                  <a:lnTo>
                    <a:pt x="242695" y="89178"/>
                  </a:lnTo>
                  <a:lnTo>
                    <a:pt x="245017" y="87642"/>
                  </a:lnTo>
                  <a:lnTo>
                    <a:pt x="247021" y="85346"/>
                  </a:lnTo>
                  <a:lnTo>
                    <a:pt x="248755" y="82730"/>
                  </a:lnTo>
                  <a:lnTo>
                    <a:pt x="250642" y="81462"/>
                  </a:lnTo>
                  <a:lnTo>
                    <a:pt x="252782" y="80463"/>
                  </a:lnTo>
                  <a:lnTo>
                    <a:pt x="253855" y="79537"/>
                  </a:lnTo>
                  <a:lnTo>
                    <a:pt x="254987" y="78879"/>
                  </a:lnTo>
                  <a:lnTo>
                    <a:pt x="260802" y="79186"/>
                  </a:lnTo>
                  <a:lnTo>
                    <a:pt x="262761" y="80503"/>
                  </a:lnTo>
                  <a:lnTo>
                    <a:pt x="265309" y="81559"/>
                  </a:lnTo>
                  <a:lnTo>
                    <a:pt x="266641" y="82386"/>
                  </a:lnTo>
                  <a:lnTo>
                    <a:pt x="266194" y="84062"/>
                  </a:lnTo>
                  <a:lnTo>
                    <a:pt x="264669" y="86539"/>
                  </a:lnTo>
                  <a:lnTo>
                    <a:pt x="263495" y="89251"/>
                  </a:lnTo>
                  <a:lnTo>
                    <a:pt x="262462" y="95424"/>
                  </a:lnTo>
                  <a:lnTo>
                    <a:pt x="261758" y="101674"/>
                  </a:lnTo>
                  <a:lnTo>
                    <a:pt x="260702" y="104432"/>
                  </a:lnTo>
                  <a:lnTo>
                    <a:pt x="258779" y="106558"/>
                  </a:lnTo>
                  <a:lnTo>
                    <a:pt x="256660" y="108111"/>
                  </a:lnTo>
                  <a:lnTo>
                    <a:pt x="254257" y="108841"/>
                  </a:lnTo>
                  <a:lnTo>
                    <a:pt x="253283" y="112402"/>
                  </a:lnTo>
                  <a:lnTo>
                    <a:pt x="252802" y="116576"/>
                  </a:lnTo>
                  <a:lnTo>
                    <a:pt x="252940" y="117626"/>
                  </a:lnTo>
                  <a:lnTo>
                    <a:pt x="253709" y="118457"/>
                  </a:lnTo>
                  <a:lnTo>
                    <a:pt x="254023" y="119698"/>
                  </a:lnTo>
                  <a:lnTo>
                    <a:pt x="252767" y="122212"/>
                  </a:lnTo>
                  <a:lnTo>
                    <a:pt x="252030" y="121848"/>
                  </a:lnTo>
                  <a:lnTo>
                    <a:pt x="250996" y="119756"/>
                  </a:lnTo>
                  <a:lnTo>
                    <a:pt x="250055" y="118882"/>
                  </a:lnTo>
                  <a:lnTo>
                    <a:pt x="247174" y="118230"/>
                  </a:lnTo>
                  <a:lnTo>
                    <a:pt x="244235" y="117922"/>
                  </a:lnTo>
                  <a:lnTo>
                    <a:pt x="241682" y="118111"/>
                  </a:lnTo>
                  <a:lnTo>
                    <a:pt x="239230" y="119009"/>
                  </a:lnTo>
                  <a:lnTo>
                    <a:pt x="235517" y="120828"/>
                  </a:lnTo>
                  <a:lnTo>
                    <a:pt x="234369" y="121751"/>
                  </a:lnTo>
                  <a:lnTo>
                    <a:pt x="233363" y="122920"/>
                  </a:lnTo>
                  <a:lnTo>
                    <a:pt x="231656" y="125530"/>
                  </a:lnTo>
                  <a:lnTo>
                    <a:pt x="231251" y="128725"/>
                  </a:lnTo>
                  <a:lnTo>
                    <a:pt x="231329" y="130401"/>
                  </a:lnTo>
                  <a:lnTo>
                    <a:pt x="231933" y="131698"/>
                  </a:lnTo>
                  <a:lnTo>
                    <a:pt x="235101" y="133464"/>
                  </a:lnTo>
                  <a:lnTo>
                    <a:pt x="231963" y="139648"/>
                  </a:lnTo>
                  <a:lnTo>
                    <a:pt x="229182" y="146092"/>
                  </a:lnTo>
                  <a:lnTo>
                    <a:pt x="227602" y="147936"/>
                  </a:lnTo>
                  <a:lnTo>
                    <a:pt x="225789" y="149636"/>
                  </a:lnTo>
                  <a:lnTo>
                    <a:pt x="224082" y="153522"/>
                  </a:lnTo>
                  <a:lnTo>
                    <a:pt x="221095" y="156874"/>
                  </a:lnTo>
                  <a:lnTo>
                    <a:pt x="219077" y="159435"/>
                  </a:lnTo>
                  <a:lnTo>
                    <a:pt x="217500" y="162092"/>
                  </a:lnTo>
                  <a:lnTo>
                    <a:pt x="216126" y="164926"/>
                  </a:lnTo>
                  <a:lnTo>
                    <a:pt x="213183" y="168930"/>
                  </a:lnTo>
                  <a:lnTo>
                    <a:pt x="211886" y="171578"/>
                  </a:lnTo>
                  <a:lnTo>
                    <a:pt x="210182" y="173780"/>
                  </a:lnTo>
                  <a:lnTo>
                    <a:pt x="207014" y="176597"/>
                  </a:lnTo>
                  <a:lnTo>
                    <a:pt x="203645" y="179015"/>
                  </a:lnTo>
                  <a:lnTo>
                    <a:pt x="198333" y="182359"/>
                  </a:lnTo>
                  <a:lnTo>
                    <a:pt x="196856" y="183464"/>
                  </a:lnTo>
                  <a:lnTo>
                    <a:pt x="195297" y="184272"/>
                  </a:lnTo>
                  <a:lnTo>
                    <a:pt x="193360" y="183314"/>
                  </a:lnTo>
                  <a:lnTo>
                    <a:pt x="192970" y="182271"/>
                  </a:lnTo>
                  <a:lnTo>
                    <a:pt x="192531" y="180000"/>
                  </a:lnTo>
                  <a:lnTo>
                    <a:pt x="192110" y="179165"/>
                  </a:lnTo>
                  <a:lnTo>
                    <a:pt x="189640" y="178474"/>
                  </a:lnTo>
                  <a:lnTo>
                    <a:pt x="186370" y="179575"/>
                  </a:lnTo>
                  <a:lnTo>
                    <a:pt x="185824" y="179340"/>
                  </a:lnTo>
                  <a:lnTo>
                    <a:pt x="185688" y="178819"/>
                  </a:lnTo>
                  <a:lnTo>
                    <a:pt x="185683" y="175492"/>
                  </a:lnTo>
                  <a:lnTo>
                    <a:pt x="186241" y="174555"/>
                  </a:lnTo>
                  <a:lnTo>
                    <a:pt x="185476" y="174037"/>
                  </a:lnTo>
                  <a:lnTo>
                    <a:pt x="184723" y="174241"/>
                  </a:lnTo>
                  <a:lnTo>
                    <a:pt x="184461" y="175088"/>
                  </a:lnTo>
                  <a:lnTo>
                    <a:pt x="184936" y="175822"/>
                  </a:lnTo>
                  <a:lnTo>
                    <a:pt x="183075" y="176734"/>
                  </a:lnTo>
                  <a:lnTo>
                    <a:pt x="181140" y="176760"/>
                  </a:lnTo>
                  <a:lnTo>
                    <a:pt x="180553" y="176402"/>
                  </a:lnTo>
                  <a:lnTo>
                    <a:pt x="180384" y="175788"/>
                  </a:lnTo>
                  <a:lnTo>
                    <a:pt x="180853" y="174782"/>
                  </a:lnTo>
                  <a:lnTo>
                    <a:pt x="181479" y="173896"/>
                  </a:lnTo>
                  <a:lnTo>
                    <a:pt x="185081" y="169711"/>
                  </a:lnTo>
                  <a:lnTo>
                    <a:pt x="188819" y="164159"/>
                  </a:lnTo>
                  <a:lnTo>
                    <a:pt x="192041" y="158226"/>
                  </a:lnTo>
                  <a:lnTo>
                    <a:pt x="192880" y="155181"/>
                  </a:lnTo>
                  <a:lnTo>
                    <a:pt x="194066" y="149529"/>
                  </a:lnTo>
                  <a:lnTo>
                    <a:pt x="193094" y="147179"/>
                  </a:lnTo>
                  <a:lnTo>
                    <a:pt x="191896" y="144973"/>
                  </a:lnTo>
                  <a:lnTo>
                    <a:pt x="188653" y="140727"/>
                  </a:lnTo>
                  <a:lnTo>
                    <a:pt x="184329" y="138331"/>
                  </a:lnTo>
                  <a:lnTo>
                    <a:pt x="181533" y="137992"/>
                  </a:lnTo>
                  <a:lnTo>
                    <a:pt x="178884" y="137102"/>
                  </a:lnTo>
                  <a:lnTo>
                    <a:pt x="176389" y="135077"/>
                  </a:lnTo>
                  <a:lnTo>
                    <a:pt x="174120" y="132690"/>
                  </a:lnTo>
                  <a:lnTo>
                    <a:pt x="169622" y="130736"/>
                  </a:lnTo>
                  <a:lnTo>
                    <a:pt x="164884" y="129202"/>
                  </a:lnTo>
                  <a:lnTo>
                    <a:pt x="162180" y="127039"/>
                  </a:lnTo>
                  <a:lnTo>
                    <a:pt x="161537" y="125753"/>
                  </a:lnTo>
                  <a:lnTo>
                    <a:pt x="161110" y="124264"/>
                  </a:lnTo>
                  <a:lnTo>
                    <a:pt x="161170" y="122880"/>
                  </a:lnTo>
                  <a:lnTo>
                    <a:pt x="161507" y="121478"/>
                  </a:lnTo>
                  <a:lnTo>
                    <a:pt x="162047" y="120398"/>
                  </a:lnTo>
                  <a:lnTo>
                    <a:pt x="162893" y="119617"/>
                  </a:lnTo>
                  <a:lnTo>
                    <a:pt x="167914" y="116821"/>
                  </a:lnTo>
                  <a:lnTo>
                    <a:pt x="173228" y="115266"/>
                  </a:lnTo>
                  <a:lnTo>
                    <a:pt x="174208" y="115293"/>
                  </a:lnTo>
                  <a:lnTo>
                    <a:pt x="175146" y="115046"/>
                  </a:lnTo>
                  <a:lnTo>
                    <a:pt x="176474" y="114095"/>
                  </a:lnTo>
                  <a:lnTo>
                    <a:pt x="178855" y="111921"/>
                  </a:lnTo>
                  <a:lnTo>
                    <a:pt x="179544" y="110461"/>
                  </a:lnTo>
                  <a:lnTo>
                    <a:pt x="180013" y="105826"/>
                  </a:lnTo>
                  <a:lnTo>
                    <a:pt x="180775" y="101270"/>
                  </a:lnTo>
                  <a:lnTo>
                    <a:pt x="182153" y="96058"/>
                  </a:lnTo>
                  <a:lnTo>
                    <a:pt x="184230" y="92829"/>
                  </a:lnTo>
                  <a:lnTo>
                    <a:pt x="184910" y="90850"/>
                  </a:lnTo>
                  <a:lnTo>
                    <a:pt x="184062" y="87592"/>
                  </a:lnTo>
                  <a:lnTo>
                    <a:pt x="184839" y="86399"/>
                  </a:lnTo>
                  <a:lnTo>
                    <a:pt x="185785" y="85679"/>
                  </a:lnTo>
                  <a:lnTo>
                    <a:pt x="186856" y="85261"/>
                  </a:lnTo>
                  <a:lnTo>
                    <a:pt x="185042" y="82209"/>
                  </a:lnTo>
                  <a:lnTo>
                    <a:pt x="182907" y="77597"/>
                  </a:lnTo>
                  <a:lnTo>
                    <a:pt x="182459" y="76169"/>
                  </a:lnTo>
                  <a:lnTo>
                    <a:pt x="182786" y="74758"/>
                  </a:lnTo>
                  <a:lnTo>
                    <a:pt x="183310" y="73371"/>
                  </a:lnTo>
                  <a:lnTo>
                    <a:pt x="181978" y="73020"/>
                  </a:lnTo>
                  <a:lnTo>
                    <a:pt x="181207" y="71690"/>
                  </a:lnTo>
                  <a:lnTo>
                    <a:pt x="179290" y="67223"/>
                  </a:lnTo>
                  <a:lnTo>
                    <a:pt x="179816" y="66515"/>
                  </a:lnTo>
                  <a:lnTo>
                    <a:pt x="180922" y="66995"/>
                  </a:lnTo>
                  <a:lnTo>
                    <a:pt x="182572" y="70215"/>
                  </a:lnTo>
                  <a:lnTo>
                    <a:pt x="182839" y="68556"/>
                  </a:lnTo>
                  <a:lnTo>
                    <a:pt x="184105" y="67537"/>
                  </a:lnTo>
                  <a:lnTo>
                    <a:pt x="185438" y="67007"/>
                  </a:lnTo>
                  <a:lnTo>
                    <a:pt x="186875" y="66893"/>
                  </a:lnTo>
                  <a:lnTo>
                    <a:pt x="183628" y="63306"/>
                  </a:lnTo>
                  <a:lnTo>
                    <a:pt x="182542" y="63450"/>
                  </a:lnTo>
                  <a:lnTo>
                    <a:pt x="181105" y="64021"/>
                  </a:lnTo>
                  <a:lnTo>
                    <a:pt x="179635" y="64374"/>
                  </a:lnTo>
                  <a:lnTo>
                    <a:pt x="178199" y="64058"/>
                  </a:lnTo>
                  <a:lnTo>
                    <a:pt x="176851" y="63259"/>
                  </a:lnTo>
                  <a:lnTo>
                    <a:pt x="176164" y="61750"/>
                  </a:lnTo>
                  <a:lnTo>
                    <a:pt x="175314" y="58848"/>
                  </a:lnTo>
                  <a:lnTo>
                    <a:pt x="174781" y="57775"/>
                  </a:lnTo>
                  <a:lnTo>
                    <a:pt x="170512" y="51851"/>
                  </a:lnTo>
                  <a:lnTo>
                    <a:pt x="171768" y="51665"/>
                  </a:lnTo>
                  <a:lnTo>
                    <a:pt x="175215" y="54630"/>
                  </a:lnTo>
                  <a:lnTo>
                    <a:pt x="175882" y="53682"/>
                  </a:lnTo>
                  <a:lnTo>
                    <a:pt x="176381" y="52318"/>
                  </a:lnTo>
                  <a:lnTo>
                    <a:pt x="176216" y="50802"/>
                  </a:lnTo>
                  <a:lnTo>
                    <a:pt x="175392" y="49655"/>
                  </a:lnTo>
                  <a:lnTo>
                    <a:pt x="174165" y="48906"/>
                  </a:lnTo>
                  <a:lnTo>
                    <a:pt x="174144" y="47562"/>
                  </a:lnTo>
                  <a:lnTo>
                    <a:pt x="175078" y="46329"/>
                  </a:lnTo>
                  <a:lnTo>
                    <a:pt x="175020" y="45467"/>
                  </a:lnTo>
                  <a:lnTo>
                    <a:pt x="173047" y="43710"/>
                  </a:lnTo>
                  <a:lnTo>
                    <a:pt x="172258" y="43522"/>
                  </a:lnTo>
                  <a:lnTo>
                    <a:pt x="171909" y="44345"/>
                  </a:lnTo>
                  <a:lnTo>
                    <a:pt x="172472" y="45561"/>
                  </a:lnTo>
                  <a:lnTo>
                    <a:pt x="171945" y="45697"/>
                  </a:lnTo>
                  <a:lnTo>
                    <a:pt x="167140" y="42496"/>
                  </a:lnTo>
                  <a:lnTo>
                    <a:pt x="165657" y="39925"/>
                  </a:lnTo>
                  <a:lnTo>
                    <a:pt x="164443" y="37102"/>
                  </a:lnTo>
                  <a:lnTo>
                    <a:pt x="164320" y="38250"/>
                  </a:lnTo>
                  <a:lnTo>
                    <a:pt x="164506" y="39863"/>
                  </a:lnTo>
                  <a:lnTo>
                    <a:pt x="166405" y="43098"/>
                  </a:lnTo>
                  <a:lnTo>
                    <a:pt x="169483" y="46717"/>
                  </a:lnTo>
                  <a:lnTo>
                    <a:pt x="170015" y="47683"/>
                  </a:lnTo>
                  <a:lnTo>
                    <a:pt x="169559" y="48930"/>
                  </a:lnTo>
                  <a:lnTo>
                    <a:pt x="168490" y="49286"/>
                  </a:lnTo>
                  <a:lnTo>
                    <a:pt x="167545" y="48495"/>
                  </a:lnTo>
                  <a:lnTo>
                    <a:pt x="166136" y="45396"/>
                  </a:lnTo>
                  <a:lnTo>
                    <a:pt x="165122" y="43846"/>
                  </a:lnTo>
                  <a:lnTo>
                    <a:pt x="153338" y="27883"/>
                  </a:lnTo>
                  <a:lnTo>
                    <a:pt x="154843" y="25781"/>
                  </a:lnTo>
                  <a:lnTo>
                    <a:pt x="157177" y="24012"/>
                  </a:lnTo>
                  <a:lnTo>
                    <a:pt x="157719" y="23225"/>
                  </a:lnTo>
                  <a:lnTo>
                    <a:pt x="158069" y="22269"/>
                  </a:lnTo>
                  <a:lnTo>
                    <a:pt x="157084" y="22105"/>
                  </a:lnTo>
                  <a:lnTo>
                    <a:pt x="156201" y="22539"/>
                  </a:lnTo>
                  <a:lnTo>
                    <a:pt x="155193" y="23353"/>
                  </a:lnTo>
                  <a:lnTo>
                    <a:pt x="154269" y="24280"/>
                  </a:lnTo>
                  <a:lnTo>
                    <a:pt x="153105" y="26339"/>
                  </a:lnTo>
                  <a:lnTo>
                    <a:pt x="152546" y="26815"/>
                  </a:lnTo>
                  <a:lnTo>
                    <a:pt x="151165" y="25389"/>
                  </a:lnTo>
                  <a:lnTo>
                    <a:pt x="150640" y="24508"/>
                  </a:lnTo>
                  <a:lnTo>
                    <a:pt x="150663" y="23453"/>
                  </a:lnTo>
                  <a:lnTo>
                    <a:pt x="150293" y="22784"/>
                  </a:lnTo>
                  <a:lnTo>
                    <a:pt x="149268" y="22573"/>
                  </a:lnTo>
                  <a:lnTo>
                    <a:pt x="147765" y="20477"/>
                  </a:lnTo>
                  <a:lnTo>
                    <a:pt x="146803" y="19412"/>
                  </a:lnTo>
                  <a:lnTo>
                    <a:pt x="148397" y="17367"/>
                  </a:lnTo>
                  <a:lnTo>
                    <a:pt x="148438" y="14673"/>
                  </a:lnTo>
                  <a:lnTo>
                    <a:pt x="146817" y="11847"/>
                  </a:lnTo>
                  <a:lnTo>
                    <a:pt x="144877" y="9260"/>
                  </a:lnTo>
                  <a:lnTo>
                    <a:pt x="141144" y="5072"/>
                  </a:lnTo>
                  <a:lnTo>
                    <a:pt x="137721" y="650"/>
                  </a:lnTo>
                  <a:lnTo>
                    <a:pt x="141431" y="95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78" name="ee4p_PW_1_82333">
              <a:extLst>
                <a:ext uri="{FF2B5EF4-FFF2-40B4-BE49-F238E27FC236}">
                  <a16:creationId xmlns:a16="http://schemas.microsoft.com/office/drawing/2014/main" id="{1CEF544B-509B-B970-A009-AEE6BA5B6778}"/>
                </a:ext>
              </a:extLst>
            </p:cNvPr>
            <p:cNvSpPr>
              <a:spLocks noChangeAspect="1"/>
            </p:cNvSpPr>
            <p:nvPr>
              <p:custDataLst>
                <p:tags r:id="rId6"/>
              </p:custDataLst>
            </p:nvPr>
          </p:nvSpPr>
          <p:spPr>
            <a:xfrm>
              <a:off x="10156233" y="4588451"/>
              <a:ext cx="1471" cy="1107"/>
            </a:xfrm>
            <a:custGeom>
              <a:avLst/>
              <a:gdLst/>
              <a:ahLst/>
              <a:cxnLst/>
              <a:rect l="0" t="0" r="0" b="0"/>
              <a:pathLst>
                <a:path w="1171" h="858">
                  <a:moveTo>
                    <a:pt x="827" y="761"/>
                  </a:moveTo>
                  <a:lnTo>
                    <a:pt x="324" y="857"/>
                  </a:lnTo>
                  <a:lnTo>
                    <a:pt x="0" y="783"/>
                  </a:lnTo>
                  <a:lnTo>
                    <a:pt x="39" y="468"/>
                  </a:lnTo>
                  <a:lnTo>
                    <a:pt x="367" y="144"/>
                  </a:lnTo>
                  <a:lnTo>
                    <a:pt x="827" y="0"/>
                  </a:lnTo>
                  <a:lnTo>
                    <a:pt x="1170" y="111"/>
                  </a:lnTo>
                  <a:lnTo>
                    <a:pt x="1135" y="410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79" name="ee4p_PG_1_82333">
              <a:extLst>
                <a:ext uri="{FF2B5EF4-FFF2-40B4-BE49-F238E27FC236}">
                  <a16:creationId xmlns:a16="http://schemas.microsoft.com/office/drawing/2014/main" id="{32BB0CA3-395D-465D-8545-255C45D5B460}"/>
                </a:ext>
              </a:extLst>
            </p:cNvPr>
            <p:cNvSpPr>
              <a:spLocks noChangeAspect="1"/>
            </p:cNvSpPr>
            <p:nvPr>
              <p:custDataLst>
                <p:tags r:id="rId7"/>
              </p:custDataLst>
            </p:nvPr>
          </p:nvSpPr>
          <p:spPr>
            <a:xfrm>
              <a:off x="10426354" y="4714387"/>
              <a:ext cx="419187" cy="294632"/>
            </a:xfrm>
            <a:custGeom>
              <a:avLst/>
              <a:gdLst>
                <a:gd name="connsiteX0" fmla="*/ 272892 w 333789"/>
                <a:gd name="connsiteY0" fmla="*/ 221525 h 228390"/>
                <a:gd name="connsiteX1" fmla="*/ 275173 w 333789"/>
                <a:gd name="connsiteY1" fmla="*/ 222247 h 228390"/>
                <a:gd name="connsiteX2" fmla="*/ 280245 w 333789"/>
                <a:gd name="connsiteY2" fmla="*/ 224930 h 228390"/>
                <a:gd name="connsiteX3" fmla="*/ 283939 w 333789"/>
                <a:gd name="connsiteY3" fmla="*/ 226103 h 228390"/>
                <a:gd name="connsiteX4" fmla="*/ 285192 w 333789"/>
                <a:gd name="connsiteY4" fmla="*/ 227398 h 228390"/>
                <a:gd name="connsiteX5" fmla="*/ 283858 w 333789"/>
                <a:gd name="connsiteY5" fmla="*/ 227987 h 228390"/>
                <a:gd name="connsiteX6" fmla="*/ 280633 w 333789"/>
                <a:gd name="connsiteY6" fmla="*/ 228390 h 228390"/>
                <a:gd name="connsiteX7" fmla="*/ 279871 w 333789"/>
                <a:gd name="connsiteY7" fmla="*/ 227597 h 228390"/>
                <a:gd name="connsiteX8" fmla="*/ 276770 w 333789"/>
                <a:gd name="connsiteY8" fmla="*/ 226799 h 228390"/>
                <a:gd name="connsiteX9" fmla="*/ 276284 w 333789"/>
                <a:gd name="connsiteY9" fmla="*/ 225353 h 228390"/>
                <a:gd name="connsiteX10" fmla="*/ 274732 w 333789"/>
                <a:gd name="connsiteY10" fmla="*/ 225845 h 228390"/>
                <a:gd name="connsiteX11" fmla="*/ 275517 w 333789"/>
                <a:gd name="connsiteY11" fmla="*/ 224825 h 228390"/>
                <a:gd name="connsiteX12" fmla="*/ 273574 w 333789"/>
                <a:gd name="connsiteY12" fmla="*/ 223679 h 228390"/>
                <a:gd name="connsiteX13" fmla="*/ 272968 w 333789"/>
                <a:gd name="connsiteY13" fmla="*/ 222147 h 228390"/>
                <a:gd name="connsiteX14" fmla="*/ 292752 w 333789"/>
                <a:gd name="connsiteY14" fmla="*/ 221241 h 228390"/>
                <a:gd name="connsiteX15" fmla="*/ 295762 w 333789"/>
                <a:gd name="connsiteY15" fmla="*/ 221855 h 228390"/>
                <a:gd name="connsiteX16" fmla="*/ 296710 w 333789"/>
                <a:gd name="connsiteY16" fmla="*/ 222361 h 228390"/>
                <a:gd name="connsiteX17" fmla="*/ 296384 w 333789"/>
                <a:gd name="connsiteY17" fmla="*/ 223581 h 228390"/>
                <a:gd name="connsiteX18" fmla="*/ 295578 w 333789"/>
                <a:gd name="connsiteY18" fmla="*/ 223168 h 228390"/>
                <a:gd name="connsiteX19" fmla="*/ 293181 w 333789"/>
                <a:gd name="connsiteY19" fmla="*/ 223800 h 228390"/>
                <a:gd name="connsiteX20" fmla="*/ 291919 w 333789"/>
                <a:gd name="connsiteY20" fmla="*/ 223658 h 228390"/>
                <a:gd name="connsiteX21" fmla="*/ 291191 w 333789"/>
                <a:gd name="connsiteY21" fmla="*/ 222564 h 228390"/>
                <a:gd name="connsiteX22" fmla="*/ 291020 w 333789"/>
                <a:gd name="connsiteY22" fmla="*/ 222059 h 228390"/>
                <a:gd name="connsiteX23" fmla="*/ 293104 w 333789"/>
                <a:gd name="connsiteY23" fmla="*/ 222453 h 228390"/>
                <a:gd name="connsiteX24" fmla="*/ 221337 w 333789"/>
                <a:gd name="connsiteY24" fmla="*/ 204248 h 228390"/>
                <a:gd name="connsiteX25" fmla="*/ 221926 w 333789"/>
                <a:gd name="connsiteY25" fmla="*/ 204549 h 228390"/>
                <a:gd name="connsiteX26" fmla="*/ 221615 w 333789"/>
                <a:gd name="connsiteY26" fmla="*/ 206296 h 228390"/>
                <a:gd name="connsiteX27" fmla="*/ 219795 w 333789"/>
                <a:gd name="connsiteY27" fmla="*/ 205776 h 228390"/>
                <a:gd name="connsiteX28" fmla="*/ 219428 w 333789"/>
                <a:gd name="connsiteY28" fmla="*/ 205401 h 228390"/>
                <a:gd name="connsiteX29" fmla="*/ 219729 w 333789"/>
                <a:gd name="connsiteY29" fmla="*/ 204298 h 228390"/>
                <a:gd name="connsiteX30" fmla="*/ 219214 w 333789"/>
                <a:gd name="connsiteY30" fmla="*/ 185424 h 228390"/>
                <a:gd name="connsiteX31" fmla="*/ 220112 w 333789"/>
                <a:gd name="connsiteY31" fmla="*/ 186024 h 228390"/>
                <a:gd name="connsiteX32" fmla="*/ 221121 w 333789"/>
                <a:gd name="connsiteY32" fmla="*/ 187508 h 228390"/>
                <a:gd name="connsiteX33" fmla="*/ 225303 w 333789"/>
                <a:gd name="connsiteY33" fmla="*/ 190555 h 228390"/>
                <a:gd name="connsiteX34" fmla="*/ 225141 w 333789"/>
                <a:gd name="connsiteY34" fmla="*/ 191541 h 228390"/>
                <a:gd name="connsiteX35" fmla="*/ 225956 w 333789"/>
                <a:gd name="connsiteY35" fmla="*/ 192368 h 228390"/>
                <a:gd name="connsiteX36" fmla="*/ 226895 w 333789"/>
                <a:gd name="connsiteY36" fmla="*/ 192370 h 228390"/>
                <a:gd name="connsiteX37" fmla="*/ 228463 w 333789"/>
                <a:gd name="connsiteY37" fmla="*/ 190702 h 228390"/>
                <a:gd name="connsiteX38" fmla="*/ 229819 w 333789"/>
                <a:gd name="connsiteY38" fmla="*/ 190192 h 228390"/>
                <a:gd name="connsiteX39" fmla="*/ 230722 w 333789"/>
                <a:gd name="connsiteY39" fmla="*/ 190952 h 228390"/>
                <a:gd name="connsiteX40" fmla="*/ 229271 w 333789"/>
                <a:gd name="connsiteY40" fmla="*/ 196268 h 228390"/>
                <a:gd name="connsiteX41" fmla="*/ 228046 w 333789"/>
                <a:gd name="connsiteY41" fmla="*/ 195467 h 228390"/>
                <a:gd name="connsiteX42" fmla="*/ 223263 w 333789"/>
                <a:gd name="connsiteY42" fmla="*/ 193986 h 228390"/>
                <a:gd name="connsiteX43" fmla="*/ 223114 w 333789"/>
                <a:gd name="connsiteY43" fmla="*/ 191884 h 228390"/>
                <a:gd name="connsiteX44" fmla="*/ 221868 w 333789"/>
                <a:gd name="connsiteY44" fmla="*/ 191205 h 228390"/>
                <a:gd name="connsiteX45" fmla="*/ 221099 w 333789"/>
                <a:gd name="connsiteY45" fmla="*/ 189154 h 228390"/>
                <a:gd name="connsiteX46" fmla="*/ 219514 w 333789"/>
                <a:gd name="connsiteY46" fmla="*/ 186880 h 228390"/>
                <a:gd name="connsiteX47" fmla="*/ 213086 w 333789"/>
                <a:gd name="connsiteY47" fmla="*/ 177315 h 228390"/>
                <a:gd name="connsiteX48" fmla="*/ 213738 w 333789"/>
                <a:gd name="connsiteY48" fmla="*/ 177337 h 228390"/>
                <a:gd name="connsiteX49" fmla="*/ 216847 w 333789"/>
                <a:gd name="connsiteY49" fmla="*/ 179164 h 228390"/>
                <a:gd name="connsiteX50" fmla="*/ 218560 w 333789"/>
                <a:gd name="connsiteY50" fmla="*/ 178629 h 228390"/>
                <a:gd name="connsiteX51" fmla="*/ 219493 w 333789"/>
                <a:gd name="connsiteY51" fmla="*/ 178929 h 228390"/>
                <a:gd name="connsiteX52" fmla="*/ 221493 w 333789"/>
                <a:gd name="connsiteY52" fmla="*/ 181042 h 228390"/>
                <a:gd name="connsiteX53" fmla="*/ 221603 w 333789"/>
                <a:gd name="connsiteY53" fmla="*/ 182587 h 228390"/>
                <a:gd name="connsiteX54" fmla="*/ 221925 w 333789"/>
                <a:gd name="connsiteY54" fmla="*/ 183914 h 228390"/>
                <a:gd name="connsiteX55" fmla="*/ 221823 w 333789"/>
                <a:gd name="connsiteY55" fmla="*/ 184496 h 228390"/>
                <a:gd name="connsiteX56" fmla="*/ 220717 w 333789"/>
                <a:gd name="connsiteY56" fmla="*/ 185285 h 228390"/>
                <a:gd name="connsiteX57" fmla="*/ 220810 w 333789"/>
                <a:gd name="connsiteY57" fmla="*/ 184387 h 228390"/>
                <a:gd name="connsiteX58" fmla="*/ 219963 w 333789"/>
                <a:gd name="connsiteY58" fmla="*/ 184212 h 228390"/>
                <a:gd name="connsiteX59" fmla="*/ 217053 w 333789"/>
                <a:gd name="connsiteY59" fmla="*/ 184252 h 228390"/>
                <a:gd name="connsiteX60" fmla="*/ 214796 w 333789"/>
                <a:gd name="connsiteY60" fmla="*/ 183685 h 228390"/>
                <a:gd name="connsiteX61" fmla="*/ 211700 w 333789"/>
                <a:gd name="connsiteY61" fmla="*/ 183539 h 228390"/>
                <a:gd name="connsiteX62" fmla="*/ 213006 w 333789"/>
                <a:gd name="connsiteY62" fmla="*/ 182136 h 228390"/>
                <a:gd name="connsiteX63" fmla="*/ 213298 w 333789"/>
                <a:gd name="connsiteY63" fmla="*/ 181565 h 228390"/>
                <a:gd name="connsiteX64" fmla="*/ 211665 w 333789"/>
                <a:gd name="connsiteY64" fmla="*/ 179308 h 228390"/>
                <a:gd name="connsiteX65" fmla="*/ 211593 w 333789"/>
                <a:gd name="connsiteY65" fmla="*/ 178230 h 228390"/>
                <a:gd name="connsiteX66" fmla="*/ 211724 w 333789"/>
                <a:gd name="connsiteY66" fmla="*/ 177635 h 228390"/>
                <a:gd name="connsiteX67" fmla="*/ 206660 w 333789"/>
                <a:gd name="connsiteY67" fmla="*/ 174210 h 228390"/>
                <a:gd name="connsiteX68" fmla="*/ 209132 w 333789"/>
                <a:gd name="connsiteY68" fmla="*/ 175499 h 228390"/>
                <a:gd name="connsiteX69" fmla="*/ 209948 w 333789"/>
                <a:gd name="connsiteY69" fmla="*/ 177392 h 228390"/>
                <a:gd name="connsiteX70" fmla="*/ 210194 w 333789"/>
                <a:gd name="connsiteY70" fmla="*/ 178450 h 228390"/>
                <a:gd name="connsiteX71" fmla="*/ 209691 w 333789"/>
                <a:gd name="connsiteY71" fmla="*/ 180622 h 228390"/>
                <a:gd name="connsiteX72" fmla="*/ 209380 w 333789"/>
                <a:gd name="connsiteY72" fmla="*/ 181173 h 228390"/>
                <a:gd name="connsiteX73" fmla="*/ 208087 w 333789"/>
                <a:gd name="connsiteY73" fmla="*/ 180768 h 228390"/>
                <a:gd name="connsiteX74" fmla="*/ 204481 w 333789"/>
                <a:gd name="connsiteY74" fmla="*/ 177679 h 228390"/>
                <a:gd name="connsiteX75" fmla="*/ 205038 w 333789"/>
                <a:gd name="connsiteY75" fmla="*/ 175397 h 228390"/>
                <a:gd name="connsiteX76" fmla="*/ 260229 w 333789"/>
                <a:gd name="connsiteY76" fmla="*/ 168705 h 228390"/>
                <a:gd name="connsiteX77" fmla="*/ 261519 w 333789"/>
                <a:gd name="connsiteY77" fmla="*/ 169044 h 228390"/>
                <a:gd name="connsiteX78" fmla="*/ 264190 w 333789"/>
                <a:gd name="connsiteY78" fmla="*/ 168879 h 228390"/>
                <a:gd name="connsiteX79" fmla="*/ 265069 w 333789"/>
                <a:gd name="connsiteY79" fmla="*/ 170156 h 228390"/>
                <a:gd name="connsiteX80" fmla="*/ 266291 w 333789"/>
                <a:gd name="connsiteY80" fmla="*/ 170596 h 228390"/>
                <a:gd name="connsiteX81" fmla="*/ 267349 w 333789"/>
                <a:gd name="connsiteY81" fmla="*/ 171173 h 228390"/>
                <a:gd name="connsiteX82" fmla="*/ 268286 w 333789"/>
                <a:gd name="connsiteY82" fmla="*/ 172013 h 228390"/>
                <a:gd name="connsiteX83" fmla="*/ 268280 w 333789"/>
                <a:gd name="connsiteY83" fmla="*/ 172525 h 228390"/>
                <a:gd name="connsiteX84" fmla="*/ 268057 w 333789"/>
                <a:gd name="connsiteY84" fmla="*/ 172971 h 228390"/>
                <a:gd name="connsiteX85" fmla="*/ 267489 w 333789"/>
                <a:gd name="connsiteY85" fmla="*/ 173370 h 228390"/>
                <a:gd name="connsiteX86" fmla="*/ 267658 w 333789"/>
                <a:gd name="connsiteY86" fmla="*/ 174269 h 228390"/>
                <a:gd name="connsiteX87" fmla="*/ 266682 w 333789"/>
                <a:gd name="connsiteY87" fmla="*/ 174136 h 228390"/>
                <a:gd name="connsiteX88" fmla="*/ 265459 w 333789"/>
                <a:gd name="connsiteY88" fmla="*/ 174611 h 228390"/>
                <a:gd name="connsiteX89" fmla="*/ 263072 w 333789"/>
                <a:gd name="connsiteY89" fmla="*/ 173559 h 228390"/>
                <a:gd name="connsiteX90" fmla="*/ 262201 w 333789"/>
                <a:gd name="connsiteY90" fmla="*/ 173322 h 228390"/>
                <a:gd name="connsiteX91" fmla="*/ 261938 w 333789"/>
                <a:gd name="connsiteY91" fmla="*/ 172421 h 228390"/>
                <a:gd name="connsiteX92" fmla="*/ 260387 w 333789"/>
                <a:gd name="connsiteY92" fmla="*/ 170912 h 228390"/>
                <a:gd name="connsiteX93" fmla="*/ 257668 w 333789"/>
                <a:gd name="connsiteY93" fmla="*/ 169830 h 228390"/>
                <a:gd name="connsiteX94" fmla="*/ 259038 w 333789"/>
                <a:gd name="connsiteY94" fmla="*/ 168942 h 228390"/>
                <a:gd name="connsiteX95" fmla="*/ 51842 w 333789"/>
                <a:gd name="connsiteY95" fmla="*/ 156766 h 228390"/>
                <a:gd name="connsiteX96" fmla="*/ 53749 w 333789"/>
                <a:gd name="connsiteY96" fmla="*/ 157864 h 228390"/>
                <a:gd name="connsiteX97" fmla="*/ 57073 w 333789"/>
                <a:gd name="connsiteY97" fmla="*/ 158893 h 228390"/>
                <a:gd name="connsiteX98" fmla="*/ 60322 w 333789"/>
                <a:gd name="connsiteY98" fmla="*/ 161442 h 228390"/>
                <a:gd name="connsiteX99" fmla="*/ 60717 w 333789"/>
                <a:gd name="connsiteY99" fmla="*/ 162416 h 228390"/>
                <a:gd name="connsiteX100" fmla="*/ 57502 w 333789"/>
                <a:gd name="connsiteY100" fmla="*/ 161079 h 228390"/>
                <a:gd name="connsiteX101" fmla="*/ 54436 w 333789"/>
                <a:gd name="connsiteY101" fmla="*/ 158845 h 228390"/>
                <a:gd name="connsiteX102" fmla="*/ 52881 w 333789"/>
                <a:gd name="connsiteY102" fmla="*/ 158238 h 228390"/>
                <a:gd name="connsiteX103" fmla="*/ 226765 w 333789"/>
                <a:gd name="connsiteY103" fmla="*/ 156664 h 228390"/>
                <a:gd name="connsiteX104" fmla="*/ 226740 w 333789"/>
                <a:gd name="connsiteY104" fmla="*/ 158958 h 228390"/>
                <a:gd name="connsiteX105" fmla="*/ 227230 w 333789"/>
                <a:gd name="connsiteY105" fmla="*/ 159987 h 228390"/>
                <a:gd name="connsiteX106" fmla="*/ 226528 w 333789"/>
                <a:gd name="connsiteY106" fmla="*/ 163672 h 228390"/>
                <a:gd name="connsiteX107" fmla="*/ 226910 w 333789"/>
                <a:gd name="connsiteY107" fmla="*/ 165262 h 228390"/>
                <a:gd name="connsiteX108" fmla="*/ 225187 w 333789"/>
                <a:gd name="connsiteY108" fmla="*/ 163556 h 228390"/>
                <a:gd name="connsiteX109" fmla="*/ 225951 w 333789"/>
                <a:gd name="connsiteY109" fmla="*/ 161629 h 228390"/>
                <a:gd name="connsiteX110" fmla="*/ 226086 w 333789"/>
                <a:gd name="connsiteY110" fmla="*/ 160587 h 228390"/>
                <a:gd name="connsiteX111" fmla="*/ 225997 w 333789"/>
                <a:gd name="connsiteY111" fmla="*/ 160000 h 228390"/>
                <a:gd name="connsiteX112" fmla="*/ 224276 w 333789"/>
                <a:gd name="connsiteY112" fmla="*/ 159002 h 228390"/>
                <a:gd name="connsiteX113" fmla="*/ 225190 w 333789"/>
                <a:gd name="connsiteY113" fmla="*/ 157371 h 228390"/>
                <a:gd name="connsiteX114" fmla="*/ 226158 w 333789"/>
                <a:gd name="connsiteY114" fmla="*/ 156823 h 228390"/>
                <a:gd name="connsiteX115" fmla="*/ 54386 w 333789"/>
                <a:gd name="connsiteY115" fmla="*/ 155522 h 228390"/>
                <a:gd name="connsiteX116" fmla="*/ 58949 w 333789"/>
                <a:gd name="connsiteY116" fmla="*/ 155766 h 228390"/>
                <a:gd name="connsiteX117" fmla="*/ 60126 w 333789"/>
                <a:gd name="connsiteY117" fmla="*/ 156042 h 228390"/>
                <a:gd name="connsiteX118" fmla="*/ 60372 w 333789"/>
                <a:gd name="connsiteY118" fmla="*/ 157580 h 228390"/>
                <a:gd name="connsiteX119" fmla="*/ 60245 w 333789"/>
                <a:gd name="connsiteY119" fmla="*/ 158064 h 228390"/>
                <a:gd name="connsiteX120" fmla="*/ 59279 w 333789"/>
                <a:gd name="connsiteY120" fmla="*/ 158132 h 228390"/>
                <a:gd name="connsiteX121" fmla="*/ 55382 w 333789"/>
                <a:gd name="connsiteY121" fmla="*/ 156620 h 228390"/>
                <a:gd name="connsiteX122" fmla="*/ 154435 w 333789"/>
                <a:gd name="connsiteY122" fmla="*/ 91608 h 228390"/>
                <a:gd name="connsiteX123" fmla="*/ 159041 w 333789"/>
                <a:gd name="connsiteY123" fmla="*/ 94285 h 228390"/>
                <a:gd name="connsiteX124" fmla="*/ 159511 w 333789"/>
                <a:gd name="connsiteY124" fmla="*/ 95143 h 228390"/>
                <a:gd name="connsiteX125" fmla="*/ 159166 w 333789"/>
                <a:gd name="connsiteY125" fmla="*/ 97682 h 228390"/>
                <a:gd name="connsiteX126" fmla="*/ 158400 w 333789"/>
                <a:gd name="connsiteY126" fmla="*/ 99051 h 228390"/>
                <a:gd name="connsiteX127" fmla="*/ 157508 w 333789"/>
                <a:gd name="connsiteY127" fmla="*/ 99220 h 228390"/>
                <a:gd name="connsiteX128" fmla="*/ 157122 w 333789"/>
                <a:gd name="connsiteY128" fmla="*/ 98212 h 228390"/>
                <a:gd name="connsiteX129" fmla="*/ 155054 w 333789"/>
                <a:gd name="connsiteY129" fmla="*/ 97339 h 228390"/>
                <a:gd name="connsiteX130" fmla="*/ 152988 w 333789"/>
                <a:gd name="connsiteY130" fmla="*/ 94634 h 228390"/>
                <a:gd name="connsiteX131" fmla="*/ 153020 w 333789"/>
                <a:gd name="connsiteY131" fmla="*/ 92310 h 228390"/>
                <a:gd name="connsiteX132" fmla="*/ 153288 w 333789"/>
                <a:gd name="connsiteY132" fmla="*/ 91642 h 228390"/>
                <a:gd name="connsiteX133" fmla="*/ 306628 w 333789"/>
                <a:gd name="connsiteY133" fmla="*/ 90579 h 228390"/>
                <a:gd name="connsiteX134" fmla="*/ 307587 w 333789"/>
                <a:gd name="connsiteY134" fmla="*/ 90794 h 228390"/>
                <a:gd name="connsiteX135" fmla="*/ 308600 w 333789"/>
                <a:gd name="connsiteY135" fmla="*/ 91679 h 228390"/>
                <a:gd name="connsiteX136" fmla="*/ 309751 w 333789"/>
                <a:gd name="connsiteY136" fmla="*/ 92286 h 228390"/>
                <a:gd name="connsiteX137" fmla="*/ 312549 w 333789"/>
                <a:gd name="connsiteY137" fmla="*/ 92697 h 228390"/>
                <a:gd name="connsiteX138" fmla="*/ 314689 w 333789"/>
                <a:gd name="connsiteY138" fmla="*/ 94478 h 228390"/>
                <a:gd name="connsiteX139" fmla="*/ 316743 w 333789"/>
                <a:gd name="connsiteY139" fmla="*/ 97955 h 228390"/>
                <a:gd name="connsiteX140" fmla="*/ 316989 w 333789"/>
                <a:gd name="connsiteY140" fmla="*/ 99094 h 228390"/>
                <a:gd name="connsiteX141" fmla="*/ 317645 w 333789"/>
                <a:gd name="connsiteY141" fmla="*/ 99913 h 228390"/>
                <a:gd name="connsiteX142" fmla="*/ 319757 w 333789"/>
                <a:gd name="connsiteY142" fmla="*/ 101389 h 228390"/>
                <a:gd name="connsiteX143" fmla="*/ 320852 w 333789"/>
                <a:gd name="connsiteY143" fmla="*/ 102336 h 228390"/>
                <a:gd name="connsiteX144" fmla="*/ 322940 w 333789"/>
                <a:gd name="connsiteY144" fmla="*/ 106124 h 228390"/>
                <a:gd name="connsiteX145" fmla="*/ 324097 w 333789"/>
                <a:gd name="connsiteY145" fmla="*/ 106932 h 228390"/>
                <a:gd name="connsiteX146" fmla="*/ 325462 w 333789"/>
                <a:gd name="connsiteY146" fmla="*/ 107257 h 228390"/>
                <a:gd name="connsiteX147" fmla="*/ 326732 w 333789"/>
                <a:gd name="connsiteY147" fmla="*/ 107804 h 228390"/>
                <a:gd name="connsiteX148" fmla="*/ 328848 w 333789"/>
                <a:gd name="connsiteY148" fmla="*/ 109466 h 228390"/>
                <a:gd name="connsiteX149" fmla="*/ 330802 w 333789"/>
                <a:gd name="connsiteY149" fmla="*/ 111348 h 228390"/>
                <a:gd name="connsiteX150" fmla="*/ 332123 w 333789"/>
                <a:gd name="connsiteY150" fmla="*/ 113327 h 228390"/>
                <a:gd name="connsiteX151" fmla="*/ 333126 w 333789"/>
                <a:gd name="connsiteY151" fmla="*/ 115446 h 228390"/>
                <a:gd name="connsiteX152" fmla="*/ 333789 w 333789"/>
                <a:gd name="connsiteY152" fmla="*/ 118150 h 228390"/>
                <a:gd name="connsiteX153" fmla="*/ 333249 w 333789"/>
                <a:gd name="connsiteY153" fmla="*/ 120230 h 228390"/>
                <a:gd name="connsiteX154" fmla="*/ 332846 w 333789"/>
                <a:gd name="connsiteY154" fmla="*/ 120590 h 228390"/>
                <a:gd name="connsiteX155" fmla="*/ 332336 w 333789"/>
                <a:gd name="connsiteY155" fmla="*/ 119809 h 228390"/>
                <a:gd name="connsiteX156" fmla="*/ 330414 w 333789"/>
                <a:gd name="connsiteY156" fmla="*/ 120566 h 228390"/>
                <a:gd name="connsiteX157" fmla="*/ 329496 w 333789"/>
                <a:gd name="connsiteY157" fmla="*/ 121428 h 228390"/>
                <a:gd name="connsiteX158" fmla="*/ 328520 w 333789"/>
                <a:gd name="connsiteY158" fmla="*/ 122059 h 228390"/>
                <a:gd name="connsiteX159" fmla="*/ 326266 w 333789"/>
                <a:gd name="connsiteY159" fmla="*/ 121907 h 228390"/>
                <a:gd name="connsiteX160" fmla="*/ 324132 w 333789"/>
                <a:gd name="connsiteY160" fmla="*/ 121336 h 228390"/>
                <a:gd name="connsiteX161" fmla="*/ 322063 w 333789"/>
                <a:gd name="connsiteY161" fmla="*/ 120280 h 228390"/>
                <a:gd name="connsiteX162" fmla="*/ 320222 w 333789"/>
                <a:gd name="connsiteY162" fmla="*/ 118925 h 228390"/>
                <a:gd name="connsiteX163" fmla="*/ 318375 w 333789"/>
                <a:gd name="connsiteY163" fmla="*/ 116801 h 228390"/>
                <a:gd name="connsiteX164" fmla="*/ 317227 w 333789"/>
                <a:gd name="connsiteY164" fmla="*/ 114598 h 228390"/>
                <a:gd name="connsiteX165" fmla="*/ 317799 w 333789"/>
                <a:gd name="connsiteY165" fmla="*/ 112039 h 228390"/>
                <a:gd name="connsiteX166" fmla="*/ 317084 w 333789"/>
                <a:gd name="connsiteY166" fmla="*/ 109731 h 228390"/>
                <a:gd name="connsiteX167" fmla="*/ 313601 w 333789"/>
                <a:gd name="connsiteY167" fmla="*/ 108090 h 228390"/>
                <a:gd name="connsiteX168" fmla="*/ 312838 w 333789"/>
                <a:gd name="connsiteY168" fmla="*/ 107559 h 228390"/>
                <a:gd name="connsiteX169" fmla="*/ 311293 w 333789"/>
                <a:gd name="connsiteY169" fmla="*/ 105259 h 228390"/>
                <a:gd name="connsiteX170" fmla="*/ 309746 w 333789"/>
                <a:gd name="connsiteY170" fmla="*/ 104267 h 228390"/>
                <a:gd name="connsiteX171" fmla="*/ 307792 w 333789"/>
                <a:gd name="connsiteY171" fmla="*/ 102253 h 228390"/>
                <a:gd name="connsiteX172" fmla="*/ 307291 w 333789"/>
                <a:gd name="connsiteY172" fmla="*/ 101380 h 228390"/>
                <a:gd name="connsiteX173" fmla="*/ 306447 w 333789"/>
                <a:gd name="connsiteY173" fmla="*/ 98832 h 228390"/>
                <a:gd name="connsiteX174" fmla="*/ 306179 w 333789"/>
                <a:gd name="connsiteY174" fmla="*/ 97292 h 228390"/>
                <a:gd name="connsiteX175" fmla="*/ 306890 w 333789"/>
                <a:gd name="connsiteY175" fmla="*/ 92816 h 228390"/>
                <a:gd name="connsiteX176" fmla="*/ 138615 w 333789"/>
                <a:gd name="connsiteY176" fmla="*/ 84956 h 228390"/>
                <a:gd name="connsiteX177" fmla="*/ 140280 w 333789"/>
                <a:gd name="connsiteY177" fmla="*/ 86303 h 228390"/>
                <a:gd name="connsiteX178" fmla="*/ 140623 w 333789"/>
                <a:gd name="connsiteY178" fmla="*/ 89185 h 228390"/>
                <a:gd name="connsiteX179" fmla="*/ 139615 w 333789"/>
                <a:gd name="connsiteY179" fmla="*/ 90302 h 228390"/>
                <a:gd name="connsiteX180" fmla="*/ 138375 w 333789"/>
                <a:gd name="connsiteY180" fmla="*/ 90423 h 228390"/>
                <a:gd name="connsiteX181" fmla="*/ 136359 w 333789"/>
                <a:gd name="connsiteY181" fmla="*/ 88316 h 228390"/>
                <a:gd name="connsiteX182" fmla="*/ 135847 w 333789"/>
                <a:gd name="connsiteY182" fmla="*/ 87532 h 228390"/>
                <a:gd name="connsiteX183" fmla="*/ 136043 w 333789"/>
                <a:gd name="connsiteY183" fmla="*/ 86432 h 228390"/>
                <a:gd name="connsiteX184" fmla="*/ 304490 w 333789"/>
                <a:gd name="connsiteY184" fmla="*/ 81033 h 228390"/>
                <a:gd name="connsiteX185" fmla="*/ 305583 w 333789"/>
                <a:gd name="connsiteY185" fmla="*/ 81923 h 228390"/>
                <a:gd name="connsiteX186" fmla="*/ 305741 w 333789"/>
                <a:gd name="connsiteY186" fmla="*/ 83889 h 228390"/>
                <a:gd name="connsiteX187" fmla="*/ 306581 w 333789"/>
                <a:gd name="connsiteY187" fmla="*/ 85560 h 228390"/>
                <a:gd name="connsiteX188" fmla="*/ 305946 w 333789"/>
                <a:gd name="connsiteY188" fmla="*/ 89213 h 228390"/>
                <a:gd name="connsiteX189" fmla="*/ 304814 w 333789"/>
                <a:gd name="connsiteY189" fmla="*/ 90319 h 228390"/>
                <a:gd name="connsiteX190" fmla="*/ 304374 w 333789"/>
                <a:gd name="connsiteY190" fmla="*/ 90495 h 228390"/>
                <a:gd name="connsiteX191" fmla="*/ 303413 w 333789"/>
                <a:gd name="connsiteY191" fmla="*/ 87697 h 228390"/>
                <a:gd name="connsiteX192" fmla="*/ 303242 w 333789"/>
                <a:gd name="connsiteY192" fmla="*/ 85623 h 228390"/>
                <a:gd name="connsiteX193" fmla="*/ 302947 w 333789"/>
                <a:gd name="connsiteY193" fmla="*/ 84094 h 228390"/>
                <a:gd name="connsiteX194" fmla="*/ 302444 w 333789"/>
                <a:gd name="connsiteY194" fmla="*/ 83183 h 228390"/>
                <a:gd name="connsiteX195" fmla="*/ 303892 w 333789"/>
                <a:gd name="connsiteY195" fmla="*/ 81501 h 228390"/>
                <a:gd name="connsiteX196" fmla="*/ 113513 w 333789"/>
                <a:gd name="connsiteY196" fmla="*/ 70515 h 228390"/>
                <a:gd name="connsiteX197" fmla="*/ 114432 w 333789"/>
                <a:gd name="connsiteY197" fmla="*/ 71266 h 228390"/>
                <a:gd name="connsiteX198" fmla="*/ 114786 w 333789"/>
                <a:gd name="connsiteY198" fmla="*/ 72750 h 228390"/>
                <a:gd name="connsiteX199" fmla="*/ 114033 w 333789"/>
                <a:gd name="connsiteY199" fmla="*/ 74657 h 228390"/>
                <a:gd name="connsiteX200" fmla="*/ 112551 w 333789"/>
                <a:gd name="connsiteY200" fmla="*/ 75312 h 228390"/>
                <a:gd name="connsiteX201" fmla="*/ 111483 w 333789"/>
                <a:gd name="connsiteY201" fmla="*/ 74808 h 228390"/>
                <a:gd name="connsiteX202" fmla="*/ 111031 w 333789"/>
                <a:gd name="connsiteY202" fmla="*/ 73356 h 228390"/>
                <a:gd name="connsiteX203" fmla="*/ 111398 w 333789"/>
                <a:gd name="connsiteY203" fmla="*/ 71954 h 228390"/>
                <a:gd name="connsiteX204" fmla="*/ 112693 w 333789"/>
                <a:gd name="connsiteY204" fmla="*/ 70848 h 228390"/>
                <a:gd name="connsiteX205" fmla="*/ 239726 w 333789"/>
                <a:gd name="connsiteY205" fmla="*/ 62999 h 228390"/>
                <a:gd name="connsiteX206" fmla="*/ 242283 w 333789"/>
                <a:gd name="connsiteY206" fmla="*/ 63376 h 228390"/>
                <a:gd name="connsiteX207" fmla="*/ 243287 w 333789"/>
                <a:gd name="connsiteY207" fmla="*/ 64347 h 228390"/>
                <a:gd name="connsiteX208" fmla="*/ 244412 w 333789"/>
                <a:gd name="connsiteY208" fmla="*/ 65143 h 228390"/>
                <a:gd name="connsiteX209" fmla="*/ 245560 w 333789"/>
                <a:gd name="connsiteY209" fmla="*/ 65591 h 228390"/>
                <a:gd name="connsiteX210" fmla="*/ 248869 w 333789"/>
                <a:gd name="connsiteY210" fmla="*/ 63270 h 228390"/>
                <a:gd name="connsiteX211" fmla="*/ 250640 w 333789"/>
                <a:gd name="connsiteY211" fmla="*/ 64886 h 228390"/>
                <a:gd name="connsiteX212" fmla="*/ 252899 w 333789"/>
                <a:gd name="connsiteY212" fmla="*/ 65673 h 228390"/>
                <a:gd name="connsiteX213" fmla="*/ 255248 w 333789"/>
                <a:gd name="connsiteY213" fmla="*/ 66117 h 228390"/>
                <a:gd name="connsiteX214" fmla="*/ 254317 w 333789"/>
                <a:gd name="connsiteY214" fmla="*/ 69442 h 228390"/>
                <a:gd name="connsiteX215" fmla="*/ 254593 w 333789"/>
                <a:gd name="connsiteY215" fmla="*/ 70980 h 228390"/>
                <a:gd name="connsiteX216" fmla="*/ 255200 w 333789"/>
                <a:gd name="connsiteY216" fmla="*/ 72510 h 228390"/>
                <a:gd name="connsiteX217" fmla="*/ 255123 w 333789"/>
                <a:gd name="connsiteY217" fmla="*/ 74769 h 228390"/>
                <a:gd name="connsiteX218" fmla="*/ 254043 w 333789"/>
                <a:gd name="connsiteY218" fmla="*/ 76784 h 228390"/>
                <a:gd name="connsiteX219" fmla="*/ 251975 w 333789"/>
                <a:gd name="connsiteY219" fmla="*/ 79722 h 228390"/>
                <a:gd name="connsiteX220" fmla="*/ 251048 w 333789"/>
                <a:gd name="connsiteY220" fmla="*/ 80265 h 228390"/>
                <a:gd name="connsiteX221" fmla="*/ 249962 w 333789"/>
                <a:gd name="connsiteY221" fmla="*/ 80574 h 228390"/>
                <a:gd name="connsiteX222" fmla="*/ 246571 w 333789"/>
                <a:gd name="connsiteY222" fmla="*/ 80810 h 228390"/>
                <a:gd name="connsiteX223" fmla="*/ 245917 w 333789"/>
                <a:gd name="connsiteY223" fmla="*/ 82375 h 228390"/>
                <a:gd name="connsiteX224" fmla="*/ 246144 w 333789"/>
                <a:gd name="connsiteY224" fmla="*/ 84029 h 228390"/>
                <a:gd name="connsiteX225" fmla="*/ 247977 w 333789"/>
                <a:gd name="connsiteY225" fmla="*/ 86203 h 228390"/>
                <a:gd name="connsiteX226" fmla="*/ 249439 w 333789"/>
                <a:gd name="connsiteY226" fmla="*/ 88641 h 228390"/>
                <a:gd name="connsiteX227" fmla="*/ 247982 w 333789"/>
                <a:gd name="connsiteY227" fmla="*/ 90887 h 228390"/>
                <a:gd name="connsiteX228" fmla="*/ 245581 w 333789"/>
                <a:gd name="connsiteY228" fmla="*/ 92451 h 228390"/>
                <a:gd name="connsiteX229" fmla="*/ 243302 w 333789"/>
                <a:gd name="connsiteY229" fmla="*/ 93250 h 228390"/>
                <a:gd name="connsiteX230" fmla="*/ 239532 w 333789"/>
                <a:gd name="connsiteY230" fmla="*/ 92778 h 228390"/>
                <a:gd name="connsiteX231" fmla="*/ 235556 w 333789"/>
                <a:gd name="connsiteY231" fmla="*/ 92973 h 228390"/>
                <a:gd name="connsiteX232" fmla="*/ 234811 w 333789"/>
                <a:gd name="connsiteY232" fmla="*/ 93828 h 228390"/>
                <a:gd name="connsiteX233" fmla="*/ 234790 w 333789"/>
                <a:gd name="connsiteY233" fmla="*/ 95240 h 228390"/>
                <a:gd name="connsiteX234" fmla="*/ 234231 w 333789"/>
                <a:gd name="connsiteY234" fmla="*/ 96317 h 228390"/>
                <a:gd name="connsiteX235" fmla="*/ 233507 w 333789"/>
                <a:gd name="connsiteY235" fmla="*/ 97298 h 228390"/>
                <a:gd name="connsiteX236" fmla="*/ 231491 w 333789"/>
                <a:gd name="connsiteY236" fmla="*/ 99333 h 228390"/>
                <a:gd name="connsiteX237" fmla="*/ 229236 w 333789"/>
                <a:gd name="connsiteY237" fmla="*/ 101126 h 228390"/>
                <a:gd name="connsiteX238" fmla="*/ 226157 w 333789"/>
                <a:gd name="connsiteY238" fmla="*/ 102830 h 228390"/>
                <a:gd name="connsiteX239" fmla="*/ 225121 w 333789"/>
                <a:gd name="connsiteY239" fmla="*/ 103237 h 228390"/>
                <a:gd name="connsiteX240" fmla="*/ 222395 w 333789"/>
                <a:gd name="connsiteY240" fmla="*/ 103508 h 228390"/>
                <a:gd name="connsiteX241" fmla="*/ 219942 w 333789"/>
                <a:gd name="connsiteY241" fmla="*/ 104487 h 228390"/>
                <a:gd name="connsiteX242" fmla="*/ 218850 w 333789"/>
                <a:gd name="connsiteY242" fmla="*/ 105443 h 228390"/>
                <a:gd name="connsiteX243" fmla="*/ 217660 w 333789"/>
                <a:gd name="connsiteY243" fmla="*/ 106219 h 228390"/>
                <a:gd name="connsiteX244" fmla="*/ 215058 w 333789"/>
                <a:gd name="connsiteY244" fmla="*/ 107071 h 228390"/>
                <a:gd name="connsiteX245" fmla="*/ 212524 w 333789"/>
                <a:gd name="connsiteY245" fmla="*/ 108749 h 228390"/>
                <a:gd name="connsiteX246" fmla="*/ 211524 w 333789"/>
                <a:gd name="connsiteY246" fmla="*/ 109033 h 228390"/>
                <a:gd name="connsiteX247" fmla="*/ 206274 w 333789"/>
                <a:gd name="connsiteY247" fmla="*/ 109325 h 228390"/>
                <a:gd name="connsiteX248" fmla="*/ 198759 w 333789"/>
                <a:gd name="connsiteY248" fmla="*/ 109405 h 228390"/>
                <a:gd name="connsiteX249" fmla="*/ 196532 w 333789"/>
                <a:gd name="connsiteY249" fmla="*/ 109581 h 228390"/>
                <a:gd name="connsiteX250" fmla="*/ 194370 w 333789"/>
                <a:gd name="connsiteY250" fmla="*/ 109349 h 228390"/>
                <a:gd name="connsiteX251" fmla="*/ 193174 w 333789"/>
                <a:gd name="connsiteY251" fmla="*/ 108695 h 228390"/>
                <a:gd name="connsiteX252" fmla="*/ 190622 w 333789"/>
                <a:gd name="connsiteY252" fmla="*/ 105673 h 228390"/>
                <a:gd name="connsiteX253" fmla="*/ 188396 w 333789"/>
                <a:gd name="connsiteY253" fmla="*/ 104637 h 228390"/>
                <a:gd name="connsiteX254" fmla="*/ 185971 w 333789"/>
                <a:gd name="connsiteY254" fmla="*/ 104667 h 228390"/>
                <a:gd name="connsiteX255" fmla="*/ 182740 w 333789"/>
                <a:gd name="connsiteY255" fmla="*/ 105736 h 228390"/>
                <a:gd name="connsiteX256" fmla="*/ 182131 w 333789"/>
                <a:gd name="connsiteY256" fmla="*/ 105500 h 228390"/>
                <a:gd name="connsiteX257" fmla="*/ 175686 w 333789"/>
                <a:gd name="connsiteY257" fmla="*/ 101049 h 228390"/>
                <a:gd name="connsiteX258" fmla="*/ 173731 w 333789"/>
                <a:gd name="connsiteY258" fmla="*/ 99961 h 228390"/>
                <a:gd name="connsiteX259" fmla="*/ 171646 w 333789"/>
                <a:gd name="connsiteY259" fmla="*/ 99148 h 228390"/>
                <a:gd name="connsiteX260" fmla="*/ 169101 w 333789"/>
                <a:gd name="connsiteY260" fmla="*/ 98585 h 228390"/>
                <a:gd name="connsiteX261" fmla="*/ 166700 w 333789"/>
                <a:gd name="connsiteY261" fmla="*/ 97690 h 228390"/>
                <a:gd name="connsiteX262" fmla="*/ 165285 w 333789"/>
                <a:gd name="connsiteY262" fmla="*/ 95569 h 228390"/>
                <a:gd name="connsiteX263" fmla="*/ 165452 w 333789"/>
                <a:gd name="connsiteY263" fmla="*/ 92808 h 228390"/>
                <a:gd name="connsiteX264" fmla="*/ 167382 w 333789"/>
                <a:gd name="connsiteY264" fmla="*/ 91186 h 228390"/>
                <a:gd name="connsiteX265" fmla="*/ 170322 w 333789"/>
                <a:gd name="connsiteY265" fmla="*/ 91987 h 228390"/>
                <a:gd name="connsiteX266" fmla="*/ 171446 w 333789"/>
                <a:gd name="connsiteY266" fmla="*/ 91976 h 228390"/>
                <a:gd name="connsiteX267" fmla="*/ 172552 w 333789"/>
                <a:gd name="connsiteY267" fmla="*/ 91515 h 228390"/>
                <a:gd name="connsiteX268" fmla="*/ 173845 w 333789"/>
                <a:gd name="connsiteY268" fmla="*/ 91662 h 228390"/>
                <a:gd name="connsiteX269" fmla="*/ 175154 w 333789"/>
                <a:gd name="connsiteY269" fmla="*/ 92069 h 228390"/>
                <a:gd name="connsiteX270" fmla="*/ 179924 w 333789"/>
                <a:gd name="connsiteY270" fmla="*/ 91469 h 228390"/>
                <a:gd name="connsiteX271" fmla="*/ 182684 w 333789"/>
                <a:gd name="connsiteY271" fmla="*/ 92314 h 228390"/>
                <a:gd name="connsiteX272" fmla="*/ 185366 w 333789"/>
                <a:gd name="connsiteY272" fmla="*/ 93432 h 228390"/>
                <a:gd name="connsiteX273" fmla="*/ 187877 w 333789"/>
                <a:gd name="connsiteY273" fmla="*/ 93674 h 228390"/>
                <a:gd name="connsiteX274" fmla="*/ 190453 w 333789"/>
                <a:gd name="connsiteY274" fmla="*/ 93436 h 228390"/>
                <a:gd name="connsiteX275" fmla="*/ 193911 w 333789"/>
                <a:gd name="connsiteY275" fmla="*/ 92167 h 228390"/>
                <a:gd name="connsiteX276" fmla="*/ 195001 w 333789"/>
                <a:gd name="connsiteY276" fmla="*/ 92334 h 228390"/>
                <a:gd name="connsiteX277" fmla="*/ 198327 w 333789"/>
                <a:gd name="connsiteY277" fmla="*/ 92347 h 228390"/>
                <a:gd name="connsiteX278" fmla="*/ 201231 w 333789"/>
                <a:gd name="connsiteY278" fmla="*/ 90653 h 228390"/>
                <a:gd name="connsiteX279" fmla="*/ 202317 w 333789"/>
                <a:gd name="connsiteY279" fmla="*/ 83819 h 228390"/>
                <a:gd name="connsiteX280" fmla="*/ 203056 w 333789"/>
                <a:gd name="connsiteY280" fmla="*/ 81494 h 228390"/>
                <a:gd name="connsiteX281" fmla="*/ 204045 w 333789"/>
                <a:gd name="connsiteY281" fmla="*/ 80988 h 228390"/>
                <a:gd name="connsiteX282" fmla="*/ 204757 w 333789"/>
                <a:gd name="connsiteY282" fmla="*/ 81128 h 228390"/>
                <a:gd name="connsiteX283" fmla="*/ 205819 w 333789"/>
                <a:gd name="connsiteY283" fmla="*/ 82291 h 228390"/>
                <a:gd name="connsiteX284" fmla="*/ 204457 w 333789"/>
                <a:gd name="connsiteY284" fmla="*/ 83741 h 228390"/>
                <a:gd name="connsiteX285" fmla="*/ 203857 w 333789"/>
                <a:gd name="connsiteY285" fmla="*/ 84858 h 228390"/>
                <a:gd name="connsiteX286" fmla="*/ 203656 w 333789"/>
                <a:gd name="connsiteY286" fmla="*/ 87589 h 228390"/>
                <a:gd name="connsiteX287" fmla="*/ 204403 w 333789"/>
                <a:gd name="connsiteY287" fmla="*/ 90237 h 228390"/>
                <a:gd name="connsiteX288" fmla="*/ 206102 w 333789"/>
                <a:gd name="connsiteY288" fmla="*/ 92336 h 228390"/>
                <a:gd name="connsiteX289" fmla="*/ 208660 w 333789"/>
                <a:gd name="connsiteY289" fmla="*/ 92602 h 228390"/>
                <a:gd name="connsiteX290" fmla="*/ 210995 w 333789"/>
                <a:gd name="connsiteY290" fmla="*/ 91216 h 228390"/>
                <a:gd name="connsiteX291" fmla="*/ 213539 w 333789"/>
                <a:gd name="connsiteY291" fmla="*/ 90930 h 228390"/>
                <a:gd name="connsiteX292" fmla="*/ 215891 w 333789"/>
                <a:gd name="connsiteY292" fmla="*/ 92275 h 228390"/>
                <a:gd name="connsiteX293" fmla="*/ 218294 w 333789"/>
                <a:gd name="connsiteY293" fmla="*/ 92043 h 228390"/>
                <a:gd name="connsiteX294" fmla="*/ 219398 w 333789"/>
                <a:gd name="connsiteY294" fmla="*/ 91166 h 228390"/>
                <a:gd name="connsiteX295" fmla="*/ 220684 w 333789"/>
                <a:gd name="connsiteY295" fmla="*/ 90785 h 228390"/>
                <a:gd name="connsiteX296" fmla="*/ 221961 w 333789"/>
                <a:gd name="connsiteY296" fmla="*/ 90640 h 228390"/>
                <a:gd name="connsiteX297" fmla="*/ 223125 w 333789"/>
                <a:gd name="connsiteY297" fmla="*/ 90120 h 228390"/>
                <a:gd name="connsiteX298" fmla="*/ 224658 w 333789"/>
                <a:gd name="connsiteY298" fmla="*/ 87836 h 228390"/>
                <a:gd name="connsiteX299" fmla="*/ 225688 w 333789"/>
                <a:gd name="connsiteY299" fmla="*/ 85259 h 228390"/>
                <a:gd name="connsiteX300" fmla="*/ 227213 w 333789"/>
                <a:gd name="connsiteY300" fmla="*/ 83228 h 228390"/>
                <a:gd name="connsiteX301" fmla="*/ 231387 w 333789"/>
                <a:gd name="connsiteY301" fmla="*/ 79847 h 228390"/>
                <a:gd name="connsiteX302" fmla="*/ 232589 w 333789"/>
                <a:gd name="connsiteY302" fmla="*/ 79425 h 228390"/>
                <a:gd name="connsiteX303" fmla="*/ 233892 w 333789"/>
                <a:gd name="connsiteY303" fmla="*/ 79195 h 228390"/>
                <a:gd name="connsiteX304" fmla="*/ 236826 w 333789"/>
                <a:gd name="connsiteY304" fmla="*/ 79341 h 228390"/>
                <a:gd name="connsiteX305" fmla="*/ 239007 w 333789"/>
                <a:gd name="connsiteY305" fmla="*/ 78139 h 228390"/>
                <a:gd name="connsiteX306" fmla="*/ 239178 w 333789"/>
                <a:gd name="connsiteY306" fmla="*/ 75430 h 228390"/>
                <a:gd name="connsiteX307" fmla="*/ 238862 w 333789"/>
                <a:gd name="connsiteY307" fmla="*/ 72681 h 228390"/>
                <a:gd name="connsiteX308" fmla="*/ 236370 w 333789"/>
                <a:gd name="connsiteY308" fmla="*/ 66223 h 228390"/>
                <a:gd name="connsiteX309" fmla="*/ 236200 w 333789"/>
                <a:gd name="connsiteY309" fmla="*/ 65197 h 228390"/>
                <a:gd name="connsiteX310" fmla="*/ 236561 w 333789"/>
                <a:gd name="connsiteY310" fmla="*/ 64048 h 228390"/>
                <a:gd name="connsiteX311" fmla="*/ 237279 w 333789"/>
                <a:gd name="connsiteY311" fmla="*/ 63017 h 228390"/>
                <a:gd name="connsiteX312" fmla="*/ 283050 w 333789"/>
                <a:gd name="connsiteY312" fmla="*/ 59482 h 228390"/>
                <a:gd name="connsiteX313" fmla="*/ 282968 w 333789"/>
                <a:gd name="connsiteY313" fmla="*/ 60769 h 228390"/>
                <a:gd name="connsiteX314" fmla="*/ 282765 w 333789"/>
                <a:gd name="connsiteY314" fmla="*/ 61295 h 228390"/>
                <a:gd name="connsiteX315" fmla="*/ 281469 w 333789"/>
                <a:gd name="connsiteY315" fmla="*/ 60696 h 228390"/>
                <a:gd name="connsiteX316" fmla="*/ 282536 w 333789"/>
                <a:gd name="connsiteY316" fmla="*/ 59560 h 228390"/>
                <a:gd name="connsiteX317" fmla="*/ 260402 w 333789"/>
                <a:gd name="connsiteY317" fmla="*/ 37378 h 228390"/>
                <a:gd name="connsiteX318" fmla="*/ 261107 w 333789"/>
                <a:gd name="connsiteY318" fmla="*/ 39383 h 228390"/>
                <a:gd name="connsiteX319" fmla="*/ 260566 w 333789"/>
                <a:gd name="connsiteY319" fmla="*/ 41327 h 228390"/>
                <a:gd name="connsiteX320" fmla="*/ 259215 w 333789"/>
                <a:gd name="connsiteY320" fmla="*/ 40190 h 228390"/>
                <a:gd name="connsiteX321" fmla="*/ 258291 w 333789"/>
                <a:gd name="connsiteY321" fmla="*/ 38547 h 228390"/>
                <a:gd name="connsiteX322" fmla="*/ 258880 w 333789"/>
                <a:gd name="connsiteY322" fmla="*/ 37814 h 228390"/>
                <a:gd name="connsiteX323" fmla="*/ 245718 w 333789"/>
                <a:gd name="connsiteY323" fmla="*/ 33014 h 228390"/>
                <a:gd name="connsiteX324" fmla="*/ 247928 w 333789"/>
                <a:gd name="connsiteY324" fmla="*/ 34626 h 228390"/>
                <a:gd name="connsiteX325" fmla="*/ 248472 w 333789"/>
                <a:gd name="connsiteY325" fmla="*/ 35266 h 228390"/>
                <a:gd name="connsiteX326" fmla="*/ 248234 w 333789"/>
                <a:gd name="connsiteY326" fmla="*/ 36383 h 228390"/>
                <a:gd name="connsiteX327" fmla="*/ 247546 w 333789"/>
                <a:gd name="connsiteY327" fmla="*/ 36319 h 228390"/>
                <a:gd name="connsiteX328" fmla="*/ 245639 w 333789"/>
                <a:gd name="connsiteY328" fmla="*/ 34131 h 228390"/>
                <a:gd name="connsiteX329" fmla="*/ 245274 w 333789"/>
                <a:gd name="connsiteY329" fmla="*/ 33565 h 228390"/>
                <a:gd name="connsiteX330" fmla="*/ 245092 w 333789"/>
                <a:gd name="connsiteY330" fmla="*/ 29982 h 228390"/>
                <a:gd name="connsiteX331" fmla="*/ 246321 w 333789"/>
                <a:gd name="connsiteY331" fmla="*/ 30628 h 228390"/>
                <a:gd name="connsiteX332" fmla="*/ 246529 w 333789"/>
                <a:gd name="connsiteY332" fmla="*/ 32208 h 228390"/>
                <a:gd name="connsiteX333" fmla="*/ 245332 w 333789"/>
                <a:gd name="connsiteY333" fmla="*/ 32673 h 228390"/>
                <a:gd name="connsiteX334" fmla="*/ 244805 w 333789"/>
                <a:gd name="connsiteY334" fmla="*/ 32677 h 228390"/>
                <a:gd name="connsiteX335" fmla="*/ 244726 w 333789"/>
                <a:gd name="connsiteY335" fmla="*/ 30911 h 228390"/>
                <a:gd name="connsiteX336" fmla="*/ 2457 w 333789"/>
                <a:gd name="connsiteY336" fmla="*/ 27796 h 228390"/>
                <a:gd name="connsiteX337" fmla="*/ 3118 w 333789"/>
                <a:gd name="connsiteY337" fmla="*/ 27804 h 228390"/>
                <a:gd name="connsiteX338" fmla="*/ 5362 w 333789"/>
                <a:gd name="connsiteY338" fmla="*/ 27830 h 228390"/>
                <a:gd name="connsiteX339" fmla="*/ 7149 w 333789"/>
                <a:gd name="connsiteY339" fmla="*/ 28195 h 228390"/>
                <a:gd name="connsiteX340" fmla="*/ 18232 w 333789"/>
                <a:gd name="connsiteY340" fmla="*/ 33001 h 228390"/>
                <a:gd name="connsiteX341" fmla="*/ 21541 w 333789"/>
                <a:gd name="connsiteY341" fmla="*/ 34929 h 228390"/>
                <a:gd name="connsiteX342" fmla="*/ 22669 w 333789"/>
                <a:gd name="connsiteY342" fmla="*/ 35381 h 228390"/>
                <a:gd name="connsiteX343" fmla="*/ 23781 w 333789"/>
                <a:gd name="connsiteY343" fmla="*/ 35398 h 228390"/>
                <a:gd name="connsiteX344" fmla="*/ 24842 w 333789"/>
                <a:gd name="connsiteY344" fmla="*/ 35625 h 228390"/>
                <a:gd name="connsiteX345" fmla="*/ 29834 w 333789"/>
                <a:gd name="connsiteY345" fmla="*/ 38279 h 228390"/>
                <a:gd name="connsiteX346" fmla="*/ 37297 w 333789"/>
                <a:gd name="connsiteY346" fmla="*/ 40959 h 228390"/>
                <a:gd name="connsiteX347" fmla="*/ 45172 w 333789"/>
                <a:gd name="connsiteY347" fmla="*/ 43529 h 228390"/>
                <a:gd name="connsiteX348" fmla="*/ 47614 w 333789"/>
                <a:gd name="connsiteY348" fmla="*/ 44066 h 228390"/>
                <a:gd name="connsiteX349" fmla="*/ 50143 w 333789"/>
                <a:gd name="connsiteY349" fmla="*/ 44290 h 228390"/>
                <a:gd name="connsiteX350" fmla="*/ 55634 w 333789"/>
                <a:gd name="connsiteY350" fmla="*/ 45181 h 228390"/>
                <a:gd name="connsiteX351" fmla="*/ 58524 w 333789"/>
                <a:gd name="connsiteY351" fmla="*/ 45974 h 228390"/>
                <a:gd name="connsiteX352" fmla="*/ 62761 w 333789"/>
                <a:gd name="connsiteY352" fmla="*/ 49122 h 228390"/>
                <a:gd name="connsiteX353" fmla="*/ 64895 w 333789"/>
                <a:gd name="connsiteY353" fmla="*/ 50095 h 228390"/>
                <a:gd name="connsiteX354" fmla="*/ 66898 w 333789"/>
                <a:gd name="connsiteY354" fmla="*/ 51870 h 228390"/>
                <a:gd name="connsiteX355" fmla="*/ 69731 w 333789"/>
                <a:gd name="connsiteY355" fmla="*/ 53777 h 228390"/>
                <a:gd name="connsiteX356" fmla="*/ 70849 w 333789"/>
                <a:gd name="connsiteY356" fmla="*/ 54255 h 228390"/>
                <a:gd name="connsiteX357" fmla="*/ 72078 w 333789"/>
                <a:gd name="connsiteY357" fmla="*/ 54478 h 228390"/>
                <a:gd name="connsiteX358" fmla="*/ 74864 w 333789"/>
                <a:gd name="connsiteY358" fmla="*/ 54545 h 228390"/>
                <a:gd name="connsiteX359" fmla="*/ 77661 w 333789"/>
                <a:gd name="connsiteY359" fmla="*/ 54201 h 228390"/>
                <a:gd name="connsiteX360" fmla="*/ 78813 w 333789"/>
                <a:gd name="connsiteY360" fmla="*/ 54355 h 228390"/>
                <a:gd name="connsiteX361" fmla="*/ 79945 w 333789"/>
                <a:gd name="connsiteY361" fmla="*/ 54701 h 228390"/>
                <a:gd name="connsiteX362" fmla="*/ 80979 w 333789"/>
                <a:gd name="connsiteY362" fmla="*/ 55365 h 228390"/>
                <a:gd name="connsiteX363" fmla="*/ 81504 w 333789"/>
                <a:gd name="connsiteY363" fmla="*/ 56645 h 228390"/>
                <a:gd name="connsiteX364" fmla="*/ 83238 w 333789"/>
                <a:gd name="connsiteY364" fmla="*/ 58416 h 228390"/>
                <a:gd name="connsiteX365" fmla="*/ 85697 w 333789"/>
                <a:gd name="connsiteY365" fmla="*/ 59214 h 228390"/>
                <a:gd name="connsiteX366" fmla="*/ 88032 w 333789"/>
                <a:gd name="connsiteY366" fmla="*/ 60817 h 228390"/>
                <a:gd name="connsiteX367" fmla="*/ 90133 w 333789"/>
                <a:gd name="connsiteY367" fmla="*/ 62738 h 228390"/>
                <a:gd name="connsiteX368" fmla="*/ 91678 w 333789"/>
                <a:gd name="connsiteY368" fmla="*/ 64672 h 228390"/>
                <a:gd name="connsiteX369" fmla="*/ 93434 w 333789"/>
                <a:gd name="connsiteY369" fmla="*/ 66303 h 228390"/>
                <a:gd name="connsiteX370" fmla="*/ 96093 w 333789"/>
                <a:gd name="connsiteY370" fmla="*/ 66993 h 228390"/>
                <a:gd name="connsiteX371" fmla="*/ 98891 w 333789"/>
                <a:gd name="connsiteY371" fmla="*/ 67103 h 228390"/>
                <a:gd name="connsiteX372" fmla="*/ 108453 w 333789"/>
                <a:gd name="connsiteY372" fmla="*/ 76804 h 228390"/>
                <a:gd name="connsiteX373" fmla="*/ 108919 w 333789"/>
                <a:gd name="connsiteY373" fmla="*/ 78301 h 228390"/>
                <a:gd name="connsiteX374" fmla="*/ 109025 w 333789"/>
                <a:gd name="connsiteY374" fmla="*/ 84670 h 228390"/>
                <a:gd name="connsiteX375" fmla="*/ 107971 w 333789"/>
                <a:gd name="connsiteY375" fmla="*/ 89648 h 228390"/>
                <a:gd name="connsiteX376" fmla="*/ 110351 w 333789"/>
                <a:gd name="connsiteY376" fmla="*/ 91175 h 228390"/>
                <a:gd name="connsiteX377" fmla="*/ 113592 w 333789"/>
                <a:gd name="connsiteY377" fmla="*/ 91747 h 228390"/>
                <a:gd name="connsiteX378" fmla="*/ 118146 w 333789"/>
                <a:gd name="connsiteY378" fmla="*/ 92812 h 228390"/>
                <a:gd name="connsiteX379" fmla="*/ 122525 w 333789"/>
                <a:gd name="connsiteY379" fmla="*/ 94398 h 228390"/>
                <a:gd name="connsiteX380" fmla="*/ 136475 w 333789"/>
                <a:gd name="connsiteY380" fmla="*/ 101111 h 228390"/>
                <a:gd name="connsiteX381" fmla="*/ 138390 w 333789"/>
                <a:gd name="connsiteY381" fmla="*/ 101683 h 228390"/>
                <a:gd name="connsiteX382" fmla="*/ 141206 w 333789"/>
                <a:gd name="connsiteY382" fmla="*/ 101900 h 228390"/>
                <a:gd name="connsiteX383" fmla="*/ 144046 w 333789"/>
                <a:gd name="connsiteY383" fmla="*/ 101811 h 228390"/>
                <a:gd name="connsiteX384" fmla="*/ 145066 w 333789"/>
                <a:gd name="connsiteY384" fmla="*/ 102153 h 228390"/>
                <a:gd name="connsiteX385" fmla="*/ 147183 w 333789"/>
                <a:gd name="connsiteY385" fmla="*/ 103372 h 228390"/>
                <a:gd name="connsiteX386" fmla="*/ 148248 w 333789"/>
                <a:gd name="connsiteY386" fmla="*/ 104167 h 228390"/>
                <a:gd name="connsiteX387" fmla="*/ 150157 w 333789"/>
                <a:gd name="connsiteY387" fmla="*/ 106339 h 228390"/>
                <a:gd name="connsiteX388" fmla="*/ 151861 w 333789"/>
                <a:gd name="connsiteY388" fmla="*/ 108699 h 228390"/>
                <a:gd name="connsiteX389" fmla="*/ 152586 w 333789"/>
                <a:gd name="connsiteY389" fmla="*/ 109373 h 228390"/>
                <a:gd name="connsiteX390" fmla="*/ 153452 w 333789"/>
                <a:gd name="connsiteY390" fmla="*/ 109900 h 228390"/>
                <a:gd name="connsiteX391" fmla="*/ 153949 w 333789"/>
                <a:gd name="connsiteY391" fmla="*/ 111183 h 228390"/>
                <a:gd name="connsiteX392" fmla="*/ 154612 w 333789"/>
                <a:gd name="connsiteY392" fmla="*/ 115138 h 228390"/>
                <a:gd name="connsiteX393" fmla="*/ 154413 w 333789"/>
                <a:gd name="connsiteY393" fmla="*/ 117608 h 228390"/>
                <a:gd name="connsiteX394" fmla="*/ 153638 w 333789"/>
                <a:gd name="connsiteY394" fmla="*/ 118523 h 228390"/>
                <a:gd name="connsiteX395" fmla="*/ 151407 w 333789"/>
                <a:gd name="connsiteY395" fmla="*/ 118968 h 228390"/>
                <a:gd name="connsiteX396" fmla="*/ 143584 w 333789"/>
                <a:gd name="connsiteY396" fmla="*/ 119384 h 228390"/>
                <a:gd name="connsiteX397" fmla="*/ 138352 w 333789"/>
                <a:gd name="connsiteY397" fmla="*/ 118925 h 228390"/>
                <a:gd name="connsiteX398" fmla="*/ 134691 w 333789"/>
                <a:gd name="connsiteY398" fmla="*/ 121421 h 228390"/>
                <a:gd name="connsiteX399" fmla="*/ 134594 w 333789"/>
                <a:gd name="connsiteY399" fmla="*/ 122510 h 228390"/>
                <a:gd name="connsiteX400" fmla="*/ 134849 w 333789"/>
                <a:gd name="connsiteY400" fmla="*/ 123525 h 228390"/>
                <a:gd name="connsiteX401" fmla="*/ 138037 w 333789"/>
                <a:gd name="connsiteY401" fmla="*/ 128818 h 228390"/>
                <a:gd name="connsiteX402" fmla="*/ 139920 w 333789"/>
                <a:gd name="connsiteY402" fmla="*/ 133510 h 228390"/>
                <a:gd name="connsiteX403" fmla="*/ 141470 w 333789"/>
                <a:gd name="connsiteY403" fmla="*/ 135421 h 228390"/>
                <a:gd name="connsiteX404" fmla="*/ 143795 w 333789"/>
                <a:gd name="connsiteY404" fmla="*/ 136971 h 228390"/>
                <a:gd name="connsiteX405" fmla="*/ 145866 w 333789"/>
                <a:gd name="connsiteY405" fmla="*/ 138804 h 228390"/>
                <a:gd name="connsiteX406" fmla="*/ 147771 w 333789"/>
                <a:gd name="connsiteY406" fmla="*/ 140911 h 228390"/>
                <a:gd name="connsiteX407" fmla="*/ 151734 w 333789"/>
                <a:gd name="connsiteY407" fmla="*/ 144588 h 228390"/>
                <a:gd name="connsiteX408" fmla="*/ 153891 w 333789"/>
                <a:gd name="connsiteY408" fmla="*/ 145950 h 228390"/>
                <a:gd name="connsiteX409" fmla="*/ 156417 w 333789"/>
                <a:gd name="connsiteY409" fmla="*/ 146793 h 228390"/>
                <a:gd name="connsiteX410" fmla="*/ 160632 w 333789"/>
                <a:gd name="connsiteY410" fmla="*/ 149647 h 228390"/>
                <a:gd name="connsiteX411" fmla="*/ 161190 w 333789"/>
                <a:gd name="connsiteY411" fmla="*/ 150907 h 228390"/>
                <a:gd name="connsiteX412" fmla="*/ 162395 w 333789"/>
                <a:gd name="connsiteY412" fmla="*/ 154879 h 228390"/>
                <a:gd name="connsiteX413" fmla="*/ 162915 w 333789"/>
                <a:gd name="connsiteY413" fmla="*/ 157573 h 228390"/>
                <a:gd name="connsiteX414" fmla="*/ 162995 w 333789"/>
                <a:gd name="connsiteY414" fmla="*/ 158684 h 228390"/>
                <a:gd name="connsiteX415" fmla="*/ 163288 w 333789"/>
                <a:gd name="connsiteY415" fmla="*/ 159680 h 228390"/>
                <a:gd name="connsiteX416" fmla="*/ 166994 w 333789"/>
                <a:gd name="connsiteY416" fmla="*/ 162123 h 228390"/>
                <a:gd name="connsiteX417" fmla="*/ 167805 w 333789"/>
                <a:gd name="connsiteY417" fmla="*/ 162804 h 228390"/>
                <a:gd name="connsiteX418" fmla="*/ 169458 w 333789"/>
                <a:gd name="connsiteY418" fmla="*/ 168241 h 228390"/>
                <a:gd name="connsiteX419" fmla="*/ 170723 w 333789"/>
                <a:gd name="connsiteY419" fmla="*/ 170764 h 228390"/>
                <a:gd name="connsiteX420" fmla="*/ 172854 w 333789"/>
                <a:gd name="connsiteY420" fmla="*/ 171660 h 228390"/>
                <a:gd name="connsiteX421" fmla="*/ 175338 w 333789"/>
                <a:gd name="connsiteY421" fmla="*/ 171604 h 228390"/>
                <a:gd name="connsiteX422" fmla="*/ 182097 w 333789"/>
                <a:gd name="connsiteY422" fmla="*/ 169987 h 228390"/>
                <a:gd name="connsiteX423" fmla="*/ 183074 w 333789"/>
                <a:gd name="connsiteY423" fmla="*/ 169935 h 228390"/>
                <a:gd name="connsiteX424" fmla="*/ 184327 w 333789"/>
                <a:gd name="connsiteY424" fmla="*/ 170307 h 228390"/>
                <a:gd name="connsiteX425" fmla="*/ 185418 w 333789"/>
                <a:gd name="connsiteY425" fmla="*/ 171193 h 228390"/>
                <a:gd name="connsiteX426" fmla="*/ 185780 w 333789"/>
                <a:gd name="connsiteY426" fmla="*/ 173639 h 228390"/>
                <a:gd name="connsiteX427" fmla="*/ 184722 w 333789"/>
                <a:gd name="connsiteY427" fmla="*/ 176207 h 228390"/>
                <a:gd name="connsiteX428" fmla="*/ 184431 w 333789"/>
                <a:gd name="connsiteY428" fmla="*/ 178681 h 228390"/>
                <a:gd name="connsiteX429" fmla="*/ 185761 w 333789"/>
                <a:gd name="connsiteY429" fmla="*/ 180711 h 228390"/>
                <a:gd name="connsiteX430" fmla="*/ 189201 w 333789"/>
                <a:gd name="connsiteY430" fmla="*/ 182295 h 228390"/>
                <a:gd name="connsiteX431" fmla="*/ 190462 w 333789"/>
                <a:gd name="connsiteY431" fmla="*/ 182728 h 228390"/>
                <a:gd name="connsiteX432" fmla="*/ 196653 w 333789"/>
                <a:gd name="connsiteY432" fmla="*/ 183234 h 228390"/>
                <a:gd name="connsiteX433" fmla="*/ 199083 w 333789"/>
                <a:gd name="connsiteY433" fmla="*/ 183661 h 228390"/>
                <a:gd name="connsiteX434" fmla="*/ 201468 w 333789"/>
                <a:gd name="connsiteY434" fmla="*/ 184345 h 228390"/>
                <a:gd name="connsiteX435" fmla="*/ 202298 w 333789"/>
                <a:gd name="connsiteY435" fmla="*/ 184958 h 228390"/>
                <a:gd name="connsiteX436" fmla="*/ 201715 w 333789"/>
                <a:gd name="connsiteY436" fmla="*/ 186048 h 228390"/>
                <a:gd name="connsiteX437" fmla="*/ 200466 w 333789"/>
                <a:gd name="connsiteY437" fmla="*/ 186579 h 228390"/>
                <a:gd name="connsiteX438" fmla="*/ 199054 w 333789"/>
                <a:gd name="connsiteY438" fmla="*/ 186797 h 228390"/>
                <a:gd name="connsiteX439" fmla="*/ 196774 w 333789"/>
                <a:gd name="connsiteY439" fmla="*/ 187584 h 228390"/>
                <a:gd name="connsiteX440" fmla="*/ 196815 w 333789"/>
                <a:gd name="connsiteY440" fmla="*/ 188986 h 228390"/>
                <a:gd name="connsiteX441" fmla="*/ 198102 w 333789"/>
                <a:gd name="connsiteY441" fmla="*/ 190449 h 228390"/>
                <a:gd name="connsiteX442" fmla="*/ 199276 w 333789"/>
                <a:gd name="connsiteY442" fmla="*/ 192208 h 228390"/>
                <a:gd name="connsiteX443" fmla="*/ 200265 w 333789"/>
                <a:gd name="connsiteY443" fmla="*/ 192847 h 228390"/>
                <a:gd name="connsiteX444" fmla="*/ 201337 w 333789"/>
                <a:gd name="connsiteY444" fmla="*/ 193275 h 228390"/>
                <a:gd name="connsiteX445" fmla="*/ 204012 w 333789"/>
                <a:gd name="connsiteY445" fmla="*/ 193885 h 228390"/>
                <a:gd name="connsiteX446" fmla="*/ 206615 w 333789"/>
                <a:gd name="connsiteY446" fmla="*/ 194723 h 228390"/>
                <a:gd name="connsiteX447" fmla="*/ 208331 w 333789"/>
                <a:gd name="connsiteY447" fmla="*/ 195556 h 228390"/>
                <a:gd name="connsiteX448" fmla="*/ 210104 w 333789"/>
                <a:gd name="connsiteY448" fmla="*/ 196154 h 228390"/>
                <a:gd name="connsiteX449" fmla="*/ 213968 w 333789"/>
                <a:gd name="connsiteY449" fmla="*/ 196536 h 228390"/>
                <a:gd name="connsiteX450" fmla="*/ 216802 w 333789"/>
                <a:gd name="connsiteY450" fmla="*/ 197661 h 228390"/>
                <a:gd name="connsiteX451" fmla="*/ 220839 w 333789"/>
                <a:gd name="connsiteY451" fmla="*/ 197190 h 228390"/>
                <a:gd name="connsiteX452" fmla="*/ 217340 w 333789"/>
                <a:gd name="connsiteY452" fmla="*/ 199019 h 228390"/>
                <a:gd name="connsiteX453" fmla="*/ 216135 w 333789"/>
                <a:gd name="connsiteY453" fmla="*/ 199468 h 228390"/>
                <a:gd name="connsiteX454" fmla="*/ 211917 w 333789"/>
                <a:gd name="connsiteY454" fmla="*/ 198783 h 228390"/>
                <a:gd name="connsiteX455" fmla="*/ 211125 w 333789"/>
                <a:gd name="connsiteY455" fmla="*/ 199496 h 228390"/>
                <a:gd name="connsiteX456" fmla="*/ 212863 w 333789"/>
                <a:gd name="connsiteY456" fmla="*/ 201430 h 228390"/>
                <a:gd name="connsiteX457" fmla="*/ 215442 w 333789"/>
                <a:gd name="connsiteY457" fmla="*/ 202733 h 228390"/>
                <a:gd name="connsiteX458" fmla="*/ 216364 w 333789"/>
                <a:gd name="connsiteY458" fmla="*/ 203490 h 228390"/>
                <a:gd name="connsiteX459" fmla="*/ 215718 w 333789"/>
                <a:gd name="connsiteY459" fmla="*/ 204377 h 228390"/>
                <a:gd name="connsiteX460" fmla="*/ 212721 w 333789"/>
                <a:gd name="connsiteY460" fmla="*/ 206149 h 228390"/>
                <a:gd name="connsiteX461" fmla="*/ 211469 w 333789"/>
                <a:gd name="connsiteY461" fmla="*/ 206409 h 228390"/>
                <a:gd name="connsiteX462" fmla="*/ 209128 w 333789"/>
                <a:gd name="connsiteY462" fmla="*/ 206551 h 228390"/>
                <a:gd name="connsiteX463" fmla="*/ 205202 w 333789"/>
                <a:gd name="connsiteY463" fmla="*/ 205787 h 228390"/>
                <a:gd name="connsiteX464" fmla="*/ 202425 w 333789"/>
                <a:gd name="connsiteY464" fmla="*/ 204813 h 228390"/>
                <a:gd name="connsiteX465" fmla="*/ 201645 w 333789"/>
                <a:gd name="connsiteY465" fmla="*/ 203484 h 228390"/>
                <a:gd name="connsiteX466" fmla="*/ 200905 w 333789"/>
                <a:gd name="connsiteY466" fmla="*/ 202700 h 228390"/>
                <a:gd name="connsiteX467" fmla="*/ 198400 w 333789"/>
                <a:gd name="connsiteY467" fmla="*/ 200827 h 228390"/>
                <a:gd name="connsiteX468" fmla="*/ 196616 w 333789"/>
                <a:gd name="connsiteY468" fmla="*/ 199804 h 228390"/>
                <a:gd name="connsiteX469" fmla="*/ 194345 w 333789"/>
                <a:gd name="connsiteY469" fmla="*/ 199457 h 228390"/>
                <a:gd name="connsiteX470" fmla="*/ 191978 w 333789"/>
                <a:gd name="connsiteY470" fmla="*/ 199479 h 228390"/>
                <a:gd name="connsiteX471" fmla="*/ 187739 w 333789"/>
                <a:gd name="connsiteY471" fmla="*/ 198390 h 228390"/>
                <a:gd name="connsiteX472" fmla="*/ 178544 w 333789"/>
                <a:gd name="connsiteY472" fmla="*/ 197618 h 228390"/>
                <a:gd name="connsiteX473" fmla="*/ 176352 w 333789"/>
                <a:gd name="connsiteY473" fmla="*/ 197144 h 228390"/>
                <a:gd name="connsiteX474" fmla="*/ 173593 w 333789"/>
                <a:gd name="connsiteY474" fmla="*/ 195645 h 228390"/>
                <a:gd name="connsiteX475" fmla="*/ 172295 w 333789"/>
                <a:gd name="connsiteY475" fmla="*/ 195432 h 228390"/>
                <a:gd name="connsiteX476" fmla="*/ 170902 w 333789"/>
                <a:gd name="connsiteY476" fmla="*/ 195903 h 228390"/>
                <a:gd name="connsiteX477" fmla="*/ 167350 w 333789"/>
                <a:gd name="connsiteY477" fmla="*/ 196193 h 228390"/>
                <a:gd name="connsiteX478" fmla="*/ 166307 w 333789"/>
                <a:gd name="connsiteY478" fmla="*/ 196060 h 228390"/>
                <a:gd name="connsiteX479" fmla="*/ 163772 w 333789"/>
                <a:gd name="connsiteY479" fmla="*/ 194782 h 228390"/>
                <a:gd name="connsiteX480" fmla="*/ 161157 w 333789"/>
                <a:gd name="connsiteY480" fmla="*/ 194315 h 228390"/>
                <a:gd name="connsiteX481" fmla="*/ 160069 w 333789"/>
                <a:gd name="connsiteY481" fmla="*/ 194699 h 228390"/>
                <a:gd name="connsiteX482" fmla="*/ 158965 w 333789"/>
                <a:gd name="connsiteY482" fmla="*/ 194784 h 228390"/>
                <a:gd name="connsiteX483" fmla="*/ 155400 w 333789"/>
                <a:gd name="connsiteY483" fmla="*/ 193870 h 228390"/>
                <a:gd name="connsiteX484" fmla="*/ 152713 w 333789"/>
                <a:gd name="connsiteY484" fmla="*/ 193484 h 228390"/>
                <a:gd name="connsiteX485" fmla="*/ 150507 w 333789"/>
                <a:gd name="connsiteY485" fmla="*/ 192210 h 228390"/>
                <a:gd name="connsiteX486" fmla="*/ 149302 w 333789"/>
                <a:gd name="connsiteY486" fmla="*/ 191020 h 228390"/>
                <a:gd name="connsiteX487" fmla="*/ 147948 w 333789"/>
                <a:gd name="connsiteY487" fmla="*/ 189962 h 228390"/>
                <a:gd name="connsiteX488" fmla="*/ 146696 w 333789"/>
                <a:gd name="connsiteY488" fmla="*/ 187240 h 228390"/>
                <a:gd name="connsiteX489" fmla="*/ 144746 w 333789"/>
                <a:gd name="connsiteY489" fmla="*/ 184657 h 228390"/>
                <a:gd name="connsiteX490" fmla="*/ 142327 w 333789"/>
                <a:gd name="connsiteY490" fmla="*/ 182535 h 228390"/>
                <a:gd name="connsiteX491" fmla="*/ 137142 w 333789"/>
                <a:gd name="connsiteY491" fmla="*/ 179110 h 228390"/>
                <a:gd name="connsiteX492" fmla="*/ 136097 w 333789"/>
                <a:gd name="connsiteY492" fmla="*/ 178259 h 228390"/>
                <a:gd name="connsiteX493" fmla="*/ 134067 w 333789"/>
                <a:gd name="connsiteY493" fmla="*/ 175120 h 228390"/>
                <a:gd name="connsiteX494" fmla="*/ 134178 w 333789"/>
                <a:gd name="connsiteY494" fmla="*/ 173041 h 228390"/>
                <a:gd name="connsiteX495" fmla="*/ 134916 w 333789"/>
                <a:gd name="connsiteY495" fmla="*/ 170938 h 228390"/>
                <a:gd name="connsiteX496" fmla="*/ 133800 w 333789"/>
                <a:gd name="connsiteY496" fmla="*/ 171654 h 228390"/>
                <a:gd name="connsiteX497" fmla="*/ 132539 w 333789"/>
                <a:gd name="connsiteY497" fmla="*/ 171565 h 228390"/>
                <a:gd name="connsiteX498" fmla="*/ 129008 w 333789"/>
                <a:gd name="connsiteY498" fmla="*/ 170176 h 228390"/>
                <a:gd name="connsiteX499" fmla="*/ 127554 w 333789"/>
                <a:gd name="connsiteY499" fmla="*/ 168522 h 228390"/>
                <a:gd name="connsiteX500" fmla="*/ 125195 w 333789"/>
                <a:gd name="connsiteY500" fmla="*/ 164033 h 228390"/>
                <a:gd name="connsiteX501" fmla="*/ 123685 w 333789"/>
                <a:gd name="connsiteY501" fmla="*/ 161668 h 228390"/>
                <a:gd name="connsiteX502" fmla="*/ 120161 w 333789"/>
                <a:gd name="connsiteY502" fmla="*/ 157482 h 228390"/>
                <a:gd name="connsiteX503" fmla="*/ 119146 w 333789"/>
                <a:gd name="connsiteY503" fmla="*/ 154996 h 228390"/>
                <a:gd name="connsiteX504" fmla="*/ 117676 w 333789"/>
                <a:gd name="connsiteY504" fmla="*/ 152824 h 228390"/>
                <a:gd name="connsiteX505" fmla="*/ 116767 w 333789"/>
                <a:gd name="connsiteY505" fmla="*/ 152020 h 228390"/>
                <a:gd name="connsiteX506" fmla="*/ 116011 w 333789"/>
                <a:gd name="connsiteY506" fmla="*/ 151090 h 228390"/>
                <a:gd name="connsiteX507" fmla="*/ 115341 w 333789"/>
                <a:gd name="connsiteY507" fmla="*/ 149882 h 228390"/>
                <a:gd name="connsiteX508" fmla="*/ 114339 w 333789"/>
                <a:gd name="connsiteY508" fmla="*/ 149041 h 228390"/>
                <a:gd name="connsiteX509" fmla="*/ 109424 w 333789"/>
                <a:gd name="connsiteY509" fmla="*/ 147180 h 228390"/>
                <a:gd name="connsiteX510" fmla="*/ 108559 w 333789"/>
                <a:gd name="connsiteY510" fmla="*/ 146594 h 228390"/>
                <a:gd name="connsiteX511" fmla="*/ 107606 w 333789"/>
                <a:gd name="connsiteY511" fmla="*/ 146283 h 228390"/>
                <a:gd name="connsiteX512" fmla="*/ 103950 w 333789"/>
                <a:gd name="connsiteY512" fmla="*/ 146092 h 228390"/>
                <a:gd name="connsiteX513" fmla="*/ 101837 w 333789"/>
                <a:gd name="connsiteY513" fmla="*/ 145785 h 228390"/>
                <a:gd name="connsiteX514" fmla="*/ 97851 w 333789"/>
                <a:gd name="connsiteY514" fmla="*/ 144263 h 228390"/>
                <a:gd name="connsiteX515" fmla="*/ 95790 w 333789"/>
                <a:gd name="connsiteY515" fmla="*/ 143806 h 228390"/>
                <a:gd name="connsiteX516" fmla="*/ 93313 w 333789"/>
                <a:gd name="connsiteY516" fmla="*/ 143517 h 228390"/>
                <a:gd name="connsiteX517" fmla="*/ 90914 w 333789"/>
                <a:gd name="connsiteY517" fmla="*/ 142939 h 228390"/>
                <a:gd name="connsiteX518" fmla="*/ 89744 w 333789"/>
                <a:gd name="connsiteY518" fmla="*/ 142372 h 228390"/>
                <a:gd name="connsiteX519" fmla="*/ 88958 w 333789"/>
                <a:gd name="connsiteY519" fmla="*/ 141415 h 228390"/>
                <a:gd name="connsiteX520" fmla="*/ 88492 w 333789"/>
                <a:gd name="connsiteY520" fmla="*/ 139145 h 228390"/>
                <a:gd name="connsiteX521" fmla="*/ 86483 w 333789"/>
                <a:gd name="connsiteY521" fmla="*/ 139388 h 228390"/>
                <a:gd name="connsiteX522" fmla="*/ 84514 w 333789"/>
                <a:gd name="connsiteY522" fmla="*/ 138995 h 228390"/>
                <a:gd name="connsiteX523" fmla="*/ 82603 w 333789"/>
                <a:gd name="connsiteY523" fmla="*/ 138198 h 228390"/>
                <a:gd name="connsiteX524" fmla="*/ 80655 w 333789"/>
                <a:gd name="connsiteY524" fmla="*/ 137718 h 228390"/>
                <a:gd name="connsiteX525" fmla="*/ 79325 w 333789"/>
                <a:gd name="connsiteY525" fmla="*/ 138402 h 228390"/>
                <a:gd name="connsiteX526" fmla="*/ 78917 w 333789"/>
                <a:gd name="connsiteY526" fmla="*/ 140209 h 228390"/>
                <a:gd name="connsiteX527" fmla="*/ 78301 w 333789"/>
                <a:gd name="connsiteY527" fmla="*/ 140303 h 228390"/>
                <a:gd name="connsiteX528" fmla="*/ 77161 w 333789"/>
                <a:gd name="connsiteY528" fmla="*/ 139933 h 228390"/>
                <a:gd name="connsiteX529" fmla="*/ 76593 w 333789"/>
                <a:gd name="connsiteY529" fmla="*/ 140150 h 228390"/>
                <a:gd name="connsiteX530" fmla="*/ 75356 w 333789"/>
                <a:gd name="connsiteY530" fmla="*/ 140984 h 228390"/>
                <a:gd name="connsiteX531" fmla="*/ 74365 w 333789"/>
                <a:gd name="connsiteY531" fmla="*/ 142112 h 228390"/>
                <a:gd name="connsiteX532" fmla="*/ 72540 w 333789"/>
                <a:gd name="connsiteY532" fmla="*/ 141940 h 228390"/>
                <a:gd name="connsiteX533" fmla="*/ 68798 w 333789"/>
                <a:gd name="connsiteY533" fmla="*/ 140800 h 228390"/>
                <a:gd name="connsiteX534" fmla="*/ 67131 w 333789"/>
                <a:gd name="connsiteY534" fmla="*/ 140085 h 228390"/>
                <a:gd name="connsiteX535" fmla="*/ 65714 w 333789"/>
                <a:gd name="connsiteY535" fmla="*/ 138798 h 228390"/>
                <a:gd name="connsiteX536" fmla="*/ 64496 w 333789"/>
                <a:gd name="connsiteY536" fmla="*/ 137334 h 228390"/>
                <a:gd name="connsiteX537" fmla="*/ 63264 w 333789"/>
                <a:gd name="connsiteY537" fmla="*/ 136181 h 228390"/>
                <a:gd name="connsiteX538" fmla="*/ 61749 w 333789"/>
                <a:gd name="connsiteY538" fmla="*/ 135339 h 228390"/>
                <a:gd name="connsiteX539" fmla="*/ 63678 w 333789"/>
                <a:gd name="connsiteY539" fmla="*/ 137327 h 228390"/>
                <a:gd name="connsiteX540" fmla="*/ 68105 w 333789"/>
                <a:gd name="connsiteY540" fmla="*/ 146100 h 228390"/>
                <a:gd name="connsiteX541" fmla="*/ 66997 w 333789"/>
                <a:gd name="connsiteY541" fmla="*/ 146270 h 228390"/>
                <a:gd name="connsiteX542" fmla="*/ 65857 w 333789"/>
                <a:gd name="connsiteY542" fmla="*/ 146048 h 228390"/>
                <a:gd name="connsiteX543" fmla="*/ 66904 w 333789"/>
                <a:gd name="connsiteY543" fmla="*/ 147734 h 228390"/>
                <a:gd name="connsiteX544" fmla="*/ 65697 w 333789"/>
                <a:gd name="connsiteY544" fmla="*/ 147989 h 228390"/>
                <a:gd name="connsiteX545" fmla="*/ 64501 w 333789"/>
                <a:gd name="connsiteY545" fmla="*/ 147969 h 228390"/>
                <a:gd name="connsiteX546" fmla="*/ 61974 w 333789"/>
                <a:gd name="connsiteY546" fmla="*/ 147241 h 228390"/>
                <a:gd name="connsiteX547" fmla="*/ 59465 w 333789"/>
                <a:gd name="connsiteY547" fmla="*/ 147000 h 228390"/>
                <a:gd name="connsiteX548" fmla="*/ 58727 w 333789"/>
                <a:gd name="connsiteY548" fmla="*/ 147357 h 228390"/>
                <a:gd name="connsiteX549" fmla="*/ 59258 w 333789"/>
                <a:gd name="connsiteY549" fmla="*/ 147989 h 228390"/>
                <a:gd name="connsiteX550" fmla="*/ 60139 w 333789"/>
                <a:gd name="connsiteY550" fmla="*/ 149849 h 228390"/>
                <a:gd name="connsiteX551" fmla="*/ 60841 w 333789"/>
                <a:gd name="connsiteY551" fmla="*/ 151801 h 228390"/>
                <a:gd name="connsiteX552" fmla="*/ 57219 w 333789"/>
                <a:gd name="connsiteY552" fmla="*/ 152679 h 228390"/>
                <a:gd name="connsiteX553" fmla="*/ 53505 w 333789"/>
                <a:gd name="connsiteY553" fmla="*/ 153214 h 228390"/>
                <a:gd name="connsiteX554" fmla="*/ 49368 w 333789"/>
                <a:gd name="connsiteY554" fmla="*/ 154268 h 228390"/>
                <a:gd name="connsiteX555" fmla="*/ 45179 w 333789"/>
                <a:gd name="connsiteY555" fmla="*/ 154340 h 228390"/>
                <a:gd name="connsiteX556" fmla="*/ 43030 w 333789"/>
                <a:gd name="connsiteY556" fmla="*/ 153740 h 228390"/>
                <a:gd name="connsiteX557" fmla="*/ 40825 w 333789"/>
                <a:gd name="connsiteY557" fmla="*/ 153401 h 228390"/>
                <a:gd name="connsiteX558" fmla="*/ 38757 w 333789"/>
                <a:gd name="connsiteY558" fmla="*/ 153740 h 228390"/>
                <a:gd name="connsiteX559" fmla="*/ 36746 w 333789"/>
                <a:gd name="connsiteY559" fmla="*/ 154501 h 228390"/>
                <a:gd name="connsiteX560" fmla="*/ 35053 w 333789"/>
                <a:gd name="connsiteY560" fmla="*/ 154379 h 228390"/>
                <a:gd name="connsiteX561" fmla="*/ 33984 w 333789"/>
                <a:gd name="connsiteY561" fmla="*/ 153009 h 228390"/>
                <a:gd name="connsiteX562" fmla="*/ 33481 w 333789"/>
                <a:gd name="connsiteY562" fmla="*/ 151970 h 228390"/>
                <a:gd name="connsiteX563" fmla="*/ 32839 w 333789"/>
                <a:gd name="connsiteY563" fmla="*/ 151068 h 228390"/>
                <a:gd name="connsiteX564" fmla="*/ 31257 w 333789"/>
                <a:gd name="connsiteY564" fmla="*/ 151212 h 228390"/>
                <a:gd name="connsiteX565" fmla="*/ 29730 w 333789"/>
                <a:gd name="connsiteY565" fmla="*/ 151699 h 228390"/>
                <a:gd name="connsiteX566" fmla="*/ 32345 w 333789"/>
                <a:gd name="connsiteY566" fmla="*/ 151755 h 228390"/>
                <a:gd name="connsiteX567" fmla="*/ 33129 w 333789"/>
                <a:gd name="connsiteY567" fmla="*/ 152905 h 228390"/>
                <a:gd name="connsiteX568" fmla="*/ 33803 w 333789"/>
                <a:gd name="connsiteY568" fmla="*/ 154301 h 228390"/>
                <a:gd name="connsiteX569" fmla="*/ 35655 w 333789"/>
                <a:gd name="connsiteY569" fmla="*/ 155564 h 228390"/>
                <a:gd name="connsiteX570" fmla="*/ 37892 w 333789"/>
                <a:gd name="connsiteY570" fmla="*/ 154812 h 228390"/>
                <a:gd name="connsiteX571" fmla="*/ 42801 w 333789"/>
                <a:gd name="connsiteY571" fmla="*/ 155020 h 228390"/>
                <a:gd name="connsiteX572" fmla="*/ 47571 w 333789"/>
                <a:gd name="connsiteY572" fmla="*/ 157221 h 228390"/>
                <a:gd name="connsiteX573" fmla="*/ 48703 w 333789"/>
                <a:gd name="connsiteY573" fmla="*/ 157473 h 228390"/>
                <a:gd name="connsiteX574" fmla="*/ 49741 w 333789"/>
                <a:gd name="connsiteY574" fmla="*/ 157904 h 228390"/>
                <a:gd name="connsiteX575" fmla="*/ 52199 w 333789"/>
                <a:gd name="connsiteY575" fmla="*/ 160078 h 228390"/>
                <a:gd name="connsiteX576" fmla="*/ 54051 w 333789"/>
                <a:gd name="connsiteY576" fmla="*/ 162055 h 228390"/>
                <a:gd name="connsiteX577" fmla="*/ 55611 w 333789"/>
                <a:gd name="connsiteY577" fmla="*/ 164311 h 228390"/>
                <a:gd name="connsiteX578" fmla="*/ 55941 w 333789"/>
                <a:gd name="connsiteY578" fmla="*/ 165195 h 228390"/>
                <a:gd name="connsiteX579" fmla="*/ 55837 w 333789"/>
                <a:gd name="connsiteY579" fmla="*/ 167564 h 228390"/>
                <a:gd name="connsiteX580" fmla="*/ 55367 w 333789"/>
                <a:gd name="connsiteY580" fmla="*/ 168742 h 228390"/>
                <a:gd name="connsiteX581" fmla="*/ 52285 w 333789"/>
                <a:gd name="connsiteY581" fmla="*/ 170411 h 228390"/>
                <a:gd name="connsiteX582" fmla="*/ 48998 w 333789"/>
                <a:gd name="connsiteY582" fmla="*/ 171671 h 228390"/>
                <a:gd name="connsiteX583" fmla="*/ 44155 w 333789"/>
                <a:gd name="connsiteY583" fmla="*/ 174127 h 228390"/>
                <a:gd name="connsiteX584" fmla="*/ 39467 w 333789"/>
                <a:gd name="connsiteY584" fmla="*/ 176919 h 228390"/>
                <a:gd name="connsiteX585" fmla="*/ 37003 w 333789"/>
                <a:gd name="connsiteY585" fmla="*/ 176372 h 228390"/>
                <a:gd name="connsiteX586" fmla="*/ 34781 w 333789"/>
                <a:gd name="connsiteY586" fmla="*/ 174894 h 228390"/>
                <a:gd name="connsiteX587" fmla="*/ 33920 w 333789"/>
                <a:gd name="connsiteY587" fmla="*/ 174493 h 228390"/>
                <a:gd name="connsiteX588" fmla="*/ 31631 w 333789"/>
                <a:gd name="connsiteY588" fmla="*/ 173687 h 228390"/>
                <a:gd name="connsiteX589" fmla="*/ 30233 w 333789"/>
                <a:gd name="connsiteY589" fmla="*/ 173398 h 228390"/>
                <a:gd name="connsiteX590" fmla="*/ 24690 w 333789"/>
                <a:gd name="connsiteY590" fmla="*/ 174027 h 228390"/>
                <a:gd name="connsiteX591" fmla="*/ 19128 w 333789"/>
                <a:gd name="connsiteY591" fmla="*/ 174349 h 228390"/>
                <a:gd name="connsiteX592" fmla="*/ 16789 w 333789"/>
                <a:gd name="connsiteY592" fmla="*/ 174321 h 228390"/>
                <a:gd name="connsiteX593" fmla="*/ 14516 w 333789"/>
                <a:gd name="connsiteY593" fmla="*/ 173849 h 228390"/>
                <a:gd name="connsiteX594" fmla="*/ 12015 w 333789"/>
                <a:gd name="connsiteY594" fmla="*/ 172969 h 228390"/>
                <a:gd name="connsiteX595" fmla="*/ 9538 w 333789"/>
                <a:gd name="connsiteY595" fmla="*/ 173359 h 228390"/>
                <a:gd name="connsiteX596" fmla="*/ 7842 w 333789"/>
                <a:gd name="connsiteY596" fmla="*/ 174391 h 228390"/>
                <a:gd name="connsiteX597" fmla="*/ 5990 w 333789"/>
                <a:gd name="connsiteY597" fmla="*/ 174543 h 228390"/>
                <a:gd name="connsiteX598" fmla="*/ 2518 w 333789"/>
                <a:gd name="connsiteY598" fmla="*/ 172257 h 228390"/>
                <a:gd name="connsiteX599" fmla="*/ 2513 w 333789"/>
                <a:gd name="connsiteY599" fmla="*/ 171963 h 228390"/>
                <a:gd name="connsiteX600" fmla="*/ 2513 w 333789"/>
                <a:gd name="connsiteY600" fmla="*/ 167432 h 228390"/>
                <a:gd name="connsiteX601" fmla="*/ 2511 w 333789"/>
                <a:gd name="connsiteY601" fmla="*/ 162902 h 228390"/>
                <a:gd name="connsiteX602" fmla="*/ 2509 w 333789"/>
                <a:gd name="connsiteY602" fmla="*/ 158375 h 228390"/>
                <a:gd name="connsiteX603" fmla="*/ 2507 w 333789"/>
                <a:gd name="connsiteY603" fmla="*/ 153848 h 228390"/>
                <a:gd name="connsiteX604" fmla="*/ 2505 w 333789"/>
                <a:gd name="connsiteY604" fmla="*/ 149323 h 228390"/>
                <a:gd name="connsiteX605" fmla="*/ 2505 w 333789"/>
                <a:gd name="connsiteY605" fmla="*/ 144799 h 228390"/>
                <a:gd name="connsiteX606" fmla="*/ 2503 w 333789"/>
                <a:gd name="connsiteY606" fmla="*/ 140279 h 228390"/>
                <a:gd name="connsiteX607" fmla="*/ 2501 w 333789"/>
                <a:gd name="connsiteY607" fmla="*/ 135758 h 228390"/>
                <a:gd name="connsiteX608" fmla="*/ 2498 w 333789"/>
                <a:gd name="connsiteY608" fmla="*/ 131238 h 228390"/>
                <a:gd name="connsiteX609" fmla="*/ 2496 w 333789"/>
                <a:gd name="connsiteY609" fmla="*/ 126719 h 228390"/>
                <a:gd name="connsiteX610" fmla="*/ 2496 w 333789"/>
                <a:gd name="connsiteY610" fmla="*/ 123005 h 228390"/>
                <a:gd name="connsiteX611" fmla="*/ 1265 w 333789"/>
                <a:gd name="connsiteY611" fmla="*/ 121553 h 228390"/>
                <a:gd name="connsiteX612" fmla="*/ 0 w 333789"/>
                <a:gd name="connsiteY612" fmla="*/ 119332 h 228390"/>
                <a:gd name="connsiteX613" fmla="*/ 271 w 333789"/>
                <a:gd name="connsiteY613" fmla="*/ 116478 h 228390"/>
                <a:gd name="connsiteX614" fmla="*/ 1807 w 333789"/>
                <a:gd name="connsiteY614" fmla="*/ 112942 h 228390"/>
                <a:gd name="connsiteX615" fmla="*/ 2492 w 333789"/>
                <a:gd name="connsiteY615" fmla="*/ 110585 h 228390"/>
                <a:gd name="connsiteX616" fmla="*/ 2492 w 333789"/>
                <a:gd name="connsiteY616" fmla="*/ 108660 h 228390"/>
                <a:gd name="connsiteX617" fmla="*/ 2490 w 333789"/>
                <a:gd name="connsiteY617" fmla="*/ 104149 h 228390"/>
                <a:gd name="connsiteX618" fmla="*/ 2488 w 333789"/>
                <a:gd name="connsiteY618" fmla="*/ 99638 h 228390"/>
                <a:gd name="connsiteX619" fmla="*/ 2485 w 333789"/>
                <a:gd name="connsiteY619" fmla="*/ 95128 h 228390"/>
                <a:gd name="connsiteX620" fmla="*/ 2483 w 333789"/>
                <a:gd name="connsiteY620" fmla="*/ 90618 h 228390"/>
                <a:gd name="connsiteX621" fmla="*/ 2483 w 333789"/>
                <a:gd name="connsiteY621" fmla="*/ 86112 h 228390"/>
                <a:gd name="connsiteX622" fmla="*/ 2481 w 333789"/>
                <a:gd name="connsiteY622" fmla="*/ 81605 h 228390"/>
                <a:gd name="connsiteX623" fmla="*/ 2478 w 333789"/>
                <a:gd name="connsiteY623" fmla="*/ 77098 h 228390"/>
                <a:gd name="connsiteX624" fmla="*/ 2477 w 333789"/>
                <a:gd name="connsiteY624" fmla="*/ 72592 h 228390"/>
                <a:gd name="connsiteX625" fmla="*/ 2474 w 333789"/>
                <a:gd name="connsiteY625" fmla="*/ 68090 h 228390"/>
                <a:gd name="connsiteX626" fmla="*/ 2474 w 333789"/>
                <a:gd name="connsiteY626" fmla="*/ 63586 h 228390"/>
                <a:gd name="connsiteX627" fmla="*/ 2471 w 333789"/>
                <a:gd name="connsiteY627" fmla="*/ 59082 h 228390"/>
                <a:gd name="connsiteX628" fmla="*/ 2471 w 333789"/>
                <a:gd name="connsiteY628" fmla="*/ 54580 h 228390"/>
                <a:gd name="connsiteX629" fmla="*/ 2467 w 333789"/>
                <a:gd name="connsiteY629" fmla="*/ 50080 h 228390"/>
                <a:gd name="connsiteX630" fmla="*/ 2466 w 333789"/>
                <a:gd name="connsiteY630" fmla="*/ 45579 h 228390"/>
                <a:gd name="connsiteX631" fmla="*/ 2464 w 333789"/>
                <a:gd name="connsiteY631" fmla="*/ 41078 h 228390"/>
                <a:gd name="connsiteX632" fmla="*/ 2461 w 333789"/>
                <a:gd name="connsiteY632" fmla="*/ 36578 h 228390"/>
                <a:gd name="connsiteX633" fmla="*/ 2460 w 333789"/>
                <a:gd name="connsiteY633" fmla="*/ 32081 h 228390"/>
                <a:gd name="connsiteX634" fmla="*/ 2457 w 333789"/>
                <a:gd name="connsiteY634" fmla="*/ 29373 h 228390"/>
                <a:gd name="connsiteX635" fmla="*/ 2457 w 333789"/>
                <a:gd name="connsiteY635" fmla="*/ 27880 h 228390"/>
                <a:gd name="connsiteX636" fmla="*/ 220305 w 333789"/>
                <a:gd name="connsiteY636" fmla="*/ 26981 h 228390"/>
                <a:gd name="connsiteX637" fmla="*/ 224062 w 333789"/>
                <a:gd name="connsiteY637" fmla="*/ 29533 h 228390"/>
                <a:gd name="connsiteX638" fmla="*/ 228027 w 333789"/>
                <a:gd name="connsiteY638" fmla="*/ 31763 h 228390"/>
                <a:gd name="connsiteX639" fmla="*/ 229173 w 333789"/>
                <a:gd name="connsiteY639" fmla="*/ 33561 h 228390"/>
                <a:gd name="connsiteX640" fmla="*/ 231126 w 333789"/>
                <a:gd name="connsiteY640" fmla="*/ 33671 h 228390"/>
                <a:gd name="connsiteX641" fmla="*/ 234677 w 333789"/>
                <a:gd name="connsiteY641" fmla="*/ 35158 h 228390"/>
                <a:gd name="connsiteX642" fmla="*/ 237117 w 333789"/>
                <a:gd name="connsiteY642" fmla="*/ 36498 h 228390"/>
                <a:gd name="connsiteX643" fmla="*/ 239420 w 333789"/>
                <a:gd name="connsiteY643" fmla="*/ 38043 h 228390"/>
                <a:gd name="connsiteX644" fmla="*/ 242013 w 333789"/>
                <a:gd name="connsiteY644" fmla="*/ 40256 h 228390"/>
                <a:gd name="connsiteX645" fmla="*/ 247005 w 333789"/>
                <a:gd name="connsiteY645" fmla="*/ 41994 h 228390"/>
                <a:gd name="connsiteX646" fmla="*/ 247716 w 333789"/>
                <a:gd name="connsiteY646" fmla="*/ 42626 h 228390"/>
                <a:gd name="connsiteX647" fmla="*/ 250245 w 333789"/>
                <a:gd name="connsiteY647" fmla="*/ 45514 h 228390"/>
                <a:gd name="connsiteX648" fmla="*/ 253564 w 333789"/>
                <a:gd name="connsiteY648" fmla="*/ 47963 h 228390"/>
                <a:gd name="connsiteX649" fmla="*/ 254691 w 333789"/>
                <a:gd name="connsiteY649" fmla="*/ 49313 h 228390"/>
                <a:gd name="connsiteX650" fmla="*/ 268761 w 333789"/>
                <a:gd name="connsiteY650" fmla="*/ 60910 h 228390"/>
                <a:gd name="connsiteX651" fmla="*/ 271137 w 333789"/>
                <a:gd name="connsiteY651" fmla="*/ 64159 h 228390"/>
                <a:gd name="connsiteX652" fmla="*/ 271320 w 333789"/>
                <a:gd name="connsiteY652" fmla="*/ 66376 h 228390"/>
                <a:gd name="connsiteX653" fmla="*/ 270856 w 333789"/>
                <a:gd name="connsiteY653" fmla="*/ 67246 h 228390"/>
                <a:gd name="connsiteX654" fmla="*/ 269371 w 333789"/>
                <a:gd name="connsiteY654" fmla="*/ 69122 h 228390"/>
                <a:gd name="connsiteX655" fmla="*/ 269398 w 333789"/>
                <a:gd name="connsiteY655" fmla="*/ 71337 h 228390"/>
                <a:gd name="connsiteX656" fmla="*/ 268904 w 333789"/>
                <a:gd name="connsiteY656" fmla="*/ 73330 h 228390"/>
                <a:gd name="connsiteX657" fmla="*/ 267634 w 333789"/>
                <a:gd name="connsiteY657" fmla="*/ 75326 h 228390"/>
                <a:gd name="connsiteX658" fmla="*/ 265995 w 333789"/>
                <a:gd name="connsiteY658" fmla="*/ 77012 h 228390"/>
                <a:gd name="connsiteX659" fmla="*/ 264976 w 333789"/>
                <a:gd name="connsiteY659" fmla="*/ 75440 h 228390"/>
                <a:gd name="connsiteX660" fmla="*/ 263669 w 333789"/>
                <a:gd name="connsiteY660" fmla="*/ 74064 h 228390"/>
                <a:gd name="connsiteX661" fmla="*/ 262639 w 333789"/>
                <a:gd name="connsiteY661" fmla="*/ 72655 h 228390"/>
                <a:gd name="connsiteX662" fmla="*/ 261329 w 333789"/>
                <a:gd name="connsiteY662" fmla="*/ 69611 h 228390"/>
                <a:gd name="connsiteX663" fmla="*/ 261264 w 333789"/>
                <a:gd name="connsiteY663" fmla="*/ 68077 h 228390"/>
                <a:gd name="connsiteX664" fmla="*/ 261610 w 333789"/>
                <a:gd name="connsiteY664" fmla="*/ 66454 h 228390"/>
                <a:gd name="connsiteX665" fmla="*/ 261685 w 333789"/>
                <a:gd name="connsiteY665" fmla="*/ 64817 h 228390"/>
                <a:gd name="connsiteX666" fmla="*/ 261052 w 333789"/>
                <a:gd name="connsiteY666" fmla="*/ 61490 h 228390"/>
                <a:gd name="connsiteX667" fmla="*/ 259511 w 333789"/>
                <a:gd name="connsiteY667" fmla="*/ 58455 h 228390"/>
                <a:gd name="connsiteX668" fmla="*/ 254144 w 333789"/>
                <a:gd name="connsiteY668" fmla="*/ 51222 h 228390"/>
                <a:gd name="connsiteX669" fmla="*/ 252455 w 333789"/>
                <a:gd name="connsiteY669" fmla="*/ 49323 h 228390"/>
                <a:gd name="connsiteX670" fmla="*/ 250528 w 333789"/>
                <a:gd name="connsiteY670" fmla="*/ 47628 h 228390"/>
                <a:gd name="connsiteX671" fmla="*/ 249292 w 333789"/>
                <a:gd name="connsiteY671" fmla="*/ 47213 h 228390"/>
                <a:gd name="connsiteX672" fmla="*/ 246791 w 333789"/>
                <a:gd name="connsiteY672" fmla="*/ 46806 h 228390"/>
                <a:gd name="connsiteX673" fmla="*/ 245680 w 333789"/>
                <a:gd name="connsiteY673" fmla="*/ 46467 h 228390"/>
                <a:gd name="connsiteX674" fmla="*/ 243619 w 333789"/>
                <a:gd name="connsiteY674" fmla="*/ 45287 h 228390"/>
                <a:gd name="connsiteX675" fmla="*/ 241704 w 333789"/>
                <a:gd name="connsiteY675" fmla="*/ 43910 h 228390"/>
                <a:gd name="connsiteX676" fmla="*/ 236958 w 333789"/>
                <a:gd name="connsiteY676" fmla="*/ 39829 h 228390"/>
                <a:gd name="connsiteX677" fmla="*/ 234449 w 333789"/>
                <a:gd name="connsiteY677" fmla="*/ 38674 h 228390"/>
                <a:gd name="connsiteX678" fmla="*/ 233123 w 333789"/>
                <a:gd name="connsiteY678" fmla="*/ 37248 h 228390"/>
                <a:gd name="connsiteX679" fmla="*/ 225643 w 333789"/>
                <a:gd name="connsiteY679" fmla="*/ 32647 h 228390"/>
                <a:gd name="connsiteX680" fmla="*/ 223459 w 333789"/>
                <a:gd name="connsiteY680" fmla="*/ 31560 h 228390"/>
                <a:gd name="connsiteX681" fmla="*/ 220801 w 333789"/>
                <a:gd name="connsiteY681" fmla="*/ 31558 h 228390"/>
                <a:gd name="connsiteX682" fmla="*/ 218551 w 333789"/>
                <a:gd name="connsiteY682" fmla="*/ 30652 h 228390"/>
                <a:gd name="connsiteX683" fmla="*/ 220329 w 333789"/>
                <a:gd name="connsiteY683" fmla="*/ 30077 h 228390"/>
                <a:gd name="connsiteX684" fmla="*/ 220694 w 333789"/>
                <a:gd name="connsiteY684" fmla="*/ 28543 h 228390"/>
                <a:gd name="connsiteX685" fmla="*/ 207076 w 333789"/>
                <a:gd name="connsiteY685" fmla="*/ 22804 h 228390"/>
                <a:gd name="connsiteX686" fmla="*/ 211551 w 333789"/>
                <a:gd name="connsiteY686" fmla="*/ 24712 h 228390"/>
                <a:gd name="connsiteX687" fmla="*/ 212004 w 333789"/>
                <a:gd name="connsiteY687" fmla="*/ 25660 h 228390"/>
                <a:gd name="connsiteX688" fmla="*/ 212038 w 333789"/>
                <a:gd name="connsiteY688" fmla="*/ 26276 h 228390"/>
                <a:gd name="connsiteX689" fmla="*/ 211917 w 333789"/>
                <a:gd name="connsiteY689" fmla="*/ 28294 h 228390"/>
                <a:gd name="connsiteX690" fmla="*/ 211708 w 333789"/>
                <a:gd name="connsiteY690" fmla="*/ 28947 h 228390"/>
                <a:gd name="connsiteX691" fmla="*/ 207305 w 333789"/>
                <a:gd name="connsiteY691" fmla="*/ 29250 h 228390"/>
                <a:gd name="connsiteX692" fmla="*/ 205718 w 333789"/>
                <a:gd name="connsiteY692" fmla="*/ 28913 h 228390"/>
                <a:gd name="connsiteX693" fmla="*/ 204299 w 333789"/>
                <a:gd name="connsiteY693" fmla="*/ 27636 h 228390"/>
                <a:gd name="connsiteX694" fmla="*/ 203014 w 333789"/>
                <a:gd name="connsiteY694" fmla="*/ 25643 h 228390"/>
                <a:gd name="connsiteX695" fmla="*/ 201725 w 333789"/>
                <a:gd name="connsiteY695" fmla="*/ 25179 h 228390"/>
                <a:gd name="connsiteX696" fmla="*/ 201205 w 333789"/>
                <a:gd name="connsiteY696" fmla="*/ 24788 h 228390"/>
                <a:gd name="connsiteX697" fmla="*/ 204321 w 333789"/>
                <a:gd name="connsiteY697" fmla="*/ 23265 h 228390"/>
                <a:gd name="connsiteX698" fmla="*/ 154200 w 333789"/>
                <a:gd name="connsiteY698" fmla="*/ 19764 h 228390"/>
                <a:gd name="connsiteX699" fmla="*/ 155109 w 333789"/>
                <a:gd name="connsiteY699" fmla="*/ 20568 h 228390"/>
                <a:gd name="connsiteX700" fmla="*/ 154392 w 333789"/>
                <a:gd name="connsiteY700" fmla="*/ 21732 h 228390"/>
                <a:gd name="connsiteX701" fmla="*/ 152720 w 333789"/>
                <a:gd name="connsiteY701" fmla="*/ 21633 h 228390"/>
                <a:gd name="connsiteX702" fmla="*/ 151982 w 333789"/>
                <a:gd name="connsiteY702" fmla="*/ 21286 h 228390"/>
                <a:gd name="connsiteX703" fmla="*/ 153191 w 333789"/>
                <a:gd name="connsiteY703" fmla="*/ 21065 h 228390"/>
                <a:gd name="connsiteX704" fmla="*/ 153677 w 333789"/>
                <a:gd name="connsiteY704" fmla="*/ 20103 h 228390"/>
                <a:gd name="connsiteX705" fmla="*/ 132558 w 333789"/>
                <a:gd name="connsiteY705" fmla="*/ 13167 h 228390"/>
                <a:gd name="connsiteX706" fmla="*/ 137212 w 333789"/>
                <a:gd name="connsiteY706" fmla="*/ 13424 h 228390"/>
                <a:gd name="connsiteX707" fmla="*/ 144575 w 333789"/>
                <a:gd name="connsiteY707" fmla="*/ 14860 h 228390"/>
                <a:gd name="connsiteX708" fmla="*/ 145061 w 333789"/>
                <a:gd name="connsiteY708" fmla="*/ 14843 h 228390"/>
                <a:gd name="connsiteX709" fmla="*/ 144977 w 333789"/>
                <a:gd name="connsiteY709" fmla="*/ 14329 h 228390"/>
                <a:gd name="connsiteX710" fmla="*/ 145101 w 333789"/>
                <a:gd name="connsiteY710" fmla="*/ 14184 h 228390"/>
                <a:gd name="connsiteX711" fmla="*/ 145538 w 333789"/>
                <a:gd name="connsiteY711" fmla="*/ 14560 h 228390"/>
                <a:gd name="connsiteX712" fmla="*/ 145404 w 333789"/>
                <a:gd name="connsiteY712" fmla="*/ 15610 h 228390"/>
                <a:gd name="connsiteX713" fmla="*/ 144240 w 333789"/>
                <a:gd name="connsiteY713" fmla="*/ 15867 h 228390"/>
                <a:gd name="connsiteX714" fmla="*/ 143159 w 333789"/>
                <a:gd name="connsiteY714" fmla="*/ 15766 h 228390"/>
                <a:gd name="connsiteX715" fmla="*/ 142381 w 333789"/>
                <a:gd name="connsiteY715" fmla="*/ 16306 h 228390"/>
                <a:gd name="connsiteX716" fmla="*/ 140280 w 333789"/>
                <a:gd name="connsiteY716" fmla="*/ 18330 h 228390"/>
                <a:gd name="connsiteX717" fmla="*/ 138861 w 333789"/>
                <a:gd name="connsiteY717" fmla="*/ 17991 h 228390"/>
                <a:gd name="connsiteX718" fmla="*/ 137130 w 333789"/>
                <a:gd name="connsiteY718" fmla="*/ 18444 h 228390"/>
                <a:gd name="connsiteX719" fmla="*/ 134089 w 333789"/>
                <a:gd name="connsiteY719" fmla="*/ 18488 h 228390"/>
                <a:gd name="connsiteX720" fmla="*/ 130142 w 333789"/>
                <a:gd name="connsiteY720" fmla="*/ 17597 h 228390"/>
                <a:gd name="connsiteX721" fmla="*/ 129064 w 333789"/>
                <a:gd name="connsiteY721" fmla="*/ 18347 h 228390"/>
                <a:gd name="connsiteX722" fmla="*/ 127656 w 333789"/>
                <a:gd name="connsiteY722" fmla="*/ 18140 h 228390"/>
                <a:gd name="connsiteX723" fmla="*/ 126264 w 333789"/>
                <a:gd name="connsiteY723" fmla="*/ 18961 h 228390"/>
                <a:gd name="connsiteX724" fmla="*/ 125689 w 333789"/>
                <a:gd name="connsiteY724" fmla="*/ 18920 h 228390"/>
                <a:gd name="connsiteX725" fmla="*/ 125355 w 333789"/>
                <a:gd name="connsiteY725" fmla="*/ 17714 h 228390"/>
                <a:gd name="connsiteX726" fmla="*/ 125378 w 333789"/>
                <a:gd name="connsiteY726" fmla="*/ 17096 h 228390"/>
                <a:gd name="connsiteX727" fmla="*/ 127027 w 333789"/>
                <a:gd name="connsiteY727" fmla="*/ 16573 h 228390"/>
                <a:gd name="connsiteX728" fmla="*/ 126782 w 333789"/>
                <a:gd name="connsiteY728" fmla="*/ 14679 h 228390"/>
                <a:gd name="connsiteX729" fmla="*/ 128116 w 333789"/>
                <a:gd name="connsiteY729" fmla="*/ 13731 h 228390"/>
                <a:gd name="connsiteX730" fmla="*/ 130412 w 333789"/>
                <a:gd name="connsiteY730" fmla="*/ 13813 h 228390"/>
                <a:gd name="connsiteX731" fmla="*/ 192788 w 333789"/>
                <a:gd name="connsiteY731" fmla="*/ 0 h 228390"/>
                <a:gd name="connsiteX732" fmla="*/ 193939 w 333789"/>
                <a:gd name="connsiteY732" fmla="*/ 194 h 228390"/>
                <a:gd name="connsiteX733" fmla="*/ 195980 w 333789"/>
                <a:gd name="connsiteY733" fmla="*/ 1712 h 228390"/>
                <a:gd name="connsiteX734" fmla="*/ 196866 w 333789"/>
                <a:gd name="connsiteY734" fmla="*/ 4419 h 228390"/>
                <a:gd name="connsiteX735" fmla="*/ 196817 w 333789"/>
                <a:gd name="connsiteY735" fmla="*/ 5218 h 228390"/>
                <a:gd name="connsiteX736" fmla="*/ 195219 w 333789"/>
                <a:gd name="connsiteY736" fmla="*/ 4814 h 228390"/>
                <a:gd name="connsiteX737" fmla="*/ 194781 w 333789"/>
                <a:gd name="connsiteY737" fmla="*/ 4933 h 228390"/>
                <a:gd name="connsiteX738" fmla="*/ 192012 w 333789"/>
                <a:gd name="connsiteY738" fmla="*/ 2620 h 228390"/>
                <a:gd name="connsiteX739" fmla="*/ 192056 w 333789"/>
                <a:gd name="connsiteY739" fmla="*/ 1205 h 2283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</a:cxnLst>
              <a:rect l="l" t="t" r="r" b="b"/>
              <a:pathLst>
                <a:path w="333789" h="228390">
                  <a:moveTo>
                    <a:pt x="272892" y="221525"/>
                  </a:moveTo>
                  <a:lnTo>
                    <a:pt x="275173" y="222247"/>
                  </a:lnTo>
                  <a:lnTo>
                    <a:pt x="280245" y="224930"/>
                  </a:lnTo>
                  <a:lnTo>
                    <a:pt x="283939" y="226103"/>
                  </a:lnTo>
                  <a:lnTo>
                    <a:pt x="285192" y="227398"/>
                  </a:lnTo>
                  <a:lnTo>
                    <a:pt x="283858" y="227987"/>
                  </a:lnTo>
                  <a:lnTo>
                    <a:pt x="280633" y="228390"/>
                  </a:lnTo>
                  <a:lnTo>
                    <a:pt x="279871" y="227597"/>
                  </a:lnTo>
                  <a:lnTo>
                    <a:pt x="276770" y="226799"/>
                  </a:lnTo>
                  <a:lnTo>
                    <a:pt x="276284" y="225353"/>
                  </a:lnTo>
                  <a:lnTo>
                    <a:pt x="274732" y="225845"/>
                  </a:lnTo>
                  <a:lnTo>
                    <a:pt x="275517" y="224825"/>
                  </a:lnTo>
                  <a:lnTo>
                    <a:pt x="273574" y="223679"/>
                  </a:lnTo>
                  <a:lnTo>
                    <a:pt x="272968" y="222147"/>
                  </a:lnTo>
                  <a:close/>
                  <a:moveTo>
                    <a:pt x="292752" y="221241"/>
                  </a:moveTo>
                  <a:lnTo>
                    <a:pt x="295762" y="221855"/>
                  </a:lnTo>
                  <a:lnTo>
                    <a:pt x="296710" y="222361"/>
                  </a:lnTo>
                  <a:lnTo>
                    <a:pt x="296384" y="223581"/>
                  </a:lnTo>
                  <a:lnTo>
                    <a:pt x="295578" y="223168"/>
                  </a:lnTo>
                  <a:lnTo>
                    <a:pt x="293181" y="223800"/>
                  </a:lnTo>
                  <a:lnTo>
                    <a:pt x="291919" y="223658"/>
                  </a:lnTo>
                  <a:lnTo>
                    <a:pt x="291191" y="222564"/>
                  </a:lnTo>
                  <a:lnTo>
                    <a:pt x="291020" y="222059"/>
                  </a:lnTo>
                  <a:lnTo>
                    <a:pt x="293104" y="222453"/>
                  </a:lnTo>
                  <a:close/>
                  <a:moveTo>
                    <a:pt x="221337" y="204248"/>
                  </a:moveTo>
                  <a:lnTo>
                    <a:pt x="221926" y="204549"/>
                  </a:lnTo>
                  <a:lnTo>
                    <a:pt x="221615" y="206296"/>
                  </a:lnTo>
                  <a:lnTo>
                    <a:pt x="219795" y="205776"/>
                  </a:lnTo>
                  <a:lnTo>
                    <a:pt x="219428" y="205401"/>
                  </a:lnTo>
                  <a:lnTo>
                    <a:pt x="219729" y="204298"/>
                  </a:lnTo>
                  <a:close/>
                  <a:moveTo>
                    <a:pt x="219214" y="185424"/>
                  </a:moveTo>
                  <a:lnTo>
                    <a:pt x="220112" y="186024"/>
                  </a:lnTo>
                  <a:lnTo>
                    <a:pt x="221121" y="187508"/>
                  </a:lnTo>
                  <a:lnTo>
                    <a:pt x="225303" y="190555"/>
                  </a:lnTo>
                  <a:lnTo>
                    <a:pt x="225141" y="191541"/>
                  </a:lnTo>
                  <a:lnTo>
                    <a:pt x="225956" y="192368"/>
                  </a:lnTo>
                  <a:lnTo>
                    <a:pt x="226895" y="192370"/>
                  </a:lnTo>
                  <a:lnTo>
                    <a:pt x="228463" y="190702"/>
                  </a:lnTo>
                  <a:lnTo>
                    <a:pt x="229819" y="190192"/>
                  </a:lnTo>
                  <a:lnTo>
                    <a:pt x="230722" y="190952"/>
                  </a:lnTo>
                  <a:lnTo>
                    <a:pt x="229271" y="196268"/>
                  </a:lnTo>
                  <a:lnTo>
                    <a:pt x="228046" y="195467"/>
                  </a:lnTo>
                  <a:lnTo>
                    <a:pt x="223263" y="193986"/>
                  </a:lnTo>
                  <a:lnTo>
                    <a:pt x="223114" y="191884"/>
                  </a:lnTo>
                  <a:lnTo>
                    <a:pt x="221868" y="191205"/>
                  </a:lnTo>
                  <a:lnTo>
                    <a:pt x="221099" y="189154"/>
                  </a:lnTo>
                  <a:lnTo>
                    <a:pt x="219514" y="186880"/>
                  </a:lnTo>
                  <a:close/>
                  <a:moveTo>
                    <a:pt x="213086" y="177315"/>
                  </a:moveTo>
                  <a:lnTo>
                    <a:pt x="213738" y="177337"/>
                  </a:lnTo>
                  <a:lnTo>
                    <a:pt x="216847" y="179164"/>
                  </a:lnTo>
                  <a:lnTo>
                    <a:pt x="218560" y="178629"/>
                  </a:lnTo>
                  <a:lnTo>
                    <a:pt x="219493" y="178929"/>
                  </a:lnTo>
                  <a:lnTo>
                    <a:pt x="221493" y="181042"/>
                  </a:lnTo>
                  <a:lnTo>
                    <a:pt x="221603" y="182587"/>
                  </a:lnTo>
                  <a:lnTo>
                    <a:pt x="221925" y="183914"/>
                  </a:lnTo>
                  <a:lnTo>
                    <a:pt x="221823" y="184496"/>
                  </a:lnTo>
                  <a:lnTo>
                    <a:pt x="220717" y="185285"/>
                  </a:lnTo>
                  <a:lnTo>
                    <a:pt x="220810" y="184387"/>
                  </a:lnTo>
                  <a:lnTo>
                    <a:pt x="219963" y="184212"/>
                  </a:lnTo>
                  <a:lnTo>
                    <a:pt x="217053" y="184252"/>
                  </a:lnTo>
                  <a:lnTo>
                    <a:pt x="214796" y="183685"/>
                  </a:lnTo>
                  <a:lnTo>
                    <a:pt x="211700" y="183539"/>
                  </a:lnTo>
                  <a:lnTo>
                    <a:pt x="213006" y="182136"/>
                  </a:lnTo>
                  <a:lnTo>
                    <a:pt x="213298" y="181565"/>
                  </a:lnTo>
                  <a:lnTo>
                    <a:pt x="211665" y="179308"/>
                  </a:lnTo>
                  <a:lnTo>
                    <a:pt x="211593" y="178230"/>
                  </a:lnTo>
                  <a:lnTo>
                    <a:pt x="211724" y="177635"/>
                  </a:lnTo>
                  <a:close/>
                  <a:moveTo>
                    <a:pt x="206660" y="174210"/>
                  </a:moveTo>
                  <a:lnTo>
                    <a:pt x="209132" y="175499"/>
                  </a:lnTo>
                  <a:lnTo>
                    <a:pt x="209948" y="177392"/>
                  </a:lnTo>
                  <a:lnTo>
                    <a:pt x="210194" y="178450"/>
                  </a:lnTo>
                  <a:lnTo>
                    <a:pt x="209691" y="180622"/>
                  </a:lnTo>
                  <a:lnTo>
                    <a:pt x="209380" y="181173"/>
                  </a:lnTo>
                  <a:lnTo>
                    <a:pt x="208087" y="180768"/>
                  </a:lnTo>
                  <a:lnTo>
                    <a:pt x="204481" y="177679"/>
                  </a:lnTo>
                  <a:lnTo>
                    <a:pt x="205038" y="175397"/>
                  </a:lnTo>
                  <a:close/>
                  <a:moveTo>
                    <a:pt x="260229" y="168705"/>
                  </a:moveTo>
                  <a:lnTo>
                    <a:pt x="261519" y="169044"/>
                  </a:lnTo>
                  <a:lnTo>
                    <a:pt x="264190" y="168879"/>
                  </a:lnTo>
                  <a:lnTo>
                    <a:pt x="265069" y="170156"/>
                  </a:lnTo>
                  <a:lnTo>
                    <a:pt x="266291" y="170596"/>
                  </a:lnTo>
                  <a:lnTo>
                    <a:pt x="267349" y="171173"/>
                  </a:lnTo>
                  <a:lnTo>
                    <a:pt x="268286" y="172013"/>
                  </a:lnTo>
                  <a:lnTo>
                    <a:pt x="268280" y="172525"/>
                  </a:lnTo>
                  <a:lnTo>
                    <a:pt x="268057" y="172971"/>
                  </a:lnTo>
                  <a:lnTo>
                    <a:pt x="267489" y="173370"/>
                  </a:lnTo>
                  <a:lnTo>
                    <a:pt x="267658" y="174269"/>
                  </a:lnTo>
                  <a:lnTo>
                    <a:pt x="266682" y="174136"/>
                  </a:lnTo>
                  <a:lnTo>
                    <a:pt x="265459" y="174611"/>
                  </a:lnTo>
                  <a:lnTo>
                    <a:pt x="263072" y="173559"/>
                  </a:lnTo>
                  <a:lnTo>
                    <a:pt x="262201" y="173322"/>
                  </a:lnTo>
                  <a:lnTo>
                    <a:pt x="261938" y="172421"/>
                  </a:lnTo>
                  <a:lnTo>
                    <a:pt x="260387" y="170912"/>
                  </a:lnTo>
                  <a:lnTo>
                    <a:pt x="257668" y="169830"/>
                  </a:lnTo>
                  <a:lnTo>
                    <a:pt x="259038" y="168942"/>
                  </a:lnTo>
                  <a:close/>
                  <a:moveTo>
                    <a:pt x="51842" y="156766"/>
                  </a:moveTo>
                  <a:lnTo>
                    <a:pt x="53749" y="157864"/>
                  </a:lnTo>
                  <a:lnTo>
                    <a:pt x="57073" y="158893"/>
                  </a:lnTo>
                  <a:lnTo>
                    <a:pt x="60322" y="161442"/>
                  </a:lnTo>
                  <a:lnTo>
                    <a:pt x="60717" y="162416"/>
                  </a:lnTo>
                  <a:lnTo>
                    <a:pt x="57502" y="161079"/>
                  </a:lnTo>
                  <a:lnTo>
                    <a:pt x="54436" y="158845"/>
                  </a:lnTo>
                  <a:lnTo>
                    <a:pt x="52881" y="158238"/>
                  </a:lnTo>
                  <a:close/>
                  <a:moveTo>
                    <a:pt x="226765" y="156664"/>
                  </a:moveTo>
                  <a:lnTo>
                    <a:pt x="226740" y="158958"/>
                  </a:lnTo>
                  <a:lnTo>
                    <a:pt x="227230" y="159987"/>
                  </a:lnTo>
                  <a:lnTo>
                    <a:pt x="226528" y="163672"/>
                  </a:lnTo>
                  <a:lnTo>
                    <a:pt x="226910" y="165262"/>
                  </a:lnTo>
                  <a:lnTo>
                    <a:pt x="225187" y="163556"/>
                  </a:lnTo>
                  <a:lnTo>
                    <a:pt x="225951" y="161629"/>
                  </a:lnTo>
                  <a:lnTo>
                    <a:pt x="226086" y="160587"/>
                  </a:lnTo>
                  <a:lnTo>
                    <a:pt x="225997" y="160000"/>
                  </a:lnTo>
                  <a:lnTo>
                    <a:pt x="224276" y="159002"/>
                  </a:lnTo>
                  <a:lnTo>
                    <a:pt x="225190" y="157371"/>
                  </a:lnTo>
                  <a:lnTo>
                    <a:pt x="226158" y="156823"/>
                  </a:lnTo>
                  <a:close/>
                  <a:moveTo>
                    <a:pt x="54386" y="155522"/>
                  </a:moveTo>
                  <a:lnTo>
                    <a:pt x="58949" y="155766"/>
                  </a:lnTo>
                  <a:lnTo>
                    <a:pt x="60126" y="156042"/>
                  </a:lnTo>
                  <a:lnTo>
                    <a:pt x="60372" y="157580"/>
                  </a:lnTo>
                  <a:lnTo>
                    <a:pt x="60245" y="158064"/>
                  </a:lnTo>
                  <a:lnTo>
                    <a:pt x="59279" y="158132"/>
                  </a:lnTo>
                  <a:lnTo>
                    <a:pt x="55382" y="156620"/>
                  </a:lnTo>
                  <a:close/>
                  <a:moveTo>
                    <a:pt x="154435" y="91608"/>
                  </a:moveTo>
                  <a:lnTo>
                    <a:pt x="159041" y="94285"/>
                  </a:lnTo>
                  <a:lnTo>
                    <a:pt x="159511" y="95143"/>
                  </a:lnTo>
                  <a:lnTo>
                    <a:pt x="159166" y="97682"/>
                  </a:lnTo>
                  <a:lnTo>
                    <a:pt x="158400" y="99051"/>
                  </a:lnTo>
                  <a:lnTo>
                    <a:pt x="157508" y="99220"/>
                  </a:lnTo>
                  <a:lnTo>
                    <a:pt x="157122" y="98212"/>
                  </a:lnTo>
                  <a:lnTo>
                    <a:pt x="155054" y="97339"/>
                  </a:lnTo>
                  <a:lnTo>
                    <a:pt x="152988" y="94634"/>
                  </a:lnTo>
                  <a:lnTo>
                    <a:pt x="153020" y="92310"/>
                  </a:lnTo>
                  <a:lnTo>
                    <a:pt x="153288" y="91642"/>
                  </a:lnTo>
                  <a:close/>
                  <a:moveTo>
                    <a:pt x="306628" y="90579"/>
                  </a:moveTo>
                  <a:lnTo>
                    <a:pt x="307587" y="90794"/>
                  </a:lnTo>
                  <a:lnTo>
                    <a:pt x="308600" y="91679"/>
                  </a:lnTo>
                  <a:lnTo>
                    <a:pt x="309751" y="92286"/>
                  </a:lnTo>
                  <a:lnTo>
                    <a:pt x="312549" y="92697"/>
                  </a:lnTo>
                  <a:lnTo>
                    <a:pt x="314689" y="94478"/>
                  </a:lnTo>
                  <a:lnTo>
                    <a:pt x="316743" y="97955"/>
                  </a:lnTo>
                  <a:lnTo>
                    <a:pt x="316989" y="99094"/>
                  </a:lnTo>
                  <a:lnTo>
                    <a:pt x="317645" y="99913"/>
                  </a:lnTo>
                  <a:lnTo>
                    <a:pt x="319757" y="101389"/>
                  </a:lnTo>
                  <a:lnTo>
                    <a:pt x="320852" y="102336"/>
                  </a:lnTo>
                  <a:lnTo>
                    <a:pt x="322940" y="106124"/>
                  </a:lnTo>
                  <a:lnTo>
                    <a:pt x="324097" y="106932"/>
                  </a:lnTo>
                  <a:lnTo>
                    <a:pt x="325462" y="107257"/>
                  </a:lnTo>
                  <a:lnTo>
                    <a:pt x="326732" y="107804"/>
                  </a:lnTo>
                  <a:lnTo>
                    <a:pt x="328848" y="109466"/>
                  </a:lnTo>
                  <a:lnTo>
                    <a:pt x="330802" y="111348"/>
                  </a:lnTo>
                  <a:lnTo>
                    <a:pt x="332123" y="113327"/>
                  </a:lnTo>
                  <a:lnTo>
                    <a:pt x="333126" y="115446"/>
                  </a:lnTo>
                  <a:lnTo>
                    <a:pt x="333789" y="118150"/>
                  </a:lnTo>
                  <a:lnTo>
                    <a:pt x="333249" y="120230"/>
                  </a:lnTo>
                  <a:lnTo>
                    <a:pt x="332846" y="120590"/>
                  </a:lnTo>
                  <a:lnTo>
                    <a:pt x="332336" y="119809"/>
                  </a:lnTo>
                  <a:lnTo>
                    <a:pt x="330414" y="120566"/>
                  </a:lnTo>
                  <a:lnTo>
                    <a:pt x="329496" y="121428"/>
                  </a:lnTo>
                  <a:lnTo>
                    <a:pt x="328520" y="122059"/>
                  </a:lnTo>
                  <a:lnTo>
                    <a:pt x="326266" y="121907"/>
                  </a:lnTo>
                  <a:lnTo>
                    <a:pt x="324132" y="121336"/>
                  </a:lnTo>
                  <a:lnTo>
                    <a:pt x="322063" y="120280"/>
                  </a:lnTo>
                  <a:lnTo>
                    <a:pt x="320222" y="118925"/>
                  </a:lnTo>
                  <a:lnTo>
                    <a:pt x="318375" y="116801"/>
                  </a:lnTo>
                  <a:lnTo>
                    <a:pt x="317227" y="114598"/>
                  </a:lnTo>
                  <a:lnTo>
                    <a:pt x="317799" y="112039"/>
                  </a:lnTo>
                  <a:lnTo>
                    <a:pt x="317084" y="109731"/>
                  </a:lnTo>
                  <a:lnTo>
                    <a:pt x="313601" y="108090"/>
                  </a:lnTo>
                  <a:lnTo>
                    <a:pt x="312838" y="107559"/>
                  </a:lnTo>
                  <a:lnTo>
                    <a:pt x="311293" y="105259"/>
                  </a:lnTo>
                  <a:lnTo>
                    <a:pt x="309746" y="104267"/>
                  </a:lnTo>
                  <a:lnTo>
                    <a:pt x="307792" y="102253"/>
                  </a:lnTo>
                  <a:lnTo>
                    <a:pt x="307291" y="101380"/>
                  </a:lnTo>
                  <a:lnTo>
                    <a:pt x="306447" y="98832"/>
                  </a:lnTo>
                  <a:lnTo>
                    <a:pt x="306179" y="97292"/>
                  </a:lnTo>
                  <a:lnTo>
                    <a:pt x="306890" y="92816"/>
                  </a:lnTo>
                  <a:close/>
                  <a:moveTo>
                    <a:pt x="138615" y="84956"/>
                  </a:moveTo>
                  <a:lnTo>
                    <a:pt x="140280" y="86303"/>
                  </a:lnTo>
                  <a:lnTo>
                    <a:pt x="140623" y="89185"/>
                  </a:lnTo>
                  <a:lnTo>
                    <a:pt x="139615" y="90302"/>
                  </a:lnTo>
                  <a:lnTo>
                    <a:pt x="138375" y="90423"/>
                  </a:lnTo>
                  <a:lnTo>
                    <a:pt x="136359" y="88316"/>
                  </a:lnTo>
                  <a:lnTo>
                    <a:pt x="135847" y="87532"/>
                  </a:lnTo>
                  <a:lnTo>
                    <a:pt x="136043" y="86432"/>
                  </a:lnTo>
                  <a:close/>
                  <a:moveTo>
                    <a:pt x="304490" y="81033"/>
                  </a:moveTo>
                  <a:lnTo>
                    <a:pt x="305583" y="81923"/>
                  </a:lnTo>
                  <a:lnTo>
                    <a:pt x="305741" y="83889"/>
                  </a:lnTo>
                  <a:lnTo>
                    <a:pt x="306581" y="85560"/>
                  </a:lnTo>
                  <a:lnTo>
                    <a:pt x="305946" y="89213"/>
                  </a:lnTo>
                  <a:lnTo>
                    <a:pt x="304814" y="90319"/>
                  </a:lnTo>
                  <a:lnTo>
                    <a:pt x="304374" y="90495"/>
                  </a:lnTo>
                  <a:lnTo>
                    <a:pt x="303413" y="87697"/>
                  </a:lnTo>
                  <a:lnTo>
                    <a:pt x="303242" y="85623"/>
                  </a:lnTo>
                  <a:lnTo>
                    <a:pt x="302947" y="84094"/>
                  </a:lnTo>
                  <a:lnTo>
                    <a:pt x="302444" y="83183"/>
                  </a:lnTo>
                  <a:lnTo>
                    <a:pt x="303892" y="81501"/>
                  </a:lnTo>
                  <a:close/>
                  <a:moveTo>
                    <a:pt x="113513" y="70515"/>
                  </a:moveTo>
                  <a:lnTo>
                    <a:pt x="114432" y="71266"/>
                  </a:lnTo>
                  <a:lnTo>
                    <a:pt x="114786" y="72750"/>
                  </a:lnTo>
                  <a:lnTo>
                    <a:pt x="114033" y="74657"/>
                  </a:lnTo>
                  <a:lnTo>
                    <a:pt x="112551" y="75312"/>
                  </a:lnTo>
                  <a:lnTo>
                    <a:pt x="111483" y="74808"/>
                  </a:lnTo>
                  <a:lnTo>
                    <a:pt x="111031" y="73356"/>
                  </a:lnTo>
                  <a:lnTo>
                    <a:pt x="111398" y="71954"/>
                  </a:lnTo>
                  <a:lnTo>
                    <a:pt x="112693" y="70848"/>
                  </a:lnTo>
                  <a:close/>
                  <a:moveTo>
                    <a:pt x="239726" y="62999"/>
                  </a:moveTo>
                  <a:lnTo>
                    <a:pt x="242283" y="63376"/>
                  </a:lnTo>
                  <a:lnTo>
                    <a:pt x="243287" y="64347"/>
                  </a:lnTo>
                  <a:lnTo>
                    <a:pt x="244412" y="65143"/>
                  </a:lnTo>
                  <a:lnTo>
                    <a:pt x="245560" y="65591"/>
                  </a:lnTo>
                  <a:lnTo>
                    <a:pt x="248869" y="63270"/>
                  </a:lnTo>
                  <a:lnTo>
                    <a:pt x="250640" y="64886"/>
                  </a:lnTo>
                  <a:lnTo>
                    <a:pt x="252899" y="65673"/>
                  </a:lnTo>
                  <a:lnTo>
                    <a:pt x="255248" y="66117"/>
                  </a:lnTo>
                  <a:lnTo>
                    <a:pt x="254317" y="69442"/>
                  </a:lnTo>
                  <a:lnTo>
                    <a:pt x="254593" y="70980"/>
                  </a:lnTo>
                  <a:lnTo>
                    <a:pt x="255200" y="72510"/>
                  </a:lnTo>
                  <a:lnTo>
                    <a:pt x="255123" y="74769"/>
                  </a:lnTo>
                  <a:lnTo>
                    <a:pt x="254043" y="76784"/>
                  </a:lnTo>
                  <a:lnTo>
                    <a:pt x="251975" y="79722"/>
                  </a:lnTo>
                  <a:lnTo>
                    <a:pt x="251048" y="80265"/>
                  </a:lnTo>
                  <a:lnTo>
                    <a:pt x="249962" y="80574"/>
                  </a:lnTo>
                  <a:lnTo>
                    <a:pt x="246571" y="80810"/>
                  </a:lnTo>
                  <a:lnTo>
                    <a:pt x="245917" y="82375"/>
                  </a:lnTo>
                  <a:lnTo>
                    <a:pt x="246144" y="84029"/>
                  </a:lnTo>
                  <a:lnTo>
                    <a:pt x="247977" y="86203"/>
                  </a:lnTo>
                  <a:lnTo>
                    <a:pt x="249439" y="88641"/>
                  </a:lnTo>
                  <a:lnTo>
                    <a:pt x="247982" y="90887"/>
                  </a:lnTo>
                  <a:lnTo>
                    <a:pt x="245581" y="92451"/>
                  </a:lnTo>
                  <a:lnTo>
                    <a:pt x="243302" y="93250"/>
                  </a:lnTo>
                  <a:lnTo>
                    <a:pt x="239532" y="92778"/>
                  </a:lnTo>
                  <a:lnTo>
                    <a:pt x="235556" y="92973"/>
                  </a:lnTo>
                  <a:lnTo>
                    <a:pt x="234811" y="93828"/>
                  </a:lnTo>
                  <a:lnTo>
                    <a:pt x="234790" y="95240"/>
                  </a:lnTo>
                  <a:lnTo>
                    <a:pt x="234231" y="96317"/>
                  </a:lnTo>
                  <a:lnTo>
                    <a:pt x="233507" y="97298"/>
                  </a:lnTo>
                  <a:lnTo>
                    <a:pt x="231491" y="99333"/>
                  </a:lnTo>
                  <a:lnTo>
                    <a:pt x="229236" y="101126"/>
                  </a:lnTo>
                  <a:lnTo>
                    <a:pt x="226157" y="102830"/>
                  </a:lnTo>
                  <a:lnTo>
                    <a:pt x="225121" y="103237"/>
                  </a:lnTo>
                  <a:lnTo>
                    <a:pt x="222395" y="103508"/>
                  </a:lnTo>
                  <a:lnTo>
                    <a:pt x="219942" y="104487"/>
                  </a:lnTo>
                  <a:lnTo>
                    <a:pt x="218850" y="105443"/>
                  </a:lnTo>
                  <a:lnTo>
                    <a:pt x="217660" y="106219"/>
                  </a:lnTo>
                  <a:lnTo>
                    <a:pt x="215058" y="107071"/>
                  </a:lnTo>
                  <a:lnTo>
                    <a:pt x="212524" y="108749"/>
                  </a:lnTo>
                  <a:lnTo>
                    <a:pt x="211524" y="109033"/>
                  </a:lnTo>
                  <a:lnTo>
                    <a:pt x="206274" y="109325"/>
                  </a:lnTo>
                  <a:lnTo>
                    <a:pt x="198759" y="109405"/>
                  </a:lnTo>
                  <a:lnTo>
                    <a:pt x="196532" y="109581"/>
                  </a:lnTo>
                  <a:lnTo>
                    <a:pt x="194370" y="109349"/>
                  </a:lnTo>
                  <a:lnTo>
                    <a:pt x="193174" y="108695"/>
                  </a:lnTo>
                  <a:lnTo>
                    <a:pt x="190622" y="105673"/>
                  </a:lnTo>
                  <a:lnTo>
                    <a:pt x="188396" y="104637"/>
                  </a:lnTo>
                  <a:lnTo>
                    <a:pt x="185971" y="104667"/>
                  </a:lnTo>
                  <a:lnTo>
                    <a:pt x="182740" y="105736"/>
                  </a:lnTo>
                  <a:lnTo>
                    <a:pt x="182131" y="105500"/>
                  </a:lnTo>
                  <a:lnTo>
                    <a:pt x="175686" y="101049"/>
                  </a:lnTo>
                  <a:lnTo>
                    <a:pt x="173731" y="99961"/>
                  </a:lnTo>
                  <a:lnTo>
                    <a:pt x="171646" y="99148"/>
                  </a:lnTo>
                  <a:lnTo>
                    <a:pt x="169101" y="98585"/>
                  </a:lnTo>
                  <a:lnTo>
                    <a:pt x="166700" y="97690"/>
                  </a:lnTo>
                  <a:lnTo>
                    <a:pt x="165285" y="95569"/>
                  </a:lnTo>
                  <a:lnTo>
                    <a:pt x="165452" y="92808"/>
                  </a:lnTo>
                  <a:lnTo>
                    <a:pt x="167382" y="91186"/>
                  </a:lnTo>
                  <a:lnTo>
                    <a:pt x="170322" y="91987"/>
                  </a:lnTo>
                  <a:lnTo>
                    <a:pt x="171446" y="91976"/>
                  </a:lnTo>
                  <a:lnTo>
                    <a:pt x="172552" y="91515"/>
                  </a:lnTo>
                  <a:lnTo>
                    <a:pt x="173845" y="91662"/>
                  </a:lnTo>
                  <a:lnTo>
                    <a:pt x="175154" y="92069"/>
                  </a:lnTo>
                  <a:lnTo>
                    <a:pt x="179924" y="91469"/>
                  </a:lnTo>
                  <a:lnTo>
                    <a:pt x="182684" y="92314"/>
                  </a:lnTo>
                  <a:lnTo>
                    <a:pt x="185366" y="93432"/>
                  </a:lnTo>
                  <a:lnTo>
                    <a:pt x="187877" y="93674"/>
                  </a:lnTo>
                  <a:lnTo>
                    <a:pt x="190453" y="93436"/>
                  </a:lnTo>
                  <a:lnTo>
                    <a:pt x="193911" y="92167"/>
                  </a:lnTo>
                  <a:lnTo>
                    <a:pt x="195001" y="92334"/>
                  </a:lnTo>
                  <a:lnTo>
                    <a:pt x="198327" y="92347"/>
                  </a:lnTo>
                  <a:lnTo>
                    <a:pt x="201231" y="90653"/>
                  </a:lnTo>
                  <a:lnTo>
                    <a:pt x="202317" y="83819"/>
                  </a:lnTo>
                  <a:lnTo>
                    <a:pt x="203056" y="81494"/>
                  </a:lnTo>
                  <a:lnTo>
                    <a:pt x="204045" y="80988"/>
                  </a:lnTo>
                  <a:lnTo>
                    <a:pt x="204757" y="81128"/>
                  </a:lnTo>
                  <a:lnTo>
                    <a:pt x="205819" y="82291"/>
                  </a:lnTo>
                  <a:lnTo>
                    <a:pt x="204457" y="83741"/>
                  </a:lnTo>
                  <a:lnTo>
                    <a:pt x="203857" y="84858"/>
                  </a:lnTo>
                  <a:lnTo>
                    <a:pt x="203656" y="87589"/>
                  </a:lnTo>
                  <a:lnTo>
                    <a:pt x="204403" y="90237"/>
                  </a:lnTo>
                  <a:lnTo>
                    <a:pt x="206102" y="92336"/>
                  </a:lnTo>
                  <a:lnTo>
                    <a:pt x="208660" y="92602"/>
                  </a:lnTo>
                  <a:lnTo>
                    <a:pt x="210995" y="91216"/>
                  </a:lnTo>
                  <a:lnTo>
                    <a:pt x="213539" y="90930"/>
                  </a:lnTo>
                  <a:lnTo>
                    <a:pt x="215891" y="92275"/>
                  </a:lnTo>
                  <a:lnTo>
                    <a:pt x="218294" y="92043"/>
                  </a:lnTo>
                  <a:lnTo>
                    <a:pt x="219398" y="91166"/>
                  </a:lnTo>
                  <a:lnTo>
                    <a:pt x="220684" y="90785"/>
                  </a:lnTo>
                  <a:lnTo>
                    <a:pt x="221961" y="90640"/>
                  </a:lnTo>
                  <a:lnTo>
                    <a:pt x="223125" y="90120"/>
                  </a:lnTo>
                  <a:lnTo>
                    <a:pt x="224658" y="87836"/>
                  </a:lnTo>
                  <a:lnTo>
                    <a:pt x="225688" y="85259"/>
                  </a:lnTo>
                  <a:lnTo>
                    <a:pt x="227213" y="83228"/>
                  </a:lnTo>
                  <a:lnTo>
                    <a:pt x="231387" y="79847"/>
                  </a:lnTo>
                  <a:lnTo>
                    <a:pt x="232589" y="79425"/>
                  </a:lnTo>
                  <a:lnTo>
                    <a:pt x="233892" y="79195"/>
                  </a:lnTo>
                  <a:lnTo>
                    <a:pt x="236826" y="79341"/>
                  </a:lnTo>
                  <a:lnTo>
                    <a:pt x="239007" y="78139"/>
                  </a:lnTo>
                  <a:lnTo>
                    <a:pt x="239178" y="75430"/>
                  </a:lnTo>
                  <a:lnTo>
                    <a:pt x="238862" y="72681"/>
                  </a:lnTo>
                  <a:lnTo>
                    <a:pt x="236370" y="66223"/>
                  </a:lnTo>
                  <a:lnTo>
                    <a:pt x="236200" y="65197"/>
                  </a:lnTo>
                  <a:lnTo>
                    <a:pt x="236561" y="64048"/>
                  </a:lnTo>
                  <a:lnTo>
                    <a:pt x="237279" y="63017"/>
                  </a:lnTo>
                  <a:close/>
                  <a:moveTo>
                    <a:pt x="283050" y="59482"/>
                  </a:moveTo>
                  <a:lnTo>
                    <a:pt x="282968" y="60769"/>
                  </a:lnTo>
                  <a:lnTo>
                    <a:pt x="282765" y="61295"/>
                  </a:lnTo>
                  <a:lnTo>
                    <a:pt x="281469" y="60696"/>
                  </a:lnTo>
                  <a:lnTo>
                    <a:pt x="282536" y="59560"/>
                  </a:lnTo>
                  <a:close/>
                  <a:moveTo>
                    <a:pt x="260402" y="37378"/>
                  </a:moveTo>
                  <a:lnTo>
                    <a:pt x="261107" y="39383"/>
                  </a:lnTo>
                  <a:lnTo>
                    <a:pt x="260566" y="41327"/>
                  </a:lnTo>
                  <a:lnTo>
                    <a:pt x="259215" y="40190"/>
                  </a:lnTo>
                  <a:lnTo>
                    <a:pt x="258291" y="38547"/>
                  </a:lnTo>
                  <a:lnTo>
                    <a:pt x="258880" y="37814"/>
                  </a:lnTo>
                  <a:close/>
                  <a:moveTo>
                    <a:pt x="245718" y="33014"/>
                  </a:moveTo>
                  <a:lnTo>
                    <a:pt x="247928" y="34626"/>
                  </a:lnTo>
                  <a:lnTo>
                    <a:pt x="248472" y="35266"/>
                  </a:lnTo>
                  <a:lnTo>
                    <a:pt x="248234" y="36383"/>
                  </a:lnTo>
                  <a:lnTo>
                    <a:pt x="247546" y="36319"/>
                  </a:lnTo>
                  <a:lnTo>
                    <a:pt x="245639" y="34131"/>
                  </a:lnTo>
                  <a:lnTo>
                    <a:pt x="245274" y="33565"/>
                  </a:lnTo>
                  <a:close/>
                  <a:moveTo>
                    <a:pt x="245092" y="29982"/>
                  </a:moveTo>
                  <a:lnTo>
                    <a:pt x="246321" y="30628"/>
                  </a:lnTo>
                  <a:lnTo>
                    <a:pt x="246529" y="32208"/>
                  </a:lnTo>
                  <a:lnTo>
                    <a:pt x="245332" y="32673"/>
                  </a:lnTo>
                  <a:lnTo>
                    <a:pt x="244805" y="32677"/>
                  </a:lnTo>
                  <a:lnTo>
                    <a:pt x="244726" y="30911"/>
                  </a:lnTo>
                  <a:close/>
                  <a:moveTo>
                    <a:pt x="2457" y="27796"/>
                  </a:moveTo>
                  <a:lnTo>
                    <a:pt x="3118" y="27804"/>
                  </a:lnTo>
                  <a:lnTo>
                    <a:pt x="5362" y="27830"/>
                  </a:lnTo>
                  <a:lnTo>
                    <a:pt x="7149" y="28195"/>
                  </a:lnTo>
                  <a:lnTo>
                    <a:pt x="18232" y="33001"/>
                  </a:lnTo>
                  <a:lnTo>
                    <a:pt x="21541" y="34929"/>
                  </a:lnTo>
                  <a:lnTo>
                    <a:pt x="22669" y="35381"/>
                  </a:lnTo>
                  <a:lnTo>
                    <a:pt x="23781" y="35398"/>
                  </a:lnTo>
                  <a:lnTo>
                    <a:pt x="24842" y="35625"/>
                  </a:lnTo>
                  <a:lnTo>
                    <a:pt x="29834" y="38279"/>
                  </a:lnTo>
                  <a:lnTo>
                    <a:pt x="37297" y="40959"/>
                  </a:lnTo>
                  <a:lnTo>
                    <a:pt x="45172" y="43529"/>
                  </a:lnTo>
                  <a:lnTo>
                    <a:pt x="47614" y="44066"/>
                  </a:lnTo>
                  <a:lnTo>
                    <a:pt x="50143" y="44290"/>
                  </a:lnTo>
                  <a:lnTo>
                    <a:pt x="55634" y="45181"/>
                  </a:lnTo>
                  <a:lnTo>
                    <a:pt x="58524" y="45974"/>
                  </a:lnTo>
                  <a:lnTo>
                    <a:pt x="62761" y="49122"/>
                  </a:lnTo>
                  <a:lnTo>
                    <a:pt x="64895" y="50095"/>
                  </a:lnTo>
                  <a:lnTo>
                    <a:pt x="66898" y="51870"/>
                  </a:lnTo>
                  <a:lnTo>
                    <a:pt x="69731" y="53777"/>
                  </a:lnTo>
                  <a:lnTo>
                    <a:pt x="70849" y="54255"/>
                  </a:lnTo>
                  <a:lnTo>
                    <a:pt x="72078" y="54478"/>
                  </a:lnTo>
                  <a:lnTo>
                    <a:pt x="74864" y="54545"/>
                  </a:lnTo>
                  <a:lnTo>
                    <a:pt x="77661" y="54201"/>
                  </a:lnTo>
                  <a:lnTo>
                    <a:pt x="78813" y="54355"/>
                  </a:lnTo>
                  <a:lnTo>
                    <a:pt x="79945" y="54701"/>
                  </a:lnTo>
                  <a:lnTo>
                    <a:pt x="80979" y="55365"/>
                  </a:lnTo>
                  <a:lnTo>
                    <a:pt x="81504" y="56645"/>
                  </a:lnTo>
                  <a:lnTo>
                    <a:pt x="83238" y="58416"/>
                  </a:lnTo>
                  <a:lnTo>
                    <a:pt x="85697" y="59214"/>
                  </a:lnTo>
                  <a:lnTo>
                    <a:pt x="88032" y="60817"/>
                  </a:lnTo>
                  <a:lnTo>
                    <a:pt x="90133" y="62738"/>
                  </a:lnTo>
                  <a:lnTo>
                    <a:pt x="91678" y="64672"/>
                  </a:lnTo>
                  <a:lnTo>
                    <a:pt x="93434" y="66303"/>
                  </a:lnTo>
                  <a:lnTo>
                    <a:pt x="96093" y="66993"/>
                  </a:lnTo>
                  <a:lnTo>
                    <a:pt x="98891" y="67103"/>
                  </a:lnTo>
                  <a:lnTo>
                    <a:pt x="108453" y="76804"/>
                  </a:lnTo>
                  <a:lnTo>
                    <a:pt x="108919" y="78301"/>
                  </a:lnTo>
                  <a:lnTo>
                    <a:pt x="109025" y="84670"/>
                  </a:lnTo>
                  <a:lnTo>
                    <a:pt x="107971" y="89648"/>
                  </a:lnTo>
                  <a:lnTo>
                    <a:pt x="110351" y="91175"/>
                  </a:lnTo>
                  <a:lnTo>
                    <a:pt x="113592" y="91747"/>
                  </a:lnTo>
                  <a:lnTo>
                    <a:pt x="118146" y="92812"/>
                  </a:lnTo>
                  <a:lnTo>
                    <a:pt x="122525" y="94398"/>
                  </a:lnTo>
                  <a:lnTo>
                    <a:pt x="136475" y="101111"/>
                  </a:lnTo>
                  <a:lnTo>
                    <a:pt x="138390" y="101683"/>
                  </a:lnTo>
                  <a:lnTo>
                    <a:pt x="141206" y="101900"/>
                  </a:lnTo>
                  <a:lnTo>
                    <a:pt x="144046" y="101811"/>
                  </a:lnTo>
                  <a:lnTo>
                    <a:pt x="145066" y="102153"/>
                  </a:lnTo>
                  <a:lnTo>
                    <a:pt x="147183" y="103372"/>
                  </a:lnTo>
                  <a:lnTo>
                    <a:pt x="148248" y="104167"/>
                  </a:lnTo>
                  <a:lnTo>
                    <a:pt x="150157" y="106339"/>
                  </a:lnTo>
                  <a:lnTo>
                    <a:pt x="151861" y="108699"/>
                  </a:lnTo>
                  <a:lnTo>
                    <a:pt x="152586" y="109373"/>
                  </a:lnTo>
                  <a:lnTo>
                    <a:pt x="153452" y="109900"/>
                  </a:lnTo>
                  <a:lnTo>
                    <a:pt x="153949" y="111183"/>
                  </a:lnTo>
                  <a:lnTo>
                    <a:pt x="154612" y="115138"/>
                  </a:lnTo>
                  <a:lnTo>
                    <a:pt x="154413" y="117608"/>
                  </a:lnTo>
                  <a:lnTo>
                    <a:pt x="153638" y="118523"/>
                  </a:lnTo>
                  <a:lnTo>
                    <a:pt x="151407" y="118968"/>
                  </a:lnTo>
                  <a:lnTo>
                    <a:pt x="143584" y="119384"/>
                  </a:lnTo>
                  <a:lnTo>
                    <a:pt x="138352" y="118925"/>
                  </a:lnTo>
                  <a:lnTo>
                    <a:pt x="134691" y="121421"/>
                  </a:lnTo>
                  <a:lnTo>
                    <a:pt x="134594" y="122510"/>
                  </a:lnTo>
                  <a:lnTo>
                    <a:pt x="134849" y="123525"/>
                  </a:lnTo>
                  <a:lnTo>
                    <a:pt x="138037" y="128818"/>
                  </a:lnTo>
                  <a:lnTo>
                    <a:pt x="139920" y="133510"/>
                  </a:lnTo>
                  <a:lnTo>
                    <a:pt x="141470" y="135421"/>
                  </a:lnTo>
                  <a:lnTo>
                    <a:pt x="143795" y="136971"/>
                  </a:lnTo>
                  <a:lnTo>
                    <a:pt x="145866" y="138804"/>
                  </a:lnTo>
                  <a:lnTo>
                    <a:pt x="147771" y="140911"/>
                  </a:lnTo>
                  <a:lnTo>
                    <a:pt x="151734" y="144588"/>
                  </a:lnTo>
                  <a:lnTo>
                    <a:pt x="153891" y="145950"/>
                  </a:lnTo>
                  <a:lnTo>
                    <a:pt x="156417" y="146793"/>
                  </a:lnTo>
                  <a:lnTo>
                    <a:pt x="160632" y="149647"/>
                  </a:lnTo>
                  <a:lnTo>
                    <a:pt x="161190" y="150907"/>
                  </a:lnTo>
                  <a:lnTo>
                    <a:pt x="162395" y="154879"/>
                  </a:lnTo>
                  <a:lnTo>
                    <a:pt x="162915" y="157573"/>
                  </a:lnTo>
                  <a:lnTo>
                    <a:pt x="162995" y="158684"/>
                  </a:lnTo>
                  <a:lnTo>
                    <a:pt x="163288" y="159680"/>
                  </a:lnTo>
                  <a:lnTo>
                    <a:pt x="166994" y="162123"/>
                  </a:lnTo>
                  <a:lnTo>
                    <a:pt x="167805" y="162804"/>
                  </a:lnTo>
                  <a:lnTo>
                    <a:pt x="169458" y="168241"/>
                  </a:lnTo>
                  <a:lnTo>
                    <a:pt x="170723" y="170764"/>
                  </a:lnTo>
                  <a:lnTo>
                    <a:pt x="172854" y="171660"/>
                  </a:lnTo>
                  <a:lnTo>
                    <a:pt x="175338" y="171604"/>
                  </a:lnTo>
                  <a:lnTo>
                    <a:pt x="182097" y="169987"/>
                  </a:lnTo>
                  <a:lnTo>
                    <a:pt x="183074" y="169935"/>
                  </a:lnTo>
                  <a:lnTo>
                    <a:pt x="184327" y="170307"/>
                  </a:lnTo>
                  <a:lnTo>
                    <a:pt x="185418" y="171193"/>
                  </a:lnTo>
                  <a:lnTo>
                    <a:pt x="185780" y="173639"/>
                  </a:lnTo>
                  <a:lnTo>
                    <a:pt x="184722" y="176207"/>
                  </a:lnTo>
                  <a:lnTo>
                    <a:pt x="184431" y="178681"/>
                  </a:lnTo>
                  <a:lnTo>
                    <a:pt x="185761" y="180711"/>
                  </a:lnTo>
                  <a:lnTo>
                    <a:pt x="189201" y="182295"/>
                  </a:lnTo>
                  <a:lnTo>
                    <a:pt x="190462" y="182728"/>
                  </a:lnTo>
                  <a:lnTo>
                    <a:pt x="196653" y="183234"/>
                  </a:lnTo>
                  <a:lnTo>
                    <a:pt x="199083" y="183661"/>
                  </a:lnTo>
                  <a:lnTo>
                    <a:pt x="201468" y="184345"/>
                  </a:lnTo>
                  <a:lnTo>
                    <a:pt x="202298" y="184958"/>
                  </a:lnTo>
                  <a:lnTo>
                    <a:pt x="201715" y="186048"/>
                  </a:lnTo>
                  <a:lnTo>
                    <a:pt x="200466" y="186579"/>
                  </a:lnTo>
                  <a:lnTo>
                    <a:pt x="199054" y="186797"/>
                  </a:lnTo>
                  <a:lnTo>
                    <a:pt x="196774" y="187584"/>
                  </a:lnTo>
                  <a:lnTo>
                    <a:pt x="196815" y="188986"/>
                  </a:lnTo>
                  <a:lnTo>
                    <a:pt x="198102" y="190449"/>
                  </a:lnTo>
                  <a:lnTo>
                    <a:pt x="199276" y="192208"/>
                  </a:lnTo>
                  <a:lnTo>
                    <a:pt x="200265" y="192847"/>
                  </a:lnTo>
                  <a:lnTo>
                    <a:pt x="201337" y="193275"/>
                  </a:lnTo>
                  <a:lnTo>
                    <a:pt x="204012" y="193885"/>
                  </a:lnTo>
                  <a:lnTo>
                    <a:pt x="206615" y="194723"/>
                  </a:lnTo>
                  <a:lnTo>
                    <a:pt x="208331" y="195556"/>
                  </a:lnTo>
                  <a:lnTo>
                    <a:pt x="210104" y="196154"/>
                  </a:lnTo>
                  <a:lnTo>
                    <a:pt x="213968" y="196536"/>
                  </a:lnTo>
                  <a:lnTo>
                    <a:pt x="216802" y="197661"/>
                  </a:lnTo>
                  <a:lnTo>
                    <a:pt x="220839" y="197190"/>
                  </a:lnTo>
                  <a:lnTo>
                    <a:pt x="217340" y="199019"/>
                  </a:lnTo>
                  <a:lnTo>
                    <a:pt x="216135" y="199468"/>
                  </a:lnTo>
                  <a:lnTo>
                    <a:pt x="211917" y="198783"/>
                  </a:lnTo>
                  <a:lnTo>
                    <a:pt x="211125" y="199496"/>
                  </a:lnTo>
                  <a:lnTo>
                    <a:pt x="212863" y="201430"/>
                  </a:lnTo>
                  <a:lnTo>
                    <a:pt x="215442" y="202733"/>
                  </a:lnTo>
                  <a:lnTo>
                    <a:pt x="216364" y="203490"/>
                  </a:lnTo>
                  <a:lnTo>
                    <a:pt x="215718" y="204377"/>
                  </a:lnTo>
                  <a:lnTo>
                    <a:pt x="212721" y="206149"/>
                  </a:lnTo>
                  <a:lnTo>
                    <a:pt x="211469" y="206409"/>
                  </a:lnTo>
                  <a:lnTo>
                    <a:pt x="209128" y="206551"/>
                  </a:lnTo>
                  <a:lnTo>
                    <a:pt x="205202" y="205787"/>
                  </a:lnTo>
                  <a:lnTo>
                    <a:pt x="202425" y="204813"/>
                  </a:lnTo>
                  <a:lnTo>
                    <a:pt x="201645" y="203484"/>
                  </a:lnTo>
                  <a:lnTo>
                    <a:pt x="200905" y="202700"/>
                  </a:lnTo>
                  <a:lnTo>
                    <a:pt x="198400" y="200827"/>
                  </a:lnTo>
                  <a:lnTo>
                    <a:pt x="196616" y="199804"/>
                  </a:lnTo>
                  <a:lnTo>
                    <a:pt x="194345" y="199457"/>
                  </a:lnTo>
                  <a:lnTo>
                    <a:pt x="191978" y="199479"/>
                  </a:lnTo>
                  <a:lnTo>
                    <a:pt x="187739" y="198390"/>
                  </a:lnTo>
                  <a:lnTo>
                    <a:pt x="178544" y="197618"/>
                  </a:lnTo>
                  <a:lnTo>
                    <a:pt x="176352" y="197144"/>
                  </a:lnTo>
                  <a:lnTo>
                    <a:pt x="173593" y="195645"/>
                  </a:lnTo>
                  <a:lnTo>
                    <a:pt x="172295" y="195432"/>
                  </a:lnTo>
                  <a:lnTo>
                    <a:pt x="170902" y="195903"/>
                  </a:lnTo>
                  <a:lnTo>
                    <a:pt x="167350" y="196193"/>
                  </a:lnTo>
                  <a:lnTo>
                    <a:pt x="166307" y="196060"/>
                  </a:lnTo>
                  <a:lnTo>
                    <a:pt x="163772" y="194782"/>
                  </a:lnTo>
                  <a:lnTo>
                    <a:pt x="161157" y="194315"/>
                  </a:lnTo>
                  <a:lnTo>
                    <a:pt x="160069" y="194699"/>
                  </a:lnTo>
                  <a:lnTo>
                    <a:pt x="158965" y="194784"/>
                  </a:lnTo>
                  <a:lnTo>
                    <a:pt x="155400" y="193870"/>
                  </a:lnTo>
                  <a:lnTo>
                    <a:pt x="152713" y="193484"/>
                  </a:lnTo>
                  <a:lnTo>
                    <a:pt x="150507" y="192210"/>
                  </a:lnTo>
                  <a:lnTo>
                    <a:pt x="149302" y="191020"/>
                  </a:lnTo>
                  <a:lnTo>
                    <a:pt x="147948" y="189962"/>
                  </a:lnTo>
                  <a:lnTo>
                    <a:pt x="146696" y="187240"/>
                  </a:lnTo>
                  <a:lnTo>
                    <a:pt x="144746" y="184657"/>
                  </a:lnTo>
                  <a:lnTo>
                    <a:pt x="142327" y="182535"/>
                  </a:lnTo>
                  <a:lnTo>
                    <a:pt x="137142" y="179110"/>
                  </a:lnTo>
                  <a:lnTo>
                    <a:pt x="136097" y="178259"/>
                  </a:lnTo>
                  <a:lnTo>
                    <a:pt x="134067" y="175120"/>
                  </a:lnTo>
                  <a:lnTo>
                    <a:pt x="134178" y="173041"/>
                  </a:lnTo>
                  <a:lnTo>
                    <a:pt x="134916" y="170938"/>
                  </a:lnTo>
                  <a:lnTo>
                    <a:pt x="133800" y="171654"/>
                  </a:lnTo>
                  <a:lnTo>
                    <a:pt x="132539" y="171565"/>
                  </a:lnTo>
                  <a:lnTo>
                    <a:pt x="129008" y="170176"/>
                  </a:lnTo>
                  <a:lnTo>
                    <a:pt x="127554" y="168522"/>
                  </a:lnTo>
                  <a:lnTo>
                    <a:pt x="125195" y="164033"/>
                  </a:lnTo>
                  <a:lnTo>
                    <a:pt x="123685" y="161668"/>
                  </a:lnTo>
                  <a:lnTo>
                    <a:pt x="120161" y="157482"/>
                  </a:lnTo>
                  <a:lnTo>
                    <a:pt x="119146" y="154996"/>
                  </a:lnTo>
                  <a:lnTo>
                    <a:pt x="117676" y="152824"/>
                  </a:lnTo>
                  <a:lnTo>
                    <a:pt x="116767" y="152020"/>
                  </a:lnTo>
                  <a:lnTo>
                    <a:pt x="116011" y="151090"/>
                  </a:lnTo>
                  <a:lnTo>
                    <a:pt x="115341" y="149882"/>
                  </a:lnTo>
                  <a:lnTo>
                    <a:pt x="114339" y="149041"/>
                  </a:lnTo>
                  <a:lnTo>
                    <a:pt x="109424" y="147180"/>
                  </a:lnTo>
                  <a:lnTo>
                    <a:pt x="108559" y="146594"/>
                  </a:lnTo>
                  <a:lnTo>
                    <a:pt x="107606" y="146283"/>
                  </a:lnTo>
                  <a:lnTo>
                    <a:pt x="103950" y="146092"/>
                  </a:lnTo>
                  <a:lnTo>
                    <a:pt x="101837" y="145785"/>
                  </a:lnTo>
                  <a:lnTo>
                    <a:pt x="97851" y="144263"/>
                  </a:lnTo>
                  <a:lnTo>
                    <a:pt x="95790" y="143806"/>
                  </a:lnTo>
                  <a:lnTo>
                    <a:pt x="93313" y="143517"/>
                  </a:lnTo>
                  <a:lnTo>
                    <a:pt x="90914" y="142939"/>
                  </a:lnTo>
                  <a:lnTo>
                    <a:pt x="89744" y="142372"/>
                  </a:lnTo>
                  <a:lnTo>
                    <a:pt x="88958" y="141415"/>
                  </a:lnTo>
                  <a:lnTo>
                    <a:pt x="88492" y="139145"/>
                  </a:lnTo>
                  <a:lnTo>
                    <a:pt x="86483" y="139388"/>
                  </a:lnTo>
                  <a:lnTo>
                    <a:pt x="84514" y="138995"/>
                  </a:lnTo>
                  <a:lnTo>
                    <a:pt x="82603" y="138198"/>
                  </a:lnTo>
                  <a:lnTo>
                    <a:pt x="80655" y="137718"/>
                  </a:lnTo>
                  <a:lnTo>
                    <a:pt x="79325" y="138402"/>
                  </a:lnTo>
                  <a:lnTo>
                    <a:pt x="78917" y="140209"/>
                  </a:lnTo>
                  <a:lnTo>
                    <a:pt x="78301" y="140303"/>
                  </a:lnTo>
                  <a:lnTo>
                    <a:pt x="77161" y="139933"/>
                  </a:lnTo>
                  <a:lnTo>
                    <a:pt x="76593" y="140150"/>
                  </a:lnTo>
                  <a:lnTo>
                    <a:pt x="75356" y="140984"/>
                  </a:lnTo>
                  <a:lnTo>
                    <a:pt x="74365" y="142112"/>
                  </a:lnTo>
                  <a:lnTo>
                    <a:pt x="72540" y="141940"/>
                  </a:lnTo>
                  <a:lnTo>
                    <a:pt x="68798" y="140800"/>
                  </a:lnTo>
                  <a:lnTo>
                    <a:pt x="67131" y="140085"/>
                  </a:lnTo>
                  <a:lnTo>
                    <a:pt x="65714" y="138798"/>
                  </a:lnTo>
                  <a:lnTo>
                    <a:pt x="64496" y="137334"/>
                  </a:lnTo>
                  <a:lnTo>
                    <a:pt x="63264" y="136181"/>
                  </a:lnTo>
                  <a:lnTo>
                    <a:pt x="61749" y="135339"/>
                  </a:lnTo>
                  <a:lnTo>
                    <a:pt x="63678" y="137327"/>
                  </a:lnTo>
                  <a:lnTo>
                    <a:pt x="68105" y="146100"/>
                  </a:lnTo>
                  <a:lnTo>
                    <a:pt x="66997" y="146270"/>
                  </a:lnTo>
                  <a:lnTo>
                    <a:pt x="65857" y="146048"/>
                  </a:lnTo>
                  <a:lnTo>
                    <a:pt x="66904" y="147734"/>
                  </a:lnTo>
                  <a:lnTo>
                    <a:pt x="65697" y="147989"/>
                  </a:lnTo>
                  <a:lnTo>
                    <a:pt x="64501" y="147969"/>
                  </a:lnTo>
                  <a:lnTo>
                    <a:pt x="61974" y="147241"/>
                  </a:lnTo>
                  <a:lnTo>
                    <a:pt x="59465" y="147000"/>
                  </a:lnTo>
                  <a:lnTo>
                    <a:pt x="58727" y="147357"/>
                  </a:lnTo>
                  <a:lnTo>
                    <a:pt x="59258" y="147989"/>
                  </a:lnTo>
                  <a:lnTo>
                    <a:pt x="60139" y="149849"/>
                  </a:lnTo>
                  <a:lnTo>
                    <a:pt x="60841" y="151801"/>
                  </a:lnTo>
                  <a:lnTo>
                    <a:pt x="57219" y="152679"/>
                  </a:lnTo>
                  <a:lnTo>
                    <a:pt x="53505" y="153214"/>
                  </a:lnTo>
                  <a:lnTo>
                    <a:pt x="49368" y="154268"/>
                  </a:lnTo>
                  <a:lnTo>
                    <a:pt x="45179" y="154340"/>
                  </a:lnTo>
                  <a:lnTo>
                    <a:pt x="43030" y="153740"/>
                  </a:lnTo>
                  <a:lnTo>
                    <a:pt x="40825" y="153401"/>
                  </a:lnTo>
                  <a:lnTo>
                    <a:pt x="38757" y="153740"/>
                  </a:lnTo>
                  <a:lnTo>
                    <a:pt x="36746" y="154501"/>
                  </a:lnTo>
                  <a:lnTo>
                    <a:pt x="35053" y="154379"/>
                  </a:lnTo>
                  <a:lnTo>
                    <a:pt x="33984" y="153009"/>
                  </a:lnTo>
                  <a:lnTo>
                    <a:pt x="33481" y="151970"/>
                  </a:lnTo>
                  <a:lnTo>
                    <a:pt x="32839" y="151068"/>
                  </a:lnTo>
                  <a:lnTo>
                    <a:pt x="31257" y="151212"/>
                  </a:lnTo>
                  <a:lnTo>
                    <a:pt x="29730" y="151699"/>
                  </a:lnTo>
                  <a:lnTo>
                    <a:pt x="32345" y="151755"/>
                  </a:lnTo>
                  <a:lnTo>
                    <a:pt x="33129" y="152905"/>
                  </a:lnTo>
                  <a:lnTo>
                    <a:pt x="33803" y="154301"/>
                  </a:lnTo>
                  <a:lnTo>
                    <a:pt x="35655" y="155564"/>
                  </a:lnTo>
                  <a:lnTo>
                    <a:pt x="37892" y="154812"/>
                  </a:lnTo>
                  <a:lnTo>
                    <a:pt x="42801" y="155020"/>
                  </a:lnTo>
                  <a:lnTo>
                    <a:pt x="47571" y="157221"/>
                  </a:lnTo>
                  <a:lnTo>
                    <a:pt x="48703" y="157473"/>
                  </a:lnTo>
                  <a:lnTo>
                    <a:pt x="49741" y="157904"/>
                  </a:lnTo>
                  <a:lnTo>
                    <a:pt x="52199" y="160078"/>
                  </a:lnTo>
                  <a:lnTo>
                    <a:pt x="54051" y="162055"/>
                  </a:lnTo>
                  <a:lnTo>
                    <a:pt x="55611" y="164311"/>
                  </a:lnTo>
                  <a:lnTo>
                    <a:pt x="55941" y="165195"/>
                  </a:lnTo>
                  <a:lnTo>
                    <a:pt x="55837" y="167564"/>
                  </a:lnTo>
                  <a:lnTo>
                    <a:pt x="55367" y="168742"/>
                  </a:lnTo>
                  <a:lnTo>
                    <a:pt x="52285" y="170411"/>
                  </a:lnTo>
                  <a:lnTo>
                    <a:pt x="48998" y="171671"/>
                  </a:lnTo>
                  <a:lnTo>
                    <a:pt x="44155" y="174127"/>
                  </a:lnTo>
                  <a:lnTo>
                    <a:pt x="39467" y="176919"/>
                  </a:lnTo>
                  <a:lnTo>
                    <a:pt x="37003" y="176372"/>
                  </a:lnTo>
                  <a:lnTo>
                    <a:pt x="34781" y="174894"/>
                  </a:lnTo>
                  <a:lnTo>
                    <a:pt x="33920" y="174493"/>
                  </a:lnTo>
                  <a:lnTo>
                    <a:pt x="31631" y="173687"/>
                  </a:lnTo>
                  <a:lnTo>
                    <a:pt x="30233" y="173398"/>
                  </a:lnTo>
                  <a:lnTo>
                    <a:pt x="24690" y="174027"/>
                  </a:lnTo>
                  <a:lnTo>
                    <a:pt x="19128" y="174349"/>
                  </a:lnTo>
                  <a:lnTo>
                    <a:pt x="16789" y="174321"/>
                  </a:lnTo>
                  <a:lnTo>
                    <a:pt x="14516" y="173849"/>
                  </a:lnTo>
                  <a:lnTo>
                    <a:pt x="12015" y="172969"/>
                  </a:lnTo>
                  <a:lnTo>
                    <a:pt x="9538" y="173359"/>
                  </a:lnTo>
                  <a:lnTo>
                    <a:pt x="7842" y="174391"/>
                  </a:lnTo>
                  <a:lnTo>
                    <a:pt x="5990" y="174543"/>
                  </a:lnTo>
                  <a:lnTo>
                    <a:pt x="2518" y="172257"/>
                  </a:lnTo>
                  <a:lnTo>
                    <a:pt x="2513" y="171963"/>
                  </a:lnTo>
                  <a:lnTo>
                    <a:pt x="2513" y="167432"/>
                  </a:lnTo>
                  <a:lnTo>
                    <a:pt x="2511" y="162902"/>
                  </a:lnTo>
                  <a:lnTo>
                    <a:pt x="2509" y="158375"/>
                  </a:lnTo>
                  <a:lnTo>
                    <a:pt x="2507" y="153848"/>
                  </a:lnTo>
                  <a:lnTo>
                    <a:pt x="2505" y="149323"/>
                  </a:lnTo>
                  <a:lnTo>
                    <a:pt x="2505" y="144799"/>
                  </a:lnTo>
                  <a:lnTo>
                    <a:pt x="2503" y="140279"/>
                  </a:lnTo>
                  <a:lnTo>
                    <a:pt x="2501" y="135758"/>
                  </a:lnTo>
                  <a:lnTo>
                    <a:pt x="2498" y="131238"/>
                  </a:lnTo>
                  <a:lnTo>
                    <a:pt x="2496" y="126719"/>
                  </a:lnTo>
                  <a:lnTo>
                    <a:pt x="2496" y="123005"/>
                  </a:lnTo>
                  <a:lnTo>
                    <a:pt x="1265" y="121553"/>
                  </a:lnTo>
                  <a:lnTo>
                    <a:pt x="0" y="119332"/>
                  </a:lnTo>
                  <a:lnTo>
                    <a:pt x="271" y="116478"/>
                  </a:lnTo>
                  <a:lnTo>
                    <a:pt x="1807" y="112942"/>
                  </a:lnTo>
                  <a:lnTo>
                    <a:pt x="2492" y="110585"/>
                  </a:lnTo>
                  <a:lnTo>
                    <a:pt x="2492" y="108660"/>
                  </a:lnTo>
                  <a:lnTo>
                    <a:pt x="2490" y="104149"/>
                  </a:lnTo>
                  <a:lnTo>
                    <a:pt x="2488" y="99638"/>
                  </a:lnTo>
                  <a:lnTo>
                    <a:pt x="2485" y="95128"/>
                  </a:lnTo>
                  <a:lnTo>
                    <a:pt x="2483" y="90618"/>
                  </a:lnTo>
                  <a:lnTo>
                    <a:pt x="2483" y="86112"/>
                  </a:lnTo>
                  <a:lnTo>
                    <a:pt x="2481" y="81605"/>
                  </a:lnTo>
                  <a:lnTo>
                    <a:pt x="2478" y="77098"/>
                  </a:lnTo>
                  <a:lnTo>
                    <a:pt x="2477" y="72592"/>
                  </a:lnTo>
                  <a:lnTo>
                    <a:pt x="2474" y="68090"/>
                  </a:lnTo>
                  <a:lnTo>
                    <a:pt x="2474" y="63586"/>
                  </a:lnTo>
                  <a:lnTo>
                    <a:pt x="2471" y="59082"/>
                  </a:lnTo>
                  <a:lnTo>
                    <a:pt x="2471" y="54580"/>
                  </a:lnTo>
                  <a:lnTo>
                    <a:pt x="2467" y="50080"/>
                  </a:lnTo>
                  <a:lnTo>
                    <a:pt x="2466" y="45579"/>
                  </a:lnTo>
                  <a:lnTo>
                    <a:pt x="2464" y="41078"/>
                  </a:lnTo>
                  <a:lnTo>
                    <a:pt x="2461" y="36578"/>
                  </a:lnTo>
                  <a:lnTo>
                    <a:pt x="2460" y="32081"/>
                  </a:lnTo>
                  <a:lnTo>
                    <a:pt x="2457" y="29373"/>
                  </a:lnTo>
                  <a:lnTo>
                    <a:pt x="2457" y="27880"/>
                  </a:lnTo>
                  <a:close/>
                  <a:moveTo>
                    <a:pt x="220305" y="26981"/>
                  </a:moveTo>
                  <a:lnTo>
                    <a:pt x="224062" y="29533"/>
                  </a:lnTo>
                  <a:lnTo>
                    <a:pt x="228027" y="31763"/>
                  </a:lnTo>
                  <a:lnTo>
                    <a:pt x="229173" y="33561"/>
                  </a:lnTo>
                  <a:lnTo>
                    <a:pt x="231126" y="33671"/>
                  </a:lnTo>
                  <a:lnTo>
                    <a:pt x="234677" y="35158"/>
                  </a:lnTo>
                  <a:lnTo>
                    <a:pt x="237117" y="36498"/>
                  </a:lnTo>
                  <a:lnTo>
                    <a:pt x="239420" y="38043"/>
                  </a:lnTo>
                  <a:lnTo>
                    <a:pt x="242013" y="40256"/>
                  </a:lnTo>
                  <a:lnTo>
                    <a:pt x="247005" y="41994"/>
                  </a:lnTo>
                  <a:lnTo>
                    <a:pt x="247716" y="42626"/>
                  </a:lnTo>
                  <a:lnTo>
                    <a:pt x="250245" y="45514"/>
                  </a:lnTo>
                  <a:lnTo>
                    <a:pt x="253564" y="47963"/>
                  </a:lnTo>
                  <a:lnTo>
                    <a:pt x="254691" y="49313"/>
                  </a:lnTo>
                  <a:lnTo>
                    <a:pt x="268761" y="60910"/>
                  </a:lnTo>
                  <a:lnTo>
                    <a:pt x="271137" y="64159"/>
                  </a:lnTo>
                  <a:lnTo>
                    <a:pt x="271320" y="66376"/>
                  </a:lnTo>
                  <a:lnTo>
                    <a:pt x="270856" y="67246"/>
                  </a:lnTo>
                  <a:lnTo>
                    <a:pt x="269371" y="69122"/>
                  </a:lnTo>
                  <a:lnTo>
                    <a:pt x="269398" y="71337"/>
                  </a:lnTo>
                  <a:lnTo>
                    <a:pt x="268904" y="73330"/>
                  </a:lnTo>
                  <a:lnTo>
                    <a:pt x="267634" y="75326"/>
                  </a:lnTo>
                  <a:lnTo>
                    <a:pt x="265995" y="77012"/>
                  </a:lnTo>
                  <a:lnTo>
                    <a:pt x="264976" y="75440"/>
                  </a:lnTo>
                  <a:lnTo>
                    <a:pt x="263669" y="74064"/>
                  </a:lnTo>
                  <a:lnTo>
                    <a:pt x="262639" y="72655"/>
                  </a:lnTo>
                  <a:lnTo>
                    <a:pt x="261329" y="69611"/>
                  </a:lnTo>
                  <a:lnTo>
                    <a:pt x="261264" y="68077"/>
                  </a:lnTo>
                  <a:lnTo>
                    <a:pt x="261610" y="66454"/>
                  </a:lnTo>
                  <a:lnTo>
                    <a:pt x="261685" y="64817"/>
                  </a:lnTo>
                  <a:lnTo>
                    <a:pt x="261052" y="61490"/>
                  </a:lnTo>
                  <a:lnTo>
                    <a:pt x="259511" y="58455"/>
                  </a:lnTo>
                  <a:lnTo>
                    <a:pt x="254144" y="51222"/>
                  </a:lnTo>
                  <a:lnTo>
                    <a:pt x="252455" y="49323"/>
                  </a:lnTo>
                  <a:lnTo>
                    <a:pt x="250528" y="47628"/>
                  </a:lnTo>
                  <a:lnTo>
                    <a:pt x="249292" y="47213"/>
                  </a:lnTo>
                  <a:lnTo>
                    <a:pt x="246791" y="46806"/>
                  </a:lnTo>
                  <a:lnTo>
                    <a:pt x="245680" y="46467"/>
                  </a:lnTo>
                  <a:lnTo>
                    <a:pt x="243619" y="45287"/>
                  </a:lnTo>
                  <a:lnTo>
                    <a:pt x="241704" y="43910"/>
                  </a:lnTo>
                  <a:lnTo>
                    <a:pt x="236958" y="39829"/>
                  </a:lnTo>
                  <a:lnTo>
                    <a:pt x="234449" y="38674"/>
                  </a:lnTo>
                  <a:lnTo>
                    <a:pt x="233123" y="37248"/>
                  </a:lnTo>
                  <a:lnTo>
                    <a:pt x="225643" y="32647"/>
                  </a:lnTo>
                  <a:lnTo>
                    <a:pt x="223459" y="31560"/>
                  </a:lnTo>
                  <a:lnTo>
                    <a:pt x="220801" y="31558"/>
                  </a:lnTo>
                  <a:lnTo>
                    <a:pt x="218551" y="30652"/>
                  </a:lnTo>
                  <a:lnTo>
                    <a:pt x="220329" y="30077"/>
                  </a:lnTo>
                  <a:lnTo>
                    <a:pt x="220694" y="28543"/>
                  </a:lnTo>
                  <a:close/>
                  <a:moveTo>
                    <a:pt x="207076" y="22804"/>
                  </a:moveTo>
                  <a:lnTo>
                    <a:pt x="211551" y="24712"/>
                  </a:lnTo>
                  <a:lnTo>
                    <a:pt x="212004" y="25660"/>
                  </a:lnTo>
                  <a:lnTo>
                    <a:pt x="212038" y="26276"/>
                  </a:lnTo>
                  <a:lnTo>
                    <a:pt x="211917" y="28294"/>
                  </a:lnTo>
                  <a:lnTo>
                    <a:pt x="211708" y="28947"/>
                  </a:lnTo>
                  <a:lnTo>
                    <a:pt x="207305" y="29250"/>
                  </a:lnTo>
                  <a:lnTo>
                    <a:pt x="205718" y="28913"/>
                  </a:lnTo>
                  <a:lnTo>
                    <a:pt x="204299" y="27636"/>
                  </a:lnTo>
                  <a:lnTo>
                    <a:pt x="203014" y="25643"/>
                  </a:lnTo>
                  <a:lnTo>
                    <a:pt x="201725" y="25179"/>
                  </a:lnTo>
                  <a:lnTo>
                    <a:pt x="201205" y="24788"/>
                  </a:lnTo>
                  <a:lnTo>
                    <a:pt x="204321" y="23265"/>
                  </a:lnTo>
                  <a:close/>
                  <a:moveTo>
                    <a:pt x="154200" y="19764"/>
                  </a:moveTo>
                  <a:lnTo>
                    <a:pt x="155109" y="20568"/>
                  </a:lnTo>
                  <a:lnTo>
                    <a:pt x="154392" y="21732"/>
                  </a:lnTo>
                  <a:lnTo>
                    <a:pt x="152720" y="21633"/>
                  </a:lnTo>
                  <a:lnTo>
                    <a:pt x="151982" y="21286"/>
                  </a:lnTo>
                  <a:lnTo>
                    <a:pt x="153191" y="21065"/>
                  </a:lnTo>
                  <a:lnTo>
                    <a:pt x="153677" y="20103"/>
                  </a:lnTo>
                  <a:close/>
                  <a:moveTo>
                    <a:pt x="132558" y="13167"/>
                  </a:moveTo>
                  <a:lnTo>
                    <a:pt x="137212" y="13424"/>
                  </a:lnTo>
                  <a:lnTo>
                    <a:pt x="144575" y="14860"/>
                  </a:lnTo>
                  <a:lnTo>
                    <a:pt x="145061" y="14843"/>
                  </a:lnTo>
                  <a:lnTo>
                    <a:pt x="144977" y="14329"/>
                  </a:lnTo>
                  <a:lnTo>
                    <a:pt x="145101" y="14184"/>
                  </a:lnTo>
                  <a:lnTo>
                    <a:pt x="145538" y="14560"/>
                  </a:lnTo>
                  <a:lnTo>
                    <a:pt x="145404" y="15610"/>
                  </a:lnTo>
                  <a:lnTo>
                    <a:pt x="144240" y="15867"/>
                  </a:lnTo>
                  <a:lnTo>
                    <a:pt x="143159" y="15766"/>
                  </a:lnTo>
                  <a:lnTo>
                    <a:pt x="142381" y="16306"/>
                  </a:lnTo>
                  <a:lnTo>
                    <a:pt x="140280" y="18330"/>
                  </a:lnTo>
                  <a:lnTo>
                    <a:pt x="138861" y="17991"/>
                  </a:lnTo>
                  <a:lnTo>
                    <a:pt x="137130" y="18444"/>
                  </a:lnTo>
                  <a:lnTo>
                    <a:pt x="134089" y="18488"/>
                  </a:lnTo>
                  <a:lnTo>
                    <a:pt x="130142" y="17597"/>
                  </a:lnTo>
                  <a:lnTo>
                    <a:pt x="129064" y="18347"/>
                  </a:lnTo>
                  <a:lnTo>
                    <a:pt x="127656" y="18140"/>
                  </a:lnTo>
                  <a:lnTo>
                    <a:pt x="126264" y="18961"/>
                  </a:lnTo>
                  <a:lnTo>
                    <a:pt x="125689" y="18920"/>
                  </a:lnTo>
                  <a:lnTo>
                    <a:pt x="125355" y="17714"/>
                  </a:lnTo>
                  <a:lnTo>
                    <a:pt x="125378" y="17096"/>
                  </a:lnTo>
                  <a:lnTo>
                    <a:pt x="127027" y="16573"/>
                  </a:lnTo>
                  <a:lnTo>
                    <a:pt x="126782" y="14679"/>
                  </a:lnTo>
                  <a:lnTo>
                    <a:pt x="128116" y="13731"/>
                  </a:lnTo>
                  <a:lnTo>
                    <a:pt x="130412" y="13813"/>
                  </a:lnTo>
                  <a:close/>
                  <a:moveTo>
                    <a:pt x="192788" y="0"/>
                  </a:moveTo>
                  <a:lnTo>
                    <a:pt x="193939" y="194"/>
                  </a:lnTo>
                  <a:lnTo>
                    <a:pt x="195980" y="1712"/>
                  </a:lnTo>
                  <a:lnTo>
                    <a:pt x="196866" y="4419"/>
                  </a:lnTo>
                  <a:lnTo>
                    <a:pt x="196817" y="5218"/>
                  </a:lnTo>
                  <a:lnTo>
                    <a:pt x="195219" y="4814"/>
                  </a:lnTo>
                  <a:lnTo>
                    <a:pt x="194781" y="4933"/>
                  </a:lnTo>
                  <a:lnTo>
                    <a:pt x="192012" y="2620"/>
                  </a:lnTo>
                  <a:lnTo>
                    <a:pt x="192056" y="1205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80" name="ee4p_SB_1_82333">
              <a:extLst>
                <a:ext uri="{FF2B5EF4-FFF2-40B4-BE49-F238E27FC236}">
                  <a16:creationId xmlns:a16="http://schemas.microsoft.com/office/drawing/2014/main" id="{40D72B44-650F-B195-E24B-DBB7EF363CE8}"/>
                </a:ext>
              </a:extLst>
            </p:cNvPr>
            <p:cNvSpPr>
              <a:spLocks noChangeAspect="1"/>
            </p:cNvSpPr>
            <p:nvPr>
              <p:custDataLst>
                <p:tags r:id="rId8"/>
              </p:custDataLst>
            </p:nvPr>
          </p:nvSpPr>
          <p:spPr>
            <a:xfrm>
              <a:off x="10837764" y="4864573"/>
              <a:ext cx="312451" cy="150275"/>
            </a:xfrm>
            <a:custGeom>
              <a:avLst/>
              <a:gdLst>
                <a:gd name="connsiteX0" fmla="*/ 245740 w 248798"/>
                <a:gd name="connsiteY0" fmla="*/ 110641 h 116489"/>
                <a:gd name="connsiteX1" fmla="*/ 247168 w 248798"/>
                <a:gd name="connsiteY1" fmla="*/ 110810 h 116489"/>
                <a:gd name="connsiteX2" fmla="*/ 247602 w 248798"/>
                <a:gd name="connsiteY2" fmla="*/ 111950 h 116489"/>
                <a:gd name="connsiteX3" fmla="*/ 248798 w 248798"/>
                <a:gd name="connsiteY3" fmla="*/ 112744 h 116489"/>
                <a:gd name="connsiteX4" fmla="*/ 246844 w 248798"/>
                <a:gd name="connsiteY4" fmla="*/ 113107 h 116489"/>
                <a:gd name="connsiteX5" fmla="*/ 246072 w 248798"/>
                <a:gd name="connsiteY5" fmla="*/ 113018 h 116489"/>
                <a:gd name="connsiteX6" fmla="*/ 244779 w 248798"/>
                <a:gd name="connsiteY6" fmla="*/ 111079 h 116489"/>
                <a:gd name="connsiteX7" fmla="*/ 95578 w 248798"/>
                <a:gd name="connsiteY7" fmla="*/ 108417 h 116489"/>
                <a:gd name="connsiteX8" fmla="*/ 97289 w 248798"/>
                <a:gd name="connsiteY8" fmla="*/ 108884 h 116489"/>
                <a:gd name="connsiteX9" fmla="*/ 105501 w 248798"/>
                <a:gd name="connsiteY9" fmla="*/ 113433 h 116489"/>
                <a:gd name="connsiteX10" fmla="*/ 107455 w 248798"/>
                <a:gd name="connsiteY10" fmla="*/ 114843 h 116489"/>
                <a:gd name="connsiteX11" fmla="*/ 108321 w 248798"/>
                <a:gd name="connsiteY11" fmla="*/ 115719 h 116489"/>
                <a:gd name="connsiteX12" fmla="*/ 106779 w 248798"/>
                <a:gd name="connsiteY12" fmla="*/ 116489 h 116489"/>
                <a:gd name="connsiteX13" fmla="*/ 105376 w 248798"/>
                <a:gd name="connsiteY13" fmla="*/ 116101 h 116489"/>
                <a:gd name="connsiteX14" fmla="*/ 104303 w 248798"/>
                <a:gd name="connsiteY14" fmla="*/ 115517 h 116489"/>
                <a:gd name="connsiteX15" fmla="*/ 103430 w 248798"/>
                <a:gd name="connsiteY15" fmla="*/ 113792 h 116489"/>
                <a:gd name="connsiteX16" fmla="*/ 101554 w 248798"/>
                <a:gd name="connsiteY16" fmla="*/ 112718 h 116489"/>
                <a:gd name="connsiteX17" fmla="*/ 98884 w 248798"/>
                <a:gd name="connsiteY17" fmla="*/ 112269 h 116489"/>
                <a:gd name="connsiteX18" fmla="*/ 97790 w 248798"/>
                <a:gd name="connsiteY18" fmla="*/ 111525 h 116489"/>
                <a:gd name="connsiteX19" fmla="*/ 97505 w 248798"/>
                <a:gd name="connsiteY19" fmla="*/ 111158 h 116489"/>
                <a:gd name="connsiteX20" fmla="*/ 95656 w 248798"/>
                <a:gd name="connsiteY20" fmla="*/ 110827 h 116489"/>
                <a:gd name="connsiteX21" fmla="*/ 95121 w 248798"/>
                <a:gd name="connsiteY21" fmla="*/ 109895 h 116489"/>
                <a:gd name="connsiteX22" fmla="*/ 95276 w 248798"/>
                <a:gd name="connsiteY22" fmla="*/ 108926 h 116489"/>
                <a:gd name="connsiteX23" fmla="*/ 228779 w 248798"/>
                <a:gd name="connsiteY23" fmla="*/ 90271 h 116489"/>
                <a:gd name="connsiteX24" fmla="*/ 231031 w 248798"/>
                <a:gd name="connsiteY24" fmla="*/ 90690 h 116489"/>
                <a:gd name="connsiteX25" fmla="*/ 231836 w 248798"/>
                <a:gd name="connsiteY25" fmla="*/ 90985 h 116489"/>
                <a:gd name="connsiteX26" fmla="*/ 231124 w 248798"/>
                <a:gd name="connsiteY26" fmla="*/ 92151 h 116489"/>
                <a:gd name="connsiteX27" fmla="*/ 231196 w 248798"/>
                <a:gd name="connsiteY27" fmla="*/ 92433 h 116489"/>
                <a:gd name="connsiteX28" fmla="*/ 229431 w 248798"/>
                <a:gd name="connsiteY28" fmla="*/ 92819 h 116489"/>
                <a:gd name="connsiteX29" fmla="*/ 228869 w 248798"/>
                <a:gd name="connsiteY29" fmla="*/ 92710 h 116489"/>
                <a:gd name="connsiteX30" fmla="*/ 227548 w 248798"/>
                <a:gd name="connsiteY30" fmla="*/ 92918 h 116489"/>
                <a:gd name="connsiteX31" fmla="*/ 226129 w 248798"/>
                <a:gd name="connsiteY31" fmla="*/ 94528 h 116489"/>
                <a:gd name="connsiteX32" fmla="*/ 225079 w 248798"/>
                <a:gd name="connsiteY32" fmla="*/ 94302 h 116489"/>
                <a:gd name="connsiteX33" fmla="*/ 224257 w 248798"/>
                <a:gd name="connsiteY33" fmla="*/ 94361 h 116489"/>
                <a:gd name="connsiteX34" fmla="*/ 223630 w 248798"/>
                <a:gd name="connsiteY34" fmla="*/ 93035 h 116489"/>
                <a:gd name="connsiteX35" fmla="*/ 223618 w 248798"/>
                <a:gd name="connsiteY35" fmla="*/ 92394 h 116489"/>
                <a:gd name="connsiteX36" fmla="*/ 224624 w 248798"/>
                <a:gd name="connsiteY36" fmla="*/ 92496 h 116489"/>
                <a:gd name="connsiteX37" fmla="*/ 225153 w 248798"/>
                <a:gd name="connsiteY37" fmla="*/ 91208 h 116489"/>
                <a:gd name="connsiteX38" fmla="*/ 226243 w 248798"/>
                <a:gd name="connsiteY38" fmla="*/ 90565 h 116489"/>
                <a:gd name="connsiteX39" fmla="*/ 124430 w 248798"/>
                <a:gd name="connsiteY39" fmla="*/ 80063 h 116489"/>
                <a:gd name="connsiteX40" fmla="*/ 126145 w 248798"/>
                <a:gd name="connsiteY40" fmla="*/ 80089 h 116489"/>
                <a:gd name="connsiteX41" fmla="*/ 128209 w 248798"/>
                <a:gd name="connsiteY41" fmla="*/ 80814 h 116489"/>
                <a:gd name="connsiteX42" fmla="*/ 132147 w 248798"/>
                <a:gd name="connsiteY42" fmla="*/ 83358 h 116489"/>
                <a:gd name="connsiteX43" fmla="*/ 133124 w 248798"/>
                <a:gd name="connsiteY43" fmla="*/ 83792 h 116489"/>
                <a:gd name="connsiteX44" fmla="*/ 133509 w 248798"/>
                <a:gd name="connsiteY44" fmla="*/ 84150 h 116489"/>
                <a:gd name="connsiteX45" fmla="*/ 136290 w 248798"/>
                <a:gd name="connsiteY45" fmla="*/ 85464 h 116489"/>
                <a:gd name="connsiteX46" fmla="*/ 137909 w 248798"/>
                <a:gd name="connsiteY46" fmla="*/ 85248 h 116489"/>
                <a:gd name="connsiteX47" fmla="*/ 140308 w 248798"/>
                <a:gd name="connsiteY47" fmla="*/ 86151 h 116489"/>
                <a:gd name="connsiteX48" fmla="*/ 142133 w 248798"/>
                <a:gd name="connsiteY48" fmla="*/ 85636 h 116489"/>
                <a:gd name="connsiteX49" fmla="*/ 143271 w 248798"/>
                <a:gd name="connsiteY49" fmla="*/ 86804 h 116489"/>
                <a:gd name="connsiteX50" fmla="*/ 146154 w 248798"/>
                <a:gd name="connsiteY50" fmla="*/ 91363 h 116489"/>
                <a:gd name="connsiteX51" fmla="*/ 146171 w 248798"/>
                <a:gd name="connsiteY51" fmla="*/ 92843 h 116489"/>
                <a:gd name="connsiteX52" fmla="*/ 148058 w 248798"/>
                <a:gd name="connsiteY52" fmla="*/ 93896 h 116489"/>
                <a:gd name="connsiteX53" fmla="*/ 146464 w 248798"/>
                <a:gd name="connsiteY53" fmla="*/ 94095 h 116489"/>
                <a:gd name="connsiteX54" fmla="*/ 144254 w 248798"/>
                <a:gd name="connsiteY54" fmla="*/ 93551 h 116489"/>
                <a:gd name="connsiteX55" fmla="*/ 142537 w 248798"/>
                <a:gd name="connsiteY55" fmla="*/ 93922 h 116489"/>
                <a:gd name="connsiteX56" fmla="*/ 140746 w 248798"/>
                <a:gd name="connsiteY56" fmla="*/ 93038 h 116489"/>
                <a:gd name="connsiteX57" fmla="*/ 137721 w 248798"/>
                <a:gd name="connsiteY57" fmla="*/ 92579 h 116489"/>
                <a:gd name="connsiteX58" fmla="*/ 135089 w 248798"/>
                <a:gd name="connsiteY58" fmla="*/ 91518 h 116489"/>
                <a:gd name="connsiteX59" fmla="*/ 129585 w 248798"/>
                <a:gd name="connsiteY59" fmla="*/ 88153 h 116489"/>
                <a:gd name="connsiteX60" fmla="*/ 129615 w 248798"/>
                <a:gd name="connsiteY60" fmla="*/ 86474 h 116489"/>
                <a:gd name="connsiteX61" fmla="*/ 128727 w 248798"/>
                <a:gd name="connsiteY61" fmla="*/ 85654 h 116489"/>
                <a:gd name="connsiteX62" fmla="*/ 128459 w 248798"/>
                <a:gd name="connsiteY62" fmla="*/ 83572 h 116489"/>
                <a:gd name="connsiteX63" fmla="*/ 126490 w 248798"/>
                <a:gd name="connsiteY63" fmla="*/ 82913 h 116489"/>
                <a:gd name="connsiteX64" fmla="*/ 124191 w 248798"/>
                <a:gd name="connsiteY64" fmla="*/ 82790 h 116489"/>
                <a:gd name="connsiteX65" fmla="*/ 124005 w 248798"/>
                <a:gd name="connsiteY65" fmla="*/ 81806 h 116489"/>
                <a:gd name="connsiteX66" fmla="*/ 125743 w 248798"/>
                <a:gd name="connsiteY66" fmla="*/ 61070 h 116489"/>
                <a:gd name="connsiteX67" fmla="*/ 126687 w 248798"/>
                <a:gd name="connsiteY67" fmla="*/ 61405 h 116489"/>
                <a:gd name="connsiteX68" fmla="*/ 129805 w 248798"/>
                <a:gd name="connsiteY68" fmla="*/ 67143 h 116489"/>
                <a:gd name="connsiteX69" fmla="*/ 130049 w 248798"/>
                <a:gd name="connsiteY69" fmla="*/ 69531 h 116489"/>
                <a:gd name="connsiteX70" fmla="*/ 129937 w 248798"/>
                <a:gd name="connsiteY70" fmla="*/ 70358 h 116489"/>
                <a:gd name="connsiteX71" fmla="*/ 128259 w 248798"/>
                <a:gd name="connsiteY71" fmla="*/ 68603 h 116489"/>
                <a:gd name="connsiteX72" fmla="*/ 127475 w 248798"/>
                <a:gd name="connsiteY72" fmla="*/ 69224 h 116489"/>
                <a:gd name="connsiteX73" fmla="*/ 126752 w 248798"/>
                <a:gd name="connsiteY73" fmla="*/ 68392 h 116489"/>
                <a:gd name="connsiteX74" fmla="*/ 126801 w 248798"/>
                <a:gd name="connsiteY74" fmla="*/ 66579 h 116489"/>
                <a:gd name="connsiteX75" fmla="*/ 126911 w 248798"/>
                <a:gd name="connsiteY75" fmla="*/ 64646 h 116489"/>
                <a:gd name="connsiteX76" fmla="*/ 126585 w 248798"/>
                <a:gd name="connsiteY76" fmla="*/ 63182 h 116489"/>
                <a:gd name="connsiteX77" fmla="*/ 88642 w 248798"/>
                <a:gd name="connsiteY77" fmla="*/ 59179 h 116489"/>
                <a:gd name="connsiteX78" fmla="*/ 90059 w 248798"/>
                <a:gd name="connsiteY78" fmla="*/ 59269 h 116489"/>
                <a:gd name="connsiteX79" fmla="*/ 94929 w 248798"/>
                <a:gd name="connsiteY79" fmla="*/ 62851 h 116489"/>
                <a:gd name="connsiteX80" fmla="*/ 97023 w 248798"/>
                <a:gd name="connsiteY80" fmla="*/ 62525 h 116489"/>
                <a:gd name="connsiteX81" fmla="*/ 103419 w 248798"/>
                <a:gd name="connsiteY81" fmla="*/ 62590 h 116489"/>
                <a:gd name="connsiteX82" fmla="*/ 107192 w 248798"/>
                <a:gd name="connsiteY82" fmla="*/ 65147 h 116489"/>
                <a:gd name="connsiteX83" fmla="*/ 109409 w 248798"/>
                <a:gd name="connsiteY83" fmla="*/ 66322 h 116489"/>
                <a:gd name="connsiteX84" fmla="*/ 110656 w 248798"/>
                <a:gd name="connsiteY84" fmla="*/ 68614 h 116489"/>
                <a:gd name="connsiteX85" fmla="*/ 112195 w 248798"/>
                <a:gd name="connsiteY85" fmla="*/ 69137 h 116489"/>
                <a:gd name="connsiteX86" fmla="*/ 113143 w 248798"/>
                <a:gd name="connsiteY86" fmla="*/ 70305 h 116489"/>
                <a:gd name="connsiteX87" fmla="*/ 113687 w 248798"/>
                <a:gd name="connsiteY87" fmla="*/ 72435 h 116489"/>
                <a:gd name="connsiteX88" fmla="*/ 113305 w 248798"/>
                <a:gd name="connsiteY88" fmla="*/ 72782 h 116489"/>
                <a:gd name="connsiteX89" fmla="*/ 111346 w 248798"/>
                <a:gd name="connsiteY89" fmla="*/ 73575 h 116489"/>
                <a:gd name="connsiteX90" fmla="*/ 109934 w 248798"/>
                <a:gd name="connsiteY90" fmla="*/ 73904 h 116489"/>
                <a:gd name="connsiteX91" fmla="*/ 106229 w 248798"/>
                <a:gd name="connsiteY91" fmla="*/ 73148 h 116489"/>
                <a:gd name="connsiteX92" fmla="*/ 102679 w 248798"/>
                <a:gd name="connsiteY92" fmla="*/ 71508 h 116489"/>
                <a:gd name="connsiteX93" fmla="*/ 95630 w 248798"/>
                <a:gd name="connsiteY93" fmla="*/ 71310 h 116489"/>
                <a:gd name="connsiteX94" fmla="*/ 92344 w 248798"/>
                <a:gd name="connsiteY94" fmla="*/ 70844 h 116489"/>
                <a:gd name="connsiteX95" fmla="*/ 91217 w 248798"/>
                <a:gd name="connsiteY95" fmla="*/ 70218 h 116489"/>
                <a:gd name="connsiteX96" fmla="*/ 90172 w 248798"/>
                <a:gd name="connsiteY96" fmla="*/ 69383 h 116489"/>
                <a:gd name="connsiteX97" fmla="*/ 88513 w 248798"/>
                <a:gd name="connsiteY97" fmla="*/ 67392 h 116489"/>
                <a:gd name="connsiteX98" fmla="*/ 87218 w 248798"/>
                <a:gd name="connsiteY98" fmla="*/ 65056 h 116489"/>
                <a:gd name="connsiteX99" fmla="*/ 87006 w 248798"/>
                <a:gd name="connsiteY99" fmla="*/ 63685 h 116489"/>
                <a:gd name="connsiteX100" fmla="*/ 86898 w 248798"/>
                <a:gd name="connsiteY100" fmla="*/ 61078 h 116489"/>
                <a:gd name="connsiteX101" fmla="*/ 87300 w 248798"/>
                <a:gd name="connsiteY101" fmla="*/ 60129 h 116489"/>
                <a:gd name="connsiteX102" fmla="*/ 99297 w 248798"/>
                <a:gd name="connsiteY102" fmla="*/ 53090 h 116489"/>
                <a:gd name="connsiteX103" fmla="*/ 100569 w 248798"/>
                <a:gd name="connsiteY103" fmla="*/ 53403 h 116489"/>
                <a:gd name="connsiteX104" fmla="*/ 101184 w 248798"/>
                <a:gd name="connsiteY104" fmla="*/ 53353 h 116489"/>
                <a:gd name="connsiteX105" fmla="*/ 102640 w 248798"/>
                <a:gd name="connsiteY105" fmla="*/ 54553 h 116489"/>
                <a:gd name="connsiteX106" fmla="*/ 104589 w 248798"/>
                <a:gd name="connsiteY106" fmla="*/ 56318 h 116489"/>
                <a:gd name="connsiteX107" fmla="*/ 103793 w 248798"/>
                <a:gd name="connsiteY107" fmla="*/ 57230 h 116489"/>
                <a:gd name="connsiteX108" fmla="*/ 102213 w 248798"/>
                <a:gd name="connsiteY108" fmla="*/ 56764 h 116489"/>
                <a:gd name="connsiteX109" fmla="*/ 101681 w 248798"/>
                <a:gd name="connsiteY109" fmla="*/ 56950 h 116489"/>
                <a:gd name="connsiteX110" fmla="*/ 101508 w 248798"/>
                <a:gd name="connsiteY110" fmla="*/ 56828 h 116489"/>
                <a:gd name="connsiteX111" fmla="*/ 101176 w 248798"/>
                <a:gd name="connsiteY111" fmla="*/ 55942 h 116489"/>
                <a:gd name="connsiteX112" fmla="*/ 99453 w 248798"/>
                <a:gd name="connsiteY112" fmla="*/ 55064 h 116489"/>
                <a:gd name="connsiteX113" fmla="*/ 97908 w 248798"/>
                <a:gd name="connsiteY113" fmla="*/ 54990 h 116489"/>
                <a:gd name="connsiteX114" fmla="*/ 97708 w 248798"/>
                <a:gd name="connsiteY114" fmla="*/ 53948 h 116489"/>
                <a:gd name="connsiteX115" fmla="*/ 76336 w 248798"/>
                <a:gd name="connsiteY115" fmla="*/ 53036 h 116489"/>
                <a:gd name="connsiteX116" fmla="*/ 76866 w 248798"/>
                <a:gd name="connsiteY116" fmla="*/ 53220 h 116489"/>
                <a:gd name="connsiteX117" fmla="*/ 77360 w 248798"/>
                <a:gd name="connsiteY117" fmla="*/ 53682 h 116489"/>
                <a:gd name="connsiteX118" fmla="*/ 78517 w 248798"/>
                <a:gd name="connsiteY118" fmla="*/ 53858 h 116489"/>
                <a:gd name="connsiteX119" fmla="*/ 78641 w 248798"/>
                <a:gd name="connsiteY119" fmla="*/ 55280 h 116489"/>
                <a:gd name="connsiteX120" fmla="*/ 77636 w 248798"/>
                <a:gd name="connsiteY120" fmla="*/ 55944 h 116489"/>
                <a:gd name="connsiteX121" fmla="*/ 77338 w 248798"/>
                <a:gd name="connsiteY121" fmla="*/ 55998 h 116489"/>
                <a:gd name="connsiteX122" fmla="*/ 76300 w 248798"/>
                <a:gd name="connsiteY122" fmla="*/ 55726 h 116489"/>
                <a:gd name="connsiteX123" fmla="*/ 75039 w 248798"/>
                <a:gd name="connsiteY123" fmla="*/ 55635 h 116489"/>
                <a:gd name="connsiteX124" fmla="*/ 74270 w 248798"/>
                <a:gd name="connsiteY124" fmla="*/ 54862 h 116489"/>
                <a:gd name="connsiteX125" fmla="*/ 75183 w 248798"/>
                <a:gd name="connsiteY125" fmla="*/ 53756 h 116489"/>
                <a:gd name="connsiteX126" fmla="*/ 40882 w 248798"/>
                <a:gd name="connsiteY126" fmla="*/ 46440 h 116489"/>
                <a:gd name="connsiteX127" fmla="*/ 42052 w 248798"/>
                <a:gd name="connsiteY127" fmla="*/ 46588 h 116489"/>
                <a:gd name="connsiteX128" fmla="*/ 43023 w 248798"/>
                <a:gd name="connsiteY128" fmla="*/ 47275 h 116489"/>
                <a:gd name="connsiteX129" fmla="*/ 43514 w 248798"/>
                <a:gd name="connsiteY129" fmla="*/ 47817 h 116489"/>
                <a:gd name="connsiteX130" fmla="*/ 43464 w 248798"/>
                <a:gd name="connsiteY130" fmla="*/ 48601 h 116489"/>
                <a:gd name="connsiteX131" fmla="*/ 42197 w 248798"/>
                <a:gd name="connsiteY131" fmla="*/ 48357 h 116489"/>
                <a:gd name="connsiteX132" fmla="*/ 39368 w 248798"/>
                <a:gd name="connsiteY132" fmla="*/ 47178 h 116489"/>
                <a:gd name="connsiteX133" fmla="*/ 39271 w 248798"/>
                <a:gd name="connsiteY133" fmla="*/ 46638 h 116489"/>
                <a:gd name="connsiteX134" fmla="*/ 55997 w 248798"/>
                <a:gd name="connsiteY134" fmla="*/ 46018 h 116489"/>
                <a:gd name="connsiteX135" fmla="*/ 56580 w 248798"/>
                <a:gd name="connsiteY135" fmla="*/ 47950 h 116489"/>
                <a:gd name="connsiteX136" fmla="*/ 56958 w 248798"/>
                <a:gd name="connsiteY136" fmla="*/ 48675 h 116489"/>
                <a:gd name="connsiteX137" fmla="*/ 55794 w 248798"/>
                <a:gd name="connsiteY137" fmla="*/ 49223 h 116489"/>
                <a:gd name="connsiteX138" fmla="*/ 55308 w 248798"/>
                <a:gd name="connsiteY138" fmla="*/ 49308 h 116489"/>
                <a:gd name="connsiteX139" fmla="*/ 54790 w 248798"/>
                <a:gd name="connsiteY139" fmla="*/ 48420 h 116489"/>
                <a:gd name="connsiteX140" fmla="*/ 51321 w 248798"/>
                <a:gd name="connsiteY140" fmla="*/ 42234 h 116489"/>
                <a:gd name="connsiteX141" fmla="*/ 53686 w 248798"/>
                <a:gd name="connsiteY141" fmla="*/ 42871 h 116489"/>
                <a:gd name="connsiteX142" fmla="*/ 54279 w 248798"/>
                <a:gd name="connsiteY142" fmla="*/ 43313 h 116489"/>
                <a:gd name="connsiteX143" fmla="*/ 52866 w 248798"/>
                <a:gd name="connsiteY143" fmla="*/ 44426 h 116489"/>
                <a:gd name="connsiteX144" fmla="*/ 53337 w 248798"/>
                <a:gd name="connsiteY144" fmla="*/ 44783 h 116489"/>
                <a:gd name="connsiteX145" fmla="*/ 53644 w 248798"/>
                <a:gd name="connsiteY145" fmla="*/ 45314 h 116489"/>
                <a:gd name="connsiteX146" fmla="*/ 53741 w 248798"/>
                <a:gd name="connsiteY146" fmla="*/ 46153 h 116489"/>
                <a:gd name="connsiteX147" fmla="*/ 51564 w 248798"/>
                <a:gd name="connsiteY147" fmla="*/ 47911 h 116489"/>
                <a:gd name="connsiteX148" fmla="*/ 49974 w 248798"/>
                <a:gd name="connsiteY148" fmla="*/ 47317 h 116489"/>
                <a:gd name="connsiteX149" fmla="*/ 48686 w 248798"/>
                <a:gd name="connsiteY149" fmla="*/ 45809 h 116489"/>
                <a:gd name="connsiteX150" fmla="*/ 49109 w 248798"/>
                <a:gd name="connsiteY150" fmla="*/ 43993 h 116489"/>
                <a:gd name="connsiteX151" fmla="*/ 49349 w 248798"/>
                <a:gd name="connsiteY151" fmla="*/ 43513 h 116489"/>
                <a:gd name="connsiteX152" fmla="*/ 49990 w 248798"/>
                <a:gd name="connsiteY152" fmla="*/ 43408 h 116489"/>
                <a:gd name="connsiteX153" fmla="*/ 50624 w 248798"/>
                <a:gd name="connsiteY153" fmla="*/ 43036 h 116489"/>
                <a:gd name="connsiteX154" fmla="*/ 37634 w 248798"/>
                <a:gd name="connsiteY154" fmla="*/ 40289 h 116489"/>
                <a:gd name="connsiteX155" fmla="*/ 38329 w 248798"/>
                <a:gd name="connsiteY155" fmla="*/ 41496 h 116489"/>
                <a:gd name="connsiteX156" fmla="*/ 37722 w 248798"/>
                <a:gd name="connsiteY156" fmla="*/ 43278 h 116489"/>
                <a:gd name="connsiteX157" fmla="*/ 36917 w 248798"/>
                <a:gd name="connsiteY157" fmla="*/ 43732 h 116489"/>
                <a:gd name="connsiteX158" fmla="*/ 36589 w 248798"/>
                <a:gd name="connsiteY158" fmla="*/ 45407 h 116489"/>
                <a:gd name="connsiteX159" fmla="*/ 37843 w 248798"/>
                <a:gd name="connsiteY159" fmla="*/ 46806 h 116489"/>
                <a:gd name="connsiteX160" fmla="*/ 37845 w 248798"/>
                <a:gd name="connsiteY160" fmla="*/ 47132 h 116489"/>
                <a:gd name="connsiteX161" fmla="*/ 36625 w 248798"/>
                <a:gd name="connsiteY161" fmla="*/ 46505 h 116489"/>
                <a:gd name="connsiteX162" fmla="*/ 33937 w 248798"/>
                <a:gd name="connsiteY162" fmla="*/ 43499 h 116489"/>
                <a:gd name="connsiteX163" fmla="*/ 34412 w 248798"/>
                <a:gd name="connsiteY163" fmla="*/ 42495 h 116489"/>
                <a:gd name="connsiteX164" fmla="*/ 36874 w 248798"/>
                <a:gd name="connsiteY164" fmla="*/ 40546 h 116489"/>
                <a:gd name="connsiteX165" fmla="*/ 86615 w 248798"/>
                <a:gd name="connsiteY165" fmla="*/ 39368 h 116489"/>
                <a:gd name="connsiteX166" fmla="*/ 87654 w 248798"/>
                <a:gd name="connsiteY166" fmla="*/ 40146 h 116489"/>
                <a:gd name="connsiteX167" fmla="*/ 87757 w 248798"/>
                <a:gd name="connsiteY167" fmla="*/ 40946 h 116489"/>
                <a:gd name="connsiteX168" fmla="*/ 88673 w 248798"/>
                <a:gd name="connsiteY168" fmla="*/ 42227 h 116489"/>
                <a:gd name="connsiteX169" fmla="*/ 87619 w 248798"/>
                <a:gd name="connsiteY169" fmla="*/ 42529 h 116489"/>
                <a:gd name="connsiteX170" fmla="*/ 86054 w 248798"/>
                <a:gd name="connsiteY170" fmla="*/ 41712 h 116489"/>
                <a:gd name="connsiteX171" fmla="*/ 85374 w 248798"/>
                <a:gd name="connsiteY171" fmla="*/ 40968 h 116489"/>
                <a:gd name="connsiteX172" fmla="*/ 85699 w 248798"/>
                <a:gd name="connsiteY172" fmla="*/ 39807 h 116489"/>
                <a:gd name="connsiteX173" fmla="*/ 112150 w 248798"/>
                <a:gd name="connsiteY173" fmla="*/ 37909 h 116489"/>
                <a:gd name="connsiteX174" fmla="*/ 117639 w 248798"/>
                <a:gd name="connsiteY174" fmla="*/ 44545 h 116489"/>
                <a:gd name="connsiteX175" fmla="*/ 117421 w 248798"/>
                <a:gd name="connsiteY175" fmla="*/ 45722 h 116489"/>
                <a:gd name="connsiteX176" fmla="*/ 116676 w 248798"/>
                <a:gd name="connsiteY176" fmla="*/ 46482 h 116489"/>
                <a:gd name="connsiteX177" fmla="*/ 116460 w 248798"/>
                <a:gd name="connsiteY177" fmla="*/ 48711 h 116489"/>
                <a:gd name="connsiteX178" fmla="*/ 117151 w 248798"/>
                <a:gd name="connsiteY178" fmla="*/ 49569 h 116489"/>
                <a:gd name="connsiteX179" fmla="*/ 118651 w 248798"/>
                <a:gd name="connsiteY179" fmla="*/ 49961 h 116489"/>
                <a:gd name="connsiteX180" fmla="*/ 121200 w 248798"/>
                <a:gd name="connsiteY180" fmla="*/ 52339 h 116489"/>
                <a:gd name="connsiteX181" fmla="*/ 122217 w 248798"/>
                <a:gd name="connsiteY181" fmla="*/ 55251 h 116489"/>
                <a:gd name="connsiteX182" fmla="*/ 122308 w 248798"/>
                <a:gd name="connsiteY182" fmla="*/ 56146 h 116489"/>
                <a:gd name="connsiteX183" fmla="*/ 123366 w 248798"/>
                <a:gd name="connsiteY183" fmla="*/ 57470 h 116489"/>
                <a:gd name="connsiteX184" fmla="*/ 123407 w 248798"/>
                <a:gd name="connsiteY184" fmla="*/ 60255 h 116489"/>
                <a:gd name="connsiteX185" fmla="*/ 125827 w 248798"/>
                <a:gd name="connsiteY185" fmla="*/ 64123 h 116489"/>
                <a:gd name="connsiteX186" fmla="*/ 126039 w 248798"/>
                <a:gd name="connsiteY186" fmla="*/ 65984 h 116489"/>
                <a:gd name="connsiteX187" fmla="*/ 125814 w 248798"/>
                <a:gd name="connsiteY187" fmla="*/ 66821 h 116489"/>
                <a:gd name="connsiteX188" fmla="*/ 124808 w 248798"/>
                <a:gd name="connsiteY188" fmla="*/ 66337 h 116489"/>
                <a:gd name="connsiteX189" fmla="*/ 121914 w 248798"/>
                <a:gd name="connsiteY189" fmla="*/ 61949 h 116489"/>
                <a:gd name="connsiteX190" fmla="*/ 118609 w 248798"/>
                <a:gd name="connsiteY190" fmla="*/ 60057 h 116489"/>
                <a:gd name="connsiteX191" fmla="*/ 118230 w 248798"/>
                <a:gd name="connsiteY191" fmla="*/ 59242 h 116489"/>
                <a:gd name="connsiteX192" fmla="*/ 114893 w 248798"/>
                <a:gd name="connsiteY192" fmla="*/ 56686 h 116489"/>
                <a:gd name="connsiteX193" fmla="*/ 112651 w 248798"/>
                <a:gd name="connsiteY193" fmla="*/ 52385 h 116489"/>
                <a:gd name="connsiteX194" fmla="*/ 110230 w 248798"/>
                <a:gd name="connsiteY194" fmla="*/ 44737 h 116489"/>
                <a:gd name="connsiteX195" fmla="*/ 111368 w 248798"/>
                <a:gd name="connsiteY195" fmla="*/ 42925 h 116489"/>
                <a:gd name="connsiteX196" fmla="*/ 108634 w 248798"/>
                <a:gd name="connsiteY196" fmla="*/ 39218 h 116489"/>
                <a:gd name="connsiteX197" fmla="*/ 108764 w 248798"/>
                <a:gd name="connsiteY197" fmla="*/ 38226 h 116489"/>
                <a:gd name="connsiteX198" fmla="*/ 109919 w 248798"/>
                <a:gd name="connsiteY198" fmla="*/ 38452 h 116489"/>
                <a:gd name="connsiteX199" fmla="*/ 110720 w 248798"/>
                <a:gd name="connsiteY199" fmla="*/ 38407 h 116489"/>
                <a:gd name="connsiteX200" fmla="*/ 111105 w 248798"/>
                <a:gd name="connsiteY200" fmla="*/ 37965 h 116489"/>
                <a:gd name="connsiteX201" fmla="*/ 40091 w 248798"/>
                <a:gd name="connsiteY201" fmla="*/ 30158 h 116489"/>
                <a:gd name="connsiteX202" fmla="*/ 42484 w 248798"/>
                <a:gd name="connsiteY202" fmla="*/ 31054 h 116489"/>
                <a:gd name="connsiteX203" fmla="*/ 42782 w 248798"/>
                <a:gd name="connsiteY203" fmla="*/ 34589 h 116489"/>
                <a:gd name="connsiteX204" fmla="*/ 43644 w 248798"/>
                <a:gd name="connsiteY204" fmla="*/ 35746 h 116489"/>
                <a:gd name="connsiteX205" fmla="*/ 46125 w 248798"/>
                <a:gd name="connsiteY205" fmla="*/ 36311 h 116489"/>
                <a:gd name="connsiteX206" fmla="*/ 47513 w 248798"/>
                <a:gd name="connsiteY206" fmla="*/ 38133 h 116489"/>
                <a:gd name="connsiteX207" fmla="*/ 49109 w 248798"/>
                <a:gd name="connsiteY207" fmla="*/ 42192 h 116489"/>
                <a:gd name="connsiteX208" fmla="*/ 48821 w 248798"/>
                <a:gd name="connsiteY208" fmla="*/ 43591 h 116489"/>
                <a:gd name="connsiteX209" fmla="*/ 47677 w 248798"/>
                <a:gd name="connsiteY209" fmla="*/ 43669 h 116489"/>
                <a:gd name="connsiteX210" fmla="*/ 47360 w 248798"/>
                <a:gd name="connsiteY210" fmla="*/ 44545 h 116489"/>
                <a:gd name="connsiteX211" fmla="*/ 45809 w 248798"/>
                <a:gd name="connsiteY211" fmla="*/ 42577 h 116489"/>
                <a:gd name="connsiteX212" fmla="*/ 43747 w 248798"/>
                <a:gd name="connsiteY212" fmla="*/ 42044 h 116489"/>
                <a:gd name="connsiteX213" fmla="*/ 42242 w 248798"/>
                <a:gd name="connsiteY213" fmla="*/ 40836 h 116489"/>
                <a:gd name="connsiteX214" fmla="*/ 41726 w 248798"/>
                <a:gd name="connsiteY214" fmla="*/ 38439 h 116489"/>
                <a:gd name="connsiteX215" fmla="*/ 41581 w 248798"/>
                <a:gd name="connsiteY215" fmla="*/ 36928 h 116489"/>
                <a:gd name="connsiteX216" fmla="*/ 40391 w 248798"/>
                <a:gd name="connsiteY216" fmla="*/ 36670 h 116489"/>
                <a:gd name="connsiteX217" fmla="*/ 37012 w 248798"/>
                <a:gd name="connsiteY217" fmla="*/ 37048 h 116489"/>
                <a:gd name="connsiteX218" fmla="*/ 35930 w 248798"/>
                <a:gd name="connsiteY218" fmla="*/ 38339 h 116489"/>
                <a:gd name="connsiteX219" fmla="*/ 34381 w 248798"/>
                <a:gd name="connsiteY219" fmla="*/ 37928 h 116489"/>
                <a:gd name="connsiteX220" fmla="*/ 34053 w 248798"/>
                <a:gd name="connsiteY220" fmla="*/ 36770 h 116489"/>
                <a:gd name="connsiteX221" fmla="*/ 34295 w 248798"/>
                <a:gd name="connsiteY221" fmla="*/ 35631 h 116489"/>
                <a:gd name="connsiteX222" fmla="*/ 36353 w 248798"/>
                <a:gd name="connsiteY222" fmla="*/ 34509 h 116489"/>
                <a:gd name="connsiteX223" fmla="*/ 36774 w 248798"/>
                <a:gd name="connsiteY223" fmla="*/ 33066 h 116489"/>
                <a:gd name="connsiteX224" fmla="*/ 38826 w 248798"/>
                <a:gd name="connsiteY224" fmla="*/ 30580 h 116489"/>
                <a:gd name="connsiteX225" fmla="*/ 19741 w 248798"/>
                <a:gd name="connsiteY225" fmla="*/ 30004 h 116489"/>
                <a:gd name="connsiteX226" fmla="*/ 20672 w 248798"/>
                <a:gd name="connsiteY226" fmla="*/ 33062 h 116489"/>
                <a:gd name="connsiteX227" fmla="*/ 20484 w 248798"/>
                <a:gd name="connsiteY227" fmla="*/ 34739 h 116489"/>
                <a:gd name="connsiteX228" fmla="*/ 20214 w 248798"/>
                <a:gd name="connsiteY228" fmla="*/ 35289 h 116489"/>
                <a:gd name="connsiteX229" fmla="*/ 19063 w 248798"/>
                <a:gd name="connsiteY229" fmla="*/ 32545 h 116489"/>
                <a:gd name="connsiteX230" fmla="*/ 19121 w 248798"/>
                <a:gd name="connsiteY230" fmla="*/ 31162 h 116489"/>
                <a:gd name="connsiteX231" fmla="*/ 19320 w 248798"/>
                <a:gd name="connsiteY231" fmla="*/ 30276 h 116489"/>
                <a:gd name="connsiteX232" fmla="*/ 31514 w 248798"/>
                <a:gd name="connsiteY232" fmla="*/ 27706 h 116489"/>
                <a:gd name="connsiteX233" fmla="*/ 32466 w 248798"/>
                <a:gd name="connsiteY233" fmla="*/ 28310 h 116489"/>
                <a:gd name="connsiteX234" fmla="*/ 33358 w 248798"/>
                <a:gd name="connsiteY234" fmla="*/ 29613 h 116489"/>
                <a:gd name="connsiteX235" fmla="*/ 33677 w 248798"/>
                <a:gd name="connsiteY235" fmla="*/ 31275 h 116489"/>
                <a:gd name="connsiteX236" fmla="*/ 33477 w 248798"/>
                <a:gd name="connsiteY236" fmla="*/ 32742 h 116489"/>
                <a:gd name="connsiteX237" fmla="*/ 33043 w 248798"/>
                <a:gd name="connsiteY237" fmla="*/ 33327 h 116489"/>
                <a:gd name="connsiteX238" fmla="*/ 32559 w 248798"/>
                <a:gd name="connsiteY238" fmla="*/ 33664 h 116489"/>
                <a:gd name="connsiteX239" fmla="*/ 30154 w 248798"/>
                <a:gd name="connsiteY239" fmla="*/ 33536 h 116489"/>
                <a:gd name="connsiteX240" fmla="*/ 28320 w 248798"/>
                <a:gd name="connsiteY240" fmla="*/ 31241 h 116489"/>
                <a:gd name="connsiteX241" fmla="*/ 28336 w 248798"/>
                <a:gd name="connsiteY241" fmla="*/ 29541 h 116489"/>
                <a:gd name="connsiteX242" fmla="*/ 29776 w 248798"/>
                <a:gd name="connsiteY242" fmla="*/ 27982 h 116489"/>
                <a:gd name="connsiteX243" fmla="*/ 19534 w 248798"/>
                <a:gd name="connsiteY243" fmla="*/ 21446 h 116489"/>
                <a:gd name="connsiteX244" fmla="*/ 21274 w 248798"/>
                <a:gd name="connsiteY244" fmla="*/ 22304 h 116489"/>
                <a:gd name="connsiteX245" fmla="*/ 23000 w 248798"/>
                <a:gd name="connsiteY245" fmla="*/ 24152 h 116489"/>
                <a:gd name="connsiteX246" fmla="*/ 25021 w 248798"/>
                <a:gd name="connsiteY246" fmla="*/ 24756 h 116489"/>
                <a:gd name="connsiteX247" fmla="*/ 24604 w 248798"/>
                <a:gd name="connsiteY247" fmla="*/ 25981 h 116489"/>
                <a:gd name="connsiteX248" fmla="*/ 22786 w 248798"/>
                <a:gd name="connsiteY248" fmla="*/ 28184 h 116489"/>
                <a:gd name="connsiteX249" fmla="*/ 22341 w 248798"/>
                <a:gd name="connsiteY249" fmla="*/ 29209 h 116489"/>
                <a:gd name="connsiteX250" fmla="*/ 21918 w 248798"/>
                <a:gd name="connsiteY250" fmla="*/ 29515 h 116489"/>
                <a:gd name="connsiteX251" fmla="*/ 21179 w 248798"/>
                <a:gd name="connsiteY251" fmla="*/ 28314 h 116489"/>
                <a:gd name="connsiteX252" fmla="*/ 20642 w 248798"/>
                <a:gd name="connsiteY252" fmla="*/ 27938 h 116489"/>
                <a:gd name="connsiteX253" fmla="*/ 20657 w 248798"/>
                <a:gd name="connsiteY253" fmla="*/ 26600 h 116489"/>
                <a:gd name="connsiteX254" fmla="*/ 18428 w 248798"/>
                <a:gd name="connsiteY254" fmla="*/ 24421 h 116489"/>
                <a:gd name="connsiteX255" fmla="*/ 18240 w 248798"/>
                <a:gd name="connsiteY255" fmla="*/ 22918 h 116489"/>
                <a:gd name="connsiteX256" fmla="*/ 61469 w 248798"/>
                <a:gd name="connsiteY256" fmla="*/ 20795 h 116489"/>
                <a:gd name="connsiteX257" fmla="*/ 67593 w 248798"/>
                <a:gd name="connsiteY257" fmla="*/ 22119 h 116489"/>
                <a:gd name="connsiteX258" fmla="*/ 70433 w 248798"/>
                <a:gd name="connsiteY258" fmla="*/ 24745 h 116489"/>
                <a:gd name="connsiteX259" fmla="*/ 72858 w 248798"/>
                <a:gd name="connsiteY259" fmla="*/ 26231 h 116489"/>
                <a:gd name="connsiteX260" fmla="*/ 73700 w 248798"/>
                <a:gd name="connsiteY260" fmla="*/ 27304 h 116489"/>
                <a:gd name="connsiteX261" fmla="*/ 75885 w 248798"/>
                <a:gd name="connsiteY261" fmla="*/ 28775 h 116489"/>
                <a:gd name="connsiteX262" fmla="*/ 77846 w 248798"/>
                <a:gd name="connsiteY262" fmla="*/ 28909 h 116489"/>
                <a:gd name="connsiteX263" fmla="*/ 79809 w 248798"/>
                <a:gd name="connsiteY263" fmla="*/ 30391 h 116489"/>
                <a:gd name="connsiteX264" fmla="*/ 81596 w 248798"/>
                <a:gd name="connsiteY264" fmla="*/ 30791 h 116489"/>
                <a:gd name="connsiteX265" fmla="*/ 83006 w 248798"/>
                <a:gd name="connsiteY265" fmla="*/ 31566 h 116489"/>
                <a:gd name="connsiteX266" fmla="*/ 92109 w 248798"/>
                <a:gd name="connsiteY266" fmla="*/ 38198 h 116489"/>
                <a:gd name="connsiteX267" fmla="*/ 91022 w 248798"/>
                <a:gd name="connsiteY267" fmla="*/ 39959 h 116489"/>
                <a:gd name="connsiteX268" fmla="*/ 92232 w 248798"/>
                <a:gd name="connsiteY268" fmla="*/ 41238 h 116489"/>
                <a:gd name="connsiteX269" fmla="*/ 92906 w 248798"/>
                <a:gd name="connsiteY269" fmla="*/ 42814 h 116489"/>
                <a:gd name="connsiteX270" fmla="*/ 92944 w 248798"/>
                <a:gd name="connsiteY270" fmla="*/ 43330 h 116489"/>
                <a:gd name="connsiteX271" fmla="*/ 89973 w 248798"/>
                <a:gd name="connsiteY271" fmla="*/ 41468 h 116489"/>
                <a:gd name="connsiteX272" fmla="*/ 87718 w 248798"/>
                <a:gd name="connsiteY272" fmla="*/ 39194 h 116489"/>
                <a:gd name="connsiteX273" fmla="*/ 81296 w 248798"/>
                <a:gd name="connsiteY273" fmla="*/ 36718 h 116489"/>
                <a:gd name="connsiteX274" fmla="*/ 79916 w 248798"/>
                <a:gd name="connsiteY274" fmla="*/ 35448 h 116489"/>
                <a:gd name="connsiteX275" fmla="*/ 78757 w 248798"/>
                <a:gd name="connsiteY275" fmla="*/ 35289 h 116489"/>
                <a:gd name="connsiteX276" fmla="*/ 75462 w 248798"/>
                <a:gd name="connsiteY276" fmla="*/ 33220 h 116489"/>
                <a:gd name="connsiteX277" fmla="*/ 72229 w 248798"/>
                <a:gd name="connsiteY277" fmla="*/ 31827 h 116489"/>
                <a:gd name="connsiteX278" fmla="*/ 70251 w 248798"/>
                <a:gd name="connsiteY278" fmla="*/ 30026 h 116489"/>
                <a:gd name="connsiteX279" fmla="*/ 69748 w 248798"/>
                <a:gd name="connsiteY279" fmla="*/ 29289 h 116489"/>
                <a:gd name="connsiteX280" fmla="*/ 68558 w 248798"/>
                <a:gd name="connsiteY280" fmla="*/ 28851 h 116489"/>
                <a:gd name="connsiteX281" fmla="*/ 66529 w 248798"/>
                <a:gd name="connsiteY281" fmla="*/ 26874 h 116489"/>
                <a:gd name="connsiteX282" fmla="*/ 64555 w 248798"/>
                <a:gd name="connsiteY282" fmla="*/ 25562 h 116489"/>
                <a:gd name="connsiteX283" fmla="*/ 63857 w 248798"/>
                <a:gd name="connsiteY283" fmla="*/ 23166 h 116489"/>
                <a:gd name="connsiteX284" fmla="*/ 61942 w 248798"/>
                <a:gd name="connsiteY284" fmla="*/ 21515 h 116489"/>
                <a:gd name="connsiteX285" fmla="*/ 1359 w 248798"/>
                <a:gd name="connsiteY285" fmla="*/ 8086 h 116489"/>
                <a:gd name="connsiteX286" fmla="*/ 4137 w 248798"/>
                <a:gd name="connsiteY286" fmla="*/ 9648 h 116489"/>
                <a:gd name="connsiteX287" fmla="*/ 3589 w 248798"/>
                <a:gd name="connsiteY287" fmla="*/ 10846 h 116489"/>
                <a:gd name="connsiteX288" fmla="*/ 1367 w 248798"/>
                <a:gd name="connsiteY288" fmla="*/ 11378 h 116489"/>
                <a:gd name="connsiteX289" fmla="*/ 0 w 248798"/>
                <a:gd name="connsiteY289" fmla="*/ 10664 h 116489"/>
                <a:gd name="connsiteX290" fmla="*/ 607 w 248798"/>
                <a:gd name="connsiteY290" fmla="*/ 8969 h 116489"/>
                <a:gd name="connsiteX291" fmla="*/ 17731 w 248798"/>
                <a:gd name="connsiteY291" fmla="*/ 0 h 116489"/>
                <a:gd name="connsiteX292" fmla="*/ 20491 w 248798"/>
                <a:gd name="connsiteY292" fmla="*/ 713 h 116489"/>
                <a:gd name="connsiteX293" fmla="*/ 24056 w 248798"/>
                <a:gd name="connsiteY293" fmla="*/ 3446 h 116489"/>
                <a:gd name="connsiteX294" fmla="*/ 29912 w 248798"/>
                <a:gd name="connsiteY294" fmla="*/ 6288 h 116489"/>
                <a:gd name="connsiteX295" fmla="*/ 31509 w 248798"/>
                <a:gd name="connsiteY295" fmla="*/ 7737 h 116489"/>
                <a:gd name="connsiteX296" fmla="*/ 32525 w 248798"/>
                <a:gd name="connsiteY296" fmla="*/ 11215 h 116489"/>
                <a:gd name="connsiteX297" fmla="*/ 33518 w 248798"/>
                <a:gd name="connsiteY297" fmla="*/ 12250 h 116489"/>
                <a:gd name="connsiteX298" fmla="*/ 36675 w 248798"/>
                <a:gd name="connsiteY298" fmla="*/ 14920 h 116489"/>
                <a:gd name="connsiteX299" fmla="*/ 38345 w 248798"/>
                <a:gd name="connsiteY299" fmla="*/ 15545 h 116489"/>
                <a:gd name="connsiteX300" fmla="*/ 39228 w 248798"/>
                <a:gd name="connsiteY300" fmla="*/ 15658 h 116489"/>
                <a:gd name="connsiteX301" fmla="*/ 40005 w 248798"/>
                <a:gd name="connsiteY301" fmla="*/ 16029 h 116489"/>
                <a:gd name="connsiteX302" fmla="*/ 40710 w 248798"/>
                <a:gd name="connsiteY302" fmla="*/ 16813 h 116489"/>
                <a:gd name="connsiteX303" fmla="*/ 39000 w 248798"/>
                <a:gd name="connsiteY303" fmla="*/ 18148 h 116489"/>
                <a:gd name="connsiteX304" fmla="*/ 36744 w 248798"/>
                <a:gd name="connsiteY304" fmla="*/ 17423 h 116489"/>
                <a:gd name="connsiteX305" fmla="*/ 36258 w 248798"/>
                <a:gd name="connsiteY305" fmla="*/ 16674 h 116489"/>
                <a:gd name="connsiteX306" fmla="*/ 36200 w 248798"/>
                <a:gd name="connsiteY306" fmla="*/ 16277 h 116489"/>
                <a:gd name="connsiteX307" fmla="*/ 34625 w 248798"/>
                <a:gd name="connsiteY307" fmla="*/ 16533 h 116489"/>
                <a:gd name="connsiteX308" fmla="*/ 31488 w 248798"/>
                <a:gd name="connsiteY308" fmla="*/ 15879 h 116489"/>
                <a:gd name="connsiteX309" fmla="*/ 27126 w 248798"/>
                <a:gd name="connsiteY309" fmla="*/ 12697 h 116489"/>
                <a:gd name="connsiteX310" fmla="*/ 22516 w 248798"/>
                <a:gd name="connsiteY310" fmla="*/ 6709 h 116489"/>
                <a:gd name="connsiteX311" fmla="*/ 18074 w 248798"/>
                <a:gd name="connsiteY311" fmla="*/ 3392 h 116489"/>
                <a:gd name="connsiteX312" fmla="*/ 17245 w 248798"/>
                <a:gd name="connsiteY312" fmla="*/ 2361 h 116489"/>
                <a:gd name="connsiteX313" fmla="*/ 17137 w 248798"/>
                <a:gd name="connsiteY313" fmla="*/ 652 h 1164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</a:cxnLst>
              <a:rect l="l" t="t" r="r" b="b"/>
              <a:pathLst>
                <a:path w="248798" h="116489">
                  <a:moveTo>
                    <a:pt x="245740" y="110641"/>
                  </a:moveTo>
                  <a:lnTo>
                    <a:pt x="247168" y="110810"/>
                  </a:lnTo>
                  <a:lnTo>
                    <a:pt x="247602" y="111950"/>
                  </a:lnTo>
                  <a:lnTo>
                    <a:pt x="248798" y="112744"/>
                  </a:lnTo>
                  <a:lnTo>
                    <a:pt x="246844" y="113107"/>
                  </a:lnTo>
                  <a:lnTo>
                    <a:pt x="246072" y="113018"/>
                  </a:lnTo>
                  <a:lnTo>
                    <a:pt x="244779" y="111079"/>
                  </a:lnTo>
                  <a:close/>
                  <a:moveTo>
                    <a:pt x="95578" y="108417"/>
                  </a:moveTo>
                  <a:lnTo>
                    <a:pt x="97289" y="108884"/>
                  </a:lnTo>
                  <a:lnTo>
                    <a:pt x="105501" y="113433"/>
                  </a:lnTo>
                  <a:lnTo>
                    <a:pt x="107455" y="114843"/>
                  </a:lnTo>
                  <a:lnTo>
                    <a:pt x="108321" y="115719"/>
                  </a:lnTo>
                  <a:lnTo>
                    <a:pt x="106779" y="116489"/>
                  </a:lnTo>
                  <a:lnTo>
                    <a:pt x="105376" y="116101"/>
                  </a:lnTo>
                  <a:lnTo>
                    <a:pt x="104303" y="115517"/>
                  </a:lnTo>
                  <a:lnTo>
                    <a:pt x="103430" y="113792"/>
                  </a:lnTo>
                  <a:lnTo>
                    <a:pt x="101554" y="112718"/>
                  </a:lnTo>
                  <a:lnTo>
                    <a:pt x="98884" y="112269"/>
                  </a:lnTo>
                  <a:lnTo>
                    <a:pt x="97790" y="111525"/>
                  </a:lnTo>
                  <a:lnTo>
                    <a:pt x="97505" y="111158"/>
                  </a:lnTo>
                  <a:lnTo>
                    <a:pt x="95656" y="110827"/>
                  </a:lnTo>
                  <a:lnTo>
                    <a:pt x="95121" y="109895"/>
                  </a:lnTo>
                  <a:lnTo>
                    <a:pt x="95276" y="108926"/>
                  </a:lnTo>
                  <a:close/>
                  <a:moveTo>
                    <a:pt x="228779" y="90271"/>
                  </a:moveTo>
                  <a:lnTo>
                    <a:pt x="231031" y="90690"/>
                  </a:lnTo>
                  <a:lnTo>
                    <a:pt x="231836" y="90985"/>
                  </a:lnTo>
                  <a:lnTo>
                    <a:pt x="231124" y="92151"/>
                  </a:lnTo>
                  <a:lnTo>
                    <a:pt x="231196" y="92433"/>
                  </a:lnTo>
                  <a:lnTo>
                    <a:pt x="229431" y="92819"/>
                  </a:lnTo>
                  <a:lnTo>
                    <a:pt x="228869" y="92710"/>
                  </a:lnTo>
                  <a:lnTo>
                    <a:pt x="227548" y="92918"/>
                  </a:lnTo>
                  <a:lnTo>
                    <a:pt x="226129" y="94528"/>
                  </a:lnTo>
                  <a:lnTo>
                    <a:pt x="225079" y="94302"/>
                  </a:lnTo>
                  <a:lnTo>
                    <a:pt x="224257" y="94361"/>
                  </a:lnTo>
                  <a:lnTo>
                    <a:pt x="223630" y="93035"/>
                  </a:lnTo>
                  <a:lnTo>
                    <a:pt x="223618" y="92394"/>
                  </a:lnTo>
                  <a:lnTo>
                    <a:pt x="224624" y="92496"/>
                  </a:lnTo>
                  <a:lnTo>
                    <a:pt x="225153" y="91208"/>
                  </a:lnTo>
                  <a:lnTo>
                    <a:pt x="226243" y="90565"/>
                  </a:lnTo>
                  <a:close/>
                  <a:moveTo>
                    <a:pt x="124430" y="80063"/>
                  </a:moveTo>
                  <a:lnTo>
                    <a:pt x="126145" y="80089"/>
                  </a:lnTo>
                  <a:lnTo>
                    <a:pt x="128209" y="80814"/>
                  </a:lnTo>
                  <a:lnTo>
                    <a:pt x="132147" y="83358"/>
                  </a:lnTo>
                  <a:lnTo>
                    <a:pt x="133124" y="83792"/>
                  </a:lnTo>
                  <a:lnTo>
                    <a:pt x="133509" y="84150"/>
                  </a:lnTo>
                  <a:lnTo>
                    <a:pt x="136290" y="85464"/>
                  </a:lnTo>
                  <a:lnTo>
                    <a:pt x="137909" y="85248"/>
                  </a:lnTo>
                  <a:lnTo>
                    <a:pt x="140308" y="86151"/>
                  </a:lnTo>
                  <a:lnTo>
                    <a:pt x="142133" y="85636"/>
                  </a:lnTo>
                  <a:lnTo>
                    <a:pt x="143271" y="86804"/>
                  </a:lnTo>
                  <a:lnTo>
                    <a:pt x="146154" y="91363"/>
                  </a:lnTo>
                  <a:lnTo>
                    <a:pt x="146171" y="92843"/>
                  </a:lnTo>
                  <a:lnTo>
                    <a:pt x="148058" y="93896"/>
                  </a:lnTo>
                  <a:lnTo>
                    <a:pt x="146464" y="94095"/>
                  </a:lnTo>
                  <a:lnTo>
                    <a:pt x="144254" y="93551"/>
                  </a:lnTo>
                  <a:lnTo>
                    <a:pt x="142537" y="93922"/>
                  </a:lnTo>
                  <a:lnTo>
                    <a:pt x="140746" y="93038"/>
                  </a:lnTo>
                  <a:lnTo>
                    <a:pt x="137721" y="92579"/>
                  </a:lnTo>
                  <a:lnTo>
                    <a:pt x="135089" y="91518"/>
                  </a:lnTo>
                  <a:lnTo>
                    <a:pt x="129585" y="88153"/>
                  </a:lnTo>
                  <a:lnTo>
                    <a:pt x="129615" y="86474"/>
                  </a:lnTo>
                  <a:lnTo>
                    <a:pt x="128727" y="85654"/>
                  </a:lnTo>
                  <a:lnTo>
                    <a:pt x="128459" y="83572"/>
                  </a:lnTo>
                  <a:lnTo>
                    <a:pt x="126490" y="82913"/>
                  </a:lnTo>
                  <a:lnTo>
                    <a:pt x="124191" y="82790"/>
                  </a:lnTo>
                  <a:lnTo>
                    <a:pt x="124005" y="81806"/>
                  </a:lnTo>
                  <a:close/>
                  <a:moveTo>
                    <a:pt x="125743" y="61070"/>
                  </a:moveTo>
                  <a:lnTo>
                    <a:pt x="126687" y="61405"/>
                  </a:lnTo>
                  <a:lnTo>
                    <a:pt x="129805" y="67143"/>
                  </a:lnTo>
                  <a:lnTo>
                    <a:pt x="130049" y="69531"/>
                  </a:lnTo>
                  <a:lnTo>
                    <a:pt x="129937" y="70358"/>
                  </a:lnTo>
                  <a:lnTo>
                    <a:pt x="128259" y="68603"/>
                  </a:lnTo>
                  <a:lnTo>
                    <a:pt x="127475" y="69224"/>
                  </a:lnTo>
                  <a:lnTo>
                    <a:pt x="126752" y="68392"/>
                  </a:lnTo>
                  <a:lnTo>
                    <a:pt x="126801" y="66579"/>
                  </a:lnTo>
                  <a:lnTo>
                    <a:pt x="126911" y="64646"/>
                  </a:lnTo>
                  <a:lnTo>
                    <a:pt x="126585" y="63182"/>
                  </a:lnTo>
                  <a:close/>
                  <a:moveTo>
                    <a:pt x="88642" y="59179"/>
                  </a:moveTo>
                  <a:lnTo>
                    <a:pt x="90059" y="59269"/>
                  </a:lnTo>
                  <a:lnTo>
                    <a:pt x="94929" y="62851"/>
                  </a:lnTo>
                  <a:lnTo>
                    <a:pt x="97023" y="62525"/>
                  </a:lnTo>
                  <a:lnTo>
                    <a:pt x="103419" y="62590"/>
                  </a:lnTo>
                  <a:lnTo>
                    <a:pt x="107192" y="65147"/>
                  </a:lnTo>
                  <a:lnTo>
                    <a:pt x="109409" y="66322"/>
                  </a:lnTo>
                  <a:lnTo>
                    <a:pt x="110656" y="68614"/>
                  </a:lnTo>
                  <a:lnTo>
                    <a:pt x="112195" y="69137"/>
                  </a:lnTo>
                  <a:lnTo>
                    <a:pt x="113143" y="70305"/>
                  </a:lnTo>
                  <a:lnTo>
                    <a:pt x="113687" y="72435"/>
                  </a:lnTo>
                  <a:lnTo>
                    <a:pt x="113305" y="72782"/>
                  </a:lnTo>
                  <a:lnTo>
                    <a:pt x="111346" y="73575"/>
                  </a:lnTo>
                  <a:lnTo>
                    <a:pt x="109934" y="73904"/>
                  </a:lnTo>
                  <a:lnTo>
                    <a:pt x="106229" y="73148"/>
                  </a:lnTo>
                  <a:lnTo>
                    <a:pt x="102679" y="71508"/>
                  </a:lnTo>
                  <a:lnTo>
                    <a:pt x="95630" y="71310"/>
                  </a:lnTo>
                  <a:lnTo>
                    <a:pt x="92344" y="70844"/>
                  </a:lnTo>
                  <a:lnTo>
                    <a:pt x="91217" y="70218"/>
                  </a:lnTo>
                  <a:lnTo>
                    <a:pt x="90172" y="69383"/>
                  </a:lnTo>
                  <a:lnTo>
                    <a:pt x="88513" y="67392"/>
                  </a:lnTo>
                  <a:lnTo>
                    <a:pt x="87218" y="65056"/>
                  </a:lnTo>
                  <a:lnTo>
                    <a:pt x="87006" y="63685"/>
                  </a:lnTo>
                  <a:lnTo>
                    <a:pt x="86898" y="61078"/>
                  </a:lnTo>
                  <a:lnTo>
                    <a:pt x="87300" y="60129"/>
                  </a:lnTo>
                  <a:close/>
                  <a:moveTo>
                    <a:pt x="99297" y="53090"/>
                  </a:moveTo>
                  <a:lnTo>
                    <a:pt x="100569" y="53403"/>
                  </a:lnTo>
                  <a:lnTo>
                    <a:pt x="101184" y="53353"/>
                  </a:lnTo>
                  <a:lnTo>
                    <a:pt x="102640" y="54553"/>
                  </a:lnTo>
                  <a:lnTo>
                    <a:pt x="104589" y="56318"/>
                  </a:lnTo>
                  <a:lnTo>
                    <a:pt x="103793" y="57230"/>
                  </a:lnTo>
                  <a:lnTo>
                    <a:pt x="102213" y="56764"/>
                  </a:lnTo>
                  <a:lnTo>
                    <a:pt x="101681" y="56950"/>
                  </a:lnTo>
                  <a:lnTo>
                    <a:pt x="101508" y="56828"/>
                  </a:lnTo>
                  <a:lnTo>
                    <a:pt x="101176" y="55942"/>
                  </a:lnTo>
                  <a:lnTo>
                    <a:pt x="99453" y="55064"/>
                  </a:lnTo>
                  <a:lnTo>
                    <a:pt x="97908" y="54990"/>
                  </a:lnTo>
                  <a:lnTo>
                    <a:pt x="97708" y="53948"/>
                  </a:lnTo>
                  <a:close/>
                  <a:moveTo>
                    <a:pt x="76336" y="53036"/>
                  </a:moveTo>
                  <a:lnTo>
                    <a:pt x="76866" y="53220"/>
                  </a:lnTo>
                  <a:lnTo>
                    <a:pt x="77360" y="53682"/>
                  </a:lnTo>
                  <a:lnTo>
                    <a:pt x="78517" y="53858"/>
                  </a:lnTo>
                  <a:lnTo>
                    <a:pt x="78641" y="55280"/>
                  </a:lnTo>
                  <a:lnTo>
                    <a:pt x="77636" y="55944"/>
                  </a:lnTo>
                  <a:lnTo>
                    <a:pt x="77338" y="55998"/>
                  </a:lnTo>
                  <a:lnTo>
                    <a:pt x="76300" y="55726"/>
                  </a:lnTo>
                  <a:lnTo>
                    <a:pt x="75039" y="55635"/>
                  </a:lnTo>
                  <a:lnTo>
                    <a:pt x="74270" y="54862"/>
                  </a:lnTo>
                  <a:lnTo>
                    <a:pt x="75183" y="53756"/>
                  </a:lnTo>
                  <a:close/>
                  <a:moveTo>
                    <a:pt x="40882" y="46440"/>
                  </a:moveTo>
                  <a:lnTo>
                    <a:pt x="42052" y="46588"/>
                  </a:lnTo>
                  <a:lnTo>
                    <a:pt x="43023" y="47275"/>
                  </a:lnTo>
                  <a:lnTo>
                    <a:pt x="43514" y="47817"/>
                  </a:lnTo>
                  <a:lnTo>
                    <a:pt x="43464" y="48601"/>
                  </a:lnTo>
                  <a:lnTo>
                    <a:pt x="42197" y="48357"/>
                  </a:lnTo>
                  <a:lnTo>
                    <a:pt x="39368" y="47178"/>
                  </a:lnTo>
                  <a:lnTo>
                    <a:pt x="39271" y="46638"/>
                  </a:lnTo>
                  <a:close/>
                  <a:moveTo>
                    <a:pt x="55997" y="46018"/>
                  </a:moveTo>
                  <a:lnTo>
                    <a:pt x="56580" y="47950"/>
                  </a:lnTo>
                  <a:lnTo>
                    <a:pt x="56958" y="48675"/>
                  </a:lnTo>
                  <a:lnTo>
                    <a:pt x="55794" y="49223"/>
                  </a:lnTo>
                  <a:lnTo>
                    <a:pt x="55308" y="49308"/>
                  </a:lnTo>
                  <a:lnTo>
                    <a:pt x="54790" y="48420"/>
                  </a:lnTo>
                  <a:close/>
                  <a:moveTo>
                    <a:pt x="51321" y="42234"/>
                  </a:moveTo>
                  <a:lnTo>
                    <a:pt x="53686" y="42871"/>
                  </a:lnTo>
                  <a:lnTo>
                    <a:pt x="54279" y="43313"/>
                  </a:lnTo>
                  <a:lnTo>
                    <a:pt x="52866" y="44426"/>
                  </a:lnTo>
                  <a:lnTo>
                    <a:pt x="53337" y="44783"/>
                  </a:lnTo>
                  <a:lnTo>
                    <a:pt x="53644" y="45314"/>
                  </a:lnTo>
                  <a:lnTo>
                    <a:pt x="53741" y="46153"/>
                  </a:lnTo>
                  <a:lnTo>
                    <a:pt x="51564" y="47911"/>
                  </a:lnTo>
                  <a:lnTo>
                    <a:pt x="49974" y="47317"/>
                  </a:lnTo>
                  <a:lnTo>
                    <a:pt x="48686" y="45809"/>
                  </a:lnTo>
                  <a:lnTo>
                    <a:pt x="49109" y="43993"/>
                  </a:lnTo>
                  <a:lnTo>
                    <a:pt x="49349" y="43513"/>
                  </a:lnTo>
                  <a:lnTo>
                    <a:pt x="49990" y="43408"/>
                  </a:lnTo>
                  <a:lnTo>
                    <a:pt x="50624" y="43036"/>
                  </a:lnTo>
                  <a:close/>
                  <a:moveTo>
                    <a:pt x="37634" y="40289"/>
                  </a:moveTo>
                  <a:lnTo>
                    <a:pt x="38329" y="41496"/>
                  </a:lnTo>
                  <a:lnTo>
                    <a:pt x="37722" y="43278"/>
                  </a:lnTo>
                  <a:lnTo>
                    <a:pt x="36917" y="43732"/>
                  </a:lnTo>
                  <a:lnTo>
                    <a:pt x="36589" y="45407"/>
                  </a:lnTo>
                  <a:lnTo>
                    <a:pt x="37843" y="46806"/>
                  </a:lnTo>
                  <a:lnTo>
                    <a:pt x="37845" y="47132"/>
                  </a:lnTo>
                  <a:lnTo>
                    <a:pt x="36625" y="46505"/>
                  </a:lnTo>
                  <a:lnTo>
                    <a:pt x="33937" y="43499"/>
                  </a:lnTo>
                  <a:lnTo>
                    <a:pt x="34412" y="42495"/>
                  </a:lnTo>
                  <a:lnTo>
                    <a:pt x="36874" y="40546"/>
                  </a:lnTo>
                  <a:close/>
                  <a:moveTo>
                    <a:pt x="86615" y="39368"/>
                  </a:moveTo>
                  <a:lnTo>
                    <a:pt x="87654" y="40146"/>
                  </a:lnTo>
                  <a:lnTo>
                    <a:pt x="87757" y="40946"/>
                  </a:lnTo>
                  <a:lnTo>
                    <a:pt x="88673" y="42227"/>
                  </a:lnTo>
                  <a:lnTo>
                    <a:pt x="87619" y="42529"/>
                  </a:lnTo>
                  <a:lnTo>
                    <a:pt x="86054" y="41712"/>
                  </a:lnTo>
                  <a:lnTo>
                    <a:pt x="85374" y="40968"/>
                  </a:lnTo>
                  <a:lnTo>
                    <a:pt x="85699" y="39807"/>
                  </a:lnTo>
                  <a:close/>
                  <a:moveTo>
                    <a:pt x="112150" y="37909"/>
                  </a:moveTo>
                  <a:lnTo>
                    <a:pt x="117639" y="44545"/>
                  </a:lnTo>
                  <a:lnTo>
                    <a:pt x="117421" y="45722"/>
                  </a:lnTo>
                  <a:lnTo>
                    <a:pt x="116676" y="46482"/>
                  </a:lnTo>
                  <a:lnTo>
                    <a:pt x="116460" y="48711"/>
                  </a:lnTo>
                  <a:lnTo>
                    <a:pt x="117151" y="49569"/>
                  </a:lnTo>
                  <a:lnTo>
                    <a:pt x="118651" y="49961"/>
                  </a:lnTo>
                  <a:lnTo>
                    <a:pt x="121200" y="52339"/>
                  </a:lnTo>
                  <a:lnTo>
                    <a:pt x="122217" y="55251"/>
                  </a:lnTo>
                  <a:lnTo>
                    <a:pt x="122308" y="56146"/>
                  </a:lnTo>
                  <a:lnTo>
                    <a:pt x="123366" y="57470"/>
                  </a:lnTo>
                  <a:lnTo>
                    <a:pt x="123407" y="60255"/>
                  </a:lnTo>
                  <a:lnTo>
                    <a:pt x="125827" y="64123"/>
                  </a:lnTo>
                  <a:lnTo>
                    <a:pt x="126039" y="65984"/>
                  </a:lnTo>
                  <a:lnTo>
                    <a:pt x="125814" y="66821"/>
                  </a:lnTo>
                  <a:lnTo>
                    <a:pt x="124808" y="66337"/>
                  </a:lnTo>
                  <a:lnTo>
                    <a:pt x="121914" y="61949"/>
                  </a:lnTo>
                  <a:lnTo>
                    <a:pt x="118609" y="60057"/>
                  </a:lnTo>
                  <a:lnTo>
                    <a:pt x="118230" y="59242"/>
                  </a:lnTo>
                  <a:lnTo>
                    <a:pt x="114893" y="56686"/>
                  </a:lnTo>
                  <a:lnTo>
                    <a:pt x="112651" y="52385"/>
                  </a:lnTo>
                  <a:lnTo>
                    <a:pt x="110230" y="44737"/>
                  </a:lnTo>
                  <a:lnTo>
                    <a:pt x="111368" y="42925"/>
                  </a:lnTo>
                  <a:lnTo>
                    <a:pt x="108634" y="39218"/>
                  </a:lnTo>
                  <a:lnTo>
                    <a:pt x="108764" y="38226"/>
                  </a:lnTo>
                  <a:lnTo>
                    <a:pt x="109919" y="38452"/>
                  </a:lnTo>
                  <a:lnTo>
                    <a:pt x="110720" y="38407"/>
                  </a:lnTo>
                  <a:lnTo>
                    <a:pt x="111105" y="37965"/>
                  </a:lnTo>
                  <a:close/>
                  <a:moveTo>
                    <a:pt x="40091" y="30158"/>
                  </a:moveTo>
                  <a:lnTo>
                    <a:pt x="42484" y="31054"/>
                  </a:lnTo>
                  <a:lnTo>
                    <a:pt x="42782" y="34589"/>
                  </a:lnTo>
                  <a:lnTo>
                    <a:pt x="43644" y="35746"/>
                  </a:lnTo>
                  <a:lnTo>
                    <a:pt x="46125" y="36311"/>
                  </a:lnTo>
                  <a:lnTo>
                    <a:pt x="47513" y="38133"/>
                  </a:lnTo>
                  <a:lnTo>
                    <a:pt x="49109" y="42192"/>
                  </a:lnTo>
                  <a:lnTo>
                    <a:pt x="48821" y="43591"/>
                  </a:lnTo>
                  <a:lnTo>
                    <a:pt x="47677" y="43669"/>
                  </a:lnTo>
                  <a:lnTo>
                    <a:pt x="47360" y="44545"/>
                  </a:lnTo>
                  <a:lnTo>
                    <a:pt x="45809" y="42577"/>
                  </a:lnTo>
                  <a:lnTo>
                    <a:pt x="43747" y="42044"/>
                  </a:lnTo>
                  <a:lnTo>
                    <a:pt x="42242" y="40836"/>
                  </a:lnTo>
                  <a:lnTo>
                    <a:pt x="41726" y="38439"/>
                  </a:lnTo>
                  <a:lnTo>
                    <a:pt x="41581" y="36928"/>
                  </a:lnTo>
                  <a:lnTo>
                    <a:pt x="40391" y="36670"/>
                  </a:lnTo>
                  <a:lnTo>
                    <a:pt x="37012" y="37048"/>
                  </a:lnTo>
                  <a:lnTo>
                    <a:pt x="35930" y="38339"/>
                  </a:lnTo>
                  <a:lnTo>
                    <a:pt x="34381" y="37928"/>
                  </a:lnTo>
                  <a:lnTo>
                    <a:pt x="34053" y="36770"/>
                  </a:lnTo>
                  <a:lnTo>
                    <a:pt x="34295" y="35631"/>
                  </a:lnTo>
                  <a:lnTo>
                    <a:pt x="36353" y="34509"/>
                  </a:lnTo>
                  <a:lnTo>
                    <a:pt x="36774" y="33066"/>
                  </a:lnTo>
                  <a:lnTo>
                    <a:pt x="38826" y="30580"/>
                  </a:lnTo>
                  <a:close/>
                  <a:moveTo>
                    <a:pt x="19741" y="30004"/>
                  </a:moveTo>
                  <a:lnTo>
                    <a:pt x="20672" y="33062"/>
                  </a:lnTo>
                  <a:lnTo>
                    <a:pt x="20484" y="34739"/>
                  </a:lnTo>
                  <a:lnTo>
                    <a:pt x="20214" y="35289"/>
                  </a:lnTo>
                  <a:lnTo>
                    <a:pt x="19063" y="32545"/>
                  </a:lnTo>
                  <a:lnTo>
                    <a:pt x="19121" y="31162"/>
                  </a:lnTo>
                  <a:lnTo>
                    <a:pt x="19320" y="30276"/>
                  </a:lnTo>
                  <a:close/>
                  <a:moveTo>
                    <a:pt x="31514" y="27706"/>
                  </a:moveTo>
                  <a:lnTo>
                    <a:pt x="32466" y="28310"/>
                  </a:lnTo>
                  <a:lnTo>
                    <a:pt x="33358" y="29613"/>
                  </a:lnTo>
                  <a:lnTo>
                    <a:pt x="33677" y="31275"/>
                  </a:lnTo>
                  <a:lnTo>
                    <a:pt x="33477" y="32742"/>
                  </a:lnTo>
                  <a:lnTo>
                    <a:pt x="33043" y="33327"/>
                  </a:lnTo>
                  <a:lnTo>
                    <a:pt x="32559" y="33664"/>
                  </a:lnTo>
                  <a:lnTo>
                    <a:pt x="30154" y="33536"/>
                  </a:lnTo>
                  <a:lnTo>
                    <a:pt x="28320" y="31241"/>
                  </a:lnTo>
                  <a:lnTo>
                    <a:pt x="28336" y="29541"/>
                  </a:lnTo>
                  <a:lnTo>
                    <a:pt x="29776" y="27982"/>
                  </a:lnTo>
                  <a:close/>
                  <a:moveTo>
                    <a:pt x="19534" y="21446"/>
                  </a:moveTo>
                  <a:lnTo>
                    <a:pt x="21274" y="22304"/>
                  </a:lnTo>
                  <a:lnTo>
                    <a:pt x="23000" y="24152"/>
                  </a:lnTo>
                  <a:lnTo>
                    <a:pt x="25021" y="24756"/>
                  </a:lnTo>
                  <a:lnTo>
                    <a:pt x="24604" y="25981"/>
                  </a:lnTo>
                  <a:lnTo>
                    <a:pt x="22786" y="28184"/>
                  </a:lnTo>
                  <a:lnTo>
                    <a:pt x="22341" y="29209"/>
                  </a:lnTo>
                  <a:lnTo>
                    <a:pt x="21918" y="29515"/>
                  </a:lnTo>
                  <a:lnTo>
                    <a:pt x="21179" y="28314"/>
                  </a:lnTo>
                  <a:lnTo>
                    <a:pt x="20642" y="27938"/>
                  </a:lnTo>
                  <a:lnTo>
                    <a:pt x="20657" y="26600"/>
                  </a:lnTo>
                  <a:lnTo>
                    <a:pt x="18428" y="24421"/>
                  </a:lnTo>
                  <a:lnTo>
                    <a:pt x="18240" y="22918"/>
                  </a:lnTo>
                  <a:close/>
                  <a:moveTo>
                    <a:pt x="61469" y="20795"/>
                  </a:moveTo>
                  <a:lnTo>
                    <a:pt x="67593" y="22119"/>
                  </a:lnTo>
                  <a:lnTo>
                    <a:pt x="70433" y="24745"/>
                  </a:lnTo>
                  <a:lnTo>
                    <a:pt x="72858" y="26231"/>
                  </a:lnTo>
                  <a:lnTo>
                    <a:pt x="73700" y="27304"/>
                  </a:lnTo>
                  <a:lnTo>
                    <a:pt x="75885" y="28775"/>
                  </a:lnTo>
                  <a:lnTo>
                    <a:pt x="77846" y="28909"/>
                  </a:lnTo>
                  <a:lnTo>
                    <a:pt x="79809" y="30391"/>
                  </a:lnTo>
                  <a:lnTo>
                    <a:pt x="81596" y="30791"/>
                  </a:lnTo>
                  <a:lnTo>
                    <a:pt x="83006" y="31566"/>
                  </a:lnTo>
                  <a:lnTo>
                    <a:pt x="92109" y="38198"/>
                  </a:lnTo>
                  <a:lnTo>
                    <a:pt x="91022" y="39959"/>
                  </a:lnTo>
                  <a:lnTo>
                    <a:pt x="92232" y="41238"/>
                  </a:lnTo>
                  <a:lnTo>
                    <a:pt x="92906" y="42814"/>
                  </a:lnTo>
                  <a:lnTo>
                    <a:pt x="92944" y="43330"/>
                  </a:lnTo>
                  <a:lnTo>
                    <a:pt x="89973" y="41468"/>
                  </a:lnTo>
                  <a:lnTo>
                    <a:pt x="87718" y="39194"/>
                  </a:lnTo>
                  <a:lnTo>
                    <a:pt x="81296" y="36718"/>
                  </a:lnTo>
                  <a:lnTo>
                    <a:pt x="79916" y="35448"/>
                  </a:lnTo>
                  <a:lnTo>
                    <a:pt x="78757" y="35289"/>
                  </a:lnTo>
                  <a:lnTo>
                    <a:pt x="75462" y="33220"/>
                  </a:lnTo>
                  <a:lnTo>
                    <a:pt x="72229" y="31827"/>
                  </a:lnTo>
                  <a:lnTo>
                    <a:pt x="70251" y="30026"/>
                  </a:lnTo>
                  <a:lnTo>
                    <a:pt x="69748" y="29289"/>
                  </a:lnTo>
                  <a:lnTo>
                    <a:pt x="68558" y="28851"/>
                  </a:lnTo>
                  <a:lnTo>
                    <a:pt x="66529" y="26874"/>
                  </a:lnTo>
                  <a:lnTo>
                    <a:pt x="64555" y="25562"/>
                  </a:lnTo>
                  <a:lnTo>
                    <a:pt x="63857" y="23166"/>
                  </a:lnTo>
                  <a:lnTo>
                    <a:pt x="61942" y="21515"/>
                  </a:lnTo>
                  <a:close/>
                  <a:moveTo>
                    <a:pt x="1359" y="8086"/>
                  </a:moveTo>
                  <a:lnTo>
                    <a:pt x="4137" y="9648"/>
                  </a:lnTo>
                  <a:lnTo>
                    <a:pt x="3589" y="10846"/>
                  </a:lnTo>
                  <a:lnTo>
                    <a:pt x="1367" y="11378"/>
                  </a:lnTo>
                  <a:lnTo>
                    <a:pt x="0" y="10664"/>
                  </a:lnTo>
                  <a:lnTo>
                    <a:pt x="607" y="8969"/>
                  </a:lnTo>
                  <a:close/>
                  <a:moveTo>
                    <a:pt x="17731" y="0"/>
                  </a:moveTo>
                  <a:lnTo>
                    <a:pt x="20491" y="713"/>
                  </a:lnTo>
                  <a:lnTo>
                    <a:pt x="24056" y="3446"/>
                  </a:lnTo>
                  <a:lnTo>
                    <a:pt x="29912" y="6288"/>
                  </a:lnTo>
                  <a:lnTo>
                    <a:pt x="31509" y="7737"/>
                  </a:lnTo>
                  <a:lnTo>
                    <a:pt x="32525" y="11215"/>
                  </a:lnTo>
                  <a:lnTo>
                    <a:pt x="33518" y="12250"/>
                  </a:lnTo>
                  <a:lnTo>
                    <a:pt x="36675" y="14920"/>
                  </a:lnTo>
                  <a:lnTo>
                    <a:pt x="38345" y="15545"/>
                  </a:lnTo>
                  <a:lnTo>
                    <a:pt x="39228" y="15658"/>
                  </a:lnTo>
                  <a:lnTo>
                    <a:pt x="40005" y="16029"/>
                  </a:lnTo>
                  <a:lnTo>
                    <a:pt x="40710" y="16813"/>
                  </a:lnTo>
                  <a:lnTo>
                    <a:pt x="39000" y="18148"/>
                  </a:lnTo>
                  <a:lnTo>
                    <a:pt x="36744" y="17423"/>
                  </a:lnTo>
                  <a:lnTo>
                    <a:pt x="36258" y="16674"/>
                  </a:lnTo>
                  <a:lnTo>
                    <a:pt x="36200" y="16277"/>
                  </a:lnTo>
                  <a:lnTo>
                    <a:pt x="34625" y="16533"/>
                  </a:lnTo>
                  <a:lnTo>
                    <a:pt x="31488" y="15879"/>
                  </a:lnTo>
                  <a:lnTo>
                    <a:pt x="27126" y="12697"/>
                  </a:lnTo>
                  <a:lnTo>
                    <a:pt x="22516" y="6709"/>
                  </a:lnTo>
                  <a:lnTo>
                    <a:pt x="18074" y="3392"/>
                  </a:lnTo>
                  <a:lnTo>
                    <a:pt x="17245" y="2361"/>
                  </a:lnTo>
                  <a:lnTo>
                    <a:pt x="17137" y="652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81" name="ee4p_VU_1_82333">
              <a:extLst>
                <a:ext uri="{FF2B5EF4-FFF2-40B4-BE49-F238E27FC236}">
                  <a16:creationId xmlns:a16="http://schemas.microsoft.com/office/drawing/2014/main" id="{81275CD3-0D72-6347-426B-C0E0ACB540BD}"/>
                </a:ext>
              </a:extLst>
            </p:cNvPr>
            <p:cNvSpPr>
              <a:spLocks noChangeAspect="1"/>
            </p:cNvSpPr>
            <p:nvPr>
              <p:custDataLst>
                <p:tags r:id="rId9"/>
              </p:custDataLst>
            </p:nvPr>
          </p:nvSpPr>
          <p:spPr>
            <a:xfrm>
              <a:off x="11139020" y="5069261"/>
              <a:ext cx="93588" cy="191772"/>
            </a:xfrm>
            <a:custGeom>
              <a:avLst/>
              <a:gdLst>
                <a:gd name="connsiteX0" fmla="*/ 73045 w 74522"/>
                <a:gd name="connsiteY0" fmla="*/ 146421 h 148656"/>
                <a:gd name="connsiteX1" fmla="*/ 73551 w 74522"/>
                <a:gd name="connsiteY1" fmla="*/ 146495 h 148656"/>
                <a:gd name="connsiteX2" fmla="*/ 74522 w 74522"/>
                <a:gd name="connsiteY2" fmla="*/ 147386 h 148656"/>
                <a:gd name="connsiteX3" fmla="*/ 73745 w 74522"/>
                <a:gd name="connsiteY3" fmla="*/ 148656 h 148656"/>
                <a:gd name="connsiteX4" fmla="*/ 72549 w 74522"/>
                <a:gd name="connsiteY4" fmla="*/ 148640 h 148656"/>
                <a:gd name="connsiteX5" fmla="*/ 71011 w 74522"/>
                <a:gd name="connsiteY5" fmla="*/ 147743 h 148656"/>
                <a:gd name="connsiteX6" fmla="*/ 71303 w 74522"/>
                <a:gd name="connsiteY6" fmla="*/ 146619 h 148656"/>
                <a:gd name="connsiteX7" fmla="*/ 61141 w 74522"/>
                <a:gd name="connsiteY7" fmla="*/ 127510 h 148656"/>
                <a:gd name="connsiteX8" fmla="*/ 62149 w 74522"/>
                <a:gd name="connsiteY8" fmla="*/ 127683 h 148656"/>
                <a:gd name="connsiteX9" fmla="*/ 62663 w 74522"/>
                <a:gd name="connsiteY9" fmla="*/ 130632 h 148656"/>
                <a:gd name="connsiteX10" fmla="*/ 65568 w 74522"/>
                <a:gd name="connsiteY10" fmla="*/ 132522 h 148656"/>
                <a:gd name="connsiteX11" fmla="*/ 64399 w 74522"/>
                <a:gd name="connsiteY11" fmla="*/ 135019 h 148656"/>
                <a:gd name="connsiteX12" fmla="*/ 62382 w 74522"/>
                <a:gd name="connsiteY12" fmla="*/ 134438 h 148656"/>
                <a:gd name="connsiteX13" fmla="*/ 60495 w 74522"/>
                <a:gd name="connsiteY13" fmla="*/ 132634 h 148656"/>
                <a:gd name="connsiteX14" fmla="*/ 59513 w 74522"/>
                <a:gd name="connsiteY14" fmla="*/ 131058 h 148656"/>
                <a:gd name="connsiteX15" fmla="*/ 60176 w 74522"/>
                <a:gd name="connsiteY15" fmla="*/ 128037 h 148656"/>
                <a:gd name="connsiteX16" fmla="*/ 56647 w 74522"/>
                <a:gd name="connsiteY16" fmla="*/ 111374 h 148656"/>
                <a:gd name="connsiteX17" fmla="*/ 57884 w 74522"/>
                <a:gd name="connsiteY17" fmla="*/ 111685 h 148656"/>
                <a:gd name="connsiteX18" fmla="*/ 58640 w 74522"/>
                <a:gd name="connsiteY18" fmla="*/ 113837 h 148656"/>
                <a:gd name="connsiteX19" fmla="*/ 60359 w 74522"/>
                <a:gd name="connsiteY19" fmla="*/ 114714 h 148656"/>
                <a:gd name="connsiteX20" fmla="*/ 59152 w 74522"/>
                <a:gd name="connsiteY20" fmla="*/ 115453 h 148656"/>
                <a:gd name="connsiteX21" fmla="*/ 61253 w 74522"/>
                <a:gd name="connsiteY21" fmla="*/ 117082 h 148656"/>
                <a:gd name="connsiteX22" fmla="*/ 62097 w 74522"/>
                <a:gd name="connsiteY22" fmla="*/ 118764 h 148656"/>
                <a:gd name="connsiteX23" fmla="*/ 61079 w 74522"/>
                <a:gd name="connsiteY23" fmla="*/ 119871 h 148656"/>
                <a:gd name="connsiteX24" fmla="*/ 60189 w 74522"/>
                <a:gd name="connsiteY24" fmla="*/ 119750 h 148656"/>
                <a:gd name="connsiteX25" fmla="*/ 54414 w 74522"/>
                <a:gd name="connsiteY25" fmla="*/ 117184 h 148656"/>
                <a:gd name="connsiteX26" fmla="*/ 54657 w 74522"/>
                <a:gd name="connsiteY26" fmla="*/ 116129 h 148656"/>
                <a:gd name="connsiteX27" fmla="*/ 54419 w 74522"/>
                <a:gd name="connsiteY27" fmla="*/ 113437 h 148656"/>
                <a:gd name="connsiteX28" fmla="*/ 55053 w 74522"/>
                <a:gd name="connsiteY28" fmla="*/ 111975 h 148656"/>
                <a:gd name="connsiteX29" fmla="*/ 42449 w 74522"/>
                <a:gd name="connsiteY29" fmla="*/ 86819 h 148656"/>
                <a:gd name="connsiteX30" fmla="*/ 44652 w 74522"/>
                <a:gd name="connsiteY30" fmla="*/ 90067 h 148656"/>
                <a:gd name="connsiteX31" fmla="*/ 45526 w 74522"/>
                <a:gd name="connsiteY31" fmla="*/ 90323 h 148656"/>
                <a:gd name="connsiteX32" fmla="*/ 44192 w 74522"/>
                <a:gd name="connsiteY32" fmla="*/ 92653 h 148656"/>
                <a:gd name="connsiteX33" fmla="*/ 41423 w 74522"/>
                <a:gd name="connsiteY33" fmla="*/ 92863 h 148656"/>
                <a:gd name="connsiteX34" fmla="*/ 38157 w 74522"/>
                <a:gd name="connsiteY34" fmla="*/ 92259 h 148656"/>
                <a:gd name="connsiteX35" fmla="*/ 39354 w 74522"/>
                <a:gd name="connsiteY35" fmla="*/ 91459 h 148656"/>
                <a:gd name="connsiteX36" fmla="*/ 38735 w 74522"/>
                <a:gd name="connsiteY36" fmla="*/ 90555 h 148656"/>
                <a:gd name="connsiteX37" fmla="*/ 37748 w 74522"/>
                <a:gd name="connsiteY37" fmla="*/ 90372 h 148656"/>
                <a:gd name="connsiteX38" fmla="*/ 36617 w 74522"/>
                <a:gd name="connsiteY38" fmla="*/ 90804 h 148656"/>
                <a:gd name="connsiteX39" fmla="*/ 36090 w 74522"/>
                <a:gd name="connsiteY39" fmla="*/ 90657 h 148656"/>
                <a:gd name="connsiteX40" fmla="*/ 36814 w 74522"/>
                <a:gd name="connsiteY40" fmla="*/ 89159 h 148656"/>
                <a:gd name="connsiteX41" fmla="*/ 38631 w 74522"/>
                <a:gd name="connsiteY41" fmla="*/ 87048 h 148656"/>
                <a:gd name="connsiteX42" fmla="*/ 39169 w 74522"/>
                <a:gd name="connsiteY42" fmla="*/ 86881 h 148656"/>
                <a:gd name="connsiteX43" fmla="*/ 39658 w 74522"/>
                <a:gd name="connsiteY43" fmla="*/ 86859 h 148656"/>
                <a:gd name="connsiteX44" fmla="*/ 40133 w 74522"/>
                <a:gd name="connsiteY44" fmla="*/ 87044 h 148656"/>
                <a:gd name="connsiteX45" fmla="*/ 36996 w 74522"/>
                <a:gd name="connsiteY45" fmla="*/ 65239 h 148656"/>
                <a:gd name="connsiteX46" fmla="*/ 37762 w 74522"/>
                <a:gd name="connsiteY46" fmla="*/ 66279 h 148656"/>
                <a:gd name="connsiteX47" fmla="*/ 38461 w 74522"/>
                <a:gd name="connsiteY47" fmla="*/ 66987 h 148656"/>
                <a:gd name="connsiteX48" fmla="*/ 39139 w 74522"/>
                <a:gd name="connsiteY48" fmla="*/ 67291 h 148656"/>
                <a:gd name="connsiteX49" fmla="*/ 40685 w 74522"/>
                <a:gd name="connsiteY49" fmla="*/ 68987 h 148656"/>
                <a:gd name="connsiteX50" fmla="*/ 42471 w 74522"/>
                <a:gd name="connsiteY50" fmla="*/ 69442 h 148656"/>
                <a:gd name="connsiteX51" fmla="*/ 43129 w 74522"/>
                <a:gd name="connsiteY51" fmla="*/ 69780 h 148656"/>
                <a:gd name="connsiteX52" fmla="*/ 42767 w 74522"/>
                <a:gd name="connsiteY52" fmla="*/ 70721 h 148656"/>
                <a:gd name="connsiteX53" fmla="*/ 39728 w 74522"/>
                <a:gd name="connsiteY53" fmla="*/ 69647 h 148656"/>
                <a:gd name="connsiteX54" fmla="*/ 37286 w 74522"/>
                <a:gd name="connsiteY54" fmla="*/ 70064 h 148656"/>
                <a:gd name="connsiteX55" fmla="*/ 36603 w 74522"/>
                <a:gd name="connsiteY55" fmla="*/ 70015 h 148656"/>
                <a:gd name="connsiteX56" fmla="*/ 35876 w 74522"/>
                <a:gd name="connsiteY56" fmla="*/ 69145 h 148656"/>
                <a:gd name="connsiteX57" fmla="*/ 35341 w 74522"/>
                <a:gd name="connsiteY57" fmla="*/ 67425 h 148656"/>
                <a:gd name="connsiteX58" fmla="*/ 35584 w 74522"/>
                <a:gd name="connsiteY58" fmla="*/ 66217 h 148656"/>
                <a:gd name="connsiteX59" fmla="*/ 36613 w 74522"/>
                <a:gd name="connsiteY59" fmla="*/ 65376 h 148656"/>
                <a:gd name="connsiteX60" fmla="*/ 36215 w 74522"/>
                <a:gd name="connsiteY60" fmla="*/ 53612 h 148656"/>
                <a:gd name="connsiteX61" fmla="*/ 36977 w 74522"/>
                <a:gd name="connsiteY61" fmla="*/ 54478 h 148656"/>
                <a:gd name="connsiteX62" fmla="*/ 37798 w 74522"/>
                <a:gd name="connsiteY62" fmla="*/ 57008 h 148656"/>
                <a:gd name="connsiteX63" fmla="*/ 38688 w 74522"/>
                <a:gd name="connsiteY63" fmla="*/ 57771 h 148656"/>
                <a:gd name="connsiteX64" fmla="*/ 39179 w 74522"/>
                <a:gd name="connsiteY64" fmla="*/ 58537 h 148656"/>
                <a:gd name="connsiteX65" fmla="*/ 39152 w 74522"/>
                <a:gd name="connsiteY65" fmla="*/ 59395 h 148656"/>
                <a:gd name="connsiteX66" fmla="*/ 36625 w 74522"/>
                <a:gd name="connsiteY66" fmla="*/ 59628 h 148656"/>
                <a:gd name="connsiteX67" fmla="*/ 33071 w 74522"/>
                <a:gd name="connsiteY67" fmla="*/ 58921 h 148656"/>
                <a:gd name="connsiteX68" fmla="*/ 31642 w 74522"/>
                <a:gd name="connsiteY68" fmla="*/ 57937 h 148656"/>
                <a:gd name="connsiteX69" fmla="*/ 31022 w 74522"/>
                <a:gd name="connsiteY69" fmla="*/ 56948 h 148656"/>
                <a:gd name="connsiteX70" fmla="*/ 32250 w 74522"/>
                <a:gd name="connsiteY70" fmla="*/ 56217 h 148656"/>
                <a:gd name="connsiteX71" fmla="*/ 34012 w 74522"/>
                <a:gd name="connsiteY71" fmla="*/ 55871 h 148656"/>
                <a:gd name="connsiteX72" fmla="*/ 16089 w 74522"/>
                <a:gd name="connsiteY72" fmla="*/ 48966 h 148656"/>
                <a:gd name="connsiteX73" fmla="*/ 17903 w 74522"/>
                <a:gd name="connsiteY73" fmla="*/ 49871 h 148656"/>
                <a:gd name="connsiteX74" fmla="*/ 19601 w 74522"/>
                <a:gd name="connsiteY74" fmla="*/ 53935 h 148656"/>
                <a:gd name="connsiteX75" fmla="*/ 20620 w 74522"/>
                <a:gd name="connsiteY75" fmla="*/ 54427 h 148656"/>
                <a:gd name="connsiteX76" fmla="*/ 21175 w 74522"/>
                <a:gd name="connsiteY76" fmla="*/ 54427 h 148656"/>
                <a:gd name="connsiteX77" fmla="*/ 21507 w 74522"/>
                <a:gd name="connsiteY77" fmla="*/ 55530 h 148656"/>
                <a:gd name="connsiteX78" fmla="*/ 24675 w 74522"/>
                <a:gd name="connsiteY78" fmla="*/ 57733 h 148656"/>
                <a:gd name="connsiteX79" fmla="*/ 25545 w 74522"/>
                <a:gd name="connsiteY79" fmla="*/ 57671 h 148656"/>
                <a:gd name="connsiteX80" fmla="*/ 26278 w 74522"/>
                <a:gd name="connsiteY80" fmla="*/ 58876 h 148656"/>
                <a:gd name="connsiteX81" fmla="*/ 27638 w 74522"/>
                <a:gd name="connsiteY81" fmla="*/ 59486 h 148656"/>
                <a:gd name="connsiteX82" fmla="*/ 28005 w 74522"/>
                <a:gd name="connsiteY82" fmla="*/ 60714 h 148656"/>
                <a:gd name="connsiteX83" fmla="*/ 28979 w 74522"/>
                <a:gd name="connsiteY83" fmla="*/ 61965 h 148656"/>
                <a:gd name="connsiteX84" fmla="*/ 27279 w 74522"/>
                <a:gd name="connsiteY84" fmla="*/ 63480 h 148656"/>
                <a:gd name="connsiteX85" fmla="*/ 24000 w 74522"/>
                <a:gd name="connsiteY85" fmla="*/ 63076 h 148656"/>
                <a:gd name="connsiteX86" fmla="*/ 22118 w 74522"/>
                <a:gd name="connsiteY86" fmla="*/ 64795 h 148656"/>
                <a:gd name="connsiteX87" fmla="*/ 20415 w 74522"/>
                <a:gd name="connsiteY87" fmla="*/ 64356 h 148656"/>
                <a:gd name="connsiteX88" fmla="*/ 20123 w 74522"/>
                <a:gd name="connsiteY88" fmla="*/ 63453 h 148656"/>
                <a:gd name="connsiteX89" fmla="*/ 20361 w 74522"/>
                <a:gd name="connsiteY89" fmla="*/ 63151 h 148656"/>
                <a:gd name="connsiteX90" fmla="*/ 19346 w 74522"/>
                <a:gd name="connsiteY90" fmla="*/ 60849 h 148656"/>
                <a:gd name="connsiteX91" fmla="*/ 18888 w 74522"/>
                <a:gd name="connsiteY91" fmla="*/ 57334 h 148656"/>
                <a:gd name="connsiteX92" fmla="*/ 18201 w 74522"/>
                <a:gd name="connsiteY92" fmla="*/ 55264 h 148656"/>
                <a:gd name="connsiteX93" fmla="*/ 17459 w 74522"/>
                <a:gd name="connsiteY93" fmla="*/ 54380 h 148656"/>
                <a:gd name="connsiteX94" fmla="*/ 15921 w 74522"/>
                <a:gd name="connsiteY94" fmla="*/ 55153 h 148656"/>
                <a:gd name="connsiteX95" fmla="*/ 15301 w 74522"/>
                <a:gd name="connsiteY95" fmla="*/ 55282 h 148656"/>
                <a:gd name="connsiteX96" fmla="*/ 13829 w 74522"/>
                <a:gd name="connsiteY96" fmla="*/ 53585 h 148656"/>
                <a:gd name="connsiteX97" fmla="*/ 14526 w 74522"/>
                <a:gd name="connsiteY97" fmla="*/ 50139 h 148656"/>
                <a:gd name="connsiteX98" fmla="*/ 14891 w 74522"/>
                <a:gd name="connsiteY98" fmla="*/ 49154 h 148656"/>
                <a:gd name="connsiteX99" fmla="*/ 13112 w 74522"/>
                <a:gd name="connsiteY99" fmla="*/ 43207 h 148656"/>
                <a:gd name="connsiteX100" fmla="*/ 15662 w 74522"/>
                <a:gd name="connsiteY100" fmla="*/ 43715 h 148656"/>
                <a:gd name="connsiteX101" fmla="*/ 15321 w 74522"/>
                <a:gd name="connsiteY101" fmla="*/ 45507 h 148656"/>
                <a:gd name="connsiteX102" fmla="*/ 14919 w 74522"/>
                <a:gd name="connsiteY102" fmla="*/ 46096 h 148656"/>
                <a:gd name="connsiteX103" fmla="*/ 12574 w 74522"/>
                <a:gd name="connsiteY103" fmla="*/ 44627 h 148656"/>
                <a:gd name="connsiteX104" fmla="*/ 36128 w 74522"/>
                <a:gd name="connsiteY104" fmla="*/ 39567 h 148656"/>
                <a:gd name="connsiteX105" fmla="*/ 36649 w 74522"/>
                <a:gd name="connsiteY105" fmla="*/ 40617 h 148656"/>
                <a:gd name="connsiteX106" fmla="*/ 38513 w 74522"/>
                <a:gd name="connsiteY106" fmla="*/ 49318 h 148656"/>
                <a:gd name="connsiteX107" fmla="*/ 38260 w 74522"/>
                <a:gd name="connsiteY107" fmla="*/ 50744 h 148656"/>
                <a:gd name="connsiteX108" fmla="*/ 37299 w 74522"/>
                <a:gd name="connsiteY108" fmla="*/ 51089 h 148656"/>
                <a:gd name="connsiteX109" fmla="*/ 36930 w 74522"/>
                <a:gd name="connsiteY109" fmla="*/ 51118 h 148656"/>
                <a:gd name="connsiteX110" fmla="*/ 36556 w 74522"/>
                <a:gd name="connsiteY110" fmla="*/ 50075 h 148656"/>
                <a:gd name="connsiteX111" fmla="*/ 35308 w 74522"/>
                <a:gd name="connsiteY111" fmla="*/ 44527 h 148656"/>
                <a:gd name="connsiteX112" fmla="*/ 32648 w 74522"/>
                <a:gd name="connsiteY112" fmla="*/ 35525 h 148656"/>
                <a:gd name="connsiteX113" fmla="*/ 30631 w 74522"/>
                <a:gd name="connsiteY113" fmla="*/ 38981 h 148656"/>
                <a:gd name="connsiteX114" fmla="*/ 29147 w 74522"/>
                <a:gd name="connsiteY114" fmla="*/ 40020 h 148656"/>
                <a:gd name="connsiteX115" fmla="*/ 26405 w 74522"/>
                <a:gd name="connsiteY115" fmla="*/ 39920 h 148656"/>
                <a:gd name="connsiteX116" fmla="*/ 25388 w 74522"/>
                <a:gd name="connsiteY116" fmla="*/ 39335 h 148656"/>
                <a:gd name="connsiteX117" fmla="*/ 28750 w 74522"/>
                <a:gd name="connsiteY117" fmla="*/ 36177 h 148656"/>
                <a:gd name="connsiteX118" fmla="*/ 35608 w 74522"/>
                <a:gd name="connsiteY118" fmla="*/ 28813 h 148656"/>
                <a:gd name="connsiteX119" fmla="*/ 36725 w 74522"/>
                <a:gd name="connsiteY119" fmla="*/ 33572 h 148656"/>
                <a:gd name="connsiteX120" fmla="*/ 36774 w 74522"/>
                <a:gd name="connsiteY120" fmla="*/ 36554 h 148656"/>
                <a:gd name="connsiteX121" fmla="*/ 36392 w 74522"/>
                <a:gd name="connsiteY121" fmla="*/ 37955 h 148656"/>
                <a:gd name="connsiteX122" fmla="*/ 35476 w 74522"/>
                <a:gd name="connsiteY122" fmla="*/ 36333 h 148656"/>
                <a:gd name="connsiteX123" fmla="*/ 34896 w 74522"/>
                <a:gd name="connsiteY123" fmla="*/ 29495 h 148656"/>
                <a:gd name="connsiteX124" fmla="*/ 35133 w 74522"/>
                <a:gd name="connsiteY124" fmla="*/ 28861 h 148656"/>
                <a:gd name="connsiteX125" fmla="*/ 1808 w 74522"/>
                <a:gd name="connsiteY125" fmla="*/ 20907 h 148656"/>
                <a:gd name="connsiteX126" fmla="*/ 3019 w 74522"/>
                <a:gd name="connsiteY126" fmla="*/ 23133 h 148656"/>
                <a:gd name="connsiteX127" fmla="*/ 4859 w 74522"/>
                <a:gd name="connsiteY127" fmla="*/ 25207 h 148656"/>
                <a:gd name="connsiteX128" fmla="*/ 6281 w 74522"/>
                <a:gd name="connsiteY128" fmla="*/ 32679 h 148656"/>
                <a:gd name="connsiteX129" fmla="*/ 7940 w 74522"/>
                <a:gd name="connsiteY129" fmla="*/ 32664 h 148656"/>
                <a:gd name="connsiteX130" fmla="*/ 8787 w 74522"/>
                <a:gd name="connsiteY130" fmla="*/ 32266 h 148656"/>
                <a:gd name="connsiteX131" fmla="*/ 9762 w 74522"/>
                <a:gd name="connsiteY131" fmla="*/ 30515 h 148656"/>
                <a:gd name="connsiteX132" fmla="*/ 10199 w 74522"/>
                <a:gd name="connsiteY132" fmla="*/ 27764 h 148656"/>
                <a:gd name="connsiteX133" fmla="*/ 11067 w 74522"/>
                <a:gd name="connsiteY133" fmla="*/ 27372 h 148656"/>
                <a:gd name="connsiteX134" fmla="*/ 12151 w 74522"/>
                <a:gd name="connsiteY134" fmla="*/ 27665 h 148656"/>
                <a:gd name="connsiteX135" fmla="*/ 11680 w 74522"/>
                <a:gd name="connsiteY135" fmla="*/ 28541 h 148656"/>
                <a:gd name="connsiteX136" fmla="*/ 11996 w 74522"/>
                <a:gd name="connsiteY136" fmla="*/ 30742 h 148656"/>
                <a:gd name="connsiteX137" fmla="*/ 12834 w 74522"/>
                <a:gd name="connsiteY137" fmla="*/ 31959 h 148656"/>
                <a:gd name="connsiteX138" fmla="*/ 13390 w 74522"/>
                <a:gd name="connsiteY138" fmla="*/ 32180 h 148656"/>
                <a:gd name="connsiteX139" fmla="*/ 14505 w 74522"/>
                <a:gd name="connsiteY139" fmla="*/ 37935 h 148656"/>
                <a:gd name="connsiteX140" fmla="*/ 14919 w 74522"/>
                <a:gd name="connsiteY140" fmla="*/ 39142 h 148656"/>
                <a:gd name="connsiteX141" fmla="*/ 14893 w 74522"/>
                <a:gd name="connsiteY141" fmla="*/ 40108 h 148656"/>
                <a:gd name="connsiteX142" fmla="*/ 12557 w 74522"/>
                <a:gd name="connsiteY142" fmla="*/ 42262 h 148656"/>
                <a:gd name="connsiteX143" fmla="*/ 9078 w 74522"/>
                <a:gd name="connsiteY143" fmla="*/ 42198 h 148656"/>
                <a:gd name="connsiteX144" fmla="*/ 6627 w 74522"/>
                <a:gd name="connsiteY144" fmla="*/ 43485 h 148656"/>
                <a:gd name="connsiteX145" fmla="*/ 5135 w 74522"/>
                <a:gd name="connsiteY145" fmla="*/ 43401 h 148656"/>
                <a:gd name="connsiteX146" fmla="*/ 5150 w 74522"/>
                <a:gd name="connsiteY146" fmla="*/ 41944 h 148656"/>
                <a:gd name="connsiteX147" fmla="*/ 3823 w 74522"/>
                <a:gd name="connsiteY147" fmla="*/ 40785 h 148656"/>
                <a:gd name="connsiteX148" fmla="*/ 2321 w 74522"/>
                <a:gd name="connsiteY148" fmla="*/ 38305 h 148656"/>
                <a:gd name="connsiteX149" fmla="*/ 2693 w 74522"/>
                <a:gd name="connsiteY149" fmla="*/ 33903 h 148656"/>
                <a:gd name="connsiteX150" fmla="*/ 26 w 74522"/>
                <a:gd name="connsiteY150" fmla="*/ 25732 h 148656"/>
                <a:gd name="connsiteX151" fmla="*/ 0 w 74522"/>
                <a:gd name="connsiteY151" fmla="*/ 23691 h 148656"/>
                <a:gd name="connsiteX152" fmla="*/ 913 w 74522"/>
                <a:gd name="connsiteY152" fmla="*/ 21026 h 148656"/>
                <a:gd name="connsiteX153" fmla="*/ 21678 w 74522"/>
                <a:gd name="connsiteY153" fmla="*/ 9752 h 148656"/>
                <a:gd name="connsiteX154" fmla="*/ 23723 w 74522"/>
                <a:gd name="connsiteY154" fmla="*/ 10690 h 148656"/>
                <a:gd name="connsiteX155" fmla="*/ 23412 w 74522"/>
                <a:gd name="connsiteY155" fmla="*/ 12430 h 148656"/>
                <a:gd name="connsiteX156" fmla="*/ 22492 w 74522"/>
                <a:gd name="connsiteY156" fmla="*/ 13574 h 148656"/>
                <a:gd name="connsiteX157" fmla="*/ 19994 w 74522"/>
                <a:gd name="connsiteY157" fmla="*/ 13197 h 148656"/>
                <a:gd name="connsiteX158" fmla="*/ 19402 w 74522"/>
                <a:gd name="connsiteY158" fmla="*/ 12895 h 148656"/>
                <a:gd name="connsiteX159" fmla="*/ 19562 w 74522"/>
                <a:gd name="connsiteY159" fmla="*/ 10999 h 148656"/>
                <a:gd name="connsiteX160" fmla="*/ 20188 w 74522"/>
                <a:gd name="connsiteY160" fmla="*/ 10344 h 148656"/>
                <a:gd name="connsiteX161" fmla="*/ 21117 w 74522"/>
                <a:gd name="connsiteY161" fmla="*/ 0 h 148656"/>
                <a:gd name="connsiteX162" fmla="*/ 22581 w 74522"/>
                <a:gd name="connsiteY162" fmla="*/ 1514 h 148656"/>
                <a:gd name="connsiteX163" fmla="*/ 22719 w 74522"/>
                <a:gd name="connsiteY163" fmla="*/ 2354 h 148656"/>
                <a:gd name="connsiteX164" fmla="*/ 22708 w 74522"/>
                <a:gd name="connsiteY164" fmla="*/ 3069 h 148656"/>
                <a:gd name="connsiteX165" fmla="*/ 22483 w 74522"/>
                <a:gd name="connsiteY165" fmla="*/ 3687 h 148656"/>
                <a:gd name="connsiteX166" fmla="*/ 21505 w 74522"/>
                <a:gd name="connsiteY166" fmla="*/ 3945 h 148656"/>
                <a:gd name="connsiteX167" fmla="*/ 21289 w 74522"/>
                <a:gd name="connsiteY167" fmla="*/ 4455 h 148656"/>
                <a:gd name="connsiteX168" fmla="*/ 20966 w 74522"/>
                <a:gd name="connsiteY168" fmla="*/ 4678 h 148656"/>
                <a:gd name="connsiteX169" fmla="*/ 20454 w 74522"/>
                <a:gd name="connsiteY169" fmla="*/ 4504 h 148656"/>
                <a:gd name="connsiteX170" fmla="*/ 19143 w 74522"/>
                <a:gd name="connsiteY170" fmla="*/ 1777 h 148656"/>
                <a:gd name="connsiteX171" fmla="*/ 19475 w 74522"/>
                <a:gd name="connsiteY171" fmla="*/ 869 h 148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</a:cxnLst>
              <a:rect l="l" t="t" r="r" b="b"/>
              <a:pathLst>
                <a:path w="74522" h="148656">
                  <a:moveTo>
                    <a:pt x="73045" y="146421"/>
                  </a:moveTo>
                  <a:lnTo>
                    <a:pt x="73551" y="146495"/>
                  </a:lnTo>
                  <a:lnTo>
                    <a:pt x="74522" y="147386"/>
                  </a:lnTo>
                  <a:lnTo>
                    <a:pt x="73745" y="148656"/>
                  </a:lnTo>
                  <a:lnTo>
                    <a:pt x="72549" y="148640"/>
                  </a:lnTo>
                  <a:lnTo>
                    <a:pt x="71011" y="147743"/>
                  </a:lnTo>
                  <a:lnTo>
                    <a:pt x="71303" y="146619"/>
                  </a:lnTo>
                  <a:close/>
                  <a:moveTo>
                    <a:pt x="61141" y="127510"/>
                  </a:moveTo>
                  <a:lnTo>
                    <a:pt x="62149" y="127683"/>
                  </a:lnTo>
                  <a:lnTo>
                    <a:pt x="62663" y="130632"/>
                  </a:lnTo>
                  <a:lnTo>
                    <a:pt x="65568" y="132522"/>
                  </a:lnTo>
                  <a:lnTo>
                    <a:pt x="64399" y="135019"/>
                  </a:lnTo>
                  <a:lnTo>
                    <a:pt x="62382" y="134438"/>
                  </a:lnTo>
                  <a:lnTo>
                    <a:pt x="60495" y="132634"/>
                  </a:lnTo>
                  <a:lnTo>
                    <a:pt x="59513" y="131058"/>
                  </a:lnTo>
                  <a:lnTo>
                    <a:pt x="60176" y="128037"/>
                  </a:lnTo>
                  <a:close/>
                  <a:moveTo>
                    <a:pt x="56647" y="111374"/>
                  </a:moveTo>
                  <a:lnTo>
                    <a:pt x="57884" y="111685"/>
                  </a:lnTo>
                  <a:lnTo>
                    <a:pt x="58640" y="113837"/>
                  </a:lnTo>
                  <a:lnTo>
                    <a:pt x="60359" y="114714"/>
                  </a:lnTo>
                  <a:lnTo>
                    <a:pt x="59152" y="115453"/>
                  </a:lnTo>
                  <a:lnTo>
                    <a:pt x="61253" y="117082"/>
                  </a:lnTo>
                  <a:lnTo>
                    <a:pt x="62097" y="118764"/>
                  </a:lnTo>
                  <a:lnTo>
                    <a:pt x="61079" y="119871"/>
                  </a:lnTo>
                  <a:lnTo>
                    <a:pt x="60189" y="119750"/>
                  </a:lnTo>
                  <a:lnTo>
                    <a:pt x="54414" y="117184"/>
                  </a:lnTo>
                  <a:lnTo>
                    <a:pt x="54657" y="116129"/>
                  </a:lnTo>
                  <a:lnTo>
                    <a:pt x="54419" y="113437"/>
                  </a:lnTo>
                  <a:lnTo>
                    <a:pt x="55053" y="111975"/>
                  </a:lnTo>
                  <a:close/>
                  <a:moveTo>
                    <a:pt x="42449" y="86819"/>
                  </a:moveTo>
                  <a:lnTo>
                    <a:pt x="44652" y="90067"/>
                  </a:lnTo>
                  <a:lnTo>
                    <a:pt x="45526" y="90323"/>
                  </a:lnTo>
                  <a:lnTo>
                    <a:pt x="44192" y="92653"/>
                  </a:lnTo>
                  <a:lnTo>
                    <a:pt x="41423" y="92863"/>
                  </a:lnTo>
                  <a:lnTo>
                    <a:pt x="38157" y="92259"/>
                  </a:lnTo>
                  <a:lnTo>
                    <a:pt x="39354" y="91459"/>
                  </a:lnTo>
                  <a:lnTo>
                    <a:pt x="38735" y="90555"/>
                  </a:lnTo>
                  <a:lnTo>
                    <a:pt x="37748" y="90372"/>
                  </a:lnTo>
                  <a:lnTo>
                    <a:pt x="36617" y="90804"/>
                  </a:lnTo>
                  <a:lnTo>
                    <a:pt x="36090" y="90657"/>
                  </a:lnTo>
                  <a:lnTo>
                    <a:pt x="36814" y="89159"/>
                  </a:lnTo>
                  <a:lnTo>
                    <a:pt x="38631" y="87048"/>
                  </a:lnTo>
                  <a:lnTo>
                    <a:pt x="39169" y="86881"/>
                  </a:lnTo>
                  <a:lnTo>
                    <a:pt x="39658" y="86859"/>
                  </a:lnTo>
                  <a:lnTo>
                    <a:pt x="40133" y="87044"/>
                  </a:lnTo>
                  <a:close/>
                  <a:moveTo>
                    <a:pt x="36996" y="65239"/>
                  </a:moveTo>
                  <a:lnTo>
                    <a:pt x="37762" y="66279"/>
                  </a:lnTo>
                  <a:lnTo>
                    <a:pt x="38461" y="66987"/>
                  </a:lnTo>
                  <a:lnTo>
                    <a:pt x="39139" y="67291"/>
                  </a:lnTo>
                  <a:lnTo>
                    <a:pt x="40685" y="68987"/>
                  </a:lnTo>
                  <a:lnTo>
                    <a:pt x="42471" y="69442"/>
                  </a:lnTo>
                  <a:lnTo>
                    <a:pt x="43129" y="69780"/>
                  </a:lnTo>
                  <a:lnTo>
                    <a:pt x="42767" y="70721"/>
                  </a:lnTo>
                  <a:lnTo>
                    <a:pt x="39728" y="69647"/>
                  </a:lnTo>
                  <a:lnTo>
                    <a:pt x="37286" y="70064"/>
                  </a:lnTo>
                  <a:lnTo>
                    <a:pt x="36603" y="70015"/>
                  </a:lnTo>
                  <a:lnTo>
                    <a:pt x="35876" y="69145"/>
                  </a:lnTo>
                  <a:lnTo>
                    <a:pt x="35341" y="67425"/>
                  </a:lnTo>
                  <a:lnTo>
                    <a:pt x="35584" y="66217"/>
                  </a:lnTo>
                  <a:lnTo>
                    <a:pt x="36613" y="65376"/>
                  </a:lnTo>
                  <a:close/>
                  <a:moveTo>
                    <a:pt x="36215" y="53612"/>
                  </a:moveTo>
                  <a:lnTo>
                    <a:pt x="36977" y="54478"/>
                  </a:lnTo>
                  <a:lnTo>
                    <a:pt x="37798" y="57008"/>
                  </a:lnTo>
                  <a:lnTo>
                    <a:pt x="38688" y="57771"/>
                  </a:lnTo>
                  <a:lnTo>
                    <a:pt x="39179" y="58537"/>
                  </a:lnTo>
                  <a:lnTo>
                    <a:pt x="39152" y="59395"/>
                  </a:lnTo>
                  <a:lnTo>
                    <a:pt x="36625" y="59628"/>
                  </a:lnTo>
                  <a:lnTo>
                    <a:pt x="33071" y="58921"/>
                  </a:lnTo>
                  <a:lnTo>
                    <a:pt x="31642" y="57937"/>
                  </a:lnTo>
                  <a:lnTo>
                    <a:pt x="31022" y="56948"/>
                  </a:lnTo>
                  <a:lnTo>
                    <a:pt x="32250" y="56217"/>
                  </a:lnTo>
                  <a:lnTo>
                    <a:pt x="34012" y="55871"/>
                  </a:lnTo>
                  <a:close/>
                  <a:moveTo>
                    <a:pt x="16089" y="48966"/>
                  </a:moveTo>
                  <a:lnTo>
                    <a:pt x="17903" y="49871"/>
                  </a:lnTo>
                  <a:lnTo>
                    <a:pt x="19601" y="53935"/>
                  </a:lnTo>
                  <a:lnTo>
                    <a:pt x="20620" y="54427"/>
                  </a:lnTo>
                  <a:lnTo>
                    <a:pt x="21175" y="54427"/>
                  </a:lnTo>
                  <a:lnTo>
                    <a:pt x="21507" y="55530"/>
                  </a:lnTo>
                  <a:lnTo>
                    <a:pt x="24675" y="57733"/>
                  </a:lnTo>
                  <a:lnTo>
                    <a:pt x="25545" y="57671"/>
                  </a:lnTo>
                  <a:lnTo>
                    <a:pt x="26278" y="58876"/>
                  </a:lnTo>
                  <a:lnTo>
                    <a:pt x="27638" y="59486"/>
                  </a:lnTo>
                  <a:lnTo>
                    <a:pt x="28005" y="60714"/>
                  </a:lnTo>
                  <a:lnTo>
                    <a:pt x="28979" y="61965"/>
                  </a:lnTo>
                  <a:lnTo>
                    <a:pt x="27279" y="63480"/>
                  </a:lnTo>
                  <a:lnTo>
                    <a:pt x="24000" y="63076"/>
                  </a:lnTo>
                  <a:lnTo>
                    <a:pt x="22118" y="64795"/>
                  </a:lnTo>
                  <a:lnTo>
                    <a:pt x="20415" y="64356"/>
                  </a:lnTo>
                  <a:lnTo>
                    <a:pt x="20123" y="63453"/>
                  </a:lnTo>
                  <a:lnTo>
                    <a:pt x="20361" y="63151"/>
                  </a:lnTo>
                  <a:lnTo>
                    <a:pt x="19346" y="60849"/>
                  </a:lnTo>
                  <a:lnTo>
                    <a:pt x="18888" y="57334"/>
                  </a:lnTo>
                  <a:lnTo>
                    <a:pt x="18201" y="55264"/>
                  </a:lnTo>
                  <a:lnTo>
                    <a:pt x="17459" y="54380"/>
                  </a:lnTo>
                  <a:lnTo>
                    <a:pt x="15921" y="55153"/>
                  </a:lnTo>
                  <a:lnTo>
                    <a:pt x="15301" y="55282"/>
                  </a:lnTo>
                  <a:lnTo>
                    <a:pt x="13829" y="53585"/>
                  </a:lnTo>
                  <a:lnTo>
                    <a:pt x="14526" y="50139"/>
                  </a:lnTo>
                  <a:lnTo>
                    <a:pt x="14891" y="49154"/>
                  </a:lnTo>
                  <a:close/>
                  <a:moveTo>
                    <a:pt x="13112" y="43207"/>
                  </a:moveTo>
                  <a:lnTo>
                    <a:pt x="15662" y="43715"/>
                  </a:lnTo>
                  <a:lnTo>
                    <a:pt x="15321" y="45507"/>
                  </a:lnTo>
                  <a:lnTo>
                    <a:pt x="14919" y="46096"/>
                  </a:lnTo>
                  <a:lnTo>
                    <a:pt x="12574" y="44627"/>
                  </a:lnTo>
                  <a:close/>
                  <a:moveTo>
                    <a:pt x="36128" y="39567"/>
                  </a:moveTo>
                  <a:lnTo>
                    <a:pt x="36649" y="40617"/>
                  </a:lnTo>
                  <a:lnTo>
                    <a:pt x="38513" y="49318"/>
                  </a:lnTo>
                  <a:lnTo>
                    <a:pt x="38260" y="50744"/>
                  </a:lnTo>
                  <a:lnTo>
                    <a:pt x="37299" y="51089"/>
                  </a:lnTo>
                  <a:lnTo>
                    <a:pt x="36930" y="51118"/>
                  </a:lnTo>
                  <a:lnTo>
                    <a:pt x="36556" y="50075"/>
                  </a:lnTo>
                  <a:lnTo>
                    <a:pt x="35308" y="44527"/>
                  </a:lnTo>
                  <a:close/>
                  <a:moveTo>
                    <a:pt x="32648" y="35525"/>
                  </a:moveTo>
                  <a:lnTo>
                    <a:pt x="30631" y="38981"/>
                  </a:lnTo>
                  <a:lnTo>
                    <a:pt x="29147" y="40020"/>
                  </a:lnTo>
                  <a:lnTo>
                    <a:pt x="26405" y="39920"/>
                  </a:lnTo>
                  <a:lnTo>
                    <a:pt x="25388" y="39335"/>
                  </a:lnTo>
                  <a:lnTo>
                    <a:pt x="28750" y="36177"/>
                  </a:lnTo>
                  <a:close/>
                  <a:moveTo>
                    <a:pt x="35608" y="28813"/>
                  </a:moveTo>
                  <a:lnTo>
                    <a:pt x="36725" y="33572"/>
                  </a:lnTo>
                  <a:lnTo>
                    <a:pt x="36774" y="36554"/>
                  </a:lnTo>
                  <a:lnTo>
                    <a:pt x="36392" y="37955"/>
                  </a:lnTo>
                  <a:lnTo>
                    <a:pt x="35476" y="36333"/>
                  </a:lnTo>
                  <a:lnTo>
                    <a:pt x="34896" y="29495"/>
                  </a:lnTo>
                  <a:lnTo>
                    <a:pt x="35133" y="28861"/>
                  </a:lnTo>
                  <a:close/>
                  <a:moveTo>
                    <a:pt x="1808" y="20907"/>
                  </a:moveTo>
                  <a:lnTo>
                    <a:pt x="3019" y="23133"/>
                  </a:lnTo>
                  <a:lnTo>
                    <a:pt x="4859" y="25207"/>
                  </a:lnTo>
                  <a:lnTo>
                    <a:pt x="6281" y="32679"/>
                  </a:lnTo>
                  <a:lnTo>
                    <a:pt x="7940" y="32664"/>
                  </a:lnTo>
                  <a:lnTo>
                    <a:pt x="8787" y="32266"/>
                  </a:lnTo>
                  <a:lnTo>
                    <a:pt x="9762" y="30515"/>
                  </a:lnTo>
                  <a:lnTo>
                    <a:pt x="10199" y="27764"/>
                  </a:lnTo>
                  <a:lnTo>
                    <a:pt x="11067" y="27372"/>
                  </a:lnTo>
                  <a:lnTo>
                    <a:pt x="12151" y="27665"/>
                  </a:lnTo>
                  <a:lnTo>
                    <a:pt x="11680" y="28541"/>
                  </a:lnTo>
                  <a:lnTo>
                    <a:pt x="11996" y="30742"/>
                  </a:lnTo>
                  <a:lnTo>
                    <a:pt x="12834" y="31959"/>
                  </a:lnTo>
                  <a:lnTo>
                    <a:pt x="13390" y="32180"/>
                  </a:lnTo>
                  <a:lnTo>
                    <a:pt x="14505" y="37935"/>
                  </a:lnTo>
                  <a:lnTo>
                    <a:pt x="14919" y="39142"/>
                  </a:lnTo>
                  <a:lnTo>
                    <a:pt x="14893" y="40108"/>
                  </a:lnTo>
                  <a:lnTo>
                    <a:pt x="12557" y="42262"/>
                  </a:lnTo>
                  <a:lnTo>
                    <a:pt x="9078" y="42198"/>
                  </a:lnTo>
                  <a:lnTo>
                    <a:pt x="6627" y="43485"/>
                  </a:lnTo>
                  <a:lnTo>
                    <a:pt x="5135" y="43401"/>
                  </a:lnTo>
                  <a:lnTo>
                    <a:pt x="5150" y="41944"/>
                  </a:lnTo>
                  <a:lnTo>
                    <a:pt x="3823" y="40785"/>
                  </a:lnTo>
                  <a:lnTo>
                    <a:pt x="2321" y="38305"/>
                  </a:lnTo>
                  <a:lnTo>
                    <a:pt x="2693" y="33903"/>
                  </a:lnTo>
                  <a:lnTo>
                    <a:pt x="26" y="25732"/>
                  </a:lnTo>
                  <a:lnTo>
                    <a:pt x="0" y="23691"/>
                  </a:lnTo>
                  <a:lnTo>
                    <a:pt x="913" y="21026"/>
                  </a:lnTo>
                  <a:close/>
                  <a:moveTo>
                    <a:pt x="21678" y="9752"/>
                  </a:moveTo>
                  <a:lnTo>
                    <a:pt x="23723" y="10690"/>
                  </a:lnTo>
                  <a:lnTo>
                    <a:pt x="23412" y="12430"/>
                  </a:lnTo>
                  <a:lnTo>
                    <a:pt x="22492" y="13574"/>
                  </a:lnTo>
                  <a:lnTo>
                    <a:pt x="19994" y="13197"/>
                  </a:lnTo>
                  <a:lnTo>
                    <a:pt x="19402" y="12895"/>
                  </a:lnTo>
                  <a:lnTo>
                    <a:pt x="19562" y="10999"/>
                  </a:lnTo>
                  <a:lnTo>
                    <a:pt x="20188" y="10344"/>
                  </a:lnTo>
                  <a:close/>
                  <a:moveTo>
                    <a:pt x="21117" y="0"/>
                  </a:moveTo>
                  <a:lnTo>
                    <a:pt x="22581" y="1514"/>
                  </a:lnTo>
                  <a:lnTo>
                    <a:pt x="22719" y="2354"/>
                  </a:lnTo>
                  <a:lnTo>
                    <a:pt x="22708" y="3069"/>
                  </a:lnTo>
                  <a:lnTo>
                    <a:pt x="22483" y="3687"/>
                  </a:lnTo>
                  <a:lnTo>
                    <a:pt x="21505" y="3945"/>
                  </a:lnTo>
                  <a:lnTo>
                    <a:pt x="21289" y="4455"/>
                  </a:lnTo>
                  <a:lnTo>
                    <a:pt x="20966" y="4678"/>
                  </a:lnTo>
                  <a:lnTo>
                    <a:pt x="20454" y="4504"/>
                  </a:lnTo>
                  <a:lnTo>
                    <a:pt x="19143" y="1777"/>
                  </a:lnTo>
                  <a:lnTo>
                    <a:pt x="19475" y="869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82" name="ee4p_AF_1_82333">
              <a:extLst>
                <a:ext uri="{FF2B5EF4-FFF2-40B4-BE49-F238E27FC236}">
                  <a16:creationId xmlns:a16="http://schemas.microsoft.com/office/drawing/2014/main" id="{2BB59EA2-DC3C-7A23-CDF8-E79F72BFAC56}"/>
                </a:ext>
              </a:extLst>
            </p:cNvPr>
            <p:cNvSpPr>
              <a:spLocks noChangeAspect="1"/>
            </p:cNvSpPr>
            <p:nvPr>
              <p:custDataLst>
                <p:tags r:id="rId10"/>
              </p:custDataLst>
            </p:nvPr>
          </p:nvSpPr>
          <p:spPr>
            <a:xfrm>
              <a:off x="8194349" y="3521932"/>
              <a:ext cx="400035" cy="290856"/>
            </a:xfrm>
            <a:custGeom>
              <a:avLst/>
              <a:gdLst/>
              <a:ahLst/>
              <a:cxnLst/>
              <a:rect l="0" t="0" r="0" b="0"/>
              <a:pathLst>
                <a:path w="318539" h="225463">
                  <a:moveTo>
                    <a:pt x="318538" y="31360"/>
                  </a:moveTo>
                  <a:lnTo>
                    <a:pt x="317409" y="31528"/>
                  </a:lnTo>
                  <a:lnTo>
                    <a:pt x="315798" y="30913"/>
                  </a:lnTo>
                  <a:lnTo>
                    <a:pt x="315170" y="29984"/>
                  </a:lnTo>
                  <a:lnTo>
                    <a:pt x="314897" y="29854"/>
                  </a:lnTo>
                  <a:lnTo>
                    <a:pt x="313621" y="30466"/>
                  </a:lnTo>
                  <a:lnTo>
                    <a:pt x="311190" y="31233"/>
                  </a:lnTo>
                  <a:lnTo>
                    <a:pt x="307059" y="33243"/>
                  </a:lnTo>
                  <a:lnTo>
                    <a:pt x="307147" y="33761"/>
                  </a:lnTo>
                  <a:lnTo>
                    <a:pt x="309840" y="35801"/>
                  </a:lnTo>
                  <a:lnTo>
                    <a:pt x="310471" y="36477"/>
                  </a:lnTo>
                  <a:lnTo>
                    <a:pt x="310801" y="36692"/>
                  </a:lnTo>
                  <a:lnTo>
                    <a:pt x="308361" y="37671"/>
                  </a:lnTo>
                  <a:lnTo>
                    <a:pt x="303135" y="39878"/>
                  </a:lnTo>
                  <a:lnTo>
                    <a:pt x="299688" y="41685"/>
                  </a:lnTo>
                  <a:lnTo>
                    <a:pt x="298870" y="41752"/>
                  </a:lnTo>
                  <a:lnTo>
                    <a:pt x="296791" y="40994"/>
                  </a:lnTo>
                  <a:lnTo>
                    <a:pt x="293724" y="40091"/>
                  </a:lnTo>
                  <a:lnTo>
                    <a:pt x="292900" y="40108"/>
                  </a:lnTo>
                  <a:lnTo>
                    <a:pt x="285808" y="40263"/>
                  </a:lnTo>
                  <a:lnTo>
                    <a:pt x="279300" y="40597"/>
                  </a:lnTo>
                  <a:lnTo>
                    <a:pt x="276579" y="41028"/>
                  </a:lnTo>
                  <a:lnTo>
                    <a:pt x="271547" y="41449"/>
                  </a:lnTo>
                  <a:lnTo>
                    <a:pt x="268377" y="41587"/>
                  </a:lnTo>
                  <a:lnTo>
                    <a:pt x="266354" y="42287"/>
                  </a:lnTo>
                  <a:lnTo>
                    <a:pt x="264139" y="43206"/>
                  </a:lnTo>
                  <a:lnTo>
                    <a:pt x="261834" y="43801"/>
                  </a:lnTo>
                  <a:lnTo>
                    <a:pt x="260129" y="43995"/>
                  </a:lnTo>
                  <a:lnTo>
                    <a:pt x="258071" y="44854"/>
                  </a:lnTo>
                  <a:lnTo>
                    <a:pt x="256719" y="46557"/>
                  </a:lnTo>
                  <a:lnTo>
                    <a:pt x="252851" y="49081"/>
                  </a:lnTo>
                  <a:lnTo>
                    <a:pt x="250675" y="50299"/>
                  </a:lnTo>
                  <a:lnTo>
                    <a:pt x="249578" y="51673"/>
                  </a:lnTo>
                  <a:lnTo>
                    <a:pt x="248334" y="51806"/>
                  </a:lnTo>
                  <a:lnTo>
                    <a:pt x="246214" y="51555"/>
                  </a:lnTo>
                  <a:lnTo>
                    <a:pt x="244564" y="53044"/>
                  </a:lnTo>
                  <a:lnTo>
                    <a:pt x="242737" y="55179"/>
                  </a:lnTo>
                  <a:lnTo>
                    <a:pt x="239405" y="58265"/>
                  </a:lnTo>
                  <a:lnTo>
                    <a:pt x="237643" y="59513"/>
                  </a:lnTo>
                  <a:lnTo>
                    <a:pt x="236585" y="61525"/>
                  </a:lnTo>
                  <a:lnTo>
                    <a:pt x="237362" y="62570"/>
                  </a:lnTo>
                  <a:lnTo>
                    <a:pt x="240074" y="64138"/>
                  </a:lnTo>
                  <a:lnTo>
                    <a:pt x="241284" y="65610"/>
                  </a:lnTo>
                  <a:lnTo>
                    <a:pt x="241946" y="66780"/>
                  </a:lnTo>
                  <a:lnTo>
                    <a:pt x="243186" y="69781"/>
                  </a:lnTo>
                  <a:lnTo>
                    <a:pt x="243970" y="72728"/>
                  </a:lnTo>
                  <a:lnTo>
                    <a:pt x="245140" y="74003"/>
                  </a:lnTo>
                  <a:lnTo>
                    <a:pt x="245482" y="76164"/>
                  </a:lnTo>
                  <a:lnTo>
                    <a:pt x="245773" y="77495"/>
                  </a:lnTo>
                  <a:lnTo>
                    <a:pt x="245140" y="78436"/>
                  </a:lnTo>
                  <a:lnTo>
                    <a:pt x="244555" y="79488"/>
                  </a:lnTo>
                  <a:lnTo>
                    <a:pt x="244555" y="80484"/>
                  </a:lnTo>
                  <a:lnTo>
                    <a:pt x="245257" y="81509"/>
                  </a:lnTo>
                  <a:lnTo>
                    <a:pt x="245877" y="82418"/>
                  </a:lnTo>
                  <a:lnTo>
                    <a:pt x="246214" y="83139"/>
                  </a:lnTo>
                  <a:lnTo>
                    <a:pt x="245797" y="83950"/>
                  </a:lnTo>
                  <a:lnTo>
                    <a:pt x="244555" y="85185"/>
                  </a:lnTo>
                  <a:lnTo>
                    <a:pt x="243927" y="86445"/>
                  </a:lnTo>
                  <a:lnTo>
                    <a:pt x="242555" y="88553"/>
                  </a:lnTo>
                  <a:lnTo>
                    <a:pt x="240411" y="89988"/>
                  </a:lnTo>
                  <a:lnTo>
                    <a:pt x="238997" y="91036"/>
                  </a:lnTo>
                  <a:lnTo>
                    <a:pt x="237486" y="93242"/>
                  </a:lnTo>
                  <a:lnTo>
                    <a:pt x="234998" y="95690"/>
                  </a:lnTo>
                  <a:lnTo>
                    <a:pt x="233944" y="97738"/>
                  </a:lnTo>
                  <a:lnTo>
                    <a:pt x="232854" y="98861"/>
                  </a:lnTo>
                  <a:lnTo>
                    <a:pt x="231733" y="99466"/>
                  </a:lnTo>
                  <a:lnTo>
                    <a:pt x="232026" y="100566"/>
                  </a:lnTo>
                  <a:lnTo>
                    <a:pt x="233001" y="101942"/>
                  </a:lnTo>
                  <a:lnTo>
                    <a:pt x="234609" y="103480"/>
                  </a:lnTo>
                  <a:lnTo>
                    <a:pt x="234536" y="105877"/>
                  </a:lnTo>
                  <a:lnTo>
                    <a:pt x="234462" y="107600"/>
                  </a:lnTo>
                  <a:lnTo>
                    <a:pt x="234512" y="109686"/>
                  </a:lnTo>
                  <a:lnTo>
                    <a:pt x="233633" y="111441"/>
                  </a:lnTo>
                  <a:lnTo>
                    <a:pt x="229141" y="113128"/>
                  </a:lnTo>
                  <a:lnTo>
                    <a:pt x="224842" y="113863"/>
                  </a:lnTo>
                  <a:lnTo>
                    <a:pt x="219573" y="113909"/>
                  </a:lnTo>
                  <a:lnTo>
                    <a:pt x="217582" y="113643"/>
                  </a:lnTo>
                  <a:lnTo>
                    <a:pt x="215989" y="113275"/>
                  </a:lnTo>
                  <a:lnTo>
                    <a:pt x="210264" y="111389"/>
                  </a:lnTo>
                  <a:lnTo>
                    <a:pt x="207941" y="112496"/>
                  </a:lnTo>
                  <a:lnTo>
                    <a:pt x="207463" y="115221"/>
                  </a:lnTo>
                  <a:lnTo>
                    <a:pt x="211633" y="119635"/>
                  </a:lnTo>
                  <a:lnTo>
                    <a:pt x="213348" y="122093"/>
                  </a:lnTo>
                  <a:lnTo>
                    <a:pt x="215239" y="126208"/>
                  </a:lnTo>
                  <a:lnTo>
                    <a:pt x="216664" y="128329"/>
                  </a:lnTo>
                  <a:lnTo>
                    <a:pt x="216155" y="130309"/>
                  </a:lnTo>
                  <a:lnTo>
                    <a:pt x="212376" y="132557"/>
                  </a:lnTo>
                  <a:lnTo>
                    <a:pt x="208614" y="134672"/>
                  </a:lnTo>
                  <a:lnTo>
                    <a:pt x="203829" y="135112"/>
                  </a:lnTo>
                  <a:lnTo>
                    <a:pt x="200823" y="135867"/>
                  </a:lnTo>
                  <a:lnTo>
                    <a:pt x="199359" y="136955"/>
                  </a:lnTo>
                  <a:lnTo>
                    <a:pt x="198288" y="141576"/>
                  </a:lnTo>
                  <a:lnTo>
                    <a:pt x="197215" y="143266"/>
                  </a:lnTo>
                  <a:lnTo>
                    <a:pt x="197232" y="145275"/>
                  </a:lnTo>
                  <a:lnTo>
                    <a:pt x="196217" y="147550"/>
                  </a:lnTo>
                  <a:lnTo>
                    <a:pt x="194680" y="149021"/>
                  </a:lnTo>
                  <a:lnTo>
                    <a:pt x="193607" y="151407"/>
                  </a:lnTo>
                  <a:lnTo>
                    <a:pt x="193941" y="155931"/>
                  </a:lnTo>
                  <a:lnTo>
                    <a:pt x="194444" y="163602"/>
                  </a:lnTo>
                  <a:lnTo>
                    <a:pt x="192402" y="166021"/>
                  </a:lnTo>
                  <a:lnTo>
                    <a:pt x="190106" y="168460"/>
                  </a:lnTo>
                  <a:lnTo>
                    <a:pt x="187681" y="170199"/>
                  </a:lnTo>
                  <a:lnTo>
                    <a:pt x="185370" y="171011"/>
                  </a:lnTo>
                  <a:lnTo>
                    <a:pt x="183455" y="170712"/>
                  </a:lnTo>
                  <a:lnTo>
                    <a:pt x="181937" y="169204"/>
                  </a:lnTo>
                  <a:lnTo>
                    <a:pt x="181043" y="167940"/>
                  </a:lnTo>
                  <a:lnTo>
                    <a:pt x="179372" y="166881"/>
                  </a:lnTo>
                  <a:lnTo>
                    <a:pt x="177671" y="167097"/>
                  </a:lnTo>
                  <a:lnTo>
                    <a:pt x="175958" y="168068"/>
                  </a:lnTo>
                  <a:lnTo>
                    <a:pt x="173229" y="167745"/>
                  </a:lnTo>
                  <a:lnTo>
                    <a:pt x="170888" y="166773"/>
                  </a:lnTo>
                  <a:lnTo>
                    <a:pt x="169717" y="166881"/>
                  </a:lnTo>
                  <a:lnTo>
                    <a:pt x="169035" y="167853"/>
                  </a:lnTo>
                  <a:lnTo>
                    <a:pt x="166537" y="169940"/>
                  </a:lnTo>
                  <a:lnTo>
                    <a:pt x="160404" y="173114"/>
                  </a:lnTo>
                  <a:lnTo>
                    <a:pt x="157903" y="173345"/>
                  </a:lnTo>
                  <a:lnTo>
                    <a:pt x="156830" y="174133"/>
                  </a:lnTo>
                  <a:lnTo>
                    <a:pt x="157257" y="175433"/>
                  </a:lnTo>
                  <a:lnTo>
                    <a:pt x="158353" y="176492"/>
                  </a:lnTo>
                  <a:lnTo>
                    <a:pt x="160263" y="177242"/>
                  </a:lnTo>
                  <a:lnTo>
                    <a:pt x="160361" y="178104"/>
                  </a:lnTo>
                  <a:lnTo>
                    <a:pt x="158672" y="178859"/>
                  </a:lnTo>
                  <a:lnTo>
                    <a:pt x="157232" y="179721"/>
                  </a:lnTo>
                  <a:lnTo>
                    <a:pt x="154058" y="180772"/>
                  </a:lnTo>
                  <a:lnTo>
                    <a:pt x="150397" y="181182"/>
                  </a:lnTo>
                  <a:lnTo>
                    <a:pt x="146608" y="180569"/>
                  </a:lnTo>
                  <a:lnTo>
                    <a:pt x="144658" y="179171"/>
                  </a:lnTo>
                  <a:lnTo>
                    <a:pt x="142371" y="179040"/>
                  </a:lnTo>
                  <a:lnTo>
                    <a:pt x="140270" y="180063"/>
                  </a:lnTo>
                  <a:lnTo>
                    <a:pt x="138104" y="181750"/>
                  </a:lnTo>
                  <a:lnTo>
                    <a:pt x="135735" y="185369"/>
                  </a:lnTo>
                  <a:lnTo>
                    <a:pt x="135107" y="186005"/>
                  </a:lnTo>
                  <a:lnTo>
                    <a:pt x="134465" y="186574"/>
                  </a:lnTo>
                  <a:lnTo>
                    <a:pt x="132930" y="187355"/>
                  </a:lnTo>
                  <a:lnTo>
                    <a:pt x="130714" y="188629"/>
                  </a:lnTo>
                  <a:lnTo>
                    <a:pt x="129603" y="191292"/>
                  </a:lnTo>
                  <a:lnTo>
                    <a:pt x="128277" y="196030"/>
                  </a:lnTo>
                  <a:lnTo>
                    <a:pt x="128587" y="198579"/>
                  </a:lnTo>
                  <a:lnTo>
                    <a:pt x="128687" y="202991"/>
                  </a:lnTo>
                  <a:lnTo>
                    <a:pt x="128164" y="206087"/>
                  </a:lnTo>
                  <a:lnTo>
                    <a:pt x="127205" y="208118"/>
                  </a:lnTo>
                  <a:lnTo>
                    <a:pt x="127398" y="209719"/>
                  </a:lnTo>
                  <a:lnTo>
                    <a:pt x="128862" y="211533"/>
                  </a:lnTo>
                  <a:lnTo>
                    <a:pt x="128277" y="212708"/>
                  </a:lnTo>
                  <a:lnTo>
                    <a:pt x="127046" y="214021"/>
                  </a:lnTo>
                  <a:lnTo>
                    <a:pt x="125847" y="214749"/>
                  </a:lnTo>
                  <a:lnTo>
                    <a:pt x="121084" y="216120"/>
                  </a:lnTo>
                  <a:lnTo>
                    <a:pt x="114552" y="217995"/>
                  </a:lnTo>
                  <a:lnTo>
                    <a:pt x="110235" y="219197"/>
                  </a:lnTo>
                  <a:lnTo>
                    <a:pt x="103811" y="220982"/>
                  </a:lnTo>
                  <a:lnTo>
                    <a:pt x="101932" y="221421"/>
                  </a:lnTo>
                  <a:lnTo>
                    <a:pt x="98028" y="221582"/>
                  </a:lnTo>
                  <a:lnTo>
                    <a:pt x="96002" y="221307"/>
                  </a:lnTo>
                  <a:lnTo>
                    <a:pt x="93264" y="221235"/>
                  </a:lnTo>
                  <a:lnTo>
                    <a:pt x="89231" y="221299"/>
                  </a:lnTo>
                  <a:lnTo>
                    <a:pt x="86415" y="221786"/>
                  </a:lnTo>
                  <a:lnTo>
                    <a:pt x="83592" y="222688"/>
                  </a:lnTo>
                  <a:lnTo>
                    <a:pt x="81515" y="223812"/>
                  </a:lnTo>
                  <a:lnTo>
                    <a:pt x="80316" y="224924"/>
                  </a:lnTo>
                  <a:lnTo>
                    <a:pt x="79891" y="225462"/>
                  </a:lnTo>
                  <a:lnTo>
                    <a:pt x="77067" y="224543"/>
                  </a:lnTo>
                  <a:lnTo>
                    <a:pt x="68146" y="222904"/>
                  </a:lnTo>
                  <a:lnTo>
                    <a:pt x="44022" y="225067"/>
                  </a:lnTo>
                  <a:lnTo>
                    <a:pt x="41741" y="224656"/>
                  </a:lnTo>
                  <a:lnTo>
                    <a:pt x="33505" y="222122"/>
                  </a:lnTo>
                  <a:lnTo>
                    <a:pt x="22903" y="218856"/>
                  </a:lnTo>
                  <a:lnTo>
                    <a:pt x="16334" y="216833"/>
                  </a:lnTo>
                  <a:lnTo>
                    <a:pt x="7908" y="214191"/>
                  </a:lnTo>
                  <a:lnTo>
                    <a:pt x="13674" y="207663"/>
                  </a:lnTo>
                  <a:lnTo>
                    <a:pt x="18705" y="201958"/>
                  </a:lnTo>
                  <a:lnTo>
                    <a:pt x="23743" y="196237"/>
                  </a:lnTo>
                  <a:lnTo>
                    <a:pt x="28711" y="190583"/>
                  </a:lnTo>
                  <a:lnTo>
                    <a:pt x="29301" y="188603"/>
                  </a:lnTo>
                  <a:lnTo>
                    <a:pt x="29376" y="184723"/>
                  </a:lnTo>
                  <a:lnTo>
                    <a:pt x="28068" y="179535"/>
                  </a:lnTo>
                  <a:lnTo>
                    <a:pt x="25969" y="177164"/>
                  </a:lnTo>
                  <a:lnTo>
                    <a:pt x="19033" y="176207"/>
                  </a:lnTo>
                  <a:lnTo>
                    <a:pt x="13820" y="175486"/>
                  </a:lnTo>
                  <a:lnTo>
                    <a:pt x="8146" y="174701"/>
                  </a:lnTo>
                  <a:lnTo>
                    <a:pt x="7407" y="174410"/>
                  </a:lnTo>
                  <a:lnTo>
                    <a:pt x="6764" y="170365"/>
                  </a:lnTo>
                  <a:lnTo>
                    <a:pt x="7045" y="168558"/>
                  </a:lnTo>
                  <a:lnTo>
                    <a:pt x="6673" y="165062"/>
                  </a:lnTo>
                  <a:lnTo>
                    <a:pt x="6727" y="162369"/>
                  </a:lnTo>
                  <a:lnTo>
                    <a:pt x="7552" y="157932"/>
                  </a:lnTo>
                  <a:lnTo>
                    <a:pt x="7597" y="155932"/>
                  </a:lnTo>
                  <a:lnTo>
                    <a:pt x="4969" y="147312"/>
                  </a:lnTo>
                  <a:lnTo>
                    <a:pt x="3512" y="142523"/>
                  </a:lnTo>
                  <a:lnTo>
                    <a:pt x="2008" y="137577"/>
                  </a:lnTo>
                  <a:lnTo>
                    <a:pt x="1685" y="135999"/>
                  </a:lnTo>
                  <a:lnTo>
                    <a:pt x="1655" y="134046"/>
                  </a:lnTo>
                  <a:lnTo>
                    <a:pt x="5138" y="129455"/>
                  </a:lnTo>
                  <a:lnTo>
                    <a:pt x="6217" y="128458"/>
                  </a:lnTo>
                  <a:lnTo>
                    <a:pt x="8260" y="126169"/>
                  </a:lnTo>
                  <a:lnTo>
                    <a:pt x="9536" y="124956"/>
                  </a:lnTo>
                  <a:lnTo>
                    <a:pt x="9314" y="124120"/>
                  </a:lnTo>
                  <a:lnTo>
                    <a:pt x="7092" y="123631"/>
                  </a:lnTo>
                  <a:lnTo>
                    <a:pt x="3734" y="123589"/>
                  </a:lnTo>
                  <a:lnTo>
                    <a:pt x="1948" y="122897"/>
                  </a:lnTo>
                  <a:lnTo>
                    <a:pt x="555" y="121643"/>
                  </a:lnTo>
                  <a:lnTo>
                    <a:pt x="5" y="119832"/>
                  </a:lnTo>
                  <a:lnTo>
                    <a:pt x="914" y="116603"/>
                  </a:lnTo>
                  <a:lnTo>
                    <a:pt x="0" y="110320"/>
                  </a:lnTo>
                  <a:lnTo>
                    <a:pt x="1868" y="107212"/>
                  </a:lnTo>
                  <a:lnTo>
                    <a:pt x="3471" y="105032"/>
                  </a:lnTo>
                  <a:lnTo>
                    <a:pt x="8927" y="104727"/>
                  </a:lnTo>
                  <a:lnTo>
                    <a:pt x="7036" y="102269"/>
                  </a:lnTo>
                  <a:lnTo>
                    <a:pt x="6122" y="100842"/>
                  </a:lnTo>
                  <a:lnTo>
                    <a:pt x="5537" y="100429"/>
                  </a:lnTo>
                  <a:lnTo>
                    <a:pt x="5319" y="99768"/>
                  </a:lnTo>
                  <a:lnTo>
                    <a:pt x="5611" y="99108"/>
                  </a:lnTo>
                  <a:lnTo>
                    <a:pt x="7001" y="98861"/>
                  </a:lnTo>
                  <a:lnTo>
                    <a:pt x="7951" y="98035"/>
                  </a:lnTo>
                  <a:lnTo>
                    <a:pt x="9487" y="96879"/>
                  </a:lnTo>
                  <a:lnTo>
                    <a:pt x="10292" y="96383"/>
                  </a:lnTo>
                  <a:lnTo>
                    <a:pt x="10439" y="94979"/>
                  </a:lnTo>
                  <a:lnTo>
                    <a:pt x="11169" y="93987"/>
                  </a:lnTo>
                  <a:lnTo>
                    <a:pt x="12266" y="92746"/>
                  </a:lnTo>
                  <a:lnTo>
                    <a:pt x="13143" y="91339"/>
                  </a:lnTo>
                  <a:lnTo>
                    <a:pt x="12924" y="89685"/>
                  </a:lnTo>
                  <a:lnTo>
                    <a:pt x="13730" y="87697"/>
                  </a:lnTo>
                  <a:lnTo>
                    <a:pt x="14095" y="86455"/>
                  </a:lnTo>
                  <a:lnTo>
                    <a:pt x="14680" y="85377"/>
                  </a:lnTo>
                  <a:lnTo>
                    <a:pt x="14168" y="83803"/>
                  </a:lnTo>
                  <a:lnTo>
                    <a:pt x="13730" y="82475"/>
                  </a:lnTo>
                  <a:lnTo>
                    <a:pt x="13583" y="80899"/>
                  </a:lnTo>
                  <a:lnTo>
                    <a:pt x="14460" y="80484"/>
                  </a:lnTo>
                  <a:lnTo>
                    <a:pt x="15557" y="79903"/>
                  </a:lnTo>
                  <a:lnTo>
                    <a:pt x="15777" y="78657"/>
                  </a:lnTo>
                  <a:lnTo>
                    <a:pt x="16362" y="77079"/>
                  </a:lnTo>
                  <a:lnTo>
                    <a:pt x="16801" y="75832"/>
                  </a:lnTo>
                  <a:lnTo>
                    <a:pt x="17530" y="74834"/>
                  </a:lnTo>
                  <a:lnTo>
                    <a:pt x="17604" y="73837"/>
                  </a:lnTo>
                  <a:lnTo>
                    <a:pt x="17166" y="72173"/>
                  </a:lnTo>
                  <a:lnTo>
                    <a:pt x="18995" y="71924"/>
                  </a:lnTo>
                  <a:lnTo>
                    <a:pt x="19724" y="72839"/>
                  </a:lnTo>
                  <a:lnTo>
                    <a:pt x="20698" y="74029"/>
                  </a:lnTo>
                  <a:lnTo>
                    <a:pt x="23374" y="76239"/>
                  </a:lnTo>
                  <a:lnTo>
                    <a:pt x="25103" y="76881"/>
                  </a:lnTo>
                  <a:lnTo>
                    <a:pt x="27286" y="77205"/>
                  </a:lnTo>
                  <a:lnTo>
                    <a:pt x="29968" y="76902"/>
                  </a:lnTo>
                  <a:lnTo>
                    <a:pt x="32115" y="76490"/>
                  </a:lnTo>
                  <a:lnTo>
                    <a:pt x="33127" y="76595"/>
                  </a:lnTo>
                  <a:lnTo>
                    <a:pt x="35466" y="78203"/>
                  </a:lnTo>
                  <a:lnTo>
                    <a:pt x="38196" y="80456"/>
                  </a:lnTo>
                  <a:lnTo>
                    <a:pt x="39074" y="81452"/>
                  </a:lnTo>
                  <a:lnTo>
                    <a:pt x="39481" y="82986"/>
                  </a:lnTo>
                  <a:lnTo>
                    <a:pt x="40290" y="83445"/>
                  </a:lnTo>
                  <a:lnTo>
                    <a:pt x="42033" y="81929"/>
                  </a:lnTo>
                  <a:lnTo>
                    <a:pt x="43719" y="81425"/>
                  </a:lnTo>
                  <a:lnTo>
                    <a:pt x="45272" y="81713"/>
                  </a:lnTo>
                  <a:lnTo>
                    <a:pt x="46984" y="81881"/>
                  </a:lnTo>
                  <a:lnTo>
                    <a:pt x="48699" y="81325"/>
                  </a:lnTo>
                  <a:lnTo>
                    <a:pt x="49463" y="80923"/>
                  </a:lnTo>
                  <a:lnTo>
                    <a:pt x="52456" y="78957"/>
                  </a:lnTo>
                  <a:lnTo>
                    <a:pt x="55160" y="77462"/>
                  </a:lnTo>
                  <a:lnTo>
                    <a:pt x="56848" y="76542"/>
                  </a:lnTo>
                  <a:lnTo>
                    <a:pt x="57457" y="73469"/>
                  </a:lnTo>
                  <a:lnTo>
                    <a:pt x="58235" y="71721"/>
                  </a:lnTo>
                  <a:lnTo>
                    <a:pt x="59349" y="70700"/>
                  </a:lnTo>
                  <a:lnTo>
                    <a:pt x="58930" y="69437"/>
                  </a:lnTo>
                  <a:lnTo>
                    <a:pt x="58470" y="68468"/>
                  </a:lnTo>
                  <a:lnTo>
                    <a:pt x="57997" y="67159"/>
                  </a:lnTo>
                  <a:lnTo>
                    <a:pt x="58470" y="66467"/>
                  </a:lnTo>
                  <a:lnTo>
                    <a:pt x="59552" y="66158"/>
                  </a:lnTo>
                  <a:lnTo>
                    <a:pt x="62266" y="66159"/>
                  </a:lnTo>
                  <a:lnTo>
                    <a:pt x="67028" y="64779"/>
                  </a:lnTo>
                  <a:lnTo>
                    <a:pt x="70999" y="63400"/>
                  </a:lnTo>
                  <a:lnTo>
                    <a:pt x="74668" y="62276"/>
                  </a:lnTo>
                  <a:lnTo>
                    <a:pt x="76339" y="62090"/>
                  </a:lnTo>
                  <a:lnTo>
                    <a:pt x="77922" y="62282"/>
                  </a:lnTo>
                  <a:lnTo>
                    <a:pt x="78645" y="61954"/>
                  </a:lnTo>
                  <a:lnTo>
                    <a:pt x="78844" y="60881"/>
                  </a:lnTo>
                  <a:lnTo>
                    <a:pt x="79747" y="59743"/>
                  </a:lnTo>
                  <a:lnTo>
                    <a:pt x="81785" y="58827"/>
                  </a:lnTo>
                  <a:lnTo>
                    <a:pt x="85625" y="56878"/>
                  </a:lnTo>
                  <a:lnTo>
                    <a:pt x="89008" y="53980"/>
                  </a:lnTo>
                  <a:lnTo>
                    <a:pt x="90220" y="51780"/>
                  </a:lnTo>
                  <a:lnTo>
                    <a:pt x="91032" y="48565"/>
                  </a:lnTo>
                  <a:lnTo>
                    <a:pt x="92619" y="43603"/>
                  </a:lnTo>
                  <a:lnTo>
                    <a:pt x="94361" y="38151"/>
                  </a:lnTo>
                  <a:lnTo>
                    <a:pt x="95009" y="35748"/>
                  </a:lnTo>
                  <a:lnTo>
                    <a:pt x="95758" y="33896"/>
                  </a:lnTo>
                  <a:lnTo>
                    <a:pt x="98749" y="32330"/>
                  </a:lnTo>
                  <a:lnTo>
                    <a:pt x="101802" y="31199"/>
                  </a:lnTo>
                  <a:lnTo>
                    <a:pt x="106534" y="30974"/>
                  </a:lnTo>
                  <a:lnTo>
                    <a:pt x="112092" y="30862"/>
                  </a:lnTo>
                  <a:lnTo>
                    <a:pt x="113264" y="27874"/>
                  </a:lnTo>
                  <a:lnTo>
                    <a:pt x="113999" y="25337"/>
                  </a:lnTo>
                  <a:lnTo>
                    <a:pt x="114923" y="24026"/>
                  </a:lnTo>
                  <a:lnTo>
                    <a:pt x="116268" y="22961"/>
                  </a:lnTo>
                  <a:lnTo>
                    <a:pt x="116737" y="22749"/>
                  </a:lnTo>
                  <a:lnTo>
                    <a:pt x="119736" y="24308"/>
                  </a:lnTo>
                  <a:lnTo>
                    <a:pt x="124329" y="26691"/>
                  </a:lnTo>
                  <a:lnTo>
                    <a:pt x="129678" y="27880"/>
                  </a:lnTo>
                  <a:lnTo>
                    <a:pt x="132367" y="28477"/>
                  </a:lnTo>
                  <a:lnTo>
                    <a:pt x="133481" y="28382"/>
                  </a:lnTo>
                  <a:lnTo>
                    <a:pt x="140235" y="27800"/>
                  </a:lnTo>
                  <a:lnTo>
                    <a:pt x="145567" y="28730"/>
                  </a:lnTo>
                  <a:lnTo>
                    <a:pt x="148368" y="31269"/>
                  </a:lnTo>
                  <a:lnTo>
                    <a:pt x="151114" y="31922"/>
                  </a:lnTo>
                  <a:lnTo>
                    <a:pt x="153811" y="30688"/>
                  </a:lnTo>
                  <a:lnTo>
                    <a:pt x="155483" y="30468"/>
                  </a:lnTo>
                  <a:lnTo>
                    <a:pt x="156128" y="31258"/>
                  </a:lnTo>
                  <a:lnTo>
                    <a:pt x="157476" y="31592"/>
                  </a:lnTo>
                  <a:lnTo>
                    <a:pt x="159523" y="31472"/>
                  </a:lnTo>
                  <a:lnTo>
                    <a:pt x="160693" y="32171"/>
                  </a:lnTo>
                  <a:lnTo>
                    <a:pt x="160827" y="32874"/>
                  </a:lnTo>
                  <a:lnTo>
                    <a:pt x="160983" y="33690"/>
                  </a:lnTo>
                  <a:lnTo>
                    <a:pt x="162496" y="35623"/>
                  </a:lnTo>
                  <a:lnTo>
                    <a:pt x="165228" y="37967"/>
                  </a:lnTo>
                  <a:lnTo>
                    <a:pt x="167655" y="38532"/>
                  </a:lnTo>
                  <a:lnTo>
                    <a:pt x="170847" y="36709"/>
                  </a:lnTo>
                  <a:lnTo>
                    <a:pt x="171926" y="36923"/>
                  </a:lnTo>
                  <a:lnTo>
                    <a:pt x="172453" y="36332"/>
                  </a:lnTo>
                  <a:lnTo>
                    <a:pt x="172779" y="35006"/>
                  </a:lnTo>
                  <a:lnTo>
                    <a:pt x="174712" y="33757"/>
                  </a:lnTo>
                  <a:lnTo>
                    <a:pt x="178241" y="32588"/>
                  </a:lnTo>
                  <a:lnTo>
                    <a:pt x="180242" y="31543"/>
                  </a:lnTo>
                  <a:lnTo>
                    <a:pt x="180953" y="30678"/>
                  </a:lnTo>
                  <a:lnTo>
                    <a:pt x="182149" y="30433"/>
                  </a:lnTo>
                  <a:lnTo>
                    <a:pt x="183449" y="30688"/>
                  </a:lnTo>
                  <a:lnTo>
                    <a:pt x="184371" y="30364"/>
                  </a:lnTo>
                  <a:lnTo>
                    <a:pt x="184697" y="29546"/>
                  </a:lnTo>
                  <a:lnTo>
                    <a:pt x="185070" y="29188"/>
                  </a:lnTo>
                  <a:lnTo>
                    <a:pt x="185731" y="28902"/>
                  </a:lnTo>
                  <a:lnTo>
                    <a:pt x="186319" y="28753"/>
                  </a:lnTo>
                  <a:lnTo>
                    <a:pt x="187394" y="28979"/>
                  </a:lnTo>
                  <a:lnTo>
                    <a:pt x="189374" y="30471"/>
                  </a:lnTo>
                  <a:lnTo>
                    <a:pt x="192253" y="33228"/>
                  </a:lnTo>
                  <a:lnTo>
                    <a:pt x="194125" y="34498"/>
                  </a:lnTo>
                  <a:lnTo>
                    <a:pt x="194988" y="34281"/>
                  </a:lnTo>
                  <a:lnTo>
                    <a:pt x="196092" y="33438"/>
                  </a:lnTo>
                  <a:lnTo>
                    <a:pt x="197433" y="31968"/>
                  </a:lnTo>
                  <a:lnTo>
                    <a:pt x="197770" y="29851"/>
                  </a:lnTo>
                  <a:lnTo>
                    <a:pt x="197096" y="27085"/>
                  </a:lnTo>
                  <a:lnTo>
                    <a:pt x="197558" y="24854"/>
                  </a:lnTo>
                  <a:lnTo>
                    <a:pt x="199150" y="23160"/>
                  </a:lnTo>
                  <a:lnTo>
                    <a:pt x="202106" y="22113"/>
                  </a:lnTo>
                  <a:lnTo>
                    <a:pt x="206420" y="21717"/>
                  </a:lnTo>
                  <a:lnTo>
                    <a:pt x="209068" y="21953"/>
                  </a:lnTo>
                  <a:lnTo>
                    <a:pt x="210048" y="22825"/>
                  </a:lnTo>
                  <a:lnTo>
                    <a:pt x="211370" y="23309"/>
                  </a:lnTo>
                  <a:lnTo>
                    <a:pt x="213030" y="23404"/>
                  </a:lnTo>
                  <a:lnTo>
                    <a:pt x="214553" y="22409"/>
                  </a:lnTo>
                  <a:lnTo>
                    <a:pt x="215941" y="20321"/>
                  </a:lnTo>
                  <a:lnTo>
                    <a:pt x="216019" y="17732"/>
                  </a:lnTo>
                  <a:lnTo>
                    <a:pt x="214790" y="14643"/>
                  </a:lnTo>
                  <a:lnTo>
                    <a:pt x="215127" y="13660"/>
                  </a:lnTo>
                  <a:lnTo>
                    <a:pt x="215660" y="13230"/>
                  </a:lnTo>
                  <a:lnTo>
                    <a:pt x="217308" y="12112"/>
                  </a:lnTo>
                  <a:lnTo>
                    <a:pt x="219618" y="9788"/>
                  </a:lnTo>
                  <a:lnTo>
                    <a:pt x="221847" y="6797"/>
                  </a:lnTo>
                  <a:lnTo>
                    <a:pt x="223998" y="3137"/>
                  </a:lnTo>
                  <a:lnTo>
                    <a:pt x="226654" y="871"/>
                  </a:lnTo>
                  <a:lnTo>
                    <a:pt x="229815" y="0"/>
                  </a:lnTo>
                  <a:lnTo>
                    <a:pt x="233646" y="992"/>
                  </a:lnTo>
                  <a:lnTo>
                    <a:pt x="238151" y="3843"/>
                  </a:lnTo>
                  <a:lnTo>
                    <a:pt x="239850" y="7355"/>
                  </a:lnTo>
                  <a:lnTo>
                    <a:pt x="238746" y="11520"/>
                  </a:lnTo>
                  <a:lnTo>
                    <a:pt x="238651" y="13814"/>
                  </a:lnTo>
                  <a:lnTo>
                    <a:pt x="239567" y="14238"/>
                  </a:lnTo>
                  <a:lnTo>
                    <a:pt x="241109" y="14124"/>
                  </a:lnTo>
                  <a:lnTo>
                    <a:pt x="243279" y="13469"/>
                  </a:lnTo>
                  <a:lnTo>
                    <a:pt x="244698" y="13436"/>
                  </a:lnTo>
                  <a:lnTo>
                    <a:pt x="245367" y="14027"/>
                  </a:lnTo>
                  <a:lnTo>
                    <a:pt x="245326" y="15201"/>
                  </a:lnTo>
                  <a:lnTo>
                    <a:pt x="244570" y="16958"/>
                  </a:lnTo>
                  <a:lnTo>
                    <a:pt x="243661" y="21886"/>
                  </a:lnTo>
                  <a:lnTo>
                    <a:pt x="243100" y="26148"/>
                  </a:lnTo>
                  <a:lnTo>
                    <a:pt x="242549" y="30336"/>
                  </a:lnTo>
                  <a:lnTo>
                    <a:pt x="242065" y="34011"/>
                  </a:lnTo>
                  <a:lnTo>
                    <a:pt x="242927" y="36873"/>
                  </a:lnTo>
                  <a:lnTo>
                    <a:pt x="244231" y="41192"/>
                  </a:lnTo>
                  <a:lnTo>
                    <a:pt x="245704" y="44041"/>
                  </a:lnTo>
                  <a:lnTo>
                    <a:pt x="247211" y="44955"/>
                  </a:lnTo>
                  <a:lnTo>
                    <a:pt x="248719" y="45281"/>
                  </a:lnTo>
                  <a:lnTo>
                    <a:pt x="250228" y="45021"/>
                  </a:lnTo>
                  <a:lnTo>
                    <a:pt x="253322" y="43190"/>
                  </a:lnTo>
                  <a:lnTo>
                    <a:pt x="257999" y="39784"/>
                  </a:lnTo>
                  <a:lnTo>
                    <a:pt x="262539" y="37691"/>
                  </a:lnTo>
                  <a:lnTo>
                    <a:pt x="269142" y="36517"/>
                  </a:lnTo>
                  <a:lnTo>
                    <a:pt x="271345" y="32861"/>
                  </a:lnTo>
                  <a:lnTo>
                    <a:pt x="274407" y="30445"/>
                  </a:lnTo>
                  <a:lnTo>
                    <a:pt x="281386" y="26851"/>
                  </a:lnTo>
                  <a:lnTo>
                    <a:pt x="285184" y="25479"/>
                  </a:lnTo>
                  <a:lnTo>
                    <a:pt x="287361" y="25238"/>
                  </a:lnTo>
                  <a:lnTo>
                    <a:pt x="290088" y="25893"/>
                  </a:lnTo>
                  <a:lnTo>
                    <a:pt x="290706" y="26118"/>
                  </a:lnTo>
                  <a:lnTo>
                    <a:pt x="291248" y="26290"/>
                  </a:lnTo>
                  <a:lnTo>
                    <a:pt x="292651" y="26589"/>
                  </a:lnTo>
                  <a:lnTo>
                    <a:pt x="292943" y="27685"/>
                  </a:lnTo>
                  <a:lnTo>
                    <a:pt x="292578" y="28867"/>
                  </a:lnTo>
                  <a:lnTo>
                    <a:pt x="291064" y="29842"/>
                  </a:lnTo>
                  <a:lnTo>
                    <a:pt x="290593" y="30597"/>
                  </a:lnTo>
                  <a:lnTo>
                    <a:pt x="291167" y="31163"/>
                  </a:lnTo>
                  <a:lnTo>
                    <a:pt x="293293" y="31356"/>
                  </a:lnTo>
                  <a:lnTo>
                    <a:pt x="297698" y="30047"/>
                  </a:lnTo>
                  <a:lnTo>
                    <a:pt x="300548" y="29204"/>
                  </a:lnTo>
                  <a:lnTo>
                    <a:pt x="302524" y="28867"/>
                  </a:lnTo>
                  <a:lnTo>
                    <a:pt x="303330" y="27770"/>
                  </a:lnTo>
                  <a:lnTo>
                    <a:pt x="304571" y="26674"/>
                  </a:lnTo>
                  <a:lnTo>
                    <a:pt x="306547" y="26589"/>
                  </a:lnTo>
                  <a:lnTo>
                    <a:pt x="308667" y="27180"/>
                  </a:lnTo>
                  <a:lnTo>
                    <a:pt x="310421" y="27517"/>
                  </a:lnTo>
                  <a:lnTo>
                    <a:pt x="313410" y="27208"/>
                  </a:lnTo>
                  <a:lnTo>
                    <a:pt x="314983" y="28163"/>
                  </a:lnTo>
                  <a:lnTo>
                    <a:pt x="317193" y="29976"/>
                  </a:lnTo>
                  <a:lnTo>
                    <a:pt x="318186" y="31096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83" name="ee4p_AE_1_82333">
              <a:extLst>
                <a:ext uri="{FF2B5EF4-FFF2-40B4-BE49-F238E27FC236}">
                  <a16:creationId xmlns:a16="http://schemas.microsoft.com/office/drawing/2014/main" id="{D7363CE5-EBC5-9E1E-9CC8-FA3F9CB7FEBA}"/>
                </a:ext>
              </a:extLst>
            </p:cNvPr>
            <p:cNvSpPr>
              <a:spLocks noChangeAspect="1"/>
            </p:cNvSpPr>
            <p:nvPr>
              <p:custDataLst>
                <p:tags r:id="rId11"/>
              </p:custDataLst>
            </p:nvPr>
          </p:nvSpPr>
          <p:spPr>
            <a:xfrm>
              <a:off x="7946720" y="3915193"/>
              <a:ext cx="133838" cy="104298"/>
            </a:xfrm>
            <a:custGeom>
              <a:avLst/>
              <a:gdLst>
                <a:gd name="connsiteX0" fmla="*/ 50094 w 106572"/>
                <a:gd name="connsiteY0" fmla="*/ 42610 h 80849"/>
                <a:gd name="connsiteX1" fmla="*/ 51420 w 106572"/>
                <a:gd name="connsiteY1" fmla="*/ 43637 h 80849"/>
                <a:gd name="connsiteX2" fmla="*/ 52173 w 106572"/>
                <a:gd name="connsiteY2" fmla="*/ 44526 h 80849"/>
                <a:gd name="connsiteX3" fmla="*/ 52180 w 106572"/>
                <a:gd name="connsiteY3" fmla="*/ 45319 h 80849"/>
                <a:gd name="connsiteX4" fmla="*/ 49930 w 106572"/>
                <a:gd name="connsiteY4" fmla="*/ 45090 h 80849"/>
                <a:gd name="connsiteX5" fmla="*/ 49327 w 106572"/>
                <a:gd name="connsiteY5" fmla="*/ 45502 h 80849"/>
                <a:gd name="connsiteX6" fmla="*/ 47485 w 106572"/>
                <a:gd name="connsiteY6" fmla="*/ 45273 h 80849"/>
                <a:gd name="connsiteX7" fmla="*/ 45686 w 106572"/>
                <a:gd name="connsiteY7" fmla="*/ 44700 h 80849"/>
                <a:gd name="connsiteX8" fmla="*/ 46906 w 106572"/>
                <a:gd name="connsiteY8" fmla="*/ 43739 h 80849"/>
                <a:gd name="connsiteX9" fmla="*/ 23462 w 106572"/>
                <a:gd name="connsiteY9" fmla="*/ 39847 h 80849"/>
                <a:gd name="connsiteX10" fmla="*/ 24086 w 106572"/>
                <a:gd name="connsiteY10" fmla="*/ 40883 h 80849"/>
                <a:gd name="connsiteX11" fmla="*/ 23186 w 106572"/>
                <a:gd name="connsiteY11" fmla="*/ 41915 h 80849"/>
                <a:gd name="connsiteX12" fmla="*/ 22812 w 106572"/>
                <a:gd name="connsiteY12" fmla="*/ 42086 h 80849"/>
                <a:gd name="connsiteX13" fmla="*/ 22419 w 106572"/>
                <a:gd name="connsiteY13" fmla="*/ 40821 h 80849"/>
                <a:gd name="connsiteX14" fmla="*/ 22449 w 106572"/>
                <a:gd name="connsiteY14" fmla="*/ 40420 h 80849"/>
                <a:gd name="connsiteX15" fmla="*/ 40776 w 106572"/>
                <a:gd name="connsiteY15" fmla="*/ 39043 h 80849"/>
                <a:gd name="connsiteX16" fmla="*/ 41504 w 106572"/>
                <a:gd name="connsiteY16" fmla="*/ 39978 h 80849"/>
                <a:gd name="connsiteX17" fmla="*/ 40700 w 106572"/>
                <a:gd name="connsiteY17" fmla="*/ 41462 h 80849"/>
                <a:gd name="connsiteX18" fmla="*/ 40117 w 106572"/>
                <a:gd name="connsiteY18" fmla="*/ 42096 h 80849"/>
                <a:gd name="connsiteX19" fmla="*/ 39003 w 106572"/>
                <a:gd name="connsiteY19" fmla="*/ 42618 h 80849"/>
                <a:gd name="connsiteX20" fmla="*/ 37368 w 106572"/>
                <a:gd name="connsiteY20" fmla="*/ 42751 h 80849"/>
                <a:gd name="connsiteX21" fmla="*/ 35878 w 106572"/>
                <a:gd name="connsiteY21" fmla="*/ 41861 h 80849"/>
                <a:gd name="connsiteX22" fmla="*/ 39009 w 106572"/>
                <a:gd name="connsiteY22" fmla="*/ 40672 h 80849"/>
                <a:gd name="connsiteX23" fmla="*/ 39858 w 106572"/>
                <a:gd name="connsiteY23" fmla="*/ 40136 h 80849"/>
                <a:gd name="connsiteX24" fmla="*/ 62577 w 106572"/>
                <a:gd name="connsiteY24" fmla="*/ 36806 h 80849"/>
                <a:gd name="connsiteX25" fmla="*/ 63201 w 106572"/>
                <a:gd name="connsiteY25" fmla="*/ 37635 h 80849"/>
                <a:gd name="connsiteX26" fmla="*/ 64061 w 106572"/>
                <a:gd name="connsiteY26" fmla="*/ 38299 h 80849"/>
                <a:gd name="connsiteX27" fmla="*/ 63866 w 106572"/>
                <a:gd name="connsiteY27" fmla="*/ 38755 h 80849"/>
                <a:gd name="connsiteX28" fmla="*/ 63242 w 106572"/>
                <a:gd name="connsiteY28" fmla="*/ 38713 h 80849"/>
                <a:gd name="connsiteX29" fmla="*/ 61679 w 106572"/>
                <a:gd name="connsiteY29" fmla="*/ 38299 h 80849"/>
                <a:gd name="connsiteX30" fmla="*/ 61171 w 106572"/>
                <a:gd name="connsiteY30" fmla="*/ 37635 h 80849"/>
                <a:gd name="connsiteX31" fmla="*/ 62147 w 106572"/>
                <a:gd name="connsiteY31" fmla="*/ 36848 h 80849"/>
                <a:gd name="connsiteX32" fmla="*/ 103173 w 106572"/>
                <a:gd name="connsiteY32" fmla="*/ 18050 h 80849"/>
                <a:gd name="connsiteX33" fmla="*/ 102780 w 106572"/>
                <a:gd name="connsiteY33" fmla="*/ 18925 h 80849"/>
                <a:gd name="connsiteX34" fmla="*/ 102649 w 106572"/>
                <a:gd name="connsiteY34" fmla="*/ 20183 h 80849"/>
                <a:gd name="connsiteX35" fmla="*/ 103305 w 106572"/>
                <a:gd name="connsiteY35" fmla="*/ 20288 h 80849"/>
                <a:gd name="connsiteX36" fmla="*/ 104225 w 106572"/>
                <a:gd name="connsiteY36" fmla="*/ 19659 h 80849"/>
                <a:gd name="connsiteX37" fmla="*/ 104357 w 106572"/>
                <a:gd name="connsiteY37" fmla="*/ 18644 h 80849"/>
                <a:gd name="connsiteX38" fmla="*/ 104126 w 106572"/>
                <a:gd name="connsiteY38" fmla="*/ 18119 h 80849"/>
                <a:gd name="connsiteX39" fmla="*/ 100569 w 106572"/>
                <a:gd name="connsiteY39" fmla="*/ 0 h 80849"/>
                <a:gd name="connsiteX40" fmla="*/ 101696 w 106572"/>
                <a:gd name="connsiteY40" fmla="*/ 490 h 80849"/>
                <a:gd name="connsiteX41" fmla="*/ 101809 w 106572"/>
                <a:gd name="connsiteY41" fmla="*/ 2910 h 80849"/>
                <a:gd name="connsiteX42" fmla="*/ 101401 w 106572"/>
                <a:gd name="connsiteY42" fmla="*/ 5195 h 80849"/>
                <a:gd name="connsiteX43" fmla="*/ 101353 w 106572"/>
                <a:gd name="connsiteY43" fmla="*/ 7614 h 80849"/>
                <a:gd name="connsiteX44" fmla="*/ 101191 w 106572"/>
                <a:gd name="connsiteY44" fmla="*/ 8927 h 80849"/>
                <a:gd name="connsiteX45" fmla="*/ 102053 w 106572"/>
                <a:gd name="connsiteY45" fmla="*/ 10004 h 80849"/>
                <a:gd name="connsiteX46" fmla="*/ 103511 w 106572"/>
                <a:gd name="connsiteY46" fmla="*/ 10465 h 80849"/>
                <a:gd name="connsiteX47" fmla="*/ 104152 w 106572"/>
                <a:gd name="connsiteY47" fmla="*/ 10410 h 80849"/>
                <a:gd name="connsiteX48" fmla="*/ 104579 w 106572"/>
                <a:gd name="connsiteY48" fmla="*/ 9868 h 80849"/>
                <a:gd name="connsiteX49" fmla="*/ 106031 w 106572"/>
                <a:gd name="connsiteY49" fmla="*/ 11787 h 80849"/>
                <a:gd name="connsiteX50" fmla="*/ 106238 w 106572"/>
                <a:gd name="connsiteY50" fmla="*/ 24774 h 80849"/>
                <a:gd name="connsiteX51" fmla="*/ 106572 w 106572"/>
                <a:gd name="connsiteY51" fmla="*/ 25694 h 80849"/>
                <a:gd name="connsiteX52" fmla="*/ 105797 w 106572"/>
                <a:gd name="connsiteY52" fmla="*/ 25833 h 80849"/>
                <a:gd name="connsiteX53" fmla="*/ 104927 w 106572"/>
                <a:gd name="connsiteY53" fmla="*/ 26821 h 80849"/>
                <a:gd name="connsiteX54" fmla="*/ 103916 w 106572"/>
                <a:gd name="connsiteY54" fmla="*/ 28340 h 80849"/>
                <a:gd name="connsiteX55" fmla="*/ 102519 w 106572"/>
                <a:gd name="connsiteY55" fmla="*/ 29126 h 80849"/>
                <a:gd name="connsiteX56" fmla="*/ 101409 w 106572"/>
                <a:gd name="connsiteY56" fmla="*/ 30014 h 80849"/>
                <a:gd name="connsiteX57" fmla="*/ 100349 w 106572"/>
                <a:gd name="connsiteY57" fmla="*/ 31115 h 80849"/>
                <a:gd name="connsiteX58" fmla="*/ 99405 w 106572"/>
                <a:gd name="connsiteY58" fmla="*/ 31348 h 80849"/>
                <a:gd name="connsiteX59" fmla="*/ 98179 w 106572"/>
                <a:gd name="connsiteY59" fmla="*/ 29950 h 80849"/>
                <a:gd name="connsiteX60" fmla="*/ 97337 w 106572"/>
                <a:gd name="connsiteY60" fmla="*/ 28523 h 80849"/>
                <a:gd name="connsiteX61" fmla="*/ 97544 w 106572"/>
                <a:gd name="connsiteY61" fmla="*/ 28214 h 80849"/>
                <a:gd name="connsiteX62" fmla="*/ 98133 w 106572"/>
                <a:gd name="connsiteY62" fmla="*/ 28112 h 80849"/>
                <a:gd name="connsiteX63" fmla="*/ 98362 w 106572"/>
                <a:gd name="connsiteY63" fmla="*/ 27376 h 80849"/>
                <a:gd name="connsiteX64" fmla="*/ 98006 w 106572"/>
                <a:gd name="connsiteY64" fmla="*/ 26305 h 80849"/>
                <a:gd name="connsiteX65" fmla="*/ 97177 w 106572"/>
                <a:gd name="connsiteY65" fmla="*/ 25904 h 80849"/>
                <a:gd name="connsiteX66" fmla="*/ 96132 w 106572"/>
                <a:gd name="connsiteY66" fmla="*/ 25869 h 80849"/>
                <a:gd name="connsiteX67" fmla="*/ 95134 w 106572"/>
                <a:gd name="connsiteY67" fmla="*/ 26348 h 80849"/>
                <a:gd name="connsiteX68" fmla="*/ 94076 w 106572"/>
                <a:gd name="connsiteY68" fmla="*/ 27292 h 80849"/>
                <a:gd name="connsiteX69" fmla="*/ 93476 w 106572"/>
                <a:gd name="connsiteY69" fmla="*/ 28307 h 80849"/>
                <a:gd name="connsiteX70" fmla="*/ 93385 w 106572"/>
                <a:gd name="connsiteY70" fmla="*/ 30348 h 80849"/>
                <a:gd name="connsiteX71" fmla="*/ 93664 w 106572"/>
                <a:gd name="connsiteY71" fmla="*/ 32644 h 80849"/>
                <a:gd name="connsiteX72" fmla="*/ 93657 w 106572"/>
                <a:gd name="connsiteY72" fmla="*/ 33757 h 80849"/>
                <a:gd name="connsiteX73" fmla="*/ 93074 w 106572"/>
                <a:gd name="connsiteY73" fmla="*/ 35140 h 80849"/>
                <a:gd name="connsiteX74" fmla="*/ 92867 w 106572"/>
                <a:gd name="connsiteY74" fmla="*/ 37176 h 80849"/>
                <a:gd name="connsiteX75" fmla="*/ 93279 w 106572"/>
                <a:gd name="connsiteY75" fmla="*/ 38750 h 80849"/>
                <a:gd name="connsiteX76" fmla="*/ 93659 w 106572"/>
                <a:gd name="connsiteY76" fmla="*/ 39688 h 80849"/>
                <a:gd name="connsiteX77" fmla="*/ 93696 w 106572"/>
                <a:gd name="connsiteY77" fmla="*/ 40480 h 80849"/>
                <a:gd name="connsiteX78" fmla="*/ 92705 w 106572"/>
                <a:gd name="connsiteY78" fmla="*/ 42992 h 80849"/>
                <a:gd name="connsiteX79" fmla="*/ 93564 w 106572"/>
                <a:gd name="connsiteY79" fmla="*/ 43461 h 80849"/>
                <a:gd name="connsiteX80" fmla="*/ 96415 w 106572"/>
                <a:gd name="connsiteY80" fmla="*/ 43637 h 80849"/>
                <a:gd name="connsiteX81" fmla="*/ 97248 w 106572"/>
                <a:gd name="connsiteY81" fmla="*/ 45336 h 80849"/>
                <a:gd name="connsiteX82" fmla="*/ 97820 w 106572"/>
                <a:gd name="connsiteY82" fmla="*/ 46500 h 80849"/>
                <a:gd name="connsiteX83" fmla="*/ 97665 w 106572"/>
                <a:gd name="connsiteY83" fmla="*/ 47193 h 80849"/>
                <a:gd name="connsiteX84" fmla="*/ 95653 w 106572"/>
                <a:gd name="connsiteY84" fmla="*/ 47708 h 80849"/>
                <a:gd name="connsiteX85" fmla="*/ 93109 w 106572"/>
                <a:gd name="connsiteY85" fmla="*/ 48277 h 80849"/>
                <a:gd name="connsiteX86" fmla="*/ 91284 w 106572"/>
                <a:gd name="connsiteY86" fmla="*/ 48112 h 80849"/>
                <a:gd name="connsiteX87" fmla="*/ 87995 w 106572"/>
                <a:gd name="connsiteY87" fmla="*/ 48879 h 80849"/>
                <a:gd name="connsiteX88" fmla="*/ 86240 w 106572"/>
                <a:gd name="connsiteY88" fmla="*/ 50056 h 80849"/>
                <a:gd name="connsiteX89" fmla="*/ 86756 w 106572"/>
                <a:gd name="connsiteY89" fmla="*/ 50792 h 80849"/>
                <a:gd name="connsiteX90" fmla="*/ 87365 w 106572"/>
                <a:gd name="connsiteY90" fmla="*/ 51357 h 80849"/>
                <a:gd name="connsiteX91" fmla="*/ 87637 w 106572"/>
                <a:gd name="connsiteY91" fmla="*/ 52912 h 80849"/>
                <a:gd name="connsiteX92" fmla="*/ 87125 w 106572"/>
                <a:gd name="connsiteY92" fmla="*/ 55121 h 80849"/>
                <a:gd name="connsiteX93" fmla="*/ 86192 w 106572"/>
                <a:gd name="connsiteY93" fmla="*/ 57265 h 80849"/>
                <a:gd name="connsiteX94" fmla="*/ 85033 w 106572"/>
                <a:gd name="connsiteY94" fmla="*/ 59932 h 80849"/>
                <a:gd name="connsiteX95" fmla="*/ 83692 w 106572"/>
                <a:gd name="connsiteY95" fmla="*/ 62999 h 80849"/>
                <a:gd name="connsiteX96" fmla="*/ 81856 w 106572"/>
                <a:gd name="connsiteY96" fmla="*/ 67607 h 80849"/>
                <a:gd name="connsiteX97" fmla="*/ 80301 w 106572"/>
                <a:gd name="connsiteY97" fmla="*/ 71226 h 80849"/>
                <a:gd name="connsiteX98" fmla="*/ 80131 w 106572"/>
                <a:gd name="connsiteY98" fmla="*/ 73831 h 80849"/>
                <a:gd name="connsiteX99" fmla="*/ 80172 w 106572"/>
                <a:gd name="connsiteY99" fmla="*/ 75530 h 80849"/>
                <a:gd name="connsiteX100" fmla="*/ 79990 w 106572"/>
                <a:gd name="connsiteY100" fmla="*/ 78926 h 80849"/>
                <a:gd name="connsiteX101" fmla="*/ 78522 w 106572"/>
                <a:gd name="connsiteY101" fmla="*/ 80792 h 80849"/>
                <a:gd name="connsiteX102" fmla="*/ 78187 w 106572"/>
                <a:gd name="connsiteY102" fmla="*/ 80849 h 80849"/>
                <a:gd name="connsiteX103" fmla="*/ 76434 w 106572"/>
                <a:gd name="connsiteY103" fmla="*/ 80624 h 80849"/>
                <a:gd name="connsiteX104" fmla="*/ 75842 w 106572"/>
                <a:gd name="connsiteY104" fmla="*/ 80549 h 80849"/>
                <a:gd name="connsiteX105" fmla="*/ 74167 w 106572"/>
                <a:gd name="connsiteY105" fmla="*/ 80333 h 80849"/>
                <a:gd name="connsiteX106" fmla="*/ 71566 w 106572"/>
                <a:gd name="connsiteY106" fmla="*/ 79999 h 80849"/>
                <a:gd name="connsiteX107" fmla="*/ 68191 w 106572"/>
                <a:gd name="connsiteY107" fmla="*/ 79565 h 80849"/>
                <a:gd name="connsiteX108" fmla="*/ 64199 w 106572"/>
                <a:gd name="connsiteY108" fmla="*/ 79051 h 80849"/>
                <a:gd name="connsiteX109" fmla="*/ 59742 w 106572"/>
                <a:gd name="connsiteY109" fmla="*/ 78479 h 80849"/>
                <a:gd name="connsiteX110" fmla="*/ 54976 w 106572"/>
                <a:gd name="connsiteY110" fmla="*/ 77866 h 80849"/>
                <a:gd name="connsiteX111" fmla="*/ 50057 w 106572"/>
                <a:gd name="connsiteY111" fmla="*/ 77234 h 80849"/>
                <a:gd name="connsiteX112" fmla="*/ 45136 w 106572"/>
                <a:gd name="connsiteY112" fmla="*/ 76601 h 80849"/>
                <a:gd name="connsiteX113" fmla="*/ 40370 w 106572"/>
                <a:gd name="connsiteY113" fmla="*/ 75988 h 80849"/>
                <a:gd name="connsiteX114" fmla="*/ 35911 w 106572"/>
                <a:gd name="connsiteY114" fmla="*/ 75415 h 80849"/>
                <a:gd name="connsiteX115" fmla="*/ 31920 w 106572"/>
                <a:gd name="connsiteY115" fmla="*/ 74901 h 80849"/>
                <a:gd name="connsiteX116" fmla="*/ 28545 w 106572"/>
                <a:gd name="connsiteY116" fmla="*/ 74468 h 80849"/>
                <a:gd name="connsiteX117" fmla="*/ 25943 w 106572"/>
                <a:gd name="connsiteY117" fmla="*/ 74132 h 80849"/>
                <a:gd name="connsiteX118" fmla="*/ 24270 w 106572"/>
                <a:gd name="connsiteY118" fmla="*/ 73916 h 80849"/>
                <a:gd name="connsiteX119" fmla="*/ 23678 w 106572"/>
                <a:gd name="connsiteY119" fmla="*/ 73841 h 80849"/>
                <a:gd name="connsiteX120" fmla="*/ 21819 w 106572"/>
                <a:gd name="connsiteY120" fmla="*/ 73601 h 80849"/>
                <a:gd name="connsiteX121" fmla="*/ 20813 w 106572"/>
                <a:gd name="connsiteY121" fmla="*/ 72339 h 80849"/>
                <a:gd name="connsiteX122" fmla="*/ 19597 w 106572"/>
                <a:gd name="connsiteY122" fmla="*/ 70814 h 80849"/>
                <a:gd name="connsiteX123" fmla="*/ 18381 w 106572"/>
                <a:gd name="connsiteY123" fmla="*/ 69286 h 80849"/>
                <a:gd name="connsiteX124" fmla="*/ 17163 w 106572"/>
                <a:gd name="connsiteY124" fmla="*/ 67758 h 80849"/>
                <a:gd name="connsiteX125" fmla="*/ 15947 w 106572"/>
                <a:gd name="connsiteY125" fmla="*/ 66230 h 80849"/>
                <a:gd name="connsiteX126" fmla="*/ 14732 w 106572"/>
                <a:gd name="connsiteY126" fmla="*/ 64702 h 80849"/>
                <a:gd name="connsiteX127" fmla="*/ 13514 w 106572"/>
                <a:gd name="connsiteY127" fmla="*/ 63173 h 80849"/>
                <a:gd name="connsiteX128" fmla="*/ 12298 w 106572"/>
                <a:gd name="connsiteY128" fmla="*/ 61644 h 80849"/>
                <a:gd name="connsiteX129" fmla="*/ 11080 w 106572"/>
                <a:gd name="connsiteY129" fmla="*/ 60113 h 80849"/>
                <a:gd name="connsiteX130" fmla="*/ 9864 w 106572"/>
                <a:gd name="connsiteY130" fmla="*/ 58584 h 80849"/>
                <a:gd name="connsiteX131" fmla="*/ 8649 w 106572"/>
                <a:gd name="connsiteY131" fmla="*/ 57052 h 80849"/>
                <a:gd name="connsiteX132" fmla="*/ 7431 w 106572"/>
                <a:gd name="connsiteY132" fmla="*/ 55521 h 80849"/>
                <a:gd name="connsiteX133" fmla="*/ 6215 w 106572"/>
                <a:gd name="connsiteY133" fmla="*/ 53989 h 80849"/>
                <a:gd name="connsiteX134" fmla="*/ 4997 w 106572"/>
                <a:gd name="connsiteY134" fmla="*/ 52458 h 80849"/>
                <a:gd name="connsiteX135" fmla="*/ 3781 w 106572"/>
                <a:gd name="connsiteY135" fmla="*/ 50924 h 80849"/>
                <a:gd name="connsiteX136" fmla="*/ 2566 w 106572"/>
                <a:gd name="connsiteY136" fmla="*/ 49390 h 80849"/>
                <a:gd name="connsiteX137" fmla="*/ 1348 w 106572"/>
                <a:gd name="connsiteY137" fmla="*/ 47857 h 80849"/>
                <a:gd name="connsiteX138" fmla="*/ 536 w 106572"/>
                <a:gd name="connsiteY138" fmla="*/ 46830 h 80849"/>
                <a:gd name="connsiteX139" fmla="*/ 84 w 106572"/>
                <a:gd name="connsiteY139" fmla="*/ 45672 h 80849"/>
                <a:gd name="connsiteX140" fmla="*/ 0 w 106572"/>
                <a:gd name="connsiteY140" fmla="*/ 42634 h 80849"/>
                <a:gd name="connsiteX141" fmla="*/ 0 w 106572"/>
                <a:gd name="connsiteY141" fmla="*/ 41972 h 80849"/>
                <a:gd name="connsiteX142" fmla="*/ 821 w 106572"/>
                <a:gd name="connsiteY142" fmla="*/ 40746 h 80849"/>
                <a:gd name="connsiteX143" fmla="*/ 1212 w 106572"/>
                <a:gd name="connsiteY143" fmla="*/ 41622 h 80849"/>
                <a:gd name="connsiteX144" fmla="*/ 2127 w 106572"/>
                <a:gd name="connsiteY144" fmla="*/ 42809 h 80849"/>
                <a:gd name="connsiteX145" fmla="*/ 3680 w 106572"/>
                <a:gd name="connsiteY145" fmla="*/ 42520 h 80849"/>
                <a:gd name="connsiteX146" fmla="*/ 4405 w 106572"/>
                <a:gd name="connsiteY146" fmla="*/ 42717 h 80849"/>
                <a:gd name="connsiteX147" fmla="*/ 4939 w 106572"/>
                <a:gd name="connsiteY147" fmla="*/ 46926 h 80849"/>
                <a:gd name="connsiteX148" fmla="*/ 6077 w 106572"/>
                <a:gd name="connsiteY148" fmla="*/ 48422 h 80849"/>
                <a:gd name="connsiteX149" fmla="*/ 7468 w 106572"/>
                <a:gd name="connsiteY149" fmla="*/ 49020 h 80849"/>
                <a:gd name="connsiteX150" fmla="*/ 12166 w 106572"/>
                <a:gd name="connsiteY150" fmla="*/ 49354 h 80849"/>
                <a:gd name="connsiteX151" fmla="*/ 15092 w 106572"/>
                <a:gd name="connsiteY151" fmla="*/ 48789 h 80849"/>
                <a:gd name="connsiteX152" fmla="*/ 20854 w 106572"/>
                <a:gd name="connsiteY152" fmla="*/ 46042 h 80849"/>
                <a:gd name="connsiteX153" fmla="*/ 23879 w 106572"/>
                <a:gd name="connsiteY153" fmla="*/ 45055 h 80849"/>
                <a:gd name="connsiteX154" fmla="*/ 32240 w 106572"/>
                <a:gd name="connsiteY154" fmla="*/ 45227 h 80849"/>
                <a:gd name="connsiteX155" fmla="*/ 38945 w 106572"/>
                <a:gd name="connsiteY155" fmla="*/ 46372 h 80849"/>
                <a:gd name="connsiteX156" fmla="*/ 49386 w 106572"/>
                <a:gd name="connsiteY156" fmla="*/ 47050 h 80849"/>
                <a:gd name="connsiteX157" fmla="*/ 51411 w 106572"/>
                <a:gd name="connsiteY157" fmla="*/ 46873 h 80849"/>
                <a:gd name="connsiteX158" fmla="*/ 57041 w 106572"/>
                <a:gd name="connsiteY158" fmla="*/ 44667 h 80849"/>
                <a:gd name="connsiteX159" fmla="*/ 60498 w 106572"/>
                <a:gd name="connsiteY159" fmla="*/ 42719 h 80849"/>
                <a:gd name="connsiteX160" fmla="*/ 62549 w 106572"/>
                <a:gd name="connsiteY160" fmla="*/ 42160 h 80849"/>
                <a:gd name="connsiteX161" fmla="*/ 63905 w 106572"/>
                <a:gd name="connsiteY161" fmla="*/ 40281 h 80849"/>
                <a:gd name="connsiteX162" fmla="*/ 64799 w 106572"/>
                <a:gd name="connsiteY162" fmla="*/ 37831 h 80849"/>
                <a:gd name="connsiteX163" fmla="*/ 65592 w 106572"/>
                <a:gd name="connsiteY163" fmla="*/ 36229 h 80849"/>
                <a:gd name="connsiteX164" fmla="*/ 66604 w 106572"/>
                <a:gd name="connsiteY164" fmla="*/ 35464 h 80849"/>
                <a:gd name="connsiteX165" fmla="*/ 67570 w 106572"/>
                <a:gd name="connsiteY165" fmla="*/ 34108 h 80849"/>
                <a:gd name="connsiteX166" fmla="*/ 68341 w 106572"/>
                <a:gd name="connsiteY166" fmla="*/ 31894 h 80849"/>
                <a:gd name="connsiteX167" fmla="*/ 70282 w 106572"/>
                <a:gd name="connsiteY167" fmla="*/ 29663 h 80849"/>
                <a:gd name="connsiteX168" fmla="*/ 78051 w 106572"/>
                <a:gd name="connsiteY168" fmla="*/ 24226 h 80849"/>
                <a:gd name="connsiteX169" fmla="*/ 82592 w 106572"/>
                <a:gd name="connsiteY169" fmla="*/ 19629 h 80849"/>
                <a:gd name="connsiteX170" fmla="*/ 82994 w 106572"/>
                <a:gd name="connsiteY170" fmla="*/ 18145 h 80849"/>
                <a:gd name="connsiteX171" fmla="*/ 85464 w 106572"/>
                <a:gd name="connsiteY171" fmla="*/ 15913 h 80849"/>
                <a:gd name="connsiteX172" fmla="*/ 87443 w 106572"/>
                <a:gd name="connsiteY172" fmla="*/ 13468 h 80849"/>
                <a:gd name="connsiteX173" fmla="*/ 96693 w 106572"/>
                <a:gd name="connsiteY173" fmla="*/ 6483 h 80849"/>
                <a:gd name="connsiteX174" fmla="*/ 98550 w 106572"/>
                <a:gd name="connsiteY174" fmla="*/ 3599 h 80849"/>
                <a:gd name="connsiteX175" fmla="*/ 99643 w 106572"/>
                <a:gd name="connsiteY175" fmla="*/ 364 h 80849"/>
                <a:gd name="connsiteX176" fmla="*/ 99772 w 106572"/>
                <a:gd name="connsiteY176" fmla="*/ 131 h 808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</a:cxnLst>
              <a:rect l="l" t="t" r="r" b="b"/>
              <a:pathLst>
                <a:path w="106572" h="80849">
                  <a:moveTo>
                    <a:pt x="50094" y="42610"/>
                  </a:moveTo>
                  <a:lnTo>
                    <a:pt x="51420" y="43637"/>
                  </a:lnTo>
                  <a:lnTo>
                    <a:pt x="52173" y="44526"/>
                  </a:lnTo>
                  <a:lnTo>
                    <a:pt x="52180" y="45319"/>
                  </a:lnTo>
                  <a:lnTo>
                    <a:pt x="49930" y="45090"/>
                  </a:lnTo>
                  <a:lnTo>
                    <a:pt x="49327" y="45502"/>
                  </a:lnTo>
                  <a:lnTo>
                    <a:pt x="47485" y="45273"/>
                  </a:lnTo>
                  <a:lnTo>
                    <a:pt x="45686" y="44700"/>
                  </a:lnTo>
                  <a:lnTo>
                    <a:pt x="46906" y="43739"/>
                  </a:lnTo>
                  <a:close/>
                  <a:moveTo>
                    <a:pt x="23462" y="39847"/>
                  </a:moveTo>
                  <a:lnTo>
                    <a:pt x="24086" y="40883"/>
                  </a:lnTo>
                  <a:lnTo>
                    <a:pt x="23186" y="41915"/>
                  </a:lnTo>
                  <a:lnTo>
                    <a:pt x="22812" y="42086"/>
                  </a:lnTo>
                  <a:lnTo>
                    <a:pt x="22419" y="40821"/>
                  </a:lnTo>
                  <a:lnTo>
                    <a:pt x="22449" y="40420"/>
                  </a:lnTo>
                  <a:close/>
                  <a:moveTo>
                    <a:pt x="40776" y="39043"/>
                  </a:moveTo>
                  <a:lnTo>
                    <a:pt x="41504" y="39978"/>
                  </a:lnTo>
                  <a:lnTo>
                    <a:pt x="40700" y="41462"/>
                  </a:lnTo>
                  <a:lnTo>
                    <a:pt x="40117" y="42096"/>
                  </a:lnTo>
                  <a:lnTo>
                    <a:pt x="39003" y="42618"/>
                  </a:lnTo>
                  <a:lnTo>
                    <a:pt x="37368" y="42751"/>
                  </a:lnTo>
                  <a:lnTo>
                    <a:pt x="35878" y="41861"/>
                  </a:lnTo>
                  <a:lnTo>
                    <a:pt x="39009" y="40672"/>
                  </a:lnTo>
                  <a:lnTo>
                    <a:pt x="39858" y="40136"/>
                  </a:lnTo>
                  <a:close/>
                  <a:moveTo>
                    <a:pt x="62577" y="36806"/>
                  </a:moveTo>
                  <a:lnTo>
                    <a:pt x="63201" y="37635"/>
                  </a:lnTo>
                  <a:lnTo>
                    <a:pt x="64061" y="38299"/>
                  </a:lnTo>
                  <a:lnTo>
                    <a:pt x="63866" y="38755"/>
                  </a:lnTo>
                  <a:lnTo>
                    <a:pt x="63242" y="38713"/>
                  </a:lnTo>
                  <a:lnTo>
                    <a:pt x="61679" y="38299"/>
                  </a:lnTo>
                  <a:lnTo>
                    <a:pt x="61171" y="37635"/>
                  </a:lnTo>
                  <a:lnTo>
                    <a:pt x="62147" y="36848"/>
                  </a:lnTo>
                  <a:close/>
                  <a:moveTo>
                    <a:pt x="103173" y="18050"/>
                  </a:moveTo>
                  <a:lnTo>
                    <a:pt x="102780" y="18925"/>
                  </a:lnTo>
                  <a:lnTo>
                    <a:pt x="102649" y="20183"/>
                  </a:lnTo>
                  <a:lnTo>
                    <a:pt x="103305" y="20288"/>
                  </a:lnTo>
                  <a:lnTo>
                    <a:pt x="104225" y="19659"/>
                  </a:lnTo>
                  <a:lnTo>
                    <a:pt x="104357" y="18644"/>
                  </a:lnTo>
                  <a:lnTo>
                    <a:pt x="104126" y="18119"/>
                  </a:lnTo>
                  <a:close/>
                  <a:moveTo>
                    <a:pt x="100569" y="0"/>
                  </a:moveTo>
                  <a:lnTo>
                    <a:pt x="101696" y="490"/>
                  </a:lnTo>
                  <a:lnTo>
                    <a:pt x="101809" y="2910"/>
                  </a:lnTo>
                  <a:lnTo>
                    <a:pt x="101401" y="5195"/>
                  </a:lnTo>
                  <a:lnTo>
                    <a:pt x="101353" y="7614"/>
                  </a:lnTo>
                  <a:lnTo>
                    <a:pt x="101191" y="8927"/>
                  </a:lnTo>
                  <a:lnTo>
                    <a:pt x="102053" y="10004"/>
                  </a:lnTo>
                  <a:lnTo>
                    <a:pt x="103511" y="10465"/>
                  </a:lnTo>
                  <a:lnTo>
                    <a:pt x="104152" y="10410"/>
                  </a:lnTo>
                  <a:lnTo>
                    <a:pt x="104579" y="9868"/>
                  </a:lnTo>
                  <a:lnTo>
                    <a:pt x="106031" y="11787"/>
                  </a:lnTo>
                  <a:lnTo>
                    <a:pt x="106238" y="24774"/>
                  </a:lnTo>
                  <a:lnTo>
                    <a:pt x="106572" y="25694"/>
                  </a:lnTo>
                  <a:lnTo>
                    <a:pt x="105797" y="25833"/>
                  </a:lnTo>
                  <a:lnTo>
                    <a:pt x="104927" y="26821"/>
                  </a:lnTo>
                  <a:lnTo>
                    <a:pt x="103916" y="28340"/>
                  </a:lnTo>
                  <a:lnTo>
                    <a:pt x="102519" y="29126"/>
                  </a:lnTo>
                  <a:lnTo>
                    <a:pt x="101409" y="30014"/>
                  </a:lnTo>
                  <a:lnTo>
                    <a:pt x="100349" y="31115"/>
                  </a:lnTo>
                  <a:lnTo>
                    <a:pt x="99405" y="31348"/>
                  </a:lnTo>
                  <a:lnTo>
                    <a:pt x="98179" y="29950"/>
                  </a:lnTo>
                  <a:lnTo>
                    <a:pt x="97337" y="28523"/>
                  </a:lnTo>
                  <a:lnTo>
                    <a:pt x="97544" y="28214"/>
                  </a:lnTo>
                  <a:lnTo>
                    <a:pt x="98133" y="28112"/>
                  </a:lnTo>
                  <a:lnTo>
                    <a:pt x="98362" y="27376"/>
                  </a:lnTo>
                  <a:lnTo>
                    <a:pt x="98006" y="26305"/>
                  </a:lnTo>
                  <a:lnTo>
                    <a:pt x="97177" y="25904"/>
                  </a:lnTo>
                  <a:lnTo>
                    <a:pt x="96132" y="25869"/>
                  </a:lnTo>
                  <a:lnTo>
                    <a:pt x="95134" y="26348"/>
                  </a:lnTo>
                  <a:lnTo>
                    <a:pt x="94076" y="27292"/>
                  </a:lnTo>
                  <a:lnTo>
                    <a:pt x="93476" y="28307"/>
                  </a:lnTo>
                  <a:lnTo>
                    <a:pt x="93385" y="30348"/>
                  </a:lnTo>
                  <a:lnTo>
                    <a:pt x="93664" y="32644"/>
                  </a:lnTo>
                  <a:lnTo>
                    <a:pt x="93657" y="33757"/>
                  </a:lnTo>
                  <a:lnTo>
                    <a:pt x="93074" y="35140"/>
                  </a:lnTo>
                  <a:lnTo>
                    <a:pt x="92867" y="37176"/>
                  </a:lnTo>
                  <a:lnTo>
                    <a:pt x="93279" y="38750"/>
                  </a:lnTo>
                  <a:lnTo>
                    <a:pt x="93659" y="39688"/>
                  </a:lnTo>
                  <a:lnTo>
                    <a:pt x="93696" y="40480"/>
                  </a:lnTo>
                  <a:lnTo>
                    <a:pt x="92705" y="42992"/>
                  </a:lnTo>
                  <a:lnTo>
                    <a:pt x="93564" y="43461"/>
                  </a:lnTo>
                  <a:lnTo>
                    <a:pt x="96415" y="43637"/>
                  </a:lnTo>
                  <a:lnTo>
                    <a:pt x="97248" y="45336"/>
                  </a:lnTo>
                  <a:lnTo>
                    <a:pt x="97820" y="46500"/>
                  </a:lnTo>
                  <a:lnTo>
                    <a:pt x="97665" y="47193"/>
                  </a:lnTo>
                  <a:lnTo>
                    <a:pt x="95653" y="47708"/>
                  </a:lnTo>
                  <a:lnTo>
                    <a:pt x="93109" y="48277"/>
                  </a:lnTo>
                  <a:lnTo>
                    <a:pt x="91284" y="48112"/>
                  </a:lnTo>
                  <a:lnTo>
                    <a:pt x="87995" y="48879"/>
                  </a:lnTo>
                  <a:lnTo>
                    <a:pt x="86240" y="50056"/>
                  </a:lnTo>
                  <a:lnTo>
                    <a:pt x="86756" y="50792"/>
                  </a:lnTo>
                  <a:lnTo>
                    <a:pt x="87365" y="51357"/>
                  </a:lnTo>
                  <a:lnTo>
                    <a:pt x="87637" y="52912"/>
                  </a:lnTo>
                  <a:lnTo>
                    <a:pt x="87125" y="55121"/>
                  </a:lnTo>
                  <a:lnTo>
                    <a:pt x="86192" y="57265"/>
                  </a:lnTo>
                  <a:lnTo>
                    <a:pt x="85033" y="59932"/>
                  </a:lnTo>
                  <a:lnTo>
                    <a:pt x="83692" y="62999"/>
                  </a:lnTo>
                  <a:lnTo>
                    <a:pt x="81856" y="67607"/>
                  </a:lnTo>
                  <a:lnTo>
                    <a:pt x="80301" y="71226"/>
                  </a:lnTo>
                  <a:lnTo>
                    <a:pt x="80131" y="73831"/>
                  </a:lnTo>
                  <a:lnTo>
                    <a:pt x="80172" y="75530"/>
                  </a:lnTo>
                  <a:lnTo>
                    <a:pt x="79990" y="78926"/>
                  </a:lnTo>
                  <a:lnTo>
                    <a:pt x="78522" y="80792"/>
                  </a:lnTo>
                  <a:lnTo>
                    <a:pt x="78187" y="80849"/>
                  </a:lnTo>
                  <a:lnTo>
                    <a:pt x="76434" y="80624"/>
                  </a:lnTo>
                  <a:lnTo>
                    <a:pt x="75842" y="80549"/>
                  </a:lnTo>
                  <a:lnTo>
                    <a:pt x="74167" y="80333"/>
                  </a:lnTo>
                  <a:lnTo>
                    <a:pt x="71566" y="79999"/>
                  </a:lnTo>
                  <a:lnTo>
                    <a:pt x="68191" y="79565"/>
                  </a:lnTo>
                  <a:lnTo>
                    <a:pt x="64199" y="79051"/>
                  </a:lnTo>
                  <a:lnTo>
                    <a:pt x="59742" y="78479"/>
                  </a:lnTo>
                  <a:lnTo>
                    <a:pt x="54976" y="77866"/>
                  </a:lnTo>
                  <a:lnTo>
                    <a:pt x="50057" y="77234"/>
                  </a:lnTo>
                  <a:lnTo>
                    <a:pt x="45136" y="76601"/>
                  </a:lnTo>
                  <a:lnTo>
                    <a:pt x="40370" y="75988"/>
                  </a:lnTo>
                  <a:lnTo>
                    <a:pt x="35911" y="75415"/>
                  </a:lnTo>
                  <a:lnTo>
                    <a:pt x="31920" y="74901"/>
                  </a:lnTo>
                  <a:lnTo>
                    <a:pt x="28545" y="74468"/>
                  </a:lnTo>
                  <a:lnTo>
                    <a:pt x="25943" y="74132"/>
                  </a:lnTo>
                  <a:lnTo>
                    <a:pt x="24270" y="73916"/>
                  </a:lnTo>
                  <a:lnTo>
                    <a:pt x="23678" y="73841"/>
                  </a:lnTo>
                  <a:lnTo>
                    <a:pt x="21819" y="73601"/>
                  </a:lnTo>
                  <a:lnTo>
                    <a:pt x="20813" y="72339"/>
                  </a:lnTo>
                  <a:lnTo>
                    <a:pt x="19597" y="70814"/>
                  </a:lnTo>
                  <a:lnTo>
                    <a:pt x="18381" y="69286"/>
                  </a:lnTo>
                  <a:lnTo>
                    <a:pt x="17163" y="67758"/>
                  </a:lnTo>
                  <a:lnTo>
                    <a:pt x="15947" y="66230"/>
                  </a:lnTo>
                  <a:lnTo>
                    <a:pt x="14732" y="64702"/>
                  </a:lnTo>
                  <a:lnTo>
                    <a:pt x="13514" y="63173"/>
                  </a:lnTo>
                  <a:lnTo>
                    <a:pt x="12298" y="61644"/>
                  </a:lnTo>
                  <a:lnTo>
                    <a:pt x="11080" y="60113"/>
                  </a:lnTo>
                  <a:lnTo>
                    <a:pt x="9864" y="58584"/>
                  </a:lnTo>
                  <a:lnTo>
                    <a:pt x="8649" y="57052"/>
                  </a:lnTo>
                  <a:lnTo>
                    <a:pt x="7431" y="55521"/>
                  </a:lnTo>
                  <a:lnTo>
                    <a:pt x="6215" y="53989"/>
                  </a:lnTo>
                  <a:lnTo>
                    <a:pt x="4997" y="52458"/>
                  </a:lnTo>
                  <a:lnTo>
                    <a:pt x="3781" y="50924"/>
                  </a:lnTo>
                  <a:lnTo>
                    <a:pt x="2566" y="49390"/>
                  </a:lnTo>
                  <a:lnTo>
                    <a:pt x="1348" y="47857"/>
                  </a:lnTo>
                  <a:lnTo>
                    <a:pt x="536" y="46830"/>
                  </a:lnTo>
                  <a:lnTo>
                    <a:pt x="84" y="45672"/>
                  </a:lnTo>
                  <a:lnTo>
                    <a:pt x="0" y="42634"/>
                  </a:lnTo>
                  <a:lnTo>
                    <a:pt x="0" y="41972"/>
                  </a:lnTo>
                  <a:lnTo>
                    <a:pt x="821" y="40746"/>
                  </a:lnTo>
                  <a:lnTo>
                    <a:pt x="1212" y="41622"/>
                  </a:lnTo>
                  <a:lnTo>
                    <a:pt x="2127" y="42809"/>
                  </a:lnTo>
                  <a:lnTo>
                    <a:pt x="3680" y="42520"/>
                  </a:lnTo>
                  <a:lnTo>
                    <a:pt x="4405" y="42717"/>
                  </a:lnTo>
                  <a:lnTo>
                    <a:pt x="4939" y="46926"/>
                  </a:lnTo>
                  <a:lnTo>
                    <a:pt x="6077" y="48422"/>
                  </a:lnTo>
                  <a:lnTo>
                    <a:pt x="7468" y="49020"/>
                  </a:lnTo>
                  <a:lnTo>
                    <a:pt x="12166" y="49354"/>
                  </a:lnTo>
                  <a:lnTo>
                    <a:pt x="15092" y="48789"/>
                  </a:lnTo>
                  <a:lnTo>
                    <a:pt x="20854" y="46042"/>
                  </a:lnTo>
                  <a:lnTo>
                    <a:pt x="23879" y="45055"/>
                  </a:lnTo>
                  <a:lnTo>
                    <a:pt x="32240" y="45227"/>
                  </a:lnTo>
                  <a:lnTo>
                    <a:pt x="38945" y="46372"/>
                  </a:lnTo>
                  <a:lnTo>
                    <a:pt x="49386" y="47050"/>
                  </a:lnTo>
                  <a:lnTo>
                    <a:pt x="51411" y="46873"/>
                  </a:lnTo>
                  <a:lnTo>
                    <a:pt x="57041" y="44667"/>
                  </a:lnTo>
                  <a:lnTo>
                    <a:pt x="60498" y="42719"/>
                  </a:lnTo>
                  <a:lnTo>
                    <a:pt x="62549" y="42160"/>
                  </a:lnTo>
                  <a:lnTo>
                    <a:pt x="63905" y="40281"/>
                  </a:lnTo>
                  <a:lnTo>
                    <a:pt x="64799" y="37831"/>
                  </a:lnTo>
                  <a:lnTo>
                    <a:pt x="65592" y="36229"/>
                  </a:lnTo>
                  <a:lnTo>
                    <a:pt x="66604" y="35464"/>
                  </a:lnTo>
                  <a:lnTo>
                    <a:pt x="67570" y="34108"/>
                  </a:lnTo>
                  <a:lnTo>
                    <a:pt x="68341" y="31894"/>
                  </a:lnTo>
                  <a:lnTo>
                    <a:pt x="70282" y="29663"/>
                  </a:lnTo>
                  <a:lnTo>
                    <a:pt x="78051" y="24226"/>
                  </a:lnTo>
                  <a:lnTo>
                    <a:pt x="82592" y="19629"/>
                  </a:lnTo>
                  <a:lnTo>
                    <a:pt x="82994" y="18145"/>
                  </a:lnTo>
                  <a:lnTo>
                    <a:pt x="85464" y="15913"/>
                  </a:lnTo>
                  <a:lnTo>
                    <a:pt x="87443" y="13468"/>
                  </a:lnTo>
                  <a:lnTo>
                    <a:pt x="96693" y="6483"/>
                  </a:lnTo>
                  <a:lnTo>
                    <a:pt x="98550" y="3599"/>
                  </a:lnTo>
                  <a:lnTo>
                    <a:pt x="99643" y="364"/>
                  </a:lnTo>
                  <a:lnTo>
                    <a:pt x="99772" y="131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84" name="ee4p_AM_1_82333">
              <a:extLst>
                <a:ext uri="{FF2B5EF4-FFF2-40B4-BE49-F238E27FC236}">
                  <a16:creationId xmlns:a16="http://schemas.microsoft.com/office/drawing/2014/main" id="{78F9D5CB-5784-E612-749C-A2D385FEC8E7}"/>
                </a:ext>
              </a:extLst>
            </p:cNvPr>
            <p:cNvSpPr>
              <a:spLocks noChangeAspect="1"/>
            </p:cNvSpPr>
            <p:nvPr>
              <p:custDataLst>
                <p:tags r:id="rId12"/>
              </p:custDataLst>
            </p:nvPr>
          </p:nvSpPr>
          <p:spPr>
            <a:xfrm>
              <a:off x="7720987" y="3426682"/>
              <a:ext cx="87343" cy="81529"/>
            </a:xfrm>
            <a:custGeom>
              <a:avLst/>
              <a:gdLst>
                <a:gd name="connsiteX0" fmla="*/ 45662 w 69549"/>
                <a:gd name="connsiteY0" fmla="*/ 16468 h 63199"/>
                <a:gd name="connsiteX1" fmla="*/ 46319 w 69549"/>
                <a:gd name="connsiteY1" fmla="*/ 16490 h 63199"/>
                <a:gd name="connsiteX2" fmla="*/ 46941 w 69549"/>
                <a:gd name="connsiteY2" fmla="*/ 16879 h 63199"/>
                <a:gd name="connsiteX3" fmla="*/ 46720 w 69549"/>
                <a:gd name="connsiteY3" fmla="*/ 17747 h 63199"/>
                <a:gd name="connsiteX4" fmla="*/ 45881 w 69549"/>
                <a:gd name="connsiteY4" fmla="*/ 18180 h 63199"/>
                <a:gd name="connsiteX5" fmla="*/ 45095 w 69549"/>
                <a:gd name="connsiteY5" fmla="*/ 17985 h 63199"/>
                <a:gd name="connsiteX6" fmla="*/ 45095 w 69549"/>
                <a:gd name="connsiteY6" fmla="*/ 16901 h 63199"/>
                <a:gd name="connsiteX7" fmla="*/ 34382 w 69549"/>
                <a:gd name="connsiteY7" fmla="*/ 5412 h 63199"/>
                <a:gd name="connsiteX8" fmla="*/ 33654 w 69549"/>
                <a:gd name="connsiteY8" fmla="*/ 5579 h 63199"/>
                <a:gd name="connsiteX9" fmla="*/ 33598 w 69549"/>
                <a:gd name="connsiteY9" fmla="*/ 6279 h 63199"/>
                <a:gd name="connsiteX10" fmla="*/ 33822 w 69549"/>
                <a:gd name="connsiteY10" fmla="*/ 6947 h 63199"/>
                <a:gd name="connsiteX11" fmla="*/ 34552 w 69549"/>
                <a:gd name="connsiteY11" fmla="*/ 7248 h 63199"/>
                <a:gd name="connsiteX12" fmla="*/ 35030 w 69549"/>
                <a:gd name="connsiteY12" fmla="*/ 6947 h 63199"/>
                <a:gd name="connsiteX13" fmla="*/ 35142 w 69549"/>
                <a:gd name="connsiteY13" fmla="*/ 6248 h 63199"/>
                <a:gd name="connsiteX14" fmla="*/ 34974 w 69549"/>
                <a:gd name="connsiteY14" fmla="*/ 5612 h 63199"/>
                <a:gd name="connsiteX15" fmla="*/ 34537 w 69549"/>
                <a:gd name="connsiteY15" fmla="*/ 0 h 63199"/>
                <a:gd name="connsiteX16" fmla="*/ 35015 w 69549"/>
                <a:gd name="connsiteY16" fmla="*/ 1194 h 63199"/>
                <a:gd name="connsiteX17" fmla="*/ 36381 w 69549"/>
                <a:gd name="connsiteY17" fmla="*/ 2518 h 63199"/>
                <a:gd name="connsiteX18" fmla="*/ 37876 w 69549"/>
                <a:gd name="connsiteY18" fmla="*/ 3053 h 63199"/>
                <a:gd name="connsiteX19" fmla="*/ 38677 w 69549"/>
                <a:gd name="connsiteY19" fmla="*/ 3784 h 63199"/>
                <a:gd name="connsiteX20" fmla="*/ 38714 w 69549"/>
                <a:gd name="connsiteY20" fmla="*/ 4338 h 63199"/>
                <a:gd name="connsiteX21" fmla="*/ 36070 w 69549"/>
                <a:gd name="connsiteY21" fmla="*/ 5011 h 63199"/>
                <a:gd name="connsiteX22" fmla="*/ 35891 w 69549"/>
                <a:gd name="connsiteY22" fmla="*/ 5345 h 63199"/>
                <a:gd name="connsiteX23" fmla="*/ 36066 w 69549"/>
                <a:gd name="connsiteY23" fmla="*/ 5675 h 63199"/>
                <a:gd name="connsiteX24" fmla="*/ 36852 w 69549"/>
                <a:gd name="connsiteY24" fmla="*/ 5840 h 63199"/>
                <a:gd name="connsiteX25" fmla="*/ 40553 w 69549"/>
                <a:gd name="connsiteY25" fmla="*/ 7500 h 63199"/>
                <a:gd name="connsiteX26" fmla="*/ 42665 w 69549"/>
                <a:gd name="connsiteY26" fmla="*/ 7536 h 63199"/>
                <a:gd name="connsiteX27" fmla="*/ 43775 w 69549"/>
                <a:gd name="connsiteY27" fmla="*/ 8041 h 63199"/>
                <a:gd name="connsiteX28" fmla="*/ 44330 w 69549"/>
                <a:gd name="connsiteY28" fmla="*/ 9032 h 63199"/>
                <a:gd name="connsiteX29" fmla="*/ 46094 w 69549"/>
                <a:gd name="connsiteY29" fmla="*/ 10380 h 63199"/>
                <a:gd name="connsiteX30" fmla="*/ 47498 w 69549"/>
                <a:gd name="connsiteY30" fmla="*/ 11689 h 63199"/>
                <a:gd name="connsiteX31" fmla="*/ 47584 w 69549"/>
                <a:gd name="connsiteY31" fmla="*/ 12140 h 63199"/>
                <a:gd name="connsiteX32" fmla="*/ 47318 w 69549"/>
                <a:gd name="connsiteY32" fmla="*/ 12803 h 63199"/>
                <a:gd name="connsiteX33" fmla="*/ 43382 w 69549"/>
                <a:gd name="connsiteY33" fmla="*/ 15359 h 63199"/>
                <a:gd name="connsiteX34" fmla="*/ 42885 w 69549"/>
                <a:gd name="connsiteY34" fmla="*/ 16239 h 63199"/>
                <a:gd name="connsiteX35" fmla="*/ 42825 w 69549"/>
                <a:gd name="connsiteY35" fmla="*/ 17170 h 63199"/>
                <a:gd name="connsiteX36" fmla="*/ 44555 w 69549"/>
                <a:gd name="connsiteY36" fmla="*/ 19940 h 63199"/>
                <a:gd name="connsiteX37" fmla="*/ 47100 w 69549"/>
                <a:gd name="connsiteY37" fmla="*/ 22965 h 63199"/>
                <a:gd name="connsiteX38" fmla="*/ 50776 w 69549"/>
                <a:gd name="connsiteY38" fmla="*/ 25260 h 63199"/>
                <a:gd name="connsiteX39" fmla="*/ 55837 w 69549"/>
                <a:gd name="connsiteY39" fmla="*/ 27752 h 63199"/>
                <a:gd name="connsiteX40" fmla="*/ 55902 w 69549"/>
                <a:gd name="connsiteY40" fmla="*/ 29293 h 63199"/>
                <a:gd name="connsiteX41" fmla="*/ 55099 w 69549"/>
                <a:gd name="connsiteY41" fmla="*/ 31123 h 63199"/>
                <a:gd name="connsiteX42" fmla="*/ 54410 w 69549"/>
                <a:gd name="connsiteY42" fmla="*/ 32365 h 63199"/>
                <a:gd name="connsiteX43" fmla="*/ 54097 w 69549"/>
                <a:gd name="connsiteY43" fmla="*/ 33206 h 63199"/>
                <a:gd name="connsiteX44" fmla="*/ 53481 w 69549"/>
                <a:gd name="connsiteY44" fmla="*/ 33560 h 63199"/>
                <a:gd name="connsiteX45" fmla="*/ 48441 w 69549"/>
                <a:gd name="connsiteY45" fmla="*/ 33483 h 63199"/>
                <a:gd name="connsiteX46" fmla="*/ 47686 w 69549"/>
                <a:gd name="connsiteY46" fmla="*/ 33780 h 63199"/>
                <a:gd name="connsiteX47" fmla="*/ 47353 w 69549"/>
                <a:gd name="connsiteY47" fmla="*/ 34140 h 63199"/>
                <a:gd name="connsiteX48" fmla="*/ 47327 w 69549"/>
                <a:gd name="connsiteY48" fmla="*/ 34440 h 63199"/>
                <a:gd name="connsiteX49" fmla="*/ 49141 w 69549"/>
                <a:gd name="connsiteY49" fmla="*/ 34996 h 63199"/>
                <a:gd name="connsiteX50" fmla="*/ 51968 w 69549"/>
                <a:gd name="connsiteY50" fmla="*/ 36952 h 63199"/>
                <a:gd name="connsiteX51" fmla="*/ 53594 w 69549"/>
                <a:gd name="connsiteY51" fmla="*/ 38847 h 63199"/>
                <a:gd name="connsiteX52" fmla="*/ 55291 w 69549"/>
                <a:gd name="connsiteY52" fmla="*/ 39674 h 63199"/>
                <a:gd name="connsiteX53" fmla="*/ 57191 w 69549"/>
                <a:gd name="connsiteY53" fmla="*/ 41183 h 63199"/>
                <a:gd name="connsiteX54" fmla="*/ 58716 w 69549"/>
                <a:gd name="connsiteY54" fmla="*/ 42590 h 63199"/>
                <a:gd name="connsiteX55" fmla="*/ 61087 w 69549"/>
                <a:gd name="connsiteY55" fmla="*/ 44409 h 63199"/>
                <a:gd name="connsiteX56" fmla="*/ 63732 w 69549"/>
                <a:gd name="connsiteY56" fmla="*/ 43812 h 63199"/>
                <a:gd name="connsiteX57" fmla="*/ 67265 w 69549"/>
                <a:gd name="connsiteY57" fmla="*/ 45430 h 63199"/>
                <a:gd name="connsiteX58" fmla="*/ 67412 w 69549"/>
                <a:gd name="connsiteY58" fmla="*/ 46529 h 63199"/>
                <a:gd name="connsiteX59" fmla="*/ 67191 w 69549"/>
                <a:gd name="connsiteY59" fmla="*/ 47509 h 63199"/>
                <a:gd name="connsiteX60" fmla="*/ 64969 w 69549"/>
                <a:gd name="connsiteY60" fmla="*/ 48579 h 63199"/>
                <a:gd name="connsiteX61" fmla="*/ 64693 w 69549"/>
                <a:gd name="connsiteY61" fmla="*/ 49022 h 63199"/>
                <a:gd name="connsiteX62" fmla="*/ 64695 w 69549"/>
                <a:gd name="connsiteY62" fmla="*/ 49393 h 63199"/>
                <a:gd name="connsiteX63" fmla="*/ 64987 w 69549"/>
                <a:gd name="connsiteY63" fmla="*/ 49917 h 63199"/>
                <a:gd name="connsiteX64" fmla="*/ 66289 w 69549"/>
                <a:gd name="connsiteY64" fmla="*/ 50792 h 63199"/>
                <a:gd name="connsiteX65" fmla="*/ 67822 w 69549"/>
                <a:gd name="connsiteY65" fmla="*/ 52089 h 63199"/>
                <a:gd name="connsiteX66" fmla="*/ 69549 w 69549"/>
                <a:gd name="connsiteY66" fmla="*/ 54028 h 63199"/>
                <a:gd name="connsiteX67" fmla="*/ 68781 w 69549"/>
                <a:gd name="connsiteY67" fmla="*/ 54604 h 63199"/>
                <a:gd name="connsiteX68" fmla="*/ 67170 w 69549"/>
                <a:gd name="connsiteY68" fmla="*/ 54688 h 63199"/>
                <a:gd name="connsiteX69" fmla="*/ 65913 w 69549"/>
                <a:gd name="connsiteY69" fmla="*/ 54450 h 63199"/>
                <a:gd name="connsiteX70" fmla="*/ 65470 w 69549"/>
                <a:gd name="connsiteY70" fmla="*/ 54843 h 63199"/>
                <a:gd name="connsiteX71" fmla="*/ 65496 w 69549"/>
                <a:gd name="connsiteY71" fmla="*/ 55478 h 63199"/>
                <a:gd name="connsiteX72" fmla="*/ 67131 w 69549"/>
                <a:gd name="connsiteY72" fmla="*/ 56948 h 63199"/>
                <a:gd name="connsiteX73" fmla="*/ 67451 w 69549"/>
                <a:gd name="connsiteY73" fmla="*/ 58020 h 63199"/>
                <a:gd name="connsiteX74" fmla="*/ 67382 w 69549"/>
                <a:gd name="connsiteY74" fmla="*/ 59881 h 63199"/>
                <a:gd name="connsiteX75" fmla="*/ 67468 w 69549"/>
                <a:gd name="connsiteY75" fmla="*/ 62227 h 63199"/>
                <a:gd name="connsiteX76" fmla="*/ 63646 w 69549"/>
                <a:gd name="connsiteY76" fmla="*/ 62073 h 63199"/>
                <a:gd name="connsiteX77" fmla="*/ 60381 w 69549"/>
                <a:gd name="connsiteY77" fmla="*/ 63199 h 63199"/>
                <a:gd name="connsiteX78" fmla="*/ 59150 w 69549"/>
                <a:gd name="connsiteY78" fmla="*/ 62974 h 63199"/>
                <a:gd name="connsiteX79" fmla="*/ 58331 w 69549"/>
                <a:gd name="connsiteY79" fmla="*/ 60982 h 63199"/>
                <a:gd name="connsiteX80" fmla="*/ 57634 w 69549"/>
                <a:gd name="connsiteY80" fmla="*/ 59363 h 63199"/>
                <a:gd name="connsiteX81" fmla="*/ 55554 w 69549"/>
                <a:gd name="connsiteY81" fmla="*/ 55208 h 63199"/>
                <a:gd name="connsiteX82" fmla="*/ 56120 w 69549"/>
                <a:gd name="connsiteY82" fmla="*/ 53504 h 63199"/>
                <a:gd name="connsiteX83" fmla="*/ 54961 w 69549"/>
                <a:gd name="connsiteY83" fmla="*/ 52519 h 63199"/>
                <a:gd name="connsiteX84" fmla="*/ 52167 w 69549"/>
                <a:gd name="connsiteY84" fmla="*/ 50749 h 63199"/>
                <a:gd name="connsiteX85" fmla="*/ 51452 w 69549"/>
                <a:gd name="connsiteY85" fmla="*/ 50016 h 63199"/>
                <a:gd name="connsiteX86" fmla="*/ 51847 w 69549"/>
                <a:gd name="connsiteY86" fmla="*/ 49010 h 63199"/>
                <a:gd name="connsiteX87" fmla="*/ 52119 w 69549"/>
                <a:gd name="connsiteY87" fmla="*/ 47171 h 63199"/>
                <a:gd name="connsiteX88" fmla="*/ 51853 w 69549"/>
                <a:gd name="connsiteY88" fmla="*/ 45678 h 63199"/>
                <a:gd name="connsiteX89" fmla="*/ 51102 w 69549"/>
                <a:gd name="connsiteY89" fmla="*/ 45228 h 63199"/>
                <a:gd name="connsiteX90" fmla="*/ 49707 w 69549"/>
                <a:gd name="connsiteY90" fmla="*/ 45199 h 63199"/>
                <a:gd name="connsiteX91" fmla="*/ 48012 w 69549"/>
                <a:gd name="connsiteY91" fmla="*/ 45569 h 63199"/>
                <a:gd name="connsiteX92" fmla="*/ 44609 w 69549"/>
                <a:gd name="connsiteY92" fmla="*/ 47006 h 63199"/>
                <a:gd name="connsiteX93" fmla="*/ 42244 w 69549"/>
                <a:gd name="connsiteY93" fmla="*/ 46087 h 63199"/>
                <a:gd name="connsiteX94" fmla="*/ 40881 w 69549"/>
                <a:gd name="connsiteY94" fmla="*/ 45160 h 63199"/>
                <a:gd name="connsiteX95" fmla="*/ 40091 w 69549"/>
                <a:gd name="connsiteY95" fmla="*/ 44383 h 63199"/>
                <a:gd name="connsiteX96" fmla="*/ 38323 w 69549"/>
                <a:gd name="connsiteY96" fmla="*/ 45029 h 63199"/>
                <a:gd name="connsiteX97" fmla="*/ 37887 w 69549"/>
                <a:gd name="connsiteY97" fmla="*/ 44716 h 63199"/>
                <a:gd name="connsiteX98" fmla="*/ 37793 w 69549"/>
                <a:gd name="connsiteY98" fmla="*/ 42795 h 63199"/>
                <a:gd name="connsiteX99" fmla="*/ 37263 w 69549"/>
                <a:gd name="connsiteY99" fmla="*/ 41761 h 63199"/>
                <a:gd name="connsiteX100" fmla="*/ 36198 w 69549"/>
                <a:gd name="connsiteY100" fmla="*/ 40552 h 63199"/>
                <a:gd name="connsiteX101" fmla="*/ 35206 w 69549"/>
                <a:gd name="connsiteY101" fmla="*/ 39971 h 63199"/>
                <a:gd name="connsiteX102" fmla="*/ 31570 w 69549"/>
                <a:gd name="connsiteY102" fmla="*/ 41168 h 63199"/>
                <a:gd name="connsiteX103" fmla="*/ 29383 w 69549"/>
                <a:gd name="connsiteY103" fmla="*/ 41574 h 63199"/>
                <a:gd name="connsiteX104" fmla="*/ 28620 w 69549"/>
                <a:gd name="connsiteY104" fmla="*/ 40457 h 63199"/>
                <a:gd name="connsiteX105" fmla="*/ 24788 w 69549"/>
                <a:gd name="connsiteY105" fmla="*/ 36783 h 63199"/>
                <a:gd name="connsiteX106" fmla="*/ 21231 w 69549"/>
                <a:gd name="connsiteY106" fmla="*/ 33965 h 63199"/>
                <a:gd name="connsiteX107" fmla="*/ 18791 w 69549"/>
                <a:gd name="connsiteY107" fmla="*/ 32801 h 63199"/>
                <a:gd name="connsiteX108" fmla="*/ 16332 w 69549"/>
                <a:gd name="connsiteY108" fmla="*/ 32922 h 63199"/>
                <a:gd name="connsiteX109" fmla="*/ 12514 w 69549"/>
                <a:gd name="connsiteY109" fmla="*/ 33486 h 63199"/>
                <a:gd name="connsiteX110" fmla="*/ 11112 w 69549"/>
                <a:gd name="connsiteY110" fmla="*/ 33250 h 63199"/>
                <a:gd name="connsiteX111" fmla="*/ 7789 w 69549"/>
                <a:gd name="connsiteY111" fmla="*/ 32021 h 63199"/>
                <a:gd name="connsiteX112" fmla="*/ 5014 w 69549"/>
                <a:gd name="connsiteY112" fmla="*/ 30557 h 63199"/>
                <a:gd name="connsiteX113" fmla="*/ 5392 w 69549"/>
                <a:gd name="connsiteY113" fmla="*/ 29949 h 63199"/>
                <a:gd name="connsiteX114" fmla="*/ 5979 w 69549"/>
                <a:gd name="connsiteY114" fmla="*/ 29509 h 63199"/>
                <a:gd name="connsiteX115" fmla="*/ 5278 w 69549"/>
                <a:gd name="connsiteY115" fmla="*/ 27607 h 63199"/>
                <a:gd name="connsiteX116" fmla="*/ 3736 w 69549"/>
                <a:gd name="connsiteY116" fmla="*/ 24541 h 63199"/>
                <a:gd name="connsiteX117" fmla="*/ 3900 w 69549"/>
                <a:gd name="connsiteY117" fmla="*/ 23581 h 63199"/>
                <a:gd name="connsiteX118" fmla="*/ 3412 w 69549"/>
                <a:gd name="connsiteY118" fmla="*/ 22253 h 63199"/>
                <a:gd name="connsiteX119" fmla="*/ 2872 w 69549"/>
                <a:gd name="connsiteY119" fmla="*/ 21250 h 63199"/>
                <a:gd name="connsiteX120" fmla="*/ 5051 w 69549"/>
                <a:gd name="connsiteY120" fmla="*/ 18848 h 63199"/>
                <a:gd name="connsiteX121" fmla="*/ 6046 w 69549"/>
                <a:gd name="connsiteY121" fmla="*/ 16916 h 63199"/>
                <a:gd name="connsiteX122" fmla="*/ 6262 w 69549"/>
                <a:gd name="connsiteY122" fmla="*/ 15033 h 63199"/>
                <a:gd name="connsiteX123" fmla="*/ 5683 w 69549"/>
                <a:gd name="connsiteY123" fmla="*/ 13075 h 63199"/>
                <a:gd name="connsiteX124" fmla="*/ 4250 w 69549"/>
                <a:gd name="connsiteY124" fmla="*/ 9531 h 63199"/>
                <a:gd name="connsiteX125" fmla="*/ 3367 w 69549"/>
                <a:gd name="connsiteY125" fmla="*/ 8501 h 63199"/>
                <a:gd name="connsiteX126" fmla="*/ 1725 w 69549"/>
                <a:gd name="connsiteY126" fmla="*/ 7537 h 63199"/>
                <a:gd name="connsiteX127" fmla="*/ 350 w 69549"/>
                <a:gd name="connsiteY127" fmla="*/ 5962 h 63199"/>
                <a:gd name="connsiteX128" fmla="*/ 0 w 69549"/>
                <a:gd name="connsiteY128" fmla="*/ 4845 h 63199"/>
                <a:gd name="connsiteX129" fmla="*/ 1162 w 69549"/>
                <a:gd name="connsiteY129" fmla="*/ 4624 h 63199"/>
                <a:gd name="connsiteX130" fmla="*/ 4546 w 69549"/>
                <a:gd name="connsiteY130" fmla="*/ 4594 h 63199"/>
                <a:gd name="connsiteX131" fmla="*/ 7821 w 69549"/>
                <a:gd name="connsiteY131" fmla="*/ 4214 h 63199"/>
                <a:gd name="connsiteX132" fmla="*/ 10387 w 69549"/>
                <a:gd name="connsiteY132" fmla="*/ 3479 h 63199"/>
                <a:gd name="connsiteX133" fmla="*/ 14103 w 69549"/>
                <a:gd name="connsiteY133" fmla="*/ 2859 h 63199"/>
                <a:gd name="connsiteX134" fmla="*/ 15634 w 69549"/>
                <a:gd name="connsiteY134" fmla="*/ 2310 h 63199"/>
                <a:gd name="connsiteX135" fmla="*/ 17422 w 69549"/>
                <a:gd name="connsiteY135" fmla="*/ 2047 h 63199"/>
                <a:gd name="connsiteX136" fmla="*/ 22855 w 69549"/>
                <a:gd name="connsiteY136" fmla="*/ 2635 h 63199"/>
                <a:gd name="connsiteX137" fmla="*/ 24885 w 69549"/>
                <a:gd name="connsiteY137" fmla="*/ 2182 h 63199"/>
                <a:gd name="connsiteX138" fmla="*/ 31000 w 69549"/>
                <a:gd name="connsiteY138" fmla="*/ 2099 h 63199"/>
                <a:gd name="connsiteX139" fmla="*/ 31158 w 69549"/>
                <a:gd name="connsiteY139" fmla="*/ 1867 h 63199"/>
                <a:gd name="connsiteX140" fmla="*/ 30327 w 69549"/>
                <a:gd name="connsiteY140" fmla="*/ 1118 h 63199"/>
                <a:gd name="connsiteX141" fmla="*/ 30335 w 69549"/>
                <a:gd name="connsiteY141" fmla="*/ 833 h 63199"/>
                <a:gd name="connsiteX142" fmla="*/ 33974 w 69549"/>
                <a:gd name="connsiteY142" fmla="*/ 356 h 63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</a:cxnLst>
              <a:rect l="l" t="t" r="r" b="b"/>
              <a:pathLst>
                <a:path w="69549" h="63199">
                  <a:moveTo>
                    <a:pt x="45662" y="16468"/>
                  </a:moveTo>
                  <a:lnTo>
                    <a:pt x="46319" y="16490"/>
                  </a:lnTo>
                  <a:lnTo>
                    <a:pt x="46941" y="16879"/>
                  </a:lnTo>
                  <a:lnTo>
                    <a:pt x="46720" y="17747"/>
                  </a:lnTo>
                  <a:lnTo>
                    <a:pt x="45881" y="18180"/>
                  </a:lnTo>
                  <a:lnTo>
                    <a:pt x="45095" y="17985"/>
                  </a:lnTo>
                  <a:lnTo>
                    <a:pt x="45095" y="16901"/>
                  </a:lnTo>
                  <a:close/>
                  <a:moveTo>
                    <a:pt x="34382" y="5412"/>
                  </a:moveTo>
                  <a:lnTo>
                    <a:pt x="33654" y="5579"/>
                  </a:lnTo>
                  <a:lnTo>
                    <a:pt x="33598" y="6279"/>
                  </a:lnTo>
                  <a:lnTo>
                    <a:pt x="33822" y="6947"/>
                  </a:lnTo>
                  <a:lnTo>
                    <a:pt x="34552" y="7248"/>
                  </a:lnTo>
                  <a:lnTo>
                    <a:pt x="35030" y="6947"/>
                  </a:lnTo>
                  <a:lnTo>
                    <a:pt x="35142" y="6248"/>
                  </a:lnTo>
                  <a:lnTo>
                    <a:pt x="34974" y="5612"/>
                  </a:lnTo>
                  <a:close/>
                  <a:moveTo>
                    <a:pt x="34537" y="0"/>
                  </a:moveTo>
                  <a:lnTo>
                    <a:pt x="35015" y="1194"/>
                  </a:lnTo>
                  <a:lnTo>
                    <a:pt x="36381" y="2518"/>
                  </a:lnTo>
                  <a:lnTo>
                    <a:pt x="37876" y="3053"/>
                  </a:lnTo>
                  <a:lnTo>
                    <a:pt x="38677" y="3784"/>
                  </a:lnTo>
                  <a:lnTo>
                    <a:pt x="38714" y="4338"/>
                  </a:lnTo>
                  <a:lnTo>
                    <a:pt x="36070" y="5011"/>
                  </a:lnTo>
                  <a:lnTo>
                    <a:pt x="35891" y="5345"/>
                  </a:lnTo>
                  <a:lnTo>
                    <a:pt x="36066" y="5675"/>
                  </a:lnTo>
                  <a:lnTo>
                    <a:pt x="36852" y="5840"/>
                  </a:lnTo>
                  <a:lnTo>
                    <a:pt x="40553" y="7500"/>
                  </a:lnTo>
                  <a:lnTo>
                    <a:pt x="42665" y="7536"/>
                  </a:lnTo>
                  <a:lnTo>
                    <a:pt x="43775" y="8041"/>
                  </a:lnTo>
                  <a:lnTo>
                    <a:pt x="44330" y="9032"/>
                  </a:lnTo>
                  <a:lnTo>
                    <a:pt x="46094" y="10380"/>
                  </a:lnTo>
                  <a:lnTo>
                    <a:pt x="47498" y="11689"/>
                  </a:lnTo>
                  <a:lnTo>
                    <a:pt x="47584" y="12140"/>
                  </a:lnTo>
                  <a:lnTo>
                    <a:pt x="47318" y="12803"/>
                  </a:lnTo>
                  <a:lnTo>
                    <a:pt x="43382" y="15359"/>
                  </a:lnTo>
                  <a:lnTo>
                    <a:pt x="42885" y="16239"/>
                  </a:lnTo>
                  <a:lnTo>
                    <a:pt x="42825" y="17170"/>
                  </a:lnTo>
                  <a:lnTo>
                    <a:pt x="44555" y="19940"/>
                  </a:lnTo>
                  <a:lnTo>
                    <a:pt x="47100" y="22965"/>
                  </a:lnTo>
                  <a:lnTo>
                    <a:pt x="50776" y="25260"/>
                  </a:lnTo>
                  <a:lnTo>
                    <a:pt x="55837" y="27752"/>
                  </a:lnTo>
                  <a:lnTo>
                    <a:pt x="55902" y="29293"/>
                  </a:lnTo>
                  <a:lnTo>
                    <a:pt x="55099" y="31123"/>
                  </a:lnTo>
                  <a:lnTo>
                    <a:pt x="54410" y="32365"/>
                  </a:lnTo>
                  <a:lnTo>
                    <a:pt x="54097" y="33206"/>
                  </a:lnTo>
                  <a:lnTo>
                    <a:pt x="53481" y="33560"/>
                  </a:lnTo>
                  <a:lnTo>
                    <a:pt x="48441" y="33483"/>
                  </a:lnTo>
                  <a:lnTo>
                    <a:pt x="47686" y="33780"/>
                  </a:lnTo>
                  <a:lnTo>
                    <a:pt x="47353" y="34140"/>
                  </a:lnTo>
                  <a:lnTo>
                    <a:pt x="47327" y="34440"/>
                  </a:lnTo>
                  <a:lnTo>
                    <a:pt x="49141" y="34996"/>
                  </a:lnTo>
                  <a:lnTo>
                    <a:pt x="51968" y="36952"/>
                  </a:lnTo>
                  <a:lnTo>
                    <a:pt x="53594" y="38847"/>
                  </a:lnTo>
                  <a:lnTo>
                    <a:pt x="55291" y="39674"/>
                  </a:lnTo>
                  <a:lnTo>
                    <a:pt x="57191" y="41183"/>
                  </a:lnTo>
                  <a:lnTo>
                    <a:pt x="58716" y="42590"/>
                  </a:lnTo>
                  <a:lnTo>
                    <a:pt x="61087" y="44409"/>
                  </a:lnTo>
                  <a:lnTo>
                    <a:pt x="63732" y="43812"/>
                  </a:lnTo>
                  <a:lnTo>
                    <a:pt x="67265" y="45430"/>
                  </a:lnTo>
                  <a:lnTo>
                    <a:pt x="67412" y="46529"/>
                  </a:lnTo>
                  <a:lnTo>
                    <a:pt x="67191" y="47509"/>
                  </a:lnTo>
                  <a:lnTo>
                    <a:pt x="64969" y="48579"/>
                  </a:lnTo>
                  <a:lnTo>
                    <a:pt x="64693" y="49022"/>
                  </a:lnTo>
                  <a:lnTo>
                    <a:pt x="64695" y="49393"/>
                  </a:lnTo>
                  <a:lnTo>
                    <a:pt x="64987" y="49917"/>
                  </a:lnTo>
                  <a:lnTo>
                    <a:pt x="66289" y="50792"/>
                  </a:lnTo>
                  <a:lnTo>
                    <a:pt x="67822" y="52089"/>
                  </a:lnTo>
                  <a:lnTo>
                    <a:pt x="69549" y="54028"/>
                  </a:lnTo>
                  <a:lnTo>
                    <a:pt x="68781" y="54604"/>
                  </a:lnTo>
                  <a:lnTo>
                    <a:pt x="67170" y="54688"/>
                  </a:lnTo>
                  <a:lnTo>
                    <a:pt x="65913" y="54450"/>
                  </a:lnTo>
                  <a:lnTo>
                    <a:pt x="65470" y="54843"/>
                  </a:lnTo>
                  <a:lnTo>
                    <a:pt x="65496" y="55478"/>
                  </a:lnTo>
                  <a:lnTo>
                    <a:pt x="67131" y="56948"/>
                  </a:lnTo>
                  <a:lnTo>
                    <a:pt x="67451" y="58020"/>
                  </a:lnTo>
                  <a:lnTo>
                    <a:pt x="67382" y="59881"/>
                  </a:lnTo>
                  <a:lnTo>
                    <a:pt x="67468" y="62227"/>
                  </a:lnTo>
                  <a:lnTo>
                    <a:pt x="63646" y="62073"/>
                  </a:lnTo>
                  <a:lnTo>
                    <a:pt x="60381" y="63199"/>
                  </a:lnTo>
                  <a:lnTo>
                    <a:pt x="59150" y="62974"/>
                  </a:lnTo>
                  <a:lnTo>
                    <a:pt x="58331" y="60982"/>
                  </a:lnTo>
                  <a:lnTo>
                    <a:pt x="57634" y="59363"/>
                  </a:lnTo>
                  <a:lnTo>
                    <a:pt x="55554" y="55208"/>
                  </a:lnTo>
                  <a:lnTo>
                    <a:pt x="56120" y="53504"/>
                  </a:lnTo>
                  <a:lnTo>
                    <a:pt x="54961" y="52519"/>
                  </a:lnTo>
                  <a:lnTo>
                    <a:pt x="52167" y="50749"/>
                  </a:lnTo>
                  <a:lnTo>
                    <a:pt x="51452" y="50016"/>
                  </a:lnTo>
                  <a:lnTo>
                    <a:pt x="51847" y="49010"/>
                  </a:lnTo>
                  <a:lnTo>
                    <a:pt x="52119" y="47171"/>
                  </a:lnTo>
                  <a:lnTo>
                    <a:pt x="51853" y="45678"/>
                  </a:lnTo>
                  <a:lnTo>
                    <a:pt x="51102" y="45228"/>
                  </a:lnTo>
                  <a:lnTo>
                    <a:pt x="49707" y="45199"/>
                  </a:lnTo>
                  <a:lnTo>
                    <a:pt x="48012" y="45569"/>
                  </a:lnTo>
                  <a:lnTo>
                    <a:pt x="44609" y="47006"/>
                  </a:lnTo>
                  <a:lnTo>
                    <a:pt x="42244" y="46087"/>
                  </a:lnTo>
                  <a:lnTo>
                    <a:pt x="40881" y="45160"/>
                  </a:lnTo>
                  <a:lnTo>
                    <a:pt x="40091" y="44383"/>
                  </a:lnTo>
                  <a:lnTo>
                    <a:pt x="38323" y="45029"/>
                  </a:lnTo>
                  <a:lnTo>
                    <a:pt x="37887" y="44716"/>
                  </a:lnTo>
                  <a:lnTo>
                    <a:pt x="37793" y="42795"/>
                  </a:lnTo>
                  <a:lnTo>
                    <a:pt x="37263" y="41761"/>
                  </a:lnTo>
                  <a:lnTo>
                    <a:pt x="36198" y="40552"/>
                  </a:lnTo>
                  <a:lnTo>
                    <a:pt x="35206" y="39971"/>
                  </a:lnTo>
                  <a:lnTo>
                    <a:pt x="31570" y="41168"/>
                  </a:lnTo>
                  <a:lnTo>
                    <a:pt x="29383" y="41574"/>
                  </a:lnTo>
                  <a:lnTo>
                    <a:pt x="28620" y="40457"/>
                  </a:lnTo>
                  <a:lnTo>
                    <a:pt x="24788" y="36783"/>
                  </a:lnTo>
                  <a:lnTo>
                    <a:pt x="21231" y="33965"/>
                  </a:lnTo>
                  <a:lnTo>
                    <a:pt x="18791" y="32801"/>
                  </a:lnTo>
                  <a:lnTo>
                    <a:pt x="16332" y="32922"/>
                  </a:lnTo>
                  <a:lnTo>
                    <a:pt x="12514" y="33486"/>
                  </a:lnTo>
                  <a:lnTo>
                    <a:pt x="11112" y="33250"/>
                  </a:lnTo>
                  <a:lnTo>
                    <a:pt x="7789" y="32021"/>
                  </a:lnTo>
                  <a:lnTo>
                    <a:pt x="5014" y="30557"/>
                  </a:lnTo>
                  <a:lnTo>
                    <a:pt x="5392" y="29949"/>
                  </a:lnTo>
                  <a:lnTo>
                    <a:pt x="5979" y="29509"/>
                  </a:lnTo>
                  <a:lnTo>
                    <a:pt x="5278" y="27607"/>
                  </a:lnTo>
                  <a:lnTo>
                    <a:pt x="3736" y="24541"/>
                  </a:lnTo>
                  <a:lnTo>
                    <a:pt x="3900" y="23581"/>
                  </a:lnTo>
                  <a:lnTo>
                    <a:pt x="3412" y="22253"/>
                  </a:lnTo>
                  <a:lnTo>
                    <a:pt x="2872" y="21250"/>
                  </a:lnTo>
                  <a:lnTo>
                    <a:pt x="5051" y="18848"/>
                  </a:lnTo>
                  <a:lnTo>
                    <a:pt x="6046" y="16916"/>
                  </a:lnTo>
                  <a:lnTo>
                    <a:pt x="6262" y="15033"/>
                  </a:lnTo>
                  <a:lnTo>
                    <a:pt x="5683" y="13075"/>
                  </a:lnTo>
                  <a:lnTo>
                    <a:pt x="4250" y="9531"/>
                  </a:lnTo>
                  <a:lnTo>
                    <a:pt x="3367" y="8501"/>
                  </a:lnTo>
                  <a:lnTo>
                    <a:pt x="1725" y="7537"/>
                  </a:lnTo>
                  <a:lnTo>
                    <a:pt x="350" y="5962"/>
                  </a:lnTo>
                  <a:lnTo>
                    <a:pt x="0" y="4845"/>
                  </a:lnTo>
                  <a:lnTo>
                    <a:pt x="1162" y="4624"/>
                  </a:lnTo>
                  <a:lnTo>
                    <a:pt x="4546" y="4594"/>
                  </a:lnTo>
                  <a:lnTo>
                    <a:pt x="7821" y="4214"/>
                  </a:lnTo>
                  <a:lnTo>
                    <a:pt x="10387" y="3479"/>
                  </a:lnTo>
                  <a:lnTo>
                    <a:pt x="14103" y="2859"/>
                  </a:lnTo>
                  <a:lnTo>
                    <a:pt x="15634" y="2310"/>
                  </a:lnTo>
                  <a:lnTo>
                    <a:pt x="17422" y="2047"/>
                  </a:lnTo>
                  <a:lnTo>
                    <a:pt x="22855" y="2635"/>
                  </a:lnTo>
                  <a:lnTo>
                    <a:pt x="24885" y="2182"/>
                  </a:lnTo>
                  <a:lnTo>
                    <a:pt x="31000" y="2099"/>
                  </a:lnTo>
                  <a:lnTo>
                    <a:pt x="31158" y="1867"/>
                  </a:lnTo>
                  <a:lnTo>
                    <a:pt x="30327" y="1118"/>
                  </a:lnTo>
                  <a:lnTo>
                    <a:pt x="30335" y="833"/>
                  </a:lnTo>
                  <a:lnTo>
                    <a:pt x="33974" y="356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85" name="ee4p_AZ_1_82333">
              <a:extLst>
                <a:ext uri="{FF2B5EF4-FFF2-40B4-BE49-F238E27FC236}">
                  <a16:creationId xmlns:a16="http://schemas.microsoft.com/office/drawing/2014/main" id="{ECA69942-7B26-B1CF-71A6-1A70AAD27B6F}"/>
                </a:ext>
              </a:extLst>
            </p:cNvPr>
            <p:cNvSpPr>
              <a:spLocks noChangeAspect="1"/>
            </p:cNvSpPr>
            <p:nvPr>
              <p:custDataLst>
                <p:tags r:id="rId13"/>
              </p:custDataLst>
            </p:nvPr>
          </p:nvSpPr>
          <p:spPr>
            <a:xfrm>
              <a:off x="7757885" y="3406211"/>
              <a:ext cx="155443" cy="117637"/>
            </a:xfrm>
            <a:custGeom>
              <a:avLst/>
              <a:gdLst>
                <a:gd name="connsiteX0" fmla="*/ 5823 w 123776"/>
                <a:gd name="connsiteY0" fmla="*/ 55840 h 91189"/>
                <a:gd name="connsiteX1" fmla="*/ 6815 w 123776"/>
                <a:gd name="connsiteY1" fmla="*/ 56421 h 91189"/>
                <a:gd name="connsiteX2" fmla="*/ 7880 w 123776"/>
                <a:gd name="connsiteY2" fmla="*/ 57630 h 91189"/>
                <a:gd name="connsiteX3" fmla="*/ 8410 w 123776"/>
                <a:gd name="connsiteY3" fmla="*/ 58664 h 91189"/>
                <a:gd name="connsiteX4" fmla="*/ 8504 w 123776"/>
                <a:gd name="connsiteY4" fmla="*/ 60585 h 91189"/>
                <a:gd name="connsiteX5" fmla="*/ 8940 w 123776"/>
                <a:gd name="connsiteY5" fmla="*/ 60898 h 91189"/>
                <a:gd name="connsiteX6" fmla="*/ 10708 w 123776"/>
                <a:gd name="connsiteY6" fmla="*/ 60252 h 91189"/>
                <a:gd name="connsiteX7" fmla="*/ 11498 w 123776"/>
                <a:gd name="connsiteY7" fmla="*/ 61029 h 91189"/>
                <a:gd name="connsiteX8" fmla="*/ 12861 w 123776"/>
                <a:gd name="connsiteY8" fmla="*/ 61956 h 91189"/>
                <a:gd name="connsiteX9" fmla="*/ 15226 w 123776"/>
                <a:gd name="connsiteY9" fmla="*/ 62875 h 91189"/>
                <a:gd name="connsiteX10" fmla="*/ 18629 w 123776"/>
                <a:gd name="connsiteY10" fmla="*/ 61438 h 91189"/>
                <a:gd name="connsiteX11" fmla="*/ 20324 w 123776"/>
                <a:gd name="connsiteY11" fmla="*/ 61068 h 91189"/>
                <a:gd name="connsiteX12" fmla="*/ 21719 w 123776"/>
                <a:gd name="connsiteY12" fmla="*/ 61097 h 91189"/>
                <a:gd name="connsiteX13" fmla="*/ 22470 w 123776"/>
                <a:gd name="connsiteY13" fmla="*/ 61547 h 91189"/>
                <a:gd name="connsiteX14" fmla="*/ 22736 w 123776"/>
                <a:gd name="connsiteY14" fmla="*/ 63040 h 91189"/>
                <a:gd name="connsiteX15" fmla="*/ 22464 w 123776"/>
                <a:gd name="connsiteY15" fmla="*/ 64879 h 91189"/>
                <a:gd name="connsiteX16" fmla="*/ 22069 w 123776"/>
                <a:gd name="connsiteY16" fmla="*/ 65885 h 91189"/>
                <a:gd name="connsiteX17" fmla="*/ 22784 w 123776"/>
                <a:gd name="connsiteY17" fmla="*/ 66618 h 91189"/>
                <a:gd name="connsiteX18" fmla="*/ 25578 w 123776"/>
                <a:gd name="connsiteY18" fmla="*/ 68388 h 91189"/>
                <a:gd name="connsiteX19" fmla="*/ 26737 w 123776"/>
                <a:gd name="connsiteY19" fmla="*/ 69373 h 91189"/>
                <a:gd name="connsiteX20" fmla="*/ 26171 w 123776"/>
                <a:gd name="connsiteY20" fmla="*/ 71077 h 91189"/>
                <a:gd name="connsiteX21" fmla="*/ 28251 w 123776"/>
                <a:gd name="connsiteY21" fmla="*/ 75232 h 91189"/>
                <a:gd name="connsiteX22" fmla="*/ 28948 w 123776"/>
                <a:gd name="connsiteY22" fmla="*/ 76851 h 91189"/>
                <a:gd name="connsiteX23" fmla="*/ 29767 w 123776"/>
                <a:gd name="connsiteY23" fmla="*/ 78843 h 91189"/>
                <a:gd name="connsiteX24" fmla="*/ 25509 w 123776"/>
                <a:gd name="connsiteY24" fmla="*/ 78064 h 91189"/>
                <a:gd name="connsiteX25" fmla="*/ 17839 w 123776"/>
                <a:gd name="connsiteY25" fmla="*/ 76388 h 91189"/>
                <a:gd name="connsiteX26" fmla="*/ 15731 w 123776"/>
                <a:gd name="connsiteY26" fmla="*/ 75523 h 91189"/>
                <a:gd name="connsiteX27" fmla="*/ 13731 w 123776"/>
                <a:gd name="connsiteY27" fmla="*/ 73205 h 91189"/>
                <a:gd name="connsiteX28" fmla="*/ 12544 w 123776"/>
                <a:gd name="connsiteY28" fmla="*/ 72085 h 91189"/>
                <a:gd name="connsiteX29" fmla="*/ 10784 w 123776"/>
                <a:gd name="connsiteY29" fmla="*/ 70648 h 91189"/>
                <a:gd name="connsiteX30" fmla="*/ 9339 w 123776"/>
                <a:gd name="connsiteY30" fmla="*/ 70105 h 91189"/>
                <a:gd name="connsiteX31" fmla="*/ 8247 w 123776"/>
                <a:gd name="connsiteY31" fmla="*/ 69104 h 91189"/>
                <a:gd name="connsiteX32" fmla="*/ 7624 w 123776"/>
                <a:gd name="connsiteY32" fmla="*/ 67620 h 91189"/>
                <a:gd name="connsiteX33" fmla="*/ 6709 w 123776"/>
                <a:gd name="connsiteY33" fmla="*/ 66289 h 91189"/>
                <a:gd name="connsiteX34" fmla="*/ 5128 w 123776"/>
                <a:gd name="connsiteY34" fmla="*/ 64716 h 91189"/>
                <a:gd name="connsiteX35" fmla="*/ 1546 w 123776"/>
                <a:gd name="connsiteY35" fmla="*/ 59378 h 91189"/>
                <a:gd name="connsiteX36" fmla="*/ 1081 w 123776"/>
                <a:gd name="connsiteY36" fmla="*/ 58824 h 91189"/>
                <a:gd name="connsiteX37" fmla="*/ 335 w 123776"/>
                <a:gd name="connsiteY37" fmla="*/ 57934 h 91189"/>
                <a:gd name="connsiteX38" fmla="*/ 0 w 123776"/>
                <a:gd name="connsiteY38" fmla="*/ 57443 h 91189"/>
                <a:gd name="connsiteX39" fmla="*/ 2187 w 123776"/>
                <a:gd name="connsiteY39" fmla="*/ 57037 h 91189"/>
                <a:gd name="connsiteX40" fmla="*/ 16279 w 123776"/>
                <a:gd name="connsiteY40" fmla="*/ 32337 h 91189"/>
                <a:gd name="connsiteX41" fmla="*/ 15712 w 123776"/>
                <a:gd name="connsiteY41" fmla="*/ 32770 h 91189"/>
                <a:gd name="connsiteX42" fmla="*/ 15712 w 123776"/>
                <a:gd name="connsiteY42" fmla="*/ 33854 h 91189"/>
                <a:gd name="connsiteX43" fmla="*/ 16498 w 123776"/>
                <a:gd name="connsiteY43" fmla="*/ 34049 h 91189"/>
                <a:gd name="connsiteX44" fmla="*/ 17337 w 123776"/>
                <a:gd name="connsiteY44" fmla="*/ 33616 h 91189"/>
                <a:gd name="connsiteX45" fmla="*/ 17558 w 123776"/>
                <a:gd name="connsiteY45" fmla="*/ 32748 h 91189"/>
                <a:gd name="connsiteX46" fmla="*/ 16936 w 123776"/>
                <a:gd name="connsiteY46" fmla="*/ 32359 h 91189"/>
                <a:gd name="connsiteX47" fmla="*/ 4999 w 123776"/>
                <a:gd name="connsiteY47" fmla="*/ 21281 h 91189"/>
                <a:gd name="connsiteX48" fmla="*/ 5591 w 123776"/>
                <a:gd name="connsiteY48" fmla="*/ 21481 h 91189"/>
                <a:gd name="connsiteX49" fmla="*/ 5759 w 123776"/>
                <a:gd name="connsiteY49" fmla="*/ 22117 h 91189"/>
                <a:gd name="connsiteX50" fmla="*/ 5647 w 123776"/>
                <a:gd name="connsiteY50" fmla="*/ 22816 h 91189"/>
                <a:gd name="connsiteX51" fmla="*/ 5169 w 123776"/>
                <a:gd name="connsiteY51" fmla="*/ 23117 h 91189"/>
                <a:gd name="connsiteX52" fmla="*/ 4439 w 123776"/>
                <a:gd name="connsiteY52" fmla="*/ 22816 h 91189"/>
                <a:gd name="connsiteX53" fmla="*/ 4215 w 123776"/>
                <a:gd name="connsiteY53" fmla="*/ 22148 h 91189"/>
                <a:gd name="connsiteX54" fmla="*/ 4271 w 123776"/>
                <a:gd name="connsiteY54" fmla="*/ 21448 h 91189"/>
                <a:gd name="connsiteX55" fmla="*/ 36742 w 123776"/>
                <a:gd name="connsiteY55" fmla="*/ 0 h 91189"/>
                <a:gd name="connsiteX56" fmla="*/ 39126 w 123776"/>
                <a:gd name="connsiteY56" fmla="*/ 545 h 91189"/>
                <a:gd name="connsiteX57" fmla="*/ 39445 w 123776"/>
                <a:gd name="connsiteY57" fmla="*/ 2086 h 91189"/>
                <a:gd name="connsiteX58" fmla="*/ 39869 w 123776"/>
                <a:gd name="connsiteY58" fmla="*/ 2409 h 91189"/>
                <a:gd name="connsiteX59" fmla="*/ 40857 w 123776"/>
                <a:gd name="connsiteY59" fmla="*/ 2228 h 91189"/>
                <a:gd name="connsiteX60" fmla="*/ 42501 w 123776"/>
                <a:gd name="connsiteY60" fmla="*/ 1581 h 91189"/>
                <a:gd name="connsiteX61" fmla="*/ 43805 w 123776"/>
                <a:gd name="connsiteY61" fmla="*/ 2078 h 91189"/>
                <a:gd name="connsiteX62" fmla="*/ 45492 w 123776"/>
                <a:gd name="connsiteY62" fmla="*/ 3911 h 91189"/>
                <a:gd name="connsiteX63" fmla="*/ 47819 w 123776"/>
                <a:gd name="connsiteY63" fmla="*/ 5844 h 91189"/>
                <a:gd name="connsiteX64" fmla="*/ 49078 w 123776"/>
                <a:gd name="connsiteY64" fmla="*/ 7141 h 91189"/>
                <a:gd name="connsiteX65" fmla="*/ 49573 w 123776"/>
                <a:gd name="connsiteY65" fmla="*/ 8037 h 91189"/>
                <a:gd name="connsiteX66" fmla="*/ 50763 w 123776"/>
                <a:gd name="connsiteY66" fmla="*/ 8905 h 91189"/>
                <a:gd name="connsiteX67" fmla="*/ 52501 w 123776"/>
                <a:gd name="connsiteY67" fmla="*/ 9926 h 91189"/>
                <a:gd name="connsiteX68" fmla="*/ 53887 w 123776"/>
                <a:gd name="connsiteY68" fmla="*/ 11523 h 91189"/>
                <a:gd name="connsiteX69" fmla="*/ 55122 w 123776"/>
                <a:gd name="connsiteY69" fmla="*/ 15233 h 91189"/>
                <a:gd name="connsiteX70" fmla="*/ 56373 w 123776"/>
                <a:gd name="connsiteY70" fmla="*/ 16094 h 91189"/>
                <a:gd name="connsiteX71" fmla="*/ 60860 w 123776"/>
                <a:gd name="connsiteY71" fmla="*/ 17502 h 91189"/>
                <a:gd name="connsiteX72" fmla="*/ 62434 w 123776"/>
                <a:gd name="connsiteY72" fmla="*/ 17790 h 91189"/>
                <a:gd name="connsiteX73" fmla="*/ 66839 w 123776"/>
                <a:gd name="connsiteY73" fmla="*/ 18287 h 91189"/>
                <a:gd name="connsiteX74" fmla="*/ 68390 w 123776"/>
                <a:gd name="connsiteY74" fmla="*/ 17932 h 91189"/>
                <a:gd name="connsiteX75" fmla="*/ 70657 w 123776"/>
                <a:gd name="connsiteY75" fmla="*/ 14734 h 91189"/>
                <a:gd name="connsiteX76" fmla="*/ 72700 w 123776"/>
                <a:gd name="connsiteY76" fmla="*/ 11442 h 91189"/>
                <a:gd name="connsiteX77" fmla="*/ 74606 w 123776"/>
                <a:gd name="connsiteY77" fmla="*/ 10753 h 91189"/>
                <a:gd name="connsiteX78" fmla="*/ 78053 w 123776"/>
                <a:gd name="connsiteY78" fmla="*/ 9161 h 91189"/>
                <a:gd name="connsiteX79" fmla="*/ 80115 w 123776"/>
                <a:gd name="connsiteY79" fmla="*/ 7657 h 91189"/>
                <a:gd name="connsiteX80" fmla="*/ 80983 w 123776"/>
                <a:gd name="connsiteY80" fmla="*/ 6031 h 91189"/>
                <a:gd name="connsiteX81" fmla="*/ 82929 w 123776"/>
                <a:gd name="connsiteY81" fmla="*/ 2959 h 91189"/>
                <a:gd name="connsiteX82" fmla="*/ 84127 w 123776"/>
                <a:gd name="connsiteY82" fmla="*/ 1233 h 91189"/>
                <a:gd name="connsiteX83" fmla="*/ 86157 w 123776"/>
                <a:gd name="connsiteY83" fmla="*/ 2767 h 91189"/>
                <a:gd name="connsiteX84" fmla="*/ 89679 w 123776"/>
                <a:gd name="connsiteY84" fmla="*/ 6924 h 91189"/>
                <a:gd name="connsiteX85" fmla="*/ 94697 w 123776"/>
                <a:gd name="connsiteY85" fmla="*/ 13679 h 91189"/>
                <a:gd name="connsiteX86" fmla="*/ 95930 w 123776"/>
                <a:gd name="connsiteY86" fmla="*/ 15586 h 91189"/>
                <a:gd name="connsiteX87" fmla="*/ 96740 w 123776"/>
                <a:gd name="connsiteY87" fmla="*/ 17799 h 91189"/>
                <a:gd name="connsiteX88" fmla="*/ 97436 w 123776"/>
                <a:gd name="connsiteY88" fmla="*/ 20477 h 91189"/>
                <a:gd name="connsiteX89" fmla="*/ 98580 w 123776"/>
                <a:gd name="connsiteY89" fmla="*/ 22844 h 91189"/>
                <a:gd name="connsiteX90" fmla="*/ 103672 w 123776"/>
                <a:gd name="connsiteY90" fmla="*/ 28794 h 91189"/>
                <a:gd name="connsiteX91" fmla="*/ 105870 w 123776"/>
                <a:gd name="connsiteY91" fmla="*/ 30987 h 91189"/>
                <a:gd name="connsiteX92" fmla="*/ 109457 w 123776"/>
                <a:gd name="connsiteY92" fmla="*/ 33825 h 91189"/>
                <a:gd name="connsiteX93" fmla="*/ 110731 w 123776"/>
                <a:gd name="connsiteY93" fmla="*/ 34457 h 91189"/>
                <a:gd name="connsiteX94" fmla="*/ 112406 w 123776"/>
                <a:gd name="connsiteY94" fmla="*/ 34635 h 91189"/>
                <a:gd name="connsiteX95" fmla="*/ 115477 w 123776"/>
                <a:gd name="connsiteY95" fmla="*/ 34645 h 91189"/>
                <a:gd name="connsiteX96" fmla="*/ 118319 w 123776"/>
                <a:gd name="connsiteY96" fmla="*/ 35753 h 91189"/>
                <a:gd name="connsiteX97" fmla="*/ 119720 w 123776"/>
                <a:gd name="connsiteY97" fmla="*/ 36532 h 91189"/>
                <a:gd name="connsiteX98" fmla="*/ 121170 w 123776"/>
                <a:gd name="connsiteY98" fmla="*/ 37658 h 91189"/>
                <a:gd name="connsiteX99" fmla="*/ 122469 w 123776"/>
                <a:gd name="connsiteY99" fmla="*/ 38955 h 91189"/>
                <a:gd name="connsiteX100" fmla="*/ 123776 w 123776"/>
                <a:gd name="connsiteY100" fmla="*/ 42427 h 91189"/>
                <a:gd name="connsiteX101" fmla="*/ 118850 w 123776"/>
                <a:gd name="connsiteY101" fmla="*/ 41283 h 91189"/>
                <a:gd name="connsiteX102" fmla="*/ 113890 w 123776"/>
                <a:gd name="connsiteY102" fmla="*/ 41461 h 91189"/>
                <a:gd name="connsiteX103" fmla="*/ 111085 w 123776"/>
                <a:gd name="connsiteY103" fmla="*/ 42207 h 91189"/>
                <a:gd name="connsiteX104" fmla="*/ 108366 w 123776"/>
                <a:gd name="connsiteY104" fmla="*/ 43223 h 91189"/>
                <a:gd name="connsiteX105" fmla="*/ 105760 w 123776"/>
                <a:gd name="connsiteY105" fmla="*/ 44656 h 91189"/>
                <a:gd name="connsiteX106" fmla="*/ 104128 w 123776"/>
                <a:gd name="connsiteY106" fmla="*/ 47447 h 91189"/>
                <a:gd name="connsiteX107" fmla="*/ 102752 w 123776"/>
                <a:gd name="connsiteY107" fmla="*/ 53896 h 91189"/>
                <a:gd name="connsiteX108" fmla="*/ 100746 w 123776"/>
                <a:gd name="connsiteY108" fmla="*/ 59917 h 91189"/>
                <a:gd name="connsiteX109" fmla="*/ 100815 w 123776"/>
                <a:gd name="connsiteY109" fmla="*/ 62700 h 91189"/>
                <a:gd name="connsiteX110" fmla="*/ 101696 w 123776"/>
                <a:gd name="connsiteY110" fmla="*/ 65369 h 91189"/>
                <a:gd name="connsiteX111" fmla="*/ 101594 w 123776"/>
                <a:gd name="connsiteY111" fmla="*/ 66635 h 91189"/>
                <a:gd name="connsiteX112" fmla="*/ 100675 w 123776"/>
                <a:gd name="connsiteY112" fmla="*/ 67170 h 91189"/>
                <a:gd name="connsiteX113" fmla="*/ 99528 w 123776"/>
                <a:gd name="connsiteY113" fmla="*/ 68304 h 91189"/>
                <a:gd name="connsiteX114" fmla="*/ 97991 w 123776"/>
                <a:gd name="connsiteY114" fmla="*/ 73806 h 91189"/>
                <a:gd name="connsiteX115" fmla="*/ 97228 w 123776"/>
                <a:gd name="connsiteY115" fmla="*/ 74902 h 91189"/>
                <a:gd name="connsiteX116" fmla="*/ 96248 w 123776"/>
                <a:gd name="connsiteY116" fmla="*/ 75584 h 91189"/>
                <a:gd name="connsiteX117" fmla="*/ 95976 w 123776"/>
                <a:gd name="connsiteY117" fmla="*/ 74933 h 91189"/>
                <a:gd name="connsiteX118" fmla="*/ 96034 w 123776"/>
                <a:gd name="connsiteY118" fmla="*/ 73494 h 91189"/>
                <a:gd name="connsiteX119" fmla="*/ 93870 w 123776"/>
                <a:gd name="connsiteY119" fmla="*/ 72219 h 91189"/>
                <a:gd name="connsiteX120" fmla="*/ 92726 w 123776"/>
                <a:gd name="connsiteY120" fmla="*/ 73648 h 91189"/>
                <a:gd name="connsiteX121" fmla="*/ 91940 w 123776"/>
                <a:gd name="connsiteY121" fmla="*/ 76673 h 91189"/>
                <a:gd name="connsiteX122" fmla="*/ 90355 w 123776"/>
                <a:gd name="connsiteY122" fmla="*/ 79849 h 91189"/>
                <a:gd name="connsiteX123" fmla="*/ 90275 w 123776"/>
                <a:gd name="connsiteY123" fmla="*/ 80455 h 91189"/>
                <a:gd name="connsiteX124" fmla="*/ 90670 w 123776"/>
                <a:gd name="connsiteY124" fmla="*/ 90243 h 91189"/>
                <a:gd name="connsiteX125" fmla="*/ 90042 w 123776"/>
                <a:gd name="connsiteY125" fmla="*/ 90198 h 91189"/>
                <a:gd name="connsiteX126" fmla="*/ 85514 w 123776"/>
                <a:gd name="connsiteY126" fmla="*/ 91189 h 91189"/>
                <a:gd name="connsiteX127" fmla="*/ 84566 w 123776"/>
                <a:gd name="connsiteY127" fmla="*/ 90871 h 91189"/>
                <a:gd name="connsiteX128" fmla="*/ 80689 w 123776"/>
                <a:gd name="connsiteY128" fmla="*/ 86363 h 91189"/>
                <a:gd name="connsiteX129" fmla="*/ 79891 w 123776"/>
                <a:gd name="connsiteY129" fmla="*/ 85863 h 91189"/>
                <a:gd name="connsiteX130" fmla="*/ 78217 w 123776"/>
                <a:gd name="connsiteY130" fmla="*/ 85660 h 91189"/>
                <a:gd name="connsiteX131" fmla="*/ 77239 w 123776"/>
                <a:gd name="connsiteY131" fmla="*/ 84918 h 91189"/>
                <a:gd name="connsiteX132" fmla="*/ 76440 w 123776"/>
                <a:gd name="connsiteY132" fmla="*/ 83709 h 91189"/>
                <a:gd name="connsiteX133" fmla="*/ 75986 w 123776"/>
                <a:gd name="connsiteY133" fmla="*/ 82808 h 91189"/>
                <a:gd name="connsiteX134" fmla="*/ 71974 w 123776"/>
                <a:gd name="connsiteY134" fmla="*/ 80359 h 91189"/>
                <a:gd name="connsiteX135" fmla="*/ 71383 w 123776"/>
                <a:gd name="connsiteY135" fmla="*/ 79463 h 91189"/>
                <a:gd name="connsiteX136" fmla="*/ 71299 w 123776"/>
                <a:gd name="connsiteY136" fmla="*/ 78675 h 91189"/>
                <a:gd name="connsiteX137" fmla="*/ 71888 w 123776"/>
                <a:gd name="connsiteY137" fmla="*/ 77964 h 91189"/>
                <a:gd name="connsiteX138" fmla="*/ 72568 w 123776"/>
                <a:gd name="connsiteY138" fmla="*/ 77364 h 91189"/>
                <a:gd name="connsiteX139" fmla="*/ 74524 w 123776"/>
                <a:gd name="connsiteY139" fmla="*/ 76754 h 91189"/>
                <a:gd name="connsiteX140" fmla="*/ 76811 w 123776"/>
                <a:gd name="connsiteY140" fmla="*/ 76229 h 91189"/>
                <a:gd name="connsiteX141" fmla="*/ 77543 w 123776"/>
                <a:gd name="connsiteY141" fmla="*/ 75850 h 91189"/>
                <a:gd name="connsiteX142" fmla="*/ 77919 w 123776"/>
                <a:gd name="connsiteY142" fmla="*/ 75197 h 91189"/>
                <a:gd name="connsiteX143" fmla="*/ 77895 w 123776"/>
                <a:gd name="connsiteY143" fmla="*/ 74152 h 91189"/>
                <a:gd name="connsiteX144" fmla="*/ 77522 w 123776"/>
                <a:gd name="connsiteY144" fmla="*/ 73121 h 91189"/>
                <a:gd name="connsiteX145" fmla="*/ 74235 w 123776"/>
                <a:gd name="connsiteY145" fmla="*/ 71245 h 91189"/>
                <a:gd name="connsiteX146" fmla="*/ 73875 w 123776"/>
                <a:gd name="connsiteY146" fmla="*/ 70437 h 91189"/>
                <a:gd name="connsiteX147" fmla="*/ 73769 w 123776"/>
                <a:gd name="connsiteY147" fmla="*/ 69445 h 91189"/>
                <a:gd name="connsiteX148" fmla="*/ 73956 w 123776"/>
                <a:gd name="connsiteY148" fmla="*/ 68409 h 91189"/>
                <a:gd name="connsiteX149" fmla="*/ 74468 w 123776"/>
                <a:gd name="connsiteY149" fmla="*/ 67599 h 91189"/>
                <a:gd name="connsiteX150" fmla="*/ 77148 w 123776"/>
                <a:gd name="connsiteY150" fmla="*/ 66494 h 91189"/>
                <a:gd name="connsiteX151" fmla="*/ 78584 w 123776"/>
                <a:gd name="connsiteY151" fmla="*/ 65351 h 91189"/>
                <a:gd name="connsiteX152" fmla="*/ 77690 w 123776"/>
                <a:gd name="connsiteY152" fmla="*/ 64073 h 91189"/>
                <a:gd name="connsiteX153" fmla="*/ 74801 w 123776"/>
                <a:gd name="connsiteY153" fmla="*/ 61160 h 91189"/>
                <a:gd name="connsiteX154" fmla="*/ 71370 w 123776"/>
                <a:gd name="connsiteY154" fmla="*/ 57953 h 91189"/>
                <a:gd name="connsiteX155" fmla="*/ 69078 w 123776"/>
                <a:gd name="connsiteY155" fmla="*/ 57923 h 91189"/>
                <a:gd name="connsiteX156" fmla="*/ 66438 w 123776"/>
                <a:gd name="connsiteY156" fmla="*/ 58872 h 91189"/>
                <a:gd name="connsiteX157" fmla="*/ 62214 w 123776"/>
                <a:gd name="connsiteY157" fmla="*/ 61606 h 91189"/>
                <a:gd name="connsiteX158" fmla="*/ 59878 w 123776"/>
                <a:gd name="connsiteY158" fmla="*/ 62775 h 91189"/>
                <a:gd name="connsiteX159" fmla="*/ 56833 w 123776"/>
                <a:gd name="connsiteY159" fmla="*/ 64707 h 91189"/>
                <a:gd name="connsiteX160" fmla="*/ 53514 w 123776"/>
                <a:gd name="connsiteY160" fmla="*/ 66858 h 91189"/>
                <a:gd name="connsiteX161" fmla="*/ 50795 w 123776"/>
                <a:gd name="connsiteY161" fmla="*/ 69140 h 91189"/>
                <a:gd name="connsiteX162" fmla="*/ 49102 w 123776"/>
                <a:gd name="connsiteY162" fmla="*/ 71023 h 91189"/>
                <a:gd name="connsiteX163" fmla="*/ 46088 w 123776"/>
                <a:gd name="connsiteY163" fmla="*/ 71845 h 91189"/>
                <a:gd name="connsiteX164" fmla="*/ 44554 w 123776"/>
                <a:gd name="connsiteY164" fmla="*/ 73425 h 91189"/>
                <a:gd name="connsiteX165" fmla="*/ 39504 w 123776"/>
                <a:gd name="connsiteY165" fmla="*/ 78155 h 91189"/>
                <a:gd name="connsiteX166" fmla="*/ 38085 w 123776"/>
                <a:gd name="connsiteY166" fmla="*/ 78096 h 91189"/>
                <a:gd name="connsiteX167" fmla="*/ 37999 w 123776"/>
                <a:gd name="connsiteY167" fmla="*/ 75750 h 91189"/>
                <a:gd name="connsiteX168" fmla="*/ 38068 w 123776"/>
                <a:gd name="connsiteY168" fmla="*/ 73889 h 91189"/>
                <a:gd name="connsiteX169" fmla="*/ 37748 w 123776"/>
                <a:gd name="connsiteY169" fmla="*/ 72817 h 91189"/>
                <a:gd name="connsiteX170" fmla="*/ 36113 w 123776"/>
                <a:gd name="connsiteY170" fmla="*/ 71347 h 91189"/>
                <a:gd name="connsiteX171" fmla="*/ 36087 w 123776"/>
                <a:gd name="connsiteY171" fmla="*/ 70712 h 91189"/>
                <a:gd name="connsiteX172" fmla="*/ 36530 w 123776"/>
                <a:gd name="connsiteY172" fmla="*/ 70319 h 91189"/>
                <a:gd name="connsiteX173" fmla="*/ 37787 w 123776"/>
                <a:gd name="connsiteY173" fmla="*/ 70557 h 91189"/>
                <a:gd name="connsiteX174" fmla="*/ 39398 w 123776"/>
                <a:gd name="connsiteY174" fmla="*/ 70473 h 91189"/>
                <a:gd name="connsiteX175" fmla="*/ 40166 w 123776"/>
                <a:gd name="connsiteY175" fmla="*/ 69897 h 91189"/>
                <a:gd name="connsiteX176" fmla="*/ 38439 w 123776"/>
                <a:gd name="connsiteY176" fmla="*/ 67958 h 91189"/>
                <a:gd name="connsiteX177" fmla="*/ 36906 w 123776"/>
                <a:gd name="connsiteY177" fmla="*/ 66661 h 91189"/>
                <a:gd name="connsiteX178" fmla="*/ 35604 w 123776"/>
                <a:gd name="connsiteY178" fmla="*/ 65786 h 91189"/>
                <a:gd name="connsiteX179" fmla="*/ 35312 w 123776"/>
                <a:gd name="connsiteY179" fmla="*/ 65262 h 91189"/>
                <a:gd name="connsiteX180" fmla="*/ 35310 w 123776"/>
                <a:gd name="connsiteY180" fmla="*/ 64891 h 91189"/>
                <a:gd name="connsiteX181" fmla="*/ 35586 w 123776"/>
                <a:gd name="connsiteY181" fmla="*/ 64448 h 91189"/>
                <a:gd name="connsiteX182" fmla="*/ 37808 w 123776"/>
                <a:gd name="connsiteY182" fmla="*/ 63378 h 91189"/>
                <a:gd name="connsiteX183" fmla="*/ 38029 w 123776"/>
                <a:gd name="connsiteY183" fmla="*/ 62398 h 91189"/>
                <a:gd name="connsiteX184" fmla="*/ 37882 w 123776"/>
                <a:gd name="connsiteY184" fmla="*/ 61299 h 91189"/>
                <a:gd name="connsiteX185" fmla="*/ 34349 w 123776"/>
                <a:gd name="connsiteY185" fmla="*/ 59681 h 91189"/>
                <a:gd name="connsiteX186" fmla="*/ 31704 w 123776"/>
                <a:gd name="connsiteY186" fmla="*/ 60278 h 91189"/>
                <a:gd name="connsiteX187" fmla="*/ 29333 w 123776"/>
                <a:gd name="connsiteY187" fmla="*/ 58459 h 91189"/>
                <a:gd name="connsiteX188" fmla="*/ 27808 w 123776"/>
                <a:gd name="connsiteY188" fmla="*/ 57052 h 91189"/>
                <a:gd name="connsiteX189" fmla="*/ 25908 w 123776"/>
                <a:gd name="connsiteY189" fmla="*/ 55543 h 91189"/>
                <a:gd name="connsiteX190" fmla="*/ 24211 w 123776"/>
                <a:gd name="connsiteY190" fmla="*/ 54716 h 91189"/>
                <a:gd name="connsiteX191" fmla="*/ 22585 w 123776"/>
                <a:gd name="connsiteY191" fmla="*/ 52821 h 91189"/>
                <a:gd name="connsiteX192" fmla="*/ 19758 w 123776"/>
                <a:gd name="connsiteY192" fmla="*/ 50865 h 91189"/>
                <a:gd name="connsiteX193" fmla="*/ 17944 w 123776"/>
                <a:gd name="connsiteY193" fmla="*/ 50309 h 91189"/>
                <a:gd name="connsiteX194" fmla="*/ 17970 w 123776"/>
                <a:gd name="connsiteY194" fmla="*/ 50009 h 91189"/>
                <a:gd name="connsiteX195" fmla="*/ 18303 w 123776"/>
                <a:gd name="connsiteY195" fmla="*/ 49649 h 91189"/>
                <a:gd name="connsiteX196" fmla="*/ 19058 w 123776"/>
                <a:gd name="connsiteY196" fmla="*/ 49352 h 91189"/>
                <a:gd name="connsiteX197" fmla="*/ 24098 w 123776"/>
                <a:gd name="connsiteY197" fmla="*/ 49429 h 91189"/>
                <a:gd name="connsiteX198" fmla="*/ 24714 w 123776"/>
                <a:gd name="connsiteY198" fmla="*/ 49075 h 91189"/>
                <a:gd name="connsiteX199" fmla="*/ 25027 w 123776"/>
                <a:gd name="connsiteY199" fmla="*/ 48234 h 91189"/>
                <a:gd name="connsiteX200" fmla="*/ 25716 w 123776"/>
                <a:gd name="connsiteY200" fmla="*/ 46992 h 91189"/>
                <a:gd name="connsiteX201" fmla="*/ 26519 w 123776"/>
                <a:gd name="connsiteY201" fmla="*/ 45162 h 91189"/>
                <a:gd name="connsiteX202" fmla="*/ 26454 w 123776"/>
                <a:gd name="connsiteY202" fmla="*/ 43621 h 91189"/>
                <a:gd name="connsiteX203" fmla="*/ 21393 w 123776"/>
                <a:gd name="connsiteY203" fmla="*/ 41129 h 91189"/>
                <a:gd name="connsiteX204" fmla="*/ 17717 w 123776"/>
                <a:gd name="connsiteY204" fmla="*/ 38834 h 91189"/>
                <a:gd name="connsiteX205" fmla="*/ 15172 w 123776"/>
                <a:gd name="connsiteY205" fmla="*/ 35809 h 91189"/>
                <a:gd name="connsiteX206" fmla="*/ 13442 w 123776"/>
                <a:gd name="connsiteY206" fmla="*/ 33039 h 91189"/>
                <a:gd name="connsiteX207" fmla="*/ 13502 w 123776"/>
                <a:gd name="connsiteY207" fmla="*/ 32108 h 91189"/>
                <a:gd name="connsiteX208" fmla="*/ 13999 w 123776"/>
                <a:gd name="connsiteY208" fmla="*/ 31228 h 91189"/>
                <a:gd name="connsiteX209" fmla="*/ 17935 w 123776"/>
                <a:gd name="connsiteY209" fmla="*/ 28672 h 91189"/>
                <a:gd name="connsiteX210" fmla="*/ 18201 w 123776"/>
                <a:gd name="connsiteY210" fmla="*/ 28009 h 91189"/>
                <a:gd name="connsiteX211" fmla="*/ 18115 w 123776"/>
                <a:gd name="connsiteY211" fmla="*/ 27558 h 91189"/>
                <a:gd name="connsiteX212" fmla="*/ 16711 w 123776"/>
                <a:gd name="connsiteY212" fmla="*/ 26249 h 91189"/>
                <a:gd name="connsiteX213" fmla="*/ 14947 w 123776"/>
                <a:gd name="connsiteY213" fmla="*/ 24901 h 91189"/>
                <a:gd name="connsiteX214" fmla="*/ 14392 w 123776"/>
                <a:gd name="connsiteY214" fmla="*/ 23910 h 91189"/>
                <a:gd name="connsiteX215" fmla="*/ 13282 w 123776"/>
                <a:gd name="connsiteY215" fmla="*/ 23405 h 91189"/>
                <a:gd name="connsiteX216" fmla="*/ 11170 w 123776"/>
                <a:gd name="connsiteY216" fmla="*/ 23369 h 91189"/>
                <a:gd name="connsiteX217" fmla="*/ 7469 w 123776"/>
                <a:gd name="connsiteY217" fmla="*/ 21709 h 91189"/>
                <a:gd name="connsiteX218" fmla="*/ 6683 w 123776"/>
                <a:gd name="connsiteY218" fmla="*/ 21544 h 91189"/>
                <a:gd name="connsiteX219" fmla="*/ 6508 w 123776"/>
                <a:gd name="connsiteY219" fmla="*/ 21214 h 91189"/>
                <a:gd name="connsiteX220" fmla="*/ 6687 w 123776"/>
                <a:gd name="connsiteY220" fmla="*/ 20880 h 91189"/>
                <a:gd name="connsiteX221" fmla="*/ 9331 w 123776"/>
                <a:gd name="connsiteY221" fmla="*/ 20207 h 91189"/>
                <a:gd name="connsiteX222" fmla="*/ 9294 w 123776"/>
                <a:gd name="connsiteY222" fmla="*/ 19653 h 91189"/>
                <a:gd name="connsiteX223" fmla="*/ 8493 w 123776"/>
                <a:gd name="connsiteY223" fmla="*/ 18922 h 91189"/>
                <a:gd name="connsiteX224" fmla="*/ 6998 w 123776"/>
                <a:gd name="connsiteY224" fmla="*/ 18387 h 91189"/>
                <a:gd name="connsiteX225" fmla="*/ 5632 w 123776"/>
                <a:gd name="connsiteY225" fmla="*/ 17063 h 91189"/>
                <a:gd name="connsiteX226" fmla="*/ 5154 w 123776"/>
                <a:gd name="connsiteY226" fmla="*/ 15869 h 91189"/>
                <a:gd name="connsiteX227" fmla="*/ 9926 w 123776"/>
                <a:gd name="connsiteY227" fmla="*/ 12380 h 91189"/>
                <a:gd name="connsiteX228" fmla="*/ 11337 w 123776"/>
                <a:gd name="connsiteY228" fmla="*/ 11683 h 91189"/>
                <a:gd name="connsiteX229" fmla="*/ 14461 w 123776"/>
                <a:gd name="connsiteY229" fmla="*/ 12324 h 91189"/>
                <a:gd name="connsiteX230" fmla="*/ 20948 w 123776"/>
                <a:gd name="connsiteY230" fmla="*/ 14638 h 91189"/>
                <a:gd name="connsiteX231" fmla="*/ 20507 w 123776"/>
                <a:gd name="connsiteY231" fmla="*/ 15921 h 91189"/>
                <a:gd name="connsiteX232" fmla="*/ 21166 w 123776"/>
                <a:gd name="connsiteY232" fmla="*/ 16643 h 91189"/>
                <a:gd name="connsiteX233" fmla="*/ 22654 w 123776"/>
                <a:gd name="connsiteY233" fmla="*/ 17624 h 91189"/>
                <a:gd name="connsiteX234" fmla="*/ 25511 w 123776"/>
                <a:gd name="connsiteY234" fmla="*/ 18618 h 91189"/>
                <a:gd name="connsiteX235" fmla="*/ 27927 w 123776"/>
                <a:gd name="connsiteY235" fmla="*/ 19130 h 91189"/>
                <a:gd name="connsiteX236" fmla="*/ 29149 w 123776"/>
                <a:gd name="connsiteY236" fmla="*/ 18693 h 91189"/>
                <a:gd name="connsiteX237" fmla="*/ 31011 w 123776"/>
                <a:gd name="connsiteY237" fmla="*/ 18324 h 91189"/>
                <a:gd name="connsiteX238" fmla="*/ 33427 w 123776"/>
                <a:gd name="connsiteY238" fmla="*/ 19468 h 91189"/>
                <a:gd name="connsiteX239" fmla="*/ 35655 w 123776"/>
                <a:gd name="connsiteY239" fmla="*/ 20920 h 91189"/>
                <a:gd name="connsiteX240" fmla="*/ 36765 w 123776"/>
                <a:gd name="connsiteY240" fmla="*/ 21506 h 91189"/>
                <a:gd name="connsiteX241" fmla="*/ 37361 w 123776"/>
                <a:gd name="connsiteY241" fmla="*/ 21686 h 91189"/>
                <a:gd name="connsiteX242" fmla="*/ 39052 w 123776"/>
                <a:gd name="connsiteY242" fmla="*/ 21203 h 91189"/>
                <a:gd name="connsiteX243" fmla="*/ 41086 w 123776"/>
                <a:gd name="connsiteY243" fmla="*/ 19330 h 91189"/>
                <a:gd name="connsiteX244" fmla="*/ 41883 w 123776"/>
                <a:gd name="connsiteY244" fmla="*/ 17068 h 91189"/>
                <a:gd name="connsiteX245" fmla="*/ 42108 w 123776"/>
                <a:gd name="connsiteY245" fmla="*/ 15979 h 91189"/>
                <a:gd name="connsiteX246" fmla="*/ 40922 w 123776"/>
                <a:gd name="connsiteY246" fmla="*/ 14477 h 91189"/>
                <a:gd name="connsiteX247" fmla="*/ 38487 w 123776"/>
                <a:gd name="connsiteY247" fmla="*/ 12845 h 91189"/>
                <a:gd name="connsiteX248" fmla="*/ 35748 w 123776"/>
                <a:gd name="connsiteY248" fmla="*/ 11411 h 91189"/>
                <a:gd name="connsiteX249" fmla="*/ 33991 w 123776"/>
                <a:gd name="connsiteY249" fmla="*/ 10147 h 91189"/>
                <a:gd name="connsiteX250" fmla="*/ 32868 w 123776"/>
                <a:gd name="connsiteY250" fmla="*/ 7650 h 91189"/>
                <a:gd name="connsiteX251" fmla="*/ 31736 w 123776"/>
                <a:gd name="connsiteY251" fmla="*/ 7374 h 91189"/>
                <a:gd name="connsiteX252" fmla="*/ 31449 w 123776"/>
                <a:gd name="connsiteY252" fmla="*/ 7049 h 91189"/>
                <a:gd name="connsiteX253" fmla="*/ 31263 w 123776"/>
                <a:gd name="connsiteY253" fmla="*/ 6197 h 91189"/>
                <a:gd name="connsiteX254" fmla="*/ 31311 w 123776"/>
                <a:gd name="connsiteY254" fmla="*/ 5004 h 91189"/>
                <a:gd name="connsiteX255" fmla="*/ 31699 w 123776"/>
                <a:gd name="connsiteY255" fmla="*/ 4084 h 91189"/>
                <a:gd name="connsiteX256" fmla="*/ 32805 w 123776"/>
                <a:gd name="connsiteY256" fmla="*/ 3690 h 91189"/>
                <a:gd name="connsiteX257" fmla="*/ 33926 w 123776"/>
                <a:gd name="connsiteY257" fmla="*/ 3549 h 91189"/>
                <a:gd name="connsiteX258" fmla="*/ 34936 w 123776"/>
                <a:gd name="connsiteY258" fmla="*/ 2672 h 91189"/>
                <a:gd name="connsiteX259" fmla="*/ 36202 w 123776"/>
                <a:gd name="connsiteY259" fmla="*/ 952 h 911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</a:cxnLst>
              <a:rect l="l" t="t" r="r" b="b"/>
              <a:pathLst>
                <a:path w="123776" h="91189">
                  <a:moveTo>
                    <a:pt x="5823" y="55840"/>
                  </a:moveTo>
                  <a:lnTo>
                    <a:pt x="6815" y="56421"/>
                  </a:lnTo>
                  <a:lnTo>
                    <a:pt x="7880" y="57630"/>
                  </a:lnTo>
                  <a:lnTo>
                    <a:pt x="8410" y="58664"/>
                  </a:lnTo>
                  <a:lnTo>
                    <a:pt x="8504" y="60585"/>
                  </a:lnTo>
                  <a:lnTo>
                    <a:pt x="8940" y="60898"/>
                  </a:lnTo>
                  <a:lnTo>
                    <a:pt x="10708" y="60252"/>
                  </a:lnTo>
                  <a:lnTo>
                    <a:pt x="11498" y="61029"/>
                  </a:lnTo>
                  <a:lnTo>
                    <a:pt x="12861" y="61956"/>
                  </a:lnTo>
                  <a:lnTo>
                    <a:pt x="15226" y="62875"/>
                  </a:lnTo>
                  <a:lnTo>
                    <a:pt x="18629" y="61438"/>
                  </a:lnTo>
                  <a:lnTo>
                    <a:pt x="20324" y="61068"/>
                  </a:lnTo>
                  <a:lnTo>
                    <a:pt x="21719" y="61097"/>
                  </a:lnTo>
                  <a:lnTo>
                    <a:pt x="22470" y="61547"/>
                  </a:lnTo>
                  <a:lnTo>
                    <a:pt x="22736" y="63040"/>
                  </a:lnTo>
                  <a:lnTo>
                    <a:pt x="22464" y="64879"/>
                  </a:lnTo>
                  <a:lnTo>
                    <a:pt x="22069" y="65885"/>
                  </a:lnTo>
                  <a:lnTo>
                    <a:pt x="22784" y="66618"/>
                  </a:lnTo>
                  <a:lnTo>
                    <a:pt x="25578" y="68388"/>
                  </a:lnTo>
                  <a:lnTo>
                    <a:pt x="26737" y="69373"/>
                  </a:lnTo>
                  <a:lnTo>
                    <a:pt x="26171" y="71077"/>
                  </a:lnTo>
                  <a:lnTo>
                    <a:pt x="28251" y="75232"/>
                  </a:lnTo>
                  <a:lnTo>
                    <a:pt x="28948" y="76851"/>
                  </a:lnTo>
                  <a:lnTo>
                    <a:pt x="29767" y="78843"/>
                  </a:lnTo>
                  <a:lnTo>
                    <a:pt x="25509" y="78064"/>
                  </a:lnTo>
                  <a:lnTo>
                    <a:pt x="17839" y="76388"/>
                  </a:lnTo>
                  <a:lnTo>
                    <a:pt x="15731" y="75523"/>
                  </a:lnTo>
                  <a:lnTo>
                    <a:pt x="13731" y="73205"/>
                  </a:lnTo>
                  <a:lnTo>
                    <a:pt x="12544" y="72085"/>
                  </a:lnTo>
                  <a:lnTo>
                    <a:pt x="10784" y="70648"/>
                  </a:lnTo>
                  <a:lnTo>
                    <a:pt x="9339" y="70105"/>
                  </a:lnTo>
                  <a:lnTo>
                    <a:pt x="8247" y="69104"/>
                  </a:lnTo>
                  <a:lnTo>
                    <a:pt x="7624" y="67620"/>
                  </a:lnTo>
                  <a:lnTo>
                    <a:pt x="6709" y="66289"/>
                  </a:lnTo>
                  <a:lnTo>
                    <a:pt x="5128" y="64716"/>
                  </a:lnTo>
                  <a:lnTo>
                    <a:pt x="1546" y="59378"/>
                  </a:lnTo>
                  <a:lnTo>
                    <a:pt x="1081" y="58824"/>
                  </a:lnTo>
                  <a:lnTo>
                    <a:pt x="335" y="57934"/>
                  </a:lnTo>
                  <a:lnTo>
                    <a:pt x="0" y="57443"/>
                  </a:lnTo>
                  <a:lnTo>
                    <a:pt x="2187" y="57037"/>
                  </a:lnTo>
                  <a:close/>
                  <a:moveTo>
                    <a:pt x="16279" y="32337"/>
                  </a:moveTo>
                  <a:lnTo>
                    <a:pt x="15712" y="32770"/>
                  </a:lnTo>
                  <a:lnTo>
                    <a:pt x="15712" y="33854"/>
                  </a:lnTo>
                  <a:lnTo>
                    <a:pt x="16498" y="34049"/>
                  </a:lnTo>
                  <a:lnTo>
                    <a:pt x="17337" y="33616"/>
                  </a:lnTo>
                  <a:lnTo>
                    <a:pt x="17558" y="32748"/>
                  </a:lnTo>
                  <a:lnTo>
                    <a:pt x="16936" y="32359"/>
                  </a:lnTo>
                  <a:close/>
                  <a:moveTo>
                    <a:pt x="4999" y="21281"/>
                  </a:moveTo>
                  <a:lnTo>
                    <a:pt x="5591" y="21481"/>
                  </a:lnTo>
                  <a:lnTo>
                    <a:pt x="5759" y="22117"/>
                  </a:lnTo>
                  <a:lnTo>
                    <a:pt x="5647" y="22816"/>
                  </a:lnTo>
                  <a:lnTo>
                    <a:pt x="5169" y="23117"/>
                  </a:lnTo>
                  <a:lnTo>
                    <a:pt x="4439" y="22816"/>
                  </a:lnTo>
                  <a:lnTo>
                    <a:pt x="4215" y="22148"/>
                  </a:lnTo>
                  <a:lnTo>
                    <a:pt x="4271" y="21448"/>
                  </a:lnTo>
                  <a:close/>
                  <a:moveTo>
                    <a:pt x="36742" y="0"/>
                  </a:moveTo>
                  <a:lnTo>
                    <a:pt x="39126" y="545"/>
                  </a:lnTo>
                  <a:lnTo>
                    <a:pt x="39445" y="2086"/>
                  </a:lnTo>
                  <a:lnTo>
                    <a:pt x="39869" y="2409"/>
                  </a:lnTo>
                  <a:lnTo>
                    <a:pt x="40857" y="2228"/>
                  </a:lnTo>
                  <a:lnTo>
                    <a:pt x="42501" y="1581"/>
                  </a:lnTo>
                  <a:lnTo>
                    <a:pt x="43805" y="2078"/>
                  </a:lnTo>
                  <a:lnTo>
                    <a:pt x="45492" y="3911"/>
                  </a:lnTo>
                  <a:lnTo>
                    <a:pt x="47819" y="5844"/>
                  </a:lnTo>
                  <a:lnTo>
                    <a:pt x="49078" y="7141"/>
                  </a:lnTo>
                  <a:lnTo>
                    <a:pt x="49573" y="8037"/>
                  </a:lnTo>
                  <a:lnTo>
                    <a:pt x="50763" y="8905"/>
                  </a:lnTo>
                  <a:lnTo>
                    <a:pt x="52501" y="9926"/>
                  </a:lnTo>
                  <a:lnTo>
                    <a:pt x="53887" y="11523"/>
                  </a:lnTo>
                  <a:lnTo>
                    <a:pt x="55122" y="15233"/>
                  </a:lnTo>
                  <a:lnTo>
                    <a:pt x="56373" y="16094"/>
                  </a:lnTo>
                  <a:lnTo>
                    <a:pt x="60860" y="17502"/>
                  </a:lnTo>
                  <a:lnTo>
                    <a:pt x="62434" y="17790"/>
                  </a:lnTo>
                  <a:lnTo>
                    <a:pt x="66839" y="18287"/>
                  </a:lnTo>
                  <a:lnTo>
                    <a:pt x="68390" y="17932"/>
                  </a:lnTo>
                  <a:lnTo>
                    <a:pt x="70657" y="14734"/>
                  </a:lnTo>
                  <a:lnTo>
                    <a:pt x="72700" y="11442"/>
                  </a:lnTo>
                  <a:lnTo>
                    <a:pt x="74606" y="10753"/>
                  </a:lnTo>
                  <a:lnTo>
                    <a:pt x="78053" y="9161"/>
                  </a:lnTo>
                  <a:lnTo>
                    <a:pt x="80115" y="7657"/>
                  </a:lnTo>
                  <a:lnTo>
                    <a:pt x="80983" y="6031"/>
                  </a:lnTo>
                  <a:lnTo>
                    <a:pt x="82929" y="2959"/>
                  </a:lnTo>
                  <a:lnTo>
                    <a:pt x="84127" y="1233"/>
                  </a:lnTo>
                  <a:lnTo>
                    <a:pt x="86157" y="2767"/>
                  </a:lnTo>
                  <a:lnTo>
                    <a:pt x="89679" y="6924"/>
                  </a:lnTo>
                  <a:lnTo>
                    <a:pt x="94697" y="13679"/>
                  </a:lnTo>
                  <a:lnTo>
                    <a:pt x="95930" y="15586"/>
                  </a:lnTo>
                  <a:lnTo>
                    <a:pt x="96740" y="17799"/>
                  </a:lnTo>
                  <a:lnTo>
                    <a:pt x="97436" y="20477"/>
                  </a:lnTo>
                  <a:lnTo>
                    <a:pt x="98580" y="22844"/>
                  </a:lnTo>
                  <a:lnTo>
                    <a:pt x="103672" y="28794"/>
                  </a:lnTo>
                  <a:lnTo>
                    <a:pt x="105870" y="30987"/>
                  </a:lnTo>
                  <a:lnTo>
                    <a:pt x="109457" y="33825"/>
                  </a:lnTo>
                  <a:lnTo>
                    <a:pt x="110731" y="34457"/>
                  </a:lnTo>
                  <a:lnTo>
                    <a:pt x="112406" y="34635"/>
                  </a:lnTo>
                  <a:lnTo>
                    <a:pt x="115477" y="34645"/>
                  </a:lnTo>
                  <a:lnTo>
                    <a:pt x="118319" y="35753"/>
                  </a:lnTo>
                  <a:lnTo>
                    <a:pt x="119720" y="36532"/>
                  </a:lnTo>
                  <a:lnTo>
                    <a:pt x="121170" y="37658"/>
                  </a:lnTo>
                  <a:lnTo>
                    <a:pt x="122469" y="38955"/>
                  </a:lnTo>
                  <a:lnTo>
                    <a:pt x="123776" y="42427"/>
                  </a:lnTo>
                  <a:lnTo>
                    <a:pt x="118850" y="41283"/>
                  </a:lnTo>
                  <a:lnTo>
                    <a:pt x="113890" y="41461"/>
                  </a:lnTo>
                  <a:lnTo>
                    <a:pt x="111085" y="42207"/>
                  </a:lnTo>
                  <a:lnTo>
                    <a:pt x="108366" y="43223"/>
                  </a:lnTo>
                  <a:lnTo>
                    <a:pt x="105760" y="44656"/>
                  </a:lnTo>
                  <a:lnTo>
                    <a:pt x="104128" y="47447"/>
                  </a:lnTo>
                  <a:lnTo>
                    <a:pt x="102752" y="53896"/>
                  </a:lnTo>
                  <a:lnTo>
                    <a:pt x="100746" y="59917"/>
                  </a:lnTo>
                  <a:lnTo>
                    <a:pt x="100815" y="62700"/>
                  </a:lnTo>
                  <a:lnTo>
                    <a:pt x="101696" y="65369"/>
                  </a:lnTo>
                  <a:lnTo>
                    <a:pt x="101594" y="66635"/>
                  </a:lnTo>
                  <a:lnTo>
                    <a:pt x="100675" y="67170"/>
                  </a:lnTo>
                  <a:lnTo>
                    <a:pt x="99528" y="68304"/>
                  </a:lnTo>
                  <a:lnTo>
                    <a:pt x="97991" y="73806"/>
                  </a:lnTo>
                  <a:lnTo>
                    <a:pt x="97228" y="74902"/>
                  </a:lnTo>
                  <a:lnTo>
                    <a:pt x="96248" y="75584"/>
                  </a:lnTo>
                  <a:lnTo>
                    <a:pt x="95976" y="74933"/>
                  </a:lnTo>
                  <a:lnTo>
                    <a:pt x="96034" y="73494"/>
                  </a:lnTo>
                  <a:lnTo>
                    <a:pt x="93870" y="72219"/>
                  </a:lnTo>
                  <a:lnTo>
                    <a:pt x="92726" y="73648"/>
                  </a:lnTo>
                  <a:lnTo>
                    <a:pt x="91940" y="76673"/>
                  </a:lnTo>
                  <a:lnTo>
                    <a:pt x="90355" y="79849"/>
                  </a:lnTo>
                  <a:lnTo>
                    <a:pt x="90275" y="80455"/>
                  </a:lnTo>
                  <a:lnTo>
                    <a:pt x="90670" y="90243"/>
                  </a:lnTo>
                  <a:lnTo>
                    <a:pt x="90042" y="90198"/>
                  </a:lnTo>
                  <a:lnTo>
                    <a:pt x="85514" y="91189"/>
                  </a:lnTo>
                  <a:lnTo>
                    <a:pt x="84566" y="90871"/>
                  </a:lnTo>
                  <a:lnTo>
                    <a:pt x="80689" y="86363"/>
                  </a:lnTo>
                  <a:lnTo>
                    <a:pt x="79891" y="85863"/>
                  </a:lnTo>
                  <a:lnTo>
                    <a:pt x="78217" y="85660"/>
                  </a:lnTo>
                  <a:lnTo>
                    <a:pt x="77239" y="84918"/>
                  </a:lnTo>
                  <a:lnTo>
                    <a:pt x="76440" y="83709"/>
                  </a:lnTo>
                  <a:lnTo>
                    <a:pt x="75986" y="82808"/>
                  </a:lnTo>
                  <a:lnTo>
                    <a:pt x="71974" y="80359"/>
                  </a:lnTo>
                  <a:lnTo>
                    <a:pt x="71383" y="79463"/>
                  </a:lnTo>
                  <a:lnTo>
                    <a:pt x="71299" y="78675"/>
                  </a:lnTo>
                  <a:lnTo>
                    <a:pt x="71888" y="77964"/>
                  </a:lnTo>
                  <a:lnTo>
                    <a:pt x="72568" y="77364"/>
                  </a:lnTo>
                  <a:lnTo>
                    <a:pt x="74524" y="76754"/>
                  </a:lnTo>
                  <a:lnTo>
                    <a:pt x="76811" y="76229"/>
                  </a:lnTo>
                  <a:lnTo>
                    <a:pt x="77543" y="75850"/>
                  </a:lnTo>
                  <a:lnTo>
                    <a:pt x="77919" y="75197"/>
                  </a:lnTo>
                  <a:lnTo>
                    <a:pt x="77895" y="74152"/>
                  </a:lnTo>
                  <a:lnTo>
                    <a:pt x="77522" y="73121"/>
                  </a:lnTo>
                  <a:lnTo>
                    <a:pt x="74235" y="71245"/>
                  </a:lnTo>
                  <a:lnTo>
                    <a:pt x="73875" y="70437"/>
                  </a:lnTo>
                  <a:lnTo>
                    <a:pt x="73769" y="69445"/>
                  </a:lnTo>
                  <a:lnTo>
                    <a:pt x="73956" y="68409"/>
                  </a:lnTo>
                  <a:lnTo>
                    <a:pt x="74468" y="67599"/>
                  </a:lnTo>
                  <a:lnTo>
                    <a:pt x="77148" y="66494"/>
                  </a:lnTo>
                  <a:lnTo>
                    <a:pt x="78584" y="65351"/>
                  </a:lnTo>
                  <a:lnTo>
                    <a:pt x="77690" y="64073"/>
                  </a:lnTo>
                  <a:lnTo>
                    <a:pt x="74801" y="61160"/>
                  </a:lnTo>
                  <a:lnTo>
                    <a:pt x="71370" y="57953"/>
                  </a:lnTo>
                  <a:lnTo>
                    <a:pt x="69078" y="57923"/>
                  </a:lnTo>
                  <a:lnTo>
                    <a:pt x="66438" y="58872"/>
                  </a:lnTo>
                  <a:lnTo>
                    <a:pt x="62214" y="61606"/>
                  </a:lnTo>
                  <a:lnTo>
                    <a:pt x="59878" y="62775"/>
                  </a:lnTo>
                  <a:lnTo>
                    <a:pt x="56833" y="64707"/>
                  </a:lnTo>
                  <a:lnTo>
                    <a:pt x="53514" y="66858"/>
                  </a:lnTo>
                  <a:lnTo>
                    <a:pt x="50795" y="69140"/>
                  </a:lnTo>
                  <a:lnTo>
                    <a:pt x="49102" y="71023"/>
                  </a:lnTo>
                  <a:lnTo>
                    <a:pt x="46088" y="71845"/>
                  </a:lnTo>
                  <a:lnTo>
                    <a:pt x="44554" y="73425"/>
                  </a:lnTo>
                  <a:lnTo>
                    <a:pt x="39504" y="78155"/>
                  </a:lnTo>
                  <a:lnTo>
                    <a:pt x="38085" y="78096"/>
                  </a:lnTo>
                  <a:lnTo>
                    <a:pt x="37999" y="75750"/>
                  </a:lnTo>
                  <a:lnTo>
                    <a:pt x="38068" y="73889"/>
                  </a:lnTo>
                  <a:lnTo>
                    <a:pt x="37748" y="72817"/>
                  </a:lnTo>
                  <a:lnTo>
                    <a:pt x="36113" y="71347"/>
                  </a:lnTo>
                  <a:lnTo>
                    <a:pt x="36087" y="70712"/>
                  </a:lnTo>
                  <a:lnTo>
                    <a:pt x="36530" y="70319"/>
                  </a:lnTo>
                  <a:lnTo>
                    <a:pt x="37787" y="70557"/>
                  </a:lnTo>
                  <a:lnTo>
                    <a:pt x="39398" y="70473"/>
                  </a:lnTo>
                  <a:lnTo>
                    <a:pt x="40166" y="69897"/>
                  </a:lnTo>
                  <a:lnTo>
                    <a:pt x="38439" y="67958"/>
                  </a:lnTo>
                  <a:lnTo>
                    <a:pt x="36906" y="66661"/>
                  </a:lnTo>
                  <a:lnTo>
                    <a:pt x="35604" y="65786"/>
                  </a:lnTo>
                  <a:lnTo>
                    <a:pt x="35312" y="65262"/>
                  </a:lnTo>
                  <a:lnTo>
                    <a:pt x="35310" y="64891"/>
                  </a:lnTo>
                  <a:lnTo>
                    <a:pt x="35586" y="64448"/>
                  </a:lnTo>
                  <a:lnTo>
                    <a:pt x="37808" y="63378"/>
                  </a:lnTo>
                  <a:lnTo>
                    <a:pt x="38029" y="62398"/>
                  </a:lnTo>
                  <a:lnTo>
                    <a:pt x="37882" y="61299"/>
                  </a:lnTo>
                  <a:lnTo>
                    <a:pt x="34349" y="59681"/>
                  </a:lnTo>
                  <a:lnTo>
                    <a:pt x="31704" y="60278"/>
                  </a:lnTo>
                  <a:lnTo>
                    <a:pt x="29333" y="58459"/>
                  </a:lnTo>
                  <a:lnTo>
                    <a:pt x="27808" y="57052"/>
                  </a:lnTo>
                  <a:lnTo>
                    <a:pt x="25908" y="55543"/>
                  </a:lnTo>
                  <a:lnTo>
                    <a:pt x="24211" y="54716"/>
                  </a:lnTo>
                  <a:lnTo>
                    <a:pt x="22585" y="52821"/>
                  </a:lnTo>
                  <a:lnTo>
                    <a:pt x="19758" y="50865"/>
                  </a:lnTo>
                  <a:lnTo>
                    <a:pt x="17944" y="50309"/>
                  </a:lnTo>
                  <a:lnTo>
                    <a:pt x="17970" y="50009"/>
                  </a:lnTo>
                  <a:lnTo>
                    <a:pt x="18303" y="49649"/>
                  </a:lnTo>
                  <a:lnTo>
                    <a:pt x="19058" y="49352"/>
                  </a:lnTo>
                  <a:lnTo>
                    <a:pt x="24098" y="49429"/>
                  </a:lnTo>
                  <a:lnTo>
                    <a:pt x="24714" y="49075"/>
                  </a:lnTo>
                  <a:lnTo>
                    <a:pt x="25027" y="48234"/>
                  </a:lnTo>
                  <a:lnTo>
                    <a:pt x="25716" y="46992"/>
                  </a:lnTo>
                  <a:lnTo>
                    <a:pt x="26519" y="45162"/>
                  </a:lnTo>
                  <a:lnTo>
                    <a:pt x="26454" y="43621"/>
                  </a:lnTo>
                  <a:lnTo>
                    <a:pt x="21393" y="41129"/>
                  </a:lnTo>
                  <a:lnTo>
                    <a:pt x="17717" y="38834"/>
                  </a:lnTo>
                  <a:lnTo>
                    <a:pt x="15172" y="35809"/>
                  </a:lnTo>
                  <a:lnTo>
                    <a:pt x="13442" y="33039"/>
                  </a:lnTo>
                  <a:lnTo>
                    <a:pt x="13502" y="32108"/>
                  </a:lnTo>
                  <a:lnTo>
                    <a:pt x="13999" y="31228"/>
                  </a:lnTo>
                  <a:lnTo>
                    <a:pt x="17935" y="28672"/>
                  </a:lnTo>
                  <a:lnTo>
                    <a:pt x="18201" y="28009"/>
                  </a:lnTo>
                  <a:lnTo>
                    <a:pt x="18115" y="27558"/>
                  </a:lnTo>
                  <a:lnTo>
                    <a:pt x="16711" y="26249"/>
                  </a:lnTo>
                  <a:lnTo>
                    <a:pt x="14947" y="24901"/>
                  </a:lnTo>
                  <a:lnTo>
                    <a:pt x="14392" y="23910"/>
                  </a:lnTo>
                  <a:lnTo>
                    <a:pt x="13282" y="23405"/>
                  </a:lnTo>
                  <a:lnTo>
                    <a:pt x="11170" y="23369"/>
                  </a:lnTo>
                  <a:lnTo>
                    <a:pt x="7469" y="21709"/>
                  </a:lnTo>
                  <a:lnTo>
                    <a:pt x="6683" y="21544"/>
                  </a:lnTo>
                  <a:lnTo>
                    <a:pt x="6508" y="21214"/>
                  </a:lnTo>
                  <a:lnTo>
                    <a:pt x="6687" y="20880"/>
                  </a:lnTo>
                  <a:lnTo>
                    <a:pt x="9331" y="20207"/>
                  </a:lnTo>
                  <a:lnTo>
                    <a:pt x="9294" y="19653"/>
                  </a:lnTo>
                  <a:lnTo>
                    <a:pt x="8493" y="18922"/>
                  </a:lnTo>
                  <a:lnTo>
                    <a:pt x="6998" y="18387"/>
                  </a:lnTo>
                  <a:lnTo>
                    <a:pt x="5632" y="17063"/>
                  </a:lnTo>
                  <a:lnTo>
                    <a:pt x="5154" y="15869"/>
                  </a:lnTo>
                  <a:lnTo>
                    <a:pt x="9926" y="12380"/>
                  </a:lnTo>
                  <a:lnTo>
                    <a:pt x="11337" y="11683"/>
                  </a:lnTo>
                  <a:lnTo>
                    <a:pt x="14461" y="12324"/>
                  </a:lnTo>
                  <a:lnTo>
                    <a:pt x="20948" y="14638"/>
                  </a:lnTo>
                  <a:lnTo>
                    <a:pt x="20507" y="15921"/>
                  </a:lnTo>
                  <a:lnTo>
                    <a:pt x="21166" y="16643"/>
                  </a:lnTo>
                  <a:lnTo>
                    <a:pt x="22654" y="17624"/>
                  </a:lnTo>
                  <a:lnTo>
                    <a:pt x="25511" y="18618"/>
                  </a:lnTo>
                  <a:lnTo>
                    <a:pt x="27927" y="19130"/>
                  </a:lnTo>
                  <a:lnTo>
                    <a:pt x="29149" y="18693"/>
                  </a:lnTo>
                  <a:lnTo>
                    <a:pt x="31011" y="18324"/>
                  </a:lnTo>
                  <a:lnTo>
                    <a:pt x="33427" y="19468"/>
                  </a:lnTo>
                  <a:lnTo>
                    <a:pt x="35655" y="20920"/>
                  </a:lnTo>
                  <a:lnTo>
                    <a:pt x="36765" y="21506"/>
                  </a:lnTo>
                  <a:lnTo>
                    <a:pt x="37361" y="21686"/>
                  </a:lnTo>
                  <a:lnTo>
                    <a:pt x="39052" y="21203"/>
                  </a:lnTo>
                  <a:lnTo>
                    <a:pt x="41086" y="19330"/>
                  </a:lnTo>
                  <a:lnTo>
                    <a:pt x="41883" y="17068"/>
                  </a:lnTo>
                  <a:lnTo>
                    <a:pt x="42108" y="15979"/>
                  </a:lnTo>
                  <a:lnTo>
                    <a:pt x="40922" y="14477"/>
                  </a:lnTo>
                  <a:lnTo>
                    <a:pt x="38487" y="12845"/>
                  </a:lnTo>
                  <a:lnTo>
                    <a:pt x="35748" y="11411"/>
                  </a:lnTo>
                  <a:lnTo>
                    <a:pt x="33991" y="10147"/>
                  </a:lnTo>
                  <a:lnTo>
                    <a:pt x="32868" y="7650"/>
                  </a:lnTo>
                  <a:lnTo>
                    <a:pt x="31736" y="7374"/>
                  </a:lnTo>
                  <a:lnTo>
                    <a:pt x="31449" y="7049"/>
                  </a:lnTo>
                  <a:lnTo>
                    <a:pt x="31263" y="6197"/>
                  </a:lnTo>
                  <a:lnTo>
                    <a:pt x="31311" y="5004"/>
                  </a:lnTo>
                  <a:lnTo>
                    <a:pt x="31699" y="4084"/>
                  </a:lnTo>
                  <a:lnTo>
                    <a:pt x="32805" y="3690"/>
                  </a:lnTo>
                  <a:lnTo>
                    <a:pt x="33926" y="3549"/>
                  </a:lnTo>
                  <a:lnTo>
                    <a:pt x="34936" y="2672"/>
                  </a:lnTo>
                  <a:lnTo>
                    <a:pt x="36202" y="952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86" name="ee4p_BD_1_82333">
              <a:extLst>
                <a:ext uri="{FF2B5EF4-FFF2-40B4-BE49-F238E27FC236}">
                  <a16:creationId xmlns:a16="http://schemas.microsoft.com/office/drawing/2014/main" id="{3C07376E-D9C2-C461-96A5-5010997D064E}"/>
                </a:ext>
              </a:extLst>
            </p:cNvPr>
            <p:cNvSpPr>
              <a:spLocks noChangeAspect="1"/>
            </p:cNvSpPr>
            <p:nvPr>
              <p:custDataLst>
                <p:tags r:id="rId14"/>
              </p:custDataLst>
            </p:nvPr>
          </p:nvSpPr>
          <p:spPr>
            <a:xfrm>
              <a:off x="8959055" y="3899806"/>
              <a:ext cx="127967" cy="174412"/>
            </a:xfrm>
            <a:custGeom>
              <a:avLst/>
              <a:gdLst>
                <a:gd name="connsiteX0" fmla="*/ 85889 w 101897"/>
                <a:gd name="connsiteY0" fmla="*/ 113636 h 135199"/>
                <a:gd name="connsiteX1" fmla="*/ 86471 w 101897"/>
                <a:gd name="connsiteY1" fmla="*/ 113654 h 135199"/>
                <a:gd name="connsiteX2" fmla="*/ 86794 w 101897"/>
                <a:gd name="connsiteY2" fmla="*/ 114572 h 135199"/>
                <a:gd name="connsiteX3" fmla="*/ 87088 w 101897"/>
                <a:gd name="connsiteY3" fmla="*/ 116258 h 135199"/>
                <a:gd name="connsiteX4" fmla="*/ 86807 w 101897"/>
                <a:gd name="connsiteY4" fmla="*/ 118613 h 135199"/>
                <a:gd name="connsiteX5" fmla="*/ 85473 w 101897"/>
                <a:gd name="connsiteY5" fmla="*/ 118722 h 135199"/>
                <a:gd name="connsiteX6" fmla="*/ 84823 w 101897"/>
                <a:gd name="connsiteY6" fmla="*/ 118036 h 135199"/>
                <a:gd name="connsiteX7" fmla="*/ 85127 w 101897"/>
                <a:gd name="connsiteY7" fmla="*/ 117076 h 135199"/>
                <a:gd name="connsiteX8" fmla="*/ 84769 w 101897"/>
                <a:gd name="connsiteY8" fmla="*/ 113964 h 135199"/>
                <a:gd name="connsiteX9" fmla="*/ 84628 w 101897"/>
                <a:gd name="connsiteY9" fmla="*/ 108905 h 135199"/>
                <a:gd name="connsiteX10" fmla="*/ 84864 w 101897"/>
                <a:gd name="connsiteY10" fmla="*/ 108914 h 135199"/>
                <a:gd name="connsiteX11" fmla="*/ 85333 w 101897"/>
                <a:gd name="connsiteY11" fmla="*/ 109911 h 135199"/>
                <a:gd name="connsiteX12" fmla="*/ 85140 w 101897"/>
                <a:gd name="connsiteY12" fmla="*/ 111106 h 135199"/>
                <a:gd name="connsiteX13" fmla="*/ 84339 w 101897"/>
                <a:gd name="connsiteY13" fmla="*/ 113003 h 135199"/>
                <a:gd name="connsiteX14" fmla="*/ 83944 w 101897"/>
                <a:gd name="connsiteY14" fmla="*/ 111623 h 135199"/>
                <a:gd name="connsiteX15" fmla="*/ 84285 w 101897"/>
                <a:gd name="connsiteY15" fmla="*/ 109872 h 135199"/>
                <a:gd name="connsiteX16" fmla="*/ 67576 w 101897"/>
                <a:gd name="connsiteY16" fmla="*/ 95142 h 135199"/>
                <a:gd name="connsiteX17" fmla="*/ 69318 w 101897"/>
                <a:gd name="connsiteY17" fmla="*/ 98729 h 135199"/>
                <a:gd name="connsiteX18" fmla="*/ 69759 w 101897"/>
                <a:gd name="connsiteY18" fmla="*/ 100643 h 135199"/>
                <a:gd name="connsiteX19" fmla="*/ 69152 w 101897"/>
                <a:gd name="connsiteY19" fmla="*/ 103147 h 135199"/>
                <a:gd name="connsiteX20" fmla="*/ 66807 w 101897"/>
                <a:gd name="connsiteY20" fmla="*/ 104773 h 135199"/>
                <a:gd name="connsiteX21" fmla="*/ 75902 w 101897"/>
                <a:gd name="connsiteY21" fmla="*/ 92892 h 135199"/>
                <a:gd name="connsiteX22" fmla="*/ 76520 w 101897"/>
                <a:gd name="connsiteY22" fmla="*/ 93821 h 135199"/>
                <a:gd name="connsiteX23" fmla="*/ 77384 w 101897"/>
                <a:gd name="connsiteY23" fmla="*/ 95817 h 135199"/>
                <a:gd name="connsiteX24" fmla="*/ 77943 w 101897"/>
                <a:gd name="connsiteY24" fmla="*/ 97335 h 135199"/>
                <a:gd name="connsiteX25" fmla="*/ 78129 w 101897"/>
                <a:gd name="connsiteY25" fmla="*/ 98338 h 135199"/>
                <a:gd name="connsiteX26" fmla="*/ 77105 w 101897"/>
                <a:gd name="connsiteY26" fmla="*/ 99023 h 135199"/>
                <a:gd name="connsiteX27" fmla="*/ 76142 w 101897"/>
                <a:gd name="connsiteY27" fmla="*/ 98427 h 135199"/>
                <a:gd name="connsiteX28" fmla="*/ 74913 w 101897"/>
                <a:gd name="connsiteY28" fmla="*/ 96166 h 135199"/>
                <a:gd name="connsiteX29" fmla="*/ 75523 w 101897"/>
                <a:gd name="connsiteY29" fmla="*/ 93303 h 135199"/>
                <a:gd name="connsiteX30" fmla="*/ 56895 w 101897"/>
                <a:gd name="connsiteY30" fmla="*/ 87142 h 135199"/>
                <a:gd name="connsiteX31" fmla="*/ 58571 w 101897"/>
                <a:gd name="connsiteY31" fmla="*/ 88314 h 135199"/>
                <a:gd name="connsiteX32" fmla="*/ 58809 w 101897"/>
                <a:gd name="connsiteY32" fmla="*/ 88963 h 135199"/>
                <a:gd name="connsiteX33" fmla="*/ 59167 w 101897"/>
                <a:gd name="connsiteY33" fmla="*/ 90634 h 135199"/>
                <a:gd name="connsiteX34" fmla="*/ 60001 w 101897"/>
                <a:gd name="connsiteY34" fmla="*/ 92374 h 135199"/>
                <a:gd name="connsiteX35" fmla="*/ 62903 w 101897"/>
                <a:gd name="connsiteY35" fmla="*/ 95953 h 135199"/>
                <a:gd name="connsiteX36" fmla="*/ 62851 w 101897"/>
                <a:gd name="connsiteY36" fmla="*/ 98144 h 135199"/>
                <a:gd name="connsiteX37" fmla="*/ 62056 w 101897"/>
                <a:gd name="connsiteY37" fmla="*/ 103501 h 135199"/>
                <a:gd name="connsiteX38" fmla="*/ 60901 w 101897"/>
                <a:gd name="connsiteY38" fmla="*/ 105141 h 135199"/>
                <a:gd name="connsiteX39" fmla="*/ 57053 w 101897"/>
                <a:gd name="connsiteY39" fmla="*/ 105955 h 135199"/>
                <a:gd name="connsiteX40" fmla="*/ 55094 w 101897"/>
                <a:gd name="connsiteY40" fmla="*/ 105702 h 135199"/>
                <a:gd name="connsiteX41" fmla="*/ 58752 w 101897"/>
                <a:gd name="connsiteY41" fmla="*/ 99610 h 135199"/>
                <a:gd name="connsiteX42" fmla="*/ 58630 w 101897"/>
                <a:gd name="connsiteY42" fmla="*/ 96880 h 135199"/>
                <a:gd name="connsiteX43" fmla="*/ 58062 w 101897"/>
                <a:gd name="connsiteY43" fmla="*/ 94655 h 135199"/>
                <a:gd name="connsiteX44" fmla="*/ 56198 w 101897"/>
                <a:gd name="connsiteY44" fmla="*/ 92866 h 135199"/>
                <a:gd name="connsiteX45" fmla="*/ 56097 w 101897"/>
                <a:gd name="connsiteY45" fmla="*/ 91587 h 135199"/>
                <a:gd name="connsiteX46" fmla="*/ 55261 w 101897"/>
                <a:gd name="connsiteY46" fmla="*/ 89843 h 135199"/>
                <a:gd name="connsiteX47" fmla="*/ 54827 w 101897"/>
                <a:gd name="connsiteY47" fmla="*/ 87798 h 135199"/>
                <a:gd name="connsiteX48" fmla="*/ 56528 w 101897"/>
                <a:gd name="connsiteY48" fmla="*/ 83136 h 135199"/>
                <a:gd name="connsiteX49" fmla="*/ 57897 w 101897"/>
                <a:gd name="connsiteY49" fmla="*/ 84825 h 135199"/>
                <a:gd name="connsiteX50" fmla="*/ 58290 w 101897"/>
                <a:gd name="connsiteY50" fmla="*/ 85826 h 135199"/>
                <a:gd name="connsiteX51" fmla="*/ 57059 w 101897"/>
                <a:gd name="connsiteY51" fmla="*/ 85231 h 135199"/>
                <a:gd name="connsiteX52" fmla="*/ 56140 w 101897"/>
                <a:gd name="connsiteY52" fmla="*/ 84535 h 135199"/>
                <a:gd name="connsiteX53" fmla="*/ 55566 w 101897"/>
                <a:gd name="connsiteY53" fmla="*/ 83616 h 135199"/>
                <a:gd name="connsiteX54" fmla="*/ 8728 w 101897"/>
                <a:gd name="connsiteY54" fmla="*/ 0 h 135199"/>
                <a:gd name="connsiteX55" fmla="*/ 10942 w 101897"/>
                <a:gd name="connsiteY55" fmla="*/ 1275 h 135199"/>
                <a:gd name="connsiteX56" fmla="*/ 13194 w 101897"/>
                <a:gd name="connsiteY56" fmla="*/ 3341 h 135199"/>
                <a:gd name="connsiteX57" fmla="*/ 14533 w 101897"/>
                <a:gd name="connsiteY57" fmla="*/ 5183 h 135199"/>
                <a:gd name="connsiteX58" fmla="*/ 14580 w 101897"/>
                <a:gd name="connsiteY58" fmla="*/ 6635 h 135199"/>
                <a:gd name="connsiteX59" fmla="*/ 15450 w 101897"/>
                <a:gd name="connsiteY59" fmla="*/ 6868 h 135199"/>
                <a:gd name="connsiteX60" fmla="*/ 16329 w 101897"/>
                <a:gd name="connsiteY60" fmla="*/ 6926 h 135199"/>
                <a:gd name="connsiteX61" fmla="*/ 17791 w 101897"/>
                <a:gd name="connsiteY61" fmla="*/ 7570 h 135199"/>
                <a:gd name="connsiteX62" fmla="*/ 19305 w 101897"/>
                <a:gd name="connsiteY62" fmla="*/ 7374 h 135199"/>
                <a:gd name="connsiteX63" fmla="*/ 20283 w 101897"/>
                <a:gd name="connsiteY63" fmla="*/ 7732 h 135199"/>
                <a:gd name="connsiteX64" fmla="*/ 20940 w 101897"/>
                <a:gd name="connsiteY64" fmla="*/ 7601 h 135199"/>
                <a:gd name="connsiteX65" fmla="*/ 21186 w 101897"/>
                <a:gd name="connsiteY65" fmla="*/ 6767 h 135199"/>
                <a:gd name="connsiteX66" fmla="*/ 20449 w 101897"/>
                <a:gd name="connsiteY66" fmla="*/ 5538 h 135199"/>
                <a:gd name="connsiteX67" fmla="*/ 19916 w 101897"/>
                <a:gd name="connsiteY67" fmla="*/ 4659 h 135199"/>
                <a:gd name="connsiteX68" fmla="*/ 20531 w 101897"/>
                <a:gd name="connsiteY68" fmla="*/ 3781 h 135199"/>
                <a:gd name="connsiteX69" fmla="*/ 21227 w 101897"/>
                <a:gd name="connsiteY69" fmla="*/ 3605 h 135199"/>
                <a:gd name="connsiteX70" fmla="*/ 22007 w 101897"/>
                <a:gd name="connsiteY70" fmla="*/ 3825 h 135199"/>
                <a:gd name="connsiteX71" fmla="*/ 23071 w 101897"/>
                <a:gd name="connsiteY71" fmla="*/ 4616 h 135199"/>
                <a:gd name="connsiteX72" fmla="*/ 23848 w 101897"/>
                <a:gd name="connsiteY72" fmla="*/ 6240 h 135199"/>
                <a:gd name="connsiteX73" fmla="*/ 23989 w 101897"/>
                <a:gd name="connsiteY73" fmla="*/ 8753 h 135199"/>
                <a:gd name="connsiteX74" fmla="*/ 25716 w 101897"/>
                <a:gd name="connsiteY74" fmla="*/ 11033 h 135199"/>
                <a:gd name="connsiteX75" fmla="*/ 27990 w 101897"/>
                <a:gd name="connsiteY75" fmla="*/ 12650 h 135199"/>
                <a:gd name="connsiteX76" fmla="*/ 29770 w 101897"/>
                <a:gd name="connsiteY76" fmla="*/ 13395 h 135199"/>
                <a:gd name="connsiteX77" fmla="*/ 31918 w 101897"/>
                <a:gd name="connsiteY77" fmla="*/ 13929 h 135199"/>
                <a:gd name="connsiteX78" fmla="*/ 33753 w 101897"/>
                <a:gd name="connsiteY78" fmla="*/ 13415 h 135199"/>
                <a:gd name="connsiteX79" fmla="*/ 34671 w 101897"/>
                <a:gd name="connsiteY79" fmla="*/ 11827 h 135199"/>
                <a:gd name="connsiteX80" fmla="*/ 34258 w 101897"/>
                <a:gd name="connsiteY80" fmla="*/ 10409 h 135199"/>
                <a:gd name="connsiteX81" fmla="*/ 34546 w 101897"/>
                <a:gd name="connsiteY81" fmla="*/ 9137 h 135199"/>
                <a:gd name="connsiteX82" fmla="*/ 35282 w 101897"/>
                <a:gd name="connsiteY82" fmla="*/ 8435 h 135199"/>
                <a:gd name="connsiteX83" fmla="*/ 36429 w 101897"/>
                <a:gd name="connsiteY83" fmla="*/ 8479 h 135199"/>
                <a:gd name="connsiteX84" fmla="*/ 37290 w 101897"/>
                <a:gd name="connsiteY84" fmla="*/ 9487 h 135199"/>
                <a:gd name="connsiteX85" fmla="*/ 39791 w 101897"/>
                <a:gd name="connsiteY85" fmla="*/ 14925 h 135199"/>
                <a:gd name="connsiteX86" fmla="*/ 39274 w 101897"/>
                <a:gd name="connsiteY86" fmla="*/ 17332 h 135199"/>
                <a:gd name="connsiteX87" fmla="*/ 39834 w 101897"/>
                <a:gd name="connsiteY87" fmla="*/ 23932 h 135199"/>
                <a:gd name="connsiteX88" fmla="*/ 39202 w 101897"/>
                <a:gd name="connsiteY88" fmla="*/ 28280 h 135199"/>
                <a:gd name="connsiteX89" fmla="*/ 39303 w 101897"/>
                <a:gd name="connsiteY89" fmla="*/ 29215 h 135199"/>
                <a:gd name="connsiteX90" fmla="*/ 39595 w 101897"/>
                <a:gd name="connsiteY90" fmla="*/ 29940 h 135199"/>
                <a:gd name="connsiteX91" fmla="*/ 40020 w 101897"/>
                <a:gd name="connsiteY91" fmla="*/ 30237 h 135199"/>
                <a:gd name="connsiteX92" fmla="*/ 40750 w 101897"/>
                <a:gd name="connsiteY92" fmla="*/ 30228 h 135199"/>
                <a:gd name="connsiteX93" fmla="*/ 43790 w 101897"/>
                <a:gd name="connsiteY93" fmla="*/ 31048 h 135199"/>
                <a:gd name="connsiteX94" fmla="*/ 46352 w 101897"/>
                <a:gd name="connsiteY94" fmla="*/ 31953 h 135199"/>
                <a:gd name="connsiteX95" fmla="*/ 49243 w 101897"/>
                <a:gd name="connsiteY95" fmla="*/ 32777 h 135199"/>
                <a:gd name="connsiteX96" fmla="*/ 53421 w 101897"/>
                <a:gd name="connsiteY96" fmla="*/ 33419 h 135199"/>
                <a:gd name="connsiteX97" fmla="*/ 55984 w 101897"/>
                <a:gd name="connsiteY97" fmla="*/ 33210 h 135199"/>
                <a:gd name="connsiteX98" fmla="*/ 57262 w 101897"/>
                <a:gd name="connsiteY98" fmla="*/ 33183 h 135199"/>
                <a:gd name="connsiteX99" fmla="*/ 59851 w 101897"/>
                <a:gd name="connsiteY99" fmla="*/ 33378 h 135199"/>
                <a:gd name="connsiteX100" fmla="*/ 66665 w 101897"/>
                <a:gd name="connsiteY100" fmla="*/ 33034 h 135199"/>
                <a:gd name="connsiteX101" fmla="*/ 72300 w 101897"/>
                <a:gd name="connsiteY101" fmla="*/ 32942 h 135199"/>
                <a:gd name="connsiteX102" fmla="*/ 74589 w 101897"/>
                <a:gd name="connsiteY102" fmla="*/ 33563 h 135199"/>
                <a:gd name="connsiteX103" fmla="*/ 76425 w 101897"/>
                <a:gd name="connsiteY103" fmla="*/ 33786 h 135199"/>
                <a:gd name="connsiteX104" fmla="*/ 82700 w 101897"/>
                <a:gd name="connsiteY104" fmla="*/ 33350 h 135199"/>
                <a:gd name="connsiteX105" fmla="*/ 89030 w 101897"/>
                <a:gd name="connsiteY105" fmla="*/ 33142 h 135199"/>
                <a:gd name="connsiteX106" fmla="*/ 92456 w 101897"/>
                <a:gd name="connsiteY106" fmla="*/ 34521 h 135199"/>
                <a:gd name="connsiteX107" fmla="*/ 96188 w 101897"/>
                <a:gd name="connsiteY107" fmla="*/ 36776 h 135199"/>
                <a:gd name="connsiteX108" fmla="*/ 98286 w 101897"/>
                <a:gd name="connsiteY108" fmla="*/ 38446 h 135199"/>
                <a:gd name="connsiteX109" fmla="*/ 98665 w 101897"/>
                <a:gd name="connsiteY109" fmla="*/ 39406 h 135199"/>
                <a:gd name="connsiteX110" fmla="*/ 98434 w 101897"/>
                <a:gd name="connsiteY110" fmla="*/ 40225 h 135199"/>
                <a:gd name="connsiteX111" fmla="*/ 97730 w 101897"/>
                <a:gd name="connsiteY111" fmla="*/ 40674 h 135199"/>
                <a:gd name="connsiteX112" fmla="*/ 96442 w 101897"/>
                <a:gd name="connsiteY112" fmla="*/ 40689 h 135199"/>
                <a:gd name="connsiteX113" fmla="*/ 93486 w 101897"/>
                <a:gd name="connsiteY113" fmla="*/ 39600 h 135199"/>
                <a:gd name="connsiteX114" fmla="*/ 92979 w 101897"/>
                <a:gd name="connsiteY114" fmla="*/ 39923 h 135199"/>
                <a:gd name="connsiteX115" fmla="*/ 93029 w 101897"/>
                <a:gd name="connsiteY115" fmla="*/ 42159 h 135199"/>
                <a:gd name="connsiteX116" fmla="*/ 92942 w 101897"/>
                <a:gd name="connsiteY116" fmla="*/ 42517 h 135199"/>
                <a:gd name="connsiteX117" fmla="*/ 92309 w 101897"/>
                <a:gd name="connsiteY117" fmla="*/ 44521 h 135199"/>
                <a:gd name="connsiteX118" fmla="*/ 90528 w 101897"/>
                <a:gd name="connsiteY118" fmla="*/ 49024 h 135199"/>
                <a:gd name="connsiteX119" fmla="*/ 90185 w 101897"/>
                <a:gd name="connsiteY119" fmla="*/ 51040 h 135199"/>
                <a:gd name="connsiteX120" fmla="*/ 89811 w 101897"/>
                <a:gd name="connsiteY120" fmla="*/ 51553 h 135199"/>
                <a:gd name="connsiteX121" fmla="*/ 89349 w 101897"/>
                <a:gd name="connsiteY121" fmla="*/ 51830 h 135199"/>
                <a:gd name="connsiteX122" fmla="*/ 87954 w 101897"/>
                <a:gd name="connsiteY122" fmla="*/ 51912 h 135199"/>
                <a:gd name="connsiteX123" fmla="*/ 86861 w 101897"/>
                <a:gd name="connsiteY123" fmla="*/ 52244 h 135199"/>
                <a:gd name="connsiteX124" fmla="*/ 86406 w 101897"/>
                <a:gd name="connsiteY124" fmla="*/ 52976 h 135199"/>
                <a:gd name="connsiteX125" fmla="*/ 85697 w 101897"/>
                <a:gd name="connsiteY125" fmla="*/ 54496 h 135199"/>
                <a:gd name="connsiteX126" fmla="*/ 85210 w 101897"/>
                <a:gd name="connsiteY126" fmla="*/ 56029 h 135199"/>
                <a:gd name="connsiteX127" fmla="*/ 84529 w 101897"/>
                <a:gd name="connsiteY127" fmla="*/ 56498 h 135199"/>
                <a:gd name="connsiteX128" fmla="*/ 82899 w 101897"/>
                <a:gd name="connsiteY128" fmla="*/ 55669 h 135199"/>
                <a:gd name="connsiteX129" fmla="*/ 81884 w 101897"/>
                <a:gd name="connsiteY129" fmla="*/ 55800 h 135199"/>
                <a:gd name="connsiteX130" fmla="*/ 80605 w 101897"/>
                <a:gd name="connsiteY130" fmla="*/ 56151 h 135199"/>
                <a:gd name="connsiteX131" fmla="*/ 79332 w 101897"/>
                <a:gd name="connsiteY131" fmla="*/ 57024 h 135199"/>
                <a:gd name="connsiteX132" fmla="*/ 78453 w 101897"/>
                <a:gd name="connsiteY132" fmla="*/ 58108 h 135199"/>
                <a:gd name="connsiteX133" fmla="*/ 77457 w 101897"/>
                <a:gd name="connsiteY133" fmla="*/ 58478 h 135199"/>
                <a:gd name="connsiteX134" fmla="*/ 74501 w 101897"/>
                <a:gd name="connsiteY134" fmla="*/ 58260 h 135199"/>
                <a:gd name="connsiteX135" fmla="*/ 73935 w 101897"/>
                <a:gd name="connsiteY135" fmla="*/ 58414 h 135199"/>
                <a:gd name="connsiteX136" fmla="*/ 73561 w 101897"/>
                <a:gd name="connsiteY136" fmla="*/ 59187 h 135199"/>
                <a:gd name="connsiteX137" fmla="*/ 73257 w 101897"/>
                <a:gd name="connsiteY137" fmla="*/ 60164 h 135199"/>
                <a:gd name="connsiteX138" fmla="*/ 70948 w 101897"/>
                <a:gd name="connsiteY138" fmla="*/ 62466 h 135199"/>
                <a:gd name="connsiteX139" fmla="*/ 70074 w 101897"/>
                <a:gd name="connsiteY139" fmla="*/ 66153 h 135199"/>
                <a:gd name="connsiteX140" fmla="*/ 69366 w 101897"/>
                <a:gd name="connsiteY140" fmla="*/ 68543 h 135199"/>
                <a:gd name="connsiteX141" fmla="*/ 69478 w 101897"/>
                <a:gd name="connsiteY141" fmla="*/ 70404 h 135199"/>
                <a:gd name="connsiteX142" fmla="*/ 71431 w 101897"/>
                <a:gd name="connsiteY142" fmla="*/ 75248 h 135199"/>
                <a:gd name="connsiteX143" fmla="*/ 72789 w 101897"/>
                <a:gd name="connsiteY143" fmla="*/ 81529 h 135199"/>
                <a:gd name="connsiteX144" fmla="*/ 73311 w 101897"/>
                <a:gd name="connsiteY144" fmla="*/ 82168 h 135199"/>
                <a:gd name="connsiteX145" fmla="*/ 73765 w 101897"/>
                <a:gd name="connsiteY145" fmla="*/ 82369 h 135199"/>
                <a:gd name="connsiteX146" fmla="*/ 73970 w 101897"/>
                <a:gd name="connsiteY146" fmla="*/ 82225 h 135199"/>
                <a:gd name="connsiteX147" fmla="*/ 73929 w 101897"/>
                <a:gd name="connsiteY147" fmla="*/ 80921 h 135199"/>
                <a:gd name="connsiteX148" fmla="*/ 74013 w 101897"/>
                <a:gd name="connsiteY148" fmla="*/ 79347 h 135199"/>
                <a:gd name="connsiteX149" fmla="*/ 74650 w 101897"/>
                <a:gd name="connsiteY149" fmla="*/ 78976 h 135199"/>
                <a:gd name="connsiteX150" fmla="*/ 75464 w 101897"/>
                <a:gd name="connsiteY150" fmla="*/ 79302 h 135199"/>
                <a:gd name="connsiteX151" fmla="*/ 76241 w 101897"/>
                <a:gd name="connsiteY151" fmla="*/ 80670 h 135199"/>
                <a:gd name="connsiteX152" fmla="*/ 77123 w 101897"/>
                <a:gd name="connsiteY152" fmla="*/ 83177 h 135199"/>
                <a:gd name="connsiteX153" fmla="*/ 78057 w 101897"/>
                <a:gd name="connsiteY153" fmla="*/ 84159 h 135199"/>
                <a:gd name="connsiteX154" fmla="*/ 79517 w 101897"/>
                <a:gd name="connsiteY154" fmla="*/ 84436 h 135199"/>
                <a:gd name="connsiteX155" fmla="*/ 81184 w 101897"/>
                <a:gd name="connsiteY155" fmla="*/ 83850 h 135199"/>
                <a:gd name="connsiteX156" fmla="*/ 82424 w 101897"/>
                <a:gd name="connsiteY156" fmla="*/ 82715 h 135199"/>
                <a:gd name="connsiteX157" fmla="*/ 82929 w 101897"/>
                <a:gd name="connsiteY157" fmla="*/ 81489 h 135199"/>
                <a:gd name="connsiteX158" fmla="*/ 82577 w 101897"/>
                <a:gd name="connsiteY158" fmla="*/ 79071 h 135199"/>
                <a:gd name="connsiteX159" fmla="*/ 82495 w 101897"/>
                <a:gd name="connsiteY159" fmla="*/ 77263 h 135199"/>
                <a:gd name="connsiteX160" fmla="*/ 83287 w 101897"/>
                <a:gd name="connsiteY160" fmla="*/ 75542 h 135199"/>
                <a:gd name="connsiteX161" fmla="*/ 86142 w 101897"/>
                <a:gd name="connsiteY161" fmla="*/ 72974 h 135199"/>
                <a:gd name="connsiteX162" fmla="*/ 86557 w 101897"/>
                <a:gd name="connsiteY162" fmla="*/ 72188 h 135199"/>
                <a:gd name="connsiteX163" fmla="*/ 86371 w 101897"/>
                <a:gd name="connsiteY163" fmla="*/ 70002 h 135199"/>
                <a:gd name="connsiteX164" fmla="*/ 86373 w 101897"/>
                <a:gd name="connsiteY164" fmla="*/ 67951 h 135199"/>
                <a:gd name="connsiteX165" fmla="*/ 87455 w 101897"/>
                <a:gd name="connsiteY165" fmla="*/ 67810 h 135199"/>
                <a:gd name="connsiteX166" fmla="*/ 88904 w 101897"/>
                <a:gd name="connsiteY166" fmla="*/ 68143 h 135199"/>
                <a:gd name="connsiteX167" fmla="*/ 90740 w 101897"/>
                <a:gd name="connsiteY167" fmla="*/ 67132 h 135199"/>
                <a:gd name="connsiteX168" fmla="*/ 91299 w 101897"/>
                <a:gd name="connsiteY168" fmla="*/ 67112 h 135199"/>
                <a:gd name="connsiteX169" fmla="*/ 92067 w 101897"/>
                <a:gd name="connsiteY169" fmla="*/ 68195 h 135199"/>
                <a:gd name="connsiteX170" fmla="*/ 93372 w 101897"/>
                <a:gd name="connsiteY170" fmla="*/ 68007 h 135199"/>
                <a:gd name="connsiteX171" fmla="*/ 94328 w 101897"/>
                <a:gd name="connsiteY171" fmla="*/ 72473 h 135199"/>
                <a:gd name="connsiteX172" fmla="*/ 95320 w 101897"/>
                <a:gd name="connsiteY172" fmla="*/ 76411 h 135199"/>
                <a:gd name="connsiteX173" fmla="*/ 95311 w 101897"/>
                <a:gd name="connsiteY173" fmla="*/ 78311 h 135199"/>
                <a:gd name="connsiteX174" fmla="*/ 95475 w 101897"/>
                <a:gd name="connsiteY174" fmla="*/ 82335 h 135199"/>
                <a:gd name="connsiteX175" fmla="*/ 95926 w 101897"/>
                <a:gd name="connsiteY175" fmla="*/ 85617 h 135199"/>
                <a:gd name="connsiteX176" fmla="*/ 96624 w 101897"/>
                <a:gd name="connsiteY176" fmla="*/ 86362 h 135199"/>
                <a:gd name="connsiteX177" fmla="*/ 97448 w 101897"/>
                <a:gd name="connsiteY177" fmla="*/ 88113 h 135199"/>
                <a:gd name="connsiteX178" fmla="*/ 98200 w 101897"/>
                <a:gd name="connsiteY178" fmla="*/ 90147 h 135199"/>
                <a:gd name="connsiteX179" fmla="*/ 98796 w 101897"/>
                <a:gd name="connsiteY179" fmla="*/ 91289 h 135199"/>
                <a:gd name="connsiteX180" fmla="*/ 99198 w 101897"/>
                <a:gd name="connsiteY180" fmla="*/ 95004 h 135199"/>
                <a:gd name="connsiteX181" fmla="*/ 99690 w 101897"/>
                <a:gd name="connsiteY181" fmla="*/ 97686 h 135199"/>
                <a:gd name="connsiteX182" fmla="*/ 100340 w 101897"/>
                <a:gd name="connsiteY182" fmla="*/ 106098 h 135199"/>
                <a:gd name="connsiteX183" fmla="*/ 100643 w 101897"/>
                <a:gd name="connsiteY183" fmla="*/ 107722 h 135199"/>
                <a:gd name="connsiteX184" fmla="*/ 100817 w 101897"/>
                <a:gd name="connsiteY184" fmla="*/ 108597 h 135199"/>
                <a:gd name="connsiteX185" fmla="*/ 100850 w 101897"/>
                <a:gd name="connsiteY185" fmla="*/ 116275 h 135199"/>
                <a:gd name="connsiteX186" fmla="*/ 101053 w 101897"/>
                <a:gd name="connsiteY186" fmla="*/ 119555 h 135199"/>
                <a:gd name="connsiteX187" fmla="*/ 101757 w 101897"/>
                <a:gd name="connsiteY187" fmla="*/ 122253 h 135199"/>
                <a:gd name="connsiteX188" fmla="*/ 101897 w 101897"/>
                <a:gd name="connsiteY188" fmla="*/ 123283 h 135199"/>
                <a:gd name="connsiteX189" fmla="*/ 101193 w 101897"/>
                <a:gd name="connsiteY189" fmla="*/ 124117 h 135199"/>
                <a:gd name="connsiteX190" fmla="*/ 100502 w 101897"/>
                <a:gd name="connsiteY190" fmla="*/ 124274 h 135199"/>
                <a:gd name="connsiteX191" fmla="*/ 99852 w 101897"/>
                <a:gd name="connsiteY191" fmla="*/ 122968 h 135199"/>
                <a:gd name="connsiteX192" fmla="*/ 98365 w 101897"/>
                <a:gd name="connsiteY192" fmla="*/ 121970 h 135199"/>
                <a:gd name="connsiteX193" fmla="*/ 96170 w 101897"/>
                <a:gd name="connsiteY193" fmla="*/ 120905 h 135199"/>
                <a:gd name="connsiteX194" fmla="*/ 95240 w 101897"/>
                <a:gd name="connsiteY194" fmla="*/ 120193 h 135199"/>
                <a:gd name="connsiteX195" fmla="*/ 94115 w 101897"/>
                <a:gd name="connsiteY195" fmla="*/ 120475 h 135199"/>
                <a:gd name="connsiteX196" fmla="*/ 92534 w 101897"/>
                <a:gd name="connsiteY196" fmla="*/ 122088 h 135199"/>
                <a:gd name="connsiteX197" fmla="*/ 91901 w 101897"/>
                <a:gd name="connsiteY197" fmla="*/ 123586 h 135199"/>
                <a:gd name="connsiteX198" fmla="*/ 92176 w 101897"/>
                <a:gd name="connsiteY198" fmla="*/ 125687 h 135199"/>
                <a:gd name="connsiteX199" fmla="*/ 92679 w 101897"/>
                <a:gd name="connsiteY199" fmla="*/ 127757 h 135199"/>
                <a:gd name="connsiteX200" fmla="*/ 93778 w 101897"/>
                <a:gd name="connsiteY200" fmla="*/ 128940 h 135199"/>
                <a:gd name="connsiteX201" fmla="*/ 93866 w 101897"/>
                <a:gd name="connsiteY201" fmla="*/ 130252 h 135199"/>
                <a:gd name="connsiteX202" fmla="*/ 94259 w 101897"/>
                <a:gd name="connsiteY202" fmla="*/ 131940 h 135199"/>
                <a:gd name="connsiteX203" fmla="*/ 94827 w 101897"/>
                <a:gd name="connsiteY203" fmla="*/ 133491 h 135199"/>
                <a:gd name="connsiteX204" fmla="*/ 95097 w 101897"/>
                <a:gd name="connsiteY204" fmla="*/ 135166 h 135199"/>
                <a:gd name="connsiteX205" fmla="*/ 94737 w 101897"/>
                <a:gd name="connsiteY205" fmla="*/ 135199 h 135199"/>
                <a:gd name="connsiteX206" fmla="*/ 93417 w 101897"/>
                <a:gd name="connsiteY206" fmla="*/ 133048 h 135199"/>
                <a:gd name="connsiteX207" fmla="*/ 92234 w 101897"/>
                <a:gd name="connsiteY207" fmla="*/ 130724 h 135199"/>
                <a:gd name="connsiteX208" fmla="*/ 89170 w 101897"/>
                <a:gd name="connsiteY208" fmla="*/ 126321 h 135199"/>
                <a:gd name="connsiteX209" fmla="*/ 88172 w 101897"/>
                <a:gd name="connsiteY209" fmla="*/ 118423 h 135199"/>
                <a:gd name="connsiteX210" fmla="*/ 88107 w 101897"/>
                <a:gd name="connsiteY210" fmla="*/ 114521 h 135199"/>
                <a:gd name="connsiteX211" fmla="*/ 86010 w 101897"/>
                <a:gd name="connsiteY211" fmla="*/ 109925 h 135199"/>
                <a:gd name="connsiteX212" fmla="*/ 84614 w 101897"/>
                <a:gd name="connsiteY212" fmla="*/ 103561 h 135199"/>
                <a:gd name="connsiteX213" fmla="*/ 84056 w 101897"/>
                <a:gd name="connsiteY213" fmla="*/ 101906 h 135199"/>
                <a:gd name="connsiteX214" fmla="*/ 84786 w 101897"/>
                <a:gd name="connsiteY214" fmla="*/ 99846 h 135199"/>
                <a:gd name="connsiteX215" fmla="*/ 84909 w 101897"/>
                <a:gd name="connsiteY215" fmla="*/ 99076 h 135199"/>
                <a:gd name="connsiteX216" fmla="*/ 84512 w 101897"/>
                <a:gd name="connsiteY216" fmla="*/ 99247 h 135199"/>
                <a:gd name="connsiteX217" fmla="*/ 83443 w 101897"/>
                <a:gd name="connsiteY217" fmla="*/ 100308 h 135199"/>
                <a:gd name="connsiteX218" fmla="*/ 82050 w 101897"/>
                <a:gd name="connsiteY218" fmla="*/ 97770 h 135199"/>
                <a:gd name="connsiteX219" fmla="*/ 81141 w 101897"/>
                <a:gd name="connsiteY219" fmla="*/ 95490 h 135199"/>
                <a:gd name="connsiteX220" fmla="*/ 77530 w 101897"/>
                <a:gd name="connsiteY220" fmla="*/ 90770 h 135199"/>
                <a:gd name="connsiteX221" fmla="*/ 76479 w 101897"/>
                <a:gd name="connsiteY221" fmla="*/ 88681 h 135199"/>
                <a:gd name="connsiteX222" fmla="*/ 76433 w 101897"/>
                <a:gd name="connsiteY222" fmla="*/ 86646 h 135199"/>
                <a:gd name="connsiteX223" fmla="*/ 74875 w 101897"/>
                <a:gd name="connsiteY223" fmla="*/ 88691 h 135199"/>
                <a:gd name="connsiteX224" fmla="*/ 72756 w 101897"/>
                <a:gd name="connsiteY224" fmla="*/ 90130 h 135199"/>
                <a:gd name="connsiteX225" fmla="*/ 70599 w 101897"/>
                <a:gd name="connsiteY225" fmla="*/ 92293 h 135199"/>
                <a:gd name="connsiteX226" fmla="*/ 69165 w 101897"/>
                <a:gd name="connsiteY226" fmla="*/ 92948 h 135199"/>
                <a:gd name="connsiteX227" fmla="*/ 64616 w 101897"/>
                <a:gd name="connsiteY227" fmla="*/ 93345 h 135199"/>
                <a:gd name="connsiteX228" fmla="*/ 61988 w 101897"/>
                <a:gd name="connsiteY228" fmla="*/ 90451 h 135199"/>
                <a:gd name="connsiteX229" fmla="*/ 58217 w 101897"/>
                <a:gd name="connsiteY229" fmla="*/ 83369 h 135199"/>
                <a:gd name="connsiteX230" fmla="*/ 57716 w 101897"/>
                <a:gd name="connsiteY230" fmla="*/ 81766 h 135199"/>
                <a:gd name="connsiteX231" fmla="*/ 58213 w 101897"/>
                <a:gd name="connsiteY231" fmla="*/ 77596 h 135199"/>
                <a:gd name="connsiteX232" fmla="*/ 57318 w 101897"/>
                <a:gd name="connsiteY232" fmla="*/ 73644 h 135199"/>
                <a:gd name="connsiteX233" fmla="*/ 57329 w 101897"/>
                <a:gd name="connsiteY233" fmla="*/ 71558 h 135199"/>
                <a:gd name="connsiteX234" fmla="*/ 57062 w 101897"/>
                <a:gd name="connsiteY234" fmla="*/ 70163 h 135199"/>
                <a:gd name="connsiteX235" fmla="*/ 56386 w 101897"/>
                <a:gd name="connsiteY235" fmla="*/ 70472 h 135199"/>
                <a:gd name="connsiteX236" fmla="*/ 56125 w 101897"/>
                <a:gd name="connsiteY236" fmla="*/ 71430 h 135199"/>
                <a:gd name="connsiteX237" fmla="*/ 56267 w 101897"/>
                <a:gd name="connsiteY237" fmla="*/ 72898 h 135199"/>
                <a:gd name="connsiteX238" fmla="*/ 55993 w 101897"/>
                <a:gd name="connsiteY238" fmla="*/ 74130 h 135199"/>
                <a:gd name="connsiteX239" fmla="*/ 52728 w 101897"/>
                <a:gd name="connsiteY239" fmla="*/ 73888 h 135199"/>
                <a:gd name="connsiteX240" fmla="*/ 49658 w 101897"/>
                <a:gd name="connsiteY240" fmla="*/ 73328 h 135199"/>
                <a:gd name="connsiteX241" fmla="*/ 52363 w 101897"/>
                <a:gd name="connsiteY241" fmla="*/ 75404 h 135199"/>
                <a:gd name="connsiteX242" fmla="*/ 55265 w 101897"/>
                <a:gd name="connsiteY242" fmla="*/ 75890 h 135199"/>
                <a:gd name="connsiteX243" fmla="*/ 56773 w 101897"/>
                <a:gd name="connsiteY243" fmla="*/ 77751 h 135199"/>
                <a:gd name="connsiteX244" fmla="*/ 56956 w 101897"/>
                <a:gd name="connsiteY244" fmla="*/ 79203 h 135199"/>
                <a:gd name="connsiteX245" fmla="*/ 56866 w 101897"/>
                <a:gd name="connsiteY245" fmla="*/ 80840 h 135199"/>
                <a:gd name="connsiteX246" fmla="*/ 55375 w 101897"/>
                <a:gd name="connsiteY246" fmla="*/ 81982 h 135199"/>
                <a:gd name="connsiteX247" fmla="*/ 54011 w 101897"/>
                <a:gd name="connsiteY247" fmla="*/ 82706 h 135199"/>
                <a:gd name="connsiteX248" fmla="*/ 54266 w 101897"/>
                <a:gd name="connsiteY248" fmla="*/ 84271 h 135199"/>
                <a:gd name="connsiteX249" fmla="*/ 55918 w 101897"/>
                <a:gd name="connsiteY249" fmla="*/ 86179 h 135199"/>
                <a:gd name="connsiteX250" fmla="*/ 53913 w 101897"/>
                <a:gd name="connsiteY250" fmla="*/ 86717 h 135199"/>
                <a:gd name="connsiteX251" fmla="*/ 53367 w 101897"/>
                <a:gd name="connsiteY251" fmla="*/ 87965 h 135199"/>
                <a:gd name="connsiteX252" fmla="*/ 53326 w 101897"/>
                <a:gd name="connsiteY252" fmla="*/ 89741 h 135199"/>
                <a:gd name="connsiteX253" fmla="*/ 54335 w 101897"/>
                <a:gd name="connsiteY253" fmla="*/ 91306 h 135199"/>
                <a:gd name="connsiteX254" fmla="*/ 54728 w 101897"/>
                <a:gd name="connsiteY254" fmla="*/ 92466 h 135199"/>
                <a:gd name="connsiteX255" fmla="*/ 54484 w 101897"/>
                <a:gd name="connsiteY255" fmla="*/ 93538 h 135199"/>
                <a:gd name="connsiteX256" fmla="*/ 55464 w 101897"/>
                <a:gd name="connsiteY256" fmla="*/ 94687 h 135199"/>
                <a:gd name="connsiteX257" fmla="*/ 56874 w 101897"/>
                <a:gd name="connsiteY257" fmla="*/ 97092 h 135199"/>
                <a:gd name="connsiteX258" fmla="*/ 57329 w 101897"/>
                <a:gd name="connsiteY258" fmla="*/ 98805 h 135199"/>
                <a:gd name="connsiteX259" fmla="*/ 56740 w 101897"/>
                <a:gd name="connsiteY259" fmla="*/ 101214 h 135199"/>
                <a:gd name="connsiteX260" fmla="*/ 55930 w 101897"/>
                <a:gd name="connsiteY260" fmla="*/ 102149 h 135199"/>
                <a:gd name="connsiteX261" fmla="*/ 54632 w 101897"/>
                <a:gd name="connsiteY261" fmla="*/ 103061 h 135199"/>
                <a:gd name="connsiteX262" fmla="*/ 51573 w 101897"/>
                <a:gd name="connsiteY262" fmla="*/ 106094 h 135199"/>
                <a:gd name="connsiteX263" fmla="*/ 50078 w 101897"/>
                <a:gd name="connsiteY263" fmla="*/ 109546 h 135199"/>
                <a:gd name="connsiteX264" fmla="*/ 48804 w 101897"/>
                <a:gd name="connsiteY264" fmla="*/ 111160 h 135199"/>
                <a:gd name="connsiteX265" fmla="*/ 47217 w 101897"/>
                <a:gd name="connsiteY265" fmla="*/ 111460 h 135199"/>
                <a:gd name="connsiteX266" fmla="*/ 46597 w 101897"/>
                <a:gd name="connsiteY266" fmla="*/ 110751 h 135199"/>
                <a:gd name="connsiteX267" fmla="*/ 45280 w 101897"/>
                <a:gd name="connsiteY267" fmla="*/ 109828 h 135199"/>
                <a:gd name="connsiteX268" fmla="*/ 45255 w 101897"/>
                <a:gd name="connsiteY268" fmla="*/ 108143 h 135199"/>
                <a:gd name="connsiteX269" fmla="*/ 45649 w 101897"/>
                <a:gd name="connsiteY269" fmla="*/ 106807 h 135199"/>
                <a:gd name="connsiteX270" fmla="*/ 48340 w 101897"/>
                <a:gd name="connsiteY270" fmla="*/ 103579 h 135199"/>
                <a:gd name="connsiteX271" fmla="*/ 46878 w 101897"/>
                <a:gd name="connsiteY271" fmla="*/ 104013 h 135199"/>
                <a:gd name="connsiteX272" fmla="*/ 45222 w 101897"/>
                <a:gd name="connsiteY272" fmla="*/ 104935 h 135199"/>
                <a:gd name="connsiteX273" fmla="*/ 42693 w 101897"/>
                <a:gd name="connsiteY273" fmla="*/ 106683 h 135199"/>
                <a:gd name="connsiteX274" fmla="*/ 41894 w 101897"/>
                <a:gd name="connsiteY274" fmla="*/ 104518 h 135199"/>
                <a:gd name="connsiteX275" fmla="*/ 41363 w 101897"/>
                <a:gd name="connsiteY275" fmla="*/ 102511 h 135199"/>
                <a:gd name="connsiteX276" fmla="*/ 41359 w 101897"/>
                <a:gd name="connsiteY276" fmla="*/ 100054 h 135199"/>
                <a:gd name="connsiteX277" fmla="*/ 43377 w 101897"/>
                <a:gd name="connsiteY277" fmla="*/ 96382 h 135199"/>
                <a:gd name="connsiteX278" fmla="*/ 41093 w 101897"/>
                <a:gd name="connsiteY278" fmla="*/ 98214 h 135199"/>
                <a:gd name="connsiteX279" fmla="*/ 40460 w 101897"/>
                <a:gd name="connsiteY279" fmla="*/ 100505 h 135199"/>
                <a:gd name="connsiteX280" fmla="*/ 40739 w 101897"/>
                <a:gd name="connsiteY280" fmla="*/ 103197 h 135199"/>
                <a:gd name="connsiteX281" fmla="*/ 40445 w 101897"/>
                <a:gd name="connsiteY281" fmla="*/ 105103 h 135199"/>
                <a:gd name="connsiteX282" fmla="*/ 39547 w 101897"/>
                <a:gd name="connsiteY282" fmla="*/ 107596 h 135199"/>
                <a:gd name="connsiteX283" fmla="*/ 38329 w 101897"/>
                <a:gd name="connsiteY283" fmla="*/ 109091 h 135199"/>
                <a:gd name="connsiteX284" fmla="*/ 36360 w 101897"/>
                <a:gd name="connsiteY284" fmla="*/ 110050 h 135199"/>
                <a:gd name="connsiteX285" fmla="*/ 35483 w 101897"/>
                <a:gd name="connsiteY285" fmla="*/ 111522 h 135199"/>
                <a:gd name="connsiteX286" fmla="*/ 34166 w 101897"/>
                <a:gd name="connsiteY286" fmla="*/ 112605 h 135199"/>
                <a:gd name="connsiteX287" fmla="*/ 34123 w 101897"/>
                <a:gd name="connsiteY287" fmla="*/ 110446 h 135199"/>
                <a:gd name="connsiteX288" fmla="*/ 33700 w 101897"/>
                <a:gd name="connsiteY288" fmla="*/ 107591 h 135199"/>
                <a:gd name="connsiteX289" fmla="*/ 32279 w 101897"/>
                <a:gd name="connsiteY289" fmla="*/ 100817 h 135199"/>
                <a:gd name="connsiteX290" fmla="*/ 31972 w 101897"/>
                <a:gd name="connsiteY290" fmla="*/ 102271 h 135199"/>
                <a:gd name="connsiteX291" fmla="*/ 32706 w 101897"/>
                <a:gd name="connsiteY291" fmla="*/ 106473 h 135199"/>
                <a:gd name="connsiteX292" fmla="*/ 32663 w 101897"/>
                <a:gd name="connsiteY292" fmla="*/ 109199 h 135199"/>
                <a:gd name="connsiteX293" fmla="*/ 31587 w 101897"/>
                <a:gd name="connsiteY293" fmla="*/ 111362 h 135199"/>
                <a:gd name="connsiteX294" fmla="*/ 29415 w 101897"/>
                <a:gd name="connsiteY294" fmla="*/ 113679 h 135199"/>
                <a:gd name="connsiteX295" fmla="*/ 27754 w 101897"/>
                <a:gd name="connsiteY295" fmla="*/ 114006 h 135199"/>
                <a:gd name="connsiteX296" fmla="*/ 26774 w 101897"/>
                <a:gd name="connsiteY296" fmla="*/ 113650 h 135199"/>
                <a:gd name="connsiteX297" fmla="*/ 25288 w 101897"/>
                <a:gd name="connsiteY297" fmla="*/ 112215 h 135199"/>
                <a:gd name="connsiteX298" fmla="*/ 23672 w 101897"/>
                <a:gd name="connsiteY298" fmla="*/ 110164 h 135199"/>
                <a:gd name="connsiteX299" fmla="*/ 23399 w 101897"/>
                <a:gd name="connsiteY299" fmla="*/ 106866 h 135199"/>
                <a:gd name="connsiteX300" fmla="*/ 22732 w 101897"/>
                <a:gd name="connsiteY300" fmla="*/ 105051 h 135199"/>
                <a:gd name="connsiteX301" fmla="*/ 22829 w 101897"/>
                <a:gd name="connsiteY301" fmla="*/ 102891 h 135199"/>
                <a:gd name="connsiteX302" fmla="*/ 22699 w 101897"/>
                <a:gd name="connsiteY302" fmla="*/ 100839 h 135199"/>
                <a:gd name="connsiteX303" fmla="*/ 20963 w 101897"/>
                <a:gd name="connsiteY303" fmla="*/ 95347 h 135199"/>
                <a:gd name="connsiteX304" fmla="*/ 19841 w 101897"/>
                <a:gd name="connsiteY304" fmla="*/ 92530 h 135199"/>
                <a:gd name="connsiteX305" fmla="*/ 19979 w 101897"/>
                <a:gd name="connsiteY305" fmla="*/ 91620 h 135199"/>
                <a:gd name="connsiteX306" fmla="*/ 19901 w 101897"/>
                <a:gd name="connsiteY306" fmla="*/ 91239 h 135199"/>
                <a:gd name="connsiteX307" fmla="*/ 19376 w 101897"/>
                <a:gd name="connsiteY307" fmla="*/ 87608 h 135199"/>
                <a:gd name="connsiteX308" fmla="*/ 18652 w 101897"/>
                <a:gd name="connsiteY308" fmla="*/ 85387 h 135199"/>
                <a:gd name="connsiteX309" fmla="*/ 18290 w 101897"/>
                <a:gd name="connsiteY309" fmla="*/ 83018 h 135199"/>
                <a:gd name="connsiteX310" fmla="*/ 20004 w 101897"/>
                <a:gd name="connsiteY310" fmla="*/ 79612 h 135199"/>
                <a:gd name="connsiteX311" fmla="*/ 19318 w 101897"/>
                <a:gd name="connsiteY311" fmla="*/ 79057 h 135199"/>
                <a:gd name="connsiteX312" fmla="*/ 17340 w 101897"/>
                <a:gd name="connsiteY312" fmla="*/ 78607 h 135199"/>
                <a:gd name="connsiteX313" fmla="*/ 15500 w 101897"/>
                <a:gd name="connsiteY313" fmla="*/ 78017 h 135199"/>
                <a:gd name="connsiteX314" fmla="*/ 15049 w 101897"/>
                <a:gd name="connsiteY314" fmla="*/ 77134 h 135199"/>
                <a:gd name="connsiteX315" fmla="*/ 15863 w 101897"/>
                <a:gd name="connsiteY315" fmla="*/ 73778 h 135199"/>
                <a:gd name="connsiteX316" fmla="*/ 14908 w 101897"/>
                <a:gd name="connsiteY316" fmla="*/ 72460 h 135199"/>
                <a:gd name="connsiteX317" fmla="*/ 13539 w 101897"/>
                <a:gd name="connsiteY317" fmla="*/ 71129 h 135199"/>
                <a:gd name="connsiteX318" fmla="*/ 13112 w 101897"/>
                <a:gd name="connsiteY318" fmla="*/ 70598 h 135199"/>
                <a:gd name="connsiteX319" fmla="*/ 12661 w 101897"/>
                <a:gd name="connsiteY319" fmla="*/ 69910 h 135199"/>
                <a:gd name="connsiteX320" fmla="*/ 12028 w 101897"/>
                <a:gd name="connsiteY320" fmla="*/ 68222 h 135199"/>
                <a:gd name="connsiteX321" fmla="*/ 13248 w 101897"/>
                <a:gd name="connsiteY321" fmla="*/ 64668 h 135199"/>
                <a:gd name="connsiteX322" fmla="*/ 14956 w 101897"/>
                <a:gd name="connsiteY322" fmla="*/ 60545 h 135199"/>
                <a:gd name="connsiteX323" fmla="*/ 15264 w 101897"/>
                <a:gd name="connsiteY323" fmla="*/ 58973 h 135199"/>
                <a:gd name="connsiteX324" fmla="*/ 15547 w 101897"/>
                <a:gd name="connsiteY324" fmla="*/ 56242 h 135199"/>
                <a:gd name="connsiteX325" fmla="*/ 15703 w 101897"/>
                <a:gd name="connsiteY325" fmla="*/ 55195 h 135199"/>
                <a:gd name="connsiteX326" fmla="*/ 15481 w 101897"/>
                <a:gd name="connsiteY326" fmla="*/ 54163 h 135199"/>
                <a:gd name="connsiteX327" fmla="*/ 13684 w 101897"/>
                <a:gd name="connsiteY327" fmla="*/ 52965 h 135199"/>
                <a:gd name="connsiteX328" fmla="*/ 10505 w 101897"/>
                <a:gd name="connsiteY328" fmla="*/ 52481 h 135199"/>
                <a:gd name="connsiteX329" fmla="*/ 8260 w 101897"/>
                <a:gd name="connsiteY329" fmla="*/ 51481 h 135199"/>
                <a:gd name="connsiteX330" fmla="*/ 6945 w 101897"/>
                <a:gd name="connsiteY330" fmla="*/ 49965 h 135199"/>
                <a:gd name="connsiteX331" fmla="*/ 5830 w 101897"/>
                <a:gd name="connsiteY331" fmla="*/ 49358 h 135199"/>
                <a:gd name="connsiteX332" fmla="*/ 4457 w 101897"/>
                <a:gd name="connsiteY332" fmla="*/ 49806 h 135199"/>
                <a:gd name="connsiteX333" fmla="*/ 2699 w 101897"/>
                <a:gd name="connsiteY333" fmla="*/ 49216 h 135199"/>
                <a:gd name="connsiteX334" fmla="*/ 1231 w 101897"/>
                <a:gd name="connsiteY334" fmla="*/ 47711 h 135199"/>
                <a:gd name="connsiteX335" fmla="*/ 0 w 101897"/>
                <a:gd name="connsiteY335" fmla="*/ 45881 h 135199"/>
                <a:gd name="connsiteX336" fmla="*/ 151 w 101897"/>
                <a:gd name="connsiteY336" fmla="*/ 45021 h 135199"/>
                <a:gd name="connsiteX337" fmla="*/ 480 w 101897"/>
                <a:gd name="connsiteY337" fmla="*/ 43879 h 135199"/>
                <a:gd name="connsiteX338" fmla="*/ 2794 w 101897"/>
                <a:gd name="connsiteY338" fmla="*/ 39140 h 135199"/>
                <a:gd name="connsiteX339" fmla="*/ 3658 w 101897"/>
                <a:gd name="connsiteY339" fmla="*/ 38999 h 135199"/>
                <a:gd name="connsiteX340" fmla="*/ 5662 w 101897"/>
                <a:gd name="connsiteY340" fmla="*/ 39909 h 135199"/>
                <a:gd name="connsiteX341" fmla="*/ 6411 w 101897"/>
                <a:gd name="connsiteY341" fmla="*/ 39911 h 135199"/>
                <a:gd name="connsiteX342" fmla="*/ 7728 w 101897"/>
                <a:gd name="connsiteY342" fmla="*/ 38037 h 135199"/>
                <a:gd name="connsiteX343" fmla="*/ 9570 w 101897"/>
                <a:gd name="connsiteY343" fmla="*/ 32696 h 135199"/>
                <a:gd name="connsiteX344" fmla="*/ 12170 w 101897"/>
                <a:gd name="connsiteY344" fmla="*/ 32708 h 135199"/>
                <a:gd name="connsiteX345" fmla="*/ 14464 w 101897"/>
                <a:gd name="connsiteY345" fmla="*/ 32883 h 135199"/>
                <a:gd name="connsiteX346" fmla="*/ 16012 w 101897"/>
                <a:gd name="connsiteY346" fmla="*/ 33154 h 135199"/>
                <a:gd name="connsiteX347" fmla="*/ 17553 w 101897"/>
                <a:gd name="connsiteY347" fmla="*/ 32983 h 135199"/>
                <a:gd name="connsiteX348" fmla="*/ 19165 w 101897"/>
                <a:gd name="connsiteY348" fmla="*/ 32555 h 135199"/>
                <a:gd name="connsiteX349" fmla="*/ 20042 w 101897"/>
                <a:gd name="connsiteY349" fmla="*/ 31881 h 135199"/>
                <a:gd name="connsiteX350" fmla="*/ 20525 w 101897"/>
                <a:gd name="connsiteY350" fmla="*/ 31027 h 135199"/>
                <a:gd name="connsiteX351" fmla="*/ 20359 w 101897"/>
                <a:gd name="connsiteY351" fmla="*/ 30284 h 135199"/>
                <a:gd name="connsiteX352" fmla="*/ 18383 w 101897"/>
                <a:gd name="connsiteY352" fmla="*/ 29276 h 135199"/>
                <a:gd name="connsiteX353" fmla="*/ 17621 w 101897"/>
                <a:gd name="connsiteY353" fmla="*/ 28522 h 135199"/>
                <a:gd name="connsiteX354" fmla="*/ 17070 w 101897"/>
                <a:gd name="connsiteY354" fmla="*/ 26383 h 135199"/>
                <a:gd name="connsiteX355" fmla="*/ 16489 w 101897"/>
                <a:gd name="connsiteY355" fmla="*/ 25575 h 135199"/>
                <a:gd name="connsiteX356" fmla="*/ 12604 w 101897"/>
                <a:gd name="connsiteY356" fmla="*/ 25462 h 135199"/>
                <a:gd name="connsiteX357" fmla="*/ 10592 w 101897"/>
                <a:gd name="connsiteY357" fmla="*/ 24478 h 135199"/>
                <a:gd name="connsiteX358" fmla="*/ 9484 w 101897"/>
                <a:gd name="connsiteY358" fmla="*/ 23595 h 135199"/>
                <a:gd name="connsiteX359" fmla="*/ 7510 w 101897"/>
                <a:gd name="connsiteY359" fmla="*/ 20673 h 135199"/>
                <a:gd name="connsiteX360" fmla="*/ 5075 w 101897"/>
                <a:gd name="connsiteY360" fmla="*/ 18509 h 135199"/>
                <a:gd name="connsiteX361" fmla="*/ 2743 w 101897"/>
                <a:gd name="connsiteY361" fmla="*/ 17998 h 135199"/>
                <a:gd name="connsiteX362" fmla="*/ 1840 w 101897"/>
                <a:gd name="connsiteY362" fmla="*/ 17297 h 135199"/>
                <a:gd name="connsiteX363" fmla="*/ 1352 w 101897"/>
                <a:gd name="connsiteY363" fmla="*/ 16183 h 135199"/>
                <a:gd name="connsiteX364" fmla="*/ 1634 w 101897"/>
                <a:gd name="connsiteY364" fmla="*/ 14572 h 135199"/>
                <a:gd name="connsiteX365" fmla="*/ 2334 w 101897"/>
                <a:gd name="connsiteY365" fmla="*/ 13109 h 135199"/>
                <a:gd name="connsiteX366" fmla="*/ 2816 w 101897"/>
                <a:gd name="connsiteY366" fmla="*/ 11477 h 135199"/>
                <a:gd name="connsiteX367" fmla="*/ 4681 w 101897"/>
                <a:gd name="connsiteY367" fmla="*/ 9326 h 135199"/>
                <a:gd name="connsiteX368" fmla="*/ 6867 w 101897"/>
                <a:gd name="connsiteY368" fmla="*/ 7444 h 135199"/>
                <a:gd name="connsiteX369" fmla="*/ 7841 w 101897"/>
                <a:gd name="connsiteY369" fmla="*/ 6153 h 135199"/>
                <a:gd name="connsiteX370" fmla="*/ 9220 w 101897"/>
                <a:gd name="connsiteY370" fmla="*/ 4791 h 135199"/>
                <a:gd name="connsiteX371" fmla="*/ 9385 w 101897"/>
                <a:gd name="connsiteY371" fmla="*/ 4044 h 135199"/>
                <a:gd name="connsiteX372" fmla="*/ 9139 w 101897"/>
                <a:gd name="connsiteY372" fmla="*/ 3188 h 135199"/>
                <a:gd name="connsiteX373" fmla="*/ 8022 w 101897"/>
                <a:gd name="connsiteY373" fmla="*/ 2372 h 135199"/>
                <a:gd name="connsiteX374" fmla="*/ 7253 w 101897"/>
                <a:gd name="connsiteY374" fmla="*/ 2111 h 135199"/>
                <a:gd name="connsiteX375" fmla="*/ 7130 w 101897"/>
                <a:gd name="connsiteY375" fmla="*/ 1584 h 135199"/>
                <a:gd name="connsiteX376" fmla="*/ 7661 w 101897"/>
                <a:gd name="connsiteY376" fmla="*/ 176 h 135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</a:cxnLst>
              <a:rect l="l" t="t" r="r" b="b"/>
              <a:pathLst>
                <a:path w="101897" h="135199">
                  <a:moveTo>
                    <a:pt x="85889" y="113636"/>
                  </a:moveTo>
                  <a:lnTo>
                    <a:pt x="86471" y="113654"/>
                  </a:lnTo>
                  <a:lnTo>
                    <a:pt x="86794" y="114572"/>
                  </a:lnTo>
                  <a:lnTo>
                    <a:pt x="87088" y="116258"/>
                  </a:lnTo>
                  <a:lnTo>
                    <a:pt x="86807" y="118613"/>
                  </a:lnTo>
                  <a:lnTo>
                    <a:pt x="85473" y="118722"/>
                  </a:lnTo>
                  <a:lnTo>
                    <a:pt x="84823" y="118036"/>
                  </a:lnTo>
                  <a:lnTo>
                    <a:pt x="85127" y="117076"/>
                  </a:lnTo>
                  <a:lnTo>
                    <a:pt x="84769" y="113964"/>
                  </a:lnTo>
                  <a:close/>
                  <a:moveTo>
                    <a:pt x="84628" y="108905"/>
                  </a:moveTo>
                  <a:lnTo>
                    <a:pt x="84864" y="108914"/>
                  </a:lnTo>
                  <a:lnTo>
                    <a:pt x="85333" y="109911"/>
                  </a:lnTo>
                  <a:lnTo>
                    <a:pt x="85140" y="111106"/>
                  </a:lnTo>
                  <a:lnTo>
                    <a:pt x="84339" y="113003"/>
                  </a:lnTo>
                  <a:lnTo>
                    <a:pt x="83944" y="111623"/>
                  </a:lnTo>
                  <a:lnTo>
                    <a:pt x="84285" y="109872"/>
                  </a:lnTo>
                  <a:close/>
                  <a:moveTo>
                    <a:pt x="67576" y="95142"/>
                  </a:moveTo>
                  <a:lnTo>
                    <a:pt x="69318" y="98729"/>
                  </a:lnTo>
                  <a:lnTo>
                    <a:pt x="69759" y="100643"/>
                  </a:lnTo>
                  <a:lnTo>
                    <a:pt x="69152" y="103147"/>
                  </a:lnTo>
                  <a:lnTo>
                    <a:pt x="66807" y="104773"/>
                  </a:lnTo>
                  <a:close/>
                  <a:moveTo>
                    <a:pt x="75902" y="92892"/>
                  </a:moveTo>
                  <a:lnTo>
                    <a:pt x="76520" y="93821"/>
                  </a:lnTo>
                  <a:lnTo>
                    <a:pt x="77384" y="95817"/>
                  </a:lnTo>
                  <a:lnTo>
                    <a:pt x="77943" y="97335"/>
                  </a:lnTo>
                  <a:lnTo>
                    <a:pt x="78129" y="98338"/>
                  </a:lnTo>
                  <a:lnTo>
                    <a:pt x="77105" y="99023"/>
                  </a:lnTo>
                  <a:lnTo>
                    <a:pt x="76142" y="98427"/>
                  </a:lnTo>
                  <a:lnTo>
                    <a:pt x="74913" y="96166"/>
                  </a:lnTo>
                  <a:lnTo>
                    <a:pt x="75523" y="93303"/>
                  </a:lnTo>
                  <a:close/>
                  <a:moveTo>
                    <a:pt x="56895" y="87142"/>
                  </a:moveTo>
                  <a:lnTo>
                    <a:pt x="58571" y="88314"/>
                  </a:lnTo>
                  <a:lnTo>
                    <a:pt x="58809" y="88963"/>
                  </a:lnTo>
                  <a:lnTo>
                    <a:pt x="59167" y="90634"/>
                  </a:lnTo>
                  <a:lnTo>
                    <a:pt x="60001" y="92374"/>
                  </a:lnTo>
                  <a:lnTo>
                    <a:pt x="62903" y="95953"/>
                  </a:lnTo>
                  <a:lnTo>
                    <a:pt x="62851" y="98144"/>
                  </a:lnTo>
                  <a:lnTo>
                    <a:pt x="62056" y="103501"/>
                  </a:lnTo>
                  <a:lnTo>
                    <a:pt x="60901" y="105141"/>
                  </a:lnTo>
                  <a:lnTo>
                    <a:pt x="57053" y="105955"/>
                  </a:lnTo>
                  <a:lnTo>
                    <a:pt x="55094" y="105702"/>
                  </a:lnTo>
                  <a:lnTo>
                    <a:pt x="58752" y="99610"/>
                  </a:lnTo>
                  <a:lnTo>
                    <a:pt x="58630" y="96880"/>
                  </a:lnTo>
                  <a:lnTo>
                    <a:pt x="58062" y="94655"/>
                  </a:lnTo>
                  <a:lnTo>
                    <a:pt x="56198" y="92866"/>
                  </a:lnTo>
                  <a:lnTo>
                    <a:pt x="56097" y="91587"/>
                  </a:lnTo>
                  <a:lnTo>
                    <a:pt x="55261" y="89843"/>
                  </a:lnTo>
                  <a:lnTo>
                    <a:pt x="54827" y="87798"/>
                  </a:lnTo>
                  <a:close/>
                  <a:moveTo>
                    <a:pt x="56528" y="83136"/>
                  </a:moveTo>
                  <a:lnTo>
                    <a:pt x="57897" y="84825"/>
                  </a:lnTo>
                  <a:lnTo>
                    <a:pt x="58290" y="85826"/>
                  </a:lnTo>
                  <a:lnTo>
                    <a:pt x="57059" y="85231"/>
                  </a:lnTo>
                  <a:lnTo>
                    <a:pt x="56140" y="84535"/>
                  </a:lnTo>
                  <a:lnTo>
                    <a:pt x="55566" y="83616"/>
                  </a:lnTo>
                  <a:close/>
                  <a:moveTo>
                    <a:pt x="8728" y="0"/>
                  </a:moveTo>
                  <a:lnTo>
                    <a:pt x="10942" y="1275"/>
                  </a:lnTo>
                  <a:lnTo>
                    <a:pt x="13194" y="3341"/>
                  </a:lnTo>
                  <a:lnTo>
                    <a:pt x="14533" y="5183"/>
                  </a:lnTo>
                  <a:lnTo>
                    <a:pt x="14580" y="6635"/>
                  </a:lnTo>
                  <a:lnTo>
                    <a:pt x="15450" y="6868"/>
                  </a:lnTo>
                  <a:lnTo>
                    <a:pt x="16329" y="6926"/>
                  </a:lnTo>
                  <a:lnTo>
                    <a:pt x="17791" y="7570"/>
                  </a:lnTo>
                  <a:lnTo>
                    <a:pt x="19305" y="7374"/>
                  </a:lnTo>
                  <a:lnTo>
                    <a:pt x="20283" y="7732"/>
                  </a:lnTo>
                  <a:lnTo>
                    <a:pt x="20940" y="7601"/>
                  </a:lnTo>
                  <a:lnTo>
                    <a:pt x="21186" y="6767"/>
                  </a:lnTo>
                  <a:lnTo>
                    <a:pt x="20449" y="5538"/>
                  </a:lnTo>
                  <a:lnTo>
                    <a:pt x="19916" y="4659"/>
                  </a:lnTo>
                  <a:lnTo>
                    <a:pt x="20531" y="3781"/>
                  </a:lnTo>
                  <a:lnTo>
                    <a:pt x="21227" y="3605"/>
                  </a:lnTo>
                  <a:lnTo>
                    <a:pt x="22007" y="3825"/>
                  </a:lnTo>
                  <a:lnTo>
                    <a:pt x="23071" y="4616"/>
                  </a:lnTo>
                  <a:lnTo>
                    <a:pt x="23848" y="6240"/>
                  </a:lnTo>
                  <a:lnTo>
                    <a:pt x="23989" y="8753"/>
                  </a:lnTo>
                  <a:lnTo>
                    <a:pt x="25716" y="11033"/>
                  </a:lnTo>
                  <a:lnTo>
                    <a:pt x="27990" y="12650"/>
                  </a:lnTo>
                  <a:lnTo>
                    <a:pt x="29770" y="13395"/>
                  </a:lnTo>
                  <a:lnTo>
                    <a:pt x="31918" y="13929"/>
                  </a:lnTo>
                  <a:lnTo>
                    <a:pt x="33753" y="13415"/>
                  </a:lnTo>
                  <a:lnTo>
                    <a:pt x="34671" y="11827"/>
                  </a:lnTo>
                  <a:lnTo>
                    <a:pt x="34258" y="10409"/>
                  </a:lnTo>
                  <a:lnTo>
                    <a:pt x="34546" y="9137"/>
                  </a:lnTo>
                  <a:lnTo>
                    <a:pt x="35282" y="8435"/>
                  </a:lnTo>
                  <a:lnTo>
                    <a:pt x="36429" y="8479"/>
                  </a:lnTo>
                  <a:lnTo>
                    <a:pt x="37290" y="9487"/>
                  </a:lnTo>
                  <a:lnTo>
                    <a:pt x="39791" y="14925"/>
                  </a:lnTo>
                  <a:lnTo>
                    <a:pt x="39274" y="17332"/>
                  </a:lnTo>
                  <a:lnTo>
                    <a:pt x="39834" y="23932"/>
                  </a:lnTo>
                  <a:lnTo>
                    <a:pt x="39202" y="28280"/>
                  </a:lnTo>
                  <a:lnTo>
                    <a:pt x="39303" y="29215"/>
                  </a:lnTo>
                  <a:lnTo>
                    <a:pt x="39595" y="29940"/>
                  </a:lnTo>
                  <a:lnTo>
                    <a:pt x="40020" y="30237"/>
                  </a:lnTo>
                  <a:lnTo>
                    <a:pt x="40750" y="30228"/>
                  </a:lnTo>
                  <a:lnTo>
                    <a:pt x="43790" y="31048"/>
                  </a:lnTo>
                  <a:lnTo>
                    <a:pt x="46352" y="31953"/>
                  </a:lnTo>
                  <a:lnTo>
                    <a:pt x="49243" y="32777"/>
                  </a:lnTo>
                  <a:lnTo>
                    <a:pt x="53421" y="33419"/>
                  </a:lnTo>
                  <a:lnTo>
                    <a:pt x="55984" y="33210"/>
                  </a:lnTo>
                  <a:lnTo>
                    <a:pt x="57262" y="33183"/>
                  </a:lnTo>
                  <a:lnTo>
                    <a:pt x="59851" y="33378"/>
                  </a:lnTo>
                  <a:lnTo>
                    <a:pt x="66665" y="33034"/>
                  </a:lnTo>
                  <a:lnTo>
                    <a:pt x="72300" y="32942"/>
                  </a:lnTo>
                  <a:lnTo>
                    <a:pt x="74589" y="33563"/>
                  </a:lnTo>
                  <a:lnTo>
                    <a:pt x="76425" y="33786"/>
                  </a:lnTo>
                  <a:lnTo>
                    <a:pt x="82700" y="33350"/>
                  </a:lnTo>
                  <a:lnTo>
                    <a:pt x="89030" y="33142"/>
                  </a:lnTo>
                  <a:lnTo>
                    <a:pt x="92456" y="34521"/>
                  </a:lnTo>
                  <a:lnTo>
                    <a:pt x="96188" y="36776"/>
                  </a:lnTo>
                  <a:lnTo>
                    <a:pt x="98286" y="38446"/>
                  </a:lnTo>
                  <a:lnTo>
                    <a:pt x="98665" y="39406"/>
                  </a:lnTo>
                  <a:lnTo>
                    <a:pt x="98434" y="40225"/>
                  </a:lnTo>
                  <a:lnTo>
                    <a:pt x="97730" y="40674"/>
                  </a:lnTo>
                  <a:lnTo>
                    <a:pt x="96442" y="40689"/>
                  </a:lnTo>
                  <a:lnTo>
                    <a:pt x="93486" y="39600"/>
                  </a:lnTo>
                  <a:lnTo>
                    <a:pt x="92979" y="39923"/>
                  </a:lnTo>
                  <a:lnTo>
                    <a:pt x="93029" y="42159"/>
                  </a:lnTo>
                  <a:lnTo>
                    <a:pt x="92942" y="42517"/>
                  </a:lnTo>
                  <a:lnTo>
                    <a:pt x="92309" y="44521"/>
                  </a:lnTo>
                  <a:lnTo>
                    <a:pt x="90528" y="49024"/>
                  </a:lnTo>
                  <a:lnTo>
                    <a:pt x="90185" y="51040"/>
                  </a:lnTo>
                  <a:lnTo>
                    <a:pt x="89811" y="51553"/>
                  </a:lnTo>
                  <a:lnTo>
                    <a:pt x="89349" y="51830"/>
                  </a:lnTo>
                  <a:lnTo>
                    <a:pt x="87954" y="51912"/>
                  </a:lnTo>
                  <a:lnTo>
                    <a:pt x="86861" y="52244"/>
                  </a:lnTo>
                  <a:lnTo>
                    <a:pt x="86406" y="52976"/>
                  </a:lnTo>
                  <a:lnTo>
                    <a:pt x="85697" y="54496"/>
                  </a:lnTo>
                  <a:lnTo>
                    <a:pt x="85210" y="56029"/>
                  </a:lnTo>
                  <a:lnTo>
                    <a:pt x="84529" y="56498"/>
                  </a:lnTo>
                  <a:lnTo>
                    <a:pt x="82899" y="55669"/>
                  </a:lnTo>
                  <a:lnTo>
                    <a:pt x="81884" y="55800"/>
                  </a:lnTo>
                  <a:lnTo>
                    <a:pt x="80605" y="56151"/>
                  </a:lnTo>
                  <a:lnTo>
                    <a:pt x="79332" y="57024"/>
                  </a:lnTo>
                  <a:lnTo>
                    <a:pt x="78453" y="58108"/>
                  </a:lnTo>
                  <a:lnTo>
                    <a:pt x="77457" y="58478"/>
                  </a:lnTo>
                  <a:lnTo>
                    <a:pt x="74501" y="58260"/>
                  </a:lnTo>
                  <a:lnTo>
                    <a:pt x="73935" y="58414"/>
                  </a:lnTo>
                  <a:lnTo>
                    <a:pt x="73561" y="59187"/>
                  </a:lnTo>
                  <a:lnTo>
                    <a:pt x="73257" y="60164"/>
                  </a:lnTo>
                  <a:lnTo>
                    <a:pt x="70948" y="62466"/>
                  </a:lnTo>
                  <a:lnTo>
                    <a:pt x="70074" y="66153"/>
                  </a:lnTo>
                  <a:lnTo>
                    <a:pt x="69366" y="68543"/>
                  </a:lnTo>
                  <a:lnTo>
                    <a:pt x="69478" y="70404"/>
                  </a:lnTo>
                  <a:lnTo>
                    <a:pt x="71431" y="75248"/>
                  </a:lnTo>
                  <a:lnTo>
                    <a:pt x="72789" y="81529"/>
                  </a:lnTo>
                  <a:lnTo>
                    <a:pt x="73311" y="82168"/>
                  </a:lnTo>
                  <a:lnTo>
                    <a:pt x="73765" y="82369"/>
                  </a:lnTo>
                  <a:lnTo>
                    <a:pt x="73970" y="82225"/>
                  </a:lnTo>
                  <a:lnTo>
                    <a:pt x="73929" y="80921"/>
                  </a:lnTo>
                  <a:lnTo>
                    <a:pt x="74013" y="79347"/>
                  </a:lnTo>
                  <a:lnTo>
                    <a:pt x="74650" y="78976"/>
                  </a:lnTo>
                  <a:lnTo>
                    <a:pt x="75464" y="79302"/>
                  </a:lnTo>
                  <a:lnTo>
                    <a:pt x="76241" y="80670"/>
                  </a:lnTo>
                  <a:lnTo>
                    <a:pt x="77123" y="83177"/>
                  </a:lnTo>
                  <a:lnTo>
                    <a:pt x="78057" y="84159"/>
                  </a:lnTo>
                  <a:lnTo>
                    <a:pt x="79517" y="84436"/>
                  </a:lnTo>
                  <a:lnTo>
                    <a:pt x="81184" y="83850"/>
                  </a:lnTo>
                  <a:lnTo>
                    <a:pt x="82424" y="82715"/>
                  </a:lnTo>
                  <a:lnTo>
                    <a:pt x="82929" y="81489"/>
                  </a:lnTo>
                  <a:lnTo>
                    <a:pt x="82577" y="79071"/>
                  </a:lnTo>
                  <a:lnTo>
                    <a:pt x="82495" y="77263"/>
                  </a:lnTo>
                  <a:lnTo>
                    <a:pt x="83287" y="75542"/>
                  </a:lnTo>
                  <a:lnTo>
                    <a:pt x="86142" y="72974"/>
                  </a:lnTo>
                  <a:lnTo>
                    <a:pt x="86557" y="72188"/>
                  </a:lnTo>
                  <a:lnTo>
                    <a:pt x="86371" y="70002"/>
                  </a:lnTo>
                  <a:lnTo>
                    <a:pt x="86373" y="67951"/>
                  </a:lnTo>
                  <a:lnTo>
                    <a:pt x="87455" y="67810"/>
                  </a:lnTo>
                  <a:lnTo>
                    <a:pt x="88904" y="68143"/>
                  </a:lnTo>
                  <a:lnTo>
                    <a:pt x="90740" y="67132"/>
                  </a:lnTo>
                  <a:lnTo>
                    <a:pt x="91299" y="67112"/>
                  </a:lnTo>
                  <a:lnTo>
                    <a:pt x="92067" y="68195"/>
                  </a:lnTo>
                  <a:lnTo>
                    <a:pt x="93372" y="68007"/>
                  </a:lnTo>
                  <a:lnTo>
                    <a:pt x="94328" y="72473"/>
                  </a:lnTo>
                  <a:lnTo>
                    <a:pt x="95320" y="76411"/>
                  </a:lnTo>
                  <a:lnTo>
                    <a:pt x="95311" y="78311"/>
                  </a:lnTo>
                  <a:lnTo>
                    <a:pt x="95475" y="82335"/>
                  </a:lnTo>
                  <a:lnTo>
                    <a:pt x="95926" y="85617"/>
                  </a:lnTo>
                  <a:lnTo>
                    <a:pt x="96624" y="86362"/>
                  </a:lnTo>
                  <a:lnTo>
                    <a:pt x="97448" y="88113"/>
                  </a:lnTo>
                  <a:lnTo>
                    <a:pt x="98200" y="90147"/>
                  </a:lnTo>
                  <a:lnTo>
                    <a:pt x="98796" y="91289"/>
                  </a:lnTo>
                  <a:lnTo>
                    <a:pt x="99198" y="95004"/>
                  </a:lnTo>
                  <a:lnTo>
                    <a:pt x="99690" y="97686"/>
                  </a:lnTo>
                  <a:lnTo>
                    <a:pt x="100340" y="106098"/>
                  </a:lnTo>
                  <a:lnTo>
                    <a:pt x="100643" y="107722"/>
                  </a:lnTo>
                  <a:lnTo>
                    <a:pt x="100817" y="108597"/>
                  </a:lnTo>
                  <a:lnTo>
                    <a:pt x="100850" y="116275"/>
                  </a:lnTo>
                  <a:lnTo>
                    <a:pt x="101053" y="119555"/>
                  </a:lnTo>
                  <a:lnTo>
                    <a:pt x="101757" y="122253"/>
                  </a:lnTo>
                  <a:lnTo>
                    <a:pt x="101897" y="123283"/>
                  </a:lnTo>
                  <a:lnTo>
                    <a:pt x="101193" y="124117"/>
                  </a:lnTo>
                  <a:lnTo>
                    <a:pt x="100502" y="124274"/>
                  </a:lnTo>
                  <a:lnTo>
                    <a:pt x="99852" y="122968"/>
                  </a:lnTo>
                  <a:lnTo>
                    <a:pt x="98365" y="121970"/>
                  </a:lnTo>
                  <a:lnTo>
                    <a:pt x="96170" y="120905"/>
                  </a:lnTo>
                  <a:lnTo>
                    <a:pt x="95240" y="120193"/>
                  </a:lnTo>
                  <a:lnTo>
                    <a:pt x="94115" y="120475"/>
                  </a:lnTo>
                  <a:lnTo>
                    <a:pt x="92534" y="122088"/>
                  </a:lnTo>
                  <a:lnTo>
                    <a:pt x="91901" y="123586"/>
                  </a:lnTo>
                  <a:lnTo>
                    <a:pt x="92176" y="125687"/>
                  </a:lnTo>
                  <a:lnTo>
                    <a:pt x="92679" y="127757"/>
                  </a:lnTo>
                  <a:lnTo>
                    <a:pt x="93778" y="128940"/>
                  </a:lnTo>
                  <a:lnTo>
                    <a:pt x="93866" y="130252"/>
                  </a:lnTo>
                  <a:lnTo>
                    <a:pt x="94259" y="131940"/>
                  </a:lnTo>
                  <a:lnTo>
                    <a:pt x="94827" y="133491"/>
                  </a:lnTo>
                  <a:lnTo>
                    <a:pt x="95097" y="135166"/>
                  </a:lnTo>
                  <a:lnTo>
                    <a:pt x="94737" y="135199"/>
                  </a:lnTo>
                  <a:lnTo>
                    <a:pt x="93417" y="133048"/>
                  </a:lnTo>
                  <a:lnTo>
                    <a:pt x="92234" y="130724"/>
                  </a:lnTo>
                  <a:lnTo>
                    <a:pt x="89170" y="126321"/>
                  </a:lnTo>
                  <a:lnTo>
                    <a:pt x="88172" y="118423"/>
                  </a:lnTo>
                  <a:lnTo>
                    <a:pt x="88107" y="114521"/>
                  </a:lnTo>
                  <a:lnTo>
                    <a:pt x="86010" y="109925"/>
                  </a:lnTo>
                  <a:lnTo>
                    <a:pt x="84614" y="103561"/>
                  </a:lnTo>
                  <a:lnTo>
                    <a:pt x="84056" y="101906"/>
                  </a:lnTo>
                  <a:lnTo>
                    <a:pt x="84786" y="99846"/>
                  </a:lnTo>
                  <a:lnTo>
                    <a:pt x="84909" y="99076"/>
                  </a:lnTo>
                  <a:lnTo>
                    <a:pt x="84512" y="99247"/>
                  </a:lnTo>
                  <a:lnTo>
                    <a:pt x="83443" y="100308"/>
                  </a:lnTo>
                  <a:lnTo>
                    <a:pt x="82050" y="97770"/>
                  </a:lnTo>
                  <a:lnTo>
                    <a:pt x="81141" y="95490"/>
                  </a:lnTo>
                  <a:lnTo>
                    <a:pt x="77530" y="90770"/>
                  </a:lnTo>
                  <a:lnTo>
                    <a:pt x="76479" y="88681"/>
                  </a:lnTo>
                  <a:lnTo>
                    <a:pt x="76433" y="86646"/>
                  </a:lnTo>
                  <a:lnTo>
                    <a:pt x="74875" y="88691"/>
                  </a:lnTo>
                  <a:lnTo>
                    <a:pt x="72756" y="90130"/>
                  </a:lnTo>
                  <a:lnTo>
                    <a:pt x="70599" y="92293"/>
                  </a:lnTo>
                  <a:lnTo>
                    <a:pt x="69165" y="92948"/>
                  </a:lnTo>
                  <a:lnTo>
                    <a:pt x="64616" y="93345"/>
                  </a:lnTo>
                  <a:lnTo>
                    <a:pt x="61988" y="90451"/>
                  </a:lnTo>
                  <a:lnTo>
                    <a:pt x="58217" y="83369"/>
                  </a:lnTo>
                  <a:lnTo>
                    <a:pt x="57716" y="81766"/>
                  </a:lnTo>
                  <a:lnTo>
                    <a:pt x="58213" y="77596"/>
                  </a:lnTo>
                  <a:lnTo>
                    <a:pt x="57318" y="73644"/>
                  </a:lnTo>
                  <a:lnTo>
                    <a:pt x="57329" y="71558"/>
                  </a:lnTo>
                  <a:lnTo>
                    <a:pt x="57062" y="70163"/>
                  </a:lnTo>
                  <a:lnTo>
                    <a:pt x="56386" y="70472"/>
                  </a:lnTo>
                  <a:lnTo>
                    <a:pt x="56125" y="71430"/>
                  </a:lnTo>
                  <a:lnTo>
                    <a:pt x="56267" y="72898"/>
                  </a:lnTo>
                  <a:lnTo>
                    <a:pt x="55993" y="74130"/>
                  </a:lnTo>
                  <a:lnTo>
                    <a:pt x="52728" y="73888"/>
                  </a:lnTo>
                  <a:lnTo>
                    <a:pt x="49658" y="73328"/>
                  </a:lnTo>
                  <a:lnTo>
                    <a:pt x="52363" y="75404"/>
                  </a:lnTo>
                  <a:lnTo>
                    <a:pt x="55265" y="75890"/>
                  </a:lnTo>
                  <a:lnTo>
                    <a:pt x="56773" y="77751"/>
                  </a:lnTo>
                  <a:lnTo>
                    <a:pt x="56956" y="79203"/>
                  </a:lnTo>
                  <a:lnTo>
                    <a:pt x="56866" y="80840"/>
                  </a:lnTo>
                  <a:lnTo>
                    <a:pt x="55375" y="81982"/>
                  </a:lnTo>
                  <a:lnTo>
                    <a:pt x="54011" y="82706"/>
                  </a:lnTo>
                  <a:lnTo>
                    <a:pt x="54266" y="84271"/>
                  </a:lnTo>
                  <a:lnTo>
                    <a:pt x="55918" y="86179"/>
                  </a:lnTo>
                  <a:lnTo>
                    <a:pt x="53913" y="86717"/>
                  </a:lnTo>
                  <a:lnTo>
                    <a:pt x="53367" y="87965"/>
                  </a:lnTo>
                  <a:lnTo>
                    <a:pt x="53326" y="89741"/>
                  </a:lnTo>
                  <a:lnTo>
                    <a:pt x="54335" y="91306"/>
                  </a:lnTo>
                  <a:lnTo>
                    <a:pt x="54728" y="92466"/>
                  </a:lnTo>
                  <a:lnTo>
                    <a:pt x="54484" y="93538"/>
                  </a:lnTo>
                  <a:lnTo>
                    <a:pt x="55464" y="94687"/>
                  </a:lnTo>
                  <a:lnTo>
                    <a:pt x="56874" y="97092"/>
                  </a:lnTo>
                  <a:lnTo>
                    <a:pt x="57329" y="98805"/>
                  </a:lnTo>
                  <a:lnTo>
                    <a:pt x="56740" y="101214"/>
                  </a:lnTo>
                  <a:lnTo>
                    <a:pt x="55930" y="102149"/>
                  </a:lnTo>
                  <a:lnTo>
                    <a:pt x="54632" y="103061"/>
                  </a:lnTo>
                  <a:lnTo>
                    <a:pt x="51573" y="106094"/>
                  </a:lnTo>
                  <a:lnTo>
                    <a:pt x="50078" y="109546"/>
                  </a:lnTo>
                  <a:lnTo>
                    <a:pt x="48804" y="111160"/>
                  </a:lnTo>
                  <a:lnTo>
                    <a:pt x="47217" y="111460"/>
                  </a:lnTo>
                  <a:lnTo>
                    <a:pt x="46597" y="110751"/>
                  </a:lnTo>
                  <a:lnTo>
                    <a:pt x="45280" y="109828"/>
                  </a:lnTo>
                  <a:lnTo>
                    <a:pt x="45255" y="108143"/>
                  </a:lnTo>
                  <a:lnTo>
                    <a:pt x="45649" y="106807"/>
                  </a:lnTo>
                  <a:lnTo>
                    <a:pt x="48340" y="103579"/>
                  </a:lnTo>
                  <a:lnTo>
                    <a:pt x="46878" y="104013"/>
                  </a:lnTo>
                  <a:lnTo>
                    <a:pt x="45222" y="104935"/>
                  </a:lnTo>
                  <a:lnTo>
                    <a:pt x="42693" y="106683"/>
                  </a:lnTo>
                  <a:lnTo>
                    <a:pt x="41894" y="104518"/>
                  </a:lnTo>
                  <a:lnTo>
                    <a:pt x="41363" y="102511"/>
                  </a:lnTo>
                  <a:lnTo>
                    <a:pt x="41359" y="100054"/>
                  </a:lnTo>
                  <a:lnTo>
                    <a:pt x="43377" y="96382"/>
                  </a:lnTo>
                  <a:lnTo>
                    <a:pt x="41093" y="98214"/>
                  </a:lnTo>
                  <a:lnTo>
                    <a:pt x="40460" y="100505"/>
                  </a:lnTo>
                  <a:lnTo>
                    <a:pt x="40739" y="103197"/>
                  </a:lnTo>
                  <a:lnTo>
                    <a:pt x="40445" y="105103"/>
                  </a:lnTo>
                  <a:lnTo>
                    <a:pt x="39547" y="107596"/>
                  </a:lnTo>
                  <a:lnTo>
                    <a:pt x="38329" y="109091"/>
                  </a:lnTo>
                  <a:lnTo>
                    <a:pt x="36360" y="110050"/>
                  </a:lnTo>
                  <a:lnTo>
                    <a:pt x="35483" y="111522"/>
                  </a:lnTo>
                  <a:lnTo>
                    <a:pt x="34166" y="112605"/>
                  </a:lnTo>
                  <a:lnTo>
                    <a:pt x="34123" y="110446"/>
                  </a:lnTo>
                  <a:lnTo>
                    <a:pt x="33700" y="107591"/>
                  </a:lnTo>
                  <a:lnTo>
                    <a:pt x="32279" y="100817"/>
                  </a:lnTo>
                  <a:lnTo>
                    <a:pt x="31972" y="102271"/>
                  </a:lnTo>
                  <a:lnTo>
                    <a:pt x="32706" y="106473"/>
                  </a:lnTo>
                  <a:lnTo>
                    <a:pt x="32663" y="109199"/>
                  </a:lnTo>
                  <a:lnTo>
                    <a:pt x="31587" y="111362"/>
                  </a:lnTo>
                  <a:lnTo>
                    <a:pt x="29415" y="113679"/>
                  </a:lnTo>
                  <a:lnTo>
                    <a:pt x="27754" y="114006"/>
                  </a:lnTo>
                  <a:lnTo>
                    <a:pt x="26774" y="113650"/>
                  </a:lnTo>
                  <a:lnTo>
                    <a:pt x="25288" y="112215"/>
                  </a:lnTo>
                  <a:lnTo>
                    <a:pt x="23672" y="110164"/>
                  </a:lnTo>
                  <a:lnTo>
                    <a:pt x="23399" y="106866"/>
                  </a:lnTo>
                  <a:lnTo>
                    <a:pt x="22732" y="105051"/>
                  </a:lnTo>
                  <a:lnTo>
                    <a:pt x="22829" y="102891"/>
                  </a:lnTo>
                  <a:lnTo>
                    <a:pt x="22699" y="100839"/>
                  </a:lnTo>
                  <a:lnTo>
                    <a:pt x="20963" y="95347"/>
                  </a:lnTo>
                  <a:lnTo>
                    <a:pt x="19841" y="92530"/>
                  </a:lnTo>
                  <a:lnTo>
                    <a:pt x="19979" y="91620"/>
                  </a:lnTo>
                  <a:lnTo>
                    <a:pt x="19901" y="91239"/>
                  </a:lnTo>
                  <a:lnTo>
                    <a:pt x="19376" y="87608"/>
                  </a:lnTo>
                  <a:lnTo>
                    <a:pt x="18652" y="85387"/>
                  </a:lnTo>
                  <a:lnTo>
                    <a:pt x="18290" y="83018"/>
                  </a:lnTo>
                  <a:lnTo>
                    <a:pt x="20004" y="79612"/>
                  </a:lnTo>
                  <a:lnTo>
                    <a:pt x="19318" y="79057"/>
                  </a:lnTo>
                  <a:lnTo>
                    <a:pt x="17340" y="78607"/>
                  </a:lnTo>
                  <a:lnTo>
                    <a:pt x="15500" y="78017"/>
                  </a:lnTo>
                  <a:lnTo>
                    <a:pt x="15049" y="77134"/>
                  </a:lnTo>
                  <a:lnTo>
                    <a:pt x="15863" y="73778"/>
                  </a:lnTo>
                  <a:lnTo>
                    <a:pt x="14908" y="72460"/>
                  </a:lnTo>
                  <a:lnTo>
                    <a:pt x="13539" y="71129"/>
                  </a:lnTo>
                  <a:lnTo>
                    <a:pt x="13112" y="70598"/>
                  </a:lnTo>
                  <a:lnTo>
                    <a:pt x="12661" y="69910"/>
                  </a:lnTo>
                  <a:lnTo>
                    <a:pt x="12028" y="68222"/>
                  </a:lnTo>
                  <a:lnTo>
                    <a:pt x="13248" y="64668"/>
                  </a:lnTo>
                  <a:lnTo>
                    <a:pt x="14956" y="60545"/>
                  </a:lnTo>
                  <a:lnTo>
                    <a:pt x="15264" y="58973"/>
                  </a:lnTo>
                  <a:lnTo>
                    <a:pt x="15547" y="56242"/>
                  </a:lnTo>
                  <a:lnTo>
                    <a:pt x="15703" y="55195"/>
                  </a:lnTo>
                  <a:lnTo>
                    <a:pt x="15481" y="54163"/>
                  </a:lnTo>
                  <a:lnTo>
                    <a:pt x="13684" y="52965"/>
                  </a:lnTo>
                  <a:lnTo>
                    <a:pt x="10505" y="52481"/>
                  </a:lnTo>
                  <a:lnTo>
                    <a:pt x="8260" y="51481"/>
                  </a:lnTo>
                  <a:lnTo>
                    <a:pt x="6945" y="49965"/>
                  </a:lnTo>
                  <a:lnTo>
                    <a:pt x="5830" y="49358"/>
                  </a:lnTo>
                  <a:lnTo>
                    <a:pt x="4457" y="49806"/>
                  </a:lnTo>
                  <a:lnTo>
                    <a:pt x="2699" y="49216"/>
                  </a:lnTo>
                  <a:lnTo>
                    <a:pt x="1231" y="47711"/>
                  </a:lnTo>
                  <a:lnTo>
                    <a:pt x="0" y="45881"/>
                  </a:lnTo>
                  <a:lnTo>
                    <a:pt x="151" y="45021"/>
                  </a:lnTo>
                  <a:lnTo>
                    <a:pt x="480" y="43879"/>
                  </a:lnTo>
                  <a:lnTo>
                    <a:pt x="2794" y="39140"/>
                  </a:lnTo>
                  <a:lnTo>
                    <a:pt x="3658" y="38999"/>
                  </a:lnTo>
                  <a:lnTo>
                    <a:pt x="5662" y="39909"/>
                  </a:lnTo>
                  <a:lnTo>
                    <a:pt x="6411" y="39911"/>
                  </a:lnTo>
                  <a:lnTo>
                    <a:pt x="7728" y="38037"/>
                  </a:lnTo>
                  <a:lnTo>
                    <a:pt x="9570" y="32696"/>
                  </a:lnTo>
                  <a:lnTo>
                    <a:pt x="12170" y="32708"/>
                  </a:lnTo>
                  <a:lnTo>
                    <a:pt x="14464" y="32883"/>
                  </a:lnTo>
                  <a:lnTo>
                    <a:pt x="16012" y="33154"/>
                  </a:lnTo>
                  <a:lnTo>
                    <a:pt x="17553" y="32983"/>
                  </a:lnTo>
                  <a:lnTo>
                    <a:pt x="19165" y="32555"/>
                  </a:lnTo>
                  <a:lnTo>
                    <a:pt x="20042" y="31881"/>
                  </a:lnTo>
                  <a:lnTo>
                    <a:pt x="20525" y="31027"/>
                  </a:lnTo>
                  <a:lnTo>
                    <a:pt x="20359" y="30284"/>
                  </a:lnTo>
                  <a:lnTo>
                    <a:pt x="18383" y="29276"/>
                  </a:lnTo>
                  <a:lnTo>
                    <a:pt x="17621" y="28522"/>
                  </a:lnTo>
                  <a:lnTo>
                    <a:pt x="17070" y="26383"/>
                  </a:lnTo>
                  <a:lnTo>
                    <a:pt x="16489" y="25575"/>
                  </a:lnTo>
                  <a:lnTo>
                    <a:pt x="12604" y="25462"/>
                  </a:lnTo>
                  <a:lnTo>
                    <a:pt x="10592" y="24478"/>
                  </a:lnTo>
                  <a:lnTo>
                    <a:pt x="9484" y="23595"/>
                  </a:lnTo>
                  <a:lnTo>
                    <a:pt x="7510" y="20673"/>
                  </a:lnTo>
                  <a:lnTo>
                    <a:pt x="5075" y="18509"/>
                  </a:lnTo>
                  <a:lnTo>
                    <a:pt x="2743" y="17998"/>
                  </a:lnTo>
                  <a:lnTo>
                    <a:pt x="1840" y="17297"/>
                  </a:lnTo>
                  <a:lnTo>
                    <a:pt x="1352" y="16183"/>
                  </a:lnTo>
                  <a:lnTo>
                    <a:pt x="1634" y="14572"/>
                  </a:lnTo>
                  <a:lnTo>
                    <a:pt x="2334" y="13109"/>
                  </a:lnTo>
                  <a:lnTo>
                    <a:pt x="2816" y="11477"/>
                  </a:lnTo>
                  <a:lnTo>
                    <a:pt x="4681" y="9326"/>
                  </a:lnTo>
                  <a:lnTo>
                    <a:pt x="6867" y="7444"/>
                  </a:lnTo>
                  <a:lnTo>
                    <a:pt x="7841" y="6153"/>
                  </a:lnTo>
                  <a:lnTo>
                    <a:pt x="9220" y="4791"/>
                  </a:lnTo>
                  <a:lnTo>
                    <a:pt x="9385" y="4044"/>
                  </a:lnTo>
                  <a:lnTo>
                    <a:pt x="9139" y="3188"/>
                  </a:lnTo>
                  <a:lnTo>
                    <a:pt x="8022" y="2372"/>
                  </a:lnTo>
                  <a:lnTo>
                    <a:pt x="7253" y="2111"/>
                  </a:lnTo>
                  <a:lnTo>
                    <a:pt x="7130" y="1584"/>
                  </a:lnTo>
                  <a:lnTo>
                    <a:pt x="7661" y="176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87" name="ee4p_BH_1_82333">
              <a:extLst>
                <a:ext uri="{FF2B5EF4-FFF2-40B4-BE49-F238E27FC236}">
                  <a16:creationId xmlns:a16="http://schemas.microsoft.com/office/drawing/2014/main" id="{517FF565-C2D0-F9DD-2B0B-B1100369BE55}"/>
                </a:ext>
              </a:extLst>
            </p:cNvPr>
            <p:cNvSpPr>
              <a:spLocks noChangeAspect="1"/>
            </p:cNvSpPr>
            <p:nvPr>
              <p:custDataLst>
                <p:tags r:id="rId15"/>
              </p:custDataLst>
            </p:nvPr>
          </p:nvSpPr>
          <p:spPr>
            <a:xfrm>
              <a:off x="7915732" y="3909747"/>
              <a:ext cx="4584" cy="13419"/>
            </a:xfrm>
            <a:custGeom>
              <a:avLst/>
              <a:gdLst/>
              <a:ahLst/>
              <a:cxnLst/>
              <a:rect l="0" t="0" r="0" b="0"/>
              <a:pathLst>
                <a:path w="3650" h="10402">
                  <a:moveTo>
                    <a:pt x="3423" y="8597"/>
                  </a:moveTo>
                  <a:lnTo>
                    <a:pt x="2708" y="10401"/>
                  </a:lnTo>
                  <a:lnTo>
                    <a:pt x="2025" y="9769"/>
                  </a:lnTo>
                  <a:lnTo>
                    <a:pt x="298" y="6648"/>
                  </a:lnTo>
                  <a:lnTo>
                    <a:pt x="818" y="4450"/>
                  </a:lnTo>
                  <a:lnTo>
                    <a:pt x="0" y="1317"/>
                  </a:lnTo>
                  <a:lnTo>
                    <a:pt x="386" y="414"/>
                  </a:lnTo>
                  <a:lnTo>
                    <a:pt x="2468" y="0"/>
                  </a:lnTo>
                  <a:lnTo>
                    <a:pt x="2952" y="135"/>
                  </a:lnTo>
                  <a:lnTo>
                    <a:pt x="2330" y="1140"/>
                  </a:lnTo>
                  <a:lnTo>
                    <a:pt x="3479" y="2888"/>
                  </a:lnTo>
                  <a:lnTo>
                    <a:pt x="3649" y="5777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88" name="ee4p_BN_1_82333">
              <a:extLst>
                <a:ext uri="{FF2B5EF4-FFF2-40B4-BE49-F238E27FC236}">
                  <a16:creationId xmlns:a16="http://schemas.microsoft.com/office/drawing/2014/main" id="{59A0A2F3-1279-BE61-179E-6344C5A49B90}"/>
                </a:ext>
              </a:extLst>
            </p:cNvPr>
            <p:cNvSpPr>
              <a:spLocks noChangeAspect="1"/>
            </p:cNvSpPr>
            <p:nvPr>
              <p:custDataLst>
                <p:tags r:id="rId16"/>
              </p:custDataLst>
            </p:nvPr>
          </p:nvSpPr>
          <p:spPr>
            <a:xfrm>
              <a:off x="9682179" y="4532401"/>
              <a:ext cx="35069" cy="28537"/>
            </a:xfrm>
            <a:custGeom>
              <a:avLst/>
              <a:gdLst>
                <a:gd name="connsiteX0" fmla="*/ 23796 w 27925"/>
                <a:gd name="connsiteY0" fmla="*/ 2718 h 22121"/>
                <a:gd name="connsiteX1" fmla="*/ 24424 w 27925"/>
                <a:gd name="connsiteY1" fmla="*/ 3450 h 22121"/>
                <a:gd name="connsiteX2" fmla="*/ 25740 w 27925"/>
                <a:gd name="connsiteY2" fmla="*/ 6024 h 22121"/>
                <a:gd name="connsiteX3" fmla="*/ 26597 w 27925"/>
                <a:gd name="connsiteY3" fmla="*/ 8607 h 22121"/>
                <a:gd name="connsiteX4" fmla="*/ 26875 w 27925"/>
                <a:gd name="connsiteY4" fmla="*/ 12543 h 22121"/>
                <a:gd name="connsiteX5" fmla="*/ 27925 w 27925"/>
                <a:gd name="connsiteY5" fmla="*/ 14218 h 22121"/>
                <a:gd name="connsiteX6" fmla="*/ 27759 w 27925"/>
                <a:gd name="connsiteY6" fmla="*/ 14561 h 22121"/>
                <a:gd name="connsiteX7" fmla="*/ 27126 w 27925"/>
                <a:gd name="connsiteY7" fmla="*/ 14842 h 22121"/>
                <a:gd name="connsiteX8" fmla="*/ 26154 w 27925"/>
                <a:gd name="connsiteY8" fmla="*/ 14961 h 22121"/>
                <a:gd name="connsiteX9" fmla="*/ 24472 w 27925"/>
                <a:gd name="connsiteY9" fmla="*/ 14585 h 22121"/>
                <a:gd name="connsiteX10" fmla="*/ 23066 w 27925"/>
                <a:gd name="connsiteY10" fmla="*/ 14004 h 22121"/>
                <a:gd name="connsiteX11" fmla="*/ 21840 w 27925"/>
                <a:gd name="connsiteY11" fmla="*/ 9745 h 22121"/>
                <a:gd name="connsiteX12" fmla="*/ 21291 w 27925"/>
                <a:gd name="connsiteY12" fmla="*/ 7336 h 22121"/>
                <a:gd name="connsiteX13" fmla="*/ 21337 w 27925"/>
                <a:gd name="connsiteY13" fmla="*/ 4460 h 22121"/>
                <a:gd name="connsiteX14" fmla="*/ 21291 w 27925"/>
                <a:gd name="connsiteY14" fmla="*/ 2719 h 22121"/>
                <a:gd name="connsiteX15" fmla="*/ 20598 w 27925"/>
                <a:gd name="connsiteY15" fmla="*/ 0 h 22121"/>
                <a:gd name="connsiteX16" fmla="*/ 21753 w 27925"/>
                <a:gd name="connsiteY16" fmla="*/ 133 h 22121"/>
                <a:gd name="connsiteX17" fmla="*/ 21741 w 27925"/>
                <a:gd name="connsiteY17" fmla="*/ 1328 h 22121"/>
                <a:gd name="connsiteX18" fmla="*/ 21291 w 27925"/>
                <a:gd name="connsiteY18" fmla="*/ 2719 h 22121"/>
                <a:gd name="connsiteX19" fmla="*/ 19477 w 27925"/>
                <a:gd name="connsiteY19" fmla="*/ 3682 h 22121"/>
                <a:gd name="connsiteX20" fmla="*/ 17704 w 27925"/>
                <a:gd name="connsiteY20" fmla="*/ 4890 h 22121"/>
                <a:gd name="connsiteX21" fmla="*/ 15928 w 27925"/>
                <a:gd name="connsiteY21" fmla="*/ 5930 h 22121"/>
                <a:gd name="connsiteX22" fmla="*/ 15098 w 27925"/>
                <a:gd name="connsiteY22" fmla="*/ 6744 h 22121"/>
                <a:gd name="connsiteX23" fmla="*/ 15392 w 27925"/>
                <a:gd name="connsiteY23" fmla="*/ 7887 h 22121"/>
                <a:gd name="connsiteX24" fmla="*/ 15819 w 27925"/>
                <a:gd name="connsiteY24" fmla="*/ 10401 h 22121"/>
                <a:gd name="connsiteX25" fmla="*/ 16060 w 27925"/>
                <a:gd name="connsiteY25" fmla="*/ 12376 h 22121"/>
                <a:gd name="connsiteX26" fmla="*/ 16681 w 27925"/>
                <a:gd name="connsiteY26" fmla="*/ 13154 h 22121"/>
                <a:gd name="connsiteX27" fmla="*/ 17167 w 27925"/>
                <a:gd name="connsiteY27" fmla="*/ 13942 h 22121"/>
                <a:gd name="connsiteX28" fmla="*/ 16964 w 27925"/>
                <a:gd name="connsiteY28" fmla="*/ 14800 h 22121"/>
                <a:gd name="connsiteX29" fmla="*/ 15912 w 27925"/>
                <a:gd name="connsiteY29" fmla="*/ 16433 h 22121"/>
                <a:gd name="connsiteX30" fmla="*/ 16508 w 27925"/>
                <a:gd name="connsiteY30" fmla="*/ 16749 h 22121"/>
                <a:gd name="connsiteX31" fmla="*/ 15750 w 27925"/>
                <a:gd name="connsiteY31" fmla="*/ 18913 h 22121"/>
                <a:gd name="connsiteX32" fmla="*/ 14619 w 27925"/>
                <a:gd name="connsiteY32" fmla="*/ 20514 h 22121"/>
                <a:gd name="connsiteX33" fmla="*/ 13051 w 27925"/>
                <a:gd name="connsiteY33" fmla="*/ 21818 h 22121"/>
                <a:gd name="connsiteX34" fmla="*/ 12038 w 27925"/>
                <a:gd name="connsiteY34" fmla="*/ 22121 h 22121"/>
                <a:gd name="connsiteX35" fmla="*/ 11230 w 27925"/>
                <a:gd name="connsiteY35" fmla="*/ 21565 h 22121"/>
                <a:gd name="connsiteX36" fmla="*/ 9913 w 27925"/>
                <a:gd name="connsiteY36" fmla="*/ 20137 h 22121"/>
                <a:gd name="connsiteX37" fmla="*/ 8473 w 27925"/>
                <a:gd name="connsiteY37" fmla="*/ 18143 h 22121"/>
                <a:gd name="connsiteX38" fmla="*/ 7800 w 27925"/>
                <a:gd name="connsiteY38" fmla="*/ 16985 h 22121"/>
                <a:gd name="connsiteX39" fmla="*/ 5728 w 27925"/>
                <a:gd name="connsiteY39" fmla="*/ 16831 h 22121"/>
                <a:gd name="connsiteX40" fmla="*/ 4992 w 27925"/>
                <a:gd name="connsiteY40" fmla="*/ 15914 h 22121"/>
                <a:gd name="connsiteX41" fmla="*/ 4947 w 27925"/>
                <a:gd name="connsiteY41" fmla="*/ 14795 h 22121"/>
                <a:gd name="connsiteX42" fmla="*/ 4360 w 27925"/>
                <a:gd name="connsiteY42" fmla="*/ 13476 h 22121"/>
                <a:gd name="connsiteX43" fmla="*/ 3543 w 27925"/>
                <a:gd name="connsiteY43" fmla="*/ 12066 h 22121"/>
                <a:gd name="connsiteX44" fmla="*/ 2321 w 27925"/>
                <a:gd name="connsiteY44" fmla="*/ 10979 h 22121"/>
                <a:gd name="connsiteX45" fmla="*/ 691 w 27925"/>
                <a:gd name="connsiteY45" fmla="*/ 10131 h 22121"/>
                <a:gd name="connsiteX46" fmla="*/ 0 w 27925"/>
                <a:gd name="connsiteY46" fmla="*/ 9523 h 22121"/>
                <a:gd name="connsiteX47" fmla="*/ 2522 w 27925"/>
                <a:gd name="connsiteY47" fmla="*/ 9561 h 22121"/>
                <a:gd name="connsiteX48" fmla="*/ 5208 w 27925"/>
                <a:gd name="connsiteY48" fmla="*/ 9202 h 22121"/>
                <a:gd name="connsiteX49" fmla="*/ 7973 w 27925"/>
                <a:gd name="connsiteY49" fmla="*/ 8022 h 22121"/>
                <a:gd name="connsiteX50" fmla="*/ 10633 w 27925"/>
                <a:gd name="connsiteY50" fmla="*/ 6601 h 22121"/>
                <a:gd name="connsiteX51" fmla="*/ 12870 w 27925"/>
                <a:gd name="connsiteY51" fmla="*/ 4970 h 22121"/>
                <a:gd name="connsiteX52" fmla="*/ 14969 w 27925"/>
                <a:gd name="connsiteY52" fmla="*/ 3133 h 22121"/>
                <a:gd name="connsiteX53" fmla="*/ 17176 w 27925"/>
                <a:gd name="connsiteY53" fmla="*/ 1684 h 221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27925" h="22121">
                  <a:moveTo>
                    <a:pt x="23796" y="2718"/>
                  </a:moveTo>
                  <a:lnTo>
                    <a:pt x="24424" y="3450"/>
                  </a:lnTo>
                  <a:lnTo>
                    <a:pt x="25740" y="6024"/>
                  </a:lnTo>
                  <a:lnTo>
                    <a:pt x="26597" y="8607"/>
                  </a:lnTo>
                  <a:lnTo>
                    <a:pt x="26875" y="12543"/>
                  </a:lnTo>
                  <a:lnTo>
                    <a:pt x="27925" y="14218"/>
                  </a:lnTo>
                  <a:lnTo>
                    <a:pt x="27759" y="14561"/>
                  </a:lnTo>
                  <a:lnTo>
                    <a:pt x="27126" y="14842"/>
                  </a:lnTo>
                  <a:lnTo>
                    <a:pt x="26154" y="14961"/>
                  </a:lnTo>
                  <a:lnTo>
                    <a:pt x="24472" y="14585"/>
                  </a:lnTo>
                  <a:lnTo>
                    <a:pt x="23066" y="14004"/>
                  </a:lnTo>
                  <a:lnTo>
                    <a:pt x="21840" y="9745"/>
                  </a:lnTo>
                  <a:lnTo>
                    <a:pt x="21291" y="7336"/>
                  </a:lnTo>
                  <a:lnTo>
                    <a:pt x="21337" y="4460"/>
                  </a:lnTo>
                  <a:lnTo>
                    <a:pt x="21291" y="2719"/>
                  </a:lnTo>
                  <a:close/>
                  <a:moveTo>
                    <a:pt x="20598" y="0"/>
                  </a:moveTo>
                  <a:lnTo>
                    <a:pt x="21753" y="133"/>
                  </a:lnTo>
                  <a:lnTo>
                    <a:pt x="21741" y="1328"/>
                  </a:lnTo>
                  <a:lnTo>
                    <a:pt x="21291" y="2719"/>
                  </a:lnTo>
                  <a:lnTo>
                    <a:pt x="19477" y="3682"/>
                  </a:lnTo>
                  <a:lnTo>
                    <a:pt x="17704" y="4890"/>
                  </a:lnTo>
                  <a:lnTo>
                    <a:pt x="15928" y="5930"/>
                  </a:lnTo>
                  <a:lnTo>
                    <a:pt x="15098" y="6744"/>
                  </a:lnTo>
                  <a:lnTo>
                    <a:pt x="15392" y="7887"/>
                  </a:lnTo>
                  <a:lnTo>
                    <a:pt x="15819" y="10401"/>
                  </a:lnTo>
                  <a:lnTo>
                    <a:pt x="16060" y="12376"/>
                  </a:lnTo>
                  <a:lnTo>
                    <a:pt x="16681" y="13154"/>
                  </a:lnTo>
                  <a:lnTo>
                    <a:pt x="17167" y="13942"/>
                  </a:lnTo>
                  <a:lnTo>
                    <a:pt x="16964" y="14800"/>
                  </a:lnTo>
                  <a:lnTo>
                    <a:pt x="15912" y="16433"/>
                  </a:lnTo>
                  <a:lnTo>
                    <a:pt x="16508" y="16749"/>
                  </a:lnTo>
                  <a:lnTo>
                    <a:pt x="15750" y="18913"/>
                  </a:lnTo>
                  <a:lnTo>
                    <a:pt x="14619" y="20514"/>
                  </a:lnTo>
                  <a:lnTo>
                    <a:pt x="13051" y="21818"/>
                  </a:lnTo>
                  <a:lnTo>
                    <a:pt x="12038" y="22121"/>
                  </a:lnTo>
                  <a:lnTo>
                    <a:pt x="11230" y="21565"/>
                  </a:lnTo>
                  <a:lnTo>
                    <a:pt x="9913" y="20137"/>
                  </a:lnTo>
                  <a:lnTo>
                    <a:pt x="8473" y="18143"/>
                  </a:lnTo>
                  <a:lnTo>
                    <a:pt x="7800" y="16985"/>
                  </a:lnTo>
                  <a:lnTo>
                    <a:pt x="5728" y="16831"/>
                  </a:lnTo>
                  <a:lnTo>
                    <a:pt x="4992" y="15914"/>
                  </a:lnTo>
                  <a:lnTo>
                    <a:pt x="4947" y="14795"/>
                  </a:lnTo>
                  <a:lnTo>
                    <a:pt x="4360" y="13476"/>
                  </a:lnTo>
                  <a:lnTo>
                    <a:pt x="3543" y="12066"/>
                  </a:lnTo>
                  <a:lnTo>
                    <a:pt x="2321" y="10979"/>
                  </a:lnTo>
                  <a:lnTo>
                    <a:pt x="691" y="10131"/>
                  </a:lnTo>
                  <a:lnTo>
                    <a:pt x="0" y="9523"/>
                  </a:lnTo>
                  <a:lnTo>
                    <a:pt x="2522" y="9561"/>
                  </a:lnTo>
                  <a:lnTo>
                    <a:pt x="5208" y="9202"/>
                  </a:lnTo>
                  <a:lnTo>
                    <a:pt x="7973" y="8022"/>
                  </a:lnTo>
                  <a:lnTo>
                    <a:pt x="10633" y="6601"/>
                  </a:lnTo>
                  <a:lnTo>
                    <a:pt x="12870" y="4970"/>
                  </a:lnTo>
                  <a:lnTo>
                    <a:pt x="14969" y="3133"/>
                  </a:lnTo>
                  <a:lnTo>
                    <a:pt x="17176" y="1684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89" name="ee4p_BT_1_82333">
              <a:extLst>
                <a:ext uri="{FF2B5EF4-FFF2-40B4-BE49-F238E27FC236}">
                  <a16:creationId xmlns:a16="http://schemas.microsoft.com/office/drawing/2014/main" id="{6CE426D0-8762-7EDF-94FE-89F8D82BA082}"/>
                </a:ext>
              </a:extLst>
            </p:cNvPr>
            <p:cNvSpPr>
              <a:spLocks noChangeAspect="1"/>
            </p:cNvSpPr>
            <p:nvPr>
              <p:custDataLst>
                <p:tags r:id="rId17"/>
              </p:custDataLst>
            </p:nvPr>
          </p:nvSpPr>
          <p:spPr>
            <a:xfrm>
              <a:off x="8978918" y="3846299"/>
              <a:ext cx="92878" cy="49526"/>
            </a:xfrm>
            <a:custGeom>
              <a:avLst/>
              <a:gdLst/>
              <a:ahLst/>
              <a:cxnLst/>
              <a:rect l="0" t="0" r="0" b="0"/>
              <a:pathLst>
                <a:path w="73957" h="38391">
                  <a:moveTo>
                    <a:pt x="63973" y="13187"/>
                  </a:moveTo>
                  <a:lnTo>
                    <a:pt x="63839" y="13728"/>
                  </a:lnTo>
                  <a:lnTo>
                    <a:pt x="63215" y="15167"/>
                  </a:lnTo>
                  <a:lnTo>
                    <a:pt x="62810" y="16732"/>
                  </a:lnTo>
                  <a:lnTo>
                    <a:pt x="63151" y="18015"/>
                  </a:lnTo>
                  <a:lnTo>
                    <a:pt x="64552" y="19543"/>
                  </a:lnTo>
                  <a:lnTo>
                    <a:pt x="66431" y="20761"/>
                  </a:lnTo>
                  <a:lnTo>
                    <a:pt x="68823" y="20854"/>
                  </a:lnTo>
                  <a:lnTo>
                    <a:pt x="71028" y="20385"/>
                  </a:lnTo>
                  <a:lnTo>
                    <a:pt x="71909" y="20578"/>
                  </a:lnTo>
                  <a:lnTo>
                    <a:pt x="73105" y="22616"/>
                  </a:lnTo>
                  <a:lnTo>
                    <a:pt x="73956" y="24381"/>
                  </a:lnTo>
                  <a:lnTo>
                    <a:pt x="72801" y="26199"/>
                  </a:lnTo>
                  <a:lnTo>
                    <a:pt x="72168" y="27792"/>
                  </a:lnTo>
                  <a:lnTo>
                    <a:pt x="71942" y="28922"/>
                  </a:lnTo>
                  <a:lnTo>
                    <a:pt x="72082" y="29412"/>
                  </a:lnTo>
                  <a:lnTo>
                    <a:pt x="72795" y="30327"/>
                  </a:lnTo>
                  <a:lnTo>
                    <a:pt x="73619" y="31888"/>
                  </a:lnTo>
                  <a:lnTo>
                    <a:pt x="73736" y="33323"/>
                  </a:lnTo>
                  <a:lnTo>
                    <a:pt x="73212" y="34274"/>
                  </a:lnTo>
                  <a:lnTo>
                    <a:pt x="72075" y="34746"/>
                  </a:lnTo>
                  <a:lnTo>
                    <a:pt x="70868" y="34607"/>
                  </a:lnTo>
                  <a:lnTo>
                    <a:pt x="69871" y="34625"/>
                  </a:lnTo>
                  <a:lnTo>
                    <a:pt x="68620" y="34793"/>
                  </a:lnTo>
                  <a:lnTo>
                    <a:pt x="66666" y="35321"/>
                  </a:lnTo>
                  <a:lnTo>
                    <a:pt x="64850" y="36005"/>
                  </a:lnTo>
                  <a:lnTo>
                    <a:pt x="61445" y="35878"/>
                  </a:lnTo>
                  <a:lnTo>
                    <a:pt x="60080" y="34463"/>
                  </a:lnTo>
                  <a:lnTo>
                    <a:pt x="59436" y="34458"/>
                  </a:lnTo>
                  <a:lnTo>
                    <a:pt x="56336" y="36291"/>
                  </a:lnTo>
                  <a:lnTo>
                    <a:pt x="52961" y="35971"/>
                  </a:lnTo>
                  <a:lnTo>
                    <a:pt x="46811" y="36581"/>
                  </a:lnTo>
                  <a:lnTo>
                    <a:pt x="44243" y="36725"/>
                  </a:lnTo>
                  <a:lnTo>
                    <a:pt x="41604" y="36522"/>
                  </a:lnTo>
                  <a:lnTo>
                    <a:pt x="40268" y="36133"/>
                  </a:lnTo>
                  <a:lnTo>
                    <a:pt x="37787" y="34846"/>
                  </a:lnTo>
                  <a:lnTo>
                    <a:pt x="35536" y="33906"/>
                  </a:lnTo>
                  <a:lnTo>
                    <a:pt x="33247" y="34765"/>
                  </a:lnTo>
                  <a:lnTo>
                    <a:pt x="32444" y="34923"/>
                  </a:lnTo>
                  <a:lnTo>
                    <a:pt x="30606" y="37131"/>
                  </a:lnTo>
                  <a:lnTo>
                    <a:pt x="26631" y="37859"/>
                  </a:lnTo>
                  <a:lnTo>
                    <a:pt x="22667" y="38390"/>
                  </a:lnTo>
                  <a:lnTo>
                    <a:pt x="21496" y="38097"/>
                  </a:lnTo>
                  <a:lnTo>
                    <a:pt x="19264" y="37966"/>
                  </a:lnTo>
                  <a:lnTo>
                    <a:pt x="19179" y="37451"/>
                  </a:lnTo>
                  <a:lnTo>
                    <a:pt x="19246" y="36950"/>
                  </a:lnTo>
                  <a:lnTo>
                    <a:pt x="18737" y="36552"/>
                  </a:lnTo>
                  <a:lnTo>
                    <a:pt x="17830" y="36141"/>
                  </a:lnTo>
                  <a:lnTo>
                    <a:pt x="16271" y="35971"/>
                  </a:lnTo>
                  <a:lnTo>
                    <a:pt x="14271" y="35421"/>
                  </a:lnTo>
                  <a:lnTo>
                    <a:pt x="13120" y="34896"/>
                  </a:lnTo>
                  <a:lnTo>
                    <a:pt x="9053" y="35668"/>
                  </a:lnTo>
                  <a:lnTo>
                    <a:pt x="6681" y="34507"/>
                  </a:lnTo>
                  <a:lnTo>
                    <a:pt x="3988" y="32910"/>
                  </a:lnTo>
                  <a:lnTo>
                    <a:pt x="2627" y="32214"/>
                  </a:lnTo>
                  <a:lnTo>
                    <a:pt x="2131" y="29739"/>
                  </a:lnTo>
                  <a:lnTo>
                    <a:pt x="1654" y="28943"/>
                  </a:lnTo>
                  <a:lnTo>
                    <a:pt x="593" y="28105"/>
                  </a:lnTo>
                  <a:lnTo>
                    <a:pt x="0" y="27121"/>
                  </a:lnTo>
                  <a:lnTo>
                    <a:pt x="476" y="26108"/>
                  </a:lnTo>
                  <a:lnTo>
                    <a:pt x="3158" y="24218"/>
                  </a:lnTo>
                  <a:lnTo>
                    <a:pt x="3375" y="23775"/>
                  </a:lnTo>
                  <a:lnTo>
                    <a:pt x="4616" y="20249"/>
                  </a:lnTo>
                  <a:lnTo>
                    <a:pt x="6340" y="18964"/>
                  </a:lnTo>
                  <a:lnTo>
                    <a:pt x="8039" y="17182"/>
                  </a:lnTo>
                  <a:lnTo>
                    <a:pt x="9324" y="14349"/>
                  </a:lnTo>
                  <a:lnTo>
                    <a:pt x="11805" y="11438"/>
                  </a:lnTo>
                  <a:lnTo>
                    <a:pt x="14530" y="8450"/>
                  </a:lnTo>
                  <a:lnTo>
                    <a:pt x="16404" y="6015"/>
                  </a:lnTo>
                  <a:lnTo>
                    <a:pt x="17648" y="4879"/>
                  </a:lnTo>
                  <a:lnTo>
                    <a:pt x="20209" y="3662"/>
                  </a:lnTo>
                  <a:lnTo>
                    <a:pt x="22356" y="2946"/>
                  </a:lnTo>
                  <a:lnTo>
                    <a:pt x="23839" y="1315"/>
                  </a:lnTo>
                  <a:lnTo>
                    <a:pt x="25629" y="409"/>
                  </a:lnTo>
                  <a:lnTo>
                    <a:pt x="27469" y="0"/>
                  </a:lnTo>
                  <a:lnTo>
                    <a:pt x="30199" y="219"/>
                  </a:lnTo>
                  <a:lnTo>
                    <a:pt x="32771" y="802"/>
                  </a:lnTo>
                  <a:lnTo>
                    <a:pt x="35588" y="1611"/>
                  </a:lnTo>
                  <a:lnTo>
                    <a:pt x="35915" y="2268"/>
                  </a:lnTo>
                  <a:lnTo>
                    <a:pt x="35674" y="3425"/>
                  </a:lnTo>
                  <a:lnTo>
                    <a:pt x="35269" y="4599"/>
                  </a:lnTo>
                  <a:lnTo>
                    <a:pt x="35253" y="5201"/>
                  </a:lnTo>
                  <a:lnTo>
                    <a:pt x="35687" y="5530"/>
                  </a:lnTo>
                  <a:lnTo>
                    <a:pt x="38443" y="5754"/>
                  </a:lnTo>
                  <a:lnTo>
                    <a:pt x="41820" y="5570"/>
                  </a:lnTo>
                  <a:lnTo>
                    <a:pt x="43714" y="5733"/>
                  </a:lnTo>
                  <a:lnTo>
                    <a:pt x="47936" y="6815"/>
                  </a:lnTo>
                  <a:lnTo>
                    <a:pt x="49171" y="7579"/>
                  </a:lnTo>
                  <a:lnTo>
                    <a:pt x="50460" y="8165"/>
                  </a:lnTo>
                  <a:lnTo>
                    <a:pt x="51719" y="8060"/>
                  </a:lnTo>
                  <a:lnTo>
                    <a:pt x="53314" y="6809"/>
                  </a:lnTo>
                  <a:lnTo>
                    <a:pt x="54995" y="5745"/>
                  </a:lnTo>
                  <a:lnTo>
                    <a:pt x="56037" y="5575"/>
                  </a:lnTo>
                  <a:lnTo>
                    <a:pt x="56785" y="5918"/>
                  </a:lnTo>
                  <a:lnTo>
                    <a:pt x="58128" y="6932"/>
                  </a:lnTo>
                  <a:lnTo>
                    <a:pt x="60909" y="7885"/>
                  </a:lnTo>
                  <a:lnTo>
                    <a:pt x="63390" y="8604"/>
                  </a:lnTo>
                  <a:lnTo>
                    <a:pt x="64193" y="9285"/>
                  </a:lnTo>
                  <a:lnTo>
                    <a:pt x="63918" y="12209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90" name="ee4p_CN_1_82333">
              <a:extLst>
                <a:ext uri="{FF2B5EF4-FFF2-40B4-BE49-F238E27FC236}">
                  <a16:creationId xmlns:a16="http://schemas.microsoft.com/office/drawing/2014/main" id="{AF7CE73A-5381-FC10-A753-FC99995C2A9E}"/>
                </a:ext>
              </a:extLst>
            </p:cNvPr>
            <p:cNvSpPr>
              <a:spLocks noChangeAspect="1"/>
            </p:cNvSpPr>
            <p:nvPr>
              <p:custDataLst>
                <p:tags r:id="rId18"/>
              </p:custDataLst>
            </p:nvPr>
          </p:nvSpPr>
          <p:spPr>
            <a:xfrm>
              <a:off x="8558727" y="2981873"/>
              <a:ext cx="1697958" cy="1168528"/>
            </a:xfrm>
            <a:custGeom>
              <a:avLst/>
              <a:gdLst>
                <a:gd name="connsiteX0" fmla="*/ 819130 w 1352046"/>
                <a:gd name="connsiteY0" fmla="*/ 861795 h 905809"/>
                <a:gd name="connsiteX1" fmla="*/ 819723 w 1352046"/>
                <a:gd name="connsiteY1" fmla="*/ 861811 h 905809"/>
                <a:gd name="connsiteX2" fmla="*/ 821182 w 1352046"/>
                <a:gd name="connsiteY2" fmla="*/ 863596 h 905809"/>
                <a:gd name="connsiteX3" fmla="*/ 822609 w 1352046"/>
                <a:gd name="connsiteY3" fmla="*/ 864633 h 905809"/>
                <a:gd name="connsiteX4" fmla="*/ 824372 w 1352046"/>
                <a:gd name="connsiteY4" fmla="*/ 865150 h 905809"/>
                <a:gd name="connsiteX5" fmla="*/ 825467 w 1352046"/>
                <a:gd name="connsiteY5" fmla="*/ 866171 h 905809"/>
                <a:gd name="connsiteX6" fmla="*/ 826184 w 1352046"/>
                <a:gd name="connsiteY6" fmla="*/ 867648 h 905809"/>
                <a:gd name="connsiteX7" fmla="*/ 826780 w 1352046"/>
                <a:gd name="connsiteY7" fmla="*/ 870375 h 905809"/>
                <a:gd name="connsiteX8" fmla="*/ 827134 w 1352046"/>
                <a:gd name="connsiteY8" fmla="*/ 872884 h 905809"/>
                <a:gd name="connsiteX9" fmla="*/ 824901 w 1352046"/>
                <a:gd name="connsiteY9" fmla="*/ 874478 h 905809"/>
                <a:gd name="connsiteX10" fmla="*/ 822901 w 1352046"/>
                <a:gd name="connsiteY10" fmla="*/ 875125 h 905809"/>
                <a:gd name="connsiteX11" fmla="*/ 818891 w 1352046"/>
                <a:gd name="connsiteY11" fmla="*/ 881246 h 905809"/>
                <a:gd name="connsiteX12" fmla="*/ 818055 w 1352046"/>
                <a:gd name="connsiteY12" fmla="*/ 883177 h 905809"/>
                <a:gd name="connsiteX13" fmla="*/ 817371 w 1352046"/>
                <a:gd name="connsiteY13" fmla="*/ 883983 h 905809"/>
                <a:gd name="connsiteX14" fmla="*/ 817157 w 1352046"/>
                <a:gd name="connsiteY14" fmla="*/ 884825 h 905809"/>
                <a:gd name="connsiteX15" fmla="*/ 817235 w 1352046"/>
                <a:gd name="connsiteY15" fmla="*/ 885664 h 905809"/>
                <a:gd name="connsiteX16" fmla="*/ 816203 w 1352046"/>
                <a:gd name="connsiteY16" fmla="*/ 888605 h 905809"/>
                <a:gd name="connsiteX17" fmla="*/ 815281 w 1352046"/>
                <a:gd name="connsiteY17" fmla="*/ 892215 h 905809"/>
                <a:gd name="connsiteX18" fmla="*/ 814697 w 1352046"/>
                <a:gd name="connsiteY18" fmla="*/ 893695 h 905809"/>
                <a:gd name="connsiteX19" fmla="*/ 813553 w 1352046"/>
                <a:gd name="connsiteY19" fmla="*/ 894831 h 905809"/>
                <a:gd name="connsiteX20" fmla="*/ 812098 w 1352046"/>
                <a:gd name="connsiteY20" fmla="*/ 895404 h 905809"/>
                <a:gd name="connsiteX21" fmla="*/ 811150 w 1352046"/>
                <a:gd name="connsiteY21" fmla="*/ 895490 h 905809"/>
                <a:gd name="connsiteX22" fmla="*/ 810286 w 1352046"/>
                <a:gd name="connsiteY22" fmla="*/ 895805 h 905809"/>
                <a:gd name="connsiteX23" fmla="*/ 808175 w 1352046"/>
                <a:gd name="connsiteY23" fmla="*/ 897772 h 905809"/>
                <a:gd name="connsiteX24" fmla="*/ 805793 w 1352046"/>
                <a:gd name="connsiteY24" fmla="*/ 899249 h 905809"/>
                <a:gd name="connsiteX25" fmla="*/ 806188 w 1352046"/>
                <a:gd name="connsiteY25" fmla="*/ 899926 h 905809"/>
                <a:gd name="connsiteX26" fmla="*/ 806210 w 1352046"/>
                <a:gd name="connsiteY26" fmla="*/ 900568 h 905809"/>
                <a:gd name="connsiteX27" fmla="*/ 805166 w 1352046"/>
                <a:gd name="connsiteY27" fmla="*/ 901284 h 905809"/>
                <a:gd name="connsiteX28" fmla="*/ 804004 w 1352046"/>
                <a:gd name="connsiteY28" fmla="*/ 901151 h 905809"/>
                <a:gd name="connsiteX29" fmla="*/ 800642 w 1352046"/>
                <a:gd name="connsiteY29" fmla="*/ 901731 h 905809"/>
                <a:gd name="connsiteX30" fmla="*/ 799407 w 1352046"/>
                <a:gd name="connsiteY30" fmla="*/ 902838 h 905809"/>
                <a:gd name="connsiteX31" fmla="*/ 798146 w 1352046"/>
                <a:gd name="connsiteY31" fmla="*/ 904875 h 905809"/>
                <a:gd name="connsiteX32" fmla="*/ 797667 w 1352046"/>
                <a:gd name="connsiteY32" fmla="*/ 905149 h 905809"/>
                <a:gd name="connsiteX33" fmla="*/ 795644 w 1352046"/>
                <a:gd name="connsiteY33" fmla="*/ 905625 h 905809"/>
                <a:gd name="connsiteX34" fmla="*/ 794091 w 1352046"/>
                <a:gd name="connsiteY34" fmla="*/ 905809 h 905809"/>
                <a:gd name="connsiteX35" fmla="*/ 791454 w 1352046"/>
                <a:gd name="connsiteY35" fmla="*/ 904373 h 905809"/>
                <a:gd name="connsiteX36" fmla="*/ 790145 w 1352046"/>
                <a:gd name="connsiteY36" fmla="*/ 903950 h 905809"/>
                <a:gd name="connsiteX37" fmla="*/ 786658 w 1352046"/>
                <a:gd name="connsiteY37" fmla="*/ 903367 h 905809"/>
                <a:gd name="connsiteX38" fmla="*/ 783268 w 1352046"/>
                <a:gd name="connsiteY38" fmla="*/ 902392 h 905809"/>
                <a:gd name="connsiteX39" fmla="*/ 780888 w 1352046"/>
                <a:gd name="connsiteY39" fmla="*/ 901287 h 905809"/>
                <a:gd name="connsiteX40" fmla="*/ 776008 w 1352046"/>
                <a:gd name="connsiteY40" fmla="*/ 898562 h 905809"/>
                <a:gd name="connsiteX41" fmla="*/ 775444 w 1352046"/>
                <a:gd name="connsiteY41" fmla="*/ 893643 h 905809"/>
                <a:gd name="connsiteX42" fmla="*/ 774605 w 1352046"/>
                <a:gd name="connsiteY42" fmla="*/ 890985 h 905809"/>
                <a:gd name="connsiteX43" fmla="*/ 774550 w 1352046"/>
                <a:gd name="connsiteY43" fmla="*/ 890037 h 905809"/>
                <a:gd name="connsiteX44" fmla="*/ 774868 w 1352046"/>
                <a:gd name="connsiteY44" fmla="*/ 881847 h 905809"/>
                <a:gd name="connsiteX45" fmla="*/ 775211 w 1352046"/>
                <a:gd name="connsiteY45" fmla="*/ 880951 h 905809"/>
                <a:gd name="connsiteX46" fmla="*/ 775831 w 1352046"/>
                <a:gd name="connsiteY46" fmla="*/ 880166 h 905809"/>
                <a:gd name="connsiteX47" fmla="*/ 777986 w 1352046"/>
                <a:gd name="connsiteY47" fmla="*/ 878333 h 905809"/>
                <a:gd name="connsiteX48" fmla="*/ 780458 w 1352046"/>
                <a:gd name="connsiteY48" fmla="*/ 876883 h 905809"/>
                <a:gd name="connsiteX49" fmla="*/ 783998 w 1352046"/>
                <a:gd name="connsiteY49" fmla="*/ 873847 h 905809"/>
                <a:gd name="connsiteX50" fmla="*/ 786567 w 1352046"/>
                <a:gd name="connsiteY50" fmla="*/ 872456 h 905809"/>
                <a:gd name="connsiteX51" fmla="*/ 788725 w 1352046"/>
                <a:gd name="connsiteY51" fmla="*/ 870457 h 905809"/>
                <a:gd name="connsiteX52" fmla="*/ 787461 w 1352046"/>
                <a:gd name="connsiteY52" fmla="*/ 870541 h 905809"/>
                <a:gd name="connsiteX53" fmla="*/ 786531 w 1352046"/>
                <a:gd name="connsiteY53" fmla="*/ 870288 h 905809"/>
                <a:gd name="connsiteX54" fmla="*/ 787449 w 1352046"/>
                <a:gd name="connsiteY54" fmla="*/ 868579 h 905809"/>
                <a:gd name="connsiteX55" fmla="*/ 788433 w 1352046"/>
                <a:gd name="connsiteY55" fmla="*/ 867663 h 905809"/>
                <a:gd name="connsiteX56" fmla="*/ 789569 w 1352046"/>
                <a:gd name="connsiteY56" fmla="*/ 867163 h 905809"/>
                <a:gd name="connsiteX57" fmla="*/ 791854 w 1352046"/>
                <a:gd name="connsiteY57" fmla="*/ 867522 h 905809"/>
                <a:gd name="connsiteX58" fmla="*/ 793965 w 1352046"/>
                <a:gd name="connsiteY58" fmla="*/ 867167 h 905809"/>
                <a:gd name="connsiteX59" fmla="*/ 795526 w 1352046"/>
                <a:gd name="connsiteY59" fmla="*/ 865648 h 905809"/>
                <a:gd name="connsiteX60" fmla="*/ 797010 w 1352046"/>
                <a:gd name="connsiteY60" fmla="*/ 865324 h 905809"/>
                <a:gd name="connsiteX61" fmla="*/ 802646 w 1352046"/>
                <a:gd name="connsiteY61" fmla="*/ 865822 h 905809"/>
                <a:gd name="connsiteX62" fmla="*/ 806554 w 1352046"/>
                <a:gd name="connsiteY62" fmla="*/ 865127 h 905809"/>
                <a:gd name="connsiteX63" fmla="*/ 808513 w 1352046"/>
                <a:gd name="connsiteY63" fmla="*/ 863729 h 905809"/>
                <a:gd name="connsiteX64" fmla="*/ 809437 w 1352046"/>
                <a:gd name="connsiteY64" fmla="*/ 863675 h 905809"/>
                <a:gd name="connsiteX65" fmla="*/ 812325 w 1352046"/>
                <a:gd name="connsiteY65" fmla="*/ 864072 h 905809"/>
                <a:gd name="connsiteX66" fmla="*/ 813394 w 1352046"/>
                <a:gd name="connsiteY66" fmla="*/ 865526 h 905809"/>
                <a:gd name="connsiteX67" fmla="*/ 813298 w 1352046"/>
                <a:gd name="connsiteY67" fmla="*/ 864550 h 905809"/>
                <a:gd name="connsiteX68" fmla="*/ 813422 w 1352046"/>
                <a:gd name="connsiteY68" fmla="*/ 863602 h 905809"/>
                <a:gd name="connsiteX69" fmla="*/ 813952 w 1352046"/>
                <a:gd name="connsiteY69" fmla="*/ 863705 h 905809"/>
                <a:gd name="connsiteX70" fmla="*/ 817725 w 1352046"/>
                <a:gd name="connsiteY70" fmla="*/ 865508 h 905809"/>
                <a:gd name="connsiteX71" fmla="*/ 817738 w 1352046"/>
                <a:gd name="connsiteY71" fmla="*/ 863297 h 905809"/>
                <a:gd name="connsiteX72" fmla="*/ 817950 w 1352046"/>
                <a:gd name="connsiteY72" fmla="*/ 862719 h 905809"/>
                <a:gd name="connsiteX73" fmla="*/ 813235 w 1352046"/>
                <a:gd name="connsiteY73" fmla="*/ 839762 h 905809"/>
                <a:gd name="connsiteX74" fmla="*/ 814059 w 1352046"/>
                <a:gd name="connsiteY74" fmla="*/ 840561 h 905809"/>
                <a:gd name="connsiteX75" fmla="*/ 816252 w 1352046"/>
                <a:gd name="connsiteY75" fmla="*/ 839995 h 905809"/>
                <a:gd name="connsiteX76" fmla="*/ 816650 w 1352046"/>
                <a:gd name="connsiteY76" fmla="*/ 841013 h 905809"/>
                <a:gd name="connsiteX77" fmla="*/ 816635 w 1352046"/>
                <a:gd name="connsiteY77" fmla="*/ 841488 h 905809"/>
                <a:gd name="connsiteX78" fmla="*/ 815862 w 1352046"/>
                <a:gd name="connsiteY78" fmla="*/ 842660 h 905809"/>
                <a:gd name="connsiteX79" fmla="*/ 814048 w 1352046"/>
                <a:gd name="connsiteY79" fmla="*/ 841755 h 905809"/>
                <a:gd name="connsiteX80" fmla="*/ 812236 w 1352046"/>
                <a:gd name="connsiteY80" fmla="*/ 841966 h 905809"/>
                <a:gd name="connsiteX81" fmla="*/ 810932 w 1352046"/>
                <a:gd name="connsiteY81" fmla="*/ 841887 h 905809"/>
                <a:gd name="connsiteX82" fmla="*/ 810571 w 1352046"/>
                <a:gd name="connsiteY82" fmla="*/ 841332 h 905809"/>
                <a:gd name="connsiteX83" fmla="*/ 811570 w 1352046"/>
                <a:gd name="connsiteY83" fmla="*/ 840188 h 905809"/>
                <a:gd name="connsiteX84" fmla="*/ 863264 w 1352046"/>
                <a:gd name="connsiteY84" fmla="*/ 825484 h 905809"/>
                <a:gd name="connsiteX85" fmla="*/ 863178 w 1352046"/>
                <a:gd name="connsiteY85" fmla="*/ 827120 h 905809"/>
                <a:gd name="connsiteX86" fmla="*/ 861008 w 1352046"/>
                <a:gd name="connsiteY86" fmla="*/ 827609 h 905809"/>
                <a:gd name="connsiteX87" fmla="*/ 860552 w 1352046"/>
                <a:gd name="connsiteY87" fmla="*/ 827504 h 905809"/>
                <a:gd name="connsiteX88" fmla="*/ 861304 w 1352046"/>
                <a:gd name="connsiteY88" fmla="*/ 826307 h 905809"/>
                <a:gd name="connsiteX89" fmla="*/ 866235 w 1352046"/>
                <a:gd name="connsiteY89" fmla="*/ 824047 h 905809"/>
                <a:gd name="connsiteX90" fmla="*/ 867497 w 1352046"/>
                <a:gd name="connsiteY90" fmla="*/ 824227 h 905809"/>
                <a:gd name="connsiteX91" fmla="*/ 868017 w 1352046"/>
                <a:gd name="connsiteY91" fmla="*/ 824502 h 905809"/>
                <a:gd name="connsiteX92" fmla="*/ 866912 w 1352046"/>
                <a:gd name="connsiteY92" fmla="*/ 825440 h 905809"/>
                <a:gd name="connsiteX93" fmla="*/ 866649 w 1352046"/>
                <a:gd name="connsiteY93" fmla="*/ 825840 h 905809"/>
                <a:gd name="connsiteX94" fmla="*/ 866418 w 1352046"/>
                <a:gd name="connsiteY94" fmla="*/ 827995 h 905809"/>
                <a:gd name="connsiteX95" fmla="*/ 865994 w 1352046"/>
                <a:gd name="connsiteY95" fmla="*/ 828458 h 905809"/>
                <a:gd name="connsiteX96" fmla="*/ 865350 w 1352046"/>
                <a:gd name="connsiteY96" fmla="*/ 827620 h 905809"/>
                <a:gd name="connsiteX97" fmla="*/ 865163 w 1352046"/>
                <a:gd name="connsiteY97" fmla="*/ 826419 h 905809"/>
                <a:gd name="connsiteX98" fmla="*/ 864702 w 1352046"/>
                <a:gd name="connsiteY98" fmla="*/ 825769 h 905809"/>
                <a:gd name="connsiteX99" fmla="*/ 865761 w 1352046"/>
                <a:gd name="connsiteY99" fmla="*/ 824951 h 905809"/>
                <a:gd name="connsiteX100" fmla="*/ 897312 w 1352046"/>
                <a:gd name="connsiteY100" fmla="*/ 811881 h 905809"/>
                <a:gd name="connsiteX101" fmla="*/ 898626 w 1352046"/>
                <a:gd name="connsiteY101" fmla="*/ 812649 h 905809"/>
                <a:gd name="connsiteX102" fmla="*/ 898553 w 1352046"/>
                <a:gd name="connsiteY102" fmla="*/ 813346 h 905809"/>
                <a:gd name="connsiteX103" fmla="*/ 898299 w 1352046"/>
                <a:gd name="connsiteY103" fmla="*/ 813880 h 905809"/>
                <a:gd name="connsiteX104" fmla="*/ 897750 w 1352046"/>
                <a:gd name="connsiteY104" fmla="*/ 814238 h 905809"/>
                <a:gd name="connsiteX105" fmla="*/ 896236 w 1352046"/>
                <a:gd name="connsiteY105" fmla="*/ 812538 h 905809"/>
                <a:gd name="connsiteX106" fmla="*/ 896141 w 1352046"/>
                <a:gd name="connsiteY106" fmla="*/ 811983 h 905809"/>
                <a:gd name="connsiteX107" fmla="*/ 894139 w 1352046"/>
                <a:gd name="connsiteY107" fmla="*/ 811027 h 905809"/>
                <a:gd name="connsiteX108" fmla="*/ 893241 w 1352046"/>
                <a:gd name="connsiteY108" fmla="*/ 812324 h 905809"/>
                <a:gd name="connsiteX109" fmla="*/ 893118 w 1352046"/>
                <a:gd name="connsiteY109" fmla="*/ 813881 h 905809"/>
                <a:gd name="connsiteX110" fmla="*/ 890456 w 1352046"/>
                <a:gd name="connsiteY110" fmla="*/ 813883 h 905809"/>
                <a:gd name="connsiteX111" fmla="*/ 889885 w 1352046"/>
                <a:gd name="connsiteY111" fmla="*/ 813650 h 905809"/>
                <a:gd name="connsiteX112" fmla="*/ 889604 w 1352046"/>
                <a:gd name="connsiteY112" fmla="*/ 813157 h 905809"/>
                <a:gd name="connsiteX113" fmla="*/ 890549 w 1352046"/>
                <a:gd name="connsiteY113" fmla="*/ 812261 h 905809"/>
                <a:gd name="connsiteX114" fmla="*/ 881336 w 1352046"/>
                <a:gd name="connsiteY114" fmla="*/ 797740 h 905809"/>
                <a:gd name="connsiteX115" fmla="*/ 882565 w 1352046"/>
                <a:gd name="connsiteY115" fmla="*/ 798963 h 905809"/>
                <a:gd name="connsiteX116" fmla="*/ 883334 w 1352046"/>
                <a:gd name="connsiteY116" fmla="*/ 800078 h 905809"/>
                <a:gd name="connsiteX117" fmla="*/ 883520 w 1352046"/>
                <a:gd name="connsiteY117" fmla="*/ 801155 h 905809"/>
                <a:gd name="connsiteX118" fmla="*/ 881794 w 1352046"/>
                <a:gd name="connsiteY118" fmla="*/ 799516 h 905809"/>
                <a:gd name="connsiteX119" fmla="*/ 881302 w 1352046"/>
                <a:gd name="connsiteY119" fmla="*/ 799421 h 905809"/>
                <a:gd name="connsiteX120" fmla="*/ 880477 w 1352046"/>
                <a:gd name="connsiteY120" fmla="*/ 798811 h 905809"/>
                <a:gd name="connsiteX121" fmla="*/ 879997 w 1352046"/>
                <a:gd name="connsiteY121" fmla="*/ 797780 h 905809"/>
                <a:gd name="connsiteX122" fmla="*/ 983911 w 1352046"/>
                <a:gd name="connsiteY122" fmla="*/ 759208 h 905809"/>
                <a:gd name="connsiteX123" fmla="*/ 985391 w 1352046"/>
                <a:gd name="connsiteY123" fmla="*/ 760002 h 905809"/>
                <a:gd name="connsiteX124" fmla="*/ 985663 w 1352046"/>
                <a:gd name="connsiteY124" fmla="*/ 760524 h 905809"/>
                <a:gd name="connsiteX125" fmla="*/ 984922 w 1352046"/>
                <a:gd name="connsiteY125" fmla="*/ 761935 h 905809"/>
                <a:gd name="connsiteX126" fmla="*/ 983618 w 1352046"/>
                <a:gd name="connsiteY126" fmla="*/ 761700 h 905809"/>
                <a:gd name="connsiteX127" fmla="*/ 983579 w 1352046"/>
                <a:gd name="connsiteY127" fmla="*/ 760698 h 905809"/>
                <a:gd name="connsiteX128" fmla="*/ 983313 w 1352046"/>
                <a:gd name="connsiteY128" fmla="*/ 760403 h 905809"/>
                <a:gd name="connsiteX129" fmla="*/ 983672 w 1352046"/>
                <a:gd name="connsiteY129" fmla="*/ 759469 h 905809"/>
                <a:gd name="connsiteX130" fmla="*/ 1020930 w 1352046"/>
                <a:gd name="connsiteY130" fmla="*/ 733290 h 905809"/>
                <a:gd name="connsiteX131" fmla="*/ 1021362 w 1352046"/>
                <a:gd name="connsiteY131" fmla="*/ 733997 h 905809"/>
                <a:gd name="connsiteX132" fmla="*/ 1022053 w 1352046"/>
                <a:gd name="connsiteY132" fmla="*/ 734371 h 905809"/>
                <a:gd name="connsiteX133" fmla="*/ 1022266 w 1352046"/>
                <a:gd name="connsiteY133" fmla="*/ 734756 h 905809"/>
                <a:gd name="connsiteX134" fmla="*/ 1022273 w 1352046"/>
                <a:gd name="connsiteY134" fmla="*/ 735497 h 905809"/>
                <a:gd name="connsiteX135" fmla="*/ 1021619 w 1352046"/>
                <a:gd name="connsiteY135" fmla="*/ 736721 h 905809"/>
                <a:gd name="connsiteX136" fmla="*/ 1022134 w 1352046"/>
                <a:gd name="connsiteY136" fmla="*/ 737386 h 905809"/>
                <a:gd name="connsiteX137" fmla="*/ 1021880 w 1352046"/>
                <a:gd name="connsiteY137" fmla="*/ 737920 h 905809"/>
                <a:gd name="connsiteX138" fmla="*/ 1020239 w 1352046"/>
                <a:gd name="connsiteY138" fmla="*/ 739012 h 905809"/>
                <a:gd name="connsiteX139" fmla="*/ 1019213 w 1352046"/>
                <a:gd name="connsiteY139" fmla="*/ 738492 h 905809"/>
                <a:gd name="connsiteX140" fmla="*/ 1019193 w 1352046"/>
                <a:gd name="connsiteY140" fmla="*/ 737029 h 905809"/>
                <a:gd name="connsiteX141" fmla="*/ 1019716 w 1352046"/>
                <a:gd name="connsiteY141" fmla="*/ 735711 h 905809"/>
                <a:gd name="connsiteX142" fmla="*/ 1019118 w 1352046"/>
                <a:gd name="connsiteY142" fmla="*/ 734761 h 905809"/>
                <a:gd name="connsiteX143" fmla="*/ 1019706 w 1352046"/>
                <a:gd name="connsiteY143" fmla="*/ 733629 h 905809"/>
                <a:gd name="connsiteX144" fmla="*/ 1052495 w 1352046"/>
                <a:gd name="connsiteY144" fmla="*/ 672636 h 905809"/>
                <a:gd name="connsiteX145" fmla="*/ 1053135 w 1352046"/>
                <a:gd name="connsiteY145" fmla="*/ 673189 h 905809"/>
                <a:gd name="connsiteX146" fmla="*/ 1053502 w 1352046"/>
                <a:gd name="connsiteY146" fmla="*/ 674053 h 905809"/>
                <a:gd name="connsiteX147" fmla="*/ 1053511 w 1352046"/>
                <a:gd name="connsiteY147" fmla="*/ 675460 h 905809"/>
                <a:gd name="connsiteX148" fmla="*/ 1051585 w 1352046"/>
                <a:gd name="connsiteY148" fmla="*/ 676032 h 905809"/>
                <a:gd name="connsiteX149" fmla="*/ 1050861 w 1352046"/>
                <a:gd name="connsiteY149" fmla="*/ 676030 h 905809"/>
                <a:gd name="connsiteX150" fmla="*/ 1050916 w 1352046"/>
                <a:gd name="connsiteY150" fmla="*/ 674291 h 905809"/>
                <a:gd name="connsiteX151" fmla="*/ 1072710 w 1352046"/>
                <a:gd name="connsiteY151" fmla="*/ 634678 h 905809"/>
                <a:gd name="connsiteX152" fmla="*/ 1073714 w 1352046"/>
                <a:gd name="connsiteY152" fmla="*/ 636646 h 905809"/>
                <a:gd name="connsiteX153" fmla="*/ 1073880 w 1352046"/>
                <a:gd name="connsiteY153" fmla="*/ 637172 h 905809"/>
                <a:gd name="connsiteX154" fmla="*/ 1073803 w 1352046"/>
                <a:gd name="connsiteY154" fmla="*/ 637625 h 905809"/>
                <a:gd name="connsiteX155" fmla="*/ 1071917 w 1352046"/>
                <a:gd name="connsiteY155" fmla="*/ 636053 h 905809"/>
                <a:gd name="connsiteX156" fmla="*/ 1071008 w 1352046"/>
                <a:gd name="connsiteY156" fmla="*/ 635796 h 905809"/>
                <a:gd name="connsiteX157" fmla="*/ 1071442 w 1352046"/>
                <a:gd name="connsiteY157" fmla="*/ 634907 h 905809"/>
                <a:gd name="connsiteX158" fmla="*/ 1077826 w 1352046"/>
                <a:gd name="connsiteY158" fmla="*/ 630494 h 905809"/>
                <a:gd name="connsiteX159" fmla="*/ 1078944 w 1352046"/>
                <a:gd name="connsiteY159" fmla="*/ 630614 h 905809"/>
                <a:gd name="connsiteX160" fmla="*/ 1078995 w 1352046"/>
                <a:gd name="connsiteY160" fmla="*/ 632014 h 905809"/>
                <a:gd name="connsiteX161" fmla="*/ 1078777 w 1352046"/>
                <a:gd name="connsiteY161" fmla="*/ 633133 h 905809"/>
                <a:gd name="connsiteX162" fmla="*/ 1078192 w 1352046"/>
                <a:gd name="connsiteY162" fmla="*/ 632974 h 905809"/>
                <a:gd name="connsiteX163" fmla="*/ 1077402 w 1352046"/>
                <a:gd name="connsiteY163" fmla="*/ 630984 h 905809"/>
                <a:gd name="connsiteX164" fmla="*/ 1069389 w 1352046"/>
                <a:gd name="connsiteY164" fmla="*/ 625944 h 905809"/>
                <a:gd name="connsiteX165" fmla="*/ 1072509 w 1352046"/>
                <a:gd name="connsiteY165" fmla="*/ 626026 h 905809"/>
                <a:gd name="connsiteX166" fmla="*/ 1076355 w 1352046"/>
                <a:gd name="connsiteY166" fmla="*/ 627764 h 905809"/>
                <a:gd name="connsiteX167" fmla="*/ 1077191 w 1352046"/>
                <a:gd name="connsiteY167" fmla="*/ 628650 h 905809"/>
                <a:gd name="connsiteX168" fmla="*/ 1076608 w 1352046"/>
                <a:gd name="connsiteY168" fmla="*/ 630295 h 905809"/>
                <a:gd name="connsiteX169" fmla="*/ 1076290 w 1352046"/>
                <a:gd name="connsiteY169" fmla="*/ 630769 h 905809"/>
                <a:gd name="connsiteX170" fmla="*/ 1073554 w 1352046"/>
                <a:gd name="connsiteY170" fmla="*/ 629379 h 905809"/>
                <a:gd name="connsiteX171" fmla="*/ 1070596 w 1352046"/>
                <a:gd name="connsiteY171" fmla="*/ 629088 h 905809"/>
                <a:gd name="connsiteX172" fmla="*/ 1069574 w 1352046"/>
                <a:gd name="connsiteY172" fmla="*/ 627865 h 905809"/>
                <a:gd name="connsiteX173" fmla="*/ 1052621 w 1352046"/>
                <a:gd name="connsiteY173" fmla="*/ 585460 h 905809"/>
                <a:gd name="connsiteX174" fmla="*/ 1055448 w 1352046"/>
                <a:gd name="connsiteY174" fmla="*/ 585656 h 905809"/>
                <a:gd name="connsiteX175" fmla="*/ 1058216 w 1352046"/>
                <a:gd name="connsiteY175" fmla="*/ 586658 h 905809"/>
                <a:gd name="connsiteX176" fmla="*/ 1058827 w 1352046"/>
                <a:gd name="connsiteY176" fmla="*/ 588194 h 905809"/>
                <a:gd name="connsiteX177" fmla="*/ 1059944 w 1352046"/>
                <a:gd name="connsiteY177" fmla="*/ 588677 h 905809"/>
                <a:gd name="connsiteX178" fmla="*/ 1060701 w 1352046"/>
                <a:gd name="connsiteY178" fmla="*/ 589573 h 905809"/>
                <a:gd name="connsiteX179" fmla="*/ 1065825 w 1352046"/>
                <a:gd name="connsiteY179" fmla="*/ 591655 h 905809"/>
                <a:gd name="connsiteX180" fmla="*/ 1066608 w 1352046"/>
                <a:gd name="connsiteY180" fmla="*/ 592286 h 905809"/>
                <a:gd name="connsiteX181" fmla="*/ 1067029 w 1352046"/>
                <a:gd name="connsiteY181" fmla="*/ 593118 h 905809"/>
                <a:gd name="connsiteX182" fmla="*/ 1065210 w 1352046"/>
                <a:gd name="connsiteY182" fmla="*/ 593815 h 905809"/>
                <a:gd name="connsiteX183" fmla="*/ 1059449 w 1352046"/>
                <a:gd name="connsiteY183" fmla="*/ 591717 h 905809"/>
                <a:gd name="connsiteX184" fmla="*/ 1055391 w 1352046"/>
                <a:gd name="connsiteY184" fmla="*/ 589416 h 905809"/>
                <a:gd name="connsiteX185" fmla="*/ 1052969 w 1352046"/>
                <a:gd name="connsiteY185" fmla="*/ 586617 h 905809"/>
                <a:gd name="connsiteX186" fmla="*/ 1099022 w 1352046"/>
                <a:gd name="connsiteY186" fmla="*/ 0 h 905809"/>
                <a:gd name="connsiteX187" fmla="*/ 1101553 w 1352046"/>
                <a:gd name="connsiteY187" fmla="*/ 749 h 905809"/>
                <a:gd name="connsiteX188" fmla="*/ 1102999 w 1352046"/>
                <a:gd name="connsiteY188" fmla="*/ 789 h 905809"/>
                <a:gd name="connsiteX189" fmla="*/ 1104001 w 1352046"/>
                <a:gd name="connsiteY189" fmla="*/ 879 h 905809"/>
                <a:gd name="connsiteX190" fmla="*/ 1104554 w 1352046"/>
                <a:gd name="connsiteY190" fmla="*/ 873 h 905809"/>
                <a:gd name="connsiteX191" fmla="*/ 1105616 w 1352046"/>
                <a:gd name="connsiteY191" fmla="*/ 274 h 905809"/>
                <a:gd name="connsiteX192" fmla="*/ 1108560 w 1352046"/>
                <a:gd name="connsiteY192" fmla="*/ 1345 h 905809"/>
                <a:gd name="connsiteX193" fmla="*/ 1114172 w 1352046"/>
                <a:gd name="connsiteY193" fmla="*/ 4519 h 905809"/>
                <a:gd name="connsiteX194" fmla="*/ 1117701 w 1352046"/>
                <a:gd name="connsiteY194" fmla="*/ 5931 h 905809"/>
                <a:gd name="connsiteX195" fmla="*/ 1119152 w 1352046"/>
                <a:gd name="connsiteY195" fmla="*/ 5587 h 905809"/>
                <a:gd name="connsiteX196" fmla="*/ 1120732 w 1352046"/>
                <a:gd name="connsiteY196" fmla="*/ 6467 h 905809"/>
                <a:gd name="connsiteX197" fmla="*/ 1122451 w 1352046"/>
                <a:gd name="connsiteY197" fmla="*/ 8569 h 905809"/>
                <a:gd name="connsiteX198" fmla="*/ 1124591 w 1352046"/>
                <a:gd name="connsiteY198" fmla="*/ 9810 h 905809"/>
                <a:gd name="connsiteX199" fmla="*/ 1128437 w 1352046"/>
                <a:gd name="connsiteY199" fmla="*/ 10380 h 905809"/>
                <a:gd name="connsiteX200" fmla="*/ 1132250 w 1352046"/>
                <a:gd name="connsiteY200" fmla="*/ 12685 h 905809"/>
                <a:gd name="connsiteX201" fmla="*/ 1133794 w 1352046"/>
                <a:gd name="connsiteY201" fmla="*/ 12808 h 905809"/>
                <a:gd name="connsiteX202" fmla="*/ 1134336 w 1352046"/>
                <a:gd name="connsiteY202" fmla="*/ 11521 h 905809"/>
                <a:gd name="connsiteX203" fmla="*/ 1135758 w 1352046"/>
                <a:gd name="connsiteY203" fmla="*/ 10781 h 905809"/>
                <a:gd name="connsiteX204" fmla="*/ 1138059 w 1352046"/>
                <a:gd name="connsiteY204" fmla="*/ 10590 h 905809"/>
                <a:gd name="connsiteX205" fmla="*/ 1141389 w 1352046"/>
                <a:gd name="connsiteY205" fmla="*/ 11726 h 905809"/>
                <a:gd name="connsiteX206" fmla="*/ 1145742 w 1352046"/>
                <a:gd name="connsiteY206" fmla="*/ 14188 h 905809"/>
                <a:gd name="connsiteX207" fmla="*/ 1148474 w 1352046"/>
                <a:gd name="connsiteY207" fmla="*/ 15270 h 905809"/>
                <a:gd name="connsiteX208" fmla="*/ 1149579 w 1352046"/>
                <a:gd name="connsiteY208" fmla="*/ 14975 h 905809"/>
                <a:gd name="connsiteX209" fmla="*/ 1150752 w 1352046"/>
                <a:gd name="connsiteY209" fmla="*/ 15430 h 905809"/>
                <a:gd name="connsiteX210" fmla="*/ 1151695 w 1352046"/>
                <a:gd name="connsiteY210" fmla="*/ 16585 h 905809"/>
                <a:gd name="connsiteX211" fmla="*/ 1151776 w 1352046"/>
                <a:gd name="connsiteY211" fmla="*/ 18005 h 905809"/>
                <a:gd name="connsiteX212" fmla="*/ 1151454 w 1352046"/>
                <a:gd name="connsiteY212" fmla="*/ 18767 h 905809"/>
                <a:gd name="connsiteX213" fmla="*/ 1152502 w 1352046"/>
                <a:gd name="connsiteY213" fmla="*/ 19966 h 905809"/>
                <a:gd name="connsiteX214" fmla="*/ 1153710 w 1352046"/>
                <a:gd name="connsiteY214" fmla="*/ 19966 h 905809"/>
                <a:gd name="connsiteX215" fmla="*/ 1155680 w 1352046"/>
                <a:gd name="connsiteY215" fmla="*/ 20540 h 905809"/>
                <a:gd name="connsiteX216" fmla="*/ 1157221 w 1352046"/>
                <a:gd name="connsiteY216" fmla="*/ 22657 h 905809"/>
                <a:gd name="connsiteX217" fmla="*/ 1158608 w 1352046"/>
                <a:gd name="connsiteY217" fmla="*/ 23637 h 905809"/>
                <a:gd name="connsiteX218" fmla="*/ 1159577 w 1352046"/>
                <a:gd name="connsiteY218" fmla="*/ 24485 h 905809"/>
                <a:gd name="connsiteX219" fmla="*/ 1159752 w 1352046"/>
                <a:gd name="connsiteY219" fmla="*/ 25189 h 905809"/>
                <a:gd name="connsiteX220" fmla="*/ 1159843 w 1352046"/>
                <a:gd name="connsiteY220" fmla="*/ 25901 h 905809"/>
                <a:gd name="connsiteX221" fmla="*/ 1159554 w 1352046"/>
                <a:gd name="connsiteY221" fmla="*/ 26453 h 905809"/>
                <a:gd name="connsiteX222" fmla="*/ 1159027 w 1352046"/>
                <a:gd name="connsiteY222" fmla="*/ 27362 h 905809"/>
                <a:gd name="connsiteX223" fmla="*/ 1158867 w 1352046"/>
                <a:gd name="connsiteY223" fmla="*/ 28339 h 905809"/>
                <a:gd name="connsiteX224" fmla="*/ 1159528 w 1352046"/>
                <a:gd name="connsiteY224" fmla="*/ 29438 h 905809"/>
                <a:gd name="connsiteX225" fmla="*/ 1161976 w 1352046"/>
                <a:gd name="connsiteY225" fmla="*/ 30233 h 905809"/>
                <a:gd name="connsiteX226" fmla="*/ 1162813 w 1352046"/>
                <a:gd name="connsiteY226" fmla="*/ 31051 h 905809"/>
                <a:gd name="connsiteX227" fmla="*/ 1163000 w 1352046"/>
                <a:gd name="connsiteY227" fmla="*/ 32102 h 905809"/>
                <a:gd name="connsiteX228" fmla="*/ 1163767 w 1352046"/>
                <a:gd name="connsiteY228" fmla="*/ 33262 h 905809"/>
                <a:gd name="connsiteX229" fmla="*/ 1165432 w 1352046"/>
                <a:gd name="connsiteY229" fmla="*/ 34602 h 905809"/>
                <a:gd name="connsiteX230" fmla="*/ 1166068 w 1352046"/>
                <a:gd name="connsiteY230" fmla="*/ 35723 h 905809"/>
                <a:gd name="connsiteX231" fmla="*/ 1165682 w 1352046"/>
                <a:gd name="connsiteY231" fmla="*/ 36625 h 905809"/>
                <a:gd name="connsiteX232" fmla="*/ 1166170 w 1352046"/>
                <a:gd name="connsiteY232" fmla="*/ 37379 h 905809"/>
                <a:gd name="connsiteX233" fmla="*/ 1166993 w 1352046"/>
                <a:gd name="connsiteY233" fmla="*/ 37964 h 905809"/>
                <a:gd name="connsiteX234" fmla="*/ 1167170 w 1352046"/>
                <a:gd name="connsiteY234" fmla="*/ 40101 h 905809"/>
                <a:gd name="connsiteX235" fmla="*/ 1167243 w 1352046"/>
                <a:gd name="connsiteY235" fmla="*/ 41331 h 905809"/>
                <a:gd name="connsiteX236" fmla="*/ 1168587 w 1352046"/>
                <a:gd name="connsiteY236" fmla="*/ 42709 h 905809"/>
                <a:gd name="connsiteX237" fmla="*/ 1168863 w 1352046"/>
                <a:gd name="connsiteY237" fmla="*/ 45526 h 905809"/>
                <a:gd name="connsiteX238" fmla="*/ 1169802 w 1352046"/>
                <a:gd name="connsiteY238" fmla="*/ 48644 h 905809"/>
                <a:gd name="connsiteX239" fmla="*/ 1172968 w 1352046"/>
                <a:gd name="connsiteY239" fmla="*/ 52910 h 905809"/>
                <a:gd name="connsiteX240" fmla="*/ 1174009 w 1352046"/>
                <a:gd name="connsiteY240" fmla="*/ 55217 h 905809"/>
                <a:gd name="connsiteX241" fmla="*/ 1173741 w 1352046"/>
                <a:gd name="connsiteY241" fmla="*/ 57959 h 905809"/>
                <a:gd name="connsiteX242" fmla="*/ 1174195 w 1352046"/>
                <a:gd name="connsiteY242" fmla="*/ 59242 h 905809"/>
                <a:gd name="connsiteX243" fmla="*/ 1175639 w 1352046"/>
                <a:gd name="connsiteY243" fmla="*/ 59866 h 905809"/>
                <a:gd name="connsiteX244" fmla="*/ 1176323 w 1352046"/>
                <a:gd name="connsiteY244" fmla="*/ 61025 h 905809"/>
                <a:gd name="connsiteX245" fmla="*/ 1176241 w 1352046"/>
                <a:gd name="connsiteY245" fmla="*/ 62717 h 905809"/>
                <a:gd name="connsiteX246" fmla="*/ 1176807 w 1352046"/>
                <a:gd name="connsiteY246" fmla="*/ 63768 h 905809"/>
                <a:gd name="connsiteX247" fmla="*/ 1177259 w 1352046"/>
                <a:gd name="connsiteY247" fmla="*/ 64886 h 905809"/>
                <a:gd name="connsiteX248" fmla="*/ 1176950 w 1352046"/>
                <a:gd name="connsiteY248" fmla="*/ 66625 h 905809"/>
                <a:gd name="connsiteX249" fmla="*/ 1177406 w 1352046"/>
                <a:gd name="connsiteY249" fmla="*/ 68194 h 905809"/>
                <a:gd name="connsiteX250" fmla="*/ 1178142 w 1352046"/>
                <a:gd name="connsiteY250" fmla="*/ 69109 h 905809"/>
                <a:gd name="connsiteX251" fmla="*/ 1178669 w 1352046"/>
                <a:gd name="connsiteY251" fmla="*/ 70802 h 905809"/>
                <a:gd name="connsiteX252" fmla="*/ 1178962 w 1352046"/>
                <a:gd name="connsiteY252" fmla="*/ 72913 h 905809"/>
                <a:gd name="connsiteX253" fmla="*/ 1181077 w 1352046"/>
                <a:gd name="connsiteY253" fmla="*/ 76253 h 905809"/>
                <a:gd name="connsiteX254" fmla="*/ 1185009 w 1352046"/>
                <a:gd name="connsiteY254" fmla="*/ 80817 h 905809"/>
                <a:gd name="connsiteX255" fmla="*/ 1187414 w 1352046"/>
                <a:gd name="connsiteY255" fmla="*/ 84356 h 905809"/>
                <a:gd name="connsiteX256" fmla="*/ 1188296 w 1352046"/>
                <a:gd name="connsiteY256" fmla="*/ 86876 h 905809"/>
                <a:gd name="connsiteX257" fmla="*/ 1188302 w 1352046"/>
                <a:gd name="connsiteY257" fmla="*/ 88947 h 905809"/>
                <a:gd name="connsiteX258" fmla="*/ 1187441 w 1352046"/>
                <a:gd name="connsiteY258" fmla="*/ 90571 h 905809"/>
                <a:gd name="connsiteX259" fmla="*/ 1187392 w 1352046"/>
                <a:gd name="connsiteY259" fmla="*/ 91751 h 905809"/>
                <a:gd name="connsiteX260" fmla="*/ 1188161 w 1352046"/>
                <a:gd name="connsiteY260" fmla="*/ 92490 h 905809"/>
                <a:gd name="connsiteX261" fmla="*/ 1188390 w 1352046"/>
                <a:gd name="connsiteY261" fmla="*/ 93489 h 905809"/>
                <a:gd name="connsiteX262" fmla="*/ 1188081 w 1352046"/>
                <a:gd name="connsiteY262" fmla="*/ 94749 h 905809"/>
                <a:gd name="connsiteX263" fmla="*/ 1189366 w 1352046"/>
                <a:gd name="connsiteY263" fmla="*/ 96243 h 905809"/>
                <a:gd name="connsiteX264" fmla="*/ 1193677 w 1352046"/>
                <a:gd name="connsiteY264" fmla="*/ 98837 h 905809"/>
                <a:gd name="connsiteX265" fmla="*/ 1191953 w 1352046"/>
                <a:gd name="connsiteY265" fmla="*/ 102807 h 905809"/>
                <a:gd name="connsiteX266" fmla="*/ 1191499 w 1352046"/>
                <a:gd name="connsiteY266" fmla="*/ 105597 h 905809"/>
                <a:gd name="connsiteX267" fmla="*/ 1191735 w 1352046"/>
                <a:gd name="connsiteY267" fmla="*/ 108528 h 905809"/>
                <a:gd name="connsiteX268" fmla="*/ 1192804 w 1352046"/>
                <a:gd name="connsiteY268" fmla="*/ 110592 h 905809"/>
                <a:gd name="connsiteX269" fmla="*/ 1194704 w 1352046"/>
                <a:gd name="connsiteY269" fmla="*/ 111789 h 905809"/>
                <a:gd name="connsiteX270" fmla="*/ 1195886 w 1352046"/>
                <a:gd name="connsiteY270" fmla="*/ 113040 h 905809"/>
                <a:gd name="connsiteX271" fmla="*/ 1196350 w 1352046"/>
                <a:gd name="connsiteY271" fmla="*/ 114340 h 905809"/>
                <a:gd name="connsiteX272" fmla="*/ 1198630 w 1352046"/>
                <a:gd name="connsiteY272" fmla="*/ 115761 h 905809"/>
                <a:gd name="connsiteX273" fmla="*/ 1202729 w 1352046"/>
                <a:gd name="connsiteY273" fmla="*/ 117298 h 905809"/>
                <a:gd name="connsiteX274" fmla="*/ 1207980 w 1352046"/>
                <a:gd name="connsiteY274" fmla="*/ 117566 h 905809"/>
                <a:gd name="connsiteX275" fmla="*/ 1214385 w 1352046"/>
                <a:gd name="connsiteY275" fmla="*/ 116562 h 905809"/>
                <a:gd name="connsiteX276" fmla="*/ 1218305 w 1352046"/>
                <a:gd name="connsiteY276" fmla="*/ 116392 h 905809"/>
                <a:gd name="connsiteX277" fmla="*/ 1219742 w 1352046"/>
                <a:gd name="connsiteY277" fmla="*/ 117058 h 905809"/>
                <a:gd name="connsiteX278" fmla="*/ 1220228 w 1352046"/>
                <a:gd name="connsiteY278" fmla="*/ 118067 h 905809"/>
                <a:gd name="connsiteX279" fmla="*/ 1219770 w 1352046"/>
                <a:gd name="connsiteY279" fmla="*/ 119419 h 905809"/>
                <a:gd name="connsiteX280" fmla="*/ 1220854 w 1352046"/>
                <a:gd name="connsiteY280" fmla="*/ 120307 h 905809"/>
                <a:gd name="connsiteX281" fmla="*/ 1223484 w 1352046"/>
                <a:gd name="connsiteY281" fmla="*/ 120733 h 905809"/>
                <a:gd name="connsiteX282" fmla="*/ 1225298 w 1352046"/>
                <a:gd name="connsiteY282" fmla="*/ 121584 h 905809"/>
                <a:gd name="connsiteX283" fmla="*/ 1226289 w 1352046"/>
                <a:gd name="connsiteY283" fmla="*/ 122862 h 905809"/>
                <a:gd name="connsiteX284" fmla="*/ 1227506 w 1352046"/>
                <a:gd name="connsiteY284" fmla="*/ 123223 h 905809"/>
                <a:gd name="connsiteX285" fmla="*/ 1228943 w 1352046"/>
                <a:gd name="connsiteY285" fmla="*/ 122669 h 905809"/>
                <a:gd name="connsiteX286" fmla="*/ 1230343 w 1352046"/>
                <a:gd name="connsiteY286" fmla="*/ 122748 h 905809"/>
                <a:gd name="connsiteX287" fmla="*/ 1231701 w 1352046"/>
                <a:gd name="connsiteY287" fmla="*/ 123458 h 905809"/>
                <a:gd name="connsiteX288" fmla="*/ 1232591 w 1352046"/>
                <a:gd name="connsiteY288" fmla="*/ 123215 h 905809"/>
                <a:gd name="connsiteX289" fmla="*/ 1233355 w 1352046"/>
                <a:gd name="connsiteY289" fmla="*/ 122438 h 905809"/>
                <a:gd name="connsiteX290" fmla="*/ 1234594 w 1352046"/>
                <a:gd name="connsiteY290" fmla="*/ 122438 h 905809"/>
                <a:gd name="connsiteX291" fmla="*/ 1235864 w 1352046"/>
                <a:gd name="connsiteY291" fmla="*/ 122457 h 905809"/>
                <a:gd name="connsiteX292" fmla="*/ 1236650 w 1352046"/>
                <a:gd name="connsiteY292" fmla="*/ 124330 h 905809"/>
                <a:gd name="connsiteX293" fmla="*/ 1237927 w 1352046"/>
                <a:gd name="connsiteY293" fmla="*/ 125383 h 905809"/>
                <a:gd name="connsiteX294" fmla="*/ 1239689 w 1352046"/>
                <a:gd name="connsiteY294" fmla="*/ 125616 h 905809"/>
                <a:gd name="connsiteX295" fmla="*/ 1242374 w 1352046"/>
                <a:gd name="connsiteY295" fmla="*/ 127895 h 905809"/>
                <a:gd name="connsiteX296" fmla="*/ 1247782 w 1352046"/>
                <a:gd name="connsiteY296" fmla="*/ 134367 h 905809"/>
                <a:gd name="connsiteX297" fmla="*/ 1251296 w 1352046"/>
                <a:gd name="connsiteY297" fmla="*/ 136665 h 905809"/>
                <a:gd name="connsiteX298" fmla="*/ 1254817 w 1352046"/>
                <a:gd name="connsiteY298" fmla="*/ 137386 h 905809"/>
                <a:gd name="connsiteX299" fmla="*/ 1259193 w 1352046"/>
                <a:gd name="connsiteY299" fmla="*/ 137534 h 905809"/>
                <a:gd name="connsiteX300" fmla="*/ 1260609 w 1352046"/>
                <a:gd name="connsiteY300" fmla="*/ 140039 h 905809"/>
                <a:gd name="connsiteX301" fmla="*/ 1259469 w 1352046"/>
                <a:gd name="connsiteY301" fmla="*/ 142686 h 905809"/>
                <a:gd name="connsiteX302" fmla="*/ 1259170 w 1352046"/>
                <a:gd name="connsiteY302" fmla="*/ 144893 h 905809"/>
                <a:gd name="connsiteX303" fmla="*/ 1260168 w 1352046"/>
                <a:gd name="connsiteY303" fmla="*/ 145683 h 905809"/>
                <a:gd name="connsiteX304" fmla="*/ 1261538 w 1352046"/>
                <a:gd name="connsiteY304" fmla="*/ 148273 h 905809"/>
                <a:gd name="connsiteX305" fmla="*/ 1263476 w 1352046"/>
                <a:gd name="connsiteY305" fmla="*/ 149777 h 905809"/>
                <a:gd name="connsiteX306" fmla="*/ 1263844 w 1352046"/>
                <a:gd name="connsiteY306" fmla="*/ 150966 h 905809"/>
                <a:gd name="connsiteX307" fmla="*/ 1264746 w 1352046"/>
                <a:gd name="connsiteY307" fmla="*/ 152295 h 905809"/>
                <a:gd name="connsiteX308" fmla="*/ 1264368 w 1352046"/>
                <a:gd name="connsiteY308" fmla="*/ 154756 h 905809"/>
                <a:gd name="connsiteX309" fmla="*/ 1262708 w 1352046"/>
                <a:gd name="connsiteY309" fmla="*/ 158345 h 905809"/>
                <a:gd name="connsiteX310" fmla="*/ 1263162 w 1352046"/>
                <a:gd name="connsiteY310" fmla="*/ 161406 h 905809"/>
                <a:gd name="connsiteX311" fmla="*/ 1265726 w 1352046"/>
                <a:gd name="connsiteY311" fmla="*/ 163939 h 905809"/>
                <a:gd name="connsiteX312" fmla="*/ 1267204 w 1352046"/>
                <a:gd name="connsiteY312" fmla="*/ 166377 h 905809"/>
                <a:gd name="connsiteX313" fmla="*/ 1267588 w 1352046"/>
                <a:gd name="connsiteY313" fmla="*/ 168717 h 905809"/>
                <a:gd name="connsiteX314" fmla="*/ 1268231 w 1352046"/>
                <a:gd name="connsiteY314" fmla="*/ 170137 h 905809"/>
                <a:gd name="connsiteX315" fmla="*/ 1269134 w 1352046"/>
                <a:gd name="connsiteY315" fmla="*/ 170640 h 905809"/>
                <a:gd name="connsiteX316" fmla="*/ 1271769 w 1352046"/>
                <a:gd name="connsiteY316" fmla="*/ 170466 h 905809"/>
                <a:gd name="connsiteX317" fmla="*/ 1276134 w 1352046"/>
                <a:gd name="connsiteY317" fmla="*/ 169617 h 905809"/>
                <a:gd name="connsiteX318" fmla="*/ 1279339 w 1352046"/>
                <a:gd name="connsiteY318" fmla="*/ 169764 h 905809"/>
                <a:gd name="connsiteX319" fmla="*/ 1281384 w 1352046"/>
                <a:gd name="connsiteY319" fmla="*/ 170905 h 905809"/>
                <a:gd name="connsiteX320" fmla="*/ 1286437 w 1352046"/>
                <a:gd name="connsiteY320" fmla="*/ 170948 h 905809"/>
                <a:gd name="connsiteX321" fmla="*/ 1294498 w 1352046"/>
                <a:gd name="connsiteY321" fmla="*/ 169894 h 905809"/>
                <a:gd name="connsiteX322" fmla="*/ 1299592 w 1352046"/>
                <a:gd name="connsiteY322" fmla="*/ 169570 h 905809"/>
                <a:gd name="connsiteX323" fmla="*/ 1301717 w 1352046"/>
                <a:gd name="connsiteY323" fmla="*/ 169978 h 905809"/>
                <a:gd name="connsiteX324" fmla="*/ 1303611 w 1352046"/>
                <a:gd name="connsiteY324" fmla="*/ 168473 h 905809"/>
                <a:gd name="connsiteX325" fmla="*/ 1305269 w 1352046"/>
                <a:gd name="connsiteY325" fmla="*/ 165048 h 905809"/>
                <a:gd name="connsiteX326" fmla="*/ 1306824 w 1352046"/>
                <a:gd name="connsiteY326" fmla="*/ 163437 h 905809"/>
                <a:gd name="connsiteX327" fmla="*/ 1308275 w 1352046"/>
                <a:gd name="connsiteY327" fmla="*/ 163639 h 905809"/>
                <a:gd name="connsiteX328" fmla="*/ 1310581 w 1352046"/>
                <a:gd name="connsiteY328" fmla="*/ 162539 h 905809"/>
                <a:gd name="connsiteX329" fmla="*/ 1313742 w 1352046"/>
                <a:gd name="connsiteY329" fmla="*/ 160131 h 905809"/>
                <a:gd name="connsiteX330" fmla="*/ 1316483 w 1352046"/>
                <a:gd name="connsiteY330" fmla="*/ 158966 h 905809"/>
                <a:gd name="connsiteX331" fmla="*/ 1319957 w 1352046"/>
                <a:gd name="connsiteY331" fmla="*/ 159083 h 905809"/>
                <a:gd name="connsiteX332" fmla="*/ 1323654 w 1352046"/>
                <a:gd name="connsiteY332" fmla="*/ 159206 h 905809"/>
                <a:gd name="connsiteX333" fmla="*/ 1325973 w 1352046"/>
                <a:gd name="connsiteY333" fmla="*/ 158193 h 905809"/>
                <a:gd name="connsiteX334" fmla="*/ 1328152 w 1352046"/>
                <a:gd name="connsiteY334" fmla="*/ 156082 h 905809"/>
                <a:gd name="connsiteX335" fmla="*/ 1331920 w 1352046"/>
                <a:gd name="connsiteY335" fmla="*/ 154214 h 905809"/>
                <a:gd name="connsiteX336" fmla="*/ 1339961 w 1352046"/>
                <a:gd name="connsiteY336" fmla="*/ 151774 h 905809"/>
                <a:gd name="connsiteX337" fmla="*/ 1341897 w 1352046"/>
                <a:gd name="connsiteY337" fmla="*/ 151391 h 905809"/>
                <a:gd name="connsiteX338" fmla="*/ 1342816 w 1352046"/>
                <a:gd name="connsiteY338" fmla="*/ 151521 h 905809"/>
                <a:gd name="connsiteX339" fmla="*/ 1345496 w 1352046"/>
                <a:gd name="connsiteY339" fmla="*/ 151904 h 905809"/>
                <a:gd name="connsiteX340" fmla="*/ 1347871 w 1352046"/>
                <a:gd name="connsiteY340" fmla="*/ 152855 h 905809"/>
                <a:gd name="connsiteX341" fmla="*/ 1350120 w 1352046"/>
                <a:gd name="connsiteY341" fmla="*/ 154775 h 905809"/>
                <a:gd name="connsiteX342" fmla="*/ 1350465 w 1352046"/>
                <a:gd name="connsiteY342" fmla="*/ 156004 h 905809"/>
                <a:gd name="connsiteX343" fmla="*/ 1350210 w 1352046"/>
                <a:gd name="connsiteY343" fmla="*/ 157619 h 905809"/>
                <a:gd name="connsiteX344" fmla="*/ 1349722 w 1352046"/>
                <a:gd name="connsiteY344" fmla="*/ 158556 h 905809"/>
                <a:gd name="connsiteX345" fmla="*/ 1348796 w 1352046"/>
                <a:gd name="connsiteY345" fmla="*/ 159609 h 905809"/>
                <a:gd name="connsiteX346" fmla="*/ 1347925 w 1352046"/>
                <a:gd name="connsiteY346" fmla="*/ 161314 h 905809"/>
                <a:gd name="connsiteX347" fmla="*/ 1348485 w 1352046"/>
                <a:gd name="connsiteY347" fmla="*/ 162649 h 905809"/>
                <a:gd name="connsiteX348" fmla="*/ 1349790 w 1352046"/>
                <a:gd name="connsiteY348" fmla="*/ 165494 h 905809"/>
                <a:gd name="connsiteX349" fmla="*/ 1350858 w 1352046"/>
                <a:gd name="connsiteY349" fmla="*/ 167546 h 905809"/>
                <a:gd name="connsiteX350" fmla="*/ 1352046 w 1352046"/>
                <a:gd name="connsiteY350" fmla="*/ 169966 h 905809"/>
                <a:gd name="connsiteX351" fmla="*/ 1351510 w 1352046"/>
                <a:gd name="connsiteY351" fmla="*/ 170837 h 905809"/>
                <a:gd name="connsiteX352" fmla="*/ 1350796 w 1352046"/>
                <a:gd name="connsiteY352" fmla="*/ 172512 h 905809"/>
                <a:gd name="connsiteX353" fmla="*/ 1348593 w 1352046"/>
                <a:gd name="connsiteY353" fmla="*/ 175348 h 905809"/>
                <a:gd name="connsiteX354" fmla="*/ 1347392 w 1352046"/>
                <a:gd name="connsiteY354" fmla="*/ 176435 h 905809"/>
                <a:gd name="connsiteX355" fmla="*/ 1346101 w 1352046"/>
                <a:gd name="connsiteY355" fmla="*/ 177495 h 905809"/>
                <a:gd name="connsiteX356" fmla="*/ 1343868 w 1352046"/>
                <a:gd name="connsiteY356" fmla="*/ 177751 h 905809"/>
                <a:gd name="connsiteX357" fmla="*/ 1342916 w 1352046"/>
                <a:gd name="connsiteY357" fmla="*/ 177996 h 905809"/>
                <a:gd name="connsiteX358" fmla="*/ 1341840 w 1352046"/>
                <a:gd name="connsiteY358" fmla="*/ 178442 h 905809"/>
                <a:gd name="connsiteX359" fmla="*/ 1341161 w 1352046"/>
                <a:gd name="connsiteY359" fmla="*/ 179446 h 905809"/>
                <a:gd name="connsiteX360" fmla="*/ 1340389 w 1352046"/>
                <a:gd name="connsiteY360" fmla="*/ 180150 h 905809"/>
                <a:gd name="connsiteX361" fmla="*/ 1339117 w 1352046"/>
                <a:gd name="connsiteY361" fmla="*/ 181563 h 905809"/>
                <a:gd name="connsiteX362" fmla="*/ 1339013 w 1352046"/>
                <a:gd name="connsiteY362" fmla="*/ 182779 h 905809"/>
                <a:gd name="connsiteX363" fmla="*/ 1339595 w 1352046"/>
                <a:gd name="connsiteY363" fmla="*/ 184584 h 905809"/>
                <a:gd name="connsiteX364" fmla="*/ 1339880 w 1352046"/>
                <a:gd name="connsiteY364" fmla="*/ 186433 h 905809"/>
                <a:gd name="connsiteX365" fmla="*/ 1338438 w 1352046"/>
                <a:gd name="connsiteY365" fmla="*/ 188084 h 905809"/>
                <a:gd name="connsiteX366" fmla="*/ 1337321 w 1352046"/>
                <a:gd name="connsiteY366" fmla="*/ 190621 h 905809"/>
                <a:gd name="connsiteX367" fmla="*/ 1336988 w 1352046"/>
                <a:gd name="connsiteY367" fmla="*/ 191384 h 905809"/>
                <a:gd name="connsiteX368" fmla="*/ 1336427 w 1352046"/>
                <a:gd name="connsiteY368" fmla="*/ 193302 h 905809"/>
                <a:gd name="connsiteX369" fmla="*/ 1336262 w 1352046"/>
                <a:gd name="connsiteY369" fmla="*/ 193966 h 905809"/>
                <a:gd name="connsiteX370" fmla="*/ 1335911 w 1352046"/>
                <a:gd name="connsiteY370" fmla="*/ 198003 h 905809"/>
                <a:gd name="connsiteX371" fmla="*/ 1334470 w 1352046"/>
                <a:gd name="connsiteY371" fmla="*/ 200754 h 905809"/>
                <a:gd name="connsiteX372" fmla="*/ 1332460 w 1352046"/>
                <a:gd name="connsiteY372" fmla="*/ 203952 h 905809"/>
                <a:gd name="connsiteX373" fmla="*/ 1332905 w 1352046"/>
                <a:gd name="connsiteY373" fmla="*/ 205855 h 905809"/>
                <a:gd name="connsiteX374" fmla="*/ 1333260 w 1352046"/>
                <a:gd name="connsiteY374" fmla="*/ 207619 h 905809"/>
                <a:gd name="connsiteX375" fmla="*/ 1332763 w 1352046"/>
                <a:gd name="connsiteY375" fmla="*/ 208475 h 905809"/>
                <a:gd name="connsiteX376" fmla="*/ 1332641 w 1352046"/>
                <a:gd name="connsiteY376" fmla="*/ 209222 h 905809"/>
                <a:gd name="connsiteX377" fmla="*/ 1332343 w 1352046"/>
                <a:gd name="connsiteY377" fmla="*/ 210921 h 905809"/>
                <a:gd name="connsiteX378" fmla="*/ 1331712 w 1352046"/>
                <a:gd name="connsiteY378" fmla="*/ 211571 h 905809"/>
                <a:gd name="connsiteX379" fmla="*/ 1329886 w 1352046"/>
                <a:gd name="connsiteY379" fmla="*/ 212632 h 905809"/>
                <a:gd name="connsiteX380" fmla="*/ 1328791 w 1352046"/>
                <a:gd name="connsiteY380" fmla="*/ 213909 h 905809"/>
                <a:gd name="connsiteX381" fmla="*/ 1329023 w 1352046"/>
                <a:gd name="connsiteY381" fmla="*/ 215848 h 905809"/>
                <a:gd name="connsiteX382" fmla="*/ 1328461 w 1352046"/>
                <a:gd name="connsiteY382" fmla="*/ 217525 h 905809"/>
                <a:gd name="connsiteX383" fmla="*/ 1327623 w 1352046"/>
                <a:gd name="connsiteY383" fmla="*/ 219008 h 905809"/>
                <a:gd name="connsiteX384" fmla="*/ 1326742 w 1352046"/>
                <a:gd name="connsiteY384" fmla="*/ 219971 h 905809"/>
                <a:gd name="connsiteX385" fmla="*/ 1325486 w 1352046"/>
                <a:gd name="connsiteY385" fmla="*/ 220592 h 905809"/>
                <a:gd name="connsiteX386" fmla="*/ 1324643 w 1352046"/>
                <a:gd name="connsiteY386" fmla="*/ 221116 h 905809"/>
                <a:gd name="connsiteX387" fmla="*/ 1324014 w 1352046"/>
                <a:gd name="connsiteY387" fmla="*/ 223001 h 905809"/>
                <a:gd name="connsiteX388" fmla="*/ 1323818 w 1352046"/>
                <a:gd name="connsiteY388" fmla="*/ 224455 h 905809"/>
                <a:gd name="connsiteX389" fmla="*/ 1323229 w 1352046"/>
                <a:gd name="connsiteY389" fmla="*/ 225903 h 905809"/>
                <a:gd name="connsiteX390" fmla="*/ 1323593 w 1352046"/>
                <a:gd name="connsiteY390" fmla="*/ 227385 h 905809"/>
                <a:gd name="connsiteX391" fmla="*/ 1322948 w 1352046"/>
                <a:gd name="connsiteY391" fmla="*/ 228666 h 905809"/>
                <a:gd name="connsiteX392" fmla="*/ 1321158 w 1352046"/>
                <a:gd name="connsiteY392" fmla="*/ 229559 h 905809"/>
                <a:gd name="connsiteX393" fmla="*/ 1320143 w 1352046"/>
                <a:gd name="connsiteY393" fmla="*/ 230084 h 905809"/>
                <a:gd name="connsiteX394" fmla="*/ 1319202 w 1352046"/>
                <a:gd name="connsiteY394" fmla="*/ 230299 h 905809"/>
                <a:gd name="connsiteX395" fmla="*/ 1317412 w 1352046"/>
                <a:gd name="connsiteY395" fmla="*/ 231685 h 905809"/>
                <a:gd name="connsiteX396" fmla="*/ 1315805 w 1352046"/>
                <a:gd name="connsiteY396" fmla="*/ 236444 h 905809"/>
                <a:gd name="connsiteX397" fmla="*/ 1315440 w 1352046"/>
                <a:gd name="connsiteY397" fmla="*/ 239211 h 905809"/>
                <a:gd name="connsiteX398" fmla="*/ 1315807 w 1352046"/>
                <a:gd name="connsiteY398" fmla="*/ 241669 h 905809"/>
                <a:gd name="connsiteX399" fmla="*/ 1313557 w 1352046"/>
                <a:gd name="connsiteY399" fmla="*/ 243205 h 905809"/>
                <a:gd name="connsiteX400" fmla="*/ 1311883 w 1352046"/>
                <a:gd name="connsiteY400" fmla="*/ 244426 h 905809"/>
                <a:gd name="connsiteX401" fmla="*/ 1310838 w 1352046"/>
                <a:gd name="connsiteY401" fmla="*/ 243985 h 905809"/>
                <a:gd name="connsiteX402" fmla="*/ 1309730 w 1352046"/>
                <a:gd name="connsiteY402" fmla="*/ 243572 h 905809"/>
                <a:gd name="connsiteX403" fmla="*/ 1307176 w 1352046"/>
                <a:gd name="connsiteY403" fmla="*/ 243041 h 905809"/>
                <a:gd name="connsiteX404" fmla="*/ 1305904 w 1352046"/>
                <a:gd name="connsiteY404" fmla="*/ 242682 h 905809"/>
                <a:gd name="connsiteX405" fmla="*/ 1303326 w 1352046"/>
                <a:gd name="connsiteY405" fmla="*/ 241885 h 905809"/>
                <a:gd name="connsiteX406" fmla="*/ 1299212 w 1352046"/>
                <a:gd name="connsiteY406" fmla="*/ 240868 h 905809"/>
                <a:gd name="connsiteX407" fmla="*/ 1295195 w 1352046"/>
                <a:gd name="connsiteY407" fmla="*/ 239682 h 905809"/>
                <a:gd name="connsiteX408" fmla="*/ 1292675 w 1352046"/>
                <a:gd name="connsiteY408" fmla="*/ 239061 h 905809"/>
                <a:gd name="connsiteX409" fmla="*/ 1290689 w 1352046"/>
                <a:gd name="connsiteY409" fmla="*/ 238567 h 905809"/>
                <a:gd name="connsiteX410" fmla="*/ 1289179 w 1352046"/>
                <a:gd name="connsiteY410" fmla="*/ 237752 h 905809"/>
                <a:gd name="connsiteX411" fmla="*/ 1287910 w 1352046"/>
                <a:gd name="connsiteY411" fmla="*/ 236295 h 905809"/>
                <a:gd name="connsiteX412" fmla="*/ 1286651 w 1352046"/>
                <a:gd name="connsiteY412" fmla="*/ 236887 h 905809"/>
                <a:gd name="connsiteX413" fmla="*/ 1285483 w 1352046"/>
                <a:gd name="connsiteY413" fmla="*/ 238604 h 905809"/>
                <a:gd name="connsiteX414" fmla="*/ 1283535 w 1352046"/>
                <a:gd name="connsiteY414" fmla="*/ 239625 h 905809"/>
                <a:gd name="connsiteX415" fmla="*/ 1282649 w 1352046"/>
                <a:gd name="connsiteY415" fmla="*/ 241509 h 905809"/>
                <a:gd name="connsiteX416" fmla="*/ 1281870 w 1352046"/>
                <a:gd name="connsiteY416" fmla="*/ 242957 h 905809"/>
                <a:gd name="connsiteX417" fmla="*/ 1279854 w 1352046"/>
                <a:gd name="connsiteY417" fmla="*/ 244885 h 905809"/>
                <a:gd name="connsiteX418" fmla="*/ 1278954 w 1352046"/>
                <a:gd name="connsiteY418" fmla="*/ 245680 h 905809"/>
                <a:gd name="connsiteX419" fmla="*/ 1275005 w 1352046"/>
                <a:gd name="connsiteY419" fmla="*/ 246989 h 905809"/>
                <a:gd name="connsiteX420" fmla="*/ 1274114 w 1352046"/>
                <a:gd name="connsiteY420" fmla="*/ 247425 h 905809"/>
                <a:gd name="connsiteX421" fmla="*/ 1270894 w 1352046"/>
                <a:gd name="connsiteY421" fmla="*/ 247702 h 905809"/>
                <a:gd name="connsiteX422" fmla="*/ 1269803 w 1352046"/>
                <a:gd name="connsiteY422" fmla="*/ 248280 h 905809"/>
                <a:gd name="connsiteX423" fmla="*/ 1268667 w 1352046"/>
                <a:gd name="connsiteY423" fmla="*/ 249495 h 905809"/>
                <a:gd name="connsiteX424" fmla="*/ 1268361 w 1352046"/>
                <a:gd name="connsiteY424" fmla="*/ 250706 h 905809"/>
                <a:gd name="connsiteX425" fmla="*/ 1269160 w 1352046"/>
                <a:gd name="connsiteY425" fmla="*/ 251980 h 905809"/>
                <a:gd name="connsiteX426" fmla="*/ 1270415 w 1352046"/>
                <a:gd name="connsiteY426" fmla="*/ 254530 h 905809"/>
                <a:gd name="connsiteX427" fmla="*/ 1270995 w 1352046"/>
                <a:gd name="connsiteY427" fmla="*/ 256273 h 905809"/>
                <a:gd name="connsiteX428" fmla="*/ 1271855 w 1352046"/>
                <a:gd name="connsiteY428" fmla="*/ 259713 h 905809"/>
                <a:gd name="connsiteX429" fmla="*/ 1274718 w 1352046"/>
                <a:gd name="connsiteY429" fmla="*/ 270501 h 905809"/>
                <a:gd name="connsiteX430" fmla="*/ 1273790 w 1352046"/>
                <a:gd name="connsiteY430" fmla="*/ 272360 h 905809"/>
                <a:gd name="connsiteX431" fmla="*/ 1272926 w 1352046"/>
                <a:gd name="connsiteY431" fmla="*/ 280417 h 905809"/>
                <a:gd name="connsiteX432" fmla="*/ 1273133 w 1352046"/>
                <a:gd name="connsiteY432" fmla="*/ 281870 h 905809"/>
                <a:gd name="connsiteX433" fmla="*/ 1273055 w 1352046"/>
                <a:gd name="connsiteY433" fmla="*/ 284129 h 905809"/>
                <a:gd name="connsiteX434" fmla="*/ 1273107 w 1352046"/>
                <a:gd name="connsiteY434" fmla="*/ 285786 h 905809"/>
                <a:gd name="connsiteX435" fmla="*/ 1273699 w 1352046"/>
                <a:gd name="connsiteY435" fmla="*/ 286194 h 905809"/>
                <a:gd name="connsiteX436" fmla="*/ 1274468 w 1352046"/>
                <a:gd name="connsiteY436" fmla="*/ 286770 h 905809"/>
                <a:gd name="connsiteX437" fmla="*/ 1274862 w 1352046"/>
                <a:gd name="connsiteY437" fmla="*/ 287738 h 905809"/>
                <a:gd name="connsiteX438" fmla="*/ 1274764 w 1352046"/>
                <a:gd name="connsiteY438" fmla="*/ 289218 h 905809"/>
                <a:gd name="connsiteX439" fmla="*/ 1274366 w 1352046"/>
                <a:gd name="connsiteY439" fmla="*/ 290305 h 905809"/>
                <a:gd name="connsiteX440" fmla="*/ 1273759 w 1352046"/>
                <a:gd name="connsiteY440" fmla="*/ 292452 h 905809"/>
                <a:gd name="connsiteX441" fmla="*/ 1272956 w 1352046"/>
                <a:gd name="connsiteY441" fmla="*/ 295555 h 905809"/>
                <a:gd name="connsiteX442" fmla="*/ 1272071 w 1352046"/>
                <a:gd name="connsiteY442" fmla="*/ 296751 h 905809"/>
                <a:gd name="connsiteX443" fmla="*/ 1271483 w 1352046"/>
                <a:gd name="connsiteY443" fmla="*/ 297694 h 905809"/>
                <a:gd name="connsiteX444" fmla="*/ 1270978 w 1352046"/>
                <a:gd name="connsiteY444" fmla="*/ 298347 h 905809"/>
                <a:gd name="connsiteX445" fmla="*/ 1270920 w 1352046"/>
                <a:gd name="connsiteY445" fmla="*/ 300539 h 905809"/>
                <a:gd name="connsiteX446" fmla="*/ 1270590 w 1352046"/>
                <a:gd name="connsiteY446" fmla="*/ 301986 h 905809"/>
                <a:gd name="connsiteX447" fmla="*/ 1269197 w 1352046"/>
                <a:gd name="connsiteY447" fmla="*/ 302499 h 905809"/>
                <a:gd name="connsiteX448" fmla="*/ 1267810 w 1352046"/>
                <a:gd name="connsiteY448" fmla="*/ 303338 h 905809"/>
                <a:gd name="connsiteX449" fmla="*/ 1266167 w 1352046"/>
                <a:gd name="connsiteY449" fmla="*/ 303028 h 905809"/>
                <a:gd name="connsiteX450" fmla="*/ 1264724 w 1352046"/>
                <a:gd name="connsiteY450" fmla="*/ 303202 h 905809"/>
                <a:gd name="connsiteX451" fmla="*/ 1262937 w 1352046"/>
                <a:gd name="connsiteY451" fmla="*/ 303764 h 905809"/>
                <a:gd name="connsiteX452" fmla="*/ 1259725 w 1352046"/>
                <a:gd name="connsiteY452" fmla="*/ 304412 h 905809"/>
                <a:gd name="connsiteX453" fmla="*/ 1257862 w 1352046"/>
                <a:gd name="connsiteY453" fmla="*/ 305281 h 905809"/>
                <a:gd name="connsiteX454" fmla="*/ 1256972 w 1352046"/>
                <a:gd name="connsiteY454" fmla="*/ 305915 h 905809"/>
                <a:gd name="connsiteX455" fmla="*/ 1256354 w 1352046"/>
                <a:gd name="connsiteY455" fmla="*/ 306673 h 905809"/>
                <a:gd name="connsiteX456" fmla="*/ 1256246 w 1352046"/>
                <a:gd name="connsiteY456" fmla="*/ 307400 h 905809"/>
                <a:gd name="connsiteX457" fmla="*/ 1256674 w 1352046"/>
                <a:gd name="connsiteY457" fmla="*/ 307782 h 905809"/>
                <a:gd name="connsiteX458" fmla="*/ 1258473 w 1352046"/>
                <a:gd name="connsiteY458" fmla="*/ 308082 h 905809"/>
                <a:gd name="connsiteX459" fmla="*/ 1259711 w 1352046"/>
                <a:gd name="connsiteY459" fmla="*/ 309447 h 905809"/>
                <a:gd name="connsiteX460" fmla="*/ 1259885 w 1352046"/>
                <a:gd name="connsiteY460" fmla="*/ 310939 h 905809"/>
                <a:gd name="connsiteX461" fmla="*/ 1258614 w 1352046"/>
                <a:gd name="connsiteY461" fmla="*/ 311791 h 905809"/>
                <a:gd name="connsiteX462" fmla="*/ 1257979 w 1352046"/>
                <a:gd name="connsiteY462" fmla="*/ 310854 h 905809"/>
                <a:gd name="connsiteX463" fmla="*/ 1256918 w 1352046"/>
                <a:gd name="connsiteY463" fmla="*/ 310556 h 905809"/>
                <a:gd name="connsiteX464" fmla="*/ 1254938 w 1352046"/>
                <a:gd name="connsiteY464" fmla="*/ 309243 h 905809"/>
                <a:gd name="connsiteX465" fmla="*/ 1253498 w 1352046"/>
                <a:gd name="connsiteY465" fmla="*/ 307798 h 905809"/>
                <a:gd name="connsiteX466" fmla="*/ 1252416 w 1352046"/>
                <a:gd name="connsiteY466" fmla="*/ 306198 h 905809"/>
                <a:gd name="connsiteX467" fmla="*/ 1252464 w 1352046"/>
                <a:gd name="connsiteY467" fmla="*/ 302780 h 905809"/>
                <a:gd name="connsiteX468" fmla="*/ 1252275 w 1352046"/>
                <a:gd name="connsiteY468" fmla="*/ 302266 h 905809"/>
                <a:gd name="connsiteX469" fmla="*/ 1250306 w 1352046"/>
                <a:gd name="connsiteY469" fmla="*/ 301565 h 905809"/>
                <a:gd name="connsiteX470" fmla="*/ 1249721 w 1352046"/>
                <a:gd name="connsiteY470" fmla="*/ 300547 h 905809"/>
                <a:gd name="connsiteX471" fmla="*/ 1248788 w 1352046"/>
                <a:gd name="connsiteY471" fmla="*/ 300060 h 905809"/>
                <a:gd name="connsiteX472" fmla="*/ 1247454 w 1352046"/>
                <a:gd name="connsiteY472" fmla="*/ 300370 h 905809"/>
                <a:gd name="connsiteX473" fmla="*/ 1246452 w 1352046"/>
                <a:gd name="connsiteY473" fmla="*/ 300042 h 905809"/>
                <a:gd name="connsiteX474" fmla="*/ 1245661 w 1352046"/>
                <a:gd name="connsiteY474" fmla="*/ 299484 h 905809"/>
                <a:gd name="connsiteX475" fmla="*/ 1244711 w 1352046"/>
                <a:gd name="connsiteY475" fmla="*/ 299417 h 905809"/>
                <a:gd name="connsiteX476" fmla="*/ 1243888 w 1352046"/>
                <a:gd name="connsiteY476" fmla="*/ 300303 h 905809"/>
                <a:gd name="connsiteX477" fmla="*/ 1243457 w 1352046"/>
                <a:gd name="connsiteY477" fmla="*/ 302201 h 905809"/>
                <a:gd name="connsiteX478" fmla="*/ 1242079 w 1352046"/>
                <a:gd name="connsiteY478" fmla="*/ 305349 h 905809"/>
                <a:gd name="connsiteX479" fmla="*/ 1241952 w 1352046"/>
                <a:gd name="connsiteY479" fmla="*/ 307250 h 905809"/>
                <a:gd name="connsiteX480" fmla="*/ 1241356 w 1352046"/>
                <a:gd name="connsiteY480" fmla="*/ 309965 h 905809"/>
                <a:gd name="connsiteX481" fmla="*/ 1240764 w 1352046"/>
                <a:gd name="connsiteY481" fmla="*/ 313402 h 905809"/>
                <a:gd name="connsiteX482" fmla="*/ 1240280 w 1352046"/>
                <a:gd name="connsiteY482" fmla="*/ 314118 h 905809"/>
                <a:gd name="connsiteX483" fmla="*/ 1238734 w 1352046"/>
                <a:gd name="connsiteY483" fmla="*/ 314221 h 905809"/>
                <a:gd name="connsiteX484" fmla="*/ 1238203 w 1352046"/>
                <a:gd name="connsiteY484" fmla="*/ 314445 h 905809"/>
                <a:gd name="connsiteX485" fmla="*/ 1237400 w 1352046"/>
                <a:gd name="connsiteY485" fmla="*/ 315612 h 905809"/>
                <a:gd name="connsiteX486" fmla="*/ 1236430 w 1352046"/>
                <a:gd name="connsiteY486" fmla="*/ 315810 h 905809"/>
                <a:gd name="connsiteX487" fmla="*/ 1235571 w 1352046"/>
                <a:gd name="connsiteY487" fmla="*/ 315127 h 905809"/>
                <a:gd name="connsiteX488" fmla="*/ 1234217 w 1352046"/>
                <a:gd name="connsiteY488" fmla="*/ 314445 h 905809"/>
                <a:gd name="connsiteX489" fmla="*/ 1232939 w 1352046"/>
                <a:gd name="connsiteY489" fmla="*/ 314356 h 905809"/>
                <a:gd name="connsiteX490" fmla="*/ 1231785 w 1352046"/>
                <a:gd name="connsiteY490" fmla="*/ 315040 h 905809"/>
                <a:gd name="connsiteX491" fmla="*/ 1230433 w 1352046"/>
                <a:gd name="connsiteY491" fmla="*/ 316524 h 905809"/>
                <a:gd name="connsiteX492" fmla="*/ 1229664 w 1352046"/>
                <a:gd name="connsiteY492" fmla="*/ 317727 h 905809"/>
                <a:gd name="connsiteX493" fmla="*/ 1229390 w 1352046"/>
                <a:gd name="connsiteY493" fmla="*/ 318848 h 905809"/>
                <a:gd name="connsiteX494" fmla="*/ 1229172 w 1352046"/>
                <a:gd name="connsiteY494" fmla="*/ 320235 h 905809"/>
                <a:gd name="connsiteX495" fmla="*/ 1227806 w 1352046"/>
                <a:gd name="connsiteY495" fmla="*/ 321563 h 905809"/>
                <a:gd name="connsiteX496" fmla="*/ 1226558 w 1352046"/>
                <a:gd name="connsiteY496" fmla="*/ 322258 h 905809"/>
                <a:gd name="connsiteX497" fmla="*/ 1223979 w 1352046"/>
                <a:gd name="connsiteY497" fmla="*/ 324213 h 905809"/>
                <a:gd name="connsiteX498" fmla="*/ 1223156 w 1352046"/>
                <a:gd name="connsiteY498" fmla="*/ 325025 h 905809"/>
                <a:gd name="connsiteX499" fmla="*/ 1221307 w 1352046"/>
                <a:gd name="connsiteY499" fmla="*/ 325036 h 905809"/>
                <a:gd name="connsiteX500" fmla="*/ 1219300 w 1352046"/>
                <a:gd name="connsiteY500" fmla="*/ 324960 h 905809"/>
                <a:gd name="connsiteX501" fmla="*/ 1216596 w 1352046"/>
                <a:gd name="connsiteY501" fmla="*/ 325487 h 905809"/>
                <a:gd name="connsiteX502" fmla="*/ 1212184 w 1352046"/>
                <a:gd name="connsiteY502" fmla="*/ 325755 h 905809"/>
                <a:gd name="connsiteX503" fmla="*/ 1209544 w 1352046"/>
                <a:gd name="connsiteY503" fmla="*/ 325360 h 905809"/>
                <a:gd name="connsiteX504" fmla="*/ 1206278 w 1352046"/>
                <a:gd name="connsiteY504" fmla="*/ 325732 h 905809"/>
                <a:gd name="connsiteX505" fmla="*/ 1203737 w 1352046"/>
                <a:gd name="connsiteY505" fmla="*/ 326372 h 905809"/>
                <a:gd name="connsiteX506" fmla="*/ 1203372 w 1352046"/>
                <a:gd name="connsiteY506" fmla="*/ 327325 h 905809"/>
                <a:gd name="connsiteX507" fmla="*/ 1203465 w 1352046"/>
                <a:gd name="connsiteY507" fmla="*/ 328734 h 905809"/>
                <a:gd name="connsiteX508" fmla="*/ 1203977 w 1352046"/>
                <a:gd name="connsiteY508" fmla="*/ 329655 h 905809"/>
                <a:gd name="connsiteX509" fmla="*/ 1204598 w 1352046"/>
                <a:gd name="connsiteY509" fmla="*/ 330269 h 905809"/>
                <a:gd name="connsiteX510" fmla="*/ 1205654 w 1352046"/>
                <a:gd name="connsiteY510" fmla="*/ 332163 h 905809"/>
                <a:gd name="connsiteX511" fmla="*/ 1206756 w 1352046"/>
                <a:gd name="connsiteY511" fmla="*/ 333992 h 905809"/>
                <a:gd name="connsiteX512" fmla="*/ 1208438 w 1352046"/>
                <a:gd name="connsiteY512" fmla="*/ 335175 h 905809"/>
                <a:gd name="connsiteX513" fmla="*/ 1209133 w 1352046"/>
                <a:gd name="connsiteY513" fmla="*/ 336443 h 905809"/>
                <a:gd name="connsiteX514" fmla="*/ 1209170 w 1352046"/>
                <a:gd name="connsiteY514" fmla="*/ 337624 h 905809"/>
                <a:gd name="connsiteX515" fmla="*/ 1208373 w 1352046"/>
                <a:gd name="connsiteY515" fmla="*/ 339111 h 905809"/>
                <a:gd name="connsiteX516" fmla="*/ 1207166 w 1352046"/>
                <a:gd name="connsiteY516" fmla="*/ 341053 h 905809"/>
                <a:gd name="connsiteX517" fmla="*/ 1206041 w 1352046"/>
                <a:gd name="connsiteY517" fmla="*/ 342249 h 905809"/>
                <a:gd name="connsiteX518" fmla="*/ 1205197 w 1352046"/>
                <a:gd name="connsiteY518" fmla="*/ 342209 h 905809"/>
                <a:gd name="connsiteX519" fmla="*/ 1203903 w 1352046"/>
                <a:gd name="connsiteY519" fmla="*/ 341513 h 905809"/>
                <a:gd name="connsiteX520" fmla="*/ 1203026 w 1352046"/>
                <a:gd name="connsiteY520" fmla="*/ 340639 h 905809"/>
                <a:gd name="connsiteX521" fmla="*/ 1200938 w 1352046"/>
                <a:gd name="connsiteY521" fmla="*/ 340311 h 905809"/>
                <a:gd name="connsiteX522" fmla="*/ 1195832 w 1352046"/>
                <a:gd name="connsiteY522" fmla="*/ 340869 h 905809"/>
                <a:gd name="connsiteX523" fmla="*/ 1193277 w 1352046"/>
                <a:gd name="connsiteY523" fmla="*/ 340480 h 905809"/>
                <a:gd name="connsiteX524" fmla="*/ 1192057 w 1352046"/>
                <a:gd name="connsiteY524" fmla="*/ 339766 h 905809"/>
                <a:gd name="connsiteX525" fmla="*/ 1189919 w 1352046"/>
                <a:gd name="connsiteY525" fmla="*/ 339712 h 905809"/>
                <a:gd name="connsiteX526" fmla="*/ 1186613 w 1352046"/>
                <a:gd name="connsiteY526" fmla="*/ 338760 h 905809"/>
                <a:gd name="connsiteX527" fmla="*/ 1184598 w 1352046"/>
                <a:gd name="connsiteY527" fmla="*/ 338455 h 905809"/>
                <a:gd name="connsiteX528" fmla="*/ 1183649 w 1352046"/>
                <a:gd name="connsiteY528" fmla="*/ 337842 h 905809"/>
                <a:gd name="connsiteX529" fmla="*/ 1183465 w 1352046"/>
                <a:gd name="connsiteY529" fmla="*/ 336443 h 905809"/>
                <a:gd name="connsiteX530" fmla="*/ 1182512 w 1352046"/>
                <a:gd name="connsiteY530" fmla="*/ 335481 h 905809"/>
                <a:gd name="connsiteX531" fmla="*/ 1181981 w 1352046"/>
                <a:gd name="connsiteY531" fmla="*/ 334328 h 905809"/>
                <a:gd name="connsiteX532" fmla="*/ 1180778 w 1352046"/>
                <a:gd name="connsiteY532" fmla="*/ 332880 h 905809"/>
                <a:gd name="connsiteX533" fmla="*/ 1179626 w 1352046"/>
                <a:gd name="connsiteY533" fmla="*/ 332153 h 905809"/>
                <a:gd name="connsiteX534" fmla="*/ 1178491 w 1352046"/>
                <a:gd name="connsiteY534" fmla="*/ 331847 h 905809"/>
                <a:gd name="connsiteX535" fmla="*/ 1177248 w 1352046"/>
                <a:gd name="connsiteY535" fmla="*/ 332723 h 905809"/>
                <a:gd name="connsiteX536" fmla="*/ 1175930 w 1352046"/>
                <a:gd name="connsiteY536" fmla="*/ 333511 h 905809"/>
                <a:gd name="connsiteX537" fmla="*/ 1174944 w 1352046"/>
                <a:gd name="connsiteY537" fmla="*/ 333336 h 905809"/>
                <a:gd name="connsiteX538" fmla="*/ 1174468 w 1352046"/>
                <a:gd name="connsiteY538" fmla="*/ 333555 h 905809"/>
                <a:gd name="connsiteX539" fmla="*/ 1173924 w 1352046"/>
                <a:gd name="connsiteY539" fmla="*/ 334208 h 905809"/>
                <a:gd name="connsiteX540" fmla="*/ 1171808 w 1352046"/>
                <a:gd name="connsiteY540" fmla="*/ 335556 h 905809"/>
                <a:gd name="connsiteX541" fmla="*/ 1171301 w 1352046"/>
                <a:gd name="connsiteY541" fmla="*/ 336790 h 905809"/>
                <a:gd name="connsiteX542" fmla="*/ 1170456 w 1352046"/>
                <a:gd name="connsiteY542" fmla="*/ 339401 h 905809"/>
                <a:gd name="connsiteX543" fmla="*/ 1169869 w 1352046"/>
                <a:gd name="connsiteY543" fmla="*/ 342083 h 905809"/>
                <a:gd name="connsiteX544" fmla="*/ 1169357 w 1352046"/>
                <a:gd name="connsiteY544" fmla="*/ 343032 h 905809"/>
                <a:gd name="connsiteX545" fmla="*/ 1168496 w 1352046"/>
                <a:gd name="connsiteY545" fmla="*/ 343196 h 905809"/>
                <a:gd name="connsiteX546" fmla="*/ 1167619 w 1352046"/>
                <a:gd name="connsiteY546" fmla="*/ 344001 h 905809"/>
                <a:gd name="connsiteX547" fmla="*/ 1165781 w 1352046"/>
                <a:gd name="connsiteY547" fmla="*/ 346523 h 905809"/>
                <a:gd name="connsiteX548" fmla="*/ 1164121 w 1352046"/>
                <a:gd name="connsiteY548" fmla="*/ 348839 h 905809"/>
                <a:gd name="connsiteX549" fmla="*/ 1161709 w 1352046"/>
                <a:gd name="connsiteY549" fmla="*/ 350407 h 905809"/>
                <a:gd name="connsiteX550" fmla="*/ 1160573 w 1352046"/>
                <a:gd name="connsiteY550" fmla="*/ 351843 h 905809"/>
                <a:gd name="connsiteX551" fmla="*/ 1159990 w 1352046"/>
                <a:gd name="connsiteY551" fmla="*/ 353149 h 905809"/>
                <a:gd name="connsiteX552" fmla="*/ 1158271 w 1352046"/>
                <a:gd name="connsiteY552" fmla="*/ 354974 h 905809"/>
                <a:gd name="connsiteX553" fmla="*/ 1155746 w 1352046"/>
                <a:gd name="connsiteY553" fmla="*/ 355300 h 905809"/>
                <a:gd name="connsiteX554" fmla="*/ 1153736 w 1352046"/>
                <a:gd name="connsiteY554" fmla="*/ 355831 h 905809"/>
                <a:gd name="connsiteX555" fmla="*/ 1152505 w 1352046"/>
                <a:gd name="connsiteY555" fmla="*/ 355971 h 905809"/>
                <a:gd name="connsiteX556" fmla="*/ 1151620 w 1352046"/>
                <a:gd name="connsiteY556" fmla="*/ 356707 h 905809"/>
                <a:gd name="connsiteX557" fmla="*/ 1150977 w 1352046"/>
                <a:gd name="connsiteY557" fmla="*/ 357831 h 905809"/>
                <a:gd name="connsiteX558" fmla="*/ 1150665 w 1352046"/>
                <a:gd name="connsiteY558" fmla="*/ 358275 h 905809"/>
                <a:gd name="connsiteX559" fmla="*/ 1149532 w 1352046"/>
                <a:gd name="connsiteY559" fmla="*/ 358275 h 905809"/>
                <a:gd name="connsiteX560" fmla="*/ 1148399 w 1352046"/>
                <a:gd name="connsiteY560" fmla="*/ 359230 h 905809"/>
                <a:gd name="connsiteX561" fmla="*/ 1145619 w 1352046"/>
                <a:gd name="connsiteY561" fmla="*/ 361399 h 905809"/>
                <a:gd name="connsiteX562" fmla="*/ 1143354 w 1352046"/>
                <a:gd name="connsiteY562" fmla="*/ 361800 h 905809"/>
                <a:gd name="connsiteX563" fmla="*/ 1140512 w 1352046"/>
                <a:gd name="connsiteY563" fmla="*/ 363248 h 905809"/>
                <a:gd name="connsiteX564" fmla="*/ 1138014 w 1352046"/>
                <a:gd name="connsiteY564" fmla="*/ 364347 h 905809"/>
                <a:gd name="connsiteX565" fmla="*/ 1136975 w 1352046"/>
                <a:gd name="connsiteY565" fmla="*/ 364965 h 905809"/>
                <a:gd name="connsiteX566" fmla="*/ 1136696 w 1352046"/>
                <a:gd name="connsiteY566" fmla="*/ 365646 h 905809"/>
                <a:gd name="connsiteX567" fmla="*/ 1136332 w 1352046"/>
                <a:gd name="connsiteY567" fmla="*/ 366513 h 905809"/>
                <a:gd name="connsiteX568" fmla="*/ 1135124 w 1352046"/>
                <a:gd name="connsiteY568" fmla="*/ 366686 h 905809"/>
                <a:gd name="connsiteX569" fmla="*/ 1133954 w 1352046"/>
                <a:gd name="connsiteY569" fmla="*/ 366642 h 905809"/>
                <a:gd name="connsiteX570" fmla="*/ 1131359 w 1352046"/>
                <a:gd name="connsiteY570" fmla="*/ 368633 h 905809"/>
                <a:gd name="connsiteX571" fmla="*/ 1130041 w 1352046"/>
                <a:gd name="connsiteY571" fmla="*/ 370320 h 905809"/>
                <a:gd name="connsiteX572" fmla="*/ 1124926 w 1352046"/>
                <a:gd name="connsiteY572" fmla="*/ 373916 h 905809"/>
                <a:gd name="connsiteX573" fmla="*/ 1122838 w 1352046"/>
                <a:gd name="connsiteY573" fmla="*/ 375936 h 905809"/>
                <a:gd name="connsiteX574" fmla="*/ 1122296 w 1352046"/>
                <a:gd name="connsiteY574" fmla="*/ 378550 h 905809"/>
                <a:gd name="connsiteX575" fmla="*/ 1122028 w 1352046"/>
                <a:gd name="connsiteY575" fmla="*/ 378354 h 905809"/>
                <a:gd name="connsiteX576" fmla="*/ 1120204 w 1352046"/>
                <a:gd name="connsiteY576" fmla="*/ 380632 h 905809"/>
                <a:gd name="connsiteX577" fmla="*/ 1116627 w 1352046"/>
                <a:gd name="connsiteY577" fmla="*/ 382798 h 905809"/>
                <a:gd name="connsiteX578" fmla="*/ 1108986 w 1352046"/>
                <a:gd name="connsiteY578" fmla="*/ 383283 h 905809"/>
                <a:gd name="connsiteX579" fmla="*/ 1106569 w 1352046"/>
                <a:gd name="connsiteY579" fmla="*/ 381741 h 905809"/>
                <a:gd name="connsiteX580" fmla="*/ 1105692 w 1352046"/>
                <a:gd name="connsiteY580" fmla="*/ 382803 h 905809"/>
                <a:gd name="connsiteX581" fmla="*/ 1105016 w 1352046"/>
                <a:gd name="connsiteY581" fmla="*/ 384227 h 905809"/>
                <a:gd name="connsiteX582" fmla="*/ 1103012 w 1352046"/>
                <a:gd name="connsiteY582" fmla="*/ 384702 h 905809"/>
                <a:gd name="connsiteX583" fmla="*/ 1099875 w 1352046"/>
                <a:gd name="connsiteY583" fmla="*/ 384830 h 905809"/>
                <a:gd name="connsiteX584" fmla="*/ 1098124 w 1352046"/>
                <a:gd name="connsiteY584" fmla="*/ 385768 h 905809"/>
                <a:gd name="connsiteX585" fmla="*/ 1097186 w 1352046"/>
                <a:gd name="connsiteY585" fmla="*/ 386816 h 905809"/>
                <a:gd name="connsiteX586" fmla="*/ 1092889 w 1352046"/>
                <a:gd name="connsiteY586" fmla="*/ 387156 h 905809"/>
                <a:gd name="connsiteX587" fmla="*/ 1091313 w 1352046"/>
                <a:gd name="connsiteY587" fmla="*/ 388550 h 905809"/>
                <a:gd name="connsiteX588" fmla="*/ 1088640 w 1352046"/>
                <a:gd name="connsiteY588" fmla="*/ 389046 h 905809"/>
                <a:gd name="connsiteX589" fmla="*/ 1077469 w 1352046"/>
                <a:gd name="connsiteY589" fmla="*/ 395139 h 905809"/>
                <a:gd name="connsiteX590" fmla="*/ 1075040 w 1352046"/>
                <a:gd name="connsiteY590" fmla="*/ 397699 h 905809"/>
                <a:gd name="connsiteX591" fmla="*/ 1072737 w 1352046"/>
                <a:gd name="connsiteY591" fmla="*/ 400688 h 905809"/>
                <a:gd name="connsiteX592" fmla="*/ 1071118 w 1352046"/>
                <a:gd name="connsiteY592" fmla="*/ 402192 h 905809"/>
                <a:gd name="connsiteX593" fmla="*/ 1069674 w 1352046"/>
                <a:gd name="connsiteY593" fmla="*/ 403243 h 905809"/>
                <a:gd name="connsiteX594" fmla="*/ 1068354 w 1352046"/>
                <a:gd name="connsiteY594" fmla="*/ 403673 h 905809"/>
                <a:gd name="connsiteX595" fmla="*/ 1067065 w 1352046"/>
                <a:gd name="connsiteY595" fmla="*/ 404709 h 905809"/>
                <a:gd name="connsiteX596" fmla="*/ 1065757 w 1352046"/>
                <a:gd name="connsiteY596" fmla="*/ 404840 h 905809"/>
                <a:gd name="connsiteX597" fmla="*/ 1064422 w 1352046"/>
                <a:gd name="connsiteY597" fmla="*/ 404368 h 905809"/>
                <a:gd name="connsiteX598" fmla="*/ 1062928 w 1352046"/>
                <a:gd name="connsiteY598" fmla="*/ 404529 h 905809"/>
                <a:gd name="connsiteX599" fmla="*/ 1061945 w 1352046"/>
                <a:gd name="connsiteY599" fmla="*/ 405785 h 905809"/>
                <a:gd name="connsiteX600" fmla="*/ 1062777 w 1352046"/>
                <a:gd name="connsiteY600" fmla="*/ 407414 h 905809"/>
                <a:gd name="connsiteX601" fmla="*/ 1062323 w 1352046"/>
                <a:gd name="connsiteY601" fmla="*/ 408103 h 905809"/>
                <a:gd name="connsiteX602" fmla="*/ 1059389 w 1352046"/>
                <a:gd name="connsiteY602" fmla="*/ 408990 h 905809"/>
                <a:gd name="connsiteX603" fmla="*/ 1055031 w 1352046"/>
                <a:gd name="connsiteY603" fmla="*/ 409572 h 905809"/>
                <a:gd name="connsiteX604" fmla="*/ 1053178 w 1352046"/>
                <a:gd name="connsiteY604" fmla="*/ 410637 h 905809"/>
                <a:gd name="connsiteX605" fmla="*/ 1052539 w 1352046"/>
                <a:gd name="connsiteY605" fmla="*/ 411241 h 905809"/>
                <a:gd name="connsiteX606" fmla="*/ 1051570 w 1352046"/>
                <a:gd name="connsiteY606" fmla="*/ 411547 h 905809"/>
                <a:gd name="connsiteX607" fmla="*/ 1050643 w 1352046"/>
                <a:gd name="connsiteY607" fmla="*/ 409441 h 905809"/>
                <a:gd name="connsiteX608" fmla="*/ 1050312 w 1352046"/>
                <a:gd name="connsiteY608" fmla="*/ 406664 h 905809"/>
                <a:gd name="connsiteX609" fmla="*/ 1052115 w 1352046"/>
                <a:gd name="connsiteY609" fmla="*/ 405996 h 905809"/>
                <a:gd name="connsiteX610" fmla="*/ 1053774 w 1352046"/>
                <a:gd name="connsiteY610" fmla="*/ 405645 h 905809"/>
                <a:gd name="connsiteX611" fmla="*/ 1062986 w 1352046"/>
                <a:gd name="connsiteY611" fmla="*/ 401807 h 905809"/>
                <a:gd name="connsiteX612" fmla="*/ 1061830 w 1352046"/>
                <a:gd name="connsiteY612" fmla="*/ 398921 h 905809"/>
                <a:gd name="connsiteX613" fmla="*/ 1062647 w 1352046"/>
                <a:gd name="connsiteY613" fmla="*/ 397662 h 905809"/>
                <a:gd name="connsiteX614" fmla="*/ 1064709 w 1352046"/>
                <a:gd name="connsiteY614" fmla="*/ 395620 h 905809"/>
                <a:gd name="connsiteX615" fmla="*/ 1066050 w 1352046"/>
                <a:gd name="connsiteY615" fmla="*/ 394609 h 905809"/>
                <a:gd name="connsiteX616" fmla="*/ 1065320 w 1352046"/>
                <a:gd name="connsiteY616" fmla="*/ 394238 h 905809"/>
                <a:gd name="connsiteX617" fmla="*/ 1059285 w 1352046"/>
                <a:gd name="connsiteY617" fmla="*/ 394912 h 905809"/>
                <a:gd name="connsiteX618" fmla="*/ 1055817 w 1352046"/>
                <a:gd name="connsiteY618" fmla="*/ 394861 h 905809"/>
                <a:gd name="connsiteX619" fmla="*/ 1054044 w 1352046"/>
                <a:gd name="connsiteY619" fmla="*/ 394655 h 905809"/>
                <a:gd name="connsiteX620" fmla="*/ 1054582 w 1352046"/>
                <a:gd name="connsiteY620" fmla="*/ 392906 h 905809"/>
                <a:gd name="connsiteX621" fmla="*/ 1054284 w 1352046"/>
                <a:gd name="connsiteY621" fmla="*/ 391160 h 905809"/>
                <a:gd name="connsiteX622" fmla="*/ 1053867 w 1352046"/>
                <a:gd name="connsiteY622" fmla="*/ 390504 h 905809"/>
                <a:gd name="connsiteX623" fmla="*/ 1056940 w 1352046"/>
                <a:gd name="connsiteY623" fmla="*/ 388515 h 905809"/>
                <a:gd name="connsiteX624" fmla="*/ 1058334 w 1352046"/>
                <a:gd name="connsiteY624" fmla="*/ 388024 h 905809"/>
                <a:gd name="connsiteX625" fmla="*/ 1059397 w 1352046"/>
                <a:gd name="connsiteY625" fmla="*/ 388055 h 905809"/>
                <a:gd name="connsiteX626" fmla="*/ 1059324 w 1352046"/>
                <a:gd name="connsiteY626" fmla="*/ 386851 h 905809"/>
                <a:gd name="connsiteX627" fmla="*/ 1058438 w 1352046"/>
                <a:gd name="connsiteY627" fmla="*/ 385040 h 905809"/>
                <a:gd name="connsiteX628" fmla="*/ 1059393 w 1352046"/>
                <a:gd name="connsiteY628" fmla="*/ 382699 h 905809"/>
                <a:gd name="connsiteX629" fmla="*/ 1065663 w 1352046"/>
                <a:gd name="connsiteY629" fmla="*/ 379945 h 905809"/>
                <a:gd name="connsiteX630" fmla="*/ 1067166 w 1352046"/>
                <a:gd name="connsiteY630" fmla="*/ 377446 h 905809"/>
                <a:gd name="connsiteX631" fmla="*/ 1069684 w 1352046"/>
                <a:gd name="connsiteY631" fmla="*/ 375112 h 905809"/>
                <a:gd name="connsiteX632" fmla="*/ 1074286 w 1352046"/>
                <a:gd name="connsiteY632" fmla="*/ 369300 h 905809"/>
                <a:gd name="connsiteX633" fmla="*/ 1074561 w 1352046"/>
                <a:gd name="connsiteY633" fmla="*/ 368311 h 905809"/>
                <a:gd name="connsiteX634" fmla="*/ 1075899 w 1352046"/>
                <a:gd name="connsiteY634" fmla="*/ 365585 h 905809"/>
                <a:gd name="connsiteX635" fmla="*/ 1076145 w 1352046"/>
                <a:gd name="connsiteY635" fmla="*/ 364494 h 905809"/>
                <a:gd name="connsiteX636" fmla="*/ 1074016 w 1352046"/>
                <a:gd name="connsiteY636" fmla="*/ 362898 h 905809"/>
                <a:gd name="connsiteX637" fmla="*/ 1073169 w 1352046"/>
                <a:gd name="connsiteY637" fmla="*/ 360658 h 905809"/>
                <a:gd name="connsiteX638" fmla="*/ 1066942 w 1352046"/>
                <a:gd name="connsiteY638" fmla="*/ 356617 h 905809"/>
                <a:gd name="connsiteX639" fmla="*/ 1066413 w 1352046"/>
                <a:gd name="connsiteY639" fmla="*/ 353143 h 905809"/>
                <a:gd name="connsiteX640" fmla="*/ 1065832 w 1352046"/>
                <a:gd name="connsiteY640" fmla="*/ 353295 h 905809"/>
                <a:gd name="connsiteX641" fmla="*/ 1064882 w 1352046"/>
                <a:gd name="connsiteY641" fmla="*/ 355730 h 905809"/>
                <a:gd name="connsiteX642" fmla="*/ 1064078 w 1352046"/>
                <a:gd name="connsiteY642" fmla="*/ 356511 h 905809"/>
                <a:gd name="connsiteX643" fmla="*/ 1061196 w 1352046"/>
                <a:gd name="connsiteY643" fmla="*/ 356583 h 905809"/>
                <a:gd name="connsiteX644" fmla="*/ 1059829 w 1352046"/>
                <a:gd name="connsiteY644" fmla="*/ 355663 h 905809"/>
                <a:gd name="connsiteX645" fmla="*/ 1051811 w 1352046"/>
                <a:gd name="connsiteY645" fmla="*/ 355062 h 905809"/>
                <a:gd name="connsiteX646" fmla="*/ 1049853 w 1352046"/>
                <a:gd name="connsiteY646" fmla="*/ 356630 h 905809"/>
                <a:gd name="connsiteX647" fmla="*/ 1048017 w 1352046"/>
                <a:gd name="connsiteY647" fmla="*/ 359059 h 905809"/>
                <a:gd name="connsiteX648" fmla="*/ 1046234 w 1352046"/>
                <a:gd name="connsiteY648" fmla="*/ 360791 h 905809"/>
                <a:gd name="connsiteX649" fmla="*/ 1044443 w 1352046"/>
                <a:gd name="connsiteY649" fmla="*/ 361680 h 905809"/>
                <a:gd name="connsiteX650" fmla="*/ 1042882 w 1352046"/>
                <a:gd name="connsiteY650" fmla="*/ 363257 h 905809"/>
                <a:gd name="connsiteX651" fmla="*/ 1036434 w 1352046"/>
                <a:gd name="connsiteY651" fmla="*/ 372628 h 905809"/>
                <a:gd name="connsiteX652" fmla="*/ 1033999 w 1352046"/>
                <a:gd name="connsiteY652" fmla="*/ 373336 h 905809"/>
                <a:gd name="connsiteX653" fmla="*/ 1022532 w 1352046"/>
                <a:gd name="connsiteY653" fmla="*/ 378983 h 905809"/>
                <a:gd name="connsiteX654" fmla="*/ 1016799 w 1352046"/>
                <a:gd name="connsiteY654" fmla="*/ 381193 h 905809"/>
                <a:gd name="connsiteX655" fmla="*/ 1012377 w 1352046"/>
                <a:gd name="connsiteY655" fmla="*/ 385102 h 905809"/>
                <a:gd name="connsiteX656" fmla="*/ 1010856 w 1352046"/>
                <a:gd name="connsiteY656" fmla="*/ 387466 h 905809"/>
                <a:gd name="connsiteX657" fmla="*/ 1009506 w 1352046"/>
                <a:gd name="connsiteY657" fmla="*/ 390084 h 905809"/>
                <a:gd name="connsiteX658" fmla="*/ 1008695 w 1352046"/>
                <a:gd name="connsiteY658" fmla="*/ 394051 h 905809"/>
                <a:gd name="connsiteX659" fmla="*/ 1004616 w 1352046"/>
                <a:gd name="connsiteY659" fmla="*/ 398864 h 905809"/>
                <a:gd name="connsiteX660" fmla="*/ 1003218 w 1352046"/>
                <a:gd name="connsiteY660" fmla="*/ 399895 h 905809"/>
                <a:gd name="connsiteX661" fmla="*/ 1001789 w 1352046"/>
                <a:gd name="connsiteY661" fmla="*/ 400313 h 905809"/>
                <a:gd name="connsiteX662" fmla="*/ 999891 w 1352046"/>
                <a:gd name="connsiteY662" fmla="*/ 400165 h 905809"/>
                <a:gd name="connsiteX663" fmla="*/ 998254 w 1352046"/>
                <a:gd name="connsiteY663" fmla="*/ 400466 h 905809"/>
                <a:gd name="connsiteX664" fmla="*/ 995466 w 1352046"/>
                <a:gd name="connsiteY664" fmla="*/ 400042 h 905809"/>
                <a:gd name="connsiteX665" fmla="*/ 992052 w 1352046"/>
                <a:gd name="connsiteY665" fmla="*/ 401565 h 905809"/>
                <a:gd name="connsiteX666" fmla="*/ 988202 w 1352046"/>
                <a:gd name="connsiteY666" fmla="*/ 402883 h 905809"/>
                <a:gd name="connsiteX667" fmla="*/ 984885 w 1352046"/>
                <a:gd name="connsiteY667" fmla="*/ 399571 h 905809"/>
                <a:gd name="connsiteX668" fmla="*/ 982521 w 1352046"/>
                <a:gd name="connsiteY668" fmla="*/ 398750 h 905809"/>
                <a:gd name="connsiteX669" fmla="*/ 978647 w 1352046"/>
                <a:gd name="connsiteY669" fmla="*/ 399669 h 905809"/>
                <a:gd name="connsiteX670" fmla="*/ 976855 w 1352046"/>
                <a:gd name="connsiteY670" fmla="*/ 401140 h 905809"/>
                <a:gd name="connsiteX671" fmla="*/ 973140 w 1352046"/>
                <a:gd name="connsiteY671" fmla="*/ 408419 h 905809"/>
                <a:gd name="connsiteX672" fmla="*/ 971750 w 1352046"/>
                <a:gd name="connsiteY672" fmla="*/ 412583 h 905809"/>
                <a:gd name="connsiteX673" fmla="*/ 971838 w 1352046"/>
                <a:gd name="connsiteY673" fmla="*/ 414293 h 905809"/>
                <a:gd name="connsiteX674" fmla="*/ 974010 w 1352046"/>
                <a:gd name="connsiteY674" fmla="*/ 419466 h 905809"/>
                <a:gd name="connsiteX675" fmla="*/ 976457 w 1352046"/>
                <a:gd name="connsiteY675" fmla="*/ 422361 h 905809"/>
                <a:gd name="connsiteX676" fmla="*/ 981946 w 1352046"/>
                <a:gd name="connsiteY676" fmla="*/ 425655 h 905809"/>
                <a:gd name="connsiteX677" fmla="*/ 993628 w 1352046"/>
                <a:gd name="connsiteY677" fmla="*/ 427927 h 905809"/>
                <a:gd name="connsiteX678" fmla="*/ 996367 w 1352046"/>
                <a:gd name="connsiteY678" fmla="*/ 427120 h 905809"/>
                <a:gd name="connsiteX679" fmla="*/ 999306 w 1352046"/>
                <a:gd name="connsiteY679" fmla="*/ 427112 h 905809"/>
                <a:gd name="connsiteX680" fmla="*/ 1002402 w 1352046"/>
                <a:gd name="connsiteY680" fmla="*/ 429264 h 905809"/>
                <a:gd name="connsiteX681" fmla="*/ 1004337 w 1352046"/>
                <a:gd name="connsiteY681" fmla="*/ 432821 h 905809"/>
                <a:gd name="connsiteX682" fmla="*/ 1004516 w 1352046"/>
                <a:gd name="connsiteY682" fmla="*/ 435249 h 905809"/>
                <a:gd name="connsiteX683" fmla="*/ 1004579 w 1352046"/>
                <a:gd name="connsiteY683" fmla="*/ 436085 h 905809"/>
                <a:gd name="connsiteX684" fmla="*/ 1005283 w 1352046"/>
                <a:gd name="connsiteY684" fmla="*/ 436800 h 905809"/>
                <a:gd name="connsiteX685" fmla="*/ 1005700 w 1352046"/>
                <a:gd name="connsiteY685" fmla="*/ 438024 h 905809"/>
                <a:gd name="connsiteX686" fmla="*/ 1004469 w 1352046"/>
                <a:gd name="connsiteY686" fmla="*/ 439039 h 905809"/>
                <a:gd name="connsiteX687" fmla="*/ 1003525 w 1352046"/>
                <a:gd name="connsiteY687" fmla="*/ 439542 h 905809"/>
                <a:gd name="connsiteX688" fmla="*/ 1002730 w 1352046"/>
                <a:gd name="connsiteY688" fmla="*/ 443304 h 905809"/>
                <a:gd name="connsiteX689" fmla="*/ 1002681 w 1352046"/>
                <a:gd name="connsiteY689" fmla="*/ 447461 h 905809"/>
                <a:gd name="connsiteX690" fmla="*/ 1003687 w 1352046"/>
                <a:gd name="connsiteY690" fmla="*/ 448839 h 905809"/>
                <a:gd name="connsiteX691" fmla="*/ 1006200 w 1352046"/>
                <a:gd name="connsiteY691" fmla="*/ 450774 h 905809"/>
                <a:gd name="connsiteX692" fmla="*/ 1010083 w 1352046"/>
                <a:gd name="connsiteY692" fmla="*/ 452376 h 905809"/>
                <a:gd name="connsiteX693" fmla="*/ 1013677 w 1352046"/>
                <a:gd name="connsiteY693" fmla="*/ 452720 h 905809"/>
                <a:gd name="connsiteX694" fmla="*/ 1020545 w 1352046"/>
                <a:gd name="connsiteY694" fmla="*/ 451948 h 905809"/>
                <a:gd name="connsiteX695" fmla="*/ 1023353 w 1352046"/>
                <a:gd name="connsiteY695" fmla="*/ 449444 h 905809"/>
                <a:gd name="connsiteX696" fmla="*/ 1023186 w 1352046"/>
                <a:gd name="connsiteY696" fmla="*/ 448363 h 905809"/>
                <a:gd name="connsiteX697" fmla="*/ 1023251 w 1352046"/>
                <a:gd name="connsiteY697" fmla="*/ 446960 h 905809"/>
                <a:gd name="connsiteX698" fmla="*/ 1029287 w 1352046"/>
                <a:gd name="connsiteY698" fmla="*/ 443280 h 905809"/>
                <a:gd name="connsiteX699" fmla="*/ 1032729 w 1352046"/>
                <a:gd name="connsiteY699" fmla="*/ 440019 h 905809"/>
                <a:gd name="connsiteX700" fmla="*/ 1032189 w 1352046"/>
                <a:gd name="connsiteY700" fmla="*/ 439155 h 905809"/>
                <a:gd name="connsiteX701" fmla="*/ 1031528 w 1352046"/>
                <a:gd name="connsiteY701" fmla="*/ 438579 h 905809"/>
                <a:gd name="connsiteX702" fmla="*/ 1032135 w 1352046"/>
                <a:gd name="connsiteY702" fmla="*/ 438245 h 905809"/>
                <a:gd name="connsiteX703" fmla="*/ 1034024 w 1352046"/>
                <a:gd name="connsiteY703" fmla="*/ 438016 h 905809"/>
                <a:gd name="connsiteX704" fmla="*/ 1042425 w 1352046"/>
                <a:gd name="connsiteY704" fmla="*/ 434615 h 905809"/>
                <a:gd name="connsiteX705" fmla="*/ 1049037 w 1352046"/>
                <a:gd name="connsiteY705" fmla="*/ 437398 h 905809"/>
                <a:gd name="connsiteX706" fmla="*/ 1052807 w 1352046"/>
                <a:gd name="connsiteY706" fmla="*/ 440595 h 905809"/>
                <a:gd name="connsiteX707" fmla="*/ 1056534 w 1352046"/>
                <a:gd name="connsiteY707" fmla="*/ 441137 h 905809"/>
                <a:gd name="connsiteX708" fmla="*/ 1059125 w 1352046"/>
                <a:gd name="connsiteY708" fmla="*/ 442769 h 905809"/>
                <a:gd name="connsiteX709" fmla="*/ 1062109 w 1352046"/>
                <a:gd name="connsiteY709" fmla="*/ 444166 h 905809"/>
                <a:gd name="connsiteX710" fmla="*/ 1066005 w 1352046"/>
                <a:gd name="connsiteY710" fmla="*/ 444260 h 905809"/>
                <a:gd name="connsiteX711" fmla="*/ 1069287 w 1352046"/>
                <a:gd name="connsiteY711" fmla="*/ 444549 h 905809"/>
                <a:gd name="connsiteX712" fmla="*/ 1070289 w 1352046"/>
                <a:gd name="connsiteY712" fmla="*/ 443262 h 905809"/>
                <a:gd name="connsiteX713" fmla="*/ 1071317 w 1352046"/>
                <a:gd name="connsiteY713" fmla="*/ 442415 h 905809"/>
                <a:gd name="connsiteX714" fmla="*/ 1072487 w 1352046"/>
                <a:gd name="connsiteY714" fmla="*/ 442583 h 905809"/>
                <a:gd name="connsiteX715" fmla="*/ 1073805 w 1352046"/>
                <a:gd name="connsiteY715" fmla="*/ 444273 h 905809"/>
                <a:gd name="connsiteX716" fmla="*/ 1077532 w 1352046"/>
                <a:gd name="connsiteY716" fmla="*/ 445571 h 905809"/>
                <a:gd name="connsiteX717" fmla="*/ 1080972 w 1352046"/>
                <a:gd name="connsiteY717" fmla="*/ 445502 h 905809"/>
                <a:gd name="connsiteX718" fmla="*/ 1083383 w 1352046"/>
                <a:gd name="connsiteY718" fmla="*/ 445031 h 905809"/>
                <a:gd name="connsiteX719" fmla="*/ 1084813 w 1352046"/>
                <a:gd name="connsiteY719" fmla="*/ 445633 h 905809"/>
                <a:gd name="connsiteX720" fmla="*/ 1082742 w 1352046"/>
                <a:gd name="connsiteY720" fmla="*/ 447799 h 905809"/>
                <a:gd name="connsiteX721" fmla="*/ 1083051 w 1352046"/>
                <a:gd name="connsiteY721" fmla="*/ 451285 h 905809"/>
                <a:gd name="connsiteX722" fmla="*/ 1081464 w 1352046"/>
                <a:gd name="connsiteY722" fmla="*/ 452387 h 905809"/>
                <a:gd name="connsiteX723" fmla="*/ 1079942 w 1352046"/>
                <a:gd name="connsiteY723" fmla="*/ 454161 h 905809"/>
                <a:gd name="connsiteX724" fmla="*/ 1080842 w 1352046"/>
                <a:gd name="connsiteY724" fmla="*/ 455328 h 905809"/>
                <a:gd name="connsiteX725" fmla="*/ 1081639 w 1352046"/>
                <a:gd name="connsiteY725" fmla="*/ 455827 h 905809"/>
                <a:gd name="connsiteX726" fmla="*/ 1081557 w 1352046"/>
                <a:gd name="connsiteY726" fmla="*/ 457246 h 905809"/>
                <a:gd name="connsiteX727" fmla="*/ 1080170 w 1352046"/>
                <a:gd name="connsiteY727" fmla="*/ 458052 h 905809"/>
                <a:gd name="connsiteX728" fmla="*/ 1077603 w 1352046"/>
                <a:gd name="connsiteY728" fmla="*/ 460158 h 905809"/>
                <a:gd name="connsiteX729" fmla="*/ 1076128 w 1352046"/>
                <a:gd name="connsiteY729" fmla="*/ 460117 h 905809"/>
                <a:gd name="connsiteX730" fmla="*/ 1075422 w 1352046"/>
                <a:gd name="connsiteY730" fmla="*/ 459710 h 905809"/>
                <a:gd name="connsiteX731" fmla="*/ 1074923 w 1352046"/>
                <a:gd name="connsiteY731" fmla="*/ 458956 h 905809"/>
                <a:gd name="connsiteX732" fmla="*/ 1074558 w 1352046"/>
                <a:gd name="connsiteY732" fmla="*/ 457745 h 905809"/>
                <a:gd name="connsiteX733" fmla="*/ 1073655 w 1352046"/>
                <a:gd name="connsiteY733" fmla="*/ 456946 h 905809"/>
                <a:gd name="connsiteX734" fmla="*/ 1071159 w 1352046"/>
                <a:gd name="connsiteY734" fmla="*/ 456638 h 905809"/>
                <a:gd name="connsiteX735" fmla="*/ 1068576 w 1352046"/>
                <a:gd name="connsiteY735" fmla="*/ 456924 h 905809"/>
                <a:gd name="connsiteX736" fmla="*/ 1062759 w 1352046"/>
                <a:gd name="connsiteY736" fmla="*/ 460053 h 905809"/>
                <a:gd name="connsiteX737" fmla="*/ 1057086 w 1352046"/>
                <a:gd name="connsiteY737" fmla="*/ 462540 h 905809"/>
                <a:gd name="connsiteX738" fmla="*/ 1051137 w 1352046"/>
                <a:gd name="connsiteY738" fmla="*/ 464518 h 905809"/>
                <a:gd name="connsiteX739" fmla="*/ 1049142 w 1352046"/>
                <a:gd name="connsiteY739" fmla="*/ 465762 h 905809"/>
                <a:gd name="connsiteX740" fmla="*/ 1047730 w 1352046"/>
                <a:gd name="connsiteY740" fmla="*/ 466103 h 905809"/>
                <a:gd name="connsiteX741" fmla="*/ 1045266 w 1352046"/>
                <a:gd name="connsiteY741" fmla="*/ 465159 h 905809"/>
                <a:gd name="connsiteX742" fmla="*/ 1043769 w 1352046"/>
                <a:gd name="connsiteY742" fmla="*/ 465219 h 905809"/>
                <a:gd name="connsiteX743" fmla="*/ 1043456 w 1352046"/>
                <a:gd name="connsiteY743" fmla="*/ 465867 h 905809"/>
                <a:gd name="connsiteX744" fmla="*/ 1045357 w 1352046"/>
                <a:gd name="connsiteY744" fmla="*/ 467599 h 905809"/>
                <a:gd name="connsiteX745" fmla="*/ 1045852 w 1352046"/>
                <a:gd name="connsiteY745" fmla="*/ 468957 h 905809"/>
                <a:gd name="connsiteX746" fmla="*/ 1045648 w 1352046"/>
                <a:gd name="connsiteY746" fmla="*/ 469999 h 905809"/>
                <a:gd name="connsiteX747" fmla="*/ 1044571 w 1352046"/>
                <a:gd name="connsiteY747" fmla="*/ 470457 h 905809"/>
                <a:gd name="connsiteX748" fmla="*/ 1043003 w 1352046"/>
                <a:gd name="connsiteY748" fmla="*/ 469692 h 905809"/>
                <a:gd name="connsiteX749" fmla="*/ 1041573 w 1352046"/>
                <a:gd name="connsiteY749" fmla="*/ 470781 h 905809"/>
                <a:gd name="connsiteX750" fmla="*/ 1040925 w 1352046"/>
                <a:gd name="connsiteY750" fmla="*/ 472617 h 905809"/>
                <a:gd name="connsiteX751" fmla="*/ 1040898 w 1352046"/>
                <a:gd name="connsiteY751" fmla="*/ 476975 h 905809"/>
                <a:gd name="connsiteX752" fmla="*/ 1039946 w 1352046"/>
                <a:gd name="connsiteY752" fmla="*/ 477945 h 905809"/>
                <a:gd name="connsiteX753" fmla="*/ 1037324 w 1352046"/>
                <a:gd name="connsiteY753" fmla="*/ 478482 h 905809"/>
                <a:gd name="connsiteX754" fmla="*/ 1034532 w 1352046"/>
                <a:gd name="connsiteY754" fmla="*/ 479866 h 905809"/>
                <a:gd name="connsiteX755" fmla="*/ 1033541 w 1352046"/>
                <a:gd name="connsiteY755" fmla="*/ 479227 h 905809"/>
                <a:gd name="connsiteX756" fmla="*/ 1033143 w 1352046"/>
                <a:gd name="connsiteY756" fmla="*/ 478446 h 905809"/>
                <a:gd name="connsiteX757" fmla="*/ 1033435 w 1352046"/>
                <a:gd name="connsiteY757" fmla="*/ 476441 h 905809"/>
                <a:gd name="connsiteX758" fmla="*/ 1033087 w 1352046"/>
                <a:gd name="connsiteY758" fmla="*/ 475463 h 905809"/>
                <a:gd name="connsiteX759" fmla="*/ 1031814 w 1352046"/>
                <a:gd name="connsiteY759" fmla="*/ 475514 h 905809"/>
                <a:gd name="connsiteX760" fmla="*/ 1029894 w 1352046"/>
                <a:gd name="connsiteY760" fmla="*/ 476113 h 905809"/>
                <a:gd name="connsiteX761" fmla="*/ 1028427 w 1352046"/>
                <a:gd name="connsiteY761" fmla="*/ 477431 h 905809"/>
                <a:gd name="connsiteX762" fmla="*/ 1027922 w 1352046"/>
                <a:gd name="connsiteY762" fmla="*/ 478224 h 905809"/>
                <a:gd name="connsiteX763" fmla="*/ 1029852 w 1352046"/>
                <a:gd name="connsiteY763" fmla="*/ 480785 h 905809"/>
                <a:gd name="connsiteX764" fmla="*/ 1031694 w 1352046"/>
                <a:gd name="connsiteY764" fmla="*/ 481044 h 905809"/>
                <a:gd name="connsiteX765" fmla="*/ 1032137 w 1352046"/>
                <a:gd name="connsiteY765" fmla="*/ 481619 h 905809"/>
                <a:gd name="connsiteX766" fmla="*/ 1030683 w 1352046"/>
                <a:gd name="connsiteY766" fmla="*/ 482867 h 905809"/>
                <a:gd name="connsiteX767" fmla="*/ 1027050 w 1352046"/>
                <a:gd name="connsiteY767" fmla="*/ 484728 h 905809"/>
                <a:gd name="connsiteX768" fmla="*/ 1026447 w 1352046"/>
                <a:gd name="connsiteY768" fmla="*/ 486284 h 905809"/>
                <a:gd name="connsiteX769" fmla="*/ 1025370 w 1352046"/>
                <a:gd name="connsiteY769" fmla="*/ 487774 h 905809"/>
                <a:gd name="connsiteX770" fmla="*/ 1023888 w 1352046"/>
                <a:gd name="connsiteY770" fmla="*/ 488958 h 905809"/>
                <a:gd name="connsiteX771" fmla="*/ 1022882 w 1352046"/>
                <a:gd name="connsiteY771" fmla="*/ 490205 h 905809"/>
                <a:gd name="connsiteX772" fmla="*/ 1021651 w 1352046"/>
                <a:gd name="connsiteY772" fmla="*/ 490858 h 905809"/>
                <a:gd name="connsiteX773" fmla="*/ 1019643 w 1352046"/>
                <a:gd name="connsiteY773" fmla="*/ 491587 h 905809"/>
                <a:gd name="connsiteX774" fmla="*/ 1017181 w 1352046"/>
                <a:gd name="connsiteY774" fmla="*/ 494576 h 905809"/>
                <a:gd name="connsiteX775" fmla="*/ 1015370 w 1352046"/>
                <a:gd name="connsiteY775" fmla="*/ 497371 h 905809"/>
                <a:gd name="connsiteX776" fmla="*/ 1013229 w 1352046"/>
                <a:gd name="connsiteY776" fmla="*/ 498806 h 905809"/>
                <a:gd name="connsiteX777" fmla="*/ 1011530 w 1352046"/>
                <a:gd name="connsiteY777" fmla="*/ 503512 h 905809"/>
                <a:gd name="connsiteX778" fmla="*/ 1008500 w 1352046"/>
                <a:gd name="connsiteY778" fmla="*/ 506069 h 905809"/>
                <a:gd name="connsiteX779" fmla="*/ 1007384 w 1352046"/>
                <a:gd name="connsiteY779" fmla="*/ 510147 h 905809"/>
                <a:gd name="connsiteX780" fmla="*/ 1008172 w 1352046"/>
                <a:gd name="connsiteY780" fmla="*/ 512658 h 905809"/>
                <a:gd name="connsiteX781" fmla="*/ 1011498 w 1352046"/>
                <a:gd name="connsiteY781" fmla="*/ 512633 h 905809"/>
                <a:gd name="connsiteX782" fmla="*/ 1013164 w 1352046"/>
                <a:gd name="connsiteY782" fmla="*/ 513514 h 905809"/>
                <a:gd name="connsiteX783" fmla="*/ 1016618 w 1352046"/>
                <a:gd name="connsiteY783" fmla="*/ 516810 h 905809"/>
                <a:gd name="connsiteX784" fmla="*/ 1020748 w 1352046"/>
                <a:gd name="connsiteY784" fmla="*/ 518957 h 905809"/>
                <a:gd name="connsiteX785" fmla="*/ 1025037 w 1352046"/>
                <a:gd name="connsiteY785" fmla="*/ 520164 h 905809"/>
                <a:gd name="connsiteX786" fmla="*/ 1030295 w 1352046"/>
                <a:gd name="connsiteY786" fmla="*/ 523209 h 905809"/>
                <a:gd name="connsiteX787" fmla="*/ 1031738 w 1352046"/>
                <a:gd name="connsiteY787" fmla="*/ 524496 h 905809"/>
                <a:gd name="connsiteX788" fmla="*/ 1032975 w 1352046"/>
                <a:gd name="connsiteY788" fmla="*/ 527111 h 905809"/>
                <a:gd name="connsiteX789" fmla="*/ 1035253 w 1352046"/>
                <a:gd name="connsiteY789" fmla="*/ 534638 h 905809"/>
                <a:gd name="connsiteX790" fmla="*/ 1036892 w 1352046"/>
                <a:gd name="connsiteY790" fmla="*/ 538357 h 905809"/>
                <a:gd name="connsiteX791" fmla="*/ 1037002 w 1352046"/>
                <a:gd name="connsiteY791" fmla="*/ 540299 h 905809"/>
                <a:gd name="connsiteX792" fmla="*/ 1039453 w 1352046"/>
                <a:gd name="connsiteY792" fmla="*/ 543958 h 905809"/>
                <a:gd name="connsiteX793" fmla="*/ 1042081 w 1352046"/>
                <a:gd name="connsiteY793" fmla="*/ 550242 h 905809"/>
                <a:gd name="connsiteX794" fmla="*/ 1045102 w 1352046"/>
                <a:gd name="connsiteY794" fmla="*/ 555681 h 905809"/>
                <a:gd name="connsiteX795" fmla="*/ 1045683 w 1352046"/>
                <a:gd name="connsiteY795" fmla="*/ 559957 h 905809"/>
                <a:gd name="connsiteX796" fmla="*/ 1044703 w 1352046"/>
                <a:gd name="connsiteY796" fmla="*/ 561907 h 905809"/>
                <a:gd name="connsiteX797" fmla="*/ 1044707 w 1352046"/>
                <a:gd name="connsiteY797" fmla="*/ 564438 h 905809"/>
                <a:gd name="connsiteX798" fmla="*/ 1047730 w 1352046"/>
                <a:gd name="connsiteY798" fmla="*/ 566761 h 905809"/>
                <a:gd name="connsiteX799" fmla="*/ 1054439 w 1352046"/>
                <a:gd name="connsiteY799" fmla="*/ 569460 h 905809"/>
                <a:gd name="connsiteX800" fmla="*/ 1055508 w 1352046"/>
                <a:gd name="connsiteY800" fmla="*/ 570254 h 905809"/>
                <a:gd name="connsiteX801" fmla="*/ 1056819 w 1352046"/>
                <a:gd name="connsiteY801" fmla="*/ 571560 h 905809"/>
                <a:gd name="connsiteX802" fmla="*/ 1056883 w 1352046"/>
                <a:gd name="connsiteY802" fmla="*/ 575630 h 905809"/>
                <a:gd name="connsiteX803" fmla="*/ 1057920 w 1352046"/>
                <a:gd name="connsiteY803" fmla="*/ 576930 h 905809"/>
                <a:gd name="connsiteX804" fmla="*/ 1058799 w 1352046"/>
                <a:gd name="connsiteY804" fmla="*/ 577721 h 905809"/>
                <a:gd name="connsiteX805" fmla="*/ 1062861 w 1352046"/>
                <a:gd name="connsiteY805" fmla="*/ 579439 h 905809"/>
                <a:gd name="connsiteX806" fmla="*/ 1064560 w 1352046"/>
                <a:gd name="connsiteY806" fmla="*/ 580866 h 905809"/>
                <a:gd name="connsiteX807" fmla="*/ 1066359 w 1352046"/>
                <a:gd name="connsiteY807" fmla="*/ 583148 h 905809"/>
                <a:gd name="connsiteX808" fmla="*/ 1066888 w 1352046"/>
                <a:gd name="connsiteY808" fmla="*/ 585188 h 905809"/>
                <a:gd name="connsiteX809" fmla="*/ 1067108 w 1352046"/>
                <a:gd name="connsiteY809" fmla="*/ 587952 h 905809"/>
                <a:gd name="connsiteX810" fmla="*/ 1064836 w 1352046"/>
                <a:gd name="connsiteY810" fmla="*/ 588051 h 905809"/>
                <a:gd name="connsiteX811" fmla="*/ 1063008 w 1352046"/>
                <a:gd name="connsiteY811" fmla="*/ 587742 h 905809"/>
                <a:gd name="connsiteX812" fmla="*/ 1055735 w 1352046"/>
                <a:gd name="connsiteY812" fmla="*/ 584152 h 905809"/>
                <a:gd name="connsiteX813" fmla="*/ 1053843 w 1352046"/>
                <a:gd name="connsiteY813" fmla="*/ 584056 h 905809"/>
                <a:gd name="connsiteX814" fmla="*/ 1051176 w 1352046"/>
                <a:gd name="connsiteY814" fmla="*/ 584555 h 905809"/>
                <a:gd name="connsiteX815" fmla="*/ 1047367 w 1352046"/>
                <a:gd name="connsiteY815" fmla="*/ 583892 h 905809"/>
                <a:gd name="connsiteX816" fmla="*/ 1043346 w 1352046"/>
                <a:gd name="connsiteY816" fmla="*/ 579913 h 905809"/>
                <a:gd name="connsiteX817" fmla="*/ 1040446 w 1352046"/>
                <a:gd name="connsiteY817" fmla="*/ 578703 h 905809"/>
                <a:gd name="connsiteX818" fmla="*/ 1037341 w 1352046"/>
                <a:gd name="connsiteY818" fmla="*/ 578095 h 905809"/>
                <a:gd name="connsiteX819" fmla="*/ 1029911 w 1352046"/>
                <a:gd name="connsiteY819" fmla="*/ 581520 h 905809"/>
                <a:gd name="connsiteX820" fmla="*/ 1028023 w 1352046"/>
                <a:gd name="connsiteY820" fmla="*/ 581280 h 905809"/>
                <a:gd name="connsiteX821" fmla="*/ 1027475 w 1352046"/>
                <a:gd name="connsiteY821" fmla="*/ 581665 h 905809"/>
                <a:gd name="connsiteX822" fmla="*/ 1026635 w 1352046"/>
                <a:gd name="connsiteY822" fmla="*/ 582253 h 905809"/>
                <a:gd name="connsiteX823" fmla="*/ 1030077 w 1352046"/>
                <a:gd name="connsiteY823" fmla="*/ 582987 h 905809"/>
                <a:gd name="connsiteX824" fmla="*/ 1033524 w 1352046"/>
                <a:gd name="connsiteY824" fmla="*/ 581865 h 905809"/>
                <a:gd name="connsiteX825" fmla="*/ 1036833 w 1352046"/>
                <a:gd name="connsiteY825" fmla="*/ 580205 h 905809"/>
                <a:gd name="connsiteX826" fmla="*/ 1041662 w 1352046"/>
                <a:gd name="connsiteY826" fmla="*/ 581089 h 905809"/>
                <a:gd name="connsiteX827" fmla="*/ 1042474 w 1352046"/>
                <a:gd name="connsiteY827" fmla="*/ 582582 h 905809"/>
                <a:gd name="connsiteX828" fmla="*/ 1043260 w 1352046"/>
                <a:gd name="connsiteY828" fmla="*/ 585107 h 905809"/>
                <a:gd name="connsiteX829" fmla="*/ 1046570 w 1352046"/>
                <a:gd name="connsiteY829" fmla="*/ 586811 h 905809"/>
                <a:gd name="connsiteX830" fmla="*/ 1049177 w 1352046"/>
                <a:gd name="connsiteY830" fmla="*/ 587564 h 905809"/>
                <a:gd name="connsiteX831" fmla="*/ 1052483 w 1352046"/>
                <a:gd name="connsiteY831" fmla="*/ 589799 h 905809"/>
                <a:gd name="connsiteX832" fmla="*/ 1055713 w 1352046"/>
                <a:gd name="connsiteY832" fmla="*/ 593288 h 905809"/>
                <a:gd name="connsiteX833" fmla="*/ 1062561 w 1352046"/>
                <a:gd name="connsiteY833" fmla="*/ 597333 h 905809"/>
                <a:gd name="connsiteX834" fmla="*/ 1065331 w 1352046"/>
                <a:gd name="connsiteY834" fmla="*/ 601159 h 905809"/>
                <a:gd name="connsiteX835" fmla="*/ 1066405 w 1352046"/>
                <a:gd name="connsiteY835" fmla="*/ 603628 h 905809"/>
                <a:gd name="connsiteX836" fmla="*/ 1067365 w 1352046"/>
                <a:gd name="connsiteY836" fmla="*/ 607151 h 905809"/>
                <a:gd name="connsiteX837" fmla="*/ 1064966 w 1352046"/>
                <a:gd name="connsiteY837" fmla="*/ 608286 h 905809"/>
                <a:gd name="connsiteX838" fmla="*/ 1062882 w 1352046"/>
                <a:gd name="connsiteY838" fmla="*/ 608446 h 905809"/>
                <a:gd name="connsiteX839" fmla="*/ 1059617 w 1352046"/>
                <a:gd name="connsiteY839" fmla="*/ 609001 h 905809"/>
                <a:gd name="connsiteX840" fmla="*/ 1057216 w 1352046"/>
                <a:gd name="connsiteY840" fmla="*/ 610246 h 905809"/>
                <a:gd name="connsiteX841" fmla="*/ 1054806 w 1352046"/>
                <a:gd name="connsiteY841" fmla="*/ 612437 h 905809"/>
                <a:gd name="connsiteX842" fmla="*/ 1047901 w 1352046"/>
                <a:gd name="connsiteY842" fmla="*/ 615874 h 905809"/>
                <a:gd name="connsiteX843" fmla="*/ 1046588 w 1352046"/>
                <a:gd name="connsiteY843" fmla="*/ 618024 h 905809"/>
                <a:gd name="connsiteX844" fmla="*/ 1045685 w 1352046"/>
                <a:gd name="connsiteY844" fmla="*/ 619895 h 905809"/>
                <a:gd name="connsiteX845" fmla="*/ 1044005 w 1352046"/>
                <a:gd name="connsiteY845" fmla="*/ 620817 h 905809"/>
                <a:gd name="connsiteX846" fmla="*/ 1039770 w 1352046"/>
                <a:gd name="connsiteY846" fmla="*/ 619938 h 905809"/>
                <a:gd name="connsiteX847" fmla="*/ 1035786 w 1352046"/>
                <a:gd name="connsiteY847" fmla="*/ 620011 h 905809"/>
                <a:gd name="connsiteX848" fmla="*/ 1031269 w 1352046"/>
                <a:gd name="connsiteY848" fmla="*/ 622541 h 905809"/>
                <a:gd name="connsiteX849" fmla="*/ 1030144 w 1352046"/>
                <a:gd name="connsiteY849" fmla="*/ 623565 h 905809"/>
                <a:gd name="connsiteX850" fmla="*/ 1030894 w 1352046"/>
                <a:gd name="connsiteY850" fmla="*/ 623365 h 905809"/>
                <a:gd name="connsiteX851" fmla="*/ 1031601 w 1352046"/>
                <a:gd name="connsiteY851" fmla="*/ 623038 h 905809"/>
                <a:gd name="connsiteX852" fmla="*/ 1033636 w 1352046"/>
                <a:gd name="connsiteY852" fmla="*/ 623417 h 905809"/>
                <a:gd name="connsiteX853" fmla="*/ 1036775 w 1352046"/>
                <a:gd name="connsiteY853" fmla="*/ 622067 h 905809"/>
                <a:gd name="connsiteX854" fmla="*/ 1039846 w 1352046"/>
                <a:gd name="connsiteY854" fmla="*/ 626186 h 905809"/>
                <a:gd name="connsiteX855" fmla="*/ 1045841 w 1352046"/>
                <a:gd name="connsiteY855" fmla="*/ 625520 h 905809"/>
                <a:gd name="connsiteX856" fmla="*/ 1051477 w 1352046"/>
                <a:gd name="connsiteY856" fmla="*/ 622099 h 905809"/>
                <a:gd name="connsiteX857" fmla="*/ 1053658 w 1352046"/>
                <a:gd name="connsiteY857" fmla="*/ 622042 h 905809"/>
                <a:gd name="connsiteX858" fmla="*/ 1055484 w 1352046"/>
                <a:gd name="connsiteY858" fmla="*/ 622569 h 905809"/>
                <a:gd name="connsiteX859" fmla="*/ 1057521 w 1352046"/>
                <a:gd name="connsiteY859" fmla="*/ 623920 h 905809"/>
                <a:gd name="connsiteX860" fmla="*/ 1062943 w 1352046"/>
                <a:gd name="connsiteY860" fmla="*/ 629916 h 905809"/>
                <a:gd name="connsiteX861" fmla="*/ 1065914 w 1352046"/>
                <a:gd name="connsiteY861" fmla="*/ 630568 h 905809"/>
                <a:gd name="connsiteX862" fmla="*/ 1068834 w 1352046"/>
                <a:gd name="connsiteY862" fmla="*/ 631973 h 905809"/>
                <a:gd name="connsiteX863" fmla="*/ 1070447 w 1352046"/>
                <a:gd name="connsiteY863" fmla="*/ 632128 h 905809"/>
                <a:gd name="connsiteX864" fmla="*/ 1071898 w 1352046"/>
                <a:gd name="connsiteY864" fmla="*/ 632547 h 905809"/>
                <a:gd name="connsiteX865" fmla="*/ 1067980 w 1352046"/>
                <a:gd name="connsiteY865" fmla="*/ 634739 h 905809"/>
                <a:gd name="connsiteX866" fmla="*/ 1062912 w 1352046"/>
                <a:gd name="connsiteY866" fmla="*/ 639471 h 905809"/>
                <a:gd name="connsiteX867" fmla="*/ 1060658 w 1352046"/>
                <a:gd name="connsiteY867" fmla="*/ 640600 h 905809"/>
                <a:gd name="connsiteX868" fmla="*/ 1059147 w 1352046"/>
                <a:gd name="connsiteY868" fmla="*/ 641866 h 905809"/>
                <a:gd name="connsiteX869" fmla="*/ 1063219 w 1352046"/>
                <a:gd name="connsiteY869" fmla="*/ 641229 h 905809"/>
                <a:gd name="connsiteX870" fmla="*/ 1066125 w 1352046"/>
                <a:gd name="connsiteY870" fmla="*/ 638968 h 905809"/>
                <a:gd name="connsiteX871" fmla="*/ 1067587 w 1352046"/>
                <a:gd name="connsiteY871" fmla="*/ 638409 h 905809"/>
                <a:gd name="connsiteX872" fmla="*/ 1068765 w 1352046"/>
                <a:gd name="connsiteY872" fmla="*/ 638937 h 905809"/>
                <a:gd name="connsiteX873" fmla="*/ 1069365 w 1352046"/>
                <a:gd name="connsiteY873" fmla="*/ 641720 h 905809"/>
                <a:gd name="connsiteX874" fmla="*/ 1068246 w 1352046"/>
                <a:gd name="connsiteY874" fmla="*/ 650291 h 905809"/>
                <a:gd name="connsiteX875" fmla="*/ 1066825 w 1352046"/>
                <a:gd name="connsiteY875" fmla="*/ 650438 h 905809"/>
                <a:gd name="connsiteX876" fmla="*/ 1065439 w 1352046"/>
                <a:gd name="connsiteY876" fmla="*/ 648108 h 905809"/>
                <a:gd name="connsiteX877" fmla="*/ 1063817 w 1352046"/>
                <a:gd name="connsiteY877" fmla="*/ 647369 h 905809"/>
                <a:gd name="connsiteX878" fmla="*/ 1062457 w 1352046"/>
                <a:gd name="connsiteY878" fmla="*/ 647856 h 905809"/>
                <a:gd name="connsiteX879" fmla="*/ 1059754 w 1352046"/>
                <a:gd name="connsiteY879" fmla="*/ 647842 h 905809"/>
                <a:gd name="connsiteX880" fmla="*/ 1058724 w 1352046"/>
                <a:gd name="connsiteY880" fmla="*/ 648891 h 905809"/>
                <a:gd name="connsiteX881" fmla="*/ 1057851 w 1352046"/>
                <a:gd name="connsiteY881" fmla="*/ 650380 h 905809"/>
                <a:gd name="connsiteX882" fmla="*/ 1059471 w 1352046"/>
                <a:gd name="connsiteY882" fmla="*/ 650690 h 905809"/>
                <a:gd name="connsiteX883" fmla="*/ 1062656 w 1352046"/>
                <a:gd name="connsiteY883" fmla="*/ 653286 h 905809"/>
                <a:gd name="connsiteX884" fmla="*/ 1062981 w 1352046"/>
                <a:gd name="connsiteY884" fmla="*/ 654668 h 905809"/>
                <a:gd name="connsiteX885" fmla="*/ 1062126 w 1352046"/>
                <a:gd name="connsiteY885" fmla="*/ 655563 h 905809"/>
                <a:gd name="connsiteX886" fmla="*/ 1059893 w 1352046"/>
                <a:gd name="connsiteY886" fmla="*/ 655179 h 905809"/>
                <a:gd name="connsiteX887" fmla="*/ 1062602 w 1352046"/>
                <a:gd name="connsiteY887" fmla="*/ 657114 h 905809"/>
                <a:gd name="connsiteX888" fmla="*/ 1061885 w 1352046"/>
                <a:gd name="connsiteY888" fmla="*/ 659120 h 905809"/>
                <a:gd name="connsiteX889" fmla="*/ 1061006 w 1352046"/>
                <a:gd name="connsiteY889" fmla="*/ 659916 h 905809"/>
                <a:gd name="connsiteX890" fmla="*/ 1059432 w 1352046"/>
                <a:gd name="connsiteY890" fmla="*/ 660423 h 905809"/>
                <a:gd name="connsiteX891" fmla="*/ 1058460 w 1352046"/>
                <a:gd name="connsiteY891" fmla="*/ 662158 h 905809"/>
                <a:gd name="connsiteX892" fmla="*/ 1059851 w 1352046"/>
                <a:gd name="connsiteY892" fmla="*/ 665045 h 905809"/>
                <a:gd name="connsiteX893" fmla="*/ 1061265 w 1352046"/>
                <a:gd name="connsiteY893" fmla="*/ 668750 h 905809"/>
                <a:gd name="connsiteX894" fmla="*/ 1061440 w 1352046"/>
                <a:gd name="connsiteY894" fmla="*/ 670534 h 905809"/>
                <a:gd name="connsiteX895" fmla="*/ 1059229 w 1352046"/>
                <a:gd name="connsiteY895" fmla="*/ 669765 h 905809"/>
                <a:gd name="connsiteX896" fmla="*/ 1055794 w 1352046"/>
                <a:gd name="connsiteY896" fmla="*/ 672026 h 905809"/>
                <a:gd name="connsiteX897" fmla="*/ 1053973 w 1352046"/>
                <a:gd name="connsiteY897" fmla="*/ 672212 h 905809"/>
                <a:gd name="connsiteX898" fmla="*/ 1052746 w 1352046"/>
                <a:gd name="connsiteY898" fmla="*/ 669239 h 905809"/>
                <a:gd name="connsiteX899" fmla="*/ 1051174 w 1352046"/>
                <a:gd name="connsiteY899" fmla="*/ 669707 h 905809"/>
                <a:gd name="connsiteX900" fmla="*/ 1050129 w 1352046"/>
                <a:gd name="connsiteY900" fmla="*/ 670573 h 905809"/>
                <a:gd name="connsiteX901" fmla="*/ 1048736 w 1352046"/>
                <a:gd name="connsiteY901" fmla="*/ 673764 h 905809"/>
                <a:gd name="connsiteX902" fmla="*/ 1047037 w 1352046"/>
                <a:gd name="connsiteY902" fmla="*/ 676642 h 905809"/>
                <a:gd name="connsiteX903" fmla="*/ 1045575 w 1352046"/>
                <a:gd name="connsiteY903" fmla="*/ 677434 h 905809"/>
                <a:gd name="connsiteX904" fmla="*/ 1043817 w 1352046"/>
                <a:gd name="connsiteY904" fmla="*/ 677207 h 905809"/>
                <a:gd name="connsiteX905" fmla="*/ 1042373 w 1352046"/>
                <a:gd name="connsiteY905" fmla="*/ 677289 h 905809"/>
                <a:gd name="connsiteX906" fmla="*/ 1042722 w 1352046"/>
                <a:gd name="connsiteY906" fmla="*/ 678067 h 905809"/>
                <a:gd name="connsiteX907" fmla="*/ 1044260 w 1352046"/>
                <a:gd name="connsiteY907" fmla="*/ 679015 h 905809"/>
                <a:gd name="connsiteX908" fmla="*/ 1044260 w 1352046"/>
                <a:gd name="connsiteY908" fmla="*/ 680122 h 905809"/>
                <a:gd name="connsiteX909" fmla="*/ 1040991 w 1352046"/>
                <a:gd name="connsiteY909" fmla="*/ 683632 h 905809"/>
                <a:gd name="connsiteX910" fmla="*/ 1040463 w 1352046"/>
                <a:gd name="connsiteY910" fmla="*/ 684985 h 905809"/>
                <a:gd name="connsiteX911" fmla="*/ 1040541 w 1352046"/>
                <a:gd name="connsiteY911" fmla="*/ 686141 h 905809"/>
                <a:gd name="connsiteX912" fmla="*/ 1038831 w 1352046"/>
                <a:gd name="connsiteY912" fmla="*/ 687542 h 905809"/>
                <a:gd name="connsiteX913" fmla="*/ 1039751 w 1352046"/>
                <a:gd name="connsiteY913" fmla="*/ 689895 h 905809"/>
                <a:gd name="connsiteX914" fmla="*/ 1039274 w 1352046"/>
                <a:gd name="connsiteY914" fmla="*/ 691557 h 905809"/>
                <a:gd name="connsiteX915" fmla="*/ 1037777 w 1352046"/>
                <a:gd name="connsiteY915" fmla="*/ 693798 h 905809"/>
                <a:gd name="connsiteX916" fmla="*/ 1036203 w 1352046"/>
                <a:gd name="connsiteY916" fmla="*/ 695278 h 905809"/>
                <a:gd name="connsiteX917" fmla="*/ 1034344 w 1352046"/>
                <a:gd name="connsiteY917" fmla="*/ 697676 h 905809"/>
                <a:gd name="connsiteX918" fmla="*/ 1032004 w 1352046"/>
                <a:gd name="connsiteY918" fmla="*/ 699067 h 905809"/>
                <a:gd name="connsiteX919" fmla="*/ 1028904 w 1352046"/>
                <a:gd name="connsiteY919" fmla="*/ 704083 h 905809"/>
                <a:gd name="connsiteX920" fmla="*/ 1027995 w 1352046"/>
                <a:gd name="connsiteY920" fmla="*/ 706589 h 905809"/>
                <a:gd name="connsiteX921" fmla="*/ 1027758 w 1352046"/>
                <a:gd name="connsiteY921" fmla="*/ 709180 h 905809"/>
                <a:gd name="connsiteX922" fmla="*/ 1026791 w 1352046"/>
                <a:gd name="connsiteY922" fmla="*/ 710076 h 905809"/>
                <a:gd name="connsiteX923" fmla="*/ 1025128 w 1352046"/>
                <a:gd name="connsiteY923" fmla="*/ 711202 h 905809"/>
                <a:gd name="connsiteX924" fmla="*/ 1023236 w 1352046"/>
                <a:gd name="connsiteY924" fmla="*/ 710631 h 905809"/>
                <a:gd name="connsiteX925" fmla="*/ 1023175 w 1352046"/>
                <a:gd name="connsiteY925" fmla="*/ 708908 h 905809"/>
                <a:gd name="connsiteX926" fmla="*/ 1022355 w 1352046"/>
                <a:gd name="connsiteY926" fmla="*/ 708759 h 905809"/>
                <a:gd name="connsiteX927" fmla="*/ 1021889 w 1352046"/>
                <a:gd name="connsiteY927" fmla="*/ 707629 h 905809"/>
                <a:gd name="connsiteX928" fmla="*/ 1021752 w 1352046"/>
                <a:gd name="connsiteY928" fmla="*/ 706187 h 905809"/>
                <a:gd name="connsiteX929" fmla="*/ 1021954 w 1352046"/>
                <a:gd name="connsiteY929" fmla="*/ 705028 h 905809"/>
                <a:gd name="connsiteX930" fmla="*/ 1021168 w 1352046"/>
                <a:gd name="connsiteY930" fmla="*/ 705382 h 905809"/>
                <a:gd name="connsiteX931" fmla="*/ 1020682 w 1352046"/>
                <a:gd name="connsiteY931" fmla="*/ 706731 h 905809"/>
                <a:gd name="connsiteX932" fmla="*/ 1019438 w 1352046"/>
                <a:gd name="connsiteY932" fmla="*/ 707824 h 905809"/>
                <a:gd name="connsiteX933" fmla="*/ 1018135 w 1352046"/>
                <a:gd name="connsiteY933" fmla="*/ 707383 h 905809"/>
                <a:gd name="connsiteX934" fmla="*/ 1016734 w 1352046"/>
                <a:gd name="connsiteY934" fmla="*/ 706487 h 905809"/>
                <a:gd name="connsiteX935" fmla="*/ 1016773 w 1352046"/>
                <a:gd name="connsiteY935" fmla="*/ 707782 h 905809"/>
                <a:gd name="connsiteX936" fmla="*/ 1017518 w 1352046"/>
                <a:gd name="connsiteY936" fmla="*/ 709078 h 905809"/>
                <a:gd name="connsiteX937" fmla="*/ 1017840 w 1352046"/>
                <a:gd name="connsiteY937" fmla="*/ 710376 h 905809"/>
                <a:gd name="connsiteX938" fmla="*/ 1019781 w 1352046"/>
                <a:gd name="connsiteY938" fmla="*/ 710655 h 905809"/>
                <a:gd name="connsiteX939" fmla="*/ 1021081 w 1352046"/>
                <a:gd name="connsiteY939" fmla="*/ 712145 h 905809"/>
                <a:gd name="connsiteX940" fmla="*/ 1022106 w 1352046"/>
                <a:gd name="connsiteY940" fmla="*/ 714432 h 905809"/>
                <a:gd name="connsiteX941" fmla="*/ 1022310 w 1352046"/>
                <a:gd name="connsiteY941" fmla="*/ 715287 h 905809"/>
                <a:gd name="connsiteX942" fmla="*/ 1023109 w 1352046"/>
                <a:gd name="connsiteY942" fmla="*/ 716311 h 905809"/>
                <a:gd name="connsiteX943" fmla="*/ 1023210 w 1352046"/>
                <a:gd name="connsiteY943" fmla="*/ 717182 h 905809"/>
                <a:gd name="connsiteX944" fmla="*/ 1021358 w 1352046"/>
                <a:gd name="connsiteY944" fmla="*/ 717988 h 905809"/>
                <a:gd name="connsiteX945" fmla="*/ 1019045 w 1352046"/>
                <a:gd name="connsiteY945" fmla="*/ 719498 h 905809"/>
                <a:gd name="connsiteX946" fmla="*/ 1016268 w 1352046"/>
                <a:gd name="connsiteY946" fmla="*/ 722080 h 905809"/>
                <a:gd name="connsiteX947" fmla="*/ 1013968 w 1352046"/>
                <a:gd name="connsiteY947" fmla="*/ 723800 h 905809"/>
                <a:gd name="connsiteX948" fmla="*/ 1011904 w 1352046"/>
                <a:gd name="connsiteY948" fmla="*/ 723815 h 905809"/>
                <a:gd name="connsiteX949" fmla="*/ 1010651 w 1352046"/>
                <a:gd name="connsiteY949" fmla="*/ 723614 h 905809"/>
                <a:gd name="connsiteX950" fmla="*/ 1008861 w 1352046"/>
                <a:gd name="connsiteY950" fmla="*/ 722624 h 905809"/>
                <a:gd name="connsiteX951" fmla="*/ 1006812 w 1352046"/>
                <a:gd name="connsiteY951" fmla="*/ 722212 h 905809"/>
                <a:gd name="connsiteX952" fmla="*/ 1009561 w 1352046"/>
                <a:gd name="connsiteY952" fmla="*/ 725690 h 905809"/>
                <a:gd name="connsiteX953" fmla="*/ 1011070 w 1352046"/>
                <a:gd name="connsiteY953" fmla="*/ 726306 h 905809"/>
                <a:gd name="connsiteX954" fmla="*/ 1012966 w 1352046"/>
                <a:gd name="connsiteY954" fmla="*/ 726174 h 905809"/>
                <a:gd name="connsiteX955" fmla="*/ 1014804 w 1352046"/>
                <a:gd name="connsiteY955" fmla="*/ 724877 h 905809"/>
                <a:gd name="connsiteX956" fmla="*/ 1017410 w 1352046"/>
                <a:gd name="connsiteY956" fmla="*/ 725009 h 905809"/>
                <a:gd name="connsiteX957" fmla="*/ 1018062 w 1352046"/>
                <a:gd name="connsiteY957" fmla="*/ 727017 h 905809"/>
                <a:gd name="connsiteX958" fmla="*/ 1017369 w 1352046"/>
                <a:gd name="connsiteY958" fmla="*/ 729281 h 905809"/>
                <a:gd name="connsiteX959" fmla="*/ 1015953 w 1352046"/>
                <a:gd name="connsiteY959" fmla="*/ 732215 h 905809"/>
                <a:gd name="connsiteX960" fmla="*/ 1015656 w 1352046"/>
                <a:gd name="connsiteY960" fmla="*/ 734752 h 905809"/>
                <a:gd name="connsiteX961" fmla="*/ 1017418 w 1352046"/>
                <a:gd name="connsiteY961" fmla="*/ 738381 h 905809"/>
                <a:gd name="connsiteX962" fmla="*/ 1017492 w 1352046"/>
                <a:gd name="connsiteY962" fmla="*/ 739472 h 905809"/>
                <a:gd name="connsiteX963" fmla="*/ 1016835 w 1352046"/>
                <a:gd name="connsiteY963" fmla="*/ 740018 h 905809"/>
                <a:gd name="connsiteX964" fmla="*/ 1014767 w 1352046"/>
                <a:gd name="connsiteY964" fmla="*/ 739060 h 905809"/>
                <a:gd name="connsiteX965" fmla="*/ 1013054 w 1352046"/>
                <a:gd name="connsiteY965" fmla="*/ 737858 h 905809"/>
                <a:gd name="connsiteX966" fmla="*/ 1011329 w 1352046"/>
                <a:gd name="connsiteY966" fmla="*/ 738172 h 905809"/>
                <a:gd name="connsiteX967" fmla="*/ 1009545 w 1352046"/>
                <a:gd name="connsiteY967" fmla="*/ 737660 h 905809"/>
                <a:gd name="connsiteX968" fmla="*/ 1007710 w 1352046"/>
                <a:gd name="connsiteY968" fmla="*/ 738089 h 905809"/>
                <a:gd name="connsiteX969" fmla="*/ 1006963 w 1352046"/>
                <a:gd name="connsiteY969" fmla="*/ 738926 h 905809"/>
                <a:gd name="connsiteX970" fmla="*/ 1007472 w 1352046"/>
                <a:gd name="connsiteY970" fmla="*/ 740308 h 905809"/>
                <a:gd name="connsiteX971" fmla="*/ 1009113 w 1352046"/>
                <a:gd name="connsiteY971" fmla="*/ 741455 h 905809"/>
                <a:gd name="connsiteX972" fmla="*/ 1010042 w 1352046"/>
                <a:gd name="connsiteY972" fmla="*/ 743218 h 905809"/>
                <a:gd name="connsiteX973" fmla="*/ 1008937 w 1352046"/>
                <a:gd name="connsiteY973" fmla="*/ 743837 h 905809"/>
                <a:gd name="connsiteX974" fmla="*/ 1004273 w 1352046"/>
                <a:gd name="connsiteY974" fmla="*/ 743425 h 905809"/>
                <a:gd name="connsiteX975" fmla="*/ 1003232 w 1352046"/>
                <a:gd name="connsiteY975" fmla="*/ 743759 h 905809"/>
                <a:gd name="connsiteX976" fmla="*/ 1001836 w 1352046"/>
                <a:gd name="connsiteY976" fmla="*/ 745701 h 905809"/>
                <a:gd name="connsiteX977" fmla="*/ 1002748 w 1352046"/>
                <a:gd name="connsiteY977" fmla="*/ 748573 h 905809"/>
                <a:gd name="connsiteX978" fmla="*/ 1001718 w 1352046"/>
                <a:gd name="connsiteY978" fmla="*/ 750358 h 905809"/>
                <a:gd name="connsiteX979" fmla="*/ 999794 w 1352046"/>
                <a:gd name="connsiteY979" fmla="*/ 750776 h 905809"/>
                <a:gd name="connsiteX980" fmla="*/ 997261 w 1352046"/>
                <a:gd name="connsiteY980" fmla="*/ 752219 h 905809"/>
                <a:gd name="connsiteX981" fmla="*/ 995700 w 1352046"/>
                <a:gd name="connsiteY981" fmla="*/ 752554 h 905809"/>
                <a:gd name="connsiteX982" fmla="*/ 995773 w 1352046"/>
                <a:gd name="connsiteY982" fmla="*/ 753176 h 905809"/>
                <a:gd name="connsiteX983" fmla="*/ 996913 w 1352046"/>
                <a:gd name="connsiteY983" fmla="*/ 753805 h 905809"/>
                <a:gd name="connsiteX984" fmla="*/ 997518 w 1352046"/>
                <a:gd name="connsiteY984" fmla="*/ 754656 h 905809"/>
                <a:gd name="connsiteX985" fmla="*/ 996144 w 1352046"/>
                <a:gd name="connsiteY985" fmla="*/ 757585 h 905809"/>
                <a:gd name="connsiteX986" fmla="*/ 994007 w 1352046"/>
                <a:gd name="connsiteY986" fmla="*/ 758549 h 905809"/>
                <a:gd name="connsiteX987" fmla="*/ 990726 w 1352046"/>
                <a:gd name="connsiteY987" fmla="*/ 758072 h 905809"/>
                <a:gd name="connsiteX988" fmla="*/ 988146 w 1352046"/>
                <a:gd name="connsiteY988" fmla="*/ 758729 h 905809"/>
                <a:gd name="connsiteX989" fmla="*/ 985918 w 1352046"/>
                <a:gd name="connsiteY989" fmla="*/ 757482 h 905809"/>
                <a:gd name="connsiteX990" fmla="*/ 983542 w 1352046"/>
                <a:gd name="connsiteY990" fmla="*/ 757455 h 905809"/>
                <a:gd name="connsiteX991" fmla="*/ 981923 w 1352046"/>
                <a:gd name="connsiteY991" fmla="*/ 759030 h 905809"/>
                <a:gd name="connsiteX992" fmla="*/ 981748 w 1352046"/>
                <a:gd name="connsiteY992" fmla="*/ 760859 h 905809"/>
                <a:gd name="connsiteX993" fmla="*/ 980180 w 1352046"/>
                <a:gd name="connsiteY993" fmla="*/ 761042 h 905809"/>
                <a:gd name="connsiteX994" fmla="*/ 979336 w 1352046"/>
                <a:gd name="connsiteY994" fmla="*/ 760910 h 905809"/>
                <a:gd name="connsiteX995" fmla="*/ 978137 w 1352046"/>
                <a:gd name="connsiteY995" fmla="*/ 761039 h 905809"/>
                <a:gd name="connsiteX996" fmla="*/ 978260 w 1352046"/>
                <a:gd name="connsiteY996" fmla="*/ 762021 h 905809"/>
                <a:gd name="connsiteX997" fmla="*/ 978941 w 1352046"/>
                <a:gd name="connsiteY997" fmla="*/ 762879 h 905809"/>
                <a:gd name="connsiteX998" fmla="*/ 982152 w 1352046"/>
                <a:gd name="connsiteY998" fmla="*/ 763261 h 905809"/>
                <a:gd name="connsiteX999" fmla="*/ 982734 w 1352046"/>
                <a:gd name="connsiteY999" fmla="*/ 764492 h 905809"/>
                <a:gd name="connsiteX1000" fmla="*/ 982855 w 1352046"/>
                <a:gd name="connsiteY1000" fmla="*/ 766392 h 905809"/>
                <a:gd name="connsiteX1001" fmla="*/ 979496 w 1352046"/>
                <a:gd name="connsiteY1001" fmla="*/ 769665 h 905809"/>
                <a:gd name="connsiteX1002" fmla="*/ 978066 w 1352046"/>
                <a:gd name="connsiteY1002" fmla="*/ 771870 h 905809"/>
                <a:gd name="connsiteX1003" fmla="*/ 975905 w 1352046"/>
                <a:gd name="connsiteY1003" fmla="*/ 771812 h 905809"/>
                <a:gd name="connsiteX1004" fmla="*/ 974272 w 1352046"/>
                <a:gd name="connsiteY1004" fmla="*/ 773580 h 905809"/>
                <a:gd name="connsiteX1005" fmla="*/ 973395 w 1352046"/>
                <a:gd name="connsiteY1005" fmla="*/ 775980 h 905809"/>
                <a:gd name="connsiteX1006" fmla="*/ 972311 w 1352046"/>
                <a:gd name="connsiteY1006" fmla="*/ 775505 h 905809"/>
                <a:gd name="connsiteX1007" fmla="*/ 969817 w 1352046"/>
                <a:gd name="connsiteY1007" fmla="*/ 775889 h 905809"/>
                <a:gd name="connsiteX1008" fmla="*/ 969081 w 1352046"/>
                <a:gd name="connsiteY1008" fmla="*/ 777033 h 905809"/>
                <a:gd name="connsiteX1009" fmla="*/ 969666 w 1352046"/>
                <a:gd name="connsiteY1009" fmla="*/ 777506 h 905809"/>
                <a:gd name="connsiteX1010" fmla="*/ 969724 w 1352046"/>
                <a:gd name="connsiteY1010" fmla="*/ 778330 h 905809"/>
                <a:gd name="connsiteX1011" fmla="*/ 968724 w 1352046"/>
                <a:gd name="connsiteY1011" fmla="*/ 781024 h 905809"/>
                <a:gd name="connsiteX1012" fmla="*/ 967634 w 1352046"/>
                <a:gd name="connsiteY1012" fmla="*/ 781781 h 905809"/>
                <a:gd name="connsiteX1013" fmla="*/ 967169 w 1352046"/>
                <a:gd name="connsiteY1013" fmla="*/ 780680 h 905809"/>
                <a:gd name="connsiteX1014" fmla="*/ 966818 w 1352046"/>
                <a:gd name="connsiteY1014" fmla="*/ 778972 h 905809"/>
                <a:gd name="connsiteX1015" fmla="*/ 965935 w 1352046"/>
                <a:gd name="connsiteY1015" fmla="*/ 778842 h 905809"/>
                <a:gd name="connsiteX1016" fmla="*/ 964479 w 1352046"/>
                <a:gd name="connsiteY1016" fmla="*/ 780416 h 905809"/>
                <a:gd name="connsiteX1017" fmla="*/ 962780 w 1352046"/>
                <a:gd name="connsiteY1017" fmla="*/ 781543 h 905809"/>
                <a:gd name="connsiteX1018" fmla="*/ 961329 w 1352046"/>
                <a:gd name="connsiteY1018" fmla="*/ 782011 h 905809"/>
                <a:gd name="connsiteX1019" fmla="*/ 960230 w 1352046"/>
                <a:gd name="connsiteY1019" fmla="*/ 780967 h 905809"/>
                <a:gd name="connsiteX1020" fmla="*/ 957528 w 1352046"/>
                <a:gd name="connsiteY1020" fmla="*/ 780424 h 905809"/>
                <a:gd name="connsiteX1021" fmla="*/ 956429 w 1352046"/>
                <a:gd name="connsiteY1021" fmla="*/ 784947 h 905809"/>
                <a:gd name="connsiteX1022" fmla="*/ 954187 w 1352046"/>
                <a:gd name="connsiteY1022" fmla="*/ 786595 h 905809"/>
                <a:gd name="connsiteX1023" fmla="*/ 953138 w 1352046"/>
                <a:gd name="connsiteY1023" fmla="*/ 787109 h 905809"/>
                <a:gd name="connsiteX1024" fmla="*/ 951309 w 1352046"/>
                <a:gd name="connsiteY1024" fmla="*/ 787264 h 905809"/>
                <a:gd name="connsiteX1025" fmla="*/ 952480 w 1352046"/>
                <a:gd name="connsiteY1025" fmla="*/ 787881 h 905809"/>
                <a:gd name="connsiteX1026" fmla="*/ 952845 w 1352046"/>
                <a:gd name="connsiteY1026" fmla="*/ 789039 h 905809"/>
                <a:gd name="connsiteX1027" fmla="*/ 952188 w 1352046"/>
                <a:gd name="connsiteY1027" fmla="*/ 790196 h 905809"/>
                <a:gd name="connsiteX1028" fmla="*/ 950359 w 1352046"/>
                <a:gd name="connsiteY1028" fmla="*/ 790428 h 905809"/>
                <a:gd name="connsiteX1029" fmla="*/ 949295 w 1352046"/>
                <a:gd name="connsiteY1029" fmla="*/ 791328 h 905809"/>
                <a:gd name="connsiteX1030" fmla="*/ 948886 w 1352046"/>
                <a:gd name="connsiteY1030" fmla="*/ 795363 h 905809"/>
                <a:gd name="connsiteX1031" fmla="*/ 947800 w 1352046"/>
                <a:gd name="connsiteY1031" fmla="*/ 796777 h 905809"/>
                <a:gd name="connsiteX1032" fmla="*/ 945032 w 1352046"/>
                <a:gd name="connsiteY1032" fmla="*/ 796890 h 905809"/>
                <a:gd name="connsiteX1033" fmla="*/ 942961 w 1352046"/>
                <a:gd name="connsiteY1033" fmla="*/ 795951 h 905809"/>
                <a:gd name="connsiteX1034" fmla="*/ 942302 w 1352046"/>
                <a:gd name="connsiteY1034" fmla="*/ 796692 h 905809"/>
                <a:gd name="connsiteX1035" fmla="*/ 941955 w 1352046"/>
                <a:gd name="connsiteY1035" fmla="*/ 797412 h 905809"/>
                <a:gd name="connsiteX1036" fmla="*/ 940873 w 1352046"/>
                <a:gd name="connsiteY1036" fmla="*/ 798139 h 905809"/>
                <a:gd name="connsiteX1037" fmla="*/ 938776 w 1352046"/>
                <a:gd name="connsiteY1037" fmla="*/ 798333 h 905809"/>
                <a:gd name="connsiteX1038" fmla="*/ 934123 w 1352046"/>
                <a:gd name="connsiteY1038" fmla="*/ 800139 h 905809"/>
                <a:gd name="connsiteX1039" fmla="*/ 931993 w 1352046"/>
                <a:gd name="connsiteY1039" fmla="*/ 799618 h 905809"/>
                <a:gd name="connsiteX1040" fmla="*/ 929441 w 1352046"/>
                <a:gd name="connsiteY1040" fmla="*/ 798932 h 905809"/>
                <a:gd name="connsiteX1041" fmla="*/ 927687 w 1352046"/>
                <a:gd name="connsiteY1041" fmla="*/ 799600 h 905809"/>
                <a:gd name="connsiteX1042" fmla="*/ 927102 w 1352046"/>
                <a:gd name="connsiteY1042" fmla="*/ 800986 h 905809"/>
                <a:gd name="connsiteX1043" fmla="*/ 926299 w 1352046"/>
                <a:gd name="connsiteY1043" fmla="*/ 802064 h 905809"/>
                <a:gd name="connsiteX1044" fmla="*/ 923738 w 1352046"/>
                <a:gd name="connsiteY1044" fmla="*/ 802064 h 905809"/>
                <a:gd name="connsiteX1045" fmla="*/ 921691 w 1352046"/>
                <a:gd name="connsiteY1045" fmla="*/ 800734 h 905809"/>
                <a:gd name="connsiteX1046" fmla="*/ 919610 w 1352046"/>
                <a:gd name="connsiteY1046" fmla="*/ 799773 h 905809"/>
                <a:gd name="connsiteX1047" fmla="*/ 917303 w 1352046"/>
                <a:gd name="connsiteY1047" fmla="*/ 800602 h 905809"/>
                <a:gd name="connsiteX1048" fmla="*/ 915547 w 1352046"/>
                <a:gd name="connsiteY1048" fmla="*/ 802295 h 905809"/>
                <a:gd name="connsiteX1049" fmla="*/ 913388 w 1352046"/>
                <a:gd name="connsiteY1049" fmla="*/ 802861 h 905809"/>
                <a:gd name="connsiteX1050" fmla="*/ 912988 w 1352046"/>
                <a:gd name="connsiteY1050" fmla="*/ 803911 h 905809"/>
                <a:gd name="connsiteX1051" fmla="*/ 912047 w 1352046"/>
                <a:gd name="connsiteY1051" fmla="*/ 804439 h 905809"/>
                <a:gd name="connsiteX1052" fmla="*/ 909761 w 1352046"/>
                <a:gd name="connsiteY1052" fmla="*/ 804217 h 905809"/>
                <a:gd name="connsiteX1053" fmla="*/ 908892 w 1352046"/>
                <a:gd name="connsiteY1053" fmla="*/ 801601 h 905809"/>
                <a:gd name="connsiteX1054" fmla="*/ 907577 w 1352046"/>
                <a:gd name="connsiteY1054" fmla="*/ 801216 h 905809"/>
                <a:gd name="connsiteX1055" fmla="*/ 906275 w 1352046"/>
                <a:gd name="connsiteY1055" fmla="*/ 802539 h 905809"/>
                <a:gd name="connsiteX1056" fmla="*/ 905815 w 1352046"/>
                <a:gd name="connsiteY1056" fmla="*/ 803572 h 905809"/>
                <a:gd name="connsiteX1057" fmla="*/ 905206 w 1352046"/>
                <a:gd name="connsiteY1057" fmla="*/ 804350 h 905809"/>
                <a:gd name="connsiteX1058" fmla="*/ 905422 w 1352046"/>
                <a:gd name="connsiteY1058" fmla="*/ 806483 h 905809"/>
                <a:gd name="connsiteX1059" fmla="*/ 904139 w 1352046"/>
                <a:gd name="connsiteY1059" fmla="*/ 806526 h 905809"/>
                <a:gd name="connsiteX1060" fmla="*/ 902457 w 1352046"/>
                <a:gd name="connsiteY1060" fmla="*/ 805219 h 905809"/>
                <a:gd name="connsiteX1061" fmla="*/ 900700 w 1352046"/>
                <a:gd name="connsiteY1061" fmla="*/ 804987 h 905809"/>
                <a:gd name="connsiteX1062" fmla="*/ 899050 w 1352046"/>
                <a:gd name="connsiteY1062" fmla="*/ 806202 h 905809"/>
                <a:gd name="connsiteX1063" fmla="*/ 899129 w 1352046"/>
                <a:gd name="connsiteY1063" fmla="*/ 806300 h 905809"/>
                <a:gd name="connsiteX1064" fmla="*/ 899605 w 1352046"/>
                <a:gd name="connsiteY1064" fmla="*/ 807167 h 905809"/>
                <a:gd name="connsiteX1065" fmla="*/ 899460 w 1352046"/>
                <a:gd name="connsiteY1065" fmla="*/ 808140 h 905809"/>
                <a:gd name="connsiteX1066" fmla="*/ 900358 w 1352046"/>
                <a:gd name="connsiteY1066" fmla="*/ 808610 h 905809"/>
                <a:gd name="connsiteX1067" fmla="*/ 900581 w 1352046"/>
                <a:gd name="connsiteY1067" fmla="*/ 809567 h 905809"/>
                <a:gd name="connsiteX1068" fmla="*/ 899591 w 1352046"/>
                <a:gd name="connsiteY1068" fmla="*/ 810089 h 905809"/>
                <a:gd name="connsiteX1069" fmla="*/ 899533 w 1352046"/>
                <a:gd name="connsiteY1069" fmla="*/ 811215 h 905809"/>
                <a:gd name="connsiteX1070" fmla="*/ 899093 w 1352046"/>
                <a:gd name="connsiteY1070" fmla="*/ 811906 h 905809"/>
                <a:gd name="connsiteX1071" fmla="*/ 896243 w 1352046"/>
                <a:gd name="connsiteY1071" fmla="*/ 810678 h 905809"/>
                <a:gd name="connsiteX1072" fmla="*/ 893893 w 1352046"/>
                <a:gd name="connsiteY1072" fmla="*/ 810040 h 905809"/>
                <a:gd name="connsiteX1073" fmla="*/ 891781 w 1352046"/>
                <a:gd name="connsiteY1073" fmla="*/ 810293 h 905809"/>
                <a:gd name="connsiteX1074" fmla="*/ 891013 w 1352046"/>
                <a:gd name="connsiteY1074" fmla="*/ 809570 h 905809"/>
                <a:gd name="connsiteX1075" fmla="*/ 890879 w 1352046"/>
                <a:gd name="connsiteY1075" fmla="*/ 808825 h 905809"/>
                <a:gd name="connsiteX1076" fmla="*/ 893317 w 1352046"/>
                <a:gd name="connsiteY1076" fmla="*/ 807526 h 905809"/>
                <a:gd name="connsiteX1077" fmla="*/ 893509 w 1352046"/>
                <a:gd name="connsiteY1077" fmla="*/ 806878 h 905809"/>
                <a:gd name="connsiteX1078" fmla="*/ 891645 w 1352046"/>
                <a:gd name="connsiteY1078" fmla="*/ 806433 h 905809"/>
                <a:gd name="connsiteX1079" fmla="*/ 889372 w 1352046"/>
                <a:gd name="connsiteY1079" fmla="*/ 804661 h 905809"/>
                <a:gd name="connsiteX1080" fmla="*/ 887739 w 1352046"/>
                <a:gd name="connsiteY1080" fmla="*/ 801720 h 905809"/>
                <a:gd name="connsiteX1081" fmla="*/ 885674 w 1352046"/>
                <a:gd name="connsiteY1081" fmla="*/ 800136 h 905809"/>
                <a:gd name="connsiteX1082" fmla="*/ 884757 w 1352046"/>
                <a:gd name="connsiteY1082" fmla="*/ 798745 h 905809"/>
                <a:gd name="connsiteX1083" fmla="*/ 884399 w 1352046"/>
                <a:gd name="connsiteY1083" fmla="*/ 796241 h 905809"/>
                <a:gd name="connsiteX1084" fmla="*/ 884020 w 1352046"/>
                <a:gd name="connsiteY1084" fmla="*/ 795050 h 905809"/>
                <a:gd name="connsiteX1085" fmla="*/ 884150 w 1352046"/>
                <a:gd name="connsiteY1085" fmla="*/ 793723 h 905809"/>
                <a:gd name="connsiteX1086" fmla="*/ 884776 w 1352046"/>
                <a:gd name="connsiteY1086" fmla="*/ 792545 h 905809"/>
                <a:gd name="connsiteX1087" fmla="*/ 882548 w 1352046"/>
                <a:gd name="connsiteY1087" fmla="*/ 793137 h 905809"/>
                <a:gd name="connsiteX1088" fmla="*/ 880902 w 1352046"/>
                <a:gd name="connsiteY1088" fmla="*/ 794233 h 905809"/>
                <a:gd name="connsiteX1089" fmla="*/ 881234 w 1352046"/>
                <a:gd name="connsiteY1089" fmla="*/ 795617 h 905809"/>
                <a:gd name="connsiteX1090" fmla="*/ 880827 w 1352046"/>
                <a:gd name="connsiteY1090" fmla="*/ 796901 h 905809"/>
                <a:gd name="connsiteX1091" fmla="*/ 878376 w 1352046"/>
                <a:gd name="connsiteY1091" fmla="*/ 797566 h 905809"/>
                <a:gd name="connsiteX1092" fmla="*/ 878525 w 1352046"/>
                <a:gd name="connsiteY1092" fmla="*/ 798107 h 905809"/>
                <a:gd name="connsiteX1093" fmla="*/ 878680 w 1352046"/>
                <a:gd name="connsiteY1093" fmla="*/ 798671 h 905809"/>
                <a:gd name="connsiteX1094" fmla="*/ 880609 w 1352046"/>
                <a:gd name="connsiteY1094" fmla="*/ 800422 h 905809"/>
                <a:gd name="connsiteX1095" fmla="*/ 881002 w 1352046"/>
                <a:gd name="connsiteY1095" fmla="*/ 801895 h 905809"/>
                <a:gd name="connsiteX1096" fmla="*/ 881775 w 1352046"/>
                <a:gd name="connsiteY1096" fmla="*/ 802680 h 905809"/>
                <a:gd name="connsiteX1097" fmla="*/ 883284 w 1352046"/>
                <a:gd name="connsiteY1097" fmla="*/ 804968 h 905809"/>
                <a:gd name="connsiteX1098" fmla="*/ 883250 w 1352046"/>
                <a:gd name="connsiteY1098" fmla="*/ 809383 h 905809"/>
                <a:gd name="connsiteX1099" fmla="*/ 884077 w 1352046"/>
                <a:gd name="connsiteY1099" fmla="*/ 810630 h 905809"/>
                <a:gd name="connsiteX1100" fmla="*/ 883802 w 1352046"/>
                <a:gd name="connsiteY1100" fmla="*/ 811866 h 905809"/>
                <a:gd name="connsiteX1101" fmla="*/ 883198 w 1352046"/>
                <a:gd name="connsiteY1101" fmla="*/ 813540 h 905809"/>
                <a:gd name="connsiteX1102" fmla="*/ 883146 w 1352046"/>
                <a:gd name="connsiteY1102" fmla="*/ 813565 h 905809"/>
                <a:gd name="connsiteX1103" fmla="*/ 882710 w 1352046"/>
                <a:gd name="connsiteY1103" fmla="*/ 813058 h 905809"/>
                <a:gd name="connsiteX1104" fmla="*/ 883176 w 1352046"/>
                <a:gd name="connsiteY1104" fmla="*/ 813600 h 905809"/>
                <a:gd name="connsiteX1105" fmla="*/ 883118 w 1352046"/>
                <a:gd name="connsiteY1105" fmla="*/ 813626 h 905809"/>
                <a:gd name="connsiteX1106" fmla="*/ 882086 w 1352046"/>
                <a:gd name="connsiteY1106" fmla="*/ 814087 h 905809"/>
                <a:gd name="connsiteX1107" fmla="*/ 881762 w 1352046"/>
                <a:gd name="connsiteY1107" fmla="*/ 814177 h 905809"/>
                <a:gd name="connsiteX1108" fmla="*/ 881645 w 1352046"/>
                <a:gd name="connsiteY1108" fmla="*/ 814228 h 905809"/>
                <a:gd name="connsiteX1109" fmla="*/ 881524 w 1352046"/>
                <a:gd name="connsiteY1109" fmla="*/ 814255 h 905809"/>
                <a:gd name="connsiteX1110" fmla="*/ 880248 w 1352046"/>
                <a:gd name="connsiteY1110" fmla="*/ 814627 h 905809"/>
                <a:gd name="connsiteX1111" fmla="*/ 879180 w 1352046"/>
                <a:gd name="connsiteY1111" fmla="*/ 814941 h 905809"/>
                <a:gd name="connsiteX1112" fmla="*/ 878302 w 1352046"/>
                <a:gd name="connsiteY1112" fmla="*/ 815393 h 905809"/>
                <a:gd name="connsiteX1113" fmla="*/ 876946 w 1352046"/>
                <a:gd name="connsiteY1113" fmla="*/ 816707 h 905809"/>
                <a:gd name="connsiteX1114" fmla="*/ 874350 w 1352046"/>
                <a:gd name="connsiteY1114" fmla="*/ 817027 h 905809"/>
                <a:gd name="connsiteX1115" fmla="*/ 873019 w 1352046"/>
                <a:gd name="connsiteY1115" fmla="*/ 813940 h 905809"/>
                <a:gd name="connsiteX1116" fmla="*/ 871237 w 1352046"/>
                <a:gd name="connsiteY1116" fmla="*/ 815998 h 905809"/>
                <a:gd name="connsiteX1117" fmla="*/ 870697 w 1352046"/>
                <a:gd name="connsiteY1117" fmla="*/ 820200 h 905809"/>
                <a:gd name="connsiteX1118" fmla="*/ 870036 w 1352046"/>
                <a:gd name="connsiteY1118" fmla="*/ 820916 h 905809"/>
                <a:gd name="connsiteX1119" fmla="*/ 868928 w 1352046"/>
                <a:gd name="connsiteY1119" fmla="*/ 821517 h 905809"/>
                <a:gd name="connsiteX1120" fmla="*/ 866823 w 1352046"/>
                <a:gd name="connsiteY1120" fmla="*/ 820051 h 905809"/>
                <a:gd name="connsiteX1121" fmla="*/ 864983 w 1352046"/>
                <a:gd name="connsiteY1121" fmla="*/ 821032 h 905809"/>
                <a:gd name="connsiteX1122" fmla="*/ 863554 w 1352046"/>
                <a:gd name="connsiteY1122" fmla="*/ 822026 h 905809"/>
                <a:gd name="connsiteX1123" fmla="*/ 862964 w 1352046"/>
                <a:gd name="connsiteY1123" fmla="*/ 822944 h 905809"/>
                <a:gd name="connsiteX1124" fmla="*/ 861908 w 1352046"/>
                <a:gd name="connsiteY1124" fmla="*/ 823941 h 905809"/>
                <a:gd name="connsiteX1125" fmla="*/ 859883 w 1352046"/>
                <a:gd name="connsiteY1125" fmla="*/ 822980 h 905809"/>
                <a:gd name="connsiteX1126" fmla="*/ 858259 w 1352046"/>
                <a:gd name="connsiteY1126" fmla="*/ 821536 h 905809"/>
                <a:gd name="connsiteX1127" fmla="*/ 858661 w 1352046"/>
                <a:gd name="connsiteY1127" fmla="*/ 820452 h 905809"/>
                <a:gd name="connsiteX1128" fmla="*/ 858436 w 1352046"/>
                <a:gd name="connsiteY1128" fmla="*/ 819739 h 905809"/>
                <a:gd name="connsiteX1129" fmla="*/ 857702 w 1352046"/>
                <a:gd name="connsiteY1129" fmla="*/ 819200 h 905809"/>
                <a:gd name="connsiteX1130" fmla="*/ 856896 w 1352046"/>
                <a:gd name="connsiteY1130" fmla="*/ 819277 h 905809"/>
                <a:gd name="connsiteX1131" fmla="*/ 857289 w 1352046"/>
                <a:gd name="connsiteY1131" fmla="*/ 820681 h 905809"/>
                <a:gd name="connsiteX1132" fmla="*/ 857561 w 1352046"/>
                <a:gd name="connsiteY1132" fmla="*/ 823376 h 905809"/>
                <a:gd name="connsiteX1133" fmla="*/ 856825 w 1352046"/>
                <a:gd name="connsiteY1133" fmla="*/ 824156 h 905809"/>
                <a:gd name="connsiteX1134" fmla="*/ 855687 w 1352046"/>
                <a:gd name="connsiteY1134" fmla="*/ 824756 h 905809"/>
                <a:gd name="connsiteX1135" fmla="*/ 853219 w 1352046"/>
                <a:gd name="connsiteY1135" fmla="*/ 824259 h 905809"/>
                <a:gd name="connsiteX1136" fmla="*/ 851535 w 1352046"/>
                <a:gd name="connsiteY1136" fmla="*/ 823254 h 905809"/>
                <a:gd name="connsiteX1137" fmla="*/ 849501 w 1352046"/>
                <a:gd name="connsiteY1137" fmla="*/ 822407 h 905809"/>
                <a:gd name="connsiteX1138" fmla="*/ 847704 w 1352046"/>
                <a:gd name="connsiteY1138" fmla="*/ 822253 h 905809"/>
                <a:gd name="connsiteX1139" fmla="*/ 847317 w 1352046"/>
                <a:gd name="connsiteY1139" fmla="*/ 823954 h 905809"/>
                <a:gd name="connsiteX1140" fmla="*/ 846145 w 1352046"/>
                <a:gd name="connsiteY1140" fmla="*/ 825324 h 905809"/>
                <a:gd name="connsiteX1141" fmla="*/ 845065 w 1352046"/>
                <a:gd name="connsiteY1141" fmla="*/ 825495 h 905809"/>
                <a:gd name="connsiteX1142" fmla="*/ 843989 w 1352046"/>
                <a:gd name="connsiteY1142" fmla="*/ 825276 h 905809"/>
                <a:gd name="connsiteX1143" fmla="*/ 842573 w 1352046"/>
                <a:gd name="connsiteY1143" fmla="*/ 826759 h 905809"/>
                <a:gd name="connsiteX1144" fmla="*/ 841904 w 1352046"/>
                <a:gd name="connsiteY1144" fmla="*/ 827841 h 905809"/>
                <a:gd name="connsiteX1145" fmla="*/ 840159 w 1352046"/>
                <a:gd name="connsiteY1145" fmla="*/ 828985 h 905809"/>
                <a:gd name="connsiteX1146" fmla="*/ 835508 w 1352046"/>
                <a:gd name="connsiteY1146" fmla="*/ 829540 h 905809"/>
                <a:gd name="connsiteX1147" fmla="*/ 833888 w 1352046"/>
                <a:gd name="connsiteY1147" fmla="*/ 830674 h 905809"/>
                <a:gd name="connsiteX1148" fmla="*/ 831710 w 1352046"/>
                <a:gd name="connsiteY1148" fmla="*/ 830494 h 905809"/>
                <a:gd name="connsiteX1149" fmla="*/ 830021 w 1352046"/>
                <a:gd name="connsiteY1149" fmla="*/ 830764 h 905809"/>
                <a:gd name="connsiteX1150" fmla="*/ 829055 w 1352046"/>
                <a:gd name="connsiteY1150" fmla="*/ 830707 h 905809"/>
                <a:gd name="connsiteX1151" fmla="*/ 828183 w 1352046"/>
                <a:gd name="connsiteY1151" fmla="*/ 830099 h 905809"/>
                <a:gd name="connsiteX1152" fmla="*/ 827204 w 1352046"/>
                <a:gd name="connsiteY1152" fmla="*/ 830082 h 905809"/>
                <a:gd name="connsiteX1153" fmla="*/ 826760 w 1352046"/>
                <a:gd name="connsiteY1153" fmla="*/ 831967 h 905809"/>
                <a:gd name="connsiteX1154" fmla="*/ 824134 w 1352046"/>
                <a:gd name="connsiteY1154" fmla="*/ 832761 h 905809"/>
                <a:gd name="connsiteX1155" fmla="*/ 821770 w 1352046"/>
                <a:gd name="connsiteY1155" fmla="*/ 832979 h 905809"/>
                <a:gd name="connsiteX1156" fmla="*/ 819140 w 1352046"/>
                <a:gd name="connsiteY1156" fmla="*/ 835464 h 905809"/>
                <a:gd name="connsiteX1157" fmla="*/ 817261 w 1352046"/>
                <a:gd name="connsiteY1157" fmla="*/ 836968 h 905809"/>
                <a:gd name="connsiteX1158" fmla="*/ 815870 w 1352046"/>
                <a:gd name="connsiteY1158" fmla="*/ 837121 h 905809"/>
                <a:gd name="connsiteX1159" fmla="*/ 814847 w 1352046"/>
                <a:gd name="connsiteY1159" fmla="*/ 836586 h 905809"/>
                <a:gd name="connsiteX1160" fmla="*/ 814328 w 1352046"/>
                <a:gd name="connsiteY1160" fmla="*/ 834358 h 905809"/>
                <a:gd name="connsiteX1161" fmla="*/ 813806 w 1352046"/>
                <a:gd name="connsiteY1161" fmla="*/ 834099 h 905809"/>
                <a:gd name="connsiteX1162" fmla="*/ 813508 w 1352046"/>
                <a:gd name="connsiteY1162" fmla="*/ 836190 h 905809"/>
                <a:gd name="connsiteX1163" fmla="*/ 813003 w 1352046"/>
                <a:gd name="connsiteY1163" fmla="*/ 837932 h 905809"/>
                <a:gd name="connsiteX1164" fmla="*/ 812042 w 1352046"/>
                <a:gd name="connsiteY1164" fmla="*/ 838880 h 905809"/>
                <a:gd name="connsiteX1165" fmla="*/ 808999 w 1352046"/>
                <a:gd name="connsiteY1165" fmla="*/ 841045 h 905809"/>
                <a:gd name="connsiteX1166" fmla="*/ 808124 w 1352046"/>
                <a:gd name="connsiteY1166" fmla="*/ 843193 h 905809"/>
                <a:gd name="connsiteX1167" fmla="*/ 808708 w 1352046"/>
                <a:gd name="connsiteY1167" fmla="*/ 845180 h 905809"/>
                <a:gd name="connsiteX1168" fmla="*/ 812800 w 1352046"/>
                <a:gd name="connsiteY1168" fmla="*/ 845664 h 905809"/>
                <a:gd name="connsiteX1169" fmla="*/ 813309 w 1352046"/>
                <a:gd name="connsiteY1169" fmla="*/ 846751 h 905809"/>
                <a:gd name="connsiteX1170" fmla="*/ 812912 w 1352046"/>
                <a:gd name="connsiteY1170" fmla="*/ 847639 h 905809"/>
                <a:gd name="connsiteX1171" fmla="*/ 811932 w 1352046"/>
                <a:gd name="connsiteY1171" fmla="*/ 848380 h 905809"/>
                <a:gd name="connsiteX1172" fmla="*/ 811643 w 1352046"/>
                <a:gd name="connsiteY1172" fmla="*/ 849493 h 905809"/>
                <a:gd name="connsiteX1173" fmla="*/ 816030 w 1352046"/>
                <a:gd name="connsiteY1173" fmla="*/ 853031 h 905809"/>
                <a:gd name="connsiteX1174" fmla="*/ 816164 w 1352046"/>
                <a:gd name="connsiteY1174" fmla="*/ 854373 h 905809"/>
                <a:gd name="connsiteX1175" fmla="*/ 815486 w 1352046"/>
                <a:gd name="connsiteY1175" fmla="*/ 855137 h 905809"/>
                <a:gd name="connsiteX1176" fmla="*/ 814659 w 1352046"/>
                <a:gd name="connsiteY1176" fmla="*/ 856783 h 905809"/>
                <a:gd name="connsiteX1177" fmla="*/ 812342 w 1352046"/>
                <a:gd name="connsiteY1177" fmla="*/ 858179 h 905809"/>
                <a:gd name="connsiteX1178" fmla="*/ 807442 w 1352046"/>
                <a:gd name="connsiteY1178" fmla="*/ 858895 h 905809"/>
                <a:gd name="connsiteX1179" fmla="*/ 803359 w 1352046"/>
                <a:gd name="connsiteY1179" fmla="*/ 858172 h 905809"/>
                <a:gd name="connsiteX1180" fmla="*/ 802121 w 1352046"/>
                <a:gd name="connsiteY1180" fmla="*/ 856584 h 905809"/>
                <a:gd name="connsiteX1181" fmla="*/ 802195 w 1352046"/>
                <a:gd name="connsiteY1181" fmla="*/ 855453 h 905809"/>
                <a:gd name="connsiteX1182" fmla="*/ 803207 w 1352046"/>
                <a:gd name="connsiteY1182" fmla="*/ 855782 h 905809"/>
                <a:gd name="connsiteX1183" fmla="*/ 804363 w 1352046"/>
                <a:gd name="connsiteY1183" fmla="*/ 855680 h 905809"/>
                <a:gd name="connsiteX1184" fmla="*/ 804020 w 1352046"/>
                <a:gd name="connsiteY1184" fmla="*/ 854646 h 905809"/>
                <a:gd name="connsiteX1185" fmla="*/ 803534 w 1352046"/>
                <a:gd name="connsiteY1185" fmla="*/ 854042 h 905809"/>
                <a:gd name="connsiteX1186" fmla="*/ 801646 w 1352046"/>
                <a:gd name="connsiteY1186" fmla="*/ 853122 h 905809"/>
                <a:gd name="connsiteX1187" fmla="*/ 800120 w 1352046"/>
                <a:gd name="connsiteY1187" fmla="*/ 850642 h 905809"/>
                <a:gd name="connsiteX1188" fmla="*/ 800414 w 1352046"/>
                <a:gd name="connsiteY1188" fmla="*/ 848575 h 905809"/>
                <a:gd name="connsiteX1189" fmla="*/ 799576 w 1352046"/>
                <a:gd name="connsiteY1189" fmla="*/ 846977 h 905809"/>
                <a:gd name="connsiteX1190" fmla="*/ 798667 w 1352046"/>
                <a:gd name="connsiteY1190" fmla="*/ 845637 h 905809"/>
                <a:gd name="connsiteX1191" fmla="*/ 797749 w 1352046"/>
                <a:gd name="connsiteY1191" fmla="*/ 844833 h 905809"/>
                <a:gd name="connsiteX1192" fmla="*/ 797259 w 1352046"/>
                <a:gd name="connsiteY1192" fmla="*/ 843834 h 905809"/>
                <a:gd name="connsiteX1193" fmla="*/ 798184 w 1352046"/>
                <a:gd name="connsiteY1193" fmla="*/ 840696 h 905809"/>
                <a:gd name="connsiteX1194" fmla="*/ 797671 w 1352046"/>
                <a:gd name="connsiteY1194" fmla="*/ 838873 h 905809"/>
                <a:gd name="connsiteX1195" fmla="*/ 799415 w 1352046"/>
                <a:gd name="connsiteY1195" fmla="*/ 836637 h 905809"/>
                <a:gd name="connsiteX1196" fmla="*/ 799846 w 1352046"/>
                <a:gd name="connsiteY1196" fmla="*/ 834114 h 905809"/>
                <a:gd name="connsiteX1197" fmla="*/ 802974 w 1352046"/>
                <a:gd name="connsiteY1197" fmla="*/ 833212 h 905809"/>
                <a:gd name="connsiteX1198" fmla="*/ 803188 w 1352046"/>
                <a:gd name="connsiteY1198" fmla="*/ 830803 h 905809"/>
                <a:gd name="connsiteX1199" fmla="*/ 800951 w 1352046"/>
                <a:gd name="connsiteY1199" fmla="*/ 830733 h 905809"/>
                <a:gd name="connsiteX1200" fmla="*/ 799398 w 1352046"/>
                <a:gd name="connsiteY1200" fmla="*/ 828963 h 905809"/>
                <a:gd name="connsiteX1201" fmla="*/ 799044 w 1352046"/>
                <a:gd name="connsiteY1201" fmla="*/ 829706 h 905809"/>
                <a:gd name="connsiteX1202" fmla="*/ 797796 w 1352046"/>
                <a:gd name="connsiteY1202" fmla="*/ 829783 h 905809"/>
                <a:gd name="connsiteX1203" fmla="*/ 795749 w 1352046"/>
                <a:gd name="connsiteY1203" fmla="*/ 826371 h 905809"/>
                <a:gd name="connsiteX1204" fmla="*/ 795131 w 1352046"/>
                <a:gd name="connsiteY1204" fmla="*/ 825940 h 905809"/>
                <a:gd name="connsiteX1205" fmla="*/ 794138 w 1352046"/>
                <a:gd name="connsiteY1205" fmla="*/ 825874 h 905809"/>
                <a:gd name="connsiteX1206" fmla="*/ 794637 w 1352046"/>
                <a:gd name="connsiteY1206" fmla="*/ 829475 h 905809"/>
                <a:gd name="connsiteX1207" fmla="*/ 792238 w 1352046"/>
                <a:gd name="connsiteY1207" fmla="*/ 830828 h 905809"/>
                <a:gd name="connsiteX1208" fmla="*/ 790273 w 1352046"/>
                <a:gd name="connsiteY1208" fmla="*/ 831419 h 905809"/>
                <a:gd name="connsiteX1209" fmla="*/ 787481 w 1352046"/>
                <a:gd name="connsiteY1209" fmla="*/ 831663 h 905809"/>
                <a:gd name="connsiteX1210" fmla="*/ 785894 w 1352046"/>
                <a:gd name="connsiteY1210" fmla="*/ 832076 h 905809"/>
                <a:gd name="connsiteX1211" fmla="*/ 784410 w 1352046"/>
                <a:gd name="connsiteY1211" fmla="*/ 831735 h 905809"/>
                <a:gd name="connsiteX1212" fmla="*/ 784778 w 1352046"/>
                <a:gd name="connsiteY1212" fmla="*/ 830646 h 905809"/>
                <a:gd name="connsiteX1213" fmla="*/ 785559 w 1352046"/>
                <a:gd name="connsiteY1213" fmla="*/ 829344 h 905809"/>
                <a:gd name="connsiteX1214" fmla="*/ 784857 w 1352046"/>
                <a:gd name="connsiteY1214" fmla="*/ 828258 h 905809"/>
                <a:gd name="connsiteX1215" fmla="*/ 783283 w 1352046"/>
                <a:gd name="connsiteY1215" fmla="*/ 827424 h 905809"/>
                <a:gd name="connsiteX1216" fmla="*/ 780878 w 1352046"/>
                <a:gd name="connsiteY1216" fmla="*/ 827472 h 905809"/>
                <a:gd name="connsiteX1217" fmla="*/ 779210 w 1352046"/>
                <a:gd name="connsiteY1217" fmla="*/ 827239 h 905809"/>
                <a:gd name="connsiteX1218" fmla="*/ 777559 w 1352046"/>
                <a:gd name="connsiteY1218" fmla="*/ 827332 h 905809"/>
                <a:gd name="connsiteX1219" fmla="*/ 776945 w 1352046"/>
                <a:gd name="connsiteY1219" fmla="*/ 826850 h 905809"/>
                <a:gd name="connsiteX1220" fmla="*/ 775410 w 1352046"/>
                <a:gd name="connsiteY1220" fmla="*/ 825150 h 905809"/>
                <a:gd name="connsiteX1221" fmla="*/ 774112 w 1352046"/>
                <a:gd name="connsiteY1221" fmla="*/ 824089 h 905809"/>
                <a:gd name="connsiteX1222" fmla="*/ 773527 w 1352046"/>
                <a:gd name="connsiteY1222" fmla="*/ 823034 h 905809"/>
                <a:gd name="connsiteX1223" fmla="*/ 774112 w 1352046"/>
                <a:gd name="connsiteY1223" fmla="*/ 821807 h 905809"/>
                <a:gd name="connsiteX1224" fmla="*/ 773624 w 1352046"/>
                <a:gd name="connsiteY1224" fmla="*/ 821062 h 905809"/>
                <a:gd name="connsiteX1225" fmla="*/ 771106 w 1352046"/>
                <a:gd name="connsiteY1225" fmla="*/ 820979 h 905809"/>
                <a:gd name="connsiteX1226" fmla="*/ 771128 w 1352046"/>
                <a:gd name="connsiteY1226" fmla="*/ 822737 h 905809"/>
                <a:gd name="connsiteX1227" fmla="*/ 771387 w 1352046"/>
                <a:gd name="connsiteY1227" fmla="*/ 824809 h 905809"/>
                <a:gd name="connsiteX1228" fmla="*/ 772119 w 1352046"/>
                <a:gd name="connsiteY1228" fmla="*/ 826384 h 905809"/>
                <a:gd name="connsiteX1229" fmla="*/ 771598 w 1352046"/>
                <a:gd name="connsiteY1229" fmla="*/ 827263 h 905809"/>
                <a:gd name="connsiteX1230" fmla="*/ 770320 w 1352046"/>
                <a:gd name="connsiteY1230" fmla="*/ 827868 h 905809"/>
                <a:gd name="connsiteX1231" fmla="*/ 768960 w 1352046"/>
                <a:gd name="connsiteY1231" fmla="*/ 826203 h 905809"/>
                <a:gd name="connsiteX1232" fmla="*/ 768336 w 1352046"/>
                <a:gd name="connsiteY1232" fmla="*/ 825793 h 905809"/>
                <a:gd name="connsiteX1233" fmla="*/ 767677 w 1352046"/>
                <a:gd name="connsiteY1233" fmla="*/ 825872 h 905809"/>
                <a:gd name="connsiteX1234" fmla="*/ 767176 w 1352046"/>
                <a:gd name="connsiteY1234" fmla="*/ 827530 h 905809"/>
                <a:gd name="connsiteX1235" fmla="*/ 765941 w 1352046"/>
                <a:gd name="connsiteY1235" fmla="*/ 829001 h 905809"/>
                <a:gd name="connsiteX1236" fmla="*/ 763714 w 1352046"/>
                <a:gd name="connsiteY1236" fmla="*/ 828844 h 905809"/>
                <a:gd name="connsiteX1237" fmla="*/ 761985 w 1352046"/>
                <a:gd name="connsiteY1237" fmla="*/ 829752 h 905809"/>
                <a:gd name="connsiteX1238" fmla="*/ 759890 w 1352046"/>
                <a:gd name="connsiteY1238" fmla="*/ 830169 h 905809"/>
                <a:gd name="connsiteX1239" fmla="*/ 758470 w 1352046"/>
                <a:gd name="connsiteY1239" fmla="*/ 828955 h 905809"/>
                <a:gd name="connsiteX1240" fmla="*/ 756118 w 1352046"/>
                <a:gd name="connsiteY1240" fmla="*/ 826992 h 905809"/>
                <a:gd name="connsiteX1241" fmla="*/ 755172 w 1352046"/>
                <a:gd name="connsiteY1241" fmla="*/ 826764 h 905809"/>
                <a:gd name="connsiteX1242" fmla="*/ 752557 w 1352046"/>
                <a:gd name="connsiteY1242" fmla="*/ 827716 h 905809"/>
                <a:gd name="connsiteX1243" fmla="*/ 748806 w 1352046"/>
                <a:gd name="connsiteY1243" fmla="*/ 828076 h 905809"/>
                <a:gd name="connsiteX1244" fmla="*/ 747968 w 1352046"/>
                <a:gd name="connsiteY1244" fmla="*/ 827059 h 905809"/>
                <a:gd name="connsiteX1245" fmla="*/ 746148 w 1352046"/>
                <a:gd name="connsiteY1245" fmla="*/ 827832 h 905809"/>
                <a:gd name="connsiteX1246" fmla="*/ 744399 w 1352046"/>
                <a:gd name="connsiteY1246" fmla="*/ 825475 h 905809"/>
                <a:gd name="connsiteX1247" fmla="*/ 742331 w 1352046"/>
                <a:gd name="connsiteY1247" fmla="*/ 825326 h 905809"/>
                <a:gd name="connsiteX1248" fmla="*/ 739745 w 1352046"/>
                <a:gd name="connsiteY1248" fmla="*/ 823539 h 905809"/>
                <a:gd name="connsiteX1249" fmla="*/ 738821 w 1352046"/>
                <a:gd name="connsiteY1249" fmla="*/ 822596 h 905809"/>
                <a:gd name="connsiteX1250" fmla="*/ 738525 w 1352046"/>
                <a:gd name="connsiteY1250" fmla="*/ 821239 h 905809"/>
                <a:gd name="connsiteX1251" fmla="*/ 737742 w 1352046"/>
                <a:gd name="connsiteY1251" fmla="*/ 820531 h 905809"/>
                <a:gd name="connsiteX1252" fmla="*/ 736729 w 1352046"/>
                <a:gd name="connsiteY1252" fmla="*/ 820620 h 905809"/>
                <a:gd name="connsiteX1253" fmla="*/ 735608 w 1352046"/>
                <a:gd name="connsiteY1253" fmla="*/ 819897 h 905809"/>
                <a:gd name="connsiteX1254" fmla="*/ 733831 w 1352046"/>
                <a:gd name="connsiteY1254" fmla="*/ 819185 h 905809"/>
                <a:gd name="connsiteX1255" fmla="*/ 732402 w 1352046"/>
                <a:gd name="connsiteY1255" fmla="*/ 818759 h 905809"/>
                <a:gd name="connsiteX1256" fmla="*/ 731697 w 1352046"/>
                <a:gd name="connsiteY1256" fmla="*/ 819088 h 905809"/>
                <a:gd name="connsiteX1257" fmla="*/ 730944 w 1352046"/>
                <a:gd name="connsiteY1257" fmla="*/ 819256 h 905809"/>
                <a:gd name="connsiteX1258" fmla="*/ 730814 w 1352046"/>
                <a:gd name="connsiteY1258" fmla="*/ 818344 h 905809"/>
                <a:gd name="connsiteX1259" fmla="*/ 730866 w 1352046"/>
                <a:gd name="connsiteY1259" fmla="*/ 815600 h 905809"/>
                <a:gd name="connsiteX1260" fmla="*/ 730737 w 1352046"/>
                <a:gd name="connsiteY1260" fmla="*/ 813163 h 905809"/>
                <a:gd name="connsiteX1261" fmla="*/ 730345 w 1352046"/>
                <a:gd name="connsiteY1261" fmla="*/ 812067 h 905809"/>
                <a:gd name="connsiteX1262" fmla="*/ 729387 w 1352046"/>
                <a:gd name="connsiteY1262" fmla="*/ 811233 h 905809"/>
                <a:gd name="connsiteX1263" fmla="*/ 728512 w 1352046"/>
                <a:gd name="connsiteY1263" fmla="*/ 810834 h 905809"/>
                <a:gd name="connsiteX1264" fmla="*/ 728130 w 1352046"/>
                <a:gd name="connsiteY1264" fmla="*/ 809586 h 905809"/>
                <a:gd name="connsiteX1265" fmla="*/ 728441 w 1352046"/>
                <a:gd name="connsiteY1265" fmla="*/ 807123 h 905809"/>
                <a:gd name="connsiteX1266" fmla="*/ 729149 w 1352046"/>
                <a:gd name="connsiteY1266" fmla="*/ 805452 h 905809"/>
                <a:gd name="connsiteX1267" fmla="*/ 730270 w 1352046"/>
                <a:gd name="connsiteY1267" fmla="*/ 805154 h 905809"/>
                <a:gd name="connsiteX1268" fmla="*/ 731784 w 1352046"/>
                <a:gd name="connsiteY1268" fmla="*/ 803951 h 905809"/>
                <a:gd name="connsiteX1269" fmla="*/ 732553 w 1352046"/>
                <a:gd name="connsiteY1269" fmla="*/ 802248 h 905809"/>
                <a:gd name="connsiteX1270" fmla="*/ 733524 w 1352046"/>
                <a:gd name="connsiteY1270" fmla="*/ 800666 h 905809"/>
                <a:gd name="connsiteX1271" fmla="*/ 730069 w 1352046"/>
                <a:gd name="connsiteY1271" fmla="*/ 798446 h 905809"/>
                <a:gd name="connsiteX1272" fmla="*/ 728251 w 1352046"/>
                <a:gd name="connsiteY1272" fmla="*/ 797652 h 905809"/>
                <a:gd name="connsiteX1273" fmla="*/ 726241 w 1352046"/>
                <a:gd name="connsiteY1273" fmla="*/ 797989 h 905809"/>
                <a:gd name="connsiteX1274" fmla="*/ 723746 w 1352046"/>
                <a:gd name="connsiteY1274" fmla="*/ 798697 h 905809"/>
                <a:gd name="connsiteX1275" fmla="*/ 722440 w 1352046"/>
                <a:gd name="connsiteY1275" fmla="*/ 798837 h 905809"/>
                <a:gd name="connsiteX1276" fmla="*/ 721786 w 1352046"/>
                <a:gd name="connsiteY1276" fmla="*/ 798558 h 905809"/>
                <a:gd name="connsiteX1277" fmla="*/ 720339 w 1352046"/>
                <a:gd name="connsiteY1277" fmla="*/ 796562 h 905809"/>
                <a:gd name="connsiteX1278" fmla="*/ 719553 w 1352046"/>
                <a:gd name="connsiteY1278" fmla="*/ 796214 h 905809"/>
                <a:gd name="connsiteX1279" fmla="*/ 717785 w 1352046"/>
                <a:gd name="connsiteY1279" fmla="*/ 796087 h 905809"/>
                <a:gd name="connsiteX1280" fmla="*/ 716293 w 1352046"/>
                <a:gd name="connsiteY1280" fmla="*/ 796105 h 905809"/>
                <a:gd name="connsiteX1281" fmla="*/ 715438 w 1352046"/>
                <a:gd name="connsiteY1281" fmla="*/ 796974 h 905809"/>
                <a:gd name="connsiteX1282" fmla="*/ 714118 w 1352046"/>
                <a:gd name="connsiteY1282" fmla="*/ 797265 h 905809"/>
                <a:gd name="connsiteX1283" fmla="*/ 712798 w 1352046"/>
                <a:gd name="connsiteY1283" fmla="*/ 797315 h 905809"/>
                <a:gd name="connsiteX1284" fmla="*/ 711457 w 1352046"/>
                <a:gd name="connsiteY1284" fmla="*/ 796231 h 905809"/>
                <a:gd name="connsiteX1285" fmla="*/ 709443 w 1352046"/>
                <a:gd name="connsiteY1285" fmla="*/ 794819 h 905809"/>
                <a:gd name="connsiteX1286" fmla="*/ 706279 w 1352046"/>
                <a:gd name="connsiteY1286" fmla="*/ 793823 h 905809"/>
                <a:gd name="connsiteX1287" fmla="*/ 705897 w 1352046"/>
                <a:gd name="connsiteY1287" fmla="*/ 792673 h 905809"/>
                <a:gd name="connsiteX1288" fmla="*/ 705094 w 1352046"/>
                <a:gd name="connsiteY1288" fmla="*/ 791300 h 905809"/>
                <a:gd name="connsiteX1289" fmla="*/ 703891 w 1352046"/>
                <a:gd name="connsiteY1289" fmla="*/ 790029 h 905809"/>
                <a:gd name="connsiteX1290" fmla="*/ 701908 w 1352046"/>
                <a:gd name="connsiteY1290" fmla="*/ 788342 h 905809"/>
                <a:gd name="connsiteX1291" fmla="*/ 700248 w 1352046"/>
                <a:gd name="connsiteY1291" fmla="*/ 787466 h 905809"/>
                <a:gd name="connsiteX1292" fmla="*/ 699439 w 1352046"/>
                <a:gd name="connsiteY1292" fmla="*/ 788005 h 905809"/>
                <a:gd name="connsiteX1293" fmla="*/ 698339 w 1352046"/>
                <a:gd name="connsiteY1293" fmla="*/ 788963 h 905809"/>
                <a:gd name="connsiteX1294" fmla="*/ 694064 w 1352046"/>
                <a:gd name="connsiteY1294" fmla="*/ 790986 h 905809"/>
                <a:gd name="connsiteX1295" fmla="*/ 692172 w 1352046"/>
                <a:gd name="connsiteY1295" fmla="*/ 791774 h 905809"/>
                <a:gd name="connsiteX1296" fmla="*/ 691168 w 1352046"/>
                <a:gd name="connsiteY1296" fmla="*/ 792338 h 905809"/>
                <a:gd name="connsiteX1297" fmla="*/ 690324 w 1352046"/>
                <a:gd name="connsiteY1297" fmla="*/ 793181 h 905809"/>
                <a:gd name="connsiteX1298" fmla="*/ 690062 w 1352046"/>
                <a:gd name="connsiteY1298" fmla="*/ 795265 h 905809"/>
                <a:gd name="connsiteX1299" fmla="*/ 689641 w 1352046"/>
                <a:gd name="connsiteY1299" fmla="*/ 797587 h 905809"/>
                <a:gd name="connsiteX1300" fmla="*/ 688411 w 1352046"/>
                <a:gd name="connsiteY1300" fmla="*/ 798766 h 905809"/>
                <a:gd name="connsiteX1301" fmla="*/ 687244 w 1352046"/>
                <a:gd name="connsiteY1301" fmla="*/ 799658 h 905809"/>
                <a:gd name="connsiteX1302" fmla="*/ 686015 w 1352046"/>
                <a:gd name="connsiteY1302" fmla="*/ 799751 h 905809"/>
                <a:gd name="connsiteX1303" fmla="*/ 684817 w 1352046"/>
                <a:gd name="connsiteY1303" fmla="*/ 799709 h 905809"/>
                <a:gd name="connsiteX1304" fmla="*/ 683696 w 1352046"/>
                <a:gd name="connsiteY1304" fmla="*/ 800079 h 905809"/>
                <a:gd name="connsiteX1305" fmla="*/ 680268 w 1352046"/>
                <a:gd name="connsiteY1305" fmla="*/ 802408 h 905809"/>
                <a:gd name="connsiteX1306" fmla="*/ 678644 w 1352046"/>
                <a:gd name="connsiteY1306" fmla="*/ 802223 h 905809"/>
                <a:gd name="connsiteX1307" fmla="*/ 677315 w 1352046"/>
                <a:gd name="connsiteY1307" fmla="*/ 800909 h 905809"/>
                <a:gd name="connsiteX1308" fmla="*/ 676745 w 1352046"/>
                <a:gd name="connsiteY1308" fmla="*/ 799956 h 905809"/>
                <a:gd name="connsiteX1309" fmla="*/ 675210 w 1352046"/>
                <a:gd name="connsiteY1309" fmla="*/ 800172 h 905809"/>
                <a:gd name="connsiteX1310" fmla="*/ 673239 w 1352046"/>
                <a:gd name="connsiteY1310" fmla="*/ 801286 h 905809"/>
                <a:gd name="connsiteX1311" fmla="*/ 672327 w 1352046"/>
                <a:gd name="connsiteY1311" fmla="*/ 803286 h 905809"/>
                <a:gd name="connsiteX1312" fmla="*/ 671843 w 1352046"/>
                <a:gd name="connsiteY1312" fmla="*/ 805152 h 905809"/>
                <a:gd name="connsiteX1313" fmla="*/ 671414 w 1352046"/>
                <a:gd name="connsiteY1313" fmla="*/ 805981 h 905809"/>
                <a:gd name="connsiteX1314" fmla="*/ 670753 w 1352046"/>
                <a:gd name="connsiteY1314" fmla="*/ 806223 h 905809"/>
                <a:gd name="connsiteX1315" fmla="*/ 670167 w 1352046"/>
                <a:gd name="connsiteY1315" fmla="*/ 806266 h 905809"/>
                <a:gd name="connsiteX1316" fmla="*/ 664027 w 1352046"/>
                <a:gd name="connsiteY1316" fmla="*/ 800873 h 905809"/>
                <a:gd name="connsiteX1317" fmla="*/ 663648 w 1352046"/>
                <a:gd name="connsiteY1317" fmla="*/ 800593 h 905809"/>
                <a:gd name="connsiteX1318" fmla="*/ 662554 w 1352046"/>
                <a:gd name="connsiteY1318" fmla="*/ 801701 h 905809"/>
                <a:gd name="connsiteX1319" fmla="*/ 661552 w 1352046"/>
                <a:gd name="connsiteY1319" fmla="*/ 804560 h 905809"/>
                <a:gd name="connsiteX1320" fmla="*/ 660835 w 1352046"/>
                <a:gd name="connsiteY1320" fmla="*/ 805109 h 905809"/>
                <a:gd name="connsiteX1321" fmla="*/ 660349 w 1352046"/>
                <a:gd name="connsiteY1321" fmla="*/ 804890 h 905809"/>
                <a:gd name="connsiteX1322" fmla="*/ 657808 w 1352046"/>
                <a:gd name="connsiteY1322" fmla="*/ 801230 h 905809"/>
                <a:gd name="connsiteX1323" fmla="*/ 657157 w 1352046"/>
                <a:gd name="connsiteY1323" fmla="*/ 800879 h 905809"/>
                <a:gd name="connsiteX1324" fmla="*/ 656581 w 1352046"/>
                <a:gd name="connsiteY1324" fmla="*/ 801004 h 905809"/>
                <a:gd name="connsiteX1325" fmla="*/ 655823 w 1352046"/>
                <a:gd name="connsiteY1325" fmla="*/ 802188 h 905809"/>
                <a:gd name="connsiteX1326" fmla="*/ 654210 w 1352046"/>
                <a:gd name="connsiteY1326" fmla="*/ 803933 h 905809"/>
                <a:gd name="connsiteX1327" fmla="*/ 652977 w 1352046"/>
                <a:gd name="connsiteY1327" fmla="*/ 804993 h 905809"/>
                <a:gd name="connsiteX1328" fmla="*/ 652949 w 1352046"/>
                <a:gd name="connsiteY1328" fmla="*/ 806173 h 905809"/>
                <a:gd name="connsiteX1329" fmla="*/ 651612 w 1352046"/>
                <a:gd name="connsiteY1329" fmla="*/ 807213 h 905809"/>
                <a:gd name="connsiteX1330" fmla="*/ 650053 w 1352046"/>
                <a:gd name="connsiteY1330" fmla="*/ 808248 h 905809"/>
                <a:gd name="connsiteX1331" fmla="*/ 649535 w 1352046"/>
                <a:gd name="connsiteY1331" fmla="*/ 808358 h 905809"/>
                <a:gd name="connsiteX1332" fmla="*/ 648501 w 1352046"/>
                <a:gd name="connsiteY1332" fmla="*/ 807942 h 905809"/>
                <a:gd name="connsiteX1333" fmla="*/ 647153 w 1352046"/>
                <a:gd name="connsiteY1333" fmla="*/ 806565 h 905809"/>
                <a:gd name="connsiteX1334" fmla="*/ 646177 w 1352046"/>
                <a:gd name="connsiteY1334" fmla="*/ 805128 h 905809"/>
                <a:gd name="connsiteX1335" fmla="*/ 643765 w 1352046"/>
                <a:gd name="connsiteY1335" fmla="*/ 803701 h 905809"/>
                <a:gd name="connsiteX1336" fmla="*/ 641057 w 1352046"/>
                <a:gd name="connsiteY1336" fmla="*/ 802494 h 905809"/>
                <a:gd name="connsiteX1337" fmla="*/ 639259 w 1352046"/>
                <a:gd name="connsiteY1337" fmla="*/ 801548 h 905809"/>
                <a:gd name="connsiteX1338" fmla="*/ 638235 w 1352046"/>
                <a:gd name="connsiteY1338" fmla="*/ 801317 h 905809"/>
                <a:gd name="connsiteX1339" fmla="*/ 637285 w 1352046"/>
                <a:gd name="connsiteY1339" fmla="*/ 801739 h 905809"/>
                <a:gd name="connsiteX1340" fmla="*/ 636810 w 1352046"/>
                <a:gd name="connsiteY1340" fmla="*/ 802317 h 905809"/>
                <a:gd name="connsiteX1341" fmla="*/ 636132 w 1352046"/>
                <a:gd name="connsiteY1341" fmla="*/ 803745 h 905809"/>
                <a:gd name="connsiteX1342" fmla="*/ 634505 w 1352046"/>
                <a:gd name="connsiteY1342" fmla="*/ 806085 h 905809"/>
                <a:gd name="connsiteX1343" fmla="*/ 633064 w 1352046"/>
                <a:gd name="connsiteY1343" fmla="*/ 807945 h 905809"/>
                <a:gd name="connsiteX1344" fmla="*/ 631714 w 1352046"/>
                <a:gd name="connsiteY1344" fmla="*/ 809139 h 905809"/>
                <a:gd name="connsiteX1345" fmla="*/ 630640 w 1352046"/>
                <a:gd name="connsiteY1345" fmla="*/ 809963 h 905809"/>
                <a:gd name="connsiteX1346" fmla="*/ 629846 w 1352046"/>
                <a:gd name="connsiteY1346" fmla="*/ 809194 h 905809"/>
                <a:gd name="connsiteX1347" fmla="*/ 628362 w 1352046"/>
                <a:gd name="connsiteY1347" fmla="*/ 808568 h 905809"/>
                <a:gd name="connsiteX1348" fmla="*/ 626615 w 1352046"/>
                <a:gd name="connsiteY1348" fmla="*/ 808563 h 905809"/>
                <a:gd name="connsiteX1349" fmla="*/ 624324 w 1352046"/>
                <a:gd name="connsiteY1349" fmla="*/ 809747 h 905809"/>
                <a:gd name="connsiteX1350" fmla="*/ 622515 w 1352046"/>
                <a:gd name="connsiteY1350" fmla="*/ 807380 h 905809"/>
                <a:gd name="connsiteX1351" fmla="*/ 622046 w 1352046"/>
                <a:gd name="connsiteY1351" fmla="*/ 807265 h 905809"/>
                <a:gd name="connsiteX1352" fmla="*/ 621355 w 1352046"/>
                <a:gd name="connsiteY1352" fmla="*/ 807467 h 905809"/>
                <a:gd name="connsiteX1353" fmla="*/ 620558 w 1352046"/>
                <a:gd name="connsiteY1353" fmla="*/ 808031 h 905809"/>
                <a:gd name="connsiteX1354" fmla="*/ 619999 w 1352046"/>
                <a:gd name="connsiteY1354" fmla="*/ 809353 h 905809"/>
                <a:gd name="connsiteX1355" fmla="*/ 619418 w 1352046"/>
                <a:gd name="connsiteY1355" fmla="*/ 811165 h 905809"/>
                <a:gd name="connsiteX1356" fmla="*/ 618267 w 1352046"/>
                <a:gd name="connsiteY1356" fmla="*/ 812352 h 905809"/>
                <a:gd name="connsiteX1357" fmla="*/ 617308 w 1352046"/>
                <a:gd name="connsiteY1357" fmla="*/ 812879 h 905809"/>
                <a:gd name="connsiteX1358" fmla="*/ 617591 w 1352046"/>
                <a:gd name="connsiteY1358" fmla="*/ 813896 h 905809"/>
                <a:gd name="connsiteX1359" fmla="*/ 618133 w 1352046"/>
                <a:gd name="connsiteY1359" fmla="*/ 814998 h 905809"/>
                <a:gd name="connsiteX1360" fmla="*/ 618099 w 1352046"/>
                <a:gd name="connsiteY1360" fmla="*/ 815961 h 905809"/>
                <a:gd name="connsiteX1361" fmla="*/ 618442 w 1352046"/>
                <a:gd name="connsiteY1361" fmla="*/ 817485 h 905809"/>
                <a:gd name="connsiteX1362" fmla="*/ 619042 w 1352046"/>
                <a:gd name="connsiteY1362" fmla="*/ 819006 h 905809"/>
                <a:gd name="connsiteX1363" fmla="*/ 621180 w 1352046"/>
                <a:gd name="connsiteY1363" fmla="*/ 821493 h 905809"/>
                <a:gd name="connsiteX1364" fmla="*/ 621996 w 1352046"/>
                <a:gd name="connsiteY1364" fmla="*/ 822790 h 905809"/>
                <a:gd name="connsiteX1365" fmla="*/ 622160 w 1352046"/>
                <a:gd name="connsiteY1365" fmla="*/ 823915 h 905809"/>
                <a:gd name="connsiteX1366" fmla="*/ 622234 w 1352046"/>
                <a:gd name="connsiteY1366" fmla="*/ 827905 h 905809"/>
                <a:gd name="connsiteX1367" fmla="*/ 622149 w 1352046"/>
                <a:gd name="connsiteY1367" fmla="*/ 829570 h 905809"/>
                <a:gd name="connsiteX1368" fmla="*/ 621724 w 1352046"/>
                <a:gd name="connsiteY1368" fmla="*/ 832783 h 905809"/>
                <a:gd name="connsiteX1369" fmla="*/ 621696 w 1352046"/>
                <a:gd name="connsiteY1369" fmla="*/ 834635 h 905809"/>
                <a:gd name="connsiteX1370" fmla="*/ 622584 w 1352046"/>
                <a:gd name="connsiteY1370" fmla="*/ 835468 h 905809"/>
                <a:gd name="connsiteX1371" fmla="*/ 623446 w 1352046"/>
                <a:gd name="connsiteY1371" fmla="*/ 836461 h 905809"/>
                <a:gd name="connsiteX1372" fmla="*/ 623413 w 1352046"/>
                <a:gd name="connsiteY1372" fmla="*/ 837002 h 905809"/>
                <a:gd name="connsiteX1373" fmla="*/ 623035 w 1352046"/>
                <a:gd name="connsiteY1373" fmla="*/ 837197 h 905809"/>
                <a:gd name="connsiteX1374" fmla="*/ 621811 w 1352046"/>
                <a:gd name="connsiteY1374" fmla="*/ 838301 h 905809"/>
                <a:gd name="connsiteX1375" fmla="*/ 621294 w 1352046"/>
                <a:gd name="connsiteY1375" fmla="*/ 838445 h 905809"/>
                <a:gd name="connsiteX1376" fmla="*/ 620493 w 1352046"/>
                <a:gd name="connsiteY1376" fmla="*/ 837995 h 905809"/>
                <a:gd name="connsiteX1377" fmla="*/ 619457 w 1352046"/>
                <a:gd name="connsiteY1377" fmla="*/ 837653 h 905809"/>
                <a:gd name="connsiteX1378" fmla="*/ 618621 w 1352046"/>
                <a:gd name="connsiteY1378" fmla="*/ 837211 h 905809"/>
                <a:gd name="connsiteX1379" fmla="*/ 617703 w 1352046"/>
                <a:gd name="connsiteY1379" fmla="*/ 836501 h 905809"/>
                <a:gd name="connsiteX1380" fmla="*/ 615518 w 1352046"/>
                <a:gd name="connsiteY1380" fmla="*/ 836581 h 905809"/>
                <a:gd name="connsiteX1381" fmla="*/ 611934 w 1352046"/>
                <a:gd name="connsiteY1381" fmla="*/ 837660 h 905809"/>
                <a:gd name="connsiteX1382" fmla="*/ 611190 w 1352046"/>
                <a:gd name="connsiteY1382" fmla="*/ 837355 h 905809"/>
                <a:gd name="connsiteX1383" fmla="*/ 610673 w 1352046"/>
                <a:gd name="connsiteY1383" fmla="*/ 836744 h 905809"/>
                <a:gd name="connsiteX1384" fmla="*/ 610394 w 1352046"/>
                <a:gd name="connsiteY1384" fmla="*/ 835484 h 905809"/>
                <a:gd name="connsiteX1385" fmla="*/ 610573 w 1352046"/>
                <a:gd name="connsiteY1385" fmla="*/ 833999 h 905809"/>
                <a:gd name="connsiteX1386" fmla="*/ 610256 w 1352046"/>
                <a:gd name="connsiteY1386" fmla="*/ 833054 h 905809"/>
                <a:gd name="connsiteX1387" fmla="*/ 609588 w 1352046"/>
                <a:gd name="connsiteY1387" fmla="*/ 832493 h 905809"/>
                <a:gd name="connsiteX1388" fmla="*/ 610059 w 1352046"/>
                <a:gd name="connsiteY1388" fmla="*/ 829842 h 905809"/>
                <a:gd name="connsiteX1389" fmla="*/ 608781 w 1352046"/>
                <a:gd name="connsiteY1389" fmla="*/ 828791 h 905809"/>
                <a:gd name="connsiteX1390" fmla="*/ 608967 w 1352046"/>
                <a:gd name="connsiteY1390" fmla="*/ 828463 h 905809"/>
                <a:gd name="connsiteX1391" fmla="*/ 608543 w 1352046"/>
                <a:gd name="connsiteY1391" fmla="*/ 825603 h 905809"/>
                <a:gd name="connsiteX1392" fmla="*/ 608604 w 1352046"/>
                <a:gd name="connsiteY1392" fmla="*/ 824898 h 905809"/>
                <a:gd name="connsiteX1393" fmla="*/ 608379 w 1352046"/>
                <a:gd name="connsiteY1393" fmla="*/ 824654 h 905809"/>
                <a:gd name="connsiteX1394" fmla="*/ 607474 w 1352046"/>
                <a:gd name="connsiteY1394" fmla="*/ 824427 h 905809"/>
                <a:gd name="connsiteX1395" fmla="*/ 606137 w 1352046"/>
                <a:gd name="connsiteY1395" fmla="*/ 824879 h 905809"/>
                <a:gd name="connsiteX1396" fmla="*/ 602065 w 1352046"/>
                <a:gd name="connsiteY1396" fmla="*/ 826760 h 905809"/>
                <a:gd name="connsiteX1397" fmla="*/ 598571 w 1352046"/>
                <a:gd name="connsiteY1397" fmla="*/ 830239 h 905809"/>
                <a:gd name="connsiteX1398" fmla="*/ 596967 w 1352046"/>
                <a:gd name="connsiteY1398" fmla="*/ 831006 h 905809"/>
                <a:gd name="connsiteX1399" fmla="*/ 595347 w 1352046"/>
                <a:gd name="connsiteY1399" fmla="*/ 831323 h 905809"/>
                <a:gd name="connsiteX1400" fmla="*/ 593454 w 1352046"/>
                <a:gd name="connsiteY1400" fmla="*/ 830722 h 905809"/>
                <a:gd name="connsiteX1401" fmla="*/ 591351 w 1352046"/>
                <a:gd name="connsiteY1401" fmla="*/ 830330 h 905809"/>
                <a:gd name="connsiteX1402" fmla="*/ 588346 w 1352046"/>
                <a:gd name="connsiteY1402" fmla="*/ 831210 h 905809"/>
                <a:gd name="connsiteX1403" fmla="*/ 586863 w 1352046"/>
                <a:gd name="connsiteY1403" fmla="*/ 830804 h 905809"/>
                <a:gd name="connsiteX1404" fmla="*/ 586180 w 1352046"/>
                <a:gd name="connsiteY1404" fmla="*/ 830094 h 905809"/>
                <a:gd name="connsiteX1405" fmla="*/ 585572 w 1352046"/>
                <a:gd name="connsiteY1405" fmla="*/ 829013 h 905809"/>
                <a:gd name="connsiteX1406" fmla="*/ 585937 w 1352046"/>
                <a:gd name="connsiteY1406" fmla="*/ 827643 h 905809"/>
                <a:gd name="connsiteX1407" fmla="*/ 585710 w 1352046"/>
                <a:gd name="connsiteY1407" fmla="*/ 826633 h 905809"/>
                <a:gd name="connsiteX1408" fmla="*/ 584509 w 1352046"/>
                <a:gd name="connsiteY1408" fmla="*/ 826121 h 905809"/>
                <a:gd name="connsiteX1409" fmla="*/ 583116 w 1352046"/>
                <a:gd name="connsiteY1409" fmla="*/ 825685 h 905809"/>
                <a:gd name="connsiteX1410" fmla="*/ 582288 w 1352046"/>
                <a:gd name="connsiteY1410" fmla="*/ 824361 h 905809"/>
                <a:gd name="connsiteX1411" fmla="*/ 581953 w 1352046"/>
                <a:gd name="connsiteY1411" fmla="*/ 822922 h 905809"/>
                <a:gd name="connsiteX1412" fmla="*/ 582281 w 1352046"/>
                <a:gd name="connsiteY1412" fmla="*/ 821049 h 905809"/>
                <a:gd name="connsiteX1413" fmla="*/ 582445 w 1352046"/>
                <a:gd name="connsiteY1413" fmla="*/ 819038 h 905809"/>
                <a:gd name="connsiteX1414" fmla="*/ 581778 w 1352046"/>
                <a:gd name="connsiteY1414" fmla="*/ 818117 h 905809"/>
                <a:gd name="connsiteX1415" fmla="*/ 579737 w 1352046"/>
                <a:gd name="connsiteY1415" fmla="*/ 817614 h 905809"/>
                <a:gd name="connsiteX1416" fmla="*/ 574591 w 1352046"/>
                <a:gd name="connsiteY1416" fmla="*/ 816698 h 905809"/>
                <a:gd name="connsiteX1417" fmla="*/ 570081 w 1352046"/>
                <a:gd name="connsiteY1417" fmla="*/ 816196 h 905809"/>
                <a:gd name="connsiteX1418" fmla="*/ 568188 w 1352046"/>
                <a:gd name="connsiteY1418" fmla="*/ 816432 h 905809"/>
                <a:gd name="connsiteX1419" fmla="*/ 566647 w 1352046"/>
                <a:gd name="connsiteY1419" fmla="*/ 816211 h 905809"/>
                <a:gd name="connsiteX1420" fmla="*/ 565753 w 1352046"/>
                <a:gd name="connsiteY1420" fmla="*/ 815844 h 905809"/>
                <a:gd name="connsiteX1421" fmla="*/ 565321 w 1352046"/>
                <a:gd name="connsiteY1421" fmla="*/ 815209 h 905809"/>
                <a:gd name="connsiteX1422" fmla="*/ 565297 w 1352046"/>
                <a:gd name="connsiteY1422" fmla="*/ 814300 h 905809"/>
                <a:gd name="connsiteX1423" fmla="*/ 566027 w 1352046"/>
                <a:gd name="connsiteY1423" fmla="*/ 812208 h 905809"/>
                <a:gd name="connsiteX1424" fmla="*/ 566861 w 1352046"/>
                <a:gd name="connsiteY1424" fmla="*/ 810168 h 905809"/>
                <a:gd name="connsiteX1425" fmla="*/ 568953 w 1352046"/>
                <a:gd name="connsiteY1425" fmla="*/ 807200 h 905809"/>
                <a:gd name="connsiteX1426" fmla="*/ 569074 w 1352046"/>
                <a:gd name="connsiteY1426" fmla="*/ 805143 h 905809"/>
                <a:gd name="connsiteX1427" fmla="*/ 568966 w 1352046"/>
                <a:gd name="connsiteY1427" fmla="*/ 802767 h 905809"/>
                <a:gd name="connsiteX1428" fmla="*/ 570002 w 1352046"/>
                <a:gd name="connsiteY1428" fmla="*/ 799591 h 905809"/>
                <a:gd name="connsiteX1429" fmla="*/ 571808 w 1352046"/>
                <a:gd name="connsiteY1429" fmla="*/ 797211 h 905809"/>
                <a:gd name="connsiteX1430" fmla="*/ 572700 w 1352046"/>
                <a:gd name="connsiteY1430" fmla="*/ 796469 h 905809"/>
                <a:gd name="connsiteX1431" fmla="*/ 572482 w 1352046"/>
                <a:gd name="connsiteY1431" fmla="*/ 795410 h 905809"/>
                <a:gd name="connsiteX1432" fmla="*/ 571758 w 1352046"/>
                <a:gd name="connsiteY1432" fmla="*/ 794439 h 905809"/>
                <a:gd name="connsiteX1433" fmla="*/ 570730 w 1352046"/>
                <a:gd name="connsiteY1433" fmla="*/ 793903 h 905809"/>
                <a:gd name="connsiteX1434" fmla="*/ 569022 w 1352046"/>
                <a:gd name="connsiteY1434" fmla="*/ 793281 h 905809"/>
                <a:gd name="connsiteX1435" fmla="*/ 566358 w 1352046"/>
                <a:gd name="connsiteY1435" fmla="*/ 793108 h 905809"/>
                <a:gd name="connsiteX1436" fmla="*/ 562703 w 1352046"/>
                <a:gd name="connsiteY1436" fmla="*/ 792473 h 905809"/>
                <a:gd name="connsiteX1437" fmla="*/ 558474 w 1352046"/>
                <a:gd name="connsiteY1437" fmla="*/ 791058 h 905809"/>
                <a:gd name="connsiteX1438" fmla="*/ 558955 w 1352046"/>
                <a:gd name="connsiteY1438" fmla="*/ 788346 h 905809"/>
                <a:gd name="connsiteX1439" fmla="*/ 558891 w 1352046"/>
                <a:gd name="connsiteY1439" fmla="*/ 786646 h 905809"/>
                <a:gd name="connsiteX1440" fmla="*/ 558366 w 1352046"/>
                <a:gd name="connsiteY1440" fmla="*/ 785251 h 905809"/>
                <a:gd name="connsiteX1441" fmla="*/ 557500 w 1352046"/>
                <a:gd name="connsiteY1441" fmla="*/ 784260 h 905809"/>
                <a:gd name="connsiteX1442" fmla="*/ 557016 w 1352046"/>
                <a:gd name="connsiteY1442" fmla="*/ 783374 h 905809"/>
                <a:gd name="connsiteX1443" fmla="*/ 557776 w 1352046"/>
                <a:gd name="connsiteY1443" fmla="*/ 780945 h 905809"/>
                <a:gd name="connsiteX1444" fmla="*/ 556791 w 1352046"/>
                <a:gd name="connsiteY1444" fmla="*/ 778292 h 905809"/>
                <a:gd name="connsiteX1445" fmla="*/ 555628 w 1352046"/>
                <a:gd name="connsiteY1445" fmla="*/ 777234 h 905809"/>
                <a:gd name="connsiteX1446" fmla="*/ 554430 w 1352046"/>
                <a:gd name="connsiteY1446" fmla="*/ 775861 h 905809"/>
                <a:gd name="connsiteX1447" fmla="*/ 554338 w 1352046"/>
                <a:gd name="connsiteY1447" fmla="*/ 774380 h 905809"/>
                <a:gd name="connsiteX1448" fmla="*/ 554887 w 1352046"/>
                <a:gd name="connsiteY1448" fmla="*/ 772999 h 905809"/>
                <a:gd name="connsiteX1449" fmla="*/ 557815 w 1352046"/>
                <a:gd name="connsiteY1449" fmla="*/ 770037 h 905809"/>
                <a:gd name="connsiteX1450" fmla="*/ 557839 w 1352046"/>
                <a:gd name="connsiteY1450" fmla="*/ 769320 h 905809"/>
                <a:gd name="connsiteX1451" fmla="*/ 557115 w 1352046"/>
                <a:gd name="connsiteY1451" fmla="*/ 769378 h 905809"/>
                <a:gd name="connsiteX1452" fmla="*/ 556275 w 1352046"/>
                <a:gd name="connsiteY1452" fmla="*/ 769440 h 905809"/>
                <a:gd name="connsiteX1453" fmla="*/ 552274 w 1352046"/>
                <a:gd name="connsiteY1453" fmla="*/ 770523 h 905809"/>
                <a:gd name="connsiteX1454" fmla="*/ 551848 w 1352046"/>
                <a:gd name="connsiteY1454" fmla="*/ 769844 h 905809"/>
                <a:gd name="connsiteX1455" fmla="*/ 550417 w 1352046"/>
                <a:gd name="connsiteY1455" fmla="*/ 769449 h 905809"/>
                <a:gd name="connsiteX1456" fmla="*/ 547495 w 1352046"/>
                <a:gd name="connsiteY1456" fmla="*/ 769370 h 905809"/>
                <a:gd name="connsiteX1457" fmla="*/ 544073 w 1352046"/>
                <a:gd name="connsiteY1457" fmla="*/ 769567 h 905809"/>
                <a:gd name="connsiteX1458" fmla="*/ 539748 w 1352046"/>
                <a:gd name="connsiteY1458" fmla="*/ 770626 h 905809"/>
                <a:gd name="connsiteX1459" fmla="*/ 535785 w 1352046"/>
                <a:gd name="connsiteY1459" fmla="*/ 772479 h 905809"/>
                <a:gd name="connsiteX1460" fmla="*/ 533971 w 1352046"/>
                <a:gd name="connsiteY1460" fmla="*/ 773753 h 905809"/>
                <a:gd name="connsiteX1461" fmla="*/ 532432 w 1352046"/>
                <a:gd name="connsiteY1461" fmla="*/ 774543 h 905809"/>
                <a:gd name="connsiteX1462" fmla="*/ 531185 w 1352046"/>
                <a:gd name="connsiteY1462" fmla="*/ 774800 h 905809"/>
                <a:gd name="connsiteX1463" fmla="*/ 529745 w 1352046"/>
                <a:gd name="connsiteY1463" fmla="*/ 774241 h 905809"/>
                <a:gd name="connsiteX1464" fmla="*/ 529827 w 1352046"/>
                <a:gd name="connsiteY1464" fmla="*/ 772428 h 905809"/>
                <a:gd name="connsiteX1465" fmla="*/ 532533 w 1352046"/>
                <a:gd name="connsiteY1465" fmla="*/ 769094 h 905809"/>
                <a:gd name="connsiteX1466" fmla="*/ 532922 w 1352046"/>
                <a:gd name="connsiteY1466" fmla="*/ 766799 h 905809"/>
                <a:gd name="connsiteX1467" fmla="*/ 532092 w 1352046"/>
                <a:gd name="connsiteY1467" fmla="*/ 764830 h 905809"/>
                <a:gd name="connsiteX1468" fmla="*/ 532001 w 1352046"/>
                <a:gd name="connsiteY1468" fmla="*/ 763253 h 905809"/>
                <a:gd name="connsiteX1469" fmla="*/ 531052 w 1352046"/>
                <a:gd name="connsiteY1469" fmla="*/ 762245 h 905809"/>
                <a:gd name="connsiteX1470" fmla="*/ 529717 w 1352046"/>
                <a:gd name="connsiteY1470" fmla="*/ 761754 h 905809"/>
                <a:gd name="connsiteX1471" fmla="*/ 529013 w 1352046"/>
                <a:gd name="connsiteY1471" fmla="*/ 760632 h 905809"/>
                <a:gd name="connsiteX1472" fmla="*/ 528968 w 1352046"/>
                <a:gd name="connsiteY1472" fmla="*/ 757356 h 905809"/>
                <a:gd name="connsiteX1473" fmla="*/ 530160 w 1352046"/>
                <a:gd name="connsiteY1473" fmla="*/ 753982 h 905809"/>
                <a:gd name="connsiteX1474" fmla="*/ 532092 w 1352046"/>
                <a:gd name="connsiteY1474" fmla="*/ 752916 h 905809"/>
                <a:gd name="connsiteX1475" fmla="*/ 533267 w 1352046"/>
                <a:gd name="connsiteY1475" fmla="*/ 752402 h 905809"/>
                <a:gd name="connsiteX1476" fmla="*/ 533578 w 1352046"/>
                <a:gd name="connsiteY1476" fmla="*/ 751747 h 905809"/>
                <a:gd name="connsiteX1477" fmla="*/ 532977 w 1352046"/>
                <a:gd name="connsiteY1477" fmla="*/ 749383 h 905809"/>
                <a:gd name="connsiteX1478" fmla="*/ 533070 w 1352046"/>
                <a:gd name="connsiteY1478" fmla="*/ 747878 h 905809"/>
                <a:gd name="connsiteX1479" fmla="*/ 534230 w 1352046"/>
                <a:gd name="connsiteY1479" fmla="*/ 744965 h 905809"/>
                <a:gd name="connsiteX1480" fmla="*/ 535383 w 1352046"/>
                <a:gd name="connsiteY1480" fmla="*/ 742755 h 905809"/>
                <a:gd name="connsiteX1481" fmla="*/ 537560 w 1352046"/>
                <a:gd name="connsiteY1481" fmla="*/ 743126 h 905809"/>
                <a:gd name="connsiteX1482" fmla="*/ 538534 w 1352046"/>
                <a:gd name="connsiteY1482" fmla="*/ 742580 h 905809"/>
                <a:gd name="connsiteX1483" fmla="*/ 539611 w 1352046"/>
                <a:gd name="connsiteY1483" fmla="*/ 741797 h 905809"/>
                <a:gd name="connsiteX1484" fmla="*/ 540790 w 1352046"/>
                <a:gd name="connsiteY1484" fmla="*/ 740466 h 905809"/>
                <a:gd name="connsiteX1485" fmla="*/ 541576 w 1352046"/>
                <a:gd name="connsiteY1485" fmla="*/ 738893 h 905809"/>
                <a:gd name="connsiteX1486" fmla="*/ 542533 w 1352046"/>
                <a:gd name="connsiteY1486" fmla="*/ 735228 h 905809"/>
                <a:gd name="connsiteX1487" fmla="*/ 543190 w 1352046"/>
                <a:gd name="connsiteY1487" fmla="*/ 734674 h 905809"/>
                <a:gd name="connsiteX1488" fmla="*/ 545932 w 1352046"/>
                <a:gd name="connsiteY1488" fmla="*/ 735280 h 905809"/>
                <a:gd name="connsiteX1489" fmla="*/ 546755 w 1352046"/>
                <a:gd name="connsiteY1489" fmla="*/ 734858 h 905809"/>
                <a:gd name="connsiteX1490" fmla="*/ 548256 w 1352046"/>
                <a:gd name="connsiteY1490" fmla="*/ 732704 h 905809"/>
                <a:gd name="connsiteX1491" fmla="*/ 549668 w 1352046"/>
                <a:gd name="connsiteY1491" fmla="*/ 730085 h 905809"/>
                <a:gd name="connsiteX1492" fmla="*/ 551721 w 1352046"/>
                <a:gd name="connsiteY1492" fmla="*/ 729273 h 905809"/>
                <a:gd name="connsiteX1493" fmla="*/ 553203 w 1352046"/>
                <a:gd name="connsiteY1493" fmla="*/ 729191 h 905809"/>
                <a:gd name="connsiteX1494" fmla="*/ 553885 w 1352046"/>
                <a:gd name="connsiteY1494" fmla="*/ 728320 h 905809"/>
                <a:gd name="connsiteX1495" fmla="*/ 553851 w 1352046"/>
                <a:gd name="connsiteY1495" fmla="*/ 727038 h 905809"/>
                <a:gd name="connsiteX1496" fmla="*/ 552443 w 1352046"/>
                <a:gd name="connsiteY1496" fmla="*/ 725006 h 905809"/>
                <a:gd name="connsiteX1497" fmla="*/ 551847 w 1352046"/>
                <a:gd name="connsiteY1497" fmla="*/ 723381 h 905809"/>
                <a:gd name="connsiteX1498" fmla="*/ 552021 w 1352046"/>
                <a:gd name="connsiteY1498" fmla="*/ 722395 h 905809"/>
                <a:gd name="connsiteX1499" fmla="*/ 554038 w 1352046"/>
                <a:gd name="connsiteY1499" fmla="*/ 721794 h 905809"/>
                <a:gd name="connsiteX1500" fmla="*/ 554533 w 1352046"/>
                <a:gd name="connsiteY1500" fmla="*/ 720613 h 905809"/>
                <a:gd name="connsiteX1501" fmla="*/ 554230 w 1352046"/>
                <a:gd name="connsiteY1501" fmla="*/ 718027 h 905809"/>
                <a:gd name="connsiteX1502" fmla="*/ 555062 w 1352046"/>
                <a:gd name="connsiteY1502" fmla="*/ 714918 h 905809"/>
                <a:gd name="connsiteX1503" fmla="*/ 555556 w 1352046"/>
                <a:gd name="connsiteY1503" fmla="*/ 711273 h 905809"/>
                <a:gd name="connsiteX1504" fmla="*/ 555723 w 1352046"/>
                <a:gd name="connsiteY1504" fmla="*/ 708549 h 905809"/>
                <a:gd name="connsiteX1505" fmla="*/ 555703 w 1352046"/>
                <a:gd name="connsiteY1505" fmla="*/ 706469 h 905809"/>
                <a:gd name="connsiteX1506" fmla="*/ 555505 w 1352046"/>
                <a:gd name="connsiteY1506" fmla="*/ 704291 h 905809"/>
                <a:gd name="connsiteX1507" fmla="*/ 555217 w 1352046"/>
                <a:gd name="connsiteY1507" fmla="*/ 700308 h 905809"/>
                <a:gd name="connsiteX1508" fmla="*/ 554295 w 1352046"/>
                <a:gd name="connsiteY1508" fmla="*/ 696840 h 905809"/>
                <a:gd name="connsiteX1509" fmla="*/ 554464 w 1352046"/>
                <a:gd name="connsiteY1509" fmla="*/ 695538 h 905809"/>
                <a:gd name="connsiteX1510" fmla="*/ 554338 w 1352046"/>
                <a:gd name="connsiteY1510" fmla="*/ 691330 h 905809"/>
                <a:gd name="connsiteX1511" fmla="*/ 553772 w 1352046"/>
                <a:gd name="connsiteY1511" fmla="*/ 687740 h 905809"/>
                <a:gd name="connsiteX1512" fmla="*/ 552637 w 1352046"/>
                <a:gd name="connsiteY1512" fmla="*/ 687111 h 905809"/>
                <a:gd name="connsiteX1513" fmla="*/ 550529 w 1352046"/>
                <a:gd name="connsiteY1513" fmla="*/ 685946 h 905809"/>
                <a:gd name="connsiteX1514" fmla="*/ 549380 w 1352046"/>
                <a:gd name="connsiteY1514" fmla="*/ 685717 h 905809"/>
                <a:gd name="connsiteX1515" fmla="*/ 548415 w 1352046"/>
                <a:gd name="connsiteY1515" fmla="*/ 686141 h 905809"/>
                <a:gd name="connsiteX1516" fmla="*/ 548050 w 1352046"/>
                <a:gd name="connsiteY1516" fmla="*/ 687392 h 905809"/>
                <a:gd name="connsiteX1517" fmla="*/ 547124 w 1352046"/>
                <a:gd name="connsiteY1517" fmla="*/ 688560 h 905809"/>
                <a:gd name="connsiteX1518" fmla="*/ 545981 w 1352046"/>
                <a:gd name="connsiteY1518" fmla="*/ 688274 h 905809"/>
                <a:gd name="connsiteX1519" fmla="*/ 545437 w 1352046"/>
                <a:gd name="connsiteY1519" fmla="*/ 687105 h 905809"/>
                <a:gd name="connsiteX1520" fmla="*/ 544703 w 1352046"/>
                <a:gd name="connsiteY1520" fmla="*/ 685575 h 905809"/>
                <a:gd name="connsiteX1521" fmla="*/ 542259 w 1352046"/>
                <a:gd name="connsiteY1521" fmla="*/ 678303 h 905809"/>
                <a:gd name="connsiteX1522" fmla="*/ 541991 w 1352046"/>
                <a:gd name="connsiteY1522" fmla="*/ 676206 h 905809"/>
                <a:gd name="connsiteX1523" fmla="*/ 541561 w 1352046"/>
                <a:gd name="connsiteY1523" fmla="*/ 674123 h 905809"/>
                <a:gd name="connsiteX1524" fmla="*/ 540737 w 1352046"/>
                <a:gd name="connsiteY1524" fmla="*/ 673079 h 905809"/>
                <a:gd name="connsiteX1525" fmla="*/ 539866 w 1352046"/>
                <a:gd name="connsiteY1525" fmla="*/ 672465 h 905809"/>
                <a:gd name="connsiteX1526" fmla="*/ 537916 w 1352046"/>
                <a:gd name="connsiteY1526" fmla="*/ 670015 h 905809"/>
                <a:gd name="connsiteX1527" fmla="*/ 536888 w 1352046"/>
                <a:gd name="connsiteY1527" fmla="*/ 668993 h 905809"/>
                <a:gd name="connsiteX1528" fmla="*/ 536387 w 1352046"/>
                <a:gd name="connsiteY1528" fmla="*/ 668823 h 905809"/>
                <a:gd name="connsiteX1529" fmla="*/ 535316 w 1352046"/>
                <a:gd name="connsiteY1529" fmla="*/ 668996 h 905809"/>
                <a:gd name="connsiteX1530" fmla="*/ 534267 w 1352046"/>
                <a:gd name="connsiteY1530" fmla="*/ 669001 h 905809"/>
                <a:gd name="connsiteX1531" fmla="*/ 533405 w 1352046"/>
                <a:gd name="connsiteY1531" fmla="*/ 667779 h 905809"/>
                <a:gd name="connsiteX1532" fmla="*/ 532622 w 1352046"/>
                <a:gd name="connsiteY1532" fmla="*/ 666287 h 905809"/>
                <a:gd name="connsiteX1533" fmla="*/ 531831 w 1352046"/>
                <a:gd name="connsiteY1533" fmla="*/ 665552 h 905809"/>
                <a:gd name="connsiteX1534" fmla="*/ 530512 w 1352046"/>
                <a:gd name="connsiteY1534" fmla="*/ 665143 h 905809"/>
                <a:gd name="connsiteX1535" fmla="*/ 529156 w 1352046"/>
                <a:gd name="connsiteY1535" fmla="*/ 665307 h 905809"/>
                <a:gd name="connsiteX1536" fmla="*/ 528365 w 1352046"/>
                <a:gd name="connsiteY1536" fmla="*/ 666598 h 905809"/>
                <a:gd name="connsiteX1537" fmla="*/ 527826 w 1352046"/>
                <a:gd name="connsiteY1537" fmla="*/ 667335 h 905809"/>
                <a:gd name="connsiteX1538" fmla="*/ 526802 w 1352046"/>
                <a:gd name="connsiteY1538" fmla="*/ 669055 h 905809"/>
                <a:gd name="connsiteX1539" fmla="*/ 525144 w 1352046"/>
                <a:gd name="connsiteY1539" fmla="*/ 671436 h 905809"/>
                <a:gd name="connsiteX1540" fmla="*/ 524392 w 1352046"/>
                <a:gd name="connsiteY1540" fmla="*/ 672311 h 905809"/>
                <a:gd name="connsiteX1541" fmla="*/ 523662 w 1352046"/>
                <a:gd name="connsiteY1541" fmla="*/ 671859 h 905809"/>
                <a:gd name="connsiteX1542" fmla="*/ 520470 w 1352046"/>
                <a:gd name="connsiteY1542" fmla="*/ 669380 h 905809"/>
                <a:gd name="connsiteX1543" fmla="*/ 518929 w 1352046"/>
                <a:gd name="connsiteY1543" fmla="*/ 668694 h 905809"/>
                <a:gd name="connsiteX1544" fmla="*/ 516839 w 1352046"/>
                <a:gd name="connsiteY1544" fmla="*/ 669443 h 905809"/>
                <a:gd name="connsiteX1545" fmla="*/ 513569 w 1352046"/>
                <a:gd name="connsiteY1545" fmla="*/ 668851 h 905809"/>
                <a:gd name="connsiteX1546" fmla="*/ 512303 w 1352046"/>
                <a:gd name="connsiteY1546" fmla="*/ 668739 h 905809"/>
                <a:gd name="connsiteX1547" fmla="*/ 509585 w 1352046"/>
                <a:gd name="connsiteY1547" fmla="*/ 666757 h 905809"/>
                <a:gd name="connsiteX1548" fmla="*/ 508475 w 1352046"/>
                <a:gd name="connsiteY1548" fmla="*/ 666513 h 905809"/>
                <a:gd name="connsiteX1549" fmla="*/ 504608 w 1352046"/>
                <a:gd name="connsiteY1549" fmla="*/ 667805 h 905809"/>
                <a:gd name="connsiteX1550" fmla="*/ 503753 w 1352046"/>
                <a:gd name="connsiteY1550" fmla="*/ 668719 h 905809"/>
                <a:gd name="connsiteX1551" fmla="*/ 503251 w 1352046"/>
                <a:gd name="connsiteY1551" fmla="*/ 668734 h 905809"/>
                <a:gd name="connsiteX1552" fmla="*/ 502222 w 1352046"/>
                <a:gd name="connsiteY1552" fmla="*/ 668273 h 905809"/>
                <a:gd name="connsiteX1553" fmla="*/ 501373 w 1352046"/>
                <a:gd name="connsiteY1553" fmla="*/ 667660 h 905809"/>
                <a:gd name="connsiteX1554" fmla="*/ 501317 w 1352046"/>
                <a:gd name="connsiteY1554" fmla="*/ 667274 h 905809"/>
                <a:gd name="connsiteX1555" fmla="*/ 502362 w 1352046"/>
                <a:gd name="connsiteY1555" fmla="*/ 666306 h 905809"/>
                <a:gd name="connsiteX1556" fmla="*/ 502444 w 1352046"/>
                <a:gd name="connsiteY1556" fmla="*/ 665628 h 905809"/>
                <a:gd name="connsiteX1557" fmla="*/ 502388 w 1352046"/>
                <a:gd name="connsiteY1557" fmla="*/ 664942 h 905809"/>
                <a:gd name="connsiteX1558" fmla="*/ 503897 w 1352046"/>
                <a:gd name="connsiteY1558" fmla="*/ 662995 h 905809"/>
                <a:gd name="connsiteX1559" fmla="*/ 507994 w 1352046"/>
                <a:gd name="connsiteY1559" fmla="*/ 659222 h 905809"/>
                <a:gd name="connsiteX1560" fmla="*/ 507312 w 1352046"/>
                <a:gd name="connsiteY1560" fmla="*/ 657638 h 905809"/>
                <a:gd name="connsiteX1561" fmla="*/ 505701 w 1352046"/>
                <a:gd name="connsiteY1561" fmla="*/ 654519 h 905809"/>
                <a:gd name="connsiteX1562" fmla="*/ 505478 w 1352046"/>
                <a:gd name="connsiteY1562" fmla="*/ 653005 h 905809"/>
                <a:gd name="connsiteX1563" fmla="*/ 504785 w 1352046"/>
                <a:gd name="connsiteY1563" fmla="*/ 652321 h 905809"/>
                <a:gd name="connsiteX1564" fmla="*/ 502820 w 1352046"/>
                <a:gd name="connsiteY1564" fmla="*/ 652881 h 905809"/>
                <a:gd name="connsiteX1565" fmla="*/ 498736 w 1352046"/>
                <a:gd name="connsiteY1565" fmla="*/ 655712 h 905809"/>
                <a:gd name="connsiteX1566" fmla="*/ 498181 w 1352046"/>
                <a:gd name="connsiteY1566" fmla="*/ 655402 h 905809"/>
                <a:gd name="connsiteX1567" fmla="*/ 498276 w 1352046"/>
                <a:gd name="connsiteY1567" fmla="*/ 654419 h 905809"/>
                <a:gd name="connsiteX1568" fmla="*/ 497856 w 1352046"/>
                <a:gd name="connsiteY1568" fmla="*/ 651566 h 905809"/>
                <a:gd name="connsiteX1569" fmla="*/ 499148 w 1352046"/>
                <a:gd name="connsiteY1569" fmla="*/ 650709 h 905809"/>
                <a:gd name="connsiteX1570" fmla="*/ 501131 w 1352046"/>
                <a:gd name="connsiteY1570" fmla="*/ 649660 h 905809"/>
                <a:gd name="connsiteX1571" fmla="*/ 502662 w 1352046"/>
                <a:gd name="connsiteY1571" fmla="*/ 648490 h 905809"/>
                <a:gd name="connsiteX1572" fmla="*/ 503018 w 1352046"/>
                <a:gd name="connsiteY1572" fmla="*/ 647544 h 905809"/>
                <a:gd name="connsiteX1573" fmla="*/ 502606 w 1352046"/>
                <a:gd name="connsiteY1573" fmla="*/ 647257 h 905809"/>
                <a:gd name="connsiteX1574" fmla="*/ 500345 w 1352046"/>
                <a:gd name="connsiteY1574" fmla="*/ 647623 h 905809"/>
                <a:gd name="connsiteX1575" fmla="*/ 499455 w 1352046"/>
                <a:gd name="connsiteY1575" fmla="*/ 646981 h 905809"/>
                <a:gd name="connsiteX1576" fmla="*/ 497991 w 1352046"/>
                <a:gd name="connsiteY1576" fmla="*/ 644355 h 905809"/>
                <a:gd name="connsiteX1577" fmla="*/ 496910 w 1352046"/>
                <a:gd name="connsiteY1577" fmla="*/ 643324 h 905809"/>
                <a:gd name="connsiteX1578" fmla="*/ 495932 w 1352046"/>
                <a:gd name="connsiteY1578" fmla="*/ 642769 h 905809"/>
                <a:gd name="connsiteX1579" fmla="*/ 492608 w 1352046"/>
                <a:gd name="connsiteY1579" fmla="*/ 644125 h 905809"/>
                <a:gd name="connsiteX1580" fmla="*/ 488744 w 1352046"/>
                <a:gd name="connsiteY1580" fmla="*/ 645984 h 905809"/>
                <a:gd name="connsiteX1581" fmla="*/ 484443 w 1352046"/>
                <a:gd name="connsiteY1581" fmla="*/ 648573 h 905809"/>
                <a:gd name="connsiteX1582" fmla="*/ 484470 w 1352046"/>
                <a:gd name="connsiteY1582" fmla="*/ 649902 h 905809"/>
                <a:gd name="connsiteX1583" fmla="*/ 483956 w 1352046"/>
                <a:gd name="connsiteY1583" fmla="*/ 650243 h 905809"/>
                <a:gd name="connsiteX1584" fmla="*/ 483132 w 1352046"/>
                <a:gd name="connsiteY1584" fmla="*/ 651079 h 905809"/>
                <a:gd name="connsiteX1585" fmla="*/ 482329 w 1352046"/>
                <a:gd name="connsiteY1585" fmla="*/ 652234 h 905809"/>
                <a:gd name="connsiteX1586" fmla="*/ 481645 w 1352046"/>
                <a:gd name="connsiteY1586" fmla="*/ 652641 h 905809"/>
                <a:gd name="connsiteX1587" fmla="*/ 480846 w 1352046"/>
                <a:gd name="connsiteY1587" fmla="*/ 652677 h 905809"/>
                <a:gd name="connsiteX1588" fmla="*/ 479209 w 1352046"/>
                <a:gd name="connsiteY1588" fmla="*/ 652348 h 905809"/>
                <a:gd name="connsiteX1589" fmla="*/ 476237 w 1352046"/>
                <a:gd name="connsiteY1589" fmla="*/ 651037 h 905809"/>
                <a:gd name="connsiteX1590" fmla="*/ 473011 w 1352046"/>
                <a:gd name="connsiteY1590" fmla="*/ 649951 h 905809"/>
                <a:gd name="connsiteX1591" fmla="*/ 472318 w 1352046"/>
                <a:gd name="connsiteY1591" fmla="*/ 650074 h 905809"/>
                <a:gd name="connsiteX1592" fmla="*/ 467940 w 1352046"/>
                <a:gd name="connsiteY1592" fmla="*/ 649307 h 905809"/>
                <a:gd name="connsiteX1593" fmla="*/ 467798 w 1352046"/>
                <a:gd name="connsiteY1593" fmla="*/ 648696 h 905809"/>
                <a:gd name="connsiteX1594" fmla="*/ 467143 w 1352046"/>
                <a:gd name="connsiteY1594" fmla="*/ 647483 h 905809"/>
                <a:gd name="connsiteX1595" fmla="*/ 465896 w 1352046"/>
                <a:gd name="connsiteY1595" fmla="*/ 646389 h 905809"/>
                <a:gd name="connsiteX1596" fmla="*/ 464702 w 1352046"/>
                <a:gd name="connsiteY1596" fmla="*/ 646018 h 905809"/>
                <a:gd name="connsiteX1597" fmla="*/ 461276 w 1352046"/>
                <a:gd name="connsiteY1597" fmla="*/ 648336 h 905809"/>
                <a:gd name="connsiteX1598" fmla="*/ 457410 w 1352046"/>
                <a:gd name="connsiteY1598" fmla="*/ 650060 h 905809"/>
                <a:gd name="connsiteX1599" fmla="*/ 455203 w 1352046"/>
                <a:gd name="connsiteY1599" fmla="*/ 652099 h 905809"/>
                <a:gd name="connsiteX1600" fmla="*/ 453392 w 1352046"/>
                <a:gd name="connsiteY1600" fmla="*/ 654121 h 905809"/>
                <a:gd name="connsiteX1601" fmla="*/ 451316 w 1352046"/>
                <a:gd name="connsiteY1601" fmla="*/ 654514 h 905809"/>
                <a:gd name="connsiteX1602" fmla="*/ 451219 w 1352046"/>
                <a:gd name="connsiteY1602" fmla="*/ 655765 h 905809"/>
                <a:gd name="connsiteX1603" fmla="*/ 450342 w 1352046"/>
                <a:gd name="connsiteY1603" fmla="*/ 656888 h 905809"/>
                <a:gd name="connsiteX1604" fmla="*/ 448764 w 1352046"/>
                <a:gd name="connsiteY1604" fmla="*/ 658272 h 905809"/>
                <a:gd name="connsiteX1605" fmla="*/ 445635 w 1352046"/>
                <a:gd name="connsiteY1605" fmla="*/ 660036 h 905809"/>
                <a:gd name="connsiteX1606" fmla="*/ 443516 w 1352046"/>
                <a:gd name="connsiteY1606" fmla="*/ 660986 h 905809"/>
                <a:gd name="connsiteX1607" fmla="*/ 436786 w 1352046"/>
                <a:gd name="connsiteY1607" fmla="*/ 661855 h 905809"/>
                <a:gd name="connsiteX1608" fmla="*/ 434384 w 1352046"/>
                <a:gd name="connsiteY1608" fmla="*/ 662444 h 905809"/>
                <a:gd name="connsiteX1609" fmla="*/ 433380 w 1352046"/>
                <a:gd name="connsiteY1609" fmla="*/ 663373 h 905809"/>
                <a:gd name="connsiteX1610" fmla="*/ 432303 w 1352046"/>
                <a:gd name="connsiteY1610" fmla="*/ 665726 h 905809"/>
                <a:gd name="connsiteX1611" fmla="*/ 431450 w 1352046"/>
                <a:gd name="connsiteY1611" fmla="*/ 667895 h 905809"/>
                <a:gd name="connsiteX1612" fmla="*/ 429586 w 1352046"/>
                <a:gd name="connsiteY1612" fmla="*/ 669684 h 905809"/>
                <a:gd name="connsiteX1613" fmla="*/ 426200 w 1352046"/>
                <a:gd name="connsiteY1613" fmla="*/ 672068 h 905809"/>
                <a:gd name="connsiteX1614" fmla="*/ 422221 w 1352046"/>
                <a:gd name="connsiteY1614" fmla="*/ 674007 h 905809"/>
                <a:gd name="connsiteX1615" fmla="*/ 421130 w 1352046"/>
                <a:gd name="connsiteY1615" fmla="*/ 675294 h 905809"/>
                <a:gd name="connsiteX1616" fmla="*/ 420929 w 1352046"/>
                <a:gd name="connsiteY1616" fmla="*/ 676056 h 905809"/>
                <a:gd name="connsiteX1617" fmla="*/ 421420 w 1352046"/>
                <a:gd name="connsiteY1617" fmla="*/ 676335 h 905809"/>
                <a:gd name="connsiteX1618" fmla="*/ 421904 w 1352046"/>
                <a:gd name="connsiteY1618" fmla="*/ 676912 h 905809"/>
                <a:gd name="connsiteX1619" fmla="*/ 421910 w 1352046"/>
                <a:gd name="connsiteY1619" fmla="*/ 677791 h 905809"/>
                <a:gd name="connsiteX1620" fmla="*/ 421391 w 1352046"/>
                <a:gd name="connsiteY1620" fmla="*/ 678749 h 905809"/>
                <a:gd name="connsiteX1621" fmla="*/ 418790 w 1352046"/>
                <a:gd name="connsiteY1621" fmla="*/ 680415 h 905809"/>
                <a:gd name="connsiteX1622" fmla="*/ 417329 w 1352046"/>
                <a:gd name="connsiteY1622" fmla="*/ 681210 h 905809"/>
                <a:gd name="connsiteX1623" fmla="*/ 415874 w 1352046"/>
                <a:gd name="connsiteY1623" fmla="*/ 681720 h 905809"/>
                <a:gd name="connsiteX1624" fmla="*/ 414242 w 1352046"/>
                <a:gd name="connsiteY1624" fmla="*/ 681812 h 905809"/>
                <a:gd name="connsiteX1625" fmla="*/ 412674 w 1352046"/>
                <a:gd name="connsiteY1625" fmla="*/ 681586 h 905809"/>
                <a:gd name="connsiteX1626" fmla="*/ 412240 w 1352046"/>
                <a:gd name="connsiteY1626" fmla="*/ 681316 h 905809"/>
                <a:gd name="connsiteX1627" fmla="*/ 411616 w 1352046"/>
                <a:gd name="connsiteY1627" fmla="*/ 681664 h 905809"/>
                <a:gd name="connsiteX1628" fmla="*/ 410186 w 1352046"/>
                <a:gd name="connsiteY1628" fmla="*/ 682015 h 905809"/>
                <a:gd name="connsiteX1629" fmla="*/ 408941 w 1352046"/>
                <a:gd name="connsiteY1629" fmla="*/ 682126 h 905809"/>
                <a:gd name="connsiteX1630" fmla="*/ 406207 w 1352046"/>
                <a:gd name="connsiteY1630" fmla="*/ 683971 h 905809"/>
                <a:gd name="connsiteX1631" fmla="*/ 404698 w 1352046"/>
                <a:gd name="connsiteY1631" fmla="*/ 683987 h 905809"/>
                <a:gd name="connsiteX1632" fmla="*/ 402825 w 1352046"/>
                <a:gd name="connsiteY1632" fmla="*/ 683587 h 905809"/>
                <a:gd name="connsiteX1633" fmla="*/ 400346 w 1352046"/>
                <a:gd name="connsiteY1633" fmla="*/ 683268 h 905809"/>
                <a:gd name="connsiteX1634" fmla="*/ 398562 w 1352046"/>
                <a:gd name="connsiteY1634" fmla="*/ 683265 h 905809"/>
                <a:gd name="connsiteX1635" fmla="*/ 398507 w 1352046"/>
                <a:gd name="connsiteY1635" fmla="*/ 682287 h 905809"/>
                <a:gd name="connsiteX1636" fmla="*/ 398782 w 1352046"/>
                <a:gd name="connsiteY1636" fmla="*/ 679363 h 905809"/>
                <a:gd name="connsiteX1637" fmla="*/ 397979 w 1352046"/>
                <a:gd name="connsiteY1637" fmla="*/ 678682 h 905809"/>
                <a:gd name="connsiteX1638" fmla="*/ 395498 w 1352046"/>
                <a:gd name="connsiteY1638" fmla="*/ 677963 h 905809"/>
                <a:gd name="connsiteX1639" fmla="*/ 392717 w 1352046"/>
                <a:gd name="connsiteY1639" fmla="*/ 677010 h 905809"/>
                <a:gd name="connsiteX1640" fmla="*/ 391374 w 1352046"/>
                <a:gd name="connsiteY1640" fmla="*/ 675996 h 905809"/>
                <a:gd name="connsiteX1641" fmla="*/ 390626 w 1352046"/>
                <a:gd name="connsiteY1641" fmla="*/ 675653 h 905809"/>
                <a:gd name="connsiteX1642" fmla="*/ 389584 w 1352046"/>
                <a:gd name="connsiteY1642" fmla="*/ 675823 h 905809"/>
                <a:gd name="connsiteX1643" fmla="*/ 387903 w 1352046"/>
                <a:gd name="connsiteY1643" fmla="*/ 676887 h 905809"/>
                <a:gd name="connsiteX1644" fmla="*/ 386308 w 1352046"/>
                <a:gd name="connsiteY1644" fmla="*/ 678138 h 905809"/>
                <a:gd name="connsiteX1645" fmla="*/ 385049 w 1352046"/>
                <a:gd name="connsiteY1645" fmla="*/ 678243 h 905809"/>
                <a:gd name="connsiteX1646" fmla="*/ 383760 w 1352046"/>
                <a:gd name="connsiteY1646" fmla="*/ 677657 h 905809"/>
                <a:gd name="connsiteX1647" fmla="*/ 382525 w 1352046"/>
                <a:gd name="connsiteY1647" fmla="*/ 676893 h 905809"/>
                <a:gd name="connsiteX1648" fmla="*/ 378303 w 1352046"/>
                <a:gd name="connsiteY1648" fmla="*/ 675811 h 905809"/>
                <a:gd name="connsiteX1649" fmla="*/ 376409 w 1352046"/>
                <a:gd name="connsiteY1649" fmla="*/ 675648 h 905809"/>
                <a:gd name="connsiteX1650" fmla="*/ 373032 w 1352046"/>
                <a:gd name="connsiteY1650" fmla="*/ 675832 h 905809"/>
                <a:gd name="connsiteX1651" fmla="*/ 370276 w 1352046"/>
                <a:gd name="connsiteY1651" fmla="*/ 675608 h 905809"/>
                <a:gd name="connsiteX1652" fmla="*/ 369842 w 1352046"/>
                <a:gd name="connsiteY1652" fmla="*/ 675279 h 905809"/>
                <a:gd name="connsiteX1653" fmla="*/ 369858 w 1352046"/>
                <a:gd name="connsiteY1653" fmla="*/ 674677 h 905809"/>
                <a:gd name="connsiteX1654" fmla="*/ 370263 w 1352046"/>
                <a:gd name="connsiteY1654" fmla="*/ 673503 h 905809"/>
                <a:gd name="connsiteX1655" fmla="*/ 370504 w 1352046"/>
                <a:gd name="connsiteY1655" fmla="*/ 672346 h 905809"/>
                <a:gd name="connsiteX1656" fmla="*/ 370177 w 1352046"/>
                <a:gd name="connsiteY1656" fmla="*/ 671689 h 905809"/>
                <a:gd name="connsiteX1657" fmla="*/ 367360 w 1352046"/>
                <a:gd name="connsiteY1657" fmla="*/ 670880 h 905809"/>
                <a:gd name="connsiteX1658" fmla="*/ 364788 w 1352046"/>
                <a:gd name="connsiteY1658" fmla="*/ 670297 h 905809"/>
                <a:gd name="connsiteX1659" fmla="*/ 362058 w 1352046"/>
                <a:gd name="connsiteY1659" fmla="*/ 670078 h 905809"/>
                <a:gd name="connsiteX1660" fmla="*/ 360218 w 1352046"/>
                <a:gd name="connsiteY1660" fmla="*/ 670487 h 905809"/>
                <a:gd name="connsiteX1661" fmla="*/ 358428 w 1352046"/>
                <a:gd name="connsiteY1661" fmla="*/ 671393 h 905809"/>
                <a:gd name="connsiteX1662" fmla="*/ 356945 w 1352046"/>
                <a:gd name="connsiteY1662" fmla="*/ 673024 h 905809"/>
                <a:gd name="connsiteX1663" fmla="*/ 354798 w 1352046"/>
                <a:gd name="connsiteY1663" fmla="*/ 673740 h 905809"/>
                <a:gd name="connsiteX1664" fmla="*/ 352237 w 1352046"/>
                <a:gd name="connsiteY1664" fmla="*/ 674957 h 905809"/>
                <a:gd name="connsiteX1665" fmla="*/ 350993 w 1352046"/>
                <a:gd name="connsiteY1665" fmla="*/ 676093 h 905809"/>
                <a:gd name="connsiteX1666" fmla="*/ 349119 w 1352046"/>
                <a:gd name="connsiteY1666" fmla="*/ 678528 h 905809"/>
                <a:gd name="connsiteX1667" fmla="*/ 346394 w 1352046"/>
                <a:gd name="connsiteY1667" fmla="*/ 681516 h 905809"/>
                <a:gd name="connsiteX1668" fmla="*/ 343913 w 1352046"/>
                <a:gd name="connsiteY1668" fmla="*/ 684427 h 905809"/>
                <a:gd name="connsiteX1669" fmla="*/ 342628 w 1352046"/>
                <a:gd name="connsiteY1669" fmla="*/ 687260 h 905809"/>
                <a:gd name="connsiteX1670" fmla="*/ 340929 w 1352046"/>
                <a:gd name="connsiteY1670" fmla="*/ 689042 h 905809"/>
                <a:gd name="connsiteX1671" fmla="*/ 339205 w 1352046"/>
                <a:gd name="connsiteY1671" fmla="*/ 690327 h 905809"/>
                <a:gd name="connsiteX1672" fmla="*/ 337964 w 1352046"/>
                <a:gd name="connsiteY1672" fmla="*/ 693853 h 905809"/>
                <a:gd name="connsiteX1673" fmla="*/ 336661 w 1352046"/>
                <a:gd name="connsiteY1673" fmla="*/ 692738 h 905809"/>
                <a:gd name="connsiteX1674" fmla="*/ 335165 w 1352046"/>
                <a:gd name="connsiteY1674" fmla="*/ 691140 h 905809"/>
                <a:gd name="connsiteX1675" fmla="*/ 334815 w 1352046"/>
                <a:gd name="connsiteY1675" fmla="*/ 688947 h 905809"/>
                <a:gd name="connsiteX1676" fmla="*/ 336603 w 1352046"/>
                <a:gd name="connsiteY1676" fmla="*/ 683087 h 905809"/>
                <a:gd name="connsiteX1677" fmla="*/ 337022 w 1352046"/>
                <a:gd name="connsiteY1677" fmla="*/ 680667 h 905809"/>
                <a:gd name="connsiteX1678" fmla="*/ 336575 w 1352046"/>
                <a:gd name="connsiteY1678" fmla="*/ 679745 h 905809"/>
                <a:gd name="connsiteX1679" fmla="*/ 336024 w 1352046"/>
                <a:gd name="connsiteY1679" fmla="*/ 677361 h 905809"/>
                <a:gd name="connsiteX1680" fmla="*/ 334975 w 1352046"/>
                <a:gd name="connsiteY1680" fmla="*/ 676578 h 905809"/>
                <a:gd name="connsiteX1681" fmla="*/ 331987 w 1352046"/>
                <a:gd name="connsiteY1681" fmla="*/ 675330 h 905809"/>
                <a:gd name="connsiteX1682" fmla="*/ 331032 w 1352046"/>
                <a:gd name="connsiteY1682" fmla="*/ 675294 h 905809"/>
                <a:gd name="connsiteX1683" fmla="*/ 330008 w 1352046"/>
                <a:gd name="connsiteY1683" fmla="*/ 676155 h 905809"/>
                <a:gd name="connsiteX1684" fmla="*/ 329002 w 1352046"/>
                <a:gd name="connsiteY1684" fmla="*/ 676703 h 905809"/>
                <a:gd name="connsiteX1685" fmla="*/ 327672 w 1352046"/>
                <a:gd name="connsiteY1685" fmla="*/ 677248 h 905809"/>
                <a:gd name="connsiteX1686" fmla="*/ 324338 w 1352046"/>
                <a:gd name="connsiteY1686" fmla="*/ 678272 h 905809"/>
                <a:gd name="connsiteX1687" fmla="*/ 321373 w 1352046"/>
                <a:gd name="connsiteY1687" fmla="*/ 678749 h 905809"/>
                <a:gd name="connsiteX1688" fmla="*/ 320662 w 1352046"/>
                <a:gd name="connsiteY1688" fmla="*/ 679129 h 905809"/>
                <a:gd name="connsiteX1689" fmla="*/ 320440 w 1352046"/>
                <a:gd name="connsiteY1689" fmla="*/ 679810 h 905809"/>
                <a:gd name="connsiteX1690" fmla="*/ 320680 w 1352046"/>
                <a:gd name="connsiteY1690" fmla="*/ 680621 h 905809"/>
                <a:gd name="connsiteX1691" fmla="*/ 318769 w 1352046"/>
                <a:gd name="connsiteY1691" fmla="*/ 680315 h 905809"/>
                <a:gd name="connsiteX1692" fmla="*/ 316780 w 1352046"/>
                <a:gd name="connsiteY1692" fmla="*/ 680138 h 905809"/>
                <a:gd name="connsiteX1693" fmla="*/ 315173 w 1352046"/>
                <a:gd name="connsiteY1693" fmla="*/ 680251 h 905809"/>
                <a:gd name="connsiteX1694" fmla="*/ 311237 w 1352046"/>
                <a:gd name="connsiteY1694" fmla="*/ 681797 h 905809"/>
                <a:gd name="connsiteX1695" fmla="*/ 309907 w 1352046"/>
                <a:gd name="connsiteY1695" fmla="*/ 681945 h 905809"/>
                <a:gd name="connsiteX1696" fmla="*/ 308419 w 1352046"/>
                <a:gd name="connsiteY1696" fmla="*/ 681786 h 905809"/>
                <a:gd name="connsiteX1697" fmla="*/ 306404 w 1352046"/>
                <a:gd name="connsiteY1697" fmla="*/ 681739 h 905809"/>
                <a:gd name="connsiteX1698" fmla="*/ 302569 w 1352046"/>
                <a:gd name="connsiteY1698" fmla="*/ 681784 h 905809"/>
                <a:gd name="connsiteX1699" fmla="*/ 299267 w 1352046"/>
                <a:gd name="connsiteY1699" fmla="*/ 681392 h 905809"/>
                <a:gd name="connsiteX1700" fmla="*/ 296586 w 1352046"/>
                <a:gd name="connsiteY1700" fmla="*/ 679233 h 905809"/>
                <a:gd name="connsiteX1701" fmla="*/ 294677 w 1352046"/>
                <a:gd name="connsiteY1701" fmla="*/ 678282 h 905809"/>
                <a:gd name="connsiteX1702" fmla="*/ 292655 w 1352046"/>
                <a:gd name="connsiteY1702" fmla="*/ 677547 h 905809"/>
                <a:gd name="connsiteX1703" fmla="*/ 290621 w 1352046"/>
                <a:gd name="connsiteY1703" fmla="*/ 676999 h 905809"/>
                <a:gd name="connsiteX1704" fmla="*/ 289941 w 1352046"/>
                <a:gd name="connsiteY1704" fmla="*/ 675837 h 905809"/>
                <a:gd name="connsiteX1705" fmla="*/ 289298 w 1352046"/>
                <a:gd name="connsiteY1705" fmla="*/ 675256 h 905809"/>
                <a:gd name="connsiteX1706" fmla="*/ 287615 w 1352046"/>
                <a:gd name="connsiteY1706" fmla="*/ 675063 h 905809"/>
                <a:gd name="connsiteX1707" fmla="*/ 286289 w 1352046"/>
                <a:gd name="connsiteY1707" fmla="*/ 675489 h 905809"/>
                <a:gd name="connsiteX1708" fmla="*/ 285458 w 1352046"/>
                <a:gd name="connsiteY1708" fmla="*/ 678400 h 905809"/>
                <a:gd name="connsiteX1709" fmla="*/ 284752 w 1352046"/>
                <a:gd name="connsiteY1709" fmla="*/ 678973 h 905809"/>
                <a:gd name="connsiteX1710" fmla="*/ 283066 w 1352046"/>
                <a:gd name="connsiteY1710" fmla="*/ 679233 h 905809"/>
                <a:gd name="connsiteX1711" fmla="*/ 281295 w 1352046"/>
                <a:gd name="connsiteY1711" fmla="*/ 678495 h 905809"/>
                <a:gd name="connsiteX1712" fmla="*/ 278848 w 1352046"/>
                <a:gd name="connsiteY1712" fmla="*/ 676999 h 905809"/>
                <a:gd name="connsiteX1713" fmla="*/ 277881 w 1352046"/>
                <a:gd name="connsiteY1713" fmla="*/ 675334 h 905809"/>
                <a:gd name="connsiteX1714" fmla="*/ 277058 w 1352046"/>
                <a:gd name="connsiteY1714" fmla="*/ 674791 h 905809"/>
                <a:gd name="connsiteX1715" fmla="*/ 275769 w 1352046"/>
                <a:gd name="connsiteY1715" fmla="*/ 675527 h 905809"/>
                <a:gd name="connsiteX1716" fmla="*/ 275698 w 1352046"/>
                <a:gd name="connsiteY1716" fmla="*/ 677657 h 905809"/>
                <a:gd name="connsiteX1717" fmla="*/ 275447 w 1352046"/>
                <a:gd name="connsiteY1717" fmla="*/ 679088 h 905809"/>
                <a:gd name="connsiteX1718" fmla="*/ 273908 w 1352046"/>
                <a:gd name="connsiteY1718" fmla="*/ 679670 h 905809"/>
                <a:gd name="connsiteX1719" fmla="*/ 273013 w 1352046"/>
                <a:gd name="connsiteY1719" fmla="*/ 679244 h 905809"/>
                <a:gd name="connsiteX1720" fmla="*/ 272296 w 1352046"/>
                <a:gd name="connsiteY1720" fmla="*/ 677774 h 905809"/>
                <a:gd name="connsiteX1721" fmla="*/ 270496 w 1352046"/>
                <a:gd name="connsiteY1721" fmla="*/ 674289 h 905809"/>
                <a:gd name="connsiteX1722" fmla="*/ 268710 w 1352046"/>
                <a:gd name="connsiteY1722" fmla="*/ 672247 h 905809"/>
                <a:gd name="connsiteX1723" fmla="*/ 266916 w 1352046"/>
                <a:gd name="connsiteY1723" fmla="*/ 670887 h 905809"/>
                <a:gd name="connsiteX1724" fmla="*/ 260997 w 1352046"/>
                <a:gd name="connsiteY1724" fmla="*/ 670920 h 905809"/>
                <a:gd name="connsiteX1725" fmla="*/ 256607 w 1352046"/>
                <a:gd name="connsiteY1725" fmla="*/ 670523 h 905809"/>
                <a:gd name="connsiteX1726" fmla="*/ 254624 w 1352046"/>
                <a:gd name="connsiteY1726" fmla="*/ 669963 h 905809"/>
                <a:gd name="connsiteX1727" fmla="*/ 253875 w 1352046"/>
                <a:gd name="connsiteY1727" fmla="*/ 668614 h 905809"/>
                <a:gd name="connsiteX1728" fmla="*/ 254603 w 1352046"/>
                <a:gd name="connsiteY1728" fmla="*/ 665929 h 905809"/>
                <a:gd name="connsiteX1729" fmla="*/ 255458 w 1352046"/>
                <a:gd name="connsiteY1729" fmla="*/ 663827 h 905809"/>
                <a:gd name="connsiteX1730" fmla="*/ 255434 w 1352046"/>
                <a:gd name="connsiteY1730" fmla="*/ 663339 h 905809"/>
                <a:gd name="connsiteX1731" fmla="*/ 254711 w 1352046"/>
                <a:gd name="connsiteY1731" fmla="*/ 663089 h 905809"/>
                <a:gd name="connsiteX1732" fmla="*/ 253445 w 1352046"/>
                <a:gd name="connsiteY1732" fmla="*/ 662920 h 905809"/>
                <a:gd name="connsiteX1733" fmla="*/ 248712 w 1352046"/>
                <a:gd name="connsiteY1733" fmla="*/ 664265 h 905809"/>
                <a:gd name="connsiteX1734" fmla="*/ 247425 w 1352046"/>
                <a:gd name="connsiteY1734" fmla="*/ 664107 h 905809"/>
                <a:gd name="connsiteX1735" fmla="*/ 246596 w 1352046"/>
                <a:gd name="connsiteY1735" fmla="*/ 663650 h 905809"/>
                <a:gd name="connsiteX1736" fmla="*/ 245598 w 1352046"/>
                <a:gd name="connsiteY1736" fmla="*/ 663259 h 905809"/>
                <a:gd name="connsiteX1737" fmla="*/ 244769 w 1352046"/>
                <a:gd name="connsiteY1737" fmla="*/ 662636 h 905809"/>
                <a:gd name="connsiteX1738" fmla="*/ 244190 w 1352046"/>
                <a:gd name="connsiteY1738" fmla="*/ 661722 h 905809"/>
                <a:gd name="connsiteX1739" fmla="*/ 240096 w 1352046"/>
                <a:gd name="connsiteY1739" fmla="*/ 659480 h 905809"/>
                <a:gd name="connsiteX1740" fmla="*/ 238887 w 1352046"/>
                <a:gd name="connsiteY1740" fmla="*/ 658256 h 905809"/>
                <a:gd name="connsiteX1741" fmla="*/ 236706 w 1352046"/>
                <a:gd name="connsiteY1741" fmla="*/ 656712 h 905809"/>
                <a:gd name="connsiteX1742" fmla="*/ 234861 w 1352046"/>
                <a:gd name="connsiteY1742" fmla="*/ 655663 h 905809"/>
                <a:gd name="connsiteX1743" fmla="*/ 233687 w 1352046"/>
                <a:gd name="connsiteY1743" fmla="*/ 652666 h 905809"/>
                <a:gd name="connsiteX1744" fmla="*/ 232631 w 1352046"/>
                <a:gd name="connsiteY1744" fmla="*/ 649779 h 905809"/>
                <a:gd name="connsiteX1745" fmla="*/ 232046 w 1352046"/>
                <a:gd name="connsiteY1745" fmla="*/ 648245 h 905809"/>
                <a:gd name="connsiteX1746" fmla="*/ 230290 w 1352046"/>
                <a:gd name="connsiteY1746" fmla="*/ 647429 h 905809"/>
                <a:gd name="connsiteX1747" fmla="*/ 228388 w 1352046"/>
                <a:gd name="connsiteY1747" fmla="*/ 646811 h 905809"/>
                <a:gd name="connsiteX1748" fmla="*/ 225170 w 1352046"/>
                <a:gd name="connsiteY1748" fmla="*/ 648066 h 905809"/>
                <a:gd name="connsiteX1749" fmla="*/ 222532 w 1352046"/>
                <a:gd name="connsiteY1749" fmla="*/ 649025 h 905809"/>
                <a:gd name="connsiteX1750" fmla="*/ 220595 w 1352046"/>
                <a:gd name="connsiteY1750" fmla="*/ 649122 h 905809"/>
                <a:gd name="connsiteX1751" fmla="*/ 217789 w 1352046"/>
                <a:gd name="connsiteY1751" fmla="*/ 646164 h 905809"/>
                <a:gd name="connsiteX1752" fmla="*/ 215546 w 1352046"/>
                <a:gd name="connsiteY1752" fmla="*/ 642962 h 905809"/>
                <a:gd name="connsiteX1753" fmla="*/ 212892 w 1352046"/>
                <a:gd name="connsiteY1753" fmla="*/ 640176 h 905809"/>
                <a:gd name="connsiteX1754" fmla="*/ 211130 w 1352046"/>
                <a:gd name="connsiteY1754" fmla="*/ 638775 h 905809"/>
                <a:gd name="connsiteX1755" fmla="*/ 208001 w 1352046"/>
                <a:gd name="connsiteY1755" fmla="*/ 638644 h 905809"/>
                <a:gd name="connsiteX1756" fmla="*/ 204470 w 1352046"/>
                <a:gd name="connsiteY1756" fmla="*/ 637066 h 905809"/>
                <a:gd name="connsiteX1757" fmla="*/ 199750 w 1352046"/>
                <a:gd name="connsiteY1757" fmla="*/ 633494 h 905809"/>
                <a:gd name="connsiteX1758" fmla="*/ 196338 w 1352046"/>
                <a:gd name="connsiteY1758" fmla="*/ 630826 h 905809"/>
                <a:gd name="connsiteX1759" fmla="*/ 190460 w 1352046"/>
                <a:gd name="connsiteY1759" fmla="*/ 627864 h 905809"/>
                <a:gd name="connsiteX1760" fmla="*/ 189095 w 1352046"/>
                <a:gd name="connsiteY1760" fmla="*/ 626621 h 905809"/>
                <a:gd name="connsiteX1761" fmla="*/ 188573 w 1352046"/>
                <a:gd name="connsiteY1761" fmla="*/ 625560 h 905809"/>
                <a:gd name="connsiteX1762" fmla="*/ 187767 w 1352046"/>
                <a:gd name="connsiteY1762" fmla="*/ 623474 h 905809"/>
                <a:gd name="connsiteX1763" fmla="*/ 186539 w 1352046"/>
                <a:gd name="connsiteY1763" fmla="*/ 621493 h 905809"/>
                <a:gd name="connsiteX1764" fmla="*/ 182371 w 1352046"/>
                <a:gd name="connsiteY1764" fmla="*/ 620628 h 905809"/>
                <a:gd name="connsiteX1765" fmla="*/ 177661 w 1352046"/>
                <a:gd name="connsiteY1765" fmla="*/ 620020 h 905809"/>
                <a:gd name="connsiteX1766" fmla="*/ 172693 w 1352046"/>
                <a:gd name="connsiteY1766" fmla="*/ 621230 h 905809"/>
                <a:gd name="connsiteX1767" fmla="*/ 169108 w 1352046"/>
                <a:gd name="connsiteY1767" fmla="*/ 627151 h 905809"/>
                <a:gd name="connsiteX1768" fmla="*/ 167385 w 1352046"/>
                <a:gd name="connsiteY1768" fmla="*/ 628445 h 905809"/>
                <a:gd name="connsiteX1769" fmla="*/ 165908 w 1352046"/>
                <a:gd name="connsiteY1769" fmla="*/ 628519 h 905809"/>
                <a:gd name="connsiteX1770" fmla="*/ 164696 w 1352046"/>
                <a:gd name="connsiteY1770" fmla="*/ 627014 h 905809"/>
                <a:gd name="connsiteX1771" fmla="*/ 163695 w 1352046"/>
                <a:gd name="connsiteY1771" fmla="*/ 625427 h 905809"/>
                <a:gd name="connsiteX1772" fmla="*/ 163146 w 1352046"/>
                <a:gd name="connsiteY1772" fmla="*/ 623667 h 905809"/>
                <a:gd name="connsiteX1773" fmla="*/ 160671 w 1352046"/>
                <a:gd name="connsiteY1773" fmla="*/ 622371 h 905809"/>
                <a:gd name="connsiteX1774" fmla="*/ 157869 w 1352046"/>
                <a:gd name="connsiteY1774" fmla="*/ 620677 h 905809"/>
                <a:gd name="connsiteX1775" fmla="*/ 156439 w 1352046"/>
                <a:gd name="connsiteY1775" fmla="*/ 619356 h 905809"/>
                <a:gd name="connsiteX1776" fmla="*/ 154819 w 1352046"/>
                <a:gd name="connsiteY1776" fmla="*/ 618530 h 905809"/>
                <a:gd name="connsiteX1777" fmla="*/ 153319 w 1352046"/>
                <a:gd name="connsiteY1777" fmla="*/ 618174 h 905809"/>
                <a:gd name="connsiteX1778" fmla="*/ 150412 w 1352046"/>
                <a:gd name="connsiteY1778" fmla="*/ 617059 h 905809"/>
                <a:gd name="connsiteX1779" fmla="*/ 147126 w 1352046"/>
                <a:gd name="connsiteY1779" fmla="*/ 615800 h 905809"/>
                <a:gd name="connsiteX1780" fmla="*/ 145584 w 1352046"/>
                <a:gd name="connsiteY1780" fmla="*/ 615628 h 905809"/>
                <a:gd name="connsiteX1781" fmla="*/ 145474 w 1352046"/>
                <a:gd name="connsiteY1781" fmla="*/ 614731 h 905809"/>
                <a:gd name="connsiteX1782" fmla="*/ 145936 w 1352046"/>
                <a:gd name="connsiteY1782" fmla="*/ 612825 h 905809"/>
                <a:gd name="connsiteX1783" fmla="*/ 145653 w 1352046"/>
                <a:gd name="connsiteY1783" fmla="*/ 610989 h 905809"/>
                <a:gd name="connsiteX1784" fmla="*/ 144660 w 1352046"/>
                <a:gd name="connsiteY1784" fmla="*/ 610245 h 905809"/>
                <a:gd name="connsiteX1785" fmla="*/ 143157 w 1352046"/>
                <a:gd name="connsiteY1785" fmla="*/ 610437 h 905809"/>
                <a:gd name="connsiteX1786" fmla="*/ 139687 w 1352046"/>
                <a:gd name="connsiteY1786" fmla="*/ 607838 h 905809"/>
                <a:gd name="connsiteX1787" fmla="*/ 139512 w 1352046"/>
                <a:gd name="connsiteY1787" fmla="*/ 607706 h 905809"/>
                <a:gd name="connsiteX1788" fmla="*/ 138523 w 1352046"/>
                <a:gd name="connsiteY1788" fmla="*/ 606965 h 905809"/>
                <a:gd name="connsiteX1789" fmla="*/ 136815 w 1352046"/>
                <a:gd name="connsiteY1789" fmla="*/ 605902 h 905809"/>
                <a:gd name="connsiteX1790" fmla="*/ 133932 w 1352046"/>
                <a:gd name="connsiteY1790" fmla="*/ 605976 h 905809"/>
                <a:gd name="connsiteX1791" fmla="*/ 131746 w 1352046"/>
                <a:gd name="connsiteY1791" fmla="*/ 606370 h 905809"/>
                <a:gd name="connsiteX1792" fmla="*/ 130148 w 1352046"/>
                <a:gd name="connsiteY1792" fmla="*/ 605282 h 905809"/>
                <a:gd name="connsiteX1793" fmla="*/ 127834 w 1352046"/>
                <a:gd name="connsiteY1793" fmla="*/ 603565 h 905809"/>
                <a:gd name="connsiteX1794" fmla="*/ 127417 w 1352046"/>
                <a:gd name="connsiteY1794" fmla="*/ 603181 h 905809"/>
                <a:gd name="connsiteX1795" fmla="*/ 126735 w 1352046"/>
                <a:gd name="connsiteY1795" fmla="*/ 602553 h 905809"/>
                <a:gd name="connsiteX1796" fmla="*/ 124388 w 1352046"/>
                <a:gd name="connsiteY1796" fmla="*/ 599236 h 905809"/>
                <a:gd name="connsiteX1797" fmla="*/ 121613 w 1352046"/>
                <a:gd name="connsiteY1797" fmla="*/ 595309 h 905809"/>
                <a:gd name="connsiteX1798" fmla="*/ 120211 w 1352046"/>
                <a:gd name="connsiteY1798" fmla="*/ 594733 h 905809"/>
                <a:gd name="connsiteX1799" fmla="*/ 119490 w 1352046"/>
                <a:gd name="connsiteY1799" fmla="*/ 595028 h 905809"/>
                <a:gd name="connsiteX1800" fmla="*/ 118667 w 1352046"/>
                <a:gd name="connsiteY1800" fmla="*/ 597116 h 905809"/>
                <a:gd name="connsiteX1801" fmla="*/ 118050 w 1352046"/>
                <a:gd name="connsiteY1801" fmla="*/ 596906 h 905809"/>
                <a:gd name="connsiteX1802" fmla="*/ 117022 w 1352046"/>
                <a:gd name="connsiteY1802" fmla="*/ 597049 h 905809"/>
                <a:gd name="connsiteX1803" fmla="*/ 115806 w 1352046"/>
                <a:gd name="connsiteY1803" fmla="*/ 597778 h 905809"/>
                <a:gd name="connsiteX1804" fmla="*/ 114635 w 1352046"/>
                <a:gd name="connsiteY1804" fmla="*/ 597969 h 905809"/>
                <a:gd name="connsiteX1805" fmla="*/ 113888 w 1352046"/>
                <a:gd name="connsiteY1805" fmla="*/ 597754 h 905809"/>
                <a:gd name="connsiteX1806" fmla="*/ 113573 w 1352046"/>
                <a:gd name="connsiteY1806" fmla="*/ 597234 h 905809"/>
                <a:gd name="connsiteX1807" fmla="*/ 113906 w 1352046"/>
                <a:gd name="connsiteY1807" fmla="*/ 594480 h 905809"/>
                <a:gd name="connsiteX1808" fmla="*/ 113202 w 1352046"/>
                <a:gd name="connsiteY1808" fmla="*/ 593618 h 905809"/>
                <a:gd name="connsiteX1809" fmla="*/ 113828 w 1352046"/>
                <a:gd name="connsiteY1809" fmla="*/ 591701 h 905809"/>
                <a:gd name="connsiteX1810" fmla="*/ 114886 w 1352046"/>
                <a:gd name="connsiteY1810" fmla="*/ 590044 h 905809"/>
                <a:gd name="connsiteX1811" fmla="*/ 113802 w 1352046"/>
                <a:gd name="connsiteY1811" fmla="*/ 588813 h 905809"/>
                <a:gd name="connsiteX1812" fmla="*/ 112465 w 1352046"/>
                <a:gd name="connsiteY1812" fmla="*/ 587051 h 905809"/>
                <a:gd name="connsiteX1813" fmla="*/ 112323 w 1352046"/>
                <a:gd name="connsiteY1813" fmla="*/ 585457 h 905809"/>
                <a:gd name="connsiteX1814" fmla="*/ 113046 w 1352046"/>
                <a:gd name="connsiteY1814" fmla="*/ 583445 h 905809"/>
                <a:gd name="connsiteX1815" fmla="*/ 113394 w 1352046"/>
                <a:gd name="connsiteY1815" fmla="*/ 581722 h 905809"/>
                <a:gd name="connsiteX1816" fmla="*/ 113176 w 1352046"/>
                <a:gd name="connsiteY1816" fmla="*/ 581088 h 905809"/>
                <a:gd name="connsiteX1817" fmla="*/ 112118 w 1352046"/>
                <a:gd name="connsiteY1817" fmla="*/ 580126 h 905809"/>
                <a:gd name="connsiteX1818" fmla="*/ 108097 w 1352046"/>
                <a:gd name="connsiteY1818" fmla="*/ 575397 h 905809"/>
                <a:gd name="connsiteX1819" fmla="*/ 107881 w 1352046"/>
                <a:gd name="connsiteY1819" fmla="*/ 574894 h 905809"/>
                <a:gd name="connsiteX1820" fmla="*/ 107199 w 1352046"/>
                <a:gd name="connsiteY1820" fmla="*/ 573319 h 905809"/>
                <a:gd name="connsiteX1821" fmla="*/ 106890 w 1352046"/>
                <a:gd name="connsiteY1821" fmla="*/ 570935 h 905809"/>
                <a:gd name="connsiteX1822" fmla="*/ 106363 w 1352046"/>
                <a:gd name="connsiteY1822" fmla="*/ 569230 h 905809"/>
                <a:gd name="connsiteX1823" fmla="*/ 105748 w 1352046"/>
                <a:gd name="connsiteY1823" fmla="*/ 567922 h 905809"/>
                <a:gd name="connsiteX1824" fmla="*/ 105793 w 1352046"/>
                <a:gd name="connsiteY1824" fmla="*/ 567310 h 905809"/>
                <a:gd name="connsiteX1825" fmla="*/ 106253 w 1352046"/>
                <a:gd name="connsiteY1825" fmla="*/ 566991 h 905809"/>
                <a:gd name="connsiteX1826" fmla="*/ 108771 w 1352046"/>
                <a:gd name="connsiteY1826" fmla="*/ 566669 h 905809"/>
                <a:gd name="connsiteX1827" fmla="*/ 111097 w 1352046"/>
                <a:gd name="connsiteY1827" fmla="*/ 566468 h 905809"/>
                <a:gd name="connsiteX1828" fmla="*/ 112629 w 1352046"/>
                <a:gd name="connsiteY1828" fmla="*/ 566023 h 905809"/>
                <a:gd name="connsiteX1829" fmla="*/ 113422 w 1352046"/>
                <a:gd name="connsiteY1829" fmla="*/ 566974 h 905809"/>
                <a:gd name="connsiteX1830" fmla="*/ 113793 w 1352046"/>
                <a:gd name="connsiteY1830" fmla="*/ 568429 h 905809"/>
                <a:gd name="connsiteX1831" fmla="*/ 114186 w 1352046"/>
                <a:gd name="connsiteY1831" fmla="*/ 569196 h 905809"/>
                <a:gd name="connsiteX1832" fmla="*/ 115659 w 1352046"/>
                <a:gd name="connsiteY1832" fmla="*/ 570576 h 905809"/>
                <a:gd name="connsiteX1833" fmla="*/ 117451 w 1352046"/>
                <a:gd name="connsiteY1833" fmla="*/ 571898 h 905809"/>
                <a:gd name="connsiteX1834" fmla="*/ 119192 w 1352046"/>
                <a:gd name="connsiteY1834" fmla="*/ 571727 h 905809"/>
                <a:gd name="connsiteX1835" fmla="*/ 120725 w 1352046"/>
                <a:gd name="connsiteY1835" fmla="*/ 571161 h 905809"/>
                <a:gd name="connsiteX1836" fmla="*/ 122059 w 1352046"/>
                <a:gd name="connsiteY1836" fmla="*/ 569006 h 905809"/>
                <a:gd name="connsiteX1837" fmla="*/ 123001 w 1352046"/>
                <a:gd name="connsiteY1837" fmla="*/ 568479 h 905809"/>
                <a:gd name="connsiteX1838" fmla="*/ 124094 w 1352046"/>
                <a:gd name="connsiteY1838" fmla="*/ 568384 h 905809"/>
                <a:gd name="connsiteX1839" fmla="*/ 124087 w 1352046"/>
                <a:gd name="connsiteY1839" fmla="*/ 568224 h 905809"/>
                <a:gd name="connsiteX1840" fmla="*/ 124031 w 1352046"/>
                <a:gd name="connsiteY1840" fmla="*/ 566836 h 905809"/>
                <a:gd name="connsiteX1841" fmla="*/ 124416 w 1352046"/>
                <a:gd name="connsiteY1841" fmla="*/ 563411 h 905809"/>
                <a:gd name="connsiteX1842" fmla="*/ 124284 w 1352046"/>
                <a:gd name="connsiteY1842" fmla="*/ 562038 h 905809"/>
                <a:gd name="connsiteX1843" fmla="*/ 123789 w 1352046"/>
                <a:gd name="connsiteY1843" fmla="*/ 560800 h 905809"/>
                <a:gd name="connsiteX1844" fmla="*/ 123878 w 1352046"/>
                <a:gd name="connsiteY1844" fmla="*/ 559424 h 905809"/>
                <a:gd name="connsiteX1845" fmla="*/ 123716 w 1352046"/>
                <a:gd name="connsiteY1845" fmla="*/ 557420 h 905809"/>
                <a:gd name="connsiteX1846" fmla="*/ 122461 w 1352046"/>
                <a:gd name="connsiteY1846" fmla="*/ 556053 h 905809"/>
                <a:gd name="connsiteX1847" fmla="*/ 121645 w 1352046"/>
                <a:gd name="connsiteY1847" fmla="*/ 555529 h 905809"/>
                <a:gd name="connsiteX1848" fmla="*/ 121518 w 1352046"/>
                <a:gd name="connsiteY1848" fmla="*/ 554791 h 905809"/>
                <a:gd name="connsiteX1849" fmla="*/ 121934 w 1352046"/>
                <a:gd name="connsiteY1849" fmla="*/ 553419 h 905809"/>
                <a:gd name="connsiteX1850" fmla="*/ 122232 w 1352046"/>
                <a:gd name="connsiteY1850" fmla="*/ 551842 h 905809"/>
                <a:gd name="connsiteX1851" fmla="*/ 121801 w 1352046"/>
                <a:gd name="connsiteY1851" fmla="*/ 550680 h 905809"/>
                <a:gd name="connsiteX1852" fmla="*/ 121732 w 1352046"/>
                <a:gd name="connsiteY1852" fmla="*/ 550498 h 905809"/>
                <a:gd name="connsiteX1853" fmla="*/ 120714 w 1352046"/>
                <a:gd name="connsiteY1853" fmla="*/ 549902 h 905809"/>
                <a:gd name="connsiteX1854" fmla="*/ 119522 w 1352046"/>
                <a:gd name="connsiteY1854" fmla="*/ 548886 h 905809"/>
                <a:gd name="connsiteX1855" fmla="*/ 118103 w 1352046"/>
                <a:gd name="connsiteY1855" fmla="*/ 547524 h 905809"/>
                <a:gd name="connsiteX1856" fmla="*/ 117402 w 1352046"/>
                <a:gd name="connsiteY1856" fmla="*/ 546528 h 905809"/>
                <a:gd name="connsiteX1857" fmla="*/ 116259 w 1352046"/>
                <a:gd name="connsiteY1857" fmla="*/ 545430 h 905809"/>
                <a:gd name="connsiteX1858" fmla="*/ 114863 w 1352046"/>
                <a:gd name="connsiteY1858" fmla="*/ 543731 h 905809"/>
                <a:gd name="connsiteX1859" fmla="*/ 114599 w 1352046"/>
                <a:gd name="connsiteY1859" fmla="*/ 539997 h 905809"/>
                <a:gd name="connsiteX1860" fmla="*/ 114463 w 1352046"/>
                <a:gd name="connsiteY1860" fmla="*/ 536066 h 905809"/>
                <a:gd name="connsiteX1861" fmla="*/ 113975 w 1352046"/>
                <a:gd name="connsiteY1861" fmla="*/ 534109 h 905809"/>
                <a:gd name="connsiteX1862" fmla="*/ 113200 w 1352046"/>
                <a:gd name="connsiteY1862" fmla="*/ 530983 h 905809"/>
                <a:gd name="connsiteX1863" fmla="*/ 113312 w 1352046"/>
                <a:gd name="connsiteY1863" fmla="*/ 529934 h 905809"/>
                <a:gd name="connsiteX1864" fmla="*/ 113783 w 1352046"/>
                <a:gd name="connsiteY1864" fmla="*/ 529134 h 905809"/>
                <a:gd name="connsiteX1865" fmla="*/ 117735 w 1352046"/>
                <a:gd name="connsiteY1865" fmla="*/ 526614 h 905809"/>
                <a:gd name="connsiteX1866" fmla="*/ 118594 w 1352046"/>
                <a:gd name="connsiteY1866" fmla="*/ 525637 h 905809"/>
                <a:gd name="connsiteX1867" fmla="*/ 118734 w 1352046"/>
                <a:gd name="connsiteY1867" fmla="*/ 524892 h 905809"/>
                <a:gd name="connsiteX1868" fmla="*/ 118583 w 1352046"/>
                <a:gd name="connsiteY1868" fmla="*/ 523783 h 905809"/>
                <a:gd name="connsiteX1869" fmla="*/ 117838 w 1352046"/>
                <a:gd name="connsiteY1869" fmla="*/ 522554 h 905809"/>
                <a:gd name="connsiteX1870" fmla="*/ 116255 w 1352046"/>
                <a:gd name="connsiteY1870" fmla="*/ 521597 h 905809"/>
                <a:gd name="connsiteX1871" fmla="*/ 114005 w 1352046"/>
                <a:gd name="connsiteY1871" fmla="*/ 520037 h 905809"/>
                <a:gd name="connsiteX1872" fmla="*/ 111964 w 1352046"/>
                <a:gd name="connsiteY1872" fmla="*/ 518409 h 905809"/>
                <a:gd name="connsiteX1873" fmla="*/ 108535 w 1352046"/>
                <a:gd name="connsiteY1873" fmla="*/ 517416 h 905809"/>
                <a:gd name="connsiteX1874" fmla="*/ 104361 w 1352046"/>
                <a:gd name="connsiteY1874" fmla="*/ 516206 h 905809"/>
                <a:gd name="connsiteX1875" fmla="*/ 103368 w 1352046"/>
                <a:gd name="connsiteY1875" fmla="*/ 515020 h 905809"/>
                <a:gd name="connsiteX1876" fmla="*/ 102353 w 1352046"/>
                <a:gd name="connsiteY1876" fmla="*/ 512123 h 905809"/>
                <a:gd name="connsiteX1877" fmla="*/ 100636 w 1352046"/>
                <a:gd name="connsiteY1877" fmla="*/ 507704 h 905809"/>
                <a:gd name="connsiteX1878" fmla="*/ 98807 w 1352046"/>
                <a:gd name="connsiteY1878" fmla="*/ 502983 h 905809"/>
                <a:gd name="connsiteX1879" fmla="*/ 97402 w 1352046"/>
                <a:gd name="connsiteY1879" fmla="*/ 500071 h 905809"/>
                <a:gd name="connsiteX1880" fmla="*/ 97335 w 1352046"/>
                <a:gd name="connsiteY1880" fmla="*/ 498668 h 905809"/>
                <a:gd name="connsiteX1881" fmla="*/ 98181 w 1352046"/>
                <a:gd name="connsiteY1881" fmla="*/ 495090 h 905809"/>
                <a:gd name="connsiteX1882" fmla="*/ 98075 w 1352046"/>
                <a:gd name="connsiteY1882" fmla="*/ 494326 h 905809"/>
                <a:gd name="connsiteX1883" fmla="*/ 97341 w 1352046"/>
                <a:gd name="connsiteY1883" fmla="*/ 494064 h 905809"/>
                <a:gd name="connsiteX1884" fmla="*/ 95935 w 1352046"/>
                <a:gd name="connsiteY1884" fmla="*/ 494531 h 905809"/>
                <a:gd name="connsiteX1885" fmla="*/ 94808 w 1352046"/>
                <a:gd name="connsiteY1885" fmla="*/ 495099 h 905809"/>
                <a:gd name="connsiteX1886" fmla="*/ 93849 w 1352046"/>
                <a:gd name="connsiteY1886" fmla="*/ 494804 h 905809"/>
                <a:gd name="connsiteX1887" fmla="*/ 92951 w 1352046"/>
                <a:gd name="connsiteY1887" fmla="*/ 494207 h 905809"/>
                <a:gd name="connsiteX1888" fmla="*/ 92765 w 1352046"/>
                <a:gd name="connsiteY1888" fmla="*/ 494000 h 905809"/>
                <a:gd name="connsiteX1889" fmla="*/ 92696 w 1352046"/>
                <a:gd name="connsiteY1889" fmla="*/ 493921 h 905809"/>
                <a:gd name="connsiteX1890" fmla="*/ 91029 w 1352046"/>
                <a:gd name="connsiteY1890" fmla="*/ 494307 h 905809"/>
                <a:gd name="connsiteX1891" fmla="*/ 87680 w 1352046"/>
                <a:gd name="connsiteY1891" fmla="*/ 494526 h 905809"/>
                <a:gd name="connsiteX1892" fmla="*/ 86518 w 1352046"/>
                <a:gd name="connsiteY1892" fmla="*/ 494486 h 905809"/>
                <a:gd name="connsiteX1893" fmla="*/ 84892 w 1352046"/>
                <a:gd name="connsiteY1893" fmla="*/ 494432 h 905809"/>
                <a:gd name="connsiteX1894" fmla="*/ 81539 w 1352046"/>
                <a:gd name="connsiteY1894" fmla="*/ 493613 h 905809"/>
                <a:gd name="connsiteX1895" fmla="*/ 77011 w 1352046"/>
                <a:gd name="connsiteY1895" fmla="*/ 492510 h 905809"/>
                <a:gd name="connsiteX1896" fmla="*/ 72342 w 1352046"/>
                <a:gd name="connsiteY1896" fmla="*/ 490969 h 905809"/>
                <a:gd name="connsiteX1897" fmla="*/ 69865 w 1352046"/>
                <a:gd name="connsiteY1897" fmla="*/ 489750 h 905809"/>
                <a:gd name="connsiteX1898" fmla="*/ 68995 w 1352046"/>
                <a:gd name="connsiteY1898" fmla="*/ 489324 h 905809"/>
                <a:gd name="connsiteX1899" fmla="*/ 66879 w 1352046"/>
                <a:gd name="connsiteY1899" fmla="*/ 488047 h 905809"/>
                <a:gd name="connsiteX1900" fmla="*/ 65367 w 1352046"/>
                <a:gd name="connsiteY1900" fmla="*/ 486949 h 905809"/>
                <a:gd name="connsiteX1901" fmla="*/ 65097 w 1352046"/>
                <a:gd name="connsiteY1901" fmla="*/ 484074 h 905809"/>
                <a:gd name="connsiteX1902" fmla="*/ 64009 w 1352046"/>
                <a:gd name="connsiteY1902" fmla="*/ 484297 h 905809"/>
                <a:gd name="connsiteX1903" fmla="*/ 61437 w 1352046"/>
                <a:gd name="connsiteY1903" fmla="*/ 485332 h 905809"/>
                <a:gd name="connsiteX1904" fmla="*/ 58472 w 1352046"/>
                <a:gd name="connsiteY1904" fmla="*/ 485993 h 905809"/>
                <a:gd name="connsiteX1905" fmla="*/ 56840 w 1352046"/>
                <a:gd name="connsiteY1905" fmla="*/ 486003 h 905809"/>
                <a:gd name="connsiteX1906" fmla="*/ 56177 w 1352046"/>
                <a:gd name="connsiteY1906" fmla="*/ 485537 h 905809"/>
                <a:gd name="connsiteX1907" fmla="*/ 55192 w 1352046"/>
                <a:gd name="connsiteY1907" fmla="*/ 482507 h 905809"/>
                <a:gd name="connsiteX1908" fmla="*/ 54475 w 1352046"/>
                <a:gd name="connsiteY1908" fmla="*/ 481654 h 905809"/>
                <a:gd name="connsiteX1909" fmla="*/ 53138 w 1352046"/>
                <a:gd name="connsiteY1909" fmla="*/ 481318 h 905809"/>
                <a:gd name="connsiteX1910" fmla="*/ 51694 w 1352046"/>
                <a:gd name="connsiteY1910" fmla="*/ 480782 h 905809"/>
                <a:gd name="connsiteX1911" fmla="*/ 50968 w 1352046"/>
                <a:gd name="connsiteY1911" fmla="*/ 479990 h 905809"/>
                <a:gd name="connsiteX1912" fmla="*/ 50804 w 1352046"/>
                <a:gd name="connsiteY1912" fmla="*/ 478992 h 905809"/>
                <a:gd name="connsiteX1913" fmla="*/ 51450 w 1352046"/>
                <a:gd name="connsiteY1913" fmla="*/ 477844 h 905809"/>
                <a:gd name="connsiteX1914" fmla="*/ 52214 w 1352046"/>
                <a:gd name="connsiteY1914" fmla="*/ 476962 h 905809"/>
                <a:gd name="connsiteX1915" fmla="*/ 52342 w 1352046"/>
                <a:gd name="connsiteY1915" fmla="*/ 471562 h 905809"/>
                <a:gd name="connsiteX1916" fmla="*/ 51843 w 1352046"/>
                <a:gd name="connsiteY1916" fmla="*/ 469646 h 905809"/>
                <a:gd name="connsiteX1917" fmla="*/ 51426 w 1352046"/>
                <a:gd name="connsiteY1917" fmla="*/ 468038 h 905809"/>
                <a:gd name="connsiteX1918" fmla="*/ 50364 w 1352046"/>
                <a:gd name="connsiteY1918" fmla="*/ 466032 h 905809"/>
                <a:gd name="connsiteX1919" fmla="*/ 49375 w 1352046"/>
                <a:gd name="connsiteY1919" fmla="*/ 464790 h 905809"/>
                <a:gd name="connsiteX1920" fmla="*/ 47870 w 1352046"/>
                <a:gd name="connsiteY1920" fmla="*/ 463643 h 905809"/>
                <a:gd name="connsiteX1921" fmla="*/ 45548 w 1352046"/>
                <a:gd name="connsiteY1921" fmla="*/ 462449 h 905809"/>
                <a:gd name="connsiteX1922" fmla="*/ 43482 w 1352046"/>
                <a:gd name="connsiteY1922" fmla="*/ 462009 h 905809"/>
                <a:gd name="connsiteX1923" fmla="*/ 40973 w 1352046"/>
                <a:gd name="connsiteY1923" fmla="*/ 462879 h 905809"/>
                <a:gd name="connsiteX1924" fmla="*/ 40176 w 1352046"/>
                <a:gd name="connsiteY1924" fmla="*/ 462544 h 905809"/>
                <a:gd name="connsiteX1925" fmla="*/ 39128 w 1352046"/>
                <a:gd name="connsiteY1925" fmla="*/ 458851 h 905809"/>
                <a:gd name="connsiteX1926" fmla="*/ 38461 w 1352046"/>
                <a:gd name="connsiteY1926" fmla="*/ 458094 h 905809"/>
                <a:gd name="connsiteX1927" fmla="*/ 34006 w 1352046"/>
                <a:gd name="connsiteY1927" fmla="*/ 456574 h 905809"/>
                <a:gd name="connsiteX1928" fmla="*/ 31987 w 1352046"/>
                <a:gd name="connsiteY1928" fmla="*/ 456221 h 905809"/>
                <a:gd name="connsiteX1929" fmla="*/ 29670 w 1352046"/>
                <a:gd name="connsiteY1929" fmla="*/ 456699 h 905809"/>
                <a:gd name="connsiteX1930" fmla="*/ 28347 w 1352046"/>
                <a:gd name="connsiteY1930" fmla="*/ 457104 h 905809"/>
                <a:gd name="connsiteX1931" fmla="*/ 27284 w 1352046"/>
                <a:gd name="connsiteY1931" fmla="*/ 456426 h 905809"/>
                <a:gd name="connsiteX1932" fmla="*/ 25622 w 1352046"/>
                <a:gd name="connsiteY1932" fmla="*/ 455570 h 905809"/>
                <a:gd name="connsiteX1933" fmla="*/ 23989 w 1352046"/>
                <a:gd name="connsiteY1933" fmla="*/ 454985 h 905809"/>
                <a:gd name="connsiteX1934" fmla="*/ 21963 w 1352046"/>
                <a:gd name="connsiteY1934" fmla="*/ 454961 h 905809"/>
                <a:gd name="connsiteX1935" fmla="*/ 20655 w 1352046"/>
                <a:gd name="connsiteY1935" fmla="*/ 455330 h 905809"/>
                <a:gd name="connsiteX1936" fmla="*/ 20325 w 1352046"/>
                <a:gd name="connsiteY1936" fmla="*/ 455115 h 905809"/>
                <a:gd name="connsiteX1937" fmla="*/ 19694 w 1352046"/>
                <a:gd name="connsiteY1937" fmla="*/ 454439 h 905809"/>
                <a:gd name="connsiteX1938" fmla="*/ 17001 w 1352046"/>
                <a:gd name="connsiteY1938" fmla="*/ 452399 h 905809"/>
                <a:gd name="connsiteX1939" fmla="*/ 16913 w 1352046"/>
                <a:gd name="connsiteY1939" fmla="*/ 451881 h 905809"/>
                <a:gd name="connsiteX1940" fmla="*/ 21044 w 1352046"/>
                <a:gd name="connsiteY1940" fmla="*/ 449871 h 905809"/>
                <a:gd name="connsiteX1941" fmla="*/ 23475 w 1352046"/>
                <a:gd name="connsiteY1941" fmla="*/ 449104 h 905809"/>
                <a:gd name="connsiteX1942" fmla="*/ 24751 w 1352046"/>
                <a:gd name="connsiteY1942" fmla="*/ 448492 h 905809"/>
                <a:gd name="connsiteX1943" fmla="*/ 25024 w 1352046"/>
                <a:gd name="connsiteY1943" fmla="*/ 448622 h 905809"/>
                <a:gd name="connsiteX1944" fmla="*/ 25652 w 1352046"/>
                <a:gd name="connsiteY1944" fmla="*/ 449551 h 905809"/>
                <a:gd name="connsiteX1945" fmla="*/ 27263 w 1352046"/>
                <a:gd name="connsiteY1945" fmla="*/ 450166 h 905809"/>
                <a:gd name="connsiteX1946" fmla="*/ 28392 w 1352046"/>
                <a:gd name="connsiteY1946" fmla="*/ 449998 h 905809"/>
                <a:gd name="connsiteX1947" fmla="*/ 28986 w 1352046"/>
                <a:gd name="connsiteY1947" fmla="*/ 449530 h 905809"/>
                <a:gd name="connsiteX1948" fmla="*/ 30981 w 1352046"/>
                <a:gd name="connsiteY1948" fmla="*/ 448420 h 905809"/>
                <a:gd name="connsiteX1949" fmla="*/ 32542 w 1352046"/>
                <a:gd name="connsiteY1949" fmla="*/ 447133 h 905809"/>
                <a:gd name="connsiteX1950" fmla="*/ 33421 w 1352046"/>
                <a:gd name="connsiteY1950" fmla="*/ 446070 h 905809"/>
                <a:gd name="connsiteX1951" fmla="*/ 32950 w 1352046"/>
                <a:gd name="connsiteY1951" fmla="*/ 444397 h 905809"/>
                <a:gd name="connsiteX1952" fmla="*/ 30495 w 1352046"/>
                <a:gd name="connsiteY1952" fmla="*/ 442378 h 905809"/>
                <a:gd name="connsiteX1953" fmla="*/ 28934 w 1352046"/>
                <a:gd name="connsiteY1953" fmla="*/ 441294 h 905809"/>
                <a:gd name="connsiteX1954" fmla="*/ 28457 w 1352046"/>
                <a:gd name="connsiteY1954" fmla="*/ 440563 h 905809"/>
                <a:gd name="connsiteX1955" fmla="*/ 28856 w 1352046"/>
                <a:gd name="connsiteY1955" fmla="*/ 438367 h 905809"/>
                <a:gd name="connsiteX1956" fmla="*/ 29431 w 1352046"/>
                <a:gd name="connsiteY1956" fmla="*/ 436188 h 905809"/>
                <a:gd name="connsiteX1957" fmla="*/ 29055 w 1352046"/>
                <a:gd name="connsiteY1957" fmla="*/ 435357 h 905809"/>
                <a:gd name="connsiteX1958" fmla="*/ 28590 w 1352046"/>
                <a:gd name="connsiteY1958" fmla="*/ 434647 h 905809"/>
                <a:gd name="connsiteX1959" fmla="*/ 28381 w 1352046"/>
                <a:gd name="connsiteY1959" fmla="*/ 432263 h 905809"/>
                <a:gd name="connsiteX1960" fmla="*/ 27312 w 1352046"/>
                <a:gd name="connsiteY1960" fmla="*/ 429384 h 905809"/>
                <a:gd name="connsiteX1961" fmla="*/ 26144 w 1352046"/>
                <a:gd name="connsiteY1961" fmla="*/ 427703 h 905809"/>
                <a:gd name="connsiteX1962" fmla="*/ 25822 w 1352046"/>
                <a:gd name="connsiteY1962" fmla="*/ 425438 h 905809"/>
                <a:gd name="connsiteX1963" fmla="*/ 25755 w 1352046"/>
                <a:gd name="connsiteY1963" fmla="*/ 423309 h 905809"/>
                <a:gd name="connsiteX1964" fmla="*/ 27168 w 1352046"/>
                <a:gd name="connsiteY1964" fmla="*/ 419979 h 905809"/>
                <a:gd name="connsiteX1965" fmla="*/ 26645 w 1352046"/>
                <a:gd name="connsiteY1965" fmla="*/ 418538 h 905809"/>
                <a:gd name="connsiteX1966" fmla="*/ 25157 w 1352046"/>
                <a:gd name="connsiteY1966" fmla="*/ 417258 h 905809"/>
                <a:gd name="connsiteX1967" fmla="*/ 20050 w 1352046"/>
                <a:gd name="connsiteY1967" fmla="*/ 414941 h 905809"/>
                <a:gd name="connsiteX1968" fmla="*/ 14818 w 1352046"/>
                <a:gd name="connsiteY1968" fmla="*/ 413400 h 905809"/>
                <a:gd name="connsiteX1969" fmla="*/ 12825 w 1352046"/>
                <a:gd name="connsiteY1969" fmla="*/ 413459 h 905809"/>
                <a:gd name="connsiteX1970" fmla="*/ 11588 w 1352046"/>
                <a:gd name="connsiteY1970" fmla="*/ 413364 h 905809"/>
                <a:gd name="connsiteX1971" fmla="*/ 10128 w 1352046"/>
                <a:gd name="connsiteY1971" fmla="*/ 414722 h 905809"/>
                <a:gd name="connsiteX1972" fmla="*/ 9249 w 1352046"/>
                <a:gd name="connsiteY1972" fmla="*/ 416490 h 905809"/>
                <a:gd name="connsiteX1973" fmla="*/ 8020 w 1352046"/>
                <a:gd name="connsiteY1973" fmla="*/ 416649 h 905809"/>
                <a:gd name="connsiteX1974" fmla="*/ 5789 w 1352046"/>
                <a:gd name="connsiteY1974" fmla="*/ 415897 h 905809"/>
                <a:gd name="connsiteX1975" fmla="*/ 4297 w 1352046"/>
                <a:gd name="connsiteY1975" fmla="*/ 414763 h 905809"/>
                <a:gd name="connsiteX1976" fmla="*/ 3246 w 1352046"/>
                <a:gd name="connsiteY1976" fmla="*/ 412391 h 905809"/>
                <a:gd name="connsiteX1977" fmla="*/ 2421 w 1352046"/>
                <a:gd name="connsiteY1977" fmla="*/ 409339 h 905809"/>
                <a:gd name="connsiteX1978" fmla="*/ 1963 w 1352046"/>
                <a:gd name="connsiteY1978" fmla="*/ 408382 h 905809"/>
                <a:gd name="connsiteX1979" fmla="*/ 2200 w 1352046"/>
                <a:gd name="connsiteY1979" fmla="*/ 407557 h 905809"/>
                <a:gd name="connsiteX1980" fmla="*/ 2712 w 1352046"/>
                <a:gd name="connsiteY1980" fmla="*/ 406822 h 905809"/>
                <a:gd name="connsiteX1981" fmla="*/ 4140 w 1352046"/>
                <a:gd name="connsiteY1981" fmla="*/ 406135 h 905809"/>
                <a:gd name="connsiteX1982" fmla="*/ 4377 w 1352046"/>
                <a:gd name="connsiteY1982" fmla="*/ 405428 h 905809"/>
                <a:gd name="connsiteX1983" fmla="*/ 4164 w 1352046"/>
                <a:gd name="connsiteY1983" fmla="*/ 404562 h 905809"/>
                <a:gd name="connsiteX1984" fmla="*/ 3017 w 1352046"/>
                <a:gd name="connsiteY1984" fmla="*/ 403466 h 905809"/>
                <a:gd name="connsiteX1985" fmla="*/ 1838 w 1352046"/>
                <a:gd name="connsiteY1985" fmla="*/ 401914 h 905809"/>
                <a:gd name="connsiteX1986" fmla="*/ 0 w 1352046"/>
                <a:gd name="connsiteY1986" fmla="*/ 398687 h 905809"/>
                <a:gd name="connsiteX1987" fmla="*/ 350 w 1352046"/>
                <a:gd name="connsiteY1987" fmla="*/ 396908 h 905809"/>
                <a:gd name="connsiteX1988" fmla="*/ 642 w 1352046"/>
                <a:gd name="connsiteY1988" fmla="*/ 394346 h 905809"/>
                <a:gd name="connsiteX1989" fmla="*/ 538 w 1352046"/>
                <a:gd name="connsiteY1989" fmla="*/ 392992 h 905809"/>
                <a:gd name="connsiteX1990" fmla="*/ 2397 w 1352046"/>
                <a:gd name="connsiteY1990" fmla="*/ 392644 h 905809"/>
                <a:gd name="connsiteX1991" fmla="*/ 4768 w 1352046"/>
                <a:gd name="connsiteY1991" fmla="*/ 391951 h 905809"/>
                <a:gd name="connsiteX1992" fmla="*/ 5870 w 1352046"/>
                <a:gd name="connsiteY1992" fmla="*/ 390800 h 905809"/>
                <a:gd name="connsiteX1993" fmla="*/ 6630 w 1352046"/>
                <a:gd name="connsiteY1993" fmla="*/ 389625 h 905809"/>
                <a:gd name="connsiteX1994" fmla="*/ 6796 w 1352046"/>
                <a:gd name="connsiteY1994" fmla="*/ 388898 h 905809"/>
                <a:gd name="connsiteX1995" fmla="*/ 6086 w 1352046"/>
                <a:gd name="connsiteY1995" fmla="*/ 386089 h 905809"/>
                <a:gd name="connsiteX1996" fmla="*/ 5140 w 1352046"/>
                <a:gd name="connsiteY1996" fmla="*/ 384833 h 905809"/>
                <a:gd name="connsiteX1997" fmla="*/ 5043 w 1352046"/>
                <a:gd name="connsiteY1997" fmla="*/ 383862 h 905809"/>
                <a:gd name="connsiteX1998" fmla="*/ 5505 w 1352046"/>
                <a:gd name="connsiteY1998" fmla="*/ 383120 h 905809"/>
                <a:gd name="connsiteX1999" fmla="*/ 6131 w 1352046"/>
                <a:gd name="connsiteY1999" fmla="*/ 381837 h 905809"/>
                <a:gd name="connsiteX2000" fmla="*/ 7329 w 1352046"/>
                <a:gd name="connsiteY2000" fmla="*/ 379208 h 905809"/>
                <a:gd name="connsiteX2001" fmla="*/ 8497 w 1352046"/>
                <a:gd name="connsiteY2001" fmla="*/ 377532 h 905809"/>
                <a:gd name="connsiteX2002" fmla="*/ 9137 w 1352046"/>
                <a:gd name="connsiteY2002" fmla="*/ 377107 h 905809"/>
                <a:gd name="connsiteX2003" fmla="*/ 10566 w 1352046"/>
                <a:gd name="connsiteY2003" fmla="*/ 376717 h 905809"/>
                <a:gd name="connsiteX2004" fmla="*/ 14049 w 1352046"/>
                <a:gd name="connsiteY2004" fmla="*/ 376255 h 905809"/>
                <a:gd name="connsiteX2005" fmla="*/ 17791 w 1352046"/>
                <a:gd name="connsiteY2005" fmla="*/ 375076 h 905809"/>
                <a:gd name="connsiteX2006" fmla="*/ 22240 w 1352046"/>
                <a:gd name="connsiteY2006" fmla="*/ 371551 h 905809"/>
                <a:gd name="connsiteX2007" fmla="*/ 23717 w 1352046"/>
                <a:gd name="connsiteY2007" fmla="*/ 370546 h 905809"/>
                <a:gd name="connsiteX2008" fmla="*/ 25660 w 1352046"/>
                <a:gd name="connsiteY2008" fmla="*/ 370042 h 905809"/>
                <a:gd name="connsiteX2009" fmla="*/ 27047 w 1352046"/>
                <a:gd name="connsiteY2009" fmla="*/ 370078 h 905809"/>
                <a:gd name="connsiteX2010" fmla="*/ 27297 w 1352046"/>
                <a:gd name="connsiteY2010" fmla="*/ 369647 h 905809"/>
                <a:gd name="connsiteX2011" fmla="*/ 26401 w 1352046"/>
                <a:gd name="connsiteY2011" fmla="*/ 367462 h 905809"/>
                <a:gd name="connsiteX2012" fmla="*/ 26619 w 1352046"/>
                <a:gd name="connsiteY2012" fmla="*/ 366669 h 905809"/>
                <a:gd name="connsiteX2013" fmla="*/ 27150 w 1352046"/>
                <a:gd name="connsiteY2013" fmla="*/ 366046 h 905809"/>
                <a:gd name="connsiteX2014" fmla="*/ 27824 w 1352046"/>
                <a:gd name="connsiteY2014" fmla="*/ 365760 h 905809"/>
                <a:gd name="connsiteX2015" fmla="*/ 30894 w 1352046"/>
                <a:gd name="connsiteY2015" fmla="*/ 366912 h 905809"/>
                <a:gd name="connsiteX2016" fmla="*/ 33257 w 1352046"/>
                <a:gd name="connsiteY2016" fmla="*/ 366792 h 905809"/>
                <a:gd name="connsiteX2017" fmla="*/ 36125 w 1352046"/>
                <a:gd name="connsiteY2017" fmla="*/ 366107 h 905809"/>
                <a:gd name="connsiteX2018" fmla="*/ 42311 w 1352046"/>
                <a:gd name="connsiteY2018" fmla="*/ 362248 h 905809"/>
                <a:gd name="connsiteX2019" fmla="*/ 43080 w 1352046"/>
                <a:gd name="connsiteY2019" fmla="*/ 362310 h 905809"/>
                <a:gd name="connsiteX2020" fmla="*/ 43698 w 1352046"/>
                <a:gd name="connsiteY2020" fmla="*/ 362831 h 905809"/>
                <a:gd name="connsiteX2021" fmla="*/ 44447 w 1352046"/>
                <a:gd name="connsiteY2021" fmla="*/ 365155 h 905809"/>
                <a:gd name="connsiteX2022" fmla="*/ 45300 w 1352046"/>
                <a:gd name="connsiteY2022" fmla="*/ 370059 h 905809"/>
                <a:gd name="connsiteX2023" fmla="*/ 45768 w 1352046"/>
                <a:gd name="connsiteY2023" fmla="*/ 370672 h 905809"/>
                <a:gd name="connsiteX2024" fmla="*/ 50076 w 1352046"/>
                <a:gd name="connsiteY2024" fmla="*/ 370739 h 905809"/>
                <a:gd name="connsiteX2025" fmla="*/ 53002 w 1352046"/>
                <a:gd name="connsiteY2025" fmla="*/ 368955 h 905809"/>
                <a:gd name="connsiteX2026" fmla="*/ 54285 w 1352046"/>
                <a:gd name="connsiteY2026" fmla="*/ 368534 h 905809"/>
                <a:gd name="connsiteX2027" fmla="*/ 56371 w 1352046"/>
                <a:gd name="connsiteY2027" fmla="*/ 368824 h 905809"/>
                <a:gd name="connsiteX2028" fmla="*/ 57464 w 1352046"/>
                <a:gd name="connsiteY2028" fmla="*/ 367988 h 905809"/>
                <a:gd name="connsiteX2029" fmla="*/ 58619 w 1352046"/>
                <a:gd name="connsiteY2029" fmla="*/ 367403 h 905809"/>
                <a:gd name="connsiteX2030" fmla="*/ 59952 w 1352046"/>
                <a:gd name="connsiteY2030" fmla="*/ 369457 h 905809"/>
                <a:gd name="connsiteX2031" fmla="*/ 61672 w 1352046"/>
                <a:gd name="connsiteY2031" fmla="*/ 368475 h 905809"/>
                <a:gd name="connsiteX2032" fmla="*/ 63525 w 1352046"/>
                <a:gd name="connsiteY2032" fmla="*/ 366912 h 905809"/>
                <a:gd name="connsiteX2033" fmla="*/ 64425 w 1352046"/>
                <a:gd name="connsiteY2033" fmla="*/ 365296 h 905809"/>
                <a:gd name="connsiteX2034" fmla="*/ 65687 w 1352046"/>
                <a:gd name="connsiteY2034" fmla="*/ 363550 h 905809"/>
                <a:gd name="connsiteX2035" fmla="*/ 66665 w 1352046"/>
                <a:gd name="connsiteY2035" fmla="*/ 361335 h 905809"/>
                <a:gd name="connsiteX2036" fmla="*/ 67056 w 1352046"/>
                <a:gd name="connsiteY2036" fmla="*/ 359239 h 905809"/>
                <a:gd name="connsiteX2037" fmla="*/ 67526 w 1352046"/>
                <a:gd name="connsiteY2037" fmla="*/ 358258 h 905809"/>
                <a:gd name="connsiteX2038" fmla="*/ 68572 w 1352046"/>
                <a:gd name="connsiteY2038" fmla="*/ 357247 h 905809"/>
                <a:gd name="connsiteX2039" fmla="*/ 71128 w 1352046"/>
                <a:gd name="connsiteY2039" fmla="*/ 352932 h 905809"/>
                <a:gd name="connsiteX2040" fmla="*/ 72979 w 1352046"/>
                <a:gd name="connsiteY2040" fmla="*/ 351830 h 905809"/>
                <a:gd name="connsiteX2041" fmla="*/ 74724 w 1352046"/>
                <a:gd name="connsiteY2041" fmla="*/ 351436 h 905809"/>
                <a:gd name="connsiteX2042" fmla="*/ 79045 w 1352046"/>
                <a:gd name="connsiteY2042" fmla="*/ 352184 h 905809"/>
                <a:gd name="connsiteX2043" fmla="*/ 81299 w 1352046"/>
                <a:gd name="connsiteY2043" fmla="*/ 352089 h 905809"/>
                <a:gd name="connsiteX2044" fmla="*/ 87883 w 1352046"/>
                <a:gd name="connsiteY2044" fmla="*/ 352656 h 905809"/>
                <a:gd name="connsiteX2045" fmla="*/ 90926 w 1352046"/>
                <a:gd name="connsiteY2045" fmla="*/ 351827 h 905809"/>
                <a:gd name="connsiteX2046" fmla="*/ 93046 w 1352046"/>
                <a:gd name="connsiteY2046" fmla="*/ 351003 h 905809"/>
                <a:gd name="connsiteX2047" fmla="*/ 96168 w 1352046"/>
                <a:gd name="connsiteY2047" fmla="*/ 351133 h 905809"/>
                <a:gd name="connsiteX2048" fmla="*/ 99861 w 1352046"/>
                <a:gd name="connsiteY2048" fmla="*/ 350476 h 905809"/>
                <a:gd name="connsiteX2049" fmla="*/ 104789 w 1352046"/>
                <a:gd name="connsiteY2049" fmla="*/ 345053 h 905809"/>
                <a:gd name="connsiteX2050" fmla="*/ 104845 w 1352046"/>
                <a:gd name="connsiteY2050" fmla="*/ 343899 h 905809"/>
                <a:gd name="connsiteX2051" fmla="*/ 105145 w 1352046"/>
                <a:gd name="connsiteY2051" fmla="*/ 342674 h 905809"/>
                <a:gd name="connsiteX2052" fmla="*/ 106924 w 1352046"/>
                <a:gd name="connsiteY2052" fmla="*/ 341462 h 905809"/>
                <a:gd name="connsiteX2053" fmla="*/ 109142 w 1352046"/>
                <a:gd name="connsiteY2053" fmla="*/ 340352 h 905809"/>
                <a:gd name="connsiteX2054" fmla="*/ 113551 w 1352046"/>
                <a:gd name="connsiteY2054" fmla="*/ 337696 h 905809"/>
                <a:gd name="connsiteX2055" fmla="*/ 122526 w 1352046"/>
                <a:gd name="connsiteY2055" fmla="*/ 333487 h 905809"/>
                <a:gd name="connsiteX2056" fmla="*/ 125735 w 1352046"/>
                <a:gd name="connsiteY2056" fmla="*/ 331800 h 905809"/>
                <a:gd name="connsiteX2057" fmla="*/ 127080 w 1352046"/>
                <a:gd name="connsiteY2057" fmla="*/ 331847 h 905809"/>
                <a:gd name="connsiteX2058" fmla="*/ 130386 w 1352046"/>
                <a:gd name="connsiteY2058" fmla="*/ 330788 h 905809"/>
                <a:gd name="connsiteX2059" fmla="*/ 136184 w 1352046"/>
                <a:gd name="connsiteY2059" fmla="*/ 328724 h 905809"/>
                <a:gd name="connsiteX2060" fmla="*/ 137827 w 1352046"/>
                <a:gd name="connsiteY2060" fmla="*/ 326153 h 905809"/>
                <a:gd name="connsiteX2061" fmla="*/ 139358 w 1352046"/>
                <a:gd name="connsiteY2061" fmla="*/ 325642 h 905809"/>
                <a:gd name="connsiteX2062" fmla="*/ 146137 w 1352046"/>
                <a:gd name="connsiteY2062" fmla="*/ 325179 h 905809"/>
                <a:gd name="connsiteX2063" fmla="*/ 146556 w 1352046"/>
                <a:gd name="connsiteY2063" fmla="*/ 324886 h 905809"/>
                <a:gd name="connsiteX2064" fmla="*/ 146800 w 1352046"/>
                <a:gd name="connsiteY2064" fmla="*/ 324452 h 905809"/>
                <a:gd name="connsiteX2065" fmla="*/ 146424 w 1352046"/>
                <a:gd name="connsiteY2065" fmla="*/ 322592 h 905809"/>
                <a:gd name="connsiteX2066" fmla="*/ 145986 w 1352046"/>
                <a:gd name="connsiteY2066" fmla="*/ 320991 h 905809"/>
                <a:gd name="connsiteX2067" fmla="*/ 146508 w 1352046"/>
                <a:gd name="connsiteY2067" fmla="*/ 320518 h 905809"/>
                <a:gd name="connsiteX2068" fmla="*/ 147085 w 1352046"/>
                <a:gd name="connsiteY2068" fmla="*/ 319784 h 905809"/>
                <a:gd name="connsiteX2069" fmla="*/ 146996 w 1352046"/>
                <a:gd name="connsiteY2069" fmla="*/ 318752 h 905809"/>
                <a:gd name="connsiteX2070" fmla="*/ 145906 w 1352046"/>
                <a:gd name="connsiteY2070" fmla="*/ 315417 h 905809"/>
                <a:gd name="connsiteX2071" fmla="*/ 145320 w 1352046"/>
                <a:gd name="connsiteY2071" fmla="*/ 312246 h 905809"/>
                <a:gd name="connsiteX2072" fmla="*/ 144936 w 1352046"/>
                <a:gd name="connsiteY2072" fmla="*/ 309385 h 905809"/>
                <a:gd name="connsiteX2073" fmla="*/ 145005 w 1352046"/>
                <a:gd name="connsiteY2073" fmla="*/ 308317 h 905809"/>
                <a:gd name="connsiteX2074" fmla="*/ 145828 w 1352046"/>
                <a:gd name="connsiteY2074" fmla="*/ 306475 h 905809"/>
                <a:gd name="connsiteX2075" fmla="*/ 146890 w 1352046"/>
                <a:gd name="connsiteY2075" fmla="*/ 304796 h 905809"/>
                <a:gd name="connsiteX2076" fmla="*/ 150732 w 1352046"/>
                <a:gd name="connsiteY2076" fmla="*/ 303231 h 905809"/>
                <a:gd name="connsiteX2077" fmla="*/ 153273 w 1352046"/>
                <a:gd name="connsiteY2077" fmla="*/ 302756 h 905809"/>
                <a:gd name="connsiteX2078" fmla="*/ 153379 w 1352046"/>
                <a:gd name="connsiteY2078" fmla="*/ 301733 h 905809"/>
                <a:gd name="connsiteX2079" fmla="*/ 151321 w 1352046"/>
                <a:gd name="connsiteY2079" fmla="*/ 301094 h 905809"/>
                <a:gd name="connsiteX2080" fmla="*/ 149834 w 1352046"/>
                <a:gd name="connsiteY2080" fmla="*/ 300070 h 905809"/>
                <a:gd name="connsiteX2081" fmla="*/ 149566 w 1352046"/>
                <a:gd name="connsiteY2081" fmla="*/ 299486 h 905809"/>
                <a:gd name="connsiteX2082" fmla="*/ 149637 w 1352046"/>
                <a:gd name="connsiteY2082" fmla="*/ 298821 h 905809"/>
                <a:gd name="connsiteX2083" fmla="*/ 149985 w 1352046"/>
                <a:gd name="connsiteY2083" fmla="*/ 298212 h 905809"/>
                <a:gd name="connsiteX2084" fmla="*/ 152568 w 1352046"/>
                <a:gd name="connsiteY2084" fmla="*/ 297068 h 905809"/>
                <a:gd name="connsiteX2085" fmla="*/ 154999 w 1352046"/>
                <a:gd name="connsiteY2085" fmla="*/ 295928 h 905809"/>
                <a:gd name="connsiteX2086" fmla="*/ 157966 w 1352046"/>
                <a:gd name="connsiteY2086" fmla="*/ 296620 h 905809"/>
                <a:gd name="connsiteX2087" fmla="*/ 158553 w 1352046"/>
                <a:gd name="connsiteY2087" fmla="*/ 296178 h 905809"/>
                <a:gd name="connsiteX2088" fmla="*/ 158730 w 1352046"/>
                <a:gd name="connsiteY2088" fmla="*/ 295035 h 905809"/>
                <a:gd name="connsiteX2089" fmla="*/ 158096 w 1352046"/>
                <a:gd name="connsiteY2089" fmla="*/ 293886 h 905809"/>
                <a:gd name="connsiteX2090" fmla="*/ 157493 w 1352046"/>
                <a:gd name="connsiteY2090" fmla="*/ 292008 h 905809"/>
                <a:gd name="connsiteX2091" fmla="*/ 156122 w 1352046"/>
                <a:gd name="connsiteY2091" fmla="*/ 291046 h 905809"/>
                <a:gd name="connsiteX2092" fmla="*/ 156070 w 1352046"/>
                <a:gd name="connsiteY2092" fmla="*/ 289892 h 905809"/>
                <a:gd name="connsiteX2093" fmla="*/ 156919 w 1352046"/>
                <a:gd name="connsiteY2093" fmla="*/ 287900 h 905809"/>
                <a:gd name="connsiteX2094" fmla="*/ 155746 w 1352046"/>
                <a:gd name="connsiteY2094" fmla="*/ 284208 h 905809"/>
                <a:gd name="connsiteX2095" fmla="*/ 154478 w 1352046"/>
                <a:gd name="connsiteY2095" fmla="*/ 280947 h 905809"/>
                <a:gd name="connsiteX2096" fmla="*/ 152323 w 1352046"/>
                <a:gd name="connsiteY2096" fmla="*/ 275358 h 905809"/>
                <a:gd name="connsiteX2097" fmla="*/ 150898 w 1352046"/>
                <a:gd name="connsiteY2097" fmla="*/ 273744 h 905809"/>
                <a:gd name="connsiteX2098" fmla="*/ 150108 w 1352046"/>
                <a:gd name="connsiteY2098" fmla="*/ 271163 h 905809"/>
                <a:gd name="connsiteX2099" fmla="*/ 149212 w 1352046"/>
                <a:gd name="connsiteY2099" fmla="*/ 269806 h 905809"/>
                <a:gd name="connsiteX2100" fmla="*/ 149294 w 1352046"/>
                <a:gd name="connsiteY2100" fmla="*/ 267800 h 905809"/>
                <a:gd name="connsiteX2101" fmla="*/ 149434 w 1352046"/>
                <a:gd name="connsiteY2101" fmla="*/ 266390 h 905809"/>
                <a:gd name="connsiteX2102" fmla="*/ 149203 w 1352046"/>
                <a:gd name="connsiteY2102" fmla="*/ 263589 h 905809"/>
                <a:gd name="connsiteX2103" fmla="*/ 148793 w 1352046"/>
                <a:gd name="connsiteY2103" fmla="*/ 260551 h 905809"/>
                <a:gd name="connsiteX2104" fmla="*/ 149207 w 1352046"/>
                <a:gd name="connsiteY2104" fmla="*/ 257461 h 905809"/>
                <a:gd name="connsiteX2105" fmla="*/ 150002 w 1352046"/>
                <a:gd name="connsiteY2105" fmla="*/ 255425 h 905809"/>
                <a:gd name="connsiteX2106" fmla="*/ 149790 w 1352046"/>
                <a:gd name="connsiteY2106" fmla="*/ 254646 h 905809"/>
                <a:gd name="connsiteX2107" fmla="*/ 150214 w 1352046"/>
                <a:gd name="connsiteY2107" fmla="*/ 254060 h 905809"/>
                <a:gd name="connsiteX2108" fmla="*/ 151427 w 1352046"/>
                <a:gd name="connsiteY2108" fmla="*/ 253865 h 905809"/>
                <a:gd name="connsiteX2109" fmla="*/ 152004 w 1352046"/>
                <a:gd name="connsiteY2109" fmla="*/ 253032 h 905809"/>
                <a:gd name="connsiteX2110" fmla="*/ 151427 w 1352046"/>
                <a:gd name="connsiteY2110" fmla="*/ 252175 h 905809"/>
                <a:gd name="connsiteX2111" fmla="*/ 149335 w 1352046"/>
                <a:gd name="connsiteY2111" fmla="*/ 251515 h 905809"/>
                <a:gd name="connsiteX2112" fmla="*/ 146996 w 1352046"/>
                <a:gd name="connsiteY2112" fmla="*/ 250484 h 905809"/>
                <a:gd name="connsiteX2113" fmla="*/ 144183 w 1352046"/>
                <a:gd name="connsiteY2113" fmla="*/ 250602 h 905809"/>
                <a:gd name="connsiteX2114" fmla="*/ 141293 w 1352046"/>
                <a:gd name="connsiteY2114" fmla="*/ 250781 h 905809"/>
                <a:gd name="connsiteX2115" fmla="*/ 139855 w 1352046"/>
                <a:gd name="connsiteY2115" fmla="*/ 250018 h 905809"/>
                <a:gd name="connsiteX2116" fmla="*/ 138598 w 1352046"/>
                <a:gd name="connsiteY2116" fmla="*/ 249045 h 905809"/>
                <a:gd name="connsiteX2117" fmla="*/ 138523 w 1352046"/>
                <a:gd name="connsiteY2117" fmla="*/ 248418 h 905809"/>
                <a:gd name="connsiteX2118" fmla="*/ 140254 w 1352046"/>
                <a:gd name="connsiteY2118" fmla="*/ 246771 h 905809"/>
                <a:gd name="connsiteX2119" fmla="*/ 142664 w 1352046"/>
                <a:gd name="connsiteY2119" fmla="*/ 245068 h 905809"/>
                <a:gd name="connsiteX2120" fmla="*/ 146403 w 1352046"/>
                <a:gd name="connsiteY2120" fmla="*/ 244315 h 905809"/>
                <a:gd name="connsiteX2121" fmla="*/ 150531 w 1352046"/>
                <a:gd name="connsiteY2121" fmla="*/ 243191 h 905809"/>
                <a:gd name="connsiteX2122" fmla="*/ 152615 w 1352046"/>
                <a:gd name="connsiteY2122" fmla="*/ 242373 h 905809"/>
                <a:gd name="connsiteX2123" fmla="*/ 155392 w 1352046"/>
                <a:gd name="connsiteY2123" fmla="*/ 241784 h 905809"/>
                <a:gd name="connsiteX2124" fmla="*/ 158605 w 1352046"/>
                <a:gd name="connsiteY2124" fmla="*/ 241536 h 905809"/>
                <a:gd name="connsiteX2125" fmla="*/ 160225 w 1352046"/>
                <a:gd name="connsiteY2125" fmla="*/ 241708 h 905809"/>
                <a:gd name="connsiteX2126" fmla="*/ 164360 w 1352046"/>
                <a:gd name="connsiteY2126" fmla="*/ 240617 h 905809"/>
                <a:gd name="connsiteX2127" fmla="*/ 170870 w 1352046"/>
                <a:gd name="connsiteY2127" fmla="*/ 238506 h 905809"/>
                <a:gd name="connsiteX2128" fmla="*/ 176781 w 1352046"/>
                <a:gd name="connsiteY2128" fmla="*/ 236734 h 905809"/>
                <a:gd name="connsiteX2129" fmla="*/ 178770 w 1352046"/>
                <a:gd name="connsiteY2129" fmla="*/ 235678 h 905809"/>
                <a:gd name="connsiteX2130" fmla="*/ 180249 w 1352046"/>
                <a:gd name="connsiteY2130" fmla="*/ 236734 h 905809"/>
                <a:gd name="connsiteX2131" fmla="*/ 180929 w 1352046"/>
                <a:gd name="connsiteY2131" fmla="*/ 239059 h 905809"/>
                <a:gd name="connsiteX2132" fmla="*/ 182650 w 1352046"/>
                <a:gd name="connsiteY2132" fmla="*/ 240263 h 905809"/>
                <a:gd name="connsiteX2133" fmla="*/ 184362 w 1352046"/>
                <a:gd name="connsiteY2133" fmla="*/ 240844 h 905809"/>
                <a:gd name="connsiteX2134" fmla="*/ 185342 w 1352046"/>
                <a:gd name="connsiteY2134" fmla="*/ 240816 h 905809"/>
                <a:gd name="connsiteX2135" fmla="*/ 188295 w 1352046"/>
                <a:gd name="connsiteY2135" fmla="*/ 239913 h 905809"/>
                <a:gd name="connsiteX2136" fmla="*/ 191475 w 1352046"/>
                <a:gd name="connsiteY2136" fmla="*/ 239249 h 905809"/>
                <a:gd name="connsiteX2137" fmla="*/ 192732 w 1352046"/>
                <a:gd name="connsiteY2137" fmla="*/ 239611 h 905809"/>
                <a:gd name="connsiteX2138" fmla="*/ 194352 w 1352046"/>
                <a:gd name="connsiteY2138" fmla="*/ 240800 h 905809"/>
                <a:gd name="connsiteX2139" fmla="*/ 196165 w 1352046"/>
                <a:gd name="connsiteY2139" fmla="*/ 241864 h 905809"/>
                <a:gd name="connsiteX2140" fmla="*/ 197111 w 1352046"/>
                <a:gd name="connsiteY2140" fmla="*/ 241812 h 905809"/>
                <a:gd name="connsiteX2141" fmla="*/ 197940 w 1352046"/>
                <a:gd name="connsiteY2141" fmla="*/ 240993 h 905809"/>
                <a:gd name="connsiteX2142" fmla="*/ 198780 w 1352046"/>
                <a:gd name="connsiteY2142" fmla="*/ 239335 h 905809"/>
                <a:gd name="connsiteX2143" fmla="*/ 199314 w 1352046"/>
                <a:gd name="connsiteY2143" fmla="*/ 237220 h 905809"/>
                <a:gd name="connsiteX2144" fmla="*/ 199417 w 1352046"/>
                <a:gd name="connsiteY2144" fmla="*/ 234991 h 905809"/>
                <a:gd name="connsiteX2145" fmla="*/ 199104 w 1352046"/>
                <a:gd name="connsiteY2145" fmla="*/ 233623 h 905809"/>
                <a:gd name="connsiteX2146" fmla="*/ 198461 w 1352046"/>
                <a:gd name="connsiteY2146" fmla="*/ 233120 h 905809"/>
                <a:gd name="connsiteX2147" fmla="*/ 195567 w 1352046"/>
                <a:gd name="connsiteY2147" fmla="*/ 232313 h 905809"/>
                <a:gd name="connsiteX2148" fmla="*/ 192803 w 1352046"/>
                <a:gd name="connsiteY2148" fmla="*/ 230996 h 905809"/>
                <a:gd name="connsiteX2149" fmla="*/ 192483 w 1352046"/>
                <a:gd name="connsiteY2149" fmla="*/ 229792 h 905809"/>
                <a:gd name="connsiteX2150" fmla="*/ 192551 w 1352046"/>
                <a:gd name="connsiteY2150" fmla="*/ 228934 h 905809"/>
                <a:gd name="connsiteX2151" fmla="*/ 193278 w 1352046"/>
                <a:gd name="connsiteY2151" fmla="*/ 226827 h 905809"/>
                <a:gd name="connsiteX2152" fmla="*/ 195081 w 1352046"/>
                <a:gd name="connsiteY2152" fmla="*/ 222960 h 905809"/>
                <a:gd name="connsiteX2153" fmla="*/ 196895 w 1352046"/>
                <a:gd name="connsiteY2153" fmla="*/ 217611 h 905809"/>
                <a:gd name="connsiteX2154" fmla="*/ 197854 w 1352046"/>
                <a:gd name="connsiteY2154" fmla="*/ 213385 h 905809"/>
                <a:gd name="connsiteX2155" fmla="*/ 200886 w 1352046"/>
                <a:gd name="connsiteY2155" fmla="*/ 207072 h 905809"/>
                <a:gd name="connsiteX2156" fmla="*/ 203270 w 1352046"/>
                <a:gd name="connsiteY2156" fmla="*/ 200470 h 905809"/>
                <a:gd name="connsiteX2157" fmla="*/ 207137 w 1352046"/>
                <a:gd name="connsiteY2157" fmla="*/ 190959 h 905809"/>
                <a:gd name="connsiteX2158" fmla="*/ 207783 w 1352046"/>
                <a:gd name="connsiteY2158" fmla="*/ 189075 h 905809"/>
                <a:gd name="connsiteX2159" fmla="*/ 208137 w 1352046"/>
                <a:gd name="connsiteY2159" fmla="*/ 186060 h 905809"/>
                <a:gd name="connsiteX2160" fmla="*/ 208344 w 1352046"/>
                <a:gd name="connsiteY2160" fmla="*/ 184816 h 905809"/>
                <a:gd name="connsiteX2161" fmla="*/ 209689 w 1352046"/>
                <a:gd name="connsiteY2161" fmla="*/ 184161 h 905809"/>
                <a:gd name="connsiteX2162" fmla="*/ 211961 w 1352046"/>
                <a:gd name="connsiteY2162" fmla="*/ 184798 h 905809"/>
                <a:gd name="connsiteX2163" fmla="*/ 217500 w 1352046"/>
                <a:gd name="connsiteY2163" fmla="*/ 186977 h 905809"/>
                <a:gd name="connsiteX2164" fmla="*/ 221713 w 1352046"/>
                <a:gd name="connsiteY2164" fmla="*/ 188804 h 905809"/>
                <a:gd name="connsiteX2165" fmla="*/ 223480 w 1352046"/>
                <a:gd name="connsiteY2165" fmla="*/ 189423 h 905809"/>
                <a:gd name="connsiteX2166" fmla="*/ 226103 w 1352046"/>
                <a:gd name="connsiteY2166" fmla="*/ 190070 h 905809"/>
                <a:gd name="connsiteX2167" fmla="*/ 230158 w 1352046"/>
                <a:gd name="connsiteY2167" fmla="*/ 190833 h 905809"/>
                <a:gd name="connsiteX2168" fmla="*/ 232503 w 1352046"/>
                <a:gd name="connsiteY2168" fmla="*/ 190607 h 905809"/>
                <a:gd name="connsiteX2169" fmla="*/ 234562 w 1352046"/>
                <a:gd name="connsiteY2169" fmla="*/ 190157 h 905809"/>
                <a:gd name="connsiteX2170" fmla="*/ 237297 w 1352046"/>
                <a:gd name="connsiteY2170" fmla="*/ 190118 h 905809"/>
                <a:gd name="connsiteX2171" fmla="*/ 241577 w 1352046"/>
                <a:gd name="connsiteY2171" fmla="*/ 190686 h 905809"/>
                <a:gd name="connsiteX2172" fmla="*/ 242901 w 1352046"/>
                <a:gd name="connsiteY2172" fmla="*/ 190709 h 905809"/>
                <a:gd name="connsiteX2173" fmla="*/ 244544 w 1352046"/>
                <a:gd name="connsiteY2173" fmla="*/ 190781 h 905809"/>
                <a:gd name="connsiteX2174" fmla="*/ 245715 w 1352046"/>
                <a:gd name="connsiteY2174" fmla="*/ 191702 h 905809"/>
                <a:gd name="connsiteX2175" fmla="*/ 246300 w 1352046"/>
                <a:gd name="connsiteY2175" fmla="*/ 193793 h 905809"/>
                <a:gd name="connsiteX2176" fmla="*/ 247187 w 1352046"/>
                <a:gd name="connsiteY2176" fmla="*/ 194731 h 905809"/>
                <a:gd name="connsiteX2177" fmla="*/ 248781 w 1352046"/>
                <a:gd name="connsiteY2177" fmla="*/ 194384 h 905809"/>
                <a:gd name="connsiteX2178" fmla="*/ 252186 w 1352046"/>
                <a:gd name="connsiteY2178" fmla="*/ 192543 h 905809"/>
                <a:gd name="connsiteX2179" fmla="*/ 254361 w 1352046"/>
                <a:gd name="connsiteY2179" fmla="*/ 191092 h 905809"/>
                <a:gd name="connsiteX2180" fmla="*/ 257080 w 1352046"/>
                <a:gd name="connsiteY2180" fmla="*/ 188995 h 905809"/>
                <a:gd name="connsiteX2181" fmla="*/ 259774 w 1352046"/>
                <a:gd name="connsiteY2181" fmla="*/ 188706 h 905809"/>
                <a:gd name="connsiteX2182" fmla="*/ 262635 w 1352046"/>
                <a:gd name="connsiteY2182" fmla="*/ 188237 h 905809"/>
                <a:gd name="connsiteX2183" fmla="*/ 263629 w 1352046"/>
                <a:gd name="connsiteY2183" fmla="*/ 187196 h 905809"/>
                <a:gd name="connsiteX2184" fmla="*/ 264681 w 1352046"/>
                <a:gd name="connsiteY2184" fmla="*/ 184745 h 905809"/>
                <a:gd name="connsiteX2185" fmla="*/ 266436 w 1352046"/>
                <a:gd name="connsiteY2185" fmla="*/ 182894 h 905809"/>
                <a:gd name="connsiteX2186" fmla="*/ 266727 w 1352046"/>
                <a:gd name="connsiteY2186" fmla="*/ 180549 h 905809"/>
                <a:gd name="connsiteX2187" fmla="*/ 266108 w 1352046"/>
                <a:gd name="connsiteY2187" fmla="*/ 178895 h 905809"/>
                <a:gd name="connsiteX2188" fmla="*/ 264888 w 1352046"/>
                <a:gd name="connsiteY2188" fmla="*/ 176196 h 905809"/>
                <a:gd name="connsiteX2189" fmla="*/ 264924 w 1352046"/>
                <a:gd name="connsiteY2189" fmla="*/ 174376 h 905809"/>
                <a:gd name="connsiteX2190" fmla="*/ 264335 w 1352046"/>
                <a:gd name="connsiteY2190" fmla="*/ 169092 h 905809"/>
                <a:gd name="connsiteX2191" fmla="*/ 263547 w 1352046"/>
                <a:gd name="connsiteY2191" fmla="*/ 164329 h 905809"/>
                <a:gd name="connsiteX2192" fmla="*/ 264350 w 1352046"/>
                <a:gd name="connsiteY2192" fmla="*/ 160486 h 905809"/>
                <a:gd name="connsiteX2193" fmla="*/ 265767 w 1352046"/>
                <a:gd name="connsiteY2193" fmla="*/ 156187 h 905809"/>
                <a:gd name="connsiteX2194" fmla="*/ 266324 w 1352046"/>
                <a:gd name="connsiteY2194" fmla="*/ 154870 h 905809"/>
                <a:gd name="connsiteX2195" fmla="*/ 267222 w 1352046"/>
                <a:gd name="connsiteY2195" fmla="*/ 153136 h 905809"/>
                <a:gd name="connsiteX2196" fmla="*/ 268487 w 1352046"/>
                <a:gd name="connsiteY2196" fmla="*/ 151061 h 905809"/>
                <a:gd name="connsiteX2197" fmla="*/ 270267 w 1352046"/>
                <a:gd name="connsiteY2197" fmla="*/ 150409 h 905809"/>
                <a:gd name="connsiteX2198" fmla="*/ 275270 w 1352046"/>
                <a:gd name="connsiteY2198" fmla="*/ 149965 h 905809"/>
                <a:gd name="connsiteX2199" fmla="*/ 279902 w 1352046"/>
                <a:gd name="connsiteY2199" fmla="*/ 149092 h 905809"/>
                <a:gd name="connsiteX2200" fmla="*/ 282266 w 1352046"/>
                <a:gd name="connsiteY2200" fmla="*/ 148193 h 905809"/>
                <a:gd name="connsiteX2201" fmla="*/ 284715 w 1352046"/>
                <a:gd name="connsiteY2201" fmla="*/ 147650 h 905809"/>
                <a:gd name="connsiteX2202" fmla="*/ 286177 w 1352046"/>
                <a:gd name="connsiteY2202" fmla="*/ 146990 h 905809"/>
                <a:gd name="connsiteX2203" fmla="*/ 288706 w 1352046"/>
                <a:gd name="connsiteY2203" fmla="*/ 143954 h 905809"/>
                <a:gd name="connsiteX2204" fmla="*/ 289904 w 1352046"/>
                <a:gd name="connsiteY2204" fmla="*/ 142202 h 905809"/>
                <a:gd name="connsiteX2205" fmla="*/ 290785 w 1352046"/>
                <a:gd name="connsiteY2205" fmla="*/ 137546 h 905809"/>
                <a:gd name="connsiteX2206" fmla="*/ 290140 w 1352046"/>
                <a:gd name="connsiteY2206" fmla="*/ 135306 h 905809"/>
                <a:gd name="connsiteX2207" fmla="*/ 290682 w 1352046"/>
                <a:gd name="connsiteY2207" fmla="*/ 133324 h 905809"/>
                <a:gd name="connsiteX2208" fmla="*/ 291902 w 1352046"/>
                <a:gd name="connsiteY2208" fmla="*/ 132157 h 905809"/>
                <a:gd name="connsiteX2209" fmla="*/ 293618 w 1352046"/>
                <a:gd name="connsiteY2209" fmla="*/ 130990 h 905809"/>
                <a:gd name="connsiteX2210" fmla="*/ 294769 w 1352046"/>
                <a:gd name="connsiteY2210" fmla="*/ 130791 h 905809"/>
                <a:gd name="connsiteX2211" fmla="*/ 297214 w 1352046"/>
                <a:gd name="connsiteY2211" fmla="*/ 130437 h 905809"/>
                <a:gd name="connsiteX2212" fmla="*/ 301226 w 1352046"/>
                <a:gd name="connsiteY2212" fmla="*/ 130553 h 905809"/>
                <a:gd name="connsiteX2213" fmla="*/ 303280 w 1352046"/>
                <a:gd name="connsiteY2213" fmla="*/ 131127 h 905809"/>
                <a:gd name="connsiteX2214" fmla="*/ 305355 w 1352046"/>
                <a:gd name="connsiteY2214" fmla="*/ 131389 h 905809"/>
                <a:gd name="connsiteX2215" fmla="*/ 306670 w 1352046"/>
                <a:gd name="connsiteY2215" fmla="*/ 130965 h 905809"/>
                <a:gd name="connsiteX2216" fmla="*/ 307547 w 1352046"/>
                <a:gd name="connsiteY2216" fmla="*/ 130080 h 905809"/>
                <a:gd name="connsiteX2217" fmla="*/ 308890 w 1352046"/>
                <a:gd name="connsiteY2217" fmla="*/ 129796 h 905809"/>
                <a:gd name="connsiteX2218" fmla="*/ 310920 w 1352046"/>
                <a:gd name="connsiteY2218" fmla="*/ 129372 h 905809"/>
                <a:gd name="connsiteX2219" fmla="*/ 313001 w 1352046"/>
                <a:gd name="connsiteY2219" fmla="*/ 128840 h 905809"/>
                <a:gd name="connsiteX2220" fmla="*/ 314145 w 1352046"/>
                <a:gd name="connsiteY2220" fmla="*/ 128940 h 905809"/>
                <a:gd name="connsiteX2221" fmla="*/ 314387 w 1352046"/>
                <a:gd name="connsiteY2221" fmla="*/ 130255 h 905809"/>
                <a:gd name="connsiteX2222" fmla="*/ 314191 w 1352046"/>
                <a:gd name="connsiteY2222" fmla="*/ 131284 h 905809"/>
                <a:gd name="connsiteX2223" fmla="*/ 314597 w 1352046"/>
                <a:gd name="connsiteY2223" fmla="*/ 132664 h 905809"/>
                <a:gd name="connsiteX2224" fmla="*/ 315426 w 1352046"/>
                <a:gd name="connsiteY2224" fmla="*/ 133572 h 905809"/>
                <a:gd name="connsiteX2225" fmla="*/ 315154 w 1352046"/>
                <a:gd name="connsiteY2225" fmla="*/ 134559 h 905809"/>
                <a:gd name="connsiteX2226" fmla="*/ 313981 w 1352046"/>
                <a:gd name="connsiteY2226" fmla="*/ 135130 h 905809"/>
                <a:gd name="connsiteX2227" fmla="*/ 312828 w 1352046"/>
                <a:gd name="connsiteY2227" fmla="*/ 135898 h 905809"/>
                <a:gd name="connsiteX2228" fmla="*/ 312573 w 1352046"/>
                <a:gd name="connsiteY2228" fmla="*/ 136951 h 905809"/>
                <a:gd name="connsiteX2229" fmla="*/ 314033 w 1352046"/>
                <a:gd name="connsiteY2229" fmla="*/ 138258 h 905809"/>
                <a:gd name="connsiteX2230" fmla="*/ 314534 w 1352046"/>
                <a:gd name="connsiteY2230" fmla="*/ 139514 h 905809"/>
                <a:gd name="connsiteX2231" fmla="*/ 316974 w 1352046"/>
                <a:gd name="connsiteY2231" fmla="*/ 140264 h 905809"/>
                <a:gd name="connsiteX2232" fmla="*/ 318870 w 1352046"/>
                <a:gd name="connsiteY2232" fmla="*/ 141109 h 905809"/>
                <a:gd name="connsiteX2233" fmla="*/ 319581 w 1352046"/>
                <a:gd name="connsiteY2233" fmla="*/ 141917 h 905809"/>
                <a:gd name="connsiteX2234" fmla="*/ 319363 w 1352046"/>
                <a:gd name="connsiteY2234" fmla="*/ 142831 h 905809"/>
                <a:gd name="connsiteX2235" fmla="*/ 318488 w 1352046"/>
                <a:gd name="connsiteY2235" fmla="*/ 143815 h 905809"/>
                <a:gd name="connsiteX2236" fmla="*/ 317639 w 1352046"/>
                <a:gd name="connsiteY2236" fmla="*/ 144869 h 905809"/>
                <a:gd name="connsiteX2237" fmla="*/ 317532 w 1352046"/>
                <a:gd name="connsiteY2237" fmla="*/ 145502 h 905809"/>
                <a:gd name="connsiteX2238" fmla="*/ 317804 w 1352046"/>
                <a:gd name="connsiteY2238" fmla="*/ 146238 h 905809"/>
                <a:gd name="connsiteX2239" fmla="*/ 319637 w 1352046"/>
                <a:gd name="connsiteY2239" fmla="*/ 146728 h 905809"/>
                <a:gd name="connsiteX2240" fmla="*/ 321751 w 1352046"/>
                <a:gd name="connsiteY2240" fmla="*/ 147545 h 905809"/>
                <a:gd name="connsiteX2241" fmla="*/ 325107 w 1352046"/>
                <a:gd name="connsiteY2241" fmla="*/ 148594 h 905809"/>
                <a:gd name="connsiteX2242" fmla="*/ 327406 w 1352046"/>
                <a:gd name="connsiteY2242" fmla="*/ 150541 h 905809"/>
                <a:gd name="connsiteX2243" fmla="*/ 329687 w 1352046"/>
                <a:gd name="connsiteY2243" fmla="*/ 151078 h 905809"/>
                <a:gd name="connsiteX2244" fmla="*/ 330786 w 1352046"/>
                <a:gd name="connsiteY2244" fmla="*/ 152977 h 905809"/>
                <a:gd name="connsiteX2245" fmla="*/ 330989 w 1352046"/>
                <a:gd name="connsiteY2245" fmla="*/ 155730 h 905809"/>
                <a:gd name="connsiteX2246" fmla="*/ 333330 w 1352046"/>
                <a:gd name="connsiteY2246" fmla="*/ 157132 h 905809"/>
                <a:gd name="connsiteX2247" fmla="*/ 336789 w 1352046"/>
                <a:gd name="connsiteY2247" fmla="*/ 159078 h 905809"/>
                <a:gd name="connsiteX2248" fmla="*/ 338547 w 1352046"/>
                <a:gd name="connsiteY2248" fmla="*/ 159436 h 905809"/>
                <a:gd name="connsiteX2249" fmla="*/ 339726 w 1352046"/>
                <a:gd name="connsiteY2249" fmla="*/ 160539 h 905809"/>
                <a:gd name="connsiteX2250" fmla="*/ 341419 w 1352046"/>
                <a:gd name="connsiteY2250" fmla="*/ 161877 h 905809"/>
                <a:gd name="connsiteX2251" fmla="*/ 342922 w 1352046"/>
                <a:gd name="connsiteY2251" fmla="*/ 162296 h 905809"/>
                <a:gd name="connsiteX2252" fmla="*/ 344705 w 1352046"/>
                <a:gd name="connsiteY2252" fmla="*/ 162488 h 905809"/>
                <a:gd name="connsiteX2253" fmla="*/ 347659 w 1352046"/>
                <a:gd name="connsiteY2253" fmla="*/ 161248 h 905809"/>
                <a:gd name="connsiteX2254" fmla="*/ 350961 w 1352046"/>
                <a:gd name="connsiteY2254" fmla="*/ 161129 h 905809"/>
                <a:gd name="connsiteX2255" fmla="*/ 352768 w 1352046"/>
                <a:gd name="connsiteY2255" fmla="*/ 161837 h 905809"/>
                <a:gd name="connsiteX2256" fmla="*/ 354483 w 1352046"/>
                <a:gd name="connsiteY2256" fmla="*/ 164513 h 905809"/>
                <a:gd name="connsiteX2257" fmla="*/ 355692 w 1352046"/>
                <a:gd name="connsiteY2257" fmla="*/ 165357 h 905809"/>
                <a:gd name="connsiteX2258" fmla="*/ 356409 w 1352046"/>
                <a:gd name="connsiteY2258" fmla="*/ 166108 h 905809"/>
                <a:gd name="connsiteX2259" fmla="*/ 357571 w 1352046"/>
                <a:gd name="connsiteY2259" fmla="*/ 166826 h 905809"/>
                <a:gd name="connsiteX2260" fmla="*/ 358748 w 1352046"/>
                <a:gd name="connsiteY2260" fmla="*/ 166930 h 905809"/>
                <a:gd name="connsiteX2261" fmla="*/ 360496 w 1352046"/>
                <a:gd name="connsiteY2261" fmla="*/ 166338 h 905809"/>
                <a:gd name="connsiteX2262" fmla="*/ 361564 w 1352046"/>
                <a:gd name="connsiteY2262" fmla="*/ 165154 h 905809"/>
                <a:gd name="connsiteX2263" fmla="*/ 363095 w 1352046"/>
                <a:gd name="connsiteY2263" fmla="*/ 165398 h 905809"/>
                <a:gd name="connsiteX2264" fmla="*/ 363669 w 1352046"/>
                <a:gd name="connsiteY2264" fmla="*/ 166164 h 905809"/>
                <a:gd name="connsiteX2265" fmla="*/ 363950 w 1352046"/>
                <a:gd name="connsiteY2265" fmla="*/ 167486 h 905809"/>
                <a:gd name="connsiteX2266" fmla="*/ 364760 w 1352046"/>
                <a:gd name="connsiteY2266" fmla="*/ 169122 h 905809"/>
                <a:gd name="connsiteX2267" fmla="*/ 366701 w 1352046"/>
                <a:gd name="connsiteY2267" fmla="*/ 170341 h 905809"/>
                <a:gd name="connsiteX2268" fmla="*/ 369404 w 1352046"/>
                <a:gd name="connsiteY2268" fmla="*/ 171070 h 905809"/>
                <a:gd name="connsiteX2269" fmla="*/ 369789 w 1352046"/>
                <a:gd name="connsiteY2269" fmla="*/ 171660 h 905809"/>
                <a:gd name="connsiteX2270" fmla="*/ 370160 w 1352046"/>
                <a:gd name="connsiteY2270" fmla="*/ 173296 h 905809"/>
                <a:gd name="connsiteX2271" fmla="*/ 370894 w 1352046"/>
                <a:gd name="connsiteY2271" fmla="*/ 174428 h 905809"/>
                <a:gd name="connsiteX2272" fmla="*/ 371879 w 1352046"/>
                <a:gd name="connsiteY2272" fmla="*/ 175903 h 905809"/>
                <a:gd name="connsiteX2273" fmla="*/ 372814 w 1352046"/>
                <a:gd name="connsiteY2273" fmla="*/ 178594 h 905809"/>
                <a:gd name="connsiteX2274" fmla="*/ 373013 w 1352046"/>
                <a:gd name="connsiteY2274" fmla="*/ 180817 h 905809"/>
                <a:gd name="connsiteX2275" fmla="*/ 373449 w 1352046"/>
                <a:gd name="connsiteY2275" fmla="*/ 182040 h 905809"/>
                <a:gd name="connsiteX2276" fmla="*/ 374703 w 1352046"/>
                <a:gd name="connsiteY2276" fmla="*/ 184031 h 905809"/>
                <a:gd name="connsiteX2277" fmla="*/ 376703 w 1352046"/>
                <a:gd name="connsiteY2277" fmla="*/ 187210 h 905809"/>
                <a:gd name="connsiteX2278" fmla="*/ 378299 w 1352046"/>
                <a:gd name="connsiteY2278" fmla="*/ 189903 h 905809"/>
                <a:gd name="connsiteX2279" fmla="*/ 380145 w 1352046"/>
                <a:gd name="connsiteY2279" fmla="*/ 190424 h 905809"/>
                <a:gd name="connsiteX2280" fmla="*/ 381713 w 1352046"/>
                <a:gd name="connsiteY2280" fmla="*/ 191280 h 905809"/>
                <a:gd name="connsiteX2281" fmla="*/ 382611 w 1352046"/>
                <a:gd name="connsiteY2281" fmla="*/ 193267 h 905809"/>
                <a:gd name="connsiteX2282" fmla="*/ 384274 w 1352046"/>
                <a:gd name="connsiteY2282" fmla="*/ 197005 h 905809"/>
                <a:gd name="connsiteX2283" fmla="*/ 384541 w 1352046"/>
                <a:gd name="connsiteY2283" fmla="*/ 199452 h 905809"/>
                <a:gd name="connsiteX2284" fmla="*/ 384684 w 1352046"/>
                <a:gd name="connsiteY2284" fmla="*/ 201268 h 905809"/>
                <a:gd name="connsiteX2285" fmla="*/ 385228 w 1352046"/>
                <a:gd name="connsiteY2285" fmla="*/ 202093 h 905809"/>
                <a:gd name="connsiteX2286" fmla="*/ 385338 w 1352046"/>
                <a:gd name="connsiteY2286" fmla="*/ 203123 h 905809"/>
                <a:gd name="connsiteX2287" fmla="*/ 383959 w 1352046"/>
                <a:gd name="connsiteY2287" fmla="*/ 207035 h 905809"/>
                <a:gd name="connsiteX2288" fmla="*/ 382782 w 1352046"/>
                <a:gd name="connsiteY2288" fmla="*/ 208802 h 905809"/>
                <a:gd name="connsiteX2289" fmla="*/ 382632 w 1352046"/>
                <a:gd name="connsiteY2289" fmla="*/ 210287 h 905809"/>
                <a:gd name="connsiteX2290" fmla="*/ 383429 w 1352046"/>
                <a:gd name="connsiteY2290" fmla="*/ 212871 h 905809"/>
                <a:gd name="connsiteX2291" fmla="*/ 384518 w 1352046"/>
                <a:gd name="connsiteY2291" fmla="*/ 214871 h 905809"/>
                <a:gd name="connsiteX2292" fmla="*/ 384628 w 1352046"/>
                <a:gd name="connsiteY2292" fmla="*/ 216783 h 905809"/>
                <a:gd name="connsiteX2293" fmla="*/ 383699 w 1352046"/>
                <a:gd name="connsiteY2293" fmla="*/ 218184 h 905809"/>
                <a:gd name="connsiteX2294" fmla="*/ 382093 w 1352046"/>
                <a:gd name="connsiteY2294" fmla="*/ 219935 h 905809"/>
                <a:gd name="connsiteX2295" fmla="*/ 381326 w 1352046"/>
                <a:gd name="connsiteY2295" fmla="*/ 220934 h 905809"/>
                <a:gd name="connsiteX2296" fmla="*/ 380076 w 1352046"/>
                <a:gd name="connsiteY2296" fmla="*/ 221814 h 905809"/>
                <a:gd name="connsiteX2297" fmla="*/ 378169 w 1352046"/>
                <a:gd name="connsiteY2297" fmla="*/ 225194 h 905809"/>
                <a:gd name="connsiteX2298" fmla="*/ 377308 w 1352046"/>
                <a:gd name="connsiteY2298" fmla="*/ 228927 h 905809"/>
                <a:gd name="connsiteX2299" fmla="*/ 377111 w 1352046"/>
                <a:gd name="connsiteY2299" fmla="*/ 230850 h 905809"/>
                <a:gd name="connsiteX2300" fmla="*/ 377833 w 1352046"/>
                <a:gd name="connsiteY2300" fmla="*/ 232239 h 905809"/>
                <a:gd name="connsiteX2301" fmla="*/ 379053 w 1352046"/>
                <a:gd name="connsiteY2301" fmla="*/ 233769 h 905809"/>
                <a:gd name="connsiteX2302" fmla="*/ 379353 w 1352046"/>
                <a:gd name="connsiteY2302" fmla="*/ 235094 h 905809"/>
                <a:gd name="connsiteX2303" fmla="*/ 381343 w 1352046"/>
                <a:gd name="connsiteY2303" fmla="*/ 238049 h 905809"/>
                <a:gd name="connsiteX2304" fmla="*/ 381875 w 1352046"/>
                <a:gd name="connsiteY2304" fmla="*/ 239879 h 905809"/>
                <a:gd name="connsiteX2305" fmla="*/ 382687 w 1352046"/>
                <a:gd name="connsiteY2305" fmla="*/ 239938 h 905809"/>
                <a:gd name="connsiteX2306" fmla="*/ 383563 w 1352046"/>
                <a:gd name="connsiteY2306" fmla="*/ 239336 h 905809"/>
                <a:gd name="connsiteX2307" fmla="*/ 385695 w 1352046"/>
                <a:gd name="connsiteY2307" fmla="*/ 239295 h 905809"/>
                <a:gd name="connsiteX2308" fmla="*/ 387634 w 1352046"/>
                <a:gd name="connsiteY2308" fmla="*/ 239938 h 905809"/>
                <a:gd name="connsiteX2309" fmla="*/ 389493 w 1352046"/>
                <a:gd name="connsiteY2309" fmla="*/ 241291 h 905809"/>
                <a:gd name="connsiteX2310" fmla="*/ 391491 w 1352046"/>
                <a:gd name="connsiteY2310" fmla="*/ 242014 h 905809"/>
                <a:gd name="connsiteX2311" fmla="*/ 394341 w 1352046"/>
                <a:gd name="connsiteY2311" fmla="*/ 241832 h 905809"/>
                <a:gd name="connsiteX2312" fmla="*/ 395867 w 1352046"/>
                <a:gd name="connsiteY2312" fmla="*/ 242557 h 905809"/>
                <a:gd name="connsiteX2313" fmla="*/ 397510 w 1352046"/>
                <a:gd name="connsiteY2313" fmla="*/ 243152 h 905809"/>
                <a:gd name="connsiteX2314" fmla="*/ 400903 w 1352046"/>
                <a:gd name="connsiteY2314" fmla="*/ 243359 h 905809"/>
                <a:gd name="connsiteX2315" fmla="*/ 403447 w 1352046"/>
                <a:gd name="connsiteY2315" fmla="*/ 243348 h 905809"/>
                <a:gd name="connsiteX2316" fmla="*/ 407359 w 1352046"/>
                <a:gd name="connsiteY2316" fmla="*/ 243371 h 905809"/>
                <a:gd name="connsiteX2317" fmla="*/ 410519 w 1352046"/>
                <a:gd name="connsiteY2317" fmla="*/ 244280 h 905809"/>
                <a:gd name="connsiteX2318" fmla="*/ 416073 w 1352046"/>
                <a:gd name="connsiteY2318" fmla="*/ 245000 h 905809"/>
                <a:gd name="connsiteX2319" fmla="*/ 419502 w 1352046"/>
                <a:gd name="connsiteY2319" fmla="*/ 244944 h 905809"/>
                <a:gd name="connsiteX2320" fmla="*/ 424123 w 1352046"/>
                <a:gd name="connsiteY2320" fmla="*/ 244267 h 905809"/>
                <a:gd name="connsiteX2321" fmla="*/ 426956 w 1352046"/>
                <a:gd name="connsiteY2321" fmla="*/ 244693 h 905809"/>
                <a:gd name="connsiteX2322" fmla="*/ 435321 w 1352046"/>
                <a:gd name="connsiteY2322" fmla="*/ 245704 h 905809"/>
                <a:gd name="connsiteX2323" fmla="*/ 440228 w 1352046"/>
                <a:gd name="connsiteY2323" fmla="*/ 246761 h 905809"/>
                <a:gd name="connsiteX2324" fmla="*/ 443329 w 1352046"/>
                <a:gd name="connsiteY2324" fmla="*/ 247949 h 905809"/>
                <a:gd name="connsiteX2325" fmla="*/ 445514 w 1352046"/>
                <a:gd name="connsiteY2325" fmla="*/ 249834 h 905809"/>
                <a:gd name="connsiteX2326" fmla="*/ 448010 w 1352046"/>
                <a:gd name="connsiteY2326" fmla="*/ 252771 h 905809"/>
                <a:gd name="connsiteX2327" fmla="*/ 449995 w 1352046"/>
                <a:gd name="connsiteY2327" fmla="*/ 254114 h 905809"/>
                <a:gd name="connsiteX2328" fmla="*/ 455333 w 1352046"/>
                <a:gd name="connsiteY2328" fmla="*/ 254925 h 905809"/>
                <a:gd name="connsiteX2329" fmla="*/ 458990 w 1352046"/>
                <a:gd name="connsiteY2329" fmla="*/ 258346 h 905809"/>
                <a:gd name="connsiteX2330" fmla="*/ 461856 w 1352046"/>
                <a:gd name="connsiteY2330" fmla="*/ 259623 h 905809"/>
                <a:gd name="connsiteX2331" fmla="*/ 466670 w 1352046"/>
                <a:gd name="connsiteY2331" fmla="*/ 262929 h 905809"/>
                <a:gd name="connsiteX2332" fmla="*/ 470075 w 1352046"/>
                <a:gd name="connsiteY2332" fmla="*/ 264219 h 905809"/>
                <a:gd name="connsiteX2333" fmla="*/ 474139 w 1352046"/>
                <a:gd name="connsiteY2333" fmla="*/ 265410 h 905809"/>
                <a:gd name="connsiteX2334" fmla="*/ 480783 w 1352046"/>
                <a:gd name="connsiteY2334" fmla="*/ 264904 h 905809"/>
                <a:gd name="connsiteX2335" fmla="*/ 481148 w 1352046"/>
                <a:gd name="connsiteY2335" fmla="*/ 265353 h 905809"/>
                <a:gd name="connsiteX2336" fmla="*/ 480636 w 1352046"/>
                <a:gd name="connsiteY2336" fmla="*/ 267146 h 905809"/>
                <a:gd name="connsiteX2337" fmla="*/ 480237 w 1352046"/>
                <a:gd name="connsiteY2337" fmla="*/ 269599 h 905809"/>
                <a:gd name="connsiteX2338" fmla="*/ 480237 w 1352046"/>
                <a:gd name="connsiteY2338" fmla="*/ 271374 h 905809"/>
                <a:gd name="connsiteX2339" fmla="*/ 480919 w 1352046"/>
                <a:gd name="connsiteY2339" fmla="*/ 272278 h 905809"/>
                <a:gd name="connsiteX2340" fmla="*/ 483459 w 1352046"/>
                <a:gd name="connsiteY2340" fmla="*/ 272813 h 905809"/>
                <a:gd name="connsiteX2341" fmla="*/ 484659 w 1352046"/>
                <a:gd name="connsiteY2341" fmla="*/ 273685 h 905809"/>
                <a:gd name="connsiteX2342" fmla="*/ 485580 w 1352046"/>
                <a:gd name="connsiteY2342" fmla="*/ 275354 h 905809"/>
                <a:gd name="connsiteX2343" fmla="*/ 486110 w 1352046"/>
                <a:gd name="connsiteY2343" fmla="*/ 276398 h 905809"/>
                <a:gd name="connsiteX2344" fmla="*/ 488235 w 1352046"/>
                <a:gd name="connsiteY2344" fmla="*/ 281515 h 905809"/>
                <a:gd name="connsiteX2345" fmla="*/ 491656 w 1352046"/>
                <a:gd name="connsiteY2345" fmla="*/ 289067 h 905809"/>
                <a:gd name="connsiteX2346" fmla="*/ 492044 w 1352046"/>
                <a:gd name="connsiteY2346" fmla="*/ 291962 h 905809"/>
                <a:gd name="connsiteX2347" fmla="*/ 493215 w 1352046"/>
                <a:gd name="connsiteY2347" fmla="*/ 293829 h 905809"/>
                <a:gd name="connsiteX2348" fmla="*/ 496925 w 1352046"/>
                <a:gd name="connsiteY2348" fmla="*/ 296790 h 905809"/>
                <a:gd name="connsiteX2349" fmla="*/ 498875 w 1352046"/>
                <a:gd name="connsiteY2349" fmla="*/ 298979 h 905809"/>
                <a:gd name="connsiteX2350" fmla="*/ 501772 w 1352046"/>
                <a:gd name="connsiteY2350" fmla="*/ 301278 h 905809"/>
                <a:gd name="connsiteX2351" fmla="*/ 502723 w 1352046"/>
                <a:gd name="connsiteY2351" fmla="*/ 303403 h 905809"/>
                <a:gd name="connsiteX2352" fmla="*/ 502940 w 1352046"/>
                <a:gd name="connsiteY2352" fmla="*/ 306146 h 905809"/>
                <a:gd name="connsiteX2353" fmla="*/ 503673 w 1352046"/>
                <a:gd name="connsiteY2353" fmla="*/ 306852 h 905809"/>
                <a:gd name="connsiteX2354" fmla="*/ 508977 w 1352046"/>
                <a:gd name="connsiteY2354" fmla="*/ 306224 h 905809"/>
                <a:gd name="connsiteX2355" fmla="*/ 513569 w 1352046"/>
                <a:gd name="connsiteY2355" fmla="*/ 305786 h 905809"/>
                <a:gd name="connsiteX2356" fmla="*/ 521809 w 1352046"/>
                <a:gd name="connsiteY2356" fmla="*/ 304995 h 905809"/>
                <a:gd name="connsiteX2357" fmla="*/ 533160 w 1352046"/>
                <a:gd name="connsiteY2357" fmla="*/ 306426 h 905809"/>
                <a:gd name="connsiteX2358" fmla="*/ 544863 w 1352046"/>
                <a:gd name="connsiteY2358" fmla="*/ 307810 h 905809"/>
                <a:gd name="connsiteX2359" fmla="*/ 555213 w 1352046"/>
                <a:gd name="connsiteY2359" fmla="*/ 309033 h 905809"/>
                <a:gd name="connsiteX2360" fmla="*/ 560311 w 1352046"/>
                <a:gd name="connsiteY2360" fmla="*/ 309634 h 905809"/>
                <a:gd name="connsiteX2361" fmla="*/ 571832 w 1352046"/>
                <a:gd name="connsiteY2361" fmla="*/ 310916 h 905809"/>
                <a:gd name="connsiteX2362" fmla="*/ 578234 w 1352046"/>
                <a:gd name="connsiteY2362" fmla="*/ 309281 h 905809"/>
                <a:gd name="connsiteX2363" fmla="*/ 583239 w 1352046"/>
                <a:gd name="connsiteY2363" fmla="*/ 308001 h 905809"/>
                <a:gd name="connsiteX2364" fmla="*/ 585507 w 1352046"/>
                <a:gd name="connsiteY2364" fmla="*/ 308177 h 905809"/>
                <a:gd name="connsiteX2365" fmla="*/ 595075 w 1352046"/>
                <a:gd name="connsiteY2365" fmla="*/ 309618 h 905809"/>
                <a:gd name="connsiteX2366" fmla="*/ 600681 w 1352046"/>
                <a:gd name="connsiteY2366" fmla="*/ 310393 h 905809"/>
                <a:gd name="connsiteX2367" fmla="*/ 607744 w 1352046"/>
                <a:gd name="connsiteY2367" fmla="*/ 311366 h 905809"/>
                <a:gd name="connsiteX2368" fmla="*/ 612649 w 1352046"/>
                <a:gd name="connsiteY2368" fmla="*/ 311725 h 905809"/>
                <a:gd name="connsiteX2369" fmla="*/ 616662 w 1352046"/>
                <a:gd name="connsiteY2369" fmla="*/ 311701 h 905809"/>
                <a:gd name="connsiteX2370" fmla="*/ 618516 w 1352046"/>
                <a:gd name="connsiteY2370" fmla="*/ 312108 h 905809"/>
                <a:gd name="connsiteX2371" fmla="*/ 620303 w 1352046"/>
                <a:gd name="connsiteY2371" fmla="*/ 312734 h 905809"/>
                <a:gd name="connsiteX2372" fmla="*/ 621495 w 1352046"/>
                <a:gd name="connsiteY2372" fmla="*/ 313647 h 905809"/>
                <a:gd name="connsiteX2373" fmla="*/ 625166 w 1352046"/>
                <a:gd name="connsiteY2373" fmla="*/ 318269 h 905809"/>
                <a:gd name="connsiteX2374" fmla="*/ 627224 w 1352046"/>
                <a:gd name="connsiteY2374" fmla="*/ 320304 h 905809"/>
                <a:gd name="connsiteX2375" fmla="*/ 631286 w 1352046"/>
                <a:gd name="connsiteY2375" fmla="*/ 321840 h 905809"/>
                <a:gd name="connsiteX2376" fmla="*/ 640541 w 1352046"/>
                <a:gd name="connsiteY2376" fmla="*/ 323595 h 905809"/>
                <a:gd name="connsiteX2377" fmla="*/ 645664 w 1352046"/>
                <a:gd name="connsiteY2377" fmla="*/ 324659 h 905809"/>
                <a:gd name="connsiteX2378" fmla="*/ 651545 w 1352046"/>
                <a:gd name="connsiteY2378" fmla="*/ 325882 h 905809"/>
                <a:gd name="connsiteX2379" fmla="*/ 655415 w 1352046"/>
                <a:gd name="connsiteY2379" fmla="*/ 327724 h 905809"/>
                <a:gd name="connsiteX2380" fmla="*/ 659878 w 1352046"/>
                <a:gd name="connsiteY2380" fmla="*/ 329864 h 905809"/>
                <a:gd name="connsiteX2381" fmla="*/ 665659 w 1352046"/>
                <a:gd name="connsiteY2381" fmla="*/ 332635 h 905809"/>
                <a:gd name="connsiteX2382" fmla="*/ 671986 w 1352046"/>
                <a:gd name="connsiteY2382" fmla="*/ 331425 h 905809"/>
                <a:gd name="connsiteX2383" fmla="*/ 678795 w 1352046"/>
                <a:gd name="connsiteY2383" fmla="*/ 330122 h 905809"/>
                <a:gd name="connsiteX2384" fmla="*/ 683064 w 1352046"/>
                <a:gd name="connsiteY2384" fmla="*/ 329304 h 905809"/>
                <a:gd name="connsiteX2385" fmla="*/ 683064 w 1352046"/>
                <a:gd name="connsiteY2385" fmla="*/ 335087 h 905809"/>
                <a:gd name="connsiteX2386" fmla="*/ 689153 w 1352046"/>
                <a:gd name="connsiteY2386" fmla="*/ 335551 h 905809"/>
                <a:gd name="connsiteX2387" fmla="*/ 691071 w 1352046"/>
                <a:gd name="connsiteY2387" fmla="*/ 335482 h 905809"/>
                <a:gd name="connsiteX2388" fmla="*/ 693761 w 1352046"/>
                <a:gd name="connsiteY2388" fmla="*/ 336759 h 905809"/>
                <a:gd name="connsiteX2389" fmla="*/ 695277 w 1352046"/>
                <a:gd name="connsiteY2389" fmla="*/ 336219 h 905809"/>
                <a:gd name="connsiteX2390" fmla="*/ 696711 w 1352046"/>
                <a:gd name="connsiteY2390" fmla="*/ 334966 h 905809"/>
                <a:gd name="connsiteX2391" fmla="*/ 698516 w 1352046"/>
                <a:gd name="connsiteY2391" fmla="*/ 332986 h 905809"/>
                <a:gd name="connsiteX2392" fmla="*/ 701110 w 1352046"/>
                <a:gd name="connsiteY2392" fmla="*/ 332116 h 905809"/>
                <a:gd name="connsiteX2393" fmla="*/ 705592 w 1352046"/>
                <a:gd name="connsiteY2393" fmla="*/ 329894 h 905809"/>
                <a:gd name="connsiteX2394" fmla="*/ 706683 w 1352046"/>
                <a:gd name="connsiteY2394" fmla="*/ 329354 h 905809"/>
                <a:gd name="connsiteX2395" fmla="*/ 713342 w 1352046"/>
                <a:gd name="connsiteY2395" fmla="*/ 326200 h 905809"/>
                <a:gd name="connsiteX2396" fmla="*/ 723284 w 1352046"/>
                <a:gd name="connsiteY2396" fmla="*/ 322306 h 905809"/>
                <a:gd name="connsiteX2397" fmla="*/ 727741 w 1352046"/>
                <a:gd name="connsiteY2397" fmla="*/ 320418 h 905809"/>
                <a:gd name="connsiteX2398" fmla="*/ 729076 w 1352046"/>
                <a:gd name="connsiteY2398" fmla="*/ 319998 h 905809"/>
                <a:gd name="connsiteX2399" fmla="*/ 731598 w 1352046"/>
                <a:gd name="connsiteY2399" fmla="*/ 319034 h 905809"/>
                <a:gd name="connsiteX2400" fmla="*/ 733298 w 1352046"/>
                <a:gd name="connsiteY2400" fmla="*/ 318365 h 905809"/>
                <a:gd name="connsiteX2401" fmla="*/ 736305 w 1352046"/>
                <a:gd name="connsiteY2401" fmla="*/ 317828 h 905809"/>
                <a:gd name="connsiteX2402" fmla="*/ 740389 w 1352046"/>
                <a:gd name="connsiteY2402" fmla="*/ 317492 h 905809"/>
                <a:gd name="connsiteX2403" fmla="*/ 744848 w 1352046"/>
                <a:gd name="connsiteY2403" fmla="*/ 316753 h 905809"/>
                <a:gd name="connsiteX2404" fmla="*/ 754939 w 1352046"/>
                <a:gd name="connsiteY2404" fmla="*/ 315375 h 905809"/>
                <a:gd name="connsiteX2405" fmla="*/ 756204 w 1352046"/>
                <a:gd name="connsiteY2405" fmla="*/ 315245 h 905809"/>
                <a:gd name="connsiteX2406" fmla="*/ 761873 w 1352046"/>
                <a:gd name="connsiteY2406" fmla="*/ 314677 h 905809"/>
                <a:gd name="connsiteX2407" fmla="*/ 764280 w 1352046"/>
                <a:gd name="connsiteY2407" fmla="*/ 314141 h 905809"/>
                <a:gd name="connsiteX2408" fmla="*/ 767880 w 1352046"/>
                <a:gd name="connsiteY2408" fmla="*/ 314422 h 905809"/>
                <a:gd name="connsiteX2409" fmla="*/ 772579 w 1352046"/>
                <a:gd name="connsiteY2409" fmla="*/ 314621 h 905809"/>
                <a:gd name="connsiteX2410" fmla="*/ 775693 w 1352046"/>
                <a:gd name="connsiteY2410" fmla="*/ 314972 h 905809"/>
                <a:gd name="connsiteX2411" fmla="*/ 779832 w 1352046"/>
                <a:gd name="connsiteY2411" fmla="*/ 314696 h 905809"/>
                <a:gd name="connsiteX2412" fmla="*/ 785518 w 1352046"/>
                <a:gd name="connsiteY2412" fmla="*/ 314320 h 905809"/>
                <a:gd name="connsiteX2413" fmla="*/ 790122 w 1352046"/>
                <a:gd name="connsiteY2413" fmla="*/ 314379 h 905809"/>
                <a:gd name="connsiteX2414" fmla="*/ 792407 w 1352046"/>
                <a:gd name="connsiteY2414" fmla="*/ 313910 h 905809"/>
                <a:gd name="connsiteX2415" fmla="*/ 795775 w 1352046"/>
                <a:gd name="connsiteY2415" fmla="*/ 312454 h 905809"/>
                <a:gd name="connsiteX2416" fmla="*/ 798043 w 1352046"/>
                <a:gd name="connsiteY2416" fmla="*/ 311300 h 905809"/>
                <a:gd name="connsiteX2417" fmla="*/ 801597 w 1352046"/>
                <a:gd name="connsiteY2417" fmla="*/ 309900 h 905809"/>
                <a:gd name="connsiteX2418" fmla="*/ 806002 w 1352046"/>
                <a:gd name="connsiteY2418" fmla="*/ 308449 h 905809"/>
                <a:gd name="connsiteX2419" fmla="*/ 809073 w 1352046"/>
                <a:gd name="connsiteY2419" fmla="*/ 307129 h 905809"/>
                <a:gd name="connsiteX2420" fmla="*/ 811106 w 1352046"/>
                <a:gd name="connsiteY2420" fmla="*/ 306254 h 905809"/>
                <a:gd name="connsiteX2421" fmla="*/ 813573 w 1352046"/>
                <a:gd name="connsiteY2421" fmla="*/ 305426 h 905809"/>
                <a:gd name="connsiteX2422" fmla="*/ 814218 w 1352046"/>
                <a:gd name="connsiteY2422" fmla="*/ 304359 h 905809"/>
                <a:gd name="connsiteX2423" fmla="*/ 814928 w 1352046"/>
                <a:gd name="connsiteY2423" fmla="*/ 303542 h 905809"/>
                <a:gd name="connsiteX2424" fmla="*/ 816238 w 1352046"/>
                <a:gd name="connsiteY2424" fmla="*/ 302173 h 905809"/>
                <a:gd name="connsiteX2425" fmla="*/ 818596 w 1352046"/>
                <a:gd name="connsiteY2425" fmla="*/ 299622 h 905809"/>
                <a:gd name="connsiteX2426" fmla="*/ 820388 w 1352046"/>
                <a:gd name="connsiteY2426" fmla="*/ 297387 h 905809"/>
                <a:gd name="connsiteX2427" fmla="*/ 821271 w 1352046"/>
                <a:gd name="connsiteY2427" fmla="*/ 296397 h 905809"/>
                <a:gd name="connsiteX2428" fmla="*/ 823284 w 1352046"/>
                <a:gd name="connsiteY2428" fmla="*/ 294162 h 905809"/>
                <a:gd name="connsiteX2429" fmla="*/ 824914 w 1352046"/>
                <a:gd name="connsiteY2429" fmla="*/ 292475 h 905809"/>
                <a:gd name="connsiteX2430" fmla="*/ 826991 w 1352046"/>
                <a:gd name="connsiteY2430" fmla="*/ 290204 h 905809"/>
                <a:gd name="connsiteX2431" fmla="*/ 828745 w 1352046"/>
                <a:gd name="connsiteY2431" fmla="*/ 289468 h 905809"/>
                <a:gd name="connsiteX2432" fmla="*/ 830962 w 1352046"/>
                <a:gd name="connsiteY2432" fmla="*/ 288843 h 905809"/>
                <a:gd name="connsiteX2433" fmla="*/ 836805 w 1352046"/>
                <a:gd name="connsiteY2433" fmla="*/ 286612 h 905809"/>
                <a:gd name="connsiteX2434" fmla="*/ 837965 w 1352046"/>
                <a:gd name="connsiteY2434" fmla="*/ 286131 h 905809"/>
                <a:gd name="connsiteX2435" fmla="*/ 838935 w 1352046"/>
                <a:gd name="connsiteY2435" fmla="*/ 286036 h 905809"/>
                <a:gd name="connsiteX2436" fmla="*/ 841001 w 1352046"/>
                <a:gd name="connsiteY2436" fmla="*/ 284234 h 905809"/>
                <a:gd name="connsiteX2437" fmla="*/ 842746 w 1352046"/>
                <a:gd name="connsiteY2437" fmla="*/ 282672 h 905809"/>
                <a:gd name="connsiteX2438" fmla="*/ 843882 w 1352046"/>
                <a:gd name="connsiteY2438" fmla="*/ 281500 h 905809"/>
                <a:gd name="connsiteX2439" fmla="*/ 846248 w 1352046"/>
                <a:gd name="connsiteY2439" fmla="*/ 281080 h 905809"/>
                <a:gd name="connsiteX2440" fmla="*/ 847466 w 1352046"/>
                <a:gd name="connsiteY2440" fmla="*/ 280237 h 905809"/>
                <a:gd name="connsiteX2441" fmla="*/ 847680 w 1352046"/>
                <a:gd name="connsiteY2441" fmla="*/ 279130 h 905809"/>
                <a:gd name="connsiteX2442" fmla="*/ 847434 w 1352046"/>
                <a:gd name="connsiteY2442" fmla="*/ 277442 h 905809"/>
                <a:gd name="connsiteX2443" fmla="*/ 846296 w 1352046"/>
                <a:gd name="connsiteY2443" fmla="*/ 275714 h 905809"/>
                <a:gd name="connsiteX2444" fmla="*/ 845337 w 1352046"/>
                <a:gd name="connsiteY2444" fmla="*/ 274207 h 905809"/>
                <a:gd name="connsiteX2445" fmla="*/ 841952 w 1352046"/>
                <a:gd name="connsiteY2445" fmla="*/ 271326 h 905809"/>
                <a:gd name="connsiteX2446" fmla="*/ 840157 w 1352046"/>
                <a:gd name="connsiteY2446" fmla="*/ 269539 h 905809"/>
                <a:gd name="connsiteX2447" fmla="*/ 838324 w 1352046"/>
                <a:gd name="connsiteY2447" fmla="*/ 267241 h 905809"/>
                <a:gd name="connsiteX2448" fmla="*/ 837583 w 1352046"/>
                <a:gd name="connsiteY2448" fmla="*/ 265079 h 905809"/>
                <a:gd name="connsiteX2449" fmla="*/ 836330 w 1352046"/>
                <a:gd name="connsiteY2449" fmla="*/ 263702 h 905809"/>
                <a:gd name="connsiteX2450" fmla="*/ 835726 w 1352046"/>
                <a:gd name="connsiteY2450" fmla="*/ 262482 h 905809"/>
                <a:gd name="connsiteX2451" fmla="*/ 835918 w 1352046"/>
                <a:gd name="connsiteY2451" fmla="*/ 261072 h 905809"/>
                <a:gd name="connsiteX2452" fmla="*/ 837654 w 1352046"/>
                <a:gd name="connsiteY2452" fmla="*/ 258561 h 905809"/>
                <a:gd name="connsiteX2453" fmla="*/ 838214 w 1352046"/>
                <a:gd name="connsiteY2453" fmla="*/ 256976 h 905809"/>
                <a:gd name="connsiteX2454" fmla="*/ 838937 w 1352046"/>
                <a:gd name="connsiteY2454" fmla="*/ 254169 h 905809"/>
                <a:gd name="connsiteX2455" fmla="*/ 840569 w 1352046"/>
                <a:gd name="connsiteY2455" fmla="*/ 249964 h 905809"/>
                <a:gd name="connsiteX2456" fmla="*/ 841900 w 1352046"/>
                <a:gd name="connsiteY2456" fmla="*/ 247998 h 905809"/>
                <a:gd name="connsiteX2457" fmla="*/ 843439 w 1352046"/>
                <a:gd name="connsiteY2457" fmla="*/ 246076 h 905809"/>
                <a:gd name="connsiteX2458" fmla="*/ 846689 w 1352046"/>
                <a:gd name="connsiteY2458" fmla="*/ 243493 h 905809"/>
                <a:gd name="connsiteX2459" fmla="*/ 849664 w 1352046"/>
                <a:gd name="connsiteY2459" fmla="*/ 243012 h 905809"/>
                <a:gd name="connsiteX2460" fmla="*/ 851439 w 1352046"/>
                <a:gd name="connsiteY2460" fmla="*/ 243523 h 905809"/>
                <a:gd name="connsiteX2461" fmla="*/ 855402 w 1352046"/>
                <a:gd name="connsiteY2461" fmla="*/ 243520 h 905809"/>
                <a:gd name="connsiteX2462" fmla="*/ 858039 w 1352046"/>
                <a:gd name="connsiteY2462" fmla="*/ 243653 h 905809"/>
                <a:gd name="connsiteX2463" fmla="*/ 859985 w 1352046"/>
                <a:gd name="connsiteY2463" fmla="*/ 244945 h 905809"/>
                <a:gd name="connsiteX2464" fmla="*/ 862139 w 1352046"/>
                <a:gd name="connsiteY2464" fmla="*/ 247493 h 905809"/>
                <a:gd name="connsiteX2465" fmla="*/ 864571 w 1352046"/>
                <a:gd name="connsiteY2465" fmla="*/ 248428 h 905809"/>
                <a:gd name="connsiteX2466" fmla="*/ 872148 w 1352046"/>
                <a:gd name="connsiteY2466" fmla="*/ 250422 h 905809"/>
                <a:gd name="connsiteX2467" fmla="*/ 875391 w 1352046"/>
                <a:gd name="connsiteY2467" fmla="*/ 250846 h 905809"/>
                <a:gd name="connsiteX2468" fmla="*/ 877711 w 1352046"/>
                <a:gd name="connsiteY2468" fmla="*/ 250933 h 905809"/>
                <a:gd name="connsiteX2469" fmla="*/ 881131 w 1352046"/>
                <a:gd name="connsiteY2469" fmla="*/ 251593 h 905809"/>
                <a:gd name="connsiteX2470" fmla="*/ 882286 w 1352046"/>
                <a:gd name="connsiteY2470" fmla="*/ 251732 h 905809"/>
                <a:gd name="connsiteX2471" fmla="*/ 884036 w 1352046"/>
                <a:gd name="connsiteY2471" fmla="*/ 252185 h 905809"/>
                <a:gd name="connsiteX2472" fmla="*/ 885487 w 1352046"/>
                <a:gd name="connsiteY2472" fmla="*/ 251701 h 905809"/>
                <a:gd name="connsiteX2473" fmla="*/ 887687 w 1352046"/>
                <a:gd name="connsiteY2473" fmla="*/ 249998 h 905809"/>
                <a:gd name="connsiteX2474" fmla="*/ 890449 w 1352046"/>
                <a:gd name="connsiteY2474" fmla="*/ 248080 h 905809"/>
                <a:gd name="connsiteX2475" fmla="*/ 891638 w 1352046"/>
                <a:gd name="connsiteY2475" fmla="*/ 247640 h 905809"/>
                <a:gd name="connsiteX2476" fmla="*/ 893837 w 1352046"/>
                <a:gd name="connsiteY2476" fmla="*/ 246813 h 905809"/>
                <a:gd name="connsiteX2477" fmla="*/ 894943 w 1352046"/>
                <a:gd name="connsiteY2477" fmla="*/ 246033 h 905809"/>
                <a:gd name="connsiteX2478" fmla="*/ 896869 w 1352046"/>
                <a:gd name="connsiteY2478" fmla="*/ 243881 h 905809"/>
                <a:gd name="connsiteX2479" fmla="*/ 899382 w 1352046"/>
                <a:gd name="connsiteY2479" fmla="*/ 242211 h 905809"/>
                <a:gd name="connsiteX2480" fmla="*/ 902435 w 1352046"/>
                <a:gd name="connsiteY2480" fmla="*/ 239701 h 905809"/>
                <a:gd name="connsiteX2481" fmla="*/ 903943 w 1352046"/>
                <a:gd name="connsiteY2481" fmla="*/ 237807 h 905809"/>
                <a:gd name="connsiteX2482" fmla="*/ 904273 w 1352046"/>
                <a:gd name="connsiteY2482" fmla="*/ 236585 h 905809"/>
                <a:gd name="connsiteX2483" fmla="*/ 904604 w 1352046"/>
                <a:gd name="connsiteY2483" fmla="*/ 235260 h 905809"/>
                <a:gd name="connsiteX2484" fmla="*/ 905554 w 1352046"/>
                <a:gd name="connsiteY2484" fmla="*/ 234564 h 905809"/>
                <a:gd name="connsiteX2485" fmla="*/ 907415 w 1352046"/>
                <a:gd name="connsiteY2485" fmla="*/ 233924 h 905809"/>
                <a:gd name="connsiteX2486" fmla="*/ 909503 w 1352046"/>
                <a:gd name="connsiteY2486" fmla="*/ 233750 h 905809"/>
                <a:gd name="connsiteX2487" fmla="*/ 913494 w 1352046"/>
                <a:gd name="connsiteY2487" fmla="*/ 234885 h 905809"/>
                <a:gd name="connsiteX2488" fmla="*/ 918876 w 1352046"/>
                <a:gd name="connsiteY2488" fmla="*/ 234557 h 905809"/>
                <a:gd name="connsiteX2489" fmla="*/ 920089 w 1352046"/>
                <a:gd name="connsiteY2489" fmla="*/ 234393 h 905809"/>
                <a:gd name="connsiteX2490" fmla="*/ 924997 w 1352046"/>
                <a:gd name="connsiteY2490" fmla="*/ 233741 h 905809"/>
                <a:gd name="connsiteX2491" fmla="*/ 927208 w 1352046"/>
                <a:gd name="connsiteY2491" fmla="*/ 233204 h 905809"/>
                <a:gd name="connsiteX2492" fmla="*/ 930339 w 1352046"/>
                <a:gd name="connsiteY2492" fmla="*/ 232690 h 905809"/>
                <a:gd name="connsiteX2493" fmla="*/ 932730 w 1352046"/>
                <a:gd name="connsiteY2493" fmla="*/ 230586 h 905809"/>
                <a:gd name="connsiteX2494" fmla="*/ 935937 w 1352046"/>
                <a:gd name="connsiteY2494" fmla="*/ 228074 h 905809"/>
                <a:gd name="connsiteX2495" fmla="*/ 938267 w 1352046"/>
                <a:gd name="connsiteY2495" fmla="*/ 226677 h 905809"/>
                <a:gd name="connsiteX2496" fmla="*/ 939822 w 1352046"/>
                <a:gd name="connsiteY2496" fmla="*/ 226409 h 905809"/>
                <a:gd name="connsiteX2497" fmla="*/ 941763 w 1352046"/>
                <a:gd name="connsiteY2497" fmla="*/ 224959 h 905809"/>
                <a:gd name="connsiteX2498" fmla="*/ 942713 w 1352046"/>
                <a:gd name="connsiteY2498" fmla="*/ 223399 h 905809"/>
                <a:gd name="connsiteX2499" fmla="*/ 942458 w 1352046"/>
                <a:gd name="connsiteY2499" fmla="*/ 222028 h 905809"/>
                <a:gd name="connsiteX2500" fmla="*/ 942101 w 1352046"/>
                <a:gd name="connsiteY2500" fmla="*/ 220892 h 905809"/>
                <a:gd name="connsiteX2501" fmla="*/ 943242 w 1352046"/>
                <a:gd name="connsiteY2501" fmla="*/ 218792 h 905809"/>
                <a:gd name="connsiteX2502" fmla="*/ 945300 w 1352046"/>
                <a:gd name="connsiteY2502" fmla="*/ 215103 h 905809"/>
                <a:gd name="connsiteX2503" fmla="*/ 947228 w 1352046"/>
                <a:gd name="connsiteY2503" fmla="*/ 213383 h 905809"/>
                <a:gd name="connsiteX2504" fmla="*/ 948817 w 1352046"/>
                <a:gd name="connsiteY2504" fmla="*/ 211991 h 905809"/>
                <a:gd name="connsiteX2505" fmla="*/ 949832 w 1352046"/>
                <a:gd name="connsiteY2505" fmla="*/ 209757 h 905809"/>
                <a:gd name="connsiteX2506" fmla="*/ 951087 w 1352046"/>
                <a:gd name="connsiteY2506" fmla="*/ 209111 h 905809"/>
                <a:gd name="connsiteX2507" fmla="*/ 952624 w 1352046"/>
                <a:gd name="connsiteY2507" fmla="*/ 208865 h 905809"/>
                <a:gd name="connsiteX2508" fmla="*/ 954794 w 1352046"/>
                <a:gd name="connsiteY2508" fmla="*/ 207349 h 905809"/>
                <a:gd name="connsiteX2509" fmla="*/ 956388 w 1352046"/>
                <a:gd name="connsiteY2509" fmla="*/ 207037 h 905809"/>
                <a:gd name="connsiteX2510" fmla="*/ 959035 w 1352046"/>
                <a:gd name="connsiteY2510" fmla="*/ 207762 h 905809"/>
                <a:gd name="connsiteX2511" fmla="*/ 962953 w 1352046"/>
                <a:gd name="connsiteY2511" fmla="*/ 207948 h 905809"/>
                <a:gd name="connsiteX2512" fmla="*/ 965453 w 1352046"/>
                <a:gd name="connsiteY2512" fmla="*/ 208026 h 905809"/>
                <a:gd name="connsiteX2513" fmla="*/ 966876 w 1352046"/>
                <a:gd name="connsiteY2513" fmla="*/ 207756 h 905809"/>
                <a:gd name="connsiteX2514" fmla="*/ 967397 w 1352046"/>
                <a:gd name="connsiteY2514" fmla="*/ 206943 h 905809"/>
                <a:gd name="connsiteX2515" fmla="*/ 967383 w 1352046"/>
                <a:gd name="connsiteY2515" fmla="*/ 205685 h 905809"/>
                <a:gd name="connsiteX2516" fmla="*/ 968176 w 1352046"/>
                <a:gd name="connsiteY2516" fmla="*/ 202884 h 905809"/>
                <a:gd name="connsiteX2517" fmla="*/ 968472 w 1352046"/>
                <a:gd name="connsiteY2517" fmla="*/ 201959 h 905809"/>
                <a:gd name="connsiteX2518" fmla="*/ 969191 w 1352046"/>
                <a:gd name="connsiteY2518" fmla="*/ 201533 h 905809"/>
                <a:gd name="connsiteX2519" fmla="*/ 971596 w 1352046"/>
                <a:gd name="connsiteY2519" fmla="*/ 201476 h 905809"/>
                <a:gd name="connsiteX2520" fmla="*/ 973224 w 1352046"/>
                <a:gd name="connsiteY2520" fmla="*/ 202484 h 905809"/>
                <a:gd name="connsiteX2521" fmla="*/ 974343 w 1352046"/>
                <a:gd name="connsiteY2521" fmla="*/ 203315 h 905809"/>
                <a:gd name="connsiteX2522" fmla="*/ 975894 w 1352046"/>
                <a:gd name="connsiteY2522" fmla="*/ 203423 h 905809"/>
                <a:gd name="connsiteX2523" fmla="*/ 977492 w 1352046"/>
                <a:gd name="connsiteY2523" fmla="*/ 202881 h 905809"/>
                <a:gd name="connsiteX2524" fmla="*/ 979635 w 1352046"/>
                <a:gd name="connsiteY2524" fmla="*/ 200613 h 905809"/>
                <a:gd name="connsiteX2525" fmla="*/ 983193 w 1352046"/>
                <a:gd name="connsiteY2525" fmla="*/ 199299 h 905809"/>
                <a:gd name="connsiteX2526" fmla="*/ 985084 w 1352046"/>
                <a:gd name="connsiteY2526" fmla="*/ 198966 h 905809"/>
                <a:gd name="connsiteX2527" fmla="*/ 988442 w 1352046"/>
                <a:gd name="connsiteY2527" fmla="*/ 197896 h 905809"/>
                <a:gd name="connsiteX2528" fmla="*/ 990558 w 1352046"/>
                <a:gd name="connsiteY2528" fmla="*/ 198281 h 905809"/>
                <a:gd name="connsiteX2529" fmla="*/ 994452 w 1352046"/>
                <a:gd name="connsiteY2529" fmla="*/ 198595 h 905809"/>
                <a:gd name="connsiteX2530" fmla="*/ 995961 w 1352046"/>
                <a:gd name="connsiteY2530" fmla="*/ 198324 h 905809"/>
                <a:gd name="connsiteX2531" fmla="*/ 997602 w 1352046"/>
                <a:gd name="connsiteY2531" fmla="*/ 198595 h 905809"/>
                <a:gd name="connsiteX2532" fmla="*/ 999092 w 1352046"/>
                <a:gd name="connsiteY2532" fmla="*/ 197060 h 905809"/>
                <a:gd name="connsiteX2533" fmla="*/ 1000278 w 1352046"/>
                <a:gd name="connsiteY2533" fmla="*/ 196694 h 905809"/>
                <a:gd name="connsiteX2534" fmla="*/ 1002781 w 1352046"/>
                <a:gd name="connsiteY2534" fmla="*/ 197400 h 905809"/>
                <a:gd name="connsiteX2535" fmla="*/ 1004359 w 1352046"/>
                <a:gd name="connsiteY2535" fmla="*/ 198587 h 905809"/>
                <a:gd name="connsiteX2536" fmla="*/ 1007313 w 1352046"/>
                <a:gd name="connsiteY2536" fmla="*/ 200075 h 905809"/>
                <a:gd name="connsiteX2537" fmla="*/ 1011066 w 1352046"/>
                <a:gd name="connsiteY2537" fmla="*/ 200766 h 905809"/>
                <a:gd name="connsiteX2538" fmla="*/ 1014210 w 1352046"/>
                <a:gd name="connsiteY2538" fmla="*/ 200409 h 905809"/>
                <a:gd name="connsiteX2539" fmla="*/ 1017442 w 1352046"/>
                <a:gd name="connsiteY2539" fmla="*/ 201040 h 905809"/>
                <a:gd name="connsiteX2540" fmla="*/ 1019354 w 1352046"/>
                <a:gd name="connsiteY2540" fmla="*/ 200983 h 905809"/>
                <a:gd name="connsiteX2541" fmla="*/ 1020256 w 1352046"/>
                <a:gd name="connsiteY2541" fmla="*/ 200394 h 905809"/>
                <a:gd name="connsiteX2542" fmla="*/ 1022903 w 1352046"/>
                <a:gd name="connsiteY2542" fmla="*/ 199144 h 905809"/>
                <a:gd name="connsiteX2543" fmla="*/ 1023538 w 1352046"/>
                <a:gd name="connsiteY2543" fmla="*/ 197455 h 905809"/>
                <a:gd name="connsiteX2544" fmla="*/ 1023279 w 1352046"/>
                <a:gd name="connsiteY2544" fmla="*/ 195824 h 905809"/>
                <a:gd name="connsiteX2545" fmla="*/ 1023582 w 1352046"/>
                <a:gd name="connsiteY2545" fmla="*/ 193976 h 905809"/>
                <a:gd name="connsiteX2546" fmla="*/ 1022804 w 1352046"/>
                <a:gd name="connsiteY2546" fmla="*/ 192616 h 905809"/>
                <a:gd name="connsiteX2547" fmla="*/ 1021163 w 1352046"/>
                <a:gd name="connsiteY2547" fmla="*/ 190602 h 905809"/>
                <a:gd name="connsiteX2548" fmla="*/ 1020531 w 1352046"/>
                <a:gd name="connsiteY2548" fmla="*/ 189257 h 905809"/>
                <a:gd name="connsiteX2549" fmla="*/ 1020472 w 1352046"/>
                <a:gd name="connsiteY2549" fmla="*/ 187496 h 905809"/>
                <a:gd name="connsiteX2550" fmla="*/ 1019453 w 1352046"/>
                <a:gd name="connsiteY2550" fmla="*/ 185820 h 905809"/>
                <a:gd name="connsiteX2551" fmla="*/ 1017000 w 1352046"/>
                <a:gd name="connsiteY2551" fmla="*/ 183794 h 905809"/>
                <a:gd name="connsiteX2552" fmla="*/ 1015381 w 1352046"/>
                <a:gd name="connsiteY2552" fmla="*/ 182858 h 905809"/>
                <a:gd name="connsiteX2553" fmla="*/ 1012057 w 1352046"/>
                <a:gd name="connsiteY2553" fmla="*/ 179359 h 905809"/>
                <a:gd name="connsiteX2554" fmla="*/ 1010936 w 1352046"/>
                <a:gd name="connsiteY2554" fmla="*/ 178538 h 905809"/>
                <a:gd name="connsiteX2555" fmla="*/ 1010552 w 1352046"/>
                <a:gd name="connsiteY2555" fmla="*/ 177962 h 905809"/>
                <a:gd name="connsiteX2556" fmla="*/ 1010158 w 1352046"/>
                <a:gd name="connsiteY2556" fmla="*/ 176785 h 905809"/>
                <a:gd name="connsiteX2557" fmla="*/ 1008930 w 1352046"/>
                <a:gd name="connsiteY2557" fmla="*/ 176226 h 905809"/>
                <a:gd name="connsiteX2558" fmla="*/ 1007319 w 1352046"/>
                <a:gd name="connsiteY2558" fmla="*/ 175311 h 905809"/>
                <a:gd name="connsiteX2559" fmla="*/ 1006447 w 1352046"/>
                <a:gd name="connsiteY2559" fmla="*/ 174376 h 905809"/>
                <a:gd name="connsiteX2560" fmla="*/ 1005879 w 1352046"/>
                <a:gd name="connsiteY2560" fmla="*/ 172754 h 905809"/>
                <a:gd name="connsiteX2561" fmla="*/ 1005540 w 1352046"/>
                <a:gd name="connsiteY2561" fmla="*/ 171689 h 905809"/>
                <a:gd name="connsiteX2562" fmla="*/ 1004117 w 1352046"/>
                <a:gd name="connsiteY2562" fmla="*/ 170812 h 905809"/>
                <a:gd name="connsiteX2563" fmla="*/ 1002691 w 1352046"/>
                <a:gd name="connsiteY2563" fmla="*/ 170318 h 905809"/>
                <a:gd name="connsiteX2564" fmla="*/ 1001081 w 1352046"/>
                <a:gd name="connsiteY2564" fmla="*/ 169694 h 905809"/>
                <a:gd name="connsiteX2565" fmla="*/ 998420 w 1352046"/>
                <a:gd name="connsiteY2565" fmla="*/ 168779 h 905809"/>
                <a:gd name="connsiteX2566" fmla="*/ 996886 w 1352046"/>
                <a:gd name="connsiteY2566" fmla="*/ 166959 h 905809"/>
                <a:gd name="connsiteX2567" fmla="*/ 994171 w 1352046"/>
                <a:gd name="connsiteY2567" fmla="*/ 163550 h 905809"/>
                <a:gd name="connsiteX2568" fmla="*/ 992638 w 1352046"/>
                <a:gd name="connsiteY2568" fmla="*/ 162401 h 905809"/>
                <a:gd name="connsiteX2569" fmla="*/ 986915 w 1352046"/>
                <a:gd name="connsiteY2569" fmla="*/ 161963 h 905809"/>
                <a:gd name="connsiteX2570" fmla="*/ 984868 w 1352046"/>
                <a:gd name="connsiteY2570" fmla="*/ 161133 h 905809"/>
                <a:gd name="connsiteX2571" fmla="*/ 982542 w 1352046"/>
                <a:gd name="connsiteY2571" fmla="*/ 161415 h 905809"/>
                <a:gd name="connsiteX2572" fmla="*/ 981156 w 1352046"/>
                <a:gd name="connsiteY2572" fmla="*/ 161960 h 905809"/>
                <a:gd name="connsiteX2573" fmla="*/ 978087 w 1352046"/>
                <a:gd name="connsiteY2573" fmla="*/ 161953 h 905809"/>
                <a:gd name="connsiteX2574" fmla="*/ 976494 w 1352046"/>
                <a:gd name="connsiteY2574" fmla="*/ 162291 h 905809"/>
                <a:gd name="connsiteX2575" fmla="*/ 974466 w 1352046"/>
                <a:gd name="connsiteY2575" fmla="*/ 164535 h 905809"/>
                <a:gd name="connsiteX2576" fmla="*/ 971784 w 1352046"/>
                <a:gd name="connsiteY2576" fmla="*/ 167454 h 905809"/>
                <a:gd name="connsiteX2577" fmla="*/ 969566 w 1352046"/>
                <a:gd name="connsiteY2577" fmla="*/ 169237 h 905809"/>
                <a:gd name="connsiteX2578" fmla="*/ 967995 w 1352046"/>
                <a:gd name="connsiteY2578" fmla="*/ 171082 h 905809"/>
                <a:gd name="connsiteX2579" fmla="*/ 967260 w 1352046"/>
                <a:gd name="connsiteY2579" fmla="*/ 171744 h 905809"/>
                <a:gd name="connsiteX2580" fmla="*/ 965826 w 1352046"/>
                <a:gd name="connsiteY2580" fmla="*/ 171346 h 905809"/>
                <a:gd name="connsiteX2581" fmla="*/ 963862 w 1352046"/>
                <a:gd name="connsiteY2581" fmla="*/ 169267 h 905809"/>
                <a:gd name="connsiteX2582" fmla="*/ 961046 w 1352046"/>
                <a:gd name="connsiteY2582" fmla="*/ 167406 h 905809"/>
                <a:gd name="connsiteX2583" fmla="*/ 958435 w 1352046"/>
                <a:gd name="connsiteY2583" fmla="*/ 166556 h 905809"/>
                <a:gd name="connsiteX2584" fmla="*/ 957319 w 1352046"/>
                <a:gd name="connsiteY2584" fmla="*/ 166091 h 905809"/>
                <a:gd name="connsiteX2585" fmla="*/ 954209 w 1352046"/>
                <a:gd name="connsiteY2585" fmla="*/ 165621 h 905809"/>
                <a:gd name="connsiteX2586" fmla="*/ 951808 w 1352046"/>
                <a:gd name="connsiteY2586" fmla="*/ 165769 h 905809"/>
                <a:gd name="connsiteX2587" fmla="*/ 948746 w 1352046"/>
                <a:gd name="connsiteY2587" fmla="*/ 166472 h 905809"/>
                <a:gd name="connsiteX2588" fmla="*/ 945755 w 1352046"/>
                <a:gd name="connsiteY2588" fmla="*/ 166346 h 905809"/>
                <a:gd name="connsiteX2589" fmla="*/ 944405 w 1352046"/>
                <a:gd name="connsiteY2589" fmla="*/ 165900 h 905809"/>
                <a:gd name="connsiteX2590" fmla="*/ 942504 w 1352046"/>
                <a:gd name="connsiteY2590" fmla="*/ 165947 h 905809"/>
                <a:gd name="connsiteX2591" fmla="*/ 939046 w 1352046"/>
                <a:gd name="connsiteY2591" fmla="*/ 167880 h 905809"/>
                <a:gd name="connsiteX2592" fmla="*/ 937256 w 1352046"/>
                <a:gd name="connsiteY2592" fmla="*/ 170081 h 905809"/>
                <a:gd name="connsiteX2593" fmla="*/ 935142 w 1352046"/>
                <a:gd name="connsiteY2593" fmla="*/ 170768 h 905809"/>
                <a:gd name="connsiteX2594" fmla="*/ 933228 w 1352046"/>
                <a:gd name="connsiteY2594" fmla="*/ 169324 h 905809"/>
                <a:gd name="connsiteX2595" fmla="*/ 931017 w 1352046"/>
                <a:gd name="connsiteY2595" fmla="*/ 167616 h 905809"/>
                <a:gd name="connsiteX2596" fmla="*/ 928910 w 1352046"/>
                <a:gd name="connsiteY2596" fmla="*/ 165479 h 905809"/>
                <a:gd name="connsiteX2597" fmla="*/ 927610 w 1352046"/>
                <a:gd name="connsiteY2597" fmla="*/ 163500 h 905809"/>
                <a:gd name="connsiteX2598" fmla="*/ 926891 w 1352046"/>
                <a:gd name="connsiteY2598" fmla="*/ 158254 h 905809"/>
                <a:gd name="connsiteX2599" fmla="*/ 929419 w 1352046"/>
                <a:gd name="connsiteY2599" fmla="*/ 156689 h 905809"/>
                <a:gd name="connsiteX2600" fmla="*/ 932650 w 1352046"/>
                <a:gd name="connsiteY2600" fmla="*/ 154936 h 905809"/>
                <a:gd name="connsiteX2601" fmla="*/ 932894 w 1352046"/>
                <a:gd name="connsiteY2601" fmla="*/ 152159 h 905809"/>
                <a:gd name="connsiteX2602" fmla="*/ 932786 w 1352046"/>
                <a:gd name="connsiteY2602" fmla="*/ 149058 h 905809"/>
                <a:gd name="connsiteX2603" fmla="*/ 933423 w 1352046"/>
                <a:gd name="connsiteY2603" fmla="*/ 145610 h 905809"/>
                <a:gd name="connsiteX2604" fmla="*/ 936371 w 1352046"/>
                <a:gd name="connsiteY2604" fmla="*/ 142424 h 905809"/>
                <a:gd name="connsiteX2605" fmla="*/ 937956 w 1352046"/>
                <a:gd name="connsiteY2605" fmla="*/ 139781 h 905809"/>
                <a:gd name="connsiteX2606" fmla="*/ 938152 w 1352046"/>
                <a:gd name="connsiteY2606" fmla="*/ 138136 h 905809"/>
                <a:gd name="connsiteX2607" fmla="*/ 939564 w 1352046"/>
                <a:gd name="connsiteY2607" fmla="*/ 135397 h 905809"/>
                <a:gd name="connsiteX2608" fmla="*/ 940922 w 1352046"/>
                <a:gd name="connsiteY2608" fmla="*/ 132507 h 905809"/>
                <a:gd name="connsiteX2609" fmla="*/ 942773 w 1352046"/>
                <a:gd name="connsiteY2609" fmla="*/ 128710 h 905809"/>
                <a:gd name="connsiteX2610" fmla="*/ 946284 w 1352046"/>
                <a:gd name="connsiteY2610" fmla="*/ 121958 h 905809"/>
                <a:gd name="connsiteX2611" fmla="*/ 950433 w 1352046"/>
                <a:gd name="connsiteY2611" fmla="*/ 113959 h 905809"/>
                <a:gd name="connsiteX2612" fmla="*/ 952501 w 1352046"/>
                <a:gd name="connsiteY2612" fmla="*/ 109959 h 905809"/>
                <a:gd name="connsiteX2613" fmla="*/ 957048 w 1352046"/>
                <a:gd name="connsiteY2613" fmla="*/ 112434 h 905809"/>
                <a:gd name="connsiteX2614" fmla="*/ 959983 w 1352046"/>
                <a:gd name="connsiteY2614" fmla="*/ 113724 h 905809"/>
                <a:gd name="connsiteX2615" fmla="*/ 964935 w 1352046"/>
                <a:gd name="connsiteY2615" fmla="*/ 115682 h 905809"/>
                <a:gd name="connsiteX2616" fmla="*/ 970055 w 1352046"/>
                <a:gd name="connsiteY2616" fmla="*/ 116126 h 905809"/>
                <a:gd name="connsiteX2617" fmla="*/ 974948 w 1352046"/>
                <a:gd name="connsiteY2617" fmla="*/ 118239 h 905809"/>
                <a:gd name="connsiteX2618" fmla="*/ 977472 w 1352046"/>
                <a:gd name="connsiteY2618" fmla="*/ 118880 h 905809"/>
                <a:gd name="connsiteX2619" fmla="*/ 978818 w 1352046"/>
                <a:gd name="connsiteY2619" fmla="*/ 118881 h 905809"/>
                <a:gd name="connsiteX2620" fmla="*/ 985743 w 1352046"/>
                <a:gd name="connsiteY2620" fmla="*/ 113730 h 905809"/>
                <a:gd name="connsiteX2621" fmla="*/ 991601 w 1352046"/>
                <a:gd name="connsiteY2621" fmla="*/ 109362 h 905809"/>
                <a:gd name="connsiteX2622" fmla="*/ 998332 w 1352046"/>
                <a:gd name="connsiteY2622" fmla="*/ 105950 h 905809"/>
                <a:gd name="connsiteX2623" fmla="*/ 1003275 w 1352046"/>
                <a:gd name="connsiteY2623" fmla="*/ 105487 h 905809"/>
                <a:gd name="connsiteX2624" fmla="*/ 1006989 w 1352046"/>
                <a:gd name="connsiteY2624" fmla="*/ 104491 h 905809"/>
                <a:gd name="connsiteX2625" fmla="*/ 1009475 w 1352046"/>
                <a:gd name="connsiteY2625" fmla="*/ 102960 h 905809"/>
                <a:gd name="connsiteX2626" fmla="*/ 1010938 w 1352046"/>
                <a:gd name="connsiteY2626" fmla="*/ 100401 h 905809"/>
                <a:gd name="connsiteX2627" fmla="*/ 1011385 w 1352046"/>
                <a:gd name="connsiteY2627" fmla="*/ 96812 h 905809"/>
                <a:gd name="connsiteX2628" fmla="*/ 1010396 w 1352046"/>
                <a:gd name="connsiteY2628" fmla="*/ 94640 h 905809"/>
                <a:gd name="connsiteX2629" fmla="*/ 1007972 w 1352046"/>
                <a:gd name="connsiteY2629" fmla="*/ 93889 h 905809"/>
                <a:gd name="connsiteX2630" fmla="*/ 1007348 w 1352046"/>
                <a:gd name="connsiteY2630" fmla="*/ 93130 h 905809"/>
                <a:gd name="connsiteX2631" fmla="*/ 1008520 w 1352046"/>
                <a:gd name="connsiteY2631" fmla="*/ 92361 h 905809"/>
                <a:gd name="connsiteX2632" fmla="*/ 1009386 w 1352046"/>
                <a:gd name="connsiteY2632" fmla="*/ 90861 h 905809"/>
                <a:gd name="connsiteX2633" fmla="*/ 1009934 w 1352046"/>
                <a:gd name="connsiteY2633" fmla="*/ 88631 h 905809"/>
                <a:gd name="connsiteX2634" fmla="*/ 1011336 w 1352046"/>
                <a:gd name="connsiteY2634" fmla="*/ 86511 h 905809"/>
                <a:gd name="connsiteX2635" fmla="*/ 1013584 w 1352046"/>
                <a:gd name="connsiteY2635" fmla="*/ 84506 h 905809"/>
                <a:gd name="connsiteX2636" fmla="*/ 1014823 w 1352046"/>
                <a:gd name="connsiteY2636" fmla="*/ 82280 h 905809"/>
                <a:gd name="connsiteX2637" fmla="*/ 1015056 w 1352046"/>
                <a:gd name="connsiteY2637" fmla="*/ 79835 h 905809"/>
                <a:gd name="connsiteX2638" fmla="*/ 1016408 w 1352046"/>
                <a:gd name="connsiteY2638" fmla="*/ 77395 h 905809"/>
                <a:gd name="connsiteX2639" fmla="*/ 1018874 w 1352046"/>
                <a:gd name="connsiteY2639" fmla="*/ 74960 h 905809"/>
                <a:gd name="connsiteX2640" fmla="*/ 1020224 w 1352046"/>
                <a:gd name="connsiteY2640" fmla="*/ 72692 h 905809"/>
                <a:gd name="connsiteX2641" fmla="*/ 1020459 w 1352046"/>
                <a:gd name="connsiteY2641" fmla="*/ 70592 h 905809"/>
                <a:gd name="connsiteX2642" fmla="*/ 1021710 w 1352046"/>
                <a:gd name="connsiteY2642" fmla="*/ 68028 h 905809"/>
                <a:gd name="connsiteX2643" fmla="*/ 1025111 w 1352046"/>
                <a:gd name="connsiteY2643" fmla="*/ 63479 h 905809"/>
                <a:gd name="connsiteX2644" fmla="*/ 1027319 w 1352046"/>
                <a:gd name="connsiteY2644" fmla="*/ 58230 h 905809"/>
                <a:gd name="connsiteX2645" fmla="*/ 1031081 w 1352046"/>
                <a:gd name="connsiteY2645" fmla="*/ 54628 h 905809"/>
                <a:gd name="connsiteX2646" fmla="*/ 1037130 w 1352046"/>
                <a:gd name="connsiteY2646" fmla="*/ 50926 h 905809"/>
                <a:gd name="connsiteX2647" fmla="*/ 1040908 w 1352046"/>
                <a:gd name="connsiteY2647" fmla="*/ 47249 h 905809"/>
                <a:gd name="connsiteX2648" fmla="*/ 1042420 w 1352046"/>
                <a:gd name="connsiteY2648" fmla="*/ 43596 h 905809"/>
                <a:gd name="connsiteX2649" fmla="*/ 1042304 w 1352046"/>
                <a:gd name="connsiteY2649" fmla="*/ 40368 h 905809"/>
                <a:gd name="connsiteX2650" fmla="*/ 1040554 w 1352046"/>
                <a:gd name="connsiteY2650" fmla="*/ 37567 h 905809"/>
                <a:gd name="connsiteX2651" fmla="*/ 1040222 w 1352046"/>
                <a:gd name="connsiteY2651" fmla="*/ 34716 h 905809"/>
                <a:gd name="connsiteX2652" fmla="*/ 1041301 w 1352046"/>
                <a:gd name="connsiteY2652" fmla="*/ 31811 h 905809"/>
                <a:gd name="connsiteX2653" fmla="*/ 1040350 w 1352046"/>
                <a:gd name="connsiteY2653" fmla="*/ 29637 h 905809"/>
                <a:gd name="connsiteX2654" fmla="*/ 1037363 w 1352046"/>
                <a:gd name="connsiteY2654" fmla="*/ 28195 h 905809"/>
                <a:gd name="connsiteX2655" fmla="*/ 1033802 w 1352046"/>
                <a:gd name="connsiteY2655" fmla="*/ 27839 h 905809"/>
                <a:gd name="connsiteX2656" fmla="*/ 1029660 w 1352046"/>
                <a:gd name="connsiteY2656" fmla="*/ 28569 h 905809"/>
                <a:gd name="connsiteX2657" fmla="*/ 1027335 w 1352046"/>
                <a:gd name="connsiteY2657" fmla="*/ 27663 h 905809"/>
                <a:gd name="connsiteX2658" fmla="*/ 1026821 w 1352046"/>
                <a:gd name="connsiteY2658" fmla="*/ 25119 h 905809"/>
                <a:gd name="connsiteX2659" fmla="*/ 1027931 w 1352046"/>
                <a:gd name="connsiteY2659" fmla="*/ 23059 h 905809"/>
                <a:gd name="connsiteX2660" fmla="*/ 1030664 w 1352046"/>
                <a:gd name="connsiteY2660" fmla="*/ 21486 h 905809"/>
                <a:gd name="connsiteX2661" fmla="*/ 1035156 w 1352046"/>
                <a:gd name="connsiteY2661" fmla="*/ 17652 h 905809"/>
                <a:gd name="connsiteX2662" fmla="*/ 1041409 w 1352046"/>
                <a:gd name="connsiteY2662" fmla="*/ 11546 h 905809"/>
                <a:gd name="connsiteX2663" fmla="*/ 1047630 w 1352046"/>
                <a:gd name="connsiteY2663" fmla="*/ 8160 h 905809"/>
                <a:gd name="connsiteX2664" fmla="*/ 1056918 w 1352046"/>
                <a:gd name="connsiteY2664" fmla="*/ 7184 h 905809"/>
                <a:gd name="connsiteX2665" fmla="*/ 1064402 w 1352046"/>
                <a:gd name="connsiteY2665" fmla="*/ 5182 h 905809"/>
                <a:gd name="connsiteX2666" fmla="*/ 1072030 w 1352046"/>
                <a:gd name="connsiteY2666" fmla="*/ 3139 h 905809"/>
                <a:gd name="connsiteX2667" fmla="*/ 1077533 w 1352046"/>
                <a:gd name="connsiteY2667" fmla="*/ 2128 h 905809"/>
                <a:gd name="connsiteX2668" fmla="*/ 1078471 w 1352046"/>
                <a:gd name="connsiteY2668" fmla="*/ 2806 h 905809"/>
                <a:gd name="connsiteX2669" fmla="*/ 1081470 w 1352046"/>
                <a:gd name="connsiteY2669" fmla="*/ 2973 h 905809"/>
                <a:gd name="connsiteX2670" fmla="*/ 1086532 w 1352046"/>
                <a:gd name="connsiteY2670" fmla="*/ 2625 h 905809"/>
                <a:gd name="connsiteX2671" fmla="*/ 1091239 w 1352046"/>
                <a:gd name="connsiteY2671" fmla="*/ 1746 h 905809"/>
                <a:gd name="connsiteX2672" fmla="*/ 1095584 w 1352046"/>
                <a:gd name="connsiteY2672" fmla="*/ 333 h 905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  <a:cxn ang="0">
                  <a:pos x="connsiteX2223" y="connsiteY2223"/>
                </a:cxn>
                <a:cxn ang="0">
                  <a:pos x="connsiteX2224" y="connsiteY2224"/>
                </a:cxn>
                <a:cxn ang="0">
                  <a:pos x="connsiteX2225" y="connsiteY2225"/>
                </a:cxn>
                <a:cxn ang="0">
                  <a:pos x="connsiteX2226" y="connsiteY2226"/>
                </a:cxn>
                <a:cxn ang="0">
                  <a:pos x="connsiteX2227" y="connsiteY2227"/>
                </a:cxn>
                <a:cxn ang="0">
                  <a:pos x="connsiteX2228" y="connsiteY2228"/>
                </a:cxn>
                <a:cxn ang="0">
                  <a:pos x="connsiteX2229" y="connsiteY2229"/>
                </a:cxn>
                <a:cxn ang="0">
                  <a:pos x="connsiteX2230" y="connsiteY2230"/>
                </a:cxn>
                <a:cxn ang="0">
                  <a:pos x="connsiteX2231" y="connsiteY2231"/>
                </a:cxn>
                <a:cxn ang="0">
                  <a:pos x="connsiteX2232" y="connsiteY2232"/>
                </a:cxn>
                <a:cxn ang="0">
                  <a:pos x="connsiteX2233" y="connsiteY2233"/>
                </a:cxn>
                <a:cxn ang="0">
                  <a:pos x="connsiteX2234" y="connsiteY2234"/>
                </a:cxn>
                <a:cxn ang="0">
                  <a:pos x="connsiteX2235" y="connsiteY2235"/>
                </a:cxn>
                <a:cxn ang="0">
                  <a:pos x="connsiteX2236" y="connsiteY2236"/>
                </a:cxn>
                <a:cxn ang="0">
                  <a:pos x="connsiteX2237" y="connsiteY2237"/>
                </a:cxn>
                <a:cxn ang="0">
                  <a:pos x="connsiteX2238" y="connsiteY2238"/>
                </a:cxn>
                <a:cxn ang="0">
                  <a:pos x="connsiteX2239" y="connsiteY2239"/>
                </a:cxn>
                <a:cxn ang="0">
                  <a:pos x="connsiteX2240" y="connsiteY2240"/>
                </a:cxn>
                <a:cxn ang="0">
                  <a:pos x="connsiteX2241" y="connsiteY2241"/>
                </a:cxn>
                <a:cxn ang="0">
                  <a:pos x="connsiteX2242" y="connsiteY2242"/>
                </a:cxn>
                <a:cxn ang="0">
                  <a:pos x="connsiteX2243" y="connsiteY2243"/>
                </a:cxn>
                <a:cxn ang="0">
                  <a:pos x="connsiteX2244" y="connsiteY2244"/>
                </a:cxn>
                <a:cxn ang="0">
                  <a:pos x="connsiteX2245" y="connsiteY2245"/>
                </a:cxn>
                <a:cxn ang="0">
                  <a:pos x="connsiteX2246" y="connsiteY2246"/>
                </a:cxn>
                <a:cxn ang="0">
                  <a:pos x="connsiteX2247" y="connsiteY2247"/>
                </a:cxn>
                <a:cxn ang="0">
                  <a:pos x="connsiteX2248" y="connsiteY2248"/>
                </a:cxn>
                <a:cxn ang="0">
                  <a:pos x="connsiteX2249" y="connsiteY2249"/>
                </a:cxn>
                <a:cxn ang="0">
                  <a:pos x="connsiteX2250" y="connsiteY2250"/>
                </a:cxn>
                <a:cxn ang="0">
                  <a:pos x="connsiteX2251" y="connsiteY2251"/>
                </a:cxn>
                <a:cxn ang="0">
                  <a:pos x="connsiteX2252" y="connsiteY2252"/>
                </a:cxn>
                <a:cxn ang="0">
                  <a:pos x="connsiteX2253" y="connsiteY2253"/>
                </a:cxn>
                <a:cxn ang="0">
                  <a:pos x="connsiteX2254" y="connsiteY2254"/>
                </a:cxn>
                <a:cxn ang="0">
                  <a:pos x="connsiteX2255" y="connsiteY2255"/>
                </a:cxn>
                <a:cxn ang="0">
                  <a:pos x="connsiteX2256" y="connsiteY2256"/>
                </a:cxn>
                <a:cxn ang="0">
                  <a:pos x="connsiteX2257" y="connsiteY2257"/>
                </a:cxn>
                <a:cxn ang="0">
                  <a:pos x="connsiteX2258" y="connsiteY2258"/>
                </a:cxn>
                <a:cxn ang="0">
                  <a:pos x="connsiteX2259" y="connsiteY2259"/>
                </a:cxn>
                <a:cxn ang="0">
                  <a:pos x="connsiteX2260" y="connsiteY2260"/>
                </a:cxn>
                <a:cxn ang="0">
                  <a:pos x="connsiteX2261" y="connsiteY2261"/>
                </a:cxn>
                <a:cxn ang="0">
                  <a:pos x="connsiteX2262" y="connsiteY2262"/>
                </a:cxn>
                <a:cxn ang="0">
                  <a:pos x="connsiteX2263" y="connsiteY2263"/>
                </a:cxn>
                <a:cxn ang="0">
                  <a:pos x="connsiteX2264" y="connsiteY2264"/>
                </a:cxn>
                <a:cxn ang="0">
                  <a:pos x="connsiteX2265" y="connsiteY2265"/>
                </a:cxn>
                <a:cxn ang="0">
                  <a:pos x="connsiteX2266" y="connsiteY2266"/>
                </a:cxn>
                <a:cxn ang="0">
                  <a:pos x="connsiteX2267" y="connsiteY2267"/>
                </a:cxn>
                <a:cxn ang="0">
                  <a:pos x="connsiteX2268" y="connsiteY2268"/>
                </a:cxn>
                <a:cxn ang="0">
                  <a:pos x="connsiteX2269" y="connsiteY2269"/>
                </a:cxn>
                <a:cxn ang="0">
                  <a:pos x="connsiteX2270" y="connsiteY2270"/>
                </a:cxn>
                <a:cxn ang="0">
                  <a:pos x="connsiteX2271" y="connsiteY2271"/>
                </a:cxn>
                <a:cxn ang="0">
                  <a:pos x="connsiteX2272" y="connsiteY2272"/>
                </a:cxn>
                <a:cxn ang="0">
                  <a:pos x="connsiteX2273" y="connsiteY2273"/>
                </a:cxn>
                <a:cxn ang="0">
                  <a:pos x="connsiteX2274" y="connsiteY2274"/>
                </a:cxn>
                <a:cxn ang="0">
                  <a:pos x="connsiteX2275" y="connsiteY2275"/>
                </a:cxn>
                <a:cxn ang="0">
                  <a:pos x="connsiteX2276" y="connsiteY2276"/>
                </a:cxn>
                <a:cxn ang="0">
                  <a:pos x="connsiteX2277" y="connsiteY2277"/>
                </a:cxn>
                <a:cxn ang="0">
                  <a:pos x="connsiteX2278" y="connsiteY2278"/>
                </a:cxn>
                <a:cxn ang="0">
                  <a:pos x="connsiteX2279" y="connsiteY2279"/>
                </a:cxn>
                <a:cxn ang="0">
                  <a:pos x="connsiteX2280" y="connsiteY2280"/>
                </a:cxn>
                <a:cxn ang="0">
                  <a:pos x="connsiteX2281" y="connsiteY2281"/>
                </a:cxn>
                <a:cxn ang="0">
                  <a:pos x="connsiteX2282" y="connsiteY2282"/>
                </a:cxn>
                <a:cxn ang="0">
                  <a:pos x="connsiteX2283" y="connsiteY2283"/>
                </a:cxn>
                <a:cxn ang="0">
                  <a:pos x="connsiteX2284" y="connsiteY2284"/>
                </a:cxn>
                <a:cxn ang="0">
                  <a:pos x="connsiteX2285" y="connsiteY2285"/>
                </a:cxn>
                <a:cxn ang="0">
                  <a:pos x="connsiteX2286" y="connsiteY2286"/>
                </a:cxn>
                <a:cxn ang="0">
                  <a:pos x="connsiteX2287" y="connsiteY2287"/>
                </a:cxn>
                <a:cxn ang="0">
                  <a:pos x="connsiteX2288" y="connsiteY2288"/>
                </a:cxn>
                <a:cxn ang="0">
                  <a:pos x="connsiteX2289" y="connsiteY2289"/>
                </a:cxn>
                <a:cxn ang="0">
                  <a:pos x="connsiteX2290" y="connsiteY2290"/>
                </a:cxn>
                <a:cxn ang="0">
                  <a:pos x="connsiteX2291" y="connsiteY2291"/>
                </a:cxn>
                <a:cxn ang="0">
                  <a:pos x="connsiteX2292" y="connsiteY2292"/>
                </a:cxn>
                <a:cxn ang="0">
                  <a:pos x="connsiteX2293" y="connsiteY2293"/>
                </a:cxn>
                <a:cxn ang="0">
                  <a:pos x="connsiteX2294" y="connsiteY2294"/>
                </a:cxn>
                <a:cxn ang="0">
                  <a:pos x="connsiteX2295" y="connsiteY2295"/>
                </a:cxn>
                <a:cxn ang="0">
                  <a:pos x="connsiteX2296" y="connsiteY2296"/>
                </a:cxn>
                <a:cxn ang="0">
                  <a:pos x="connsiteX2297" y="connsiteY2297"/>
                </a:cxn>
                <a:cxn ang="0">
                  <a:pos x="connsiteX2298" y="connsiteY2298"/>
                </a:cxn>
                <a:cxn ang="0">
                  <a:pos x="connsiteX2299" y="connsiteY2299"/>
                </a:cxn>
                <a:cxn ang="0">
                  <a:pos x="connsiteX2300" y="connsiteY2300"/>
                </a:cxn>
                <a:cxn ang="0">
                  <a:pos x="connsiteX2301" y="connsiteY2301"/>
                </a:cxn>
                <a:cxn ang="0">
                  <a:pos x="connsiteX2302" y="connsiteY2302"/>
                </a:cxn>
                <a:cxn ang="0">
                  <a:pos x="connsiteX2303" y="connsiteY2303"/>
                </a:cxn>
                <a:cxn ang="0">
                  <a:pos x="connsiteX2304" y="connsiteY2304"/>
                </a:cxn>
                <a:cxn ang="0">
                  <a:pos x="connsiteX2305" y="connsiteY2305"/>
                </a:cxn>
                <a:cxn ang="0">
                  <a:pos x="connsiteX2306" y="connsiteY2306"/>
                </a:cxn>
                <a:cxn ang="0">
                  <a:pos x="connsiteX2307" y="connsiteY2307"/>
                </a:cxn>
                <a:cxn ang="0">
                  <a:pos x="connsiteX2308" y="connsiteY2308"/>
                </a:cxn>
                <a:cxn ang="0">
                  <a:pos x="connsiteX2309" y="connsiteY2309"/>
                </a:cxn>
                <a:cxn ang="0">
                  <a:pos x="connsiteX2310" y="connsiteY2310"/>
                </a:cxn>
                <a:cxn ang="0">
                  <a:pos x="connsiteX2311" y="connsiteY2311"/>
                </a:cxn>
                <a:cxn ang="0">
                  <a:pos x="connsiteX2312" y="connsiteY2312"/>
                </a:cxn>
                <a:cxn ang="0">
                  <a:pos x="connsiteX2313" y="connsiteY2313"/>
                </a:cxn>
                <a:cxn ang="0">
                  <a:pos x="connsiteX2314" y="connsiteY2314"/>
                </a:cxn>
                <a:cxn ang="0">
                  <a:pos x="connsiteX2315" y="connsiteY2315"/>
                </a:cxn>
                <a:cxn ang="0">
                  <a:pos x="connsiteX2316" y="connsiteY2316"/>
                </a:cxn>
                <a:cxn ang="0">
                  <a:pos x="connsiteX2317" y="connsiteY2317"/>
                </a:cxn>
                <a:cxn ang="0">
                  <a:pos x="connsiteX2318" y="connsiteY2318"/>
                </a:cxn>
                <a:cxn ang="0">
                  <a:pos x="connsiteX2319" y="connsiteY2319"/>
                </a:cxn>
                <a:cxn ang="0">
                  <a:pos x="connsiteX2320" y="connsiteY2320"/>
                </a:cxn>
                <a:cxn ang="0">
                  <a:pos x="connsiteX2321" y="connsiteY2321"/>
                </a:cxn>
                <a:cxn ang="0">
                  <a:pos x="connsiteX2322" y="connsiteY2322"/>
                </a:cxn>
                <a:cxn ang="0">
                  <a:pos x="connsiteX2323" y="connsiteY2323"/>
                </a:cxn>
                <a:cxn ang="0">
                  <a:pos x="connsiteX2324" y="connsiteY2324"/>
                </a:cxn>
                <a:cxn ang="0">
                  <a:pos x="connsiteX2325" y="connsiteY2325"/>
                </a:cxn>
                <a:cxn ang="0">
                  <a:pos x="connsiteX2326" y="connsiteY2326"/>
                </a:cxn>
                <a:cxn ang="0">
                  <a:pos x="connsiteX2327" y="connsiteY2327"/>
                </a:cxn>
                <a:cxn ang="0">
                  <a:pos x="connsiteX2328" y="connsiteY2328"/>
                </a:cxn>
                <a:cxn ang="0">
                  <a:pos x="connsiteX2329" y="connsiteY2329"/>
                </a:cxn>
                <a:cxn ang="0">
                  <a:pos x="connsiteX2330" y="connsiteY2330"/>
                </a:cxn>
                <a:cxn ang="0">
                  <a:pos x="connsiteX2331" y="connsiteY2331"/>
                </a:cxn>
                <a:cxn ang="0">
                  <a:pos x="connsiteX2332" y="connsiteY2332"/>
                </a:cxn>
                <a:cxn ang="0">
                  <a:pos x="connsiteX2333" y="connsiteY2333"/>
                </a:cxn>
                <a:cxn ang="0">
                  <a:pos x="connsiteX2334" y="connsiteY2334"/>
                </a:cxn>
                <a:cxn ang="0">
                  <a:pos x="connsiteX2335" y="connsiteY2335"/>
                </a:cxn>
                <a:cxn ang="0">
                  <a:pos x="connsiteX2336" y="connsiteY2336"/>
                </a:cxn>
                <a:cxn ang="0">
                  <a:pos x="connsiteX2337" y="connsiteY2337"/>
                </a:cxn>
                <a:cxn ang="0">
                  <a:pos x="connsiteX2338" y="connsiteY2338"/>
                </a:cxn>
                <a:cxn ang="0">
                  <a:pos x="connsiteX2339" y="connsiteY2339"/>
                </a:cxn>
                <a:cxn ang="0">
                  <a:pos x="connsiteX2340" y="connsiteY2340"/>
                </a:cxn>
                <a:cxn ang="0">
                  <a:pos x="connsiteX2341" y="connsiteY2341"/>
                </a:cxn>
                <a:cxn ang="0">
                  <a:pos x="connsiteX2342" y="connsiteY2342"/>
                </a:cxn>
                <a:cxn ang="0">
                  <a:pos x="connsiteX2343" y="connsiteY2343"/>
                </a:cxn>
                <a:cxn ang="0">
                  <a:pos x="connsiteX2344" y="connsiteY2344"/>
                </a:cxn>
                <a:cxn ang="0">
                  <a:pos x="connsiteX2345" y="connsiteY2345"/>
                </a:cxn>
                <a:cxn ang="0">
                  <a:pos x="connsiteX2346" y="connsiteY2346"/>
                </a:cxn>
                <a:cxn ang="0">
                  <a:pos x="connsiteX2347" y="connsiteY2347"/>
                </a:cxn>
                <a:cxn ang="0">
                  <a:pos x="connsiteX2348" y="connsiteY2348"/>
                </a:cxn>
                <a:cxn ang="0">
                  <a:pos x="connsiteX2349" y="connsiteY2349"/>
                </a:cxn>
                <a:cxn ang="0">
                  <a:pos x="connsiteX2350" y="connsiteY2350"/>
                </a:cxn>
                <a:cxn ang="0">
                  <a:pos x="connsiteX2351" y="connsiteY2351"/>
                </a:cxn>
                <a:cxn ang="0">
                  <a:pos x="connsiteX2352" y="connsiteY2352"/>
                </a:cxn>
                <a:cxn ang="0">
                  <a:pos x="connsiteX2353" y="connsiteY2353"/>
                </a:cxn>
                <a:cxn ang="0">
                  <a:pos x="connsiteX2354" y="connsiteY2354"/>
                </a:cxn>
                <a:cxn ang="0">
                  <a:pos x="connsiteX2355" y="connsiteY2355"/>
                </a:cxn>
                <a:cxn ang="0">
                  <a:pos x="connsiteX2356" y="connsiteY2356"/>
                </a:cxn>
                <a:cxn ang="0">
                  <a:pos x="connsiteX2357" y="connsiteY2357"/>
                </a:cxn>
                <a:cxn ang="0">
                  <a:pos x="connsiteX2358" y="connsiteY2358"/>
                </a:cxn>
                <a:cxn ang="0">
                  <a:pos x="connsiteX2359" y="connsiteY2359"/>
                </a:cxn>
                <a:cxn ang="0">
                  <a:pos x="connsiteX2360" y="connsiteY2360"/>
                </a:cxn>
                <a:cxn ang="0">
                  <a:pos x="connsiteX2361" y="connsiteY2361"/>
                </a:cxn>
                <a:cxn ang="0">
                  <a:pos x="connsiteX2362" y="connsiteY2362"/>
                </a:cxn>
                <a:cxn ang="0">
                  <a:pos x="connsiteX2363" y="connsiteY2363"/>
                </a:cxn>
                <a:cxn ang="0">
                  <a:pos x="connsiteX2364" y="connsiteY2364"/>
                </a:cxn>
                <a:cxn ang="0">
                  <a:pos x="connsiteX2365" y="connsiteY2365"/>
                </a:cxn>
                <a:cxn ang="0">
                  <a:pos x="connsiteX2366" y="connsiteY2366"/>
                </a:cxn>
                <a:cxn ang="0">
                  <a:pos x="connsiteX2367" y="connsiteY2367"/>
                </a:cxn>
                <a:cxn ang="0">
                  <a:pos x="connsiteX2368" y="connsiteY2368"/>
                </a:cxn>
                <a:cxn ang="0">
                  <a:pos x="connsiteX2369" y="connsiteY2369"/>
                </a:cxn>
                <a:cxn ang="0">
                  <a:pos x="connsiteX2370" y="connsiteY2370"/>
                </a:cxn>
                <a:cxn ang="0">
                  <a:pos x="connsiteX2371" y="connsiteY2371"/>
                </a:cxn>
                <a:cxn ang="0">
                  <a:pos x="connsiteX2372" y="connsiteY2372"/>
                </a:cxn>
                <a:cxn ang="0">
                  <a:pos x="connsiteX2373" y="connsiteY2373"/>
                </a:cxn>
                <a:cxn ang="0">
                  <a:pos x="connsiteX2374" y="connsiteY2374"/>
                </a:cxn>
                <a:cxn ang="0">
                  <a:pos x="connsiteX2375" y="connsiteY2375"/>
                </a:cxn>
                <a:cxn ang="0">
                  <a:pos x="connsiteX2376" y="connsiteY2376"/>
                </a:cxn>
                <a:cxn ang="0">
                  <a:pos x="connsiteX2377" y="connsiteY2377"/>
                </a:cxn>
                <a:cxn ang="0">
                  <a:pos x="connsiteX2378" y="connsiteY2378"/>
                </a:cxn>
                <a:cxn ang="0">
                  <a:pos x="connsiteX2379" y="connsiteY2379"/>
                </a:cxn>
                <a:cxn ang="0">
                  <a:pos x="connsiteX2380" y="connsiteY2380"/>
                </a:cxn>
                <a:cxn ang="0">
                  <a:pos x="connsiteX2381" y="connsiteY2381"/>
                </a:cxn>
                <a:cxn ang="0">
                  <a:pos x="connsiteX2382" y="connsiteY2382"/>
                </a:cxn>
                <a:cxn ang="0">
                  <a:pos x="connsiteX2383" y="connsiteY2383"/>
                </a:cxn>
                <a:cxn ang="0">
                  <a:pos x="connsiteX2384" y="connsiteY2384"/>
                </a:cxn>
                <a:cxn ang="0">
                  <a:pos x="connsiteX2385" y="connsiteY2385"/>
                </a:cxn>
                <a:cxn ang="0">
                  <a:pos x="connsiteX2386" y="connsiteY2386"/>
                </a:cxn>
                <a:cxn ang="0">
                  <a:pos x="connsiteX2387" y="connsiteY2387"/>
                </a:cxn>
                <a:cxn ang="0">
                  <a:pos x="connsiteX2388" y="connsiteY2388"/>
                </a:cxn>
                <a:cxn ang="0">
                  <a:pos x="connsiteX2389" y="connsiteY2389"/>
                </a:cxn>
                <a:cxn ang="0">
                  <a:pos x="connsiteX2390" y="connsiteY2390"/>
                </a:cxn>
                <a:cxn ang="0">
                  <a:pos x="connsiteX2391" y="connsiteY2391"/>
                </a:cxn>
                <a:cxn ang="0">
                  <a:pos x="connsiteX2392" y="connsiteY2392"/>
                </a:cxn>
                <a:cxn ang="0">
                  <a:pos x="connsiteX2393" y="connsiteY2393"/>
                </a:cxn>
                <a:cxn ang="0">
                  <a:pos x="connsiteX2394" y="connsiteY2394"/>
                </a:cxn>
                <a:cxn ang="0">
                  <a:pos x="connsiteX2395" y="connsiteY2395"/>
                </a:cxn>
                <a:cxn ang="0">
                  <a:pos x="connsiteX2396" y="connsiteY2396"/>
                </a:cxn>
                <a:cxn ang="0">
                  <a:pos x="connsiteX2397" y="connsiteY2397"/>
                </a:cxn>
                <a:cxn ang="0">
                  <a:pos x="connsiteX2398" y="connsiteY2398"/>
                </a:cxn>
                <a:cxn ang="0">
                  <a:pos x="connsiteX2399" y="connsiteY2399"/>
                </a:cxn>
                <a:cxn ang="0">
                  <a:pos x="connsiteX2400" y="connsiteY2400"/>
                </a:cxn>
                <a:cxn ang="0">
                  <a:pos x="connsiteX2401" y="connsiteY2401"/>
                </a:cxn>
                <a:cxn ang="0">
                  <a:pos x="connsiteX2402" y="connsiteY2402"/>
                </a:cxn>
                <a:cxn ang="0">
                  <a:pos x="connsiteX2403" y="connsiteY2403"/>
                </a:cxn>
                <a:cxn ang="0">
                  <a:pos x="connsiteX2404" y="connsiteY2404"/>
                </a:cxn>
                <a:cxn ang="0">
                  <a:pos x="connsiteX2405" y="connsiteY2405"/>
                </a:cxn>
                <a:cxn ang="0">
                  <a:pos x="connsiteX2406" y="connsiteY2406"/>
                </a:cxn>
                <a:cxn ang="0">
                  <a:pos x="connsiteX2407" y="connsiteY2407"/>
                </a:cxn>
                <a:cxn ang="0">
                  <a:pos x="connsiteX2408" y="connsiteY2408"/>
                </a:cxn>
                <a:cxn ang="0">
                  <a:pos x="connsiteX2409" y="connsiteY2409"/>
                </a:cxn>
                <a:cxn ang="0">
                  <a:pos x="connsiteX2410" y="connsiteY2410"/>
                </a:cxn>
                <a:cxn ang="0">
                  <a:pos x="connsiteX2411" y="connsiteY2411"/>
                </a:cxn>
                <a:cxn ang="0">
                  <a:pos x="connsiteX2412" y="connsiteY2412"/>
                </a:cxn>
                <a:cxn ang="0">
                  <a:pos x="connsiteX2413" y="connsiteY2413"/>
                </a:cxn>
                <a:cxn ang="0">
                  <a:pos x="connsiteX2414" y="connsiteY2414"/>
                </a:cxn>
                <a:cxn ang="0">
                  <a:pos x="connsiteX2415" y="connsiteY2415"/>
                </a:cxn>
                <a:cxn ang="0">
                  <a:pos x="connsiteX2416" y="connsiteY2416"/>
                </a:cxn>
                <a:cxn ang="0">
                  <a:pos x="connsiteX2417" y="connsiteY2417"/>
                </a:cxn>
                <a:cxn ang="0">
                  <a:pos x="connsiteX2418" y="connsiteY2418"/>
                </a:cxn>
                <a:cxn ang="0">
                  <a:pos x="connsiteX2419" y="connsiteY2419"/>
                </a:cxn>
                <a:cxn ang="0">
                  <a:pos x="connsiteX2420" y="connsiteY2420"/>
                </a:cxn>
                <a:cxn ang="0">
                  <a:pos x="connsiteX2421" y="connsiteY2421"/>
                </a:cxn>
                <a:cxn ang="0">
                  <a:pos x="connsiteX2422" y="connsiteY2422"/>
                </a:cxn>
                <a:cxn ang="0">
                  <a:pos x="connsiteX2423" y="connsiteY2423"/>
                </a:cxn>
                <a:cxn ang="0">
                  <a:pos x="connsiteX2424" y="connsiteY2424"/>
                </a:cxn>
                <a:cxn ang="0">
                  <a:pos x="connsiteX2425" y="connsiteY2425"/>
                </a:cxn>
                <a:cxn ang="0">
                  <a:pos x="connsiteX2426" y="connsiteY2426"/>
                </a:cxn>
                <a:cxn ang="0">
                  <a:pos x="connsiteX2427" y="connsiteY2427"/>
                </a:cxn>
                <a:cxn ang="0">
                  <a:pos x="connsiteX2428" y="connsiteY2428"/>
                </a:cxn>
                <a:cxn ang="0">
                  <a:pos x="connsiteX2429" y="connsiteY2429"/>
                </a:cxn>
                <a:cxn ang="0">
                  <a:pos x="connsiteX2430" y="connsiteY2430"/>
                </a:cxn>
                <a:cxn ang="0">
                  <a:pos x="connsiteX2431" y="connsiteY2431"/>
                </a:cxn>
                <a:cxn ang="0">
                  <a:pos x="connsiteX2432" y="connsiteY2432"/>
                </a:cxn>
                <a:cxn ang="0">
                  <a:pos x="connsiteX2433" y="connsiteY2433"/>
                </a:cxn>
                <a:cxn ang="0">
                  <a:pos x="connsiteX2434" y="connsiteY2434"/>
                </a:cxn>
                <a:cxn ang="0">
                  <a:pos x="connsiteX2435" y="connsiteY2435"/>
                </a:cxn>
                <a:cxn ang="0">
                  <a:pos x="connsiteX2436" y="connsiteY2436"/>
                </a:cxn>
                <a:cxn ang="0">
                  <a:pos x="connsiteX2437" y="connsiteY2437"/>
                </a:cxn>
                <a:cxn ang="0">
                  <a:pos x="connsiteX2438" y="connsiteY2438"/>
                </a:cxn>
                <a:cxn ang="0">
                  <a:pos x="connsiteX2439" y="connsiteY2439"/>
                </a:cxn>
                <a:cxn ang="0">
                  <a:pos x="connsiteX2440" y="connsiteY2440"/>
                </a:cxn>
                <a:cxn ang="0">
                  <a:pos x="connsiteX2441" y="connsiteY2441"/>
                </a:cxn>
                <a:cxn ang="0">
                  <a:pos x="connsiteX2442" y="connsiteY2442"/>
                </a:cxn>
                <a:cxn ang="0">
                  <a:pos x="connsiteX2443" y="connsiteY2443"/>
                </a:cxn>
                <a:cxn ang="0">
                  <a:pos x="connsiteX2444" y="connsiteY2444"/>
                </a:cxn>
                <a:cxn ang="0">
                  <a:pos x="connsiteX2445" y="connsiteY2445"/>
                </a:cxn>
                <a:cxn ang="0">
                  <a:pos x="connsiteX2446" y="connsiteY2446"/>
                </a:cxn>
                <a:cxn ang="0">
                  <a:pos x="connsiteX2447" y="connsiteY2447"/>
                </a:cxn>
                <a:cxn ang="0">
                  <a:pos x="connsiteX2448" y="connsiteY2448"/>
                </a:cxn>
                <a:cxn ang="0">
                  <a:pos x="connsiteX2449" y="connsiteY2449"/>
                </a:cxn>
                <a:cxn ang="0">
                  <a:pos x="connsiteX2450" y="connsiteY2450"/>
                </a:cxn>
                <a:cxn ang="0">
                  <a:pos x="connsiteX2451" y="connsiteY2451"/>
                </a:cxn>
                <a:cxn ang="0">
                  <a:pos x="connsiteX2452" y="connsiteY2452"/>
                </a:cxn>
                <a:cxn ang="0">
                  <a:pos x="connsiteX2453" y="connsiteY2453"/>
                </a:cxn>
                <a:cxn ang="0">
                  <a:pos x="connsiteX2454" y="connsiteY2454"/>
                </a:cxn>
                <a:cxn ang="0">
                  <a:pos x="connsiteX2455" y="connsiteY2455"/>
                </a:cxn>
                <a:cxn ang="0">
                  <a:pos x="connsiteX2456" y="connsiteY2456"/>
                </a:cxn>
                <a:cxn ang="0">
                  <a:pos x="connsiteX2457" y="connsiteY2457"/>
                </a:cxn>
                <a:cxn ang="0">
                  <a:pos x="connsiteX2458" y="connsiteY2458"/>
                </a:cxn>
                <a:cxn ang="0">
                  <a:pos x="connsiteX2459" y="connsiteY2459"/>
                </a:cxn>
                <a:cxn ang="0">
                  <a:pos x="connsiteX2460" y="connsiteY2460"/>
                </a:cxn>
                <a:cxn ang="0">
                  <a:pos x="connsiteX2461" y="connsiteY2461"/>
                </a:cxn>
                <a:cxn ang="0">
                  <a:pos x="connsiteX2462" y="connsiteY2462"/>
                </a:cxn>
                <a:cxn ang="0">
                  <a:pos x="connsiteX2463" y="connsiteY2463"/>
                </a:cxn>
                <a:cxn ang="0">
                  <a:pos x="connsiteX2464" y="connsiteY2464"/>
                </a:cxn>
                <a:cxn ang="0">
                  <a:pos x="connsiteX2465" y="connsiteY2465"/>
                </a:cxn>
                <a:cxn ang="0">
                  <a:pos x="connsiteX2466" y="connsiteY2466"/>
                </a:cxn>
                <a:cxn ang="0">
                  <a:pos x="connsiteX2467" y="connsiteY2467"/>
                </a:cxn>
                <a:cxn ang="0">
                  <a:pos x="connsiteX2468" y="connsiteY2468"/>
                </a:cxn>
                <a:cxn ang="0">
                  <a:pos x="connsiteX2469" y="connsiteY2469"/>
                </a:cxn>
                <a:cxn ang="0">
                  <a:pos x="connsiteX2470" y="connsiteY2470"/>
                </a:cxn>
                <a:cxn ang="0">
                  <a:pos x="connsiteX2471" y="connsiteY2471"/>
                </a:cxn>
                <a:cxn ang="0">
                  <a:pos x="connsiteX2472" y="connsiteY2472"/>
                </a:cxn>
                <a:cxn ang="0">
                  <a:pos x="connsiteX2473" y="connsiteY2473"/>
                </a:cxn>
                <a:cxn ang="0">
                  <a:pos x="connsiteX2474" y="connsiteY2474"/>
                </a:cxn>
                <a:cxn ang="0">
                  <a:pos x="connsiteX2475" y="connsiteY2475"/>
                </a:cxn>
                <a:cxn ang="0">
                  <a:pos x="connsiteX2476" y="connsiteY2476"/>
                </a:cxn>
                <a:cxn ang="0">
                  <a:pos x="connsiteX2477" y="connsiteY2477"/>
                </a:cxn>
                <a:cxn ang="0">
                  <a:pos x="connsiteX2478" y="connsiteY2478"/>
                </a:cxn>
                <a:cxn ang="0">
                  <a:pos x="connsiteX2479" y="connsiteY2479"/>
                </a:cxn>
                <a:cxn ang="0">
                  <a:pos x="connsiteX2480" y="connsiteY2480"/>
                </a:cxn>
                <a:cxn ang="0">
                  <a:pos x="connsiteX2481" y="connsiteY2481"/>
                </a:cxn>
                <a:cxn ang="0">
                  <a:pos x="connsiteX2482" y="connsiteY2482"/>
                </a:cxn>
                <a:cxn ang="0">
                  <a:pos x="connsiteX2483" y="connsiteY2483"/>
                </a:cxn>
                <a:cxn ang="0">
                  <a:pos x="connsiteX2484" y="connsiteY2484"/>
                </a:cxn>
                <a:cxn ang="0">
                  <a:pos x="connsiteX2485" y="connsiteY2485"/>
                </a:cxn>
                <a:cxn ang="0">
                  <a:pos x="connsiteX2486" y="connsiteY2486"/>
                </a:cxn>
                <a:cxn ang="0">
                  <a:pos x="connsiteX2487" y="connsiteY2487"/>
                </a:cxn>
                <a:cxn ang="0">
                  <a:pos x="connsiteX2488" y="connsiteY2488"/>
                </a:cxn>
                <a:cxn ang="0">
                  <a:pos x="connsiteX2489" y="connsiteY2489"/>
                </a:cxn>
                <a:cxn ang="0">
                  <a:pos x="connsiteX2490" y="connsiteY2490"/>
                </a:cxn>
                <a:cxn ang="0">
                  <a:pos x="connsiteX2491" y="connsiteY2491"/>
                </a:cxn>
                <a:cxn ang="0">
                  <a:pos x="connsiteX2492" y="connsiteY2492"/>
                </a:cxn>
                <a:cxn ang="0">
                  <a:pos x="connsiteX2493" y="connsiteY2493"/>
                </a:cxn>
                <a:cxn ang="0">
                  <a:pos x="connsiteX2494" y="connsiteY2494"/>
                </a:cxn>
                <a:cxn ang="0">
                  <a:pos x="connsiteX2495" y="connsiteY2495"/>
                </a:cxn>
                <a:cxn ang="0">
                  <a:pos x="connsiteX2496" y="connsiteY2496"/>
                </a:cxn>
                <a:cxn ang="0">
                  <a:pos x="connsiteX2497" y="connsiteY2497"/>
                </a:cxn>
                <a:cxn ang="0">
                  <a:pos x="connsiteX2498" y="connsiteY2498"/>
                </a:cxn>
                <a:cxn ang="0">
                  <a:pos x="connsiteX2499" y="connsiteY2499"/>
                </a:cxn>
                <a:cxn ang="0">
                  <a:pos x="connsiteX2500" y="connsiteY2500"/>
                </a:cxn>
                <a:cxn ang="0">
                  <a:pos x="connsiteX2501" y="connsiteY2501"/>
                </a:cxn>
                <a:cxn ang="0">
                  <a:pos x="connsiteX2502" y="connsiteY2502"/>
                </a:cxn>
                <a:cxn ang="0">
                  <a:pos x="connsiteX2503" y="connsiteY2503"/>
                </a:cxn>
                <a:cxn ang="0">
                  <a:pos x="connsiteX2504" y="connsiteY2504"/>
                </a:cxn>
                <a:cxn ang="0">
                  <a:pos x="connsiteX2505" y="connsiteY2505"/>
                </a:cxn>
                <a:cxn ang="0">
                  <a:pos x="connsiteX2506" y="connsiteY2506"/>
                </a:cxn>
                <a:cxn ang="0">
                  <a:pos x="connsiteX2507" y="connsiteY2507"/>
                </a:cxn>
                <a:cxn ang="0">
                  <a:pos x="connsiteX2508" y="connsiteY2508"/>
                </a:cxn>
                <a:cxn ang="0">
                  <a:pos x="connsiteX2509" y="connsiteY2509"/>
                </a:cxn>
                <a:cxn ang="0">
                  <a:pos x="connsiteX2510" y="connsiteY2510"/>
                </a:cxn>
                <a:cxn ang="0">
                  <a:pos x="connsiteX2511" y="connsiteY2511"/>
                </a:cxn>
                <a:cxn ang="0">
                  <a:pos x="connsiteX2512" y="connsiteY2512"/>
                </a:cxn>
                <a:cxn ang="0">
                  <a:pos x="connsiteX2513" y="connsiteY2513"/>
                </a:cxn>
                <a:cxn ang="0">
                  <a:pos x="connsiteX2514" y="connsiteY2514"/>
                </a:cxn>
                <a:cxn ang="0">
                  <a:pos x="connsiteX2515" y="connsiteY2515"/>
                </a:cxn>
                <a:cxn ang="0">
                  <a:pos x="connsiteX2516" y="connsiteY2516"/>
                </a:cxn>
                <a:cxn ang="0">
                  <a:pos x="connsiteX2517" y="connsiteY2517"/>
                </a:cxn>
                <a:cxn ang="0">
                  <a:pos x="connsiteX2518" y="connsiteY2518"/>
                </a:cxn>
                <a:cxn ang="0">
                  <a:pos x="connsiteX2519" y="connsiteY2519"/>
                </a:cxn>
                <a:cxn ang="0">
                  <a:pos x="connsiteX2520" y="connsiteY2520"/>
                </a:cxn>
                <a:cxn ang="0">
                  <a:pos x="connsiteX2521" y="connsiteY2521"/>
                </a:cxn>
                <a:cxn ang="0">
                  <a:pos x="connsiteX2522" y="connsiteY2522"/>
                </a:cxn>
                <a:cxn ang="0">
                  <a:pos x="connsiteX2523" y="connsiteY2523"/>
                </a:cxn>
                <a:cxn ang="0">
                  <a:pos x="connsiteX2524" y="connsiteY2524"/>
                </a:cxn>
                <a:cxn ang="0">
                  <a:pos x="connsiteX2525" y="connsiteY2525"/>
                </a:cxn>
                <a:cxn ang="0">
                  <a:pos x="connsiteX2526" y="connsiteY2526"/>
                </a:cxn>
                <a:cxn ang="0">
                  <a:pos x="connsiteX2527" y="connsiteY2527"/>
                </a:cxn>
                <a:cxn ang="0">
                  <a:pos x="connsiteX2528" y="connsiteY2528"/>
                </a:cxn>
                <a:cxn ang="0">
                  <a:pos x="connsiteX2529" y="connsiteY2529"/>
                </a:cxn>
                <a:cxn ang="0">
                  <a:pos x="connsiteX2530" y="connsiteY2530"/>
                </a:cxn>
                <a:cxn ang="0">
                  <a:pos x="connsiteX2531" y="connsiteY2531"/>
                </a:cxn>
                <a:cxn ang="0">
                  <a:pos x="connsiteX2532" y="connsiteY2532"/>
                </a:cxn>
                <a:cxn ang="0">
                  <a:pos x="connsiteX2533" y="connsiteY2533"/>
                </a:cxn>
                <a:cxn ang="0">
                  <a:pos x="connsiteX2534" y="connsiteY2534"/>
                </a:cxn>
                <a:cxn ang="0">
                  <a:pos x="connsiteX2535" y="connsiteY2535"/>
                </a:cxn>
                <a:cxn ang="0">
                  <a:pos x="connsiteX2536" y="connsiteY2536"/>
                </a:cxn>
                <a:cxn ang="0">
                  <a:pos x="connsiteX2537" y="connsiteY2537"/>
                </a:cxn>
                <a:cxn ang="0">
                  <a:pos x="connsiteX2538" y="connsiteY2538"/>
                </a:cxn>
                <a:cxn ang="0">
                  <a:pos x="connsiteX2539" y="connsiteY2539"/>
                </a:cxn>
                <a:cxn ang="0">
                  <a:pos x="connsiteX2540" y="connsiteY2540"/>
                </a:cxn>
                <a:cxn ang="0">
                  <a:pos x="connsiteX2541" y="connsiteY2541"/>
                </a:cxn>
                <a:cxn ang="0">
                  <a:pos x="connsiteX2542" y="connsiteY2542"/>
                </a:cxn>
                <a:cxn ang="0">
                  <a:pos x="connsiteX2543" y="connsiteY2543"/>
                </a:cxn>
                <a:cxn ang="0">
                  <a:pos x="connsiteX2544" y="connsiteY2544"/>
                </a:cxn>
                <a:cxn ang="0">
                  <a:pos x="connsiteX2545" y="connsiteY2545"/>
                </a:cxn>
                <a:cxn ang="0">
                  <a:pos x="connsiteX2546" y="connsiteY2546"/>
                </a:cxn>
                <a:cxn ang="0">
                  <a:pos x="connsiteX2547" y="connsiteY2547"/>
                </a:cxn>
                <a:cxn ang="0">
                  <a:pos x="connsiteX2548" y="connsiteY2548"/>
                </a:cxn>
                <a:cxn ang="0">
                  <a:pos x="connsiteX2549" y="connsiteY2549"/>
                </a:cxn>
                <a:cxn ang="0">
                  <a:pos x="connsiteX2550" y="connsiteY2550"/>
                </a:cxn>
                <a:cxn ang="0">
                  <a:pos x="connsiteX2551" y="connsiteY2551"/>
                </a:cxn>
                <a:cxn ang="0">
                  <a:pos x="connsiteX2552" y="connsiteY2552"/>
                </a:cxn>
                <a:cxn ang="0">
                  <a:pos x="connsiteX2553" y="connsiteY2553"/>
                </a:cxn>
                <a:cxn ang="0">
                  <a:pos x="connsiteX2554" y="connsiteY2554"/>
                </a:cxn>
                <a:cxn ang="0">
                  <a:pos x="connsiteX2555" y="connsiteY2555"/>
                </a:cxn>
                <a:cxn ang="0">
                  <a:pos x="connsiteX2556" y="connsiteY2556"/>
                </a:cxn>
                <a:cxn ang="0">
                  <a:pos x="connsiteX2557" y="connsiteY2557"/>
                </a:cxn>
                <a:cxn ang="0">
                  <a:pos x="connsiteX2558" y="connsiteY2558"/>
                </a:cxn>
                <a:cxn ang="0">
                  <a:pos x="connsiteX2559" y="connsiteY2559"/>
                </a:cxn>
                <a:cxn ang="0">
                  <a:pos x="connsiteX2560" y="connsiteY2560"/>
                </a:cxn>
                <a:cxn ang="0">
                  <a:pos x="connsiteX2561" y="connsiteY2561"/>
                </a:cxn>
                <a:cxn ang="0">
                  <a:pos x="connsiteX2562" y="connsiteY2562"/>
                </a:cxn>
                <a:cxn ang="0">
                  <a:pos x="connsiteX2563" y="connsiteY2563"/>
                </a:cxn>
                <a:cxn ang="0">
                  <a:pos x="connsiteX2564" y="connsiteY2564"/>
                </a:cxn>
                <a:cxn ang="0">
                  <a:pos x="connsiteX2565" y="connsiteY2565"/>
                </a:cxn>
                <a:cxn ang="0">
                  <a:pos x="connsiteX2566" y="connsiteY2566"/>
                </a:cxn>
                <a:cxn ang="0">
                  <a:pos x="connsiteX2567" y="connsiteY2567"/>
                </a:cxn>
                <a:cxn ang="0">
                  <a:pos x="connsiteX2568" y="connsiteY2568"/>
                </a:cxn>
                <a:cxn ang="0">
                  <a:pos x="connsiteX2569" y="connsiteY2569"/>
                </a:cxn>
                <a:cxn ang="0">
                  <a:pos x="connsiteX2570" y="connsiteY2570"/>
                </a:cxn>
                <a:cxn ang="0">
                  <a:pos x="connsiteX2571" y="connsiteY2571"/>
                </a:cxn>
                <a:cxn ang="0">
                  <a:pos x="connsiteX2572" y="connsiteY2572"/>
                </a:cxn>
                <a:cxn ang="0">
                  <a:pos x="connsiteX2573" y="connsiteY2573"/>
                </a:cxn>
                <a:cxn ang="0">
                  <a:pos x="connsiteX2574" y="connsiteY2574"/>
                </a:cxn>
                <a:cxn ang="0">
                  <a:pos x="connsiteX2575" y="connsiteY2575"/>
                </a:cxn>
                <a:cxn ang="0">
                  <a:pos x="connsiteX2576" y="connsiteY2576"/>
                </a:cxn>
                <a:cxn ang="0">
                  <a:pos x="connsiteX2577" y="connsiteY2577"/>
                </a:cxn>
                <a:cxn ang="0">
                  <a:pos x="connsiteX2578" y="connsiteY2578"/>
                </a:cxn>
                <a:cxn ang="0">
                  <a:pos x="connsiteX2579" y="connsiteY2579"/>
                </a:cxn>
                <a:cxn ang="0">
                  <a:pos x="connsiteX2580" y="connsiteY2580"/>
                </a:cxn>
                <a:cxn ang="0">
                  <a:pos x="connsiteX2581" y="connsiteY2581"/>
                </a:cxn>
                <a:cxn ang="0">
                  <a:pos x="connsiteX2582" y="connsiteY2582"/>
                </a:cxn>
                <a:cxn ang="0">
                  <a:pos x="connsiteX2583" y="connsiteY2583"/>
                </a:cxn>
                <a:cxn ang="0">
                  <a:pos x="connsiteX2584" y="connsiteY2584"/>
                </a:cxn>
                <a:cxn ang="0">
                  <a:pos x="connsiteX2585" y="connsiteY2585"/>
                </a:cxn>
                <a:cxn ang="0">
                  <a:pos x="connsiteX2586" y="connsiteY2586"/>
                </a:cxn>
                <a:cxn ang="0">
                  <a:pos x="connsiteX2587" y="connsiteY2587"/>
                </a:cxn>
                <a:cxn ang="0">
                  <a:pos x="connsiteX2588" y="connsiteY2588"/>
                </a:cxn>
                <a:cxn ang="0">
                  <a:pos x="connsiteX2589" y="connsiteY2589"/>
                </a:cxn>
                <a:cxn ang="0">
                  <a:pos x="connsiteX2590" y="connsiteY2590"/>
                </a:cxn>
                <a:cxn ang="0">
                  <a:pos x="connsiteX2591" y="connsiteY2591"/>
                </a:cxn>
                <a:cxn ang="0">
                  <a:pos x="connsiteX2592" y="connsiteY2592"/>
                </a:cxn>
                <a:cxn ang="0">
                  <a:pos x="connsiteX2593" y="connsiteY2593"/>
                </a:cxn>
                <a:cxn ang="0">
                  <a:pos x="connsiteX2594" y="connsiteY2594"/>
                </a:cxn>
                <a:cxn ang="0">
                  <a:pos x="connsiteX2595" y="connsiteY2595"/>
                </a:cxn>
                <a:cxn ang="0">
                  <a:pos x="connsiteX2596" y="connsiteY2596"/>
                </a:cxn>
                <a:cxn ang="0">
                  <a:pos x="connsiteX2597" y="connsiteY2597"/>
                </a:cxn>
                <a:cxn ang="0">
                  <a:pos x="connsiteX2598" y="connsiteY2598"/>
                </a:cxn>
                <a:cxn ang="0">
                  <a:pos x="connsiteX2599" y="connsiteY2599"/>
                </a:cxn>
                <a:cxn ang="0">
                  <a:pos x="connsiteX2600" y="connsiteY2600"/>
                </a:cxn>
                <a:cxn ang="0">
                  <a:pos x="connsiteX2601" y="connsiteY2601"/>
                </a:cxn>
                <a:cxn ang="0">
                  <a:pos x="connsiteX2602" y="connsiteY2602"/>
                </a:cxn>
                <a:cxn ang="0">
                  <a:pos x="connsiteX2603" y="connsiteY2603"/>
                </a:cxn>
                <a:cxn ang="0">
                  <a:pos x="connsiteX2604" y="connsiteY2604"/>
                </a:cxn>
                <a:cxn ang="0">
                  <a:pos x="connsiteX2605" y="connsiteY2605"/>
                </a:cxn>
                <a:cxn ang="0">
                  <a:pos x="connsiteX2606" y="connsiteY2606"/>
                </a:cxn>
                <a:cxn ang="0">
                  <a:pos x="connsiteX2607" y="connsiteY2607"/>
                </a:cxn>
                <a:cxn ang="0">
                  <a:pos x="connsiteX2608" y="connsiteY2608"/>
                </a:cxn>
                <a:cxn ang="0">
                  <a:pos x="connsiteX2609" y="connsiteY2609"/>
                </a:cxn>
                <a:cxn ang="0">
                  <a:pos x="connsiteX2610" y="connsiteY2610"/>
                </a:cxn>
                <a:cxn ang="0">
                  <a:pos x="connsiteX2611" y="connsiteY2611"/>
                </a:cxn>
                <a:cxn ang="0">
                  <a:pos x="connsiteX2612" y="connsiteY2612"/>
                </a:cxn>
                <a:cxn ang="0">
                  <a:pos x="connsiteX2613" y="connsiteY2613"/>
                </a:cxn>
                <a:cxn ang="0">
                  <a:pos x="connsiteX2614" y="connsiteY2614"/>
                </a:cxn>
                <a:cxn ang="0">
                  <a:pos x="connsiteX2615" y="connsiteY2615"/>
                </a:cxn>
                <a:cxn ang="0">
                  <a:pos x="connsiteX2616" y="connsiteY2616"/>
                </a:cxn>
                <a:cxn ang="0">
                  <a:pos x="connsiteX2617" y="connsiteY2617"/>
                </a:cxn>
                <a:cxn ang="0">
                  <a:pos x="connsiteX2618" y="connsiteY2618"/>
                </a:cxn>
                <a:cxn ang="0">
                  <a:pos x="connsiteX2619" y="connsiteY2619"/>
                </a:cxn>
                <a:cxn ang="0">
                  <a:pos x="connsiteX2620" y="connsiteY2620"/>
                </a:cxn>
                <a:cxn ang="0">
                  <a:pos x="connsiteX2621" y="connsiteY2621"/>
                </a:cxn>
                <a:cxn ang="0">
                  <a:pos x="connsiteX2622" y="connsiteY2622"/>
                </a:cxn>
                <a:cxn ang="0">
                  <a:pos x="connsiteX2623" y="connsiteY2623"/>
                </a:cxn>
                <a:cxn ang="0">
                  <a:pos x="connsiteX2624" y="connsiteY2624"/>
                </a:cxn>
                <a:cxn ang="0">
                  <a:pos x="connsiteX2625" y="connsiteY2625"/>
                </a:cxn>
                <a:cxn ang="0">
                  <a:pos x="connsiteX2626" y="connsiteY2626"/>
                </a:cxn>
                <a:cxn ang="0">
                  <a:pos x="connsiteX2627" y="connsiteY2627"/>
                </a:cxn>
                <a:cxn ang="0">
                  <a:pos x="connsiteX2628" y="connsiteY2628"/>
                </a:cxn>
                <a:cxn ang="0">
                  <a:pos x="connsiteX2629" y="connsiteY2629"/>
                </a:cxn>
                <a:cxn ang="0">
                  <a:pos x="connsiteX2630" y="connsiteY2630"/>
                </a:cxn>
                <a:cxn ang="0">
                  <a:pos x="connsiteX2631" y="connsiteY2631"/>
                </a:cxn>
                <a:cxn ang="0">
                  <a:pos x="connsiteX2632" y="connsiteY2632"/>
                </a:cxn>
                <a:cxn ang="0">
                  <a:pos x="connsiteX2633" y="connsiteY2633"/>
                </a:cxn>
                <a:cxn ang="0">
                  <a:pos x="connsiteX2634" y="connsiteY2634"/>
                </a:cxn>
                <a:cxn ang="0">
                  <a:pos x="connsiteX2635" y="connsiteY2635"/>
                </a:cxn>
                <a:cxn ang="0">
                  <a:pos x="connsiteX2636" y="connsiteY2636"/>
                </a:cxn>
                <a:cxn ang="0">
                  <a:pos x="connsiteX2637" y="connsiteY2637"/>
                </a:cxn>
                <a:cxn ang="0">
                  <a:pos x="connsiteX2638" y="connsiteY2638"/>
                </a:cxn>
                <a:cxn ang="0">
                  <a:pos x="connsiteX2639" y="connsiteY2639"/>
                </a:cxn>
                <a:cxn ang="0">
                  <a:pos x="connsiteX2640" y="connsiteY2640"/>
                </a:cxn>
                <a:cxn ang="0">
                  <a:pos x="connsiteX2641" y="connsiteY2641"/>
                </a:cxn>
                <a:cxn ang="0">
                  <a:pos x="connsiteX2642" y="connsiteY2642"/>
                </a:cxn>
                <a:cxn ang="0">
                  <a:pos x="connsiteX2643" y="connsiteY2643"/>
                </a:cxn>
                <a:cxn ang="0">
                  <a:pos x="connsiteX2644" y="connsiteY2644"/>
                </a:cxn>
                <a:cxn ang="0">
                  <a:pos x="connsiteX2645" y="connsiteY2645"/>
                </a:cxn>
                <a:cxn ang="0">
                  <a:pos x="connsiteX2646" y="connsiteY2646"/>
                </a:cxn>
                <a:cxn ang="0">
                  <a:pos x="connsiteX2647" y="connsiteY2647"/>
                </a:cxn>
                <a:cxn ang="0">
                  <a:pos x="connsiteX2648" y="connsiteY2648"/>
                </a:cxn>
                <a:cxn ang="0">
                  <a:pos x="connsiteX2649" y="connsiteY2649"/>
                </a:cxn>
                <a:cxn ang="0">
                  <a:pos x="connsiteX2650" y="connsiteY2650"/>
                </a:cxn>
                <a:cxn ang="0">
                  <a:pos x="connsiteX2651" y="connsiteY2651"/>
                </a:cxn>
                <a:cxn ang="0">
                  <a:pos x="connsiteX2652" y="connsiteY2652"/>
                </a:cxn>
                <a:cxn ang="0">
                  <a:pos x="connsiteX2653" y="connsiteY2653"/>
                </a:cxn>
                <a:cxn ang="0">
                  <a:pos x="connsiteX2654" y="connsiteY2654"/>
                </a:cxn>
                <a:cxn ang="0">
                  <a:pos x="connsiteX2655" y="connsiteY2655"/>
                </a:cxn>
                <a:cxn ang="0">
                  <a:pos x="connsiteX2656" y="connsiteY2656"/>
                </a:cxn>
                <a:cxn ang="0">
                  <a:pos x="connsiteX2657" y="connsiteY2657"/>
                </a:cxn>
                <a:cxn ang="0">
                  <a:pos x="connsiteX2658" y="connsiteY2658"/>
                </a:cxn>
                <a:cxn ang="0">
                  <a:pos x="connsiteX2659" y="connsiteY2659"/>
                </a:cxn>
                <a:cxn ang="0">
                  <a:pos x="connsiteX2660" y="connsiteY2660"/>
                </a:cxn>
                <a:cxn ang="0">
                  <a:pos x="connsiteX2661" y="connsiteY2661"/>
                </a:cxn>
                <a:cxn ang="0">
                  <a:pos x="connsiteX2662" y="connsiteY2662"/>
                </a:cxn>
                <a:cxn ang="0">
                  <a:pos x="connsiteX2663" y="connsiteY2663"/>
                </a:cxn>
                <a:cxn ang="0">
                  <a:pos x="connsiteX2664" y="connsiteY2664"/>
                </a:cxn>
                <a:cxn ang="0">
                  <a:pos x="connsiteX2665" y="connsiteY2665"/>
                </a:cxn>
                <a:cxn ang="0">
                  <a:pos x="connsiteX2666" y="connsiteY2666"/>
                </a:cxn>
                <a:cxn ang="0">
                  <a:pos x="connsiteX2667" y="connsiteY2667"/>
                </a:cxn>
                <a:cxn ang="0">
                  <a:pos x="connsiteX2668" y="connsiteY2668"/>
                </a:cxn>
                <a:cxn ang="0">
                  <a:pos x="connsiteX2669" y="connsiteY2669"/>
                </a:cxn>
                <a:cxn ang="0">
                  <a:pos x="connsiteX2670" y="connsiteY2670"/>
                </a:cxn>
                <a:cxn ang="0">
                  <a:pos x="connsiteX2671" y="connsiteY2671"/>
                </a:cxn>
                <a:cxn ang="0">
                  <a:pos x="connsiteX2672" y="connsiteY2672"/>
                </a:cxn>
              </a:cxnLst>
              <a:rect l="l" t="t" r="r" b="b"/>
              <a:pathLst>
                <a:path w="1352046" h="905809">
                  <a:moveTo>
                    <a:pt x="819130" y="861795"/>
                  </a:moveTo>
                  <a:lnTo>
                    <a:pt x="819723" y="861811"/>
                  </a:lnTo>
                  <a:lnTo>
                    <a:pt x="821182" y="863596"/>
                  </a:lnTo>
                  <a:lnTo>
                    <a:pt x="822609" y="864633"/>
                  </a:lnTo>
                  <a:lnTo>
                    <a:pt x="824372" y="865150"/>
                  </a:lnTo>
                  <a:lnTo>
                    <a:pt x="825467" y="866171"/>
                  </a:lnTo>
                  <a:lnTo>
                    <a:pt x="826184" y="867648"/>
                  </a:lnTo>
                  <a:lnTo>
                    <a:pt x="826780" y="870375"/>
                  </a:lnTo>
                  <a:lnTo>
                    <a:pt x="827134" y="872884"/>
                  </a:lnTo>
                  <a:lnTo>
                    <a:pt x="824901" y="874478"/>
                  </a:lnTo>
                  <a:lnTo>
                    <a:pt x="822901" y="875125"/>
                  </a:lnTo>
                  <a:lnTo>
                    <a:pt x="818891" y="881246"/>
                  </a:lnTo>
                  <a:lnTo>
                    <a:pt x="818055" y="883177"/>
                  </a:lnTo>
                  <a:lnTo>
                    <a:pt x="817371" y="883983"/>
                  </a:lnTo>
                  <a:lnTo>
                    <a:pt x="817157" y="884825"/>
                  </a:lnTo>
                  <a:lnTo>
                    <a:pt x="817235" y="885664"/>
                  </a:lnTo>
                  <a:lnTo>
                    <a:pt x="816203" y="888605"/>
                  </a:lnTo>
                  <a:lnTo>
                    <a:pt x="815281" y="892215"/>
                  </a:lnTo>
                  <a:lnTo>
                    <a:pt x="814697" y="893695"/>
                  </a:lnTo>
                  <a:lnTo>
                    <a:pt x="813553" y="894831"/>
                  </a:lnTo>
                  <a:lnTo>
                    <a:pt x="812098" y="895404"/>
                  </a:lnTo>
                  <a:lnTo>
                    <a:pt x="811150" y="895490"/>
                  </a:lnTo>
                  <a:lnTo>
                    <a:pt x="810286" y="895805"/>
                  </a:lnTo>
                  <a:lnTo>
                    <a:pt x="808175" y="897772"/>
                  </a:lnTo>
                  <a:lnTo>
                    <a:pt x="805793" y="899249"/>
                  </a:lnTo>
                  <a:lnTo>
                    <a:pt x="806188" y="899926"/>
                  </a:lnTo>
                  <a:lnTo>
                    <a:pt x="806210" y="900568"/>
                  </a:lnTo>
                  <a:lnTo>
                    <a:pt x="805166" y="901284"/>
                  </a:lnTo>
                  <a:lnTo>
                    <a:pt x="804004" y="901151"/>
                  </a:lnTo>
                  <a:lnTo>
                    <a:pt x="800642" y="901731"/>
                  </a:lnTo>
                  <a:lnTo>
                    <a:pt x="799407" y="902838"/>
                  </a:lnTo>
                  <a:lnTo>
                    <a:pt x="798146" y="904875"/>
                  </a:lnTo>
                  <a:lnTo>
                    <a:pt x="797667" y="905149"/>
                  </a:lnTo>
                  <a:lnTo>
                    <a:pt x="795644" y="905625"/>
                  </a:lnTo>
                  <a:lnTo>
                    <a:pt x="794091" y="905809"/>
                  </a:lnTo>
                  <a:lnTo>
                    <a:pt x="791454" y="904373"/>
                  </a:lnTo>
                  <a:lnTo>
                    <a:pt x="790145" y="903950"/>
                  </a:lnTo>
                  <a:lnTo>
                    <a:pt x="786658" y="903367"/>
                  </a:lnTo>
                  <a:lnTo>
                    <a:pt x="783268" y="902392"/>
                  </a:lnTo>
                  <a:lnTo>
                    <a:pt x="780888" y="901287"/>
                  </a:lnTo>
                  <a:lnTo>
                    <a:pt x="776008" y="898562"/>
                  </a:lnTo>
                  <a:lnTo>
                    <a:pt x="775444" y="893643"/>
                  </a:lnTo>
                  <a:lnTo>
                    <a:pt x="774605" y="890985"/>
                  </a:lnTo>
                  <a:lnTo>
                    <a:pt x="774550" y="890037"/>
                  </a:lnTo>
                  <a:lnTo>
                    <a:pt x="774868" y="881847"/>
                  </a:lnTo>
                  <a:lnTo>
                    <a:pt x="775211" y="880951"/>
                  </a:lnTo>
                  <a:lnTo>
                    <a:pt x="775831" y="880166"/>
                  </a:lnTo>
                  <a:lnTo>
                    <a:pt x="777986" y="878333"/>
                  </a:lnTo>
                  <a:lnTo>
                    <a:pt x="780458" y="876883"/>
                  </a:lnTo>
                  <a:lnTo>
                    <a:pt x="783998" y="873847"/>
                  </a:lnTo>
                  <a:lnTo>
                    <a:pt x="786567" y="872456"/>
                  </a:lnTo>
                  <a:lnTo>
                    <a:pt x="788725" y="870457"/>
                  </a:lnTo>
                  <a:lnTo>
                    <a:pt x="787461" y="870541"/>
                  </a:lnTo>
                  <a:lnTo>
                    <a:pt x="786531" y="870288"/>
                  </a:lnTo>
                  <a:lnTo>
                    <a:pt x="787449" y="868579"/>
                  </a:lnTo>
                  <a:lnTo>
                    <a:pt x="788433" y="867663"/>
                  </a:lnTo>
                  <a:lnTo>
                    <a:pt x="789569" y="867163"/>
                  </a:lnTo>
                  <a:lnTo>
                    <a:pt x="791854" y="867522"/>
                  </a:lnTo>
                  <a:lnTo>
                    <a:pt x="793965" y="867167"/>
                  </a:lnTo>
                  <a:lnTo>
                    <a:pt x="795526" y="865648"/>
                  </a:lnTo>
                  <a:lnTo>
                    <a:pt x="797010" y="865324"/>
                  </a:lnTo>
                  <a:lnTo>
                    <a:pt x="802646" y="865822"/>
                  </a:lnTo>
                  <a:lnTo>
                    <a:pt x="806554" y="865127"/>
                  </a:lnTo>
                  <a:lnTo>
                    <a:pt x="808513" y="863729"/>
                  </a:lnTo>
                  <a:lnTo>
                    <a:pt x="809437" y="863675"/>
                  </a:lnTo>
                  <a:lnTo>
                    <a:pt x="812325" y="864072"/>
                  </a:lnTo>
                  <a:lnTo>
                    <a:pt x="813394" y="865526"/>
                  </a:lnTo>
                  <a:lnTo>
                    <a:pt x="813298" y="864550"/>
                  </a:lnTo>
                  <a:lnTo>
                    <a:pt x="813422" y="863602"/>
                  </a:lnTo>
                  <a:lnTo>
                    <a:pt x="813952" y="863705"/>
                  </a:lnTo>
                  <a:lnTo>
                    <a:pt x="817725" y="865508"/>
                  </a:lnTo>
                  <a:lnTo>
                    <a:pt x="817738" y="863297"/>
                  </a:lnTo>
                  <a:lnTo>
                    <a:pt x="817950" y="862719"/>
                  </a:lnTo>
                  <a:close/>
                  <a:moveTo>
                    <a:pt x="813235" y="839762"/>
                  </a:moveTo>
                  <a:lnTo>
                    <a:pt x="814059" y="840561"/>
                  </a:lnTo>
                  <a:lnTo>
                    <a:pt x="816252" y="839995"/>
                  </a:lnTo>
                  <a:lnTo>
                    <a:pt x="816650" y="841013"/>
                  </a:lnTo>
                  <a:lnTo>
                    <a:pt x="816635" y="841488"/>
                  </a:lnTo>
                  <a:lnTo>
                    <a:pt x="815862" y="842660"/>
                  </a:lnTo>
                  <a:lnTo>
                    <a:pt x="814048" y="841755"/>
                  </a:lnTo>
                  <a:lnTo>
                    <a:pt x="812236" y="841966"/>
                  </a:lnTo>
                  <a:lnTo>
                    <a:pt x="810932" y="841887"/>
                  </a:lnTo>
                  <a:lnTo>
                    <a:pt x="810571" y="841332"/>
                  </a:lnTo>
                  <a:lnTo>
                    <a:pt x="811570" y="840188"/>
                  </a:lnTo>
                  <a:close/>
                  <a:moveTo>
                    <a:pt x="863264" y="825484"/>
                  </a:moveTo>
                  <a:lnTo>
                    <a:pt x="863178" y="827120"/>
                  </a:lnTo>
                  <a:lnTo>
                    <a:pt x="861008" y="827609"/>
                  </a:lnTo>
                  <a:lnTo>
                    <a:pt x="860552" y="827504"/>
                  </a:lnTo>
                  <a:lnTo>
                    <a:pt x="861304" y="826307"/>
                  </a:lnTo>
                  <a:close/>
                  <a:moveTo>
                    <a:pt x="866235" y="824047"/>
                  </a:moveTo>
                  <a:lnTo>
                    <a:pt x="867497" y="824227"/>
                  </a:lnTo>
                  <a:lnTo>
                    <a:pt x="868017" y="824502"/>
                  </a:lnTo>
                  <a:lnTo>
                    <a:pt x="866912" y="825440"/>
                  </a:lnTo>
                  <a:lnTo>
                    <a:pt x="866649" y="825840"/>
                  </a:lnTo>
                  <a:lnTo>
                    <a:pt x="866418" y="827995"/>
                  </a:lnTo>
                  <a:lnTo>
                    <a:pt x="865994" y="828458"/>
                  </a:lnTo>
                  <a:lnTo>
                    <a:pt x="865350" y="827620"/>
                  </a:lnTo>
                  <a:lnTo>
                    <a:pt x="865163" y="826419"/>
                  </a:lnTo>
                  <a:lnTo>
                    <a:pt x="864702" y="825769"/>
                  </a:lnTo>
                  <a:lnTo>
                    <a:pt x="865761" y="824951"/>
                  </a:lnTo>
                  <a:close/>
                  <a:moveTo>
                    <a:pt x="897312" y="811881"/>
                  </a:moveTo>
                  <a:lnTo>
                    <a:pt x="898626" y="812649"/>
                  </a:lnTo>
                  <a:lnTo>
                    <a:pt x="898553" y="813346"/>
                  </a:lnTo>
                  <a:lnTo>
                    <a:pt x="898299" y="813880"/>
                  </a:lnTo>
                  <a:lnTo>
                    <a:pt x="897750" y="814238"/>
                  </a:lnTo>
                  <a:lnTo>
                    <a:pt x="896236" y="812538"/>
                  </a:lnTo>
                  <a:lnTo>
                    <a:pt x="896141" y="811983"/>
                  </a:lnTo>
                  <a:close/>
                  <a:moveTo>
                    <a:pt x="894139" y="811027"/>
                  </a:moveTo>
                  <a:lnTo>
                    <a:pt x="893241" y="812324"/>
                  </a:lnTo>
                  <a:lnTo>
                    <a:pt x="893118" y="813881"/>
                  </a:lnTo>
                  <a:lnTo>
                    <a:pt x="890456" y="813883"/>
                  </a:lnTo>
                  <a:lnTo>
                    <a:pt x="889885" y="813650"/>
                  </a:lnTo>
                  <a:lnTo>
                    <a:pt x="889604" y="813157"/>
                  </a:lnTo>
                  <a:lnTo>
                    <a:pt x="890549" y="812261"/>
                  </a:lnTo>
                  <a:close/>
                  <a:moveTo>
                    <a:pt x="881336" y="797740"/>
                  </a:moveTo>
                  <a:lnTo>
                    <a:pt x="882565" y="798963"/>
                  </a:lnTo>
                  <a:lnTo>
                    <a:pt x="883334" y="800078"/>
                  </a:lnTo>
                  <a:lnTo>
                    <a:pt x="883520" y="801155"/>
                  </a:lnTo>
                  <a:lnTo>
                    <a:pt x="881794" y="799516"/>
                  </a:lnTo>
                  <a:lnTo>
                    <a:pt x="881302" y="799421"/>
                  </a:lnTo>
                  <a:lnTo>
                    <a:pt x="880477" y="798811"/>
                  </a:lnTo>
                  <a:lnTo>
                    <a:pt x="879997" y="797780"/>
                  </a:lnTo>
                  <a:close/>
                  <a:moveTo>
                    <a:pt x="983911" y="759208"/>
                  </a:moveTo>
                  <a:lnTo>
                    <a:pt x="985391" y="760002"/>
                  </a:lnTo>
                  <a:lnTo>
                    <a:pt x="985663" y="760524"/>
                  </a:lnTo>
                  <a:lnTo>
                    <a:pt x="984922" y="761935"/>
                  </a:lnTo>
                  <a:lnTo>
                    <a:pt x="983618" y="761700"/>
                  </a:lnTo>
                  <a:lnTo>
                    <a:pt x="983579" y="760698"/>
                  </a:lnTo>
                  <a:lnTo>
                    <a:pt x="983313" y="760403"/>
                  </a:lnTo>
                  <a:lnTo>
                    <a:pt x="983672" y="759469"/>
                  </a:lnTo>
                  <a:close/>
                  <a:moveTo>
                    <a:pt x="1020930" y="733290"/>
                  </a:moveTo>
                  <a:lnTo>
                    <a:pt x="1021362" y="733997"/>
                  </a:lnTo>
                  <a:lnTo>
                    <a:pt x="1022053" y="734371"/>
                  </a:lnTo>
                  <a:lnTo>
                    <a:pt x="1022266" y="734756"/>
                  </a:lnTo>
                  <a:lnTo>
                    <a:pt x="1022273" y="735497"/>
                  </a:lnTo>
                  <a:lnTo>
                    <a:pt x="1021619" y="736721"/>
                  </a:lnTo>
                  <a:lnTo>
                    <a:pt x="1022134" y="737386"/>
                  </a:lnTo>
                  <a:lnTo>
                    <a:pt x="1021880" y="737920"/>
                  </a:lnTo>
                  <a:lnTo>
                    <a:pt x="1020239" y="739012"/>
                  </a:lnTo>
                  <a:lnTo>
                    <a:pt x="1019213" y="738492"/>
                  </a:lnTo>
                  <a:lnTo>
                    <a:pt x="1019193" y="737029"/>
                  </a:lnTo>
                  <a:lnTo>
                    <a:pt x="1019716" y="735711"/>
                  </a:lnTo>
                  <a:lnTo>
                    <a:pt x="1019118" y="734761"/>
                  </a:lnTo>
                  <a:lnTo>
                    <a:pt x="1019706" y="733629"/>
                  </a:lnTo>
                  <a:close/>
                  <a:moveTo>
                    <a:pt x="1052495" y="672636"/>
                  </a:moveTo>
                  <a:lnTo>
                    <a:pt x="1053135" y="673189"/>
                  </a:lnTo>
                  <a:lnTo>
                    <a:pt x="1053502" y="674053"/>
                  </a:lnTo>
                  <a:lnTo>
                    <a:pt x="1053511" y="675460"/>
                  </a:lnTo>
                  <a:lnTo>
                    <a:pt x="1051585" y="676032"/>
                  </a:lnTo>
                  <a:lnTo>
                    <a:pt x="1050861" y="676030"/>
                  </a:lnTo>
                  <a:lnTo>
                    <a:pt x="1050916" y="674291"/>
                  </a:lnTo>
                  <a:close/>
                  <a:moveTo>
                    <a:pt x="1072710" y="634678"/>
                  </a:moveTo>
                  <a:lnTo>
                    <a:pt x="1073714" y="636646"/>
                  </a:lnTo>
                  <a:lnTo>
                    <a:pt x="1073880" y="637172"/>
                  </a:lnTo>
                  <a:lnTo>
                    <a:pt x="1073803" y="637625"/>
                  </a:lnTo>
                  <a:lnTo>
                    <a:pt x="1071917" y="636053"/>
                  </a:lnTo>
                  <a:lnTo>
                    <a:pt x="1071008" y="635796"/>
                  </a:lnTo>
                  <a:lnTo>
                    <a:pt x="1071442" y="634907"/>
                  </a:lnTo>
                  <a:close/>
                  <a:moveTo>
                    <a:pt x="1077826" y="630494"/>
                  </a:moveTo>
                  <a:lnTo>
                    <a:pt x="1078944" y="630614"/>
                  </a:lnTo>
                  <a:lnTo>
                    <a:pt x="1078995" y="632014"/>
                  </a:lnTo>
                  <a:lnTo>
                    <a:pt x="1078777" y="633133"/>
                  </a:lnTo>
                  <a:lnTo>
                    <a:pt x="1078192" y="632974"/>
                  </a:lnTo>
                  <a:lnTo>
                    <a:pt x="1077402" y="630984"/>
                  </a:lnTo>
                  <a:close/>
                  <a:moveTo>
                    <a:pt x="1069389" y="625944"/>
                  </a:moveTo>
                  <a:lnTo>
                    <a:pt x="1072509" y="626026"/>
                  </a:lnTo>
                  <a:lnTo>
                    <a:pt x="1076355" y="627764"/>
                  </a:lnTo>
                  <a:lnTo>
                    <a:pt x="1077191" y="628650"/>
                  </a:lnTo>
                  <a:lnTo>
                    <a:pt x="1076608" y="630295"/>
                  </a:lnTo>
                  <a:lnTo>
                    <a:pt x="1076290" y="630769"/>
                  </a:lnTo>
                  <a:lnTo>
                    <a:pt x="1073554" y="629379"/>
                  </a:lnTo>
                  <a:lnTo>
                    <a:pt x="1070596" y="629088"/>
                  </a:lnTo>
                  <a:lnTo>
                    <a:pt x="1069574" y="627865"/>
                  </a:lnTo>
                  <a:close/>
                  <a:moveTo>
                    <a:pt x="1052621" y="585460"/>
                  </a:moveTo>
                  <a:lnTo>
                    <a:pt x="1055448" y="585656"/>
                  </a:lnTo>
                  <a:lnTo>
                    <a:pt x="1058216" y="586658"/>
                  </a:lnTo>
                  <a:lnTo>
                    <a:pt x="1058827" y="588194"/>
                  </a:lnTo>
                  <a:lnTo>
                    <a:pt x="1059944" y="588677"/>
                  </a:lnTo>
                  <a:lnTo>
                    <a:pt x="1060701" y="589573"/>
                  </a:lnTo>
                  <a:lnTo>
                    <a:pt x="1065825" y="591655"/>
                  </a:lnTo>
                  <a:lnTo>
                    <a:pt x="1066608" y="592286"/>
                  </a:lnTo>
                  <a:lnTo>
                    <a:pt x="1067029" y="593118"/>
                  </a:lnTo>
                  <a:lnTo>
                    <a:pt x="1065210" y="593815"/>
                  </a:lnTo>
                  <a:lnTo>
                    <a:pt x="1059449" y="591717"/>
                  </a:lnTo>
                  <a:lnTo>
                    <a:pt x="1055391" y="589416"/>
                  </a:lnTo>
                  <a:lnTo>
                    <a:pt x="1052969" y="586617"/>
                  </a:lnTo>
                  <a:close/>
                  <a:moveTo>
                    <a:pt x="1099022" y="0"/>
                  </a:moveTo>
                  <a:lnTo>
                    <a:pt x="1101553" y="749"/>
                  </a:lnTo>
                  <a:lnTo>
                    <a:pt x="1102999" y="789"/>
                  </a:lnTo>
                  <a:lnTo>
                    <a:pt x="1104001" y="879"/>
                  </a:lnTo>
                  <a:lnTo>
                    <a:pt x="1104554" y="873"/>
                  </a:lnTo>
                  <a:lnTo>
                    <a:pt x="1105616" y="274"/>
                  </a:lnTo>
                  <a:lnTo>
                    <a:pt x="1108560" y="1345"/>
                  </a:lnTo>
                  <a:lnTo>
                    <a:pt x="1114172" y="4519"/>
                  </a:lnTo>
                  <a:lnTo>
                    <a:pt x="1117701" y="5931"/>
                  </a:lnTo>
                  <a:lnTo>
                    <a:pt x="1119152" y="5587"/>
                  </a:lnTo>
                  <a:lnTo>
                    <a:pt x="1120732" y="6467"/>
                  </a:lnTo>
                  <a:lnTo>
                    <a:pt x="1122451" y="8569"/>
                  </a:lnTo>
                  <a:lnTo>
                    <a:pt x="1124591" y="9810"/>
                  </a:lnTo>
                  <a:lnTo>
                    <a:pt x="1128437" y="10380"/>
                  </a:lnTo>
                  <a:lnTo>
                    <a:pt x="1132250" y="12685"/>
                  </a:lnTo>
                  <a:lnTo>
                    <a:pt x="1133794" y="12808"/>
                  </a:lnTo>
                  <a:lnTo>
                    <a:pt x="1134336" y="11521"/>
                  </a:lnTo>
                  <a:lnTo>
                    <a:pt x="1135758" y="10781"/>
                  </a:lnTo>
                  <a:lnTo>
                    <a:pt x="1138059" y="10590"/>
                  </a:lnTo>
                  <a:lnTo>
                    <a:pt x="1141389" y="11726"/>
                  </a:lnTo>
                  <a:lnTo>
                    <a:pt x="1145742" y="14188"/>
                  </a:lnTo>
                  <a:lnTo>
                    <a:pt x="1148474" y="15270"/>
                  </a:lnTo>
                  <a:lnTo>
                    <a:pt x="1149579" y="14975"/>
                  </a:lnTo>
                  <a:lnTo>
                    <a:pt x="1150752" y="15430"/>
                  </a:lnTo>
                  <a:lnTo>
                    <a:pt x="1151695" y="16585"/>
                  </a:lnTo>
                  <a:lnTo>
                    <a:pt x="1151776" y="18005"/>
                  </a:lnTo>
                  <a:lnTo>
                    <a:pt x="1151454" y="18767"/>
                  </a:lnTo>
                  <a:lnTo>
                    <a:pt x="1152502" y="19966"/>
                  </a:lnTo>
                  <a:lnTo>
                    <a:pt x="1153710" y="19966"/>
                  </a:lnTo>
                  <a:lnTo>
                    <a:pt x="1155680" y="20540"/>
                  </a:lnTo>
                  <a:lnTo>
                    <a:pt x="1157221" y="22657"/>
                  </a:lnTo>
                  <a:lnTo>
                    <a:pt x="1158608" y="23637"/>
                  </a:lnTo>
                  <a:lnTo>
                    <a:pt x="1159577" y="24485"/>
                  </a:lnTo>
                  <a:lnTo>
                    <a:pt x="1159752" y="25189"/>
                  </a:lnTo>
                  <a:lnTo>
                    <a:pt x="1159843" y="25901"/>
                  </a:lnTo>
                  <a:lnTo>
                    <a:pt x="1159554" y="26453"/>
                  </a:lnTo>
                  <a:lnTo>
                    <a:pt x="1159027" y="27362"/>
                  </a:lnTo>
                  <a:lnTo>
                    <a:pt x="1158867" y="28339"/>
                  </a:lnTo>
                  <a:lnTo>
                    <a:pt x="1159528" y="29438"/>
                  </a:lnTo>
                  <a:lnTo>
                    <a:pt x="1161976" y="30233"/>
                  </a:lnTo>
                  <a:lnTo>
                    <a:pt x="1162813" y="31051"/>
                  </a:lnTo>
                  <a:lnTo>
                    <a:pt x="1163000" y="32102"/>
                  </a:lnTo>
                  <a:lnTo>
                    <a:pt x="1163767" y="33262"/>
                  </a:lnTo>
                  <a:lnTo>
                    <a:pt x="1165432" y="34602"/>
                  </a:lnTo>
                  <a:lnTo>
                    <a:pt x="1166068" y="35723"/>
                  </a:lnTo>
                  <a:lnTo>
                    <a:pt x="1165682" y="36625"/>
                  </a:lnTo>
                  <a:lnTo>
                    <a:pt x="1166170" y="37379"/>
                  </a:lnTo>
                  <a:lnTo>
                    <a:pt x="1166993" y="37964"/>
                  </a:lnTo>
                  <a:lnTo>
                    <a:pt x="1167170" y="40101"/>
                  </a:lnTo>
                  <a:lnTo>
                    <a:pt x="1167243" y="41331"/>
                  </a:lnTo>
                  <a:lnTo>
                    <a:pt x="1168587" y="42709"/>
                  </a:lnTo>
                  <a:lnTo>
                    <a:pt x="1168863" y="45526"/>
                  </a:lnTo>
                  <a:lnTo>
                    <a:pt x="1169802" y="48644"/>
                  </a:lnTo>
                  <a:lnTo>
                    <a:pt x="1172968" y="52910"/>
                  </a:lnTo>
                  <a:lnTo>
                    <a:pt x="1174009" y="55217"/>
                  </a:lnTo>
                  <a:lnTo>
                    <a:pt x="1173741" y="57959"/>
                  </a:lnTo>
                  <a:lnTo>
                    <a:pt x="1174195" y="59242"/>
                  </a:lnTo>
                  <a:lnTo>
                    <a:pt x="1175639" y="59866"/>
                  </a:lnTo>
                  <a:lnTo>
                    <a:pt x="1176323" y="61025"/>
                  </a:lnTo>
                  <a:lnTo>
                    <a:pt x="1176241" y="62717"/>
                  </a:lnTo>
                  <a:lnTo>
                    <a:pt x="1176807" y="63768"/>
                  </a:lnTo>
                  <a:lnTo>
                    <a:pt x="1177259" y="64886"/>
                  </a:lnTo>
                  <a:lnTo>
                    <a:pt x="1176950" y="66625"/>
                  </a:lnTo>
                  <a:lnTo>
                    <a:pt x="1177406" y="68194"/>
                  </a:lnTo>
                  <a:lnTo>
                    <a:pt x="1178142" y="69109"/>
                  </a:lnTo>
                  <a:lnTo>
                    <a:pt x="1178669" y="70802"/>
                  </a:lnTo>
                  <a:lnTo>
                    <a:pt x="1178962" y="72913"/>
                  </a:lnTo>
                  <a:lnTo>
                    <a:pt x="1181077" y="76253"/>
                  </a:lnTo>
                  <a:lnTo>
                    <a:pt x="1185009" y="80817"/>
                  </a:lnTo>
                  <a:lnTo>
                    <a:pt x="1187414" y="84356"/>
                  </a:lnTo>
                  <a:lnTo>
                    <a:pt x="1188296" y="86876"/>
                  </a:lnTo>
                  <a:lnTo>
                    <a:pt x="1188302" y="88947"/>
                  </a:lnTo>
                  <a:lnTo>
                    <a:pt x="1187441" y="90571"/>
                  </a:lnTo>
                  <a:lnTo>
                    <a:pt x="1187392" y="91751"/>
                  </a:lnTo>
                  <a:lnTo>
                    <a:pt x="1188161" y="92490"/>
                  </a:lnTo>
                  <a:lnTo>
                    <a:pt x="1188390" y="93489"/>
                  </a:lnTo>
                  <a:lnTo>
                    <a:pt x="1188081" y="94749"/>
                  </a:lnTo>
                  <a:lnTo>
                    <a:pt x="1189366" y="96243"/>
                  </a:lnTo>
                  <a:lnTo>
                    <a:pt x="1193677" y="98837"/>
                  </a:lnTo>
                  <a:lnTo>
                    <a:pt x="1191953" y="102807"/>
                  </a:lnTo>
                  <a:lnTo>
                    <a:pt x="1191499" y="105597"/>
                  </a:lnTo>
                  <a:lnTo>
                    <a:pt x="1191735" y="108528"/>
                  </a:lnTo>
                  <a:lnTo>
                    <a:pt x="1192804" y="110592"/>
                  </a:lnTo>
                  <a:lnTo>
                    <a:pt x="1194704" y="111789"/>
                  </a:lnTo>
                  <a:lnTo>
                    <a:pt x="1195886" y="113040"/>
                  </a:lnTo>
                  <a:lnTo>
                    <a:pt x="1196350" y="114340"/>
                  </a:lnTo>
                  <a:lnTo>
                    <a:pt x="1198630" y="115761"/>
                  </a:lnTo>
                  <a:lnTo>
                    <a:pt x="1202729" y="117298"/>
                  </a:lnTo>
                  <a:lnTo>
                    <a:pt x="1207980" y="117566"/>
                  </a:lnTo>
                  <a:lnTo>
                    <a:pt x="1214385" y="116562"/>
                  </a:lnTo>
                  <a:lnTo>
                    <a:pt x="1218305" y="116392"/>
                  </a:lnTo>
                  <a:lnTo>
                    <a:pt x="1219742" y="117058"/>
                  </a:lnTo>
                  <a:lnTo>
                    <a:pt x="1220228" y="118067"/>
                  </a:lnTo>
                  <a:lnTo>
                    <a:pt x="1219770" y="119419"/>
                  </a:lnTo>
                  <a:lnTo>
                    <a:pt x="1220854" y="120307"/>
                  </a:lnTo>
                  <a:lnTo>
                    <a:pt x="1223484" y="120733"/>
                  </a:lnTo>
                  <a:lnTo>
                    <a:pt x="1225298" y="121584"/>
                  </a:lnTo>
                  <a:lnTo>
                    <a:pt x="1226289" y="122862"/>
                  </a:lnTo>
                  <a:lnTo>
                    <a:pt x="1227506" y="123223"/>
                  </a:lnTo>
                  <a:lnTo>
                    <a:pt x="1228943" y="122669"/>
                  </a:lnTo>
                  <a:lnTo>
                    <a:pt x="1230343" y="122748"/>
                  </a:lnTo>
                  <a:lnTo>
                    <a:pt x="1231701" y="123458"/>
                  </a:lnTo>
                  <a:lnTo>
                    <a:pt x="1232591" y="123215"/>
                  </a:lnTo>
                  <a:lnTo>
                    <a:pt x="1233355" y="122438"/>
                  </a:lnTo>
                  <a:lnTo>
                    <a:pt x="1234594" y="122438"/>
                  </a:lnTo>
                  <a:lnTo>
                    <a:pt x="1235864" y="122457"/>
                  </a:lnTo>
                  <a:lnTo>
                    <a:pt x="1236650" y="124330"/>
                  </a:lnTo>
                  <a:lnTo>
                    <a:pt x="1237927" y="125383"/>
                  </a:lnTo>
                  <a:lnTo>
                    <a:pt x="1239689" y="125616"/>
                  </a:lnTo>
                  <a:lnTo>
                    <a:pt x="1242374" y="127895"/>
                  </a:lnTo>
                  <a:lnTo>
                    <a:pt x="1247782" y="134367"/>
                  </a:lnTo>
                  <a:lnTo>
                    <a:pt x="1251296" y="136665"/>
                  </a:lnTo>
                  <a:lnTo>
                    <a:pt x="1254817" y="137386"/>
                  </a:lnTo>
                  <a:lnTo>
                    <a:pt x="1259193" y="137534"/>
                  </a:lnTo>
                  <a:lnTo>
                    <a:pt x="1260609" y="140039"/>
                  </a:lnTo>
                  <a:lnTo>
                    <a:pt x="1259469" y="142686"/>
                  </a:lnTo>
                  <a:lnTo>
                    <a:pt x="1259170" y="144893"/>
                  </a:lnTo>
                  <a:lnTo>
                    <a:pt x="1260168" y="145683"/>
                  </a:lnTo>
                  <a:lnTo>
                    <a:pt x="1261538" y="148273"/>
                  </a:lnTo>
                  <a:lnTo>
                    <a:pt x="1263476" y="149777"/>
                  </a:lnTo>
                  <a:lnTo>
                    <a:pt x="1263844" y="150966"/>
                  </a:lnTo>
                  <a:lnTo>
                    <a:pt x="1264746" y="152295"/>
                  </a:lnTo>
                  <a:lnTo>
                    <a:pt x="1264368" y="154756"/>
                  </a:lnTo>
                  <a:lnTo>
                    <a:pt x="1262708" y="158345"/>
                  </a:lnTo>
                  <a:lnTo>
                    <a:pt x="1263162" y="161406"/>
                  </a:lnTo>
                  <a:lnTo>
                    <a:pt x="1265726" y="163939"/>
                  </a:lnTo>
                  <a:lnTo>
                    <a:pt x="1267204" y="166377"/>
                  </a:lnTo>
                  <a:lnTo>
                    <a:pt x="1267588" y="168717"/>
                  </a:lnTo>
                  <a:lnTo>
                    <a:pt x="1268231" y="170137"/>
                  </a:lnTo>
                  <a:lnTo>
                    <a:pt x="1269134" y="170640"/>
                  </a:lnTo>
                  <a:lnTo>
                    <a:pt x="1271769" y="170466"/>
                  </a:lnTo>
                  <a:lnTo>
                    <a:pt x="1276134" y="169617"/>
                  </a:lnTo>
                  <a:lnTo>
                    <a:pt x="1279339" y="169764"/>
                  </a:lnTo>
                  <a:lnTo>
                    <a:pt x="1281384" y="170905"/>
                  </a:lnTo>
                  <a:lnTo>
                    <a:pt x="1286437" y="170948"/>
                  </a:lnTo>
                  <a:lnTo>
                    <a:pt x="1294498" y="169894"/>
                  </a:lnTo>
                  <a:lnTo>
                    <a:pt x="1299592" y="169570"/>
                  </a:lnTo>
                  <a:lnTo>
                    <a:pt x="1301717" y="169978"/>
                  </a:lnTo>
                  <a:lnTo>
                    <a:pt x="1303611" y="168473"/>
                  </a:lnTo>
                  <a:lnTo>
                    <a:pt x="1305269" y="165048"/>
                  </a:lnTo>
                  <a:lnTo>
                    <a:pt x="1306824" y="163437"/>
                  </a:lnTo>
                  <a:lnTo>
                    <a:pt x="1308275" y="163639"/>
                  </a:lnTo>
                  <a:lnTo>
                    <a:pt x="1310581" y="162539"/>
                  </a:lnTo>
                  <a:lnTo>
                    <a:pt x="1313742" y="160131"/>
                  </a:lnTo>
                  <a:lnTo>
                    <a:pt x="1316483" y="158966"/>
                  </a:lnTo>
                  <a:lnTo>
                    <a:pt x="1319957" y="159083"/>
                  </a:lnTo>
                  <a:lnTo>
                    <a:pt x="1323654" y="159206"/>
                  </a:lnTo>
                  <a:lnTo>
                    <a:pt x="1325973" y="158193"/>
                  </a:lnTo>
                  <a:lnTo>
                    <a:pt x="1328152" y="156082"/>
                  </a:lnTo>
                  <a:lnTo>
                    <a:pt x="1331920" y="154214"/>
                  </a:lnTo>
                  <a:lnTo>
                    <a:pt x="1339961" y="151774"/>
                  </a:lnTo>
                  <a:lnTo>
                    <a:pt x="1341897" y="151391"/>
                  </a:lnTo>
                  <a:lnTo>
                    <a:pt x="1342816" y="151521"/>
                  </a:lnTo>
                  <a:lnTo>
                    <a:pt x="1345496" y="151904"/>
                  </a:lnTo>
                  <a:lnTo>
                    <a:pt x="1347871" y="152855"/>
                  </a:lnTo>
                  <a:lnTo>
                    <a:pt x="1350120" y="154775"/>
                  </a:lnTo>
                  <a:lnTo>
                    <a:pt x="1350465" y="156004"/>
                  </a:lnTo>
                  <a:lnTo>
                    <a:pt x="1350210" y="157619"/>
                  </a:lnTo>
                  <a:lnTo>
                    <a:pt x="1349722" y="158556"/>
                  </a:lnTo>
                  <a:lnTo>
                    <a:pt x="1348796" y="159609"/>
                  </a:lnTo>
                  <a:lnTo>
                    <a:pt x="1347925" y="161314"/>
                  </a:lnTo>
                  <a:lnTo>
                    <a:pt x="1348485" y="162649"/>
                  </a:lnTo>
                  <a:lnTo>
                    <a:pt x="1349790" y="165494"/>
                  </a:lnTo>
                  <a:lnTo>
                    <a:pt x="1350858" y="167546"/>
                  </a:lnTo>
                  <a:lnTo>
                    <a:pt x="1352046" y="169966"/>
                  </a:lnTo>
                  <a:lnTo>
                    <a:pt x="1351510" y="170837"/>
                  </a:lnTo>
                  <a:lnTo>
                    <a:pt x="1350796" y="172512"/>
                  </a:lnTo>
                  <a:lnTo>
                    <a:pt x="1348593" y="175348"/>
                  </a:lnTo>
                  <a:lnTo>
                    <a:pt x="1347392" y="176435"/>
                  </a:lnTo>
                  <a:lnTo>
                    <a:pt x="1346101" y="177495"/>
                  </a:lnTo>
                  <a:lnTo>
                    <a:pt x="1343868" y="177751"/>
                  </a:lnTo>
                  <a:lnTo>
                    <a:pt x="1342916" y="177996"/>
                  </a:lnTo>
                  <a:lnTo>
                    <a:pt x="1341840" y="178442"/>
                  </a:lnTo>
                  <a:lnTo>
                    <a:pt x="1341161" y="179446"/>
                  </a:lnTo>
                  <a:lnTo>
                    <a:pt x="1340389" y="180150"/>
                  </a:lnTo>
                  <a:lnTo>
                    <a:pt x="1339117" y="181563"/>
                  </a:lnTo>
                  <a:lnTo>
                    <a:pt x="1339013" y="182779"/>
                  </a:lnTo>
                  <a:lnTo>
                    <a:pt x="1339595" y="184584"/>
                  </a:lnTo>
                  <a:lnTo>
                    <a:pt x="1339880" y="186433"/>
                  </a:lnTo>
                  <a:lnTo>
                    <a:pt x="1338438" y="188084"/>
                  </a:lnTo>
                  <a:lnTo>
                    <a:pt x="1337321" y="190621"/>
                  </a:lnTo>
                  <a:lnTo>
                    <a:pt x="1336988" y="191384"/>
                  </a:lnTo>
                  <a:lnTo>
                    <a:pt x="1336427" y="193302"/>
                  </a:lnTo>
                  <a:lnTo>
                    <a:pt x="1336262" y="193966"/>
                  </a:lnTo>
                  <a:lnTo>
                    <a:pt x="1335911" y="198003"/>
                  </a:lnTo>
                  <a:lnTo>
                    <a:pt x="1334470" y="200754"/>
                  </a:lnTo>
                  <a:lnTo>
                    <a:pt x="1332460" y="203952"/>
                  </a:lnTo>
                  <a:lnTo>
                    <a:pt x="1332905" y="205855"/>
                  </a:lnTo>
                  <a:lnTo>
                    <a:pt x="1333260" y="207619"/>
                  </a:lnTo>
                  <a:lnTo>
                    <a:pt x="1332763" y="208475"/>
                  </a:lnTo>
                  <a:lnTo>
                    <a:pt x="1332641" y="209222"/>
                  </a:lnTo>
                  <a:lnTo>
                    <a:pt x="1332343" y="210921"/>
                  </a:lnTo>
                  <a:lnTo>
                    <a:pt x="1331712" y="211571"/>
                  </a:lnTo>
                  <a:lnTo>
                    <a:pt x="1329886" y="212632"/>
                  </a:lnTo>
                  <a:lnTo>
                    <a:pt x="1328791" y="213909"/>
                  </a:lnTo>
                  <a:lnTo>
                    <a:pt x="1329023" y="215848"/>
                  </a:lnTo>
                  <a:lnTo>
                    <a:pt x="1328461" y="217525"/>
                  </a:lnTo>
                  <a:lnTo>
                    <a:pt x="1327623" y="219008"/>
                  </a:lnTo>
                  <a:lnTo>
                    <a:pt x="1326742" y="219971"/>
                  </a:lnTo>
                  <a:lnTo>
                    <a:pt x="1325486" y="220592"/>
                  </a:lnTo>
                  <a:lnTo>
                    <a:pt x="1324643" y="221116"/>
                  </a:lnTo>
                  <a:lnTo>
                    <a:pt x="1324014" y="223001"/>
                  </a:lnTo>
                  <a:lnTo>
                    <a:pt x="1323818" y="224455"/>
                  </a:lnTo>
                  <a:lnTo>
                    <a:pt x="1323229" y="225903"/>
                  </a:lnTo>
                  <a:lnTo>
                    <a:pt x="1323593" y="227385"/>
                  </a:lnTo>
                  <a:lnTo>
                    <a:pt x="1322948" y="228666"/>
                  </a:lnTo>
                  <a:lnTo>
                    <a:pt x="1321158" y="229559"/>
                  </a:lnTo>
                  <a:lnTo>
                    <a:pt x="1320143" y="230084"/>
                  </a:lnTo>
                  <a:lnTo>
                    <a:pt x="1319202" y="230299"/>
                  </a:lnTo>
                  <a:lnTo>
                    <a:pt x="1317412" y="231685"/>
                  </a:lnTo>
                  <a:lnTo>
                    <a:pt x="1315805" y="236444"/>
                  </a:lnTo>
                  <a:lnTo>
                    <a:pt x="1315440" y="239211"/>
                  </a:lnTo>
                  <a:lnTo>
                    <a:pt x="1315807" y="241669"/>
                  </a:lnTo>
                  <a:lnTo>
                    <a:pt x="1313557" y="243205"/>
                  </a:lnTo>
                  <a:lnTo>
                    <a:pt x="1311883" y="244426"/>
                  </a:lnTo>
                  <a:lnTo>
                    <a:pt x="1310838" y="243985"/>
                  </a:lnTo>
                  <a:lnTo>
                    <a:pt x="1309730" y="243572"/>
                  </a:lnTo>
                  <a:lnTo>
                    <a:pt x="1307176" y="243041"/>
                  </a:lnTo>
                  <a:lnTo>
                    <a:pt x="1305904" y="242682"/>
                  </a:lnTo>
                  <a:lnTo>
                    <a:pt x="1303326" y="241885"/>
                  </a:lnTo>
                  <a:lnTo>
                    <a:pt x="1299212" y="240868"/>
                  </a:lnTo>
                  <a:lnTo>
                    <a:pt x="1295195" y="239682"/>
                  </a:lnTo>
                  <a:lnTo>
                    <a:pt x="1292675" y="239061"/>
                  </a:lnTo>
                  <a:lnTo>
                    <a:pt x="1290689" y="238567"/>
                  </a:lnTo>
                  <a:lnTo>
                    <a:pt x="1289179" y="237752"/>
                  </a:lnTo>
                  <a:lnTo>
                    <a:pt x="1287910" y="236295"/>
                  </a:lnTo>
                  <a:lnTo>
                    <a:pt x="1286651" y="236887"/>
                  </a:lnTo>
                  <a:lnTo>
                    <a:pt x="1285483" y="238604"/>
                  </a:lnTo>
                  <a:lnTo>
                    <a:pt x="1283535" y="239625"/>
                  </a:lnTo>
                  <a:lnTo>
                    <a:pt x="1282649" y="241509"/>
                  </a:lnTo>
                  <a:lnTo>
                    <a:pt x="1281870" y="242957"/>
                  </a:lnTo>
                  <a:lnTo>
                    <a:pt x="1279854" y="244885"/>
                  </a:lnTo>
                  <a:lnTo>
                    <a:pt x="1278954" y="245680"/>
                  </a:lnTo>
                  <a:lnTo>
                    <a:pt x="1275005" y="246989"/>
                  </a:lnTo>
                  <a:lnTo>
                    <a:pt x="1274114" y="247425"/>
                  </a:lnTo>
                  <a:lnTo>
                    <a:pt x="1270894" y="247702"/>
                  </a:lnTo>
                  <a:lnTo>
                    <a:pt x="1269803" y="248280"/>
                  </a:lnTo>
                  <a:lnTo>
                    <a:pt x="1268667" y="249495"/>
                  </a:lnTo>
                  <a:lnTo>
                    <a:pt x="1268361" y="250706"/>
                  </a:lnTo>
                  <a:lnTo>
                    <a:pt x="1269160" y="251980"/>
                  </a:lnTo>
                  <a:lnTo>
                    <a:pt x="1270415" y="254530"/>
                  </a:lnTo>
                  <a:lnTo>
                    <a:pt x="1270995" y="256273"/>
                  </a:lnTo>
                  <a:lnTo>
                    <a:pt x="1271855" y="259713"/>
                  </a:lnTo>
                  <a:lnTo>
                    <a:pt x="1274718" y="270501"/>
                  </a:lnTo>
                  <a:lnTo>
                    <a:pt x="1273790" y="272360"/>
                  </a:lnTo>
                  <a:lnTo>
                    <a:pt x="1272926" y="280417"/>
                  </a:lnTo>
                  <a:lnTo>
                    <a:pt x="1273133" y="281870"/>
                  </a:lnTo>
                  <a:lnTo>
                    <a:pt x="1273055" y="284129"/>
                  </a:lnTo>
                  <a:lnTo>
                    <a:pt x="1273107" y="285786"/>
                  </a:lnTo>
                  <a:lnTo>
                    <a:pt x="1273699" y="286194"/>
                  </a:lnTo>
                  <a:lnTo>
                    <a:pt x="1274468" y="286770"/>
                  </a:lnTo>
                  <a:lnTo>
                    <a:pt x="1274862" y="287738"/>
                  </a:lnTo>
                  <a:lnTo>
                    <a:pt x="1274764" y="289218"/>
                  </a:lnTo>
                  <a:lnTo>
                    <a:pt x="1274366" y="290305"/>
                  </a:lnTo>
                  <a:lnTo>
                    <a:pt x="1273759" y="292452"/>
                  </a:lnTo>
                  <a:lnTo>
                    <a:pt x="1272956" y="295555"/>
                  </a:lnTo>
                  <a:lnTo>
                    <a:pt x="1272071" y="296751"/>
                  </a:lnTo>
                  <a:lnTo>
                    <a:pt x="1271483" y="297694"/>
                  </a:lnTo>
                  <a:lnTo>
                    <a:pt x="1270978" y="298347"/>
                  </a:lnTo>
                  <a:lnTo>
                    <a:pt x="1270920" y="300539"/>
                  </a:lnTo>
                  <a:lnTo>
                    <a:pt x="1270590" y="301986"/>
                  </a:lnTo>
                  <a:lnTo>
                    <a:pt x="1269197" y="302499"/>
                  </a:lnTo>
                  <a:lnTo>
                    <a:pt x="1267810" y="303338"/>
                  </a:lnTo>
                  <a:lnTo>
                    <a:pt x="1266167" y="303028"/>
                  </a:lnTo>
                  <a:lnTo>
                    <a:pt x="1264724" y="303202"/>
                  </a:lnTo>
                  <a:lnTo>
                    <a:pt x="1262937" y="303764"/>
                  </a:lnTo>
                  <a:lnTo>
                    <a:pt x="1259725" y="304412"/>
                  </a:lnTo>
                  <a:lnTo>
                    <a:pt x="1257862" y="305281"/>
                  </a:lnTo>
                  <a:lnTo>
                    <a:pt x="1256972" y="305915"/>
                  </a:lnTo>
                  <a:lnTo>
                    <a:pt x="1256354" y="306673"/>
                  </a:lnTo>
                  <a:lnTo>
                    <a:pt x="1256246" y="307400"/>
                  </a:lnTo>
                  <a:lnTo>
                    <a:pt x="1256674" y="307782"/>
                  </a:lnTo>
                  <a:lnTo>
                    <a:pt x="1258473" y="308082"/>
                  </a:lnTo>
                  <a:lnTo>
                    <a:pt x="1259711" y="309447"/>
                  </a:lnTo>
                  <a:lnTo>
                    <a:pt x="1259885" y="310939"/>
                  </a:lnTo>
                  <a:lnTo>
                    <a:pt x="1258614" y="311791"/>
                  </a:lnTo>
                  <a:lnTo>
                    <a:pt x="1257979" y="310854"/>
                  </a:lnTo>
                  <a:lnTo>
                    <a:pt x="1256918" y="310556"/>
                  </a:lnTo>
                  <a:lnTo>
                    <a:pt x="1254938" y="309243"/>
                  </a:lnTo>
                  <a:lnTo>
                    <a:pt x="1253498" y="307798"/>
                  </a:lnTo>
                  <a:lnTo>
                    <a:pt x="1252416" y="306198"/>
                  </a:lnTo>
                  <a:lnTo>
                    <a:pt x="1252464" y="302780"/>
                  </a:lnTo>
                  <a:lnTo>
                    <a:pt x="1252275" y="302266"/>
                  </a:lnTo>
                  <a:lnTo>
                    <a:pt x="1250306" y="301565"/>
                  </a:lnTo>
                  <a:lnTo>
                    <a:pt x="1249721" y="300547"/>
                  </a:lnTo>
                  <a:lnTo>
                    <a:pt x="1248788" y="300060"/>
                  </a:lnTo>
                  <a:lnTo>
                    <a:pt x="1247454" y="300370"/>
                  </a:lnTo>
                  <a:lnTo>
                    <a:pt x="1246452" y="300042"/>
                  </a:lnTo>
                  <a:lnTo>
                    <a:pt x="1245661" y="299484"/>
                  </a:lnTo>
                  <a:lnTo>
                    <a:pt x="1244711" y="299417"/>
                  </a:lnTo>
                  <a:lnTo>
                    <a:pt x="1243888" y="300303"/>
                  </a:lnTo>
                  <a:lnTo>
                    <a:pt x="1243457" y="302201"/>
                  </a:lnTo>
                  <a:lnTo>
                    <a:pt x="1242079" y="305349"/>
                  </a:lnTo>
                  <a:lnTo>
                    <a:pt x="1241952" y="307250"/>
                  </a:lnTo>
                  <a:lnTo>
                    <a:pt x="1241356" y="309965"/>
                  </a:lnTo>
                  <a:lnTo>
                    <a:pt x="1240764" y="313402"/>
                  </a:lnTo>
                  <a:lnTo>
                    <a:pt x="1240280" y="314118"/>
                  </a:lnTo>
                  <a:lnTo>
                    <a:pt x="1238734" y="314221"/>
                  </a:lnTo>
                  <a:lnTo>
                    <a:pt x="1238203" y="314445"/>
                  </a:lnTo>
                  <a:lnTo>
                    <a:pt x="1237400" y="315612"/>
                  </a:lnTo>
                  <a:lnTo>
                    <a:pt x="1236430" y="315810"/>
                  </a:lnTo>
                  <a:lnTo>
                    <a:pt x="1235571" y="315127"/>
                  </a:lnTo>
                  <a:lnTo>
                    <a:pt x="1234217" y="314445"/>
                  </a:lnTo>
                  <a:lnTo>
                    <a:pt x="1232939" y="314356"/>
                  </a:lnTo>
                  <a:lnTo>
                    <a:pt x="1231785" y="315040"/>
                  </a:lnTo>
                  <a:lnTo>
                    <a:pt x="1230433" y="316524"/>
                  </a:lnTo>
                  <a:lnTo>
                    <a:pt x="1229664" y="317727"/>
                  </a:lnTo>
                  <a:lnTo>
                    <a:pt x="1229390" y="318848"/>
                  </a:lnTo>
                  <a:lnTo>
                    <a:pt x="1229172" y="320235"/>
                  </a:lnTo>
                  <a:lnTo>
                    <a:pt x="1227806" y="321563"/>
                  </a:lnTo>
                  <a:lnTo>
                    <a:pt x="1226558" y="322258"/>
                  </a:lnTo>
                  <a:lnTo>
                    <a:pt x="1223979" y="324213"/>
                  </a:lnTo>
                  <a:lnTo>
                    <a:pt x="1223156" y="325025"/>
                  </a:lnTo>
                  <a:lnTo>
                    <a:pt x="1221307" y="325036"/>
                  </a:lnTo>
                  <a:lnTo>
                    <a:pt x="1219300" y="324960"/>
                  </a:lnTo>
                  <a:lnTo>
                    <a:pt x="1216596" y="325487"/>
                  </a:lnTo>
                  <a:lnTo>
                    <a:pt x="1212184" y="325755"/>
                  </a:lnTo>
                  <a:lnTo>
                    <a:pt x="1209544" y="325360"/>
                  </a:lnTo>
                  <a:lnTo>
                    <a:pt x="1206278" y="325732"/>
                  </a:lnTo>
                  <a:lnTo>
                    <a:pt x="1203737" y="326372"/>
                  </a:lnTo>
                  <a:lnTo>
                    <a:pt x="1203372" y="327325"/>
                  </a:lnTo>
                  <a:lnTo>
                    <a:pt x="1203465" y="328734"/>
                  </a:lnTo>
                  <a:lnTo>
                    <a:pt x="1203977" y="329655"/>
                  </a:lnTo>
                  <a:lnTo>
                    <a:pt x="1204598" y="330269"/>
                  </a:lnTo>
                  <a:lnTo>
                    <a:pt x="1205654" y="332163"/>
                  </a:lnTo>
                  <a:lnTo>
                    <a:pt x="1206756" y="333992"/>
                  </a:lnTo>
                  <a:lnTo>
                    <a:pt x="1208438" y="335175"/>
                  </a:lnTo>
                  <a:lnTo>
                    <a:pt x="1209133" y="336443"/>
                  </a:lnTo>
                  <a:lnTo>
                    <a:pt x="1209170" y="337624"/>
                  </a:lnTo>
                  <a:lnTo>
                    <a:pt x="1208373" y="339111"/>
                  </a:lnTo>
                  <a:lnTo>
                    <a:pt x="1207166" y="341053"/>
                  </a:lnTo>
                  <a:lnTo>
                    <a:pt x="1206041" y="342249"/>
                  </a:lnTo>
                  <a:lnTo>
                    <a:pt x="1205197" y="342209"/>
                  </a:lnTo>
                  <a:lnTo>
                    <a:pt x="1203903" y="341513"/>
                  </a:lnTo>
                  <a:lnTo>
                    <a:pt x="1203026" y="340639"/>
                  </a:lnTo>
                  <a:lnTo>
                    <a:pt x="1200938" y="340311"/>
                  </a:lnTo>
                  <a:lnTo>
                    <a:pt x="1195832" y="340869"/>
                  </a:lnTo>
                  <a:lnTo>
                    <a:pt x="1193277" y="340480"/>
                  </a:lnTo>
                  <a:lnTo>
                    <a:pt x="1192057" y="339766"/>
                  </a:lnTo>
                  <a:lnTo>
                    <a:pt x="1189919" y="339712"/>
                  </a:lnTo>
                  <a:lnTo>
                    <a:pt x="1186613" y="338760"/>
                  </a:lnTo>
                  <a:lnTo>
                    <a:pt x="1184598" y="338455"/>
                  </a:lnTo>
                  <a:lnTo>
                    <a:pt x="1183649" y="337842"/>
                  </a:lnTo>
                  <a:lnTo>
                    <a:pt x="1183465" y="336443"/>
                  </a:lnTo>
                  <a:lnTo>
                    <a:pt x="1182512" y="335481"/>
                  </a:lnTo>
                  <a:lnTo>
                    <a:pt x="1181981" y="334328"/>
                  </a:lnTo>
                  <a:lnTo>
                    <a:pt x="1180778" y="332880"/>
                  </a:lnTo>
                  <a:lnTo>
                    <a:pt x="1179626" y="332153"/>
                  </a:lnTo>
                  <a:lnTo>
                    <a:pt x="1178491" y="331847"/>
                  </a:lnTo>
                  <a:lnTo>
                    <a:pt x="1177248" y="332723"/>
                  </a:lnTo>
                  <a:lnTo>
                    <a:pt x="1175930" y="333511"/>
                  </a:lnTo>
                  <a:lnTo>
                    <a:pt x="1174944" y="333336"/>
                  </a:lnTo>
                  <a:lnTo>
                    <a:pt x="1174468" y="333555"/>
                  </a:lnTo>
                  <a:lnTo>
                    <a:pt x="1173924" y="334208"/>
                  </a:lnTo>
                  <a:lnTo>
                    <a:pt x="1171808" y="335556"/>
                  </a:lnTo>
                  <a:lnTo>
                    <a:pt x="1171301" y="336790"/>
                  </a:lnTo>
                  <a:lnTo>
                    <a:pt x="1170456" y="339401"/>
                  </a:lnTo>
                  <a:lnTo>
                    <a:pt x="1169869" y="342083"/>
                  </a:lnTo>
                  <a:lnTo>
                    <a:pt x="1169357" y="343032"/>
                  </a:lnTo>
                  <a:lnTo>
                    <a:pt x="1168496" y="343196"/>
                  </a:lnTo>
                  <a:lnTo>
                    <a:pt x="1167619" y="344001"/>
                  </a:lnTo>
                  <a:lnTo>
                    <a:pt x="1165781" y="346523"/>
                  </a:lnTo>
                  <a:lnTo>
                    <a:pt x="1164121" y="348839"/>
                  </a:lnTo>
                  <a:lnTo>
                    <a:pt x="1161709" y="350407"/>
                  </a:lnTo>
                  <a:lnTo>
                    <a:pt x="1160573" y="351843"/>
                  </a:lnTo>
                  <a:lnTo>
                    <a:pt x="1159990" y="353149"/>
                  </a:lnTo>
                  <a:lnTo>
                    <a:pt x="1158271" y="354974"/>
                  </a:lnTo>
                  <a:lnTo>
                    <a:pt x="1155746" y="355300"/>
                  </a:lnTo>
                  <a:lnTo>
                    <a:pt x="1153736" y="355831"/>
                  </a:lnTo>
                  <a:lnTo>
                    <a:pt x="1152505" y="355971"/>
                  </a:lnTo>
                  <a:lnTo>
                    <a:pt x="1151620" y="356707"/>
                  </a:lnTo>
                  <a:lnTo>
                    <a:pt x="1150977" y="357831"/>
                  </a:lnTo>
                  <a:lnTo>
                    <a:pt x="1150665" y="358275"/>
                  </a:lnTo>
                  <a:lnTo>
                    <a:pt x="1149532" y="358275"/>
                  </a:lnTo>
                  <a:lnTo>
                    <a:pt x="1148399" y="359230"/>
                  </a:lnTo>
                  <a:lnTo>
                    <a:pt x="1145619" y="361399"/>
                  </a:lnTo>
                  <a:lnTo>
                    <a:pt x="1143354" y="361800"/>
                  </a:lnTo>
                  <a:lnTo>
                    <a:pt x="1140512" y="363248"/>
                  </a:lnTo>
                  <a:lnTo>
                    <a:pt x="1138014" y="364347"/>
                  </a:lnTo>
                  <a:lnTo>
                    <a:pt x="1136975" y="364965"/>
                  </a:lnTo>
                  <a:lnTo>
                    <a:pt x="1136696" y="365646"/>
                  </a:lnTo>
                  <a:lnTo>
                    <a:pt x="1136332" y="366513"/>
                  </a:lnTo>
                  <a:lnTo>
                    <a:pt x="1135124" y="366686"/>
                  </a:lnTo>
                  <a:lnTo>
                    <a:pt x="1133954" y="366642"/>
                  </a:lnTo>
                  <a:lnTo>
                    <a:pt x="1131359" y="368633"/>
                  </a:lnTo>
                  <a:lnTo>
                    <a:pt x="1130041" y="370320"/>
                  </a:lnTo>
                  <a:lnTo>
                    <a:pt x="1124926" y="373916"/>
                  </a:lnTo>
                  <a:lnTo>
                    <a:pt x="1122838" y="375936"/>
                  </a:lnTo>
                  <a:lnTo>
                    <a:pt x="1122296" y="378550"/>
                  </a:lnTo>
                  <a:lnTo>
                    <a:pt x="1122028" y="378354"/>
                  </a:lnTo>
                  <a:lnTo>
                    <a:pt x="1120204" y="380632"/>
                  </a:lnTo>
                  <a:lnTo>
                    <a:pt x="1116627" y="382798"/>
                  </a:lnTo>
                  <a:lnTo>
                    <a:pt x="1108986" y="383283"/>
                  </a:lnTo>
                  <a:lnTo>
                    <a:pt x="1106569" y="381741"/>
                  </a:lnTo>
                  <a:lnTo>
                    <a:pt x="1105692" y="382803"/>
                  </a:lnTo>
                  <a:lnTo>
                    <a:pt x="1105016" y="384227"/>
                  </a:lnTo>
                  <a:lnTo>
                    <a:pt x="1103012" y="384702"/>
                  </a:lnTo>
                  <a:lnTo>
                    <a:pt x="1099875" y="384830"/>
                  </a:lnTo>
                  <a:lnTo>
                    <a:pt x="1098124" y="385768"/>
                  </a:lnTo>
                  <a:lnTo>
                    <a:pt x="1097186" y="386816"/>
                  </a:lnTo>
                  <a:lnTo>
                    <a:pt x="1092889" y="387156"/>
                  </a:lnTo>
                  <a:lnTo>
                    <a:pt x="1091313" y="388550"/>
                  </a:lnTo>
                  <a:lnTo>
                    <a:pt x="1088640" y="389046"/>
                  </a:lnTo>
                  <a:lnTo>
                    <a:pt x="1077469" y="395139"/>
                  </a:lnTo>
                  <a:lnTo>
                    <a:pt x="1075040" y="397699"/>
                  </a:lnTo>
                  <a:lnTo>
                    <a:pt x="1072737" y="400688"/>
                  </a:lnTo>
                  <a:lnTo>
                    <a:pt x="1071118" y="402192"/>
                  </a:lnTo>
                  <a:lnTo>
                    <a:pt x="1069674" y="403243"/>
                  </a:lnTo>
                  <a:lnTo>
                    <a:pt x="1068354" y="403673"/>
                  </a:lnTo>
                  <a:lnTo>
                    <a:pt x="1067065" y="404709"/>
                  </a:lnTo>
                  <a:lnTo>
                    <a:pt x="1065757" y="404840"/>
                  </a:lnTo>
                  <a:lnTo>
                    <a:pt x="1064422" y="404368"/>
                  </a:lnTo>
                  <a:lnTo>
                    <a:pt x="1062928" y="404529"/>
                  </a:lnTo>
                  <a:lnTo>
                    <a:pt x="1061945" y="405785"/>
                  </a:lnTo>
                  <a:lnTo>
                    <a:pt x="1062777" y="407414"/>
                  </a:lnTo>
                  <a:lnTo>
                    <a:pt x="1062323" y="408103"/>
                  </a:lnTo>
                  <a:lnTo>
                    <a:pt x="1059389" y="408990"/>
                  </a:lnTo>
                  <a:lnTo>
                    <a:pt x="1055031" y="409572"/>
                  </a:lnTo>
                  <a:lnTo>
                    <a:pt x="1053178" y="410637"/>
                  </a:lnTo>
                  <a:lnTo>
                    <a:pt x="1052539" y="411241"/>
                  </a:lnTo>
                  <a:lnTo>
                    <a:pt x="1051570" y="411547"/>
                  </a:lnTo>
                  <a:lnTo>
                    <a:pt x="1050643" y="409441"/>
                  </a:lnTo>
                  <a:lnTo>
                    <a:pt x="1050312" y="406664"/>
                  </a:lnTo>
                  <a:lnTo>
                    <a:pt x="1052115" y="405996"/>
                  </a:lnTo>
                  <a:lnTo>
                    <a:pt x="1053774" y="405645"/>
                  </a:lnTo>
                  <a:lnTo>
                    <a:pt x="1062986" y="401807"/>
                  </a:lnTo>
                  <a:lnTo>
                    <a:pt x="1061830" y="398921"/>
                  </a:lnTo>
                  <a:lnTo>
                    <a:pt x="1062647" y="397662"/>
                  </a:lnTo>
                  <a:lnTo>
                    <a:pt x="1064709" y="395620"/>
                  </a:lnTo>
                  <a:lnTo>
                    <a:pt x="1066050" y="394609"/>
                  </a:lnTo>
                  <a:lnTo>
                    <a:pt x="1065320" y="394238"/>
                  </a:lnTo>
                  <a:lnTo>
                    <a:pt x="1059285" y="394912"/>
                  </a:lnTo>
                  <a:lnTo>
                    <a:pt x="1055817" y="394861"/>
                  </a:lnTo>
                  <a:lnTo>
                    <a:pt x="1054044" y="394655"/>
                  </a:lnTo>
                  <a:lnTo>
                    <a:pt x="1054582" y="392906"/>
                  </a:lnTo>
                  <a:lnTo>
                    <a:pt x="1054284" y="391160"/>
                  </a:lnTo>
                  <a:lnTo>
                    <a:pt x="1053867" y="390504"/>
                  </a:lnTo>
                  <a:lnTo>
                    <a:pt x="1056940" y="388515"/>
                  </a:lnTo>
                  <a:lnTo>
                    <a:pt x="1058334" y="388024"/>
                  </a:lnTo>
                  <a:lnTo>
                    <a:pt x="1059397" y="388055"/>
                  </a:lnTo>
                  <a:lnTo>
                    <a:pt x="1059324" y="386851"/>
                  </a:lnTo>
                  <a:lnTo>
                    <a:pt x="1058438" y="385040"/>
                  </a:lnTo>
                  <a:lnTo>
                    <a:pt x="1059393" y="382699"/>
                  </a:lnTo>
                  <a:lnTo>
                    <a:pt x="1065663" y="379945"/>
                  </a:lnTo>
                  <a:lnTo>
                    <a:pt x="1067166" y="377446"/>
                  </a:lnTo>
                  <a:lnTo>
                    <a:pt x="1069684" y="375112"/>
                  </a:lnTo>
                  <a:lnTo>
                    <a:pt x="1074286" y="369300"/>
                  </a:lnTo>
                  <a:lnTo>
                    <a:pt x="1074561" y="368311"/>
                  </a:lnTo>
                  <a:lnTo>
                    <a:pt x="1075899" y="365585"/>
                  </a:lnTo>
                  <a:lnTo>
                    <a:pt x="1076145" y="364494"/>
                  </a:lnTo>
                  <a:lnTo>
                    <a:pt x="1074016" y="362898"/>
                  </a:lnTo>
                  <a:lnTo>
                    <a:pt x="1073169" y="360658"/>
                  </a:lnTo>
                  <a:lnTo>
                    <a:pt x="1066942" y="356617"/>
                  </a:lnTo>
                  <a:lnTo>
                    <a:pt x="1066413" y="353143"/>
                  </a:lnTo>
                  <a:lnTo>
                    <a:pt x="1065832" y="353295"/>
                  </a:lnTo>
                  <a:lnTo>
                    <a:pt x="1064882" y="355730"/>
                  </a:lnTo>
                  <a:lnTo>
                    <a:pt x="1064078" y="356511"/>
                  </a:lnTo>
                  <a:lnTo>
                    <a:pt x="1061196" y="356583"/>
                  </a:lnTo>
                  <a:lnTo>
                    <a:pt x="1059829" y="355663"/>
                  </a:lnTo>
                  <a:lnTo>
                    <a:pt x="1051811" y="355062"/>
                  </a:lnTo>
                  <a:lnTo>
                    <a:pt x="1049853" y="356630"/>
                  </a:lnTo>
                  <a:lnTo>
                    <a:pt x="1048017" y="359059"/>
                  </a:lnTo>
                  <a:lnTo>
                    <a:pt x="1046234" y="360791"/>
                  </a:lnTo>
                  <a:lnTo>
                    <a:pt x="1044443" y="361680"/>
                  </a:lnTo>
                  <a:lnTo>
                    <a:pt x="1042882" y="363257"/>
                  </a:lnTo>
                  <a:lnTo>
                    <a:pt x="1036434" y="372628"/>
                  </a:lnTo>
                  <a:lnTo>
                    <a:pt x="1033999" y="373336"/>
                  </a:lnTo>
                  <a:lnTo>
                    <a:pt x="1022532" y="378983"/>
                  </a:lnTo>
                  <a:lnTo>
                    <a:pt x="1016799" y="381193"/>
                  </a:lnTo>
                  <a:lnTo>
                    <a:pt x="1012377" y="385102"/>
                  </a:lnTo>
                  <a:lnTo>
                    <a:pt x="1010856" y="387466"/>
                  </a:lnTo>
                  <a:lnTo>
                    <a:pt x="1009506" y="390084"/>
                  </a:lnTo>
                  <a:lnTo>
                    <a:pt x="1008695" y="394051"/>
                  </a:lnTo>
                  <a:lnTo>
                    <a:pt x="1004616" y="398864"/>
                  </a:lnTo>
                  <a:lnTo>
                    <a:pt x="1003218" y="399895"/>
                  </a:lnTo>
                  <a:lnTo>
                    <a:pt x="1001789" y="400313"/>
                  </a:lnTo>
                  <a:lnTo>
                    <a:pt x="999891" y="400165"/>
                  </a:lnTo>
                  <a:lnTo>
                    <a:pt x="998254" y="400466"/>
                  </a:lnTo>
                  <a:lnTo>
                    <a:pt x="995466" y="400042"/>
                  </a:lnTo>
                  <a:lnTo>
                    <a:pt x="992052" y="401565"/>
                  </a:lnTo>
                  <a:lnTo>
                    <a:pt x="988202" y="402883"/>
                  </a:lnTo>
                  <a:lnTo>
                    <a:pt x="984885" y="399571"/>
                  </a:lnTo>
                  <a:lnTo>
                    <a:pt x="982521" y="398750"/>
                  </a:lnTo>
                  <a:lnTo>
                    <a:pt x="978647" y="399669"/>
                  </a:lnTo>
                  <a:lnTo>
                    <a:pt x="976855" y="401140"/>
                  </a:lnTo>
                  <a:lnTo>
                    <a:pt x="973140" y="408419"/>
                  </a:lnTo>
                  <a:lnTo>
                    <a:pt x="971750" y="412583"/>
                  </a:lnTo>
                  <a:lnTo>
                    <a:pt x="971838" y="414293"/>
                  </a:lnTo>
                  <a:lnTo>
                    <a:pt x="974010" y="419466"/>
                  </a:lnTo>
                  <a:lnTo>
                    <a:pt x="976457" y="422361"/>
                  </a:lnTo>
                  <a:lnTo>
                    <a:pt x="981946" y="425655"/>
                  </a:lnTo>
                  <a:lnTo>
                    <a:pt x="993628" y="427927"/>
                  </a:lnTo>
                  <a:lnTo>
                    <a:pt x="996367" y="427120"/>
                  </a:lnTo>
                  <a:lnTo>
                    <a:pt x="999306" y="427112"/>
                  </a:lnTo>
                  <a:lnTo>
                    <a:pt x="1002402" y="429264"/>
                  </a:lnTo>
                  <a:lnTo>
                    <a:pt x="1004337" y="432821"/>
                  </a:lnTo>
                  <a:lnTo>
                    <a:pt x="1004516" y="435249"/>
                  </a:lnTo>
                  <a:lnTo>
                    <a:pt x="1004579" y="436085"/>
                  </a:lnTo>
                  <a:lnTo>
                    <a:pt x="1005283" y="436800"/>
                  </a:lnTo>
                  <a:lnTo>
                    <a:pt x="1005700" y="438024"/>
                  </a:lnTo>
                  <a:lnTo>
                    <a:pt x="1004469" y="439039"/>
                  </a:lnTo>
                  <a:lnTo>
                    <a:pt x="1003525" y="439542"/>
                  </a:lnTo>
                  <a:lnTo>
                    <a:pt x="1002730" y="443304"/>
                  </a:lnTo>
                  <a:lnTo>
                    <a:pt x="1002681" y="447461"/>
                  </a:lnTo>
                  <a:lnTo>
                    <a:pt x="1003687" y="448839"/>
                  </a:lnTo>
                  <a:lnTo>
                    <a:pt x="1006200" y="450774"/>
                  </a:lnTo>
                  <a:lnTo>
                    <a:pt x="1010083" y="452376"/>
                  </a:lnTo>
                  <a:lnTo>
                    <a:pt x="1013677" y="452720"/>
                  </a:lnTo>
                  <a:lnTo>
                    <a:pt x="1020545" y="451948"/>
                  </a:lnTo>
                  <a:lnTo>
                    <a:pt x="1023353" y="449444"/>
                  </a:lnTo>
                  <a:lnTo>
                    <a:pt x="1023186" y="448363"/>
                  </a:lnTo>
                  <a:lnTo>
                    <a:pt x="1023251" y="446960"/>
                  </a:lnTo>
                  <a:lnTo>
                    <a:pt x="1029287" y="443280"/>
                  </a:lnTo>
                  <a:lnTo>
                    <a:pt x="1032729" y="440019"/>
                  </a:lnTo>
                  <a:lnTo>
                    <a:pt x="1032189" y="439155"/>
                  </a:lnTo>
                  <a:lnTo>
                    <a:pt x="1031528" y="438579"/>
                  </a:lnTo>
                  <a:lnTo>
                    <a:pt x="1032135" y="438245"/>
                  </a:lnTo>
                  <a:lnTo>
                    <a:pt x="1034024" y="438016"/>
                  </a:lnTo>
                  <a:lnTo>
                    <a:pt x="1042425" y="434615"/>
                  </a:lnTo>
                  <a:lnTo>
                    <a:pt x="1049037" y="437398"/>
                  </a:lnTo>
                  <a:lnTo>
                    <a:pt x="1052807" y="440595"/>
                  </a:lnTo>
                  <a:lnTo>
                    <a:pt x="1056534" y="441137"/>
                  </a:lnTo>
                  <a:lnTo>
                    <a:pt x="1059125" y="442769"/>
                  </a:lnTo>
                  <a:lnTo>
                    <a:pt x="1062109" y="444166"/>
                  </a:lnTo>
                  <a:lnTo>
                    <a:pt x="1066005" y="444260"/>
                  </a:lnTo>
                  <a:lnTo>
                    <a:pt x="1069287" y="444549"/>
                  </a:lnTo>
                  <a:lnTo>
                    <a:pt x="1070289" y="443262"/>
                  </a:lnTo>
                  <a:lnTo>
                    <a:pt x="1071317" y="442415"/>
                  </a:lnTo>
                  <a:lnTo>
                    <a:pt x="1072487" y="442583"/>
                  </a:lnTo>
                  <a:lnTo>
                    <a:pt x="1073805" y="444273"/>
                  </a:lnTo>
                  <a:lnTo>
                    <a:pt x="1077532" y="445571"/>
                  </a:lnTo>
                  <a:lnTo>
                    <a:pt x="1080972" y="445502"/>
                  </a:lnTo>
                  <a:lnTo>
                    <a:pt x="1083383" y="445031"/>
                  </a:lnTo>
                  <a:lnTo>
                    <a:pt x="1084813" y="445633"/>
                  </a:lnTo>
                  <a:lnTo>
                    <a:pt x="1082742" y="447799"/>
                  </a:lnTo>
                  <a:lnTo>
                    <a:pt x="1083051" y="451285"/>
                  </a:lnTo>
                  <a:lnTo>
                    <a:pt x="1081464" y="452387"/>
                  </a:lnTo>
                  <a:lnTo>
                    <a:pt x="1079942" y="454161"/>
                  </a:lnTo>
                  <a:lnTo>
                    <a:pt x="1080842" y="455328"/>
                  </a:lnTo>
                  <a:lnTo>
                    <a:pt x="1081639" y="455827"/>
                  </a:lnTo>
                  <a:lnTo>
                    <a:pt x="1081557" y="457246"/>
                  </a:lnTo>
                  <a:lnTo>
                    <a:pt x="1080170" y="458052"/>
                  </a:lnTo>
                  <a:lnTo>
                    <a:pt x="1077603" y="460158"/>
                  </a:lnTo>
                  <a:lnTo>
                    <a:pt x="1076128" y="460117"/>
                  </a:lnTo>
                  <a:lnTo>
                    <a:pt x="1075422" y="459710"/>
                  </a:lnTo>
                  <a:lnTo>
                    <a:pt x="1074923" y="458956"/>
                  </a:lnTo>
                  <a:lnTo>
                    <a:pt x="1074558" y="457745"/>
                  </a:lnTo>
                  <a:lnTo>
                    <a:pt x="1073655" y="456946"/>
                  </a:lnTo>
                  <a:lnTo>
                    <a:pt x="1071159" y="456638"/>
                  </a:lnTo>
                  <a:lnTo>
                    <a:pt x="1068576" y="456924"/>
                  </a:lnTo>
                  <a:lnTo>
                    <a:pt x="1062759" y="460053"/>
                  </a:lnTo>
                  <a:lnTo>
                    <a:pt x="1057086" y="462540"/>
                  </a:lnTo>
                  <a:lnTo>
                    <a:pt x="1051137" y="464518"/>
                  </a:lnTo>
                  <a:lnTo>
                    <a:pt x="1049142" y="465762"/>
                  </a:lnTo>
                  <a:lnTo>
                    <a:pt x="1047730" y="466103"/>
                  </a:lnTo>
                  <a:lnTo>
                    <a:pt x="1045266" y="465159"/>
                  </a:lnTo>
                  <a:lnTo>
                    <a:pt x="1043769" y="465219"/>
                  </a:lnTo>
                  <a:lnTo>
                    <a:pt x="1043456" y="465867"/>
                  </a:lnTo>
                  <a:lnTo>
                    <a:pt x="1045357" y="467599"/>
                  </a:lnTo>
                  <a:lnTo>
                    <a:pt x="1045852" y="468957"/>
                  </a:lnTo>
                  <a:lnTo>
                    <a:pt x="1045648" y="469999"/>
                  </a:lnTo>
                  <a:lnTo>
                    <a:pt x="1044571" y="470457"/>
                  </a:lnTo>
                  <a:lnTo>
                    <a:pt x="1043003" y="469692"/>
                  </a:lnTo>
                  <a:lnTo>
                    <a:pt x="1041573" y="470781"/>
                  </a:lnTo>
                  <a:lnTo>
                    <a:pt x="1040925" y="472617"/>
                  </a:lnTo>
                  <a:lnTo>
                    <a:pt x="1040898" y="476975"/>
                  </a:lnTo>
                  <a:lnTo>
                    <a:pt x="1039946" y="477945"/>
                  </a:lnTo>
                  <a:lnTo>
                    <a:pt x="1037324" y="478482"/>
                  </a:lnTo>
                  <a:lnTo>
                    <a:pt x="1034532" y="479866"/>
                  </a:lnTo>
                  <a:lnTo>
                    <a:pt x="1033541" y="479227"/>
                  </a:lnTo>
                  <a:lnTo>
                    <a:pt x="1033143" y="478446"/>
                  </a:lnTo>
                  <a:lnTo>
                    <a:pt x="1033435" y="476441"/>
                  </a:lnTo>
                  <a:lnTo>
                    <a:pt x="1033087" y="475463"/>
                  </a:lnTo>
                  <a:lnTo>
                    <a:pt x="1031814" y="475514"/>
                  </a:lnTo>
                  <a:lnTo>
                    <a:pt x="1029894" y="476113"/>
                  </a:lnTo>
                  <a:lnTo>
                    <a:pt x="1028427" y="477431"/>
                  </a:lnTo>
                  <a:lnTo>
                    <a:pt x="1027922" y="478224"/>
                  </a:lnTo>
                  <a:lnTo>
                    <a:pt x="1029852" y="480785"/>
                  </a:lnTo>
                  <a:lnTo>
                    <a:pt x="1031694" y="481044"/>
                  </a:lnTo>
                  <a:lnTo>
                    <a:pt x="1032137" y="481619"/>
                  </a:lnTo>
                  <a:lnTo>
                    <a:pt x="1030683" y="482867"/>
                  </a:lnTo>
                  <a:lnTo>
                    <a:pt x="1027050" y="484728"/>
                  </a:lnTo>
                  <a:lnTo>
                    <a:pt x="1026447" y="486284"/>
                  </a:lnTo>
                  <a:lnTo>
                    <a:pt x="1025370" y="487774"/>
                  </a:lnTo>
                  <a:lnTo>
                    <a:pt x="1023888" y="488958"/>
                  </a:lnTo>
                  <a:lnTo>
                    <a:pt x="1022882" y="490205"/>
                  </a:lnTo>
                  <a:lnTo>
                    <a:pt x="1021651" y="490858"/>
                  </a:lnTo>
                  <a:lnTo>
                    <a:pt x="1019643" y="491587"/>
                  </a:lnTo>
                  <a:lnTo>
                    <a:pt x="1017181" y="494576"/>
                  </a:lnTo>
                  <a:lnTo>
                    <a:pt x="1015370" y="497371"/>
                  </a:lnTo>
                  <a:lnTo>
                    <a:pt x="1013229" y="498806"/>
                  </a:lnTo>
                  <a:lnTo>
                    <a:pt x="1011530" y="503512"/>
                  </a:lnTo>
                  <a:lnTo>
                    <a:pt x="1008500" y="506069"/>
                  </a:lnTo>
                  <a:lnTo>
                    <a:pt x="1007384" y="510147"/>
                  </a:lnTo>
                  <a:lnTo>
                    <a:pt x="1008172" y="512658"/>
                  </a:lnTo>
                  <a:lnTo>
                    <a:pt x="1011498" y="512633"/>
                  </a:lnTo>
                  <a:lnTo>
                    <a:pt x="1013164" y="513514"/>
                  </a:lnTo>
                  <a:lnTo>
                    <a:pt x="1016618" y="516810"/>
                  </a:lnTo>
                  <a:lnTo>
                    <a:pt x="1020748" y="518957"/>
                  </a:lnTo>
                  <a:lnTo>
                    <a:pt x="1025037" y="520164"/>
                  </a:lnTo>
                  <a:lnTo>
                    <a:pt x="1030295" y="523209"/>
                  </a:lnTo>
                  <a:lnTo>
                    <a:pt x="1031738" y="524496"/>
                  </a:lnTo>
                  <a:lnTo>
                    <a:pt x="1032975" y="527111"/>
                  </a:lnTo>
                  <a:lnTo>
                    <a:pt x="1035253" y="534638"/>
                  </a:lnTo>
                  <a:lnTo>
                    <a:pt x="1036892" y="538357"/>
                  </a:lnTo>
                  <a:lnTo>
                    <a:pt x="1037002" y="540299"/>
                  </a:lnTo>
                  <a:lnTo>
                    <a:pt x="1039453" y="543958"/>
                  </a:lnTo>
                  <a:lnTo>
                    <a:pt x="1042081" y="550242"/>
                  </a:lnTo>
                  <a:lnTo>
                    <a:pt x="1045102" y="555681"/>
                  </a:lnTo>
                  <a:lnTo>
                    <a:pt x="1045683" y="559957"/>
                  </a:lnTo>
                  <a:lnTo>
                    <a:pt x="1044703" y="561907"/>
                  </a:lnTo>
                  <a:lnTo>
                    <a:pt x="1044707" y="564438"/>
                  </a:lnTo>
                  <a:lnTo>
                    <a:pt x="1047730" y="566761"/>
                  </a:lnTo>
                  <a:lnTo>
                    <a:pt x="1054439" y="569460"/>
                  </a:lnTo>
                  <a:lnTo>
                    <a:pt x="1055508" y="570254"/>
                  </a:lnTo>
                  <a:lnTo>
                    <a:pt x="1056819" y="571560"/>
                  </a:lnTo>
                  <a:lnTo>
                    <a:pt x="1056883" y="575630"/>
                  </a:lnTo>
                  <a:lnTo>
                    <a:pt x="1057920" y="576930"/>
                  </a:lnTo>
                  <a:lnTo>
                    <a:pt x="1058799" y="577721"/>
                  </a:lnTo>
                  <a:lnTo>
                    <a:pt x="1062861" y="579439"/>
                  </a:lnTo>
                  <a:lnTo>
                    <a:pt x="1064560" y="580866"/>
                  </a:lnTo>
                  <a:lnTo>
                    <a:pt x="1066359" y="583148"/>
                  </a:lnTo>
                  <a:lnTo>
                    <a:pt x="1066888" y="585188"/>
                  </a:lnTo>
                  <a:lnTo>
                    <a:pt x="1067108" y="587952"/>
                  </a:lnTo>
                  <a:lnTo>
                    <a:pt x="1064836" y="588051"/>
                  </a:lnTo>
                  <a:lnTo>
                    <a:pt x="1063008" y="587742"/>
                  </a:lnTo>
                  <a:lnTo>
                    <a:pt x="1055735" y="584152"/>
                  </a:lnTo>
                  <a:lnTo>
                    <a:pt x="1053843" y="584056"/>
                  </a:lnTo>
                  <a:lnTo>
                    <a:pt x="1051176" y="584555"/>
                  </a:lnTo>
                  <a:lnTo>
                    <a:pt x="1047367" y="583892"/>
                  </a:lnTo>
                  <a:lnTo>
                    <a:pt x="1043346" y="579913"/>
                  </a:lnTo>
                  <a:lnTo>
                    <a:pt x="1040446" y="578703"/>
                  </a:lnTo>
                  <a:lnTo>
                    <a:pt x="1037341" y="578095"/>
                  </a:lnTo>
                  <a:lnTo>
                    <a:pt x="1029911" y="581520"/>
                  </a:lnTo>
                  <a:lnTo>
                    <a:pt x="1028023" y="581280"/>
                  </a:lnTo>
                  <a:lnTo>
                    <a:pt x="1027475" y="581665"/>
                  </a:lnTo>
                  <a:lnTo>
                    <a:pt x="1026635" y="582253"/>
                  </a:lnTo>
                  <a:lnTo>
                    <a:pt x="1030077" y="582987"/>
                  </a:lnTo>
                  <a:lnTo>
                    <a:pt x="1033524" y="581865"/>
                  </a:lnTo>
                  <a:lnTo>
                    <a:pt x="1036833" y="580205"/>
                  </a:lnTo>
                  <a:lnTo>
                    <a:pt x="1041662" y="581089"/>
                  </a:lnTo>
                  <a:lnTo>
                    <a:pt x="1042474" y="582582"/>
                  </a:lnTo>
                  <a:lnTo>
                    <a:pt x="1043260" y="585107"/>
                  </a:lnTo>
                  <a:lnTo>
                    <a:pt x="1046570" y="586811"/>
                  </a:lnTo>
                  <a:lnTo>
                    <a:pt x="1049177" y="587564"/>
                  </a:lnTo>
                  <a:lnTo>
                    <a:pt x="1052483" y="589799"/>
                  </a:lnTo>
                  <a:lnTo>
                    <a:pt x="1055713" y="593288"/>
                  </a:lnTo>
                  <a:lnTo>
                    <a:pt x="1062561" y="597333"/>
                  </a:lnTo>
                  <a:lnTo>
                    <a:pt x="1065331" y="601159"/>
                  </a:lnTo>
                  <a:lnTo>
                    <a:pt x="1066405" y="603628"/>
                  </a:lnTo>
                  <a:lnTo>
                    <a:pt x="1067365" y="607151"/>
                  </a:lnTo>
                  <a:lnTo>
                    <a:pt x="1064966" y="608286"/>
                  </a:lnTo>
                  <a:lnTo>
                    <a:pt x="1062882" y="608446"/>
                  </a:lnTo>
                  <a:lnTo>
                    <a:pt x="1059617" y="609001"/>
                  </a:lnTo>
                  <a:lnTo>
                    <a:pt x="1057216" y="610246"/>
                  </a:lnTo>
                  <a:lnTo>
                    <a:pt x="1054806" y="612437"/>
                  </a:lnTo>
                  <a:lnTo>
                    <a:pt x="1047901" y="615874"/>
                  </a:lnTo>
                  <a:lnTo>
                    <a:pt x="1046588" y="618024"/>
                  </a:lnTo>
                  <a:lnTo>
                    <a:pt x="1045685" y="619895"/>
                  </a:lnTo>
                  <a:lnTo>
                    <a:pt x="1044005" y="620817"/>
                  </a:lnTo>
                  <a:lnTo>
                    <a:pt x="1039770" y="619938"/>
                  </a:lnTo>
                  <a:lnTo>
                    <a:pt x="1035786" y="620011"/>
                  </a:lnTo>
                  <a:lnTo>
                    <a:pt x="1031269" y="622541"/>
                  </a:lnTo>
                  <a:lnTo>
                    <a:pt x="1030144" y="623565"/>
                  </a:lnTo>
                  <a:lnTo>
                    <a:pt x="1030894" y="623365"/>
                  </a:lnTo>
                  <a:lnTo>
                    <a:pt x="1031601" y="623038"/>
                  </a:lnTo>
                  <a:lnTo>
                    <a:pt x="1033636" y="623417"/>
                  </a:lnTo>
                  <a:lnTo>
                    <a:pt x="1036775" y="622067"/>
                  </a:lnTo>
                  <a:lnTo>
                    <a:pt x="1039846" y="626186"/>
                  </a:lnTo>
                  <a:lnTo>
                    <a:pt x="1045841" y="625520"/>
                  </a:lnTo>
                  <a:lnTo>
                    <a:pt x="1051477" y="622099"/>
                  </a:lnTo>
                  <a:lnTo>
                    <a:pt x="1053658" y="622042"/>
                  </a:lnTo>
                  <a:lnTo>
                    <a:pt x="1055484" y="622569"/>
                  </a:lnTo>
                  <a:lnTo>
                    <a:pt x="1057521" y="623920"/>
                  </a:lnTo>
                  <a:lnTo>
                    <a:pt x="1062943" y="629916"/>
                  </a:lnTo>
                  <a:lnTo>
                    <a:pt x="1065914" y="630568"/>
                  </a:lnTo>
                  <a:lnTo>
                    <a:pt x="1068834" y="631973"/>
                  </a:lnTo>
                  <a:lnTo>
                    <a:pt x="1070447" y="632128"/>
                  </a:lnTo>
                  <a:lnTo>
                    <a:pt x="1071898" y="632547"/>
                  </a:lnTo>
                  <a:lnTo>
                    <a:pt x="1067980" y="634739"/>
                  </a:lnTo>
                  <a:lnTo>
                    <a:pt x="1062912" y="639471"/>
                  </a:lnTo>
                  <a:lnTo>
                    <a:pt x="1060658" y="640600"/>
                  </a:lnTo>
                  <a:lnTo>
                    <a:pt x="1059147" y="641866"/>
                  </a:lnTo>
                  <a:lnTo>
                    <a:pt x="1063219" y="641229"/>
                  </a:lnTo>
                  <a:lnTo>
                    <a:pt x="1066125" y="638968"/>
                  </a:lnTo>
                  <a:lnTo>
                    <a:pt x="1067587" y="638409"/>
                  </a:lnTo>
                  <a:lnTo>
                    <a:pt x="1068765" y="638937"/>
                  </a:lnTo>
                  <a:lnTo>
                    <a:pt x="1069365" y="641720"/>
                  </a:lnTo>
                  <a:lnTo>
                    <a:pt x="1068246" y="650291"/>
                  </a:lnTo>
                  <a:lnTo>
                    <a:pt x="1066825" y="650438"/>
                  </a:lnTo>
                  <a:lnTo>
                    <a:pt x="1065439" y="648108"/>
                  </a:lnTo>
                  <a:lnTo>
                    <a:pt x="1063817" y="647369"/>
                  </a:lnTo>
                  <a:lnTo>
                    <a:pt x="1062457" y="647856"/>
                  </a:lnTo>
                  <a:lnTo>
                    <a:pt x="1059754" y="647842"/>
                  </a:lnTo>
                  <a:lnTo>
                    <a:pt x="1058724" y="648891"/>
                  </a:lnTo>
                  <a:lnTo>
                    <a:pt x="1057851" y="650380"/>
                  </a:lnTo>
                  <a:lnTo>
                    <a:pt x="1059471" y="650690"/>
                  </a:lnTo>
                  <a:lnTo>
                    <a:pt x="1062656" y="653286"/>
                  </a:lnTo>
                  <a:lnTo>
                    <a:pt x="1062981" y="654668"/>
                  </a:lnTo>
                  <a:lnTo>
                    <a:pt x="1062126" y="655563"/>
                  </a:lnTo>
                  <a:lnTo>
                    <a:pt x="1059893" y="655179"/>
                  </a:lnTo>
                  <a:lnTo>
                    <a:pt x="1062602" y="657114"/>
                  </a:lnTo>
                  <a:lnTo>
                    <a:pt x="1061885" y="659120"/>
                  </a:lnTo>
                  <a:lnTo>
                    <a:pt x="1061006" y="659916"/>
                  </a:lnTo>
                  <a:lnTo>
                    <a:pt x="1059432" y="660423"/>
                  </a:lnTo>
                  <a:lnTo>
                    <a:pt x="1058460" y="662158"/>
                  </a:lnTo>
                  <a:lnTo>
                    <a:pt x="1059851" y="665045"/>
                  </a:lnTo>
                  <a:lnTo>
                    <a:pt x="1061265" y="668750"/>
                  </a:lnTo>
                  <a:lnTo>
                    <a:pt x="1061440" y="670534"/>
                  </a:lnTo>
                  <a:lnTo>
                    <a:pt x="1059229" y="669765"/>
                  </a:lnTo>
                  <a:lnTo>
                    <a:pt x="1055794" y="672026"/>
                  </a:lnTo>
                  <a:lnTo>
                    <a:pt x="1053973" y="672212"/>
                  </a:lnTo>
                  <a:lnTo>
                    <a:pt x="1052746" y="669239"/>
                  </a:lnTo>
                  <a:lnTo>
                    <a:pt x="1051174" y="669707"/>
                  </a:lnTo>
                  <a:lnTo>
                    <a:pt x="1050129" y="670573"/>
                  </a:lnTo>
                  <a:lnTo>
                    <a:pt x="1048736" y="673764"/>
                  </a:lnTo>
                  <a:lnTo>
                    <a:pt x="1047037" y="676642"/>
                  </a:lnTo>
                  <a:lnTo>
                    <a:pt x="1045575" y="677434"/>
                  </a:lnTo>
                  <a:lnTo>
                    <a:pt x="1043817" y="677207"/>
                  </a:lnTo>
                  <a:lnTo>
                    <a:pt x="1042373" y="677289"/>
                  </a:lnTo>
                  <a:lnTo>
                    <a:pt x="1042722" y="678067"/>
                  </a:lnTo>
                  <a:lnTo>
                    <a:pt x="1044260" y="679015"/>
                  </a:lnTo>
                  <a:lnTo>
                    <a:pt x="1044260" y="680122"/>
                  </a:lnTo>
                  <a:lnTo>
                    <a:pt x="1040991" y="683632"/>
                  </a:lnTo>
                  <a:lnTo>
                    <a:pt x="1040463" y="684985"/>
                  </a:lnTo>
                  <a:lnTo>
                    <a:pt x="1040541" y="686141"/>
                  </a:lnTo>
                  <a:lnTo>
                    <a:pt x="1038831" y="687542"/>
                  </a:lnTo>
                  <a:lnTo>
                    <a:pt x="1039751" y="689895"/>
                  </a:lnTo>
                  <a:lnTo>
                    <a:pt x="1039274" y="691557"/>
                  </a:lnTo>
                  <a:lnTo>
                    <a:pt x="1037777" y="693798"/>
                  </a:lnTo>
                  <a:lnTo>
                    <a:pt x="1036203" y="695278"/>
                  </a:lnTo>
                  <a:lnTo>
                    <a:pt x="1034344" y="697676"/>
                  </a:lnTo>
                  <a:lnTo>
                    <a:pt x="1032004" y="699067"/>
                  </a:lnTo>
                  <a:lnTo>
                    <a:pt x="1028904" y="704083"/>
                  </a:lnTo>
                  <a:lnTo>
                    <a:pt x="1027995" y="706589"/>
                  </a:lnTo>
                  <a:lnTo>
                    <a:pt x="1027758" y="709180"/>
                  </a:lnTo>
                  <a:lnTo>
                    <a:pt x="1026791" y="710076"/>
                  </a:lnTo>
                  <a:lnTo>
                    <a:pt x="1025128" y="711202"/>
                  </a:lnTo>
                  <a:lnTo>
                    <a:pt x="1023236" y="710631"/>
                  </a:lnTo>
                  <a:lnTo>
                    <a:pt x="1023175" y="708908"/>
                  </a:lnTo>
                  <a:lnTo>
                    <a:pt x="1022355" y="708759"/>
                  </a:lnTo>
                  <a:lnTo>
                    <a:pt x="1021889" y="707629"/>
                  </a:lnTo>
                  <a:lnTo>
                    <a:pt x="1021752" y="706187"/>
                  </a:lnTo>
                  <a:lnTo>
                    <a:pt x="1021954" y="705028"/>
                  </a:lnTo>
                  <a:lnTo>
                    <a:pt x="1021168" y="705382"/>
                  </a:lnTo>
                  <a:lnTo>
                    <a:pt x="1020682" y="706731"/>
                  </a:lnTo>
                  <a:lnTo>
                    <a:pt x="1019438" y="707824"/>
                  </a:lnTo>
                  <a:lnTo>
                    <a:pt x="1018135" y="707383"/>
                  </a:lnTo>
                  <a:lnTo>
                    <a:pt x="1016734" y="706487"/>
                  </a:lnTo>
                  <a:lnTo>
                    <a:pt x="1016773" y="707782"/>
                  </a:lnTo>
                  <a:lnTo>
                    <a:pt x="1017518" y="709078"/>
                  </a:lnTo>
                  <a:lnTo>
                    <a:pt x="1017840" y="710376"/>
                  </a:lnTo>
                  <a:lnTo>
                    <a:pt x="1019781" y="710655"/>
                  </a:lnTo>
                  <a:lnTo>
                    <a:pt x="1021081" y="712145"/>
                  </a:lnTo>
                  <a:lnTo>
                    <a:pt x="1022106" y="714432"/>
                  </a:lnTo>
                  <a:lnTo>
                    <a:pt x="1022310" y="715287"/>
                  </a:lnTo>
                  <a:lnTo>
                    <a:pt x="1023109" y="716311"/>
                  </a:lnTo>
                  <a:lnTo>
                    <a:pt x="1023210" y="717182"/>
                  </a:lnTo>
                  <a:lnTo>
                    <a:pt x="1021358" y="717988"/>
                  </a:lnTo>
                  <a:lnTo>
                    <a:pt x="1019045" y="719498"/>
                  </a:lnTo>
                  <a:lnTo>
                    <a:pt x="1016268" y="722080"/>
                  </a:lnTo>
                  <a:lnTo>
                    <a:pt x="1013968" y="723800"/>
                  </a:lnTo>
                  <a:lnTo>
                    <a:pt x="1011904" y="723815"/>
                  </a:lnTo>
                  <a:lnTo>
                    <a:pt x="1010651" y="723614"/>
                  </a:lnTo>
                  <a:lnTo>
                    <a:pt x="1008861" y="722624"/>
                  </a:lnTo>
                  <a:lnTo>
                    <a:pt x="1006812" y="722212"/>
                  </a:lnTo>
                  <a:lnTo>
                    <a:pt x="1009561" y="725690"/>
                  </a:lnTo>
                  <a:lnTo>
                    <a:pt x="1011070" y="726306"/>
                  </a:lnTo>
                  <a:lnTo>
                    <a:pt x="1012966" y="726174"/>
                  </a:lnTo>
                  <a:lnTo>
                    <a:pt x="1014804" y="724877"/>
                  </a:lnTo>
                  <a:lnTo>
                    <a:pt x="1017410" y="725009"/>
                  </a:lnTo>
                  <a:lnTo>
                    <a:pt x="1018062" y="727017"/>
                  </a:lnTo>
                  <a:lnTo>
                    <a:pt x="1017369" y="729281"/>
                  </a:lnTo>
                  <a:lnTo>
                    <a:pt x="1015953" y="732215"/>
                  </a:lnTo>
                  <a:lnTo>
                    <a:pt x="1015656" y="734752"/>
                  </a:lnTo>
                  <a:lnTo>
                    <a:pt x="1017418" y="738381"/>
                  </a:lnTo>
                  <a:lnTo>
                    <a:pt x="1017492" y="739472"/>
                  </a:lnTo>
                  <a:lnTo>
                    <a:pt x="1016835" y="740018"/>
                  </a:lnTo>
                  <a:lnTo>
                    <a:pt x="1014767" y="739060"/>
                  </a:lnTo>
                  <a:lnTo>
                    <a:pt x="1013054" y="737858"/>
                  </a:lnTo>
                  <a:lnTo>
                    <a:pt x="1011329" y="738172"/>
                  </a:lnTo>
                  <a:lnTo>
                    <a:pt x="1009545" y="737660"/>
                  </a:lnTo>
                  <a:lnTo>
                    <a:pt x="1007710" y="738089"/>
                  </a:lnTo>
                  <a:lnTo>
                    <a:pt x="1006963" y="738926"/>
                  </a:lnTo>
                  <a:lnTo>
                    <a:pt x="1007472" y="740308"/>
                  </a:lnTo>
                  <a:lnTo>
                    <a:pt x="1009113" y="741455"/>
                  </a:lnTo>
                  <a:lnTo>
                    <a:pt x="1010042" y="743218"/>
                  </a:lnTo>
                  <a:lnTo>
                    <a:pt x="1008937" y="743837"/>
                  </a:lnTo>
                  <a:lnTo>
                    <a:pt x="1004273" y="743425"/>
                  </a:lnTo>
                  <a:lnTo>
                    <a:pt x="1003232" y="743759"/>
                  </a:lnTo>
                  <a:lnTo>
                    <a:pt x="1001836" y="745701"/>
                  </a:lnTo>
                  <a:lnTo>
                    <a:pt x="1002748" y="748573"/>
                  </a:lnTo>
                  <a:lnTo>
                    <a:pt x="1001718" y="750358"/>
                  </a:lnTo>
                  <a:lnTo>
                    <a:pt x="999794" y="750776"/>
                  </a:lnTo>
                  <a:lnTo>
                    <a:pt x="997261" y="752219"/>
                  </a:lnTo>
                  <a:lnTo>
                    <a:pt x="995700" y="752554"/>
                  </a:lnTo>
                  <a:lnTo>
                    <a:pt x="995773" y="753176"/>
                  </a:lnTo>
                  <a:lnTo>
                    <a:pt x="996913" y="753805"/>
                  </a:lnTo>
                  <a:lnTo>
                    <a:pt x="997518" y="754656"/>
                  </a:lnTo>
                  <a:lnTo>
                    <a:pt x="996144" y="757585"/>
                  </a:lnTo>
                  <a:lnTo>
                    <a:pt x="994007" y="758549"/>
                  </a:lnTo>
                  <a:lnTo>
                    <a:pt x="990726" y="758072"/>
                  </a:lnTo>
                  <a:lnTo>
                    <a:pt x="988146" y="758729"/>
                  </a:lnTo>
                  <a:lnTo>
                    <a:pt x="985918" y="757482"/>
                  </a:lnTo>
                  <a:lnTo>
                    <a:pt x="983542" y="757455"/>
                  </a:lnTo>
                  <a:lnTo>
                    <a:pt x="981923" y="759030"/>
                  </a:lnTo>
                  <a:lnTo>
                    <a:pt x="981748" y="760859"/>
                  </a:lnTo>
                  <a:lnTo>
                    <a:pt x="980180" y="761042"/>
                  </a:lnTo>
                  <a:lnTo>
                    <a:pt x="979336" y="760910"/>
                  </a:lnTo>
                  <a:lnTo>
                    <a:pt x="978137" y="761039"/>
                  </a:lnTo>
                  <a:lnTo>
                    <a:pt x="978260" y="762021"/>
                  </a:lnTo>
                  <a:lnTo>
                    <a:pt x="978941" y="762879"/>
                  </a:lnTo>
                  <a:lnTo>
                    <a:pt x="982152" y="763261"/>
                  </a:lnTo>
                  <a:lnTo>
                    <a:pt x="982734" y="764492"/>
                  </a:lnTo>
                  <a:lnTo>
                    <a:pt x="982855" y="766392"/>
                  </a:lnTo>
                  <a:lnTo>
                    <a:pt x="979496" y="769665"/>
                  </a:lnTo>
                  <a:lnTo>
                    <a:pt x="978066" y="771870"/>
                  </a:lnTo>
                  <a:lnTo>
                    <a:pt x="975905" y="771812"/>
                  </a:lnTo>
                  <a:lnTo>
                    <a:pt x="974272" y="773580"/>
                  </a:lnTo>
                  <a:lnTo>
                    <a:pt x="973395" y="775980"/>
                  </a:lnTo>
                  <a:lnTo>
                    <a:pt x="972311" y="775505"/>
                  </a:lnTo>
                  <a:lnTo>
                    <a:pt x="969817" y="775889"/>
                  </a:lnTo>
                  <a:lnTo>
                    <a:pt x="969081" y="777033"/>
                  </a:lnTo>
                  <a:lnTo>
                    <a:pt x="969666" y="777506"/>
                  </a:lnTo>
                  <a:lnTo>
                    <a:pt x="969724" y="778330"/>
                  </a:lnTo>
                  <a:lnTo>
                    <a:pt x="968724" y="781024"/>
                  </a:lnTo>
                  <a:lnTo>
                    <a:pt x="967634" y="781781"/>
                  </a:lnTo>
                  <a:lnTo>
                    <a:pt x="967169" y="780680"/>
                  </a:lnTo>
                  <a:lnTo>
                    <a:pt x="966818" y="778972"/>
                  </a:lnTo>
                  <a:lnTo>
                    <a:pt x="965935" y="778842"/>
                  </a:lnTo>
                  <a:lnTo>
                    <a:pt x="964479" y="780416"/>
                  </a:lnTo>
                  <a:lnTo>
                    <a:pt x="962780" y="781543"/>
                  </a:lnTo>
                  <a:lnTo>
                    <a:pt x="961329" y="782011"/>
                  </a:lnTo>
                  <a:lnTo>
                    <a:pt x="960230" y="780967"/>
                  </a:lnTo>
                  <a:lnTo>
                    <a:pt x="957528" y="780424"/>
                  </a:lnTo>
                  <a:lnTo>
                    <a:pt x="956429" y="784947"/>
                  </a:lnTo>
                  <a:lnTo>
                    <a:pt x="954187" y="786595"/>
                  </a:lnTo>
                  <a:lnTo>
                    <a:pt x="953138" y="787109"/>
                  </a:lnTo>
                  <a:lnTo>
                    <a:pt x="951309" y="787264"/>
                  </a:lnTo>
                  <a:lnTo>
                    <a:pt x="952480" y="787881"/>
                  </a:lnTo>
                  <a:lnTo>
                    <a:pt x="952845" y="789039"/>
                  </a:lnTo>
                  <a:lnTo>
                    <a:pt x="952188" y="790196"/>
                  </a:lnTo>
                  <a:lnTo>
                    <a:pt x="950359" y="790428"/>
                  </a:lnTo>
                  <a:lnTo>
                    <a:pt x="949295" y="791328"/>
                  </a:lnTo>
                  <a:lnTo>
                    <a:pt x="948886" y="795363"/>
                  </a:lnTo>
                  <a:lnTo>
                    <a:pt x="947800" y="796777"/>
                  </a:lnTo>
                  <a:lnTo>
                    <a:pt x="945032" y="796890"/>
                  </a:lnTo>
                  <a:lnTo>
                    <a:pt x="942961" y="795951"/>
                  </a:lnTo>
                  <a:lnTo>
                    <a:pt x="942302" y="796692"/>
                  </a:lnTo>
                  <a:lnTo>
                    <a:pt x="941955" y="797412"/>
                  </a:lnTo>
                  <a:lnTo>
                    <a:pt x="940873" y="798139"/>
                  </a:lnTo>
                  <a:lnTo>
                    <a:pt x="938776" y="798333"/>
                  </a:lnTo>
                  <a:lnTo>
                    <a:pt x="934123" y="800139"/>
                  </a:lnTo>
                  <a:lnTo>
                    <a:pt x="931993" y="799618"/>
                  </a:lnTo>
                  <a:lnTo>
                    <a:pt x="929441" y="798932"/>
                  </a:lnTo>
                  <a:lnTo>
                    <a:pt x="927687" y="799600"/>
                  </a:lnTo>
                  <a:lnTo>
                    <a:pt x="927102" y="800986"/>
                  </a:lnTo>
                  <a:lnTo>
                    <a:pt x="926299" y="802064"/>
                  </a:lnTo>
                  <a:lnTo>
                    <a:pt x="923738" y="802064"/>
                  </a:lnTo>
                  <a:lnTo>
                    <a:pt x="921691" y="800734"/>
                  </a:lnTo>
                  <a:lnTo>
                    <a:pt x="919610" y="799773"/>
                  </a:lnTo>
                  <a:lnTo>
                    <a:pt x="917303" y="800602"/>
                  </a:lnTo>
                  <a:lnTo>
                    <a:pt x="915547" y="802295"/>
                  </a:lnTo>
                  <a:lnTo>
                    <a:pt x="913388" y="802861"/>
                  </a:lnTo>
                  <a:lnTo>
                    <a:pt x="912988" y="803911"/>
                  </a:lnTo>
                  <a:lnTo>
                    <a:pt x="912047" y="804439"/>
                  </a:lnTo>
                  <a:lnTo>
                    <a:pt x="909761" y="804217"/>
                  </a:lnTo>
                  <a:lnTo>
                    <a:pt x="908892" y="801601"/>
                  </a:lnTo>
                  <a:lnTo>
                    <a:pt x="907577" y="801216"/>
                  </a:lnTo>
                  <a:lnTo>
                    <a:pt x="906275" y="802539"/>
                  </a:lnTo>
                  <a:lnTo>
                    <a:pt x="905815" y="803572"/>
                  </a:lnTo>
                  <a:lnTo>
                    <a:pt x="905206" y="804350"/>
                  </a:lnTo>
                  <a:lnTo>
                    <a:pt x="905422" y="806483"/>
                  </a:lnTo>
                  <a:lnTo>
                    <a:pt x="904139" y="806526"/>
                  </a:lnTo>
                  <a:lnTo>
                    <a:pt x="902457" y="805219"/>
                  </a:lnTo>
                  <a:lnTo>
                    <a:pt x="900700" y="804987"/>
                  </a:lnTo>
                  <a:lnTo>
                    <a:pt x="899050" y="806202"/>
                  </a:lnTo>
                  <a:lnTo>
                    <a:pt x="899129" y="806300"/>
                  </a:lnTo>
                  <a:lnTo>
                    <a:pt x="899605" y="807167"/>
                  </a:lnTo>
                  <a:lnTo>
                    <a:pt x="899460" y="808140"/>
                  </a:lnTo>
                  <a:lnTo>
                    <a:pt x="900358" y="808610"/>
                  </a:lnTo>
                  <a:lnTo>
                    <a:pt x="900581" y="809567"/>
                  </a:lnTo>
                  <a:lnTo>
                    <a:pt x="899591" y="810089"/>
                  </a:lnTo>
                  <a:lnTo>
                    <a:pt x="899533" y="811215"/>
                  </a:lnTo>
                  <a:lnTo>
                    <a:pt x="899093" y="811906"/>
                  </a:lnTo>
                  <a:lnTo>
                    <a:pt x="896243" y="810678"/>
                  </a:lnTo>
                  <a:lnTo>
                    <a:pt x="893893" y="810040"/>
                  </a:lnTo>
                  <a:lnTo>
                    <a:pt x="891781" y="810293"/>
                  </a:lnTo>
                  <a:lnTo>
                    <a:pt x="891013" y="809570"/>
                  </a:lnTo>
                  <a:lnTo>
                    <a:pt x="890879" y="808825"/>
                  </a:lnTo>
                  <a:lnTo>
                    <a:pt x="893317" y="807526"/>
                  </a:lnTo>
                  <a:lnTo>
                    <a:pt x="893509" y="806878"/>
                  </a:lnTo>
                  <a:lnTo>
                    <a:pt x="891645" y="806433"/>
                  </a:lnTo>
                  <a:lnTo>
                    <a:pt x="889372" y="804661"/>
                  </a:lnTo>
                  <a:lnTo>
                    <a:pt x="887739" y="801720"/>
                  </a:lnTo>
                  <a:lnTo>
                    <a:pt x="885674" y="800136"/>
                  </a:lnTo>
                  <a:lnTo>
                    <a:pt x="884757" y="798745"/>
                  </a:lnTo>
                  <a:lnTo>
                    <a:pt x="884399" y="796241"/>
                  </a:lnTo>
                  <a:lnTo>
                    <a:pt x="884020" y="795050"/>
                  </a:lnTo>
                  <a:lnTo>
                    <a:pt x="884150" y="793723"/>
                  </a:lnTo>
                  <a:lnTo>
                    <a:pt x="884776" y="792545"/>
                  </a:lnTo>
                  <a:lnTo>
                    <a:pt x="882548" y="793137"/>
                  </a:lnTo>
                  <a:lnTo>
                    <a:pt x="880902" y="794233"/>
                  </a:lnTo>
                  <a:lnTo>
                    <a:pt x="881234" y="795617"/>
                  </a:lnTo>
                  <a:lnTo>
                    <a:pt x="880827" y="796901"/>
                  </a:lnTo>
                  <a:lnTo>
                    <a:pt x="878376" y="797566"/>
                  </a:lnTo>
                  <a:lnTo>
                    <a:pt x="878525" y="798107"/>
                  </a:lnTo>
                  <a:lnTo>
                    <a:pt x="878680" y="798671"/>
                  </a:lnTo>
                  <a:lnTo>
                    <a:pt x="880609" y="800422"/>
                  </a:lnTo>
                  <a:lnTo>
                    <a:pt x="881002" y="801895"/>
                  </a:lnTo>
                  <a:lnTo>
                    <a:pt x="881775" y="802680"/>
                  </a:lnTo>
                  <a:lnTo>
                    <a:pt x="883284" y="804968"/>
                  </a:lnTo>
                  <a:lnTo>
                    <a:pt x="883250" y="809383"/>
                  </a:lnTo>
                  <a:lnTo>
                    <a:pt x="884077" y="810630"/>
                  </a:lnTo>
                  <a:lnTo>
                    <a:pt x="883802" y="811866"/>
                  </a:lnTo>
                  <a:lnTo>
                    <a:pt x="883198" y="813540"/>
                  </a:lnTo>
                  <a:lnTo>
                    <a:pt x="883146" y="813565"/>
                  </a:lnTo>
                  <a:lnTo>
                    <a:pt x="882710" y="813058"/>
                  </a:lnTo>
                  <a:lnTo>
                    <a:pt x="883176" y="813600"/>
                  </a:lnTo>
                  <a:lnTo>
                    <a:pt x="883118" y="813626"/>
                  </a:lnTo>
                  <a:lnTo>
                    <a:pt x="882086" y="814087"/>
                  </a:lnTo>
                  <a:lnTo>
                    <a:pt x="881762" y="814177"/>
                  </a:lnTo>
                  <a:lnTo>
                    <a:pt x="881645" y="814228"/>
                  </a:lnTo>
                  <a:lnTo>
                    <a:pt x="881524" y="814255"/>
                  </a:lnTo>
                  <a:lnTo>
                    <a:pt x="880248" y="814627"/>
                  </a:lnTo>
                  <a:lnTo>
                    <a:pt x="879180" y="814941"/>
                  </a:lnTo>
                  <a:lnTo>
                    <a:pt x="878302" y="815393"/>
                  </a:lnTo>
                  <a:lnTo>
                    <a:pt x="876946" y="816707"/>
                  </a:lnTo>
                  <a:lnTo>
                    <a:pt x="874350" y="817027"/>
                  </a:lnTo>
                  <a:lnTo>
                    <a:pt x="873019" y="813940"/>
                  </a:lnTo>
                  <a:lnTo>
                    <a:pt x="871237" y="815998"/>
                  </a:lnTo>
                  <a:lnTo>
                    <a:pt x="870697" y="820200"/>
                  </a:lnTo>
                  <a:lnTo>
                    <a:pt x="870036" y="820916"/>
                  </a:lnTo>
                  <a:lnTo>
                    <a:pt x="868928" y="821517"/>
                  </a:lnTo>
                  <a:lnTo>
                    <a:pt x="866823" y="820051"/>
                  </a:lnTo>
                  <a:lnTo>
                    <a:pt x="864983" y="821032"/>
                  </a:lnTo>
                  <a:lnTo>
                    <a:pt x="863554" y="822026"/>
                  </a:lnTo>
                  <a:lnTo>
                    <a:pt x="862964" y="822944"/>
                  </a:lnTo>
                  <a:lnTo>
                    <a:pt x="861908" y="823941"/>
                  </a:lnTo>
                  <a:lnTo>
                    <a:pt x="859883" y="822980"/>
                  </a:lnTo>
                  <a:lnTo>
                    <a:pt x="858259" y="821536"/>
                  </a:lnTo>
                  <a:lnTo>
                    <a:pt x="858661" y="820452"/>
                  </a:lnTo>
                  <a:lnTo>
                    <a:pt x="858436" y="819739"/>
                  </a:lnTo>
                  <a:lnTo>
                    <a:pt x="857702" y="819200"/>
                  </a:lnTo>
                  <a:lnTo>
                    <a:pt x="856896" y="819277"/>
                  </a:lnTo>
                  <a:lnTo>
                    <a:pt x="857289" y="820681"/>
                  </a:lnTo>
                  <a:lnTo>
                    <a:pt x="857561" y="823376"/>
                  </a:lnTo>
                  <a:lnTo>
                    <a:pt x="856825" y="824156"/>
                  </a:lnTo>
                  <a:lnTo>
                    <a:pt x="855687" y="824756"/>
                  </a:lnTo>
                  <a:lnTo>
                    <a:pt x="853219" y="824259"/>
                  </a:lnTo>
                  <a:lnTo>
                    <a:pt x="851535" y="823254"/>
                  </a:lnTo>
                  <a:lnTo>
                    <a:pt x="849501" y="822407"/>
                  </a:lnTo>
                  <a:lnTo>
                    <a:pt x="847704" y="822253"/>
                  </a:lnTo>
                  <a:lnTo>
                    <a:pt x="847317" y="823954"/>
                  </a:lnTo>
                  <a:lnTo>
                    <a:pt x="846145" y="825324"/>
                  </a:lnTo>
                  <a:lnTo>
                    <a:pt x="845065" y="825495"/>
                  </a:lnTo>
                  <a:lnTo>
                    <a:pt x="843989" y="825276"/>
                  </a:lnTo>
                  <a:lnTo>
                    <a:pt x="842573" y="826759"/>
                  </a:lnTo>
                  <a:lnTo>
                    <a:pt x="841904" y="827841"/>
                  </a:lnTo>
                  <a:lnTo>
                    <a:pt x="840159" y="828985"/>
                  </a:lnTo>
                  <a:lnTo>
                    <a:pt x="835508" y="829540"/>
                  </a:lnTo>
                  <a:lnTo>
                    <a:pt x="833888" y="830674"/>
                  </a:lnTo>
                  <a:lnTo>
                    <a:pt x="831710" y="830494"/>
                  </a:lnTo>
                  <a:lnTo>
                    <a:pt x="830021" y="830764"/>
                  </a:lnTo>
                  <a:lnTo>
                    <a:pt x="829055" y="830707"/>
                  </a:lnTo>
                  <a:lnTo>
                    <a:pt x="828183" y="830099"/>
                  </a:lnTo>
                  <a:lnTo>
                    <a:pt x="827204" y="830082"/>
                  </a:lnTo>
                  <a:lnTo>
                    <a:pt x="826760" y="831967"/>
                  </a:lnTo>
                  <a:lnTo>
                    <a:pt x="824134" y="832761"/>
                  </a:lnTo>
                  <a:lnTo>
                    <a:pt x="821770" y="832979"/>
                  </a:lnTo>
                  <a:lnTo>
                    <a:pt x="819140" y="835464"/>
                  </a:lnTo>
                  <a:lnTo>
                    <a:pt x="817261" y="836968"/>
                  </a:lnTo>
                  <a:lnTo>
                    <a:pt x="815870" y="837121"/>
                  </a:lnTo>
                  <a:lnTo>
                    <a:pt x="814847" y="836586"/>
                  </a:lnTo>
                  <a:lnTo>
                    <a:pt x="814328" y="834358"/>
                  </a:lnTo>
                  <a:lnTo>
                    <a:pt x="813806" y="834099"/>
                  </a:lnTo>
                  <a:lnTo>
                    <a:pt x="813508" y="836190"/>
                  </a:lnTo>
                  <a:lnTo>
                    <a:pt x="813003" y="837932"/>
                  </a:lnTo>
                  <a:lnTo>
                    <a:pt x="812042" y="838880"/>
                  </a:lnTo>
                  <a:lnTo>
                    <a:pt x="808999" y="841045"/>
                  </a:lnTo>
                  <a:lnTo>
                    <a:pt x="808124" y="843193"/>
                  </a:lnTo>
                  <a:lnTo>
                    <a:pt x="808708" y="845180"/>
                  </a:lnTo>
                  <a:lnTo>
                    <a:pt x="812800" y="845664"/>
                  </a:lnTo>
                  <a:lnTo>
                    <a:pt x="813309" y="846751"/>
                  </a:lnTo>
                  <a:lnTo>
                    <a:pt x="812912" y="847639"/>
                  </a:lnTo>
                  <a:lnTo>
                    <a:pt x="811932" y="848380"/>
                  </a:lnTo>
                  <a:lnTo>
                    <a:pt x="811643" y="849493"/>
                  </a:lnTo>
                  <a:lnTo>
                    <a:pt x="816030" y="853031"/>
                  </a:lnTo>
                  <a:lnTo>
                    <a:pt x="816164" y="854373"/>
                  </a:lnTo>
                  <a:lnTo>
                    <a:pt x="815486" y="855137"/>
                  </a:lnTo>
                  <a:lnTo>
                    <a:pt x="814659" y="856783"/>
                  </a:lnTo>
                  <a:lnTo>
                    <a:pt x="812342" y="858179"/>
                  </a:lnTo>
                  <a:lnTo>
                    <a:pt x="807442" y="858895"/>
                  </a:lnTo>
                  <a:lnTo>
                    <a:pt x="803359" y="858172"/>
                  </a:lnTo>
                  <a:lnTo>
                    <a:pt x="802121" y="856584"/>
                  </a:lnTo>
                  <a:lnTo>
                    <a:pt x="802195" y="855453"/>
                  </a:lnTo>
                  <a:lnTo>
                    <a:pt x="803207" y="855782"/>
                  </a:lnTo>
                  <a:lnTo>
                    <a:pt x="804363" y="855680"/>
                  </a:lnTo>
                  <a:lnTo>
                    <a:pt x="804020" y="854646"/>
                  </a:lnTo>
                  <a:lnTo>
                    <a:pt x="803534" y="854042"/>
                  </a:lnTo>
                  <a:lnTo>
                    <a:pt x="801646" y="853122"/>
                  </a:lnTo>
                  <a:lnTo>
                    <a:pt x="800120" y="850642"/>
                  </a:lnTo>
                  <a:lnTo>
                    <a:pt x="800414" y="848575"/>
                  </a:lnTo>
                  <a:lnTo>
                    <a:pt x="799576" y="846977"/>
                  </a:lnTo>
                  <a:lnTo>
                    <a:pt x="798667" y="845637"/>
                  </a:lnTo>
                  <a:lnTo>
                    <a:pt x="797749" y="844833"/>
                  </a:lnTo>
                  <a:lnTo>
                    <a:pt x="797259" y="843834"/>
                  </a:lnTo>
                  <a:lnTo>
                    <a:pt x="798184" y="840696"/>
                  </a:lnTo>
                  <a:lnTo>
                    <a:pt x="797671" y="838873"/>
                  </a:lnTo>
                  <a:lnTo>
                    <a:pt x="799415" y="836637"/>
                  </a:lnTo>
                  <a:lnTo>
                    <a:pt x="799846" y="834114"/>
                  </a:lnTo>
                  <a:lnTo>
                    <a:pt x="802974" y="833212"/>
                  </a:lnTo>
                  <a:lnTo>
                    <a:pt x="803188" y="830803"/>
                  </a:lnTo>
                  <a:lnTo>
                    <a:pt x="800951" y="830733"/>
                  </a:lnTo>
                  <a:lnTo>
                    <a:pt x="799398" y="828963"/>
                  </a:lnTo>
                  <a:lnTo>
                    <a:pt x="799044" y="829706"/>
                  </a:lnTo>
                  <a:lnTo>
                    <a:pt x="797796" y="829783"/>
                  </a:lnTo>
                  <a:lnTo>
                    <a:pt x="795749" y="826371"/>
                  </a:lnTo>
                  <a:lnTo>
                    <a:pt x="795131" y="825940"/>
                  </a:lnTo>
                  <a:lnTo>
                    <a:pt x="794138" y="825874"/>
                  </a:lnTo>
                  <a:lnTo>
                    <a:pt x="794637" y="829475"/>
                  </a:lnTo>
                  <a:lnTo>
                    <a:pt x="792238" y="830828"/>
                  </a:lnTo>
                  <a:lnTo>
                    <a:pt x="790273" y="831419"/>
                  </a:lnTo>
                  <a:lnTo>
                    <a:pt x="787481" y="831663"/>
                  </a:lnTo>
                  <a:lnTo>
                    <a:pt x="785894" y="832076"/>
                  </a:lnTo>
                  <a:lnTo>
                    <a:pt x="784410" y="831735"/>
                  </a:lnTo>
                  <a:lnTo>
                    <a:pt x="784778" y="830646"/>
                  </a:lnTo>
                  <a:lnTo>
                    <a:pt x="785559" y="829344"/>
                  </a:lnTo>
                  <a:lnTo>
                    <a:pt x="784857" y="828258"/>
                  </a:lnTo>
                  <a:lnTo>
                    <a:pt x="783283" y="827424"/>
                  </a:lnTo>
                  <a:lnTo>
                    <a:pt x="780878" y="827472"/>
                  </a:lnTo>
                  <a:lnTo>
                    <a:pt x="779210" y="827239"/>
                  </a:lnTo>
                  <a:lnTo>
                    <a:pt x="777559" y="827332"/>
                  </a:lnTo>
                  <a:lnTo>
                    <a:pt x="776945" y="826850"/>
                  </a:lnTo>
                  <a:lnTo>
                    <a:pt x="775410" y="825150"/>
                  </a:lnTo>
                  <a:lnTo>
                    <a:pt x="774112" y="824089"/>
                  </a:lnTo>
                  <a:lnTo>
                    <a:pt x="773527" y="823034"/>
                  </a:lnTo>
                  <a:lnTo>
                    <a:pt x="774112" y="821807"/>
                  </a:lnTo>
                  <a:lnTo>
                    <a:pt x="773624" y="821062"/>
                  </a:lnTo>
                  <a:lnTo>
                    <a:pt x="771106" y="820979"/>
                  </a:lnTo>
                  <a:lnTo>
                    <a:pt x="771128" y="822737"/>
                  </a:lnTo>
                  <a:lnTo>
                    <a:pt x="771387" y="824809"/>
                  </a:lnTo>
                  <a:lnTo>
                    <a:pt x="772119" y="826384"/>
                  </a:lnTo>
                  <a:lnTo>
                    <a:pt x="771598" y="827263"/>
                  </a:lnTo>
                  <a:lnTo>
                    <a:pt x="770320" y="827868"/>
                  </a:lnTo>
                  <a:lnTo>
                    <a:pt x="768960" y="826203"/>
                  </a:lnTo>
                  <a:lnTo>
                    <a:pt x="768336" y="825793"/>
                  </a:lnTo>
                  <a:lnTo>
                    <a:pt x="767677" y="825872"/>
                  </a:lnTo>
                  <a:lnTo>
                    <a:pt x="767176" y="827530"/>
                  </a:lnTo>
                  <a:lnTo>
                    <a:pt x="765941" y="829001"/>
                  </a:lnTo>
                  <a:lnTo>
                    <a:pt x="763714" y="828844"/>
                  </a:lnTo>
                  <a:lnTo>
                    <a:pt x="761985" y="829752"/>
                  </a:lnTo>
                  <a:lnTo>
                    <a:pt x="759890" y="830169"/>
                  </a:lnTo>
                  <a:lnTo>
                    <a:pt x="758470" y="828955"/>
                  </a:lnTo>
                  <a:lnTo>
                    <a:pt x="756118" y="826992"/>
                  </a:lnTo>
                  <a:lnTo>
                    <a:pt x="755172" y="826764"/>
                  </a:lnTo>
                  <a:lnTo>
                    <a:pt x="752557" y="827716"/>
                  </a:lnTo>
                  <a:lnTo>
                    <a:pt x="748806" y="828076"/>
                  </a:lnTo>
                  <a:lnTo>
                    <a:pt x="747968" y="827059"/>
                  </a:lnTo>
                  <a:lnTo>
                    <a:pt x="746148" y="827832"/>
                  </a:lnTo>
                  <a:lnTo>
                    <a:pt x="744399" y="825475"/>
                  </a:lnTo>
                  <a:lnTo>
                    <a:pt x="742331" y="825326"/>
                  </a:lnTo>
                  <a:lnTo>
                    <a:pt x="739745" y="823539"/>
                  </a:lnTo>
                  <a:lnTo>
                    <a:pt x="738821" y="822596"/>
                  </a:lnTo>
                  <a:lnTo>
                    <a:pt x="738525" y="821239"/>
                  </a:lnTo>
                  <a:lnTo>
                    <a:pt x="737742" y="820531"/>
                  </a:lnTo>
                  <a:lnTo>
                    <a:pt x="736729" y="820620"/>
                  </a:lnTo>
                  <a:lnTo>
                    <a:pt x="735608" y="819897"/>
                  </a:lnTo>
                  <a:lnTo>
                    <a:pt x="733831" y="819185"/>
                  </a:lnTo>
                  <a:lnTo>
                    <a:pt x="732402" y="818759"/>
                  </a:lnTo>
                  <a:lnTo>
                    <a:pt x="731697" y="819088"/>
                  </a:lnTo>
                  <a:lnTo>
                    <a:pt x="730944" y="819256"/>
                  </a:lnTo>
                  <a:lnTo>
                    <a:pt x="730814" y="818344"/>
                  </a:lnTo>
                  <a:lnTo>
                    <a:pt x="730866" y="815600"/>
                  </a:lnTo>
                  <a:lnTo>
                    <a:pt x="730737" y="813163"/>
                  </a:lnTo>
                  <a:lnTo>
                    <a:pt x="730345" y="812067"/>
                  </a:lnTo>
                  <a:lnTo>
                    <a:pt x="729387" y="811233"/>
                  </a:lnTo>
                  <a:lnTo>
                    <a:pt x="728512" y="810834"/>
                  </a:lnTo>
                  <a:lnTo>
                    <a:pt x="728130" y="809586"/>
                  </a:lnTo>
                  <a:lnTo>
                    <a:pt x="728441" y="807123"/>
                  </a:lnTo>
                  <a:lnTo>
                    <a:pt x="729149" y="805452"/>
                  </a:lnTo>
                  <a:lnTo>
                    <a:pt x="730270" y="805154"/>
                  </a:lnTo>
                  <a:lnTo>
                    <a:pt x="731784" y="803951"/>
                  </a:lnTo>
                  <a:lnTo>
                    <a:pt x="732553" y="802248"/>
                  </a:lnTo>
                  <a:lnTo>
                    <a:pt x="733524" y="800666"/>
                  </a:lnTo>
                  <a:lnTo>
                    <a:pt x="730069" y="798446"/>
                  </a:lnTo>
                  <a:lnTo>
                    <a:pt x="728251" y="797652"/>
                  </a:lnTo>
                  <a:lnTo>
                    <a:pt x="726241" y="797989"/>
                  </a:lnTo>
                  <a:lnTo>
                    <a:pt x="723746" y="798697"/>
                  </a:lnTo>
                  <a:lnTo>
                    <a:pt x="722440" y="798837"/>
                  </a:lnTo>
                  <a:lnTo>
                    <a:pt x="721786" y="798558"/>
                  </a:lnTo>
                  <a:lnTo>
                    <a:pt x="720339" y="796562"/>
                  </a:lnTo>
                  <a:lnTo>
                    <a:pt x="719553" y="796214"/>
                  </a:lnTo>
                  <a:lnTo>
                    <a:pt x="717785" y="796087"/>
                  </a:lnTo>
                  <a:lnTo>
                    <a:pt x="716293" y="796105"/>
                  </a:lnTo>
                  <a:lnTo>
                    <a:pt x="715438" y="796974"/>
                  </a:lnTo>
                  <a:lnTo>
                    <a:pt x="714118" y="797265"/>
                  </a:lnTo>
                  <a:lnTo>
                    <a:pt x="712798" y="797315"/>
                  </a:lnTo>
                  <a:lnTo>
                    <a:pt x="711457" y="796231"/>
                  </a:lnTo>
                  <a:lnTo>
                    <a:pt x="709443" y="794819"/>
                  </a:lnTo>
                  <a:lnTo>
                    <a:pt x="706279" y="793823"/>
                  </a:lnTo>
                  <a:lnTo>
                    <a:pt x="705897" y="792673"/>
                  </a:lnTo>
                  <a:lnTo>
                    <a:pt x="705094" y="791300"/>
                  </a:lnTo>
                  <a:lnTo>
                    <a:pt x="703891" y="790029"/>
                  </a:lnTo>
                  <a:lnTo>
                    <a:pt x="701908" y="788342"/>
                  </a:lnTo>
                  <a:lnTo>
                    <a:pt x="700248" y="787466"/>
                  </a:lnTo>
                  <a:lnTo>
                    <a:pt x="699439" y="788005"/>
                  </a:lnTo>
                  <a:lnTo>
                    <a:pt x="698339" y="788963"/>
                  </a:lnTo>
                  <a:lnTo>
                    <a:pt x="694064" y="790986"/>
                  </a:lnTo>
                  <a:lnTo>
                    <a:pt x="692172" y="791774"/>
                  </a:lnTo>
                  <a:lnTo>
                    <a:pt x="691168" y="792338"/>
                  </a:lnTo>
                  <a:lnTo>
                    <a:pt x="690324" y="793181"/>
                  </a:lnTo>
                  <a:lnTo>
                    <a:pt x="690062" y="795265"/>
                  </a:lnTo>
                  <a:lnTo>
                    <a:pt x="689641" y="797587"/>
                  </a:lnTo>
                  <a:lnTo>
                    <a:pt x="688411" y="798766"/>
                  </a:lnTo>
                  <a:lnTo>
                    <a:pt x="687244" y="799658"/>
                  </a:lnTo>
                  <a:lnTo>
                    <a:pt x="686015" y="799751"/>
                  </a:lnTo>
                  <a:lnTo>
                    <a:pt x="684817" y="799709"/>
                  </a:lnTo>
                  <a:lnTo>
                    <a:pt x="683696" y="800079"/>
                  </a:lnTo>
                  <a:lnTo>
                    <a:pt x="680268" y="802408"/>
                  </a:lnTo>
                  <a:lnTo>
                    <a:pt x="678644" y="802223"/>
                  </a:lnTo>
                  <a:lnTo>
                    <a:pt x="677315" y="800909"/>
                  </a:lnTo>
                  <a:lnTo>
                    <a:pt x="676745" y="799956"/>
                  </a:lnTo>
                  <a:lnTo>
                    <a:pt x="675210" y="800172"/>
                  </a:lnTo>
                  <a:lnTo>
                    <a:pt x="673239" y="801286"/>
                  </a:lnTo>
                  <a:lnTo>
                    <a:pt x="672327" y="803286"/>
                  </a:lnTo>
                  <a:lnTo>
                    <a:pt x="671843" y="805152"/>
                  </a:lnTo>
                  <a:lnTo>
                    <a:pt x="671414" y="805981"/>
                  </a:lnTo>
                  <a:lnTo>
                    <a:pt x="670753" y="806223"/>
                  </a:lnTo>
                  <a:lnTo>
                    <a:pt x="670167" y="806266"/>
                  </a:lnTo>
                  <a:lnTo>
                    <a:pt x="664027" y="800873"/>
                  </a:lnTo>
                  <a:lnTo>
                    <a:pt x="663648" y="800593"/>
                  </a:lnTo>
                  <a:lnTo>
                    <a:pt x="662554" y="801701"/>
                  </a:lnTo>
                  <a:lnTo>
                    <a:pt x="661552" y="804560"/>
                  </a:lnTo>
                  <a:lnTo>
                    <a:pt x="660835" y="805109"/>
                  </a:lnTo>
                  <a:lnTo>
                    <a:pt x="660349" y="804890"/>
                  </a:lnTo>
                  <a:lnTo>
                    <a:pt x="657808" y="801230"/>
                  </a:lnTo>
                  <a:lnTo>
                    <a:pt x="657157" y="800879"/>
                  </a:lnTo>
                  <a:lnTo>
                    <a:pt x="656581" y="801004"/>
                  </a:lnTo>
                  <a:lnTo>
                    <a:pt x="655823" y="802188"/>
                  </a:lnTo>
                  <a:lnTo>
                    <a:pt x="654210" y="803933"/>
                  </a:lnTo>
                  <a:lnTo>
                    <a:pt x="652977" y="804993"/>
                  </a:lnTo>
                  <a:lnTo>
                    <a:pt x="652949" y="806173"/>
                  </a:lnTo>
                  <a:lnTo>
                    <a:pt x="651612" y="807213"/>
                  </a:lnTo>
                  <a:lnTo>
                    <a:pt x="650053" y="808248"/>
                  </a:lnTo>
                  <a:lnTo>
                    <a:pt x="649535" y="808358"/>
                  </a:lnTo>
                  <a:lnTo>
                    <a:pt x="648501" y="807942"/>
                  </a:lnTo>
                  <a:lnTo>
                    <a:pt x="647153" y="806565"/>
                  </a:lnTo>
                  <a:lnTo>
                    <a:pt x="646177" y="805128"/>
                  </a:lnTo>
                  <a:lnTo>
                    <a:pt x="643765" y="803701"/>
                  </a:lnTo>
                  <a:lnTo>
                    <a:pt x="641057" y="802494"/>
                  </a:lnTo>
                  <a:lnTo>
                    <a:pt x="639259" y="801548"/>
                  </a:lnTo>
                  <a:lnTo>
                    <a:pt x="638235" y="801317"/>
                  </a:lnTo>
                  <a:lnTo>
                    <a:pt x="637285" y="801739"/>
                  </a:lnTo>
                  <a:lnTo>
                    <a:pt x="636810" y="802317"/>
                  </a:lnTo>
                  <a:lnTo>
                    <a:pt x="636132" y="803745"/>
                  </a:lnTo>
                  <a:lnTo>
                    <a:pt x="634505" y="806085"/>
                  </a:lnTo>
                  <a:lnTo>
                    <a:pt x="633064" y="807945"/>
                  </a:lnTo>
                  <a:lnTo>
                    <a:pt x="631714" y="809139"/>
                  </a:lnTo>
                  <a:lnTo>
                    <a:pt x="630640" y="809963"/>
                  </a:lnTo>
                  <a:lnTo>
                    <a:pt x="629846" y="809194"/>
                  </a:lnTo>
                  <a:lnTo>
                    <a:pt x="628362" y="808568"/>
                  </a:lnTo>
                  <a:lnTo>
                    <a:pt x="626615" y="808563"/>
                  </a:lnTo>
                  <a:lnTo>
                    <a:pt x="624324" y="809747"/>
                  </a:lnTo>
                  <a:lnTo>
                    <a:pt x="622515" y="807380"/>
                  </a:lnTo>
                  <a:lnTo>
                    <a:pt x="622046" y="807265"/>
                  </a:lnTo>
                  <a:lnTo>
                    <a:pt x="621355" y="807467"/>
                  </a:lnTo>
                  <a:lnTo>
                    <a:pt x="620558" y="808031"/>
                  </a:lnTo>
                  <a:lnTo>
                    <a:pt x="619999" y="809353"/>
                  </a:lnTo>
                  <a:lnTo>
                    <a:pt x="619418" y="811165"/>
                  </a:lnTo>
                  <a:lnTo>
                    <a:pt x="618267" y="812352"/>
                  </a:lnTo>
                  <a:lnTo>
                    <a:pt x="617308" y="812879"/>
                  </a:lnTo>
                  <a:lnTo>
                    <a:pt x="617591" y="813896"/>
                  </a:lnTo>
                  <a:lnTo>
                    <a:pt x="618133" y="814998"/>
                  </a:lnTo>
                  <a:lnTo>
                    <a:pt x="618099" y="815961"/>
                  </a:lnTo>
                  <a:lnTo>
                    <a:pt x="618442" y="817485"/>
                  </a:lnTo>
                  <a:lnTo>
                    <a:pt x="619042" y="819006"/>
                  </a:lnTo>
                  <a:lnTo>
                    <a:pt x="621180" y="821493"/>
                  </a:lnTo>
                  <a:lnTo>
                    <a:pt x="621996" y="822790"/>
                  </a:lnTo>
                  <a:lnTo>
                    <a:pt x="622160" y="823915"/>
                  </a:lnTo>
                  <a:lnTo>
                    <a:pt x="622234" y="827905"/>
                  </a:lnTo>
                  <a:lnTo>
                    <a:pt x="622149" y="829570"/>
                  </a:lnTo>
                  <a:lnTo>
                    <a:pt x="621724" y="832783"/>
                  </a:lnTo>
                  <a:lnTo>
                    <a:pt x="621696" y="834635"/>
                  </a:lnTo>
                  <a:lnTo>
                    <a:pt x="622584" y="835468"/>
                  </a:lnTo>
                  <a:lnTo>
                    <a:pt x="623446" y="836461"/>
                  </a:lnTo>
                  <a:lnTo>
                    <a:pt x="623413" y="837002"/>
                  </a:lnTo>
                  <a:lnTo>
                    <a:pt x="623035" y="837197"/>
                  </a:lnTo>
                  <a:lnTo>
                    <a:pt x="621811" y="838301"/>
                  </a:lnTo>
                  <a:lnTo>
                    <a:pt x="621294" y="838445"/>
                  </a:lnTo>
                  <a:lnTo>
                    <a:pt x="620493" y="837995"/>
                  </a:lnTo>
                  <a:lnTo>
                    <a:pt x="619457" y="837653"/>
                  </a:lnTo>
                  <a:lnTo>
                    <a:pt x="618621" y="837211"/>
                  </a:lnTo>
                  <a:lnTo>
                    <a:pt x="617703" y="836501"/>
                  </a:lnTo>
                  <a:lnTo>
                    <a:pt x="615518" y="836581"/>
                  </a:lnTo>
                  <a:lnTo>
                    <a:pt x="611934" y="837660"/>
                  </a:lnTo>
                  <a:lnTo>
                    <a:pt x="611190" y="837355"/>
                  </a:lnTo>
                  <a:lnTo>
                    <a:pt x="610673" y="836744"/>
                  </a:lnTo>
                  <a:lnTo>
                    <a:pt x="610394" y="835484"/>
                  </a:lnTo>
                  <a:lnTo>
                    <a:pt x="610573" y="833999"/>
                  </a:lnTo>
                  <a:lnTo>
                    <a:pt x="610256" y="833054"/>
                  </a:lnTo>
                  <a:lnTo>
                    <a:pt x="609588" y="832493"/>
                  </a:lnTo>
                  <a:lnTo>
                    <a:pt x="610059" y="829842"/>
                  </a:lnTo>
                  <a:lnTo>
                    <a:pt x="608781" y="828791"/>
                  </a:lnTo>
                  <a:lnTo>
                    <a:pt x="608967" y="828463"/>
                  </a:lnTo>
                  <a:lnTo>
                    <a:pt x="608543" y="825603"/>
                  </a:lnTo>
                  <a:lnTo>
                    <a:pt x="608604" y="824898"/>
                  </a:lnTo>
                  <a:lnTo>
                    <a:pt x="608379" y="824654"/>
                  </a:lnTo>
                  <a:lnTo>
                    <a:pt x="607474" y="824427"/>
                  </a:lnTo>
                  <a:lnTo>
                    <a:pt x="606137" y="824879"/>
                  </a:lnTo>
                  <a:lnTo>
                    <a:pt x="602065" y="826760"/>
                  </a:lnTo>
                  <a:lnTo>
                    <a:pt x="598571" y="830239"/>
                  </a:lnTo>
                  <a:lnTo>
                    <a:pt x="596967" y="831006"/>
                  </a:lnTo>
                  <a:lnTo>
                    <a:pt x="595347" y="831323"/>
                  </a:lnTo>
                  <a:lnTo>
                    <a:pt x="593454" y="830722"/>
                  </a:lnTo>
                  <a:lnTo>
                    <a:pt x="591351" y="830330"/>
                  </a:lnTo>
                  <a:lnTo>
                    <a:pt x="588346" y="831210"/>
                  </a:lnTo>
                  <a:lnTo>
                    <a:pt x="586863" y="830804"/>
                  </a:lnTo>
                  <a:lnTo>
                    <a:pt x="586180" y="830094"/>
                  </a:lnTo>
                  <a:lnTo>
                    <a:pt x="585572" y="829013"/>
                  </a:lnTo>
                  <a:lnTo>
                    <a:pt x="585937" y="827643"/>
                  </a:lnTo>
                  <a:lnTo>
                    <a:pt x="585710" y="826633"/>
                  </a:lnTo>
                  <a:lnTo>
                    <a:pt x="584509" y="826121"/>
                  </a:lnTo>
                  <a:lnTo>
                    <a:pt x="583116" y="825685"/>
                  </a:lnTo>
                  <a:lnTo>
                    <a:pt x="582288" y="824361"/>
                  </a:lnTo>
                  <a:lnTo>
                    <a:pt x="581953" y="822922"/>
                  </a:lnTo>
                  <a:lnTo>
                    <a:pt x="582281" y="821049"/>
                  </a:lnTo>
                  <a:lnTo>
                    <a:pt x="582445" y="819038"/>
                  </a:lnTo>
                  <a:lnTo>
                    <a:pt x="581778" y="818117"/>
                  </a:lnTo>
                  <a:lnTo>
                    <a:pt x="579737" y="817614"/>
                  </a:lnTo>
                  <a:lnTo>
                    <a:pt x="574591" y="816698"/>
                  </a:lnTo>
                  <a:lnTo>
                    <a:pt x="570081" y="816196"/>
                  </a:lnTo>
                  <a:lnTo>
                    <a:pt x="568188" y="816432"/>
                  </a:lnTo>
                  <a:lnTo>
                    <a:pt x="566647" y="816211"/>
                  </a:lnTo>
                  <a:lnTo>
                    <a:pt x="565753" y="815844"/>
                  </a:lnTo>
                  <a:lnTo>
                    <a:pt x="565321" y="815209"/>
                  </a:lnTo>
                  <a:lnTo>
                    <a:pt x="565297" y="814300"/>
                  </a:lnTo>
                  <a:lnTo>
                    <a:pt x="566027" y="812208"/>
                  </a:lnTo>
                  <a:lnTo>
                    <a:pt x="566861" y="810168"/>
                  </a:lnTo>
                  <a:lnTo>
                    <a:pt x="568953" y="807200"/>
                  </a:lnTo>
                  <a:lnTo>
                    <a:pt x="569074" y="805143"/>
                  </a:lnTo>
                  <a:lnTo>
                    <a:pt x="568966" y="802767"/>
                  </a:lnTo>
                  <a:lnTo>
                    <a:pt x="570002" y="799591"/>
                  </a:lnTo>
                  <a:lnTo>
                    <a:pt x="571808" y="797211"/>
                  </a:lnTo>
                  <a:lnTo>
                    <a:pt x="572700" y="796469"/>
                  </a:lnTo>
                  <a:lnTo>
                    <a:pt x="572482" y="795410"/>
                  </a:lnTo>
                  <a:lnTo>
                    <a:pt x="571758" y="794439"/>
                  </a:lnTo>
                  <a:lnTo>
                    <a:pt x="570730" y="793903"/>
                  </a:lnTo>
                  <a:lnTo>
                    <a:pt x="569022" y="793281"/>
                  </a:lnTo>
                  <a:lnTo>
                    <a:pt x="566358" y="793108"/>
                  </a:lnTo>
                  <a:lnTo>
                    <a:pt x="562703" y="792473"/>
                  </a:lnTo>
                  <a:lnTo>
                    <a:pt x="558474" y="791058"/>
                  </a:lnTo>
                  <a:lnTo>
                    <a:pt x="558955" y="788346"/>
                  </a:lnTo>
                  <a:lnTo>
                    <a:pt x="558891" y="786646"/>
                  </a:lnTo>
                  <a:lnTo>
                    <a:pt x="558366" y="785251"/>
                  </a:lnTo>
                  <a:lnTo>
                    <a:pt x="557500" y="784260"/>
                  </a:lnTo>
                  <a:lnTo>
                    <a:pt x="557016" y="783374"/>
                  </a:lnTo>
                  <a:lnTo>
                    <a:pt x="557776" y="780945"/>
                  </a:lnTo>
                  <a:lnTo>
                    <a:pt x="556791" y="778292"/>
                  </a:lnTo>
                  <a:lnTo>
                    <a:pt x="555628" y="777234"/>
                  </a:lnTo>
                  <a:lnTo>
                    <a:pt x="554430" y="775861"/>
                  </a:lnTo>
                  <a:lnTo>
                    <a:pt x="554338" y="774380"/>
                  </a:lnTo>
                  <a:lnTo>
                    <a:pt x="554887" y="772999"/>
                  </a:lnTo>
                  <a:lnTo>
                    <a:pt x="557815" y="770037"/>
                  </a:lnTo>
                  <a:lnTo>
                    <a:pt x="557839" y="769320"/>
                  </a:lnTo>
                  <a:lnTo>
                    <a:pt x="557115" y="769378"/>
                  </a:lnTo>
                  <a:lnTo>
                    <a:pt x="556275" y="769440"/>
                  </a:lnTo>
                  <a:lnTo>
                    <a:pt x="552274" y="770523"/>
                  </a:lnTo>
                  <a:lnTo>
                    <a:pt x="551848" y="769844"/>
                  </a:lnTo>
                  <a:lnTo>
                    <a:pt x="550417" y="769449"/>
                  </a:lnTo>
                  <a:lnTo>
                    <a:pt x="547495" y="769370"/>
                  </a:lnTo>
                  <a:lnTo>
                    <a:pt x="544073" y="769567"/>
                  </a:lnTo>
                  <a:lnTo>
                    <a:pt x="539748" y="770626"/>
                  </a:lnTo>
                  <a:lnTo>
                    <a:pt x="535785" y="772479"/>
                  </a:lnTo>
                  <a:lnTo>
                    <a:pt x="533971" y="773753"/>
                  </a:lnTo>
                  <a:lnTo>
                    <a:pt x="532432" y="774543"/>
                  </a:lnTo>
                  <a:lnTo>
                    <a:pt x="531185" y="774800"/>
                  </a:lnTo>
                  <a:lnTo>
                    <a:pt x="529745" y="774241"/>
                  </a:lnTo>
                  <a:lnTo>
                    <a:pt x="529827" y="772428"/>
                  </a:lnTo>
                  <a:lnTo>
                    <a:pt x="532533" y="769094"/>
                  </a:lnTo>
                  <a:lnTo>
                    <a:pt x="532922" y="766799"/>
                  </a:lnTo>
                  <a:lnTo>
                    <a:pt x="532092" y="764830"/>
                  </a:lnTo>
                  <a:lnTo>
                    <a:pt x="532001" y="763253"/>
                  </a:lnTo>
                  <a:lnTo>
                    <a:pt x="531052" y="762245"/>
                  </a:lnTo>
                  <a:lnTo>
                    <a:pt x="529717" y="761754"/>
                  </a:lnTo>
                  <a:lnTo>
                    <a:pt x="529013" y="760632"/>
                  </a:lnTo>
                  <a:lnTo>
                    <a:pt x="528968" y="757356"/>
                  </a:lnTo>
                  <a:lnTo>
                    <a:pt x="530160" y="753982"/>
                  </a:lnTo>
                  <a:lnTo>
                    <a:pt x="532092" y="752916"/>
                  </a:lnTo>
                  <a:lnTo>
                    <a:pt x="533267" y="752402"/>
                  </a:lnTo>
                  <a:lnTo>
                    <a:pt x="533578" y="751747"/>
                  </a:lnTo>
                  <a:lnTo>
                    <a:pt x="532977" y="749383"/>
                  </a:lnTo>
                  <a:lnTo>
                    <a:pt x="533070" y="747878"/>
                  </a:lnTo>
                  <a:lnTo>
                    <a:pt x="534230" y="744965"/>
                  </a:lnTo>
                  <a:lnTo>
                    <a:pt x="535383" y="742755"/>
                  </a:lnTo>
                  <a:lnTo>
                    <a:pt x="537560" y="743126"/>
                  </a:lnTo>
                  <a:lnTo>
                    <a:pt x="538534" y="742580"/>
                  </a:lnTo>
                  <a:lnTo>
                    <a:pt x="539611" y="741797"/>
                  </a:lnTo>
                  <a:lnTo>
                    <a:pt x="540790" y="740466"/>
                  </a:lnTo>
                  <a:lnTo>
                    <a:pt x="541576" y="738893"/>
                  </a:lnTo>
                  <a:lnTo>
                    <a:pt x="542533" y="735228"/>
                  </a:lnTo>
                  <a:lnTo>
                    <a:pt x="543190" y="734674"/>
                  </a:lnTo>
                  <a:lnTo>
                    <a:pt x="545932" y="735280"/>
                  </a:lnTo>
                  <a:lnTo>
                    <a:pt x="546755" y="734858"/>
                  </a:lnTo>
                  <a:lnTo>
                    <a:pt x="548256" y="732704"/>
                  </a:lnTo>
                  <a:lnTo>
                    <a:pt x="549668" y="730085"/>
                  </a:lnTo>
                  <a:lnTo>
                    <a:pt x="551721" y="729273"/>
                  </a:lnTo>
                  <a:lnTo>
                    <a:pt x="553203" y="729191"/>
                  </a:lnTo>
                  <a:lnTo>
                    <a:pt x="553885" y="728320"/>
                  </a:lnTo>
                  <a:lnTo>
                    <a:pt x="553851" y="727038"/>
                  </a:lnTo>
                  <a:lnTo>
                    <a:pt x="552443" y="725006"/>
                  </a:lnTo>
                  <a:lnTo>
                    <a:pt x="551847" y="723381"/>
                  </a:lnTo>
                  <a:lnTo>
                    <a:pt x="552021" y="722395"/>
                  </a:lnTo>
                  <a:lnTo>
                    <a:pt x="554038" y="721794"/>
                  </a:lnTo>
                  <a:lnTo>
                    <a:pt x="554533" y="720613"/>
                  </a:lnTo>
                  <a:lnTo>
                    <a:pt x="554230" y="718027"/>
                  </a:lnTo>
                  <a:lnTo>
                    <a:pt x="555062" y="714918"/>
                  </a:lnTo>
                  <a:lnTo>
                    <a:pt x="555556" y="711273"/>
                  </a:lnTo>
                  <a:lnTo>
                    <a:pt x="555723" y="708549"/>
                  </a:lnTo>
                  <a:lnTo>
                    <a:pt x="555703" y="706469"/>
                  </a:lnTo>
                  <a:lnTo>
                    <a:pt x="555505" y="704291"/>
                  </a:lnTo>
                  <a:lnTo>
                    <a:pt x="555217" y="700308"/>
                  </a:lnTo>
                  <a:lnTo>
                    <a:pt x="554295" y="696840"/>
                  </a:lnTo>
                  <a:lnTo>
                    <a:pt x="554464" y="695538"/>
                  </a:lnTo>
                  <a:lnTo>
                    <a:pt x="554338" y="691330"/>
                  </a:lnTo>
                  <a:lnTo>
                    <a:pt x="553772" y="687740"/>
                  </a:lnTo>
                  <a:lnTo>
                    <a:pt x="552637" y="687111"/>
                  </a:lnTo>
                  <a:lnTo>
                    <a:pt x="550529" y="685946"/>
                  </a:lnTo>
                  <a:lnTo>
                    <a:pt x="549380" y="685717"/>
                  </a:lnTo>
                  <a:lnTo>
                    <a:pt x="548415" y="686141"/>
                  </a:lnTo>
                  <a:lnTo>
                    <a:pt x="548050" y="687392"/>
                  </a:lnTo>
                  <a:lnTo>
                    <a:pt x="547124" y="688560"/>
                  </a:lnTo>
                  <a:lnTo>
                    <a:pt x="545981" y="688274"/>
                  </a:lnTo>
                  <a:lnTo>
                    <a:pt x="545437" y="687105"/>
                  </a:lnTo>
                  <a:lnTo>
                    <a:pt x="544703" y="685575"/>
                  </a:lnTo>
                  <a:lnTo>
                    <a:pt x="542259" y="678303"/>
                  </a:lnTo>
                  <a:lnTo>
                    <a:pt x="541991" y="676206"/>
                  </a:lnTo>
                  <a:lnTo>
                    <a:pt x="541561" y="674123"/>
                  </a:lnTo>
                  <a:lnTo>
                    <a:pt x="540737" y="673079"/>
                  </a:lnTo>
                  <a:lnTo>
                    <a:pt x="539866" y="672465"/>
                  </a:lnTo>
                  <a:lnTo>
                    <a:pt x="537916" y="670015"/>
                  </a:lnTo>
                  <a:lnTo>
                    <a:pt x="536888" y="668993"/>
                  </a:lnTo>
                  <a:lnTo>
                    <a:pt x="536387" y="668823"/>
                  </a:lnTo>
                  <a:lnTo>
                    <a:pt x="535316" y="668996"/>
                  </a:lnTo>
                  <a:lnTo>
                    <a:pt x="534267" y="669001"/>
                  </a:lnTo>
                  <a:lnTo>
                    <a:pt x="533405" y="667779"/>
                  </a:lnTo>
                  <a:lnTo>
                    <a:pt x="532622" y="666287"/>
                  </a:lnTo>
                  <a:lnTo>
                    <a:pt x="531831" y="665552"/>
                  </a:lnTo>
                  <a:lnTo>
                    <a:pt x="530512" y="665143"/>
                  </a:lnTo>
                  <a:lnTo>
                    <a:pt x="529156" y="665307"/>
                  </a:lnTo>
                  <a:lnTo>
                    <a:pt x="528365" y="666598"/>
                  </a:lnTo>
                  <a:lnTo>
                    <a:pt x="527826" y="667335"/>
                  </a:lnTo>
                  <a:lnTo>
                    <a:pt x="526802" y="669055"/>
                  </a:lnTo>
                  <a:lnTo>
                    <a:pt x="525144" y="671436"/>
                  </a:lnTo>
                  <a:lnTo>
                    <a:pt x="524392" y="672311"/>
                  </a:lnTo>
                  <a:lnTo>
                    <a:pt x="523662" y="671859"/>
                  </a:lnTo>
                  <a:lnTo>
                    <a:pt x="520470" y="669380"/>
                  </a:lnTo>
                  <a:lnTo>
                    <a:pt x="518929" y="668694"/>
                  </a:lnTo>
                  <a:lnTo>
                    <a:pt x="516839" y="669443"/>
                  </a:lnTo>
                  <a:lnTo>
                    <a:pt x="513569" y="668851"/>
                  </a:lnTo>
                  <a:lnTo>
                    <a:pt x="512303" y="668739"/>
                  </a:lnTo>
                  <a:lnTo>
                    <a:pt x="509585" y="666757"/>
                  </a:lnTo>
                  <a:lnTo>
                    <a:pt x="508475" y="666513"/>
                  </a:lnTo>
                  <a:lnTo>
                    <a:pt x="504608" y="667805"/>
                  </a:lnTo>
                  <a:lnTo>
                    <a:pt x="503753" y="668719"/>
                  </a:lnTo>
                  <a:lnTo>
                    <a:pt x="503251" y="668734"/>
                  </a:lnTo>
                  <a:lnTo>
                    <a:pt x="502222" y="668273"/>
                  </a:lnTo>
                  <a:lnTo>
                    <a:pt x="501373" y="667660"/>
                  </a:lnTo>
                  <a:lnTo>
                    <a:pt x="501317" y="667274"/>
                  </a:lnTo>
                  <a:lnTo>
                    <a:pt x="502362" y="666306"/>
                  </a:lnTo>
                  <a:lnTo>
                    <a:pt x="502444" y="665628"/>
                  </a:lnTo>
                  <a:lnTo>
                    <a:pt x="502388" y="664942"/>
                  </a:lnTo>
                  <a:lnTo>
                    <a:pt x="503897" y="662995"/>
                  </a:lnTo>
                  <a:lnTo>
                    <a:pt x="507994" y="659222"/>
                  </a:lnTo>
                  <a:lnTo>
                    <a:pt x="507312" y="657638"/>
                  </a:lnTo>
                  <a:lnTo>
                    <a:pt x="505701" y="654519"/>
                  </a:lnTo>
                  <a:lnTo>
                    <a:pt x="505478" y="653005"/>
                  </a:lnTo>
                  <a:lnTo>
                    <a:pt x="504785" y="652321"/>
                  </a:lnTo>
                  <a:lnTo>
                    <a:pt x="502820" y="652881"/>
                  </a:lnTo>
                  <a:lnTo>
                    <a:pt x="498736" y="655712"/>
                  </a:lnTo>
                  <a:lnTo>
                    <a:pt x="498181" y="655402"/>
                  </a:lnTo>
                  <a:lnTo>
                    <a:pt x="498276" y="654419"/>
                  </a:lnTo>
                  <a:lnTo>
                    <a:pt x="497856" y="651566"/>
                  </a:lnTo>
                  <a:lnTo>
                    <a:pt x="499148" y="650709"/>
                  </a:lnTo>
                  <a:lnTo>
                    <a:pt x="501131" y="649660"/>
                  </a:lnTo>
                  <a:lnTo>
                    <a:pt x="502662" y="648490"/>
                  </a:lnTo>
                  <a:lnTo>
                    <a:pt x="503018" y="647544"/>
                  </a:lnTo>
                  <a:lnTo>
                    <a:pt x="502606" y="647257"/>
                  </a:lnTo>
                  <a:lnTo>
                    <a:pt x="500345" y="647623"/>
                  </a:lnTo>
                  <a:lnTo>
                    <a:pt x="499455" y="646981"/>
                  </a:lnTo>
                  <a:lnTo>
                    <a:pt x="497991" y="644355"/>
                  </a:lnTo>
                  <a:lnTo>
                    <a:pt x="496910" y="643324"/>
                  </a:lnTo>
                  <a:lnTo>
                    <a:pt x="495932" y="642769"/>
                  </a:lnTo>
                  <a:lnTo>
                    <a:pt x="492608" y="644125"/>
                  </a:lnTo>
                  <a:lnTo>
                    <a:pt x="488744" y="645984"/>
                  </a:lnTo>
                  <a:lnTo>
                    <a:pt x="484443" y="648573"/>
                  </a:lnTo>
                  <a:lnTo>
                    <a:pt x="484470" y="649902"/>
                  </a:lnTo>
                  <a:lnTo>
                    <a:pt x="483956" y="650243"/>
                  </a:lnTo>
                  <a:lnTo>
                    <a:pt x="483132" y="651079"/>
                  </a:lnTo>
                  <a:lnTo>
                    <a:pt x="482329" y="652234"/>
                  </a:lnTo>
                  <a:lnTo>
                    <a:pt x="481645" y="652641"/>
                  </a:lnTo>
                  <a:lnTo>
                    <a:pt x="480846" y="652677"/>
                  </a:lnTo>
                  <a:lnTo>
                    <a:pt x="479209" y="652348"/>
                  </a:lnTo>
                  <a:lnTo>
                    <a:pt x="476237" y="651037"/>
                  </a:lnTo>
                  <a:lnTo>
                    <a:pt x="473011" y="649951"/>
                  </a:lnTo>
                  <a:lnTo>
                    <a:pt x="472318" y="650074"/>
                  </a:lnTo>
                  <a:lnTo>
                    <a:pt x="467940" y="649307"/>
                  </a:lnTo>
                  <a:lnTo>
                    <a:pt x="467798" y="648696"/>
                  </a:lnTo>
                  <a:lnTo>
                    <a:pt x="467143" y="647483"/>
                  </a:lnTo>
                  <a:lnTo>
                    <a:pt x="465896" y="646389"/>
                  </a:lnTo>
                  <a:lnTo>
                    <a:pt x="464702" y="646018"/>
                  </a:lnTo>
                  <a:lnTo>
                    <a:pt x="461276" y="648336"/>
                  </a:lnTo>
                  <a:lnTo>
                    <a:pt x="457410" y="650060"/>
                  </a:lnTo>
                  <a:lnTo>
                    <a:pt x="455203" y="652099"/>
                  </a:lnTo>
                  <a:lnTo>
                    <a:pt x="453392" y="654121"/>
                  </a:lnTo>
                  <a:lnTo>
                    <a:pt x="451316" y="654514"/>
                  </a:lnTo>
                  <a:lnTo>
                    <a:pt x="451219" y="655765"/>
                  </a:lnTo>
                  <a:lnTo>
                    <a:pt x="450342" y="656888"/>
                  </a:lnTo>
                  <a:lnTo>
                    <a:pt x="448764" y="658272"/>
                  </a:lnTo>
                  <a:lnTo>
                    <a:pt x="445635" y="660036"/>
                  </a:lnTo>
                  <a:lnTo>
                    <a:pt x="443516" y="660986"/>
                  </a:lnTo>
                  <a:lnTo>
                    <a:pt x="436786" y="661855"/>
                  </a:lnTo>
                  <a:lnTo>
                    <a:pt x="434384" y="662444"/>
                  </a:lnTo>
                  <a:lnTo>
                    <a:pt x="433380" y="663373"/>
                  </a:lnTo>
                  <a:lnTo>
                    <a:pt x="432303" y="665726"/>
                  </a:lnTo>
                  <a:lnTo>
                    <a:pt x="431450" y="667895"/>
                  </a:lnTo>
                  <a:lnTo>
                    <a:pt x="429586" y="669684"/>
                  </a:lnTo>
                  <a:lnTo>
                    <a:pt x="426200" y="672068"/>
                  </a:lnTo>
                  <a:lnTo>
                    <a:pt x="422221" y="674007"/>
                  </a:lnTo>
                  <a:lnTo>
                    <a:pt x="421130" y="675294"/>
                  </a:lnTo>
                  <a:lnTo>
                    <a:pt x="420929" y="676056"/>
                  </a:lnTo>
                  <a:lnTo>
                    <a:pt x="421420" y="676335"/>
                  </a:lnTo>
                  <a:lnTo>
                    <a:pt x="421904" y="676912"/>
                  </a:lnTo>
                  <a:lnTo>
                    <a:pt x="421910" y="677791"/>
                  </a:lnTo>
                  <a:lnTo>
                    <a:pt x="421391" y="678749"/>
                  </a:lnTo>
                  <a:lnTo>
                    <a:pt x="418790" y="680415"/>
                  </a:lnTo>
                  <a:lnTo>
                    <a:pt x="417329" y="681210"/>
                  </a:lnTo>
                  <a:lnTo>
                    <a:pt x="415874" y="681720"/>
                  </a:lnTo>
                  <a:lnTo>
                    <a:pt x="414242" y="681812"/>
                  </a:lnTo>
                  <a:lnTo>
                    <a:pt x="412674" y="681586"/>
                  </a:lnTo>
                  <a:lnTo>
                    <a:pt x="412240" y="681316"/>
                  </a:lnTo>
                  <a:lnTo>
                    <a:pt x="411616" y="681664"/>
                  </a:lnTo>
                  <a:lnTo>
                    <a:pt x="410186" y="682015"/>
                  </a:lnTo>
                  <a:lnTo>
                    <a:pt x="408941" y="682126"/>
                  </a:lnTo>
                  <a:lnTo>
                    <a:pt x="406207" y="683971"/>
                  </a:lnTo>
                  <a:lnTo>
                    <a:pt x="404698" y="683987"/>
                  </a:lnTo>
                  <a:lnTo>
                    <a:pt x="402825" y="683587"/>
                  </a:lnTo>
                  <a:lnTo>
                    <a:pt x="400346" y="683268"/>
                  </a:lnTo>
                  <a:lnTo>
                    <a:pt x="398562" y="683265"/>
                  </a:lnTo>
                  <a:lnTo>
                    <a:pt x="398507" y="682287"/>
                  </a:lnTo>
                  <a:lnTo>
                    <a:pt x="398782" y="679363"/>
                  </a:lnTo>
                  <a:lnTo>
                    <a:pt x="397979" y="678682"/>
                  </a:lnTo>
                  <a:lnTo>
                    <a:pt x="395498" y="677963"/>
                  </a:lnTo>
                  <a:lnTo>
                    <a:pt x="392717" y="677010"/>
                  </a:lnTo>
                  <a:lnTo>
                    <a:pt x="391374" y="675996"/>
                  </a:lnTo>
                  <a:lnTo>
                    <a:pt x="390626" y="675653"/>
                  </a:lnTo>
                  <a:lnTo>
                    <a:pt x="389584" y="675823"/>
                  </a:lnTo>
                  <a:lnTo>
                    <a:pt x="387903" y="676887"/>
                  </a:lnTo>
                  <a:lnTo>
                    <a:pt x="386308" y="678138"/>
                  </a:lnTo>
                  <a:lnTo>
                    <a:pt x="385049" y="678243"/>
                  </a:lnTo>
                  <a:lnTo>
                    <a:pt x="383760" y="677657"/>
                  </a:lnTo>
                  <a:lnTo>
                    <a:pt x="382525" y="676893"/>
                  </a:lnTo>
                  <a:lnTo>
                    <a:pt x="378303" y="675811"/>
                  </a:lnTo>
                  <a:lnTo>
                    <a:pt x="376409" y="675648"/>
                  </a:lnTo>
                  <a:lnTo>
                    <a:pt x="373032" y="675832"/>
                  </a:lnTo>
                  <a:lnTo>
                    <a:pt x="370276" y="675608"/>
                  </a:lnTo>
                  <a:lnTo>
                    <a:pt x="369842" y="675279"/>
                  </a:lnTo>
                  <a:lnTo>
                    <a:pt x="369858" y="674677"/>
                  </a:lnTo>
                  <a:lnTo>
                    <a:pt x="370263" y="673503"/>
                  </a:lnTo>
                  <a:lnTo>
                    <a:pt x="370504" y="672346"/>
                  </a:lnTo>
                  <a:lnTo>
                    <a:pt x="370177" y="671689"/>
                  </a:lnTo>
                  <a:lnTo>
                    <a:pt x="367360" y="670880"/>
                  </a:lnTo>
                  <a:lnTo>
                    <a:pt x="364788" y="670297"/>
                  </a:lnTo>
                  <a:lnTo>
                    <a:pt x="362058" y="670078"/>
                  </a:lnTo>
                  <a:lnTo>
                    <a:pt x="360218" y="670487"/>
                  </a:lnTo>
                  <a:lnTo>
                    <a:pt x="358428" y="671393"/>
                  </a:lnTo>
                  <a:lnTo>
                    <a:pt x="356945" y="673024"/>
                  </a:lnTo>
                  <a:lnTo>
                    <a:pt x="354798" y="673740"/>
                  </a:lnTo>
                  <a:lnTo>
                    <a:pt x="352237" y="674957"/>
                  </a:lnTo>
                  <a:lnTo>
                    <a:pt x="350993" y="676093"/>
                  </a:lnTo>
                  <a:lnTo>
                    <a:pt x="349119" y="678528"/>
                  </a:lnTo>
                  <a:lnTo>
                    <a:pt x="346394" y="681516"/>
                  </a:lnTo>
                  <a:lnTo>
                    <a:pt x="343913" y="684427"/>
                  </a:lnTo>
                  <a:lnTo>
                    <a:pt x="342628" y="687260"/>
                  </a:lnTo>
                  <a:lnTo>
                    <a:pt x="340929" y="689042"/>
                  </a:lnTo>
                  <a:lnTo>
                    <a:pt x="339205" y="690327"/>
                  </a:lnTo>
                  <a:lnTo>
                    <a:pt x="337964" y="693853"/>
                  </a:lnTo>
                  <a:lnTo>
                    <a:pt x="336661" y="692738"/>
                  </a:lnTo>
                  <a:lnTo>
                    <a:pt x="335165" y="691140"/>
                  </a:lnTo>
                  <a:lnTo>
                    <a:pt x="334815" y="688947"/>
                  </a:lnTo>
                  <a:lnTo>
                    <a:pt x="336603" y="683087"/>
                  </a:lnTo>
                  <a:lnTo>
                    <a:pt x="337022" y="680667"/>
                  </a:lnTo>
                  <a:lnTo>
                    <a:pt x="336575" y="679745"/>
                  </a:lnTo>
                  <a:lnTo>
                    <a:pt x="336024" y="677361"/>
                  </a:lnTo>
                  <a:lnTo>
                    <a:pt x="334975" y="676578"/>
                  </a:lnTo>
                  <a:lnTo>
                    <a:pt x="331987" y="675330"/>
                  </a:lnTo>
                  <a:lnTo>
                    <a:pt x="331032" y="675294"/>
                  </a:lnTo>
                  <a:lnTo>
                    <a:pt x="330008" y="676155"/>
                  </a:lnTo>
                  <a:lnTo>
                    <a:pt x="329002" y="676703"/>
                  </a:lnTo>
                  <a:lnTo>
                    <a:pt x="327672" y="677248"/>
                  </a:lnTo>
                  <a:lnTo>
                    <a:pt x="324338" y="678272"/>
                  </a:lnTo>
                  <a:lnTo>
                    <a:pt x="321373" y="678749"/>
                  </a:lnTo>
                  <a:lnTo>
                    <a:pt x="320662" y="679129"/>
                  </a:lnTo>
                  <a:lnTo>
                    <a:pt x="320440" y="679810"/>
                  </a:lnTo>
                  <a:lnTo>
                    <a:pt x="320680" y="680621"/>
                  </a:lnTo>
                  <a:lnTo>
                    <a:pt x="318769" y="680315"/>
                  </a:lnTo>
                  <a:lnTo>
                    <a:pt x="316780" y="680138"/>
                  </a:lnTo>
                  <a:lnTo>
                    <a:pt x="315173" y="680251"/>
                  </a:lnTo>
                  <a:lnTo>
                    <a:pt x="311237" y="681797"/>
                  </a:lnTo>
                  <a:lnTo>
                    <a:pt x="309907" y="681945"/>
                  </a:lnTo>
                  <a:lnTo>
                    <a:pt x="308419" y="681786"/>
                  </a:lnTo>
                  <a:lnTo>
                    <a:pt x="306404" y="681739"/>
                  </a:lnTo>
                  <a:lnTo>
                    <a:pt x="302569" y="681784"/>
                  </a:lnTo>
                  <a:lnTo>
                    <a:pt x="299267" y="681392"/>
                  </a:lnTo>
                  <a:lnTo>
                    <a:pt x="296586" y="679233"/>
                  </a:lnTo>
                  <a:lnTo>
                    <a:pt x="294677" y="678282"/>
                  </a:lnTo>
                  <a:lnTo>
                    <a:pt x="292655" y="677547"/>
                  </a:lnTo>
                  <a:lnTo>
                    <a:pt x="290621" y="676999"/>
                  </a:lnTo>
                  <a:lnTo>
                    <a:pt x="289941" y="675837"/>
                  </a:lnTo>
                  <a:lnTo>
                    <a:pt x="289298" y="675256"/>
                  </a:lnTo>
                  <a:lnTo>
                    <a:pt x="287615" y="675063"/>
                  </a:lnTo>
                  <a:lnTo>
                    <a:pt x="286289" y="675489"/>
                  </a:lnTo>
                  <a:lnTo>
                    <a:pt x="285458" y="678400"/>
                  </a:lnTo>
                  <a:lnTo>
                    <a:pt x="284752" y="678973"/>
                  </a:lnTo>
                  <a:lnTo>
                    <a:pt x="283066" y="679233"/>
                  </a:lnTo>
                  <a:lnTo>
                    <a:pt x="281295" y="678495"/>
                  </a:lnTo>
                  <a:lnTo>
                    <a:pt x="278848" y="676999"/>
                  </a:lnTo>
                  <a:lnTo>
                    <a:pt x="277881" y="675334"/>
                  </a:lnTo>
                  <a:lnTo>
                    <a:pt x="277058" y="674791"/>
                  </a:lnTo>
                  <a:lnTo>
                    <a:pt x="275769" y="675527"/>
                  </a:lnTo>
                  <a:lnTo>
                    <a:pt x="275698" y="677657"/>
                  </a:lnTo>
                  <a:lnTo>
                    <a:pt x="275447" y="679088"/>
                  </a:lnTo>
                  <a:lnTo>
                    <a:pt x="273908" y="679670"/>
                  </a:lnTo>
                  <a:lnTo>
                    <a:pt x="273013" y="679244"/>
                  </a:lnTo>
                  <a:lnTo>
                    <a:pt x="272296" y="677774"/>
                  </a:lnTo>
                  <a:lnTo>
                    <a:pt x="270496" y="674289"/>
                  </a:lnTo>
                  <a:lnTo>
                    <a:pt x="268710" y="672247"/>
                  </a:lnTo>
                  <a:lnTo>
                    <a:pt x="266916" y="670887"/>
                  </a:lnTo>
                  <a:lnTo>
                    <a:pt x="260997" y="670920"/>
                  </a:lnTo>
                  <a:lnTo>
                    <a:pt x="256607" y="670523"/>
                  </a:lnTo>
                  <a:lnTo>
                    <a:pt x="254624" y="669963"/>
                  </a:lnTo>
                  <a:lnTo>
                    <a:pt x="253875" y="668614"/>
                  </a:lnTo>
                  <a:lnTo>
                    <a:pt x="254603" y="665929"/>
                  </a:lnTo>
                  <a:lnTo>
                    <a:pt x="255458" y="663827"/>
                  </a:lnTo>
                  <a:lnTo>
                    <a:pt x="255434" y="663339"/>
                  </a:lnTo>
                  <a:lnTo>
                    <a:pt x="254711" y="663089"/>
                  </a:lnTo>
                  <a:lnTo>
                    <a:pt x="253445" y="662920"/>
                  </a:lnTo>
                  <a:lnTo>
                    <a:pt x="248712" y="664265"/>
                  </a:lnTo>
                  <a:lnTo>
                    <a:pt x="247425" y="664107"/>
                  </a:lnTo>
                  <a:lnTo>
                    <a:pt x="246596" y="663650"/>
                  </a:lnTo>
                  <a:lnTo>
                    <a:pt x="245598" y="663259"/>
                  </a:lnTo>
                  <a:lnTo>
                    <a:pt x="244769" y="662636"/>
                  </a:lnTo>
                  <a:lnTo>
                    <a:pt x="244190" y="661722"/>
                  </a:lnTo>
                  <a:lnTo>
                    <a:pt x="240096" y="659480"/>
                  </a:lnTo>
                  <a:lnTo>
                    <a:pt x="238887" y="658256"/>
                  </a:lnTo>
                  <a:lnTo>
                    <a:pt x="236706" y="656712"/>
                  </a:lnTo>
                  <a:lnTo>
                    <a:pt x="234861" y="655663"/>
                  </a:lnTo>
                  <a:lnTo>
                    <a:pt x="233687" y="652666"/>
                  </a:lnTo>
                  <a:lnTo>
                    <a:pt x="232631" y="649779"/>
                  </a:lnTo>
                  <a:lnTo>
                    <a:pt x="232046" y="648245"/>
                  </a:lnTo>
                  <a:lnTo>
                    <a:pt x="230290" y="647429"/>
                  </a:lnTo>
                  <a:lnTo>
                    <a:pt x="228388" y="646811"/>
                  </a:lnTo>
                  <a:lnTo>
                    <a:pt x="225170" y="648066"/>
                  </a:lnTo>
                  <a:lnTo>
                    <a:pt x="222532" y="649025"/>
                  </a:lnTo>
                  <a:lnTo>
                    <a:pt x="220595" y="649122"/>
                  </a:lnTo>
                  <a:lnTo>
                    <a:pt x="217789" y="646164"/>
                  </a:lnTo>
                  <a:lnTo>
                    <a:pt x="215546" y="642962"/>
                  </a:lnTo>
                  <a:lnTo>
                    <a:pt x="212892" y="640176"/>
                  </a:lnTo>
                  <a:lnTo>
                    <a:pt x="211130" y="638775"/>
                  </a:lnTo>
                  <a:lnTo>
                    <a:pt x="208001" y="638644"/>
                  </a:lnTo>
                  <a:lnTo>
                    <a:pt x="204470" y="637066"/>
                  </a:lnTo>
                  <a:lnTo>
                    <a:pt x="199750" y="633494"/>
                  </a:lnTo>
                  <a:lnTo>
                    <a:pt x="196338" y="630826"/>
                  </a:lnTo>
                  <a:lnTo>
                    <a:pt x="190460" y="627864"/>
                  </a:lnTo>
                  <a:lnTo>
                    <a:pt x="189095" y="626621"/>
                  </a:lnTo>
                  <a:lnTo>
                    <a:pt x="188573" y="625560"/>
                  </a:lnTo>
                  <a:lnTo>
                    <a:pt x="187767" y="623474"/>
                  </a:lnTo>
                  <a:lnTo>
                    <a:pt x="186539" y="621493"/>
                  </a:lnTo>
                  <a:lnTo>
                    <a:pt x="182371" y="620628"/>
                  </a:lnTo>
                  <a:lnTo>
                    <a:pt x="177661" y="620020"/>
                  </a:lnTo>
                  <a:lnTo>
                    <a:pt x="172693" y="621230"/>
                  </a:lnTo>
                  <a:lnTo>
                    <a:pt x="169108" y="627151"/>
                  </a:lnTo>
                  <a:lnTo>
                    <a:pt x="167385" y="628445"/>
                  </a:lnTo>
                  <a:lnTo>
                    <a:pt x="165908" y="628519"/>
                  </a:lnTo>
                  <a:lnTo>
                    <a:pt x="164696" y="627014"/>
                  </a:lnTo>
                  <a:lnTo>
                    <a:pt x="163695" y="625427"/>
                  </a:lnTo>
                  <a:lnTo>
                    <a:pt x="163146" y="623667"/>
                  </a:lnTo>
                  <a:lnTo>
                    <a:pt x="160671" y="622371"/>
                  </a:lnTo>
                  <a:lnTo>
                    <a:pt x="157869" y="620677"/>
                  </a:lnTo>
                  <a:lnTo>
                    <a:pt x="156439" y="619356"/>
                  </a:lnTo>
                  <a:lnTo>
                    <a:pt x="154819" y="618530"/>
                  </a:lnTo>
                  <a:lnTo>
                    <a:pt x="153319" y="618174"/>
                  </a:lnTo>
                  <a:lnTo>
                    <a:pt x="150412" y="617059"/>
                  </a:lnTo>
                  <a:lnTo>
                    <a:pt x="147126" y="615800"/>
                  </a:lnTo>
                  <a:lnTo>
                    <a:pt x="145584" y="615628"/>
                  </a:lnTo>
                  <a:lnTo>
                    <a:pt x="145474" y="614731"/>
                  </a:lnTo>
                  <a:lnTo>
                    <a:pt x="145936" y="612825"/>
                  </a:lnTo>
                  <a:lnTo>
                    <a:pt x="145653" y="610989"/>
                  </a:lnTo>
                  <a:lnTo>
                    <a:pt x="144660" y="610245"/>
                  </a:lnTo>
                  <a:lnTo>
                    <a:pt x="143157" y="610437"/>
                  </a:lnTo>
                  <a:lnTo>
                    <a:pt x="139687" y="607838"/>
                  </a:lnTo>
                  <a:lnTo>
                    <a:pt x="139512" y="607706"/>
                  </a:lnTo>
                  <a:lnTo>
                    <a:pt x="138523" y="606965"/>
                  </a:lnTo>
                  <a:lnTo>
                    <a:pt x="136815" y="605902"/>
                  </a:lnTo>
                  <a:lnTo>
                    <a:pt x="133932" y="605976"/>
                  </a:lnTo>
                  <a:lnTo>
                    <a:pt x="131746" y="606370"/>
                  </a:lnTo>
                  <a:lnTo>
                    <a:pt x="130148" y="605282"/>
                  </a:lnTo>
                  <a:lnTo>
                    <a:pt x="127834" y="603565"/>
                  </a:lnTo>
                  <a:lnTo>
                    <a:pt x="127417" y="603181"/>
                  </a:lnTo>
                  <a:lnTo>
                    <a:pt x="126735" y="602553"/>
                  </a:lnTo>
                  <a:lnTo>
                    <a:pt x="124388" y="599236"/>
                  </a:lnTo>
                  <a:lnTo>
                    <a:pt x="121613" y="595309"/>
                  </a:lnTo>
                  <a:lnTo>
                    <a:pt x="120211" y="594733"/>
                  </a:lnTo>
                  <a:lnTo>
                    <a:pt x="119490" y="595028"/>
                  </a:lnTo>
                  <a:lnTo>
                    <a:pt x="118667" y="597116"/>
                  </a:lnTo>
                  <a:lnTo>
                    <a:pt x="118050" y="596906"/>
                  </a:lnTo>
                  <a:lnTo>
                    <a:pt x="117022" y="597049"/>
                  </a:lnTo>
                  <a:lnTo>
                    <a:pt x="115806" y="597778"/>
                  </a:lnTo>
                  <a:lnTo>
                    <a:pt x="114635" y="597969"/>
                  </a:lnTo>
                  <a:lnTo>
                    <a:pt x="113888" y="597754"/>
                  </a:lnTo>
                  <a:lnTo>
                    <a:pt x="113573" y="597234"/>
                  </a:lnTo>
                  <a:lnTo>
                    <a:pt x="113906" y="594480"/>
                  </a:lnTo>
                  <a:lnTo>
                    <a:pt x="113202" y="593618"/>
                  </a:lnTo>
                  <a:lnTo>
                    <a:pt x="113828" y="591701"/>
                  </a:lnTo>
                  <a:lnTo>
                    <a:pt x="114886" y="590044"/>
                  </a:lnTo>
                  <a:lnTo>
                    <a:pt x="113802" y="588813"/>
                  </a:lnTo>
                  <a:lnTo>
                    <a:pt x="112465" y="587051"/>
                  </a:lnTo>
                  <a:lnTo>
                    <a:pt x="112323" y="585457"/>
                  </a:lnTo>
                  <a:lnTo>
                    <a:pt x="113046" y="583445"/>
                  </a:lnTo>
                  <a:lnTo>
                    <a:pt x="113394" y="581722"/>
                  </a:lnTo>
                  <a:lnTo>
                    <a:pt x="113176" y="581088"/>
                  </a:lnTo>
                  <a:lnTo>
                    <a:pt x="112118" y="580126"/>
                  </a:lnTo>
                  <a:lnTo>
                    <a:pt x="108097" y="575397"/>
                  </a:lnTo>
                  <a:lnTo>
                    <a:pt x="107881" y="574894"/>
                  </a:lnTo>
                  <a:lnTo>
                    <a:pt x="107199" y="573319"/>
                  </a:lnTo>
                  <a:lnTo>
                    <a:pt x="106890" y="570935"/>
                  </a:lnTo>
                  <a:lnTo>
                    <a:pt x="106363" y="569230"/>
                  </a:lnTo>
                  <a:lnTo>
                    <a:pt x="105748" y="567922"/>
                  </a:lnTo>
                  <a:lnTo>
                    <a:pt x="105793" y="567310"/>
                  </a:lnTo>
                  <a:lnTo>
                    <a:pt x="106253" y="566991"/>
                  </a:lnTo>
                  <a:lnTo>
                    <a:pt x="108771" y="566669"/>
                  </a:lnTo>
                  <a:lnTo>
                    <a:pt x="111097" y="566468"/>
                  </a:lnTo>
                  <a:lnTo>
                    <a:pt x="112629" y="566023"/>
                  </a:lnTo>
                  <a:lnTo>
                    <a:pt x="113422" y="566974"/>
                  </a:lnTo>
                  <a:lnTo>
                    <a:pt x="113793" y="568429"/>
                  </a:lnTo>
                  <a:lnTo>
                    <a:pt x="114186" y="569196"/>
                  </a:lnTo>
                  <a:lnTo>
                    <a:pt x="115659" y="570576"/>
                  </a:lnTo>
                  <a:lnTo>
                    <a:pt x="117451" y="571898"/>
                  </a:lnTo>
                  <a:lnTo>
                    <a:pt x="119192" y="571727"/>
                  </a:lnTo>
                  <a:lnTo>
                    <a:pt x="120725" y="571161"/>
                  </a:lnTo>
                  <a:lnTo>
                    <a:pt x="122059" y="569006"/>
                  </a:lnTo>
                  <a:lnTo>
                    <a:pt x="123001" y="568479"/>
                  </a:lnTo>
                  <a:lnTo>
                    <a:pt x="124094" y="568384"/>
                  </a:lnTo>
                  <a:lnTo>
                    <a:pt x="124087" y="568224"/>
                  </a:lnTo>
                  <a:lnTo>
                    <a:pt x="124031" y="566836"/>
                  </a:lnTo>
                  <a:lnTo>
                    <a:pt x="124416" y="563411"/>
                  </a:lnTo>
                  <a:lnTo>
                    <a:pt x="124284" y="562038"/>
                  </a:lnTo>
                  <a:lnTo>
                    <a:pt x="123789" y="560800"/>
                  </a:lnTo>
                  <a:lnTo>
                    <a:pt x="123878" y="559424"/>
                  </a:lnTo>
                  <a:lnTo>
                    <a:pt x="123716" y="557420"/>
                  </a:lnTo>
                  <a:lnTo>
                    <a:pt x="122461" y="556053"/>
                  </a:lnTo>
                  <a:lnTo>
                    <a:pt x="121645" y="555529"/>
                  </a:lnTo>
                  <a:lnTo>
                    <a:pt x="121518" y="554791"/>
                  </a:lnTo>
                  <a:lnTo>
                    <a:pt x="121934" y="553419"/>
                  </a:lnTo>
                  <a:lnTo>
                    <a:pt x="122232" y="551842"/>
                  </a:lnTo>
                  <a:lnTo>
                    <a:pt x="121801" y="550680"/>
                  </a:lnTo>
                  <a:lnTo>
                    <a:pt x="121732" y="550498"/>
                  </a:lnTo>
                  <a:lnTo>
                    <a:pt x="120714" y="549902"/>
                  </a:lnTo>
                  <a:lnTo>
                    <a:pt x="119522" y="548886"/>
                  </a:lnTo>
                  <a:lnTo>
                    <a:pt x="118103" y="547524"/>
                  </a:lnTo>
                  <a:lnTo>
                    <a:pt x="117402" y="546528"/>
                  </a:lnTo>
                  <a:lnTo>
                    <a:pt x="116259" y="545430"/>
                  </a:lnTo>
                  <a:lnTo>
                    <a:pt x="114863" y="543731"/>
                  </a:lnTo>
                  <a:lnTo>
                    <a:pt x="114599" y="539997"/>
                  </a:lnTo>
                  <a:lnTo>
                    <a:pt x="114463" y="536066"/>
                  </a:lnTo>
                  <a:lnTo>
                    <a:pt x="113975" y="534109"/>
                  </a:lnTo>
                  <a:lnTo>
                    <a:pt x="113200" y="530983"/>
                  </a:lnTo>
                  <a:lnTo>
                    <a:pt x="113312" y="529934"/>
                  </a:lnTo>
                  <a:lnTo>
                    <a:pt x="113783" y="529134"/>
                  </a:lnTo>
                  <a:lnTo>
                    <a:pt x="117735" y="526614"/>
                  </a:lnTo>
                  <a:lnTo>
                    <a:pt x="118594" y="525637"/>
                  </a:lnTo>
                  <a:lnTo>
                    <a:pt x="118734" y="524892"/>
                  </a:lnTo>
                  <a:lnTo>
                    <a:pt x="118583" y="523783"/>
                  </a:lnTo>
                  <a:lnTo>
                    <a:pt x="117838" y="522554"/>
                  </a:lnTo>
                  <a:lnTo>
                    <a:pt x="116255" y="521597"/>
                  </a:lnTo>
                  <a:lnTo>
                    <a:pt x="114005" y="520037"/>
                  </a:lnTo>
                  <a:lnTo>
                    <a:pt x="111964" y="518409"/>
                  </a:lnTo>
                  <a:lnTo>
                    <a:pt x="108535" y="517416"/>
                  </a:lnTo>
                  <a:lnTo>
                    <a:pt x="104361" y="516206"/>
                  </a:lnTo>
                  <a:lnTo>
                    <a:pt x="103368" y="515020"/>
                  </a:lnTo>
                  <a:lnTo>
                    <a:pt x="102353" y="512123"/>
                  </a:lnTo>
                  <a:lnTo>
                    <a:pt x="100636" y="507704"/>
                  </a:lnTo>
                  <a:lnTo>
                    <a:pt x="98807" y="502983"/>
                  </a:lnTo>
                  <a:lnTo>
                    <a:pt x="97402" y="500071"/>
                  </a:lnTo>
                  <a:lnTo>
                    <a:pt x="97335" y="498668"/>
                  </a:lnTo>
                  <a:lnTo>
                    <a:pt x="98181" y="495090"/>
                  </a:lnTo>
                  <a:lnTo>
                    <a:pt x="98075" y="494326"/>
                  </a:lnTo>
                  <a:lnTo>
                    <a:pt x="97341" y="494064"/>
                  </a:lnTo>
                  <a:lnTo>
                    <a:pt x="95935" y="494531"/>
                  </a:lnTo>
                  <a:lnTo>
                    <a:pt x="94808" y="495099"/>
                  </a:lnTo>
                  <a:lnTo>
                    <a:pt x="93849" y="494804"/>
                  </a:lnTo>
                  <a:lnTo>
                    <a:pt x="92951" y="494207"/>
                  </a:lnTo>
                  <a:lnTo>
                    <a:pt x="92765" y="494000"/>
                  </a:lnTo>
                  <a:lnTo>
                    <a:pt x="92696" y="493921"/>
                  </a:lnTo>
                  <a:lnTo>
                    <a:pt x="91029" y="494307"/>
                  </a:lnTo>
                  <a:lnTo>
                    <a:pt x="87680" y="494526"/>
                  </a:lnTo>
                  <a:lnTo>
                    <a:pt x="86518" y="494486"/>
                  </a:lnTo>
                  <a:lnTo>
                    <a:pt x="84892" y="494432"/>
                  </a:lnTo>
                  <a:lnTo>
                    <a:pt x="81539" y="493613"/>
                  </a:lnTo>
                  <a:lnTo>
                    <a:pt x="77011" y="492510"/>
                  </a:lnTo>
                  <a:lnTo>
                    <a:pt x="72342" y="490969"/>
                  </a:lnTo>
                  <a:lnTo>
                    <a:pt x="69865" y="489750"/>
                  </a:lnTo>
                  <a:lnTo>
                    <a:pt x="68995" y="489324"/>
                  </a:lnTo>
                  <a:lnTo>
                    <a:pt x="66879" y="488047"/>
                  </a:lnTo>
                  <a:lnTo>
                    <a:pt x="65367" y="486949"/>
                  </a:lnTo>
                  <a:lnTo>
                    <a:pt x="65097" y="484074"/>
                  </a:lnTo>
                  <a:lnTo>
                    <a:pt x="64009" y="484297"/>
                  </a:lnTo>
                  <a:lnTo>
                    <a:pt x="61437" y="485332"/>
                  </a:lnTo>
                  <a:lnTo>
                    <a:pt x="58472" y="485993"/>
                  </a:lnTo>
                  <a:lnTo>
                    <a:pt x="56840" y="486003"/>
                  </a:lnTo>
                  <a:lnTo>
                    <a:pt x="56177" y="485537"/>
                  </a:lnTo>
                  <a:lnTo>
                    <a:pt x="55192" y="482507"/>
                  </a:lnTo>
                  <a:lnTo>
                    <a:pt x="54475" y="481654"/>
                  </a:lnTo>
                  <a:lnTo>
                    <a:pt x="53138" y="481318"/>
                  </a:lnTo>
                  <a:lnTo>
                    <a:pt x="51694" y="480782"/>
                  </a:lnTo>
                  <a:lnTo>
                    <a:pt x="50968" y="479990"/>
                  </a:lnTo>
                  <a:lnTo>
                    <a:pt x="50804" y="478992"/>
                  </a:lnTo>
                  <a:lnTo>
                    <a:pt x="51450" y="477844"/>
                  </a:lnTo>
                  <a:lnTo>
                    <a:pt x="52214" y="476962"/>
                  </a:lnTo>
                  <a:lnTo>
                    <a:pt x="52342" y="471562"/>
                  </a:lnTo>
                  <a:lnTo>
                    <a:pt x="51843" y="469646"/>
                  </a:lnTo>
                  <a:lnTo>
                    <a:pt x="51426" y="468038"/>
                  </a:lnTo>
                  <a:lnTo>
                    <a:pt x="50364" y="466032"/>
                  </a:lnTo>
                  <a:lnTo>
                    <a:pt x="49375" y="464790"/>
                  </a:lnTo>
                  <a:lnTo>
                    <a:pt x="47870" y="463643"/>
                  </a:lnTo>
                  <a:lnTo>
                    <a:pt x="45548" y="462449"/>
                  </a:lnTo>
                  <a:lnTo>
                    <a:pt x="43482" y="462009"/>
                  </a:lnTo>
                  <a:lnTo>
                    <a:pt x="40973" y="462879"/>
                  </a:lnTo>
                  <a:lnTo>
                    <a:pt x="40176" y="462544"/>
                  </a:lnTo>
                  <a:lnTo>
                    <a:pt x="39128" y="458851"/>
                  </a:lnTo>
                  <a:lnTo>
                    <a:pt x="38461" y="458094"/>
                  </a:lnTo>
                  <a:lnTo>
                    <a:pt x="34006" y="456574"/>
                  </a:lnTo>
                  <a:lnTo>
                    <a:pt x="31987" y="456221"/>
                  </a:lnTo>
                  <a:lnTo>
                    <a:pt x="29670" y="456699"/>
                  </a:lnTo>
                  <a:lnTo>
                    <a:pt x="28347" y="457104"/>
                  </a:lnTo>
                  <a:lnTo>
                    <a:pt x="27284" y="456426"/>
                  </a:lnTo>
                  <a:lnTo>
                    <a:pt x="25622" y="455570"/>
                  </a:lnTo>
                  <a:lnTo>
                    <a:pt x="23989" y="454985"/>
                  </a:lnTo>
                  <a:lnTo>
                    <a:pt x="21963" y="454961"/>
                  </a:lnTo>
                  <a:lnTo>
                    <a:pt x="20655" y="455330"/>
                  </a:lnTo>
                  <a:lnTo>
                    <a:pt x="20325" y="455115"/>
                  </a:lnTo>
                  <a:lnTo>
                    <a:pt x="19694" y="454439"/>
                  </a:lnTo>
                  <a:lnTo>
                    <a:pt x="17001" y="452399"/>
                  </a:lnTo>
                  <a:lnTo>
                    <a:pt x="16913" y="451881"/>
                  </a:lnTo>
                  <a:lnTo>
                    <a:pt x="21044" y="449871"/>
                  </a:lnTo>
                  <a:lnTo>
                    <a:pt x="23475" y="449104"/>
                  </a:lnTo>
                  <a:lnTo>
                    <a:pt x="24751" y="448492"/>
                  </a:lnTo>
                  <a:lnTo>
                    <a:pt x="25024" y="448622"/>
                  </a:lnTo>
                  <a:lnTo>
                    <a:pt x="25652" y="449551"/>
                  </a:lnTo>
                  <a:lnTo>
                    <a:pt x="27263" y="450166"/>
                  </a:lnTo>
                  <a:lnTo>
                    <a:pt x="28392" y="449998"/>
                  </a:lnTo>
                  <a:lnTo>
                    <a:pt x="28986" y="449530"/>
                  </a:lnTo>
                  <a:lnTo>
                    <a:pt x="30981" y="448420"/>
                  </a:lnTo>
                  <a:lnTo>
                    <a:pt x="32542" y="447133"/>
                  </a:lnTo>
                  <a:lnTo>
                    <a:pt x="33421" y="446070"/>
                  </a:lnTo>
                  <a:lnTo>
                    <a:pt x="32950" y="444397"/>
                  </a:lnTo>
                  <a:lnTo>
                    <a:pt x="30495" y="442378"/>
                  </a:lnTo>
                  <a:lnTo>
                    <a:pt x="28934" y="441294"/>
                  </a:lnTo>
                  <a:lnTo>
                    <a:pt x="28457" y="440563"/>
                  </a:lnTo>
                  <a:lnTo>
                    <a:pt x="28856" y="438367"/>
                  </a:lnTo>
                  <a:lnTo>
                    <a:pt x="29431" y="436188"/>
                  </a:lnTo>
                  <a:lnTo>
                    <a:pt x="29055" y="435357"/>
                  </a:lnTo>
                  <a:lnTo>
                    <a:pt x="28590" y="434647"/>
                  </a:lnTo>
                  <a:lnTo>
                    <a:pt x="28381" y="432263"/>
                  </a:lnTo>
                  <a:lnTo>
                    <a:pt x="27312" y="429384"/>
                  </a:lnTo>
                  <a:lnTo>
                    <a:pt x="26144" y="427703"/>
                  </a:lnTo>
                  <a:lnTo>
                    <a:pt x="25822" y="425438"/>
                  </a:lnTo>
                  <a:lnTo>
                    <a:pt x="25755" y="423309"/>
                  </a:lnTo>
                  <a:lnTo>
                    <a:pt x="27168" y="419979"/>
                  </a:lnTo>
                  <a:lnTo>
                    <a:pt x="26645" y="418538"/>
                  </a:lnTo>
                  <a:lnTo>
                    <a:pt x="25157" y="417258"/>
                  </a:lnTo>
                  <a:lnTo>
                    <a:pt x="20050" y="414941"/>
                  </a:lnTo>
                  <a:lnTo>
                    <a:pt x="14818" y="413400"/>
                  </a:lnTo>
                  <a:lnTo>
                    <a:pt x="12825" y="413459"/>
                  </a:lnTo>
                  <a:lnTo>
                    <a:pt x="11588" y="413364"/>
                  </a:lnTo>
                  <a:lnTo>
                    <a:pt x="10128" y="414722"/>
                  </a:lnTo>
                  <a:lnTo>
                    <a:pt x="9249" y="416490"/>
                  </a:lnTo>
                  <a:lnTo>
                    <a:pt x="8020" y="416649"/>
                  </a:lnTo>
                  <a:lnTo>
                    <a:pt x="5789" y="415897"/>
                  </a:lnTo>
                  <a:lnTo>
                    <a:pt x="4297" y="414763"/>
                  </a:lnTo>
                  <a:lnTo>
                    <a:pt x="3246" y="412391"/>
                  </a:lnTo>
                  <a:lnTo>
                    <a:pt x="2421" y="409339"/>
                  </a:lnTo>
                  <a:lnTo>
                    <a:pt x="1963" y="408382"/>
                  </a:lnTo>
                  <a:lnTo>
                    <a:pt x="2200" y="407557"/>
                  </a:lnTo>
                  <a:lnTo>
                    <a:pt x="2712" y="406822"/>
                  </a:lnTo>
                  <a:lnTo>
                    <a:pt x="4140" y="406135"/>
                  </a:lnTo>
                  <a:lnTo>
                    <a:pt x="4377" y="405428"/>
                  </a:lnTo>
                  <a:lnTo>
                    <a:pt x="4164" y="404562"/>
                  </a:lnTo>
                  <a:lnTo>
                    <a:pt x="3017" y="403466"/>
                  </a:lnTo>
                  <a:lnTo>
                    <a:pt x="1838" y="401914"/>
                  </a:lnTo>
                  <a:lnTo>
                    <a:pt x="0" y="398687"/>
                  </a:lnTo>
                  <a:lnTo>
                    <a:pt x="350" y="396908"/>
                  </a:lnTo>
                  <a:lnTo>
                    <a:pt x="642" y="394346"/>
                  </a:lnTo>
                  <a:lnTo>
                    <a:pt x="538" y="392992"/>
                  </a:lnTo>
                  <a:lnTo>
                    <a:pt x="2397" y="392644"/>
                  </a:lnTo>
                  <a:lnTo>
                    <a:pt x="4768" y="391951"/>
                  </a:lnTo>
                  <a:lnTo>
                    <a:pt x="5870" y="390800"/>
                  </a:lnTo>
                  <a:lnTo>
                    <a:pt x="6630" y="389625"/>
                  </a:lnTo>
                  <a:lnTo>
                    <a:pt x="6796" y="388898"/>
                  </a:lnTo>
                  <a:lnTo>
                    <a:pt x="6086" y="386089"/>
                  </a:lnTo>
                  <a:lnTo>
                    <a:pt x="5140" y="384833"/>
                  </a:lnTo>
                  <a:lnTo>
                    <a:pt x="5043" y="383862"/>
                  </a:lnTo>
                  <a:lnTo>
                    <a:pt x="5505" y="383120"/>
                  </a:lnTo>
                  <a:lnTo>
                    <a:pt x="6131" y="381837"/>
                  </a:lnTo>
                  <a:lnTo>
                    <a:pt x="7329" y="379208"/>
                  </a:lnTo>
                  <a:lnTo>
                    <a:pt x="8497" y="377532"/>
                  </a:lnTo>
                  <a:lnTo>
                    <a:pt x="9137" y="377107"/>
                  </a:lnTo>
                  <a:lnTo>
                    <a:pt x="10566" y="376717"/>
                  </a:lnTo>
                  <a:lnTo>
                    <a:pt x="14049" y="376255"/>
                  </a:lnTo>
                  <a:lnTo>
                    <a:pt x="17791" y="375076"/>
                  </a:lnTo>
                  <a:lnTo>
                    <a:pt x="22240" y="371551"/>
                  </a:lnTo>
                  <a:lnTo>
                    <a:pt x="23717" y="370546"/>
                  </a:lnTo>
                  <a:lnTo>
                    <a:pt x="25660" y="370042"/>
                  </a:lnTo>
                  <a:lnTo>
                    <a:pt x="27047" y="370078"/>
                  </a:lnTo>
                  <a:lnTo>
                    <a:pt x="27297" y="369647"/>
                  </a:lnTo>
                  <a:lnTo>
                    <a:pt x="26401" y="367462"/>
                  </a:lnTo>
                  <a:lnTo>
                    <a:pt x="26619" y="366669"/>
                  </a:lnTo>
                  <a:lnTo>
                    <a:pt x="27150" y="366046"/>
                  </a:lnTo>
                  <a:lnTo>
                    <a:pt x="27824" y="365760"/>
                  </a:lnTo>
                  <a:lnTo>
                    <a:pt x="30894" y="366912"/>
                  </a:lnTo>
                  <a:lnTo>
                    <a:pt x="33257" y="366792"/>
                  </a:lnTo>
                  <a:lnTo>
                    <a:pt x="36125" y="366107"/>
                  </a:lnTo>
                  <a:lnTo>
                    <a:pt x="42311" y="362248"/>
                  </a:lnTo>
                  <a:lnTo>
                    <a:pt x="43080" y="362310"/>
                  </a:lnTo>
                  <a:lnTo>
                    <a:pt x="43698" y="362831"/>
                  </a:lnTo>
                  <a:lnTo>
                    <a:pt x="44447" y="365155"/>
                  </a:lnTo>
                  <a:lnTo>
                    <a:pt x="45300" y="370059"/>
                  </a:lnTo>
                  <a:lnTo>
                    <a:pt x="45768" y="370672"/>
                  </a:lnTo>
                  <a:lnTo>
                    <a:pt x="50076" y="370739"/>
                  </a:lnTo>
                  <a:lnTo>
                    <a:pt x="53002" y="368955"/>
                  </a:lnTo>
                  <a:lnTo>
                    <a:pt x="54285" y="368534"/>
                  </a:lnTo>
                  <a:lnTo>
                    <a:pt x="56371" y="368824"/>
                  </a:lnTo>
                  <a:lnTo>
                    <a:pt x="57464" y="367988"/>
                  </a:lnTo>
                  <a:lnTo>
                    <a:pt x="58619" y="367403"/>
                  </a:lnTo>
                  <a:lnTo>
                    <a:pt x="59952" y="369457"/>
                  </a:lnTo>
                  <a:lnTo>
                    <a:pt x="61672" y="368475"/>
                  </a:lnTo>
                  <a:lnTo>
                    <a:pt x="63525" y="366912"/>
                  </a:lnTo>
                  <a:lnTo>
                    <a:pt x="64425" y="365296"/>
                  </a:lnTo>
                  <a:lnTo>
                    <a:pt x="65687" y="363550"/>
                  </a:lnTo>
                  <a:lnTo>
                    <a:pt x="66665" y="361335"/>
                  </a:lnTo>
                  <a:lnTo>
                    <a:pt x="67056" y="359239"/>
                  </a:lnTo>
                  <a:lnTo>
                    <a:pt x="67526" y="358258"/>
                  </a:lnTo>
                  <a:lnTo>
                    <a:pt x="68572" y="357247"/>
                  </a:lnTo>
                  <a:lnTo>
                    <a:pt x="71128" y="352932"/>
                  </a:lnTo>
                  <a:lnTo>
                    <a:pt x="72979" y="351830"/>
                  </a:lnTo>
                  <a:lnTo>
                    <a:pt x="74724" y="351436"/>
                  </a:lnTo>
                  <a:lnTo>
                    <a:pt x="79045" y="352184"/>
                  </a:lnTo>
                  <a:lnTo>
                    <a:pt x="81299" y="352089"/>
                  </a:lnTo>
                  <a:lnTo>
                    <a:pt x="87883" y="352656"/>
                  </a:lnTo>
                  <a:lnTo>
                    <a:pt x="90926" y="351827"/>
                  </a:lnTo>
                  <a:lnTo>
                    <a:pt x="93046" y="351003"/>
                  </a:lnTo>
                  <a:lnTo>
                    <a:pt x="96168" y="351133"/>
                  </a:lnTo>
                  <a:lnTo>
                    <a:pt x="99861" y="350476"/>
                  </a:lnTo>
                  <a:lnTo>
                    <a:pt x="104789" y="345053"/>
                  </a:lnTo>
                  <a:lnTo>
                    <a:pt x="104845" y="343899"/>
                  </a:lnTo>
                  <a:lnTo>
                    <a:pt x="105145" y="342674"/>
                  </a:lnTo>
                  <a:lnTo>
                    <a:pt x="106924" y="341462"/>
                  </a:lnTo>
                  <a:lnTo>
                    <a:pt x="109142" y="340352"/>
                  </a:lnTo>
                  <a:lnTo>
                    <a:pt x="113551" y="337696"/>
                  </a:lnTo>
                  <a:lnTo>
                    <a:pt x="122526" y="333487"/>
                  </a:lnTo>
                  <a:lnTo>
                    <a:pt x="125735" y="331800"/>
                  </a:lnTo>
                  <a:lnTo>
                    <a:pt x="127080" y="331847"/>
                  </a:lnTo>
                  <a:lnTo>
                    <a:pt x="130386" y="330788"/>
                  </a:lnTo>
                  <a:lnTo>
                    <a:pt x="136184" y="328724"/>
                  </a:lnTo>
                  <a:lnTo>
                    <a:pt x="137827" y="326153"/>
                  </a:lnTo>
                  <a:lnTo>
                    <a:pt x="139358" y="325642"/>
                  </a:lnTo>
                  <a:lnTo>
                    <a:pt x="146137" y="325179"/>
                  </a:lnTo>
                  <a:lnTo>
                    <a:pt x="146556" y="324886"/>
                  </a:lnTo>
                  <a:lnTo>
                    <a:pt x="146800" y="324452"/>
                  </a:lnTo>
                  <a:lnTo>
                    <a:pt x="146424" y="322592"/>
                  </a:lnTo>
                  <a:lnTo>
                    <a:pt x="145986" y="320991"/>
                  </a:lnTo>
                  <a:lnTo>
                    <a:pt x="146508" y="320518"/>
                  </a:lnTo>
                  <a:lnTo>
                    <a:pt x="147085" y="319784"/>
                  </a:lnTo>
                  <a:lnTo>
                    <a:pt x="146996" y="318752"/>
                  </a:lnTo>
                  <a:lnTo>
                    <a:pt x="145906" y="315417"/>
                  </a:lnTo>
                  <a:lnTo>
                    <a:pt x="145320" y="312246"/>
                  </a:lnTo>
                  <a:lnTo>
                    <a:pt x="144936" y="309385"/>
                  </a:lnTo>
                  <a:lnTo>
                    <a:pt x="145005" y="308317"/>
                  </a:lnTo>
                  <a:lnTo>
                    <a:pt x="145828" y="306475"/>
                  </a:lnTo>
                  <a:lnTo>
                    <a:pt x="146890" y="304796"/>
                  </a:lnTo>
                  <a:lnTo>
                    <a:pt x="150732" y="303231"/>
                  </a:lnTo>
                  <a:lnTo>
                    <a:pt x="153273" y="302756"/>
                  </a:lnTo>
                  <a:lnTo>
                    <a:pt x="153379" y="301733"/>
                  </a:lnTo>
                  <a:lnTo>
                    <a:pt x="151321" y="301094"/>
                  </a:lnTo>
                  <a:lnTo>
                    <a:pt x="149834" y="300070"/>
                  </a:lnTo>
                  <a:lnTo>
                    <a:pt x="149566" y="299486"/>
                  </a:lnTo>
                  <a:lnTo>
                    <a:pt x="149637" y="298821"/>
                  </a:lnTo>
                  <a:lnTo>
                    <a:pt x="149985" y="298212"/>
                  </a:lnTo>
                  <a:lnTo>
                    <a:pt x="152568" y="297068"/>
                  </a:lnTo>
                  <a:lnTo>
                    <a:pt x="154999" y="295928"/>
                  </a:lnTo>
                  <a:lnTo>
                    <a:pt x="157966" y="296620"/>
                  </a:lnTo>
                  <a:lnTo>
                    <a:pt x="158553" y="296178"/>
                  </a:lnTo>
                  <a:lnTo>
                    <a:pt x="158730" y="295035"/>
                  </a:lnTo>
                  <a:lnTo>
                    <a:pt x="158096" y="293886"/>
                  </a:lnTo>
                  <a:lnTo>
                    <a:pt x="157493" y="292008"/>
                  </a:lnTo>
                  <a:lnTo>
                    <a:pt x="156122" y="291046"/>
                  </a:lnTo>
                  <a:lnTo>
                    <a:pt x="156070" y="289892"/>
                  </a:lnTo>
                  <a:lnTo>
                    <a:pt x="156919" y="287900"/>
                  </a:lnTo>
                  <a:lnTo>
                    <a:pt x="155746" y="284208"/>
                  </a:lnTo>
                  <a:lnTo>
                    <a:pt x="154478" y="280947"/>
                  </a:lnTo>
                  <a:lnTo>
                    <a:pt x="152323" y="275358"/>
                  </a:lnTo>
                  <a:lnTo>
                    <a:pt x="150898" y="273744"/>
                  </a:lnTo>
                  <a:lnTo>
                    <a:pt x="150108" y="271163"/>
                  </a:lnTo>
                  <a:lnTo>
                    <a:pt x="149212" y="269806"/>
                  </a:lnTo>
                  <a:lnTo>
                    <a:pt x="149294" y="267800"/>
                  </a:lnTo>
                  <a:lnTo>
                    <a:pt x="149434" y="266390"/>
                  </a:lnTo>
                  <a:lnTo>
                    <a:pt x="149203" y="263589"/>
                  </a:lnTo>
                  <a:lnTo>
                    <a:pt x="148793" y="260551"/>
                  </a:lnTo>
                  <a:lnTo>
                    <a:pt x="149207" y="257461"/>
                  </a:lnTo>
                  <a:lnTo>
                    <a:pt x="150002" y="255425"/>
                  </a:lnTo>
                  <a:lnTo>
                    <a:pt x="149790" y="254646"/>
                  </a:lnTo>
                  <a:lnTo>
                    <a:pt x="150214" y="254060"/>
                  </a:lnTo>
                  <a:lnTo>
                    <a:pt x="151427" y="253865"/>
                  </a:lnTo>
                  <a:lnTo>
                    <a:pt x="152004" y="253032"/>
                  </a:lnTo>
                  <a:lnTo>
                    <a:pt x="151427" y="252175"/>
                  </a:lnTo>
                  <a:lnTo>
                    <a:pt x="149335" y="251515"/>
                  </a:lnTo>
                  <a:lnTo>
                    <a:pt x="146996" y="250484"/>
                  </a:lnTo>
                  <a:lnTo>
                    <a:pt x="144183" y="250602"/>
                  </a:lnTo>
                  <a:lnTo>
                    <a:pt x="141293" y="250781"/>
                  </a:lnTo>
                  <a:lnTo>
                    <a:pt x="139855" y="250018"/>
                  </a:lnTo>
                  <a:lnTo>
                    <a:pt x="138598" y="249045"/>
                  </a:lnTo>
                  <a:lnTo>
                    <a:pt x="138523" y="248418"/>
                  </a:lnTo>
                  <a:lnTo>
                    <a:pt x="140254" y="246771"/>
                  </a:lnTo>
                  <a:lnTo>
                    <a:pt x="142664" y="245068"/>
                  </a:lnTo>
                  <a:lnTo>
                    <a:pt x="146403" y="244315"/>
                  </a:lnTo>
                  <a:lnTo>
                    <a:pt x="150531" y="243191"/>
                  </a:lnTo>
                  <a:lnTo>
                    <a:pt x="152615" y="242373"/>
                  </a:lnTo>
                  <a:lnTo>
                    <a:pt x="155392" y="241784"/>
                  </a:lnTo>
                  <a:lnTo>
                    <a:pt x="158605" y="241536"/>
                  </a:lnTo>
                  <a:lnTo>
                    <a:pt x="160225" y="241708"/>
                  </a:lnTo>
                  <a:lnTo>
                    <a:pt x="164360" y="240617"/>
                  </a:lnTo>
                  <a:lnTo>
                    <a:pt x="170870" y="238506"/>
                  </a:lnTo>
                  <a:lnTo>
                    <a:pt x="176781" y="236734"/>
                  </a:lnTo>
                  <a:lnTo>
                    <a:pt x="178770" y="235678"/>
                  </a:lnTo>
                  <a:lnTo>
                    <a:pt x="180249" y="236734"/>
                  </a:lnTo>
                  <a:lnTo>
                    <a:pt x="180929" y="239059"/>
                  </a:lnTo>
                  <a:lnTo>
                    <a:pt x="182650" y="240263"/>
                  </a:lnTo>
                  <a:lnTo>
                    <a:pt x="184362" y="240844"/>
                  </a:lnTo>
                  <a:lnTo>
                    <a:pt x="185342" y="240816"/>
                  </a:lnTo>
                  <a:lnTo>
                    <a:pt x="188295" y="239913"/>
                  </a:lnTo>
                  <a:lnTo>
                    <a:pt x="191475" y="239249"/>
                  </a:lnTo>
                  <a:lnTo>
                    <a:pt x="192732" y="239611"/>
                  </a:lnTo>
                  <a:lnTo>
                    <a:pt x="194352" y="240800"/>
                  </a:lnTo>
                  <a:lnTo>
                    <a:pt x="196165" y="241864"/>
                  </a:lnTo>
                  <a:lnTo>
                    <a:pt x="197111" y="241812"/>
                  </a:lnTo>
                  <a:lnTo>
                    <a:pt x="197940" y="240993"/>
                  </a:lnTo>
                  <a:lnTo>
                    <a:pt x="198780" y="239335"/>
                  </a:lnTo>
                  <a:lnTo>
                    <a:pt x="199314" y="237220"/>
                  </a:lnTo>
                  <a:lnTo>
                    <a:pt x="199417" y="234991"/>
                  </a:lnTo>
                  <a:lnTo>
                    <a:pt x="199104" y="233623"/>
                  </a:lnTo>
                  <a:lnTo>
                    <a:pt x="198461" y="233120"/>
                  </a:lnTo>
                  <a:lnTo>
                    <a:pt x="195567" y="232313"/>
                  </a:lnTo>
                  <a:lnTo>
                    <a:pt x="192803" y="230996"/>
                  </a:lnTo>
                  <a:lnTo>
                    <a:pt x="192483" y="229792"/>
                  </a:lnTo>
                  <a:lnTo>
                    <a:pt x="192551" y="228934"/>
                  </a:lnTo>
                  <a:lnTo>
                    <a:pt x="193278" y="226827"/>
                  </a:lnTo>
                  <a:lnTo>
                    <a:pt x="195081" y="222960"/>
                  </a:lnTo>
                  <a:lnTo>
                    <a:pt x="196895" y="217611"/>
                  </a:lnTo>
                  <a:lnTo>
                    <a:pt x="197854" y="213385"/>
                  </a:lnTo>
                  <a:lnTo>
                    <a:pt x="200886" y="207072"/>
                  </a:lnTo>
                  <a:lnTo>
                    <a:pt x="203270" y="200470"/>
                  </a:lnTo>
                  <a:lnTo>
                    <a:pt x="207137" y="190959"/>
                  </a:lnTo>
                  <a:lnTo>
                    <a:pt x="207783" y="189075"/>
                  </a:lnTo>
                  <a:lnTo>
                    <a:pt x="208137" y="186060"/>
                  </a:lnTo>
                  <a:lnTo>
                    <a:pt x="208344" y="184816"/>
                  </a:lnTo>
                  <a:lnTo>
                    <a:pt x="209689" y="184161"/>
                  </a:lnTo>
                  <a:lnTo>
                    <a:pt x="211961" y="184798"/>
                  </a:lnTo>
                  <a:lnTo>
                    <a:pt x="217500" y="186977"/>
                  </a:lnTo>
                  <a:lnTo>
                    <a:pt x="221713" y="188804"/>
                  </a:lnTo>
                  <a:lnTo>
                    <a:pt x="223480" y="189423"/>
                  </a:lnTo>
                  <a:lnTo>
                    <a:pt x="226103" y="190070"/>
                  </a:lnTo>
                  <a:lnTo>
                    <a:pt x="230158" y="190833"/>
                  </a:lnTo>
                  <a:lnTo>
                    <a:pt x="232503" y="190607"/>
                  </a:lnTo>
                  <a:lnTo>
                    <a:pt x="234562" y="190157"/>
                  </a:lnTo>
                  <a:lnTo>
                    <a:pt x="237297" y="190118"/>
                  </a:lnTo>
                  <a:lnTo>
                    <a:pt x="241577" y="190686"/>
                  </a:lnTo>
                  <a:lnTo>
                    <a:pt x="242901" y="190709"/>
                  </a:lnTo>
                  <a:lnTo>
                    <a:pt x="244544" y="190781"/>
                  </a:lnTo>
                  <a:lnTo>
                    <a:pt x="245715" y="191702"/>
                  </a:lnTo>
                  <a:lnTo>
                    <a:pt x="246300" y="193793"/>
                  </a:lnTo>
                  <a:lnTo>
                    <a:pt x="247187" y="194731"/>
                  </a:lnTo>
                  <a:lnTo>
                    <a:pt x="248781" y="194384"/>
                  </a:lnTo>
                  <a:lnTo>
                    <a:pt x="252186" y="192543"/>
                  </a:lnTo>
                  <a:lnTo>
                    <a:pt x="254361" y="191092"/>
                  </a:lnTo>
                  <a:lnTo>
                    <a:pt x="257080" y="188995"/>
                  </a:lnTo>
                  <a:lnTo>
                    <a:pt x="259774" y="188706"/>
                  </a:lnTo>
                  <a:lnTo>
                    <a:pt x="262635" y="188237"/>
                  </a:lnTo>
                  <a:lnTo>
                    <a:pt x="263629" y="187196"/>
                  </a:lnTo>
                  <a:lnTo>
                    <a:pt x="264681" y="184745"/>
                  </a:lnTo>
                  <a:lnTo>
                    <a:pt x="266436" y="182894"/>
                  </a:lnTo>
                  <a:lnTo>
                    <a:pt x="266727" y="180549"/>
                  </a:lnTo>
                  <a:lnTo>
                    <a:pt x="266108" y="178895"/>
                  </a:lnTo>
                  <a:lnTo>
                    <a:pt x="264888" y="176196"/>
                  </a:lnTo>
                  <a:lnTo>
                    <a:pt x="264924" y="174376"/>
                  </a:lnTo>
                  <a:lnTo>
                    <a:pt x="264335" y="169092"/>
                  </a:lnTo>
                  <a:lnTo>
                    <a:pt x="263547" y="164329"/>
                  </a:lnTo>
                  <a:lnTo>
                    <a:pt x="264350" y="160486"/>
                  </a:lnTo>
                  <a:lnTo>
                    <a:pt x="265767" y="156187"/>
                  </a:lnTo>
                  <a:lnTo>
                    <a:pt x="266324" y="154870"/>
                  </a:lnTo>
                  <a:lnTo>
                    <a:pt x="267222" y="153136"/>
                  </a:lnTo>
                  <a:lnTo>
                    <a:pt x="268487" y="151061"/>
                  </a:lnTo>
                  <a:lnTo>
                    <a:pt x="270267" y="150409"/>
                  </a:lnTo>
                  <a:lnTo>
                    <a:pt x="275270" y="149965"/>
                  </a:lnTo>
                  <a:lnTo>
                    <a:pt x="279902" y="149092"/>
                  </a:lnTo>
                  <a:lnTo>
                    <a:pt x="282266" y="148193"/>
                  </a:lnTo>
                  <a:lnTo>
                    <a:pt x="284715" y="147650"/>
                  </a:lnTo>
                  <a:lnTo>
                    <a:pt x="286177" y="146990"/>
                  </a:lnTo>
                  <a:lnTo>
                    <a:pt x="288706" y="143954"/>
                  </a:lnTo>
                  <a:lnTo>
                    <a:pt x="289904" y="142202"/>
                  </a:lnTo>
                  <a:lnTo>
                    <a:pt x="290785" y="137546"/>
                  </a:lnTo>
                  <a:lnTo>
                    <a:pt x="290140" y="135306"/>
                  </a:lnTo>
                  <a:lnTo>
                    <a:pt x="290682" y="133324"/>
                  </a:lnTo>
                  <a:lnTo>
                    <a:pt x="291902" y="132157"/>
                  </a:lnTo>
                  <a:lnTo>
                    <a:pt x="293618" y="130990"/>
                  </a:lnTo>
                  <a:lnTo>
                    <a:pt x="294769" y="130791"/>
                  </a:lnTo>
                  <a:lnTo>
                    <a:pt x="297214" y="130437"/>
                  </a:lnTo>
                  <a:lnTo>
                    <a:pt x="301226" y="130553"/>
                  </a:lnTo>
                  <a:lnTo>
                    <a:pt x="303280" y="131127"/>
                  </a:lnTo>
                  <a:lnTo>
                    <a:pt x="305355" y="131389"/>
                  </a:lnTo>
                  <a:lnTo>
                    <a:pt x="306670" y="130965"/>
                  </a:lnTo>
                  <a:lnTo>
                    <a:pt x="307547" y="130080"/>
                  </a:lnTo>
                  <a:lnTo>
                    <a:pt x="308890" y="129796"/>
                  </a:lnTo>
                  <a:lnTo>
                    <a:pt x="310920" y="129372"/>
                  </a:lnTo>
                  <a:lnTo>
                    <a:pt x="313001" y="128840"/>
                  </a:lnTo>
                  <a:lnTo>
                    <a:pt x="314145" y="128940"/>
                  </a:lnTo>
                  <a:lnTo>
                    <a:pt x="314387" y="130255"/>
                  </a:lnTo>
                  <a:lnTo>
                    <a:pt x="314191" y="131284"/>
                  </a:lnTo>
                  <a:lnTo>
                    <a:pt x="314597" y="132664"/>
                  </a:lnTo>
                  <a:lnTo>
                    <a:pt x="315426" y="133572"/>
                  </a:lnTo>
                  <a:lnTo>
                    <a:pt x="315154" y="134559"/>
                  </a:lnTo>
                  <a:lnTo>
                    <a:pt x="313981" y="135130"/>
                  </a:lnTo>
                  <a:lnTo>
                    <a:pt x="312828" y="135898"/>
                  </a:lnTo>
                  <a:lnTo>
                    <a:pt x="312573" y="136951"/>
                  </a:lnTo>
                  <a:lnTo>
                    <a:pt x="314033" y="138258"/>
                  </a:lnTo>
                  <a:lnTo>
                    <a:pt x="314534" y="139514"/>
                  </a:lnTo>
                  <a:lnTo>
                    <a:pt x="316974" y="140264"/>
                  </a:lnTo>
                  <a:lnTo>
                    <a:pt x="318870" y="141109"/>
                  </a:lnTo>
                  <a:lnTo>
                    <a:pt x="319581" y="141917"/>
                  </a:lnTo>
                  <a:lnTo>
                    <a:pt x="319363" y="142831"/>
                  </a:lnTo>
                  <a:lnTo>
                    <a:pt x="318488" y="143815"/>
                  </a:lnTo>
                  <a:lnTo>
                    <a:pt x="317639" y="144869"/>
                  </a:lnTo>
                  <a:lnTo>
                    <a:pt x="317532" y="145502"/>
                  </a:lnTo>
                  <a:lnTo>
                    <a:pt x="317804" y="146238"/>
                  </a:lnTo>
                  <a:lnTo>
                    <a:pt x="319637" y="146728"/>
                  </a:lnTo>
                  <a:lnTo>
                    <a:pt x="321751" y="147545"/>
                  </a:lnTo>
                  <a:lnTo>
                    <a:pt x="325107" y="148594"/>
                  </a:lnTo>
                  <a:lnTo>
                    <a:pt x="327406" y="150541"/>
                  </a:lnTo>
                  <a:lnTo>
                    <a:pt x="329687" y="151078"/>
                  </a:lnTo>
                  <a:lnTo>
                    <a:pt x="330786" y="152977"/>
                  </a:lnTo>
                  <a:lnTo>
                    <a:pt x="330989" y="155730"/>
                  </a:lnTo>
                  <a:lnTo>
                    <a:pt x="333330" y="157132"/>
                  </a:lnTo>
                  <a:lnTo>
                    <a:pt x="336789" y="159078"/>
                  </a:lnTo>
                  <a:lnTo>
                    <a:pt x="338547" y="159436"/>
                  </a:lnTo>
                  <a:lnTo>
                    <a:pt x="339726" y="160539"/>
                  </a:lnTo>
                  <a:lnTo>
                    <a:pt x="341419" y="161877"/>
                  </a:lnTo>
                  <a:lnTo>
                    <a:pt x="342922" y="162296"/>
                  </a:lnTo>
                  <a:lnTo>
                    <a:pt x="344705" y="162488"/>
                  </a:lnTo>
                  <a:lnTo>
                    <a:pt x="347659" y="161248"/>
                  </a:lnTo>
                  <a:lnTo>
                    <a:pt x="350961" y="161129"/>
                  </a:lnTo>
                  <a:lnTo>
                    <a:pt x="352768" y="161837"/>
                  </a:lnTo>
                  <a:lnTo>
                    <a:pt x="354483" y="164513"/>
                  </a:lnTo>
                  <a:lnTo>
                    <a:pt x="355692" y="165357"/>
                  </a:lnTo>
                  <a:lnTo>
                    <a:pt x="356409" y="166108"/>
                  </a:lnTo>
                  <a:lnTo>
                    <a:pt x="357571" y="166826"/>
                  </a:lnTo>
                  <a:lnTo>
                    <a:pt x="358748" y="166930"/>
                  </a:lnTo>
                  <a:lnTo>
                    <a:pt x="360496" y="166338"/>
                  </a:lnTo>
                  <a:lnTo>
                    <a:pt x="361564" y="165154"/>
                  </a:lnTo>
                  <a:lnTo>
                    <a:pt x="363095" y="165398"/>
                  </a:lnTo>
                  <a:lnTo>
                    <a:pt x="363669" y="166164"/>
                  </a:lnTo>
                  <a:lnTo>
                    <a:pt x="363950" y="167486"/>
                  </a:lnTo>
                  <a:lnTo>
                    <a:pt x="364760" y="169122"/>
                  </a:lnTo>
                  <a:lnTo>
                    <a:pt x="366701" y="170341"/>
                  </a:lnTo>
                  <a:lnTo>
                    <a:pt x="369404" y="171070"/>
                  </a:lnTo>
                  <a:lnTo>
                    <a:pt x="369789" y="171660"/>
                  </a:lnTo>
                  <a:lnTo>
                    <a:pt x="370160" y="173296"/>
                  </a:lnTo>
                  <a:lnTo>
                    <a:pt x="370894" y="174428"/>
                  </a:lnTo>
                  <a:lnTo>
                    <a:pt x="371879" y="175903"/>
                  </a:lnTo>
                  <a:lnTo>
                    <a:pt x="372814" y="178594"/>
                  </a:lnTo>
                  <a:lnTo>
                    <a:pt x="373013" y="180817"/>
                  </a:lnTo>
                  <a:lnTo>
                    <a:pt x="373449" y="182040"/>
                  </a:lnTo>
                  <a:lnTo>
                    <a:pt x="374703" y="184031"/>
                  </a:lnTo>
                  <a:lnTo>
                    <a:pt x="376703" y="187210"/>
                  </a:lnTo>
                  <a:lnTo>
                    <a:pt x="378299" y="189903"/>
                  </a:lnTo>
                  <a:lnTo>
                    <a:pt x="380145" y="190424"/>
                  </a:lnTo>
                  <a:lnTo>
                    <a:pt x="381713" y="191280"/>
                  </a:lnTo>
                  <a:lnTo>
                    <a:pt x="382611" y="193267"/>
                  </a:lnTo>
                  <a:lnTo>
                    <a:pt x="384274" y="197005"/>
                  </a:lnTo>
                  <a:lnTo>
                    <a:pt x="384541" y="199452"/>
                  </a:lnTo>
                  <a:lnTo>
                    <a:pt x="384684" y="201268"/>
                  </a:lnTo>
                  <a:lnTo>
                    <a:pt x="385228" y="202093"/>
                  </a:lnTo>
                  <a:lnTo>
                    <a:pt x="385338" y="203123"/>
                  </a:lnTo>
                  <a:lnTo>
                    <a:pt x="383959" y="207035"/>
                  </a:lnTo>
                  <a:lnTo>
                    <a:pt x="382782" y="208802"/>
                  </a:lnTo>
                  <a:lnTo>
                    <a:pt x="382632" y="210287"/>
                  </a:lnTo>
                  <a:lnTo>
                    <a:pt x="383429" y="212871"/>
                  </a:lnTo>
                  <a:lnTo>
                    <a:pt x="384518" y="214871"/>
                  </a:lnTo>
                  <a:lnTo>
                    <a:pt x="384628" y="216783"/>
                  </a:lnTo>
                  <a:lnTo>
                    <a:pt x="383699" y="218184"/>
                  </a:lnTo>
                  <a:lnTo>
                    <a:pt x="382093" y="219935"/>
                  </a:lnTo>
                  <a:lnTo>
                    <a:pt x="381326" y="220934"/>
                  </a:lnTo>
                  <a:lnTo>
                    <a:pt x="380076" y="221814"/>
                  </a:lnTo>
                  <a:lnTo>
                    <a:pt x="378169" y="225194"/>
                  </a:lnTo>
                  <a:lnTo>
                    <a:pt x="377308" y="228927"/>
                  </a:lnTo>
                  <a:lnTo>
                    <a:pt x="377111" y="230850"/>
                  </a:lnTo>
                  <a:lnTo>
                    <a:pt x="377833" y="232239"/>
                  </a:lnTo>
                  <a:lnTo>
                    <a:pt x="379053" y="233769"/>
                  </a:lnTo>
                  <a:lnTo>
                    <a:pt x="379353" y="235094"/>
                  </a:lnTo>
                  <a:lnTo>
                    <a:pt x="381343" y="238049"/>
                  </a:lnTo>
                  <a:lnTo>
                    <a:pt x="381875" y="239879"/>
                  </a:lnTo>
                  <a:lnTo>
                    <a:pt x="382687" y="239938"/>
                  </a:lnTo>
                  <a:lnTo>
                    <a:pt x="383563" y="239336"/>
                  </a:lnTo>
                  <a:lnTo>
                    <a:pt x="385695" y="239295"/>
                  </a:lnTo>
                  <a:lnTo>
                    <a:pt x="387634" y="239938"/>
                  </a:lnTo>
                  <a:lnTo>
                    <a:pt x="389493" y="241291"/>
                  </a:lnTo>
                  <a:lnTo>
                    <a:pt x="391491" y="242014"/>
                  </a:lnTo>
                  <a:lnTo>
                    <a:pt x="394341" y="241832"/>
                  </a:lnTo>
                  <a:lnTo>
                    <a:pt x="395867" y="242557"/>
                  </a:lnTo>
                  <a:lnTo>
                    <a:pt x="397510" y="243152"/>
                  </a:lnTo>
                  <a:lnTo>
                    <a:pt x="400903" y="243359"/>
                  </a:lnTo>
                  <a:lnTo>
                    <a:pt x="403447" y="243348"/>
                  </a:lnTo>
                  <a:lnTo>
                    <a:pt x="407359" y="243371"/>
                  </a:lnTo>
                  <a:lnTo>
                    <a:pt x="410519" y="244280"/>
                  </a:lnTo>
                  <a:lnTo>
                    <a:pt x="416073" y="245000"/>
                  </a:lnTo>
                  <a:lnTo>
                    <a:pt x="419502" y="244944"/>
                  </a:lnTo>
                  <a:lnTo>
                    <a:pt x="424123" y="244267"/>
                  </a:lnTo>
                  <a:lnTo>
                    <a:pt x="426956" y="244693"/>
                  </a:lnTo>
                  <a:lnTo>
                    <a:pt x="435321" y="245704"/>
                  </a:lnTo>
                  <a:lnTo>
                    <a:pt x="440228" y="246761"/>
                  </a:lnTo>
                  <a:lnTo>
                    <a:pt x="443329" y="247949"/>
                  </a:lnTo>
                  <a:lnTo>
                    <a:pt x="445514" y="249834"/>
                  </a:lnTo>
                  <a:lnTo>
                    <a:pt x="448010" y="252771"/>
                  </a:lnTo>
                  <a:lnTo>
                    <a:pt x="449995" y="254114"/>
                  </a:lnTo>
                  <a:lnTo>
                    <a:pt x="455333" y="254925"/>
                  </a:lnTo>
                  <a:lnTo>
                    <a:pt x="458990" y="258346"/>
                  </a:lnTo>
                  <a:lnTo>
                    <a:pt x="461856" y="259623"/>
                  </a:lnTo>
                  <a:lnTo>
                    <a:pt x="466670" y="262929"/>
                  </a:lnTo>
                  <a:lnTo>
                    <a:pt x="470075" y="264219"/>
                  </a:lnTo>
                  <a:lnTo>
                    <a:pt x="474139" y="265410"/>
                  </a:lnTo>
                  <a:lnTo>
                    <a:pt x="480783" y="264904"/>
                  </a:lnTo>
                  <a:lnTo>
                    <a:pt x="481148" y="265353"/>
                  </a:lnTo>
                  <a:lnTo>
                    <a:pt x="480636" y="267146"/>
                  </a:lnTo>
                  <a:lnTo>
                    <a:pt x="480237" y="269599"/>
                  </a:lnTo>
                  <a:lnTo>
                    <a:pt x="480237" y="271374"/>
                  </a:lnTo>
                  <a:lnTo>
                    <a:pt x="480919" y="272278"/>
                  </a:lnTo>
                  <a:lnTo>
                    <a:pt x="483459" y="272813"/>
                  </a:lnTo>
                  <a:lnTo>
                    <a:pt x="484659" y="273685"/>
                  </a:lnTo>
                  <a:lnTo>
                    <a:pt x="485580" y="275354"/>
                  </a:lnTo>
                  <a:lnTo>
                    <a:pt x="486110" y="276398"/>
                  </a:lnTo>
                  <a:lnTo>
                    <a:pt x="488235" y="281515"/>
                  </a:lnTo>
                  <a:lnTo>
                    <a:pt x="491656" y="289067"/>
                  </a:lnTo>
                  <a:lnTo>
                    <a:pt x="492044" y="291962"/>
                  </a:lnTo>
                  <a:lnTo>
                    <a:pt x="493215" y="293829"/>
                  </a:lnTo>
                  <a:lnTo>
                    <a:pt x="496925" y="296790"/>
                  </a:lnTo>
                  <a:lnTo>
                    <a:pt x="498875" y="298979"/>
                  </a:lnTo>
                  <a:lnTo>
                    <a:pt x="501772" y="301278"/>
                  </a:lnTo>
                  <a:lnTo>
                    <a:pt x="502723" y="303403"/>
                  </a:lnTo>
                  <a:lnTo>
                    <a:pt x="502940" y="306146"/>
                  </a:lnTo>
                  <a:lnTo>
                    <a:pt x="503673" y="306852"/>
                  </a:lnTo>
                  <a:lnTo>
                    <a:pt x="508977" y="306224"/>
                  </a:lnTo>
                  <a:lnTo>
                    <a:pt x="513569" y="305786"/>
                  </a:lnTo>
                  <a:lnTo>
                    <a:pt x="521809" y="304995"/>
                  </a:lnTo>
                  <a:lnTo>
                    <a:pt x="533160" y="306426"/>
                  </a:lnTo>
                  <a:lnTo>
                    <a:pt x="544863" y="307810"/>
                  </a:lnTo>
                  <a:lnTo>
                    <a:pt x="555213" y="309033"/>
                  </a:lnTo>
                  <a:lnTo>
                    <a:pt x="560311" y="309634"/>
                  </a:lnTo>
                  <a:lnTo>
                    <a:pt x="571832" y="310916"/>
                  </a:lnTo>
                  <a:lnTo>
                    <a:pt x="578234" y="309281"/>
                  </a:lnTo>
                  <a:lnTo>
                    <a:pt x="583239" y="308001"/>
                  </a:lnTo>
                  <a:lnTo>
                    <a:pt x="585507" y="308177"/>
                  </a:lnTo>
                  <a:lnTo>
                    <a:pt x="595075" y="309618"/>
                  </a:lnTo>
                  <a:lnTo>
                    <a:pt x="600681" y="310393"/>
                  </a:lnTo>
                  <a:lnTo>
                    <a:pt x="607744" y="311366"/>
                  </a:lnTo>
                  <a:lnTo>
                    <a:pt x="612649" y="311725"/>
                  </a:lnTo>
                  <a:lnTo>
                    <a:pt x="616662" y="311701"/>
                  </a:lnTo>
                  <a:lnTo>
                    <a:pt x="618516" y="312108"/>
                  </a:lnTo>
                  <a:lnTo>
                    <a:pt x="620303" y="312734"/>
                  </a:lnTo>
                  <a:lnTo>
                    <a:pt x="621495" y="313647"/>
                  </a:lnTo>
                  <a:lnTo>
                    <a:pt x="625166" y="318269"/>
                  </a:lnTo>
                  <a:lnTo>
                    <a:pt x="627224" y="320304"/>
                  </a:lnTo>
                  <a:lnTo>
                    <a:pt x="631286" y="321840"/>
                  </a:lnTo>
                  <a:lnTo>
                    <a:pt x="640541" y="323595"/>
                  </a:lnTo>
                  <a:lnTo>
                    <a:pt x="645664" y="324659"/>
                  </a:lnTo>
                  <a:lnTo>
                    <a:pt x="651545" y="325882"/>
                  </a:lnTo>
                  <a:lnTo>
                    <a:pt x="655415" y="327724"/>
                  </a:lnTo>
                  <a:lnTo>
                    <a:pt x="659878" y="329864"/>
                  </a:lnTo>
                  <a:lnTo>
                    <a:pt x="665659" y="332635"/>
                  </a:lnTo>
                  <a:lnTo>
                    <a:pt x="671986" y="331425"/>
                  </a:lnTo>
                  <a:lnTo>
                    <a:pt x="678795" y="330122"/>
                  </a:lnTo>
                  <a:lnTo>
                    <a:pt x="683064" y="329304"/>
                  </a:lnTo>
                  <a:lnTo>
                    <a:pt x="683064" y="335087"/>
                  </a:lnTo>
                  <a:lnTo>
                    <a:pt x="689153" y="335551"/>
                  </a:lnTo>
                  <a:lnTo>
                    <a:pt x="691071" y="335482"/>
                  </a:lnTo>
                  <a:lnTo>
                    <a:pt x="693761" y="336759"/>
                  </a:lnTo>
                  <a:lnTo>
                    <a:pt x="695277" y="336219"/>
                  </a:lnTo>
                  <a:lnTo>
                    <a:pt x="696711" y="334966"/>
                  </a:lnTo>
                  <a:lnTo>
                    <a:pt x="698516" y="332986"/>
                  </a:lnTo>
                  <a:lnTo>
                    <a:pt x="701110" y="332116"/>
                  </a:lnTo>
                  <a:lnTo>
                    <a:pt x="705592" y="329894"/>
                  </a:lnTo>
                  <a:lnTo>
                    <a:pt x="706683" y="329354"/>
                  </a:lnTo>
                  <a:lnTo>
                    <a:pt x="713342" y="326200"/>
                  </a:lnTo>
                  <a:lnTo>
                    <a:pt x="723284" y="322306"/>
                  </a:lnTo>
                  <a:lnTo>
                    <a:pt x="727741" y="320418"/>
                  </a:lnTo>
                  <a:lnTo>
                    <a:pt x="729076" y="319998"/>
                  </a:lnTo>
                  <a:lnTo>
                    <a:pt x="731598" y="319034"/>
                  </a:lnTo>
                  <a:lnTo>
                    <a:pt x="733298" y="318365"/>
                  </a:lnTo>
                  <a:lnTo>
                    <a:pt x="736305" y="317828"/>
                  </a:lnTo>
                  <a:lnTo>
                    <a:pt x="740389" y="317492"/>
                  </a:lnTo>
                  <a:lnTo>
                    <a:pt x="744848" y="316753"/>
                  </a:lnTo>
                  <a:lnTo>
                    <a:pt x="754939" y="315375"/>
                  </a:lnTo>
                  <a:lnTo>
                    <a:pt x="756204" y="315245"/>
                  </a:lnTo>
                  <a:lnTo>
                    <a:pt x="761873" y="314677"/>
                  </a:lnTo>
                  <a:lnTo>
                    <a:pt x="764280" y="314141"/>
                  </a:lnTo>
                  <a:lnTo>
                    <a:pt x="767880" y="314422"/>
                  </a:lnTo>
                  <a:lnTo>
                    <a:pt x="772579" y="314621"/>
                  </a:lnTo>
                  <a:lnTo>
                    <a:pt x="775693" y="314972"/>
                  </a:lnTo>
                  <a:lnTo>
                    <a:pt x="779832" y="314696"/>
                  </a:lnTo>
                  <a:lnTo>
                    <a:pt x="785518" y="314320"/>
                  </a:lnTo>
                  <a:lnTo>
                    <a:pt x="790122" y="314379"/>
                  </a:lnTo>
                  <a:lnTo>
                    <a:pt x="792407" y="313910"/>
                  </a:lnTo>
                  <a:lnTo>
                    <a:pt x="795775" y="312454"/>
                  </a:lnTo>
                  <a:lnTo>
                    <a:pt x="798043" y="311300"/>
                  </a:lnTo>
                  <a:lnTo>
                    <a:pt x="801597" y="309900"/>
                  </a:lnTo>
                  <a:lnTo>
                    <a:pt x="806002" y="308449"/>
                  </a:lnTo>
                  <a:lnTo>
                    <a:pt x="809073" y="307129"/>
                  </a:lnTo>
                  <a:lnTo>
                    <a:pt x="811106" y="306254"/>
                  </a:lnTo>
                  <a:lnTo>
                    <a:pt x="813573" y="305426"/>
                  </a:lnTo>
                  <a:lnTo>
                    <a:pt x="814218" y="304359"/>
                  </a:lnTo>
                  <a:lnTo>
                    <a:pt x="814928" y="303542"/>
                  </a:lnTo>
                  <a:lnTo>
                    <a:pt x="816238" y="302173"/>
                  </a:lnTo>
                  <a:lnTo>
                    <a:pt x="818596" y="299622"/>
                  </a:lnTo>
                  <a:lnTo>
                    <a:pt x="820388" y="297387"/>
                  </a:lnTo>
                  <a:lnTo>
                    <a:pt x="821271" y="296397"/>
                  </a:lnTo>
                  <a:lnTo>
                    <a:pt x="823284" y="294162"/>
                  </a:lnTo>
                  <a:lnTo>
                    <a:pt x="824914" y="292475"/>
                  </a:lnTo>
                  <a:lnTo>
                    <a:pt x="826991" y="290204"/>
                  </a:lnTo>
                  <a:lnTo>
                    <a:pt x="828745" y="289468"/>
                  </a:lnTo>
                  <a:lnTo>
                    <a:pt x="830962" y="288843"/>
                  </a:lnTo>
                  <a:lnTo>
                    <a:pt x="836805" y="286612"/>
                  </a:lnTo>
                  <a:lnTo>
                    <a:pt x="837965" y="286131"/>
                  </a:lnTo>
                  <a:lnTo>
                    <a:pt x="838935" y="286036"/>
                  </a:lnTo>
                  <a:lnTo>
                    <a:pt x="841001" y="284234"/>
                  </a:lnTo>
                  <a:lnTo>
                    <a:pt x="842746" y="282672"/>
                  </a:lnTo>
                  <a:lnTo>
                    <a:pt x="843882" y="281500"/>
                  </a:lnTo>
                  <a:lnTo>
                    <a:pt x="846248" y="281080"/>
                  </a:lnTo>
                  <a:lnTo>
                    <a:pt x="847466" y="280237"/>
                  </a:lnTo>
                  <a:lnTo>
                    <a:pt x="847680" y="279130"/>
                  </a:lnTo>
                  <a:lnTo>
                    <a:pt x="847434" y="277442"/>
                  </a:lnTo>
                  <a:lnTo>
                    <a:pt x="846296" y="275714"/>
                  </a:lnTo>
                  <a:lnTo>
                    <a:pt x="845337" y="274207"/>
                  </a:lnTo>
                  <a:lnTo>
                    <a:pt x="841952" y="271326"/>
                  </a:lnTo>
                  <a:lnTo>
                    <a:pt x="840157" y="269539"/>
                  </a:lnTo>
                  <a:lnTo>
                    <a:pt x="838324" y="267241"/>
                  </a:lnTo>
                  <a:lnTo>
                    <a:pt x="837583" y="265079"/>
                  </a:lnTo>
                  <a:lnTo>
                    <a:pt x="836330" y="263702"/>
                  </a:lnTo>
                  <a:lnTo>
                    <a:pt x="835726" y="262482"/>
                  </a:lnTo>
                  <a:lnTo>
                    <a:pt x="835918" y="261072"/>
                  </a:lnTo>
                  <a:lnTo>
                    <a:pt x="837654" y="258561"/>
                  </a:lnTo>
                  <a:lnTo>
                    <a:pt x="838214" y="256976"/>
                  </a:lnTo>
                  <a:lnTo>
                    <a:pt x="838937" y="254169"/>
                  </a:lnTo>
                  <a:lnTo>
                    <a:pt x="840569" y="249964"/>
                  </a:lnTo>
                  <a:lnTo>
                    <a:pt x="841900" y="247998"/>
                  </a:lnTo>
                  <a:lnTo>
                    <a:pt x="843439" y="246076"/>
                  </a:lnTo>
                  <a:lnTo>
                    <a:pt x="846689" y="243493"/>
                  </a:lnTo>
                  <a:lnTo>
                    <a:pt x="849664" y="243012"/>
                  </a:lnTo>
                  <a:lnTo>
                    <a:pt x="851439" y="243523"/>
                  </a:lnTo>
                  <a:lnTo>
                    <a:pt x="855402" y="243520"/>
                  </a:lnTo>
                  <a:lnTo>
                    <a:pt x="858039" y="243653"/>
                  </a:lnTo>
                  <a:lnTo>
                    <a:pt x="859985" y="244945"/>
                  </a:lnTo>
                  <a:lnTo>
                    <a:pt x="862139" y="247493"/>
                  </a:lnTo>
                  <a:lnTo>
                    <a:pt x="864571" y="248428"/>
                  </a:lnTo>
                  <a:lnTo>
                    <a:pt x="872148" y="250422"/>
                  </a:lnTo>
                  <a:lnTo>
                    <a:pt x="875391" y="250846"/>
                  </a:lnTo>
                  <a:lnTo>
                    <a:pt x="877711" y="250933"/>
                  </a:lnTo>
                  <a:lnTo>
                    <a:pt x="881131" y="251593"/>
                  </a:lnTo>
                  <a:lnTo>
                    <a:pt x="882286" y="251732"/>
                  </a:lnTo>
                  <a:lnTo>
                    <a:pt x="884036" y="252185"/>
                  </a:lnTo>
                  <a:lnTo>
                    <a:pt x="885487" y="251701"/>
                  </a:lnTo>
                  <a:lnTo>
                    <a:pt x="887687" y="249998"/>
                  </a:lnTo>
                  <a:lnTo>
                    <a:pt x="890449" y="248080"/>
                  </a:lnTo>
                  <a:lnTo>
                    <a:pt x="891638" y="247640"/>
                  </a:lnTo>
                  <a:lnTo>
                    <a:pt x="893837" y="246813"/>
                  </a:lnTo>
                  <a:lnTo>
                    <a:pt x="894943" y="246033"/>
                  </a:lnTo>
                  <a:lnTo>
                    <a:pt x="896869" y="243881"/>
                  </a:lnTo>
                  <a:lnTo>
                    <a:pt x="899382" y="242211"/>
                  </a:lnTo>
                  <a:lnTo>
                    <a:pt x="902435" y="239701"/>
                  </a:lnTo>
                  <a:lnTo>
                    <a:pt x="903943" y="237807"/>
                  </a:lnTo>
                  <a:lnTo>
                    <a:pt x="904273" y="236585"/>
                  </a:lnTo>
                  <a:lnTo>
                    <a:pt x="904604" y="235260"/>
                  </a:lnTo>
                  <a:lnTo>
                    <a:pt x="905554" y="234564"/>
                  </a:lnTo>
                  <a:lnTo>
                    <a:pt x="907415" y="233924"/>
                  </a:lnTo>
                  <a:lnTo>
                    <a:pt x="909503" y="233750"/>
                  </a:lnTo>
                  <a:lnTo>
                    <a:pt x="913494" y="234885"/>
                  </a:lnTo>
                  <a:lnTo>
                    <a:pt x="918876" y="234557"/>
                  </a:lnTo>
                  <a:lnTo>
                    <a:pt x="920089" y="234393"/>
                  </a:lnTo>
                  <a:lnTo>
                    <a:pt x="924997" y="233741"/>
                  </a:lnTo>
                  <a:lnTo>
                    <a:pt x="927208" y="233204"/>
                  </a:lnTo>
                  <a:lnTo>
                    <a:pt x="930339" y="232690"/>
                  </a:lnTo>
                  <a:lnTo>
                    <a:pt x="932730" y="230586"/>
                  </a:lnTo>
                  <a:lnTo>
                    <a:pt x="935937" y="228074"/>
                  </a:lnTo>
                  <a:lnTo>
                    <a:pt x="938267" y="226677"/>
                  </a:lnTo>
                  <a:lnTo>
                    <a:pt x="939822" y="226409"/>
                  </a:lnTo>
                  <a:lnTo>
                    <a:pt x="941763" y="224959"/>
                  </a:lnTo>
                  <a:lnTo>
                    <a:pt x="942713" y="223399"/>
                  </a:lnTo>
                  <a:lnTo>
                    <a:pt x="942458" y="222028"/>
                  </a:lnTo>
                  <a:lnTo>
                    <a:pt x="942101" y="220892"/>
                  </a:lnTo>
                  <a:lnTo>
                    <a:pt x="943242" y="218792"/>
                  </a:lnTo>
                  <a:lnTo>
                    <a:pt x="945300" y="215103"/>
                  </a:lnTo>
                  <a:lnTo>
                    <a:pt x="947228" y="213383"/>
                  </a:lnTo>
                  <a:lnTo>
                    <a:pt x="948817" y="211991"/>
                  </a:lnTo>
                  <a:lnTo>
                    <a:pt x="949832" y="209757"/>
                  </a:lnTo>
                  <a:lnTo>
                    <a:pt x="951087" y="209111"/>
                  </a:lnTo>
                  <a:lnTo>
                    <a:pt x="952624" y="208865"/>
                  </a:lnTo>
                  <a:lnTo>
                    <a:pt x="954794" y="207349"/>
                  </a:lnTo>
                  <a:lnTo>
                    <a:pt x="956388" y="207037"/>
                  </a:lnTo>
                  <a:lnTo>
                    <a:pt x="959035" y="207762"/>
                  </a:lnTo>
                  <a:lnTo>
                    <a:pt x="962953" y="207948"/>
                  </a:lnTo>
                  <a:lnTo>
                    <a:pt x="965453" y="208026"/>
                  </a:lnTo>
                  <a:lnTo>
                    <a:pt x="966876" y="207756"/>
                  </a:lnTo>
                  <a:lnTo>
                    <a:pt x="967397" y="206943"/>
                  </a:lnTo>
                  <a:lnTo>
                    <a:pt x="967383" y="205685"/>
                  </a:lnTo>
                  <a:lnTo>
                    <a:pt x="968176" y="202884"/>
                  </a:lnTo>
                  <a:lnTo>
                    <a:pt x="968472" y="201959"/>
                  </a:lnTo>
                  <a:lnTo>
                    <a:pt x="969191" y="201533"/>
                  </a:lnTo>
                  <a:lnTo>
                    <a:pt x="971596" y="201476"/>
                  </a:lnTo>
                  <a:lnTo>
                    <a:pt x="973224" y="202484"/>
                  </a:lnTo>
                  <a:lnTo>
                    <a:pt x="974343" y="203315"/>
                  </a:lnTo>
                  <a:lnTo>
                    <a:pt x="975894" y="203423"/>
                  </a:lnTo>
                  <a:lnTo>
                    <a:pt x="977492" y="202881"/>
                  </a:lnTo>
                  <a:lnTo>
                    <a:pt x="979635" y="200613"/>
                  </a:lnTo>
                  <a:lnTo>
                    <a:pt x="983193" y="199299"/>
                  </a:lnTo>
                  <a:lnTo>
                    <a:pt x="985084" y="198966"/>
                  </a:lnTo>
                  <a:lnTo>
                    <a:pt x="988442" y="197896"/>
                  </a:lnTo>
                  <a:lnTo>
                    <a:pt x="990558" y="198281"/>
                  </a:lnTo>
                  <a:lnTo>
                    <a:pt x="994452" y="198595"/>
                  </a:lnTo>
                  <a:lnTo>
                    <a:pt x="995961" y="198324"/>
                  </a:lnTo>
                  <a:lnTo>
                    <a:pt x="997602" y="198595"/>
                  </a:lnTo>
                  <a:lnTo>
                    <a:pt x="999092" y="197060"/>
                  </a:lnTo>
                  <a:lnTo>
                    <a:pt x="1000278" y="196694"/>
                  </a:lnTo>
                  <a:lnTo>
                    <a:pt x="1002781" y="197400"/>
                  </a:lnTo>
                  <a:lnTo>
                    <a:pt x="1004359" y="198587"/>
                  </a:lnTo>
                  <a:lnTo>
                    <a:pt x="1007313" y="200075"/>
                  </a:lnTo>
                  <a:lnTo>
                    <a:pt x="1011066" y="200766"/>
                  </a:lnTo>
                  <a:lnTo>
                    <a:pt x="1014210" y="200409"/>
                  </a:lnTo>
                  <a:lnTo>
                    <a:pt x="1017442" y="201040"/>
                  </a:lnTo>
                  <a:lnTo>
                    <a:pt x="1019354" y="200983"/>
                  </a:lnTo>
                  <a:lnTo>
                    <a:pt x="1020256" y="200394"/>
                  </a:lnTo>
                  <a:lnTo>
                    <a:pt x="1022903" y="199144"/>
                  </a:lnTo>
                  <a:lnTo>
                    <a:pt x="1023538" y="197455"/>
                  </a:lnTo>
                  <a:lnTo>
                    <a:pt x="1023279" y="195824"/>
                  </a:lnTo>
                  <a:lnTo>
                    <a:pt x="1023582" y="193976"/>
                  </a:lnTo>
                  <a:lnTo>
                    <a:pt x="1022804" y="192616"/>
                  </a:lnTo>
                  <a:lnTo>
                    <a:pt x="1021163" y="190602"/>
                  </a:lnTo>
                  <a:lnTo>
                    <a:pt x="1020531" y="189257"/>
                  </a:lnTo>
                  <a:lnTo>
                    <a:pt x="1020472" y="187496"/>
                  </a:lnTo>
                  <a:lnTo>
                    <a:pt x="1019453" y="185820"/>
                  </a:lnTo>
                  <a:lnTo>
                    <a:pt x="1017000" y="183794"/>
                  </a:lnTo>
                  <a:lnTo>
                    <a:pt x="1015381" y="182858"/>
                  </a:lnTo>
                  <a:lnTo>
                    <a:pt x="1012057" y="179359"/>
                  </a:lnTo>
                  <a:lnTo>
                    <a:pt x="1010936" y="178538"/>
                  </a:lnTo>
                  <a:lnTo>
                    <a:pt x="1010552" y="177962"/>
                  </a:lnTo>
                  <a:lnTo>
                    <a:pt x="1010158" y="176785"/>
                  </a:lnTo>
                  <a:lnTo>
                    <a:pt x="1008930" y="176226"/>
                  </a:lnTo>
                  <a:lnTo>
                    <a:pt x="1007319" y="175311"/>
                  </a:lnTo>
                  <a:lnTo>
                    <a:pt x="1006447" y="174376"/>
                  </a:lnTo>
                  <a:lnTo>
                    <a:pt x="1005879" y="172754"/>
                  </a:lnTo>
                  <a:lnTo>
                    <a:pt x="1005540" y="171689"/>
                  </a:lnTo>
                  <a:lnTo>
                    <a:pt x="1004117" y="170812"/>
                  </a:lnTo>
                  <a:lnTo>
                    <a:pt x="1002691" y="170318"/>
                  </a:lnTo>
                  <a:lnTo>
                    <a:pt x="1001081" y="169694"/>
                  </a:lnTo>
                  <a:lnTo>
                    <a:pt x="998420" y="168779"/>
                  </a:lnTo>
                  <a:lnTo>
                    <a:pt x="996886" y="166959"/>
                  </a:lnTo>
                  <a:lnTo>
                    <a:pt x="994171" y="163550"/>
                  </a:lnTo>
                  <a:lnTo>
                    <a:pt x="992638" y="162401"/>
                  </a:lnTo>
                  <a:lnTo>
                    <a:pt x="986915" y="161963"/>
                  </a:lnTo>
                  <a:lnTo>
                    <a:pt x="984868" y="161133"/>
                  </a:lnTo>
                  <a:lnTo>
                    <a:pt x="982542" y="161415"/>
                  </a:lnTo>
                  <a:lnTo>
                    <a:pt x="981156" y="161960"/>
                  </a:lnTo>
                  <a:lnTo>
                    <a:pt x="978087" y="161953"/>
                  </a:lnTo>
                  <a:lnTo>
                    <a:pt x="976494" y="162291"/>
                  </a:lnTo>
                  <a:lnTo>
                    <a:pt x="974466" y="164535"/>
                  </a:lnTo>
                  <a:lnTo>
                    <a:pt x="971784" y="167454"/>
                  </a:lnTo>
                  <a:lnTo>
                    <a:pt x="969566" y="169237"/>
                  </a:lnTo>
                  <a:lnTo>
                    <a:pt x="967995" y="171082"/>
                  </a:lnTo>
                  <a:lnTo>
                    <a:pt x="967260" y="171744"/>
                  </a:lnTo>
                  <a:lnTo>
                    <a:pt x="965826" y="171346"/>
                  </a:lnTo>
                  <a:lnTo>
                    <a:pt x="963862" y="169267"/>
                  </a:lnTo>
                  <a:lnTo>
                    <a:pt x="961046" y="167406"/>
                  </a:lnTo>
                  <a:lnTo>
                    <a:pt x="958435" y="166556"/>
                  </a:lnTo>
                  <a:lnTo>
                    <a:pt x="957319" y="166091"/>
                  </a:lnTo>
                  <a:lnTo>
                    <a:pt x="954209" y="165621"/>
                  </a:lnTo>
                  <a:lnTo>
                    <a:pt x="951808" y="165769"/>
                  </a:lnTo>
                  <a:lnTo>
                    <a:pt x="948746" y="166472"/>
                  </a:lnTo>
                  <a:lnTo>
                    <a:pt x="945755" y="166346"/>
                  </a:lnTo>
                  <a:lnTo>
                    <a:pt x="944405" y="165900"/>
                  </a:lnTo>
                  <a:lnTo>
                    <a:pt x="942504" y="165947"/>
                  </a:lnTo>
                  <a:lnTo>
                    <a:pt x="939046" y="167880"/>
                  </a:lnTo>
                  <a:lnTo>
                    <a:pt x="937256" y="170081"/>
                  </a:lnTo>
                  <a:lnTo>
                    <a:pt x="935142" y="170768"/>
                  </a:lnTo>
                  <a:lnTo>
                    <a:pt x="933228" y="169324"/>
                  </a:lnTo>
                  <a:lnTo>
                    <a:pt x="931017" y="167616"/>
                  </a:lnTo>
                  <a:lnTo>
                    <a:pt x="928910" y="165479"/>
                  </a:lnTo>
                  <a:lnTo>
                    <a:pt x="927610" y="163500"/>
                  </a:lnTo>
                  <a:lnTo>
                    <a:pt x="926891" y="158254"/>
                  </a:lnTo>
                  <a:lnTo>
                    <a:pt x="929419" y="156689"/>
                  </a:lnTo>
                  <a:lnTo>
                    <a:pt x="932650" y="154936"/>
                  </a:lnTo>
                  <a:lnTo>
                    <a:pt x="932894" y="152159"/>
                  </a:lnTo>
                  <a:lnTo>
                    <a:pt x="932786" y="149058"/>
                  </a:lnTo>
                  <a:lnTo>
                    <a:pt x="933423" y="145610"/>
                  </a:lnTo>
                  <a:lnTo>
                    <a:pt x="936371" y="142424"/>
                  </a:lnTo>
                  <a:lnTo>
                    <a:pt x="937956" y="139781"/>
                  </a:lnTo>
                  <a:lnTo>
                    <a:pt x="938152" y="138136"/>
                  </a:lnTo>
                  <a:lnTo>
                    <a:pt x="939564" y="135397"/>
                  </a:lnTo>
                  <a:lnTo>
                    <a:pt x="940922" y="132507"/>
                  </a:lnTo>
                  <a:lnTo>
                    <a:pt x="942773" y="128710"/>
                  </a:lnTo>
                  <a:lnTo>
                    <a:pt x="946284" y="121958"/>
                  </a:lnTo>
                  <a:lnTo>
                    <a:pt x="950433" y="113959"/>
                  </a:lnTo>
                  <a:lnTo>
                    <a:pt x="952501" y="109959"/>
                  </a:lnTo>
                  <a:lnTo>
                    <a:pt x="957048" y="112434"/>
                  </a:lnTo>
                  <a:lnTo>
                    <a:pt x="959983" y="113724"/>
                  </a:lnTo>
                  <a:lnTo>
                    <a:pt x="964935" y="115682"/>
                  </a:lnTo>
                  <a:lnTo>
                    <a:pt x="970055" y="116126"/>
                  </a:lnTo>
                  <a:lnTo>
                    <a:pt x="974948" y="118239"/>
                  </a:lnTo>
                  <a:lnTo>
                    <a:pt x="977472" y="118880"/>
                  </a:lnTo>
                  <a:lnTo>
                    <a:pt x="978818" y="118881"/>
                  </a:lnTo>
                  <a:lnTo>
                    <a:pt x="985743" y="113730"/>
                  </a:lnTo>
                  <a:lnTo>
                    <a:pt x="991601" y="109362"/>
                  </a:lnTo>
                  <a:lnTo>
                    <a:pt x="998332" y="105950"/>
                  </a:lnTo>
                  <a:lnTo>
                    <a:pt x="1003275" y="105487"/>
                  </a:lnTo>
                  <a:lnTo>
                    <a:pt x="1006989" y="104491"/>
                  </a:lnTo>
                  <a:lnTo>
                    <a:pt x="1009475" y="102960"/>
                  </a:lnTo>
                  <a:lnTo>
                    <a:pt x="1010938" y="100401"/>
                  </a:lnTo>
                  <a:lnTo>
                    <a:pt x="1011385" y="96812"/>
                  </a:lnTo>
                  <a:lnTo>
                    <a:pt x="1010396" y="94640"/>
                  </a:lnTo>
                  <a:lnTo>
                    <a:pt x="1007972" y="93889"/>
                  </a:lnTo>
                  <a:lnTo>
                    <a:pt x="1007348" y="93130"/>
                  </a:lnTo>
                  <a:lnTo>
                    <a:pt x="1008520" y="92361"/>
                  </a:lnTo>
                  <a:lnTo>
                    <a:pt x="1009386" y="90861"/>
                  </a:lnTo>
                  <a:lnTo>
                    <a:pt x="1009934" y="88631"/>
                  </a:lnTo>
                  <a:lnTo>
                    <a:pt x="1011336" y="86511"/>
                  </a:lnTo>
                  <a:lnTo>
                    <a:pt x="1013584" y="84506"/>
                  </a:lnTo>
                  <a:lnTo>
                    <a:pt x="1014823" y="82280"/>
                  </a:lnTo>
                  <a:lnTo>
                    <a:pt x="1015056" y="79835"/>
                  </a:lnTo>
                  <a:lnTo>
                    <a:pt x="1016408" y="77395"/>
                  </a:lnTo>
                  <a:lnTo>
                    <a:pt x="1018874" y="74960"/>
                  </a:lnTo>
                  <a:lnTo>
                    <a:pt x="1020224" y="72692"/>
                  </a:lnTo>
                  <a:lnTo>
                    <a:pt x="1020459" y="70592"/>
                  </a:lnTo>
                  <a:lnTo>
                    <a:pt x="1021710" y="68028"/>
                  </a:lnTo>
                  <a:lnTo>
                    <a:pt x="1025111" y="63479"/>
                  </a:lnTo>
                  <a:lnTo>
                    <a:pt x="1027319" y="58230"/>
                  </a:lnTo>
                  <a:lnTo>
                    <a:pt x="1031081" y="54628"/>
                  </a:lnTo>
                  <a:lnTo>
                    <a:pt x="1037130" y="50926"/>
                  </a:lnTo>
                  <a:lnTo>
                    <a:pt x="1040908" y="47249"/>
                  </a:lnTo>
                  <a:lnTo>
                    <a:pt x="1042420" y="43596"/>
                  </a:lnTo>
                  <a:lnTo>
                    <a:pt x="1042304" y="40368"/>
                  </a:lnTo>
                  <a:lnTo>
                    <a:pt x="1040554" y="37567"/>
                  </a:lnTo>
                  <a:lnTo>
                    <a:pt x="1040222" y="34716"/>
                  </a:lnTo>
                  <a:lnTo>
                    <a:pt x="1041301" y="31811"/>
                  </a:lnTo>
                  <a:lnTo>
                    <a:pt x="1040350" y="29637"/>
                  </a:lnTo>
                  <a:lnTo>
                    <a:pt x="1037363" y="28195"/>
                  </a:lnTo>
                  <a:lnTo>
                    <a:pt x="1033802" y="27839"/>
                  </a:lnTo>
                  <a:lnTo>
                    <a:pt x="1029660" y="28569"/>
                  </a:lnTo>
                  <a:lnTo>
                    <a:pt x="1027335" y="27663"/>
                  </a:lnTo>
                  <a:lnTo>
                    <a:pt x="1026821" y="25119"/>
                  </a:lnTo>
                  <a:lnTo>
                    <a:pt x="1027931" y="23059"/>
                  </a:lnTo>
                  <a:lnTo>
                    <a:pt x="1030664" y="21486"/>
                  </a:lnTo>
                  <a:lnTo>
                    <a:pt x="1035156" y="17652"/>
                  </a:lnTo>
                  <a:lnTo>
                    <a:pt x="1041409" y="11546"/>
                  </a:lnTo>
                  <a:lnTo>
                    <a:pt x="1047630" y="8160"/>
                  </a:lnTo>
                  <a:lnTo>
                    <a:pt x="1056918" y="7184"/>
                  </a:lnTo>
                  <a:lnTo>
                    <a:pt x="1064402" y="5182"/>
                  </a:lnTo>
                  <a:lnTo>
                    <a:pt x="1072030" y="3139"/>
                  </a:lnTo>
                  <a:lnTo>
                    <a:pt x="1077533" y="2128"/>
                  </a:lnTo>
                  <a:lnTo>
                    <a:pt x="1078471" y="2806"/>
                  </a:lnTo>
                  <a:lnTo>
                    <a:pt x="1081470" y="2973"/>
                  </a:lnTo>
                  <a:lnTo>
                    <a:pt x="1086532" y="2625"/>
                  </a:lnTo>
                  <a:lnTo>
                    <a:pt x="1091239" y="1746"/>
                  </a:lnTo>
                  <a:lnTo>
                    <a:pt x="1095584" y="333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91" name="ee4p_CY_1_82333">
              <a:extLst>
                <a:ext uri="{FF2B5EF4-FFF2-40B4-BE49-F238E27FC236}">
                  <a16:creationId xmlns:a16="http://schemas.microsoft.com/office/drawing/2014/main" id="{694A87B1-4448-246F-BBFD-9B2985B87B83}"/>
                </a:ext>
              </a:extLst>
            </p:cNvPr>
            <p:cNvSpPr>
              <a:spLocks noChangeAspect="1"/>
            </p:cNvSpPr>
            <p:nvPr>
              <p:custDataLst>
                <p:tags r:id="rId19"/>
              </p:custDataLst>
            </p:nvPr>
          </p:nvSpPr>
          <p:spPr>
            <a:xfrm>
              <a:off x="7411678" y="3613659"/>
              <a:ext cx="62621" cy="35325"/>
            </a:xfrm>
            <a:custGeom>
              <a:avLst/>
              <a:gdLst>
                <a:gd name="connsiteX0" fmla="*/ 49864 w 49864"/>
                <a:gd name="connsiteY0" fmla="*/ 0 h 27383"/>
                <a:gd name="connsiteX1" fmla="*/ 47811 w 49864"/>
                <a:gd name="connsiteY1" fmla="*/ 1725 h 27383"/>
                <a:gd name="connsiteX2" fmla="*/ 36286 w 49864"/>
                <a:gd name="connsiteY2" fmla="*/ 9300 h 27383"/>
                <a:gd name="connsiteX3" fmla="*/ 35532 w 49864"/>
                <a:gd name="connsiteY3" fmla="*/ 11549 h 27383"/>
                <a:gd name="connsiteX4" fmla="*/ 36049 w 49864"/>
                <a:gd name="connsiteY4" fmla="*/ 13104 h 27383"/>
                <a:gd name="connsiteX5" fmla="*/ 37668 w 49864"/>
                <a:gd name="connsiteY5" fmla="*/ 14987 h 27383"/>
                <a:gd name="connsiteX6" fmla="*/ 38091 w 49864"/>
                <a:gd name="connsiteY6" fmla="*/ 15480 h 27383"/>
                <a:gd name="connsiteX7" fmla="*/ 38679 w 49864"/>
                <a:gd name="connsiteY7" fmla="*/ 16912 h 27383"/>
                <a:gd name="connsiteX8" fmla="*/ 36165 w 49864"/>
                <a:gd name="connsiteY8" fmla="*/ 17336 h 27383"/>
                <a:gd name="connsiteX9" fmla="*/ 33643 w 49864"/>
                <a:gd name="connsiteY9" fmla="*/ 17475 h 27383"/>
                <a:gd name="connsiteX10" fmla="*/ 32240 w 49864"/>
                <a:gd name="connsiteY10" fmla="*/ 17291 h 27383"/>
                <a:gd name="connsiteX11" fmla="*/ 30922 w 49864"/>
                <a:gd name="connsiteY11" fmla="*/ 17376 h 27383"/>
                <a:gd name="connsiteX12" fmla="*/ 26832 w 49864"/>
                <a:gd name="connsiteY12" fmla="*/ 21465 h 27383"/>
                <a:gd name="connsiteX13" fmla="*/ 24632 w 49864"/>
                <a:gd name="connsiteY13" fmla="*/ 22855 h 27383"/>
                <a:gd name="connsiteX14" fmla="*/ 22015 w 49864"/>
                <a:gd name="connsiteY14" fmla="*/ 23683 h 27383"/>
                <a:gd name="connsiteX15" fmla="*/ 19350 w 49864"/>
                <a:gd name="connsiteY15" fmla="*/ 24175 h 27383"/>
                <a:gd name="connsiteX16" fmla="*/ 18011 w 49864"/>
                <a:gd name="connsiteY16" fmla="*/ 24237 h 27383"/>
                <a:gd name="connsiteX17" fmla="*/ 16834 w 49864"/>
                <a:gd name="connsiteY17" fmla="*/ 24756 h 27383"/>
                <a:gd name="connsiteX18" fmla="*/ 16007 w 49864"/>
                <a:gd name="connsiteY18" fmla="*/ 25702 h 27383"/>
                <a:gd name="connsiteX19" fmla="*/ 15986 w 49864"/>
                <a:gd name="connsiteY19" fmla="*/ 26624 h 27383"/>
                <a:gd name="connsiteX20" fmla="*/ 15632 w 49864"/>
                <a:gd name="connsiteY20" fmla="*/ 27383 h 27383"/>
                <a:gd name="connsiteX21" fmla="*/ 14170 w 49864"/>
                <a:gd name="connsiteY21" fmla="*/ 27226 h 27383"/>
                <a:gd name="connsiteX22" fmla="*/ 13561 w 49864"/>
                <a:gd name="connsiteY22" fmla="*/ 25737 h 27383"/>
                <a:gd name="connsiteX23" fmla="*/ 12520 w 49864"/>
                <a:gd name="connsiteY23" fmla="*/ 25097 h 27383"/>
                <a:gd name="connsiteX24" fmla="*/ 9931 w 49864"/>
                <a:gd name="connsiteY24" fmla="*/ 25430 h 27383"/>
                <a:gd name="connsiteX25" fmla="*/ 8668 w 49864"/>
                <a:gd name="connsiteY25" fmla="*/ 25391 h 27383"/>
                <a:gd name="connsiteX26" fmla="*/ 4524 w 49864"/>
                <a:gd name="connsiteY26" fmla="*/ 23970 h 27383"/>
                <a:gd name="connsiteX27" fmla="*/ 3273 w 49864"/>
                <a:gd name="connsiteY27" fmla="*/ 23390 h 27383"/>
                <a:gd name="connsiteX28" fmla="*/ 2494 w 49864"/>
                <a:gd name="connsiteY28" fmla="*/ 22176 h 27383"/>
                <a:gd name="connsiteX29" fmla="*/ 358 w 49864"/>
                <a:gd name="connsiteY29" fmla="*/ 17790 h 27383"/>
                <a:gd name="connsiteX30" fmla="*/ 0 w 49864"/>
                <a:gd name="connsiteY30" fmla="*/ 14543 h 27383"/>
                <a:gd name="connsiteX31" fmla="*/ 1989 w 49864"/>
                <a:gd name="connsiteY31" fmla="*/ 15374 h 27383"/>
                <a:gd name="connsiteX32" fmla="*/ 3848 w 49864"/>
                <a:gd name="connsiteY32" fmla="*/ 14367 h 27383"/>
                <a:gd name="connsiteX33" fmla="*/ 5638 w 49864"/>
                <a:gd name="connsiteY33" fmla="*/ 12718 h 27383"/>
                <a:gd name="connsiteX34" fmla="*/ 7769 w 49864"/>
                <a:gd name="connsiteY34" fmla="*/ 12044 h 27383"/>
                <a:gd name="connsiteX35" fmla="*/ 9104 w 49864"/>
                <a:gd name="connsiteY35" fmla="*/ 12335 h 27383"/>
                <a:gd name="connsiteX36" fmla="*/ 10423 w 49864"/>
                <a:gd name="connsiteY36" fmla="*/ 12623 h 27383"/>
                <a:gd name="connsiteX37" fmla="*/ 12800 w 49864"/>
                <a:gd name="connsiteY37" fmla="*/ 12096 h 27383"/>
                <a:gd name="connsiteX38" fmla="*/ 13829 w 49864"/>
                <a:gd name="connsiteY38" fmla="*/ 9650 h 27383"/>
                <a:gd name="connsiteX39" fmla="*/ 14165 w 49864"/>
                <a:gd name="connsiteY39" fmla="*/ 6829 h 27383"/>
                <a:gd name="connsiteX40" fmla="*/ 18186 w 49864"/>
                <a:gd name="connsiteY40" fmla="*/ 7639 h 27383"/>
                <a:gd name="connsiteX41" fmla="*/ 22263 w 49864"/>
                <a:gd name="connsiteY41" fmla="*/ 8058 h 27383"/>
                <a:gd name="connsiteX42" fmla="*/ 25602 w 49864"/>
                <a:gd name="connsiteY42" fmla="*/ 8199 h 27383"/>
                <a:gd name="connsiteX43" fmla="*/ 28892 w 49864"/>
                <a:gd name="connsiteY43" fmla="*/ 7740 h 27383"/>
                <a:gd name="connsiteX44" fmla="*/ 38972 w 49864"/>
                <a:gd name="connsiteY44" fmla="*/ 4730 h 27383"/>
                <a:gd name="connsiteX45" fmla="*/ 41825 w 49864"/>
                <a:gd name="connsiteY45" fmla="*/ 2927 h 27383"/>
                <a:gd name="connsiteX46" fmla="*/ 43591 w 49864"/>
                <a:gd name="connsiteY46" fmla="*/ 2317 h 27383"/>
                <a:gd name="connsiteX47" fmla="*/ 46660 w 49864"/>
                <a:gd name="connsiteY47" fmla="*/ 825 h 273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49864" h="27383">
                  <a:moveTo>
                    <a:pt x="49864" y="0"/>
                  </a:moveTo>
                  <a:lnTo>
                    <a:pt x="47811" y="1725"/>
                  </a:lnTo>
                  <a:lnTo>
                    <a:pt x="36286" y="9300"/>
                  </a:lnTo>
                  <a:lnTo>
                    <a:pt x="35532" y="11549"/>
                  </a:lnTo>
                  <a:lnTo>
                    <a:pt x="36049" y="13104"/>
                  </a:lnTo>
                  <a:lnTo>
                    <a:pt x="37668" y="14987"/>
                  </a:lnTo>
                  <a:lnTo>
                    <a:pt x="38091" y="15480"/>
                  </a:lnTo>
                  <a:lnTo>
                    <a:pt x="38679" y="16912"/>
                  </a:lnTo>
                  <a:lnTo>
                    <a:pt x="36165" y="17336"/>
                  </a:lnTo>
                  <a:lnTo>
                    <a:pt x="33643" y="17475"/>
                  </a:lnTo>
                  <a:lnTo>
                    <a:pt x="32240" y="17291"/>
                  </a:lnTo>
                  <a:lnTo>
                    <a:pt x="30922" y="17376"/>
                  </a:lnTo>
                  <a:lnTo>
                    <a:pt x="26832" y="21465"/>
                  </a:lnTo>
                  <a:lnTo>
                    <a:pt x="24632" y="22855"/>
                  </a:lnTo>
                  <a:lnTo>
                    <a:pt x="22015" y="23683"/>
                  </a:lnTo>
                  <a:lnTo>
                    <a:pt x="19350" y="24175"/>
                  </a:lnTo>
                  <a:lnTo>
                    <a:pt x="18011" y="24237"/>
                  </a:lnTo>
                  <a:lnTo>
                    <a:pt x="16834" y="24756"/>
                  </a:lnTo>
                  <a:lnTo>
                    <a:pt x="16007" y="25702"/>
                  </a:lnTo>
                  <a:lnTo>
                    <a:pt x="15986" y="26624"/>
                  </a:lnTo>
                  <a:lnTo>
                    <a:pt x="15632" y="27383"/>
                  </a:lnTo>
                  <a:lnTo>
                    <a:pt x="14170" y="27226"/>
                  </a:lnTo>
                  <a:lnTo>
                    <a:pt x="13561" y="25737"/>
                  </a:lnTo>
                  <a:lnTo>
                    <a:pt x="12520" y="25097"/>
                  </a:lnTo>
                  <a:lnTo>
                    <a:pt x="9931" y="25430"/>
                  </a:lnTo>
                  <a:lnTo>
                    <a:pt x="8668" y="25391"/>
                  </a:lnTo>
                  <a:lnTo>
                    <a:pt x="4524" y="23970"/>
                  </a:lnTo>
                  <a:lnTo>
                    <a:pt x="3273" y="23390"/>
                  </a:lnTo>
                  <a:lnTo>
                    <a:pt x="2494" y="22176"/>
                  </a:lnTo>
                  <a:lnTo>
                    <a:pt x="358" y="17790"/>
                  </a:lnTo>
                  <a:lnTo>
                    <a:pt x="0" y="14543"/>
                  </a:lnTo>
                  <a:lnTo>
                    <a:pt x="1989" y="15374"/>
                  </a:lnTo>
                  <a:lnTo>
                    <a:pt x="3848" y="14367"/>
                  </a:lnTo>
                  <a:lnTo>
                    <a:pt x="5638" y="12718"/>
                  </a:lnTo>
                  <a:lnTo>
                    <a:pt x="7769" y="12044"/>
                  </a:lnTo>
                  <a:lnTo>
                    <a:pt x="9104" y="12335"/>
                  </a:lnTo>
                  <a:lnTo>
                    <a:pt x="10423" y="12623"/>
                  </a:lnTo>
                  <a:lnTo>
                    <a:pt x="12800" y="12096"/>
                  </a:lnTo>
                  <a:lnTo>
                    <a:pt x="13829" y="9650"/>
                  </a:lnTo>
                  <a:lnTo>
                    <a:pt x="14165" y="6829"/>
                  </a:lnTo>
                  <a:lnTo>
                    <a:pt x="18186" y="7639"/>
                  </a:lnTo>
                  <a:lnTo>
                    <a:pt x="22263" y="8058"/>
                  </a:lnTo>
                  <a:lnTo>
                    <a:pt x="25602" y="8199"/>
                  </a:lnTo>
                  <a:lnTo>
                    <a:pt x="28892" y="7740"/>
                  </a:lnTo>
                  <a:lnTo>
                    <a:pt x="38972" y="4730"/>
                  </a:lnTo>
                  <a:lnTo>
                    <a:pt x="41825" y="2927"/>
                  </a:lnTo>
                  <a:lnTo>
                    <a:pt x="43591" y="2317"/>
                  </a:lnTo>
                  <a:lnTo>
                    <a:pt x="46660" y="825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92" name="ee4p_GE_1_82333">
              <a:extLst>
                <a:ext uri="{FF2B5EF4-FFF2-40B4-BE49-F238E27FC236}">
                  <a16:creationId xmlns:a16="http://schemas.microsoft.com/office/drawing/2014/main" id="{3720FBFA-6417-E2D5-7250-56E576103F71}"/>
                </a:ext>
              </a:extLst>
            </p:cNvPr>
            <p:cNvSpPr>
              <a:spLocks noChangeAspect="1"/>
            </p:cNvSpPr>
            <p:nvPr>
              <p:custDataLst>
                <p:tags r:id="rId20"/>
              </p:custDataLst>
            </p:nvPr>
          </p:nvSpPr>
          <p:spPr>
            <a:xfrm>
              <a:off x="7624872" y="3348317"/>
              <a:ext cx="185896" cy="85869"/>
            </a:xfrm>
            <a:custGeom>
              <a:avLst/>
              <a:gdLst/>
              <a:ahLst/>
              <a:cxnLst/>
              <a:rect l="0" t="0" r="0" b="0"/>
              <a:pathLst>
                <a:path w="148025" h="66563">
                  <a:moveTo>
                    <a:pt x="142658" y="44876"/>
                  </a:moveTo>
                  <a:lnTo>
                    <a:pt x="142118" y="45828"/>
                  </a:lnTo>
                  <a:lnTo>
                    <a:pt x="140852" y="47548"/>
                  </a:lnTo>
                  <a:lnTo>
                    <a:pt x="139842" y="48425"/>
                  </a:lnTo>
                  <a:lnTo>
                    <a:pt x="138721" y="48566"/>
                  </a:lnTo>
                  <a:lnTo>
                    <a:pt x="137615" y="48960"/>
                  </a:lnTo>
                  <a:lnTo>
                    <a:pt x="137227" y="49880"/>
                  </a:lnTo>
                  <a:lnTo>
                    <a:pt x="137179" y="51073"/>
                  </a:lnTo>
                  <a:lnTo>
                    <a:pt x="137365" y="51925"/>
                  </a:lnTo>
                  <a:lnTo>
                    <a:pt x="137652" y="52250"/>
                  </a:lnTo>
                  <a:lnTo>
                    <a:pt x="138784" y="52526"/>
                  </a:lnTo>
                  <a:lnTo>
                    <a:pt x="139907" y="55023"/>
                  </a:lnTo>
                  <a:lnTo>
                    <a:pt x="141664" y="56287"/>
                  </a:lnTo>
                  <a:lnTo>
                    <a:pt x="144403" y="57721"/>
                  </a:lnTo>
                  <a:lnTo>
                    <a:pt x="146838" y="59353"/>
                  </a:lnTo>
                  <a:lnTo>
                    <a:pt x="148024" y="60855"/>
                  </a:lnTo>
                  <a:lnTo>
                    <a:pt x="147799" y="61944"/>
                  </a:lnTo>
                  <a:lnTo>
                    <a:pt x="147002" y="64206"/>
                  </a:lnTo>
                  <a:lnTo>
                    <a:pt x="144968" y="66079"/>
                  </a:lnTo>
                  <a:lnTo>
                    <a:pt x="143277" y="66562"/>
                  </a:lnTo>
                  <a:lnTo>
                    <a:pt x="142681" y="66382"/>
                  </a:lnTo>
                  <a:lnTo>
                    <a:pt x="141571" y="65796"/>
                  </a:lnTo>
                  <a:lnTo>
                    <a:pt x="139343" y="64344"/>
                  </a:lnTo>
                  <a:lnTo>
                    <a:pt x="136927" y="63200"/>
                  </a:lnTo>
                  <a:lnTo>
                    <a:pt x="135065" y="63569"/>
                  </a:lnTo>
                  <a:lnTo>
                    <a:pt x="133843" y="64006"/>
                  </a:lnTo>
                  <a:lnTo>
                    <a:pt x="131427" y="63494"/>
                  </a:lnTo>
                  <a:lnTo>
                    <a:pt x="128570" y="62500"/>
                  </a:lnTo>
                  <a:lnTo>
                    <a:pt x="127082" y="61519"/>
                  </a:lnTo>
                  <a:lnTo>
                    <a:pt x="126423" y="60797"/>
                  </a:lnTo>
                  <a:lnTo>
                    <a:pt x="126864" y="59514"/>
                  </a:lnTo>
                  <a:lnTo>
                    <a:pt x="120377" y="57200"/>
                  </a:lnTo>
                  <a:lnTo>
                    <a:pt x="117253" y="56559"/>
                  </a:lnTo>
                  <a:lnTo>
                    <a:pt x="115842" y="57256"/>
                  </a:lnTo>
                  <a:lnTo>
                    <a:pt x="111070" y="60745"/>
                  </a:lnTo>
                  <a:lnTo>
                    <a:pt x="110507" y="61101"/>
                  </a:lnTo>
                  <a:lnTo>
                    <a:pt x="106868" y="61578"/>
                  </a:lnTo>
                  <a:lnTo>
                    <a:pt x="106860" y="61863"/>
                  </a:lnTo>
                  <a:lnTo>
                    <a:pt x="107691" y="62612"/>
                  </a:lnTo>
                  <a:lnTo>
                    <a:pt x="107533" y="62844"/>
                  </a:lnTo>
                  <a:lnTo>
                    <a:pt x="101418" y="62927"/>
                  </a:lnTo>
                  <a:lnTo>
                    <a:pt x="99388" y="63380"/>
                  </a:lnTo>
                  <a:lnTo>
                    <a:pt x="93955" y="62792"/>
                  </a:lnTo>
                  <a:lnTo>
                    <a:pt x="92167" y="63055"/>
                  </a:lnTo>
                  <a:lnTo>
                    <a:pt x="90636" y="63604"/>
                  </a:lnTo>
                  <a:lnTo>
                    <a:pt x="86920" y="64224"/>
                  </a:lnTo>
                  <a:lnTo>
                    <a:pt x="84354" y="64959"/>
                  </a:lnTo>
                  <a:lnTo>
                    <a:pt x="81079" y="65339"/>
                  </a:lnTo>
                  <a:lnTo>
                    <a:pt x="77695" y="65369"/>
                  </a:lnTo>
                  <a:lnTo>
                    <a:pt x="76533" y="65590"/>
                  </a:lnTo>
                  <a:lnTo>
                    <a:pt x="76580" y="65093"/>
                  </a:lnTo>
                  <a:lnTo>
                    <a:pt x="76399" y="64316"/>
                  </a:lnTo>
                  <a:lnTo>
                    <a:pt x="75713" y="63761"/>
                  </a:lnTo>
                  <a:lnTo>
                    <a:pt x="74754" y="63404"/>
                  </a:lnTo>
                  <a:lnTo>
                    <a:pt x="72991" y="63533"/>
                  </a:lnTo>
                  <a:lnTo>
                    <a:pt x="71359" y="63165"/>
                  </a:lnTo>
                  <a:lnTo>
                    <a:pt x="70195" y="62184"/>
                  </a:lnTo>
                  <a:lnTo>
                    <a:pt x="69934" y="61434"/>
                  </a:lnTo>
                  <a:lnTo>
                    <a:pt x="70603" y="60825"/>
                  </a:lnTo>
                  <a:lnTo>
                    <a:pt x="70111" y="60319"/>
                  </a:lnTo>
                  <a:lnTo>
                    <a:pt x="68079" y="59113"/>
                  </a:lnTo>
                  <a:lnTo>
                    <a:pt x="64754" y="56103"/>
                  </a:lnTo>
                  <a:lnTo>
                    <a:pt x="62873" y="55428"/>
                  </a:lnTo>
                  <a:lnTo>
                    <a:pt x="62125" y="53542"/>
                  </a:lnTo>
                  <a:lnTo>
                    <a:pt x="61379" y="53141"/>
                  </a:lnTo>
                  <a:lnTo>
                    <a:pt x="59793" y="52960"/>
                  </a:lnTo>
                  <a:lnTo>
                    <a:pt x="58122" y="53143"/>
                  </a:lnTo>
                  <a:lnTo>
                    <a:pt x="57759" y="53358"/>
                  </a:lnTo>
                  <a:lnTo>
                    <a:pt x="57250" y="53660"/>
                  </a:lnTo>
                  <a:lnTo>
                    <a:pt x="55935" y="56017"/>
                  </a:lnTo>
                  <a:lnTo>
                    <a:pt x="55017" y="56816"/>
                  </a:lnTo>
                  <a:lnTo>
                    <a:pt x="52760" y="56442"/>
                  </a:lnTo>
                  <a:lnTo>
                    <a:pt x="50895" y="55887"/>
                  </a:lnTo>
                  <a:lnTo>
                    <a:pt x="49372" y="55577"/>
                  </a:lnTo>
                  <a:lnTo>
                    <a:pt x="46423" y="55383"/>
                  </a:lnTo>
                  <a:lnTo>
                    <a:pt x="43063" y="55341"/>
                  </a:lnTo>
                  <a:lnTo>
                    <a:pt x="40802" y="57013"/>
                  </a:lnTo>
                  <a:lnTo>
                    <a:pt x="39826" y="56798"/>
                  </a:lnTo>
                  <a:lnTo>
                    <a:pt x="38109" y="55977"/>
                  </a:lnTo>
                  <a:lnTo>
                    <a:pt x="35341" y="55298"/>
                  </a:lnTo>
                  <a:lnTo>
                    <a:pt x="33870" y="54765"/>
                  </a:lnTo>
                  <a:lnTo>
                    <a:pt x="38109" y="49793"/>
                  </a:lnTo>
                  <a:lnTo>
                    <a:pt x="39370" y="46834"/>
                  </a:lnTo>
                  <a:lnTo>
                    <a:pt x="39413" y="45038"/>
                  </a:lnTo>
                  <a:lnTo>
                    <a:pt x="39463" y="42779"/>
                  </a:lnTo>
                  <a:lnTo>
                    <a:pt x="37258" y="38082"/>
                  </a:lnTo>
                  <a:lnTo>
                    <a:pt x="35367" y="31402"/>
                  </a:lnTo>
                  <a:lnTo>
                    <a:pt x="33399" y="24426"/>
                  </a:lnTo>
                  <a:lnTo>
                    <a:pt x="31866" y="22333"/>
                  </a:lnTo>
                  <a:lnTo>
                    <a:pt x="25438" y="19913"/>
                  </a:lnTo>
                  <a:lnTo>
                    <a:pt x="23954" y="17163"/>
                  </a:lnTo>
                  <a:lnTo>
                    <a:pt x="18979" y="13609"/>
                  </a:lnTo>
                  <a:lnTo>
                    <a:pt x="12067" y="12065"/>
                  </a:lnTo>
                  <a:lnTo>
                    <a:pt x="10698" y="11403"/>
                  </a:lnTo>
                  <a:lnTo>
                    <a:pt x="4694" y="6926"/>
                  </a:lnTo>
                  <a:lnTo>
                    <a:pt x="0" y="4037"/>
                  </a:lnTo>
                  <a:lnTo>
                    <a:pt x="1004" y="2287"/>
                  </a:lnTo>
                  <a:lnTo>
                    <a:pt x="2350" y="448"/>
                  </a:lnTo>
                  <a:lnTo>
                    <a:pt x="3801" y="0"/>
                  </a:lnTo>
                  <a:lnTo>
                    <a:pt x="8048" y="728"/>
                  </a:lnTo>
                  <a:lnTo>
                    <a:pt x="11954" y="1556"/>
                  </a:lnTo>
                  <a:lnTo>
                    <a:pt x="14809" y="967"/>
                  </a:lnTo>
                  <a:lnTo>
                    <a:pt x="18206" y="2420"/>
                  </a:lnTo>
                  <a:lnTo>
                    <a:pt x="21309" y="4085"/>
                  </a:lnTo>
                  <a:lnTo>
                    <a:pt x="24429" y="5258"/>
                  </a:lnTo>
                  <a:lnTo>
                    <a:pt x="30512" y="6362"/>
                  </a:lnTo>
                  <a:lnTo>
                    <a:pt x="32780" y="7896"/>
                  </a:lnTo>
                  <a:lnTo>
                    <a:pt x="35429" y="9429"/>
                  </a:lnTo>
                  <a:lnTo>
                    <a:pt x="45809" y="10211"/>
                  </a:lnTo>
                  <a:lnTo>
                    <a:pt x="46645" y="9970"/>
                  </a:lnTo>
                  <a:lnTo>
                    <a:pt x="47407" y="9749"/>
                  </a:lnTo>
                  <a:lnTo>
                    <a:pt x="50888" y="9192"/>
                  </a:lnTo>
                  <a:lnTo>
                    <a:pt x="53970" y="9296"/>
                  </a:lnTo>
                  <a:lnTo>
                    <a:pt x="57220" y="11151"/>
                  </a:lnTo>
                  <a:lnTo>
                    <a:pt x="59303" y="11044"/>
                  </a:lnTo>
                  <a:lnTo>
                    <a:pt x="61523" y="10763"/>
                  </a:lnTo>
                  <a:lnTo>
                    <a:pt x="64384" y="11754"/>
                  </a:lnTo>
                  <a:lnTo>
                    <a:pt x="66630" y="12857"/>
                  </a:lnTo>
                  <a:lnTo>
                    <a:pt x="66820" y="13980"/>
                  </a:lnTo>
                  <a:lnTo>
                    <a:pt x="68787" y="15604"/>
                  </a:lnTo>
                  <a:lnTo>
                    <a:pt x="74510" y="18078"/>
                  </a:lnTo>
                  <a:lnTo>
                    <a:pt x="79150" y="19476"/>
                  </a:lnTo>
                  <a:lnTo>
                    <a:pt x="80593" y="20459"/>
                  </a:lnTo>
                  <a:lnTo>
                    <a:pt x="84121" y="22082"/>
                  </a:lnTo>
                  <a:lnTo>
                    <a:pt x="84477" y="22596"/>
                  </a:lnTo>
                  <a:lnTo>
                    <a:pt x="84404" y="23260"/>
                  </a:lnTo>
                  <a:lnTo>
                    <a:pt x="83398" y="24474"/>
                  </a:lnTo>
                  <a:lnTo>
                    <a:pt x="83143" y="25556"/>
                  </a:lnTo>
                  <a:lnTo>
                    <a:pt x="83618" y="26174"/>
                  </a:lnTo>
                  <a:lnTo>
                    <a:pt x="85080" y="26770"/>
                  </a:lnTo>
                  <a:lnTo>
                    <a:pt x="87986" y="26903"/>
                  </a:lnTo>
                  <a:lnTo>
                    <a:pt x="89032" y="26127"/>
                  </a:lnTo>
                  <a:lnTo>
                    <a:pt x="91200" y="25573"/>
                  </a:lnTo>
                  <a:lnTo>
                    <a:pt x="93344" y="24578"/>
                  </a:lnTo>
                  <a:lnTo>
                    <a:pt x="96214" y="23245"/>
                  </a:lnTo>
                  <a:lnTo>
                    <a:pt x="100113" y="22039"/>
                  </a:lnTo>
                  <a:lnTo>
                    <a:pt x="101675" y="22043"/>
                  </a:lnTo>
                  <a:lnTo>
                    <a:pt x="103176" y="22411"/>
                  </a:lnTo>
                  <a:lnTo>
                    <a:pt x="104225" y="23082"/>
                  </a:lnTo>
                  <a:lnTo>
                    <a:pt x="105979" y="25561"/>
                  </a:lnTo>
                  <a:lnTo>
                    <a:pt x="107734" y="22088"/>
                  </a:lnTo>
                  <a:lnTo>
                    <a:pt x="108187" y="21832"/>
                  </a:lnTo>
                  <a:lnTo>
                    <a:pt x="109788" y="22530"/>
                  </a:lnTo>
                  <a:lnTo>
                    <a:pt x="112623" y="23496"/>
                  </a:lnTo>
                  <a:lnTo>
                    <a:pt x="114583" y="24007"/>
                  </a:lnTo>
                  <a:lnTo>
                    <a:pt x="115644" y="24722"/>
                  </a:lnTo>
                  <a:lnTo>
                    <a:pt x="118641" y="27884"/>
                  </a:lnTo>
                  <a:lnTo>
                    <a:pt x="123487" y="27725"/>
                  </a:lnTo>
                  <a:lnTo>
                    <a:pt x="125536" y="28207"/>
                  </a:lnTo>
                  <a:lnTo>
                    <a:pt x="126635" y="28729"/>
                  </a:lnTo>
                  <a:lnTo>
                    <a:pt x="127127" y="29344"/>
                  </a:lnTo>
                  <a:lnTo>
                    <a:pt x="126261" y="32480"/>
                  </a:lnTo>
                  <a:lnTo>
                    <a:pt x="125065" y="35745"/>
                  </a:lnTo>
                  <a:lnTo>
                    <a:pt x="125160" y="36534"/>
                  </a:lnTo>
                  <a:lnTo>
                    <a:pt x="127106" y="37762"/>
                  </a:lnTo>
                  <a:lnTo>
                    <a:pt x="129747" y="39062"/>
                  </a:lnTo>
                  <a:lnTo>
                    <a:pt x="131170" y="40106"/>
                  </a:lnTo>
                  <a:lnTo>
                    <a:pt x="132135" y="41043"/>
                  </a:lnTo>
                  <a:lnTo>
                    <a:pt x="134223" y="41751"/>
                  </a:lnTo>
                  <a:lnTo>
                    <a:pt x="136685" y="42194"/>
                  </a:lnTo>
                  <a:lnTo>
                    <a:pt x="137855" y="42252"/>
                  </a:lnTo>
                  <a:lnTo>
                    <a:pt x="139073" y="43036"/>
                  </a:lnTo>
                  <a:lnTo>
                    <a:pt x="142252" y="44514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93" name="ee4p_ID_1_82333">
              <a:extLst>
                <a:ext uri="{FF2B5EF4-FFF2-40B4-BE49-F238E27FC236}">
                  <a16:creationId xmlns:a16="http://schemas.microsoft.com/office/drawing/2014/main" id="{C92A0948-DF4E-AE86-709E-78F40E05054B}"/>
                </a:ext>
              </a:extLst>
            </p:cNvPr>
            <p:cNvSpPr>
              <a:spLocks noChangeAspect="1"/>
            </p:cNvSpPr>
            <p:nvPr>
              <p:custDataLst>
                <p:tags r:id="rId21"/>
              </p:custDataLst>
            </p:nvPr>
          </p:nvSpPr>
          <p:spPr>
            <a:xfrm>
              <a:off x="9158527" y="4507090"/>
              <a:ext cx="1270990" cy="481106"/>
            </a:xfrm>
            <a:custGeom>
              <a:avLst/>
              <a:gdLst>
                <a:gd name="connsiteX0" fmla="*/ 622497 w 1012061"/>
                <a:gd name="connsiteY0" fmla="*/ 363163 h 372939"/>
                <a:gd name="connsiteX1" fmla="*/ 622775 w 1012061"/>
                <a:gd name="connsiteY1" fmla="*/ 363218 h 372939"/>
                <a:gd name="connsiteX2" fmla="*/ 623041 w 1012061"/>
                <a:gd name="connsiteY2" fmla="*/ 365289 h 372939"/>
                <a:gd name="connsiteX3" fmla="*/ 623699 w 1012061"/>
                <a:gd name="connsiteY3" fmla="*/ 366520 h 372939"/>
                <a:gd name="connsiteX4" fmla="*/ 623816 w 1012061"/>
                <a:gd name="connsiteY4" fmla="*/ 367160 h 372939"/>
                <a:gd name="connsiteX5" fmla="*/ 621440 w 1012061"/>
                <a:gd name="connsiteY5" fmla="*/ 368215 h 372939"/>
                <a:gd name="connsiteX6" fmla="*/ 619320 w 1012061"/>
                <a:gd name="connsiteY6" fmla="*/ 370624 h 372939"/>
                <a:gd name="connsiteX7" fmla="*/ 614686 w 1012061"/>
                <a:gd name="connsiteY7" fmla="*/ 372195 h 372939"/>
                <a:gd name="connsiteX8" fmla="*/ 613440 w 1012061"/>
                <a:gd name="connsiteY8" fmla="*/ 372931 h 372939"/>
                <a:gd name="connsiteX9" fmla="*/ 611382 w 1012061"/>
                <a:gd name="connsiteY9" fmla="*/ 372939 h 372939"/>
                <a:gd name="connsiteX10" fmla="*/ 610726 w 1012061"/>
                <a:gd name="connsiteY10" fmla="*/ 372703 h 372939"/>
                <a:gd name="connsiteX11" fmla="*/ 610555 w 1012061"/>
                <a:gd name="connsiteY11" fmla="*/ 370733 h 372939"/>
                <a:gd name="connsiteX12" fmla="*/ 611158 w 1012061"/>
                <a:gd name="connsiteY12" fmla="*/ 369632 h 372939"/>
                <a:gd name="connsiteX13" fmla="*/ 615928 w 1012061"/>
                <a:gd name="connsiteY13" fmla="*/ 368215 h 372939"/>
                <a:gd name="connsiteX14" fmla="*/ 617793 w 1012061"/>
                <a:gd name="connsiteY14" fmla="*/ 366907 h 372939"/>
                <a:gd name="connsiteX15" fmla="*/ 620439 w 1012061"/>
                <a:gd name="connsiteY15" fmla="*/ 364185 h 372939"/>
                <a:gd name="connsiteX16" fmla="*/ 622080 w 1012061"/>
                <a:gd name="connsiteY16" fmla="*/ 363471 h 372939"/>
                <a:gd name="connsiteX17" fmla="*/ 591341 w 1012061"/>
                <a:gd name="connsiteY17" fmla="*/ 362281 h 372939"/>
                <a:gd name="connsiteX18" fmla="*/ 592421 w 1012061"/>
                <a:gd name="connsiteY18" fmla="*/ 362594 h 372939"/>
                <a:gd name="connsiteX19" fmla="*/ 592045 w 1012061"/>
                <a:gd name="connsiteY19" fmla="*/ 364414 h 372939"/>
                <a:gd name="connsiteX20" fmla="*/ 589870 w 1012061"/>
                <a:gd name="connsiteY20" fmla="*/ 365798 h 372939"/>
                <a:gd name="connsiteX21" fmla="*/ 588767 w 1012061"/>
                <a:gd name="connsiteY21" fmla="*/ 366062 h 372939"/>
                <a:gd name="connsiteX22" fmla="*/ 586402 w 1012061"/>
                <a:gd name="connsiteY22" fmla="*/ 365414 h 372939"/>
                <a:gd name="connsiteX23" fmla="*/ 585928 w 1012061"/>
                <a:gd name="connsiteY23" fmla="*/ 365023 h 372939"/>
                <a:gd name="connsiteX24" fmla="*/ 587953 w 1012061"/>
                <a:gd name="connsiteY24" fmla="*/ 363945 h 372939"/>
                <a:gd name="connsiteX25" fmla="*/ 589516 w 1012061"/>
                <a:gd name="connsiteY25" fmla="*/ 362412 h 372939"/>
                <a:gd name="connsiteX26" fmla="*/ 624714 w 1012061"/>
                <a:gd name="connsiteY26" fmla="*/ 355734 h 372939"/>
                <a:gd name="connsiteX27" fmla="*/ 625491 w 1012061"/>
                <a:gd name="connsiteY27" fmla="*/ 356560 h 372939"/>
                <a:gd name="connsiteX28" fmla="*/ 625555 w 1012061"/>
                <a:gd name="connsiteY28" fmla="*/ 356940 h 372939"/>
                <a:gd name="connsiteX29" fmla="*/ 623526 w 1012061"/>
                <a:gd name="connsiteY29" fmla="*/ 357681 h 372939"/>
                <a:gd name="connsiteX30" fmla="*/ 623773 w 1012061"/>
                <a:gd name="connsiteY30" fmla="*/ 359368 h 372939"/>
                <a:gd name="connsiteX31" fmla="*/ 621778 w 1012061"/>
                <a:gd name="connsiteY31" fmla="*/ 360147 h 372939"/>
                <a:gd name="connsiteX32" fmla="*/ 621769 w 1012061"/>
                <a:gd name="connsiteY32" fmla="*/ 358509 h 372939"/>
                <a:gd name="connsiteX33" fmla="*/ 623311 w 1012061"/>
                <a:gd name="connsiteY33" fmla="*/ 356436 h 372939"/>
                <a:gd name="connsiteX34" fmla="*/ 546953 w 1012061"/>
                <a:gd name="connsiteY34" fmla="*/ 337021 h 372939"/>
                <a:gd name="connsiteX35" fmla="*/ 547654 w 1012061"/>
                <a:gd name="connsiteY35" fmla="*/ 337470 h 372939"/>
                <a:gd name="connsiteX36" fmla="*/ 548510 w 1012061"/>
                <a:gd name="connsiteY36" fmla="*/ 338654 h 372939"/>
                <a:gd name="connsiteX37" fmla="*/ 549508 w 1012061"/>
                <a:gd name="connsiteY37" fmla="*/ 339659 h 372939"/>
                <a:gd name="connsiteX38" fmla="*/ 553122 w 1012061"/>
                <a:gd name="connsiteY38" fmla="*/ 341591 h 372939"/>
                <a:gd name="connsiteX39" fmla="*/ 553718 w 1012061"/>
                <a:gd name="connsiteY39" fmla="*/ 342405 h 372939"/>
                <a:gd name="connsiteX40" fmla="*/ 553945 w 1012061"/>
                <a:gd name="connsiteY40" fmla="*/ 343750 h 372939"/>
                <a:gd name="connsiteX41" fmla="*/ 554670 w 1012061"/>
                <a:gd name="connsiteY41" fmla="*/ 344748 h 372939"/>
                <a:gd name="connsiteX42" fmla="*/ 556299 w 1012061"/>
                <a:gd name="connsiteY42" fmla="*/ 344900 h 372939"/>
                <a:gd name="connsiteX43" fmla="*/ 558044 w 1012061"/>
                <a:gd name="connsiteY43" fmla="*/ 344698 h 372939"/>
                <a:gd name="connsiteX44" fmla="*/ 559371 w 1012061"/>
                <a:gd name="connsiteY44" fmla="*/ 345332 h 372939"/>
                <a:gd name="connsiteX45" fmla="*/ 560518 w 1012061"/>
                <a:gd name="connsiteY45" fmla="*/ 346336 h 372939"/>
                <a:gd name="connsiteX46" fmla="*/ 562222 w 1012061"/>
                <a:gd name="connsiteY46" fmla="*/ 348287 h 372939"/>
                <a:gd name="connsiteX47" fmla="*/ 563721 w 1012061"/>
                <a:gd name="connsiteY47" fmla="*/ 350446 h 372939"/>
                <a:gd name="connsiteX48" fmla="*/ 565580 w 1012061"/>
                <a:gd name="connsiteY48" fmla="*/ 351649 h 372939"/>
                <a:gd name="connsiteX49" fmla="*/ 566644 w 1012061"/>
                <a:gd name="connsiteY49" fmla="*/ 353446 h 372939"/>
                <a:gd name="connsiteX50" fmla="*/ 566016 w 1012061"/>
                <a:gd name="connsiteY50" fmla="*/ 355031 h 372939"/>
                <a:gd name="connsiteX51" fmla="*/ 563669 w 1012061"/>
                <a:gd name="connsiteY51" fmla="*/ 357223 h 372939"/>
                <a:gd name="connsiteX52" fmla="*/ 562394 w 1012061"/>
                <a:gd name="connsiteY52" fmla="*/ 357699 h 372939"/>
                <a:gd name="connsiteX53" fmla="*/ 560654 w 1012061"/>
                <a:gd name="connsiteY53" fmla="*/ 357871 h 372939"/>
                <a:gd name="connsiteX54" fmla="*/ 557944 w 1012061"/>
                <a:gd name="connsiteY54" fmla="*/ 359176 h 372939"/>
                <a:gd name="connsiteX55" fmla="*/ 556957 w 1012061"/>
                <a:gd name="connsiteY55" fmla="*/ 358493 h 372939"/>
                <a:gd name="connsiteX56" fmla="*/ 553882 w 1012061"/>
                <a:gd name="connsiteY56" fmla="*/ 358020 h 372939"/>
                <a:gd name="connsiteX57" fmla="*/ 551435 w 1012061"/>
                <a:gd name="connsiteY57" fmla="*/ 357077 h 372939"/>
                <a:gd name="connsiteX58" fmla="*/ 549382 w 1012061"/>
                <a:gd name="connsiteY58" fmla="*/ 355352 h 372939"/>
                <a:gd name="connsiteX59" fmla="*/ 548198 w 1012061"/>
                <a:gd name="connsiteY59" fmla="*/ 353496 h 372939"/>
                <a:gd name="connsiteX60" fmla="*/ 546700 w 1012061"/>
                <a:gd name="connsiteY60" fmla="*/ 351861 h 372939"/>
                <a:gd name="connsiteX61" fmla="*/ 544093 w 1012061"/>
                <a:gd name="connsiteY61" fmla="*/ 350766 h 372939"/>
                <a:gd name="connsiteX62" fmla="*/ 539412 w 1012061"/>
                <a:gd name="connsiteY62" fmla="*/ 347553 h 372939"/>
                <a:gd name="connsiteX63" fmla="*/ 536521 w 1012061"/>
                <a:gd name="connsiteY63" fmla="*/ 347263 h 372939"/>
                <a:gd name="connsiteX64" fmla="*/ 535331 w 1012061"/>
                <a:gd name="connsiteY64" fmla="*/ 347498 h 372939"/>
                <a:gd name="connsiteX65" fmla="*/ 534139 w 1012061"/>
                <a:gd name="connsiteY65" fmla="*/ 347514 h 372939"/>
                <a:gd name="connsiteX66" fmla="*/ 528011 w 1012061"/>
                <a:gd name="connsiteY66" fmla="*/ 346066 h 372939"/>
                <a:gd name="connsiteX67" fmla="*/ 527059 w 1012061"/>
                <a:gd name="connsiteY67" fmla="*/ 345221 h 372939"/>
                <a:gd name="connsiteX68" fmla="*/ 526307 w 1012061"/>
                <a:gd name="connsiteY68" fmla="*/ 344138 h 372939"/>
                <a:gd name="connsiteX69" fmla="*/ 525620 w 1012061"/>
                <a:gd name="connsiteY69" fmla="*/ 343074 h 372939"/>
                <a:gd name="connsiteX70" fmla="*/ 525210 w 1012061"/>
                <a:gd name="connsiteY70" fmla="*/ 341881 h 372939"/>
                <a:gd name="connsiteX71" fmla="*/ 525991 w 1012061"/>
                <a:gd name="connsiteY71" fmla="*/ 340826 h 372939"/>
                <a:gd name="connsiteX72" fmla="*/ 526817 w 1012061"/>
                <a:gd name="connsiteY72" fmla="*/ 340116 h 372939"/>
                <a:gd name="connsiteX73" fmla="*/ 530226 w 1012061"/>
                <a:gd name="connsiteY73" fmla="*/ 338872 h 372939"/>
                <a:gd name="connsiteX74" fmla="*/ 532664 w 1012061"/>
                <a:gd name="connsiteY74" fmla="*/ 338487 h 372939"/>
                <a:gd name="connsiteX75" fmla="*/ 535495 w 1012061"/>
                <a:gd name="connsiteY75" fmla="*/ 338545 h 372939"/>
                <a:gd name="connsiteX76" fmla="*/ 539714 w 1012061"/>
                <a:gd name="connsiteY76" fmla="*/ 338158 h 372939"/>
                <a:gd name="connsiteX77" fmla="*/ 543703 w 1012061"/>
                <a:gd name="connsiteY77" fmla="*/ 338783 h 372939"/>
                <a:gd name="connsiteX78" fmla="*/ 544934 w 1012061"/>
                <a:gd name="connsiteY78" fmla="*/ 338317 h 372939"/>
                <a:gd name="connsiteX79" fmla="*/ 657075 w 1012061"/>
                <a:gd name="connsiteY79" fmla="*/ 329018 h 372939"/>
                <a:gd name="connsiteX80" fmla="*/ 656915 w 1012061"/>
                <a:gd name="connsiteY80" fmla="*/ 331003 h 372939"/>
                <a:gd name="connsiteX81" fmla="*/ 657396 w 1012061"/>
                <a:gd name="connsiteY81" fmla="*/ 331491 h 372939"/>
                <a:gd name="connsiteX82" fmla="*/ 658202 w 1012061"/>
                <a:gd name="connsiteY82" fmla="*/ 331732 h 372939"/>
                <a:gd name="connsiteX83" fmla="*/ 661014 w 1012061"/>
                <a:gd name="connsiteY83" fmla="*/ 330389 h 372939"/>
                <a:gd name="connsiteX84" fmla="*/ 661545 w 1012061"/>
                <a:gd name="connsiteY84" fmla="*/ 330644 h 372939"/>
                <a:gd name="connsiteX85" fmla="*/ 662089 w 1012061"/>
                <a:gd name="connsiteY85" fmla="*/ 331249 h 372939"/>
                <a:gd name="connsiteX86" fmla="*/ 662098 w 1012061"/>
                <a:gd name="connsiteY86" fmla="*/ 333041 h 372939"/>
                <a:gd name="connsiteX87" fmla="*/ 661016 w 1012061"/>
                <a:gd name="connsiteY87" fmla="*/ 334532 h 372939"/>
                <a:gd name="connsiteX88" fmla="*/ 658297 w 1012061"/>
                <a:gd name="connsiteY88" fmla="*/ 334645 h 372939"/>
                <a:gd name="connsiteX89" fmla="*/ 657913 w 1012061"/>
                <a:gd name="connsiteY89" fmla="*/ 335065 h 372939"/>
                <a:gd name="connsiteX90" fmla="*/ 657879 w 1012061"/>
                <a:gd name="connsiteY90" fmla="*/ 335978 h 372939"/>
                <a:gd name="connsiteX91" fmla="*/ 658092 w 1012061"/>
                <a:gd name="connsiteY91" fmla="*/ 336860 h 372939"/>
                <a:gd name="connsiteX92" fmla="*/ 658727 w 1012061"/>
                <a:gd name="connsiteY92" fmla="*/ 337568 h 372939"/>
                <a:gd name="connsiteX93" fmla="*/ 659537 w 1012061"/>
                <a:gd name="connsiteY93" fmla="*/ 338813 h 372939"/>
                <a:gd name="connsiteX94" fmla="*/ 660301 w 1012061"/>
                <a:gd name="connsiteY94" fmla="*/ 341715 h 372939"/>
                <a:gd name="connsiteX95" fmla="*/ 658748 w 1012061"/>
                <a:gd name="connsiteY95" fmla="*/ 342906 h 372939"/>
                <a:gd name="connsiteX96" fmla="*/ 657978 w 1012061"/>
                <a:gd name="connsiteY96" fmla="*/ 345144 h 372939"/>
                <a:gd name="connsiteX97" fmla="*/ 655296 w 1012061"/>
                <a:gd name="connsiteY97" fmla="*/ 347245 h 372939"/>
                <a:gd name="connsiteX98" fmla="*/ 652346 w 1012061"/>
                <a:gd name="connsiteY98" fmla="*/ 350692 h 372939"/>
                <a:gd name="connsiteX99" fmla="*/ 649990 w 1012061"/>
                <a:gd name="connsiteY99" fmla="*/ 352451 h 372939"/>
                <a:gd name="connsiteX100" fmla="*/ 647920 w 1012061"/>
                <a:gd name="connsiteY100" fmla="*/ 354532 h 372939"/>
                <a:gd name="connsiteX101" fmla="*/ 646135 w 1012061"/>
                <a:gd name="connsiteY101" fmla="*/ 355928 h 372939"/>
                <a:gd name="connsiteX102" fmla="*/ 643907 w 1012061"/>
                <a:gd name="connsiteY102" fmla="*/ 356401 h 372939"/>
                <a:gd name="connsiteX103" fmla="*/ 640573 w 1012061"/>
                <a:gd name="connsiteY103" fmla="*/ 356702 h 372939"/>
                <a:gd name="connsiteX104" fmla="*/ 636043 w 1012061"/>
                <a:gd name="connsiteY104" fmla="*/ 359193 h 372939"/>
                <a:gd name="connsiteX105" fmla="*/ 633534 w 1012061"/>
                <a:gd name="connsiteY105" fmla="*/ 360282 h 372939"/>
                <a:gd name="connsiteX106" fmla="*/ 631093 w 1012061"/>
                <a:gd name="connsiteY106" fmla="*/ 360363 h 372939"/>
                <a:gd name="connsiteX107" fmla="*/ 628813 w 1012061"/>
                <a:gd name="connsiteY107" fmla="*/ 359553 h 372939"/>
                <a:gd name="connsiteX108" fmla="*/ 627942 w 1012061"/>
                <a:gd name="connsiteY108" fmla="*/ 358642 h 372939"/>
                <a:gd name="connsiteX109" fmla="*/ 628148 w 1012061"/>
                <a:gd name="connsiteY109" fmla="*/ 357411 h 372939"/>
                <a:gd name="connsiteX110" fmla="*/ 628904 w 1012061"/>
                <a:gd name="connsiteY110" fmla="*/ 356355 h 372939"/>
                <a:gd name="connsiteX111" fmla="*/ 629830 w 1012061"/>
                <a:gd name="connsiteY111" fmla="*/ 355485 h 372939"/>
                <a:gd name="connsiteX112" fmla="*/ 630410 w 1012061"/>
                <a:gd name="connsiteY112" fmla="*/ 354364 h 372939"/>
                <a:gd name="connsiteX113" fmla="*/ 627824 w 1012061"/>
                <a:gd name="connsiteY113" fmla="*/ 352947 h 372939"/>
                <a:gd name="connsiteX114" fmla="*/ 627599 w 1012061"/>
                <a:gd name="connsiteY114" fmla="*/ 351867 h 372939"/>
                <a:gd name="connsiteX115" fmla="*/ 628627 w 1012061"/>
                <a:gd name="connsiteY115" fmla="*/ 348994 h 372939"/>
                <a:gd name="connsiteX116" fmla="*/ 629292 w 1012061"/>
                <a:gd name="connsiteY116" fmla="*/ 346029 h 372939"/>
                <a:gd name="connsiteX117" fmla="*/ 630255 w 1012061"/>
                <a:gd name="connsiteY117" fmla="*/ 344011 h 372939"/>
                <a:gd name="connsiteX118" fmla="*/ 633957 w 1012061"/>
                <a:gd name="connsiteY118" fmla="*/ 340403 h 372939"/>
                <a:gd name="connsiteX119" fmla="*/ 636177 w 1012061"/>
                <a:gd name="connsiteY119" fmla="*/ 338615 h 372939"/>
                <a:gd name="connsiteX120" fmla="*/ 637485 w 1012061"/>
                <a:gd name="connsiteY120" fmla="*/ 337916 h 372939"/>
                <a:gd name="connsiteX121" fmla="*/ 637842 w 1012061"/>
                <a:gd name="connsiteY121" fmla="*/ 338669 h 372939"/>
                <a:gd name="connsiteX122" fmla="*/ 638675 w 1012061"/>
                <a:gd name="connsiteY122" fmla="*/ 339585 h 372939"/>
                <a:gd name="connsiteX123" fmla="*/ 639236 w 1012061"/>
                <a:gd name="connsiteY123" fmla="*/ 339735 h 372939"/>
                <a:gd name="connsiteX124" fmla="*/ 639657 w 1012061"/>
                <a:gd name="connsiteY124" fmla="*/ 339528 h 372939"/>
                <a:gd name="connsiteX125" fmla="*/ 642924 w 1012061"/>
                <a:gd name="connsiteY125" fmla="*/ 339841 h 372939"/>
                <a:gd name="connsiteX126" fmla="*/ 643743 w 1012061"/>
                <a:gd name="connsiteY126" fmla="*/ 339526 h 372939"/>
                <a:gd name="connsiteX127" fmla="*/ 644989 w 1012061"/>
                <a:gd name="connsiteY127" fmla="*/ 338101 h 372939"/>
                <a:gd name="connsiteX128" fmla="*/ 645813 w 1012061"/>
                <a:gd name="connsiteY128" fmla="*/ 337308 h 372939"/>
                <a:gd name="connsiteX129" fmla="*/ 646373 w 1012061"/>
                <a:gd name="connsiteY129" fmla="*/ 335618 h 372939"/>
                <a:gd name="connsiteX130" fmla="*/ 646509 w 1012061"/>
                <a:gd name="connsiteY130" fmla="*/ 334543 h 372939"/>
                <a:gd name="connsiteX131" fmla="*/ 649407 w 1012061"/>
                <a:gd name="connsiteY131" fmla="*/ 333764 h 372939"/>
                <a:gd name="connsiteX132" fmla="*/ 650964 w 1012061"/>
                <a:gd name="connsiteY132" fmla="*/ 332901 h 372939"/>
                <a:gd name="connsiteX133" fmla="*/ 652342 w 1012061"/>
                <a:gd name="connsiteY133" fmla="*/ 331678 h 372939"/>
                <a:gd name="connsiteX134" fmla="*/ 656356 w 1012061"/>
                <a:gd name="connsiteY134" fmla="*/ 329597 h 372939"/>
                <a:gd name="connsiteX135" fmla="*/ 450087 w 1012061"/>
                <a:gd name="connsiteY135" fmla="*/ 322946 h 372939"/>
                <a:gd name="connsiteX136" fmla="*/ 451234 w 1012061"/>
                <a:gd name="connsiteY136" fmla="*/ 323909 h 372939"/>
                <a:gd name="connsiteX137" fmla="*/ 451160 w 1012061"/>
                <a:gd name="connsiteY137" fmla="*/ 325171 h 372939"/>
                <a:gd name="connsiteX138" fmla="*/ 450541 w 1012061"/>
                <a:gd name="connsiteY138" fmla="*/ 325937 h 372939"/>
                <a:gd name="connsiteX139" fmla="*/ 448748 w 1012061"/>
                <a:gd name="connsiteY139" fmla="*/ 324571 h 372939"/>
                <a:gd name="connsiteX140" fmla="*/ 448297 w 1012061"/>
                <a:gd name="connsiteY140" fmla="*/ 323959 h 372939"/>
                <a:gd name="connsiteX141" fmla="*/ 449627 w 1012061"/>
                <a:gd name="connsiteY141" fmla="*/ 323067 h 372939"/>
                <a:gd name="connsiteX142" fmla="*/ 616548 w 1012061"/>
                <a:gd name="connsiteY142" fmla="*/ 317822 h 372939"/>
                <a:gd name="connsiteX143" fmla="*/ 617618 w 1012061"/>
                <a:gd name="connsiteY143" fmla="*/ 318202 h 372939"/>
                <a:gd name="connsiteX144" fmla="*/ 617955 w 1012061"/>
                <a:gd name="connsiteY144" fmla="*/ 318622 h 372939"/>
                <a:gd name="connsiteX145" fmla="*/ 615235 w 1012061"/>
                <a:gd name="connsiteY145" fmla="*/ 319046 h 372939"/>
                <a:gd name="connsiteX146" fmla="*/ 614069 w 1012061"/>
                <a:gd name="connsiteY146" fmla="*/ 320168 h 372939"/>
                <a:gd name="connsiteX147" fmla="*/ 613365 w 1012061"/>
                <a:gd name="connsiteY147" fmla="*/ 321477 h 372939"/>
                <a:gd name="connsiteX148" fmla="*/ 612088 w 1012061"/>
                <a:gd name="connsiteY148" fmla="*/ 321105 h 372939"/>
                <a:gd name="connsiteX149" fmla="*/ 612436 w 1012061"/>
                <a:gd name="connsiteY149" fmla="*/ 319844 h 372939"/>
                <a:gd name="connsiteX150" fmla="*/ 613084 w 1012061"/>
                <a:gd name="connsiteY150" fmla="*/ 319096 h 372939"/>
                <a:gd name="connsiteX151" fmla="*/ 614803 w 1012061"/>
                <a:gd name="connsiteY151" fmla="*/ 318011 h 372939"/>
                <a:gd name="connsiteX152" fmla="*/ 535994 w 1012061"/>
                <a:gd name="connsiteY152" fmla="*/ 317584 h 372939"/>
                <a:gd name="connsiteX153" fmla="*/ 536525 w 1012061"/>
                <a:gd name="connsiteY153" fmla="*/ 318174 h 372939"/>
                <a:gd name="connsiteX154" fmla="*/ 536774 w 1012061"/>
                <a:gd name="connsiteY154" fmla="*/ 318559 h 372939"/>
                <a:gd name="connsiteX155" fmla="*/ 537225 w 1012061"/>
                <a:gd name="connsiteY155" fmla="*/ 318739 h 372939"/>
                <a:gd name="connsiteX156" fmla="*/ 538216 w 1012061"/>
                <a:gd name="connsiteY156" fmla="*/ 318774 h 372939"/>
                <a:gd name="connsiteX157" fmla="*/ 538442 w 1012061"/>
                <a:gd name="connsiteY157" fmla="*/ 319581 h 372939"/>
                <a:gd name="connsiteX158" fmla="*/ 538404 w 1012061"/>
                <a:gd name="connsiteY158" fmla="*/ 320350 h 372939"/>
                <a:gd name="connsiteX159" fmla="*/ 537980 w 1012061"/>
                <a:gd name="connsiteY159" fmla="*/ 321151 h 372939"/>
                <a:gd name="connsiteX160" fmla="*/ 536797 w 1012061"/>
                <a:gd name="connsiteY160" fmla="*/ 322017 h 372939"/>
                <a:gd name="connsiteX161" fmla="*/ 535940 w 1012061"/>
                <a:gd name="connsiteY161" fmla="*/ 322987 h 372939"/>
                <a:gd name="connsiteX162" fmla="*/ 536383 w 1012061"/>
                <a:gd name="connsiteY162" fmla="*/ 324529 h 372939"/>
                <a:gd name="connsiteX163" fmla="*/ 535516 w 1012061"/>
                <a:gd name="connsiteY163" fmla="*/ 324740 h 372939"/>
                <a:gd name="connsiteX164" fmla="*/ 534647 w 1012061"/>
                <a:gd name="connsiteY164" fmla="*/ 324418 h 372939"/>
                <a:gd name="connsiteX165" fmla="*/ 535002 w 1012061"/>
                <a:gd name="connsiteY165" fmla="*/ 322436 h 372939"/>
                <a:gd name="connsiteX166" fmla="*/ 534499 w 1012061"/>
                <a:gd name="connsiteY166" fmla="*/ 321088 h 372939"/>
                <a:gd name="connsiteX167" fmla="*/ 535406 w 1012061"/>
                <a:gd name="connsiteY167" fmla="*/ 320031 h 372939"/>
                <a:gd name="connsiteX168" fmla="*/ 535633 w 1012061"/>
                <a:gd name="connsiteY168" fmla="*/ 318158 h 372939"/>
                <a:gd name="connsiteX169" fmla="*/ 619370 w 1012061"/>
                <a:gd name="connsiteY169" fmla="*/ 313271 h 372939"/>
                <a:gd name="connsiteX170" fmla="*/ 622000 w 1012061"/>
                <a:gd name="connsiteY170" fmla="*/ 314019 h 372939"/>
                <a:gd name="connsiteX171" fmla="*/ 621590 w 1012061"/>
                <a:gd name="connsiteY171" fmla="*/ 315927 h 372939"/>
                <a:gd name="connsiteX172" fmla="*/ 621143 w 1012061"/>
                <a:gd name="connsiteY172" fmla="*/ 316904 h 372939"/>
                <a:gd name="connsiteX173" fmla="*/ 615122 w 1012061"/>
                <a:gd name="connsiteY173" fmla="*/ 316834 h 372939"/>
                <a:gd name="connsiteX174" fmla="*/ 615291 w 1012061"/>
                <a:gd name="connsiteY174" fmla="*/ 315549 h 372939"/>
                <a:gd name="connsiteX175" fmla="*/ 616964 w 1012061"/>
                <a:gd name="connsiteY175" fmla="*/ 314147 h 372939"/>
                <a:gd name="connsiteX176" fmla="*/ 617521 w 1012061"/>
                <a:gd name="connsiteY176" fmla="*/ 313680 h 372939"/>
                <a:gd name="connsiteX177" fmla="*/ 468664 w 1012061"/>
                <a:gd name="connsiteY177" fmla="*/ 312575 h 372939"/>
                <a:gd name="connsiteX178" fmla="*/ 474091 w 1012061"/>
                <a:gd name="connsiteY178" fmla="*/ 314323 h 372939"/>
                <a:gd name="connsiteX179" fmla="*/ 474987 w 1012061"/>
                <a:gd name="connsiteY179" fmla="*/ 314799 h 372939"/>
                <a:gd name="connsiteX180" fmla="*/ 475682 w 1012061"/>
                <a:gd name="connsiteY180" fmla="*/ 315510 h 372939"/>
                <a:gd name="connsiteX181" fmla="*/ 476017 w 1012061"/>
                <a:gd name="connsiteY181" fmla="*/ 316643 h 372939"/>
                <a:gd name="connsiteX182" fmla="*/ 473955 w 1012061"/>
                <a:gd name="connsiteY182" fmla="*/ 321697 h 372939"/>
                <a:gd name="connsiteX183" fmla="*/ 471156 w 1012061"/>
                <a:gd name="connsiteY183" fmla="*/ 326311 h 372939"/>
                <a:gd name="connsiteX184" fmla="*/ 472153 w 1012061"/>
                <a:gd name="connsiteY184" fmla="*/ 327055 h 372939"/>
                <a:gd name="connsiteX185" fmla="*/ 472754 w 1012061"/>
                <a:gd name="connsiteY185" fmla="*/ 327762 h 372939"/>
                <a:gd name="connsiteX186" fmla="*/ 468127 w 1012061"/>
                <a:gd name="connsiteY186" fmla="*/ 328718 h 372939"/>
                <a:gd name="connsiteX187" fmla="*/ 466194 w 1012061"/>
                <a:gd name="connsiteY187" fmla="*/ 328208 h 372939"/>
                <a:gd name="connsiteX188" fmla="*/ 465077 w 1012061"/>
                <a:gd name="connsiteY188" fmla="*/ 328341 h 372939"/>
                <a:gd name="connsiteX189" fmla="*/ 460377 w 1012061"/>
                <a:gd name="connsiteY189" fmla="*/ 327473 h 372939"/>
                <a:gd name="connsiteX190" fmla="*/ 457013 w 1012061"/>
                <a:gd name="connsiteY190" fmla="*/ 326413 h 372939"/>
                <a:gd name="connsiteX191" fmla="*/ 456630 w 1012061"/>
                <a:gd name="connsiteY191" fmla="*/ 325573 h 372939"/>
                <a:gd name="connsiteX192" fmla="*/ 456896 w 1012061"/>
                <a:gd name="connsiteY192" fmla="*/ 324568 h 372939"/>
                <a:gd name="connsiteX193" fmla="*/ 457893 w 1012061"/>
                <a:gd name="connsiteY193" fmla="*/ 324908 h 372939"/>
                <a:gd name="connsiteX194" fmla="*/ 460484 w 1012061"/>
                <a:gd name="connsiteY194" fmla="*/ 325069 h 372939"/>
                <a:gd name="connsiteX195" fmla="*/ 461475 w 1012061"/>
                <a:gd name="connsiteY195" fmla="*/ 324616 h 372939"/>
                <a:gd name="connsiteX196" fmla="*/ 461504 w 1012061"/>
                <a:gd name="connsiteY196" fmla="*/ 321640 h 372939"/>
                <a:gd name="connsiteX197" fmla="*/ 461136 w 1012061"/>
                <a:gd name="connsiteY197" fmla="*/ 317767 h 372939"/>
                <a:gd name="connsiteX198" fmla="*/ 464645 w 1012061"/>
                <a:gd name="connsiteY198" fmla="*/ 314602 h 372939"/>
                <a:gd name="connsiteX199" fmla="*/ 466514 w 1012061"/>
                <a:gd name="connsiteY199" fmla="*/ 313328 h 372939"/>
                <a:gd name="connsiteX200" fmla="*/ 642555 w 1012061"/>
                <a:gd name="connsiteY200" fmla="*/ 312521 h 372939"/>
                <a:gd name="connsiteX201" fmla="*/ 643031 w 1012061"/>
                <a:gd name="connsiteY201" fmla="*/ 312675 h 372939"/>
                <a:gd name="connsiteX202" fmla="*/ 643414 w 1012061"/>
                <a:gd name="connsiteY202" fmla="*/ 313123 h 372939"/>
                <a:gd name="connsiteX203" fmla="*/ 643019 w 1012061"/>
                <a:gd name="connsiteY203" fmla="*/ 315365 h 372939"/>
                <a:gd name="connsiteX204" fmla="*/ 641674 w 1012061"/>
                <a:gd name="connsiteY204" fmla="*/ 316741 h 372939"/>
                <a:gd name="connsiteX205" fmla="*/ 640759 w 1012061"/>
                <a:gd name="connsiteY205" fmla="*/ 319133 h 372939"/>
                <a:gd name="connsiteX206" fmla="*/ 639925 w 1012061"/>
                <a:gd name="connsiteY206" fmla="*/ 319861 h 372939"/>
                <a:gd name="connsiteX207" fmla="*/ 638135 w 1012061"/>
                <a:gd name="connsiteY207" fmla="*/ 320311 h 372939"/>
                <a:gd name="connsiteX208" fmla="*/ 637064 w 1012061"/>
                <a:gd name="connsiteY208" fmla="*/ 317911 h 372939"/>
                <a:gd name="connsiteX209" fmla="*/ 635084 w 1012061"/>
                <a:gd name="connsiteY209" fmla="*/ 318024 h 372939"/>
                <a:gd name="connsiteX210" fmla="*/ 636051 w 1012061"/>
                <a:gd name="connsiteY210" fmla="*/ 315912 h 372939"/>
                <a:gd name="connsiteX211" fmla="*/ 636986 w 1012061"/>
                <a:gd name="connsiteY211" fmla="*/ 315123 h 372939"/>
                <a:gd name="connsiteX212" fmla="*/ 638201 w 1012061"/>
                <a:gd name="connsiteY212" fmla="*/ 315103 h 372939"/>
                <a:gd name="connsiteX213" fmla="*/ 638800 w 1012061"/>
                <a:gd name="connsiteY213" fmla="*/ 315958 h 372939"/>
                <a:gd name="connsiteX214" fmla="*/ 639126 w 1012061"/>
                <a:gd name="connsiteY214" fmla="*/ 316139 h 372939"/>
                <a:gd name="connsiteX215" fmla="*/ 641979 w 1012061"/>
                <a:gd name="connsiteY215" fmla="*/ 312558 h 372939"/>
                <a:gd name="connsiteX216" fmla="*/ 631728 w 1012061"/>
                <a:gd name="connsiteY216" fmla="*/ 312269 h 372939"/>
                <a:gd name="connsiteX217" fmla="*/ 633265 w 1012061"/>
                <a:gd name="connsiteY217" fmla="*/ 312780 h 372939"/>
                <a:gd name="connsiteX218" fmla="*/ 634384 w 1012061"/>
                <a:gd name="connsiteY218" fmla="*/ 313356 h 372939"/>
                <a:gd name="connsiteX219" fmla="*/ 635019 w 1012061"/>
                <a:gd name="connsiteY219" fmla="*/ 314095 h 372939"/>
                <a:gd name="connsiteX220" fmla="*/ 631903 w 1012061"/>
                <a:gd name="connsiteY220" fmla="*/ 314699 h 372939"/>
                <a:gd name="connsiteX221" fmla="*/ 630000 w 1012061"/>
                <a:gd name="connsiteY221" fmla="*/ 317478 h 372939"/>
                <a:gd name="connsiteX222" fmla="*/ 628483 w 1012061"/>
                <a:gd name="connsiteY222" fmla="*/ 317434 h 372939"/>
                <a:gd name="connsiteX223" fmla="*/ 627651 w 1012061"/>
                <a:gd name="connsiteY223" fmla="*/ 318670 h 372939"/>
                <a:gd name="connsiteX224" fmla="*/ 627453 w 1012061"/>
                <a:gd name="connsiteY224" fmla="*/ 319198 h 372939"/>
                <a:gd name="connsiteX225" fmla="*/ 627569 w 1012061"/>
                <a:gd name="connsiteY225" fmla="*/ 319692 h 372939"/>
                <a:gd name="connsiteX226" fmla="*/ 627399 w 1012061"/>
                <a:gd name="connsiteY226" fmla="*/ 320161 h 372939"/>
                <a:gd name="connsiteX227" fmla="*/ 626798 w 1012061"/>
                <a:gd name="connsiteY227" fmla="*/ 320648 h 372939"/>
                <a:gd name="connsiteX228" fmla="*/ 625375 w 1012061"/>
                <a:gd name="connsiteY228" fmla="*/ 319881 h 372939"/>
                <a:gd name="connsiteX229" fmla="*/ 624161 w 1012061"/>
                <a:gd name="connsiteY229" fmla="*/ 320855 h 372939"/>
                <a:gd name="connsiteX230" fmla="*/ 623652 w 1012061"/>
                <a:gd name="connsiteY230" fmla="*/ 321090 h 372939"/>
                <a:gd name="connsiteX231" fmla="*/ 621866 w 1012061"/>
                <a:gd name="connsiteY231" fmla="*/ 319955 h 372939"/>
                <a:gd name="connsiteX232" fmla="*/ 620171 w 1012061"/>
                <a:gd name="connsiteY232" fmla="*/ 320020 h 372939"/>
                <a:gd name="connsiteX233" fmla="*/ 619657 w 1012061"/>
                <a:gd name="connsiteY233" fmla="*/ 319844 h 372939"/>
                <a:gd name="connsiteX234" fmla="*/ 621756 w 1012061"/>
                <a:gd name="connsiteY234" fmla="*/ 317804 h 372939"/>
                <a:gd name="connsiteX235" fmla="*/ 624622 w 1012061"/>
                <a:gd name="connsiteY235" fmla="*/ 315904 h 372939"/>
                <a:gd name="connsiteX236" fmla="*/ 625092 w 1012061"/>
                <a:gd name="connsiteY236" fmla="*/ 315203 h 372939"/>
                <a:gd name="connsiteX237" fmla="*/ 623971 w 1012061"/>
                <a:gd name="connsiteY237" fmla="*/ 315006 h 372939"/>
                <a:gd name="connsiteX238" fmla="*/ 623302 w 1012061"/>
                <a:gd name="connsiteY238" fmla="*/ 314721 h 372939"/>
                <a:gd name="connsiteX239" fmla="*/ 623220 w 1012061"/>
                <a:gd name="connsiteY239" fmla="*/ 314273 h 372939"/>
                <a:gd name="connsiteX240" fmla="*/ 625034 w 1012061"/>
                <a:gd name="connsiteY240" fmla="*/ 313975 h 372939"/>
                <a:gd name="connsiteX241" fmla="*/ 626288 w 1012061"/>
                <a:gd name="connsiteY241" fmla="*/ 313934 h 372939"/>
                <a:gd name="connsiteX242" fmla="*/ 627243 w 1012061"/>
                <a:gd name="connsiteY242" fmla="*/ 314519 h 372939"/>
                <a:gd name="connsiteX243" fmla="*/ 627850 w 1012061"/>
                <a:gd name="connsiteY243" fmla="*/ 314514 h 372939"/>
                <a:gd name="connsiteX244" fmla="*/ 963116 w 1012061"/>
                <a:gd name="connsiteY244" fmla="*/ 311891 h 372939"/>
                <a:gd name="connsiteX245" fmla="*/ 963857 w 1012061"/>
                <a:gd name="connsiteY245" fmla="*/ 311895 h 372939"/>
                <a:gd name="connsiteX246" fmla="*/ 966100 w 1012061"/>
                <a:gd name="connsiteY246" fmla="*/ 315543 h 372939"/>
                <a:gd name="connsiteX247" fmla="*/ 966044 w 1012061"/>
                <a:gd name="connsiteY247" fmla="*/ 316682 h 372939"/>
                <a:gd name="connsiteX248" fmla="*/ 964947 w 1012061"/>
                <a:gd name="connsiteY248" fmla="*/ 316974 h 372939"/>
                <a:gd name="connsiteX249" fmla="*/ 959391 w 1012061"/>
                <a:gd name="connsiteY249" fmla="*/ 316300 h 372939"/>
                <a:gd name="connsiteX250" fmla="*/ 958793 w 1012061"/>
                <a:gd name="connsiteY250" fmla="*/ 315382 h 372939"/>
                <a:gd name="connsiteX251" fmla="*/ 958709 w 1012061"/>
                <a:gd name="connsiteY251" fmla="*/ 314910 h 372939"/>
                <a:gd name="connsiteX252" fmla="*/ 959983 w 1012061"/>
                <a:gd name="connsiteY252" fmla="*/ 314006 h 372939"/>
                <a:gd name="connsiteX253" fmla="*/ 961214 w 1012061"/>
                <a:gd name="connsiteY253" fmla="*/ 312464 h 372939"/>
                <a:gd name="connsiteX254" fmla="*/ 496602 w 1012061"/>
                <a:gd name="connsiteY254" fmla="*/ 311330 h 372939"/>
                <a:gd name="connsiteX255" fmla="*/ 496695 w 1012061"/>
                <a:gd name="connsiteY255" fmla="*/ 312243 h 372939"/>
                <a:gd name="connsiteX256" fmla="*/ 494199 w 1012061"/>
                <a:gd name="connsiteY256" fmla="*/ 316206 h 372939"/>
                <a:gd name="connsiteX257" fmla="*/ 493696 w 1012061"/>
                <a:gd name="connsiteY257" fmla="*/ 316221 h 372939"/>
                <a:gd name="connsiteX258" fmla="*/ 492741 w 1012061"/>
                <a:gd name="connsiteY258" fmla="*/ 315793 h 372939"/>
                <a:gd name="connsiteX259" fmla="*/ 493085 w 1012061"/>
                <a:gd name="connsiteY259" fmla="*/ 314864 h 372939"/>
                <a:gd name="connsiteX260" fmla="*/ 492558 w 1012061"/>
                <a:gd name="connsiteY260" fmla="*/ 313356 h 372939"/>
                <a:gd name="connsiteX261" fmla="*/ 492744 w 1012061"/>
                <a:gd name="connsiteY261" fmla="*/ 312113 h 372939"/>
                <a:gd name="connsiteX262" fmla="*/ 493972 w 1012061"/>
                <a:gd name="connsiteY262" fmla="*/ 311413 h 372939"/>
                <a:gd name="connsiteX263" fmla="*/ 528283 w 1012061"/>
                <a:gd name="connsiteY263" fmla="*/ 311128 h 372939"/>
                <a:gd name="connsiteX264" fmla="*/ 528959 w 1012061"/>
                <a:gd name="connsiteY264" fmla="*/ 311973 h 372939"/>
                <a:gd name="connsiteX265" fmla="*/ 529103 w 1012061"/>
                <a:gd name="connsiteY265" fmla="*/ 312417 h 372939"/>
                <a:gd name="connsiteX266" fmla="*/ 528481 w 1012061"/>
                <a:gd name="connsiteY266" fmla="*/ 313004 h 372939"/>
                <a:gd name="connsiteX267" fmla="*/ 527754 w 1012061"/>
                <a:gd name="connsiteY267" fmla="*/ 313347 h 372939"/>
                <a:gd name="connsiteX268" fmla="*/ 526784 w 1012061"/>
                <a:gd name="connsiteY268" fmla="*/ 313373 h 372939"/>
                <a:gd name="connsiteX269" fmla="*/ 526583 w 1012061"/>
                <a:gd name="connsiteY269" fmla="*/ 312480 h 372939"/>
                <a:gd name="connsiteX270" fmla="*/ 526931 w 1012061"/>
                <a:gd name="connsiteY270" fmla="*/ 311543 h 372939"/>
                <a:gd name="connsiteX271" fmla="*/ 527862 w 1012061"/>
                <a:gd name="connsiteY271" fmla="*/ 311152 h 372939"/>
                <a:gd name="connsiteX272" fmla="*/ 647927 w 1012061"/>
                <a:gd name="connsiteY272" fmla="*/ 311045 h 372939"/>
                <a:gd name="connsiteX273" fmla="*/ 649409 w 1012061"/>
                <a:gd name="connsiteY273" fmla="*/ 311165 h 372939"/>
                <a:gd name="connsiteX274" fmla="*/ 649940 w 1012061"/>
                <a:gd name="connsiteY274" fmla="*/ 312521 h 372939"/>
                <a:gd name="connsiteX275" fmla="*/ 651649 w 1012061"/>
                <a:gd name="connsiteY275" fmla="*/ 311771 h 372939"/>
                <a:gd name="connsiteX276" fmla="*/ 653315 w 1012061"/>
                <a:gd name="connsiteY276" fmla="*/ 311582 h 372939"/>
                <a:gd name="connsiteX277" fmla="*/ 657116 w 1012061"/>
                <a:gd name="connsiteY277" fmla="*/ 311726 h 372939"/>
                <a:gd name="connsiteX278" fmla="*/ 659906 w 1012061"/>
                <a:gd name="connsiteY278" fmla="*/ 312028 h 372939"/>
                <a:gd name="connsiteX279" fmla="*/ 661549 w 1012061"/>
                <a:gd name="connsiteY279" fmla="*/ 312589 h 372939"/>
                <a:gd name="connsiteX280" fmla="*/ 661707 w 1012061"/>
                <a:gd name="connsiteY280" fmla="*/ 315297 h 372939"/>
                <a:gd name="connsiteX281" fmla="*/ 660933 w 1012061"/>
                <a:gd name="connsiteY281" fmla="*/ 315884 h 372939"/>
                <a:gd name="connsiteX282" fmla="*/ 646505 w 1012061"/>
                <a:gd name="connsiteY282" fmla="*/ 317928 h 372939"/>
                <a:gd name="connsiteX283" fmla="*/ 645099 w 1012061"/>
                <a:gd name="connsiteY283" fmla="*/ 317271 h 372939"/>
                <a:gd name="connsiteX284" fmla="*/ 644545 w 1012061"/>
                <a:gd name="connsiteY284" fmla="*/ 316621 h 372939"/>
                <a:gd name="connsiteX285" fmla="*/ 646101 w 1012061"/>
                <a:gd name="connsiteY285" fmla="*/ 314614 h 372939"/>
                <a:gd name="connsiteX286" fmla="*/ 645384 w 1012061"/>
                <a:gd name="connsiteY286" fmla="*/ 313662 h 372939"/>
                <a:gd name="connsiteX287" fmla="*/ 646205 w 1012061"/>
                <a:gd name="connsiteY287" fmla="*/ 312108 h 372939"/>
                <a:gd name="connsiteX288" fmla="*/ 721226 w 1012061"/>
                <a:gd name="connsiteY288" fmla="*/ 310231 h 372939"/>
                <a:gd name="connsiteX289" fmla="*/ 725095 w 1012061"/>
                <a:gd name="connsiteY289" fmla="*/ 311126 h 372939"/>
                <a:gd name="connsiteX290" fmla="*/ 727315 w 1012061"/>
                <a:gd name="connsiteY290" fmla="*/ 311032 h 372939"/>
                <a:gd name="connsiteX291" fmla="*/ 727767 w 1012061"/>
                <a:gd name="connsiteY291" fmla="*/ 311830 h 372939"/>
                <a:gd name="connsiteX292" fmla="*/ 725650 w 1012061"/>
                <a:gd name="connsiteY292" fmla="*/ 313714 h 372939"/>
                <a:gd name="connsiteX293" fmla="*/ 721170 w 1012061"/>
                <a:gd name="connsiteY293" fmla="*/ 312264 h 372939"/>
                <a:gd name="connsiteX294" fmla="*/ 720403 w 1012061"/>
                <a:gd name="connsiteY294" fmla="*/ 310708 h 372939"/>
                <a:gd name="connsiteX295" fmla="*/ 611158 w 1012061"/>
                <a:gd name="connsiteY295" fmla="*/ 310106 h 372939"/>
                <a:gd name="connsiteX296" fmla="*/ 612734 w 1012061"/>
                <a:gd name="connsiteY296" fmla="*/ 310380 h 372939"/>
                <a:gd name="connsiteX297" fmla="*/ 614091 w 1012061"/>
                <a:gd name="connsiteY297" fmla="*/ 311413 h 372939"/>
                <a:gd name="connsiteX298" fmla="*/ 614701 w 1012061"/>
                <a:gd name="connsiteY298" fmla="*/ 315356 h 372939"/>
                <a:gd name="connsiteX299" fmla="*/ 613585 w 1012061"/>
                <a:gd name="connsiteY299" fmla="*/ 315912 h 372939"/>
                <a:gd name="connsiteX300" fmla="*/ 612881 w 1012061"/>
                <a:gd name="connsiteY300" fmla="*/ 316510 h 372939"/>
                <a:gd name="connsiteX301" fmla="*/ 612406 w 1012061"/>
                <a:gd name="connsiteY301" fmla="*/ 317298 h 372939"/>
                <a:gd name="connsiteX302" fmla="*/ 610393 w 1012061"/>
                <a:gd name="connsiteY302" fmla="*/ 318741 h 372939"/>
                <a:gd name="connsiteX303" fmla="*/ 611181 w 1012061"/>
                <a:gd name="connsiteY303" fmla="*/ 320546 h 372939"/>
                <a:gd name="connsiteX304" fmla="*/ 610590 w 1012061"/>
                <a:gd name="connsiteY304" fmla="*/ 321292 h 372939"/>
                <a:gd name="connsiteX305" fmla="*/ 609769 w 1012061"/>
                <a:gd name="connsiteY305" fmla="*/ 321649 h 372939"/>
                <a:gd name="connsiteX306" fmla="*/ 606642 w 1012061"/>
                <a:gd name="connsiteY306" fmla="*/ 322441 h 372939"/>
                <a:gd name="connsiteX307" fmla="*/ 604704 w 1012061"/>
                <a:gd name="connsiteY307" fmla="*/ 323191 h 372939"/>
                <a:gd name="connsiteX308" fmla="*/ 602855 w 1012061"/>
                <a:gd name="connsiteY308" fmla="*/ 324183 h 372939"/>
                <a:gd name="connsiteX309" fmla="*/ 601684 w 1012061"/>
                <a:gd name="connsiteY309" fmla="*/ 324388 h 372939"/>
                <a:gd name="connsiteX310" fmla="*/ 599567 w 1012061"/>
                <a:gd name="connsiteY310" fmla="*/ 324468 h 372939"/>
                <a:gd name="connsiteX311" fmla="*/ 596564 w 1012061"/>
                <a:gd name="connsiteY311" fmla="*/ 324290 h 372939"/>
                <a:gd name="connsiteX312" fmla="*/ 594539 w 1012061"/>
                <a:gd name="connsiteY312" fmla="*/ 324612 h 372939"/>
                <a:gd name="connsiteX313" fmla="*/ 588890 w 1012061"/>
                <a:gd name="connsiteY313" fmla="*/ 327188 h 372939"/>
                <a:gd name="connsiteX314" fmla="*/ 586671 w 1012061"/>
                <a:gd name="connsiteY314" fmla="*/ 327412 h 372939"/>
                <a:gd name="connsiteX315" fmla="*/ 584748 w 1012061"/>
                <a:gd name="connsiteY315" fmla="*/ 328043 h 372939"/>
                <a:gd name="connsiteX316" fmla="*/ 584083 w 1012061"/>
                <a:gd name="connsiteY316" fmla="*/ 327042 h 372939"/>
                <a:gd name="connsiteX317" fmla="*/ 583272 w 1012061"/>
                <a:gd name="connsiteY317" fmla="*/ 326302 h 372939"/>
                <a:gd name="connsiteX318" fmla="*/ 581393 w 1012061"/>
                <a:gd name="connsiteY318" fmla="*/ 326115 h 372939"/>
                <a:gd name="connsiteX319" fmla="*/ 579514 w 1012061"/>
                <a:gd name="connsiteY319" fmla="*/ 326174 h 372939"/>
                <a:gd name="connsiteX320" fmla="*/ 577605 w 1012061"/>
                <a:gd name="connsiteY320" fmla="*/ 328448 h 372939"/>
                <a:gd name="connsiteX321" fmla="*/ 574565 w 1012061"/>
                <a:gd name="connsiteY321" fmla="*/ 327971 h 372939"/>
                <a:gd name="connsiteX322" fmla="*/ 573386 w 1012061"/>
                <a:gd name="connsiteY322" fmla="*/ 328172 h 372939"/>
                <a:gd name="connsiteX323" fmla="*/ 572250 w 1012061"/>
                <a:gd name="connsiteY323" fmla="*/ 328650 h 372939"/>
                <a:gd name="connsiteX324" fmla="*/ 571125 w 1012061"/>
                <a:gd name="connsiteY324" fmla="*/ 328862 h 372939"/>
                <a:gd name="connsiteX325" fmla="*/ 569944 w 1012061"/>
                <a:gd name="connsiteY325" fmla="*/ 328703 h 372939"/>
                <a:gd name="connsiteX326" fmla="*/ 565502 w 1012061"/>
                <a:gd name="connsiteY326" fmla="*/ 326931 h 372939"/>
                <a:gd name="connsiteX327" fmla="*/ 560405 w 1012061"/>
                <a:gd name="connsiteY327" fmla="*/ 325885 h 372939"/>
                <a:gd name="connsiteX328" fmla="*/ 555299 w 1012061"/>
                <a:gd name="connsiteY328" fmla="*/ 326296 h 372939"/>
                <a:gd name="connsiteX329" fmla="*/ 550907 w 1012061"/>
                <a:gd name="connsiteY329" fmla="*/ 325330 h 372939"/>
                <a:gd name="connsiteX330" fmla="*/ 548501 w 1012061"/>
                <a:gd name="connsiteY330" fmla="*/ 326069 h 372939"/>
                <a:gd name="connsiteX331" fmla="*/ 546230 w 1012061"/>
                <a:gd name="connsiteY331" fmla="*/ 327127 h 372939"/>
                <a:gd name="connsiteX332" fmla="*/ 545560 w 1012061"/>
                <a:gd name="connsiteY332" fmla="*/ 326013 h 372939"/>
                <a:gd name="connsiteX333" fmla="*/ 544727 w 1012061"/>
                <a:gd name="connsiteY333" fmla="*/ 325032 h 372939"/>
                <a:gd name="connsiteX334" fmla="*/ 543986 w 1012061"/>
                <a:gd name="connsiteY334" fmla="*/ 323563 h 372939"/>
                <a:gd name="connsiteX335" fmla="*/ 543966 w 1012061"/>
                <a:gd name="connsiteY335" fmla="*/ 321899 h 372939"/>
                <a:gd name="connsiteX336" fmla="*/ 544213 w 1012061"/>
                <a:gd name="connsiteY336" fmla="*/ 320731 h 372939"/>
                <a:gd name="connsiteX337" fmla="*/ 544865 w 1012061"/>
                <a:gd name="connsiteY337" fmla="*/ 319670 h 372939"/>
                <a:gd name="connsiteX338" fmla="*/ 545273 w 1012061"/>
                <a:gd name="connsiteY338" fmla="*/ 318563 h 372939"/>
                <a:gd name="connsiteX339" fmla="*/ 545465 w 1012061"/>
                <a:gd name="connsiteY339" fmla="*/ 317376 h 372939"/>
                <a:gd name="connsiteX340" fmla="*/ 546426 w 1012061"/>
                <a:gd name="connsiteY340" fmla="*/ 317939 h 372939"/>
                <a:gd name="connsiteX341" fmla="*/ 547432 w 1012061"/>
                <a:gd name="connsiteY341" fmla="*/ 317726 h 372939"/>
                <a:gd name="connsiteX342" fmla="*/ 550427 w 1012061"/>
                <a:gd name="connsiteY342" fmla="*/ 316434 h 372939"/>
                <a:gd name="connsiteX343" fmla="*/ 553345 w 1012061"/>
                <a:gd name="connsiteY343" fmla="*/ 314482 h 372939"/>
                <a:gd name="connsiteX344" fmla="*/ 556063 w 1012061"/>
                <a:gd name="connsiteY344" fmla="*/ 313769 h 372939"/>
                <a:gd name="connsiteX345" fmla="*/ 557629 w 1012061"/>
                <a:gd name="connsiteY345" fmla="*/ 313571 h 372939"/>
                <a:gd name="connsiteX346" fmla="*/ 558970 w 1012061"/>
                <a:gd name="connsiteY346" fmla="*/ 313954 h 372939"/>
                <a:gd name="connsiteX347" fmla="*/ 560333 w 1012061"/>
                <a:gd name="connsiteY347" fmla="*/ 313814 h 372939"/>
                <a:gd name="connsiteX348" fmla="*/ 561727 w 1012061"/>
                <a:gd name="connsiteY348" fmla="*/ 313382 h 372939"/>
                <a:gd name="connsiteX349" fmla="*/ 563924 w 1012061"/>
                <a:gd name="connsiteY349" fmla="*/ 314882 h 372939"/>
                <a:gd name="connsiteX350" fmla="*/ 564848 w 1012061"/>
                <a:gd name="connsiteY350" fmla="*/ 315186 h 372939"/>
                <a:gd name="connsiteX351" fmla="*/ 567827 w 1012061"/>
                <a:gd name="connsiteY351" fmla="*/ 315302 h 372939"/>
                <a:gd name="connsiteX352" fmla="*/ 570537 w 1012061"/>
                <a:gd name="connsiteY352" fmla="*/ 316167 h 372939"/>
                <a:gd name="connsiteX353" fmla="*/ 572958 w 1012061"/>
                <a:gd name="connsiteY353" fmla="*/ 317458 h 372939"/>
                <a:gd name="connsiteX354" fmla="*/ 576463 w 1012061"/>
                <a:gd name="connsiteY354" fmla="*/ 318670 h 372939"/>
                <a:gd name="connsiteX355" fmla="*/ 578570 w 1012061"/>
                <a:gd name="connsiteY355" fmla="*/ 320294 h 372939"/>
                <a:gd name="connsiteX356" fmla="*/ 580175 w 1012061"/>
                <a:gd name="connsiteY356" fmla="*/ 320894 h 372939"/>
                <a:gd name="connsiteX357" fmla="*/ 581367 w 1012061"/>
                <a:gd name="connsiteY357" fmla="*/ 321057 h 372939"/>
                <a:gd name="connsiteX358" fmla="*/ 582461 w 1012061"/>
                <a:gd name="connsiteY358" fmla="*/ 320838 h 372939"/>
                <a:gd name="connsiteX359" fmla="*/ 583842 w 1012061"/>
                <a:gd name="connsiteY359" fmla="*/ 319744 h 372939"/>
                <a:gd name="connsiteX360" fmla="*/ 585457 w 1012061"/>
                <a:gd name="connsiteY360" fmla="*/ 319292 h 372939"/>
                <a:gd name="connsiteX361" fmla="*/ 586864 w 1012061"/>
                <a:gd name="connsiteY361" fmla="*/ 319309 h 372939"/>
                <a:gd name="connsiteX362" fmla="*/ 589426 w 1012061"/>
                <a:gd name="connsiteY362" fmla="*/ 319026 h 372939"/>
                <a:gd name="connsiteX363" fmla="*/ 590505 w 1012061"/>
                <a:gd name="connsiteY363" fmla="*/ 318763 h 372939"/>
                <a:gd name="connsiteX364" fmla="*/ 591717 w 1012061"/>
                <a:gd name="connsiteY364" fmla="*/ 318163 h 372939"/>
                <a:gd name="connsiteX365" fmla="*/ 592902 w 1012061"/>
                <a:gd name="connsiteY365" fmla="*/ 318535 h 372939"/>
                <a:gd name="connsiteX366" fmla="*/ 593941 w 1012061"/>
                <a:gd name="connsiteY366" fmla="*/ 319087 h 372939"/>
                <a:gd name="connsiteX367" fmla="*/ 598275 w 1012061"/>
                <a:gd name="connsiteY367" fmla="*/ 321943 h 372939"/>
                <a:gd name="connsiteX368" fmla="*/ 599605 w 1012061"/>
                <a:gd name="connsiteY368" fmla="*/ 322019 h 372939"/>
                <a:gd name="connsiteX369" fmla="*/ 602043 w 1012061"/>
                <a:gd name="connsiteY369" fmla="*/ 321405 h 372939"/>
                <a:gd name="connsiteX370" fmla="*/ 602775 w 1012061"/>
                <a:gd name="connsiteY370" fmla="*/ 320640 h 372939"/>
                <a:gd name="connsiteX371" fmla="*/ 603151 w 1012061"/>
                <a:gd name="connsiteY371" fmla="*/ 319463 h 372939"/>
                <a:gd name="connsiteX372" fmla="*/ 603818 w 1012061"/>
                <a:gd name="connsiteY372" fmla="*/ 318485 h 372939"/>
                <a:gd name="connsiteX373" fmla="*/ 604748 w 1012061"/>
                <a:gd name="connsiteY373" fmla="*/ 317637 h 372939"/>
                <a:gd name="connsiteX374" fmla="*/ 605803 w 1012061"/>
                <a:gd name="connsiteY374" fmla="*/ 316989 h 372939"/>
                <a:gd name="connsiteX375" fmla="*/ 609041 w 1012061"/>
                <a:gd name="connsiteY375" fmla="*/ 315891 h 372939"/>
                <a:gd name="connsiteX376" fmla="*/ 611264 w 1012061"/>
                <a:gd name="connsiteY376" fmla="*/ 314806 h 372939"/>
                <a:gd name="connsiteX377" fmla="*/ 612781 w 1012061"/>
                <a:gd name="connsiteY377" fmla="*/ 312969 h 372939"/>
                <a:gd name="connsiteX378" fmla="*/ 609232 w 1012061"/>
                <a:gd name="connsiteY378" fmla="*/ 312169 h 372939"/>
                <a:gd name="connsiteX379" fmla="*/ 609978 w 1012061"/>
                <a:gd name="connsiteY379" fmla="*/ 310848 h 372939"/>
                <a:gd name="connsiteX380" fmla="*/ 791911 w 1012061"/>
                <a:gd name="connsiteY380" fmla="*/ 310063 h 372939"/>
                <a:gd name="connsiteX381" fmla="*/ 793399 w 1012061"/>
                <a:gd name="connsiteY381" fmla="*/ 310802 h 372939"/>
                <a:gd name="connsiteX382" fmla="*/ 795366 w 1012061"/>
                <a:gd name="connsiteY382" fmla="*/ 310941 h 372939"/>
                <a:gd name="connsiteX383" fmla="*/ 792434 w 1012061"/>
                <a:gd name="connsiteY383" fmla="*/ 312749 h 372939"/>
                <a:gd name="connsiteX384" fmla="*/ 789435 w 1012061"/>
                <a:gd name="connsiteY384" fmla="*/ 313499 h 372939"/>
                <a:gd name="connsiteX385" fmla="*/ 788419 w 1012061"/>
                <a:gd name="connsiteY385" fmla="*/ 315126 h 372939"/>
                <a:gd name="connsiteX386" fmla="*/ 786496 w 1012061"/>
                <a:gd name="connsiteY386" fmla="*/ 315819 h 372939"/>
                <a:gd name="connsiteX387" fmla="*/ 787783 w 1012061"/>
                <a:gd name="connsiteY387" fmla="*/ 314058 h 372939"/>
                <a:gd name="connsiteX388" fmla="*/ 502262 w 1012061"/>
                <a:gd name="connsiteY388" fmla="*/ 310013 h 372939"/>
                <a:gd name="connsiteX389" fmla="*/ 506606 w 1012061"/>
                <a:gd name="connsiteY389" fmla="*/ 310752 h 372939"/>
                <a:gd name="connsiteX390" fmla="*/ 507340 w 1012061"/>
                <a:gd name="connsiteY390" fmla="*/ 311369 h 372939"/>
                <a:gd name="connsiteX391" fmla="*/ 508494 w 1012061"/>
                <a:gd name="connsiteY391" fmla="*/ 313980 h 372939"/>
                <a:gd name="connsiteX392" fmla="*/ 509369 w 1012061"/>
                <a:gd name="connsiteY392" fmla="*/ 315103 h 372939"/>
                <a:gd name="connsiteX393" fmla="*/ 510474 w 1012061"/>
                <a:gd name="connsiteY393" fmla="*/ 315982 h 372939"/>
                <a:gd name="connsiteX394" fmla="*/ 511481 w 1012061"/>
                <a:gd name="connsiteY394" fmla="*/ 315900 h 372939"/>
                <a:gd name="connsiteX395" fmla="*/ 513588 w 1012061"/>
                <a:gd name="connsiteY395" fmla="*/ 314558 h 372939"/>
                <a:gd name="connsiteX396" fmla="*/ 514858 w 1012061"/>
                <a:gd name="connsiteY396" fmla="*/ 314073 h 372939"/>
                <a:gd name="connsiteX397" fmla="*/ 516218 w 1012061"/>
                <a:gd name="connsiteY397" fmla="*/ 314049 h 372939"/>
                <a:gd name="connsiteX398" fmla="*/ 517540 w 1012061"/>
                <a:gd name="connsiteY398" fmla="*/ 314278 h 372939"/>
                <a:gd name="connsiteX399" fmla="*/ 518837 w 1012061"/>
                <a:gd name="connsiteY399" fmla="*/ 315230 h 372939"/>
                <a:gd name="connsiteX400" fmla="*/ 519306 w 1012061"/>
                <a:gd name="connsiteY400" fmla="*/ 316789 h 372939"/>
                <a:gd name="connsiteX401" fmla="*/ 519794 w 1012061"/>
                <a:gd name="connsiteY401" fmla="*/ 317267 h 372939"/>
                <a:gd name="connsiteX402" fmla="*/ 520556 w 1012061"/>
                <a:gd name="connsiteY402" fmla="*/ 315402 h 372939"/>
                <a:gd name="connsiteX403" fmla="*/ 521571 w 1012061"/>
                <a:gd name="connsiteY403" fmla="*/ 314838 h 372939"/>
                <a:gd name="connsiteX404" fmla="*/ 522709 w 1012061"/>
                <a:gd name="connsiteY404" fmla="*/ 314554 h 372939"/>
                <a:gd name="connsiteX405" fmla="*/ 524489 w 1012061"/>
                <a:gd name="connsiteY405" fmla="*/ 314656 h 372939"/>
                <a:gd name="connsiteX406" fmla="*/ 525851 w 1012061"/>
                <a:gd name="connsiteY406" fmla="*/ 315547 h 372939"/>
                <a:gd name="connsiteX407" fmla="*/ 527090 w 1012061"/>
                <a:gd name="connsiteY407" fmla="*/ 318197 h 372939"/>
                <a:gd name="connsiteX408" fmla="*/ 527052 w 1012061"/>
                <a:gd name="connsiteY408" fmla="*/ 320518 h 372939"/>
                <a:gd name="connsiteX409" fmla="*/ 527504 w 1012061"/>
                <a:gd name="connsiteY409" fmla="*/ 321384 h 372939"/>
                <a:gd name="connsiteX410" fmla="*/ 528356 w 1012061"/>
                <a:gd name="connsiteY410" fmla="*/ 322017 h 372939"/>
                <a:gd name="connsiteX411" fmla="*/ 528989 w 1012061"/>
                <a:gd name="connsiteY411" fmla="*/ 322906 h 372939"/>
                <a:gd name="connsiteX412" fmla="*/ 528425 w 1012061"/>
                <a:gd name="connsiteY412" fmla="*/ 323837 h 372939"/>
                <a:gd name="connsiteX413" fmla="*/ 527866 w 1012061"/>
                <a:gd name="connsiteY413" fmla="*/ 324294 h 372939"/>
                <a:gd name="connsiteX414" fmla="*/ 526259 w 1012061"/>
                <a:gd name="connsiteY414" fmla="*/ 324721 h 372939"/>
                <a:gd name="connsiteX415" fmla="*/ 525491 w 1012061"/>
                <a:gd name="connsiteY415" fmla="*/ 324534 h 372939"/>
                <a:gd name="connsiteX416" fmla="*/ 524781 w 1012061"/>
                <a:gd name="connsiteY416" fmla="*/ 323907 h 372939"/>
                <a:gd name="connsiteX417" fmla="*/ 523984 w 1012061"/>
                <a:gd name="connsiteY417" fmla="*/ 323676 h 372939"/>
                <a:gd name="connsiteX418" fmla="*/ 522167 w 1012061"/>
                <a:gd name="connsiteY418" fmla="*/ 323885 h 372939"/>
                <a:gd name="connsiteX419" fmla="*/ 520502 w 1012061"/>
                <a:gd name="connsiteY419" fmla="*/ 324405 h 372939"/>
                <a:gd name="connsiteX420" fmla="*/ 520731 w 1012061"/>
                <a:gd name="connsiteY420" fmla="*/ 325256 h 372939"/>
                <a:gd name="connsiteX421" fmla="*/ 522098 w 1012061"/>
                <a:gd name="connsiteY421" fmla="*/ 325639 h 372939"/>
                <a:gd name="connsiteX422" fmla="*/ 522511 w 1012061"/>
                <a:gd name="connsiteY422" fmla="*/ 326041 h 372939"/>
                <a:gd name="connsiteX423" fmla="*/ 522420 w 1012061"/>
                <a:gd name="connsiteY423" fmla="*/ 326587 h 372939"/>
                <a:gd name="connsiteX424" fmla="*/ 521882 w 1012061"/>
                <a:gd name="connsiteY424" fmla="*/ 326696 h 372939"/>
                <a:gd name="connsiteX425" fmla="*/ 520105 w 1012061"/>
                <a:gd name="connsiteY425" fmla="*/ 325961 h 372939"/>
                <a:gd name="connsiteX426" fmla="*/ 518905 w 1012061"/>
                <a:gd name="connsiteY426" fmla="*/ 326109 h 372939"/>
                <a:gd name="connsiteX427" fmla="*/ 514592 w 1012061"/>
                <a:gd name="connsiteY427" fmla="*/ 327101 h 372939"/>
                <a:gd name="connsiteX428" fmla="*/ 513450 w 1012061"/>
                <a:gd name="connsiteY428" fmla="*/ 327079 h 372939"/>
                <a:gd name="connsiteX429" fmla="*/ 512806 w 1012061"/>
                <a:gd name="connsiteY429" fmla="*/ 326142 h 372939"/>
                <a:gd name="connsiteX430" fmla="*/ 512852 w 1012061"/>
                <a:gd name="connsiteY430" fmla="*/ 323698 h 372939"/>
                <a:gd name="connsiteX431" fmla="*/ 512387 w 1012061"/>
                <a:gd name="connsiteY431" fmla="*/ 323050 h 372939"/>
                <a:gd name="connsiteX432" fmla="*/ 509183 w 1012061"/>
                <a:gd name="connsiteY432" fmla="*/ 326018 h 372939"/>
                <a:gd name="connsiteX433" fmla="*/ 508209 w 1012061"/>
                <a:gd name="connsiteY433" fmla="*/ 326746 h 372939"/>
                <a:gd name="connsiteX434" fmla="*/ 506918 w 1012061"/>
                <a:gd name="connsiteY434" fmla="*/ 327090 h 372939"/>
                <a:gd name="connsiteX435" fmla="*/ 505572 w 1012061"/>
                <a:gd name="connsiteY435" fmla="*/ 326971 h 372939"/>
                <a:gd name="connsiteX436" fmla="*/ 500940 w 1012061"/>
                <a:gd name="connsiteY436" fmla="*/ 328772 h 372939"/>
                <a:gd name="connsiteX437" fmla="*/ 499485 w 1012061"/>
                <a:gd name="connsiteY437" fmla="*/ 328520 h 372939"/>
                <a:gd name="connsiteX438" fmla="*/ 498075 w 1012061"/>
                <a:gd name="connsiteY438" fmla="*/ 328515 h 372939"/>
                <a:gd name="connsiteX439" fmla="*/ 493128 w 1012061"/>
                <a:gd name="connsiteY439" fmla="*/ 330468 h 372939"/>
                <a:gd name="connsiteX440" fmla="*/ 490474 w 1012061"/>
                <a:gd name="connsiteY440" fmla="*/ 331012 h 372939"/>
                <a:gd name="connsiteX441" fmla="*/ 489114 w 1012061"/>
                <a:gd name="connsiteY441" fmla="*/ 331051 h 372939"/>
                <a:gd name="connsiteX442" fmla="*/ 487757 w 1012061"/>
                <a:gd name="connsiteY442" fmla="*/ 330884 h 372939"/>
                <a:gd name="connsiteX443" fmla="*/ 486546 w 1012061"/>
                <a:gd name="connsiteY443" fmla="*/ 331060 h 372939"/>
                <a:gd name="connsiteX444" fmla="*/ 485462 w 1012061"/>
                <a:gd name="connsiteY444" fmla="*/ 331844 h 372939"/>
                <a:gd name="connsiteX445" fmla="*/ 483253 w 1012061"/>
                <a:gd name="connsiteY445" fmla="*/ 332507 h 372939"/>
                <a:gd name="connsiteX446" fmla="*/ 480973 w 1012061"/>
                <a:gd name="connsiteY446" fmla="*/ 332002 h 372939"/>
                <a:gd name="connsiteX447" fmla="*/ 479047 w 1012061"/>
                <a:gd name="connsiteY447" fmla="*/ 331330 h 372939"/>
                <a:gd name="connsiteX448" fmla="*/ 477220 w 1012061"/>
                <a:gd name="connsiteY448" fmla="*/ 330442 h 372939"/>
                <a:gd name="connsiteX449" fmla="*/ 476766 w 1012061"/>
                <a:gd name="connsiteY449" fmla="*/ 329308 h 372939"/>
                <a:gd name="connsiteX450" fmla="*/ 476857 w 1012061"/>
                <a:gd name="connsiteY450" fmla="*/ 327945 h 372939"/>
                <a:gd name="connsiteX451" fmla="*/ 477628 w 1012061"/>
                <a:gd name="connsiteY451" fmla="*/ 326087 h 372939"/>
                <a:gd name="connsiteX452" fmla="*/ 477101 w 1012061"/>
                <a:gd name="connsiteY452" fmla="*/ 322828 h 372939"/>
                <a:gd name="connsiteX453" fmla="*/ 477503 w 1012061"/>
                <a:gd name="connsiteY453" fmla="*/ 321342 h 372939"/>
                <a:gd name="connsiteX454" fmla="*/ 478250 w 1012061"/>
                <a:gd name="connsiteY454" fmla="*/ 319883 h 372939"/>
                <a:gd name="connsiteX455" fmla="*/ 479381 w 1012061"/>
                <a:gd name="connsiteY455" fmla="*/ 319346 h 372939"/>
                <a:gd name="connsiteX456" fmla="*/ 480861 w 1012061"/>
                <a:gd name="connsiteY456" fmla="*/ 319237 h 372939"/>
                <a:gd name="connsiteX457" fmla="*/ 483305 w 1012061"/>
                <a:gd name="connsiteY457" fmla="*/ 317923 h 372939"/>
                <a:gd name="connsiteX458" fmla="*/ 485542 w 1012061"/>
                <a:gd name="connsiteY458" fmla="*/ 316204 h 372939"/>
                <a:gd name="connsiteX459" fmla="*/ 486842 w 1012061"/>
                <a:gd name="connsiteY459" fmla="*/ 316367 h 372939"/>
                <a:gd name="connsiteX460" fmla="*/ 489783 w 1012061"/>
                <a:gd name="connsiteY460" fmla="*/ 317569 h 372939"/>
                <a:gd name="connsiteX461" fmla="*/ 491507 w 1012061"/>
                <a:gd name="connsiteY461" fmla="*/ 317713 h 372939"/>
                <a:gd name="connsiteX462" fmla="*/ 494437 w 1012061"/>
                <a:gd name="connsiteY462" fmla="*/ 317522 h 372939"/>
                <a:gd name="connsiteX463" fmla="*/ 495646 w 1012061"/>
                <a:gd name="connsiteY463" fmla="*/ 318261 h 372939"/>
                <a:gd name="connsiteX464" fmla="*/ 496123 w 1012061"/>
                <a:gd name="connsiteY464" fmla="*/ 319953 h 372939"/>
                <a:gd name="connsiteX465" fmla="*/ 496775 w 1012061"/>
                <a:gd name="connsiteY465" fmla="*/ 320570 h 372939"/>
                <a:gd name="connsiteX466" fmla="*/ 497643 w 1012061"/>
                <a:gd name="connsiteY466" fmla="*/ 321001 h 372939"/>
                <a:gd name="connsiteX467" fmla="*/ 499721 w 1012061"/>
                <a:gd name="connsiteY467" fmla="*/ 323863 h 372939"/>
                <a:gd name="connsiteX468" fmla="*/ 501647 w 1012061"/>
                <a:gd name="connsiteY468" fmla="*/ 323713 h 372939"/>
                <a:gd name="connsiteX469" fmla="*/ 503335 w 1012061"/>
                <a:gd name="connsiteY469" fmla="*/ 324240 h 372939"/>
                <a:gd name="connsiteX470" fmla="*/ 506311 w 1012061"/>
                <a:gd name="connsiteY470" fmla="*/ 322508 h 372939"/>
                <a:gd name="connsiteX471" fmla="*/ 508563 w 1012061"/>
                <a:gd name="connsiteY471" fmla="*/ 322550 h 372939"/>
                <a:gd name="connsiteX472" fmla="*/ 509202 w 1012061"/>
                <a:gd name="connsiteY472" fmla="*/ 321207 h 372939"/>
                <a:gd name="connsiteX473" fmla="*/ 507857 w 1012061"/>
                <a:gd name="connsiteY473" fmla="*/ 319774 h 372939"/>
                <a:gd name="connsiteX474" fmla="*/ 506231 w 1012061"/>
                <a:gd name="connsiteY474" fmla="*/ 318609 h 372939"/>
                <a:gd name="connsiteX475" fmla="*/ 505358 w 1012061"/>
                <a:gd name="connsiteY475" fmla="*/ 318365 h 372939"/>
                <a:gd name="connsiteX476" fmla="*/ 504404 w 1012061"/>
                <a:gd name="connsiteY476" fmla="*/ 318435 h 372939"/>
                <a:gd name="connsiteX477" fmla="*/ 503547 w 1012061"/>
                <a:gd name="connsiteY477" fmla="*/ 318246 h 372939"/>
                <a:gd name="connsiteX478" fmla="*/ 499915 w 1012061"/>
                <a:gd name="connsiteY478" fmla="*/ 315645 h 372939"/>
                <a:gd name="connsiteX479" fmla="*/ 498844 w 1012061"/>
                <a:gd name="connsiteY479" fmla="*/ 314241 h 372939"/>
                <a:gd name="connsiteX480" fmla="*/ 498224 w 1012061"/>
                <a:gd name="connsiteY480" fmla="*/ 312584 h 372939"/>
                <a:gd name="connsiteX481" fmla="*/ 498598 w 1012061"/>
                <a:gd name="connsiteY481" fmla="*/ 311358 h 372939"/>
                <a:gd name="connsiteX482" fmla="*/ 501096 w 1012061"/>
                <a:gd name="connsiteY482" fmla="*/ 310276 h 372939"/>
                <a:gd name="connsiteX483" fmla="*/ 441078 w 1012061"/>
                <a:gd name="connsiteY483" fmla="*/ 309494 h 372939"/>
                <a:gd name="connsiteX484" fmla="*/ 441896 w 1012061"/>
                <a:gd name="connsiteY484" fmla="*/ 309533 h 372939"/>
                <a:gd name="connsiteX485" fmla="*/ 445196 w 1012061"/>
                <a:gd name="connsiteY485" fmla="*/ 310600 h 372939"/>
                <a:gd name="connsiteX486" fmla="*/ 447576 w 1012061"/>
                <a:gd name="connsiteY486" fmla="*/ 311484 h 372939"/>
                <a:gd name="connsiteX487" fmla="*/ 449822 w 1012061"/>
                <a:gd name="connsiteY487" fmla="*/ 312667 h 372939"/>
                <a:gd name="connsiteX488" fmla="*/ 452950 w 1012061"/>
                <a:gd name="connsiteY488" fmla="*/ 316123 h 372939"/>
                <a:gd name="connsiteX489" fmla="*/ 453246 w 1012061"/>
                <a:gd name="connsiteY489" fmla="*/ 317093 h 372939"/>
                <a:gd name="connsiteX490" fmla="*/ 452298 w 1012061"/>
                <a:gd name="connsiteY490" fmla="*/ 318008 h 372939"/>
                <a:gd name="connsiteX491" fmla="*/ 450055 w 1012061"/>
                <a:gd name="connsiteY491" fmla="*/ 319476 h 372939"/>
                <a:gd name="connsiteX492" fmla="*/ 445054 w 1012061"/>
                <a:gd name="connsiteY492" fmla="*/ 321738 h 372939"/>
                <a:gd name="connsiteX493" fmla="*/ 444196 w 1012061"/>
                <a:gd name="connsiteY493" fmla="*/ 322806 h 372939"/>
                <a:gd name="connsiteX494" fmla="*/ 443138 w 1012061"/>
                <a:gd name="connsiteY494" fmla="*/ 324897 h 372939"/>
                <a:gd name="connsiteX495" fmla="*/ 442894 w 1012061"/>
                <a:gd name="connsiteY495" fmla="*/ 325789 h 372939"/>
                <a:gd name="connsiteX496" fmla="*/ 442542 w 1012061"/>
                <a:gd name="connsiteY496" fmla="*/ 326278 h 372939"/>
                <a:gd name="connsiteX497" fmla="*/ 441968 w 1012061"/>
                <a:gd name="connsiteY497" fmla="*/ 326633 h 372939"/>
                <a:gd name="connsiteX498" fmla="*/ 440877 w 1012061"/>
                <a:gd name="connsiteY498" fmla="*/ 326936 h 372939"/>
                <a:gd name="connsiteX499" fmla="*/ 439696 w 1012061"/>
                <a:gd name="connsiteY499" fmla="*/ 326498 h 372939"/>
                <a:gd name="connsiteX500" fmla="*/ 440763 w 1012061"/>
                <a:gd name="connsiteY500" fmla="*/ 325151 h 372939"/>
                <a:gd name="connsiteX501" fmla="*/ 440804 w 1012061"/>
                <a:gd name="connsiteY501" fmla="*/ 323546 h 372939"/>
                <a:gd name="connsiteX502" fmla="*/ 440009 w 1012061"/>
                <a:gd name="connsiteY502" fmla="*/ 322045 h 372939"/>
                <a:gd name="connsiteX503" fmla="*/ 438890 w 1012061"/>
                <a:gd name="connsiteY503" fmla="*/ 320788 h 372939"/>
                <a:gd name="connsiteX504" fmla="*/ 436612 w 1012061"/>
                <a:gd name="connsiteY504" fmla="*/ 319080 h 372939"/>
                <a:gd name="connsiteX505" fmla="*/ 434181 w 1012061"/>
                <a:gd name="connsiteY505" fmla="*/ 317569 h 372939"/>
                <a:gd name="connsiteX506" fmla="*/ 431732 w 1012061"/>
                <a:gd name="connsiteY506" fmla="*/ 316799 h 372939"/>
                <a:gd name="connsiteX507" fmla="*/ 429120 w 1012061"/>
                <a:gd name="connsiteY507" fmla="*/ 316451 h 372939"/>
                <a:gd name="connsiteX508" fmla="*/ 428184 w 1012061"/>
                <a:gd name="connsiteY508" fmla="*/ 315719 h 372939"/>
                <a:gd name="connsiteX509" fmla="*/ 426655 w 1012061"/>
                <a:gd name="connsiteY509" fmla="*/ 313836 h 372939"/>
                <a:gd name="connsiteX510" fmla="*/ 426150 w 1012061"/>
                <a:gd name="connsiteY510" fmla="*/ 312810 h 372939"/>
                <a:gd name="connsiteX511" fmla="*/ 425900 w 1012061"/>
                <a:gd name="connsiteY511" fmla="*/ 311732 h 372939"/>
                <a:gd name="connsiteX512" fmla="*/ 426070 w 1012061"/>
                <a:gd name="connsiteY512" fmla="*/ 310689 h 372939"/>
                <a:gd name="connsiteX513" fmla="*/ 426711 w 1012061"/>
                <a:gd name="connsiteY513" fmla="*/ 310626 h 372939"/>
                <a:gd name="connsiteX514" fmla="*/ 429270 w 1012061"/>
                <a:gd name="connsiteY514" fmla="*/ 310873 h 372939"/>
                <a:gd name="connsiteX515" fmla="*/ 433980 w 1012061"/>
                <a:gd name="connsiteY515" fmla="*/ 312095 h 372939"/>
                <a:gd name="connsiteX516" fmla="*/ 436312 w 1012061"/>
                <a:gd name="connsiteY516" fmla="*/ 312195 h 372939"/>
                <a:gd name="connsiteX517" fmla="*/ 437632 w 1012061"/>
                <a:gd name="connsiteY517" fmla="*/ 311913 h 372939"/>
                <a:gd name="connsiteX518" fmla="*/ 761736 w 1012061"/>
                <a:gd name="connsiteY518" fmla="*/ 303467 h 372939"/>
                <a:gd name="connsiteX519" fmla="*/ 765219 w 1012061"/>
                <a:gd name="connsiteY519" fmla="*/ 304020 h 372939"/>
                <a:gd name="connsiteX520" fmla="*/ 765895 w 1012061"/>
                <a:gd name="connsiteY520" fmla="*/ 305570 h 372939"/>
                <a:gd name="connsiteX521" fmla="*/ 765791 w 1012061"/>
                <a:gd name="connsiteY521" fmla="*/ 307021 h 372939"/>
                <a:gd name="connsiteX522" fmla="*/ 764485 w 1012061"/>
                <a:gd name="connsiteY522" fmla="*/ 309065 h 372939"/>
                <a:gd name="connsiteX523" fmla="*/ 763019 w 1012061"/>
                <a:gd name="connsiteY523" fmla="*/ 308937 h 372939"/>
                <a:gd name="connsiteX524" fmla="*/ 760330 w 1012061"/>
                <a:gd name="connsiteY524" fmla="*/ 306193 h 372939"/>
                <a:gd name="connsiteX525" fmla="*/ 760482 w 1012061"/>
                <a:gd name="connsiteY525" fmla="*/ 304279 h 372939"/>
                <a:gd name="connsiteX526" fmla="*/ 760708 w 1012061"/>
                <a:gd name="connsiteY526" fmla="*/ 303658 h 372939"/>
                <a:gd name="connsiteX527" fmla="*/ 694385 w 1012061"/>
                <a:gd name="connsiteY527" fmla="*/ 298506 h 372939"/>
                <a:gd name="connsiteX528" fmla="*/ 696968 w 1012061"/>
                <a:gd name="connsiteY528" fmla="*/ 300517 h 372939"/>
                <a:gd name="connsiteX529" fmla="*/ 698617 w 1012061"/>
                <a:gd name="connsiteY529" fmla="*/ 300643 h 372939"/>
                <a:gd name="connsiteX530" fmla="*/ 698916 w 1012061"/>
                <a:gd name="connsiteY530" fmla="*/ 301724 h 372939"/>
                <a:gd name="connsiteX531" fmla="*/ 698876 w 1012061"/>
                <a:gd name="connsiteY531" fmla="*/ 302200 h 372939"/>
                <a:gd name="connsiteX532" fmla="*/ 696227 w 1012061"/>
                <a:gd name="connsiteY532" fmla="*/ 302548 h 372939"/>
                <a:gd name="connsiteX533" fmla="*/ 693673 w 1012061"/>
                <a:gd name="connsiteY533" fmla="*/ 303751 h 372939"/>
                <a:gd name="connsiteX534" fmla="*/ 692363 w 1012061"/>
                <a:gd name="connsiteY534" fmla="*/ 305137 h 372939"/>
                <a:gd name="connsiteX535" fmla="*/ 691345 w 1012061"/>
                <a:gd name="connsiteY535" fmla="*/ 306927 h 372939"/>
                <a:gd name="connsiteX536" fmla="*/ 687825 w 1012061"/>
                <a:gd name="connsiteY536" fmla="*/ 306199 h 372939"/>
                <a:gd name="connsiteX537" fmla="*/ 684689 w 1012061"/>
                <a:gd name="connsiteY537" fmla="*/ 306080 h 372939"/>
                <a:gd name="connsiteX538" fmla="*/ 683303 w 1012061"/>
                <a:gd name="connsiteY538" fmla="*/ 305450 h 372939"/>
                <a:gd name="connsiteX539" fmla="*/ 681791 w 1012061"/>
                <a:gd name="connsiteY539" fmla="*/ 305491 h 372939"/>
                <a:gd name="connsiteX540" fmla="*/ 679835 w 1012061"/>
                <a:gd name="connsiteY540" fmla="*/ 306050 h 372939"/>
                <a:gd name="connsiteX541" fmla="*/ 677062 w 1012061"/>
                <a:gd name="connsiteY541" fmla="*/ 307571 h 372939"/>
                <a:gd name="connsiteX542" fmla="*/ 676445 w 1012061"/>
                <a:gd name="connsiteY542" fmla="*/ 307688 h 372939"/>
                <a:gd name="connsiteX543" fmla="*/ 676669 w 1012061"/>
                <a:gd name="connsiteY543" fmla="*/ 305376 h 372939"/>
                <a:gd name="connsiteX544" fmla="*/ 677438 w 1012061"/>
                <a:gd name="connsiteY544" fmla="*/ 303953 h 372939"/>
                <a:gd name="connsiteX545" fmla="*/ 680359 w 1012061"/>
                <a:gd name="connsiteY545" fmla="*/ 300543 h 372939"/>
                <a:gd name="connsiteX546" fmla="*/ 682793 w 1012061"/>
                <a:gd name="connsiteY546" fmla="*/ 301299 h 372939"/>
                <a:gd name="connsiteX547" fmla="*/ 685630 w 1012061"/>
                <a:gd name="connsiteY547" fmla="*/ 301507 h 372939"/>
                <a:gd name="connsiteX548" fmla="*/ 688853 w 1012061"/>
                <a:gd name="connsiteY548" fmla="*/ 300840 h 372939"/>
                <a:gd name="connsiteX549" fmla="*/ 691142 w 1012061"/>
                <a:gd name="connsiteY549" fmla="*/ 299307 h 372939"/>
                <a:gd name="connsiteX550" fmla="*/ 711215 w 1012061"/>
                <a:gd name="connsiteY550" fmla="*/ 297194 h 372939"/>
                <a:gd name="connsiteX551" fmla="*/ 713526 w 1012061"/>
                <a:gd name="connsiteY551" fmla="*/ 297601 h 372939"/>
                <a:gd name="connsiteX552" fmla="*/ 713500 w 1012061"/>
                <a:gd name="connsiteY552" fmla="*/ 298656 h 372939"/>
                <a:gd name="connsiteX553" fmla="*/ 713278 w 1012061"/>
                <a:gd name="connsiteY553" fmla="*/ 299064 h 372939"/>
                <a:gd name="connsiteX554" fmla="*/ 712292 w 1012061"/>
                <a:gd name="connsiteY554" fmla="*/ 299646 h 372939"/>
                <a:gd name="connsiteX555" fmla="*/ 710874 w 1012061"/>
                <a:gd name="connsiteY555" fmla="*/ 300167 h 372939"/>
                <a:gd name="connsiteX556" fmla="*/ 711310 w 1012061"/>
                <a:gd name="connsiteY556" fmla="*/ 298521 h 372939"/>
                <a:gd name="connsiteX557" fmla="*/ 958277 w 1012061"/>
                <a:gd name="connsiteY557" fmla="*/ 294233 h 372939"/>
                <a:gd name="connsiteX558" fmla="*/ 963274 w 1012061"/>
                <a:gd name="connsiteY558" fmla="*/ 294474 h 372939"/>
                <a:gd name="connsiteX559" fmla="*/ 963984 w 1012061"/>
                <a:gd name="connsiteY559" fmla="*/ 295012 h 372939"/>
                <a:gd name="connsiteX560" fmla="*/ 966139 w 1012061"/>
                <a:gd name="connsiteY560" fmla="*/ 297169 h 372939"/>
                <a:gd name="connsiteX561" fmla="*/ 967536 w 1012061"/>
                <a:gd name="connsiteY561" fmla="*/ 298866 h 372939"/>
                <a:gd name="connsiteX562" fmla="*/ 968122 w 1012061"/>
                <a:gd name="connsiteY562" fmla="*/ 301271 h 372939"/>
                <a:gd name="connsiteX563" fmla="*/ 965997 w 1012061"/>
                <a:gd name="connsiteY563" fmla="*/ 305409 h 372939"/>
                <a:gd name="connsiteX564" fmla="*/ 963630 w 1012061"/>
                <a:gd name="connsiteY564" fmla="*/ 309346 h 372939"/>
                <a:gd name="connsiteX565" fmla="*/ 959778 w 1012061"/>
                <a:gd name="connsiteY565" fmla="*/ 312445 h 372939"/>
                <a:gd name="connsiteX566" fmla="*/ 958089 w 1012061"/>
                <a:gd name="connsiteY566" fmla="*/ 314121 h 372939"/>
                <a:gd name="connsiteX567" fmla="*/ 952803 w 1012061"/>
                <a:gd name="connsiteY567" fmla="*/ 317049 h 372939"/>
                <a:gd name="connsiteX568" fmla="*/ 945871 w 1012061"/>
                <a:gd name="connsiteY568" fmla="*/ 316532 h 372939"/>
                <a:gd name="connsiteX569" fmla="*/ 943419 w 1012061"/>
                <a:gd name="connsiteY569" fmla="*/ 316482 h 372939"/>
                <a:gd name="connsiteX570" fmla="*/ 939345 w 1012061"/>
                <a:gd name="connsiteY570" fmla="*/ 317195 h 372939"/>
                <a:gd name="connsiteX571" fmla="*/ 938520 w 1012061"/>
                <a:gd name="connsiteY571" fmla="*/ 316625 h 372939"/>
                <a:gd name="connsiteX572" fmla="*/ 939289 w 1012061"/>
                <a:gd name="connsiteY572" fmla="*/ 313867 h 372939"/>
                <a:gd name="connsiteX573" fmla="*/ 942548 w 1012061"/>
                <a:gd name="connsiteY573" fmla="*/ 306523 h 372939"/>
                <a:gd name="connsiteX574" fmla="*/ 946418 w 1012061"/>
                <a:gd name="connsiteY574" fmla="*/ 300059 h 372939"/>
                <a:gd name="connsiteX575" fmla="*/ 948061 w 1012061"/>
                <a:gd name="connsiteY575" fmla="*/ 298382 h 372939"/>
                <a:gd name="connsiteX576" fmla="*/ 950350 w 1012061"/>
                <a:gd name="connsiteY576" fmla="*/ 296806 h 372939"/>
                <a:gd name="connsiteX577" fmla="*/ 952785 w 1012061"/>
                <a:gd name="connsiteY577" fmla="*/ 295542 h 372939"/>
                <a:gd name="connsiteX578" fmla="*/ 805695 w 1012061"/>
                <a:gd name="connsiteY578" fmla="*/ 288303 h 372939"/>
                <a:gd name="connsiteX579" fmla="*/ 806962 w 1012061"/>
                <a:gd name="connsiteY579" fmla="*/ 288913 h 372939"/>
                <a:gd name="connsiteX580" fmla="*/ 807744 w 1012061"/>
                <a:gd name="connsiteY580" fmla="*/ 290176 h 372939"/>
                <a:gd name="connsiteX581" fmla="*/ 805704 w 1012061"/>
                <a:gd name="connsiteY581" fmla="*/ 291728 h 372939"/>
                <a:gd name="connsiteX582" fmla="*/ 806749 w 1012061"/>
                <a:gd name="connsiteY582" fmla="*/ 295551 h 372939"/>
                <a:gd name="connsiteX583" fmla="*/ 805273 w 1012061"/>
                <a:gd name="connsiteY583" fmla="*/ 299716 h 372939"/>
                <a:gd name="connsiteX584" fmla="*/ 804298 w 1012061"/>
                <a:gd name="connsiteY584" fmla="*/ 300962 h 372939"/>
                <a:gd name="connsiteX585" fmla="*/ 802488 w 1012061"/>
                <a:gd name="connsiteY585" fmla="*/ 302040 h 372939"/>
                <a:gd name="connsiteX586" fmla="*/ 801937 w 1012061"/>
                <a:gd name="connsiteY586" fmla="*/ 303062 h 372939"/>
                <a:gd name="connsiteX587" fmla="*/ 799804 w 1012061"/>
                <a:gd name="connsiteY587" fmla="*/ 305120 h 372939"/>
                <a:gd name="connsiteX588" fmla="*/ 799156 w 1012061"/>
                <a:gd name="connsiteY588" fmla="*/ 306875 h 372939"/>
                <a:gd name="connsiteX589" fmla="*/ 799061 w 1012061"/>
                <a:gd name="connsiteY589" fmla="*/ 307618 h 372939"/>
                <a:gd name="connsiteX590" fmla="*/ 798666 w 1012061"/>
                <a:gd name="connsiteY590" fmla="*/ 308020 h 372939"/>
                <a:gd name="connsiteX591" fmla="*/ 798303 w 1012061"/>
                <a:gd name="connsiteY591" fmla="*/ 308272 h 372939"/>
                <a:gd name="connsiteX592" fmla="*/ 795556 w 1012061"/>
                <a:gd name="connsiteY592" fmla="*/ 307983 h 372939"/>
                <a:gd name="connsiteX593" fmla="*/ 793982 w 1012061"/>
                <a:gd name="connsiteY593" fmla="*/ 307973 h 372939"/>
                <a:gd name="connsiteX594" fmla="*/ 794196 w 1012061"/>
                <a:gd name="connsiteY594" fmla="*/ 306293 h 372939"/>
                <a:gd name="connsiteX595" fmla="*/ 793387 w 1012061"/>
                <a:gd name="connsiteY595" fmla="*/ 305029 h 372939"/>
                <a:gd name="connsiteX596" fmla="*/ 794491 w 1012061"/>
                <a:gd name="connsiteY596" fmla="*/ 303176 h 372939"/>
                <a:gd name="connsiteX597" fmla="*/ 794514 w 1012061"/>
                <a:gd name="connsiteY597" fmla="*/ 301021 h 372939"/>
                <a:gd name="connsiteX598" fmla="*/ 795669 w 1012061"/>
                <a:gd name="connsiteY598" fmla="*/ 300732 h 372939"/>
                <a:gd name="connsiteX599" fmla="*/ 795831 w 1012061"/>
                <a:gd name="connsiteY599" fmla="*/ 299505 h 372939"/>
                <a:gd name="connsiteX600" fmla="*/ 797217 w 1012061"/>
                <a:gd name="connsiteY600" fmla="*/ 296254 h 372939"/>
                <a:gd name="connsiteX601" fmla="*/ 798031 w 1012061"/>
                <a:gd name="connsiteY601" fmla="*/ 295533 h 372939"/>
                <a:gd name="connsiteX602" fmla="*/ 799189 w 1012061"/>
                <a:gd name="connsiteY602" fmla="*/ 295251 h 372939"/>
                <a:gd name="connsiteX603" fmla="*/ 800555 w 1012061"/>
                <a:gd name="connsiteY603" fmla="*/ 293356 h 372939"/>
                <a:gd name="connsiteX604" fmla="*/ 801333 w 1012061"/>
                <a:gd name="connsiteY604" fmla="*/ 292805 h 372939"/>
                <a:gd name="connsiteX605" fmla="*/ 802138 w 1012061"/>
                <a:gd name="connsiteY605" fmla="*/ 291368 h 372939"/>
                <a:gd name="connsiteX606" fmla="*/ 803302 w 1012061"/>
                <a:gd name="connsiteY606" fmla="*/ 290699 h 372939"/>
                <a:gd name="connsiteX607" fmla="*/ 803205 w 1012061"/>
                <a:gd name="connsiteY607" fmla="*/ 289467 h 372939"/>
                <a:gd name="connsiteX608" fmla="*/ 803866 w 1012061"/>
                <a:gd name="connsiteY608" fmla="*/ 288813 h 372939"/>
                <a:gd name="connsiteX609" fmla="*/ 811860 w 1012061"/>
                <a:gd name="connsiteY609" fmla="*/ 288119 h 372939"/>
                <a:gd name="connsiteX610" fmla="*/ 813182 w 1012061"/>
                <a:gd name="connsiteY610" fmla="*/ 290287 h 372939"/>
                <a:gd name="connsiteX611" fmla="*/ 812905 w 1012061"/>
                <a:gd name="connsiteY611" fmla="*/ 291383 h 372939"/>
                <a:gd name="connsiteX612" fmla="*/ 811961 w 1012061"/>
                <a:gd name="connsiteY612" fmla="*/ 290797 h 372939"/>
                <a:gd name="connsiteX613" fmla="*/ 811024 w 1012061"/>
                <a:gd name="connsiteY613" fmla="*/ 289519 h 372939"/>
                <a:gd name="connsiteX614" fmla="*/ 809662 w 1012061"/>
                <a:gd name="connsiteY614" fmla="*/ 289334 h 372939"/>
                <a:gd name="connsiteX615" fmla="*/ 808659 w 1012061"/>
                <a:gd name="connsiteY615" fmla="*/ 288996 h 372939"/>
                <a:gd name="connsiteX616" fmla="*/ 808068 w 1012061"/>
                <a:gd name="connsiteY616" fmla="*/ 288392 h 372939"/>
                <a:gd name="connsiteX617" fmla="*/ 423276 w 1012061"/>
                <a:gd name="connsiteY617" fmla="*/ 287429 h 372939"/>
                <a:gd name="connsiteX618" fmla="*/ 424042 w 1012061"/>
                <a:gd name="connsiteY618" fmla="*/ 287589 h 372939"/>
                <a:gd name="connsiteX619" fmla="*/ 424684 w 1012061"/>
                <a:gd name="connsiteY619" fmla="*/ 288763 h 372939"/>
                <a:gd name="connsiteX620" fmla="*/ 424353 w 1012061"/>
                <a:gd name="connsiteY620" fmla="*/ 289645 h 372939"/>
                <a:gd name="connsiteX621" fmla="*/ 423231 w 1012061"/>
                <a:gd name="connsiteY621" fmla="*/ 289425 h 372939"/>
                <a:gd name="connsiteX622" fmla="*/ 422168 w 1012061"/>
                <a:gd name="connsiteY622" fmla="*/ 287965 h 372939"/>
                <a:gd name="connsiteX623" fmla="*/ 422684 w 1012061"/>
                <a:gd name="connsiteY623" fmla="*/ 287583 h 372939"/>
                <a:gd name="connsiteX624" fmla="*/ 739011 w 1012061"/>
                <a:gd name="connsiteY624" fmla="*/ 287325 h 372939"/>
                <a:gd name="connsiteX625" fmla="*/ 739687 w 1012061"/>
                <a:gd name="connsiteY625" fmla="*/ 287821 h 372939"/>
                <a:gd name="connsiteX626" fmla="*/ 740017 w 1012061"/>
                <a:gd name="connsiteY626" fmla="*/ 288316 h 372939"/>
                <a:gd name="connsiteX627" fmla="*/ 739877 w 1012061"/>
                <a:gd name="connsiteY627" fmla="*/ 288863 h 372939"/>
                <a:gd name="connsiteX628" fmla="*/ 739948 w 1012061"/>
                <a:gd name="connsiteY628" fmla="*/ 289870 h 372939"/>
                <a:gd name="connsiteX629" fmla="*/ 738950 w 1012061"/>
                <a:gd name="connsiteY629" fmla="*/ 290432 h 372939"/>
                <a:gd name="connsiteX630" fmla="*/ 737296 w 1012061"/>
                <a:gd name="connsiteY630" fmla="*/ 289271 h 372939"/>
                <a:gd name="connsiteX631" fmla="*/ 736845 w 1012061"/>
                <a:gd name="connsiteY631" fmla="*/ 288787 h 372939"/>
                <a:gd name="connsiteX632" fmla="*/ 737896 w 1012061"/>
                <a:gd name="connsiteY632" fmla="*/ 287646 h 372939"/>
                <a:gd name="connsiteX633" fmla="*/ 562239 w 1012061"/>
                <a:gd name="connsiteY633" fmla="*/ 286203 h 372939"/>
                <a:gd name="connsiteX634" fmla="*/ 564718 w 1012061"/>
                <a:gd name="connsiteY634" fmla="*/ 287134 h 372939"/>
                <a:gd name="connsiteX635" fmla="*/ 565519 w 1012061"/>
                <a:gd name="connsiteY635" fmla="*/ 287199 h 372939"/>
                <a:gd name="connsiteX636" fmla="*/ 565357 w 1012061"/>
                <a:gd name="connsiteY636" fmla="*/ 288440 h 372939"/>
                <a:gd name="connsiteX637" fmla="*/ 563101 w 1012061"/>
                <a:gd name="connsiteY637" fmla="*/ 288568 h 372939"/>
                <a:gd name="connsiteX638" fmla="*/ 562403 w 1012061"/>
                <a:gd name="connsiteY638" fmla="*/ 288371 h 372939"/>
                <a:gd name="connsiteX639" fmla="*/ 415001 w 1012061"/>
                <a:gd name="connsiteY639" fmla="*/ 282977 h 372939"/>
                <a:gd name="connsiteX640" fmla="*/ 417189 w 1012061"/>
                <a:gd name="connsiteY640" fmla="*/ 284912 h 372939"/>
                <a:gd name="connsiteX641" fmla="*/ 417396 w 1012061"/>
                <a:gd name="connsiteY641" fmla="*/ 285561 h 372939"/>
                <a:gd name="connsiteX642" fmla="*/ 413025 w 1012061"/>
                <a:gd name="connsiteY642" fmla="*/ 286886 h 372939"/>
                <a:gd name="connsiteX643" fmla="*/ 412123 w 1012061"/>
                <a:gd name="connsiteY643" fmla="*/ 288138 h 372939"/>
                <a:gd name="connsiteX644" fmla="*/ 411704 w 1012061"/>
                <a:gd name="connsiteY644" fmla="*/ 288462 h 372939"/>
                <a:gd name="connsiteX645" fmla="*/ 407951 w 1012061"/>
                <a:gd name="connsiteY645" fmla="*/ 288280 h 372939"/>
                <a:gd name="connsiteX646" fmla="*/ 405530 w 1012061"/>
                <a:gd name="connsiteY646" fmla="*/ 290094 h 372939"/>
                <a:gd name="connsiteX647" fmla="*/ 403857 w 1012061"/>
                <a:gd name="connsiteY647" fmla="*/ 290651 h 372939"/>
                <a:gd name="connsiteX648" fmla="*/ 397836 w 1012061"/>
                <a:gd name="connsiteY648" fmla="*/ 290649 h 372939"/>
                <a:gd name="connsiteX649" fmla="*/ 397119 w 1012061"/>
                <a:gd name="connsiteY649" fmla="*/ 290404 h 372939"/>
                <a:gd name="connsiteX650" fmla="*/ 396586 w 1012061"/>
                <a:gd name="connsiteY650" fmla="*/ 290410 h 372939"/>
                <a:gd name="connsiteX651" fmla="*/ 396256 w 1012061"/>
                <a:gd name="connsiteY651" fmla="*/ 290777 h 372939"/>
                <a:gd name="connsiteX652" fmla="*/ 394343 w 1012061"/>
                <a:gd name="connsiteY652" fmla="*/ 290504 h 372939"/>
                <a:gd name="connsiteX653" fmla="*/ 388225 w 1012061"/>
                <a:gd name="connsiteY653" fmla="*/ 288900 h 372939"/>
                <a:gd name="connsiteX654" fmla="*/ 387387 w 1012061"/>
                <a:gd name="connsiteY654" fmla="*/ 287414 h 372939"/>
                <a:gd name="connsiteX655" fmla="*/ 388335 w 1012061"/>
                <a:gd name="connsiteY655" fmla="*/ 285825 h 372939"/>
                <a:gd name="connsiteX656" fmla="*/ 390531 w 1012061"/>
                <a:gd name="connsiteY656" fmla="*/ 283573 h 372939"/>
                <a:gd name="connsiteX657" fmla="*/ 394939 w 1012061"/>
                <a:gd name="connsiteY657" fmla="*/ 283131 h 372939"/>
                <a:gd name="connsiteX658" fmla="*/ 445494 w 1012061"/>
                <a:gd name="connsiteY658" fmla="*/ 282209 h 372939"/>
                <a:gd name="connsiteX659" fmla="*/ 446837 w 1012061"/>
                <a:gd name="connsiteY659" fmla="*/ 282237 h 372939"/>
                <a:gd name="connsiteX660" fmla="*/ 448269 w 1012061"/>
                <a:gd name="connsiteY660" fmla="*/ 282914 h 372939"/>
                <a:gd name="connsiteX661" fmla="*/ 449264 w 1012061"/>
                <a:gd name="connsiteY661" fmla="*/ 283617 h 372939"/>
                <a:gd name="connsiteX662" fmla="*/ 449748 w 1012061"/>
                <a:gd name="connsiteY662" fmla="*/ 284434 h 372939"/>
                <a:gd name="connsiteX663" fmla="*/ 447051 w 1012061"/>
                <a:gd name="connsiteY663" fmla="*/ 284478 h 372939"/>
                <a:gd name="connsiteX664" fmla="*/ 446010 w 1012061"/>
                <a:gd name="connsiteY664" fmla="*/ 285148 h 372939"/>
                <a:gd name="connsiteX665" fmla="*/ 444213 w 1012061"/>
                <a:gd name="connsiteY665" fmla="*/ 285526 h 372939"/>
                <a:gd name="connsiteX666" fmla="*/ 442544 w 1012061"/>
                <a:gd name="connsiteY666" fmla="*/ 284743 h 372939"/>
                <a:gd name="connsiteX667" fmla="*/ 442586 w 1012061"/>
                <a:gd name="connsiteY667" fmla="*/ 283690 h 372939"/>
                <a:gd name="connsiteX668" fmla="*/ 442991 w 1012061"/>
                <a:gd name="connsiteY668" fmla="*/ 282714 h 372939"/>
                <a:gd name="connsiteX669" fmla="*/ 874072 w 1012061"/>
                <a:gd name="connsiteY669" fmla="*/ 277431 h 372939"/>
                <a:gd name="connsiteX670" fmla="*/ 873858 w 1012061"/>
                <a:gd name="connsiteY670" fmla="*/ 278437 h 372939"/>
                <a:gd name="connsiteX671" fmla="*/ 872715 w 1012061"/>
                <a:gd name="connsiteY671" fmla="*/ 280239 h 372939"/>
                <a:gd name="connsiteX672" fmla="*/ 872340 w 1012061"/>
                <a:gd name="connsiteY672" fmla="*/ 280584 h 372939"/>
                <a:gd name="connsiteX673" fmla="*/ 871766 w 1012061"/>
                <a:gd name="connsiteY673" fmla="*/ 279864 h 372939"/>
                <a:gd name="connsiteX674" fmla="*/ 871714 w 1012061"/>
                <a:gd name="connsiteY674" fmla="*/ 279417 h 372939"/>
                <a:gd name="connsiteX675" fmla="*/ 872474 w 1012061"/>
                <a:gd name="connsiteY675" fmla="*/ 278194 h 372939"/>
                <a:gd name="connsiteX676" fmla="*/ 873230 w 1012061"/>
                <a:gd name="connsiteY676" fmla="*/ 277483 h 372939"/>
                <a:gd name="connsiteX677" fmla="*/ 222313 w 1012061"/>
                <a:gd name="connsiteY677" fmla="*/ 275223 h 372939"/>
                <a:gd name="connsiteX678" fmla="*/ 222687 w 1012061"/>
                <a:gd name="connsiteY678" fmla="*/ 276055 h 372939"/>
                <a:gd name="connsiteX679" fmla="*/ 222142 w 1012061"/>
                <a:gd name="connsiteY679" fmla="*/ 277810 h 372939"/>
                <a:gd name="connsiteX680" fmla="*/ 220763 w 1012061"/>
                <a:gd name="connsiteY680" fmla="*/ 278300 h 372939"/>
                <a:gd name="connsiteX681" fmla="*/ 219708 w 1012061"/>
                <a:gd name="connsiteY681" fmla="*/ 277869 h 372939"/>
                <a:gd name="connsiteX682" fmla="*/ 219236 w 1012061"/>
                <a:gd name="connsiteY682" fmla="*/ 277244 h 372939"/>
                <a:gd name="connsiteX683" fmla="*/ 220804 w 1012061"/>
                <a:gd name="connsiteY683" fmla="*/ 275704 h 372939"/>
                <a:gd name="connsiteX684" fmla="*/ 221542 w 1012061"/>
                <a:gd name="connsiteY684" fmla="*/ 275338 h 372939"/>
                <a:gd name="connsiteX685" fmla="*/ 872819 w 1012061"/>
                <a:gd name="connsiteY685" fmla="*/ 273716 h 372939"/>
                <a:gd name="connsiteX686" fmla="*/ 873912 w 1012061"/>
                <a:gd name="connsiteY686" fmla="*/ 274822 h 372939"/>
                <a:gd name="connsiteX687" fmla="*/ 873638 w 1012061"/>
                <a:gd name="connsiteY687" fmla="*/ 275789 h 372939"/>
                <a:gd name="connsiteX688" fmla="*/ 872415 w 1012061"/>
                <a:gd name="connsiteY688" fmla="*/ 275999 h 372939"/>
                <a:gd name="connsiteX689" fmla="*/ 871815 w 1012061"/>
                <a:gd name="connsiteY689" fmla="*/ 274187 h 372939"/>
                <a:gd name="connsiteX690" fmla="*/ 877391 w 1012061"/>
                <a:gd name="connsiteY690" fmla="*/ 270774 h 372939"/>
                <a:gd name="connsiteX691" fmla="*/ 875924 w 1012061"/>
                <a:gd name="connsiteY691" fmla="*/ 273230 h 372939"/>
                <a:gd name="connsiteX692" fmla="*/ 875385 w 1012061"/>
                <a:gd name="connsiteY692" fmla="*/ 273413 h 372939"/>
                <a:gd name="connsiteX693" fmla="*/ 875389 w 1012061"/>
                <a:gd name="connsiteY693" fmla="*/ 272318 h 372939"/>
                <a:gd name="connsiteX694" fmla="*/ 876000 w 1012061"/>
                <a:gd name="connsiteY694" fmla="*/ 271353 h 372939"/>
                <a:gd name="connsiteX695" fmla="*/ 876639 w 1012061"/>
                <a:gd name="connsiteY695" fmla="*/ 270798 h 372939"/>
                <a:gd name="connsiteX696" fmla="*/ 861519 w 1012061"/>
                <a:gd name="connsiteY696" fmla="*/ 267505 h 372939"/>
                <a:gd name="connsiteX697" fmla="*/ 862981 w 1012061"/>
                <a:gd name="connsiteY697" fmla="*/ 268617 h 372939"/>
                <a:gd name="connsiteX698" fmla="*/ 864830 w 1012061"/>
                <a:gd name="connsiteY698" fmla="*/ 270609 h 372939"/>
                <a:gd name="connsiteX699" fmla="*/ 866980 w 1012061"/>
                <a:gd name="connsiteY699" fmla="*/ 272177 h 372939"/>
                <a:gd name="connsiteX700" fmla="*/ 869673 w 1012061"/>
                <a:gd name="connsiteY700" fmla="*/ 273410 h 372939"/>
                <a:gd name="connsiteX701" fmla="*/ 869310 w 1012061"/>
                <a:gd name="connsiteY701" fmla="*/ 274974 h 372939"/>
                <a:gd name="connsiteX702" fmla="*/ 868954 w 1012061"/>
                <a:gd name="connsiteY702" fmla="*/ 276721 h 372939"/>
                <a:gd name="connsiteX703" fmla="*/ 866924 w 1012061"/>
                <a:gd name="connsiteY703" fmla="*/ 278682 h 372939"/>
                <a:gd name="connsiteX704" fmla="*/ 865674 w 1012061"/>
                <a:gd name="connsiteY704" fmla="*/ 281684 h 372939"/>
                <a:gd name="connsiteX705" fmla="*/ 864940 w 1012061"/>
                <a:gd name="connsiteY705" fmla="*/ 282436 h 372939"/>
                <a:gd name="connsiteX706" fmla="*/ 862225 w 1012061"/>
                <a:gd name="connsiteY706" fmla="*/ 283771 h 372939"/>
                <a:gd name="connsiteX707" fmla="*/ 859811 w 1012061"/>
                <a:gd name="connsiteY707" fmla="*/ 282105 h 372939"/>
                <a:gd name="connsiteX708" fmla="*/ 859111 w 1012061"/>
                <a:gd name="connsiteY708" fmla="*/ 280673 h 372939"/>
                <a:gd name="connsiteX709" fmla="*/ 860169 w 1012061"/>
                <a:gd name="connsiteY709" fmla="*/ 274061 h 372939"/>
                <a:gd name="connsiteX710" fmla="*/ 861213 w 1012061"/>
                <a:gd name="connsiteY710" fmla="*/ 274280 h 372939"/>
                <a:gd name="connsiteX711" fmla="*/ 861889 w 1012061"/>
                <a:gd name="connsiteY711" fmla="*/ 274232 h 372939"/>
                <a:gd name="connsiteX712" fmla="*/ 862106 w 1012061"/>
                <a:gd name="connsiteY712" fmla="*/ 273798 h 372939"/>
                <a:gd name="connsiteX713" fmla="*/ 860558 w 1012061"/>
                <a:gd name="connsiteY713" fmla="*/ 273059 h 372939"/>
                <a:gd name="connsiteX714" fmla="*/ 860262 w 1012061"/>
                <a:gd name="connsiteY714" fmla="*/ 269261 h 372939"/>
                <a:gd name="connsiteX715" fmla="*/ 860338 w 1012061"/>
                <a:gd name="connsiteY715" fmla="*/ 267828 h 372939"/>
                <a:gd name="connsiteX716" fmla="*/ 261800 w 1012061"/>
                <a:gd name="connsiteY716" fmla="*/ 261468 h 372939"/>
                <a:gd name="connsiteX717" fmla="*/ 264361 w 1012061"/>
                <a:gd name="connsiteY717" fmla="*/ 262642 h 372939"/>
                <a:gd name="connsiteX718" fmla="*/ 268113 w 1012061"/>
                <a:gd name="connsiteY718" fmla="*/ 263108 h 372939"/>
                <a:gd name="connsiteX719" fmla="*/ 269044 w 1012061"/>
                <a:gd name="connsiteY719" fmla="*/ 263762 h 372939"/>
                <a:gd name="connsiteX720" fmla="*/ 271273 w 1012061"/>
                <a:gd name="connsiteY720" fmla="*/ 266296 h 372939"/>
                <a:gd name="connsiteX721" fmla="*/ 273225 w 1012061"/>
                <a:gd name="connsiteY721" fmla="*/ 267648 h 372939"/>
                <a:gd name="connsiteX722" fmla="*/ 275520 w 1012061"/>
                <a:gd name="connsiteY722" fmla="*/ 268383 h 372939"/>
                <a:gd name="connsiteX723" fmla="*/ 277937 w 1012061"/>
                <a:gd name="connsiteY723" fmla="*/ 268452 h 372939"/>
                <a:gd name="connsiteX724" fmla="*/ 280318 w 1012061"/>
                <a:gd name="connsiteY724" fmla="*/ 268771 h 372939"/>
                <a:gd name="connsiteX725" fmla="*/ 283082 w 1012061"/>
                <a:gd name="connsiteY725" fmla="*/ 269740 h 372939"/>
                <a:gd name="connsiteX726" fmla="*/ 285931 w 1012061"/>
                <a:gd name="connsiteY726" fmla="*/ 270178 h 372939"/>
                <a:gd name="connsiteX727" fmla="*/ 287254 w 1012061"/>
                <a:gd name="connsiteY727" fmla="*/ 270009 h 372939"/>
                <a:gd name="connsiteX728" fmla="*/ 288515 w 1012061"/>
                <a:gd name="connsiteY728" fmla="*/ 269510 h 372939"/>
                <a:gd name="connsiteX729" fmla="*/ 289411 w 1012061"/>
                <a:gd name="connsiteY729" fmla="*/ 269476 h 372939"/>
                <a:gd name="connsiteX730" fmla="*/ 290189 w 1012061"/>
                <a:gd name="connsiteY730" fmla="*/ 269942 h 372939"/>
                <a:gd name="connsiteX731" fmla="*/ 292156 w 1012061"/>
                <a:gd name="connsiteY731" fmla="*/ 272090 h 372939"/>
                <a:gd name="connsiteX732" fmla="*/ 294296 w 1012061"/>
                <a:gd name="connsiteY732" fmla="*/ 274052 h 372939"/>
                <a:gd name="connsiteX733" fmla="*/ 294784 w 1012061"/>
                <a:gd name="connsiteY733" fmla="*/ 275052 h 372939"/>
                <a:gd name="connsiteX734" fmla="*/ 296235 w 1012061"/>
                <a:gd name="connsiteY734" fmla="*/ 279782 h 372939"/>
                <a:gd name="connsiteX735" fmla="*/ 297877 w 1012061"/>
                <a:gd name="connsiteY735" fmla="*/ 281144 h 372939"/>
                <a:gd name="connsiteX736" fmla="*/ 300128 w 1012061"/>
                <a:gd name="connsiteY736" fmla="*/ 281538 h 372939"/>
                <a:gd name="connsiteX737" fmla="*/ 302776 w 1012061"/>
                <a:gd name="connsiteY737" fmla="*/ 281540 h 372939"/>
                <a:gd name="connsiteX738" fmla="*/ 305406 w 1012061"/>
                <a:gd name="connsiteY738" fmla="*/ 281738 h 372939"/>
                <a:gd name="connsiteX739" fmla="*/ 311506 w 1012061"/>
                <a:gd name="connsiteY739" fmla="*/ 282842 h 372939"/>
                <a:gd name="connsiteX740" fmla="*/ 313927 w 1012061"/>
                <a:gd name="connsiteY740" fmla="*/ 282690 h 372939"/>
                <a:gd name="connsiteX741" fmla="*/ 316069 w 1012061"/>
                <a:gd name="connsiteY741" fmla="*/ 281580 h 372939"/>
                <a:gd name="connsiteX742" fmla="*/ 317978 w 1012061"/>
                <a:gd name="connsiteY742" fmla="*/ 282300 h 372939"/>
                <a:gd name="connsiteX743" fmla="*/ 323154 w 1012061"/>
                <a:gd name="connsiteY743" fmla="*/ 283630 h 372939"/>
                <a:gd name="connsiteX744" fmla="*/ 325702 w 1012061"/>
                <a:gd name="connsiteY744" fmla="*/ 283927 h 372939"/>
                <a:gd name="connsiteX745" fmla="*/ 328596 w 1012061"/>
                <a:gd name="connsiteY745" fmla="*/ 283547 h 372939"/>
                <a:gd name="connsiteX746" fmla="*/ 331500 w 1012061"/>
                <a:gd name="connsiteY746" fmla="*/ 283467 h 372939"/>
                <a:gd name="connsiteX747" fmla="*/ 332882 w 1012061"/>
                <a:gd name="connsiteY747" fmla="*/ 283851 h 372939"/>
                <a:gd name="connsiteX748" fmla="*/ 334212 w 1012061"/>
                <a:gd name="connsiteY748" fmla="*/ 284428 h 372939"/>
                <a:gd name="connsiteX749" fmla="*/ 335355 w 1012061"/>
                <a:gd name="connsiteY749" fmla="*/ 284636 h 372939"/>
                <a:gd name="connsiteX750" fmla="*/ 336538 w 1012061"/>
                <a:gd name="connsiteY750" fmla="*/ 284625 h 372939"/>
                <a:gd name="connsiteX751" fmla="*/ 338631 w 1012061"/>
                <a:gd name="connsiteY751" fmla="*/ 283515 h 372939"/>
                <a:gd name="connsiteX752" fmla="*/ 340017 w 1012061"/>
                <a:gd name="connsiteY752" fmla="*/ 281480 h 372939"/>
                <a:gd name="connsiteX753" fmla="*/ 341137 w 1012061"/>
                <a:gd name="connsiteY753" fmla="*/ 278914 h 372939"/>
                <a:gd name="connsiteX754" fmla="*/ 342016 w 1012061"/>
                <a:gd name="connsiteY754" fmla="*/ 276242 h 372939"/>
                <a:gd name="connsiteX755" fmla="*/ 342608 w 1012061"/>
                <a:gd name="connsiteY755" fmla="*/ 275093 h 372939"/>
                <a:gd name="connsiteX756" fmla="*/ 343407 w 1012061"/>
                <a:gd name="connsiteY756" fmla="*/ 274078 h 372939"/>
                <a:gd name="connsiteX757" fmla="*/ 344452 w 1012061"/>
                <a:gd name="connsiteY757" fmla="*/ 273419 h 372939"/>
                <a:gd name="connsiteX758" fmla="*/ 345571 w 1012061"/>
                <a:gd name="connsiteY758" fmla="*/ 273009 h 372939"/>
                <a:gd name="connsiteX759" fmla="*/ 348611 w 1012061"/>
                <a:gd name="connsiteY759" fmla="*/ 273263 h 372939"/>
                <a:gd name="connsiteX760" fmla="*/ 349239 w 1012061"/>
                <a:gd name="connsiteY760" fmla="*/ 273909 h 372939"/>
                <a:gd name="connsiteX761" fmla="*/ 352638 w 1012061"/>
                <a:gd name="connsiteY761" fmla="*/ 278446 h 372939"/>
                <a:gd name="connsiteX762" fmla="*/ 353238 w 1012061"/>
                <a:gd name="connsiteY762" fmla="*/ 278838 h 372939"/>
                <a:gd name="connsiteX763" fmla="*/ 356788 w 1012061"/>
                <a:gd name="connsiteY763" fmla="*/ 279122 h 372939"/>
                <a:gd name="connsiteX764" fmla="*/ 357771 w 1012061"/>
                <a:gd name="connsiteY764" fmla="*/ 278975 h 372939"/>
                <a:gd name="connsiteX765" fmla="*/ 359937 w 1012061"/>
                <a:gd name="connsiteY765" fmla="*/ 278064 h 372939"/>
                <a:gd name="connsiteX766" fmla="*/ 361172 w 1012061"/>
                <a:gd name="connsiteY766" fmla="*/ 277984 h 372939"/>
                <a:gd name="connsiteX767" fmla="*/ 363455 w 1012061"/>
                <a:gd name="connsiteY767" fmla="*/ 279105 h 372939"/>
                <a:gd name="connsiteX768" fmla="*/ 364439 w 1012061"/>
                <a:gd name="connsiteY768" fmla="*/ 280059 h 372939"/>
                <a:gd name="connsiteX769" fmla="*/ 365534 w 1012061"/>
                <a:gd name="connsiteY769" fmla="*/ 280764 h 372939"/>
                <a:gd name="connsiteX770" fmla="*/ 371112 w 1012061"/>
                <a:gd name="connsiteY770" fmla="*/ 281487 h 372939"/>
                <a:gd name="connsiteX771" fmla="*/ 373266 w 1012061"/>
                <a:gd name="connsiteY771" fmla="*/ 283428 h 372939"/>
                <a:gd name="connsiteX772" fmla="*/ 374359 w 1012061"/>
                <a:gd name="connsiteY772" fmla="*/ 283688 h 372939"/>
                <a:gd name="connsiteX773" fmla="*/ 378242 w 1012061"/>
                <a:gd name="connsiteY773" fmla="*/ 283452 h 372939"/>
                <a:gd name="connsiteX774" fmla="*/ 380924 w 1012061"/>
                <a:gd name="connsiteY774" fmla="*/ 283643 h 372939"/>
                <a:gd name="connsiteX775" fmla="*/ 383260 w 1012061"/>
                <a:gd name="connsiteY775" fmla="*/ 284164 h 372939"/>
                <a:gd name="connsiteX776" fmla="*/ 384314 w 1012061"/>
                <a:gd name="connsiteY776" fmla="*/ 286921 h 372939"/>
                <a:gd name="connsiteX777" fmla="*/ 385178 w 1012061"/>
                <a:gd name="connsiteY777" fmla="*/ 289753 h 372939"/>
                <a:gd name="connsiteX778" fmla="*/ 385681 w 1012061"/>
                <a:gd name="connsiteY778" fmla="*/ 290714 h 372939"/>
                <a:gd name="connsiteX779" fmla="*/ 387963 w 1012061"/>
                <a:gd name="connsiteY779" fmla="*/ 291687 h 372939"/>
                <a:gd name="connsiteX780" fmla="*/ 388900 w 1012061"/>
                <a:gd name="connsiteY780" fmla="*/ 292564 h 372939"/>
                <a:gd name="connsiteX781" fmla="*/ 388649 w 1012061"/>
                <a:gd name="connsiteY781" fmla="*/ 295390 h 372939"/>
                <a:gd name="connsiteX782" fmla="*/ 388905 w 1012061"/>
                <a:gd name="connsiteY782" fmla="*/ 298076 h 372939"/>
                <a:gd name="connsiteX783" fmla="*/ 393749 w 1012061"/>
                <a:gd name="connsiteY783" fmla="*/ 300417 h 372939"/>
                <a:gd name="connsiteX784" fmla="*/ 398942 w 1012061"/>
                <a:gd name="connsiteY784" fmla="*/ 301762 h 372939"/>
                <a:gd name="connsiteX785" fmla="*/ 404453 w 1012061"/>
                <a:gd name="connsiteY785" fmla="*/ 301888 h 372939"/>
                <a:gd name="connsiteX786" fmla="*/ 409977 w 1012061"/>
                <a:gd name="connsiteY786" fmla="*/ 301425 h 372939"/>
                <a:gd name="connsiteX787" fmla="*/ 412825 w 1012061"/>
                <a:gd name="connsiteY787" fmla="*/ 300851 h 372939"/>
                <a:gd name="connsiteX788" fmla="*/ 416386 w 1012061"/>
                <a:gd name="connsiteY788" fmla="*/ 299848 h 372939"/>
                <a:gd name="connsiteX789" fmla="*/ 417124 w 1012061"/>
                <a:gd name="connsiteY789" fmla="*/ 299868 h 372939"/>
                <a:gd name="connsiteX790" fmla="*/ 424023 w 1012061"/>
                <a:gd name="connsiteY790" fmla="*/ 302939 h 372939"/>
                <a:gd name="connsiteX791" fmla="*/ 424611 w 1012061"/>
                <a:gd name="connsiteY791" fmla="*/ 303414 h 372939"/>
                <a:gd name="connsiteX792" fmla="*/ 425383 w 1012061"/>
                <a:gd name="connsiteY792" fmla="*/ 305708 h 372939"/>
                <a:gd name="connsiteX793" fmla="*/ 425362 w 1012061"/>
                <a:gd name="connsiteY793" fmla="*/ 308133 h 372939"/>
                <a:gd name="connsiteX794" fmla="*/ 424073 w 1012061"/>
                <a:gd name="connsiteY794" fmla="*/ 313891 h 372939"/>
                <a:gd name="connsiteX795" fmla="*/ 423993 w 1012061"/>
                <a:gd name="connsiteY795" fmla="*/ 315471 h 372939"/>
                <a:gd name="connsiteX796" fmla="*/ 424116 w 1012061"/>
                <a:gd name="connsiteY796" fmla="*/ 317049 h 372939"/>
                <a:gd name="connsiteX797" fmla="*/ 425485 w 1012061"/>
                <a:gd name="connsiteY797" fmla="*/ 320481 h 372939"/>
                <a:gd name="connsiteX798" fmla="*/ 426213 w 1012061"/>
                <a:gd name="connsiteY798" fmla="*/ 321473 h 372939"/>
                <a:gd name="connsiteX799" fmla="*/ 428717 w 1012061"/>
                <a:gd name="connsiteY799" fmla="*/ 323276 h 372939"/>
                <a:gd name="connsiteX800" fmla="*/ 428810 w 1012061"/>
                <a:gd name="connsiteY800" fmla="*/ 324222 h 372939"/>
                <a:gd name="connsiteX801" fmla="*/ 428469 w 1012061"/>
                <a:gd name="connsiteY801" fmla="*/ 325167 h 372939"/>
                <a:gd name="connsiteX802" fmla="*/ 425714 w 1012061"/>
                <a:gd name="connsiteY802" fmla="*/ 324518 h 372939"/>
                <a:gd name="connsiteX803" fmla="*/ 424034 w 1012061"/>
                <a:gd name="connsiteY803" fmla="*/ 323735 h 372939"/>
                <a:gd name="connsiteX804" fmla="*/ 423063 w 1012061"/>
                <a:gd name="connsiteY804" fmla="*/ 322443 h 372939"/>
                <a:gd name="connsiteX805" fmla="*/ 421684 w 1012061"/>
                <a:gd name="connsiteY805" fmla="*/ 321714 h 372939"/>
                <a:gd name="connsiteX806" fmla="*/ 419091 w 1012061"/>
                <a:gd name="connsiteY806" fmla="*/ 321977 h 372939"/>
                <a:gd name="connsiteX807" fmla="*/ 414241 w 1012061"/>
                <a:gd name="connsiteY807" fmla="*/ 320683 h 372939"/>
                <a:gd name="connsiteX808" fmla="*/ 408763 w 1012061"/>
                <a:gd name="connsiteY808" fmla="*/ 318672 h 372939"/>
                <a:gd name="connsiteX809" fmla="*/ 399050 w 1012061"/>
                <a:gd name="connsiteY809" fmla="*/ 314412 h 372939"/>
                <a:gd name="connsiteX810" fmla="*/ 396405 w 1012061"/>
                <a:gd name="connsiteY810" fmla="*/ 314447 h 372939"/>
                <a:gd name="connsiteX811" fmla="*/ 393868 w 1012061"/>
                <a:gd name="connsiteY811" fmla="*/ 314991 h 372939"/>
                <a:gd name="connsiteX812" fmla="*/ 391188 w 1012061"/>
                <a:gd name="connsiteY812" fmla="*/ 316076 h 372939"/>
                <a:gd name="connsiteX813" fmla="*/ 388400 w 1012061"/>
                <a:gd name="connsiteY813" fmla="*/ 316847 h 372939"/>
                <a:gd name="connsiteX814" fmla="*/ 386346 w 1012061"/>
                <a:gd name="connsiteY814" fmla="*/ 317139 h 372939"/>
                <a:gd name="connsiteX815" fmla="*/ 384295 w 1012061"/>
                <a:gd name="connsiteY815" fmla="*/ 316925 h 372939"/>
                <a:gd name="connsiteX816" fmla="*/ 379110 w 1012061"/>
                <a:gd name="connsiteY816" fmla="*/ 315901 h 372939"/>
                <a:gd name="connsiteX817" fmla="*/ 373882 w 1012061"/>
                <a:gd name="connsiteY817" fmla="*/ 315241 h 372939"/>
                <a:gd name="connsiteX818" fmla="*/ 360501 w 1012061"/>
                <a:gd name="connsiteY818" fmla="*/ 314821 h 372939"/>
                <a:gd name="connsiteX819" fmla="*/ 356711 w 1012061"/>
                <a:gd name="connsiteY819" fmla="*/ 313856 h 372939"/>
                <a:gd name="connsiteX820" fmla="*/ 350449 w 1012061"/>
                <a:gd name="connsiteY820" fmla="*/ 313362 h 372939"/>
                <a:gd name="connsiteX821" fmla="*/ 345469 w 1012061"/>
                <a:gd name="connsiteY821" fmla="*/ 312525 h 372939"/>
                <a:gd name="connsiteX822" fmla="*/ 340539 w 1012061"/>
                <a:gd name="connsiteY822" fmla="*/ 311356 h 372939"/>
                <a:gd name="connsiteX823" fmla="*/ 327967 w 1012061"/>
                <a:gd name="connsiteY823" fmla="*/ 305596 h 372939"/>
                <a:gd name="connsiteX824" fmla="*/ 323854 w 1012061"/>
                <a:gd name="connsiteY824" fmla="*/ 304214 h 372939"/>
                <a:gd name="connsiteX825" fmla="*/ 311228 w 1012061"/>
                <a:gd name="connsiteY825" fmla="*/ 301466 h 372939"/>
                <a:gd name="connsiteX826" fmla="*/ 309280 w 1012061"/>
                <a:gd name="connsiteY826" fmla="*/ 301245 h 372939"/>
                <a:gd name="connsiteX827" fmla="*/ 304706 w 1012061"/>
                <a:gd name="connsiteY827" fmla="*/ 301449 h 372939"/>
                <a:gd name="connsiteX828" fmla="*/ 301821 w 1012061"/>
                <a:gd name="connsiteY828" fmla="*/ 300643 h 372939"/>
                <a:gd name="connsiteX829" fmla="*/ 299278 w 1012061"/>
                <a:gd name="connsiteY829" fmla="*/ 300626 h 372939"/>
                <a:gd name="connsiteX830" fmla="*/ 295503 w 1012061"/>
                <a:gd name="connsiteY830" fmla="*/ 301518 h 372939"/>
                <a:gd name="connsiteX831" fmla="*/ 294341 w 1012061"/>
                <a:gd name="connsiteY831" fmla="*/ 302159 h 372939"/>
                <a:gd name="connsiteX832" fmla="*/ 292878 w 1012061"/>
                <a:gd name="connsiteY832" fmla="*/ 303514 h 372939"/>
                <a:gd name="connsiteX833" fmla="*/ 290308 w 1012061"/>
                <a:gd name="connsiteY833" fmla="*/ 303449 h 372939"/>
                <a:gd name="connsiteX834" fmla="*/ 287764 w 1012061"/>
                <a:gd name="connsiteY834" fmla="*/ 303189 h 372939"/>
                <a:gd name="connsiteX835" fmla="*/ 281064 w 1012061"/>
                <a:gd name="connsiteY835" fmla="*/ 301894 h 372939"/>
                <a:gd name="connsiteX836" fmla="*/ 278563 w 1012061"/>
                <a:gd name="connsiteY836" fmla="*/ 301099 h 372939"/>
                <a:gd name="connsiteX837" fmla="*/ 276162 w 1012061"/>
                <a:gd name="connsiteY837" fmla="*/ 299924 h 372939"/>
                <a:gd name="connsiteX838" fmla="*/ 273996 w 1012061"/>
                <a:gd name="connsiteY838" fmla="*/ 298393 h 372939"/>
                <a:gd name="connsiteX839" fmla="*/ 272869 w 1012061"/>
                <a:gd name="connsiteY839" fmla="*/ 297841 h 372939"/>
                <a:gd name="connsiteX840" fmla="*/ 267077 w 1012061"/>
                <a:gd name="connsiteY840" fmla="*/ 296280 h 372939"/>
                <a:gd name="connsiteX841" fmla="*/ 262350 w 1012061"/>
                <a:gd name="connsiteY841" fmla="*/ 295742 h 372939"/>
                <a:gd name="connsiteX842" fmla="*/ 252627 w 1012061"/>
                <a:gd name="connsiteY842" fmla="*/ 295032 h 372939"/>
                <a:gd name="connsiteX843" fmla="*/ 250502 w 1012061"/>
                <a:gd name="connsiteY843" fmla="*/ 294559 h 372939"/>
                <a:gd name="connsiteX844" fmla="*/ 248731 w 1012061"/>
                <a:gd name="connsiteY844" fmla="*/ 293990 h 372939"/>
                <a:gd name="connsiteX845" fmla="*/ 247759 w 1012061"/>
                <a:gd name="connsiteY845" fmla="*/ 292724 h 372939"/>
                <a:gd name="connsiteX846" fmla="*/ 247882 w 1012061"/>
                <a:gd name="connsiteY846" fmla="*/ 291116 h 372939"/>
                <a:gd name="connsiteX847" fmla="*/ 248580 w 1012061"/>
                <a:gd name="connsiteY847" fmla="*/ 289725 h 372939"/>
                <a:gd name="connsiteX848" fmla="*/ 249532 w 1012061"/>
                <a:gd name="connsiteY848" fmla="*/ 288327 h 372939"/>
                <a:gd name="connsiteX849" fmla="*/ 250156 w 1012061"/>
                <a:gd name="connsiteY849" fmla="*/ 286990 h 372939"/>
                <a:gd name="connsiteX850" fmla="*/ 243047 w 1012061"/>
                <a:gd name="connsiteY850" fmla="*/ 284194 h 372939"/>
                <a:gd name="connsiteX851" fmla="*/ 237433 w 1012061"/>
                <a:gd name="connsiteY851" fmla="*/ 282664 h 372939"/>
                <a:gd name="connsiteX852" fmla="*/ 235010 w 1012061"/>
                <a:gd name="connsiteY852" fmla="*/ 282371 h 372939"/>
                <a:gd name="connsiteX853" fmla="*/ 232579 w 1012061"/>
                <a:gd name="connsiteY853" fmla="*/ 282378 h 372939"/>
                <a:gd name="connsiteX854" fmla="*/ 229840 w 1012061"/>
                <a:gd name="connsiteY854" fmla="*/ 282695 h 372939"/>
                <a:gd name="connsiteX855" fmla="*/ 227130 w 1012061"/>
                <a:gd name="connsiteY855" fmla="*/ 282547 h 372939"/>
                <a:gd name="connsiteX856" fmla="*/ 225856 w 1012061"/>
                <a:gd name="connsiteY856" fmla="*/ 282092 h 372939"/>
                <a:gd name="connsiteX857" fmla="*/ 224555 w 1012061"/>
                <a:gd name="connsiteY857" fmla="*/ 281935 h 372939"/>
                <a:gd name="connsiteX858" fmla="*/ 223250 w 1012061"/>
                <a:gd name="connsiteY858" fmla="*/ 282265 h 372939"/>
                <a:gd name="connsiteX859" fmla="*/ 222201 w 1012061"/>
                <a:gd name="connsiteY859" fmla="*/ 282137 h 372939"/>
                <a:gd name="connsiteX860" fmla="*/ 221928 w 1012061"/>
                <a:gd name="connsiteY860" fmla="*/ 280866 h 372939"/>
                <a:gd name="connsiteX861" fmla="*/ 222598 w 1012061"/>
                <a:gd name="connsiteY861" fmla="*/ 279786 h 372939"/>
                <a:gd name="connsiteX862" fmla="*/ 223973 w 1012061"/>
                <a:gd name="connsiteY862" fmla="*/ 278558 h 372939"/>
                <a:gd name="connsiteX863" fmla="*/ 224753 w 1012061"/>
                <a:gd name="connsiteY863" fmla="*/ 278341 h 372939"/>
                <a:gd name="connsiteX864" fmla="*/ 225109 w 1012061"/>
                <a:gd name="connsiteY864" fmla="*/ 280261 h 372939"/>
                <a:gd name="connsiteX865" fmla="*/ 225500 w 1012061"/>
                <a:gd name="connsiteY865" fmla="*/ 280642 h 372939"/>
                <a:gd name="connsiteX866" fmla="*/ 226718 w 1012061"/>
                <a:gd name="connsiteY866" fmla="*/ 281063 h 372939"/>
                <a:gd name="connsiteX867" fmla="*/ 227247 w 1012061"/>
                <a:gd name="connsiteY867" fmla="*/ 280944 h 372939"/>
                <a:gd name="connsiteX868" fmla="*/ 229395 w 1012061"/>
                <a:gd name="connsiteY868" fmla="*/ 278489 h 372939"/>
                <a:gd name="connsiteX869" fmla="*/ 229996 w 1012061"/>
                <a:gd name="connsiteY869" fmla="*/ 277283 h 372939"/>
                <a:gd name="connsiteX870" fmla="*/ 231036 w 1012061"/>
                <a:gd name="connsiteY870" fmla="*/ 274015 h 372939"/>
                <a:gd name="connsiteX871" fmla="*/ 232164 w 1012061"/>
                <a:gd name="connsiteY871" fmla="*/ 274646 h 372939"/>
                <a:gd name="connsiteX872" fmla="*/ 233300 w 1012061"/>
                <a:gd name="connsiteY872" fmla="*/ 274256 h 372939"/>
                <a:gd name="connsiteX873" fmla="*/ 233952 w 1012061"/>
                <a:gd name="connsiteY873" fmla="*/ 273735 h 372939"/>
                <a:gd name="connsiteX874" fmla="*/ 235751 w 1012061"/>
                <a:gd name="connsiteY874" fmla="*/ 266177 h 372939"/>
                <a:gd name="connsiteX875" fmla="*/ 237252 w 1012061"/>
                <a:gd name="connsiteY875" fmla="*/ 263971 h 372939"/>
                <a:gd name="connsiteX876" fmla="*/ 239301 w 1012061"/>
                <a:gd name="connsiteY876" fmla="*/ 262135 h 372939"/>
                <a:gd name="connsiteX877" fmla="*/ 240322 w 1012061"/>
                <a:gd name="connsiteY877" fmla="*/ 261689 h 372939"/>
                <a:gd name="connsiteX878" fmla="*/ 242330 w 1012061"/>
                <a:gd name="connsiteY878" fmla="*/ 262811 h 372939"/>
                <a:gd name="connsiteX879" fmla="*/ 246397 w 1012061"/>
                <a:gd name="connsiteY879" fmla="*/ 263240 h 372939"/>
                <a:gd name="connsiteX880" fmla="*/ 248815 w 1012061"/>
                <a:gd name="connsiteY880" fmla="*/ 263983 h 372939"/>
                <a:gd name="connsiteX881" fmla="*/ 251240 w 1012061"/>
                <a:gd name="connsiteY881" fmla="*/ 264079 h 372939"/>
                <a:gd name="connsiteX882" fmla="*/ 253609 w 1012061"/>
                <a:gd name="connsiteY882" fmla="*/ 264445 h 372939"/>
                <a:gd name="connsiteX883" fmla="*/ 256911 w 1012061"/>
                <a:gd name="connsiteY883" fmla="*/ 265774 h 372939"/>
                <a:gd name="connsiteX884" fmla="*/ 258077 w 1012061"/>
                <a:gd name="connsiteY884" fmla="*/ 265635 h 372939"/>
                <a:gd name="connsiteX885" fmla="*/ 259264 w 1012061"/>
                <a:gd name="connsiteY885" fmla="*/ 265223 h 372939"/>
                <a:gd name="connsiteX886" fmla="*/ 261033 w 1012061"/>
                <a:gd name="connsiteY886" fmla="*/ 263782 h 372939"/>
                <a:gd name="connsiteX887" fmla="*/ 636147 w 1012061"/>
                <a:gd name="connsiteY887" fmla="*/ 260935 h 372939"/>
                <a:gd name="connsiteX888" fmla="*/ 637189 w 1012061"/>
                <a:gd name="connsiteY888" fmla="*/ 261422 h 372939"/>
                <a:gd name="connsiteX889" fmla="*/ 637815 w 1012061"/>
                <a:gd name="connsiteY889" fmla="*/ 263011 h 372939"/>
                <a:gd name="connsiteX890" fmla="*/ 637612 w 1012061"/>
                <a:gd name="connsiteY890" fmla="*/ 264072 h 372939"/>
                <a:gd name="connsiteX891" fmla="*/ 636807 w 1012061"/>
                <a:gd name="connsiteY891" fmla="*/ 262854 h 372939"/>
                <a:gd name="connsiteX892" fmla="*/ 636068 w 1012061"/>
                <a:gd name="connsiteY892" fmla="*/ 262248 h 372939"/>
                <a:gd name="connsiteX893" fmla="*/ 558789 w 1012061"/>
                <a:gd name="connsiteY893" fmla="*/ 258608 h 372939"/>
                <a:gd name="connsiteX894" fmla="*/ 560045 w 1012061"/>
                <a:gd name="connsiteY894" fmla="*/ 261459 h 372939"/>
                <a:gd name="connsiteX895" fmla="*/ 560378 w 1012061"/>
                <a:gd name="connsiteY895" fmla="*/ 262911 h 372939"/>
                <a:gd name="connsiteX896" fmla="*/ 559916 w 1012061"/>
                <a:gd name="connsiteY896" fmla="*/ 270217 h 372939"/>
                <a:gd name="connsiteX897" fmla="*/ 559009 w 1012061"/>
                <a:gd name="connsiteY897" fmla="*/ 273911 h 372939"/>
                <a:gd name="connsiteX898" fmla="*/ 558581 w 1012061"/>
                <a:gd name="connsiteY898" fmla="*/ 272608 h 372939"/>
                <a:gd name="connsiteX899" fmla="*/ 558421 w 1012061"/>
                <a:gd name="connsiteY899" fmla="*/ 269231 h 372939"/>
                <a:gd name="connsiteX900" fmla="*/ 557865 w 1012061"/>
                <a:gd name="connsiteY900" fmla="*/ 267592 h 372939"/>
                <a:gd name="connsiteX901" fmla="*/ 558218 w 1012061"/>
                <a:gd name="connsiteY901" fmla="*/ 265700 h 372939"/>
                <a:gd name="connsiteX902" fmla="*/ 558106 w 1012061"/>
                <a:gd name="connsiteY902" fmla="*/ 260848 h 372939"/>
                <a:gd name="connsiteX903" fmla="*/ 386594 w 1012061"/>
                <a:gd name="connsiteY903" fmla="*/ 257518 h 372939"/>
                <a:gd name="connsiteX904" fmla="*/ 387419 w 1012061"/>
                <a:gd name="connsiteY904" fmla="*/ 258107 h 372939"/>
                <a:gd name="connsiteX905" fmla="*/ 387245 w 1012061"/>
                <a:gd name="connsiteY905" fmla="*/ 259401 h 372939"/>
                <a:gd name="connsiteX906" fmla="*/ 386770 w 1012061"/>
                <a:gd name="connsiteY906" fmla="*/ 260187 h 372939"/>
                <a:gd name="connsiteX907" fmla="*/ 384651 w 1012061"/>
                <a:gd name="connsiteY907" fmla="*/ 260124 h 372939"/>
                <a:gd name="connsiteX908" fmla="*/ 384295 w 1012061"/>
                <a:gd name="connsiteY908" fmla="*/ 259236 h 372939"/>
                <a:gd name="connsiteX909" fmla="*/ 385677 w 1012061"/>
                <a:gd name="connsiteY909" fmla="*/ 257622 h 372939"/>
                <a:gd name="connsiteX910" fmla="*/ 827513 w 1012061"/>
                <a:gd name="connsiteY910" fmla="*/ 254875 h 372939"/>
                <a:gd name="connsiteX911" fmla="*/ 829009 w 1012061"/>
                <a:gd name="connsiteY911" fmla="*/ 254919 h 372939"/>
                <a:gd name="connsiteX912" fmla="*/ 829422 w 1012061"/>
                <a:gd name="connsiteY912" fmla="*/ 255792 h 372939"/>
                <a:gd name="connsiteX913" fmla="*/ 829893 w 1012061"/>
                <a:gd name="connsiteY913" fmla="*/ 256088 h 372939"/>
                <a:gd name="connsiteX914" fmla="*/ 831363 w 1012061"/>
                <a:gd name="connsiteY914" fmla="*/ 258909 h 372939"/>
                <a:gd name="connsiteX915" fmla="*/ 831426 w 1012061"/>
                <a:gd name="connsiteY915" fmla="*/ 260282 h 372939"/>
                <a:gd name="connsiteX916" fmla="*/ 830080 w 1012061"/>
                <a:gd name="connsiteY916" fmla="*/ 262419 h 372939"/>
                <a:gd name="connsiteX917" fmla="*/ 829165 w 1012061"/>
                <a:gd name="connsiteY917" fmla="*/ 261665 h 372939"/>
                <a:gd name="connsiteX918" fmla="*/ 828646 w 1012061"/>
                <a:gd name="connsiteY918" fmla="*/ 261654 h 372939"/>
                <a:gd name="connsiteX919" fmla="*/ 828334 w 1012061"/>
                <a:gd name="connsiteY919" fmla="*/ 260399 h 372939"/>
                <a:gd name="connsiteX920" fmla="*/ 828645 w 1012061"/>
                <a:gd name="connsiteY920" fmla="*/ 257800 h 372939"/>
                <a:gd name="connsiteX921" fmla="*/ 870425 w 1012061"/>
                <a:gd name="connsiteY921" fmla="*/ 250890 h 372939"/>
                <a:gd name="connsiteX922" fmla="*/ 871435 w 1012061"/>
                <a:gd name="connsiteY922" fmla="*/ 251140 h 372939"/>
                <a:gd name="connsiteX923" fmla="*/ 872090 w 1012061"/>
                <a:gd name="connsiteY923" fmla="*/ 252332 h 372939"/>
                <a:gd name="connsiteX924" fmla="*/ 872348 w 1012061"/>
                <a:gd name="connsiteY924" fmla="*/ 253372 h 372939"/>
                <a:gd name="connsiteX925" fmla="*/ 872076 w 1012061"/>
                <a:gd name="connsiteY925" fmla="*/ 254306 h 372939"/>
                <a:gd name="connsiteX926" fmla="*/ 873298 w 1012061"/>
                <a:gd name="connsiteY926" fmla="*/ 254787 h 372939"/>
                <a:gd name="connsiteX927" fmla="*/ 874320 w 1012061"/>
                <a:gd name="connsiteY927" fmla="*/ 257093 h 372939"/>
                <a:gd name="connsiteX928" fmla="*/ 874145 w 1012061"/>
                <a:gd name="connsiteY928" fmla="*/ 257949 h 372939"/>
                <a:gd name="connsiteX929" fmla="*/ 874130 w 1012061"/>
                <a:gd name="connsiteY929" fmla="*/ 259529 h 372939"/>
                <a:gd name="connsiteX930" fmla="*/ 874497 w 1012061"/>
                <a:gd name="connsiteY930" fmla="*/ 260991 h 372939"/>
                <a:gd name="connsiteX931" fmla="*/ 873551 w 1012061"/>
                <a:gd name="connsiteY931" fmla="*/ 262478 h 372939"/>
                <a:gd name="connsiteX932" fmla="*/ 874434 w 1012061"/>
                <a:gd name="connsiteY932" fmla="*/ 264705 h 372939"/>
                <a:gd name="connsiteX933" fmla="*/ 874566 w 1012061"/>
                <a:gd name="connsiteY933" fmla="*/ 265813 h 372939"/>
                <a:gd name="connsiteX934" fmla="*/ 874517 w 1012061"/>
                <a:gd name="connsiteY934" fmla="*/ 267380 h 372939"/>
                <a:gd name="connsiteX935" fmla="*/ 874264 w 1012061"/>
                <a:gd name="connsiteY935" fmla="*/ 268084 h 372939"/>
                <a:gd name="connsiteX936" fmla="*/ 873594 w 1012061"/>
                <a:gd name="connsiteY936" fmla="*/ 270143 h 372939"/>
                <a:gd name="connsiteX937" fmla="*/ 872925 w 1012061"/>
                <a:gd name="connsiteY937" fmla="*/ 270876 h 372939"/>
                <a:gd name="connsiteX938" fmla="*/ 872422 w 1012061"/>
                <a:gd name="connsiteY938" fmla="*/ 271080 h 372939"/>
                <a:gd name="connsiteX939" fmla="*/ 871902 w 1012061"/>
                <a:gd name="connsiteY939" fmla="*/ 271702 h 372939"/>
                <a:gd name="connsiteX940" fmla="*/ 867556 w 1012061"/>
                <a:gd name="connsiteY940" fmla="*/ 271026 h 372939"/>
                <a:gd name="connsiteX941" fmla="*/ 865678 w 1012061"/>
                <a:gd name="connsiteY941" fmla="*/ 269597 h 372939"/>
                <a:gd name="connsiteX942" fmla="*/ 864005 w 1012061"/>
                <a:gd name="connsiteY942" fmla="*/ 268049 h 372939"/>
                <a:gd name="connsiteX943" fmla="*/ 863651 w 1012061"/>
                <a:gd name="connsiteY943" fmla="*/ 267403 h 372939"/>
                <a:gd name="connsiteX944" fmla="*/ 861681 w 1012061"/>
                <a:gd name="connsiteY944" fmla="*/ 265598 h 372939"/>
                <a:gd name="connsiteX945" fmla="*/ 861227 w 1012061"/>
                <a:gd name="connsiteY945" fmla="*/ 264989 h 372939"/>
                <a:gd name="connsiteX946" fmla="*/ 861189 w 1012061"/>
                <a:gd name="connsiteY946" fmla="*/ 264027 h 372939"/>
                <a:gd name="connsiteX947" fmla="*/ 862780 w 1012061"/>
                <a:gd name="connsiteY947" fmla="*/ 263782 h 372939"/>
                <a:gd name="connsiteX948" fmla="*/ 864480 w 1012061"/>
                <a:gd name="connsiteY948" fmla="*/ 263810 h 372939"/>
                <a:gd name="connsiteX949" fmla="*/ 864406 w 1012061"/>
                <a:gd name="connsiteY949" fmla="*/ 262943 h 372939"/>
                <a:gd name="connsiteX950" fmla="*/ 865388 w 1012061"/>
                <a:gd name="connsiteY950" fmla="*/ 259888 h 372939"/>
                <a:gd name="connsiteX951" fmla="*/ 862804 w 1012061"/>
                <a:gd name="connsiteY951" fmla="*/ 257923 h 372939"/>
                <a:gd name="connsiteX952" fmla="*/ 862344 w 1012061"/>
                <a:gd name="connsiteY952" fmla="*/ 257098 h 372939"/>
                <a:gd name="connsiteX953" fmla="*/ 863271 w 1012061"/>
                <a:gd name="connsiteY953" fmla="*/ 256537 h 372939"/>
                <a:gd name="connsiteX954" fmla="*/ 865350 w 1012061"/>
                <a:gd name="connsiteY954" fmla="*/ 257224 h 372939"/>
                <a:gd name="connsiteX955" fmla="*/ 867894 w 1012061"/>
                <a:gd name="connsiteY955" fmla="*/ 253777 h 372939"/>
                <a:gd name="connsiteX956" fmla="*/ 868645 w 1012061"/>
                <a:gd name="connsiteY956" fmla="*/ 253058 h 372939"/>
                <a:gd name="connsiteX957" fmla="*/ 869001 w 1012061"/>
                <a:gd name="connsiteY957" fmla="*/ 251137 h 372939"/>
                <a:gd name="connsiteX958" fmla="*/ 838226 w 1012061"/>
                <a:gd name="connsiteY958" fmla="*/ 248303 h 372939"/>
                <a:gd name="connsiteX959" fmla="*/ 838753 w 1012061"/>
                <a:gd name="connsiteY959" fmla="*/ 248463 h 372939"/>
                <a:gd name="connsiteX960" fmla="*/ 839513 w 1012061"/>
                <a:gd name="connsiteY960" fmla="*/ 249134 h 372939"/>
                <a:gd name="connsiteX961" fmla="*/ 838336 w 1012061"/>
                <a:gd name="connsiteY961" fmla="*/ 254187 h 372939"/>
                <a:gd name="connsiteX962" fmla="*/ 835051 w 1012061"/>
                <a:gd name="connsiteY962" fmla="*/ 257733 h 372939"/>
                <a:gd name="connsiteX963" fmla="*/ 834060 w 1012061"/>
                <a:gd name="connsiteY963" fmla="*/ 261420 h 372939"/>
                <a:gd name="connsiteX964" fmla="*/ 832264 w 1012061"/>
                <a:gd name="connsiteY964" fmla="*/ 263327 h 372939"/>
                <a:gd name="connsiteX965" fmla="*/ 833959 w 1012061"/>
                <a:gd name="connsiteY965" fmla="*/ 258829 h 372939"/>
                <a:gd name="connsiteX966" fmla="*/ 834313 w 1012061"/>
                <a:gd name="connsiteY966" fmla="*/ 256552 h 372939"/>
                <a:gd name="connsiteX967" fmla="*/ 835886 w 1012061"/>
                <a:gd name="connsiteY967" fmla="*/ 255194 h 372939"/>
                <a:gd name="connsiteX968" fmla="*/ 153610 w 1012061"/>
                <a:gd name="connsiteY968" fmla="*/ 247761 h 372939"/>
                <a:gd name="connsiteX969" fmla="*/ 154603 w 1012061"/>
                <a:gd name="connsiteY969" fmla="*/ 247820 h 372939"/>
                <a:gd name="connsiteX970" fmla="*/ 158436 w 1012061"/>
                <a:gd name="connsiteY970" fmla="*/ 249539 h 372939"/>
                <a:gd name="connsiteX971" fmla="*/ 159181 w 1012061"/>
                <a:gd name="connsiteY971" fmla="*/ 250390 h 372939"/>
                <a:gd name="connsiteX972" fmla="*/ 158335 w 1012061"/>
                <a:gd name="connsiteY972" fmla="*/ 252029 h 372939"/>
                <a:gd name="connsiteX973" fmla="*/ 156538 w 1012061"/>
                <a:gd name="connsiteY973" fmla="*/ 252136 h 372939"/>
                <a:gd name="connsiteX974" fmla="*/ 153212 w 1012061"/>
                <a:gd name="connsiteY974" fmla="*/ 249409 h 372939"/>
                <a:gd name="connsiteX975" fmla="*/ 152664 w 1012061"/>
                <a:gd name="connsiteY975" fmla="*/ 248567 h 372939"/>
                <a:gd name="connsiteX976" fmla="*/ 626967 w 1012061"/>
                <a:gd name="connsiteY976" fmla="*/ 246954 h 372939"/>
                <a:gd name="connsiteX977" fmla="*/ 628428 w 1012061"/>
                <a:gd name="connsiteY977" fmla="*/ 247436 h 372939"/>
                <a:gd name="connsiteX978" fmla="*/ 628340 w 1012061"/>
                <a:gd name="connsiteY978" fmla="*/ 249686 h 372939"/>
                <a:gd name="connsiteX979" fmla="*/ 627453 w 1012061"/>
                <a:gd name="connsiteY979" fmla="*/ 249561 h 372939"/>
                <a:gd name="connsiteX980" fmla="*/ 626733 w 1012061"/>
                <a:gd name="connsiteY980" fmla="*/ 248773 h 372939"/>
                <a:gd name="connsiteX981" fmla="*/ 626530 w 1012061"/>
                <a:gd name="connsiteY981" fmla="*/ 248030 h 372939"/>
                <a:gd name="connsiteX982" fmla="*/ 626571 w 1012061"/>
                <a:gd name="connsiteY982" fmla="*/ 247426 h 372939"/>
                <a:gd name="connsiteX983" fmla="*/ 590549 w 1012061"/>
                <a:gd name="connsiteY983" fmla="*/ 243018 h 372939"/>
                <a:gd name="connsiteX984" fmla="*/ 591700 w 1012061"/>
                <a:gd name="connsiteY984" fmla="*/ 243091 h 372939"/>
                <a:gd name="connsiteX985" fmla="*/ 592455 w 1012061"/>
                <a:gd name="connsiteY985" fmla="*/ 244537 h 372939"/>
                <a:gd name="connsiteX986" fmla="*/ 593365 w 1012061"/>
                <a:gd name="connsiteY986" fmla="*/ 244936 h 372939"/>
                <a:gd name="connsiteX987" fmla="*/ 593824 w 1012061"/>
                <a:gd name="connsiteY987" fmla="*/ 246321 h 372939"/>
                <a:gd name="connsiteX988" fmla="*/ 593407 w 1012061"/>
                <a:gd name="connsiteY988" fmla="*/ 251126 h 372939"/>
                <a:gd name="connsiteX989" fmla="*/ 592007 w 1012061"/>
                <a:gd name="connsiteY989" fmla="*/ 251720 h 372939"/>
                <a:gd name="connsiteX990" fmla="*/ 589348 w 1012061"/>
                <a:gd name="connsiteY990" fmla="*/ 249182 h 372939"/>
                <a:gd name="connsiteX991" fmla="*/ 588223 w 1012061"/>
                <a:gd name="connsiteY991" fmla="*/ 247094 h 372939"/>
                <a:gd name="connsiteX992" fmla="*/ 588493 w 1012061"/>
                <a:gd name="connsiteY992" fmla="*/ 245914 h 372939"/>
                <a:gd name="connsiteX993" fmla="*/ 589287 w 1012061"/>
                <a:gd name="connsiteY993" fmla="*/ 244879 h 372939"/>
                <a:gd name="connsiteX994" fmla="*/ 589666 w 1012061"/>
                <a:gd name="connsiteY994" fmla="*/ 244622 h 372939"/>
                <a:gd name="connsiteX995" fmla="*/ 589501 w 1012061"/>
                <a:gd name="connsiteY995" fmla="*/ 243543 h 372939"/>
                <a:gd name="connsiteX996" fmla="*/ 607979 w 1012061"/>
                <a:gd name="connsiteY996" fmla="*/ 232964 h 372939"/>
                <a:gd name="connsiteX997" fmla="*/ 608815 w 1012061"/>
                <a:gd name="connsiteY997" fmla="*/ 234213 h 372939"/>
                <a:gd name="connsiteX998" fmla="*/ 609260 w 1012061"/>
                <a:gd name="connsiteY998" fmla="*/ 239950 h 372939"/>
                <a:gd name="connsiteX999" fmla="*/ 606035 w 1012061"/>
                <a:gd name="connsiteY999" fmla="*/ 244490 h 372939"/>
                <a:gd name="connsiteX1000" fmla="*/ 606722 w 1012061"/>
                <a:gd name="connsiteY1000" fmla="*/ 247389 h 372939"/>
                <a:gd name="connsiteX1001" fmla="*/ 606152 w 1012061"/>
                <a:gd name="connsiteY1001" fmla="*/ 248861 h 372939"/>
                <a:gd name="connsiteX1002" fmla="*/ 604926 w 1012061"/>
                <a:gd name="connsiteY1002" fmla="*/ 250007 h 372939"/>
                <a:gd name="connsiteX1003" fmla="*/ 603950 w 1012061"/>
                <a:gd name="connsiteY1003" fmla="*/ 250089 h 372939"/>
                <a:gd name="connsiteX1004" fmla="*/ 602931 w 1012061"/>
                <a:gd name="connsiteY1004" fmla="*/ 249855 h 372939"/>
                <a:gd name="connsiteX1005" fmla="*/ 601125 w 1012061"/>
                <a:gd name="connsiteY1005" fmla="*/ 248852 h 372939"/>
                <a:gd name="connsiteX1006" fmla="*/ 600667 w 1012061"/>
                <a:gd name="connsiteY1006" fmla="*/ 249909 h 372939"/>
                <a:gd name="connsiteX1007" fmla="*/ 599247 w 1012061"/>
                <a:gd name="connsiteY1007" fmla="*/ 249862 h 372939"/>
                <a:gd name="connsiteX1008" fmla="*/ 598718 w 1012061"/>
                <a:gd name="connsiteY1008" fmla="*/ 248500 h 372939"/>
                <a:gd name="connsiteX1009" fmla="*/ 599733 w 1012061"/>
                <a:gd name="connsiteY1009" fmla="*/ 244468 h 372939"/>
                <a:gd name="connsiteX1010" fmla="*/ 601220 w 1012061"/>
                <a:gd name="connsiteY1010" fmla="*/ 242964 h 372939"/>
                <a:gd name="connsiteX1011" fmla="*/ 601082 w 1012061"/>
                <a:gd name="connsiteY1011" fmla="*/ 241383 h 372939"/>
                <a:gd name="connsiteX1012" fmla="*/ 599853 w 1012061"/>
                <a:gd name="connsiteY1012" fmla="*/ 238015 h 372939"/>
                <a:gd name="connsiteX1013" fmla="*/ 600615 w 1012061"/>
                <a:gd name="connsiteY1013" fmla="*/ 236256 h 372939"/>
                <a:gd name="connsiteX1014" fmla="*/ 604053 w 1012061"/>
                <a:gd name="connsiteY1014" fmla="*/ 234925 h 372939"/>
                <a:gd name="connsiteX1015" fmla="*/ 607051 w 1012061"/>
                <a:gd name="connsiteY1015" fmla="*/ 233302 h 372939"/>
                <a:gd name="connsiteX1016" fmla="*/ 616219 w 1012061"/>
                <a:gd name="connsiteY1016" fmla="*/ 227830 h 372939"/>
                <a:gd name="connsiteX1017" fmla="*/ 616094 w 1012061"/>
                <a:gd name="connsiteY1017" fmla="*/ 228864 h 372939"/>
                <a:gd name="connsiteX1018" fmla="*/ 618545 w 1012061"/>
                <a:gd name="connsiteY1018" fmla="*/ 231469 h 372939"/>
                <a:gd name="connsiteX1019" fmla="*/ 619058 w 1012061"/>
                <a:gd name="connsiteY1019" fmla="*/ 236234 h 372939"/>
                <a:gd name="connsiteX1020" fmla="*/ 618897 w 1012061"/>
                <a:gd name="connsiteY1020" fmla="*/ 237485 h 372939"/>
                <a:gd name="connsiteX1021" fmla="*/ 617653 w 1012061"/>
                <a:gd name="connsiteY1021" fmla="*/ 235652 h 372939"/>
                <a:gd name="connsiteX1022" fmla="*/ 617207 w 1012061"/>
                <a:gd name="connsiteY1022" fmla="*/ 235286 h 372939"/>
                <a:gd name="connsiteX1023" fmla="*/ 616865 w 1012061"/>
                <a:gd name="connsiteY1023" fmla="*/ 235652 h 372939"/>
                <a:gd name="connsiteX1024" fmla="*/ 616425 w 1012061"/>
                <a:gd name="connsiteY1024" fmla="*/ 235853 h 372939"/>
                <a:gd name="connsiteX1025" fmla="*/ 615790 w 1012061"/>
                <a:gd name="connsiteY1025" fmla="*/ 235836 h 372939"/>
                <a:gd name="connsiteX1026" fmla="*/ 614966 w 1012061"/>
                <a:gd name="connsiteY1026" fmla="*/ 237686 h 372939"/>
                <a:gd name="connsiteX1027" fmla="*/ 614894 w 1012061"/>
                <a:gd name="connsiteY1027" fmla="*/ 239426 h 372939"/>
                <a:gd name="connsiteX1028" fmla="*/ 614272 w 1012061"/>
                <a:gd name="connsiteY1028" fmla="*/ 240598 h 372939"/>
                <a:gd name="connsiteX1029" fmla="*/ 613943 w 1012061"/>
                <a:gd name="connsiteY1029" fmla="*/ 244485 h 372939"/>
                <a:gd name="connsiteX1030" fmla="*/ 614151 w 1012061"/>
                <a:gd name="connsiteY1030" fmla="*/ 245533 h 372939"/>
                <a:gd name="connsiteX1031" fmla="*/ 615114 w 1012061"/>
                <a:gd name="connsiteY1031" fmla="*/ 245016 h 372939"/>
                <a:gd name="connsiteX1032" fmla="*/ 615708 w 1012061"/>
                <a:gd name="connsiteY1032" fmla="*/ 244884 h 372939"/>
                <a:gd name="connsiteX1033" fmla="*/ 617884 w 1012061"/>
                <a:gd name="connsiteY1033" fmla="*/ 246382 h 372939"/>
                <a:gd name="connsiteX1034" fmla="*/ 619035 w 1012061"/>
                <a:gd name="connsiteY1034" fmla="*/ 247475 h 372939"/>
                <a:gd name="connsiteX1035" fmla="*/ 618711 w 1012061"/>
                <a:gd name="connsiteY1035" fmla="*/ 248799 h 372939"/>
                <a:gd name="connsiteX1036" fmla="*/ 617238 w 1012061"/>
                <a:gd name="connsiteY1036" fmla="*/ 250132 h 372939"/>
                <a:gd name="connsiteX1037" fmla="*/ 615528 w 1012061"/>
                <a:gd name="connsiteY1037" fmla="*/ 250713 h 372939"/>
                <a:gd name="connsiteX1038" fmla="*/ 614254 w 1012061"/>
                <a:gd name="connsiteY1038" fmla="*/ 250141 h 372939"/>
                <a:gd name="connsiteX1039" fmla="*/ 613878 w 1012061"/>
                <a:gd name="connsiteY1039" fmla="*/ 250412 h 372939"/>
                <a:gd name="connsiteX1040" fmla="*/ 613125 w 1012061"/>
                <a:gd name="connsiteY1040" fmla="*/ 251098 h 372939"/>
                <a:gd name="connsiteX1041" fmla="*/ 612553 w 1012061"/>
                <a:gd name="connsiteY1041" fmla="*/ 252001 h 372939"/>
                <a:gd name="connsiteX1042" fmla="*/ 612717 w 1012061"/>
                <a:gd name="connsiteY1042" fmla="*/ 252931 h 372939"/>
                <a:gd name="connsiteX1043" fmla="*/ 611257 w 1012061"/>
                <a:gd name="connsiteY1043" fmla="*/ 255562 h 372939"/>
                <a:gd name="connsiteX1044" fmla="*/ 610415 w 1012061"/>
                <a:gd name="connsiteY1044" fmla="*/ 256301 h 372939"/>
                <a:gd name="connsiteX1045" fmla="*/ 608668 w 1012061"/>
                <a:gd name="connsiteY1045" fmla="*/ 255495 h 372939"/>
                <a:gd name="connsiteX1046" fmla="*/ 607590 w 1012061"/>
                <a:gd name="connsiteY1046" fmla="*/ 256188 h 372939"/>
                <a:gd name="connsiteX1047" fmla="*/ 606720 w 1012061"/>
                <a:gd name="connsiteY1047" fmla="*/ 256125 h 372939"/>
                <a:gd name="connsiteX1048" fmla="*/ 605392 w 1012061"/>
                <a:gd name="connsiteY1048" fmla="*/ 253491 h 372939"/>
                <a:gd name="connsiteX1049" fmla="*/ 605424 w 1012061"/>
                <a:gd name="connsiteY1049" fmla="*/ 252255 h 372939"/>
                <a:gd name="connsiteX1050" fmla="*/ 606658 w 1012061"/>
                <a:gd name="connsiteY1050" fmla="*/ 250866 h 372939"/>
                <a:gd name="connsiteX1051" fmla="*/ 606666 w 1012061"/>
                <a:gd name="connsiteY1051" fmla="*/ 249866 h 372939"/>
                <a:gd name="connsiteX1052" fmla="*/ 607275 w 1012061"/>
                <a:gd name="connsiteY1052" fmla="*/ 248751 h 372939"/>
                <a:gd name="connsiteX1053" fmla="*/ 608631 w 1012061"/>
                <a:gd name="connsiteY1053" fmla="*/ 247222 h 372939"/>
                <a:gd name="connsiteX1054" fmla="*/ 609406 w 1012061"/>
                <a:gd name="connsiteY1054" fmla="*/ 246075 h 372939"/>
                <a:gd name="connsiteX1055" fmla="*/ 609430 w 1012061"/>
                <a:gd name="connsiteY1055" fmla="*/ 245345 h 372939"/>
                <a:gd name="connsiteX1056" fmla="*/ 610007 w 1012061"/>
                <a:gd name="connsiteY1056" fmla="*/ 242578 h 372939"/>
                <a:gd name="connsiteX1057" fmla="*/ 610231 w 1012061"/>
                <a:gd name="connsiteY1057" fmla="*/ 241418 h 372939"/>
                <a:gd name="connsiteX1058" fmla="*/ 610623 w 1012061"/>
                <a:gd name="connsiteY1058" fmla="*/ 240184 h 372939"/>
                <a:gd name="connsiteX1059" fmla="*/ 611240 w 1012061"/>
                <a:gd name="connsiteY1059" fmla="*/ 237676 h 372939"/>
                <a:gd name="connsiteX1060" fmla="*/ 611326 w 1012061"/>
                <a:gd name="connsiteY1060" fmla="*/ 232958 h 372939"/>
                <a:gd name="connsiteX1061" fmla="*/ 613395 w 1012061"/>
                <a:gd name="connsiteY1061" fmla="*/ 229065 h 372939"/>
                <a:gd name="connsiteX1062" fmla="*/ 615416 w 1012061"/>
                <a:gd name="connsiteY1062" fmla="*/ 228003 h 372939"/>
                <a:gd name="connsiteX1063" fmla="*/ 842787 w 1012061"/>
                <a:gd name="connsiteY1063" fmla="*/ 221719 h 372939"/>
                <a:gd name="connsiteX1064" fmla="*/ 845959 w 1012061"/>
                <a:gd name="connsiteY1064" fmla="*/ 223685 h 372939"/>
                <a:gd name="connsiteX1065" fmla="*/ 848312 w 1012061"/>
                <a:gd name="connsiteY1065" fmla="*/ 224706 h 372939"/>
                <a:gd name="connsiteX1066" fmla="*/ 849441 w 1012061"/>
                <a:gd name="connsiteY1066" fmla="*/ 225890 h 372939"/>
                <a:gd name="connsiteX1067" fmla="*/ 846811 w 1012061"/>
                <a:gd name="connsiteY1067" fmla="*/ 224961 h 372939"/>
                <a:gd name="connsiteX1068" fmla="*/ 843054 w 1012061"/>
                <a:gd name="connsiteY1068" fmla="*/ 223017 h 372939"/>
                <a:gd name="connsiteX1069" fmla="*/ 615120 w 1012061"/>
                <a:gd name="connsiteY1069" fmla="*/ 218838 h 372939"/>
                <a:gd name="connsiteX1070" fmla="*/ 619255 w 1012061"/>
                <a:gd name="connsiteY1070" fmla="*/ 219206 h 372939"/>
                <a:gd name="connsiteX1071" fmla="*/ 620031 w 1012061"/>
                <a:gd name="connsiteY1071" fmla="*/ 220166 h 372939"/>
                <a:gd name="connsiteX1072" fmla="*/ 619930 w 1012061"/>
                <a:gd name="connsiteY1072" fmla="*/ 221762 h 372939"/>
                <a:gd name="connsiteX1073" fmla="*/ 617766 w 1012061"/>
                <a:gd name="connsiteY1073" fmla="*/ 224427 h 372939"/>
                <a:gd name="connsiteX1074" fmla="*/ 616254 w 1012061"/>
                <a:gd name="connsiteY1074" fmla="*/ 224291 h 372939"/>
                <a:gd name="connsiteX1075" fmla="*/ 614453 w 1012061"/>
                <a:gd name="connsiteY1075" fmla="*/ 222539 h 372939"/>
                <a:gd name="connsiteX1076" fmla="*/ 613926 w 1012061"/>
                <a:gd name="connsiteY1076" fmla="*/ 220618 h 372939"/>
                <a:gd name="connsiteX1077" fmla="*/ 613885 w 1012061"/>
                <a:gd name="connsiteY1077" fmla="*/ 219924 h 372939"/>
                <a:gd name="connsiteX1078" fmla="*/ 735115 w 1012061"/>
                <a:gd name="connsiteY1078" fmla="*/ 208515 h 372939"/>
                <a:gd name="connsiteX1079" fmla="*/ 736989 w 1012061"/>
                <a:gd name="connsiteY1079" fmla="*/ 209103 h 372939"/>
                <a:gd name="connsiteX1080" fmla="*/ 737570 w 1012061"/>
                <a:gd name="connsiteY1080" fmla="*/ 210080 h 372939"/>
                <a:gd name="connsiteX1081" fmla="*/ 733789 w 1012061"/>
                <a:gd name="connsiteY1081" fmla="*/ 211241 h 372939"/>
                <a:gd name="connsiteX1082" fmla="*/ 734601 w 1012061"/>
                <a:gd name="connsiteY1082" fmla="*/ 209084 h 372939"/>
                <a:gd name="connsiteX1083" fmla="*/ 730976 w 1012061"/>
                <a:gd name="connsiteY1083" fmla="*/ 208461 h 372939"/>
                <a:gd name="connsiteX1084" fmla="*/ 732407 w 1012061"/>
                <a:gd name="connsiteY1084" fmla="*/ 208541 h 372939"/>
                <a:gd name="connsiteX1085" fmla="*/ 732066 w 1012061"/>
                <a:gd name="connsiteY1085" fmla="*/ 209598 h 372939"/>
                <a:gd name="connsiteX1086" fmla="*/ 731566 w 1012061"/>
                <a:gd name="connsiteY1086" fmla="*/ 210351 h 372939"/>
                <a:gd name="connsiteX1087" fmla="*/ 731265 w 1012061"/>
                <a:gd name="connsiteY1087" fmla="*/ 211137 h 372939"/>
                <a:gd name="connsiteX1088" fmla="*/ 731224 w 1012061"/>
                <a:gd name="connsiteY1088" fmla="*/ 212054 h 372939"/>
                <a:gd name="connsiteX1089" fmla="*/ 730656 w 1012061"/>
                <a:gd name="connsiteY1089" fmla="*/ 212863 h 372939"/>
                <a:gd name="connsiteX1090" fmla="*/ 729371 w 1012061"/>
                <a:gd name="connsiteY1090" fmla="*/ 213397 h 372939"/>
                <a:gd name="connsiteX1091" fmla="*/ 728296 w 1012061"/>
                <a:gd name="connsiteY1091" fmla="*/ 213341 h 372939"/>
                <a:gd name="connsiteX1092" fmla="*/ 728646 w 1012061"/>
                <a:gd name="connsiteY1092" fmla="*/ 212565 h 372939"/>
                <a:gd name="connsiteX1093" fmla="*/ 728378 w 1012061"/>
                <a:gd name="connsiteY1093" fmla="*/ 212111 h 372939"/>
                <a:gd name="connsiteX1094" fmla="*/ 727581 w 1012061"/>
                <a:gd name="connsiteY1094" fmla="*/ 212316 h 372939"/>
                <a:gd name="connsiteX1095" fmla="*/ 726285 w 1012061"/>
                <a:gd name="connsiteY1095" fmla="*/ 212939 h 372939"/>
                <a:gd name="connsiteX1096" fmla="*/ 724644 w 1012061"/>
                <a:gd name="connsiteY1096" fmla="*/ 214188 h 372939"/>
                <a:gd name="connsiteX1097" fmla="*/ 723679 w 1012061"/>
                <a:gd name="connsiteY1097" fmla="*/ 213570 h 372939"/>
                <a:gd name="connsiteX1098" fmla="*/ 723471 w 1012061"/>
                <a:gd name="connsiteY1098" fmla="*/ 212601 h 372939"/>
                <a:gd name="connsiteX1099" fmla="*/ 723528 w 1012061"/>
                <a:gd name="connsiteY1099" fmla="*/ 212160 h 372939"/>
                <a:gd name="connsiteX1100" fmla="*/ 725488 w 1012061"/>
                <a:gd name="connsiteY1100" fmla="*/ 210422 h 372939"/>
                <a:gd name="connsiteX1101" fmla="*/ 727765 w 1012061"/>
                <a:gd name="connsiteY1101" fmla="*/ 210126 h 372939"/>
                <a:gd name="connsiteX1102" fmla="*/ 738285 w 1012061"/>
                <a:gd name="connsiteY1102" fmla="*/ 208074 h 372939"/>
                <a:gd name="connsiteX1103" fmla="*/ 739868 w 1012061"/>
                <a:gd name="connsiteY1103" fmla="*/ 208558 h 372939"/>
                <a:gd name="connsiteX1104" fmla="*/ 740467 w 1012061"/>
                <a:gd name="connsiteY1104" fmla="*/ 208731 h 372939"/>
                <a:gd name="connsiteX1105" fmla="*/ 741105 w 1012061"/>
                <a:gd name="connsiteY1105" fmla="*/ 209226 h 372939"/>
                <a:gd name="connsiteX1106" fmla="*/ 741053 w 1012061"/>
                <a:gd name="connsiteY1106" fmla="*/ 210163 h 372939"/>
                <a:gd name="connsiteX1107" fmla="*/ 740902 w 1012061"/>
                <a:gd name="connsiteY1107" fmla="*/ 210459 h 372939"/>
                <a:gd name="connsiteX1108" fmla="*/ 739698 w 1012061"/>
                <a:gd name="connsiteY1108" fmla="*/ 210132 h 372939"/>
                <a:gd name="connsiteX1109" fmla="*/ 738829 w 1012061"/>
                <a:gd name="connsiteY1109" fmla="*/ 210149 h 372939"/>
                <a:gd name="connsiteX1110" fmla="*/ 738069 w 1012061"/>
                <a:gd name="connsiteY1110" fmla="*/ 208459 h 372939"/>
                <a:gd name="connsiteX1111" fmla="*/ 469226 w 1012061"/>
                <a:gd name="connsiteY1111" fmla="*/ 205973 h 372939"/>
                <a:gd name="connsiteX1112" fmla="*/ 469163 w 1012061"/>
                <a:gd name="connsiteY1112" fmla="*/ 207402 h 372939"/>
                <a:gd name="connsiteX1113" fmla="*/ 468360 w 1012061"/>
                <a:gd name="connsiteY1113" fmla="*/ 211215 h 372939"/>
                <a:gd name="connsiteX1114" fmla="*/ 467006 w 1012061"/>
                <a:gd name="connsiteY1114" fmla="*/ 209053 h 372939"/>
                <a:gd name="connsiteX1115" fmla="*/ 468526 w 1012061"/>
                <a:gd name="connsiteY1115" fmla="*/ 206491 h 372939"/>
                <a:gd name="connsiteX1116" fmla="*/ 715279 w 1012061"/>
                <a:gd name="connsiteY1116" fmla="*/ 202749 h 372939"/>
                <a:gd name="connsiteX1117" fmla="*/ 716424 w 1012061"/>
                <a:gd name="connsiteY1117" fmla="*/ 204096 h 372939"/>
                <a:gd name="connsiteX1118" fmla="*/ 716933 w 1012061"/>
                <a:gd name="connsiteY1118" fmla="*/ 205071 h 372939"/>
                <a:gd name="connsiteX1119" fmla="*/ 714760 w 1012061"/>
                <a:gd name="connsiteY1119" fmla="*/ 204455 h 372939"/>
                <a:gd name="connsiteX1120" fmla="*/ 713802 w 1012061"/>
                <a:gd name="connsiteY1120" fmla="*/ 203499 h 372939"/>
                <a:gd name="connsiteX1121" fmla="*/ 714748 w 1012061"/>
                <a:gd name="connsiteY1121" fmla="*/ 202910 h 372939"/>
                <a:gd name="connsiteX1122" fmla="*/ 465749 w 1012061"/>
                <a:gd name="connsiteY1122" fmla="*/ 202678 h 372939"/>
                <a:gd name="connsiteX1123" fmla="*/ 465581 w 1012061"/>
                <a:gd name="connsiteY1123" fmla="*/ 205860 h 372939"/>
                <a:gd name="connsiteX1124" fmla="*/ 466121 w 1012061"/>
                <a:gd name="connsiteY1124" fmla="*/ 207056 h 372939"/>
                <a:gd name="connsiteX1125" fmla="*/ 466310 w 1012061"/>
                <a:gd name="connsiteY1125" fmla="*/ 208078 h 372939"/>
                <a:gd name="connsiteX1126" fmla="*/ 466021 w 1012061"/>
                <a:gd name="connsiteY1126" fmla="*/ 208958 h 372939"/>
                <a:gd name="connsiteX1127" fmla="*/ 466533 w 1012061"/>
                <a:gd name="connsiteY1127" fmla="*/ 213027 h 372939"/>
                <a:gd name="connsiteX1128" fmla="*/ 466831 w 1012061"/>
                <a:gd name="connsiteY1128" fmla="*/ 214011 h 372939"/>
                <a:gd name="connsiteX1129" fmla="*/ 466181 w 1012061"/>
                <a:gd name="connsiteY1129" fmla="*/ 215294 h 372939"/>
                <a:gd name="connsiteX1130" fmla="*/ 466492 w 1012061"/>
                <a:gd name="connsiteY1130" fmla="*/ 216340 h 372939"/>
                <a:gd name="connsiteX1131" fmla="*/ 461849 w 1012061"/>
                <a:gd name="connsiteY1131" fmla="*/ 220458 h 372939"/>
                <a:gd name="connsiteX1132" fmla="*/ 461085 w 1012061"/>
                <a:gd name="connsiteY1132" fmla="*/ 219413 h 372939"/>
                <a:gd name="connsiteX1133" fmla="*/ 461486 w 1012061"/>
                <a:gd name="connsiteY1133" fmla="*/ 215218 h 372939"/>
                <a:gd name="connsiteX1134" fmla="*/ 460191 w 1012061"/>
                <a:gd name="connsiteY1134" fmla="*/ 212614 h 372939"/>
                <a:gd name="connsiteX1135" fmla="*/ 460281 w 1012061"/>
                <a:gd name="connsiteY1135" fmla="*/ 210677 h 372939"/>
                <a:gd name="connsiteX1136" fmla="*/ 461191 w 1012061"/>
                <a:gd name="connsiteY1136" fmla="*/ 207257 h 372939"/>
                <a:gd name="connsiteX1137" fmla="*/ 462380 w 1012061"/>
                <a:gd name="connsiteY1137" fmla="*/ 204637 h 372939"/>
                <a:gd name="connsiteX1138" fmla="*/ 465077 w 1012061"/>
                <a:gd name="connsiteY1138" fmla="*/ 202884 h 372939"/>
                <a:gd name="connsiteX1139" fmla="*/ 693180 w 1012061"/>
                <a:gd name="connsiteY1139" fmla="*/ 198565 h 372939"/>
                <a:gd name="connsiteX1140" fmla="*/ 698779 w 1012061"/>
                <a:gd name="connsiteY1140" fmla="*/ 198651 h 372939"/>
                <a:gd name="connsiteX1141" fmla="*/ 699947 w 1012061"/>
                <a:gd name="connsiteY1141" fmla="*/ 199066 h 372939"/>
                <a:gd name="connsiteX1142" fmla="*/ 703582 w 1012061"/>
                <a:gd name="connsiteY1142" fmla="*/ 200795 h 372939"/>
                <a:gd name="connsiteX1143" fmla="*/ 704408 w 1012061"/>
                <a:gd name="connsiteY1143" fmla="*/ 201924 h 372939"/>
                <a:gd name="connsiteX1144" fmla="*/ 705061 w 1012061"/>
                <a:gd name="connsiteY1144" fmla="*/ 203264 h 372939"/>
                <a:gd name="connsiteX1145" fmla="*/ 705776 w 1012061"/>
                <a:gd name="connsiteY1145" fmla="*/ 204001 h 372939"/>
                <a:gd name="connsiteX1146" fmla="*/ 706633 w 1012061"/>
                <a:gd name="connsiteY1146" fmla="*/ 204604 h 372939"/>
                <a:gd name="connsiteX1147" fmla="*/ 708045 w 1012061"/>
                <a:gd name="connsiteY1147" fmla="*/ 205776 h 372939"/>
                <a:gd name="connsiteX1148" fmla="*/ 708419 w 1012061"/>
                <a:gd name="connsiteY1148" fmla="*/ 207548 h 372939"/>
                <a:gd name="connsiteX1149" fmla="*/ 708095 w 1012061"/>
                <a:gd name="connsiteY1149" fmla="*/ 211133 h 372939"/>
                <a:gd name="connsiteX1150" fmla="*/ 706449 w 1012061"/>
                <a:gd name="connsiteY1150" fmla="*/ 211449 h 372939"/>
                <a:gd name="connsiteX1151" fmla="*/ 704899 w 1012061"/>
                <a:gd name="connsiteY1151" fmla="*/ 211972 h 372939"/>
                <a:gd name="connsiteX1152" fmla="*/ 701712 w 1012061"/>
                <a:gd name="connsiteY1152" fmla="*/ 214046 h 372939"/>
                <a:gd name="connsiteX1153" fmla="*/ 700142 w 1012061"/>
                <a:gd name="connsiteY1153" fmla="*/ 214452 h 372939"/>
                <a:gd name="connsiteX1154" fmla="*/ 698466 w 1012061"/>
                <a:gd name="connsiteY1154" fmla="*/ 214591 h 372939"/>
                <a:gd name="connsiteX1155" fmla="*/ 697276 w 1012061"/>
                <a:gd name="connsiteY1155" fmla="*/ 215134 h 372939"/>
                <a:gd name="connsiteX1156" fmla="*/ 696082 w 1012061"/>
                <a:gd name="connsiteY1156" fmla="*/ 215354 h 372939"/>
                <a:gd name="connsiteX1157" fmla="*/ 692994 w 1012061"/>
                <a:gd name="connsiteY1157" fmla="*/ 214204 h 372939"/>
                <a:gd name="connsiteX1158" fmla="*/ 689997 w 1012061"/>
                <a:gd name="connsiteY1158" fmla="*/ 212852 h 372939"/>
                <a:gd name="connsiteX1159" fmla="*/ 685651 w 1012061"/>
                <a:gd name="connsiteY1159" fmla="*/ 210517 h 372939"/>
                <a:gd name="connsiteX1160" fmla="*/ 684849 w 1012061"/>
                <a:gd name="connsiteY1160" fmla="*/ 209946 h 372939"/>
                <a:gd name="connsiteX1161" fmla="*/ 684149 w 1012061"/>
                <a:gd name="connsiteY1161" fmla="*/ 208692 h 372939"/>
                <a:gd name="connsiteX1162" fmla="*/ 682156 w 1012061"/>
                <a:gd name="connsiteY1162" fmla="*/ 206440 h 372939"/>
                <a:gd name="connsiteX1163" fmla="*/ 681658 w 1012061"/>
                <a:gd name="connsiteY1163" fmla="*/ 204997 h 372939"/>
                <a:gd name="connsiteX1164" fmla="*/ 681491 w 1012061"/>
                <a:gd name="connsiteY1164" fmla="*/ 200895 h 372939"/>
                <a:gd name="connsiteX1165" fmla="*/ 682014 w 1012061"/>
                <a:gd name="connsiteY1165" fmla="*/ 199957 h 372939"/>
                <a:gd name="connsiteX1166" fmla="*/ 682858 w 1012061"/>
                <a:gd name="connsiteY1166" fmla="*/ 199455 h 372939"/>
                <a:gd name="connsiteX1167" fmla="*/ 685762 w 1012061"/>
                <a:gd name="connsiteY1167" fmla="*/ 200400 h 372939"/>
                <a:gd name="connsiteX1168" fmla="*/ 687678 w 1012061"/>
                <a:gd name="connsiteY1168" fmla="*/ 199405 h 372939"/>
                <a:gd name="connsiteX1169" fmla="*/ 724863 w 1012061"/>
                <a:gd name="connsiteY1169" fmla="*/ 195716 h 372939"/>
                <a:gd name="connsiteX1170" fmla="*/ 723752 w 1012061"/>
                <a:gd name="connsiteY1170" fmla="*/ 197564 h 372939"/>
                <a:gd name="connsiteX1171" fmla="*/ 721805 w 1012061"/>
                <a:gd name="connsiteY1171" fmla="*/ 197482 h 372939"/>
                <a:gd name="connsiteX1172" fmla="*/ 721465 w 1012061"/>
                <a:gd name="connsiteY1172" fmla="*/ 197218 h 372939"/>
                <a:gd name="connsiteX1173" fmla="*/ 723768 w 1012061"/>
                <a:gd name="connsiteY1173" fmla="*/ 196066 h 372939"/>
                <a:gd name="connsiteX1174" fmla="*/ 256284 w 1012061"/>
                <a:gd name="connsiteY1174" fmla="*/ 194884 h 372939"/>
                <a:gd name="connsiteX1175" fmla="*/ 258800 w 1012061"/>
                <a:gd name="connsiteY1175" fmla="*/ 195660 h 372939"/>
                <a:gd name="connsiteX1176" fmla="*/ 258264 w 1012061"/>
                <a:gd name="connsiteY1176" fmla="*/ 197238 h 372939"/>
                <a:gd name="connsiteX1177" fmla="*/ 257895 w 1012061"/>
                <a:gd name="connsiteY1177" fmla="*/ 197681 h 372939"/>
                <a:gd name="connsiteX1178" fmla="*/ 256669 w 1012061"/>
                <a:gd name="connsiteY1178" fmla="*/ 197441 h 372939"/>
                <a:gd name="connsiteX1179" fmla="*/ 255785 w 1012061"/>
                <a:gd name="connsiteY1179" fmla="*/ 196829 h 372939"/>
                <a:gd name="connsiteX1180" fmla="*/ 255230 w 1012061"/>
                <a:gd name="connsiteY1180" fmla="*/ 196246 h 372939"/>
                <a:gd name="connsiteX1181" fmla="*/ 255090 w 1012061"/>
                <a:gd name="connsiteY1181" fmla="*/ 195634 h 372939"/>
                <a:gd name="connsiteX1182" fmla="*/ 271266 w 1012061"/>
                <a:gd name="connsiteY1182" fmla="*/ 193462 h 372939"/>
                <a:gd name="connsiteX1183" fmla="*/ 271825 w 1012061"/>
                <a:gd name="connsiteY1183" fmla="*/ 193691 h 372939"/>
                <a:gd name="connsiteX1184" fmla="*/ 271242 w 1012061"/>
                <a:gd name="connsiteY1184" fmla="*/ 194897 h 372939"/>
                <a:gd name="connsiteX1185" fmla="*/ 270346 w 1012061"/>
                <a:gd name="connsiteY1185" fmla="*/ 195468 h 372939"/>
                <a:gd name="connsiteX1186" fmla="*/ 269826 w 1012061"/>
                <a:gd name="connsiteY1186" fmla="*/ 194921 h 372939"/>
                <a:gd name="connsiteX1187" fmla="*/ 269674 w 1012061"/>
                <a:gd name="connsiteY1187" fmla="*/ 194309 h 372939"/>
                <a:gd name="connsiteX1188" fmla="*/ 270048 w 1012061"/>
                <a:gd name="connsiteY1188" fmla="*/ 193538 h 372939"/>
                <a:gd name="connsiteX1189" fmla="*/ 757948 w 1012061"/>
                <a:gd name="connsiteY1189" fmla="*/ 192380 h 372939"/>
                <a:gd name="connsiteX1190" fmla="*/ 759248 w 1012061"/>
                <a:gd name="connsiteY1190" fmla="*/ 192481 h 372939"/>
                <a:gd name="connsiteX1191" fmla="*/ 760520 w 1012061"/>
                <a:gd name="connsiteY1191" fmla="*/ 192831 h 372939"/>
                <a:gd name="connsiteX1192" fmla="*/ 763930 w 1012061"/>
                <a:gd name="connsiteY1192" fmla="*/ 194152 h 372939"/>
                <a:gd name="connsiteX1193" fmla="*/ 769009 w 1012061"/>
                <a:gd name="connsiteY1193" fmla="*/ 196605 h 372939"/>
                <a:gd name="connsiteX1194" fmla="*/ 771641 w 1012061"/>
                <a:gd name="connsiteY1194" fmla="*/ 196965 h 372939"/>
                <a:gd name="connsiteX1195" fmla="*/ 776068 w 1012061"/>
                <a:gd name="connsiteY1195" fmla="*/ 196646 h 372939"/>
                <a:gd name="connsiteX1196" fmla="*/ 777737 w 1012061"/>
                <a:gd name="connsiteY1196" fmla="*/ 196885 h 372939"/>
                <a:gd name="connsiteX1197" fmla="*/ 781956 w 1012061"/>
                <a:gd name="connsiteY1197" fmla="*/ 200017 h 372939"/>
                <a:gd name="connsiteX1198" fmla="*/ 783187 w 1012061"/>
                <a:gd name="connsiteY1198" fmla="*/ 202168 h 372939"/>
                <a:gd name="connsiteX1199" fmla="*/ 783544 w 1012061"/>
                <a:gd name="connsiteY1199" fmla="*/ 204025 h 372939"/>
                <a:gd name="connsiteX1200" fmla="*/ 784193 w 1012061"/>
                <a:gd name="connsiteY1200" fmla="*/ 205787 h 372939"/>
                <a:gd name="connsiteX1201" fmla="*/ 785232 w 1012061"/>
                <a:gd name="connsiteY1201" fmla="*/ 206226 h 372939"/>
                <a:gd name="connsiteX1202" fmla="*/ 786457 w 1012061"/>
                <a:gd name="connsiteY1202" fmla="*/ 206390 h 372939"/>
                <a:gd name="connsiteX1203" fmla="*/ 788053 w 1012061"/>
                <a:gd name="connsiteY1203" fmla="*/ 208926 h 372939"/>
                <a:gd name="connsiteX1204" fmla="*/ 788370 w 1012061"/>
                <a:gd name="connsiteY1204" fmla="*/ 209745 h 372939"/>
                <a:gd name="connsiteX1205" fmla="*/ 787157 w 1012061"/>
                <a:gd name="connsiteY1205" fmla="*/ 216109 h 372939"/>
                <a:gd name="connsiteX1206" fmla="*/ 782187 w 1012061"/>
                <a:gd name="connsiteY1206" fmla="*/ 213698 h 372939"/>
                <a:gd name="connsiteX1207" fmla="*/ 777383 w 1012061"/>
                <a:gd name="connsiteY1207" fmla="*/ 210960 h 372939"/>
                <a:gd name="connsiteX1208" fmla="*/ 775319 w 1012061"/>
                <a:gd name="connsiteY1208" fmla="*/ 209944 h 372939"/>
                <a:gd name="connsiteX1209" fmla="*/ 769786 w 1012061"/>
                <a:gd name="connsiteY1209" fmla="*/ 207629 h 372939"/>
                <a:gd name="connsiteX1210" fmla="*/ 768938 w 1012061"/>
                <a:gd name="connsiteY1210" fmla="*/ 206835 h 372939"/>
                <a:gd name="connsiteX1211" fmla="*/ 768318 w 1012061"/>
                <a:gd name="connsiteY1211" fmla="*/ 205789 h 372939"/>
                <a:gd name="connsiteX1212" fmla="*/ 765908 w 1012061"/>
                <a:gd name="connsiteY1212" fmla="*/ 204362 h 372939"/>
                <a:gd name="connsiteX1213" fmla="*/ 761099 w 1012061"/>
                <a:gd name="connsiteY1213" fmla="*/ 204142 h 372939"/>
                <a:gd name="connsiteX1214" fmla="*/ 759293 w 1012061"/>
                <a:gd name="connsiteY1214" fmla="*/ 204178 h 372939"/>
                <a:gd name="connsiteX1215" fmla="*/ 758558 w 1012061"/>
                <a:gd name="connsiteY1215" fmla="*/ 204392 h 372939"/>
                <a:gd name="connsiteX1216" fmla="*/ 758750 w 1012061"/>
                <a:gd name="connsiteY1216" fmla="*/ 205160 h 372939"/>
                <a:gd name="connsiteX1217" fmla="*/ 758778 w 1012061"/>
                <a:gd name="connsiteY1217" fmla="*/ 206721 h 372939"/>
                <a:gd name="connsiteX1218" fmla="*/ 757584 w 1012061"/>
                <a:gd name="connsiteY1218" fmla="*/ 207153 h 372939"/>
                <a:gd name="connsiteX1219" fmla="*/ 754601 w 1012061"/>
                <a:gd name="connsiteY1219" fmla="*/ 206167 h 372939"/>
                <a:gd name="connsiteX1220" fmla="*/ 751933 w 1012061"/>
                <a:gd name="connsiteY1220" fmla="*/ 205812 h 372939"/>
                <a:gd name="connsiteX1221" fmla="*/ 749622 w 1012061"/>
                <a:gd name="connsiteY1221" fmla="*/ 204851 h 372939"/>
                <a:gd name="connsiteX1222" fmla="*/ 746524 w 1012061"/>
                <a:gd name="connsiteY1222" fmla="*/ 204338 h 372939"/>
                <a:gd name="connsiteX1223" fmla="*/ 746182 w 1012061"/>
                <a:gd name="connsiteY1223" fmla="*/ 203854 h 372939"/>
                <a:gd name="connsiteX1224" fmla="*/ 746448 w 1012061"/>
                <a:gd name="connsiteY1224" fmla="*/ 203134 h 372939"/>
                <a:gd name="connsiteX1225" fmla="*/ 746310 w 1012061"/>
                <a:gd name="connsiteY1225" fmla="*/ 202458 h 372939"/>
                <a:gd name="connsiteX1226" fmla="*/ 745593 w 1012061"/>
                <a:gd name="connsiteY1226" fmla="*/ 202196 h 372939"/>
                <a:gd name="connsiteX1227" fmla="*/ 744202 w 1012061"/>
                <a:gd name="connsiteY1227" fmla="*/ 202322 h 372939"/>
                <a:gd name="connsiteX1228" fmla="*/ 742859 w 1012061"/>
                <a:gd name="connsiteY1228" fmla="*/ 203000 h 372939"/>
                <a:gd name="connsiteX1229" fmla="*/ 741742 w 1012061"/>
                <a:gd name="connsiteY1229" fmla="*/ 203772 h 372939"/>
                <a:gd name="connsiteX1230" fmla="*/ 740099 w 1012061"/>
                <a:gd name="connsiteY1230" fmla="*/ 205899 h 372939"/>
                <a:gd name="connsiteX1231" fmla="*/ 739259 w 1012061"/>
                <a:gd name="connsiteY1231" fmla="*/ 206714 h 372939"/>
                <a:gd name="connsiteX1232" fmla="*/ 736554 w 1012061"/>
                <a:gd name="connsiteY1232" fmla="*/ 207062 h 372939"/>
                <a:gd name="connsiteX1233" fmla="*/ 735433 w 1012061"/>
                <a:gd name="connsiteY1233" fmla="*/ 206857 h 372939"/>
                <a:gd name="connsiteX1234" fmla="*/ 734400 w 1012061"/>
                <a:gd name="connsiteY1234" fmla="*/ 206329 h 372939"/>
                <a:gd name="connsiteX1235" fmla="*/ 731321 w 1012061"/>
                <a:gd name="connsiteY1235" fmla="*/ 202444 h 372939"/>
                <a:gd name="connsiteX1236" fmla="*/ 730283 w 1012061"/>
                <a:gd name="connsiteY1236" fmla="*/ 201606 h 372939"/>
                <a:gd name="connsiteX1237" fmla="*/ 729125 w 1012061"/>
                <a:gd name="connsiteY1237" fmla="*/ 200921 h 372939"/>
                <a:gd name="connsiteX1238" fmla="*/ 728049 w 1012061"/>
                <a:gd name="connsiteY1238" fmla="*/ 200605 h 372939"/>
                <a:gd name="connsiteX1239" fmla="*/ 726946 w 1012061"/>
                <a:gd name="connsiteY1239" fmla="*/ 201195 h 372939"/>
                <a:gd name="connsiteX1240" fmla="*/ 726363 w 1012061"/>
                <a:gd name="connsiteY1240" fmla="*/ 202401 h 372939"/>
                <a:gd name="connsiteX1241" fmla="*/ 726102 w 1012061"/>
                <a:gd name="connsiteY1241" fmla="*/ 203835 h 372939"/>
                <a:gd name="connsiteX1242" fmla="*/ 725795 w 1012061"/>
                <a:gd name="connsiteY1242" fmla="*/ 204658 h 372939"/>
                <a:gd name="connsiteX1243" fmla="*/ 724467 w 1012061"/>
                <a:gd name="connsiteY1243" fmla="*/ 206956 h 372939"/>
                <a:gd name="connsiteX1244" fmla="*/ 723371 w 1012061"/>
                <a:gd name="connsiteY1244" fmla="*/ 208322 h 372939"/>
                <a:gd name="connsiteX1245" fmla="*/ 722971 w 1012061"/>
                <a:gd name="connsiteY1245" fmla="*/ 208106 h 372939"/>
                <a:gd name="connsiteX1246" fmla="*/ 723534 w 1012061"/>
                <a:gd name="connsiteY1246" fmla="*/ 205914 h 372939"/>
                <a:gd name="connsiteX1247" fmla="*/ 723537 w 1012061"/>
                <a:gd name="connsiteY1247" fmla="*/ 204678 h 372939"/>
                <a:gd name="connsiteX1248" fmla="*/ 722857 w 1012061"/>
                <a:gd name="connsiteY1248" fmla="*/ 203370 h 372939"/>
                <a:gd name="connsiteX1249" fmla="*/ 722431 w 1012061"/>
                <a:gd name="connsiteY1249" fmla="*/ 202036 h 372939"/>
                <a:gd name="connsiteX1250" fmla="*/ 727637 w 1012061"/>
                <a:gd name="connsiteY1250" fmla="*/ 195673 h 372939"/>
                <a:gd name="connsiteX1251" fmla="*/ 729520 w 1012061"/>
                <a:gd name="connsiteY1251" fmla="*/ 194153 h 372939"/>
                <a:gd name="connsiteX1252" fmla="*/ 737730 w 1012061"/>
                <a:gd name="connsiteY1252" fmla="*/ 193628 h 372939"/>
                <a:gd name="connsiteX1253" fmla="*/ 742611 w 1012061"/>
                <a:gd name="connsiteY1253" fmla="*/ 193948 h 372939"/>
                <a:gd name="connsiteX1254" fmla="*/ 745269 w 1012061"/>
                <a:gd name="connsiteY1254" fmla="*/ 193793 h 372939"/>
                <a:gd name="connsiteX1255" fmla="*/ 747046 w 1012061"/>
                <a:gd name="connsiteY1255" fmla="*/ 193326 h 372939"/>
                <a:gd name="connsiteX1256" fmla="*/ 748518 w 1012061"/>
                <a:gd name="connsiteY1256" fmla="*/ 193547 h 372939"/>
                <a:gd name="connsiteX1257" fmla="*/ 748885 w 1012061"/>
                <a:gd name="connsiteY1257" fmla="*/ 194800 h 372939"/>
                <a:gd name="connsiteX1258" fmla="*/ 749814 w 1012061"/>
                <a:gd name="connsiteY1258" fmla="*/ 195727 h 372939"/>
                <a:gd name="connsiteX1259" fmla="*/ 751098 w 1012061"/>
                <a:gd name="connsiteY1259" fmla="*/ 195649 h 372939"/>
                <a:gd name="connsiteX1260" fmla="*/ 753425 w 1012061"/>
                <a:gd name="connsiteY1260" fmla="*/ 194666 h 372939"/>
                <a:gd name="connsiteX1261" fmla="*/ 755448 w 1012061"/>
                <a:gd name="connsiteY1261" fmla="*/ 193149 h 372939"/>
                <a:gd name="connsiteX1262" fmla="*/ 756691 w 1012061"/>
                <a:gd name="connsiteY1262" fmla="*/ 192490 h 372939"/>
                <a:gd name="connsiteX1263" fmla="*/ 111422 w 1012061"/>
                <a:gd name="connsiteY1263" fmla="*/ 192323 h 372939"/>
                <a:gd name="connsiteX1264" fmla="*/ 116043 w 1012061"/>
                <a:gd name="connsiteY1264" fmla="*/ 197164 h 372939"/>
                <a:gd name="connsiteX1265" fmla="*/ 116358 w 1012061"/>
                <a:gd name="connsiteY1265" fmla="*/ 197983 h 372939"/>
                <a:gd name="connsiteX1266" fmla="*/ 116257 w 1012061"/>
                <a:gd name="connsiteY1266" fmla="*/ 199708 h 372939"/>
                <a:gd name="connsiteX1267" fmla="*/ 115585 w 1012061"/>
                <a:gd name="connsiteY1267" fmla="*/ 200248 h 372939"/>
                <a:gd name="connsiteX1268" fmla="*/ 115391 w 1012061"/>
                <a:gd name="connsiteY1268" fmla="*/ 201169 h 372939"/>
                <a:gd name="connsiteX1269" fmla="*/ 116276 w 1012061"/>
                <a:gd name="connsiteY1269" fmla="*/ 204392 h 372939"/>
                <a:gd name="connsiteX1270" fmla="*/ 113644 w 1012061"/>
                <a:gd name="connsiteY1270" fmla="*/ 202194 h 372939"/>
                <a:gd name="connsiteX1271" fmla="*/ 113696 w 1012061"/>
                <a:gd name="connsiteY1271" fmla="*/ 200635 h 372939"/>
                <a:gd name="connsiteX1272" fmla="*/ 113333 w 1012061"/>
                <a:gd name="connsiteY1272" fmla="*/ 199624 h 372939"/>
                <a:gd name="connsiteX1273" fmla="*/ 111739 w 1012061"/>
                <a:gd name="connsiteY1273" fmla="*/ 198381 h 372939"/>
                <a:gd name="connsiteX1274" fmla="*/ 110509 w 1012061"/>
                <a:gd name="connsiteY1274" fmla="*/ 196829 h 372939"/>
                <a:gd name="connsiteX1275" fmla="*/ 109955 w 1012061"/>
                <a:gd name="connsiteY1275" fmla="*/ 193142 h 372939"/>
                <a:gd name="connsiteX1276" fmla="*/ 110381 w 1012061"/>
                <a:gd name="connsiteY1276" fmla="*/ 192375 h 372939"/>
                <a:gd name="connsiteX1277" fmla="*/ 279301 w 1012061"/>
                <a:gd name="connsiteY1277" fmla="*/ 186726 h 372939"/>
                <a:gd name="connsiteX1278" fmla="*/ 280117 w 1012061"/>
                <a:gd name="connsiteY1278" fmla="*/ 187377 h 372939"/>
                <a:gd name="connsiteX1279" fmla="*/ 284533 w 1012061"/>
                <a:gd name="connsiteY1279" fmla="*/ 188202 h 372939"/>
                <a:gd name="connsiteX1280" fmla="*/ 287645 w 1012061"/>
                <a:gd name="connsiteY1280" fmla="*/ 190415 h 372939"/>
                <a:gd name="connsiteX1281" fmla="*/ 289314 w 1012061"/>
                <a:gd name="connsiteY1281" fmla="*/ 193359 h 372939"/>
                <a:gd name="connsiteX1282" fmla="*/ 287470 w 1012061"/>
                <a:gd name="connsiteY1282" fmla="*/ 197069 h 372939"/>
                <a:gd name="connsiteX1283" fmla="*/ 287129 w 1012061"/>
                <a:gd name="connsiteY1283" fmla="*/ 199401 h 372939"/>
                <a:gd name="connsiteX1284" fmla="*/ 286587 w 1012061"/>
                <a:gd name="connsiteY1284" fmla="*/ 200281 h 372939"/>
                <a:gd name="connsiteX1285" fmla="*/ 284736 w 1012061"/>
                <a:gd name="connsiteY1285" fmla="*/ 201435 h 372939"/>
                <a:gd name="connsiteX1286" fmla="*/ 284110 w 1012061"/>
                <a:gd name="connsiteY1286" fmla="*/ 202142 h 372939"/>
                <a:gd name="connsiteX1287" fmla="*/ 282383 w 1012061"/>
                <a:gd name="connsiteY1287" fmla="*/ 202030 h 372939"/>
                <a:gd name="connsiteX1288" fmla="*/ 282164 w 1012061"/>
                <a:gd name="connsiteY1288" fmla="*/ 200809 h 372939"/>
                <a:gd name="connsiteX1289" fmla="*/ 281586 w 1012061"/>
                <a:gd name="connsiteY1289" fmla="*/ 199983 h 372939"/>
                <a:gd name="connsiteX1290" fmla="*/ 279753 w 1012061"/>
                <a:gd name="connsiteY1290" fmla="*/ 199031 h 372939"/>
                <a:gd name="connsiteX1291" fmla="*/ 279275 w 1012061"/>
                <a:gd name="connsiteY1291" fmla="*/ 199261 h 372939"/>
                <a:gd name="connsiteX1292" fmla="*/ 278947 w 1012061"/>
                <a:gd name="connsiteY1292" fmla="*/ 200679 h 372939"/>
                <a:gd name="connsiteX1293" fmla="*/ 275360 w 1012061"/>
                <a:gd name="connsiteY1293" fmla="*/ 201671 h 372939"/>
                <a:gd name="connsiteX1294" fmla="*/ 274362 w 1012061"/>
                <a:gd name="connsiteY1294" fmla="*/ 201755 h 372939"/>
                <a:gd name="connsiteX1295" fmla="*/ 274855 w 1012061"/>
                <a:gd name="connsiteY1295" fmla="*/ 199883 h 372939"/>
                <a:gd name="connsiteX1296" fmla="*/ 273931 w 1012061"/>
                <a:gd name="connsiteY1296" fmla="*/ 198413 h 372939"/>
                <a:gd name="connsiteX1297" fmla="*/ 273857 w 1012061"/>
                <a:gd name="connsiteY1297" fmla="*/ 196602 h 372939"/>
                <a:gd name="connsiteX1298" fmla="*/ 273687 w 1012061"/>
                <a:gd name="connsiteY1298" fmla="*/ 195809 h 372939"/>
                <a:gd name="connsiteX1299" fmla="*/ 273235 w 1012061"/>
                <a:gd name="connsiteY1299" fmla="*/ 195353 h 372939"/>
                <a:gd name="connsiteX1300" fmla="*/ 274151 w 1012061"/>
                <a:gd name="connsiteY1300" fmla="*/ 194091 h 372939"/>
                <a:gd name="connsiteX1301" fmla="*/ 274002 w 1012061"/>
                <a:gd name="connsiteY1301" fmla="*/ 192688 h 372939"/>
                <a:gd name="connsiteX1302" fmla="*/ 274963 w 1012061"/>
                <a:gd name="connsiteY1302" fmla="*/ 191180 h 372939"/>
                <a:gd name="connsiteX1303" fmla="*/ 275510 w 1012061"/>
                <a:gd name="connsiteY1303" fmla="*/ 187524 h 372939"/>
                <a:gd name="connsiteX1304" fmla="*/ 106255 w 1012061"/>
                <a:gd name="connsiteY1304" fmla="*/ 186284 h 372939"/>
                <a:gd name="connsiteX1305" fmla="*/ 110456 w 1012061"/>
                <a:gd name="connsiteY1305" fmla="*/ 190033 h 372939"/>
                <a:gd name="connsiteX1306" fmla="*/ 110504 w 1012061"/>
                <a:gd name="connsiteY1306" fmla="*/ 191390 h 372939"/>
                <a:gd name="connsiteX1307" fmla="*/ 108925 w 1012061"/>
                <a:gd name="connsiteY1307" fmla="*/ 193168 h 372939"/>
                <a:gd name="connsiteX1308" fmla="*/ 106322 w 1012061"/>
                <a:gd name="connsiteY1308" fmla="*/ 193131 h 372939"/>
                <a:gd name="connsiteX1309" fmla="*/ 105812 w 1012061"/>
                <a:gd name="connsiteY1309" fmla="*/ 192027 h 372939"/>
                <a:gd name="connsiteX1310" fmla="*/ 105922 w 1012061"/>
                <a:gd name="connsiteY1310" fmla="*/ 189361 h 372939"/>
                <a:gd name="connsiteX1311" fmla="*/ 105287 w 1012061"/>
                <a:gd name="connsiteY1311" fmla="*/ 188486 h 372939"/>
                <a:gd name="connsiteX1312" fmla="*/ 105313 w 1012061"/>
                <a:gd name="connsiteY1312" fmla="*/ 188140 h 372939"/>
                <a:gd name="connsiteX1313" fmla="*/ 105723 w 1012061"/>
                <a:gd name="connsiteY1313" fmla="*/ 186619 h 372939"/>
                <a:gd name="connsiteX1314" fmla="*/ 865974 w 1012061"/>
                <a:gd name="connsiteY1314" fmla="*/ 175607 h 372939"/>
                <a:gd name="connsiteX1315" fmla="*/ 866449 w 1012061"/>
                <a:gd name="connsiteY1315" fmla="*/ 175676 h 372939"/>
                <a:gd name="connsiteX1316" fmla="*/ 867069 w 1012061"/>
                <a:gd name="connsiteY1316" fmla="*/ 176140 h 372939"/>
                <a:gd name="connsiteX1317" fmla="*/ 866078 w 1012061"/>
                <a:gd name="connsiteY1317" fmla="*/ 177728 h 372939"/>
                <a:gd name="connsiteX1318" fmla="*/ 865436 w 1012061"/>
                <a:gd name="connsiteY1318" fmla="*/ 178065 h 372939"/>
                <a:gd name="connsiteX1319" fmla="*/ 865212 w 1012061"/>
                <a:gd name="connsiteY1319" fmla="*/ 177101 h 372939"/>
                <a:gd name="connsiteX1320" fmla="*/ 865560 w 1012061"/>
                <a:gd name="connsiteY1320" fmla="*/ 175812 h 372939"/>
                <a:gd name="connsiteX1321" fmla="*/ 97634 w 1012061"/>
                <a:gd name="connsiteY1321" fmla="*/ 175362 h 372939"/>
                <a:gd name="connsiteX1322" fmla="*/ 99058 w 1012061"/>
                <a:gd name="connsiteY1322" fmla="*/ 176397 h 372939"/>
                <a:gd name="connsiteX1323" fmla="*/ 100126 w 1012061"/>
                <a:gd name="connsiteY1323" fmla="*/ 178927 h 372939"/>
                <a:gd name="connsiteX1324" fmla="*/ 101916 w 1012061"/>
                <a:gd name="connsiteY1324" fmla="*/ 181286 h 372939"/>
                <a:gd name="connsiteX1325" fmla="*/ 102521 w 1012061"/>
                <a:gd name="connsiteY1325" fmla="*/ 182585 h 372939"/>
                <a:gd name="connsiteX1326" fmla="*/ 102626 w 1012061"/>
                <a:gd name="connsiteY1326" fmla="*/ 183174 h 372939"/>
                <a:gd name="connsiteX1327" fmla="*/ 99029 w 1012061"/>
                <a:gd name="connsiteY1327" fmla="*/ 181228 h 372939"/>
                <a:gd name="connsiteX1328" fmla="*/ 97302 w 1012061"/>
                <a:gd name="connsiteY1328" fmla="*/ 180692 h 372939"/>
                <a:gd name="connsiteX1329" fmla="*/ 95762 w 1012061"/>
                <a:gd name="connsiteY1329" fmla="*/ 178568 h 372939"/>
                <a:gd name="connsiteX1330" fmla="*/ 96237 w 1012061"/>
                <a:gd name="connsiteY1330" fmla="*/ 177549 h 372939"/>
                <a:gd name="connsiteX1331" fmla="*/ 96302 w 1012061"/>
                <a:gd name="connsiteY1331" fmla="*/ 176127 h 372939"/>
                <a:gd name="connsiteX1332" fmla="*/ 96531 w 1012061"/>
                <a:gd name="connsiteY1332" fmla="*/ 175565 h 372939"/>
                <a:gd name="connsiteX1333" fmla="*/ 679197 w 1012061"/>
                <a:gd name="connsiteY1333" fmla="*/ 174438 h 372939"/>
                <a:gd name="connsiteX1334" fmla="*/ 680083 w 1012061"/>
                <a:gd name="connsiteY1334" fmla="*/ 174459 h 372939"/>
                <a:gd name="connsiteX1335" fmla="*/ 680744 w 1012061"/>
                <a:gd name="connsiteY1335" fmla="*/ 175257 h 372939"/>
                <a:gd name="connsiteX1336" fmla="*/ 680375 w 1012061"/>
                <a:gd name="connsiteY1336" fmla="*/ 178713 h 372939"/>
                <a:gd name="connsiteX1337" fmla="*/ 682359 w 1012061"/>
                <a:gd name="connsiteY1337" fmla="*/ 183088 h 372939"/>
                <a:gd name="connsiteX1338" fmla="*/ 682124 w 1012061"/>
                <a:gd name="connsiteY1338" fmla="*/ 184978 h 372939"/>
                <a:gd name="connsiteX1339" fmla="*/ 681744 w 1012061"/>
                <a:gd name="connsiteY1339" fmla="*/ 185380 h 372939"/>
                <a:gd name="connsiteX1340" fmla="*/ 680418 w 1012061"/>
                <a:gd name="connsiteY1340" fmla="*/ 184185 h 372939"/>
                <a:gd name="connsiteX1341" fmla="*/ 679526 w 1012061"/>
                <a:gd name="connsiteY1341" fmla="*/ 180809 h 372939"/>
                <a:gd name="connsiteX1342" fmla="*/ 678766 w 1012061"/>
                <a:gd name="connsiteY1342" fmla="*/ 179910 h 372939"/>
                <a:gd name="connsiteX1343" fmla="*/ 677874 w 1012061"/>
                <a:gd name="connsiteY1343" fmla="*/ 176702 h 372939"/>
                <a:gd name="connsiteX1344" fmla="*/ 678103 w 1012061"/>
                <a:gd name="connsiteY1344" fmla="*/ 175790 h 372939"/>
                <a:gd name="connsiteX1345" fmla="*/ 631894 w 1012061"/>
                <a:gd name="connsiteY1345" fmla="*/ 172304 h 372939"/>
                <a:gd name="connsiteX1346" fmla="*/ 633326 w 1012061"/>
                <a:gd name="connsiteY1346" fmla="*/ 174010 h 372939"/>
                <a:gd name="connsiteX1347" fmla="*/ 633719 w 1012061"/>
                <a:gd name="connsiteY1347" fmla="*/ 174900 h 372939"/>
                <a:gd name="connsiteX1348" fmla="*/ 632337 w 1012061"/>
                <a:gd name="connsiteY1348" fmla="*/ 174870 h 372939"/>
                <a:gd name="connsiteX1349" fmla="*/ 631756 w 1012061"/>
                <a:gd name="connsiteY1349" fmla="*/ 173196 h 372939"/>
                <a:gd name="connsiteX1350" fmla="*/ 681441 w 1012061"/>
                <a:gd name="connsiteY1350" fmla="*/ 170344 h 372939"/>
                <a:gd name="connsiteX1351" fmla="*/ 688241 w 1012061"/>
                <a:gd name="connsiteY1351" fmla="*/ 171077 h 372939"/>
                <a:gd name="connsiteX1352" fmla="*/ 687276 w 1012061"/>
                <a:gd name="connsiteY1352" fmla="*/ 171874 h 372939"/>
                <a:gd name="connsiteX1353" fmla="*/ 679943 w 1012061"/>
                <a:gd name="connsiteY1353" fmla="*/ 173151 h 372939"/>
                <a:gd name="connsiteX1354" fmla="*/ 677343 w 1012061"/>
                <a:gd name="connsiteY1354" fmla="*/ 172919 h 372939"/>
                <a:gd name="connsiteX1355" fmla="*/ 669390 w 1012061"/>
                <a:gd name="connsiteY1355" fmla="*/ 173669 h 372939"/>
                <a:gd name="connsiteX1356" fmla="*/ 668360 w 1012061"/>
                <a:gd name="connsiteY1356" fmla="*/ 173626 h 372939"/>
                <a:gd name="connsiteX1357" fmla="*/ 668213 w 1012061"/>
                <a:gd name="connsiteY1357" fmla="*/ 172390 h 372939"/>
                <a:gd name="connsiteX1358" fmla="*/ 667356 w 1012061"/>
                <a:gd name="connsiteY1358" fmla="*/ 171524 h 372939"/>
                <a:gd name="connsiteX1359" fmla="*/ 668628 w 1012061"/>
                <a:gd name="connsiteY1359" fmla="*/ 170770 h 372939"/>
                <a:gd name="connsiteX1360" fmla="*/ 670312 w 1012061"/>
                <a:gd name="connsiteY1360" fmla="*/ 170591 h 372939"/>
                <a:gd name="connsiteX1361" fmla="*/ 674722 w 1012061"/>
                <a:gd name="connsiteY1361" fmla="*/ 170876 h 372939"/>
                <a:gd name="connsiteX1362" fmla="*/ 617610 w 1012061"/>
                <a:gd name="connsiteY1362" fmla="*/ 169967 h 372939"/>
                <a:gd name="connsiteX1363" fmla="*/ 617943 w 1012061"/>
                <a:gd name="connsiteY1363" fmla="*/ 170936 h 372939"/>
                <a:gd name="connsiteX1364" fmla="*/ 616312 w 1012061"/>
                <a:gd name="connsiteY1364" fmla="*/ 172759 h 372939"/>
                <a:gd name="connsiteX1365" fmla="*/ 616137 w 1012061"/>
                <a:gd name="connsiteY1365" fmla="*/ 171785 h 372939"/>
                <a:gd name="connsiteX1366" fmla="*/ 616468 w 1012061"/>
                <a:gd name="connsiteY1366" fmla="*/ 170899 h 372939"/>
                <a:gd name="connsiteX1367" fmla="*/ 616923 w 1012061"/>
                <a:gd name="connsiteY1367" fmla="*/ 170277 h 372939"/>
                <a:gd name="connsiteX1368" fmla="*/ 777167 w 1012061"/>
                <a:gd name="connsiteY1368" fmla="*/ 168150 h 372939"/>
                <a:gd name="connsiteX1369" fmla="*/ 777435 w 1012061"/>
                <a:gd name="connsiteY1369" fmla="*/ 169461 h 372939"/>
                <a:gd name="connsiteX1370" fmla="*/ 778752 w 1012061"/>
                <a:gd name="connsiteY1370" fmla="*/ 170673 h 372939"/>
                <a:gd name="connsiteX1371" fmla="*/ 778294 w 1012061"/>
                <a:gd name="connsiteY1371" fmla="*/ 172559 h 372939"/>
                <a:gd name="connsiteX1372" fmla="*/ 777770 w 1012061"/>
                <a:gd name="connsiteY1372" fmla="*/ 172842 h 372939"/>
                <a:gd name="connsiteX1373" fmla="*/ 778052 w 1012061"/>
                <a:gd name="connsiteY1373" fmla="*/ 173704 h 372939"/>
                <a:gd name="connsiteX1374" fmla="*/ 778616 w 1012061"/>
                <a:gd name="connsiteY1374" fmla="*/ 174360 h 372939"/>
                <a:gd name="connsiteX1375" fmla="*/ 777595 w 1012061"/>
                <a:gd name="connsiteY1375" fmla="*/ 174816 h 372939"/>
                <a:gd name="connsiteX1376" fmla="*/ 776850 w 1012061"/>
                <a:gd name="connsiteY1376" fmla="*/ 174593 h 372939"/>
                <a:gd name="connsiteX1377" fmla="*/ 775638 w 1012061"/>
                <a:gd name="connsiteY1377" fmla="*/ 175203 h 372939"/>
                <a:gd name="connsiteX1378" fmla="*/ 774839 w 1012061"/>
                <a:gd name="connsiteY1378" fmla="*/ 176051 h 372939"/>
                <a:gd name="connsiteX1379" fmla="*/ 772306 w 1012061"/>
                <a:gd name="connsiteY1379" fmla="*/ 176408 h 372939"/>
                <a:gd name="connsiteX1380" fmla="*/ 771419 w 1012061"/>
                <a:gd name="connsiteY1380" fmla="*/ 175622 h 372939"/>
                <a:gd name="connsiteX1381" fmla="*/ 766846 w 1012061"/>
                <a:gd name="connsiteY1381" fmla="*/ 174695 h 372939"/>
                <a:gd name="connsiteX1382" fmla="*/ 763923 w 1012061"/>
                <a:gd name="connsiteY1382" fmla="*/ 172660 h 372939"/>
                <a:gd name="connsiteX1383" fmla="*/ 763554 w 1012061"/>
                <a:gd name="connsiteY1383" fmla="*/ 172051 h 372939"/>
                <a:gd name="connsiteX1384" fmla="*/ 769214 w 1012061"/>
                <a:gd name="connsiteY1384" fmla="*/ 169662 h 372939"/>
                <a:gd name="connsiteX1385" fmla="*/ 771693 w 1012061"/>
                <a:gd name="connsiteY1385" fmla="*/ 169033 h 372939"/>
                <a:gd name="connsiteX1386" fmla="*/ 773768 w 1012061"/>
                <a:gd name="connsiteY1386" fmla="*/ 169072 h 372939"/>
                <a:gd name="connsiteX1387" fmla="*/ 776385 w 1012061"/>
                <a:gd name="connsiteY1387" fmla="*/ 168182 h 372939"/>
                <a:gd name="connsiteX1388" fmla="*/ 651363 w 1012061"/>
                <a:gd name="connsiteY1388" fmla="*/ 166942 h 372939"/>
                <a:gd name="connsiteX1389" fmla="*/ 658120 w 1012061"/>
                <a:gd name="connsiteY1389" fmla="*/ 168480 h 372939"/>
                <a:gd name="connsiteX1390" fmla="*/ 660187 w 1012061"/>
                <a:gd name="connsiteY1390" fmla="*/ 169267 h 372939"/>
                <a:gd name="connsiteX1391" fmla="*/ 660914 w 1012061"/>
                <a:gd name="connsiteY1391" fmla="*/ 169262 h 372939"/>
                <a:gd name="connsiteX1392" fmla="*/ 661597 w 1012061"/>
                <a:gd name="connsiteY1392" fmla="*/ 168344 h 372939"/>
                <a:gd name="connsiteX1393" fmla="*/ 662018 w 1012061"/>
                <a:gd name="connsiteY1393" fmla="*/ 168195 h 372939"/>
                <a:gd name="connsiteX1394" fmla="*/ 662948 w 1012061"/>
                <a:gd name="connsiteY1394" fmla="*/ 168645 h 372939"/>
                <a:gd name="connsiteX1395" fmla="*/ 663164 w 1012061"/>
                <a:gd name="connsiteY1395" fmla="*/ 170135 h 372939"/>
                <a:gd name="connsiteX1396" fmla="*/ 664503 w 1012061"/>
                <a:gd name="connsiteY1396" fmla="*/ 169927 h 372939"/>
                <a:gd name="connsiteX1397" fmla="*/ 665546 w 1012061"/>
                <a:gd name="connsiteY1397" fmla="*/ 170437 h 372939"/>
                <a:gd name="connsiteX1398" fmla="*/ 665874 w 1012061"/>
                <a:gd name="connsiteY1398" fmla="*/ 170794 h 372939"/>
                <a:gd name="connsiteX1399" fmla="*/ 665739 w 1012061"/>
                <a:gd name="connsiteY1399" fmla="*/ 172278 h 372939"/>
                <a:gd name="connsiteX1400" fmla="*/ 661774 w 1012061"/>
                <a:gd name="connsiteY1400" fmla="*/ 172539 h 372939"/>
                <a:gd name="connsiteX1401" fmla="*/ 658943 w 1012061"/>
                <a:gd name="connsiteY1401" fmla="*/ 173736 h 372939"/>
                <a:gd name="connsiteX1402" fmla="*/ 655134 w 1012061"/>
                <a:gd name="connsiteY1402" fmla="*/ 172660 h 372939"/>
                <a:gd name="connsiteX1403" fmla="*/ 650815 w 1012061"/>
                <a:gd name="connsiteY1403" fmla="*/ 174514 h 372939"/>
                <a:gd name="connsiteX1404" fmla="*/ 648193 w 1012061"/>
                <a:gd name="connsiteY1404" fmla="*/ 175148 h 372939"/>
                <a:gd name="connsiteX1405" fmla="*/ 645920 w 1012061"/>
                <a:gd name="connsiteY1405" fmla="*/ 175110 h 372939"/>
                <a:gd name="connsiteX1406" fmla="*/ 643972 w 1012061"/>
                <a:gd name="connsiteY1406" fmla="*/ 171874 h 372939"/>
                <a:gd name="connsiteX1407" fmla="*/ 645103 w 1012061"/>
                <a:gd name="connsiteY1407" fmla="*/ 168083 h 372939"/>
                <a:gd name="connsiteX1408" fmla="*/ 645915 w 1012061"/>
                <a:gd name="connsiteY1408" fmla="*/ 167459 h 372939"/>
                <a:gd name="connsiteX1409" fmla="*/ 647362 w 1012061"/>
                <a:gd name="connsiteY1409" fmla="*/ 167128 h 372939"/>
                <a:gd name="connsiteX1410" fmla="*/ 890401 w 1012061"/>
                <a:gd name="connsiteY1410" fmla="*/ 165966 h 372939"/>
                <a:gd name="connsiteX1411" fmla="*/ 899134 w 1012061"/>
                <a:gd name="connsiteY1411" fmla="*/ 167076 h 372939"/>
                <a:gd name="connsiteX1412" fmla="*/ 901500 w 1012061"/>
                <a:gd name="connsiteY1412" fmla="*/ 166934 h 372939"/>
                <a:gd name="connsiteX1413" fmla="*/ 906484 w 1012061"/>
                <a:gd name="connsiteY1413" fmla="*/ 167364 h 372939"/>
                <a:gd name="connsiteX1414" fmla="*/ 910643 w 1012061"/>
                <a:gd name="connsiteY1414" fmla="*/ 168837 h 372939"/>
                <a:gd name="connsiteX1415" fmla="*/ 917916 w 1012061"/>
                <a:gd name="connsiteY1415" fmla="*/ 169111 h 372939"/>
                <a:gd name="connsiteX1416" fmla="*/ 920086 w 1012061"/>
                <a:gd name="connsiteY1416" fmla="*/ 169550 h 372939"/>
                <a:gd name="connsiteX1417" fmla="*/ 921764 w 1012061"/>
                <a:gd name="connsiteY1417" fmla="*/ 170565 h 372939"/>
                <a:gd name="connsiteX1418" fmla="*/ 917695 w 1012061"/>
                <a:gd name="connsiteY1418" fmla="*/ 171405 h 372939"/>
                <a:gd name="connsiteX1419" fmla="*/ 915778 w 1012061"/>
                <a:gd name="connsiteY1419" fmla="*/ 172187 h 372939"/>
                <a:gd name="connsiteX1420" fmla="*/ 912217 w 1012061"/>
                <a:gd name="connsiteY1420" fmla="*/ 172571 h 372939"/>
                <a:gd name="connsiteX1421" fmla="*/ 909238 w 1012061"/>
                <a:gd name="connsiteY1421" fmla="*/ 172174 h 372939"/>
                <a:gd name="connsiteX1422" fmla="*/ 907071 w 1012061"/>
                <a:gd name="connsiteY1422" fmla="*/ 172643 h 372939"/>
                <a:gd name="connsiteX1423" fmla="*/ 906285 w 1012061"/>
                <a:gd name="connsiteY1423" fmla="*/ 171880 h 372939"/>
                <a:gd name="connsiteX1424" fmla="*/ 903116 w 1012061"/>
                <a:gd name="connsiteY1424" fmla="*/ 171105 h 372939"/>
                <a:gd name="connsiteX1425" fmla="*/ 899058 w 1012061"/>
                <a:gd name="connsiteY1425" fmla="*/ 169513 h 372939"/>
                <a:gd name="connsiteX1426" fmla="*/ 890697 w 1012061"/>
                <a:gd name="connsiteY1426" fmla="*/ 167659 h 372939"/>
                <a:gd name="connsiteX1427" fmla="*/ 890302 w 1012061"/>
                <a:gd name="connsiteY1427" fmla="*/ 166506 h 372939"/>
                <a:gd name="connsiteX1428" fmla="*/ 302286 w 1012061"/>
                <a:gd name="connsiteY1428" fmla="*/ 164817 h 372939"/>
                <a:gd name="connsiteX1429" fmla="*/ 304045 w 1012061"/>
                <a:gd name="connsiteY1429" fmla="*/ 165353 h 372939"/>
                <a:gd name="connsiteX1430" fmla="*/ 303964 w 1012061"/>
                <a:gd name="connsiteY1430" fmla="*/ 166582 h 372939"/>
                <a:gd name="connsiteX1431" fmla="*/ 301415 w 1012061"/>
                <a:gd name="connsiteY1431" fmla="*/ 167511 h 372939"/>
                <a:gd name="connsiteX1432" fmla="*/ 300660 w 1012061"/>
                <a:gd name="connsiteY1432" fmla="*/ 165435 h 372939"/>
                <a:gd name="connsiteX1433" fmla="*/ 236675 w 1012061"/>
                <a:gd name="connsiteY1433" fmla="*/ 164046 h 372939"/>
                <a:gd name="connsiteX1434" fmla="*/ 238243 w 1012061"/>
                <a:gd name="connsiteY1434" fmla="*/ 164802 h 372939"/>
                <a:gd name="connsiteX1435" fmla="*/ 239268 w 1012061"/>
                <a:gd name="connsiteY1435" fmla="*/ 165996 h 372939"/>
                <a:gd name="connsiteX1436" fmla="*/ 239675 w 1012061"/>
                <a:gd name="connsiteY1436" fmla="*/ 167683 h 372939"/>
                <a:gd name="connsiteX1437" fmla="*/ 240434 w 1012061"/>
                <a:gd name="connsiteY1437" fmla="*/ 169206 h 372939"/>
                <a:gd name="connsiteX1438" fmla="*/ 241475 w 1012061"/>
                <a:gd name="connsiteY1438" fmla="*/ 170575 h 372939"/>
                <a:gd name="connsiteX1439" fmla="*/ 242240 w 1012061"/>
                <a:gd name="connsiteY1439" fmla="*/ 172053 h 372939"/>
                <a:gd name="connsiteX1440" fmla="*/ 243281 w 1012061"/>
                <a:gd name="connsiteY1440" fmla="*/ 179169 h 372939"/>
                <a:gd name="connsiteX1441" fmla="*/ 246755 w 1012061"/>
                <a:gd name="connsiteY1441" fmla="*/ 185279 h 372939"/>
                <a:gd name="connsiteX1442" fmla="*/ 256761 w 1012061"/>
                <a:gd name="connsiteY1442" fmla="*/ 187679 h 372939"/>
                <a:gd name="connsiteX1443" fmla="*/ 255123 w 1012061"/>
                <a:gd name="connsiteY1443" fmla="*/ 188667 h 372939"/>
                <a:gd name="connsiteX1444" fmla="*/ 254289 w 1012061"/>
                <a:gd name="connsiteY1444" fmla="*/ 189553 h 372939"/>
                <a:gd name="connsiteX1445" fmla="*/ 253674 w 1012061"/>
                <a:gd name="connsiteY1445" fmla="*/ 190571 h 372939"/>
                <a:gd name="connsiteX1446" fmla="*/ 252196 w 1012061"/>
                <a:gd name="connsiteY1446" fmla="*/ 194808 h 372939"/>
                <a:gd name="connsiteX1447" fmla="*/ 252341 w 1012061"/>
                <a:gd name="connsiteY1447" fmla="*/ 195708 h 372939"/>
                <a:gd name="connsiteX1448" fmla="*/ 253205 w 1012061"/>
                <a:gd name="connsiteY1448" fmla="*/ 197147 h 372939"/>
                <a:gd name="connsiteX1449" fmla="*/ 253416 w 1012061"/>
                <a:gd name="connsiteY1449" fmla="*/ 198709 h 372939"/>
                <a:gd name="connsiteX1450" fmla="*/ 252165 w 1012061"/>
                <a:gd name="connsiteY1450" fmla="*/ 198701 h 372939"/>
                <a:gd name="connsiteX1451" fmla="*/ 250754 w 1012061"/>
                <a:gd name="connsiteY1451" fmla="*/ 198351 h 372939"/>
                <a:gd name="connsiteX1452" fmla="*/ 249633 w 1012061"/>
                <a:gd name="connsiteY1452" fmla="*/ 197763 h 372939"/>
                <a:gd name="connsiteX1453" fmla="*/ 248586 w 1012061"/>
                <a:gd name="connsiteY1453" fmla="*/ 196994 h 372939"/>
                <a:gd name="connsiteX1454" fmla="*/ 247450 w 1012061"/>
                <a:gd name="connsiteY1454" fmla="*/ 196382 h 372939"/>
                <a:gd name="connsiteX1455" fmla="*/ 246217 w 1012061"/>
                <a:gd name="connsiteY1455" fmla="*/ 195986 h 372939"/>
                <a:gd name="connsiteX1456" fmla="*/ 244194 w 1012061"/>
                <a:gd name="connsiteY1456" fmla="*/ 194776 h 372939"/>
                <a:gd name="connsiteX1457" fmla="*/ 241447 w 1012061"/>
                <a:gd name="connsiteY1457" fmla="*/ 193920 h 372939"/>
                <a:gd name="connsiteX1458" fmla="*/ 238636 w 1012061"/>
                <a:gd name="connsiteY1458" fmla="*/ 193246 h 372939"/>
                <a:gd name="connsiteX1459" fmla="*/ 237276 w 1012061"/>
                <a:gd name="connsiteY1459" fmla="*/ 191446 h 372939"/>
                <a:gd name="connsiteX1460" fmla="*/ 236630 w 1012061"/>
                <a:gd name="connsiteY1460" fmla="*/ 189227 h 372939"/>
                <a:gd name="connsiteX1461" fmla="*/ 237316 w 1012061"/>
                <a:gd name="connsiteY1461" fmla="*/ 185912 h 372939"/>
                <a:gd name="connsiteX1462" fmla="*/ 236621 w 1012061"/>
                <a:gd name="connsiteY1462" fmla="*/ 184994 h 372939"/>
                <a:gd name="connsiteX1463" fmla="*/ 235621 w 1012061"/>
                <a:gd name="connsiteY1463" fmla="*/ 184185 h 372939"/>
                <a:gd name="connsiteX1464" fmla="*/ 234393 w 1012061"/>
                <a:gd name="connsiteY1464" fmla="*/ 181796 h 372939"/>
                <a:gd name="connsiteX1465" fmla="*/ 233928 w 1012061"/>
                <a:gd name="connsiteY1465" fmla="*/ 179007 h 372939"/>
                <a:gd name="connsiteX1466" fmla="*/ 232146 w 1012061"/>
                <a:gd name="connsiteY1466" fmla="*/ 177929 h 372939"/>
                <a:gd name="connsiteX1467" fmla="*/ 229797 w 1012061"/>
                <a:gd name="connsiteY1467" fmla="*/ 177277 h 372939"/>
                <a:gd name="connsiteX1468" fmla="*/ 228774 w 1012061"/>
                <a:gd name="connsiteY1468" fmla="*/ 176743 h 372939"/>
                <a:gd name="connsiteX1469" fmla="*/ 224133 w 1012061"/>
                <a:gd name="connsiteY1469" fmla="*/ 177763 h 372939"/>
                <a:gd name="connsiteX1470" fmla="*/ 223021 w 1012061"/>
                <a:gd name="connsiteY1470" fmla="*/ 177523 h 372939"/>
                <a:gd name="connsiteX1471" fmla="*/ 222028 w 1012061"/>
                <a:gd name="connsiteY1471" fmla="*/ 176751 h 372939"/>
                <a:gd name="connsiteX1472" fmla="*/ 219501 w 1012061"/>
                <a:gd name="connsiteY1472" fmla="*/ 175937 h 372939"/>
                <a:gd name="connsiteX1473" fmla="*/ 219596 w 1012061"/>
                <a:gd name="connsiteY1473" fmla="*/ 174390 h 372939"/>
                <a:gd name="connsiteX1474" fmla="*/ 220776 w 1012061"/>
                <a:gd name="connsiteY1474" fmla="*/ 173157 h 372939"/>
                <a:gd name="connsiteX1475" fmla="*/ 223544 w 1012061"/>
                <a:gd name="connsiteY1475" fmla="*/ 171911 h 372939"/>
                <a:gd name="connsiteX1476" fmla="*/ 224839 w 1012061"/>
                <a:gd name="connsiteY1476" fmla="*/ 170863 h 372939"/>
                <a:gd name="connsiteX1477" fmla="*/ 225098 w 1012061"/>
                <a:gd name="connsiteY1477" fmla="*/ 169483 h 372939"/>
                <a:gd name="connsiteX1478" fmla="*/ 224606 w 1012061"/>
                <a:gd name="connsiteY1478" fmla="*/ 168472 h 372939"/>
                <a:gd name="connsiteX1479" fmla="*/ 224803 w 1012061"/>
                <a:gd name="connsiteY1479" fmla="*/ 167416 h 372939"/>
                <a:gd name="connsiteX1480" fmla="*/ 225677 w 1012061"/>
                <a:gd name="connsiteY1480" fmla="*/ 166392 h 372939"/>
                <a:gd name="connsiteX1481" fmla="*/ 226713 w 1012061"/>
                <a:gd name="connsiteY1481" fmla="*/ 165588 h 372939"/>
                <a:gd name="connsiteX1482" fmla="*/ 229497 w 1012061"/>
                <a:gd name="connsiteY1482" fmla="*/ 164528 h 372939"/>
                <a:gd name="connsiteX1483" fmla="*/ 230712 w 1012061"/>
                <a:gd name="connsiteY1483" fmla="*/ 166379 h 372939"/>
                <a:gd name="connsiteX1484" fmla="*/ 231313 w 1012061"/>
                <a:gd name="connsiteY1484" fmla="*/ 167925 h 372939"/>
                <a:gd name="connsiteX1485" fmla="*/ 232050 w 1012061"/>
                <a:gd name="connsiteY1485" fmla="*/ 169046 h 372939"/>
                <a:gd name="connsiteX1486" fmla="*/ 233235 w 1012061"/>
                <a:gd name="connsiteY1486" fmla="*/ 167446 h 372939"/>
                <a:gd name="connsiteX1487" fmla="*/ 232481 w 1012061"/>
                <a:gd name="connsiteY1487" fmla="*/ 164685 h 372939"/>
                <a:gd name="connsiteX1488" fmla="*/ 234597 w 1012061"/>
                <a:gd name="connsiteY1488" fmla="*/ 164070 h 372939"/>
                <a:gd name="connsiteX1489" fmla="*/ 626256 w 1012061"/>
                <a:gd name="connsiteY1489" fmla="*/ 163998 h 372939"/>
                <a:gd name="connsiteX1490" fmla="*/ 626699 w 1012061"/>
                <a:gd name="connsiteY1490" fmla="*/ 164117 h 372939"/>
                <a:gd name="connsiteX1491" fmla="*/ 626981 w 1012061"/>
                <a:gd name="connsiteY1491" fmla="*/ 165083 h 372939"/>
                <a:gd name="connsiteX1492" fmla="*/ 627439 w 1012061"/>
                <a:gd name="connsiteY1492" fmla="*/ 165947 h 372939"/>
                <a:gd name="connsiteX1493" fmla="*/ 628200 w 1012061"/>
                <a:gd name="connsiteY1493" fmla="*/ 166754 h 372939"/>
                <a:gd name="connsiteX1494" fmla="*/ 627783 w 1012061"/>
                <a:gd name="connsiteY1494" fmla="*/ 168454 h 372939"/>
                <a:gd name="connsiteX1495" fmla="*/ 626258 w 1012061"/>
                <a:gd name="connsiteY1495" fmla="*/ 168599 h 372939"/>
                <a:gd name="connsiteX1496" fmla="*/ 625239 w 1012061"/>
                <a:gd name="connsiteY1496" fmla="*/ 167949 h 372939"/>
                <a:gd name="connsiteX1497" fmla="*/ 625330 w 1012061"/>
                <a:gd name="connsiteY1497" fmla="*/ 164707 h 372939"/>
                <a:gd name="connsiteX1498" fmla="*/ 717318 w 1012061"/>
                <a:gd name="connsiteY1498" fmla="*/ 160230 h 372939"/>
                <a:gd name="connsiteX1499" fmla="*/ 719447 w 1012061"/>
                <a:gd name="connsiteY1499" fmla="*/ 160845 h 372939"/>
                <a:gd name="connsiteX1500" fmla="*/ 723031 w 1012061"/>
                <a:gd name="connsiteY1500" fmla="*/ 162588 h 372939"/>
                <a:gd name="connsiteX1501" fmla="*/ 725856 w 1012061"/>
                <a:gd name="connsiteY1501" fmla="*/ 164636 h 372939"/>
                <a:gd name="connsiteX1502" fmla="*/ 728419 w 1012061"/>
                <a:gd name="connsiteY1502" fmla="*/ 166230 h 372939"/>
                <a:gd name="connsiteX1503" fmla="*/ 728514 w 1012061"/>
                <a:gd name="connsiteY1503" fmla="*/ 167487 h 372939"/>
                <a:gd name="connsiteX1504" fmla="*/ 727160 w 1012061"/>
                <a:gd name="connsiteY1504" fmla="*/ 168385 h 372939"/>
                <a:gd name="connsiteX1505" fmla="*/ 726484 w 1012061"/>
                <a:gd name="connsiteY1505" fmla="*/ 168634 h 372939"/>
                <a:gd name="connsiteX1506" fmla="*/ 723223 w 1012061"/>
                <a:gd name="connsiteY1506" fmla="*/ 168031 h 372939"/>
                <a:gd name="connsiteX1507" fmla="*/ 719404 w 1012061"/>
                <a:gd name="connsiteY1507" fmla="*/ 168156 h 372939"/>
                <a:gd name="connsiteX1508" fmla="*/ 715437 w 1012061"/>
                <a:gd name="connsiteY1508" fmla="*/ 168990 h 372939"/>
                <a:gd name="connsiteX1509" fmla="*/ 713137 w 1012061"/>
                <a:gd name="connsiteY1509" fmla="*/ 168286 h 372939"/>
                <a:gd name="connsiteX1510" fmla="*/ 711690 w 1012061"/>
                <a:gd name="connsiteY1510" fmla="*/ 167139 h 372939"/>
                <a:gd name="connsiteX1511" fmla="*/ 711753 w 1012061"/>
                <a:gd name="connsiteY1511" fmla="*/ 165923 h 372939"/>
                <a:gd name="connsiteX1512" fmla="*/ 713118 w 1012061"/>
                <a:gd name="connsiteY1512" fmla="*/ 162912 h 372939"/>
                <a:gd name="connsiteX1513" fmla="*/ 716104 w 1012061"/>
                <a:gd name="connsiteY1513" fmla="*/ 160636 h 372939"/>
                <a:gd name="connsiteX1514" fmla="*/ 618070 w 1012061"/>
                <a:gd name="connsiteY1514" fmla="*/ 156362 h 372939"/>
                <a:gd name="connsiteX1515" fmla="*/ 619264 w 1012061"/>
                <a:gd name="connsiteY1515" fmla="*/ 156666 h 372939"/>
                <a:gd name="connsiteX1516" fmla="*/ 619750 w 1012061"/>
                <a:gd name="connsiteY1516" fmla="*/ 158046 h 372939"/>
                <a:gd name="connsiteX1517" fmla="*/ 618949 w 1012061"/>
                <a:gd name="connsiteY1517" fmla="*/ 159241 h 372939"/>
                <a:gd name="connsiteX1518" fmla="*/ 619827 w 1012061"/>
                <a:gd name="connsiteY1518" fmla="*/ 161489 h 372939"/>
                <a:gd name="connsiteX1519" fmla="*/ 622056 w 1012061"/>
                <a:gd name="connsiteY1519" fmla="*/ 158495 h 372939"/>
                <a:gd name="connsiteX1520" fmla="*/ 624183 w 1012061"/>
                <a:gd name="connsiteY1520" fmla="*/ 158115 h 372939"/>
                <a:gd name="connsiteX1521" fmla="*/ 625391 w 1012061"/>
                <a:gd name="connsiteY1521" fmla="*/ 158612 h 372939"/>
                <a:gd name="connsiteX1522" fmla="*/ 626219 w 1012061"/>
                <a:gd name="connsiteY1522" fmla="*/ 159204 h 372939"/>
                <a:gd name="connsiteX1523" fmla="*/ 626670 w 1012061"/>
                <a:gd name="connsiteY1523" fmla="*/ 160340 h 372939"/>
                <a:gd name="connsiteX1524" fmla="*/ 625889 w 1012061"/>
                <a:gd name="connsiteY1524" fmla="*/ 162772 h 372939"/>
                <a:gd name="connsiteX1525" fmla="*/ 624492 w 1012061"/>
                <a:gd name="connsiteY1525" fmla="*/ 163910 h 372939"/>
                <a:gd name="connsiteX1526" fmla="*/ 622685 w 1012061"/>
                <a:gd name="connsiteY1526" fmla="*/ 164094 h 372939"/>
                <a:gd name="connsiteX1527" fmla="*/ 621836 w 1012061"/>
                <a:gd name="connsiteY1527" fmla="*/ 162677 h 372939"/>
                <a:gd name="connsiteX1528" fmla="*/ 620648 w 1012061"/>
                <a:gd name="connsiteY1528" fmla="*/ 162547 h 372939"/>
                <a:gd name="connsiteX1529" fmla="*/ 619819 w 1012061"/>
                <a:gd name="connsiteY1529" fmla="*/ 165638 h 372939"/>
                <a:gd name="connsiteX1530" fmla="*/ 619445 w 1012061"/>
                <a:gd name="connsiteY1530" fmla="*/ 166111 h 372939"/>
                <a:gd name="connsiteX1531" fmla="*/ 618394 w 1012061"/>
                <a:gd name="connsiteY1531" fmla="*/ 166502 h 372939"/>
                <a:gd name="connsiteX1532" fmla="*/ 617452 w 1012061"/>
                <a:gd name="connsiteY1532" fmla="*/ 165649 h 372939"/>
                <a:gd name="connsiteX1533" fmla="*/ 617288 w 1012061"/>
                <a:gd name="connsiteY1533" fmla="*/ 165176 h 372939"/>
                <a:gd name="connsiteX1534" fmla="*/ 618614 w 1012061"/>
                <a:gd name="connsiteY1534" fmla="*/ 163776 h 372939"/>
                <a:gd name="connsiteX1535" fmla="*/ 617895 w 1012061"/>
                <a:gd name="connsiteY1535" fmla="*/ 159612 h 372939"/>
                <a:gd name="connsiteX1536" fmla="*/ 616896 w 1012061"/>
                <a:gd name="connsiteY1536" fmla="*/ 160394 h 372939"/>
                <a:gd name="connsiteX1537" fmla="*/ 614224 w 1012061"/>
                <a:gd name="connsiteY1537" fmla="*/ 164171 h 372939"/>
                <a:gd name="connsiteX1538" fmla="*/ 612146 w 1012061"/>
                <a:gd name="connsiteY1538" fmla="*/ 165865 h 372939"/>
                <a:gd name="connsiteX1539" fmla="*/ 611440 w 1012061"/>
                <a:gd name="connsiteY1539" fmla="*/ 165003 h 372939"/>
                <a:gd name="connsiteX1540" fmla="*/ 610387 w 1012061"/>
                <a:gd name="connsiteY1540" fmla="*/ 162435 h 372939"/>
                <a:gd name="connsiteX1541" fmla="*/ 610860 w 1012061"/>
                <a:gd name="connsiteY1541" fmla="*/ 159137 h 372939"/>
                <a:gd name="connsiteX1542" fmla="*/ 612536 w 1012061"/>
                <a:gd name="connsiteY1542" fmla="*/ 156908 h 372939"/>
                <a:gd name="connsiteX1543" fmla="*/ 613960 w 1012061"/>
                <a:gd name="connsiteY1543" fmla="*/ 157061 h 372939"/>
                <a:gd name="connsiteX1544" fmla="*/ 318592 w 1012061"/>
                <a:gd name="connsiteY1544" fmla="*/ 152416 h 372939"/>
                <a:gd name="connsiteX1545" fmla="*/ 320467 w 1012061"/>
                <a:gd name="connsiteY1545" fmla="*/ 153040 h 372939"/>
                <a:gd name="connsiteX1546" fmla="*/ 321437 w 1012061"/>
                <a:gd name="connsiteY1546" fmla="*/ 153749 h 372939"/>
                <a:gd name="connsiteX1547" fmla="*/ 321818 w 1012061"/>
                <a:gd name="connsiteY1547" fmla="*/ 155204 h 372939"/>
                <a:gd name="connsiteX1548" fmla="*/ 321601 w 1012061"/>
                <a:gd name="connsiteY1548" fmla="*/ 156085 h 372939"/>
                <a:gd name="connsiteX1549" fmla="*/ 320705 w 1012061"/>
                <a:gd name="connsiteY1549" fmla="*/ 156874 h 372939"/>
                <a:gd name="connsiteX1550" fmla="*/ 316296 w 1012061"/>
                <a:gd name="connsiteY1550" fmla="*/ 159132 h 372939"/>
                <a:gd name="connsiteX1551" fmla="*/ 315253 w 1012061"/>
                <a:gd name="connsiteY1551" fmla="*/ 159016 h 372939"/>
                <a:gd name="connsiteX1552" fmla="*/ 314467 w 1012061"/>
                <a:gd name="connsiteY1552" fmla="*/ 158212 h 372939"/>
                <a:gd name="connsiteX1553" fmla="*/ 314957 w 1012061"/>
                <a:gd name="connsiteY1553" fmla="*/ 153854 h 372939"/>
                <a:gd name="connsiteX1554" fmla="*/ 315525 w 1012061"/>
                <a:gd name="connsiteY1554" fmla="*/ 152554 h 372939"/>
                <a:gd name="connsiteX1555" fmla="*/ 877466 w 1012061"/>
                <a:gd name="connsiteY1555" fmla="*/ 151518 h 372939"/>
                <a:gd name="connsiteX1556" fmla="*/ 878606 w 1012061"/>
                <a:gd name="connsiteY1556" fmla="*/ 152411 h 372939"/>
                <a:gd name="connsiteX1557" fmla="*/ 878958 w 1012061"/>
                <a:gd name="connsiteY1557" fmla="*/ 153554 h 372939"/>
                <a:gd name="connsiteX1558" fmla="*/ 879833 w 1012061"/>
                <a:gd name="connsiteY1558" fmla="*/ 153632 h 372939"/>
                <a:gd name="connsiteX1559" fmla="*/ 879148 w 1012061"/>
                <a:gd name="connsiteY1559" fmla="*/ 155444 h 372939"/>
                <a:gd name="connsiteX1560" fmla="*/ 878088 w 1012061"/>
                <a:gd name="connsiteY1560" fmla="*/ 155848 h 372939"/>
                <a:gd name="connsiteX1561" fmla="*/ 876857 w 1012061"/>
                <a:gd name="connsiteY1561" fmla="*/ 155403 h 372939"/>
                <a:gd name="connsiteX1562" fmla="*/ 875689 w 1012061"/>
                <a:gd name="connsiteY1562" fmla="*/ 153709 h 372939"/>
                <a:gd name="connsiteX1563" fmla="*/ 876110 w 1012061"/>
                <a:gd name="connsiteY1563" fmla="*/ 152410 h 372939"/>
                <a:gd name="connsiteX1564" fmla="*/ 80984 w 1012061"/>
                <a:gd name="connsiteY1564" fmla="*/ 151012 h 372939"/>
                <a:gd name="connsiteX1565" fmla="*/ 82389 w 1012061"/>
                <a:gd name="connsiteY1565" fmla="*/ 151861 h 372939"/>
                <a:gd name="connsiteX1566" fmla="*/ 82880 w 1012061"/>
                <a:gd name="connsiteY1566" fmla="*/ 154122 h 372939"/>
                <a:gd name="connsiteX1567" fmla="*/ 85317 w 1012061"/>
                <a:gd name="connsiteY1567" fmla="*/ 158202 h 372939"/>
                <a:gd name="connsiteX1568" fmla="*/ 86123 w 1012061"/>
                <a:gd name="connsiteY1568" fmla="*/ 160400 h 372939"/>
                <a:gd name="connsiteX1569" fmla="*/ 86729 w 1012061"/>
                <a:gd name="connsiteY1569" fmla="*/ 161374 h 372939"/>
                <a:gd name="connsiteX1570" fmla="*/ 86984 w 1012061"/>
                <a:gd name="connsiteY1570" fmla="*/ 162133 h 372939"/>
                <a:gd name="connsiteX1571" fmla="*/ 86768 w 1012061"/>
                <a:gd name="connsiteY1571" fmla="*/ 162662 h 372939"/>
                <a:gd name="connsiteX1572" fmla="*/ 88530 w 1012061"/>
                <a:gd name="connsiteY1572" fmla="*/ 165247 h 372939"/>
                <a:gd name="connsiteX1573" fmla="*/ 89789 w 1012061"/>
                <a:gd name="connsiteY1573" fmla="*/ 166761 h 372939"/>
                <a:gd name="connsiteX1574" fmla="*/ 89882 w 1012061"/>
                <a:gd name="connsiteY1574" fmla="*/ 169210 h 372939"/>
                <a:gd name="connsiteX1575" fmla="*/ 87503 w 1012061"/>
                <a:gd name="connsiteY1575" fmla="*/ 170083 h 372939"/>
                <a:gd name="connsiteX1576" fmla="*/ 85466 w 1012061"/>
                <a:gd name="connsiteY1576" fmla="*/ 170206 h 372939"/>
                <a:gd name="connsiteX1577" fmla="*/ 81100 w 1012061"/>
                <a:gd name="connsiteY1577" fmla="*/ 167556 h 372939"/>
                <a:gd name="connsiteX1578" fmla="*/ 80070 w 1012061"/>
                <a:gd name="connsiteY1578" fmla="*/ 166368 h 372939"/>
                <a:gd name="connsiteX1579" fmla="*/ 79817 w 1012061"/>
                <a:gd name="connsiteY1579" fmla="*/ 164782 h 372939"/>
                <a:gd name="connsiteX1580" fmla="*/ 75630 w 1012061"/>
                <a:gd name="connsiteY1580" fmla="*/ 158657 h 372939"/>
                <a:gd name="connsiteX1581" fmla="*/ 75073 w 1012061"/>
                <a:gd name="connsiteY1581" fmla="*/ 157253 h 372939"/>
                <a:gd name="connsiteX1582" fmla="*/ 76716 w 1012061"/>
                <a:gd name="connsiteY1582" fmla="*/ 152226 h 372939"/>
                <a:gd name="connsiteX1583" fmla="*/ 789193 w 1012061"/>
                <a:gd name="connsiteY1583" fmla="*/ 150446 h 372939"/>
                <a:gd name="connsiteX1584" fmla="*/ 790128 w 1012061"/>
                <a:gd name="connsiteY1584" fmla="*/ 151006 h 372939"/>
                <a:gd name="connsiteX1585" fmla="*/ 792196 w 1012061"/>
                <a:gd name="connsiteY1585" fmla="*/ 151055 h 372939"/>
                <a:gd name="connsiteX1586" fmla="*/ 793101 w 1012061"/>
                <a:gd name="connsiteY1586" fmla="*/ 152176 h 372939"/>
                <a:gd name="connsiteX1587" fmla="*/ 792488 w 1012061"/>
                <a:gd name="connsiteY1587" fmla="*/ 157040 h 372939"/>
                <a:gd name="connsiteX1588" fmla="*/ 791508 w 1012061"/>
                <a:gd name="connsiteY1588" fmla="*/ 159856 h 372939"/>
                <a:gd name="connsiteX1589" fmla="*/ 790728 w 1012061"/>
                <a:gd name="connsiteY1589" fmla="*/ 160474 h 372939"/>
                <a:gd name="connsiteX1590" fmla="*/ 788042 w 1012061"/>
                <a:gd name="connsiteY1590" fmla="*/ 159895 h 372939"/>
                <a:gd name="connsiteX1591" fmla="*/ 786653 w 1012061"/>
                <a:gd name="connsiteY1591" fmla="*/ 158528 h 372939"/>
                <a:gd name="connsiteX1592" fmla="*/ 785703 w 1012061"/>
                <a:gd name="connsiteY1592" fmla="*/ 156694 h 372939"/>
                <a:gd name="connsiteX1593" fmla="*/ 785101 w 1012061"/>
                <a:gd name="connsiteY1593" fmla="*/ 155187 h 372939"/>
                <a:gd name="connsiteX1594" fmla="*/ 784930 w 1012061"/>
                <a:gd name="connsiteY1594" fmla="*/ 153988 h 372939"/>
                <a:gd name="connsiteX1595" fmla="*/ 784124 w 1012061"/>
                <a:gd name="connsiteY1595" fmla="*/ 152524 h 372939"/>
                <a:gd name="connsiteX1596" fmla="*/ 784234 w 1012061"/>
                <a:gd name="connsiteY1596" fmla="*/ 151988 h 372939"/>
                <a:gd name="connsiteX1597" fmla="*/ 787200 w 1012061"/>
                <a:gd name="connsiteY1597" fmla="*/ 147682 h 372939"/>
                <a:gd name="connsiteX1598" fmla="*/ 789372 w 1012061"/>
                <a:gd name="connsiteY1598" fmla="*/ 147956 h 372939"/>
                <a:gd name="connsiteX1599" fmla="*/ 788809 w 1012061"/>
                <a:gd name="connsiteY1599" fmla="*/ 149084 h 372939"/>
                <a:gd name="connsiteX1600" fmla="*/ 787761 w 1012061"/>
                <a:gd name="connsiteY1600" fmla="*/ 149846 h 372939"/>
                <a:gd name="connsiteX1601" fmla="*/ 778253 w 1012061"/>
                <a:gd name="connsiteY1601" fmla="*/ 151196 h 372939"/>
                <a:gd name="connsiteX1602" fmla="*/ 779063 w 1012061"/>
                <a:gd name="connsiteY1602" fmla="*/ 150388 h 372939"/>
                <a:gd name="connsiteX1603" fmla="*/ 779467 w 1012061"/>
                <a:gd name="connsiteY1603" fmla="*/ 149587 h 372939"/>
                <a:gd name="connsiteX1604" fmla="*/ 780063 w 1012061"/>
                <a:gd name="connsiteY1604" fmla="*/ 149174 h 372939"/>
                <a:gd name="connsiteX1605" fmla="*/ 781007 w 1012061"/>
                <a:gd name="connsiteY1605" fmla="*/ 149280 h 372939"/>
                <a:gd name="connsiteX1606" fmla="*/ 781475 w 1012061"/>
                <a:gd name="connsiteY1606" fmla="*/ 149036 h 372939"/>
                <a:gd name="connsiteX1607" fmla="*/ 781948 w 1012061"/>
                <a:gd name="connsiteY1607" fmla="*/ 148939 h 372939"/>
                <a:gd name="connsiteX1608" fmla="*/ 782483 w 1012061"/>
                <a:gd name="connsiteY1608" fmla="*/ 149045 h 372939"/>
                <a:gd name="connsiteX1609" fmla="*/ 783406 w 1012061"/>
                <a:gd name="connsiteY1609" fmla="*/ 148712 h 372939"/>
                <a:gd name="connsiteX1610" fmla="*/ 785347 w 1012061"/>
                <a:gd name="connsiteY1610" fmla="*/ 148952 h 372939"/>
                <a:gd name="connsiteX1611" fmla="*/ 787342 w 1012061"/>
                <a:gd name="connsiteY1611" fmla="*/ 148762 h 372939"/>
                <a:gd name="connsiteX1612" fmla="*/ 888384 w 1012061"/>
                <a:gd name="connsiteY1612" fmla="*/ 145168 h 372939"/>
                <a:gd name="connsiteX1613" fmla="*/ 893087 w 1012061"/>
                <a:gd name="connsiteY1613" fmla="*/ 146032 h 372939"/>
                <a:gd name="connsiteX1614" fmla="*/ 894802 w 1012061"/>
                <a:gd name="connsiteY1614" fmla="*/ 145985 h 372939"/>
                <a:gd name="connsiteX1615" fmla="*/ 896477 w 1012061"/>
                <a:gd name="connsiteY1615" fmla="*/ 146963 h 372939"/>
                <a:gd name="connsiteX1616" fmla="*/ 898516 w 1012061"/>
                <a:gd name="connsiteY1616" fmla="*/ 146501 h 372939"/>
                <a:gd name="connsiteX1617" fmla="*/ 899673 w 1012061"/>
                <a:gd name="connsiteY1617" fmla="*/ 146814 h 372939"/>
                <a:gd name="connsiteX1618" fmla="*/ 903547 w 1012061"/>
                <a:gd name="connsiteY1618" fmla="*/ 150174 h 372939"/>
                <a:gd name="connsiteX1619" fmla="*/ 905448 w 1012061"/>
                <a:gd name="connsiteY1619" fmla="*/ 152399 h 372939"/>
                <a:gd name="connsiteX1620" fmla="*/ 908276 w 1012061"/>
                <a:gd name="connsiteY1620" fmla="*/ 154308 h 372939"/>
                <a:gd name="connsiteX1621" fmla="*/ 910325 w 1012061"/>
                <a:gd name="connsiteY1621" fmla="*/ 154958 h 372939"/>
                <a:gd name="connsiteX1622" fmla="*/ 908780 w 1012061"/>
                <a:gd name="connsiteY1622" fmla="*/ 156707 h 372939"/>
                <a:gd name="connsiteX1623" fmla="*/ 905670 w 1012061"/>
                <a:gd name="connsiteY1623" fmla="*/ 157627 h 372939"/>
                <a:gd name="connsiteX1624" fmla="*/ 904467 w 1012061"/>
                <a:gd name="connsiteY1624" fmla="*/ 157672 h 372939"/>
                <a:gd name="connsiteX1625" fmla="*/ 902083 w 1012061"/>
                <a:gd name="connsiteY1625" fmla="*/ 156631 h 372939"/>
                <a:gd name="connsiteX1626" fmla="*/ 900148 w 1012061"/>
                <a:gd name="connsiteY1626" fmla="*/ 156824 h 372939"/>
                <a:gd name="connsiteX1627" fmla="*/ 898462 w 1012061"/>
                <a:gd name="connsiteY1627" fmla="*/ 155519 h 372939"/>
                <a:gd name="connsiteX1628" fmla="*/ 898171 w 1012061"/>
                <a:gd name="connsiteY1628" fmla="*/ 153504 h 372939"/>
                <a:gd name="connsiteX1629" fmla="*/ 896435 w 1012061"/>
                <a:gd name="connsiteY1629" fmla="*/ 148965 h 372939"/>
                <a:gd name="connsiteX1630" fmla="*/ 894193 w 1012061"/>
                <a:gd name="connsiteY1630" fmla="*/ 150267 h 372939"/>
                <a:gd name="connsiteX1631" fmla="*/ 891498 w 1012061"/>
                <a:gd name="connsiteY1631" fmla="*/ 148175 h 372939"/>
                <a:gd name="connsiteX1632" fmla="*/ 890774 w 1012061"/>
                <a:gd name="connsiteY1632" fmla="*/ 148125 h 372939"/>
                <a:gd name="connsiteX1633" fmla="*/ 890604 w 1012061"/>
                <a:gd name="connsiteY1633" fmla="*/ 148479 h 372939"/>
                <a:gd name="connsiteX1634" fmla="*/ 889460 w 1012061"/>
                <a:gd name="connsiteY1634" fmla="*/ 147766 h 372939"/>
                <a:gd name="connsiteX1635" fmla="*/ 888488 w 1012061"/>
                <a:gd name="connsiteY1635" fmla="*/ 146352 h 372939"/>
                <a:gd name="connsiteX1636" fmla="*/ 707641 w 1012061"/>
                <a:gd name="connsiteY1636" fmla="*/ 144460 h 372939"/>
                <a:gd name="connsiteX1637" fmla="*/ 708727 w 1012061"/>
                <a:gd name="connsiteY1637" fmla="*/ 144551 h 372939"/>
                <a:gd name="connsiteX1638" fmla="*/ 709680 w 1012061"/>
                <a:gd name="connsiteY1638" fmla="*/ 147535 h 372939"/>
                <a:gd name="connsiteX1639" fmla="*/ 709661 w 1012061"/>
                <a:gd name="connsiteY1639" fmla="*/ 148034 h 372939"/>
                <a:gd name="connsiteX1640" fmla="*/ 709410 w 1012061"/>
                <a:gd name="connsiteY1640" fmla="*/ 148490 h 372939"/>
                <a:gd name="connsiteX1641" fmla="*/ 707100 w 1012061"/>
                <a:gd name="connsiteY1641" fmla="*/ 147909 h 372939"/>
                <a:gd name="connsiteX1642" fmla="*/ 706477 w 1012061"/>
                <a:gd name="connsiteY1642" fmla="*/ 147592 h 372939"/>
                <a:gd name="connsiteX1643" fmla="*/ 782974 w 1012061"/>
                <a:gd name="connsiteY1643" fmla="*/ 139992 h 372939"/>
                <a:gd name="connsiteX1644" fmla="*/ 783881 w 1012061"/>
                <a:gd name="connsiteY1644" fmla="*/ 140418 h 372939"/>
                <a:gd name="connsiteX1645" fmla="*/ 784485 w 1012061"/>
                <a:gd name="connsiteY1645" fmla="*/ 141139 h 372939"/>
                <a:gd name="connsiteX1646" fmla="*/ 783211 w 1012061"/>
                <a:gd name="connsiteY1646" fmla="*/ 142456 h 372939"/>
                <a:gd name="connsiteX1647" fmla="*/ 781939 w 1012061"/>
                <a:gd name="connsiteY1647" fmla="*/ 142484 h 372939"/>
                <a:gd name="connsiteX1648" fmla="*/ 779646 w 1012061"/>
                <a:gd name="connsiteY1648" fmla="*/ 141523 h 372939"/>
                <a:gd name="connsiteX1649" fmla="*/ 780983 w 1012061"/>
                <a:gd name="connsiteY1649" fmla="*/ 140688 h 372939"/>
                <a:gd name="connsiteX1650" fmla="*/ 781829 w 1012061"/>
                <a:gd name="connsiteY1650" fmla="*/ 140515 h 372939"/>
                <a:gd name="connsiteX1651" fmla="*/ 782566 w 1012061"/>
                <a:gd name="connsiteY1651" fmla="*/ 140014 h 372939"/>
                <a:gd name="connsiteX1652" fmla="*/ 589458 w 1012061"/>
                <a:gd name="connsiteY1652" fmla="*/ 139761 h 372939"/>
                <a:gd name="connsiteX1653" fmla="*/ 590397 w 1012061"/>
                <a:gd name="connsiteY1653" fmla="*/ 140744 h 372939"/>
                <a:gd name="connsiteX1654" fmla="*/ 589832 w 1012061"/>
                <a:gd name="connsiteY1654" fmla="*/ 141880 h 372939"/>
                <a:gd name="connsiteX1655" fmla="*/ 589071 w 1012061"/>
                <a:gd name="connsiteY1655" fmla="*/ 141597 h 372939"/>
                <a:gd name="connsiteX1656" fmla="*/ 587064 w 1012061"/>
                <a:gd name="connsiteY1656" fmla="*/ 141618 h 372939"/>
                <a:gd name="connsiteX1657" fmla="*/ 586305 w 1012061"/>
                <a:gd name="connsiteY1657" fmla="*/ 141705 h 372939"/>
                <a:gd name="connsiteX1658" fmla="*/ 585402 w 1012061"/>
                <a:gd name="connsiteY1658" fmla="*/ 142374 h 372939"/>
                <a:gd name="connsiteX1659" fmla="*/ 584835 w 1012061"/>
                <a:gd name="connsiteY1659" fmla="*/ 142400 h 372939"/>
                <a:gd name="connsiteX1660" fmla="*/ 585212 w 1012061"/>
                <a:gd name="connsiteY1660" fmla="*/ 141353 h 372939"/>
                <a:gd name="connsiteX1661" fmla="*/ 586914 w 1012061"/>
                <a:gd name="connsiteY1661" fmla="*/ 139766 h 372939"/>
                <a:gd name="connsiteX1662" fmla="*/ 587977 w 1012061"/>
                <a:gd name="connsiteY1662" fmla="*/ 140001 h 372939"/>
                <a:gd name="connsiteX1663" fmla="*/ 824812 w 1012061"/>
                <a:gd name="connsiteY1663" fmla="*/ 138448 h 372939"/>
                <a:gd name="connsiteX1664" fmla="*/ 827401 w 1012061"/>
                <a:gd name="connsiteY1664" fmla="*/ 138701 h 372939"/>
                <a:gd name="connsiteX1665" fmla="*/ 832516 w 1012061"/>
                <a:gd name="connsiteY1665" fmla="*/ 139994 h 372939"/>
                <a:gd name="connsiteX1666" fmla="*/ 837397 w 1012061"/>
                <a:gd name="connsiteY1666" fmla="*/ 142083 h 372939"/>
                <a:gd name="connsiteX1667" fmla="*/ 841627 w 1012061"/>
                <a:gd name="connsiteY1667" fmla="*/ 144823 h 372939"/>
                <a:gd name="connsiteX1668" fmla="*/ 846142 w 1012061"/>
                <a:gd name="connsiteY1668" fmla="*/ 146823 h 372939"/>
                <a:gd name="connsiteX1669" fmla="*/ 851692 w 1012061"/>
                <a:gd name="connsiteY1669" fmla="*/ 147159 h 372939"/>
                <a:gd name="connsiteX1670" fmla="*/ 854493 w 1012061"/>
                <a:gd name="connsiteY1670" fmla="*/ 146939 h 372939"/>
                <a:gd name="connsiteX1671" fmla="*/ 857239 w 1012061"/>
                <a:gd name="connsiteY1671" fmla="*/ 147225 h 372939"/>
                <a:gd name="connsiteX1672" fmla="*/ 858354 w 1012061"/>
                <a:gd name="connsiteY1672" fmla="*/ 147786 h 372939"/>
                <a:gd name="connsiteX1673" fmla="*/ 860269 w 1012061"/>
                <a:gd name="connsiteY1673" fmla="*/ 149490 h 372939"/>
                <a:gd name="connsiteX1674" fmla="*/ 859721 w 1012061"/>
                <a:gd name="connsiteY1674" fmla="*/ 150608 h 372939"/>
                <a:gd name="connsiteX1675" fmla="*/ 859394 w 1012061"/>
                <a:gd name="connsiteY1675" fmla="*/ 152919 h 372939"/>
                <a:gd name="connsiteX1676" fmla="*/ 860372 w 1012061"/>
                <a:gd name="connsiteY1676" fmla="*/ 155143 h 372939"/>
                <a:gd name="connsiteX1677" fmla="*/ 861966 w 1012061"/>
                <a:gd name="connsiteY1677" fmla="*/ 157370 h 372939"/>
                <a:gd name="connsiteX1678" fmla="*/ 863268 w 1012061"/>
                <a:gd name="connsiteY1678" fmla="*/ 159746 h 372939"/>
                <a:gd name="connsiteX1679" fmla="*/ 863543 w 1012061"/>
                <a:gd name="connsiteY1679" fmla="*/ 160906 h 372939"/>
                <a:gd name="connsiteX1680" fmla="*/ 863048 w 1012061"/>
                <a:gd name="connsiteY1680" fmla="*/ 163364 h 372939"/>
                <a:gd name="connsiteX1681" fmla="*/ 862601 w 1012061"/>
                <a:gd name="connsiteY1681" fmla="*/ 164579 h 372939"/>
                <a:gd name="connsiteX1682" fmla="*/ 861018 w 1012061"/>
                <a:gd name="connsiteY1682" fmla="*/ 166607 h 372939"/>
                <a:gd name="connsiteX1683" fmla="*/ 860144 w 1012061"/>
                <a:gd name="connsiteY1683" fmla="*/ 168824 h 372939"/>
                <a:gd name="connsiteX1684" fmla="*/ 860705 w 1012061"/>
                <a:gd name="connsiteY1684" fmla="*/ 171556 h 372939"/>
                <a:gd name="connsiteX1685" fmla="*/ 861018 w 1012061"/>
                <a:gd name="connsiteY1685" fmla="*/ 174304 h 372939"/>
                <a:gd name="connsiteX1686" fmla="*/ 860960 w 1012061"/>
                <a:gd name="connsiteY1686" fmla="*/ 176829 h 372939"/>
                <a:gd name="connsiteX1687" fmla="*/ 861245 w 1012061"/>
                <a:gd name="connsiteY1687" fmla="*/ 179314 h 372939"/>
                <a:gd name="connsiteX1688" fmla="*/ 862111 w 1012061"/>
                <a:gd name="connsiteY1688" fmla="*/ 181833 h 372939"/>
                <a:gd name="connsiteX1689" fmla="*/ 865809 w 1012061"/>
                <a:gd name="connsiteY1689" fmla="*/ 188734 h 372939"/>
                <a:gd name="connsiteX1690" fmla="*/ 867974 w 1012061"/>
                <a:gd name="connsiteY1690" fmla="*/ 193410 h 372939"/>
                <a:gd name="connsiteX1691" fmla="*/ 868664 w 1012061"/>
                <a:gd name="connsiteY1691" fmla="*/ 190797 h 372939"/>
                <a:gd name="connsiteX1692" fmla="*/ 868490 w 1012061"/>
                <a:gd name="connsiteY1692" fmla="*/ 187893 h 372939"/>
                <a:gd name="connsiteX1693" fmla="*/ 869256 w 1012061"/>
                <a:gd name="connsiteY1693" fmla="*/ 186845 h 372939"/>
                <a:gd name="connsiteX1694" fmla="*/ 870338 w 1012061"/>
                <a:gd name="connsiteY1694" fmla="*/ 186288 h 372939"/>
                <a:gd name="connsiteX1695" fmla="*/ 871677 w 1012061"/>
                <a:gd name="connsiteY1695" fmla="*/ 186869 h 372939"/>
                <a:gd name="connsiteX1696" fmla="*/ 872059 w 1012061"/>
                <a:gd name="connsiteY1696" fmla="*/ 188045 h 372939"/>
                <a:gd name="connsiteX1697" fmla="*/ 872154 w 1012061"/>
                <a:gd name="connsiteY1697" fmla="*/ 190612 h 372939"/>
                <a:gd name="connsiteX1698" fmla="*/ 873329 w 1012061"/>
                <a:gd name="connsiteY1698" fmla="*/ 195651 h 372939"/>
                <a:gd name="connsiteX1699" fmla="*/ 874825 w 1012061"/>
                <a:gd name="connsiteY1699" fmla="*/ 195882 h 372939"/>
                <a:gd name="connsiteX1700" fmla="*/ 876451 w 1012061"/>
                <a:gd name="connsiteY1700" fmla="*/ 195111 h 372939"/>
                <a:gd name="connsiteX1701" fmla="*/ 876717 w 1012061"/>
                <a:gd name="connsiteY1701" fmla="*/ 196652 h 372939"/>
                <a:gd name="connsiteX1702" fmla="*/ 876659 w 1012061"/>
                <a:gd name="connsiteY1702" fmla="*/ 199503 h 372939"/>
                <a:gd name="connsiteX1703" fmla="*/ 877412 w 1012061"/>
                <a:gd name="connsiteY1703" fmla="*/ 201766 h 372939"/>
                <a:gd name="connsiteX1704" fmla="*/ 878084 w 1012061"/>
                <a:gd name="connsiteY1704" fmla="*/ 202652 h 372939"/>
                <a:gd name="connsiteX1705" fmla="*/ 880742 w 1012061"/>
                <a:gd name="connsiteY1705" fmla="*/ 204494 h 372939"/>
                <a:gd name="connsiteX1706" fmla="*/ 881953 w 1012061"/>
                <a:gd name="connsiteY1706" fmla="*/ 204835 h 372939"/>
                <a:gd name="connsiteX1707" fmla="*/ 885477 w 1012061"/>
                <a:gd name="connsiteY1707" fmla="*/ 205278 h 372939"/>
                <a:gd name="connsiteX1708" fmla="*/ 888131 w 1012061"/>
                <a:gd name="connsiteY1708" fmla="*/ 205419 h 372939"/>
                <a:gd name="connsiteX1709" fmla="*/ 890675 w 1012061"/>
                <a:gd name="connsiteY1709" fmla="*/ 204760 h 372939"/>
                <a:gd name="connsiteX1710" fmla="*/ 892314 w 1012061"/>
                <a:gd name="connsiteY1710" fmla="*/ 203069 h 372939"/>
                <a:gd name="connsiteX1711" fmla="*/ 893795 w 1012061"/>
                <a:gd name="connsiteY1711" fmla="*/ 201238 h 372939"/>
                <a:gd name="connsiteX1712" fmla="*/ 898913 w 1012061"/>
                <a:gd name="connsiteY1712" fmla="*/ 197017 h 372939"/>
                <a:gd name="connsiteX1713" fmla="*/ 900395 w 1012061"/>
                <a:gd name="connsiteY1713" fmla="*/ 194999 h 372939"/>
                <a:gd name="connsiteX1714" fmla="*/ 901822 w 1012061"/>
                <a:gd name="connsiteY1714" fmla="*/ 191904 h 372939"/>
                <a:gd name="connsiteX1715" fmla="*/ 902314 w 1012061"/>
                <a:gd name="connsiteY1715" fmla="*/ 191240 h 372939"/>
                <a:gd name="connsiteX1716" fmla="*/ 907406 w 1012061"/>
                <a:gd name="connsiteY1716" fmla="*/ 187896 h 372939"/>
                <a:gd name="connsiteX1717" fmla="*/ 907987 w 1012061"/>
                <a:gd name="connsiteY1717" fmla="*/ 186709 h 372939"/>
                <a:gd name="connsiteX1718" fmla="*/ 908717 w 1012061"/>
                <a:gd name="connsiteY1718" fmla="*/ 184413 h 372939"/>
                <a:gd name="connsiteX1719" fmla="*/ 909821 w 1012061"/>
                <a:gd name="connsiteY1719" fmla="*/ 182189 h 372939"/>
                <a:gd name="connsiteX1720" fmla="*/ 910649 w 1012061"/>
                <a:gd name="connsiteY1720" fmla="*/ 181042 h 372939"/>
                <a:gd name="connsiteX1721" fmla="*/ 915567 w 1012061"/>
                <a:gd name="connsiteY1721" fmla="*/ 179957 h 372939"/>
                <a:gd name="connsiteX1722" fmla="*/ 920673 w 1012061"/>
                <a:gd name="connsiteY1722" fmla="*/ 179368 h 372939"/>
                <a:gd name="connsiteX1723" fmla="*/ 925733 w 1012061"/>
                <a:gd name="connsiteY1723" fmla="*/ 177320 h 372939"/>
                <a:gd name="connsiteX1724" fmla="*/ 927923 w 1012061"/>
                <a:gd name="connsiteY1724" fmla="*/ 175559 h 372939"/>
                <a:gd name="connsiteX1725" fmla="*/ 928026 w 1012061"/>
                <a:gd name="connsiteY1725" fmla="*/ 174401 h 372939"/>
                <a:gd name="connsiteX1726" fmla="*/ 926914 w 1012061"/>
                <a:gd name="connsiteY1726" fmla="*/ 172368 h 372939"/>
                <a:gd name="connsiteX1727" fmla="*/ 926868 w 1012061"/>
                <a:gd name="connsiteY1727" fmla="*/ 171476 h 372939"/>
                <a:gd name="connsiteX1728" fmla="*/ 928041 w 1012061"/>
                <a:gd name="connsiteY1728" fmla="*/ 170619 h 372939"/>
                <a:gd name="connsiteX1729" fmla="*/ 932554 w 1012061"/>
                <a:gd name="connsiteY1729" fmla="*/ 168042 h 372939"/>
                <a:gd name="connsiteX1730" fmla="*/ 937774 w 1012061"/>
                <a:gd name="connsiteY1730" fmla="*/ 165392 h 372939"/>
                <a:gd name="connsiteX1731" fmla="*/ 941967 w 1012061"/>
                <a:gd name="connsiteY1731" fmla="*/ 163564 h 372939"/>
                <a:gd name="connsiteX1732" fmla="*/ 944286 w 1012061"/>
                <a:gd name="connsiteY1732" fmla="*/ 163577 h 372939"/>
                <a:gd name="connsiteX1733" fmla="*/ 946424 w 1012061"/>
                <a:gd name="connsiteY1733" fmla="*/ 165186 h 372939"/>
                <a:gd name="connsiteX1734" fmla="*/ 948704 w 1012061"/>
                <a:gd name="connsiteY1734" fmla="*/ 166500 h 372939"/>
                <a:gd name="connsiteX1735" fmla="*/ 960620 w 1012061"/>
                <a:gd name="connsiteY1735" fmla="*/ 170375 h 372939"/>
                <a:gd name="connsiteX1736" fmla="*/ 962528 w 1012061"/>
                <a:gd name="connsiteY1736" fmla="*/ 171578 h 372939"/>
                <a:gd name="connsiteX1737" fmla="*/ 964194 w 1012061"/>
                <a:gd name="connsiteY1737" fmla="*/ 173176 h 372939"/>
                <a:gd name="connsiteX1738" fmla="*/ 966575 w 1012061"/>
                <a:gd name="connsiteY1738" fmla="*/ 174285 h 372939"/>
                <a:gd name="connsiteX1739" fmla="*/ 969236 w 1012061"/>
                <a:gd name="connsiteY1739" fmla="*/ 174820 h 372939"/>
                <a:gd name="connsiteX1740" fmla="*/ 971655 w 1012061"/>
                <a:gd name="connsiteY1740" fmla="*/ 175855 h 372939"/>
                <a:gd name="connsiteX1741" fmla="*/ 973950 w 1012061"/>
                <a:gd name="connsiteY1741" fmla="*/ 177190 h 372939"/>
                <a:gd name="connsiteX1742" fmla="*/ 979018 w 1012061"/>
                <a:gd name="connsiteY1742" fmla="*/ 179681 h 372939"/>
                <a:gd name="connsiteX1743" fmla="*/ 985822 w 1012061"/>
                <a:gd name="connsiteY1743" fmla="*/ 182699 h 372939"/>
                <a:gd name="connsiteX1744" fmla="*/ 987565 w 1012061"/>
                <a:gd name="connsiteY1744" fmla="*/ 182881 h 372939"/>
                <a:gd name="connsiteX1745" fmla="*/ 993894 w 1012061"/>
                <a:gd name="connsiteY1745" fmla="*/ 182738 h 372939"/>
                <a:gd name="connsiteX1746" fmla="*/ 994987 w 1012061"/>
                <a:gd name="connsiteY1746" fmla="*/ 183306 h 372939"/>
                <a:gd name="connsiteX1747" fmla="*/ 996025 w 1012061"/>
                <a:gd name="connsiteY1747" fmla="*/ 184110 h 372939"/>
                <a:gd name="connsiteX1748" fmla="*/ 996990 w 1012061"/>
                <a:gd name="connsiteY1748" fmla="*/ 184296 h 372939"/>
                <a:gd name="connsiteX1749" fmla="*/ 1004241 w 1012061"/>
                <a:gd name="connsiteY1749" fmla="*/ 184858 h 372939"/>
                <a:gd name="connsiteX1750" fmla="*/ 1005358 w 1012061"/>
                <a:gd name="connsiteY1750" fmla="*/ 185439 h 372939"/>
                <a:gd name="connsiteX1751" fmla="*/ 1006407 w 1012061"/>
                <a:gd name="connsiteY1751" fmla="*/ 186236 h 372939"/>
                <a:gd name="connsiteX1752" fmla="*/ 1007004 w 1012061"/>
                <a:gd name="connsiteY1752" fmla="*/ 188427 h 372939"/>
                <a:gd name="connsiteX1753" fmla="*/ 1012000 w 1012061"/>
                <a:gd name="connsiteY1753" fmla="*/ 188486 h 372939"/>
                <a:gd name="connsiteX1754" fmla="*/ 1012003 w 1012061"/>
                <a:gd name="connsiteY1754" fmla="*/ 192771 h 372939"/>
                <a:gd name="connsiteX1755" fmla="*/ 1012004 w 1012061"/>
                <a:gd name="connsiteY1755" fmla="*/ 197268 h 372939"/>
                <a:gd name="connsiteX1756" fmla="*/ 1012007 w 1012061"/>
                <a:gd name="connsiteY1756" fmla="*/ 201768 h 372939"/>
                <a:gd name="connsiteX1757" fmla="*/ 1012009 w 1012061"/>
                <a:gd name="connsiteY1757" fmla="*/ 206269 h 372939"/>
                <a:gd name="connsiteX1758" fmla="*/ 1012010 w 1012061"/>
                <a:gd name="connsiteY1758" fmla="*/ 210770 h 372939"/>
                <a:gd name="connsiteX1759" fmla="*/ 1012014 w 1012061"/>
                <a:gd name="connsiteY1759" fmla="*/ 215270 h 372939"/>
                <a:gd name="connsiteX1760" fmla="*/ 1012014 w 1012061"/>
                <a:gd name="connsiteY1760" fmla="*/ 219772 h 372939"/>
                <a:gd name="connsiteX1761" fmla="*/ 1012017 w 1012061"/>
                <a:gd name="connsiteY1761" fmla="*/ 224276 h 372939"/>
                <a:gd name="connsiteX1762" fmla="*/ 1012017 w 1012061"/>
                <a:gd name="connsiteY1762" fmla="*/ 228780 h 372939"/>
                <a:gd name="connsiteX1763" fmla="*/ 1012020 w 1012061"/>
                <a:gd name="connsiteY1763" fmla="*/ 233282 h 372939"/>
                <a:gd name="connsiteX1764" fmla="*/ 1012021 w 1012061"/>
                <a:gd name="connsiteY1764" fmla="*/ 237788 h 372939"/>
                <a:gd name="connsiteX1765" fmla="*/ 1012024 w 1012061"/>
                <a:gd name="connsiteY1765" fmla="*/ 242295 h 372939"/>
                <a:gd name="connsiteX1766" fmla="*/ 1012026 w 1012061"/>
                <a:gd name="connsiteY1766" fmla="*/ 246802 h 372939"/>
                <a:gd name="connsiteX1767" fmla="*/ 1012026 w 1012061"/>
                <a:gd name="connsiteY1767" fmla="*/ 251308 h 372939"/>
                <a:gd name="connsiteX1768" fmla="*/ 1012028 w 1012061"/>
                <a:gd name="connsiteY1768" fmla="*/ 255818 h 372939"/>
                <a:gd name="connsiteX1769" fmla="*/ 1012031 w 1012061"/>
                <a:gd name="connsiteY1769" fmla="*/ 260328 h 372939"/>
                <a:gd name="connsiteX1770" fmla="*/ 1012033 w 1012061"/>
                <a:gd name="connsiteY1770" fmla="*/ 264839 h 372939"/>
                <a:gd name="connsiteX1771" fmla="*/ 1012035 w 1012061"/>
                <a:gd name="connsiteY1771" fmla="*/ 269350 h 372939"/>
                <a:gd name="connsiteX1772" fmla="*/ 1012035 w 1012061"/>
                <a:gd name="connsiteY1772" fmla="*/ 271275 h 372939"/>
                <a:gd name="connsiteX1773" fmla="*/ 1011350 w 1012061"/>
                <a:gd name="connsiteY1773" fmla="*/ 273632 h 372939"/>
                <a:gd name="connsiteX1774" fmla="*/ 1009814 w 1012061"/>
                <a:gd name="connsiteY1774" fmla="*/ 277168 h 372939"/>
                <a:gd name="connsiteX1775" fmla="*/ 1009543 w 1012061"/>
                <a:gd name="connsiteY1775" fmla="*/ 280022 h 372939"/>
                <a:gd name="connsiteX1776" fmla="*/ 1010808 w 1012061"/>
                <a:gd name="connsiteY1776" fmla="*/ 282243 h 372939"/>
                <a:gd name="connsiteX1777" fmla="*/ 1012039 w 1012061"/>
                <a:gd name="connsiteY1777" fmla="*/ 283695 h 372939"/>
                <a:gd name="connsiteX1778" fmla="*/ 1012039 w 1012061"/>
                <a:gd name="connsiteY1778" fmla="*/ 287409 h 372939"/>
                <a:gd name="connsiteX1779" fmla="*/ 1012041 w 1012061"/>
                <a:gd name="connsiteY1779" fmla="*/ 291928 h 372939"/>
                <a:gd name="connsiteX1780" fmla="*/ 1012044 w 1012061"/>
                <a:gd name="connsiteY1780" fmla="*/ 296448 h 372939"/>
                <a:gd name="connsiteX1781" fmla="*/ 1012046 w 1012061"/>
                <a:gd name="connsiteY1781" fmla="*/ 300969 h 372939"/>
                <a:gd name="connsiteX1782" fmla="*/ 1012048 w 1012061"/>
                <a:gd name="connsiteY1782" fmla="*/ 305489 h 372939"/>
                <a:gd name="connsiteX1783" fmla="*/ 1012048 w 1012061"/>
                <a:gd name="connsiteY1783" fmla="*/ 310013 h 372939"/>
                <a:gd name="connsiteX1784" fmla="*/ 1012050 w 1012061"/>
                <a:gd name="connsiteY1784" fmla="*/ 314538 h 372939"/>
                <a:gd name="connsiteX1785" fmla="*/ 1012052 w 1012061"/>
                <a:gd name="connsiteY1785" fmla="*/ 319065 h 372939"/>
                <a:gd name="connsiteX1786" fmla="*/ 1012054 w 1012061"/>
                <a:gd name="connsiteY1786" fmla="*/ 323592 h 372939"/>
                <a:gd name="connsiteX1787" fmla="*/ 1012056 w 1012061"/>
                <a:gd name="connsiteY1787" fmla="*/ 328122 h 372939"/>
                <a:gd name="connsiteX1788" fmla="*/ 1012056 w 1012061"/>
                <a:gd name="connsiteY1788" fmla="*/ 332653 h 372939"/>
                <a:gd name="connsiteX1789" fmla="*/ 1012061 w 1012061"/>
                <a:gd name="connsiteY1789" fmla="*/ 332947 h 372939"/>
                <a:gd name="connsiteX1790" fmla="*/ 1010921 w 1012061"/>
                <a:gd name="connsiteY1790" fmla="*/ 332196 h 372939"/>
                <a:gd name="connsiteX1791" fmla="*/ 1007867 w 1012061"/>
                <a:gd name="connsiteY1791" fmla="*/ 329715 h 372939"/>
                <a:gd name="connsiteX1792" fmla="*/ 1005103 w 1012061"/>
                <a:gd name="connsiteY1792" fmla="*/ 326886 h 372939"/>
                <a:gd name="connsiteX1793" fmla="*/ 1003324 w 1012061"/>
                <a:gd name="connsiteY1793" fmla="*/ 324246 h 372939"/>
                <a:gd name="connsiteX1794" fmla="*/ 1001305 w 1012061"/>
                <a:gd name="connsiteY1794" fmla="*/ 321843 h 372939"/>
                <a:gd name="connsiteX1795" fmla="*/ 992723 w 1012061"/>
                <a:gd name="connsiteY1795" fmla="*/ 314721 h 372939"/>
                <a:gd name="connsiteX1796" fmla="*/ 990540 w 1012061"/>
                <a:gd name="connsiteY1796" fmla="*/ 312382 h 372939"/>
                <a:gd name="connsiteX1797" fmla="*/ 990106 w 1012061"/>
                <a:gd name="connsiteY1797" fmla="*/ 311737 h 372939"/>
                <a:gd name="connsiteX1798" fmla="*/ 990312 w 1012061"/>
                <a:gd name="connsiteY1798" fmla="*/ 311132 h 372939"/>
                <a:gd name="connsiteX1799" fmla="*/ 991302 w 1012061"/>
                <a:gd name="connsiteY1799" fmla="*/ 309900 h 372939"/>
                <a:gd name="connsiteX1800" fmla="*/ 993062 w 1012061"/>
                <a:gd name="connsiteY1800" fmla="*/ 306334 h 372939"/>
                <a:gd name="connsiteX1801" fmla="*/ 991223 w 1012061"/>
                <a:gd name="connsiteY1801" fmla="*/ 308538 h 372939"/>
                <a:gd name="connsiteX1802" fmla="*/ 989033 w 1012061"/>
                <a:gd name="connsiteY1802" fmla="*/ 310282 h 372939"/>
                <a:gd name="connsiteX1803" fmla="*/ 985850 w 1012061"/>
                <a:gd name="connsiteY1803" fmla="*/ 310398 h 372939"/>
                <a:gd name="connsiteX1804" fmla="*/ 982723 w 1012061"/>
                <a:gd name="connsiteY1804" fmla="*/ 310822 h 372939"/>
                <a:gd name="connsiteX1805" fmla="*/ 979829 w 1012061"/>
                <a:gd name="connsiteY1805" fmla="*/ 311876 h 372939"/>
                <a:gd name="connsiteX1806" fmla="*/ 976891 w 1012061"/>
                <a:gd name="connsiteY1806" fmla="*/ 312239 h 372939"/>
                <a:gd name="connsiteX1807" fmla="*/ 975420 w 1012061"/>
                <a:gd name="connsiteY1807" fmla="*/ 311721 h 372939"/>
                <a:gd name="connsiteX1808" fmla="*/ 974535 w 1012061"/>
                <a:gd name="connsiteY1808" fmla="*/ 310411 h 372939"/>
                <a:gd name="connsiteX1809" fmla="*/ 974075 w 1012061"/>
                <a:gd name="connsiteY1809" fmla="*/ 309068 h 372939"/>
                <a:gd name="connsiteX1810" fmla="*/ 973865 w 1012061"/>
                <a:gd name="connsiteY1810" fmla="*/ 307640 h 372939"/>
                <a:gd name="connsiteX1811" fmla="*/ 972630 w 1012061"/>
                <a:gd name="connsiteY1811" fmla="*/ 309948 h 372939"/>
                <a:gd name="connsiteX1812" fmla="*/ 970204 w 1012061"/>
                <a:gd name="connsiteY1812" fmla="*/ 311211 h 372939"/>
                <a:gd name="connsiteX1813" fmla="*/ 966893 w 1012061"/>
                <a:gd name="connsiteY1813" fmla="*/ 313871 h 372939"/>
                <a:gd name="connsiteX1814" fmla="*/ 965945 w 1012061"/>
                <a:gd name="connsiteY1814" fmla="*/ 313323 h 372939"/>
                <a:gd name="connsiteX1815" fmla="*/ 965372 w 1012061"/>
                <a:gd name="connsiteY1815" fmla="*/ 312310 h 372939"/>
                <a:gd name="connsiteX1816" fmla="*/ 965183 w 1012061"/>
                <a:gd name="connsiteY1816" fmla="*/ 311260 h 372939"/>
                <a:gd name="connsiteX1817" fmla="*/ 965822 w 1012061"/>
                <a:gd name="connsiteY1817" fmla="*/ 310139 h 372939"/>
                <a:gd name="connsiteX1818" fmla="*/ 966273 w 1012061"/>
                <a:gd name="connsiteY1818" fmla="*/ 308948 h 372939"/>
                <a:gd name="connsiteX1819" fmla="*/ 966947 w 1012061"/>
                <a:gd name="connsiteY1819" fmla="*/ 306097 h 372939"/>
                <a:gd name="connsiteX1820" fmla="*/ 968430 w 1012061"/>
                <a:gd name="connsiteY1820" fmla="*/ 304418 h 372939"/>
                <a:gd name="connsiteX1821" fmla="*/ 969374 w 1012061"/>
                <a:gd name="connsiteY1821" fmla="*/ 301166 h 372939"/>
                <a:gd name="connsiteX1822" fmla="*/ 969991 w 1012061"/>
                <a:gd name="connsiteY1822" fmla="*/ 300007 h 372939"/>
                <a:gd name="connsiteX1823" fmla="*/ 970309 w 1012061"/>
                <a:gd name="connsiteY1823" fmla="*/ 298849 h 372939"/>
                <a:gd name="connsiteX1824" fmla="*/ 969445 w 1012061"/>
                <a:gd name="connsiteY1824" fmla="*/ 297540 h 372939"/>
                <a:gd name="connsiteX1825" fmla="*/ 967988 w 1012061"/>
                <a:gd name="connsiteY1825" fmla="*/ 297093 h 372939"/>
                <a:gd name="connsiteX1826" fmla="*/ 966990 w 1012061"/>
                <a:gd name="connsiteY1826" fmla="*/ 296298 h 372939"/>
                <a:gd name="connsiteX1827" fmla="*/ 965833 w 1012061"/>
                <a:gd name="connsiteY1827" fmla="*/ 294092 h 372939"/>
                <a:gd name="connsiteX1828" fmla="*/ 965116 w 1012061"/>
                <a:gd name="connsiteY1828" fmla="*/ 293345 h 372939"/>
                <a:gd name="connsiteX1829" fmla="*/ 963800 w 1012061"/>
                <a:gd name="connsiteY1829" fmla="*/ 292440 h 372939"/>
                <a:gd name="connsiteX1830" fmla="*/ 962790 w 1012061"/>
                <a:gd name="connsiteY1830" fmla="*/ 291385 h 372939"/>
                <a:gd name="connsiteX1831" fmla="*/ 963906 w 1012061"/>
                <a:gd name="connsiteY1831" fmla="*/ 290591 h 372939"/>
                <a:gd name="connsiteX1832" fmla="*/ 965375 w 1012061"/>
                <a:gd name="connsiteY1832" fmla="*/ 290272 h 372939"/>
                <a:gd name="connsiteX1833" fmla="*/ 966580 w 1012061"/>
                <a:gd name="connsiteY1833" fmla="*/ 290322 h 372939"/>
                <a:gd name="connsiteX1834" fmla="*/ 968760 w 1012061"/>
                <a:gd name="connsiteY1834" fmla="*/ 290817 h 372939"/>
                <a:gd name="connsiteX1835" fmla="*/ 969746 w 1012061"/>
                <a:gd name="connsiteY1835" fmla="*/ 290844 h 372939"/>
                <a:gd name="connsiteX1836" fmla="*/ 972274 w 1012061"/>
                <a:gd name="connsiteY1836" fmla="*/ 290029 h 372939"/>
                <a:gd name="connsiteX1837" fmla="*/ 970853 w 1012061"/>
                <a:gd name="connsiteY1837" fmla="*/ 290280 h 372939"/>
                <a:gd name="connsiteX1838" fmla="*/ 969448 w 1012061"/>
                <a:gd name="connsiteY1838" fmla="*/ 290254 h 372939"/>
                <a:gd name="connsiteX1839" fmla="*/ 964951 w 1012061"/>
                <a:gd name="connsiteY1839" fmla="*/ 288826 h 372939"/>
                <a:gd name="connsiteX1840" fmla="*/ 962172 w 1012061"/>
                <a:gd name="connsiteY1840" fmla="*/ 287349 h 372939"/>
                <a:gd name="connsiteX1841" fmla="*/ 959549 w 1012061"/>
                <a:gd name="connsiteY1841" fmla="*/ 284387 h 372939"/>
                <a:gd name="connsiteX1842" fmla="*/ 959523 w 1012061"/>
                <a:gd name="connsiteY1842" fmla="*/ 283814 h 372939"/>
                <a:gd name="connsiteX1843" fmla="*/ 961372 w 1012061"/>
                <a:gd name="connsiteY1843" fmla="*/ 283276 h 372939"/>
                <a:gd name="connsiteX1844" fmla="*/ 965368 w 1012061"/>
                <a:gd name="connsiteY1844" fmla="*/ 282651 h 372939"/>
                <a:gd name="connsiteX1845" fmla="*/ 964129 w 1012061"/>
                <a:gd name="connsiteY1845" fmla="*/ 281142 h 372939"/>
                <a:gd name="connsiteX1846" fmla="*/ 962319 w 1012061"/>
                <a:gd name="connsiteY1846" fmla="*/ 279825 h 372939"/>
                <a:gd name="connsiteX1847" fmla="*/ 961689 w 1012061"/>
                <a:gd name="connsiteY1847" fmla="*/ 277483 h 372939"/>
                <a:gd name="connsiteX1848" fmla="*/ 960452 w 1012061"/>
                <a:gd name="connsiteY1848" fmla="*/ 276034 h 372939"/>
                <a:gd name="connsiteX1849" fmla="*/ 957784 w 1012061"/>
                <a:gd name="connsiteY1849" fmla="*/ 273666 h 372939"/>
                <a:gd name="connsiteX1850" fmla="*/ 955951 w 1012061"/>
                <a:gd name="connsiteY1850" fmla="*/ 271214 h 372939"/>
                <a:gd name="connsiteX1851" fmla="*/ 954397 w 1012061"/>
                <a:gd name="connsiteY1851" fmla="*/ 266224 h 372939"/>
                <a:gd name="connsiteX1852" fmla="*/ 952803 w 1012061"/>
                <a:gd name="connsiteY1852" fmla="*/ 262462 h 372939"/>
                <a:gd name="connsiteX1853" fmla="*/ 953192 w 1012061"/>
                <a:gd name="connsiteY1853" fmla="*/ 261097 h 372939"/>
                <a:gd name="connsiteX1854" fmla="*/ 954535 w 1012061"/>
                <a:gd name="connsiteY1854" fmla="*/ 260124 h 372939"/>
                <a:gd name="connsiteX1855" fmla="*/ 952505 w 1012061"/>
                <a:gd name="connsiteY1855" fmla="*/ 260012 h 372939"/>
                <a:gd name="connsiteX1856" fmla="*/ 950665 w 1012061"/>
                <a:gd name="connsiteY1856" fmla="*/ 259312 h 372939"/>
                <a:gd name="connsiteX1857" fmla="*/ 951637 w 1012061"/>
                <a:gd name="connsiteY1857" fmla="*/ 257479 h 372939"/>
                <a:gd name="connsiteX1858" fmla="*/ 953761 w 1012061"/>
                <a:gd name="connsiteY1858" fmla="*/ 256398 h 372939"/>
                <a:gd name="connsiteX1859" fmla="*/ 951827 w 1012061"/>
                <a:gd name="connsiteY1859" fmla="*/ 256675 h 372939"/>
                <a:gd name="connsiteX1860" fmla="*/ 949933 w 1012061"/>
                <a:gd name="connsiteY1860" fmla="*/ 257204 h 372939"/>
                <a:gd name="connsiteX1861" fmla="*/ 949069 w 1012061"/>
                <a:gd name="connsiteY1861" fmla="*/ 257304 h 372939"/>
                <a:gd name="connsiteX1862" fmla="*/ 948177 w 1012061"/>
                <a:gd name="connsiteY1862" fmla="*/ 257141 h 372939"/>
                <a:gd name="connsiteX1863" fmla="*/ 947709 w 1012061"/>
                <a:gd name="connsiteY1863" fmla="*/ 256405 h 372939"/>
                <a:gd name="connsiteX1864" fmla="*/ 947646 w 1012061"/>
                <a:gd name="connsiteY1864" fmla="*/ 255361 h 372939"/>
                <a:gd name="connsiteX1865" fmla="*/ 947923 w 1012061"/>
                <a:gd name="connsiteY1865" fmla="*/ 253517 h 372939"/>
                <a:gd name="connsiteX1866" fmla="*/ 947597 w 1012061"/>
                <a:gd name="connsiteY1866" fmla="*/ 251731 h 372939"/>
                <a:gd name="connsiteX1867" fmla="*/ 945918 w 1012061"/>
                <a:gd name="connsiteY1867" fmla="*/ 250897 h 372939"/>
                <a:gd name="connsiteX1868" fmla="*/ 944532 w 1012061"/>
                <a:gd name="connsiteY1868" fmla="*/ 249621 h 372939"/>
                <a:gd name="connsiteX1869" fmla="*/ 943748 w 1012061"/>
                <a:gd name="connsiteY1869" fmla="*/ 249149 h 372939"/>
                <a:gd name="connsiteX1870" fmla="*/ 942721 w 1012061"/>
                <a:gd name="connsiteY1870" fmla="*/ 249186 h 372939"/>
                <a:gd name="connsiteX1871" fmla="*/ 941723 w 1012061"/>
                <a:gd name="connsiteY1871" fmla="*/ 248333 h 372939"/>
                <a:gd name="connsiteX1872" fmla="*/ 940924 w 1012061"/>
                <a:gd name="connsiteY1872" fmla="*/ 247094 h 372939"/>
                <a:gd name="connsiteX1873" fmla="*/ 930919 w 1012061"/>
                <a:gd name="connsiteY1873" fmla="*/ 241734 h 372939"/>
                <a:gd name="connsiteX1874" fmla="*/ 930326 w 1012061"/>
                <a:gd name="connsiteY1874" fmla="*/ 240206 h 372939"/>
                <a:gd name="connsiteX1875" fmla="*/ 929399 w 1012061"/>
                <a:gd name="connsiteY1875" fmla="*/ 240877 h 372939"/>
                <a:gd name="connsiteX1876" fmla="*/ 928471 w 1012061"/>
                <a:gd name="connsiteY1876" fmla="*/ 241204 h 372939"/>
                <a:gd name="connsiteX1877" fmla="*/ 927318 w 1012061"/>
                <a:gd name="connsiteY1877" fmla="*/ 240325 h 372939"/>
                <a:gd name="connsiteX1878" fmla="*/ 926113 w 1012061"/>
                <a:gd name="connsiteY1878" fmla="*/ 239740 h 372939"/>
                <a:gd name="connsiteX1879" fmla="*/ 924796 w 1012061"/>
                <a:gd name="connsiteY1879" fmla="*/ 239836 h 372939"/>
                <a:gd name="connsiteX1880" fmla="*/ 923578 w 1012061"/>
                <a:gd name="connsiteY1880" fmla="*/ 239362 h 372939"/>
                <a:gd name="connsiteX1881" fmla="*/ 922304 w 1012061"/>
                <a:gd name="connsiteY1881" fmla="*/ 239091 h 372939"/>
                <a:gd name="connsiteX1882" fmla="*/ 920973 w 1012061"/>
                <a:gd name="connsiteY1882" fmla="*/ 239048 h 372939"/>
                <a:gd name="connsiteX1883" fmla="*/ 915711 w 1012061"/>
                <a:gd name="connsiteY1883" fmla="*/ 237399 h 372939"/>
                <a:gd name="connsiteX1884" fmla="*/ 910734 w 1012061"/>
                <a:gd name="connsiteY1884" fmla="*/ 234795 h 372939"/>
                <a:gd name="connsiteX1885" fmla="*/ 906685 w 1012061"/>
                <a:gd name="connsiteY1885" fmla="*/ 233674 h 372939"/>
                <a:gd name="connsiteX1886" fmla="*/ 904182 w 1012061"/>
                <a:gd name="connsiteY1886" fmla="*/ 232214 h 372939"/>
                <a:gd name="connsiteX1887" fmla="*/ 901578 w 1012061"/>
                <a:gd name="connsiteY1887" fmla="*/ 231019 h 372939"/>
                <a:gd name="connsiteX1888" fmla="*/ 895760 w 1012061"/>
                <a:gd name="connsiteY1888" fmla="*/ 229857 h 372939"/>
                <a:gd name="connsiteX1889" fmla="*/ 889870 w 1012061"/>
                <a:gd name="connsiteY1889" fmla="*/ 229074 h 372939"/>
                <a:gd name="connsiteX1890" fmla="*/ 887741 w 1012061"/>
                <a:gd name="connsiteY1890" fmla="*/ 229046 h 372939"/>
                <a:gd name="connsiteX1891" fmla="*/ 885955 w 1012061"/>
                <a:gd name="connsiteY1891" fmla="*/ 229297 h 372939"/>
                <a:gd name="connsiteX1892" fmla="*/ 884240 w 1012061"/>
                <a:gd name="connsiteY1892" fmla="*/ 229243 h 372939"/>
                <a:gd name="connsiteX1893" fmla="*/ 874479 w 1012061"/>
                <a:gd name="connsiteY1893" fmla="*/ 223588 h 372939"/>
                <a:gd name="connsiteX1894" fmla="*/ 872832 w 1012061"/>
                <a:gd name="connsiteY1894" fmla="*/ 221012 h 372939"/>
                <a:gd name="connsiteX1895" fmla="*/ 872992 w 1012061"/>
                <a:gd name="connsiteY1895" fmla="*/ 219506 h 372939"/>
                <a:gd name="connsiteX1896" fmla="*/ 873426 w 1012061"/>
                <a:gd name="connsiteY1896" fmla="*/ 218258 h 372939"/>
                <a:gd name="connsiteX1897" fmla="*/ 877405 w 1012061"/>
                <a:gd name="connsiteY1897" fmla="*/ 217897 h 372939"/>
                <a:gd name="connsiteX1898" fmla="*/ 874603 w 1012061"/>
                <a:gd name="connsiteY1898" fmla="*/ 217536 h 372939"/>
                <a:gd name="connsiteX1899" fmla="*/ 873450 w 1012061"/>
                <a:gd name="connsiteY1899" fmla="*/ 217707 h 372939"/>
                <a:gd name="connsiteX1900" fmla="*/ 871146 w 1012061"/>
                <a:gd name="connsiteY1900" fmla="*/ 218730 h 372939"/>
                <a:gd name="connsiteX1901" fmla="*/ 869895 w 1012061"/>
                <a:gd name="connsiteY1901" fmla="*/ 218801 h 372939"/>
                <a:gd name="connsiteX1902" fmla="*/ 868133 w 1012061"/>
                <a:gd name="connsiteY1902" fmla="*/ 218122 h 372939"/>
                <a:gd name="connsiteX1903" fmla="*/ 866449 w 1012061"/>
                <a:gd name="connsiteY1903" fmla="*/ 217266 h 372939"/>
                <a:gd name="connsiteX1904" fmla="*/ 863689 w 1012061"/>
                <a:gd name="connsiteY1904" fmla="*/ 218059 h 372939"/>
                <a:gd name="connsiteX1905" fmla="*/ 862277 w 1012061"/>
                <a:gd name="connsiteY1905" fmla="*/ 216758 h 372939"/>
                <a:gd name="connsiteX1906" fmla="*/ 861793 w 1012061"/>
                <a:gd name="connsiteY1906" fmla="*/ 215386 h 372939"/>
                <a:gd name="connsiteX1907" fmla="*/ 861055 w 1012061"/>
                <a:gd name="connsiteY1907" fmla="*/ 214759 h 372939"/>
                <a:gd name="connsiteX1908" fmla="*/ 860014 w 1012061"/>
                <a:gd name="connsiteY1908" fmla="*/ 214824 h 372939"/>
                <a:gd name="connsiteX1909" fmla="*/ 858619 w 1012061"/>
                <a:gd name="connsiteY1909" fmla="*/ 215317 h 372939"/>
                <a:gd name="connsiteX1910" fmla="*/ 857225 w 1012061"/>
                <a:gd name="connsiteY1910" fmla="*/ 215229 h 372939"/>
                <a:gd name="connsiteX1911" fmla="*/ 856325 w 1012061"/>
                <a:gd name="connsiteY1911" fmla="*/ 214290 h 372939"/>
                <a:gd name="connsiteX1912" fmla="*/ 855680 w 1012061"/>
                <a:gd name="connsiteY1912" fmla="*/ 213062 h 372939"/>
                <a:gd name="connsiteX1913" fmla="*/ 854724 w 1012061"/>
                <a:gd name="connsiteY1913" fmla="*/ 212182 h 372939"/>
                <a:gd name="connsiteX1914" fmla="*/ 853568 w 1012061"/>
                <a:gd name="connsiteY1914" fmla="*/ 211509 h 372939"/>
                <a:gd name="connsiteX1915" fmla="*/ 851679 w 1012061"/>
                <a:gd name="connsiteY1915" fmla="*/ 209914 h 372939"/>
                <a:gd name="connsiteX1916" fmla="*/ 850690 w 1012061"/>
                <a:gd name="connsiteY1916" fmla="*/ 207734 h 372939"/>
                <a:gd name="connsiteX1917" fmla="*/ 850802 w 1012061"/>
                <a:gd name="connsiteY1917" fmla="*/ 203964 h 372939"/>
                <a:gd name="connsiteX1918" fmla="*/ 851106 w 1012061"/>
                <a:gd name="connsiteY1918" fmla="*/ 202613 h 372939"/>
                <a:gd name="connsiteX1919" fmla="*/ 852974 w 1012061"/>
                <a:gd name="connsiteY1919" fmla="*/ 200417 h 372939"/>
                <a:gd name="connsiteX1920" fmla="*/ 854298 w 1012061"/>
                <a:gd name="connsiteY1920" fmla="*/ 198333 h 372939"/>
                <a:gd name="connsiteX1921" fmla="*/ 852659 w 1012061"/>
                <a:gd name="connsiteY1921" fmla="*/ 198102 h 372939"/>
                <a:gd name="connsiteX1922" fmla="*/ 851178 w 1012061"/>
                <a:gd name="connsiteY1922" fmla="*/ 199057 h 372939"/>
                <a:gd name="connsiteX1923" fmla="*/ 850549 w 1012061"/>
                <a:gd name="connsiteY1923" fmla="*/ 200039 h 372939"/>
                <a:gd name="connsiteX1924" fmla="*/ 850301 w 1012061"/>
                <a:gd name="connsiteY1924" fmla="*/ 201227 h 372939"/>
                <a:gd name="connsiteX1925" fmla="*/ 850133 w 1012061"/>
                <a:gd name="connsiteY1925" fmla="*/ 205186 h 372939"/>
                <a:gd name="connsiteX1926" fmla="*/ 848945 w 1012061"/>
                <a:gd name="connsiteY1926" fmla="*/ 206331 h 372939"/>
                <a:gd name="connsiteX1927" fmla="*/ 847148 w 1012061"/>
                <a:gd name="connsiteY1927" fmla="*/ 206238 h 372939"/>
                <a:gd name="connsiteX1928" fmla="*/ 847682 w 1012061"/>
                <a:gd name="connsiteY1928" fmla="*/ 208552 h 372939"/>
                <a:gd name="connsiteX1929" fmla="*/ 846950 w 1012061"/>
                <a:gd name="connsiteY1929" fmla="*/ 210746 h 372939"/>
                <a:gd name="connsiteX1930" fmla="*/ 844870 w 1012061"/>
                <a:gd name="connsiteY1930" fmla="*/ 213328 h 372939"/>
                <a:gd name="connsiteX1931" fmla="*/ 844695 w 1012061"/>
                <a:gd name="connsiteY1931" fmla="*/ 214502 h 372939"/>
                <a:gd name="connsiteX1932" fmla="*/ 845028 w 1012061"/>
                <a:gd name="connsiteY1932" fmla="*/ 215773 h 372939"/>
                <a:gd name="connsiteX1933" fmla="*/ 844555 w 1012061"/>
                <a:gd name="connsiteY1933" fmla="*/ 217023 h 372939"/>
                <a:gd name="connsiteX1934" fmla="*/ 841191 w 1012061"/>
                <a:gd name="connsiteY1934" fmla="*/ 220639 h 372939"/>
                <a:gd name="connsiteX1935" fmla="*/ 840070 w 1012061"/>
                <a:gd name="connsiteY1935" fmla="*/ 220813 h 372939"/>
                <a:gd name="connsiteX1936" fmla="*/ 837574 w 1012061"/>
                <a:gd name="connsiteY1936" fmla="*/ 220789 h 372939"/>
                <a:gd name="connsiteX1937" fmla="*/ 834996 w 1012061"/>
                <a:gd name="connsiteY1937" fmla="*/ 221362 h 372939"/>
                <a:gd name="connsiteX1938" fmla="*/ 833799 w 1012061"/>
                <a:gd name="connsiteY1938" fmla="*/ 220520 h 372939"/>
                <a:gd name="connsiteX1939" fmla="*/ 832818 w 1012061"/>
                <a:gd name="connsiteY1939" fmla="*/ 219424 h 372939"/>
                <a:gd name="connsiteX1940" fmla="*/ 832089 w 1012061"/>
                <a:gd name="connsiteY1940" fmla="*/ 218129 h 372939"/>
                <a:gd name="connsiteX1941" fmla="*/ 831068 w 1012061"/>
                <a:gd name="connsiteY1941" fmla="*/ 215453 h 372939"/>
                <a:gd name="connsiteX1942" fmla="*/ 830249 w 1012061"/>
                <a:gd name="connsiteY1942" fmla="*/ 212697 h 372939"/>
                <a:gd name="connsiteX1943" fmla="*/ 832810 w 1012061"/>
                <a:gd name="connsiteY1943" fmla="*/ 209317 h 372939"/>
                <a:gd name="connsiteX1944" fmla="*/ 831927 w 1012061"/>
                <a:gd name="connsiteY1944" fmla="*/ 206262 h 372939"/>
                <a:gd name="connsiteX1945" fmla="*/ 830193 w 1012061"/>
                <a:gd name="connsiteY1945" fmla="*/ 203642 h 372939"/>
                <a:gd name="connsiteX1946" fmla="*/ 825818 w 1012061"/>
                <a:gd name="connsiteY1946" fmla="*/ 200013 h 372939"/>
                <a:gd name="connsiteX1947" fmla="*/ 821279 w 1012061"/>
                <a:gd name="connsiteY1947" fmla="*/ 196570 h 372939"/>
                <a:gd name="connsiteX1948" fmla="*/ 819217 w 1012061"/>
                <a:gd name="connsiteY1948" fmla="*/ 195870 h 372939"/>
                <a:gd name="connsiteX1949" fmla="*/ 815835 w 1012061"/>
                <a:gd name="connsiteY1949" fmla="*/ 195563 h 372939"/>
                <a:gd name="connsiteX1950" fmla="*/ 814771 w 1012061"/>
                <a:gd name="connsiteY1950" fmla="*/ 195230 h 372939"/>
                <a:gd name="connsiteX1951" fmla="*/ 813719 w 1012061"/>
                <a:gd name="connsiteY1951" fmla="*/ 193935 h 372939"/>
                <a:gd name="connsiteX1952" fmla="*/ 812942 w 1012061"/>
                <a:gd name="connsiteY1952" fmla="*/ 192442 h 372939"/>
                <a:gd name="connsiteX1953" fmla="*/ 815058 w 1012061"/>
                <a:gd name="connsiteY1953" fmla="*/ 191800 h 372939"/>
                <a:gd name="connsiteX1954" fmla="*/ 818680 w 1012061"/>
                <a:gd name="connsiteY1954" fmla="*/ 190048 h 372939"/>
                <a:gd name="connsiteX1955" fmla="*/ 820728 w 1012061"/>
                <a:gd name="connsiteY1955" fmla="*/ 190132 h 372939"/>
                <a:gd name="connsiteX1956" fmla="*/ 826304 w 1012061"/>
                <a:gd name="connsiteY1956" fmla="*/ 191083 h 372939"/>
                <a:gd name="connsiteX1957" fmla="*/ 828016 w 1012061"/>
                <a:gd name="connsiteY1957" fmla="*/ 191947 h 372939"/>
                <a:gd name="connsiteX1958" fmla="*/ 829610 w 1012061"/>
                <a:gd name="connsiteY1958" fmla="*/ 192453 h 372939"/>
                <a:gd name="connsiteX1959" fmla="*/ 833419 w 1012061"/>
                <a:gd name="connsiteY1959" fmla="*/ 189557 h 372939"/>
                <a:gd name="connsiteX1960" fmla="*/ 836437 w 1012061"/>
                <a:gd name="connsiteY1960" fmla="*/ 185778 h 372939"/>
                <a:gd name="connsiteX1961" fmla="*/ 838319 w 1012061"/>
                <a:gd name="connsiteY1961" fmla="*/ 184957 h 372939"/>
                <a:gd name="connsiteX1962" fmla="*/ 839914 w 1012061"/>
                <a:gd name="connsiteY1962" fmla="*/ 184680 h 372939"/>
                <a:gd name="connsiteX1963" fmla="*/ 841549 w 1012061"/>
                <a:gd name="connsiteY1963" fmla="*/ 185046 h 372939"/>
                <a:gd name="connsiteX1964" fmla="*/ 844788 w 1012061"/>
                <a:gd name="connsiteY1964" fmla="*/ 186366 h 372939"/>
                <a:gd name="connsiteX1965" fmla="*/ 847334 w 1012061"/>
                <a:gd name="connsiteY1965" fmla="*/ 186980 h 372939"/>
                <a:gd name="connsiteX1966" fmla="*/ 849150 w 1012061"/>
                <a:gd name="connsiteY1966" fmla="*/ 187100 h 372939"/>
                <a:gd name="connsiteX1967" fmla="*/ 850099 w 1012061"/>
                <a:gd name="connsiteY1967" fmla="*/ 188283 h 372939"/>
                <a:gd name="connsiteX1968" fmla="*/ 851171 w 1012061"/>
                <a:gd name="connsiteY1968" fmla="*/ 188814 h 372939"/>
                <a:gd name="connsiteX1969" fmla="*/ 851411 w 1012061"/>
                <a:gd name="connsiteY1969" fmla="*/ 187031 h 372939"/>
                <a:gd name="connsiteX1970" fmla="*/ 852348 w 1012061"/>
                <a:gd name="connsiteY1970" fmla="*/ 184966 h 372939"/>
                <a:gd name="connsiteX1971" fmla="*/ 854147 w 1012061"/>
                <a:gd name="connsiteY1971" fmla="*/ 184324 h 372939"/>
                <a:gd name="connsiteX1972" fmla="*/ 855097 w 1012061"/>
                <a:gd name="connsiteY1972" fmla="*/ 184177 h 372939"/>
                <a:gd name="connsiteX1973" fmla="*/ 855699 w 1012061"/>
                <a:gd name="connsiteY1973" fmla="*/ 183643 h 372939"/>
                <a:gd name="connsiteX1974" fmla="*/ 855568 w 1012061"/>
                <a:gd name="connsiteY1974" fmla="*/ 181731 h 372939"/>
                <a:gd name="connsiteX1975" fmla="*/ 853181 w 1012061"/>
                <a:gd name="connsiteY1975" fmla="*/ 181491 h 372939"/>
                <a:gd name="connsiteX1976" fmla="*/ 854480 w 1012061"/>
                <a:gd name="connsiteY1976" fmla="*/ 179854 h 372939"/>
                <a:gd name="connsiteX1977" fmla="*/ 855646 w 1012061"/>
                <a:gd name="connsiteY1977" fmla="*/ 179057 h 372939"/>
                <a:gd name="connsiteX1978" fmla="*/ 856045 w 1012061"/>
                <a:gd name="connsiteY1978" fmla="*/ 178257 h 372939"/>
                <a:gd name="connsiteX1979" fmla="*/ 856069 w 1012061"/>
                <a:gd name="connsiteY1979" fmla="*/ 177253 h 372939"/>
                <a:gd name="connsiteX1980" fmla="*/ 851398 w 1012061"/>
                <a:gd name="connsiteY1980" fmla="*/ 179180 h 372939"/>
                <a:gd name="connsiteX1981" fmla="*/ 846477 w 1012061"/>
                <a:gd name="connsiteY1981" fmla="*/ 179986 h 372939"/>
                <a:gd name="connsiteX1982" fmla="*/ 843568 w 1012061"/>
                <a:gd name="connsiteY1982" fmla="*/ 179768 h 372939"/>
                <a:gd name="connsiteX1983" fmla="*/ 840664 w 1012061"/>
                <a:gd name="connsiteY1983" fmla="*/ 179739 h 372939"/>
                <a:gd name="connsiteX1984" fmla="*/ 834868 w 1012061"/>
                <a:gd name="connsiteY1984" fmla="*/ 181025 h 372939"/>
                <a:gd name="connsiteX1985" fmla="*/ 832668 w 1012061"/>
                <a:gd name="connsiteY1985" fmla="*/ 180973 h 372939"/>
                <a:gd name="connsiteX1986" fmla="*/ 827533 w 1012061"/>
                <a:gd name="connsiteY1986" fmla="*/ 180452 h 372939"/>
                <a:gd name="connsiteX1987" fmla="*/ 824693 w 1012061"/>
                <a:gd name="connsiteY1987" fmla="*/ 179828 h 372939"/>
                <a:gd name="connsiteX1988" fmla="*/ 822497 w 1012061"/>
                <a:gd name="connsiteY1988" fmla="*/ 180314 h 372939"/>
                <a:gd name="connsiteX1989" fmla="*/ 820381 w 1012061"/>
                <a:gd name="connsiteY1989" fmla="*/ 180355 h 372939"/>
                <a:gd name="connsiteX1990" fmla="*/ 818165 w 1012061"/>
                <a:gd name="connsiteY1990" fmla="*/ 178884 h 372939"/>
                <a:gd name="connsiteX1991" fmla="*/ 816280 w 1012061"/>
                <a:gd name="connsiteY1991" fmla="*/ 177039 h 372939"/>
                <a:gd name="connsiteX1992" fmla="*/ 815345 w 1012061"/>
                <a:gd name="connsiteY1992" fmla="*/ 175730 h 372939"/>
                <a:gd name="connsiteX1993" fmla="*/ 814097 w 1012061"/>
                <a:gd name="connsiteY1993" fmla="*/ 174781 h 372939"/>
                <a:gd name="connsiteX1994" fmla="*/ 813544 w 1012061"/>
                <a:gd name="connsiteY1994" fmla="*/ 173502 h 372939"/>
                <a:gd name="connsiteX1995" fmla="*/ 812166 w 1012061"/>
                <a:gd name="connsiteY1995" fmla="*/ 168690 h 372939"/>
                <a:gd name="connsiteX1996" fmla="*/ 812039 w 1012061"/>
                <a:gd name="connsiteY1996" fmla="*/ 165256 h 372939"/>
                <a:gd name="connsiteX1997" fmla="*/ 809815 w 1012061"/>
                <a:gd name="connsiteY1997" fmla="*/ 165186 h 372939"/>
                <a:gd name="connsiteX1998" fmla="*/ 807640 w 1012061"/>
                <a:gd name="connsiteY1998" fmla="*/ 164847 h 372939"/>
                <a:gd name="connsiteX1999" fmla="*/ 797962 w 1012061"/>
                <a:gd name="connsiteY1999" fmla="*/ 161580 h 372939"/>
                <a:gd name="connsiteX2000" fmla="*/ 796791 w 1012061"/>
                <a:gd name="connsiteY2000" fmla="*/ 162381 h 372939"/>
                <a:gd name="connsiteX2001" fmla="*/ 795429 w 1012061"/>
                <a:gd name="connsiteY2001" fmla="*/ 162793 h 372939"/>
                <a:gd name="connsiteX2002" fmla="*/ 794070 w 1012061"/>
                <a:gd name="connsiteY2002" fmla="*/ 162946 h 372939"/>
                <a:gd name="connsiteX2003" fmla="*/ 792721 w 1012061"/>
                <a:gd name="connsiteY2003" fmla="*/ 162778 h 372939"/>
                <a:gd name="connsiteX2004" fmla="*/ 791376 w 1012061"/>
                <a:gd name="connsiteY2004" fmla="*/ 162271 h 372939"/>
                <a:gd name="connsiteX2005" fmla="*/ 791488 w 1012061"/>
                <a:gd name="connsiteY2005" fmla="*/ 161370 h 372939"/>
                <a:gd name="connsiteX2006" fmla="*/ 792488 w 1012061"/>
                <a:gd name="connsiteY2006" fmla="*/ 159161 h 372939"/>
                <a:gd name="connsiteX2007" fmla="*/ 793469 w 1012061"/>
                <a:gd name="connsiteY2007" fmla="*/ 158346 h 372939"/>
                <a:gd name="connsiteX2008" fmla="*/ 794824 w 1012061"/>
                <a:gd name="connsiteY2008" fmla="*/ 157718 h 372939"/>
                <a:gd name="connsiteX2009" fmla="*/ 795686 w 1012061"/>
                <a:gd name="connsiteY2009" fmla="*/ 156545 h 372939"/>
                <a:gd name="connsiteX2010" fmla="*/ 797086 w 1012061"/>
                <a:gd name="connsiteY2010" fmla="*/ 153032 h 372939"/>
                <a:gd name="connsiteX2011" fmla="*/ 797193 w 1012061"/>
                <a:gd name="connsiteY2011" fmla="*/ 151831 h 372939"/>
                <a:gd name="connsiteX2012" fmla="*/ 797040 w 1012061"/>
                <a:gd name="connsiteY2012" fmla="*/ 150604 h 372939"/>
                <a:gd name="connsiteX2013" fmla="*/ 797155 w 1012061"/>
                <a:gd name="connsiteY2013" fmla="*/ 149682 h 372939"/>
                <a:gd name="connsiteX2014" fmla="*/ 798020 w 1012061"/>
                <a:gd name="connsiteY2014" fmla="*/ 149198 h 372939"/>
                <a:gd name="connsiteX2015" fmla="*/ 801671 w 1012061"/>
                <a:gd name="connsiteY2015" fmla="*/ 148054 h 372939"/>
                <a:gd name="connsiteX2016" fmla="*/ 809251 w 1012061"/>
                <a:gd name="connsiteY2016" fmla="*/ 146328 h 372939"/>
                <a:gd name="connsiteX2017" fmla="*/ 811166 w 1012061"/>
                <a:gd name="connsiteY2017" fmla="*/ 145296 h 372939"/>
                <a:gd name="connsiteX2018" fmla="*/ 812747 w 1012061"/>
                <a:gd name="connsiteY2018" fmla="*/ 143644 h 372939"/>
                <a:gd name="connsiteX2019" fmla="*/ 814595 w 1012061"/>
                <a:gd name="connsiteY2019" fmla="*/ 142640 h 372939"/>
                <a:gd name="connsiteX2020" fmla="*/ 815446 w 1012061"/>
                <a:gd name="connsiteY2020" fmla="*/ 141625 h 372939"/>
                <a:gd name="connsiteX2021" fmla="*/ 816418 w 1012061"/>
                <a:gd name="connsiteY2021" fmla="*/ 140806 h 372939"/>
                <a:gd name="connsiteX2022" fmla="*/ 822286 w 1012061"/>
                <a:gd name="connsiteY2022" fmla="*/ 138625 h 372939"/>
                <a:gd name="connsiteX2023" fmla="*/ 204926 w 1012061"/>
                <a:gd name="connsiteY2023" fmla="*/ 138165 h 372939"/>
                <a:gd name="connsiteX2024" fmla="*/ 206994 w 1012061"/>
                <a:gd name="connsiteY2024" fmla="*/ 140314 h 372939"/>
                <a:gd name="connsiteX2025" fmla="*/ 207488 w 1012061"/>
                <a:gd name="connsiteY2025" fmla="*/ 141083 h 372939"/>
                <a:gd name="connsiteX2026" fmla="*/ 206467 w 1012061"/>
                <a:gd name="connsiteY2026" fmla="*/ 142275 h 372939"/>
                <a:gd name="connsiteX2027" fmla="*/ 205640 w 1012061"/>
                <a:gd name="connsiteY2027" fmla="*/ 143959 h 372939"/>
                <a:gd name="connsiteX2028" fmla="*/ 205171 w 1012061"/>
                <a:gd name="connsiteY2028" fmla="*/ 144318 h 372939"/>
                <a:gd name="connsiteX2029" fmla="*/ 203591 w 1012061"/>
                <a:gd name="connsiteY2029" fmla="*/ 143672 h 372939"/>
                <a:gd name="connsiteX2030" fmla="*/ 202470 w 1012061"/>
                <a:gd name="connsiteY2030" fmla="*/ 145328 h 372939"/>
                <a:gd name="connsiteX2031" fmla="*/ 201732 w 1012061"/>
                <a:gd name="connsiteY2031" fmla="*/ 142685 h 372939"/>
                <a:gd name="connsiteX2032" fmla="*/ 200125 w 1012061"/>
                <a:gd name="connsiteY2032" fmla="*/ 141009 h 372939"/>
                <a:gd name="connsiteX2033" fmla="*/ 201125 w 1012061"/>
                <a:gd name="connsiteY2033" fmla="*/ 139295 h 372939"/>
                <a:gd name="connsiteX2034" fmla="*/ 201488 w 1012061"/>
                <a:gd name="connsiteY2034" fmla="*/ 139172 h 372939"/>
                <a:gd name="connsiteX2035" fmla="*/ 201974 w 1012061"/>
                <a:gd name="connsiteY2035" fmla="*/ 139226 h 372939"/>
                <a:gd name="connsiteX2036" fmla="*/ 202478 w 1012061"/>
                <a:gd name="connsiteY2036" fmla="*/ 139673 h 372939"/>
                <a:gd name="connsiteX2037" fmla="*/ 714679 w 1012061"/>
                <a:gd name="connsiteY2037" fmla="*/ 137546 h 372939"/>
                <a:gd name="connsiteX2038" fmla="*/ 715556 w 1012061"/>
                <a:gd name="connsiteY2038" fmla="*/ 137818 h 372939"/>
                <a:gd name="connsiteX2039" fmla="*/ 718107 w 1012061"/>
                <a:gd name="connsiteY2039" fmla="*/ 141122 h 372939"/>
                <a:gd name="connsiteX2040" fmla="*/ 716395 w 1012061"/>
                <a:gd name="connsiteY2040" fmla="*/ 144257 h 372939"/>
                <a:gd name="connsiteX2041" fmla="*/ 717581 w 1012061"/>
                <a:gd name="connsiteY2041" fmla="*/ 146011 h 372939"/>
                <a:gd name="connsiteX2042" fmla="*/ 720803 w 1012061"/>
                <a:gd name="connsiteY2042" fmla="*/ 146121 h 372939"/>
                <a:gd name="connsiteX2043" fmla="*/ 721545 w 1012061"/>
                <a:gd name="connsiteY2043" fmla="*/ 146777 h 372939"/>
                <a:gd name="connsiteX2044" fmla="*/ 722107 w 1012061"/>
                <a:gd name="connsiteY2044" fmla="*/ 147568 h 372939"/>
                <a:gd name="connsiteX2045" fmla="*/ 722481 w 1012061"/>
                <a:gd name="connsiteY2045" fmla="*/ 148647 h 372939"/>
                <a:gd name="connsiteX2046" fmla="*/ 721643 w 1012061"/>
                <a:gd name="connsiteY2046" fmla="*/ 149511 h 372939"/>
                <a:gd name="connsiteX2047" fmla="*/ 719848 w 1012061"/>
                <a:gd name="connsiteY2047" fmla="*/ 150306 h 372939"/>
                <a:gd name="connsiteX2048" fmla="*/ 717780 w 1012061"/>
                <a:gd name="connsiteY2048" fmla="*/ 149164 h 372939"/>
                <a:gd name="connsiteX2049" fmla="*/ 717233 w 1012061"/>
                <a:gd name="connsiteY2049" fmla="*/ 148101 h 372939"/>
                <a:gd name="connsiteX2050" fmla="*/ 716812 w 1012061"/>
                <a:gd name="connsiteY2050" fmla="*/ 147704 h 372939"/>
                <a:gd name="connsiteX2051" fmla="*/ 714026 w 1012061"/>
                <a:gd name="connsiteY2051" fmla="*/ 148509 h 372939"/>
                <a:gd name="connsiteX2052" fmla="*/ 713249 w 1012061"/>
                <a:gd name="connsiteY2052" fmla="*/ 148587 h 372939"/>
                <a:gd name="connsiteX2053" fmla="*/ 712709 w 1012061"/>
                <a:gd name="connsiteY2053" fmla="*/ 147108 h 372939"/>
                <a:gd name="connsiteX2054" fmla="*/ 713381 w 1012061"/>
                <a:gd name="connsiteY2054" fmla="*/ 144983 h 372939"/>
                <a:gd name="connsiteX2055" fmla="*/ 711433 w 1012061"/>
                <a:gd name="connsiteY2055" fmla="*/ 144024 h 372939"/>
                <a:gd name="connsiteX2056" fmla="*/ 709651 w 1012061"/>
                <a:gd name="connsiteY2056" fmla="*/ 141828 h 372939"/>
                <a:gd name="connsiteX2057" fmla="*/ 709587 w 1012061"/>
                <a:gd name="connsiteY2057" fmla="*/ 140942 h 372939"/>
                <a:gd name="connsiteX2058" fmla="*/ 710304 w 1012061"/>
                <a:gd name="connsiteY2058" fmla="*/ 139409 h 372939"/>
                <a:gd name="connsiteX2059" fmla="*/ 710206 w 1012061"/>
                <a:gd name="connsiteY2059" fmla="*/ 138191 h 372939"/>
                <a:gd name="connsiteX2060" fmla="*/ 711226 w 1012061"/>
                <a:gd name="connsiteY2060" fmla="*/ 138098 h 372939"/>
                <a:gd name="connsiteX2061" fmla="*/ 713083 w 1012061"/>
                <a:gd name="connsiteY2061" fmla="*/ 139751 h 372939"/>
                <a:gd name="connsiteX2062" fmla="*/ 713891 w 1012061"/>
                <a:gd name="connsiteY2062" fmla="*/ 138194 h 372939"/>
                <a:gd name="connsiteX2063" fmla="*/ 707212 w 1012061"/>
                <a:gd name="connsiteY2063" fmla="*/ 136421 h 372939"/>
                <a:gd name="connsiteX2064" fmla="*/ 709431 w 1012061"/>
                <a:gd name="connsiteY2064" fmla="*/ 137053 h 372939"/>
                <a:gd name="connsiteX2065" fmla="*/ 708613 w 1012061"/>
                <a:gd name="connsiteY2065" fmla="*/ 137811 h 372939"/>
                <a:gd name="connsiteX2066" fmla="*/ 709222 w 1012061"/>
                <a:gd name="connsiteY2066" fmla="*/ 139411 h 372939"/>
                <a:gd name="connsiteX2067" fmla="*/ 708544 w 1012061"/>
                <a:gd name="connsiteY2067" fmla="*/ 141718 h 372939"/>
                <a:gd name="connsiteX2068" fmla="*/ 707160 w 1012061"/>
                <a:gd name="connsiteY2068" fmla="*/ 142290 h 372939"/>
                <a:gd name="connsiteX2069" fmla="*/ 705652 w 1012061"/>
                <a:gd name="connsiteY2069" fmla="*/ 142275 h 372939"/>
                <a:gd name="connsiteX2070" fmla="*/ 705327 w 1012061"/>
                <a:gd name="connsiteY2070" fmla="*/ 139917 h 372939"/>
                <a:gd name="connsiteX2071" fmla="*/ 705814 w 1012061"/>
                <a:gd name="connsiteY2071" fmla="*/ 136926 h 372939"/>
                <a:gd name="connsiteX2072" fmla="*/ 184466 w 1012061"/>
                <a:gd name="connsiteY2072" fmla="*/ 135797 h 372939"/>
                <a:gd name="connsiteX2073" fmla="*/ 185837 w 1012061"/>
                <a:gd name="connsiteY2073" fmla="*/ 135864 h 372939"/>
                <a:gd name="connsiteX2074" fmla="*/ 188335 w 1012061"/>
                <a:gd name="connsiteY2074" fmla="*/ 136883 h 372939"/>
                <a:gd name="connsiteX2075" fmla="*/ 189227 w 1012061"/>
                <a:gd name="connsiteY2075" fmla="*/ 137792 h 372939"/>
                <a:gd name="connsiteX2076" fmla="*/ 188613 w 1012061"/>
                <a:gd name="connsiteY2076" fmla="*/ 138459 h 372939"/>
                <a:gd name="connsiteX2077" fmla="*/ 185735 w 1012061"/>
                <a:gd name="connsiteY2077" fmla="*/ 139232 h 372939"/>
                <a:gd name="connsiteX2078" fmla="*/ 182529 w 1012061"/>
                <a:gd name="connsiteY2078" fmla="*/ 138673 h 372939"/>
                <a:gd name="connsiteX2079" fmla="*/ 182919 w 1012061"/>
                <a:gd name="connsiteY2079" fmla="*/ 137343 h 372939"/>
                <a:gd name="connsiteX2080" fmla="*/ 787337 w 1012061"/>
                <a:gd name="connsiteY2080" fmla="*/ 130856 h 372939"/>
                <a:gd name="connsiteX2081" fmla="*/ 791169 w 1012061"/>
                <a:gd name="connsiteY2081" fmla="*/ 131795 h 372939"/>
                <a:gd name="connsiteX2082" fmla="*/ 792037 w 1012061"/>
                <a:gd name="connsiteY2082" fmla="*/ 131648 h 372939"/>
                <a:gd name="connsiteX2083" fmla="*/ 797588 w 1012061"/>
                <a:gd name="connsiteY2083" fmla="*/ 134078 h 372939"/>
                <a:gd name="connsiteX2084" fmla="*/ 798474 w 1012061"/>
                <a:gd name="connsiteY2084" fmla="*/ 135283 h 372939"/>
                <a:gd name="connsiteX2085" fmla="*/ 798161 w 1012061"/>
                <a:gd name="connsiteY2085" fmla="*/ 136097 h 372939"/>
                <a:gd name="connsiteX2086" fmla="*/ 798979 w 1012061"/>
                <a:gd name="connsiteY2086" fmla="*/ 137185 h 372939"/>
                <a:gd name="connsiteX2087" fmla="*/ 797161 w 1012061"/>
                <a:gd name="connsiteY2087" fmla="*/ 138852 h 372939"/>
                <a:gd name="connsiteX2088" fmla="*/ 796284 w 1012061"/>
                <a:gd name="connsiteY2088" fmla="*/ 139038 h 372939"/>
                <a:gd name="connsiteX2089" fmla="*/ 795397 w 1012061"/>
                <a:gd name="connsiteY2089" fmla="*/ 138416 h 372939"/>
                <a:gd name="connsiteX2090" fmla="*/ 793628 w 1012061"/>
                <a:gd name="connsiteY2090" fmla="*/ 138064 h 372939"/>
                <a:gd name="connsiteX2091" fmla="*/ 791585 w 1012061"/>
                <a:gd name="connsiteY2091" fmla="*/ 138742 h 372939"/>
                <a:gd name="connsiteX2092" fmla="*/ 790283 w 1012061"/>
                <a:gd name="connsiteY2092" fmla="*/ 138230 h 372939"/>
                <a:gd name="connsiteX2093" fmla="*/ 789182 w 1012061"/>
                <a:gd name="connsiteY2093" fmla="*/ 136702 h 372939"/>
                <a:gd name="connsiteX2094" fmla="*/ 787230 w 1012061"/>
                <a:gd name="connsiteY2094" fmla="*/ 135773 h 372939"/>
                <a:gd name="connsiteX2095" fmla="*/ 784468 w 1012061"/>
                <a:gd name="connsiteY2095" fmla="*/ 132549 h 372939"/>
                <a:gd name="connsiteX2096" fmla="*/ 783112 w 1012061"/>
                <a:gd name="connsiteY2096" fmla="*/ 132665 h 372939"/>
                <a:gd name="connsiteX2097" fmla="*/ 783468 w 1012061"/>
                <a:gd name="connsiteY2097" fmla="*/ 133927 h 372939"/>
                <a:gd name="connsiteX2098" fmla="*/ 784641 w 1012061"/>
                <a:gd name="connsiteY2098" fmla="*/ 134758 h 372939"/>
                <a:gd name="connsiteX2099" fmla="*/ 786189 w 1012061"/>
                <a:gd name="connsiteY2099" fmla="*/ 137209 h 372939"/>
                <a:gd name="connsiteX2100" fmla="*/ 787078 w 1012061"/>
                <a:gd name="connsiteY2100" fmla="*/ 137446 h 372939"/>
                <a:gd name="connsiteX2101" fmla="*/ 787999 w 1012061"/>
                <a:gd name="connsiteY2101" fmla="*/ 137362 h 372939"/>
                <a:gd name="connsiteX2102" fmla="*/ 789238 w 1012061"/>
                <a:gd name="connsiteY2102" fmla="*/ 138381 h 372939"/>
                <a:gd name="connsiteX2103" fmla="*/ 789173 w 1012061"/>
                <a:gd name="connsiteY2103" fmla="*/ 139964 h 372939"/>
                <a:gd name="connsiteX2104" fmla="*/ 785943 w 1012061"/>
                <a:gd name="connsiteY2104" fmla="*/ 140580 h 372939"/>
                <a:gd name="connsiteX2105" fmla="*/ 784828 w 1012061"/>
                <a:gd name="connsiteY2105" fmla="*/ 139424 h 372939"/>
                <a:gd name="connsiteX2106" fmla="*/ 784582 w 1012061"/>
                <a:gd name="connsiteY2106" fmla="*/ 137323 h 372939"/>
                <a:gd name="connsiteX2107" fmla="*/ 782766 w 1012061"/>
                <a:gd name="connsiteY2107" fmla="*/ 138032 h 372939"/>
                <a:gd name="connsiteX2108" fmla="*/ 782067 w 1012061"/>
                <a:gd name="connsiteY2108" fmla="*/ 138766 h 372939"/>
                <a:gd name="connsiteX2109" fmla="*/ 781534 w 1012061"/>
                <a:gd name="connsiteY2109" fmla="*/ 138867 h 372939"/>
                <a:gd name="connsiteX2110" fmla="*/ 780328 w 1012061"/>
                <a:gd name="connsiteY2110" fmla="*/ 136678 h 372939"/>
                <a:gd name="connsiteX2111" fmla="*/ 776884 w 1012061"/>
                <a:gd name="connsiteY2111" fmla="*/ 136566 h 372939"/>
                <a:gd name="connsiteX2112" fmla="*/ 774586 w 1012061"/>
                <a:gd name="connsiteY2112" fmla="*/ 135402 h 372939"/>
                <a:gd name="connsiteX2113" fmla="*/ 775716 w 1012061"/>
                <a:gd name="connsiteY2113" fmla="*/ 134186 h 372939"/>
                <a:gd name="connsiteX2114" fmla="*/ 775875 w 1012061"/>
                <a:gd name="connsiteY2114" fmla="*/ 133009 h 372939"/>
                <a:gd name="connsiteX2115" fmla="*/ 777371 w 1012061"/>
                <a:gd name="connsiteY2115" fmla="*/ 132376 h 372939"/>
                <a:gd name="connsiteX2116" fmla="*/ 778884 w 1012061"/>
                <a:gd name="connsiteY2116" fmla="*/ 132943 h 372939"/>
                <a:gd name="connsiteX2117" fmla="*/ 780401 w 1012061"/>
                <a:gd name="connsiteY2117" fmla="*/ 132094 h 372939"/>
                <a:gd name="connsiteX2118" fmla="*/ 781480 w 1012061"/>
                <a:gd name="connsiteY2118" fmla="*/ 132312 h 372939"/>
                <a:gd name="connsiteX2119" fmla="*/ 782274 w 1012061"/>
                <a:gd name="connsiteY2119" fmla="*/ 131769 h 372939"/>
                <a:gd name="connsiteX2120" fmla="*/ 785327 w 1012061"/>
                <a:gd name="connsiteY2120" fmla="*/ 131425 h 372939"/>
                <a:gd name="connsiteX2121" fmla="*/ 70048 w 1012061"/>
                <a:gd name="connsiteY2121" fmla="*/ 130609 h 372939"/>
                <a:gd name="connsiteX2122" fmla="*/ 70953 w 1012061"/>
                <a:gd name="connsiteY2122" fmla="*/ 131153 h 372939"/>
                <a:gd name="connsiteX2123" fmla="*/ 72477 w 1012061"/>
                <a:gd name="connsiteY2123" fmla="*/ 134473 h 372939"/>
                <a:gd name="connsiteX2124" fmla="*/ 73799 w 1012061"/>
                <a:gd name="connsiteY2124" fmla="*/ 136462 h 372939"/>
                <a:gd name="connsiteX2125" fmla="*/ 73268 w 1012061"/>
                <a:gd name="connsiteY2125" fmla="*/ 139161 h 372939"/>
                <a:gd name="connsiteX2126" fmla="*/ 71922 w 1012061"/>
                <a:gd name="connsiteY2126" fmla="*/ 142495 h 372939"/>
                <a:gd name="connsiteX2127" fmla="*/ 70605 w 1012061"/>
                <a:gd name="connsiteY2127" fmla="*/ 143521 h 372939"/>
                <a:gd name="connsiteX2128" fmla="*/ 68615 w 1012061"/>
                <a:gd name="connsiteY2128" fmla="*/ 142525 h 372939"/>
                <a:gd name="connsiteX2129" fmla="*/ 69284 w 1012061"/>
                <a:gd name="connsiteY2129" fmla="*/ 141111 h 372939"/>
                <a:gd name="connsiteX2130" fmla="*/ 69611 w 1012061"/>
                <a:gd name="connsiteY2130" fmla="*/ 139152 h 372939"/>
                <a:gd name="connsiteX2131" fmla="*/ 70806 w 1012061"/>
                <a:gd name="connsiteY2131" fmla="*/ 137598 h 372939"/>
                <a:gd name="connsiteX2132" fmla="*/ 71212 w 1012061"/>
                <a:gd name="connsiteY2132" fmla="*/ 135773 h 372939"/>
                <a:gd name="connsiteX2133" fmla="*/ 68908 w 1012061"/>
                <a:gd name="connsiteY2133" fmla="*/ 130783 h 372939"/>
                <a:gd name="connsiteX2134" fmla="*/ 206439 w 1012061"/>
                <a:gd name="connsiteY2134" fmla="*/ 130373 h 372939"/>
                <a:gd name="connsiteX2135" fmla="*/ 208495 w 1012061"/>
                <a:gd name="connsiteY2135" fmla="*/ 131173 h 372939"/>
                <a:gd name="connsiteX2136" fmla="*/ 208998 w 1012061"/>
                <a:gd name="connsiteY2136" fmla="*/ 132155 h 372939"/>
                <a:gd name="connsiteX2137" fmla="*/ 208873 w 1012061"/>
                <a:gd name="connsiteY2137" fmla="*/ 132446 h 372939"/>
                <a:gd name="connsiteX2138" fmla="*/ 210216 w 1012061"/>
                <a:gd name="connsiteY2138" fmla="*/ 133043 h 372939"/>
                <a:gd name="connsiteX2139" fmla="*/ 211656 w 1012061"/>
                <a:gd name="connsiteY2139" fmla="*/ 134656 h 372939"/>
                <a:gd name="connsiteX2140" fmla="*/ 212296 w 1012061"/>
                <a:gd name="connsiteY2140" fmla="*/ 135021 h 372939"/>
                <a:gd name="connsiteX2141" fmla="*/ 213084 w 1012061"/>
                <a:gd name="connsiteY2141" fmla="*/ 133875 h 372939"/>
                <a:gd name="connsiteX2142" fmla="*/ 214539 w 1012061"/>
                <a:gd name="connsiteY2142" fmla="*/ 135447 h 372939"/>
                <a:gd name="connsiteX2143" fmla="*/ 215440 w 1012061"/>
                <a:gd name="connsiteY2143" fmla="*/ 136233 h 372939"/>
                <a:gd name="connsiteX2144" fmla="*/ 216671 w 1012061"/>
                <a:gd name="connsiteY2144" fmla="*/ 137019 h 372939"/>
                <a:gd name="connsiteX2145" fmla="*/ 215459 w 1012061"/>
                <a:gd name="connsiteY2145" fmla="*/ 137055 h 372939"/>
                <a:gd name="connsiteX2146" fmla="*/ 214971 w 1012061"/>
                <a:gd name="connsiteY2146" fmla="*/ 137775 h 372939"/>
                <a:gd name="connsiteX2147" fmla="*/ 214656 w 1012061"/>
                <a:gd name="connsiteY2147" fmla="*/ 137915 h 372939"/>
                <a:gd name="connsiteX2148" fmla="*/ 209968 w 1012061"/>
                <a:gd name="connsiteY2148" fmla="*/ 135380 h 372939"/>
                <a:gd name="connsiteX2149" fmla="*/ 206968 w 1012061"/>
                <a:gd name="connsiteY2149" fmla="*/ 136196 h 372939"/>
                <a:gd name="connsiteX2150" fmla="*/ 204910 w 1012061"/>
                <a:gd name="connsiteY2150" fmla="*/ 135456 h 372939"/>
                <a:gd name="connsiteX2151" fmla="*/ 204325 w 1012061"/>
                <a:gd name="connsiteY2151" fmla="*/ 134948 h 372939"/>
                <a:gd name="connsiteX2152" fmla="*/ 205431 w 1012061"/>
                <a:gd name="connsiteY2152" fmla="*/ 133560 h 372939"/>
                <a:gd name="connsiteX2153" fmla="*/ 754070 w 1012061"/>
                <a:gd name="connsiteY2153" fmla="*/ 129761 h 372939"/>
                <a:gd name="connsiteX2154" fmla="*/ 759227 w 1012061"/>
                <a:gd name="connsiteY2154" fmla="*/ 133844 h 372939"/>
                <a:gd name="connsiteX2155" fmla="*/ 759380 w 1012061"/>
                <a:gd name="connsiteY2155" fmla="*/ 134901 h 372939"/>
                <a:gd name="connsiteX2156" fmla="*/ 758424 w 1012061"/>
                <a:gd name="connsiteY2156" fmla="*/ 134963 h 372939"/>
                <a:gd name="connsiteX2157" fmla="*/ 757618 w 1012061"/>
                <a:gd name="connsiteY2157" fmla="*/ 133672 h 372939"/>
                <a:gd name="connsiteX2158" fmla="*/ 755426 w 1012061"/>
                <a:gd name="connsiteY2158" fmla="*/ 132234 h 372939"/>
                <a:gd name="connsiteX2159" fmla="*/ 712556 w 1012061"/>
                <a:gd name="connsiteY2159" fmla="*/ 127613 h 372939"/>
                <a:gd name="connsiteX2160" fmla="*/ 712956 w 1012061"/>
                <a:gd name="connsiteY2160" fmla="*/ 129240 h 372939"/>
                <a:gd name="connsiteX2161" fmla="*/ 713044 w 1012061"/>
                <a:gd name="connsiteY2161" fmla="*/ 130895 h 372939"/>
                <a:gd name="connsiteX2162" fmla="*/ 712938 w 1012061"/>
                <a:gd name="connsiteY2162" fmla="*/ 131575 h 372939"/>
                <a:gd name="connsiteX2163" fmla="*/ 712258 w 1012061"/>
                <a:gd name="connsiteY2163" fmla="*/ 130625 h 372939"/>
                <a:gd name="connsiteX2164" fmla="*/ 711792 w 1012061"/>
                <a:gd name="connsiteY2164" fmla="*/ 130398 h 372939"/>
                <a:gd name="connsiteX2165" fmla="*/ 712295 w 1012061"/>
                <a:gd name="connsiteY2165" fmla="*/ 128014 h 372939"/>
                <a:gd name="connsiteX2166" fmla="*/ 205478 w 1012061"/>
                <a:gd name="connsiteY2166" fmla="*/ 125634 h 372939"/>
                <a:gd name="connsiteX2167" fmla="*/ 206465 w 1012061"/>
                <a:gd name="connsiteY2167" fmla="*/ 125828 h 372939"/>
                <a:gd name="connsiteX2168" fmla="*/ 209031 w 1012061"/>
                <a:gd name="connsiteY2168" fmla="*/ 128486 h 372939"/>
                <a:gd name="connsiteX2169" fmla="*/ 209680 w 1012061"/>
                <a:gd name="connsiteY2169" fmla="*/ 129449 h 372939"/>
                <a:gd name="connsiteX2170" fmla="*/ 209877 w 1012061"/>
                <a:gd name="connsiteY2170" fmla="*/ 129998 h 372939"/>
                <a:gd name="connsiteX2171" fmla="*/ 208832 w 1012061"/>
                <a:gd name="connsiteY2171" fmla="*/ 129379 h 372939"/>
                <a:gd name="connsiteX2172" fmla="*/ 208201 w 1012061"/>
                <a:gd name="connsiteY2172" fmla="*/ 129004 h 372939"/>
                <a:gd name="connsiteX2173" fmla="*/ 207784 w 1012061"/>
                <a:gd name="connsiteY2173" fmla="*/ 128660 h 372939"/>
                <a:gd name="connsiteX2174" fmla="*/ 176472 w 1012061"/>
                <a:gd name="connsiteY2174" fmla="*/ 115292 h 372939"/>
                <a:gd name="connsiteX2175" fmla="*/ 177594 w 1012061"/>
                <a:gd name="connsiteY2175" fmla="*/ 115317 h 372939"/>
                <a:gd name="connsiteX2176" fmla="*/ 178854 w 1012061"/>
                <a:gd name="connsiteY2176" fmla="*/ 117189 h 372939"/>
                <a:gd name="connsiteX2177" fmla="*/ 178618 w 1012061"/>
                <a:gd name="connsiteY2177" fmla="*/ 118782 h 372939"/>
                <a:gd name="connsiteX2178" fmla="*/ 176134 w 1012061"/>
                <a:gd name="connsiteY2178" fmla="*/ 118909 h 372939"/>
                <a:gd name="connsiteX2179" fmla="*/ 175413 w 1012061"/>
                <a:gd name="connsiteY2179" fmla="*/ 118624 h 372939"/>
                <a:gd name="connsiteX2180" fmla="*/ 175717 w 1012061"/>
                <a:gd name="connsiteY2180" fmla="*/ 116544 h 372939"/>
                <a:gd name="connsiteX2181" fmla="*/ 712411 w 1012061"/>
                <a:gd name="connsiteY2181" fmla="*/ 114305 h 372939"/>
                <a:gd name="connsiteX2182" fmla="*/ 712805 w 1012061"/>
                <a:gd name="connsiteY2182" fmla="*/ 114547 h 372939"/>
                <a:gd name="connsiteX2183" fmla="*/ 712878 w 1012061"/>
                <a:gd name="connsiteY2183" fmla="*/ 115656 h 372939"/>
                <a:gd name="connsiteX2184" fmla="*/ 712299 w 1012061"/>
                <a:gd name="connsiteY2184" fmla="*/ 116567 h 372939"/>
                <a:gd name="connsiteX2185" fmla="*/ 711509 w 1012061"/>
                <a:gd name="connsiteY2185" fmla="*/ 116812 h 372939"/>
                <a:gd name="connsiteX2186" fmla="*/ 711280 w 1012061"/>
                <a:gd name="connsiteY2186" fmla="*/ 116727 h 372939"/>
                <a:gd name="connsiteX2187" fmla="*/ 711042 w 1012061"/>
                <a:gd name="connsiteY2187" fmla="*/ 115836 h 372939"/>
                <a:gd name="connsiteX2188" fmla="*/ 711478 w 1012061"/>
                <a:gd name="connsiteY2188" fmla="*/ 114323 h 372939"/>
                <a:gd name="connsiteX2189" fmla="*/ 710090 w 1012061"/>
                <a:gd name="connsiteY2189" fmla="*/ 111704 h 372939"/>
                <a:gd name="connsiteX2190" fmla="*/ 710841 w 1012061"/>
                <a:gd name="connsiteY2190" fmla="*/ 112026 h 372939"/>
                <a:gd name="connsiteX2191" fmla="*/ 711258 w 1012061"/>
                <a:gd name="connsiteY2191" fmla="*/ 113267 h 372939"/>
                <a:gd name="connsiteX2192" fmla="*/ 710500 w 1012061"/>
                <a:gd name="connsiteY2192" fmla="*/ 113994 h 372939"/>
                <a:gd name="connsiteX2193" fmla="*/ 709785 w 1012061"/>
                <a:gd name="connsiteY2193" fmla="*/ 113751 h 372939"/>
                <a:gd name="connsiteX2194" fmla="*/ 709351 w 1012061"/>
                <a:gd name="connsiteY2194" fmla="*/ 112812 h 372939"/>
                <a:gd name="connsiteX2195" fmla="*/ 709492 w 1012061"/>
                <a:gd name="connsiteY2195" fmla="*/ 112136 h 372939"/>
                <a:gd name="connsiteX2196" fmla="*/ 180866 w 1012061"/>
                <a:gd name="connsiteY2196" fmla="*/ 111536 h 372939"/>
                <a:gd name="connsiteX2197" fmla="*/ 181905 w 1012061"/>
                <a:gd name="connsiteY2197" fmla="*/ 112522 h 372939"/>
                <a:gd name="connsiteX2198" fmla="*/ 182727 w 1012061"/>
                <a:gd name="connsiteY2198" fmla="*/ 113559 h 372939"/>
                <a:gd name="connsiteX2199" fmla="*/ 183327 w 1012061"/>
                <a:gd name="connsiteY2199" fmla="*/ 114784 h 372939"/>
                <a:gd name="connsiteX2200" fmla="*/ 182282 w 1012061"/>
                <a:gd name="connsiteY2200" fmla="*/ 116073 h 372939"/>
                <a:gd name="connsiteX2201" fmla="*/ 181829 w 1012061"/>
                <a:gd name="connsiteY2201" fmla="*/ 116373 h 372939"/>
                <a:gd name="connsiteX2202" fmla="*/ 179943 w 1012061"/>
                <a:gd name="connsiteY2202" fmla="*/ 113564 h 372939"/>
                <a:gd name="connsiteX2203" fmla="*/ 180414 w 1012061"/>
                <a:gd name="connsiteY2203" fmla="*/ 111945 h 372939"/>
                <a:gd name="connsiteX2204" fmla="*/ 188954 w 1012061"/>
                <a:gd name="connsiteY2204" fmla="*/ 111055 h 372939"/>
                <a:gd name="connsiteX2205" fmla="*/ 190164 w 1012061"/>
                <a:gd name="connsiteY2205" fmla="*/ 112050 h 372939"/>
                <a:gd name="connsiteX2206" fmla="*/ 190650 w 1012061"/>
                <a:gd name="connsiteY2206" fmla="*/ 113053 h 372939"/>
                <a:gd name="connsiteX2207" fmla="*/ 190768 w 1012061"/>
                <a:gd name="connsiteY2207" fmla="*/ 113689 h 372939"/>
                <a:gd name="connsiteX2208" fmla="*/ 188743 w 1012061"/>
                <a:gd name="connsiteY2208" fmla="*/ 112412 h 372939"/>
                <a:gd name="connsiteX2209" fmla="*/ 188691 w 1012061"/>
                <a:gd name="connsiteY2209" fmla="*/ 111487 h 372939"/>
                <a:gd name="connsiteX2210" fmla="*/ 197154 w 1012061"/>
                <a:gd name="connsiteY2210" fmla="*/ 109891 h 372939"/>
                <a:gd name="connsiteX2211" fmla="*/ 198210 w 1012061"/>
                <a:gd name="connsiteY2211" fmla="*/ 110936 h 372939"/>
                <a:gd name="connsiteX2212" fmla="*/ 199460 w 1012061"/>
                <a:gd name="connsiteY2212" fmla="*/ 111309 h 372939"/>
                <a:gd name="connsiteX2213" fmla="*/ 199732 w 1012061"/>
                <a:gd name="connsiteY2213" fmla="*/ 112324 h 372939"/>
                <a:gd name="connsiteX2214" fmla="*/ 198348 w 1012061"/>
                <a:gd name="connsiteY2214" fmla="*/ 112967 h 372939"/>
                <a:gd name="connsiteX2215" fmla="*/ 196610 w 1012061"/>
                <a:gd name="connsiteY2215" fmla="*/ 110947 h 372939"/>
                <a:gd name="connsiteX2216" fmla="*/ 196674 w 1012061"/>
                <a:gd name="connsiteY2216" fmla="*/ 110477 h 372939"/>
                <a:gd name="connsiteX2217" fmla="*/ 196834 w 1012061"/>
                <a:gd name="connsiteY2217" fmla="*/ 110122 h 372939"/>
                <a:gd name="connsiteX2218" fmla="*/ 162360 w 1012061"/>
                <a:gd name="connsiteY2218" fmla="*/ 105772 h 372939"/>
                <a:gd name="connsiteX2219" fmla="*/ 164216 w 1012061"/>
                <a:gd name="connsiteY2219" fmla="*/ 107449 h 372939"/>
                <a:gd name="connsiteX2220" fmla="*/ 166272 w 1012061"/>
                <a:gd name="connsiteY2220" fmla="*/ 108891 h 372939"/>
                <a:gd name="connsiteX2221" fmla="*/ 167464 w 1012061"/>
                <a:gd name="connsiteY2221" fmla="*/ 109551 h 372939"/>
                <a:gd name="connsiteX2222" fmla="*/ 171092 w 1012061"/>
                <a:gd name="connsiteY2222" fmla="*/ 111025 h 372939"/>
                <a:gd name="connsiteX2223" fmla="*/ 172381 w 1012061"/>
                <a:gd name="connsiteY2223" fmla="*/ 111764 h 372939"/>
                <a:gd name="connsiteX2224" fmla="*/ 172936 w 1012061"/>
                <a:gd name="connsiteY2224" fmla="*/ 114255 h 372939"/>
                <a:gd name="connsiteX2225" fmla="*/ 172521 w 1012061"/>
                <a:gd name="connsiteY2225" fmla="*/ 115107 h 372939"/>
                <a:gd name="connsiteX2226" fmla="*/ 171697 w 1012061"/>
                <a:gd name="connsiteY2226" fmla="*/ 114479 h 372939"/>
                <a:gd name="connsiteX2227" fmla="*/ 167380 w 1012061"/>
                <a:gd name="connsiteY2227" fmla="*/ 113527 h 372939"/>
                <a:gd name="connsiteX2228" fmla="*/ 165927 w 1012061"/>
                <a:gd name="connsiteY2228" fmla="*/ 113421 h 372939"/>
                <a:gd name="connsiteX2229" fmla="*/ 162191 w 1012061"/>
                <a:gd name="connsiteY2229" fmla="*/ 112377 h 372939"/>
                <a:gd name="connsiteX2230" fmla="*/ 161060 w 1012061"/>
                <a:gd name="connsiteY2230" fmla="*/ 111823 h 372939"/>
                <a:gd name="connsiteX2231" fmla="*/ 160252 w 1012061"/>
                <a:gd name="connsiteY2231" fmla="*/ 111096 h 372939"/>
                <a:gd name="connsiteX2232" fmla="*/ 160528 w 1012061"/>
                <a:gd name="connsiteY2232" fmla="*/ 109751 h 372939"/>
                <a:gd name="connsiteX2233" fmla="*/ 161081 w 1012061"/>
                <a:gd name="connsiteY2233" fmla="*/ 108943 h 372939"/>
                <a:gd name="connsiteX2234" fmla="*/ 161418 w 1012061"/>
                <a:gd name="connsiteY2234" fmla="*/ 106689 h 372939"/>
                <a:gd name="connsiteX2235" fmla="*/ 180729 w 1012061"/>
                <a:gd name="connsiteY2235" fmla="*/ 105697 h 372939"/>
                <a:gd name="connsiteX2236" fmla="*/ 181281 w 1012061"/>
                <a:gd name="connsiteY2236" fmla="*/ 107048 h 372939"/>
                <a:gd name="connsiteX2237" fmla="*/ 181701 w 1012061"/>
                <a:gd name="connsiteY2237" fmla="*/ 107584 h 372939"/>
                <a:gd name="connsiteX2238" fmla="*/ 181829 w 1012061"/>
                <a:gd name="connsiteY2238" fmla="*/ 108799 h 372939"/>
                <a:gd name="connsiteX2239" fmla="*/ 180360 w 1012061"/>
                <a:gd name="connsiteY2239" fmla="*/ 108501 h 372939"/>
                <a:gd name="connsiteX2240" fmla="*/ 179302 w 1012061"/>
                <a:gd name="connsiteY2240" fmla="*/ 107076 h 372939"/>
                <a:gd name="connsiteX2241" fmla="*/ 180177 w 1012061"/>
                <a:gd name="connsiteY2241" fmla="*/ 106060 h 372939"/>
                <a:gd name="connsiteX2242" fmla="*/ 167687 w 1012061"/>
                <a:gd name="connsiteY2242" fmla="*/ 104993 h 372939"/>
                <a:gd name="connsiteX2243" fmla="*/ 172314 w 1012061"/>
                <a:gd name="connsiteY2243" fmla="*/ 107154 h 372939"/>
                <a:gd name="connsiteX2244" fmla="*/ 173822 w 1012061"/>
                <a:gd name="connsiteY2244" fmla="*/ 108326 h 372939"/>
                <a:gd name="connsiteX2245" fmla="*/ 176007 w 1012061"/>
                <a:gd name="connsiteY2245" fmla="*/ 111524 h 372939"/>
                <a:gd name="connsiteX2246" fmla="*/ 175362 w 1012061"/>
                <a:gd name="connsiteY2246" fmla="*/ 112154 h 372939"/>
                <a:gd name="connsiteX2247" fmla="*/ 174245 w 1012061"/>
                <a:gd name="connsiteY2247" fmla="*/ 112010 h 372939"/>
                <a:gd name="connsiteX2248" fmla="*/ 173066 w 1012061"/>
                <a:gd name="connsiteY2248" fmla="*/ 111261 h 372939"/>
                <a:gd name="connsiteX2249" fmla="*/ 171531 w 1012061"/>
                <a:gd name="connsiteY2249" fmla="*/ 109920 h 372939"/>
                <a:gd name="connsiteX2250" fmla="*/ 169814 w 1012061"/>
                <a:gd name="connsiteY2250" fmla="*/ 108724 h 372939"/>
                <a:gd name="connsiteX2251" fmla="*/ 167640 w 1012061"/>
                <a:gd name="connsiteY2251" fmla="*/ 107968 h 372939"/>
                <a:gd name="connsiteX2252" fmla="*/ 166279 w 1012061"/>
                <a:gd name="connsiteY2252" fmla="*/ 107740 h 372939"/>
                <a:gd name="connsiteX2253" fmla="*/ 165735 w 1012061"/>
                <a:gd name="connsiteY2253" fmla="*/ 107465 h 372939"/>
                <a:gd name="connsiteX2254" fmla="*/ 166260 w 1012061"/>
                <a:gd name="connsiteY2254" fmla="*/ 105140 h 372939"/>
                <a:gd name="connsiteX2255" fmla="*/ 194988 w 1012061"/>
                <a:gd name="connsiteY2255" fmla="*/ 104659 h 372939"/>
                <a:gd name="connsiteX2256" fmla="*/ 196387 w 1012061"/>
                <a:gd name="connsiteY2256" fmla="*/ 105622 h 372939"/>
                <a:gd name="connsiteX2257" fmla="*/ 197531 w 1012061"/>
                <a:gd name="connsiteY2257" fmla="*/ 104991 h 372939"/>
                <a:gd name="connsiteX2258" fmla="*/ 197487 w 1012061"/>
                <a:gd name="connsiteY2258" fmla="*/ 105817 h 372939"/>
                <a:gd name="connsiteX2259" fmla="*/ 197256 w 1012061"/>
                <a:gd name="connsiteY2259" fmla="*/ 106610 h 372939"/>
                <a:gd name="connsiteX2260" fmla="*/ 195901 w 1012061"/>
                <a:gd name="connsiteY2260" fmla="*/ 108884 h 372939"/>
                <a:gd name="connsiteX2261" fmla="*/ 193634 w 1012061"/>
                <a:gd name="connsiteY2261" fmla="*/ 108360 h 372939"/>
                <a:gd name="connsiteX2262" fmla="*/ 193109 w 1012061"/>
                <a:gd name="connsiteY2262" fmla="*/ 107624 h 372939"/>
                <a:gd name="connsiteX2263" fmla="*/ 192941 w 1012061"/>
                <a:gd name="connsiteY2263" fmla="*/ 107074 h 372939"/>
                <a:gd name="connsiteX2264" fmla="*/ 193267 w 1012061"/>
                <a:gd name="connsiteY2264" fmla="*/ 106728 h 372939"/>
                <a:gd name="connsiteX2265" fmla="*/ 193453 w 1012061"/>
                <a:gd name="connsiteY2265" fmla="*/ 105613 h 372939"/>
                <a:gd name="connsiteX2266" fmla="*/ 194435 w 1012061"/>
                <a:gd name="connsiteY2266" fmla="*/ 105617 h 372939"/>
                <a:gd name="connsiteX2267" fmla="*/ 207383 w 1012061"/>
                <a:gd name="connsiteY2267" fmla="*/ 103873 h 372939"/>
                <a:gd name="connsiteX2268" fmla="*/ 207508 w 1012061"/>
                <a:gd name="connsiteY2268" fmla="*/ 105533 h 372939"/>
                <a:gd name="connsiteX2269" fmla="*/ 208771 w 1012061"/>
                <a:gd name="connsiteY2269" fmla="*/ 106339 h 372939"/>
                <a:gd name="connsiteX2270" fmla="*/ 209097 w 1012061"/>
                <a:gd name="connsiteY2270" fmla="*/ 107558 h 372939"/>
                <a:gd name="connsiteX2271" fmla="*/ 208875 w 1012061"/>
                <a:gd name="connsiteY2271" fmla="*/ 109514 h 372939"/>
                <a:gd name="connsiteX2272" fmla="*/ 207687 w 1012061"/>
                <a:gd name="connsiteY2272" fmla="*/ 111771 h 372939"/>
                <a:gd name="connsiteX2273" fmla="*/ 207158 w 1012061"/>
                <a:gd name="connsiteY2273" fmla="*/ 112369 h 372939"/>
                <a:gd name="connsiteX2274" fmla="*/ 205591 w 1012061"/>
                <a:gd name="connsiteY2274" fmla="*/ 111911 h 372939"/>
                <a:gd name="connsiteX2275" fmla="*/ 205068 w 1012061"/>
                <a:gd name="connsiteY2275" fmla="*/ 111157 h 372939"/>
                <a:gd name="connsiteX2276" fmla="*/ 204859 w 1012061"/>
                <a:gd name="connsiteY2276" fmla="*/ 110566 h 372939"/>
                <a:gd name="connsiteX2277" fmla="*/ 205077 w 1012061"/>
                <a:gd name="connsiteY2277" fmla="*/ 110145 h 372939"/>
                <a:gd name="connsiteX2278" fmla="*/ 203917 w 1012061"/>
                <a:gd name="connsiteY2278" fmla="*/ 109614 h 372939"/>
                <a:gd name="connsiteX2279" fmla="*/ 204664 w 1012061"/>
                <a:gd name="connsiteY2279" fmla="*/ 108751 h 372939"/>
                <a:gd name="connsiteX2280" fmla="*/ 204152 w 1012061"/>
                <a:gd name="connsiteY2280" fmla="*/ 107537 h 372939"/>
                <a:gd name="connsiteX2281" fmla="*/ 200939 w 1012061"/>
                <a:gd name="connsiteY2281" fmla="*/ 108296 h 372939"/>
                <a:gd name="connsiteX2282" fmla="*/ 200010 w 1012061"/>
                <a:gd name="connsiteY2282" fmla="*/ 108323 h 372939"/>
                <a:gd name="connsiteX2283" fmla="*/ 199840 w 1012061"/>
                <a:gd name="connsiteY2283" fmla="*/ 106941 h 372939"/>
                <a:gd name="connsiteX2284" fmla="*/ 199972 w 1012061"/>
                <a:gd name="connsiteY2284" fmla="*/ 106382 h 372939"/>
                <a:gd name="connsiteX2285" fmla="*/ 202440 w 1012061"/>
                <a:gd name="connsiteY2285" fmla="*/ 104639 h 372939"/>
                <a:gd name="connsiteX2286" fmla="*/ 203912 w 1012061"/>
                <a:gd name="connsiteY2286" fmla="*/ 104317 h 372939"/>
                <a:gd name="connsiteX2287" fmla="*/ 205498 w 1012061"/>
                <a:gd name="connsiteY2287" fmla="*/ 104667 h 372939"/>
                <a:gd name="connsiteX2288" fmla="*/ 155884 w 1012061"/>
                <a:gd name="connsiteY2288" fmla="*/ 99871 h 372939"/>
                <a:gd name="connsiteX2289" fmla="*/ 156329 w 1012061"/>
                <a:gd name="connsiteY2289" fmla="*/ 99911 h 372939"/>
                <a:gd name="connsiteX2290" fmla="*/ 158145 w 1012061"/>
                <a:gd name="connsiteY2290" fmla="*/ 101008 h 372939"/>
                <a:gd name="connsiteX2291" fmla="*/ 159345 w 1012061"/>
                <a:gd name="connsiteY2291" fmla="*/ 102885 h 372939"/>
                <a:gd name="connsiteX2292" fmla="*/ 160008 w 1012061"/>
                <a:gd name="connsiteY2292" fmla="*/ 103473 h 372939"/>
                <a:gd name="connsiteX2293" fmla="*/ 160140 w 1012061"/>
                <a:gd name="connsiteY2293" fmla="*/ 105197 h 372939"/>
                <a:gd name="connsiteX2294" fmla="*/ 159700 w 1012061"/>
                <a:gd name="connsiteY2294" fmla="*/ 107165 h 372939"/>
                <a:gd name="connsiteX2295" fmla="*/ 159660 w 1012061"/>
                <a:gd name="connsiteY2295" fmla="*/ 108871 h 372939"/>
                <a:gd name="connsiteX2296" fmla="*/ 158637 w 1012061"/>
                <a:gd name="connsiteY2296" fmla="*/ 109542 h 372939"/>
                <a:gd name="connsiteX2297" fmla="*/ 157408 w 1012061"/>
                <a:gd name="connsiteY2297" fmla="*/ 108497 h 372939"/>
                <a:gd name="connsiteX2298" fmla="*/ 156398 w 1012061"/>
                <a:gd name="connsiteY2298" fmla="*/ 106979 h 372939"/>
                <a:gd name="connsiteX2299" fmla="*/ 155864 w 1012061"/>
                <a:gd name="connsiteY2299" fmla="*/ 105398 h 372939"/>
                <a:gd name="connsiteX2300" fmla="*/ 155394 w 1012061"/>
                <a:gd name="connsiteY2300" fmla="*/ 102815 h 372939"/>
                <a:gd name="connsiteX2301" fmla="*/ 155271 w 1012061"/>
                <a:gd name="connsiteY2301" fmla="*/ 100960 h 372939"/>
                <a:gd name="connsiteX2302" fmla="*/ 47526 w 1012061"/>
                <a:gd name="connsiteY2302" fmla="*/ 96716 h 372939"/>
                <a:gd name="connsiteX2303" fmla="*/ 50302 w 1012061"/>
                <a:gd name="connsiteY2303" fmla="*/ 98367 h 372939"/>
                <a:gd name="connsiteX2304" fmla="*/ 55097 w 1012061"/>
                <a:gd name="connsiteY2304" fmla="*/ 104589 h 372939"/>
                <a:gd name="connsiteX2305" fmla="*/ 57044 w 1012061"/>
                <a:gd name="connsiteY2305" fmla="*/ 105426 h 372939"/>
                <a:gd name="connsiteX2306" fmla="*/ 59627 w 1012061"/>
                <a:gd name="connsiteY2306" fmla="*/ 108249 h 372939"/>
                <a:gd name="connsiteX2307" fmla="*/ 60262 w 1012061"/>
                <a:gd name="connsiteY2307" fmla="*/ 109229 h 372939"/>
                <a:gd name="connsiteX2308" fmla="*/ 59601 w 1012061"/>
                <a:gd name="connsiteY2308" fmla="*/ 111212 h 372939"/>
                <a:gd name="connsiteX2309" fmla="*/ 59035 w 1012061"/>
                <a:gd name="connsiteY2309" fmla="*/ 116872 h 372939"/>
                <a:gd name="connsiteX2310" fmla="*/ 57796 w 1012061"/>
                <a:gd name="connsiteY2310" fmla="*/ 118284 h 372939"/>
                <a:gd name="connsiteX2311" fmla="*/ 54779 w 1012061"/>
                <a:gd name="connsiteY2311" fmla="*/ 117584 h 372939"/>
                <a:gd name="connsiteX2312" fmla="*/ 54746 w 1012061"/>
                <a:gd name="connsiteY2312" fmla="*/ 116590 h 372939"/>
                <a:gd name="connsiteX2313" fmla="*/ 53009 w 1012061"/>
                <a:gd name="connsiteY2313" fmla="*/ 112326 h 372939"/>
                <a:gd name="connsiteX2314" fmla="*/ 49854 w 1012061"/>
                <a:gd name="connsiteY2314" fmla="*/ 109948 h 372939"/>
                <a:gd name="connsiteX2315" fmla="*/ 48618 w 1012061"/>
                <a:gd name="connsiteY2315" fmla="*/ 109825 h 372939"/>
                <a:gd name="connsiteX2316" fmla="*/ 47810 w 1012061"/>
                <a:gd name="connsiteY2316" fmla="*/ 107393 h 372939"/>
                <a:gd name="connsiteX2317" fmla="*/ 46219 w 1012061"/>
                <a:gd name="connsiteY2317" fmla="*/ 104509 h 372939"/>
                <a:gd name="connsiteX2318" fmla="*/ 41406 w 1012061"/>
                <a:gd name="connsiteY2318" fmla="*/ 99243 h 372939"/>
                <a:gd name="connsiteX2319" fmla="*/ 45056 w 1012061"/>
                <a:gd name="connsiteY2319" fmla="*/ 99284 h 372939"/>
                <a:gd name="connsiteX2320" fmla="*/ 46828 w 1012061"/>
                <a:gd name="connsiteY2320" fmla="*/ 98001 h 372939"/>
                <a:gd name="connsiteX2321" fmla="*/ 47234 w 1012061"/>
                <a:gd name="connsiteY2321" fmla="*/ 96977 h 372939"/>
                <a:gd name="connsiteX2322" fmla="*/ 151148 w 1012061"/>
                <a:gd name="connsiteY2322" fmla="*/ 94821 h 372939"/>
                <a:gd name="connsiteX2323" fmla="*/ 160597 w 1012061"/>
                <a:gd name="connsiteY2323" fmla="*/ 97372 h 372939"/>
                <a:gd name="connsiteX2324" fmla="*/ 161092 w 1012061"/>
                <a:gd name="connsiteY2324" fmla="*/ 98497 h 372939"/>
                <a:gd name="connsiteX2325" fmla="*/ 161259 w 1012061"/>
                <a:gd name="connsiteY2325" fmla="*/ 101334 h 372939"/>
                <a:gd name="connsiteX2326" fmla="*/ 159618 w 1012061"/>
                <a:gd name="connsiteY2326" fmla="*/ 100593 h 372939"/>
                <a:gd name="connsiteX2327" fmla="*/ 158328 w 1012061"/>
                <a:gd name="connsiteY2327" fmla="*/ 99464 h 372939"/>
                <a:gd name="connsiteX2328" fmla="*/ 156279 w 1012061"/>
                <a:gd name="connsiteY2328" fmla="*/ 98631 h 372939"/>
                <a:gd name="connsiteX2329" fmla="*/ 153783 w 1012061"/>
                <a:gd name="connsiteY2329" fmla="*/ 98359 h 372939"/>
                <a:gd name="connsiteX2330" fmla="*/ 151956 w 1012061"/>
                <a:gd name="connsiteY2330" fmla="*/ 97626 h 372939"/>
                <a:gd name="connsiteX2331" fmla="*/ 150677 w 1012061"/>
                <a:gd name="connsiteY2331" fmla="*/ 96308 h 372939"/>
                <a:gd name="connsiteX2332" fmla="*/ 150621 w 1012061"/>
                <a:gd name="connsiteY2332" fmla="*/ 95701 h 372939"/>
                <a:gd name="connsiteX2333" fmla="*/ 150747 w 1012061"/>
                <a:gd name="connsiteY2333" fmla="*/ 95207 h 372939"/>
                <a:gd name="connsiteX2334" fmla="*/ 658556 w 1012061"/>
                <a:gd name="connsiteY2334" fmla="*/ 93148 h 372939"/>
                <a:gd name="connsiteX2335" fmla="*/ 661247 w 1012061"/>
                <a:gd name="connsiteY2335" fmla="*/ 93488 h 372939"/>
                <a:gd name="connsiteX2336" fmla="*/ 662439 w 1012061"/>
                <a:gd name="connsiteY2336" fmla="*/ 94417 h 372939"/>
                <a:gd name="connsiteX2337" fmla="*/ 663963 w 1012061"/>
                <a:gd name="connsiteY2337" fmla="*/ 97544 h 372939"/>
                <a:gd name="connsiteX2338" fmla="*/ 663696 w 1012061"/>
                <a:gd name="connsiteY2338" fmla="*/ 98066 h 372939"/>
                <a:gd name="connsiteX2339" fmla="*/ 661909 w 1012061"/>
                <a:gd name="connsiteY2339" fmla="*/ 99621 h 372939"/>
                <a:gd name="connsiteX2340" fmla="*/ 661392 w 1012061"/>
                <a:gd name="connsiteY2340" fmla="*/ 100273 h 372939"/>
                <a:gd name="connsiteX2341" fmla="*/ 659413 w 1012061"/>
                <a:gd name="connsiteY2341" fmla="*/ 104667 h 372939"/>
                <a:gd name="connsiteX2342" fmla="*/ 658059 w 1012061"/>
                <a:gd name="connsiteY2342" fmla="*/ 106825 h 372939"/>
                <a:gd name="connsiteX2343" fmla="*/ 656337 w 1012061"/>
                <a:gd name="connsiteY2343" fmla="*/ 108756 h 372939"/>
                <a:gd name="connsiteX2344" fmla="*/ 652119 w 1012061"/>
                <a:gd name="connsiteY2344" fmla="*/ 112509 h 372939"/>
                <a:gd name="connsiteX2345" fmla="*/ 650830 w 1012061"/>
                <a:gd name="connsiteY2345" fmla="*/ 114323 h 372939"/>
                <a:gd name="connsiteX2346" fmla="*/ 649707 w 1012061"/>
                <a:gd name="connsiteY2346" fmla="*/ 116276 h 372939"/>
                <a:gd name="connsiteX2347" fmla="*/ 648049 w 1012061"/>
                <a:gd name="connsiteY2347" fmla="*/ 118446 h 372939"/>
                <a:gd name="connsiteX2348" fmla="*/ 646135 w 1012061"/>
                <a:gd name="connsiteY2348" fmla="*/ 120359 h 372939"/>
                <a:gd name="connsiteX2349" fmla="*/ 645181 w 1012061"/>
                <a:gd name="connsiteY2349" fmla="*/ 120926 h 372939"/>
                <a:gd name="connsiteX2350" fmla="*/ 642829 w 1012061"/>
                <a:gd name="connsiteY2350" fmla="*/ 121955 h 372939"/>
                <a:gd name="connsiteX2351" fmla="*/ 641476 w 1012061"/>
                <a:gd name="connsiteY2351" fmla="*/ 122354 h 372939"/>
                <a:gd name="connsiteX2352" fmla="*/ 638923 w 1012061"/>
                <a:gd name="connsiteY2352" fmla="*/ 122483 h 372939"/>
                <a:gd name="connsiteX2353" fmla="*/ 631238 w 1012061"/>
                <a:gd name="connsiteY2353" fmla="*/ 124010 h 372939"/>
                <a:gd name="connsiteX2354" fmla="*/ 628714 w 1012061"/>
                <a:gd name="connsiteY2354" fmla="*/ 124188 h 372939"/>
                <a:gd name="connsiteX2355" fmla="*/ 626200 w 1012061"/>
                <a:gd name="connsiteY2355" fmla="*/ 124124 h 372939"/>
                <a:gd name="connsiteX2356" fmla="*/ 621434 w 1012061"/>
                <a:gd name="connsiteY2356" fmla="*/ 123743 h 372939"/>
                <a:gd name="connsiteX2357" fmla="*/ 620439 w 1012061"/>
                <a:gd name="connsiteY2357" fmla="*/ 123543 h 372939"/>
                <a:gd name="connsiteX2358" fmla="*/ 618538 w 1012061"/>
                <a:gd name="connsiteY2358" fmla="*/ 121577 h 372939"/>
                <a:gd name="connsiteX2359" fmla="*/ 616394 w 1012061"/>
                <a:gd name="connsiteY2359" fmla="*/ 120022 h 372939"/>
                <a:gd name="connsiteX2360" fmla="*/ 614501 w 1012061"/>
                <a:gd name="connsiteY2360" fmla="*/ 119853 h 372939"/>
                <a:gd name="connsiteX2361" fmla="*/ 612570 w 1012061"/>
                <a:gd name="connsiteY2361" fmla="*/ 120019 h 372939"/>
                <a:gd name="connsiteX2362" fmla="*/ 598666 w 1012061"/>
                <a:gd name="connsiteY2362" fmla="*/ 120128 h 372939"/>
                <a:gd name="connsiteX2363" fmla="*/ 593805 w 1012061"/>
                <a:gd name="connsiteY2363" fmla="*/ 120417 h 372939"/>
                <a:gd name="connsiteX2364" fmla="*/ 588963 w 1012061"/>
                <a:gd name="connsiteY2364" fmla="*/ 121112 h 372939"/>
                <a:gd name="connsiteX2365" fmla="*/ 586327 w 1012061"/>
                <a:gd name="connsiteY2365" fmla="*/ 120795 h 372939"/>
                <a:gd name="connsiteX2366" fmla="*/ 583714 w 1012061"/>
                <a:gd name="connsiteY2366" fmla="*/ 120016 h 372939"/>
                <a:gd name="connsiteX2367" fmla="*/ 581749 w 1012061"/>
                <a:gd name="connsiteY2367" fmla="*/ 119744 h 372939"/>
                <a:gd name="connsiteX2368" fmla="*/ 579760 w 1012061"/>
                <a:gd name="connsiteY2368" fmla="*/ 119824 h 372939"/>
                <a:gd name="connsiteX2369" fmla="*/ 570633 w 1012061"/>
                <a:gd name="connsiteY2369" fmla="*/ 120998 h 372939"/>
                <a:gd name="connsiteX2370" fmla="*/ 568338 w 1012061"/>
                <a:gd name="connsiteY2370" fmla="*/ 120886 h 372939"/>
                <a:gd name="connsiteX2371" fmla="*/ 563721 w 1012061"/>
                <a:gd name="connsiteY2371" fmla="*/ 119384 h 372939"/>
                <a:gd name="connsiteX2372" fmla="*/ 561036 w 1012061"/>
                <a:gd name="connsiteY2372" fmla="*/ 119083 h 372939"/>
                <a:gd name="connsiteX2373" fmla="*/ 558404 w 1012061"/>
                <a:gd name="connsiteY2373" fmla="*/ 119481 h 372939"/>
                <a:gd name="connsiteX2374" fmla="*/ 555951 w 1012061"/>
                <a:gd name="connsiteY2374" fmla="*/ 120832 h 372939"/>
                <a:gd name="connsiteX2375" fmla="*/ 555022 w 1012061"/>
                <a:gd name="connsiteY2375" fmla="*/ 121738 h 372939"/>
                <a:gd name="connsiteX2376" fmla="*/ 552485 w 1012061"/>
                <a:gd name="connsiteY2376" fmla="*/ 124828 h 372939"/>
                <a:gd name="connsiteX2377" fmla="*/ 551049 w 1012061"/>
                <a:gd name="connsiteY2377" fmla="*/ 127082 h 372939"/>
                <a:gd name="connsiteX2378" fmla="*/ 549965 w 1012061"/>
                <a:gd name="connsiteY2378" fmla="*/ 129886 h 372939"/>
                <a:gd name="connsiteX2379" fmla="*/ 549030 w 1012061"/>
                <a:gd name="connsiteY2379" fmla="*/ 132754 h 372939"/>
                <a:gd name="connsiteX2380" fmla="*/ 548527 w 1012061"/>
                <a:gd name="connsiteY2380" fmla="*/ 135104 h 372939"/>
                <a:gd name="connsiteX2381" fmla="*/ 548501 w 1012061"/>
                <a:gd name="connsiteY2381" fmla="*/ 137557 h 372939"/>
                <a:gd name="connsiteX2382" fmla="*/ 548935 w 1012061"/>
                <a:gd name="connsiteY2382" fmla="*/ 140318 h 372939"/>
                <a:gd name="connsiteX2383" fmla="*/ 549624 w 1012061"/>
                <a:gd name="connsiteY2383" fmla="*/ 143050 h 372939"/>
                <a:gd name="connsiteX2384" fmla="*/ 550388 w 1012061"/>
                <a:gd name="connsiteY2384" fmla="*/ 145136 h 372939"/>
                <a:gd name="connsiteX2385" fmla="*/ 553554 w 1012061"/>
                <a:gd name="connsiteY2385" fmla="*/ 149965 h 372939"/>
                <a:gd name="connsiteX2386" fmla="*/ 554200 w 1012061"/>
                <a:gd name="connsiteY2386" fmla="*/ 150650 h 372939"/>
                <a:gd name="connsiteX2387" fmla="*/ 557640 w 1012061"/>
                <a:gd name="connsiteY2387" fmla="*/ 152008 h 372939"/>
                <a:gd name="connsiteX2388" fmla="*/ 559678 w 1012061"/>
                <a:gd name="connsiteY2388" fmla="*/ 153751 h 372939"/>
                <a:gd name="connsiteX2389" fmla="*/ 561613 w 1012061"/>
                <a:gd name="connsiteY2389" fmla="*/ 158595 h 372939"/>
                <a:gd name="connsiteX2390" fmla="*/ 562991 w 1012061"/>
                <a:gd name="connsiteY2390" fmla="*/ 161063 h 372939"/>
                <a:gd name="connsiteX2391" fmla="*/ 564345 w 1012061"/>
                <a:gd name="connsiteY2391" fmla="*/ 161093 h 372939"/>
                <a:gd name="connsiteX2392" fmla="*/ 565856 w 1012061"/>
                <a:gd name="connsiteY2392" fmla="*/ 160921 h 372939"/>
                <a:gd name="connsiteX2393" fmla="*/ 568484 w 1012061"/>
                <a:gd name="connsiteY2393" fmla="*/ 161234 h 372939"/>
                <a:gd name="connsiteX2394" fmla="*/ 571091 w 1012061"/>
                <a:gd name="connsiteY2394" fmla="*/ 161869 h 372939"/>
                <a:gd name="connsiteX2395" fmla="*/ 573630 w 1012061"/>
                <a:gd name="connsiteY2395" fmla="*/ 160385 h 372939"/>
                <a:gd name="connsiteX2396" fmla="*/ 575046 w 1012061"/>
                <a:gd name="connsiteY2396" fmla="*/ 157577 h 372939"/>
                <a:gd name="connsiteX2397" fmla="*/ 576467 w 1012061"/>
                <a:gd name="connsiteY2397" fmla="*/ 155491 h 372939"/>
                <a:gd name="connsiteX2398" fmla="*/ 579883 w 1012061"/>
                <a:gd name="connsiteY2398" fmla="*/ 151520 h 372939"/>
                <a:gd name="connsiteX2399" fmla="*/ 581829 w 1012061"/>
                <a:gd name="connsiteY2399" fmla="*/ 149684 h 372939"/>
                <a:gd name="connsiteX2400" fmla="*/ 583072 w 1012061"/>
                <a:gd name="connsiteY2400" fmla="*/ 149086 h 372939"/>
                <a:gd name="connsiteX2401" fmla="*/ 584336 w 1012061"/>
                <a:gd name="connsiteY2401" fmla="*/ 149347 h 372939"/>
                <a:gd name="connsiteX2402" fmla="*/ 585407 w 1012061"/>
                <a:gd name="connsiteY2402" fmla="*/ 150399 h 372939"/>
                <a:gd name="connsiteX2403" fmla="*/ 586657 w 1012061"/>
                <a:gd name="connsiteY2403" fmla="*/ 151235 h 372939"/>
                <a:gd name="connsiteX2404" fmla="*/ 589210 w 1012061"/>
                <a:gd name="connsiteY2404" fmla="*/ 151684 h 372939"/>
                <a:gd name="connsiteX2405" fmla="*/ 591786 w 1012061"/>
                <a:gd name="connsiteY2405" fmla="*/ 151403 h 372939"/>
                <a:gd name="connsiteX2406" fmla="*/ 594528 w 1012061"/>
                <a:gd name="connsiteY2406" fmla="*/ 150114 h 372939"/>
                <a:gd name="connsiteX2407" fmla="*/ 595511 w 1012061"/>
                <a:gd name="connsiteY2407" fmla="*/ 149323 h 372939"/>
                <a:gd name="connsiteX2408" fmla="*/ 596325 w 1012061"/>
                <a:gd name="connsiteY2408" fmla="*/ 148317 h 372939"/>
                <a:gd name="connsiteX2409" fmla="*/ 598649 w 1012061"/>
                <a:gd name="connsiteY2409" fmla="*/ 147505 h 372939"/>
                <a:gd name="connsiteX2410" fmla="*/ 604170 w 1012061"/>
                <a:gd name="connsiteY2410" fmla="*/ 147497 h 372939"/>
                <a:gd name="connsiteX2411" fmla="*/ 607025 w 1012061"/>
                <a:gd name="connsiteY2411" fmla="*/ 147788 h 372939"/>
                <a:gd name="connsiteX2412" fmla="*/ 612110 w 1012061"/>
                <a:gd name="connsiteY2412" fmla="*/ 147464 h 372939"/>
                <a:gd name="connsiteX2413" fmla="*/ 612039 w 1012061"/>
                <a:gd name="connsiteY2413" fmla="*/ 146732 h 372939"/>
                <a:gd name="connsiteX2414" fmla="*/ 611057 w 1012061"/>
                <a:gd name="connsiteY2414" fmla="*/ 145957 h 372939"/>
                <a:gd name="connsiteX2415" fmla="*/ 610799 w 1012061"/>
                <a:gd name="connsiteY2415" fmla="*/ 145335 h 372939"/>
                <a:gd name="connsiteX2416" fmla="*/ 611745 w 1012061"/>
                <a:gd name="connsiteY2416" fmla="*/ 144933 h 372939"/>
                <a:gd name="connsiteX2417" fmla="*/ 615021 w 1012061"/>
                <a:gd name="connsiteY2417" fmla="*/ 144028 h 372939"/>
                <a:gd name="connsiteX2418" fmla="*/ 618362 w 1012061"/>
                <a:gd name="connsiteY2418" fmla="*/ 143385 h 372939"/>
                <a:gd name="connsiteX2419" fmla="*/ 620793 w 1012061"/>
                <a:gd name="connsiteY2419" fmla="*/ 143845 h 372939"/>
                <a:gd name="connsiteX2420" fmla="*/ 622965 w 1012061"/>
                <a:gd name="connsiteY2420" fmla="*/ 145106 h 372939"/>
                <a:gd name="connsiteX2421" fmla="*/ 623798 w 1012061"/>
                <a:gd name="connsiteY2421" fmla="*/ 146408 h 372939"/>
                <a:gd name="connsiteX2422" fmla="*/ 624171 w 1012061"/>
                <a:gd name="connsiteY2422" fmla="*/ 147974 h 372939"/>
                <a:gd name="connsiteX2423" fmla="*/ 623333 w 1012061"/>
                <a:gd name="connsiteY2423" fmla="*/ 152029 h 372939"/>
                <a:gd name="connsiteX2424" fmla="*/ 622926 w 1012061"/>
                <a:gd name="connsiteY2424" fmla="*/ 152969 h 372939"/>
                <a:gd name="connsiteX2425" fmla="*/ 621195 w 1012061"/>
                <a:gd name="connsiteY2425" fmla="*/ 153455 h 372939"/>
                <a:gd name="connsiteX2426" fmla="*/ 619562 w 1012061"/>
                <a:gd name="connsiteY2426" fmla="*/ 152917 h 372939"/>
                <a:gd name="connsiteX2427" fmla="*/ 617947 w 1012061"/>
                <a:gd name="connsiteY2427" fmla="*/ 150822 h 372939"/>
                <a:gd name="connsiteX2428" fmla="*/ 615662 w 1012061"/>
                <a:gd name="connsiteY2428" fmla="*/ 150055 h 372939"/>
                <a:gd name="connsiteX2429" fmla="*/ 612421 w 1012061"/>
                <a:gd name="connsiteY2429" fmla="*/ 150688 h 372939"/>
                <a:gd name="connsiteX2430" fmla="*/ 611309 w 1012061"/>
                <a:gd name="connsiteY2430" fmla="*/ 151289 h 372939"/>
                <a:gd name="connsiteX2431" fmla="*/ 610311 w 1012061"/>
                <a:gd name="connsiteY2431" fmla="*/ 152127 h 372939"/>
                <a:gd name="connsiteX2432" fmla="*/ 608480 w 1012061"/>
                <a:gd name="connsiteY2432" fmla="*/ 154299 h 372939"/>
                <a:gd name="connsiteX2433" fmla="*/ 606955 w 1012061"/>
                <a:gd name="connsiteY2433" fmla="*/ 156752 h 372939"/>
                <a:gd name="connsiteX2434" fmla="*/ 603660 w 1012061"/>
                <a:gd name="connsiteY2434" fmla="*/ 160571 h 372939"/>
                <a:gd name="connsiteX2435" fmla="*/ 599847 w 1012061"/>
                <a:gd name="connsiteY2435" fmla="*/ 163888 h 372939"/>
                <a:gd name="connsiteX2436" fmla="*/ 598001 w 1012061"/>
                <a:gd name="connsiteY2436" fmla="*/ 165158 h 372939"/>
                <a:gd name="connsiteX2437" fmla="*/ 595943 w 1012061"/>
                <a:gd name="connsiteY2437" fmla="*/ 166014 h 372939"/>
                <a:gd name="connsiteX2438" fmla="*/ 589331 w 1012061"/>
                <a:gd name="connsiteY2438" fmla="*/ 168211 h 372939"/>
                <a:gd name="connsiteX2439" fmla="*/ 587590 w 1012061"/>
                <a:gd name="connsiteY2439" fmla="*/ 169841 h 372939"/>
                <a:gd name="connsiteX2440" fmla="*/ 586239 w 1012061"/>
                <a:gd name="connsiteY2440" fmla="*/ 171960 h 372939"/>
                <a:gd name="connsiteX2441" fmla="*/ 584740 w 1012061"/>
                <a:gd name="connsiteY2441" fmla="*/ 172682 h 372939"/>
                <a:gd name="connsiteX2442" fmla="*/ 583008 w 1012061"/>
                <a:gd name="connsiteY2442" fmla="*/ 172911 h 372939"/>
                <a:gd name="connsiteX2443" fmla="*/ 581708 w 1012061"/>
                <a:gd name="connsiteY2443" fmla="*/ 172513 h 372939"/>
                <a:gd name="connsiteX2444" fmla="*/ 579073 w 1012061"/>
                <a:gd name="connsiteY2444" fmla="*/ 171318 h 372939"/>
                <a:gd name="connsiteX2445" fmla="*/ 578205 w 1012061"/>
                <a:gd name="connsiteY2445" fmla="*/ 172301 h 372939"/>
                <a:gd name="connsiteX2446" fmla="*/ 578059 w 1012061"/>
                <a:gd name="connsiteY2446" fmla="*/ 173800 h 372939"/>
                <a:gd name="connsiteX2447" fmla="*/ 579356 w 1012061"/>
                <a:gd name="connsiteY2447" fmla="*/ 174334 h 372939"/>
                <a:gd name="connsiteX2448" fmla="*/ 581444 w 1012061"/>
                <a:gd name="connsiteY2448" fmla="*/ 175991 h 372939"/>
                <a:gd name="connsiteX2449" fmla="*/ 583060 w 1012061"/>
                <a:gd name="connsiteY2449" fmla="*/ 178333 h 372939"/>
                <a:gd name="connsiteX2450" fmla="*/ 584096 w 1012061"/>
                <a:gd name="connsiteY2450" fmla="*/ 178836 h 372939"/>
                <a:gd name="connsiteX2451" fmla="*/ 586398 w 1012061"/>
                <a:gd name="connsiteY2451" fmla="*/ 179597 h 372939"/>
                <a:gd name="connsiteX2452" fmla="*/ 587366 w 1012061"/>
                <a:gd name="connsiteY2452" fmla="*/ 180325 h 372939"/>
                <a:gd name="connsiteX2453" fmla="*/ 589101 w 1012061"/>
                <a:gd name="connsiteY2453" fmla="*/ 182330 h 372939"/>
                <a:gd name="connsiteX2454" fmla="*/ 591835 w 1012061"/>
                <a:gd name="connsiteY2454" fmla="*/ 186995 h 372939"/>
                <a:gd name="connsiteX2455" fmla="*/ 592766 w 1012061"/>
                <a:gd name="connsiteY2455" fmla="*/ 189519 h 372939"/>
                <a:gd name="connsiteX2456" fmla="*/ 594285 w 1012061"/>
                <a:gd name="connsiteY2456" fmla="*/ 191578 h 372939"/>
                <a:gd name="connsiteX2457" fmla="*/ 598908 w 1012061"/>
                <a:gd name="connsiteY2457" fmla="*/ 195076 h 372939"/>
                <a:gd name="connsiteX2458" fmla="*/ 599164 w 1012061"/>
                <a:gd name="connsiteY2458" fmla="*/ 196064 h 372939"/>
                <a:gd name="connsiteX2459" fmla="*/ 598879 w 1012061"/>
                <a:gd name="connsiteY2459" fmla="*/ 197214 h 372939"/>
                <a:gd name="connsiteX2460" fmla="*/ 599236 w 1012061"/>
                <a:gd name="connsiteY2460" fmla="*/ 198262 h 372939"/>
                <a:gd name="connsiteX2461" fmla="*/ 600887 w 1012061"/>
                <a:gd name="connsiteY2461" fmla="*/ 200272 h 372939"/>
                <a:gd name="connsiteX2462" fmla="*/ 601280 w 1012061"/>
                <a:gd name="connsiteY2462" fmla="*/ 201567 h 372939"/>
                <a:gd name="connsiteX2463" fmla="*/ 599474 w 1012061"/>
                <a:gd name="connsiteY2463" fmla="*/ 203210 h 372939"/>
                <a:gd name="connsiteX2464" fmla="*/ 599374 w 1012061"/>
                <a:gd name="connsiteY2464" fmla="*/ 205592 h 372939"/>
                <a:gd name="connsiteX2465" fmla="*/ 598266 w 1012061"/>
                <a:gd name="connsiteY2465" fmla="*/ 208796 h 372939"/>
                <a:gd name="connsiteX2466" fmla="*/ 598016 w 1012061"/>
                <a:gd name="connsiteY2466" fmla="*/ 209877 h 372939"/>
                <a:gd name="connsiteX2467" fmla="*/ 598050 w 1012061"/>
                <a:gd name="connsiteY2467" fmla="*/ 210854 h 372939"/>
                <a:gd name="connsiteX2468" fmla="*/ 598828 w 1012061"/>
                <a:gd name="connsiteY2468" fmla="*/ 211767 h 372939"/>
                <a:gd name="connsiteX2469" fmla="*/ 599735 w 1012061"/>
                <a:gd name="connsiteY2469" fmla="*/ 212489 h 372939"/>
                <a:gd name="connsiteX2470" fmla="*/ 600978 w 1012061"/>
                <a:gd name="connsiteY2470" fmla="*/ 212869 h 372939"/>
                <a:gd name="connsiteX2471" fmla="*/ 602066 w 1012061"/>
                <a:gd name="connsiteY2471" fmla="*/ 213499 h 372939"/>
                <a:gd name="connsiteX2472" fmla="*/ 604159 w 1012061"/>
                <a:gd name="connsiteY2472" fmla="*/ 215996 h 372939"/>
                <a:gd name="connsiteX2473" fmla="*/ 605252 w 1012061"/>
                <a:gd name="connsiteY2473" fmla="*/ 216654 h 372939"/>
                <a:gd name="connsiteX2474" fmla="*/ 605945 w 1012061"/>
                <a:gd name="connsiteY2474" fmla="*/ 217564 h 372939"/>
                <a:gd name="connsiteX2475" fmla="*/ 605873 w 1012061"/>
                <a:gd name="connsiteY2475" fmla="*/ 218920 h 372939"/>
                <a:gd name="connsiteX2476" fmla="*/ 606828 w 1012061"/>
                <a:gd name="connsiteY2476" fmla="*/ 219714 h 372939"/>
                <a:gd name="connsiteX2477" fmla="*/ 607707 w 1012061"/>
                <a:gd name="connsiteY2477" fmla="*/ 221131 h 372939"/>
                <a:gd name="connsiteX2478" fmla="*/ 609050 w 1012061"/>
                <a:gd name="connsiteY2478" fmla="*/ 221474 h 372939"/>
                <a:gd name="connsiteX2479" fmla="*/ 609678 w 1012061"/>
                <a:gd name="connsiteY2479" fmla="*/ 221068 h 372939"/>
                <a:gd name="connsiteX2480" fmla="*/ 610108 w 1012061"/>
                <a:gd name="connsiteY2480" fmla="*/ 220460 h 372939"/>
                <a:gd name="connsiteX2481" fmla="*/ 611207 w 1012061"/>
                <a:gd name="connsiteY2481" fmla="*/ 220689 h 372939"/>
                <a:gd name="connsiteX2482" fmla="*/ 611857 w 1012061"/>
                <a:gd name="connsiteY2482" fmla="*/ 221675 h 372939"/>
                <a:gd name="connsiteX2483" fmla="*/ 612233 w 1012061"/>
                <a:gd name="connsiteY2483" fmla="*/ 222943 h 372939"/>
                <a:gd name="connsiteX2484" fmla="*/ 612354 w 1012061"/>
                <a:gd name="connsiteY2484" fmla="*/ 224340 h 372939"/>
                <a:gd name="connsiteX2485" fmla="*/ 612300 w 1012061"/>
                <a:gd name="connsiteY2485" fmla="*/ 226993 h 372939"/>
                <a:gd name="connsiteX2486" fmla="*/ 611745 w 1012061"/>
                <a:gd name="connsiteY2486" fmla="*/ 227943 h 372939"/>
                <a:gd name="connsiteX2487" fmla="*/ 610536 w 1012061"/>
                <a:gd name="connsiteY2487" fmla="*/ 227897 h 372939"/>
                <a:gd name="connsiteX2488" fmla="*/ 608372 w 1012061"/>
                <a:gd name="connsiteY2488" fmla="*/ 226807 h 372939"/>
                <a:gd name="connsiteX2489" fmla="*/ 608268 w 1012061"/>
                <a:gd name="connsiteY2489" fmla="*/ 227594 h 372939"/>
                <a:gd name="connsiteX2490" fmla="*/ 608416 w 1012061"/>
                <a:gd name="connsiteY2490" fmla="*/ 228358 h 372939"/>
                <a:gd name="connsiteX2491" fmla="*/ 607314 w 1012061"/>
                <a:gd name="connsiteY2491" fmla="*/ 228611 h 372939"/>
                <a:gd name="connsiteX2492" fmla="*/ 606051 w 1012061"/>
                <a:gd name="connsiteY2492" fmla="*/ 228505 h 372939"/>
                <a:gd name="connsiteX2493" fmla="*/ 602881 w 1012061"/>
                <a:gd name="connsiteY2493" fmla="*/ 228609 h 372939"/>
                <a:gd name="connsiteX2494" fmla="*/ 597037 w 1012061"/>
                <a:gd name="connsiteY2494" fmla="*/ 230255 h 372939"/>
                <a:gd name="connsiteX2495" fmla="*/ 594984 w 1012061"/>
                <a:gd name="connsiteY2495" fmla="*/ 231227 h 372939"/>
                <a:gd name="connsiteX2496" fmla="*/ 593656 w 1012061"/>
                <a:gd name="connsiteY2496" fmla="*/ 232997 h 372939"/>
                <a:gd name="connsiteX2497" fmla="*/ 593563 w 1012061"/>
                <a:gd name="connsiteY2497" fmla="*/ 234219 h 372939"/>
                <a:gd name="connsiteX2498" fmla="*/ 594077 w 1012061"/>
                <a:gd name="connsiteY2498" fmla="*/ 236799 h 372939"/>
                <a:gd name="connsiteX2499" fmla="*/ 593300 w 1012061"/>
                <a:gd name="connsiteY2499" fmla="*/ 237702 h 372939"/>
                <a:gd name="connsiteX2500" fmla="*/ 590622 w 1012061"/>
                <a:gd name="connsiteY2500" fmla="*/ 238046 h 372939"/>
                <a:gd name="connsiteX2501" fmla="*/ 586887 w 1012061"/>
                <a:gd name="connsiteY2501" fmla="*/ 237353 h 372939"/>
                <a:gd name="connsiteX2502" fmla="*/ 584623 w 1012061"/>
                <a:gd name="connsiteY2502" fmla="*/ 236665 h 372939"/>
                <a:gd name="connsiteX2503" fmla="*/ 583362 w 1012061"/>
                <a:gd name="connsiteY2503" fmla="*/ 236087 h 372939"/>
                <a:gd name="connsiteX2504" fmla="*/ 581719 w 1012061"/>
                <a:gd name="connsiteY2504" fmla="*/ 234351 h 372939"/>
                <a:gd name="connsiteX2505" fmla="*/ 581103 w 1012061"/>
                <a:gd name="connsiteY2505" fmla="*/ 232131 h 372939"/>
                <a:gd name="connsiteX2506" fmla="*/ 582313 w 1012061"/>
                <a:gd name="connsiteY2506" fmla="*/ 225526 h 372939"/>
                <a:gd name="connsiteX2507" fmla="*/ 582656 w 1012061"/>
                <a:gd name="connsiteY2507" fmla="*/ 224678 h 372939"/>
                <a:gd name="connsiteX2508" fmla="*/ 583245 w 1012061"/>
                <a:gd name="connsiteY2508" fmla="*/ 223923 h 372939"/>
                <a:gd name="connsiteX2509" fmla="*/ 583868 w 1012061"/>
                <a:gd name="connsiteY2509" fmla="*/ 222723 h 372939"/>
                <a:gd name="connsiteX2510" fmla="*/ 584012 w 1012061"/>
                <a:gd name="connsiteY2510" fmla="*/ 221312 h 372939"/>
                <a:gd name="connsiteX2511" fmla="*/ 582228 w 1012061"/>
                <a:gd name="connsiteY2511" fmla="*/ 219588 h 372939"/>
                <a:gd name="connsiteX2512" fmla="*/ 579540 w 1012061"/>
                <a:gd name="connsiteY2512" fmla="*/ 218912 h 372939"/>
                <a:gd name="connsiteX2513" fmla="*/ 577259 w 1012061"/>
                <a:gd name="connsiteY2513" fmla="*/ 217475 h 372939"/>
                <a:gd name="connsiteX2514" fmla="*/ 568450 w 1012061"/>
                <a:gd name="connsiteY2514" fmla="*/ 209423 h 372939"/>
                <a:gd name="connsiteX2515" fmla="*/ 567953 w 1012061"/>
                <a:gd name="connsiteY2515" fmla="*/ 208644 h 372939"/>
                <a:gd name="connsiteX2516" fmla="*/ 567934 w 1012061"/>
                <a:gd name="connsiteY2516" fmla="*/ 207311 h 372939"/>
                <a:gd name="connsiteX2517" fmla="*/ 568288 w 1012061"/>
                <a:gd name="connsiteY2517" fmla="*/ 206063 h 372939"/>
                <a:gd name="connsiteX2518" fmla="*/ 571183 w 1012061"/>
                <a:gd name="connsiteY2518" fmla="*/ 201662 h 372939"/>
                <a:gd name="connsiteX2519" fmla="*/ 571546 w 1012061"/>
                <a:gd name="connsiteY2519" fmla="*/ 200819 h 372939"/>
                <a:gd name="connsiteX2520" fmla="*/ 571900 w 1012061"/>
                <a:gd name="connsiteY2520" fmla="*/ 197346 h 372939"/>
                <a:gd name="connsiteX2521" fmla="*/ 571823 w 1012061"/>
                <a:gd name="connsiteY2521" fmla="*/ 194486 h 372939"/>
                <a:gd name="connsiteX2522" fmla="*/ 571499 w 1012061"/>
                <a:gd name="connsiteY2522" fmla="*/ 191625 h 372939"/>
                <a:gd name="connsiteX2523" fmla="*/ 570127 w 1012061"/>
                <a:gd name="connsiteY2523" fmla="*/ 189825 h 372939"/>
                <a:gd name="connsiteX2524" fmla="*/ 567679 w 1012061"/>
                <a:gd name="connsiteY2524" fmla="*/ 189279 h 372939"/>
                <a:gd name="connsiteX2525" fmla="*/ 565150 w 1012061"/>
                <a:gd name="connsiteY2525" fmla="*/ 189190 h 372939"/>
                <a:gd name="connsiteX2526" fmla="*/ 562686 w 1012061"/>
                <a:gd name="connsiteY2526" fmla="*/ 189765 h 372939"/>
                <a:gd name="connsiteX2527" fmla="*/ 560261 w 1012061"/>
                <a:gd name="connsiteY2527" fmla="*/ 191204 h 372939"/>
                <a:gd name="connsiteX2528" fmla="*/ 555782 w 1012061"/>
                <a:gd name="connsiteY2528" fmla="*/ 194236 h 372939"/>
                <a:gd name="connsiteX2529" fmla="*/ 554005 w 1012061"/>
                <a:gd name="connsiteY2529" fmla="*/ 196000 h 372939"/>
                <a:gd name="connsiteX2530" fmla="*/ 553852 w 1012061"/>
                <a:gd name="connsiteY2530" fmla="*/ 198290 h 372939"/>
                <a:gd name="connsiteX2531" fmla="*/ 554878 w 1012061"/>
                <a:gd name="connsiteY2531" fmla="*/ 200536 h 372939"/>
                <a:gd name="connsiteX2532" fmla="*/ 556203 w 1012061"/>
                <a:gd name="connsiteY2532" fmla="*/ 202585 h 372939"/>
                <a:gd name="connsiteX2533" fmla="*/ 556910 w 1012061"/>
                <a:gd name="connsiteY2533" fmla="*/ 204827 h 372939"/>
                <a:gd name="connsiteX2534" fmla="*/ 557888 w 1012061"/>
                <a:gd name="connsiteY2534" fmla="*/ 212779 h 372939"/>
                <a:gd name="connsiteX2535" fmla="*/ 557855 w 1012061"/>
                <a:gd name="connsiteY2535" fmla="*/ 213676 h 372939"/>
                <a:gd name="connsiteX2536" fmla="*/ 556703 w 1012061"/>
                <a:gd name="connsiteY2536" fmla="*/ 215990 h 372939"/>
                <a:gd name="connsiteX2537" fmla="*/ 556249 w 1012061"/>
                <a:gd name="connsiteY2537" fmla="*/ 221159 h 372939"/>
                <a:gd name="connsiteX2538" fmla="*/ 556737 w 1012061"/>
                <a:gd name="connsiteY2538" fmla="*/ 228455 h 372939"/>
                <a:gd name="connsiteX2539" fmla="*/ 557523 w 1012061"/>
                <a:gd name="connsiteY2539" fmla="*/ 232936 h 372939"/>
                <a:gd name="connsiteX2540" fmla="*/ 557188 w 1012061"/>
                <a:gd name="connsiteY2540" fmla="*/ 235371 h 372939"/>
                <a:gd name="connsiteX2541" fmla="*/ 555092 w 1012061"/>
                <a:gd name="connsiteY2541" fmla="*/ 240599 h 372939"/>
                <a:gd name="connsiteX2542" fmla="*/ 554457 w 1012061"/>
                <a:gd name="connsiteY2542" fmla="*/ 243470 h 372939"/>
                <a:gd name="connsiteX2543" fmla="*/ 554409 w 1012061"/>
                <a:gd name="connsiteY2543" fmla="*/ 244654 h 372939"/>
                <a:gd name="connsiteX2544" fmla="*/ 556877 w 1012061"/>
                <a:gd name="connsiteY2544" fmla="*/ 250119 h 372939"/>
                <a:gd name="connsiteX2545" fmla="*/ 557445 w 1012061"/>
                <a:gd name="connsiteY2545" fmla="*/ 252281 h 372939"/>
                <a:gd name="connsiteX2546" fmla="*/ 557750 w 1012061"/>
                <a:gd name="connsiteY2546" fmla="*/ 254520 h 372939"/>
                <a:gd name="connsiteX2547" fmla="*/ 555124 w 1012061"/>
                <a:gd name="connsiteY2547" fmla="*/ 253424 h 372939"/>
                <a:gd name="connsiteX2548" fmla="*/ 553904 w 1012061"/>
                <a:gd name="connsiteY2548" fmla="*/ 253480 h 372939"/>
                <a:gd name="connsiteX2549" fmla="*/ 552673 w 1012061"/>
                <a:gd name="connsiteY2549" fmla="*/ 253818 h 372939"/>
                <a:gd name="connsiteX2550" fmla="*/ 549937 w 1012061"/>
                <a:gd name="connsiteY2550" fmla="*/ 254176 h 372939"/>
                <a:gd name="connsiteX2551" fmla="*/ 547162 w 1012061"/>
                <a:gd name="connsiteY2551" fmla="*/ 254223 h 372939"/>
                <a:gd name="connsiteX2552" fmla="*/ 546191 w 1012061"/>
                <a:gd name="connsiteY2552" fmla="*/ 254637 h 372939"/>
                <a:gd name="connsiteX2553" fmla="*/ 544219 w 1012061"/>
                <a:gd name="connsiteY2553" fmla="*/ 256090 h 372939"/>
                <a:gd name="connsiteX2554" fmla="*/ 543024 w 1012061"/>
                <a:gd name="connsiteY2554" fmla="*/ 256678 h 372939"/>
                <a:gd name="connsiteX2555" fmla="*/ 541982 w 1012061"/>
                <a:gd name="connsiteY2555" fmla="*/ 256790 h 372939"/>
                <a:gd name="connsiteX2556" fmla="*/ 538447 w 1012061"/>
                <a:gd name="connsiteY2556" fmla="*/ 254964 h 372939"/>
                <a:gd name="connsiteX2557" fmla="*/ 536361 w 1012061"/>
                <a:gd name="connsiteY2557" fmla="*/ 252982 h 372939"/>
                <a:gd name="connsiteX2558" fmla="*/ 534439 w 1012061"/>
                <a:gd name="connsiteY2558" fmla="*/ 250834 h 372939"/>
                <a:gd name="connsiteX2559" fmla="*/ 534089 w 1012061"/>
                <a:gd name="connsiteY2559" fmla="*/ 248380 h 372939"/>
                <a:gd name="connsiteX2560" fmla="*/ 534759 w 1012061"/>
                <a:gd name="connsiteY2560" fmla="*/ 245862 h 372939"/>
                <a:gd name="connsiteX2561" fmla="*/ 535709 w 1012061"/>
                <a:gd name="connsiteY2561" fmla="*/ 243171 h 372939"/>
                <a:gd name="connsiteX2562" fmla="*/ 537609 w 1012061"/>
                <a:gd name="connsiteY2562" fmla="*/ 238697 h 372939"/>
                <a:gd name="connsiteX2563" fmla="*/ 537521 w 1012061"/>
                <a:gd name="connsiteY2563" fmla="*/ 235695 h 372939"/>
                <a:gd name="connsiteX2564" fmla="*/ 538170 w 1012061"/>
                <a:gd name="connsiteY2564" fmla="*/ 233235 h 372939"/>
                <a:gd name="connsiteX2565" fmla="*/ 539256 w 1012061"/>
                <a:gd name="connsiteY2565" fmla="*/ 230848 h 372939"/>
                <a:gd name="connsiteX2566" fmla="*/ 539648 w 1012061"/>
                <a:gd name="connsiteY2566" fmla="*/ 228641 h 372939"/>
                <a:gd name="connsiteX2567" fmla="*/ 539911 w 1012061"/>
                <a:gd name="connsiteY2567" fmla="*/ 220021 h 372939"/>
                <a:gd name="connsiteX2568" fmla="*/ 539642 w 1012061"/>
                <a:gd name="connsiteY2568" fmla="*/ 219255 h 372939"/>
                <a:gd name="connsiteX2569" fmla="*/ 537037 w 1012061"/>
                <a:gd name="connsiteY2569" fmla="*/ 214134 h 372939"/>
                <a:gd name="connsiteX2570" fmla="*/ 536736 w 1012061"/>
                <a:gd name="connsiteY2570" fmla="*/ 213276 h 372939"/>
                <a:gd name="connsiteX2571" fmla="*/ 536719 w 1012061"/>
                <a:gd name="connsiteY2571" fmla="*/ 211894 h 372939"/>
                <a:gd name="connsiteX2572" fmla="*/ 537000 w 1012061"/>
                <a:gd name="connsiteY2572" fmla="*/ 210575 h 372939"/>
                <a:gd name="connsiteX2573" fmla="*/ 537056 w 1012061"/>
                <a:gd name="connsiteY2573" fmla="*/ 209386 h 372939"/>
                <a:gd name="connsiteX2574" fmla="*/ 536458 w 1012061"/>
                <a:gd name="connsiteY2574" fmla="*/ 208476 h 372939"/>
                <a:gd name="connsiteX2575" fmla="*/ 535404 w 1012061"/>
                <a:gd name="connsiteY2575" fmla="*/ 207644 h 372939"/>
                <a:gd name="connsiteX2576" fmla="*/ 534128 w 1012061"/>
                <a:gd name="connsiteY2576" fmla="*/ 207281 h 372939"/>
                <a:gd name="connsiteX2577" fmla="*/ 531429 w 1012061"/>
                <a:gd name="connsiteY2577" fmla="*/ 207641 h 372939"/>
                <a:gd name="connsiteX2578" fmla="*/ 526002 w 1012061"/>
                <a:gd name="connsiteY2578" fmla="*/ 209021 h 372939"/>
                <a:gd name="connsiteX2579" fmla="*/ 524400 w 1012061"/>
                <a:gd name="connsiteY2579" fmla="*/ 207806 h 372939"/>
                <a:gd name="connsiteX2580" fmla="*/ 523195 w 1012061"/>
                <a:gd name="connsiteY2580" fmla="*/ 205931 h 372939"/>
                <a:gd name="connsiteX2581" fmla="*/ 522424 w 1012061"/>
                <a:gd name="connsiteY2581" fmla="*/ 203322 h 372939"/>
                <a:gd name="connsiteX2582" fmla="*/ 521975 w 1012061"/>
                <a:gd name="connsiteY2582" fmla="*/ 200588 h 372939"/>
                <a:gd name="connsiteX2583" fmla="*/ 522182 w 1012061"/>
                <a:gd name="connsiteY2583" fmla="*/ 198020 h 372939"/>
                <a:gd name="connsiteX2584" fmla="*/ 522984 w 1012061"/>
                <a:gd name="connsiteY2584" fmla="*/ 195539 h 372939"/>
                <a:gd name="connsiteX2585" fmla="*/ 522338 w 1012061"/>
                <a:gd name="connsiteY2585" fmla="*/ 193804 h 372939"/>
                <a:gd name="connsiteX2586" fmla="*/ 521338 w 1012061"/>
                <a:gd name="connsiteY2586" fmla="*/ 191915 h 372939"/>
                <a:gd name="connsiteX2587" fmla="*/ 521330 w 1012061"/>
                <a:gd name="connsiteY2587" fmla="*/ 190942 h 372939"/>
                <a:gd name="connsiteX2588" fmla="*/ 521898 w 1012061"/>
                <a:gd name="connsiteY2588" fmla="*/ 190091 h 372939"/>
                <a:gd name="connsiteX2589" fmla="*/ 522878 w 1012061"/>
                <a:gd name="connsiteY2589" fmla="*/ 189380 h 372939"/>
                <a:gd name="connsiteX2590" fmla="*/ 524076 w 1012061"/>
                <a:gd name="connsiteY2590" fmla="*/ 188965 h 372939"/>
                <a:gd name="connsiteX2591" fmla="*/ 525197 w 1012061"/>
                <a:gd name="connsiteY2591" fmla="*/ 188213 h 372939"/>
                <a:gd name="connsiteX2592" fmla="*/ 528159 w 1012061"/>
                <a:gd name="connsiteY2592" fmla="*/ 185679 h 372939"/>
                <a:gd name="connsiteX2593" fmla="*/ 529114 w 1012061"/>
                <a:gd name="connsiteY2593" fmla="*/ 183453 h 372939"/>
                <a:gd name="connsiteX2594" fmla="*/ 529176 w 1012061"/>
                <a:gd name="connsiteY2594" fmla="*/ 180714 h 372939"/>
                <a:gd name="connsiteX2595" fmla="*/ 529931 w 1012061"/>
                <a:gd name="connsiteY2595" fmla="*/ 178093 h 372939"/>
                <a:gd name="connsiteX2596" fmla="*/ 531446 w 1012061"/>
                <a:gd name="connsiteY2596" fmla="*/ 175680 h 372939"/>
                <a:gd name="connsiteX2597" fmla="*/ 533238 w 1012061"/>
                <a:gd name="connsiteY2597" fmla="*/ 173440 h 372939"/>
                <a:gd name="connsiteX2598" fmla="*/ 533822 w 1012061"/>
                <a:gd name="connsiteY2598" fmla="*/ 171131 h 372939"/>
                <a:gd name="connsiteX2599" fmla="*/ 532939 w 1012061"/>
                <a:gd name="connsiteY2599" fmla="*/ 167467 h 372939"/>
                <a:gd name="connsiteX2600" fmla="*/ 533288 w 1012061"/>
                <a:gd name="connsiteY2600" fmla="*/ 165800 h 372939"/>
                <a:gd name="connsiteX2601" fmla="*/ 532984 w 1012061"/>
                <a:gd name="connsiteY2601" fmla="*/ 163841 h 372939"/>
                <a:gd name="connsiteX2602" fmla="*/ 532954 w 1012061"/>
                <a:gd name="connsiteY2602" fmla="*/ 161905 h 372939"/>
                <a:gd name="connsiteX2603" fmla="*/ 534064 w 1012061"/>
                <a:gd name="connsiteY2603" fmla="*/ 158262 h 372939"/>
                <a:gd name="connsiteX2604" fmla="*/ 537359 w 1012061"/>
                <a:gd name="connsiteY2604" fmla="*/ 150816 h 372939"/>
                <a:gd name="connsiteX2605" fmla="*/ 540572 w 1012061"/>
                <a:gd name="connsiteY2605" fmla="*/ 146861 h 372939"/>
                <a:gd name="connsiteX2606" fmla="*/ 541850 w 1012061"/>
                <a:gd name="connsiteY2606" fmla="*/ 145818 h 372939"/>
                <a:gd name="connsiteX2607" fmla="*/ 543517 w 1012061"/>
                <a:gd name="connsiteY2607" fmla="*/ 147658 h 372939"/>
                <a:gd name="connsiteX2608" fmla="*/ 544792 w 1012061"/>
                <a:gd name="connsiteY2608" fmla="*/ 149824 h 372939"/>
                <a:gd name="connsiteX2609" fmla="*/ 544811 w 1012061"/>
                <a:gd name="connsiteY2609" fmla="*/ 147864 h 372939"/>
                <a:gd name="connsiteX2610" fmla="*/ 544472 w 1012061"/>
                <a:gd name="connsiteY2610" fmla="*/ 145942 h 372939"/>
                <a:gd name="connsiteX2611" fmla="*/ 543185 w 1012061"/>
                <a:gd name="connsiteY2611" fmla="*/ 141459 h 372939"/>
                <a:gd name="connsiteX2612" fmla="*/ 542083 w 1012061"/>
                <a:gd name="connsiteY2612" fmla="*/ 132722 h 372939"/>
                <a:gd name="connsiteX2613" fmla="*/ 542392 w 1012061"/>
                <a:gd name="connsiteY2613" fmla="*/ 131894 h 372939"/>
                <a:gd name="connsiteX2614" fmla="*/ 543513 w 1012061"/>
                <a:gd name="connsiteY2614" fmla="*/ 132025 h 372939"/>
                <a:gd name="connsiteX2615" fmla="*/ 544658 w 1012061"/>
                <a:gd name="connsiteY2615" fmla="*/ 131254 h 372939"/>
                <a:gd name="connsiteX2616" fmla="*/ 545262 w 1012061"/>
                <a:gd name="connsiteY2616" fmla="*/ 129879 h 372939"/>
                <a:gd name="connsiteX2617" fmla="*/ 544070 w 1012061"/>
                <a:gd name="connsiteY2617" fmla="*/ 126632 h 372939"/>
                <a:gd name="connsiteX2618" fmla="*/ 544016 w 1012061"/>
                <a:gd name="connsiteY2618" fmla="*/ 125488 h 372939"/>
                <a:gd name="connsiteX2619" fmla="*/ 546316 w 1012061"/>
                <a:gd name="connsiteY2619" fmla="*/ 120924 h 372939"/>
                <a:gd name="connsiteX2620" fmla="*/ 548190 w 1012061"/>
                <a:gd name="connsiteY2620" fmla="*/ 119262 h 372939"/>
                <a:gd name="connsiteX2621" fmla="*/ 549011 w 1012061"/>
                <a:gd name="connsiteY2621" fmla="*/ 118236 h 372939"/>
                <a:gd name="connsiteX2622" fmla="*/ 549481 w 1012061"/>
                <a:gd name="connsiteY2622" fmla="*/ 115452 h 372939"/>
                <a:gd name="connsiteX2623" fmla="*/ 550457 w 1012061"/>
                <a:gd name="connsiteY2623" fmla="*/ 114399 h 372939"/>
                <a:gd name="connsiteX2624" fmla="*/ 551694 w 1012061"/>
                <a:gd name="connsiteY2624" fmla="*/ 113646 h 372939"/>
                <a:gd name="connsiteX2625" fmla="*/ 553314 w 1012061"/>
                <a:gd name="connsiteY2625" fmla="*/ 111721 h 372939"/>
                <a:gd name="connsiteX2626" fmla="*/ 554193 w 1012061"/>
                <a:gd name="connsiteY2626" fmla="*/ 109298 h 372939"/>
                <a:gd name="connsiteX2627" fmla="*/ 554731 w 1012061"/>
                <a:gd name="connsiteY2627" fmla="*/ 109113 h 372939"/>
                <a:gd name="connsiteX2628" fmla="*/ 555364 w 1012061"/>
                <a:gd name="connsiteY2628" fmla="*/ 109025 h 372939"/>
                <a:gd name="connsiteX2629" fmla="*/ 556337 w 1012061"/>
                <a:gd name="connsiteY2629" fmla="*/ 111139 h 372939"/>
                <a:gd name="connsiteX2630" fmla="*/ 557432 w 1012061"/>
                <a:gd name="connsiteY2630" fmla="*/ 111999 h 372939"/>
                <a:gd name="connsiteX2631" fmla="*/ 559657 w 1012061"/>
                <a:gd name="connsiteY2631" fmla="*/ 112688 h 372939"/>
                <a:gd name="connsiteX2632" fmla="*/ 561557 w 1012061"/>
                <a:gd name="connsiteY2632" fmla="*/ 111872 h 372939"/>
                <a:gd name="connsiteX2633" fmla="*/ 562086 w 1012061"/>
                <a:gd name="connsiteY2633" fmla="*/ 110811 h 372939"/>
                <a:gd name="connsiteX2634" fmla="*/ 562802 w 1012061"/>
                <a:gd name="connsiteY2634" fmla="*/ 109899 h 372939"/>
                <a:gd name="connsiteX2635" fmla="*/ 563956 w 1012061"/>
                <a:gd name="connsiteY2635" fmla="*/ 108947 h 372939"/>
                <a:gd name="connsiteX2636" fmla="*/ 564925 w 1012061"/>
                <a:gd name="connsiteY2636" fmla="*/ 107864 h 372939"/>
                <a:gd name="connsiteX2637" fmla="*/ 566003 w 1012061"/>
                <a:gd name="connsiteY2637" fmla="*/ 105352 h 372939"/>
                <a:gd name="connsiteX2638" fmla="*/ 567426 w 1012061"/>
                <a:gd name="connsiteY2638" fmla="*/ 103061 h 372939"/>
                <a:gd name="connsiteX2639" fmla="*/ 568402 w 1012061"/>
                <a:gd name="connsiteY2639" fmla="*/ 102262 h 372939"/>
                <a:gd name="connsiteX2640" fmla="*/ 569581 w 1012061"/>
                <a:gd name="connsiteY2640" fmla="*/ 101756 h 372939"/>
                <a:gd name="connsiteX2641" fmla="*/ 570889 w 1012061"/>
                <a:gd name="connsiteY2641" fmla="*/ 101448 h 372939"/>
                <a:gd name="connsiteX2642" fmla="*/ 572153 w 1012061"/>
                <a:gd name="connsiteY2642" fmla="*/ 101407 h 372939"/>
                <a:gd name="connsiteX2643" fmla="*/ 574953 w 1012061"/>
                <a:gd name="connsiteY2643" fmla="*/ 102847 h 372939"/>
                <a:gd name="connsiteX2644" fmla="*/ 576575 w 1012061"/>
                <a:gd name="connsiteY2644" fmla="*/ 103128 h 372939"/>
                <a:gd name="connsiteX2645" fmla="*/ 578234 w 1012061"/>
                <a:gd name="connsiteY2645" fmla="*/ 103023 h 372939"/>
                <a:gd name="connsiteX2646" fmla="*/ 579281 w 1012061"/>
                <a:gd name="connsiteY2646" fmla="*/ 103265 h 372939"/>
                <a:gd name="connsiteX2647" fmla="*/ 580076 w 1012061"/>
                <a:gd name="connsiteY2647" fmla="*/ 103911 h 372939"/>
                <a:gd name="connsiteX2648" fmla="*/ 580799 w 1012061"/>
                <a:gd name="connsiteY2648" fmla="*/ 105213 h 372939"/>
                <a:gd name="connsiteX2649" fmla="*/ 581695 w 1012061"/>
                <a:gd name="connsiteY2649" fmla="*/ 106336 h 372939"/>
                <a:gd name="connsiteX2650" fmla="*/ 582522 w 1012061"/>
                <a:gd name="connsiteY2650" fmla="*/ 106890 h 372939"/>
                <a:gd name="connsiteX2651" fmla="*/ 583431 w 1012061"/>
                <a:gd name="connsiteY2651" fmla="*/ 107149 h 372939"/>
                <a:gd name="connsiteX2652" fmla="*/ 589525 w 1012061"/>
                <a:gd name="connsiteY2652" fmla="*/ 106695 h 372939"/>
                <a:gd name="connsiteX2653" fmla="*/ 594850 w 1012061"/>
                <a:gd name="connsiteY2653" fmla="*/ 107963 h 372939"/>
                <a:gd name="connsiteX2654" fmla="*/ 602112 w 1012061"/>
                <a:gd name="connsiteY2654" fmla="*/ 108253 h 372939"/>
                <a:gd name="connsiteX2655" fmla="*/ 604604 w 1012061"/>
                <a:gd name="connsiteY2655" fmla="*/ 108996 h 372939"/>
                <a:gd name="connsiteX2656" fmla="*/ 606995 w 1012061"/>
                <a:gd name="connsiteY2656" fmla="*/ 109966 h 372939"/>
                <a:gd name="connsiteX2657" fmla="*/ 609923 w 1012061"/>
                <a:gd name="connsiteY2657" fmla="*/ 111684 h 372939"/>
                <a:gd name="connsiteX2658" fmla="*/ 610994 w 1012061"/>
                <a:gd name="connsiteY2658" fmla="*/ 112065 h 372939"/>
                <a:gd name="connsiteX2659" fmla="*/ 612192 w 1012061"/>
                <a:gd name="connsiteY2659" fmla="*/ 111969 h 372939"/>
                <a:gd name="connsiteX2660" fmla="*/ 613687 w 1012061"/>
                <a:gd name="connsiteY2660" fmla="*/ 110355 h 372939"/>
                <a:gd name="connsiteX2661" fmla="*/ 614853 w 1012061"/>
                <a:gd name="connsiteY2661" fmla="*/ 110002 h 372939"/>
                <a:gd name="connsiteX2662" fmla="*/ 616040 w 1012061"/>
                <a:gd name="connsiteY2662" fmla="*/ 109940 h 372939"/>
                <a:gd name="connsiteX2663" fmla="*/ 620720 w 1012061"/>
                <a:gd name="connsiteY2663" fmla="*/ 110243 h 372939"/>
                <a:gd name="connsiteX2664" fmla="*/ 633292 w 1012061"/>
                <a:gd name="connsiteY2664" fmla="*/ 112231 h 372939"/>
                <a:gd name="connsiteX2665" fmla="*/ 635151 w 1012061"/>
                <a:gd name="connsiteY2665" fmla="*/ 111960 h 372939"/>
                <a:gd name="connsiteX2666" fmla="*/ 642732 w 1012061"/>
                <a:gd name="connsiteY2666" fmla="*/ 108160 h 372939"/>
                <a:gd name="connsiteX2667" fmla="*/ 645766 w 1012061"/>
                <a:gd name="connsiteY2667" fmla="*/ 104559 h 372939"/>
                <a:gd name="connsiteX2668" fmla="*/ 648483 w 1012061"/>
                <a:gd name="connsiteY2668" fmla="*/ 103556 h 372939"/>
                <a:gd name="connsiteX2669" fmla="*/ 649405 w 1012061"/>
                <a:gd name="connsiteY2669" fmla="*/ 101929 h 372939"/>
                <a:gd name="connsiteX2670" fmla="*/ 649953 w 1012061"/>
                <a:gd name="connsiteY2670" fmla="*/ 99974 h 372939"/>
                <a:gd name="connsiteX2671" fmla="*/ 650916 w 1012061"/>
                <a:gd name="connsiteY2671" fmla="*/ 99449 h 372939"/>
                <a:gd name="connsiteX2672" fmla="*/ 653193 w 1012061"/>
                <a:gd name="connsiteY2672" fmla="*/ 98891 h 372939"/>
                <a:gd name="connsiteX2673" fmla="*/ 654099 w 1012061"/>
                <a:gd name="connsiteY2673" fmla="*/ 98312 h 372939"/>
                <a:gd name="connsiteX2674" fmla="*/ 655712 w 1012061"/>
                <a:gd name="connsiteY2674" fmla="*/ 95913 h 372939"/>
                <a:gd name="connsiteX2675" fmla="*/ 657624 w 1012061"/>
                <a:gd name="connsiteY2675" fmla="*/ 93787 h 372939"/>
                <a:gd name="connsiteX2676" fmla="*/ 142271 w 1012061"/>
                <a:gd name="connsiteY2676" fmla="*/ 83732 h 372939"/>
                <a:gd name="connsiteX2677" fmla="*/ 143761 w 1012061"/>
                <a:gd name="connsiteY2677" fmla="*/ 84800 h 372939"/>
                <a:gd name="connsiteX2678" fmla="*/ 144960 w 1012061"/>
                <a:gd name="connsiteY2678" fmla="*/ 86612 h 372939"/>
                <a:gd name="connsiteX2679" fmla="*/ 145208 w 1012061"/>
                <a:gd name="connsiteY2679" fmla="*/ 87786 h 372939"/>
                <a:gd name="connsiteX2680" fmla="*/ 144336 w 1012061"/>
                <a:gd name="connsiteY2680" fmla="*/ 89133 h 372939"/>
                <a:gd name="connsiteX2681" fmla="*/ 144011 w 1012061"/>
                <a:gd name="connsiteY2681" fmla="*/ 91199 h 372939"/>
                <a:gd name="connsiteX2682" fmla="*/ 141431 w 1012061"/>
                <a:gd name="connsiteY2682" fmla="*/ 92823 h 372939"/>
                <a:gd name="connsiteX2683" fmla="*/ 139176 w 1012061"/>
                <a:gd name="connsiteY2683" fmla="*/ 92437 h 372939"/>
                <a:gd name="connsiteX2684" fmla="*/ 138447 w 1012061"/>
                <a:gd name="connsiteY2684" fmla="*/ 91858 h 372939"/>
                <a:gd name="connsiteX2685" fmla="*/ 137024 w 1012061"/>
                <a:gd name="connsiteY2685" fmla="*/ 88718 h 372939"/>
                <a:gd name="connsiteX2686" fmla="*/ 137162 w 1012061"/>
                <a:gd name="connsiteY2686" fmla="*/ 86056 h 372939"/>
                <a:gd name="connsiteX2687" fmla="*/ 138060 w 1012061"/>
                <a:gd name="connsiteY2687" fmla="*/ 85035 h 372939"/>
                <a:gd name="connsiteX2688" fmla="*/ 140148 w 1012061"/>
                <a:gd name="connsiteY2688" fmla="*/ 85192 h 372939"/>
                <a:gd name="connsiteX2689" fmla="*/ 725936 w 1012061"/>
                <a:gd name="connsiteY2689" fmla="*/ 82132 h 372939"/>
                <a:gd name="connsiteX2690" fmla="*/ 726076 w 1012061"/>
                <a:gd name="connsiteY2690" fmla="*/ 83060 h 372939"/>
                <a:gd name="connsiteX2691" fmla="*/ 725821 w 1012061"/>
                <a:gd name="connsiteY2691" fmla="*/ 83883 h 372939"/>
                <a:gd name="connsiteX2692" fmla="*/ 723068 w 1012061"/>
                <a:gd name="connsiteY2692" fmla="*/ 87738 h 372939"/>
                <a:gd name="connsiteX2693" fmla="*/ 722701 w 1012061"/>
                <a:gd name="connsiteY2693" fmla="*/ 88608 h 372939"/>
                <a:gd name="connsiteX2694" fmla="*/ 722627 w 1012061"/>
                <a:gd name="connsiteY2694" fmla="*/ 90230 h 372939"/>
                <a:gd name="connsiteX2695" fmla="*/ 723947 w 1012061"/>
                <a:gd name="connsiteY2695" fmla="*/ 91188 h 372939"/>
                <a:gd name="connsiteX2696" fmla="*/ 725372 w 1012061"/>
                <a:gd name="connsiteY2696" fmla="*/ 93144 h 372939"/>
                <a:gd name="connsiteX2697" fmla="*/ 725655 w 1012061"/>
                <a:gd name="connsiteY2697" fmla="*/ 95748 h 372939"/>
                <a:gd name="connsiteX2698" fmla="*/ 725702 w 1012061"/>
                <a:gd name="connsiteY2698" fmla="*/ 98521 h 372939"/>
                <a:gd name="connsiteX2699" fmla="*/ 725389 w 1012061"/>
                <a:gd name="connsiteY2699" fmla="*/ 101316 h 372939"/>
                <a:gd name="connsiteX2700" fmla="*/ 724858 w 1012061"/>
                <a:gd name="connsiteY2700" fmla="*/ 102248 h 372939"/>
                <a:gd name="connsiteX2701" fmla="*/ 722595 w 1012061"/>
                <a:gd name="connsiteY2701" fmla="*/ 105052 h 372939"/>
                <a:gd name="connsiteX2702" fmla="*/ 717453 w 1012061"/>
                <a:gd name="connsiteY2702" fmla="*/ 108346 h 372939"/>
                <a:gd name="connsiteX2703" fmla="*/ 717015 w 1012061"/>
                <a:gd name="connsiteY2703" fmla="*/ 109157 h 372939"/>
                <a:gd name="connsiteX2704" fmla="*/ 717046 w 1012061"/>
                <a:gd name="connsiteY2704" fmla="*/ 110065 h 372939"/>
                <a:gd name="connsiteX2705" fmla="*/ 717998 w 1012061"/>
                <a:gd name="connsiteY2705" fmla="*/ 111161 h 372939"/>
                <a:gd name="connsiteX2706" fmla="*/ 719220 w 1012061"/>
                <a:gd name="connsiteY2706" fmla="*/ 112010 h 372939"/>
                <a:gd name="connsiteX2707" fmla="*/ 720827 w 1012061"/>
                <a:gd name="connsiteY2707" fmla="*/ 112502 h 372939"/>
                <a:gd name="connsiteX2708" fmla="*/ 722500 w 1012061"/>
                <a:gd name="connsiteY2708" fmla="*/ 112365 h 372939"/>
                <a:gd name="connsiteX2709" fmla="*/ 723331 w 1012061"/>
                <a:gd name="connsiteY2709" fmla="*/ 111377 h 372939"/>
                <a:gd name="connsiteX2710" fmla="*/ 723562 w 1012061"/>
                <a:gd name="connsiteY2710" fmla="*/ 110096 h 372939"/>
                <a:gd name="connsiteX2711" fmla="*/ 724407 w 1012061"/>
                <a:gd name="connsiteY2711" fmla="*/ 107711 h 372939"/>
                <a:gd name="connsiteX2712" fmla="*/ 726352 w 1012061"/>
                <a:gd name="connsiteY2712" fmla="*/ 106095 h 372939"/>
                <a:gd name="connsiteX2713" fmla="*/ 727717 w 1012061"/>
                <a:gd name="connsiteY2713" fmla="*/ 105843 h 372939"/>
                <a:gd name="connsiteX2714" fmla="*/ 728684 w 1012061"/>
                <a:gd name="connsiteY2714" fmla="*/ 105162 h 372939"/>
                <a:gd name="connsiteX2715" fmla="*/ 728516 w 1012061"/>
                <a:gd name="connsiteY2715" fmla="*/ 103392 h 372939"/>
                <a:gd name="connsiteX2716" fmla="*/ 728611 w 1012061"/>
                <a:gd name="connsiteY2716" fmla="*/ 101651 h 372939"/>
                <a:gd name="connsiteX2717" fmla="*/ 730049 w 1012061"/>
                <a:gd name="connsiteY2717" fmla="*/ 99792 h 372939"/>
                <a:gd name="connsiteX2718" fmla="*/ 734508 w 1012061"/>
                <a:gd name="connsiteY2718" fmla="*/ 97207 h 372939"/>
                <a:gd name="connsiteX2719" fmla="*/ 737054 w 1012061"/>
                <a:gd name="connsiteY2719" fmla="*/ 96285 h 372939"/>
                <a:gd name="connsiteX2720" fmla="*/ 740352 w 1012061"/>
                <a:gd name="connsiteY2720" fmla="*/ 95990 h 372939"/>
                <a:gd name="connsiteX2721" fmla="*/ 740723 w 1012061"/>
                <a:gd name="connsiteY2721" fmla="*/ 96981 h 372939"/>
                <a:gd name="connsiteX2722" fmla="*/ 740345 w 1012061"/>
                <a:gd name="connsiteY2722" fmla="*/ 98397 h 372939"/>
                <a:gd name="connsiteX2723" fmla="*/ 740982 w 1012061"/>
                <a:gd name="connsiteY2723" fmla="*/ 100530 h 372939"/>
                <a:gd name="connsiteX2724" fmla="*/ 740667 w 1012061"/>
                <a:gd name="connsiteY2724" fmla="*/ 106300 h 372939"/>
                <a:gd name="connsiteX2725" fmla="*/ 739918 w 1012061"/>
                <a:gd name="connsiteY2725" fmla="*/ 107117 h 372939"/>
                <a:gd name="connsiteX2726" fmla="*/ 736508 w 1012061"/>
                <a:gd name="connsiteY2726" fmla="*/ 109111 h 372939"/>
                <a:gd name="connsiteX2727" fmla="*/ 732781 w 1012061"/>
                <a:gd name="connsiteY2727" fmla="*/ 110706 h 372939"/>
                <a:gd name="connsiteX2728" fmla="*/ 731738 w 1012061"/>
                <a:gd name="connsiteY2728" fmla="*/ 111377 h 372939"/>
                <a:gd name="connsiteX2729" fmla="*/ 730818 w 1012061"/>
                <a:gd name="connsiteY2729" fmla="*/ 112965 h 372939"/>
                <a:gd name="connsiteX2730" fmla="*/ 730894 w 1012061"/>
                <a:gd name="connsiteY2730" fmla="*/ 114539 h 372939"/>
                <a:gd name="connsiteX2731" fmla="*/ 733930 w 1012061"/>
                <a:gd name="connsiteY2731" fmla="*/ 116640 h 372939"/>
                <a:gd name="connsiteX2732" fmla="*/ 738646 w 1012061"/>
                <a:gd name="connsiteY2732" fmla="*/ 118605 h 372939"/>
                <a:gd name="connsiteX2733" fmla="*/ 739619 w 1012061"/>
                <a:gd name="connsiteY2733" fmla="*/ 119527 h 372939"/>
                <a:gd name="connsiteX2734" fmla="*/ 740250 w 1012061"/>
                <a:gd name="connsiteY2734" fmla="*/ 121070 h 372939"/>
                <a:gd name="connsiteX2735" fmla="*/ 740423 w 1012061"/>
                <a:gd name="connsiteY2735" fmla="*/ 122797 h 372939"/>
                <a:gd name="connsiteX2736" fmla="*/ 741565 w 1012061"/>
                <a:gd name="connsiteY2736" fmla="*/ 123617 h 372939"/>
                <a:gd name="connsiteX2737" fmla="*/ 743161 w 1012061"/>
                <a:gd name="connsiteY2737" fmla="*/ 124013 h 372939"/>
                <a:gd name="connsiteX2738" fmla="*/ 744219 w 1012061"/>
                <a:gd name="connsiteY2738" fmla="*/ 124831 h 372939"/>
                <a:gd name="connsiteX2739" fmla="*/ 745023 w 1012061"/>
                <a:gd name="connsiteY2739" fmla="*/ 125983 h 372939"/>
                <a:gd name="connsiteX2740" fmla="*/ 737080 w 1012061"/>
                <a:gd name="connsiteY2740" fmla="*/ 123294 h 372939"/>
                <a:gd name="connsiteX2741" fmla="*/ 735003 w 1012061"/>
                <a:gd name="connsiteY2741" fmla="*/ 122107 h 372939"/>
                <a:gd name="connsiteX2742" fmla="*/ 732490 w 1012061"/>
                <a:gd name="connsiteY2742" fmla="*/ 121966 h 372939"/>
                <a:gd name="connsiteX2743" fmla="*/ 730008 w 1012061"/>
                <a:gd name="connsiteY2743" fmla="*/ 121605 h 372939"/>
                <a:gd name="connsiteX2744" fmla="*/ 727475 w 1012061"/>
                <a:gd name="connsiteY2744" fmla="*/ 120574 h 372939"/>
                <a:gd name="connsiteX2745" fmla="*/ 724757 w 1012061"/>
                <a:gd name="connsiteY2745" fmla="*/ 120331 h 372939"/>
                <a:gd name="connsiteX2746" fmla="*/ 723459 w 1012061"/>
                <a:gd name="connsiteY2746" fmla="*/ 121078 h 372939"/>
                <a:gd name="connsiteX2747" fmla="*/ 722949 w 1012061"/>
                <a:gd name="connsiteY2747" fmla="*/ 122534 h 372939"/>
                <a:gd name="connsiteX2748" fmla="*/ 722641 w 1012061"/>
                <a:gd name="connsiteY2748" fmla="*/ 124168 h 372939"/>
                <a:gd name="connsiteX2749" fmla="*/ 723243 w 1012061"/>
                <a:gd name="connsiteY2749" fmla="*/ 126203 h 372939"/>
                <a:gd name="connsiteX2750" fmla="*/ 723189 w 1012061"/>
                <a:gd name="connsiteY2750" fmla="*/ 127437 h 372939"/>
                <a:gd name="connsiteX2751" fmla="*/ 722675 w 1012061"/>
                <a:gd name="connsiteY2751" fmla="*/ 129671 h 372939"/>
                <a:gd name="connsiteX2752" fmla="*/ 724640 w 1012061"/>
                <a:gd name="connsiteY2752" fmla="*/ 136257 h 372939"/>
                <a:gd name="connsiteX2753" fmla="*/ 727108 w 1012061"/>
                <a:gd name="connsiteY2753" fmla="*/ 141495 h 372939"/>
                <a:gd name="connsiteX2754" fmla="*/ 730735 w 1012061"/>
                <a:gd name="connsiteY2754" fmla="*/ 146944 h 372939"/>
                <a:gd name="connsiteX2755" fmla="*/ 732528 w 1012061"/>
                <a:gd name="connsiteY2755" fmla="*/ 148816 h 372939"/>
                <a:gd name="connsiteX2756" fmla="*/ 734539 w 1012061"/>
                <a:gd name="connsiteY2756" fmla="*/ 150505 h 372939"/>
                <a:gd name="connsiteX2757" fmla="*/ 731280 w 1012061"/>
                <a:gd name="connsiteY2757" fmla="*/ 150004 h 372939"/>
                <a:gd name="connsiteX2758" fmla="*/ 730291 w 1012061"/>
                <a:gd name="connsiteY2758" fmla="*/ 148183 h 372939"/>
                <a:gd name="connsiteX2759" fmla="*/ 726156 w 1012061"/>
                <a:gd name="connsiteY2759" fmla="*/ 146378 h 372939"/>
                <a:gd name="connsiteX2760" fmla="*/ 725370 w 1012061"/>
                <a:gd name="connsiteY2760" fmla="*/ 145300 h 372939"/>
                <a:gd name="connsiteX2761" fmla="*/ 722675 w 1012061"/>
                <a:gd name="connsiteY2761" fmla="*/ 140130 h 372939"/>
                <a:gd name="connsiteX2762" fmla="*/ 721886 w 1012061"/>
                <a:gd name="connsiteY2762" fmla="*/ 139165 h 372939"/>
                <a:gd name="connsiteX2763" fmla="*/ 719399 w 1012061"/>
                <a:gd name="connsiteY2763" fmla="*/ 137408 h 372939"/>
                <a:gd name="connsiteX2764" fmla="*/ 718311 w 1012061"/>
                <a:gd name="connsiteY2764" fmla="*/ 136114 h 372939"/>
                <a:gd name="connsiteX2765" fmla="*/ 717939 w 1012061"/>
                <a:gd name="connsiteY2765" fmla="*/ 134367 h 372939"/>
                <a:gd name="connsiteX2766" fmla="*/ 718218 w 1012061"/>
                <a:gd name="connsiteY2766" fmla="*/ 132533 h 372939"/>
                <a:gd name="connsiteX2767" fmla="*/ 718084 w 1012061"/>
                <a:gd name="connsiteY2767" fmla="*/ 129994 h 372939"/>
                <a:gd name="connsiteX2768" fmla="*/ 718175 w 1012061"/>
                <a:gd name="connsiteY2768" fmla="*/ 127470 h 372939"/>
                <a:gd name="connsiteX2769" fmla="*/ 718689 w 1012061"/>
                <a:gd name="connsiteY2769" fmla="*/ 124395 h 372939"/>
                <a:gd name="connsiteX2770" fmla="*/ 717804 w 1012061"/>
                <a:gd name="connsiteY2770" fmla="*/ 123319 h 372939"/>
                <a:gd name="connsiteX2771" fmla="*/ 716644 w 1012061"/>
                <a:gd name="connsiteY2771" fmla="*/ 122298 h 372939"/>
                <a:gd name="connsiteX2772" fmla="*/ 715298 w 1012061"/>
                <a:gd name="connsiteY2772" fmla="*/ 119938 h 372939"/>
                <a:gd name="connsiteX2773" fmla="*/ 714894 w 1012061"/>
                <a:gd name="connsiteY2773" fmla="*/ 117257 h 372939"/>
                <a:gd name="connsiteX2774" fmla="*/ 714998 w 1012061"/>
                <a:gd name="connsiteY2774" fmla="*/ 115714 h 372939"/>
                <a:gd name="connsiteX2775" fmla="*/ 715556 w 1012061"/>
                <a:gd name="connsiteY2775" fmla="*/ 114346 h 372939"/>
                <a:gd name="connsiteX2776" fmla="*/ 716301 w 1012061"/>
                <a:gd name="connsiteY2776" fmla="*/ 113163 h 372939"/>
                <a:gd name="connsiteX2777" fmla="*/ 716463 w 1012061"/>
                <a:gd name="connsiteY2777" fmla="*/ 112009 h 372939"/>
                <a:gd name="connsiteX2778" fmla="*/ 714526 w 1012061"/>
                <a:gd name="connsiteY2778" fmla="*/ 110333 h 372939"/>
                <a:gd name="connsiteX2779" fmla="*/ 712493 w 1012061"/>
                <a:gd name="connsiteY2779" fmla="*/ 105557 h 372939"/>
                <a:gd name="connsiteX2780" fmla="*/ 712312 w 1012061"/>
                <a:gd name="connsiteY2780" fmla="*/ 103080 h 372939"/>
                <a:gd name="connsiteX2781" fmla="*/ 714894 w 1012061"/>
                <a:gd name="connsiteY2781" fmla="*/ 98314 h 372939"/>
                <a:gd name="connsiteX2782" fmla="*/ 714841 w 1012061"/>
                <a:gd name="connsiteY2782" fmla="*/ 96001 h 372939"/>
                <a:gd name="connsiteX2783" fmla="*/ 715355 w 1012061"/>
                <a:gd name="connsiteY2783" fmla="*/ 94626 h 372939"/>
                <a:gd name="connsiteX2784" fmla="*/ 715638 w 1012061"/>
                <a:gd name="connsiteY2784" fmla="*/ 93168 h 372939"/>
                <a:gd name="connsiteX2785" fmla="*/ 716987 w 1012061"/>
                <a:gd name="connsiteY2785" fmla="*/ 89993 h 372939"/>
                <a:gd name="connsiteX2786" fmla="*/ 719192 w 1012061"/>
                <a:gd name="connsiteY2786" fmla="*/ 87285 h 372939"/>
                <a:gd name="connsiteX2787" fmla="*/ 722916 w 1012061"/>
                <a:gd name="connsiteY2787" fmla="*/ 83497 h 372939"/>
                <a:gd name="connsiteX2788" fmla="*/ 724340 w 1012061"/>
                <a:gd name="connsiteY2788" fmla="*/ 82670 h 372939"/>
                <a:gd name="connsiteX2789" fmla="*/ 43118 w 1012061"/>
                <a:gd name="connsiteY2789" fmla="*/ 81398 h 372939"/>
                <a:gd name="connsiteX2790" fmla="*/ 45245 w 1012061"/>
                <a:gd name="connsiteY2790" fmla="*/ 81756 h 372939"/>
                <a:gd name="connsiteX2791" fmla="*/ 46098 w 1012061"/>
                <a:gd name="connsiteY2791" fmla="*/ 82093 h 372939"/>
                <a:gd name="connsiteX2792" fmla="*/ 46924 w 1012061"/>
                <a:gd name="connsiteY2792" fmla="*/ 83249 h 372939"/>
                <a:gd name="connsiteX2793" fmla="*/ 47045 w 1012061"/>
                <a:gd name="connsiteY2793" fmla="*/ 84862 h 372939"/>
                <a:gd name="connsiteX2794" fmla="*/ 46914 w 1012061"/>
                <a:gd name="connsiteY2794" fmla="*/ 85357 h 372939"/>
                <a:gd name="connsiteX2795" fmla="*/ 44632 w 1012061"/>
                <a:gd name="connsiteY2795" fmla="*/ 83029 h 372939"/>
                <a:gd name="connsiteX2796" fmla="*/ 42050 w 1012061"/>
                <a:gd name="connsiteY2796" fmla="*/ 81737 h 372939"/>
                <a:gd name="connsiteX2797" fmla="*/ 738445 w 1012061"/>
                <a:gd name="connsiteY2797" fmla="*/ 73314 h 372939"/>
                <a:gd name="connsiteX2798" fmla="*/ 740354 w 1012061"/>
                <a:gd name="connsiteY2798" fmla="*/ 76056 h 372939"/>
                <a:gd name="connsiteX2799" fmla="*/ 738912 w 1012061"/>
                <a:gd name="connsiteY2799" fmla="*/ 81571 h 372939"/>
                <a:gd name="connsiteX2800" fmla="*/ 737238 w 1012061"/>
                <a:gd name="connsiteY2800" fmla="*/ 84388 h 372939"/>
                <a:gd name="connsiteX2801" fmla="*/ 735167 w 1012061"/>
                <a:gd name="connsiteY2801" fmla="*/ 85390 h 372939"/>
                <a:gd name="connsiteX2802" fmla="*/ 731673 w 1012061"/>
                <a:gd name="connsiteY2802" fmla="*/ 85767 h 372939"/>
                <a:gd name="connsiteX2803" fmla="*/ 730879 w 1012061"/>
                <a:gd name="connsiteY2803" fmla="*/ 84710 h 372939"/>
                <a:gd name="connsiteX2804" fmla="*/ 729950 w 1012061"/>
                <a:gd name="connsiteY2804" fmla="*/ 79955 h 372939"/>
                <a:gd name="connsiteX2805" fmla="*/ 732435 w 1012061"/>
                <a:gd name="connsiteY2805" fmla="*/ 76152 h 372939"/>
                <a:gd name="connsiteX2806" fmla="*/ 735568 w 1012061"/>
                <a:gd name="connsiteY2806" fmla="*/ 73914 h 372939"/>
                <a:gd name="connsiteX2807" fmla="*/ 737704 w 1012061"/>
                <a:gd name="connsiteY2807" fmla="*/ 73348 h 372939"/>
                <a:gd name="connsiteX2808" fmla="*/ 667436 w 1012061"/>
                <a:gd name="connsiteY2808" fmla="*/ 68717 h 372939"/>
                <a:gd name="connsiteX2809" fmla="*/ 668418 w 1012061"/>
                <a:gd name="connsiteY2809" fmla="*/ 69192 h 372939"/>
                <a:gd name="connsiteX2810" fmla="*/ 668667 w 1012061"/>
                <a:gd name="connsiteY2810" fmla="*/ 69655 h 372939"/>
                <a:gd name="connsiteX2811" fmla="*/ 667725 w 1012061"/>
                <a:gd name="connsiteY2811" fmla="*/ 70893 h 372939"/>
                <a:gd name="connsiteX2812" fmla="*/ 667803 w 1012061"/>
                <a:gd name="connsiteY2812" fmla="*/ 72119 h 372939"/>
                <a:gd name="connsiteX2813" fmla="*/ 667578 w 1012061"/>
                <a:gd name="connsiteY2813" fmla="*/ 72607 h 372939"/>
                <a:gd name="connsiteX2814" fmla="*/ 666756 w 1012061"/>
                <a:gd name="connsiteY2814" fmla="*/ 70012 h 372939"/>
                <a:gd name="connsiteX2815" fmla="*/ 13258 w 1012061"/>
                <a:gd name="connsiteY2815" fmla="*/ 66268 h 372939"/>
                <a:gd name="connsiteX2816" fmla="*/ 15239 w 1012061"/>
                <a:gd name="connsiteY2816" fmla="*/ 66865 h 372939"/>
                <a:gd name="connsiteX2817" fmla="*/ 17495 w 1012061"/>
                <a:gd name="connsiteY2817" fmla="*/ 69247 h 372939"/>
                <a:gd name="connsiteX2818" fmla="*/ 19788 w 1012061"/>
                <a:gd name="connsiteY2818" fmla="*/ 70137 h 372939"/>
                <a:gd name="connsiteX2819" fmla="*/ 20412 w 1012061"/>
                <a:gd name="connsiteY2819" fmla="*/ 70586 h 372939"/>
                <a:gd name="connsiteX2820" fmla="*/ 21522 w 1012061"/>
                <a:gd name="connsiteY2820" fmla="*/ 71904 h 372939"/>
                <a:gd name="connsiteX2821" fmla="*/ 26770 w 1012061"/>
                <a:gd name="connsiteY2821" fmla="*/ 75138 h 372939"/>
                <a:gd name="connsiteX2822" fmla="*/ 27340 w 1012061"/>
                <a:gd name="connsiteY2822" fmla="*/ 76234 h 372939"/>
                <a:gd name="connsiteX2823" fmla="*/ 27700 w 1012061"/>
                <a:gd name="connsiteY2823" fmla="*/ 77336 h 372939"/>
                <a:gd name="connsiteX2824" fmla="*/ 27795 w 1012061"/>
                <a:gd name="connsiteY2824" fmla="*/ 78571 h 372939"/>
                <a:gd name="connsiteX2825" fmla="*/ 26409 w 1012061"/>
                <a:gd name="connsiteY2825" fmla="*/ 78777 h 372939"/>
                <a:gd name="connsiteX2826" fmla="*/ 25075 w 1012061"/>
                <a:gd name="connsiteY2826" fmla="*/ 78304 h 372939"/>
                <a:gd name="connsiteX2827" fmla="*/ 23965 w 1012061"/>
                <a:gd name="connsiteY2827" fmla="*/ 77032 h 372939"/>
                <a:gd name="connsiteX2828" fmla="*/ 18028 w 1012061"/>
                <a:gd name="connsiteY2828" fmla="*/ 73355 h 372939"/>
                <a:gd name="connsiteX2829" fmla="*/ 16182 w 1012061"/>
                <a:gd name="connsiteY2829" fmla="*/ 73296 h 372939"/>
                <a:gd name="connsiteX2830" fmla="*/ 14884 w 1012061"/>
                <a:gd name="connsiteY2830" fmla="*/ 72356 h 372939"/>
                <a:gd name="connsiteX2831" fmla="*/ 13310 w 1012061"/>
                <a:gd name="connsiteY2831" fmla="*/ 72031 h 372939"/>
                <a:gd name="connsiteX2832" fmla="*/ 11639 w 1012061"/>
                <a:gd name="connsiteY2832" fmla="*/ 69577 h 372939"/>
                <a:gd name="connsiteX2833" fmla="*/ 11289 w 1012061"/>
                <a:gd name="connsiteY2833" fmla="*/ 68261 h 372939"/>
                <a:gd name="connsiteX2834" fmla="*/ 12505 w 1012061"/>
                <a:gd name="connsiteY2834" fmla="*/ 67619 h 372939"/>
                <a:gd name="connsiteX2835" fmla="*/ 302474 w 1012061"/>
                <a:gd name="connsiteY2835" fmla="*/ 64432 h 372939"/>
                <a:gd name="connsiteX2836" fmla="*/ 302513 w 1012061"/>
                <a:gd name="connsiteY2836" fmla="*/ 66503 h 372939"/>
                <a:gd name="connsiteX2837" fmla="*/ 301437 w 1012061"/>
                <a:gd name="connsiteY2837" fmla="*/ 67662 h 372939"/>
                <a:gd name="connsiteX2838" fmla="*/ 300279 w 1012061"/>
                <a:gd name="connsiteY2838" fmla="*/ 66940 h 372939"/>
                <a:gd name="connsiteX2839" fmla="*/ 302061 w 1012061"/>
                <a:gd name="connsiteY2839" fmla="*/ 64589 h 372939"/>
                <a:gd name="connsiteX2840" fmla="*/ 231857 w 1012061"/>
                <a:gd name="connsiteY2840" fmla="*/ 63026 h 372939"/>
                <a:gd name="connsiteX2841" fmla="*/ 232708 w 1012061"/>
                <a:gd name="connsiteY2841" fmla="*/ 63591 h 372939"/>
                <a:gd name="connsiteX2842" fmla="*/ 233364 w 1012061"/>
                <a:gd name="connsiteY2842" fmla="*/ 64121 h 372939"/>
                <a:gd name="connsiteX2843" fmla="*/ 234121 w 1012061"/>
                <a:gd name="connsiteY2843" fmla="*/ 64499 h 372939"/>
                <a:gd name="connsiteX2844" fmla="*/ 234732 w 1012061"/>
                <a:gd name="connsiteY2844" fmla="*/ 64755 h 372939"/>
                <a:gd name="connsiteX2845" fmla="*/ 235053 w 1012061"/>
                <a:gd name="connsiteY2845" fmla="*/ 64929 h 372939"/>
                <a:gd name="connsiteX2846" fmla="*/ 234449 w 1012061"/>
                <a:gd name="connsiteY2846" fmla="*/ 66535 h 372939"/>
                <a:gd name="connsiteX2847" fmla="*/ 233364 w 1012061"/>
                <a:gd name="connsiteY2847" fmla="*/ 67441 h 372939"/>
                <a:gd name="connsiteX2848" fmla="*/ 232440 w 1012061"/>
                <a:gd name="connsiteY2848" fmla="*/ 67526 h 372939"/>
                <a:gd name="connsiteX2849" fmla="*/ 232166 w 1012061"/>
                <a:gd name="connsiteY2849" fmla="*/ 66869 h 372939"/>
                <a:gd name="connsiteX2850" fmla="*/ 232205 w 1012061"/>
                <a:gd name="connsiteY2850" fmla="*/ 65735 h 372939"/>
                <a:gd name="connsiteX2851" fmla="*/ 232123 w 1012061"/>
                <a:gd name="connsiteY2851" fmla="*/ 64832 h 372939"/>
                <a:gd name="connsiteX2852" fmla="*/ 231857 w 1012061"/>
                <a:gd name="connsiteY2852" fmla="*/ 64159 h 372939"/>
                <a:gd name="connsiteX2853" fmla="*/ 243611 w 1012061"/>
                <a:gd name="connsiteY2853" fmla="*/ 59328 h 372939"/>
                <a:gd name="connsiteX2854" fmla="*/ 244660 w 1012061"/>
                <a:gd name="connsiteY2854" fmla="*/ 59622 h 372939"/>
                <a:gd name="connsiteX2855" fmla="*/ 244971 w 1012061"/>
                <a:gd name="connsiteY2855" fmla="*/ 60932 h 372939"/>
                <a:gd name="connsiteX2856" fmla="*/ 244937 w 1012061"/>
                <a:gd name="connsiteY2856" fmla="*/ 62457 h 372939"/>
                <a:gd name="connsiteX2857" fmla="*/ 243408 w 1012061"/>
                <a:gd name="connsiteY2857" fmla="*/ 61564 h 372939"/>
                <a:gd name="connsiteX2858" fmla="*/ 243108 w 1012061"/>
                <a:gd name="connsiteY2858" fmla="*/ 59875 h 372939"/>
                <a:gd name="connsiteX2859" fmla="*/ 495976 w 1012061"/>
                <a:gd name="connsiteY2859" fmla="*/ 54757 h 372939"/>
                <a:gd name="connsiteX2860" fmla="*/ 496952 w 1012061"/>
                <a:gd name="connsiteY2860" fmla="*/ 55389 h 372939"/>
                <a:gd name="connsiteX2861" fmla="*/ 496455 w 1012061"/>
                <a:gd name="connsiteY2861" fmla="*/ 58201 h 372939"/>
                <a:gd name="connsiteX2862" fmla="*/ 496177 w 1012061"/>
                <a:gd name="connsiteY2862" fmla="*/ 58926 h 372939"/>
                <a:gd name="connsiteX2863" fmla="*/ 494287 w 1012061"/>
                <a:gd name="connsiteY2863" fmla="*/ 57145 h 372939"/>
                <a:gd name="connsiteX2864" fmla="*/ 493782 w 1012061"/>
                <a:gd name="connsiteY2864" fmla="*/ 55857 h 372939"/>
                <a:gd name="connsiteX2865" fmla="*/ 494011 w 1012061"/>
                <a:gd name="connsiteY2865" fmla="*/ 54848 h 372939"/>
                <a:gd name="connsiteX2866" fmla="*/ 669161 w 1012061"/>
                <a:gd name="connsiteY2866" fmla="*/ 48178 h 372939"/>
                <a:gd name="connsiteX2867" fmla="*/ 670810 w 1012061"/>
                <a:gd name="connsiteY2867" fmla="*/ 49569 h 372939"/>
                <a:gd name="connsiteX2868" fmla="*/ 671744 w 1012061"/>
                <a:gd name="connsiteY2868" fmla="*/ 51768 h 372939"/>
                <a:gd name="connsiteX2869" fmla="*/ 673024 w 1012061"/>
                <a:gd name="connsiteY2869" fmla="*/ 53862 h 372939"/>
                <a:gd name="connsiteX2870" fmla="*/ 673346 w 1012061"/>
                <a:gd name="connsiteY2870" fmla="*/ 54758 h 372939"/>
                <a:gd name="connsiteX2871" fmla="*/ 672796 w 1012061"/>
                <a:gd name="connsiteY2871" fmla="*/ 55436 h 372939"/>
                <a:gd name="connsiteX2872" fmla="*/ 670104 w 1012061"/>
                <a:gd name="connsiteY2872" fmla="*/ 54202 h 372939"/>
                <a:gd name="connsiteX2873" fmla="*/ 670238 w 1012061"/>
                <a:gd name="connsiteY2873" fmla="*/ 52244 h 372939"/>
                <a:gd name="connsiteX2874" fmla="*/ 669876 w 1012061"/>
                <a:gd name="connsiteY2874" fmla="*/ 51278 h 372939"/>
                <a:gd name="connsiteX2875" fmla="*/ 669155 w 1012061"/>
                <a:gd name="connsiteY2875" fmla="*/ 50262 h 372939"/>
                <a:gd name="connsiteX2876" fmla="*/ 668861 w 1012061"/>
                <a:gd name="connsiteY2876" fmla="*/ 49264 h 372939"/>
                <a:gd name="connsiteX2877" fmla="*/ 698695 w 1012061"/>
                <a:gd name="connsiteY2877" fmla="*/ 45418 h 372939"/>
                <a:gd name="connsiteX2878" fmla="*/ 699857 w 1012061"/>
                <a:gd name="connsiteY2878" fmla="*/ 46425 h 372939"/>
                <a:gd name="connsiteX2879" fmla="*/ 699874 w 1012061"/>
                <a:gd name="connsiteY2879" fmla="*/ 46983 h 372939"/>
                <a:gd name="connsiteX2880" fmla="*/ 699743 w 1012061"/>
                <a:gd name="connsiteY2880" fmla="*/ 47398 h 372939"/>
                <a:gd name="connsiteX2881" fmla="*/ 699381 w 1012061"/>
                <a:gd name="connsiteY2881" fmla="*/ 47654 h 372939"/>
                <a:gd name="connsiteX2882" fmla="*/ 698587 w 1012061"/>
                <a:gd name="connsiteY2882" fmla="*/ 47057 h 372939"/>
                <a:gd name="connsiteX2883" fmla="*/ 698099 w 1012061"/>
                <a:gd name="connsiteY2883" fmla="*/ 46402 h 372939"/>
                <a:gd name="connsiteX2884" fmla="*/ 698130 w 1012061"/>
                <a:gd name="connsiteY2884" fmla="*/ 45744 h 372939"/>
                <a:gd name="connsiteX2885" fmla="*/ 695003 w 1012061"/>
                <a:gd name="connsiteY2885" fmla="*/ 41342 h 372939"/>
                <a:gd name="connsiteX2886" fmla="*/ 696065 w 1012061"/>
                <a:gd name="connsiteY2886" fmla="*/ 42240 h 372939"/>
                <a:gd name="connsiteX2887" fmla="*/ 697261 w 1012061"/>
                <a:gd name="connsiteY2887" fmla="*/ 44093 h 372939"/>
                <a:gd name="connsiteX2888" fmla="*/ 696812 w 1012061"/>
                <a:gd name="connsiteY2888" fmla="*/ 45047 h 372939"/>
                <a:gd name="connsiteX2889" fmla="*/ 696866 w 1012061"/>
                <a:gd name="connsiteY2889" fmla="*/ 45980 h 372939"/>
                <a:gd name="connsiteX2890" fmla="*/ 695527 w 1012061"/>
                <a:gd name="connsiteY2890" fmla="*/ 43856 h 372939"/>
                <a:gd name="connsiteX2891" fmla="*/ 501461 w 1012061"/>
                <a:gd name="connsiteY2891" fmla="*/ 38148 h 372939"/>
                <a:gd name="connsiteX2892" fmla="*/ 502193 w 1012061"/>
                <a:gd name="connsiteY2892" fmla="*/ 40266 h 372939"/>
                <a:gd name="connsiteX2893" fmla="*/ 502303 w 1012061"/>
                <a:gd name="connsiteY2893" fmla="*/ 41068 h 372939"/>
                <a:gd name="connsiteX2894" fmla="*/ 498190 w 1012061"/>
                <a:gd name="connsiteY2894" fmla="*/ 42182 h 372939"/>
                <a:gd name="connsiteX2895" fmla="*/ 495719 w 1012061"/>
                <a:gd name="connsiteY2895" fmla="*/ 39580 h 372939"/>
                <a:gd name="connsiteX2896" fmla="*/ 496248 w 1012061"/>
                <a:gd name="connsiteY2896" fmla="*/ 38528 h 372939"/>
                <a:gd name="connsiteX2897" fmla="*/ 498380 w 1012061"/>
                <a:gd name="connsiteY2897" fmla="*/ 38573 h 372939"/>
                <a:gd name="connsiteX2898" fmla="*/ 288379 w 1012061"/>
                <a:gd name="connsiteY2898" fmla="*/ 37462 h 372939"/>
                <a:gd name="connsiteX2899" fmla="*/ 288539 w 1012061"/>
                <a:gd name="connsiteY2899" fmla="*/ 38910 h 372939"/>
                <a:gd name="connsiteX2900" fmla="*/ 291575 w 1012061"/>
                <a:gd name="connsiteY2900" fmla="*/ 42577 h 372939"/>
                <a:gd name="connsiteX2901" fmla="*/ 291707 w 1012061"/>
                <a:gd name="connsiteY2901" fmla="*/ 45017 h 372939"/>
                <a:gd name="connsiteX2902" fmla="*/ 291590 w 1012061"/>
                <a:gd name="connsiteY2902" fmla="*/ 45899 h 372939"/>
                <a:gd name="connsiteX2903" fmla="*/ 289875 w 1012061"/>
                <a:gd name="connsiteY2903" fmla="*/ 49143 h 372939"/>
                <a:gd name="connsiteX2904" fmla="*/ 286859 w 1012061"/>
                <a:gd name="connsiteY2904" fmla="*/ 49953 h 372939"/>
                <a:gd name="connsiteX2905" fmla="*/ 285108 w 1012061"/>
                <a:gd name="connsiteY2905" fmla="*/ 48814 h 372939"/>
                <a:gd name="connsiteX2906" fmla="*/ 287004 w 1012061"/>
                <a:gd name="connsiteY2906" fmla="*/ 47409 h 372939"/>
                <a:gd name="connsiteX2907" fmla="*/ 287673 w 1012061"/>
                <a:gd name="connsiteY2907" fmla="*/ 47316 h 372939"/>
                <a:gd name="connsiteX2908" fmla="*/ 288109 w 1012061"/>
                <a:gd name="connsiteY2908" fmla="*/ 47042 h 372939"/>
                <a:gd name="connsiteX2909" fmla="*/ 288267 w 1012061"/>
                <a:gd name="connsiteY2909" fmla="*/ 46471 h 372939"/>
                <a:gd name="connsiteX2910" fmla="*/ 284845 w 1012061"/>
                <a:gd name="connsiteY2910" fmla="*/ 45546 h 372939"/>
                <a:gd name="connsiteX2911" fmla="*/ 283873 w 1012061"/>
                <a:gd name="connsiteY2911" fmla="*/ 44730 h 372939"/>
                <a:gd name="connsiteX2912" fmla="*/ 282939 w 1012061"/>
                <a:gd name="connsiteY2912" fmla="*/ 42650 h 372939"/>
                <a:gd name="connsiteX2913" fmla="*/ 282966 w 1012061"/>
                <a:gd name="connsiteY2913" fmla="*/ 41328 h 372939"/>
                <a:gd name="connsiteX2914" fmla="*/ 287353 w 1012061"/>
                <a:gd name="connsiteY2914" fmla="*/ 37830 h 372939"/>
                <a:gd name="connsiteX2915" fmla="*/ 471167 w 1012061"/>
                <a:gd name="connsiteY2915" fmla="*/ 34057 h 372939"/>
                <a:gd name="connsiteX2916" fmla="*/ 472016 w 1012061"/>
                <a:gd name="connsiteY2916" fmla="*/ 34300 h 372939"/>
                <a:gd name="connsiteX2917" fmla="*/ 472810 w 1012061"/>
                <a:gd name="connsiteY2917" fmla="*/ 34775 h 372939"/>
                <a:gd name="connsiteX2918" fmla="*/ 473908 w 1012061"/>
                <a:gd name="connsiteY2918" fmla="*/ 34760 h 372939"/>
                <a:gd name="connsiteX2919" fmla="*/ 475216 w 1012061"/>
                <a:gd name="connsiteY2919" fmla="*/ 34408 h 372939"/>
                <a:gd name="connsiteX2920" fmla="*/ 478438 w 1012061"/>
                <a:gd name="connsiteY2920" fmla="*/ 34737 h 372939"/>
                <a:gd name="connsiteX2921" fmla="*/ 484121 w 1012061"/>
                <a:gd name="connsiteY2921" fmla="*/ 34805 h 372939"/>
                <a:gd name="connsiteX2922" fmla="*/ 488034 w 1012061"/>
                <a:gd name="connsiteY2922" fmla="*/ 35641 h 372939"/>
                <a:gd name="connsiteX2923" fmla="*/ 491867 w 1012061"/>
                <a:gd name="connsiteY2923" fmla="*/ 37999 h 372939"/>
                <a:gd name="connsiteX2924" fmla="*/ 493778 w 1012061"/>
                <a:gd name="connsiteY2924" fmla="*/ 38475 h 372939"/>
                <a:gd name="connsiteX2925" fmla="*/ 494599 w 1012061"/>
                <a:gd name="connsiteY2925" fmla="*/ 38492 h 372939"/>
                <a:gd name="connsiteX2926" fmla="*/ 494417 w 1012061"/>
                <a:gd name="connsiteY2926" fmla="*/ 38676 h 372939"/>
                <a:gd name="connsiteX2927" fmla="*/ 492897 w 1012061"/>
                <a:gd name="connsiteY2927" fmla="*/ 39316 h 372939"/>
                <a:gd name="connsiteX2928" fmla="*/ 492186 w 1012061"/>
                <a:gd name="connsiteY2928" fmla="*/ 40586 h 372939"/>
                <a:gd name="connsiteX2929" fmla="*/ 494266 w 1012061"/>
                <a:gd name="connsiteY2929" fmla="*/ 42529 h 372939"/>
                <a:gd name="connsiteX2930" fmla="*/ 494413 w 1012061"/>
                <a:gd name="connsiteY2930" fmla="*/ 43822 h 372939"/>
                <a:gd name="connsiteX2931" fmla="*/ 496028 w 1012061"/>
                <a:gd name="connsiteY2931" fmla="*/ 44973 h 372939"/>
                <a:gd name="connsiteX2932" fmla="*/ 498000 w 1012061"/>
                <a:gd name="connsiteY2932" fmla="*/ 46772 h 372939"/>
                <a:gd name="connsiteX2933" fmla="*/ 498077 w 1012061"/>
                <a:gd name="connsiteY2933" fmla="*/ 47358 h 372939"/>
                <a:gd name="connsiteX2934" fmla="*/ 498746 w 1012061"/>
                <a:gd name="connsiteY2934" fmla="*/ 48164 h 372939"/>
                <a:gd name="connsiteX2935" fmla="*/ 499084 w 1012061"/>
                <a:gd name="connsiteY2935" fmla="*/ 49152 h 372939"/>
                <a:gd name="connsiteX2936" fmla="*/ 497695 w 1012061"/>
                <a:gd name="connsiteY2936" fmla="*/ 50136 h 372939"/>
                <a:gd name="connsiteX2937" fmla="*/ 495825 w 1012061"/>
                <a:gd name="connsiteY2937" fmla="*/ 50324 h 372939"/>
                <a:gd name="connsiteX2938" fmla="*/ 494443 w 1012061"/>
                <a:gd name="connsiteY2938" fmla="*/ 49395 h 372939"/>
                <a:gd name="connsiteX2939" fmla="*/ 493167 w 1012061"/>
                <a:gd name="connsiteY2939" fmla="*/ 48241 h 372939"/>
                <a:gd name="connsiteX2940" fmla="*/ 492841 w 1012061"/>
                <a:gd name="connsiteY2940" fmla="*/ 49676 h 372939"/>
                <a:gd name="connsiteX2941" fmla="*/ 491856 w 1012061"/>
                <a:gd name="connsiteY2941" fmla="*/ 50497 h 372939"/>
                <a:gd name="connsiteX2942" fmla="*/ 488263 w 1012061"/>
                <a:gd name="connsiteY2942" fmla="*/ 50258 h 372939"/>
                <a:gd name="connsiteX2943" fmla="*/ 485691 w 1012061"/>
                <a:gd name="connsiteY2943" fmla="*/ 50265 h 372939"/>
                <a:gd name="connsiteX2944" fmla="*/ 483134 w 1012061"/>
                <a:gd name="connsiteY2944" fmla="*/ 50627 h 372939"/>
                <a:gd name="connsiteX2945" fmla="*/ 484415 w 1012061"/>
                <a:gd name="connsiteY2945" fmla="*/ 50848 h 372939"/>
                <a:gd name="connsiteX2946" fmla="*/ 485577 w 1012061"/>
                <a:gd name="connsiteY2946" fmla="*/ 51305 h 372939"/>
                <a:gd name="connsiteX2947" fmla="*/ 489554 w 1012061"/>
                <a:gd name="connsiteY2947" fmla="*/ 54967 h 372939"/>
                <a:gd name="connsiteX2948" fmla="*/ 490403 w 1012061"/>
                <a:gd name="connsiteY2948" fmla="*/ 56322 h 372939"/>
                <a:gd name="connsiteX2949" fmla="*/ 489014 w 1012061"/>
                <a:gd name="connsiteY2949" fmla="*/ 59019 h 372939"/>
                <a:gd name="connsiteX2950" fmla="*/ 489690 w 1012061"/>
                <a:gd name="connsiteY2950" fmla="*/ 60121 h 372939"/>
                <a:gd name="connsiteX2951" fmla="*/ 491230 w 1012061"/>
                <a:gd name="connsiteY2951" fmla="*/ 60753 h 372939"/>
                <a:gd name="connsiteX2952" fmla="*/ 493104 w 1012061"/>
                <a:gd name="connsiteY2952" fmla="*/ 62095 h 372939"/>
                <a:gd name="connsiteX2953" fmla="*/ 494439 w 1012061"/>
                <a:gd name="connsiteY2953" fmla="*/ 62230 h 372939"/>
                <a:gd name="connsiteX2954" fmla="*/ 495399 w 1012061"/>
                <a:gd name="connsiteY2954" fmla="*/ 62985 h 372939"/>
                <a:gd name="connsiteX2955" fmla="*/ 495438 w 1012061"/>
                <a:gd name="connsiteY2955" fmla="*/ 64301 h 372939"/>
                <a:gd name="connsiteX2956" fmla="*/ 496002 w 1012061"/>
                <a:gd name="connsiteY2956" fmla="*/ 65498 h 372939"/>
                <a:gd name="connsiteX2957" fmla="*/ 494482 w 1012061"/>
                <a:gd name="connsiteY2957" fmla="*/ 65974 h 372939"/>
                <a:gd name="connsiteX2958" fmla="*/ 495987 w 1012061"/>
                <a:gd name="connsiteY2958" fmla="*/ 66292 h 372939"/>
                <a:gd name="connsiteX2959" fmla="*/ 497323 w 1012061"/>
                <a:gd name="connsiteY2959" fmla="*/ 66904 h 372939"/>
                <a:gd name="connsiteX2960" fmla="*/ 496592 w 1012061"/>
                <a:gd name="connsiteY2960" fmla="*/ 67524 h 372939"/>
                <a:gd name="connsiteX2961" fmla="*/ 496024 w 1012061"/>
                <a:gd name="connsiteY2961" fmla="*/ 68276 h 372939"/>
                <a:gd name="connsiteX2962" fmla="*/ 496641 w 1012061"/>
                <a:gd name="connsiteY2962" fmla="*/ 68682 h 372939"/>
                <a:gd name="connsiteX2963" fmla="*/ 498474 w 1012061"/>
                <a:gd name="connsiteY2963" fmla="*/ 69376 h 372939"/>
                <a:gd name="connsiteX2964" fmla="*/ 499276 w 1012061"/>
                <a:gd name="connsiteY2964" fmla="*/ 70013 h 372939"/>
                <a:gd name="connsiteX2965" fmla="*/ 499694 w 1012061"/>
                <a:gd name="connsiteY2965" fmla="*/ 71736 h 372939"/>
                <a:gd name="connsiteX2966" fmla="*/ 501483 w 1012061"/>
                <a:gd name="connsiteY2966" fmla="*/ 74550 h 372939"/>
                <a:gd name="connsiteX2967" fmla="*/ 504765 w 1012061"/>
                <a:gd name="connsiteY2967" fmla="*/ 78181 h 372939"/>
                <a:gd name="connsiteX2968" fmla="*/ 505482 w 1012061"/>
                <a:gd name="connsiteY2968" fmla="*/ 79504 h 372939"/>
                <a:gd name="connsiteX2969" fmla="*/ 505475 w 1012061"/>
                <a:gd name="connsiteY2969" fmla="*/ 80723 h 372939"/>
                <a:gd name="connsiteX2970" fmla="*/ 504929 w 1012061"/>
                <a:gd name="connsiteY2970" fmla="*/ 81770 h 372939"/>
                <a:gd name="connsiteX2971" fmla="*/ 503059 w 1012061"/>
                <a:gd name="connsiteY2971" fmla="*/ 82997 h 372939"/>
                <a:gd name="connsiteX2972" fmla="*/ 501560 w 1012061"/>
                <a:gd name="connsiteY2972" fmla="*/ 84611 h 372939"/>
                <a:gd name="connsiteX2973" fmla="*/ 501379 w 1012061"/>
                <a:gd name="connsiteY2973" fmla="*/ 85194 h 372939"/>
                <a:gd name="connsiteX2974" fmla="*/ 499349 w 1012061"/>
                <a:gd name="connsiteY2974" fmla="*/ 85941 h 372939"/>
                <a:gd name="connsiteX2975" fmla="*/ 500277 w 1012061"/>
                <a:gd name="connsiteY2975" fmla="*/ 86491 h 372939"/>
                <a:gd name="connsiteX2976" fmla="*/ 501016 w 1012061"/>
                <a:gd name="connsiteY2976" fmla="*/ 87234 h 372939"/>
                <a:gd name="connsiteX2977" fmla="*/ 502426 w 1012061"/>
                <a:gd name="connsiteY2977" fmla="*/ 89482 h 372939"/>
                <a:gd name="connsiteX2978" fmla="*/ 505786 w 1012061"/>
                <a:gd name="connsiteY2978" fmla="*/ 93130 h 372939"/>
                <a:gd name="connsiteX2979" fmla="*/ 507477 w 1012061"/>
                <a:gd name="connsiteY2979" fmla="*/ 94491 h 372939"/>
                <a:gd name="connsiteX2980" fmla="*/ 514439 w 1012061"/>
                <a:gd name="connsiteY2980" fmla="*/ 99442 h 372939"/>
                <a:gd name="connsiteX2981" fmla="*/ 518138 w 1012061"/>
                <a:gd name="connsiteY2981" fmla="*/ 101598 h 372939"/>
                <a:gd name="connsiteX2982" fmla="*/ 522860 w 1012061"/>
                <a:gd name="connsiteY2982" fmla="*/ 106533 h 372939"/>
                <a:gd name="connsiteX2983" fmla="*/ 525314 w 1012061"/>
                <a:gd name="connsiteY2983" fmla="*/ 107673 h 372939"/>
                <a:gd name="connsiteX2984" fmla="*/ 525789 w 1012061"/>
                <a:gd name="connsiteY2984" fmla="*/ 109047 h 372939"/>
                <a:gd name="connsiteX2985" fmla="*/ 523742 w 1012061"/>
                <a:gd name="connsiteY2985" fmla="*/ 111154 h 372939"/>
                <a:gd name="connsiteX2986" fmla="*/ 520757 w 1012061"/>
                <a:gd name="connsiteY2986" fmla="*/ 112208 h 372939"/>
                <a:gd name="connsiteX2987" fmla="*/ 515834 w 1012061"/>
                <a:gd name="connsiteY2987" fmla="*/ 112776 h 372939"/>
                <a:gd name="connsiteX2988" fmla="*/ 510898 w 1012061"/>
                <a:gd name="connsiteY2988" fmla="*/ 112034 h 372939"/>
                <a:gd name="connsiteX2989" fmla="*/ 508345 w 1012061"/>
                <a:gd name="connsiteY2989" fmla="*/ 111431 h 372939"/>
                <a:gd name="connsiteX2990" fmla="*/ 506120 w 1012061"/>
                <a:gd name="connsiteY2990" fmla="*/ 110219 h 372939"/>
                <a:gd name="connsiteX2991" fmla="*/ 504369 w 1012061"/>
                <a:gd name="connsiteY2991" fmla="*/ 107786 h 372939"/>
                <a:gd name="connsiteX2992" fmla="*/ 502055 w 1012061"/>
                <a:gd name="connsiteY2992" fmla="*/ 106470 h 372939"/>
                <a:gd name="connsiteX2993" fmla="*/ 502946 w 1012061"/>
                <a:gd name="connsiteY2993" fmla="*/ 107945 h 372939"/>
                <a:gd name="connsiteX2994" fmla="*/ 503508 w 1012061"/>
                <a:gd name="connsiteY2994" fmla="*/ 109452 h 372939"/>
                <a:gd name="connsiteX2995" fmla="*/ 503218 w 1012061"/>
                <a:gd name="connsiteY2995" fmla="*/ 111095 h 372939"/>
                <a:gd name="connsiteX2996" fmla="*/ 502307 w 1012061"/>
                <a:gd name="connsiteY2996" fmla="*/ 112382 h 372939"/>
                <a:gd name="connsiteX2997" fmla="*/ 500749 w 1012061"/>
                <a:gd name="connsiteY2997" fmla="*/ 113326 h 372939"/>
                <a:gd name="connsiteX2998" fmla="*/ 499077 w 1012061"/>
                <a:gd name="connsiteY2998" fmla="*/ 114092 h 372939"/>
                <a:gd name="connsiteX2999" fmla="*/ 498373 w 1012061"/>
                <a:gd name="connsiteY2999" fmla="*/ 114631 h 372939"/>
                <a:gd name="connsiteX3000" fmla="*/ 494132 w 1012061"/>
                <a:gd name="connsiteY3000" fmla="*/ 123224 h 372939"/>
                <a:gd name="connsiteX3001" fmla="*/ 493444 w 1012061"/>
                <a:gd name="connsiteY3001" fmla="*/ 125549 h 372939"/>
                <a:gd name="connsiteX3002" fmla="*/ 492151 w 1012061"/>
                <a:gd name="connsiteY3002" fmla="*/ 135199 h 372939"/>
                <a:gd name="connsiteX3003" fmla="*/ 492132 w 1012061"/>
                <a:gd name="connsiteY3003" fmla="*/ 137924 h 372939"/>
                <a:gd name="connsiteX3004" fmla="*/ 494035 w 1012061"/>
                <a:gd name="connsiteY3004" fmla="*/ 143024 h 372939"/>
                <a:gd name="connsiteX3005" fmla="*/ 494210 w 1012061"/>
                <a:gd name="connsiteY3005" fmla="*/ 145698 h 372939"/>
                <a:gd name="connsiteX3006" fmla="*/ 494585 w 1012061"/>
                <a:gd name="connsiteY3006" fmla="*/ 146853 h 372939"/>
                <a:gd name="connsiteX3007" fmla="*/ 494335 w 1012061"/>
                <a:gd name="connsiteY3007" fmla="*/ 147812 h 372939"/>
                <a:gd name="connsiteX3008" fmla="*/ 493434 w 1012061"/>
                <a:gd name="connsiteY3008" fmla="*/ 148382 h 372939"/>
                <a:gd name="connsiteX3009" fmla="*/ 489793 w 1012061"/>
                <a:gd name="connsiteY3009" fmla="*/ 149941 h 372939"/>
                <a:gd name="connsiteX3010" fmla="*/ 487220 w 1012061"/>
                <a:gd name="connsiteY3010" fmla="*/ 151235 h 372939"/>
                <a:gd name="connsiteX3011" fmla="*/ 485136 w 1012061"/>
                <a:gd name="connsiteY3011" fmla="*/ 153077 h 372939"/>
                <a:gd name="connsiteX3012" fmla="*/ 483450 w 1012061"/>
                <a:gd name="connsiteY3012" fmla="*/ 155370 h 372939"/>
                <a:gd name="connsiteX3013" fmla="*/ 481968 w 1012061"/>
                <a:gd name="connsiteY3013" fmla="*/ 157029 h 372939"/>
                <a:gd name="connsiteX3014" fmla="*/ 479994 w 1012061"/>
                <a:gd name="connsiteY3014" fmla="*/ 157824 h 372939"/>
                <a:gd name="connsiteX3015" fmla="*/ 478567 w 1012061"/>
                <a:gd name="connsiteY3015" fmla="*/ 157705 h 372939"/>
                <a:gd name="connsiteX3016" fmla="*/ 477410 w 1012061"/>
                <a:gd name="connsiteY3016" fmla="*/ 156943 h 372939"/>
                <a:gd name="connsiteX3017" fmla="*/ 476602 w 1012061"/>
                <a:gd name="connsiteY3017" fmla="*/ 155470 h 372939"/>
                <a:gd name="connsiteX3018" fmla="*/ 476145 w 1012061"/>
                <a:gd name="connsiteY3018" fmla="*/ 153856 h 372939"/>
                <a:gd name="connsiteX3019" fmla="*/ 475842 w 1012061"/>
                <a:gd name="connsiteY3019" fmla="*/ 155049 h 372939"/>
                <a:gd name="connsiteX3020" fmla="*/ 475898 w 1012061"/>
                <a:gd name="connsiteY3020" fmla="*/ 156212 h 372939"/>
                <a:gd name="connsiteX3021" fmla="*/ 476574 w 1012061"/>
                <a:gd name="connsiteY3021" fmla="*/ 157459 h 372939"/>
                <a:gd name="connsiteX3022" fmla="*/ 476833 w 1012061"/>
                <a:gd name="connsiteY3022" fmla="*/ 158774 h 372939"/>
                <a:gd name="connsiteX3023" fmla="*/ 476445 w 1012061"/>
                <a:gd name="connsiteY3023" fmla="*/ 160117 h 372939"/>
                <a:gd name="connsiteX3024" fmla="*/ 475600 w 1012061"/>
                <a:gd name="connsiteY3024" fmla="*/ 161188 h 372939"/>
                <a:gd name="connsiteX3025" fmla="*/ 473309 w 1012061"/>
                <a:gd name="connsiteY3025" fmla="*/ 162357 h 372939"/>
                <a:gd name="connsiteX3026" fmla="*/ 472046 w 1012061"/>
                <a:gd name="connsiteY3026" fmla="*/ 163359 h 372939"/>
                <a:gd name="connsiteX3027" fmla="*/ 471839 w 1012061"/>
                <a:gd name="connsiteY3027" fmla="*/ 165111 h 372939"/>
                <a:gd name="connsiteX3028" fmla="*/ 471230 w 1012061"/>
                <a:gd name="connsiteY3028" fmla="*/ 166104 h 372939"/>
                <a:gd name="connsiteX3029" fmla="*/ 470353 w 1012061"/>
                <a:gd name="connsiteY3029" fmla="*/ 166873 h 372939"/>
                <a:gd name="connsiteX3030" fmla="*/ 467129 w 1012061"/>
                <a:gd name="connsiteY3030" fmla="*/ 168636 h 372939"/>
                <a:gd name="connsiteX3031" fmla="*/ 466410 w 1012061"/>
                <a:gd name="connsiteY3031" fmla="*/ 169340 h 372939"/>
                <a:gd name="connsiteX3032" fmla="*/ 465876 w 1012061"/>
                <a:gd name="connsiteY3032" fmla="*/ 170236 h 372939"/>
                <a:gd name="connsiteX3033" fmla="*/ 467596 w 1012061"/>
                <a:gd name="connsiteY3033" fmla="*/ 170098 h 372939"/>
                <a:gd name="connsiteX3034" fmla="*/ 469168 w 1012061"/>
                <a:gd name="connsiteY3034" fmla="*/ 170236 h 372939"/>
                <a:gd name="connsiteX3035" fmla="*/ 469284 w 1012061"/>
                <a:gd name="connsiteY3035" fmla="*/ 171991 h 372939"/>
                <a:gd name="connsiteX3036" fmla="*/ 469778 w 1012061"/>
                <a:gd name="connsiteY3036" fmla="*/ 173295 h 372939"/>
                <a:gd name="connsiteX3037" fmla="*/ 469150 w 1012061"/>
                <a:gd name="connsiteY3037" fmla="*/ 176157 h 372939"/>
                <a:gd name="connsiteX3038" fmla="*/ 466727 w 1012061"/>
                <a:gd name="connsiteY3038" fmla="*/ 178089 h 372939"/>
                <a:gd name="connsiteX3039" fmla="*/ 467937 w 1012061"/>
                <a:gd name="connsiteY3039" fmla="*/ 178495 h 372939"/>
                <a:gd name="connsiteX3040" fmla="*/ 469031 w 1012061"/>
                <a:gd name="connsiteY3040" fmla="*/ 179126 h 372939"/>
                <a:gd name="connsiteX3041" fmla="*/ 471463 w 1012061"/>
                <a:gd name="connsiteY3041" fmla="*/ 179595 h 372939"/>
                <a:gd name="connsiteX3042" fmla="*/ 472288 w 1012061"/>
                <a:gd name="connsiteY3042" fmla="*/ 181625 h 372939"/>
                <a:gd name="connsiteX3043" fmla="*/ 471929 w 1012061"/>
                <a:gd name="connsiteY3043" fmla="*/ 184084 h 372939"/>
                <a:gd name="connsiteX3044" fmla="*/ 471488 w 1012061"/>
                <a:gd name="connsiteY3044" fmla="*/ 186290 h 372939"/>
                <a:gd name="connsiteX3045" fmla="*/ 469744 w 1012061"/>
                <a:gd name="connsiteY3045" fmla="*/ 186904 h 372939"/>
                <a:gd name="connsiteX3046" fmla="*/ 468658 w 1012061"/>
                <a:gd name="connsiteY3046" fmla="*/ 186495 h 372939"/>
                <a:gd name="connsiteX3047" fmla="*/ 467580 w 1012061"/>
                <a:gd name="connsiteY3047" fmla="*/ 186534 h 372939"/>
                <a:gd name="connsiteX3048" fmla="*/ 466790 w 1012061"/>
                <a:gd name="connsiteY3048" fmla="*/ 187204 h 372939"/>
                <a:gd name="connsiteX3049" fmla="*/ 466579 w 1012061"/>
                <a:gd name="connsiteY3049" fmla="*/ 188343 h 372939"/>
                <a:gd name="connsiteX3050" fmla="*/ 468088 w 1012061"/>
                <a:gd name="connsiteY3050" fmla="*/ 187783 h 372939"/>
                <a:gd name="connsiteX3051" fmla="*/ 468003 w 1012061"/>
                <a:gd name="connsiteY3051" fmla="*/ 190634 h 372939"/>
                <a:gd name="connsiteX3052" fmla="*/ 467596 w 1012061"/>
                <a:gd name="connsiteY3052" fmla="*/ 193419 h 372939"/>
                <a:gd name="connsiteX3053" fmla="*/ 467096 w 1012061"/>
                <a:gd name="connsiteY3053" fmla="*/ 194955 h 372939"/>
                <a:gd name="connsiteX3054" fmla="*/ 466172 w 1012061"/>
                <a:gd name="connsiteY3054" fmla="*/ 196209 h 372939"/>
                <a:gd name="connsiteX3055" fmla="*/ 464777 w 1012061"/>
                <a:gd name="connsiteY3055" fmla="*/ 196611 h 372939"/>
                <a:gd name="connsiteX3056" fmla="*/ 463462 w 1012061"/>
                <a:gd name="connsiteY3056" fmla="*/ 195673 h 372939"/>
                <a:gd name="connsiteX3057" fmla="*/ 463192 w 1012061"/>
                <a:gd name="connsiteY3057" fmla="*/ 196762 h 372939"/>
                <a:gd name="connsiteX3058" fmla="*/ 463594 w 1012061"/>
                <a:gd name="connsiteY3058" fmla="*/ 197681 h 372939"/>
                <a:gd name="connsiteX3059" fmla="*/ 465472 w 1012061"/>
                <a:gd name="connsiteY3059" fmla="*/ 199918 h 372939"/>
                <a:gd name="connsiteX3060" fmla="*/ 464320 w 1012061"/>
                <a:gd name="connsiteY3060" fmla="*/ 200409 h 372939"/>
                <a:gd name="connsiteX3061" fmla="*/ 463480 w 1012061"/>
                <a:gd name="connsiteY3061" fmla="*/ 201171 h 372939"/>
                <a:gd name="connsiteX3062" fmla="*/ 463102 w 1012061"/>
                <a:gd name="connsiteY3062" fmla="*/ 202282 h 372939"/>
                <a:gd name="connsiteX3063" fmla="*/ 461056 w 1012061"/>
                <a:gd name="connsiteY3063" fmla="*/ 204829 h 372939"/>
                <a:gd name="connsiteX3064" fmla="*/ 460154 w 1012061"/>
                <a:gd name="connsiteY3064" fmla="*/ 206701 h 372939"/>
                <a:gd name="connsiteX3065" fmla="*/ 459772 w 1012061"/>
                <a:gd name="connsiteY3065" fmla="*/ 208705 h 372939"/>
                <a:gd name="connsiteX3066" fmla="*/ 458816 w 1012061"/>
                <a:gd name="connsiteY3066" fmla="*/ 210292 h 372939"/>
                <a:gd name="connsiteX3067" fmla="*/ 443382 w 1012061"/>
                <a:gd name="connsiteY3067" fmla="*/ 217197 h 372939"/>
                <a:gd name="connsiteX3068" fmla="*/ 430897 w 1012061"/>
                <a:gd name="connsiteY3068" fmla="*/ 223019 h 372939"/>
                <a:gd name="connsiteX3069" fmla="*/ 429989 w 1012061"/>
                <a:gd name="connsiteY3069" fmla="*/ 222623 h 372939"/>
                <a:gd name="connsiteX3070" fmla="*/ 429387 w 1012061"/>
                <a:gd name="connsiteY3070" fmla="*/ 221734 h 372939"/>
                <a:gd name="connsiteX3071" fmla="*/ 428959 w 1012061"/>
                <a:gd name="connsiteY3071" fmla="*/ 212690 h 372939"/>
                <a:gd name="connsiteX3072" fmla="*/ 427416 w 1012061"/>
                <a:gd name="connsiteY3072" fmla="*/ 208065 h 372939"/>
                <a:gd name="connsiteX3073" fmla="*/ 427183 w 1012061"/>
                <a:gd name="connsiteY3073" fmla="*/ 205458 h 372939"/>
                <a:gd name="connsiteX3074" fmla="*/ 425423 w 1012061"/>
                <a:gd name="connsiteY3074" fmla="*/ 207786 h 372939"/>
                <a:gd name="connsiteX3075" fmla="*/ 424343 w 1012061"/>
                <a:gd name="connsiteY3075" fmla="*/ 207551 h 372939"/>
                <a:gd name="connsiteX3076" fmla="*/ 423175 w 1012061"/>
                <a:gd name="connsiteY3076" fmla="*/ 206959 h 372939"/>
                <a:gd name="connsiteX3077" fmla="*/ 422296 w 1012061"/>
                <a:gd name="connsiteY3077" fmla="*/ 206197 h 372939"/>
                <a:gd name="connsiteX3078" fmla="*/ 422231 w 1012061"/>
                <a:gd name="connsiteY3078" fmla="*/ 205194 h 372939"/>
                <a:gd name="connsiteX3079" fmla="*/ 423175 w 1012061"/>
                <a:gd name="connsiteY3079" fmla="*/ 202326 h 372939"/>
                <a:gd name="connsiteX3080" fmla="*/ 422033 w 1012061"/>
                <a:gd name="connsiteY3080" fmla="*/ 203899 h 372939"/>
                <a:gd name="connsiteX3081" fmla="*/ 420786 w 1012061"/>
                <a:gd name="connsiteY3081" fmla="*/ 205114 h 372939"/>
                <a:gd name="connsiteX3082" fmla="*/ 419495 w 1012061"/>
                <a:gd name="connsiteY3082" fmla="*/ 204965 h 372939"/>
                <a:gd name="connsiteX3083" fmla="*/ 418383 w 1012061"/>
                <a:gd name="connsiteY3083" fmla="*/ 204364 h 372939"/>
                <a:gd name="connsiteX3084" fmla="*/ 417971 w 1012061"/>
                <a:gd name="connsiteY3084" fmla="*/ 203432 h 372939"/>
                <a:gd name="connsiteX3085" fmla="*/ 417379 w 1012061"/>
                <a:gd name="connsiteY3085" fmla="*/ 203294 h 372939"/>
                <a:gd name="connsiteX3086" fmla="*/ 414649 w 1012061"/>
                <a:gd name="connsiteY3086" fmla="*/ 205849 h 372939"/>
                <a:gd name="connsiteX3087" fmla="*/ 411046 w 1012061"/>
                <a:gd name="connsiteY3087" fmla="*/ 207220 h 372939"/>
                <a:gd name="connsiteX3088" fmla="*/ 409040 w 1012061"/>
                <a:gd name="connsiteY3088" fmla="*/ 207198 h 372939"/>
                <a:gd name="connsiteX3089" fmla="*/ 407458 w 1012061"/>
                <a:gd name="connsiteY3089" fmla="*/ 206416 h 372939"/>
                <a:gd name="connsiteX3090" fmla="*/ 407540 w 1012061"/>
                <a:gd name="connsiteY3090" fmla="*/ 204470 h 372939"/>
                <a:gd name="connsiteX3091" fmla="*/ 407381 w 1012061"/>
                <a:gd name="connsiteY3091" fmla="*/ 202568 h 372939"/>
                <a:gd name="connsiteX3092" fmla="*/ 406938 w 1012061"/>
                <a:gd name="connsiteY3092" fmla="*/ 201452 h 372939"/>
                <a:gd name="connsiteX3093" fmla="*/ 405971 w 1012061"/>
                <a:gd name="connsiteY3093" fmla="*/ 201055 h 372939"/>
                <a:gd name="connsiteX3094" fmla="*/ 405079 w 1012061"/>
                <a:gd name="connsiteY3094" fmla="*/ 201195 h 372939"/>
                <a:gd name="connsiteX3095" fmla="*/ 402492 w 1012061"/>
                <a:gd name="connsiteY3095" fmla="*/ 202187 h 372939"/>
                <a:gd name="connsiteX3096" fmla="*/ 401568 w 1012061"/>
                <a:gd name="connsiteY3096" fmla="*/ 202071 h 372939"/>
                <a:gd name="connsiteX3097" fmla="*/ 401037 w 1012061"/>
                <a:gd name="connsiteY3097" fmla="*/ 202577 h 372939"/>
                <a:gd name="connsiteX3098" fmla="*/ 394200 w 1012061"/>
                <a:gd name="connsiteY3098" fmla="*/ 195649 h 372939"/>
                <a:gd name="connsiteX3099" fmla="*/ 392818 w 1012061"/>
                <a:gd name="connsiteY3099" fmla="*/ 201262 h 372939"/>
                <a:gd name="connsiteX3100" fmla="*/ 388097 w 1012061"/>
                <a:gd name="connsiteY3100" fmla="*/ 204252 h 372939"/>
                <a:gd name="connsiteX3101" fmla="*/ 384610 w 1012061"/>
                <a:gd name="connsiteY3101" fmla="*/ 205985 h 372939"/>
                <a:gd name="connsiteX3102" fmla="*/ 381153 w 1012061"/>
                <a:gd name="connsiteY3102" fmla="*/ 205335 h 372939"/>
                <a:gd name="connsiteX3103" fmla="*/ 377638 w 1012061"/>
                <a:gd name="connsiteY3103" fmla="*/ 204226 h 372939"/>
                <a:gd name="connsiteX3104" fmla="*/ 374137 w 1012061"/>
                <a:gd name="connsiteY3104" fmla="*/ 205564 h 372939"/>
                <a:gd name="connsiteX3105" fmla="*/ 370339 w 1012061"/>
                <a:gd name="connsiteY3105" fmla="*/ 208846 h 372939"/>
                <a:gd name="connsiteX3106" fmla="*/ 369289 w 1012061"/>
                <a:gd name="connsiteY3106" fmla="*/ 209352 h 372939"/>
                <a:gd name="connsiteX3107" fmla="*/ 368199 w 1012061"/>
                <a:gd name="connsiteY3107" fmla="*/ 209337 h 372939"/>
                <a:gd name="connsiteX3108" fmla="*/ 367402 w 1012061"/>
                <a:gd name="connsiteY3108" fmla="*/ 208908 h 372939"/>
                <a:gd name="connsiteX3109" fmla="*/ 367674 w 1012061"/>
                <a:gd name="connsiteY3109" fmla="*/ 206420 h 372939"/>
                <a:gd name="connsiteX3110" fmla="*/ 367709 w 1012061"/>
                <a:gd name="connsiteY3110" fmla="*/ 203932 h 372939"/>
                <a:gd name="connsiteX3111" fmla="*/ 367423 w 1012061"/>
                <a:gd name="connsiteY3111" fmla="*/ 198387 h 372939"/>
                <a:gd name="connsiteX3112" fmla="*/ 367121 w 1012061"/>
                <a:gd name="connsiteY3112" fmla="*/ 197298 h 372939"/>
                <a:gd name="connsiteX3113" fmla="*/ 366033 w 1012061"/>
                <a:gd name="connsiteY3113" fmla="*/ 195775 h 372939"/>
                <a:gd name="connsiteX3114" fmla="*/ 364586 w 1012061"/>
                <a:gd name="connsiteY3114" fmla="*/ 194674 h 372939"/>
                <a:gd name="connsiteX3115" fmla="*/ 363781 w 1012061"/>
                <a:gd name="connsiteY3115" fmla="*/ 195479 h 372939"/>
                <a:gd name="connsiteX3116" fmla="*/ 363055 w 1012061"/>
                <a:gd name="connsiteY3116" fmla="*/ 196579 h 372939"/>
                <a:gd name="connsiteX3117" fmla="*/ 360168 w 1012061"/>
                <a:gd name="connsiteY3117" fmla="*/ 196531 h 372939"/>
                <a:gd name="connsiteX3118" fmla="*/ 357352 w 1012061"/>
                <a:gd name="connsiteY3118" fmla="*/ 195653 h 372939"/>
                <a:gd name="connsiteX3119" fmla="*/ 354955 w 1012061"/>
                <a:gd name="connsiteY3119" fmla="*/ 196157 h 372939"/>
                <a:gd name="connsiteX3120" fmla="*/ 350204 w 1012061"/>
                <a:gd name="connsiteY3120" fmla="*/ 198355 h 372939"/>
                <a:gd name="connsiteX3121" fmla="*/ 347678 w 1012061"/>
                <a:gd name="connsiteY3121" fmla="*/ 198694 h 372939"/>
                <a:gd name="connsiteX3122" fmla="*/ 346322 w 1012061"/>
                <a:gd name="connsiteY3122" fmla="*/ 198199 h 372939"/>
                <a:gd name="connsiteX3123" fmla="*/ 345458 w 1012061"/>
                <a:gd name="connsiteY3123" fmla="*/ 197013 h 372939"/>
                <a:gd name="connsiteX3124" fmla="*/ 345953 w 1012061"/>
                <a:gd name="connsiteY3124" fmla="*/ 195930 h 372939"/>
                <a:gd name="connsiteX3125" fmla="*/ 346998 w 1012061"/>
                <a:gd name="connsiteY3125" fmla="*/ 195098 h 372939"/>
                <a:gd name="connsiteX3126" fmla="*/ 345048 w 1012061"/>
                <a:gd name="connsiteY3126" fmla="*/ 195760 h 372939"/>
                <a:gd name="connsiteX3127" fmla="*/ 343383 w 1012061"/>
                <a:gd name="connsiteY3127" fmla="*/ 196870 h 372939"/>
                <a:gd name="connsiteX3128" fmla="*/ 342660 w 1012061"/>
                <a:gd name="connsiteY3128" fmla="*/ 197584 h 372939"/>
                <a:gd name="connsiteX3129" fmla="*/ 341887 w 1012061"/>
                <a:gd name="connsiteY3129" fmla="*/ 197227 h 372939"/>
                <a:gd name="connsiteX3130" fmla="*/ 339805 w 1012061"/>
                <a:gd name="connsiteY3130" fmla="*/ 194718 h 372939"/>
                <a:gd name="connsiteX3131" fmla="*/ 335460 w 1012061"/>
                <a:gd name="connsiteY3131" fmla="*/ 195656 h 372939"/>
                <a:gd name="connsiteX3132" fmla="*/ 334873 w 1012061"/>
                <a:gd name="connsiteY3132" fmla="*/ 195943 h 372939"/>
                <a:gd name="connsiteX3133" fmla="*/ 333801 w 1012061"/>
                <a:gd name="connsiteY3133" fmla="*/ 196797 h 372939"/>
                <a:gd name="connsiteX3134" fmla="*/ 332774 w 1012061"/>
                <a:gd name="connsiteY3134" fmla="*/ 196371 h 372939"/>
                <a:gd name="connsiteX3135" fmla="*/ 332256 w 1012061"/>
                <a:gd name="connsiteY3135" fmla="*/ 195463 h 372939"/>
                <a:gd name="connsiteX3136" fmla="*/ 332072 w 1012061"/>
                <a:gd name="connsiteY3136" fmla="*/ 190231 h 372939"/>
                <a:gd name="connsiteX3137" fmla="*/ 329863 w 1012061"/>
                <a:gd name="connsiteY3137" fmla="*/ 180169 h 372939"/>
                <a:gd name="connsiteX3138" fmla="*/ 329247 w 1012061"/>
                <a:gd name="connsiteY3138" fmla="*/ 175026 h 372939"/>
                <a:gd name="connsiteX3139" fmla="*/ 328771 w 1012061"/>
                <a:gd name="connsiteY3139" fmla="*/ 173809 h 372939"/>
                <a:gd name="connsiteX3140" fmla="*/ 326224 w 1012061"/>
                <a:gd name="connsiteY3140" fmla="*/ 171960 h 372939"/>
                <a:gd name="connsiteX3141" fmla="*/ 326311 w 1012061"/>
                <a:gd name="connsiteY3141" fmla="*/ 169308 h 372939"/>
                <a:gd name="connsiteX3142" fmla="*/ 327631 w 1012061"/>
                <a:gd name="connsiteY3142" fmla="*/ 167089 h 372939"/>
                <a:gd name="connsiteX3143" fmla="*/ 327911 w 1012061"/>
                <a:gd name="connsiteY3143" fmla="*/ 164504 h 372939"/>
                <a:gd name="connsiteX3144" fmla="*/ 327538 w 1012061"/>
                <a:gd name="connsiteY3144" fmla="*/ 161698 h 372939"/>
                <a:gd name="connsiteX3145" fmla="*/ 326743 w 1012061"/>
                <a:gd name="connsiteY3145" fmla="*/ 158955 h 372939"/>
                <a:gd name="connsiteX3146" fmla="*/ 325743 w 1012061"/>
                <a:gd name="connsiteY3146" fmla="*/ 156884 h 372939"/>
                <a:gd name="connsiteX3147" fmla="*/ 324314 w 1012061"/>
                <a:gd name="connsiteY3147" fmla="*/ 155113 h 372939"/>
                <a:gd name="connsiteX3148" fmla="*/ 322411 w 1012061"/>
                <a:gd name="connsiteY3148" fmla="*/ 153128 h 372939"/>
                <a:gd name="connsiteX3149" fmla="*/ 320074 w 1012061"/>
                <a:gd name="connsiteY3149" fmla="*/ 151645 h 372939"/>
                <a:gd name="connsiteX3150" fmla="*/ 315034 w 1012061"/>
                <a:gd name="connsiteY3150" fmla="*/ 149976 h 372939"/>
                <a:gd name="connsiteX3151" fmla="*/ 312374 w 1012061"/>
                <a:gd name="connsiteY3151" fmla="*/ 150122 h 372939"/>
                <a:gd name="connsiteX3152" fmla="*/ 311387 w 1012061"/>
                <a:gd name="connsiteY3152" fmla="*/ 149468 h 372939"/>
                <a:gd name="connsiteX3153" fmla="*/ 310722 w 1012061"/>
                <a:gd name="connsiteY3153" fmla="*/ 148619 h 372939"/>
                <a:gd name="connsiteX3154" fmla="*/ 310993 w 1012061"/>
                <a:gd name="connsiteY3154" fmla="*/ 146952 h 372939"/>
                <a:gd name="connsiteX3155" fmla="*/ 311893 w 1012061"/>
                <a:gd name="connsiteY3155" fmla="*/ 145806 h 372939"/>
                <a:gd name="connsiteX3156" fmla="*/ 313100 w 1012061"/>
                <a:gd name="connsiteY3156" fmla="*/ 145523 h 372939"/>
                <a:gd name="connsiteX3157" fmla="*/ 313242 w 1012061"/>
                <a:gd name="connsiteY3157" fmla="*/ 144877 h 372939"/>
                <a:gd name="connsiteX3158" fmla="*/ 310683 w 1012061"/>
                <a:gd name="connsiteY3158" fmla="*/ 143534 h 372939"/>
                <a:gd name="connsiteX3159" fmla="*/ 308550 w 1012061"/>
                <a:gd name="connsiteY3159" fmla="*/ 141709 h 372939"/>
                <a:gd name="connsiteX3160" fmla="*/ 307881 w 1012061"/>
                <a:gd name="connsiteY3160" fmla="*/ 140614 h 372939"/>
                <a:gd name="connsiteX3161" fmla="*/ 307677 w 1012061"/>
                <a:gd name="connsiteY3161" fmla="*/ 139409 h 372939"/>
                <a:gd name="connsiteX3162" fmla="*/ 307693 w 1012061"/>
                <a:gd name="connsiteY3162" fmla="*/ 136626 h 372939"/>
                <a:gd name="connsiteX3163" fmla="*/ 308308 w 1012061"/>
                <a:gd name="connsiteY3163" fmla="*/ 134868 h 372939"/>
                <a:gd name="connsiteX3164" fmla="*/ 308643 w 1012061"/>
                <a:gd name="connsiteY3164" fmla="*/ 133916 h 372939"/>
                <a:gd name="connsiteX3165" fmla="*/ 309304 w 1012061"/>
                <a:gd name="connsiteY3165" fmla="*/ 130974 h 372939"/>
                <a:gd name="connsiteX3166" fmla="*/ 310694 w 1012061"/>
                <a:gd name="connsiteY3166" fmla="*/ 130076 h 372939"/>
                <a:gd name="connsiteX3167" fmla="*/ 310468 w 1012061"/>
                <a:gd name="connsiteY3167" fmla="*/ 129532 h 372939"/>
                <a:gd name="connsiteX3168" fmla="*/ 309870 w 1012061"/>
                <a:gd name="connsiteY3168" fmla="*/ 129133 h 372939"/>
                <a:gd name="connsiteX3169" fmla="*/ 308997 w 1012061"/>
                <a:gd name="connsiteY3169" fmla="*/ 128168 h 372939"/>
                <a:gd name="connsiteX3170" fmla="*/ 308284 w 1012061"/>
                <a:gd name="connsiteY3170" fmla="*/ 127058 h 372939"/>
                <a:gd name="connsiteX3171" fmla="*/ 306654 w 1012061"/>
                <a:gd name="connsiteY3171" fmla="*/ 125175 h 372939"/>
                <a:gd name="connsiteX3172" fmla="*/ 303774 w 1012061"/>
                <a:gd name="connsiteY3172" fmla="*/ 122901 h 372939"/>
                <a:gd name="connsiteX3173" fmla="*/ 303292 w 1012061"/>
                <a:gd name="connsiteY3173" fmla="*/ 118984 h 372939"/>
                <a:gd name="connsiteX3174" fmla="*/ 302919 w 1012061"/>
                <a:gd name="connsiteY3174" fmla="*/ 113209 h 372939"/>
                <a:gd name="connsiteX3175" fmla="*/ 303160 w 1012061"/>
                <a:gd name="connsiteY3175" fmla="*/ 110584 h 372939"/>
                <a:gd name="connsiteX3176" fmla="*/ 304085 w 1012061"/>
                <a:gd name="connsiteY3176" fmla="*/ 105676 h 372939"/>
                <a:gd name="connsiteX3177" fmla="*/ 305682 w 1012061"/>
                <a:gd name="connsiteY3177" fmla="*/ 104130 h 372939"/>
                <a:gd name="connsiteX3178" fmla="*/ 306957 w 1012061"/>
                <a:gd name="connsiteY3178" fmla="*/ 103700 h 372939"/>
                <a:gd name="connsiteX3179" fmla="*/ 307908 w 1012061"/>
                <a:gd name="connsiteY3179" fmla="*/ 103039 h 372939"/>
                <a:gd name="connsiteX3180" fmla="*/ 307125 w 1012061"/>
                <a:gd name="connsiteY3180" fmla="*/ 102944 h 372939"/>
                <a:gd name="connsiteX3181" fmla="*/ 306447 w 1012061"/>
                <a:gd name="connsiteY3181" fmla="*/ 103186 h 372939"/>
                <a:gd name="connsiteX3182" fmla="*/ 305226 w 1012061"/>
                <a:gd name="connsiteY3182" fmla="*/ 103353 h 372939"/>
                <a:gd name="connsiteX3183" fmla="*/ 306226 w 1012061"/>
                <a:gd name="connsiteY3183" fmla="*/ 98955 h 372939"/>
                <a:gd name="connsiteX3184" fmla="*/ 306678 w 1012061"/>
                <a:gd name="connsiteY3184" fmla="*/ 97685 h 372939"/>
                <a:gd name="connsiteX3185" fmla="*/ 308686 w 1012061"/>
                <a:gd name="connsiteY3185" fmla="*/ 95226 h 372939"/>
                <a:gd name="connsiteX3186" fmla="*/ 311040 w 1012061"/>
                <a:gd name="connsiteY3186" fmla="*/ 93050 h 372939"/>
                <a:gd name="connsiteX3187" fmla="*/ 312035 w 1012061"/>
                <a:gd name="connsiteY3187" fmla="*/ 90493 h 372939"/>
                <a:gd name="connsiteX3188" fmla="*/ 313370 w 1012061"/>
                <a:gd name="connsiteY3188" fmla="*/ 88245 h 372939"/>
                <a:gd name="connsiteX3189" fmla="*/ 318906 w 1012061"/>
                <a:gd name="connsiteY3189" fmla="*/ 85926 h 372939"/>
                <a:gd name="connsiteX3190" fmla="*/ 316917 w 1012061"/>
                <a:gd name="connsiteY3190" fmla="*/ 88832 h 372939"/>
                <a:gd name="connsiteX3191" fmla="*/ 317138 w 1012061"/>
                <a:gd name="connsiteY3191" fmla="*/ 89890 h 372939"/>
                <a:gd name="connsiteX3192" fmla="*/ 317622 w 1012061"/>
                <a:gd name="connsiteY3192" fmla="*/ 90820 h 372939"/>
                <a:gd name="connsiteX3193" fmla="*/ 319060 w 1012061"/>
                <a:gd name="connsiteY3193" fmla="*/ 91476 h 372939"/>
                <a:gd name="connsiteX3194" fmla="*/ 319461 w 1012061"/>
                <a:gd name="connsiteY3194" fmla="*/ 95054 h 372939"/>
                <a:gd name="connsiteX3195" fmla="*/ 321269 w 1012061"/>
                <a:gd name="connsiteY3195" fmla="*/ 97087 h 372939"/>
                <a:gd name="connsiteX3196" fmla="*/ 323089 w 1012061"/>
                <a:gd name="connsiteY3196" fmla="*/ 98945 h 372939"/>
                <a:gd name="connsiteX3197" fmla="*/ 324426 w 1012061"/>
                <a:gd name="connsiteY3197" fmla="*/ 99854 h 372939"/>
                <a:gd name="connsiteX3198" fmla="*/ 325894 w 1012061"/>
                <a:gd name="connsiteY3198" fmla="*/ 101177 h 372939"/>
                <a:gd name="connsiteX3199" fmla="*/ 326928 w 1012061"/>
                <a:gd name="connsiteY3199" fmla="*/ 102403 h 372939"/>
                <a:gd name="connsiteX3200" fmla="*/ 328015 w 1012061"/>
                <a:gd name="connsiteY3200" fmla="*/ 103439 h 372939"/>
                <a:gd name="connsiteX3201" fmla="*/ 329650 w 1012061"/>
                <a:gd name="connsiteY3201" fmla="*/ 104448 h 372939"/>
                <a:gd name="connsiteX3202" fmla="*/ 334083 w 1012061"/>
                <a:gd name="connsiteY3202" fmla="*/ 108741 h 372939"/>
                <a:gd name="connsiteX3203" fmla="*/ 335935 w 1012061"/>
                <a:gd name="connsiteY3203" fmla="*/ 110000 h 372939"/>
                <a:gd name="connsiteX3204" fmla="*/ 337315 w 1012061"/>
                <a:gd name="connsiteY3204" fmla="*/ 111260 h 372939"/>
                <a:gd name="connsiteX3205" fmla="*/ 338296 w 1012061"/>
                <a:gd name="connsiteY3205" fmla="*/ 111705 h 372939"/>
                <a:gd name="connsiteX3206" fmla="*/ 340706 w 1012061"/>
                <a:gd name="connsiteY3206" fmla="*/ 111348 h 372939"/>
                <a:gd name="connsiteX3207" fmla="*/ 347856 w 1012061"/>
                <a:gd name="connsiteY3207" fmla="*/ 108269 h 372939"/>
                <a:gd name="connsiteX3208" fmla="*/ 349138 w 1012061"/>
                <a:gd name="connsiteY3208" fmla="*/ 108069 h 372939"/>
                <a:gd name="connsiteX3209" fmla="*/ 351466 w 1012061"/>
                <a:gd name="connsiteY3209" fmla="*/ 107535 h 372939"/>
                <a:gd name="connsiteX3210" fmla="*/ 355564 w 1012061"/>
                <a:gd name="connsiteY3210" fmla="*/ 107697 h 372939"/>
                <a:gd name="connsiteX3211" fmla="*/ 359909 w 1012061"/>
                <a:gd name="connsiteY3211" fmla="*/ 108746 h 372939"/>
                <a:gd name="connsiteX3212" fmla="*/ 361312 w 1012061"/>
                <a:gd name="connsiteY3212" fmla="*/ 108778 h 372939"/>
                <a:gd name="connsiteX3213" fmla="*/ 362656 w 1012061"/>
                <a:gd name="connsiteY3213" fmla="*/ 108153 h 372939"/>
                <a:gd name="connsiteX3214" fmla="*/ 364510 w 1012061"/>
                <a:gd name="connsiteY3214" fmla="*/ 108338 h 372939"/>
                <a:gd name="connsiteX3215" fmla="*/ 366244 w 1012061"/>
                <a:gd name="connsiteY3215" fmla="*/ 108664 h 372939"/>
                <a:gd name="connsiteX3216" fmla="*/ 367113 w 1012061"/>
                <a:gd name="connsiteY3216" fmla="*/ 108394 h 372939"/>
                <a:gd name="connsiteX3217" fmla="*/ 369636 w 1012061"/>
                <a:gd name="connsiteY3217" fmla="*/ 106147 h 372939"/>
                <a:gd name="connsiteX3218" fmla="*/ 373073 w 1012061"/>
                <a:gd name="connsiteY3218" fmla="*/ 105482 h 372939"/>
                <a:gd name="connsiteX3219" fmla="*/ 374180 w 1012061"/>
                <a:gd name="connsiteY3219" fmla="*/ 103265 h 372939"/>
                <a:gd name="connsiteX3220" fmla="*/ 375038 w 1012061"/>
                <a:gd name="connsiteY3220" fmla="*/ 101174 h 372939"/>
                <a:gd name="connsiteX3221" fmla="*/ 375444 w 1012061"/>
                <a:gd name="connsiteY3221" fmla="*/ 98942 h 372939"/>
                <a:gd name="connsiteX3222" fmla="*/ 376879 w 1012061"/>
                <a:gd name="connsiteY3222" fmla="*/ 98045 h 372939"/>
                <a:gd name="connsiteX3223" fmla="*/ 378890 w 1012061"/>
                <a:gd name="connsiteY3223" fmla="*/ 97269 h 372939"/>
                <a:gd name="connsiteX3224" fmla="*/ 381866 w 1012061"/>
                <a:gd name="connsiteY3224" fmla="*/ 96288 h 372939"/>
                <a:gd name="connsiteX3225" fmla="*/ 392188 w 1012061"/>
                <a:gd name="connsiteY3225" fmla="*/ 96113 h 372939"/>
                <a:gd name="connsiteX3226" fmla="*/ 393189 w 1012061"/>
                <a:gd name="connsiteY3226" fmla="*/ 96543 h 372939"/>
                <a:gd name="connsiteX3227" fmla="*/ 393406 w 1012061"/>
                <a:gd name="connsiteY3227" fmla="*/ 97678 h 372939"/>
                <a:gd name="connsiteX3228" fmla="*/ 393189 w 1012061"/>
                <a:gd name="connsiteY3228" fmla="*/ 98543 h 372939"/>
                <a:gd name="connsiteX3229" fmla="*/ 393593 w 1012061"/>
                <a:gd name="connsiteY3229" fmla="*/ 99057 h 372939"/>
                <a:gd name="connsiteX3230" fmla="*/ 394967 w 1012061"/>
                <a:gd name="connsiteY3230" fmla="*/ 99103 h 372939"/>
                <a:gd name="connsiteX3231" fmla="*/ 396240 w 1012061"/>
                <a:gd name="connsiteY3231" fmla="*/ 99627 h 372939"/>
                <a:gd name="connsiteX3232" fmla="*/ 401386 w 1012061"/>
                <a:gd name="connsiteY3232" fmla="*/ 101418 h 372939"/>
                <a:gd name="connsiteX3233" fmla="*/ 403580 w 1012061"/>
                <a:gd name="connsiteY3233" fmla="*/ 101970 h 372939"/>
                <a:gd name="connsiteX3234" fmla="*/ 404796 w 1012061"/>
                <a:gd name="connsiteY3234" fmla="*/ 101832 h 372939"/>
                <a:gd name="connsiteX3235" fmla="*/ 407208 w 1012061"/>
                <a:gd name="connsiteY3235" fmla="*/ 103435 h 372939"/>
                <a:gd name="connsiteX3236" fmla="*/ 408521 w 1012061"/>
                <a:gd name="connsiteY3236" fmla="*/ 102889 h 372939"/>
                <a:gd name="connsiteX3237" fmla="*/ 410261 w 1012061"/>
                <a:gd name="connsiteY3237" fmla="*/ 101766 h 372939"/>
                <a:gd name="connsiteX3238" fmla="*/ 411918 w 1012061"/>
                <a:gd name="connsiteY3238" fmla="*/ 100251 h 372939"/>
                <a:gd name="connsiteX3239" fmla="*/ 413401 w 1012061"/>
                <a:gd name="connsiteY3239" fmla="*/ 99048 h 372939"/>
                <a:gd name="connsiteX3240" fmla="*/ 415561 w 1012061"/>
                <a:gd name="connsiteY3240" fmla="*/ 98584 h 372939"/>
                <a:gd name="connsiteX3241" fmla="*/ 418346 w 1012061"/>
                <a:gd name="connsiteY3241" fmla="*/ 98649 h 372939"/>
                <a:gd name="connsiteX3242" fmla="*/ 421635 w 1012061"/>
                <a:gd name="connsiteY3242" fmla="*/ 98238 h 372939"/>
                <a:gd name="connsiteX3243" fmla="*/ 424121 w 1012061"/>
                <a:gd name="connsiteY3243" fmla="*/ 97593 h 372939"/>
                <a:gd name="connsiteX3244" fmla="*/ 426893 w 1012061"/>
                <a:gd name="connsiteY3244" fmla="*/ 98656 h 372939"/>
                <a:gd name="connsiteX3245" fmla="*/ 427631 w 1012061"/>
                <a:gd name="connsiteY3245" fmla="*/ 98321 h 372939"/>
                <a:gd name="connsiteX3246" fmla="*/ 428109 w 1012061"/>
                <a:gd name="connsiteY3246" fmla="*/ 97281 h 372939"/>
                <a:gd name="connsiteX3247" fmla="*/ 429541 w 1012061"/>
                <a:gd name="connsiteY3247" fmla="*/ 95006 h 372939"/>
                <a:gd name="connsiteX3248" fmla="*/ 430175 w 1012061"/>
                <a:gd name="connsiteY3248" fmla="*/ 93475 h 372939"/>
                <a:gd name="connsiteX3249" fmla="*/ 430733 w 1012061"/>
                <a:gd name="connsiteY3249" fmla="*/ 90538 h 372939"/>
                <a:gd name="connsiteX3250" fmla="*/ 431117 w 1012061"/>
                <a:gd name="connsiteY3250" fmla="*/ 89836 h 372939"/>
                <a:gd name="connsiteX3251" fmla="*/ 432168 w 1012061"/>
                <a:gd name="connsiteY3251" fmla="*/ 89433 h 372939"/>
                <a:gd name="connsiteX3252" fmla="*/ 433250 w 1012061"/>
                <a:gd name="connsiteY3252" fmla="*/ 88881 h 372939"/>
                <a:gd name="connsiteX3253" fmla="*/ 433531 w 1012061"/>
                <a:gd name="connsiteY3253" fmla="*/ 88000 h 372939"/>
                <a:gd name="connsiteX3254" fmla="*/ 433926 w 1012061"/>
                <a:gd name="connsiteY3254" fmla="*/ 86977 h 372939"/>
                <a:gd name="connsiteX3255" fmla="*/ 433600 w 1012061"/>
                <a:gd name="connsiteY3255" fmla="*/ 86116 h 372939"/>
                <a:gd name="connsiteX3256" fmla="*/ 432985 w 1012061"/>
                <a:gd name="connsiteY3256" fmla="*/ 85393 h 372939"/>
                <a:gd name="connsiteX3257" fmla="*/ 432337 w 1012061"/>
                <a:gd name="connsiteY3257" fmla="*/ 82943 h 372939"/>
                <a:gd name="connsiteX3258" fmla="*/ 432550 w 1012061"/>
                <a:gd name="connsiteY3258" fmla="*/ 81825 h 372939"/>
                <a:gd name="connsiteX3259" fmla="*/ 432950 w 1012061"/>
                <a:gd name="connsiteY3259" fmla="*/ 80994 h 372939"/>
                <a:gd name="connsiteX3260" fmla="*/ 434053 w 1012061"/>
                <a:gd name="connsiteY3260" fmla="*/ 80576 h 372939"/>
                <a:gd name="connsiteX3261" fmla="*/ 436991 w 1012061"/>
                <a:gd name="connsiteY3261" fmla="*/ 78774 h 372939"/>
                <a:gd name="connsiteX3262" fmla="*/ 439586 w 1012061"/>
                <a:gd name="connsiteY3262" fmla="*/ 76665 h 372939"/>
                <a:gd name="connsiteX3263" fmla="*/ 441007 w 1012061"/>
                <a:gd name="connsiteY3263" fmla="*/ 75630 h 372939"/>
                <a:gd name="connsiteX3264" fmla="*/ 441633 w 1012061"/>
                <a:gd name="connsiteY3264" fmla="*/ 74961 h 372939"/>
                <a:gd name="connsiteX3265" fmla="*/ 441672 w 1012061"/>
                <a:gd name="connsiteY3265" fmla="*/ 73994 h 372939"/>
                <a:gd name="connsiteX3266" fmla="*/ 440545 w 1012061"/>
                <a:gd name="connsiteY3266" fmla="*/ 72987 h 372939"/>
                <a:gd name="connsiteX3267" fmla="*/ 439459 w 1012061"/>
                <a:gd name="connsiteY3267" fmla="*/ 72504 h 372939"/>
                <a:gd name="connsiteX3268" fmla="*/ 439376 w 1012061"/>
                <a:gd name="connsiteY3268" fmla="*/ 71336 h 372939"/>
                <a:gd name="connsiteX3269" fmla="*/ 439417 w 1012061"/>
                <a:gd name="connsiteY3269" fmla="*/ 70530 h 372939"/>
                <a:gd name="connsiteX3270" fmla="*/ 439743 w 1012061"/>
                <a:gd name="connsiteY3270" fmla="*/ 69769 h 372939"/>
                <a:gd name="connsiteX3271" fmla="*/ 439586 w 1012061"/>
                <a:gd name="connsiteY3271" fmla="*/ 69030 h 372939"/>
                <a:gd name="connsiteX3272" fmla="*/ 439582 w 1012061"/>
                <a:gd name="connsiteY3272" fmla="*/ 67926 h 372939"/>
                <a:gd name="connsiteX3273" fmla="*/ 440272 w 1012061"/>
                <a:gd name="connsiteY3273" fmla="*/ 66736 h 372939"/>
                <a:gd name="connsiteX3274" fmla="*/ 441872 w 1012061"/>
                <a:gd name="connsiteY3274" fmla="*/ 64975 h 372939"/>
                <a:gd name="connsiteX3275" fmla="*/ 443134 w 1012061"/>
                <a:gd name="connsiteY3275" fmla="*/ 63836 h 372939"/>
                <a:gd name="connsiteX3276" fmla="*/ 444531 w 1012061"/>
                <a:gd name="connsiteY3276" fmla="*/ 64544 h 372939"/>
                <a:gd name="connsiteX3277" fmla="*/ 446167 w 1012061"/>
                <a:gd name="connsiteY3277" fmla="*/ 64216 h 372939"/>
                <a:gd name="connsiteX3278" fmla="*/ 447720 w 1012061"/>
                <a:gd name="connsiteY3278" fmla="*/ 63650 h 372939"/>
                <a:gd name="connsiteX3279" fmla="*/ 448577 w 1012061"/>
                <a:gd name="connsiteY3279" fmla="*/ 61574 h 372939"/>
                <a:gd name="connsiteX3280" fmla="*/ 448709 w 1012061"/>
                <a:gd name="connsiteY3280" fmla="*/ 60578 h 372939"/>
                <a:gd name="connsiteX3281" fmla="*/ 448502 w 1012061"/>
                <a:gd name="connsiteY3281" fmla="*/ 59792 h 372939"/>
                <a:gd name="connsiteX3282" fmla="*/ 449044 w 1012061"/>
                <a:gd name="connsiteY3282" fmla="*/ 56831 h 372939"/>
                <a:gd name="connsiteX3283" fmla="*/ 449169 w 1012061"/>
                <a:gd name="connsiteY3283" fmla="*/ 56404 h 372939"/>
                <a:gd name="connsiteX3284" fmla="*/ 450190 w 1012061"/>
                <a:gd name="connsiteY3284" fmla="*/ 54543 h 372939"/>
                <a:gd name="connsiteX3285" fmla="*/ 450292 w 1012061"/>
                <a:gd name="connsiteY3285" fmla="*/ 53291 h 372939"/>
                <a:gd name="connsiteX3286" fmla="*/ 449714 w 1012061"/>
                <a:gd name="connsiteY3286" fmla="*/ 50382 h 372939"/>
                <a:gd name="connsiteX3287" fmla="*/ 450077 w 1012061"/>
                <a:gd name="connsiteY3287" fmla="*/ 48182 h 372939"/>
                <a:gd name="connsiteX3288" fmla="*/ 450242 w 1012061"/>
                <a:gd name="connsiteY3288" fmla="*/ 43627 h 372939"/>
                <a:gd name="connsiteX3289" fmla="*/ 450853 w 1012061"/>
                <a:gd name="connsiteY3289" fmla="*/ 42813 h 372939"/>
                <a:gd name="connsiteX3290" fmla="*/ 451549 w 1012061"/>
                <a:gd name="connsiteY3290" fmla="*/ 40455 h 372939"/>
                <a:gd name="connsiteX3291" fmla="*/ 452683 w 1012061"/>
                <a:gd name="connsiteY3291" fmla="*/ 37996 h 372939"/>
                <a:gd name="connsiteX3292" fmla="*/ 454974 w 1012061"/>
                <a:gd name="connsiteY3292" fmla="*/ 36650 h 372939"/>
                <a:gd name="connsiteX3293" fmla="*/ 456176 w 1012061"/>
                <a:gd name="connsiteY3293" fmla="*/ 34888 h 372939"/>
                <a:gd name="connsiteX3294" fmla="*/ 456706 w 1012061"/>
                <a:gd name="connsiteY3294" fmla="*/ 34562 h 372939"/>
                <a:gd name="connsiteX3295" fmla="*/ 457489 w 1012061"/>
                <a:gd name="connsiteY3295" fmla="*/ 34548 h 372939"/>
                <a:gd name="connsiteX3296" fmla="*/ 460262 w 1012061"/>
                <a:gd name="connsiteY3296" fmla="*/ 35833 h 372939"/>
                <a:gd name="connsiteX3297" fmla="*/ 462758 w 1012061"/>
                <a:gd name="connsiteY3297" fmla="*/ 34404 h 372939"/>
                <a:gd name="connsiteX3298" fmla="*/ 465008 w 1012061"/>
                <a:gd name="connsiteY3298" fmla="*/ 34240 h 372939"/>
                <a:gd name="connsiteX3299" fmla="*/ 466868 w 1012061"/>
                <a:gd name="connsiteY3299" fmla="*/ 34436 h 372939"/>
                <a:gd name="connsiteX3300" fmla="*/ 467915 w 1012061"/>
                <a:gd name="connsiteY3300" fmla="*/ 35020 h 372939"/>
                <a:gd name="connsiteX3301" fmla="*/ 468951 w 1012061"/>
                <a:gd name="connsiteY3301" fmla="*/ 35444 h 372939"/>
                <a:gd name="connsiteX3302" fmla="*/ 697652 w 1012061"/>
                <a:gd name="connsiteY3302" fmla="*/ 30134 h 372939"/>
                <a:gd name="connsiteX3303" fmla="*/ 698872 w 1012061"/>
                <a:gd name="connsiteY3303" fmla="*/ 30371 h 372939"/>
                <a:gd name="connsiteX3304" fmla="*/ 700036 w 1012061"/>
                <a:gd name="connsiteY3304" fmla="*/ 31642 h 372939"/>
                <a:gd name="connsiteX3305" fmla="*/ 700513 w 1012061"/>
                <a:gd name="connsiteY3305" fmla="*/ 34020 h 372939"/>
                <a:gd name="connsiteX3306" fmla="*/ 701274 w 1012061"/>
                <a:gd name="connsiteY3306" fmla="*/ 35825 h 372939"/>
                <a:gd name="connsiteX3307" fmla="*/ 699649 w 1012061"/>
                <a:gd name="connsiteY3307" fmla="*/ 38285 h 372939"/>
                <a:gd name="connsiteX3308" fmla="*/ 698963 w 1012061"/>
                <a:gd name="connsiteY3308" fmla="*/ 41529 h 372939"/>
                <a:gd name="connsiteX3309" fmla="*/ 698071 w 1012061"/>
                <a:gd name="connsiteY3309" fmla="*/ 41992 h 372939"/>
                <a:gd name="connsiteX3310" fmla="*/ 696633 w 1012061"/>
                <a:gd name="connsiteY3310" fmla="*/ 41822 h 372939"/>
                <a:gd name="connsiteX3311" fmla="*/ 696484 w 1012061"/>
                <a:gd name="connsiteY3311" fmla="*/ 40699 h 372939"/>
                <a:gd name="connsiteX3312" fmla="*/ 697935 w 1012061"/>
                <a:gd name="connsiteY3312" fmla="*/ 38678 h 372939"/>
                <a:gd name="connsiteX3313" fmla="*/ 698896 w 1012061"/>
                <a:gd name="connsiteY3313" fmla="*/ 36545 h 372939"/>
                <a:gd name="connsiteX3314" fmla="*/ 697872 w 1012061"/>
                <a:gd name="connsiteY3314" fmla="*/ 36012 h 372939"/>
                <a:gd name="connsiteX3315" fmla="*/ 696872 w 1012061"/>
                <a:gd name="connsiteY3315" fmla="*/ 34647 h 372939"/>
                <a:gd name="connsiteX3316" fmla="*/ 696837 w 1012061"/>
                <a:gd name="connsiteY3316" fmla="*/ 33060 h 372939"/>
                <a:gd name="connsiteX3317" fmla="*/ 4189 w 1012061"/>
                <a:gd name="connsiteY3317" fmla="*/ 6172 h 372939"/>
                <a:gd name="connsiteX3318" fmla="*/ 6863 w 1012061"/>
                <a:gd name="connsiteY3318" fmla="*/ 6265 h 372939"/>
                <a:gd name="connsiteX3319" fmla="*/ 9337 w 1012061"/>
                <a:gd name="connsiteY3319" fmla="*/ 6610 h 372939"/>
                <a:gd name="connsiteX3320" fmla="*/ 11734 w 1012061"/>
                <a:gd name="connsiteY3320" fmla="*/ 7270 h 372939"/>
                <a:gd name="connsiteX3321" fmla="*/ 14033 w 1012061"/>
                <a:gd name="connsiteY3321" fmla="*/ 8707 h 372939"/>
                <a:gd name="connsiteX3322" fmla="*/ 18147 w 1012061"/>
                <a:gd name="connsiteY3322" fmla="*/ 12329 h 372939"/>
                <a:gd name="connsiteX3323" fmla="*/ 20490 w 1012061"/>
                <a:gd name="connsiteY3323" fmla="*/ 13590 h 372939"/>
                <a:gd name="connsiteX3324" fmla="*/ 23090 w 1012061"/>
                <a:gd name="connsiteY3324" fmla="*/ 14196 h 372939"/>
                <a:gd name="connsiteX3325" fmla="*/ 28435 w 1012061"/>
                <a:gd name="connsiteY3325" fmla="*/ 15030 h 372939"/>
                <a:gd name="connsiteX3326" fmla="*/ 31147 w 1012061"/>
                <a:gd name="connsiteY3326" fmla="*/ 15233 h 372939"/>
                <a:gd name="connsiteX3327" fmla="*/ 36176 w 1012061"/>
                <a:gd name="connsiteY3327" fmla="*/ 14030 h 372939"/>
                <a:gd name="connsiteX3328" fmla="*/ 38942 w 1012061"/>
                <a:gd name="connsiteY3328" fmla="*/ 14148 h 372939"/>
                <a:gd name="connsiteX3329" fmla="*/ 41550 w 1012061"/>
                <a:gd name="connsiteY3329" fmla="*/ 15018 h 372939"/>
                <a:gd name="connsiteX3330" fmla="*/ 43866 w 1012061"/>
                <a:gd name="connsiteY3330" fmla="*/ 15519 h 372939"/>
                <a:gd name="connsiteX3331" fmla="*/ 49631 w 1012061"/>
                <a:gd name="connsiteY3331" fmla="*/ 14882 h 372939"/>
                <a:gd name="connsiteX3332" fmla="*/ 50715 w 1012061"/>
                <a:gd name="connsiteY3332" fmla="*/ 15053 h 372939"/>
                <a:gd name="connsiteX3333" fmla="*/ 51754 w 1012061"/>
                <a:gd name="connsiteY3333" fmla="*/ 15551 h 372939"/>
                <a:gd name="connsiteX3334" fmla="*/ 52646 w 1012061"/>
                <a:gd name="connsiteY3334" fmla="*/ 16338 h 372939"/>
                <a:gd name="connsiteX3335" fmla="*/ 55282 w 1012061"/>
                <a:gd name="connsiteY3335" fmla="*/ 19225 h 372939"/>
                <a:gd name="connsiteX3336" fmla="*/ 59741 w 1012061"/>
                <a:gd name="connsiteY3336" fmla="*/ 22775 h 372939"/>
                <a:gd name="connsiteX3337" fmla="*/ 61028 w 1012061"/>
                <a:gd name="connsiteY3337" fmla="*/ 25046 h 372939"/>
                <a:gd name="connsiteX3338" fmla="*/ 61762 w 1012061"/>
                <a:gd name="connsiteY3338" fmla="*/ 27600 h 372939"/>
                <a:gd name="connsiteX3339" fmla="*/ 62225 w 1012061"/>
                <a:gd name="connsiteY3339" fmla="*/ 28199 h 372939"/>
                <a:gd name="connsiteX3340" fmla="*/ 67260 w 1012061"/>
                <a:gd name="connsiteY3340" fmla="*/ 33089 h 372939"/>
                <a:gd name="connsiteX3341" fmla="*/ 67811 w 1012061"/>
                <a:gd name="connsiteY3341" fmla="*/ 35132 h 372939"/>
                <a:gd name="connsiteX3342" fmla="*/ 67101 w 1012061"/>
                <a:gd name="connsiteY3342" fmla="*/ 37962 h 372939"/>
                <a:gd name="connsiteX3343" fmla="*/ 68563 w 1012061"/>
                <a:gd name="connsiteY3343" fmla="*/ 40214 h 372939"/>
                <a:gd name="connsiteX3344" fmla="*/ 73449 w 1012061"/>
                <a:gd name="connsiteY3344" fmla="*/ 42325 h 372939"/>
                <a:gd name="connsiteX3345" fmla="*/ 76332 w 1012061"/>
                <a:gd name="connsiteY3345" fmla="*/ 43863 h 372939"/>
                <a:gd name="connsiteX3346" fmla="*/ 76947 w 1012061"/>
                <a:gd name="connsiteY3346" fmla="*/ 44806 h 372939"/>
                <a:gd name="connsiteX3347" fmla="*/ 77373 w 1012061"/>
                <a:gd name="connsiteY3347" fmla="*/ 45930 h 372939"/>
                <a:gd name="connsiteX3348" fmla="*/ 78968 w 1012061"/>
                <a:gd name="connsiteY3348" fmla="*/ 47598 h 372939"/>
                <a:gd name="connsiteX3349" fmla="*/ 80974 w 1012061"/>
                <a:gd name="connsiteY3349" fmla="*/ 48685 h 372939"/>
                <a:gd name="connsiteX3350" fmla="*/ 87222 w 1012061"/>
                <a:gd name="connsiteY3350" fmla="*/ 51543 h 372939"/>
                <a:gd name="connsiteX3351" fmla="*/ 95410 w 1012061"/>
                <a:gd name="connsiteY3351" fmla="*/ 57522 h 372939"/>
                <a:gd name="connsiteX3352" fmla="*/ 100072 w 1012061"/>
                <a:gd name="connsiteY3352" fmla="*/ 60358 h 372939"/>
                <a:gd name="connsiteX3353" fmla="*/ 103926 w 1012061"/>
                <a:gd name="connsiteY3353" fmla="*/ 64671 h 372939"/>
                <a:gd name="connsiteX3354" fmla="*/ 105315 w 1012061"/>
                <a:gd name="connsiteY3354" fmla="*/ 66735 h 372939"/>
                <a:gd name="connsiteX3355" fmla="*/ 106462 w 1012061"/>
                <a:gd name="connsiteY3355" fmla="*/ 68963 h 372939"/>
                <a:gd name="connsiteX3356" fmla="*/ 108804 w 1012061"/>
                <a:gd name="connsiteY3356" fmla="*/ 72208 h 372939"/>
                <a:gd name="connsiteX3357" fmla="*/ 112785 w 1012061"/>
                <a:gd name="connsiteY3357" fmla="*/ 76213 h 372939"/>
                <a:gd name="connsiteX3358" fmla="*/ 113791 w 1012061"/>
                <a:gd name="connsiteY3358" fmla="*/ 77432 h 372939"/>
                <a:gd name="connsiteX3359" fmla="*/ 114862 w 1012061"/>
                <a:gd name="connsiteY3359" fmla="*/ 79198 h 372939"/>
                <a:gd name="connsiteX3360" fmla="*/ 116097 w 1012061"/>
                <a:gd name="connsiteY3360" fmla="*/ 80841 h 372939"/>
                <a:gd name="connsiteX3361" fmla="*/ 117574 w 1012061"/>
                <a:gd name="connsiteY3361" fmla="*/ 82351 h 372939"/>
                <a:gd name="connsiteX3362" fmla="*/ 119338 w 1012061"/>
                <a:gd name="connsiteY3362" fmla="*/ 83506 h 372939"/>
                <a:gd name="connsiteX3363" fmla="*/ 121144 w 1012061"/>
                <a:gd name="connsiteY3363" fmla="*/ 83879 h 372939"/>
                <a:gd name="connsiteX3364" fmla="*/ 124052 w 1012061"/>
                <a:gd name="connsiteY3364" fmla="*/ 86773 h 372939"/>
                <a:gd name="connsiteX3365" fmla="*/ 125624 w 1012061"/>
                <a:gd name="connsiteY3365" fmla="*/ 87680 h 372939"/>
                <a:gd name="connsiteX3366" fmla="*/ 125376 w 1012061"/>
                <a:gd name="connsiteY3366" fmla="*/ 85416 h 372939"/>
                <a:gd name="connsiteX3367" fmla="*/ 124055 w 1012061"/>
                <a:gd name="connsiteY3367" fmla="*/ 83434 h 372939"/>
                <a:gd name="connsiteX3368" fmla="*/ 124074 w 1012061"/>
                <a:gd name="connsiteY3368" fmla="*/ 82239 h 372939"/>
                <a:gd name="connsiteX3369" fmla="*/ 124305 w 1012061"/>
                <a:gd name="connsiteY3369" fmla="*/ 81169 h 372939"/>
                <a:gd name="connsiteX3370" fmla="*/ 125385 w 1012061"/>
                <a:gd name="connsiteY3370" fmla="*/ 80268 h 372939"/>
                <a:gd name="connsiteX3371" fmla="*/ 126686 w 1012061"/>
                <a:gd name="connsiteY3371" fmla="*/ 80015 h 372939"/>
                <a:gd name="connsiteX3372" fmla="*/ 129125 w 1012061"/>
                <a:gd name="connsiteY3372" fmla="*/ 80839 h 372939"/>
                <a:gd name="connsiteX3373" fmla="*/ 133083 w 1012061"/>
                <a:gd name="connsiteY3373" fmla="*/ 84273 h 372939"/>
                <a:gd name="connsiteX3374" fmla="*/ 134754 w 1012061"/>
                <a:gd name="connsiteY3374" fmla="*/ 86274 h 372939"/>
                <a:gd name="connsiteX3375" fmla="*/ 136011 w 1012061"/>
                <a:gd name="connsiteY3375" fmla="*/ 89035 h 372939"/>
                <a:gd name="connsiteX3376" fmla="*/ 137060 w 1012061"/>
                <a:gd name="connsiteY3376" fmla="*/ 91901 h 372939"/>
                <a:gd name="connsiteX3377" fmla="*/ 138643 w 1012061"/>
                <a:gd name="connsiteY3377" fmla="*/ 93324 h 372939"/>
                <a:gd name="connsiteX3378" fmla="*/ 140817 w 1012061"/>
                <a:gd name="connsiteY3378" fmla="*/ 93822 h 372939"/>
                <a:gd name="connsiteX3379" fmla="*/ 143234 w 1012061"/>
                <a:gd name="connsiteY3379" fmla="*/ 94029 h 372939"/>
                <a:gd name="connsiteX3380" fmla="*/ 145456 w 1012061"/>
                <a:gd name="connsiteY3380" fmla="*/ 94910 h 372939"/>
                <a:gd name="connsiteX3381" fmla="*/ 150656 w 1012061"/>
                <a:gd name="connsiteY3381" fmla="*/ 98874 h 372939"/>
                <a:gd name="connsiteX3382" fmla="*/ 152383 w 1012061"/>
                <a:gd name="connsiteY3382" fmla="*/ 100737 h 372939"/>
                <a:gd name="connsiteX3383" fmla="*/ 153692 w 1012061"/>
                <a:gd name="connsiteY3383" fmla="*/ 102927 h 372939"/>
                <a:gd name="connsiteX3384" fmla="*/ 154592 w 1012061"/>
                <a:gd name="connsiteY3384" fmla="*/ 105519 h 372939"/>
                <a:gd name="connsiteX3385" fmla="*/ 155154 w 1012061"/>
                <a:gd name="connsiteY3385" fmla="*/ 108239 h 372939"/>
                <a:gd name="connsiteX3386" fmla="*/ 155501 w 1012061"/>
                <a:gd name="connsiteY3386" fmla="*/ 108866 h 372939"/>
                <a:gd name="connsiteX3387" fmla="*/ 158838 w 1012061"/>
                <a:gd name="connsiteY3387" fmla="*/ 112146 h 372939"/>
                <a:gd name="connsiteX3388" fmla="*/ 160591 w 1012061"/>
                <a:gd name="connsiteY3388" fmla="*/ 113533 h 372939"/>
                <a:gd name="connsiteX3389" fmla="*/ 162740 w 1012061"/>
                <a:gd name="connsiteY3389" fmla="*/ 114207 h 372939"/>
                <a:gd name="connsiteX3390" fmla="*/ 168998 w 1012061"/>
                <a:gd name="connsiteY3390" fmla="*/ 114944 h 372939"/>
                <a:gd name="connsiteX3391" fmla="*/ 171207 w 1012061"/>
                <a:gd name="connsiteY3391" fmla="*/ 116078 h 372939"/>
                <a:gd name="connsiteX3392" fmla="*/ 173031 w 1012061"/>
                <a:gd name="connsiteY3392" fmla="*/ 117964 h 372939"/>
                <a:gd name="connsiteX3393" fmla="*/ 173798 w 1012061"/>
                <a:gd name="connsiteY3393" fmla="*/ 119886 h 372939"/>
                <a:gd name="connsiteX3394" fmla="*/ 172493 w 1012061"/>
                <a:gd name="connsiteY3394" fmla="*/ 121581 h 372939"/>
                <a:gd name="connsiteX3395" fmla="*/ 167602 w 1012061"/>
                <a:gd name="connsiteY3395" fmla="*/ 124181 h 372939"/>
                <a:gd name="connsiteX3396" fmla="*/ 162377 w 1012061"/>
                <a:gd name="connsiteY3396" fmla="*/ 125979 h 372939"/>
                <a:gd name="connsiteX3397" fmla="*/ 167453 w 1012061"/>
                <a:gd name="connsiteY3397" fmla="*/ 125359 h 372939"/>
                <a:gd name="connsiteX3398" fmla="*/ 170025 w 1012061"/>
                <a:gd name="connsiteY3398" fmla="*/ 124605 h 372939"/>
                <a:gd name="connsiteX3399" fmla="*/ 172390 w 1012061"/>
                <a:gd name="connsiteY3399" fmla="*/ 123424 h 372939"/>
                <a:gd name="connsiteX3400" fmla="*/ 174731 w 1012061"/>
                <a:gd name="connsiteY3400" fmla="*/ 121925 h 372939"/>
                <a:gd name="connsiteX3401" fmla="*/ 178443 w 1012061"/>
                <a:gd name="connsiteY3401" fmla="*/ 119830 h 372939"/>
                <a:gd name="connsiteX3402" fmla="*/ 179822 w 1012061"/>
                <a:gd name="connsiteY3402" fmla="*/ 119406 h 372939"/>
                <a:gd name="connsiteX3403" fmla="*/ 181444 w 1012061"/>
                <a:gd name="connsiteY3403" fmla="*/ 119556 h 372939"/>
                <a:gd name="connsiteX3404" fmla="*/ 182917 w 1012061"/>
                <a:gd name="connsiteY3404" fmla="*/ 120148 h 372939"/>
                <a:gd name="connsiteX3405" fmla="*/ 185124 w 1012061"/>
                <a:gd name="connsiteY3405" fmla="*/ 122206 h 372939"/>
                <a:gd name="connsiteX3406" fmla="*/ 187201 w 1012061"/>
                <a:gd name="connsiteY3406" fmla="*/ 124377 h 372939"/>
                <a:gd name="connsiteX3407" fmla="*/ 188751 w 1012061"/>
                <a:gd name="connsiteY3407" fmla="*/ 126909 h 372939"/>
                <a:gd name="connsiteX3408" fmla="*/ 189723 w 1012061"/>
                <a:gd name="connsiteY3408" fmla="*/ 129726 h 372939"/>
                <a:gd name="connsiteX3409" fmla="*/ 187948 w 1012061"/>
                <a:gd name="connsiteY3409" fmla="*/ 131198 h 372939"/>
                <a:gd name="connsiteX3410" fmla="*/ 185362 w 1012061"/>
                <a:gd name="connsiteY3410" fmla="*/ 132286 h 372939"/>
                <a:gd name="connsiteX3411" fmla="*/ 181803 w 1012061"/>
                <a:gd name="connsiteY3411" fmla="*/ 135006 h 372939"/>
                <a:gd name="connsiteX3412" fmla="*/ 181429 w 1012061"/>
                <a:gd name="connsiteY3412" fmla="*/ 136082 h 372939"/>
                <a:gd name="connsiteX3413" fmla="*/ 182155 w 1012061"/>
                <a:gd name="connsiteY3413" fmla="*/ 136772 h 372939"/>
                <a:gd name="connsiteX3414" fmla="*/ 181287 w 1012061"/>
                <a:gd name="connsiteY3414" fmla="*/ 138774 h 372939"/>
                <a:gd name="connsiteX3415" fmla="*/ 183282 w 1012061"/>
                <a:gd name="connsiteY3415" fmla="*/ 140010 h 372939"/>
                <a:gd name="connsiteX3416" fmla="*/ 183587 w 1012061"/>
                <a:gd name="connsiteY3416" fmla="*/ 141059 h 372939"/>
                <a:gd name="connsiteX3417" fmla="*/ 181861 w 1012061"/>
                <a:gd name="connsiteY3417" fmla="*/ 142564 h 372939"/>
                <a:gd name="connsiteX3418" fmla="*/ 182025 w 1012061"/>
                <a:gd name="connsiteY3418" fmla="*/ 143493 h 372939"/>
                <a:gd name="connsiteX3419" fmla="*/ 184107 w 1012061"/>
                <a:gd name="connsiteY3419" fmla="*/ 147453 h 372939"/>
                <a:gd name="connsiteX3420" fmla="*/ 185098 w 1012061"/>
                <a:gd name="connsiteY3420" fmla="*/ 148360 h 372939"/>
                <a:gd name="connsiteX3421" fmla="*/ 188272 w 1012061"/>
                <a:gd name="connsiteY3421" fmla="*/ 150373 h 372939"/>
                <a:gd name="connsiteX3422" fmla="*/ 193114 w 1012061"/>
                <a:gd name="connsiteY3422" fmla="*/ 152416 h 372939"/>
                <a:gd name="connsiteX3423" fmla="*/ 195791 w 1012061"/>
                <a:gd name="connsiteY3423" fmla="*/ 153351 h 372939"/>
                <a:gd name="connsiteX3424" fmla="*/ 198829 w 1012061"/>
                <a:gd name="connsiteY3424" fmla="*/ 154079 h 372939"/>
                <a:gd name="connsiteX3425" fmla="*/ 200134 w 1012061"/>
                <a:gd name="connsiteY3425" fmla="*/ 154059 h 372939"/>
                <a:gd name="connsiteX3426" fmla="*/ 202412 w 1012061"/>
                <a:gd name="connsiteY3426" fmla="*/ 153727 h 372939"/>
                <a:gd name="connsiteX3427" fmla="*/ 202870 w 1012061"/>
                <a:gd name="connsiteY3427" fmla="*/ 154519 h 372939"/>
                <a:gd name="connsiteX3428" fmla="*/ 203852 w 1012061"/>
                <a:gd name="connsiteY3428" fmla="*/ 158422 h 372939"/>
                <a:gd name="connsiteX3429" fmla="*/ 204321 w 1012061"/>
                <a:gd name="connsiteY3429" fmla="*/ 160893 h 372939"/>
                <a:gd name="connsiteX3430" fmla="*/ 205016 w 1012061"/>
                <a:gd name="connsiteY3430" fmla="*/ 166150 h 372939"/>
                <a:gd name="connsiteX3431" fmla="*/ 205906 w 1012061"/>
                <a:gd name="connsiteY3431" fmla="*/ 168331 h 372939"/>
                <a:gd name="connsiteX3432" fmla="*/ 205847 w 1012061"/>
                <a:gd name="connsiteY3432" fmla="*/ 171001 h 372939"/>
                <a:gd name="connsiteX3433" fmla="*/ 207015 w 1012061"/>
                <a:gd name="connsiteY3433" fmla="*/ 173265 h 372939"/>
                <a:gd name="connsiteX3434" fmla="*/ 209396 w 1012061"/>
                <a:gd name="connsiteY3434" fmla="*/ 174712 h 372939"/>
                <a:gd name="connsiteX3435" fmla="*/ 211931 w 1012061"/>
                <a:gd name="connsiteY3435" fmla="*/ 175898 h 372939"/>
                <a:gd name="connsiteX3436" fmla="*/ 213129 w 1012061"/>
                <a:gd name="connsiteY3436" fmla="*/ 177052 h 372939"/>
                <a:gd name="connsiteX3437" fmla="*/ 213113 w 1012061"/>
                <a:gd name="connsiteY3437" fmla="*/ 178795 h 372939"/>
                <a:gd name="connsiteX3438" fmla="*/ 212706 w 1012061"/>
                <a:gd name="connsiteY3438" fmla="*/ 180176 h 372939"/>
                <a:gd name="connsiteX3439" fmla="*/ 211848 w 1012061"/>
                <a:gd name="connsiteY3439" fmla="*/ 181250 h 372939"/>
                <a:gd name="connsiteX3440" fmla="*/ 209221 w 1012061"/>
                <a:gd name="connsiteY3440" fmla="*/ 183525 h 372939"/>
                <a:gd name="connsiteX3441" fmla="*/ 208752 w 1012061"/>
                <a:gd name="connsiteY3441" fmla="*/ 184505 h 372939"/>
                <a:gd name="connsiteX3442" fmla="*/ 208383 w 1012061"/>
                <a:gd name="connsiteY3442" fmla="*/ 187016 h 372939"/>
                <a:gd name="connsiteX3443" fmla="*/ 208829 w 1012061"/>
                <a:gd name="connsiteY3443" fmla="*/ 188164 h 372939"/>
                <a:gd name="connsiteX3444" fmla="*/ 209881 w 1012061"/>
                <a:gd name="connsiteY3444" fmla="*/ 188228 h 372939"/>
                <a:gd name="connsiteX3445" fmla="*/ 210708 w 1012061"/>
                <a:gd name="connsiteY3445" fmla="*/ 187626 h 372939"/>
                <a:gd name="connsiteX3446" fmla="*/ 213863 w 1012061"/>
                <a:gd name="connsiteY3446" fmla="*/ 184261 h 372939"/>
                <a:gd name="connsiteX3447" fmla="*/ 214716 w 1012061"/>
                <a:gd name="connsiteY3447" fmla="*/ 183672 h 372939"/>
                <a:gd name="connsiteX3448" fmla="*/ 215906 w 1012061"/>
                <a:gd name="connsiteY3448" fmla="*/ 183200 h 372939"/>
                <a:gd name="connsiteX3449" fmla="*/ 217124 w 1012061"/>
                <a:gd name="connsiteY3449" fmla="*/ 182905 h 372939"/>
                <a:gd name="connsiteX3450" fmla="*/ 222887 w 1012061"/>
                <a:gd name="connsiteY3450" fmla="*/ 182876 h 372939"/>
                <a:gd name="connsiteX3451" fmla="*/ 225330 w 1012061"/>
                <a:gd name="connsiteY3451" fmla="*/ 183406 h 372939"/>
                <a:gd name="connsiteX3452" fmla="*/ 227504 w 1012061"/>
                <a:gd name="connsiteY3452" fmla="*/ 184501 h 372939"/>
                <a:gd name="connsiteX3453" fmla="*/ 229422 w 1012061"/>
                <a:gd name="connsiteY3453" fmla="*/ 185880 h 372939"/>
                <a:gd name="connsiteX3454" fmla="*/ 236433 w 1012061"/>
                <a:gd name="connsiteY3454" fmla="*/ 194638 h 372939"/>
                <a:gd name="connsiteX3455" fmla="*/ 239644 w 1012061"/>
                <a:gd name="connsiteY3455" fmla="*/ 199473 h 372939"/>
                <a:gd name="connsiteX3456" fmla="*/ 239897 w 1012061"/>
                <a:gd name="connsiteY3456" fmla="*/ 200676 h 372939"/>
                <a:gd name="connsiteX3457" fmla="*/ 239955 w 1012061"/>
                <a:gd name="connsiteY3457" fmla="*/ 201928 h 372939"/>
                <a:gd name="connsiteX3458" fmla="*/ 239409 w 1012061"/>
                <a:gd name="connsiteY3458" fmla="*/ 202896 h 372939"/>
                <a:gd name="connsiteX3459" fmla="*/ 236485 w 1012061"/>
                <a:gd name="connsiteY3459" fmla="*/ 206197 h 372939"/>
                <a:gd name="connsiteX3460" fmla="*/ 236122 w 1012061"/>
                <a:gd name="connsiteY3460" fmla="*/ 207110 h 372939"/>
                <a:gd name="connsiteX3461" fmla="*/ 235209 w 1012061"/>
                <a:gd name="connsiteY3461" fmla="*/ 210705 h 372939"/>
                <a:gd name="connsiteX3462" fmla="*/ 235381 w 1012061"/>
                <a:gd name="connsiteY3462" fmla="*/ 213293 h 372939"/>
                <a:gd name="connsiteX3463" fmla="*/ 236353 w 1012061"/>
                <a:gd name="connsiteY3463" fmla="*/ 214381 h 372939"/>
                <a:gd name="connsiteX3464" fmla="*/ 237126 w 1012061"/>
                <a:gd name="connsiteY3464" fmla="*/ 215561 h 372939"/>
                <a:gd name="connsiteX3465" fmla="*/ 237066 w 1012061"/>
                <a:gd name="connsiteY3465" fmla="*/ 216632 h 372939"/>
                <a:gd name="connsiteX3466" fmla="*/ 235139 w 1012061"/>
                <a:gd name="connsiteY3466" fmla="*/ 221957 h 372939"/>
                <a:gd name="connsiteX3467" fmla="*/ 234937 w 1012061"/>
                <a:gd name="connsiteY3467" fmla="*/ 222867 h 372939"/>
                <a:gd name="connsiteX3468" fmla="*/ 236155 w 1012061"/>
                <a:gd name="connsiteY3468" fmla="*/ 231530 h 372939"/>
                <a:gd name="connsiteX3469" fmla="*/ 236243 w 1012061"/>
                <a:gd name="connsiteY3469" fmla="*/ 233875 h 372939"/>
                <a:gd name="connsiteX3470" fmla="*/ 235995 w 1012061"/>
                <a:gd name="connsiteY3470" fmla="*/ 236842 h 372939"/>
                <a:gd name="connsiteX3471" fmla="*/ 236169 w 1012061"/>
                <a:gd name="connsiteY3471" fmla="*/ 241628 h 372939"/>
                <a:gd name="connsiteX3472" fmla="*/ 234597 w 1012061"/>
                <a:gd name="connsiteY3472" fmla="*/ 256418 h 372939"/>
                <a:gd name="connsiteX3473" fmla="*/ 234301 w 1012061"/>
                <a:gd name="connsiteY3473" fmla="*/ 257302 h 372939"/>
                <a:gd name="connsiteX3474" fmla="*/ 233099 w 1012061"/>
                <a:gd name="connsiteY3474" fmla="*/ 259561 h 372939"/>
                <a:gd name="connsiteX3475" fmla="*/ 231512 w 1012061"/>
                <a:gd name="connsiteY3475" fmla="*/ 259546 h 372939"/>
                <a:gd name="connsiteX3476" fmla="*/ 230229 w 1012061"/>
                <a:gd name="connsiteY3476" fmla="*/ 259147 h 372939"/>
                <a:gd name="connsiteX3477" fmla="*/ 229331 w 1012061"/>
                <a:gd name="connsiteY3477" fmla="*/ 258283 h 372939"/>
                <a:gd name="connsiteX3478" fmla="*/ 228837 w 1012061"/>
                <a:gd name="connsiteY3478" fmla="*/ 257210 h 372939"/>
                <a:gd name="connsiteX3479" fmla="*/ 228109 w 1012061"/>
                <a:gd name="connsiteY3479" fmla="*/ 256333 h 372939"/>
                <a:gd name="connsiteX3480" fmla="*/ 224278 w 1012061"/>
                <a:gd name="connsiteY3480" fmla="*/ 253599 h 372939"/>
                <a:gd name="connsiteX3481" fmla="*/ 223273 w 1012061"/>
                <a:gd name="connsiteY3481" fmla="*/ 254054 h 372939"/>
                <a:gd name="connsiteX3482" fmla="*/ 219384 w 1012061"/>
                <a:gd name="connsiteY3482" fmla="*/ 257445 h 372939"/>
                <a:gd name="connsiteX3483" fmla="*/ 218350 w 1012061"/>
                <a:gd name="connsiteY3483" fmla="*/ 257947 h 372939"/>
                <a:gd name="connsiteX3484" fmla="*/ 217053 w 1012061"/>
                <a:gd name="connsiteY3484" fmla="*/ 257533 h 372939"/>
                <a:gd name="connsiteX3485" fmla="*/ 215010 w 1012061"/>
                <a:gd name="connsiteY3485" fmla="*/ 256519 h 372939"/>
                <a:gd name="connsiteX3486" fmla="*/ 208581 w 1012061"/>
                <a:gd name="connsiteY3486" fmla="*/ 252954 h 372939"/>
                <a:gd name="connsiteX3487" fmla="*/ 208186 w 1012061"/>
                <a:gd name="connsiteY3487" fmla="*/ 254094 h 372939"/>
                <a:gd name="connsiteX3488" fmla="*/ 208108 w 1012061"/>
                <a:gd name="connsiteY3488" fmla="*/ 255640 h 372939"/>
                <a:gd name="connsiteX3489" fmla="*/ 209387 w 1012061"/>
                <a:gd name="connsiteY3489" fmla="*/ 259515 h 372939"/>
                <a:gd name="connsiteX3490" fmla="*/ 209564 w 1012061"/>
                <a:gd name="connsiteY3490" fmla="*/ 261212 h 372939"/>
                <a:gd name="connsiteX3491" fmla="*/ 208394 w 1012061"/>
                <a:gd name="connsiteY3491" fmla="*/ 261550 h 372939"/>
                <a:gd name="connsiteX3492" fmla="*/ 207741 w 1012061"/>
                <a:gd name="connsiteY3492" fmla="*/ 261477 h 372939"/>
                <a:gd name="connsiteX3493" fmla="*/ 205072 w 1012061"/>
                <a:gd name="connsiteY3493" fmla="*/ 259225 h 372939"/>
                <a:gd name="connsiteX3494" fmla="*/ 202610 w 1012061"/>
                <a:gd name="connsiteY3494" fmla="*/ 256732 h 372939"/>
                <a:gd name="connsiteX3495" fmla="*/ 199812 w 1012061"/>
                <a:gd name="connsiteY3495" fmla="*/ 253363 h 372939"/>
                <a:gd name="connsiteX3496" fmla="*/ 197767 w 1012061"/>
                <a:gd name="connsiteY3496" fmla="*/ 251761 h 372939"/>
                <a:gd name="connsiteX3497" fmla="*/ 195917 w 1012061"/>
                <a:gd name="connsiteY3497" fmla="*/ 249972 h 372939"/>
                <a:gd name="connsiteX3498" fmla="*/ 190713 w 1012061"/>
                <a:gd name="connsiteY3498" fmla="*/ 243180 h 372939"/>
                <a:gd name="connsiteX3499" fmla="*/ 189361 w 1012061"/>
                <a:gd name="connsiteY3499" fmla="*/ 242143 h 372939"/>
                <a:gd name="connsiteX3500" fmla="*/ 181298 w 1012061"/>
                <a:gd name="connsiteY3500" fmla="*/ 237347 h 372939"/>
                <a:gd name="connsiteX3501" fmla="*/ 179671 w 1012061"/>
                <a:gd name="connsiteY3501" fmla="*/ 236213 h 372939"/>
                <a:gd name="connsiteX3502" fmla="*/ 177609 w 1012061"/>
                <a:gd name="connsiteY3502" fmla="*/ 234228 h 372939"/>
                <a:gd name="connsiteX3503" fmla="*/ 175393 w 1012061"/>
                <a:gd name="connsiteY3503" fmla="*/ 232467 h 372939"/>
                <a:gd name="connsiteX3504" fmla="*/ 170535 w 1012061"/>
                <a:gd name="connsiteY3504" fmla="*/ 229686 h 372939"/>
                <a:gd name="connsiteX3505" fmla="*/ 162105 w 1012061"/>
                <a:gd name="connsiteY3505" fmla="*/ 222630 h 372939"/>
                <a:gd name="connsiteX3506" fmla="*/ 158440 w 1012061"/>
                <a:gd name="connsiteY3506" fmla="*/ 218578 h 372939"/>
                <a:gd name="connsiteX3507" fmla="*/ 154366 w 1012061"/>
                <a:gd name="connsiteY3507" fmla="*/ 212052 h 372939"/>
                <a:gd name="connsiteX3508" fmla="*/ 153036 w 1012061"/>
                <a:gd name="connsiteY3508" fmla="*/ 210385 h 372939"/>
                <a:gd name="connsiteX3509" fmla="*/ 146188 w 1012061"/>
                <a:gd name="connsiteY3509" fmla="*/ 205488 h 372939"/>
                <a:gd name="connsiteX3510" fmla="*/ 142454 w 1012061"/>
                <a:gd name="connsiteY3510" fmla="*/ 202522 h 372939"/>
                <a:gd name="connsiteX3511" fmla="*/ 140898 w 1012061"/>
                <a:gd name="connsiteY3511" fmla="*/ 200817 h 372939"/>
                <a:gd name="connsiteX3512" fmla="*/ 137263 w 1012061"/>
                <a:gd name="connsiteY3512" fmla="*/ 194882 h 372939"/>
                <a:gd name="connsiteX3513" fmla="*/ 136201 w 1012061"/>
                <a:gd name="connsiteY3513" fmla="*/ 192883 h 372939"/>
                <a:gd name="connsiteX3514" fmla="*/ 134862 w 1012061"/>
                <a:gd name="connsiteY3514" fmla="*/ 191117 h 372939"/>
                <a:gd name="connsiteX3515" fmla="*/ 132664 w 1012061"/>
                <a:gd name="connsiteY3515" fmla="*/ 189685 h 372939"/>
                <a:gd name="connsiteX3516" fmla="*/ 130725 w 1012061"/>
                <a:gd name="connsiteY3516" fmla="*/ 187999 h 372939"/>
                <a:gd name="connsiteX3517" fmla="*/ 126875 w 1012061"/>
                <a:gd name="connsiteY3517" fmla="*/ 182632 h 372939"/>
                <a:gd name="connsiteX3518" fmla="*/ 125661 w 1012061"/>
                <a:gd name="connsiteY3518" fmla="*/ 180493 h 372939"/>
                <a:gd name="connsiteX3519" fmla="*/ 124743 w 1012061"/>
                <a:gd name="connsiteY3519" fmla="*/ 178180 h 372939"/>
                <a:gd name="connsiteX3520" fmla="*/ 124903 w 1012061"/>
                <a:gd name="connsiteY3520" fmla="*/ 173539 h 372939"/>
                <a:gd name="connsiteX3521" fmla="*/ 116750 w 1012061"/>
                <a:gd name="connsiteY3521" fmla="*/ 159493 h 372939"/>
                <a:gd name="connsiteX3522" fmla="*/ 114702 w 1012061"/>
                <a:gd name="connsiteY3522" fmla="*/ 155118 h 372939"/>
                <a:gd name="connsiteX3523" fmla="*/ 112806 w 1012061"/>
                <a:gd name="connsiteY3523" fmla="*/ 149045 h 372939"/>
                <a:gd name="connsiteX3524" fmla="*/ 112382 w 1012061"/>
                <a:gd name="connsiteY3524" fmla="*/ 148430 h 372939"/>
                <a:gd name="connsiteX3525" fmla="*/ 107935 w 1012061"/>
                <a:gd name="connsiteY3525" fmla="*/ 142992 h 372939"/>
                <a:gd name="connsiteX3526" fmla="*/ 106360 w 1012061"/>
                <a:gd name="connsiteY3526" fmla="*/ 141251 h 372939"/>
                <a:gd name="connsiteX3527" fmla="*/ 104458 w 1012061"/>
                <a:gd name="connsiteY3527" fmla="*/ 139615 h 372939"/>
                <a:gd name="connsiteX3528" fmla="*/ 102897 w 1012061"/>
                <a:gd name="connsiteY3528" fmla="*/ 137703 h 372939"/>
                <a:gd name="connsiteX3529" fmla="*/ 99828 w 1012061"/>
                <a:gd name="connsiteY3529" fmla="*/ 131494 h 372939"/>
                <a:gd name="connsiteX3530" fmla="*/ 98690 w 1012061"/>
                <a:gd name="connsiteY3530" fmla="*/ 129769 h 372939"/>
                <a:gd name="connsiteX3531" fmla="*/ 97094 w 1012061"/>
                <a:gd name="connsiteY3531" fmla="*/ 128500 h 372939"/>
                <a:gd name="connsiteX3532" fmla="*/ 91277 w 1012061"/>
                <a:gd name="connsiteY3532" fmla="*/ 126153 h 372939"/>
                <a:gd name="connsiteX3533" fmla="*/ 89107 w 1012061"/>
                <a:gd name="connsiteY3533" fmla="*/ 124844 h 372939"/>
                <a:gd name="connsiteX3534" fmla="*/ 87399 w 1012061"/>
                <a:gd name="connsiteY3534" fmla="*/ 122987 h 372939"/>
                <a:gd name="connsiteX3535" fmla="*/ 86349 w 1012061"/>
                <a:gd name="connsiteY3535" fmla="*/ 120617 h 372939"/>
                <a:gd name="connsiteX3536" fmla="*/ 85196 w 1012061"/>
                <a:gd name="connsiteY3536" fmla="*/ 115588 h 372939"/>
                <a:gd name="connsiteX3537" fmla="*/ 82454 w 1012061"/>
                <a:gd name="connsiteY3537" fmla="*/ 107946 h 372939"/>
                <a:gd name="connsiteX3538" fmla="*/ 79377 w 1012061"/>
                <a:gd name="connsiteY3538" fmla="*/ 97714 h 372939"/>
                <a:gd name="connsiteX3539" fmla="*/ 77302 w 1012061"/>
                <a:gd name="connsiteY3539" fmla="*/ 93128 h 372939"/>
                <a:gd name="connsiteX3540" fmla="*/ 74930 w 1012061"/>
                <a:gd name="connsiteY3540" fmla="*/ 89530 h 372939"/>
                <a:gd name="connsiteX3541" fmla="*/ 74244 w 1012061"/>
                <a:gd name="connsiteY3541" fmla="*/ 88700 h 372939"/>
                <a:gd name="connsiteX3542" fmla="*/ 63680 w 1012061"/>
                <a:gd name="connsiteY3542" fmla="*/ 82220 h 372939"/>
                <a:gd name="connsiteX3543" fmla="*/ 61879 w 1012061"/>
                <a:gd name="connsiteY3543" fmla="*/ 81266 h 372939"/>
                <a:gd name="connsiteX3544" fmla="*/ 59966 w 1012061"/>
                <a:gd name="connsiteY3544" fmla="*/ 80691 h 372939"/>
                <a:gd name="connsiteX3545" fmla="*/ 57235 w 1012061"/>
                <a:gd name="connsiteY3545" fmla="*/ 80278 h 372939"/>
                <a:gd name="connsiteX3546" fmla="*/ 55150 w 1012061"/>
                <a:gd name="connsiteY3546" fmla="*/ 78604 h 372939"/>
                <a:gd name="connsiteX3547" fmla="*/ 54293 w 1012061"/>
                <a:gd name="connsiteY3547" fmla="*/ 75600 h 372939"/>
                <a:gd name="connsiteX3548" fmla="*/ 53820 w 1012061"/>
                <a:gd name="connsiteY3548" fmla="*/ 71570 h 372939"/>
                <a:gd name="connsiteX3549" fmla="*/ 53294 w 1012061"/>
                <a:gd name="connsiteY3549" fmla="*/ 69165 h 372939"/>
                <a:gd name="connsiteX3550" fmla="*/ 52719 w 1012061"/>
                <a:gd name="connsiteY3550" fmla="*/ 67805 h 372939"/>
                <a:gd name="connsiteX3551" fmla="*/ 48307 w 1012061"/>
                <a:gd name="connsiteY3551" fmla="*/ 64956 h 372939"/>
                <a:gd name="connsiteX3552" fmla="*/ 46580 w 1012061"/>
                <a:gd name="connsiteY3552" fmla="*/ 62704 h 372939"/>
                <a:gd name="connsiteX3553" fmla="*/ 45138 w 1012061"/>
                <a:gd name="connsiteY3553" fmla="*/ 60226 h 372939"/>
                <a:gd name="connsiteX3554" fmla="*/ 43820 w 1012061"/>
                <a:gd name="connsiteY3554" fmla="*/ 58307 h 372939"/>
                <a:gd name="connsiteX3555" fmla="*/ 38968 w 1012061"/>
                <a:gd name="connsiteY3555" fmla="*/ 51678 h 372939"/>
                <a:gd name="connsiteX3556" fmla="*/ 37309 w 1012061"/>
                <a:gd name="connsiteY3556" fmla="*/ 49939 h 372939"/>
                <a:gd name="connsiteX3557" fmla="*/ 35254 w 1012061"/>
                <a:gd name="connsiteY3557" fmla="*/ 48725 h 372939"/>
                <a:gd name="connsiteX3558" fmla="*/ 29160 w 1012061"/>
                <a:gd name="connsiteY3558" fmla="*/ 47439 h 372939"/>
                <a:gd name="connsiteX3559" fmla="*/ 27377 w 1012061"/>
                <a:gd name="connsiteY3559" fmla="*/ 46338 h 372939"/>
                <a:gd name="connsiteX3560" fmla="*/ 24416 w 1012061"/>
                <a:gd name="connsiteY3560" fmla="*/ 42574 h 372939"/>
                <a:gd name="connsiteX3561" fmla="*/ 22630 w 1012061"/>
                <a:gd name="connsiteY3561" fmla="*/ 40659 h 372939"/>
                <a:gd name="connsiteX3562" fmla="*/ 17277 w 1012061"/>
                <a:gd name="connsiteY3562" fmla="*/ 36439 h 372939"/>
                <a:gd name="connsiteX3563" fmla="*/ 8225 w 1012061"/>
                <a:gd name="connsiteY3563" fmla="*/ 27607 h 372939"/>
                <a:gd name="connsiteX3564" fmla="*/ 6370 w 1012061"/>
                <a:gd name="connsiteY3564" fmla="*/ 25404 h 372939"/>
                <a:gd name="connsiteX3565" fmla="*/ 4981 w 1012061"/>
                <a:gd name="connsiteY3565" fmla="*/ 23106 h 372939"/>
                <a:gd name="connsiteX3566" fmla="*/ 3860 w 1012061"/>
                <a:gd name="connsiteY3566" fmla="*/ 20643 h 372939"/>
                <a:gd name="connsiteX3567" fmla="*/ 0 w 1012061"/>
                <a:gd name="connsiteY3567" fmla="*/ 13818 h 372939"/>
                <a:gd name="connsiteX3568" fmla="*/ 311 w 1012061"/>
                <a:gd name="connsiteY3568" fmla="*/ 12439 h 372939"/>
                <a:gd name="connsiteX3569" fmla="*/ 894 w 1012061"/>
                <a:gd name="connsiteY3569" fmla="*/ 11007 h 372939"/>
                <a:gd name="connsiteX3570" fmla="*/ 803 w 1012061"/>
                <a:gd name="connsiteY3570" fmla="*/ 9821 h 372939"/>
                <a:gd name="connsiteX3571" fmla="*/ 380 w 1012061"/>
                <a:gd name="connsiteY3571" fmla="*/ 8650 h 372939"/>
                <a:gd name="connsiteX3572" fmla="*/ 468 w 1012061"/>
                <a:gd name="connsiteY3572" fmla="*/ 7592 h 372939"/>
                <a:gd name="connsiteX3573" fmla="*/ 1612 w 1012061"/>
                <a:gd name="connsiteY3573" fmla="*/ 6969 h 372939"/>
                <a:gd name="connsiteX3574" fmla="*/ 781 w 1012061"/>
                <a:gd name="connsiteY3574" fmla="*/ 0 h 372939"/>
                <a:gd name="connsiteX3575" fmla="*/ 1678 w 1012061"/>
                <a:gd name="connsiteY3575" fmla="*/ 206 h 372939"/>
                <a:gd name="connsiteX3576" fmla="*/ 3373 w 1012061"/>
                <a:gd name="connsiteY3576" fmla="*/ 672 h 372939"/>
                <a:gd name="connsiteX3577" fmla="*/ 3524 w 1012061"/>
                <a:gd name="connsiteY3577" fmla="*/ 1428 h 372939"/>
                <a:gd name="connsiteX3578" fmla="*/ 3437 w 1012061"/>
                <a:gd name="connsiteY3578" fmla="*/ 2099 h 372939"/>
                <a:gd name="connsiteX3579" fmla="*/ 3005 w 1012061"/>
                <a:gd name="connsiteY3579" fmla="*/ 2727 h 372939"/>
                <a:gd name="connsiteX3580" fmla="*/ 1693 w 1012061"/>
                <a:gd name="connsiteY3580" fmla="*/ 2407 h 372939"/>
                <a:gd name="connsiteX3581" fmla="*/ 244 w 1012061"/>
                <a:gd name="connsiteY3581" fmla="*/ 389 h 372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  <a:cxn ang="0">
                  <a:pos x="connsiteX2223" y="connsiteY2223"/>
                </a:cxn>
                <a:cxn ang="0">
                  <a:pos x="connsiteX2224" y="connsiteY2224"/>
                </a:cxn>
                <a:cxn ang="0">
                  <a:pos x="connsiteX2225" y="connsiteY2225"/>
                </a:cxn>
                <a:cxn ang="0">
                  <a:pos x="connsiteX2226" y="connsiteY2226"/>
                </a:cxn>
                <a:cxn ang="0">
                  <a:pos x="connsiteX2227" y="connsiteY2227"/>
                </a:cxn>
                <a:cxn ang="0">
                  <a:pos x="connsiteX2228" y="connsiteY2228"/>
                </a:cxn>
                <a:cxn ang="0">
                  <a:pos x="connsiteX2229" y="connsiteY2229"/>
                </a:cxn>
                <a:cxn ang="0">
                  <a:pos x="connsiteX2230" y="connsiteY2230"/>
                </a:cxn>
                <a:cxn ang="0">
                  <a:pos x="connsiteX2231" y="connsiteY2231"/>
                </a:cxn>
                <a:cxn ang="0">
                  <a:pos x="connsiteX2232" y="connsiteY2232"/>
                </a:cxn>
                <a:cxn ang="0">
                  <a:pos x="connsiteX2233" y="connsiteY2233"/>
                </a:cxn>
                <a:cxn ang="0">
                  <a:pos x="connsiteX2234" y="connsiteY2234"/>
                </a:cxn>
                <a:cxn ang="0">
                  <a:pos x="connsiteX2235" y="connsiteY2235"/>
                </a:cxn>
                <a:cxn ang="0">
                  <a:pos x="connsiteX2236" y="connsiteY2236"/>
                </a:cxn>
                <a:cxn ang="0">
                  <a:pos x="connsiteX2237" y="connsiteY2237"/>
                </a:cxn>
                <a:cxn ang="0">
                  <a:pos x="connsiteX2238" y="connsiteY2238"/>
                </a:cxn>
                <a:cxn ang="0">
                  <a:pos x="connsiteX2239" y="connsiteY2239"/>
                </a:cxn>
                <a:cxn ang="0">
                  <a:pos x="connsiteX2240" y="connsiteY2240"/>
                </a:cxn>
                <a:cxn ang="0">
                  <a:pos x="connsiteX2241" y="connsiteY2241"/>
                </a:cxn>
                <a:cxn ang="0">
                  <a:pos x="connsiteX2242" y="connsiteY2242"/>
                </a:cxn>
                <a:cxn ang="0">
                  <a:pos x="connsiteX2243" y="connsiteY2243"/>
                </a:cxn>
                <a:cxn ang="0">
                  <a:pos x="connsiteX2244" y="connsiteY2244"/>
                </a:cxn>
                <a:cxn ang="0">
                  <a:pos x="connsiteX2245" y="connsiteY2245"/>
                </a:cxn>
                <a:cxn ang="0">
                  <a:pos x="connsiteX2246" y="connsiteY2246"/>
                </a:cxn>
                <a:cxn ang="0">
                  <a:pos x="connsiteX2247" y="connsiteY2247"/>
                </a:cxn>
                <a:cxn ang="0">
                  <a:pos x="connsiteX2248" y="connsiteY2248"/>
                </a:cxn>
                <a:cxn ang="0">
                  <a:pos x="connsiteX2249" y="connsiteY2249"/>
                </a:cxn>
                <a:cxn ang="0">
                  <a:pos x="connsiteX2250" y="connsiteY2250"/>
                </a:cxn>
                <a:cxn ang="0">
                  <a:pos x="connsiteX2251" y="connsiteY2251"/>
                </a:cxn>
                <a:cxn ang="0">
                  <a:pos x="connsiteX2252" y="connsiteY2252"/>
                </a:cxn>
                <a:cxn ang="0">
                  <a:pos x="connsiteX2253" y="connsiteY2253"/>
                </a:cxn>
                <a:cxn ang="0">
                  <a:pos x="connsiteX2254" y="connsiteY2254"/>
                </a:cxn>
                <a:cxn ang="0">
                  <a:pos x="connsiteX2255" y="connsiteY2255"/>
                </a:cxn>
                <a:cxn ang="0">
                  <a:pos x="connsiteX2256" y="connsiteY2256"/>
                </a:cxn>
                <a:cxn ang="0">
                  <a:pos x="connsiteX2257" y="connsiteY2257"/>
                </a:cxn>
                <a:cxn ang="0">
                  <a:pos x="connsiteX2258" y="connsiteY2258"/>
                </a:cxn>
                <a:cxn ang="0">
                  <a:pos x="connsiteX2259" y="connsiteY2259"/>
                </a:cxn>
                <a:cxn ang="0">
                  <a:pos x="connsiteX2260" y="connsiteY2260"/>
                </a:cxn>
                <a:cxn ang="0">
                  <a:pos x="connsiteX2261" y="connsiteY2261"/>
                </a:cxn>
                <a:cxn ang="0">
                  <a:pos x="connsiteX2262" y="connsiteY2262"/>
                </a:cxn>
                <a:cxn ang="0">
                  <a:pos x="connsiteX2263" y="connsiteY2263"/>
                </a:cxn>
                <a:cxn ang="0">
                  <a:pos x="connsiteX2264" y="connsiteY2264"/>
                </a:cxn>
                <a:cxn ang="0">
                  <a:pos x="connsiteX2265" y="connsiteY2265"/>
                </a:cxn>
                <a:cxn ang="0">
                  <a:pos x="connsiteX2266" y="connsiteY2266"/>
                </a:cxn>
                <a:cxn ang="0">
                  <a:pos x="connsiteX2267" y="connsiteY2267"/>
                </a:cxn>
                <a:cxn ang="0">
                  <a:pos x="connsiteX2268" y="connsiteY2268"/>
                </a:cxn>
                <a:cxn ang="0">
                  <a:pos x="connsiteX2269" y="connsiteY2269"/>
                </a:cxn>
                <a:cxn ang="0">
                  <a:pos x="connsiteX2270" y="connsiteY2270"/>
                </a:cxn>
                <a:cxn ang="0">
                  <a:pos x="connsiteX2271" y="connsiteY2271"/>
                </a:cxn>
                <a:cxn ang="0">
                  <a:pos x="connsiteX2272" y="connsiteY2272"/>
                </a:cxn>
                <a:cxn ang="0">
                  <a:pos x="connsiteX2273" y="connsiteY2273"/>
                </a:cxn>
                <a:cxn ang="0">
                  <a:pos x="connsiteX2274" y="connsiteY2274"/>
                </a:cxn>
                <a:cxn ang="0">
                  <a:pos x="connsiteX2275" y="connsiteY2275"/>
                </a:cxn>
                <a:cxn ang="0">
                  <a:pos x="connsiteX2276" y="connsiteY2276"/>
                </a:cxn>
                <a:cxn ang="0">
                  <a:pos x="connsiteX2277" y="connsiteY2277"/>
                </a:cxn>
                <a:cxn ang="0">
                  <a:pos x="connsiteX2278" y="connsiteY2278"/>
                </a:cxn>
                <a:cxn ang="0">
                  <a:pos x="connsiteX2279" y="connsiteY2279"/>
                </a:cxn>
                <a:cxn ang="0">
                  <a:pos x="connsiteX2280" y="connsiteY2280"/>
                </a:cxn>
                <a:cxn ang="0">
                  <a:pos x="connsiteX2281" y="connsiteY2281"/>
                </a:cxn>
                <a:cxn ang="0">
                  <a:pos x="connsiteX2282" y="connsiteY2282"/>
                </a:cxn>
                <a:cxn ang="0">
                  <a:pos x="connsiteX2283" y="connsiteY2283"/>
                </a:cxn>
                <a:cxn ang="0">
                  <a:pos x="connsiteX2284" y="connsiteY2284"/>
                </a:cxn>
                <a:cxn ang="0">
                  <a:pos x="connsiteX2285" y="connsiteY2285"/>
                </a:cxn>
                <a:cxn ang="0">
                  <a:pos x="connsiteX2286" y="connsiteY2286"/>
                </a:cxn>
                <a:cxn ang="0">
                  <a:pos x="connsiteX2287" y="connsiteY2287"/>
                </a:cxn>
                <a:cxn ang="0">
                  <a:pos x="connsiteX2288" y="connsiteY2288"/>
                </a:cxn>
                <a:cxn ang="0">
                  <a:pos x="connsiteX2289" y="connsiteY2289"/>
                </a:cxn>
                <a:cxn ang="0">
                  <a:pos x="connsiteX2290" y="connsiteY2290"/>
                </a:cxn>
                <a:cxn ang="0">
                  <a:pos x="connsiteX2291" y="connsiteY2291"/>
                </a:cxn>
                <a:cxn ang="0">
                  <a:pos x="connsiteX2292" y="connsiteY2292"/>
                </a:cxn>
                <a:cxn ang="0">
                  <a:pos x="connsiteX2293" y="connsiteY2293"/>
                </a:cxn>
                <a:cxn ang="0">
                  <a:pos x="connsiteX2294" y="connsiteY2294"/>
                </a:cxn>
                <a:cxn ang="0">
                  <a:pos x="connsiteX2295" y="connsiteY2295"/>
                </a:cxn>
                <a:cxn ang="0">
                  <a:pos x="connsiteX2296" y="connsiteY2296"/>
                </a:cxn>
                <a:cxn ang="0">
                  <a:pos x="connsiteX2297" y="connsiteY2297"/>
                </a:cxn>
                <a:cxn ang="0">
                  <a:pos x="connsiteX2298" y="connsiteY2298"/>
                </a:cxn>
                <a:cxn ang="0">
                  <a:pos x="connsiteX2299" y="connsiteY2299"/>
                </a:cxn>
                <a:cxn ang="0">
                  <a:pos x="connsiteX2300" y="connsiteY2300"/>
                </a:cxn>
                <a:cxn ang="0">
                  <a:pos x="connsiteX2301" y="connsiteY2301"/>
                </a:cxn>
                <a:cxn ang="0">
                  <a:pos x="connsiteX2302" y="connsiteY2302"/>
                </a:cxn>
                <a:cxn ang="0">
                  <a:pos x="connsiteX2303" y="connsiteY2303"/>
                </a:cxn>
                <a:cxn ang="0">
                  <a:pos x="connsiteX2304" y="connsiteY2304"/>
                </a:cxn>
                <a:cxn ang="0">
                  <a:pos x="connsiteX2305" y="connsiteY2305"/>
                </a:cxn>
                <a:cxn ang="0">
                  <a:pos x="connsiteX2306" y="connsiteY2306"/>
                </a:cxn>
                <a:cxn ang="0">
                  <a:pos x="connsiteX2307" y="connsiteY2307"/>
                </a:cxn>
                <a:cxn ang="0">
                  <a:pos x="connsiteX2308" y="connsiteY2308"/>
                </a:cxn>
                <a:cxn ang="0">
                  <a:pos x="connsiteX2309" y="connsiteY2309"/>
                </a:cxn>
                <a:cxn ang="0">
                  <a:pos x="connsiteX2310" y="connsiteY2310"/>
                </a:cxn>
                <a:cxn ang="0">
                  <a:pos x="connsiteX2311" y="connsiteY2311"/>
                </a:cxn>
                <a:cxn ang="0">
                  <a:pos x="connsiteX2312" y="connsiteY2312"/>
                </a:cxn>
                <a:cxn ang="0">
                  <a:pos x="connsiteX2313" y="connsiteY2313"/>
                </a:cxn>
                <a:cxn ang="0">
                  <a:pos x="connsiteX2314" y="connsiteY2314"/>
                </a:cxn>
                <a:cxn ang="0">
                  <a:pos x="connsiteX2315" y="connsiteY2315"/>
                </a:cxn>
                <a:cxn ang="0">
                  <a:pos x="connsiteX2316" y="connsiteY2316"/>
                </a:cxn>
                <a:cxn ang="0">
                  <a:pos x="connsiteX2317" y="connsiteY2317"/>
                </a:cxn>
                <a:cxn ang="0">
                  <a:pos x="connsiteX2318" y="connsiteY2318"/>
                </a:cxn>
                <a:cxn ang="0">
                  <a:pos x="connsiteX2319" y="connsiteY2319"/>
                </a:cxn>
                <a:cxn ang="0">
                  <a:pos x="connsiteX2320" y="connsiteY2320"/>
                </a:cxn>
                <a:cxn ang="0">
                  <a:pos x="connsiteX2321" y="connsiteY2321"/>
                </a:cxn>
                <a:cxn ang="0">
                  <a:pos x="connsiteX2322" y="connsiteY2322"/>
                </a:cxn>
                <a:cxn ang="0">
                  <a:pos x="connsiteX2323" y="connsiteY2323"/>
                </a:cxn>
                <a:cxn ang="0">
                  <a:pos x="connsiteX2324" y="connsiteY2324"/>
                </a:cxn>
                <a:cxn ang="0">
                  <a:pos x="connsiteX2325" y="connsiteY2325"/>
                </a:cxn>
                <a:cxn ang="0">
                  <a:pos x="connsiteX2326" y="connsiteY2326"/>
                </a:cxn>
                <a:cxn ang="0">
                  <a:pos x="connsiteX2327" y="connsiteY2327"/>
                </a:cxn>
                <a:cxn ang="0">
                  <a:pos x="connsiteX2328" y="connsiteY2328"/>
                </a:cxn>
                <a:cxn ang="0">
                  <a:pos x="connsiteX2329" y="connsiteY2329"/>
                </a:cxn>
                <a:cxn ang="0">
                  <a:pos x="connsiteX2330" y="connsiteY2330"/>
                </a:cxn>
                <a:cxn ang="0">
                  <a:pos x="connsiteX2331" y="connsiteY2331"/>
                </a:cxn>
                <a:cxn ang="0">
                  <a:pos x="connsiteX2332" y="connsiteY2332"/>
                </a:cxn>
                <a:cxn ang="0">
                  <a:pos x="connsiteX2333" y="connsiteY2333"/>
                </a:cxn>
                <a:cxn ang="0">
                  <a:pos x="connsiteX2334" y="connsiteY2334"/>
                </a:cxn>
                <a:cxn ang="0">
                  <a:pos x="connsiteX2335" y="connsiteY2335"/>
                </a:cxn>
                <a:cxn ang="0">
                  <a:pos x="connsiteX2336" y="connsiteY2336"/>
                </a:cxn>
                <a:cxn ang="0">
                  <a:pos x="connsiteX2337" y="connsiteY2337"/>
                </a:cxn>
                <a:cxn ang="0">
                  <a:pos x="connsiteX2338" y="connsiteY2338"/>
                </a:cxn>
                <a:cxn ang="0">
                  <a:pos x="connsiteX2339" y="connsiteY2339"/>
                </a:cxn>
                <a:cxn ang="0">
                  <a:pos x="connsiteX2340" y="connsiteY2340"/>
                </a:cxn>
                <a:cxn ang="0">
                  <a:pos x="connsiteX2341" y="connsiteY2341"/>
                </a:cxn>
                <a:cxn ang="0">
                  <a:pos x="connsiteX2342" y="connsiteY2342"/>
                </a:cxn>
                <a:cxn ang="0">
                  <a:pos x="connsiteX2343" y="connsiteY2343"/>
                </a:cxn>
                <a:cxn ang="0">
                  <a:pos x="connsiteX2344" y="connsiteY2344"/>
                </a:cxn>
                <a:cxn ang="0">
                  <a:pos x="connsiteX2345" y="connsiteY2345"/>
                </a:cxn>
                <a:cxn ang="0">
                  <a:pos x="connsiteX2346" y="connsiteY2346"/>
                </a:cxn>
                <a:cxn ang="0">
                  <a:pos x="connsiteX2347" y="connsiteY2347"/>
                </a:cxn>
                <a:cxn ang="0">
                  <a:pos x="connsiteX2348" y="connsiteY2348"/>
                </a:cxn>
                <a:cxn ang="0">
                  <a:pos x="connsiteX2349" y="connsiteY2349"/>
                </a:cxn>
                <a:cxn ang="0">
                  <a:pos x="connsiteX2350" y="connsiteY2350"/>
                </a:cxn>
                <a:cxn ang="0">
                  <a:pos x="connsiteX2351" y="connsiteY2351"/>
                </a:cxn>
                <a:cxn ang="0">
                  <a:pos x="connsiteX2352" y="connsiteY2352"/>
                </a:cxn>
                <a:cxn ang="0">
                  <a:pos x="connsiteX2353" y="connsiteY2353"/>
                </a:cxn>
                <a:cxn ang="0">
                  <a:pos x="connsiteX2354" y="connsiteY2354"/>
                </a:cxn>
                <a:cxn ang="0">
                  <a:pos x="connsiteX2355" y="connsiteY2355"/>
                </a:cxn>
                <a:cxn ang="0">
                  <a:pos x="connsiteX2356" y="connsiteY2356"/>
                </a:cxn>
                <a:cxn ang="0">
                  <a:pos x="connsiteX2357" y="connsiteY2357"/>
                </a:cxn>
                <a:cxn ang="0">
                  <a:pos x="connsiteX2358" y="connsiteY2358"/>
                </a:cxn>
                <a:cxn ang="0">
                  <a:pos x="connsiteX2359" y="connsiteY2359"/>
                </a:cxn>
                <a:cxn ang="0">
                  <a:pos x="connsiteX2360" y="connsiteY2360"/>
                </a:cxn>
                <a:cxn ang="0">
                  <a:pos x="connsiteX2361" y="connsiteY2361"/>
                </a:cxn>
                <a:cxn ang="0">
                  <a:pos x="connsiteX2362" y="connsiteY2362"/>
                </a:cxn>
                <a:cxn ang="0">
                  <a:pos x="connsiteX2363" y="connsiteY2363"/>
                </a:cxn>
                <a:cxn ang="0">
                  <a:pos x="connsiteX2364" y="connsiteY2364"/>
                </a:cxn>
                <a:cxn ang="0">
                  <a:pos x="connsiteX2365" y="connsiteY2365"/>
                </a:cxn>
                <a:cxn ang="0">
                  <a:pos x="connsiteX2366" y="connsiteY2366"/>
                </a:cxn>
                <a:cxn ang="0">
                  <a:pos x="connsiteX2367" y="connsiteY2367"/>
                </a:cxn>
                <a:cxn ang="0">
                  <a:pos x="connsiteX2368" y="connsiteY2368"/>
                </a:cxn>
                <a:cxn ang="0">
                  <a:pos x="connsiteX2369" y="connsiteY2369"/>
                </a:cxn>
                <a:cxn ang="0">
                  <a:pos x="connsiteX2370" y="connsiteY2370"/>
                </a:cxn>
                <a:cxn ang="0">
                  <a:pos x="connsiteX2371" y="connsiteY2371"/>
                </a:cxn>
                <a:cxn ang="0">
                  <a:pos x="connsiteX2372" y="connsiteY2372"/>
                </a:cxn>
                <a:cxn ang="0">
                  <a:pos x="connsiteX2373" y="connsiteY2373"/>
                </a:cxn>
                <a:cxn ang="0">
                  <a:pos x="connsiteX2374" y="connsiteY2374"/>
                </a:cxn>
                <a:cxn ang="0">
                  <a:pos x="connsiteX2375" y="connsiteY2375"/>
                </a:cxn>
                <a:cxn ang="0">
                  <a:pos x="connsiteX2376" y="connsiteY2376"/>
                </a:cxn>
                <a:cxn ang="0">
                  <a:pos x="connsiteX2377" y="connsiteY2377"/>
                </a:cxn>
                <a:cxn ang="0">
                  <a:pos x="connsiteX2378" y="connsiteY2378"/>
                </a:cxn>
                <a:cxn ang="0">
                  <a:pos x="connsiteX2379" y="connsiteY2379"/>
                </a:cxn>
                <a:cxn ang="0">
                  <a:pos x="connsiteX2380" y="connsiteY2380"/>
                </a:cxn>
                <a:cxn ang="0">
                  <a:pos x="connsiteX2381" y="connsiteY2381"/>
                </a:cxn>
                <a:cxn ang="0">
                  <a:pos x="connsiteX2382" y="connsiteY2382"/>
                </a:cxn>
                <a:cxn ang="0">
                  <a:pos x="connsiteX2383" y="connsiteY2383"/>
                </a:cxn>
                <a:cxn ang="0">
                  <a:pos x="connsiteX2384" y="connsiteY2384"/>
                </a:cxn>
                <a:cxn ang="0">
                  <a:pos x="connsiteX2385" y="connsiteY2385"/>
                </a:cxn>
                <a:cxn ang="0">
                  <a:pos x="connsiteX2386" y="connsiteY2386"/>
                </a:cxn>
                <a:cxn ang="0">
                  <a:pos x="connsiteX2387" y="connsiteY2387"/>
                </a:cxn>
                <a:cxn ang="0">
                  <a:pos x="connsiteX2388" y="connsiteY2388"/>
                </a:cxn>
                <a:cxn ang="0">
                  <a:pos x="connsiteX2389" y="connsiteY2389"/>
                </a:cxn>
                <a:cxn ang="0">
                  <a:pos x="connsiteX2390" y="connsiteY2390"/>
                </a:cxn>
                <a:cxn ang="0">
                  <a:pos x="connsiteX2391" y="connsiteY2391"/>
                </a:cxn>
                <a:cxn ang="0">
                  <a:pos x="connsiteX2392" y="connsiteY2392"/>
                </a:cxn>
                <a:cxn ang="0">
                  <a:pos x="connsiteX2393" y="connsiteY2393"/>
                </a:cxn>
                <a:cxn ang="0">
                  <a:pos x="connsiteX2394" y="connsiteY2394"/>
                </a:cxn>
                <a:cxn ang="0">
                  <a:pos x="connsiteX2395" y="connsiteY2395"/>
                </a:cxn>
                <a:cxn ang="0">
                  <a:pos x="connsiteX2396" y="connsiteY2396"/>
                </a:cxn>
                <a:cxn ang="0">
                  <a:pos x="connsiteX2397" y="connsiteY2397"/>
                </a:cxn>
                <a:cxn ang="0">
                  <a:pos x="connsiteX2398" y="connsiteY2398"/>
                </a:cxn>
                <a:cxn ang="0">
                  <a:pos x="connsiteX2399" y="connsiteY2399"/>
                </a:cxn>
                <a:cxn ang="0">
                  <a:pos x="connsiteX2400" y="connsiteY2400"/>
                </a:cxn>
                <a:cxn ang="0">
                  <a:pos x="connsiteX2401" y="connsiteY2401"/>
                </a:cxn>
                <a:cxn ang="0">
                  <a:pos x="connsiteX2402" y="connsiteY2402"/>
                </a:cxn>
                <a:cxn ang="0">
                  <a:pos x="connsiteX2403" y="connsiteY2403"/>
                </a:cxn>
                <a:cxn ang="0">
                  <a:pos x="connsiteX2404" y="connsiteY2404"/>
                </a:cxn>
                <a:cxn ang="0">
                  <a:pos x="connsiteX2405" y="connsiteY2405"/>
                </a:cxn>
                <a:cxn ang="0">
                  <a:pos x="connsiteX2406" y="connsiteY2406"/>
                </a:cxn>
                <a:cxn ang="0">
                  <a:pos x="connsiteX2407" y="connsiteY2407"/>
                </a:cxn>
                <a:cxn ang="0">
                  <a:pos x="connsiteX2408" y="connsiteY2408"/>
                </a:cxn>
                <a:cxn ang="0">
                  <a:pos x="connsiteX2409" y="connsiteY2409"/>
                </a:cxn>
                <a:cxn ang="0">
                  <a:pos x="connsiteX2410" y="connsiteY2410"/>
                </a:cxn>
                <a:cxn ang="0">
                  <a:pos x="connsiteX2411" y="connsiteY2411"/>
                </a:cxn>
                <a:cxn ang="0">
                  <a:pos x="connsiteX2412" y="connsiteY2412"/>
                </a:cxn>
                <a:cxn ang="0">
                  <a:pos x="connsiteX2413" y="connsiteY2413"/>
                </a:cxn>
                <a:cxn ang="0">
                  <a:pos x="connsiteX2414" y="connsiteY2414"/>
                </a:cxn>
                <a:cxn ang="0">
                  <a:pos x="connsiteX2415" y="connsiteY2415"/>
                </a:cxn>
                <a:cxn ang="0">
                  <a:pos x="connsiteX2416" y="connsiteY2416"/>
                </a:cxn>
                <a:cxn ang="0">
                  <a:pos x="connsiteX2417" y="connsiteY2417"/>
                </a:cxn>
                <a:cxn ang="0">
                  <a:pos x="connsiteX2418" y="connsiteY2418"/>
                </a:cxn>
                <a:cxn ang="0">
                  <a:pos x="connsiteX2419" y="connsiteY2419"/>
                </a:cxn>
                <a:cxn ang="0">
                  <a:pos x="connsiteX2420" y="connsiteY2420"/>
                </a:cxn>
                <a:cxn ang="0">
                  <a:pos x="connsiteX2421" y="connsiteY2421"/>
                </a:cxn>
                <a:cxn ang="0">
                  <a:pos x="connsiteX2422" y="connsiteY2422"/>
                </a:cxn>
                <a:cxn ang="0">
                  <a:pos x="connsiteX2423" y="connsiteY2423"/>
                </a:cxn>
                <a:cxn ang="0">
                  <a:pos x="connsiteX2424" y="connsiteY2424"/>
                </a:cxn>
                <a:cxn ang="0">
                  <a:pos x="connsiteX2425" y="connsiteY2425"/>
                </a:cxn>
                <a:cxn ang="0">
                  <a:pos x="connsiteX2426" y="connsiteY2426"/>
                </a:cxn>
                <a:cxn ang="0">
                  <a:pos x="connsiteX2427" y="connsiteY2427"/>
                </a:cxn>
                <a:cxn ang="0">
                  <a:pos x="connsiteX2428" y="connsiteY2428"/>
                </a:cxn>
                <a:cxn ang="0">
                  <a:pos x="connsiteX2429" y="connsiteY2429"/>
                </a:cxn>
                <a:cxn ang="0">
                  <a:pos x="connsiteX2430" y="connsiteY2430"/>
                </a:cxn>
                <a:cxn ang="0">
                  <a:pos x="connsiteX2431" y="connsiteY2431"/>
                </a:cxn>
                <a:cxn ang="0">
                  <a:pos x="connsiteX2432" y="connsiteY2432"/>
                </a:cxn>
                <a:cxn ang="0">
                  <a:pos x="connsiteX2433" y="connsiteY2433"/>
                </a:cxn>
                <a:cxn ang="0">
                  <a:pos x="connsiteX2434" y="connsiteY2434"/>
                </a:cxn>
                <a:cxn ang="0">
                  <a:pos x="connsiteX2435" y="connsiteY2435"/>
                </a:cxn>
                <a:cxn ang="0">
                  <a:pos x="connsiteX2436" y="connsiteY2436"/>
                </a:cxn>
                <a:cxn ang="0">
                  <a:pos x="connsiteX2437" y="connsiteY2437"/>
                </a:cxn>
                <a:cxn ang="0">
                  <a:pos x="connsiteX2438" y="connsiteY2438"/>
                </a:cxn>
                <a:cxn ang="0">
                  <a:pos x="connsiteX2439" y="connsiteY2439"/>
                </a:cxn>
                <a:cxn ang="0">
                  <a:pos x="connsiteX2440" y="connsiteY2440"/>
                </a:cxn>
                <a:cxn ang="0">
                  <a:pos x="connsiteX2441" y="connsiteY2441"/>
                </a:cxn>
                <a:cxn ang="0">
                  <a:pos x="connsiteX2442" y="connsiteY2442"/>
                </a:cxn>
                <a:cxn ang="0">
                  <a:pos x="connsiteX2443" y="connsiteY2443"/>
                </a:cxn>
                <a:cxn ang="0">
                  <a:pos x="connsiteX2444" y="connsiteY2444"/>
                </a:cxn>
                <a:cxn ang="0">
                  <a:pos x="connsiteX2445" y="connsiteY2445"/>
                </a:cxn>
                <a:cxn ang="0">
                  <a:pos x="connsiteX2446" y="connsiteY2446"/>
                </a:cxn>
                <a:cxn ang="0">
                  <a:pos x="connsiteX2447" y="connsiteY2447"/>
                </a:cxn>
                <a:cxn ang="0">
                  <a:pos x="connsiteX2448" y="connsiteY2448"/>
                </a:cxn>
                <a:cxn ang="0">
                  <a:pos x="connsiteX2449" y="connsiteY2449"/>
                </a:cxn>
                <a:cxn ang="0">
                  <a:pos x="connsiteX2450" y="connsiteY2450"/>
                </a:cxn>
                <a:cxn ang="0">
                  <a:pos x="connsiteX2451" y="connsiteY2451"/>
                </a:cxn>
                <a:cxn ang="0">
                  <a:pos x="connsiteX2452" y="connsiteY2452"/>
                </a:cxn>
                <a:cxn ang="0">
                  <a:pos x="connsiteX2453" y="connsiteY2453"/>
                </a:cxn>
                <a:cxn ang="0">
                  <a:pos x="connsiteX2454" y="connsiteY2454"/>
                </a:cxn>
                <a:cxn ang="0">
                  <a:pos x="connsiteX2455" y="connsiteY2455"/>
                </a:cxn>
                <a:cxn ang="0">
                  <a:pos x="connsiteX2456" y="connsiteY2456"/>
                </a:cxn>
                <a:cxn ang="0">
                  <a:pos x="connsiteX2457" y="connsiteY2457"/>
                </a:cxn>
                <a:cxn ang="0">
                  <a:pos x="connsiteX2458" y="connsiteY2458"/>
                </a:cxn>
                <a:cxn ang="0">
                  <a:pos x="connsiteX2459" y="connsiteY2459"/>
                </a:cxn>
                <a:cxn ang="0">
                  <a:pos x="connsiteX2460" y="connsiteY2460"/>
                </a:cxn>
                <a:cxn ang="0">
                  <a:pos x="connsiteX2461" y="connsiteY2461"/>
                </a:cxn>
                <a:cxn ang="0">
                  <a:pos x="connsiteX2462" y="connsiteY2462"/>
                </a:cxn>
                <a:cxn ang="0">
                  <a:pos x="connsiteX2463" y="connsiteY2463"/>
                </a:cxn>
                <a:cxn ang="0">
                  <a:pos x="connsiteX2464" y="connsiteY2464"/>
                </a:cxn>
                <a:cxn ang="0">
                  <a:pos x="connsiteX2465" y="connsiteY2465"/>
                </a:cxn>
                <a:cxn ang="0">
                  <a:pos x="connsiteX2466" y="connsiteY2466"/>
                </a:cxn>
                <a:cxn ang="0">
                  <a:pos x="connsiteX2467" y="connsiteY2467"/>
                </a:cxn>
                <a:cxn ang="0">
                  <a:pos x="connsiteX2468" y="connsiteY2468"/>
                </a:cxn>
                <a:cxn ang="0">
                  <a:pos x="connsiteX2469" y="connsiteY2469"/>
                </a:cxn>
                <a:cxn ang="0">
                  <a:pos x="connsiteX2470" y="connsiteY2470"/>
                </a:cxn>
                <a:cxn ang="0">
                  <a:pos x="connsiteX2471" y="connsiteY2471"/>
                </a:cxn>
                <a:cxn ang="0">
                  <a:pos x="connsiteX2472" y="connsiteY2472"/>
                </a:cxn>
                <a:cxn ang="0">
                  <a:pos x="connsiteX2473" y="connsiteY2473"/>
                </a:cxn>
                <a:cxn ang="0">
                  <a:pos x="connsiteX2474" y="connsiteY2474"/>
                </a:cxn>
                <a:cxn ang="0">
                  <a:pos x="connsiteX2475" y="connsiteY2475"/>
                </a:cxn>
                <a:cxn ang="0">
                  <a:pos x="connsiteX2476" y="connsiteY2476"/>
                </a:cxn>
                <a:cxn ang="0">
                  <a:pos x="connsiteX2477" y="connsiteY2477"/>
                </a:cxn>
                <a:cxn ang="0">
                  <a:pos x="connsiteX2478" y="connsiteY2478"/>
                </a:cxn>
                <a:cxn ang="0">
                  <a:pos x="connsiteX2479" y="connsiteY2479"/>
                </a:cxn>
                <a:cxn ang="0">
                  <a:pos x="connsiteX2480" y="connsiteY2480"/>
                </a:cxn>
                <a:cxn ang="0">
                  <a:pos x="connsiteX2481" y="connsiteY2481"/>
                </a:cxn>
                <a:cxn ang="0">
                  <a:pos x="connsiteX2482" y="connsiteY2482"/>
                </a:cxn>
                <a:cxn ang="0">
                  <a:pos x="connsiteX2483" y="connsiteY2483"/>
                </a:cxn>
                <a:cxn ang="0">
                  <a:pos x="connsiteX2484" y="connsiteY2484"/>
                </a:cxn>
                <a:cxn ang="0">
                  <a:pos x="connsiteX2485" y="connsiteY2485"/>
                </a:cxn>
                <a:cxn ang="0">
                  <a:pos x="connsiteX2486" y="connsiteY2486"/>
                </a:cxn>
                <a:cxn ang="0">
                  <a:pos x="connsiteX2487" y="connsiteY2487"/>
                </a:cxn>
                <a:cxn ang="0">
                  <a:pos x="connsiteX2488" y="connsiteY2488"/>
                </a:cxn>
                <a:cxn ang="0">
                  <a:pos x="connsiteX2489" y="connsiteY2489"/>
                </a:cxn>
                <a:cxn ang="0">
                  <a:pos x="connsiteX2490" y="connsiteY2490"/>
                </a:cxn>
                <a:cxn ang="0">
                  <a:pos x="connsiteX2491" y="connsiteY2491"/>
                </a:cxn>
                <a:cxn ang="0">
                  <a:pos x="connsiteX2492" y="connsiteY2492"/>
                </a:cxn>
                <a:cxn ang="0">
                  <a:pos x="connsiteX2493" y="connsiteY2493"/>
                </a:cxn>
                <a:cxn ang="0">
                  <a:pos x="connsiteX2494" y="connsiteY2494"/>
                </a:cxn>
                <a:cxn ang="0">
                  <a:pos x="connsiteX2495" y="connsiteY2495"/>
                </a:cxn>
                <a:cxn ang="0">
                  <a:pos x="connsiteX2496" y="connsiteY2496"/>
                </a:cxn>
                <a:cxn ang="0">
                  <a:pos x="connsiteX2497" y="connsiteY2497"/>
                </a:cxn>
                <a:cxn ang="0">
                  <a:pos x="connsiteX2498" y="connsiteY2498"/>
                </a:cxn>
                <a:cxn ang="0">
                  <a:pos x="connsiteX2499" y="connsiteY2499"/>
                </a:cxn>
                <a:cxn ang="0">
                  <a:pos x="connsiteX2500" y="connsiteY2500"/>
                </a:cxn>
                <a:cxn ang="0">
                  <a:pos x="connsiteX2501" y="connsiteY2501"/>
                </a:cxn>
                <a:cxn ang="0">
                  <a:pos x="connsiteX2502" y="connsiteY2502"/>
                </a:cxn>
                <a:cxn ang="0">
                  <a:pos x="connsiteX2503" y="connsiteY2503"/>
                </a:cxn>
                <a:cxn ang="0">
                  <a:pos x="connsiteX2504" y="connsiteY2504"/>
                </a:cxn>
                <a:cxn ang="0">
                  <a:pos x="connsiteX2505" y="connsiteY2505"/>
                </a:cxn>
                <a:cxn ang="0">
                  <a:pos x="connsiteX2506" y="connsiteY2506"/>
                </a:cxn>
                <a:cxn ang="0">
                  <a:pos x="connsiteX2507" y="connsiteY2507"/>
                </a:cxn>
                <a:cxn ang="0">
                  <a:pos x="connsiteX2508" y="connsiteY2508"/>
                </a:cxn>
                <a:cxn ang="0">
                  <a:pos x="connsiteX2509" y="connsiteY2509"/>
                </a:cxn>
                <a:cxn ang="0">
                  <a:pos x="connsiteX2510" y="connsiteY2510"/>
                </a:cxn>
                <a:cxn ang="0">
                  <a:pos x="connsiteX2511" y="connsiteY2511"/>
                </a:cxn>
                <a:cxn ang="0">
                  <a:pos x="connsiteX2512" y="connsiteY2512"/>
                </a:cxn>
                <a:cxn ang="0">
                  <a:pos x="connsiteX2513" y="connsiteY2513"/>
                </a:cxn>
                <a:cxn ang="0">
                  <a:pos x="connsiteX2514" y="connsiteY2514"/>
                </a:cxn>
                <a:cxn ang="0">
                  <a:pos x="connsiteX2515" y="connsiteY2515"/>
                </a:cxn>
                <a:cxn ang="0">
                  <a:pos x="connsiteX2516" y="connsiteY2516"/>
                </a:cxn>
                <a:cxn ang="0">
                  <a:pos x="connsiteX2517" y="connsiteY2517"/>
                </a:cxn>
                <a:cxn ang="0">
                  <a:pos x="connsiteX2518" y="connsiteY2518"/>
                </a:cxn>
                <a:cxn ang="0">
                  <a:pos x="connsiteX2519" y="connsiteY2519"/>
                </a:cxn>
                <a:cxn ang="0">
                  <a:pos x="connsiteX2520" y="connsiteY2520"/>
                </a:cxn>
                <a:cxn ang="0">
                  <a:pos x="connsiteX2521" y="connsiteY2521"/>
                </a:cxn>
                <a:cxn ang="0">
                  <a:pos x="connsiteX2522" y="connsiteY2522"/>
                </a:cxn>
                <a:cxn ang="0">
                  <a:pos x="connsiteX2523" y="connsiteY2523"/>
                </a:cxn>
                <a:cxn ang="0">
                  <a:pos x="connsiteX2524" y="connsiteY2524"/>
                </a:cxn>
                <a:cxn ang="0">
                  <a:pos x="connsiteX2525" y="connsiteY2525"/>
                </a:cxn>
                <a:cxn ang="0">
                  <a:pos x="connsiteX2526" y="connsiteY2526"/>
                </a:cxn>
                <a:cxn ang="0">
                  <a:pos x="connsiteX2527" y="connsiteY2527"/>
                </a:cxn>
                <a:cxn ang="0">
                  <a:pos x="connsiteX2528" y="connsiteY2528"/>
                </a:cxn>
                <a:cxn ang="0">
                  <a:pos x="connsiteX2529" y="connsiteY2529"/>
                </a:cxn>
                <a:cxn ang="0">
                  <a:pos x="connsiteX2530" y="connsiteY2530"/>
                </a:cxn>
                <a:cxn ang="0">
                  <a:pos x="connsiteX2531" y="connsiteY2531"/>
                </a:cxn>
                <a:cxn ang="0">
                  <a:pos x="connsiteX2532" y="connsiteY2532"/>
                </a:cxn>
                <a:cxn ang="0">
                  <a:pos x="connsiteX2533" y="connsiteY2533"/>
                </a:cxn>
                <a:cxn ang="0">
                  <a:pos x="connsiteX2534" y="connsiteY2534"/>
                </a:cxn>
                <a:cxn ang="0">
                  <a:pos x="connsiteX2535" y="connsiteY2535"/>
                </a:cxn>
                <a:cxn ang="0">
                  <a:pos x="connsiteX2536" y="connsiteY2536"/>
                </a:cxn>
                <a:cxn ang="0">
                  <a:pos x="connsiteX2537" y="connsiteY2537"/>
                </a:cxn>
                <a:cxn ang="0">
                  <a:pos x="connsiteX2538" y="connsiteY2538"/>
                </a:cxn>
                <a:cxn ang="0">
                  <a:pos x="connsiteX2539" y="connsiteY2539"/>
                </a:cxn>
                <a:cxn ang="0">
                  <a:pos x="connsiteX2540" y="connsiteY2540"/>
                </a:cxn>
                <a:cxn ang="0">
                  <a:pos x="connsiteX2541" y="connsiteY2541"/>
                </a:cxn>
                <a:cxn ang="0">
                  <a:pos x="connsiteX2542" y="connsiteY2542"/>
                </a:cxn>
                <a:cxn ang="0">
                  <a:pos x="connsiteX2543" y="connsiteY2543"/>
                </a:cxn>
                <a:cxn ang="0">
                  <a:pos x="connsiteX2544" y="connsiteY2544"/>
                </a:cxn>
                <a:cxn ang="0">
                  <a:pos x="connsiteX2545" y="connsiteY2545"/>
                </a:cxn>
                <a:cxn ang="0">
                  <a:pos x="connsiteX2546" y="connsiteY2546"/>
                </a:cxn>
                <a:cxn ang="0">
                  <a:pos x="connsiteX2547" y="connsiteY2547"/>
                </a:cxn>
                <a:cxn ang="0">
                  <a:pos x="connsiteX2548" y="connsiteY2548"/>
                </a:cxn>
                <a:cxn ang="0">
                  <a:pos x="connsiteX2549" y="connsiteY2549"/>
                </a:cxn>
                <a:cxn ang="0">
                  <a:pos x="connsiteX2550" y="connsiteY2550"/>
                </a:cxn>
                <a:cxn ang="0">
                  <a:pos x="connsiteX2551" y="connsiteY2551"/>
                </a:cxn>
                <a:cxn ang="0">
                  <a:pos x="connsiteX2552" y="connsiteY2552"/>
                </a:cxn>
                <a:cxn ang="0">
                  <a:pos x="connsiteX2553" y="connsiteY2553"/>
                </a:cxn>
                <a:cxn ang="0">
                  <a:pos x="connsiteX2554" y="connsiteY2554"/>
                </a:cxn>
                <a:cxn ang="0">
                  <a:pos x="connsiteX2555" y="connsiteY2555"/>
                </a:cxn>
                <a:cxn ang="0">
                  <a:pos x="connsiteX2556" y="connsiteY2556"/>
                </a:cxn>
                <a:cxn ang="0">
                  <a:pos x="connsiteX2557" y="connsiteY2557"/>
                </a:cxn>
                <a:cxn ang="0">
                  <a:pos x="connsiteX2558" y="connsiteY2558"/>
                </a:cxn>
                <a:cxn ang="0">
                  <a:pos x="connsiteX2559" y="connsiteY2559"/>
                </a:cxn>
                <a:cxn ang="0">
                  <a:pos x="connsiteX2560" y="connsiteY2560"/>
                </a:cxn>
                <a:cxn ang="0">
                  <a:pos x="connsiteX2561" y="connsiteY2561"/>
                </a:cxn>
                <a:cxn ang="0">
                  <a:pos x="connsiteX2562" y="connsiteY2562"/>
                </a:cxn>
                <a:cxn ang="0">
                  <a:pos x="connsiteX2563" y="connsiteY2563"/>
                </a:cxn>
                <a:cxn ang="0">
                  <a:pos x="connsiteX2564" y="connsiteY2564"/>
                </a:cxn>
                <a:cxn ang="0">
                  <a:pos x="connsiteX2565" y="connsiteY2565"/>
                </a:cxn>
                <a:cxn ang="0">
                  <a:pos x="connsiteX2566" y="connsiteY2566"/>
                </a:cxn>
                <a:cxn ang="0">
                  <a:pos x="connsiteX2567" y="connsiteY2567"/>
                </a:cxn>
                <a:cxn ang="0">
                  <a:pos x="connsiteX2568" y="connsiteY2568"/>
                </a:cxn>
                <a:cxn ang="0">
                  <a:pos x="connsiteX2569" y="connsiteY2569"/>
                </a:cxn>
                <a:cxn ang="0">
                  <a:pos x="connsiteX2570" y="connsiteY2570"/>
                </a:cxn>
                <a:cxn ang="0">
                  <a:pos x="connsiteX2571" y="connsiteY2571"/>
                </a:cxn>
                <a:cxn ang="0">
                  <a:pos x="connsiteX2572" y="connsiteY2572"/>
                </a:cxn>
                <a:cxn ang="0">
                  <a:pos x="connsiteX2573" y="connsiteY2573"/>
                </a:cxn>
                <a:cxn ang="0">
                  <a:pos x="connsiteX2574" y="connsiteY2574"/>
                </a:cxn>
                <a:cxn ang="0">
                  <a:pos x="connsiteX2575" y="connsiteY2575"/>
                </a:cxn>
                <a:cxn ang="0">
                  <a:pos x="connsiteX2576" y="connsiteY2576"/>
                </a:cxn>
                <a:cxn ang="0">
                  <a:pos x="connsiteX2577" y="connsiteY2577"/>
                </a:cxn>
                <a:cxn ang="0">
                  <a:pos x="connsiteX2578" y="connsiteY2578"/>
                </a:cxn>
                <a:cxn ang="0">
                  <a:pos x="connsiteX2579" y="connsiteY2579"/>
                </a:cxn>
                <a:cxn ang="0">
                  <a:pos x="connsiteX2580" y="connsiteY2580"/>
                </a:cxn>
                <a:cxn ang="0">
                  <a:pos x="connsiteX2581" y="connsiteY2581"/>
                </a:cxn>
                <a:cxn ang="0">
                  <a:pos x="connsiteX2582" y="connsiteY2582"/>
                </a:cxn>
                <a:cxn ang="0">
                  <a:pos x="connsiteX2583" y="connsiteY2583"/>
                </a:cxn>
                <a:cxn ang="0">
                  <a:pos x="connsiteX2584" y="connsiteY2584"/>
                </a:cxn>
                <a:cxn ang="0">
                  <a:pos x="connsiteX2585" y="connsiteY2585"/>
                </a:cxn>
                <a:cxn ang="0">
                  <a:pos x="connsiteX2586" y="connsiteY2586"/>
                </a:cxn>
                <a:cxn ang="0">
                  <a:pos x="connsiteX2587" y="connsiteY2587"/>
                </a:cxn>
                <a:cxn ang="0">
                  <a:pos x="connsiteX2588" y="connsiteY2588"/>
                </a:cxn>
                <a:cxn ang="0">
                  <a:pos x="connsiteX2589" y="connsiteY2589"/>
                </a:cxn>
                <a:cxn ang="0">
                  <a:pos x="connsiteX2590" y="connsiteY2590"/>
                </a:cxn>
                <a:cxn ang="0">
                  <a:pos x="connsiteX2591" y="connsiteY2591"/>
                </a:cxn>
                <a:cxn ang="0">
                  <a:pos x="connsiteX2592" y="connsiteY2592"/>
                </a:cxn>
                <a:cxn ang="0">
                  <a:pos x="connsiteX2593" y="connsiteY2593"/>
                </a:cxn>
                <a:cxn ang="0">
                  <a:pos x="connsiteX2594" y="connsiteY2594"/>
                </a:cxn>
                <a:cxn ang="0">
                  <a:pos x="connsiteX2595" y="connsiteY2595"/>
                </a:cxn>
                <a:cxn ang="0">
                  <a:pos x="connsiteX2596" y="connsiteY2596"/>
                </a:cxn>
                <a:cxn ang="0">
                  <a:pos x="connsiteX2597" y="connsiteY2597"/>
                </a:cxn>
                <a:cxn ang="0">
                  <a:pos x="connsiteX2598" y="connsiteY2598"/>
                </a:cxn>
                <a:cxn ang="0">
                  <a:pos x="connsiteX2599" y="connsiteY2599"/>
                </a:cxn>
                <a:cxn ang="0">
                  <a:pos x="connsiteX2600" y="connsiteY2600"/>
                </a:cxn>
                <a:cxn ang="0">
                  <a:pos x="connsiteX2601" y="connsiteY2601"/>
                </a:cxn>
                <a:cxn ang="0">
                  <a:pos x="connsiteX2602" y="connsiteY2602"/>
                </a:cxn>
                <a:cxn ang="0">
                  <a:pos x="connsiteX2603" y="connsiteY2603"/>
                </a:cxn>
                <a:cxn ang="0">
                  <a:pos x="connsiteX2604" y="connsiteY2604"/>
                </a:cxn>
                <a:cxn ang="0">
                  <a:pos x="connsiteX2605" y="connsiteY2605"/>
                </a:cxn>
                <a:cxn ang="0">
                  <a:pos x="connsiteX2606" y="connsiteY2606"/>
                </a:cxn>
                <a:cxn ang="0">
                  <a:pos x="connsiteX2607" y="connsiteY2607"/>
                </a:cxn>
                <a:cxn ang="0">
                  <a:pos x="connsiteX2608" y="connsiteY2608"/>
                </a:cxn>
                <a:cxn ang="0">
                  <a:pos x="connsiteX2609" y="connsiteY2609"/>
                </a:cxn>
                <a:cxn ang="0">
                  <a:pos x="connsiteX2610" y="connsiteY2610"/>
                </a:cxn>
                <a:cxn ang="0">
                  <a:pos x="connsiteX2611" y="connsiteY2611"/>
                </a:cxn>
                <a:cxn ang="0">
                  <a:pos x="connsiteX2612" y="connsiteY2612"/>
                </a:cxn>
                <a:cxn ang="0">
                  <a:pos x="connsiteX2613" y="connsiteY2613"/>
                </a:cxn>
                <a:cxn ang="0">
                  <a:pos x="connsiteX2614" y="connsiteY2614"/>
                </a:cxn>
                <a:cxn ang="0">
                  <a:pos x="connsiteX2615" y="connsiteY2615"/>
                </a:cxn>
                <a:cxn ang="0">
                  <a:pos x="connsiteX2616" y="connsiteY2616"/>
                </a:cxn>
                <a:cxn ang="0">
                  <a:pos x="connsiteX2617" y="connsiteY2617"/>
                </a:cxn>
                <a:cxn ang="0">
                  <a:pos x="connsiteX2618" y="connsiteY2618"/>
                </a:cxn>
                <a:cxn ang="0">
                  <a:pos x="connsiteX2619" y="connsiteY2619"/>
                </a:cxn>
                <a:cxn ang="0">
                  <a:pos x="connsiteX2620" y="connsiteY2620"/>
                </a:cxn>
                <a:cxn ang="0">
                  <a:pos x="connsiteX2621" y="connsiteY2621"/>
                </a:cxn>
                <a:cxn ang="0">
                  <a:pos x="connsiteX2622" y="connsiteY2622"/>
                </a:cxn>
                <a:cxn ang="0">
                  <a:pos x="connsiteX2623" y="connsiteY2623"/>
                </a:cxn>
                <a:cxn ang="0">
                  <a:pos x="connsiteX2624" y="connsiteY2624"/>
                </a:cxn>
                <a:cxn ang="0">
                  <a:pos x="connsiteX2625" y="connsiteY2625"/>
                </a:cxn>
                <a:cxn ang="0">
                  <a:pos x="connsiteX2626" y="connsiteY2626"/>
                </a:cxn>
                <a:cxn ang="0">
                  <a:pos x="connsiteX2627" y="connsiteY2627"/>
                </a:cxn>
                <a:cxn ang="0">
                  <a:pos x="connsiteX2628" y="connsiteY2628"/>
                </a:cxn>
                <a:cxn ang="0">
                  <a:pos x="connsiteX2629" y="connsiteY2629"/>
                </a:cxn>
                <a:cxn ang="0">
                  <a:pos x="connsiteX2630" y="connsiteY2630"/>
                </a:cxn>
                <a:cxn ang="0">
                  <a:pos x="connsiteX2631" y="connsiteY2631"/>
                </a:cxn>
                <a:cxn ang="0">
                  <a:pos x="connsiteX2632" y="connsiteY2632"/>
                </a:cxn>
                <a:cxn ang="0">
                  <a:pos x="connsiteX2633" y="connsiteY2633"/>
                </a:cxn>
                <a:cxn ang="0">
                  <a:pos x="connsiteX2634" y="connsiteY2634"/>
                </a:cxn>
                <a:cxn ang="0">
                  <a:pos x="connsiteX2635" y="connsiteY2635"/>
                </a:cxn>
                <a:cxn ang="0">
                  <a:pos x="connsiteX2636" y="connsiteY2636"/>
                </a:cxn>
                <a:cxn ang="0">
                  <a:pos x="connsiteX2637" y="connsiteY2637"/>
                </a:cxn>
                <a:cxn ang="0">
                  <a:pos x="connsiteX2638" y="connsiteY2638"/>
                </a:cxn>
                <a:cxn ang="0">
                  <a:pos x="connsiteX2639" y="connsiteY2639"/>
                </a:cxn>
                <a:cxn ang="0">
                  <a:pos x="connsiteX2640" y="connsiteY2640"/>
                </a:cxn>
                <a:cxn ang="0">
                  <a:pos x="connsiteX2641" y="connsiteY2641"/>
                </a:cxn>
                <a:cxn ang="0">
                  <a:pos x="connsiteX2642" y="connsiteY2642"/>
                </a:cxn>
                <a:cxn ang="0">
                  <a:pos x="connsiteX2643" y="connsiteY2643"/>
                </a:cxn>
                <a:cxn ang="0">
                  <a:pos x="connsiteX2644" y="connsiteY2644"/>
                </a:cxn>
                <a:cxn ang="0">
                  <a:pos x="connsiteX2645" y="connsiteY2645"/>
                </a:cxn>
                <a:cxn ang="0">
                  <a:pos x="connsiteX2646" y="connsiteY2646"/>
                </a:cxn>
                <a:cxn ang="0">
                  <a:pos x="connsiteX2647" y="connsiteY2647"/>
                </a:cxn>
                <a:cxn ang="0">
                  <a:pos x="connsiteX2648" y="connsiteY2648"/>
                </a:cxn>
                <a:cxn ang="0">
                  <a:pos x="connsiteX2649" y="connsiteY2649"/>
                </a:cxn>
                <a:cxn ang="0">
                  <a:pos x="connsiteX2650" y="connsiteY2650"/>
                </a:cxn>
                <a:cxn ang="0">
                  <a:pos x="connsiteX2651" y="connsiteY2651"/>
                </a:cxn>
                <a:cxn ang="0">
                  <a:pos x="connsiteX2652" y="connsiteY2652"/>
                </a:cxn>
                <a:cxn ang="0">
                  <a:pos x="connsiteX2653" y="connsiteY2653"/>
                </a:cxn>
                <a:cxn ang="0">
                  <a:pos x="connsiteX2654" y="connsiteY2654"/>
                </a:cxn>
                <a:cxn ang="0">
                  <a:pos x="connsiteX2655" y="connsiteY2655"/>
                </a:cxn>
                <a:cxn ang="0">
                  <a:pos x="connsiteX2656" y="connsiteY2656"/>
                </a:cxn>
                <a:cxn ang="0">
                  <a:pos x="connsiteX2657" y="connsiteY2657"/>
                </a:cxn>
                <a:cxn ang="0">
                  <a:pos x="connsiteX2658" y="connsiteY2658"/>
                </a:cxn>
                <a:cxn ang="0">
                  <a:pos x="connsiteX2659" y="connsiteY2659"/>
                </a:cxn>
                <a:cxn ang="0">
                  <a:pos x="connsiteX2660" y="connsiteY2660"/>
                </a:cxn>
                <a:cxn ang="0">
                  <a:pos x="connsiteX2661" y="connsiteY2661"/>
                </a:cxn>
                <a:cxn ang="0">
                  <a:pos x="connsiteX2662" y="connsiteY2662"/>
                </a:cxn>
                <a:cxn ang="0">
                  <a:pos x="connsiteX2663" y="connsiteY2663"/>
                </a:cxn>
                <a:cxn ang="0">
                  <a:pos x="connsiteX2664" y="connsiteY2664"/>
                </a:cxn>
                <a:cxn ang="0">
                  <a:pos x="connsiteX2665" y="connsiteY2665"/>
                </a:cxn>
                <a:cxn ang="0">
                  <a:pos x="connsiteX2666" y="connsiteY2666"/>
                </a:cxn>
                <a:cxn ang="0">
                  <a:pos x="connsiteX2667" y="connsiteY2667"/>
                </a:cxn>
                <a:cxn ang="0">
                  <a:pos x="connsiteX2668" y="connsiteY2668"/>
                </a:cxn>
                <a:cxn ang="0">
                  <a:pos x="connsiteX2669" y="connsiteY2669"/>
                </a:cxn>
                <a:cxn ang="0">
                  <a:pos x="connsiteX2670" y="connsiteY2670"/>
                </a:cxn>
                <a:cxn ang="0">
                  <a:pos x="connsiteX2671" y="connsiteY2671"/>
                </a:cxn>
                <a:cxn ang="0">
                  <a:pos x="connsiteX2672" y="connsiteY2672"/>
                </a:cxn>
                <a:cxn ang="0">
                  <a:pos x="connsiteX2673" y="connsiteY2673"/>
                </a:cxn>
                <a:cxn ang="0">
                  <a:pos x="connsiteX2674" y="connsiteY2674"/>
                </a:cxn>
                <a:cxn ang="0">
                  <a:pos x="connsiteX2675" y="connsiteY2675"/>
                </a:cxn>
                <a:cxn ang="0">
                  <a:pos x="connsiteX2676" y="connsiteY2676"/>
                </a:cxn>
                <a:cxn ang="0">
                  <a:pos x="connsiteX2677" y="connsiteY2677"/>
                </a:cxn>
                <a:cxn ang="0">
                  <a:pos x="connsiteX2678" y="connsiteY2678"/>
                </a:cxn>
                <a:cxn ang="0">
                  <a:pos x="connsiteX2679" y="connsiteY2679"/>
                </a:cxn>
                <a:cxn ang="0">
                  <a:pos x="connsiteX2680" y="connsiteY2680"/>
                </a:cxn>
                <a:cxn ang="0">
                  <a:pos x="connsiteX2681" y="connsiteY2681"/>
                </a:cxn>
                <a:cxn ang="0">
                  <a:pos x="connsiteX2682" y="connsiteY2682"/>
                </a:cxn>
                <a:cxn ang="0">
                  <a:pos x="connsiteX2683" y="connsiteY2683"/>
                </a:cxn>
                <a:cxn ang="0">
                  <a:pos x="connsiteX2684" y="connsiteY2684"/>
                </a:cxn>
                <a:cxn ang="0">
                  <a:pos x="connsiteX2685" y="connsiteY2685"/>
                </a:cxn>
                <a:cxn ang="0">
                  <a:pos x="connsiteX2686" y="connsiteY2686"/>
                </a:cxn>
                <a:cxn ang="0">
                  <a:pos x="connsiteX2687" y="connsiteY2687"/>
                </a:cxn>
                <a:cxn ang="0">
                  <a:pos x="connsiteX2688" y="connsiteY2688"/>
                </a:cxn>
                <a:cxn ang="0">
                  <a:pos x="connsiteX2689" y="connsiteY2689"/>
                </a:cxn>
                <a:cxn ang="0">
                  <a:pos x="connsiteX2690" y="connsiteY2690"/>
                </a:cxn>
                <a:cxn ang="0">
                  <a:pos x="connsiteX2691" y="connsiteY2691"/>
                </a:cxn>
                <a:cxn ang="0">
                  <a:pos x="connsiteX2692" y="connsiteY2692"/>
                </a:cxn>
                <a:cxn ang="0">
                  <a:pos x="connsiteX2693" y="connsiteY2693"/>
                </a:cxn>
                <a:cxn ang="0">
                  <a:pos x="connsiteX2694" y="connsiteY2694"/>
                </a:cxn>
                <a:cxn ang="0">
                  <a:pos x="connsiteX2695" y="connsiteY2695"/>
                </a:cxn>
                <a:cxn ang="0">
                  <a:pos x="connsiteX2696" y="connsiteY2696"/>
                </a:cxn>
                <a:cxn ang="0">
                  <a:pos x="connsiteX2697" y="connsiteY2697"/>
                </a:cxn>
                <a:cxn ang="0">
                  <a:pos x="connsiteX2698" y="connsiteY2698"/>
                </a:cxn>
                <a:cxn ang="0">
                  <a:pos x="connsiteX2699" y="connsiteY2699"/>
                </a:cxn>
                <a:cxn ang="0">
                  <a:pos x="connsiteX2700" y="connsiteY2700"/>
                </a:cxn>
                <a:cxn ang="0">
                  <a:pos x="connsiteX2701" y="connsiteY2701"/>
                </a:cxn>
                <a:cxn ang="0">
                  <a:pos x="connsiteX2702" y="connsiteY2702"/>
                </a:cxn>
                <a:cxn ang="0">
                  <a:pos x="connsiteX2703" y="connsiteY2703"/>
                </a:cxn>
                <a:cxn ang="0">
                  <a:pos x="connsiteX2704" y="connsiteY2704"/>
                </a:cxn>
                <a:cxn ang="0">
                  <a:pos x="connsiteX2705" y="connsiteY2705"/>
                </a:cxn>
                <a:cxn ang="0">
                  <a:pos x="connsiteX2706" y="connsiteY2706"/>
                </a:cxn>
                <a:cxn ang="0">
                  <a:pos x="connsiteX2707" y="connsiteY2707"/>
                </a:cxn>
                <a:cxn ang="0">
                  <a:pos x="connsiteX2708" y="connsiteY2708"/>
                </a:cxn>
                <a:cxn ang="0">
                  <a:pos x="connsiteX2709" y="connsiteY2709"/>
                </a:cxn>
                <a:cxn ang="0">
                  <a:pos x="connsiteX2710" y="connsiteY2710"/>
                </a:cxn>
                <a:cxn ang="0">
                  <a:pos x="connsiteX2711" y="connsiteY2711"/>
                </a:cxn>
                <a:cxn ang="0">
                  <a:pos x="connsiteX2712" y="connsiteY2712"/>
                </a:cxn>
                <a:cxn ang="0">
                  <a:pos x="connsiteX2713" y="connsiteY2713"/>
                </a:cxn>
                <a:cxn ang="0">
                  <a:pos x="connsiteX2714" y="connsiteY2714"/>
                </a:cxn>
                <a:cxn ang="0">
                  <a:pos x="connsiteX2715" y="connsiteY2715"/>
                </a:cxn>
                <a:cxn ang="0">
                  <a:pos x="connsiteX2716" y="connsiteY2716"/>
                </a:cxn>
                <a:cxn ang="0">
                  <a:pos x="connsiteX2717" y="connsiteY2717"/>
                </a:cxn>
                <a:cxn ang="0">
                  <a:pos x="connsiteX2718" y="connsiteY2718"/>
                </a:cxn>
                <a:cxn ang="0">
                  <a:pos x="connsiteX2719" y="connsiteY2719"/>
                </a:cxn>
                <a:cxn ang="0">
                  <a:pos x="connsiteX2720" y="connsiteY2720"/>
                </a:cxn>
                <a:cxn ang="0">
                  <a:pos x="connsiteX2721" y="connsiteY2721"/>
                </a:cxn>
                <a:cxn ang="0">
                  <a:pos x="connsiteX2722" y="connsiteY2722"/>
                </a:cxn>
                <a:cxn ang="0">
                  <a:pos x="connsiteX2723" y="connsiteY2723"/>
                </a:cxn>
                <a:cxn ang="0">
                  <a:pos x="connsiteX2724" y="connsiteY2724"/>
                </a:cxn>
                <a:cxn ang="0">
                  <a:pos x="connsiteX2725" y="connsiteY2725"/>
                </a:cxn>
                <a:cxn ang="0">
                  <a:pos x="connsiteX2726" y="connsiteY2726"/>
                </a:cxn>
                <a:cxn ang="0">
                  <a:pos x="connsiteX2727" y="connsiteY2727"/>
                </a:cxn>
                <a:cxn ang="0">
                  <a:pos x="connsiteX2728" y="connsiteY2728"/>
                </a:cxn>
                <a:cxn ang="0">
                  <a:pos x="connsiteX2729" y="connsiteY2729"/>
                </a:cxn>
                <a:cxn ang="0">
                  <a:pos x="connsiteX2730" y="connsiteY2730"/>
                </a:cxn>
                <a:cxn ang="0">
                  <a:pos x="connsiteX2731" y="connsiteY2731"/>
                </a:cxn>
                <a:cxn ang="0">
                  <a:pos x="connsiteX2732" y="connsiteY2732"/>
                </a:cxn>
                <a:cxn ang="0">
                  <a:pos x="connsiteX2733" y="connsiteY2733"/>
                </a:cxn>
                <a:cxn ang="0">
                  <a:pos x="connsiteX2734" y="connsiteY2734"/>
                </a:cxn>
                <a:cxn ang="0">
                  <a:pos x="connsiteX2735" y="connsiteY2735"/>
                </a:cxn>
                <a:cxn ang="0">
                  <a:pos x="connsiteX2736" y="connsiteY2736"/>
                </a:cxn>
                <a:cxn ang="0">
                  <a:pos x="connsiteX2737" y="connsiteY2737"/>
                </a:cxn>
                <a:cxn ang="0">
                  <a:pos x="connsiteX2738" y="connsiteY2738"/>
                </a:cxn>
                <a:cxn ang="0">
                  <a:pos x="connsiteX2739" y="connsiteY2739"/>
                </a:cxn>
                <a:cxn ang="0">
                  <a:pos x="connsiteX2740" y="connsiteY2740"/>
                </a:cxn>
                <a:cxn ang="0">
                  <a:pos x="connsiteX2741" y="connsiteY2741"/>
                </a:cxn>
                <a:cxn ang="0">
                  <a:pos x="connsiteX2742" y="connsiteY2742"/>
                </a:cxn>
                <a:cxn ang="0">
                  <a:pos x="connsiteX2743" y="connsiteY2743"/>
                </a:cxn>
                <a:cxn ang="0">
                  <a:pos x="connsiteX2744" y="connsiteY2744"/>
                </a:cxn>
                <a:cxn ang="0">
                  <a:pos x="connsiteX2745" y="connsiteY2745"/>
                </a:cxn>
                <a:cxn ang="0">
                  <a:pos x="connsiteX2746" y="connsiteY2746"/>
                </a:cxn>
                <a:cxn ang="0">
                  <a:pos x="connsiteX2747" y="connsiteY2747"/>
                </a:cxn>
                <a:cxn ang="0">
                  <a:pos x="connsiteX2748" y="connsiteY2748"/>
                </a:cxn>
                <a:cxn ang="0">
                  <a:pos x="connsiteX2749" y="connsiteY2749"/>
                </a:cxn>
                <a:cxn ang="0">
                  <a:pos x="connsiteX2750" y="connsiteY2750"/>
                </a:cxn>
                <a:cxn ang="0">
                  <a:pos x="connsiteX2751" y="connsiteY2751"/>
                </a:cxn>
                <a:cxn ang="0">
                  <a:pos x="connsiteX2752" y="connsiteY2752"/>
                </a:cxn>
                <a:cxn ang="0">
                  <a:pos x="connsiteX2753" y="connsiteY2753"/>
                </a:cxn>
                <a:cxn ang="0">
                  <a:pos x="connsiteX2754" y="connsiteY2754"/>
                </a:cxn>
                <a:cxn ang="0">
                  <a:pos x="connsiteX2755" y="connsiteY2755"/>
                </a:cxn>
                <a:cxn ang="0">
                  <a:pos x="connsiteX2756" y="connsiteY2756"/>
                </a:cxn>
                <a:cxn ang="0">
                  <a:pos x="connsiteX2757" y="connsiteY2757"/>
                </a:cxn>
                <a:cxn ang="0">
                  <a:pos x="connsiteX2758" y="connsiteY2758"/>
                </a:cxn>
                <a:cxn ang="0">
                  <a:pos x="connsiteX2759" y="connsiteY2759"/>
                </a:cxn>
                <a:cxn ang="0">
                  <a:pos x="connsiteX2760" y="connsiteY2760"/>
                </a:cxn>
                <a:cxn ang="0">
                  <a:pos x="connsiteX2761" y="connsiteY2761"/>
                </a:cxn>
                <a:cxn ang="0">
                  <a:pos x="connsiteX2762" y="connsiteY2762"/>
                </a:cxn>
                <a:cxn ang="0">
                  <a:pos x="connsiteX2763" y="connsiteY2763"/>
                </a:cxn>
                <a:cxn ang="0">
                  <a:pos x="connsiteX2764" y="connsiteY2764"/>
                </a:cxn>
                <a:cxn ang="0">
                  <a:pos x="connsiteX2765" y="connsiteY2765"/>
                </a:cxn>
                <a:cxn ang="0">
                  <a:pos x="connsiteX2766" y="connsiteY2766"/>
                </a:cxn>
                <a:cxn ang="0">
                  <a:pos x="connsiteX2767" y="connsiteY2767"/>
                </a:cxn>
                <a:cxn ang="0">
                  <a:pos x="connsiteX2768" y="connsiteY2768"/>
                </a:cxn>
                <a:cxn ang="0">
                  <a:pos x="connsiteX2769" y="connsiteY2769"/>
                </a:cxn>
                <a:cxn ang="0">
                  <a:pos x="connsiteX2770" y="connsiteY2770"/>
                </a:cxn>
                <a:cxn ang="0">
                  <a:pos x="connsiteX2771" y="connsiteY2771"/>
                </a:cxn>
                <a:cxn ang="0">
                  <a:pos x="connsiteX2772" y="connsiteY2772"/>
                </a:cxn>
                <a:cxn ang="0">
                  <a:pos x="connsiteX2773" y="connsiteY2773"/>
                </a:cxn>
                <a:cxn ang="0">
                  <a:pos x="connsiteX2774" y="connsiteY2774"/>
                </a:cxn>
                <a:cxn ang="0">
                  <a:pos x="connsiteX2775" y="connsiteY2775"/>
                </a:cxn>
                <a:cxn ang="0">
                  <a:pos x="connsiteX2776" y="connsiteY2776"/>
                </a:cxn>
                <a:cxn ang="0">
                  <a:pos x="connsiteX2777" y="connsiteY2777"/>
                </a:cxn>
                <a:cxn ang="0">
                  <a:pos x="connsiteX2778" y="connsiteY2778"/>
                </a:cxn>
                <a:cxn ang="0">
                  <a:pos x="connsiteX2779" y="connsiteY2779"/>
                </a:cxn>
                <a:cxn ang="0">
                  <a:pos x="connsiteX2780" y="connsiteY2780"/>
                </a:cxn>
                <a:cxn ang="0">
                  <a:pos x="connsiteX2781" y="connsiteY2781"/>
                </a:cxn>
                <a:cxn ang="0">
                  <a:pos x="connsiteX2782" y="connsiteY2782"/>
                </a:cxn>
                <a:cxn ang="0">
                  <a:pos x="connsiteX2783" y="connsiteY2783"/>
                </a:cxn>
                <a:cxn ang="0">
                  <a:pos x="connsiteX2784" y="connsiteY2784"/>
                </a:cxn>
                <a:cxn ang="0">
                  <a:pos x="connsiteX2785" y="connsiteY2785"/>
                </a:cxn>
                <a:cxn ang="0">
                  <a:pos x="connsiteX2786" y="connsiteY2786"/>
                </a:cxn>
                <a:cxn ang="0">
                  <a:pos x="connsiteX2787" y="connsiteY2787"/>
                </a:cxn>
                <a:cxn ang="0">
                  <a:pos x="connsiteX2788" y="connsiteY2788"/>
                </a:cxn>
                <a:cxn ang="0">
                  <a:pos x="connsiteX2789" y="connsiteY2789"/>
                </a:cxn>
                <a:cxn ang="0">
                  <a:pos x="connsiteX2790" y="connsiteY2790"/>
                </a:cxn>
                <a:cxn ang="0">
                  <a:pos x="connsiteX2791" y="connsiteY2791"/>
                </a:cxn>
                <a:cxn ang="0">
                  <a:pos x="connsiteX2792" y="connsiteY2792"/>
                </a:cxn>
                <a:cxn ang="0">
                  <a:pos x="connsiteX2793" y="connsiteY2793"/>
                </a:cxn>
                <a:cxn ang="0">
                  <a:pos x="connsiteX2794" y="connsiteY2794"/>
                </a:cxn>
                <a:cxn ang="0">
                  <a:pos x="connsiteX2795" y="connsiteY2795"/>
                </a:cxn>
                <a:cxn ang="0">
                  <a:pos x="connsiteX2796" y="connsiteY2796"/>
                </a:cxn>
                <a:cxn ang="0">
                  <a:pos x="connsiteX2797" y="connsiteY2797"/>
                </a:cxn>
                <a:cxn ang="0">
                  <a:pos x="connsiteX2798" y="connsiteY2798"/>
                </a:cxn>
                <a:cxn ang="0">
                  <a:pos x="connsiteX2799" y="connsiteY2799"/>
                </a:cxn>
                <a:cxn ang="0">
                  <a:pos x="connsiteX2800" y="connsiteY2800"/>
                </a:cxn>
                <a:cxn ang="0">
                  <a:pos x="connsiteX2801" y="connsiteY2801"/>
                </a:cxn>
                <a:cxn ang="0">
                  <a:pos x="connsiteX2802" y="connsiteY2802"/>
                </a:cxn>
                <a:cxn ang="0">
                  <a:pos x="connsiteX2803" y="connsiteY2803"/>
                </a:cxn>
                <a:cxn ang="0">
                  <a:pos x="connsiteX2804" y="connsiteY2804"/>
                </a:cxn>
                <a:cxn ang="0">
                  <a:pos x="connsiteX2805" y="connsiteY2805"/>
                </a:cxn>
                <a:cxn ang="0">
                  <a:pos x="connsiteX2806" y="connsiteY2806"/>
                </a:cxn>
                <a:cxn ang="0">
                  <a:pos x="connsiteX2807" y="connsiteY2807"/>
                </a:cxn>
                <a:cxn ang="0">
                  <a:pos x="connsiteX2808" y="connsiteY2808"/>
                </a:cxn>
                <a:cxn ang="0">
                  <a:pos x="connsiteX2809" y="connsiteY2809"/>
                </a:cxn>
                <a:cxn ang="0">
                  <a:pos x="connsiteX2810" y="connsiteY2810"/>
                </a:cxn>
                <a:cxn ang="0">
                  <a:pos x="connsiteX2811" y="connsiteY2811"/>
                </a:cxn>
                <a:cxn ang="0">
                  <a:pos x="connsiteX2812" y="connsiteY2812"/>
                </a:cxn>
                <a:cxn ang="0">
                  <a:pos x="connsiteX2813" y="connsiteY2813"/>
                </a:cxn>
                <a:cxn ang="0">
                  <a:pos x="connsiteX2814" y="connsiteY2814"/>
                </a:cxn>
                <a:cxn ang="0">
                  <a:pos x="connsiteX2815" y="connsiteY2815"/>
                </a:cxn>
                <a:cxn ang="0">
                  <a:pos x="connsiteX2816" y="connsiteY2816"/>
                </a:cxn>
                <a:cxn ang="0">
                  <a:pos x="connsiteX2817" y="connsiteY2817"/>
                </a:cxn>
                <a:cxn ang="0">
                  <a:pos x="connsiteX2818" y="connsiteY2818"/>
                </a:cxn>
                <a:cxn ang="0">
                  <a:pos x="connsiteX2819" y="connsiteY2819"/>
                </a:cxn>
                <a:cxn ang="0">
                  <a:pos x="connsiteX2820" y="connsiteY2820"/>
                </a:cxn>
                <a:cxn ang="0">
                  <a:pos x="connsiteX2821" y="connsiteY2821"/>
                </a:cxn>
                <a:cxn ang="0">
                  <a:pos x="connsiteX2822" y="connsiteY2822"/>
                </a:cxn>
                <a:cxn ang="0">
                  <a:pos x="connsiteX2823" y="connsiteY2823"/>
                </a:cxn>
                <a:cxn ang="0">
                  <a:pos x="connsiteX2824" y="connsiteY2824"/>
                </a:cxn>
                <a:cxn ang="0">
                  <a:pos x="connsiteX2825" y="connsiteY2825"/>
                </a:cxn>
                <a:cxn ang="0">
                  <a:pos x="connsiteX2826" y="connsiteY2826"/>
                </a:cxn>
                <a:cxn ang="0">
                  <a:pos x="connsiteX2827" y="connsiteY2827"/>
                </a:cxn>
                <a:cxn ang="0">
                  <a:pos x="connsiteX2828" y="connsiteY2828"/>
                </a:cxn>
                <a:cxn ang="0">
                  <a:pos x="connsiteX2829" y="connsiteY2829"/>
                </a:cxn>
                <a:cxn ang="0">
                  <a:pos x="connsiteX2830" y="connsiteY2830"/>
                </a:cxn>
                <a:cxn ang="0">
                  <a:pos x="connsiteX2831" y="connsiteY2831"/>
                </a:cxn>
                <a:cxn ang="0">
                  <a:pos x="connsiteX2832" y="connsiteY2832"/>
                </a:cxn>
                <a:cxn ang="0">
                  <a:pos x="connsiteX2833" y="connsiteY2833"/>
                </a:cxn>
                <a:cxn ang="0">
                  <a:pos x="connsiteX2834" y="connsiteY2834"/>
                </a:cxn>
                <a:cxn ang="0">
                  <a:pos x="connsiteX2835" y="connsiteY2835"/>
                </a:cxn>
                <a:cxn ang="0">
                  <a:pos x="connsiteX2836" y="connsiteY2836"/>
                </a:cxn>
                <a:cxn ang="0">
                  <a:pos x="connsiteX2837" y="connsiteY2837"/>
                </a:cxn>
                <a:cxn ang="0">
                  <a:pos x="connsiteX2838" y="connsiteY2838"/>
                </a:cxn>
                <a:cxn ang="0">
                  <a:pos x="connsiteX2839" y="connsiteY2839"/>
                </a:cxn>
                <a:cxn ang="0">
                  <a:pos x="connsiteX2840" y="connsiteY2840"/>
                </a:cxn>
                <a:cxn ang="0">
                  <a:pos x="connsiteX2841" y="connsiteY2841"/>
                </a:cxn>
                <a:cxn ang="0">
                  <a:pos x="connsiteX2842" y="connsiteY2842"/>
                </a:cxn>
                <a:cxn ang="0">
                  <a:pos x="connsiteX2843" y="connsiteY2843"/>
                </a:cxn>
                <a:cxn ang="0">
                  <a:pos x="connsiteX2844" y="connsiteY2844"/>
                </a:cxn>
                <a:cxn ang="0">
                  <a:pos x="connsiteX2845" y="connsiteY2845"/>
                </a:cxn>
                <a:cxn ang="0">
                  <a:pos x="connsiteX2846" y="connsiteY2846"/>
                </a:cxn>
                <a:cxn ang="0">
                  <a:pos x="connsiteX2847" y="connsiteY2847"/>
                </a:cxn>
                <a:cxn ang="0">
                  <a:pos x="connsiteX2848" y="connsiteY2848"/>
                </a:cxn>
                <a:cxn ang="0">
                  <a:pos x="connsiteX2849" y="connsiteY2849"/>
                </a:cxn>
                <a:cxn ang="0">
                  <a:pos x="connsiteX2850" y="connsiteY2850"/>
                </a:cxn>
                <a:cxn ang="0">
                  <a:pos x="connsiteX2851" y="connsiteY2851"/>
                </a:cxn>
                <a:cxn ang="0">
                  <a:pos x="connsiteX2852" y="connsiteY2852"/>
                </a:cxn>
                <a:cxn ang="0">
                  <a:pos x="connsiteX2853" y="connsiteY2853"/>
                </a:cxn>
                <a:cxn ang="0">
                  <a:pos x="connsiteX2854" y="connsiteY2854"/>
                </a:cxn>
                <a:cxn ang="0">
                  <a:pos x="connsiteX2855" y="connsiteY2855"/>
                </a:cxn>
                <a:cxn ang="0">
                  <a:pos x="connsiteX2856" y="connsiteY2856"/>
                </a:cxn>
                <a:cxn ang="0">
                  <a:pos x="connsiteX2857" y="connsiteY2857"/>
                </a:cxn>
                <a:cxn ang="0">
                  <a:pos x="connsiteX2858" y="connsiteY2858"/>
                </a:cxn>
                <a:cxn ang="0">
                  <a:pos x="connsiteX2859" y="connsiteY2859"/>
                </a:cxn>
                <a:cxn ang="0">
                  <a:pos x="connsiteX2860" y="connsiteY2860"/>
                </a:cxn>
                <a:cxn ang="0">
                  <a:pos x="connsiteX2861" y="connsiteY2861"/>
                </a:cxn>
                <a:cxn ang="0">
                  <a:pos x="connsiteX2862" y="connsiteY2862"/>
                </a:cxn>
                <a:cxn ang="0">
                  <a:pos x="connsiteX2863" y="connsiteY2863"/>
                </a:cxn>
                <a:cxn ang="0">
                  <a:pos x="connsiteX2864" y="connsiteY2864"/>
                </a:cxn>
                <a:cxn ang="0">
                  <a:pos x="connsiteX2865" y="connsiteY2865"/>
                </a:cxn>
                <a:cxn ang="0">
                  <a:pos x="connsiteX2866" y="connsiteY2866"/>
                </a:cxn>
                <a:cxn ang="0">
                  <a:pos x="connsiteX2867" y="connsiteY2867"/>
                </a:cxn>
                <a:cxn ang="0">
                  <a:pos x="connsiteX2868" y="connsiteY2868"/>
                </a:cxn>
                <a:cxn ang="0">
                  <a:pos x="connsiteX2869" y="connsiteY2869"/>
                </a:cxn>
                <a:cxn ang="0">
                  <a:pos x="connsiteX2870" y="connsiteY2870"/>
                </a:cxn>
                <a:cxn ang="0">
                  <a:pos x="connsiteX2871" y="connsiteY2871"/>
                </a:cxn>
                <a:cxn ang="0">
                  <a:pos x="connsiteX2872" y="connsiteY2872"/>
                </a:cxn>
                <a:cxn ang="0">
                  <a:pos x="connsiteX2873" y="connsiteY2873"/>
                </a:cxn>
                <a:cxn ang="0">
                  <a:pos x="connsiteX2874" y="connsiteY2874"/>
                </a:cxn>
                <a:cxn ang="0">
                  <a:pos x="connsiteX2875" y="connsiteY2875"/>
                </a:cxn>
                <a:cxn ang="0">
                  <a:pos x="connsiteX2876" y="connsiteY2876"/>
                </a:cxn>
                <a:cxn ang="0">
                  <a:pos x="connsiteX2877" y="connsiteY2877"/>
                </a:cxn>
                <a:cxn ang="0">
                  <a:pos x="connsiteX2878" y="connsiteY2878"/>
                </a:cxn>
                <a:cxn ang="0">
                  <a:pos x="connsiteX2879" y="connsiteY2879"/>
                </a:cxn>
                <a:cxn ang="0">
                  <a:pos x="connsiteX2880" y="connsiteY2880"/>
                </a:cxn>
                <a:cxn ang="0">
                  <a:pos x="connsiteX2881" y="connsiteY2881"/>
                </a:cxn>
                <a:cxn ang="0">
                  <a:pos x="connsiteX2882" y="connsiteY2882"/>
                </a:cxn>
                <a:cxn ang="0">
                  <a:pos x="connsiteX2883" y="connsiteY2883"/>
                </a:cxn>
                <a:cxn ang="0">
                  <a:pos x="connsiteX2884" y="connsiteY2884"/>
                </a:cxn>
                <a:cxn ang="0">
                  <a:pos x="connsiteX2885" y="connsiteY2885"/>
                </a:cxn>
                <a:cxn ang="0">
                  <a:pos x="connsiteX2886" y="connsiteY2886"/>
                </a:cxn>
                <a:cxn ang="0">
                  <a:pos x="connsiteX2887" y="connsiteY2887"/>
                </a:cxn>
                <a:cxn ang="0">
                  <a:pos x="connsiteX2888" y="connsiteY2888"/>
                </a:cxn>
                <a:cxn ang="0">
                  <a:pos x="connsiteX2889" y="connsiteY2889"/>
                </a:cxn>
                <a:cxn ang="0">
                  <a:pos x="connsiteX2890" y="connsiteY2890"/>
                </a:cxn>
                <a:cxn ang="0">
                  <a:pos x="connsiteX2891" y="connsiteY2891"/>
                </a:cxn>
                <a:cxn ang="0">
                  <a:pos x="connsiteX2892" y="connsiteY2892"/>
                </a:cxn>
                <a:cxn ang="0">
                  <a:pos x="connsiteX2893" y="connsiteY2893"/>
                </a:cxn>
                <a:cxn ang="0">
                  <a:pos x="connsiteX2894" y="connsiteY2894"/>
                </a:cxn>
                <a:cxn ang="0">
                  <a:pos x="connsiteX2895" y="connsiteY2895"/>
                </a:cxn>
                <a:cxn ang="0">
                  <a:pos x="connsiteX2896" y="connsiteY2896"/>
                </a:cxn>
                <a:cxn ang="0">
                  <a:pos x="connsiteX2897" y="connsiteY2897"/>
                </a:cxn>
                <a:cxn ang="0">
                  <a:pos x="connsiteX2898" y="connsiteY2898"/>
                </a:cxn>
                <a:cxn ang="0">
                  <a:pos x="connsiteX2899" y="connsiteY2899"/>
                </a:cxn>
                <a:cxn ang="0">
                  <a:pos x="connsiteX2900" y="connsiteY2900"/>
                </a:cxn>
                <a:cxn ang="0">
                  <a:pos x="connsiteX2901" y="connsiteY2901"/>
                </a:cxn>
                <a:cxn ang="0">
                  <a:pos x="connsiteX2902" y="connsiteY2902"/>
                </a:cxn>
                <a:cxn ang="0">
                  <a:pos x="connsiteX2903" y="connsiteY2903"/>
                </a:cxn>
                <a:cxn ang="0">
                  <a:pos x="connsiteX2904" y="connsiteY2904"/>
                </a:cxn>
                <a:cxn ang="0">
                  <a:pos x="connsiteX2905" y="connsiteY2905"/>
                </a:cxn>
                <a:cxn ang="0">
                  <a:pos x="connsiteX2906" y="connsiteY2906"/>
                </a:cxn>
                <a:cxn ang="0">
                  <a:pos x="connsiteX2907" y="connsiteY2907"/>
                </a:cxn>
                <a:cxn ang="0">
                  <a:pos x="connsiteX2908" y="connsiteY2908"/>
                </a:cxn>
                <a:cxn ang="0">
                  <a:pos x="connsiteX2909" y="connsiteY2909"/>
                </a:cxn>
                <a:cxn ang="0">
                  <a:pos x="connsiteX2910" y="connsiteY2910"/>
                </a:cxn>
                <a:cxn ang="0">
                  <a:pos x="connsiteX2911" y="connsiteY2911"/>
                </a:cxn>
                <a:cxn ang="0">
                  <a:pos x="connsiteX2912" y="connsiteY2912"/>
                </a:cxn>
                <a:cxn ang="0">
                  <a:pos x="connsiteX2913" y="connsiteY2913"/>
                </a:cxn>
                <a:cxn ang="0">
                  <a:pos x="connsiteX2914" y="connsiteY2914"/>
                </a:cxn>
                <a:cxn ang="0">
                  <a:pos x="connsiteX2915" y="connsiteY2915"/>
                </a:cxn>
                <a:cxn ang="0">
                  <a:pos x="connsiteX2916" y="connsiteY2916"/>
                </a:cxn>
                <a:cxn ang="0">
                  <a:pos x="connsiteX2917" y="connsiteY2917"/>
                </a:cxn>
                <a:cxn ang="0">
                  <a:pos x="connsiteX2918" y="connsiteY2918"/>
                </a:cxn>
                <a:cxn ang="0">
                  <a:pos x="connsiteX2919" y="connsiteY2919"/>
                </a:cxn>
                <a:cxn ang="0">
                  <a:pos x="connsiteX2920" y="connsiteY2920"/>
                </a:cxn>
                <a:cxn ang="0">
                  <a:pos x="connsiteX2921" y="connsiteY2921"/>
                </a:cxn>
                <a:cxn ang="0">
                  <a:pos x="connsiteX2922" y="connsiteY2922"/>
                </a:cxn>
                <a:cxn ang="0">
                  <a:pos x="connsiteX2923" y="connsiteY2923"/>
                </a:cxn>
                <a:cxn ang="0">
                  <a:pos x="connsiteX2924" y="connsiteY2924"/>
                </a:cxn>
                <a:cxn ang="0">
                  <a:pos x="connsiteX2925" y="connsiteY2925"/>
                </a:cxn>
                <a:cxn ang="0">
                  <a:pos x="connsiteX2926" y="connsiteY2926"/>
                </a:cxn>
                <a:cxn ang="0">
                  <a:pos x="connsiteX2927" y="connsiteY2927"/>
                </a:cxn>
                <a:cxn ang="0">
                  <a:pos x="connsiteX2928" y="connsiteY2928"/>
                </a:cxn>
                <a:cxn ang="0">
                  <a:pos x="connsiteX2929" y="connsiteY2929"/>
                </a:cxn>
                <a:cxn ang="0">
                  <a:pos x="connsiteX2930" y="connsiteY2930"/>
                </a:cxn>
                <a:cxn ang="0">
                  <a:pos x="connsiteX2931" y="connsiteY2931"/>
                </a:cxn>
                <a:cxn ang="0">
                  <a:pos x="connsiteX2932" y="connsiteY2932"/>
                </a:cxn>
                <a:cxn ang="0">
                  <a:pos x="connsiteX2933" y="connsiteY2933"/>
                </a:cxn>
                <a:cxn ang="0">
                  <a:pos x="connsiteX2934" y="connsiteY2934"/>
                </a:cxn>
                <a:cxn ang="0">
                  <a:pos x="connsiteX2935" y="connsiteY2935"/>
                </a:cxn>
                <a:cxn ang="0">
                  <a:pos x="connsiteX2936" y="connsiteY2936"/>
                </a:cxn>
                <a:cxn ang="0">
                  <a:pos x="connsiteX2937" y="connsiteY2937"/>
                </a:cxn>
                <a:cxn ang="0">
                  <a:pos x="connsiteX2938" y="connsiteY2938"/>
                </a:cxn>
                <a:cxn ang="0">
                  <a:pos x="connsiteX2939" y="connsiteY2939"/>
                </a:cxn>
                <a:cxn ang="0">
                  <a:pos x="connsiteX2940" y="connsiteY2940"/>
                </a:cxn>
                <a:cxn ang="0">
                  <a:pos x="connsiteX2941" y="connsiteY2941"/>
                </a:cxn>
                <a:cxn ang="0">
                  <a:pos x="connsiteX2942" y="connsiteY2942"/>
                </a:cxn>
                <a:cxn ang="0">
                  <a:pos x="connsiteX2943" y="connsiteY2943"/>
                </a:cxn>
                <a:cxn ang="0">
                  <a:pos x="connsiteX2944" y="connsiteY2944"/>
                </a:cxn>
                <a:cxn ang="0">
                  <a:pos x="connsiteX2945" y="connsiteY2945"/>
                </a:cxn>
                <a:cxn ang="0">
                  <a:pos x="connsiteX2946" y="connsiteY2946"/>
                </a:cxn>
                <a:cxn ang="0">
                  <a:pos x="connsiteX2947" y="connsiteY2947"/>
                </a:cxn>
                <a:cxn ang="0">
                  <a:pos x="connsiteX2948" y="connsiteY2948"/>
                </a:cxn>
                <a:cxn ang="0">
                  <a:pos x="connsiteX2949" y="connsiteY2949"/>
                </a:cxn>
                <a:cxn ang="0">
                  <a:pos x="connsiteX2950" y="connsiteY2950"/>
                </a:cxn>
                <a:cxn ang="0">
                  <a:pos x="connsiteX2951" y="connsiteY2951"/>
                </a:cxn>
                <a:cxn ang="0">
                  <a:pos x="connsiteX2952" y="connsiteY2952"/>
                </a:cxn>
                <a:cxn ang="0">
                  <a:pos x="connsiteX2953" y="connsiteY2953"/>
                </a:cxn>
                <a:cxn ang="0">
                  <a:pos x="connsiteX2954" y="connsiteY2954"/>
                </a:cxn>
                <a:cxn ang="0">
                  <a:pos x="connsiteX2955" y="connsiteY2955"/>
                </a:cxn>
                <a:cxn ang="0">
                  <a:pos x="connsiteX2956" y="connsiteY2956"/>
                </a:cxn>
                <a:cxn ang="0">
                  <a:pos x="connsiteX2957" y="connsiteY2957"/>
                </a:cxn>
                <a:cxn ang="0">
                  <a:pos x="connsiteX2958" y="connsiteY2958"/>
                </a:cxn>
                <a:cxn ang="0">
                  <a:pos x="connsiteX2959" y="connsiteY2959"/>
                </a:cxn>
                <a:cxn ang="0">
                  <a:pos x="connsiteX2960" y="connsiteY2960"/>
                </a:cxn>
                <a:cxn ang="0">
                  <a:pos x="connsiteX2961" y="connsiteY2961"/>
                </a:cxn>
                <a:cxn ang="0">
                  <a:pos x="connsiteX2962" y="connsiteY2962"/>
                </a:cxn>
                <a:cxn ang="0">
                  <a:pos x="connsiteX2963" y="connsiteY2963"/>
                </a:cxn>
                <a:cxn ang="0">
                  <a:pos x="connsiteX2964" y="connsiteY2964"/>
                </a:cxn>
                <a:cxn ang="0">
                  <a:pos x="connsiteX2965" y="connsiteY2965"/>
                </a:cxn>
                <a:cxn ang="0">
                  <a:pos x="connsiteX2966" y="connsiteY2966"/>
                </a:cxn>
                <a:cxn ang="0">
                  <a:pos x="connsiteX2967" y="connsiteY2967"/>
                </a:cxn>
                <a:cxn ang="0">
                  <a:pos x="connsiteX2968" y="connsiteY2968"/>
                </a:cxn>
                <a:cxn ang="0">
                  <a:pos x="connsiteX2969" y="connsiteY2969"/>
                </a:cxn>
                <a:cxn ang="0">
                  <a:pos x="connsiteX2970" y="connsiteY2970"/>
                </a:cxn>
                <a:cxn ang="0">
                  <a:pos x="connsiteX2971" y="connsiteY2971"/>
                </a:cxn>
                <a:cxn ang="0">
                  <a:pos x="connsiteX2972" y="connsiteY2972"/>
                </a:cxn>
                <a:cxn ang="0">
                  <a:pos x="connsiteX2973" y="connsiteY2973"/>
                </a:cxn>
                <a:cxn ang="0">
                  <a:pos x="connsiteX2974" y="connsiteY2974"/>
                </a:cxn>
                <a:cxn ang="0">
                  <a:pos x="connsiteX2975" y="connsiteY2975"/>
                </a:cxn>
                <a:cxn ang="0">
                  <a:pos x="connsiteX2976" y="connsiteY2976"/>
                </a:cxn>
                <a:cxn ang="0">
                  <a:pos x="connsiteX2977" y="connsiteY2977"/>
                </a:cxn>
                <a:cxn ang="0">
                  <a:pos x="connsiteX2978" y="connsiteY2978"/>
                </a:cxn>
                <a:cxn ang="0">
                  <a:pos x="connsiteX2979" y="connsiteY2979"/>
                </a:cxn>
                <a:cxn ang="0">
                  <a:pos x="connsiteX2980" y="connsiteY2980"/>
                </a:cxn>
                <a:cxn ang="0">
                  <a:pos x="connsiteX2981" y="connsiteY2981"/>
                </a:cxn>
                <a:cxn ang="0">
                  <a:pos x="connsiteX2982" y="connsiteY2982"/>
                </a:cxn>
                <a:cxn ang="0">
                  <a:pos x="connsiteX2983" y="connsiteY2983"/>
                </a:cxn>
                <a:cxn ang="0">
                  <a:pos x="connsiteX2984" y="connsiteY2984"/>
                </a:cxn>
                <a:cxn ang="0">
                  <a:pos x="connsiteX2985" y="connsiteY2985"/>
                </a:cxn>
                <a:cxn ang="0">
                  <a:pos x="connsiteX2986" y="connsiteY2986"/>
                </a:cxn>
                <a:cxn ang="0">
                  <a:pos x="connsiteX2987" y="connsiteY2987"/>
                </a:cxn>
                <a:cxn ang="0">
                  <a:pos x="connsiteX2988" y="connsiteY2988"/>
                </a:cxn>
                <a:cxn ang="0">
                  <a:pos x="connsiteX2989" y="connsiteY2989"/>
                </a:cxn>
                <a:cxn ang="0">
                  <a:pos x="connsiteX2990" y="connsiteY2990"/>
                </a:cxn>
                <a:cxn ang="0">
                  <a:pos x="connsiteX2991" y="connsiteY2991"/>
                </a:cxn>
                <a:cxn ang="0">
                  <a:pos x="connsiteX2992" y="connsiteY2992"/>
                </a:cxn>
                <a:cxn ang="0">
                  <a:pos x="connsiteX2993" y="connsiteY2993"/>
                </a:cxn>
                <a:cxn ang="0">
                  <a:pos x="connsiteX2994" y="connsiteY2994"/>
                </a:cxn>
                <a:cxn ang="0">
                  <a:pos x="connsiteX2995" y="connsiteY2995"/>
                </a:cxn>
                <a:cxn ang="0">
                  <a:pos x="connsiteX2996" y="connsiteY2996"/>
                </a:cxn>
                <a:cxn ang="0">
                  <a:pos x="connsiteX2997" y="connsiteY2997"/>
                </a:cxn>
                <a:cxn ang="0">
                  <a:pos x="connsiteX2998" y="connsiteY2998"/>
                </a:cxn>
                <a:cxn ang="0">
                  <a:pos x="connsiteX2999" y="connsiteY2999"/>
                </a:cxn>
                <a:cxn ang="0">
                  <a:pos x="connsiteX3000" y="connsiteY3000"/>
                </a:cxn>
                <a:cxn ang="0">
                  <a:pos x="connsiteX3001" y="connsiteY3001"/>
                </a:cxn>
                <a:cxn ang="0">
                  <a:pos x="connsiteX3002" y="connsiteY3002"/>
                </a:cxn>
                <a:cxn ang="0">
                  <a:pos x="connsiteX3003" y="connsiteY3003"/>
                </a:cxn>
                <a:cxn ang="0">
                  <a:pos x="connsiteX3004" y="connsiteY3004"/>
                </a:cxn>
                <a:cxn ang="0">
                  <a:pos x="connsiteX3005" y="connsiteY3005"/>
                </a:cxn>
                <a:cxn ang="0">
                  <a:pos x="connsiteX3006" y="connsiteY3006"/>
                </a:cxn>
                <a:cxn ang="0">
                  <a:pos x="connsiteX3007" y="connsiteY3007"/>
                </a:cxn>
                <a:cxn ang="0">
                  <a:pos x="connsiteX3008" y="connsiteY3008"/>
                </a:cxn>
                <a:cxn ang="0">
                  <a:pos x="connsiteX3009" y="connsiteY3009"/>
                </a:cxn>
                <a:cxn ang="0">
                  <a:pos x="connsiteX3010" y="connsiteY3010"/>
                </a:cxn>
                <a:cxn ang="0">
                  <a:pos x="connsiteX3011" y="connsiteY3011"/>
                </a:cxn>
                <a:cxn ang="0">
                  <a:pos x="connsiteX3012" y="connsiteY3012"/>
                </a:cxn>
                <a:cxn ang="0">
                  <a:pos x="connsiteX3013" y="connsiteY3013"/>
                </a:cxn>
                <a:cxn ang="0">
                  <a:pos x="connsiteX3014" y="connsiteY3014"/>
                </a:cxn>
                <a:cxn ang="0">
                  <a:pos x="connsiteX3015" y="connsiteY3015"/>
                </a:cxn>
                <a:cxn ang="0">
                  <a:pos x="connsiteX3016" y="connsiteY3016"/>
                </a:cxn>
                <a:cxn ang="0">
                  <a:pos x="connsiteX3017" y="connsiteY3017"/>
                </a:cxn>
                <a:cxn ang="0">
                  <a:pos x="connsiteX3018" y="connsiteY3018"/>
                </a:cxn>
                <a:cxn ang="0">
                  <a:pos x="connsiteX3019" y="connsiteY3019"/>
                </a:cxn>
                <a:cxn ang="0">
                  <a:pos x="connsiteX3020" y="connsiteY3020"/>
                </a:cxn>
                <a:cxn ang="0">
                  <a:pos x="connsiteX3021" y="connsiteY3021"/>
                </a:cxn>
                <a:cxn ang="0">
                  <a:pos x="connsiteX3022" y="connsiteY3022"/>
                </a:cxn>
                <a:cxn ang="0">
                  <a:pos x="connsiteX3023" y="connsiteY3023"/>
                </a:cxn>
                <a:cxn ang="0">
                  <a:pos x="connsiteX3024" y="connsiteY3024"/>
                </a:cxn>
                <a:cxn ang="0">
                  <a:pos x="connsiteX3025" y="connsiteY3025"/>
                </a:cxn>
                <a:cxn ang="0">
                  <a:pos x="connsiteX3026" y="connsiteY3026"/>
                </a:cxn>
                <a:cxn ang="0">
                  <a:pos x="connsiteX3027" y="connsiteY3027"/>
                </a:cxn>
                <a:cxn ang="0">
                  <a:pos x="connsiteX3028" y="connsiteY3028"/>
                </a:cxn>
                <a:cxn ang="0">
                  <a:pos x="connsiteX3029" y="connsiteY3029"/>
                </a:cxn>
                <a:cxn ang="0">
                  <a:pos x="connsiteX3030" y="connsiteY3030"/>
                </a:cxn>
                <a:cxn ang="0">
                  <a:pos x="connsiteX3031" y="connsiteY3031"/>
                </a:cxn>
                <a:cxn ang="0">
                  <a:pos x="connsiteX3032" y="connsiteY3032"/>
                </a:cxn>
                <a:cxn ang="0">
                  <a:pos x="connsiteX3033" y="connsiteY3033"/>
                </a:cxn>
                <a:cxn ang="0">
                  <a:pos x="connsiteX3034" y="connsiteY3034"/>
                </a:cxn>
                <a:cxn ang="0">
                  <a:pos x="connsiteX3035" y="connsiteY3035"/>
                </a:cxn>
                <a:cxn ang="0">
                  <a:pos x="connsiteX3036" y="connsiteY3036"/>
                </a:cxn>
                <a:cxn ang="0">
                  <a:pos x="connsiteX3037" y="connsiteY3037"/>
                </a:cxn>
                <a:cxn ang="0">
                  <a:pos x="connsiteX3038" y="connsiteY3038"/>
                </a:cxn>
                <a:cxn ang="0">
                  <a:pos x="connsiteX3039" y="connsiteY3039"/>
                </a:cxn>
                <a:cxn ang="0">
                  <a:pos x="connsiteX3040" y="connsiteY3040"/>
                </a:cxn>
                <a:cxn ang="0">
                  <a:pos x="connsiteX3041" y="connsiteY3041"/>
                </a:cxn>
                <a:cxn ang="0">
                  <a:pos x="connsiteX3042" y="connsiteY3042"/>
                </a:cxn>
                <a:cxn ang="0">
                  <a:pos x="connsiteX3043" y="connsiteY3043"/>
                </a:cxn>
                <a:cxn ang="0">
                  <a:pos x="connsiteX3044" y="connsiteY3044"/>
                </a:cxn>
                <a:cxn ang="0">
                  <a:pos x="connsiteX3045" y="connsiteY3045"/>
                </a:cxn>
                <a:cxn ang="0">
                  <a:pos x="connsiteX3046" y="connsiteY3046"/>
                </a:cxn>
                <a:cxn ang="0">
                  <a:pos x="connsiteX3047" y="connsiteY3047"/>
                </a:cxn>
                <a:cxn ang="0">
                  <a:pos x="connsiteX3048" y="connsiteY3048"/>
                </a:cxn>
                <a:cxn ang="0">
                  <a:pos x="connsiteX3049" y="connsiteY3049"/>
                </a:cxn>
                <a:cxn ang="0">
                  <a:pos x="connsiteX3050" y="connsiteY3050"/>
                </a:cxn>
                <a:cxn ang="0">
                  <a:pos x="connsiteX3051" y="connsiteY3051"/>
                </a:cxn>
                <a:cxn ang="0">
                  <a:pos x="connsiteX3052" y="connsiteY3052"/>
                </a:cxn>
                <a:cxn ang="0">
                  <a:pos x="connsiteX3053" y="connsiteY3053"/>
                </a:cxn>
                <a:cxn ang="0">
                  <a:pos x="connsiteX3054" y="connsiteY3054"/>
                </a:cxn>
                <a:cxn ang="0">
                  <a:pos x="connsiteX3055" y="connsiteY3055"/>
                </a:cxn>
                <a:cxn ang="0">
                  <a:pos x="connsiteX3056" y="connsiteY3056"/>
                </a:cxn>
                <a:cxn ang="0">
                  <a:pos x="connsiteX3057" y="connsiteY3057"/>
                </a:cxn>
                <a:cxn ang="0">
                  <a:pos x="connsiteX3058" y="connsiteY3058"/>
                </a:cxn>
                <a:cxn ang="0">
                  <a:pos x="connsiteX3059" y="connsiteY3059"/>
                </a:cxn>
                <a:cxn ang="0">
                  <a:pos x="connsiteX3060" y="connsiteY3060"/>
                </a:cxn>
                <a:cxn ang="0">
                  <a:pos x="connsiteX3061" y="connsiteY3061"/>
                </a:cxn>
                <a:cxn ang="0">
                  <a:pos x="connsiteX3062" y="connsiteY3062"/>
                </a:cxn>
                <a:cxn ang="0">
                  <a:pos x="connsiteX3063" y="connsiteY3063"/>
                </a:cxn>
                <a:cxn ang="0">
                  <a:pos x="connsiteX3064" y="connsiteY3064"/>
                </a:cxn>
                <a:cxn ang="0">
                  <a:pos x="connsiteX3065" y="connsiteY3065"/>
                </a:cxn>
                <a:cxn ang="0">
                  <a:pos x="connsiteX3066" y="connsiteY3066"/>
                </a:cxn>
                <a:cxn ang="0">
                  <a:pos x="connsiteX3067" y="connsiteY3067"/>
                </a:cxn>
                <a:cxn ang="0">
                  <a:pos x="connsiteX3068" y="connsiteY3068"/>
                </a:cxn>
                <a:cxn ang="0">
                  <a:pos x="connsiteX3069" y="connsiteY3069"/>
                </a:cxn>
                <a:cxn ang="0">
                  <a:pos x="connsiteX3070" y="connsiteY3070"/>
                </a:cxn>
                <a:cxn ang="0">
                  <a:pos x="connsiteX3071" y="connsiteY3071"/>
                </a:cxn>
                <a:cxn ang="0">
                  <a:pos x="connsiteX3072" y="connsiteY3072"/>
                </a:cxn>
                <a:cxn ang="0">
                  <a:pos x="connsiteX3073" y="connsiteY3073"/>
                </a:cxn>
                <a:cxn ang="0">
                  <a:pos x="connsiteX3074" y="connsiteY3074"/>
                </a:cxn>
                <a:cxn ang="0">
                  <a:pos x="connsiteX3075" y="connsiteY3075"/>
                </a:cxn>
                <a:cxn ang="0">
                  <a:pos x="connsiteX3076" y="connsiteY3076"/>
                </a:cxn>
                <a:cxn ang="0">
                  <a:pos x="connsiteX3077" y="connsiteY3077"/>
                </a:cxn>
                <a:cxn ang="0">
                  <a:pos x="connsiteX3078" y="connsiteY3078"/>
                </a:cxn>
                <a:cxn ang="0">
                  <a:pos x="connsiteX3079" y="connsiteY3079"/>
                </a:cxn>
                <a:cxn ang="0">
                  <a:pos x="connsiteX3080" y="connsiteY3080"/>
                </a:cxn>
                <a:cxn ang="0">
                  <a:pos x="connsiteX3081" y="connsiteY3081"/>
                </a:cxn>
                <a:cxn ang="0">
                  <a:pos x="connsiteX3082" y="connsiteY3082"/>
                </a:cxn>
                <a:cxn ang="0">
                  <a:pos x="connsiteX3083" y="connsiteY3083"/>
                </a:cxn>
                <a:cxn ang="0">
                  <a:pos x="connsiteX3084" y="connsiteY3084"/>
                </a:cxn>
                <a:cxn ang="0">
                  <a:pos x="connsiteX3085" y="connsiteY3085"/>
                </a:cxn>
                <a:cxn ang="0">
                  <a:pos x="connsiteX3086" y="connsiteY3086"/>
                </a:cxn>
                <a:cxn ang="0">
                  <a:pos x="connsiteX3087" y="connsiteY3087"/>
                </a:cxn>
                <a:cxn ang="0">
                  <a:pos x="connsiteX3088" y="connsiteY3088"/>
                </a:cxn>
                <a:cxn ang="0">
                  <a:pos x="connsiteX3089" y="connsiteY3089"/>
                </a:cxn>
                <a:cxn ang="0">
                  <a:pos x="connsiteX3090" y="connsiteY3090"/>
                </a:cxn>
                <a:cxn ang="0">
                  <a:pos x="connsiteX3091" y="connsiteY3091"/>
                </a:cxn>
                <a:cxn ang="0">
                  <a:pos x="connsiteX3092" y="connsiteY3092"/>
                </a:cxn>
                <a:cxn ang="0">
                  <a:pos x="connsiteX3093" y="connsiteY3093"/>
                </a:cxn>
                <a:cxn ang="0">
                  <a:pos x="connsiteX3094" y="connsiteY3094"/>
                </a:cxn>
                <a:cxn ang="0">
                  <a:pos x="connsiteX3095" y="connsiteY3095"/>
                </a:cxn>
                <a:cxn ang="0">
                  <a:pos x="connsiteX3096" y="connsiteY3096"/>
                </a:cxn>
                <a:cxn ang="0">
                  <a:pos x="connsiteX3097" y="connsiteY3097"/>
                </a:cxn>
                <a:cxn ang="0">
                  <a:pos x="connsiteX3098" y="connsiteY3098"/>
                </a:cxn>
                <a:cxn ang="0">
                  <a:pos x="connsiteX3099" y="connsiteY3099"/>
                </a:cxn>
                <a:cxn ang="0">
                  <a:pos x="connsiteX3100" y="connsiteY3100"/>
                </a:cxn>
                <a:cxn ang="0">
                  <a:pos x="connsiteX3101" y="connsiteY3101"/>
                </a:cxn>
                <a:cxn ang="0">
                  <a:pos x="connsiteX3102" y="connsiteY3102"/>
                </a:cxn>
                <a:cxn ang="0">
                  <a:pos x="connsiteX3103" y="connsiteY3103"/>
                </a:cxn>
                <a:cxn ang="0">
                  <a:pos x="connsiteX3104" y="connsiteY3104"/>
                </a:cxn>
                <a:cxn ang="0">
                  <a:pos x="connsiteX3105" y="connsiteY3105"/>
                </a:cxn>
                <a:cxn ang="0">
                  <a:pos x="connsiteX3106" y="connsiteY3106"/>
                </a:cxn>
                <a:cxn ang="0">
                  <a:pos x="connsiteX3107" y="connsiteY3107"/>
                </a:cxn>
                <a:cxn ang="0">
                  <a:pos x="connsiteX3108" y="connsiteY3108"/>
                </a:cxn>
                <a:cxn ang="0">
                  <a:pos x="connsiteX3109" y="connsiteY3109"/>
                </a:cxn>
                <a:cxn ang="0">
                  <a:pos x="connsiteX3110" y="connsiteY3110"/>
                </a:cxn>
                <a:cxn ang="0">
                  <a:pos x="connsiteX3111" y="connsiteY3111"/>
                </a:cxn>
                <a:cxn ang="0">
                  <a:pos x="connsiteX3112" y="connsiteY3112"/>
                </a:cxn>
                <a:cxn ang="0">
                  <a:pos x="connsiteX3113" y="connsiteY3113"/>
                </a:cxn>
                <a:cxn ang="0">
                  <a:pos x="connsiteX3114" y="connsiteY3114"/>
                </a:cxn>
                <a:cxn ang="0">
                  <a:pos x="connsiteX3115" y="connsiteY3115"/>
                </a:cxn>
                <a:cxn ang="0">
                  <a:pos x="connsiteX3116" y="connsiteY3116"/>
                </a:cxn>
                <a:cxn ang="0">
                  <a:pos x="connsiteX3117" y="connsiteY3117"/>
                </a:cxn>
                <a:cxn ang="0">
                  <a:pos x="connsiteX3118" y="connsiteY3118"/>
                </a:cxn>
                <a:cxn ang="0">
                  <a:pos x="connsiteX3119" y="connsiteY3119"/>
                </a:cxn>
                <a:cxn ang="0">
                  <a:pos x="connsiteX3120" y="connsiteY3120"/>
                </a:cxn>
                <a:cxn ang="0">
                  <a:pos x="connsiteX3121" y="connsiteY3121"/>
                </a:cxn>
                <a:cxn ang="0">
                  <a:pos x="connsiteX3122" y="connsiteY3122"/>
                </a:cxn>
                <a:cxn ang="0">
                  <a:pos x="connsiteX3123" y="connsiteY3123"/>
                </a:cxn>
                <a:cxn ang="0">
                  <a:pos x="connsiteX3124" y="connsiteY3124"/>
                </a:cxn>
                <a:cxn ang="0">
                  <a:pos x="connsiteX3125" y="connsiteY3125"/>
                </a:cxn>
                <a:cxn ang="0">
                  <a:pos x="connsiteX3126" y="connsiteY3126"/>
                </a:cxn>
                <a:cxn ang="0">
                  <a:pos x="connsiteX3127" y="connsiteY3127"/>
                </a:cxn>
                <a:cxn ang="0">
                  <a:pos x="connsiteX3128" y="connsiteY3128"/>
                </a:cxn>
                <a:cxn ang="0">
                  <a:pos x="connsiteX3129" y="connsiteY3129"/>
                </a:cxn>
                <a:cxn ang="0">
                  <a:pos x="connsiteX3130" y="connsiteY3130"/>
                </a:cxn>
                <a:cxn ang="0">
                  <a:pos x="connsiteX3131" y="connsiteY3131"/>
                </a:cxn>
                <a:cxn ang="0">
                  <a:pos x="connsiteX3132" y="connsiteY3132"/>
                </a:cxn>
                <a:cxn ang="0">
                  <a:pos x="connsiteX3133" y="connsiteY3133"/>
                </a:cxn>
                <a:cxn ang="0">
                  <a:pos x="connsiteX3134" y="connsiteY3134"/>
                </a:cxn>
                <a:cxn ang="0">
                  <a:pos x="connsiteX3135" y="connsiteY3135"/>
                </a:cxn>
                <a:cxn ang="0">
                  <a:pos x="connsiteX3136" y="connsiteY3136"/>
                </a:cxn>
                <a:cxn ang="0">
                  <a:pos x="connsiteX3137" y="connsiteY3137"/>
                </a:cxn>
                <a:cxn ang="0">
                  <a:pos x="connsiteX3138" y="connsiteY3138"/>
                </a:cxn>
                <a:cxn ang="0">
                  <a:pos x="connsiteX3139" y="connsiteY3139"/>
                </a:cxn>
                <a:cxn ang="0">
                  <a:pos x="connsiteX3140" y="connsiteY3140"/>
                </a:cxn>
                <a:cxn ang="0">
                  <a:pos x="connsiteX3141" y="connsiteY3141"/>
                </a:cxn>
                <a:cxn ang="0">
                  <a:pos x="connsiteX3142" y="connsiteY3142"/>
                </a:cxn>
                <a:cxn ang="0">
                  <a:pos x="connsiteX3143" y="connsiteY3143"/>
                </a:cxn>
                <a:cxn ang="0">
                  <a:pos x="connsiteX3144" y="connsiteY3144"/>
                </a:cxn>
                <a:cxn ang="0">
                  <a:pos x="connsiteX3145" y="connsiteY3145"/>
                </a:cxn>
                <a:cxn ang="0">
                  <a:pos x="connsiteX3146" y="connsiteY3146"/>
                </a:cxn>
                <a:cxn ang="0">
                  <a:pos x="connsiteX3147" y="connsiteY3147"/>
                </a:cxn>
                <a:cxn ang="0">
                  <a:pos x="connsiteX3148" y="connsiteY3148"/>
                </a:cxn>
                <a:cxn ang="0">
                  <a:pos x="connsiteX3149" y="connsiteY3149"/>
                </a:cxn>
                <a:cxn ang="0">
                  <a:pos x="connsiteX3150" y="connsiteY3150"/>
                </a:cxn>
                <a:cxn ang="0">
                  <a:pos x="connsiteX3151" y="connsiteY3151"/>
                </a:cxn>
                <a:cxn ang="0">
                  <a:pos x="connsiteX3152" y="connsiteY3152"/>
                </a:cxn>
                <a:cxn ang="0">
                  <a:pos x="connsiteX3153" y="connsiteY3153"/>
                </a:cxn>
                <a:cxn ang="0">
                  <a:pos x="connsiteX3154" y="connsiteY3154"/>
                </a:cxn>
                <a:cxn ang="0">
                  <a:pos x="connsiteX3155" y="connsiteY3155"/>
                </a:cxn>
                <a:cxn ang="0">
                  <a:pos x="connsiteX3156" y="connsiteY3156"/>
                </a:cxn>
                <a:cxn ang="0">
                  <a:pos x="connsiteX3157" y="connsiteY3157"/>
                </a:cxn>
                <a:cxn ang="0">
                  <a:pos x="connsiteX3158" y="connsiteY3158"/>
                </a:cxn>
                <a:cxn ang="0">
                  <a:pos x="connsiteX3159" y="connsiteY3159"/>
                </a:cxn>
                <a:cxn ang="0">
                  <a:pos x="connsiteX3160" y="connsiteY3160"/>
                </a:cxn>
                <a:cxn ang="0">
                  <a:pos x="connsiteX3161" y="connsiteY3161"/>
                </a:cxn>
                <a:cxn ang="0">
                  <a:pos x="connsiteX3162" y="connsiteY3162"/>
                </a:cxn>
                <a:cxn ang="0">
                  <a:pos x="connsiteX3163" y="connsiteY3163"/>
                </a:cxn>
                <a:cxn ang="0">
                  <a:pos x="connsiteX3164" y="connsiteY3164"/>
                </a:cxn>
                <a:cxn ang="0">
                  <a:pos x="connsiteX3165" y="connsiteY3165"/>
                </a:cxn>
                <a:cxn ang="0">
                  <a:pos x="connsiteX3166" y="connsiteY3166"/>
                </a:cxn>
                <a:cxn ang="0">
                  <a:pos x="connsiteX3167" y="connsiteY3167"/>
                </a:cxn>
                <a:cxn ang="0">
                  <a:pos x="connsiteX3168" y="connsiteY3168"/>
                </a:cxn>
                <a:cxn ang="0">
                  <a:pos x="connsiteX3169" y="connsiteY3169"/>
                </a:cxn>
                <a:cxn ang="0">
                  <a:pos x="connsiteX3170" y="connsiteY3170"/>
                </a:cxn>
                <a:cxn ang="0">
                  <a:pos x="connsiteX3171" y="connsiteY3171"/>
                </a:cxn>
                <a:cxn ang="0">
                  <a:pos x="connsiteX3172" y="connsiteY3172"/>
                </a:cxn>
                <a:cxn ang="0">
                  <a:pos x="connsiteX3173" y="connsiteY3173"/>
                </a:cxn>
                <a:cxn ang="0">
                  <a:pos x="connsiteX3174" y="connsiteY3174"/>
                </a:cxn>
                <a:cxn ang="0">
                  <a:pos x="connsiteX3175" y="connsiteY3175"/>
                </a:cxn>
                <a:cxn ang="0">
                  <a:pos x="connsiteX3176" y="connsiteY3176"/>
                </a:cxn>
                <a:cxn ang="0">
                  <a:pos x="connsiteX3177" y="connsiteY3177"/>
                </a:cxn>
                <a:cxn ang="0">
                  <a:pos x="connsiteX3178" y="connsiteY3178"/>
                </a:cxn>
                <a:cxn ang="0">
                  <a:pos x="connsiteX3179" y="connsiteY3179"/>
                </a:cxn>
                <a:cxn ang="0">
                  <a:pos x="connsiteX3180" y="connsiteY3180"/>
                </a:cxn>
                <a:cxn ang="0">
                  <a:pos x="connsiteX3181" y="connsiteY3181"/>
                </a:cxn>
                <a:cxn ang="0">
                  <a:pos x="connsiteX3182" y="connsiteY3182"/>
                </a:cxn>
                <a:cxn ang="0">
                  <a:pos x="connsiteX3183" y="connsiteY3183"/>
                </a:cxn>
                <a:cxn ang="0">
                  <a:pos x="connsiteX3184" y="connsiteY3184"/>
                </a:cxn>
                <a:cxn ang="0">
                  <a:pos x="connsiteX3185" y="connsiteY3185"/>
                </a:cxn>
                <a:cxn ang="0">
                  <a:pos x="connsiteX3186" y="connsiteY3186"/>
                </a:cxn>
                <a:cxn ang="0">
                  <a:pos x="connsiteX3187" y="connsiteY3187"/>
                </a:cxn>
                <a:cxn ang="0">
                  <a:pos x="connsiteX3188" y="connsiteY3188"/>
                </a:cxn>
                <a:cxn ang="0">
                  <a:pos x="connsiteX3189" y="connsiteY3189"/>
                </a:cxn>
                <a:cxn ang="0">
                  <a:pos x="connsiteX3190" y="connsiteY3190"/>
                </a:cxn>
                <a:cxn ang="0">
                  <a:pos x="connsiteX3191" y="connsiteY3191"/>
                </a:cxn>
                <a:cxn ang="0">
                  <a:pos x="connsiteX3192" y="connsiteY3192"/>
                </a:cxn>
                <a:cxn ang="0">
                  <a:pos x="connsiteX3193" y="connsiteY3193"/>
                </a:cxn>
                <a:cxn ang="0">
                  <a:pos x="connsiteX3194" y="connsiteY3194"/>
                </a:cxn>
                <a:cxn ang="0">
                  <a:pos x="connsiteX3195" y="connsiteY3195"/>
                </a:cxn>
                <a:cxn ang="0">
                  <a:pos x="connsiteX3196" y="connsiteY3196"/>
                </a:cxn>
                <a:cxn ang="0">
                  <a:pos x="connsiteX3197" y="connsiteY3197"/>
                </a:cxn>
                <a:cxn ang="0">
                  <a:pos x="connsiteX3198" y="connsiteY3198"/>
                </a:cxn>
                <a:cxn ang="0">
                  <a:pos x="connsiteX3199" y="connsiteY3199"/>
                </a:cxn>
                <a:cxn ang="0">
                  <a:pos x="connsiteX3200" y="connsiteY3200"/>
                </a:cxn>
                <a:cxn ang="0">
                  <a:pos x="connsiteX3201" y="connsiteY3201"/>
                </a:cxn>
                <a:cxn ang="0">
                  <a:pos x="connsiteX3202" y="connsiteY3202"/>
                </a:cxn>
                <a:cxn ang="0">
                  <a:pos x="connsiteX3203" y="connsiteY3203"/>
                </a:cxn>
                <a:cxn ang="0">
                  <a:pos x="connsiteX3204" y="connsiteY3204"/>
                </a:cxn>
                <a:cxn ang="0">
                  <a:pos x="connsiteX3205" y="connsiteY3205"/>
                </a:cxn>
                <a:cxn ang="0">
                  <a:pos x="connsiteX3206" y="connsiteY3206"/>
                </a:cxn>
                <a:cxn ang="0">
                  <a:pos x="connsiteX3207" y="connsiteY3207"/>
                </a:cxn>
                <a:cxn ang="0">
                  <a:pos x="connsiteX3208" y="connsiteY3208"/>
                </a:cxn>
                <a:cxn ang="0">
                  <a:pos x="connsiteX3209" y="connsiteY3209"/>
                </a:cxn>
                <a:cxn ang="0">
                  <a:pos x="connsiteX3210" y="connsiteY3210"/>
                </a:cxn>
                <a:cxn ang="0">
                  <a:pos x="connsiteX3211" y="connsiteY3211"/>
                </a:cxn>
                <a:cxn ang="0">
                  <a:pos x="connsiteX3212" y="connsiteY3212"/>
                </a:cxn>
                <a:cxn ang="0">
                  <a:pos x="connsiteX3213" y="connsiteY3213"/>
                </a:cxn>
                <a:cxn ang="0">
                  <a:pos x="connsiteX3214" y="connsiteY3214"/>
                </a:cxn>
                <a:cxn ang="0">
                  <a:pos x="connsiteX3215" y="connsiteY3215"/>
                </a:cxn>
                <a:cxn ang="0">
                  <a:pos x="connsiteX3216" y="connsiteY3216"/>
                </a:cxn>
                <a:cxn ang="0">
                  <a:pos x="connsiteX3217" y="connsiteY3217"/>
                </a:cxn>
                <a:cxn ang="0">
                  <a:pos x="connsiteX3218" y="connsiteY3218"/>
                </a:cxn>
                <a:cxn ang="0">
                  <a:pos x="connsiteX3219" y="connsiteY3219"/>
                </a:cxn>
                <a:cxn ang="0">
                  <a:pos x="connsiteX3220" y="connsiteY3220"/>
                </a:cxn>
                <a:cxn ang="0">
                  <a:pos x="connsiteX3221" y="connsiteY3221"/>
                </a:cxn>
                <a:cxn ang="0">
                  <a:pos x="connsiteX3222" y="connsiteY3222"/>
                </a:cxn>
                <a:cxn ang="0">
                  <a:pos x="connsiteX3223" y="connsiteY3223"/>
                </a:cxn>
                <a:cxn ang="0">
                  <a:pos x="connsiteX3224" y="connsiteY3224"/>
                </a:cxn>
                <a:cxn ang="0">
                  <a:pos x="connsiteX3225" y="connsiteY3225"/>
                </a:cxn>
                <a:cxn ang="0">
                  <a:pos x="connsiteX3226" y="connsiteY3226"/>
                </a:cxn>
                <a:cxn ang="0">
                  <a:pos x="connsiteX3227" y="connsiteY3227"/>
                </a:cxn>
                <a:cxn ang="0">
                  <a:pos x="connsiteX3228" y="connsiteY3228"/>
                </a:cxn>
                <a:cxn ang="0">
                  <a:pos x="connsiteX3229" y="connsiteY3229"/>
                </a:cxn>
                <a:cxn ang="0">
                  <a:pos x="connsiteX3230" y="connsiteY3230"/>
                </a:cxn>
                <a:cxn ang="0">
                  <a:pos x="connsiteX3231" y="connsiteY3231"/>
                </a:cxn>
                <a:cxn ang="0">
                  <a:pos x="connsiteX3232" y="connsiteY3232"/>
                </a:cxn>
                <a:cxn ang="0">
                  <a:pos x="connsiteX3233" y="connsiteY3233"/>
                </a:cxn>
                <a:cxn ang="0">
                  <a:pos x="connsiteX3234" y="connsiteY3234"/>
                </a:cxn>
                <a:cxn ang="0">
                  <a:pos x="connsiteX3235" y="connsiteY3235"/>
                </a:cxn>
                <a:cxn ang="0">
                  <a:pos x="connsiteX3236" y="connsiteY3236"/>
                </a:cxn>
                <a:cxn ang="0">
                  <a:pos x="connsiteX3237" y="connsiteY3237"/>
                </a:cxn>
                <a:cxn ang="0">
                  <a:pos x="connsiteX3238" y="connsiteY3238"/>
                </a:cxn>
                <a:cxn ang="0">
                  <a:pos x="connsiteX3239" y="connsiteY3239"/>
                </a:cxn>
                <a:cxn ang="0">
                  <a:pos x="connsiteX3240" y="connsiteY3240"/>
                </a:cxn>
                <a:cxn ang="0">
                  <a:pos x="connsiteX3241" y="connsiteY3241"/>
                </a:cxn>
                <a:cxn ang="0">
                  <a:pos x="connsiteX3242" y="connsiteY3242"/>
                </a:cxn>
                <a:cxn ang="0">
                  <a:pos x="connsiteX3243" y="connsiteY3243"/>
                </a:cxn>
                <a:cxn ang="0">
                  <a:pos x="connsiteX3244" y="connsiteY3244"/>
                </a:cxn>
                <a:cxn ang="0">
                  <a:pos x="connsiteX3245" y="connsiteY3245"/>
                </a:cxn>
                <a:cxn ang="0">
                  <a:pos x="connsiteX3246" y="connsiteY3246"/>
                </a:cxn>
                <a:cxn ang="0">
                  <a:pos x="connsiteX3247" y="connsiteY3247"/>
                </a:cxn>
                <a:cxn ang="0">
                  <a:pos x="connsiteX3248" y="connsiteY3248"/>
                </a:cxn>
                <a:cxn ang="0">
                  <a:pos x="connsiteX3249" y="connsiteY3249"/>
                </a:cxn>
                <a:cxn ang="0">
                  <a:pos x="connsiteX3250" y="connsiteY3250"/>
                </a:cxn>
                <a:cxn ang="0">
                  <a:pos x="connsiteX3251" y="connsiteY3251"/>
                </a:cxn>
                <a:cxn ang="0">
                  <a:pos x="connsiteX3252" y="connsiteY3252"/>
                </a:cxn>
                <a:cxn ang="0">
                  <a:pos x="connsiteX3253" y="connsiteY3253"/>
                </a:cxn>
                <a:cxn ang="0">
                  <a:pos x="connsiteX3254" y="connsiteY3254"/>
                </a:cxn>
                <a:cxn ang="0">
                  <a:pos x="connsiteX3255" y="connsiteY3255"/>
                </a:cxn>
                <a:cxn ang="0">
                  <a:pos x="connsiteX3256" y="connsiteY3256"/>
                </a:cxn>
                <a:cxn ang="0">
                  <a:pos x="connsiteX3257" y="connsiteY3257"/>
                </a:cxn>
                <a:cxn ang="0">
                  <a:pos x="connsiteX3258" y="connsiteY3258"/>
                </a:cxn>
                <a:cxn ang="0">
                  <a:pos x="connsiteX3259" y="connsiteY3259"/>
                </a:cxn>
                <a:cxn ang="0">
                  <a:pos x="connsiteX3260" y="connsiteY3260"/>
                </a:cxn>
                <a:cxn ang="0">
                  <a:pos x="connsiteX3261" y="connsiteY3261"/>
                </a:cxn>
                <a:cxn ang="0">
                  <a:pos x="connsiteX3262" y="connsiteY3262"/>
                </a:cxn>
                <a:cxn ang="0">
                  <a:pos x="connsiteX3263" y="connsiteY3263"/>
                </a:cxn>
                <a:cxn ang="0">
                  <a:pos x="connsiteX3264" y="connsiteY3264"/>
                </a:cxn>
                <a:cxn ang="0">
                  <a:pos x="connsiteX3265" y="connsiteY3265"/>
                </a:cxn>
                <a:cxn ang="0">
                  <a:pos x="connsiteX3266" y="connsiteY3266"/>
                </a:cxn>
                <a:cxn ang="0">
                  <a:pos x="connsiteX3267" y="connsiteY3267"/>
                </a:cxn>
                <a:cxn ang="0">
                  <a:pos x="connsiteX3268" y="connsiteY3268"/>
                </a:cxn>
                <a:cxn ang="0">
                  <a:pos x="connsiteX3269" y="connsiteY3269"/>
                </a:cxn>
                <a:cxn ang="0">
                  <a:pos x="connsiteX3270" y="connsiteY3270"/>
                </a:cxn>
                <a:cxn ang="0">
                  <a:pos x="connsiteX3271" y="connsiteY3271"/>
                </a:cxn>
                <a:cxn ang="0">
                  <a:pos x="connsiteX3272" y="connsiteY3272"/>
                </a:cxn>
                <a:cxn ang="0">
                  <a:pos x="connsiteX3273" y="connsiteY3273"/>
                </a:cxn>
                <a:cxn ang="0">
                  <a:pos x="connsiteX3274" y="connsiteY3274"/>
                </a:cxn>
                <a:cxn ang="0">
                  <a:pos x="connsiteX3275" y="connsiteY3275"/>
                </a:cxn>
                <a:cxn ang="0">
                  <a:pos x="connsiteX3276" y="connsiteY3276"/>
                </a:cxn>
                <a:cxn ang="0">
                  <a:pos x="connsiteX3277" y="connsiteY3277"/>
                </a:cxn>
                <a:cxn ang="0">
                  <a:pos x="connsiteX3278" y="connsiteY3278"/>
                </a:cxn>
                <a:cxn ang="0">
                  <a:pos x="connsiteX3279" y="connsiteY3279"/>
                </a:cxn>
                <a:cxn ang="0">
                  <a:pos x="connsiteX3280" y="connsiteY3280"/>
                </a:cxn>
                <a:cxn ang="0">
                  <a:pos x="connsiteX3281" y="connsiteY3281"/>
                </a:cxn>
                <a:cxn ang="0">
                  <a:pos x="connsiteX3282" y="connsiteY3282"/>
                </a:cxn>
                <a:cxn ang="0">
                  <a:pos x="connsiteX3283" y="connsiteY3283"/>
                </a:cxn>
                <a:cxn ang="0">
                  <a:pos x="connsiteX3284" y="connsiteY3284"/>
                </a:cxn>
                <a:cxn ang="0">
                  <a:pos x="connsiteX3285" y="connsiteY3285"/>
                </a:cxn>
                <a:cxn ang="0">
                  <a:pos x="connsiteX3286" y="connsiteY3286"/>
                </a:cxn>
                <a:cxn ang="0">
                  <a:pos x="connsiteX3287" y="connsiteY3287"/>
                </a:cxn>
                <a:cxn ang="0">
                  <a:pos x="connsiteX3288" y="connsiteY3288"/>
                </a:cxn>
                <a:cxn ang="0">
                  <a:pos x="connsiteX3289" y="connsiteY3289"/>
                </a:cxn>
                <a:cxn ang="0">
                  <a:pos x="connsiteX3290" y="connsiteY3290"/>
                </a:cxn>
                <a:cxn ang="0">
                  <a:pos x="connsiteX3291" y="connsiteY3291"/>
                </a:cxn>
                <a:cxn ang="0">
                  <a:pos x="connsiteX3292" y="connsiteY3292"/>
                </a:cxn>
                <a:cxn ang="0">
                  <a:pos x="connsiteX3293" y="connsiteY3293"/>
                </a:cxn>
                <a:cxn ang="0">
                  <a:pos x="connsiteX3294" y="connsiteY3294"/>
                </a:cxn>
                <a:cxn ang="0">
                  <a:pos x="connsiteX3295" y="connsiteY3295"/>
                </a:cxn>
                <a:cxn ang="0">
                  <a:pos x="connsiteX3296" y="connsiteY3296"/>
                </a:cxn>
                <a:cxn ang="0">
                  <a:pos x="connsiteX3297" y="connsiteY3297"/>
                </a:cxn>
                <a:cxn ang="0">
                  <a:pos x="connsiteX3298" y="connsiteY3298"/>
                </a:cxn>
                <a:cxn ang="0">
                  <a:pos x="connsiteX3299" y="connsiteY3299"/>
                </a:cxn>
                <a:cxn ang="0">
                  <a:pos x="connsiteX3300" y="connsiteY3300"/>
                </a:cxn>
                <a:cxn ang="0">
                  <a:pos x="connsiteX3301" y="connsiteY3301"/>
                </a:cxn>
                <a:cxn ang="0">
                  <a:pos x="connsiteX3302" y="connsiteY3302"/>
                </a:cxn>
                <a:cxn ang="0">
                  <a:pos x="connsiteX3303" y="connsiteY3303"/>
                </a:cxn>
                <a:cxn ang="0">
                  <a:pos x="connsiteX3304" y="connsiteY3304"/>
                </a:cxn>
                <a:cxn ang="0">
                  <a:pos x="connsiteX3305" y="connsiteY3305"/>
                </a:cxn>
                <a:cxn ang="0">
                  <a:pos x="connsiteX3306" y="connsiteY3306"/>
                </a:cxn>
                <a:cxn ang="0">
                  <a:pos x="connsiteX3307" y="connsiteY3307"/>
                </a:cxn>
                <a:cxn ang="0">
                  <a:pos x="connsiteX3308" y="connsiteY3308"/>
                </a:cxn>
                <a:cxn ang="0">
                  <a:pos x="connsiteX3309" y="connsiteY3309"/>
                </a:cxn>
                <a:cxn ang="0">
                  <a:pos x="connsiteX3310" y="connsiteY3310"/>
                </a:cxn>
                <a:cxn ang="0">
                  <a:pos x="connsiteX3311" y="connsiteY3311"/>
                </a:cxn>
                <a:cxn ang="0">
                  <a:pos x="connsiteX3312" y="connsiteY3312"/>
                </a:cxn>
                <a:cxn ang="0">
                  <a:pos x="connsiteX3313" y="connsiteY3313"/>
                </a:cxn>
                <a:cxn ang="0">
                  <a:pos x="connsiteX3314" y="connsiteY3314"/>
                </a:cxn>
                <a:cxn ang="0">
                  <a:pos x="connsiteX3315" y="connsiteY3315"/>
                </a:cxn>
                <a:cxn ang="0">
                  <a:pos x="connsiteX3316" y="connsiteY3316"/>
                </a:cxn>
                <a:cxn ang="0">
                  <a:pos x="connsiteX3317" y="connsiteY3317"/>
                </a:cxn>
                <a:cxn ang="0">
                  <a:pos x="connsiteX3318" y="connsiteY3318"/>
                </a:cxn>
                <a:cxn ang="0">
                  <a:pos x="connsiteX3319" y="connsiteY3319"/>
                </a:cxn>
                <a:cxn ang="0">
                  <a:pos x="connsiteX3320" y="connsiteY3320"/>
                </a:cxn>
                <a:cxn ang="0">
                  <a:pos x="connsiteX3321" y="connsiteY3321"/>
                </a:cxn>
                <a:cxn ang="0">
                  <a:pos x="connsiteX3322" y="connsiteY3322"/>
                </a:cxn>
                <a:cxn ang="0">
                  <a:pos x="connsiteX3323" y="connsiteY3323"/>
                </a:cxn>
                <a:cxn ang="0">
                  <a:pos x="connsiteX3324" y="connsiteY3324"/>
                </a:cxn>
                <a:cxn ang="0">
                  <a:pos x="connsiteX3325" y="connsiteY3325"/>
                </a:cxn>
                <a:cxn ang="0">
                  <a:pos x="connsiteX3326" y="connsiteY3326"/>
                </a:cxn>
                <a:cxn ang="0">
                  <a:pos x="connsiteX3327" y="connsiteY3327"/>
                </a:cxn>
                <a:cxn ang="0">
                  <a:pos x="connsiteX3328" y="connsiteY3328"/>
                </a:cxn>
                <a:cxn ang="0">
                  <a:pos x="connsiteX3329" y="connsiteY3329"/>
                </a:cxn>
                <a:cxn ang="0">
                  <a:pos x="connsiteX3330" y="connsiteY3330"/>
                </a:cxn>
                <a:cxn ang="0">
                  <a:pos x="connsiteX3331" y="connsiteY3331"/>
                </a:cxn>
                <a:cxn ang="0">
                  <a:pos x="connsiteX3332" y="connsiteY3332"/>
                </a:cxn>
                <a:cxn ang="0">
                  <a:pos x="connsiteX3333" y="connsiteY3333"/>
                </a:cxn>
                <a:cxn ang="0">
                  <a:pos x="connsiteX3334" y="connsiteY3334"/>
                </a:cxn>
                <a:cxn ang="0">
                  <a:pos x="connsiteX3335" y="connsiteY3335"/>
                </a:cxn>
                <a:cxn ang="0">
                  <a:pos x="connsiteX3336" y="connsiteY3336"/>
                </a:cxn>
                <a:cxn ang="0">
                  <a:pos x="connsiteX3337" y="connsiteY3337"/>
                </a:cxn>
                <a:cxn ang="0">
                  <a:pos x="connsiteX3338" y="connsiteY3338"/>
                </a:cxn>
                <a:cxn ang="0">
                  <a:pos x="connsiteX3339" y="connsiteY3339"/>
                </a:cxn>
                <a:cxn ang="0">
                  <a:pos x="connsiteX3340" y="connsiteY3340"/>
                </a:cxn>
                <a:cxn ang="0">
                  <a:pos x="connsiteX3341" y="connsiteY3341"/>
                </a:cxn>
                <a:cxn ang="0">
                  <a:pos x="connsiteX3342" y="connsiteY3342"/>
                </a:cxn>
                <a:cxn ang="0">
                  <a:pos x="connsiteX3343" y="connsiteY3343"/>
                </a:cxn>
                <a:cxn ang="0">
                  <a:pos x="connsiteX3344" y="connsiteY3344"/>
                </a:cxn>
                <a:cxn ang="0">
                  <a:pos x="connsiteX3345" y="connsiteY3345"/>
                </a:cxn>
                <a:cxn ang="0">
                  <a:pos x="connsiteX3346" y="connsiteY3346"/>
                </a:cxn>
                <a:cxn ang="0">
                  <a:pos x="connsiteX3347" y="connsiteY3347"/>
                </a:cxn>
                <a:cxn ang="0">
                  <a:pos x="connsiteX3348" y="connsiteY3348"/>
                </a:cxn>
                <a:cxn ang="0">
                  <a:pos x="connsiteX3349" y="connsiteY3349"/>
                </a:cxn>
                <a:cxn ang="0">
                  <a:pos x="connsiteX3350" y="connsiteY3350"/>
                </a:cxn>
                <a:cxn ang="0">
                  <a:pos x="connsiteX3351" y="connsiteY3351"/>
                </a:cxn>
                <a:cxn ang="0">
                  <a:pos x="connsiteX3352" y="connsiteY3352"/>
                </a:cxn>
                <a:cxn ang="0">
                  <a:pos x="connsiteX3353" y="connsiteY3353"/>
                </a:cxn>
                <a:cxn ang="0">
                  <a:pos x="connsiteX3354" y="connsiteY3354"/>
                </a:cxn>
                <a:cxn ang="0">
                  <a:pos x="connsiteX3355" y="connsiteY3355"/>
                </a:cxn>
                <a:cxn ang="0">
                  <a:pos x="connsiteX3356" y="connsiteY3356"/>
                </a:cxn>
                <a:cxn ang="0">
                  <a:pos x="connsiteX3357" y="connsiteY3357"/>
                </a:cxn>
                <a:cxn ang="0">
                  <a:pos x="connsiteX3358" y="connsiteY3358"/>
                </a:cxn>
                <a:cxn ang="0">
                  <a:pos x="connsiteX3359" y="connsiteY3359"/>
                </a:cxn>
                <a:cxn ang="0">
                  <a:pos x="connsiteX3360" y="connsiteY3360"/>
                </a:cxn>
                <a:cxn ang="0">
                  <a:pos x="connsiteX3361" y="connsiteY3361"/>
                </a:cxn>
                <a:cxn ang="0">
                  <a:pos x="connsiteX3362" y="connsiteY3362"/>
                </a:cxn>
                <a:cxn ang="0">
                  <a:pos x="connsiteX3363" y="connsiteY3363"/>
                </a:cxn>
                <a:cxn ang="0">
                  <a:pos x="connsiteX3364" y="connsiteY3364"/>
                </a:cxn>
                <a:cxn ang="0">
                  <a:pos x="connsiteX3365" y="connsiteY3365"/>
                </a:cxn>
                <a:cxn ang="0">
                  <a:pos x="connsiteX3366" y="connsiteY3366"/>
                </a:cxn>
                <a:cxn ang="0">
                  <a:pos x="connsiteX3367" y="connsiteY3367"/>
                </a:cxn>
                <a:cxn ang="0">
                  <a:pos x="connsiteX3368" y="connsiteY3368"/>
                </a:cxn>
                <a:cxn ang="0">
                  <a:pos x="connsiteX3369" y="connsiteY3369"/>
                </a:cxn>
                <a:cxn ang="0">
                  <a:pos x="connsiteX3370" y="connsiteY3370"/>
                </a:cxn>
                <a:cxn ang="0">
                  <a:pos x="connsiteX3371" y="connsiteY3371"/>
                </a:cxn>
                <a:cxn ang="0">
                  <a:pos x="connsiteX3372" y="connsiteY3372"/>
                </a:cxn>
                <a:cxn ang="0">
                  <a:pos x="connsiteX3373" y="connsiteY3373"/>
                </a:cxn>
                <a:cxn ang="0">
                  <a:pos x="connsiteX3374" y="connsiteY3374"/>
                </a:cxn>
                <a:cxn ang="0">
                  <a:pos x="connsiteX3375" y="connsiteY3375"/>
                </a:cxn>
                <a:cxn ang="0">
                  <a:pos x="connsiteX3376" y="connsiteY3376"/>
                </a:cxn>
                <a:cxn ang="0">
                  <a:pos x="connsiteX3377" y="connsiteY3377"/>
                </a:cxn>
                <a:cxn ang="0">
                  <a:pos x="connsiteX3378" y="connsiteY3378"/>
                </a:cxn>
                <a:cxn ang="0">
                  <a:pos x="connsiteX3379" y="connsiteY3379"/>
                </a:cxn>
                <a:cxn ang="0">
                  <a:pos x="connsiteX3380" y="connsiteY3380"/>
                </a:cxn>
                <a:cxn ang="0">
                  <a:pos x="connsiteX3381" y="connsiteY3381"/>
                </a:cxn>
                <a:cxn ang="0">
                  <a:pos x="connsiteX3382" y="connsiteY3382"/>
                </a:cxn>
                <a:cxn ang="0">
                  <a:pos x="connsiteX3383" y="connsiteY3383"/>
                </a:cxn>
                <a:cxn ang="0">
                  <a:pos x="connsiteX3384" y="connsiteY3384"/>
                </a:cxn>
                <a:cxn ang="0">
                  <a:pos x="connsiteX3385" y="connsiteY3385"/>
                </a:cxn>
                <a:cxn ang="0">
                  <a:pos x="connsiteX3386" y="connsiteY3386"/>
                </a:cxn>
                <a:cxn ang="0">
                  <a:pos x="connsiteX3387" y="connsiteY3387"/>
                </a:cxn>
                <a:cxn ang="0">
                  <a:pos x="connsiteX3388" y="connsiteY3388"/>
                </a:cxn>
                <a:cxn ang="0">
                  <a:pos x="connsiteX3389" y="connsiteY3389"/>
                </a:cxn>
                <a:cxn ang="0">
                  <a:pos x="connsiteX3390" y="connsiteY3390"/>
                </a:cxn>
                <a:cxn ang="0">
                  <a:pos x="connsiteX3391" y="connsiteY3391"/>
                </a:cxn>
                <a:cxn ang="0">
                  <a:pos x="connsiteX3392" y="connsiteY3392"/>
                </a:cxn>
                <a:cxn ang="0">
                  <a:pos x="connsiteX3393" y="connsiteY3393"/>
                </a:cxn>
                <a:cxn ang="0">
                  <a:pos x="connsiteX3394" y="connsiteY3394"/>
                </a:cxn>
                <a:cxn ang="0">
                  <a:pos x="connsiteX3395" y="connsiteY3395"/>
                </a:cxn>
                <a:cxn ang="0">
                  <a:pos x="connsiteX3396" y="connsiteY3396"/>
                </a:cxn>
                <a:cxn ang="0">
                  <a:pos x="connsiteX3397" y="connsiteY3397"/>
                </a:cxn>
                <a:cxn ang="0">
                  <a:pos x="connsiteX3398" y="connsiteY3398"/>
                </a:cxn>
                <a:cxn ang="0">
                  <a:pos x="connsiteX3399" y="connsiteY3399"/>
                </a:cxn>
                <a:cxn ang="0">
                  <a:pos x="connsiteX3400" y="connsiteY3400"/>
                </a:cxn>
                <a:cxn ang="0">
                  <a:pos x="connsiteX3401" y="connsiteY3401"/>
                </a:cxn>
                <a:cxn ang="0">
                  <a:pos x="connsiteX3402" y="connsiteY3402"/>
                </a:cxn>
                <a:cxn ang="0">
                  <a:pos x="connsiteX3403" y="connsiteY3403"/>
                </a:cxn>
                <a:cxn ang="0">
                  <a:pos x="connsiteX3404" y="connsiteY3404"/>
                </a:cxn>
                <a:cxn ang="0">
                  <a:pos x="connsiteX3405" y="connsiteY3405"/>
                </a:cxn>
                <a:cxn ang="0">
                  <a:pos x="connsiteX3406" y="connsiteY3406"/>
                </a:cxn>
                <a:cxn ang="0">
                  <a:pos x="connsiteX3407" y="connsiteY3407"/>
                </a:cxn>
                <a:cxn ang="0">
                  <a:pos x="connsiteX3408" y="connsiteY3408"/>
                </a:cxn>
                <a:cxn ang="0">
                  <a:pos x="connsiteX3409" y="connsiteY3409"/>
                </a:cxn>
                <a:cxn ang="0">
                  <a:pos x="connsiteX3410" y="connsiteY3410"/>
                </a:cxn>
                <a:cxn ang="0">
                  <a:pos x="connsiteX3411" y="connsiteY3411"/>
                </a:cxn>
                <a:cxn ang="0">
                  <a:pos x="connsiteX3412" y="connsiteY3412"/>
                </a:cxn>
                <a:cxn ang="0">
                  <a:pos x="connsiteX3413" y="connsiteY3413"/>
                </a:cxn>
                <a:cxn ang="0">
                  <a:pos x="connsiteX3414" y="connsiteY3414"/>
                </a:cxn>
                <a:cxn ang="0">
                  <a:pos x="connsiteX3415" y="connsiteY3415"/>
                </a:cxn>
                <a:cxn ang="0">
                  <a:pos x="connsiteX3416" y="connsiteY3416"/>
                </a:cxn>
                <a:cxn ang="0">
                  <a:pos x="connsiteX3417" y="connsiteY3417"/>
                </a:cxn>
                <a:cxn ang="0">
                  <a:pos x="connsiteX3418" y="connsiteY3418"/>
                </a:cxn>
                <a:cxn ang="0">
                  <a:pos x="connsiteX3419" y="connsiteY3419"/>
                </a:cxn>
                <a:cxn ang="0">
                  <a:pos x="connsiteX3420" y="connsiteY3420"/>
                </a:cxn>
                <a:cxn ang="0">
                  <a:pos x="connsiteX3421" y="connsiteY3421"/>
                </a:cxn>
                <a:cxn ang="0">
                  <a:pos x="connsiteX3422" y="connsiteY3422"/>
                </a:cxn>
                <a:cxn ang="0">
                  <a:pos x="connsiteX3423" y="connsiteY3423"/>
                </a:cxn>
                <a:cxn ang="0">
                  <a:pos x="connsiteX3424" y="connsiteY3424"/>
                </a:cxn>
                <a:cxn ang="0">
                  <a:pos x="connsiteX3425" y="connsiteY3425"/>
                </a:cxn>
                <a:cxn ang="0">
                  <a:pos x="connsiteX3426" y="connsiteY3426"/>
                </a:cxn>
                <a:cxn ang="0">
                  <a:pos x="connsiteX3427" y="connsiteY3427"/>
                </a:cxn>
                <a:cxn ang="0">
                  <a:pos x="connsiteX3428" y="connsiteY3428"/>
                </a:cxn>
                <a:cxn ang="0">
                  <a:pos x="connsiteX3429" y="connsiteY3429"/>
                </a:cxn>
                <a:cxn ang="0">
                  <a:pos x="connsiteX3430" y="connsiteY3430"/>
                </a:cxn>
                <a:cxn ang="0">
                  <a:pos x="connsiteX3431" y="connsiteY3431"/>
                </a:cxn>
                <a:cxn ang="0">
                  <a:pos x="connsiteX3432" y="connsiteY3432"/>
                </a:cxn>
                <a:cxn ang="0">
                  <a:pos x="connsiteX3433" y="connsiteY3433"/>
                </a:cxn>
                <a:cxn ang="0">
                  <a:pos x="connsiteX3434" y="connsiteY3434"/>
                </a:cxn>
                <a:cxn ang="0">
                  <a:pos x="connsiteX3435" y="connsiteY3435"/>
                </a:cxn>
                <a:cxn ang="0">
                  <a:pos x="connsiteX3436" y="connsiteY3436"/>
                </a:cxn>
                <a:cxn ang="0">
                  <a:pos x="connsiteX3437" y="connsiteY3437"/>
                </a:cxn>
                <a:cxn ang="0">
                  <a:pos x="connsiteX3438" y="connsiteY3438"/>
                </a:cxn>
                <a:cxn ang="0">
                  <a:pos x="connsiteX3439" y="connsiteY3439"/>
                </a:cxn>
                <a:cxn ang="0">
                  <a:pos x="connsiteX3440" y="connsiteY3440"/>
                </a:cxn>
                <a:cxn ang="0">
                  <a:pos x="connsiteX3441" y="connsiteY3441"/>
                </a:cxn>
                <a:cxn ang="0">
                  <a:pos x="connsiteX3442" y="connsiteY3442"/>
                </a:cxn>
                <a:cxn ang="0">
                  <a:pos x="connsiteX3443" y="connsiteY3443"/>
                </a:cxn>
                <a:cxn ang="0">
                  <a:pos x="connsiteX3444" y="connsiteY3444"/>
                </a:cxn>
                <a:cxn ang="0">
                  <a:pos x="connsiteX3445" y="connsiteY3445"/>
                </a:cxn>
                <a:cxn ang="0">
                  <a:pos x="connsiteX3446" y="connsiteY3446"/>
                </a:cxn>
                <a:cxn ang="0">
                  <a:pos x="connsiteX3447" y="connsiteY3447"/>
                </a:cxn>
                <a:cxn ang="0">
                  <a:pos x="connsiteX3448" y="connsiteY3448"/>
                </a:cxn>
                <a:cxn ang="0">
                  <a:pos x="connsiteX3449" y="connsiteY3449"/>
                </a:cxn>
                <a:cxn ang="0">
                  <a:pos x="connsiteX3450" y="connsiteY3450"/>
                </a:cxn>
                <a:cxn ang="0">
                  <a:pos x="connsiteX3451" y="connsiteY3451"/>
                </a:cxn>
                <a:cxn ang="0">
                  <a:pos x="connsiteX3452" y="connsiteY3452"/>
                </a:cxn>
                <a:cxn ang="0">
                  <a:pos x="connsiteX3453" y="connsiteY3453"/>
                </a:cxn>
                <a:cxn ang="0">
                  <a:pos x="connsiteX3454" y="connsiteY3454"/>
                </a:cxn>
                <a:cxn ang="0">
                  <a:pos x="connsiteX3455" y="connsiteY3455"/>
                </a:cxn>
                <a:cxn ang="0">
                  <a:pos x="connsiteX3456" y="connsiteY3456"/>
                </a:cxn>
                <a:cxn ang="0">
                  <a:pos x="connsiteX3457" y="connsiteY3457"/>
                </a:cxn>
                <a:cxn ang="0">
                  <a:pos x="connsiteX3458" y="connsiteY3458"/>
                </a:cxn>
                <a:cxn ang="0">
                  <a:pos x="connsiteX3459" y="connsiteY3459"/>
                </a:cxn>
                <a:cxn ang="0">
                  <a:pos x="connsiteX3460" y="connsiteY3460"/>
                </a:cxn>
                <a:cxn ang="0">
                  <a:pos x="connsiteX3461" y="connsiteY3461"/>
                </a:cxn>
                <a:cxn ang="0">
                  <a:pos x="connsiteX3462" y="connsiteY3462"/>
                </a:cxn>
                <a:cxn ang="0">
                  <a:pos x="connsiteX3463" y="connsiteY3463"/>
                </a:cxn>
                <a:cxn ang="0">
                  <a:pos x="connsiteX3464" y="connsiteY3464"/>
                </a:cxn>
                <a:cxn ang="0">
                  <a:pos x="connsiteX3465" y="connsiteY3465"/>
                </a:cxn>
                <a:cxn ang="0">
                  <a:pos x="connsiteX3466" y="connsiteY3466"/>
                </a:cxn>
                <a:cxn ang="0">
                  <a:pos x="connsiteX3467" y="connsiteY3467"/>
                </a:cxn>
                <a:cxn ang="0">
                  <a:pos x="connsiteX3468" y="connsiteY3468"/>
                </a:cxn>
                <a:cxn ang="0">
                  <a:pos x="connsiteX3469" y="connsiteY3469"/>
                </a:cxn>
                <a:cxn ang="0">
                  <a:pos x="connsiteX3470" y="connsiteY3470"/>
                </a:cxn>
                <a:cxn ang="0">
                  <a:pos x="connsiteX3471" y="connsiteY3471"/>
                </a:cxn>
                <a:cxn ang="0">
                  <a:pos x="connsiteX3472" y="connsiteY3472"/>
                </a:cxn>
                <a:cxn ang="0">
                  <a:pos x="connsiteX3473" y="connsiteY3473"/>
                </a:cxn>
                <a:cxn ang="0">
                  <a:pos x="connsiteX3474" y="connsiteY3474"/>
                </a:cxn>
                <a:cxn ang="0">
                  <a:pos x="connsiteX3475" y="connsiteY3475"/>
                </a:cxn>
                <a:cxn ang="0">
                  <a:pos x="connsiteX3476" y="connsiteY3476"/>
                </a:cxn>
                <a:cxn ang="0">
                  <a:pos x="connsiteX3477" y="connsiteY3477"/>
                </a:cxn>
                <a:cxn ang="0">
                  <a:pos x="connsiteX3478" y="connsiteY3478"/>
                </a:cxn>
                <a:cxn ang="0">
                  <a:pos x="connsiteX3479" y="connsiteY3479"/>
                </a:cxn>
                <a:cxn ang="0">
                  <a:pos x="connsiteX3480" y="connsiteY3480"/>
                </a:cxn>
                <a:cxn ang="0">
                  <a:pos x="connsiteX3481" y="connsiteY3481"/>
                </a:cxn>
                <a:cxn ang="0">
                  <a:pos x="connsiteX3482" y="connsiteY3482"/>
                </a:cxn>
                <a:cxn ang="0">
                  <a:pos x="connsiteX3483" y="connsiteY3483"/>
                </a:cxn>
                <a:cxn ang="0">
                  <a:pos x="connsiteX3484" y="connsiteY3484"/>
                </a:cxn>
                <a:cxn ang="0">
                  <a:pos x="connsiteX3485" y="connsiteY3485"/>
                </a:cxn>
                <a:cxn ang="0">
                  <a:pos x="connsiteX3486" y="connsiteY3486"/>
                </a:cxn>
                <a:cxn ang="0">
                  <a:pos x="connsiteX3487" y="connsiteY3487"/>
                </a:cxn>
                <a:cxn ang="0">
                  <a:pos x="connsiteX3488" y="connsiteY3488"/>
                </a:cxn>
                <a:cxn ang="0">
                  <a:pos x="connsiteX3489" y="connsiteY3489"/>
                </a:cxn>
                <a:cxn ang="0">
                  <a:pos x="connsiteX3490" y="connsiteY3490"/>
                </a:cxn>
                <a:cxn ang="0">
                  <a:pos x="connsiteX3491" y="connsiteY3491"/>
                </a:cxn>
                <a:cxn ang="0">
                  <a:pos x="connsiteX3492" y="connsiteY3492"/>
                </a:cxn>
                <a:cxn ang="0">
                  <a:pos x="connsiteX3493" y="connsiteY3493"/>
                </a:cxn>
                <a:cxn ang="0">
                  <a:pos x="connsiteX3494" y="connsiteY3494"/>
                </a:cxn>
                <a:cxn ang="0">
                  <a:pos x="connsiteX3495" y="connsiteY3495"/>
                </a:cxn>
                <a:cxn ang="0">
                  <a:pos x="connsiteX3496" y="connsiteY3496"/>
                </a:cxn>
                <a:cxn ang="0">
                  <a:pos x="connsiteX3497" y="connsiteY3497"/>
                </a:cxn>
                <a:cxn ang="0">
                  <a:pos x="connsiteX3498" y="connsiteY3498"/>
                </a:cxn>
                <a:cxn ang="0">
                  <a:pos x="connsiteX3499" y="connsiteY3499"/>
                </a:cxn>
                <a:cxn ang="0">
                  <a:pos x="connsiteX3500" y="connsiteY3500"/>
                </a:cxn>
                <a:cxn ang="0">
                  <a:pos x="connsiteX3501" y="connsiteY3501"/>
                </a:cxn>
                <a:cxn ang="0">
                  <a:pos x="connsiteX3502" y="connsiteY3502"/>
                </a:cxn>
                <a:cxn ang="0">
                  <a:pos x="connsiteX3503" y="connsiteY3503"/>
                </a:cxn>
                <a:cxn ang="0">
                  <a:pos x="connsiteX3504" y="connsiteY3504"/>
                </a:cxn>
                <a:cxn ang="0">
                  <a:pos x="connsiteX3505" y="connsiteY3505"/>
                </a:cxn>
                <a:cxn ang="0">
                  <a:pos x="connsiteX3506" y="connsiteY3506"/>
                </a:cxn>
                <a:cxn ang="0">
                  <a:pos x="connsiteX3507" y="connsiteY3507"/>
                </a:cxn>
                <a:cxn ang="0">
                  <a:pos x="connsiteX3508" y="connsiteY3508"/>
                </a:cxn>
                <a:cxn ang="0">
                  <a:pos x="connsiteX3509" y="connsiteY3509"/>
                </a:cxn>
                <a:cxn ang="0">
                  <a:pos x="connsiteX3510" y="connsiteY3510"/>
                </a:cxn>
                <a:cxn ang="0">
                  <a:pos x="connsiteX3511" y="connsiteY3511"/>
                </a:cxn>
                <a:cxn ang="0">
                  <a:pos x="connsiteX3512" y="connsiteY3512"/>
                </a:cxn>
                <a:cxn ang="0">
                  <a:pos x="connsiteX3513" y="connsiteY3513"/>
                </a:cxn>
                <a:cxn ang="0">
                  <a:pos x="connsiteX3514" y="connsiteY3514"/>
                </a:cxn>
                <a:cxn ang="0">
                  <a:pos x="connsiteX3515" y="connsiteY3515"/>
                </a:cxn>
                <a:cxn ang="0">
                  <a:pos x="connsiteX3516" y="connsiteY3516"/>
                </a:cxn>
                <a:cxn ang="0">
                  <a:pos x="connsiteX3517" y="connsiteY3517"/>
                </a:cxn>
                <a:cxn ang="0">
                  <a:pos x="connsiteX3518" y="connsiteY3518"/>
                </a:cxn>
                <a:cxn ang="0">
                  <a:pos x="connsiteX3519" y="connsiteY3519"/>
                </a:cxn>
                <a:cxn ang="0">
                  <a:pos x="connsiteX3520" y="connsiteY3520"/>
                </a:cxn>
                <a:cxn ang="0">
                  <a:pos x="connsiteX3521" y="connsiteY3521"/>
                </a:cxn>
                <a:cxn ang="0">
                  <a:pos x="connsiteX3522" y="connsiteY3522"/>
                </a:cxn>
                <a:cxn ang="0">
                  <a:pos x="connsiteX3523" y="connsiteY3523"/>
                </a:cxn>
                <a:cxn ang="0">
                  <a:pos x="connsiteX3524" y="connsiteY3524"/>
                </a:cxn>
                <a:cxn ang="0">
                  <a:pos x="connsiteX3525" y="connsiteY3525"/>
                </a:cxn>
                <a:cxn ang="0">
                  <a:pos x="connsiteX3526" y="connsiteY3526"/>
                </a:cxn>
                <a:cxn ang="0">
                  <a:pos x="connsiteX3527" y="connsiteY3527"/>
                </a:cxn>
                <a:cxn ang="0">
                  <a:pos x="connsiteX3528" y="connsiteY3528"/>
                </a:cxn>
                <a:cxn ang="0">
                  <a:pos x="connsiteX3529" y="connsiteY3529"/>
                </a:cxn>
                <a:cxn ang="0">
                  <a:pos x="connsiteX3530" y="connsiteY3530"/>
                </a:cxn>
                <a:cxn ang="0">
                  <a:pos x="connsiteX3531" y="connsiteY3531"/>
                </a:cxn>
                <a:cxn ang="0">
                  <a:pos x="connsiteX3532" y="connsiteY3532"/>
                </a:cxn>
                <a:cxn ang="0">
                  <a:pos x="connsiteX3533" y="connsiteY3533"/>
                </a:cxn>
                <a:cxn ang="0">
                  <a:pos x="connsiteX3534" y="connsiteY3534"/>
                </a:cxn>
                <a:cxn ang="0">
                  <a:pos x="connsiteX3535" y="connsiteY3535"/>
                </a:cxn>
                <a:cxn ang="0">
                  <a:pos x="connsiteX3536" y="connsiteY3536"/>
                </a:cxn>
                <a:cxn ang="0">
                  <a:pos x="connsiteX3537" y="connsiteY3537"/>
                </a:cxn>
                <a:cxn ang="0">
                  <a:pos x="connsiteX3538" y="connsiteY3538"/>
                </a:cxn>
                <a:cxn ang="0">
                  <a:pos x="connsiteX3539" y="connsiteY3539"/>
                </a:cxn>
                <a:cxn ang="0">
                  <a:pos x="connsiteX3540" y="connsiteY3540"/>
                </a:cxn>
                <a:cxn ang="0">
                  <a:pos x="connsiteX3541" y="connsiteY3541"/>
                </a:cxn>
                <a:cxn ang="0">
                  <a:pos x="connsiteX3542" y="connsiteY3542"/>
                </a:cxn>
                <a:cxn ang="0">
                  <a:pos x="connsiteX3543" y="connsiteY3543"/>
                </a:cxn>
                <a:cxn ang="0">
                  <a:pos x="connsiteX3544" y="connsiteY3544"/>
                </a:cxn>
                <a:cxn ang="0">
                  <a:pos x="connsiteX3545" y="connsiteY3545"/>
                </a:cxn>
                <a:cxn ang="0">
                  <a:pos x="connsiteX3546" y="connsiteY3546"/>
                </a:cxn>
                <a:cxn ang="0">
                  <a:pos x="connsiteX3547" y="connsiteY3547"/>
                </a:cxn>
                <a:cxn ang="0">
                  <a:pos x="connsiteX3548" y="connsiteY3548"/>
                </a:cxn>
                <a:cxn ang="0">
                  <a:pos x="connsiteX3549" y="connsiteY3549"/>
                </a:cxn>
                <a:cxn ang="0">
                  <a:pos x="connsiteX3550" y="connsiteY3550"/>
                </a:cxn>
                <a:cxn ang="0">
                  <a:pos x="connsiteX3551" y="connsiteY3551"/>
                </a:cxn>
                <a:cxn ang="0">
                  <a:pos x="connsiteX3552" y="connsiteY3552"/>
                </a:cxn>
                <a:cxn ang="0">
                  <a:pos x="connsiteX3553" y="connsiteY3553"/>
                </a:cxn>
                <a:cxn ang="0">
                  <a:pos x="connsiteX3554" y="connsiteY3554"/>
                </a:cxn>
                <a:cxn ang="0">
                  <a:pos x="connsiteX3555" y="connsiteY3555"/>
                </a:cxn>
                <a:cxn ang="0">
                  <a:pos x="connsiteX3556" y="connsiteY3556"/>
                </a:cxn>
                <a:cxn ang="0">
                  <a:pos x="connsiteX3557" y="connsiteY3557"/>
                </a:cxn>
                <a:cxn ang="0">
                  <a:pos x="connsiteX3558" y="connsiteY3558"/>
                </a:cxn>
                <a:cxn ang="0">
                  <a:pos x="connsiteX3559" y="connsiteY3559"/>
                </a:cxn>
                <a:cxn ang="0">
                  <a:pos x="connsiteX3560" y="connsiteY3560"/>
                </a:cxn>
                <a:cxn ang="0">
                  <a:pos x="connsiteX3561" y="connsiteY3561"/>
                </a:cxn>
                <a:cxn ang="0">
                  <a:pos x="connsiteX3562" y="connsiteY3562"/>
                </a:cxn>
                <a:cxn ang="0">
                  <a:pos x="connsiteX3563" y="connsiteY3563"/>
                </a:cxn>
                <a:cxn ang="0">
                  <a:pos x="connsiteX3564" y="connsiteY3564"/>
                </a:cxn>
                <a:cxn ang="0">
                  <a:pos x="connsiteX3565" y="connsiteY3565"/>
                </a:cxn>
                <a:cxn ang="0">
                  <a:pos x="connsiteX3566" y="connsiteY3566"/>
                </a:cxn>
                <a:cxn ang="0">
                  <a:pos x="connsiteX3567" y="connsiteY3567"/>
                </a:cxn>
                <a:cxn ang="0">
                  <a:pos x="connsiteX3568" y="connsiteY3568"/>
                </a:cxn>
                <a:cxn ang="0">
                  <a:pos x="connsiteX3569" y="connsiteY3569"/>
                </a:cxn>
                <a:cxn ang="0">
                  <a:pos x="connsiteX3570" y="connsiteY3570"/>
                </a:cxn>
                <a:cxn ang="0">
                  <a:pos x="connsiteX3571" y="connsiteY3571"/>
                </a:cxn>
                <a:cxn ang="0">
                  <a:pos x="connsiteX3572" y="connsiteY3572"/>
                </a:cxn>
                <a:cxn ang="0">
                  <a:pos x="connsiteX3573" y="connsiteY3573"/>
                </a:cxn>
                <a:cxn ang="0">
                  <a:pos x="connsiteX3574" y="connsiteY3574"/>
                </a:cxn>
                <a:cxn ang="0">
                  <a:pos x="connsiteX3575" y="connsiteY3575"/>
                </a:cxn>
                <a:cxn ang="0">
                  <a:pos x="connsiteX3576" y="connsiteY3576"/>
                </a:cxn>
                <a:cxn ang="0">
                  <a:pos x="connsiteX3577" y="connsiteY3577"/>
                </a:cxn>
                <a:cxn ang="0">
                  <a:pos x="connsiteX3578" y="connsiteY3578"/>
                </a:cxn>
                <a:cxn ang="0">
                  <a:pos x="connsiteX3579" y="connsiteY3579"/>
                </a:cxn>
                <a:cxn ang="0">
                  <a:pos x="connsiteX3580" y="connsiteY3580"/>
                </a:cxn>
                <a:cxn ang="0">
                  <a:pos x="connsiteX3581" y="connsiteY3581"/>
                </a:cxn>
              </a:cxnLst>
              <a:rect l="l" t="t" r="r" b="b"/>
              <a:pathLst>
                <a:path w="1012061" h="372939">
                  <a:moveTo>
                    <a:pt x="622497" y="363163"/>
                  </a:moveTo>
                  <a:lnTo>
                    <a:pt x="622775" y="363218"/>
                  </a:lnTo>
                  <a:lnTo>
                    <a:pt x="623041" y="365289"/>
                  </a:lnTo>
                  <a:lnTo>
                    <a:pt x="623699" y="366520"/>
                  </a:lnTo>
                  <a:lnTo>
                    <a:pt x="623816" y="367160"/>
                  </a:lnTo>
                  <a:lnTo>
                    <a:pt x="621440" y="368215"/>
                  </a:lnTo>
                  <a:lnTo>
                    <a:pt x="619320" y="370624"/>
                  </a:lnTo>
                  <a:lnTo>
                    <a:pt x="614686" y="372195"/>
                  </a:lnTo>
                  <a:lnTo>
                    <a:pt x="613440" y="372931"/>
                  </a:lnTo>
                  <a:lnTo>
                    <a:pt x="611382" y="372939"/>
                  </a:lnTo>
                  <a:lnTo>
                    <a:pt x="610726" y="372703"/>
                  </a:lnTo>
                  <a:lnTo>
                    <a:pt x="610555" y="370733"/>
                  </a:lnTo>
                  <a:lnTo>
                    <a:pt x="611158" y="369632"/>
                  </a:lnTo>
                  <a:lnTo>
                    <a:pt x="615928" y="368215"/>
                  </a:lnTo>
                  <a:lnTo>
                    <a:pt x="617793" y="366907"/>
                  </a:lnTo>
                  <a:lnTo>
                    <a:pt x="620439" y="364185"/>
                  </a:lnTo>
                  <a:lnTo>
                    <a:pt x="622080" y="363471"/>
                  </a:lnTo>
                  <a:close/>
                  <a:moveTo>
                    <a:pt x="591341" y="362281"/>
                  </a:moveTo>
                  <a:lnTo>
                    <a:pt x="592421" y="362594"/>
                  </a:lnTo>
                  <a:lnTo>
                    <a:pt x="592045" y="364414"/>
                  </a:lnTo>
                  <a:lnTo>
                    <a:pt x="589870" y="365798"/>
                  </a:lnTo>
                  <a:lnTo>
                    <a:pt x="588767" y="366062"/>
                  </a:lnTo>
                  <a:lnTo>
                    <a:pt x="586402" y="365414"/>
                  </a:lnTo>
                  <a:lnTo>
                    <a:pt x="585928" y="365023"/>
                  </a:lnTo>
                  <a:lnTo>
                    <a:pt x="587953" y="363945"/>
                  </a:lnTo>
                  <a:lnTo>
                    <a:pt x="589516" y="362412"/>
                  </a:lnTo>
                  <a:close/>
                  <a:moveTo>
                    <a:pt x="624714" y="355734"/>
                  </a:moveTo>
                  <a:lnTo>
                    <a:pt x="625491" y="356560"/>
                  </a:lnTo>
                  <a:lnTo>
                    <a:pt x="625555" y="356940"/>
                  </a:lnTo>
                  <a:lnTo>
                    <a:pt x="623526" y="357681"/>
                  </a:lnTo>
                  <a:lnTo>
                    <a:pt x="623773" y="359368"/>
                  </a:lnTo>
                  <a:lnTo>
                    <a:pt x="621778" y="360147"/>
                  </a:lnTo>
                  <a:lnTo>
                    <a:pt x="621769" y="358509"/>
                  </a:lnTo>
                  <a:lnTo>
                    <a:pt x="623311" y="356436"/>
                  </a:lnTo>
                  <a:close/>
                  <a:moveTo>
                    <a:pt x="546953" y="337021"/>
                  </a:moveTo>
                  <a:lnTo>
                    <a:pt x="547654" y="337470"/>
                  </a:lnTo>
                  <a:lnTo>
                    <a:pt x="548510" y="338654"/>
                  </a:lnTo>
                  <a:lnTo>
                    <a:pt x="549508" y="339659"/>
                  </a:lnTo>
                  <a:lnTo>
                    <a:pt x="553122" y="341591"/>
                  </a:lnTo>
                  <a:lnTo>
                    <a:pt x="553718" y="342405"/>
                  </a:lnTo>
                  <a:lnTo>
                    <a:pt x="553945" y="343750"/>
                  </a:lnTo>
                  <a:lnTo>
                    <a:pt x="554670" y="344748"/>
                  </a:lnTo>
                  <a:lnTo>
                    <a:pt x="556299" y="344900"/>
                  </a:lnTo>
                  <a:lnTo>
                    <a:pt x="558044" y="344698"/>
                  </a:lnTo>
                  <a:lnTo>
                    <a:pt x="559371" y="345332"/>
                  </a:lnTo>
                  <a:lnTo>
                    <a:pt x="560518" y="346336"/>
                  </a:lnTo>
                  <a:lnTo>
                    <a:pt x="562222" y="348287"/>
                  </a:lnTo>
                  <a:lnTo>
                    <a:pt x="563721" y="350446"/>
                  </a:lnTo>
                  <a:lnTo>
                    <a:pt x="565580" y="351649"/>
                  </a:lnTo>
                  <a:lnTo>
                    <a:pt x="566644" y="353446"/>
                  </a:lnTo>
                  <a:lnTo>
                    <a:pt x="566016" y="355031"/>
                  </a:lnTo>
                  <a:lnTo>
                    <a:pt x="563669" y="357223"/>
                  </a:lnTo>
                  <a:lnTo>
                    <a:pt x="562394" y="357699"/>
                  </a:lnTo>
                  <a:lnTo>
                    <a:pt x="560654" y="357871"/>
                  </a:lnTo>
                  <a:lnTo>
                    <a:pt x="557944" y="359176"/>
                  </a:lnTo>
                  <a:lnTo>
                    <a:pt x="556957" y="358493"/>
                  </a:lnTo>
                  <a:lnTo>
                    <a:pt x="553882" y="358020"/>
                  </a:lnTo>
                  <a:lnTo>
                    <a:pt x="551435" y="357077"/>
                  </a:lnTo>
                  <a:lnTo>
                    <a:pt x="549382" y="355352"/>
                  </a:lnTo>
                  <a:lnTo>
                    <a:pt x="548198" y="353496"/>
                  </a:lnTo>
                  <a:lnTo>
                    <a:pt x="546700" y="351861"/>
                  </a:lnTo>
                  <a:lnTo>
                    <a:pt x="544093" y="350766"/>
                  </a:lnTo>
                  <a:lnTo>
                    <a:pt x="539412" y="347553"/>
                  </a:lnTo>
                  <a:lnTo>
                    <a:pt x="536521" y="347263"/>
                  </a:lnTo>
                  <a:lnTo>
                    <a:pt x="535331" y="347498"/>
                  </a:lnTo>
                  <a:lnTo>
                    <a:pt x="534139" y="347514"/>
                  </a:lnTo>
                  <a:lnTo>
                    <a:pt x="528011" y="346066"/>
                  </a:lnTo>
                  <a:lnTo>
                    <a:pt x="527059" y="345221"/>
                  </a:lnTo>
                  <a:lnTo>
                    <a:pt x="526307" y="344138"/>
                  </a:lnTo>
                  <a:lnTo>
                    <a:pt x="525620" y="343074"/>
                  </a:lnTo>
                  <a:lnTo>
                    <a:pt x="525210" y="341881"/>
                  </a:lnTo>
                  <a:lnTo>
                    <a:pt x="525991" y="340826"/>
                  </a:lnTo>
                  <a:lnTo>
                    <a:pt x="526817" y="340116"/>
                  </a:lnTo>
                  <a:lnTo>
                    <a:pt x="530226" y="338872"/>
                  </a:lnTo>
                  <a:lnTo>
                    <a:pt x="532664" y="338487"/>
                  </a:lnTo>
                  <a:lnTo>
                    <a:pt x="535495" y="338545"/>
                  </a:lnTo>
                  <a:lnTo>
                    <a:pt x="539714" y="338158"/>
                  </a:lnTo>
                  <a:lnTo>
                    <a:pt x="543703" y="338783"/>
                  </a:lnTo>
                  <a:lnTo>
                    <a:pt x="544934" y="338317"/>
                  </a:lnTo>
                  <a:close/>
                  <a:moveTo>
                    <a:pt x="657075" y="329018"/>
                  </a:moveTo>
                  <a:lnTo>
                    <a:pt x="656915" y="331003"/>
                  </a:lnTo>
                  <a:lnTo>
                    <a:pt x="657396" y="331491"/>
                  </a:lnTo>
                  <a:lnTo>
                    <a:pt x="658202" y="331732"/>
                  </a:lnTo>
                  <a:lnTo>
                    <a:pt x="661014" y="330389"/>
                  </a:lnTo>
                  <a:lnTo>
                    <a:pt x="661545" y="330644"/>
                  </a:lnTo>
                  <a:lnTo>
                    <a:pt x="662089" y="331249"/>
                  </a:lnTo>
                  <a:lnTo>
                    <a:pt x="662098" y="333041"/>
                  </a:lnTo>
                  <a:lnTo>
                    <a:pt x="661016" y="334532"/>
                  </a:lnTo>
                  <a:lnTo>
                    <a:pt x="658297" y="334645"/>
                  </a:lnTo>
                  <a:lnTo>
                    <a:pt x="657913" y="335065"/>
                  </a:lnTo>
                  <a:lnTo>
                    <a:pt x="657879" y="335978"/>
                  </a:lnTo>
                  <a:lnTo>
                    <a:pt x="658092" y="336860"/>
                  </a:lnTo>
                  <a:lnTo>
                    <a:pt x="658727" y="337568"/>
                  </a:lnTo>
                  <a:lnTo>
                    <a:pt x="659537" y="338813"/>
                  </a:lnTo>
                  <a:lnTo>
                    <a:pt x="660301" y="341715"/>
                  </a:lnTo>
                  <a:lnTo>
                    <a:pt x="658748" y="342906"/>
                  </a:lnTo>
                  <a:lnTo>
                    <a:pt x="657978" y="345144"/>
                  </a:lnTo>
                  <a:lnTo>
                    <a:pt x="655296" y="347245"/>
                  </a:lnTo>
                  <a:lnTo>
                    <a:pt x="652346" y="350692"/>
                  </a:lnTo>
                  <a:lnTo>
                    <a:pt x="649990" y="352451"/>
                  </a:lnTo>
                  <a:lnTo>
                    <a:pt x="647920" y="354532"/>
                  </a:lnTo>
                  <a:lnTo>
                    <a:pt x="646135" y="355928"/>
                  </a:lnTo>
                  <a:lnTo>
                    <a:pt x="643907" y="356401"/>
                  </a:lnTo>
                  <a:lnTo>
                    <a:pt x="640573" y="356702"/>
                  </a:lnTo>
                  <a:lnTo>
                    <a:pt x="636043" y="359193"/>
                  </a:lnTo>
                  <a:lnTo>
                    <a:pt x="633534" y="360282"/>
                  </a:lnTo>
                  <a:lnTo>
                    <a:pt x="631093" y="360363"/>
                  </a:lnTo>
                  <a:lnTo>
                    <a:pt x="628813" y="359553"/>
                  </a:lnTo>
                  <a:lnTo>
                    <a:pt x="627942" y="358642"/>
                  </a:lnTo>
                  <a:lnTo>
                    <a:pt x="628148" y="357411"/>
                  </a:lnTo>
                  <a:lnTo>
                    <a:pt x="628904" y="356355"/>
                  </a:lnTo>
                  <a:lnTo>
                    <a:pt x="629830" y="355485"/>
                  </a:lnTo>
                  <a:lnTo>
                    <a:pt x="630410" y="354364"/>
                  </a:lnTo>
                  <a:lnTo>
                    <a:pt x="627824" y="352947"/>
                  </a:lnTo>
                  <a:lnTo>
                    <a:pt x="627599" y="351867"/>
                  </a:lnTo>
                  <a:lnTo>
                    <a:pt x="628627" y="348994"/>
                  </a:lnTo>
                  <a:lnTo>
                    <a:pt x="629292" y="346029"/>
                  </a:lnTo>
                  <a:lnTo>
                    <a:pt x="630255" y="344011"/>
                  </a:lnTo>
                  <a:lnTo>
                    <a:pt x="633957" y="340403"/>
                  </a:lnTo>
                  <a:lnTo>
                    <a:pt x="636177" y="338615"/>
                  </a:lnTo>
                  <a:lnTo>
                    <a:pt x="637485" y="337916"/>
                  </a:lnTo>
                  <a:lnTo>
                    <a:pt x="637842" y="338669"/>
                  </a:lnTo>
                  <a:lnTo>
                    <a:pt x="638675" y="339585"/>
                  </a:lnTo>
                  <a:lnTo>
                    <a:pt x="639236" y="339735"/>
                  </a:lnTo>
                  <a:lnTo>
                    <a:pt x="639657" y="339528"/>
                  </a:lnTo>
                  <a:lnTo>
                    <a:pt x="642924" y="339841"/>
                  </a:lnTo>
                  <a:lnTo>
                    <a:pt x="643743" y="339526"/>
                  </a:lnTo>
                  <a:lnTo>
                    <a:pt x="644989" y="338101"/>
                  </a:lnTo>
                  <a:lnTo>
                    <a:pt x="645813" y="337308"/>
                  </a:lnTo>
                  <a:lnTo>
                    <a:pt x="646373" y="335618"/>
                  </a:lnTo>
                  <a:lnTo>
                    <a:pt x="646509" y="334543"/>
                  </a:lnTo>
                  <a:lnTo>
                    <a:pt x="649407" y="333764"/>
                  </a:lnTo>
                  <a:lnTo>
                    <a:pt x="650964" y="332901"/>
                  </a:lnTo>
                  <a:lnTo>
                    <a:pt x="652342" y="331678"/>
                  </a:lnTo>
                  <a:lnTo>
                    <a:pt x="656356" y="329597"/>
                  </a:lnTo>
                  <a:close/>
                  <a:moveTo>
                    <a:pt x="450087" y="322946"/>
                  </a:moveTo>
                  <a:lnTo>
                    <a:pt x="451234" y="323909"/>
                  </a:lnTo>
                  <a:lnTo>
                    <a:pt x="451160" y="325171"/>
                  </a:lnTo>
                  <a:lnTo>
                    <a:pt x="450541" y="325937"/>
                  </a:lnTo>
                  <a:lnTo>
                    <a:pt x="448748" y="324571"/>
                  </a:lnTo>
                  <a:lnTo>
                    <a:pt x="448297" y="323959"/>
                  </a:lnTo>
                  <a:lnTo>
                    <a:pt x="449627" y="323067"/>
                  </a:lnTo>
                  <a:close/>
                  <a:moveTo>
                    <a:pt x="616548" y="317822"/>
                  </a:moveTo>
                  <a:lnTo>
                    <a:pt x="617618" y="318202"/>
                  </a:lnTo>
                  <a:lnTo>
                    <a:pt x="617955" y="318622"/>
                  </a:lnTo>
                  <a:lnTo>
                    <a:pt x="615235" y="319046"/>
                  </a:lnTo>
                  <a:lnTo>
                    <a:pt x="614069" y="320168"/>
                  </a:lnTo>
                  <a:lnTo>
                    <a:pt x="613365" y="321477"/>
                  </a:lnTo>
                  <a:lnTo>
                    <a:pt x="612088" y="321105"/>
                  </a:lnTo>
                  <a:lnTo>
                    <a:pt x="612436" y="319844"/>
                  </a:lnTo>
                  <a:lnTo>
                    <a:pt x="613084" y="319096"/>
                  </a:lnTo>
                  <a:lnTo>
                    <a:pt x="614803" y="318011"/>
                  </a:lnTo>
                  <a:close/>
                  <a:moveTo>
                    <a:pt x="535994" y="317584"/>
                  </a:moveTo>
                  <a:lnTo>
                    <a:pt x="536525" y="318174"/>
                  </a:lnTo>
                  <a:lnTo>
                    <a:pt x="536774" y="318559"/>
                  </a:lnTo>
                  <a:lnTo>
                    <a:pt x="537225" y="318739"/>
                  </a:lnTo>
                  <a:lnTo>
                    <a:pt x="538216" y="318774"/>
                  </a:lnTo>
                  <a:lnTo>
                    <a:pt x="538442" y="319581"/>
                  </a:lnTo>
                  <a:lnTo>
                    <a:pt x="538404" y="320350"/>
                  </a:lnTo>
                  <a:lnTo>
                    <a:pt x="537980" y="321151"/>
                  </a:lnTo>
                  <a:lnTo>
                    <a:pt x="536797" y="322017"/>
                  </a:lnTo>
                  <a:lnTo>
                    <a:pt x="535940" y="322987"/>
                  </a:lnTo>
                  <a:lnTo>
                    <a:pt x="536383" y="324529"/>
                  </a:lnTo>
                  <a:lnTo>
                    <a:pt x="535516" y="324740"/>
                  </a:lnTo>
                  <a:lnTo>
                    <a:pt x="534647" y="324418"/>
                  </a:lnTo>
                  <a:lnTo>
                    <a:pt x="535002" y="322436"/>
                  </a:lnTo>
                  <a:lnTo>
                    <a:pt x="534499" y="321088"/>
                  </a:lnTo>
                  <a:lnTo>
                    <a:pt x="535406" y="320031"/>
                  </a:lnTo>
                  <a:lnTo>
                    <a:pt x="535633" y="318158"/>
                  </a:lnTo>
                  <a:close/>
                  <a:moveTo>
                    <a:pt x="619370" y="313271"/>
                  </a:moveTo>
                  <a:lnTo>
                    <a:pt x="622000" y="314019"/>
                  </a:lnTo>
                  <a:lnTo>
                    <a:pt x="621590" y="315927"/>
                  </a:lnTo>
                  <a:lnTo>
                    <a:pt x="621143" y="316904"/>
                  </a:lnTo>
                  <a:lnTo>
                    <a:pt x="615122" y="316834"/>
                  </a:lnTo>
                  <a:lnTo>
                    <a:pt x="615291" y="315549"/>
                  </a:lnTo>
                  <a:lnTo>
                    <a:pt x="616964" y="314147"/>
                  </a:lnTo>
                  <a:lnTo>
                    <a:pt x="617521" y="313680"/>
                  </a:lnTo>
                  <a:close/>
                  <a:moveTo>
                    <a:pt x="468664" y="312575"/>
                  </a:moveTo>
                  <a:lnTo>
                    <a:pt x="474091" y="314323"/>
                  </a:lnTo>
                  <a:lnTo>
                    <a:pt x="474987" y="314799"/>
                  </a:lnTo>
                  <a:lnTo>
                    <a:pt x="475682" y="315510"/>
                  </a:lnTo>
                  <a:lnTo>
                    <a:pt x="476017" y="316643"/>
                  </a:lnTo>
                  <a:lnTo>
                    <a:pt x="473955" y="321697"/>
                  </a:lnTo>
                  <a:lnTo>
                    <a:pt x="471156" y="326311"/>
                  </a:lnTo>
                  <a:lnTo>
                    <a:pt x="472153" y="327055"/>
                  </a:lnTo>
                  <a:lnTo>
                    <a:pt x="472754" y="327762"/>
                  </a:lnTo>
                  <a:lnTo>
                    <a:pt x="468127" y="328718"/>
                  </a:lnTo>
                  <a:lnTo>
                    <a:pt x="466194" y="328208"/>
                  </a:lnTo>
                  <a:lnTo>
                    <a:pt x="465077" y="328341"/>
                  </a:lnTo>
                  <a:lnTo>
                    <a:pt x="460377" y="327473"/>
                  </a:lnTo>
                  <a:lnTo>
                    <a:pt x="457013" y="326413"/>
                  </a:lnTo>
                  <a:lnTo>
                    <a:pt x="456630" y="325573"/>
                  </a:lnTo>
                  <a:lnTo>
                    <a:pt x="456896" y="324568"/>
                  </a:lnTo>
                  <a:lnTo>
                    <a:pt x="457893" y="324908"/>
                  </a:lnTo>
                  <a:lnTo>
                    <a:pt x="460484" y="325069"/>
                  </a:lnTo>
                  <a:lnTo>
                    <a:pt x="461475" y="324616"/>
                  </a:lnTo>
                  <a:lnTo>
                    <a:pt x="461504" y="321640"/>
                  </a:lnTo>
                  <a:lnTo>
                    <a:pt x="461136" y="317767"/>
                  </a:lnTo>
                  <a:lnTo>
                    <a:pt x="464645" y="314602"/>
                  </a:lnTo>
                  <a:lnTo>
                    <a:pt x="466514" y="313328"/>
                  </a:lnTo>
                  <a:close/>
                  <a:moveTo>
                    <a:pt x="642555" y="312521"/>
                  </a:moveTo>
                  <a:lnTo>
                    <a:pt x="643031" y="312675"/>
                  </a:lnTo>
                  <a:lnTo>
                    <a:pt x="643414" y="313123"/>
                  </a:lnTo>
                  <a:lnTo>
                    <a:pt x="643019" y="315365"/>
                  </a:lnTo>
                  <a:lnTo>
                    <a:pt x="641674" y="316741"/>
                  </a:lnTo>
                  <a:lnTo>
                    <a:pt x="640759" y="319133"/>
                  </a:lnTo>
                  <a:lnTo>
                    <a:pt x="639925" y="319861"/>
                  </a:lnTo>
                  <a:lnTo>
                    <a:pt x="638135" y="320311"/>
                  </a:lnTo>
                  <a:lnTo>
                    <a:pt x="637064" y="317911"/>
                  </a:lnTo>
                  <a:lnTo>
                    <a:pt x="635084" y="318024"/>
                  </a:lnTo>
                  <a:lnTo>
                    <a:pt x="636051" y="315912"/>
                  </a:lnTo>
                  <a:lnTo>
                    <a:pt x="636986" y="315123"/>
                  </a:lnTo>
                  <a:lnTo>
                    <a:pt x="638201" y="315103"/>
                  </a:lnTo>
                  <a:lnTo>
                    <a:pt x="638800" y="315958"/>
                  </a:lnTo>
                  <a:lnTo>
                    <a:pt x="639126" y="316139"/>
                  </a:lnTo>
                  <a:lnTo>
                    <a:pt x="641979" y="312558"/>
                  </a:lnTo>
                  <a:close/>
                  <a:moveTo>
                    <a:pt x="631728" y="312269"/>
                  </a:moveTo>
                  <a:lnTo>
                    <a:pt x="633265" y="312780"/>
                  </a:lnTo>
                  <a:lnTo>
                    <a:pt x="634384" y="313356"/>
                  </a:lnTo>
                  <a:lnTo>
                    <a:pt x="635019" y="314095"/>
                  </a:lnTo>
                  <a:lnTo>
                    <a:pt x="631903" y="314699"/>
                  </a:lnTo>
                  <a:lnTo>
                    <a:pt x="630000" y="317478"/>
                  </a:lnTo>
                  <a:lnTo>
                    <a:pt x="628483" y="317434"/>
                  </a:lnTo>
                  <a:lnTo>
                    <a:pt x="627651" y="318670"/>
                  </a:lnTo>
                  <a:lnTo>
                    <a:pt x="627453" y="319198"/>
                  </a:lnTo>
                  <a:lnTo>
                    <a:pt x="627569" y="319692"/>
                  </a:lnTo>
                  <a:lnTo>
                    <a:pt x="627399" y="320161"/>
                  </a:lnTo>
                  <a:lnTo>
                    <a:pt x="626798" y="320648"/>
                  </a:lnTo>
                  <a:lnTo>
                    <a:pt x="625375" y="319881"/>
                  </a:lnTo>
                  <a:lnTo>
                    <a:pt x="624161" y="320855"/>
                  </a:lnTo>
                  <a:lnTo>
                    <a:pt x="623652" y="321090"/>
                  </a:lnTo>
                  <a:lnTo>
                    <a:pt x="621866" y="319955"/>
                  </a:lnTo>
                  <a:lnTo>
                    <a:pt x="620171" y="320020"/>
                  </a:lnTo>
                  <a:lnTo>
                    <a:pt x="619657" y="319844"/>
                  </a:lnTo>
                  <a:lnTo>
                    <a:pt x="621756" y="317804"/>
                  </a:lnTo>
                  <a:lnTo>
                    <a:pt x="624622" y="315904"/>
                  </a:lnTo>
                  <a:lnTo>
                    <a:pt x="625092" y="315203"/>
                  </a:lnTo>
                  <a:lnTo>
                    <a:pt x="623971" y="315006"/>
                  </a:lnTo>
                  <a:lnTo>
                    <a:pt x="623302" y="314721"/>
                  </a:lnTo>
                  <a:lnTo>
                    <a:pt x="623220" y="314273"/>
                  </a:lnTo>
                  <a:lnTo>
                    <a:pt x="625034" y="313975"/>
                  </a:lnTo>
                  <a:lnTo>
                    <a:pt x="626288" y="313934"/>
                  </a:lnTo>
                  <a:lnTo>
                    <a:pt x="627243" y="314519"/>
                  </a:lnTo>
                  <a:lnTo>
                    <a:pt x="627850" y="314514"/>
                  </a:lnTo>
                  <a:close/>
                  <a:moveTo>
                    <a:pt x="963116" y="311891"/>
                  </a:moveTo>
                  <a:lnTo>
                    <a:pt x="963857" y="311895"/>
                  </a:lnTo>
                  <a:lnTo>
                    <a:pt x="966100" y="315543"/>
                  </a:lnTo>
                  <a:lnTo>
                    <a:pt x="966044" y="316682"/>
                  </a:lnTo>
                  <a:lnTo>
                    <a:pt x="964947" y="316974"/>
                  </a:lnTo>
                  <a:lnTo>
                    <a:pt x="959391" y="316300"/>
                  </a:lnTo>
                  <a:lnTo>
                    <a:pt x="958793" y="315382"/>
                  </a:lnTo>
                  <a:lnTo>
                    <a:pt x="958709" y="314910"/>
                  </a:lnTo>
                  <a:lnTo>
                    <a:pt x="959983" y="314006"/>
                  </a:lnTo>
                  <a:lnTo>
                    <a:pt x="961214" y="312464"/>
                  </a:lnTo>
                  <a:close/>
                  <a:moveTo>
                    <a:pt x="496602" y="311330"/>
                  </a:moveTo>
                  <a:lnTo>
                    <a:pt x="496695" y="312243"/>
                  </a:lnTo>
                  <a:lnTo>
                    <a:pt x="494199" y="316206"/>
                  </a:lnTo>
                  <a:lnTo>
                    <a:pt x="493696" y="316221"/>
                  </a:lnTo>
                  <a:lnTo>
                    <a:pt x="492741" y="315793"/>
                  </a:lnTo>
                  <a:lnTo>
                    <a:pt x="493085" y="314864"/>
                  </a:lnTo>
                  <a:lnTo>
                    <a:pt x="492558" y="313356"/>
                  </a:lnTo>
                  <a:lnTo>
                    <a:pt x="492744" y="312113"/>
                  </a:lnTo>
                  <a:lnTo>
                    <a:pt x="493972" y="311413"/>
                  </a:lnTo>
                  <a:close/>
                  <a:moveTo>
                    <a:pt x="528283" y="311128"/>
                  </a:moveTo>
                  <a:lnTo>
                    <a:pt x="528959" y="311973"/>
                  </a:lnTo>
                  <a:lnTo>
                    <a:pt x="529103" y="312417"/>
                  </a:lnTo>
                  <a:lnTo>
                    <a:pt x="528481" y="313004"/>
                  </a:lnTo>
                  <a:lnTo>
                    <a:pt x="527754" y="313347"/>
                  </a:lnTo>
                  <a:lnTo>
                    <a:pt x="526784" y="313373"/>
                  </a:lnTo>
                  <a:lnTo>
                    <a:pt x="526583" y="312480"/>
                  </a:lnTo>
                  <a:lnTo>
                    <a:pt x="526931" y="311543"/>
                  </a:lnTo>
                  <a:lnTo>
                    <a:pt x="527862" y="311152"/>
                  </a:lnTo>
                  <a:close/>
                  <a:moveTo>
                    <a:pt x="647927" y="311045"/>
                  </a:moveTo>
                  <a:lnTo>
                    <a:pt x="649409" y="311165"/>
                  </a:lnTo>
                  <a:lnTo>
                    <a:pt x="649940" y="312521"/>
                  </a:lnTo>
                  <a:lnTo>
                    <a:pt x="651649" y="311771"/>
                  </a:lnTo>
                  <a:lnTo>
                    <a:pt x="653315" y="311582"/>
                  </a:lnTo>
                  <a:lnTo>
                    <a:pt x="657116" y="311726"/>
                  </a:lnTo>
                  <a:lnTo>
                    <a:pt x="659906" y="312028"/>
                  </a:lnTo>
                  <a:lnTo>
                    <a:pt x="661549" y="312589"/>
                  </a:lnTo>
                  <a:lnTo>
                    <a:pt x="661707" y="315297"/>
                  </a:lnTo>
                  <a:lnTo>
                    <a:pt x="660933" y="315884"/>
                  </a:lnTo>
                  <a:lnTo>
                    <a:pt x="646505" y="317928"/>
                  </a:lnTo>
                  <a:lnTo>
                    <a:pt x="645099" y="317271"/>
                  </a:lnTo>
                  <a:lnTo>
                    <a:pt x="644545" y="316621"/>
                  </a:lnTo>
                  <a:lnTo>
                    <a:pt x="646101" y="314614"/>
                  </a:lnTo>
                  <a:lnTo>
                    <a:pt x="645384" y="313662"/>
                  </a:lnTo>
                  <a:lnTo>
                    <a:pt x="646205" y="312108"/>
                  </a:lnTo>
                  <a:close/>
                  <a:moveTo>
                    <a:pt x="721226" y="310231"/>
                  </a:moveTo>
                  <a:lnTo>
                    <a:pt x="725095" y="311126"/>
                  </a:lnTo>
                  <a:lnTo>
                    <a:pt x="727315" y="311032"/>
                  </a:lnTo>
                  <a:lnTo>
                    <a:pt x="727767" y="311830"/>
                  </a:lnTo>
                  <a:lnTo>
                    <a:pt x="725650" y="313714"/>
                  </a:lnTo>
                  <a:lnTo>
                    <a:pt x="721170" y="312264"/>
                  </a:lnTo>
                  <a:lnTo>
                    <a:pt x="720403" y="310708"/>
                  </a:lnTo>
                  <a:close/>
                  <a:moveTo>
                    <a:pt x="611158" y="310106"/>
                  </a:moveTo>
                  <a:lnTo>
                    <a:pt x="612734" y="310380"/>
                  </a:lnTo>
                  <a:lnTo>
                    <a:pt x="614091" y="311413"/>
                  </a:lnTo>
                  <a:lnTo>
                    <a:pt x="614701" y="315356"/>
                  </a:lnTo>
                  <a:lnTo>
                    <a:pt x="613585" y="315912"/>
                  </a:lnTo>
                  <a:lnTo>
                    <a:pt x="612881" y="316510"/>
                  </a:lnTo>
                  <a:lnTo>
                    <a:pt x="612406" y="317298"/>
                  </a:lnTo>
                  <a:lnTo>
                    <a:pt x="610393" y="318741"/>
                  </a:lnTo>
                  <a:lnTo>
                    <a:pt x="611181" y="320546"/>
                  </a:lnTo>
                  <a:lnTo>
                    <a:pt x="610590" y="321292"/>
                  </a:lnTo>
                  <a:lnTo>
                    <a:pt x="609769" y="321649"/>
                  </a:lnTo>
                  <a:lnTo>
                    <a:pt x="606642" y="322441"/>
                  </a:lnTo>
                  <a:lnTo>
                    <a:pt x="604704" y="323191"/>
                  </a:lnTo>
                  <a:lnTo>
                    <a:pt x="602855" y="324183"/>
                  </a:lnTo>
                  <a:lnTo>
                    <a:pt x="601684" y="324388"/>
                  </a:lnTo>
                  <a:lnTo>
                    <a:pt x="599567" y="324468"/>
                  </a:lnTo>
                  <a:lnTo>
                    <a:pt x="596564" y="324290"/>
                  </a:lnTo>
                  <a:lnTo>
                    <a:pt x="594539" y="324612"/>
                  </a:lnTo>
                  <a:lnTo>
                    <a:pt x="588890" y="327188"/>
                  </a:lnTo>
                  <a:lnTo>
                    <a:pt x="586671" y="327412"/>
                  </a:lnTo>
                  <a:lnTo>
                    <a:pt x="584748" y="328043"/>
                  </a:lnTo>
                  <a:lnTo>
                    <a:pt x="584083" y="327042"/>
                  </a:lnTo>
                  <a:lnTo>
                    <a:pt x="583272" y="326302"/>
                  </a:lnTo>
                  <a:lnTo>
                    <a:pt x="581393" y="326115"/>
                  </a:lnTo>
                  <a:lnTo>
                    <a:pt x="579514" y="326174"/>
                  </a:lnTo>
                  <a:lnTo>
                    <a:pt x="577605" y="328448"/>
                  </a:lnTo>
                  <a:lnTo>
                    <a:pt x="574565" y="327971"/>
                  </a:lnTo>
                  <a:lnTo>
                    <a:pt x="573386" y="328172"/>
                  </a:lnTo>
                  <a:lnTo>
                    <a:pt x="572250" y="328650"/>
                  </a:lnTo>
                  <a:lnTo>
                    <a:pt x="571125" y="328862"/>
                  </a:lnTo>
                  <a:lnTo>
                    <a:pt x="569944" y="328703"/>
                  </a:lnTo>
                  <a:lnTo>
                    <a:pt x="565502" y="326931"/>
                  </a:lnTo>
                  <a:lnTo>
                    <a:pt x="560405" y="325885"/>
                  </a:lnTo>
                  <a:lnTo>
                    <a:pt x="555299" y="326296"/>
                  </a:lnTo>
                  <a:lnTo>
                    <a:pt x="550907" y="325330"/>
                  </a:lnTo>
                  <a:lnTo>
                    <a:pt x="548501" y="326069"/>
                  </a:lnTo>
                  <a:lnTo>
                    <a:pt x="546230" y="327127"/>
                  </a:lnTo>
                  <a:lnTo>
                    <a:pt x="545560" y="326013"/>
                  </a:lnTo>
                  <a:lnTo>
                    <a:pt x="544727" y="325032"/>
                  </a:lnTo>
                  <a:lnTo>
                    <a:pt x="543986" y="323563"/>
                  </a:lnTo>
                  <a:lnTo>
                    <a:pt x="543966" y="321899"/>
                  </a:lnTo>
                  <a:lnTo>
                    <a:pt x="544213" y="320731"/>
                  </a:lnTo>
                  <a:lnTo>
                    <a:pt x="544865" y="319670"/>
                  </a:lnTo>
                  <a:lnTo>
                    <a:pt x="545273" y="318563"/>
                  </a:lnTo>
                  <a:lnTo>
                    <a:pt x="545465" y="317376"/>
                  </a:lnTo>
                  <a:lnTo>
                    <a:pt x="546426" y="317939"/>
                  </a:lnTo>
                  <a:lnTo>
                    <a:pt x="547432" y="317726"/>
                  </a:lnTo>
                  <a:lnTo>
                    <a:pt x="550427" y="316434"/>
                  </a:lnTo>
                  <a:lnTo>
                    <a:pt x="553345" y="314482"/>
                  </a:lnTo>
                  <a:lnTo>
                    <a:pt x="556063" y="313769"/>
                  </a:lnTo>
                  <a:lnTo>
                    <a:pt x="557629" y="313571"/>
                  </a:lnTo>
                  <a:lnTo>
                    <a:pt x="558970" y="313954"/>
                  </a:lnTo>
                  <a:lnTo>
                    <a:pt x="560333" y="313814"/>
                  </a:lnTo>
                  <a:lnTo>
                    <a:pt x="561727" y="313382"/>
                  </a:lnTo>
                  <a:lnTo>
                    <a:pt x="563924" y="314882"/>
                  </a:lnTo>
                  <a:lnTo>
                    <a:pt x="564848" y="315186"/>
                  </a:lnTo>
                  <a:lnTo>
                    <a:pt x="567827" y="315302"/>
                  </a:lnTo>
                  <a:lnTo>
                    <a:pt x="570537" y="316167"/>
                  </a:lnTo>
                  <a:lnTo>
                    <a:pt x="572958" y="317458"/>
                  </a:lnTo>
                  <a:lnTo>
                    <a:pt x="576463" y="318670"/>
                  </a:lnTo>
                  <a:lnTo>
                    <a:pt x="578570" y="320294"/>
                  </a:lnTo>
                  <a:lnTo>
                    <a:pt x="580175" y="320894"/>
                  </a:lnTo>
                  <a:lnTo>
                    <a:pt x="581367" y="321057"/>
                  </a:lnTo>
                  <a:lnTo>
                    <a:pt x="582461" y="320838"/>
                  </a:lnTo>
                  <a:lnTo>
                    <a:pt x="583842" y="319744"/>
                  </a:lnTo>
                  <a:lnTo>
                    <a:pt x="585457" y="319292"/>
                  </a:lnTo>
                  <a:lnTo>
                    <a:pt x="586864" y="319309"/>
                  </a:lnTo>
                  <a:lnTo>
                    <a:pt x="589426" y="319026"/>
                  </a:lnTo>
                  <a:lnTo>
                    <a:pt x="590505" y="318763"/>
                  </a:lnTo>
                  <a:lnTo>
                    <a:pt x="591717" y="318163"/>
                  </a:lnTo>
                  <a:lnTo>
                    <a:pt x="592902" y="318535"/>
                  </a:lnTo>
                  <a:lnTo>
                    <a:pt x="593941" y="319087"/>
                  </a:lnTo>
                  <a:lnTo>
                    <a:pt x="598275" y="321943"/>
                  </a:lnTo>
                  <a:lnTo>
                    <a:pt x="599605" y="322019"/>
                  </a:lnTo>
                  <a:lnTo>
                    <a:pt x="602043" y="321405"/>
                  </a:lnTo>
                  <a:lnTo>
                    <a:pt x="602775" y="320640"/>
                  </a:lnTo>
                  <a:lnTo>
                    <a:pt x="603151" y="319463"/>
                  </a:lnTo>
                  <a:lnTo>
                    <a:pt x="603818" y="318485"/>
                  </a:lnTo>
                  <a:lnTo>
                    <a:pt x="604748" y="317637"/>
                  </a:lnTo>
                  <a:lnTo>
                    <a:pt x="605803" y="316989"/>
                  </a:lnTo>
                  <a:lnTo>
                    <a:pt x="609041" y="315891"/>
                  </a:lnTo>
                  <a:lnTo>
                    <a:pt x="611264" y="314806"/>
                  </a:lnTo>
                  <a:lnTo>
                    <a:pt x="612781" y="312969"/>
                  </a:lnTo>
                  <a:lnTo>
                    <a:pt x="609232" y="312169"/>
                  </a:lnTo>
                  <a:lnTo>
                    <a:pt x="609978" y="310848"/>
                  </a:lnTo>
                  <a:close/>
                  <a:moveTo>
                    <a:pt x="791911" y="310063"/>
                  </a:moveTo>
                  <a:lnTo>
                    <a:pt x="793399" y="310802"/>
                  </a:lnTo>
                  <a:lnTo>
                    <a:pt x="795366" y="310941"/>
                  </a:lnTo>
                  <a:lnTo>
                    <a:pt x="792434" y="312749"/>
                  </a:lnTo>
                  <a:lnTo>
                    <a:pt x="789435" y="313499"/>
                  </a:lnTo>
                  <a:lnTo>
                    <a:pt x="788419" y="315126"/>
                  </a:lnTo>
                  <a:lnTo>
                    <a:pt x="786496" y="315819"/>
                  </a:lnTo>
                  <a:lnTo>
                    <a:pt x="787783" y="314058"/>
                  </a:lnTo>
                  <a:close/>
                  <a:moveTo>
                    <a:pt x="502262" y="310013"/>
                  </a:moveTo>
                  <a:lnTo>
                    <a:pt x="506606" y="310752"/>
                  </a:lnTo>
                  <a:lnTo>
                    <a:pt x="507340" y="311369"/>
                  </a:lnTo>
                  <a:lnTo>
                    <a:pt x="508494" y="313980"/>
                  </a:lnTo>
                  <a:lnTo>
                    <a:pt x="509369" y="315103"/>
                  </a:lnTo>
                  <a:lnTo>
                    <a:pt x="510474" y="315982"/>
                  </a:lnTo>
                  <a:lnTo>
                    <a:pt x="511481" y="315900"/>
                  </a:lnTo>
                  <a:lnTo>
                    <a:pt x="513588" y="314558"/>
                  </a:lnTo>
                  <a:lnTo>
                    <a:pt x="514858" y="314073"/>
                  </a:lnTo>
                  <a:lnTo>
                    <a:pt x="516218" y="314049"/>
                  </a:lnTo>
                  <a:lnTo>
                    <a:pt x="517540" y="314278"/>
                  </a:lnTo>
                  <a:lnTo>
                    <a:pt x="518837" y="315230"/>
                  </a:lnTo>
                  <a:lnTo>
                    <a:pt x="519306" y="316789"/>
                  </a:lnTo>
                  <a:lnTo>
                    <a:pt x="519794" y="317267"/>
                  </a:lnTo>
                  <a:lnTo>
                    <a:pt x="520556" y="315402"/>
                  </a:lnTo>
                  <a:lnTo>
                    <a:pt x="521571" y="314838"/>
                  </a:lnTo>
                  <a:lnTo>
                    <a:pt x="522709" y="314554"/>
                  </a:lnTo>
                  <a:lnTo>
                    <a:pt x="524489" y="314656"/>
                  </a:lnTo>
                  <a:lnTo>
                    <a:pt x="525851" y="315547"/>
                  </a:lnTo>
                  <a:lnTo>
                    <a:pt x="527090" y="318197"/>
                  </a:lnTo>
                  <a:lnTo>
                    <a:pt x="527052" y="320518"/>
                  </a:lnTo>
                  <a:lnTo>
                    <a:pt x="527504" y="321384"/>
                  </a:lnTo>
                  <a:lnTo>
                    <a:pt x="528356" y="322017"/>
                  </a:lnTo>
                  <a:lnTo>
                    <a:pt x="528989" y="322906"/>
                  </a:lnTo>
                  <a:lnTo>
                    <a:pt x="528425" y="323837"/>
                  </a:lnTo>
                  <a:lnTo>
                    <a:pt x="527866" y="324294"/>
                  </a:lnTo>
                  <a:lnTo>
                    <a:pt x="526259" y="324721"/>
                  </a:lnTo>
                  <a:lnTo>
                    <a:pt x="525491" y="324534"/>
                  </a:lnTo>
                  <a:lnTo>
                    <a:pt x="524781" y="323907"/>
                  </a:lnTo>
                  <a:lnTo>
                    <a:pt x="523984" y="323676"/>
                  </a:lnTo>
                  <a:lnTo>
                    <a:pt x="522167" y="323885"/>
                  </a:lnTo>
                  <a:lnTo>
                    <a:pt x="520502" y="324405"/>
                  </a:lnTo>
                  <a:lnTo>
                    <a:pt x="520731" y="325256"/>
                  </a:lnTo>
                  <a:lnTo>
                    <a:pt x="522098" y="325639"/>
                  </a:lnTo>
                  <a:lnTo>
                    <a:pt x="522511" y="326041"/>
                  </a:lnTo>
                  <a:lnTo>
                    <a:pt x="522420" y="326587"/>
                  </a:lnTo>
                  <a:lnTo>
                    <a:pt x="521882" y="326696"/>
                  </a:lnTo>
                  <a:lnTo>
                    <a:pt x="520105" y="325961"/>
                  </a:lnTo>
                  <a:lnTo>
                    <a:pt x="518905" y="326109"/>
                  </a:lnTo>
                  <a:lnTo>
                    <a:pt x="514592" y="327101"/>
                  </a:lnTo>
                  <a:lnTo>
                    <a:pt x="513450" y="327079"/>
                  </a:lnTo>
                  <a:lnTo>
                    <a:pt x="512806" y="326142"/>
                  </a:lnTo>
                  <a:lnTo>
                    <a:pt x="512852" y="323698"/>
                  </a:lnTo>
                  <a:lnTo>
                    <a:pt x="512387" y="323050"/>
                  </a:lnTo>
                  <a:lnTo>
                    <a:pt x="509183" y="326018"/>
                  </a:lnTo>
                  <a:lnTo>
                    <a:pt x="508209" y="326746"/>
                  </a:lnTo>
                  <a:lnTo>
                    <a:pt x="506918" y="327090"/>
                  </a:lnTo>
                  <a:lnTo>
                    <a:pt x="505572" y="326971"/>
                  </a:lnTo>
                  <a:lnTo>
                    <a:pt x="500940" y="328772"/>
                  </a:lnTo>
                  <a:lnTo>
                    <a:pt x="499485" y="328520"/>
                  </a:lnTo>
                  <a:lnTo>
                    <a:pt x="498075" y="328515"/>
                  </a:lnTo>
                  <a:lnTo>
                    <a:pt x="493128" y="330468"/>
                  </a:lnTo>
                  <a:lnTo>
                    <a:pt x="490474" y="331012"/>
                  </a:lnTo>
                  <a:lnTo>
                    <a:pt x="489114" y="331051"/>
                  </a:lnTo>
                  <a:lnTo>
                    <a:pt x="487757" y="330884"/>
                  </a:lnTo>
                  <a:lnTo>
                    <a:pt x="486546" y="331060"/>
                  </a:lnTo>
                  <a:lnTo>
                    <a:pt x="485462" y="331844"/>
                  </a:lnTo>
                  <a:lnTo>
                    <a:pt x="483253" y="332507"/>
                  </a:lnTo>
                  <a:lnTo>
                    <a:pt x="480973" y="332002"/>
                  </a:lnTo>
                  <a:lnTo>
                    <a:pt x="479047" y="331330"/>
                  </a:lnTo>
                  <a:lnTo>
                    <a:pt x="477220" y="330442"/>
                  </a:lnTo>
                  <a:lnTo>
                    <a:pt x="476766" y="329308"/>
                  </a:lnTo>
                  <a:lnTo>
                    <a:pt x="476857" y="327945"/>
                  </a:lnTo>
                  <a:lnTo>
                    <a:pt x="477628" y="326087"/>
                  </a:lnTo>
                  <a:lnTo>
                    <a:pt x="477101" y="322828"/>
                  </a:lnTo>
                  <a:lnTo>
                    <a:pt x="477503" y="321342"/>
                  </a:lnTo>
                  <a:lnTo>
                    <a:pt x="478250" y="319883"/>
                  </a:lnTo>
                  <a:lnTo>
                    <a:pt x="479381" y="319346"/>
                  </a:lnTo>
                  <a:lnTo>
                    <a:pt x="480861" y="319237"/>
                  </a:lnTo>
                  <a:lnTo>
                    <a:pt x="483305" y="317923"/>
                  </a:lnTo>
                  <a:lnTo>
                    <a:pt x="485542" y="316204"/>
                  </a:lnTo>
                  <a:lnTo>
                    <a:pt x="486842" y="316367"/>
                  </a:lnTo>
                  <a:lnTo>
                    <a:pt x="489783" y="317569"/>
                  </a:lnTo>
                  <a:lnTo>
                    <a:pt x="491507" y="317713"/>
                  </a:lnTo>
                  <a:lnTo>
                    <a:pt x="494437" y="317522"/>
                  </a:lnTo>
                  <a:lnTo>
                    <a:pt x="495646" y="318261"/>
                  </a:lnTo>
                  <a:lnTo>
                    <a:pt x="496123" y="319953"/>
                  </a:lnTo>
                  <a:lnTo>
                    <a:pt x="496775" y="320570"/>
                  </a:lnTo>
                  <a:lnTo>
                    <a:pt x="497643" y="321001"/>
                  </a:lnTo>
                  <a:lnTo>
                    <a:pt x="499721" y="323863"/>
                  </a:lnTo>
                  <a:lnTo>
                    <a:pt x="501647" y="323713"/>
                  </a:lnTo>
                  <a:lnTo>
                    <a:pt x="503335" y="324240"/>
                  </a:lnTo>
                  <a:lnTo>
                    <a:pt x="506311" y="322508"/>
                  </a:lnTo>
                  <a:lnTo>
                    <a:pt x="508563" y="322550"/>
                  </a:lnTo>
                  <a:lnTo>
                    <a:pt x="509202" y="321207"/>
                  </a:lnTo>
                  <a:lnTo>
                    <a:pt x="507857" y="319774"/>
                  </a:lnTo>
                  <a:lnTo>
                    <a:pt x="506231" y="318609"/>
                  </a:lnTo>
                  <a:lnTo>
                    <a:pt x="505358" y="318365"/>
                  </a:lnTo>
                  <a:lnTo>
                    <a:pt x="504404" y="318435"/>
                  </a:lnTo>
                  <a:lnTo>
                    <a:pt x="503547" y="318246"/>
                  </a:lnTo>
                  <a:lnTo>
                    <a:pt x="499915" y="315645"/>
                  </a:lnTo>
                  <a:lnTo>
                    <a:pt x="498844" y="314241"/>
                  </a:lnTo>
                  <a:lnTo>
                    <a:pt x="498224" y="312584"/>
                  </a:lnTo>
                  <a:lnTo>
                    <a:pt x="498598" y="311358"/>
                  </a:lnTo>
                  <a:lnTo>
                    <a:pt x="501096" y="310276"/>
                  </a:lnTo>
                  <a:close/>
                  <a:moveTo>
                    <a:pt x="441078" y="309494"/>
                  </a:moveTo>
                  <a:lnTo>
                    <a:pt x="441896" y="309533"/>
                  </a:lnTo>
                  <a:lnTo>
                    <a:pt x="445196" y="310600"/>
                  </a:lnTo>
                  <a:lnTo>
                    <a:pt x="447576" y="311484"/>
                  </a:lnTo>
                  <a:lnTo>
                    <a:pt x="449822" y="312667"/>
                  </a:lnTo>
                  <a:lnTo>
                    <a:pt x="452950" y="316123"/>
                  </a:lnTo>
                  <a:lnTo>
                    <a:pt x="453246" y="317093"/>
                  </a:lnTo>
                  <a:lnTo>
                    <a:pt x="452298" y="318008"/>
                  </a:lnTo>
                  <a:lnTo>
                    <a:pt x="450055" y="319476"/>
                  </a:lnTo>
                  <a:lnTo>
                    <a:pt x="445054" y="321738"/>
                  </a:lnTo>
                  <a:lnTo>
                    <a:pt x="444196" y="322806"/>
                  </a:lnTo>
                  <a:lnTo>
                    <a:pt x="443138" y="324897"/>
                  </a:lnTo>
                  <a:lnTo>
                    <a:pt x="442894" y="325789"/>
                  </a:lnTo>
                  <a:lnTo>
                    <a:pt x="442542" y="326278"/>
                  </a:lnTo>
                  <a:lnTo>
                    <a:pt x="441968" y="326633"/>
                  </a:lnTo>
                  <a:lnTo>
                    <a:pt x="440877" y="326936"/>
                  </a:lnTo>
                  <a:lnTo>
                    <a:pt x="439696" y="326498"/>
                  </a:lnTo>
                  <a:lnTo>
                    <a:pt x="440763" y="325151"/>
                  </a:lnTo>
                  <a:lnTo>
                    <a:pt x="440804" y="323546"/>
                  </a:lnTo>
                  <a:lnTo>
                    <a:pt x="440009" y="322045"/>
                  </a:lnTo>
                  <a:lnTo>
                    <a:pt x="438890" y="320788"/>
                  </a:lnTo>
                  <a:lnTo>
                    <a:pt x="436612" y="319080"/>
                  </a:lnTo>
                  <a:lnTo>
                    <a:pt x="434181" y="317569"/>
                  </a:lnTo>
                  <a:lnTo>
                    <a:pt x="431732" y="316799"/>
                  </a:lnTo>
                  <a:lnTo>
                    <a:pt x="429120" y="316451"/>
                  </a:lnTo>
                  <a:lnTo>
                    <a:pt x="428184" y="315719"/>
                  </a:lnTo>
                  <a:lnTo>
                    <a:pt x="426655" y="313836"/>
                  </a:lnTo>
                  <a:lnTo>
                    <a:pt x="426150" y="312810"/>
                  </a:lnTo>
                  <a:lnTo>
                    <a:pt x="425900" y="311732"/>
                  </a:lnTo>
                  <a:lnTo>
                    <a:pt x="426070" y="310689"/>
                  </a:lnTo>
                  <a:lnTo>
                    <a:pt x="426711" y="310626"/>
                  </a:lnTo>
                  <a:lnTo>
                    <a:pt x="429270" y="310873"/>
                  </a:lnTo>
                  <a:lnTo>
                    <a:pt x="433980" y="312095"/>
                  </a:lnTo>
                  <a:lnTo>
                    <a:pt x="436312" y="312195"/>
                  </a:lnTo>
                  <a:lnTo>
                    <a:pt x="437632" y="311913"/>
                  </a:lnTo>
                  <a:close/>
                  <a:moveTo>
                    <a:pt x="761736" y="303467"/>
                  </a:moveTo>
                  <a:lnTo>
                    <a:pt x="765219" y="304020"/>
                  </a:lnTo>
                  <a:lnTo>
                    <a:pt x="765895" y="305570"/>
                  </a:lnTo>
                  <a:lnTo>
                    <a:pt x="765791" y="307021"/>
                  </a:lnTo>
                  <a:lnTo>
                    <a:pt x="764485" y="309065"/>
                  </a:lnTo>
                  <a:lnTo>
                    <a:pt x="763019" y="308937"/>
                  </a:lnTo>
                  <a:lnTo>
                    <a:pt x="760330" y="306193"/>
                  </a:lnTo>
                  <a:lnTo>
                    <a:pt x="760482" y="304279"/>
                  </a:lnTo>
                  <a:lnTo>
                    <a:pt x="760708" y="303658"/>
                  </a:lnTo>
                  <a:close/>
                  <a:moveTo>
                    <a:pt x="694385" y="298506"/>
                  </a:moveTo>
                  <a:lnTo>
                    <a:pt x="696968" y="300517"/>
                  </a:lnTo>
                  <a:lnTo>
                    <a:pt x="698617" y="300643"/>
                  </a:lnTo>
                  <a:lnTo>
                    <a:pt x="698916" y="301724"/>
                  </a:lnTo>
                  <a:lnTo>
                    <a:pt x="698876" y="302200"/>
                  </a:lnTo>
                  <a:lnTo>
                    <a:pt x="696227" y="302548"/>
                  </a:lnTo>
                  <a:lnTo>
                    <a:pt x="693673" y="303751"/>
                  </a:lnTo>
                  <a:lnTo>
                    <a:pt x="692363" y="305137"/>
                  </a:lnTo>
                  <a:lnTo>
                    <a:pt x="691345" y="306927"/>
                  </a:lnTo>
                  <a:lnTo>
                    <a:pt x="687825" y="306199"/>
                  </a:lnTo>
                  <a:lnTo>
                    <a:pt x="684689" y="306080"/>
                  </a:lnTo>
                  <a:lnTo>
                    <a:pt x="683303" y="305450"/>
                  </a:lnTo>
                  <a:lnTo>
                    <a:pt x="681791" y="305491"/>
                  </a:lnTo>
                  <a:lnTo>
                    <a:pt x="679835" y="306050"/>
                  </a:lnTo>
                  <a:lnTo>
                    <a:pt x="677062" y="307571"/>
                  </a:lnTo>
                  <a:lnTo>
                    <a:pt x="676445" y="307688"/>
                  </a:lnTo>
                  <a:lnTo>
                    <a:pt x="676669" y="305376"/>
                  </a:lnTo>
                  <a:lnTo>
                    <a:pt x="677438" y="303953"/>
                  </a:lnTo>
                  <a:lnTo>
                    <a:pt x="680359" y="300543"/>
                  </a:lnTo>
                  <a:lnTo>
                    <a:pt x="682793" y="301299"/>
                  </a:lnTo>
                  <a:lnTo>
                    <a:pt x="685630" y="301507"/>
                  </a:lnTo>
                  <a:lnTo>
                    <a:pt x="688853" y="300840"/>
                  </a:lnTo>
                  <a:lnTo>
                    <a:pt x="691142" y="299307"/>
                  </a:lnTo>
                  <a:close/>
                  <a:moveTo>
                    <a:pt x="711215" y="297194"/>
                  </a:moveTo>
                  <a:lnTo>
                    <a:pt x="713526" y="297601"/>
                  </a:lnTo>
                  <a:lnTo>
                    <a:pt x="713500" y="298656"/>
                  </a:lnTo>
                  <a:lnTo>
                    <a:pt x="713278" y="299064"/>
                  </a:lnTo>
                  <a:lnTo>
                    <a:pt x="712292" y="299646"/>
                  </a:lnTo>
                  <a:lnTo>
                    <a:pt x="710874" y="300167"/>
                  </a:lnTo>
                  <a:lnTo>
                    <a:pt x="711310" y="298521"/>
                  </a:lnTo>
                  <a:close/>
                  <a:moveTo>
                    <a:pt x="958277" y="294233"/>
                  </a:moveTo>
                  <a:lnTo>
                    <a:pt x="963274" y="294474"/>
                  </a:lnTo>
                  <a:lnTo>
                    <a:pt x="963984" y="295012"/>
                  </a:lnTo>
                  <a:lnTo>
                    <a:pt x="966139" y="297169"/>
                  </a:lnTo>
                  <a:lnTo>
                    <a:pt x="967536" y="298866"/>
                  </a:lnTo>
                  <a:lnTo>
                    <a:pt x="968122" y="301271"/>
                  </a:lnTo>
                  <a:lnTo>
                    <a:pt x="965997" y="305409"/>
                  </a:lnTo>
                  <a:lnTo>
                    <a:pt x="963630" y="309346"/>
                  </a:lnTo>
                  <a:lnTo>
                    <a:pt x="959778" y="312445"/>
                  </a:lnTo>
                  <a:lnTo>
                    <a:pt x="958089" y="314121"/>
                  </a:lnTo>
                  <a:lnTo>
                    <a:pt x="952803" y="317049"/>
                  </a:lnTo>
                  <a:lnTo>
                    <a:pt x="945871" y="316532"/>
                  </a:lnTo>
                  <a:lnTo>
                    <a:pt x="943419" y="316482"/>
                  </a:lnTo>
                  <a:lnTo>
                    <a:pt x="939345" y="317195"/>
                  </a:lnTo>
                  <a:lnTo>
                    <a:pt x="938520" y="316625"/>
                  </a:lnTo>
                  <a:lnTo>
                    <a:pt x="939289" y="313867"/>
                  </a:lnTo>
                  <a:lnTo>
                    <a:pt x="942548" y="306523"/>
                  </a:lnTo>
                  <a:lnTo>
                    <a:pt x="946418" y="300059"/>
                  </a:lnTo>
                  <a:lnTo>
                    <a:pt x="948061" y="298382"/>
                  </a:lnTo>
                  <a:lnTo>
                    <a:pt x="950350" y="296806"/>
                  </a:lnTo>
                  <a:lnTo>
                    <a:pt x="952785" y="295542"/>
                  </a:lnTo>
                  <a:close/>
                  <a:moveTo>
                    <a:pt x="805695" y="288303"/>
                  </a:moveTo>
                  <a:lnTo>
                    <a:pt x="806962" y="288913"/>
                  </a:lnTo>
                  <a:lnTo>
                    <a:pt x="807744" y="290176"/>
                  </a:lnTo>
                  <a:lnTo>
                    <a:pt x="805704" y="291728"/>
                  </a:lnTo>
                  <a:lnTo>
                    <a:pt x="806749" y="295551"/>
                  </a:lnTo>
                  <a:lnTo>
                    <a:pt x="805273" y="299716"/>
                  </a:lnTo>
                  <a:lnTo>
                    <a:pt x="804298" y="300962"/>
                  </a:lnTo>
                  <a:lnTo>
                    <a:pt x="802488" y="302040"/>
                  </a:lnTo>
                  <a:lnTo>
                    <a:pt x="801937" y="303062"/>
                  </a:lnTo>
                  <a:lnTo>
                    <a:pt x="799804" y="305120"/>
                  </a:lnTo>
                  <a:lnTo>
                    <a:pt x="799156" y="306875"/>
                  </a:lnTo>
                  <a:lnTo>
                    <a:pt x="799061" y="307618"/>
                  </a:lnTo>
                  <a:lnTo>
                    <a:pt x="798666" y="308020"/>
                  </a:lnTo>
                  <a:lnTo>
                    <a:pt x="798303" y="308272"/>
                  </a:lnTo>
                  <a:lnTo>
                    <a:pt x="795556" y="307983"/>
                  </a:lnTo>
                  <a:lnTo>
                    <a:pt x="793982" y="307973"/>
                  </a:lnTo>
                  <a:lnTo>
                    <a:pt x="794196" y="306293"/>
                  </a:lnTo>
                  <a:lnTo>
                    <a:pt x="793387" y="305029"/>
                  </a:lnTo>
                  <a:lnTo>
                    <a:pt x="794491" y="303176"/>
                  </a:lnTo>
                  <a:lnTo>
                    <a:pt x="794514" y="301021"/>
                  </a:lnTo>
                  <a:lnTo>
                    <a:pt x="795669" y="300732"/>
                  </a:lnTo>
                  <a:lnTo>
                    <a:pt x="795831" y="299505"/>
                  </a:lnTo>
                  <a:lnTo>
                    <a:pt x="797217" y="296254"/>
                  </a:lnTo>
                  <a:lnTo>
                    <a:pt x="798031" y="295533"/>
                  </a:lnTo>
                  <a:lnTo>
                    <a:pt x="799189" y="295251"/>
                  </a:lnTo>
                  <a:lnTo>
                    <a:pt x="800555" y="293356"/>
                  </a:lnTo>
                  <a:lnTo>
                    <a:pt x="801333" y="292805"/>
                  </a:lnTo>
                  <a:lnTo>
                    <a:pt x="802138" y="291368"/>
                  </a:lnTo>
                  <a:lnTo>
                    <a:pt x="803302" y="290699"/>
                  </a:lnTo>
                  <a:lnTo>
                    <a:pt x="803205" y="289467"/>
                  </a:lnTo>
                  <a:lnTo>
                    <a:pt x="803866" y="288813"/>
                  </a:lnTo>
                  <a:close/>
                  <a:moveTo>
                    <a:pt x="811860" y="288119"/>
                  </a:moveTo>
                  <a:lnTo>
                    <a:pt x="813182" y="290287"/>
                  </a:lnTo>
                  <a:lnTo>
                    <a:pt x="812905" y="291383"/>
                  </a:lnTo>
                  <a:lnTo>
                    <a:pt x="811961" y="290797"/>
                  </a:lnTo>
                  <a:lnTo>
                    <a:pt x="811024" y="289519"/>
                  </a:lnTo>
                  <a:lnTo>
                    <a:pt x="809662" y="289334"/>
                  </a:lnTo>
                  <a:lnTo>
                    <a:pt x="808659" y="288996"/>
                  </a:lnTo>
                  <a:lnTo>
                    <a:pt x="808068" y="288392"/>
                  </a:lnTo>
                  <a:close/>
                  <a:moveTo>
                    <a:pt x="423276" y="287429"/>
                  </a:moveTo>
                  <a:lnTo>
                    <a:pt x="424042" y="287589"/>
                  </a:lnTo>
                  <a:lnTo>
                    <a:pt x="424684" y="288763"/>
                  </a:lnTo>
                  <a:lnTo>
                    <a:pt x="424353" y="289645"/>
                  </a:lnTo>
                  <a:lnTo>
                    <a:pt x="423231" y="289425"/>
                  </a:lnTo>
                  <a:lnTo>
                    <a:pt x="422168" y="287965"/>
                  </a:lnTo>
                  <a:lnTo>
                    <a:pt x="422684" y="287583"/>
                  </a:lnTo>
                  <a:close/>
                  <a:moveTo>
                    <a:pt x="739011" y="287325"/>
                  </a:moveTo>
                  <a:lnTo>
                    <a:pt x="739687" y="287821"/>
                  </a:lnTo>
                  <a:lnTo>
                    <a:pt x="740017" y="288316"/>
                  </a:lnTo>
                  <a:lnTo>
                    <a:pt x="739877" y="288863"/>
                  </a:lnTo>
                  <a:lnTo>
                    <a:pt x="739948" y="289870"/>
                  </a:lnTo>
                  <a:lnTo>
                    <a:pt x="738950" y="290432"/>
                  </a:lnTo>
                  <a:lnTo>
                    <a:pt x="737296" y="289271"/>
                  </a:lnTo>
                  <a:lnTo>
                    <a:pt x="736845" y="288787"/>
                  </a:lnTo>
                  <a:lnTo>
                    <a:pt x="737896" y="287646"/>
                  </a:lnTo>
                  <a:close/>
                  <a:moveTo>
                    <a:pt x="562239" y="286203"/>
                  </a:moveTo>
                  <a:lnTo>
                    <a:pt x="564718" y="287134"/>
                  </a:lnTo>
                  <a:lnTo>
                    <a:pt x="565519" y="287199"/>
                  </a:lnTo>
                  <a:lnTo>
                    <a:pt x="565357" y="288440"/>
                  </a:lnTo>
                  <a:lnTo>
                    <a:pt x="563101" y="288568"/>
                  </a:lnTo>
                  <a:lnTo>
                    <a:pt x="562403" y="288371"/>
                  </a:lnTo>
                  <a:close/>
                  <a:moveTo>
                    <a:pt x="415001" y="282977"/>
                  </a:moveTo>
                  <a:lnTo>
                    <a:pt x="417189" y="284912"/>
                  </a:lnTo>
                  <a:lnTo>
                    <a:pt x="417396" y="285561"/>
                  </a:lnTo>
                  <a:lnTo>
                    <a:pt x="413025" y="286886"/>
                  </a:lnTo>
                  <a:lnTo>
                    <a:pt x="412123" y="288138"/>
                  </a:lnTo>
                  <a:lnTo>
                    <a:pt x="411704" y="288462"/>
                  </a:lnTo>
                  <a:lnTo>
                    <a:pt x="407951" y="288280"/>
                  </a:lnTo>
                  <a:lnTo>
                    <a:pt x="405530" y="290094"/>
                  </a:lnTo>
                  <a:lnTo>
                    <a:pt x="403857" y="290651"/>
                  </a:lnTo>
                  <a:lnTo>
                    <a:pt x="397836" y="290649"/>
                  </a:lnTo>
                  <a:lnTo>
                    <a:pt x="397119" y="290404"/>
                  </a:lnTo>
                  <a:lnTo>
                    <a:pt x="396586" y="290410"/>
                  </a:lnTo>
                  <a:lnTo>
                    <a:pt x="396256" y="290777"/>
                  </a:lnTo>
                  <a:lnTo>
                    <a:pt x="394343" y="290504"/>
                  </a:lnTo>
                  <a:lnTo>
                    <a:pt x="388225" y="288900"/>
                  </a:lnTo>
                  <a:lnTo>
                    <a:pt x="387387" y="287414"/>
                  </a:lnTo>
                  <a:lnTo>
                    <a:pt x="388335" y="285825"/>
                  </a:lnTo>
                  <a:lnTo>
                    <a:pt x="390531" y="283573"/>
                  </a:lnTo>
                  <a:lnTo>
                    <a:pt x="394939" y="283131"/>
                  </a:lnTo>
                  <a:close/>
                  <a:moveTo>
                    <a:pt x="445494" y="282209"/>
                  </a:moveTo>
                  <a:lnTo>
                    <a:pt x="446837" y="282237"/>
                  </a:lnTo>
                  <a:lnTo>
                    <a:pt x="448269" y="282914"/>
                  </a:lnTo>
                  <a:lnTo>
                    <a:pt x="449264" y="283617"/>
                  </a:lnTo>
                  <a:lnTo>
                    <a:pt x="449748" y="284434"/>
                  </a:lnTo>
                  <a:lnTo>
                    <a:pt x="447051" y="284478"/>
                  </a:lnTo>
                  <a:lnTo>
                    <a:pt x="446010" y="285148"/>
                  </a:lnTo>
                  <a:lnTo>
                    <a:pt x="444213" y="285526"/>
                  </a:lnTo>
                  <a:lnTo>
                    <a:pt x="442544" y="284743"/>
                  </a:lnTo>
                  <a:lnTo>
                    <a:pt x="442586" y="283690"/>
                  </a:lnTo>
                  <a:lnTo>
                    <a:pt x="442991" y="282714"/>
                  </a:lnTo>
                  <a:close/>
                  <a:moveTo>
                    <a:pt x="874072" y="277431"/>
                  </a:moveTo>
                  <a:lnTo>
                    <a:pt x="873858" y="278437"/>
                  </a:lnTo>
                  <a:lnTo>
                    <a:pt x="872715" y="280239"/>
                  </a:lnTo>
                  <a:lnTo>
                    <a:pt x="872340" y="280584"/>
                  </a:lnTo>
                  <a:lnTo>
                    <a:pt x="871766" y="279864"/>
                  </a:lnTo>
                  <a:lnTo>
                    <a:pt x="871714" y="279417"/>
                  </a:lnTo>
                  <a:lnTo>
                    <a:pt x="872474" y="278194"/>
                  </a:lnTo>
                  <a:lnTo>
                    <a:pt x="873230" y="277483"/>
                  </a:lnTo>
                  <a:close/>
                  <a:moveTo>
                    <a:pt x="222313" y="275223"/>
                  </a:moveTo>
                  <a:lnTo>
                    <a:pt x="222687" y="276055"/>
                  </a:lnTo>
                  <a:lnTo>
                    <a:pt x="222142" y="277810"/>
                  </a:lnTo>
                  <a:lnTo>
                    <a:pt x="220763" y="278300"/>
                  </a:lnTo>
                  <a:lnTo>
                    <a:pt x="219708" y="277869"/>
                  </a:lnTo>
                  <a:lnTo>
                    <a:pt x="219236" y="277244"/>
                  </a:lnTo>
                  <a:lnTo>
                    <a:pt x="220804" y="275704"/>
                  </a:lnTo>
                  <a:lnTo>
                    <a:pt x="221542" y="275338"/>
                  </a:lnTo>
                  <a:close/>
                  <a:moveTo>
                    <a:pt x="872819" y="273716"/>
                  </a:moveTo>
                  <a:lnTo>
                    <a:pt x="873912" y="274822"/>
                  </a:lnTo>
                  <a:lnTo>
                    <a:pt x="873638" y="275789"/>
                  </a:lnTo>
                  <a:lnTo>
                    <a:pt x="872415" y="275999"/>
                  </a:lnTo>
                  <a:lnTo>
                    <a:pt x="871815" y="274187"/>
                  </a:lnTo>
                  <a:close/>
                  <a:moveTo>
                    <a:pt x="877391" y="270774"/>
                  </a:moveTo>
                  <a:lnTo>
                    <a:pt x="875924" y="273230"/>
                  </a:lnTo>
                  <a:lnTo>
                    <a:pt x="875385" y="273413"/>
                  </a:lnTo>
                  <a:lnTo>
                    <a:pt x="875389" y="272318"/>
                  </a:lnTo>
                  <a:lnTo>
                    <a:pt x="876000" y="271353"/>
                  </a:lnTo>
                  <a:lnTo>
                    <a:pt x="876639" y="270798"/>
                  </a:lnTo>
                  <a:close/>
                  <a:moveTo>
                    <a:pt x="861519" y="267505"/>
                  </a:moveTo>
                  <a:lnTo>
                    <a:pt x="862981" y="268617"/>
                  </a:lnTo>
                  <a:lnTo>
                    <a:pt x="864830" y="270609"/>
                  </a:lnTo>
                  <a:lnTo>
                    <a:pt x="866980" y="272177"/>
                  </a:lnTo>
                  <a:lnTo>
                    <a:pt x="869673" y="273410"/>
                  </a:lnTo>
                  <a:lnTo>
                    <a:pt x="869310" y="274974"/>
                  </a:lnTo>
                  <a:lnTo>
                    <a:pt x="868954" y="276721"/>
                  </a:lnTo>
                  <a:lnTo>
                    <a:pt x="866924" y="278682"/>
                  </a:lnTo>
                  <a:lnTo>
                    <a:pt x="865674" y="281684"/>
                  </a:lnTo>
                  <a:lnTo>
                    <a:pt x="864940" y="282436"/>
                  </a:lnTo>
                  <a:lnTo>
                    <a:pt x="862225" y="283771"/>
                  </a:lnTo>
                  <a:lnTo>
                    <a:pt x="859811" y="282105"/>
                  </a:lnTo>
                  <a:lnTo>
                    <a:pt x="859111" y="280673"/>
                  </a:lnTo>
                  <a:lnTo>
                    <a:pt x="860169" y="274061"/>
                  </a:lnTo>
                  <a:lnTo>
                    <a:pt x="861213" y="274280"/>
                  </a:lnTo>
                  <a:lnTo>
                    <a:pt x="861889" y="274232"/>
                  </a:lnTo>
                  <a:lnTo>
                    <a:pt x="862106" y="273798"/>
                  </a:lnTo>
                  <a:lnTo>
                    <a:pt x="860558" y="273059"/>
                  </a:lnTo>
                  <a:lnTo>
                    <a:pt x="860262" y="269261"/>
                  </a:lnTo>
                  <a:lnTo>
                    <a:pt x="860338" y="267828"/>
                  </a:lnTo>
                  <a:close/>
                  <a:moveTo>
                    <a:pt x="261800" y="261468"/>
                  </a:moveTo>
                  <a:lnTo>
                    <a:pt x="264361" y="262642"/>
                  </a:lnTo>
                  <a:lnTo>
                    <a:pt x="268113" y="263108"/>
                  </a:lnTo>
                  <a:lnTo>
                    <a:pt x="269044" y="263762"/>
                  </a:lnTo>
                  <a:lnTo>
                    <a:pt x="271273" y="266296"/>
                  </a:lnTo>
                  <a:lnTo>
                    <a:pt x="273225" y="267648"/>
                  </a:lnTo>
                  <a:lnTo>
                    <a:pt x="275520" y="268383"/>
                  </a:lnTo>
                  <a:lnTo>
                    <a:pt x="277937" y="268452"/>
                  </a:lnTo>
                  <a:lnTo>
                    <a:pt x="280318" y="268771"/>
                  </a:lnTo>
                  <a:lnTo>
                    <a:pt x="283082" y="269740"/>
                  </a:lnTo>
                  <a:lnTo>
                    <a:pt x="285931" y="270178"/>
                  </a:lnTo>
                  <a:lnTo>
                    <a:pt x="287254" y="270009"/>
                  </a:lnTo>
                  <a:lnTo>
                    <a:pt x="288515" y="269510"/>
                  </a:lnTo>
                  <a:lnTo>
                    <a:pt x="289411" y="269476"/>
                  </a:lnTo>
                  <a:lnTo>
                    <a:pt x="290189" y="269942"/>
                  </a:lnTo>
                  <a:lnTo>
                    <a:pt x="292156" y="272090"/>
                  </a:lnTo>
                  <a:lnTo>
                    <a:pt x="294296" y="274052"/>
                  </a:lnTo>
                  <a:lnTo>
                    <a:pt x="294784" y="275052"/>
                  </a:lnTo>
                  <a:lnTo>
                    <a:pt x="296235" y="279782"/>
                  </a:lnTo>
                  <a:lnTo>
                    <a:pt x="297877" y="281144"/>
                  </a:lnTo>
                  <a:lnTo>
                    <a:pt x="300128" y="281538"/>
                  </a:lnTo>
                  <a:lnTo>
                    <a:pt x="302776" y="281540"/>
                  </a:lnTo>
                  <a:lnTo>
                    <a:pt x="305406" y="281738"/>
                  </a:lnTo>
                  <a:lnTo>
                    <a:pt x="311506" y="282842"/>
                  </a:lnTo>
                  <a:lnTo>
                    <a:pt x="313927" y="282690"/>
                  </a:lnTo>
                  <a:lnTo>
                    <a:pt x="316069" y="281580"/>
                  </a:lnTo>
                  <a:lnTo>
                    <a:pt x="317978" y="282300"/>
                  </a:lnTo>
                  <a:lnTo>
                    <a:pt x="323154" y="283630"/>
                  </a:lnTo>
                  <a:lnTo>
                    <a:pt x="325702" y="283927"/>
                  </a:lnTo>
                  <a:lnTo>
                    <a:pt x="328596" y="283547"/>
                  </a:lnTo>
                  <a:lnTo>
                    <a:pt x="331500" y="283467"/>
                  </a:lnTo>
                  <a:lnTo>
                    <a:pt x="332882" y="283851"/>
                  </a:lnTo>
                  <a:lnTo>
                    <a:pt x="334212" y="284428"/>
                  </a:lnTo>
                  <a:lnTo>
                    <a:pt x="335355" y="284636"/>
                  </a:lnTo>
                  <a:lnTo>
                    <a:pt x="336538" y="284625"/>
                  </a:lnTo>
                  <a:lnTo>
                    <a:pt x="338631" y="283515"/>
                  </a:lnTo>
                  <a:lnTo>
                    <a:pt x="340017" y="281480"/>
                  </a:lnTo>
                  <a:lnTo>
                    <a:pt x="341137" y="278914"/>
                  </a:lnTo>
                  <a:lnTo>
                    <a:pt x="342016" y="276242"/>
                  </a:lnTo>
                  <a:lnTo>
                    <a:pt x="342608" y="275093"/>
                  </a:lnTo>
                  <a:lnTo>
                    <a:pt x="343407" y="274078"/>
                  </a:lnTo>
                  <a:lnTo>
                    <a:pt x="344452" y="273419"/>
                  </a:lnTo>
                  <a:lnTo>
                    <a:pt x="345571" y="273009"/>
                  </a:lnTo>
                  <a:lnTo>
                    <a:pt x="348611" y="273263"/>
                  </a:lnTo>
                  <a:lnTo>
                    <a:pt x="349239" y="273909"/>
                  </a:lnTo>
                  <a:lnTo>
                    <a:pt x="352638" y="278446"/>
                  </a:lnTo>
                  <a:lnTo>
                    <a:pt x="353238" y="278838"/>
                  </a:lnTo>
                  <a:lnTo>
                    <a:pt x="356788" y="279122"/>
                  </a:lnTo>
                  <a:lnTo>
                    <a:pt x="357771" y="278975"/>
                  </a:lnTo>
                  <a:lnTo>
                    <a:pt x="359937" y="278064"/>
                  </a:lnTo>
                  <a:lnTo>
                    <a:pt x="361172" y="277984"/>
                  </a:lnTo>
                  <a:lnTo>
                    <a:pt x="363455" y="279105"/>
                  </a:lnTo>
                  <a:lnTo>
                    <a:pt x="364439" y="280059"/>
                  </a:lnTo>
                  <a:lnTo>
                    <a:pt x="365534" y="280764"/>
                  </a:lnTo>
                  <a:lnTo>
                    <a:pt x="371112" y="281487"/>
                  </a:lnTo>
                  <a:lnTo>
                    <a:pt x="373266" y="283428"/>
                  </a:lnTo>
                  <a:lnTo>
                    <a:pt x="374359" y="283688"/>
                  </a:lnTo>
                  <a:lnTo>
                    <a:pt x="378242" y="283452"/>
                  </a:lnTo>
                  <a:lnTo>
                    <a:pt x="380924" y="283643"/>
                  </a:lnTo>
                  <a:lnTo>
                    <a:pt x="383260" y="284164"/>
                  </a:lnTo>
                  <a:lnTo>
                    <a:pt x="384314" y="286921"/>
                  </a:lnTo>
                  <a:lnTo>
                    <a:pt x="385178" y="289753"/>
                  </a:lnTo>
                  <a:lnTo>
                    <a:pt x="385681" y="290714"/>
                  </a:lnTo>
                  <a:lnTo>
                    <a:pt x="387963" y="291687"/>
                  </a:lnTo>
                  <a:lnTo>
                    <a:pt x="388900" y="292564"/>
                  </a:lnTo>
                  <a:lnTo>
                    <a:pt x="388649" y="295390"/>
                  </a:lnTo>
                  <a:lnTo>
                    <a:pt x="388905" y="298076"/>
                  </a:lnTo>
                  <a:lnTo>
                    <a:pt x="393749" y="300417"/>
                  </a:lnTo>
                  <a:lnTo>
                    <a:pt x="398942" y="301762"/>
                  </a:lnTo>
                  <a:lnTo>
                    <a:pt x="404453" y="301888"/>
                  </a:lnTo>
                  <a:lnTo>
                    <a:pt x="409977" y="301425"/>
                  </a:lnTo>
                  <a:lnTo>
                    <a:pt x="412825" y="300851"/>
                  </a:lnTo>
                  <a:lnTo>
                    <a:pt x="416386" y="299848"/>
                  </a:lnTo>
                  <a:lnTo>
                    <a:pt x="417124" y="299868"/>
                  </a:lnTo>
                  <a:lnTo>
                    <a:pt x="424023" y="302939"/>
                  </a:lnTo>
                  <a:lnTo>
                    <a:pt x="424611" y="303414"/>
                  </a:lnTo>
                  <a:lnTo>
                    <a:pt x="425383" y="305708"/>
                  </a:lnTo>
                  <a:lnTo>
                    <a:pt x="425362" y="308133"/>
                  </a:lnTo>
                  <a:lnTo>
                    <a:pt x="424073" y="313891"/>
                  </a:lnTo>
                  <a:lnTo>
                    <a:pt x="423993" y="315471"/>
                  </a:lnTo>
                  <a:lnTo>
                    <a:pt x="424116" y="317049"/>
                  </a:lnTo>
                  <a:lnTo>
                    <a:pt x="425485" y="320481"/>
                  </a:lnTo>
                  <a:lnTo>
                    <a:pt x="426213" y="321473"/>
                  </a:lnTo>
                  <a:lnTo>
                    <a:pt x="428717" y="323276"/>
                  </a:lnTo>
                  <a:lnTo>
                    <a:pt x="428810" y="324222"/>
                  </a:lnTo>
                  <a:lnTo>
                    <a:pt x="428469" y="325167"/>
                  </a:lnTo>
                  <a:lnTo>
                    <a:pt x="425714" y="324518"/>
                  </a:lnTo>
                  <a:lnTo>
                    <a:pt x="424034" y="323735"/>
                  </a:lnTo>
                  <a:lnTo>
                    <a:pt x="423063" y="322443"/>
                  </a:lnTo>
                  <a:lnTo>
                    <a:pt x="421684" y="321714"/>
                  </a:lnTo>
                  <a:lnTo>
                    <a:pt x="419091" y="321977"/>
                  </a:lnTo>
                  <a:lnTo>
                    <a:pt x="414241" y="320683"/>
                  </a:lnTo>
                  <a:lnTo>
                    <a:pt x="408763" y="318672"/>
                  </a:lnTo>
                  <a:lnTo>
                    <a:pt x="399050" y="314412"/>
                  </a:lnTo>
                  <a:lnTo>
                    <a:pt x="396405" y="314447"/>
                  </a:lnTo>
                  <a:lnTo>
                    <a:pt x="393868" y="314991"/>
                  </a:lnTo>
                  <a:lnTo>
                    <a:pt x="391188" y="316076"/>
                  </a:lnTo>
                  <a:lnTo>
                    <a:pt x="388400" y="316847"/>
                  </a:lnTo>
                  <a:lnTo>
                    <a:pt x="386346" y="317139"/>
                  </a:lnTo>
                  <a:lnTo>
                    <a:pt x="384295" y="316925"/>
                  </a:lnTo>
                  <a:lnTo>
                    <a:pt x="379110" y="315901"/>
                  </a:lnTo>
                  <a:lnTo>
                    <a:pt x="373882" y="315241"/>
                  </a:lnTo>
                  <a:lnTo>
                    <a:pt x="360501" y="314821"/>
                  </a:lnTo>
                  <a:lnTo>
                    <a:pt x="356711" y="313856"/>
                  </a:lnTo>
                  <a:lnTo>
                    <a:pt x="350449" y="313362"/>
                  </a:lnTo>
                  <a:lnTo>
                    <a:pt x="345469" y="312525"/>
                  </a:lnTo>
                  <a:lnTo>
                    <a:pt x="340539" y="311356"/>
                  </a:lnTo>
                  <a:lnTo>
                    <a:pt x="327967" y="305596"/>
                  </a:lnTo>
                  <a:lnTo>
                    <a:pt x="323854" y="304214"/>
                  </a:lnTo>
                  <a:lnTo>
                    <a:pt x="311228" y="301466"/>
                  </a:lnTo>
                  <a:lnTo>
                    <a:pt x="309280" y="301245"/>
                  </a:lnTo>
                  <a:lnTo>
                    <a:pt x="304706" y="301449"/>
                  </a:lnTo>
                  <a:lnTo>
                    <a:pt x="301821" y="300643"/>
                  </a:lnTo>
                  <a:lnTo>
                    <a:pt x="299278" y="300626"/>
                  </a:lnTo>
                  <a:lnTo>
                    <a:pt x="295503" y="301518"/>
                  </a:lnTo>
                  <a:lnTo>
                    <a:pt x="294341" y="302159"/>
                  </a:lnTo>
                  <a:lnTo>
                    <a:pt x="292878" y="303514"/>
                  </a:lnTo>
                  <a:lnTo>
                    <a:pt x="290308" y="303449"/>
                  </a:lnTo>
                  <a:lnTo>
                    <a:pt x="287764" y="303189"/>
                  </a:lnTo>
                  <a:lnTo>
                    <a:pt x="281064" y="301894"/>
                  </a:lnTo>
                  <a:lnTo>
                    <a:pt x="278563" y="301099"/>
                  </a:lnTo>
                  <a:lnTo>
                    <a:pt x="276162" y="299924"/>
                  </a:lnTo>
                  <a:lnTo>
                    <a:pt x="273996" y="298393"/>
                  </a:lnTo>
                  <a:lnTo>
                    <a:pt x="272869" y="297841"/>
                  </a:lnTo>
                  <a:lnTo>
                    <a:pt x="267077" y="296280"/>
                  </a:lnTo>
                  <a:lnTo>
                    <a:pt x="262350" y="295742"/>
                  </a:lnTo>
                  <a:lnTo>
                    <a:pt x="252627" y="295032"/>
                  </a:lnTo>
                  <a:lnTo>
                    <a:pt x="250502" y="294559"/>
                  </a:lnTo>
                  <a:lnTo>
                    <a:pt x="248731" y="293990"/>
                  </a:lnTo>
                  <a:lnTo>
                    <a:pt x="247759" y="292724"/>
                  </a:lnTo>
                  <a:lnTo>
                    <a:pt x="247882" y="291116"/>
                  </a:lnTo>
                  <a:lnTo>
                    <a:pt x="248580" y="289725"/>
                  </a:lnTo>
                  <a:lnTo>
                    <a:pt x="249532" y="288327"/>
                  </a:lnTo>
                  <a:lnTo>
                    <a:pt x="250156" y="286990"/>
                  </a:lnTo>
                  <a:lnTo>
                    <a:pt x="243047" y="284194"/>
                  </a:lnTo>
                  <a:lnTo>
                    <a:pt x="237433" y="282664"/>
                  </a:lnTo>
                  <a:lnTo>
                    <a:pt x="235010" y="282371"/>
                  </a:lnTo>
                  <a:lnTo>
                    <a:pt x="232579" y="282378"/>
                  </a:lnTo>
                  <a:lnTo>
                    <a:pt x="229840" y="282695"/>
                  </a:lnTo>
                  <a:lnTo>
                    <a:pt x="227130" y="282547"/>
                  </a:lnTo>
                  <a:lnTo>
                    <a:pt x="225856" y="282092"/>
                  </a:lnTo>
                  <a:lnTo>
                    <a:pt x="224555" y="281935"/>
                  </a:lnTo>
                  <a:lnTo>
                    <a:pt x="223250" y="282265"/>
                  </a:lnTo>
                  <a:lnTo>
                    <a:pt x="222201" y="282137"/>
                  </a:lnTo>
                  <a:lnTo>
                    <a:pt x="221928" y="280866"/>
                  </a:lnTo>
                  <a:lnTo>
                    <a:pt x="222598" y="279786"/>
                  </a:lnTo>
                  <a:lnTo>
                    <a:pt x="223973" y="278558"/>
                  </a:lnTo>
                  <a:lnTo>
                    <a:pt x="224753" y="278341"/>
                  </a:lnTo>
                  <a:lnTo>
                    <a:pt x="225109" y="280261"/>
                  </a:lnTo>
                  <a:lnTo>
                    <a:pt x="225500" y="280642"/>
                  </a:lnTo>
                  <a:lnTo>
                    <a:pt x="226718" y="281063"/>
                  </a:lnTo>
                  <a:lnTo>
                    <a:pt x="227247" y="280944"/>
                  </a:lnTo>
                  <a:lnTo>
                    <a:pt x="229395" y="278489"/>
                  </a:lnTo>
                  <a:lnTo>
                    <a:pt x="229996" y="277283"/>
                  </a:lnTo>
                  <a:lnTo>
                    <a:pt x="231036" y="274015"/>
                  </a:lnTo>
                  <a:lnTo>
                    <a:pt x="232164" y="274646"/>
                  </a:lnTo>
                  <a:lnTo>
                    <a:pt x="233300" y="274256"/>
                  </a:lnTo>
                  <a:lnTo>
                    <a:pt x="233952" y="273735"/>
                  </a:lnTo>
                  <a:lnTo>
                    <a:pt x="235751" y="266177"/>
                  </a:lnTo>
                  <a:lnTo>
                    <a:pt x="237252" y="263971"/>
                  </a:lnTo>
                  <a:lnTo>
                    <a:pt x="239301" y="262135"/>
                  </a:lnTo>
                  <a:lnTo>
                    <a:pt x="240322" y="261689"/>
                  </a:lnTo>
                  <a:lnTo>
                    <a:pt x="242330" y="262811"/>
                  </a:lnTo>
                  <a:lnTo>
                    <a:pt x="246397" y="263240"/>
                  </a:lnTo>
                  <a:lnTo>
                    <a:pt x="248815" y="263983"/>
                  </a:lnTo>
                  <a:lnTo>
                    <a:pt x="251240" y="264079"/>
                  </a:lnTo>
                  <a:lnTo>
                    <a:pt x="253609" y="264445"/>
                  </a:lnTo>
                  <a:lnTo>
                    <a:pt x="256911" y="265774"/>
                  </a:lnTo>
                  <a:lnTo>
                    <a:pt x="258077" y="265635"/>
                  </a:lnTo>
                  <a:lnTo>
                    <a:pt x="259264" y="265223"/>
                  </a:lnTo>
                  <a:lnTo>
                    <a:pt x="261033" y="263782"/>
                  </a:lnTo>
                  <a:close/>
                  <a:moveTo>
                    <a:pt x="636147" y="260935"/>
                  </a:moveTo>
                  <a:lnTo>
                    <a:pt x="637189" y="261422"/>
                  </a:lnTo>
                  <a:lnTo>
                    <a:pt x="637815" y="263011"/>
                  </a:lnTo>
                  <a:lnTo>
                    <a:pt x="637612" y="264072"/>
                  </a:lnTo>
                  <a:lnTo>
                    <a:pt x="636807" y="262854"/>
                  </a:lnTo>
                  <a:lnTo>
                    <a:pt x="636068" y="262248"/>
                  </a:lnTo>
                  <a:close/>
                  <a:moveTo>
                    <a:pt x="558789" y="258608"/>
                  </a:moveTo>
                  <a:lnTo>
                    <a:pt x="560045" y="261459"/>
                  </a:lnTo>
                  <a:lnTo>
                    <a:pt x="560378" y="262911"/>
                  </a:lnTo>
                  <a:lnTo>
                    <a:pt x="559916" y="270217"/>
                  </a:lnTo>
                  <a:lnTo>
                    <a:pt x="559009" y="273911"/>
                  </a:lnTo>
                  <a:lnTo>
                    <a:pt x="558581" y="272608"/>
                  </a:lnTo>
                  <a:lnTo>
                    <a:pt x="558421" y="269231"/>
                  </a:lnTo>
                  <a:lnTo>
                    <a:pt x="557865" y="267592"/>
                  </a:lnTo>
                  <a:lnTo>
                    <a:pt x="558218" y="265700"/>
                  </a:lnTo>
                  <a:lnTo>
                    <a:pt x="558106" y="260848"/>
                  </a:lnTo>
                  <a:close/>
                  <a:moveTo>
                    <a:pt x="386594" y="257518"/>
                  </a:moveTo>
                  <a:lnTo>
                    <a:pt x="387419" y="258107"/>
                  </a:lnTo>
                  <a:lnTo>
                    <a:pt x="387245" y="259401"/>
                  </a:lnTo>
                  <a:lnTo>
                    <a:pt x="386770" y="260187"/>
                  </a:lnTo>
                  <a:lnTo>
                    <a:pt x="384651" y="260124"/>
                  </a:lnTo>
                  <a:lnTo>
                    <a:pt x="384295" y="259236"/>
                  </a:lnTo>
                  <a:lnTo>
                    <a:pt x="385677" y="257622"/>
                  </a:lnTo>
                  <a:close/>
                  <a:moveTo>
                    <a:pt x="827513" y="254875"/>
                  </a:moveTo>
                  <a:lnTo>
                    <a:pt x="829009" y="254919"/>
                  </a:lnTo>
                  <a:lnTo>
                    <a:pt x="829422" y="255792"/>
                  </a:lnTo>
                  <a:lnTo>
                    <a:pt x="829893" y="256088"/>
                  </a:lnTo>
                  <a:lnTo>
                    <a:pt x="831363" y="258909"/>
                  </a:lnTo>
                  <a:lnTo>
                    <a:pt x="831426" y="260282"/>
                  </a:lnTo>
                  <a:lnTo>
                    <a:pt x="830080" y="262419"/>
                  </a:lnTo>
                  <a:lnTo>
                    <a:pt x="829165" y="261665"/>
                  </a:lnTo>
                  <a:lnTo>
                    <a:pt x="828646" y="261654"/>
                  </a:lnTo>
                  <a:lnTo>
                    <a:pt x="828334" y="260399"/>
                  </a:lnTo>
                  <a:lnTo>
                    <a:pt x="828645" y="257800"/>
                  </a:lnTo>
                  <a:close/>
                  <a:moveTo>
                    <a:pt x="870425" y="250890"/>
                  </a:moveTo>
                  <a:lnTo>
                    <a:pt x="871435" y="251140"/>
                  </a:lnTo>
                  <a:lnTo>
                    <a:pt x="872090" y="252332"/>
                  </a:lnTo>
                  <a:lnTo>
                    <a:pt x="872348" y="253372"/>
                  </a:lnTo>
                  <a:lnTo>
                    <a:pt x="872076" y="254306"/>
                  </a:lnTo>
                  <a:lnTo>
                    <a:pt x="873298" y="254787"/>
                  </a:lnTo>
                  <a:lnTo>
                    <a:pt x="874320" y="257093"/>
                  </a:lnTo>
                  <a:lnTo>
                    <a:pt x="874145" y="257949"/>
                  </a:lnTo>
                  <a:lnTo>
                    <a:pt x="874130" y="259529"/>
                  </a:lnTo>
                  <a:lnTo>
                    <a:pt x="874497" y="260991"/>
                  </a:lnTo>
                  <a:lnTo>
                    <a:pt x="873551" y="262478"/>
                  </a:lnTo>
                  <a:lnTo>
                    <a:pt x="874434" y="264705"/>
                  </a:lnTo>
                  <a:lnTo>
                    <a:pt x="874566" y="265813"/>
                  </a:lnTo>
                  <a:lnTo>
                    <a:pt x="874517" y="267380"/>
                  </a:lnTo>
                  <a:lnTo>
                    <a:pt x="874264" y="268084"/>
                  </a:lnTo>
                  <a:lnTo>
                    <a:pt x="873594" y="270143"/>
                  </a:lnTo>
                  <a:lnTo>
                    <a:pt x="872925" y="270876"/>
                  </a:lnTo>
                  <a:lnTo>
                    <a:pt x="872422" y="271080"/>
                  </a:lnTo>
                  <a:lnTo>
                    <a:pt x="871902" y="271702"/>
                  </a:lnTo>
                  <a:lnTo>
                    <a:pt x="867556" y="271026"/>
                  </a:lnTo>
                  <a:lnTo>
                    <a:pt x="865678" y="269597"/>
                  </a:lnTo>
                  <a:lnTo>
                    <a:pt x="864005" y="268049"/>
                  </a:lnTo>
                  <a:lnTo>
                    <a:pt x="863651" y="267403"/>
                  </a:lnTo>
                  <a:lnTo>
                    <a:pt x="861681" y="265598"/>
                  </a:lnTo>
                  <a:lnTo>
                    <a:pt x="861227" y="264989"/>
                  </a:lnTo>
                  <a:lnTo>
                    <a:pt x="861189" y="264027"/>
                  </a:lnTo>
                  <a:lnTo>
                    <a:pt x="862780" y="263782"/>
                  </a:lnTo>
                  <a:lnTo>
                    <a:pt x="864480" y="263810"/>
                  </a:lnTo>
                  <a:lnTo>
                    <a:pt x="864406" y="262943"/>
                  </a:lnTo>
                  <a:lnTo>
                    <a:pt x="865388" y="259888"/>
                  </a:lnTo>
                  <a:lnTo>
                    <a:pt x="862804" y="257923"/>
                  </a:lnTo>
                  <a:lnTo>
                    <a:pt x="862344" y="257098"/>
                  </a:lnTo>
                  <a:lnTo>
                    <a:pt x="863271" y="256537"/>
                  </a:lnTo>
                  <a:lnTo>
                    <a:pt x="865350" y="257224"/>
                  </a:lnTo>
                  <a:lnTo>
                    <a:pt x="867894" y="253777"/>
                  </a:lnTo>
                  <a:lnTo>
                    <a:pt x="868645" y="253058"/>
                  </a:lnTo>
                  <a:lnTo>
                    <a:pt x="869001" y="251137"/>
                  </a:lnTo>
                  <a:close/>
                  <a:moveTo>
                    <a:pt x="838226" y="248303"/>
                  </a:moveTo>
                  <a:lnTo>
                    <a:pt x="838753" y="248463"/>
                  </a:lnTo>
                  <a:lnTo>
                    <a:pt x="839513" y="249134"/>
                  </a:lnTo>
                  <a:lnTo>
                    <a:pt x="838336" y="254187"/>
                  </a:lnTo>
                  <a:lnTo>
                    <a:pt x="835051" y="257733"/>
                  </a:lnTo>
                  <a:lnTo>
                    <a:pt x="834060" y="261420"/>
                  </a:lnTo>
                  <a:lnTo>
                    <a:pt x="832264" y="263327"/>
                  </a:lnTo>
                  <a:lnTo>
                    <a:pt x="833959" y="258829"/>
                  </a:lnTo>
                  <a:lnTo>
                    <a:pt x="834313" y="256552"/>
                  </a:lnTo>
                  <a:lnTo>
                    <a:pt x="835886" y="255194"/>
                  </a:lnTo>
                  <a:close/>
                  <a:moveTo>
                    <a:pt x="153610" y="247761"/>
                  </a:moveTo>
                  <a:lnTo>
                    <a:pt x="154603" y="247820"/>
                  </a:lnTo>
                  <a:lnTo>
                    <a:pt x="158436" y="249539"/>
                  </a:lnTo>
                  <a:lnTo>
                    <a:pt x="159181" y="250390"/>
                  </a:lnTo>
                  <a:lnTo>
                    <a:pt x="158335" y="252029"/>
                  </a:lnTo>
                  <a:lnTo>
                    <a:pt x="156538" y="252136"/>
                  </a:lnTo>
                  <a:lnTo>
                    <a:pt x="153212" y="249409"/>
                  </a:lnTo>
                  <a:lnTo>
                    <a:pt x="152664" y="248567"/>
                  </a:lnTo>
                  <a:close/>
                  <a:moveTo>
                    <a:pt x="626967" y="246954"/>
                  </a:moveTo>
                  <a:lnTo>
                    <a:pt x="628428" y="247436"/>
                  </a:lnTo>
                  <a:lnTo>
                    <a:pt x="628340" y="249686"/>
                  </a:lnTo>
                  <a:lnTo>
                    <a:pt x="627453" y="249561"/>
                  </a:lnTo>
                  <a:lnTo>
                    <a:pt x="626733" y="248773"/>
                  </a:lnTo>
                  <a:lnTo>
                    <a:pt x="626530" y="248030"/>
                  </a:lnTo>
                  <a:lnTo>
                    <a:pt x="626571" y="247426"/>
                  </a:lnTo>
                  <a:close/>
                  <a:moveTo>
                    <a:pt x="590549" y="243018"/>
                  </a:moveTo>
                  <a:lnTo>
                    <a:pt x="591700" y="243091"/>
                  </a:lnTo>
                  <a:lnTo>
                    <a:pt x="592455" y="244537"/>
                  </a:lnTo>
                  <a:lnTo>
                    <a:pt x="593365" y="244936"/>
                  </a:lnTo>
                  <a:lnTo>
                    <a:pt x="593824" y="246321"/>
                  </a:lnTo>
                  <a:lnTo>
                    <a:pt x="593407" y="251126"/>
                  </a:lnTo>
                  <a:lnTo>
                    <a:pt x="592007" y="251720"/>
                  </a:lnTo>
                  <a:lnTo>
                    <a:pt x="589348" y="249182"/>
                  </a:lnTo>
                  <a:lnTo>
                    <a:pt x="588223" y="247094"/>
                  </a:lnTo>
                  <a:lnTo>
                    <a:pt x="588493" y="245914"/>
                  </a:lnTo>
                  <a:lnTo>
                    <a:pt x="589287" y="244879"/>
                  </a:lnTo>
                  <a:lnTo>
                    <a:pt x="589666" y="244622"/>
                  </a:lnTo>
                  <a:lnTo>
                    <a:pt x="589501" y="243543"/>
                  </a:lnTo>
                  <a:close/>
                  <a:moveTo>
                    <a:pt x="607979" y="232964"/>
                  </a:moveTo>
                  <a:lnTo>
                    <a:pt x="608815" y="234213"/>
                  </a:lnTo>
                  <a:lnTo>
                    <a:pt x="609260" y="239950"/>
                  </a:lnTo>
                  <a:lnTo>
                    <a:pt x="606035" y="244490"/>
                  </a:lnTo>
                  <a:lnTo>
                    <a:pt x="606722" y="247389"/>
                  </a:lnTo>
                  <a:lnTo>
                    <a:pt x="606152" y="248861"/>
                  </a:lnTo>
                  <a:lnTo>
                    <a:pt x="604926" y="250007"/>
                  </a:lnTo>
                  <a:lnTo>
                    <a:pt x="603950" y="250089"/>
                  </a:lnTo>
                  <a:lnTo>
                    <a:pt x="602931" y="249855"/>
                  </a:lnTo>
                  <a:lnTo>
                    <a:pt x="601125" y="248852"/>
                  </a:lnTo>
                  <a:lnTo>
                    <a:pt x="600667" y="249909"/>
                  </a:lnTo>
                  <a:lnTo>
                    <a:pt x="599247" y="249862"/>
                  </a:lnTo>
                  <a:lnTo>
                    <a:pt x="598718" y="248500"/>
                  </a:lnTo>
                  <a:lnTo>
                    <a:pt x="599733" y="244468"/>
                  </a:lnTo>
                  <a:lnTo>
                    <a:pt x="601220" y="242964"/>
                  </a:lnTo>
                  <a:lnTo>
                    <a:pt x="601082" y="241383"/>
                  </a:lnTo>
                  <a:lnTo>
                    <a:pt x="599853" y="238015"/>
                  </a:lnTo>
                  <a:lnTo>
                    <a:pt x="600615" y="236256"/>
                  </a:lnTo>
                  <a:lnTo>
                    <a:pt x="604053" y="234925"/>
                  </a:lnTo>
                  <a:lnTo>
                    <a:pt x="607051" y="233302"/>
                  </a:lnTo>
                  <a:close/>
                  <a:moveTo>
                    <a:pt x="616219" y="227830"/>
                  </a:moveTo>
                  <a:lnTo>
                    <a:pt x="616094" y="228864"/>
                  </a:lnTo>
                  <a:lnTo>
                    <a:pt x="618545" y="231469"/>
                  </a:lnTo>
                  <a:lnTo>
                    <a:pt x="619058" y="236234"/>
                  </a:lnTo>
                  <a:lnTo>
                    <a:pt x="618897" y="237485"/>
                  </a:lnTo>
                  <a:lnTo>
                    <a:pt x="617653" y="235652"/>
                  </a:lnTo>
                  <a:lnTo>
                    <a:pt x="617207" y="235286"/>
                  </a:lnTo>
                  <a:lnTo>
                    <a:pt x="616865" y="235652"/>
                  </a:lnTo>
                  <a:lnTo>
                    <a:pt x="616425" y="235853"/>
                  </a:lnTo>
                  <a:lnTo>
                    <a:pt x="615790" y="235836"/>
                  </a:lnTo>
                  <a:lnTo>
                    <a:pt x="614966" y="237686"/>
                  </a:lnTo>
                  <a:lnTo>
                    <a:pt x="614894" y="239426"/>
                  </a:lnTo>
                  <a:lnTo>
                    <a:pt x="614272" y="240598"/>
                  </a:lnTo>
                  <a:lnTo>
                    <a:pt x="613943" y="244485"/>
                  </a:lnTo>
                  <a:lnTo>
                    <a:pt x="614151" y="245533"/>
                  </a:lnTo>
                  <a:lnTo>
                    <a:pt x="615114" y="245016"/>
                  </a:lnTo>
                  <a:lnTo>
                    <a:pt x="615708" y="244884"/>
                  </a:lnTo>
                  <a:lnTo>
                    <a:pt x="617884" y="246382"/>
                  </a:lnTo>
                  <a:lnTo>
                    <a:pt x="619035" y="247475"/>
                  </a:lnTo>
                  <a:lnTo>
                    <a:pt x="618711" y="248799"/>
                  </a:lnTo>
                  <a:lnTo>
                    <a:pt x="617238" y="250132"/>
                  </a:lnTo>
                  <a:lnTo>
                    <a:pt x="615528" y="250713"/>
                  </a:lnTo>
                  <a:lnTo>
                    <a:pt x="614254" y="250141"/>
                  </a:lnTo>
                  <a:lnTo>
                    <a:pt x="613878" y="250412"/>
                  </a:lnTo>
                  <a:lnTo>
                    <a:pt x="613125" y="251098"/>
                  </a:lnTo>
                  <a:lnTo>
                    <a:pt x="612553" y="252001"/>
                  </a:lnTo>
                  <a:lnTo>
                    <a:pt x="612717" y="252931"/>
                  </a:lnTo>
                  <a:lnTo>
                    <a:pt x="611257" y="255562"/>
                  </a:lnTo>
                  <a:lnTo>
                    <a:pt x="610415" y="256301"/>
                  </a:lnTo>
                  <a:lnTo>
                    <a:pt x="608668" y="255495"/>
                  </a:lnTo>
                  <a:lnTo>
                    <a:pt x="607590" y="256188"/>
                  </a:lnTo>
                  <a:lnTo>
                    <a:pt x="606720" y="256125"/>
                  </a:lnTo>
                  <a:lnTo>
                    <a:pt x="605392" y="253491"/>
                  </a:lnTo>
                  <a:lnTo>
                    <a:pt x="605424" y="252255"/>
                  </a:lnTo>
                  <a:lnTo>
                    <a:pt x="606658" y="250866"/>
                  </a:lnTo>
                  <a:lnTo>
                    <a:pt x="606666" y="249866"/>
                  </a:lnTo>
                  <a:lnTo>
                    <a:pt x="607275" y="248751"/>
                  </a:lnTo>
                  <a:lnTo>
                    <a:pt x="608631" y="247222"/>
                  </a:lnTo>
                  <a:lnTo>
                    <a:pt x="609406" y="246075"/>
                  </a:lnTo>
                  <a:lnTo>
                    <a:pt x="609430" y="245345"/>
                  </a:lnTo>
                  <a:lnTo>
                    <a:pt x="610007" y="242578"/>
                  </a:lnTo>
                  <a:lnTo>
                    <a:pt x="610231" y="241418"/>
                  </a:lnTo>
                  <a:lnTo>
                    <a:pt x="610623" y="240184"/>
                  </a:lnTo>
                  <a:lnTo>
                    <a:pt x="611240" y="237676"/>
                  </a:lnTo>
                  <a:lnTo>
                    <a:pt x="611326" y="232958"/>
                  </a:lnTo>
                  <a:lnTo>
                    <a:pt x="613395" y="229065"/>
                  </a:lnTo>
                  <a:lnTo>
                    <a:pt x="615416" y="228003"/>
                  </a:lnTo>
                  <a:close/>
                  <a:moveTo>
                    <a:pt x="842787" y="221719"/>
                  </a:moveTo>
                  <a:lnTo>
                    <a:pt x="845959" y="223685"/>
                  </a:lnTo>
                  <a:lnTo>
                    <a:pt x="848312" y="224706"/>
                  </a:lnTo>
                  <a:lnTo>
                    <a:pt x="849441" y="225890"/>
                  </a:lnTo>
                  <a:lnTo>
                    <a:pt x="846811" y="224961"/>
                  </a:lnTo>
                  <a:lnTo>
                    <a:pt x="843054" y="223017"/>
                  </a:lnTo>
                  <a:close/>
                  <a:moveTo>
                    <a:pt x="615120" y="218838"/>
                  </a:moveTo>
                  <a:lnTo>
                    <a:pt x="619255" y="219206"/>
                  </a:lnTo>
                  <a:lnTo>
                    <a:pt x="620031" y="220166"/>
                  </a:lnTo>
                  <a:lnTo>
                    <a:pt x="619930" y="221762"/>
                  </a:lnTo>
                  <a:lnTo>
                    <a:pt x="617766" y="224427"/>
                  </a:lnTo>
                  <a:lnTo>
                    <a:pt x="616254" y="224291"/>
                  </a:lnTo>
                  <a:lnTo>
                    <a:pt x="614453" y="222539"/>
                  </a:lnTo>
                  <a:lnTo>
                    <a:pt x="613926" y="220618"/>
                  </a:lnTo>
                  <a:lnTo>
                    <a:pt x="613885" y="219924"/>
                  </a:lnTo>
                  <a:close/>
                  <a:moveTo>
                    <a:pt x="735115" y="208515"/>
                  </a:moveTo>
                  <a:lnTo>
                    <a:pt x="736989" y="209103"/>
                  </a:lnTo>
                  <a:lnTo>
                    <a:pt x="737570" y="210080"/>
                  </a:lnTo>
                  <a:lnTo>
                    <a:pt x="733789" y="211241"/>
                  </a:lnTo>
                  <a:lnTo>
                    <a:pt x="734601" y="209084"/>
                  </a:lnTo>
                  <a:close/>
                  <a:moveTo>
                    <a:pt x="730976" y="208461"/>
                  </a:moveTo>
                  <a:lnTo>
                    <a:pt x="732407" y="208541"/>
                  </a:lnTo>
                  <a:lnTo>
                    <a:pt x="732066" y="209598"/>
                  </a:lnTo>
                  <a:lnTo>
                    <a:pt x="731566" y="210351"/>
                  </a:lnTo>
                  <a:lnTo>
                    <a:pt x="731265" y="211137"/>
                  </a:lnTo>
                  <a:lnTo>
                    <a:pt x="731224" y="212054"/>
                  </a:lnTo>
                  <a:lnTo>
                    <a:pt x="730656" y="212863"/>
                  </a:lnTo>
                  <a:lnTo>
                    <a:pt x="729371" y="213397"/>
                  </a:lnTo>
                  <a:lnTo>
                    <a:pt x="728296" y="213341"/>
                  </a:lnTo>
                  <a:lnTo>
                    <a:pt x="728646" y="212565"/>
                  </a:lnTo>
                  <a:lnTo>
                    <a:pt x="728378" y="212111"/>
                  </a:lnTo>
                  <a:lnTo>
                    <a:pt x="727581" y="212316"/>
                  </a:lnTo>
                  <a:lnTo>
                    <a:pt x="726285" y="212939"/>
                  </a:lnTo>
                  <a:lnTo>
                    <a:pt x="724644" y="214188"/>
                  </a:lnTo>
                  <a:lnTo>
                    <a:pt x="723679" y="213570"/>
                  </a:lnTo>
                  <a:lnTo>
                    <a:pt x="723471" y="212601"/>
                  </a:lnTo>
                  <a:lnTo>
                    <a:pt x="723528" y="212160"/>
                  </a:lnTo>
                  <a:lnTo>
                    <a:pt x="725488" y="210422"/>
                  </a:lnTo>
                  <a:lnTo>
                    <a:pt x="727765" y="210126"/>
                  </a:lnTo>
                  <a:close/>
                  <a:moveTo>
                    <a:pt x="738285" y="208074"/>
                  </a:moveTo>
                  <a:lnTo>
                    <a:pt x="739868" y="208558"/>
                  </a:lnTo>
                  <a:lnTo>
                    <a:pt x="740467" y="208731"/>
                  </a:lnTo>
                  <a:lnTo>
                    <a:pt x="741105" y="209226"/>
                  </a:lnTo>
                  <a:lnTo>
                    <a:pt x="741053" y="210163"/>
                  </a:lnTo>
                  <a:lnTo>
                    <a:pt x="740902" y="210459"/>
                  </a:lnTo>
                  <a:lnTo>
                    <a:pt x="739698" y="210132"/>
                  </a:lnTo>
                  <a:lnTo>
                    <a:pt x="738829" y="210149"/>
                  </a:lnTo>
                  <a:lnTo>
                    <a:pt x="738069" y="208459"/>
                  </a:lnTo>
                  <a:close/>
                  <a:moveTo>
                    <a:pt x="469226" y="205973"/>
                  </a:moveTo>
                  <a:lnTo>
                    <a:pt x="469163" y="207402"/>
                  </a:lnTo>
                  <a:lnTo>
                    <a:pt x="468360" y="211215"/>
                  </a:lnTo>
                  <a:lnTo>
                    <a:pt x="467006" y="209053"/>
                  </a:lnTo>
                  <a:lnTo>
                    <a:pt x="468526" y="206491"/>
                  </a:lnTo>
                  <a:close/>
                  <a:moveTo>
                    <a:pt x="715279" y="202749"/>
                  </a:moveTo>
                  <a:lnTo>
                    <a:pt x="716424" y="204096"/>
                  </a:lnTo>
                  <a:lnTo>
                    <a:pt x="716933" y="205071"/>
                  </a:lnTo>
                  <a:lnTo>
                    <a:pt x="714760" y="204455"/>
                  </a:lnTo>
                  <a:lnTo>
                    <a:pt x="713802" y="203499"/>
                  </a:lnTo>
                  <a:lnTo>
                    <a:pt x="714748" y="202910"/>
                  </a:lnTo>
                  <a:close/>
                  <a:moveTo>
                    <a:pt x="465749" y="202678"/>
                  </a:moveTo>
                  <a:lnTo>
                    <a:pt x="465581" y="205860"/>
                  </a:lnTo>
                  <a:lnTo>
                    <a:pt x="466121" y="207056"/>
                  </a:lnTo>
                  <a:lnTo>
                    <a:pt x="466310" y="208078"/>
                  </a:lnTo>
                  <a:lnTo>
                    <a:pt x="466021" y="208958"/>
                  </a:lnTo>
                  <a:lnTo>
                    <a:pt x="466533" y="213027"/>
                  </a:lnTo>
                  <a:lnTo>
                    <a:pt x="466831" y="214011"/>
                  </a:lnTo>
                  <a:lnTo>
                    <a:pt x="466181" y="215294"/>
                  </a:lnTo>
                  <a:lnTo>
                    <a:pt x="466492" y="216340"/>
                  </a:lnTo>
                  <a:lnTo>
                    <a:pt x="461849" y="220458"/>
                  </a:lnTo>
                  <a:lnTo>
                    <a:pt x="461085" y="219413"/>
                  </a:lnTo>
                  <a:lnTo>
                    <a:pt x="461486" y="215218"/>
                  </a:lnTo>
                  <a:lnTo>
                    <a:pt x="460191" y="212614"/>
                  </a:lnTo>
                  <a:lnTo>
                    <a:pt x="460281" y="210677"/>
                  </a:lnTo>
                  <a:lnTo>
                    <a:pt x="461191" y="207257"/>
                  </a:lnTo>
                  <a:lnTo>
                    <a:pt x="462380" y="204637"/>
                  </a:lnTo>
                  <a:lnTo>
                    <a:pt x="465077" y="202884"/>
                  </a:lnTo>
                  <a:close/>
                  <a:moveTo>
                    <a:pt x="693180" y="198565"/>
                  </a:moveTo>
                  <a:lnTo>
                    <a:pt x="698779" y="198651"/>
                  </a:lnTo>
                  <a:lnTo>
                    <a:pt x="699947" y="199066"/>
                  </a:lnTo>
                  <a:lnTo>
                    <a:pt x="703582" y="200795"/>
                  </a:lnTo>
                  <a:lnTo>
                    <a:pt x="704408" y="201924"/>
                  </a:lnTo>
                  <a:lnTo>
                    <a:pt x="705061" y="203264"/>
                  </a:lnTo>
                  <a:lnTo>
                    <a:pt x="705776" y="204001"/>
                  </a:lnTo>
                  <a:lnTo>
                    <a:pt x="706633" y="204604"/>
                  </a:lnTo>
                  <a:lnTo>
                    <a:pt x="708045" y="205776"/>
                  </a:lnTo>
                  <a:lnTo>
                    <a:pt x="708419" y="207548"/>
                  </a:lnTo>
                  <a:lnTo>
                    <a:pt x="708095" y="211133"/>
                  </a:lnTo>
                  <a:lnTo>
                    <a:pt x="706449" y="211449"/>
                  </a:lnTo>
                  <a:lnTo>
                    <a:pt x="704899" y="211972"/>
                  </a:lnTo>
                  <a:lnTo>
                    <a:pt x="701712" y="214046"/>
                  </a:lnTo>
                  <a:lnTo>
                    <a:pt x="700142" y="214452"/>
                  </a:lnTo>
                  <a:lnTo>
                    <a:pt x="698466" y="214591"/>
                  </a:lnTo>
                  <a:lnTo>
                    <a:pt x="697276" y="215134"/>
                  </a:lnTo>
                  <a:lnTo>
                    <a:pt x="696082" y="215354"/>
                  </a:lnTo>
                  <a:lnTo>
                    <a:pt x="692994" y="214204"/>
                  </a:lnTo>
                  <a:lnTo>
                    <a:pt x="689997" y="212852"/>
                  </a:lnTo>
                  <a:lnTo>
                    <a:pt x="685651" y="210517"/>
                  </a:lnTo>
                  <a:lnTo>
                    <a:pt x="684849" y="209946"/>
                  </a:lnTo>
                  <a:lnTo>
                    <a:pt x="684149" y="208692"/>
                  </a:lnTo>
                  <a:lnTo>
                    <a:pt x="682156" y="206440"/>
                  </a:lnTo>
                  <a:lnTo>
                    <a:pt x="681658" y="204997"/>
                  </a:lnTo>
                  <a:lnTo>
                    <a:pt x="681491" y="200895"/>
                  </a:lnTo>
                  <a:lnTo>
                    <a:pt x="682014" y="199957"/>
                  </a:lnTo>
                  <a:lnTo>
                    <a:pt x="682858" y="199455"/>
                  </a:lnTo>
                  <a:lnTo>
                    <a:pt x="685762" y="200400"/>
                  </a:lnTo>
                  <a:lnTo>
                    <a:pt x="687678" y="199405"/>
                  </a:lnTo>
                  <a:close/>
                  <a:moveTo>
                    <a:pt x="724863" y="195716"/>
                  </a:moveTo>
                  <a:lnTo>
                    <a:pt x="723752" y="197564"/>
                  </a:lnTo>
                  <a:lnTo>
                    <a:pt x="721805" y="197482"/>
                  </a:lnTo>
                  <a:lnTo>
                    <a:pt x="721465" y="197218"/>
                  </a:lnTo>
                  <a:lnTo>
                    <a:pt x="723768" y="196066"/>
                  </a:lnTo>
                  <a:close/>
                  <a:moveTo>
                    <a:pt x="256284" y="194884"/>
                  </a:moveTo>
                  <a:lnTo>
                    <a:pt x="258800" y="195660"/>
                  </a:lnTo>
                  <a:lnTo>
                    <a:pt x="258264" y="197238"/>
                  </a:lnTo>
                  <a:lnTo>
                    <a:pt x="257895" y="197681"/>
                  </a:lnTo>
                  <a:lnTo>
                    <a:pt x="256669" y="197441"/>
                  </a:lnTo>
                  <a:lnTo>
                    <a:pt x="255785" y="196829"/>
                  </a:lnTo>
                  <a:lnTo>
                    <a:pt x="255230" y="196246"/>
                  </a:lnTo>
                  <a:lnTo>
                    <a:pt x="255090" y="195634"/>
                  </a:lnTo>
                  <a:close/>
                  <a:moveTo>
                    <a:pt x="271266" y="193462"/>
                  </a:moveTo>
                  <a:lnTo>
                    <a:pt x="271825" y="193691"/>
                  </a:lnTo>
                  <a:lnTo>
                    <a:pt x="271242" y="194897"/>
                  </a:lnTo>
                  <a:lnTo>
                    <a:pt x="270346" y="195468"/>
                  </a:lnTo>
                  <a:lnTo>
                    <a:pt x="269826" y="194921"/>
                  </a:lnTo>
                  <a:lnTo>
                    <a:pt x="269674" y="194309"/>
                  </a:lnTo>
                  <a:lnTo>
                    <a:pt x="270048" y="193538"/>
                  </a:lnTo>
                  <a:close/>
                  <a:moveTo>
                    <a:pt x="757948" y="192380"/>
                  </a:moveTo>
                  <a:lnTo>
                    <a:pt x="759248" y="192481"/>
                  </a:lnTo>
                  <a:lnTo>
                    <a:pt x="760520" y="192831"/>
                  </a:lnTo>
                  <a:lnTo>
                    <a:pt x="763930" y="194152"/>
                  </a:lnTo>
                  <a:lnTo>
                    <a:pt x="769009" y="196605"/>
                  </a:lnTo>
                  <a:lnTo>
                    <a:pt x="771641" y="196965"/>
                  </a:lnTo>
                  <a:lnTo>
                    <a:pt x="776068" y="196646"/>
                  </a:lnTo>
                  <a:lnTo>
                    <a:pt x="777737" y="196885"/>
                  </a:lnTo>
                  <a:lnTo>
                    <a:pt x="781956" y="200017"/>
                  </a:lnTo>
                  <a:lnTo>
                    <a:pt x="783187" y="202168"/>
                  </a:lnTo>
                  <a:lnTo>
                    <a:pt x="783544" y="204025"/>
                  </a:lnTo>
                  <a:lnTo>
                    <a:pt x="784193" y="205787"/>
                  </a:lnTo>
                  <a:lnTo>
                    <a:pt x="785232" y="206226"/>
                  </a:lnTo>
                  <a:lnTo>
                    <a:pt x="786457" y="206390"/>
                  </a:lnTo>
                  <a:lnTo>
                    <a:pt x="788053" y="208926"/>
                  </a:lnTo>
                  <a:lnTo>
                    <a:pt x="788370" y="209745"/>
                  </a:lnTo>
                  <a:lnTo>
                    <a:pt x="787157" y="216109"/>
                  </a:lnTo>
                  <a:lnTo>
                    <a:pt x="782187" y="213698"/>
                  </a:lnTo>
                  <a:lnTo>
                    <a:pt x="777383" y="210960"/>
                  </a:lnTo>
                  <a:lnTo>
                    <a:pt x="775319" y="209944"/>
                  </a:lnTo>
                  <a:lnTo>
                    <a:pt x="769786" y="207629"/>
                  </a:lnTo>
                  <a:lnTo>
                    <a:pt x="768938" y="206835"/>
                  </a:lnTo>
                  <a:lnTo>
                    <a:pt x="768318" y="205789"/>
                  </a:lnTo>
                  <a:lnTo>
                    <a:pt x="765908" y="204362"/>
                  </a:lnTo>
                  <a:lnTo>
                    <a:pt x="761099" y="204142"/>
                  </a:lnTo>
                  <a:lnTo>
                    <a:pt x="759293" y="204178"/>
                  </a:lnTo>
                  <a:lnTo>
                    <a:pt x="758558" y="204392"/>
                  </a:lnTo>
                  <a:lnTo>
                    <a:pt x="758750" y="205160"/>
                  </a:lnTo>
                  <a:lnTo>
                    <a:pt x="758778" y="206721"/>
                  </a:lnTo>
                  <a:lnTo>
                    <a:pt x="757584" y="207153"/>
                  </a:lnTo>
                  <a:lnTo>
                    <a:pt x="754601" y="206167"/>
                  </a:lnTo>
                  <a:lnTo>
                    <a:pt x="751933" y="205812"/>
                  </a:lnTo>
                  <a:lnTo>
                    <a:pt x="749622" y="204851"/>
                  </a:lnTo>
                  <a:lnTo>
                    <a:pt x="746524" y="204338"/>
                  </a:lnTo>
                  <a:lnTo>
                    <a:pt x="746182" y="203854"/>
                  </a:lnTo>
                  <a:lnTo>
                    <a:pt x="746448" y="203134"/>
                  </a:lnTo>
                  <a:lnTo>
                    <a:pt x="746310" y="202458"/>
                  </a:lnTo>
                  <a:lnTo>
                    <a:pt x="745593" y="202196"/>
                  </a:lnTo>
                  <a:lnTo>
                    <a:pt x="744202" y="202322"/>
                  </a:lnTo>
                  <a:lnTo>
                    <a:pt x="742859" y="203000"/>
                  </a:lnTo>
                  <a:lnTo>
                    <a:pt x="741742" y="203772"/>
                  </a:lnTo>
                  <a:lnTo>
                    <a:pt x="740099" y="205899"/>
                  </a:lnTo>
                  <a:lnTo>
                    <a:pt x="739259" y="206714"/>
                  </a:lnTo>
                  <a:lnTo>
                    <a:pt x="736554" y="207062"/>
                  </a:lnTo>
                  <a:lnTo>
                    <a:pt x="735433" y="206857"/>
                  </a:lnTo>
                  <a:lnTo>
                    <a:pt x="734400" y="206329"/>
                  </a:lnTo>
                  <a:lnTo>
                    <a:pt x="731321" y="202444"/>
                  </a:lnTo>
                  <a:lnTo>
                    <a:pt x="730283" y="201606"/>
                  </a:lnTo>
                  <a:lnTo>
                    <a:pt x="729125" y="200921"/>
                  </a:lnTo>
                  <a:lnTo>
                    <a:pt x="728049" y="200605"/>
                  </a:lnTo>
                  <a:lnTo>
                    <a:pt x="726946" y="201195"/>
                  </a:lnTo>
                  <a:lnTo>
                    <a:pt x="726363" y="202401"/>
                  </a:lnTo>
                  <a:lnTo>
                    <a:pt x="726102" y="203835"/>
                  </a:lnTo>
                  <a:lnTo>
                    <a:pt x="725795" y="204658"/>
                  </a:lnTo>
                  <a:lnTo>
                    <a:pt x="724467" y="206956"/>
                  </a:lnTo>
                  <a:lnTo>
                    <a:pt x="723371" y="208322"/>
                  </a:lnTo>
                  <a:lnTo>
                    <a:pt x="722971" y="208106"/>
                  </a:lnTo>
                  <a:lnTo>
                    <a:pt x="723534" y="205914"/>
                  </a:lnTo>
                  <a:lnTo>
                    <a:pt x="723537" y="204678"/>
                  </a:lnTo>
                  <a:lnTo>
                    <a:pt x="722857" y="203370"/>
                  </a:lnTo>
                  <a:lnTo>
                    <a:pt x="722431" y="202036"/>
                  </a:lnTo>
                  <a:lnTo>
                    <a:pt x="727637" y="195673"/>
                  </a:lnTo>
                  <a:lnTo>
                    <a:pt x="729520" y="194153"/>
                  </a:lnTo>
                  <a:lnTo>
                    <a:pt x="737730" y="193628"/>
                  </a:lnTo>
                  <a:lnTo>
                    <a:pt x="742611" y="193948"/>
                  </a:lnTo>
                  <a:lnTo>
                    <a:pt x="745269" y="193793"/>
                  </a:lnTo>
                  <a:lnTo>
                    <a:pt x="747046" y="193326"/>
                  </a:lnTo>
                  <a:lnTo>
                    <a:pt x="748518" y="193547"/>
                  </a:lnTo>
                  <a:lnTo>
                    <a:pt x="748885" y="194800"/>
                  </a:lnTo>
                  <a:lnTo>
                    <a:pt x="749814" y="195727"/>
                  </a:lnTo>
                  <a:lnTo>
                    <a:pt x="751098" y="195649"/>
                  </a:lnTo>
                  <a:lnTo>
                    <a:pt x="753425" y="194666"/>
                  </a:lnTo>
                  <a:lnTo>
                    <a:pt x="755448" y="193149"/>
                  </a:lnTo>
                  <a:lnTo>
                    <a:pt x="756691" y="192490"/>
                  </a:lnTo>
                  <a:close/>
                  <a:moveTo>
                    <a:pt x="111422" y="192323"/>
                  </a:moveTo>
                  <a:lnTo>
                    <a:pt x="116043" y="197164"/>
                  </a:lnTo>
                  <a:lnTo>
                    <a:pt x="116358" y="197983"/>
                  </a:lnTo>
                  <a:lnTo>
                    <a:pt x="116257" y="199708"/>
                  </a:lnTo>
                  <a:lnTo>
                    <a:pt x="115585" y="200248"/>
                  </a:lnTo>
                  <a:lnTo>
                    <a:pt x="115391" y="201169"/>
                  </a:lnTo>
                  <a:lnTo>
                    <a:pt x="116276" y="204392"/>
                  </a:lnTo>
                  <a:lnTo>
                    <a:pt x="113644" y="202194"/>
                  </a:lnTo>
                  <a:lnTo>
                    <a:pt x="113696" y="200635"/>
                  </a:lnTo>
                  <a:lnTo>
                    <a:pt x="113333" y="199624"/>
                  </a:lnTo>
                  <a:lnTo>
                    <a:pt x="111739" y="198381"/>
                  </a:lnTo>
                  <a:lnTo>
                    <a:pt x="110509" y="196829"/>
                  </a:lnTo>
                  <a:lnTo>
                    <a:pt x="109955" y="193142"/>
                  </a:lnTo>
                  <a:lnTo>
                    <a:pt x="110381" y="192375"/>
                  </a:lnTo>
                  <a:close/>
                  <a:moveTo>
                    <a:pt x="279301" y="186726"/>
                  </a:moveTo>
                  <a:lnTo>
                    <a:pt x="280117" y="187377"/>
                  </a:lnTo>
                  <a:lnTo>
                    <a:pt x="284533" y="188202"/>
                  </a:lnTo>
                  <a:lnTo>
                    <a:pt x="287645" y="190415"/>
                  </a:lnTo>
                  <a:lnTo>
                    <a:pt x="289314" y="193359"/>
                  </a:lnTo>
                  <a:lnTo>
                    <a:pt x="287470" y="197069"/>
                  </a:lnTo>
                  <a:lnTo>
                    <a:pt x="287129" y="199401"/>
                  </a:lnTo>
                  <a:lnTo>
                    <a:pt x="286587" y="200281"/>
                  </a:lnTo>
                  <a:lnTo>
                    <a:pt x="284736" y="201435"/>
                  </a:lnTo>
                  <a:lnTo>
                    <a:pt x="284110" y="202142"/>
                  </a:lnTo>
                  <a:lnTo>
                    <a:pt x="282383" y="202030"/>
                  </a:lnTo>
                  <a:lnTo>
                    <a:pt x="282164" y="200809"/>
                  </a:lnTo>
                  <a:lnTo>
                    <a:pt x="281586" y="199983"/>
                  </a:lnTo>
                  <a:lnTo>
                    <a:pt x="279753" y="199031"/>
                  </a:lnTo>
                  <a:lnTo>
                    <a:pt x="279275" y="199261"/>
                  </a:lnTo>
                  <a:lnTo>
                    <a:pt x="278947" y="200679"/>
                  </a:lnTo>
                  <a:lnTo>
                    <a:pt x="275360" y="201671"/>
                  </a:lnTo>
                  <a:lnTo>
                    <a:pt x="274362" y="201755"/>
                  </a:lnTo>
                  <a:lnTo>
                    <a:pt x="274855" y="199883"/>
                  </a:lnTo>
                  <a:lnTo>
                    <a:pt x="273931" y="198413"/>
                  </a:lnTo>
                  <a:lnTo>
                    <a:pt x="273857" y="196602"/>
                  </a:lnTo>
                  <a:lnTo>
                    <a:pt x="273687" y="195809"/>
                  </a:lnTo>
                  <a:lnTo>
                    <a:pt x="273235" y="195353"/>
                  </a:lnTo>
                  <a:lnTo>
                    <a:pt x="274151" y="194091"/>
                  </a:lnTo>
                  <a:lnTo>
                    <a:pt x="274002" y="192688"/>
                  </a:lnTo>
                  <a:lnTo>
                    <a:pt x="274963" y="191180"/>
                  </a:lnTo>
                  <a:lnTo>
                    <a:pt x="275510" y="187524"/>
                  </a:lnTo>
                  <a:close/>
                  <a:moveTo>
                    <a:pt x="106255" y="186284"/>
                  </a:moveTo>
                  <a:lnTo>
                    <a:pt x="110456" y="190033"/>
                  </a:lnTo>
                  <a:lnTo>
                    <a:pt x="110504" y="191390"/>
                  </a:lnTo>
                  <a:lnTo>
                    <a:pt x="108925" y="193168"/>
                  </a:lnTo>
                  <a:lnTo>
                    <a:pt x="106322" y="193131"/>
                  </a:lnTo>
                  <a:lnTo>
                    <a:pt x="105812" y="192027"/>
                  </a:lnTo>
                  <a:lnTo>
                    <a:pt x="105922" y="189361"/>
                  </a:lnTo>
                  <a:lnTo>
                    <a:pt x="105287" y="188486"/>
                  </a:lnTo>
                  <a:lnTo>
                    <a:pt x="105313" y="188140"/>
                  </a:lnTo>
                  <a:lnTo>
                    <a:pt x="105723" y="186619"/>
                  </a:lnTo>
                  <a:close/>
                  <a:moveTo>
                    <a:pt x="865974" y="175607"/>
                  </a:moveTo>
                  <a:lnTo>
                    <a:pt x="866449" y="175676"/>
                  </a:lnTo>
                  <a:lnTo>
                    <a:pt x="867069" y="176140"/>
                  </a:lnTo>
                  <a:lnTo>
                    <a:pt x="866078" y="177728"/>
                  </a:lnTo>
                  <a:lnTo>
                    <a:pt x="865436" y="178065"/>
                  </a:lnTo>
                  <a:lnTo>
                    <a:pt x="865212" y="177101"/>
                  </a:lnTo>
                  <a:lnTo>
                    <a:pt x="865560" y="175812"/>
                  </a:lnTo>
                  <a:close/>
                  <a:moveTo>
                    <a:pt x="97634" y="175362"/>
                  </a:moveTo>
                  <a:lnTo>
                    <a:pt x="99058" y="176397"/>
                  </a:lnTo>
                  <a:lnTo>
                    <a:pt x="100126" y="178927"/>
                  </a:lnTo>
                  <a:lnTo>
                    <a:pt x="101916" y="181286"/>
                  </a:lnTo>
                  <a:lnTo>
                    <a:pt x="102521" y="182585"/>
                  </a:lnTo>
                  <a:lnTo>
                    <a:pt x="102626" y="183174"/>
                  </a:lnTo>
                  <a:lnTo>
                    <a:pt x="99029" y="181228"/>
                  </a:lnTo>
                  <a:lnTo>
                    <a:pt x="97302" y="180692"/>
                  </a:lnTo>
                  <a:lnTo>
                    <a:pt x="95762" y="178568"/>
                  </a:lnTo>
                  <a:lnTo>
                    <a:pt x="96237" y="177549"/>
                  </a:lnTo>
                  <a:lnTo>
                    <a:pt x="96302" y="176127"/>
                  </a:lnTo>
                  <a:lnTo>
                    <a:pt x="96531" y="175565"/>
                  </a:lnTo>
                  <a:close/>
                  <a:moveTo>
                    <a:pt x="679197" y="174438"/>
                  </a:moveTo>
                  <a:lnTo>
                    <a:pt x="680083" y="174459"/>
                  </a:lnTo>
                  <a:lnTo>
                    <a:pt x="680744" y="175257"/>
                  </a:lnTo>
                  <a:lnTo>
                    <a:pt x="680375" y="178713"/>
                  </a:lnTo>
                  <a:lnTo>
                    <a:pt x="682359" y="183088"/>
                  </a:lnTo>
                  <a:lnTo>
                    <a:pt x="682124" y="184978"/>
                  </a:lnTo>
                  <a:lnTo>
                    <a:pt x="681744" y="185380"/>
                  </a:lnTo>
                  <a:lnTo>
                    <a:pt x="680418" y="184185"/>
                  </a:lnTo>
                  <a:lnTo>
                    <a:pt x="679526" y="180809"/>
                  </a:lnTo>
                  <a:lnTo>
                    <a:pt x="678766" y="179910"/>
                  </a:lnTo>
                  <a:lnTo>
                    <a:pt x="677874" y="176702"/>
                  </a:lnTo>
                  <a:lnTo>
                    <a:pt x="678103" y="175790"/>
                  </a:lnTo>
                  <a:close/>
                  <a:moveTo>
                    <a:pt x="631894" y="172304"/>
                  </a:moveTo>
                  <a:lnTo>
                    <a:pt x="633326" y="174010"/>
                  </a:lnTo>
                  <a:lnTo>
                    <a:pt x="633719" y="174900"/>
                  </a:lnTo>
                  <a:lnTo>
                    <a:pt x="632337" y="174870"/>
                  </a:lnTo>
                  <a:lnTo>
                    <a:pt x="631756" y="173196"/>
                  </a:lnTo>
                  <a:close/>
                  <a:moveTo>
                    <a:pt x="681441" y="170344"/>
                  </a:moveTo>
                  <a:lnTo>
                    <a:pt x="688241" y="171077"/>
                  </a:lnTo>
                  <a:lnTo>
                    <a:pt x="687276" y="171874"/>
                  </a:lnTo>
                  <a:lnTo>
                    <a:pt x="679943" y="173151"/>
                  </a:lnTo>
                  <a:lnTo>
                    <a:pt x="677343" y="172919"/>
                  </a:lnTo>
                  <a:lnTo>
                    <a:pt x="669390" y="173669"/>
                  </a:lnTo>
                  <a:lnTo>
                    <a:pt x="668360" y="173626"/>
                  </a:lnTo>
                  <a:lnTo>
                    <a:pt x="668213" y="172390"/>
                  </a:lnTo>
                  <a:lnTo>
                    <a:pt x="667356" y="171524"/>
                  </a:lnTo>
                  <a:lnTo>
                    <a:pt x="668628" y="170770"/>
                  </a:lnTo>
                  <a:lnTo>
                    <a:pt x="670312" y="170591"/>
                  </a:lnTo>
                  <a:lnTo>
                    <a:pt x="674722" y="170876"/>
                  </a:lnTo>
                  <a:close/>
                  <a:moveTo>
                    <a:pt x="617610" y="169967"/>
                  </a:moveTo>
                  <a:lnTo>
                    <a:pt x="617943" y="170936"/>
                  </a:lnTo>
                  <a:lnTo>
                    <a:pt x="616312" y="172759"/>
                  </a:lnTo>
                  <a:lnTo>
                    <a:pt x="616137" y="171785"/>
                  </a:lnTo>
                  <a:lnTo>
                    <a:pt x="616468" y="170899"/>
                  </a:lnTo>
                  <a:lnTo>
                    <a:pt x="616923" y="170277"/>
                  </a:lnTo>
                  <a:close/>
                  <a:moveTo>
                    <a:pt x="777167" y="168150"/>
                  </a:moveTo>
                  <a:lnTo>
                    <a:pt x="777435" y="169461"/>
                  </a:lnTo>
                  <a:lnTo>
                    <a:pt x="778752" y="170673"/>
                  </a:lnTo>
                  <a:lnTo>
                    <a:pt x="778294" y="172559"/>
                  </a:lnTo>
                  <a:lnTo>
                    <a:pt x="777770" y="172842"/>
                  </a:lnTo>
                  <a:lnTo>
                    <a:pt x="778052" y="173704"/>
                  </a:lnTo>
                  <a:lnTo>
                    <a:pt x="778616" y="174360"/>
                  </a:lnTo>
                  <a:lnTo>
                    <a:pt x="777595" y="174816"/>
                  </a:lnTo>
                  <a:lnTo>
                    <a:pt x="776850" y="174593"/>
                  </a:lnTo>
                  <a:lnTo>
                    <a:pt x="775638" y="175203"/>
                  </a:lnTo>
                  <a:lnTo>
                    <a:pt x="774839" y="176051"/>
                  </a:lnTo>
                  <a:lnTo>
                    <a:pt x="772306" y="176408"/>
                  </a:lnTo>
                  <a:lnTo>
                    <a:pt x="771419" y="175622"/>
                  </a:lnTo>
                  <a:lnTo>
                    <a:pt x="766846" y="174695"/>
                  </a:lnTo>
                  <a:lnTo>
                    <a:pt x="763923" y="172660"/>
                  </a:lnTo>
                  <a:lnTo>
                    <a:pt x="763554" y="172051"/>
                  </a:lnTo>
                  <a:lnTo>
                    <a:pt x="769214" y="169662"/>
                  </a:lnTo>
                  <a:lnTo>
                    <a:pt x="771693" y="169033"/>
                  </a:lnTo>
                  <a:lnTo>
                    <a:pt x="773768" y="169072"/>
                  </a:lnTo>
                  <a:lnTo>
                    <a:pt x="776385" y="168182"/>
                  </a:lnTo>
                  <a:close/>
                  <a:moveTo>
                    <a:pt x="651363" y="166942"/>
                  </a:moveTo>
                  <a:lnTo>
                    <a:pt x="658120" y="168480"/>
                  </a:lnTo>
                  <a:lnTo>
                    <a:pt x="660187" y="169267"/>
                  </a:lnTo>
                  <a:lnTo>
                    <a:pt x="660914" y="169262"/>
                  </a:lnTo>
                  <a:lnTo>
                    <a:pt x="661597" y="168344"/>
                  </a:lnTo>
                  <a:lnTo>
                    <a:pt x="662018" y="168195"/>
                  </a:lnTo>
                  <a:lnTo>
                    <a:pt x="662948" y="168645"/>
                  </a:lnTo>
                  <a:lnTo>
                    <a:pt x="663164" y="170135"/>
                  </a:lnTo>
                  <a:lnTo>
                    <a:pt x="664503" y="169927"/>
                  </a:lnTo>
                  <a:lnTo>
                    <a:pt x="665546" y="170437"/>
                  </a:lnTo>
                  <a:lnTo>
                    <a:pt x="665874" y="170794"/>
                  </a:lnTo>
                  <a:lnTo>
                    <a:pt x="665739" y="172278"/>
                  </a:lnTo>
                  <a:lnTo>
                    <a:pt x="661774" y="172539"/>
                  </a:lnTo>
                  <a:lnTo>
                    <a:pt x="658943" y="173736"/>
                  </a:lnTo>
                  <a:lnTo>
                    <a:pt x="655134" y="172660"/>
                  </a:lnTo>
                  <a:lnTo>
                    <a:pt x="650815" y="174514"/>
                  </a:lnTo>
                  <a:lnTo>
                    <a:pt x="648193" y="175148"/>
                  </a:lnTo>
                  <a:lnTo>
                    <a:pt x="645920" y="175110"/>
                  </a:lnTo>
                  <a:lnTo>
                    <a:pt x="643972" y="171874"/>
                  </a:lnTo>
                  <a:lnTo>
                    <a:pt x="645103" y="168083"/>
                  </a:lnTo>
                  <a:lnTo>
                    <a:pt x="645915" y="167459"/>
                  </a:lnTo>
                  <a:lnTo>
                    <a:pt x="647362" y="167128"/>
                  </a:lnTo>
                  <a:close/>
                  <a:moveTo>
                    <a:pt x="890401" y="165966"/>
                  </a:moveTo>
                  <a:lnTo>
                    <a:pt x="899134" y="167076"/>
                  </a:lnTo>
                  <a:lnTo>
                    <a:pt x="901500" y="166934"/>
                  </a:lnTo>
                  <a:lnTo>
                    <a:pt x="906484" y="167364"/>
                  </a:lnTo>
                  <a:lnTo>
                    <a:pt x="910643" y="168837"/>
                  </a:lnTo>
                  <a:lnTo>
                    <a:pt x="917916" y="169111"/>
                  </a:lnTo>
                  <a:lnTo>
                    <a:pt x="920086" y="169550"/>
                  </a:lnTo>
                  <a:lnTo>
                    <a:pt x="921764" y="170565"/>
                  </a:lnTo>
                  <a:lnTo>
                    <a:pt x="917695" y="171405"/>
                  </a:lnTo>
                  <a:lnTo>
                    <a:pt x="915778" y="172187"/>
                  </a:lnTo>
                  <a:lnTo>
                    <a:pt x="912217" y="172571"/>
                  </a:lnTo>
                  <a:lnTo>
                    <a:pt x="909238" y="172174"/>
                  </a:lnTo>
                  <a:lnTo>
                    <a:pt x="907071" y="172643"/>
                  </a:lnTo>
                  <a:lnTo>
                    <a:pt x="906285" y="171880"/>
                  </a:lnTo>
                  <a:lnTo>
                    <a:pt x="903116" y="171105"/>
                  </a:lnTo>
                  <a:lnTo>
                    <a:pt x="899058" y="169513"/>
                  </a:lnTo>
                  <a:lnTo>
                    <a:pt x="890697" y="167659"/>
                  </a:lnTo>
                  <a:lnTo>
                    <a:pt x="890302" y="166506"/>
                  </a:lnTo>
                  <a:close/>
                  <a:moveTo>
                    <a:pt x="302286" y="164817"/>
                  </a:moveTo>
                  <a:lnTo>
                    <a:pt x="304045" y="165353"/>
                  </a:lnTo>
                  <a:lnTo>
                    <a:pt x="303964" y="166582"/>
                  </a:lnTo>
                  <a:lnTo>
                    <a:pt x="301415" y="167511"/>
                  </a:lnTo>
                  <a:lnTo>
                    <a:pt x="300660" y="165435"/>
                  </a:lnTo>
                  <a:close/>
                  <a:moveTo>
                    <a:pt x="236675" y="164046"/>
                  </a:moveTo>
                  <a:lnTo>
                    <a:pt x="238243" y="164802"/>
                  </a:lnTo>
                  <a:lnTo>
                    <a:pt x="239268" y="165996"/>
                  </a:lnTo>
                  <a:lnTo>
                    <a:pt x="239675" y="167683"/>
                  </a:lnTo>
                  <a:lnTo>
                    <a:pt x="240434" y="169206"/>
                  </a:lnTo>
                  <a:lnTo>
                    <a:pt x="241475" y="170575"/>
                  </a:lnTo>
                  <a:lnTo>
                    <a:pt x="242240" y="172053"/>
                  </a:lnTo>
                  <a:lnTo>
                    <a:pt x="243281" y="179169"/>
                  </a:lnTo>
                  <a:lnTo>
                    <a:pt x="246755" y="185279"/>
                  </a:lnTo>
                  <a:lnTo>
                    <a:pt x="256761" y="187679"/>
                  </a:lnTo>
                  <a:lnTo>
                    <a:pt x="255123" y="188667"/>
                  </a:lnTo>
                  <a:lnTo>
                    <a:pt x="254289" y="189553"/>
                  </a:lnTo>
                  <a:lnTo>
                    <a:pt x="253674" y="190571"/>
                  </a:lnTo>
                  <a:lnTo>
                    <a:pt x="252196" y="194808"/>
                  </a:lnTo>
                  <a:lnTo>
                    <a:pt x="252341" y="195708"/>
                  </a:lnTo>
                  <a:lnTo>
                    <a:pt x="253205" y="197147"/>
                  </a:lnTo>
                  <a:lnTo>
                    <a:pt x="253416" y="198709"/>
                  </a:lnTo>
                  <a:lnTo>
                    <a:pt x="252165" y="198701"/>
                  </a:lnTo>
                  <a:lnTo>
                    <a:pt x="250754" y="198351"/>
                  </a:lnTo>
                  <a:lnTo>
                    <a:pt x="249633" y="197763"/>
                  </a:lnTo>
                  <a:lnTo>
                    <a:pt x="248586" y="196994"/>
                  </a:lnTo>
                  <a:lnTo>
                    <a:pt x="247450" y="196382"/>
                  </a:lnTo>
                  <a:lnTo>
                    <a:pt x="246217" y="195986"/>
                  </a:lnTo>
                  <a:lnTo>
                    <a:pt x="244194" y="194776"/>
                  </a:lnTo>
                  <a:lnTo>
                    <a:pt x="241447" y="193920"/>
                  </a:lnTo>
                  <a:lnTo>
                    <a:pt x="238636" y="193246"/>
                  </a:lnTo>
                  <a:lnTo>
                    <a:pt x="237276" y="191446"/>
                  </a:lnTo>
                  <a:lnTo>
                    <a:pt x="236630" y="189227"/>
                  </a:lnTo>
                  <a:lnTo>
                    <a:pt x="237316" y="185912"/>
                  </a:lnTo>
                  <a:lnTo>
                    <a:pt x="236621" y="184994"/>
                  </a:lnTo>
                  <a:lnTo>
                    <a:pt x="235621" y="184185"/>
                  </a:lnTo>
                  <a:lnTo>
                    <a:pt x="234393" y="181796"/>
                  </a:lnTo>
                  <a:lnTo>
                    <a:pt x="233928" y="179007"/>
                  </a:lnTo>
                  <a:lnTo>
                    <a:pt x="232146" y="177929"/>
                  </a:lnTo>
                  <a:lnTo>
                    <a:pt x="229797" y="177277"/>
                  </a:lnTo>
                  <a:lnTo>
                    <a:pt x="228774" y="176743"/>
                  </a:lnTo>
                  <a:lnTo>
                    <a:pt x="224133" y="177763"/>
                  </a:lnTo>
                  <a:lnTo>
                    <a:pt x="223021" y="177523"/>
                  </a:lnTo>
                  <a:lnTo>
                    <a:pt x="222028" y="176751"/>
                  </a:lnTo>
                  <a:lnTo>
                    <a:pt x="219501" y="175937"/>
                  </a:lnTo>
                  <a:lnTo>
                    <a:pt x="219596" y="174390"/>
                  </a:lnTo>
                  <a:lnTo>
                    <a:pt x="220776" y="173157"/>
                  </a:lnTo>
                  <a:lnTo>
                    <a:pt x="223544" y="171911"/>
                  </a:lnTo>
                  <a:lnTo>
                    <a:pt x="224839" y="170863"/>
                  </a:lnTo>
                  <a:lnTo>
                    <a:pt x="225098" y="169483"/>
                  </a:lnTo>
                  <a:lnTo>
                    <a:pt x="224606" y="168472"/>
                  </a:lnTo>
                  <a:lnTo>
                    <a:pt x="224803" y="167416"/>
                  </a:lnTo>
                  <a:lnTo>
                    <a:pt x="225677" y="166392"/>
                  </a:lnTo>
                  <a:lnTo>
                    <a:pt x="226713" y="165588"/>
                  </a:lnTo>
                  <a:lnTo>
                    <a:pt x="229497" y="164528"/>
                  </a:lnTo>
                  <a:lnTo>
                    <a:pt x="230712" y="166379"/>
                  </a:lnTo>
                  <a:lnTo>
                    <a:pt x="231313" y="167925"/>
                  </a:lnTo>
                  <a:lnTo>
                    <a:pt x="232050" y="169046"/>
                  </a:lnTo>
                  <a:lnTo>
                    <a:pt x="233235" y="167446"/>
                  </a:lnTo>
                  <a:lnTo>
                    <a:pt x="232481" y="164685"/>
                  </a:lnTo>
                  <a:lnTo>
                    <a:pt x="234597" y="164070"/>
                  </a:lnTo>
                  <a:close/>
                  <a:moveTo>
                    <a:pt x="626256" y="163998"/>
                  </a:moveTo>
                  <a:lnTo>
                    <a:pt x="626699" y="164117"/>
                  </a:lnTo>
                  <a:lnTo>
                    <a:pt x="626981" y="165083"/>
                  </a:lnTo>
                  <a:lnTo>
                    <a:pt x="627439" y="165947"/>
                  </a:lnTo>
                  <a:lnTo>
                    <a:pt x="628200" y="166754"/>
                  </a:lnTo>
                  <a:lnTo>
                    <a:pt x="627783" y="168454"/>
                  </a:lnTo>
                  <a:lnTo>
                    <a:pt x="626258" y="168599"/>
                  </a:lnTo>
                  <a:lnTo>
                    <a:pt x="625239" y="167949"/>
                  </a:lnTo>
                  <a:lnTo>
                    <a:pt x="625330" y="164707"/>
                  </a:lnTo>
                  <a:close/>
                  <a:moveTo>
                    <a:pt x="717318" y="160230"/>
                  </a:moveTo>
                  <a:lnTo>
                    <a:pt x="719447" y="160845"/>
                  </a:lnTo>
                  <a:lnTo>
                    <a:pt x="723031" y="162588"/>
                  </a:lnTo>
                  <a:lnTo>
                    <a:pt x="725856" y="164636"/>
                  </a:lnTo>
                  <a:lnTo>
                    <a:pt x="728419" y="166230"/>
                  </a:lnTo>
                  <a:lnTo>
                    <a:pt x="728514" y="167487"/>
                  </a:lnTo>
                  <a:lnTo>
                    <a:pt x="727160" y="168385"/>
                  </a:lnTo>
                  <a:lnTo>
                    <a:pt x="726484" y="168634"/>
                  </a:lnTo>
                  <a:lnTo>
                    <a:pt x="723223" y="168031"/>
                  </a:lnTo>
                  <a:lnTo>
                    <a:pt x="719404" y="168156"/>
                  </a:lnTo>
                  <a:lnTo>
                    <a:pt x="715437" y="168990"/>
                  </a:lnTo>
                  <a:lnTo>
                    <a:pt x="713137" y="168286"/>
                  </a:lnTo>
                  <a:lnTo>
                    <a:pt x="711690" y="167139"/>
                  </a:lnTo>
                  <a:lnTo>
                    <a:pt x="711753" y="165923"/>
                  </a:lnTo>
                  <a:lnTo>
                    <a:pt x="713118" y="162912"/>
                  </a:lnTo>
                  <a:lnTo>
                    <a:pt x="716104" y="160636"/>
                  </a:lnTo>
                  <a:close/>
                  <a:moveTo>
                    <a:pt x="618070" y="156362"/>
                  </a:moveTo>
                  <a:lnTo>
                    <a:pt x="619264" y="156666"/>
                  </a:lnTo>
                  <a:lnTo>
                    <a:pt x="619750" y="158046"/>
                  </a:lnTo>
                  <a:lnTo>
                    <a:pt x="618949" y="159241"/>
                  </a:lnTo>
                  <a:lnTo>
                    <a:pt x="619827" y="161489"/>
                  </a:lnTo>
                  <a:lnTo>
                    <a:pt x="622056" y="158495"/>
                  </a:lnTo>
                  <a:lnTo>
                    <a:pt x="624183" y="158115"/>
                  </a:lnTo>
                  <a:lnTo>
                    <a:pt x="625391" y="158612"/>
                  </a:lnTo>
                  <a:lnTo>
                    <a:pt x="626219" y="159204"/>
                  </a:lnTo>
                  <a:lnTo>
                    <a:pt x="626670" y="160340"/>
                  </a:lnTo>
                  <a:lnTo>
                    <a:pt x="625889" y="162772"/>
                  </a:lnTo>
                  <a:lnTo>
                    <a:pt x="624492" y="163910"/>
                  </a:lnTo>
                  <a:lnTo>
                    <a:pt x="622685" y="164094"/>
                  </a:lnTo>
                  <a:lnTo>
                    <a:pt x="621836" y="162677"/>
                  </a:lnTo>
                  <a:lnTo>
                    <a:pt x="620648" y="162547"/>
                  </a:lnTo>
                  <a:lnTo>
                    <a:pt x="619819" y="165638"/>
                  </a:lnTo>
                  <a:lnTo>
                    <a:pt x="619445" y="166111"/>
                  </a:lnTo>
                  <a:lnTo>
                    <a:pt x="618394" y="166502"/>
                  </a:lnTo>
                  <a:lnTo>
                    <a:pt x="617452" y="165649"/>
                  </a:lnTo>
                  <a:lnTo>
                    <a:pt x="617288" y="165176"/>
                  </a:lnTo>
                  <a:lnTo>
                    <a:pt x="618614" y="163776"/>
                  </a:lnTo>
                  <a:lnTo>
                    <a:pt x="617895" y="159612"/>
                  </a:lnTo>
                  <a:lnTo>
                    <a:pt x="616896" y="160394"/>
                  </a:lnTo>
                  <a:lnTo>
                    <a:pt x="614224" y="164171"/>
                  </a:lnTo>
                  <a:lnTo>
                    <a:pt x="612146" y="165865"/>
                  </a:lnTo>
                  <a:lnTo>
                    <a:pt x="611440" y="165003"/>
                  </a:lnTo>
                  <a:lnTo>
                    <a:pt x="610387" y="162435"/>
                  </a:lnTo>
                  <a:lnTo>
                    <a:pt x="610860" y="159137"/>
                  </a:lnTo>
                  <a:lnTo>
                    <a:pt x="612536" y="156908"/>
                  </a:lnTo>
                  <a:lnTo>
                    <a:pt x="613960" y="157061"/>
                  </a:lnTo>
                  <a:close/>
                  <a:moveTo>
                    <a:pt x="318592" y="152416"/>
                  </a:moveTo>
                  <a:lnTo>
                    <a:pt x="320467" y="153040"/>
                  </a:lnTo>
                  <a:lnTo>
                    <a:pt x="321437" y="153749"/>
                  </a:lnTo>
                  <a:lnTo>
                    <a:pt x="321818" y="155204"/>
                  </a:lnTo>
                  <a:lnTo>
                    <a:pt x="321601" y="156085"/>
                  </a:lnTo>
                  <a:lnTo>
                    <a:pt x="320705" y="156874"/>
                  </a:lnTo>
                  <a:lnTo>
                    <a:pt x="316296" y="159132"/>
                  </a:lnTo>
                  <a:lnTo>
                    <a:pt x="315253" y="159016"/>
                  </a:lnTo>
                  <a:lnTo>
                    <a:pt x="314467" y="158212"/>
                  </a:lnTo>
                  <a:lnTo>
                    <a:pt x="314957" y="153854"/>
                  </a:lnTo>
                  <a:lnTo>
                    <a:pt x="315525" y="152554"/>
                  </a:lnTo>
                  <a:close/>
                  <a:moveTo>
                    <a:pt x="877466" y="151518"/>
                  </a:moveTo>
                  <a:lnTo>
                    <a:pt x="878606" y="152411"/>
                  </a:lnTo>
                  <a:lnTo>
                    <a:pt x="878958" y="153554"/>
                  </a:lnTo>
                  <a:lnTo>
                    <a:pt x="879833" y="153632"/>
                  </a:lnTo>
                  <a:lnTo>
                    <a:pt x="879148" y="155444"/>
                  </a:lnTo>
                  <a:lnTo>
                    <a:pt x="878088" y="155848"/>
                  </a:lnTo>
                  <a:lnTo>
                    <a:pt x="876857" y="155403"/>
                  </a:lnTo>
                  <a:lnTo>
                    <a:pt x="875689" y="153709"/>
                  </a:lnTo>
                  <a:lnTo>
                    <a:pt x="876110" y="152410"/>
                  </a:lnTo>
                  <a:close/>
                  <a:moveTo>
                    <a:pt x="80984" y="151012"/>
                  </a:moveTo>
                  <a:lnTo>
                    <a:pt x="82389" y="151861"/>
                  </a:lnTo>
                  <a:lnTo>
                    <a:pt x="82880" y="154122"/>
                  </a:lnTo>
                  <a:lnTo>
                    <a:pt x="85317" y="158202"/>
                  </a:lnTo>
                  <a:lnTo>
                    <a:pt x="86123" y="160400"/>
                  </a:lnTo>
                  <a:lnTo>
                    <a:pt x="86729" y="161374"/>
                  </a:lnTo>
                  <a:lnTo>
                    <a:pt x="86984" y="162133"/>
                  </a:lnTo>
                  <a:lnTo>
                    <a:pt x="86768" y="162662"/>
                  </a:lnTo>
                  <a:lnTo>
                    <a:pt x="88530" y="165247"/>
                  </a:lnTo>
                  <a:lnTo>
                    <a:pt x="89789" y="166761"/>
                  </a:lnTo>
                  <a:lnTo>
                    <a:pt x="89882" y="169210"/>
                  </a:lnTo>
                  <a:lnTo>
                    <a:pt x="87503" y="170083"/>
                  </a:lnTo>
                  <a:lnTo>
                    <a:pt x="85466" y="170206"/>
                  </a:lnTo>
                  <a:lnTo>
                    <a:pt x="81100" y="167556"/>
                  </a:lnTo>
                  <a:lnTo>
                    <a:pt x="80070" y="166368"/>
                  </a:lnTo>
                  <a:lnTo>
                    <a:pt x="79817" y="164782"/>
                  </a:lnTo>
                  <a:lnTo>
                    <a:pt x="75630" y="158657"/>
                  </a:lnTo>
                  <a:lnTo>
                    <a:pt x="75073" y="157253"/>
                  </a:lnTo>
                  <a:lnTo>
                    <a:pt x="76716" y="152226"/>
                  </a:lnTo>
                  <a:close/>
                  <a:moveTo>
                    <a:pt x="789193" y="150446"/>
                  </a:moveTo>
                  <a:lnTo>
                    <a:pt x="790128" y="151006"/>
                  </a:lnTo>
                  <a:lnTo>
                    <a:pt x="792196" y="151055"/>
                  </a:lnTo>
                  <a:lnTo>
                    <a:pt x="793101" y="152176"/>
                  </a:lnTo>
                  <a:lnTo>
                    <a:pt x="792488" y="157040"/>
                  </a:lnTo>
                  <a:lnTo>
                    <a:pt x="791508" y="159856"/>
                  </a:lnTo>
                  <a:lnTo>
                    <a:pt x="790728" y="160474"/>
                  </a:lnTo>
                  <a:lnTo>
                    <a:pt x="788042" y="159895"/>
                  </a:lnTo>
                  <a:lnTo>
                    <a:pt x="786653" y="158528"/>
                  </a:lnTo>
                  <a:lnTo>
                    <a:pt x="785703" y="156694"/>
                  </a:lnTo>
                  <a:lnTo>
                    <a:pt x="785101" y="155187"/>
                  </a:lnTo>
                  <a:lnTo>
                    <a:pt x="784930" y="153988"/>
                  </a:lnTo>
                  <a:lnTo>
                    <a:pt x="784124" y="152524"/>
                  </a:lnTo>
                  <a:lnTo>
                    <a:pt x="784234" y="151988"/>
                  </a:lnTo>
                  <a:close/>
                  <a:moveTo>
                    <a:pt x="787200" y="147682"/>
                  </a:moveTo>
                  <a:lnTo>
                    <a:pt x="789372" y="147956"/>
                  </a:lnTo>
                  <a:lnTo>
                    <a:pt x="788809" y="149084"/>
                  </a:lnTo>
                  <a:lnTo>
                    <a:pt x="787761" y="149846"/>
                  </a:lnTo>
                  <a:lnTo>
                    <a:pt x="778253" y="151196"/>
                  </a:lnTo>
                  <a:lnTo>
                    <a:pt x="779063" y="150388"/>
                  </a:lnTo>
                  <a:lnTo>
                    <a:pt x="779467" y="149587"/>
                  </a:lnTo>
                  <a:lnTo>
                    <a:pt x="780063" y="149174"/>
                  </a:lnTo>
                  <a:lnTo>
                    <a:pt x="781007" y="149280"/>
                  </a:lnTo>
                  <a:lnTo>
                    <a:pt x="781475" y="149036"/>
                  </a:lnTo>
                  <a:lnTo>
                    <a:pt x="781948" y="148939"/>
                  </a:lnTo>
                  <a:lnTo>
                    <a:pt x="782483" y="149045"/>
                  </a:lnTo>
                  <a:lnTo>
                    <a:pt x="783406" y="148712"/>
                  </a:lnTo>
                  <a:lnTo>
                    <a:pt x="785347" y="148952"/>
                  </a:lnTo>
                  <a:lnTo>
                    <a:pt x="787342" y="148762"/>
                  </a:lnTo>
                  <a:close/>
                  <a:moveTo>
                    <a:pt x="888384" y="145168"/>
                  </a:moveTo>
                  <a:lnTo>
                    <a:pt x="893087" y="146032"/>
                  </a:lnTo>
                  <a:lnTo>
                    <a:pt x="894802" y="145985"/>
                  </a:lnTo>
                  <a:lnTo>
                    <a:pt x="896477" y="146963"/>
                  </a:lnTo>
                  <a:lnTo>
                    <a:pt x="898516" y="146501"/>
                  </a:lnTo>
                  <a:lnTo>
                    <a:pt x="899673" y="146814"/>
                  </a:lnTo>
                  <a:lnTo>
                    <a:pt x="903547" y="150174"/>
                  </a:lnTo>
                  <a:lnTo>
                    <a:pt x="905448" y="152399"/>
                  </a:lnTo>
                  <a:lnTo>
                    <a:pt x="908276" y="154308"/>
                  </a:lnTo>
                  <a:lnTo>
                    <a:pt x="910325" y="154958"/>
                  </a:lnTo>
                  <a:lnTo>
                    <a:pt x="908780" y="156707"/>
                  </a:lnTo>
                  <a:lnTo>
                    <a:pt x="905670" y="157627"/>
                  </a:lnTo>
                  <a:lnTo>
                    <a:pt x="904467" y="157672"/>
                  </a:lnTo>
                  <a:lnTo>
                    <a:pt x="902083" y="156631"/>
                  </a:lnTo>
                  <a:lnTo>
                    <a:pt x="900148" y="156824"/>
                  </a:lnTo>
                  <a:lnTo>
                    <a:pt x="898462" y="155519"/>
                  </a:lnTo>
                  <a:lnTo>
                    <a:pt x="898171" y="153504"/>
                  </a:lnTo>
                  <a:lnTo>
                    <a:pt x="896435" y="148965"/>
                  </a:lnTo>
                  <a:lnTo>
                    <a:pt x="894193" y="150267"/>
                  </a:lnTo>
                  <a:lnTo>
                    <a:pt x="891498" y="148175"/>
                  </a:lnTo>
                  <a:lnTo>
                    <a:pt x="890774" y="148125"/>
                  </a:lnTo>
                  <a:lnTo>
                    <a:pt x="890604" y="148479"/>
                  </a:lnTo>
                  <a:lnTo>
                    <a:pt x="889460" y="147766"/>
                  </a:lnTo>
                  <a:lnTo>
                    <a:pt x="888488" y="146352"/>
                  </a:lnTo>
                  <a:close/>
                  <a:moveTo>
                    <a:pt x="707641" y="144460"/>
                  </a:moveTo>
                  <a:lnTo>
                    <a:pt x="708727" y="144551"/>
                  </a:lnTo>
                  <a:lnTo>
                    <a:pt x="709680" y="147535"/>
                  </a:lnTo>
                  <a:lnTo>
                    <a:pt x="709661" y="148034"/>
                  </a:lnTo>
                  <a:lnTo>
                    <a:pt x="709410" y="148490"/>
                  </a:lnTo>
                  <a:lnTo>
                    <a:pt x="707100" y="147909"/>
                  </a:lnTo>
                  <a:lnTo>
                    <a:pt x="706477" y="147592"/>
                  </a:lnTo>
                  <a:close/>
                  <a:moveTo>
                    <a:pt x="782974" y="139992"/>
                  </a:moveTo>
                  <a:lnTo>
                    <a:pt x="783881" y="140418"/>
                  </a:lnTo>
                  <a:lnTo>
                    <a:pt x="784485" y="141139"/>
                  </a:lnTo>
                  <a:lnTo>
                    <a:pt x="783211" y="142456"/>
                  </a:lnTo>
                  <a:lnTo>
                    <a:pt x="781939" y="142484"/>
                  </a:lnTo>
                  <a:lnTo>
                    <a:pt x="779646" y="141523"/>
                  </a:lnTo>
                  <a:lnTo>
                    <a:pt x="780983" y="140688"/>
                  </a:lnTo>
                  <a:lnTo>
                    <a:pt x="781829" y="140515"/>
                  </a:lnTo>
                  <a:lnTo>
                    <a:pt x="782566" y="140014"/>
                  </a:lnTo>
                  <a:close/>
                  <a:moveTo>
                    <a:pt x="589458" y="139761"/>
                  </a:moveTo>
                  <a:lnTo>
                    <a:pt x="590397" y="140744"/>
                  </a:lnTo>
                  <a:lnTo>
                    <a:pt x="589832" y="141880"/>
                  </a:lnTo>
                  <a:lnTo>
                    <a:pt x="589071" y="141597"/>
                  </a:lnTo>
                  <a:lnTo>
                    <a:pt x="587064" y="141618"/>
                  </a:lnTo>
                  <a:lnTo>
                    <a:pt x="586305" y="141705"/>
                  </a:lnTo>
                  <a:lnTo>
                    <a:pt x="585402" y="142374"/>
                  </a:lnTo>
                  <a:lnTo>
                    <a:pt x="584835" y="142400"/>
                  </a:lnTo>
                  <a:lnTo>
                    <a:pt x="585212" y="141353"/>
                  </a:lnTo>
                  <a:lnTo>
                    <a:pt x="586914" y="139766"/>
                  </a:lnTo>
                  <a:lnTo>
                    <a:pt x="587977" y="140001"/>
                  </a:lnTo>
                  <a:close/>
                  <a:moveTo>
                    <a:pt x="824812" y="138448"/>
                  </a:moveTo>
                  <a:lnTo>
                    <a:pt x="827401" y="138701"/>
                  </a:lnTo>
                  <a:lnTo>
                    <a:pt x="832516" y="139994"/>
                  </a:lnTo>
                  <a:lnTo>
                    <a:pt x="837397" y="142083"/>
                  </a:lnTo>
                  <a:lnTo>
                    <a:pt x="841627" y="144823"/>
                  </a:lnTo>
                  <a:lnTo>
                    <a:pt x="846142" y="146823"/>
                  </a:lnTo>
                  <a:lnTo>
                    <a:pt x="851692" y="147159"/>
                  </a:lnTo>
                  <a:lnTo>
                    <a:pt x="854493" y="146939"/>
                  </a:lnTo>
                  <a:lnTo>
                    <a:pt x="857239" y="147225"/>
                  </a:lnTo>
                  <a:lnTo>
                    <a:pt x="858354" y="147786"/>
                  </a:lnTo>
                  <a:lnTo>
                    <a:pt x="860269" y="149490"/>
                  </a:lnTo>
                  <a:lnTo>
                    <a:pt x="859721" y="150608"/>
                  </a:lnTo>
                  <a:lnTo>
                    <a:pt x="859394" y="152919"/>
                  </a:lnTo>
                  <a:lnTo>
                    <a:pt x="860372" y="155143"/>
                  </a:lnTo>
                  <a:lnTo>
                    <a:pt x="861966" y="157370"/>
                  </a:lnTo>
                  <a:lnTo>
                    <a:pt x="863268" y="159746"/>
                  </a:lnTo>
                  <a:lnTo>
                    <a:pt x="863543" y="160906"/>
                  </a:lnTo>
                  <a:lnTo>
                    <a:pt x="863048" y="163364"/>
                  </a:lnTo>
                  <a:lnTo>
                    <a:pt x="862601" y="164579"/>
                  </a:lnTo>
                  <a:lnTo>
                    <a:pt x="861018" y="166607"/>
                  </a:lnTo>
                  <a:lnTo>
                    <a:pt x="860144" y="168824"/>
                  </a:lnTo>
                  <a:lnTo>
                    <a:pt x="860705" y="171556"/>
                  </a:lnTo>
                  <a:lnTo>
                    <a:pt x="861018" y="174304"/>
                  </a:lnTo>
                  <a:lnTo>
                    <a:pt x="860960" y="176829"/>
                  </a:lnTo>
                  <a:lnTo>
                    <a:pt x="861245" y="179314"/>
                  </a:lnTo>
                  <a:lnTo>
                    <a:pt x="862111" y="181833"/>
                  </a:lnTo>
                  <a:lnTo>
                    <a:pt x="865809" y="188734"/>
                  </a:lnTo>
                  <a:lnTo>
                    <a:pt x="867974" y="193410"/>
                  </a:lnTo>
                  <a:lnTo>
                    <a:pt x="868664" y="190797"/>
                  </a:lnTo>
                  <a:lnTo>
                    <a:pt x="868490" y="187893"/>
                  </a:lnTo>
                  <a:lnTo>
                    <a:pt x="869256" y="186845"/>
                  </a:lnTo>
                  <a:lnTo>
                    <a:pt x="870338" y="186288"/>
                  </a:lnTo>
                  <a:lnTo>
                    <a:pt x="871677" y="186869"/>
                  </a:lnTo>
                  <a:lnTo>
                    <a:pt x="872059" y="188045"/>
                  </a:lnTo>
                  <a:lnTo>
                    <a:pt x="872154" y="190612"/>
                  </a:lnTo>
                  <a:lnTo>
                    <a:pt x="873329" y="195651"/>
                  </a:lnTo>
                  <a:lnTo>
                    <a:pt x="874825" y="195882"/>
                  </a:lnTo>
                  <a:lnTo>
                    <a:pt x="876451" y="195111"/>
                  </a:lnTo>
                  <a:lnTo>
                    <a:pt x="876717" y="196652"/>
                  </a:lnTo>
                  <a:lnTo>
                    <a:pt x="876659" y="199503"/>
                  </a:lnTo>
                  <a:lnTo>
                    <a:pt x="877412" y="201766"/>
                  </a:lnTo>
                  <a:lnTo>
                    <a:pt x="878084" y="202652"/>
                  </a:lnTo>
                  <a:lnTo>
                    <a:pt x="880742" y="204494"/>
                  </a:lnTo>
                  <a:lnTo>
                    <a:pt x="881953" y="204835"/>
                  </a:lnTo>
                  <a:lnTo>
                    <a:pt x="885477" y="205278"/>
                  </a:lnTo>
                  <a:lnTo>
                    <a:pt x="888131" y="205419"/>
                  </a:lnTo>
                  <a:lnTo>
                    <a:pt x="890675" y="204760"/>
                  </a:lnTo>
                  <a:lnTo>
                    <a:pt x="892314" y="203069"/>
                  </a:lnTo>
                  <a:lnTo>
                    <a:pt x="893795" y="201238"/>
                  </a:lnTo>
                  <a:lnTo>
                    <a:pt x="898913" y="197017"/>
                  </a:lnTo>
                  <a:lnTo>
                    <a:pt x="900395" y="194999"/>
                  </a:lnTo>
                  <a:lnTo>
                    <a:pt x="901822" y="191904"/>
                  </a:lnTo>
                  <a:lnTo>
                    <a:pt x="902314" y="191240"/>
                  </a:lnTo>
                  <a:lnTo>
                    <a:pt x="907406" y="187896"/>
                  </a:lnTo>
                  <a:lnTo>
                    <a:pt x="907987" y="186709"/>
                  </a:lnTo>
                  <a:lnTo>
                    <a:pt x="908717" y="184413"/>
                  </a:lnTo>
                  <a:lnTo>
                    <a:pt x="909821" y="182189"/>
                  </a:lnTo>
                  <a:lnTo>
                    <a:pt x="910649" y="181042"/>
                  </a:lnTo>
                  <a:lnTo>
                    <a:pt x="915567" y="179957"/>
                  </a:lnTo>
                  <a:lnTo>
                    <a:pt x="920673" y="179368"/>
                  </a:lnTo>
                  <a:lnTo>
                    <a:pt x="925733" y="177320"/>
                  </a:lnTo>
                  <a:lnTo>
                    <a:pt x="927923" y="175559"/>
                  </a:lnTo>
                  <a:lnTo>
                    <a:pt x="928026" y="174401"/>
                  </a:lnTo>
                  <a:lnTo>
                    <a:pt x="926914" y="172368"/>
                  </a:lnTo>
                  <a:lnTo>
                    <a:pt x="926868" y="171476"/>
                  </a:lnTo>
                  <a:lnTo>
                    <a:pt x="928041" y="170619"/>
                  </a:lnTo>
                  <a:lnTo>
                    <a:pt x="932554" y="168042"/>
                  </a:lnTo>
                  <a:lnTo>
                    <a:pt x="937774" y="165392"/>
                  </a:lnTo>
                  <a:lnTo>
                    <a:pt x="941967" y="163564"/>
                  </a:lnTo>
                  <a:lnTo>
                    <a:pt x="944286" y="163577"/>
                  </a:lnTo>
                  <a:lnTo>
                    <a:pt x="946424" y="165186"/>
                  </a:lnTo>
                  <a:lnTo>
                    <a:pt x="948704" y="166500"/>
                  </a:lnTo>
                  <a:lnTo>
                    <a:pt x="960620" y="170375"/>
                  </a:lnTo>
                  <a:lnTo>
                    <a:pt x="962528" y="171578"/>
                  </a:lnTo>
                  <a:lnTo>
                    <a:pt x="964194" y="173176"/>
                  </a:lnTo>
                  <a:lnTo>
                    <a:pt x="966575" y="174285"/>
                  </a:lnTo>
                  <a:lnTo>
                    <a:pt x="969236" y="174820"/>
                  </a:lnTo>
                  <a:lnTo>
                    <a:pt x="971655" y="175855"/>
                  </a:lnTo>
                  <a:lnTo>
                    <a:pt x="973950" y="177190"/>
                  </a:lnTo>
                  <a:lnTo>
                    <a:pt x="979018" y="179681"/>
                  </a:lnTo>
                  <a:lnTo>
                    <a:pt x="985822" y="182699"/>
                  </a:lnTo>
                  <a:lnTo>
                    <a:pt x="987565" y="182881"/>
                  </a:lnTo>
                  <a:lnTo>
                    <a:pt x="993894" y="182738"/>
                  </a:lnTo>
                  <a:lnTo>
                    <a:pt x="994987" y="183306"/>
                  </a:lnTo>
                  <a:lnTo>
                    <a:pt x="996025" y="184110"/>
                  </a:lnTo>
                  <a:lnTo>
                    <a:pt x="996990" y="184296"/>
                  </a:lnTo>
                  <a:lnTo>
                    <a:pt x="1004241" y="184858"/>
                  </a:lnTo>
                  <a:lnTo>
                    <a:pt x="1005358" y="185439"/>
                  </a:lnTo>
                  <a:lnTo>
                    <a:pt x="1006407" y="186236"/>
                  </a:lnTo>
                  <a:lnTo>
                    <a:pt x="1007004" y="188427"/>
                  </a:lnTo>
                  <a:lnTo>
                    <a:pt x="1012000" y="188486"/>
                  </a:lnTo>
                  <a:lnTo>
                    <a:pt x="1012003" y="192771"/>
                  </a:lnTo>
                  <a:lnTo>
                    <a:pt x="1012004" y="197268"/>
                  </a:lnTo>
                  <a:lnTo>
                    <a:pt x="1012007" y="201768"/>
                  </a:lnTo>
                  <a:lnTo>
                    <a:pt x="1012009" y="206269"/>
                  </a:lnTo>
                  <a:lnTo>
                    <a:pt x="1012010" y="210770"/>
                  </a:lnTo>
                  <a:lnTo>
                    <a:pt x="1012014" y="215270"/>
                  </a:lnTo>
                  <a:lnTo>
                    <a:pt x="1012014" y="219772"/>
                  </a:lnTo>
                  <a:lnTo>
                    <a:pt x="1012017" y="224276"/>
                  </a:lnTo>
                  <a:lnTo>
                    <a:pt x="1012017" y="228780"/>
                  </a:lnTo>
                  <a:lnTo>
                    <a:pt x="1012020" y="233282"/>
                  </a:lnTo>
                  <a:lnTo>
                    <a:pt x="1012021" y="237788"/>
                  </a:lnTo>
                  <a:lnTo>
                    <a:pt x="1012024" y="242295"/>
                  </a:lnTo>
                  <a:lnTo>
                    <a:pt x="1012026" y="246802"/>
                  </a:lnTo>
                  <a:lnTo>
                    <a:pt x="1012026" y="251308"/>
                  </a:lnTo>
                  <a:lnTo>
                    <a:pt x="1012028" y="255818"/>
                  </a:lnTo>
                  <a:lnTo>
                    <a:pt x="1012031" y="260328"/>
                  </a:lnTo>
                  <a:lnTo>
                    <a:pt x="1012033" y="264839"/>
                  </a:lnTo>
                  <a:lnTo>
                    <a:pt x="1012035" y="269350"/>
                  </a:lnTo>
                  <a:lnTo>
                    <a:pt x="1012035" y="271275"/>
                  </a:lnTo>
                  <a:lnTo>
                    <a:pt x="1011350" y="273632"/>
                  </a:lnTo>
                  <a:lnTo>
                    <a:pt x="1009814" y="277168"/>
                  </a:lnTo>
                  <a:lnTo>
                    <a:pt x="1009543" y="280022"/>
                  </a:lnTo>
                  <a:lnTo>
                    <a:pt x="1010808" y="282243"/>
                  </a:lnTo>
                  <a:lnTo>
                    <a:pt x="1012039" y="283695"/>
                  </a:lnTo>
                  <a:lnTo>
                    <a:pt x="1012039" y="287409"/>
                  </a:lnTo>
                  <a:lnTo>
                    <a:pt x="1012041" y="291928"/>
                  </a:lnTo>
                  <a:lnTo>
                    <a:pt x="1012044" y="296448"/>
                  </a:lnTo>
                  <a:lnTo>
                    <a:pt x="1012046" y="300969"/>
                  </a:lnTo>
                  <a:lnTo>
                    <a:pt x="1012048" y="305489"/>
                  </a:lnTo>
                  <a:lnTo>
                    <a:pt x="1012048" y="310013"/>
                  </a:lnTo>
                  <a:lnTo>
                    <a:pt x="1012050" y="314538"/>
                  </a:lnTo>
                  <a:lnTo>
                    <a:pt x="1012052" y="319065"/>
                  </a:lnTo>
                  <a:lnTo>
                    <a:pt x="1012054" y="323592"/>
                  </a:lnTo>
                  <a:lnTo>
                    <a:pt x="1012056" y="328122"/>
                  </a:lnTo>
                  <a:lnTo>
                    <a:pt x="1012056" y="332653"/>
                  </a:lnTo>
                  <a:lnTo>
                    <a:pt x="1012061" y="332947"/>
                  </a:lnTo>
                  <a:lnTo>
                    <a:pt x="1010921" y="332196"/>
                  </a:lnTo>
                  <a:lnTo>
                    <a:pt x="1007867" y="329715"/>
                  </a:lnTo>
                  <a:lnTo>
                    <a:pt x="1005103" y="326886"/>
                  </a:lnTo>
                  <a:lnTo>
                    <a:pt x="1003324" y="324246"/>
                  </a:lnTo>
                  <a:lnTo>
                    <a:pt x="1001305" y="321843"/>
                  </a:lnTo>
                  <a:lnTo>
                    <a:pt x="992723" y="314721"/>
                  </a:lnTo>
                  <a:lnTo>
                    <a:pt x="990540" y="312382"/>
                  </a:lnTo>
                  <a:lnTo>
                    <a:pt x="990106" y="311737"/>
                  </a:lnTo>
                  <a:lnTo>
                    <a:pt x="990312" y="311132"/>
                  </a:lnTo>
                  <a:lnTo>
                    <a:pt x="991302" y="309900"/>
                  </a:lnTo>
                  <a:lnTo>
                    <a:pt x="993062" y="306334"/>
                  </a:lnTo>
                  <a:lnTo>
                    <a:pt x="991223" y="308538"/>
                  </a:lnTo>
                  <a:lnTo>
                    <a:pt x="989033" y="310282"/>
                  </a:lnTo>
                  <a:lnTo>
                    <a:pt x="985850" y="310398"/>
                  </a:lnTo>
                  <a:lnTo>
                    <a:pt x="982723" y="310822"/>
                  </a:lnTo>
                  <a:lnTo>
                    <a:pt x="979829" y="311876"/>
                  </a:lnTo>
                  <a:lnTo>
                    <a:pt x="976891" y="312239"/>
                  </a:lnTo>
                  <a:lnTo>
                    <a:pt x="975420" y="311721"/>
                  </a:lnTo>
                  <a:lnTo>
                    <a:pt x="974535" y="310411"/>
                  </a:lnTo>
                  <a:lnTo>
                    <a:pt x="974075" y="309068"/>
                  </a:lnTo>
                  <a:lnTo>
                    <a:pt x="973865" y="307640"/>
                  </a:lnTo>
                  <a:lnTo>
                    <a:pt x="972630" y="309948"/>
                  </a:lnTo>
                  <a:lnTo>
                    <a:pt x="970204" y="311211"/>
                  </a:lnTo>
                  <a:lnTo>
                    <a:pt x="966893" y="313871"/>
                  </a:lnTo>
                  <a:lnTo>
                    <a:pt x="965945" y="313323"/>
                  </a:lnTo>
                  <a:lnTo>
                    <a:pt x="965372" y="312310"/>
                  </a:lnTo>
                  <a:lnTo>
                    <a:pt x="965183" y="311260"/>
                  </a:lnTo>
                  <a:lnTo>
                    <a:pt x="965822" y="310139"/>
                  </a:lnTo>
                  <a:lnTo>
                    <a:pt x="966273" y="308948"/>
                  </a:lnTo>
                  <a:lnTo>
                    <a:pt x="966947" y="306097"/>
                  </a:lnTo>
                  <a:lnTo>
                    <a:pt x="968430" y="304418"/>
                  </a:lnTo>
                  <a:lnTo>
                    <a:pt x="969374" y="301166"/>
                  </a:lnTo>
                  <a:lnTo>
                    <a:pt x="969991" y="300007"/>
                  </a:lnTo>
                  <a:lnTo>
                    <a:pt x="970309" y="298849"/>
                  </a:lnTo>
                  <a:lnTo>
                    <a:pt x="969445" y="297540"/>
                  </a:lnTo>
                  <a:lnTo>
                    <a:pt x="967988" y="297093"/>
                  </a:lnTo>
                  <a:lnTo>
                    <a:pt x="966990" y="296298"/>
                  </a:lnTo>
                  <a:lnTo>
                    <a:pt x="965833" y="294092"/>
                  </a:lnTo>
                  <a:lnTo>
                    <a:pt x="965116" y="293345"/>
                  </a:lnTo>
                  <a:lnTo>
                    <a:pt x="963800" y="292440"/>
                  </a:lnTo>
                  <a:lnTo>
                    <a:pt x="962790" y="291385"/>
                  </a:lnTo>
                  <a:lnTo>
                    <a:pt x="963906" y="290591"/>
                  </a:lnTo>
                  <a:lnTo>
                    <a:pt x="965375" y="290272"/>
                  </a:lnTo>
                  <a:lnTo>
                    <a:pt x="966580" y="290322"/>
                  </a:lnTo>
                  <a:lnTo>
                    <a:pt x="968760" y="290817"/>
                  </a:lnTo>
                  <a:lnTo>
                    <a:pt x="969746" y="290844"/>
                  </a:lnTo>
                  <a:lnTo>
                    <a:pt x="972274" y="290029"/>
                  </a:lnTo>
                  <a:lnTo>
                    <a:pt x="970853" y="290280"/>
                  </a:lnTo>
                  <a:lnTo>
                    <a:pt x="969448" y="290254"/>
                  </a:lnTo>
                  <a:lnTo>
                    <a:pt x="964951" y="288826"/>
                  </a:lnTo>
                  <a:lnTo>
                    <a:pt x="962172" y="287349"/>
                  </a:lnTo>
                  <a:lnTo>
                    <a:pt x="959549" y="284387"/>
                  </a:lnTo>
                  <a:lnTo>
                    <a:pt x="959523" y="283814"/>
                  </a:lnTo>
                  <a:lnTo>
                    <a:pt x="961372" y="283276"/>
                  </a:lnTo>
                  <a:lnTo>
                    <a:pt x="965368" y="282651"/>
                  </a:lnTo>
                  <a:lnTo>
                    <a:pt x="964129" y="281142"/>
                  </a:lnTo>
                  <a:lnTo>
                    <a:pt x="962319" y="279825"/>
                  </a:lnTo>
                  <a:lnTo>
                    <a:pt x="961689" y="277483"/>
                  </a:lnTo>
                  <a:lnTo>
                    <a:pt x="960452" y="276034"/>
                  </a:lnTo>
                  <a:lnTo>
                    <a:pt x="957784" y="273666"/>
                  </a:lnTo>
                  <a:lnTo>
                    <a:pt x="955951" y="271214"/>
                  </a:lnTo>
                  <a:lnTo>
                    <a:pt x="954397" y="266224"/>
                  </a:lnTo>
                  <a:lnTo>
                    <a:pt x="952803" y="262462"/>
                  </a:lnTo>
                  <a:lnTo>
                    <a:pt x="953192" y="261097"/>
                  </a:lnTo>
                  <a:lnTo>
                    <a:pt x="954535" y="260124"/>
                  </a:lnTo>
                  <a:lnTo>
                    <a:pt x="952505" y="260012"/>
                  </a:lnTo>
                  <a:lnTo>
                    <a:pt x="950665" y="259312"/>
                  </a:lnTo>
                  <a:lnTo>
                    <a:pt x="951637" y="257479"/>
                  </a:lnTo>
                  <a:lnTo>
                    <a:pt x="953761" y="256398"/>
                  </a:lnTo>
                  <a:lnTo>
                    <a:pt x="951827" y="256675"/>
                  </a:lnTo>
                  <a:lnTo>
                    <a:pt x="949933" y="257204"/>
                  </a:lnTo>
                  <a:lnTo>
                    <a:pt x="949069" y="257304"/>
                  </a:lnTo>
                  <a:lnTo>
                    <a:pt x="948177" y="257141"/>
                  </a:lnTo>
                  <a:lnTo>
                    <a:pt x="947709" y="256405"/>
                  </a:lnTo>
                  <a:lnTo>
                    <a:pt x="947646" y="255361"/>
                  </a:lnTo>
                  <a:lnTo>
                    <a:pt x="947923" y="253517"/>
                  </a:lnTo>
                  <a:lnTo>
                    <a:pt x="947597" y="251731"/>
                  </a:lnTo>
                  <a:lnTo>
                    <a:pt x="945918" y="250897"/>
                  </a:lnTo>
                  <a:lnTo>
                    <a:pt x="944532" y="249621"/>
                  </a:lnTo>
                  <a:lnTo>
                    <a:pt x="943748" y="249149"/>
                  </a:lnTo>
                  <a:lnTo>
                    <a:pt x="942721" y="249186"/>
                  </a:lnTo>
                  <a:lnTo>
                    <a:pt x="941723" y="248333"/>
                  </a:lnTo>
                  <a:lnTo>
                    <a:pt x="940924" y="247094"/>
                  </a:lnTo>
                  <a:lnTo>
                    <a:pt x="930919" y="241734"/>
                  </a:lnTo>
                  <a:lnTo>
                    <a:pt x="930326" y="240206"/>
                  </a:lnTo>
                  <a:lnTo>
                    <a:pt x="929399" y="240877"/>
                  </a:lnTo>
                  <a:lnTo>
                    <a:pt x="928471" y="241204"/>
                  </a:lnTo>
                  <a:lnTo>
                    <a:pt x="927318" y="240325"/>
                  </a:lnTo>
                  <a:lnTo>
                    <a:pt x="926113" y="239740"/>
                  </a:lnTo>
                  <a:lnTo>
                    <a:pt x="924796" y="239836"/>
                  </a:lnTo>
                  <a:lnTo>
                    <a:pt x="923578" y="239362"/>
                  </a:lnTo>
                  <a:lnTo>
                    <a:pt x="922304" y="239091"/>
                  </a:lnTo>
                  <a:lnTo>
                    <a:pt x="920973" y="239048"/>
                  </a:lnTo>
                  <a:lnTo>
                    <a:pt x="915711" y="237399"/>
                  </a:lnTo>
                  <a:lnTo>
                    <a:pt x="910734" y="234795"/>
                  </a:lnTo>
                  <a:lnTo>
                    <a:pt x="906685" y="233674"/>
                  </a:lnTo>
                  <a:lnTo>
                    <a:pt x="904182" y="232214"/>
                  </a:lnTo>
                  <a:lnTo>
                    <a:pt x="901578" y="231019"/>
                  </a:lnTo>
                  <a:lnTo>
                    <a:pt x="895760" y="229857"/>
                  </a:lnTo>
                  <a:lnTo>
                    <a:pt x="889870" y="229074"/>
                  </a:lnTo>
                  <a:lnTo>
                    <a:pt x="887741" y="229046"/>
                  </a:lnTo>
                  <a:lnTo>
                    <a:pt x="885955" y="229297"/>
                  </a:lnTo>
                  <a:lnTo>
                    <a:pt x="884240" y="229243"/>
                  </a:lnTo>
                  <a:lnTo>
                    <a:pt x="874479" y="223588"/>
                  </a:lnTo>
                  <a:lnTo>
                    <a:pt x="872832" y="221012"/>
                  </a:lnTo>
                  <a:lnTo>
                    <a:pt x="872992" y="219506"/>
                  </a:lnTo>
                  <a:lnTo>
                    <a:pt x="873426" y="218258"/>
                  </a:lnTo>
                  <a:lnTo>
                    <a:pt x="877405" y="217897"/>
                  </a:lnTo>
                  <a:lnTo>
                    <a:pt x="874603" y="217536"/>
                  </a:lnTo>
                  <a:lnTo>
                    <a:pt x="873450" y="217707"/>
                  </a:lnTo>
                  <a:lnTo>
                    <a:pt x="871146" y="218730"/>
                  </a:lnTo>
                  <a:lnTo>
                    <a:pt x="869895" y="218801"/>
                  </a:lnTo>
                  <a:lnTo>
                    <a:pt x="868133" y="218122"/>
                  </a:lnTo>
                  <a:lnTo>
                    <a:pt x="866449" y="217266"/>
                  </a:lnTo>
                  <a:lnTo>
                    <a:pt x="863689" y="218059"/>
                  </a:lnTo>
                  <a:lnTo>
                    <a:pt x="862277" y="216758"/>
                  </a:lnTo>
                  <a:lnTo>
                    <a:pt x="861793" y="215386"/>
                  </a:lnTo>
                  <a:lnTo>
                    <a:pt x="861055" y="214759"/>
                  </a:lnTo>
                  <a:lnTo>
                    <a:pt x="860014" y="214824"/>
                  </a:lnTo>
                  <a:lnTo>
                    <a:pt x="858619" y="215317"/>
                  </a:lnTo>
                  <a:lnTo>
                    <a:pt x="857225" y="215229"/>
                  </a:lnTo>
                  <a:lnTo>
                    <a:pt x="856325" y="214290"/>
                  </a:lnTo>
                  <a:lnTo>
                    <a:pt x="855680" y="213062"/>
                  </a:lnTo>
                  <a:lnTo>
                    <a:pt x="854724" y="212182"/>
                  </a:lnTo>
                  <a:lnTo>
                    <a:pt x="853568" y="211509"/>
                  </a:lnTo>
                  <a:lnTo>
                    <a:pt x="851679" y="209914"/>
                  </a:lnTo>
                  <a:lnTo>
                    <a:pt x="850690" y="207734"/>
                  </a:lnTo>
                  <a:lnTo>
                    <a:pt x="850802" y="203964"/>
                  </a:lnTo>
                  <a:lnTo>
                    <a:pt x="851106" y="202613"/>
                  </a:lnTo>
                  <a:lnTo>
                    <a:pt x="852974" y="200417"/>
                  </a:lnTo>
                  <a:lnTo>
                    <a:pt x="854298" y="198333"/>
                  </a:lnTo>
                  <a:lnTo>
                    <a:pt x="852659" y="198102"/>
                  </a:lnTo>
                  <a:lnTo>
                    <a:pt x="851178" y="199057"/>
                  </a:lnTo>
                  <a:lnTo>
                    <a:pt x="850549" y="200039"/>
                  </a:lnTo>
                  <a:lnTo>
                    <a:pt x="850301" y="201227"/>
                  </a:lnTo>
                  <a:lnTo>
                    <a:pt x="850133" y="205186"/>
                  </a:lnTo>
                  <a:lnTo>
                    <a:pt x="848945" y="206331"/>
                  </a:lnTo>
                  <a:lnTo>
                    <a:pt x="847148" y="206238"/>
                  </a:lnTo>
                  <a:lnTo>
                    <a:pt x="847682" y="208552"/>
                  </a:lnTo>
                  <a:lnTo>
                    <a:pt x="846950" y="210746"/>
                  </a:lnTo>
                  <a:lnTo>
                    <a:pt x="844870" y="213328"/>
                  </a:lnTo>
                  <a:lnTo>
                    <a:pt x="844695" y="214502"/>
                  </a:lnTo>
                  <a:lnTo>
                    <a:pt x="845028" y="215773"/>
                  </a:lnTo>
                  <a:lnTo>
                    <a:pt x="844555" y="217023"/>
                  </a:lnTo>
                  <a:lnTo>
                    <a:pt x="841191" y="220639"/>
                  </a:lnTo>
                  <a:lnTo>
                    <a:pt x="840070" y="220813"/>
                  </a:lnTo>
                  <a:lnTo>
                    <a:pt x="837574" y="220789"/>
                  </a:lnTo>
                  <a:lnTo>
                    <a:pt x="834996" y="221362"/>
                  </a:lnTo>
                  <a:lnTo>
                    <a:pt x="833799" y="220520"/>
                  </a:lnTo>
                  <a:lnTo>
                    <a:pt x="832818" y="219424"/>
                  </a:lnTo>
                  <a:lnTo>
                    <a:pt x="832089" y="218129"/>
                  </a:lnTo>
                  <a:lnTo>
                    <a:pt x="831068" y="215453"/>
                  </a:lnTo>
                  <a:lnTo>
                    <a:pt x="830249" y="212697"/>
                  </a:lnTo>
                  <a:lnTo>
                    <a:pt x="832810" y="209317"/>
                  </a:lnTo>
                  <a:lnTo>
                    <a:pt x="831927" y="206262"/>
                  </a:lnTo>
                  <a:lnTo>
                    <a:pt x="830193" y="203642"/>
                  </a:lnTo>
                  <a:lnTo>
                    <a:pt x="825818" y="200013"/>
                  </a:lnTo>
                  <a:lnTo>
                    <a:pt x="821279" y="196570"/>
                  </a:lnTo>
                  <a:lnTo>
                    <a:pt x="819217" y="195870"/>
                  </a:lnTo>
                  <a:lnTo>
                    <a:pt x="815835" y="195563"/>
                  </a:lnTo>
                  <a:lnTo>
                    <a:pt x="814771" y="195230"/>
                  </a:lnTo>
                  <a:lnTo>
                    <a:pt x="813719" y="193935"/>
                  </a:lnTo>
                  <a:lnTo>
                    <a:pt x="812942" y="192442"/>
                  </a:lnTo>
                  <a:lnTo>
                    <a:pt x="815058" y="191800"/>
                  </a:lnTo>
                  <a:lnTo>
                    <a:pt x="818680" y="190048"/>
                  </a:lnTo>
                  <a:lnTo>
                    <a:pt x="820728" y="190132"/>
                  </a:lnTo>
                  <a:lnTo>
                    <a:pt x="826304" y="191083"/>
                  </a:lnTo>
                  <a:lnTo>
                    <a:pt x="828016" y="191947"/>
                  </a:lnTo>
                  <a:lnTo>
                    <a:pt x="829610" y="192453"/>
                  </a:lnTo>
                  <a:lnTo>
                    <a:pt x="833419" y="189557"/>
                  </a:lnTo>
                  <a:lnTo>
                    <a:pt x="836437" y="185778"/>
                  </a:lnTo>
                  <a:lnTo>
                    <a:pt x="838319" y="184957"/>
                  </a:lnTo>
                  <a:lnTo>
                    <a:pt x="839914" y="184680"/>
                  </a:lnTo>
                  <a:lnTo>
                    <a:pt x="841549" y="185046"/>
                  </a:lnTo>
                  <a:lnTo>
                    <a:pt x="844788" y="186366"/>
                  </a:lnTo>
                  <a:lnTo>
                    <a:pt x="847334" y="186980"/>
                  </a:lnTo>
                  <a:lnTo>
                    <a:pt x="849150" y="187100"/>
                  </a:lnTo>
                  <a:lnTo>
                    <a:pt x="850099" y="188283"/>
                  </a:lnTo>
                  <a:lnTo>
                    <a:pt x="851171" y="188814"/>
                  </a:lnTo>
                  <a:lnTo>
                    <a:pt x="851411" y="187031"/>
                  </a:lnTo>
                  <a:lnTo>
                    <a:pt x="852348" y="184966"/>
                  </a:lnTo>
                  <a:lnTo>
                    <a:pt x="854147" y="184324"/>
                  </a:lnTo>
                  <a:lnTo>
                    <a:pt x="855097" y="184177"/>
                  </a:lnTo>
                  <a:lnTo>
                    <a:pt x="855699" y="183643"/>
                  </a:lnTo>
                  <a:lnTo>
                    <a:pt x="855568" y="181731"/>
                  </a:lnTo>
                  <a:lnTo>
                    <a:pt x="853181" y="181491"/>
                  </a:lnTo>
                  <a:lnTo>
                    <a:pt x="854480" y="179854"/>
                  </a:lnTo>
                  <a:lnTo>
                    <a:pt x="855646" y="179057"/>
                  </a:lnTo>
                  <a:lnTo>
                    <a:pt x="856045" y="178257"/>
                  </a:lnTo>
                  <a:lnTo>
                    <a:pt x="856069" y="177253"/>
                  </a:lnTo>
                  <a:lnTo>
                    <a:pt x="851398" y="179180"/>
                  </a:lnTo>
                  <a:lnTo>
                    <a:pt x="846477" y="179986"/>
                  </a:lnTo>
                  <a:lnTo>
                    <a:pt x="843568" y="179768"/>
                  </a:lnTo>
                  <a:lnTo>
                    <a:pt x="840664" y="179739"/>
                  </a:lnTo>
                  <a:lnTo>
                    <a:pt x="834868" y="181025"/>
                  </a:lnTo>
                  <a:lnTo>
                    <a:pt x="832668" y="180973"/>
                  </a:lnTo>
                  <a:lnTo>
                    <a:pt x="827533" y="180452"/>
                  </a:lnTo>
                  <a:lnTo>
                    <a:pt x="824693" y="179828"/>
                  </a:lnTo>
                  <a:lnTo>
                    <a:pt x="822497" y="180314"/>
                  </a:lnTo>
                  <a:lnTo>
                    <a:pt x="820381" y="180355"/>
                  </a:lnTo>
                  <a:lnTo>
                    <a:pt x="818165" y="178884"/>
                  </a:lnTo>
                  <a:lnTo>
                    <a:pt x="816280" y="177039"/>
                  </a:lnTo>
                  <a:lnTo>
                    <a:pt x="815345" y="175730"/>
                  </a:lnTo>
                  <a:lnTo>
                    <a:pt x="814097" y="174781"/>
                  </a:lnTo>
                  <a:lnTo>
                    <a:pt x="813544" y="173502"/>
                  </a:lnTo>
                  <a:lnTo>
                    <a:pt x="812166" y="168690"/>
                  </a:lnTo>
                  <a:lnTo>
                    <a:pt x="812039" y="165256"/>
                  </a:lnTo>
                  <a:lnTo>
                    <a:pt x="809815" y="165186"/>
                  </a:lnTo>
                  <a:lnTo>
                    <a:pt x="807640" y="164847"/>
                  </a:lnTo>
                  <a:lnTo>
                    <a:pt x="797962" y="161580"/>
                  </a:lnTo>
                  <a:lnTo>
                    <a:pt x="796791" y="162381"/>
                  </a:lnTo>
                  <a:lnTo>
                    <a:pt x="795429" y="162793"/>
                  </a:lnTo>
                  <a:lnTo>
                    <a:pt x="794070" y="162946"/>
                  </a:lnTo>
                  <a:lnTo>
                    <a:pt x="792721" y="162778"/>
                  </a:lnTo>
                  <a:lnTo>
                    <a:pt x="791376" y="162271"/>
                  </a:lnTo>
                  <a:lnTo>
                    <a:pt x="791488" y="161370"/>
                  </a:lnTo>
                  <a:lnTo>
                    <a:pt x="792488" y="159161"/>
                  </a:lnTo>
                  <a:lnTo>
                    <a:pt x="793469" y="158346"/>
                  </a:lnTo>
                  <a:lnTo>
                    <a:pt x="794824" y="157718"/>
                  </a:lnTo>
                  <a:lnTo>
                    <a:pt x="795686" y="156545"/>
                  </a:lnTo>
                  <a:lnTo>
                    <a:pt x="797086" y="153032"/>
                  </a:lnTo>
                  <a:lnTo>
                    <a:pt x="797193" y="151831"/>
                  </a:lnTo>
                  <a:lnTo>
                    <a:pt x="797040" y="150604"/>
                  </a:lnTo>
                  <a:lnTo>
                    <a:pt x="797155" y="149682"/>
                  </a:lnTo>
                  <a:lnTo>
                    <a:pt x="798020" y="149198"/>
                  </a:lnTo>
                  <a:lnTo>
                    <a:pt x="801671" y="148054"/>
                  </a:lnTo>
                  <a:lnTo>
                    <a:pt x="809251" y="146328"/>
                  </a:lnTo>
                  <a:lnTo>
                    <a:pt x="811166" y="145296"/>
                  </a:lnTo>
                  <a:lnTo>
                    <a:pt x="812747" y="143644"/>
                  </a:lnTo>
                  <a:lnTo>
                    <a:pt x="814595" y="142640"/>
                  </a:lnTo>
                  <a:lnTo>
                    <a:pt x="815446" y="141625"/>
                  </a:lnTo>
                  <a:lnTo>
                    <a:pt x="816418" y="140806"/>
                  </a:lnTo>
                  <a:lnTo>
                    <a:pt x="822286" y="138625"/>
                  </a:lnTo>
                  <a:close/>
                  <a:moveTo>
                    <a:pt x="204926" y="138165"/>
                  </a:moveTo>
                  <a:lnTo>
                    <a:pt x="206994" y="140314"/>
                  </a:lnTo>
                  <a:lnTo>
                    <a:pt x="207488" y="141083"/>
                  </a:lnTo>
                  <a:lnTo>
                    <a:pt x="206467" y="142275"/>
                  </a:lnTo>
                  <a:lnTo>
                    <a:pt x="205640" y="143959"/>
                  </a:lnTo>
                  <a:lnTo>
                    <a:pt x="205171" y="144318"/>
                  </a:lnTo>
                  <a:lnTo>
                    <a:pt x="203591" y="143672"/>
                  </a:lnTo>
                  <a:lnTo>
                    <a:pt x="202470" y="145328"/>
                  </a:lnTo>
                  <a:lnTo>
                    <a:pt x="201732" y="142685"/>
                  </a:lnTo>
                  <a:lnTo>
                    <a:pt x="200125" y="141009"/>
                  </a:lnTo>
                  <a:lnTo>
                    <a:pt x="201125" y="139295"/>
                  </a:lnTo>
                  <a:lnTo>
                    <a:pt x="201488" y="139172"/>
                  </a:lnTo>
                  <a:lnTo>
                    <a:pt x="201974" y="139226"/>
                  </a:lnTo>
                  <a:lnTo>
                    <a:pt x="202478" y="139673"/>
                  </a:lnTo>
                  <a:close/>
                  <a:moveTo>
                    <a:pt x="714679" y="137546"/>
                  </a:moveTo>
                  <a:lnTo>
                    <a:pt x="715556" y="137818"/>
                  </a:lnTo>
                  <a:lnTo>
                    <a:pt x="718107" y="141122"/>
                  </a:lnTo>
                  <a:lnTo>
                    <a:pt x="716395" y="144257"/>
                  </a:lnTo>
                  <a:lnTo>
                    <a:pt x="717581" y="146011"/>
                  </a:lnTo>
                  <a:lnTo>
                    <a:pt x="720803" y="146121"/>
                  </a:lnTo>
                  <a:lnTo>
                    <a:pt x="721545" y="146777"/>
                  </a:lnTo>
                  <a:lnTo>
                    <a:pt x="722107" y="147568"/>
                  </a:lnTo>
                  <a:lnTo>
                    <a:pt x="722481" y="148647"/>
                  </a:lnTo>
                  <a:lnTo>
                    <a:pt x="721643" y="149511"/>
                  </a:lnTo>
                  <a:lnTo>
                    <a:pt x="719848" y="150306"/>
                  </a:lnTo>
                  <a:lnTo>
                    <a:pt x="717780" y="149164"/>
                  </a:lnTo>
                  <a:lnTo>
                    <a:pt x="717233" y="148101"/>
                  </a:lnTo>
                  <a:lnTo>
                    <a:pt x="716812" y="147704"/>
                  </a:lnTo>
                  <a:lnTo>
                    <a:pt x="714026" y="148509"/>
                  </a:lnTo>
                  <a:lnTo>
                    <a:pt x="713249" y="148587"/>
                  </a:lnTo>
                  <a:lnTo>
                    <a:pt x="712709" y="147108"/>
                  </a:lnTo>
                  <a:lnTo>
                    <a:pt x="713381" y="144983"/>
                  </a:lnTo>
                  <a:lnTo>
                    <a:pt x="711433" y="144024"/>
                  </a:lnTo>
                  <a:lnTo>
                    <a:pt x="709651" y="141828"/>
                  </a:lnTo>
                  <a:lnTo>
                    <a:pt x="709587" y="140942"/>
                  </a:lnTo>
                  <a:lnTo>
                    <a:pt x="710304" y="139409"/>
                  </a:lnTo>
                  <a:lnTo>
                    <a:pt x="710206" y="138191"/>
                  </a:lnTo>
                  <a:lnTo>
                    <a:pt x="711226" y="138098"/>
                  </a:lnTo>
                  <a:lnTo>
                    <a:pt x="713083" y="139751"/>
                  </a:lnTo>
                  <a:lnTo>
                    <a:pt x="713891" y="138194"/>
                  </a:lnTo>
                  <a:close/>
                  <a:moveTo>
                    <a:pt x="707212" y="136421"/>
                  </a:moveTo>
                  <a:lnTo>
                    <a:pt x="709431" y="137053"/>
                  </a:lnTo>
                  <a:lnTo>
                    <a:pt x="708613" y="137811"/>
                  </a:lnTo>
                  <a:lnTo>
                    <a:pt x="709222" y="139411"/>
                  </a:lnTo>
                  <a:lnTo>
                    <a:pt x="708544" y="141718"/>
                  </a:lnTo>
                  <a:lnTo>
                    <a:pt x="707160" y="142290"/>
                  </a:lnTo>
                  <a:lnTo>
                    <a:pt x="705652" y="142275"/>
                  </a:lnTo>
                  <a:lnTo>
                    <a:pt x="705327" y="139917"/>
                  </a:lnTo>
                  <a:lnTo>
                    <a:pt x="705814" y="136926"/>
                  </a:lnTo>
                  <a:close/>
                  <a:moveTo>
                    <a:pt x="184466" y="135797"/>
                  </a:moveTo>
                  <a:lnTo>
                    <a:pt x="185837" y="135864"/>
                  </a:lnTo>
                  <a:lnTo>
                    <a:pt x="188335" y="136883"/>
                  </a:lnTo>
                  <a:lnTo>
                    <a:pt x="189227" y="137792"/>
                  </a:lnTo>
                  <a:lnTo>
                    <a:pt x="188613" y="138459"/>
                  </a:lnTo>
                  <a:lnTo>
                    <a:pt x="185735" y="139232"/>
                  </a:lnTo>
                  <a:lnTo>
                    <a:pt x="182529" y="138673"/>
                  </a:lnTo>
                  <a:lnTo>
                    <a:pt x="182919" y="137343"/>
                  </a:lnTo>
                  <a:close/>
                  <a:moveTo>
                    <a:pt x="787337" y="130856"/>
                  </a:moveTo>
                  <a:lnTo>
                    <a:pt x="791169" y="131795"/>
                  </a:lnTo>
                  <a:lnTo>
                    <a:pt x="792037" y="131648"/>
                  </a:lnTo>
                  <a:lnTo>
                    <a:pt x="797588" y="134078"/>
                  </a:lnTo>
                  <a:lnTo>
                    <a:pt x="798474" y="135283"/>
                  </a:lnTo>
                  <a:lnTo>
                    <a:pt x="798161" y="136097"/>
                  </a:lnTo>
                  <a:lnTo>
                    <a:pt x="798979" y="137185"/>
                  </a:lnTo>
                  <a:lnTo>
                    <a:pt x="797161" y="138852"/>
                  </a:lnTo>
                  <a:lnTo>
                    <a:pt x="796284" y="139038"/>
                  </a:lnTo>
                  <a:lnTo>
                    <a:pt x="795397" y="138416"/>
                  </a:lnTo>
                  <a:lnTo>
                    <a:pt x="793628" y="138064"/>
                  </a:lnTo>
                  <a:lnTo>
                    <a:pt x="791585" y="138742"/>
                  </a:lnTo>
                  <a:lnTo>
                    <a:pt x="790283" y="138230"/>
                  </a:lnTo>
                  <a:lnTo>
                    <a:pt x="789182" y="136702"/>
                  </a:lnTo>
                  <a:lnTo>
                    <a:pt x="787230" y="135773"/>
                  </a:lnTo>
                  <a:lnTo>
                    <a:pt x="784468" y="132549"/>
                  </a:lnTo>
                  <a:lnTo>
                    <a:pt x="783112" y="132665"/>
                  </a:lnTo>
                  <a:lnTo>
                    <a:pt x="783468" y="133927"/>
                  </a:lnTo>
                  <a:lnTo>
                    <a:pt x="784641" y="134758"/>
                  </a:lnTo>
                  <a:lnTo>
                    <a:pt x="786189" y="137209"/>
                  </a:lnTo>
                  <a:lnTo>
                    <a:pt x="787078" y="137446"/>
                  </a:lnTo>
                  <a:lnTo>
                    <a:pt x="787999" y="137362"/>
                  </a:lnTo>
                  <a:lnTo>
                    <a:pt x="789238" y="138381"/>
                  </a:lnTo>
                  <a:lnTo>
                    <a:pt x="789173" y="139964"/>
                  </a:lnTo>
                  <a:lnTo>
                    <a:pt x="785943" y="140580"/>
                  </a:lnTo>
                  <a:lnTo>
                    <a:pt x="784828" y="139424"/>
                  </a:lnTo>
                  <a:lnTo>
                    <a:pt x="784582" y="137323"/>
                  </a:lnTo>
                  <a:lnTo>
                    <a:pt x="782766" y="138032"/>
                  </a:lnTo>
                  <a:lnTo>
                    <a:pt x="782067" y="138766"/>
                  </a:lnTo>
                  <a:lnTo>
                    <a:pt x="781534" y="138867"/>
                  </a:lnTo>
                  <a:lnTo>
                    <a:pt x="780328" y="136678"/>
                  </a:lnTo>
                  <a:lnTo>
                    <a:pt x="776884" y="136566"/>
                  </a:lnTo>
                  <a:lnTo>
                    <a:pt x="774586" y="135402"/>
                  </a:lnTo>
                  <a:lnTo>
                    <a:pt x="775716" y="134186"/>
                  </a:lnTo>
                  <a:lnTo>
                    <a:pt x="775875" y="133009"/>
                  </a:lnTo>
                  <a:lnTo>
                    <a:pt x="777371" y="132376"/>
                  </a:lnTo>
                  <a:lnTo>
                    <a:pt x="778884" y="132943"/>
                  </a:lnTo>
                  <a:lnTo>
                    <a:pt x="780401" y="132094"/>
                  </a:lnTo>
                  <a:lnTo>
                    <a:pt x="781480" y="132312"/>
                  </a:lnTo>
                  <a:lnTo>
                    <a:pt x="782274" y="131769"/>
                  </a:lnTo>
                  <a:lnTo>
                    <a:pt x="785327" y="131425"/>
                  </a:lnTo>
                  <a:close/>
                  <a:moveTo>
                    <a:pt x="70048" y="130609"/>
                  </a:moveTo>
                  <a:lnTo>
                    <a:pt x="70953" y="131153"/>
                  </a:lnTo>
                  <a:lnTo>
                    <a:pt x="72477" y="134473"/>
                  </a:lnTo>
                  <a:lnTo>
                    <a:pt x="73799" y="136462"/>
                  </a:lnTo>
                  <a:lnTo>
                    <a:pt x="73268" y="139161"/>
                  </a:lnTo>
                  <a:lnTo>
                    <a:pt x="71922" y="142495"/>
                  </a:lnTo>
                  <a:lnTo>
                    <a:pt x="70605" y="143521"/>
                  </a:lnTo>
                  <a:lnTo>
                    <a:pt x="68615" y="142525"/>
                  </a:lnTo>
                  <a:lnTo>
                    <a:pt x="69284" y="141111"/>
                  </a:lnTo>
                  <a:lnTo>
                    <a:pt x="69611" y="139152"/>
                  </a:lnTo>
                  <a:lnTo>
                    <a:pt x="70806" y="137598"/>
                  </a:lnTo>
                  <a:lnTo>
                    <a:pt x="71212" y="135773"/>
                  </a:lnTo>
                  <a:lnTo>
                    <a:pt x="68908" y="130783"/>
                  </a:lnTo>
                  <a:close/>
                  <a:moveTo>
                    <a:pt x="206439" y="130373"/>
                  </a:moveTo>
                  <a:lnTo>
                    <a:pt x="208495" y="131173"/>
                  </a:lnTo>
                  <a:lnTo>
                    <a:pt x="208998" y="132155"/>
                  </a:lnTo>
                  <a:lnTo>
                    <a:pt x="208873" y="132446"/>
                  </a:lnTo>
                  <a:lnTo>
                    <a:pt x="210216" y="133043"/>
                  </a:lnTo>
                  <a:lnTo>
                    <a:pt x="211656" y="134656"/>
                  </a:lnTo>
                  <a:lnTo>
                    <a:pt x="212296" y="135021"/>
                  </a:lnTo>
                  <a:lnTo>
                    <a:pt x="213084" y="133875"/>
                  </a:lnTo>
                  <a:lnTo>
                    <a:pt x="214539" y="135447"/>
                  </a:lnTo>
                  <a:lnTo>
                    <a:pt x="215440" y="136233"/>
                  </a:lnTo>
                  <a:lnTo>
                    <a:pt x="216671" y="137019"/>
                  </a:lnTo>
                  <a:lnTo>
                    <a:pt x="215459" y="137055"/>
                  </a:lnTo>
                  <a:lnTo>
                    <a:pt x="214971" y="137775"/>
                  </a:lnTo>
                  <a:lnTo>
                    <a:pt x="214656" y="137915"/>
                  </a:lnTo>
                  <a:lnTo>
                    <a:pt x="209968" y="135380"/>
                  </a:lnTo>
                  <a:lnTo>
                    <a:pt x="206968" y="136196"/>
                  </a:lnTo>
                  <a:lnTo>
                    <a:pt x="204910" y="135456"/>
                  </a:lnTo>
                  <a:lnTo>
                    <a:pt x="204325" y="134948"/>
                  </a:lnTo>
                  <a:lnTo>
                    <a:pt x="205431" y="133560"/>
                  </a:lnTo>
                  <a:close/>
                  <a:moveTo>
                    <a:pt x="754070" y="129761"/>
                  </a:moveTo>
                  <a:lnTo>
                    <a:pt x="759227" y="133844"/>
                  </a:lnTo>
                  <a:lnTo>
                    <a:pt x="759380" y="134901"/>
                  </a:lnTo>
                  <a:lnTo>
                    <a:pt x="758424" y="134963"/>
                  </a:lnTo>
                  <a:lnTo>
                    <a:pt x="757618" y="133672"/>
                  </a:lnTo>
                  <a:lnTo>
                    <a:pt x="755426" y="132234"/>
                  </a:lnTo>
                  <a:close/>
                  <a:moveTo>
                    <a:pt x="712556" y="127613"/>
                  </a:moveTo>
                  <a:lnTo>
                    <a:pt x="712956" y="129240"/>
                  </a:lnTo>
                  <a:lnTo>
                    <a:pt x="713044" y="130895"/>
                  </a:lnTo>
                  <a:lnTo>
                    <a:pt x="712938" y="131575"/>
                  </a:lnTo>
                  <a:lnTo>
                    <a:pt x="712258" y="130625"/>
                  </a:lnTo>
                  <a:lnTo>
                    <a:pt x="711792" y="130398"/>
                  </a:lnTo>
                  <a:lnTo>
                    <a:pt x="712295" y="128014"/>
                  </a:lnTo>
                  <a:close/>
                  <a:moveTo>
                    <a:pt x="205478" y="125634"/>
                  </a:moveTo>
                  <a:lnTo>
                    <a:pt x="206465" y="125828"/>
                  </a:lnTo>
                  <a:lnTo>
                    <a:pt x="209031" y="128486"/>
                  </a:lnTo>
                  <a:lnTo>
                    <a:pt x="209680" y="129449"/>
                  </a:lnTo>
                  <a:lnTo>
                    <a:pt x="209877" y="129998"/>
                  </a:lnTo>
                  <a:lnTo>
                    <a:pt x="208832" y="129379"/>
                  </a:lnTo>
                  <a:lnTo>
                    <a:pt x="208201" y="129004"/>
                  </a:lnTo>
                  <a:lnTo>
                    <a:pt x="207784" y="128660"/>
                  </a:lnTo>
                  <a:close/>
                  <a:moveTo>
                    <a:pt x="176472" y="115292"/>
                  </a:moveTo>
                  <a:lnTo>
                    <a:pt x="177594" y="115317"/>
                  </a:lnTo>
                  <a:lnTo>
                    <a:pt x="178854" y="117189"/>
                  </a:lnTo>
                  <a:lnTo>
                    <a:pt x="178618" y="118782"/>
                  </a:lnTo>
                  <a:lnTo>
                    <a:pt x="176134" y="118909"/>
                  </a:lnTo>
                  <a:lnTo>
                    <a:pt x="175413" y="118624"/>
                  </a:lnTo>
                  <a:lnTo>
                    <a:pt x="175717" y="116544"/>
                  </a:lnTo>
                  <a:close/>
                  <a:moveTo>
                    <a:pt x="712411" y="114305"/>
                  </a:moveTo>
                  <a:lnTo>
                    <a:pt x="712805" y="114547"/>
                  </a:lnTo>
                  <a:lnTo>
                    <a:pt x="712878" y="115656"/>
                  </a:lnTo>
                  <a:lnTo>
                    <a:pt x="712299" y="116567"/>
                  </a:lnTo>
                  <a:lnTo>
                    <a:pt x="711509" y="116812"/>
                  </a:lnTo>
                  <a:lnTo>
                    <a:pt x="711280" y="116727"/>
                  </a:lnTo>
                  <a:lnTo>
                    <a:pt x="711042" y="115836"/>
                  </a:lnTo>
                  <a:lnTo>
                    <a:pt x="711478" y="114323"/>
                  </a:lnTo>
                  <a:close/>
                  <a:moveTo>
                    <a:pt x="710090" y="111704"/>
                  </a:moveTo>
                  <a:lnTo>
                    <a:pt x="710841" y="112026"/>
                  </a:lnTo>
                  <a:lnTo>
                    <a:pt x="711258" y="113267"/>
                  </a:lnTo>
                  <a:lnTo>
                    <a:pt x="710500" y="113994"/>
                  </a:lnTo>
                  <a:lnTo>
                    <a:pt x="709785" y="113751"/>
                  </a:lnTo>
                  <a:lnTo>
                    <a:pt x="709351" y="112812"/>
                  </a:lnTo>
                  <a:lnTo>
                    <a:pt x="709492" y="112136"/>
                  </a:lnTo>
                  <a:close/>
                  <a:moveTo>
                    <a:pt x="180866" y="111536"/>
                  </a:moveTo>
                  <a:lnTo>
                    <a:pt x="181905" y="112522"/>
                  </a:lnTo>
                  <a:lnTo>
                    <a:pt x="182727" y="113559"/>
                  </a:lnTo>
                  <a:lnTo>
                    <a:pt x="183327" y="114784"/>
                  </a:lnTo>
                  <a:lnTo>
                    <a:pt x="182282" y="116073"/>
                  </a:lnTo>
                  <a:lnTo>
                    <a:pt x="181829" y="116373"/>
                  </a:lnTo>
                  <a:lnTo>
                    <a:pt x="179943" y="113564"/>
                  </a:lnTo>
                  <a:lnTo>
                    <a:pt x="180414" y="111945"/>
                  </a:lnTo>
                  <a:close/>
                  <a:moveTo>
                    <a:pt x="188954" y="111055"/>
                  </a:moveTo>
                  <a:lnTo>
                    <a:pt x="190164" y="112050"/>
                  </a:lnTo>
                  <a:lnTo>
                    <a:pt x="190650" y="113053"/>
                  </a:lnTo>
                  <a:lnTo>
                    <a:pt x="190768" y="113689"/>
                  </a:lnTo>
                  <a:lnTo>
                    <a:pt x="188743" y="112412"/>
                  </a:lnTo>
                  <a:lnTo>
                    <a:pt x="188691" y="111487"/>
                  </a:lnTo>
                  <a:close/>
                  <a:moveTo>
                    <a:pt x="197154" y="109891"/>
                  </a:moveTo>
                  <a:lnTo>
                    <a:pt x="198210" y="110936"/>
                  </a:lnTo>
                  <a:lnTo>
                    <a:pt x="199460" y="111309"/>
                  </a:lnTo>
                  <a:lnTo>
                    <a:pt x="199732" y="112324"/>
                  </a:lnTo>
                  <a:lnTo>
                    <a:pt x="198348" y="112967"/>
                  </a:lnTo>
                  <a:lnTo>
                    <a:pt x="196610" y="110947"/>
                  </a:lnTo>
                  <a:lnTo>
                    <a:pt x="196674" y="110477"/>
                  </a:lnTo>
                  <a:lnTo>
                    <a:pt x="196834" y="110122"/>
                  </a:lnTo>
                  <a:close/>
                  <a:moveTo>
                    <a:pt x="162360" y="105772"/>
                  </a:moveTo>
                  <a:lnTo>
                    <a:pt x="164216" y="107449"/>
                  </a:lnTo>
                  <a:lnTo>
                    <a:pt x="166272" y="108891"/>
                  </a:lnTo>
                  <a:lnTo>
                    <a:pt x="167464" y="109551"/>
                  </a:lnTo>
                  <a:lnTo>
                    <a:pt x="171092" y="111025"/>
                  </a:lnTo>
                  <a:lnTo>
                    <a:pt x="172381" y="111764"/>
                  </a:lnTo>
                  <a:lnTo>
                    <a:pt x="172936" y="114255"/>
                  </a:lnTo>
                  <a:lnTo>
                    <a:pt x="172521" y="115107"/>
                  </a:lnTo>
                  <a:lnTo>
                    <a:pt x="171697" y="114479"/>
                  </a:lnTo>
                  <a:lnTo>
                    <a:pt x="167380" y="113527"/>
                  </a:lnTo>
                  <a:lnTo>
                    <a:pt x="165927" y="113421"/>
                  </a:lnTo>
                  <a:lnTo>
                    <a:pt x="162191" y="112377"/>
                  </a:lnTo>
                  <a:lnTo>
                    <a:pt x="161060" y="111823"/>
                  </a:lnTo>
                  <a:lnTo>
                    <a:pt x="160252" y="111096"/>
                  </a:lnTo>
                  <a:lnTo>
                    <a:pt x="160528" y="109751"/>
                  </a:lnTo>
                  <a:lnTo>
                    <a:pt x="161081" y="108943"/>
                  </a:lnTo>
                  <a:lnTo>
                    <a:pt x="161418" y="106689"/>
                  </a:lnTo>
                  <a:close/>
                  <a:moveTo>
                    <a:pt x="180729" y="105697"/>
                  </a:moveTo>
                  <a:lnTo>
                    <a:pt x="181281" y="107048"/>
                  </a:lnTo>
                  <a:lnTo>
                    <a:pt x="181701" y="107584"/>
                  </a:lnTo>
                  <a:lnTo>
                    <a:pt x="181829" y="108799"/>
                  </a:lnTo>
                  <a:lnTo>
                    <a:pt x="180360" y="108501"/>
                  </a:lnTo>
                  <a:lnTo>
                    <a:pt x="179302" y="107076"/>
                  </a:lnTo>
                  <a:lnTo>
                    <a:pt x="180177" y="106060"/>
                  </a:lnTo>
                  <a:close/>
                  <a:moveTo>
                    <a:pt x="167687" y="104993"/>
                  </a:moveTo>
                  <a:lnTo>
                    <a:pt x="172314" y="107154"/>
                  </a:lnTo>
                  <a:lnTo>
                    <a:pt x="173822" y="108326"/>
                  </a:lnTo>
                  <a:lnTo>
                    <a:pt x="176007" y="111524"/>
                  </a:lnTo>
                  <a:lnTo>
                    <a:pt x="175362" y="112154"/>
                  </a:lnTo>
                  <a:lnTo>
                    <a:pt x="174245" y="112010"/>
                  </a:lnTo>
                  <a:lnTo>
                    <a:pt x="173066" y="111261"/>
                  </a:lnTo>
                  <a:lnTo>
                    <a:pt x="171531" y="109920"/>
                  </a:lnTo>
                  <a:lnTo>
                    <a:pt x="169814" y="108724"/>
                  </a:lnTo>
                  <a:lnTo>
                    <a:pt x="167640" y="107968"/>
                  </a:lnTo>
                  <a:lnTo>
                    <a:pt x="166279" y="107740"/>
                  </a:lnTo>
                  <a:lnTo>
                    <a:pt x="165735" y="107465"/>
                  </a:lnTo>
                  <a:lnTo>
                    <a:pt x="166260" y="105140"/>
                  </a:lnTo>
                  <a:close/>
                  <a:moveTo>
                    <a:pt x="194988" y="104659"/>
                  </a:moveTo>
                  <a:lnTo>
                    <a:pt x="196387" y="105622"/>
                  </a:lnTo>
                  <a:lnTo>
                    <a:pt x="197531" y="104991"/>
                  </a:lnTo>
                  <a:lnTo>
                    <a:pt x="197487" y="105817"/>
                  </a:lnTo>
                  <a:lnTo>
                    <a:pt x="197256" y="106610"/>
                  </a:lnTo>
                  <a:lnTo>
                    <a:pt x="195901" y="108884"/>
                  </a:lnTo>
                  <a:lnTo>
                    <a:pt x="193634" y="108360"/>
                  </a:lnTo>
                  <a:lnTo>
                    <a:pt x="193109" y="107624"/>
                  </a:lnTo>
                  <a:lnTo>
                    <a:pt x="192941" y="107074"/>
                  </a:lnTo>
                  <a:lnTo>
                    <a:pt x="193267" y="106728"/>
                  </a:lnTo>
                  <a:lnTo>
                    <a:pt x="193453" y="105613"/>
                  </a:lnTo>
                  <a:lnTo>
                    <a:pt x="194435" y="105617"/>
                  </a:lnTo>
                  <a:close/>
                  <a:moveTo>
                    <a:pt x="207383" y="103873"/>
                  </a:moveTo>
                  <a:lnTo>
                    <a:pt x="207508" y="105533"/>
                  </a:lnTo>
                  <a:lnTo>
                    <a:pt x="208771" y="106339"/>
                  </a:lnTo>
                  <a:lnTo>
                    <a:pt x="209097" y="107558"/>
                  </a:lnTo>
                  <a:lnTo>
                    <a:pt x="208875" y="109514"/>
                  </a:lnTo>
                  <a:lnTo>
                    <a:pt x="207687" y="111771"/>
                  </a:lnTo>
                  <a:lnTo>
                    <a:pt x="207158" y="112369"/>
                  </a:lnTo>
                  <a:lnTo>
                    <a:pt x="205591" y="111911"/>
                  </a:lnTo>
                  <a:lnTo>
                    <a:pt x="205068" y="111157"/>
                  </a:lnTo>
                  <a:lnTo>
                    <a:pt x="204859" y="110566"/>
                  </a:lnTo>
                  <a:lnTo>
                    <a:pt x="205077" y="110145"/>
                  </a:lnTo>
                  <a:lnTo>
                    <a:pt x="203917" y="109614"/>
                  </a:lnTo>
                  <a:lnTo>
                    <a:pt x="204664" y="108751"/>
                  </a:lnTo>
                  <a:lnTo>
                    <a:pt x="204152" y="107537"/>
                  </a:lnTo>
                  <a:lnTo>
                    <a:pt x="200939" y="108296"/>
                  </a:lnTo>
                  <a:lnTo>
                    <a:pt x="200010" y="108323"/>
                  </a:lnTo>
                  <a:lnTo>
                    <a:pt x="199840" y="106941"/>
                  </a:lnTo>
                  <a:lnTo>
                    <a:pt x="199972" y="106382"/>
                  </a:lnTo>
                  <a:lnTo>
                    <a:pt x="202440" y="104639"/>
                  </a:lnTo>
                  <a:lnTo>
                    <a:pt x="203912" y="104317"/>
                  </a:lnTo>
                  <a:lnTo>
                    <a:pt x="205498" y="104667"/>
                  </a:lnTo>
                  <a:close/>
                  <a:moveTo>
                    <a:pt x="155884" y="99871"/>
                  </a:moveTo>
                  <a:lnTo>
                    <a:pt x="156329" y="99911"/>
                  </a:lnTo>
                  <a:lnTo>
                    <a:pt x="158145" y="101008"/>
                  </a:lnTo>
                  <a:lnTo>
                    <a:pt x="159345" y="102885"/>
                  </a:lnTo>
                  <a:lnTo>
                    <a:pt x="160008" y="103473"/>
                  </a:lnTo>
                  <a:lnTo>
                    <a:pt x="160140" y="105197"/>
                  </a:lnTo>
                  <a:lnTo>
                    <a:pt x="159700" y="107165"/>
                  </a:lnTo>
                  <a:lnTo>
                    <a:pt x="159660" y="108871"/>
                  </a:lnTo>
                  <a:lnTo>
                    <a:pt x="158637" y="109542"/>
                  </a:lnTo>
                  <a:lnTo>
                    <a:pt x="157408" y="108497"/>
                  </a:lnTo>
                  <a:lnTo>
                    <a:pt x="156398" y="106979"/>
                  </a:lnTo>
                  <a:lnTo>
                    <a:pt x="155864" y="105398"/>
                  </a:lnTo>
                  <a:lnTo>
                    <a:pt x="155394" y="102815"/>
                  </a:lnTo>
                  <a:lnTo>
                    <a:pt x="155271" y="100960"/>
                  </a:lnTo>
                  <a:close/>
                  <a:moveTo>
                    <a:pt x="47526" y="96716"/>
                  </a:moveTo>
                  <a:lnTo>
                    <a:pt x="50302" y="98367"/>
                  </a:lnTo>
                  <a:lnTo>
                    <a:pt x="55097" y="104589"/>
                  </a:lnTo>
                  <a:lnTo>
                    <a:pt x="57044" y="105426"/>
                  </a:lnTo>
                  <a:lnTo>
                    <a:pt x="59627" y="108249"/>
                  </a:lnTo>
                  <a:lnTo>
                    <a:pt x="60262" y="109229"/>
                  </a:lnTo>
                  <a:lnTo>
                    <a:pt x="59601" y="111212"/>
                  </a:lnTo>
                  <a:lnTo>
                    <a:pt x="59035" y="116872"/>
                  </a:lnTo>
                  <a:lnTo>
                    <a:pt x="57796" y="118284"/>
                  </a:lnTo>
                  <a:lnTo>
                    <a:pt x="54779" y="117584"/>
                  </a:lnTo>
                  <a:lnTo>
                    <a:pt x="54746" y="116590"/>
                  </a:lnTo>
                  <a:lnTo>
                    <a:pt x="53009" y="112326"/>
                  </a:lnTo>
                  <a:lnTo>
                    <a:pt x="49854" y="109948"/>
                  </a:lnTo>
                  <a:lnTo>
                    <a:pt x="48618" y="109825"/>
                  </a:lnTo>
                  <a:lnTo>
                    <a:pt x="47810" y="107393"/>
                  </a:lnTo>
                  <a:lnTo>
                    <a:pt x="46219" y="104509"/>
                  </a:lnTo>
                  <a:lnTo>
                    <a:pt x="41406" y="99243"/>
                  </a:lnTo>
                  <a:lnTo>
                    <a:pt x="45056" y="99284"/>
                  </a:lnTo>
                  <a:lnTo>
                    <a:pt x="46828" y="98001"/>
                  </a:lnTo>
                  <a:lnTo>
                    <a:pt x="47234" y="96977"/>
                  </a:lnTo>
                  <a:close/>
                  <a:moveTo>
                    <a:pt x="151148" y="94821"/>
                  </a:moveTo>
                  <a:lnTo>
                    <a:pt x="160597" y="97372"/>
                  </a:lnTo>
                  <a:lnTo>
                    <a:pt x="161092" y="98497"/>
                  </a:lnTo>
                  <a:lnTo>
                    <a:pt x="161259" y="101334"/>
                  </a:lnTo>
                  <a:lnTo>
                    <a:pt x="159618" y="100593"/>
                  </a:lnTo>
                  <a:lnTo>
                    <a:pt x="158328" y="99464"/>
                  </a:lnTo>
                  <a:lnTo>
                    <a:pt x="156279" y="98631"/>
                  </a:lnTo>
                  <a:lnTo>
                    <a:pt x="153783" y="98359"/>
                  </a:lnTo>
                  <a:lnTo>
                    <a:pt x="151956" y="97626"/>
                  </a:lnTo>
                  <a:lnTo>
                    <a:pt x="150677" y="96308"/>
                  </a:lnTo>
                  <a:lnTo>
                    <a:pt x="150621" y="95701"/>
                  </a:lnTo>
                  <a:lnTo>
                    <a:pt x="150747" y="95207"/>
                  </a:lnTo>
                  <a:close/>
                  <a:moveTo>
                    <a:pt x="658556" y="93148"/>
                  </a:moveTo>
                  <a:lnTo>
                    <a:pt x="661247" y="93488"/>
                  </a:lnTo>
                  <a:lnTo>
                    <a:pt x="662439" y="94417"/>
                  </a:lnTo>
                  <a:lnTo>
                    <a:pt x="663963" y="97544"/>
                  </a:lnTo>
                  <a:lnTo>
                    <a:pt x="663696" y="98066"/>
                  </a:lnTo>
                  <a:lnTo>
                    <a:pt x="661909" y="99621"/>
                  </a:lnTo>
                  <a:lnTo>
                    <a:pt x="661392" y="100273"/>
                  </a:lnTo>
                  <a:lnTo>
                    <a:pt x="659413" y="104667"/>
                  </a:lnTo>
                  <a:lnTo>
                    <a:pt x="658059" y="106825"/>
                  </a:lnTo>
                  <a:lnTo>
                    <a:pt x="656337" y="108756"/>
                  </a:lnTo>
                  <a:lnTo>
                    <a:pt x="652119" y="112509"/>
                  </a:lnTo>
                  <a:lnTo>
                    <a:pt x="650830" y="114323"/>
                  </a:lnTo>
                  <a:lnTo>
                    <a:pt x="649707" y="116276"/>
                  </a:lnTo>
                  <a:lnTo>
                    <a:pt x="648049" y="118446"/>
                  </a:lnTo>
                  <a:lnTo>
                    <a:pt x="646135" y="120359"/>
                  </a:lnTo>
                  <a:lnTo>
                    <a:pt x="645181" y="120926"/>
                  </a:lnTo>
                  <a:lnTo>
                    <a:pt x="642829" y="121955"/>
                  </a:lnTo>
                  <a:lnTo>
                    <a:pt x="641476" y="122354"/>
                  </a:lnTo>
                  <a:lnTo>
                    <a:pt x="638923" y="122483"/>
                  </a:lnTo>
                  <a:lnTo>
                    <a:pt x="631238" y="124010"/>
                  </a:lnTo>
                  <a:lnTo>
                    <a:pt x="628714" y="124188"/>
                  </a:lnTo>
                  <a:lnTo>
                    <a:pt x="626200" y="124124"/>
                  </a:lnTo>
                  <a:lnTo>
                    <a:pt x="621434" y="123743"/>
                  </a:lnTo>
                  <a:lnTo>
                    <a:pt x="620439" y="123543"/>
                  </a:lnTo>
                  <a:lnTo>
                    <a:pt x="618538" y="121577"/>
                  </a:lnTo>
                  <a:lnTo>
                    <a:pt x="616394" y="120022"/>
                  </a:lnTo>
                  <a:lnTo>
                    <a:pt x="614501" y="119853"/>
                  </a:lnTo>
                  <a:lnTo>
                    <a:pt x="612570" y="120019"/>
                  </a:lnTo>
                  <a:lnTo>
                    <a:pt x="598666" y="120128"/>
                  </a:lnTo>
                  <a:lnTo>
                    <a:pt x="593805" y="120417"/>
                  </a:lnTo>
                  <a:lnTo>
                    <a:pt x="588963" y="121112"/>
                  </a:lnTo>
                  <a:lnTo>
                    <a:pt x="586327" y="120795"/>
                  </a:lnTo>
                  <a:lnTo>
                    <a:pt x="583714" y="120016"/>
                  </a:lnTo>
                  <a:lnTo>
                    <a:pt x="581749" y="119744"/>
                  </a:lnTo>
                  <a:lnTo>
                    <a:pt x="579760" y="119824"/>
                  </a:lnTo>
                  <a:lnTo>
                    <a:pt x="570633" y="120998"/>
                  </a:lnTo>
                  <a:lnTo>
                    <a:pt x="568338" y="120886"/>
                  </a:lnTo>
                  <a:lnTo>
                    <a:pt x="563721" y="119384"/>
                  </a:lnTo>
                  <a:lnTo>
                    <a:pt x="561036" y="119083"/>
                  </a:lnTo>
                  <a:lnTo>
                    <a:pt x="558404" y="119481"/>
                  </a:lnTo>
                  <a:lnTo>
                    <a:pt x="555951" y="120832"/>
                  </a:lnTo>
                  <a:lnTo>
                    <a:pt x="555022" y="121738"/>
                  </a:lnTo>
                  <a:lnTo>
                    <a:pt x="552485" y="124828"/>
                  </a:lnTo>
                  <a:lnTo>
                    <a:pt x="551049" y="127082"/>
                  </a:lnTo>
                  <a:lnTo>
                    <a:pt x="549965" y="129886"/>
                  </a:lnTo>
                  <a:lnTo>
                    <a:pt x="549030" y="132754"/>
                  </a:lnTo>
                  <a:lnTo>
                    <a:pt x="548527" y="135104"/>
                  </a:lnTo>
                  <a:lnTo>
                    <a:pt x="548501" y="137557"/>
                  </a:lnTo>
                  <a:lnTo>
                    <a:pt x="548935" y="140318"/>
                  </a:lnTo>
                  <a:lnTo>
                    <a:pt x="549624" y="143050"/>
                  </a:lnTo>
                  <a:lnTo>
                    <a:pt x="550388" y="145136"/>
                  </a:lnTo>
                  <a:lnTo>
                    <a:pt x="553554" y="149965"/>
                  </a:lnTo>
                  <a:lnTo>
                    <a:pt x="554200" y="150650"/>
                  </a:lnTo>
                  <a:lnTo>
                    <a:pt x="557640" y="152008"/>
                  </a:lnTo>
                  <a:lnTo>
                    <a:pt x="559678" y="153751"/>
                  </a:lnTo>
                  <a:lnTo>
                    <a:pt x="561613" y="158595"/>
                  </a:lnTo>
                  <a:lnTo>
                    <a:pt x="562991" y="161063"/>
                  </a:lnTo>
                  <a:lnTo>
                    <a:pt x="564345" y="161093"/>
                  </a:lnTo>
                  <a:lnTo>
                    <a:pt x="565856" y="160921"/>
                  </a:lnTo>
                  <a:lnTo>
                    <a:pt x="568484" y="161234"/>
                  </a:lnTo>
                  <a:lnTo>
                    <a:pt x="571091" y="161869"/>
                  </a:lnTo>
                  <a:lnTo>
                    <a:pt x="573630" y="160385"/>
                  </a:lnTo>
                  <a:lnTo>
                    <a:pt x="575046" y="157577"/>
                  </a:lnTo>
                  <a:lnTo>
                    <a:pt x="576467" y="155491"/>
                  </a:lnTo>
                  <a:lnTo>
                    <a:pt x="579883" y="151520"/>
                  </a:lnTo>
                  <a:lnTo>
                    <a:pt x="581829" y="149684"/>
                  </a:lnTo>
                  <a:lnTo>
                    <a:pt x="583072" y="149086"/>
                  </a:lnTo>
                  <a:lnTo>
                    <a:pt x="584336" y="149347"/>
                  </a:lnTo>
                  <a:lnTo>
                    <a:pt x="585407" y="150399"/>
                  </a:lnTo>
                  <a:lnTo>
                    <a:pt x="586657" y="151235"/>
                  </a:lnTo>
                  <a:lnTo>
                    <a:pt x="589210" y="151684"/>
                  </a:lnTo>
                  <a:lnTo>
                    <a:pt x="591786" y="151403"/>
                  </a:lnTo>
                  <a:lnTo>
                    <a:pt x="594528" y="150114"/>
                  </a:lnTo>
                  <a:lnTo>
                    <a:pt x="595511" y="149323"/>
                  </a:lnTo>
                  <a:lnTo>
                    <a:pt x="596325" y="148317"/>
                  </a:lnTo>
                  <a:lnTo>
                    <a:pt x="598649" y="147505"/>
                  </a:lnTo>
                  <a:lnTo>
                    <a:pt x="604170" y="147497"/>
                  </a:lnTo>
                  <a:lnTo>
                    <a:pt x="607025" y="147788"/>
                  </a:lnTo>
                  <a:lnTo>
                    <a:pt x="612110" y="147464"/>
                  </a:lnTo>
                  <a:lnTo>
                    <a:pt x="612039" y="146732"/>
                  </a:lnTo>
                  <a:lnTo>
                    <a:pt x="611057" y="145957"/>
                  </a:lnTo>
                  <a:lnTo>
                    <a:pt x="610799" y="145335"/>
                  </a:lnTo>
                  <a:lnTo>
                    <a:pt x="611745" y="144933"/>
                  </a:lnTo>
                  <a:lnTo>
                    <a:pt x="615021" y="144028"/>
                  </a:lnTo>
                  <a:lnTo>
                    <a:pt x="618362" y="143385"/>
                  </a:lnTo>
                  <a:lnTo>
                    <a:pt x="620793" y="143845"/>
                  </a:lnTo>
                  <a:lnTo>
                    <a:pt x="622965" y="145106"/>
                  </a:lnTo>
                  <a:lnTo>
                    <a:pt x="623798" y="146408"/>
                  </a:lnTo>
                  <a:lnTo>
                    <a:pt x="624171" y="147974"/>
                  </a:lnTo>
                  <a:lnTo>
                    <a:pt x="623333" y="152029"/>
                  </a:lnTo>
                  <a:lnTo>
                    <a:pt x="622926" y="152969"/>
                  </a:lnTo>
                  <a:lnTo>
                    <a:pt x="621195" y="153455"/>
                  </a:lnTo>
                  <a:lnTo>
                    <a:pt x="619562" y="152917"/>
                  </a:lnTo>
                  <a:lnTo>
                    <a:pt x="617947" y="150822"/>
                  </a:lnTo>
                  <a:lnTo>
                    <a:pt x="615662" y="150055"/>
                  </a:lnTo>
                  <a:lnTo>
                    <a:pt x="612421" y="150688"/>
                  </a:lnTo>
                  <a:lnTo>
                    <a:pt x="611309" y="151289"/>
                  </a:lnTo>
                  <a:lnTo>
                    <a:pt x="610311" y="152127"/>
                  </a:lnTo>
                  <a:lnTo>
                    <a:pt x="608480" y="154299"/>
                  </a:lnTo>
                  <a:lnTo>
                    <a:pt x="606955" y="156752"/>
                  </a:lnTo>
                  <a:lnTo>
                    <a:pt x="603660" y="160571"/>
                  </a:lnTo>
                  <a:lnTo>
                    <a:pt x="599847" y="163888"/>
                  </a:lnTo>
                  <a:lnTo>
                    <a:pt x="598001" y="165158"/>
                  </a:lnTo>
                  <a:lnTo>
                    <a:pt x="595943" y="166014"/>
                  </a:lnTo>
                  <a:lnTo>
                    <a:pt x="589331" y="168211"/>
                  </a:lnTo>
                  <a:lnTo>
                    <a:pt x="587590" y="169841"/>
                  </a:lnTo>
                  <a:lnTo>
                    <a:pt x="586239" y="171960"/>
                  </a:lnTo>
                  <a:lnTo>
                    <a:pt x="584740" y="172682"/>
                  </a:lnTo>
                  <a:lnTo>
                    <a:pt x="583008" y="172911"/>
                  </a:lnTo>
                  <a:lnTo>
                    <a:pt x="581708" y="172513"/>
                  </a:lnTo>
                  <a:lnTo>
                    <a:pt x="579073" y="171318"/>
                  </a:lnTo>
                  <a:lnTo>
                    <a:pt x="578205" y="172301"/>
                  </a:lnTo>
                  <a:lnTo>
                    <a:pt x="578059" y="173800"/>
                  </a:lnTo>
                  <a:lnTo>
                    <a:pt x="579356" y="174334"/>
                  </a:lnTo>
                  <a:lnTo>
                    <a:pt x="581444" y="175991"/>
                  </a:lnTo>
                  <a:lnTo>
                    <a:pt x="583060" y="178333"/>
                  </a:lnTo>
                  <a:lnTo>
                    <a:pt x="584096" y="178836"/>
                  </a:lnTo>
                  <a:lnTo>
                    <a:pt x="586398" y="179597"/>
                  </a:lnTo>
                  <a:lnTo>
                    <a:pt x="587366" y="180325"/>
                  </a:lnTo>
                  <a:lnTo>
                    <a:pt x="589101" y="182330"/>
                  </a:lnTo>
                  <a:lnTo>
                    <a:pt x="591835" y="186995"/>
                  </a:lnTo>
                  <a:lnTo>
                    <a:pt x="592766" y="189519"/>
                  </a:lnTo>
                  <a:lnTo>
                    <a:pt x="594285" y="191578"/>
                  </a:lnTo>
                  <a:lnTo>
                    <a:pt x="598908" y="195076"/>
                  </a:lnTo>
                  <a:lnTo>
                    <a:pt x="599164" y="196064"/>
                  </a:lnTo>
                  <a:lnTo>
                    <a:pt x="598879" y="197214"/>
                  </a:lnTo>
                  <a:lnTo>
                    <a:pt x="599236" y="198262"/>
                  </a:lnTo>
                  <a:lnTo>
                    <a:pt x="600887" y="200272"/>
                  </a:lnTo>
                  <a:lnTo>
                    <a:pt x="601280" y="201567"/>
                  </a:lnTo>
                  <a:lnTo>
                    <a:pt x="599474" y="203210"/>
                  </a:lnTo>
                  <a:lnTo>
                    <a:pt x="599374" y="205592"/>
                  </a:lnTo>
                  <a:lnTo>
                    <a:pt x="598266" y="208796"/>
                  </a:lnTo>
                  <a:lnTo>
                    <a:pt x="598016" y="209877"/>
                  </a:lnTo>
                  <a:lnTo>
                    <a:pt x="598050" y="210854"/>
                  </a:lnTo>
                  <a:lnTo>
                    <a:pt x="598828" y="211767"/>
                  </a:lnTo>
                  <a:lnTo>
                    <a:pt x="599735" y="212489"/>
                  </a:lnTo>
                  <a:lnTo>
                    <a:pt x="600978" y="212869"/>
                  </a:lnTo>
                  <a:lnTo>
                    <a:pt x="602066" y="213499"/>
                  </a:lnTo>
                  <a:lnTo>
                    <a:pt x="604159" y="215996"/>
                  </a:lnTo>
                  <a:lnTo>
                    <a:pt x="605252" y="216654"/>
                  </a:lnTo>
                  <a:lnTo>
                    <a:pt x="605945" y="217564"/>
                  </a:lnTo>
                  <a:lnTo>
                    <a:pt x="605873" y="218920"/>
                  </a:lnTo>
                  <a:lnTo>
                    <a:pt x="606828" y="219714"/>
                  </a:lnTo>
                  <a:lnTo>
                    <a:pt x="607707" y="221131"/>
                  </a:lnTo>
                  <a:lnTo>
                    <a:pt x="609050" y="221474"/>
                  </a:lnTo>
                  <a:lnTo>
                    <a:pt x="609678" y="221068"/>
                  </a:lnTo>
                  <a:lnTo>
                    <a:pt x="610108" y="220460"/>
                  </a:lnTo>
                  <a:lnTo>
                    <a:pt x="611207" y="220689"/>
                  </a:lnTo>
                  <a:lnTo>
                    <a:pt x="611857" y="221675"/>
                  </a:lnTo>
                  <a:lnTo>
                    <a:pt x="612233" y="222943"/>
                  </a:lnTo>
                  <a:lnTo>
                    <a:pt x="612354" y="224340"/>
                  </a:lnTo>
                  <a:lnTo>
                    <a:pt x="612300" y="226993"/>
                  </a:lnTo>
                  <a:lnTo>
                    <a:pt x="611745" y="227943"/>
                  </a:lnTo>
                  <a:lnTo>
                    <a:pt x="610536" y="227897"/>
                  </a:lnTo>
                  <a:lnTo>
                    <a:pt x="608372" y="226807"/>
                  </a:lnTo>
                  <a:lnTo>
                    <a:pt x="608268" y="227594"/>
                  </a:lnTo>
                  <a:lnTo>
                    <a:pt x="608416" y="228358"/>
                  </a:lnTo>
                  <a:lnTo>
                    <a:pt x="607314" y="228611"/>
                  </a:lnTo>
                  <a:lnTo>
                    <a:pt x="606051" y="228505"/>
                  </a:lnTo>
                  <a:lnTo>
                    <a:pt x="602881" y="228609"/>
                  </a:lnTo>
                  <a:lnTo>
                    <a:pt x="597037" y="230255"/>
                  </a:lnTo>
                  <a:lnTo>
                    <a:pt x="594984" y="231227"/>
                  </a:lnTo>
                  <a:lnTo>
                    <a:pt x="593656" y="232997"/>
                  </a:lnTo>
                  <a:lnTo>
                    <a:pt x="593563" y="234219"/>
                  </a:lnTo>
                  <a:lnTo>
                    <a:pt x="594077" y="236799"/>
                  </a:lnTo>
                  <a:lnTo>
                    <a:pt x="593300" y="237702"/>
                  </a:lnTo>
                  <a:lnTo>
                    <a:pt x="590622" y="238046"/>
                  </a:lnTo>
                  <a:lnTo>
                    <a:pt x="586887" y="237353"/>
                  </a:lnTo>
                  <a:lnTo>
                    <a:pt x="584623" y="236665"/>
                  </a:lnTo>
                  <a:lnTo>
                    <a:pt x="583362" y="236087"/>
                  </a:lnTo>
                  <a:lnTo>
                    <a:pt x="581719" y="234351"/>
                  </a:lnTo>
                  <a:lnTo>
                    <a:pt x="581103" y="232131"/>
                  </a:lnTo>
                  <a:lnTo>
                    <a:pt x="582313" y="225526"/>
                  </a:lnTo>
                  <a:lnTo>
                    <a:pt x="582656" y="224678"/>
                  </a:lnTo>
                  <a:lnTo>
                    <a:pt x="583245" y="223923"/>
                  </a:lnTo>
                  <a:lnTo>
                    <a:pt x="583868" y="222723"/>
                  </a:lnTo>
                  <a:lnTo>
                    <a:pt x="584012" y="221312"/>
                  </a:lnTo>
                  <a:lnTo>
                    <a:pt x="582228" y="219588"/>
                  </a:lnTo>
                  <a:lnTo>
                    <a:pt x="579540" y="218912"/>
                  </a:lnTo>
                  <a:lnTo>
                    <a:pt x="577259" y="217475"/>
                  </a:lnTo>
                  <a:lnTo>
                    <a:pt x="568450" y="209423"/>
                  </a:lnTo>
                  <a:lnTo>
                    <a:pt x="567953" y="208644"/>
                  </a:lnTo>
                  <a:lnTo>
                    <a:pt x="567934" y="207311"/>
                  </a:lnTo>
                  <a:lnTo>
                    <a:pt x="568288" y="206063"/>
                  </a:lnTo>
                  <a:lnTo>
                    <a:pt x="571183" y="201662"/>
                  </a:lnTo>
                  <a:lnTo>
                    <a:pt x="571546" y="200819"/>
                  </a:lnTo>
                  <a:lnTo>
                    <a:pt x="571900" y="197346"/>
                  </a:lnTo>
                  <a:lnTo>
                    <a:pt x="571823" y="194486"/>
                  </a:lnTo>
                  <a:lnTo>
                    <a:pt x="571499" y="191625"/>
                  </a:lnTo>
                  <a:lnTo>
                    <a:pt x="570127" y="189825"/>
                  </a:lnTo>
                  <a:lnTo>
                    <a:pt x="567679" y="189279"/>
                  </a:lnTo>
                  <a:lnTo>
                    <a:pt x="565150" y="189190"/>
                  </a:lnTo>
                  <a:lnTo>
                    <a:pt x="562686" y="189765"/>
                  </a:lnTo>
                  <a:lnTo>
                    <a:pt x="560261" y="191204"/>
                  </a:lnTo>
                  <a:lnTo>
                    <a:pt x="555782" y="194236"/>
                  </a:lnTo>
                  <a:lnTo>
                    <a:pt x="554005" y="196000"/>
                  </a:lnTo>
                  <a:lnTo>
                    <a:pt x="553852" y="198290"/>
                  </a:lnTo>
                  <a:lnTo>
                    <a:pt x="554878" y="200536"/>
                  </a:lnTo>
                  <a:lnTo>
                    <a:pt x="556203" y="202585"/>
                  </a:lnTo>
                  <a:lnTo>
                    <a:pt x="556910" y="204827"/>
                  </a:lnTo>
                  <a:lnTo>
                    <a:pt x="557888" y="212779"/>
                  </a:lnTo>
                  <a:lnTo>
                    <a:pt x="557855" y="213676"/>
                  </a:lnTo>
                  <a:lnTo>
                    <a:pt x="556703" y="215990"/>
                  </a:lnTo>
                  <a:lnTo>
                    <a:pt x="556249" y="221159"/>
                  </a:lnTo>
                  <a:lnTo>
                    <a:pt x="556737" y="228455"/>
                  </a:lnTo>
                  <a:lnTo>
                    <a:pt x="557523" y="232936"/>
                  </a:lnTo>
                  <a:lnTo>
                    <a:pt x="557188" y="235371"/>
                  </a:lnTo>
                  <a:lnTo>
                    <a:pt x="555092" y="240599"/>
                  </a:lnTo>
                  <a:lnTo>
                    <a:pt x="554457" y="243470"/>
                  </a:lnTo>
                  <a:lnTo>
                    <a:pt x="554409" y="244654"/>
                  </a:lnTo>
                  <a:lnTo>
                    <a:pt x="556877" y="250119"/>
                  </a:lnTo>
                  <a:lnTo>
                    <a:pt x="557445" y="252281"/>
                  </a:lnTo>
                  <a:lnTo>
                    <a:pt x="557750" y="254520"/>
                  </a:lnTo>
                  <a:lnTo>
                    <a:pt x="555124" y="253424"/>
                  </a:lnTo>
                  <a:lnTo>
                    <a:pt x="553904" y="253480"/>
                  </a:lnTo>
                  <a:lnTo>
                    <a:pt x="552673" y="253818"/>
                  </a:lnTo>
                  <a:lnTo>
                    <a:pt x="549937" y="254176"/>
                  </a:lnTo>
                  <a:lnTo>
                    <a:pt x="547162" y="254223"/>
                  </a:lnTo>
                  <a:lnTo>
                    <a:pt x="546191" y="254637"/>
                  </a:lnTo>
                  <a:lnTo>
                    <a:pt x="544219" y="256090"/>
                  </a:lnTo>
                  <a:lnTo>
                    <a:pt x="543024" y="256678"/>
                  </a:lnTo>
                  <a:lnTo>
                    <a:pt x="541982" y="256790"/>
                  </a:lnTo>
                  <a:lnTo>
                    <a:pt x="538447" y="254964"/>
                  </a:lnTo>
                  <a:lnTo>
                    <a:pt x="536361" y="252982"/>
                  </a:lnTo>
                  <a:lnTo>
                    <a:pt x="534439" y="250834"/>
                  </a:lnTo>
                  <a:lnTo>
                    <a:pt x="534089" y="248380"/>
                  </a:lnTo>
                  <a:lnTo>
                    <a:pt x="534759" y="245862"/>
                  </a:lnTo>
                  <a:lnTo>
                    <a:pt x="535709" y="243171"/>
                  </a:lnTo>
                  <a:lnTo>
                    <a:pt x="537609" y="238697"/>
                  </a:lnTo>
                  <a:lnTo>
                    <a:pt x="537521" y="235695"/>
                  </a:lnTo>
                  <a:lnTo>
                    <a:pt x="538170" y="233235"/>
                  </a:lnTo>
                  <a:lnTo>
                    <a:pt x="539256" y="230848"/>
                  </a:lnTo>
                  <a:lnTo>
                    <a:pt x="539648" y="228641"/>
                  </a:lnTo>
                  <a:lnTo>
                    <a:pt x="539911" y="220021"/>
                  </a:lnTo>
                  <a:lnTo>
                    <a:pt x="539642" y="219255"/>
                  </a:lnTo>
                  <a:lnTo>
                    <a:pt x="537037" y="214134"/>
                  </a:lnTo>
                  <a:lnTo>
                    <a:pt x="536736" y="213276"/>
                  </a:lnTo>
                  <a:lnTo>
                    <a:pt x="536719" y="211894"/>
                  </a:lnTo>
                  <a:lnTo>
                    <a:pt x="537000" y="210575"/>
                  </a:lnTo>
                  <a:lnTo>
                    <a:pt x="537056" y="209386"/>
                  </a:lnTo>
                  <a:lnTo>
                    <a:pt x="536458" y="208476"/>
                  </a:lnTo>
                  <a:lnTo>
                    <a:pt x="535404" y="207644"/>
                  </a:lnTo>
                  <a:lnTo>
                    <a:pt x="534128" y="207281"/>
                  </a:lnTo>
                  <a:lnTo>
                    <a:pt x="531429" y="207641"/>
                  </a:lnTo>
                  <a:lnTo>
                    <a:pt x="526002" y="209021"/>
                  </a:lnTo>
                  <a:lnTo>
                    <a:pt x="524400" y="207806"/>
                  </a:lnTo>
                  <a:lnTo>
                    <a:pt x="523195" y="205931"/>
                  </a:lnTo>
                  <a:lnTo>
                    <a:pt x="522424" y="203322"/>
                  </a:lnTo>
                  <a:lnTo>
                    <a:pt x="521975" y="200588"/>
                  </a:lnTo>
                  <a:lnTo>
                    <a:pt x="522182" y="198020"/>
                  </a:lnTo>
                  <a:lnTo>
                    <a:pt x="522984" y="195539"/>
                  </a:lnTo>
                  <a:lnTo>
                    <a:pt x="522338" y="193804"/>
                  </a:lnTo>
                  <a:lnTo>
                    <a:pt x="521338" y="191915"/>
                  </a:lnTo>
                  <a:lnTo>
                    <a:pt x="521330" y="190942"/>
                  </a:lnTo>
                  <a:lnTo>
                    <a:pt x="521898" y="190091"/>
                  </a:lnTo>
                  <a:lnTo>
                    <a:pt x="522878" y="189380"/>
                  </a:lnTo>
                  <a:lnTo>
                    <a:pt x="524076" y="188965"/>
                  </a:lnTo>
                  <a:lnTo>
                    <a:pt x="525197" y="188213"/>
                  </a:lnTo>
                  <a:lnTo>
                    <a:pt x="528159" y="185679"/>
                  </a:lnTo>
                  <a:lnTo>
                    <a:pt x="529114" y="183453"/>
                  </a:lnTo>
                  <a:lnTo>
                    <a:pt x="529176" y="180714"/>
                  </a:lnTo>
                  <a:lnTo>
                    <a:pt x="529931" y="178093"/>
                  </a:lnTo>
                  <a:lnTo>
                    <a:pt x="531446" y="175680"/>
                  </a:lnTo>
                  <a:lnTo>
                    <a:pt x="533238" y="173440"/>
                  </a:lnTo>
                  <a:lnTo>
                    <a:pt x="533822" y="171131"/>
                  </a:lnTo>
                  <a:lnTo>
                    <a:pt x="532939" y="167467"/>
                  </a:lnTo>
                  <a:lnTo>
                    <a:pt x="533288" y="165800"/>
                  </a:lnTo>
                  <a:lnTo>
                    <a:pt x="532984" y="163841"/>
                  </a:lnTo>
                  <a:lnTo>
                    <a:pt x="532954" y="161905"/>
                  </a:lnTo>
                  <a:lnTo>
                    <a:pt x="534064" y="158262"/>
                  </a:lnTo>
                  <a:lnTo>
                    <a:pt x="537359" y="150816"/>
                  </a:lnTo>
                  <a:lnTo>
                    <a:pt x="540572" y="146861"/>
                  </a:lnTo>
                  <a:lnTo>
                    <a:pt x="541850" y="145818"/>
                  </a:lnTo>
                  <a:lnTo>
                    <a:pt x="543517" y="147658"/>
                  </a:lnTo>
                  <a:lnTo>
                    <a:pt x="544792" y="149824"/>
                  </a:lnTo>
                  <a:lnTo>
                    <a:pt x="544811" y="147864"/>
                  </a:lnTo>
                  <a:lnTo>
                    <a:pt x="544472" y="145942"/>
                  </a:lnTo>
                  <a:lnTo>
                    <a:pt x="543185" y="141459"/>
                  </a:lnTo>
                  <a:lnTo>
                    <a:pt x="542083" y="132722"/>
                  </a:lnTo>
                  <a:lnTo>
                    <a:pt x="542392" y="131894"/>
                  </a:lnTo>
                  <a:lnTo>
                    <a:pt x="543513" y="132025"/>
                  </a:lnTo>
                  <a:lnTo>
                    <a:pt x="544658" y="131254"/>
                  </a:lnTo>
                  <a:lnTo>
                    <a:pt x="545262" y="129879"/>
                  </a:lnTo>
                  <a:lnTo>
                    <a:pt x="544070" y="126632"/>
                  </a:lnTo>
                  <a:lnTo>
                    <a:pt x="544016" y="125488"/>
                  </a:lnTo>
                  <a:lnTo>
                    <a:pt x="546316" y="120924"/>
                  </a:lnTo>
                  <a:lnTo>
                    <a:pt x="548190" y="119262"/>
                  </a:lnTo>
                  <a:lnTo>
                    <a:pt x="549011" y="118236"/>
                  </a:lnTo>
                  <a:lnTo>
                    <a:pt x="549481" y="115452"/>
                  </a:lnTo>
                  <a:lnTo>
                    <a:pt x="550457" y="114399"/>
                  </a:lnTo>
                  <a:lnTo>
                    <a:pt x="551694" y="113646"/>
                  </a:lnTo>
                  <a:lnTo>
                    <a:pt x="553314" y="111721"/>
                  </a:lnTo>
                  <a:lnTo>
                    <a:pt x="554193" y="109298"/>
                  </a:lnTo>
                  <a:lnTo>
                    <a:pt x="554731" y="109113"/>
                  </a:lnTo>
                  <a:lnTo>
                    <a:pt x="555364" y="109025"/>
                  </a:lnTo>
                  <a:lnTo>
                    <a:pt x="556337" y="111139"/>
                  </a:lnTo>
                  <a:lnTo>
                    <a:pt x="557432" y="111999"/>
                  </a:lnTo>
                  <a:lnTo>
                    <a:pt x="559657" y="112688"/>
                  </a:lnTo>
                  <a:lnTo>
                    <a:pt x="561557" y="111872"/>
                  </a:lnTo>
                  <a:lnTo>
                    <a:pt x="562086" y="110811"/>
                  </a:lnTo>
                  <a:lnTo>
                    <a:pt x="562802" y="109899"/>
                  </a:lnTo>
                  <a:lnTo>
                    <a:pt x="563956" y="108947"/>
                  </a:lnTo>
                  <a:lnTo>
                    <a:pt x="564925" y="107864"/>
                  </a:lnTo>
                  <a:lnTo>
                    <a:pt x="566003" y="105352"/>
                  </a:lnTo>
                  <a:lnTo>
                    <a:pt x="567426" y="103061"/>
                  </a:lnTo>
                  <a:lnTo>
                    <a:pt x="568402" y="102262"/>
                  </a:lnTo>
                  <a:lnTo>
                    <a:pt x="569581" y="101756"/>
                  </a:lnTo>
                  <a:lnTo>
                    <a:pt x="570889" y="101448"/>
                  </a:lnTo>
                  <a:lnTo>
                    <a:pt x="572153" y="101407"/>
                  </a:lnTo>
                  <a:lnTo>
                    <a:pt x="574953" y="102847"/>
                  </a:lnTo>
                  <a:lnTo>
                    <a:pt x="576575" y="103128"/>
                  </a:lnTo>
                  <a:lnTo>
                    <a:pt x="578234" y="103023"/>
                  </a:lnTo>
                  <a:lnTo>
                    <a:pt x="579281" y="103265"/>
                  </a:lnTo>
                  <a:lnTo>
                    <a:pt x="580076" y="103911"/>
                  </a:lnTo>
                  <a:lnTo>
                    <a:pt x="580799" y="105213"/>
                  </a:lnTo>
                  <a:lnTo>
                    <a:pt x="581695" y="106336"/>
                  </a:lnTo>
                  <a:lnTo>
                    <a:pt x="582522" y="106890"/>
                  </a:lnTo>
                  <a:lnTo>
                    <a:pt x="583431" y="107149"/>
                  </a:lnTo>
                  <a:lnTo>
                    <a:pt x="589525" y="106695"/>
                  </a:lnTo>
                  <a:lnTo>
                    <a:pt x="594850" y="107963"/>
                  </a:lnTo>
                  <a:lnTo>
                    <a:pt x="602112" y="108253"/>
                  </a:lnTo>
                  <a:lnTo>
                    <a:pt x="604604" y="108996"/>
                  </a:lnTo>
                  <a:lnTo>
                    <a:pt x="606995" y="109966"/>
                  </a:lnTo>
                  <a:lnTo>
                    <a:pt x="609923" y="111684"/>
                  </a:lnTo>
                  <a:lnTo>
                    <a:pt x="610994" y="112065"/>
                  </a:lnTo>
                  <a:lnTo>
                    <a:pt x="612192" y="111969"/>
                  </a:lnTo>
                  <a:lnTo>
                    <a:pt x="613687" y="110355"/>
                  </a:lnTo>
                  <a:lnTo>
                    <a:pt x="614853" y="110002"/>
                  </a:lnTo>
                  <a:lnTo>
                    <a:pt x="616040" y="109940"/>
                  </a:lnTo>
                  <a:lnTo>
                    <a:pt x="620720" y="110243"/>
                  </a:lnTo>
                  <a:lnTo>
                    <a:pt x="633292" y="112231"/>
                  </a:lnTo>
                  <a:lnTo>
                    <a:pt x="635151" y="111960"/>
                  </a:lnTo>
                  <a:lnTo>
                    <a:pt x="642732" y="108160"/>
                  </a:lnTo>
                  <a:lnTo>
                    <a:pt x="645766" y="104559"/>
                  </a:lnTo>
                  <a:lnTo>
                    <a:pt x="648483" y="103556"/>
                  </a:lnTo>
                  <a:lnTo>
                    <a:pt x="649405" y="101929"/>
                  </a:lnTo>
                  <a:lnTo>
                    <a:pt x="649953" y="99974"/>
                  </a:lnTo>
                  <a:lnTo>
                    <a:pt x="650916" y="99449"/>
                  </a:lnTo>
                  <a:lnTo>
                    <a:pt x="653193" y="98891"/>
                  </a:lnTo>
                  <a:lnTo>
                    <a:pt x="654099" y="98312"/>
                  </a:lnTo>
                  <a:lnTo>
                    <a:pt x="655712" y="95913"/>
                  </a:lnTo>
                  <a:lnTo>
                    <a:pt x="657624" y="93787"/>
                  </a:lnTo>
                  <a:close/>
                  <a:moveTo>
                    <a:pt x="142271" y="83732"/>
                  </a:moveTo>
                  <a:lnTo>
                    <a:pt x="143761" y="84800"/>
                  </a:lnTo>
                  <a:lnTo>
                    <a:pt x="144960" y="86612"/>
                  </a:lnTo>
                  <a:lnTo>
                    <a:pt x="145208" y="87786"/>
                  </a:lnTo>
                  <a:lnTo>
                    <a:pt x="144336" y="89133"/>
                  </a:lnTo>
                  <a:lnTo>
                    <a:pt x="144011" y="91199"/>
                  </a:lnTo>
                  <a:lnTo>
                    <a:pt x="141431" y="92823"/>
                  </a:lnTo>
                  <a:lnTo>
                    <a:pt x="139176" y="92437"/>
                  </a:lnTo>
                  <a:lnTo>
                    <a:pt x="138447" y="91858"/>
                  </a:lnTo>
                  <a:lnTo>
                    <a:pt x="137024" y="88718"/>
                  </a:lnTo>
                  <a:lnTo>
                    <a:pt x="137162" y="86056"/>
                  </a:lnTo>
                  <a:lnTo>
                    <a:pt x="138060" y="85035"/>
                  </a:lnTo>
                  <a:lnTo>
                    <a:pt x="140148" y="85192"/>
                  </a:lnTo>
                  <a:close/>
                  <a:moveTo>
                    <a:pt x="725936" y="82132"/>
                  </a:moveTo>
                  <a:lnTo>
                    <a:pt x="726076" y="83060"/>
                  </a:lnTo>
                  <a:lnTo>
                    <a:pt x="725821" y="83883"/>
                  </a:lnTo>
                  <a:lnTo>
                    <a:pt x="723068" y="87738"/>
                  </a:lnTo>
                  <a:lnTo>
                    <a:pt x="722701" y="88608"/>
                  </a:lnTo>
                  <a:lnTo>
                    <a:pt x="722627" y="90230"/>
                  </a:lnTo>
                  <a:lnTo>
                    <a:pt x="723947" y="91188"/>
                  </a:lnTo>
                  <a:lnTo>
                    <a:pt x="725372" y="93144"/>
                  </a:lnTo>
                  <a:lnTo>
                    <a:pt x="725655" y="95748"/>
                  </a:lnTo>
                  <a:lnTo>
                    <a:pt x="725702" y="98521"/>
                  </a:lnTo>
                  <a:lnTo>
                    <a:pt x="725389" y="101316"/>
                  </a:lnTo>
                  <a:lnTo>
                    <a:pt x="724858" y="102248"/>
                  </a:lnTo>
                  <a:lnTo>
                    <a:pt x="722595" y="105052"/>
                  </a:lnTo>
                  <a:lnTo>
                    <a:pt x="717453" y="108346"/>
                  </a:lnTo>
                  <a:lnTo>
                    <a:pt x="717015" y="109157"/>
                  </a:lnTo>
                  <a:lnTo>
                    <a:pt x="717046" y="110065"/>
                  </a:lnTo>
                  <a:lnTo>
                    <a:pt x="717998" y="111161"/>
                  </a:lnTo>
                  <a:lnTo>
                    <a:pt x="719220" y="112010"/>
                  </a:lnTo>
                  <a:lnTo>
                    <a:pt x="720827" y="112502"/>
                  </a:lnTo>
                  <a:lnTo>
                    <a:pt x="722500" y="112365"/>
                  </a:lnTo>
                  <a:lnTo>
                    <a:pt x="723331" y="111377"/>
                  </a:lnTo>
                  <a:lnTo>
                    <a:pt x="723562" y="110096"/>
                  </a:lnTo>
                  <a:lnTo>
                    <a:pt x="724407" y="107711"/>
                  </a:lnTo>
                  <a:lnTo>
                    <a:pt x="726352" y="106095"/>
                  </a:lnTo>
                  <a:lnTo>
                    <a:pt x="727717" y="105843"/>
                  </a:lnTo>
                  <a:lnTo>
                    <a:pt x="728684" y="105162"/>
                  </a:lnTo>
                  <a:lnTo>
                    <a:pt x="728516" y="103392"/>
                  </a:lnTo>
                  <a:lnTo>
                    <a:pt x="728611" y="101651"/>
                  </a:lnTo>
                  <a:lnTo>
                    <a:pt x="730049" y="99792"/>
                  </a:lnTo>
                  <a:lnTo>
                    <a:pt x="734508" y="97207"/>
                  </a:lnTo>
                  <a:lnTo>
                    <a:pt x="737054" y="96285"/>
                  </a:lnTo>
                  <a:lnTo>
                    <a:pt x="740352" y="95990"/>
                  </a:lnTo>
                  <a:lnTo>
                    <a:pt x="740723" y="96981"/>
                  </a:lnTo>
                  <a:lnTo>
                    <a:pt x="740345" y="98397"/>
                  </a:lnTo>
                  <a:lnTo>
                    <a:pt x="740982" y="100530"/>
                  </a:lnTo>
                  <a:lnTo>
                    <a:pt x="740667" y="106300"/>
                  </a:lnTo>
                  <a:lnTo>
                    <a:pt x="739918" y="107117"/>
                  </a:lnTo>
                  <a:lnTo>
                    <a:pt x="736508" y="109111"/>
                  </a:lnTo>
                  <a:lnTo>
                    <a:pt x="732781" y="110706"/>
                  </a:lnTo>
                  <a:lnTo>
                    <a:pt x="731738" y="111377"/>
                  </a:lnTo>
                  <a:lnTo>
                    <a:pt x="730818" y="112965"/>
                  </a:lnTo>
                  <a:lnTo>
                    <a:pt x="730894" y="114539"/>
                  </a:lnTo>
                  <a:lnTo>
                    <a:pt x="733930" y="116640"/>
                  </a:lnTo>
                  <a:lnTo>
                    <a:pt x="738646" y="118605"/>
                  </a:lnTo>
                  <a:lnTo>
                    <a:pt x="739619" y="119527"/>
                  </a:lnTo>
                  <a:lnTo>
                    <a:pt x="740250" y="121070"/>
                  </a:lnTo>
                  <a:lnTo>
                    <a:pt x="740423" y="122797"/>
                  </a:lnTo>
                  <a:lnTo>
                    <a:pt x="741565" y="123617"/>
                  </a:lnTo>
                  <a:lnTo>
                    <a:pt x="743161" y="124013"/>
                  </a:lnTo>
                  <a:lnTo>
                    <a:pt x="744219" y="124831"/>
                  </a:lnTo>
                  <a:lnTo>
                    <a:pt x="745023" y="125983"/>
                  </a:lnTo>
                  <a:lnTo>
                    <a:pt x="737080" y="123294"/>
                  </a:lnTo>
                  <a:lnTo>
                    <a:pt x="735003" y="122107"/>
                  </a:lnTo>
                  <a:lnTo>
                    <a:pt x="732490" y="121966"/>
                  </a:lnTo>
                  <a:lnTo>
                    <a:pt x="730008" y="121605"/>
                  </a:lnTo>
                  <a:lnTo>
                    <a:pt x="727475" y="120574"/>
                  </a:lnTo>
                  <a:lnTo>
                    <a:pt x="724757" y="120331"/>
                  </a:lnTo>
                  <a:lnTo>
                    <a:pt x="723459" y="121078"/>
                  </a:lnTo>
                  <a:lnTo>
                    <a:pt x="722949" y="122534"/>
                  </a:lnTo>
                  <a:lnTo>
                    <a:pt x="722641" y="124168"/>
                  </a:lnTo>
                  <a:lnTo>
                    <a:pt x="723243" y="126203"/>
                  </a:lnTo>
                  <a:lnTo>
                    <a:pt x="723189" y="127437"/>
                  </a:lnTo>
                  <a:lnTo>
                    <a:pt x="722675" y="129671"/>
                  </a:lnTo>
                  <a:lnTo>
                    <a:pt x="724640" y="136257"/>
                  </a:lnTo>
                  <a:lnTo>
                    <a:pt x="727108" y="141495"/>
                  </a:lnTo>
                  <a:lnTo>
                    <a:pt x="730735" y="146944"/>
                  </a:lnTo>
                  <a:lnTo>
                    <a:pt x="732528" y="148816"/>
                  </a:lnTo>
                  <a:lnTo>
                    <a:pt x="734539" y="150505"/>
                  </a:lnTo>
                  <a:lnTo>
                    <a:pt x="731280" y="150004"/>
                  </a:lnTo>
                  <a:lnTo>
                    <a:pt x="730291" y="148183"/>
                  </a:lnTo>
                  <a:lnTo>
                    <a:pt x="726156" y="146378"/>
                  </a:lnTo>
                  <a:lnTo>
                    <a:pt x="725370" y="145300"/>
                  </a:lnTo>
                  <a:lnTo>
                    <a:pt x="722675" y="140130"/>
                  </a:lnTo>
                  <a:lnTo>
                    <a:pt x="721886" y="139165"/>
                  </a:lnTo>
                  <a:lnTo>
                    <a:pt x="719399" y="137408"/>
                  </a:lnTo>
                  <a:lnTo>
                    <a:pt x="718311" y="136114"/>
                  </a:lnTo>
                  <a:lnTo>
                    <a:pt x="717939" y="134367"/>
                  </a:lnTo>
                  <a:lnTo>
                    <a:pt x="718218" y="132533"/>
                  </a:lnTo>
                  <a:lnTo>
                    <a:pt x="718084" y="129994"/>
                  </a:lnTo>
                  <a:lnTo>
                    <a:pt x="718175" y="127470"/>
                  </a:lnTo>
                  <a:lnTo>
                    <a:pt x="718689" y="124395"/>
                  </a:lnTo>
                  <a:lnTo>
                    <a:pt x="717804" y="123319"/>
                  </a:lnTo>
                  <a:lnTo>
                    <a:pt x="716644" y="122298"/>
                  </a:lnTo>
                  <a:lnTo>
                    <a:pt x="715298" y="119938"/>
                  </a:lnTo>
                  <a:lnTo>
                    <a:pt x="714894" y="117257"/>
                  </a:lnTo>
                  <a:lnTo>
                    <a:pt x="714998" y="115714"/>
                  </a:lnTo>
                  <a:lnTo>
                    <a:pt x="715556" y="114346"/>
                  </a:lnTo>
                  <a:lnTo>
                    <a:pt x="716301" y="113163"/>
                  </a:lnTo>
                  <a:lnTo>
                    <a:pt x="716463" y="112009"/>
                  </a:lnTo>
                  <a:lnTo>
                    <a:pt x="714526" y="110333"/>
                  </a:lnTo>
                  <a:lnTo>
                    <a:pt x="712493" y="105557"/>
                  </a:lnTo>
                  <a:lnTo>
                    <a:pt x="712312" y="103080"/>
                  </a:lnTo>
                  <a:lnTo>
                    <a:pt x="714894" y="98314"/>
                  </a:lnTo>
                  <a:lnTo>
                    <a:pt x="714841" y="96001"/>
                  </a:lnTo>
                  <a:lnTo>
                    <a:pt x="715355" y="94626"/>
                  </a:lnTo>
                  <a:lnTo>
                    <a:pt x="715638" y="93168"/>
                  </a:lnTo>
                  <a:lnTo>
                    <a:pt x="716987" y="89993"/>
                  </a:lnTo>
                  <a:lnTo>
                    <a:pt x="719192" y="87285"/>
                  </a:lnTo>
                  <a:lnTo>
                    <a:pt x="722916" y="83497"/>
                  </a:lnTo>
                  <a:lnTo>
                    <a:pt x="724340" y="82670"/>
                  </a:lnTo>
                  <a:close/>
                  <a:moveTo>
                    <a:pt x="43118" y="81398"/>
                  </a:moveTo>
                  <a:lnTo>
                    <a:pt x="45245" y="81756"/>
                  </a:lnTo>
                  <a:lnTo>
                    <a:pt x="46098" y="82093"/>
                  </a:lnTo>
                  <a:lnTo>
                    <a:pt x="46924" y="83249"/>
                  </a:lnTo>
                  <a:lnTo>
                    <a:pt x="47045" y="84862"/>
                  </a:lnTo>
                  <a:lnTo>
                    <a:pt x="46914" y="85357"/>
                  </a:lnTo>
                  <a:lnTo>
                    <a:pt x="44632" y="83029"/>
                  </a:lnTo>
                  <a:lnTo>
                    <a:pt x="42050" y="81737"/>
                  </a:lnTo>
                  <a:close/>
                  <a:moveTo>
                    <a:pt x="738445" y="73314"/>
                  </a:moveTo>
                  <a:lnTo>
                    <a:pt x="740354" y="76056"/>
                  </a:lnTo>
                  <a:lnTo>
                    <a:pt x="738912" y="81571"/>
                  </a:lnTo>
                  <a:lnTo>
                    <a:pt x="737238" y="84388"/>
                  </a:lnTo>
                  <a:lnTo>
                    <a:pt x="735167" y="85390"/>
                  </a:lnTo>
                  <a:lnTo>
                    <a:pt x="731673" y="85767"/>
                  </a:lnTo>
                  <a:lnTo>
                    <a:pt x="730879" y="84710"/>
                  </a:lnTo>
                  <a:lnTo>
                    <a:pt x="729950" y="79955"/>
                  </a:lnTo>
                  <a:lnTo>
                    <a:pt x="732435" y="76152"/>
                  </a:lnTo>
                  <a:lnTo>
                    <a:pt x="735568" y="73914"/>
                  </a:lnTo>
                  <a:lnTo>
                    <a:pt x="737704" y="73348"/>
                  </a:lnTo>
                  <a:close/>
                  <a:moveTo>
                    <a:pt x="667436" y="68717"/>
                  </a:moveTo>
                  <a:lnTo>
                    <a:pt x="668418" y="69192"/>
                  </a:lnTo>
                  <a:lnTo>
                    <a:pt x="668667" y="69655"/>
                  </a:lnTo>
                  <a:lnTo>
                    <a:pt x="667725" y="70893"/>
                  </a:lnTo>
                  <a:lnTo>
                    <a:pt x="667803" y="72119"/>
                  </a:lnTo>
                  <a:lnTo>
                    <a:pt x="667578" y="72607"/>
                  </a:lnTo>
                  <a:lnTo>
                    <a:pt x="666756" y="70012"/>
                  </a:lnTo>
                  <a:close/>
                  <a:moveTo>
                    <a:pt x="13258" y="66268"/>
                  </a:moveTo>
                  <a:lnTo>
                    <a:pt x="15239" y="66865"/>
                  </a:lnTo>
                  <a:lnTo>
                    <a:pt x="17495" y="69247"/>
                  </a:lnTo>
                  <a:lnTo>
                    <a:pt x="19788" y="70137"/>
                  </a:lnTo>
                  <a:lnTo>
                    <a:pt x="20412" y="70586"/>
                  </a:lnTo>
                  <a:lnTo>
                    <a:pt x="21522" y="71904"/>
                  </a:lnTo>
                  <a:lnTo>
                    <a:pt x="26770" y="75138"/>
                  </a:lnTo>
                  <a:lnTo>
                    <a:pt x="27340" y="76234"/>
                  </a:lnTo>
                  <a:lnTo>
                    <a:pt x="27700" y="77336"/>
                  </a:lnTo>
                  <a:lnTo>
                    <a:pt x="27795" y="78571"/>
                  </a:lnTo>
                  <a:lnTo>
                    <a:pt x="26409" y="78777"/>
                  </a:lnTo>
                  <a:lnTo>
                    <a:pt x="25075" y="78304"/>
                  </a:lnTo>
                  <a:lnTo>
                    <a:pt x="23965" y="77032"/>
                  </a:lnTo>
                  <a:lnTo>
                    <a:pt x="18028" y="73355"/>
                  </a:lnTo>
                  <a:lnTo>
                    <a:pt x="16182" y="73296"/>
                  </a:lnTo>
                  <a:lnTo>
                    <a:pt x="14884" y="72356"/>
                  </a:lnTo>
                  <a:lnTo>
                    <a:pt x="13310" y="72031"/>
                  </a:lnTo>
                  <a:lnTo>
                    <a:pt x="11639" y="69577"/>
                  </a:lnTo>
                  <a:lnTo>
                    <a:pt x="11289" y="68261"/>
                  </a:lnTo>
                  <a:lnTo>
                    <a:pt x="12505" y="67619"/>
                  </a:lnTo>
                  <a:close/>
                  <a:moveTo>
                    <a:pt x="302474" y="64432"/>
                  </a:moveTo>
                  <a:lnTo>
                    <a:pt x="302513" y="66503"/>
                  </a:lnTo>
                  <a:lnTo>
                    <a:pt x="301437" y="67662"/>
                  </a:lnTo>
                  <a:lnTo>
                    <a:pt x="300279" y="66940"/>
                  </a:lnTo>
                  <a:lnTo>
                    <a:pt x="302061" y="64589"/>
                  </a:lnTo>
                  <a:close/>
                  <a:moveTo>
                    <a:pt x="231857" y="63026"/>
                  </a:moveTo>
                  <a:lnTo>
                    <a:pt x="232708" y="63591"/>
                  </a:lnTo>
                  <a:lnTo>
                    <a:pt x="233364" y="64121"/>
                  </a:lnTo>
                  <a:lnTo>
                    <a:pt x="234121" y="64499"/>
                  </a:lnTo>
                  <a:lnTo>
                    <a:pt x="234732" y="64755"/>
                  </a:lnTo>
                  <a:lnTo>
                    <a:pt x="235053" y="64929"/>
                  </a:lnTo>
                  <a:lnTo>
                    <a:pt x="234449" y="66535"/>
                  </a:lnTo>
                  <a:lnTo>
                    <a:pt x="233364" y="67441"/>
                  </a:lnTo>
                  <a:lnTo>
                    <a:pt x="232440" y="67526"/>
                  </a:lnTo>
                  <a:lnTo>
                    <a:pt x="232166" y="66869"/>
                  </a:lnTo>
                  <a:lnTo>
                    <a:pt x="232205" y="65735"/>
                  </a:lnTo>
                  <a:lnTo>
                    <a:pt x="232123" y="64832"/>
                  </a:lnTo>
                  <a:lnTo>
                    <a:pt x="231857" y="64159"/>
                  </a:lnTo>
                  <a:close/>
                  <a:moveTo>
                    <a:pt x="243611" y="59328"/>
                  </a:moveTo>
                  <a:lnTo>
                    <a:pt x="244660" y="59622"/>
                  </a:lnTo>
                  <a:lnTo>
                    <a:pt x="244971" y="60932"/>
                  </a:lnTo>
                  <a:lnTo>
                    <a:pt x="244937" y="62457"/>
                  </a:lnTo>
                  <a:lnTo>
                    <a:pt x="243408" y="61564"/>
                  </a:lnTo>
                  <a:lnTo>
                    <a:pt x="243108" y="59875"/>
                  </a:lnTo>
                  <a:close/>
                  <a:moveTo>
                    <a:pt x="495976" y="54757"/>
                  </a:moveTo>
                  <a:lnTo>
                    <a:pt x="496952" y="55389"/>
                  </a:lnTo>
                  <a:lnTo>
                    <a:pt x="496455" y="58201"/>
                  </a:lnTo>
                  <a:lnTo>
                    <a:pt x="496177" y="58926"/>
                  </a:lnTo>
                  <a:lnTo>
                    <a:pt x="494287" y="57145"/>
                  </a:lnTo>
                  <a:lnTo>
                    <a:pt x="493782" y="55857"/>
                  </a:lnTo>
                  <a:lnTo>
                    <a:pt x="494011" y="54848"/>
                  </a:lnTo>
                  <a:close/>
                  <a:moveTo>
                    <a:pt x="669161" y="48178"/>
                  </a:moveTo>
                  <a:lnTo>
                    <a:pt x="670810" y="49569"/>
                  </a:lnTo>
                  <a:lnTo>
                    <a:pt x="671744" y="51768"/>
                  </a:lnTo>
                  <a:lnTo>
                    <a:pt x="673024" y="53862"/>
                  </a:lnTo>
                  <a:lnTo>
                    <a:pt x="673346" y="54758"/>
                  </a:lnTo>
                  <a:lnTo>
                    <a:pt x="672796" y="55436"/>
                  </a:lnTo>
                  <a:lnTo>
                    <a:pt x="670104" y="54202"/>
                  </a:lnTo>
                  <a:lnTo>
                    <a:pt x="670238" y="52244"/>
                  </a:lnTo>
                  <a:lnTo>
                    <a:pt x="669876" y="51278"/>
                  </a:lnTo>
                  <a:lnTo>
                    <a:pt x="669155" y="50262"/>
                  </a:lnTo>
                  <a:lnTo>
                    <a:pt x="668861" y="49264"/>
                  </a:lnTo>
                  <a:close/>
                  <a:moveTo>
                    <a:pt x="698695" y="45418"/>
                  </a:moveTo>
                  <a:lnTo>
                    <a:pt x="699857" y="46425"/>
                  </a:lnTo>
                  <a:lnTo>
                    <a:pt x="699874" y="46983"/>
                  </a:lnTo>
                  <a:lnTo>
                    <a:pt x="699743" y="47398"/>
                  </a:lnTo>
                  <a:lnTo>
                    <a:pt x="699381" y="47654"/>
                  </a:lnTo>
                  <a:lnTo>
                    <a:pt x="698587" y="47057"/>
                  </a:lnTo>
                  <a:lnTo>
                    <a:pt x="698099" y="46402"/>
                  </a:lnTo>
                  <a:lnTo>
                    <a:pt x="698130" y="45744"/>
                  </a:lnTo>
                  <a:close/>
                  <a:moveTo>
                    <a:pt x="695003" y="41342"/>
                  </a:moveTo>
                  <a:lnTo>
                    <a:pt x="696065" y="42240"/>
                  </a:lnTo>
                  <a:lnTo>
                    <a:pt x="697261" y="44093"/>
                  </a:lnTo>
                  <a:lnTo>
                    <a:pt x="696812" y="45047"/>
                  </a:lnTo>
                  <a:lnTo>
                    <a:pt x="696866" y="45980"/>
                  </a:lnTo>
                  <a:lnTo>
                    <a:pt x="695527" y="43856"/>
                  </a:lnTo>
                  <a:close/>
                  <a:moveTo>
                    <a:pt x="501461" y="38148"/>
                  </a:moveTo>
                  <a:lnTo>
                    <a:pt x="502193" y="40266"/>
                  </a:lnTo>
                  <a:lnTo>
                    <a:pt x="502303" y="41068"/>
                  </a:lnTo>
                  <a:lnTo>
                    <a:pt x="498190" y="42182"/>
                  </a:lnTo>
                  <a:lnTo>
                    <a:pt x="495719" y="39580"/>
                  </a:lnTo>
                  <a:lnTo>
                    <a:pt x="496248" y="38528"/>
                  </a:lnTo>
                  <a:lnTo>
                    <a:pt x="498380" y="38573"/>
                  </a:lnTo>
                  <a:close/>
                  <a:moveTo>
                    <a:pt x="288379" y="37462"/>
                  </a:moveTo>
                  <a:lnTo>
                    <a:pt x="288539" y="38910"/>
                  </a:lnTo>
                  <a:lnTo>
                    <a:pt x="291575" y="42577"/>
                  </a:lnTo>
                  <a:lnTo>
                    <a:pt x="291707" y="45017"/>
                  </a:lnTo>
                  <a:lnTo>
                    <a:pt x="291590" y="45899"/>
                  </a:lnTo>
                  <a:lnTo>
                    <a:pt x="289875" y="49143"/>
                  </a:lnTo>
                  <a:lnTo>
                    <a:pt x="286859" y="49953"/>
                  </a:lnTo>
                  <a:lnTo>
                    <a:pt x="285108" y="48814"/>
                  </a:lnTo>
                  <a:lnTo>
                    <a:pt x="287004" y="47409"/>
                  </a:lnTo>
                  <a:lnTo>
                    <a:pt x="287673" y="47316"/>
                  </a:lnTo>
                  <a:lnTo>
                    <a:pt x="288109" y="47042"/>
                  </a:lnTo>
                  <a:lnTo>
                    <a:pt x="288267" y="46471"/>
                  </a:lnTo>
                  <a:lnTo>
                    <a:pt x="284845" y="45546"/>
                  </a:lnTo>
                  <a:lnTo>
                    <a:pt x="283873" y="44730"/>
                  </a:lnTo>
                  <a:lnTo>
                    <a:pt x="282939" y="42650"/>
                  </a:lnTo>
                  <a:lnTo>
                    <a:pt x="282966" y="41328"/>
                  </a:lnTo>
                  <a:lnTo>
                    <a:pt x="287353" y="37830"/>
                  </a:lnTo>
                  <a:close/>
                  <a:moveTo>
                    <a:pt x="471167" y="34057"/>
                  </a:moveTo>
                  <a:lnTo>
                    <a:pt x="472016" y="34300"/>
                  </a:lnTo>
                  <a:lnTo>
                    <a:pt x="472810" y="34775"/>
                  </a:lnTo>
                  <a:lnTo>
                    <a:pt x="473908" y="34760"/>
                  </a:lnTo>
                  <a:lnTo>
                    <a:pt x="475216" y="34408"/>
                  </a:lnTo>
                  <a:lnTo>
                    <a:pt x="478438" y="34737"/>
                  </a:lnTo>
                  <a:lnTo>
                    <a:pt x="484121" y="34805"/>
                  </a:lnTo>
                  <a:lnTo>
                    <a:pt x="488034" y="35641"/>
                  </a:lnTo>
                  <a:lnTo>
                    <a:pt x="491867" y="37999"/>
                  </a:lnTo>
                  <a:lnTo>
                    <a:pt x="493778" y="38475"/>
                  </a:lnTo>
                  <a:lnTo>
                    <a:pt x="494599" y="38492"/>
                  </a:lnTo>
                  <a:lnTo>
                    <a:pt x="494417" y="38676"/>
                  </a:lnTo>
                  <a:lnTo>
                    <a:pt x="492897" y="39316"/>
                  </a:lnTo>
                  <a:lnTo>
                    <a:pt x="492186" y="40586"/>
                  </a:lnTo>
                  <a:lnTo>
                    <a:pt x="494266" y="42529"/>
                  </a:lnTo>
                  <a:lnTo>
                    <a:pt x="494413" y="43822"/>
                  </a:lnTo>
                  <a:lnTo>
                    <a:pt x="496028" y="44973"/>
                  </a:lnTo>
                  <a:lnTo>
                    <a:pt x="498000" y="46772"/>
                  </a:lnTo>
                  <a:lnTo>
                    <a:pt x="498077" y="47358"/>
                  </a:lnTo>
                  <a:lnTo>
                    <a:pt x="498746" y="48164"/>
                  </a:lnTo>
                  <a:lnTo>
                    <a:pt x="499084" y="49152"/>
                  </a:lnTo>
                  <a:lnTo>
                    <a:pt x="497695" y="50136"/>
                  </a:lnTo>
                  <a:lnTo>
                    <a:pt x="495825" y="50324"/>
                  </a:lnTo>
                  <a:lnTo>
                    <a:pt x="494443" y="49395"/>
                  </a:lnTo>
                  <a:lnTo>
                    <a:pt x="493167" y="48241"/>
                  </a:lnTo>
                  <a:lnTo>
                    <a:pt x="492841" y="49676"/>
                  </a:lnTo>
                  <a:lnTo>
                    <a:pt x="491856" y="50497"/>
                  </a:lnTo>
                  <a:lnTo>
                    <a:pt x="488263" y="50258"/>
                  </a:lnTo>
                  <a:lnTo>
                    <a:pt x="485691" y="50265"/>
                  </a:lnTo>
                  <a:lnTo>
                    <a:pt x="483134" y="50627"/>
                  </a:lnTo>
                  <a:lnTo>
                    <a:pt x="484415" y="50848"/>
                  </a:lnTo>
                  <a:lnTo>
                    <a:pt x="485577" y="51305"/>
                  </a:lnTo>
                  <a:lnTo>
                    <a:pt x="489554" y="54967"/>
                  </a:lnTo>
                  <a:lnTo>
                    <a:pt x="490403" y="56322"/>
                  </a:lnTo>
                  <a:lnTo>
                    <a:pt x="489014" y="59019"/>
                  </a:lnTo>
                  <a:lnTo>
                    <a:pt x="489690" y="60121"/>
                  </a:lnTo>
                  <a:lnTo>
                    <a:pt x="491230" y="60753"/>
                  </a:lnTo>
                  <a:lnTo>
                    <a:pt x="493104" y="62095"/>
                  </a:lnTo>
                  <a:lnTo>
                    <a:pt x="494439" y="62230"/>
                  </a:lnTo>
                  <a:lnTo>
                    <a:pt x="495399" y="62985"/>
                  </a:lnTo>
                  <a:lnTo>
                    <a:pt x="495438" y="64301"/>
                  </a:lnTo>
                  <a:lnTo>
                    <a:pt x="496002" y="65498"/>
                  </a:lnTo>
                  <a:lnTo>
                    <a:pt x="494482" y="65974"/>
                  </a:lnTo>
                  <a:lnTo>
                    <a:pt x="495987" y="66292"/>
                  </a:lnTo>
                  <a:lnTo>
                    <a:pt x="497323" y="66904"/>
                  </a:lnTo>
                  <a:lnTo>
                    <a:pt x="496592" y="67524"/>
                  </a:lnTo>
                  <a:lnTo>
                    <a:pt x="496024" y="68276"/>
                  </a:lnTo>
                  <a:lnTo>
                    <a:pt x="496641" y="68682"/>
                  </a:lnTo>
                  <a:lnTo>
                    <a:pt x="498474" y="69376"/>
                  </a:lnTo>
                  <a:lnTo>
                    <a:pt x="499276" y="70013"/>
                  </a:lnTo>
                  <a:lnTo>
                    <a:pt x="499694" y="71736"/>
                  </a:lnTo>
                  <a:lnTo>
                    <a:pt x="501483" y="74550"/>
                  </a:lnTo>
                  <a:lnTo>
                    <a:pt x="504765" y="78181"/>
                  </a:lnTo>
                  <a:lnTo>
                    <a:pt x="505482" y="79504"/>
                  </a:lnTo>
                  <a:lnTo>
                    <a:pt x="505475" y="80723"/>
                  </a:lnTo>
                  <a:lnTo>
                    <a:pt x="504929" y="81770"/>
                  </a:lnTo>
                  <a:lnTo>
                    <a:pt x="503059" y="82997"/>
                  </a:lnTo>
                  <a:lnTo>
                    <a:pt x="501560" y="84611"/>
                  </a:lnTo>
                  <a:lnTo>
                    <a:pt x="501379" y="85194"/>
                  </a:lnTo>
                  <a:lnTo>
                    <a:pt x="499349" y="85941"/>
                  </a:lnTo>
                  <a:lnTo>
                    <a:pt x="500277" y="86491"/>
                  </a:lnTo>
                  <a:lnTo>
                    <a:pt x="501016" y="87234"/>
                  </a:lnTo>
                  <a:lnTo>
                    <a:pt x="502426" y="89482"/>
                  </a:lnTo>
                  <a:lnTo>
                    <a:pt x="505786" y="93130"/>
                  </a:lnTo>
                  <a:lnTo>
                    <a:pt x="507477" y="94491"/>
                  </a:lnTo>
                  <a:lnTo>
                    <a:pt x="514439" y="99442"/>
                  </a:lnTo>
                  <a:lnTo>
                    <a:pt x="518138" y="101598"/>
                  </a:lnTo>
                  <a:lnTo>
                    <a:pt x="522860" y="106533"/>
                  </a:lnTo>
                  <a:lnTo>
                    <a:pt x="525314" y="107673"/>
                  </a:lnTo>
                  <a:lnTo>
                    <a:pt x="525789" y="109047"/>
                  </a:lnTo>
                  <a:lnTo>
                    <a:pt x="523742" y="111154"/>
                  </a:lnTo>
                  <a:lnTo>
                    <a:pt x="520757" y="112208"/>
                  </a:lnTo>
                  <a:lnTo>
                    <a:pt x="515834" y="112776"/>
                  </a:lnTo>
                  <a:lnTo>
                    <a:pt x="510898" y="112034"/>
                  </a:lnTo>
                  <a:lnTo>
                    <a:pt x="508345" y="111431"/>
                  </a:lnTo>
                  <a:lnTo>
                    <a:pt x="506120" y="110219"/>
                  </a:lnTo>
                  <a:lnTo>
                    <a:pt x="504369" y="107786"/>
                  </a:lnTo>
                  <a:lnTo>
                    <a:pt x="502055" y="106470"/>
                  </a:lnTo>
                  <a:lnTo>
                    <a:pt x="502946" y="107945"/>
                  </a:lnTo>
                  <a:lnTo>
                    <a:pt x="503508" y="109452"/>
                  </a:lnTo>
                  <a:lnTo>
                    <a:pt x="503218" y="111095"/>
                  </a:lnTo>
                  <a:lnTo>
                    <a:pt x="502307" y="112382"/>
                  </a:lnTo>
                  <a:lnTo>
                    <a:pt x="500749" y="113326"/>
                  </a:lnTo>
                  <a:lnTo>
                    <a:pt x="499077" y="114092"/>
                  </a:lnTo>
                  <a:lnTo>
                    <a:pt x="498373" y="114631"/>
                  </a:lnTo>
                  <a:lnTo>
                    <a:pt x="494132" y="123224"/>
                  </a:lnTo>
                  <a:lnTo>
                    <a:pt x="493444" y="125549"/>
                  </a:lnTo>
                  <a:lnTo>
                    <a:pt x="492151" y="135199"/>
                  </a:lnTo>
                  <a:lnTo>
                    <a:pt x="492132" y="137924"/>
                  </a:lnTo>
                  <a:lnTo>
                    <a:pt x="494035" y="143024"/>
                  </a:lnTo>
                  <a:lnTo>
                    <a:pt x="494210" y="145698"/>
                  </a:lnTo>
                  <a:lnTo>
                    <a:pt x="494585" y="146853"/>
                  </a:lnTo>
                  <a:lnTo>
                    <a:pt x="494335" y="147812"/>
                  </a:lnTo>
                  <a:lnTo>
                    <a:pt x="493434" y="148382"/>
                  </a:lnTo>
                  <a:lnTo>
                    <a:pt x="489793" y="149941"/>
                  </a:lnTo>
                  <a:lnTo>
                    <a:pt x="487220" y="151235"/>
                  </a:lnTo>
                  <a:lnTo>
                    <a:pt x="485136" y="153077"/>
                  </a:lnTo>
                  <a:lnTo>
                    <a:pt x="483450" y="155370"/>
                  </a:lnTo>
                  <a:lnTo>
                    <a:pt x="481968" y="157029"/>
                  </a:lnTo>
                  <a:lnTo>
                    <a:pt x="479994" y="157824"/>
                  </a:lnTo>
                  <a:lnTo>
                    <a:pt x="478567" y="157705"/>
                  </a:lnTo>
                  <a:lnTo>
                    <a:pt x="477410" y="156943"/>
                  </a:lnTo>
                  <a:lnTo>
                    <a:pt x="476602" y="155470"/>
                  </a:lnTo>
                  <a:lnTo>
                    <a:pt x="476145" y="153856"/>
                  </a:lnTo>
                  <a:lnTo>
                    <a:pt x="475842" y="155049"/>
                  </a:lnTo>
                  <a:lnTo>
                    <a:pt x="475898" y="156212"/>
                  </a:lnTo>
                  <a:lnTo>
                    <a:pt x="476574" y="157459"/>
                  </a:lnTo>
                  <a:lnTo>
                    <a:pt x="476833" y="158774"/>
                  </a:lnTo>
                  <a:lnTo>
                    <a:pt x="476445" y="160117"/>
                  </a:lnTo>
                  <a:lnTo>
                    <a:pt x="475600" y="161188"/>
                  </a:lnTo>
                  <a:lnTo>
                    <a:pt x="473309" y="162357"/>
                  </a:lnTo>
                  <a:lnTo>
                    <a:pt x="472046" y="163359"/>
                  </a:lnTo>
                  <a:lnTo>
                    <a:pt x="471839" y="165111"/>
                  </a:lnTo>
                  <a:lnTo>
                    <a:pt x="471230" y="166104"/>
                  </a:lnTo>
                  <a:lnTo>
                    <a:pt x="470353" y="166873"/>
                  </a:lnTo>
                  <a:lnTo>
                    <a:pt x="467129" y="168636"/>
                  </a:lnTo>
                  <a:lnTo>
                    <a:pt x="466410" y="169340"/>
                  </a:lnTo>
                  <a:lnTo>
                    <a:pt x="465876" y="170236"/>
                  </a:lnTo>
                  <a:lnTo>
                    <a:pt x="467596" y="170098"/>
                  </a:lnTo>
                  <a:lnTo>
                    <a:pt x="469168" y="170236"/>
                  </a:lnTo>
                  <a:lnTo>
                    <a:pt x="469284" y="171991"/>
                  </a:lnTo>
                  <a:lnTo>
                    <a:pt x="469778" y="173295"/>
                  </a:lnTo>
                  <a:lnTo>
                    <a:pt x="469150" y="176157"/>
                  </a:lnTo>
                  <a:lnTo>
                    <a:pt x="466727" y="178089"/>
                  </a:lnTo>
                  <a:lnTo>
                    <a:pt x="467937" y="178495"/>
                  </a:lnTo>
                  <a:lnTo>
                    <a:pt x="469031" y="179126"/>
                  </a:lnTo>
                  <a:lnTo>
                    <a:pt x="471463" y="179595"/>
                  </a:lnTo>
                  <a:lnTo>
                    <a:pt x="472288" y="181625"/>
                  </a:lnTo>
                  <a:lnTo>
                    <a:pt x="471929" y="184084"/>
                  </a:lnTo>
                  <a:lnTo>
                    <a:pt x="471488" y="186290"/>
                  </a:lnTo>
                  <a:lnTo>
                    <a:pt x="469744" y="186904"/>
                  </a:lnTo>
                  <a:lnTo>
                    <a:pt x="468658" y="186495"/>
                  </a:lnTo>
                  <a:lnTo>
                    <a:pt x="467580" y="186534"/>
                  </a:lnTo>
                  <a:lnTo>
                    <a:pt x="466790" y="187204"/>
                  </a:lnTo>
                  <a:lnTo>
                    <a:pt x="466579" y="188343"/>
                  </a:lnTo>
                  <a:lnTo>
                    <a:pt x="468088" y="187783"/>
                  </a:lnTo>
                  <a:lnTo>
                    <a:pt x="468003" y="190634"/>
                  </a:lnTo>
                  <a:lnTo>
                    <a:pt x="467596" y="193419"/>
                  </a:lnTo>
                  <a:lnTo>
                    <a:pt x="467096" y="194955"/>
                  </a:lnTo>
                  <a:lnTo>
                    <a:pt x="466172" y="196209"/>
                  </a:lnTo>
                  <a:lnTo>
                    <a:pt x="464777" y="196611"/>
                  </a:lnTo>
                  <a:lnTo>
                    <a:pt x="463462" y="195673"/>
                  </a:lnTo>
                  <a:lnTo>
                    <a:pt x="463192" y="196762"/>
                  </a:lnTo>
                  <a:lnTo>
                    <a:pt x="463594" y="197681"/>
                  </a:lnTo>
                  <a:lnTo>
                    <a:pt x="465472" y="199918"/>
                  </a:lnTo>
                  <a:lnTo>
                    <a:pt x="464320" y="200409"/>
                  </a:lnTo>
                  <a:lnTo>
                    <a:pt x="463480" y="201171"/>
                  </a:lnTo>
                  <a:lnTo>
                    <a:pt x="463102" y="202282"/>
                  </a:lnTo>
                  <a:lnTo>
                    <a:pt x="461056" y="204829"/>
                  </a:lnTo>
                  <a:lnTo>
                    <a:pt x="460154" y="206701"/>
                  </a:lnTo>
                  <a:lnTo>
                    <a:pt x="459772" y="208705"/>
                  </a:lnTo>
                  <a:lnTo>
                    <a:pt x="458816" y="210292"/>
                  </a:lnTo>
                  <a:lnTo>
                    <a:pt x="443382" y="217197"/>
                  </a:lnTo>
                  <a:lnTo>
                    <a:pt x="430897" y="223019"/>
                  </a:lnTo>
                  <a:lnTo>
                    <a:pt x="429989" y="222623"/>
                  </a:lnTo>
                  <a:lnTo>
                    <a:pt x="429387" y="221734"/>
                  </a:lnTo>
                  <a:lnTo>
                    <a:pt x="428959" y="212690"/>
                  </a:lnTo>
                  <a:lnTo>
                    <a:pt x="427416" y="208065"/>
                  </a:lnTo>
                  <a:lnTo>
                    <a:pt x="427183" y="205458"/>
                  </a:lnTo>
                  <a:lnTo>
                    <a:pt x="425423" y="207786"/>
                  </a:lnTo>
                  <a:lnTo>
                    <a:pt x="424343" y="207551"/>
                  </a:lnTo>
                  <a:lnTo>
                    <a:pt x="423175" y="206959"/>
                  </a:lnTo>
                  <a:lnTo>
                    <a:pt x="422296" y="206197"/>
                  </a:lnTo>
                  <a:lnTo>
                    <a:pt x="422231" y="205194"/>
                  </a:lnTo>
                  <a:lnTo>
                    <a:pt x="423175" y="202326"/>
                  </a:lnTo>
                  <a:lnTo>
                    <a:pt x="422033" y="203899"/>
                  </a:lnTo>
                  <a:lnTo>
                    <a:pt x="420786" y="205114"/>
                  </a:lnTo>
                  <a:lnTo>
                    <a:pt x="419495" y="204965"/>
                  </a:lnTo>
                  <a:lnTo>
                    <a:pt x="418383" y="204364"/>
                  </a:lnTo>
                  <a:lnTo>
                    <a:pt x="417971" y="203432"/>
                  </a:lnTo>
                  <a:lnTo>
                    <a:pt x="417379" y="203294"/>
                  </a:lnTo>
                  <a:lnTo>
                    <a:pt x="414649" y="205849"/>
                  </a:lnTo>
                  <a:lnTo>
                    <a:pt x="411046" y="207220"/>
                  </a:lnTo>
                  <a:lnTo>
                    <a:pt x="409040" y="207198"/>
                  </a:lnTo>
                  <a:lnTo>
                    <a:pt x="407458" y="206416"/>
                  </a:lnTo>
                  <a:lnTo>
                    <a:pt x="407540" y="204470"/>
                  </a:lnTo>
                  <a:lnTo>
                    <a:pt x="407381" y="202568"/>
                  </a:lnTo>
                  <a:lnTo>
                    <a:pt x="406938" y="201452"/>
                  </a:lnTo>
                  <a:lnTo>
                    <a:pt x="405971" y="201055"/>
                  </a:lnTo>
                  <a:lnTo>
                    <a:pt x="405079" y="201195"/>
                  </a:lnTo>
                  <a:lnTo>
                    <a:pt x="402492" y="202187"/>
                  </a:lnTo>
                  <a:lnTo>
                    <a:pt x="401568" y="202071"/>
                  </a:lnTo>
                  <a:lnTo>
                    <a:pt x="401037" y="202577"/>
                  </a:lnTo>
                  <a:lnTo>
                    <a:pt x="394200" y="195649"/>
                  </a:lnTo>
                  <a:lnTo>
                    <a:pt x="392818" y="201262"/>
                  </a:lnTo>
                  <a:lnTo>
                    <a:pt x="388097" y="204252"/>
                  </a:lnTo>
                  <a:lnTo>
                    <a:pt x="384610" y="205985"/>
                  </a:lnTo>
                  <a:lnTo>
                    <a:pt x="381153" y="205335"/>
                  </a:lnTo>
                  <a:lnTo>
                    <a:pt x="377638" y="204226"/>
                  </a:lnTo>
                  <a:lnTo>
                    <a:pt x="374137" y="205564"/>
                  </a:lnTo>
                  <a:lnTo>
                    <a:pt x="370339" y="208846"/>
                  </a:lnTo>
                  <a:lnTo>
                    <a:pt x="369289" y="209352"/>
                  </a:lnTo>
                  <a:lnTo>
                    <a:pt x="368199" y="209337"/>
                  </a:lnTo>
                  <a:lnTo>
                    <a:pt x="367402" y="208908"/>
                  </a:lnTo>
                  <a:lnTo>
                    <a:pt x="367674" y="206420"/>
                  </a:lnTo>
                  <a:lnTo>
                    <a:pt x="367709" y="203932"/>
                  </a:lnTo>
                  <a:lnTo>
                    <a:pt x="367423" y="198387"/>
                  </a:lnTo>
                  <a:lnTo>
                    <a:pt x="367121" y="197298"/>
                  </a:lnTo>
                  <a:lnTo>
                    <a:pt x="366033" y="195775"/>
                  </a:lnTo>
                  <a:lnTo>
                    <a:pt x="364586" y="194674"/>
                  </a:lnTo>
                  <a:lnTo>
                    <a:pt x="363781" y="195479"/>
                  </a:lnTo>
                  <a:lnTo>
                    <a:pt x="363055" y="196579"/>
                  </a:lnTo>
                  <a:lnTo>
                    <a:pt x="360168" y="196531"/>
                  </a:lnTo>
                  <a:lnTo>
                    <a:pt x="357352" y="195653"/>
                  </a:lnTo>
                  <a:lnTo>
                    <a:pt x="354955" y="196157"/>
                  </a:lnTo>
                  <a:lnTo>
                    <a:pt x="350204" y="198355"/>
                  </a:lnTo>
                  <a:lnTo>
                    <a:pt x="347678" y="198694"/>
                  </a:lnTo>
                  <a:lnTo>
                    <a:pt x="346322" y="198199"/>
                  </a:lnTo>
                  <a:lnTo>
                    <a:pt x="345458" y="197013"/>
                  </a:lnTo>
                  <a:lnTo>
                    <a:pt x="345953" y="195930"/>
                  </a:lnTo>
                  <a:lnTo>
                    <a:pt x="346998" y="195098"/>
                  </a:lnTo>
                  <a:lnTo>
                    <a:pt x="345048" y="195760"/>
                  </a:lnTo>
                  <a:lnTo>
                    <a:pt x="343383" y="196870"/>
                  </a:lnTo>
                  <a:lnTo>
                    <a:pt x="342660" y="197584"/>
                  </a:lnTo>
                  <a:lnTo>
                    <a:pt x="341887" y="197227"/>
                  </a:lnTo>
                  <a:lnTo>
                    <a:pt x="339805" y="194718"/>
                  </a:lnTo>
                  <a:lnTo>
                    <a:pt x="335460" y="195656"/>
                  </a:lnTo>
                  <a:lnTo>
                    <a:pt x="334873" y="195943"/>
                  </a:lnTo>
                  <a:lnTo>
                    <a:pt x="333801" y="196797"/>
                  </a:lnTo>
                  <a:lnTo>
                    <a:pt x="332774" y="196371"/>
                  </a:lnTo>
                  <a:lnTo>
                    <a:pt x="332256" y="195463"/>
                  </a:lnTo>
                  <a:lnTo>
                    <a:pt x="332072" y="190231"/>
                  </a:lnTo>
                  <a:lnTo>
                    <a:pt x="329863" y="180169"/>
                  </a:lnTo>
                  <a:lnTo>
                    <a:pt x="329247" y="175026"/>
                  </a:lnTo>
                  <a:lnTo>
                    <a:pt x="328771" y="173809"/>
                  </a:lnTo>
                  <a:lnTo>
                    <a:pt x="326224" y="171960"/>
                  </a:lnTo>
                  <a:lnTo>
                    <a:pt x="326311" y="169308"/>
                  </a:lnTo>
                  <a:lnTo>
                    <a:pt x="327631" y="167089"/>
                  </a:lnTo>
                  <a:lnTo>
                    <a:pt x="327911" y="164504"/>
                  </a:lnTo>
                  <a:lnTo>
                    <a:pt x="327538" y="161698"/>
                  </a:lnTo>
                  <a:lnTo>
                    <a:pt x="326743" y="158955"/>
                  </a:lnTo>
                  <a:lnTo>
                    <a:pt x="325743" y="156884"/>
                  </a:lnTo>
                  <a:lnTo>
                    <a:pt x="324314" y="155113"/>
                  </a:lnTo>
                  <a:lnTo>
                    <a:pt x="322411" y="153128"/>
                  </a:lnTo>
                  <a:lnTo>
                    <a:pt x="320074" y="151645"/>
                  </a:lnTo>
                  <a:lnTo>
                    <a:pt x="315034" y="149976"/>
                  </a:lnTo>
                  <a:lnTo>
                    <a:pt x="312374" y="150122"/>
                  </a:lnTo>
                  <a:lnTo>
                    <a:pt x="311387" y="149468"/>
                  </a:lnTo>
                  <a:lnTo>
                    <a:pt x="310722" y="148619"/>
                  </a:lnTo>
                  <a:lnTo>
                    <a:pt x="310993" y="146952"/>
                  </a:lnTo>
                  <a:lnTo>
                    <a:pt x="311893" y="145806"/>
                  </a:lnTo>
                  <a:lnTo>
                    <a:pt x="313100" y="145523"/>
                  </a:lnTo>
                  <a:lnTo>
                    <a:pt x="313242" y="144877"/>
                  </a:lnTo>
                  <a:lnTo>
                    <a:pt x="310683" y="143534"/>
                  </a:lnTo>
                  <a:lnTo>
                    <a:pt x="308550" y="141709"/>
                  </a:lnTo>
                  <a:lnTo>
                    <a:pt x="307881" y="140614"/>
                  </a:lnTo>
                  <a:lnTo>
                    <a:pt x="307677" y="139409"/>
                  </a:lnTo>
                  <a:lnTo>
                    <a:pt x="307693" y="136626"/>
                  </a:lnTo>
                  <a:lnTo>
                    <a:pt x="308308" y="134868"/>
                  </a:lnTo>
                  <a:lnTo>
                    <a:pt x="308643" y="133916"/>
                  </a:lnTo>
                  <a:lnTo>
                    <a:pt x="309304" y="130974"/>
                  </a:lnTo>
                  <a:lnTo>
                    <a:pt x="310694" y="130076"/>
                  </a:lnTo>
                  <a:lnTo>
                    <a:pt x="310468" y="129532"/>
                  </a:lnTo>
                  <a:lnTo>
                    <a:pt x="309870" y="129133"/>
                  </a:lnTo>
                  <a:lnTo>
                    <a:pt x="308997" y="128168"/>
                  </a:lnTo>
                  <a:lnTo>
                    <a:pt x="308284" y="127058"/>
                  </a:lnTo>
                  <a:lnTo>
                    <a:pt x="306654" y="125175"/>
                  </a:lnTo>
                  <a:lnTo>
                    <a:pt x="303774" y="122901"/>
                  </a:lnTo>
                  <a:lnTo>
                    <a:pt x="303292" y="118984"/>
                  </a:lnTo>
                  <a:lnTo>
                    <a:pt x="302919" y="113209"/>
                  </a:lnTo>
                  <a:lnTo>
                    <a:pt x="303160" y="110584"/>
                  </a:lnTo>
                  <a:lnTo>
                    <a:pt x="304085" y="105676"/>
                  </a:lnTo>
                  <a:lnTo>
                    <a:pt x="305682" y="104130"/>
                  </a:lnTo>
                  <a:lnTo>
                    <a:pt x="306957" y="103700"/>
                  </a:lnTo>
                  <a:lnTo>
                    <a:pt x="307908" y="103039"/>
                  </a:lnTo>
                  <a:lnTo>
                    <a:pt x="307125" y="102944"/>
                  </a:lnTo>
                  <a:lnTo>
                    <a:pt x="306447" y="103186"/>
                  </a:lnTo>
                  <a:lnTo>
                    <a:pt x="305226" y="103353"/>
                  </a:lnTo>
                  <a:lnTo>
                    <a:pt x="306226" y="98955"/>
                  </a:lnTo>
                  <a:lnTo>
                    <a:pt x="306678" y="97685"/>
                  </a:lnTo>
                  <a:lnTo>
                    <a:pt x="308686" y="95226"/>
                  </a:lnTo>
                  <a:lnTo>
                    <a:pt x="311040" y="93050"/>
                  </a:lnTo>
                  <a:lnTo>
                    <a:pt x="312035" y="90493"/>
                  </a:lnTo>
                  <a:lnTo>
                    <a:pt x="313370" y="88245"/>
                  </a:lnTo>
                  <a:lnTo>
                    <a:pt x="318906" y="85926"/>
                  </a:lnTo>
                  <a:lnTo>
                    <a:pt x="316917" y="88832"/>
                  </a:lnTo>
                  <a:lnTo>
                    <a:pt x="317138" y="89890"/>
                  </a:lnTo>
                  <a:lnTo>
                    <a:pt x="317622" y="90820"/>
                  </a:lnTo>
                  <a:lnTo>
                    <a:pt x="319060" y="91476"/>
                  </a:lnTo>
                  <a:lnTo>
                    <a:pt x="319461" y="95054"/>
                  </a:lnTo>
                  <a:lnTo>
                    <a:pt x="321269" y="97087"/>
                  </a:lnTo>
                  <a:lnTo>
                    <a:pt x="323089" y="98945"/>
                  </a:lnTo>
                  <a:lnTo>
                    <a:pt x="324426" y="99854"/>
                  </a:lnTo>
                  <a:lnTo>
                    <a:pt x="325894" y="101177"/>
                  </a:lnTo>
                  <a:lnTo>
                    <a:pt x="326928" y="102403"/>
                  </a:lnTo>
                  <a:lnTo>
                    <a:pt x="328015" y="103439"/>
                  </a:lnTo>
                  <a:lnTo>
                    <a:pt x="329650" y="104448"/>
                  </a:lnTo>
                  <a:lnTo>
                    <a:pt x="334083" y="108741"/>
                  </a:lnTo>
                  <a:lnTo>
                    <a:pt x="335935" y="110000"/>
                  </a:lnTo>
                  <a:lnTo>
                    <a:pt x="337315" y="111260"/>
                  </a:lnTo>
                  <a:lnTo>
                    <a:pt x="338296" y="111705"/>
                  </a:lnTo>
                  <a:lnTo>
                    <a:pt x="340706" y="111348"/>
                  </a:lnTo>
                  <a:lnTo>
                    <a:pt x="347856" y="108269"/>
                  </a:lnTo>
                  <a:lnTo>
                    <a:pt x="349138" y="108069"/>
                  </a:lnTo>
                  <a:lnTo>
                    <a:pt x="351466" y="107535"/>
                  </a:lnTo>
                  <a:lnTo>
                    <a:pt x="355564" y="107697"/>
                  </a:lnTo>
                  <a:lnTo>
                    <a:pt x="359909" y="108746"/>
                  </a:lnTo>
                  <a:lnTo>
                    <a:pt x="361312" y="108778"/>
                  </a:lnTo>
                  <a:lnTo>
                    <a:pt x="362656" y="108153"/>
                  </a:lnTo>
                  <a:lnTo>
                    <a:pt x="364510" y="108338"/>
                  </a:lnTo>
                  <a:lnTo>
                    <a:pt x="366244" y="108664"/>
                  </a:lnTo>
                  <a:lnTo>
                    <a:pt x="367113" y="108394"/>
                  </a:lnTo>
                  <a:lnTo>
                    <a:pt x="369636" y="106147"/>
                  </a:lnTo>
                  <a:lnTo>
                    <a:pt x="373073" y="105482"/>
                  </a:lnTo>
                  <a:lnTo>
                    <a:pt x="374180" y="103265"/>
                  </a:lnTo>
                  <a:lnTo>
                    <a:pt x="375038" y="101174"/>
                  </a:lnTo>
                  <a:lnTo>
                    <a:pt x="375444" y="98942"/>
                  </a:lnTo>
                  <a:lnTo>
                    <a:pt x="376879" y="98045"/>
                  </a:lnTo>
                  <a:lnTo>
                    <a:pt x="378890" y="97269"/>
                  </a:lnTo>
                  <a:lnTo>
                    <a:pt x="381866" y="96288"/>
                  </a:lnTo>
                  <a:lnTo>
                    <a:pt x="392188" y="96113"/>
                  </a:lnTo>
                  <a:lnTo>
                    <a:pt x="393189" y="96543"/>
                  </a:lnTo>
                  <a:lnTo>
                    <a:pt x="393406" y="97678"/>
                  </a:lnTo>
                  <a:lnTo>
                    <a:pt x="393189" y="98543"/>
                  </a:lnTo>
                  <a:lnTo>
                    <a:pt x="393593" y="99057"/>
                  </a:lnTo>
                  <a:lnTo>
                    <a:pt x="394967" y="99103"/>
                  </a:lnTo>
                  <a:lnTo>
                    <a:pt x="396240" y="99627"/>
                  </a:lnTo>
                  <a:lnTo>
                    <a:pt x="401386" y="101418"/>
                  </a:lnTo>
                  <a:lnTo>
                    <a:pt x="403580" y="101970"/>
                  </a:lnTo>
                  <a:lnTo>
                    <a:pt x="404796" y="101832"/>
                  </a:lnTo>
                  <a:lnTo>
                    <a:pt x="407208" y="103435"/>
                  </a:lnTo>
                  <a:lnTo>
                    <a:pt x="408521" y="102889"/>
                  </a:lnTo>
                  <a:lnTo>
                    <a:pt x="410261" y="101766"/>
                  </a:lnTo>
                  <a:lnTo>
                    <a:pt x="411918" y="100251"/>
                  </a:lnTo>
                  <a:lnTo>
                    <a:pt x="413401" y="99048"/>
                  </a:lnTo>
                  <a:lnTo>
                    <a:pt x="415561" y="98584"/>
                  </a:lnTo>
                  <a:lnTo>
                    <a:pt x="418346" y="98649"/>
                  </a:lnTo>
                  <a:lnTo>
                    <a:pt x="421635" y="98238"/>
                  </a:lnTo>
                  <a:lnTo>
                    <a:pt x="424121" y="97593"/>
                  </a:lnTo>
                  <a:lnTo>
                    <a:pt x="426893" y="98656"/>
                  </a:lnTo>
                  <a:lnTo>
                    <a:pt x="427631" y="98321"/>
                  </a:lnTo>
                  <a:lnTo>
                    <a:pt x="428109" y="97281"/>
                  </a:lnTo>
                  <a:lnTo>
                    <a:pt x="429541" y="95006"/>
                  </a:lnTo>
                  <a:lnTo>
                    <a:pt x="430175" y="93475"/>
                  </a:lnTo>
                  <a:lnTo>
                    <a:pt x="430733" y="90538"/>
                  </a:lnTo>
                  <a:lnTo>
                    <a:pt x="431117" y="89836"/>
                  </a:lnTo>
                  <a:lnTo>
                    <a:pt x="432168" y="89433"/>
                  </a:lnTo>
                  <a:lnTo>
                    <a:pt x="433250" y="88881"/>
                  </a:lnTo>
                  <a:lnTo>
                    <a:pt x="433531" y="88000"/>
                  </a:lnTo>
                  <a:lnTo>
                    <a:pt x="433926" y="86977"/>
                  </a:lnTo>
                  <a:lnTo>
                    <a:pt x="433600" y="86116"/>
                  </a:lnTo>
                  <a:lnTo>
                    <a:pt x="432985" y="85393"/>
                  </a:lnTo>
                  <a:lnTo>
                    <a:pt x="432337" y="82943"/>
                  </a:lnTo>
                  <a:lnTo>
                    <a:pt x="432550" y="81825"/>
                  </a:lnTo>
                  <a:lnTo>
                    <a:pt x="432950" y="80994"/>
                  </a:lnTo>
                  <a:lnTo>
                    <a:pt x="434053" y="80576"/>
                  </a:lnTo>
                  <a:lnTo>
                    <a:pt x="436991" y="78774"/>
                  </a:lnTo>
                  <a:lnTo>
                    <a:pt x="439586" y="76665"/>
                  </a:lnTo>
                  <a:lnTo>
                    <a:pt x="441007" y="75630"/>
                  </a:lnTo>
                  <a:lnTo>
                    <a:pt x="441633" y="74961"/>
                  </a:lnTo>
                  <a:lnTo>
                    <a:pt x="441672" y="73994"/>
                  </a:lnTo>
                  <a:lnTo>
                    <a:pt x="440545" y="72987"/>
                  </a:lnTo>
                  <a:lnTo>
                    <a:pt x="439459" y="72504"/>
                  </a:lnTo>
                  <a:lnTo>
                    <a:pt x="439376" y="71336"/>
                  </a:lnTo>
                  <a:lnTo>
                    <a:pt x="439417" y="70530"/>
                  </a:lnTo>
                  <a:lnTo>
                    <a:pt x="439743" y="69769"/>
                  </a:lnTo>
                  <a:lnTo>
                    <a:pt x="439586" y="69030"/>
                  </a:lnTo>
                  <a:lnTo>
                    <a:pt x="439582" y="67926"/>
                  </a:lnTo>
                  <a:lnTo>
                    <a:pt x="440272" y="66736"/>
                  </a:lnTo>
                  <a:lnTo>
                    <a:pt x="441872" y="64975"/>
                  </a:lnTo>
                  <a:lnTo>
                    <a:pt x="443134" y="63836"/>
                  </a:lnTo>
                  <a:lnTo>
                    <a:pt x="444531" y="64544"/>
                  </a:lnTo>
                  <a:lnTo>
                    <a:pt x="446167" y="64216"/>
                  </a:lnTo>
                  <a:lnTo>
                    <a:pt x="447720" y="63650"/>
                  </a:lnTo>
                  <a:lnTo>
                    <a:pt x="448577" y="61574"/>
                  </a:lnTo>
                  <a:lnTo>
                    <a:pt x="448709" y="60578"/>
                  </a:lnTo>
                  <a:lnTo>
                    <a:pt x="448502" y="59792"/>
                  </a:lnTo>
                  <a:lnTo>
                    <a:pt x="449044" y="56831"/>
                  </a:lnTo>
                  <a:lnTo>
                    <a:pt x="449169" y="56404"/>
                  </a:lnTo>
                  <a:lnTo>
                    <a:pt x="450190" y="54543"/>
                  </a:lnTo>
                  <a:lnTo>
                    <a:pt x="450292" y="53291"/>
                  </a:lnTo>
                  <a:lnTo>
                    <a:pt x="449714" y="50382"/>
                  </a:lnTo>
                  <a:lnTo>
                    <a:pt x="450077" y="48182"/>
                  </a:lnTo>
                  <a:lnTo>
                    <a:pt x="450242" y="43627"/>
                  </a:lnTo>
                  <a:lnTo>
                    <a:pt x="450853" y="42813"/>
                  </a:lnTo>
                  <a:lnTo>
                    <a:pt x="451549" y="40455"/>
                  </a:lnTo>
                  <a:lnTo>
                    <a:pt x="452683" y="37996"/>
                  </a:lnTo>
                  <a:lnTo>
                    <a:pt x="454974" y="36650"/>
                  </a:lnTo>
                  <a:lnTo>
                    <a:pt x="456176" y="34888"/>
                  </a:lnTo>
                  <a:lnTo>
                    <a:pt x="456706" y="34562"/>
                  </a:lnTo>
                  <a:lnTo>
                    <a:pt x="457489" y="34548"/>
                  </a:lnTo>
                  <a:lnTo>
                    <a:pt x="460262" y="35833"/>
                  </a:lnTo>
                  <a:lnTo>
                    <a:pt x="462758" y="34404"/>
                  </a:lnTo>
                  <a:lnTo>
                    <a:pt x="465008" y="34240"/>
                  </a:lnTo>
                  <a:lnTo>
                    <a:pt x="466868" y="34436"/>
                  </a:lnTo>
                  <a:lnTo>
                    <a:pt x="467915" y="35020"/>
                  </a:lnTo>
                  <a:lnTo>
                    <a:pt x="468951" y="35444"/>
                  </a:lnTo>
                  <a:close/>
                  <a:moveTo>
                    <a:pt x="697652" y="30134"/>
                  </a:moveTo>
                  <a:lnTo>
                    <a:pt x="698872" y="30371"/>
                  </a:lnTo>
                  <a:lnTo>
                    <a:pt x="700036" y="31642"/>
                  </a:lnTo>
                  <a:lnTo>
                    <a:pt x="700513" y="34020"/>
                  </a:lnTo>
                  <a:lnTo>
                    <a:pt x="701274" y="35825"/>
                  </a:lnTo>
                  <a:lnTo>
                    <a:pt x="699649" y="38285"/>
                  </a:lnTo>
                  <a:lnTo>
                    <a:pt x="698963" y="41529"/>
                  </a:lnTo>
                  <a:lnTo>
                    <a:pt x="698071" y="41992"/>
                  </a:lnTo>
                  <a:lnTo>
                    <a:pt x="696633" y="41822"/>
                  </a:lnTo>
                  <a:lnTo>
                    <a:pt x="696484" y="40699"/>
                  </a:lnTo>
                  <a:lnTo>
                    <a:pt x="697935" y="38678"/>
                  </a:lnTo>
                  <a:lnTo>
                    <a:pt x="698896" y="36545"/>
                  </a:lnTo>
                  <a:lnTo>
                    <a:pt x="697872" y="36012"/>
                  </a:lnTo>
                  <a:lnTo>
                    <a:pt x="696872" y="34647"/>
                  </a:lnTo>
                  <a:lnTo>
                    <a:pt x="696837" y="33060"/>
                  </a:lnTo>
                  <a:close/>
                  <a:moveTo>
                    <a:pt x="4189" y="6172"/>
                  </a:moveTo>
                  <a:lnTo>
                    <a:pt x="6863" y="6265"/>
                  </a:lnTo>
                  <a:lnTo>
                    <a:pt x="9337" y="6610"/>
                  </a:lnTo>
                  <a:lnTo>
                    <a:pt x="11734" y="7270"/>
                  </a:lnTo>
                  <a:lnTo>
                    <a:pt x="14033" y="8707"/>
                  </a:lnTo>
                  <a:lnTo>
                    <a:pt x="18147" y="12329"/>
                  </a:lnTo>
                  <a:lnTo>
                    <a:pt x="20490" y="13590"/>
                  </a:lnTo>
                  <a:lnTo>
                    <a:pt x="23090" y="14196"/>
                  </a:lnTo>
                  <a:lnTo>
                    <a:pt x="28435" y="15030"/>
                  </a:lnTo>
                  <a:lnTo>
                    <a:pt x="31147" y="15233"/>
                  </a:lnTo>
                  <a:lnTo>
                    <a:pt x="36176" y="14030"/>
                  </a:lnTo>
                  <a:lnTo>
                    <a:pt x="38942" y="14148"/>
                  </a:lnTo>
                  <a:lnTo>
                    <a:pt x="41550" y="15018"/>
                  </a:lnTo>
                  <a:lnTo>
                    <a:pt x="43866" y="15519"/>
                  </a:lnTo>
                  <a:lnTo>
                    <a:pt x="49631" y="14882"/>
                  </a:lnTo>
                  <a:lnTo>
                    <a:pt x="50715" y="15053"/>
                  </a:lnTo>
                  <a:lnTo>
                    <a:pt x="51754" y="15551"/>
                  </a:lnTo>
                  <a:lnTo>
                    <a:pt x="52646" y="16338"/>
                  </a:lnTo>
                  <a:lnTo>
                    <a:pt x="55282" y="19225"/>
                  </a:lnTo>
                  <a:lnTo>
                    <a:pt x="59741" y="22775"/>
                  </a:lnTo>
                  <a:lnTo>
                    <a:pt x="61028" y="25046"/>
                  </a:lnTo>
                  <a:lnTo>
                    <a:pt x="61762" y="27600"/>
                  </a:lnTo>
                  <a:lnTo>
                    <a:pt x="62225" y="28199"/>
                  </a:lnTo>
                  <a:lnTo>
                    <a:pt x="67260" y="33089"/>
                  </a:lnTo>
                  <a:lnTo>
                    <a:pt x="67811" y="35132"/>
                  </a:lnTo>
                  <a:lnTo>
                    <a:pt x="67101" y="37962"/>
                  </a:lnTo>
                  <a:lnTo>
                    <a:pt x="68563" y="40214"/>
                  </a:lnTo>
                  <a:lnTo>
                    <a:pt x="73449" y="42325"/>
                  </a:lnTo>
                  <a:lnTo>
                    <a:pt x="76332" y="43863"/>
                  </a:lnTo>
                  <a:lnTo>
                    <a:pt x="76947" y="44806"/>
                  </a:lnTo>
                  <a:lnTo>
                    <a:pt x="77373" y="45930"/>
                  </a:lnTo>
                  <a:lnTo>
                    <a:pt x="78968" y="47598"/>
                  </a:lnTo>
                  <a:lnTo>
                    <a:pt x="80974" y="48685"/>
                  </a:lnTo>
                  <a:lnTo>
                    <a:pt x="87222" y="51543"/>
                  </a:lnTo>
                  <a:lnTo>
                    <a:pt x="95410" y="57522"/>
                  </a:lnTo>
                  <a:lnTo>
                    <a:pt x="100072" y="60358"/>
                  </a:lnTo>
                  <a:lnTo>
                    <a:pt x="103926" y="64671"/>
                  </a:lnTo>
                  <a:lnTo>
                    <a:pt x="105315" y="66735"/>
                  </a:lnTo>
                  <a:lnTo>
                    <a:pt x="106462" y="68963"/>
                  </a:lnTo>
                  <a:lnTo>
                    <a:pt x="108804" y="72208"/>
                  </a:lnTo>
                  <a:lnTo>
                    <a:pt x="112785" y="76213"/>
                  </a:lnTo>
                  <a:lnTo>
                    <a:pt x="113791" y="77432"/>
                  </a:lnTo>
                  <a:lnTo>
                    <a:pt x="114862" y="79198"/>
                  </a:lnTo>
                  <a:lnTo>
                    <a:pt x="116097" y="80841"/>
                  </a:lnTo>
                  <a:lnTo>
                    <a:pt x="117574" y="82351"/>
                  </a:lnTo>
                  <a:lnTo>
                    <a:pt x="119338" y="83506"/>
                  </a:lnTo>
                  <a:lnTo>
                    <a:pt x="121144" y="83879"/>
                  </a:lnTo>
                  <a:lnTo>
                    <a:pt x="124052" y="86773"/>
                  </a:lnTo>
                  <a:lnTo>
                    <a:pt x="125624" y="87680"/>
                  </a:lnTo>
                  <a:lnTo>
                    <a:pt x="125376" y="85416"/>
                  </a:lnTo>
                  <a:lnTo>
                    <a:pt x="124055" y="83434"/>
                  </a:lnTo>
                  <a:lnTo>
                    <a:pt x="124074" y="82239"/>
                  </a:lnTo>
                  <a:lnTo>
                    <a:pt x="124305" y="81169"/>
                  </a:lnTo>
                  <a:lnTo>
                    <a:pt x="125385" y="80268"/>
                  </a:lnTo>
                  <a:lnTo>
                    <a:pt x="126686" y="80015"/>
                  </a:lnTo>
                  <a:lnTo>
                    <a:pt x="129125" y="80839"/>
                  </a:lnTo>
                  <a:lnTo>
                    <a:pt x="133083" y="84273"/>
                  </a:lnTo>
                  <a:lnTo>
                    <a:pt x="134754" y="86274"/>
                  </a:lnTo>
                  <a:lnTo>
                    <a:pt x="136011" y="89035"/>
                  </a:lnTo>
                  <a:lnTo>
                    <a:pt x="137060" y="91901"/>
                  </a:lnTo>
                  <a:lnTo>
                    <a:pt x="138643" y="93324"/>
                  </a:lnTo>
                  <a:lnTo>
                    <a:pt x="140817" y="93822"/>
                  </a:lnTo>
                  <a:lnTo>
                    <a:pt x="143234" y="94029"/>
                  </a:lnTo>
                  <a:lnTo>
                    <a:pt x="145456" y="94910"/>
                  </a:lnTo>
                  <a:lnTo>
                    <a:pt x="150656" y="98874"/>
                  </a:lnTo>
                  <a:lnTo>
                    <a:pt x="152383" y="100737"/>
                  </a:lnTo>
                  <a:lnTo>
                    <a:pt x="153692" y="102927"/>
                  </a:lnTo>
                  <a:lnTo>
                    <a:pt x="154592" y="105519"/>
                  </a:lnTo>
                  <a:lnTo>
                    <a:pt x="155154" y="108239"/>
                  </a:lnTo>
                  <a:lnTo>
                    <a:pt x="155501" y="108866"/>
                  </a:lnTo>
                  <a:lnTo>
                    <a:pt x="158838" y="112146"/>
                  </a:lnTo>
                  <a:lnTo>
                    <a:pt x="160591" y="113533"/>
                  </a:lnTo>
                  <a:lnTo>
                    <a:pt x="162740" y="114207"/>
                  </a:lnTo>
                  <a:lnTo>
                    <a:pt x="168998" y="114944"/>
                  </a:lnTo>
                  <a:lnTo>
                    <a:pt x="171207" y="116078"/>
                  </a:lnTo>
                  <a:lnTo>
                    <a:pt x="173031" y="117964"/>
                  </a:lnTo>
                  <a:lnTo>
                    <a:pt x="173798" y="119886"/>
                  </a:lnTo>
                  <a:lnTo>
                    <a:pt x="172493" y="121581"/>
                  </a:lnTo>
                  <a:lnTo>
                    <a:pt x="167602" y="124181"/>
                  </a:lnTo>
                  <a:lnTo>
                    <a:pt x="162377" y="125979"/>
                  </a:lnTo>
                  <a:lnTo>
                    <a:pt x="167453" y="125359"/>
                  </a:lnTo>
                  <a:lnTo>
                    <a:pt x="170025" y="124605"/>
                  </a:lnTo>
                  <a:lnTo>
                    <a:pt x="172390" y="123424"/>
                  </a:lnTo>
                  <a:lnTo>
                    <a:pt x="174731" y="121925"/>
                  </a:lnTo>
                  <a:lnTo>
                    <a:pt x="178443" y="119830"/>
                  </a:lnTo>
                  <a:lnTo>
                    <a:pt x="179822" y="119406"/>
                  </a:lnTo>
                  <a:lnTo>
                    <a:pt x="181444" y="119556"/>
                  </a:lnTo>
                  <a:lnTo>
                    <a:pt x="182917" y="120148"/>
                  </a:lnTo>
                  <a:lnTo>
                    <a:pt x="185124" y="122206"/>
                  </a:lnTo>
                  <a:lnTo>
                    <a:pt x="187201" y="124377"/>
                  </a:lnTo>
                  <a:lnTo>
                    <a:pt x="188751" y="126909"/>
                  </a:lnTo>
                  <a:lnTo>
                    <a:pt x="189723" y="129726"/>
                  </a:lnTo>
                  <a:lnTo>
                    <a:pt x="187948" y="131198"/>
                  </a:lnTo>
                  <a:lnTo>
                    <a:pt x="185362" y="132286"/>
                  </a:lnTo>
                  <a:lnTo>
                    <a:pt x="181803" y="135006"/>
                  </a:lnTo>
                  <a:lnTo>
                    <a:pt x="181429" y="136082"/>
                  </a:lnTo>
                  <a:lnTo>
                    <a:pt x="182155" y="136772"/>
                  </a:lnTo>
                  <a:lnTo>
                    <a:pt x="181287" y="138774"/>
                  </a:lnTo>
                  <a:lnTo>
                    <a:pt x="183282" y="140010"/>
                  </a:lnTo>
                  <a:lnTo>
                    <a:pt x="183587" y="141059"/>
                  </a:lnTo>
                  <a:lnTo>
                    <a:pt x="181861" y="142564"/>
                  </a:lnTo>
                  <a:lnTo>
                    <a:pt x="182025" y="143493"/>
                  </a:lnTo>
                  <a:lnTo>
                    <a:pt x="184107" y="147453"/>
                  </a:lnTo>
                  <a:lnTo>
                    <a:pt x="185098" y="148360"/>
                  </a:lnTo>
                  <a:lnTo>
                    <a:pt x="188272" y="150373"/>
                  </a:lnTo>
                  <a:lnTo>
                    <a:pt x="193114" y="152416"/>
                  </a:lnTo>
                  <a:lnTo>
                    <a:pt x="195791" y="153351"/>
                  </a:lnTo>
                  <a:lnTo>
                    <a:pt x="198829" y="154079"/>
                  </a:lnTo>
                  <a:lnTo>
                    <a:pt x="200134" y="154059"/>
                  </a:lnTo>
                  <a:lnTo>
                    <a:pt x="202412" y="153727"/>
                  </a:lnTo>
                  <a:lnTo>
                    <a:pt x="202870" y="154519"/>
                  </a:lnTo>
                  <a:lnTo>
                    <a:pt x="203852" y="158422"/>
                  </a:lnTo>
                  <a:lnTo>
                    <a:pt x="204321" y="160893"/>
                  </a:lnTo>
                  <a:lnTo>
                    <a:pt x="205016" y="166150"/>
                  </a:lnTo>
                  <a:lnTo>
                    <a:pt x="205906" y="168331"/>
                  </a:lnTo>
                  <a:lnTo>
                    <a:pt x="205847" y="171001"/>
                  </a:lnTo>
                  <a:lnTo>
                    <a:pt x="207015" y="173265"/>
                  </a:lnTo>
                  <a:lnTo>
                    <a:pt x="209396" y="174712"/>
                  </a:lnTo>
                  <a:lnTo>
                    <a:pt x="211931" y="175898"/>
                  </a:lnTo>
                  <a:lnTo>
                    <a:pt x="213129" y="177052"/>
                  </a:lnTo>
                  <a:lnTo>
                    <a:pt x="213113" y="178795"/>
                  </a:lnTo>
                  <a:lnTo>
                    <a:pt x="212706" y="180176"/>
                  </a:lnTo>
                  <a:lnTo>
                    <a:pt x="211848" y="181250"/>
                  </a:lnTo>
                  <a:lnTo>
                    <a:pt x="209221" y="183525"/>
                  </a:lnTo>
                  <a:lnTo>
                    <a:pt x="208752" y="184505"/>
                  </a:lnTo>
                  <a:lnTo>
                    <a:pt x="208383" y="187016"/>
                  </a:lnTo>
                  <a:lnTo>
                    <a:pt x="208829" y="188164"/>
                  </a:lnTo>
                  <a:lnTo>
                    <a:pt x="209881" y="188228"/>
                  </a:lnTo>
                  <a:lnTo>
                    <a:pt x="210708" y="187626"/>
                  </a:lnTo>
                  <a:lnTo>
                    <a:pt x="213863" y="184261"/>
                  </a:lnTo>
                  <a:lnTo>
                    <a:pt x="214716" y="183672"/>
                  </a:lnTo>
                  <a:lnTo>
                    <a:pt x="215906" y="183200"/>
                  </a:lnTo>
                  <a:lnTo>
                    <a:pt x="217124" y="182905"/>
                  </a:lnTo>
                  <a:lnTo>
                    <a:pt x="222887" y="182876"/>
                  </a:lnTo>
                  <a:lnTo>
                    <a:pt x="225330" y="183406"/>
                  </a:lnTo>
                  <a:lnTo>
                    <a:pt x="227504" y="184501"/>
                  </a:lnTo>
                  <a:lnTo>
                    <a:pt x="229422" y="185880"/>
                  </a:lnTo>
                  <a:lnTo>
                    <a:pt x="236433" y="194638"/>
                  </a:lnTo>
                  <a:lnTo>
                    <a:pt x="239644" y="199473"/>
                  </a:lnTo>
                  <a:lnTo>
                    <a:pt x="239897" y="200676"/>
                  </a:lnTo>
                  <a:lnTo>
                    <a:pt x="239955" y="201928"/>
                  </a:lnTo>
                  <a:lnTo>
                    <a:pt x="239409" y="202896"/>
                  </a:lnTo>
                  <a:lnTo>
                    <a:pt x="236485" y="206197"/>
                  </a:lnTo>
                  <a:lnTo>
                    <a:pt x="236122" y="207110"/>
                  </a:lnTo>
                  <a:lnTo>
                    <a:pt x="235209" y="210705"/>
                  </a:lnTo>
                  <a:lnTo>
                    <a:pt x="235381" y="213293"/>
                  </a:lnTo>
                  <a:lnTo>
                    <a:pt x="236353" y="214381"/>
                  </a:lnTo>
                  <a:lnTo>
                    <a:pt x="237126" y="215561"/>
                  </a:lnTo>
                  <a:lnTo>
                    <a:pt x="237066" y="216632"/>
                  </a:lnTo>
                  <a:lnTo>
                    <a:pt x="235139" y="221957"/>
                  </a:lnTo>
                  <a:lnTo>
                    <a:pt x="234937" y="222867"/>
                  </a:lnTo>
                  <a:lnTo>
                    <a:pt x="236155" y="231530"/>
                  </a:lnTo>
                  <a:lnTo>
                    <a:pt x="236243" y="233875"/>
                  </a:lnTo>
                  <a:lnTo>
                    <a:pt x="235995" y="236842"/>
                  </a:lnTo>
                  <a:lnTo>
                    <a:pt x="236169" y="241628"/>
                  </a:lnTo>
                  <a:lnTo>
                    <a:pt x="234597" y="256418"/>
                  </a:lnTo>
                  <a:lnTo>
                    <a:pt x="234301" y="257302"/>
                  </a:lnTo>
                  <a:lnTo>
                    <a:pt x="233099" y="259561"/>
                  </a:lnTo>
                  <a:lnTo>
                    <a:pt x="231512" y="259546"/>
                  </a:lnTo>
                  <a:lnTo>
                    <a:pt x="230229" y="259147"/>
                  </a:lnTo>
                  <a:lnTo>
                    <a:pt x="229331" y="258283"/>
                  </a:lnTo>
                  <a:lnTo>
                    <a:pt x="228837" y="257210"/>
                  </a:lnTo>
                  <a:lnTo>
                    <a:pt x="228109" y="256333"/>
                  </a:lnTo>
                  <a:lnTo>
                    <a:pt x="224278" y="253599"/>
                  </a:lnTo>
                  <a:lnTo>
                    <a:pt x="223273" y="254054"/>
                  </a:lnTo>
                  <a:lnTo>
                    <a:pt x="219384" y="257445"/>
                  </a:lnTo>
                  <a:lnTo>
                    <a:pt x="218350" y="257947"/>
                  </a:lnTo>
                  <a:lnTo>
                    <a:pt x="217053" y="257533"/>
                  </a:lnTo>
                  <a:lnTo>
                    <a:pt x="215010" y="256519"/>
                  </a:lnTo>
                  <a:lnTo>
                    <a:pt x="208581" y="252954"/>
                  </a:lnTo>
                  <a:lnTo>
                    <a:pt x="208186" y="254094"/>
                  </a:lnTo>
                  <a:lnTo>
                    <a:pt x="208108" y="255640"/>
                  </a:lnTo>
                  <a:lnTo>
                    <a:pt x="209387" y="259515"/>
                  </a:lnTo>
                  <a:lnTo>
                    <a:pt x="209564" y="261212"/>
                  </a:lnTo>
                  <a:lnTo>
                    <a:pt x="208394" y="261550"/>
                  </a:lnTo>
                  <a:lnTo>
                    <a:pt x="207741" y="261477"/>
                  </a:lnTo>
                  <a:lnTo>
                    <a:pt x="205072" y="259225"/>
                  </a:lnTo>
                  <a:lnTo>
                    <a:pt x="202610" y="256732"/>
                  </a:lnTo>
                  <a:lnTo>
                    <a:pt x="199812" y="253363"/>
                  </a:lnTo>
                  <a:lnTo>
                    <a:pt x="197767" y="251761"/>
                  </a:lnTo>
                  <a:lnTo>
                    <a:pt x="195917" y="249972"/>
                  </a:lnTo>
                  <a:lnTo>
                    <a:pt x="190713" y="243180"/>
                  </a:lnTo>
                  <a:lnTo>
                    <a:pt x="189361" y="242143"/>
                  </a:lnTo>
                  <a:lnTo>
                    <a:pt x="181298" y="237347"/>
                  </a:lnTo>
                  <a:lnTo>
                    <a:pt x="179671" y="236213"/>
                  </a:lnTo>
                  <a:lnTo>
                    <a:pt x="177609" y="234228"/>
                  </a:lnTo>
                  <a:lnTo>
                    <a:pt x="175393" y="232467"/>
                  </a:lnTo>
                  <a:lnTo>
                    <a:pt x="170535" y="229686"/>
                  </a:lnTo>
                  <a:lnTo>
                    <a:pt x="162105" y="222630"/>
                  </a:lnTo>
                  <a:lnTo>
                    <a:pt x="158440" y="218578"/>
                  </a:lnTo>
                  <a:lnTo>
                    <a:pt x="154366" y="212052"/>
                  </a:lnTo>
                  <a:lnTo>
                    <a:pt x="153036" y="210385"/>
                  </a:lnTo>
                  <a:lnTo>
                    <a:pt x="146188" y="205488"/>
                  </a:lnTo>
                  <a:lnTo>
                    <a:pt x="142454" y="202522"/>
                  </a:lnTo>
                  <a:lnTo>
                    <a:pt x="140898" y="200817"/>
                  </a:lnTo>
                  <a:lnTo>
                    <a:pt x="137263" y="194882"/>
                  </a:lnTo>
                  <a:lnTo>
                    <a:pt x="136201" y="192883"/>
                  </a:lnTo>
                  <a:lnTo>
                    <a:pt x="134862" y="191117"/>
                  </a:lnTo>
                  <a:lnTo>
                    <a:pt x="132664" y="189685"/>
                  </a:lnTo>
                  <a:lnTo>
                    <a:pt x="130725" y="187999"/>
                  </a:lnTo>
                  <a:lnTo>
                    <a:pt x="126875" y="182632"/>
                  </a:lnTo>
                  <a:lnTo>
                    <a:pt x="125661" y="180493"/>
                  </a:lnTo>
                  <a:lnTo>
                    <a:pt x="124743" y="178180"/>
                  </a:lnTo>
                  <a:lnTo>
                    <a:pt x="124903" y="173539"/>
                  </a:lnTo>
                  <a:lnTo>
                    <a:pt x="116750" y="159493"/>
                  </a:lnTo>
                  <a:lnTo>
                    <a:pt x="114702" y="155118"/>
                  </a:lnTo>
                  <a:lnTo>
                    <a:pt x="112806" y="149045"/>
                  </a:lnTo>
                  <a:lnTo>
                    <a:pt x="112382" y="148430"/>
                  </a:lnTo>
                  <a:lnTo>
                    <a:pt x="107935" y="142992"/>
                  </a:lnTo>
                  <a:lnTo>
                    <a:pt x="106360" y="141251"/>
                  </a:lnTo>
                  <a:lnTo>
                    <a:pt x="104458" y="139615"/>
                  </a:lnTo>
                  <a:lnTo>
                    <a:pt x="102897" y="137703"/>
                  </a:lnTo>
                  <a:lnTo>
                    <a:pt x="99828" y="131494"/>
                  </a:lnTo>
                  <a:lnTo>
                    <a:pt x="98690" y="129769"/>
                  </a:lnTo>
                  <a:lnTo>
                    <a:pt x="97094" y="128500"/>
                  </a:lnTo>
                  <a:lnTo>
                    <a:pt x="91277" y="126153"/>
                  </a:lnTo>
                  <a:lnTo>
                    <a:pt x="89107" y="124844"/>
                  </a:lnTo>
                  <a:lnTo>
                    <a:pt x="87399" y="122987"/>
                  </a:lnTo>
                  <a:lnTo>
                    <a:pt x="86349" y="120617"/>
                  </a:lnTo>
                  <a:lnTo>
                    <a:pt x="85196" y="115588"/>
                  </a:lnTo>
                  <a:lnTo>
                    <a:pt x="82454" y="107946"/>
                  </a:lnTo>
                  <a:lnTo>
                    <a:pt x="79377" y="97714"/>
                  </a:lnTo>
                  <a:lnTo>
                    <a:pt x="77302" y="93128"/>
                  </a:lnTo>
                  <a:lnTo>
                    <a:pt x="74930" y="89530"/>
                  </a:lnTo>
                  <a:lnTo>
                    <a:pt x="74244" y="88700"/>
                  </a:lnTo>
                  <a:lnTo>
                    <a:pt x="63680" y="82220"/>
                  </a:lnTo>
                  <a:lnTo>
                    <a:pt x="61879" y="81266"/>
                  </a:lnTo>
                  <a:lnTo>
                    <a:pt x="59966" y="80691"/>
                  </a:lnTo>
                  <a:lnTo>
                    <a:pt x="57235" y="80278"/>
                  </a:lnTo>
                  <a:lnTo>
                    <a:pt x="55150" y="78604"/>
                  </a:lnTo>
                  <a:lnTo>
                    <a:pt x="54293" y="75600"/>
                  </a:lnTo>
                  <a:lnTo>
                    <a:pt x="53820" y="71570"/>
                  </a:lnTo>
                  <a:lnTo>
                    <a:pt x="53294" y="69165"/>
                  </a:lnTo>
                  <a:lnTo>
                    <a:pt x="52719" y="67805"/>
                  </a:lnTo>
                  <a:lnTo>
                    <a:pt x="48307" y="64956"/>
                  </a:lnTo>
                  <a:lnTo>
                    <a:pt x="46580" y="62704"/>
                  </a:lnTo>
                  <a:lnTo>
                    <a:pt x="45138" y="60226"/>
                  </a:lnTo>
                  <a:lnTo>
                    <a:pt x="43820" y="58307"/>
                  </a:lnTo>
                  <a:lnTo>
                    <a:pt x="38968" y="51678"/>
                  </a:lnTo>
                  <a:lnTo>
                    <a:pt x="37309" y="49939"/>
                  </a:lnTo>
                  <a:lnTo>
                    <a:pt x="35254" y="48725"/>
                  </a:lnTo>
                  <a:lnTo>
                    <a:pt x="29160" y="47439"/>
                  </a:lnTo>
                  <a:lnTo>
                    <a:pt x="27377" y="46338"/>
                  </a:lnTo>
                  <a:lnTo>
                    <a:pt x="24416" y="42574"/>
                  </a:lnTo>
                  <a:lnTo>
                    <a:pt x="22630" y="40659"/>
                  </a:lnTo>
                  <a:lnTo>
                    <a:pt x="17277" y="36439"/>
                  </a:lnTo>
                  <a:lnTo>
                    <a:pt x="8225" y="27607"/>
                  </a:lnTo>
                  <a:lnTo>
                    <a:pt x="6370" y="25404"/>
                  </a:lnTo>
                  <a:lnTo>
                    <a:pt x="4981" y="23106"/>
                  </a:lnTo>
                  <a:lnTo>
                    <a:pt x="3860" y="20643"/>
                  </a:lnTo>
                  <a:lnTo>
                    <a:pt x="0" y="13818"/>
                  </a:lnTo>
                  <a:lnTo>
                    <a:pt x="311" y="12439"/>
                  </a:lnTo>
                  <a:lnTo>
                    <a:pt x="894" y="11007"/>
                  </a:lnTo>
                  <a:lnTo>
                    <a:pt x="803" y="9821"/>
                  </a:lnTo>
                  <a:lnTo>
                    <a:pt x="380" y="8650"/>
                  </a:lnTo>
                  <a:lnTo>
                    <a:pt x="468" y="7592"/>
                  </a:lnTo>
                  <a:lnTo>
                    <a:pt x="1612" y="6969"/>
                  </a:lnTo>
                  <a:close/>
                  <a:moveTo>
                    <a:pt x="781" y="0"/>
                  </a:moveTo>
                  <a:lnTo>
                    <a:pt x="1678" y="206"/>
                  </a:lnTo>
                  <a:lnTo>
                    <a:pt x="3373" y="672"/>
                  </a:lnTo>
                  <a:lnTo>
                    <a:pt x="3524" y="1428"/>
                  </a:lnTo>
                  <a:lnTo>
                    <a:pt x="3437" y="2099"/>
                  </a:lnTo>
                  <a:lnTo>
                    <a:pt x="3005" y="2727"/>
                  </a:lnTo>
                  <a:lnTo>
                    <a:pt x="1693" y="2407"/>
                  </a:lnTo>
                  <a:lnTo>
                    <a:pt x="244" y="389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94" name="ee4p_IN_1_82333">
              <a:extLst>
                <a:ext uri="{FF2B5EF4-FFF2-40B4-BE49-F238E27FC236}">
                  <a16:creationId xmlns:a16="http://schemas.microsoft.com/office/drawing/2014/main" id="{D5D67A0A-12E3-D618-DA52-C5A9EB545BAB}"/>
                </a:ext>
              </a:extLst>
            </p:cNvPr>
            <p:cNvSpPr>
              <a:spLocks noChangeAspect="1"/>
            </p:cNvSpPr>
            <p:nvPr>
              <p:custDataLst>
                <p:tags r:id="rId22"/>
              </p:custDataLst>
            </p:nvPr>
          </p:nvSpPr>
          <p:spPr>
            <a:xfrm>
              <a:off x="8407600" y="3619050"/>
              <a:ext cx="810269" cy="863937"/>
            </a:xfrm>
            <a:custGeom>
              <a:avLst/>
              <a:gdLst>
                <a:gd name="connsiteX0" fmla="*/ 567340 w 645199"/>
                <a:gd name="connsiteY0" fmla="*/ 658858 h 669699"/>
                <a:gd name="connsiteX1" fmla="*/ 568147 w 645199"/>
                <a:gd name="connsiteY1" fmla="*/ 659520 h 669699"/>
                <a:gd name="connsiteX2" fmla="*/ 569709 w 645199"/>
                <a:gd name="connsiteY2" fmla="*/ 664706 h 669699"/>
                <a:gd name="connsiteX3" fmla="*/ 568834 w 645199"/>
                <a:gd name="connsiteY3" fmla="*/ 667870 h 669699"/>
                <a:gd name="connsiteX4" fmla="*/ 567480 w 645199"/>
                <a:gd name="connsiteY4" fmla="*/ 669699 h 669699"/>
                <a:gd name="connsiteX5" fmla="*/ 564837 w 645199"/>
                <a:gd name="connsiteY5" fmla="*/ 664101 h 669699"/>
                <a:gd name="connsiteX6" fmla="*/ 563703 w 645199"/>
                <a:gd name="connsiteY6" fmla="*/ 663760 h 669699"/>
                <a:gd name="connsiteX7" fmla="*/ 563666 w 645199"/>
                <a:gd name="connsiteY7" fmla="*/ 661090 h 669699"/>
                <a:gd name="connsiteX8" fmla="*/ 564282 w 645199"/>
                <a:gd name="connsiteY8" fmla="*/ 660037 h 669699"/>
                <a:gd name="connsiteX9" fmla="*/ 564465 w 645199"/>
                <a:gd name="connsiteY9" fmla="*/ 654991 h 669699"/>
                <a:gd name="connsiteX10" fmla="*/ 565375 w 645199"/>
                <a:gd name="connsiteY10" fmla="*/ 656194 h 669699"/>
                <a:gd name="connsiteX11" fmla="*/ 563271 w 645199"/>
                <a:gd name="connsiteY11" fmla="*/ 658297 h 669699"/>
                <a:gd name="connsiteX12" fmla="*/ 562360 w 645199"/>
                <a:gd name="connsiteY12" fmla="*/ 657033 h 669699"/>
                <a:gd name="connsiteX13" fmla="*/ 562736 w 645199"/>
                <a:gd name="connsiteY13" fmla="*/ 656158 h 669699"/>
                <a:gd name="connsiteX14" fmla="*/ 563630 w 645199"/>
                <a:gd name="connsiteY14" fmla="*/ 655673 h 669699"/>
                <a:gd name="connsiteX15" fmla="*/ 557456 w 645199"/>
                <a:gd name="connsiteY15" fmla="*/ 641484 h 669699"/>
                <a:gd name="connsiteX16" fmla="*/ 558743 w 645199"/>
                <a:gd name="connsiteY16" fmla="*/ 643031 h 669699"/>
                <a:gd name="connsiteX17" fmla="*/ 559046 w 645199"/>
                <a:gd name="connsiteY17" fmla="*/ 644127 h 669699"/>
                <a:gd name="connsiteX18" fmla="*/ 558939 w 645199"/>
                <a:gd name="connsiteY18" fmla="*/ 644601 h 669699"/>
                <a:gd name="connsiteX19" fmla="*/ 557225 w 645199"/>
                <a:gd name="connsiteY19" fmla="*/ 644629 h 669699"/>
                <a:gd name="connsiteX20" fmla="*/ 556716 w 645199"/>
                <a:gd name="connsiteY20" fmla="*/ 643677 h 669699"/>
                <a:gd name="connsiteX21" fmla="*/ 555994 w 645199"/>
                <a:gd name="connsiteY21" fmla="*/ 642683 h 669699"/>
                <a:gd name="connsiteX22" fmla="*/ 556549 w 645199"/>
                <a:gd name="connsiteY22" fmla="*/ 641728 h 669699"/>
                <a:gd name="connsiteX23" fmla="*/ 560077 w 645199"/>
                <a:gd name="connsiteY23" fmla="*/ 636882 h 669699"/>
                <a:gd name="connsiteX24" fmla="*/ 560909 w 645199"/>
                <a:gd name="connsiteY24" fmla="*/ 637125 h 669699"/>
                <a:gd name="connsiteX25" fmla="*/ 560466 w 645199"/>
                <a:gd name="connsiteY25" fmla="*/ 638327 h 669699"/>
                <a:gd name="connsiteX26" fmla="*/ 561025 w 645199"/>
                <a:gd name="connsiteY26" fmla="*/ 640622 h 669699"/>
                <a:gd name="connsiteX27" fmla="*/ 559989 w 645199"/>
                <a:gd name="connsiteY27" fmla="*/ 641450 h 669699"/>
                <a:gd name="connsiteX28" fmla="*/ 559728 w 645199"/>
                <a:gd name="connsiteY28" fmla="*/ 641338 h 669699"/>
                <a:gd name="connsiteX29" fmla="*/ 559585 w 645199"/>
                <a:gd name="connsiteY29" fmla="*/ 640710 h 669699"/>
                <a:gd name="connsiteX30" fmla="*/ 559540 w 645199"/>
                <a:gd name="connsiteY30" fmla="*/ 640266 h 669699"/>
                <a:gd name="connsiteX31" fmla="*/ 559352 w 645199"/>
                <a:gd name="connsiteY31" fmla="*/ 639466 h 669699"/>
                <a:gd name="connsiteX32" fmla="*/ 559246 w 645199"/>
                <a:gd name="connsiteY32" fmla="*/ 638058 h 669699"/>
                <a:gd name="connsiteX33" fmla="*/ 108669 w 645199"/>
                <a:gd name="connsiteY33" fmla="*/ 634838 h 669699"/>
                <a:gd name="connsiteX34" fmla="*/ 108760 w 645199"/>
                <a:gd name="connsiteY34" fmla="*/ 634960 h 669699"/>
                <a:gd name="connsiteX35" fmla="*/ 108675 w 645199"/>
                <a:gd name="connsiteY35" fmla="*/ 635360 h 669699"/>
                <a:gd name="connsiteX36" fmla="*/ 108401 w 645199"/>
                <a:gd name="connsiteY36" fmla="*/ 635893 h 669699"/>
                <a:gd name="connsiteX37" fmla="*/ 108090 w 645199"/>
                <a:gd name="connsiteY37" fmla="*/ 636170 h 669699"/>
                <a:gd name="connsiteX38" fmla="*/ 107770 w 645199"/>
                <a:gd name="connsiteY38" fmla="*/ 636275 h 669699"/>
                <a:gd name="connsiteX39" fmla="*/ 107542 w 645199"/>
                <a:gd name="connsiteY39" fmla="*/ 636240 h 669699"/>
                <a:gd name="connsiteX40" fmla="*/ 107429 w 645199"/>
                <a:gd name="connsiteY40" fmla="*/ 635964 h 669699"/>
                <a:gd name="connsiteX41" fmla="*/ 107488 w 645199"/>
                <a:gd name="connsiteY41" fmla="*/ 635755 h 669699"/>
                <a:gd name="connsiteX42" fmla="*/ 107773 w 645199"/>
                <a:gd name="connsiteY42" fmla="*/ 635988 h 669699"/>
                <a:gd name="connsiteX43" fmla="*/ 108146 w 645199"/>
                <a:gd name="connsiteY43" fmla="*/ 635772 h 669699"/>
                <a:gd name="connsiteX44" fmla="*/ 108574 w 645199"/>
                <a:gd name="connsiteY44" fmla="*/ 635064 h 669699"/>
                <a:gd name="connsiteX45" fmla="*/ 551297 w 645199"/>
                <a:gd name="connsiteY45" fmla="*/ 634107 h 669699"/>
                <a:gd name="connsiteX46" fmla="*/ 552265 w 645199"/>
                <a:gd name="connsiteY46" fmla="*/ 636329 h 669699"/>
                <a:gd name="connsiteX47" fmla="*/ 552926 w 645199"/>
                <a:gd name="connsiteY47" fmla="*/ 637163 h 669699"/>
                <a:gd name="connsiteX48" fmla="*/ 551701 w 645199"/>
                <a:gd name="connsiteY48" fmla="*/ 637020 h 669699"/>
                <a:gd name="connsiteX49" fmla="*/ 550574 w 645199"/>
                <a:gd name="connsiteY49" fmla="*/ 635763 h 669699"/>
                <a:gd name="connsiteX50" fmla="*/ 550868 w 645199"/>
                <a:gd name="connsiteY50" fmla="*/ 634585 h 669699"/>
                <a:gd name="connsiteX51" fmla="*/ 543893 w 645199"/>
                <a:gd name="connsiteY51" fmla="*/ 614176 h 669699"/>
                <a:gd name="connsiteX52" fmla="*/ 544416 w 645199"/>
                <a:gd name="connsiteY52" fmla="*/ 614251 h 669699"/>
                <a:gd name="connsiteX53" fmla="*/ 544936 w 645199"/>
                <a:gd name="connsiteY53" fmla="*/ 615749 h 669699"/>
                <a:gd name="connsiteX54" fmla="*/ 544454 w 645199"/>
                <a:gd name="connsiteY54" fmla="*/ 616567 h 669699"/>
                <a:gd name="connsiteX55" fmla="*/ 543483 w 645199"/>
                <a:gd name="connsiteY55" fmla="*/ 616694 h 669699"/>
                <a:gd name="connsiteX56" fmla="*/ 542887 w 645199"/>
                <a:gd name="connsiteY56" fmla="*/ 615933 h 669699"/>
                <a:gd name="connsiteX57" fmla="*/ 542813 w 645199"/>
                <a:gd name="connsiteY57" fmla="*/ 615046 h 669699"/>
                <a:gd name="connsiteX58" fmla="*/ 543373 w 645199"/>
                <a:gd name="connsiteY58" fmla="*/ 614471 h 669699"/>
                <a:gd name="connsiteX59" fmla="*/ 538326 w 645199"/>
                <a:gd name="connsiteY59" fmla="*/ 577247 h 669699"/>
                <a:gd name="connsiteX60" fmla="*/ 539291 w 645199"/>
                <a:gd name="connsiteY60" fmla="*/ 579432 h 669699"/>
                <a:gd name="connsiteX61" fmla="*/ 539741 w 645199"/>
                <a:gd name="connsiteY61" fmla="*/ 581568 h 669699"/>
                <a:gd name="connsiteX62" fmla="*/ 538160 w 645199"/>
                <a:gd name="connsiteY62" fmla="*/ 584908 h 669699"/>
                <a:gd name="connsiteX63" fmla="*/ 537493 w 645199"/>
                <a:gd name="connsiteY63" fmla="*/ 585671 h 669699"/>
                <a:gd name="connsiteX64" fmla="*/ 535212 w 645199"/>
                <a:gd name="connsiteY64" fmla="*/ 585075 h 669699"/>
                <a:gd name="connsiteX65" fmla="*/ 535381 w 645199"/>
                <a:gd name="connsiteY65" fmla="*/ 582768 h 669699"/>
                <a:gd name="connsiteX66" fmla="*/ 534843 w 645199"/>
                <a:gd name="connsiteY66" fmla="*/ 580520 h 669699"/>
                <a:gd name="connsiteX67" fmla="*/ 535239 w 645199"/>
                <a:gd name="connsiteY67" fmla="*/ 579572 h 669699"/>
                <a:gd name="connsiteX68" fmla="*/ 536944 w 645199"/>
                <a:gd name="connsiteY68" fmla="*/ 577962 h 669699"/>
                <a:gd name="connsiteX69" fmla="*/ 102327 w 645199"/>
                <a:gd name="connsiteY69" fmla="*/ 569072 h 669699"/>
                <a:gd name="connsiteX70" fmla="*/ 102398 w 645199"/>
                <a:gd name="connsiteY70" fmla="*/ 569124 h 669699"/>
                <a:gd name="connsiteX71" fmla="*/ 102331 w 645199"/>
                <a:gd name="connsiteY71" fmla="*/ 569547 h 669699"/>
                <a:gd name="connsiteX72" fmla="*/ 102221 w 645199"/>
                <a:gd name="connsiteY72" fmla="*/ 570121 h 669699"/>
                <a:gd name="connsiteX73" fmla="*/ 102055 w 645199"/>
                <a:gd name="connsiteY73" fmla="*/ 570421 h 669699"/>
                <a:gd name="connsiteX74" fmla="*/ 101893 w 645199"/>
                <a:gd name="connsiteY74" fmla="*/ 570564 h 669699"/>
                <a:gd name="connsiteX75" fmla="*/ 101880 w 645199"/>
                <a:gd name="connsiteY75" fmla="*/ 570158 h 669699"/>
                <a:gd name="connsiteX76" fmla="*/ 102087 w 645199"/>
                <a:gd name="connsiteY76" fmla="*/ 569508 h 669699"/>
                <a:gd name="connsiteX77" fmla="*/ 541198 w 645199"/>
                <a:gd name="connsiteY77" fmla="*/ 563555 h 669699"/>
                <a:gd name="connsiteX78" fmla="*/ 542299 w 645199"/>
                <a:gd name="connsiteY78" fmla="*/ 564578 h 669699"/>
                <a:gd name="connsiteX79" fmla="*/ 542237 w 645199"/>
                <a:gd name="connsiteY79" fmla="*/ 565747 h 669699"/>
                <a:gd name="connsiteX80" fmla="*/ 542368 w 645199"/>
                <a:gd name="connsiteY80" fmla="*/ 566421 h 669699"/>
                <a:gd name="connsiteX81" fmla="*/ 541293 w 645199"/>
                <a:gd name="connsiteY81" fmla="*/ 566865 h 669699"/>
                <a:gd name="connsiteX82" fmla="*/ 540213 w 645199"/>
                <a:gd name="connsiteY82" fmla="*/ 566303 h 669699"/>
                <a:gd name="connsiteX83" fmla="*/ 541058 w 645199"/>
                <a:gd name="connsiteY83" fmla="*/ 565400 h 669699"/>
                <a:gd name="connsiteX84" fmla="*/ 549538 w 645199"/>
                <a:gd name="connsiteY84" fmla="*/ 551727 h 669699"/>
                <a:gd name="connsiteX85" fmla="*/ 550527 w 645199"/>
                <a:gd name="connsiteY85" fmla="*/ 554808 h 669699"/>
                <a:gd name="connsiteX86" fmla="*/ 548749 w 645199"/>
                <a:gd name="connsiteY86" fmla="*/ 553462 h 669699"/>
                <a:gd name="connsiteX87" fmla="*/ 548166 w 645199"/>
                <a:gd name="connsiteY87" fmla="*/ 552498 h 669699"/>
                <a:gd name="connsiteX88" fmla="*/ 549060 w 645199"/>
                <a:gd name="connsiteY88" fmla="*/ 551840 h 669699"/>
                <a:gd name="connsiteX89" fmla="*/ 542755 w 645199"/>
                <a:gd name="connsiteY89" fmla="*/ 530963 h 669699"/>
                <a:gd name="connsiteX90" fmla="*/ 543202 w 645199"/>
                <a:gd name="connsiteY90" fmla="*/ 531256 h 669699"/>
                <a:gd name="connsiteX91" fmla="*/ 542909 w 645199"/>
                <a:gd name="connsiteY91" fmla="*/ 533136 h 669699"/>
                <a:gd name="connsiteX92" fmla="*/ 542204 w 645199"/>
                <a:gd name="connsiteY92" fmla="*/ 534595 h 669699"/>
                <a:gd name="connsiteX93" fmla="*/ 542071 w 645199"/>
                <a:gd name="connsiteY93" fmla="*/ 531465 h 669699"/>
                <a:gd name="connsiteX94" fmla="*/ 542396 w 645199"/>
                <a:gd name="connsiteY94" fmla="*/ 531071 h 669699"/>
                <a:gd name="connsiteX95" fmla="*/ 550531 w 645199"/>
                <a:gd name="connsiteY95" fmla="*/ 517828 h 669699"/>
                <a:gd name="connsiteX96" fmla="*/ 550628 w 645199"/>
                <a:gd name="connsiteY96" fmla="*/ 520281 h 669699"/>
                <a:gd name="connsiteX97" fmla="*/ 550848 w 645199"/>
                <a:gd name="connsiteY97" fmla="*/ 521086 h 669699"/>
                <a:gd name="connsiteX98" fmla="*/ 549507 w 645199"/>
                <a:gd name="connsiteY98" fmla="*/ 522538 h 669699"/>
                <a:gd name="connsiteX99" fmla="*/ 550786 w 645199"/>
                <a:gd name="connsiteY99" fmla="*/ 524430 h 669699"/>
                <a:gd name="connsiteX100" fmla="*/ 550615 w 645199"/>
                <a:gd name="connsiteY100" fmla="*/ 525116 h 669699"/>
                <a:gd name="connsiteX101" fmla="*/ 550104 w 645199"/>
                <a:gd name="connsiteY101" fmla="*/ 526616 h 669699"/>
                <a:gd name="connsiteX102" fmla="*/ 549257 w 645199"/>
                <a:gd name="connsiteY102" fmla="*/ 528090 h 669699"/>
                <a:gd name="connsiteX103" fmla="*/ 548078 w 645199"/>
                <a:gd name="connsiteY103" fmla="*/ 528694 h 669699"/>
                <a:gd name="connsiteX104" fmla="*/ 547162 w 645199"/>
                <a:gd name="connsiteY104" fmla="*/ 530657 h 669699"/>
                <a:gd name="connsiteX105" fmla="*/ 546638 w 645199"/>
                <a:gd name="connsiteY105" fmla="*/ 531397 h 669699"/>
                <a:gd name="connsiteX106" fmla="*/ 548380 w 645199"/>
                <a:gd name="connsiteY106" fmla="*/ 533460 h 669699"/>
                <a:gd name="connsiteX107" fmla="*/ 548937 w 645199"/>
                <a:gd name="connsiteY107" fmla="*/ 540468 h 669699"/>
                <a:gd name="connsiteX108" fmla="*/ 547663 w 645199"/>
                <a:gd name="connsiteY108" fmla="*/ 542386 h 669699"/>
                <a:gd name="connsiteX109" fmla="*/ 546139 w 645199"/>
                <a:gd name="connsiteY109" fmla="*/ 542769 h 669699"/>
                <a:gd name="connsiteX110" fmla="*/ 546488 w 645199"/>
                <a:gd name="connsiteY110" fmla="*/ 547440 h 669699"/>
                <a:gd name="connsiteX111" fmla="*/ 546216 w 645199"/>
                <a:gd name="connsiteY111" fmla="*/ 548482 h 669699"/>
                <a:gd name="connsiteX112" fmla="*/ 544705 w 645199"/>
                <a:gd name="connsiteY112" fmla="*/ 550775 h 669699"/>
                <a:gd name="connsiteX113" fmla="*/ 544426 w 645199"/>
                <a:gd name="connsiteY113" fmla="*/ 551775 h 669699"/>
                <a:gd name="connsiteX114" fmla="*/ 543574 w 645199"/>
                <a:gd name="connsiteY114" fmla="*/ 552715 h 669699"/>
                <a:gd name="connsiteX115" fmla="*/ 543934 w 645199"/>
                <a:gd name="connsiteY115" fmla="*/ 553888 h 669699"/>
                <a:gd name="connsiteX116" fmla="*/ 544660 w 645199"/>
                <a:gd name="connsiteY116" fmla="*/ 554402 h 669699"/>
                <a:gd name="connsiteX117" fmla="*/ 544677 w 645199"/>
                <a:gd name="connsiteY117" fmla="*/ 555363 h 669699"/>
                <a:gd name="connsiteX118" fmla="*/ 544001 w 645199"/>
                <a:gd name="connsiteY118" fmla="*/ 557829 h 669699"/>
                <a:gd name="connsiteX119" fmla="*/ 543949 w 645199"/>
                <a:gd name="connsiteY119" fmla="*/ 560641 h 669699"/>
                <a:gd name="connsiteX120" fmla="*/ 543023 w 645199"/>
                <a:gd name="connsiteY120" fmla="*/ 562951 h 669699"/>
                <a:gd name="connsiteX121" fmla="*/ 542537 w 645199"/>
                <a:gd name="connsiteY121" fmla="*/ 563478 h 669699"/>
                <a:gd name="connsiteX122" fmla="*/ 541820 w 645199"/>
                <a:gd name="connsiteY122" fmla="*/ 562892 h 669699"/>
                <a:gd name="connsiteX123" fmla="*/ 539769 w 645199"/>
                <a:gd name="connsiteY123" fmla="*/ 558870 h 669699"/>
                <a:gd name="connsiteX124" fmla="*/ 539417 w 645199"/>
                <a:gd name="connsiteY124" fmla="*/ 556287 h 669699"/>
                <a:gd name="connsiteX125" fmla="*/ 538847 w 645199"/>
                <a:gd name="connsiteY125" fmla="*/ 555392 h 669699"/>
                <a:gd name="connsiteX126" fmla="*/ 539568 w 645199"/>
                <a:gd name="connsiteY126" fmla="*/ 554111 h 669699"/>
                <a:gd name="connsiteX127" fmla="*/ 540475 w 645199"/>
                <a:gd name="connsiteY127" fmla="*/ 553685 h 669699"/>
                <a:gd name="connsiteX128" fmla="*/ 541013 w 645199"/>
                <a:gd name="connsiteY128" fmla="*/ 552242 h 669699"/>
                <a:gd name="connsiteX129" fmla="*/ 541206 w 645199"/>
                <a:gd name="connsiteY129" fmla="*/ 550036 h 669699"/>
                <a:gd name="connsiteX130" fmla="*/ 541999 w 645199"/>
                <a:gd name="connsiteY130" fmla="*/ 548237 h 669699"/>
                <a:gd name="connsiteX131" fmla="*/ 542403 w 645199"/>
                <a:gd name="connsiteY131" fmla="*/ 547736 h 669699"/>
                <a:gd name="connsiteX132" fmla="*/ 544050 w 645199"/>
                <a:gd name="connsiteY132" fmla="*/ 547717 h 669699"/>
                <a:gd name="connsiteX133" fmla="*/ 544472 w 645199"/>
                <a:gd name="connsiteY133" fmla="*/ 547488 h 669699"/>
                <a:gd name="connsiteX134" fmla="*/ 544236 w 645199"/>
                <a:gd name="connsiteY134" fmla="*/ 545765 h 669699"/>
                <a:gd name="connsiteX135" fmla="*/ 543274 w 645199"/>
                <a:gd name="connsiteY135" fmla="*/ 545016 h 669699"/>
                <a:gd name="connsiteX136" fmla="*/ 542939 w 645199"/>
                <a:gd name="connsiteY136" fmla="*/ 544536 h 669699"/>
                <a:gd name="connsiteX137" fmla="*/ 542978 w 645199"/>
                <a:gd name="connsiteY137" fmla="*/ 540406 h 669699"/>
                <a:gd name="connsiteX138" fmla="*/ 543228 w 645199"/>
                <a:gd name="connsiteY138" fmla="*/ 538736 h 669699"/>
                <a:gd name="connsiteX139" fmla="*/ 543828 w 645199"/>
                <a:gd name="connsiteY139" fmla="*/ 537535 h 669699"/>
                <a:gd name="connsiteX140" fmla="*/ 543405 w 645199"/>
                <a:gd name="connsiteY140" fmla="*/ 535052 h 669699"/>
                <a:gd name="connsiteX141" fmla="*/ 543695 w 645199"/>
                <a:gd name="connsiteY141" fmla="*/ 534125 h 669699"/>
                <a:gd name="connsiteX142" fmla="*/ 544886 w 645199"/>
                <a:gd name="connsiteY142" fmla="*/ 532821 h 669699"/>
                <a:gd name="connsiteX143" fmla="*/ 545413 w 645199"/>
                <a:gd name="connsiteY143" fmla="*/ 530040 h 669699"/>
                <a:gd name="connsiteX144" fmla="*/ 544929 w 645199"/>
                <a:gd name="connsiteY144" fmla="*/ 529209 h 669699"/>
                <a:gd name="connsiteX145" fmla="*/ 546061 w 645199"/>
                <a:gd name="connsiteY145" fmla="*/ 524914 h 669699"/>
                <a:gd name="connsiteX146" fmla="*/ 545998 w 645199"/>
                <a:gd name="connsiteY146" fmla="*/ 522045 h 669699"/>
                <a:gd name="connsiteX147" fmla="*/ 547486 w 645199"/>
                <a:gd name="connsiteY147" fmla="*/ 519170 h 669699"/>
                <a:gd name="connsiteX148" fmla="*/ 549804 w 645199"/>
                <a:gd name="connsiteY148" fmla="*/ 517864 h 669699"/>
                <a:gd name="connsiteX149" fmla="*/ 213036 w 645199"/>
                <a:gd name="connsiteY149" fmla="*/ 0 h 669699"/>
                <a:gd name="connsiteX150" fmla="*/ 213291 w 645199"/>
                <a:gd name="connsiteY150" fmla="*/ 286 h 669699"/>
                <a:gd name="connsiteX151" fmla="*/ 214189 w 645199"/>
                <a:gd name="connsiteY151" fmla="*/ 883 h 669699"/>
                <a:gd name="connsiteX152" fmla="*/ 215148 w 645199"/>
                <a:gd name="connsiteY152" fmla="*/ 1178 h 669699"/>
                <a:gd name="connsiteX153" fmla="*/ 216275 w 645199"/>
                <a:gd name="connsiteY153" fmla="*/ 610 h 669699"/>
                <a:gd name="connsiteX154" fmla="*/ 217681 w 645199"/>
                <a:gd name="connsiteY154" fmla="*/ 143 h 669699"/>
                <a:gd name="connsiteX155" fmla="*/ 218415 w 645199"/>
                <a:gd name="connsiteY155" fmla="*/ 405 h 669699"/>
                <a:gd name="connsiteX156" fmla="*/ 218521 w 645199"/>
                <a:gd name="connsiteY156" fmla="*/ 1169 h 669699"/>
                <a:gd name="connsiteX157" fmla="*/ 217675 w 645199"/>
                <a:gd name="connsiteY157" fmla="*/ 4747 h 669699"/>
                <a:gd name="connsiteX158" fmla="*/ 217742 w 645199"/>
                <a:gd name="connsiteY158" fmla="*/ 6150 h 669699"/>
                <a:gd name="connsiteX159" fmla="*/ 219147 w 645199"/>
                <a:gd name="connsiteY159" fmla="*/ 9062 h 669699"/>
                <a:gd name="connsiteX160" fmla="*/ 220976 w 645199"/>
                <a:gd name="connsiteY160" fmla="*/ 13783 h 669699"/>
                <a:gd name="connsiteX161" fmla="*/ 222693 w 645199"/>
                <a:gd name="connsiteY161" fmla="*/ 18202 h 669699"/>
                <a:gd name="connsiteX162" fmla="*/ 223708 w 645199"/>
                <a:gd name="connsiteY162" fmla="*/ 21099 h 669699"/>
                <a:gd name="connsiteX163" fmla="*/ 224701 w 645199"/>
                <a:gd name="connsiteY163" fmla="*/ 22285 h 669699"/>
                <a:gd name="connsiteX164" fmla="*/ 228875 w 645199"/>
                <a:gd name="connsiteY164" fmla="*/ 23495 h 669699"/>
                <a:gd name="connsiteX165" fmla="*/ 232304 w 645199"/>
                <a:gd name="connsiteY165" fmla="*/ 24488 h 669699"/>
                <a:gd name="connsiteX166" fmla="*/ 234345 w 645199"/>
                <a:gd name="connsiteY166" fmla="*/ 26116 h 669699"/>
                <a:gd name="connsiteX167" fmla="*/ 236595 w 645199"/>
                <a:gd name="connsiteY167" fmla="*/ 27676 h 669699"/>
                <a:gd name="connsiteX168" fmla="*/ 238178 w 645199"/>
                <a:gd name="connsiteY168" fmla="*/ 28633 h 669699"/>
                <a:gd name="connsiteX169" fmla="*/ 238923 w 645199"/>
                <a:gd name="connsiteY169" fmla="*/ 29862 h 669699"/>
                <a:gd name="connsiteX170" fmla="*/ 239074 w 645199"/>
                <a:gd name="connsiteY170" fmla="*/ 30971 h 669699"/>
                <a:gd name="connsiteX171" fmla="*/ 238934 w 645199"/>
                <a:gd name="connsiteY171" fmla="*/ 31716 h 669699"/>
                <a:gd name="connsiteX172" fmla="*/ 238075 w 645199"/>
                <a:gd name="connsiteY172" fmla="*/ 32693 h 669699"/>
                <a:gd name="connsiteX173" fmla="*/ 234123 w 645199"/>
                <a:gd name="connsiteY173" fmla="*/ 35213 h 669699"/>
                <a:gd name="connsiteX174" fmla="*/ 233652 w 645199"/>
                <a:gd name="connsiteY174" fmla="*/ 36013 h 669699"/>
                <a:gd name="connsiteX175" fmla="*/ 233540 w 645199"/>
                <a:gd name="connsiteY175" fmla="*/ 37062 h 669699"/>
                <a:gd name="connsiteX176" fmla="*/ 234315 w 645199"/>
                <a:gd name="connsiteY176" fmla="*/ 40188 h 669699"/>
                <a:gd name="connsiteX177" fmla="*/ 234803 w 645199"/>
                <a:gd name="connsiteY177" fmla="*/ 42145 h 669699"/>
                <a:gd name="connsiteX178" fmla="*/ 234939 w 645199"/>
                <a:gd name="connsiteY178" fmla="*/ 46076 h 669699"/>
                <a:gd name="connsiteX179" fmla="*/ 235203 w 645199"/>
                <a:gd name="connsiteY179" fmla="*/ 49810 h 669699"/>
                <a:gd name="connsiteX180" fmla="*/ 236599 w 645199"/>
                <a:gd name="connsiteY180" fmla="*/ 51509 h 669699"/>
                <a:gd name="connsiteX181" fmla="*/ 237742 w 645199"/>
                <a:gd name="connsiteY181" fmla="*/ 52607 h 669699"/>
                <a:gd name="connsiteX182" fmla="*/ 238443 w 645199"/>
                <a:gd name="connsiteY182" fmla="*/ 53603 h 669699"/>
                <a:gd name="connsiteX183" fmla="*/ 239862 w 645199"/>
                <a:gd name="connsiteY183" fmla="*/ 54965 h 669699"/>
                <a:gd name="connsiteX184" fmla="*/ 241054 w 645199"/>
                <a:gd name="connsiteY184" fmla="*/ 55981 h 669699"/>
                <a:gd name="connsiteX185" fmla="*/ 242072 w 645199"/>
                <a:gd name="connsiteY185" fmla="*/ 56577 h 669699"/>
                <a:gd name="connsiteX186" fmla="*/ 242572 w 645199"/>
                <a:gd name="connsiteY186" fmla="*/ 57921 h 669699"/>
                <a:gd name="connsiteX187" fmla="*/ 242274 w 645199"/>
                <a:gd name="connsiteY187" fmla="*/ 59498 h 669699"/>
                <a:gd name="connsiteX188" fmla="*/ 241858 w 645199"/>
                <a:gd name="connsiteY188" fmla="*/ 60870 h 669699"/>
                <a:gd name="connsiteX189" fmla="*/ 241985 w 645199"/>
                <a:gd name="connsiteY189" fmla="*/ 61608 h 669699"/>
                <a:gd name="connsiteX190" fmla="*/ 242801 w 645199"/>
                <a:gd name="connsiteY190" fmla="*/ 62132 h 669699"/>
                <a:gd name="connsiteX191" fmla="*/ 244056 w 645199"/>
                <a:gd name="connsiteY191" fmla="*/ 63499 h 669699"/>
                <a:gd name="connsiteX192" fmla="*/ 244218 w 645199"/>
                <a:gd name="connsiteY192" fmla="*/ 65503 h 669699"/>
                <a:gd name="connsiteX193" fmla="*/ 244129 w 645199"/>
                <a:gd name="connsiteY193" fmla="*/ 66879 h 669699"/>
                <a:gd name="connsiteX194" fmla="*/ 244624 w 645199"/>
                <a:gd name="connsiteY194" fmla="*/ 68117 h 669699"/>
                <a:gd name="connsiteX195" fmla="*/ 244756 w 645199"/>
                <a:gd name="connsiteY195" fmla="*/ 69490 h 669699"/>
                <a:gd name="connsiteX196" fmla="*/ 244371 w 645199"/>
                <a:gd name="connsiteY196" fmla="*/ 72915 h 669699"/>
                <a:gd name="connsiteX197" fmla="*/ 244434 w 645199"/>
                <a:gd name="connsiteY197" fmla="*/ 74463 h 669699"/>
                <a:gd name="connsiteX198" fmla="*/ 243341 w 645199"/>
                <a:gd name="connsiteY198" fmla="*/ 74558 h 669699"/>
                <a:gd name="connsiteX199" fmla="*/ 242399 w 645199"/>
                <a:gd name="connsiteY199" fmla="*/ 75085 h 669699"/>
                <a:gd name="connsiteX200" fmla="*/ 241065 w 645199"/>
                <a:gd name="connsiteY200" fmla="*/ 77240 h 669699"/>
                <a:gd name="connsiteX201" fmla="*/ 239532 w 645199"/>
                <a:gd name="connsiteY201" fmla="*/ 77806 h 669699"/>
                <a:gd name="connsiteX202" fmla="*/ 237791 w 645199"/>
                <a:gd name="connsiteY202" fmla="*/ 77977 h 669699"/>
                <a:gd name="connsiteX203" fmla="*/ 235999 w 645199"/>
                <a:gd name="connsiteY203" fmla="*/ 76655 h 669699"/>
                <a:gd name="connsiteX204" fmla="*/ 234526 w 645199"/>
                <a:gd name="connsiteY204" fmla="*/ 75275 h 669699"/>
                <a:gd name="connsiteX205" fmla="*/ 234133 w 645199"/>
                <a:gd name="connsiteY205" fmla="*/ 74508 h 669699"/>
                <a:gd name="connsiteX206" fmla="*/ 233762 w 645199"/>
                <a:gd name="connsiteY206" fmla="*/ 73053 h 669699"/>
                <a:gd name="connsiteX207" fmla="*/ 232969 w 645199"/>
                <a:gd name="connsiteY207" fmla="*/ 72102 h 669699"/>
                <a:gd name="connsiteX208" fmla="*/ 231437 w 645199"/>
                <a:gd name="connsiteY208" fmla="*/ 72547 h 669699"/>
                <a:gd name="connsiteX209" fmla="*/ 229111 w 645199"/>
                <a:gd name="connsiteY209" fmla="*/ 72748 h 669699"/>
                <a:gd name="connsiteX210" fmla="*/ 226593 w 645199"/>
                <a:gd name="connsiteY210" fmla="*/ 73070 h 669699"/>
                <a:gd name="connsiteX211" fmla="*/ 226133 w 645199"/>
                <a:gd name="connsiteY211" fmla="*/ 73389 h 669699"/>
                <a:gd name="connsiteX212" fmla="*/ 226088 w 645199"/>
                <a:gd name="connsiteY212" fmla="*/ 74001 h 669699"/>
                <a:gd name="connsiteX213" fmla="*/ 226703 w 645199"/>
                <a:gd name="connsiteY213" fmla="*/ 75309 h 669699"/>
                <a:gd name="connsiteX214" fmla="*/ 227230 w 645199"/>
                <a:gd name="connsiteY214" fmla="*/ 77014 h 669699"/>
                <a:gd name="connsiteX215" fmla="*/ 227539 w 645199"/>
                <a:gd name="connsiteY215" fmla="*/ 79398 h 669699"/>
                <a:gd name="connsiteX216" fmla="*/ 228221 w 645199"/>
                <a:gd name="connsiteY216" fmla="*/ 80973 h 669699"/>
                <a:gd name="connsiteX217" fmla="*/ 228437 w 645199"/>
                <a:gd name="connsiteY217" fmla="*/ 81476 h 669699"/>
                <a:gd name="connsiteX218" fmla="*/ 232458 w 645199"/>
                <a:gd name="connsiteY218" fmla="*/ 86205 h 669699"/>
                <a:gd name="connsiteX219" fmla="*/ 233516 w 645199"/>
                <a:gd name="connsiteY219" fmla="*/ 87167 h 669699"/>
                <a:gd name="connsiteX220" fmla="*/ 233734 w 645199"/>
                <a:gd name="connsiteY220" fmla="*/ 87801 h 669699"/>
                <a:gd name="connsiteX221" fmla="*/ 233386 w 645199"/>
                <a:gd name="connsiteY221" fmla="*/ 89524 h 669699"/>
                <a:gd name="connsiteX222" fmla="*/ 233328 w 645199"/>
                <a:gd name="connsiteY222" fmla="*/ 89441 h 669699"/>
                <a:gd name="connsiteX223" fmla="*/ 232030 w 645199"/>
                <a:gd name="connsiteY223" fmla="*/ 87620 h 669699"/>
                <a:gd name="connsiteX224" fmla="*/ 233386 w 645199"/>
                <a:gd name="connsiteY224" fmla="*/ 89524 h 669699"/>
                <a:gd name="connsiteX225" fmla="*/ 232663 w 645199"/>
                <a:gd name="connsiteY225" fmla="*/ 91536 h 669699"/>
                <a:gd name="connsiteX226" fmla="*/ 232805 w 645199"/>
                <a:gd name="connsiteY226" fmla="*/ 93130 h 669699"/>
                <a:gd name="connsiteX227" fmla="*/ 234142 w 645199"/>
                <a:gd name="connsiteY227" fmla="*/ 94892 h 669699"/>
                <a:gd name="connsiteX228" fmla="*/ 235226 w 645199"/>
                <a:gd name="connsiteY228" fmla="*/ 96123 h 669699"/>
                <a:gd name="connsiteX229" fmla="*/ 234168 w 645199"/>
                <a:gd name="connsiteY229" fmla="*/ 97780 h 669699"/>
                <a:gd name="connsiteX230" fmla="*/ 233542 w 645199"/>
                <a:gd name="connsiteY230" fmla="*/ 99697 h 669699"/>
                <a:gd name="connsiteX231" fmla="*/ 234246 w 645199"/>
                <a:gd name="connsiteY231" fmla="*/ 100559 h 669699"/>
                <a:gd name="connsiteX232" fmla="*/ 233913 w 645199"/>
                <a:gd name="connsiteY232" fmla="*/ 103313 h 669699"/>
                <a:gd name="connsiteX233" fmla="*/ 234228 w 645199"/>
                <a:gd name="connsiteY233" fmla="*/ 103833 h 669699"/>
                <a:gd name="connsiteX234" fmla="*/ 234975 w 645199"/>
                <a:gd name="connsiteY234" fmla="*/ 104048 h 669699"/>
                <a:gd name="connsiteX235" fmla="*/ 236146 w 645199"/>
                <a:gd name="connsiteY235" fmla="*/ 103857 h 669699"/>
                <a:gd name="connsiteX236" fmla="*/ 237362 w 645199"/>
                <a:gd name="connsiteY236" fmla="*/ 103128 h 669699"/>
                <a:gd name="connsiteX237" fmla="*/ 238390 w 645199"/>
                <a:gd name="connsiteY237" fmla="*/ 102985 h 669699"/>
                <a:gd name="connsiteX238" fmla="*/ 239007 w 645199"/>
                <a:gd name="connsiteY238" fmla="*/ 103195 h 669699"/>
                <a:gd name="connsiteX239" fmla="*/ 239830 w 645199"/>
                <a:gd name="connsiteY239" fmla="*/ 101107 h 669699"/>
                <a:gd name="connsiteX240" fmla="*/ 240551 w 645199"/>
                <a:gd name="connsiteY240" fmla="*/ 100812 h 669699"/>
                <a:gd name="connsiteX241" fmla="*/ 241953 w 645199"/>
                <a:gd name="connsiteY241" fmla="*/ 101388 h 669699"/>
                <a:gd name="connsiteX242" fmla="*/ 244728 w 645199"/>
                <a:gd name="connsiteY242" fmla="*/ 105315 h 669699"/>
                <a:gd name="connsiteX243" fmla="*/ 247075 w 645199"/>
                <a:gd name="connsiteY243" fmla="*/ 108632 h 669699"/>
                <a:gd name="connsiteX244" fmla="*/ 247571 w 645199"/>
                <a:gd name="connsiteY244" fmla="*/ 109089 h 669699"/>
                <a:gd name="connsiteX245" fmla="*/ 247757 w 645199"/>
                <a:gd name="connsiteY245" fmla="*/ 109260 h 669699"/>
                <a:gd name="connsiteX246" fmla="*/ 248174 w 645199"/>
                <a:gd name="connsiteY246" fmla="*/ 109644 h 669699"/>
                <a:gd name="connsiteX247" fmla="*/ 250488 w 645199"/>
                <a:gd name="connsiteY247" fmla="*/ 111361 h 669699"/>
                <a:gd name="connsiteX248" fmla="*/ 252086 w 645199"/>
                <a:gd name="connsiteY248" fmla="*/ 112449 h 669699"/>
                <a:gd name="connsiteX249" fmla="*/ 254272 w 645199"/>
                <a:gd name="connsiteY249" fmla="*/ 112055 h 669699"/>
                <a:gd name="connsiteX250" fmla="*/ 257155 w 645199"/>
                <a:gd name="connsiteY250" fmla="*/ 111981 h 669699"/>
                <a:gd name="connsiteX251" fmla="*/ 258863 w 645199"/>
                <a:gd name="connsiteY251" fmla="*/ 113044 h 669699"/>
                <a:gd name="connsiteX252" fmla="*/ 259852 w 645199"/>
                <a:gd name="connsiteY252" fmla="*/ 113785 h 669699"/>
                <a:gd name="connsiteX253" fmla="*/ 259895 w 645199"/>
                <a:gd name="connsiteY253" fmla="*/ 113889 h 669699"/>
                <a:gd name="connsiteX254" fmla="*/ 260027 w 645199"/>
                <a:gd name="connsiteY254" fmla="*/ 113917 h 669699"/>
                <a:gd name="connsiteX255" fmla="*/ 260029 w 645199"/>
                <a:gd name="connsiteY255" fmla="*/ 113917 h 669699"/>
                <a:gd name="connsiteX256" fmla="*/ 263497 w 645199"/>
                <a:gd name="connsiteY256" fmla="*/ 116516 h 669699"/>
                <a:gd name="connsiteX257" fmla="*/ 265000 w 645199"/>
                <a:gd name="connsiteY257" fmla="*/ 116324 h 669699"/>
                <a:gd name="connsiteX258" fmla="*/ 265993 w 645199"/>
                <a:gd name="connsiteY258" fmla="*/ 117068 h 669699"/>
                <a:gd name="connsiteX259" fmla="*/ 266276 w 645199"/>
                <a:gd name="connsiteY259" fmla="*/ 118904 h 669699"/>
                <a:gd name="connsiteX260" fmla="*/ 265814 w 645199"/>
                <a:gd name="connsiteY260" fmla="*/ 120810 h 669699"/>
                <a:gd name="connsiteX261" fmla="*/ 265924 w 645199"/>
                <a:gd name="connsiteY261" fmla="*/ 121707 h 669699"/>
                <a:gd name="connsiteX262" fmla="*/ 267466 w 645199"/>
                <a:gd name="connsiteY262" fmla="*/ 121879 h 669699"/>
                <a:gd name="connsiteX263" fmla="*/ 270752 w 645199"/>
                <a:gd name="connsiteY263" fmla="*/ 123138 h 669699"/>
                <a:gd name="connsiteX264" fmla="*/ 273659 w 645199"/>
                <a:gd name="connsiteY264" fmla="*/ 124253 h 669699"/>
                <a:gd name="connsiteX265" fmla="*/ 275159 w 645199"/>
                <a:gd name="connsiteY265" fmla="*/ 124609 h 669699"/>
                <a:gd name="connsiteX266" fmla="*/ 276779 w 645199"/>
                <a:gd name="connsiteY266" fmla="*/ 125435 h 669699"/>
                <a:gd name="connsiteX267" fmla="*/ 278209 w 645199"/>
                <a:gd name="connsiteY267" fmla="*/ 126756 h 669699"/>
                <a:gd name="connsiteX268" fmla="*/ 281011 w 645199"/>
                <a:gd name="connsiteY268" fmla="*/ 128450 h 669699"/>
                <a:gd name="connsiteX269" fmla="*/ 283486 w 645199"/>
                <a:gd name="connsiteY269" fmla="*/ 129746 h 669699"/>
                <a:gd name="connsiteX270" fmla="*/ 284035 w 645199"/>
                <a:gd name="connsiteY270" fmla="*/ 131506 h 669699"/>
                <a:gd name="connsiteX271" fmla="*/ 283059 w 645199"/>
                <a:gd name="connsiteY271" fmla="*/ 131129 h 669699"/>
                <a:gd name="connsiteX272" fmla="*/ 281765 w 645199"/>
                <a:gd name="connsiteY272" fmla="*/ 131325 h 669699"/>
                <a:gd name="connsiteX273" fmla="*/ 280450 w 645199"/>
                <a:gd name="connsiteY273" fmla="*/ 132105 h 669699"/>
                <a:gd name="connsiteX274" fmla="*/ 279826 w 645199"/>
                <a:gd name="connsiteY274" fmla="*/ 132600 h 669699"/>
                <a:gd name="connsiteX275" fmla="*/ 276822 w 645199"/>
                <a:gd name="connsiteY275" fmla="*/ 135626 h 669699"/>
                <a:gd name="connsiteX276" fmla="*/ 275248 w 645199"/>
                <a:gd name="connsiteY276" fmla="*/ 136558 h 669699"/>
                <a:gd name="connsiteX277" fmla="*/ 273836 w 645199"/>
                <a:gd name="connsiteY277" fmla="*/ 137914 h 669699"/>
                <a:gd name="connsiteX278" fmla="*/ 270582 w 645199"/>
                <a:gd name="connsiteY278" fmla="*/ 142012 h 669699"/>
                <a:gd name="connsiteX279" fmla="*/ 268703 w 645199"/>
                <a:gd name="connsiteY279" fmla="*/ 145833 h 669699"/>
                <a:gd name="connsiteX280" fmla="*/ 267332 w 645199"/>
                <a:gd name="connsiteY280" fmla="*/ 149422 h 669699"/>
                <a:gd name="connsiteX281" fmla="*/ 267356 w 645199"/>
                <a:gd name="connsiteY281" fmla="*/ 151962 h 669699"/>
                <a:gd name="connsiteX282" fmla="*/ 266848 w 645199"/>
                <a:gd name="connsiteY282" fmla="*/ 154935 h 669699"/>
                <a:gd name="connsiteX283" fmla="*/ 265445 w 645199"/>
                <a:gd name="connsiteY283" fmla="*/ 156628 h 669699"/>
                <a:gd name="connsiteX284" fmla="*/ 264581 w 645199"/>
                <a:gd name="connsiteY284" fmla="*/ 157204 h 669699"/>
                <a:gd name="connsiteX285" fmla="*/ 263566 w 645199"/>
                <a:gd name="connsiteY285" fmla="*/ 159760 h 669699"/>
                <a:gd name="connsiteX286" fmla="*/ 262838 w 645199"/>
                <a:gd name="connsiteY286" fmla="*/ 162739 h 669699"/>
                <a:gd name="connsiteX287" fmla="*/ 263259 w 645199"/>
                <a:gd name="connsiteY287" fmla="*/ 163703 h 669699"/>
                <a:gd name="connsiteX288" fmla="*/ 265004 w 645199"/>
                <a:gd name="connsiteY288" fmla="*/ 165003 h 669699"/>
                <a:gd name="connsiteX289" fmla="*/ 266706 w 645199"/>
                <a:gd name="connsiteY289" fmla="*/ 166270 h 669699"/>
                <a:gd name="connsiteX290" fmla="*/ 268878 w 645199"/>
                <a:gd name="connsiteY290" fmla="*/ 167637 h 669699"/>
                <a:gd name="connsiteX291" fmla="*/ 270951 w 645199"/>
                <a:gd name="connsiteY291" fmla="*/ 168943 h 669699"/>
                <a:gd name="connsiteX292" fmla="*/ 272290 w 645199"/>
                <a:gd name="connsiteY292" fmla="*/ 169114 h 669699"/>
                <a:gd name="connsiteX293" fmla="*/ 272659 w 645199"/>
                <a:gd name="connsiteY293" fmla="*/ 168372 h 669699"/>
                <a:gd name="connsiteX294" fmla="*/ 273147 w 645199"/>
                <a:gd name="connsiteY294" fmla="*/ 167667 h 669699"/>
                <a:gd name="connsiteX295" fmla="*/ 274676 w 645199"/>
                <a:gd name="connsiteY295" fmla="*/ 168041 h 669699"/>
                <a:gd name="connsiteX296" fmla="*/ 276540 w 645199"/>
                <a:gd name="connsiteY296" fmla="*/ 169321 h 669699"/>
                <a:gd name="connsiteX297" fmla="*/ 277753 w 645199"/>
                <a:gd name="connsiteY297" fmla="*/ 170337 h 669699"/>
                <a:gd name="connsiteX298" fmla="*/ 278297 w 645199"/>
                <a:gd name="connsiteY298" fmla="*/ 170678 h 669699"/>
                <a:gd name="connsiteX299" fmla="*/ 281511 w 645199"/>
                <a:gd name="connsiteY299" fmla="*/ 172385 h 669699"/>
                <a:gd name="connsiteX300" fmla="*/ 284175 w 645199"/>
                <a:gd name="connsiteY300" fmla="*/ 173799 h 669699"/>
                <a:gd name="connsiteX301" fmla="*/ 287544 w 645199"/>
                <a:gd name="connsiteY301" fmla="*/ 175586 h 669699"/>
                <a:gd name="connsiteX302" fmla="*/ 288369 w 645199"/>
                <a:gd name="connsiteY302" fmla="*/ 176679 h 669699"/>
                <a:gd name="connsiteX303" fmla="*/ 289092 w 645199"/>
                <a:gd name="connsiteY303" fmla="*/ 177842 h 669699"/>
                <a:gd name="connsiteX304" fmla="*/ 290681 w 645199"/>
                <a:gd name="connsiteY304" fmla="*/ 179386 h 669699"/>
                <a:gd name="connsiteX305" fmla="*/ 294555 w 645199"/>
                <a:gd name="connsiteY305" fmla="*/ 182118 h 669699"/>
                <a:gd name="connsiteX306" fmla="*/ 297861 w 645199"/>
                <a:gd name="connsiteY306" fmla="*/ 184073 h 669699"/>
                <a:gd name="connsiteX307" fmla="*/ 300552 w 645199"/>
                <a:gd name="connsiteY307" fmla="*/ 185667 h 669699"/>
                <a:gd name="connsiteX308" fmla="*/ 302662 w 645199"/>
                <a:gd name="connsiteY308" fmla="*/ 186784 h 669699"/>
                <a:gd name="connsiteX309" fmla="*/ 303640 w 645199"/>
                <a:gd name="connsiteY309" fmla="*/ 186608 h 669699"/>
                <a:gd name="connsiteX310" fmla="*/ 304709 w 645199"/>
                <a:gd name="connsiteY310" fmla="*/ 186015 h 669699"/>
                <a:gd name="connsiteX311" fmla="*/ 305648 w 645199"/>
                <a:gd name="connsiteY311" fmla="*/ 185668 h 669699"/>
                <a:gd name="connsiteX312" fmla="*/ 306739 w 645199"/>
                <a:gd name="connsiteY312" fmla="*/ 185983 h 669699"/>
                <a:gd name="connsiteX313" fmla="*/ 308395 w 645199"/>
                <a:gd name="connsiteY313" fmla="*/ 186835 h 669699"/>
                <a:gd name="connsiteX314" fmla="*/ 312282 w 645199"/>
                <a:gd name="connsiteY314" fmla="*/ 189425 h 669699"/>
                <a:gd name="connsiteX315" fmla="*/ 315901 w 645199"/>
                <a:gd name="connsiteY315" fmla="*/ 191448 h 669699"/>
                <a:gd name="connsiteX316" fmla="*/ 319848 w 645199"/>
                <a:gd name="connsiteY316" fmla="*/ 191084 h 669699"/>
                <a:gd name="connsiteX317" fmla="*/ 320897 w 645199"/>
                <a:gd name="connsiteY317" fmla="*/ 191409 h 669699"/>
                <a:gd name="connsiteX318" fmla="*/ 321638 w 645199"/>
                <a:gd name="connsiteY318" fmla="*/ 193241 h 669699"/>
                <a:gd name="connsiteX319" fmla="*/ 322137 w 645199"/>
                <a:gd name="connsiteY319" fmla="*/ 195095 h 669699"/>
                <a:gd name="connsiteX320" fmla="*/ 326547 w 645199"/>
                <a:gd name="connsiteY320" fmla="*/ 196318 h 669699"/>
                <a:gd name="connsiteX321" fmla="*/ 329449 w 645199"/>
                <a:gd name="connsiteY321" fmla="*/ 196870 h 669699"/>
                <a:gd name="connsiteX322" fmla="*/ 332761 w 645199"/>
                <a:gd name="connsiteY322" fmla="*/ 197877 h 669699"/>
                <a:gd name="connsiteX323" fmla="*/ 334439 w 645199"/>
                <a:gd name="connsiteY323" fmla="*/ 198623 h 669699"/>
                <a:gd name="connsiteX324" fmla="*/ 336201 w 645199"/>
                <a:gd name="connsiteY324" fmla="*/ 197688 h 669699"/>
                <a:gd name="connsiteX325" fmla="*/ 336523 w 645199"/>
                <a:gd name="connsiteY325" fmla="*/ 196863 h 669699"/>
                <a:gd name="connsiteX326" fmla="*/ 337920 w 645199"/>
                <a:gd name="connsiteY326" fmla="*/ 196374 h 669699"/>
                <a:gd name="connsiteX327" fmla="*/ 340231 w 645199"/>
                <a:gd name="connsiteY327" fmla="*/ 196588 h 669699"/>
                <a:gd name="connsiteX328" fmla="*/ 344549 w 645199"/>
                <a:gd name="connsiteY328" fmla="*/ 198028 h 669699"/>
                <a:gd name="connsiteX329" fmla="*/ 346359 w 645199"/>
                <a:gd name="connsiteY329" fmla="*/ 198460 h 669699"/>
                <a:gd name="connsiteX330" fmla="*/ 347871 w 645199"/>
                <a:gd name="connsiteY330" fmla="*/ 197095 h 669699"/>
                <a:gd name="connsiteX331" fmla="*/ 350693 w 645199"/>
                <a:gd name="connsiteY331" fmla="*/ 196462 h 669699"/>
                <a:gd name="connsiteX332" fmla="*/ 352157 w 645199"/>
                <a:gd name="connsiteY332" fmla="*/ 195754 h 669699"/>
                <a:gd name="connsiteX333" fmla="*/ 355225 w 645199"/>
                <a:gd name="connsiteY333" fmla="*/ 197268 h 669699"/>
                <a:gd name="connsiteX334" fmla="*/ 360777 w 645199"/>
                <a:gd name="connsiteY334" fmla="*/ 199167 h 669699"/>
                <a:gd name="connsiteX335" fmla="*/ 363636 w 645199"/>
                <a:gd name="connsiteY335" fmla="*/ 200346 h 669699"/>
                <a:gd name="connsiteX336" fmla="*/ 364312 w 645199"/>
                <a:gd name="connsiteY336" fmla="*/ 201509 h 669699"/>
                <a:gd name="connsiteX337" fmla="*/ 364623 w 645199"/>
                <a:gd name="connsiteY337" fmla="*/ 202609 h 669699"/>
                <a:gd name="connsiteX338" fmla="*/ 364601 w 645199"/>
                <a:gd name="connsiteY338" fmla="*/ 205274 h 669699"/>
                <a:gd name="connsiteX339" fmla="*/ 365299 w 645199"/>
                <a:gd name="connsiteY339" fmla="*/ 206480 h 669699"/>
                <a:gd name="connsiteX340" fmla="*/ 370868 w 645199"/>
                <a:gd name="connsiteY340" fmla="*/ 209193 h 669699"/>
                <a:gd name="connsiteX341" fmla="*/ 372701 w 645199"/>
                <a:gd name="connsiteY341" fmla="*/ 210343 h 669699"/>
                <a:gd name="connsiteX342" fmla="*/ 374187 w 645199"/>
                <a:gd name="connsiteY342" fmla="*/ 210714 h 669699"/>
                <a:gd name="connsiteX343" fmla="*/ 375029 w 645199"/>
                <a:gd name="connsiteY343" fmla="*/ 210760 h 669699"/>
                <a:gd name="connsiteX344" fmla="*/ 375608 w 645199"/>
                <a:gd name="connsiteY344" fmla="*/ 211101 h 669699"/>
                <a:gd name="connsiteX345" fmla="*/ 376106 w 645199"/>
                <a:gd name="connsiteY345" fmla="*/ 212648 h 669699"/>
                <a:gd name="connsiteX346" fmla="*/ 376497 w 645199"/>
                <a:gd name="connsiteY346" fmla="*/ 213004 h 669699"/>
                <a:gd name="connsiteX347" fmla="*/ 377568 w 645199"/>
                <a:gd name="connsiteY347" fmla="*/ 213389 h 669699"/>
                <a:gd name="connsiteX348" fmla="*/ 378735 w 645199"/>
                <a:gd name="connsiteY348" fmla="*/ 213610 h 669699"/>
                <a:gd name="connsiteX349" fmla="*/ 382349 w 645199"/>
                <a:gd name="connsiteY349" fmla="*/ 212275 h 669699"/>
                <a:gd name="connsiteX350" fmla="*/ 384826 w 645199"/>
                <a:gd name="connsiteY350" fmla="*/ 211262 h 669699"/>
                <a:gd name="connsiteX351" fmla="*/ 386595 w 645199"/>
                <a:gd name="connsiteY351" fmla="*/ 211520 h 669699"/>
                <a:gd name="connsiteX352" fmla="*/ 387733 w 645199"/>
                <a:gd name="connsiteY352" fmla="*/ 212645 h 669699"/>
                <a:gd name="connsiteX353" fmla="*/ 387899 w 645199"/>
                <a:gd name="connsiteY353" fmla="*/ 214284 h 669699"/>
                <a:gd name="connsiteX354" fmla="*/ 388560 w 645199"/>
                <a:gd name="connsiteY354" fmla="*/ 216014 h 669699"/>
                <a:gd name="connsiteX355" fmla="*/ 389825 w 645199"/>
                <a:gd name="connsiteY355" fmla="*/ 216859 h 669699"/>
                <a:gd name="connsiteX356" fmla="*/ 391177 w 645199"/>
                <a:gd name="connsiteY356" fmla="*/ 216953 h 669699"/>
                <a:gd name="connsiteX357" fmla="*/ 394530 w 645199"/>
                <a:gd name="connsiteY357" fmla="*/ 215786 h 669699"/>
                <a:gd name="connsiteX358" fmla="*/ 397230 w 645199"/>
                <a:gd name="connsiteY358" fmla="*/ 216679 h 669699"/>
                <a:gd name="connsiteX359" fmla="*/ 399711 w 645199"/>
                <a:gd name="connsiteY359" fmla="*/ 217005 h 669699"/>
                <a:gd name="connsiteX360" fmla="*/ 402464 w 645199"/>
                <a:gd name="connsiteY360" fmla="*/ 217565 h 669699"/>
                <a:gd name="connsiteX361" fmla="*/ 403533 w 645199"/>
                <a:gd name="connsiteY361" fmla="*/ 217994 h 669699"/>
                <a:gd name="connsiteX362" fmla="*/ 406390 w 645199"/>
                <a:gd name="connsiteY362" fmla="*/ 219425 h 669699"/>
                <a:gd name="connsiteX363" fmla="*/ 409877 w 645199"/>
                <a:gd name="connsiteY363" fmla="*/ 220870 h 669699"/>
                <a:gd name="connsiteX364" fmla="*/ 411229 w 645199"/>
                <a:gd name="connsiteY364" fmla="*/ 220707 h 669699"/>
                <a:gd name="connsiteX365" fmla="*/ 416843 w 645199"/>
                <a:gd name="connsiteY365" fmla="*/ 218015 h 669699"/>
                <a:gd name="connsiteX366" fmla="*/ 417318 w 645199"/>
                <a:gd name="connsiteY366" fmla="*/ 218343 h 669699"/>
                <a:gd name="connsiteX367" fmla="*/ 418461 w 645199"/>
                <a:gd name="connsiteY367" fmla="*/ 220914 h 669699"/>
                <a:gd name="connsiteX368" fmla="*/ 420169 w 645199"/>
                <a:gd name="connsiteY368" fmla="*/ 221838 h 669699"/>
                <a:gd name="connsiteX369" fmla="*/ 422836 w 645199"/>
                <a:gd name="connsiteY369" fmla="*/ 222642 h 669699"/>
                <a:gd name="connsiteX370" fmla="*/ 425625 w 645199"/>
                <a:gd name="connsiteY370" fmla="*/ 221157 h 669699"/>
                <a:gd name="connsiteX371" fmla="*/ 427826 w 645199"/>
                <a:gd name="connsiteY371" fmla="*/ 221583 h 669699"/>
                <a:gd name="connsiteX372" fmla="*/ 430486 w 645199"/>
                <a:gd name="connsiteY372" fmla="*/ 221722 h 669699"/>
                <a:gd name="connsiteX373" fmla="*/ 433039 w 645199"/>
                <a:gd name="connsiteY373" fmla="*/ 221007 h 669699"/>
                <a:gd name="connsiteX374" fmla="*/ 435259 w 645199"/>
                <a:gd name="connsiteY374" fmla="*/ 220826 h 669699"/>
                <a:gd name="connsiteX375" fmla="*/ 438485 w 645199"/>
                <a:gd name="connsiteY375" fmla="*/ 222119 h 669699"/>
                <a:gd name="connsiteX376" fmla="*/ 439189 w 645199"/>
                <a:gd name="connsiteY376" fmla="*/ 221819 h 669699"/>
                <a:gd name="connsiteX377" fmla="*/ 439806 w 645199"/>
                <a:gd name="connsiteY377" fmla="*/ 220989 h 669699"/>
                <a:gd name="connsiteX378" fmla="*/ 441059 w 645199"/>
                <a:gd name="connsiteY378" fmla="*/ 217280 h 669699"/>
                <a:gd name="connsiteX379" fmla="*/ 442164 w 645199"/>
                <a:gd name="connsiteY379" fmla="*/ 213995 h 669699"/>
                <a:gd name="connsiteX380" fmla="*/ 442069 w 645199"/>
                <a:gd name="connsiteY380" fmla="*/ 212035 h 669699"/>
                <a:gd name="connsiteX381" fmla="*/ 441048 w 645199"/>
                <a:gd name="connsiteY381" fmla="*/ 209156 h 669699"/>
                <a:gd name="connsiteX382" fmla="*/ 438441 w 645199"/>
                <a:gd name="connsiteY382" fmla="*/ 205408 h 669699"/>
                <a:gd name="connsiteX383" fmla="*/ 438247 w 645199"/>
                <a:gd name="connsiteY383" fmla="*/ 204269 h 669699"/>
                <a:gd name="connsiteX384" fmla="*/ 439126 w 645199"/>
                <a:gd name="connsiteY384" fmla="*/ 197720 h 669699"/>
                <a:gd name="connsiteX385" fmla="*/ 440094 w 645199"/>
                <a:gd name="connsiteY385" fmla="*/ 193940 h 669699"/>
                <a:gd name="connsiteX386" fmla="*/ 440927 w 645199"/>
                <a:gd name="connsiteY386" fmla="*/ 192150 h 669699"/>
                <a:gd name="connsiteX387" fmla="*/ 441843 w 645199"/>
                <a:gd name="connsiteY387" fmla="*/ 189600 h 669699"/>
                <a:gd name="connsiteX388" fmla="*/ 442004 w 645199"/>
                <a:gd name="connsiteY388" fmla="*/ 188418 h 669699"/>
                <a:gd name="connsiteX389" fmla="*/ 441916 w 645199"/>
                <a:gd name="connsiteY389" fmla="*/ 187352 h 669699"/>
                <a:gd name="connsiteX390" fmla="*/ 441020 w 645199"/>
                <a:gd name="connsiteY390" fmla="*/ 186700 h 669699"/>
                <a:gd name="connsiteX391" fmla="*/ 440780 w 645199"/>
                <a:gd name="connsiteY391" fmla="*/ 185889 h 669699"/>
                <a:gd name="connsiteX392" fmla="*/ 441002 w 645199"/>
                <a:gd name="connsiteY392" fmla="*/ 185208 h 669699"/>
                <a:gd name="connsiteX393" fmla="*/ 441713 w 645199"/>
                <a:gd name="connsiteY393" fmla="*/ 184828 h 669699"/>
                <a:gd name="connsiteX394" fmla="*/ 444678 w 645199"/>
                <a:gd name="connsiteY394" fmla="*/ 184351 h 669699"/>
                <a:gd name="connsiteX395" fmla="*/ 448012 w 645199"/>
                <a:gd name="connsiteY395" fmla="*/ 183327 h 669699"/>
                <a:gd name="connsiteX396" fmla="*/ 449342 w 645199"/>
                <a:gd name="connsiteY396" fmla="*/ 182782 h 669699"/>
                <a:gd name="connsiteX397" fmla="*/ 450348 w 645199"/>
                <a:gd name="connsiteY397" fmla="*/ 182234 h 669699"/>
                <a:gd name="connsiteX398" fmla="*/ 451372 w 645199"/>
                <a:gd name="connsiteY398" fmla="*/ 181373 h 669699"/>
                <a:gd name="connsiteX399" fmla="*/ 452327 w 645199"/>
                <a:gd name="connsiteY399" fmla="*/ 181409 h 669699"/>
                <a:gd name="connsiteX400" fmla="*/ 455315 w 645199"/>
                <a:gd name="connsiteY400" fmla="*/ 182657 h 669699"/>
                <a:gd name="connsiteX401" fmla="*/ 456364 w 645199"/>
                <a:gd name="connsiteY401" fmla="*/ 183440 h 669699"/>
                <a:gd name="connsiteX402" fmla="*/ 456915 w 645199"/>
                <a:gd name="connsiteY402" fmla="*/ 185824 h 669699"/>
                <a:gd name="connsiteX403" fmla="*/ 457362 w 645199"/>
                <a:gd name="connsiteY403" fmla="*/ 186746 h 669699"/>
                <a:gd name="connsiteX404" fmla="*/ 456943 w 645199"/>
                <a:gd name="connsiteY404" fmla="*/ 189166 h 669699"/>
                <a:gd name="connsiteX405" fmla="*/ 455155 w 645199"/>
                <a:gd name="connsiteY405" fmla="*/ 195026 h 669699"/>
                <a:gd name="connsiteX406" fmla="*/ 455505 w 645199"/>
                <a:gd name="connsiteY406" fmla="*/ 197219 h 669699"/>
                <a:gd name="connsiteX407" fmla="*/ 457001 w 645199"/>
                <a:gd name="connsiteY407" fmla="*/ 198817 h 669699"/>
                <a:gd name="connsiteX408" fmla="*/ 458304 w 645199"/>
                <a:gd name="connsiteY408" fmla="*/ 199932 h 669699"/>
                <a:gd name="connsiteX409" fmla="*/ 458087 w 645199"/>
                <a:gd name="connsiteY409" fmla="*/ 200375 h 669699"/>
                <a:gd name="connsiteX410" fmla="*/ 455405 w 645199"/>
                <a:gd name="connsiteY410" fmla="*/ 202265 h 669699"/>
                <a:gd name="connsiteX411" fmla="*/ 454929 w 645199"/>
                <a:gd name="connsiteY411" fmla="*/ 203278 h 669699"/>
                <a:gd name="connsiteX412" fmla="*/ 455522 w 645199"/>
                <a:gd name="connsiteY412" fmla="*/ 204262 h 669699"/>
                <a:gd name="connsiteX413" fmla="*/ 456583 w 645199"/>
                <a:gd name="connsiteY413" fmla="*/ 205100 h 669699"/>
                <a:gd name="connsiteX414" fmla="*/ 457060 w 645199"/>
                <a:gd name="connsiteY414" fmla="*/ 205896 h 669699"/>
                <a:gd name="connsiteX415" fmla="*/ 457556 w 645199"/>
                <a:gd name="connsiteY415" fmla="*/ 208371 h 669699"/>
                <a:gd name="connsiteX416" fmla="*/ 458917 w 645199"/>
                <a:gd name="connsiteY416" fmla="*/ 209067 h 669699"/>
                <a:gd name="connsiteX417" fmla="*/ 461610 w 645199"/>
                <a:gd name="connsiteY417" fmla="*/ 210664 h 669699"/>
                <a:gd name="connsiteX418" fmla="*/ 463982 w 645199"/>
                <a:gd name="connsiteY418" fmla="*/ 211825 h 669699"/>
                <a:gd name="connsiteX419" fmla="*/ 468049 w 645199"/>
                <a:gd name="connsiteY419" fmla="*/ 211053 h 669699"/>
                <a:gd name="connsiteX420" fmla="*/ 469200 w 645199"/>
                <a:gd name="connsiteY420" fmla="*/ 211578 h 669699"/>
                <a:gd name="connsiteX421" fmla="*/ 471200 w 645199"/>
                <a:gd name="connsiteY421" fmla="*/ 212128 h 669699"/>
                <a:gd name="connsiteX422" fmla="*/ 472759 w 645199"/>
                <a:gd name="connsiteY422" fmla="*/ 212298 h 669699"/>
                <a:gd name="connsiteX423" fmla="*/ 473666 w 645199"/>
                <a:gd name="connsiteY423" fmla="*/ 212709 h 669699"/>
                <a:gd name="connsiteX424" fmla="*/ 474175 w 645199"/>
                <a:gd name="connsiteY424" fmla="*/ 213107 h 669699"/>
                <a:gd name="connsiteX425" fmla="*/ 474108 w 645199"/>
                <a:gd name="connsiteY425" fmla="*/ 213608 h 669699"/>
                <a:gd name="connsiteX426" fmla="*/ 474193 w 645199"/>
                <a:gd name="connsiteY426" fmla="*/ 214123 h 669699"/>
                <a:gd name="connsiteX427" fmla="*/ 476425 w 645199"/>
                <a:gd name="connsiteY427" fmla="*/ 214254 h 669699"/>
                <a:gd name="connsiteX428" fmla="*/ 477596 w 645199"/>
                <a:gd name="connsiteY428" fmla="*/ 214547 h 669699"/>
                <a:gd name="connsiteX429" fmla="*/ 481560 w 645199"/>
                <a:gd name="connsiteY429" fmla="*/ 214016 h 669699"/>
                <a:gd name="connsiteX430" fmla="*/ 485535 w 645199"/>
                <a:gd name="connsiteY430" fmla="*/ 213288 h 669699"/>
                <a:gd name="connsiteX431" fmla="*/ 487373 w 645199"/>
                <a:gd name="connsiteY431" fmla="*/ 211080 h 669699"/>
                <a:gd name="connsiteX432" fmla="*/ 488176 w 645199"/>
                <a:gd name="connsiteY432" fmla="*/ 210922 h 669699"/>
                <a:gd name="connsiteX433" fmla="*/ 490465 w 645199"/>
                <a:gd name="connsiteY433" fmla="*/ 210063 h 669699"/>
                <a:gd name="connsiteX434" fmla="*/ 492716 w 645199"/>
                <a:gd name="connsiteY434" fmla="*/ 211003 h 669699"/>
                <a:gd name="connsiteX435" fmla="*/ 495197 w 645199"/>
                <a:gd name="connsiteY435" fmla="*/ 212290 h 669699"/>
                <a:gd name="connsiteX436" fmla="*/ 496533 w 645199"/>
                <a:gd name="connsiteY436" fmla="*/ 212679 h 669699"/>
                <a:gd name="connsiteX437" fmla="*/ 499172 w 645199"/>
                <a:gd name="connsiteY437" fmla="*/ 212882 h 669699"/>
                <a:gd name="connsiteX438" fmla="*/ 501740 w 645199"/>
                <a:gd name="connsiteY438" fmla="*/ 212738 h 669699"/>
                <a:gd name="connsiteX439" fmla="*/ 507890 w 645199"/>
                <a:gd name="connsiteY439" fmla="*/ 212128 h 669699"/>
                <a:gd name="connsiteX440" fmla="*/ 511265 w 645199"/>
                <a:gd name="connsiteY440" fmla="*/ 212448 h 669699"/>
                <a:gd name="connsiteX441" fmla="*/ 514365 w 645199"/>
                <a:gd name="connsiteY441" fmla="*/ 210615 h 669699"/>
                <a:gd name="connsiteX442" fmla="*/ 515009 w 645199"/>
                <a:gd name="connsiteY442" fmla="*/ 210620 h 669699"/>
                <a:gd name="connsiteX443" fmla="*/ 516374 w 645199"/>
                <a:gd name="connsiteY443" fmla="*/ 212035 h 669699"/>
                <a:gd name="connsiteX444" fmla="*/ 519779 w 645199"/>
                <a:gd name="connsiteY444" fmla="*/ 212162 h 669699"/>
                <a:gd name="connsiteX445" fmla="*/ 521595 w 645199"/>
                <a:gd name="connsiteY445" fmla="*/ 211478 h 669699"/>
                <a:gd name="connsiteX446" fmla="*/ 523549 w 645199"/>
                <a:gd name="connsiteY446" fmla="*/ 210950 h 669699"/>
                <a:gd name="connsiteX447" fmla="*/ 524800 w 645199"/>
                <a:gd name="connsiteY447" fmla="*/ 210782 h 669699"/>
                <a:gd name="connsiteX448" fmla="*/ 525797 w 645199"/>
                <a:gd name="connsiteY448" fmla="*/ 210764 h 669699"/>
                <a:gd name="connsiteX449" fmla="*/ 527004 w 645199"/>
                <a:gd name="connsiteY449" fmla="*/ 210903 h 669699"/>
                <a:gd name="connsiteX450" fmla="*/ 528141 w 645199"/>
                <a:gd name="connsiteY450" fmla="*/ 210431 h 669699"/>
                <a:gd name="connsiteX451" fmla="*/ 528665 w 645199"/>
                <a:gd name="connsiteY451" fmla="*/ 209480 h 669699"/>
                <a:gd name="connsiteX452" fmla="*/ 528548 w 645199"/>
                <a:gd name="connsiteY452" fmla="*/ 208045 h 669699"/>
                <a:gd name="connsiteX453" fmla="*/ 527724 w 645199"/>
                <a:gd name="connsiteY453" fmla="*/ 206484 h 669699"/>
                <a:gd name="connsiteX454" fmla="*/ 527011 w 645199"/>
                <a:gd name="connsiteY454" fmla="*/ 205569 h 669699"/>
                <a:gd name="connsiteX455" fmla="*/ 526871 w 645199"/>
                <a:gd name="connsiteY455" fmla="*/ 205079 h 669699"/>
                <a:gd name="connsiteX456" fmla="*/ 527097 w 645199"/>
                <a:gd name="connsiteY456" fmla="*/ 203949 h 669699"/>
                <a:gd name="connsiteX457" fmla="*/ 527730 w 645199"/>
                <a:gd name="connsiteY457" fmla="*/ 202356 h 669699"/>
                <a:gd name="connsiteX458" fmla="*/ 528885 w 645199"/>
                <a:gd name="connsiteY458" fmla="*/ 200538 h 669699"/>
                <a:gd name="connsiteX459" fmla="*/ 528034 w 645199"/>
                <a:gd name="connsiteY459" fmla="*/ 198773 h 669699"/>
                <a:gd name="connsiteX460" fmla="*/ 526838 w 645199"/>
                <a:gd name="connsiteY460" fmla="*/ 196735 h 669699"/>
                <a:gd name="connsiteX461" fmla="*/ 525957 w 645199"/>
                <a:gd name="connsiteY461" fmla="*/ 196542 h 669699"/>
                <a:gd name="connsiteX462" fmla="*/ 523752 w 645199"/>
                <a:gd name="connsiteY462" fmla="*/ 197011 h 669699"/>
                <a:gd name="connsiteX463" fmla="*/ 521360 w 645199"/>
                <a:gd name="connsiteY463" fmla="*/ 196918 h 669699"/>
                <a:gd name="connsiteX464" fmla="*/ 519481 w 645199"/>
                <a:gd name="connsiteY464" fmla="*/ 195700 h 669699"/>
                <a:gd name="connsiteX465" fmla="*/ 518080 w 645199"/>
                <a:gd name="connsiteY465" fmla="*/ 194172 h 669699"/>
                <a:gd name="connsiteX466" fmla="*/ 517739 w 645199"/>
                <a:gd name="connsiteY466" fmla="*/ 192889 h 669699"/>
                <a:gd name="connsiteX467" fmla="*/ 518144 w 645199"/>
                <a:gd name="connsiteY467" fmla="*/ 191324 h 669699"/>
                <a:gd name="connsiteX468" fmla="*/ 518768 w 645199"/>
                <a:gd name="connsiteY468" fmla="*/ 189885 h 669699"/>
                <a:gd name="connsiteX469" fmla="*/ 518902 w 645199"/>
                <a:gd name="connsiteY469" fmla="*/ 189344 h 669699"/>
                <a:gd name="connsiteX470" fmla="*/ 520686 w 645199"/>
                <a:gd name="connsiteY470" fmla="*/ 189347 h 669699"/>
                <a:gd name="connsiteX471" fmla="*/ 523165 w 645199"/>
                <a:gd name="connsiteY471" fmla="*/ 189666 h 669699"/>
                <a:gd name="connsiteX472" fmla="*/ 525038 w 645199"/>
                <a:gd name="connsiteY472" fmla="*/ 190066 h 669699"/>
                <a:gd name="connsiteX473" fmla="*/ 526547 w 645199"/>
                <a:gd name="connsiteY473" fmla="*/ 190050 h 669699"/>
                <a:gd name="connsiteX474" fmla="*/ 529281 w 645199"/>
                <a:gd name="connsiteY474" fmla="*/ 188205 h 669699"/>
                <a:gd name="connsiteX475" fmla="*/ 530526 w 645199"/>
                <a:gd name="connsiteY475" fmla="*/ 188094 h 669699"/>
                <a:gd name="connsiteX476" fmla="*/ 531956 w 645199"/>
                <a:gd name="connsiteY476" fmla="*/ 187743 h 669699"/>
                <a:gd name="connsiteX477" fmla="*/ 532580 w 645199"/>
                <a:gd name="connsiteY477" fmla="*/ 187395 h 669699"/>
                <a:gd name="connsiteX478" fmla="*/ 533014 w 645199"/>
                <a:gd name="connsiteY478" fmla="*/ 187665 h 669699"/>
                <a:gd name="connsiteX479" fmla="*/ 534582 w 645199"/>
                <a:gd name="connsiteY479" fmla="*/ 187891 h 669699"/>
                <a:gd name="connsiteX480" fmla="*/ 536214 w 645199"/>
                <a:gd name="connsiteY480" fmla="*/ 187799 h 669699"/>
                <a:gd name="connsiteX481" fmla="*/ 537669 w 645199"/>
                <a:gd name="connsiteY481" fmla="*/ 187289 h 669699"/>
                <a:gd name="connsiteX482" fmla="*/ 539130 w 645199"/>
                <a:gd name="connsiteY482" fmla="*/ 186494 h 669699"/>
                <a:gd name="connsiteX483" fmla="*/ 541731 w 645199"/>
                <a:gd name="connsiteY483" fmla="*/ 184828 h 669699"/>
                <a:gd name="connsiteX484" fmla="*/ 542250 w 645199"/>
                <a:gd name="connsiteY484" fmla="*/ 183870 h 669699"/>
                <a:gd name="connsiteX485" fmla="*/ 542244 w 645199"/>
                <a:gd name="connsiteY485" fmla="*/ 182991 h 669699"/>
                <a:gd name="connsiteX486" fmla="*/ 541760 w 645199"/>
                <a:gd name="connsiteY486" fmla="*/ 182414 h 669699"/>
                <a:gd name="connsiteX487" fmla="*/ 541269 w 645199"/>
                <a:gd name="connsiteY487" fmla="*/ 182135 h 669699"/>
                <a:gd name="connsiteX488" fmla="*/ 541470 w 645199"/>
                <a:gd name="connsiteY488" fmla="*/ 181373 h 669699"/>
                <a:gd name="connsiteX489" fmla="*/ 542561 w 645199"/>
                <a:gd name="connsiteY489" fmla="*/ 180086 h 669699"/>
                <a:gd name="connsiteX490" fmla="*/ 546540 w 645199"/>
                <a:gd name="connsiteY490" fmla="*/ 178147 h 669699"/>
                <a:gd name="connsiteX491" fmla="*/ 549926 w 645199"/>
                <a:gd name="connsiteY491" fmla="*/ 175763 h 669699"/>
                <a:gd name="connsiteX492" fmla="*/ 551790 w 645199"/>
                <a:gd name="connsiteY492" fmla="*/ 173974 h 669699"/>
                <a:gd name="connsiteX493" fmla="*/ 552643 w 645199"/>
                <a:gd name="connsiteY493" fmla="*/ 171805 h 669699"/>
                <a:gd name="connsiteX494" fmla="*/ 553720 w 645199"/>
                <a:gd name="connsiteY494" fmla="*/ 169452 h 669699"/>
                <a:gd name="connsiteX495" fmla="*/ 554724 w 645199"/>
                <a:gd name="connsiteY495" fmla="*/ 168523 h 669699"/>
                <a:gd name="connsiteX496" fmla="*/ 557126 w 645199"/>
                <a:gd name="connsiteY496" fmla="*/ 167934 h 669699"/>
                <a:gd name="connsiteX497" fmla="*/ 563856 w 645199"/>
                <a:gd name="connsiteY497" fmla="*/ 167065 h 669699"/>
                <a:gd name="connsiteX498" fmla="*/ 565975 w 645199"/>
                <a:gd name="connsiteY498" fmla="*/ 166115 h 669699"/>
                <a:gd name="connsiteX499" fmla="*/ 569104 w 645199"/>
                <a:gd name="connsiteY499" fmla="*/ 164351 h 669699"/>
                <a:gd name="connsiteX500" fmla="*/ 570682 w 645199"/>
                <a:gd name="connsiteY500" fmla="*/ 162967 h 669699"/>
                <a:gd name="connsiteX501" fmla="*/ 571559 w 645199"/>
                <a:gd name="connsiteY501" fmla="*/ 161844 h 669699"/>
                <a:gd name="connsiteX502" fmla="*/ 571656 w 645199"/>
                <a:gd name="connsiteY502" fmla="*/ 160593 h 669699"/>
                <a:gd name="connsiteX503" fmla="*/ 573732 w 645199"/>
                <a:gd name="connsiteY503" fmla="*/ 160200 h 669699"/>
                <a:gd name="connsiteX504" fmla="*/ 575543 w 645199"/>
                <a:gd name="connsiteY504" fmla="*/ 158178 h 669699"/>
                <a:gd name="connsiteX505" fmla="*/ 577750 w 645199"/>
                <a:gd name="connsiteY505" fmla="*/ 156139 h 669699"/>
                <a:gd name="connsiteX506" fmla="*/ 581616 w 645199"/>
                <a:gd name="connsiteY506" fmla="*/ 154415 h 669699"/>
                <a:gd name="connsiteX507" fmla="*/ 585042 w 645199"/>
                <a:gd name="connsiteY507" fmla="*/ 152097 h 669699"/>
                <a:gd name="connsiteX508" fmla="*/ 586236 w 645199"/>
                <a:gd name="connsiteY508" fmla="*/ 152468 h 669699"/>
                <a:gd name="connsiteX509" fmla="*/ 587483 w 645199"/>
                <a:gd name="connsiteY509" fmla="*/ 153562 h 669699"/>
                <a:gd name="connsiteX510" fmla="*/ 588138 w 645199"/>
                <a:gd name="connsiteY510" fmla="*/ 154775 h 669699"/>
                <a:gd name="connsiteX511" fmla="*/ 588280 w 645199"/>
                <a:gd name="connsiteY511" fmla="*/ 155386 h 669699"/>
                <a:gd name="connsiteX512" fmla="*/ 592658 w 645199"/>
                <a:gd name="connsiteY512" fmla="*/ 156153 h 669699"/>
                <a:gd name="connsiteX513" fmla="*/ 593351 w 645199"/>
                <a:gd name="connsiteY513" fmla="*/ 156030 h 669699"/>
                <a:gd name="connsiteX514" fmla="*/ 596577 w 645199"/>
                <a:gd name="connsiteY514" fmla="*/ 157116 h 669699"/>
                <a:gd name="connsiteX515" fmla="*/ 599549 w 645199"/>
                <a:gd name="connsiteY515" fmla="*/ 158427 h 669699"/>
                <a:gd name="connsiteX516" fmla="*/ 601186 w 645199"/>
                <a:gd name="connsiteY516" fmla="*/ 158756 h 669699"/>
                <a:gd name="connsiteX517" fmla="*/ 601985 w 645199"/>
                <a:gd name="connsiteY517" fmla="*/ 158720 h 669699"/>
                <a:gd name="connsiteX518" fmla="*/ 602669 w 645199"/>
                <a:gd name="connsiteY518" fmla="*/ 158313 h 669699"/>
                <a:gd name="connsiteX519" fmla="*/ 603472 w 645199"/>
                <a:gd name="connsiteY519" fmla="*/ 157158 h 669699"/>
                <a:gd name="connsiteX520" fmla="*/ 604296 w 645199"/>
                <a:gd name="connsiteY520" fmla="*/ 156322 h 669699"/>
                <a:gd name="connsiteX521" fmla="*/ 604810 w 645199"/>
                <a:gd name="connsiteY521" fmla="*/ 155981 h 669699"/>
                <a:gd name="connsiteX522" fmla="*/ 604783 w 645199"/>
                <a:gd name="connsiteY522" fmla="*/ 154652 h 669699"/>
                <a:gd name="connsiteX523" fmla="*/ 609084 w 645199"/>
                <a:gd name="connsiteY523" fmla="*/ 152063 h 669699"/>
                <a:gd name="connsiteX524" fmla="*/ 612948 w 645199"/>
                <a:gd name="connsiteY524" fmla="*/ 150204 h 669699"/>
                <a:gd name="connsiteX525" fmla="*/ 616272 w 645199"/>
                <a:gd name="connsiteY525" fmla="*/ 148848 h 669699"/>
                <a:gd name="connsiteX526" fmla="*/ 617250 w 645199"/>
                <a:gd name="connsiteY526" fmla="*/ 149403 h 669699"/>
                <a:gd name="connsiteX527" fmla="*/ 618331 w 645199"/>
                <a:gd name="connsiteY527" fmla="*/ 150434 h 669699"/>
                <a:gd name="connsiteX528" fmla="*/ 619795 w 645199"/>
                <a:gd name="connsiteY528" fmla="*/ 153060 h 669699"/>
                <a:gd name="connsiteX529" fmla="*/ 620685 w 645199"/>
                <a:gd name="connsiteY529" fmla="*/ 153702 h 669699"/>
                <a:gd name="connsiteX530" fmla="*/ 622946 w 645199"/>
                <a:gd name="connsiteY530" fmla="*/ 153336 h 669699"/>
                <a:gd name="connsiteX531" fmla="*/ 623358 w 645199"/>
                <a:gd name="connsiteY531" fmla="*/ 153623 h 669699"/>
                <a:gd name="connsiteX532" fmla="*/ 623002 w 645199"/>
                <a:gd name="connsiteY532" fmla="*/ 154569 h 669699"/>
                <a:gd name="connsiteX533" fmla="*/ 621471 w 645199"/>
                <a:gd name="connsiteY533" fmla="*/ 155739 h 669699"/>
                <a:gd name="connsiteX534" fmla="*/ 619488 w 645199"/>
                <a:gd name="connsiteY534" fmla="*/ 156788 h 669699"/>
                <a:gd name="connsiteX535" fmla="*/ 618196 w 645199"/>
                <a:gd name="connsiteY535" fmla="*/ 157645 h 669699"/>
                <a:gd name="connsiteX536" fmla="*/ 618616 w 645199"/>
                <a:gd name="connsiteY536" fmla="*/ 160498 h 669699"/>
                <a:gd name="connsiteX537" fmla="*/ 618521 w 645199"/>
                <a:gd name="connsiteY537" fmla="*/ 161481 h 669699"/>
                <a:gd name="connsiteX538" fmla="*/ 619076 w 645199"/>
                <a:gd name="connsiteY538" fmla="*/ 161791 h 669699"/>
                <a:gd name="connsiteX539" fmla="*/ 623160 w 645199"/>
                <a:gd name="connsiteY539" fmla="*/ 158960 h 669699"/>
                <a:gd name="connsiteX540" fmla="*/ 625125 w 645199"/>
                <a:gd name="connsiteY540" fmla="*/ 158400 h 669699"/>
                <a:gd name="connsiteX541" fmla="*/ 625818 w 645199"/>
                <a:gd name="connsiteY541" fmla="*/ 159084 h 669699"/>
                <a:gd name="connsiteX542" fmla="*/ 626041 w 645199"/>
                <a:gd name="connsiteY542" fmla="*/ 160598 h 669699"/>
                <a:gd name="connsiteX543" fmla="*/ 627652 w 645199"/>
                <a:gd name="connsiteY543" fmla="*/ 163717 h 669699"/>
                <a:gd name="connsiteX544" fmla="*/ 628334 w 645199"/>
                <a:gd name="connsiteY544" fmla="*/ 165301 h 669699"/>
                <a:gd name="connsiteX545" fmla="*/ 624237 w 645199"/>
                <a:gd name="connsiteY545" fmla="*/ 169074 h 669699"/>
                <a:gd name="connsiteX546" fmla="*/ 622728 w 645199"/>
                <a:gd name="connsiteY546" fmla="*/ 171021 h 669699"/>
                <a:gd name="connsiteX547" fmla="*/ 622784 w 645199"/>
                <a:gd name="connsiteY547" fmla="*/ 171707 h 669699"/>
                <a:gd name="connsiteX548" fmla="*/ 622702 w 645199"/>
                <a:gd name="connsiteY548" fmla="*/ 172385 h 669699"/>
                <a:gd name="connsiteX549" fmla="*/ 621657 w 645199"/>
                <a:gd name="connsiteY549" fmla="*/ 173353 h 669699"/>
                <a:gd name="connsiteX550" fmla="*/ 621713 w 645199"/>
                <a:gd name="connsiteY550" fmla="*/ 173739 h 669699"/>
                <a:gd name="connsiteX551" fmla="*/ 622562 w 645199"/>
                <a:gd name="connsiteY551" fmla="*/ 174352 h 669699"/>
                <a:gd name="connsiteX552" fmla="*/ 623591 w 645199"/>
                <a:gd name="connsiteY552" fmla="*/ 174813 h 669699"/>
                <a:gd name="connsiteX553" fmla="*/ 624093 w 645199"/>
                <a:gd name="connsiteY553" fmla="*/ 174798 h 669699"/>
                <a:gd name="connsiteX554" fmla="*/ 624948 w 645199"/>
                <a:gd name="connsiteY554" fmla="*/ 173884 h 669699"/>
                <a:gd name="connsiteX555" fmla="*/ 628815 w 645199"/>
                <a:gd name="connsiteY555" fmla="*/ 172592 h 669699"/>
                <a:gd name="connsiteX556" fmla="*/ 629925 w 645199"/>
                <a:gd name="connsiteY556" fmla="*/ 172836 h 669699"/>
                <a:gd name="connsiteX557" fmla="*/ 632643 w 645199"/>
                <a:gd name="connsiteY557" fmla="*/ 174818 h 669699"/>
                <a:gd name="connsiteX558" fmla="*/ 633909 w 645199"/>
                <a:gd name="connsiteY558" fmla="*/ 174930 h 669699"/>
                <a:gd name="connsiteX559" fmla="*/ 637179 w 645199"/>
                <a:gd name="connsiteY559" fmla="*/ 175522 h 669699"/>
                <a:gd name="connsiteX560" fmla="*/ 639269 w 645199"/>
                <a:gd name="connsiteY560" fmla="*/ 174773 h 669699"/>
                <a:gd name="connsiteX561" fmla="*/ 640810 w 645199"/>
                <a:gd name="connsiteY561" fmla="*/ 175459 h 669699"/>
                <a:gd name="connsiteX562" fmla="*/ 644002 w 645199"/>
                <a:gd name="connsiteY562" fmla="*/ 177938 h 669699"/>
                <a:gd name="connsiteX563" fmla="*/ 644732 w 645199"/>
                <a:gd name="connsiteY563" fmla="*/ 178390 h 669699"/>
                <a:gd name="connsiteX564" fmla="*/ 644462 w 645199"/>
                <a:gd name="connsiteY564" fmla="*/ 179892 h 669699"/>
                <a:gd name="connsiteX565" fmla="*/ 644295 w 645199"/>
                <a:gd name="connsiteY565" fmla="*/ 181549 h 669699"/>
                <a:gd name="connsiteX566" fmla="*/ 645101 w 645199"/>
                <a:gd name="connsiteY566" fmla="*/ 182868 h 669699"/>
                <a:gd name="connsiteX567" fmla="*/ 645199 w 645199"/>
                <a:gd name="connsiteY567" fmla="*/ 184029 h 669699"/>
                <a:gd name="connsiteX568" fmla="*/ 645012 w 645199"/>
                <a:gd name="connsiteY568" fmla="*/ 185095 h 669699"/>
                <a:gd name="connsiteX569" fmla="*/ 644371 w 645199"/>
                <a:gd name="connsiteY569" fmla="*/ 185828 h 669699"/>
                <a:gd name="connsiteX570" fmla="*/ 642601 w 645199"/>
                <a:gd name="connsiteY570" fmla="*/ 186236 h 669699"/>
                <a:gd name="connsiteX571" fmla="*/ 641091 w 645199"/>
                <a:gd name="connsiteY571" fmla="*/ 187506 h 669699"/>
                <a:gd name="connsiteX572" fmla="*/ 638701 w 645199"/>
                <a:gd name="connsiteY572" fmla="*/ 189342 h 669699"/>
                <a:gd name="connsiteX573" fmla="*/ 636779 w 645199"/>
                <a:gd name="connsiteY573" fmla="*/ 190816 h 669699"/>
                <a:gd name="connsiteX574" fmla="*/ 635384 w 645199"/>
                <a:gd name="connsiteY574" fmla="*/ 192116 h 669699"/>
                <a:gd name="connsiteX575" fmla="*/ 634879 w 645199"/>
                <a:gd name="connsiteY575" fmla="*/ 193479 h 669699"/>
                <a:gd name="connsiteX576" fmla="*/ 635028 w 645199"/>
                <a:gd name="connsiteY576" fmla="*/ 195194 h 669699"/>
                <a:gd name="connsiteX577" fmla="*/ 635434 w 645199"/>
                <a:gd name="connsiteY577" fmla="*/ 196988 h 669699"/>
                <a:gd name="connsiteX578" fmla="*/ 639895 w 645199"/>
                <a:gd name="connsiteY578" fmla="*/ 203569 h 669699"/>
                <a:gd name="connsiteX579" fmla="*/ 639859 w 645199"/>
                <a:gd name="connsiteY579" fmla="*/ 204709 h 669699"/>
                <a:gd name="connsiteX580" fmla="*/ 638444 w 645199"/>
                <a:gd name="connsiteY580" fmla="*/ 205027 h 669699"/>
                <a:gd name="connsiteX581" fmla="*/ 636572 w 645199"/>
                <a:gd name="connsiteY581" fmla="*/ 204284 h 669699"/>
                <a:gd name="connsiteX582" fmla="*/ 634954 w 645199"/>
                <a:gd name="connsiteY582" fmla="*/ 203224 h 669699"/>
                <a:gd name="connsiteX583" fmla="*/ 633132 w 645199"/>
                <a:gd name="connsiteY583" fmla="*/ 200405 h 669699"/>
                <a:gd name="connsiteX584" fmla="*/ 631668 w 645199"/>
                <a:gd name="connsiteY584" fmla="*/ 199564 h 669699"/>
                <a:gd name="connsiteX585" fmla="*/ 630210 w 645199"/>
                <a:gd name="connsiteY585" fmla="*/ 199379 h 669699"/>
                <a:gd name="connsiteX586" fmla="*/ 621553 w 645199"/>
                <a:gd name="connsiteY586" fmla="*/ 200830 h 669699"/>
                <a:gd name="connsiteX587" fmla="*/ 619709 w 645199"/>
                <a:gd name="connsiteY587" fmla="*/ 201237 h 669699"/>
                <a:gd name="connsiteX588" fmla="*/ 616848 w 645199"/>
                <a:gd name="connsiteY588" fmla="*/ 202289 h 669699"/>
                <a:gd name="connsiteX589" fmla="*/ 614846 w 645199"/>
                <a:gd name="connsiteY589" fmla="*/ 204408 h 669699"/>
                <a:gd name="connsiteX590" fmla="*/ 613395 w 645199"/>
                <a:gd name="connsiteY590" fmla="*/ 206346 h 669699"/>
                <a:gd name="connsiteX591" fmla="*/ 611892 w 645199"/>
                <a:gd name="connsiteY591" fmla="*/ 207127 h 669699"/>
                <a:gd name="connsiteX592" fmla="*/ 609705 w 645199"/>
                <a:gd name="connsiteY592" fmla="*/ 208634 h 669699"/>
                <a:gd name="connsiteX593" fmla="*/ 603634 w 645199"/>
                <a:gd name="connsiteY593" fmla="*/ 213253 h 669699"/>
                <a:gd name="connsiteX594" fmla="*/ 600124 w 645199"/>
                <a:gd name="connsiteY594" fmla="*/ 215242 h 669699"/>
                <a:gd name="connsiteX595" fmla="*/ 597832 w 645199"/>
                <a:gd name="connsiteY595" fmla="*/ 215975 h 669699"/>
                <a:gd name="connsiteX596" fmla="*/ 596223 w 645199"/>
                <a:gd name="connsiteY596" fmla="*/ 217022 h 669699"/>
                <a:gd name="connsiteX597" fmla="*/ 595356 w 645199"/>
                <a:gd name="connsiteY597" fmla="*/ 218725 h 669699"/>
                <a:gd name="connsiteX598" fmla="*/ 594699 w 645199"/>
                <a:gd name="connsiteY598" fmla="*/ 219947 h 669699"/>
                <a:gd name="connsiteX599" fmla="*/ 594502 w 645199"/>
                <a:gd name="connsiteY599" fmla="*/ 222951 h 669699"/>
                <a:gd name="connsiteX600" fmla="*/ 594902 w 645199"/>
                <a:gd name="connsiteY600" fmla="*/ 226650 h 669699"/>
                <a:gd name="connsiteX601" fmla="*/ 595774 w 645199"/>
                <a:gd name="connsiteY601" fmla="*/ 229010 h 669699"/>
                <a:gd name="connsiteX602" fmla="*/ 596236 w 645199"/>
                <a:gd name="connsiteY602" fmla="*/ 229507 h 669699"/>
                <a:gd name="connsiteX603" fmla="*/ 596305 w 645199"/>
                <a:gd name="connsiteY603" fmla="*/ 230197 h 669699"/>
                <a:gd name="connsiteX604" fmla="*/ 595433 w 645199"/>
                <a:gd name="connsiteY604" fmla="*/ 231473 h 669699"/>
                <a:gd name="connsiteX605" fmla="*/ 594278 w 645199"/>
                <a:gd name="connsiteY605" fmla="*/ 232561 h 669699"/>
                <a:gd name="connsiteX606" fmla="*/ 593714 w 645199"/>
                <a:gd name="connsiteY606" fmla="*/ 233232 h 669699"/>
                <a:gd name="connsiteX607" fmla="*/ 593200 w 645199"/>
                <a:gd name="connsiteY607" fmla="*/ 236599 h 669699"/>
                <a:gd name="connsiteX608" fmla="*/ 592177 w 645199"/>
                <a:gd name="connsiteY608" fmla="*/ 238258 h 669699"/>
                <a:gd name="connsiteX609" fmla="*/ 590307 w 645199"/>
                <a:gd name="connsiteY609" fmla="*/ 240690 h 669699"/>
                <a:gd name="connsiteX610" fmla="*/ 588642 w 645199"/>
                <a:gd name="connsiteY610" fmla="*/ 242528 h 669699"/>
                <a:gd name="connsiteX611" fmla="*/ 586031 w 645199"/>
                <a:gd name="connsiteY611" fmla="*/ 243954 h 669699"/>
                <a:gd name="connsiteX612" fmla="*/ 585038 w 645199"/>
                <a:gd name="connsiteY612" fmla="*/ 245106 h 669699"/>
                <a:gd name="connsiteX613" fmla="*/ 584088 w 645199"/>
                <a:gd name="connsiteY613" fmla="*/ 247233 h 669699"/>
                <a:gd name="connsiteX614" fmla="*/ 583524 w 645199"/>
                <a:gd name="connsiteY614" fmla="*/ 249032 h 669699"/>
                <a:gd name="connsiteX615" fmla="*/ 583494 w 645199"/>
                <a:gd name="connsiteY615" fmla="*/ 249686 h 669699"/>
                <a:gd name="connsiteX616" fmla="*/ 583792 w 645199"/>
                <a:gd name="connsiteY616" fmla="*/ 250256 h 669699"/>
                <a:gd name="connsiteX617" fmla="*/ 584878 w 645199"/>
                <a:gd name="connsiteY617" fmla="*/ 250890 h 669699"/>
                <a:gd name="connsiteX618" fmla="*/ 586197 w 645199"/>
                <a:gd name="connsiteY618" fmla="*/ 251503 h 669699"/>
                <a:gd name="connsiteX619" fmla="*/ 586826 w 645199"/>
                <a:gd name="connsiteY619" fmla="*/ 252461 h 669699"/>
                <a:gd name="connsiteX620" fmla="*/ 586912 w 645199"/>
                <a:gd name="connsiteY620" fmla="*/ 253618 h 669699"/>
                <a:gd name="connsiteX621" fmla="*/ 585932 w 645199"/>
                <a:gd name="connsiteY621" fmla="*/ 256388 h 669699"/>
                <a:gd name="connsiteX622" fmla="*/ 584181 w 645199"/>
                <a:gd name="connsiteY622" fmla="*/ 260239 h 669699"/>
                <a:gd name="connsiteX623" fmla="*/ 582171 w 645199"/>
                <a:gd name="connsiteY623" fmla="*/ 263284 h 669699"/>
                <a:gd name="connsiteX624" fmla="*/ 580097 w 645199"/>
                <a:gd name="connsiteY624" fmla="*/ 266185 h 669699"/>
                <a:gd name="connsiteX625" fmla="*/ 579607 w 645199"/>
                <a:gd name="connsiteY625" fmla="*/ 267132 h 669699"/>
                <a:gd name="connsiteX626" fmla="*/ 577746 w 645199"/>
                <a:gd name="connsiteY626" fmla="*/ 270695 h 669699"/>
                <a:gd name="connsiteX627" fmla="*/ 576124 w 645199"/>
                <a:gd name="connsiteY627" fmla="*/ 275586 h 669699"/>
                <a:gd name="connsiteX628" fmla="*/ 575031 w 645199"/>
                <a:gd name="connsiteY628" fmla="*/ 278877 h 669699"/>
                <a:gd name="connsiteX629" fmla="*/ 574088 w 645199"/>
                <a:gd name="connsiteY629" fmla="*/ 281129 h 669699"/>
                <a:gd name="connsiteX630" fmla="*/ 572919 w 645199"/>
                <a:gd name="connsiteY630" fmla="*/ 281232 h 669699"/>
                <a:gd name="connsiteX631" fmla="*/ 571505 w 645199"/>
                <a:gd name="connsiteY631" fmla="*/ 280509 h 669699"/>
                <a:gd name="connsiteX632" fmla="*/ 568069 w 645199"/>
                <a:gd name="connsiteY632" fmla="*/ 279550 h 669699"/>
                <a:gd name="connsiteX633" fmla="*/ 565867 w 645199"/>
                <a:gd name="connsiteY633" fmla="*/ 278778 h 669699"/>
                <a:gd name="connsiteX634" fmla="*/ 564265 w 645199"/>
                <a:gd name="connsiteY634" fmla="*/ 278084 h 669699"/>
                <a:gd name="connsiteX635" fmla="*/ 563157 w 645199"/>
                <a:gd name="connsiteY635" fmla="*/ 278111 h 669699"/>
                <a:gd name="connsiteX636" fmla="*/ 561626 w 645199"/>
                <a:gd name="connsiteY636" fmla="*/ 278563 h 669699"/>
                <a:gd name="connsiteX637" fmla="*/ 560071 w 645199"/>
                <a:gd name="connsiteY637" fmla="*/ 278873 h 669699"/>
                <a:gd name="connsiteX638" fmla="*/ 559151 w 645199"/>
                <a:gd name="connsiteY638" fmla="*/ 278532 h 669699"/>
                <a:gd name="connsiteX639" fmla="*/ 557016 w 645199"/>
                <a:gd name="connsiteY639" fmla="*/ 276501 h 669699"/>
                <a:gd name="connsiteX640" fmla="*/ 556368 w 645199"/>
                <a:gd name="connsiteY640" fmla="*/ 276734 h 669699"/>
                <a:gd name="connsiteX641" fmla="*/ 555949 w 645199"/>
                <a:gd name="connsiteY641" fmla="*/ 277725 h 669699"/>
                <a:gd name="connsiteX642" fmla="*/ 557391 w 645199"/>
                <a:gd name="connsiteY642" fmla="*/ 283522 h 669699"/>
                <a:gd name="connsiteX643" fmla="*/ 558329 w 645199"/>
                <a:gd name="connsiteY643" fmla="*/ 285675 h 669699"/>
                <a:gd name="connsiteX644" fmla="*/ 558177 w 645199"/>
                <a:gd name="connsiteY644" fmla="*/ 289275 h 669699"/>
                <a:gd name="connsiteX645" fmla="*/ 557806 w 645199"/>
                <a:gd name="connsiteY645" fmla="*/ 293686 h 669699"/>
                <a:gd name="connsiteX646" fmla="*/ 557247 w 645199"/>
                <a:gd name="connsiteY646" fmla="*/ 298507 h 669699"/>
                <a:gd name="connsiteX647" fmla="*/ 556880 w 645199"/>
                <a:gd name="connsiteY647" fmla="*/ 299615 h 669699"/>
                <a:gd name="connsiteX648" fmla="*/ 555964 w 645199"/>
                <a:gd name="connsiteY648" fmla="*/ 300888 h 669699"/>
                <a:gd name="connsiteX649" fmla="*/ 554759 w 645199"/>
                <a:gd name="connsiteY649" fmla="*/ 301235 h 669699"/>
                <a:gd name="connsiteX650" fmla="*/ 553662 w 645199"/>
                <a:gd name="connsiteY650" fmla="*/ 300733 h 669699"/>
                <a:gd name="connsiteX651" fmla="*/ 552783 w 645199"/>
                <a:gd name="connsiteY651" fmla="*/ 300849 h 669699"/>
                <a:gd name="connsiteX652" fmla="*/ 552492 w 645199"/>
                <a:gd name="connsiteY652" fmla="*/ 301658 h 669699"/>
                <a:gd name="connsiteX653" fmla="*/ 552747 w 645199"/>
                <a:gd name="connsiteY653" fmla="*/ 303740 h 669699"/>
                <a:gd name="connsiteX654" fmla="*/ 551679 w 645199"/>
                <a:gd name="connsiteY654" fmla="*/ 306121 h 669699"/>
                <a:gd name="connsiteX655" fmla="*/ 550893 w 645199"/>
                <a:gd name="connsiteY655" fmla="*/ 308158 h 669699"/>
                <a:gd name="connsiteX656" fmla="*/ 551103 w 645199"/>
                <a:gd name="connsiteY656" fmla="*/ 310135 h 669699"/>
                <a:gd name="connsiteX657" fmla="*/ 551477 w 645199"/>
                <a:gd name="connsiteY657" fmla="*/ 312138 h 669699"/>
                <a:gd name="connsiteX658" fmla="*/ 552736 w 645199"/>
                <a:gd name="connsiteY658" fmla="*/ 316483 h 669699"/>
                <a:gd name="connsiteX659" fmla="*/ 552744 w 645199"/>
                <a:gd name="connsiteY659" fmla="*/ 318070 h 669699"/>
                <a:gd name="connsiteX660" fmla="*/ 552496 w 645199"/>
                <a:gd name="connsiteY660" fmla="*/ 319493 h 669699"/>
                <a:gd name="connsiteX661" fmla="*/ 551839 w 645199"/>
                <a:gd name="connsiteY661" fmla="*/ 320084 h 669699"/>
                <a:gd name="connsiteX662" fmla="*/ 550714 w 645199"/>
                <a:gd name="connsiteY662" fmla="*/ 319986 h 669699"/>
                <a:gd name="connsiteX663" fmla="*/ 550104 w 645199"/>
                <a:gd name="connsiteY663" fmla="*/ 320576 h 669699"/>
                <a:gd name="connsiteX664" fmla="*/ 549639 w 645199"/>
                <a:gd name="connsiteY664" fmla="*/ 321465 h 669699"/>
                <a:gd name="connsiteX665" fmla="*/ 548370 w 645199"/>
                <a:gd name="connsiteY665" fmla="*/ 324759 h 669699"/>
                <a:gd name="connsiteX666" fmla="*/ 547152 w 645199"/>
                <a:gd name="connsiteY666" fmla="*/ 325103 h 669699"/>
                <a:gd name="connsiteX667" fmla="*/ 545932 w 645199"/>
                <a:gd name="connsiteY667" fmla="*/ 324610 h 669699"/>
                <a:gd name="connsiteX668" fmla="*/ 544098 w 645199"/>
                <a:gd name="connsiteY668" fmla="*/ 322414 h 669699"/>
                <a:gd name="connsiteX669" fmla="*/ 542984 w 645199"/>
                <a:gd name="connsiteY669" fmla="*/ 321773 h 669699"/>
                <a:gd name="connsiteX670" fmla="*/ 542275 w 645199"/>
                <a:gd name="connsiteY670" fmla="*/ 321807 h 669699"/>
                <a:gd name="connsiteX671" fmla="*/ 541961 w 645199"/>
                <a:gd name="connsiteY671" fmla="*/ 322386 h 669699"/>
                <a:gd name="connsiteX672" fmla="*/ 541472 w 645199"/>
                <a:gd name="connsiteY672" fmla="*/ 323702 h 669699"/>
                <a:gd name="connsiteX673" fmla="*/ 540980 w 645199"/>
                <a:gd name="connsiteY673" fmla="*/ 324583 h 669699"/>
                <a:gd name="connsiteX674" fmla="*/ 539754 w 645199"/>
                <a:gd name="connsiteY674" fmla="*/ 325355 h 669699"/>
                <a:gd name="connsiteX675" fmla="*/ 539451 w 645199"/>
                <a:gd name="connsiteY675" fmla="*/ 323731 h 669699"/>
                <a:gd name="connsiteX676" fmla="*/ 538801 w 645199"/>
                <a:gd name="connsiteY676" fmla="*/ 315319 h 669699"/>
                <a:gd name="connsiteX677" fmla="*/ 538309 w 645199"/>
                <a:gd name="connsiteY677" fmla="*/ 312637 h 669699"/>
                <a:gd name="connsiteX678" fmla="*/ 537907 w 645199"/>
                <a:gd name="connsiteY678" fmla="*/ 308922 h 669699"/>
                <a:gd name="connsiteX679" fmla="*/ 537311 w 645199"/>
                <a:gd name="connsiteY679" fmla="*/ 307780 h 669699"/>
                <a:gd name="connsiteX680" fmla="*/ 536559 w 645199"/>
                <a:gd name="connsiteY680" fmla="*/ 305746 h 669699"/>
                <a:gd name="connsiteX681" fmla="*/ 535735 w 645199"/>
                <a:gd name="connsiteY681" fmla="*/ 303995 h 669699"/>
                <a:gd name="connsiteX682" fmla="*/ 535037 w 645199"/>
                <a:gd name="connsiteY682" fmla="*/ 303250 h 669699"/>
                <a:gd name="connsiteX683" fmla="*/ 534586 w 645199"/>
                <a:gd name="connsiteY683" fmla="*/ 299968 h 669699"/>
                <a:gd name="connsiteX684" fmla="*/ 534422 w 645199"/>
                <a:gd name="connsiteY684" fmla="*/ 295944 h 669699"/>
                <a:gd name="connsiteX685" fmla="*/ 534431 w 645199"/>
                <a:gd name="connsiteY685" fmla="*/ 294044 h 669699"/>
                <a:gd name="connsiteX686" fmla="*/ 533439 w 645199"/>
                <a:gd name="connsiteY686" fmla="*/ 290106 h 669699"/>
                <a:gd name="connsiteX687" fmla="*/ 532483 w 645199"/>
                <a:gd name="connsiteY687" fmla="*/ 285640 h 669699"/>
                <a:gd name="connsiteX688" fmla="*/ 531178 w 645199"/>
                <a:gd name="connsiteY688" fmla="*/ 285828 h 669699"/>
                <a:gd name="connsiteX689" fmla="*/ 530410 w 645199"/>
                <a:gd name="connsiteY689" fmla="*/ 284745 h 669699"/>
                <a:gd name="connsiteX690" fmla="*/ 529851 w 645199"/>
                <a:gd name="connsiteY690" fmla="*/ 284765 h 669699"/>
                <a:gd name="connsiteX691" fmla="*/ 528015 w 645199"/>
                <a:gd name="connsiteY691" fmla="*/ 285776 h 669699"/>
                <a:gd name="connsiteX692" fmla="*/ 526566 w 645199"/>
                <a:gd name="connsiteY692" fmla="*/ 285443 h 669699"/>
                <a:gd name="connsiteX693" fmla="*/ 525484 w 645199"/>
                <a:gd name="connsiteY693" fmla="*/ 285584 h 669699"/>
                <a:gd name="connsiteX694" fmla="*/ 525482 w 645199"/>
                <a:gd name="connsiteY694" fmla="*/ 287635 h 669699"/>
                <a:gd name="connsiteX695" fmla="*/ 525668 w 645199"/>
                <a:gd name="connsiteY695" fmla="*/ 289821 h 669699"/>
                <a:gd name="connsiteX696" fmla="*/ 525253 w 645199"/>
                <a:gd name="connsiteY696" fmla="*/ 290607 h 669699"/>
                <a:gd name="connsiteX697" fmla="*/ 522398 w 645199"/>
                <a:gd name="connsiteY697" fmla="*/ 293175 h 669699"/>
                <a:gd name="connsiteX698" fmla="*/ 521606 w 645199"/>
                <a:gd name="connsiteY698" fmla="*/ 294896 h 669699"/>
                <a:gd name="connsiteX699" fmla="*/ 521688 w 645199"/>
                <a:gd name="connsiteY699" fmla="*/ 296704 h 669699"/>
                <a:gd name="connsiteX700" fmla="*/ 522040 w 645199"/>
                <a:gd name="connsiteY700" fmla="*/ 299122 h 669699"/>
                <a:gd name="connsiteX701" fmla="*/ 521535 w 645199"/>
                <a:gd name="connsiteY701" fmla="*/ 300348 h 669699"/>
                <a:gd name="connsiteX702" fmla="*/ 520295 w 645199"/>
                <a:gd name="connsiteY702" fmla="*/ 301483 h 669699"/>
                <a:gd name="connsiteX703" fmla="*/ 518628 w 645199"/>
                <a:gd name="connsiteY703" fmla="*/ 302069 h 669699"/>
                <a:gd name="connsiteX704" fmla="*/ 517168 w 645199"/>
                <a:gd name="connsiteY704" fmla="*/ 301792 h 669699"/>
                <a:gd name="connsiteX705" fmla="*/ 516234 w 645199"/>
                <a:gd name="connsiteY705" fmla="*/ 300810 h 669699"/>
                <a:gd name="connsiteX706" fmla="*/ 515352 w 645199"/>
                <a:gd name="connsiteY706" fmla="*/ 298303 h 669699"/>
                <a:gd name="connsiteX707" fmla="*/ 514575 w 645199"/>
                <a:gd name="connsiteY707" fmla="*/ 296935 h 669699"/>
                <a:gd name="connsiteX708" fmla="*/ 513761 w 645199"/>
                <a:gd name="connsiteY708" fmla="*/ 296609 h 669699"/>
                <a:gd name="connsiteX709" fmla="*/ 513124 w 645199"/>
                <a:gd name="connsiteY709" fmla="*/ 296980 h 669699"/>
                <a:gd name="connsiteX710" fmla="*/ 513040 w 645199"/>
                <a:gd name="connsiteY710" fmla="*/ 298554 h 669699"/>
                <a:gd name="connsiteX711" fmla="*/ 513081 w 645199"/>
                <a:gd name="connsiteY711" fmla="*/ 299858 h 669699"/>
                <a:gd name="connsiteX712" fmla="*/ 512876 w 645199"/>
                <a:gd name="connsiteY712" fmla="*/ 300002 h 669699"/>
                <a:gd name="connsiteX713" fmla="*/ 512422 w 645199"/>
                <a:gd name="connsiteY713" fmla="*/ 299801 h 669699"/>
                <a:gd name="connsiteX714" fmla="*/ 511900 w 645199"/>
                <a:gd name="connsiteY714" fmla="*/ 299162 h 669699"/>
                <a:gd name="connsiteX715" fmla="*/ 510542 w 645199"/>
                <a:gd name="connsiteY715" fmla="*/ 292881 h 669699"/>
                <a:gd name="connsiteX716" fmla="*/ 508589 w 645199"/>
                <a:gd name="connsiteY716" fmla="*/ 288037 h 669699"/>
                <a:gd name="connsiteX717" fmla="*/ 508477 w 645199"/>
                <a:gd name="connsiteY717" fmla="*/ 286176 h 669699"/>
                <a:gd name="connsiteX718" fmla="*/ 509185 w 645199"/>
                <a:gd name="connsiteY718" fmla="*/ 283786 h 669699"/>
                <a:gd name="connsiteX719" fmla="*/ 510059 w 645199"/>
                <a:gd name="connsiteY719" fmla="*/ 280099 h 669699"/>
                <a:gd name="connsiteX720" fmla="*/ 512368 w 645199"/>
                <a:gd name="connsiteY720" fmla="*/ 277797 h 669699"/>
                <a:gd name="connsiteX721" fmla="*/ 512672 w 645199"/>
                <a:gd name="connsiteY721" fmla="*/ 276820 h 669699"/>
                <a:gd name="connsiteX722" fmla="*/ 513046 w 645199"/>
                <a:gd name="connsiteY722" fmla="*/ 276047 h 669699"/>
                <a:gd name="connsiteX723" fmla="*/ 513612 w 645199"/>
                <a:gd name="connsiteY723" fmla="*/ 275893 h 669699"/>
                <a:gd name="connsiteX724" fmla="*/ 516568 w 645199"/>
                <a:gd name="connsiteY724" fmla="*/ 276111 h 669699"/>
                <a:gd name="connsiteX725" fmla="*/ 517564 w 645199"/>
                <a:gd name="connsiteY725" fmla="*/ 275741 h 669699"/>
                <a:gd name="connsiteX726" fmla="*/ 518443 w 645199"/>
                <a:gd name="connsiteY726" fmla="*/ 274657 h 669699"/>
                <a:gd name="connsiteX727" fmla="*/ 519716 w 645199"/>
                <a:gd name="connsiteY727" fmla="*/ 273784 h 669699"/>
                <a:gd name="connsiteX728" fmla="*/ 520995 w 645199"/>
                <a:gd name="connsiteY728" fmla="*/ 273433 h 669699"/>
                <a:gd name="connsiteX729" fmla="*/ 522010 w 645199"/>
                <a:gd name="connsiteY729" fmla="*/ 273302 h 669699"/>
                <a:gd name="connsiteX730" fmla="*/ 523640 w 645199"/>
                <a:gd name="connsiteY730" fmla="*/ 274131 h 669699"/>
                <a:gd name="connsiteX731" fmla="*/ 524321 w 645199"/>
                <a:gd name="connsiteY731" fmla="*/ 273662 h 669699"/>
                <a:gd name="connsiteX732" fmla="*/ 524808 w 645199"/>
                <a:gd name="connsiteY732" fmla="*/ 272129 h 669699"/>
                <a:gd name="connsiteX733" fmla="*/ 525517 w 645199"/>
                <a:gd name="connsiteY733" fmla="*/ 270609 h 669699"/>
                <a:gd name="connsiteX734" fmla="*/ 525972 w 645199"/>
                <a:gd name="connsiteY734" fmla="*/ 269877 h 669699"/>
                <a:gd name="connsiteX735" fmla="*/ 527065 w 645199"/>
                <a:gd name="connsiteY735" fmla="*/ 269545 h 669699"/>
                <a:gd name="connsiteX736" fmla="*/ 528460 w 645199"/>
                <a:gd name="connsiteY736" fmla="*/ 269463 h 669699"/>
                <a:gd name="connsiteX737" fmla="*/ 528922 w 645199"/>
                <a:gd name="connsiteY737" fmla="*/ 269186 h 669699"/>
                <a:gd name="connsiteX738" fmla="*/ 529296 w 645199"/>
                <a:gd name="connsiteY738" fmla="*/ 268673 h 669699"/>
                <a:gd name="connsiteX739" fmla="*/ 529639 w 645199"/>
                <a:gd name="connsiteY739" fmla="*/ 266657 h 669699"/>
                <a:gd name="connsiteX740" fmla="*/ 531420 w 645199"/>
                <a:gd name="connsiteY740" fmla="*/ 262154 h 669699"/>
                <a:gd name="connsiteX741" fmla="*/ 532053 w 645199"/>
                <a:gd name="connsiteY741" fmla="*/ 260150 h 669699"/>
                <a:gd name="connsiteX742" fmla="*/ 532140 w 645199"/>
                <a:gd name="connsiteY742" fmla="*/ 259792 h 669699"/>
                <a:gd name="connsiteX743" fmla="*/ 532090 w 645199"/>
                <a:gd name="connsiteY743" fmla="*/ 257556 h 669699"/>
                <a:gd name="connsiteX744" fmla="*/ 532597 w 645199"/>
                <a:gd name="connsiteY744" fmla="*/ 257233 h 669699"/>
                <a:gd name="connsiteX745" fmla="*/ 535553 w 645199"/>
                <a:gd name="connsiteY745" fmla="*/ 258322 h 669699"/>
                <a:gd name="connsiteX746" fmla="*/ 536841 w 645199"/>
                <a:gd name="connsiteY746" fmla="*/ 258307 h 669699"/>
                <a:gd name="connsiteX747" fmla="*/ 537545 w 645199"/>
                <a:gd name="connsiteY747" fmla="*/ 257858 h 669699"/>
                <a:gd name="connsiteX748" fmla="*/ 537776 w 645199"/>
                <a:gd name="connsiteY748" fmla="*/ 257039 h 669699"/>
                <a:gd name="connsiteX749" fmla="*/ 537397 w 645199"/>
                <a:gd name="connsiteY749" fmla="*/ 256079 h 669699"/>
                <a:gd name="connsiteX750" fmla="*/ 535299 w 645199"/>
                <a:gd name="connsiteY750" fmla="*/ 254409 h 669699"/>
                <a:gd name="connsiteX751" fmla="*/ 531567 w 645199"/>
                <a:gd name="connsiteY751" fmla="*/ 252154 h 669699"/>
                <a:gd name="connsiteX752" fmla="*/ 528141 w 645199"/>
                <a:gd name="connsiteY752" fmla="*/ 250775 h 669699"/>
                <a:gd name="connsiteX753" fmla="*/ 521811 w 645199"/>
                <a:gd name="connsiteY753" fmla="*/ 250983 h 669699"/>
                <a:gd name="connsiteX754" fmla="*/ 515536 w 645199"/>
                <a:gd name="connsiteY754" fmla="*/ 251419 h 669699"/>
                <a:gd name="connsiteX755" fmla="*/ 513700 w 645199"/>
                <a:gd name="connsiteY755" fmla="*/ 251196 h 669699"/>
                <a:gd name="connsiteX756" fmla="*/ 511411 w 645199"/>
                <a:gd name="connsiteY756" fmla="*/ 250575 h 669699"/>
                <a:gd name="connsiteX757" fmla="*/ 505776 w 645199"/>
                <a:gd name="connsiteY757" fmla="*/ 250667 h 669699"/>
                <a:gd name="connsiteX758" fmla="*/ 498962 w 645199"/>
                <a:gd name="connsiteY758" fmla="*/ 251011 h 669699"/>
                <a:gd name="connsiteX759" fmla="*/ 496373 w 645199"/>
                <a:gd name="connsiteY759" fmla="*/ 250816 h 669699"/>
                <a:gd name="connsiteX760" fmla="*/ 495095 w 645199"/>
                <a:gd name="connsiteY760" fmla="*/ 250843 h 669699"/>
                <a:gd name="connsiteX761" fmla="*/ 492532 w 645199"/>
                <a:gd name="connsiteY761" fmla="*/ 251052 h 669699"/>
                <a:gd name="connsiteX762" fmla="*/ 488354 w 645199"/>
                <a:gd name="connsiteY762" fmla="*/ 250410 h 669699"/>
                <a:gd name="connsiteX763" fmla="*/ 485463 w 645199"/>
                <a:gd name="connsiteY763" fmla="*/ 249586 h 669699"/>
                <a:gd name="connsiteX764" fmla="*/ 482901 w 645199"/>
                <a:gd name="connsiteY764" fmla="*/ 248681 h 669699"/>
                <a:gd name="connsiteX765" fmla="*/ 479861 w 645199"/>
                <a:gd name="connsiteY765" fmla="*/ 247861 h 669699"/>
                <a:gd name="connsiteX766" fmla="*/ 479131 w 645199"/>
                <a:gd name="connsiteY766" fmla="*/ 247870 h 669699"/>
                <a:gd name="connsiteX767" fmla="*/ 478706 w 645199"/>
                <a:gd name="connsiteY767" fmla="*/ 247573 h 669699"/>
                <a:gd name="connsiteX768" fmla="*/ 478414 w 645199"/>
                <a:gd name="connsiteY768" fmla="*/ 246848 h 669699"/>
                <a:gd name="connsiteX769" fmla="*/ 478313 w 645199"/>
                <a:gd name="connsiteY769" fmla="*/ 245913 h 669699"/>
                <a:gd name="connsiteX770" fmla="*/ 478945 w 645199"/>
                <a:gd name="connsiteY770" fmla="*/ 241565 h 669699"/>
                <a:gd name="connsiteX771" fmla="*/ 478385 w 645199"/>
                <a:gd name="connsiteY771" fmla="*/ 234965 h 669699"/>
                <a:gd name="connsiteX772" fmla="*/ 478902 w 645199"/>
                <a:gd name="connsiteY772" fmla="*/ 232558 h 669699"/>
                <a:gd name="connsiteX773" fmla="*/ 476401 w 645199"/>
                <a:gd name="connsiteY773" fmla="*/ 227120 h 669699"/>
                <a:gd name="connsiteX774" fmla="*/ 475540 w 645199"/>
                <a:gd name="connsiteY774" fmla="*/ 226112 h 669699"/>
                <a:gd name="connsiteX775" fmla="*/ 474393 w 645199"/>
                <a:gd name="connsiteY775" fmla="*/ 226068 h 669699"/>
                <a:gd name="connsiteX776" fmla="*/ 473657 w 645199"/>
                <a:gd name="connsiteY776" fmla="*/ 226770 h 669699"/>
                <a:gd name="connsiteX777" fmla="*/ 473369 w 645199"/>
                <a:gd name="connsiteY777" fmla="*/ 228042 h 669699"/>
                <a:gd name="connsiteX778" fmla="*/ 473782 w 645199"/>
                <a:gd name="connsiteY778" fmla="*/ 229460 h 669699"/>
                <a:gd name="connsiteX779" fmla="*/ 472864 w 645199"/>
                <a:gd name="connsiteY779" fmla="*/ 231048 h 669699"/>
                <a:gd name="connsiteX780" fmla="*/ 471029 w 645199"/>
                <a:gd name="connsiteY780" fmla="*/ 231562 h 669699"/>
                <a:gd name="connsiteX781" fmla="*/ 468881 w 645199"/>
                <a:gd name="connsiteY781" fmla="*/ 231028 h 669699"/>
                <a:gd name="connsiteX782" fmla="*/ 467101 w 645199"/>
                <a:gd name="connsiteY782" fmla="*/ 230283 h 669699"/>
                <a:gd name="connsiteX783" fmla="*/ 464827 w 645199"/>
                <a:gd name="connsiteY783" fmla="*/ 228666 h 669699"/>
                <a:gd name="connsiteX784" fmla="*/ 463100 w 645199"/>
                <a:gd name="connsiteY784" fmla="*/ 226386 h 669699"/>
                <a:gd name="connsiteX785" fmla="*/ 462959 w 645199"/>
                <a:gd name="connsiteY785" fmla="*/ 223873 h 669699"/>
                <a:gd name="connsiteX786" fmla="*/ 462182 w 645199"/>
                <a:gd name="connsiteY786" fmla="*/ 222249 h 669699"/>
                <a:gd name="connsiteX787" fmla="*/ 461118 w 645199"/>
                <a:gd name="connsiteY787" fmla="*/ 221458 h 669699"/>
                <a:gd name="connsiteX788" fmla="*/ 460338 w 645199"/>
                <a:gd name="connsiteY788" fmla="*/ 221238 h 669699"/>
                <a:gd name="connsiteX789" fmla="*/ 459642 w 645199"/>
                <a:gd name="connsiteY789" fmla="*/ 221414 h 669699"/>
                <a:gd name="connsiteX790" fmla="*/ 459027 w 645199"/>
                <a:gd name="connsiteY790" fmla="*/ 222292 h 669699"/>
                <a:gd name="connsiteX791" fmla="*/ 459560 w 645199"/>
                <a:gd name="connsiteY791" fmla="*/ 223171 h 669699"/>
                <a:gd name="connsiteX792" fmla="*/ 460297 w 645199"/>
                <a:gd name="connsiteY792" fmla="*/ 224400 h 669699"/>
                <a:gd name="connsiteX793" fmla="*/ 460051 w 645199"/>
                <a:gd name="connsiteY793" fmla="*/ 225234 h 669699"/>
                <a:gd name="connsiteX794" fmla="*/ 459394 w 645199"/>
                <a:gd name="connsiteY794" fmla="*/ 225365 h 669699"/>
                <a:gd name="connsiteX795" fmla="*/ 458416 w 645199"/>
                <a:gd name="connsiteY795" fmla="*/ 225007 h 669699"/>
                <a:gd name="connsiteX796" fmla="*/ 456902 w 645199"/>
                <a:gd name="connsiteY796" fmla="*/ 225203 h 669699"/>
                <a:gd name="connsiteX797" fmla="*/ 455440 w 645199"/>
                <a:gd name="connsiteY797" fmla="*/ 224559 h 669699"/>
                <a:gd name="connsiteX798" fmla="*/ 454561 w 645199"/>
                <a:gd name="connsiteY798" fmla="*/ 224501 h 669699"/>
                <a:gd name="connsiteX799" fmla="*/ 453691 w 645199"/>
                <a:gd name="connsiteY799" fmla="*/ 224268 h 669699"/>
                <a:gd name="connsiteX800" fmla="*/ 453644 w 645199"/>
                <a:gd name="connsiteY800" fmla="*/ 222816 h 669699"/>
                <a:gd name="connsiteX801" fmla="*/ 452305 w 645199"/>
                <a:gd name="connsiteY801" fmla="*/ 220974 h 669699"/>
                <a:gd name="connsiteX802" fmla="*/ 450053 w 645199"/>
                <a:gd name="connsiteY802" fmla="*/ 218908 h 669699"/>
                <a:gd name="connsiteX803" fmla="*/ 447839 w 645199"/>
                <a:gd name="connsiteY803" fmla="*/ 217633 h 669699"/>
                <a:gd name="connsiteX804" fmla="*/ 446772 w 645199"/>
                <a:gd name="connsiteY804" fmla="*/ 217809 h 669699"/>
                <a:gd name="connsiteX805" fmla="*/ 446241 w 645199"/>
                <a:gd name="connsiteY805" fmla="*/ 219217 h 669699"/>
                <a:gd name="connsiteX806" fmla="*/ 446364 w 645199"/>
                <a:gd name="connsiteY806" fmla="*/ 219744 h 669699"/>
                <a:gd name="connsiteX807" fmla="*/ 447133 w 645199"/>
                <a:gd name="connsiteY807" fmla="*/ 220005 h 669699"/>
                <a:gd name="connsiteX808" fmla="*/ 448250 w 645199"/>
                <a:gd name="connsiteY808" fmla="*/ 220821 h 669699"/>
                <a:gd name="connsiteX809" fmla="*/ 448496 w 645199"/>
                <a:gd name="connsiteY809" fmla="*/ 221677 h 669699"/>
                <a:gd name="connsiteX810" fmla="*/ 448331 w 645199"/>
                <a:gd name="connsiteY810" fmla="*/ 222424 h 669699"/>
                <a:gd name="connsiteX811" fmla="*/ 446952 w 645199"/>
                <a:gd name="connsiteY811" fmla="*/ 223786 h 669699"/>
                <a:gd name="connsiteX812" fmla="*/ 445978 w 645199"/>
                <a:gd name="connsiteY812" fmla="*/ 225077 h 669699"/>
                <a:gd name="connsiteX813" fmla="*/ 443792 w 645199"/>
                <a:gd name="connsiteY813" fmla="*/ 226959 h 669699"/>
                <a:gd name="connsiteX814" fmla="*/ 441927 w 645199"/>
                <a:gd name="connsiteY814" fmla="*/ 229110 h 669699"/>
                <a:gd name="connsiteX815" fmla="*/ 441445 w 645199"/>
                <a:gd name="connsiteY815" fmla="*/ 230742 h 669699"/>
                <a:gd name="connsiteX816" fmla="*/ 440745 w 645199"/>
                <a:gd name="connsiteY816" fmla="*/ 232205 h 669699"/>
                <a:gd name="connsiteX817" fmla="*/ 440463 w 645199"/>
                <a:gd name="connsiteY817" fmla="*/ 233816 h 669699"/>
                <a:gd name="connsiteX818" fmla="*/ 440951 w 645199"/>
                <a:gd name="connsiteY818" fmla="*/ 234930 h 669699"/>
                <a:gd name="connsiteX819" fmla="*/ 441854 w 645199"/>
                <a:gd name="connsiteY819" fmla="*/ 235631 h 669699"/>
                <a:gd name="connsiteX820" fmla="*/ 444186 w 645199"/>
                <a:gd name="connsiteY820" fmla="*/ 236142 h 669699"/>
                <a:gd name="connsiteX821" fmla="*/ 446621 w 645199"/>
                <a:gd name="connsiteY821" fmla="*/ 238306 h 669699"/>
                <a:gd name="connsiteX822" fmla="*/ 448595 w 645199"/>
                <a:gd name="connsiteY822" fmla="*/ 241228 h 669699"/>
                <a:gd name="connsiteX823" fmla="*/ 449703 w 645199"/>
                <a:gd name="connsiteY823" fmla="*/ 242111 h 669699"/>
                <a:gd name="connsiteX824" fmla="*/ 451715 w 645199"/>
                <a:gd name="connsiteY824" fmla="*/ 243095 h 669699"/>
                <a:gd name="connsiteX825" fmla="*/ 455600 w 645199"/>
                <a:gd name="connsiteY825" fmla="*/ 243208 h 669699"/>
                <a:gd name="connsiteX826" fmla="*/ 456181 w 645199"/>
                <a:gd name="connsiteY826" fmla="*/ 244016 h 669699"/>
                <a:gd name="connsiteX827" fmla="*/ 456732 w 645199"/>
                <a:gd name="connsiteY827" fmla="*/ 246155 h 669699"/>
                <a:gd name="connsiteX828" fmla="*/ 457494 w 645199"/>
                <a:gd name="connsiteY828" fmla="*/ 246909 h 669699"/>
                <a:gd name="connsiteX829" fmla="*/ 459470 w 645199"/>
                <a:gd name="connsiteY829" fmla="*/ 247917 h 669699"/>
                <a:gd name="connsiteX830" fmla="*/ 459636 w 645199"/>
                <a:gd name="connsiteY830" fmla="*/ 248660 h 669699"/>
                <a:gd name="connsiteX831" fmla="*/ 459153 w 645199"/>
                <a:gd name="connsiteY831" fmla="*/ 249514 h 669699"/>
                <a:gd name="connsiteX832" fmla="*/ 458276 w 645199"/>
                <a:gd name="connsiteY832" fmla="*/ 250188 h 669699"/>
                <a:gd name="connsiteX833" fmla="*/ 456664 w 645199"/>
                <a:gd name="connsiteY833" fmla="*/ 250616 h 669699"/>
                <a:gd name="connsiteX834" fmla="*/ 455123 w 645199"/>
                <a:gd name="connsiteY834" fmla="*/ 250787 h 669699"/>
                <a:gd name="connsiteX835" fmla="*/ 453575 w 645199"/>
                <a:gd name="connsiteY835" fmla="*/ 250516 h 669699"/>
                <a:gd name="connsiteX836" fmla="*/ 451281 w 645199"/>
                <a:gd name="connsiteY836" fmla="*/ 250341 h 669699"/>
                <a:gd name="connsiteX837" fmla="*/ 448681 w 645199"/>
                <a:gd name="connsiteY837" fmla="*/ 250329 h 669699"/>
                <a:gd name="connsiteX838" fmla="*/ 446839 w 645199"/>
                <a:gd name="connsiteY838" fmla="*/ 255670 h 669699"/>
                <a:gd name="connsiteX839" fmla="*/ 445522 w 645199"/>
                <a:gd name="connsiteY839" fmla="*/ 257544 h 669699"/>
                <a:gd name="connsiteX840" fmla="*/ 444773 w 645199"/>
                <a:gd name="connsiteY840" fmla="*/ 257542 h 669699"/>
                <a:gd name="connsiteX841" fmla="*/ 442769 w 645199"/>
                <a:gd name="connsiteY841" fmla="*/ 256632 h 669699"/>
                <a:gd name="connsiteX842" fmla="*/ 441905 w 645199"/>
                <a:gd name="connsiteY842" fmla="*/ 256773 h 669699"/>
                <a:gd name="connsiteX843" fmla="*/ 439591 w 645199"/>
                <a:gd name="connsiteY843" fmla="*/ 261512 h 669699"/>
                <a:gd name="connsiteX844" fmla="*/ 439262 w 645199"/>
                <a:gd name="connsiteY844" fmla="*/ 262654 h 669699"/>
                <a:gd name="connsiteX845" fmla="*/ 439111 w 645199"/>
                <a:gd name="connsiteY845" fmla="*/ 263514 h 669699"/>
                <a:gd name="connsiteX846" fmla="*/ 440342 w 645199"/>
                <a:gd name="connsiteY846" fmla="*/ 265344 h 669699"/>
                <a:gd name="connsiteX847" fmla="*/ 441810 w 645199"/>
                <a:gd name="connsiteY847" fmla="*/ 266849 h 669699"/>
                <a:gd name="connsiteX848" fmla="*/ 443568 w 645199"/>
                <a:gd name="connsiteY848" fmla="*/ 267439 h 669699"/>
                <a:gd name="connsiteX849" fmla="*/ 444941 w 645199"/>
                <a:gd name="connsiteY849" fmla="*/ 266991 h 669699"/>
                <a:gd name="connsiteX850" fmla="*/ 446056 w 645199"/>
                <a:gd name="connsiteY850" fmla="*/ 267598 h 669699"/>
                <a:gd name="connsiteX851" fmla="*/ 447371 w 645199"/>
                <a:gd name="connsiteY851" fmla="*/ 269114 h 669699"/>
                <a:gd name="connsiteX852" fmla="*/ 449616 w 645199"/>
                <a:gd name="connsiteY852" fmla="*/ 270114 h 669699"/>
                <a:gd name="connsiteX853" fmla="*/ 452795 w 645199"/>
                <a:gd name="connsiteY853" fmla="*/ 270598 h 669699"/>
                <a:gd name="connsiteX854" fmla="*/ 454592 w 645199"/>
                <a:gd name="connsiteY854" fmla="*/ 271796 h 669699"/>
                <a:gd name="connsiteX855" fmla="*/ 454814 w 645199"/>
                <a:gd name="connsiteY855" fmla="*/ 272828 h 669699"/>
                <a:gd name="connsiteX856" fmla="*/ 454658 w 645199"/>
                <a:gd name="connsiteY856" fmla="*/ 273875 h 669699"/>
                <a:gd name="connsiteX857" fmla="*/ 454375 w 645199"/>
                <a:gd name="connsiteY857" fmla="*/ 276606 h 669699"/>
                <a:gd name="connsiteX858" fmla="*/ 454067 w 645199"/>
                <a:gd name="connsiteY858" fmla="*/ 278178 h 669699"/>
                <a:gd name="connsiteX859" fmla="*/ 452359 w 645199"/>
                <a:gd name="connsiteY859" fmla="*/ 282301 h 669699"/>
                <a:gd name="connsiteX860" fmla="*/ 451139 w 645199"/>
                <a:gd name="connsiteY860" fmla="*/ 285855 h 669699"/>
                <a:gd name="connsiteX861" fmla="*/ 451772 w 645199"/>
                <a:gd name="connsiteY861" fmla="*/ 287543 h 669699"/>
                <a:gd name="connsiteX862" fmla="*/ 452223 w 645199"/>
                <a:gd name="connsiteY862" fmla="*/ 288231 h 669699"/>
                <a:gd name="connsiteX863" fmla="*/ 452650 w 645199"/>
                <a:gd name="connsiteY863" fmla="*/ 288762 h 669699"/>
                <a:gd name="connsiteX864" fmla="*/ 454019 w 645199"/>
                <a:gd name="connsiteY864" fmla="*/ 290093 h 669699"/>
                <a:gd name="connsiteX865" fmla="*/ 454974 w 645199"/>
                <a:gd name="connsiteY865" fmla="*/ 291411 h 669699"/>
                <a:gd name="connsiteX866" fmla="*/ 454160 w 645199"/>
                <a:gd name="connsiteY866" fmla="*/ 294767 h 669699"/>
                <a:gd name="connsiteX867" fmla="*/ 454611 w 645199"/>
                <a:gd name="connsiteY867" fmla="*/ 295650 h 669699"/>
                <a:gd name="connsiteX868" fmla="*/ 456451 w 645199"/>
                <a:gd name="connsiteY868" fmla="*/ 296240 h 669699"/>
                <a:gd name="connsiteX869" fmla="*/ 458429 w 645199"/>
                <a:gd name="connsiteY869" fmla="*/ 296690 h 669699"/>
                <a:gd name="connsiteX870" fmla="*/ 459115 w 645199"/>
                <a:gd name="connsiteY870" fmla="*/ 297245 h 669699"/>
                <a:gd name="connsiteX871" fmla="*/ 457401 w 645199"/>
                <a:gd name="connsiteY871" fmla="*/ 300651 h 669699"/>
                <a:gd name="connsiteX872" fmla="*/ 457763 w 645199"/>
                <a:gd name="connsiteY872" fmla="*/ 303020 h 669699"/>
                <a:gd name="connsiteX873" fmla="*/ 458487 w 645199"/>
                <a:gd name="connsiteY873" fmla="*/ 305241 h 669699"/>
                <a:gd name="connsiteX874" fmla="*/ 459012 w 645199"/>
                <a:gd name="connsiteY874" fmla="*/ 308872 h 669699"/>
                <a:gd name="connsiteX875" fmla="*/ 459090 w 645199"/>
                <a:gd name="connsiteY875" fmla="*/ 309253 h 669699"/>
                <a:gd name="connsiteX876" fmla="*/ 458952 w 645199"/>
                <a:gd name="connsiteY876" fmla="*/ 310163 h 669699"/>
                <a:gd name="connsiteX877" fmla="*/ 460074 w 645199"/>
                <a:gd name="connsiteY877" fmla="*/ 312980 h 669699"/>
                <a:gd name="connsiteX878" fmla="*/ 461810 w 645199"/>
                <a:gd name="connsiteY878" fmla="*/ 318472 h 669699"/>
                <a:gd name="connsiteX879" fmla="*/ 461940 w 645199"/>
                <a:gd name="connsiteY879" fmla="*/ 320524 h 669699"/>
                <a:gd name="connsiteX880" fmla="*/ 461843 w 645199"/>
                <a:gd name="connsiteY880" fmla="*/ 322684 h 669699"/>
                <a:gd name="connsiteX881" fmla="*/ 461322 w 645199"/>
                <a:gd name="connsiteY881" fmla="*/ 326302 h 669699"/>
                <a:gd name="connsiteX882" fmla="*/ 459584 w 645199"/>
                <a:gd name="connsiteY882" fmla="*/ 326286 h 669699"/>
                <a:gd name="connsiteX883" fmla="*/ 461139 w 645199"/>
                <a:gd name="connsiteY883" fmla="*/ 328704 h 669699"/>
                <a:gd name="connsiteX884" fmla="*/ 461634 w 645199"/>
                <a:gd name="connsiteY884" fmla="*/ 330441 h 669699"/>
                <a:gd name="connsiteX885" fmla="*/ 461847 w 645199"/>
                <a:gd name="connsiteY885" fmla="*/ 332864 h 669699"/>
                <a:gd name="connsiteX886" fmla="*/ 459977 w 645199"/>
                <a:gd name="connsiteY886" fmla="*/ 333159 h 669699"/>
                <a:gd name="connsiteX887" fmla="*/ 458658 w 645199"/>
                <a:gd name="connsiteY887" fmla="*/ 332888 h 669699"/>
                <a:gd name="connsiteX888" fmla="*/ 457554 w 645199"/>
                <a:gd name="connsiteY888" fmla="*/ 330766 h 669699"/>
                <a:gd name="connsiteX889" fmla="*/ 457043 w 645199"/>
                <a:gd name="connsiteY889" fmla="*/ 332695 h 669699"/>
                <a:gd name="connsiteX890" fmla="*/ 455067 w 645199"/>
                <a:gd name="connsiteY890" fmla="*/ 334479 h 669699"/>
                <a:gd name="connsiteX891" fmla="*/ 454358 w 645199"/>
                <a:gd name="connsiteY891" fmla="*/ 333608 h 669699"/>
                <a:gd name="connsiteX892" fmla="*/ 453954 w 645199"/>
                <a:gd name="connsiteY892" fmla="*/ 332672 h 669699"/>
                <a:gd name="connsiteX893" fmla="*/ 453877 w 645199"/>
                <a:gd name="connsiteY893" fmla="*/ 331025 h 669699"/>
                <a:gd name="connsiteX894" fmla="*/ 454961 w 645199"/>
                <a:gd name="connsiteY894" fmla="*/ 324720 h 669699"/>
                <a:gd name="connsiteX895" fmla="*/ 454740 w 645199"/>
                <a:gd name="connsiteY895" fmla="*/ 324009 h 669699"/>
                <a:gd name="connsiteX896" fmla="*/ 454254 w 645199"/>
                <a:gd name="connsiteY896" fmla="*/ 323543 h 669699"/>
                <a:gd name="connsiteX897" fmla="*/ 453177 w 645199"/>
                <a:gd name="connsiteY897" fmla="*/ 323293 h 669699"/>
                <a:gd name="connsiteX898" fmla="*/ 452780 w 645199"/>
                <a:gd name="connsiteY898" fmla="*/ 322016 h 669699"/>
                <a:gd name="connsiteX899" fmla="*/ 451126 w 645199"/>
                <a:gd name="connsiteY899" fmla="*/ 328739 h 669699"/>
                <a:gd name="connsiteX900" fmla="*/ 451856 w 645199"/>
                <a:gd name="connsiteY900" fmla="*/ 331482 h 669699"/>
                <a:gd name="connsiteX901" fmla="*/ 451521 w 645199"/>
                <a:gd name="connsiteY901" fmla="*/ 332734 h 669699"/>
                <a:gd name="connsiteX902" fmla="*/ 448455 w 645199"/>
                <a:gd name="connsiteY902" fmla="*/ 333787 h 669699"/>
                <a:gd name="connsiteX903" fmla="*/ 445347 w 645199"/>
                <a:gd name="connsiteY903" fmla="*/ 331260 h 669699"/>
                <a:gd name="connsiteX904" fmla="*/ 444950 w 645199"/>
                <a:gd name="connsiteY904" fmla="*/ 330452 h 669699"/>
                <a:gd name="connsiteX905" fmla="*/ 444767 w 645199"/>
                <a:gd name="connsiteY905" fmla="*/ 331873 h 669699"/>
                <a:gd name="connsiteX906" fmla="*/ 444203 w 645199"/>
                <a:gd name="connsiteY906" fmla="*/ 333600 h 669699"/>
                <a:gd name="connsiteX907" fmla="*/ 441292 w 645199"/>
                <a:gd name="connsiteY907" fmla="*/ 333288 h 669699"/>
                <a:gd name="connsiteX908" fmla="*/ 439849 w 645199"/>
                <a:gd name="connsiteY908" fmla="*/ 331936 h 669699"/>
                <a:gd name="connsiteX909" fmla="*/ 440791 w 645199"/>
                <a:gd name="connsiteY909" fmla="*/ 329633 h 669699"/>
                <a:gd name="connsiteX910" fmla="*/ 442596 w 645199"/>
                <a:gd name="connsiteY910" fmla="*/ 324083 h 669699"/>
                <a:gd name="connsiteX911" fmla="*/ 442933 w 645199"/>
                <a:gd name="connsiteY911" fmla="*/ 321608 h 669699"/>
                <a:gd name="connsiteX912" fmla="*/ 440519 w 645199"/>
                <a:gd name="connsiteY912" fmla="*/ 319793 h 669699"/>
                <a:gd name="connsiteX913" fmla="*/ 438470 w 645199"/>
                <a:gd name="connsiteY913" fmla="*/ 318679 h 669699"/>
                <a:gd name="connsiteX914" fmla="*/ 437297 w 645199"/>
                <a:gd name="connsiteY914" fmla="*/ 316155 h 669699"/>
                <a:gd name="connsiteX915" fmla="*/ 437744 w 645199"/>
                <a:gd name="connsiteY915" fmla="*/ 318926 h 669699"/>
                <a:gd name="connsiteX916" fmla="*/ 438830 w 645199"/>
                <a:gd name="connsiteY916" fmla="*/ 319911 h 669699"/>
                <a:gd name="connsiteX917" fmla="*/ 440428 w 645199"/>
                <a:gd name="connsiteY917" fmla="*/ 320606 h 669699"/>
                <a:gd name="connsiteX918" fmla="*/ 442115 w 645199"/>
                <a:gd name="connsiteY918" fmla="*/ 322021 h 669699"/>
                <a:gd name="connsiteX919" fmla="*/ 440895 w 645199"/>
                <a:gd name="connsiteY919" fmla="*/ 323747 h 669699"/>
                <a:gd name="connsiteX920" fmla="*/ 439716 w 645199"/>
                <a:gd name="connsiteY920" fmla="*/ 324821 h 669699"/>
                <a:gd name="connsiteX921" fmla="*/ 437453 w 645199"/>
                <a:gd name="connsiteY921" fmla="*/ 328894 h 669699"/>
                <a:gd name="connsiteX922" fmla="*/ 434695 w 645199"/>
                <a:gd name="connsiteY922" fmla="*/ 331167 h 669699"/>
                <a:gd name="connsiteX923" fmla="*/ 431477 w 645199"/>
                <a:gd name="connsiteY923" fmla="*/ 332877 h 669699"/>
                <a:gd name="connsiteX924" fmla="*/ 420918 w 645199"/>
                <a:gd name="connsiteY924" fmla="*/ 335394 h 669699"/>
                <a:gd name="connsiteX925" fmla="*/ 418707 w 645199"/>
                <a:gd name="connsiteY925" fmla="*/ 336414 h 669699"/>
                <a:gd name="connsiteX926" fmla="*/ 415466 w 645199"/>
                <a:gd name="connsiteY926" fmla="*/ 339548 h 669699"/>
                <a:gd name="connsiteX927" fmla="*/ 413375 w 645199"/>
                <a:gd name="connsiteY927" fmla="*/ 342523 h 669699"/>
                <a:gd name="connsiteX928" fmla="*/ 412993 w 645199"/>
                <a:gd name="connsiteY928" fmla="*/ 345536 h 669699"/>
                <a:gd name="connsiteX929" fmla="*/ 414177 w 645199"/>
                <a:gd name="connsiteY929" fmla="*/ 348788 h 669699"/>
                <a:gd name="connsiteX930" fmla="*/ 415140 w 645199"/>
                <a:gd name="connsiteY930" fmla="*/ 353879 h 669699"/>
                <a:gd name="connsiteX931" fmla="*/ 415938 w 645199"/>
                <a:gd name="connsiteY931" fmla="*/ 354915 h 669699"/>
                <a:gd name="connsiteX932" fmla="*/ 414811 w 645199"/>
                <a:gd name="connsiteY932" fmla="*/ 356769 h 669699"/>
                <a:gd name="connsiteX933" fmla="*/ 412853 w 645199"/>
                <a:gd name="connsiteY933" fmla="*/ 358739 h 669699"/>
                <a:gd name="connsiteX934" fmla="*/ 411229 w 645199"/>
                <a:gd name="connsiteY934" fmla="*/ 361394 h 669699"/>
                <a:gd name="connsiteX935" fmla="*/ 411378 w 645199"/>
                <a:gd name="connsiteY935" fmla="*/ 362851 h 669699"/>
                <a:gd name="connsiteX936" fmla="*/ 410961 w 645199"/>
                <a:gd name="connsiteY936" fmla="*/ 363834 h 669699"/>
                <a:gd name="connsiteX937" fmla="*/ 405396 w 645199"/>
                <a:gd name="connsiteY937" fmla="*/ 367094 h 669699"/>
                <a:gd name="connsiteX938" fmla="*/ 404226 w 645199"/>
                <a:gd name="connsiteY938" fmla="*/ 368998 h 669699"/>
                <a:gd name="connsiteX939" fmla="*/ 402695 w 645199"/>
                <a:gd name="connsiteY939" fmla="*/ 370889 h 669699"/>
                <a:gd name="connsiteX940" fmla="*/ 400862 w 645199"/>
                <a:gd name="connsiteY940" fmla="*/ 369807 h 669699"/>
                <a:gd name="connsiteX941" fmla="*/ 399791 w 645199"/>
                <a:gd name="connsiteY941" fmla="*/ 369824 h 669699"/>
                <a:gd name="connsiteX942" fmla="*/ 401266 w 645199"/>
                <a:gd name="connsiteY942" fmla="*/ 371324 h 669699"/>
                <a:gd name="connsiteX943" fmla="*/ 401067 w 645199"/>
                <a:gd name="connsiteY943" fmla="*/ 372316 h 669699"/>
                <a:gd name="connsiteX944" fmla="*/ 400549 w 645199"/>
                <a:gd name="connsiteY944" fmla="*/ 372897 h 669699"/>
                <a:gd name="connsiteX945" fmla="*/ 399149 w 645199"/>
                <a:gd name="connsiteY945" fmla="*/ 373440 h 669699"/>
                <a:gd name="connsiteX946" fmla="*/ 391116 w 645199"/>
                <a:gd name="connsiteY946" fmla="*/ 375832 h 669699"/>
                <a:gd name="connsiteX947" fmla="*/ 384971 w 645199"/>
                <a:gd name="connsiteY947" fmla="*/ 378103 h 669699"/>
                <a:gd name="connsiteX948" fmla="*/ 383243 w 645199"/>
                <a:gd name="connsiteY948" fmla="*/ 378011 h 669699"/>
                <a:gd name="connsiteX949" fmla="*/ 383559 w 645199"/>
                <a:gd name="connsiteY949" fmla="*/ 377322 h 669699"/>
                <a:gd name="connsiteX950" fmla="*/ 384634 w 645199"/>
                <a:gd name="connsiteY950" fmla="*/ 376712 h 669699"/>
                <a:gd name="connsiteX951" fmla="*/ 384530 w 645199"/>
                <a:gd name="connsiteY951" fmla="*/ 374105 h 669699"/>
                <a:gd name="connsiteX952" fmla="*/ 383403 w 645199"/>
                <a:gd name="connsiteY952" fmla="*/ 373626 h 669699"/>
                <a:gd name="connsiteX953" fmla="*/ 382427 w 645199"/>
                <a:gd name="connsiteY953" fmla="*/ 373438 h 669699"/>
                <a:gd name="connsiteX954" fmla="*/ 377754 w 645199"/>
                <a:gd name="connsiteY954" fmla="*/ 376615 h 669699"/>
                <a:gd name="connsiteX955" fmla="*/ 375856 w 645199"/>
                <a:gd name="connsiteY955" fmla="*/ 379757 h 669699"/>
                <a:gd name="connsiteX956" fmla="*/ 376253 w 645199"/>
                <a:gd name="connsiteY956" fmla="*/ 380355 h 669699"/>
                <a:gd name="connsiteX957" fmla="*/ 377309 w 645199"/>
                <a:gd name="connsiteY957" fmla="*/ 380207 h 669699"/>
                <a:gd name="connsiteX958" fmla="*/ 380458 w 645199"/>
                <a:gd name="connsiteY958" fmla="*/ 378425 h 669699"/>
                <a:gd name="connsiteX959" fmla="*/ 381917 w 645199"/>
                <a:gd name="connsiteY959" fmla="*/ 378931 h 669699"/>
                <a:gd name="connsiteX960" fmla="*/ 382021 w 645199"/>
                <a:gd name="connsiteY960" fmla="*/ 379628 h 669699"/>
                <a:gd name="connsiteX961" fmla="*/ 377245 w 645199"/>
                <a:gd name="connsiteY961" fmla="*/ 382342 h 669699"/>
                <a:gd name="connsiteX962" fmla="*/ 367193 w 645199"/>
                <a:gd name="connsiteY962" fmla="*/ 391128 h 669699"/>
                <a:gd name="connsiteX963" fmla="*/ 366724 w 645199"/>
                <a:gd name="connsiteY963" fmla="*/ 392854 h 669699"/>
                <a:gd name="connsiteX964" fmla="*/ 365420 w 645199"/>
                <a:gd name="connsiteY964" fmla="*/ 394810 h 669699"/>
                <a:gd name="connsiteX965" fmla="*/ 363619 w 645199"/>
                <a:gd name="connsiteY965" fmla="*/ 396651 h 669699"/>
                <a:gd name="connsiteX966" fmla="*/ 360378 w 645199"/>
                <a:gd name="connsiteY966" fmla="*/ 401107 h 669699"/>
                <a:gd name="connsiteX967" fmla="*/ 354163 w 645199"/>
                <a:gd name="connsiteY967" fmla="*/ 407721 h 669699"/>
                <a:gd name="connsiteX968" fmla="*/ 352446 w 645199"/>
                <a:gd name="connsiteY968" fmla="*/ 410187 h 669699"/>
                <a:gd name="connsiteX969" fmla="*/ 342500 w 645199"/>
                <a:gd name="connsiteY969" fmla="*/ 415277 h 669699"/>
                <a:gd name="connsiteX970" fmla="*/ 340686 w 645199"/>
                <a:gd name="connsiteY970" fmla="*/ 416790 h 669699"/>
                <a:gd name="connsiteX971" fmla="*/ 336611 w 645199"/>
                <a:gd name="connsiteY971" fmla="*/ 421741 h 669699"/>
                <a:gd name="connsiteX972" fmla="*/ 332418 w 645199"/>
                <a:gd name="connsiteY972" fmla="*/ 425793 h 669699"/>
                <a:gd name="connsiteX973" fmla="*/ 327520 w 645199"/>
                <a:gd name="connsiteY973" fmla="*/ 429147 h 669699"/>
                <a:gd name="connsiteX974" fmla="*/ 319036 w 645199"/>
                <a:gd name="connsiteY974" fmla="*/ 433427 h 669699"/>
                <a:gd name="connsiteX975" fmla="*/ 313871 w 645199"/>
                <a:gd name="connsiteY975" fmla="*/ 437473 h 669699"/>
                <a:gd name="connsiteX976" fmla="*/ 312256 w 645199"/>
                <a:gd name="connsiteY976" fmla="*/ 440161 h 669699"/>
                <a:gd name="connsiteX977" fmla="*/ 312154 w 645199"/>
                <a:gd name="connsiteY977" fmla="*/ 441116 h 669699"/>
                <a:gd name="connsiteX978" fmla="*/ 312713 w 645199"/>
                <a:gd name="connsiteY978" fmla="*/ 442424 h 669699"/>
                <a:gd name="connsiteX979" fmla="*/ 313659 w 645199"/>
                <a:gd name="connsiteY979" fmla="*/ 443638 h 669699"/>
                <a:gd name="connsiteX980" fmla="*/ 313875 w 645199"/>
                <a:gd name="connsiteY980" fmla="*/ 444601 h 669699"/>
                <a:gd name="connsiteX981" fmla="*/ 313409 w 645199"/>
                <a:gd name="connsiteY981" fmla="*/ 446335 h 669699"/>
                <a:gd name="connsiteX982" fmla="*/ 313154 w 645199"/>
                <a:gd name="connsiteY982" fmla="*/ 447294 h 669699"/>
                <a:gd name="connsiteX983" fmla="*/ 311643 w 645199"/>
                <a:gd name="connsiteY983" fmla="*/ 449668 h 669699"/>
                <a:gd name="connsiteX984" fmla="*/ 309049 w 645199"/>
                <a:gd name="connsiteY984" fmla="*/ 451360 h 669699"/>
                <a:gd name="connsiteX985" fmla="*/ 300656 w 645199"/>
                <a:gd name="connsiteY985" fmla="*/ 454899 h 669699"/>
                <a:gd name="connsiteX986" fmla="*/ 299546 w 645199"/>
                <a:gd name="connsiteY986" fmla="*/ 454786 h 669699"/>
                <a:gd name="connsiteX987" fmla="*/ 292694 w 645199"/>
                <a:gd name="connsiteY987" fmla="*/ 454087 h 669699"/>
                <a:gd name="connsiteX988" fmla="*/ 290135 w 645199"/>
                <a:gd name="connsiteY988" fmla="*/ 454727 h 669699"/>
                <a:gd name="connsiteX989" fmla="*/ 289083 w 645199"/>
                <a:gd name="connsiteY989" fmla="*/ 456386 h 669699"/>
                <a:gd name="connsiteX990" fmla="*/ 286730 w 645199"/>
                <a:gd name="connsiteY990" fmla="*/ 463241 h 669699"/>
                <a:gd name="connsiteX991" fmla="*/ 284473 w 645199"/>
                <a:gd name="connsiteY991" fmla="*/ 465062 h 669699"/>
                <a:gd name="connsiteX992" fmla="*/ 283663 w 645199"/>
                <a:gd name="connsiteY992" fmla="*/ 466710 h 669699"/>
                <a:gd name="connsiteX993" fmla="*/ 283337 w 645199"/>
                <a:gd name="connsiteY993" fmla="*/ 467852 h 669699"/>
                <a:gd name="connsiteX994" fmla="*/ 281990 w 645199"/>
                <a:gd name="connsiteY994" fmla="*/ 467822 h 669699"/>
                <a:gd name="connsiteX995" fmla="*/ 280817 w 645199"/>
                <a:gd name="connsiteY995" fmla="*/ 467311 h 669699"/>
                <a:gd name="connsiteX996" fmla="*/ 279960 w 645199"/>
                <a:gd name="connsiteY996" fmla="*/ 467680 h 669699"/>
                <a:gd name="connsiteX997" fmla="*/ 278984 w 645199"/>
                <a:gd name="connsiteY997" fmla="*/ 465382 h 669699"/>
                <a:gd name="connsiteX998" fmla="*/ 277347 w 645199"/>
                <a:gd name="connsiteY998" fmla="*/ 464912 h 669699"/>
                <a:gd name="connsiteX999" fmla="*/ 275993 w 645199"/>
                <a:gd name="connsiteY999" fmla="*/ 464755 h 669699"/>
                <a:gd name="connsiteX1000" fmla="*/ 270206 w 645199"/>
                <a:gd name="connsiteY1000" fmla="*/ 467072 h 669699"/>
                <a:gd name="connsiteX1001" fmla="*/ 268185 w 645199"/>
                <a:gd name="connsiteY1001" fmla="*/ 468930 h 669699"/>
                <a:gd name="connsiteX1002" fmla="*/ 263931 w 645199"/>
                <a:gd name="connsiteY1002" fmla="*/ 477695 h 669699"/>
                <a:gd name="connsiteX1003" fmla="*/ 262877 w 645199"/>
                <a:gd name="connsiteY1003" fmla="*/ 483341 h 669699"/>
                <a:gd name="connsiteX1004" fmla="*/ 263877 w 645199"/>
                <a:gd name="connsiteY1004" fmla="*/ 489574 h 669699"/>
                <a:gd name="connsiteX1005" fmla="*/ 265354 w 645199"/>
                <a:gd name="connsiteY1005" fmla="*/ 494552 h 669699"/>
                <a:gd name="connsiteX1006" fmla="*/ 265648 w 645199"/>
                <a:gd name="connsiteY1006" fmla="*/ 496799 h 669699"/>
                <a:gd name="connsiteX1007" fmla="*/ 265457 w 645199"/>
                <a:gd name="connsiteY1007" fmla="*/ 499708 h 669699"/>
                <a:gd name="connsiteX1008" fmla="*/ 264708 w 645199"/>
                <a:gd name="connsiteY1008" fmla="*/ 501126 h 669699"/>
                <a:gd name="connsiteX1009" fmla="*/ 264166 w 645199"/>
                <a:gd name="connsiteY1009" fmla="*/ 502803 h 669699"/>
                <a:gd name="connsiteX1010" fmla="*/ 264873 w 645199"/>
                <a:gd name="connsiteY1010" fmla="*/ 506259 h 669699"/>
                <a:gd name="connsiteX1011" fmla="*/ 266658 w 645199"/>
                <a:gd name="connsiteY1011" fmla="*/ 510784 h 669699"/>
                <a:gd name="connsiteX1012" fmla="*/ 267094 w 645199"/>
                <a:gd name="connsiteY1012" fmla="*/ 512692 h 669699"/>
                <a:gd name="connsiteX1013" fmla="*/ 267131 w 645199"/>
                <a:gd name="connsiteY1013" fmla="*/ 514667 h 669699"/>
                <a:gd name="connsiteX1014" fmla="*/ 268474 w 645199"/>
                <a:gd name="connsiteY1014" fmla="*/ 519187 h 669699"/>
                <a:gd name="connsiteX1015" fmla="*/ 267569 w 645199"/>
                <a:gd name="connsiteY1015" fmla="*/ 518372 h 669699"/>
                <a:gd name="connsiteX1016" fmla="*/ 266857 w 645199"/>
                <a:gd name="connsiteY1016" fmla="*/ 516470 h 669699"/>
                <a:gd name="connsiteX1017" fmla="*/ 265151 w 645199"/>
                <a:gd name="connsiteY1017" fmla="*/ 514038 h 669699"/>
                <a:gd name="connsiteX1018" fmla="*/ 263069 w 645199"/>
                <a:gd name="connsiteY1018" fmla="*/ 516459 h 669699"/>
                <a:gd name="connsiteX1019" fmla="*/ 264223 w 645199"/>
                <a:gd name="connsiteY1019" fmla="*/ 518205 h 669699"/>
                <a:gd name="connsiteX1020" fmla="*/ 268116 w 645199"/>
                <a:gd name="connsiteY1020" fmla="*/ 520276 h 669699"/>
                <a:gd name="connsiteX1021" fmla="*/ 269267 w 645199"/>
                <a:gd name="connsiteY1021" fmla="*/ 521972 h 669699"/>
                <a:gd name="connsiteX1022" fmla="*/ 266762 w 645199"/>
                <a:gd name="connsiteY1022" fmla="*/ 537058 h 669699"/>
                <a:gd name="connsiteX1023" fmla="*/ 264859 w 645199"/>
                <a:gd name="connsiteY1023" fmla="*/ 542410 h 669699"/>
                <a:gd name="connsiteX1024" fmla="*/ 262525 w 645199"/>
                <a:gd name="connsiteY1024" fmla="*/ 545917 h 669699"/>
                <a:gd name="connsiteX1025" fmla="*/ 261292 w 645199"/>
                <a:gd name="connsiteY1025" fmla="*/ 547271 h 669699"/>
                <a:gd name="connsiteX1026" fmla="*/ 258567 w 645199"/>
                <a:gd name="connsiteY1026" fmla="*/ 552804 h 669699"/>
                <a:gd name="connsiteX1027" fmla="*/ 256641 w 645199"/>
                <a:gd name="connsiteY1027" fmla="*/ 559497 h 669699"/>
                <a:gd name="connsiteX1028" fmla="*/ 256259 w 645199"/>
                <a:gd name="connsiteY1028" fmla="*/ 562072 h 669699"/>
                <a:gd name="connsiteX1029" fmla="*/ 257126 w 645199"/>
                <a:gd name="connsiteY1029" fmla="*/ 564954 h 669699"/>
                <a:gd name="connsiteX1030" fmla="*/ 256144 w 645199"/>
                <a:gd name="connsiteY1030" fmla="*/ 566657 h 669699"/>
                <a:gd name="connsiteX1031" fmla="*/ 254911 w 645199"/>
                <a:gd name="connsiteY1031" fmla="*/ 567957 h 669699"/>
                <a:gd name="connsiteX1032" fmla="*/ 257252 w 645199"/>
                <a:gd name="connsiteY1032" fmla="*/ 567372 h 669699"/>
                <a:gd name="connsiteX1033" fmla="*/ 258053 w 645199"/>
                <a:gd name="connsiteY1033" fmla="*/ 568936 h 669699"/>
                <a:gd name="connsiteX1034" fmla="*/ 258349 w 645199"/>
                <a:gd name="connsiteY1034" fmla="*/ 570547 h 669699"/>
                <a:gd name="connsiteX1035" fmla="*/ 258383 w 645199"/>
                <a:gd name="connsiteY1035" fmla="*/ 580124 h 669699"/>
                <a:gd name="connsiteX1036" fmla="*/ 258118 w 645199"/>
                <a:gd name="connsiteY1036" fmla="*/ 590100 h 669699"/>
                <a:gd name="connsiteX1037" fmla="*/ 256321 w 645199"/>
                <a:gd name="connsiteY1037" fmla="*/ 590507 h 669699"/>
                <a:gd name="connsiteX1038" fmla="*/ 254341 w 645199"/>
                <a:gd name="connsiteY1038" fmla="*/ 590611 h 669699"/>
                <a:gd name="connsiteX1039" fmla="*/ 252598 w 645199"/>
                <a:gd name="connsiteY1039" fmla="*/ 590328 h 669699"/>
                <a:gd name="connsiteX1040" fmla="*/ 251339 w 645199"/>
                <a:gd name="connsiteY1040" fmla="*/ 589942 h 669699"/>
                <a:gd name="connsiteX1041" fmla="*/ 248219 w 645199"/>
                <a:gd name="connsiteY1041" fmla="*/ 590471 h 669699"/>
                <a:gd name="connsiteX1042" fmla="*/ 246539 w 645199"/>
                <a:gd name="connsiteY1042" fmla="*/ 591572 h 669699"/>
                <a:gd name="connsiteX1043" fmla="*/ 245192 w 645199"/>
                <a:gd name="connsiteY1043" fmla="*/ 593401 h 669699"/>
                <a:gd name="connsiteX1044" fmla="*/ 245285 w 645199"/>
                <a:gd name="connsiteY1044" fmla="*/ 596519 h 669699"/>
                <a:gd name="connsiteX1045" fmla="*/ 239502 w 645199"/>
                <a:gd name="connsiteY1045" fmla="*/ 604379 h 669699"/>
                <a:gd name="connsiteX1046" fmla="*/ 238256 w 645199"/>
                <a:gd name="connsiteY1046" fmla="*/ 606997 h 669699"/>
                <a:gd name="connsiteX1047" fmla="*/ 237796 w 645199"/>
                <a:gd name="connsiteY1047" fmla="*/ 609516 h 669699"/>
                <a:gd name="connsiteX1048" fmla="*/ 238547 w 645199"/>
                <a:gd name="connsiteY1048" fmla="*/ 610833 h 669699"/>
                <a:gd name="connsiteX1049" fmla="*/ 240024 w 645199"/>
                <a:gd name="connsiteY1049" fmla="*/ 612182 h 669699"/>
                <a:gd name="connsiteX1050" fmla="*/ 241950 w 645199"/>
                <a:gd name="connsiteY1050" fmla="*/ 612726 h 669699"/>
                <a:gd name="connsiteX1051" fmla="*/ 245676 w 645199"/>
                <a:gd name="connsiteY1051" fmla="*/ 613268 h 669699"/>
                <a:gd name="connsiteX1052" fmla="*/ 247463 w 645199"/>
                <a:gd name="connsiteY1052" fmla="*/ 613992 h 669699"/>
                <a:gd name="connsiteX1053" fmla="*/ 248681 w 645199"/>
                <a:gd name="connsiteY1053" fmla="*/ 615325 h 669699"/>
                <a:gd name="connsiteX1054" fmla="*/ 244291 w 645199"/>
                <a:gd name="connsiteY1054" fmla="*/ 613906 h 669699"/>
                <a:gd name="connsiteX1055" fmla="*/ 239133 w 645199"/>
                <a:gd name="connsiteY1055" fmla="*/ 613627 h 669699"/>
                <a:gd name="connsiteX1056" fmla="*/ 226791 w 645199"/>
                <a:gd name="connsiteY1056" fmla="*/ 617272 h 669699"/>
                <a:gd name="connsiteX1057" fmla="*/ 223542 w 645199"/>
                <a:gd name="connsiteY1057" fmla="*/ 619832 h 669699"/>
                <a:gd name="connsiteX1058" fmla="*/ 221728 w 645199"/>
                <a:gd name="connsiteY1058" fmla="*/ 622045 h 669699"/>
                <a:gd name="connsiteX1059" fmla="*/ 220479 w 645199"/>
                <a:gd name="connsiteY1059" fmla="*/ 627114 h 669699"/>
                <a:gd name="connsiteX1060" fmla="*/ 220266 w 645199"/>
                <a:gd name="connsiteY1060" fmla="*/ 630500 h 669699"/>
                <a:gd name="connsiteX1061" fmla="*/ 218802 w 645199"/>
                <a:gd name="connsiteY1061" fmla="*/ 633323 h 669699"/>
                <a:gd name="connsiteX1062" fmla="*/ 212393 w 645199"/>
                <a:gd name="connsiteY1062" fmla="*/ 637658 h 669699"/>
                <a:gd name="connsiteX1063" fmla="*/ 208344 w 645199"/>
                <a:gd name="connsiteY1063" fmla="*/ 638992 h 669699"/>
                <a:gd name="connsiteX1064" fmla="*/ 206804 w 645199"/>
                <a:gd name="connsiteY1064" fmla="*/ 640140 h 669699"/>
                <a:gd name="connsiteX1065" fmla="*/ 202026 w 645199"/>
                <a:gd name="connsiteY1065" fmla="*/ 638649 h 669699"/>
                <a:gd name="connsiteX1066" fmla="*/ 196817 w 645199"/>
                <a:gd name="connsiteY1066" fmla="*/ 634851 h 669699"/>
                <a:gd name="connsiteX1067" fmla="*/ 194628 w 645199"/>
                <a:gd name="connsiteY1067" fmla="*/ 632817 h 669699"/>
                <a:gd name="connsiteX1068" fmla="*/ 186897 w 645199"/>
                <a:gd name="connsiteY1068" fmla="*/ 623021 h 669699"/>
                <a:gd name="connsiteX1069" fmla="*/ 185485 w 645199"/>
                <a:gd name="connsiteY1069" fmla="*/ 621780 h 669699"/>
                <a:gd name="connsiteX1070" fmla="*/ 183926 w 645199"/>
                <a:gd name="connsiteY1070" fmla="*/ 617590 h 669699"/>
                <a:gd name="connsiteX1071" fmla="*/ 183679 w 645199"/>
                <a:gd name="connsiteY1071" fmla="*/ 616028 h 669699"/>
                <a:gd name="connsiteX1072" fmla="*/ 183250 w 645199"/>
                <a:gd name="connsiteY1072" fmla="*/ 615406 h 669699"/>
                <a:gd name="connsiteX1073" fmla="*/ 182514 w 645199"/>
                <a:gd name="connsiteY1073" fmla="*/ 614981 h 669699"/>
                <a:gd name="connsiteX1074" fmla="*/ 182161 w 645199"/>
                <a:gd name="connsiteY1074" fmla="*/ 614334 h 669699"/>
                <a:gd name="connsiteX1075" fmla="*/ 180425 w 645199"/>
                <a:gd name="connsiteY1075" fmla="*/ 609533 h 669699"/>
                <a:gd name="connsiteX1076" fmla="*/ 179713 w 645199"/>
                <a:gd name="connsiteY1076" fmla="*/ 604527 h 669699"/>
                <a:gd name="connsiteX1077" fmla="*/ 178607 w 645199"/>
                <a:gd name="connsiteY1077" fmla="*/ 598933 h 669699"/>
                <a:gd name="connsiteX1078" fmla="*/ 179542 w 645199"/>
                <a:gd name="connsiteY1078" fmla="*/ 599318 h 669699"/>
                <a:gd name="connsiteX1079" fmla="*/ 180833 w 645199"/>
                <a:gd name="connsiteY1079" fmla="*/ 601160 h 669699"/>
                <a:gd name="connsiteX1080" fmla="*/ 181479 w 645199"/>
                <a:gd name="connsiteY1080" fmla="*/ 603838 h 669699"/>
                <a:gd name="connsiteX1081" fmla="*/ 181552 w 645199"/>
                <a:gd name="connsiteY1081" fmla="*/ 607575 h 669699"/>
                <a:gd name="connsiteX1082" fmla="*/ 182524 w 645199"/>
                <a:gd name="connsiteY1082" fmla="*/ 608008 h 669699"/>
                <a:gd name="connsiteX1083" fmla="*/ 183392 w 645199"/>
                <a:gd name="connsiteY1083" fmla="*/ 607656 h 669699"/>
                <a:gd name="connsiteX1084" fmla="*/ 180909 w 645199"/>
                <a:gd name="connsiteY1084" fmla="*/ 599044 h 669699"/>
                <a:gd name="connsiteX1085" fmla="*/ 178748 w 645199"/>
                <a:gd name="connsiteY1085" fmla="*/ 596904 h 669699"/>
                <a:gd name="connsiteX1086" fmla="*/ 178173 w 645199"/>
                <a:gd name="connsiteY1086" fmla="*/ 596763 h 669699"/>
                <a:gd name="connsiteX1087" fmla="*/ 177572 w 645199"/>
                <a:gd name="connsiteY1087" fmla="*/ 595382 h 669699"/>
                <a:gd name="connsiteX1088" fmla="*/ 177508 w 645199"/>
                <a:gd name="connsiteY1088" fmla="*/ 593648 h 669699"/>
                <a:gd name="connsiteX1089" fmla="*/ 177702 w 645199"/>
                <a:gd name="connsiteY1089" fmla="*/ 592824 h 669699"/>
                <a:gd name="connsiteX1090" fmla="*/ 175975 w 645199"/>
                <a:gd name="connsiteY1090" fmla="*/ 590001 h 669699"/>
                <a:gd name="connsiteX1091" fmla="*/ 175372 w 645199"/>
                <a:gd name="connsiteY1091" fmla="*/ 588320 h 669699"/>
                <a:gd name="connsiteX1092" fmla="*/ 171535 w 645199"/>
                <a:gd name="connsiteY1092" fmla="*/ 579783 h 669699"/>
                <a:gd name="connsiteX1093" fmla="*/ 169812 w 645199"/>
                <a:gd name="connsiteY1093" fmla="*/ 573665 h 669699"/>
                <a:gd name="connsiteX1094" fmla="*/ 167140 w 645199"/>
                <a:gd name="connsiteY1094" fmla="*/ 566855 h 669699"/>
                <a:gd name="connsiteX1095" fmla="*/ 165422 w 645199"/>
                <a:gd name="connsiteY1095" fmla="*/ 564467 h 669699"/>
                <a:gd name="connsiteX1096" fmla="*/ 162733 w 645199"/>
                <a:gd name="connsiteY1096" fmla="*/ 559208 h 669699"/>
                <a:gd name="connsiteX1097" fmla="*/ 160481 w 645199"/>
                <a:gd name="connsiteY1097" fmla="*/ 556763 h 669699"/>
                <a:gd name="connsiteX1098" fmla="*/ 158093 w 645199"/>
                <a:gd name="connsiteY1098" fmla="*/ 553484 h 669699"/>
                <a:gd name="connsiteX1099" fmla="*/ 156216 w 645199"/>
                <a:gd name="connsiteY1099" fmla="*/ 552029 h 669699"/>
                <a:gd name="connsiteX1100" fmla="*/ 155484 w 645199"/>
                <a:gd name="connsiteY1100" fmla="*/ 551263 h 669699"/>
                <a:gd name="connsiteX1101" fmla="*/ 149931 w 645199"/>
                <a:gd name="connsiteY1101" fmla="*/ 539883 h 669699"/>
                <a:gd name="connsiteX1102" fmla="*/ 148222 w 645199"/>
                <a:gd name="connsiteY1102" fmla="*/ 533593 h 669699"/>
                <a:gd name="connsiteX1103" fmla="*/ 146778 w 645199"/>
                <a:gd name="connsiteY1103" fmla="*/ 530620 h 669699"/>
                <a:gd name="connsiteX1104" fmla="*/ 146061 w 645199"/>
                <a:gd name="connsiteY1104" fmla="*/ 528360 h 669699"/>
                <a:gd name="connsiteX1105" fmla="*/ 144111 w 645199"/>
                <a:gd name="connsiteY1105" fmla="*/ 518695 h 669699"/>
                <a:gd name="connsiteX1106" fmla="*/ 144096 w 645199"/>
                <a:gd name="connsiteY1106" fmla="*/ 516966 h 669699"/>
                <a:gd name="connsiteX1107" fmla="*/ 143858 w 645199"/>
                <a:gd name="connsiteY1107" fmla="*/ 515077 h 669699"/>
                <a:gd name="connsiteX1108" fmla="*/ 142478 w 645199"/>
                <a:gd name="connsiteY1108" fmla="*/ 510976 h 669699"/>
                <a:gd name="connsiteX1109" fmla="*/ 140047 w 645199"/>
                <a:gd name="connsiteY1109" fmla="*/ 506544 h 669699"/>
                <a:gd name="connsiteX1110" fmla="*/ 139343 w 645199"/>
                <a:gd name="connsiteY1110" fmla="*/ 503781 h 669699"/>
                <a:gd name="connsiteX1111" fmla="*/ 139350 w 645199"/>
                <a:gd name="connsiteY1111" fmla="*/ 502706 h 669699"/>
                <a:gd name="connsiteX1112" fmla="*/ 137805 w 645199"/>
                <a:gd name="connsiteY1112" fmla="*/ 498399 h 669699"/>
                <a:gd name="connsiteX1113" fmla="*/ 137475 w 645199"/>
                <a:gd name="connsiteY1113" fmla="*/ 496429 h 669699"/>
                <a:gd name="connsiteX1114" fmla="*/ 136432 w 645199"/>
                <a:gd name="connsiteY1114" fmla="*/ 494607 h 669699"/>
                <a:gd name="connsiteX1115" fmla="*/ 135223 w 645199"/>
                <a:gd name="connsiteY1115" fmla="*/ 492934 h 669699"/>
                <a:gd name="connsiteX1116" fmla="*/ 133955 w 645199"/>
                <a:gd name="connsiteY1116" fmla="*/ 491593 h 669699"/>
                <a:gd name="connsiteX1117" fmla="*/ 130986 w 645199"/>
                <a:gd name="connsiteY1117" fmla="*/ 487225 h 669699"/>
                <a:gd name="connsiteX1118" fmla="*/ 129921 w 645199"/>
                <a:gd name="connsiteY1118" fmla="*/ 486160 h 669699"/>
                <a:gd name="connsiteX1119" fmla="*/ 127900 w 645199"/>
                <a:gd name="connsiteY1119" fmla="*/ 483325 h 669699"/>
                <a:gd name="connsiteX1120" fmla="*/ 126464 w 645199"/>
                <a:gd name="connsiteY1120" fmla="*/ 478084 h 669699"/>
                <a:gd name="connsiteX1121" fmla="*/ 124618 w 645199"/>
                <a:gd name="connsiteY1121" fmla="*/ 476035 h 669699"/>
                <a:gd name="connsiteX1122" fmla="*/ 127518 w 645199"/>
                <a:gd name="connsiteY1122" fmla="*/ 476035 h 669699"/>
                <a:gd name="connsiteX1123" fmla="*/ 125750 w 645199"/>
                <a:gd name="connsiteY1123" fmla="*/ 474100 h 669699"/>
                <a:gd name="connsiteX1124" fmla="*/ 124907 w 645199"/>
                <a:gd name="connsiteY1124" fmla="*/ 472830 h 669699"/>
                <a:gd name="connsiteX1125" fmla="*/ 123976 w 645199"/>
                <a:gd name="connsiteY1125" fmla="*/ 472049 h 669699"/>
                <a:gd name="connsiteX1126" fmla="*/ 125326 w 645199"/>
                <a:gd name="connsiteY1126" fmla="*/ 470094 h 669699"/>
                <a:gd name="connsiteX1127" fmla="*/ 123115 w 645199"/>
                <a:gd name="connsiteY1127" fmla="*/ 470149 h 669699"/>
                <a:gd name="connsiteX1128" fmla="*/ 121945 w 645199"/>
                <a:gd name="connsiteY1128" fmla="*/ 468973 h 669699"/>
                <a:gd name="connsiteX1129" fmla="*/ 120349 w 645199"/>
                <a:gd name="connsiteY1129" fmla="*/ 465297 h 669699"/>
                <a:gd name="connsiteX1130" fmla="*/ 117438 w 645199"/>
                <a:gd name="connsiteY1130" fmla="*/ 461144 h 669699"/>
                <a:gd name="connsiteX1131" fmla="*/ 116944 w 645199"/>
                <a:gd name="connsiteY1131" fmla="*/ 458924 h 669699"/>
                <a:gd name="connsiteX1132" fmla="*/ 114376 w 645199"/>
                <a:gd name="connsiteY1132" fmla="*/ 451939 h 669699"/>
                <a:gd name="connsiteX1133" fmla="*/ 112199 w 645199"/>
                <a:gd name="connsiteY1133" fmla="*/ 435144 h 669699"/>
                <a:gd name="connsiteX1134" fmla="*/ 110206 w 645199"/>
                <a:gd name="connsiteY1134" fmla="*/ 427652 h 669699"/>
                <a:gd name="connsiteX1135" fmla="*/ 110362 w 645199"/>
                <a:gd name="connsiteY1135" fmla="*/ 425498 h 669699"/>
                <a:gd name="connsiteX1136" fmla="*/ 107954 w 645199"/>
                <a:gd name="connsiteY1136" fmla="*/ 419002 h 669699"/>
                <a:gd name="connsiteX1137" fmla="*/ 106777 w 645199"/>
                <a:gd name="connsiteY1137" fmla="*/ 414642 h 669699"/>
                <a:gd name="connsiteX1138" fmla="*/ 106293 w 645199"/>
                <a:gd name="connsiteY1138" fmla="*/ 410951 h 669699"/>
                <a:gd name="connsiteX1139" fmla="*/ 105654 w 645199"/>
                <a:gd name="connsiteY1139" fmla="*/ 408520 h 669699"/>
                <a:gd name="connsiteX1140" fmla="*/ 105080 w 645199"/>
                <a:gd name="connsiteY1140" fmla="*/ 403706 h 669699"/>
                <a:gd name="connsiteX1141" fmla="*/ 104158 w 645199"/>
                <a:gd name="connsiteY1141" fmla="*/ 402180 h 669699"/>
                <a:gd name="connsiteX1142" fmla="*/ 104056 w 645199"/>
                <a:gd name="connsiteY1142" fmla="*/ 401260 h 669699"/>
                <a:gd name="connsiteX1143" fmla="*/ 104672 w 645199"/>
                <a:gd name="connsiteY1143" fmla="*/ 399064 h 669699"/>
                <a:gd name="connsiteX1144" fmla="*/ 106399 w 645199"/>
                <a:gd name="connsiteY1144" fmla="*/ 395670 h 669699"/>
                <a:gd name="connsiteX1145" fmla="*/ 107034 w 645199"/>
                <a:gd name="connsiteY1145" fmla="*/ 393518 h 669699"/>
                <a:gd name="connsiteX1146" fmla="*/ 106293 w 645199"/>
                <a:gd name="connsiteY1146" fmla="*/ 390487 h 669699"/>
                <a:gd name="connsiteX1147" fmla="*/ 104715 w 645199"/>
                <a:gd name="connsiteY1147" fmla="*/ 393669 h 669699"/>
                <a:gd name="connsiteX1148" fmla="*/ 103255 w 645199"/>
                <a:gd name="connsiteY1148" fmla="*/ 394561 h 669699"/>
                <a:gd name="connsiteX1149" fmla="*/ 102556 w 645199"/>
                <a:gd name="connsiteY1149" fmla="*/ 392184 h 669699"/>
                <a:gd name="connsiteX1150" fmla="*/ 102549 w 645199"/>
                <a:gd name="connsiteY1150" fmla="*/ 388987 h 669699"/>
                <a:gd name="connsiteX1151" fmla="*/ 102368 w 645199"/>
                <a:gd name="connsiteY1151" fmla="*/ 388222 h 669699"/>
                <a:gd name="connsiteX1152" fmla="*/ 102746 w 645199"/>
                <a:gd name="connsiteY1152" fmla="*/ 387148 h 669699"/>
                <a:gd name="connsiteX1153" fmla="*/ 106628 w 645199"/>
                <a:gd name="connsiteY1153" fmla="*/ 387641 h 669699"/>
                <a:gd name="connsiteX1154" fmla="*/ 102221 w 645199"/>
                <a:gd name="connsiteY1154" fmla="*/ 385678 h 669699"/>
                <a:gd name="connsiteX1155" fmla="*/ 101692 w 645199"/>
                <a:gd name="connsiteY1155" fmla="*/ 384527 h 669699"/>
                <a:gd name="connsiteX1156" fmla="*/ 101525 w 645199"/>
                <a:gd name="connsiteY1156" fmla="*/ 383669 h 669699"/>
                <a:gd name="connsiteX1157" fmla="*/ 102476 w 645199"/>
                <a:gd name="connsiteY1157" fmla="*/ 382079 h 669699"/>
                <a:gd name="connsiteX1158" fmla="*/ 100865 w 645199"/>
                <a:gd name="connsiteY1158" fmla="*/ 380737 h 669699"/>
                <a:gd name="connsiteX1159" fmla="*/ 100221 w 645199"/>
                <a:gd name="connsiteY1159" fmla="*/ 376628 h 669699"/>
                <a:gd name="connsiteX1160" fmla="*/ 99746 w 645199"/>
                <a:gd name="connsiteY1160" fmla="*/ 375690 h 669699"/>
                <a:gd name="connsiteX1161" fmla="*/ 99565 w 645199"/>
                <a:gd name="connsiteY1161" fmla="*/ 374931 h 669699"/>
                <a:gd name="connsiteX1162" fmla="*/ 100476 w 645199"/>
                <a:gd name="connsiteY1162" fmla="*/ 369248 h 669699"/>
                <a:gd name="connsiteX1163" fmla="*/ 104283 w 645199"/>
                <a:gd name="connsiteY1163" fmla="*/ 358074 h 669699"/>
                <a:gd name="connsiteX1164" fmla="*/ 104562 w 645199"/>
                <a:gd name="connsiteY1164" fmla="*/ 355547 h 669699"/>
                <a:gd name="connsiteX1165" fmla="*/ 104233 w 645199"/>
                <a:gd name="connsiteY1165" fmla="*/ 351953 h 669699"/>
                <a:gd name="connsiteX1166" fmla="*/ 103385 w 645199"/>
                <a:gd name="connsiteY1166" fmla="*/ 349091 h 669699"/>
                <a:gd name="connsiteX1167" fmla="*/ 103026 w 645199"/>
                <a:gd name="connsiteY1167" fmla="*/ 346062 h 669699"/>
                <a:gd name="connsiteX1168" fmla="*/ 102795 w 645199"/>
                <a:gd name="connsiteY1168" fmla="*/ 345286 h 669699"/>
                <a:gd name="connsiteX1169" fmla="*/ 101418 w 645199"/>
                <a:gd name="connsiteY1169" fmla="*/ 345010 h 669699"/>
                <a:gd name="connsiteX1170" fmla="*/ 100109 w 645199"/>
                <a:gd name="connsiteY1170" fmla="*/ 343889 h 669699"/>
                <a:gd name="connsiteX1171" fmla="*/ 98593 w 645199"/>
                <a:gd name="connsiteY1171" fmla="*/ 339395 h 669699"/>
                <a:gd name="connsiteX1172" fmla="*/ 99979 w 645199"/>
                <a:gd name="connsiteY1172" fmla="*/ 337919 h 669699"/>
                <a:gd name="connsiteX1173" fmla="*/ 101046 w 645199"/>
                <a:gd name="connsiteY1173" fmla="*/ 337108 h 669699"/>
                <a:gd name="connsiteX1174" fmla="*/ 99578 w 645199"/>
                <a:gd name="connsiteY1174" fmla="*/ 337453 h 669699"/>
                <a:gd name="connsiteX1175" fmla="*/ 98360 w 645199"/>
                <a:gd name="connsiteY1175" fmla="*/ 337316 h 669699"/>
                <a:gd name="connsiteX1176" fmla="*/ 100666 w 645199"/>
                <a:gd name="connsiteY1176" fmla="*/ 335245 h 669699"/>
                <a:gd name="connsiteX1177" fmla="*/ 102722 w 645199"/>
                <a:gd name="connsiteY1177" fmla="*/ 333656 h 669699"/>
                <a:gd name="connsiteX1178" fmla="*/ 107408 w 645199"/>
                <a:gd name="connsiteY1178" fmla="*/ 331810 h 669699"/>
                <a:gd name="connsiteX1179" fmla="*/ 109399 w 645199"/>
                <a:gd name="connsiteY1179" fmla="*/ 330632 h 669699"/>
                <a:gd name="connsiteX1180" fmla="*/ 106449 w 645199"/>
                <a:gd name="connsiteY1180" fmla="*/ 331692 h 669699"/>
                <a:gd name="connsiteX1181" fmla="*/ 103368 w 645199"/>
                <a:gd name="connsiteY1181" fmla="*/ 332096 h 669699"/>
                <a:gd name="connsiteX1182" fmla="*/ 96808 w 645199"/>
                <a:gd name="connsiteY1182" fmla="*/ 331880 h 669699"/>
                <a:gd name="connsiteX1183" fmla="*/ 97900 w 645199"/>
                <a:gd name="connsiteY1183" fmla="*/ 327685 h 669699"/>
                <a:gd name="connsiteX1184" fmla="*/ 99040 w 645199"/>
                <a:gd name="connsiteY1184" fmla="*/ 326284 h 669699"/>
                <a:gd name="connsiteX1185" fmla="*/ 100282 w 645199"/>
                <a:gd name="connsiteY1185" fmla="*/ 325497 h 669699"/>
                <a:gd name="connsiteX1186" fmla="*/ 98453 w 645199"/>
                <a:gd name="connsiteY1186" fmla="*/ 325734 h 669699"/>
                <a:gd name="connsiteX1187" fmla="*/ 96348 w 645199"/>
                <a:gd name="connsiteY1187" fmla="*/ 325398 h 669699"/>
                <a:gd name="connsiteX1188" fmla="*/ 97027 w 645199"/>
                <a:gd name="connsiteY1188" fmla="*/ 321134 h 669699"/>
                <a:gd name="connsiteX1189" fmla="*/ 98684 w 645199"/>
                <a:gd name="connsiteY1189" fmla="*/ 320213 h 669699"/>
                <a:gd name="connsiteX1190" fmla="*/ 100472 w 645199"/>
                <a:gd name="connsiteY1190" fmla="*/ 320037 h 669699"/>
                <a:gd name="connsiteX1191" fmla="*/ 102692 w 645199"/>
                <a:gd name="connsiteY1191" fmla="*/ 319431 h 669699"/>
                <a:gd name="connsiteX1192" fmla="*/ 100321 w 645199"/>
                <a:gd name="connsiteY1192" fmla="*/ 318727 h 669699"/>
                <a:gd name="connsiteX1193" fmla="*/ 97848 w 645199"/>
                <a:gd name="connsiteY1193" fmla="*/ 318390 h 669699"/>
                <a:gd name="connsiteX1194" fmla="*/ 94881 w 645199"/>
                <a:gd name="connsiteY1194" fmla="*/ 319088 h 669699"/>
                <a:gd name="connsiteX1195" fmla="*/ 92154 w 645199"/>
                <a:gd name="connsiteY1195" fmla="*/ 318574 h 669699"/>
                <a:gd name="connsiteX1196" fmla="*/ 88841 w 645199"/>
                <a:gd name="connsiteY1196" fmla="*/ 318585 h 669699"/>
                <a:gd name="connsiteX1197" fmla="*/ 90163 w 645199"/>
                <a:gd name="connsiteY1197" fmla="*/ 319155 h 669699"/>
                <a:gd name="connsiteX1198" fmla="*/ 91575 w 645199"/>
                <a:gd name="connsiteY1198" fmla="*/ 320455 h 669699"/>
                <a:gd name="connsiteX1199" fmla="*/ 90867 w 645199"/>
                <a:gd name="connsiteY1199" fmla="*/ 322764 h 669699"/>
                <a:gd name="connsiteX1200" fmla="*/ 90202 w 645199"/>
                <a:gd name="connsiteY1200" fmla="*/ 324205 h 669699"/>
                <a:gd name="connsiteX1201" fmla="*/ 88375 w 645199"/>
                <a:gd name="connsiteY1201" fmla="*/ 325198 h 669699"/>
                <a:gd name="connsiteX1202" fmla="*/ 86887 w 645199"/>
                <a:gd name="connsiteY1202" fmla="*/ 326702 h 669699"/>
                <a:gd name="connsiteX1203" fmla="*/ 86470 w 645199"/>
                <a:gd name="connsiteY1203" fmla="*/ 328023 h 669699"/>
                <a:gd name="connsiteX1204" fmla="*/ 85622 w 645199"/>
                <a:gd name="connsiteY1204" fmla="*/ 328949 h 669699"/>
                <a:gd name="connsiteX1205" fmla="*/ 87075 w 645199"/>
                <a:gd name="connsiteY1205" fmla="*/ 329609 h 669699"/>
                <a:gd name="connsiteX1206" fmla="*/ 88578 w 645199"/>
                <a:gd name="connsiteY1206" fmla="*/ 330079 h 669699"/>
                <a:gd name="connsiteX1207" fmla="*/ 89450 w 645199"/>
                <a:gd name="connsiteY1207" fmla="*/ 331147 h 669699"/>
                <a:gd name="connsiteX1208" fmla="*/ 90474 w 645199"/>
                <a:gd name="connsiteY1208" fmla="*/ 332699 h 669699"/>
                <a:gd name="connsiteX1209" fmla="*/ 90415 w 645199"/>
                <a:gd name="connsiteY1209" fmla="*/ 335714 h 669699"/>
                <a:gd name="connsiteX1210" fmla="*/ 86492 w 645199"/>
                <a:gd name="connsiteY1210" fmla="*/ 342815 h 669699"/>
                <a:gd name="connsiteX1211" fmla="*/ 85136 w 645199"/>
                <a:gd name="connsiteY1211" fmla="*/ 344396 h 669699"/>
                <a:gd name="connsiteX1212" fmla="*/ 75315 w 645199"/>
                <a:gd name="connsiteY1212" fmla="*/ 348673 h 669699"/>
                <a:gd name="connsiteX1213" fmla="*/ 71454 w 645199"/>
                <a:gd name="connsiteY1213" fmla="*/ 351000 h 669699"/>
                <a:gd name="connsiteX1214" fmla="*/ 63231 w 645199"/>
                <a:gd name="connsiteY1214" fmla="*/ 354022 h 669699"/>
                <a:gd name="connsiteX1215" fmla="*/ 60026 w 645199"/>
                <a:gd name="connsiteY1215" fmla="*/ 354584 h 669699"/>
                <a:gd name="connsiteX1216" fmla="*/ 56481 w 645199"/>
                <a:gd name="connsiteY1216" fmla="*/ 353986 h 669699"/>
                <a:gd name="connsiteX1217" fmla="*/ 51300 w 645199"/>
                <a:gd name="connsiteY1217" fmla="*/ 351684 h 669699"/>
                <a:gd name="connsiteX1218" fmla="*/ 43391 w 645199"/>
                <a:gd name="connsiteY1218" fmla="*/ 345806 h 669699"/>
                <a:gd name="connsiteX1219" fmla="*/ 41335 w 645199"/>
                <a:gd name="connsiteY1219" fmla="*/ 343862 h 669699"/>
                <a:gd name="connsiteX1220" fmla="*/ 35012 w 645199"/>
                <a:gd name="connsiteY1220" fmla="*/ 336300 h 669699"/>
                <a:gd name="connsiteX1221" fmla="*/ 30447 w 645199"/>
                <a:gd name="connsiteY1221" fmla="*/ 332297 h 669699"/>
                <a:gd name="connsiteX1222" fmla="*/ 26986 w 645199"/>
                <a:gd name="connsiteY1222" fmla="*/ 328567 h 669699"/>
                <a:gd name="connsiteX1223" fmla="*/ 22701 w 645199"/>
                <a:gd name="connsiteY1223" fmla="*/ 325043 h 669699"/>
                <a:gd name="connsiteX1224" fmla="*/ 18657 w 645199"/>
                <a:gd name="connsiteY1224" fmla="*/ 320279 h 669699"/>
                <a:gd name="connsiteX1225" fmla="*/ 17798 w 645199"/>
                <a:gd name="connsiteY1225" fmla="*/ 318107 h 669699"/>
                <a:gd name="connsiteX1226" fmla="*/ 18098 w 645199"/>
                <a:gd name="connsiteY1226" fmla="*/ 315898 h 669699"/>
                <a:gd name="connsiteX1227" fmla="*/ 19605 w 645199"/>
                <a:gd name="connsiteY1227" fmla="*/ 314691 h 669699"/>
                <a:gd name="connsiteX1228" fmla="*/ 21367 w 645199"/>
                <a:gd name="connsiteY1228" fmla="*/ 315180 h 669699"/>
                <a:gd name="connsiteX1229" fmla="*/ 22757 w 645199"/>
                <a:gd name="connsiteY1229" fmla="*/ 317043 h 669699"/>
                <a:gd name="connsiteX1230" fmla="*/ 23745 w 645199"/>
                <a:gd name="connsiteY1230" fmla="*/ 317877 h 669699"/>
                <a:gd name="connsiteX1231" fmla="*/ 24578 w 645199"/>
                <a:gd name="connsiteY1231" fmla="*/ 318219 h 669699"/>
                <a:gd name="connsiteX1232" fmla="*/ 30607 w 645199"/>
                <a:gd name="connsiteY1232" fmla="*/ 315363 h 669699"/>
                <a:gd name="connsiteX1233" fmla="*/ 32950 w 645199"/>
                <a:gd name="connsiteY1233" fmla="*/ 315477 h 669699"/>
                <a:gd name="connsiteX1234" fmla="*/ 34550 w 645199"/>
                <a:gd name="connsiteY1234" fmla="*/ 314043 h 669699"/>
                <a:gd name="connsiteX1235" fmla="*/ 36574 w 645199"/>
                <a:gd name="connsiteY1235" fmla="*/ 314356 h 669699"/>
                <a:gd name="connsiteX1236" fmla="*/ 40704 w 645199"/>
                <a:gd name="connsiteY1236" fmla="*/ 312125 h 669699"/>
                <a:gd name="connsiteX1237" fmla="*/ 42436 w 645199"/>
                <a:gd name="connsiteY1237" fmla="*/ 311990 h 669699"/>
                <a:gd name="connsiteX1238" fmla="*/ 44494 w 645199"/>
                <a:gd name="connsiteY1238" fmla="*/ 311542 h 669699"/>
                <a:gd name="connsiteX1239" fmla="*/ 47821 w 645199"/>
                <a:gd name="connsiteY1239" fmla="*/ 305887 h 669699"/>
                <a:gd name="connsiteX1240" fmla="*/ 50314 w 645199"/>
                <a:gd name="connsiteY1240" fmla="*/ 302287 h 669699"/>
                <a:gd name="connsiteX1241" fmla="*/ 51929 w 645199"/>
                <a:gd name="connsiteY1241" fmla="*/ 301537 h 669699"/>
                <a:gd name="connsiteX1242" fmla="*/ 51838 w 645199"/>
                <a:gd name="connsiteY1242" fmla="*/ 300660 h 669699"/>
                <a:gd name="connsiteX1243" fmla="*/ 51393 w 645199"/>
                <a:gd name="connsiteY1243" fmla="*/ 299509 h 669699"/>
                <a:gd name="connsiteX1244" fmla="*/ 50184 w 645199"/>
                <a:gd name="connsiteY1244" fmla="*/ 299799 h 669699"/>
                <a:gd name="connsiteX1245" fmla="*/ 49338 w 645199"/>
                <a:gd name="connsiteY1245" fmla="*/ 300893 h 669699"/>
                <a:gd name="connsiteX1246" fmla="*/ 48711 w 645199"/>
                <a:gd name="connsiteY1246" fmla="*/ 302213 h 669699"/>
                <a:gd name="connsiteX1247" fmla="*/ 48081 w 645199"/>
                <a:gd name="connsiteY1247" fmla="*/ 302999 h 669699"/>
                <a:gd name="connsiteX1248" fmla="*/ 46129 w 645199"/>
                <a:gd name="connsiteY1248" fmla="*/ 302274 h 669699"/>
                <a:gd name="connsiteX1249" fmla="*/ 44813 w 645199"/>
                <a:gd name="connsiteY1249" fmla="*/ 302396 h 669699"/>
                <a:gd name="connsiteX1250" fmla="*/ 43190 w 645199"/>
                <a:gd name="connsiteY1250" fmla="*/ 302830 h 669699"/>
                <a:gd name="connsiteX1251" fmla="*/ 37254 w 645199"/>
                <a:gd name="connsiteY1251" fmla="*/ 304940 h 669699"/>
                <a:gd name="connsiteX1252" fmla="*/ 34818 w 645199"/>
                <a:gd name="connsiteY1252" fmla="*/ 306832 h 669699"/>
                <a:gd name="connsiteX1253" fmla="*/ 33160 w 645199"/>
                <a:gd name="connsiteY1253" fmla="*/ 307207 h 669699"/>
                <a:gd name="connsiteX1254" fmla="*/ 23680 w 645199"/>
                <a:gd name="connsiteY1254" fmla="*/ 305124 h 669699"/>
                <a:gd name="connsiteX1255" fmla="*/ 14418 w 645199"/>
                <a:gd name="connsiteY1255" fmla="*/ 300344 h 669699"/>
                <a:gd name="connsiteX1256" fmla="*/ 10518 w 645199"/>
                <a:gd name="connsiteY1256" fmla="*/ 297167 h 669699"/>
                <a:gd name="connsiteX1257" fmla="*/ 8052 w 645199"/>
                <a:gd name="connsiteY1257" fmla="*/ 293105 h 669699"/>
                <a:gd name="connsiteX1258" fmla="*/ 5582 w 645199"/>
                <a:gd name="connsiteY1258" fmla="*/ 288260 h 669699"/>
                <a:gd name="connsiteX1259" fmla="*/ 6385 w 645199"/>
                <a:gd name="connsiteY1259" fmla="*/ 286905 h 669699"/>
                <a:gd name="connsiteX1260" fmla="*/ 10218 w 645199"/>
                <a:gd name="connsiteY1260" fmla="*/ 283990 h 669699"/>
                <a:gd name="connsiteX1261" fmla="*/ 13526 w 645199"/>
                <a:gd name="connsiteY1261" fmla="*/ 281699 h 669699"/>
                <a:gd name="connsiteX1262" fmla="*/ 10555 w 645199"/>
                <a:gd name="connsiteY1262" fmla="*/ 282719 h 669699"/>
                <a:gd name="connsiteX1263" fmla="*/ 7337 w 645199"/>
                <a:gd name="connsiteY1263" fmla="*/ 284134 h 669699"/>
                <a:gd name="connsiteX1264" fmla="*/ 5746 w 645199"/>
                <a:gd name="connsiteY1264" fmla="*/ 285126 h 669699"/>
                <a:gd name="connsiteX1265" fmla="*/ 3943 w 645199"/>
                <a:gd name="connsiteY1265" fmla="*/ 287200 h 669699"/>
                <a:gd name="connsiteX1266" fmla="*/ 1546 w 645199"/>
                <a:gd name="connsiteY1266" fmla="*/ 287665 h 669699"/>
                <a:gd name="connsiteX1267" fmla="*/ 596 w 645199"/>
                <a:gd name="connsiteY1267" fmla="*/ 284580 h 669699"/>
                <a:gd name="connsiteX1268" fmla="*/ 0 w 645199"/>
                <a:gd name="connsiteY1268" fmla="*/ 281577 h 669699"/>
                <a:gd name="connsiteX1269" fmla="*/ 1528 w 645199"/>
                <a:gd name="connsiteY1269" fmla="*/ 280565 h 669699"/>
                <a:gd name="connsiteX1270" fmla="*/ 2597 w 645199"/>
                <a:gd name="connsiteY1270" fmla="*/ 279923 h 669699"/>
                <a:gd name="connsiteX1271" fmla="*/ 4781 w 645199"/>
                <a:gd name="connsiteY1271" fmla="*/ 279387 h 669699"/>
                <a:gd name="connsiteX1272" fmla="*/ 7156 w 645199"/>
                <a:gd name="connsiteY1272" fmla="*/ 279004 h 669699"/>
                <a:gd name="connsiteX1273" fmla="*/ 9322 w 645199"/>
                <a:gd name="connsiteY1273" fmla="*/ 279019 h 669699"/>
                <a:gd name="connsiteX1274" fmla="*/ 12362 w 645199"/>
                <a:gd name="connsiteY1274" fmla="*/ 279064 h 669699"/>
                <a:gd name="connsiteX1275" fmla="*/ 12451 w 645199"/>
                <a:gd name="connsiteY1275" fmla="*/ 272014 h 669699"/>
                <a:gd name="connsiteX1276" fmla="*/ 12706 w 645199"/>
                <a:gd name="connsiteY1276" fmla="*/ 271396 h 669699"/>
                <a:gd name="connsiteX1277" fmla="*/ 13133 w 645199"/>
                <a:gd name="connsiteY1277" fmla="*/ 271038 h 669699"/>
                <a:gd name="connsiteX1278" fmla="*/ 13623 w 645199"/>
                <a:gd name="connsiteY1278" fmla="*/ 270886 h 669699"/>
                <a:gd name="connsiteX1279" fmla="*/ 14040 w 645199"/>
                <a:gd name="connsiteY1279" fmla="*/ 270995 h 669699"/>
                <a:gd name="connsiteX1280" fmla="*/ 14666 w 645199"/>
                <a:gd name="connsiteY1280" fmla="*/ 272051 h 669699"/>
                <a:gd name="connsiteX1281" fmla="*/ 15444 w 645199"/>
                <a:gd name="connsiteY1281" fmla="*/ 271993 h 669699"/>
                <a:gd name="connsiteX1282" fmla="*/ 16269 w 645199"/>
                <a:gd name="connsiteY1282" fmla="*/ 271385 h 669699"/>
                <a:gd name="connsiteX1283" fmla="*/ 18122 w 645199"/>
                <a:gd name="connsiteY1283" fmla="*/ 271838 h 669699"/>
                <a:gd name="connsiteX1284" fmla="*/ 19603 w 645199"/>
                <a:gd name="connsiteY1284" fmla="*/ 271528 h 669699"/>
                <a:gd name="connsiteX1285" fmla="*/ 21106 w 645199"/>
                <a:gd name="connsiteY1285" fmla="*/ 271943 h 669699"/>
                <a:gd name="connsiteX1286" fmla="*/ 23660 w 645199"/>
                <a:gd name="connsiteY1286" fmla="*/ 271952 h 669699"/>
                <a:gd name="connsiteX1287" fmla="*/ 28268 w 645199"/>
                <a:gd name="connsiteY1287" fmla="*/ 271785 h 669699"/>
                <a:gd name="connsiteX1288" fmla="*/ 30827 w 645199"/>
                <a:gd name="connsiteY1288" fmla="*/ 271838 h 669699"/>
                <a:gd name="connsiteX1289" fmla="*/ 32486 w 645199"/>
                <a:gd name="connsiteY1289" fmla="*/ 272961 h 669699"/>
                <a:gd name="connsiteX1290" fmla="*/ 34300 w 645199"/>
                <a:gd name="connsiteY1290" fmla="*/ 274194 h 669699"/>
                <a:gd name="connsiteX1291" fmla="*/ 36267 w 645199"/>
                <a:gd name="connsiteY1291" fmla="*/ 274367 h 669699"/>
                <a:gd name="connsiteX1292" fmla="*/ 39111 w 645199"/>
                <a:gd name="connsiteY1292" fmla="*/ 274222 h 669699"/>
                <a:gd name="connsiteX1293" fmla="*/ 41041 w 645199"/>
                <a:gd name="connsiteY1293" fmla="*/ 273750 h 669699"/>
                <a:gd name="connsiteX1294" fmla="*/ 42015 w 645199"/>
                <a:gd name="connsiteY1294" fmla="*/ 272601 h 669699"/>
                <a:gd name="connsiteX1295" fmla="*/ 42747 w 645199"/>
                <a:gd name="connsiteY1295" fmla="*/ 271501 h 669699"/>
                <a:gd name="connsiteX1296" fmla="*/ 46966 w 645199"/>
                <a:gd name="connsiteY1296" fmla="*/ 269887 h 669699"/>
                <a:gd name="connsiteX1297" fmla="*/ 51393 w 645199"/>
                <a:gd name="connsiteY1297" fmla="*/ 268577 h 669699"/>
                <a:gd name="connsiteX1298" fmla="*/ 52665 w 645199"/>
                <a:gd name="connsiteY1298" fmla="*/ 268433 h 669699"/>
                <a:gd name="connsiteX1299" fmla="*/ 53069 w 645199"/>
                <a:gd name="connsiteY1299" fmla="*/ 269196 h 669699"/>
                <a:gd name="connsiteX1300" fmla="*/ 52866 w 645199"/>
                <a:gd name="connsiteY1300" fmla="*/ 270478 h 669699"/>
                <a:gd name="connsiteX1301" fmla="*/ 53384 w 645199"/>
                <a:gd name="connsiteY1301" fmla="*/ 271699 h 669699"/>
                <a:gd name="connsiteX1302" fmla="*/ 55157 w 645199"/>
                <a:gd name="connsiteY1302" fmla="*/ 272471 h 669699"/>
                <a:gd name="connsiteX1303" fmla="*/ 56414 w 645199"/>
                <a:gd name="connsiteY1303" fmla="*/ 272661 h 669699"/>
                <a:gd name="connsiteX1304" fmla="*/ 57541 w 645199"/>
                <a:gd name="connsiteY1304" fmla="*/ 272487 h 669699"/>
                <a:gd name="connsiteX1305" fmla="*/ 58377 w 645199"/>
                <a:gd name="connsiteY1305" fmla="*/ 272099 h 669699"/>
                <a:gd name="connsiteX1306" fmla="*/ 60171 w 645199"/>
                <a:gd name="connsiteY1306" fmla="*/ 270182 h 669699"/>
                <a:gd name="connsiteX1307" fmla="*/ 61098 w 645199"/>
                <a:gd name="connsiteY1307" fmla="*/ 269745 h 669699"/>
                <a:gd name="connsiteX1308" fmla="*/ 62307 w 645199"/>
                <a:gd name="connsiteY1308" fmla="*/ 269776 h 669699"/>
                <a:gd name="connsiteX1309" fmla="*/ 63661 w 645199"/>
                <a:gd name="connsiteY1309" fmla="*/ 268860 h 669699"/>
                <a:gd name="connsiteX1310" fmla="*/ 63689 w 645199"/>
                <a:gd name="connsiteY1310" fmla="*/ 268158 h 669699"/>
                <a:gd name="connsiteX1311" fmla="*/ 62825 w 645199"/>
                <a:gd name="connsiteY1311" fmla="*/ 267822 h 669699"/>
                <a:gd name="connsiteX1312" fmla="*/ 62095 w 645199"/>
                <a:gd name="connsiteY1312" fmla="*/ 266811 h 669699"/>
                <a:gd name="connsiteX1313" fmla="*/ 62229 w 645199"/>
                <a:gd name="connsiteY1313" fmla="*/ 265988 h 669699"/>
                <a:gd name="connsiteX1314" fmla="*/ 62020 w 645199"/>
                <a:gd name="connsiteY1314" fmla="*/ 264828 h 669699"/>
                <a:gd name="connsiteX1315" fmla="*/ 62164 w 645199"/>
                <a:gd name="connsiteY1315" fmla="*/ 263727 h 669699"/>
                <a:gd name="connsiteX1316" fmla="*/ 62739 w 645199"/>
                <a:gd name="connsiteY1316" fmla="*/ 262901 h 669699"/>
                <a:gd name="connsiteX1317" fmla="*/ 63745 w 645199"/>
                <a:gd name="connsiteY1317" fmla="*/ 262107 h 669699"/>
                <a:gd name="connsiteX1318" fmla="*/ 63145 w 645199"/>
                <a:gd name="connsiteY1318" fmla="*/ 260464 h 669699"/>
                <a:gd name="connsiteX1319" fmla="*/ 61601 w 645199"/>
                <a:gd name="connsiteY1319" fmla="*/ 257315 h 669699"/>
                <a:gd name="connsiteX1320" fmla="*/ 59983 w 645199"/>
                <a:gd name="connsiteY1320" fmla="*/ 253282 h 669699"/>
                <a:gd name="connsiteX1321" fmla="*/ 58275 w 645199"/>
                <a:gd name="connsiteY1321" fmla="*/ 249918 h 669699"/>
                <a:gd name="connsiteX1322" fmla="*/ 56109 w 645199"/>
                <a:gd name="connsiteY1322" fmla="*/ 246968 h 669699"/>
                <a:gd name="connsiteX1323" fmla="*/ 54993 w 645199"/>
                <a:gd name="connsiteY1323" fmla="*/ 244803 h 669699"/>
                <a:gd name="connsiteX1324" fmla="*/ 55107 w 645199"/>
                <a:gd name="connsiteY1324" fmla="*/ 240016 h 669699"/>
                <a:gd name="connsiteX1325" fmla="*/ 54913 w 645199"/>
                <a:gd name="connsiteY1325" fmla="*/ 239044 h 669699"/>
                <a:gd name="connsiteX1326" fmla="*/ 54170 w 645199"/>
                <a:gd name="connsiteY1326" fmla="*/ 238454 h 669699"/>
                <a:gd name="connsiteX1327" fmla="*/ 53168 w 645199"/>
                <a:gd name="connsiteY1327" fmla="*/ 238123 h 669699"/>
                <a:gd name="connsiteX1328" fmla="*/ 51760 w 645199"/>
                <a:gd name="connsiteY1328" fmla="*/ 238610 h 669699"/>
                <a:gd name="connsiteX1329" fmla="*/ 50493 w 645199"/>
                <a:gd name="connsiteY1329" fmla="*/ 238704 h 669699"/>
                <a:gd name="connsiteX1330" fmla="*/ 47766 w 645199"/>
                <a:gd name="connsiteY1330" fmla="*/ 238600 h 669699"/>
                <a:gd name="connsiteX1331" fmla="*/ 46427 w 645199"/>
                <a:gd name="connsiteY1331" fmla="*/ 238109 h 669699"/>
                <a:gd name="connsiteX1332" fmla="*/ 42790 w 645199"/>
                <a:gd name="connsiteY1332" fmla="*/ 233300 h 669699"/>
                <a:gd name="connsiteX1333" fmla="*/ 42313 w 645199"/>
                <a:gd name="connsiteY1333" fmla="*/ 231408 h 669699"/>
                <a:gd name="connsiteX1334" fmla="*/ 42293 w 645199"/>
                <a:gd name="connsiteY1334" fmla="*/ 229470 h 669699"/>
                <a:gd name="connsiteX1335" fmla="*/ 43507 w 645199"/>
                <a:gd name="connsiteY1335" fmla="*/ 226089 h 669699"/>
                <a:gd name="connsiteX1336" fmla="*/ 43874 w 645199"/>
                <a:gd name="connsiteY1336" fmla="*/ 222944 h 669699"/>
                <a:gd name="connsiteX1337" fmla="*/ 44043 w 645199"/>
                <a:gd name="connsiteY1337" fmla="*/ 220008 h 669699"/>
                <a:gd name="connsiteX1338" fmla="*/ 43840 w 645199"/>
                <a:gd name="connsiteY1338" fmla="*/ 219177 h 669699"/>
                <a:gd name="connsiteX1339" fmla="*/ 43110 w 645199"/>
                <a:gd name="connsiteY1339" fmla="*/ 218190 h 669699"/>
                <a:gd name="connsiteX1340" fmla="*/ 41888 w 645199"/>
                <a:gd name="connsiteY1340" fmla="*/ 217462 h 669699"/>
                <a:gd name="connsiteX1341" fmla="*/ 38616 w 645199"/>
                <a:gd name="connsiteY1341" fmla="*/ 217287 h 669699"/>
                <a:gd name="connsiteX1342" fmla="*/ 34736 w 645199"/>
                <a:gd name="connsiteY1342" fmla="*/ 216316 h 669699"/>
                <a:gd name="connsiteX1343" fmla="*/ 31743 w 645199"/>
                <a:gd name="connsiteY1343" fmla="*/ 214605 h 669699"/>
                <a:gd name="connsiteX1344" fmla="*/ 29672 w 645199"/>
                <a:gd name="connsiteY1344" fmla="*/ 213571 h 669699"/>
                <a:gd name="connsiteX1345" fmla="*/ 29104 w 645199"/>
                <a:gd name="connsiteY1345" fmla="*/ 212898 h 669699"/>
                <a:gd name="connsiteX1346" fmla="*/ 28856 w 645199"/>
                <a:gd name="connsiteY1346" fmla="*/ 212103 h 669699"/>
                <a:gd name="connsiteX1347" fmla="*/ 29398 w 645199"/>
                <a:gd name="connsiteY1347" fmla="*/ 208545 h 669699"/>
                <a:gd name="connsiteX1348" fmla="*/ 30337 w 645199"/>
                <a:gd name="connsiteY1348" fmla="*/ 204530 h 669699"/>
                <a:gd name="connsiteX1349" fmla="*/ 31022 w 645199"/>
                <a:gd name="connsiteY1349" fmla="*/ 203301 h 669699"/>
                <a:gd name="connsiteX1350" fmla="*/ 32207 w 645199"/>
                <a:gd name="connsiteY1350" fmla="*/ 202028 h 669699"/>
                <a:gd name="connsiteX1351" fmla="*/ 33086 w 645199"/>
                <a:gd name="connsiteY1351" fmla="*/ 201160 h 669699"/>
                <a:gd name="connsiteX1352" fmla="*/ 34490 w 645199"/>
                <a:gd name="connsiteY1352" fmla="*/ 200012 h 669699"/>
                <a:gd name="connsiteX1353" fmla="*/ 38281 w 645199"/>
                <a:gd name="connsiteY1353" fmla="*/ 196176 h 669699"/>
                <a:gd name="connsiteX1354" fmla="*/ 41676 w 645199"/>
                <a:gd name="connsiteY1354" fmla="*/ 190901 h 669699"/>
                <a:gd name="connsiteX1355" fmla="*/ 43770 w 645199"/>
                <a:gd name="connsiteY1355" fmla="*/ 187216 h 669699"/>
                <a:gd name="connsiteX1356" fmla="*/ 44863 w 645199"/>
                <a:gd name="connsiteY1356" fmla="*/ 186120 h 669699"/>
                <a:gd name="connsiteX1357" fmla="*/ 45977 w 645199"/>
                <a:gd name="connsiteY1357" fmla="*/ 185181 h 669699"/>
                <a:gd name="connsiteX1358" fmla="*/ 47616 w 645199"/>
                <a:gd name="connsiteY1358" fmla="*/ 184045 h 669699"/>
                <a:gd name="connsiteX1359" fmla="*/ 49502 w 645199"/>
                <a:gd name="connsiteY1359" fmla="*/ 183007 h 669699"/>
                <a:gd name="connsiteX1360" fmla="*/ 51378 w 645199"/>
                <a:gd name="connsiteY1360" fmla="*/ 183053 h 669699"/>
                <a:gd name="connsiteX1361" fmla="*/ 53162 w 645199"/>
                <a:gd name="connsiteY1361" fmla="*/ 183994 h 669699"/>
                <a:gd name="connsiteX1362" fmla="*/ 54486 w 645199"/>
                <a:gd name="connsiteY1362" fmla="*/ 185102 h 669699"/>
                <a:gd name="connsiteX1363" fmla="*/ 54928 w 645199"/>
                <a:gd name="connsiteY1363" fmla="*/ 187542 h 669699"/>
                <a:gd name="connsiteX1364" fmla="*/ 55867 w 645199"/>
                <a:gd name="connsiteY1364" fmla="*/ 189128 h 669699"/>
                <a:gd name="connsiteX1365" fmla="*/ 56880 w 645199"/>
                <a:gd name="connsiteY1365" fmla="*/ 190083 h 669699"/>
                <a:gd name="connsiteX1366" fmla="*/ 58219 w 645199"/>
                <a:gd name="connsiteY1366" fmla="*/ 190545 h 669699"/>
                <a:gd name="connsiteX1367" fmla="*/ 59921 w 645199"/>
                <a:gd name="connsiteY1367" fmla="*/ 190430 h 669699"/>
                <a:gd name="connsiteX1368" fmla="*/ 66773 w 645199"/>
                <a:gd name="connsiteY1368" fmla="*/ 187631 h 669699"/>
                <a:gd name="connsiteX1369" fmla="*/ 69102 w 645199"/>
                <a:gd name="connsiteY1369" fmla="*/ 187066 h 669699"/>
                <a:gd name="connsiteX1370" fmla="*/ 74693 w 645199"/>
                <a:gd name="connsiteY1370" fmla="*/ 186717 h 669699"/>
                <a:gd name="connsiteX1371" fmla="*/ 78535 w 645199"/>
                <a:gd name="connsiteY1371" fmla="*/ 185637 h 669699"/>
                <a:gd name="connsiteX1372" fmla="*/ 81931 w 645199"/>
                <a:gd name="connsiteY1372" fmla="*/ 184503 h 669699"/>
                <a:gd name="connsiteX1373" fmla="*/ 82342 w 645199"/>
                <a:gd name="connsiteY1373" fmla="*/ 182471 h 669699"/>
                <a:gd name="connsiteX1374" fmla="*/ 83650 w 645199"/>
                <a:gd name="connsiteY1374" fmla="*/ 179364 h 669699"/>
                <a:gd name="connsiteX1375" fmla="*/ 87641 w 645199"/>
                <a:gd name="connsiteY1375" fmla="*/ 175315 h 669699"/>
                <a:gd name="connsiteX1376" fmla="*/ 88762 w 645199"/>
                <a:gd name="connsiteY1376" fmla="*/ 173507 h 669699"/>
                <a:gd name="connsiteX1377" fmla="*/ 89971 w 645199"/>
                <a:gd name="connsiteY1377" fmla="*/ 170052 h 669699"/>
                <a:gd name="connsiteX1378" fmla="*/ 91256 w 645199"/>
                <a:gd name="connsiteY1378" fmla="*/ 166896 h 669699"/>
                <a:gd name="connsiteX1379" fmla="*/ 92359 w 645199"/>
                <a:gd name="connsiteY1379" fmla="*/ 165584 h 669699"/>
                <a:gd name="connsiteX1380" fmla="*/ 98632 w 645199"/>
                <a:gd name="connsiteY1380" fmla="*/ 162118 h 669699"/>
                <a:gd name="connsiteX1381" fmla="*/ 104773 w 645199"/>
                <a:gd name="connsiteY1381" fmla="*/ 158928 h 669699"/>
                <a:gd name="connsiteX1382" fmla="*/ 105777 w 645199"/>
                <a:gd name="connsiteY1382" fmla="*/ 157482 h 669699"/>
                <a:gd name="connsiteX1383" fmla="*/ 109749 w 645199"/>
                <a:gd name="connsiteY1383" fmla="*/ 150855 h 669699"/>
                <a:gd name="connsiteX1384" fmla="*/ 112023 w 645199"/>
                <a:gd name="connsiteY1384" fmla="*/ 146351 h 669699"/>
                <a:gd name="connsiteX1385" fmla="*/ 112612 w 645199"/>
                <a:gd name="connsiteY1385" fmla="*/ 144901 h 669699"/>
                <a:gd name="connsiteX1386" fmla="*/ 113927 w 645199"/>
                <a:gd name="connsiteY1386" fmla="*/ 140980 h 669699"/>
                <a:gd name="connsiteX1387" fmla="*/ 115350 w 645199"/>
                <a:gd name="connsiteY1387" fmla="*/ 137077 h 669699"/>
                <a:gd name="connsiteX1388" fmla="*/ 117248 w 645199"/>
                <a:gd name="connsiteY1388" fmla="*/ 136175 h 669699"/>
                <a:gd name="connsiteX1389" fmla="*/ 121461 w 645199"/>
                <a:gd name="connsiteY1389" fmla="*/ 134686 h 669699"/>
                <a:gd name="connsiteX1390" fmla="*/ 124804 w 645199"/>
                <a:gd name="connsiteY1390" fmla="*/ 133229 h 669699"/>
                <a:gd name="connsiteX1391" fmla="*/ 126514 w 645199"/>
                <a:gd name="connsiteY1391" fmla="*/ 131566 h 669699"/>
                <a:gd name="connsiteX1392" fmla="*/ 127550 w 645199"/>
                <a:gd name="connsiteY1392" fmla="*/ 130110 h 669699"/>
                <a:gd name="connsiteX1393" fmla="*/ 127356 w 645199"/>
                <a:gd name="connsiteY1393" fmla="*/ 128666 h 669699"/>
                <a:gd name="connsiteX1394" fmla="*/ 126430 w 645199"/>
                <a:gd name="connsiteY1394" fmla="*/ 126956 h 669699"/>
                <a:gd name="connsiteX1395" fmla="*/ 126626 w 645199"/>
                <a:gd name="connsiteY1395" fmla="*/ 125940 h 669699"/>
                <a:gd name="connsiteX1396" fmla="*/ 126797 w 645199"/>
                <a:gd name="connsiteY1396" fmla="*/ 124937 h 669699"/>
                <a:gd name="connsiteX1397" fmla="*/ 129222 w 645199"/>
                <a:gd name="connsiteY1397" fmla="*/ 122890 h 669699"/>
                <a:gd name="connsiteX1398" fmla="*/ 133791 w 645199"/>
                <a:gd name="connsiteY1398" fmla="*/ 116831 h 669699"/>
                <a:gd name="connsiteX1399" fmla="*/ 136527 w 645199"/>
                <a:gd name="connsiteY1399" fmla="*/ 113800 h 669699"/>
                <a:gd name="connsiteX1400" fmla="*/ 137434 w 645199"/>
                <a:gd name="connsiteY1400" fmla="*/ 113804 h 669699"/>
                <a:gd name="connsiteX1401" fmla="*/ 140295 w 645199"/>
                <a:gd name="connsiteY1401" fmla="*/ 112190 h 669699"/>
                <a:gd name="connsiteX1402" fmla="*/ 143016 w 645199"/>
                <a:gd name="connsiteY1402" fmla="*/ 110363 h 669699"/>
                <a:gd name="connsiteX1403" fmla="*/ 142861 w 645199"/>
                <a:gd name="connsiteY1403" fmla="*/ 109533 h 669699"/>
                <a:gd name="connsiteX1404" fmla="*/ 142519 w 645199"/>
                <a:gd name="connsiteY1404" fmla="*/ 108459 h 669699"/>
                <a:gd name="connsiteX1405" fmla="*/ 140958 w 645199"/>
                <a:gd name="connsiteY1405" fmla="*/ 107975 h 669699"/>
                <a:gd name="connsiteX1406" fmla="*/ 140470 w 645199"/>
                <a:gd name="connsiteY1406" fmla="*/ 106685 h 669699"/>
                <a:gd name="connsiteX1407" fmla="*/ 140852 w 645199"/>
                <a:gd name="connsiteY1407" fmla="*/ 104836 h 669699"/>
                <a:gd name="connsiteX1408" fmla="*/ 142157 w 645199"/>
                <a:gd name="connsiteY1408" fmla="*/ 99855 h 669699"/>
                <a:gd name="connsiteX1409" fmla="*/ 141889 w 645199"/>
                <a:gd name="connsiteY1409" fmla="*/ 98424 h 669699"/>
                <a:gd name="connsiteX1410" fmla="*/ 140299 w 645199"/>
                <a:gd name="connsiteY1410" fmla="*/ 93802 h 669699"/>
                <a:gd name="connsiteX1411" fmla="*/ 140654 w 645199"/>
                <a:gd name="connsiteY1411" fmla="*/ 92524 h 669699"/>
                <a:gd name="connsiteX1412" fmla="*/ 141308 w 645199"/>
                <a:gd name="connsiteY1412" fmla="*/ 91216 h 669699"/>
                <a:gd name="connsiteX1413" fmla="*/ 143081 w 645199"/>
                <a:gd name="connsiteY1413" fmla="*/ 89472 h 669699"/>
                <a:gd name="connsiteX1414" fmla="*/ 145374 w 645199"/>
                <a:gd name="connsiteY1414" fmla="*/ 88025 h 669699"/>
                <a:gd name="connsiteX1415" fmla="*/ 152716 w 645199"/>
                <a:gd name="connsiteY1415" fmla="*/ 84578 h 669699"/>
                <a:gd name="connsiteX1416" fmla="*/ 154204 w 645199"/>
                <a:gd name="connsiteY1416" fmla="*/ 84200 h 669699"/>
                <a:gd name="connsiteX1417" fmla="*/ 156754 w 645199"/>
                <a:gd name="connsiteY1417" fmla="*/ 83328 h 669699"/>
                <a:gd name="connsiteX1418" fmla="*/ 158315 w 645199"/>
                <a:gd name="connsiteY1418" fmla="*/ 81488 h 669699"/>
                <a:gd name="connsiteX1419" fmla="*/ 158510 w 645199"/>
                <a:gd name="connsiteY1419" fmla="*/ 79918 h 669699"/>
                <a:gd name="connsiteX1420" fmla="*/ 157827 w 645199"/>
                <a:gd name="connsiteY1420" fmla="*/ 78943 h 669699"/>
                <a:gd name="connsiteX1421" fmla="*/ 156303 w 645199"/>
                <a:gd name="connsiteY1421" fmla="*/ 77634 h 669699"/>
                <a:gd name="connsiteX1422" fmla="*/ 153437 w 645199"/>
                <a:gd name="connsiteY1422" fmla="*/ 76448 h 669699"/>
                <a:gd name="connsiteX1423" fmla="*/ 150855 w 645199"/>
                <a:gd name="connsiteY1423" fmla="*/ 75419 h 669699"/>
                <a:gd name="connsiteX1424" fmla="*/ 146467 w 645199"/>
                <a:gd name="connsiteY1424" fmla="*/ 75527 h 669699"/>
                <a:gd name="connsiteX1425" fmla="*/ 144186 w 645199"/>
                <a:gd name="connsiteY1425" fmla="*/ 74642 h 669699"/>
                <a:gd name="connsiteX1426" fmla="*/ 143569 w 645199"/>
                <a:gd name="connsiteY1426" fmla="*/ 74023 h 669699"/>
                <a:gd name="connsiteX1427" fmla="*/ 143249 w 645199"/>
                <a:gd name="connsiteY1427" fmla="*/ 71839 h 669699"/>
                <a:gd name="connsiteX1428" fmla="*/ 143690 w 645199"/>
                <a:gd name="connsiteY1428" fmla="*/ 68145 h 669699"/>
                <a:gd name="connsiteX1429" fmla="*/ 143007 w 645199"/>
                <a:gd name="connsiteY1429" fmla="*/ 67819 h 669699"/>
                <a:gd name="connsiteX1430" fmla="*/ 142031 w 645199"/>
                <a:gd name="connsiteY1430" fmla="*/ 68254 h 669699"/>
                <a:gd name="connsiteX1431" fmla="*/ 139712 w 645199"/>
                <a:gd name="connsiteY1431" fmla="*/ 67816 h 669699"/>
                <a:gd name="connsiteX1432" fmla="*/ 136864 w 645199"/>
                <a:gd name="connsiteY1432" fmla="*/ 67873 h 669699"/>
                <a:gd name="connsiteX1433" fmla="*/ 135778 w 645199"/>
                <a:gd name="connsiteY1433" fmla="*/ 66844 h 669699"/>
                <a:gd name="connsiteX1434" fmla="*/ 136319 w 645199"/>
                <a:gd name="connsiteY1434" fmla="*/ 65601 h 669699"/>
                <a:gd name="connsiteX1435" fmla="*/ 136160 w 645199"/>
                <a:gd name="connsiteY1435" fmla="*/ 63945 h 669699"/>
                <a:gd name="connsiteX1436" fmla="*/ 135737 w 645199"/>
                <a:gd name="connsiteY1436" fmla="*/ 62370 h 669699"/>
                <a:gd name="connsiteX1437" fmla="*/ 135294 w 645199"/>
                <a:gd name="connsiteY1437" fmla="*/ 62041 h 669699"/>
                <a:gd name="connsiteX1438" fmla="*/ 133934 w 645199"/>
                <a:gd name="connsiteY1438" fmla="*/ 61666 h 669699"/>
                <a:gd name="connsiteX1439" fmla="*/ 131815 w 645199"/>
                <a:gd name="connsiteY1439" fmla="*/ 60305 h 669699"/>
                <a:gd name="connsiteX1440" fmla="*/ 130109 w 645199"/>
                <a:gd name="connsiteY1440" fmla="*/ 58626 h 669699"/>
                <a:gd name="connsiteX1441" fmla="*/ 129108 w 645199"/>
                <a:gd name="connsiteY1441" fmla="*/ 57488 h 669699"/>
                <a:gd name="connsiteX1442" fmla="*/ 128799 w 645199"/>
                <a:gd name="connsiteY1442" fmla="*/ 56703 h 669699"/>
                <a:gd name="connsiteX1443" fmla="*/ 128896 w 645199"/>
                <a:gd name="connsiteY1443" fmla="*/ 56184 h 669699"/>
                <a:gd name="connsiteX1444" fmla="*/ 130137 w 645199"/>
                <a:gd name="connsiteY1444" fmla="*/ 54723 h 669699"/>
                <a:gd name="connsiteX1445" fmla="*/ 131628 w 645199"/>
                <a:gd name="connsiteY1445" fmla="*/ 52672 h 669699"/>
                <a:gd name="connsiteX1446" fmla="*/ 132176 w 645199"/>
                <a:gd name="connsiteY1446" fmla="*/ 50908 h 669699"/>
                <a:gd name="connsiteX1447" fmla="*/ 132340 w 645199"/>
                <a:gd name="connsiteY1447" fmla="*/ 49630 h 669699"/>
                <a:gd name="connsiteX1448" fmla="*/ 131925 w 645199"/>
                <a:gd name="connsiteY1448" fmla="*/ 48686 h 669699"/>
                <a:gd name="connsiteX1449" fmla="*/ 130565 w 645199"/>
                <a:gd name="connsiteY1449" fmla="*/ 47530 h 669699"/>
                <a:gd name="connsiteX1450" fmla="*/ 129112 w 645199"/>
                <a:gd name="connsiteY1450" fmla="*/ 46521 h 669699"/>
                <a:gd name="connsiteX1451" fmla="*/ 128527 w 645199"/>
                <a:gd name="connsiteY1451" fmla="*/ 45643 h 669699"/>
                <a:gd name="connsiteX1452" fmla="*/ 128503 w 645199"/>
                <a:gd name="connsiteY1452" fmla="*/ 44316 h 669699"/>
                <a:gd name="connsiteX1453" fmla="*/ 129045 w 645199"/>
                <a:gd name="connsiteY1453" fmla="*/ 42656 h 669699"/>
                <a:gd name="connsiteX1454" fmla="*/ 130757 w 645199"/>
                <a:gd name="connsiteY1454" fmla="*/ 41403 h 669699"/>
                <a:gd name="connsiteX1455" fmla="*/ 133791 w 645199"/>
                <a:gd name="connsiteY1455" fmla="*/ 40213 h 669699"/>
                <a:gd name="connsiteX1456" fmla="*/ 134571 w 645199"/>
                <a:gd name="connsiteY1456" fmla="*/ 38734 h 669699"/>
                <a:gd name="connsiteX1457" fmla="*/ 134473 w 645199"/>
                <a:gd name="connsiteY1457" fmla="*/ 37638 h 669699"/>
                <a:gd name="connsiteX1458" fmla="*/ 133644 w 645199"/>
                <a:gd name="connsiteY1458" fmla="*/ 37309 h 669699"/>
                <a:gd name="connsiteX1459" fmla="*/ 131513 w 645199"/>
                <a:gd name="connsiteY1459" fmla="*/ 37302 h 669699"/>
                <a:gd name="connsiteX1460" fmla="*/ 127915 w 645199"/>
                <a:gd name="connsiteY1460" fmla="*/ 36927 h 669699"/>
                <a:gd name="connsiteX1461" fmla="*/ 127306 w 645199"/>
                <a:gd name="connsiteY1461" fmla="*/ 36323 h 669699"/>
                <a:gd name="connsiteX1462" fmla="*/ 126903 w 645199"/>
                <a:gd name="connsiteY1462" fmla="*/ 35512 h 669699"/>
                <a:gd name="connsiteX1463" fmla="*/ 126898 w 645199"/>
                <a:gd name="connsiteY1463" fmla="*/ 34708 h 669699"/>
                <a:gd name="connsiteX1464" fmla="*/ 127658 w 645199"/>
                <a:gd name="connsiteY1464" fmla="*/ 33793 h 669699"/>
                <a:gd name="connsiteX1465" fmla="*/ 128570 w 645199"/>
                <a:gd name="connsiteY1465" fmla="*/ 32635 h 669699"/>
                <a:gd name="connsiteX1466" fmla="*/ 128412 w 645199"/>
                <a:gd name="connsiteY1466" fmla="*/ 31507 h 669699"/>
                <a:gd name="connsiteX1467" fmla="*/ 127356 w 645199"/>
                <a:gd name="connsiteY1467" fmla="*/ 30231 h 669699"/>
                <a:gd name="connsiteX1468" fmla="*/ 124821 w 645199"/>
                <a:gd name="connsiteY1468" fmla="*/ 29296 h 669699"/>
                <a:gd name="connsiteX1469" fmla="*/ 124480 w 645199"/>
                <a:gd name="connsiteY1469" fmla="*/ 27978 h 669699"/>
                <a:gd name="connsiteX1470" fmla="*/ 124869 w 645199"/>
                <a:gd name="connsiteY1470" fmla="*/ 26877 h 669699"/>
                <a:gd name="connsiteX1471" fmla="*/ 125709 w 645199"/>
                <a:gd name="connsiteY1471" fmla="*/ 25308 h 669699"/>
                <a:gd name="connsiteX1472" fmla="*/ 126438 w 645199"/>
                <a:gd name="connsiteY1472" fmla="*/ 24216 h 669699"/>
                <a:gd name="connsiteX1473" fmla="*/ 128166 w 645199"/>
                <a:gd name="connsiteY1473" fmla="*/ 21110 h 669699"/>
                <a:gd name="connsiteX1474" fmla="*/ 130258 w 645199"/>
                <a:gd name="connsiteY1474" fmla="*/ 20430 h 669699"/>
                <a:gd name="connsiteX1475" fmla="*/ 132826 w 645199"/>
                <a:gd name="connsiteY1475" fmla="*/ 19425 h 669699"/>
                <a:gd name="connsiteX1476" fmla="*/ 135665 w 645199"/>
                <a:gd name="connsiteY1476" fmla="*/ 18313 h 669699"/>
                <a:gd name="connsiteX1477" fmla="*/ 140034 w 645199"/>
                <a:gd name="connsiteY1477" fmla="*/ 19147 h 669699"/>
                <a:gd name="connsiteX1478" fmla="*/ 142161 w 645199"/>
                <a:gd name="connsiteY1478" fmla="*/ 19553 h 669699"/>
                <a:gd name="connsiteX1479" fmla="*/ 146465 w 645199"/>
                <a:gd name="connsiteY1479" fmla="*/ 20503 h 669699"/>
                <a:gd name="connsiteX1480" fmla="*/ 150071 w 645199"/>
                <a:gd name="connsiteY1480" fmla="*/ 21300 h 669699"/>
                <a:gd name="connsiteX1481" fmla="*/ 153754 w 645199"/>
                <a:gd name="connsiteY1481" fmla="*/ 21525 h 669699"/>
                <a:gd name="connsiteX1482" fmla="*/ 155282 w 645199"/>
                <a:gd name="connsiteY1482" fmla="*/ 21471 h 669699"/>
                <a:gd name="connsiteX1483" fmla="*/ 156974 w 645199"/>
                <a:gd name="connsiteY1483" fmla="*/ 22411 h 669699"/>
                <a:gd name="connsiteX1484" fmla="*/ 161142 w 645199"/>
                <a:gd name="connsiteY1484" fmla="*/ 24025 h 669699"/>
                <a:gd name="connsiteX1485" fmla="*/ 164526 w 645199"/>
                <a:gd name="connsiteY1485" fmla="*/ 24873 h 669699"/>
                <a:gd name="connsiteX1486" fmla="*/ 166817 w 645199"/>
                <a:gd name="connsiteY1486" fmla="*/ 24864 h 669699"/>
                <a:gd name="connsiteX1487" fmla="*/ 170198 w 645199"/>
                <a:gd name="connsiteY1487" fmla="*/ 23437 h 669699"/>
                <a:gd name="connsiteX1488" fmla="*/ 171882 w 645199"/>
                <a:gd name="connsiteY1488" fmla="*/ 22132 h 669699"/>
                <a:gd name="connsiteX1489" fmla="*/ 174154 w 645199"/>
                <a:gd name="connsiteY1489" fmla="*/ 20699 h 669699"/>
                <a:gd name="connsiteX1490" fmla="*/ 177061 w 645199"/>
                <a:gd name="connsiteY1490" fmla="*/ 20753 h 669699"/>
                <a:gd name="connsiteX1491" fmla="*/ 183347 w 645199"/>
                <a:gd name="connsiteY1491" fmla="*/ 18545 h 669699"/>
                <a:gd name="connsiteX1492" fmla="*/ 184524 w 645199"/>
                <a:gd name="connsiteY1492" fmla="*/ 18926 h 669699"/>
                <a:gd name="connsiteX1493" fmla="*/ 186392 w 645199"/>
                <a:gd name="connsiteY1493" fmla="*/ 19052 h 669699"/>
                <a:gd name="connsiteX1494" fmla="*/ 188644 w 645199"/>
                <a:gd name="connsiteY1494" fmla="*/ 17775 h 669699"/>
                <a:gd name="connsiteX1495" fmla="*/ 189810 w 645199"/>
                <a:gd name="connsiteY1495" fmla="*/ 16258 h 669699"/>
                <a:gd name="connsiteX1496" fmla="*/ 189998 w 645199"/>
                <a:gd name="connsiteY1496" fmla="*/ 15501 h 669699"/>
                <a:gd name="connsiteX1497" fmla="*/ 190559 w 645199"/>
                <a:gd name="connsiteY1497" fmla="*/ 14941 h 669699"/>
                <a:gd name="connsiteX1498" fmla="*/ 192965 w 645199"/>
                <a:gd name="connsiteY1498" fmla="*/ 13977 h 669699"/>
                <a:gd name="connsiteX1499" fmla="*/ 195379 w 645199"/>
                <a:gd name="connsiteY1499" fmla="*/ 12643 h 669699"/>
                <a:gd name="connsiteX1500" fmla="*/ 196038 w 645199"/>
                <a:gd name="connsiteY1500" fmla="*/ 10880 h 669699"/>
                <a:gd name="connsiteX1501" fmla="*/ 196435 w 645199"/>
                <a:gd name="connsiteY1501" fmla="*/ 9689 h 669699"/>
                <a:gd name="connsiteX1502" fmla="*/ 199087 w 645199"/>
                <a:gd name="connsiteY1502" fmla="*/ 8144 h 669699"/>
                <a:gd name="connsiteX1503" fmla="*/ 201838 w 645199"/>
                <a:gd name="connsiteY1503" fmla="*/ 6538 h 669699"/>
                <a:gd name="connsiteX1504" fmla="*/ 204723 w 645199"/>
                <a:gd name="connsiteY1504" fmla="*/ 4856 h 669699"/>
                <a:gd name="connsiteX1505" fmla="*/ 207998 w 645199"/>
                <a:gd name="connsiteY1505" fmla="*/ 2944 h 669699"/>
                <a:gd name="connsiteX1506" fmla="*/ 210771 w 645199"/>
                <a:gd name="connsiteY1506" fmla="*/ 1323 h 669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</a:cxnLst>
              <a:rect l="l" t="t" r="r" b="b"/>
              <a:pathLst>
                <a:path w="645199" h="669699">
                  <a:moveTo>
                    <a:pt x="567340" y="658858"/>
                  </a:moveTo>
                  <a:lnTo>
                    <a:pt x="568147" y="659520"/>
                  </a:lnTo>
                  <a:lnTo>
                    <a:pt x="569709" y="664706"/>
                  </a:lnTo>
                  <a:lnTo>
                    <a:pt x="568834" y="667870"/>
                  </a:lnTo>
                  <a:lnTo>
                    <a:pt x="567480" y="669699"/>
                  </a:lnTo>
                  <a:lnTo>
                    <a:pt x="564837" y="664101"/>
                  </a:lnTo>
                  <a:lnTo>
                    <a:pt x="563703" y="663760"/>
                  </a:lnTo>
                  <a:lnTo>
                    <a:pt x="563666" y="661090"/>
                  </a:lnTo>
                  <a:lnTo>
                    <a:pt x="564282" y="660037"/>
                  </a:lnTo>
                  <a:close/>
                  <a:moveTo>
                    <a:pt x="564465" y="654991"/>
                  </a:moveTo>
                  <a:lnTo>
                    <a:pt x="565375" y="656194"/>
                  </a:lnTo>
                  <a:lnTo>
                    <a:pt x="563271" y="658297"/>
                  </a:lnTo>
                  <a:lnTo>
                    <a:pt x="562360" y="657033"/>
                  </a:lnTo>
                  <a:lnTo>
                    <a:pt x="562736" y="656158"/>
                  </a:lnTo>
                  <a:lnTo>
                    <a:pt x="563630" y="655673"/>
                  </a:lnTo>
                  <a:close/>
                  <a:moveTo>
                    <a:pt x="557456" y="641484"/>
                  </a:moveTo>
                  <a:lnTo>
                    <a:pt x="558743" y="643031"/>
                  </a:lnTo>
                  <a:lnTo>
                    <a:pt x="559046" y="644127"/>
                  </a:lnTo>
                  <a:lnTo>
                    <a:pt x="558939" y="644601"/>
                  </a:lnTo>
                  <a:lnTo>
                    <a:pt x="557225" y="644629"/>
                  </a:lnTo>
                  <a:lnTo>
                    <a:pt x="556716" y="643677"/>
                  </a:lnTo>
                  <a:lnTo>
                    <a:pt x="555994" y="642683"/>
                  </a:lnTo>
                  <a:lnTo>
                    <a:pt x="556549" y="641728"/>
                  </a:lnTo>
                  <a:close/>
                  <a:moveTo>
                    <a:pt x="560077" y="636882"/>
                  </a:moveTo>
                  <a:lnTo>
                    <a:pt x="560909" y="637125"/>
                  </a:lnTo>
                  <a:lnTo>
                    <a:pt x="560466" y="638327"/>
                  </a:lnTo>
                  <a:lnTo>
                    <a:pt x="561025" y="640622"/>
                  </a:lnTo>
                  <a:lnTo>
                    <a:pt x="559989" y="641450"/>
                  </a:lnTo>
                  <a:lnTo>
                    <a:pt x="559728" y="641338"/>
                  </a:lnTo>
                  <a:lnTo>
                    <a:pt x="559585" y="640710"/>
                  </a:lnTo>
                  <a:lnTo>
                    <a:pt x="559540" y="640266"/>
                  </a:lnTo>
                  <a:lnTo>
                    <a:pt x="559352" y="639466"/>
                  </a:lnTo>
                  <a:lnTo>
                    <a:pt x="559246" y="638058"/>
                  </a:lnTo>
                  <a:close/>
                  <a:moveTo>
                    <a:pt x="108669" y="634838"/>
                  </a:moveTo>
                  <a:lnTo>
                    <a:pt x="108760" y="634960"/>
                  </a:lnTo>
                  <a:lnTo>
                    <a:pt x="108675" y="635360"/>
                  </a:lnTo>
                  <a:lnTo>
                    <a:pt x="108401" y="635893"/>
                  </a:lnTo>
                  <a:lnTo>
                    <a:pt x="108090" y="636170"/>
                  </a:lnTo>
                  <a:lnTo>
                    <a:pt x="107770" y="636275"/>
                  </a:lnTo>
                  <a:lnTo>
                    <a:pt x="107542" y="636240"/>
                  </a:lnTo>
                  <a:lnTo>
                    <a:pt x="107429" y="635964"/>
                  </a:lnTo>
                  <a:lnTo>
                    <a:pt x="107488" y="635755"/>
                  </a:lnTo>
                  <a:lnTo>
                    <a:pt x="107773" y="635988"/>
                  </a:lnTo>
                  <a:lnTo>
                    <a:pt x="108146" y="635772"/>
                  </a:lnTo>
                  <a:lnTo>
                    <a:pt x="108574" y="635064"/>
                  </a:lnTo>
                  <a:close/>
                  <a:moveTo>
                    <a:pt x="551297" y="634107"/>
                  </a:moveTo>
                  <a:lnTo>
                    <a:pt x="552265" y="636329"/>
                  </a:lnTo>
                  <a:lnTo>
                    <a:pt x="552926" y="637163"/>
                  </a:lnTo>
                  <a:lnTo>
                    <a:pt x="551701" y="637020"/>
                  </a:lnTo>
                  <a:lnTo>
                    <a:pt x="550574" y="635763"/>
                  </a:lnTo>
                  <a:lnTo>
                    <a:pt x="550868" y="634585"/>
                  </a:lnTo>
                  <a:close/>
                  <a:moveTo>
                    <a:pt x="543893" y="614176"/>
                  </a:moveTo>
                  <a:lnTo>
                    <a:pt x="544416" y="614251"/>
                  </a:lnTo>
                  <a:lnTo>
                    <a:pt x="544936" y="615749"/>
                  </a:lnTo>
                  <a:lnTo>
                    <a:pt x="544454" y="616567"/>
                  </a:lnTo>
                  <a:lnTo>
                    <a:pt x="543483" y="616694"/>
                  </a:lnTo>
                  <a:lnTo>
                    <a:pt x="542887" y="615933"/>
                  </a:lnTo>
                  <a:lnTo>
                    <a:pt x="542813" y="615046"/>
                  </a:lnTo>
                  <a:lnTo>
                    <a:pt x="543373" y="614471"/>
                  </a:lnTo>
                  <a:close/>
                  <a:moveTo>
                    <a:pt x="538326" y="577247"/>
                  </a:moveTo>
                  <a:lnTo>
                    <a:pt x="539291" y="579432"/>
                  </a:lnTo>
                  <a:lnTo>
                    <a:pt x="539741" y="581568"/>
                  </a:lnTo>
                  <a:lnTo>
                    <a:pt x="538160" y="584908"/>
                  </a:lnTo>
                  <a:lnTo>
                    <a:pt x="537493" y="585671"/>
                  </a:lnTo>
                  <a:lnTo>
                    <a:pt x="535212" y="585075"/>
                  </a:lnTo>
                  <a:lnTo>
                    <a:pt x="535381" y="582768"/>
                  </a:lnTo>
                  <a:lnTo>
                    <a:pt x="534843" y="580520"/>
                  </a:lnTo>
                  <a:lnTo>
                    <a:pt x="535239" y="579572"/>
                  </a:lnTo>
                  <a:lnTo>
                    <a:pt x="536944" y="577962"/>
                  </a:lnTo>
                  <a:close/>
                  <a:moveTo>
                    <a:pt x="102327" y="569072"/>
                  </a:moveTo>
                  <a:lnTo>
                    <a:pt x="102398" y="569124"/>
                  </a:lnTo>
                  <a:lnTo>
                    <a:pt x="102331" y="569547"/>
                  </a:lnTo>
                  <a:lnTo>
                    <a:pt x="102221" y="570121"/>
                  </a:lnTo>
                  <a:lnTo>
                    <a:pt x="102055" y="570421"/>
                  </a:lnTo>
                  <a:lnTo>
                    <a:pt x="101893" y="570564"/>
                  </a:lnTo>
                  <a:lnTo>
                    <a:pt x="101880" y="570158"/>
                  </a:lnTo>
                  <a:lnTo>
                    <a:pt x="102087" y="569508"/>
                  </a:lnTo>
                  <a:close/>
                  <a:moveTo>
                    <a:pt x="541198" y="563555"/>
                  </a:moveTo>
                  <a:lnTo>
                    <a:pt x="542299" y="564578"/>
                  </a:lnTo>
                  <a:lnTo>
                    <a:pt x="542237" y="565747"/>
                  </a:lnTo>
                  <a:lnTo>
                    <a:pt x="542368" y="566421"/>
                  </a:lnTo>
                  <a:lnTo>
                    <a:pt x="541293" y="566865"/>
                  </a:lnTo>
                  <a:lnTo>
                    <a:pt x="540213" y="566303"/>
                  </a:lnTo>
                  <a:lnTo>
                    <a:pt x="541058" y="565400"/>
                  </a:lnTo>
                  <a:close/>
                  <a:moveTo>
                    <a:pt x="549538" y="551727"/>
                  </a:moveTo>
                  <a:lnTo>
                    <a:pt x="550527" y="554808"/>
                  </a:lnTo>
                  <a:lnTo>
                    <a:pt x="548749" y="553462"/>
                  </a:lnTo>
                  <a:lnTo>
                    <a:pt x="548166" y="552498"/>
                  </a:lnTo>
                  <a:lnTo>
                    <a:pt x="549060" y="551840"/>
                  </a:lnTo>
                  <a:close/>
                  <a:moveTo>
                    <a:pt x="542755" y="530963"/>
                  </a:moveTo>
                  <a:lnTo>
                    <a:pt x="543202" y="531256"/>
                  </a:lnTo>
                  <a:lnTo>
                    <a:pt x="542909" y="533136"/>
                  </a:lnTo>
                  <a:lnTo>
                    <a:pt x="542204" y="534595"/>
                  </a:lnTo>
                  <a:lnTo>
                    <a:pt x="542071" y="531465"/>
                  </a:lnTo>
                  <a:lnTo>
                    <a:pt x="542396" y="531071"/>
                  </a:lnTo>
                  <a:close/>
                  <a:moveTo>
                    <a:pt x="550531" y="517828"/>
                  </a:moveTo>
                  <a:lnTo>
                    <a:pt x="550628" y="520281"/>
                  </a:lnTo>
                  <a:lnTo>
                    <a:pt x="550848" y="521086"/>
                  </a:lnTo>
                  <a:lnTo>
                    <a:pt x="549507" y="522538"/>
                  </a:lnTo>
                  <a:lnTo>
                    <a:pt x="550786" y="524430"/>
                  </a:lnTo>
                  <a:lnTo>
                    <a:pt x="550615" y="525116"/>
                  </a:lnTo>
                  <a:lnTo>
                    <a:pt x="550104" y="526616"/>
                  </a:lnTo>
                  <a:lnTo>
                    <a:pt x="549257" y="528090"/>
                  </a:lnTo>
                  <a:lnTo>
                    <a:pt x="548078" y="528694"/>
                  </a:lnTo>
                  <a:lnTo>
                    <a:pt x="547162" y="530657"/>
                  </a:lnTo>
                  <a:lnTo>
                    <a:pt x="546638" y="531397"/>
                  </a:lnTo>
                  <a:lnTo>
                    <a:pt x="548380" y="533460"/>
                  </a:lnTo>
                  <a:lnTo>
                    <a:pt x="548937" y="540468"/>
                  </a:lnTo>
                  <a:lnTo>
                    <a:pt x="547663" y="542386"/>
                  </a:lnTo>
                  <a:lnTo>
                    <a:pt x="546139" y="542769"/>
                  </a:lnTo>
                  <a:lnTo>
                    <a:pt x="546488" y="547440"/>
                  </a:lnTo>
                  <a:lnTo>
                    <a:pt x="546216" y="548482"/>
                  </a:lnTo>
                  <a:lnTo>
                    <a:pt x="544705" y="550775"/>
                  </a:lnTo>
                  <a:lnTo>
                    <a:pt x="544426" y="551775"/>
                  </a:lnTo>
                  <a:lnTo>
                    <a:pt x="543574" y="552715"/>
                  </a:lnTo>
                  <a:lnTo>
                    <a:pt x="543934" y="553888"/>
                  </a:lnTo>
                  <a:lnTo>
                    <a:pt x="544660" y="554402"/>
                  </a:lnTo>
                  <a:lnTo>
                    <a:pt x="544677" y="555363"/>
                  </a:lnTo>
                  <a:lnTo>
                    <a:pt x="544001" y="557829"/>
                  </a:lnTo>
                  <a:lnTo>
                    <a:pt x="543949" y="560641"/>
                  </a:lnTo>
                  <a:lnTo>
                    <a:pt x="543023" y="562951"/>
                  </a:lnTo>
                  <a:lnTo>
                    <a:pt x="542537" y="563478"/>
                  </a:lnTo>
                  <a:lnTo>
                    <a:pt x="541820" y="562892"/>
                  </a:lnTo>
                  <a:lnTo>
                    <a:pt x="539769" y="558870"/>
                  </a:lnTo>
                  <a:lnTo>
                    <a:pt x="539417" y="556287"/>
                  </a:lnTo>
                  <a:lnTo>
                    <a:pt x="538847" y="555392"/>
                  </a:lnTo>
                  <a:lnTo>
                    <a:pt x="539568" y="554111"/>
                  </a:lnTo>
                  <a:lnTo>
                    <a:pt x="540475" y="553685"/>
                  </a:lnTo>
                  <a:lnTo>
                    <a:pt x="541013" y="552242"/>
                  </a:lnTo>
                  <a:lnTo>
                    <a:pt x="541206" y="550036"/>
                  </a:lnTo>
                  <a:lnTo>
                    <a:pt x="541999" y="548237"/>
                  </a:lnTo>
                  <a:lnTo>
                    <a:pt x="542403" y="547736"/>
                  </a:lnTo>
                  <a:lnTo>
                    <a:pt x="544050" y="547717"/>
                  </a:lnTo>
                  <a:lnTo>
                    <a:pt x="544472" y="547488"/>
                  </a:lnTo>
                  <a:lnTo>
                    <a:pt x="544236" y="545765"/>
                  </a:lnTo>
                  <a:lnTo>
                    <a:pt x="543274" y="545016"/>
                  </a:lnTo>
                  <a:lnTo>
                    <a:pt x="542939" y="544536"/>
                  </a:lnTo>
                  <a:lnTo>
                    <a:pt x="542978" y="540406"/>
                  </a:lnTo>
                  <a:lnTo>
                    <a:pt x="543228" y="538736"/>
                  </a:lnTo>
                  <a:lnTo>
                    <a:pt x="543828" y="537535"/>
                  </a:lnTo>
                  <a:lnTo>
                    <a:pt x="543405" y="535052"/>
                  </a:lnTo>
                  <a:lnTo>
                    <a:pt x="543695" y="534125"/>
                  </a:lnTo>
                  <a:lnTo>
                    <a:pt x="544886" y="532821"/>
                  </a:lnTo>
                  <a:lnTo>
                    <a:pt x="545413" y="530040"/>
                  </a:lnTo>
                  <a:lnTo>
                    <a:pt x="544929" y="529209"/>
                  </a:lnTo>
                  <a:lnTo>
                    <a:pt x="546061" y="524914"/>
                  </a:lnTo>
                  <a:lnTo>
                    <a:pt x="545998" y="522045"/>
                  </a:lnTo>
                  <a:lnTo>
                    <a:pt x="547486" y="519170"/>
                  </a:lnTo>
                  <a:lnTo>
                    <a:pt x="549804" y="517864"/>
                  </a:lnTo>
                  <a:close/>
                  <a:moveTo>
                    <a:pt x="213036" y="0"/>
                  </a:moveTo>
                  <a:lnTo>
                    <a:pt x="213291" y="286"/>
                  </a:lnTo>
                  <a:lnTo>
                    <a:pt x="214189" y="883"/>
                  </a:lnTo>
                  <a:lnTo>
                    <a:pt x="215148" y="1178"/>
                  </a:lnTo>
                  <a:lnTo>
                    <a:pt x="216275" y="610"/>
                  </a:lnTo>
                  <a:lnTo>
                    <a:pt x="217681" y="143"/>
                  </a:lnTo>
                  <a:lnTo>
                    <a:pt x="218415" y="405"/>
                  </a:lnTo>
                  <a:lnTo>
                    <a:pt x="218521" y="1169"/>
                  </a:lnTo>
                  <a:lnTo>
                    <a:pt x="217675" y="4747"/>
                  </a:lnTo>
                  <a:lnTo>
                    <a:pt x="217742" y="6150"/>
                  </a:lnTo>
                  <a:lnTo>
                    <a:pt x="219147" y="9062"/>
                  </a:lnTo>
                  <a:lnTo>
                    <a:pt x="220976" y="13783"/>
                  </a:lnTo>
                  <a:lnTo>
                    <a:pt x="222693" y="18202"/>
                  </a:lnTo>
                  <a:lnTo>
                    <a:pt x="223708" y="21099"/>
                  </a:lnTo>
                  <a:lnTo>
                    <a:pt x="224701" y="22285"/>
                  </a:lnTo>
                  <a:lnTo>
                    <a:pt x="228875" y="23495"/>
                  </a:lnTo>
                  <a:lnTo>
                    <a:pt x="232304" y="24488"/>
                  </a:lnTo>
                  <a:lnTo>
                    <a:pt x="234345" y="26116"/>
                  </a:lnTo>
                  <a:lnTo>
                    <a:pt x="236595" y="27676"/>
                  </a:lnTo>
                  <a:lnTo>
                    <a:pt x="238178" y="28633"/>
                  </a:lnTo>
                  <a:lnTo>
                    <a:pt x="238923" y="29862"/>
                  </a:lnTo>
                  <a:lnTo>
                    <a:pt x="239074" y="30971"/>
                  </a:lnTo>
                  <a:lnTo>
                    <a:pt x="238934" y="31716"/>
                  </a:lnTo>
                  <a:lnTo>
                    <a:pt x="238075" y="32693"/>
                  </a:lnTo>
                  <a:lnTo>
                    <a:pt x="234123" y="35213"/>
                  </a:lnTo>
                  <a:lnTo>
                    <a:pt x="233652" y="36013"/>
                  </a:lnTo>
                  <a:lnTo>
                    <a:pt x="233540" y="37062"/>
                  </a:lnTo>
                  <a:lnTo>
                    <a:pt x="234315" y="40188"/>
                  </a:lnTo>
                  <a:lnTo>
                    <a:pt x="234803" y="42145"/>
                  </a:lnTo>
                  <a:lnTo>
                    <a:pt x="234939" y="46076"/>
                  </a:lnTo>
                  <a:lnTo>
                    <a:pt x="235203" y="49810"/>
                  </a:lnTo>
                  <a:lnTo>
                    <a:pt x="236599" y="51509"/>
                  </a:lnTo>
                  <a:lnTo>
                    <a:pt x="237742" y="52607"/>
                  </a:lnTo>
                  <a:lnTo>
                    <a:pt x="238443" y="53603"/>
                  </a:lnTo>
                  <a:lnTo>
                    <a:pt x="239862" y="54965"/>
                  </a:lnTo>
                  <a:lnTo>
                    <a:pt x="241054" y="55981"/>
                  </a:lnTo>
                  <a:lnTo>
                    <a:pt x="242072" y="56577"/>
                  </a:lnTo>
                  <a:lnTo>
                    <a:pt x="242572" y="57921"/>
                  </a:lnTo>
                  <a:lnTo>
                    <a:pt x="242274" y="59498"/>
                  </a:lnTo>
                  <a:lnTo>
                    <a:pt x="241858" y="60870"/>
                  </a:lnTo>
                  <a:lnTo>
                    <a:pt x="241985" y="61608"/>
                  </a:lnTo>
                  <a:lnTo>
                    <a:pt x="242801" y="62132"/>
                  </a:lnTo>
                  <a:lnTo>
                    <a:pt x="244056" y="63499"/>
                  </a:lnTo>
                  <a:lnTo>
                    <a:pt x="244218" y="65503"/>
                  </a:lnTo>
                  <a:lnTo>
                    <a:pt x="244129" y="66879"/>
                  </a:lnTo>
                  <a:lnTo>
                    <a:pt x="244624" y="68117"/>
                  </a:lnTo>
                  <a:lnTo>
                    <a:pt x="244756" y="69490"/>
                  </a:lnTo>
                  <a:lnTo>
                    <a:pt x="244371" y="72915"/>
                  </a:lnTo>
                  <a:lnTo>
                    <a:pt x="244434" y="74463"/>
                  </a:lnTo>
                  <a:lnTo>
                    <a:pt x="243341" y="74558"/>
                  </a:lnTo>
                  <a:lnTo>
                    <a:pt x="242399" y="75085"/>
                  </a:lnTo>
                  <a:lnTo>
                    <a:pt x="241065" y="77240"/>
                  </a:lnTo>
                  <a:lnTo>
                    <a:pt x="239532" y="77806"/>
                  </a:lnTo>
                  <a:lnTo>
                    <a:pt x="237791" y="77977"/>
                  </a:lnTo>
                  <a:lnTo>
                    <a:pt x="235999" y="76655"/>
                  </a:lnTo>
                  <a:lnTo>
                    <a:pt x="234526" y="75275"/>
                  </a:lnTo>
                  <a:lnTo>
                    <a:pt x="234133" y="74508"/>
                  </a:lnTo>
                  <a:lnTo>
                    <a:pt x="233762" y="73053"/>
                  </a:lnTo>
                  <a:lnTo>
                    <a:pt x="232969" y="72102"/>
                  </a:lnTo>
                  <a:lnTo>
                    <a:pt x="231437" y="72547"/>
                  </a:lnTo>
                  <a:lnTo>
                    <a:pt x="229111" y="72748"/>
                  </a:lnTo>
                  <a:lnTo>
                    <a:pt x="226593" y="73070"/>
                  </a:lnTo>
                  <a:lnTo>
                    <a:pt x="226133" y="73389"/>
                  </a:lnTo>
                  <a:lnTo>
                    <a:pt x="226088" y="74001"/>
                  </a:lnTo>
                  <a:lnTo>
                    <a:pt x="226703" y="75309"/>
                  </a:lnTo>
                  <a:lnTo>
                    <a:pt x="227230" y="77014"/>
                  </a:lnTo>
                  <a:lnTo>
                    <a:pt x="227539" y="79398"/>
                  </a:lnTo>
                  <a:lnTo>
                    <a:pt x="228221" y="80973"/>
                  </a:lnTo>
                  <a:lnTo>
                    <a:pt x="228437" y="81476"/>
                  </a:lnTo>
                  <a:lnTo>
                    <a:pt x="232458" y="86205"/>
                  </a:lnTo>
                  <a:lnTo>
                    <a:pt x="233516" y="87167"/>
                  </a:lnTo>
                  <a:lnTo>
                    <a:pt x="233734" y="87801"/>
                  </a:lnTo>
                  <a:lnTo>
                    <a:pt x="233386" y="89524"/>
                  </a:lnTo>
                  <a:lnTo>
                    <a:pt x="233328" y="89441"/>
                  </a:lnTo>
                  <a:lnTo>
                    <a:pt x="232030" y="87620"/>
                  </a:lnTo>
                  <a:lnTo>
                    <a:pt x="233386" y="89524"/>
                  </a:lnTo>
                  <a:lnTo>
                    <a:pt x="232663" y="91536"/>
                  </a:lnTo>
                  <a:lnTo>
                    <a:pt x="232805" y="93130"/>
                  </a:lnTo>
                  <a:lnTo>
                    <a:pt x="234142" y="94892"/>
                  </a:lnTo>
                  <a:lnTo>
                    <a:pt x="235226" y="96123"/>
                  </a:lnTo>
                  <a:lnTo>
                    <a:pt x="234168" y="97780"/>
                  </a:lnTo>
                  <a:lnTo>
                    <a:pt x="233542" y="99697"/>
                  </a:lnTo>
                  <a:lnTo>
                    <a:pt x="234246" y="100559"/>
                  </a:lnTo>
                  <a:lnTo>
                    <a:pt x="233913" y="103313"/>
                  </a:lnTo>
                  <a:lnTo>
                    <a:pt x="234228" y="103833"/>
                  </a:lnTo>
                  <a:lnTo>
                    <a:pt x="234975" y="104048"/>
                  </a:lnTo>
                  <a:lnTo>
                    <a:pt x="236146" y="103857"/>
                  </a:lnTo>
                  <a:lnTo>
                    <a:pt x="237362" y="103128"/>
                  </a:lnTo>
                  <a:lnTo>
                    <a:pt x="238390" y="102985"/>
                  </a:lnTo>
                  <a:lnTo>
                    <a:pt x="239007" y="103195"/>
                  </a:lnTo>
                  <a:lnTo>
                    <a:pt x="239830" y="101107"/>
                  </a:lnTo>
                  <a:lnTo>
                    <a:pt x="240551" y="100812"/>
                  </a:lnTo>
                  <a:lnTo>
                    <a:pt x="241953" y="101388"/>
                  </a:lnTo>
                  <a:lnTo>
                    <a:pt x="244728" y="105315"/>
                  </a:lnTo>
                  <a:lnTo>
                    <a:pt x="247075" y="108632"/>
                  </a:lnTo>
                  <a:lnTo>
                    <a:pt x="247571" y="109089"/>
                  </a:lnTo>
                  <a:lnTo>
                    <a:pt x="247757" y="109260"/>
                  </a:lnTo>
                  <a:lnTo>
                    <a:pt x="248174" y="109644"/>
                  </a:lnTo>
                  <a:lnTo>
                    <a:pt x="250488" y="111361"/>
                  </a:lnTo>
                  <a:lnTo>
                    <a:pt x="252086" y="112449"/>
                  </a:lnTo>
                  <a:lnTo>
                    <a:pt x="254272" y="112055"/>
                  </a:lnTo>
                  <a:lnTo>
                    <a:pt x="257155" y="111981"/>
                  </a:lnTo>
                  <a:lnTo>
                    <a:pt x="258863" y="113044"/>
                  </a:lnTo>
                  <a:lnTo>
                    <a:pt x="259852" y="113785"/>
                  </a:lnTo>
                  <a:lnTo>
                    <a:pt x="259895" y="113889"/>
                  </a:lnTo>
                  <a:lnTo>
                    <a:pt x="260027" y="113917"/>
                  </a:lnTo>
                  <a:lnTo>
                    <a:pt x="260029" y="113917"/>
                  </a:lnTo>
                  <a:lnTo>
                    <a:pt x="263497" y="116516"/>
                  </a:lnTo>
                  <a:lnTo>
                    <a:pt x="265000" y="116324"/>
                  </a:lnTo>
                  <a:lnTo>
                    <a:pt x="265993" y="117068"/>
                  </a:lnTo>
                  <a:lnTo>
                    <a:pt x="266276" y="118904"/>
                  </a:lnTo>
                  <a:lnTo>
                    <a:pt x="265814" y="120810"/>
                  </a:lnTo>
                  <a:lnTo>
                    <a:pt x="265924" y="121707"/>
                  </a:lnTo>
                  <a:lnTo>
                    <a:pt x="267466" y="121879"/>
                  </a:lnTo>
                  <a:lnTo>
                    <a:pt x="270752" y="123138"/>
                  </a:lnTo>
                  <a:lnTo>
                    <a:pt x="273659" y="124253"/>
                  </a:lnTo>
                  <a:lnTo>
                    <a:pt x="275159" y="124609"/>
                  </a:lnTo>
                  <a:lnTo>
                    <a:pt x="276779" y="125435"/>
                  </a:lnTo>
                  <a:lnTo>
                    <a:pt x="278209" y="126756"/>
                  </a:lnTo>
                  <a:lnTo>
                    <a:pt x="281011" y="128450"/>
                  </a:lnTo>
                  <a:lnTo>
                    <a:pt x="283486" y="129746"/>
                  </a:lnTo>
                  <a:lnTo>
                    <a:pt x="284035" y="131506"/>
                  </a:lnTo>
                  <a:lnTo>
                    <a:pt x="283059" y="131129"/>
                  </a:lnTo>
                  <a:lnTo>
                    <a:pt x="281765" y="131325"/>
                  </a:lnTo>
                  <a:lnTo>
                    <a:pt x="280450" y="132105"/>
                  </a:lnTo>
                  <a:lnTo>
                    <a:pt x="279826" y="132600"/>
                  </a:lnTo>
                  <a:lnTo>
                    <a:pt x="276822" y="135626"/>
                  </a:lnTo>
                  <a:lnTo>
                    <a:pt x="275248" y="136558"/>
                  </a:lnTo>
                  <a:lnTo>
                    <a:pt x="273836" y="137914"/>
                  </a:lnTo>
                  <a:lnTo>
                    <a:pt x="270582" y="142012"/>
                  </a:lnTo>
                  <a:lnTo>
                    <a:pt x="268703" y="145833"/>
                  </a:lnTo>
                  <a:lnTo>
                    <a:pt x="267332" y="149422"/>
                  </a:lnTo>
                  <a:lnTo>
                    <a:pt x="267356" y="151962"/>
                  </a:lnTo>
                  <a:lnTo>
                    <a:pt x="266848" y="154935"/>
                  </a:lnTo>
                  <a:lnTo>
                    <a:pt x="265445" y="156628"/>
                  </a:lnTo>
                  <a:lnTo>
                    <a:pt x="264581" y="157204"/>
                  </a:lnTo>
                  <a:lnTo>
                    <a:pt x="263566" y="159760"/>
                  </a:lnTo>
                  <a:lnTo>
                    <a:pt x="262838" y="162739"/>
                  </a:lnTo>
                  <a:lnTo>
                    <a:pt x="263259" y="163703"/>
                  </a:lnTo>
                  <a:lnTo>
                    <a:pt x="265004" y="165003"/>
                  </a:lnTo>
                  <a:lnTo>
                    <a:pt x="266706" y="166270"/>
                  </a:lnTo>
                  <a:lnTo>
                    <a:pt x="268878" y="167637"/>
                  </a:lnTo>
                  <a:lnTo>
                    <a:pt x="270951" y="168943"/>
                  </a:lnTo>
                  <a:lnTo>
                    <a:pt x="272290" y="169114"/>
                  </a:lnTo>
                  <a:lnTo>
                    <a:pt x="272659" y="168372"/>
                  </a:lnTo>
                  <a:lnTo>
                    <a:pt x="273147" y="167667"/>
                  </a:lnTo>
                  <a:lnTo>
                    <a:pt x="274676" y="168041"/>
                  </a:lnTo>
                  <a:lnTo>
                    <a:pt x="276540" y="169321"/>
                  </a:lnTo>
                  <a:lnTo>
                    <a:pt x="277753" y="170337"/>
                  </a:lnTo>
                  <a:lnTo>
                    <a:pt x="278297" y="170678"/>
                  </a:lnTo>
                  <a:lnTo>
                    <a:pt x="281511" y="172385"/>
                  </a:lnTo>
                  <a:lnTo>
                    <a:pt x="284175" y="173799"/>
                  </a:lnTo>
                  <a:lnTo>
                    <a:pt x="287544" y="175586"/>
                  </a:lnTo>
                  <a:lnTo>
                    <a:pt x="288369" y="176679"/>
                  </a:lnTo>
                  <a:lnTo>
                    <a:pt x="289092" y="177842"/>
                  </a:lnTo>
                  <a:lnTo>
                    <a:pt x="290681" y="179386"/>
                  </a:lnTo>
                  <a:lnTo>
                    <a:pt x="294555" y="182118"/>
                  </a:lnTo>
                  <a:lnTo>
                    <a:pt x="297861" y="184073"/>
                  </a:lnTo>
                  <a:lnTo>
                    <a:pt x="300552" y="185667"/>
                  </a:lnTo>
                  <a:lnTo>
                    <a:pt x="302662" y="186784"/>
                  </a:lnTo>
                  <a:lnTo>
                    <a:pt x="303640" y="186608"/>
                  </a:lnTo>
                  <a:lnTo>
                    <a:pt x="304709" y="186015"/>
                  </a:lnTo>
                  <a:lnTo>
                    <a:pt x="305648" y="185668"/>
                  </a:lnTo>
                  <a:lnTo>
                    <a:pt x="306739" y="185983"/>
                  </a:lnTo>
                  <a:lnTo>
                    <a:pt x="308395" y="186835"/>
                  </a:lnTo>
                  <a:lnTo>
                    <a:pt x="312282" y="189425"/>
                  </a:lnTo>
                  <a:lnTo>
                    <a:pt x="315901" y="191448"/>
                  </a:lnTo>
                  <a:lnTo>
                    <a:pt x="319848" y="191084"/>
                  </a:lnTo>
                  <a:lnTo>
                    <a:pt x="320897" y="191409"/>
                  </a:lnTo>
                  <a:lnTo>
                    <a:pt x="321638" y="193241"/>
                  </a:lnTo>
                  <a:lnTo>
                    <a:pt x="322137" y="195095"/>
                  </a:lnTo>
                  <a:lnTo>
                    <a:pt x="326547" y="196318"/>
                  </a:lnTo>
                  <a:lnTo>
                    <a:pt x="329449" y="196870"/>
                  </a:lnTo>
                  <a:lnTo>
                    <a:pt x="332761" y="197877"/>
                  </a:lnTo>
                  <a:lnTo>
                    <a:pt x="334439" y="198623"/>
                  </a:lnTo>
                  <a:lnTo>
                    <a:pt x="336201" y="197688"/>
                  </a:lnTo>
                  <a:lnTo>
                    <a:pt x="336523" y="196863"/>
                  </a:lnTo>
                  <a:lnTo>
                    <a:pt x="337920" y="196374"/>
                  </a:lnTo>
                  <a:lnTo>
                    <a:pt x="340231" y="196588"/>
                  </a:lnTo>
                  <a:lnTo>
                    <a:pt x="344549" y="198028"/>
                  </a:lnTo>
                  <a:lnTo>
                    <a:pt x="346359" y="198460"/>
                  </a:lnTo>
                  <a:lnTo>
                    <a:pt x="347871" y="197095"/>
                  </a:lnTo>
                  <a:lnTo>
                    <a:pt x="350693" y="196462"/>
                  </a:lnTo>
                  <a:lnTo>
                    <a:pt x="352157" y="195754"/>
                  </a:lnTo>
                  <a:lnTo>
                    <a:pt x="355225" y="197268"/>
                  </a:lnTo>
                  <a:lnTo>
                    <a:pt x="360777" y="199167"/>
                  </a:lnTo>
                  <a:lnTo>
                    <a:pt x="363636" y="200346"/>
                  </a:lnTo>
                  <a:lnTo>
                    <a:pt x="364312" y="201509"/>
                  </a:lnTo>
                  <a:lnTo>
                    <a:pt x="364623" y="202609"/>
                  </a:lnTo>
                  <a:lnTo>
                    <a:pt x="364601" y="205274"/>
                  </a:lnTo>
                  <a:lnTo>
                    <a:pt x="365299" y="206480"/>
                  </a:lnTo>
                  <a:lnTo>
                    <a:pt x="370868" y="209193"/>
                  </a:lnTo>
                  <a:lnTo>
                    <a:pt x="372701" y="210343"/>
                  </a:lnTo>
                  <a:lnTo>
                    <a:pt x="374187" y="210714"/>
                  </a:lnTo>
                  <a:lnTo>
                    <a:pt x="375029" y="210760"/>
                  </a:lnTo>
                  <a:lnTo>
                    <a:pt x="375608" y="211101"/>
                  </a:lnTo>
                  <a:lnTo>
                    <a:pt x="376106" y="212648"/>
                  </a:lnTo>
                  <a:lnTo>
                    <a:pt x="376497" y="213004"/>
                  </a:lnTo>
                  <a:lnTo>
                    <a:pt x="377568" y="213389"/>
                  </a:lnTo>
                  <a:lnTo>
                    <a:pt x="378735" y="213610"/>
                  </a:lnTo>
                  <a:lnTo>
                    <a:pt x="382349" y="212275"/>
                  </a:lnTo>
                  <a:lnTo>
                    <a:pt x="384826" y="211262"/>
                  </a:lnTo>
                  <a:lnTo>
                    <a:pt x="386595" y="211520"/>
                  </a:lnTo>
                  <a:lnTo>
                    <a:pt x="387733" y="212645"/>
                  </a:lnTo>
                  <a:lnTo>
                    <a:pt x="387899" y="214284"/>
                  </a:lnTo>
                  <a:lnTo>
                    <a:pt x="388560" y="216014"/>
                  </a:lnTo>
                  <a:lnTo>
                    <a:pt x="389825" y="216859"/>
                  </a:lnTo>
                  <a:lnTo>
                    <a:pt x="391177" y="216953"/>
                  </a:lnTo>
                  <a:lnTo>
                    <a:pt x="394530" y="215786"/>
                  </a:lnTo>
                  <a:lnTo>
                    <a:pt x="397230" y="216679"/>
                  </a:lnTo>
                  <a:lnTo>
                    <a:pt x="399711" y="217005"/>
                  </a:lnTo>
                  <a:lnTo>
                    <a:pt x="402464" y="217565"/>
                  </a:lnTo>
                  <a:lnTo>
                    <a:pt x="403533" y="217994"/>
                  </a:lnTo>
                  <a:lnTo>
                    <a:pt x="406390" y="219425"/>
                  </a:lnTo>
                  <a:lnTo>
                    <a:pt x="409877" y="220870"/>
                  </a:lnTo>
                  <a:lnTo>
                    <a:pt x="411229" y="220707"/>
                  </a:lnTo>
                  <a:lnTo>
                    <a:pt x="416843" y="218015"/>
                  </a:lnTo>
                  <a:lnTo>
                    <a:pt x="417318" y="218343"/>
                  </a:lnTo>
                  <a:lnTo>
                    <a:pt x="418461" y="220914"/>
                  </a:lnTo>
                  <a:lnTo>
                    <a:pt x="420169" y="221838"/>
                  </a:lnTo>
                  <a:lnTo>
                    <a:pt x="422836" y="222642"/>
                  </a:lnTo>
                  <a:lnTo>
                    <a:pt x="425625" y="221157"/>
                  </a:lnTo>
                  <a:lnTo>
                    <a:pt x="427826" y="221583"/>
                  </a:lnTo>
                  <a:lnTo>
                    <a:pt x="430486" y="221722"/>
                  </a:lnTo>
                  <a:lnTo>
                    <a:pt x="433039" y="221007"/>
                  </a:lnTo>
                  <a:lnTo>
                    <a:pt x="435259" y="220826"/>
                  </a:lnTo>
                  <a:lnTo>
                    <a:pt x="438485" y="222119"/>
                  </a:lnTo>
                  <a:lnTo>
                    <a:pt x="439189" y="221819"/>
                  </a:lnTo>
                  <a:lnTo>
                    <a:pt x="439806" y="220989"/>
                  </a:lnTo>
                  <a:lnTo>
                    <a:pt x="441059" y="217280"/>
                  </a:lnTo>
                  <a:lnTo>
                    <a:pt x="442164" y="213995"/>
                  </a:lnTo>
                  <a:lnTo>
                    <a:pt x="442069" y="212035"/>
                  </a:lnTo>
                  <a:lnTo>
                    <a:pt x="441048" y="209156"/>
                  </a:lnTo>
                  <a:lnTo>
                    <a:pt x="438441" y="205408"/>
                  </a:lnTo>
                  <a:lnTo>
                    <a:pt x="438247" y="204269"/>
                  </a:lnTo>
                  <a:lnTo>
                    <a:pt x="439126" y="197720"/>
                  </a:lnTo>
                  <a:lnTo>
                    <a:pt x="440094" y="193940"/>
                  </a:lnTo>
                  <a:lnTo>
                    <a:pt x="440927" y="192150"/>
                  </a:lnTo>
                  <a:lnTo>
                    <a:pt x="441843" y="189600"/>
                  </a:lnTo>
                  <a:lnTo>
                    <a:pt x="442004" y="188418"/>
                  </a:lnTo>
                  <a:lnTo>
                    <a:pt x="441916" y="187352"/>
                  </a:lnTo>
                  <a:lnTo>
                    <a:pt x="441020" y="186700"/>
                  </a:lnTo>
                  <a:lnTo>
                    <a:pt x="440780" y="185889"/>
                  </a:lnTo>
                  <a:lnTo>
                    <a:pt x="441002" y="185208"/>
                  </a:lnTo>
                  <a:lnTo>
                    <a:pt x="441713" y="184828"/>
                  </a:lnTo>
                  <a:lnTo>
                    <a:pt x="444678" y="184351"/>
                  </a:lnTo>
                  <a:lnTo>
                    <a:pt x="448012" y="183327"/>
                  </a:lnTo>
                  <a:lnTo>
                    <a:pt x="449342" y="182782"/>
                  </a:lnTo>
                  <a:lnTo>
                    <a:pt x="450348" y="182234"/>
                  </a:lnTo>
                  <a:lnTo>
                    <a:pt x="451372" y="181373"/>
                  </a:lnTo>
                  <a:lnTo>
                    <a:pt x="452327" y="181409"/>
                  </a:lnTo>
                  <a:lnTo>
                    <a:pt x="455315" y="182657"/>
                  </a:lnTo>
                  <a:lnTo>
                    <a:pt x="456364" y="183440"/>
                  </a:lnTo>
                  <a:lnTo>
                    <a:pt x="456915" y="185824"/>
                  </a:lnTo>
                  <a:lnTo>
                    <a:pt x="457362" y="186746"/>
                  </a:lnTo>
                  <a:lnTo>
                    <a:pt x="456943" y="189166"/>
                  </a:lnTo>
                  <a:lnTo>
                    <a:pt x="455155" y="195026"/>
                  </a:lnTo>
                  <a:lnTo>
                    <a:pt x="455505" y="197219"/>
                  </a:lnTo>
                  <a:lnTo>
                    <a:pt x="457001" y="198817"/>
                  </a:lnTo>
                  <a:lnTo>
                    <a:pt x="458304" y="199932"/>
                  </a:lnTo>
                  <a:lnTo>
                    <a:pt x="458087" y="200375"/>
                  </a:lnTo>
                  <a:lnTo>
                    <a:pt x="455405" y="202265"/>
                  </a:lnTo>
                  <a:lnTo>
                    <a:pt x="454929" y="203278"/>
                  </a:lnTo>
                  <a:lnTo>
                    <a:pt x="455522" y="204262"/>
                  </a:lnTo>
                  <a:lnTo>
                    <a:pt x="456583" y="205100"/>
                  </a:lnTo>
                  <a:lnTo>
                    <a:pt x="457060" y="205896"/>
                  </a:lnTo>
                  <a:lnTo>
                    <a:pt x="457556" y="208371"/>
                  </a:lnTo>
                  <a:lnTo>
                    <a:pt x="458917" y="209067"/>
                  </a:lnTo>
                  <a:lnTo>
                    <a:pt x="461610" y="210664"/>
                  </a:lnTo>
                  <a:lnTo>
                    <a:pt x="463982" y="211825"/>
                  </a:lnTo>
                  <a:lnTo>
                    <a:pt x="468049" y="211053"/>
                  </a:lnTo>
                  <a:lnTo>
                    <a:pt x="469200" y="211578"/>
                  </a:lnTo>
                  <a:lnTo>
                    <a:pt x="471200" y="212128"/>
                  </a:lnTo>
                  <a:lnTo>
                    <a:pt x="472759" y="212298"/>
                  </a:lnTo>
                  <a:lnTo>
                    <a:pt x="473666" y="212709"/>
                  </a:lnTo>
                  <a:lnTo>
                    <a:pt x="474175" y="213107"/>
                  </a:lnTo>
                  <a:lnTo>
                    <a:pt x="474108" y="213608"/>
                  </a:lnTo>
                  <a:lnTo>
                    <a:pt x="474193" y="214123"/>
                  </a:lnTo>
                  <a:lnTo>
                    <a:pt x="476425" y="214254"/>
                  </a:lnTo>
                  <a:lnTo>
                    <a:pt x="477596" y="214547"/>
                  </a:lnTo>
                  <a:lnTo>
                    <a:pt x="481560" y="214016"/>
                  </a:lnTo>
                  <a:lnTo>
                    <a:pt x="485535" y="213288"/>
                  </a:lnTo>
                  <a:lnTo>
                    <a:pt x="487373" y="211080"/>
                  </a:lnTo>
                  <a:lnTo>
                    <a:pt x="488176" y="210922"/>
                  </a:lnTo>
                  <a:lnTo>
                    <a:pt x="490465" y="210063"/>
                  </a:lnTo>
                  <a:lnTo>
                    <a:pt x="492716" y="211003"/>
                  </a:lnTo>
                  <a:lnTo>
                    <a:pt x="495197" y="212290"/>
                  </a:lnTo>
                  <a:lnTo>
                    <a:pt x="496533" y="212679"/>
                  </a:lnTo>
                  <a:lnTo>
                    <a:pt x="499172" y="212882"/>
                  </a:lnTo>
                  <a:lnTo>
                    <a:pt x="501740" y="212738"/>
                  </a:lnTo>
                  <a:lnTo>
                    <a:pt x="507890" y="212128"/>
                  </a:lnTo>
                  <a:lnTo>
                    <a:pt x="511265" y="212448"/>
                  </a:lnTo>
                  <a:lnTo>
                    <a:pt x="514365" y="210615"/>
                  </a:lnTo>
                  <a:lnTo>
                    <a:pt x="515009" y="210620"/>
                  </a:lnTo>
                  <a:lnTo>
                    <a:pt x="516374" y="212035"/>
                  </a:lnTo>
                  <a:lnTo>
                    <a:pt x="519779" y="212162"/>
                  </a:lnTo>
                  <a:lnTo>
                    <a:pt x="521595" y="211478"/>
                  </a:lnTo>
                  <a:lnTo>
                    <a:pt x="523549" y="210950"/>
                  </a:lnTo>
                  <a:lnTo>
                    <a:pt x="524800" y="210782"/>
                  </a:lnTo>
                  <a:lnTo>
                    <a:pt x="525797" y="210764"/>
                  </a:lnTo>
                  <a:lnTo>
                    <a:pt x="527004" y="210903"/>
                  </a:lnTo>
                  <a:lnTo>
                    <a:pt x="528141" y="210431"/>
                  </a:lnTo>
                  <a:lnTo>
                    <a:pt x="528665" y="209480"/>
                  </a:lnTo>
                  <a:lnTo>
                    <a:pt x="528548" y="208045"/>
                  </a:lnTo>
                  <a:lnTo>
                    <a:pt x="527724" y="206484"/>
                  </a:lnTo>
                  <a:lnTo>
                    <a:pt x="527011" y="205569"/>
                  </a:lnTo>
                  <a:lnTo>
                    <a:pt x="526871" y="205079"/>
                  </a:lnTo>
                  <a:lnTo>
                    <a:pt x="527097" y="203949"/>
                  </a:lnTo>
                  <a:lnTo>
                    <a:pt x="527730" y="202356"/>
                  </a:lnTo>
                  <a:lnTo>
                    <a:pt x="528885" y="200538"/>
                  </a:lnTo>
                  <a:lnTo>
                    <a:pt x="528034" y="198773"/>
                  </a:lnTo>
                  <a:lnTo>
                    <a:pt x="526838" y="196735"/>
                  </a:lnTo>
                  <a:lnTo>
                    <a:pt x="525957" y="196542"/>
                  </a:lnTo>
                  <a:lnTo>
                    <a:pt x="523752" y="197011"/>
                  </a:lnTo>
                  <a:lnTo>
                    <a:pt x="521360" y="196918"/>
                  </a:lnTo>
                  <a:lnTo>
                    <a:pt x="519481" y="195700"/>
                  </a:lnTo>
                  <a:lnTo>
                    <a:pt x="518080" y="194172"/>
                  </a:lnTo>
                  <a:lnTo>
                    <a:pt x="517739" y="192889"/>
                  </a:lnTo>
                  <a:lnTo>
                    <a:pt x="518144" y="191324"/>
                  </a:lnTo>
                  <a:lnTo>
                    <a:pt x="518768" y="189885"/>
                  </a:lnTo>
                  <a:lnTo>
                    <a:pt x="518902" y="189344"/>
                  </a:lnTo>
                  <a:lnTo>
                    <a:pt x="520686" y="189347"/>
                  </a:lnTo>
                  <a:lnTo>
                    <a:pt x="523165" y="189666"/>
                  </a:lnTo>
                  <a:lnTo>
                    <a:pt x="525038" y="190066"/>
                  </a:lnTo>
                  <a:lnTo>
                    <a:pt x="526547" y="190050"/>
                  </a:lnTo>
                  <a:lnTo>
                    <a:pt x="529281" y="188205"/>
                  </a:lnTo>
                  <a:lnTo>
                    <a:pt x="530526" y="188094"/>
                  </a:lnTo>
                  <a:lnTo>
                    <a:pt x="531956" y="187743"/>
                  </a:lnTo>
                  <a:lnTo>
                    <a:pt x="532580" y="187395"/>
                  </a:lnTo>
                  <a:lnTo>
                    <a:pt x="533014" y="187665"/>
                  </a:lnTo>
                  <a:lnTo>
                    <a:pt x="534582" y="187891"/>
                  </a:lnTo>
                  <a:lnTo>
                    <a:pt x="536214" y="187799"/>
                  </a:lnTo>
                  <a:lnTo>
                    <a:pt x="537669" y="187289"/>
                  </a:lnTo>
                  <a:lnTo>
                    <a:pt x="539130" y="186494"/>
                  </a:lnTo>
                  <a:lnTo>
                    <a:pt x="541731" y="184828"/>
                  </a:lnTo>
                  <a:lnTo>
                    <a:pt x="542250" y="183870"/>
                  </a:lnTo>
                  <a:lnTo>
                    <a:pt x="542244" y="182991"/>
                  </a:lnTo>
                  <a:lnTo>
                    <a:pt x="541760" y="182414"/>
                  </a:lnTo>
                  <a:lnTo>
                    <a:pt x="541269" y="182135"/>
                  </a:lnTo>
                  <a:lnTo>
                    <a:pt x="541470" y="181373"/>
                  </a:lnTo>
                  <a:lnTo>
                    <a:pt x="542561" y="180086"/>
                  </a:lnTo>
                  <a:lnTo>
                    <a:pt x="546540" y="178147"/>
                  </a:lnTo>
                  <a:lnTo>
                    <a:pt x="549926" y="175763"/>
                  </a:lnTo>
                  <a:lnTo>
                    <a:pt x="551790" y="173974"/>
                  </a:lnTo>
                  <a:lnTo>
                    <a:pt x="552643" y="171805"/>
                  </a:lnTo>
                  <a:lnTo>
                    <a:pt x="553720" y="169452"/>
                  </a:lnTo>
                  <a:lnTo>
                    <a:pt x="554724" y="168523"/>
                  </a:lnTo>
                  <a:lnTo>
                    <a:pt x="557126" y="167934"/>
                  </a:lnTo>
                  <a:lnTo>
                    <a:pt x="563856" y="167065"/>
                  </a:lnTo>
                  <a:lnTo>
                    <a:pt x="565975" y="166115"/>
                  </a:lnTo>
                  <a:lnTo>
                    <a:pt x="569104" y="164351"/>
                  </a:lnTo>
                  <a:lnTo>
                    <a:pt x="570682" y="162967"/>
                  </a:lnTo>
                  <a:lnTo>
                    <a:pt x="571559" y="161844"/>
                  </a:lnTo>
                  <a:lnTo>
                    <a:pt x="571656" y="160593"/>
                  </a:lnTo>
                  <a:lnTo>
                    <a:pt x="573732" y="160200"/>
                  </a:lnTo>
                  <a:lnTo>
                    <a:pt x="575543" y="158178"/>
                  </a:lnTo>
                  <a:lnTo>
                    <a:pt x="577750" y="156139"/>
                  </a:lnTo>
                  <a:lnTo>
                    <a:pt x="581616" y="154415"/>
                  </a:lnTo>
                  <a:lnTo>
                    <a:pt x="585042" y="152097"/>
                  </a:lnTo>
                  <a:lnTo>
                    <a:pt x="586236" y="152468"/>
                  </a:lnTo>
                  <a:lnTo>
                    <a:pt x="587483" y="153562"/>
                  </a:lnTo>
                  <a:lnTo>
                    <a:pt x="588138" y="154775"/>
                  </a:lnTo>
                  <a:lnTo>
                    <a:pt x="588280" y="155386"/>
                  </a:lnTo>
                  <a:lnTo>
                    <a:pt x="592658" y="156153"/>
                  </a:lnTo>
                  <a:lnTo>
                    <a:pt x="593351" y="156030"/>
                  </a:lnTo>
                  <a:lnTo>
                    <a:pt x="596577" y="157116"/>
                  </a:lnTo>
                  <a:lnTo>
                    <a:pt x="599549" y="158427"/>
                  </a:lnTo>
                  <a:lnTo>
                    <a:pt x="601186" y="158756"/>
                  </a:lnTo>
                  <a:lnTo>
                    <a:pt x="601985" y="158720"/>
                  </a:lnTo>
                  <a:lnTo>
                    <a:pt x="602669" y="158313"/>
                  </a:lnTo>
                  <a:lnTo>
                    <a:pt x="603472" y="157158"/>
                  </a:lnTo>
                  <a:lnTo>
                    <a:pt x="604296" y="156322"/>
                  </a:lnTo>
                  <a:lnTo>
                    <a:pt x="604810" y="155981"/>
                  </a:lnTo>
                  <a:lnTo>
                    <a:pt x="604783" y="154652"/>
                  </a:lnTo>
                  <a:lnTo>
                    <a:pt x="609084" y="152063"/>
                  </a:lnTo>
                  <a:lnTo>
                    <a:pt x="612948" y="150204"/>
                  </a:lnTo>
                  <a:lnTo>
                    <a:pt x="616272" y="148848"/>
                  </a:lnTo>
                  <a:lnTo>
                    <a:pt x="617250" y="149403"/>
                  </a:lnTo>
                  <a:lnTo>
                    <a:pt x="618331" y="150434"/>
                  </a:lnTo>
                  <a:lnTo>
                    <a:pt x="619795" y="153060"/>
                  </a:lnTo>
                  <a:lnTo>
                    <a:pt x="620685" y="153702"/>
                  </a:lnTo>
                  <a:lnTo>
                    <a:pt x="622946" y="153336"/>
                  </a:lnTo>
                  <a:lnTo>
                    <a:pt x="623358" y="153623"/>
                  </a:lnTo>
                  <a:lnTo>
                    <a:pt x="623002" y="154569"/>
                  </a:lnTo>
                  <a:lnTo>
                    <a:pt x="621471" y="155739"/>
                  </a:lnTo>
                  <a:lnTo>
                    <a:pt x="619488" y="156788"/>
                  </a:lnTo>
                  <a:lnTo>
                    <a:pt x="618196" y="157645"/>
                  </a:lnTo>
                  <a:lnTo>
                    <a:pt x="618616" y="160498"/>
                  </a:lnTo>
                  <a:lnTo>
                    <a:pt x="618521" y="161481"/>
                  </a:lnTo>
                  <a:lnTo>
                    <a:pt x="619076" y="161791"/>
                  </a:lnTo>
                  <a:lnTo>
                    <a:pt x="623160" y="158960"/>
                  </a:lnTo>
                  <a:lnTo>
                    <a:pt x="625125" y="158400"/>
                  </a:lnTo>
                  <a:lnTo>
                    <a:pt x="625818" y="159084"/>
                  </a:lnTo>
                  <a:lnTo>
                    <a:pt x="626041" y="160598"/>
                  </a:lnTo>
                  <a:lnTo>
                    <a:pt x="627652" y="163717"/>
                  </a:lnTo>
                  <a:lnTo>
                    <a:pt x="628334" y="165301"/>
                  </a:lnTo>
                  <a:lnTo>
                    <a:pt x="624237" y="169074"/>
                  </a:lnTo>
                  <a:lnTo>
                    <a:pt x="622728" y="171021"/>
                  </a:lnTo>
                  <a:lnTo>
                    <a:pt x="622784" y="171707"/>
                  </a:lnTo>
                  <a:lnTo>
                    <a:pt x="622702" y="172385"/>
                  </a:lnTo>
                  <a:lnTo>
                    <a:pt x="621657" y="173353"/>
                  </a:lnTo>
                  <a:lnTo>
                    <a:pt x="621713" y="173739"/>
                  </a:lnTo>
                  <a:lnTo>
                    <a:pt x="622562" y="174352"/>
                  </a:lnTo>
                  <a:lnTo>
                    <a:pt x="623591" y="174813"/>
                  </a:lnTo>
                  <a:lnTo>
                    <a:pt x="624093" y="174798"/>
                  </a:lnTo>
                  <a:lnTo>
                    <a:pt x="624948" y="173884"/>
                  </a:lnTo>
                  <a:lnTo>
                    <a:pt x="628815" y="172592"/>
                  </a:lnTo>
                  <a:lnTo>
                    <a:pt x="629925" y="172836"/>
                  </a:lnTo>
                  <a:lnTo>
                    <a:pt x="632643" y="174818"/>
                  </a:lnTo>
                  <a:lnTo>
                    <a:pt x="633909" y="174930"/>
                  </a:lnTo>
                  <a:lnTo>
                    <a:pt x="637179" y="175522"/>
                  </a:lnTo>
                  <a:lnTo>
                    <a:pt x="639269" y="174773"/>
                  </a:lnTo>
                  <a:lnTo>
                    <a:pt x="640810" y="175459"/>
                  </a:lnTo>
                  <a:lnTo>
                    <a:pt x="644002" y="177938"/>
                  </a:lnTo>
                  <a:lnTo>
                    <a:pt x="644732" y="178390"/>
                  </a:lnTo>
                  <a:lnTo>
                    <a:pt x="644462" y="179892"/>
                  </a:lnTo>
                  <a:lnTo>
                    <a:pt x="644295" y="181549"/>
                  </a:lnTo>
                  <a:lnTo>
                    <a:pt x="645101" y="182868"/>
                  </a:lnTo>
                  <a:lnTo>
                    <a:pt x="645199" y="184029"/>
                  </a:lnTo>
                  <a:lnTo>
                    <a:pt x="645012" y="185095"/>
                  </a:lnTo>
                  <a:lnTo>
                    <a:pt x="644371" y="185828"/>
                  </a:lnTo>
                  <a:lnTo>
                    <a:pt x="642601" y="186236"/>
                  </a:lnTo>
                  <a:lnTo>
                    <a:pt x="641091" y="187506"/>
                  </a:lnTo>
                  <a:lnTo>
                    <a:pt x="638701" y="189342"/>
                  </a:lnTo>
                  <a:lnTo>
                    <a:pt x="636779" y="190816"/>
                  </a:lnTo>
                  <a:lnTo>
                    <a:pt x="635384" y="192116"/>
                  </a:lnTo>
                  <a:lnTo>
                    <a:pt x="634879" y="193479"/>
                  </a:lnTo>
                  <a:lnTo>
                    <a:pt x="635028" y="195194"/>
                  </a:lnTo>
                  <a:lnTo>
                    <a:pt x="635434" y="196988"/>
                  </a:lnTo>
                  <a:lnTo>
                    <a:pt x="639895" y="203569"/>
                  </a:lnTo>
                  <a:lnTo>
                    <a:pt x="639859" y="204709"/>
                  </a:lnTo>
                  <a:lnTo>
                    <a:pt x="638444" y="205027"/>
                  </a:lnTo>
                  <a:lnTo>
                    <a:pt x="636572" y="204284"/>
                  </a:lnTo>
                  <a:lnTo>
                    <a:pt x="634954" y="203224"/>
                  </a:lnTo>
                  <a:lnTo>
                    <a:pt x="633132" y="200405"/>
                  </a:lnTo>
                  <a:lnTo>
                    <a:pt x="631668" y="199564"/>
                  </a:lnTo>
                  <a:lnTo>
                    <a:pt x="630210" y="199379"/>
                  </a:lnTo>
                  <a:lnTo>
                    <a:pt x="621553" y="200830"/>
                  </a:lnTo>
                  <a:lnTo>
                    <a:pt x="619709" y="201237"/>
                  </a:lnTo>
                  <a:lnTo>
                    <a:pt x="616848" y="202289"/>
                  </a:lnTo>
                  <a:lnTo>
                    <a:pt x="614846" y="204408"/>
                  </a:lnTo>
                  <a:lnTo>
                    <a:pt x="613395" y="206346"/>
                  </a:lnTo>
                  <a:lnTo>
                    <a:pt x="611892" y="207127"/>
                  </a:lnTo>
                  <a:lnTo>
                    <a:pt x="609705" y="208634"/>
                  </a:lnTo>
                  <a:lnTo>
                    <a:pt x="603634" y="213253"/>
                  </a:lnTo>
                  <a:lnTo>
                    <a:pt x="600124" y="215242"/>
                  </a:lnTo>
                  <a:lnTo>
                    <a:pt x="597832" y="215975"/>
                  </a:lnTo>
                  <a:lnTo>
                    <a:pt x="596223" y="217022"/>
                  </a:lnTo>
                  <a:lnTo>
                    <a:pt x="595356" y="218725"/>
                  </a:lnTo>
                  <a:lnTo>
                    <a:pt x="594699" y="219947"/>
                  </a:lnTo>
                  <a:lnTo>
                    <a:pt x="594502" y="222951"/>
                  </a:lnTo>
                  <a:lnTo>
                    <a:pt x="594902" y="226650"/>
                  </a:lnTo>
                  <a:lnTo>
                    <a:pt x="595774" y="229010"/>
                  </a:lnTo>
                  <a:lnTo>
                    <a:pt x="596236" y="229507"/>
                  </a:lnTo>
                  <a:lnTo>
                    <a:pt x="596305" y="230197"/>
                  </a:lnTo>
                  <a:lnTo>
                    <a:pt x="595433" y="231473"/>
                  </a:lnTo>
                  <a:lnTo>
                    <a:pt x="594278" y="232561"/>
                  </a:lnTo>
                  <a:lnTo>
                    <a:pt x="593714" y="233232"/>
                  </a:lnTo>
                  <a:lnTo>
                    <a:pt x="593200" y="236599"/>
                  </a:lnTo>
                  <a:lnTo>
                    <a:pt x="592177" y="238258"/>
                  </a:lnTo>
                  <a:lnTo>
                    <a:pt x="590307" y="240690"/>
                  </a:lnTo>
                  <a:lnTo>
                    <a:pt x="588642" y="242528"/>
                  </a:lnTo>
                  <a:lnTo>
                    <a:pt x="586031" y="243954"/>
                  </a:lnTo>
                  <a:lnTo>
                    <a:pt x="585038" y="245106"/>
                  </a:lnTo>
                  <a:lnTo>
                    <a:pt x="584088" y="247233"/>
                  </a:lnTo>
                  <a:lnTo>
                    <a:pt x="583524" y="249032"/>
                  </a:lnTo>
                  <a:lnTo>
                    <a:pt x="583494" y="249686"/>
                  </a:lnTo>
                  <a:lnTo>
                    <a:pt x="583792" y="250256"/>
                  </a:lnTo>
                  <a:lnTo>
                    <a:pt x="584878" y="250890"/>
                  </a:lnTo>
                  <a:lnTo>
                    <a:pt x="586197" y="251503"/>
                  </a:lnTo>
                  <a:lnTo>
                    <a:pt x="586826" y="252461"/>
                  </a:lnTo>
                  <a:lnTo>
                    <a:pt x="586912" y="253618"/>
                  </a:lnTo>
                  <a:lnTo>
                    <a:pt x="585932" y="256388"/>
                  </a:lnTo>
                  <a:lnTo>
                    <a:pt x="584181" y="260239"/>
                  </a:lnTo>
                  <a:lnTo>
                    <a:pt x="582171" y="263284"/>
                  </a:lnTo>
                  <a:lnTo>
                    <a:pt x="580097" y="266185"/>
                  </a:lnTo>
                  <a:lnTo>
                    <a:pt x="579607" y="267132"/>
                  </a:lnTo>
                  <a:lnTo>
                    <a:pt x="577746" y="270695"/>
                  </a:lnTo>
                  <a:lnTo>
                    <a:pt x="576124" y="275586"/>
                  </a:lnTo>
                  <a:lnTo>
                    <a:pt x="575031" y="278877"/>
                  </a:lnTo>
                  <a:lnTo>
                    <a:pt x="574088" y="281129"/>
                  </a:lnTo>
                  <a:lnTo>
                    <a:pt x="572919" y="281232"/>
                  </a:lnTo>
                  <a:lnTo>
                    <a:pt x="571505" y="280509"/>
                  </a:lnTo>
                  <a:lnTo>
                    <a:pt x="568069" y="279550"/>
                  </a:lnTo>
                  <a:lnTo>
                    <a:pt x="565867" y="278778"/>
                  </a:lnTo>
                  <a:lnTo>
                    <a:pt x="564265" y="278084"/>
                  </a:lnTo>
                  <a:lnTo>
                    <a:pt x="563157" y="278111"/>
                  </a:lnTo>
                  <a:lnTo>
                    <a:pt x="561626" y="278563"/>
                  </a:lnTo>
                  <a:lnTo>
                    <a:pt x="560071" y="278873"/>
                  </a:lnTo>
                  <a:lnTo>
                    <a:pt x="559151" y="278532"/>
                  </a:lnTo>
                  <a:lnTo>
                    <a:pt x="557016" y="276501"/>
                  </a:lnTo>
                  <a:lnTo>
                    <a:pt x="556368" y="276734"/>
                  </a:lnTo>
                  <a:lnTo>
                    <a:pt x="555949" y="277725"/>
                  </a:lnTo>
                  <a:lnTo>
                    <a:pt x="557391" y="283522"/>
                  </a:lnTo>
                  <a:lnTo>
                    <a:pt x="558329" y="285675"/>
                  </a:lnTo>
                  <a:lnTo>
                    <a:pt x="558177" y="289275"/>
                  </a:lnTo>
                  <a:lnTo>
                    <a:pt x="557806" y="293686"/>
                  </a:lnTo>
                  <a:lnTo>
                    <a:pt x="557247" y="298507"/>
                  </a:lnTo>
                  <a:lnTo>
                    <a:pt x="556880" y="299615"/>
                  </a:lnTo>
                  <a:lnTo>
                    <a:pt x="555964" y="300888"/>
                  </a:lnTo>
                  <a:lnTo>
                    <a:pt x="554759" y="301235"/>
                  </a:lnTo>
                  <a:lnTo>
                    <a:pt x="553662" y="300733"/>
                  </a:lnTo>
                  <a:lnTo>
                    <a:pt x="552783" y="300849"/>
                  </a:lnTo>
                  <a:lnTo>
                    <a:pt x="552492" y="301658"/>
                  </a:lnTo>
                  <a:lnTo>
                    <a:pt x="552747" y="303740"/>
                  </a:lnTo>
                  <a:lnTo>
                    <a:pt x="551679" y="306121"/>
                  </a:lnTo>
                  <a:lnTo>
                    <a:pt x="550893" y="308158"/>
                  </a:lnTo>
                  <a:lnTo>
                    <a:pt x="551103" y="310135"/>
                  </a:lnTo>
                  <a:lnTo>
                    <a:pt x="551477" y="312138"/>
                  </a:lnTo>
                  <a:lnTo>
                    <a:pt x="552736" y="316483"/>
                  </a:lnTo>
                  <a:lnTo>
                    <a:pt x="552744" y="318070"/>
                  </a:lnTo>
                  <a:lnTo>
                    <a:pt x="552496" y="319493"/>
                  </a:lnTo>
                  <a:lnTo>
                    <a:pt x="551839" y="320084"/>
                  </a:lnTo>
                  <a:lnTo>
                    <a:pt x="550714" y="319986"/>
                  </a:lnTo>
                  <a:lnTo>
                    <a:pt x="550104" y="320576"/>
                  </a:lnTo>
                  <a:lnTo>
                    <a:pt x="549639" y="321465"/>
                  </a:lnTo>
                  <a:lnTo>
                    <a:pt x="548370" y="324759"/>
                  </a:lnTo>
                  <a:lnTo>
                    <a:pt x="547152" y="325103"/>
                  </a:lnTo>
                  <a:lnTo>
                    <a:pt x="545932" y="324610"/>
                  </a:lnTo>
                  <a:lnTo>
                    <a:pt x="544098" y="322414"/>
                  </a:lnTo>
                  <a:lnTo>
                    <a:pt x="542984" y="321773"/>
                  </a:lnTo>
                  <a:lnTo>
                    <a:pt x="542275" y="321807"/>
                  </a:lnTo>
                  <a:lnTo>
                    <a:pt x="541961" y="322386"/>
                  </a:lnTo>
                  <a:lnTo>
                    <a:pt x="541472" y="323702"/>
                  </a:lnTo>
                  <a:lnTo>
                    <a:pt x="540980" y="324583"/>
                  </a:lnTo>
                  <a:lnTo>
                    <a:pt x="539754" y="325355"/>
                  </a:lnTo>
                  <a:lnTo>
                    <a:pt x="539451" y="323731"/>
                  </a:lnTo>
                  <a:lnTo>
                    <a:pt x="538801" y="315319"/>
                  </a:lnTo>
                  <a:lnTo>
                    <a:pt x="538309" y="312637"/>
                  </a:lnTo>
                  <a:lnTo>
                    <a:pt x="537907" y="308922"/>
                  </a:lnTo>
                  <a:lnTo>
                    <a:pt x="537311" y="307780"/>
                  </a:lnTo>
                  <a:lnTo>
                    <a:pt x="536559" y="305746"/>
                  </a:lnTo>
                  <a:lnTo>
                    <a:pt x="535735" y="303995"/>
                  </a:lnTo>
                  <a:lnTo>
                    <a:pt x="535037" y="303250"/>
                  </a:lnTo>
                  <a:lnTo>
                    <a:pt x="534586" y="299968"/>
                  </a:lnTo>
                  <a:lnTo>
                    <a:pt x="534422" y="295944"/>
                  </a:lnTo>
                  <a:lnTo>
                    <a:pt x="534431" y="294044"/>
                  </a:lnTo>
                  <a:lnTo>
                    <a:pt x="533439" y="290106"/>
                  </a:lnTo>
                  <a:lnTo>
                    <a:pt x="532483" y="285640"/>
                  </a:lnTo>
                  <a:lnTo>
                    <a:pt x="531178" y="285828"/>
                  </a:lnTo>
                  <a:lnTo>
                    <a:pt x="530410" y="284745"/>
                  </a:lnTo>
                  <a:lnTo>
                    <a:pt x="529851" y="284765"/>
                  </a:lnTo>
                  <a:lnTo>
                    <a:pt x="528015" y="285776"/>
                  </a:lnTo>
                  <a:lnTo>
                    <a:pt x="526566" y="285443"/>
                  </a:lnTo>
                  <a:lnTo>
                    <a:pt x="525484" y="285584"/>
                  </a:lnTo>
                  <a:lnTo>
                    <a:pt x="525482" y="287635"/>
                  </a:lnTo>
                  <a:lnTo>
                    <a:pt x="525668" y="289821"/>
                  </a:lnTo>
                  <a:lnTo>
                    <a:pt x="525253" y="290607"/>
                  </a:lnTo>
                  <a:lnTo>
                    <a:pt x="522398" y="293175"/>
                  </a:lnTo>
                  <a:lnTo>
                    <a:pt x="521606" y="294896"/>
                  </a:lnTo>
                  <a:lnTo>
                    <a:pt x="521688" y="296704"/>
                  </a:lnTo>
                  <a:lnTo>
                    <a:pt x="522040" y="299122"/>
                  </a:lnTo>
                  <a:lnTo>
                    <a:pt x="521535" y="300348"/>
                  </a:lnTo>
                  <a:lnTo>
                    <a:pt x="520295" y="301483"/>
                  </a:lnTo>
                  <a:lnTo>
                    <a:pt x="518628" y="302069"/>
                  </a:lnTo>
                  <a:lnTo>
                    <a:pt x="517168" y="301792"/>
                  </a:lnTo>
                  <a:lnTo>
                    <a:pt x="516234" y="300810"/>
                  </a:lnTo>
                  <a:lnTo>
                    <a:pt x="515352" y="298303"/>
                  </a:lnTo>
                  <a:lnTo>
                    <a:pt x="514575" y="296935"/>
                  </a:lnTo>
                  <a:lnTo>
                    <a:pt x="513761" y="296609"/>
                  </a:lnTo>
                  <a:lnTo>
                    <a:pt x="513124" y="296980"/>
                  </a:lnTo>
                  <a:lnTo>
                    <a:pt x="513040" y="298554"/>
                  </a:lnTo>
                  <a:lnTo>
                    <a:pt x="513081" y="299858"/>
                  </a:lnTo>
                  <a:lnTo>
                    <a:pt x="512876" y="300002"/>
                  </a:lnTo>
                  <a:lnTo>
                    <a:pt x="512422" y="299801"/>
                  </a:lnTo>
                  <a:lnTo>
                    <a:pt x="511900" y="299162"/>
                  </a:lnTo>
                  <a:lnTo>
                    <a:pt x="510542" y="292881"/>
                  </a:lnTo>
                  <a:lnTo>
                    <a:pt x="508589" y="288037"/>
                  </a:lnTo>
                  <a:lnTo>
                    <a:pt x="508477" y="286176"/>
                  </a:lnTo>
                  <a:lnTo>
                    <a:pt x="509185" y="283786"/>
                  </a:lnTo>
                  <a:lnTo>
                    <a:pt x="510059" y="280099"/>
                  </a:lnTo>
                  <a:lnTo>
                    <a:pt x="512368" y="277797"/>
                  </a:lnTo>
                  <a:lnTo>
                    <a:pt x="512672" y="276820"/>
                  </a:lnTo>
                  <a:lnTo>
                    <a:pt x="513046" y="276047"/>
                  </a:lnTo>
                  <a:lnTo>
                    <a:pt x="513612" y="275893"/>
                  </a:lnTo>
                  <a:lnTo>
                    <a:pt x="516568" y="276111"/>
                  </a:lnTo>
                  <a:lnTo>
                    <a:pt x="517564" y="275741"/>
                  </a:lnTo>
                  <a:lnTo>
                    <a:pt x="518443" y="274657"/>
                  </a:lnTo>
                  <a:lnTo>
                    <a:pt x="519716" y="273784"/>
                  </a:lnTo>
                  <a:lnTo>
                    <a:pt x="520995" y="273433"/>
                  </a:lnTo>
                  <a:lnTo>
                    <a:pt x="522010" y="273302"/>
                  </a:lnTo>
                  <a:lnTo>
                    <a:pt x="523640" y="274131"/>
                  </a:lnTo>
                  <a:lnTo>
                    <a:pt x="524321" y="273662"/>
                  </a:lnTo>
                  <a:lnTo>
                    <a:pt x="524808" y="272129"/>
                  </a:lnTo>
                  <a:lnTo>
                    <a:pt x="525517" y="270609"/>
                  </a:lnTo>
                  <a:lnTo>
                    <a:pt x="525972" y="269877"/>
                  </a:lnTo>
                  <a:lnTo>
                    <a:pt x="527065" y="269545"/>
                  </a:lnTo>
                  <a:lnTo>
                    <a:pt x="528460" y="269463"/>
                  </a:lnTo>
                  <a:lnTo>
                    <a:pt x="528922" y="269186"/>
                  </a:lnTo>
                  <a:lnTo>
                    <a:pt x="529296" y="268673"/>
                  </a:lnTo>
                  <a:lnTo>
                    <a:pt x="529639" y="266657"/>
                  </a:lnTo>
                  <a:lnTo>
                    <a:pt x="531420" y="262154"/>
                  </a:lnTo>
                  <a:lnTo>
                    <a:pt x="532053" y="260150"/>
                  </a:lnTo>
                  <a:lnTo>
                    <a:pt x="532140" y="259792"/>
                  </a:lnTo>
                  <a:lnTo>
                    <a:pt x="532090" y="257556"/>
                  </a:lnTo>
                  <a:lnTo>
                    <a:pt x="532597" y="257233"/>
                  </a:lnTo>
                  <a:lnTo>
                    <a:pt x="535553" y="258322"/>
                  </a:lnTo>
                  <a:lnTo>
                    <a:pt x="536841" y="258307"/>
                  </a:lnTo>
                  <a:lnTo>
                    <a:pt x="537545" y="257858"/>
                  </a:lnTo>
                  <a:lnTo>
                    <a:pt x="537776" y="257039"/>
                  </a:lnTo>
                  <a:lnTo>
                    <a:pt x="537397" y="256079"/>
                  </a:lnTo>
                  <a:lnTo>
                    <a:pt x="535299" y="254409"/>
                  </a:lnTo>
                  <a:lnTo>
                    <a:pt x="531567" y="252154"/>
                  </a:lnTo>
                  <a:lnTo>
                    <a:pt x="528141" y="250775"/>
                  </a:lnTo>
                  <a:lnTo>
                    <a:pt x="521811" y="250983"/>
                  </a:lnTo>
                  <a:lnTo>
                    <a:pt x="515536" y="251419"/>
                  </a:lnTo>
                  <a:lnTo>
                    <a:pt x="513700" y="251196"/>
                  </a:lnTo>
                  <a:lnTo>
                    <a:pt x="511411" y="250575"/>
                  </a:lnTo>
                  <a:lnTo>
                    <a:pt x="505776" y="250667"/>
                  </a:lnTo>
                  <a:lnTo>
                    <a:pt x="498962" y="251011"/>
                  </a:lnTo>
                  <a:lnTo>
                    <a:pt x="496373" y="250816"/>
                  </a:lnTo>
                  <a:lnTo>
                    <a:pt x="495095" y="250843"/>
                  </a:lnTo>
                  <a:lnTo>
                    <a:pt x="492532" y="251052"/>
                  </a:lnTo>
                  <a:lnTo>
                    <a:pt x="488354" y="250410"/>
                  </a:lnTo>
                  <a:lnTo>
                    <a:pt x="485463" y="249586"/>
                  </a:lnTo>
                  <a:lnTo>
                    <a:pt x="482901" y="248681"/>
                  </a:lnTo>
                  <a:lnTo>
                    <a:pt x="479861" y="247861"/>
                  </a:lnTo>
                  <a:lnTo>
                    <a:pt x="479131" y="247870"/>
                  </a:lnTo>
                  <a:lnTo>
                    <a:pt x="478706" y="247573"/>
                  </a:lnTo>
                  <a:lnTo>
                    <a:pt x="478414" y="246848"/>
                  </a:lnTo>
                  <a:lnTo>
                    <a:pt x="478313" y="245913"/>
                  </a:lnTo>
                  <a:lnTo>
                    <a:pt x="478945" y="241565"/>
                  </a:lnTo>
                  <a:lnTo>
                    <a:pt x="478385" y="234965"/>
                  </a:lnTo>
                  <a:lnTo>
                    <a:pt x="478902" y="232558"/>
                  </a:lnTo>
                  <a:lnTo>
                    <a:pt x="476401" y="227120"/>
                  </a:lnTo>
                  <a:lnTo>
                    <a:pt x="475540" y="226112"/>
                  </a:lnTo>
                  <a:lnTo>
                    <a:pt x="474393" y="226068"/>
                  </a:lnTo>
                  <a:lnTo>
                    <a:pt x="473657" y="226770"/>
                  </a:lnTo>
                  <a:lnTo>
                    <a:pt x="473369" y="228042"/>
                  </a:lnTo>
                  <a:lnTo>
                    <a:pt x="473782" y="229460"/>
                  </a:lnTo>
                  <a:lnTo>
                    <a:pt x="472864" y="231048"/>
                  </a:lnTo>
                  <a:lnTo>
                    <a:pt x="471029" y="231562"/>
                  </a:lnTo>
                  <a:lnTo>
                    <a:pt x="468881" y="231028"/>
                  </a:lnTo>
                  <a:lnTo>
                    <a:pt x="467101" y="230283"/>
                  </a:lnTo>
                  <a:lnTo>
                    <a:pt x="464827" y="228666"/>
                  </a:lnTo>
                  <a:lnTo>
                    <a:pt x="463100" y="226386"/>
                  </a:lnTo>
                  <a:lnTo>
                    <a:pt x="462959" y="223873"/>
                  </a:lnTo>
                  <a:lnTo>
                    <a:pt x="462182" y="222249"/>
                  </a:lnTo>
                  <a:lnTo>
                    <a:pt x="461118" y="221458"/>
                  </a:lnTo>
                  <a:lnTo>
                    <a:pt x="460338" y="221238"/>
                  </a:lnTo>
                  <a:lnTo>
                    <a:pt x="459642" y="221414"/>
                  </a:lnTo>
                  <a:lnTo>
                    <a:pt x="459027" y="222292"/>
                  </a:lnTo>
                  <a:lnTo>
                    <a:pt x="459560" y="223171"/>
                  </a:lnTo>
                  <a:lnTo>
                    <a:pt x="460297" y="224400"/>
                  </a:lnTo>
                  <a:lnTo>
                    <a:pt x="460051" y="225234"/>
                  </a:lnTo>
                  <a:lnTo>
                    <a:pt x="459394" y="225365"/>
                  </a:lnTo>
                  <a:lnTo>
                    <a:pt x="458416" y="225007"/>
                  </a:lnTo>
                  <a:lnTo>
                    <a:pt x="456902" y="225203"/>
                  </a:lnTo>
                  <a:lnTo>
                    <a:pt x="455440" y="224559"/>
                  </a:lnTo>
                  <a:lnTo>
                    <a:pt x="454561" y="224501"/>
                  </a:lnTo>
                  <a:lnTo>
                    <a:pt x="453691" y="224268"/>
                  </a:lnTo>
                  <a:lnTo>
                    <a:pt x="453644" y="222816"/>
                  </a:lnTo>
                  <a:lnTo>
                    <a:pt x="452305" y="220974"/>
                  </a:lnTo>
                  <a:lnTo>
                    <a:pt x="450053" y="218908"/>
                  </a:lnTo>
                  <a:lnTo>
                    <a:pt x="447839" y="217633"/>
                  </a:lnTo>
                  <a:lnTo>
                    <a:pt x="446772" y="217809"/>
                  </a:lnTo>
                  <a:lnTo>
                    <a:pt x="446241" y="219217"/>
                  </a:lnTo>
                  <a:lnTo>
                    <a:pt x="446364" y="219744"/>
                  </a:lnTo>
                  <a:lnTo>
                    <a:pt x="447133" y="220005"/>
                  </a:lnTo>
                  <a:lnTo>
                    <a:pt x="448250" y="220821"/>
                  </a:lnTo>
                  <a:lnTo>
                    <a:pt x="448496" y="221677"/>
                  </a:lnTo>
                  <a:lnTo>
                    <a:pt x="448331" y="222424"/>
                  </a:lnTo>
                  <a:lnTo>
                    <a:pt x="446952" y="223786"/>
                  </a:lnTo>
                  <a:lnTo>
                    <a:pt x="445978" y="225077"/>
                  </a:lnTo>
                  <a:lnTo>
                    <a:pt x="443792" y="226959"/>
                  </a:lnTo>
                  <a:lnTo>
                    <a:pt x="441927" y="229110"/>
                  </a:lnTo>
                  <a:lnTo>
                    <a:pt x="441445" y="230742"/>
                  </a:lnTo>
                  <a:lnTo>
                    <a:pt x="440745" y="232205"/>
                  </a:lnTo>
                  <a:lnTo>
                    <a:pt x="440463" y="233816"/>
                  </a:lnTo>
                  <a:lnTo>
                    <a:pt x="440951" y="234930"/>
                  </a:lnTo>
                  <a:lnTo>
                    <a:pt x="441854" y="235631"/>
                  </a:lnTo>
                  <a:lnTo>
                    <a:pt x="444186" y="236142"/>
                  </a:lnTo>
                  <a:lnTo>
                    <a:pt x="446621" y="238306"/>
                  </a:lnTo>
                  <a:lnTo>
                    <a:pt x="448595" y="241228"/>
                  </a:lnTo>
                  <a:lnTo>
                    <a:pt x="449703" y="242111"/>
                  </a:lnTo>
                  <a:lnTo>
                    <a:pt x="451715" y="243095"/>
                  </a:lnTo>
                  <a:lnTo>
                    <a:pt x="455600" y="243208"/>
                  </a:lnTo>
                  <a:lnTo>
                    <a:pt x="456181" y="244016"/>
                  </a:lnTo>
                  <a:lnTo>
                    <a:pt x="456732" y="246155"/>
                  </a:lnTo>
                  <a:lnTo>
                    <a:pt x="457494" y="246909"/>
                  </a:lnTo>
                  <a:lnTo>
                    <a:pt x="459470" y="247917"/>
                  </a:lnTo>
                  <a:lnTo>
                    <a:pt x="459636" y="248660"/>
                  </a:lnTo>
                  <a:lnTo>
                    <a:pt x="459153" y="249514"/>
                  </a:lnTo>
                  <a:lnTo>
                    <a:pt x="458276" y="250188"/>
                  </a:lnTo>
                  <a:lnTo>
                    <a:pt x="456664" y="250616"/>
                  </a:lnTo>
                  <a:lnTo>
                    <a:pt x="455123" y="250787"/>
                  </a:lnTo>
                  <a:lnTo>
                    <a:pt x="453575" y="250516"/>
                  </a:lnTo>
                  <a:lnTo>
                    <a:pt x="451281" y="250341"/>
                  </a:lnTo>
                  <a:lnTo>
                    <a:pt x="448681" y="250329"/>
                  </a:lnTo>
                  <a:lnTo>
                    <a:pt x="446839" y="255670"/>
                  </a:lnTo>
                  <a:lnTo>
                    <a:pt x="445522" y="257544"/>
                  </a:lnTo>
                  <a:lnTo>
                    <a:pt x="444773" y="257542"/>
                  </a:lnTo>
                  <a:lnTo>
                    <a:pt x="442769" y="256632"/>
                  </a:lnTo>
                  <a:lnTo>
                    <a:pt x="441905" y="256773"/>
                  </a:lnTo>
                  <a:lnTo>
                    <a:pt x="439591" y="261512"/>
                  </a:lnTo>
                  <a:lnTo>
                    <a:pt x="439262" y="262654"/>
                  </a:lnTo>
                  <a:lnTo>
                    <a:pt x="439111" y="263514"/>
                  </a:lnTo>
                  <a:lnTo>
                    <a:pt x="440342" y="265344"/>
                  </a:lnTo>
                  <a:lnTo>
                    <a:pt x="441810" y="266849"/>
                  </a:lnTo>
                  <a:lnTo>
                    <a:pt x="443568" y="267439"/>
                  </a:lnTo>
                  <a:lnTo>
                    <a:pt x="444941" y="266991"/>
                  </a:lnTo>
                  <a:lnTo>
                    <a:pt x="446056" y="267598"/>
                  </a:lnTo>
                  <a:lnTo>
                    <a:pt x="447371" y="269114"/>
                  </a:lnTo>
                  <a:lnTo>
                    <a:pt x="449616" y="270114"/>
                  </a:lnTo>
                  <a:lnTo>
                    <a:pt x="452795" y="270598"/>
                  </a:lnTo>
                  <a:lnTo>
                    <a:pt x="454592" y="271796"/>
                  </a:lnTo>
                  <a:lnTo>
                    <a:pt x="454814" y="272828"/>
                  </a:lnTo>
                  <a:lnTo>
                    <a:pt x="454658" y="273875"/>
                  </a:lnTo>
                  <a:lnTo>
                    <a:pt x="454375" y="276606"/>
                  </a:lnTo>
                  <a:lnTo>
                    <a:pt x="454067" y="278178"/>
                  </a:lnTo>
                  <a:lnTo>
                    <a:pt x="452359" y="282301"/>
                  </a:lnTo>
                  <a:lnTo>
                    <a:pt x="451139" y="285855"/>
                  </a:lnTo>
                  <a:lnTo>
                    <a:pt x="451772" y="287543"/>
                  </a:lnTo>
                  <a:lnTo>
                    <a:pt x="452223" y="288231"/>
                  </a:lnTo>
                  <a:lnTo>
                    <a:pt x="452650" y="288762"/>
                  </a:lnTo>
                  <a:lnTo>
                    <a:pt x="454019" y="290093"/>
                  </a:lnTo>
                  <a:lnTo>
                    <a:pt x="454974" y="291411"/>
                  </a:lnTo>
                  <a:lnTo>
                    <a:pt x="454160" y="294767"/>
                  </a:lnTo>
                  <a:lnTo>
                    <a:pt x="454611" y="295650"/>
                  </a:lnTo>
                  <a:lnTo>
                    <a:pt x="456451" y="296240"/>
                  </a:lnTo>
                  <a:lnTo>
                    <a:pt x="458429" y="296690"/>
                  </a:lnTo>
                  <a:lnTo>
                    <a:pt x="459115" y="297245"/>
                  </a:lnTo>
                  <a:lnTo>
                    <a:pt x="457401" y="300651"/>
                  </a:lnTo>
                  <a:lnTo>
                    <a:pt x="457763" y="303020"/>
                  </a:lnTo>
                  <a:lnTo>
                    <a:pt x="458487" y="305241"/>
                  </a:lnTo>
                  <a:lnTo>
                    <a:pt x="459012" y="308872"/>
                  </a:lnTo>
                  <a:lnTo>
                    <a:pt x="459090" y="309253"/>
                  </a:lnTo>
                  <a:lnTo>
                    <a:pt x="458952" y="310163"/>
                  </a:lnTo>
                  <a:lnTo>
                    <a:pt x="460074" y="312980"/>
                  </a:lnTo>
                  <a:lnTo>
                    <a:pt x="461810" y="318472"/>
                  </a:lnTo>
                  <a:lnTo>
                    <a:pt x="461940" y="320524"/>
                  </a:lnTo>
                  <a:lnTo>
                    <a:pt x="461843" y="322684"/>
                  </a:lnTo>
                  <a:lnTo>
                    <a:pt x="461322" y="326302"/>
                  </a:lnTo>
                  <a:lnTo>
                    <a:pt x="459584" y="326286"/>
                  </a:lnTo>
                  <a:lnTo>
                    <a:pt x="461139" y="328704"/>
                  </a:lnTo>
                  <a:lnTo>
                    <a:pt x="461634" y="330441"/>
                  </a:lnTo>
                  <a:lnTo>
                    <a:pt x="461847" y="332864"/>
                  </a:lnTo>
                  <a:lnTo>
                    <a:pt x="459977" y="333159"/>
                  </a:lnTo>
                  <a:lnTo>
                    <a:pt x="458658" y="332888"/>
                  </a:lnTo>
                  <a:lnTo>
                    <a:pt x="457554" y="330766"/>
                  </a:lnTo>
                  <a:lnTo>
                    <a:pt x="457043" y="332695"/>
                  </a:lnTo>
                  <a:lnTo>
                    <a:pt x="455067" y="334479"/>
                  </a:lnTo>
                  <a:lnTo>
                    <a:pt x="454358" y="333608"/>
                  </a:lnTo>
                  <a:lnTo>
                    <a:pt x="453954" y="332672"/>
                  </a:lnTo>
                  <a:lnTo>
                    <a:pt x="453877" y="331025"/>
                  </a:lnTo>
                  <a:lnTo>
                    <a:pt x="454961" y="324720"/>
                  </a:lnTo>
                  <a:lnTo>
                    <a:pt x="454740" y="324009"/>
                  </a:lnTo>
                  <a:lnTo>
                    <a:pt x="454254" y="323543"/>
                  </a:lnTo>
                  <a:lnTo>
                    <a:pt x="453177" y="323293"/>
                  </a:lnTo>
                  <a:lnTo>
                    <a:pt x="452780" y="322016"/>
                  </a:lnTo>
                  <a:lnTo>
                    <a:pt x="451126" y="328739"/>
                  </a:lnTo>
                  <a:lnTo>
                    <a:pt x="451856" y="331482"/>
                  </a:lnTo>
                  <a:lnTo>
                    <a:pt x="451521" y="332734"/>
                  </a:lnTo>
                  <a:lnTo>
                    <a:pt x="448455" y="333787"/>
                  </a:lnTo>
                  <a:lnTo>
                    <a:pt x="445347" y="331260"/>
                  </a:lnTo>
                  <a:lnTo>
                    <a:pt x="444950" y="330452"/>
                  </a:lnTo>
                  <a:lnTo>
                    <a:pt x="444767" y="331873"/>
                  </a:lnTo>
                  <a:lnTo>
                    <a:pt x="444203" y="333600"/>
                  </a:lnTo>
                  <a:lnTo>
                    <a:pt x="441292" y="333288"/>
                  </a:lnTo>
                  <a:lnTo>
                    <a:pt x="439849" y="331936"/>
                  </a:lnTo>
                  <a:lnTo>
                    <a:pt x="440791" y="329633"/>
                  </a:lnTo>
                  <a:lnTo>
                    <a:pt x="442596" y="324083"/>
                  </a:lnTo>
                  <a:lnTo>
                    <a:pt x="442933" y="321608"/>
                  </a:lnTo>
                  <a:lnTo>
                    <a:pt x="440519" y="319793"/>
                  </a:lnTo>
                  <a:lnTo>
                    <a:pt x="438470" y="318679"/>
                  </a:lnTo>
                  <a:lnTo>
                    <a:pt x="437297" y="316155"/>
                  </a:lnTo>
                  <a:lnTo>
                    <a:pt x="437744" y="318926"/>
                  </a:lnTo>
                  <a:lnTo>
                    <a:pt x="438830" y="319911"/>
                  </a:lnTo>
                  <a:lnTo>
                    <a:pt x="440428" y="320606"/>
                  </a:lnTo>
                  <a:lnTo>
                    <a:pt x="442115" y="322021"/>
                  </a:lnTo>
                  <a:lnTo>
                    <a:pt x="440895" y="323747"/>
                  </a:lnTo>
                  <a:lnTo>
                    <a:pt x="439716" y="324821"/>
                  </a:lnTo>
                  <a:lnTo>
                    <a:pt x="437453" y="328894"/>
                  </a:lnTo>
                  <a:lnTo>
                    <a:pt x="434695" y="331167"/>
                  </a:lnTo>
                  <a:lnTo>
                    <a:pt x="431477" y="332877"/>
                  </a:lnTo>
                  <a:lnTo>
                    <a:pt x="420918" y="335394"/>
                  </a:lnTo>
                  <a:lnTo>
                    <a:pt x="418707" y="336414"/>
                  </a:lnTo>
                  <a:lnTo>
                    <a:pt x="415466" y="339548"/>
                  </a:lnTo>
                  <a:lnTo>
                    <a:pt x="413375" y="342523"/>
                  </a:lnTo>
                  <a:lnTo>
                    <a:pt x="412993" y="345536"/>
                  </a:lnTo>
                  <a:lnTo>
                    <a:pt x="414177" y="348788"/>
                  </a:lnTo>
                  <a:lnTo>
                    <a:pt x="415140" y="353879"/>
                  </a:lnTo>
                  <a:lnTo>
                    <a:pt x="415938" y="354915"/>
                  </a:lnTo>
                  <a:lnTo>
                    <a:pt x="414811" y="356769"/>
                  </a:lnTo>
                  <a:lnTo>
                    <a:pt x="412853" y="358739"/>
                  </a:lnTo>
                  <a:lnTo>
                    <a:pt x="411229" y="361394"/>
                  </a:lnTo>
                  <a:lnTo>
                    <a:pt x="411378" y="362851"/>
                  </a:lnTo>
                  <a:lnTo>
                    <a:pt x="410961" y="363834"/>
                  </a:lnTo>
                  <a:lnTo>
                    <a:pt x="405396" y="367094"/>
                  </a:lnTo>
                  <a:lnTo>
                    <a:pt x="404226" y="368998"/>
                  </a:lnTo>
                  <a:lnTo>
                    <a:pt x="402695" y="370889"/>
                  </a:lnTo>
                  <a:lnTo>
                    <a:pt x="400862" y="369807"/>
                  </a:lnTo>
                  <a:lnTo>
                    <a:pt x="399791" y="369824"/>
                  </a:lnTo>
                  <a:lnTo>
                    <a:pt x="401266" y="371324"/>
                  </a:lnTo>
                  <a:lnTo>
                    <a:pt x="401067" y="372316"/>
                  </a:lnTo>
                  <a:lnTo>
                    <a:pt x="400549" y="372897"/>
                  </a:lnTo>
                  <a:lnTo>
                    <a:pt x="399149" y="373440"/>
                  </a:lnTo>
                  <a:lnTo>
                    <a:pt x="391116" y="375832"/>
                  </a:lnTo>
                  <a:lnTo>
                    <a:pt x="384971" y="378103"/>
                  </a:lnTo>
                  <a:lnTo>
                    <a:pt x="383243" y="378011"/>
                  </a:lnTo>
                  <a:lnTo>
                    <a:pt x="383559" y="377322"/>
                  </a:lnTo>
                  <a:lnTo>
                    <a:pt x="384634" y="376712"/>
                  </a:lnTo>
                  <a:lnTo>
                    <a:pt x="384530" y="374105"/>
                  </a:lnTo>
                  <a:lnTo>
                    <a:pt x="383403" y="373626"/>
                  </a:lnTo>
                  <a:lnTo>
                    <a:pt x="382427" y="373438"/>
                  </a:lnTo>
                  <a:lnTo>
                    <a:pt x="377754" y="376615"/>
                  </a:lnTo>
                  <a:lnTo>
                    <a:pt x="375856" y="379757"/>
                  </a:lnTo>
                  <a:lnTo>
                    <a:pt x="376253" y="380355"/>
                  </a:lnTo>
                  <a:lnTo>
                    <a:pt x="377309" y="380207"/>
                  </a:lnTo>
                  <a:lnTo>
                    <a:pt x="380458" y="378425"/>
                  </a:lnTo>
                  <a:lnTo>
                    <a:pt x="381917" y="378931"/>
                  </a:lnTo>
                  <a:lnTo>
                    <a:pt x="382021" y="379628"/>
                  </a:lnTo>
                  <a:lnTo>
                    <a:pt x="377245" y="382342"/>
                  </a:lnTo>
                  <a:lnTo>
                    <a:pt x="367193" y="391128"/>
                  </a:lnTo>
                  <a:lnTo>
                    <a:pt x="366724" y="392854"/>
                  </a:lnTo>
                  <a:lnTo>
                    <a:pt x="365420" y="394810"/>
                  </a:lnTo>
                  <a:lnTo>
                    <a:pt x="363619" y="396651"/>
                  </a:lnTo>
                  <a:lnTo>
                    <a:pt x="360378" y="401107"/>
                  </a:lnTo>
                  <a:lnTo>
                    <a:pt x="354163" y="407721"/>
                  </a:lnTo>
                  <a:lnTo>
                    <a:pt x="352446" y="410187"/>
                  </a:lnTo>
                  <a:lnTo>
                    <a:pt x="342500" y="415277"/>
                  </a:lnTo>
                  <a:lnTo>
                    <a:pt x="340686" y="416790"/>
                  </a:lnTo>
                  <a:lnTo>
                    <a:pt x="336611" y="421741"/>
                  </a:lnTo>
                  <a:lnTo>
                    <a:pt x="332418" y="425793"/>
                  </a:lnTo>
                  <a:lnTo>
                    <a:pt x="327520" y="429147"/>
                  </a:lnTo>
                  <a:lnTo>
                    <a:pt x="319036" y="433427"/>
                  </a:lnTo>
                  <a:lnTo>
                    <a:pt x="313871" y="437473"/>
                  </a:lnTo>
                  <a:lnTo>
                    <a:pt x="312256" y="440161"/>
                  </a:lnTo>
                  <a:lnTo>
                    <a:pt x="312154" y="441116"/>
                  </a:lnTo>
                  <a:lnTo>
                    <a:pt x="312713" y="442424"/>
                  </a:lnTo>
                  <a:lnTo>
                    <a:pt x="313659" y="443638"/>
                  </a:lnTo>
                  <a:lnTo>
                    <a:pt x="313875" y="444601"/>
                  </a:lnTo>
                  <a:lnTo>
                    <a:pt x="313409" y="446335"/>
                  </a:lnTo>
                  <a:lnTo>
                    <a:pt x="313154" y="447294"/>
                  </a:lnTo>
                  <a:lnTo>
                    <a:pt x="311643" y="449668"/>
                  </a:lnTo>
                  <a:lnTo>
                    <a:pt x="309049" y="451360"/>
                  </a:lnTo>
                  <a:lnTo>
                    <a:pt x="300656" y="454899"/>
                  </a:lnTo>
                  <a:lnTo>
                    <a:pt x="299546" y="454786"/>
                  </a:lnTo>
                  <a:lnTo>
                    <a:pt x="292694" y="454087"/>
                  </a:lnTo>
                  <a:lnTo>
                    <a:pt x="290135" y="454727"/>
                  </a:lnTo>
                  <a:lnTo>
                    <a:pt x="289083" y="456386"/>
                  </a:lnTo>
                  <a:lnTo>
                    <a:pt x="286730" y="463241"/>
                  </a:lnTo>
                  <a:lnTo>
                    <a:pt x="284473" y="465062"/>
                  </a:lnTo>
                  <a:lnTo>
                    <a:pt x="283663" y="466710"/>
                  </a:lnTo>
                  <a:lnTo>
                    <a:pt x="283337" y="467852"/>
                  </a:lnTo>
                  <a:lnTo>
                    <a:pt x="281990" y="467822"/>
                  </a:lnTo>
                  <a:lnTo>
                    <a:pt x="280817" y="467311"/>
                  </a:lnTo>
                  <a:lnTo>
                    <a:pt x="279960" y="467680"/>
                  </a:lnTo>
                  <a:lnTo>
                    <a:pt x="278984" y="465382"/>
                  </a:lnTo>
                  <a:lnTo>
                    <a:pt x="277347" y="464912"/>
                  </a:lnTo>
                  <a:lnTo>
                    <a:pt x="275993" y="464755"/>
                  </a:lnTo>
                  <a:lnTo>
                    <a:pt x="270206" y="467072"/>
                  </a:lnTo>
                  <a:lnTo>
                    <a:pt x="268185" y="468930"/>
                  </a:lnTo>
                  <a:lnTo>
                    <a:pt x="263931" y="477695"/>
                  </a:lnTo>
                  <a:lnTo>
                    <a:pt x="262877" y="483341"/>
                  </a:lnTo>
                  <a:lnTo>
                    <a:pt x="263877" y="489574"/>
                  </a:lnTo>
                  <a:lnTo>
                    <a:pt x="265354" y="494552"/>
                  </a:lnTo>
                  <a:lnTo>
                    <a:pt x="265648" y="496799"/>
                  </a:lnTo>
                  <a:lnTo>
                    <a:pt x="265457" y="499708"/>
                  </a:lnTo>
                  <a:lnTo>
                    <a:pt x="264708" y="501126"/>
                  </a:lnTo>
                  <a:lnTo>
                    <a:pt x="264166" y="502803"/>
                  </a:lnTo>
                  <a:lnTo>
                    <a:pt x="264873" y="506259"/>
                  </a:lnTo>
                  <a:lnTo>
                    <a:pt x="266658" y="510784"/>
                  </a:lnTo>
                  <a:lnTo>
                    <a:pt x="267094" y="512692"/>
                  </a:lnTo>
                  <a:lnTo>
                    <a:pt x="267131" y="514667"/>
                  </a:lnTo>
                  <a:lnTo>
                    <a:pt x="268474" y="519187"/>
                  </a:lnTo>
                  <a:lnTo>
                    <a:pt x="267569" y="518372"/>
                  </a:lnTo>
                  <a:lnTo>
                    <a:pt x="266857" y="516470"/>
                  </a:lnTo>
                  <a:lnTo>
                    <a:pt x="265151" y="514038"/>
                  </a:lnTo>
                  <a:lnTo>
                    <a:pt x="263069" y="516459"/>
                  </a:lnTo>
                  <a:lnTo>
                    <a:pt x="264223" y="518205"/>
                  </a:lnTo>
                  <a:lnTo>
                    <a:pt x="268116" y="520276"/>
                  </a:lnTo>
                  <a:lnTo>
                    <a:pt x="269267" y="521972"/>
                  </a:lnTo>
                  <a:lnTo>
                    <a:pt x="266762" y="537058"/>
                  </a:lnTo>
                  <a:lnTo>
                    <a:pt x="264859" y="542410"/>
                  </a:lnTo>
                  <a:lnTo>
                    <a:pt x="262525" y="545917"/>
                  </a:lnTo>
                  <a:lnTo>
                    <a:pt x="261292" y="547271"/>
                  </a:lnTo>
                  <a:lnTo>
                    <a:pt x="258567" y="552804"/>
                  </a:lnTo>
                  <a:lnTo>
                    <a:pt x="256641" y="559497"/>
                  </a:lnTo>
                  <a:lnTo>
                    <a:pt x="256259" y="562072"/>
                  </a:lnTo>
                  <a:lnTo>
                    <a:pt x="257126" y="564954"/>
                  </a:lnTo>
                  <a:lnTo>
                    <a:pt x="256144" y="566657"/>
                  </a:lnTo>
                  <a:lnTo>
                    <a:pt x="254911" y="567957"/>
                  </a:lnTo>
                  <a:lnTo>
                    <a:pt x="257252" y="567372"/>
                  </a:lnTo>
                  <a:lnTo>
                    <a:pt x="258053" y="568936"/>
                  </a:lnTo>
                  <a:lnTo>
                    <a:pt x="258349" y="570547"/>
                  </a:lnTo>
                  <a:lnTo>
                    <a:pt x="258383" y="580124"/>
                  </a:lnTo>
                  <a:lnTo>
                    <a:pt x="258118" y="590100"/>
                  </a:lnTo>
                  <a:lnTo>
                    <a:pt x="256321" y="590507"/>
                  </a:lnTo>
                  <a:lnTo>
                    <a:pt x="254341" y="590611"/>
                  </a:lnTo>
                  <a:lnTo>
                    <a:pt x="252598" y="590328"/>
                  </a:lnTo>
                  <a:lnTo>
                    <a:pt x="251339" y="589942"/>
                  </a:lnTo>
                  <a:lnTo>
                    <a:pt x="248219" y="590471"/>
                  </a:lnTo>
                  <a:lnTo>
                    <a:pt x="246539" y="591572"/>
                  </a:lnTo>
                  <a:lnTo>
                    <a:pt x="245192" y="593401"/>
                  </a:lnTo>
                  <a:lnTo>
                    <a:pt x="245285" y="596519"/>
                  </a:lnTo>
                  <a:lnTo>
                    <a:pt x="239502" y="604379"/>
                  </a:lnTo>
                  <a:lnTo>
                    <a:pt x="238256" y="606997"/>
                  </a:lnTo>
                  <a:lnTo>
                    <a:pt x="237796" y="609516"/>
                  </a:lnTo>
                  <a:lnTo>
                    <a:pt x="238547" y="610833"/>
                  </a:lnTo>
                  <a:lnTo>
                    <a:pt x="240024" y="612182"/>
                  </a:lnTo>
                  <a:lnTo>
                    <a:pt x="241950" y="612726"/>
                  </a:lnTo>
                  <a:lnTo>
                    <a:pt x="245676" y="613268"/>
                  </a:lnTo>
                  <a:lnTo>
                    <a:pt x="247463" y="613992"/>
                  </a:lnTo>
                  <a:lnTo>
                    <a:pt x="248681" y="615325"/>
                  </a:lnTo>
                  <a:lnTo>
                    <a:pt x="244291" y="613906"/>
                  </a:lnTo>
                  <a:lnTo>
                    <a:pt x="239133" y="613627"/>
                  </a:lnTo>
                  <a:lnTo>
                    <a:pt x="226791" y="617272"/>
                  </a:lnTo>
                  <a:lnTo>
                    <a:pt x="223542" y="619832"/>
                  </a:lnTo>
                  <a:lnTo>
                    <a:pt x="221728" y="622045"/>
                  </a:lnTo>
                  <a:lnTo>
                    <a:pt x="220479" y="627114"/>
                  </a:lnTo>
                  <a:lnTo>
                    <a:pt x="220266" y="630500"/>
                  </a:lnTo>
                  <a:lnTo>
                    <a:pt x="218802" y="633323"/>
                  </a:lnTo>
                  <a:lnTo>
                    <a:pt x="212393" y="637658"/>
                  </a:lnTo>
                  <a:lnTo>
                    <a:pt x="208344" y="638992"/>
                  </a:lnTo>
                  <a:lnTo>
                    <a:pt x="206804" y="640140"/>
                  </a:lnTo>
                  <a:lnTo>
                    <a:pt x="202026" y="638649"/>
                  </a:lnTo>
                  <a:lnTo>
                    <a:pt x="196817" y="634851"/>
                  </a:lnTo>
                  <a:lnTo>
                    <a:pt x="194628" y="632817"/>
                  </a:lnTo>
                  <a:lnTo>
                    <a:pt x="186897" y="623021"/>
                  </a:lnTo>
                  <a:lnTo>
                    <a:pt x="185485" y="621780"/>
                  </a:lnTo>
                  <a:lnTo>
                    <a:pt x="183926" y="617590"/>
                  </a:lnTo>
                  <a:lnTo>
                    <a:pt x="183679" y="616028"/>
                  </a:lnTo>
                  <a:lnTo>
                    <a:pt x="183250" y="615406"/>
                  </a:lnTo>
                  <a:lnTo>
                    <a:pt x="182514" y="614981"/>
                  </a:lnTo>
                  <a:lnTo>
                    <a:pt x="182161" y="614334"/>
                  </a:lnTo>
                  <a:lnTo>
                    <a:pt x="180425" y="609533"/>
                  </a:lnTo>
                  <a:lnTo>
                    <a:pt x="179713" y="604527"/>
                  </a:lnTo>
                  <a:lnTo>
                    <a:pt x="178607" y="598933"/>
                  </a:lnTo>
                  <a:lnTo>
                    <a:pt x="179542" y="599318"/>
                  </a:lnTo>
                  <a:lnTo>
                    <a:pt x="180833" y="601160"/>
                  </a:lnTo>
                  <a:lnTo>
                    <a:pt x="181479" y="603838"/>
                  </a:lnTo>
                  <a:lnTo>
                    <a:pt x="181552" y="607575"/>
                  </a:lnTo>
                  <a:lnTo>
                    <a:pt x="182524" y="608008"/>
                  </a:lnTo>
                  <a:lnTo>
                    <a:pt x="183392" y="607656"/>
                  </a:lnTo>
                  <a:lnTo>
                    <a:pt x="180909" y="599044"/>
                  </a:lnTo>
                  <a:lnTo>
                    <a:pt x="178748" y="596904"/>
                  </a:lnTo>
                  <a:lnTo>
                    <a:pt x="178173" y="596763"/>
                  </a:lnTo>
                  <a:lnTo>
                    <a:pt x="177572" y="595382"/>
                  </a:lnTo>
                  <a:lnTo>
                    <a:pt x="177508" y="593648"/>
                  </a:lnTo>
                  <a:lnTo>
                    <a:pt x="177702" y="592824"/>
                  </a:lnTo>
                  <a:lnTo>
                    <a:pt x="175975" y="590001"/>
                  </a:lnTo>
                  <a:lnTo>
                    <a:pt x="175372" y="588320"/>
                  </a:lnTo>
                  <a:lnTo>
                    <a:pt x="171535" y="579783"/>
                  </a:lnTo>
                  <a:lnTo>
                    <a:pt x="169812" y="573665"/>
                  </a:lnTo>
                  <a:lnTo>
                    <a:pt x="167140" y="566855"/>
                  </a:lnTo>
                  <a:lnTo>
                    <a:pt x="165422" y="564467"/>
                  </a:lnTo>
                  <a:lnTo>
                    <a:pt x="162733" y="559208"/>
                  </a:lnTo>
                  <a:lnTo>
                    <a:pt x="160481" y="556763"/>
                  </a:lnTo>
                  <a:lnTo>
                    <a:pt x="158093" y="553484"/>
                  </a:lnTo>
                  <a:lnTo>
                    <a:pt x="156216" y="552029"/>
                  </a:lnTo>
                  <a:lnTo>
                    <a:pt x="155484" y="551263"/>
                  </a:lnTo>
                  <a:lnTo>
                    <a:pt x="149931" y="539883"/>
                  </a:lnTo>
                  <a:lnTo>
                    <a:pt x="148222" y="533593"/>
                  </a:lnTo>
                  <a:lnTo>
                    <a:pt x="146778" y="530620"/>
                  </a:lnTo>
                  <a:lnTo>
                    <a:pt x="146061" y="528360"/>
                  </a:lnTo>
                  <a:lnTo>
                    <a:pt x="144111" y="518695"/>
                  </a:lnTo>
                  <a:lnTo>
                    <a:pt x="144096" y="516966"/>
                  </a:lnTo>
                  <a:lnTo>
                    <a:pt x="143858" y="515077"/>
                  </a:lnTo>
                  <a:lnTo>
                    <a:pt x="142478" y="510976"/>
                  </a:lnTo>
                  <a:lnTo>
                    <a:pt x="140047" y="506544"/>
                  </a:lnTo>
                  <a:lnTo>
                    <a:pt x="139343" y="503781"/>
                  </a:lnTo>
                  <a:lnTo>
                    <a:pt x="139350" y="502706"/>
                  </a:lnTo>
                  <a:lnTo>
                    <a:pt x="137805" y="498399"/>
                  </a:lnTo>
                  <a:lnTo>
                    <a:pt x="137475" y="496429"/>
                  </a:lnTo>
                  <a:lnTo>
                    <a:pt x="136432" y="494607"/>
                  </a:lnTo>
                  <a:lnTo>
                    <a:pt x="135223" y="492934"/>
                  </a:lnTo>
                  <a:lnTo>
                    <a:pt x="133955" y="491593"/>
                  </a:lnTo>
                  <a:lnTo>
                    <a:pt x="130986" y="487225"/>
                  </a:lnTo>
                  <a:lnTo>
                    <a:pt x="129921" y="486160"/>
                  </a:lnTo>
                  <a:lnTo>
                    <a:pt x="127900" y="483325"/>
                  </a:lnTo>
                  <a:lnTo>
                    <a:pt x="126464" y="478084"/>
                  </a:lnTo>
                  <a:lnTo>
                    <a:pt x="124618" y="476035"/>
                  </a:lnTo>
                  <a:lnTo>
                    <a:pt x="127518" y="476035"/>
                  </a:lnTo>
                  <a:lnTo>
                    <a:pt x="125750" y="474100"/>
                  </a:lnTo>
                  <a:lnTo>
                    <a:pt x="124907" y="472830"/>
                  </a:lnTo>
                  <a:lnTo>
                    <a:pt x="123976" y="472049"/>
                  </a:lnTo>
                  <a:lnTo>
                    <a:pt x="125326" y="470094"/>
                  </a:lnTo>
                  <a:lnTo>
                    <a:pt x="123115" y="470149"/>
                  </a:lnTo>
                  <a:lnTo>
                    <a:pt x="121945" y="468973"/>
                  </a:lnTo>
                  <a:lnTo>
                    <a:pt x="120349" y="465297"/>
                  </a:lnTo>
                  <a:lnTo>
                    <a:pt x="117438" y="461144"/>
                  </a:lnTo>
                  <a:lnTo>
                    <a:pt x="116944" y="458924"/>
                  </a:lnTo>
                  <a:lnTo>
                    <a:pt x="114376" y="451939"/>
                  </a:lnTo>
                  <a:lnTo>
                    <a:pt x="112199" y="435144"/>
                  </a:lnTo>
                  <a:lnTo>
                    <a:pt x="110206" y="427652"/>
                  </a:lnTo>
                  <a:lnTo>
                    <a:pt x="110362" y="425498"/>
                  </a:lnTo>
                  <a:lnTo>
                    <a:pt x="107954" y="419002"/>
                  </a:lnTo>
                  <a:lnTo>
                    <a:pt x="106777" y="414642"/>
                  </a:lnTo>
                  <a:lnTo>
                    <a:pt x="106293" y="410951"/>
                  </a:lnTo>
                  <a:lnTo>
                    <a:pt x="105654" y="408520"/>
                  </a:lnTo>
                  <a:lnTo>
                    <a:pt x="105080" y="403706"/>
                  </a:lnTo>
                  <a:lnTo>
                    <a:pt x="104158" y="402180"/>
                  </a:lnTo>
                  <a:lnTo>
                    <a:pt x="104056" y="401260"/>
                  </a:lnTo>
                  <a:lnTo>
                    <a:pt x="104672" y="399064"/>
                  </a:lnTo>
                  <a:lnTo>
                    <a:pt x="106399" y="395670"/>
                  </a:lnTo>
                  <a:lnTo>
                    <a:pt x="107034" y="393518"/>
                  </a:lnTo>
                  <a:lnTo>
                    <a:pt x="106293" y="390487"/>
                  </a:lnTo>
                  <a:lnTo>
                    <a:pt x="104715" y="393669"/>
                  </a:lnTo>
                  <a:lnTo>
                    <a:pt x="103255" y="394561"/>
                  </a:lnTo>
                  <a:lnTo>
                    <a:pt x="102556" y="392184"/>
                  </a:lnTo>
                  <a:lnTo>
                    <a:pt x="102549" y="388987"/>
                  </a:lnTo>
                  <a:lnTo>
                    <a:pt x="102368" y="388222"/>
                  </a:lnTo>
                  <a:lnTo>
                    <a:pt x="102746" y="387148"/>
                  </a:lnTo>
                  <a:lnTo>
                    <a:pt x="106628" y="387641"/>
                  </a:lnTo>
                  <a:lnTo>
                    <a:pt x="102221" y="385678"/>
                  </a:lnTo>
                  <a:lnTo>
                    <a:pt x="101692" y="384527"/>
                  </a:lnTo>
                  <a:lnTo>
                    <a:pt x="101525" y="383669"/>
                  </a:lnTo>
                  <a:lnTo>
                    <a:pt x="102476" y="382079"/>
                  </a:lnTo>
                  <a:lnTo>
                    <a:pt x="100865" y="380737"/>
                  </a:lnTo>
                  <a:lnTo>
                    <a:pt x="100221" y="376628"/>
                  </a:lnTo>
                  <a:lnTo>
                    <a:pt x="99746" y="375690"/>
                  </a:lnTo>
                  <a:lnTo>
                    <a:pt x="99565" y="374931"/>
                  </a:lnTo>
                  <a:lnTo>
                    <a:pt x="100476" y="369248"/>
                  </a:lnTo>
                  <a:lnTo>
                    <a:pt x="104283" y="358074"/>
                  </a:lnTo>
                  <a:lnTo>
                    <a:pt x="104562" y="355547"/>
                  </a:lnTo>
                  <a:lnTo>
                    <a:pt x="104233" y="351953"/>
                  </a:lnTo>
                  <a:lnTo>
                    <a:pt x="103385" y="349091"/>
                  </a:lnTo>
                  <a:lnTo>
                    <a:pt x="103026" y="346062"/>
                  </a:lnTo>
                  <a:lnTo>
                    <a:pt x="102795" y="345286"/>
                  </a:lnTo>
                  <a:lnTo>
                    <a:pt x="101418" y="345010"/>
                  </a:lnTo>
                  <a:lnTo>
                    <a:pt x="100109" y="343889"/>
                  </a:lnTo>
                  <a:lnTo>
                    <a:pt x="98593" y="339395"/>
                  </a:lnTo>
                  <a:lnTo>
                    <a:pt x="99979" y="337919"/>
                  </a:lnTo>
                  <a:lnTo>
                    <a:pt x="101046" y="337108"/>
                  </a:lnTo>
                  <a:lnTo>
                    <a:pt x="99578" y="337453"/>
                  </a:lnTo>
                  <a:lnTo>
                    <a:pt x="98360" y="337316"/>
                  </a:lnTo>
                  <a:lnTo>
                    <a:pt x="100666" y="335245"/>
                  </a:lnTo>
                  <a:lnTo>
                    <a:pt x="102722" y="333656"/>
                  </a:lnTo>
                  <a:lnTo>
                    <a:pt x="107408" y="331810"/>
                  </a:lnTo>
                  <a:lnTo>
                    <a:pt x="109399" y="330632"/>
                  </a:lnTo>
                  <a:lnTo>
                    <a:pt x="106449" y="331692"/>
                  </a:lnTo>
                  <a:lnTo>
                    <a:pt x="103368" y="332096"/>
                  </a:lnTo>
                  <a:lnTo>
                    <a:pt x="96808" y="331880"/>
                  </a:lnTo>
                  <a:lnTo>
                    <a:pt x="97900" y="327685"/>
                  </a:lnTo>
                  <a:lnTo>
                    <a:pt x="99040" y="326284"/>
                  </a:lnTo>
                  <a:lnTo>
                    <a:pt x="100282" y="325497"/>
                  </a:lnTo>
                  <a:lnTo>
                    <a:pt x="98453" y="325734"/>
                  </a:lnTo>
                  <a:lnTo>
                    <a:pt x="96348" y="325398"/>
                  </a:lnTo>
                  <a:lnTo>
                    <a:pt x="97027" y="321134"/>
                  </a:lnTo>
                  <a:lnTo>
                    <a:pt x="98684" y="320213"/>
                  </a:lnTo>
                  <a:lnTo>
                    <a:pt x="100472" y="320037"/>
                  </a:lnTo>
                  <a:lnTo>
                    <a:pt x="102692" y="319431"/>
                  </a:lnTo>
                  <a:lnTo>
                    <a:pt x="100321" y="318727"/>
                  </a:lnTo>
                  <a:lnTo>
                    <a:pt x="97848" y="318390"/>
                  </a:lnTo>
                  <a:lnTo>
                    <a:pt x="94881" y="319088"/>
                  </a:lnTo>
                  <a:lnTo>
                    <a:pt x="92154" y="318574"/>
                  </a:lnTo>
                  <a:lnTo>
                    <a:pt x="88841" y="318585"/>
                  </a:lnTo>
                  <a:lnTo>
                    <a:pt x="90163" y="319155"/>
                  </a:lnTo>
                  <a:lnTo>
                    <a:pt x="91575" y="320455"/>
                  </a:lnTo>
                  <a:lnTo>
                    <a:pt x="90867" y="322764"/>
                  </a:lnTo>
                  <a:lnTo>
                    <a:pt x="90202" y="324205"/>
                  </a:lnTo>
                  <a:lnTo>
                    <a:pt x="88375" y="325198"/>
                  </a:lnTo>
                  <a:lnTo>
                    <a:pt x="86887" y="326702"/>
                  </a:lnTo>
                  <a:lnTo>
                    <a:pt x="86470" y="328023"/>
                  </a:lnTo>
                  <a:lnTo>
                    <a:pt x="85622" y="328949"/>
                  </a:lnTo>
                  <a:lnTo>
                    <a:pt x="87075" y="329609"/>
                  </a:lnTo>
                  <a:lnTo>
                    <a:pt x="88578" y="330079"/>
                  </a:lnTo>
                  <a:lnTo>
                    <a:pt x="89450" y="331147"/>
                  </a:lnTo>
                  <a:lnTo>
                    <a:pt x="90474" y="332699"/>
                  </a:lnTo>
                  <a:lnTo>
                    <a:pt x="90415" y="335714"/>
                  </a:lnTo>
                  <a:lnTo>
                    <a:pt x="86492" y="342815"/>
                  </a:lnTo>
                  <a:lnTo>
                    <a:pt x="85136" y="344396"/>
                  </a:lnTo>
                  <a:lnTo>
                    <a:pt x="75315" y="348673"/>
                  </a:lnTo>
                  <a:lnTo>
                    <a:pt x="71454" y="351000"/>
                  </a:lnTo>
                  <a:lnTo>
                    <a:pt x="63231" y="354022"/>
                  </a:lnTo>
                  <a:lnTo>
                    <a:pt x="60026" y="354584"/>
                  </a:lnTo>
                  <a:lnTo>
                    <a:pt x="56481" y="353986"/>
                  </a:lnTo>
                  <a:lnTo>
                    <a:pt x="51300" y="351684"/>
                  </a:lnTo>
                  <a:lnTo>
                    <a:pt x="43391" y="345806"/>
                  </a:lnTo>
                  <a:lnTo>
                    <a:pt x="41335" y="343862"/>
                  </a:lnTo>
                  <a:lnTo>
                    <a:pt x="35012" y="336300"/>
                  </a:lnTo>
                  <a:lnTo>
                    <a:pt x="30447" y="332297"/>
                  </a:lnTo>
                  <a:lnTo>
                    <a:pt x="26986" y="328567"/>
                  </a:lnTo>
                  <a:lnTo>
                    <a:pt x="22701" y="325043"/>
                  </a:lnTo>
                  <a:lnTo>
                    <a:pt x="18657" y="320279"/>
                  </a:lnTo>
                  <a:lnTo>
                    <a:pt x="17798" y="318107"/>
                  </a:lnTo>
                  <a:lnTo>
                    <a:pt x="18098" y="315898"/>
                  </a:lnTo>
                  <a:lnTo>
                    <a:pt x="19605" y="314691"/>
                  </a:lnTo>
                  <a:lnTo>
                    <a:pt x="21367" y="315180"/>
                  </a:lnTo>
                  <a:lnTo>
                    <a:pt x="22757" y="317043"/>
                  </a:lnTo>
                  <a:lnTo>
                    <a:pt x="23745" y="317877"/>
                  </a:lnTo>
                  <a:lnTo>
                    <a:pt x="24578" y="318219"/>
                  </a:lnTo>
                  <a:lnTo>
                    <a:pt x="30607" y="315363"/>
                  </a:lnTo>
                  <a:lnTo>
                    <a:pt x="32950" y="315477"/>
                  </a:lnTo>
                  <a:lnTo>
                    <a:pt x="34550" y="314043"/>
                  </a:lnTo>
                  <a:lnTo>
                    <a:pt x="36574" y="314356"/>
                  </a:lnTo>
                  <a:lnTo>
                    <a:pt x="40704" y="312125"/>
                  </a:lnTo>
                  <a:lnTo>
                    <a:pt x="42436" y="311990"/>
                  </a:lnTo>
                  <a:lnTo>
                    <a:pt x="44494" y="311542"/>
                  </a:lnTo>
                  <a:lnTo>
                    <a:pt x="47821" y="305887"/>
                  </a:lnTo>
                  <a:lnTo>
                    <a:pt x="50314" y="302287"/>
                  </a:lnTo>
                  <a:lnTo>
                    <a:pt x="51929" y="301537"/>
                  </a:lnTo>
                  <a:lnTo>
                    <a:pt x="51838" y="300660"/>
                  </a:lnTo>
                  <a:lnTo>
                    <a:pt x="51393" y="299509"/>
                  </a:lnTo>
                  <a:lnTo>
                    <a:pt x="50184" y="299799"/>
                  </a:lnTo>
                  <a:lnTo>
                    <a:pt x="49338" y="300893"/>
                  </a:lnTo>
                  <a:lnTo>
                    <a:pt x="48711" y="302213"/>
                  </a:lnTo>
                  <a:lnTo>
                    <a:pt x="48081" y="302999"/>
                  </a:lnTo>
                  <a:lnTo>
                    <a:pt x="46129" y="302274"/>
                  </a:lnTo>
                  <a:lnTo>
                    <a:pt x="44813" y="302396"/>
                  </a:lnTo>
                  <a:lnTo>
                    <a:pt x="43190" y="302830"/>
                  </a:lnTo>
                  <a:lnTo>
                    <a:pt x="37254" y="304940"/>
                  </a:lnTo>
                  <a:lnTo>
                    <a:pt x="34818" y="306832"/>
                  </a:lnTo>
                  <a:lnTo>
                    <a:pt x="33160" y="307207"/>
                  </a:lnTo>
                  <a:lnTo>
                    <a:pt x="23680" y="305124"/>
                  </a:lnTo>
                  <a:lnTo>
                    <a:pt x="14418" y="300344"/>
                  </a:lnTo>
                  <a:lnTo>
                    <a:pt x="10518" y="297167"/>
                  </a:lnTo>
                  <a:lnTo>
                    <a:pt x="8052" y="293105"/>
                  </a:lnTo>
                  <a:lnTo>
                    <a:pt x="5582" y="288260"/>
                  </a:lnTo>
                  <a:lnTo>
                    <a:pt x="6385" y="286905"/>
                  </a:lnTo>
                  <a:lnTo>
                    <a:pt x="10218" y="283990"/>
                  </a:lnTo>
                  <a:lnTo>
                    <a:pt x="13526" y="281699"/>
                  </a:lnTo>
                  <a:lnTo>
                    <a:pt x="10555" y="282719"/>
                  </a:lnTo>
                  <a:lnTo>
                    <a:pt x="7337" y="284134"/>
                  </a:lnTo>
                  <a:lnTo>
                    <a:pt x="5746" y="285126"/>
                  </a:lnTo>
                  <a:lnTo>
                    <a:pt x="3943" y="287200"/>
                  </a:lnTo>
                  <a:lnTo>
                    <a:pt x="1546" y="287665"/>
                  </a:lnTo>
                  <a:lnTo>
                    <a:pt x="596" y="284580"/>
                  </a:lnTo>
                  <a:lnTo>
                    <a:pt x="0" y="281577"/>
                  </a:lnTo>
                  <a:lnTo>
                    <a:pt x="1528" y="280565"/>
                  </a:lnTo>
                  <a:lnTo>
                    <a:pt x="2597" y="279923"/>
                  </a:lnTo>
                  <a:lnTo>
                    <a:pt x="4781" y="279387"/>
                  </a:lnTo>
                  <a:lnTo>
                    <a:pt x="7156" y="279004"/>
                  </a:lnTo>
                  <a:lnTo>
                    <a:pt x="9322" y="279019"/>
                  </a:lnTo>
                  <a:lnTo>
                    <a:pt x="12362" y="279064"/>
                  </a:lnTo>
                  <a:lnTo>
                    <a:pt x="12451" y="272014"/>
                  </a:lnTo>
                  <a:lnTo>
                    <a:pt x="12706" y="271396"/>
                  </a:lnTo>
                  <a:lnTo>
                    <a:pt x="13133" y="271038"/>
                  </a:lnTo>
                  <a:lnTo>
                    <a:pt x="13623" y="270886"/>
                  </a:lnTo>
                  <a:lnTo>
                    <a:pt x="14040" y="270995"/>
                  </a:lnTo>
                  <a:lnTo>
                    <a:pt x="14666" y="272051"/>
                  </a:lnTo>
                  <a:lnTo>
                    <a:pt x="15444" y="271993"/>
                  </a:lnTo>
                  <a:lnTo>
                    <a:pt x="16269" y="271385"/>
                  </a:lnTo>
                  <a:lnTo>
                    <a:pt x="18122" y="271838"/>
                  </a:lnTo>
                  <a:lnTo>
                    <a:pt x="19603" y="271528"/>
                  </a:lnTo>
                  <a:lnTo>
                    <a:pt x="21106" y="271943"/>
                  </a:lnTo>
                  <a:lnTo>
                    <a:pt x="23660" y="271952"/>
                  </a:lnTo>
                  <a:lnTo>
                    <a:pt x="28268" y="271785"/>
                  </a:lnTo>
                  <a:lnTo>
                    <a:pt x="30827" y="271838"/>
                  </a:lnTo>
                  <a:lnTo>
                    <a:pt x="32486" y="272961"/>
                  </a:lnTo>
                  <a:lnTo>
                    <a:pt x="34300" y="274194"/>
                  </a:lnTo>
                  <a:lnTo>
                    <a:pt x="36267" y="274367"/>
                  </a:lnTo>
                  <a:lnTo>
                    <a:pt x="39111" y="274222"/>
                  </a:lnTo>
                  <a:lnTo>
                    <a:pt x="41041" y="273750"/>
                  </a:lnTo>
                  <a:lnTo>
                    <a:pt x="42015" y="272601"/>
                  </a:lnTo>
                  <a:lnTo>
                    <a:pt x="42747" y="271501"/>
                  </a:lnTo>
                  <a:lnTo>
                    <a:pt x="46966" y="269887"/>
                  </a:lnTo>
                  <a:lnTo>
                    <a:pt x="51393" y="268577"/>
                  </a:lnTo>
                  <a:lnTo>
                    <a:pt x="52665" y="268433"/>
                  </a:lnTo>
                  <a:lnTo>
                    <a:pt x="53069" y="269196"/>
                  </a:lnTo>
                  <a:lnTo>
                    <a:pt x="52866" y="270478"/>
                  </a:lnTo>
                  <a:lnTo>
                    <a:pt x="53384" y="271699"/>
                  </a:lnTo>
                  <a:lnTo>
                    <a:pt x="55157" y="272471"/>
                  </a:lnTo>
                  <a:lnTo>
                    <a:pt x="56414" y="272661"/>
                  </a:lnTo>
                  <a:lnTo>
                    <a:pt x="57541" y="272487"/>
                  </a:lnTo>
                  <a:lnTo>
                    <a:pt x="58377" y="272099"/>
                  </a:lnTo>
                  <a:lnTo>
                    <a:pt x="60171" y="270182"/>
                  </a:lnTo>
                  <a:lnTo>
                    <a:pt x="61098" y="269745"/>
                  </a:lnTo>
                  <a:lnTo>
                    <a:pt x="62307" y="269776"/>
                  </a:lnTo>
                  <a:lnTo>
                    <a:pt x="63661" y="268860"/>
                  </a:lnTo>
                  <a:lnTo>
                    <a:pt x="63689" y="268158"/>
                  </a:lnTo>
                  <a:lnTo>
                    <a:pt x="62825" y="267822"/>
                  </a:lnTo>
                  <a:lnTo>
                    <a:pt x="62095" y="266811"/>
                  </a:lnTo>
                  <a:lnTo>
                    <a:pt x="62229" y="265988"/>
                  </a:lnTo>
                  <a:lnTo>
                    <a:pt x="62020" y="264828"/>
                  </a:lnTo>
                  <a:lnTo>
                    <a:pt x="62164" y="263727"/>
                  </a:lnTo>
                  <a:lnTo>
                    <a:pt x="62739" y="262901"/>
                  </a:lnTo>
                  <a:lnTo>
                    <a:pt x="63745" y="262107"/>
                  </a:lnTo>
                  <a:lnTo>
                    <a:pt x="63145" y="260464"/>
                  </a:lnTo>
                  <a:lnTo>
                    <a:pt x="61601" y="257315"/>
                  </a:lnTo>
                  <a:lnTo>
                    <a:pt x="59983" y="253282"/>
                  </a:lnTo>
                  <a:lnTo>
                    <a:pt x="58275" y="249918"/>
                  </a:lnTo>
                  <a:lnTo>
                    <a:pt x="56109" y="246968"/>
                  </a:lnTo>
                  <a:lnTo>
                    <a:pt x="54993" y="244803"/>
                  </a:lnTo>
                  <a:lnTo>
                    <a:pt x="55107" y="240016"/>
                  </a:lnTo>
                  <a:lnTo>
                    <a:pt x="54913" y="239044"/>
                  </a:lnTo>
                  <a:lnTo>
                    <a:pt x="54170" y="238454"/>
                  </a:lnTo>
                  <a:lnTo>
                    <a:pt x="53168" y="238123"/>
                  </a:lnTo>
                  <a:lnTo>
                    <a:pt x="51760" y="238610"/>
                  </a:lnTo>
                  <a:lnTo>
                    <a:pt x="50493" y="238704"/>
                  </a:lnTo>
                  <a:lnTo>
                    <a:pt x="47766" y="238600"/>
                  </a:lnTo>
                  <a:lnTo>
                    <a:pt x="46427" y="238109"/>
                  </a:lnTo>
                  <a:lnTo>
                    <a:pt x="42790" y="233300"/>
                  </a:lnTo>
                  <a:lnTo>
                    <a:pt x="42313" y="231408"/>
                  </a:lnTo>
                  <a:lnTo>
                    <a:pt x="42293" y="229470"/>
                  </a:lnTo>
                  <a:lnTo>
                    <a:pt x="43507" y="226089"/>
                  </a:lnTo>
                  <a:lnTo>
                    <a:pt x="43874" y="222944"/>
                  </a:lnTo>
                  <a:lnTo>
                    <a:pt x="44043" y="220008"/>
                  </a:lnTo>
                  <a:lnTo>
                    <a:pt x="43840" y="219177"/>
                  </a:lnTo>
                  <a:lnTo>
                    <a:pt x="43110" y="218190"/>
                  </a:lnTo>
                  <a:lnTo>
                    <a:pt x="41888" y="217462"/>
                  </a:lnTo>
                  <a:lnTo>
                    <a:pt x="38616" y="217287"/>
                  </a:lnTo>
                  <a:lnTo>
                    <a:pt x="34736" y="216316"/>
                  </a:lnTo>
                  <a:lnTo>
                    <a:pt x="31743" y="214605"/>
                  </a:lnTo>
                  <a:lnTo>
                    <a:pt x="29672" y="213571"/>
                  </a:lnTo>
                  <a:lnTo>
                    <a:pt x="29104" y="212898"/>
                  </a:lnTo>
                  <a:lnTo>
                    <a:pt x="28856" y="212103"/>
                  </a:lnTo>
                  <a:lnTo>
                    <a:pt x="29398" y="208545"/>
                  </a:lnTo>
                  <a:lnTo>
                    <a:pt x="30337" y="204530"/>
                  </a:lnTo>
                  <a:lnTo>
                    <a:pt x="31022" y="203301"/>
                  </a:lnTo>
                  <a:lnTo>
                    <a:pt x="32207" y="202028"/>
                  </a:lnTo>
                  <a:lnTo>
                    <a:pt x="33086" y="201160"/>
                  </a:lnTo>
                  <a:lnTo>
                    <a:pt x="34490" y="200012"/>
                  </a:lnTo>
                  <a:lnTo>
                    <a:pt x="38281" y="196176"/>
                  </a:lnTo>
                  <a:lnTo>
                    <a:pt x="41676" y="190901"/>
                  </a:lnTo>
                  <a:lnTo>
                    <a:pt x="43770" y="187216"/>
                  </a:lnTo>
                  <a:lnTo>
                    <a:pt x="44863" y="186120"/>
                  </a:lnTo>
                  <a:lnTo>
                    <a:pt x="45977" y="185181"/>
                  </a:lnTo>
                  <a:lnTo>
                    <a:pt x="47616" y="184045"/>
                  </a:lnTo>
                  <a:lnTo>
                    <a:pt x="49502" y="183007"/>
                  </a:lnTo>
                  <a:lnTo>
                    <a:pt x="51378" y="183053"/>
                  </a:lnTo>
                  <a:lnTo>
                    <a:pt x="53162" y="183994"/>
                  </a:lnTo>
                  <a:lnTo>
                    <a:pt x="54486" y="185102"/>
                  </a:lnTo>
                  <a:lnTo>
                    <a:pt x="54928" y="187542"/>
                  </a:lnTo>
                  <a:lnTo>
                    <a:pt x="55867" y="189128"/>
                  </a:lnTo>
                  <a:lnTo>
                    <a:pt x="56880" y="190083"/>
                  </a:lnTo>
                  <a:lnTo>
                    <a:pt x="58219" y="190545"/>
                  </a:lnTo>
                  <a:lnTo>
                    <a:pt x="59921" y="190430"/>
                  </a:lnTo>
                  <a:lnTo>
                    <a:pt x="66773" y="187631"/>
                  </a:lnTo>
                  <a:lnTo>
                    <a:pt x="69102" y="187066"/>
                  </a:lnTo>
                  <a:lnTo>
                    <a:pt x="74693" y="186717"/>
                  </a:lnTo>
                  <a:lnTo>
                    <a:pt x="78535" y="185637"/>
                  </a:lnTo>
                  <a:lnTo>
                    <a:pt x="81931" y="184503"/>
                  </a:lnTo>
                  <a:lnTo>
                    <a:pt x="82342" y="182471"/>
                  </a:lnTo>
                  <a:lnTo>
                    <a:pt x="83650" y="179364"/>
                  </a:lnTo>
                  <a:lnTo>
                    <a:pt x="87641" y="175315"/>
                  </a:lnTo>
                  <a:lnTo>
                    <a:pt x="88762" y="173507"/>
                  </a:lnTo>
                  <a:lnTo>
                    <a:pt x="89971" y="170052"/>
                  </a:lnTo>
                  <a:lnTo>
                    <a:pt x="91256" y="166896"/>
                  </a:lnTo>
                  <a:lnTo>
                    <a:pt x="92359" y="165584"/>
                  </a:lnTo>
                  <a:lnTo>
                    <a:pt x="98632" y="162118"/>
                  </a:lnTo>
                  <a:lnTo>
                    <a:pt x="104773" y="158928"/>
                  </a:lnTo>
                  <a:lnTo>
                    <a:pt x="105777" y="157482"/>
                  </a:lnTo>
                  <a:lnTo>
                    <a:pt x="109749" y="150855"/>
                  </a:lnTo>
                  <a:lnTo>
                    <a:pt x="112023" y="146351"/>
                  </a:lnTo>
                  <a:lnTo>
                    <a:pt x="112612" y="144901"/>
                  </a:lnTo>
                  <a:lnTo>
                    <a:pt x="113927" y="140980"/>
                  </a:lnTo>
                  <a:lnTo>
                    <a:pt x="115350" y="137077"/>
                  </a:lnTo>
                  <a:lnTo>
                    <a:pt x="117248" y="136175"/>
                  </a:lnTo>
                  <a:lnTo>
                    <a:pt x="121461" y="134686"/>
                  </a:lnTo>
                  <a:lnTo>
                    <a:pt x="124804" y="133229"/>
                  </a:lnTo>
                  <a:lnTo>
                    <a:pt x="126514" y="131566"/>
                  </a:lnTo>
                  <a:lnTo>
                    <a:pt x="127550" y="130110"/>
                  </a:lnTo>
                  <a:lnTo>
                    <a:pt x="127356" y="128666"/>
                  </a:lnTo>
                  <a:lnTo>
                    <a:pt x="126430" y="126956"/>
                  </a:lnTo>
                  <a:lnTo>
                    <a:pt x="126626" y="125940"/>
                  </a:lnTo>
                  <a:lnTo>
                    <a:pt x="126797" y="124937"/>
                  </a:lnTo>
                  <a:lnTo>
                    <a:pt x="129222" y="122890"/>
                  </a:lnTo>
                  <a:lnTo>
                    <a:pt x="133791" y="116831"/>
                  </a:lnTo>
                  <a:lnTo>
                    <a:pt x="136527" y="113800"/>
                  </a:lnTo>
                  <a:lnTo>
                    <a:pt x="137434" y="113804"/>
                  </a:lnTo>
                  <a:lnTo>
                    <a:pt x="140295" y="112190"/>
                  </a:lnTo>
                  <a:lnTo>
                    <a:pt x="143016" y="110363"/>
                  </a:lnTo>
                  <a:lnTo>
                    <a:pt x="142861" y="109533"/>
                  </a:lnTo>
                  <a:lnTo>
                    <a:pt x="142519" y="108459"/>
                  </a:lnTo>
                  <a:lnTo>
                    <a:pt x="140958" y="107975"/>
                  </a:lnTo>
                  <a:lnTo>
                    <a:pt x="140470" y="106685"/>
                  </a:lnTo>
                  <a:lnTo>
                    <a:pt x="140852" y="104836"/>
                  </a:lnTo>
                  <a:lnTo>
                    <a:pt x="142157" y="99855"/>
                  </a:lnTo>
                  <a:lnTo>
                    <a:pt x="141889" y="98424"/>
                  </a:lnTo>
                  <a:lnTo>
                    <a:pt x="140299" y="93802"/>
                  </a:lnTo>
                  <a:lnTo>
                    <a:pt x="140654" y="92524"/>
                  </a:lnTo>
                  <a:lnTo>
                    <a:pt x="141308" y="91216"/>
                  </a:lnTo>
                  <a:lnTo>
                    <a:pt x="143081" y="89472"/>
                  </a:lnTo>
                  <a:lnTo>
                    <a:pt x="145374" y="88025"/>
                  </a:lnTo>
                  <a:lnTo>
                    <a:pt x="152716" y="84578"/>
                  </a:lnTo>
                  <a:lnTo>
                    <a:pt x="154204" y="84200"/>
                  </a:lnTo>
                  <a:lnTo>
                    <a:pt x="156754" y="83328"/>
                  </a:lnTo>
                  <a:lnTo>
                    <a:pt x="158315" y="81488"/>
                  </a:lnTo>
                  <a:lnTo>
                    <a:pt x="158510" y="79918"/>
                  </a:lnTo>
                  <a:lnTo>
                    <a:pt x="157827" y="78943"/>
                  </a:lnTo>
                  <a:lnTo>
                    <a:pt x="156303" y="77634"/>
                  </a:lnTo>
                  <a:lnTo>
                    <a:pt x="153437" y="76448"/>
                  </a:lnTo>
                  <a:lnTo>
                    <a:pt x="150855" y="75419"/>
                  </a:lnTo>
                  <a:lnTo>
                    <a:pt x="146467" y="75527"/>
                  </a:lnTo>
                  <a:lnTo>
                    <a:pt x="144186" y="74642"/>
                  </a:lnTo>
                  <a:lnTo>
                    <a:pt x="143569" y="74023"/>
                  </a:lnTo>
                  <a:lnTo>
                    <a:pt x="143249" y="71839"/>
                  </a:lnTo>
                  <a:lnTo>
                    <a:pt x="143690" y="68145"/>
                  </a:lnTo>
                  <a:lnTo>
                    <a:pt x="143007" y="67819"/>
                  </a:lnTo>
                  <a:lnTo>
                    <a:pt x="142031" y="68254"/>
                  </a:lnTo>
                  <a:lnTo>
                    <a:pt x="139712" y="67816"/>
                  </a:lnTo>
                  <a:lnTo>
                    <a:pt x="136864" y="67873"/>
                  </a:lnTo>
                  <a:lnTo>
                    <a:pt x="135778" y="66844"/>
                  </a:lnTo>
                  <a:lnTo>
                    <a:pt x="136319" y="65601"/>
                  </a:lnTo>
                  <a:lnTo>
                    <a:pt x="136160" y="63945"/>
                  </a:lnTo>
                  <a:lnTo>
                    <a:pt x="135737" y="62370"/>
                  </a:lnTo>
                  <a:lnTo>
                    <a:pt x="135294" y="62041"/>
                  </a:lnTo>
                  <a:lnTo>
                    <a:pt x="133934" y="61666"/>
                  </a:lnTo>
                  <a:lnTo>
                    <a:pt x="131815" y="60305"/>
                  </a:lnTo>
                  <a:lnTo>
                    <a:pt x="130109" y="58626"/>
                  </a:lnTo>
                  <a:lnTo>
                    <a:pt x="129108" y="57488"/>
                  </a:lnTo>
                  <a:lnTo>
                    <a:pt x="128799" y="56703"/>
                  </a:lnTo>
                  <a:lnTo>
                    <a:pt x="128896" y="56184"/>
                  </a:lnTo>
                  <a:lnTo>
                    <a:pt x="130137" y="54723"/>
                  </a:lnTo>
                  <a:lnTo>
                    <a:pt x="131628" y="52672"/>
                  </a:lnTo>
                  <a:lnTo>
                    <a:pt x="132176" y="50908"/>
                  </a:lnTo>
                  <a:lnTo>
                    <a:pt x="132340" y="49630"/>
                  </a:lnTo>
                  <a:lnTo>
                    <a:pt x="131925" y="48686"/>
                  </a:lnTo>
                  <a:lnTo>
                    <a:pt x="130565" y="47530"/>
                  </a:lnTo>
                  <a:lnTo>
                    <a:pt x="129112" y="46521"/>
                  </a:lnTo>
                  <a:lnTo>
                    <a:pt x="128527" y="45643"/>
                  </a:lnTo>
                  <a:lnTo>
                    <a:pt x="128503" y="44316"/>
                  </a:lnTo>
                  <a:lnTo>
                    <a:pt x="129045" y="42656"/>
                  </a:lnTo>
                  <a:lnTo>
                    <a:pt x="130757" y="41403"/>
                  </a:lnTo>
                  <a:lnTo>
                    <a:pt x="133791" y="40213"/>
                  </a:lnTo>
                  <a:lnTo>
                    <a:pt x="134571" y="38734"/>
                  </a:lnTo>
                  <a:lnTo>
                    <a:pt x="134473" y="37638"/>
                  </a:lnTo>
                  <a:lnTo>
                    <a:pt x="133644" y="37309"/>
                  </a:lnTo>
                  <a:lnTo>
                    <a:pt x="131513" y="37302"/>
                  </a:lnTo>
                  <a:lnTo>
                    <a:pt x="127915" y="36927"/>
                  </a:lnTo>
                  <a:lnTo>
                    <a:pt x="127306" y="36323"/>
                  </a:lnTo>
                  <a:lnTo>
                    <a:pt x="126903" y="35512"/>
                  </a:lnTo>
                  <a:lnTo>
                    <a:pt x="126898" y="34708"/>
                  </a:lnTo>
                  <a:lnTo>
                    <a:pt x="127658" y="33793"/>
                  </a:lnTo>
                  <a:lnTo>
                    <a:pt x="128570" y="32635"/>
                  </a:lnTo>
                  <a:lnTo>
                    <a:pt x="128412" y="31507"/>
                  </a:lnTo>
                  <a:lnTo>
                    <a:pt x="127356" y="30231"/>
                  </a:lnTo>
                  <a:lnTo>
                    <a:pt x="124821" y="29296"/>
                  </a:lnTo>
                  <a:lnTo>
                    <a:pt x="124480" y="27978"/>
                  </a:lnTo>
                  <a:lnTo>
                    <a:pt x="124869" y="26877"/>
                  </a:lnTo>
                  <a:lnTo>
                    <a:pt x="125709" y="25308"/>
                  </a:lnTo>
                  <a:lnTo>
                    <a:pt x="126438" y="24216"/>
                  </a:lnTo>
                  <a:lnTo>
                    <a:pt x="128166" y="21110"/>
                  </a:lnTo>
                  <a:lnTo>
                    <a:pt x="130258" y="20430"/>
                  </a:lnTo>
                  <a:lnTo>
                    <a:pt x="132826" y="19425"/>
                  </a:lnTo>
                  <a:lnTo>
                    <a:pt x="135665" y="18313"/>
                  </a:lnTo>
                  <a:lnTo>
                    <a:pt x="140034" y="19147"/>
                  </a:lnTo>
                  <a:lnTo>
                    <a:pt x="142161" y="19553"/>
                  </a:lnTo>
                  <a:lnTo>
                    <a:pt x="146465" y="20503"/>
                  </a:lnTo>
                  <a:lnTo>
                    <a:pt x="150071" y="21300"/>
                  </a:lnTo>
                  <a:lnTo>
                    <a:pt x="153754" y="21525"/>
                  </a:lnTo>
                  <a:lnTo>
                    <a:pt x="155282" y="21471"/>
                  </a:lnTo>
                  <a:lnTo>
                    <a:pt x="156974" y="22411"/>
                  </a:lnTo>
                  <a:lnTo>
                    <a:pt x="161142" y="24025"/>
                  </a:lnTo>
                  <a:lnTo>
                    <a:pt x="164526" y="24873"/>
                  </a:lnTo>
                  <a:lnTo>
                    <a:pt x="166817" y="24864"/>
                  </a:lnTo>
                  <a:lnTo>
                    <a:pt x="170198" y="23437"/>
                  </a:lnTo>
                  <a:lnTo>
                    <a:pt x="171882" y="22132"/>
                  </a:lnTo>
                  <a:lnTo>
                    <a:pt x="174154" y="20699"/>
                  </a:lnTo>
                  <a:lnTo>
                    <a:pt x="177061" y="20753"/>
                  </a:lnTo>
                  <a:lnTo>
                    <a:pt x="183347" y="18545"/>
                  </a:lnTo>
                  <a:lnTo>
                    <a:pt x="184524" y="18926"/>
                  </a:lnTo>
                  <a:lnTo>
                    <a:pt x="186392" y="19052"/>
                  </a:lnTo>
                  <a:lnTo>
                    <a:pt x="188644" y="17775"/>
                  </a:lnTo>
                  <a:lnTo>
                    <a:pt x="189810" y="16258"/>
                  </a:lnTo>
                  <a:lnTo>
                    <a:pt x="189998" y="15501"/>
                  </a:lnTo>
                  <a:lnTo>
                    <a:pt x="190559" y="14941"/>
                  </a:lnTo>
                  <a:lnTo>
                    <a:pt x="192965" y="13977"/>
                  </a:lnTo>
                  <a:lnTo>
                    <a:pt x="195379" y="12643"/>
                  </a:lnTo>
                  <a:lnTo>
                    <a:pt x="196038" y="10880"/>
                  </a:lnTo>
                  <a:lnTo>
                    <a:pt x="196435" y="9689"/>
                  </a:lnTo>
                  <a:lnTo>
                    <a:pt x="199087" y="8144"/>
                  </a:lnTo>
                  <a:lnTo>
                    <a:pt x="201838" y="6538"/>
                  </a:lnTo>
                  <a:lnTo>
                    <a:pt x="204723" y="4856"/>
                  </a:lnTo>
                  <a:lnTo>
                    <a:pt x="207998" y="2944"/>
                  </a:lnTo>
                  <a:lnTo>
                    <a:pt x="210771" y="1323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95" name="ee4p_IR_1_82333">
              <a:extLst>
                <a:ext uri="{FF2B5EF4-FFF2-40B4-BE49-F238E27FC236}">
                  <a16:creationId xmlns:a16="http://schemas.microsoft.com/office/drawing/2014/main" id="{33E06C66-745A-638B-E37F-7CC55AFEA2EA}"/>
                </a:ext>
              </a:extLst>
            </p:cNvPr>
            <p:cNvSpPr>
              <a:spLocks noChangeAspect="1"/>
            </p:cNvSpPr>
            <p:nvPr>
              <p:custDataLst>
                <p:tags r:id="rId23"/>
              </p:custDataLst>
            </p:nvPr>
          </p:nvSpPr>
          <p:spPr>
            <a:xfrm>
              <a:off x="7737197" y="3478130"/>
              <a:ext cx="535446" cy="466475"/>
            </a:xfrm>
            <a:custGeom>
              <a:avLst/>
              <a:gdLst>
                <a:gd name="connsiteX0" fmla="*/ 269563 w 426364"/>
                <a:gd name="connsiteY0" fmla="*/ 316614 h 361598"/>
                <a:gd name="connsiteX1" fmla="*/ 271009 w 426364"/>
                <a:gd name="connsiteY1" fmla="*/ 317831 h 361598"/>
                <a:gd name="connsiteX2" fmla="*/ 268988 w 426364"/>
                <a:gd name="connsiteY2" fmla="*/ 318567 h 361598"/>
                <a:gd name="connsiteX3" fmla="*/ 266930 w 426364"/>
                <a:gd name="connsiteY3" fmla="*/ 321418 h 361598"/>
                <a:gd name="connsiteX4" fmla="*/ 263821 w 426364"/>
                <a:gd name="connsiteY4" fmla="*/ 323794 h 361598"/>
                <a:gd name="connsiteX5" fmla="*/ 262491 w 426364"/>
                <a:gd name="connsiteY5" fmla="*/ 323055 h 361598"/>
                <a:gd name="connsiteX6" fmla="*/ 261463 w 426364"/>
                <a:gd name="connsiteY6" fmla="*/ 323090 h 361598"/>
                <a:gd name="connsiteX7" fmla="*/ 259243 w 426364"/>
                <a:gd name="connsiteY7" fmla="*/ 324000 h 361598"/>
                <a:gd name="connsiteX8" fmla="*/ 257636 w 426364"/>
                <a:gd name="connsiteY8" fmla="*/ 324157 h 361598"/>
                <a:gd name="connsiteX9" fmla="*/ 254729 w 426364"/>
                <a:gd name="connsiteY9" fmla="*/ 325779 h 361598"/>
                <a:gd name="connsiteX10" fmla="*/ 252089 w 426364"/>
                <a:gd name="connsiteY10" fmla="*/ 326595 h 361598"/>
                <a:gd name="connsiteX11" fmla="*/ 250247 w 426364"/>
                <a:gd name="connsiteY11" fmla="*/ 326533 h 361598"/>
                <a:gd name="connsiteX12" fmla="*/ 249608 w 426364"/>
                <a:gd name="connsiteY12" fmla="*/ 326370 h 361598"/>
                <a:gd name="connsiteX13" fmla="*/ 249243 w 426364"/>
                <a:gd name="connsiteY13" fmla="*/ 325264 h 361598"/>
                <a:gd name="connsiteX14" fmla="*/ 249275 w 426364"/>
                <a:gd name="connsiteY14" fmla="*/ 324829 h 361598"/>
                <a:gd name="connsiteX15" fmla="*/ 250391 w 426364"/>
                <a:gd name="connsiteY15" fmla="*/ 325057 h 361598"/>
                <a:gd name="connsiteX16" fmla="*/ 254477 w 426364"/>
                <a:gd name="connsiteY16" fmla="*/ 323583 h 361598"/>
                <a:gd name="connsiteX17" fmla="*/ 259582 w 426364"/>
                <a:gd name="connsiteY17" fmla="*/ 321162 h 361598"/>
                <a:gd name="connsiteX18" fmla="*/ 260067 w 426364"/>
                <a:gd name="connsiteY18" fmla="*/ 320088 h 361598"/>
                <a:gd name="connsiteX19" fmla="*/ 259247 w 426364"/>
                <a:gd name="connsiteY19" fmla="*/ 318334 h 361598"/>
                <a:gd name="connsiteX20" fmla="*/ 259472 w 426364"/>
                <a:gd name="connsiteY20" fmla="*/ 317937 h 361598"/>
                <a:gd name="connsiteX21" fmla="*/ 262778 w 426364"/>
                <a:gd name="connsiteY21" fmla="*/ 318837 h 361598"/>
                <a:gd name="connsiteX22" fmla="*/ 266470 w 426364"/>
                <a:gd name="connsiteY22" fmla="*/ 317088 h 361598"/>
                <a:gd name="connsiteX23" fmla="*/ 12468 w 426364"/>
                <a:gd name="connsiteY23" fmla="*/ 0 h 361598"/>
                <a:gd name="connsiteX24" fmla="*/ 15517 w 426364"/>
                <a:gd name="connsiteY24" fmla="*/ 2259 h 361598"/>
                <a:gd name="connsiteX25" fmla="*/ 16780 w 426364"/>
                <a:gd name="connsiteY25" fmla="*/ 3056 h 361598"/>
                <a:gd name="connsiteX26" fmla="*/ 17555 w 426364"/>
                <a:gd name="connsiteY26" fmla="*/ 3073 h 361598"/>
                <a:gd name="connsiteX27" fmla="*/ 18020 w 426364"/>
                <a:gd name="connsiteY27" fmla="*/ 3627 h 361598"/>
                <a:gd name="connsiteX28" fmla="*/ 21602 w 426364"/>
                <a:gd name="connsiteY28" fmla="*/ 8965 h 361598"/>
                <a:gd name="connsiteX29" fmla="*/ 23183 w 426364"/>
                <a:gd name="connsiteY29" fmla="*/ 10538 h 361598"/>
                <a:gd name="connsiteX30" fmla="*/ 24098 w 426364"/>
                <a:gd name="connsiteY30" fmla="*/ 11869 h 361598"/>
                <a:gd name="connsiteX31" fmla="*/ 24721 w 426364"/>
                <a:gd name="connsiteY31" fmla="*/ 13353 h 361598"/>
                <a:gd name="connsiteX32" fmla="*/ 25813 w 426364"/>
                <a:gd name="connsiteY32" fmla="*/ 14354 h 361598"/>
                <a:gd name="connsiteX33" fmla="*/ 27258 w 426364"/>
                <a:gd name="connsiteY33" fmla="*/ 14897 h 361598"/>
                <a:gd name="connsiteX34" fmla="*/ 29018 w 426364"/>
                <a:gd name="connsiteY34" fmla="*/ 16334 h 361598"/>
                <a:gd name="connsiteX35" fmla="*/ 30205 w 426364"/>
                <a:gd name="connsiteY35" fmla="*/ 17454 h 361598"/>
                <a:gd name="connsiteX36" fmla="*/ 32205 w 426364"/>
                <a:gd name="connsiteY36" fmla="*/ 19772 h 361598"/>
                <a:gd name="connsiteX37" fmla="*/ 34313 w 426364"/>
                <a:gd name="connsiteY37" fmla="*/ 20637 h 361598"/>
                <a:gd name="connsiteX38" fmla="*/ 41983 w 426364"/>
                <a:gd name="connsiteY38" fmla="*/ 22313 h 361598"/>
                <a:gd name="connsiteX39" fmla="*/ 46241 w 426364"/>
                <a:gd name="connsiteY39" fmla="*/ 23092 h 361598"/>
                <a:gd name="connsiteX40" fmla="*/ 47472 w 426364"/>
                <a:gd name="connsiteY40" fmla="*/ 23317 h 361598"/>
                <a:gd name="connsiteX41" fmla="*/ 50737 w 426364"/>
                <a:gd name="connsiteY41" fmla="*/ 22191 h 361598"/>
                <a:gd name="connsiteX42" fmla="*/ 54559 w 426364"/>
                <a:gd name="connsiteY42" fmla="*/ 22345 h 361598"/>
                <a:gd name="connsiteX43" fmla="*/ 55978 w 426364"/>
                <a:gd name="connsiteY43" fmla="*/ 22404 h 361598"/>
                <a:gd name="connsiteX44" fmla="*/ 61028 w 426364"/>
                <a:gd name="connsiteY44" fmla="*/ 17674 h 361598"/>
                <a:gd name="connsiteX45" fmla="*/ 62562 w 426364"/>
                <a:gd name="connsiteY45" fmla="*/ 16094 h 361598"/>
                <a:gd name="connsiteX46" fmla="*/ 65576 w 426364"/>
                <a:gd name="connsiteY46" fmla="*/ 15272 h 361598"/>
                <a:gd name="connsiteX47" fmla="*/ 67269 w 426364"/>
                <a:gd name="connsiteY47" fmla="*/ 13389 h 361598"/>
                <a:gd name="connsiteX48" fmla="*/ 69988 w 426364"/>
                <a:gd name="connsiteY48" fmla="*/ 11107 h 361598"/>
                <a:gd name="connsiteX49" fmla="*/ 73307 w 426364"/>
                <a:gd name="connsiteY49" fmla="*/ 8956 h 361598"/>
                <a:gd name="connsiteX50" fmla="*/ 76352 w 426364"/>
                <a:gd name="connsiteY50" fmla="*/ 7024 h 361598"/>
                <a:gd name="connsiteX51" fmla="*/ 78688 w 426364"/>
                <a:gd name="connsiteY51" fmla="*/ 5855 h 361598"/>
                <a:gd name="connsiteX52" fmla="*/ 82912 w 426364"/>
                <a:gd name="connsiteY52" fmla="*/ 3121 h 361598"/>
                <a:gd name="connsiteX53" fmla="*/ 85552 w 426364"/>
                <a:gd name="connsiteY53" fmla="*/ 2172 h 361598"/>
                <a:gd name="connsiteX54" fmla="*/ 87844 w 426364"/>
                <a:gd name="connsiteY54" fmla="*/ 2202 h 361598"/>
                <a:gd name="connsiteX55" fmla="*/ 91275 w 426364"/>
                <a:gd name="connsiteY55" fmla="*/ 5409 h 361598"/>
                <a:gd name="connsiteX56" fmla="*/ 94164 w 426364"/>
                <a:gd name="connsiteY56" fmla="*/ 8322 h 361598"/>
                <a:gd name="connsiteX57" fmla="*/ 95058 w 426364"/>
                <a:gd name="connsiteY57" fmla="*/ 9600 h 361598"/>
                <a:gd name="connsiteX58" fmla="*/ 93622 w 426364"/>
                <a:gd name="connsiteY58" fmla="*/ 10743 h 361598"/>
                <a:gd name="connsiteX59" fmla="*/ 90942 w 426364"/>
                <a:gd name="connsiteY59" fmla="*/ 11848 h 361598"/>
                <a:gd name="connsiteX60" fmla="*/ 90430 w 426364"/>
                <a:gd name="connsiteY60" fmla="*/ 12658 h 361598"/>
                <a:gd name="connsiteX61" fmla="*/ 90243 w 426364"/>
                <a:gd name="connsiteY61" fmla="*/ 13694 h 361598"/>
                <a:gd name="connsiteX62" fmla="*/ 90349 w 426364"/>
                <a:gd name="connsiteY62" fmla="*/ 14686 h 361598"/>
                <a:gd name="connsiteX63" fmla="*/ 90709 w 426364"/>
                <a:gd name="connsiteY63" fmla="*/ 15494 h 361598"/>
                <a:gd name="connsiteX64" fmla="*/ 93996 w 426364"/>
                <a:gd name="connsiteY64" fmla="*/ 17370 h 361598"/>
                <a:gd name="connsiteX65" fmla="*/ 94369 w 426364"/>
                <a:gd name="connsiteY65" fmla="*/ 18401 h 361598"/>
                <a:gd name="connsiteX66" fmla="*/ 94393 w 426364"/>
                <a:gd name="connsiteY66" fmla="*/ 19446 h 361598"/>
                <a:gd name="connsiteX67" fmla="*/ 94017 w 426364"/>
                <a:gd name="connsiteY67" fmla="*/ 20099 h 361598"/>
                <a:gd name="connsiteX68" fmla="*/ 93285 w 426364"/>
                <a:gd name="connsiteY68" fmla="*/ 20478 h 361598"/>
                <a:gd name="connsiteX69" fmla="*/ 90998 w 426364"/>
                <a:gd name="connsiteY69" fmla="*/ 21003 h 361598"/>
                <a:gd name="connsiteX70" fmla="*/ 89042 w 426364"/>
                <a:gd name="connsiteY70" fmla="*/ 21613 h 361598"/>
                <a:gd name="connsiteX71" fmla="*/ 88362 w 426364"/>
                <a:gd name="connsiteY71" fmla="*/ 22213 h 361598"/>
                <a:gd name="connsiteX72" fmla="*/ 87773 w 426364"/>
                <a:gd name="connsiteY72" fmla="*/ 22924 h 361598"/>
                <a:gd name="connsiteX73" fmla="*/ 87857 w 426364"/>
                <a:gd name="connsiteY73" fmla="*/ 23712 h 361598"/>
                <a:gd name="connsiteX74" fmla="*/ 88448 w 426364"/>
                <a:gd name="connsiteY74" fmla="*/ 24608 h 361598"/>
                <a:gd name="connsiteX75" fmla="*/ 92460 w 426364"/>
                <a:gd name="connsiteY75" fmla="*/ 27057 h 361598"/>
                <a:gd name="connsiteX76" fmla="*/ 92914 w 426364"/>
                <a:gd name="connsiteY76" fmla="*/ 27958 h 361598"/>
                <a:gd name="connsiteX77" fmla="*/ 93713 w 426364"/>
                <a:gd name="connsiteY77" fmla="*/ 29167 h 361598"/>
                <a:gd name="connsiteX78" fmla="*/ 94691 w 426364"/>
                <a:gd name="connsiteY78" fmla="*/ 29909 h 361598"/>
                <a:gd name="connsiteX79" fmla="*/ 96365 w 426364"/>
                <a:gd name="connsiteY79" fmla="*/ 30112 h 361598"/>
                <a:gd name="connsiteX80" fmla="*/ 97163 w 426364"/>
                <a:gd name="connsiteY80" fmla="*/ 30612 h 361598"/>
                <a:gd name="connsiteX81" fmla="*/ 101040 w 426364"/>
                <a:gd name="connsiteY81" fmla="*/ 35120 h 361598"/>
                <a:gd name="connsiteX82" fmla="*/ 101988 w 426364"/>
                <a:gd name="connsiteY82" fmla="*/ 35438 h 361598"/>
                <a:gd name="connsiteX83" fmla="*/ 106516 w 426364"/>
                <a:gd name="connsiteY83" fmla="*/ 34447 h 361598"/>
                <a:gd name="connsiteX84" fmla="*/ 107144 w 426364"/>
                <a:gd name="connsiteY84" fmla="*/ 34492 h 361598"/>
                <a:gd name="connsiteX85" fmla="*/ 107187 w 426364"/>
                <a:gd name="connsiteY85" fmla="*/ 35597 h 361598"/>
                <a:gd name="connsiteX86" fmla="*/ 107865 w 426364"/>
                <a:gd name="connsiteY86" fmla="*/ 41992 h 361598"/>
                <a:gd name="connsiteX87" fmla="*/ 108390 w 426364"/>
                <a:gd name="connsiteY87" fmla="*/ 45289 h 361598"/>
                <a:gd name="connsiteX88" fmla="*/ 109161 w 426364"/>
                <a:gd name="connsiteY88" fmla="*/ 48492 h 361598"/>
                <a:gd name="connsiteX89" fmla="*/ 110385 w 426364"/>
                <a:gd name="connsiteY89" fmla="*/ 51413 h 361598"/>
                <a:gd name="connsiteX90" fmla="*/ 111837 w 426364"/>
                <a:gd name="connsiteY90" fmla="*/ 54188 h 361598"/>
                <a:gd name="connsiteX91" fmla="*/ 113832 w 426364"/>
                <a:gd name="connsiteY91" fmla="*/ 55900 h 361598"/>
                <a:gd name="connsiteX92" fmla="*/ 118282 w 426364"/>
                <a:gd name="connsiteY92" fmla="*/ 57959 h 361598"/>
                <a:gd name="connsiteX93" fmla="*/ 120441 w 426364"/>
                <a:gd name="connsiteY93" fmla="*/ 58554 h 361598"/>
                <a:gd name="connsiteX94" fmla="*/ 126121 w 426364"/>
                <a:gd name="connsiteY94" fmla="*/ 58967 h 361598"/>
                <a:gd name="connsiteX95" fmla="*/ 131731 w 426364"/>
                <a:gd name="connsiteY95" fmla="*/ 59876 h 361598"/>
                <a:gd name="connsiteX96" fmla="*/ 135044 w 426364"/>
                <a:gd name="connsiteY96" fmla="*/ 60840 h 361598"/>
                <a:gd name="connsiteX97" fmla="*/ 136056 w 426364"/>
                <a:gd name="connsiteY97" fmla="*/ 61519 h 361598"/>
                <a:gd name="connsiteX98" fmla="*/ 136892 w 426364"/>
                <a:gd name="connsiteY98" fmla="*/ 62562 h 361598"/>
                <a:gd name="connsiteX99" fmla="*/ 139630 w 426364"/>
                <a:gd name="connsiteY99" fmla="*/ 67414 h 361598"/>
                <a:gd name="connsiteX100" fmla="*/ 143949 w 426364"/>
                <a:gd name="connsiteY100" fmla="*/ 70863 h 361598"/>
                <a:gd name="connsiteX101" fmla="*/ 152666 w 426364"/>
                <a:gd name="connsiteY101" fmla="*/ 76033 h 361598"/>
                <a:gd name="connsiteX102" fmla="*/ 156892 w 426364"/>
                <a:gd name="connsiteY102" fmla="*/ 77750 h 361598"/>
                <a:gd name="connsiteX103" fmla="*/ 171120 w 426364"/>
                <a:gd name="connsiteY103" fmla="*/ 80999 h 361598"/>
                <a:gd name="connsiteX104" fmla="*/ 180587 w 426364"/>
                <a:gd name="connsiteY104" fmla="*/ 80816 h 361598"/>
                <a:gd name="connsiteX105" fmla="*/ 206768 w 426364"/>
                <a:gd name="connsiteY105" fmla="*/ 74546 h 361598"/>
                <a:gd name="connsiteX106" fmla="*/ 215470 w 426364"/>
                <a:gd name="connsiteY106" fmla="*/ 72982 h 361598"/>
                <a:gd name="connsiteX107" fmla="*/ 218737 w 426364"/>
                <a:gd name="connsiteY107" fmla="*/ 72982 h 361598"/>
                <a:gd name="connsiteX108" fmla="*/ 216791 w 426364"/>
                <a:gd name="connsiteY108" fmla="*/ 74230 h 361598"/>
                <a:gd name="connsiteX109" fmla="*/ 213520 w 426364"/>
                <a:gd name="connsiteY109" fmla="*/ 74943 h 361598"/>
                <a:gd name="connsiteX110" fmla="*/ 215493 w 426364"/>
                <a:gd name="connsiteY110" fmla="*/ 75824 h 361598"/>
                <a:gd name="connsiteX111" fmla="*/ 218534 w 426364"/>
                <a:gd name="connsiteY111" fmla="*/ 75970 h 361598"/>
                <a:gd name="connsiteX112" fmla="*/ 219946 w 426364"/>
                <a:gd name="connsiteY112" fmla="*/ 75827 h 361598"/>
                <a:gd name="connsiteX113" fmla="*/ 220966 w 426364"/>
                <a:gd name="connsiteY113" fmla="*/ 75031 h 361598"/>
                <a:gd name="connsiteX114" fmla="*/ 221134 w 426364"/>
                <a:gd name="connsiteY114" fmla="*/ 73719 h 361598"/>
                <a:gd name="connsiteX115" fmla="*/ 220987 w 426364"/>
                <a:gd name="connsiteY115" fmla="*/ 72418 h 361598"/>
                <a:gd name="connsiteX116" fmla="*/ 219545 w 426364"/>
                <a:gd name="connsiteY116" fmla="*/ 66585 h 361598"/>
                <a:gd name="connsiteX117" fmla="*/ 218709 w 426364"/>
                <a:gd name="connsiteY117" fmla="*/ 62461 h 361598"/>
                <a:gd name="connsiteX118" fmla="*/ 224844 w 426364"/>
                <a:gd name="connsiteY118" fmla="*/ 62744 h 361598"/>
                <a:gd name="connsiteX119" fmla="*/ 227236 w 426364"/>
                <a:gd name="connsiteY119" fmla="*/ 62205 h 361598"/>
                <a:gd name="connsiteX120" fmla="*/ 230749 w 426364"/>
                <a:gd name="connsiteY120" fmla="*/ 60828 h 361598"/>
                <a:gd name="connsiteX121" fmla="*/ 233408 w 426364"/>
                <a:gd name="connsiteY121" fmla="*/ 59995 h 361598"/>
                <a:gd name="connsiteX122" fmla="*/ 234751 w 426364"/>
                <a:gd name="connsiteY122" fmla="*/ 59880 h 361598"/>
                <a:gd name="connsiteX123" fmla="*/ 236072 w 426364"/>
                <a:gd name="connsiteY123" fmla="*/ 59231 h 361598"/>
                <a:gd name="connsiteX124" fmla="*/ 237085 w 426364"/>
                <a:gd name="connsiteY124" fmla="*/ 58421 h 361598"/>
                <a:gd name="connsiteX125" fmla="*/ 239372 w 426364"/>
                <a:gd name="connsiteY125" fmla="*/ 52779 h 361598"/>
                <a:gd name="connsiteX126" fmla="*/ 240510 w 426364"/>
                <a:gd name="connsiteY126" fmla="*/ 51365 h 361598"/>
                <a:gd name="connsiteX127" fmla="*/ 244390 w 426364"/>
                <a:gd name="connsiteY127" fmla="*/ 48176 h 361598"/>
                <a:gd name="connsiteX128" fmla="*/ 247688 w 426364"/>
                <a:gd name="connsiteY128" fmla="*/ 46155 h 361598"/>
                <a:gd name="connsiteX129" fmla="*/ 251141 w 426364"/>
                <a:gd name="connsiteY129" fmla="*/ 44366 h 361598"/>
                <a:gd name="connsiteX130" fmla="*/ 255509 w 426364"/>
                <a:gd name="connsiteY130" fmla="*/ 43119 h 361598"/>
                <a:gd name="connsiteX131" fmla="*/ 261322 w 426364"/>
                <a:gd name="connsiteY131" fmla="*/ 43250 h 361598"/>
                <a:gd name="connsiteX132" fmla="*/ 265943 w 426364"/>
                <a:gd name="connsiteY132" fmla="*/ 43688 h 361598"/>
                <a:gd name="connsiteX133" fmla="*/ 268617 w 426364"/>
                <a:gd name="connsiteY133" fmla="*/ 43667 h 361598"/>
                <a:gd name="connsiteX134" fmla="*/ 269890 w 426364"/>
                <a:gd name="connsiteY134" fmla="*/ 43795 h 361598"/>
                <a:gd name="connsiteX135" fmla="*/ 270847 w 426364"/>
                <a:gd name="connsiteY135" fmla="*/ 43615 h 361598"/>
                <a:gd name="connsiteX136" fmla="*/ 271398 w 426364"/>
                <a:gd name="connsiteY136" fmla="*/ 43245 h 361598"/>
                <a:gd name="connsiteX137" fmla="*/ 271998 w 426364"/>
                <a:gd name="connsiteY137" fmla="*/ 40773 h 361598"/>
                <a:gd name="connsiteX138" fmla="*/ 272944 w 426364"/>
                <a:gd name="connsiteY138" fmla="*/ 39967 h 361598"/>
                <a:gd name="connsiteX139" fmla="*/ 274574 w 426364"/>
                <a:gd name="connsiteY139" fmla="*/ 39276 h 361598"/>
                <a:gd name="connsiteX140" fmla="*/ 276861 w 426364"/>
                <a:gd name="connsiteY140" fmla="*/ 39271 h 361598"/>
                <a:gd name="connsiteX141" fmla="*/ 279645 w 426364"/>
                <a:gd name="connsiteY141" fmla="*/ 39091 h 361598"/>
                <a:gd name="connsiteX142" fmla="*/ 281960 w 426364"/>
                <a:gd name="connsiteY142" fmla="*/ 39260 h 361598"/>
                <a:gd name="connsiteX143" fmla="*/ 284879 w 426364"/>
                <a:gd name="connsiteY143" fmla="*/ 40211 h 361598"/>
                <a:gd name="connsiteX144" fmla="*/ 288690 w 426364"/>
                <a:gd name="connsiteY144" fmla="*/ 40290 h 361598"/>
                <a:gd name="connsiteX145" fmla="*/ 291223 w 426364"/>
                <a:gd name="connsiteY145" fmla="*/ 40124 h 361598"/>
                <a:gd name="connsiteX146" fmla="*/ 292696 w 426364"/>
                <a:gd name="connsiteY146" fmla="*/ 41070 h 361598"/>
                <a:gd name="connsiteX147" fmla="*/ 293756 w 426364"/>
                <a:gd name="connsiteY147" fmla="*/ 42333 h 361598"/>
                <a:gd name="connsiteX148" fmla="*/ 294272 w 426364"/>
                <a:gd name="connsiteY148" fmla="*/ 43386 h 361598"/>
                <a:gd name="connsiteX149" fmla="*/ 294389 w 426364"/>
                <a:gd name="connsiteY149" fmla="*/ 44833 h 361598"/>
                <a:gd name="connsiteX150" fmla="*/ 294367 w 426364"/>
                <a:gd name="connsiteY150" fmla="*/ 45935 h 361598"/>
                <a:gd name="connsiteX151" fmla="*/ 294765 w 426364"/>
                <a:gd name="connsiteY151" fmla="*/ 46360 h 361598"/>
                <a:gd name="connsiteX152" fmla="*/ 296315 w 426364"/>
                <a:gd name="connsiteY152" fmla="*/ 47017 h 361598"/>
                <a:gd name="connsiteX153" fmla="*/ 298464 w 426364"/>
                <a:gd name="connsiteY153" fmla="*/ 47510 h 361598"/>
                <a:gd name="connsiteX154" fmla="*/ 302655 w 426364"/>
                <a:gd name="connsiteY154" fmla="*/ 48104 h 361598"/>
                <a:gd name="connsiteX155" fmla="*/ 306583 w 426364"/>
                <a:gd name="connsiteY155" fmla="*/ 49243 h 361598"/>
                <a:gd name="connsiteX156" fmla="*/ 308626 w 426364"/>
                <a:gd name="connsiteY156" fmla="*/ 50020 h 361598"/>
                <a:gd name="connsiteX157" fmla="*/ 311461 w 426364"/>
                <a:gd name="connsiteY157" fmla="*/ 51234 h 361598"/>
                <a:gd name="connsiteX158" fmla="*/ 314840 w 426364"/>
                <a:gd name="connsiteY158" fmla="*/ 54233 h 361598"/>
                <a:gd name="connsiteX159" fmla="*/ 316091 w 426364"/>
                <a:gd name="connsiteY159" fmla="*/ 54708 h 361598"/>
                <a:gd name="connsiteX160" fmla="*/ 317607 w 426364"/>
                <a:gd name="connsiteY160" fmla="*/ 55011 h 361598"/>
                <a:gd name="connsiteX161" fmla="*/ 318691 w 426364"/>
                <a:gd name="connsiteY161" fmla="*/ 54930 h 361598"/>
                <a:gd name="connsiteX162" fmla="*/ 321228 w 426364"/>
                <a:gd name="connsiteY162" fmla="*/ 53661 h 361598"/>
                <a:gd name="connsiteX163" fmla="*/ 323433 w 426364"/>
                <a:gd name="connsiteY163" fmla="*/ 54597 h 361598"/>
                <a:gd name="connsiteX164" fmla="*/ 324551 w 426364"/>
                <a:gd name="connsiteY164" fmla="*/ 54477 h 361598"/>
                <a:gd name="connsiteX165" fmla="*/ 327086 w 426364"/>
                <a:gd name="connsiteY165" fmla="*/ 53781 h 361598"/>
                <a:gd name="connsiteX166" fmla="*/ 329779 w 426364"/>
                <a:gd name="connsiteY166" fmla="*/ 54646 h 361598"/>
                <a:gd name="connsiteX167" fmla="*/ 336493 w 426364"/>
                <a:gd name="connsiteY167" fmla="*/ 57939 h 361598"/>
                <a:gd name="connsiteX168" fmla="*/ 337229 w 426364"/>
                <a:gd name="connsiteY168" fmla="*/ 57863 h 361598"/>
                <a:gd name="connsiteX169" fmla="*/ 337840 w 426364"/>
                <a:gd name="connsiteY169" fmla="*/ 58198 h 361598"/>
                <a:gd name="connsiteX170" fmla="*/ 338397 w 426364"/>
                <a:gd name="connsiteY170" fmla="*/ 58951 h 361598"/>
                <a:gd name="connsiteX171" fmla="*/ 338790 w 426364"/>
                <a:gd name="connsiteY171" fmla="*/ 59880 h 361598"/>
                <a:gd name="connsiteX172" fmla="*/ 339291 w 426364"/>
                <a:gd name="connsiteY172" fmla="*/ 62712 h 361598"/>
                <a:gd name="connsiteX173" fmla="*/ 341228 w 426364"/>
                <a:gd name="connsiteY173" fmla="*/ 64774 h 361598"/>
                <a:gd name="connsiteX174" fmla="*/ 343599 w 426364"/>
                <a:gd name="connsiteY174" fmla="*/ 66657 h 361598"/>
                <a:gd name="connsiteX175" fmla="*/ 346363 w 426364"/>
                <a:gd name="connsiteY175" fmla="*/ 67686 h 361598"/>
                <a:gd name="connsiteX176" fmla="*/ 352144 w 426364"/>
                <a:gd name="connsiteY176" fmla="*/ 70152 h 361598"/>
                <a:gd name="connsiteX177" fmla="*/ 354668 w 426364"/>
                <a:gd name="connsiteY177" fmla="*/ 72154 h 361598"/>
                <a:gd name="connsiteX178" fmla="*/ 357223 w 426364"/>
                <a:gd name="connsiteY178" fmla="*/ 75545 h 361598"/>
                <a:gd name="connsiteX179" fmla="*/ 360371 w 426364"/>
                <a:gd name="connsiteY179" fmla="*/ 80008 h 361598"/>
                <a:gd name="connsiteX180" fmla="*/ 360827 w 426364"/>
                <a:gd name="connsiteY180" fmla="*/ 80412 h 361598"/>
                <a:gd name="connsiteX181" fmla="*/ 368933 w 426364"/>
                <a:gd name="connsiteY181" fmla="*/ 80277 h 361598"/>
                <a:gd name="connsiteX182" fmla="*/ 378037 w 426364"/>
                <a:gd name="connsiteY182" fmla="*/ 80287 h 361598"/>
                <a:gd name="connsiteX183" fmla="*/ 379149 w 426364"/>
                <a:gd name="connsiteY183" fmla="*/ 82069 h 361598"/>
                <a:gd name="connsiteX184" fmla="*/ 378937 w 426364"/>
                <a:gd name="connsiteY184" fmla="*/ 85604 h 361598"/>
                <a:gd name="connsiteX185" fmla="*/ 379264 w 426364"/>
                <a:gd name="connsiteY185" fmla="*/ 89224 h 361598"/>
                <a:gd name="connsiteX186" fmla="*/ 380080 w 426364"/>
                <a:gd name="connsiteY186" fmla="*/ 91730 h 361598"/>
                <a:gd name="connsiteX187" fmla="*/ 380088 w 426364"/>
                <a:gd name="connsiteY187" fmla="*/ 94040 h 361598"/>
                <a:gd name="connsiteX188" fmla="*/ 379430 w 426364"/>
                <a:gd name="connsiteY188" fmla="*/ 95208 h 361598"/>
                <a:gd name="connsiteX189" fmla="*/ 378918 w 426364"/>
                <a:gd name="connsiteY189" fmla="*/ 96544 h 361598"/>
                <a:gd name="connsiteX190" fmla="*/ 378773 w 426364"/>
                <a:gd name="connsiteY190" fmla="*/ 97128 h 361598"/>
                <a:gd name="connsiteX191" fmla="*/ 379944 w 426364"/>
                <a:gd name="connsiteY191" fmla="*/ 97962 h 361598"/>
                <a:gd name="connsiteX192" fmla="*/ 380967 w 426364"/>
                <a:gd name="connsiteY192" fmla="*/ 99880 h 361598"/>
                <a:gd name="connsiteX193" fmla="*/ 381112 w 426364"/>
                <a:gd name="connsiteY193" fmla="*/ 102546 h 361598"/>
                <a:gd name="connsiteX194" fmla="*/ 380600 w 426364"/>
                <a:gd name="connsiteY194" fmla="*/ 103963 h 361598"/>
                <a:gd name="connsiteX195" fmla="*/ 380674 w 426364"/>
                <a:gd name="connsiteY195" fmla="*/ 105128 h 361598"/>
                <a:gd name="connsiteX196" fmla="*/ 381186 w 426364"/>
                <a:gd name="connsiteY196" fmla="*/ 106127 h 361598"/>
                <a:gd name="connsiteX197" fmla="*/ 381624 w 426364"/>
                <a:gd name="connsiteY197" fmla="*/ 107791 h 361598"/>
                <a:gd name="connsiteX198" fmla="*/ 381550 w 426364"/>
                <a:gd name="connsiteY198" fmla="*/ 108788 h 361598"/>
                <a:gd name="connsiteX199" fmla="*/ 380821 w 426364"/>
                <a:gd name="connsiteY199" fmla="*/ 109786 h 361598"/>
                <a:gd name="connsiteX200" fmla="*/ 380382 w 426364"/>
                <a:gd name="connsiteY200" fmla="*/ 111033 h 361598"/>
                <a:gd name="connsiteX201" fmla="*/ 379797 w 426364"/>
                <a:gd name="connsiteY201" fmla="*/ 112611 h 361598"/>
                <a:gd name="connsiteX202" fmla="*/ 379577 w 426364"/>
                <a:gd name="connsiteY202" fmla="*/ 113857 h 361598"/>
                <a:gd name="connsiteX203" fmla="*/ 378480 w 426364"/>
                <a:gd name="connsiteY203" fmla="*/ 114438 h 361598"/>
                <a:gd name="connsiteX204" fmla="*/ 377603 w 426364"/>
                <a:gd name="connsiteY204" fmla="*/ 114853 h 361598"/>
                <a:gd name="connsiteX205" fmla="*/ 377750 w 426364"/>
                <a:gd name="connsiteY205" fmla="*/ 116429 h 361598"/>
                <a:gd name="connsiteX206" fmla="*/ 378188 w 426364"/>
                <a:gd name="connsiteY206" fmla="*/ 117757 h 361598"/>
                <a:gd name="connsiteX207" fmla="*/ 378700 w 426364"/>
                <a:gd name="connsiteY207" fmla="*/ 119331 h 361598"/>
                <a:gd name="connsiteX208" fmla="*/ 378115 w 426364"/>
                <a:gd name="connsiteY208" fmla="*/ 120409 h 361598"/>
                <a:gd name="connsiteX209" fmla="*/ 377750 w 426364"/>
                <a:gd name="connsiteY209" fmla="*/ 121651 h 361598"/>
                <a:gd name="connsiteX210" fmla="*/ 376944 w 426364"/>
                <a:gd name="connsiteY210" fmla="*/ 123639 h 361598"/>
                <a:gd name="connsiteX211" fmla="*/ 377163 w 426364"/>
                <a:gd name="connsiteY211" fmla="*/ 125293 h 361598"/>
                <a:gd name="connsiteX212" fmla="*/ 376286 w 426364"/>
                <a:gd name="connsiteY212" fmla="*/ 126700 h 361598"/>
                <a:gd name="connsiteX213" fmla="*/ 375189 w 426364"/>
                <a:gd name="connsiteY213" fmla="*/ 127941 h 361598"/>
                <a:gd name="connsiteX214" fmla="*/ 374459 w 426364"/>
                <a:gd name="connsiteY214" fmla="*/ 128933 h 361598"/>
                <a:gd name="connsiteX215" fmla="*/ 374312 w 426364"/>
                <a:gd name="connsiteY215" fmla="*/ 130337 h 361598"/>
                <a:gd name="connsiteX216" fmla="*/ 373507 w 426364"/>
                <a:gd name="connsiteY216" fmla="*/ 130833 h 361598"/>
                <a:gd name="connsiteX217" fmla="*/ 371971 w 426364"/>
                <a:gd name="connsiteY217" fmla="*/ 131989 h 361598"/>
                <a:gd name="connsiteX218" fmla="*/ 371021 w 426364"/>
                <a:gd name="connsiteY218" fmla="*/ 132815 h 361598"/>
                <a:gd name="connsiteX219" fmla="*/ 369631 w 426364"/>
                <a:gd name="connsiteY219" fmla="*/ 133062 h 361598"/>
                <a:gd name="connsiteX220" fmla="*/ 369339 w 426364"/>
                <a:gd name="connsiteY220" fmla="*/ 133722 h 361598"/>
                <a:gd name="connsiteX221" fmla="*/ 369557 w 426364"/>
                <a:gd name="connsiteY221" fmla="*/ 134383 h 361598"/>
                <a:gd name="connsiteX222" fmla="*/ 370142 w 426364"/>
                <a:gd name="connsiteY222" fmla="*/ 134796 h 361598"/>
                <a:gd name="connsiteX223" fmla="*/ 371056 w 426364"/>
                <a:gd name="connsiteY223" fmla="*/ 136223 h 361598"/>
                <a:gd name="connsiteX224" fmla="*/ 372947 w 426364"/>
                <a:gd name="connsiteY224" fmla="*/ 138681 h 361598"/>
                <a:gd name="connsiteX225" fmla="*/ 367491 w 426364"/>
                <a:gd name="connsiteY225" fmla="*/ 138986 h 361598"/>
                <a:gd name="connsiteX226" fmla="*/ 365888 w 426364"/>
                <a:gd name="connsiteY226" fmla="*/ 141166 h 361598"/>
                <a:gd name="connsiteX227" fmla="*/ 364020 w 426364"/>
                <a:gd name="connsiteY227" fmla="*/ 144274 h 361598"/>
                <a:gd name="connsiteX228" fmla="*/ 364934 w 426364"/>
                <a:gd name="connsiteY228" fmla="*/ 150557 h 361598"/>
                <a:gd name="connsiteX229" fmla="*/ 364025 w 426364"/>
                <a:gd name="connsiteY229" fmla="*/ 153786 h 361598"/>
                <a:gd name="connsiteX230" fmla="*/ 364575 w 426364"/>
                <a:gd name="connsiteY230" fmla="*/ 155597 h 361598"/>
                <a:gd name="connsiteX231" fmla="*/ 365968 w 426364"/>
                <a:gd name="connsiteY231" fmla="*/ 156851 h 361598"/>
                <a:gd name="connsiteX232" fmla="*/ 367754 w 426364"/>
                <a:gd name="connsiteY232" fmla="*/ 157543 h 361598"/>
                <a:gd name="connsiteX233" fmla="*/ 371112 w 426364"/>
                <a:gd name="connsiteY233" fmla="*/ 157585 h 361598"/>
                <a:gd name="connsiteX234" fmla="*/ 373334 w 426364"/>
                <a:gd name="connsiteY234" fmla="*/ 158074 h 361598"/>
                <a:gd name="connsiteX235" fmla="*/ 373556 w 426364"/>
                <a:gd name="connsiteY235" fmla="*/ 158910 h 361598"/>
                <a:gd name="connsiteX236" fmla="*/ 372280 w 426364"/>
                <a:gd name="connsiteY236" fmla="*/ 160123 h 361598"/>
                <a:gd name="connsiteX237" fmla="*/ 370237 w 426364"/>
                <a:gd name="connsiteY237" fmla="*/ 162412 h 361598"/>
                <a:gd name="connsiteX238" fmla="*/ 369158 w 426364"/>
                <a:gd name="connsiteY238" fmla="*/ 163409 h 361598"/>
                <a:gd name="connsiteX239" fmla="*/ 365675 w 426364"/>
                <a:gd name="connsiteY239" fmla="*/ 168000 h 361598"/>
                <a:gd name="connsiteX240" fmla="*/ 365705 w 426364"/>
                <a:gd name="connsiteY240" fmla="*/ 169953 h 361598"/>
                <a:gd name="connsiteX241" fmla="*/ 366028 w 426364"/>
                <a:gd name="connsiteY241" fmla="*/ 171531 h 361598"/>
                <a:gd name="connsiteX242" fmla="*/ 367532 w 426364"/>
                <a:gd name="connsiteY242" fmla="*/ 176477 h 361598"/>
                <a:gd name="connsiteX243" fmla="*/ 368989 w 426364"/>
                <a:gd name="connsiteY243" fmla="*/ 181266 h 361598"/>
                <a:gd name="connsiteX244" fmla="*/ 371617 w 426364"/>
                <a:gd name="connsiteY244" fmla="*/ 189886 h 361598"/>
                <a:gd name="connsiteX245" fmla="*/ 371572 w 426364"/>
                <a:gd name="connsiteY245" fmla="*/ 191886 h 361598"/>
                <a:gd name="connsiteX246" fmla="*/ 370747 w 426364"/>
                <a:gd name="connsiteY246" fmla="*/ 196323 h 361598"/>
                <a:gd name="connsiteX247" fmla="*/ 370693 w 426364"/>
                <a:gd name="connsiteY247" fmla="*/ 199016 h 361598"/>
                <a:gd name="connsiteX248" fmla="*/ 371065 w 426364"/>
                <a:gd name="connsiteY248" fmla="*/ 202512 h 361598"/>
                <a:gd name="connsiteX249" fmla="*/ 370784 w 426364"/>
                <a:gd name="connsiteY249" fmla="*/ 204319 h 361598"/>
                <a:gd name="connsiteX250" fmla="*/ 371427 w 426364"/>
                <a:gd name="connsiteY250" fmla="*/ 208364 h 361598"/>
                <a:gd name="connsiteX251" fmla="*/ 372166 w 426364"/>
                <a:gd name="connsiteY251" fmla="*/ 208655 h 361598"/>
                <a:gd name="connsiteX252" fmla="*/ 377840 w 426364"/>
                <a:gd name="connsiteY252" fmla="*/ 209440 h 361598"/>
                <a:gd name="connsiteX253" fmla="*/ 383053 w 426364"/>
                <a:gd name="connsiteY253" fmla="*/ 210161 h 361598"/>
                <a:gd name="connsiteX254" fmla="*/ 389989 w 426364"/>
                <a:gd name="connsiteY254" fmla="*/ 211118 h 361598"/>
                <a:gd name="connsiteX255" fmla="*/ 392088 w 426364"/>
                <a:gd name="connsiteY255" fmla="*/ 213489 h 361598"/>
                <a:gd name="connsiteX256" fmla="*/ 393396 w 426364"/>
                <a:gd name="connsiteY256" fmla="*/ 218677 h 361598"/>
                <a:gd name="connsiteX257" fmla="*/ 393321 w 426364"/>
                <a:gd name="connsiteY257" fmla="*/ 222557 h 361598"/>
                <a:gd name="connsiteX258" fmla="*/ 392731 w 426364"/>
                <a:gd name="connsiteY258" fmla="*/ 224537 h 361598"/>
                <a:gd name="connsiteX259" fmla="*/ 387763 w 426364"/>
                <a:gd name="connsiteY259" fmla="*/ 230191 h 361598"/>
                <a:gd name="connsiteX260" fmla="*/ 382725 w 426364"/>
                <a:gd name="connsiteY260" fmla="*/ 235912 h 361598"/>
                <a:gd name="connsiteX261" fmla="*/ 377694 w 426364"/>
                <a:gd name="connsiteY261" fmla="*/ 241617 h 361598"/>
                <a:gd name="connsiteX262" fmla="*/ 372476 w 426364"/>
                <a:gd name="connsiteY262" fmla="*/ 247524 h 361598"/>
                <a:gd name="connsiteX263" fmla="*/ 371928 w 426364"/>
                <a:gd name="connsiteY263" fmla="*/ 248145 h 361598"/>
                <a:gd name="connsiteX264" fmla="*/ 376148 w 426364"/>
                <a:gd name="connsiteY264" fmla="*/ 252864 h 361598"/>
                <a:gd name="connsiteX265" fmla="*/ 378756 w 426364"/>
                <a:gd name="connsiteY265" fmla="*/ 255779 h 361598"/>
                <a:gd name="connsiteX266" fmla="*/ 382431 w 426364"/>
                <a:gd name="connsiteY266" fmla="*/ 259883 h 361598"/>
                <a:gd name="connsiteX267" fmla="*/ 382898 w 426364"/>
                <a:gd name="connsiteY267" fmla="*/ 260867 h 361598"/>
                <a:gd name="connsiteX268" fmla="*/ 382863 w 426364"/>
                <a:gd name="connsiteY268" fmla="*/ 262477 h 361598"/>
                <a:gd name="connsiteX269" fmla="*/ 386638 w 426364"/>
                <a:gd name="connsiteY269" fmla="*/ 268711 h 361598"/>
                <a:gd name="connsiteX270" fmla="*/ 387968 w 426364"/>
                <a:gd name="connsiteY270" fmla="*/ 271961 h 361598"/>
                <a:gd name="connsiteX271" fmla="*/ 389168 w 426364"/>
                <a:gd name="connsiteY271" fmla="*/ 273867 h 361598"/>
                <a:gd name="connsiteX272" fmla="*/ 392153 w 426364"/>
                <a:gd name="connsiteY272" fmla="*/ 276844 h 361598"/>
                <a:gd name="connsiteX273" fmla="*/ 395068 w 426364"/>
                <a:gd name="connsiteY273" fmla="*/ 279751 h 361598"/>
                <a:gd name="connsiteX274" fmla="*/ 398234 w 426364"/>
                <a:gd name="connsiteY274" fmla="*/ 281083 h 361598"/>
                <a:gd name="connsiteX275" fmla="*/ 400391 w 426364"/>
                <a:gd name="connsiteY275" fmla="*/ 281376 h 361598"/>
                <a:gd name="connsiteX276" fmla="*/ 405310 w 426364"/>
                <a:gd name="connsiteY276" fmla="*/ 282912 h 361598"/>
                <a:gd name="connsiteX277" fmla="*/ 407098 w 426364"/>
                <a:gd name="connsiteY277" fmla="*/ 284132 h 361598"/>
                <a:gd name="connsiteX278" fmla="*/ 409987 w 426364"/>
                <a:gd name="connsiteY278" fmla="*/ 287215 h 361598"/>
                <a:gd name="connsiteX279" fmla="*/ 413371 w 426364"/>
                <a:gd name="connsiteY279" fmla="*/ 286793 h 361598"/>
                <a:gd name="connsiteX280" fmla="*/ 414075 w 426364"/>
                <a:gd name="connsiteY280" fmla="*/ 286791 h 361598"/>
                <a:gd name="connsiteX281" fmla="*/ 414265 w 426364"/>
                <a:gd name="connsiteY281" fmla="*/ 287014 h 361598"/>
                <a:gd name="connsiteX282" fmla="*/ 414364 w 426364"/>
                <a:gd name="connsiteY282" fmla="*/ 288008 h 361598"/>
                <a:gd name="connsiteX283" fmla="*/ 413861 w 426364"/>
                <a:gd name="connsiteY283" fmla="*/ 292794 h 361598"/>
                <a:gd name="connsiteX284" fmla="*/ 414803 w 426364"/>
                <a:gd name="connsiteY284" fmla="*/ 297611 h 361598"/>
                <a:gd name="connsiteX285" fmla="*/ 415459 w 426364"/>
                <a:gd name="connsiteY285" fmla="*/ 304856 h 361598"/>
                <a:gd name="connsiteX286" fmla="*/ 415213 w 426364"/>
                <a:gd name="connsiteY286" fmla="*/ 306107 h 361598"/>
                <a:gd name="connsiteX287" fmla="*/ 414403 w 426364"/>
                <a:gd name="connsiteY287" fmla="*/ 308200 h 361598"/>
                <a:gd name="connsiteX288" fmla="*/ 414364 w 426364"/>
                <a:gd name="connsiteY288" fmla="*/ 309547 h 361598"/>
                <a:gd name="connsiteX289" fmla="*/ 414148 w 426364"/>
                <a:gd name="connsiteY289" fmla="*/ 310371 h 361598"/>
                <a:gd name="connsiteX290" fmla="*/ 414375 w 426364"/>
                <a:gd name="connsiteY290" fmla="*/ 310738 h 361598"/>
                <a:gd name="connsiteX291" fmla="*/ 415451 w 426364"/>
                <a:gd name="connsiteY291" fmla="*/ 311232 h 361598"/>
                <a:gd name="connsiteX292" fmla="*/ 417746 w 426364"/>
                <a:gd name="connsiteY292" fmla="*/ 311495 h 361598"/>
                <a:gd name="connsiteX293" fmla="*/ 423304 w 426364"/>
                <a:gd name="connsiteY293" fmla="*/ 310683 h 361598"/>
                <a:gd name="connsiteX294" fmla="*/ 423952 w 426364"/>
                <a:gd name="connsiteY294" fmla="*/ 310887 h 361598"/>
                <a:gd name="connsiteX295" fmla="*/ 425282 w 426364"/>
                <a:gd name="connsiteY295" fmla="*/ 311745 h 361598"/>
                <a:gd name="connsiteX296" fmla="*/ 426284 w 426364"/>
                <a:gd name="connsiteY296" fmla="*/ 313089 h 361598"/>
                <a:gd name="connsiteX297" fmla="*/ 426364 w 426364"/>
                <a:gd name="connsiteY297" fmla="*/ 313729 h 361598"/>
                <a:gd name="connsiteX298" fmla="*/ 424969 w 426364"/>
                <a:gd name="connsiteY298" fmla="*/ 314844 h 361598"/>
                <a:gd name="connsiteX299" fmla="*/ 424734 w 426364"/>
                <a:gd name="connsiteY299" fmla="*/ 316736 h 361598"/>
                <a:gd name="connsiteX300" fmla="*/ 425153 w 426364"/>
                <a:gd name="connsiteY300" fmla="*/ 319563 h 361598"/>
                <a:gd name="connsiteX301" fmla="*/ 424958 w 426364"/>
                <a:gd name="connsiteY301" fmla="*/ 319908 h 361598"/>
                <a:gd name="connsiteX302" fmla="*/ 423732 w 426364"/>
                <a:gd name="connsiteY302" fmla="*/ 320553 h 361598"/>
                <a:gd name="connsiteX303" fmla="*/ 423332 w 426364"/>
                <a:gd name="connsiteY303" fmla="*/ 324638 h 361598"/>
                <a:gd name="connsiteX304" fmla="*/ 423106 w 426364"/>
                <a:gd name="connsiteY304" fmla="*/ 325014 h 361598"/>
                <a:gd name="connsiteX305" fmla="*/ 421672 w 426364"/>
                <a:gd name="connsiteY305" fmla="*/ 325428 h 361598"/>
                <a:gd name="connsiteX306" fmla="*/ 414898 w 426364"/>
                <a:gd name="connsiteY306" fmla="*/ 325153 h 361598"/>
                <a:gd name="connsiteX307" fmla="*/ 414122 w 426364"/>
                <a:gd name="connsiteY307" fmla="*/ 325265 h 361598"/>
                <a:gd name="connsiteX308" fmla="*/ 411577 w 426364"/>
                <a:gd name="connsiteY308" fmla="*/ 326345 h 361598"/>
                <a:gd name="connsiteX309" fmla="*/ 407217 w 426364"/>
                <a:gd name="connsiteY309" fmla="*/ 327119 h 361598"/>
                <a:gd name="connsiteX310" fmla="*/ 406019 w 426364"/>
                <a:gd name="connsiteY310" fmla="*/ 327556 h 361598"/>
                <a:gd name="connsiteX311" fmla="*/ 404410 w 426364"/>
                <a:gd name="connsiteY311" fmla="*/ 328784 h 361598"/>
                <a:gd name="connsiteX312" fmla="*/ 403246 w 426364"/>
                <a:gd name="connsiteY312" fmla="*/ 330286 h 361598"/>
                <a:gd name="connsiteX313" fmla="*/ 403023 w 426364"/>
                <a:gd name="connsiteY313" fmla="*/ 331667 h 361598"/>
                <a:gd name="connsiteX314" fmla="*/ 402796 w 426364"/>
                <a:gd name="connsiteY314" fmla="*/ 331956 h 361598"/>
                <a:gd name="connsiteX315" fmla="*/ 400289 w 426364"/>
                <a:gd name="connsiteY315" fmla="*/ 331673 h 361598"/>
                <a:gd name="connsiteX316" fmla="*/ 399473 w 426364"/>
                <a:gd name="connsiteY316" fmla="*/ 332875 h 361598"/>
                <a:gd name="connsiteX317" fmla="*/ 394625 w 426364"/>
                <a:gd name="connsiteY317" fmla="*/ 334672 h 361598"/>
                <a:gd name="connsiteX318" fmla="*/ 394019 w 426364"/>
                <a:gd name="connsiteY318" fmla="*/ 335062 h 361598"/>
                <a:gd name="connsiteX319" fmla="*/ 393302 w 426364"/>
                <a:gd name="connsiteY319" fmla="*/ 336498 h 361598"/>
                <a:gd name="connsiteX320" fmla="*/ 392656 w 426364"/>
                <a:gd name="connsiteY320" fmla="*/ 340508 h 361598"/>
                <a:gd name="connsiteX321" fmla="*/ 392073 w 426364"/>
                <a:gd name="connsiteY321" fmla="*/ 344113 h 361598"/>
                <a:gd name="connsiteX322" fmla="*/ 391704 w 426364"/>
                <a:gd name="connsiteY322" fmla="*/ 344639 h 361598"/>
                <a:gd name="connsiteX323" fmla="*/ 390177 w 426364"/>
                <a:gd name="connsiteY323" fmla="*/ 345871 h 361598"/>
                <a:gd name="connsiteX324" fmla="*/ 390026 w 426364"/>
                <a:gd name="connsiteY324" fmla="*/ 346289 h 361598"/>
                <a:gd name="connsiteX325" fmla="*/ 390238 w 426364"/>
                <a:gd name="connsiteY325" fmla="*/ 347680 h 361598"/>
                <a:gd name="connsiteX326" fmla="*/ 389546 w 426364"/>
                <a:gd name="connsiteY326" fmla="*/ 350224 h 361598"/>
                <a:gd name="connsiteX327" fmla="*/ 389000 w 426364"/>
                <a:gd name="connsiteY327" fmla="*/ 357264 h 361598"/>
                <a:gd name="connsiteX328" fmla="*/ 388391 w 426364"/>
                <a:gd name="connsiteY328" fmla="*/ 359238 h 361598"/>
                <a:gd name="connsiteX329" fmla="*/ 387180 w 426364"/>
                <a:gd name="connsiteY329" fmla="*/ 359399 h 361598"/>
                <a:gd name="connsiteX330" fmla="*/ 386234 w 426364"/>
                <a:gd name="connsiteY330" fmla="*/ 360385 h 361598"/>
                <a:gd name="connsiteX331" fmla="*/ 384507 w 426364"/>
                <a:gd name="connsiteY331" fmla="*/ 361598 h 361598"/>
                <a:gd name="connsiteX332" fmla="*/ 380764 w 426364"/>
                <a:gd name="connsiteY332" fmla="*/ 360659 h 361598"/>
                <a:gd name="connsiteX333" fmla="*/ 377793 w 426364"/>
                <a:gd name="connsiteY333" fmla="*/ 359673 h 361598"/>
                <a:gd name="connsiteX334" fmla="*/ 367959 w 426364"/>
                <a:gd name="connsiteY334" fmla="*/ 357356 h 361598"/>
                <a:gd name="connsiteX335" fmla="*/ 366881 w 426364"/>
                <a:gd name="connsiteY335" fmla="*/ 356234 h 361598"/>
                <a:gd name="connsiteX336" fmla="*/ 366271 w 426364"/>
                <a:gd name="connsiteY336" fmla="*/ 354261 h 361598"/>
                <a:gd name="connsiteX337" fmla="*/ 364569 w 426364"/>
                <a:gd name="connsiteY337" fmla="*/ 353705 h 361598"/>
                <a:gd name="connsiteX338" fmla="*/ 362129 w 426364"/>
                <a:gd name="connsiteY338" fmla="*/ 356664 h 361598"/>
                <a:gd name="connsiteX339" fmla="*/ 353826 w 426364"/>
                <a:gd name="connsiteY339" fmla="*/ 354954 h 361598"/>
                <a:gd name="connsiteX340" fmla="*/ 351004 w 426364"/>
                <a:gd name="connsiteY340" fmla="*/ 355480 h 361598"/>
                <a:gd name="connsiteX341" fmla="*/ 349263 w 426364"/>
                <a:gd name="connsiteY341" fmla="*/ 354559 h 361598"/>
                <a:gd name="connsiteX342" fmla="*/ 344789 w 426364"/>
                <a:gd name="connsiteY342" fmla="*/ 354502 h 361598"/>
                <a:gd name="connsiteX343" fmla="*/ 341252 w 426364"/>
                <a:gd name="connsiteY343" fmla="*/ 352657 h 361598"/>
                <a:gd name="connsiteX344" fmla="*/ 336193 w 426364"/>
                <a:gd name="connsiteY344" fmla="*/ 353926 h 361598"/>
                <a:gd name="connsiteX345" fmla="*/ 332187 w 426364"/>
                <a:gd name="connsiteY345" fmla="*/ 354172 h 361598"/>
                <a:gd name="connsiteX346" fmla="*/ 326697 w 426364"/>
                <a:gd name="connsiteY346" fmla="*/ 350933 h 361598"/>
                <a:gd name="connsiteX347" fmla="*/ 320794 w 426364"/>
                <a:gd name="connsiteY347" fmla="*/ 350040 h 361598"/>
                <a:gd name="connsiteX348" fmla="*/ 316004 w 426364"/>
                <a:gd name="connsiteY348" fmla="*/ 350313 h 361598"/>
                <a:gd name="connsiteX349" fmla="*/ 313542 w 426364"/>
                <a:gd name="connsiteY349" fmla="*/ 350060 h 361598"/>
                <a:gd name="connsiteX350" fmla="*/ 309550 w 426364"/>
                <a:gd name="connsiteY350" fmla="*/ 348898 h 361598"/>
                <a:gd name="connsiteX351" fmla="*/ 307654 w 426364"/>
                <a:gd name="connsiteY351" fmla="*/ 347697 h 361598"/>
                <a:gd name="connsiteX352" fmla="*/ 304546 w 426364"/>
                <a:gd name="connsiteY352" fmla="*/ 348609 h 361598"/>
                <a:gd name="connsiteX353" fmla="*/ 303141 w 426364"/>
                <a:gd name="connsiteY353" fmla="*/ 346912 h 361598"/>
                <a:gd name="connsiteX354" fmla="*/ 294341 w 426364"/>
                <a:gd name="connsiteY354" fmla="*/ 345337 h 361598"/>
                <a:gd name="connsiteX355" fmla="*/ 292713 w 426364"/>
                <a:gd name="connsiteY355" fmla="*/ 342329 h 361598"/>
                <a:gd name="connsiteX356" fmla="*/ 291489 w 426364"/>
                <a:gd name="connsiteY356" fmla="*/ 339530 h 361598"/>
                <a:gd name="connsiteX357" fmla="*/ 291396 w 426364"/>
                <a:gd name="connsiteY357" fmla="*/ 336651 h 361598"/>
                <a:gd name="connsiteX358" fmla="*/ 289250 w 426364"/>
                <a:gd name="connsiteY358" fmla="*/ 331615 h 361598"/>
                <a:gd name="connsiteX359" fmla="*/ 288535 w 426364"/>
                <a:gd name="connsiteY359" fmla="*/ 324294 h 361598"/>
                <a:gd name="connsiteX360" fmla="*/ 287740 w 426364"/>
                <a:gd name="connsiteY360" fmla="*/ 321430 h 361598"/>
                <a:gd name="connsiteX361" fmla="*/ 286550 w 426364"/>
                <a:gd name="connsiteY361" fmla="*/ 318940 h 361598"/>
                <a:gd name="connsiteX362" fmla="*/ 284963 w 426364"/>
                <a:gd name="connsiteY362" fmla="*/ 316821 h 361598"/>
                <a:gd name="connsiteX363" fmla="*/ 282806 w 426364"/>
                <a:gd name="connsiteY363" fmla="*/ 314552 h 361598"/>
                <a:gd name="connsiteX364" fmla="*/ 280932 w 426364"/>
                <a:gd name="connsiteY364" fmla="*/ 313654 h 361598"/>
                <a:gd name="connsiteX365" fmla="*/ 272707 w 426364"/>
                <a:gd name="connsiteY365" fmla="*/ 311927 h 361598"/>
                <a:gd name="connsiteX366" fmla="*/ 271119 w 426364"/>
                <a:gd name="connsiteY366" fmla="*/ 312156 h 361598"/>
                <a:gd name="connsiteX367" fmla="*/ 267442 w 426364"/>
                <a:gd name="connsiteY367" fmla="*/ 313287 h 361598"/>
                <a:gd name="connsiteX368" fmla="*/ 263529 w 426364"/>
                <a:gd name="connsiteY368" fmla="*/ 315798 h 361598"/>
                <a:gd name="connsiteX369" fmla="*/ 257098 w 426364"/>
                <a:gd name="connsiteY369" fmla="*/ 317226 h 361598"/>
                <a:gd name="connsiteX370" fmla="*/ 255801 w 426364"/>
                <a:gd name="connsiteY370" fmla="*/ 318306 h 361598"/>
                <a:gd name="connsiteX371" fmla="*/ 254185 w 426364"/>
                <a:gd name="connsiteY371" fmla="*/ 320735 h 361598"/>
                <a:gd name="connsiteX372" fmla="*/ 252095 w 426364"/>
                <a:gd name="connsiteY372" fmla="*/ 322145 h 361598"/>
                <a:gd name="connsiteX373" fmla="*/ 249223 w 426364"/>
                <a:gd name="connsiteY373" fmla="*/ 321780 h 361598"/>
                <a:gd name="connsiteX374" fmla="*/ 246137 w 426364"/>
                <a:gd name="connsiteY374" fmla="*/ 323218 h 361598"/>
                <a:gd name="connsiteX375" fmla="*/ 240415 w 426364"/>
                <a:gd name="connsiteY375" fmla="*/ 327222 h 361598"/>
                <a:gd name="connsiteX376" fmla="*/ 237396 w 426364"/>
                <a:gd name="connsiteY376" fmla="*/ 328447 h 361598"/>
                <a:gd name="connsiteX377" fmla="*/ 234867 w 426364"/>
                <a:gd name="connsiteY377" fmla="*/ 328355 h 361598"/>
                <a:gd name="connsiteX378" fmla="*/ 232151 w 426364"/>
                <a:gd name="connsiteY378" fmla="*/ 326452 h 361598"/>
                <a:gd name="connsiteX379" fmla="*/ 226070 w 426364"/>
                <a:gd name="connsiteY379" fmla="*/ 323901 h 361598"/>
                <a:gd name="connsiteX380" fmla="*/ 222140 w 426364"/>
                <a:gd name="connsiteY380" fmla="*/ 323052 h 361598"/>
                <a:gd name="connsiteX381" fmla="*/ 216683 w 426364"/>
                <a:gd name="connsiteY381" fmla="*/ 323638 h 361598"/>
                <a:gd name="connsiteX382" fmla="*/ 214101 w 426364"/>
                <a:gd name="connsiteY382" fmla="*/ 323214 h 361598"/>
                <a:gd name="connsiteX383" fmla="*/ 209708 w 426364"/>
                <a:gd name="connsiteY383" fmla="*/ 320216 h 361598"/>
                <a:gd name="connsiteX384" fmla="*/ 208555 w 426364"/>
                <a:gd name="connsiteY384" fmla="*/ 318041 h 361598"/>
                <a:gd name="connsiteX385" fmla="*/ 206051 w 426364"/>
                <a:gd name="connsiteY385" fmla="*/ 316586 h 361598"/>
                <a:gd name="connsiteX386" fmla="*/ 198108 w 426364"/>
                <a:gd name="connsiteY386" fmla="*/ 313315 h 361598"/>
                <a:gd name="connsiteX387" fmla="*/ 191675 w 426364"/>
                <a:gd name="connsiteY387" fmla="*/ 308995 h 361598"/>
                <a:gd name="connsiteX388" fmla="*/ 190495 w 426364"/>
                <a:gd name="connsiteY388" fmla="*/ 307360 h 361598"/>
                <a:gd name="connsiteX389" fmla="*/ 189708 w 426364"/>
                <a:gd name="connsiteY389" fmla="*/ 304943 h 361598"/>
                <a:gd name="connsiteX390" fmla="*/ 186906 w 426364"/>
                <a:gd name="connsiteY390" fmla="*/ 302005 h 361598"/>
                <a:gd name="connsiteX391" fmla="*/ 180626 w 426364"/>
                <a:gd name="connsiteY391" fmla="*/ 299599 h 361598"/>
                <a:gd name="connsiteX392" fmla="*/ 177063 w 426364"/>
                <a:gd name="connsiteY392" fmla="*/ 297041 h 361598"/>
                <a:gd name="connsiteX393" fmla="*/ 172889 w 426364"/>
                <a:gd name="connsiteY393" fmla="*/ 296471 h 361598"/>
                <a:gd name="connsiteX394" fmla="*/ 169004 w 426364"/>
                <a:gd name="connsiteY394" fmla="*/ 296550 h 361598"/>
                <a:gd name="connsiteX395" fmla="*/ 167296 w 426364"/>
                <a:gd name="connsiteY395" fmla="*/ 296090 h 361598"/>
                <a:gd name="connsiteX396" fmla="*/ 165737 w 426364"/>
                <a:gd name="connsiteY396" fmla="*/ 294995 h 361598"/>
                <a:gd name="connsiteX397" fmla="*/ 160438 w 426364"/>
                <a:gd name="connsiteY397" fmla="*/ 289701 h 361598"/>
                <a:gd name="connsiteX398" fmla="*/ 160375 w 426364"/>
                <a:gd name="connsiteY398" fmla="*/ 287606 h 361598"/>
                <a:gd name="connsiteX399" fmla="*/ 157110 w 426364"/>
                <a:gd name="connsiteY399" fmla="*/ 282423 h 361598"/>
                <a:gd name="connsiteX400" fmla="*/ 156346 w 426364"/>
                <a:gd name="connsiteY400" fmla="*/ 280577 h 361598"/>
                <a:gd name="connsiteX401" fmla="*/ 155642 w 426364"/>
                <a:gd name="connsiteY401" fmla="*/ 275440 h 361598"/>
                <a:gd name="connsiteX402" fmla="*/ 154739 w 426364"/>
                <a:gd name="connsiteY402" fmla="*/ 274096 h 361598"/>
                <a:gd name="connsiteX403" fmla="*/ 151329 w 426364"/>
                <a:gd name="connsiteY403" fmla="*/ 271979 h 361598"/>
                <a:gd name="connsiteX404" fmla="*/ 150799 w 426364"/>
                <a:gd name="connsiteY404" fmla="*/ 270593 h 361598"/>
                <a:gd name="connsiteX405" fmla="*/ 151524 w 426364"/>
                <a:gd name="connsiteY405" fmla="*/ 268751 h 361598"/>
                <a:gd name="connsiteX406" fmla="*/ 151524 w 426364"/>
                <a:gd name="connsiteY406" fmla="*/ 267348 h 361598"/>
                <a:gd name="connsiteX407" fmla="*/ 149749 w 426364"/>
                <a:gd name="connsiteY407" fmla="*/ 266031 h 361598"/>
                <a:gd name="connsiteX408" fmla="*/ 147089 w 426364"/>
                <a:gd name="connsiteY408" fmla="*/ 265329 h 361598"/>
                <a:gd name="connsiteX409" fmla="*/ 146445 w 426364"/>
                <a:gd name="connsiteY409" fmla="*/ 263748 h 361598"/>
                <a:gd name="connsiteX410" fmla="*/ 146929 w 426364"/>
                <a:gd name="connsiteY410" fmla="*/ 260672 h 361598"/>
                <a:gd name="connsiteX411" fmla="*/ 146523 w 426364"/>
                <a:gd name="connsiteY411" fmla="*/ 258738 h 361598"/>
                <a:gd name="connsiteX412" fmla="*/ 144178 w 426364"/>
                <a:gd name="connsiteY412" fmla="*/ 255651 h 361598"/>
                <a:gd name="connsiteX413" fmla="*/ 140714 w 426364"/>
                <a:gd name="connsiteY413" fmla="*/ 252487 h 361598"/>
                <a:gd name="connsiteX414" fmla="*/ 137248 w 426364"/>
                <a:gd name="connsiteY414" fmla="*/ 247801 h 361598"/>
                <a:gd name="connsiteX415" fmla="*/ 135894 w 426364"/>
                <a:gd name="connsiteY415" fmla="*/ 246632 h 361598"/>
                <a:gd name="connsiteX416" fmla="*/ 135009 w 426364"/>
                <a:gd name="connsiteY416" fmla="*/ 243562 h 361598"/>
                <a:gd name="connsiteX417" fmla="*/ 133741 w 426364"/>
                <a:gd name="connsiteY417" fmla="*/ 239918 h 361598"/>
                <a:gd name="connsiteX418" fmla="*/ 131785 w 426364"/>
                <a:gd name="connsiteY418" fmla="*/ 239655 h 361598"/>
                <a:gd name="connsiteX419" fmla="*/ 122316 w 426364"/>
                <a:gd name="connsiteY419" fmla="*/ 244025 h 361598"/>
                <a:gd name="connsiteX420" fmla="*/ 119554 w 426364"/>
                <a:gd name="connsiteY420" fmla="*/ 241567 h 361598"/>
                <a:gd name="connsiteX421" fmla="*/ 111247 w 426364"/>
                <a:gd name="connsiteY421" fmla="*/ 237290 h 361598"/>
                <a:gd name="connsiteX422" fmla="*/ 110668 w 426364"/>
                <a:gd name="connsiteY422" fmla="*/ 236647 h 361598"/>
                <a:gd name="connsiteX423" fmla="*/ 110090 w 426364"/>
                <a:gd name="connsiteY423" fmla="*/ 235665 h 361598"/>
                <a:gd name="connsiteX424" fmla="*/ 111130 w 426364"/>
                <a:gd name="connsiteY424" fmla="*/ 235098 h 361598"/>
                <a:gd name="connsiteX425" fmla="*/ 112173 w 426364"/>
                <a:gd name="connsiteY425" fmla="*/ 234867 h 361598"/>
                <a:gd name="connsiteX426" fmla="*/ 114255 w 426364"/>
                <a:gd name="connsiteY426" fmla="*/ 235629 h 361598"/>
                <a:gd name="connsiteX427" fmla="*/ 115514 w 426364"/>
                <a:gd name="connsiteY427" fmla="*/ 234729 h 361598"/>
                <a:gd name="connsiteX428" fmla="*/ 115011 w 426364"/>
                <a:gd name="connsiteY428" fmla="*/ 233277 h 361598"/>
                <a:gd name="connsiteX429" fmla="*/ 112929 w 426364"/>
                <a:gd name="connsiteY429" fmla="*/ 232376 h 361598"/>
                <a:gd name="connsiteX430" fmla="*/ 110090 w 426364"/>
                <a:gd name="connsiteY430" fmla="*/ 232446 h 361598"/>
                <a:gd name="connsiteX431" fmla="*/ 110867 w 426364"/>
                <a:gd name="connsiteY431" fmla="*/ 233807 h 361598"/>
                <a:gd name="connsiteX432" fmla="*/ 108207 w 426364"/>
                <a:gd name="connsiteY432" fmla="*/ 235098 h 361598"/>
                <a:gd name="connsiteX433" fmla="*/ 107641 w 426364"/>
                <a:gd name="connsiteY433" fmla="*/ 236788 h 361598"/>
                <a:gd name="connsiteX434" fmla="*/ 108027 w 426364"/>
                <a:gd name="connsiteY434" fmla="*/ 238878 h 361598"/>
                <a:gd name="connsiteX435" fmla="*/ 108258 w 426364"/>
                <a:gd name="connsiteY435" fmla="*/ 241799 h 361598"/>
                <a:gd name="connsiteX436" fmla="*/ 107174 w 426364"/>
                <a:gd name="connsiteY436" fmla="*/ 243215 h 361598"/>
                <a:gd name="connsiteX437" fmla="*/ 106341 w 426364"/>
                <a:gd name="connsiteY437" fmla="*/ 243867 h 361598"/>
                <a:gd name="connsiteX438" fmla="*/ 102769 w 426364"/>
                <a:gd name="connsiteY438" fmla="*/ 244040 h 361598"/>
                <a:gd name="connsiteX439" fmla="*/ 101102 w 426364"/>
                <a:gd name="connsiteY439" fmla="*/ 245330 h 361598"/>
                <a:gd name="connsiteX440" fmla="*/ 100018 w 426364"/>
                <a:gd name="connsiteY440" fmla="*/ 245637 h 361598"/>
                <a:gd name="connsiteX441" fmla="*/ 98515 w 426364"/>
                <a:gd name="connsiteY441" fmla="*/ 244634 h 361598"/>
                <a:gd name="connsiteX442" fmla="*/ 97544 w 426364"/>
                <a:gd name="connsiteY442" fmla="*/ 243816 h 361598"/>
                <a:gd name="connsiteX443" fmla="*/ 96749 w 426364"/>
                <a:gd name="connsiteY443" fmla="*/ 242072 h 361598"/>
                <a:gd name="connsiteX444" fmla="*/ 96505 w 426364"/>
                <a:gd name="connsiteY444" fmla="*/ 240855 h 361598"/>
                <a:gd name="connsiteX445" fmla="*/ 96810 w 426364"/>
                <a:gd name="connsiteY445" fmla="*/ 240165 h 361598"/>
                <a:gd name="connsiteX446" fmla="*/ 96395 w 426364"/>
                <a:gd name="connsiteY446" fmla="*/ 239151 h 361598"/>
                <a:gd name="connsiteX447" fmla="*/ 95255 w 426364"/>
                <a:gd name="connsiteY447" fmla="*/ 237811 h 361598"/>
                <a:gd name="connsiteX448" fmla="*/ 94102 w 426364"/>
                <a:gd name="connsiteY448" fmla="*/ 237074 h 361598"/>
                <a:gd name="connsiteX449" fmla="*/ 92935 w 426364"/>
                <a:gd name="connsiteY449" fmla="*/ 236940 h 361598"/>
                <a:gd name="connsiteX450" fmla="*/ 91968 w 426364"/>
                <a:gd name="connsiteY450" fmla="*/ 236123 h 361598"/>
                <a:gd name="connsiteX451" fmla="*/ 91197 w 426364"/>
                <a:gd name="connsiteY451" fmla="*/ 234623 h 361598"/>
                <a:gd name="connsiteX452" fmla="*/ 89396 w 426364"/>
                <a:gd name="connsiteY452" fmla="*/ 233633 h 361598"/>
                <a:gd name="connsiteX453" fmla="*/ 88265 w 426364"/>
                <a:gd name="connsiteY453" fmla="*/ 233440 h 361598"/>
                <a:gd name="connsiteX454" fmla="*/ 88232 w 426364"/>
                <a:gd name="connsiteY454" fmla="*/ 228805 h 361598"/>
                <a:gd name="connsiteX455" fmla="*/ 88200 w 426364"/>
                <a:gd name="connsiteY455" fmla="*/ 224739 h 361598"/>
                <a:gd name="connsiteX456" fmla="*/ 88170 w 426364"/>
                <a:gd name="connsiteY456" fmla="*/ 220694 h 361598"/>
                <a:gd name="connsiteX457" fmla="*/ 84315 w 426364"/>
                <a:gd name="connsiteY457" fmla="*/ 220532 h 361598"/>
                <a:gd name="connsiteX458" fmla="*/ 80847 w 426364"/>
                <a:gd name="connsiteY458" fmla="*/ 220387 h 361598"/>
                <a:gd name="connsiteX459" fmla="*/ 80847 w 426364"/>
                <a:gd name="connsiteY459" fmla="*/ 216997 h 361598"/>
                <a:gd name="connsiteX460" fmla="*/ 80847 w 426364"/>
                <a:gd name="connsiteY460" fmla="*/ 210675 h 361598"/>
                <a:gd name="connsiteX461" fmla="*/ 82493 w 426364"/>
                <a:gd name="connsiteY461" fmla="*/ 205768 h 361598"/>
                <a:gd name="connsiteX462" fmla="*/ 84175 w 426364"/>
                <a:gd name="connsiteY462" fmla="*/ 201044 h 361598"/>
                <a:gd name="connsiteX463" fmla="*/ 81623 w 426364"/>
                <a:gd name="connsiteY463" fmla="*/ 197565 h 361598"/>
                <a:gd name="connsiteX464" fmla="*/ 78902 w 426364"/>
                <a:gd name="connsiteY464" fmla="*/ 193849 h 361598"/>
                <a:gd name="connsiteX465" fmla="*/ 77142 w 426364"/>
                <a:gd name="connsiteY465" fmla="*/ 192307 h 361598"/>
                <a:gd name="connsiteX466" fmla="*/ 75069 w 426364"/>
                <a:gd name="connsiteY466" fmla="*/ 187659 h 361598"/>
                <a:gd name="connsiteX467" fmla="*/ 74032 w 426364"/>
                <a:gd name="connsiteY467" fmla="*/ 185603 h 361598"/>
                <a:gd name="connsiteX468" fmla="*/ 73114 w 426364"/>
                <a:gd name="connsiteY468" fmla="*/ 184821 h 361598"/>
                <a:gd name="connsiteX469" fmla="*/ 72128 w 426364"/>
                <a:gd name="connsiteY469" fmla="*/ 184366 h 361598"/>
                <a:gd name="connsiteX470" fmla="*/ 68506 w 426364"/>
                <a:gd name="connsiteY470" fmla="*/ 184548 h 361598"/>
                <a:gd name="connsiteX471" fmla="*/ 65127 w 426364"/>
                <a:gd name="connsiteY471" fmla="*/ 182043 h 361598"/>
                <a:gd name="connsiteX472" fmla="*/ 61158 w 426364"/>
                <a:gd name="connsiteY472" fmla="*/ 179099 h 361598"/>
                <a:gd name="connsiteX473" fmla="*/ 56312 w 426364"/>
                <a:gd name="connsiteY473" fmla="*/ 175502 h 361598"/>
                <a:gd name="connsiteX474" fmla="*/ 52048 w 426364"/>
                <a:gd name="connsiteY474" fmla="*/ 173151 h 361598"/>
                <a:gd name="connsiteX475" fmla="*/ 50305 w 426364"/>
                <a:gd name="connsiteY475" fmla="*/ 172633 h 361598"/>
                <a:gd name="connsiteX476" fmla="*/ 46204 w 426364"/>
                <a:gd name="connsiteY476" fmla="*/ 172449 h 361598"/>
                <a:gd name="connsiteX477" fmla="*/ 45768 w 426364"/>
                <a:gd name="connsiteY477" fmla="*/ 172000 h 361598"/>
                <a:gd name="connsiteX478" fmla="*/ 45489 w 426364"/>
                <a:gd name="connsiteY478" fmla="*/ 170708 h 361598"/>
                <a:gd name="connsiteX479" fmla="*/ 45496 w 426364"/>
                <a:gd name="connsiteY479" fmla="*/ 169268 h 361598"/>
                <a:gd name="connsiteX480" fmla="*/ 46830 w 426364"/>
                <a:gd name="connsiteY480" fmla="*/ 167096 h 361598"/>
                <a:gd name="connsiteX481" fmla="*/ 46936 w 426364"/>
                <a:gd name="connsiteY481" fmla="*/ 165731 h 361598"/>
                <a:gd name="connsiteX482" fmla="*/ 44150 w 426364"/>
                <a:gd name="connsiteY482" fmla="*/ 161127 h 361598"/>
                <a:gd name="connsiteX483" fmla="*/ 43291 w 426364"/>
                <a:gd name="connsiteY483" fmla="*/ 159780 h 361598"/>
                <a:gd name="connsiteX484" fmla="*/ 40907 w 426364"/>
                <a:gd name="connsiteY484" fmla="*/ 159238 h 361598"/>
                <a:gd name="connsiteX485" fmla="*/ 41382 w 426364"/>
                <a:gd name="connsiteY485" fmla="*/ 157908 h 361598"/>
                <a:gd name="connsiteX486" fmla="*/ 41382 w 426364"/>
                <a:gd name="connsiteY486" fmla="*/ 157019 h 361598"/>
                <a:gd name="connsiteX487" fmla="*/ 41043 w 426364"/>
                <a:gd name="connsiteY487" fmla="*/ 156319 h 361598"/>
                <a:gd name="connsiteX488" fmla="*/ 40492 w 426364"/>
                <a:gd name="connsiteY488" fmla="*/ 155983 h 361598"/>
                <a:gd name="connsiteX489" fmla="*/ 39793 w 426364"/>
                <a:gd name="connsiteY489" fmla="*/ 155947 h 361598"/>
                <a:gd name="connsiteX490" fmla="*/ 37923 w 426364"/>
                <a:gd name="connsiteY490" fmla="*/ 156492 h 361598"/>
                <a:gd name="connsiteX491" fmla="*/ 36495 w 426364"/>
                <a:gd name="connsiteY491" fmla="*/ 154412 h 361598"/>
                <a:gd name="connsiteX492" fmla="*/ 32062 w 426364"/>
                <a:gd name="connsiteY492" fmla="*/ 148483 h 361598"/>
                <a:gd name="connsiteX493" fmla="*/ 30642 w 426364"/>
                <a:gd name="connsiteY493" fmla="*/ 147763 h 361598"/>
                <a:gd name="connsiteX494" fmla="*/ 30378 w 426364"/>
                <a:gd name="connsiteY494" fmla="*/ 147356 h 361598"/>
                <a:gd name="connsiteX495" fmla="*/ 31462 w 426364"/>
                <a:gd name="connsiteY495" fmla="*/ 145536 h 361598"/>
                <a:gd name="connsiteX496" fmla="*/ 33287 w 426364"/>
                <a:gd name="connsiteY496" fmla="*/ 142837 h 361598"/>
                <a:gd name="connsiteX497" fmla="*/ 33600 w 426364"/>
                <a:gd name="connsiteY497" fmla="*/ 141269 h 361598"/>
                <a:gd name="connsiteX498" fmla="*/ 33248 w 426364"/>
                <a:gd name="connsiteY498" fmla="*/ 139547 h 361598"/>
                <a:gd name="connsiteX499" fmla="*/ 31274 w 426364"/>
                <a:gd name="connsiteY499" fmla="*/ 136295 h 361598"/>
                <a:gd name="connsiteX500" fmla="*/ 31756 w 426364"/>
                <a:gd name="connsiteY500" fmla="*/ 134918 h 361598"/>
                <a:gd name="connsiteX501" fmla="*/ 32605 w 426364"/>
                <a:gd name="connsiteY501" fmla="*/ 133332 h 361598"/>
                <a:gd name="connsiteX502" fmla="*/ 32671 w 426364"/>
                <a:gd name="connsiteY502" fmla="*/ 132141 h 361598"/>
                <a:gd name="connsiteX503" fmla="*/ 33999 w 426364"/>
                <a:gd name="connsiteY503" fmla="*/ 132318 h 361598"/>
                <a:gd name="connsiteX504" fmla="*/ 35694 w 426364"/>
                <a:gd name="connsiteY504" fmla="*/ 132335 h 361598"/>
                <a:gd name="connsiteX505" fmla="*/ 36226 w 426364"/>
                <a:gd name="connsiteY505" fmla="*/ 131365 h 361598"/>
                <a:gd name="connsiteX506" fmla="*/ 36193 w 426364"/>
                <a:gd name="connsiteY506" fmla="*/ 127965 h 361598"/>
                <a:gd name="connsiteX507" fmla="*/ 36593 w 426364"/>
                <a:gd name="connsiteY507" fmla="*/ 126724 h 361598"/>
                <a:gd name="connsiteX508" fmla="*/ 41961 w 426364"/>
                <a:gd name="connsiteY508" fmla="*/ 120965 h 361598"/>
                <a:gd name="connsiteX509" fmla="*/ 44634 w 426364"/>
                <a:gd name="connsiteY509" fmla="*/ 119671 h 361598"/>
                <a:gd name="connsiteX510" fmla="*/ 46668 w 426364"/>
                <a:gd name="connsiteY510" fmla="*/ 118481 h 361598"/>
                <a:gd name="connsiteX511" fmla="*/ 47130 w 426364"/>
                <a:gd name="connsiteY511" fmla="*/ 116749 h 361598"/>
                <a:gd name="connsiteX512" fmla="*/ 46711 w 426364"/>
                <a:gd name="connsiteY512" fmla="*/ 115857 h 361598"/>
                <a:gd name="connsiteX513" fmla="*/ 46314 w 426364"/>
                <a:gd name="connsiteY513" fmla="*/ 114553 h 361598"/>
                <a:gd name="connsiteX514" fmla="*/ 46189 w 426364"/>
                <a:gd name="connsiteY514" fmla="*/ 113614 h 361598"/>
                <a:gd name="connsiteX515" fmla="*/ 43945 w 426364"/>
                <a:gd name="connsiteY515" fmla="*/ 111024 h 361598"/>
                <a:gd name="connsiteX516" fmla="*/ 43166 w 426364"/>
                <a:gd name="connsiteY516" fmla="*/ 109717 h 361598"/>
                <a:gd name="connsiteX517" fmla="*/ 43071 w 426364"/>
                <a:gd name="connsiteY517" fmla="*/ 108527 h 361598"/>
                <a:gd name="connsiteX518" fmla="*/ 43600 w 426364"/>
                <a:gd name="connsiteY518" fmla="*/ 106416 h 361598"/>
                <a:gd name="connsiteX519" fmla="*/ 44537 w 426364"/>
                <a:gd name="connsiteY519" fmla="*/ 104779 h 361598"/>
                <a:gd name="connsiteX520" fmla="*/ 47711 w 426364"/>
                <a:gd name="connsiteY520" fmla="*/ 103816 h 361598"/>
                <a:gd name="connsiteX521" fmla="*/ 49514 w 426364"/>
                <a:gd name="connsiteY521" fmla="*/ 102992 h 361598"/>
                <a:gd name="connsiteX522" fmla="*/ 49756 w 426364"/>
                <a:gd name="connsiteY522" fmla="*/ 102258 h 361598"/>
                <a:gd name="connsiteX523" fmla="*/ 47413 w 426364"/>
                <a:gd name="connsiteY523" fmla="*/ 101067 h 361598"/>
                <a:gd name="connsiteX524" fmla="*/ 42414 w 426364"/>
                <a:gd name="connsiteY524" fmla="*/ 100692 h 361598"/>
                <a:gd name="connsiteX525" fmla="*/ 38765 w 426364"/>
                <a:gd name="connsiteY525" fmla="*/ 101034 h 361598"/>
                <a:gd name="connsiteX526" fmla="*/ 37595 w 426364"/>
                <a:gd name="connsiteY526" fmla="*/ 100660 h 361598"/>
                <a:gd name="connsiteX527" fmla="*/ 35861 w 426364"/>
                <a:gd name="connsiteY527" fmla="*/ 98349 h 361598"/>
                <a:gd name="connsiteX528" fmla="*/ 34016 w 426364"/>
                <a:gd name="connsiteY528" fmla="*/ 97117 h 361598"/>
                <a:gd name="connsiteX529" fmla="*/ 32296 w 426364"/>
                <a:gd name="connsiteY529" fmla="*/ 96326 h 361598"/>
                <a:gd name="connsiteX530" fmla="*/ 30614 w 426364"/>
                <a:gd name="connsiteY530" fmla="*/ 96471 h 361598"/>
                <a:gd name="connsiteX531" fmla="*/ 29594 w 426364"/>
                <a:gd name="connsiteY531" fmla="*/ 96155 h 361598"/>
                <a:gd name="connsiteX532" fmla="*/ 29357 w 426364"/>
                <a:gd name="connsiteY532" fmla="*/ 95163 h 361598"/>
                <a:gd name="connsiteX533" fmla="*/ 26929 w 426364"/>
                <a:gd name="connsiteY533" fmla="*/ 87547 h 361598"/>
                <a:gd name="connsiteX534" fmla="*/ 26165 w 426364"/>
                <a:gd name="connsiteY534" fmla="*/ 86504 h 361598"/>
                <a:gd name="connsiteX535" fmla="*/ 25031 w 426364"/>
                <a:gd name="connsiteY535" fmla="*/ 86246 h 361598"/>
                <a:gd name="connsiteX536" fmla="*/ 24083 w 426364"/>
                <a:gd name="connsiteY536" fmla="*/ 86198 h 361598"/>
                <a:gd name="connsiteX537" fmla="*/ 23451 w 426364"/>
                <a:gd name="connsiteY537" fmla="*/ 85673 h 361598"/>
                <a:gd name="connsiteX538" fmla="*/ 22773 w 426364"/>
                <a:gd name="connsiteY538" fmla="*/ 84619 h 361598"/>
                <a:gd name="connsiteX539" fmla="*/ 22285 w 426364"/>
                <a:gd name="connsiteY539" fmla="*/ 83240 h 361598"/>
                <a:gd name="connsiteX540" fmla="*/ 22248 w 426364"/>
                <a:gd name="connsiteY540" fmla="*/ 81428 h 361598"/>
                <a:gd name="connsiteX541" fmla="*/ 22349 w 426364"/>
                <a:gd name="connsiteY541" fmla="*/ 79873 h 361598"/>
                <a:gd name="connsiteX542" fmla="*/ 22023 w 426364"/>
                <a:gd name="connsiteY542" fmla="*/ 78871 h 361598"/>
                <a:gd name="connsiteX543" fmla="*/ 21188 w 426364"/>
                <a:gd name="connsiteY543" fmla="*/ 77874 h 361598"/>
                <a:gd name="connsiteX544" fmla="*/ 20002 w 426364"/>
                <a:gd name="connsiteY544" fmla="*/ 77158 h 361598"/>
                <a:gd name="connsiteX545" fmla="*/ 18964 w 426364"/>
                <a:gd name="connsiteY545" fmla="*/ 76310 h 361598"/>
                <a:gd name="connsiteX546" fmla="*/ 17141 w 426364"/>
                <a:gd name="connsiteY546" fmla="*/ 69586 h 361598"/>
                <a:gd name="connsiteX547" fmla="*/ 16411 w 426364"/>
                <a:gd name="connsiteY547" fmla="*/ 67775 h 361598"/>
                <a:gd name="connsiteX548" fmla="*/ 16405 w 426364"/>
                <a:gd name="connsiteY548" fmla="*/ 67586 h 361598"/>
                <a:gd name="connsiteX549" fmla="*/ 16439 w 426364"/>
                <a:gd name="connsiteY549" fmla="*/ 67231 h 361598"/>
                <a:gd name="connsiteX550" fmla="*/ 16254 w 426364"/>
                <a:gd name="connsiteY550" fmla="*/ 65685 h 361598"/>
                <a:gd name="connsiteX551" fmla="*/ 17104 w 426364"/>
                <a:gd name="connsiteY551" fmla="*/ 64342 h 361598"/>
                <a:gd name="connsiteX552" fmla="*/ 17046 w 426364"/>
                <a:gd name="connsiteY552" fmla="*/ 63817 h 361598"/>
                <a:gd name="connsiteX553" fmla="*/ 15299 w 426364"/>
                <a:gd name="connsiteY553" fmla="*/ 62115 h 361598"/>
                <a:gd name="connsiteX554" fmla="*/ 12844 w 426364"/>
                <a:gd name="connsiteY554" fmla="*/ 60416 h 361598"/>
                <a:gd name="connsiteX555" fmla="*/ 12179 w 426364"/>
                <a:gd name="connsiteY555" fmla="*/ 60118 h 361598"/>
                <a:gd name="connsiteX556" fmla="*/ 12159 w 426364"/>
                <a:gd name="connsiteY556" fmla="*/ 58306 h 361598"/>
                <a:gd name="connsiteX557" fmla="*/ 12248 w 426364"/>
                <a:gd name="connsiteY557" fmla="*/ 56932 h 361598"/>
                <a:gd name="connsiteX558" fmla="*/ 12028 w 426364"/>
                <a:gd name="connsiteY558" fmla="*/ 55694 h 361598"/>
                <a:gd name="connsiteX559" fmla="*/ 11561 w 426364"/>
                <a:gd name="connsiteY559" fmla="*/ 54986 h 361598"/>
                <a:gd name="connsiteX560" fmla="*/ 11544 w 426364"/>
                <a:gd name="connsiteY560" fmla="*/ 54429 h 361598"/>
                <a:gd name="connsiteX561" fmla="*/ 12531 w 426364"/>
                <a:gd name="connsiteY561" fmla="*/ 53094 h 361598"/>
                <a:gd name="connsiteX562" fmla="*/ 11896 w 426364"/>
                <a:gd name="connsiteY562" fmla="*/ 52217 h 361598"/>
                <a:gd name="connsiteX563" fmla="*/ 8281 w 426364"/>
                <a:gd name="connsiteY563" fmla="*/ 50052 h 361598"/>
                <a:gd name="connsiteX564" fmla="*/ 6920 w 426364"/>
                <a:gd name="connsiteY564" fmla="*/ 48962 h 361598"/>
                <a:gd name="connsiteX565" fmla="*/ 4416 w 426364"/>
                <a:gd name="connsiteY565" fmla="*/ 48747 h 361598"/>
                <a:gd name="connsiteX566" fmla="*/ 4159 w 426364"/>
                <a:gd name="connsiteY566" fmla="*/ 48033 h 361598"/>
                <a:gd name="connsiteX567" fmla="*/ 4547 w 426364"/>
                <a:gd name="connsiteY567" fmla="*/ 46518 h 361598"/>
                <a:gd name="connsiteX568" fmla="*/ 5411 w 426364"/>
                <a:gd name="connsiteY568" fmla="*/ 44682 h 361598"/>
                <a:gd name="connsiteX569" fmla="*/ 6769 w 426364"/>
                <a:gd name="connsiteY569" fmla="*/ 42874 h 361598"/>
                <a:gd name="connsiteX570" fmla="*/ 7201 w 426364"/>
                <a:gd name="connsiteY570" fmla="*/ 41919 h 361598"/>
                <a:gd name="connsiteX571" fmla="*/ 7728 w 426364"/>
                <a:gd name="connsiteY571" fmla="*/ 40296 h 361598"/>
                <a:gd name="connsiteX572" fmla="*/ 7908 w 426364"/>
                <a:gd name="connsiteY572" fmla="*/ 39143 h 361598"/>
                <a:gd name="connsiteX573" fmla="*/ 9428 w 426364"/>
                <a:gd name="connsiteY573" fmla="*/ 37520 h 361598"/>
                <a:gd name="connsiteX574" fmla="*/ 9434 w 426364"/>
                <a:gd name="connsiteY574" fmla="*/ 37096 h 361598"/>
                <a:gd name="connsiteX575" fmla="*/ 9013 w 426364"/>
                <a:gd name="connsiteY575" fmla="*/ 36517 h 361598"/>
                <a:gd name="connsiteX576" fmla="*/ 7795 w 426364"/>
                <a:gd name="connsiteY576" fmla="*/ 36188 h 361598"/>
                <a:gd name="connsiteX577" fmla="*/ 6553 w 426364"/>
                <a:gd name="connsiteY577" fmla="*/ 36056 h 361598"/>
                <a:gd name="connsiteX578" fmla="*/ 6087 w 426364"/>
                <a:gd name="connsiteY578" fmla="*/ 35758 h 361598"/>
                <a:gd name="connsiteX579" fmla="*/ 5917 w 426364"/>
                <a:gd name="connsiteY579" fmla="*/ 34888 h 361598"/>
                <a:gd name="connsiteX580" fmla="*/ 6072 w 426364"/>
                <a:gd name="connsiteY580" fmla="*/ 31344 h 361598"/>
                <a:gd name="connsiteX581" fmla="*/ 5681 w 426364"/>
                <a:gd name="connsiteY581" fmla="*/ 29209 h 361598"/>
                <a:gd name="connsiteX582" fmla="*/ 5169 w 426364"/>
                <a:gd name="connsiteY582" fmla="*/ 27663 h 361598"/>
                <a:gd name="connsiteX583" fmla="*/ 5493 w 426364"/>
                <a:gd name="connsiteY583" fmla="*/ 24169 h 361598"/>
                <a:gd name="connsiteX584" fmla="*/ 4625 w 426364"/>
                <a:gd name="connsiteY584" fmla="*/ 23467 h 361598"/>
                <a:gd name="connsiteX585" fmla="*/ 3263 w 426364"/>
                <a:gd name="connsiteY585" fmla="*/ 21630 h 361598"/>
                <a:gd name="connsiteX586" fmla="*/ 2682 w 426364"/>
                <a:gd name="connsiteY586" fmla="*/ 20079 h 361598"/>
                <a:gd name="connsiteX587" fmla="*/ 2997 w 426364"/>
                <a:gd name="connsiteY587" fmla="*/ 19501 h 361598"/>
                <a:gd name="connsiteX588" fmla="*/ 3286 w 426364"/>
                <a:gd name="connsiteY588" fmla="*/ 18479 h 361598"/>
                <a:gd name="connsiteX589" fmla="*/ 3478 w 426364"/>
                <a:gd name="connsiteY589" fmla="*/ 17139 h 361598"/>
                <a:gd name="connsiteX590" fmla="*/ 3423 w 426364"/>
                <a:gd name="connsiteY590" fmla="*/ 16188 h 361598"/>
                <a:gd name="connsiteX591" fmla="*/ 2168 w 426364"/>
                <a:gd name="connsiteY591" fmla="*/ 15261 h 361598"/>
                <a:gd name="connsiteX592" fmla="*/ 1235 w 426364"/>
                <a:gd name="connsiteY592" fmla="*/ 14285 h 361598"/>
                <a:gd name="connsiteX593" fmla="*/ 1129 w 426364"/>
                <a:gd name="connsiteY593" fmla="*/ 13206 h 361598"/>
                <a:gd name="connsiteX594" fmla="*/ 758 w 426364"/>
                <a:gd name="connsiteY594" fmla="*/ 11888 h 361598"/>
                <a:gd name="connsiteX595" fmla="*/ 233 w 426364"/>
                <a:gd name="connsiteY595" fmla="*/ 10846 h 361598"/>
                <a:gd name="connsiteX596" fmla="*/ 0 w 426364"/>
                <a:gd name="connsiteY596" fmla="*/ 10161 h 361598"/>
                <a:gd name="connsiteX597" fmla="*/ 458 w 426364"/>
                <a:gd name="connsiteY597" fmla="*/ 9758 h 361598"/>
                <a:gd name="connsiteX598" fmla="*/ 2228 w 426364"/>
                <a:gd name="connsiteY598" fmla="*/ 9440 h 361598"/>
                <a:gd name="connsiteX599" fmla="*/ 4802 w 426364"/>
                <a:gd name="connsiteY599" fmla="*/ 9659 h 361598"/>
                <a:gd name="connsiteX600" fmla="*/ 6903 w 426364"/>
                <a:gd name="connsiteY600" fmla="*/ 9678 h 361598"/>
                <a:gd name="connsiteX601" fmla="*/ 8095 w 426364"/>
                <a:gd name="connsiteY601" fmla="*/ 9002 h 361598"/>
                <a:gd name="connsiteX602" fmla="*/ 9568 w 426364"/>
                <a:gd name="connsiteY602" fmla="*/ 2649 h 361598"/>
                <a:gd name="connsiteX603" fmla="*/ 10911 w 426364"/>
                <a:gd name="connsiteY603" fmla="*/ 971 h 361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</a:cxnLst>
              <a:rect l="l" t="t" r="r" b="b"/>
              <a:pathLst>
                <a:path w="426364" h="361598">
                  <a:moveTo>
                    <a:pt x="269563" y="316614"/>
                  </a:moveTo>
                  <a:lnTo>
                    <a:pt x="271009" y="317831"/>
                  </a:lnTo>
                  <a:lnTo>
                    <a:pt x="268988" y="318567"/>
                  </a:lnTo>
                  <a:lnTo>
                    <a:pt x="266930" y="321418"/>
                  </a:lnTo>
                  <a:lnTo>
                    <a:pt x="263821" y="323794"/>
                  </a:lnTo>
                  <a:lnTo>
                    <a:pt x="262491" y="323055"/>
                  </a:lnTo>
                  <a:lnTo>
                    <a:pt x="261463" y="323090"/>
                  </a:lnTo>
                  <a:lnTo>
                    <a:pt x="259243" y="324000"/>
                  </a:lnTo>
                  <a:lnTo>
                    <a:pt x="257636" y="324157"/>
                  </a:lnTo>
                  <a:lnTo>
                    <a:pt x="254729" y="325779"/>
                  </a:lnTo>
                  <a:lnTo>
                    <a:pt x="252089" y="326595"/>
                  </a:lnTo>
                  <a:lnTo>
                    <a:pt x="250247" y="326533"/>
                  </a:lnTo>
                  <a:lnTo>
                    <a:pt x="249608" y="326370"/>
                  </a:lnTo>
                  <a:lnTo>
                    <a:pt x="249243" y="325264"/>
                  </a:lnTo>
                  <a:lnTo>
                    <a:pt x="249275" y="324829"/>
                  </a:lnTo>
                  <a:lnTo>
                    <a:pt x="250391" y="325057"/>
                  </a:lnTo>
                  <a:lnTo>
                    <a:pt x="254477" y="323583"/>
                  </a:lnTo>
                  <a:lnTo>
                    <a:pt x="259582" y="321162"/>
                  </a:lnTo>
                  <a:lnTo>
                    <a:pt x="260067" y="320088"/>
                  </a:lnTo>
                  <a:lnTo>
                    <a:pt x="259247" y="318334"/>
                  </a:lnTo>
                  <a:lnTo>
                    <a:pt x="259472" y="317937"/>
                  </a:lnTo>
                  <a:lnTo>
                    <a:pt x="262778" y="318837"/>
                  </a:lnTo>
                  <a:lnTo>
                    <a:pt x="266470" y="317088"/>
                  </a:lnTo>
                  <a:close/>
                  <a:moveTo>
                    <a:pt x="12468" y="0"/>
                  </a:moveTo>
                  <a:lnTo>
                    <a:pt x="15517" y="2259"/>
                  </a:lnTo>
                  <a:lnTo>
                    <a:pt x="16780" y="3056"/>
                  </a:lnTo>
                  <a:lnTo>
                    <a:pt x="17555" y="3073"/>
                  </a:lnTo>
                  <a:lnTo>
                    <a:pt x="18020" y="3627"/>
                  </a:lnTo>
                  <a:lnTo>
                    <a:pt x="21602" y="8965"/>
                  </a:lnTo>
                  <a:lnTo>
                    <a:pt x="23183" y="10538"/>
                  </a:lnTo>
                  <a:lnTo>
                    <a:pt x="24098" y="11869"/>
                  </a:lnTo>
                  <a:lnTo>
                    <a:pt x="24721" y="13353"/>
                  </a:lnTo>
                  <a:lnTo>
                    <a:pt x="25813" y="14354"/>
                  </a:lnTo>
                  <a:lnTo>
                    <a:pt x="27258" y="14897"/>
                  </a:lnTo>
                  <a:lnTo>
                    <a:pt x="29018" y="16334"/>
                  </a:lnTo>
                  <a:lnTo>
                    <a:pt x="30205" y="17454"/>
                  </a:lnTo>
                  <a:lnTo>
                    <a:pt x="32205" y="19772"/>
                  </a:lnTo>
                  <a:lnTo>
                    <a:pt x="34313" y="20637"/>
                  </a:lnTo>
                  <a:lnTo>
                    <a:pt x="41983" y="22313"/>
                  </a:lnTo>
                  <a:lnTo>
                    <a:pt x="46241" y="23092"/>
                  </a:lnTo>
                  <a:lnTo>
                    <a:pt x="47472" y="23317"/>
                  </a:lnTo>
                  <a:lnTo>
                    <a:pt x="50737" y="22191"/>
                  </a:lnTo>
                  <a:lnTo>
                    <a:pt x="54559" y="22345"/>
                  </a:lnTo>
                  <a:lnTo>
                    <a:pt x="55978" y="22404"/>
                  </a:lnTo>
                  <a:lnTo>
                    <a:pt x="61028" y="17674"/>
                  </a:lnTo>
                  <a:lnTo>
                    <a:pt x="62562" y="16094"/>
                  </a:lnTo>
                  <a:lnTo>
                    <a:pt x="65576" y="15272"/>
                  </a:lnTo>
                  <a:lnTo>
                    <a:pt x="67269" y="13389"/>
                  </a:lnTo>
                  <a:lnTo>
                    <a:pt x="69988" y="11107"/>
                  </a:lnTo>
                  <a:lnTo>
                    <a:pt x="73307" y="8956"/>
                  </a:lnTo>
                  <a:lnTo>
                    <a:pt x="76352" y="7024"/>
                  </a:lnTo>
                  <a:lnTo>
                    <a:pt x="78688" y="5855"/>
                  </a:lnTo>
                  <a:lnTo>
                    <a:pt x="82912" y="3121"/>
                  </a:lnTo>
                  <a:lnTo>
                    <a:pt x="85552" y="2172"/>
                  </a:lnTo>
                  <a:lnTo>
                    <a:pt x="87844" y="2202"/>
                  </a:lnTo>
                  <a:lnTo>
                    <a:pt x="91275" y="5409"/>
                  </a:lnTo>
                  <a:lnTo>
                    <a:pt x="94164" y="8322"/>
                  </a:lnTo>
                  <a:lnTo>
                    <a:pt x="95058" y="9600"/>
                  </a:lnTo>
                  <a:lnTo>
                    <a:pt x="93622" y="10743"/>
                  </a:lnTo>
                  <a:lnTo>
                    <a:pt x="90942" y="11848"/>
                  </a:lnTo>
                  <a:lnTo>
                    <a:pt x="90430" y="12658"/>
                  </a:lnTo>
                  <a:lnTo>
                    <a:pt x="90243" y="13694"/>
                  </a:lnTo>
                  <a:lnTo>
                    <a:pt x="90349" y="14686"/>
                  </a:lnTo>
                  <a:lnTo>
                    <a:pt x="90709" y="15494"/>
                  </a:lnTo>
                  <a:lnTo>
                    <a:pt x="93996" y="17370"/>
                  </a:lnTo>
                  <a:lnTo>
                    <a:pt x="94369" y="18401"/>
                  </a:lnTo>
                  <a:lnTo>
                    <a:pt x="94393" y="19446"/>
                  </a:lnTo>
                  <a:lnTo>
                    <a:pt x="94017" y="20099"/>
                  </a:lnTo>
                  <a:lnTo>
                    <a:pt x="93285" y="20478"/>
                  </a:lnTo>
                  <a:lnTo>
                    <a:pt x="90998" y="21003"/>
                  </a:lnTo>
                  <a:lnTo>
                    <a:pt x="89042" y="21613"/>
                  </a:lnTo>
                  <a:lnTo>
                    <a:pt x="88362" y="22213"/>
                  </a:lnTo>
                  <a:lnTo>
                    <a:pt x="87773" y="22924"/>
                  </a:lnTo>
                  <a:lnTo>
                    <a:pt x="87857" y="23712"/>
                  </a:lnTo>
                  <a:lnTo>
                    <a:pt x="88448" y="24608"/>
                  </a:lnTo>
                  <a:lnTo>
                    <a:pt x="92460" y="27057"/>
                  </a:lnTo>
                  <a:lnTo>
                    <a:pt x="92914" y="27958"/>
                  </a:lnTo>
                  <a:lnTo>
                    <a:pt x="93713" y="29167"/>
                  </a:lnTo>
                  <a:lnTo>
                    <a:pt x="94691" y="29909"/>
                  </a:lnTo>
                  <a:lnTo>
                    <a:pt x="96365" y="30112"/>
                  </a:lnTo>
                  <a:lnTo>
                    <a:pt x="97163" y="30612"/>
                  </a:lnTo>
                  <a:lnTo>
                    <a:pt x="101040" y="35120"/>
                  </a:lnTo>
                  <a:lnTo>
                    <a:pt x="101988" y="35438"/>
                  </a:lnTo>
                  <a:lnTo>
                    <a:pt x="106516" y="34447"/>
                  </a:lnTo>
                  <a:lnTo>
                    <a:pt x="107144" y="34492"/>
                  </a:lnTo>
                  <a:lnTo>
                    <a:pt x="107187" y="35597"/>
                  </a:lnTo>
                  <a:lnTo>
                    <a:pt x="107865" y="41992"/>
                  </a:lnTo>
                  <a:lnTo>
                    <a:pt x="108390" y="45289"/>
                  </a:lnTo>
                  <a:lnTo>
                    <a:pt x="109161" y="48492"/>
                  </a:lnTo>
                  <a:lnTo>
                    <a:pt x="110385" y="51413"/>
                  </a:lnTo>
                  <a:lnTo>
                    <a:pt x="111837" y="54188"/>
                  </a:lnTo>
                  <a:lnTo>
                    <a:pt x="113832" y="55900"/>
                  </a:lnTo>
                  <a:lnTo>
                    <a:pt x="118282" y="57959"/>
                  </a:lnTo>
                  <a:lnTo>
                    <a:pt x="120441" y="58554"/>
                  </a:lnTo>
                  <a:lnTo>
                    <a:pt x="126121" y="58967"/>
                  </a:lnTo>
                  <a:lnTo>
                    <a:pt x="131731" y="59876"/>
                  </a:lnTo>
                  <a:lnTo>
                    <a:pt x="135044" y="60840"/>
                  </a:lnTo>
                  <a:lnTo>
                    <a:pt x="136056" y="61519"/>
                  </a:lnTo>
                  <a:lnTo>
                    <a:pt x="136892" y="62562"/>
                  </a:lnTo>
                  <a:lnTo>
                    <a:pt x="139630" y="67414"/>
                  </a:lnTo>
                  <a:lnTo>
                    <a:pt x="143949" y="70863"/>
                  </a:lnTo>
                  <a:lnTo>
                    <a:pt x="152666" y="76033"/>
                  </a:lnTo>
                  <a:lnTo>
                    <a:pt x="156892" y="77750"/>
                  </a:lnTo>
                  <a:lnTo>
                    <a:pt x="171120" y="80999"/>
                  </a:lnTo>
                  <a:lnTo>
                    <a:pt x="180587" y="80816"/>
                  </a:lnTo>
                  <a:lnTo>
                    <a:pt x="206768" y="74546"/>
                  </a:lnTo>
                  <a:lnTo>
                    <a:pt x="215470" y="72982"/>
                  </a:lnTo>
                  <a:lnTo>
                    <a:pt x="218737" y="72982"/>
                  </a:lnTo>
                  <a:lnTo>
                    <a:pt x="216791" y="74230"/>
                  </a:lnTo>
                  <a:lnTo>
                    <a:pt x="213520" y="74943"/>
                  </a:lnTo>
                  <a:lnTo>
                    <a:pt x="215493" y="75824"/>
                  </a:lnTo>
                  <a:lnTo>
                    <a:pt x="218534" y="75970"/>
                  </a:lnTo>
                  <a:lnTo>
                    <a:pt x="219946" y="75827"/>
                  </a:lnTo>
                  <a:lnTo>
                    <a:pt x="220966" y="75031"/>
                  </a:lnTo>
                  <a:lnTo>
                    <a:pt x="221134" y="73719"/>
                  </a:lnTo>
                  <a:lnTo>
                    <a:pt x="220987" y="72418"/>
                  </a:lnTo>
                  <a:lnTo>
                    <a:pt x="219545" y="66585"/>
                  </a:lnTo>
                  <a:lnTo>
                    <a:pt x="218709" y="62461"/>
                  </a:lnTo>
                  <a:lnTo>
                    <a:pt x="224844" y="62744"/>
                  </a:lnTo>
                  <a:lnTo>
                    <a:pt x="227236" y="62205"/>
                  </a:lnTo>
                  <a:lnTo>
                    <a:pt x="230749" y="60828"/>
                  </a:lnTo>
                  <a:lnTo>
                    <a:pt x="233408" y="59995"/>
                  </a:lnTo>
                  <a:lnTo>
                    <a:pt x="234751" y="59880"/>
                  </a:lnTo>
                  <a:lnTo>
                    <a:pt x="236072" y="59231"/>
                  </a:lnTo>
                  <a:lnTo>
                    <a:pt x="237085" y="58421"/>
                  </a:lnTo>
                  <a:lnTo>
                    <a:pt x="239372" y="52779"/>
                  </a:lnTo>
                  <a:lnTo>
                    <a:pt x="240510" y="51365"/>
                  </a:lnTo>
                  <a:lnTo>
                    <a:pt x="244390" y="48176"/>
                  </a:lnTo>
                  <a:lnTo>
                    <a:pt x="247688" y="46155"/>
                  </a:lnTo>
                  <a:lnTo>
                    <a:pt x="251141" y="44366"/>
                  </a:lnTo>
                  <a:lnTo>
                    <a:pt x="255509" y="43119"/>
                  </a:lnTo>
                  <a:lnTo>
                    <a:pt x="261322" y="43250"/>
                  </a:lnTo>
                  <a:lnTo>
                    <a:pt x="265943" y="43688"/>
                  </a:lnTo>
                  <a:lnTo>
                    <a:pt x="268617" y="43667"/>
                  </a:lnTo>
                  <a:lnTo>
                    <a:pt x="269890" y="43795"/>
                  </a:lnTo>
                  <a:lnTo>
                    <a:pt x="270847" y="43615"/>
                  </a:lnTo>
                  <a:lnTo>
                    <a:pt x="271398" y="43245"/>
                  </a:lnTo>
                  <a:lnTo>
                    <a:pt x="271998" y="40773"/>
                  </a:lnTo>
                  <a:lnTo>
                    <a:pt x="272944" y="39967"/>
                  </a:lnTo>
                  <a:lnTo>
                    <a:pt x="274574" y="39276"/>
                  </a:lnTo>
                  <a:lnTo>
                    <a:pt x="276861" y="39271"/>
                  </a:lnTo>
                  <a:lnTo>
                    <a:pt x="279645" y="39091"/>
                  </a:lnTo>
                  <a:lnTo>
                    <a:pt x="281960" y="39260"/>
                  </a:lnTo>
                  <a:lnTo>
                    <a:pt x="284879" y="40211"/>
                  </a:lnTo>
                  <a:lnTo>
                    <a:pt x="288690" y="40290"/>
                  </a:lnTo>
                  <a:lnTo>
                    <a:pt x="291223" y="40124"/>
                  </a:lnTo>
                  <a:lnTo>
                    <a:pt x="292696" y="41070"/>
                  </a:lnTo>
                  <a:lnTo>
                    <a:pt x="293756" y="42333"/>
                  </a:lnTo>
                  <a:lnTo>
                    <a:pt x="294272" y="43386"/>
                  </a:lnTo>
                  <a:lnTo>
                    <a:pt x="294389" y="44833"/>
                  </a:lnTo>
                  <a:lnTo>
                    <a:pt x="294367" y="45935"/>
                  </a:lnTo>
                  <a:lnTo>
                    <a:pt x="294765" y="46360"/>
                  </a:lnTo>
                  <a:lnTo>
                    <a:pt x="296315" y="47017"/>
                  </a:lnTo>
                  <a:lnTo>
                    <a:pt x="298464" y="47510"/>
                  </a:lnTo>
                  <a:lnTo>
                    <a:pt x="302655" y="48104"/>
                  </a:lnTo>
                  <a:lnTo>
                    <a:pt x="306583" y="49243"/>
                  </a:lnTo>
                  <a:lnTo>
                    <a:pt x="308626" y="50020"/>
                  </a:lnTo>
                  <a:lnTo>
                    <a:pt x="311461" y="51234"/>
                  </a:lnTo>
                  <a:lnTo>
                    <a:pt x="314840" y="54233"/>
                  </a:lnTo>
                  <a:lnTo>
                    <a:pt x="316091" y="54708"/>
                  </a:lnTo>
                  <a:lnTo>
                    <a:pt x="317607" y="55011"/>
                  </a:lnTo>
                  <a:lnTo>
                    <a:pt x="318691" y="54930"/>
                  </a:lnTo>
                  <a:lnTo>
                    <a:pt x="321228" y="53661"/>
                  </a:lnTo>
                  <a:lnTo>
                    <a:pt x="323433" y="54597"/>
                  </a:lnTo>
                  <a:lnTo>
                    <a:pt x="324551" y="54477"/>
                  </a:lnTo>
                  <a:lnTo>
                    <a:pt x="327086" y="53781"/>
                  </a:lnTo>
                  <a:lnTo>
                    <a:pt x="329779" y="54646"/>
                  </a:lnTo>
                  <a:lnTo>
                    <a:pt x="336493" y="57939"/>
                  </a:lnTo>
                  <a:lnTo>
                    <a:pt x="337229" y="57863"/>
                  </a:lnTo>
                  <a:lnTo>
                    <a:pt x="337840" y="58198"/>
                  </a:lnTo>
                  <a:lnTo>
                    <a:pt x="338397" y="58951"/>
                  </a:lnTo>
                  <a:lnTo>
                    <a:pt x="338790" y="59880"/>
                  </a:lnTo>
                  <a:lnTo>
                    <a:pt x="339291" y="62712"/>
                  </a:lnTo>
                  <a:lnTo>
                    <a:pt x="341228" y="64774"/>
                  </a:lnTo>
                  <a:lnTo>
                    <a:pt x="343599" y="66657"/>
                  </a:lnTo>
                  <a:lnTo>
                    <a:pt x="346363" y="67686"/>
                  </a:lnTo>
                  <a:lnTo>
                    <a:pt x="352144" y="70152"/>
                  </a:lnTo>
                  <a:lnTo>
                    <a:pt x="354668" y="72154"/>
                  </a:lnTo>
                  <a:lnTo>
                    <a:pt x="357223" y="75545"/>
                  </a:lnTo>
                  <a:lnTo>
                    <a:pt x="360371" y="80008"/>
                  </a:lnTo>
                  <a:lnTo>
                    <a:pt x="360827" y="80412"/>
                  </a:lnTo>
                  <a:lnTo>
                    <a:pt x="368933" y="80277"/>
                  </a:lnTo>
                  <a:lnTo>
                    <a:pt x="378037" y="80287"/>
                  </a:lnTo>
                  <a:lnTo>
                    <a:pt x="379149" y="82069"/>
                  </a:lnTo>
                  <a:lnTo>
                    <a:pt x="378937" y="85604"/>
                  </a:lnTo>
                  <a:lnTo>
                    <a:pt x="379264" y="89224"/>
                  </a:lnTo>
                  <a:lnTo>
                    <a:pt x="380080" y="91730"/>
                  </a:lnTo>
                  <a:lnTo>
                    <a:pt x="380088" y="94040"/>
                  </a:lnTo>
                  <a:lnTo>
                    <a:pt x="379430" y="95208"/>
                  </a:lnTo>
                  <a:lnTo>
                    <a:pt x="378918" y="96544"/>
                  </a:lnTo>
                  <a:lnTo>
                    <a:pt x="378773" y="97128"/>
                  </a:lnTo>
                  <a:lnTo>
                    <a:pt x="379944" y="97962"/>
                  </a:lnTo>
                  <a:lnTo>
                    <a:pt x="380967" y="99880"/>
                  </a:lnTo>
                  <a:lnTo>
                    <a:pt x="381112" y="102546"/>
                  </a:lnTo>
                  <a:lnTo>
                    <a:pt x="380600" y="103963"/>
                  </a:lnTo>
                  <a:lnTo>
                    <a:pt x="380674" y="105128"/>
                  </a:lnTo>
                  <a:lnTo>
                    <a:pt x="381186" y="106127"/>
                  </a:lnTo>
                  <a:lnTo>
                    <a:pt x="381624" y="107791"/>
                  </a:lnTo>
                  <a:lnTo>
                    <a:pt x="381550" y="108788"/>
                  </a:lnTo>
                  <a:lnTo>
                    <a:pt x="380821" y="109786"/>
                  </a:lnTo>
                  <a:lnTo>
                    <a:pt x="380382" y="111033"/>
                  </a:lnTo>
                  <a:lnTo>
                    <a:pt x="379797" y="112611"/>
                  </a:lnTo>
                  <a:lnTo>
                    <a:pt x="379577" y="113857"/>
                  </a:lnTo>
                  <a:lnTo>
                    <a:pt x="378480" y="114438"/>
                  </a:lnTo>
                  <a:lnTo>
                    <a:pt x="377603" y="114853"/>
                  </a:lnTo>
                  <a:lnTo>
                    <a:pt x="377750" y="116429"/>
                  </a:lnTo>
                  <a:lnTo>
                    <a:pt x="378188" y="117757"/>
                  </a:lnTo>
                  <a:lnTo>
                    <a:pt x="378700" y="119331"/>
                  </a:lnTo>
                  <a:lnTo>
                    <a:pt x="378115" y="120409"/>
                  </a:lnTo>
                  <a:lnTo>
                    <a:pt x="377750" y="121651"/>
                  </a:lnTo>
                  <a:lnTo>
                    <a:pt x="376944" y="123639"/>
                  </a:lnTo>
                  <a:lnTo>
                    <a:pt x="377163" y="125293"/>
                  </a:lnTo>
                  <a:lnTo>
                    <a:pt x="376286" y="126700"/>
                  </a:lnTo>
                  <a:lnTo>
                    <a:pt x="375189" y="127941"/>
                  </a:lnTo>
                  <a:lnTo>
                    <a:pt x="374459" y="128933"/>
                  </a:lnTo>
                  <a:lnTo>
                    <a:pt x="374312" y="130337"/>
                  </a:lnTo>
                  <a:lnTo>
                    <a:pt x="373507" y="130833"/>
                  </a:lnTo>
                  <a:lnTo>
                    <a:pt x="371971" y="131989"/>
                  </a:lnTo>
                  <a:lnTo>
                    <a:pt x="371021" y="132815"/>
                  </a:lnTo>
                  <a:lnTo>
                    <a:pt x="369631" y="133062"/>
                  </a:lnTo>
                  <a:lnTo>
                    <a:pt x="369339" y="133722"/>
                  </a:lnTo>
                  <a:lnTo>
                    <a:pt x="369557" y="134383"/>
                  </a:lnTo>
                  <a:lnTo>
                    <a:pt x="370142" y="134796"/>
                  </a:lnTo>
                  <a:lnTo>
                    <a:pt x="371056" y="136223"/>
                  </a:lnTo>
                  <a:lnTo>
                    <a:pt x="372947" y="138681"/>
                  </a:lnTo>
                  <a:lnTo>
                    <a:pt x="367491" y="138986"/>
                  </a:lnTo>
                  <a:lnTo>
                    <a:pt x="365888" y="141166"/>
                  </a:lnTo>
                  <a:lnTo>
                    <a:pt x="364020" y="144274"/>
                  </a:lnTo>
                  <a:lnTo>
                    <a:pt x="364934" y="150557"/>
                  </a:lnTo>
                  <a:lnTo>
                    <a:pt x="364025" y="153786"/>
                  </a:lnTo>
                  <a:lnTo>
                    <a:pt x="364575" y="155597"/>
                  </a:lnTo>
                  <a:lnTo>
                    <a:pt x="365968" y="156851"/>
                  </a:lnTo>
                  <a:lnTo>
                    <a:pt x="367754" y="157543"/>
                  </a:lnTo>
                  <a:lnTo>
                    <a:pt x="371112" y="157585"/>
                  </a:lnTo>
                  <a:lnTo>
                    <a:pt x="373334" y="158074"/>
                  </a:lnTo>
                  <a:lnTo>
                    <a:pt x="373556" y="158910"/>
                  </a:lnTo>
                  <a:lnTo>
                    <a:pt x="372280" y="160123"/>
                  </a:lnTo>
                  <a:lnTo>
                    <a:pt x="370237" y="162412"/>
                  </a:lnTo>
                  <a:lnTo>
                    <a:pt x="369158" y="163409"/>
                  </a:lnTo>
                  <a:lnTo>
                    <a:pt x="365675" y="168000"/>
                  </a:lnTo>
                  <a:lnTo>
                    <a:pt x="365705" y="169953"/>
                  </a:lnTo>
                  <a:lnTo>
                    <a:pt x="366028" y="171531"/>
                  </a:lnTo>
                  <a:lnTo>
                    <a:pt x="367532" y="176477"/>
                  </a:lnTo>
                  <a:lnTo>
                    <a:pt x="368989" y="181266"/>
                  </a:lnTo>
                  <a:lnTo>
                    <a:pt x="371617" y="189886"/>
                  </a:lnTo>
                  <a:lnTo>
                    <a:pt x="371572" y="191886"/>
                  </a:lnTo>
                  <a:lnTo>
                    <a:pt x="370747" y="196323"/>
                  </a:lnTo>
                  <a:lnTo>
                    <a:pt x="370693" y="199016"/>
                  </a:lnTo>
                  <a:lnTo>
                    <a:pt x="371065" y="202512"/>
                  </a:lnTo>
                  <a:lnTo>
                    <a:pt x="370784" y="204319"/>
                  </a:lnTo>
                  <a:lnTo>
                    <a:pt x="371427" y="208364"/>
                  </a:lnTo>
                  <a:lnTo>
                    <a:pt x="372166" y="208655"/>
                  </a:lnTo>
                  <a:lnTo>
                    <a:pt x="377840" y="209440"/>
                  </a:lnTo>
                  <a:lnTo>
                    <a:pt x="383053" y="210161"/>
                  </a:lnTo>
                  <a:lnTo>
                    <a:pt x="389989" y="211118"/>
                  </a:lnTo>
                  <a:lnTo>
                    <a:pt x="392088" y="213489"/>
                  </a:lnTo>
                  <a:lnTo>
                    <a:pt x="393396" y="218677"/>
                  </a:lnTo>
                  <a:lnTo>
                    <a:pt x="393321" y="222557"/>
                  </a:lnTo>
                  <a:lnTo>
                    <a:pt x="392731" y="224537"/>
                  </a:lnTo>
                  <a:lnTo>
                    <a:pt x="387763" y="230191"/>
                  </a:lnTo>
                  <a:lnTo>
                    <a:pt x="382725" y="235912"/>
                  </a:lnTo>
                  <a:lnTo>
                    <a:pt x="377694" y="241617"/>
                  </a:lnTo>
                  <a:lnTo>
                    <a:pt x="372476" y="247524"/>
                  </a:lnTo>
                  <a:lnTo>
                    <a:pt x="371928" y="248145"/>
                  </a:lnTo>
                  <a:lnTo>
                    <a:pt x="376148" y="252864"/>
                  </a:lnTo>
                  <a:lnTo>
                    <a:pt x="378756" y="255779"/>
                  </a:lnTo>
                  <a:lnTo>
                    <a:pt x="382431" y="259883"/>
                  </a:lnTo>
                  <a:lnTo>
                    <a:pt x="382898" y="260867"/>
                  </a:lnTo>
                  <a:lnTo>
                    <a:pt x="382863" y="262477"/>
                  </a:lnTo>
                  <a:lnTo>
                    <a:pt x="386638" y="268711"/>
                  </a:lnTo>
                  <a:lnTo>
                    <a:pt x="387968" y="271961"/>
                  </a:lnTo>
                  <a:lnTo>
                    <a:pt x="389168" y="273867"/>
                  </a:lnTo>
                  <a:lnTo>
                    <a:pt x="392153" y="276844"/>
                  </a:lnTo>
                  <a:lnTo>
                    <a:pt x="395068" y="279751"/>
                  </a:lnTo>
                  <a:lnTo>
                    <a:pt x="398234" y="281083"/>
                  </a:lnTo>
                  <a:lnTo>
                    <a:pt x="400391" y="281376"/>
                  </a:lnTo>
                  <a:lnTo>
                    <a:pt x="405310" y="282912"/>
                  </a:lnTo>
                  <a:lnTo>
                    <a:pt x="407098" y="284132"/>
                  </a:lnTo>
                  <a:lnTo>
                    <a:pt x="409987" y="287215"/>
                  </a:lnTo>
                  <a:lnTo>
                    <a:pt x="413371" y="286793"/>
                  </a:lnTo>
                  <a:lnTo>
                    <a:pt x="414075" y="286791"/>
                  </a:lnTo>
                  <a:lnTo>
                    <a:pt x="414265" y="287014"/>
                  </a:lnTo>
                  <a:lnTo>
                    <a:pt x="414364" y="288008"/>
                  </a:lnTo>
                  <a:lnTo>
                    <a:pt x="413861" y="292794"/>
                  </a:lnTo>
                  <a:lnTo>
                    <a:pt x="414803" y="297611"/>
                  </a:lnTo>
                  <a:lnTo>
                    <a:pt x="415459" y="304856"/>
                  </a:lnTo>
                  <a:lnTo>
                    <a:pt x="415213" y="306107"/>
                  </a:lnTo>
                  <a:lnTo>
                    <a:pt x="414403" y="308200"/>
                  </a:lnTo>
                  <a:lnTo>
                    <a:pt x="414364" y="309547"/>
                  </a:lnTo>
                  <a:lnTo>
                    <a:pt x="414148" y="310371"/>
                  </a:lnTo>
                  <a:lnTo>
                    <a:pt x="414375" y="310738"/>
                  </a:lnTo>
                  <a:lnTo>
                    <a:pt x="415451" y="311232"/>
                  </a:lnTo>
                  <a:lnTo>
                    <a:pt x="417746" y="311495"/>
                  </a:lnTo>
                  <a:lnTo>
                    <a:pt x="423304" y="310683"/>
                  </a:lnTo>
                  <a:lnTo>
                    <a:pt x="423952" y="310887"/>
                  </a:lnTo>
                  <a:lnTo>
                    <a:pt x="425282" y="311745"/>
                  </a:lnTo>
                  <a:lnTo>
                    <a:pt x="426284" y="313089"/>
                  </a:lnTo>
                  <a:lnTo>
                    <a:pt x="426364" y="313729"/>
                  </a:lnTo>
                  <a:lnTo>
                    <a:pt x="424969" y="314844"/>
                  </a:lnTo>
                  <a:lnTo>
                    <a:pt x="424734" y="316736"/>
                  </a:lnTo>
                  <a:lnTo>
                    <a:pt x="425153" y="319563"/>
                  </a:lnTo>
                  <a:lnTo>
                    <a:pt x="424958" y="319908"/>
                  </a:lnTo>
                  <a:lnTo>
                    <a:pt x="423732" y="320553"/>
                  </a:lnTo>
                  <a:lnTo>
                    <a:pt x="423332" y="324638"/>
                  </a:lnTo>
                  <a:lnTo>
                    <a:pt x="423106" y="325014"/>
                  </a:lnTo>
                  <a:lnTo>
                    <a:pt x="421672" y="325428"/>
                  </a:lnTo>
                  <a:lnTo>
                    <a:pt x="414898" y="325153"/>
                  </a:lnTo>
                  <a:lnTo>
                    <a:pt x="414122" y="325265"/>
                  </a:lnTo>
                  <a:lnTo>
                    <a:pt x="411577" y="326345"/>
                  </a:lnTo>
                  <a:lnTo>
                    <a:pt x="407217" y="327119"/>
                  </a:lnTo>
                  <a:lnTo>
                    <a:pt x="406019" y="327556"/>
                  </a:lnTo>
                  <a:lnTo>
                    <a:pt x="404410" y="328784"/>
                  </a:lnTo>
                  <a:lnTo>
                    <a:pt x="403246" y="330286"/>
                  </a:lnTo>
                  <a:lnTo>
                    <a:pt x="403023" y="331667"/>
                  </a:lnTo>
                  <a:lnTo>
                    <a:pt x="402796" y="331956"/>
                  </a:lnTo>
                  <a:lnTo>
                    <a:pt x="400289" y="331673"/>
                  </a:lnTo>
                  <a:lnTo>
                    <a:pt x="399473" y="332875"/>
                  </a:lnTo>
                  <a:lnTo>
                    <a:pt x="394625" y="334672"/>
                  </a:lnTo>
                  <a:lnTo>
                    <a:pt x="394019" y="335062"/>
                  </a:lnTo>
                  <a:lnTo>
                    <a:pt x="393302" y="336498"/>
                  </a:lnTo>
                  <a:lnTo>
                    <a:pt x="392656" y="340508"/>
                  </a:lnTo>
                  <a:lnTo>
                    <a:pt x="392073" y="344113"/>
                  </a:lnTo>
                  <a:lnTo>
                    <a:pt x="391704" y="344639"/>
                  </a:lnTo>
                  <a:lnTo>
                    <a:pt x="390177" y="345871"/>
                  </a:lnTo>
                  <a:lnTo>
                    <a:pt x="390026" y="346289"/>
                  </a:lnTo>
                  <a:lnTo>
                    <a:pt x="390238" y="347680"/>
                  </a:lnTo>
                  <a:lnTo>
                    <a:pt x="389546" y="350224"/>
                  </a:lnTo>
                  <a:lnTo>
                    <a:pt x="389000" y="357264"/>
                  </a:lnTo>
                  <a:lnTo>
                    <a:pt x="388391" y="359238"/>
                  </a:lnTo>
                  <a:lnTo>
                    <a:pt x="387180" y="359399"/>
                  </a:lnTo>
                  <a:lnTo>
                    <a:pt x="386234" y="360385"/>
                  </a:lnTo>
                  <a:lnTo>
                    <a:pt x="384507" y="361598"/>
                  </a:lnTo>
                  <a:lnTo>
                    <a:pt x="380764" y="360659"/>
                  </a:lnTo>
                  <a:lnTo>
                    <a:pt x="377793" y="359673"/>
                  </a:lnTo>
                  <a:lnTo>
                    <a:pt x="367959" y="357356"/>
                  </a:lnTo>
                  <a:lnTo>
                    <a:pt x="366881" y="356234"/>
                  </a:lnTo>
                  <a:lnTo>
                    <a:pt x="366271" y="354261"/>
                  </a:lnTo>
                  <a:lnTo>
                    <a:pt x="364569" y="353705"/>
                  </a:lnTo>
                  <a:lnTo>
                    <a:pt x="362129" y="356664"/>
                  </a:lnTo>
                  <a:lnTo>
                    <a:pt x="353826" y="354954"/>
                  </a:lnTo>
                  <a:lnTo>
                    <a:pt x="351004" y="355480"/>
                  </a:lnTo>
                  <a:lnTo>
                    <a:pt x="349263" y="354559"/>
                  </a:lnTo>
                  <a:lnTo>
                    <a:pt x="344789" y="354502"/>
                  </a:lnTo>
                  <a:lnTo>
                    <a:pt x="341252" y="352657"/>
                  </a:lnTo>
                  <a:lnTo>
                    <a:pt x="336193" y="353926"/>
                  </a:lnTo>
                  <a:lnTo>
                    <a:pt x="332187" y="354172"/>
                  </a:lnTo>
                  <a:lnTo>
                    <a:pt x="326697" y="350933"/>
                  </a:lnTo>
                  <a:lnTo>
                    <a:pt x="320794" y="350040"/>
                  </a:lnTo>
                  <a:lnTo>
                    <a:pt x="316004" y="350313"/>
                  </a:lnTo>
                  <a:lnTo>
                    <a:pt x="313542" y="350060"/>
                  </a:lnTo>
                  <a:lnTo>
                    <a:pt x="309550" y="348898"/>
                  </a:lnTo>
                  <a:lnTo>
                    <a:pt x="307654" y="347697"/>
                  </a:lnTo>
                  <a:lnTo>
                    <a:pt x="304546" y="348609"/>
                  </a:lnTo>
                  <a:lnTo>
                    <a:pt x="303141" y="346912"/>
                  </a:lnTo>
                  <a:lnTo>
                    <a:pt x="294341" y="345337"/>
                  </a:lnTo>
                  <a:lnTo>
                    <a:pt x="292713" y="342329"/>
                  </a:lnTo>
                  <a:lnTo>
                    <a:pt x="291489" y="339530"/>
                  </a:lnTo>
                  <a:lnTo>
                    <a:pt x="291396" y="336651"/>
                  </a:lnTo>
                  <a:lnTo>
                    <a:pt x="289250" y="331615"/>
                  </a:lnTo>
                  <a:lnTo>
                    <a:pt x="288535" y="324294"/>
                  </a:lnTo>
                  <a:lnTo>
                    <a:pt x="287740" y="321430"/>
                  </a:lnTo>
                  <a:lnTo>
                    <a:pt x="286550" y="318940"/>
                  </a:lnTo>
                  <a:lnTo>
                    <a:pt x="284963" y="316821"/>
                  </a:lnTo>
                  <a:lnTo>
                    <a:pt x="282806" y="314552"/>
                  </a:lnTo>
                  <a:lnTo>
                    <a:pt x="280932" y="313654"/>
                  </a:lnTo>
                  <a:lnTo>
                    <a:pt x="272707" y="311927"/>
                  </a:lnTo>
                  <a:lnTo>
                    <a:pt x="271119" y="312156"/>
                  </a:lnTo>
                  <a:lnTo>
                    <a:pt x="267442" y="313287"/>
                  </a:lnTo>
                  <a:lnTo>
                    <a:pt x="263529" y="315798"/>
                  </a:lnTo>
                  <a:lnTo>
                    <a:pt x="257098" y="317226"/>
                  </a:lnTo>
                  <a:lnTo>
                    <a:pt x="255801" y="318306"/>
                  </a:lnTo>
                  <a:lnTo>
                    <a:pt x="254185" y="320735"/>
                  </a:lnTo>
                  <a:lnTo>
                    <a:pt x="252095" y="322145"/>
                  </a:lnTo>
                  <a:lnTo>
                    <a:pt x="249223" y="321780"/>
                  </a:lnTo>
                  <a:lnTo>
                    <a:pt x="246137" y="323218"/>
                  </a:lnTo>
                  <a:lnTo>
                    <a:pt x="240415" y="327222"/>
                  </a:lnTo>
                  <a:lnTo>
                    <a:pt x="237396" y="328447"/>
                  </a:lnTo>
                  <a:lnTo>
                    <a:pt x="234867" y="328355"/>
                  </a:lnTo>
                  <a:lnTo>
                    <a:pt x="232151" y="326452"/>
                  </a:lnTo>
                  <a:lnTo>
                    <a:pt x="226070" y="323901"/>
                  </a:lnTo>
                  <a:lnTo>
                    <a:pt x="222140" y="323052"/>
                  </a:lnTo>
                  <a:lnTo>
                    <a:pt x="216683" y="323638"/>
                  </a:lnTo>
                  <a:lnTo>
                    <a:pt x="214101" y="323214"/>
                  </a:lnTo>
                  <a:lnTo>
                    <a:pt x="209708" y="320216"/>
                  </a:lnTo>
                  <a:lnTo>
                    <a:pt x="208555" y="318041"/>
                  </a:lnTo>
                  <a:lnTo>
                    <a:pt x="206051" y="316586"/>
                  </a:lnTo>
                  <a:lnTo>
                    <a:pt x="198108" y="313315"/>
                  </a:lnTo>
                  <a:lnTo>
                    <a:pt x="191675" y="308995"/>
                  </a:lnTo>
                  <a:lnTo>
                    <a:pt x="190495" y="307360"/>
                  </a:lnTo>
                  <a:lnTo>
                    <a:pt x="189708" y="304943"/>
                  </a:lnTo>
                  <a:lnTo>
                    <a:pt x="186906" y="302005"/>
                  </a:lnTo>
                  <a:lnTo>
                    <a:pt x="180626" y="299599"/>
                  </a:lnTo>
                  <a:lnTo>
                    <a:pt x="177063" y="297041"/>
                  </a:lnTo>
                  <a:lnTo>
                    <a:pt x="172889" y="296471"/>
                  </a:lnTo>
                  <a:lnTo>
                    <a:pt x="169004" y="296550"/>
                  </a:lnTo>
                  <a:lnTo>
                    <a:pt x="167296" y="296090"/>
                  </a:lnTo>
                  <a:lnTo>
                    <a:pt x="165737" y="294995"/>
                  </a:lnTo>
                  <a:lnTo>
                    <a:pt x="160438" y="289701"/>
                  </a:lnTo>
                  <a:lnTo>
                    <a:pt x="160375" y="287606"/>
                  </a:lnTo>
                  <a:lnTo>
                    <a:pt x="157110" y="282423"/>
                  </a:lnTo>
                  <a:lnTo>
                    <a:pt x="156346" y="280577"/>
                  </a:lnTo>
                  <a:lnTo>
                    <a:pt x="155642" y="275440"/>
                  </a:lnTo>
                  <a:lnTo>
                    <a:pt x="154739" y="274096"/>
                  </a:lnTo>
                  <a:lnTo>
                    <a:pt x="151329" y="271979"/>
                  </a:lnTo>
                  <a:lnTo>
                    <a:pt x="150799" y="270593"/>
                  </a:lnTo>
                  <a:lnTo>
                    <a:pt x="151524" y="268751"/>
                  </a:lnTo>
                  <a:lnTo>
                    <a:pt x="151524" y="267348"/>
                  </a:lnTo>
                  <a:lnTo>
                    <a:pt x="149749" y="266031"/>
                  </a:lnTo>
                  <a:lnTo>
                    <a:pt x="147089" y="265329"/>
                  </a:lnTo>
                  <a:lnTo>
                    <a:pt x="146445" y="263748"/>
                  </a:lnTo>
                  <a:lnTo>
                    <a:pt x="146929" y="260672"/>
                  </a:lnTo>
                  <a:lnTo>
                    <a:pt x="146523" y="258738"/>
                  </a:lnTo>
                  <a:lnTo>
                    <a:pt x="144178" y="255651"/>
                  </a:lnTo>
                  <a:lnTo>
                    <a:pt x="140714" y="252487"/>
                  </a:lnTo>
                  <a:lnTo>
                    <a:pt x="137248" y="247801"/>
                  </a:lnTo>
                  <a:lnTo>
                    <a:pt x="135894" y="246632"/>
                  </a:lnTo>
                  <a:lnTo>
                    <a:pt x="135009" y="243562"/>
                  </a:lnTo>
                  <a:lnTo>
                    <a:pt x="133741" y="239918"/>
                  </a:lnTo>
                  <a:lnTo>
                    <a:pt x="131785" y="239655"/>
                  </a:lnTo>
                  <a:lnTo>
                    <a:pt x="122316" y="244025"/>
                  </a:lnTo>
                  <a:lnTo>
                    <a:pt x="119554" y="241567"/>
                  </a:lnTo>
                  <a:lnTo>
                    <a:pt x="111247" y="237290"/>
                  </a:lnTo>
                  <a:lnTo>
                    <a:pt x="110668" y="236647"/>
                  </a:lnTo>
                  <a:lnTo>
                    <a:pt x="110090" y="235665"/>
                  </a:lnTo>
                  <a:lnTo>
                    <a:pt x="111130" y="235098"/>
                  </a:lnTo>
                  <a:lnTo>
                    <a:pt x="112173" y="234867"/>
                  </a:lnTo>
                  <a:lnTo>
                    <a:pt x="114255" y="235629"/>
                  </a:lnTo>
                  <a:lnTo>
                    <a:pt x="115514" y="234729"/>
                  </a:lnTo>
                  <a:lnTo>
                    <a:pt x="115011" y="233277"/>
                  </a:lnTo>
                  <a:lnTo>
                    <a:pt x="112929" y="232376"/>
                  </a:lnTo>
                  <a:lnTo>
                    <a:pt x="110090" y="232446"/>
                  </a:lnTo>
                  <a:lnTo>
                    <a:pt x="110867" y="233807"/>
                  </a:lnTo>
                  <a:lnTo>
                    <a:pt x="108207" y="235098"/>
                  </a:lnTo>
                  <a:lnTo>
                    <a:pt x="107641" y="236788"/>
                  </a:lnTo>
                  <a:lnTo>
                    <a:pt x="108027" y="238878"/>
                  </a:lnTo>
                  <a:lnTo>
                    <a:pt x="108258" y="241799"/>
                  </a:lnTo>
                  <a:lnTo>
                    <a:pt x="107174" y="243215"/>
                  </a:lnTo>
                  <a:lnTo>
                    <a:pt x="106341" y="243867"/>
                  </a:lnTo>
                  <a:lnTo>
                    <a:pt x="102769" y="244040"/>
                  </a:lnTo>
                  <a:lnTo>
                    <a:pt x="101102" y="245330"/>
                  </a:lnTo>
                  <a:lnTo>
                    <a:pt x="100018" y="245637"/>
                  </a:lnTo>
                  <a:lnTo>
                    <a:pt x="98515" y="244634"/>
                  </a:lnTo>
                  <a:lnTo>
                    <a:pt x="97544" y="243816"/>
                  </a:lnTo>
                  <a:lnTo>
                    <a:pt x="96749" y="242072"/>
                  </a:lnTo>
                  <a:lnTo>
                    <a:pt x="96505" y="240855"/>
                  </a:lnTo>
                  <a:lnTo>
                    <a:pt x="96810" y="240165"/>
                  </a:lnTo>
                  <a:lnTo>
                    <a:pt x="96395" y="239151"/>
                  </a:lnTo>
                  <a:lnTo>
                    <a:pt x="95255" y="237811"/>
                  </a:lnTo>
                  <a:lnTo>
                    <a:pt x="94102" y="237074"/>
                  </a:lnTo>
                  <a:lnTo>
                    <a:pt x="92935" y="236940"/>
                  </a:lnTo>
                  <a:lnTo>
                    <a:pt x="91968" y="236123"/>
                  </a:lnTo>
                  <a:lnTo>
                    <a:pt x="91197" y="234623"/>
                  </a:lnTo>
                  <a:lnTo>
                    <a:pt x="89396" y="233633"/>
                  </a:lnTo>
                  <a:lnTo>
                    <a:pt x="88265" y="233440"/>
                  </a:lnTo>
                  <a:lnTo>
                    <a:pt x="88232" y="228805"/>
                  </a:lnTo>
                  <a:lnTo>
                    <a:pt x="88200" y="224739"/>
                  </a:lnTo>
                  <a:lnTo>
                    <a:pt x="88170" y="220694"/>
                  </a:lnTo>
                  <a:lnTo>
                    <a:pt x="84315" y="220532"/>
                  </a:lnTo>
                  <a:lnTo>
                    <a:pt x="80847" y="220387"/>
                  </a:lnTo>
                  <a:lnTo>
                    <a:pt x="80847" y="216997"/>
                  </a:lnTo>
                  <a:lnTo>
                    <a:pt x="80847" y="210675"/>
                  </a:lnTo>
                  <a:lnTo>
                    <a:pt x="82493" y="205768"/>
                  </a:lnTo>
                  <a:lnTo>
                    <a:pt x="84175" y="201044"/>
                  </a:lnTo>
                  <a:lnTo>
                    <a:pt x="81623" y="197565"/>
                  </a:lnTo>
                  <a:lnTo>
                    <a:pt x="78902" y="193849"/>
                  </a:lnTo>
                  <a:lnTo>
                    <a:pt x="77142" y="192307"/>
                  </a:lnTo>
                  <a:lnTo>
                    <a:pt x="75069" y="187659"/>
                  </a:lnTo>
                  <a:lnTo>
                    <a:pt x="74032" y="185603"/>
                  </a:lnTo>
                  <a:lnTo>
                    <a:pt x="73114" y="184821"/>
                  </a:lnTo>
                  <a:lnTo>
                    <a:pt x="72128" y="184366"/>
                  </a:lnTo>
                  <a:lnTo>
                    <a:pt x="68506" y="184548"/>
                  </a:lnTo>
                  <a:lnTo>
                    <a:pt x="65127" y="182043"/>
                  </a:lnTo>
                  <a:lnTo>
                    <a:pt x="61158" y="179099"/>
                  </a:lnTo>
                  <a:lnTo>
                    <a:pt x="56312" y="175502"/>
                  </a:lnTo>
                  <a:lnTo>
                    <a:pt x="52048" y="173151"/>
                  </a:lnTo>
                  <a:lnTo>
                    <a:pt x="50305" y="172633"/>
                  </a:lnTo>
                  <a:lnTo>
                    <a:pt x="46204" y="172449"/>
                  </a:lnTo>
                  <a:lnTo>
                    <a:pt x="45768" y="172000"/>
                  </a:lnTo>
                  <a:lnTo>
                    <a:pt x="45489" y="170708"/>
                  </a:lnTo>
                  <a:lnTo>
                    <a:pt x="45496" y="169268"/>
                  </a:lnTo>
                  <a:lnTo>
                    <a:pt x="46830" y="167096"/>
                  </a:lnTo>
                  <a:lnTo>
                    <a:pt x="46936" y="165731"/>
                  </a:lnTo>
                  <a:lnTo>
                    <a:pt x="44150" y="161127"/>
                  </a:lnTo>
                  <a:lnTo>
                    <a:pt x="43291" y="159780"/>
                  </a:lnTo>
                  <a:lnTo>
                    <a:pt x="40907" y="159238"/>
                  </a:lnTo>
                  <a:lnTo>
                    <a:pt x="41382" y="157908"/>
                  </a:lnTo>
                  <a:lnTo>
                    <a:pt x="41382" y="157019"/>
                  </a:lnTo>
                  <a:lnTo>
                    <a:pt x="41043" y="156319"/>
                  </a:lnTo>
                  <a:lnTo>
                    <a:pt x="40492" y="155983"/>
                  </a:lnTo>
                  <a:lnTo>
                    <a:pt x="39793" y="155947"/>
                  </a:lnTo>
                  <a:lnTo>
                    <a:pt x="37923" y="156492"/>
                  </a:lnTo>
                  <a:lnTo>
                    <a:pt x="36495" y="154412"/>
                  </a:lnTo>
                  <a:lnTo>
                    <a:pt x="32062" y="148483"/>
                  </a:lnTo>
                  <a:lnTo>
                    <a:pt x="30642" y="147763"/>
                  </a:lnTo>
                  <a:lnTo>
                    <a:pt x="30378" y="147356"/>
                  </a:lnTo>
                  <a:lnTo>
                    <a:pt x="31462" y="145536"/>
                  </a:lnTo>
                  <a:lnTo>
                    <a:pt x="33287" y="142837"/>
                  </a:lnTo>
                  <a:lnTo>
                    <a:pt x="33600" y="141269"/>
                  </a:lnTo>
                  <a:lnTo>
                    <a:pt x="33248" y="139547"/>
                  </a:lnTo>
                  <a:lnTo>
                    <a:pt x="31274" y="136295"/>
                  </a:lnTo>
                  <a:lnTo>
                    <a:pt x="31756" y="134918"/>
                  </a:lnTo>
                  <a:lnTo>
                    <a:pt x="32605" y="133332"/>
                  </a:lnTo>
                  <a:lnTo>
                    <a:pt x="32671" y="132141"/>
                  </a:lnTo>
                  <a:lnTo>
                    <a:pt x="33999" y="132318"/>
                  </a:lnTo>
                  <a:lnTo>
                    <a:pt x="35694" y="132335"/>
                  </a:lnTo>
                  <a:lnTo>
                    <a:pt x="36226" y="131365"/>
                  </a:lnTo>
                  <a:lnTo>
                    <a:pt x="36193" y="127965"/>
                  </a:lnTo>
                  <a:lnTo>
                    <a:pt x="36593" y="126724"/>
                  </a:lnTo>
                  <a:lnTo>
                    <a:pt x="41961" y="120965"/>
                  </a:lnTo>
                  <a:lnTo>
                    <a:pt x="44634" y="119671"/>
                  </a:lnTo>
                  <a:lnTo>
                    <a:pt x="46668" y="118481"/>
                  </a:lnTo>
                  <a:lnTo>
                    <a:pt x="47130" y="116749"/>
                  </a:lnTo>
                  <a:lnTo>
                    <a:pt x="46711" y="115857"/>
                  </a:lnTo>
                  <a:lnTo>
                    <a:pt x="46314" y="114553"/>
                  </a:lnTo>
                  <a:lnTo>
                    <a:pt x="46189" y="113614"/>
                  </a:lnTo>
                  <a:lnTo>
                    <a:pt x="43945" y="111024"/>
                  </a:lnTo>
                  <a:lnTo>
                    <a:pt x="43166" y="109717"/>
                  </a:lnTo>
                  <a:lnTo>
                    <a:pt x="43071" y="108527"/>
                  </a:lnTo>
                  <a:lnTo>
                    <a:pt x="43600" y="106416"/>
                  </a:lnTo>
                  <a:lnTo>
                    <a:pt x="44537" y="104779"/>
                  </a:lnTo>
                  <a:lnTo>
                    <a:pt x="47711" y="103816"/>
                  </a:lnTo>
                  <a:lnTo>
                    <a:pt x="49514" y="102992"/>
                  </a:lnTo>
                  <a:lnTo>
                    <a:pt x="49756" y="102258"/>
                  </a:lnTo>
                  <a:lnTo>
                    <a:pt x="47413" y="101067"/>
                  </a:lnTo>
                  <a:lnTo>
                    <a:pt x="42414" y="100692"/>
                  </a:lnTo>
                  <a:lnTo>
                    <a:pt x="38765" y="101034"/>
                  </a:lnTo>
                  <a:lnTo>
                    <a:pt x="37595" y="100660"/>
                  </a:lnTo>
                  <a:lnTo>
                    <a:pt x="35861" y="98349"/>
                  </a:lnTo>
                  <a:lnTo>
                    <a:pt x="34016" y="97117"/>
                  </a:lnTo>
                  <a:lnTo>
                    <a:pt x="32296" y="96326"/>
                  </a:lnTo>
                  <a:lnTo>
                    <a:pt x="30614" y="96471"/>
                  </a:lnTo>
                  <a:lnTo>
                    <a:pt x="29594" y="96155"/>
                  </a:lnTo>
                  <a:lnTo>
                    <a:pt x="29357" y="95163"/>
                  </a:lnTo>
                  <a:lnTo>
                    <a:pt x="26929" y="87547"/>
                  </a:lnTo>
                  <a:lnTo>
                    <a:pt x="26165" y="86504"/>
                  </a:lnTo>
                  <a:lnTo>
                    <a:pt x="25031" y="86246"/>
                  </a:lnTo>
                  <a:lnTo>
                    <a:pt x="24083" y="86198"/>
                  </a:lnTo>
                  <a:lnTo>
                    <a:pt x="23451" y="85673"/>
                  </a:lnTo>
                  <a:lnTo>
                    <a:pt x="22773" y="84619"/>
                  </a:lnTo>
                  <a:lnTo>
                    <a:pt x="22285" y="83240"/>
                  </a:lnTo>
                  <a:lnTo>
                    <a:pt x="22248" y="81428"/>
                  </a:lnTo>
                  <a:lnTo>
                    <a:pt x="22349" y="79873"/>
                  </a:lnTo>
                  <a:lnTo>
                    <a:pt x="22023" y="78871"/>
                  </a:lnTo>
                  <a:lnTo>
                    <a:pt x="21188" y="77874"/>
                  </a:lnTo>
                  <a:lnTo>
                    <a:pt x="20002" y="77158"/>
                  </a:lnTo>
                  <a:lnTo>
                    <a:pt x="18964" y="76310"/>
                  </a:lnTo>
                  <a:lnTo>
                    <a:pt x="17141" y="69586"/>
                  </a:lnTo>
                  <a:lnTo>
                    <a:pt x="16411" y="67775"/>
                  </a:lnTo>
                  <a:lnTo>
                    <a:pt x="16405" y="67586"/>
                  </a:lnTo>
                  <a:lnTo>
                    <a:pt x="16439" y="67231"/>
                  </a:lnTo>
                  <a:lnTo>
                    <a:pt x="16254" y="65685"/>
                  </a:lnTo>
                  <a:lnTo>
                    <a:pt x="17104" y="64342"/>
                  </a:lnTo>
                  <a:lnTo>
                    <a:pt x="17046" y="63817"/>
                  </a:lnTo>
                  <a:lnTo>
                    <a:pt x="15299" y="62115"/>
                  </a:lnTo>
                  <a:lnTo>
                    <a:pt x="12844" y="60416"/>
                  </a:lnTo>
                  <a:lnTo>
                    <a:pt x="12179" y="60118"/>
                  </a:lnTo>
                  <a:lnTo>
                    <a:pt x="12159" y="58306"/>
                  </a:lnTo>
                  <a:lnTo>
                    <a:pt x="12248" y="56932"/>
                  </a:lnTo>
                  <a:lnTo>
                    <a:pt x="12028" y="55694"/>
                  </a:lnTo>
                  <a:lnTo>
                    <a:pt x="11561" y="54986"/>
                  </a:lnTo>
                  <a:lnTo>
                    <a:pt x="11544" y="54429"/>
                  </a:lnTo>
                  <a:lnTo>
                    <a:pt x="12531" y="53094"/>
                  </a:lnTo>
                  <a:lnTo>
                    <a:pt x="11896" y="52217"/>
                  </a:lnTo>
                  <a:lnTo>
                    <a:pt x="8281" y="50052"/>
                  </a:lnTo>
                  <a:lnTo>
                    <a:pt x="6920" y="48962"/>
                  </a:lnTo>
                  <a:lnTo>
                    <a:pt x="4416" y="48747"/>
                  </a:lnTo>
                  <a:lnTo>
                    <a:pt x="4159" y="48033"/>
                  </a:lnTo>
                  <a:lnTo>
                    <a:pt x="4547" y="46518"/>
                  </a:lnTo>
                  <a:lnTo>
                    <a:pt x="5411" y="44682"/>
                  </a:lnTo>
                  <a:lnTo>
                    <a:pt x="6769" y="42874"/>
                  </a:lnTo>
                  <a:lnTo>
                    <a:pt x="7201" y="41919"/>
                  </a:lnTo>
                  <a:lnTo>
                    <a:pt x="7728" y="40296"/>
                  </a:lnTo>
                  <a:lnTo>
                    <a:pt x="7908" y="39143"/>
                  </a:lnTo>
                  <a:lnTo>
                    <a:pt x="9428" y="37520"/>
                  </a:lnTo>
                  <a:lnTo>
                    <a:pt x="9434" y="37096"/>
                  </a:lnTo>
                  <a:lnTo>
                    <a:pt x="9013" y="36517"/>
                  </a:lnTo>
                  <a:lnTo>
                    <a:pt x="7795" y="36188"/>
                  </a:lnTo>
                  <a:lnTo>
                    <a:pt x="6553" y="36056"/>
                  </a:lnTo>
                  <a:lnTo>
                    <a:pt x="6087" y="35758"/>
                  </a:lnTo>
                  <a:lnTo>
                    <a:pt x="5917" y="34888"/>
                  </a:lnTo>
                  <a:lnTo>
                    <a:pt x="6072" y="31344"/>
                  </a:lnTo>
                  <a:lnTo>
                    <a:pt x="5681" y="29209"/>
                  </a:lnTo>
                  <a:lnTo>
                    <a:pt x="5169" y="27663"/>
                  </a:lnTo>
                  <a:lnTo>
                    <a:pt x="5493" y="24169"/>
                  </a:lnTo>
                  <a:lnTo>
                    <a:pt x="4625" y="23467"/>
                  </a:lnTo>
                  <a:lnTo>
                    <a:pt x="3263" y="21630"/>
                  </a:lnTo>
                  <a:lnTo>
                    <a:pt x="2682" y="20079"/>
                  </a:lnTo>
                  <a:lnTo>
                    <a:pt x="2997" y="19501"/>
                  </a:lnTo>
                  <a:lnTo>
                    <a:pt x="3286" y="18479"/>
                  </a:lnTo>
                  <a:lnTo>
                    <a:pt x="3478" y="17139"/>
                  </a:lnTo>
                  <a:lnTo>
                    <a:pt x="3423" y="16188"/>
                  </a:lnTo>
                  <a:lnTo>
                    <a:pt x="2168" y="15261"/>
                  </a:lnTo>
                  <a:lnTo>
                    <a:pt x="1235" y="14285"/>
                  </a:lnTo>
                  <a:lnTo>
                    <a:pt x="1129" y="13206"/>
                  </a:lnTo>
                  <a:lnTo>
                    <a:pt x="758" y="11888"/>
                  </a:lnTo>
                  <a:lnTo>
                    <a:pt x="233" y="10846"/>
                  </a:lnTo>
                  <a:lnTo>
                    <a:pt x="0" y="10161"/>
                  </a:lnTo>
                  <a:lnTo>
                    <a:pt x="458" y="9758"/>
                  </a:lnTo>
                  <a:lnTo>
                    <a:pt x="2228" y="9440"/>
                  </a:lnTo>
                  <a:lnTo>
                    <a:pt x="4802" y="9659"/>
                  </a:lnTo>
                  <a:lnTo>
                    <a:pt x="6903" y="9678"/>
                  </a:lnTo>
                  <a:lnTo>
                    <a:pt x="8095" y="9002"/>
                  </a:lnTo>
                  <a:lnTo>
                    <a:pt x="9568" y="2649"/>
                  </a:lnTo>
                  <a:lnTo>
                    <a:pt x="10911" y="971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96" name="ee4p_IQ_1_82333">
              <a:extLst>
                <a:ext uri="{FF2B5EF4-FFF2-40B4-BE49-F238E27FC236}">
                  <a16:creationId xmlns:a16="http://schemas.microsoft.com/office/drawing/2014/main" id="{0CACEFB3-5102-E274-3E3B-36C3DF438525}"/>
                </a:ext>
              </a:extLst>
            </p:cNvPr>
            <p:cNvSpPr>
              <a:spLocks noChangeAspect="1"/>
            </p:cNvSpPr>
            <p:nvPr>
              <p:custDataLst>
                <p:tags r:id="rId24"/>
              </p:custDataLst>
            </p:nvPr>
          </p:nvSpPr>
          <p:spPr>
            <a:xfrm>
              <a:off x="7591416" y="3557776"/>
              <a:ext cx="271389" cy="265215"/>
            </a:xfrm>
            <a:custGeom>
              <a:avLst/>
              <a:gdLst/>
              <a:ahLst/>
              <a:cxnLst/>
              <a:rect l="0" t="0" r="0" b="0"/>
              <a:pathLst>
                <a:path w="216101" h="205587">
                  <a:moveTo>
                    <a:pt x="132487" y="5847"/>
                  </a:moveTo>
                  <a:lnTo>
                    <a:pt x="132493" y="6036"/>
                  </a:lnTo>
                  <a:lnTo>
                    <a:pt x="133223" y="7847"/>
                  </a:lnTo>
                  <a:lnTo>
                    <a:pt x="135046" y="14571"/>
                  </a:lnTo>
                  <a:lnTo>
                    <a:pt x="136084" y="15419"/>
                  </a:lnTo>
                  <a:lnTo>
                    <a:pt x="137270" y="16135"/>
                  </a:lnTo>
                  <a:lnTo>
                    <a:pt x="138105" y="17132"/>
                  </a:lnTo>
                  <a:lnTo>
                    <a:pt x="138431" y="18134"/>
                  </a:lnTo>
                  <a:lnTo>
                    <a:pt x="138330" y="19689"/>
                  </a:lnTo>
                  <a:lnTo>
                    <a:pt x="138367" y="21501"/>
                  </a:lnTo>
                  <a:lnTo>
                    <a:pt x="138855" y="22880"/>
                  </a:lnTo>
                  <a:lnTo>
                    <a:pt x="139533" y="23934"/>
                  </a:lnTo>
                  <a:lnTo>
                    <a:pt x="140165" y="24459"/>
                  </a:lnTo>
                  <a:lnTo>
                    <a:pt x="141113" y="24507"/>
                  </a:lnTo>
                  <a:lnTo>
                    <a:pt x="142247" y="24765"/>
                  </a:lnTo>
                  <a:lnTo>
                    <a:pt x="143011" y="25808"/>
                  </a:lnTo>
                  <a:lnTo>
                    <a:pt x="145439" y="33424"/>
                  </a:lnTo>
                  <a:lnTo>
                    <a:pt x="145676" y="34416"/>
                  </a:lnTo>
                  <a:lnTo>
                    <a:pt x="146696" y="34732"/>
                  </a:lnTo>
                  <a:lnTo>
                    <a:pt x="148378" y="34587"/>
                  </a:lnTo>
                  <a:lnTo>
                    <a:pt x="150098" y="35378"/>
                  </a:lnTo>
                  <a:lnTo>
                    <a:pt x="151943" y="36610"/>
                  </a:lnTo>
                  <a:lnTo>
                    <a:pt x="153677" y="38921"/>
                  </a:lnTo>
                  <a:lnTo>
                    <a:pt x="154847" y="39295"/>
                  </a:lnTo>
                  <a:lnTo>
                    <a:pt x="158496" y="38953"/>
                  </a:lnTo>
                  <a:lnTo>
                    <a:pt x="163495" y="39328"/>
                  </a:lnTo>
                  <a:lnTo>
                    <a:pt x="165838" y="40519"/>
                  </a:lnTo>
                  <a:lnTo>
                    <a:pt x="165596" y="41253"/>
                  </a:lnTo>
                  <a:lnTo>
                    <a:pt x="163793" y="42077"/>
                  </a:lnTo>
                  <a:lnTo>
                    <a:pt x="160619" y="43040"/>
                  </a:lnTo>
                  <a:lnTo>
                    <a:pt x="159682" y="44677"/>
                  </a:lnTo>
                  <a:lnTo>
                    <a:pt x="159153" y="46788"/>
                  </a:lnTo>
                  <a:lnTo>
                    <a:pt x="159248" y="47978"/>
                  </a:lnTo>
                  <a:lnTo>
                    <a:pt x="160027" y="49285"/>
                  </a:lnTo>
                  <a:lnTo>
                    <a:pt x="162271" y="51875"/>
                  </a:lnTo>
                  <a:lnTo>
                    <a:pt x="162396" y="52814"/>
                  </a:lnTo>
                  <a:lnTo>
                    <a:pt x="162793" y="54118"/>
                  </a:lnTo>
                  <a:lnTo>
                    <a:pt x="163212" y="55010"/>
                  </a:lnTo>
                  <a:lnTo>
                    <a:pt x="162750" y="56742"/>
                  </a:lnTo>
                  <a:lnTo>
                    <a:pt x="160716" y="57932"/>
                  </a:lnTo>
                  <a:lnTo>
                    <a:pt x="158043" y="59226"/>
                  </a:lnTo>
                  <a:lnTo>
                    <a:pt x="152675" y="64985"/>
                  </a:lnTo>
                  <a:lnTo>
                    <a:pt x="152275" y="66226"/>
                  </a:lnTo>
                  <a:lnTo>
                    <a:pt x="152308" y="69626"/>
                  </a:lnTo>
                  <a:lnTo>
                    <a:pt x="151776" y="70596"/>
                  </a:lnTo>
                  <a:lnTo>
                    <a:pt x="150081" y="70579"/>
                  </a:lnTo>
                  <a:lnTo>
                    <a:pt x="148753" y="70402"/>
                  </a:lnTo>
                  <a:lnTo>
                    <a:pt x="148687" y="71593"/>
                  </a:lnTo>
                  <a:lnTo>
                    <a:pt x="147838" y="73179"/>
                  </a:lnTo>
                  <a:lnTo>
                    <a:pt x="147356" y="74556"/>
                  </a:lnTo>
                  <a:lnTo>
                    <a:pt x="149330" y="77808"/>
                  </a:lnTo>
                  <a:lnTo>
                    <a:pt x="149682" y="79530"/>
                  </a:lnTo>
                  <a:lnTo>
                    <a:pt x="149369" y="81098"/>
                  </a:lnTo>
                  <a:lnTo>
                    <a:pt x="147544" y="83797"/>
                  </a:lnTo>
                  <a:lnTo>
                    <a:pt x="146460" y="85617"/>
                  </a:lnTo>
                  <a:lnTo>
                    <a:pt x="146724" y="86024"/>
                  </a:lnTo>
                  <a:lnTo>
                    <a:pt x="148144" y="86744"/>
                  </a:lnTo>
                  <a:lnTo>
                    <a:pt x="152577" y="92673"/>
                  </a:lnTo>
                  <a:lnTo>
                    <a:pt x="154005" y="94753"/>
                  </a:lnTo>
                  <a:lnTo>
                    <a:pt x="155875" y="94208"/>
                  </a:lnTo>
                  <a:lnTo>
                    <a:pt x="156574" y="94244"/>
                  </a:lnTo>
                  <a:lnTo>
                    <a:pt x="157125" y="94580"/>
                  </a:lnTo>
                  <a:lnTo>
                    <a:pt x="157464" y="95280"/>
                  </a:lnTo>
                  <a:lnTo>
                    <a:pt x="157464" y="96169"/>
                  </a:lnTo>
                  <a:lnTo>
                    <a:pt x="156989" y="97499"/>
                  </a:lnTo>
                  <a:lnTo>
                    <a:pt x="159373" y="98041"/>
                  </a:lnTo>
                  <a:lnTo>
                    <a:pt x="160232" y="99388"/>
                  </a:lnTo>
                  <a:lnTo>
                    <a:pt x="163018" y="103992"/>
                  </a:lnTo>
                  <a:lnTo>
                    <a:pt x="162912" y="105357"/>
                  </a:lnTo>
                  <a:lnTo>
                    <a:pt x="161578" y="107529"/>
                  </a:lnTo>
                  <a:lnTo>
                    <a:pt x="161571" y="108969"/>
                  </a:lnTo>
                  <a:lnTo>
                    <a:pt x="161850" y="110261"/>
                  </a:lnTo>
                  <a:lnTo>
                    <a:pt x="162286" y="110710"/>
                  </a:lnTo>
                  <a:lnTo>
                    <a:pt x="166387" y="110894"/>
                  </a:lnTo>
                  <a:lnTo>
                    <a:pt x="168130" y="111412"/>
                  </a:lnTo>
                  <a:lnTo>
                    <a:pt x="172394" y="113763"/>
                  </a:lnTo>
                  <a:lnTo>
                    <a:pt x="177240" y="117360"/>
                  </a:lnTo>
                  <a:lnTo>
                    <a:pt x="181209" y="120304"/>
                  </a:lnTo>
                  <a:lnTo>
                    <a:pt x="184588" y="122809"/>
                  </a:lnTo>
                  <a:lnTo>
                    <a:pt x="188210" y="122627"/>
                  </a:lnTo>
                  <a:lnTo>
                    <a:pt x="189196" y="123082"/>
                  </a:lnTo>
                  <a:lnTo>
                    <a:pt x="190114" y="123864"/>
                  </a:lnTo>
                  <a:lnTo>
                    <a:pt x="191151" y="125920"/>
                  </a:lnTo>
                  <a:lnTo>
                    <a:pt x="193224" y="130568"/>
                  </a:lnTo>
                  <a:lnTo>
                    <a:pt x="194984" y="132110"/>
                  </a:lnTo>
                  <a:lnTo>
                    <a:pt x="197705" y="135826"/>
                  </a:lnTo>
                  <a:lnTo>
                    <a:pt x="200257" y="139305"/>
                  </a:lnTo>
                  <a:lnTo>
                    <a:pt x="198575" y="144029"/>
                  </a:lnTo>
                  <a:lnTo>
                    <a:pt x="196929" y="148936"/>
                  </a:lnTo>
                  <a:lnTo>
                    <a:pt x="196929" y="155258"/>
                  </a:lnTo>
                  <a:lnTo>
                    <a:pt x="196929" y="158648"/>
                  </a:lnTo>
                  <a:lnTo>
                    <a:pt x="200397" y="158793"/>
                  </a:lnTo>
                  <a:lnTo>
                    <a:pt x="204252" y="158955"/>
                  </a:lnTo>
                  <a:lnTo>
                    <a:pt x="204282" y="163000"/>
                  </a:lnTo>
                  <a:lnTo>
                    <a:pt x="204314" y="167066"/>
                  </a:lnTo>
                  <a:lnTo>
                    <a:pt x="204347" y="171701"/>
                  </a:lnTo>
                  <a:lnTo>
                    <a:pt x="205478" y="171894"/>
                  </a:lnTo>
                  <a:lnTo>
                    <a:pt x="207279" y="172884"/>
                  </a:lnTo>
                  <a:lnTo>
                    <a:pt x="208050" y="174384"/>
                  </a:lnTo>
                  <a:lnTo>
                    <a:pt x="209017" y="175201"/>
                  </a:lnTo>
                  <a:lnTo>
                    <a:pt x="210184" y="175335"/>
                  </a:lnTo>
                  <a:lnTo>
                    <a:pt x="211337" y="176072"/>
                  </a:lnTo>
                  <a:lnTo>
                    <a:pt x="212477" y="177412"/>
                  </a:lnTo>
                  <a:lnTo>
                    <a:pt x="212892" y="178426"/>
                  </a:lnTo>
                  <a:lnTo>
                    <a:pt x="212587" y="179116"/>
                  </a:lnTo>
                  <a:lnTo>
                    <a:pt x="212831" y="180333"/>
                  </a:lnTo>
                  <a:lnTo>
                    <a:pt x="213626" y="182077"/>
                  </a:lnTo>
                  <a:lnTo>
                    <a:pt x="214597" y="182895"/>
                  </a:lnTo>
                  <a:lnTo>
                    <a:pt x="216100" y="183898"/>
                  </a:lnTo>
                  <a:lnTo>
                    <a:pt x="214060" y="184476"/>
                  </a:lnTo>
                  <a:lnTo>
                    <a:pt x="211857" y="184034"/>
                  </a:lnTo>
                  <a:lnTo>
                    <a:pt x="207150" y="181996"/>
                  </a:lnTo>
                  <a:lnTo>
                    <a:pt x="205625" y="181941"/>
                  </a:lnTo>
                  <a:lnTo>
                    <a:pt x="203630" y="182713"/>
                  </a:lnTo>
                  <a:lnTo>
                    <a:pt x="203546" y="183403"/>
                  </a:lnTo>
                  <a:lnTo>
                    <a:pt x="198575" y="181133"/>
                  </a:lnTo>
                  <a:lnTo>
                    <a:pt x="196780" y="180672"/>
                  </a:lnTo>
                  <a:lnTo>
                    <a:pt x="196139" y="180631"/>
                  </a:lnTo>
                  <a:lnTo>
                    <a:pt x="193288" y="180651"/>
                  </a:lnTo>
                  <a:lnTo>
                    <a:pt x="189231" y="181058"/>
                  </a:lnTo>
                  <a:lnTo>
                    <a:pt x="186840" y="181982"/>
                  </a:lnTo>
                  <a:lnTo>
                    <a:pt x="185182" y="182963"/>
                  </a:lnTo>
                  <a:lnTo>
                    <a:pt x="184433" y="183923"/>
                  </a:lnTo>
                  <a:lnTo>
                    <a:pt x="184161" y="184439"/>
                  </a:lnTo>
                  <a:lnTo>
                    <a:pt x="182869" y="187269"/>
                  </a:lnTo>
                  <a:lnTo>
                    <a:pt x="181373" y="190898"/>
                  </a:lnTo>
                  <a:lnTo>
                    <a:pt x="179823" y="194166"/>
                  </a:lnTo>
                  <a:lnTo>
                    <a:pt x="176804" y="198750"/>
                  </a:lnTo>
                  <a:lnTo>
                    <a:pt x="175132" y="200866"/>
                  </a:lnTo>
                  <a:lnTo>
                    <a:pt x="171543" y="204802"/>
                  </a:lnTo>
                  <a:lnTo>
                    <a:pt x="167674" y="205586"/>
                  </a:lnTo>
                  <a:lnTo>
                    <a:pt x="158680" y="204811"/>
                  </a:lnTo>
                  <a:lnTo>
                    <a:pt x="148712" y="203952"/>
                  </a:lnTo>
                  <a:lnTo>
                    <a:pt x="138792" y="203096"/>
                  </a:lnTo>
                  <a:lnTo>
                    <a:pt x="131411" y="202458"/>
                  </a:lnTo>
                  <a:lnTo>
                    <a:pt x="130843" y="202247"/>
                  </a:lnTo>
                  <a:lnTo>
                    <a:pt x="123545" y="196633"/>
                  </a:lnTo>
                  <a:lnTo>
                    <a:pt x="117770" y="192190"/>
                  </a:lnTo>
                  <a:lnTo>
                    <a:pt x="110564" y="186635"/>
                  </a:lnTo>
                  <a:lnTo>
                    <a:pt x="103203" y="180954"/>
                  </a:lnTo>
                  <a:lnTo>
                    <a:pt x="95736" y="175180"/>
                  </a:lnTo>
                  <a:lnTo>
                    <a:pt x="90310" y="170982"/>
                  </a:lnTo>
                  <a:lnTo>
                    <a:pt x="83721" y="165575"/>
                  </a:lnTo>
                  <a:lnTo>
                    <a:pt x="77725" y="160644"/>
                  </a:lnTo>
                  <a:lnTo>
                    <a:pt x="72989" y="156748"/>
                  </a:lnTo>
                  <a:lnTo>
                    <a:pt x="66915" y="153335"/>
                  </a:lnTo>
                  <a:lnTo>
                    <a:pt x="62169" y="150666"/>
                  </a:lnTo>
                  <a:lnTo>
                    <a:pt x="55256" y="146776"/>
                  </a:lnTo>
                  <a:lnTo>
                    <a:pt x="49728" y="143662"/>
                  </a:lnTo>
                  <a:lnTo>
                    <a:pt x="44995" y="140994"/>
                  </a:lnTo>
                  <a:lnTo>
                    <a:pt x="37709" y="136882"/>
                  </a:lnTo>
                  <a:lnTo>
                    <a:pt x="35286" y="135764"/>
                  </a:lnTo>
                  <a:lnTo>
                    <a:pt x="27735" y="134390"/>
                  </a:lnTo>
                  <a:lnTo>
                    <a:pt x="20577" y="133225"/>
                  </a:lnTo>
                  <a:lnTo>
                    <a:pt x="13159" y="132018"/>
                  </a:lnTo>
                  <a:lnTo>
                    <a:pt x="8223" y="131214"/>
                  </a:lnTo>
                  <a:lnTo>
                    <a:pt x="11481" y="128284"/>
                  </a:lnTo>
                  <a:lnTo>
                    <a:pt x="10479" y="125652"/>
                  </a:lnTo>
                  <a:lnTo>
                    <a:pt x="8104" y="126138"/>
                  </a:lnTo>
                  <a:lnTo>
                    <a:pt x="5923" y="126766"/>
                  </a:lnTo>
                  <a:lnTo>
                    <a:pt x="4601" y="122663"/>
                  </a:lnTo>
                  <a:lnTo>
                    <a:pt x="6286" y="122156"/>
                  </a:lnTo>
                  <a:lnTo>
                    <a:pt x="4729" y="116800"/>
                  </a:lnTo>
                  <a:lnTo>
                    <a:pt x="3125" y="111278"/>
                  </a:lnTo>
                  <a:lnTo>
                    <a:pt x="1580" y="105939"/>
                  </a:lnTo>
                  <a:lnTo>
                    <a:pt x="0" y="100465"/>
                  </a:lnTo>
                  <a:lnTo>
                    <a:pt x="6262" y="96954"/>
                  </a:lnTo>
                  <a:lnTo>
                    <a:pt x="10941" y="94326"/>
                  </a:lnTo>
                  <a:lnTo>
                    <a:pt x="17489" y="90646"/>
                  </a:lnTo>
                  <a:lnTo>
                    <a:pt x="23803" y="87095"/>
                  </a:lnTo>
                  <a:lnTo>
                    <a:pt x="29816" y="83707"/>
                  </a:lnTo>
                  <a:lnTo>
                    <a:pt x="36440" y="79972"/>
                  </a:lnTo>
                  <a:lnTo>
                    <a:pt x="42365" y="76628"/>
                  </a:lnTo>
                  <a:lnTo>
                    <a:pt x="47795" y="75268"/>
                  </a:lnTo>
                  <a:lnTo>
                    <a:pt x="48944" y="74209"/>
                  </a:lnTo>
                  <a:lnTo>
                    <a:pt x="51421" y="69636"/>
                  </a:lnTo>
                  <a:lnTo>
                    <a:pt x="53537" y="65721"/>
                  </a:lnTo>
                  <a:lnTo>
                    <a:pt x="53637" y="64812"/>
                  </a:lnTo>
                  <a:lnTo>
                    <a:pt x="53645" y="59254"/>
                  </a:lnTo>
                  <a:lnTo>
                    <a:pt x="54017" y="52716"/>
                  </a:lnTo>
                  <a:lnTo>
                    <a:pt x="54723" y="49217"/>
                  </a:lnTo>
                  <a:lnTo>
                    <a:pt x="55939" y="46122"/>
                  </a:lnTo>
                  <a:lnTo>
                    <a:pt x="57062" y="43863"/>
                  </a:lnTo>
                  <a:lnTo>
                    <a:pt x="57178" y="41745"/>
                  </a:lnTo>
                  <a:lnTo>
                    <a:pt x="57029" y="39595"/>
                  </a:lnTo>
                  <a:lnTo>
                    <a:pt x="55869" y="36343"/>
                  </a:lnTo>
                  <a:lnTo>
                    <a:pt x="54662" y="32950"/>
                  </a:lnTo>
                  <a:lnTo>
                    <a:pt x="54798" y="29675"/>
                  </a:lnTo>
                  <a:lnTo>
                    <a:pt x="55021" y="27921"/>
                  </a:lnTo>
                  <a:lnTo>
                    <a:pt x="55777" y="25115"/>
                  </a:lnTo>
                  <a:lnTo>
                    <a:pt x="57063" y="23063"/>
                  </a:lnTo>
                  <a:lnTo>
                    <a:pt x="58448" y="21791"/>
                  </a:lnTo>
                  <a:lnTo>
                    <a:pt x="63609" y="20479"/>
                  </a:lnTo>
                  <a:lnTo>
                    <a:pt x="66669" y="19699"/>
                  </a:lnTo>
                  <a:lnTo>
                    <a:pt x="70769" y="16056"/>
                  </a:lnTo>
                  <a:lnTo>
                    <a:pt x="73201" y="13892"/>
                  </a:lnTo>
                  <a:lnTo>
                    <a:pt x="76591" y="10460"/>
                  </a:lnTo>
                  <a:lnTo>
                    <a:pt x="79085" y="7930"/>
                  </a:lnTo>
                  <a:lnTo>
                    <a:pt x="79284" y="7054"/>
                  </a:lnTo>
                  <a:lnTo>
                    <a:pt x="79282" y="6708"/>
                  </a:lnTo>
                  <a:lnTo>
                    <a:pt x="81424" y="6196"/>
                  </a:lnTo>
                  <a:lnTo>
                    <a:pt x="85395" y="3126"/>
                  </a:lnTo>
                  <a:lnTo>
                    <a:pt x="87731" y="254"/>
                  </a:lnTo>
                  <a:lnTo>
                    <a:pt x="88472" y="0"/>
                  </a:lnTo>
                  <a:lnTo>
                    <a:pt x="90562" y="943"/>
                  </a:lnTo>
                  <a:lnTo>
                    <a:pt x="92054" y="1202"/>
                  </a:lnTo>
                  <a:lnTo>
                    <a:pt x="95501" y="115"/>
                  </a:lnTo>
                  <a:lnTo>
                    <a:pt x="97550" y="689"/>
                  </a:lnTo>
                  <a:lnTo>
                    <a:pt x="99273" y="1412"/>
                  </a:lnTo>
                  <a:lnTo>
                    <a:pt x="100238" y="1459"/>
                  </a:lnTo>
                  <a:lnTo>
                    <a:pt x="104862" y="3246"/>
                  </a:lnTo>
                  <a:lnTo>
                    <a:pt x="106015" y="3468"/>
                  </a:lnTo>
                  <a:lnTo>
                    <a:pt x="108399" y="3687"/>
                  </a:lnTo>
                  <a:lnTo>
                    <a:pt x="111951" y="3781"/>
                  </a:lnTo>
                  <a:lnTo>
                    <a:pt x="114242" y="2616"/>
                  </a:lnTo>
                  <a:lnTo>
                    <a:pt x="115860" y="1488"/>
                  </a:lnTo>
                  <a:lnTo>
                    <a:pt x="116997" y="1515"/>
                  </a:lnTo>
                  <a:lnTo>
                    <a:pt x="118099" y="1785"/>
                  </a:lnTo>
                  <a:lnTo>
                    <a:pt x="119023" y="2267"/>
                  </a:lnTo>
                  <a:lnTo>
                    <a:pt x="119809" y="3111"/>
                  </a:lnTo>
                  <a:lnTo>
                    <a:pt x="120176" y="4314"/>
                  </a:lnTo>
                  <a:lnTo>
                    <a:pt x="120027" y="8153"/>
                  </a:lnTo>
                  <a:lnTo>
                    <a:pt x="120377" y="9169"/>
                  </a:lnTo>
                  <a:lnTo>
                    <a:pt x="121001" y="9896"/>
                  </a:lnTo>
                  <a:lnTo>
                    <a:pt x="121800" y="10030"/>
                  </a:lnTo>
                  <a:lnTo>
                    <a:pt x="122767" y="9198"/>
                  </a:lnTo>
                  <a:lnTo>
                    <a:pt x="124456" y="7983"/>
                  </a:lnTo>
                  <a:lnTo>
                    <a:pt x="126535" y="6659"/>
                  </a:lnTo>
                  <a:lnTo>
                    <a:pt x="128084" y="5444"/>
                  </a:lnTo>
                  <a:lnTo>
                    <a:pt x="128967" y="4992"/>
                  </a:lnTo>
                  <a:lnTo>
                    <a:pt x="130368" y="5054"/>
                  </a:lnTo>
                  <a:lnTo>
                    <a:pt x="131731" y="5265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97" name="ee4p_IL_1_82333">
              <a:extLst>
                <a:ext uri="{FF2B5EF4-FFF2-40B4-BE49-F238E27FC236}">
                  <a16:creationId xmlns:a16="http://schemas.microsoft.com/office/drawing/2014/main" id="{BF96C81C-0A9A-1521-070D-55A3CCF36DB3}"/>
                </a:ext>
              </a:extLst>
            </p:cNvPr>
            <p:cNvSpPr>
              <a:spLocks noChangeAspect="1"/>
            </p:cNvSpPr>
            <p:nvPr>
              <p:custDataLst>
                <p:tags r:id="rId25"/>
              </p:custDataLst>
            </p:nvPr>
          </p:nvSpPr>
          <p:spPr>
            <a:xfrm>
              <a:off x="7464360" y="3685478"/>
              <a:ext cx="47635" cy="124653"/>
            </a:xfrm>
            <a:custGeom>
              <a:avLst/>
              <a:gdLst/>
              <a:ahLst/>
              <a:cxnLst/>
              <a:rect l="0" t="0" r="0" b="0"/>
              <a:pathLst>
                <a:path w="37931" h="96627">
                  <a:moveTo>
                    <a:pt x="36720" y="4508"/>
                  </a:moveTo>
                  <a:lnTo>
                    <a:pt x="37377" y="5920"/>
                  </a:lnTo>
                  <a:lnTo>
                    <a:pt x="37778" y="7323"/>
                  </a:lnTo>
                  <a:lnTo>
                    <a:pt x="36925" y="8487"/>
                  </a:lnTo>
                  <a:lnTo>
                    <a:pt x="37008" y="9703"/>
                  </a:lnTo>
                  <a:lnTo>
                    <a:pt x="37234" y="10721"/>
                  </a:lnTo>
                  <a:lnTo>
                    <a:pt x="37930" y="11918"/>
                  </a:lnTo>
                  <a:lnTo>
                    <a:pt x="36677" y="14071"/>
                  </a:lnTo>
                  <a:lnTo>
                    <a:pt x="35453" y="16044"/>
                  </a:lnTo>
                  <a:lnTo>
                    <a:pt x="35140" y="17213"/>
                  </a:lnTo>
                  <a:lnTo>
                    <a:pt x="33972" y="17361"/>
                  </a:lnTo>
                  <a:lnTo>
                    <a:pt x="31246" y="18514"/>
                  </a:lnTo>
                  <a:lnTo>
                    <a:pt x="30877" y="18861"/>
                  </a:lnTo>
                  <a:lnTo>
                    <a:pt x="30398" y="19529"/>
                  </a:lnTo>
                  <a:lnTo>
                    <a:pt x="30313" y="20046"/>
                  </a:lnTo>
                  <a:lnTo>
                    <a:pt x="29925" y="25567"/>
                  </a:lnTo>
                  <a:lnTo>
                    <a:pt x="30380" y="29439"/>
                  </a:lnTo>
                  <a:lnTo>
                    <a:pt x="29556" y="32750"/>
                  </a:lnTo>
                  <a:lnTo>
                    <a:pt x="29482" y="35647"/>
                  </a:lnTo>
                  <a:lnTo>
                    <a:pt x="30091" y="41022"/>
                  </a:lnTo>
                  <a:lnTo>
                    <a:pt x="28774" y="43301"/>
                  </a:lnTo>
                  <a:lnTo>
                    <a:pt x="28022" y="45992"/>
                  </a:lnTo>
                  <a:lnTo>
                    <a:pt x="27694" y="48022"/>
                  </a:lnTo>
                  <a:lnTo>
                    <a:pt x="27081" y="51781"/>
                  </a:lnTo>
                  <a:lnTo>
                    <a:pt x="27096" y="51794"/>
                  </a:lnTo>
                  <a:lnTo>
                    <a:pt x="26591" y="54096"/>
                  </a:lnTo>
                  <a:lnTo>
                    <a:pt x="26790" y="54488"/>
                  </a:lnTo>
                  <a:lnTo>
                    <a:pt x="27444" y="56488"/>
                  </a:lnTo>
                  <a:lnTo>
                    <a:pt x="26200" y="60147"/>
                  </a:lnTo>
                  <a:lnTo>
                    <a:pt x="24810" y="63119"/>
                  </a:lnTo>
                  <a:lnTo>
                    <a:pt x="24317" y="64529"/>
                  </a:lnTo>
                  <a:lnTo>
                    <a:pt x="22963" y="67660"/>
                  </a:lnTo>
                  <a:lnTo>
                    <a:pt x="21579" y="71294"/>
                  </a:lnTo>
                  <a:lnTo>
                    <a:pt x="20840" y="73795"/>
                  </a:lnTo>
                  <a:lnTo>
                    <a:pt x="21007" y="74683"/>
                  </a:lnTo>
                  <a:lnTo>
                    <a:pt x="20663" y="79266"/>
                  </a:lnTo>
                  <a:lnTo>
                    <a:pt x="20862" y="80565"/>
                  </a:lnTo>
                  <a:lnTo>
                    <a:pt x="19238" y="84532"/>
                  </a:lnTo>
                  <a:lnTo>
                    <a:pt x="18912" y="86490"/>
                  </a:lnTo>
                  <a:lnTo>
                    <a:pt x="18260" y="89147"/>
                  </a:lnTo>
                  <a:lnTo>
                    <a:pt x="17143" y="94752"/>
                  </a:lnTo>
                  <a:lnTo>
                    <a:pt x="15615" y="96626"/>
                  </a:lnTo>
                  <a:lnTo>
                    <a:pt x="14852" y="94537"/>
                  </a:lnTo>
                  <a:lnTo>
                    <a:pt x="13112" y="88542"/>
                  </a:lnTo>
                  <a:lnTo>
                    <a:pt x="11872" y="84431"/>
                  </a:lnTo>
                  <a:lnTo>
                    <a:pt x="10182" y="79359"/>
                  </a:lnTo>
                  <a:lnTo>
                    <a:pt x="7331" y="73185"/>
                  </a:lnTo>
                  <a:lnTo>
                    <a:pt x="7068" y="71696"/>
                  </a:lnTo>
                  <a:lnTo>
                    <a:pt x="6452" y="69536"/>
                  </a:lnTo>
                  <a:lnTo>
                    <a:pt x="4485" y="63907"/>
                  </a:lnTo>
                  <a:lnTo>
                    <a:pt x="2883" y="59836"/>
                  </a:lnTo>
                  <a:lnTo>
                    <a:pt x="1043" y="54638"/>
                  </a:lnTo>
                  <a:lnTo>
                    <a:pt x="318" y="52589"/>
                  </a:lnTo>
                  <a:lnTo>
                    <a:pt x="0" y="51849"/>
                  </a:lnTo>
                  <a:lnTo>
                    <a:pt x="4183" y="47912"/>
                  </a:lnTo>
                  <a:lnTo>
                    <a:pt x="6174" y="45441"/>
                  </a:lnTo>
                  <a:lnTo>
                    <a:pt x="6321" y="45260"/>
                  </a:lnTo>
                  <a:lnTo>
                    <a:pt x="10620" y="37833"/>
                  </a:lnTo>
                  <a:lnTo>
                    <a:pt x="13393" y="30460"/>
                  </a:lnTo>
                  <a:lnTo>
                    <a:pt x="16003" y="20189"/>
                  </a:lnTo>
                  <a:lnTo>
                    <a:pt x="17860" y="14953"/>
                  </a:lnTo>
                  <a:lnTo>
                    <a:pt x="19435" y="11485"/>
                  </a:lnTo>
                  <a:lnTo>
                    <a:pt x="20132" y="8608"/>
                  </a:lnTo>
                  <a:lnTo>
                    <a:pt x="22669" y="8403"/>
                  </a:lnTo>
                  <a:lnTo>
                    <a:pt x="24561" y="8710"/>
                  </a:lnTo>
                  <a:lnTo>
                    <a:pt x="26824" y="8806"/>
                  </a:lnTo>
                  <a:lnTo>
                    <a:pt x="28636" y="7724"/>
                  </a:lnTo>
                  <a:lnTo>
                    <a:pt x="29506" y="4485"/>
                  </a:lnTo>
                  <a:lnTo>
                    <a:pt x="30540" y="3966"/>
                  </a:lnTo>
                  <a:lnTo>
                    <a:pt x="31063" y="4730"/>
                  </a:lnTo>
                  <a:lnTo>
                    <a:pt x="31601" y="3878"/>
                  </a:lnTo>
                  <a:lnTo>
                    <a:pt x="33972" y="2454"/>
                  </a:lnTo>
                  <a:lnTo>
                    <a:pt x="35144" y="1534"/>
                  </a:lnTo>
                  <a:lnTo>
                    <a:pt x="36321" y="398"/>
                  </a:lnTo>
                  <a:lnTo>
                    <a:pt x="36949" y="0"/>
                  </a:lnTo>
                  <a:lnTo>
                    <a:pt x="36561" y="1517"/>
                  </a:lnTo>
                  <a:lnTo>
                    <a:pt x="36241" y="2506"/>
                  </a:lnTo>
                  <a:lnTo>
                    <a:pt x="36239" y="3800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98" name="ee4p_JO_1_82333">
              <a:extLst>
                <a:ext uri="{FF2B5EF4-FFF2-40B4-BE49-F238E27FC236}">
                  <a16:creationId xmlns:a16="http://schemas.microsoft.com/office/drawing/2014/main" id="{85E33FBD-88E6-F9F7-4CE6-0D5F11302F11}"/>
                </a:ext>
              </a:extLst>
            </p:cNvPr>
            <p:cNvSpPr>
              <a:spLocks noChangeAspect="1"/>
            </p:cNvSpPr>
            <p:nvPr>
              <p:custDataLst>
                <p:tags r:id="rId26"/>
              </p:custDataLst>
            </p:nvPr>
          </p:nvSpPr>
          <p:spPr>
            <a:xfrm>
              <a:off x="7485261" y="3687380"/>
              <a:ext cx="120575" cy="131673"/>
            </a:xfrm>
            <a:custGeom>
              <a:avLst/>
              <a:gdLst/>
              <a:ahLst/>
              <a:cxnLst/>
              <a:rect l="0" t="0" r="0" b="0"/>
              <a:pathLst>
                <a:path w="96011" h="102069">
                  <a:moveTo>
                    <a:pt x="92752" y="30749"/>
                  </a:moveTo>
                  <a:lnTo>
                    <a:pt x="89472" y="33620"/>
                  </a:lnTo>
                  <a:lnTo>
                    <a:pt x="88703" y="33927"/>
                  </a:lnTo>
                  <a:lnTo>
                    <a:pt x="84442" y="35115"/>
                  </a:lnTo>
                  <a:lnTo>
                    <a:pt x="75727" y="37541"/>
                  </a:lnTo>
                  <a:lnTo>
                    <a:pt x="69888" y="39165"/>
                  </a:lnTo>
                  <a:lnTo>
                    <a:pt x="62423" y="41241"/>
                  </a:lnTo>
                  <a:lnTo>
                    <a:pt x="56221" y="42964"/>
                  </a:lnTo>
                  <a:lnTo>
                    <a:pt x="50080" y="44671"/>
                  </a:lnTo>
                  <a:lnTo>
                    <a:pt x="44396" y="46250"/>
                  </a:lnTo>
                  <a:lnTo>
                    <a:pt x="47640" y="49580"/>
                  </a:lnTo>
                  <a:lnTo>
                    <a:pt x="52598" y="54663"/>
                  </a:lnTo>
                  <a:lnTo>
                    <a:pt x="55904" y="58052"/>
                  </a:lnTo>
                  <a:lnTo>
                    <a:pt x="59806" y="62405"/>
                  </a:lnTo>
                  <a:lnTo>
                    <a:pt x="63289" y="66288"/>
                  </a:lnTo>
                  <a:lnTo>
                    <a:pt x="66984" y="70401"/>
                  </a:lnTo>
                  <a:lnTo>
                    <a:pt x="64393" y="71794"/>
                  </a:lnTo>
                  <a:lnTo>
                    <a:pt x="60121" y="74086"/>
                  </a:lnTo>
                  <a:lnTo>
                    <a:pt x="59683" y="74503"/>
                  </a:lnTo>
                  <a:lnTo>
                    <a:pt x="59322" y="74932"/>
                  </a:lnTo>
                  <a:lnTo>
                    <a:pt x="57554" y="79021"/>
                  </a:lnTo>
                  <a:lnTo>
                    <a:pt x="56163" y="82238"/>
                  </a:lnTo>
                  <a:lnTo>
                    <a:pt x="55688" y="82641"/>
                  </a:lnTo>
                  <a:lnTo>
                    <a:pt x="49721" y="83822"/>
                  </a:lnTo>
                  <a:lnTo>
                    <a:pt x="43699" y="85013"/>
                  </a:lnTo>
                  <a:lnTo>
                    <a:pt x="39901" y="85764"/>
                  </a:lnTo>
                  <a:lnTo>
                    <a:pt x="38765" y="86595"/>
                  </a:lnTo>
                  <a:lnTo>
                    <a:pt x="36286" y="90596"/>
                  </a:lnTo>
                  <a:lnTo>
                    <a:pt x="33727" y="94724"/>
                  </a:lnTo>
                  <a:lnTo>
                    <a:pt x="29454" y="98094"/>
                  </a:lnTo>
                  <a:lnTo>
                    <a:pt x="24714" y="101826"/>
                  </a:lnTo>
                  <a:lnTo>
                    <a:pt x="23541" y="102068"/>
                  </a:lnTo>
                  <a:lnTo>
                    <a:pt x="20112" y="101495"/>
                  </a:lnTo>
                  <a:lnTo>
                    <a:pt x="14251" y="100516"/>
                  </a:lnTo>
                  <a:lnTo>
                    <a:pt x="8587" y="99571"/>
                  </a:lnTo>
                  <a:lnTo>
                    <a:pt x="4709" y="98924"/>
                  </a:lnTo>
                  <a:lnTo>
                    <a:pt x="0" y="98139"/>
                  </a:lnTo>
                  <a:lnTo>
                    <a:pt x="695" y="94981"/>
                  </a:lnTo>
                  <a:lnTo>
                    <a:pt x="500" y="93278"/>
                  </a:lnTo>
                  <a:lnTo>
                    <a:pt x="1617" y="87673"/>
                  </a:lnTo>
                  <a:lnTo>
                    <a:pt x="2269" y="85016"/>
                  </a:lnTo>
                  <a:lnTo>
                    <a:pt x="2595" y="83058"/>
                  </a:lnTo>
                  <a:lnTo>
                    <a:pt x="4219" y="79091"/>
                  </a:lnTo>
                  <a:lnTo>
                    <a:pt x="4020" y="77792"/>
                  </a:lnTo>
                  <a:lnTo>
                    <a:pt x="4364" y="73209"/>
                  </a:lnTo>
                  <a:lnTo>
                    <a:pt x="4197" y="72321"/>
                  </a:lnTo>
                  <a:lnTo>
                    <a:pt x="4936" y="69820"/>
                  </a:lnTo>
                  <a:lnTo>
                    <a:pt x="6320" y="66186"/>
                  </a:lnTo>
                  <a:lnTo>
                    <a:pt x="7674" y="63055"/>
                  </a:lnTo>
                  <a:lnTo>
                    <a:pt x="8167" y="61645"/>
                  </a:lnTo>
                  <a:lnTo>
                    <a:pt x="9557" y="58673"/>
                  </a:lnTo>
                  <a:lnTo>
                    <a:pt x="10801" y="55014"/>
                  </a:lnTo>
                  <a:lnTo>
                    <a:pt x="10147" y="53014"/>
                  </a:lnTo>
                  <a:lnTo>
                    <a:pt x="9948" y="52622"/>
                  </a:lnTo>
                  <a:lnTo>
                    <a:pt x="10453" y="50320"/>
                  </a:lnTo>
                  <a:lnTo>
                    <a:pt x="10438" y="50307"/>
                  </a:lnTo>
                  <a:lnTo>
                    <a:pt x="11051" y="46548"/>
                  </a:lnTo>
                  <a:lnTo>
                    <a:pt x="11379" y="44518"/>
                  </a:lnTo>
                  <a:lnTo>
                    <a:pt x="12131" y="41827"/>
                  </a:lnTo>
                  <a:lnTo>
                    <a:pt x="13448" y="39548"/>
                  </a:lnTo>
                  <a:lnTo>
                    <a:pt x="12839" y="34173"/>
                  </a:lnTo>
                  <a:lnTo>
                    <a:pt x="12913" y="31276"/>
                  </a:lnTo>
                  <a:lnTo>
                    <a:pt x="13737" y="27965"/>
                  </a:lnTo>
                  <a:lnTo>
                    <a:pt x="13282" y="24093"/>
                  </a:lnTo>
                  <a:lnTo>
                    <a:pt x="13670" y="18572"/>
                  </a:lnTo>
                  <a:lnTo>
                    <a:pt x="13755" y="18055"/>
                  </a:lnTo>
                  <a:lnTo>
                    <a:pt x="14234" y="17387"/>
                  </a:lnTo>
                  <a:lnTo>
                    <a:pt x="14603" y="17040"/>
                  </a:lnTo>
                  <a:lnTo>
                    <a:pt x="17329" y="15887"/>
                  </a:lnTo>
                  <a:lnTo>
                    <a:pt x="18497" y="15739"/>
                  </a:lnTo>
                  <a:lnTo>
                    <a:pt x="20872" y="16260"/>
                  </a:lnTo>
                  <a:lnTo>
                    <a:pt x="22237" y="17419"/>
                  </a:lnTo>
                  <a:lnTo>
                    <a:pt x="24515" y="20691"/>
                  </a:lnTo>
                  <a:lnTo>
                    <a:pt x="28059" y="21643"/>
                  </a:lnTo>
                  <a:lnTo>
                    <a:pt x="29486" y="22569"/>
                  </a:lnTo>
                  <a:lnTo>
                    <a:pt x="31427" y="24304"/>
                  </a:lnTo>
                  <a:lnTo>
                    <a:pt x="33796" y="24933"/>
                  </a:lnTo>
                  <a:lnTo>
                    <a:pt x="41295" y="26015"/>
                  </a:lnTo>
                  <a:lnTo>
                    <a:pt x="47279" y="22371"/>
                  </a:lnTo>
                  <a:lnTo>
                    <a:pt x="52334" y="19289"/>
                  </a:lnTo>
                  <a:lnTo>
                    <a:pt x="58081" y="15785"/>
                  </a:lnTo>
                  <a:lnTo>
                    <a:pt x="61987" y="13399"/>
                  </a:lnTo>
                  <a:lnTo>
                    <a:pt x="68657" y="9327"/>
                  </a:lnTo>
                  <a:lnTo>
                    <a:pt x="73047" y="6750"/>
                  </a:lnTo>
                  <a:lnTo>
                    <a:pt x="78826" y="3354"/>
                  </a:lnTo>
                  <a:lnTo>
                    <a:pt x="84529" y="0"/>
                  </a:lnTo>
                  <a:lnTo>
                    <a:pt x="86109" y="5474"/>
                  </a:lnTo>
                  <a:lnTo>
                    <a:pt x="87654" y="10813"/>
                  </a:lnTo>
                  <a:lnTo>
                    <a:pt x="89258" y="16335"/>
                  </a:lnTo>
                  <a:lnTo>
                    <a:pt x="90815" y="21691"/>
                  </a:lnTo>
                  <a:lnTo>
                    <a:pt x="89130" y="22198"/>
                  </a:lnTo>
                  <a:lnTo>
                    <a:pt x="90452" y="26301"/>
                  </a:lnTo>
                  <a:lnTo>
                    <a:pt x="92633" y="25673"/>
                  </a:lnTo>
                  <a:lnTo>
                    <a:pt x="95008" y="25187"/>
                  </a:lnTo>
                  <a:lnTo>
                    <a:pt x="96010" y="27819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99" name="ee4p_JP_1_82333">
              <a:extLst>
                <a:ext uri="{FF2B5EF4-FFF2-40B4-BE49-F238E27FC236}">
                  <a16:creationId xmlns:a16="http://schemas.microsoft.com/office/drawing/2014/main" id="{9BB5B212-5818-39DE-AE0E-4DC0A6C5F033}"/>
                </a:ext>
              </a:extLst>
            </p:cNvPr>
            <p:cNvSpPr>
              <a:spLocks noChangeAspect="1"/>
            </p:cNvSpPr>
            <p:nvPr>
              <p:custDataLst>
                <p:tags r:id="rId27"/>
              </p:custDataLst>
            </p:nvPr>
          </p:nvSpPr>
          <p:spPr>
            <a:xfrm>
              <a:off x="9949207" y="3280234"/>
              <a:ext cx="615181" cy="689710"/>
            </a:xfrm>
            <a:custGeom>
              <a:avLst/>
              <a:gdLst>
                <a:gd name="connsiteX0" fmla="*/ 2028 w 489855"/>
                <a:gd name="connsiteY0" fmla="*/ 531163 h 534643"/>
                <a:gd name="connsiteX1" fmla="*/ 5640 w 489855"/>
                <a:gd name="connsiteY1" fmla="*/ 532393 h 534643"/>
                <a:gd name="connsiteX2" fmla="*/ 5491 w 489855"/>
                <a:gd name="connsiteY2" fmla="*/ 533293 h 534643"/>
                <a:gd name="connsiteX3" fmla="*/ 4619 w 489855"/>
                <a:gd name="connsiteY3" fmla="*/ 534314 h 534643"/>
                <a:gd name="connsiteX4" fmla="*/ 3224 w 489855"/>
                <a:gd name="connsiteY4" fmla="*/ 534643 h 534643"/>
                <a:gd name="connsiteX5" fmla="*/ 1548 w 489855"/>
                <a:gd name="connsiteY5" fmla="*/ 534239 h 534643"/>
                <a:gd name="connsiteX6" fmla="*/ 20 w 489855"/>
                <a:gd name="connsiteY6" fmla="*/ 534128 h 534643"/>
                <a:gd name="connsiteX7" fmla="*/ 0 w 489855"/>
                <a:gd name="connsiteY7" fmla="*/ 533431 h 534643"/>
                <a:gd name="connsiteX8" fmla="*/ 1605 w 489855"/>
                <a:gd name="connsiteY8" fmla="*/ 532710 h 534643"/>
                <a:gd name="connsiteX9" fmla="*/ 1635 w 489855"/>
                <a:gd name="connsiteY9" fmla="*/ 531706 h 534643"/>
                <a:gd name="connsiteX10" fmla="*/ 13758 w 489855"/>
                <a:gd name="connsiteY10" fmla="*/ 527110 h 534643"/>
                <a:gd name="connsiteX11" fmla="*/ 14245 w 489855"/>
                <a:gd name="connsiteY11" fmla="*/ 527598 h 534643"/>
                <a:gd name="connsiteX12" fmla="*/ 13564 w 489855"/>
                <a:gd name="connsiteY12" fmla="*/ 528782 h 534643"/>
                <a:gd name="connsiteX13" fmla="*/ 12261 w 489855"/>
                <a:gd name="connsiteY13" fmla="*/ 532486 h 534643"/>
                <a:gd name="connsiteX14" fmla="*/ 11186 w 489855"/>
                <a:gd name="connsiteY14" fmla="*/ 533025 h 534643"/>
                <a:gd name="connsiteX15" fmla="*/ 10082 w 489855"/>
                <a:gd name="connsiteY15" fmla="*/ 532731 h 534643"/>
                <a:gd name="connsiteX16" fmla="*/ 8955 w 489855"/>
                <a:gd name="connsiteY16" fmla="*/ 530661 h 534643"/>
                <a:gd name="connsiteX17" fmla="*/ 9743 w 489855"/>
                <a:gd name="connsiteY17" fmla="*/ 529868 h 534643"/>
                <a:gd name="connsiteX18" fmla="*/ 10845 w 489855"/>
                <a:gd name="connsiteY18" fmla="*/ 530285 h 534643"/>
                <a:gd name="connsiteX19" fmla="*/ 11736 w 489855"/>
                <a:gd name="connsiteY19" fmla="*/ 530126 h 534643"/>
                <a:gd name="connsiteX20" fmla="*/ 35464 w 489855"/>
                <a:gd name="connsiteY20" fmla="*/ 520417 h 534643"/>
                <a:gd name="connsiteX21" fmla="*/ 36157 w 489855"/>
                <a:gd name="connsiteY21" fmla="*/ 520877 h 534643"/>
                <a:gd name="connsiteX22" fmla="*/ 36591 w 489855"/>
                <a:gd name="connsiteY22" fmla="*/ 521998 h 534643"/>
                <a:gd name="connsiteX23" fmla="*/ 38079 w 489855"/>
                <a:gd name="connsiteY23" fmla="*/ 522652 h 534643"/>
                <a:gd name="connsiteX24" fmla="*/ 39013 w 489855"/>
                <a:gd name="connsiteY24" fmla="*/ 523444 h 534643"/>
                <a:gd name="connsiteX25" fmla="*/ 37140 w 489855"/>
                <a:gd name="connsiteY25" fmla="*/ 524057 h 534643"/>
                <a:gd name="connsiteX26" fmla="*/ 35140 w 489855"/>
                <a:gd name="connsiteY26" fmla="*/ 523695 h 534643"/>
                <a:gd name="connsiteX27" fmla="*/ 101165 w 489855"/>
                <a:gd name="connsiteY27" fmla="*/ 472903 h 534643"/>
                <a:gd name="connsiteX28" fmla="*/ 102862 w 489855"/>
                <a:gd name="connsiteY28" fmla="*/ 474561 h 534643"/>
                <a:gd name="connsiteX29" fmla="*/ 102405 w 489855"/>
                <a:gd name="connsiteY29" fmla="*/ 476732 h 534643"/>
                <a:gd name="connsiteX30" fmla="*/ 101251 w 489855"/>
                <a:gd name="connsiteY30" fmla="*/ 478345 h 534643"/>
                <a:gd name="connsiteX31" fmla="*/ 99122 w 489855"/>
                <a:gd name="connsiteY31" fmla="*/ 479433 h 534643"/>
                <a:gd name="connsiteX32" fmla="*/ 98336 w 489855"/>
                <a:gd name="connsiteY32" fmla="*/ 480731 h 534643"/>
                <a:gd name="connsiteX33" fmla="*/ 96367 w 489855"/>
                <a:gd name="connsiteY33" fmla="*/ 481173 h 534643"/>
                <a:gd name="connsiteX34" fmla="*/ 94452 w 489855"/>
                <a:gd name="connsiteY34" fmla="*/ 483002 h 534643"/>
                <a:gd name="connsiteX35" fmla="*/ 92590 w 489855"/>
                <a:gd name="connsiteY35" fmla="*/ 483334 h 534643"/>
                <a:gd name="connsiteX36" fmla="*/ 92638 w 489855"/>
                <a:gd name="connsiteY36" fmla="*/ 484802 h 534643"/>
                <a:gd name="connsiteX37" fmla="*/ 93424 w 489855"/>
                <a:gd name="connsiteY37" fmla="*/ 486045 h 534643"/>
                <a:gd name="connsiteX38" fmla="*/ 92185 w 489855"/>
                <a:gd name="connsiteY38" fmla="*/ 486262 h 534643"/>
                <a:gd name="connsiteX39" fmla="*/ 90888 w 489855"/>
                <a:gd name="connsiteY39" fmla="*/ 487775 h 534643"/>
                <a:gd name="connsiteX40" fmla="*/ 90787 w 489855"/>
                <a:gd name="connsiteY40" fmla="*/ 488874 h 534643"/>
                <a:gd name="connsiteX41" fmla="*/ 91249 w 489855"/>
                <a:gd name="connsiteY41" fmla="*/ 489760 h 534643"/>
                <a:gd name="connsiteX42" fmla="*/ 91187 w 489855"/>
                <a:gd name="connsiteY42" fmla="*/ 490203 h 534643"/>
                <a:gd name="connsiteX43" fmla="*/ 89545 w 489855"/>
                <a:gd name="connsiteY43" fmla="*/ 491514 h 534643"/>
                <a:gd name="connsiteX44" fmla="*/ 87859 w 489855"/>
                <a:gd name="connsiteY44" fmla="*/ 491571 h 534643"/>
                <a:gd name="connsiteX45" fmla="*/ 87783 w 489855"/>
                <a:gd name="connsiteY45" fmla="*/ 490157 h 534643"/>
                <a:gd name="connsiteX46" fmla="*/ 87898 w 489855"/>
                <a:gd name="connsiteY46" fmla="*/ 489099 h 534643"/>
                <a:gd name="connsiteX47" fmla="*/ 89494 w 489855"/>
                <a:gd name="connsiteY47" fmla="*/ 486524 h 534643"/>
                <a:gd name="connsiteX48" fmla="*/ 89535 w 489855"/>
                <a:gd name="connsiteY48" fmla="*/ 483537 h 534643"/>
                <a:gd name="connsiteX49" fmla="*/ 91016 w 489855"/>
                <a:gd name="connsiteY49" fmla="*/ 483191 h 534643"/>
                <a:gd name="connsiteX50" fmla="*/ 91558 w 489855"/>
                <a:gd name="connsiteY50" fmla="*/ 482775 h 534643"/>
                <a:gd name="connsiteX51" fmla="*/ 93892 w 489855"/>
                <a:gd name="connsiteY51" fmla="*/ 480648 h 534643"/>
                <a:gd name="connsiteX52" fmla="*/ 94324 w 489855"/>
                <a:gd name="connsiteY52" fmla="*/ 479742 h 534643"/>
                <a:gd name="connsiteX53" fmla="*/ 93115 w 489855"/>
                <a:gd name="connsiteY53" fmla="*/ 478861 h 534643"/>
                <a:gd name="connsiteX54" fmla="*/ 93204 w 489855"/>
                <a:gd name="connsiteY54" fmla="*/ 477819 h 534643"/>
                <a:gd name="connsiteX55" fmla="*/ 93477 w 489855"/>
                <a:gd name="connsiteY55" fmla="*/ 477376 h 534643"/>
                <a:gd name="connsiteX56" fmla="*/ 95404 w 489855"/>
                <a:gd name="connsiteY56" fmla="*/ 477712 h 534643"/>
                <a:gd name="connsiteX57" fmla="*/ 96186 w 489855"/>
                <a:gd name="connsiteY57" fmla="*/ 478485 h 534643"/>
                <a:gd name="connsiteX58" fmla="*/ 96563 w 489855"/>
                <a:gd name="connsiteY58" fmla="*/ 478570 h 534643"/>
                <a:gd name="connsiteX59" fmla="*/ 97689 w 489855"/>
                <a:gd name="connsiteY59" fmla="*/ 477989 h 534643"/>
                <a:gd name="connsiteX60" fmla="*/ 98217 w 489855"/>
                <a:gd name="connsiteY60" fmla="*/ 476953 h 534643"/>
                <a:gd name="connsiteX61" fmla="*/ 100317 w 489855"/>
                <a:gd name="connsiteY61" fmla="*/ 474923 h 534643"/>
                <a:gd name="connsiteX62" fmla="*/ 116572 w 489855"/>
                <a:gd name="connsiteY62" fmla="*/ 448392 h 534643"/>
                <a:gd name="connsiteX63" fmla="*/ 117415 w 489855"/>
                <a:gd name="connsiteY63" fmla="*/ 450761 h 534643"/>
                <a:gd name="connsiteX64" fmla="*/ 118004 w 489855"/>
                <a:gd name="connsiteY64" fmla="*/ 451739 h 534643"/>
                <a:gd name="connsiteX65" fmla="*/ 117600 w 489855"/>
                <a:gd name="connsiteY65" fmla="*/ 452918 h 534643"/>
                <a:gd name="connsiteX66" fmla="*/ 116674 w 489855"/>
                <a:gd name="connsiteY66" fmla="*/ 453356 h 534643"/>
                <a:gd name="connsiteX67" fmla="*/ 115430 w 489855"/>
                <a:gd name="connsiteY67" fmla="*/ 452752 h 534643"/>
                <a:gd name="connsiteX68" fmla="*/ 115050 w 489855"/>
                <a:gd name="connsiteY68" fmla="*/ 450013 h 534643"/>
                <a:gd name="connsiteX69" fmla="*/ 115599 w 489855"/>
                <a:gd name="connsiteY69" fmla="*/ 448685 h 534643"/>
                <a:gd name="connsiteX70" fmla="*/ 121897 w 489855"/>
                <a:gd name="connsiteY70" fmla="*/ 441640 h 534643"/>
                <a:gd name="connsiteX71" fmla="*/ 123333 w 489855"/>
                <a:gd name="connsiteY71" fmla="*/ 442031 h 534643"/>
                <a:gd name="connsiteX72" fmla="*/ 123774 w 489855"/>
                <a:gd name="connsiteY72" fmla="*/ 442784 h 534643"/>
                <a:gd name="connsiteX73" fmla="*/ 124806 w 489855"/>
                <a:gd name="connsiteY73" fmla="*/ 443736 h 534643"/>
                <a:gd name="connsiteX74" fmla="*/ 124951 w 489855"/>
                <a:gd name="connsiteY74" fmla="*/ 444294 h 534643"/>
                <a:gd name="connsiteX75" fmla="*/ 122780 w 489855"/>
                <a:gd name="connsiteY75" fmla="*/ 443827 h 534643"/>
                <a:gd name="connsiteX76" fmla="*/ 132888 w 489855"/>
                <a:gd name="connsiteY76" fmla="*/ 433851 h 534643"/>
                <a:gd name="connsiteX77" fmla="*/ 133444 w 489855"/>
                <a:gd name="connsiteY77" fmla="*/ 434999 h 534643"/>
                <a:gd name="connsiteX78" fmla="*/ 133351 w 489855"/>
                <a:gd name="connsiteY78" fmla="*/ 435898 h 534643"/>
                <a:gd name="connsiteX79" fmla="*/ 131830 w 489855"/>
                <a:gd name="connsiteY79" fmla="*/ 436398 h 534643"/>
                <a:gd name="connsiteX80" fmla="*/ 130347 w 489855"/>
                <a:gd name="connsiteY80" fmla="*/ 437599 h 534643"/>
                <a:gd name="connsiteX81" fmla="*/ 128978 w 489855"/>
                <a:gd name="connsiteY81" fmla="*/ 439096 h 534643"/>
                <a:gd name="connsiteX82" fmla="*/ 127741 w 489855"/>
                <a:gd name="connsiteY82" fmla="*/ 439728 h 534643"/>
                <a:gd name="connsiteX83" fmla="*/ 127350 w 489855"/>
                <a:gd name="connsiteY83" fmla="*/ 440148 h 534643"/>
                <a:gd name="connsiteX84" fmla="*/ 127648 w 489855"/>
                <a:gd name="connsiteY84" fmla="*/ 441245 h 534643"/>
                <a:gd name="connsiteX85" fmla="*/ 125743 w 489855"/>
                <a:gd name="connsiteY85" fmla="*/ 443190 h 534643"/>
                <a:gd name="connsiteX86" fmla="*/ 123720 w 489855"/>
                <a:gd name="connsiteY86" fmla="*/ 441439 h 534643"/>
                <a:gd name="connsiteX87" fmla="*/ 121282 w 489855"/>
                <a:gd name="connsiteY87" fmla="*/ 440269 h 534643"/>
                <a:gd name="connsiteX88" fmla="*/ 122442 w 489855"/>
                <a:gd name="connsiteY88" fmla="*/ 439953 h 534643"/>
                <a:gd name="connsiteX89" fmla="*/ 123121 w 489855"/>
                <a:gd name="connsiteY89" fmla="*/ 439484 h 534643"/>
                <a:gd name="connsiteX90" fmla="*/ 123189 w 489855"/>
                <a:gd name="connsiteY90" fmla="*/ 438740 h 534643"/>
                <a:gd name="connsiteX91" fmla="*/ 124772 w 489855"/>
                <a:gd name="connsiteY91" fmla="*/ 437636 h 534643"/>
                <a:gd name="connsiteX92" fmla="*/ 127913 w 489855"/>
                <a:gd name="connsiteY92" fmla="*/ 436782 h 534643"/>
                <a:gd name="connsiteX93" fmla="*/ 128911 w 489855"/>
                <a:gd name="connsiteY93" fmla="*/ 436728 h 534643"/>
                <a:gd name="connsiteX94" fmla="*/ 130036 w 489855"/>
                <a:gd name="connsiteY94" fmla="*/ 435924 h 534643"/>
                <a:gd name="connsiteX95" fmla="*/ 130403 w 489855"/>
                <a:gd name="connsiteY95" fmla="*/ 435199 h 534643"/>
                <a:gd name="connsiteX96" fmla="*/ 130866 w 489855"/>
                <a:gd name="connsiteY96" fmla="*/ 434849 h 534643"/>
                <a:gd name="connsiteX97" fmla="*/ 150747 w 489855"/>
                <a:gd name="connsiteY97" fmla="*/ 386845 h 534643"/>
                <a:gd name="connsiteX98" fmla="*/ 153984 w 489855"/>
                <a:gd name="connsiteY98" fmla="*/ 388703 h 534643"/>
                <a:gd name="connsiteX99" fmla="*/ 154640 w 489855"/>
                <a:gd name="connsiteY99" fmla="*/ 389239 h 534643"/>
                <a:gd name="connsiteX100" fmla="*/ 153523 w 489855"/>
                <a:gd name="connsiteY100" fmla="*/ 391759 h 534643"/>
                <a:gd name="connsiteX101" fmla="*/ 150991 w 489855"/>
                <a:gd name="connsiteY101" fmla="*/ 392282 h 534643"/>
                <a:gd name="connsiteX102" fmla="*/ 149607 w 489855"/>
                <a:gd name="connsiteY102" fmla="*/ 391717 h 534643"/>
                <a:gd name="connsiteX103" fmla="*/ 148335 w 489855"/>
                <a:gd name="connsiteY103" fmla="*/ 388722 h 534643"/>
                <a:gd name="connsiteX104" fmla="*/ 163200 w 489855"/>
                <a:gd name="connsiteY104" fmla="*/ 378024 h 534643"/>
                <a:gd name="connsiteX105" fmla="*/ 163693 w 489855"/>
                <a:gd name="connsiteY105" fmla="*/ 378939 h 534643"/>
                <a:gd name="connsiteX106" fmla="*/ 163135 w 489855"/>
                <a:gd name="connsiteY106" fmla="*/ 382547 h 534643"/>
                <a:gd name="connsiteX107" fmla="*/ 161701 w 489855"/>
                <a:gd name="connsiteY107" fmla="*/ 385280 h 534643"/>
                <a:gd name="connsiteX108" fmla="*/ 160976 w 489855"/>
                <a:gd name="connsiteY108" fmla="*/ 388510 h 534643"/>
                <a:gd name="connsiteX109" fmla="*/ 159039 w 489855"/>
                <a:gd name="connsiteY109" fmla="*/ 388767 h 534643"/>
                <a:gd name="connsiteX110" fmla="*/ 158998 w 489855"/>
                <a:gd name="connsiteY110" fmla="*/ 387362 h 534643"/>
                <a:gd name="connsiteX111" fmla="*/ 160538 w 489855"/>
                <a:gd name="connsiteY111" fmla="*/ 384184 h 534643"/>
                <a:gd name="connsiteX112" fmla="*/ 160701 w 489855"/>
                <a:gd name="connsiteY112" fmla="*/ 381849 h 534643"/>
                <a:gd name="connsiteX113" fmla="*/ 162135 w 489855"/>
                <a:gd name="connsiteY113" fmla="*/ 378904 h 534643"/>
                <a:gd name="connsiteX114" fmla="*/ 162746 w 489855"/>
                <a:gd name="connsiteY114" fmla="*/ 378257 h 534643"/>
                <a:gd name="connsiteX115" fmla="*/ 135050 w 489855"/>
                <a:gd name="connsiteY115" fmla="*/ 354626 h 534643"/>
                <a:gd name="connsiteX116" fmla="*/ 135190 w 489855"/>
                <a:gd name="connsiteY116" fmla="*/ 355718 h 534643"/>
                <a:gd name="connsiteX117" fmla="*/ 133517 w 489855"/>
                <a:gd name="connsiteY117" fmla="*/ 357807 h 534643"/>
                <a:gd name="connsiteX118" fmla="*/ 132828 w 489855"/>
                <a:gd name="connsiteY118" fmla="*/ 358235 h 534643"/>
                <a:gd name="connsiteX119" fmla="*/ 133271 w 489855"/>
                <a:gd name="connsiteY119" fmla="*/ 356311 h 534643"/>
                <a:gd name="connsiteX120" fmla="*/ 147834 w 489855"/>
                <a:gd name="connsiteY120" fmla="*/ 336460 h 534643"/>
                <a:gd name="connsiteX121" fmla="*/ 149956 w 489855"/>
                <a:gd name="connsiteY121" fmla="*/ 336743 h 534643"/>
                <a:gd name="connsiteX122" fmla="*/ 149008 w 489855"/>
                <a:gd name="connsiteY122" fmla="*/ 338170 h 534643"/>
                <a:gd name="connsiteX123" fmla="*/ 148180 w 489855"/>
                <a:gd name="connsiteY123" fmla="*/ 339006 h 534643"/>
                <a:gd name="connsiteX124" fmla="*/ 146222 w 489855"/>
                <a:gd name="connsiteY124" fmla="*/ 339114 h 534643"/>
                <a:gd name="connsiteX125" fmla="*/ 145415 w 489855"/>
                <a:gd name="connsiteY125" fmla="*/ 338826 h 534643"/>
                <a:gd name="connsiteX126" fmla="*/ 145098 w 489855"/>
                <a:gd name="connsiteY126" fmla="*/ 338045 h 534643"/>
                <a:gd name="connsiteX127" fmla="*/ 143463 w 489855"/>
                <a:gd name="connsiteY127" fmla="*/ 336116 h 534643"/>
                <a:gd name="connsiteX128" fmla="*/ 144102 w 489855"/>
                <a:gd name="connsiteY128" fmla="*/ 337336 h 534643"/>
                <a:gd name="connsiteX129" fmla="*/ 144165 w 489855"/>
                <a:gd name="connsiteY129" fmla="*/ 341050 h 534643"/>
                <a:gd name="connsiteX130" fmla="*/ 141578 w 489855"/>
                <a:gd name="connsiteY130" fmla="*/ 343774 h 534643"/>
                <a:gd name="connsiteX131" fmla="*/ 139831 w 489855"/>
                <a:gd name="connsiteY131" fmla="*/ 344650 h 534643"/>
                <a:gd name="connsiteX132" fmla="*/ 139606 w 489855"/>
                <a:gd name="connsiteY132" fmla="*/ 343811 h 534643"/>
                <a:gd name="connsiteX133" fmla="*/ 138872 w 489855"/>
                <a:gd name="connsiteY133" fmla="*/ 343429 h 534643"/>
                <a:gd name="connsiteX134" fmla="*/ 140136 w 489855"/>
                <a:gd name="connsiteY134" fmla="*/ 342247 h 534643"/>
                <a:gd name="connsiteX135" fmla="*/ 140092 w 489855"/>
                <a:gd name="connsiteY135" fmla="*/ 341711 h 534643"/>
                <a:gd name="connsiteX136" fmla="*/ 139296 w 489855"/>
                <a:gd name="connsiteY136" fmla="*/ 340912 h 534643"/>
                <a:gd name="connsiteX137" fmla="*/ 140224 w 489855"/>
                <a:gd name="connsiteY137" fmla="*/ 337896 h 534643"/>
                <a:gd name="connsiteX138" fmla="*/ 139969 w 489855"/>
                <a:gd name="connsiteY138" fmla="*/ 336598 h 534643"/>
                <a:gd name="connsiteX139" fmla="*/ 110241 w 489855"/>
                <a:gd name="connsiteY139" fmla="*/ 330139 h 534643"/>
                <a:gd name="connsiteX140" fmla="*/ 111098 w 489855"/>
                <a:gd name="connsiteY140" fmla="*/ 330804 h 534643"/>
                <a:gd name="connsiteX141" fmla="*/ 112357 w 489855"/>
                <a:gd name="connsiteY141" fmla="*/ 330423 h 534643"/>
                <a:gd name="connsiteX142" fmla="*/ 113353 w 489855"/>
                <a:gd name="connsiteY142" fmla="*/ 330334 h 534643"/>
                <a:gd name="connsiteX143" fmla="*/ 114072 w 489855"/>
                <a:gd name="connsiteY143" fmla="*/ 330656 h 534643"/>
                <a:gd name="connsiteX144" fmla="*/ 114975 w 489855"/>
                <a:gd name="connsiteY144" fmla="*/ 332371 h 534643"/>
                <a:gd name="connsiteX145" fmla="*/ 115309 w 489855"/>
                <a:gd name="connsiteY145" fmla="*/ 333385 h 534643"/>
                <a:gd name="connsiteX146" fmla="*/ 113689 w 489855"/>
                <a:gd name="connsiteY146" fmla="*/ 333528 h 534643"/>
                <a:gd name="connsiteX147" fmla="*/ 113007 w 489855"/>
                <a:gd name="connsiteY147" fmla="*/ 333764 h 534643"/>
                <a:gd name="connsiteX148" fmla="*/ 112124 w 489855"/>
                <a:gd name="connsiteY148" fmla="*/ 335010 h 534643"/>
                <a:gd name="connsiteX149" fmla="*/ 110852 w 489855"/>
                <a:gd name="connsiteY149" fmla="*/ 334552 h 534643"/>
                <a:gd name="connsiteX150" fmla="*/ 110064 w 489855"/>
                <a:gd name="connsiteY150" fmla="*/ 333969 h 534643"/>
                <a:gd name="connsiteX151" fmla="*/ 109883 w 489855"/>
                <a:gd name="connsiteY151" fmla="*/ 333142 h 534643"/>
                <a:gd name="connsiteX152" fmla="*/ 120068 w 489855"/>
                <a:gd name="connsiteY152" fmla="*/ 321533 h 534643"/>
                <a:gd name="connsiteX153" fmla="*/ 120375 w 489855"/>
                <a:gd name="connsiteY153" fmla="*/ 323136 h 534643"/>
                <a:gd name="connsiteX154" fmla="*/ 121018 w 489855"/>
                <a:gd name="connsiteY154" fmla="*/ 324726 h 534643"/>
                <a:gd name="connsiteX155" fmla="*/ 121664 w 489855"/>
                <a:gd name="connsiteY155" fmla="*/ 324978 h 534643"/>
                <a:gd name="connsiteX156" fmla="*/ 121036 w 489855"/>
                <a:gd name="connsiteY156" fmla="*/ 326136 h 534643"/>
                <a:gd name="connsiteX157" fmla="*/ 120109 w 489855"/>
                <a:gd name="connsiteY157" fmla="*/ 326564 h 534643"/>
                <a:gd name="connsiteX158" fmla="*/ 119343 w 489855"/>
                <a:gd name="connsiteY158" fmla="*/ 328748 h 534643"/>
                <a:gd name="connsiteX159" fmla="*/ 118790 w 489855"/>
                <a:gd name="connsiteY159" fmla="*/ 329014 h 534643"/>
                <a:gd name="connsiteX160" fmla="*/ 118075 w 489855"/>
                <a:gd name="connsiteY160" fmla="*/ 326791 h 534643"/>
                <a:gd name="connsiteX161" fmla="*/ 117581 w 489855"/>
                <a:gd name="connsiteY161" fmla="*/ 325996 h 534643"/>
                <a:gd name="connsiteX162" fmla="*/ 118415 w 489855"/>
                <a:gd name="connsiteY162" fmla="*/ 325571 h 534643"/>
                <a:gd name="connsiteX163" fmla="*/ 130243 w 489855"/>
                <a:gd name="connsiteY163" fmla="*/ 315884 h 534643"/>
                <a:gd name="connsiteX164" fmla="*/ 128877 w 489855"/>
                <a:gd name="connsiteY164" fmla="*/ 317782 h 534643"/>
                <a:gd name="connsiteX165" fmla="*/ 128516 w 489855"/>
                <a:gd name="connsiteY165" fmla="*/ 319297 h 534643"/>
                <a:gd name="connsiteX166" fmla="*/ 126959 w 489855"/>
                <a:gd name="connsiteY166" fmla="*/ 320464 h 534643"/>
                <a:gd name="connsiteX167" fmla="*/ 125832 w 489855"/>
                <a:gd name="connsiteY167" fmla="*/ 320459 h 534643"/>
                <a:gd name="connsiteX168" fmla="*/ 126861 w 489855"/>
                <a:gd name="connsiteY168" fmla="*/ 319098 h 534643"/>
                <a:gd name="connsiteX169" fmla="*/ 126998 w 489855"/>
                <a:gd name="connsiteY169" fmla="*/ 318448 h 534643"/>
                <a:gd name="connsiteX170" fmla="*/ 127855 w 489855"/>
                <a:gd name="connsiteY170" fmla="*/ 316621 h 534643"/>
                <a:gd name="connsiteX171" fmla="*/ 129537 w 489855"/>
                <a:gd name="connsiteY171" fmla="*/ 315965 h 534643"/>
                <a:gd name="connsiteX172" fmla="*/ 133502 w 489855"/>
                <a:gd name="connsiteY172" fmla="*/ 303553 h 534643"/>
                <a:gd name="connsiteX173" fmla="*/ 134808 w 489855"/>
                <a:gd name="connsiteY173" fmla="*/ 304278 h 534643"/>
                <a:gd name="connsiteX174" fmla="*/ 135236 w 489855"/>
                <a:gd name="connsiteY174" fmla="*/ 306273 h 534643"/>
                <a:gd name="connsiteX175" fmla="*/ 133707 w 489855"/>
                <a:gd name="connsiteY175" fmla="*/ 307303 h 534643"/>
                <a:gd name="connsiteX176" fmla="*/ 132563 w 489855"/>
                <a:gd name="connsiteY176" fmla="*/ 306500 h 534643"/>
                <a:gd name="connsiteX177" fmla="*/ 133119 w 489855"/>
                <a:gd name="connsiteY177" fmla="*/ 304285 h 534643"/>
                <a:gd name="connsiteX178" fmla="*/ 155578 w 489855"/>
                <a:gd name="connsiteY178" fmla="*/ 301829 h 534643"/>
                <a:gd name="connsiteX179" fmla="*/ 158320 w 489855"/>
                <a:gd name="connsiteY179" fmla="*/ 302078 h 534643"/>
                <a:gd name="connsiteX180" fmla="*/ 160829 w 489855"/>
                <a:gd name="connsiteY180" fmla="*/ 303214 h 534643"/>
                <a:gd name="connsiteX181" fmla="*/ 162066 w 489855"/>
                <a:gd name="connsiteY181" fmla="*/ 305603 h 534643"/>
                <a:gd name="connsiteX182" fmla="*/ 163150 w 489855"/>
                <a:gd name="connsiteY182" fmla="*/ 308158 h 534643"/>
                <a:gd name="connsiteX183" fmla="*/ 165727 w 489855"/>
                <a:gd name="connsiteY183" fmla="*/ 309900 h 534643"/>
                <a:gd name="connsiteX184" fmla="*/ 168702 w 489855"/>
                <a:gd name="connsiteY184" fmla="*/ 310640 h 534643"/>
                <a:gd name="connsiteX185" fmla="*/ 169959 w 489855"/>
                <a:gd name="connsiteY185" fmla="*/ 310686 h 534643"/>
                <a:gd name="connsiteX186" fmla="*/ 171125 w 489855"/>
                <a:gd name="connsiteY186" fmla="*/ 310351 h 534643"/>
                <a:gd name="connsiteX187" fmla="*/ 172896 w 489855"/>
                <a:gd name="connsiteY187" fmla="*/ 309380 h 534643"/>
                <a:gd name="connsiteX188" fmla="*/ 174757 w 489855"/>
                <a:gd name="connsiteY188" fmla="*/ 308666 h 534643"/>
                <a:gd name="connsiteX189" fmla="*/ 176085 w 489855"/>
                <a:gd name="connsiteY189" fmla="*/ 309028 h 534643"/>
                <a:gd name="connsiteX190" fmla="*/ 177262 w 489855"/>
                <a:gd name="connsiteY190" fmla="*/ 309895 h 534643"/>
                <a:gd name="connsiteX191" fmla="*/ 177879 w 489855"/>
                <a:gd name="connsiteY191" fmla="*/ 311110 h 534643"/>
                <a:gd name="connsiteX192" fmla="*/ 177579 w 489855"/>
                <a:gd name="connsiteY192" fmla="*/ 312385 h 534643"/>
                <a:gd name="connsiteX193" fmla="*/ 175476 w 489855"/>
                <a:gd name="connsiteY193" fmla="*/ 315121 h 534643"/>
                <a:gd name="connsiteX194" fmla="*/ 173749 w 489855"/>
                <a:gd name="connsiteY194" fmla="*/ 318035 h 534643"/>
                <a:gd name="connsiteX195" fmla="*/ 177722 w 489855"/>
                <a:gd name="connsiteY195" fmla="*/ 318578 h 534643"/>
                <a:gd name="connsiteX196" fmla="*/ 181691 w 489855"/>
                <a:gd name="connsiteY196" fmla="*/ 318517 h 534643"/>
                <a:gd name="connsiteX197" fmla="*/ 180764 w 489855"/>
                <a:gd name="connsiteY197" fmla="*/ 320321 h 534643"/>
                <a:gd name="connsiteX198" fmla="*/ 180613 w 489855"/>
                <a:gd name="connsiteY198" fmla="*/ 321892 h 534643"/>
                <a:gd name="connsiteX199" fmla="*/ 181827 w 489855"/>
                <a:gd name="connsiteY199" fmla="*/ 322639 h 534643"/>
                <a:gd name="connsiteX200" fmla="*/ 182857 w 489855"/>
                <a:gd name="connsiteY200" fmla="*/ 323645 h 534643"/>
                <a:gd name="connsiteX201" fmla="*/ 182589 w 489855"/>
                <a:gd name="connsiteY201" fmla="*/ 324557 h 534643"/>
                <a:gd name="connsiteX202" fmla="*/ 181998 w 489855"/>
                <a:gd name="connsiteY202" fmla="*/ 325457 h 534643"/>
                <a:gd name="connsiteX203" fmla="*/ 184167 w 489855"/>
                <a:gd name="connsiteY203" fmla="*/ 326806 h 534643"/>
                <a:gd name="connsiteX204" fmla="*/ 184025 w 489855"/>
                <a:gd name="connsiteY204" fmla="*/ 327710 h 534643"/>
                <a:gd name="connsiteX205" fmla="*/ 183461 w 489855"/>
                <a:gd name="connsiteY205" fmla="*/ 328658 h 534643"/>
                <a:gd name="connsiteX206" fmla="*/ 178054 w 489855"/>
                <a:gd name="connsiteY206" fmla="*/ 334845 h 534643"/>
                <a:gd name="connsiteX207" fmla="*/ 176467 w 489855"/>
                <a:gd name="connsiteY207" fmla="*/ 337975 h 534643"/>
                <a:gd name="connsiteX208" fmla="*/ 175362 w 489855"/>
                <a:gd name="connsiteY208" fmla="*/ 341421 h 534643"/>
                <a:gd name="connsiteX209" fmla="*/ 174351 w 489855"/>
                <a:gd name="connsiteY209" fmla="*/ 343937 h 534643"/>
                <a:gd name="connsiteX210" fmla="*/ 173611 w 489855"/>
                <a:gd name="connsiteY210" fmla="*/ 346546 h 534643"/>
                <a:gd name="connsiteX211" fmla="*/ 173047 w 489855"/>
                <a:gd name="connsiteY211" fmla="*/ 349362 h 534643"/>
                <a:gd name="connsiteX212" fmla="*/ 172042 w 489855"/>
                <a:gd name="connsiteY212" fmla="*/ 352265 h 534643"/>
                <a:gd name="connsiteX213" fmla="*/ 172375 w 489855"/>
                <a:gd name="connsiteY213" fmla="*/ 354839 h 534643"/>
                <a:gd name="connsiteX214" fmla="*/ 172036 w 489855"/>
                <a:gd name="connsiteY214" fmla="*/ 357473 h 534643"/>
                <a:gd name="connsiteX215" fmla="*/ 169322 w 489855"/>
                <a:gd name="connsiteY215" fmla="*/ 363978 h 534643"/>
                <a:gd name="connsiteX216" fmla="*/ 167387 w 489855"/>
                <a:gd name="connsiteY216" fmla="*/ 363857 h 534643"/>
                <a:gd name="connsiteX217" fmla="*/ 164955 w 489855"/>
                <a:gd name="connsiteY217" fmla="*/ 363070 h 534643"/>
                <a:gd name="connsiteX218" fmla="*/ 163431 w 489855"/>
                <a:gd name="connsiteY218" fmla="*/ 363192 h 534643"/>
                <a:gd name="connsiteX219" fmla="*/ 162643 w 489855"/>
                <a:gd name="connsiteY219" fmla="*/ 364637 h 534643"/>
                <a:gd name="connsiteX220" fmla="*/ 164042 w 489855"/>
                <a:gd name="connsiteY220" fmla="*/ 367603 h 534643"/>
                <a:gd name="connsiteX221" fmla="*/ 159704 w 489855"/>
                <a:gd name="connsiteY221" fmla="*/ 371118 h 534643"/>
                <a:gd name="connsiteX222" fmla="*/ 154916 w 489855"/>
                <a:gd name="connsiteY222" fmla="*/ 373479 h 534643"/>
                <a:gd name="connsiteX223" fmla="*/ 154881 w 489855"/>
                <a:gd name="connsiteY223" fmla="*/ 372404 h 534643"/>
                <a:gd name="connsiteX224" fmla="*/ 155331 w 489855"/>
                <a:gd name="connsiteY224" fmla="*/ 371555 h 534643"/>
                <a:gd name="connsiteX225" fmla="*/ 156022 w 489855"/>
                <a:gd name="connsiteY225" fmla="*/ 370873 h 534643"/>
                <a:gd name="connsiteX226" fmla="*/ 156523 w 489855"/>
                <a:gd name="connsiteY226" fmla="*/ 370051 h 534643"/>
                <a:gd name="connsiteX227" fmla="*/ 157216 w 489855"/>
                <a:gd name="connsiteY227" fmla="*/ 367288 h 534643"/>
                <a:gd name="connsiteX228" fmla="*/ 156873 w 489855"/>
                <a:gd name="connsiteY228" fmla="*/ 364502 h 534643"/>
                <a:gd name="connsiteX229" fmla="*/ 155430 w 489855"/>
                <a:gd name="connsiteY229" fmla="*/ 361012 h 534643"/>
                <a:gd name="connsiteX230" fmla="*/ 155325 w 489855"/>
                <a:gd name="connsiteY230" fmla="*/ 359756 h 534643"/>
                <a:gd name="connsiteX231" fmla="*/ 156325 w 489855"/>
                <a:gd name="connsiteY231" fmla="*/ 359248 h 534643"/>
                <a:gd name="connsiteX232" fmla="*/ 156996 w 489855"/>
                <a:gd name="connsiteY232" fmla="*/ 359104 h 534643"/>
                <a:gd name="connsiteX233" fmla="*/ 157361 w 489855"/>
                <a:gd name="connsiteY233" fmla="*/ 358616 h 534643"/>
                <a:gd name="connsiteX234" fmla="*/ 157374 w 489855"/>
                <a:gd name="connsiteY234" fmla="*/ 357461 h 534643"/>
                <a:gd name="connsiteX235" fmla="*/ 156919 w 489855"/>
                <a:gd name="connsiteY235" fmla="*/ 356604 h 534643"/>
                <a:gd name="connsiteX236" fmla="*/ 155554 w 489855"/>
                <a:gd name="connsiteY236" fmla="*/ 356326 h 534643"/>
                <a:gd name="connsiteX237" fmla="*/ 154238 w 489855"/>
                <a:gd name="connsiteY237" fmla="*/ 356308 h 534643"/>
                <a:gd name="connsiteX238" fmla="*/ 153319 w 489855"/>
                <a:gd name="connsiteY238" fmla="*/ 357604 h 534643"/>
                <a:gd name="connsiteX239" fmla="*/ 152049 w 489855"/>
                <a:gd name="connsiteY239" fmla="*/ 360107 h 534643"/>
                <a:gd name="connsiteX240" fmla="*/ 151431 w 489855"/>
                <a:gd name="connsiteY240" fmla="*/ 362635 h 534643"/>
                <a:gd name="connsiteX241" fmla="*/ 151703 w 489855"/>
                <a:gd name="connsiteY241" fmla="*/ 364017 h 534643"/>
                <a:gd name="connsiteX242" fmla="*/ 152267 w 489855"/>
                <a:gd name="connsiteY242" fmla="*/ 365255 h 534643"/>
                <a:gd name="connsiteX243" fmla="*/ 154006 w 489855"/>
                <a:gd name="connsiteY243" fmla="*/ 367327 h 534643"/>
                <a:gd name="connsiteX244" fmla="*/ 153496 w 489855"/>
                <a:gd name="connsiteY244" fmla="*/ 368546 h 534643"/>
                <a:gd name="connsiteX245" fmla="*/ 152772 w 489855"/>
                <a:gd name="connsiteY245" fmla="*/ 369497 h 534643"/>
                <a:gd name="connsiteX246" fmla="*/ 146622 w 489855"/>
                <a:gd name="connsiteY246" fmla="*/ 367341 h 534643"/>
                <a:gd name="connsiteX247" fmla="*/ 145294 w 489855"/>
                <a:gd name="connsiteY247" fmla="*/ 367188 h 534643"/>
                <a:gd name="connsiteX248" fmla="*/ 144191 w 489855"/>
                <a:gd name="connsiteY248" fmla="*/ 366731 h 534643"/>
                <a:gd name="connsiteX249" fmla="*/ 143009 w 489855"/>
                <a:gd name="connsiteY249" fmla="*/ 363885 h 534643"/>
                <a:gd name="connsiteX250" fmla="*/ 145515 w 489855"/>
                <a:gd name="connsiteY250" fmla="*/ 363199 h 534643"/>
                <a:gd name="connsiteX251" fmla="*/ 146258 w 489855"/>
                <a:gd name="connsiteY251" fmla="*/ 362854 h 534643"/>
                <a:gd name="connsiteX252" fmla="*/ 146534 w 489855"/>
                <a:gd name="connsiteY252" fmla="*/ 361948 h 534643"/>
                <a:gd name="connsiteX253" fmla="*/ 146873 w 489855"/>
                <a:gd name="connsiteY253" fmla="*/ 359169 h 534643"/>
                <a:gd name="connsiteX254" fmla="*/ 145701 w 489855"/>
                <a:gd name="connsiteY254" fmla="*/ 356848 h 534643"/>
                <a:gd name="connsiteX255" fmla="*/ 144711 w 489855"/>
                <a:gd name="connsiteY255" fmla="*/ 356022 h 534643"/>
                <a:gd name="connsiteX256" fmla="*/ 143909 w 489855"/>
                <a:gd name="connsiteY256" fmla="*/ 355073 h 534643"/>
                <a:gd name="connsiteX257" fmla="*/ 144418 w 489855"/>
                <a:gd name="connsiteY257" fmla="*/ 353111 h 534643"/>
                <a:gd name="connsiteX258" fmla="*/ 144083 w 489855"/>
                <a:gd name="connsiteY258" fmla="*/ 350639 h 534643"/>
                <a:gd name="connsiteX259" fmla="*/ 144053 w 489855"/>
                <a:gd name="connsiteY259" fmla="*/ 347184 h 534643"/>
                <a:gd name="connsiteX260" fmla="*/ 144487 w 489855"/>
                <a:gd name="connsiteY260" fmla="*/ 346588 h 534643"/>
                <a:gd name="connsiteX261" fmla="*/ 146810 w 489855"/>
                <a:gd name="connsiteY261" fmla="*/ 345890 h 534643"/>
                <a:gd name="connsiteX262" fmla="*/ 148486 w 489855"/>
                <a:gd name="connsiteY262" fmla="*/ 344036 h 534643"/>
                <a:gd name="connsiteX263" fmla="*/ 149969 w 489855"/>
                <a:gd name="connsiteY263" fmla="*/ 341926 h 534643"/>
                <a:gd name="connsiteX264" fmla="*/ 152144 w 489855"/>
                <a:gd name="connsiteY264" fmla="*/ 338211 h 534643"/>
                <a:gd name="connsiteX265" fmla="*/ 153917 w 489855"/>
                <a:gd name="connsiteY265" fmla="*/ 334195 h 534643"/>
                <a:gd name="connsiteX266" fmla="*/ 152209 w 489855"/>
                <a:gd name="connsiteY266" fmla="*/ 334019 h 534643"/>
                <a:gd name="connsiteX267" fmla="*/ 150762 w 489855"/>
                <a:gd name="connsiteY267" fmla="*/ 333267 h 534643"/>
                <a:gd name="connsiteX268" fmla="*/ 152344 w 489855"/>
                <a:gd name="connsiteY268" fmla="*/ 331365 h 534643"/>
                <a:gd name="connsiteX269" fmla="*/ 151855 w 489855"/>
                <a:gd name="connsiteY269" fmla="*/ 328963 h 534643"/>
                <a:gd name="connsiteX270" fmla="*/ 149492 w 489855"/>
                <a:gd name="connsiteY270" fmla="*/ 326008 h 534643"/>
                <a:gd name="connsiteX271" fmla="*/ 148194 w 489855"/>
                <a:gd name="connsiteY271" fmla="*/ 322521 h 534643"/>
                <a:gd name="connsiteX272" fmla="*/ 146106 w 489855"/>
                <a:gd name="connsiteY272" fmla="*/ 320985 h 534643"/>
                <a:gd name="connsiteX273" fmla="*/ 145005 w 489855"/>
                <a:gd name="connsiteY273" fmla="*/ 320420 h 534643"/>
                <a:gd name="connsiteX274" fmla="*/ 143664 w 489855"/>
                <a:gd name="connsiteY274" fmla="*/ 321238 h 534643"/>
                <a:gd name="connsiteX275" fmla="*/ 142559 w 489855"/>
                <a:gd name="connsiteY275" fmla="*/ 322219 h 534643"/>
                <a:gd name="connsiteX276" fmla="*/ 143582 w 489855"/>
                <a:gd name="connsiteY276" fmla="*/ 324487 h 534643"/>
                <a:gd name="connsiteX277" fmla="*/ 143463 w 489855"/>
                <a:gd name="connsiteY277" fmla="*/ 326491 h 534643"/>
                <a:gd name="connsiteX278" fmla="*/ 143623 w 489855"/>
                <a:gd name="connsiteY278" fmla="*/ 328476 h 534643"/>
                <a:gd name="connsiteX279" fmla="*/ 144666 w 489855"/>
                <a:gd name="connsiteY279" fmla="*/ 328587 h 534643"/>
                <a:gd name="connsiteX280" fmla="*/ 145946 w 489855"/>
                <a:gd name="connsiteY280" fmla="*/ 328093 h 534643"/>
                <a:gd name="connsiteX281" fmla="*/ 146972 w 489855"/>
                <a:gd name="connsiteY281" fmla="*/ 328444 h 534643"/>
                <a:gd name="connsiteX282" fmla="*/ 147570 w 489855"/>
                <a:gd name="connsiteY282" fmla="*/ 329486 h 534643"/>
                <a:gd name="connsiteX283" fmla="*/ 147732 w 489855"/>
                <a:gd name="connsiteY283" fmla="*/ 330830 h 534643"/>
                <a:gd name="connsiteX284" fmla="*/ 147280 w 489855"/>
                <a:gd name="connsiteY284" fmla="*/ 332160 h 534643"/>
                <a:gd name="connsiteX285" fmla="*/ 146335 w 489855"/>
                <a:gd name="connsiteY285" fmla="*/ 332822 h 534643"/>
                <a:gd name="connsiteX286" fmla="*/ 145182 w 489855"/>
                <a:gd name="connsiteY286" fmla="*/ 332769 h 534643"/>
                <a:gd name="connsiteX287" fmla="*/ 144020 w 489855"/>
                <a:gd name="connsiteY287" fmla="*/ 332051 h 534643"/>
                <a:gd name="connsiteX288" fmla="*/ 143116 w 489855"/>
                <a:gd name="connsiteY288" fmla="*/ 331027 h 534643"/>
                <a:gd name="connsiteX289" fmla="*/ 140950 w 489855"/>
                <a:gd name="connsiteY289" fmla="*/ 330461 h 534643"/>
                <a:gd name="connsiteX290" fmla="*/ 138665 w 489855"/>
                <a:gd name="connsiteY290" fmla="*/ 331671 h 534643"/>
                <a:gd name="connsiteX291" fmla="*/ 136493 w 489855"/>
                <a:gd name="connsiteY291" fmla="*/ 334134 h 534643"/>
                <a:gd name="connsiteX292" fmla="*/ 134635 w 489855"/>
                <a:gd name="connsiteY292" fmla="*/ 335383 h 534643"/>
                <a:gd name="connsiteX293" fmla="*/ 135510 w 489855"/>
                <a:gd name="connsiteY293" fmla="*/ 333554 h 534643"/>
                <a:gd name="connsiteX294" fmla="*/ 135922 w 489855"/>
                <a:gd name="connsiteY294" fmla="*/ 331582 h 534643"/>
                <a:gd name="connsiteX295" fmla="*/ 135020 w 489855"/>
                <a:gd name="connsiteY295" fmla="*/ 330194 h 534643"/>
                <a:gd name="connsiteX296" fmla="*/ 132899 w 489855"/>
                <a:gd name="connsiteY296" fmla="*/ 327886 h 534643"/>
                <a:gd name="connsiteX297" fmla="*/ 132407 w 489855"/>
                <a:gd name="connsiteY297" fmla="*/ 326550 h 534643"/>
                <a:gd name="connsiteX298" fmla="*/ 132286 w 489855"/>
                <a:gd name="connsiteY298" fmla="*/ 324933 h 534643"/>
                <a:gd name="connsiteX299" fmla="*/ 132658 w 489855"/>
                <a:gd name="connsiteY299" fmla="*/ 323327 h 534643"/>
                <a:gd name="connsiteX300" fmla="*/ 134839 w 489855"/>
                <a:gd name="connsiteY300" fmla="*/ 325165 h 534643"/>
                <a:gd name="connsiteX301" fmla="*/ 135957 w 489855"/>
                <a:gd name="connsiteY301" fmla="*/ 327456 h 534643"/>
                <a:gd name="connsiteX302" fmla="*/ 137559 w 489855"/>
                <a:gd name="connsiteY302" fmla="*/ 328462 h 534643"/>
                <a:gd name="connsiteX303" fmla="*/ 139570 w 489855"/>
                <a:gd name="connsiteY303" fmla="*/ 328470 h 534643"/>
                <a:gd name="connsiteX304" fmla="*/ 138026 w 489855"/>
                <a:gd name="connsiteY304" fmla="*/ 325104 h 534643"/>
                <a:gd name="connsiteX305" fmla="*/ 137471 w 489855"/>
                <a:gd name="connsiteY305" fmla="*/ 324256 h 534643"/>
                <a:gd name="connsiteX306" fmla="*/ 135303 w 489855"/>
                <a:gd name="connsiteY306" fmla="*/ 322743 h 534643"/>
                <a:gd name="connsiteX307" fmla="*/ 132346 w 489855"/>
                <a:gd name="connsiteY307" fmla="*/ 320197 h 534643"/>
                <a:gd name="connsiteX308" fmla="*/ 130468 w 489855"/>
                <a:gd name="connsiteY308" fmla="*/ 318970 h 534643"/>
                <a:gd name="connsiteX309" fmla="*/ 131133 w 489855"/>
                <a:gd name="connsiteY309" fmla="*/ 316314 h 534643"/>
                <a:gd name="connsiteX310" fmla="*/ 132234 w 489855"/>
                <a:gd name="connsiteY310" fmla="*/ 315786 h 534643"/>
                <a:gd name="connsiteX311" fmla="*/ 133167 w 489855"/>
                <a:gd name="connsiteY311" fmla="*/ 315914 h 534643"/>
                <a:gd name="connsiteX312" fmla="*/ 136307 w 489855"/>
                <a:gd name="connsiteY312" fmla="*/ 316855 h 534643"/>
                <a:gd name="connsiteX313" fmla="*/ 136603 w 489855"/>
                <a:gd name="connsiteY313" fmla="*/ 315532 h 534643"/>
                <a:gd name="connsiteX314" fmla="*/ 136141 w 489855"/>
                <a:gd name="connsiteY314" fmla="*/ 314825 h 534643"/>
                <a:gd name="connsiteX315" fmla="*/ 135899 w 489855"/>
                <a:gd name="connsiteY315" fmla="*/ 314003 h 534643"/>
                <a:gd name="connsiteX316" fmla="*/ 137965 w 489855"/>
                <a:gd name="connsiteY316" fmla="*/ 312852 h 534643"/>
                <a:gd name="connsiteX317" fmla="*/ 141347 w 489855"/>
                <a:gd name="connsiteY317" fmla="*/ 311903 h 534643"/>
                <a:gd name="connsiteX318" fmla="*/ 142040 w 489855"/>
                <a:gd name="connsiteY318" fmla="*/ 311459 h 534643"/>
                <a:gd name="connsiteX319" fmla="*/ 142640 w 489855"/>
                <a:gd name="connsiteY319" fmla="*/ 310506 h 534643"/>
                <a:gd name="connsiteX320" fmla="*/ 143467 w 489855"/>
                <a:gd name="connsiteY320" fmla="*/ 310007 h 534643"/>
                <a:gd name="connsiteX321" fmla="*/ 145836 w 489855"/>
                <a:gd name="connsiteY321" fmla="*/ 310022 h 534643"/>
                <a:gd name="connsiteX322" fmla="*/ 147825 w 489855"/>
                <a:gd name="connsiteY322" fmla="*/ 309110 h 534643"/>
                <a:gd name="connsiteX323" fmla="*/ 149471 w 489855"/>
                <a:gd name="connsiteY323" fmla="*/ 306635 h 534643"/>
                <a:gd name="connsiteX324" fmla="*/ 149864 w 489855"/>
                <a:gd name="connsiteY324" fmla="*/ 305277 h 534643"/>
                <a:gd name="connsiteX325" fmla="*/ 150452 w 489855"/>
                <a:gd name="connsiteY325" fmla="*/ 304143 h 534643"/>
                <a:gd name="connsiteX326" fmla="*/ 154558 w 489855"/>
                <a:gd name="connsiteY326" fmla="*/ 302135 h 534643"/>
                <a:gd name="connsiteX327" fmla="*/ 188577 w 489855"/>
                <a:gd name="connsiteY327" fmla="*/ 301331 h 534643"/>
                <a:gd name="connsiteX328" fmla="*/ 189860 w 489855"/>
                <a:gd name="connsiteY328" fmla="*/ 301397 h 534643"/>
                <a:gd name="connsiteX329" fmla="*/ 190933 w 489855"/>
                <a:gd name="connsiteY329" fmla="*/ 302306 h 534643"/>
                <a:gd name="connsiteX330" fmla="*/ 193496 w 489855"/>
                <a:gd name="connsiteY330" fmla="*/ 301935 h 534643"/>
                <a:gd name="connsiteX331" fmla="*/ 193816 w 489855"/>
                <a:gd name="connsiteY331" fmla="*/ 302192 h 534643"/>
                <a:gd name="connsiteX332" fmla="*/ 193067 w 489855"/>
                <a:gd name="connsiteY332" fmla="*/ 303018 h 534643"/>
                <a:gd name="connsiteX333" fmla="*/ 191937 w 489855"/>
                <a:gd name="connsiteY333" fmla="*/ 303835 h 534643"/>
                <a:gd name="connsiteX334" fmla="*/ 189888 w 489855"/>
                <a:gd name="connsiteY334" fmla="*/ 303228 h 534643"/>
                <a:gd name="connsiteX335" fmla="*/ 188594 w 489855"/>
                <a:gd name="connsiteY335" fmla="*/ 303194 h 534643"/>
                <a:gd name="connsiteX336" fmla="*/ 188413 w 489855"/>
                <a:gd name="connsiteY336" fmla="*/ 301829 h 534643"/>
                <a:gd name="connsiteX337" fmla="*/ 195994 w 489855"/>
                <a:gd name="connsiteY337" fmla="*/ 295739 h 534643"/>
                <a:gd name="connsiteX338" fmla="*/ 196363 w 489855"/>
                <a:gd name="connsiteY338" fmla="*/ 296878 h 534643"/>
                <a:gd name="connsiteX339" fmla="*/ 196767 w 489855"/>
                <a:gd name="connsiteY339" fmla="*/ 297169 h 534643"/>
                <a:gd name="connsiteX340" fmla="*/ 196126 w 489855"/>
                <a:gd name="connsiteY340" fmla="*/ 298167 h 534643"/>
                <a:gd name="connsiteX341" fmla="*/ 194170 w 489855"/>
                <a:gd name="connsiteY341" fmla="*/ 297864 h 534643"/>
                <a:gd name="connsiteX342" fmla="*/ 194952 w 489855"/>
                <a:gd name="connsiteY342" fmla="*/ 297000 h 534643"/>
                <a:gd name="connsiteX343" fmla="*/ 195554 w 489855"/>
                <a:gd name="connsiteY343" fmla="*/ 295953 h 534643"/>
                <a:gd name="connsiteX344" fmla="*/ 122392 w 489855"/>
                <a:gd name="connsiteY344" fmla="*/ 292053 h 534643"/>
                <a:gd name="connsiteX345" fmla="*/ 125096 w 489855"/>
                <a:gd name="connsiteY345" fmla="*/ 292947 h 534643"/>
                <a:gd name="connsiteX346" fmla="*/ 125050 w 489855"/>
                <a:gd name="connsiteY346" fmla="*/ 294291 h 534643"/>
                <a:gd name="connsiteX347" fmla="*/ 123821 w 489855"/>
                <a:gd name="connsiteY347" fmla="*/ 296965 h 534643"/>
                <a:gd name="connsiteX348" fmla="*/ 122383 w 489855"/>
                <a:gd name="connsiteY348" fmla="*/ 297975 h 534643"/>
                <a:gd name="connsiteX349" fmla="*/ 121763 w 489855"/>
                <a:gd name="connsiteY349" fmla="*/ 296427 h 534643"/>
                <a:gd name="connsiteX350" fmla="*/ 229879 w 489855"/>
                <a:gd name="connsiteY350" fmla="*/ 291112 h 534643"/>
                <a:gd name="connsiteX351" fmla="*/ 233050 w 489855"/>
                <a:gd name="connsiteY351" fmla="*/ 292093 h 534643"/>
                <a:gd name="connsiteX352" fmla="*/ 236105 w 489855"/>
                <a:gd name="connsiteY352" fmla="*/ 293655 h 534643"/>
                <a:gd name="connsiteX353" fmla="*/ 239163 w 489855"/>
                <a:gd name="connsiteY353" fmla="*/ 294691 h 534643"/>
                <a:gd name="connsiteX354" fmla="*/ 242298 w 489855"/>
                <a:gd name="connsiteY354" fmla="*/ 294396 h 534643"/>
                <a:gd name="connsiteX355" fmla="*/ 242249 w 489855"/>
                <a:gd name="connsiteY355" fmla="*/ 298942 h 534643"/>
                <a:gd name="connsiteX356" fmla="*/ 242693 w 489855"/>
                <a:gd name="connsiteY356" fmla="*/ 300466 h 534643"/>
                <a:gd name="connsiteX357" fmla="*/ 243577 w 489855"/>
                <a:gd name="connsiteY357" fmla="*/ 301830 h 534643"/>
                <a:gd name="connsiteX358" fmla="*/ 243123 w 489855"/>
                <a:gd name="connsiteY358" fmla="*/ 303816 h 534643"/>
                <a:gd name="connsiteX359" fmla="*/ 244540 w 489855"/>
                <a:gd name="connsiteY359" fmla="*/ 304494 h 534643"/>
                <a:gd name="connsiteX360" fmla="*/ 240335 w 489855"/>
                <a:gd name="connsiteY360" fmla="*/ 306758 h 534643"/>
                <a:gd name="connsiteX361" fmla="*/ 236539 w 489855"/>
                <a:gd name="connsiteY361" fmla="*/ 309756 h 534643"/>
                <a:gd name="connsiteX362" fmla="*/ 234980 w 489855"/>
                <a:gd name="connsiteY362" fmla="*/ 311779 h 534643"/>
                <a:gd name="connsiteX363" fmla="*/ 233567 w 489855"/>
                <a:gd name="connsiteY363" fmla="*/ 313942 h 534643"/>
                <a:gd name="connsiteX364" fmla="*/ 232750 w 489855"/>
                <a:gd name="connsiteY364" fmla="*/ 316232 h 534643"/>
                <a:gd name="connsiteX365" fmla="*/ 232218 w 489855"/>
                <a:gd name="connsiteY365" fmla="*/ 318699 h 534643"/>
                <a:gd name="connsiteX366" fmla="*/ 230946 w 489855"/>
                <a:gd name="connsiteY366" fmla="*/ 317721 h 534643"/>
                <a:gd name="connsiteX367" fmla="*/ 227289 w 489855"/>
                <a:gd name="connsiteY367" fmla="*/ 313722 h 534643"/>
                <a:gd name="connsiteX368" fmla="*/ 224973 w 489855"/>
                <a:gd name="connsiteY368" fmla="*/ 312624 h 534643"/>
                <a:gd name="connsiteX369" fmla="*/ 221250 w 489855"/>
                <a:gd name="connsiteY369" fmla="*/ 312039 h 534643"/>
                <a:gd name="connsiteX370" fmla="*/ 220065 w 489855"/>
                <a:gd name="connsiteY370" fmla="*/ 312171 h 534643"/>
                <a:gd name="connsiteX371" fmla="*/ 212412 w 489855"/>
                <a:gd name="connsiteY371" fmla="*/ 315910 h 534643"/>
                <a:gd name="connsiteX372" fmla="*/ 211395 w 489855"/>
                <a:gd name="connsiteY372" fmla="*/ 318640 h 534643"/>
                <a:gd name="connsiteX373" fmla="*/ 209309 w 489855"/>
                <a:gd name="connsiteY373" fmla="*/ 322754 h 534643"/>
                <a:gd name="connsiteX374" fmla="*/ 208320 w 489855"/>
                <a:gd name="connsiteY374" fmla="*/ 324111 h 534643"/>
                <a:gd name="connsiteX375" fmla="*/ 207222 w 489855"/>
                <a:gd name="connsiteY375" fmla="*/ 324500 h 534643"/>
                <a:gd name="connsiteX376" fmla="*/ 206444 w 489855"/>
                <a:gd name="connsiteY376" fmla="*/ 325205 h 534643"/>
                <a:gd name="connsiteX377" fmla="*/ 205587 w 489855"/>
                <a:gd name="connsiteY377" fmla="*/ 328706 h 534643"/>
                <a:gd name="connsiteX378" fmla="*/ 203213 w 489855"/>
                <a:gd name="connsiteY378" fmla="*/ 330861 h 534643"/>
                <a:gd name="connsiteX379" fmla="*/ 201762 w 489855"/>
                <a:gd name="connsiteY379" fmla="*/ 330925 h 534643"/>
                <a:gd name="connsiteX380" fmla="*/ 199283 w 489855"/>
                <a:gd name="connsiteY380" fmla="*/ 330335 h 534643"/>
                <a:gd name="connsiteX381" fmla="*/ 198169 w 489855"/>
                <a:gd name="connsiteY381" fmla="*/ 330667 h 534643"/>
                <a:gd name="connsiteX382" fmla="*/ 199655 w 489855"/>
                <a:gd name="connsiteY382" fmla="*/ 327214 h 534643"/>
                <a:gd name="connsiteX383" fmla="*/ 197288 w 489855"/>
                <a:gd name="connsiteY383" fmla="*/ 326793 h 534643"/>
                <a:gd name="connsiteX384" fmla="*/ 194926 w 489855"/>
                <a:gd name="connsiteY384" fmla="*/ 326866 h 534643"/>
                <a:gd name="connsiteX385" fmla="*/ 194870 w 489855"/>
                <a:gd name="connsiteY385" fmla="*/ 324618 h 534643"/>
                <a:gd name="connsiteX386" fmla="*/ 193437 w 489855"/>
                <a:gd name="connsiteY386" fmla="*/ 323341 h 534643"/>
                <a:gd name="connsiteX387" fmla="*/ 194498 w 489855"/>
                <a:gd name="connsiteY387" fmla="*/ 321684 h 534643"/>
                <a:gd name="connsiteX388" fmla="*/ 194529 w 489855"/>
                <a:gd name="connsiteY388" fmla="*/ 320333 h 534643"/>
                <a:gd name="connsiteX389" fmla="*/ 195150 w 489855"/>
                <a:gd name="connsiteY389" fmla="*/ 319588 h 534643"/>
                <a:gd name="connsiteX390" fmla="*/ 195367 w 489855"/>
                <a:gd name="connsiteY390" fmla="*/ 318498 h 534643"/>
                <a:gd name="connsiteX391" fmla="*/ 195287 w 489855"/>
                <a:gd name="connsiteY391" fmla="*/ 317565 h 534643"/>
                <a:gd name="connsiteX392" fmla="*/ 193826 w 489855"/>
                <a:gd name="connsiteY392" fmla="*/ 317281 h 534643"/>
                <a:gd name="connsiteX393" fmla="*/ 192937 w 489855"/>
                <a:gd name="connsiteY393" fmla="*/ 316621 h 534643"/>
                <a:gd name="connsiteX394" fmla="*/ 193106 w 489855"/>
                <a:gd name="connsiteY394" fmla="*/ 314165 h 534643"/>
                <a:gd name="connsiteX395" fmla="*/ 192268 w 489855"/>
                <a:gd name="connsiteY395" fmla="*/ 314075 h 534643"/>
                <a:gd name="connsiteX396" fmla="*/ 190193 w 489855"/>
                <a:gd name="connsiteY396" fmla="*/ 314504 h 534643"/>
                <a:gd name="connsiteX397" fmla="*/ 185876 w 489855"/>
                <a:gd name="connsiteY397" fmla="*/ 316401 h 534643"/>
                <a:gd name="connsiteX398" fmla="*/ 184699 w 489855"/>
                <a:gd name="connsiteY398" fmla="*/ 316405 h 534643"/>
                <a:gd name="connsiteX399" fmla="*/ 186508 w 489855"/>
                <a:gd name="connsiteY399" fmla="*/ 315054 h 534643"/>
                <a:gd name="connsiteX400" fmla="*/ 190344 w 489855"/>
                <a:gd name="connsiteY400" fmla="*/ 313197 h 534643"/>
                <a:gd name="connsiteX401" fmla="*/ 192069 w 489855"/>
                <a:gd name="connsiteY401" fmla="*/ 312134 h 534643"/>
                <a:gd name="connsiteX402" fmla="*/ 195830 w 489855"/>
                <a:gd name="connsiteY402" fmla="*/ 309148 h 534643"/>
                <a:gd name="connsiteX403" fmla="*/ 198197 w 489855"/>
                <a:gd name="connsiteY403" fmla="*/ 307734 h 534643"/>
                <a:gd name="connsiteX404" fmla="*/ 199432 w 489855"/>
                <a:gd name="connsiteY404" fmla="*/ 305229 h 534643"/>
                <a:gd name="connsiteX405" fmla="*/ 199814 w 489855"/>
                <a:gd name="connsiteY405" fmla="*/ 303706 h 534643"/>
                <a:gd name="connsiteX406" fmla="*/ 200614 w 489855"/>
                <a:gd name="connsiteY406" fmla="*/ 302367 h 534643"/>
                <a:gd name="connsiteX407" fmla="*/ 201320 w 489855"/>
                <a:gd name="connsiteY407" fmla="*/ 300222 h 534643"/>
                <a:gd name="connsiteX408" fmla="*/ 202540 w 489855"/>
                <a:gd name="connsiteY408" fmla="*/ 299506 h 534643"/>
                <a:gd name="connsiteX409" fmla="*/ 204656 w 489855"/>
                <a:gd name="connsiteY409" fmla="*/ 297664 h 534643"/>
                <a:gd name="connsiteX410" fmla="*/ 205872 w 489855"/>
                <a:gd name="connsiteY410" fmla="*/ 297842 h 534643"/>
                <a:gd name="connsiteX411" fmla="*/ 207223 w 489855"/>
                <a:gd name="connsiteY411" fmla="*/ 300106 h 534643"/>
                <a:gd name="connsiteX412" fmla="*/ 209046 w 489855"/>
                <a:gd name="connsiteY412" fmla="*/ 301841 h 534643"/>
                <a:gd name="connsiteX413" fmla="*/ 210359 w 489855"/>
                <a:gd name="connsiteY413" fmla="*/ 301694 h 534643"/>
                <a:gd name="connsiteX414" fmla="*/ 212697 w 489855"/>
                <a:gd name="connsiteY414" fmla="*/ 300805 h 534643"/>
                <a:gd name="connsiteX415" fmla="*/ 213825 w 489855"/>
                <a:gd name="connsiteY415" fmla="*/ 300605 h 534643"/>
                <a:gd name="connsiteX416" fmla="*/ 216528 w 489855"/>
                <a:gd name="connsiteY416" fmla="*/ 300710 h 534643"/>
                <a:gd name="connsiteX417" fmla="*/ 218960 w 489855"/>
                <a:gd name="connsiteY417" fmla="*/ 299608 h 534643"/>
                <a:gd name="connsiteX418" fmla="*/ 219949 w 489855"/>
                <a:gd name="connsiteY418" fmla="*/ 298309 h 534643"/>
                <a:gd name="connsiteX419" fmla="*/ 220318 w 489855"/>
                <a:gd name="connsiteY419" fmla="*/ 296684 h 534643"/>
                <a:gd name="connsiteX420" fmla="*/ 219415 w 489855"/>
                <a:gd name="connsiteY420" fmla="*/ 293966 h 534643"/>
                <a:gd name="connsiteX421" fmla="*/ 220585 w 489855"/>
                <a:gd name="connsiteY421" fmla="*/ 294240 h 534643"/>
                <a:gd name="connsiteX422" fmla="*/ 221706 w 489855"/>
                <a:gd name="connsiteY422" fmla="*/ 294128 h 534643"/>
                <a:gd name="connsiteX423" fmla="*/ 224345 w 489855"/>
                <a:gd name="connsiteY423" fmla="*/ 292398 h 534643"/>
                <a:gd name="connsiteX424" fmla="*/ 227059 w 489855"/>
                <a:gd name="connsiteY424" fmla="*/ 291370 h 534643"/>
                <a:gd name="connsiteX425" fmla="*/ 235410 w 489855"/>
                <a:gd name="connsiteY425" fmla="*/ 286723 h 534643"/>
                <a:gd name="connsiteX426" fmla="*/ 236433 w 489855"/>
                <a:gd name="connsiteY426" fmla="*/ 287023 h 534643"/>
                <a:gd name="connsiteX427" fmla="*/ 235982 w 489855"/>
                <a:gd name="connsiteY427" fmla="*/ 287989 h 534643"/>
                <a:gd name="connsiteX428" fmla="*/ 235570 w 489855"/>
                <a:gd name="connsiteY428" fmla="*/ 288485 h 534643"/>
                <a:gd name="connsiteX429" fmla="*/ 235175 w 489855"/>
                <a:gd name="connsiteY429" fmla="*/ 288356 h 534643"/>
                <a:gd name="connsiteX430" fmla="*/ 233771 w 489855"/>
                <a:gd name="connsiteY430" fmla="*/ 289501 h 534643"/>
                <a:gd name="connsiteX431" fmla="*/ 233467 w 489855"/>
                <a:gd name="connsiteY431" fmla="*/ 288403 h 534643"/>
                <a:gd name="connsiteX432" fmla="*/ 232365 w 489855"/>
                <a:gd name="connsiteY432" fmla="*/ 287673 h 534643"/>
                <a:gd name="connsiteX433" fmla="*/ 232229 w 489855"/>
                <a:gd name="connsiteY433" fmla="*/ 287101 h 534643"/>
                <a:gd name="connsiteX434" fmla="*/ 249445 w 489855"/>
                <a:gd name="connsiteY434" fmla="*/ 286460 h 534643"/>
                <a:gd name="connsiteX435" fmla="*/ 250418 w 489855"/>
                <a:gd name="connsiteY435" fmla="*/ 286482 h 534643"/>
                <a:gd name="connsiteX436" fmla="*/ 248224 w 489855"/>
                <a:gd name="connsiteY436" fmla="*/ 290118 h 534643"/>
                <a:gd name="connsiteX437" fmla="*/ 248828 w 489855"/>
                <a:gd name="connsiteY437" fmla="*/ 292863 h 534643"/>
                <a:gd name="connsiteX438" fmla="*/ 246432 w 489855"/>
                <a:gd name="connsiteY438" fmla="*/ 294985 h 534643"/>
                <a:gd name="connsiteX439" fmla="*/ 244358 w 489855"/>
                <a:gd name="connsiteY439" fmla="*/ 294837 h 534643"/>
                <a:gd name="connsiteX440" fmla="*/ 243316 w 489855"/>
                <a:gd name="connsiteY440" fmla="*/ 293889 h 534643"/>
                <a:gd name="connsiteX441" fmla="*/ 242970 w 489855"/>
                <a:gd name="connsiteY441" fmla="*/ 292714 h 534643"/>
                <a:gd name="connsiteX442" fmla="*/ 244946 w 489855"/>
                <a:gd name="connsiteY442" fmla="*/ 290869 h 534643"/>
                <a:gd name="connsiteX443" fmla="*/ 246650 w 489855"/>
                <a:gd name="connsiteY443" fmla="*/ 288263 h 534643"/>
                <a:gd name="connsiteX444" fmla="*/ 248194 w 489855"/>
                <a:gd name="connsiteY444" fmla="*/ 287105 h 534643"/>
                <a:gd name="connsiteX445" fmla="*/ 127616 w 489855"/>
                <a:gd name="connsiteY445" fmla="*/ 282923 h 534643"/>
                <a:gd name="connsiteX446" fmla="*/ 128088 w 489855"/>
                <a:gd name="connsiteY446" fmla="*/ 283303 h 534643"/>
                <a:gd name="connsiteX447" fmla="*/ 128259 w 489855"/>
                <a:gd name="connsiteY447" fmla="*/ 283850 h 534643"/>
                <a:gd name="connsiteX448" fmla="*/ 128015 w 489855"/>
                <a:gd name="connsiteY448" fmla="*/ 284697 h 534643"/>
                <a:gd name="connsiteX449" fmla="*/ 128153 w 489855"/>
                <a:gd name="connsiteY449" fmla="*/ 286572 h 534643"/>
                <a:gd name="connsiteX450" fmla="*/ 126075 w 489855"/>
                <a:gd name="connsiteY450" fmla="*/ 289665 h 534643"/>
                <a:gd name="connsiteX451" fmla="*/ 126169 w 489855"/>
                <a:gd name="connsiteY451" fmla="*/ 291231 h 534643"/>
                <a:gd name="connsiteX452" fmla="*/ 125720 w 489855"/>
                <a:gd name="connsiteY452" fmla="*/ 292430 h 534643"/>
                <a:gd name="connsiteX453" fmla="*/ 124218 w 489855"/>
                <a:gd name="connsiteY453" fmla="*/ 291581 h 534643"/>
                <a:gd name="connsiteX454" fmla="*/ 123538 w 489855"/>
                <a:gd name="connsiteY454" fmla="*/ 290812 h 534643"/>
                <a:gd name="connsiteX455" fmla="*/ 124924 w 489855"/>
                <a:gd name="connsiteY455" fmla="*/ 287035 h 534643"/>
                <a:gd name="connsiteX456" fmla="*/ 124763 w 489855"/>
                <a:gd name="connsiteY456" fmla="*/ 285602 h 534643"/>
                <a:gd name="connsiteX457" fmla="*/ 124847 w 489855"/>
                <a:gd name="connsiteY457" fmla="*/ 284903 h 534643"/>
                <a:gd name="connsiteX458" fmla="*/ 348186 w 489855"/>
                <a:gd name="connsiteY458" fmla="*/ 280690 h 534643"/>
                <a:gd name="connsiteX459" fmla="*/ 348856 w 489855"/>
                <a:gd name="connsiteY459" fmla="*/ 281925 h 534643"/>
                <a:gd name="connsiteX460" fmla="*/ 348618 w 489855"/>
                <a:gd name="connsiteY460" fmla="*/ 283098 h 534643"/>
                <a:gd name="connsiteX461" fmla="*/ 347439 w 489855"/>
                <a:gd name="connsiteY461" fmla="*/ 282840 h 534643"/>
                <a:gd name="connsiteX462" fmla="*/ 346875 w 489855"/>
                <a:gd name="connsiteY462" fmla="*/ 282075 h 534643"/>
                <a:gd name="connsiteX463" fmla="*/ 346944 w 489855"/>
                <a:gd name="connsiteY463" fmla="*/ 280701 h 534643"/>
                <a:gd name="connsiteX464" fmla="*/ 212628 w 489855"/>
                <a:gd name="connsiteY464" fmla="*/ 241351 h 534643"/>
                <a:gd name="connsiteX465" fmla="*/ 214520 w 489855"/>
                <a:gd name="connsiteY465" fmla="*/ 243721 h 534643"/>
                <a:gd name="connsiteX466" fmla="*/ 214283 w 489855"/>
                <a:gd name="connsiteY466" fmla="*/ 244797 h 534643"/>
                <a:gd name="connsiteX467" fmla="*/ 213269 w 489855"/>
                <a:gd name="connsiteY467" fmla="*/ 245741 h 534643"/>
                <a:gd name="connsiteX468" fmla="*/ 211380 w 489855"/>
                <a:gd name="connsiteY468" fmla="*/ 245431 h 534643"/>
                <a:gd name="connsiteX469" fmla="*/ 210290 w 489855"/>
                <a:gd name="connsiteY469" fmla="*/ 244070 h 534643"/>
                <a:gd name="connsiteX470" fmla="*/ 210648 w 489855"/>
                <a:gd name="connsiteY470" fmla="*/ 242533 h 534643"/>
                <a:gd name="connsiteX471" fmla="*/ 327786 w 489855"/>
                <a:gd name="connsiteY471" fmla="*/ 190970 h 534643"/>
                <a:gd name="connsiteX472" fmla="*/ 327929 w 489855"/>
                <a:gd name="connsiteY472" fmla="*/ 192433 h 534643"/>
                <a:gd name="connsiteX473" fmla="*/ 326883 w 489855"/>
                <a:gd name="connsiteY473" fmla="*/ 195891 h 534643"/>
                <a:gd name="connsiteX474" fmla="*/ 326681 w 489855"/>
                <a:gd name="connsiteY474" fmla="*/ 197139 h 534643"/>
                <a:gd name="connsiteX475" fmla="*/ 329369 w 489855"/>
                <a:gd name="connsiteY475" fmla="*/ 197399 h 534643"/>
                <a:gd name="connsiteX476" fmla="*/ 327639 w 489855"/>
                <a:gd name="connsiteY476" fmla="*/ 201543 h 534643"/>
                <a:gd name="connsiteX477" fmla="*/ 324257 w 489855"/>
                <a:gd name="connsiteY477" fmla="*/ 203637 h 534643"/>
                <a:gd name="connsiteX478" fmla="*/ 322157 w 489855"/>
                <a:gd name="connsiteY478" fmla="*/ 203702 h 534643"/>
                <a:gd name="connsiteX479" fmla="*/ 321629 w 489855"/>
                <a:gd name="connsiteY479" fmla="*/ 203451 h 534643"/>
                <a:gd name="connsiteX480" fmla="*/ 322904 w 489855"/>
                <a:gd name="connsiteY480" fmla="*/ 202816 h 534643"/>
                <a:gd name="connsiteX481" fmla="*/ 323016 w 489855"/>
                <a:gd name="connsiteY481" fmla="*/ 201750 h 534643"/>
                <a:gd name="connsiteX482" fmla="*/ 323776 w 489855"/>
                <a:gd name="connsiteY482" fmla="*/ 199861 h 534643"/>
                <a:gd name="connsiteX483" fmla="*/ 323763 w 489855"/>
                <a:gd name="connsiteY483" fmla="*/ 199315 h 534643"/>
                <a:gd name="connsiteX484" fmla="*/ 322094 w 489855"/>
                <a:gd name="connsiteY484" fmla="*/ 199219 h 534643"/>
                <a:gd name="connsiteX485" fmla="*/ 322178 w 489855"/>
                <a:gd name="connsiteY485" fmla="*/ 197068 h 534643"/>
                <a:gd name="connsiteX486" fmla="*/ 323424 w 489855"/>
                <a:gd name="connsiteY486" fmla="*/ 194946 h 534643"/>
                <a:gd name="connsiteX487" fmla="*/ 326852 w 489855"/>
                <a:gd name="connsiteY487" fmla="*/ 191599 h 534643"/>
                <a:gd name="connsiteX488" fmla="*/ 381592 w 489855"/>
                <a:gd name="connsiteY488" fmla="*/ 107855 h 534643"/>
                <a:gd name="connsiteX489" fmla="*/ 384096 w 489855"/>
                <a:gd name="connsiteY489" fmla="*/ 108644 h 534643"/>
                <a:gd name="connsiteX490" fmla="*/ 385327 w 489855"/>
                <a:gd name="connsiteY490" fmla="*/ 109169 h 534643"/>
                <a:gd name="connsiteX491" fmla="*/ 388057 w 489855"/>
                <a:gd name="connsiteY491" fmla="*/ 111366 h 534643"/>
                <a:gd name="connsiteX492" fmla="*/ 388929 w 489855"/>
                <a:gd name="connsiteY492" fmla="*/ 111863 h 534643"/>
                <a:gd name="connsiteX493" fmla="*/ 393058 w 489855"/>
                <a:gd name="connsiteY493" fmla="*/ 110519 h 534643"/>
                <a:gd name="connsiteX494" fmla="*/ 392272 w 489855"/>
                <a:gd name="connsiteY494" fmla="*/ 114570 h 534643"/>
                <a:gd name="connsiteX495" fmla="*/ 391831 w 489855"/>
                <a:gd name="connsiteY495" fmla="*/ 118650 h 534643"/>
                <a:gd name="connsiteX496" fmla="*/ 392134 w 489855"/>
                <a:gd name="connsiteY496" fmla="*/ 125409 h 534643"/>
                <a:gd name="connsiteX497" fmla="*/ 392505 w 489855"/>
                <a:gd name="connsiteY497" fmla="*/ 128454 h 534643"/>
                <a:gd name="connsiteX498" fmla="*/ 393220 w 489855"/>
                <a:gd name="connsiteY498" fmla="*/ 131397 h 534643"/>
                <a:gd name="connsiteX499" fmla="*/ 394978 w 489855"/>
                <a:gd name="connsiteY499" fmla="*/ 133505 h 534643"/>
                <a:gd name="connsiteX500" fmla="*/ 397278 w 489855"/>
                <a:gd name="connsiteY500" fmla="*/ 134999 h 534643"/>
                <a:gd name="connsiteX501" fmla="*/ 400611 w 489855"/>
                <a:gd name="connsiteY501" fmla="*/ 139774 h 534643"/>
                <a:gd name="connsiteX502" fmla="*/ 402400 w 489855"/>
                <a:gd name="connsiteY502" fmla="*/ 145621 h 534643"/>
                <a:gd name="connsiteX503" fmla="*/ 403662 w 489855"/>
                <a:gd name="connsiteY503" fmla="*/ 148457 h 534643"/>
                <a:gd name="connsiteX504" fmla="*/ 404609 w 489855"/>
                <a:gd name="connsiteY504" fmla="*/ 151428 h 534643"/>
                <a:gd name="connsiteX505" fmla="*/ 404896 w 489855"/>
                <a:gd name="connsiteY505" fmla="*/ 152787 h 534643"/>
                <a:gd name="connsiteX506" fmla="*/ 404920 w 489855"/>
                <a:gd name="connsiteY506" fmla="*/ 154149 h 534643"/>
                <a:gd name="connsiteX507" fmla="*/ 404637 w 489855"/>
                <a:gd name="connsiteY507" fmla="*/ 156010 h 534643"/>
                <a:gd name="connsiteX508" fmla="*/ 404948 w 489855"/>
                <a:gd name="connsiteY508" fmla="*/ 157512 h 534643"/>
                <a:gd name="connsiteX509" fmla="*/ 404589 w 489855"/>
                <a:gd name="connsiteY509" fmla="*/ 162231 h 534643"/>
                <a:gd name="connsiteX510" fmla="*/ 403097 w 489855"/>
                <a:gd name="connsiteY510" fmla="*/ 167678 h 534643"/>
                <a:gd name="connsiteX511" fmla="*/ 402905 w 489855"/>
                <a:gd name="connsiteY511" fmla="*/ 170457 h 534643"/>
                <a:gd name="connsiteX512" fmla="*/ 401607 w 489855"/>
                <a:gd name="connsiteY512" fmla="*/ 171008 h 534643"/>
                <a:gd name="connsiteX513" fmla="*/ 400821 w 489855"/>
                <a:gd name="connsiteY513" fmla="*/ 172291 h 534643"/>
                <a:gd name="connsiteX514" fmla="*/ 400149 w 489855"/>
                <a:gd name="connsiteY514" fmla="*/ 172886 h 534643"/>
                <a:gd name="connsiteX515" fmla="*/ 399405 w 489855"/>
                <a:gd name="connsiteY515" fmla="*/ 173347 h 534643"/>
                <a:gd name="connsiteX516" fmla="*/ 398322 w 489855"/>
                <a:gd name="connsiteY516" fmla="*/ 173462 h 534643"/>
                <a:gd name="connsiteX517" fmla="*/ 397550 w 489855"/>
                <a:gd name="connsiteY517" fmla="*/ 173987 h 534643"/>
                <a:gd name="connsiteX518" fmla="*/ 397243 w 489855"/>
                <a:gd name="connsiteY518" fmla="*/ 175458 h 534643"/>
                <a:gd name="connsiteX519" fmla="*/ 396747 w 489855"/>
                <a:gd name="connsiteY519" fmla="*/ 176821 h 534643"/>
                <a:gd name="connsiteX520" fmla="*/ 395805 w 489855"/>
                <a:gd name="connsiteY520" fmla="*/ 178077 h 534643"/>
                <a:gd name="connsiteX521" fmla="*/ 395066 w 489855"/>
                <a:gd name="connsiteY521" fmla="*/ 179461 h 534643"/>
                <a:gd name="connsiteX522" fmla="*/ 394458 w 489855"/>
                <a:gd name="connsiteY522" fmla="*/ 182834 h 534643"/>
                <a:gd name="connsiteX523" fmla="*/ 394237 w 489855"/>
                <a:gd name="connsiteY523" fmla="*/ 186290 h 534643"/>
                <a:gd name="connsiteX524" fmla="*/ 393324 w 489855"/>
                <a:gd name="connsiteY524" fmla="*/ 188702 h 534643"/>
                <a:gd name="connsiteX525" fmla="*/ 391128 w 489855"/>
                <a:gd name="connsiteY525" fmla="*/ 189329 h 534643"/>
                <a:gd name="connsiteX526" fmla="*/ 388610 w 489855"/>
                <a:gd name="connsiteY526" fmla="*/ 189287 h 534643"/>
                <a:gd name="connsiteX527" fmla="*/ 385384 w 489855"/>
                <a:gd name="connsiteY527" fmla="*/ 190404 h 534643"/>
                <a:gd name="connsiteX528" fmla="*/ 384697 w 489855"/>
                <a:gd name="connsiteY528" fmla="*/ 191057 h 534643"/>
                <a:gd name="connsiteX529" fmla="*/ 382149 w 489855"/>
                <a:gd name="connsiteY529" fmla="*/ 195261 h 534643"/>
                <a:gd name="connsiteX530" fmla="*/ 381416 w 489855"/>
                <a:gd name="connsiteY530" fmla="*/ 197724 h 534643"/>
                <a:gd name="connsiteX531" fmla="*/ 381393 w 489855"/>
                <a:gd name="connsiteY531" fmla="*/ 200372 h 534643"/>
                <a:gd name="connsiteX532" fmla="*/ 382101 w 489855"/>
                <a:gd name="connsiteY532" fmla="*/ 203624 h 534643"/>
                <a:gd name="connsiteX533" fmla="*/ 383062 w 489855"/>
                <a:gd name="connsiteY533" fmla="*/ 206802 h 534643"/>
                <a:gd name="connsiteX534" fmla="*/ 383790 w 489855"/>
                <a:gd name="connsiteY534" fmla="*/ 212709 h 534643"/>
                <a:gd name="connsiteX535" fmla="*/ 383023 w 489855"/>
                <a:gd name="connsiteY535" fmla="*/ 221696 h 534643"/>
                <a:gd name="connsiteX536" fmla="*/ 382287 w 489855"/>
                <a:gd name="connsiteY536" fmla="*/ 224561 h 534643"/>
                <a:gd name="connsiteX537" fmla="*/ 380667 w 489855"/>
                <a:gd name="connsiteY537" fmla="*/ 226501 h 534643"/>
                <a:gd name="connsiteX538" fmla="*/ 379441 w 489855"/>
                <a:gd name="connsiteY538" fmla="*/ 227401 h 534643"/>
                <a:gd name="connsiteX539" fmla="*/ 378383 w 489855"/>
                <a:gd name="connsiteY539" fmla="*/ 228505 h 534643"/>
                <a:gd name="connsiteX540" fmla="*/ 377014 w 489855"/>
                <a:gd name="connsiteY540" fmla="*/ 231425 h 534643"/>
                <a:gd name="connsiteX541" fmla="*/ 374746 w 489855"/>
                <a:gd name="connsiteY541" fmla="*/ 237233 h 534643"/>
                <a:gd name="connsiteX542" fmla="*/ 374559 w 489855"/>
                <a:gd name="connsiteY542" fmla="*/ 238689 h 534643"/>
                <a:gd name="connsiteX543" fmla="*/ 374567 w 489855"/>
                <a:gd name="connsiteY543" fmla="*/ 240200 h 534643"/>
                <a:gd name="connsiteX544" fmla="*/ 373956 w 489855"/>
                <a:gd name="connsiteY544" fmla="*/ 242168 h 534643"/>
                <a:gd name="connsiteX545" fmla="*/ 373557 w 489855"/>
                <a:gd name="connsiteY545" fmla="*/ 244102 h 534643"/>
                <a:gd name="connsiteX546" fmla="*/ 373930 w 489855"/>
                <a:gd name="connsiteY546" fmla="*/ 246349 h 534643"/>
                <a:gd name="connsiteX547" fmla="*/ 374628 w 489855"/>
                <a:gd name="connsiteY547" fmla="*/ 248450 h 534643"/>
                <a:gd name="connsiteX548" fmla="*/ 377670 w 489855"/>
                <a:gd name="connsiteY548" fmla="*/ 253836 h 534643"/>
                <a:gd name="connsiteX549" fmla="*/ 378862 w 489855"/>
                <a:gd name="connsiteY549" fmla="*/ 255428 h 534643"/>
                <a:gd name="connsiteX550" fmla="*/ 380201 w 489855"/>
                <a:gd name="connsiteY550" fmla="*/ 256878 h 534643"/>
                <a:gd name="connsiteX551" fmla="*/ 375010 w 489855"/>
                <a:gd name="connsiteY551" fmla="*/ 258481 h 534643"/>
                <a:gd name="connsiteX552" fmla="*/ 374073 w 489855"/>
                <a:gd name="connsiteY552" fmla="*/ 259217 h 534643"/>
                <a:gd name="connsiteX553" fmla="*/ 370989 w 489855"/>
                <a:gd name="connsiteY553" fmla="*/ 262280 h 534643"/>
                <a:gd name="connsiteX554" fmla="*/ 370004 w 489855"/>
                <a:gd name="connsiteY554" fmla="*/ 265181 h 534643"/>
                <a:gd name="connsiteX555" fmla="*/ 370085 w 489855"/>
                <a:gd name="connsiteY555" fmla="*/ 268389 h 534643"/>
                <a:gd name="connsiteX556" fmla="*/ 369565 w 489855"/>
                <a:gd name="connsiteY556" fmla="*/ 269540 h 534643"/>
                <a:gd name="connsiteX557" fmla="*/ 368717 w 489855"/>
                <a:gd name="connsiteY557" fmla="*/ 270535 h 534643"/>
                <a:gd name="connsiteX558" fmla="*/ 367834 w 489855"/>
                <a:gd name="connsiteY558" fmla="*/ 271198 h 534643"/>
                <a:gd name="connsiteX559" fmla="*/ 364388 w 489855"/>
                <a:gd name="connsiteY559" fmla="*/ 272665 h 534643"/>
                <a:gd name="connsiteX560" fmla="*/ 362183 w 489855"/>
                <a:gd name="connsiteY560" fmla="*/ 274123 h 534643"/>
                <a:gd name="connsiteX561" fmla="*/ 359984 w 489855"/>
                <a:gd name="connsiteY561" fmla="*/ 276402 h 534643"/>
                <a:gd name="connsiteX562" fmla="*/ 359115 w 489855"/>
                <a:gd name="connsiteY562" fmla="*/ 277596 h 534643"/>
                <a:gd name="connsiteX563" fmla="*/ 357423 w 489855"/>
                <a:gd name="connsiteY563" fmla="*/ 277213 h 534643"/>
                <a:gd name="connsiteX564" fmla="*/ 356435 w 489855"/>
                <a:gd name="connsiteY564" fmla="*/ 276161 h 534643"/>
                <a:gd name="connsiteX565" fmla="*/ 357409 w 489855"/>
                <a:gd name="connsiteY565" fmla="*/ 274835 h 534643"/>
                <a:gd name="connsiteX566" fmla="*/ 357109 w 489855"/>
                <a:gd name="connsiteY566" fmla="*/ 273275 h 534643"/>
                <a:gd name="connsiteX567" fmla="*/ 357590 w 489855"/>
                <a:gd name="connsiteY567" fmla="*/ 269259 h 534643"/>
                <a:gd name="connsiteX568" fmla="*/ 357037 w 489855"/>
                <a:gd name="connsiteY568" fmla="*/ 267644 h 534643"/>
                <a:gd name="connsiteX569" fmla="*/ 358799 w 489855"/>
                <a:gd name="connsiteY569" fmla="*/ 266425 h 534643"/>
                <a:gd name="connsiteX570" fmla="*/ 359640 w 489855"/>
                <a:gd name="connsiteY570" fmla="*/ 264472 h 534643"/>
                <a:gd name="connsiteX571" fmla="*/ 361474 w 489855"/>
                <a:gd name="connsiteY571" fmla="*/ 262909 h 534643"/>
                <a:gd name="connsiteX572" fmla="*/ 362784 w 489855"/>
                <a:gd name="connsiteY572" fmla="*/ 261521 h 534643"/>
                <a:gd name="connsiteX573" fmla="*/ 363017 w 489855"/>
                <a:gd name="connsiteY573" fmla="*/ 260396 h 534643"/>
                <a:gd name="connsiteX574" fmla="*/ 361840 w 489855"/>
                <a:gd name="connsiteY574" fmla="*/ 259183 h 534643"/>
                <a:gd name="connsiteX575" fmla="*/ 360598 w 489855"/>
                <a:gd name="connsiteY575" fmla="*/ 258306 h 534643"/>
                <a:gd name="connsiteX576" fmla="*/ 358879 w 489855"/>
                <a:gd name="connsiteY576" fmla="*/ 258302 h 534643"/>
                <a:gd name="connsiteX577" fmla="*/ 357221 w 489855"/>
                <a:gd name="connsiteY577" fmla="*/ 258562 h 534643"/>
                <a:gd name="connsiteX578" fmla="*/ 356150 w 489855"/>
                <a:gd name="connsiteY578" fmla="*/ 259718 h 534643"/>
                <a:gd name="connsiteX579" fmla="*/ 355791 w 489855"/>
                <a:gd name="connsiteY579" fmla="*/ 261291 h 534643"/>
                <a:gd name="connsiteX580" fmla="*/ 355875 w 489855"/>
                <a:gd name="connsiteY580" fmla="*/ 262025 h 534643"/>
                <a:gd name="connsiteX581" fmla="*/ 355740 w 489855"/>
                <a:gd name="connsiteY581" fmla="*/ 262667 h 534643"/>
                <a:gd name="connsiteX582" fmla="*/ 353135 w 489855"/>
                <a:gd name="connsiteY582" fmla="*/ 264821 h 534643"/>
                <a:gd name="connsiteX583" fmla="*/ 353479 w 489855"/>
                <a:gd name="connsiteY583" fmla="*/ 267072 h 534643"/>
                <a:gd name="connsiteX584" fmla="*/ 354241 w 489855"/>
                <a:gd name="connsiteY584" fmla="*/ 268214 h 534643"/>
                <a:gd name="connsiteX585" fmla="*/ 355215 w 489855"/>
                <a:gd name="connsiteY585" fmla="*/ 268756 h 534643"/>
                <a:gd name="connsiteX586" fmla="*/ 354924 w 489855"/>
                <a:gd name="connsiteY586" fmla="*/ 269530 h 534643"/>
                <a:gd name="connsiteX587" fmla="*/ 353688 w 489855"/>
                <a:gd name="connsiteY587" fmla="*/ 271342 h 534643"/>
                <a:gd name="connsiteX588" fmla="*/ 352824 w 489855"/>
                <a:gd name="connsiteY588" fmla="*/ 271521 h 534643"/>
                <a:gd name="connsiteX589" fmla="*/ 351235 w 489855"/>
                <a:gd name="connsiteY589" fmla="*/ 268985 h 534643"/>
                <a:gd name="connsiteX590" fmla="*/ 349253 w 489855"/>
                <a:gd name="connsiteY590" fmla="*/ 267598 h 534643"/>
                <a:gd name="connsiteX591" fmla="*/ 346800 w 489855"/>
                <a:gd name="connsiteY591" fmla="*/ 267609 h 534643"/>
                <a:gd name="connsiteX592" fmla="*/ 344278 w 489855"/>
                <a:gd name="connsiteY592" fmla="*/ 268113 h 534643"/>
                <a:gd name="connsiteX593" fmla="*/ 342360 w 489855"/>
                <a:gd name="connsiteY593" fmla="*/ 269800 h 534643"/>
                <a:gd name="connsiteX594" fmla="*/ 341727 w 489855"/>
                <a:gd name="connsiteY594" fmla="*/ 271202 h 534643"/>
                <a:gd name="connsiteX595" fmla="*/ 341324 w 489855"/>
                <a:gd name="connsiteY595" fmla="*/ 272650 h 534643"/>
                <a:gd name="connsiteX596" fmla="*/ 341459 w 489855"/>
                <a:gd name="connsiteY596" fmla="*/ 276172 h 534643"/>
                <a:gd name="connsiteX597" fmla="*/ 340665 w 489855"/>
                <a:gd name="connsiteY597" fmla="*/ 279108 h 534643"/>
                <a:gd name="connsiteX598" fmla="*/ 339107 w 489855"/>
                <a:gd name="connsiteY598" fmla="*/ 281687 h 534643"/>
                <a:gd name="connsiteX599" fmla="*/ 338378 w 489855"/>
                <a:gd name="connsiteY599" fmla="*/ 282628 h 534643"/>
                <a:gd name="connsiteX600" fmla="*/ 336477 w 489855"/>
                <a:gd name="connsiteY600" fmla="*/ 284376 h 534643"/>
                <a:gd name="connsiteX601" fmla="*/ 335169 w 489855"/>
                <a:gd name="connsiteY601" fmla="*/ 284605 h 534643"/>
                <a:gd name="connsiteX602" fmla="*/ 334233 w 489855"/>
                <a:gd name="connsiteY602" fmla="*/ 283811 h 534643"/>
                <a:gd name="connsiteX603" fmla="*/ 333478 w 489855"/>
                <a:gd name="connsiteY603" fmla="*/ 282607 h 534643"/>
                <a:gd name="connsiteX604" fmla="*/ 334439 w 489855"/>
                <a:gd name="connsiteY604" fmla="*/ 278193 h 534643"/>
                <a:gd name="connsiteX605" fmla="*/ 334401 w 489855"/>
                <a:gd name="connsiteY605" fmla="*/ 275713 h 534643"/>
                <a:gd name="connsiteX606" fmla="*/ 336631 w 489855"/>
                <a:gd name="connsiteY606" fmla="*/ 274450 h 534643"/>
                <a:gd name="connsiteX607" fmla="*/ 334802 w 489855"/>
                <a:gd name="connsiteY607" fmla="*/ 272685 h 534643"/>
                <a:gd name="connsiteX608" fmla="*/ 332563 w 489855"/>
                <a:gd name="connsiteY608" fmla="*/ 271974 h 534643"/>
                <a:gd name="connsiteX609" fmla="*/ 329412 w 489855"/>
                <a:gd name="connsiteY609" fmla="*/ 272916 h 534643"/>
                <a:gd name="connsiteX610" fmla="*/ 328525 w 489855"/>
                <a:gd name="connsiteY610" fmla="*/ 273977 h 534643"/>
                <a:gd name="connsiteX611" fmla="*/ 327918 w 489855"/>
                <a:gd name="connsiteY611" fmla="*/ 275404 h 534643"/>
                <a:gd name="connsiteX612" fmla="*/ 326227 w 489855"/>
                <a:gd name="connsiteY612" fmla="*/ 277206 h 534643"/>
                <a:gd name="connsiteX613" fmla="*/ 324360 w 489855"/>
                <a:gd name="connsiteY613" fmla="*/ 278894 h 534643"/>
                <a:gd name="connsiteX614" fmla="*/ 322250 w 489855"/>
                <a:gd name="connsiteY614" fmla="*/ 281771 h 534643"/>
                <a:gd name="connsiteX615" fmla="*/ 320831 w 489855"/>
                <a:gd name="connsiteY615" fmla="*/ 285177 h 534643"/>
                <a:gd name="connsiteX616" fmla="*/ 316186 w 489855"/>
                <a:gd name="connsiteY616" fmla="*/ 284063 h 534643"/>
                <a:gd name="connsiteX617" fmla="*/ 313649 w 489855"/>
                <a:gd name="connsiteY617" fmla="*/ 283814 h 534643"/>
                <a:gd name="connsiteX618" fmla="*/ 311090 w 489855"/>
                <a:gd name="connsiteY618" fmla="*/ 283901 h 534643"/>
                <a:gd name="connsiteX619" fmla="*/ 306554 w 489855"/>
                <a:gd name="connsiteY619" fmla="*/ 283481 h 534643"/>
                <a:gd name="connsiteX620" fmla="*/ 301572 w 489855"/>
                <a:gd name="connsiteY620" fmla="*/ 284177 h 534643"/>
                <a:gd name="connsiteX621" fmla="*/ 295903 w 489855"/>
                <a:gd name="connsiteY621" fmla="*/ 285514 h 534643"/>
                <a:gd name="connsiteX622" fmla="*/ 296242 w 489855"/>
                <a:gd name="connsiteY622" fmla="*/ 284550 h 534643"/>
                <a:gd name="connsiteX623" fmla="*/ 300902 w 489855"/>
                <a:gd name="connsiteY623" fmla="*/ 282499 h 534643"/>
                <a:gd name="connsiteX624" fmla="*/ 301070 w 489855"/>
                <a:gd name="connsiteY624" fmla="*/ 281898 h 534643"/>
                <a:gd name="connsiteX625" fmla="*/ 300623 w 489855"/>
                <a:gd name="connsiteY625" fmla="*/ 280775 h 534643"/>
                <a:gd name="connsiteX626" fmla="*/ 299462 w 489855"/>
                <a:gd name="connsiteY626" fmla="*/ 280720 h 534643"/>
                <a:gd name="connsiteX627" fmla="*/ 296674 w 489855"/>
                <a:gd name="connsiteY627" fmla="*/ 281112 h 534643"/>
                <a:gd name="connsiteX628" fmla="*/ 295250 w 489855"/>
                <a:gd name="connsiteY628" fmla="*/ 280940 h 534643"/>
                <a:gd name="connsiteX629" fmla="*/ 294670 w 489855"/>
                <a:gd name="connsiteY629" fmla="*/ 279734 h 534643"/>
                <a:gd name="connsiteX630" fmla="*/ 293726 w 489855"/>
                <a:gd name="connsiteY630" fmla="*/ 279214 h 534643"/>
                <a:gd name="connsiteX631" fmla="*/ 293096 w 489855"/>
                <a:gd name="connsiteY631" fmla="*/ 279708 h 534643"/>
                <a:gd name="connsiteX632" fmla="*/ 293302 w 489855"/>
                <a:gd name="connsiteY632" fmla="*/ 282049 h 534643"/>
                <a:gd name="connsiteX633" fmla="*/ 292612 w 489855"/>
                <a:gd name="connsiteY633" fmla="*/ 282361 h 534643"/>
                <a:gd name="connsiteX634" fmla="*/ 291693 w 489855"/>
                <a:gd name="connsiteY634" fmla="*/ 281760 h 534643"/>
                <a:gd name="connsiteX635" fmla="*/ 291986 w 489855"/>
                <a:gd name="connsiteY635" fmla="*/ 279941 h 534643"/>
                <a:gd name="connsiteX636" fmla="*/ 291358 w 489855"/>
                <a:gd name="connsiteY636" fmla="*/ 277273 h 534643"/>
                <a:gd name="connsiteX637" fmla="*/ 291286 w 489855"/>
                <a:gd name="connsiteY637" fmla="*/ 275616 h 534643"/>
                <a:gd name="connsiteX638" fmla="*/ 292262 w 489855"/>
                <a:gd name="connsiteY638" fmla="*/ 274192 h 534643"/>
                <a:gd name="connsiteX639" fmla="*/ 291262 w 489855"/>
                <a:gd name="connsiteY639" fmla="*/ 273591 h 534643"/>
                <a:gd name="connsiteX640" fmla="*/ 290208 w 489855"/>
                <a:gd name="connsiteY640" fmla="*/ 273823 h 534643"/>
                <a:gd name="connsiteX641" fmla="*/ 288868 w 489855"/>
                <a:gd name="connsiteY641" fmla="*/ 274506 h 534643"/>
                <a:gd name="connsiteX642" fmla="*/ 287684 w 489855"/>
                <a:gd name="connsiteY642" fmla="*/ 275480 h 534643"/>
                <a:gd name="connsiteX643" fmla="*/ 285184 w 489855"/>
                <a:gd name="connsiteY643" fmla="*/ 280349 h 534643"/>
                <a:gd name="connsiteX644" fmla="*/ 284212 w 489855"/>
                <a:gd name="connsiteY644" fmla="*/ 283128 h 534643"/>
                <a:gd name="connsiteX645" fmla="*/ 286043 w 489855"/>
                <a:gd name="connsiteY645" fmla="*/ 285358 h 534643"/>
                <a:gd name="connsiteX646" fmla="*/ 291035 w 489855"/>
                <a:gd name="connsiteY646" fmla="*/ 288474 h 534643"/>
                <a:gd name="connsiteX647" fmla="*/ 291891 w 489855"/>
                <a:gd name="connsiteY647" fmla="*/ 289238 h 534643"/>
                <a:gd name="connsiteX648" fmla="*/ 291910 w 489855"/>
                <a:gd name="connsiteY648" fmla="*/ 290562 h 534643"/>
                <a:gd name="connsiteX649" fmla="*/ 291303 w 489855"/>
                <a:gd name="connsiteY649" fmla="*/ 291968 h 534643"/>
                <a:gd name="connsiteX650" fmla="*/ 289943 w 489855"/>
                <a:gd name="connsiteY650" fmla="*/ 292586 h 534643"/>
                <a:gd name="connsiteX651" fmla="*/ 284464 w 489855"/>
                <a:gd name="connsiteY651" fmla="*/ 293621 h 534643"/>
                <a:gd name="connsiteX652" fmla="*/ 279720 w 489855"/>
                <a:gd name="connsiteY652" fmla="*/ 295635 h 534643"/>
                <a:gd name="connsiteX653" fmla="*/ 278349 w 489855"/>
                <a:gd name="connsiteY653" fmla="*/ 297675 h 534643"/>
                <a:gd name="connsiteX654" fmla="*/ 274031 w 489855"/>
                <a:gd name="connsiteY654" fmla="*/ 305544 h 534643"/>
                <a:gd name="connsiteX655" fmla="*/ 270574 w 489855"/>
                <a:gd name="connsiteY655" fmla="*/ 310913 h 534643"/>
                <a:gd name="connsiteX656" fmla="*/ 265689 w 489855"/>
                <a:gd name="connsiteY656" fmla="*/ 312766 h 534643"/>
                <a:gd name="connsiteX657" fmla="*/ 260327 w 489855"/>
                <a:gd name="connsiteY657" fmla="*/ 311120 h 534643"/>
                <a:gd name="connsiteX658" fmla="*/ 259032 w 489855"/>
                <a:gd name="connsiteY658" fmla="*/ 309252 h 534643"/>
                <a:gd name="connsiteX659" fmla="*/ 257981 w 489855"/>
                <a:gd name="connsiteY659" fmla="*/ 306940 h 534643"/>
                <a:gd name="connsiteX660" fmla="*/ 255988 w 489855"/>
                <a:gd name="connsiteY660" fmla="*/ 304848 h 534643"/>
                <a:gd name="connsiteX661" fmla="*/ 254192 w 489855"/>
                <a:gd name="connsiteY661" fmla="*/ 302568 h 534643"/>
                <a:gd name="connsiteX662" fmla="*/ 253143 w 489855"/>
                <a:gd name="connsiteY662" fmla="*/ 299861 h 534643"/>
                <a:gd name="connsiteX663" fmla="*/ 253306 w 489855"/>
                <a:gd name="connsiteY663" fmla="*/ 295491 h 534643"/>
                <a:gd name="connsiteX664" fmla="*/ 252527 w 489855"/>
                <a:gd name="connsiteY664" fmla="*/ 292857 h 534643"/>
                <a:gd name="connsiteX665" fmla="*/ 253231 w 489855"/>
                <a:gd name="connsiteY665" fmla="*/ 292155 h 534643"/>
                <a:gd name="connsiteX666" fmla="*/ 256188 w 489855"/>
                <a:gd name="connsiteY666" fmla="*/ 290554 h 534643"/>
                <a:gd name="connsiteX667" fmla="*/ 257153 w 489855"/>
                <a:gd name="connsiteY667" fmla="*/ 289657 h 534643"/>
                <a:gd name="connsiteX668" fmla="*/ 258822 w 489855"/>
                <a:gd name="connsiteY668" fmla="*/ 287570 h 534643"/>
                <a:gd name="connsiteX669" fmla="*/ 259420 w 489855"/>
                <a:gd name="connsiteY669" fmla="*/ 286409 h 534643"/>
                <a:gd name="connsiteX670" fmla="*/ 259511 w 489855"/>
                <a:gd name="connsiteY670" fmla="*/ 284648 h 534643"/>
                <a:gd name="connsiteX671" fmla="*/ 258167 w 489855"/>
                <a:gd name="connsiteY671" fmla="*/ 283729 h 534643"/>
                <a:gd name="connsiteX672" fmla="*/ 254697 w 489855"/>
                <a:gd name="connsiteY672" fmla="*/ 283763 h 534643"/>
                <a:gd name="connsiteX673" fmla="*/ 251236 w 489855"/>
                <a:gd name="connsiteY673" fmla="*/ 284311 h 534643"/>
                <a:gd name="connsiteX674" fmla="*/ 248763 w 489855"/>
                <a:gd name="connsiteY674" fmla="*/ 283541 h 534643"/>
                <a:gd name="connsiteX675" fmla="*/ 245559 w 489855"/>
                <a:gd name="connsiteY675" fmla="*/ 281411 h 534643"/>
                <a:gd name="connsiteX676" fmla="*/ 244565 w 489855"/>
                <a:gd name="connsiteY676" fmla="*/ 280957 h 534643"/>
                <a:gd name="connsiteX677" fmla="*/ 241110 w 489855"/>
                <a:gd name="connsiteY677" fmla="*/ 280822 h 534643"/>
                <a:gd name="connsiteX678" fmla="*/ 238645 w 489855"/>
                <a:gd name="connsiteY678" fmla="*/ 281218 h 534643"/>
                <a:gd name="connsiteX679" fmla="*/ 236222 w 489855"/>
                <a:gd name="connsiteY679" fmla="*/ 281995 h 534643"/>
                <a:gd name="connsiteX680" fmla="*/ 233660 w 489855"/>
                <a:gd name="connsiteY680" fmla="*/ 282240 h 534643"/>
                <a:gd name="connsiteX681" fmla="*/ 232808 w 489855"/>
                <a:gd name="connsiteY681" fmla="*/ 282646 h 534643"/>
                <a:gd name="connsiteX682" fmla="*/ 229849 w 489855"/>
                <a:gd name="connsiteY682" fmla="*/ 285257 h 534643"/>
                <a:gd name="connsiteX683" fmla="*/ 227500 w 489855"/>
                <a:gd name="connsiteY683" fmla="*/ 286900 h 534643"/>
                <a:gd name="connsiteX684" fmla="*/ 225469 w 489855"/>
                <a:gd name="connsiteY684" fmla="*/ 287715 h 534643"/>
                <a:gd name="connsiteX685" fmla="*/ 221081 w 489855"/>
                <a:gd name="connsiteY685" fmla="*/ 287933 h 534643"/>
                <a:gd name="connsiteX686" fmla="*/ 218884 w 489855"/>
                <a:gd name="connsiteY686" fmla="*/ 288462 h 534643"/>
                <a:gd name="connsiteX687" fmla="*/ 216580 w 489855"/>
                <a:gd name="connsiteY687" fmla="*/ 289324 h 534643"/>
                <a:gd name="connsiteX688" fmla="*/ 215937 w 489855"/>
                <a:gd name="connsiteY688" fmla="*/ 289249 h 534643"/>
                <a:gd name="connsiteX689" fmla="*/ 213511 w 489855"/>
                <a:gd name="connsiteY689" fmla="*/ 290441 h 534643"/>
                <a:gd name="connsiteX690" fmla="*/ 210728 w 489855"/>
                <a:gd name="connsiteY690" fmla="*/ 291472 h 534643"/>
                <a:gd name="connsiteX691" fmla="*/ 209238 w 489855"/>
                <a:gd name="connsiteY691" fmla="*/ 292507 h 534643"/>
                <a:gd name="connsiteX692" fmla="*/ 206509 w 489855"/>
                <a:gd name="connsiteY692" fmla="*/ 291831 h 534643"/>
                <a:gd name="connsiteX693" fmla="*/ 201106 w 489855"/>
                <a:gd name="connsiteY693" fmla="*/ 293683 h 534643"/>
                <a:gd name="connsiteX694" fmla="*/ 198495 w 489855"/>
                <a:gd name="connsiteY694" fmla="*/ 293911 h 534643"/>
                <a:gd name="connsiteX695" fmla="*/ 195796 w 489855"/>
                <a:gd name="connsiteY695" fmla="*/ 292890 h 534643"/>
                <a:gd name="connsiteX696" fmla="*/ 193293 w 489855"/>
                <a:gd name="connsiteY696" fmla="*/ 291238 h 534643"/>
                <a:gd name="connsiteX697" fmla="*/ 190889 w 489855"/>
                <a:gd name="connsiteY697" fmla="*/ 291946 h 534643"/>
                <a:gd name="connsiteX698" fmla="*/ 189242 w 489855"/>
                <a:gd name="connsiteY698" fmla="*/ 294386 h 534643"/>
                <a:gd name="connsiteX699" fmla="*/ 188443 w 489855"/>
                <a:gd name="connsiteY699" fmla="*/ 299238 h 534643"/>
                <a:gd name="connsiteX700" fmla="*/ 187502 w 489855"/>
                <a:gd name="connsiteY700" fmla="*/ 301420 h 534643"/>
                <a:gd name="connsiteX701" fmla="*/ 187217 w 489855"/>
                <a:gd name="connsiteY701" fmla="*/ 304040 h 534643"/>
                <a:gd name="connsiteX702" fmla="*/ 185973 w 489855"/>
                <a:gd name="connsiteY702" fmla="*/ 303626 h 534643"/>
                <a:gd name="connsiteX703" fmla="*/ 178741 w 489855"/>
                <a:gd name="connsiteY703" fmla="*/ 298909 h 534643"/>
                <a:gd name="connsiteX704" fmla="*/ 178240 w 489855"/>
                <a:gd name="connsiteY704" fmla="*/ 298740 h 534643"/>
                <a:gd name="connsiteX705" fmla="*/ 172394 w 489855"/>
                <a:gd name="connsiteY705" fmla="*/ 299552 h 534643"/>
                <a:gd name="connsiteX706" fmla="*/ 170885 w 489855"/>
                <a:gd name="connsiteY706" fmla="*/ 299944 h 534643"/>
                <a:gd name="connsiteX707" fmla="*/ 169002 w 489855"/>
                <a:gd name="connsiteY707" fmla="*/ 300900 h 534643"/>
                <a:gd name="connsiteX708" fmla="*/ 167009 w 489855"/>
                <a:gd name="connsiteY708" fmla="*/ 301327 h 534643"/>
                <a:gd name="connsiteX709" fmla="*/ 165191 w 489855"/>
                <a:gd name="connsiteY709" fmla="*/ 300640 h 534643"/>
                <a:gd name="connsiteX710" fmla="*/ 163455 w 489855"/>
                <a:gd name="connsiteY710" fmla="*/ 299521 h 534643"/>
                <a:gd name="connsiteX711" fmla="*/ 161786 w 489855"/>
                <a:gd name="connsiteY711" fmla="*/ 299853 h 534643"/>
                <a:gd name="connsiteX712" fmla="*/ 160071 w 489855"/>
                <a:gd name="connsiteY712" fmla="*/ 300637 h 534643"/>
                <a:gd name="connsiteX713" fmla="*/ 159417 w 489855"/>
                <a:gd name="connsiteY713" fmla="*/ 293519 h 534643"/>
                <a:gd name="connsiteX714" fmla="*/ 159749 w 489855"/>
                <a:gd name="connsiteY714" fmla="*/ 292579 h 534643"/>
                <a:gd name="connsiteX715" fmla="*/ 160801 w 489855"/>
                <a:gd name="connsiteY715" fmla="*/ 291329 h 534643"/>
                <a:gd name="connsiteX716" fmla="*/ 161958 w 489855"/>
                <a:gd name="connsiteY716" fmla="*/ 290260 h 534643"/>
                <a:gd name="connsiteX717" fmla="*/ 164789 w 489855"/>
                <a:gd name="connsiteY717" fmla="*/ 289891 h 534643"/>
                <a:gd name="connsiteX718" fmla="*/ 167654 w 489855"/>
                <a:gd name="connsiteY718" fmla="*/ 290238 h 534643"/>
                <a:gd name="connsiteX719" fmla="*/ 169702 w 489855"/>
                <a:gd name="connsiteY719" fmla="*/ 289747 h 534643"/>
                <a:gd name="connsiteX720" fmla="*/ 171429 w 489855"/>
                <a:gd name="connsiteY720" fmla="*/ 288334 h 534643"/>
                <a:gd name="connsiteX721" fmla="*/ 173254 w 489855"/>
                <a:gd name="connsiteY721" fmla="*/ 286330 h 534643"/>
                <a:gd name="connsiteX722" fmla="*/ 175310 w 489855"/>
                <a:gd name="connsiteY722" fmla="*/ 284698 h 534643"/>
                <a:gd name="connsiteX723" fmla="*/ 178098 w 489855"/>
                <a:gd name="connsiteY723" fmla="*/ 283409 h 534643"/>
                <a:gd name="connsiteX724" fmla="*/ 180795 w 489855"/>
                <a:gd name="connsiteY724" fmla="*/ 281930 h 534643"/>
                <a:gd name="connsiteX725" fmla="*/ 183161 w 489855"/>
                <a:gd name="connsiteY725" fmla="*/ 279853 h 534643"/>
                <a:gd name="connsiteX726" fmla="*/ 185409 w 489855"/>
                <a:gd name="connsiteY726" fmla="*/ 277586 h 534643"/>
                <a:gd name="connsiteX727" fmla="*/ 187476 w 489855"/>
                <a:gd name="connsiteY727" fmla="*/ 275921 h 534643"/>
                <a:gd name="connsiteX728" fmla="*/ 189717 w 489855"/>
                <a:gd name="connsiteY728" fmla="*/ 274523 h 534643"/>
                <a:gd name="connsiteX729" fmla="*/ 193133 w 489855"/>
                <a:gd name="connsiteY729" fmla="*/ 271166 h 534643"/>
                <a:gd name="connsiteX730" fmla="*/ 197666 w 489855"/>
                <a:gd name="connsiteY730" fmla="*/ 267389 h 534643"/>
                <a:gd name="connsiteX731" fmla="*/ 199404 w 489855"/>
                <a:gd name="connsiteY731" fmla="*/ 264590 h 534643"/>
                <a:gd name="connsiteX732" fmla="*/ 200486 w 489855"/>
                <a:gd name="connsiteY732" fmla="*/ 263818 h 534643"/>
                <a:gd name="connsiteX733" fmla="*/ 204385 w 489855"/>
                <a:gd name="connsiteY733" fmla="*/ 262254 h 534643"/>
                <a:gd name="connsiteX734" fmla="*/ 209560 w 489855"/>
                <a:gd name="connsiteY734" fmla="*/ 261058 h 534643"/>
                <a:gd name="connsiteX735" fmla="*/ 211997 w 489855"/>
                <a:gd name="connsiteY735" fmla="*/ 261116 h 534643"/>
                <a:gd name="connsiteX736" fmla="*/ 214414 w 489855"/>
                <a:gd name="connsiteY736" fmla="*/ 263572 h 534643"/>
                <a:gd name="connsiteX737" fmla="*/ 215717 w 489855"/>
                <a:gd name="connsiteY737" fmla="*/ 263236 h 534643"/>
                <a:gd name="connsiteX738" fmla="*/ 217034 w 489855"/>
                <a:gd name="connsiteY738" fmla="*/ 262601 h 534643"/>
                <a:gd name="connsiteX739" fmla="*/ 219698 w 489855"/>
                <a:gd name="connsiteY739" fmla="*/ 262250 h 534643"/>
                <a:gd name="connsiteX740" fmla="*/ 222439 w 489855"/>
                <a:gd name="connsiteY740" fmla="*/ 262656 h 534643"/>
                <a:gd name="connsiteX741" fmla="*/ 225112 w 489855"/>
                <a:gd name="connsiteY741" fmla="*/ 262666 h 534643"/>
                <a:gd name="connsiteX742" fmla="*/ 227787 w 489855"/>
                <a:gd name="connsiteY742" fmla="*/ 262356 h 534643"/>
                <a:gd name="connsiteX743" fmla="*/ 232935 w 489855"/>
                <a:gd name="connsiteY743" fmla="*/ 261550 h 534643"/>
                <a:gd name="connsiteX744" fmla="*/ 235643 w 489855"/>
                <a:gd name="connsiteY744" fmla="*/ 260578 h 534643"/>
                <a:gd name="connsiteX745" fmla="*/ 238286 w 489855"/>
                <a:gd name="connsiteY745" fmla="*/ 259320 h 534643"/>
                <a:gd name="connsiteX746" fmla="*/ 247710 w 489855"/>
                <a:gd name="connsiteY746" fmla="*/ 258431 h 534643"/>
                <a:gd name="connsiteX747" fmla="*/ 254168 w 489855"/>
                <a:gd name="connsiteY747" fmla="*/ 256321 h 534643"/>
                <a:gd name="connsiteX748" fmla="*/ 255190 w 489855"/>
                <a:gd name="connsiteY748" fmla="*/ 256471 h 534643"/>
                <a:gd name="connsiteX749" fmla="*/ 256183 w 489855"/>
                <a:gd name="connsiteY749" fmla="*/ 256958 h 534643"/>
                <a:gd name="connsiteX750" fmla="*/ 256257 w 489855"/>
                <a:gd name="connsiteY750" fmla="*/ 258521 h 534643"/>
                <a:gd name="connsiteX751" fmla="*/ 255444 w 489855"/>
                <a:gd name="connsiteY751" fmla="*/ 260226 h 534643"/>
                <a:gd name="connsiteX752" fmla="*/ 256235 w 489855"/>
                <a:gd name="connsiteY752" fmla="*/ 261258 h 534643"/>
                <a:gd name="connsiteX753" fmla="*/ 257543 w 489855"/>
                <a:gd name="connsiteY753" fmla="*/ 261895 h 534643"/>
                <a:gd name="connsiteX754" fmla="*/ 263622 w 489855"/>
                <a:gd name="connsiteY754" fmla="*/ 262092 h 534643"/>
                <a:gd name="connsiteX755" fmla="*/ 265356 w 489855"/>
                <a:gd name="connsiteY755" fmla="*/ 262459 h 534643"/>
                <a:gd name="connsiteX756" fmla="*/ 267893 w 489855"/>
                <a:gd name="connsiteY756" fmla="*/ 261292 h 534643"/>
                <a:gd name="connsiteX757" fmla="*/ 270284 w 489855"/>
                <a:gd name="connsiteY757" fmla="*/ 259850 h 534643"/>
                <a:gd name="connsiteX758" fmla="*/ 272784 w 489855"/>
                <a:gd name="connsiteY758" fmla="*/ 257946 h 534643"/>
                <a:gd name="connsiteX759" fmla="*/ 274533 w 489855"/>
                <a:gd name="connsiteY759" fmla="*/ 255803 h 534643"/>
                <a:gd name="connsiteX760" fmla="*/ 272918 w 489855"/>
                <a:gd name="connsiteY760" fmla="*/ 253119 h 534643"/>
                <a:gd name="connsiteX761" fmla="*/ 272564 w 489855"/>
                <a:gd name="connsiteY761" fmla="*/ 250182 h 534643"/>
                <a:gd name="connsiteX762" fmla="*/ 273918 w 489855"/>
                <a:gd name="connsiteY762" fmla="*/ 246995 h 534643"/>
                <a:gd name="connsiteX763" fmla="*/ 275881 w 489855"/>
                <a:gd name="connsiteY763" fmla="*/ 244304 h 534643"/>
                <a:gd name="connsiteX764" fmla="*/ 278215 w 489855"/>
                <a:gd name="connsiteY764" fmla="*/ 242677 h 534643"/>
                <a:gd name="connsiteX765" fmla="*/ 280364 w 489855"/>
                <a:gd name="connsiteY765" fmla="*/ 240803 h 534643"/>
                <a:gd name="connsiteX766" fmla="*/ 284717 w 489855"/>
                <a:gd name="connsiteY766" fmla="*/ 235480 h 534643"/>
                <a:gd name="connsiteX767" fmla="*/ 287863 w 489855"/>
                <a:gd name="connsiteY767" fmla="*/ 231166 h 534643"/>
                <a:gd name="connsiteX768" fmla="*/ 288995 w 489855"/>
                <a:gd name="connsiteY768" fmla="*/ 225858 h 534643"/>
                <a:gd name="connsiteX769" fmla="*/ 288330 w 489855"/>
                <a:gd name="connsiteY769" fmla="*/ 219564 h 534643"/>
                <a:gd name="connsiteX770" fmla="*/ 291076 w 489855"/>
                <a:gd name="connsiteY770" fmla="*/ 214881 h 534643"/>
                <a:gd name="connsiteX771" fmla="*/ 293705 w 489855"/>
                <a:gd name="connsiteY771" fmla="*/ 214076 h 534643"/>
                <a:gd name="connsiteX772" fmla="*/ 298931 w 489855"/>
                <a:gd name="connsiteY772" fmla="*/ 211937 h 534643"/>
                <a:gd name="connsiteX773" fmla="*/ 301673 w 489855"/>
                <a:gd name="connsiteY773" fmla="*/ 211309 h 534643"/>
                <a:gd name="connsiteX774" fmla="*/ 302083 w 489855"/>
                <a:gd name="connsiteY774" fmla="*/ 212244 h 534643"/>
                <a:gd name="connsiteX775" fmla="*/ 302001 w 489855"/>
                <a:gd name="connsiteY775" fmla="*/ 213469 h 534643"/>
                <a:gd name="connsiteX776" fmla="*/ 297901 w 489855"/>
                <a:gd name="connsiteY776" fmla="*/ 217404 h 534643"/>
                <a:gd name="connsiteX777" fmla="*/ 295551 w 489855"/>
                <a:gd name="connsiteY777" fmla="*/ 219021 h 534643"/>
                <a:gd name="connsiteX778" fmla="*/ 294145 w 489855"/>
                <a:gd name="connsiteY778" fmla="*/ 219522 h 534643"/>
                <a:gd name="connsiteX779" fmla="*/ 292858 w 489855"/>
                <a:gd name="connsiteY779" fmla="*/ 220237 h 534643"/>
                <a:gd name="connsiteX780" fmla="*/ 292325 w 489855"/>
                <a:gd name="connsiteY780" fmla="*/ 221619 h 534643"/>
                <a:gd name="connsiteX781" fmla="*/ 294415 w 489855"/>
                <a:gd name="connsiteY781" fmla="*/ 223933 h 534643"/>
                <a:gd name="connsiteX782" fmla="*/ 294948 w 489855"/>
                <a:gd name="connsiteY782" fmla="*/ 225640 h 534643"/>
                <a:gd name="connsiteX783" fmla="*/ 294819 w 489855"/>
                <a:gd name="connsiteY783" fmla="*/ 227279 h 534643"/>
                <a:gd name="connsiteX784" fmla="*/ 294907 w 489855"/>
                <a:gd name="connsiteY784" fmla="*/ 228751 h 534643"/>
                <a:gd name="connsiteX785" fmla="*/ 297274 w 489855"/>
                <a:gd name="connsiteY785" fmla="*/ 230354 h 534643"/>
                <a:gd name="connsiteX786" fmla="*/ 299984 w 489855"/>
                <a:gd name="connsiteY786" fmla="*/ 230884 h 534643"/>
                <a:gd name="connsiteX787" fmla="*/ 301120 w 489855"/>
                <a:gd name="connsiteY787" fmla="*/ 230869 h 534643"/>
                <a:gd name="connsiteX788" fmla="*/ 302114 w 489855"/>
                <a:gd name="connsiteY788" fmla="*/ 230448 h 534643"/>
                <a:gd name="connsiteX789" fmla="*/ 305210 w 489855"/>
                <a:gd name="connsiteY789" fmla="*/ 226526 h 534643"/>
                <a:gd name="connsiteX790" fmla="*/ 305906 w 489855"/>
                <a:gd name="connsiteY790" fmla="*/ 225845 h 534643"/>
                <a:gd name="connsiteX791" fmla="*/ 314731 w 489855"/>
                <a:gd name="connsiteY791" fmla="*/ 222970 h 534643"/>
                <a:gd name="connsiteX792" fmla="*/ 319073 w 489855"/>
                <a:gd name="connsiteY792" fmla="*/ 220769 h 534643"/>
                <a:gd name="connsiteX793" fmla="*/ 321472 w 489855"/>
                <a:gd name="connsiteY793" fmla="*/ 220201 h 534643"/>
                <a:gd name="connsiteX794" fmla="*/ 323724 w 489855"/>
                <a:gd name="connsiteY794" fmla="*/ 219054 h 534643"/>
                <a:gd name="connsiteX795" fmla="*/ 328776 w 489855"/>
                <a:gd name="connsiteY795" fmla="*/ 214625 h 534643"/>
                <a:gd name="connsiteX796" fmla="*/ 330643 w 489855"/>
                <a:gd name="connsiteY796" fmla="*/ 212583 h 534643"/>
                <a:gd name="connsiteX797" fmla="*/ 332337 w 489855"/>
                <a:gd name="connsiteY797" fmla="*/ 210323 h 534643"/>
                <a:gd name="connsiteX798" fmla="*/ 333690 w 489855"/>
                <a:gd name="connsiteY798" fmla="*/ 207697 h 534643"/>
                <a:gd name="connsiteX799" fmla="*/ 334757 w 489855"/>
                <a:gd name="connsiteY799" fmla="*/ 204851 h 534643"/>
                <a:gd name="connsiteX800" fmla="*/ 336221 w 489855"/>
                <a:gd name="connsiteY800" fmla="*/ 203078 h 534643"/>
                <a:gd name="connsiteX801" fmla="*/ 344227 w 489855"/>
                <a:gd name="connsiteY801" fmla="*/ 198847 h 534643"/>
                <a:gd name="connsiteX802" fmla="*/ 346809 w 489855"/>
                <a:gd name="connsiteY802" fmla="*/ 196540 h 534643"/>
                <a:gd name="connsiteX803" fmla="*/ 347629 w 489855"/>
                <a:gd name="connsiteY803" fmla="*/ 195422 h 534643"/>
                <a:gd name="connsiteX804" fmla="*/ 348620 w 489855"/>
                <a:gd name="connsiteY804" fmla="*/ 192182 h 534643"/>
                <a:gd name="connsiteX805" fmla="*/ 349304 w 489855"/>
                <a:gd name="connsiteY805" fmla="*/ 188814 h 534643"/>
                <a:gd name="connsiteX806" fmla="*/ 350278 w 489855"/>
                <a:gd name="connsiteY806" fmla="*/ 186170 h 534643"/>
                <a:gd name="connsiteX807" fmla="*/ 351591 w 489855"/>
                <a:gd name="connsiteY807" fmla="*/ 183689 h 534643"/>
                <a:gd name="connsiteX808" fmla="*/ 353351 w 489855"/>
                <a:gd name="connsiteY808" fmla="*/ 181159 h 534643"/>
                <a:gd name="connsiteX809" fmla="*/ 355327 w 489855"/>
                <a:gd name="connsiteY809" fmla="*/ 178809 h 534643"/>
                <a:gd name="connsiteX810" fmla="*/ 356496 w 489855"/>
                <a:gd name="connsiteY810" fmla="*/ 176396 h 534643"/>
                <a:gd name="connsiteX811" fmla="*/ 358190 w 489855"/>
                <a:gd name="connsiteY811" fmla="*/ 170623 h 534643"/>
                <a:gd name="connsiteX812" fmla="*/ 358936 w 489855"/>
                <a:gd name="connsiteY812" fmla="*/ 167422 h 534643"/>
                <a:gd name="connsiteX813" fmla="*/ 359516 w 489855"/>
                <a:gd name="connsiteY813" fmla="*/ 166267 h 534643"/>
                <a:gd name="connsiteX814" fmla="*/ 360369 w 489855"/>
                <a:gd name="connsiteY814" fmla="*/ 165296 h 534643"/>
                <a:gd name="connsiteX815" fmla="*/ 361114 w 489855"/>
                <a:gd name="connsiteY815" fmla="*/ 164067 h 534643"/>
                <a:gd name="connsiteX816" fmla="*/ 361682 w 489855"/>
                <a:gd name="connsiteY816" fmla="*/ 162690 h 534643"/>
                <a:gd name="connsiteX817" fmla="*/ 361939 w 489855"/>
                <a:gd name="connsiteY817" fmla="*/ 161325 h 534643"/>
                <a:gd name="connsiteX818" fmla="*/ 362306 w 489855"/>
                <a:gd name="connsiteY818" fmla="*/ 157152 h 534643"/>
                <a:gd name="connsiteX819" fmla="*/ 362084 w 489855"/>
                <a:gd name="connsiteY819" fmla="*/ 153905 h 534643"/>
                <a:gd name="connsiteX820" fmla="*/ 360758 w 489855"/>
                <a:gd name="connsiteY820" fmla="*/ 151151 h 534643"/>
                <a:gd name="connsiteX821" fmla="*/ 359664 w 489855"/>
                <a:gd name="connsiteY821" fmla="*/ 150369 h 534643"/>
                <a:gd name="connsiteX822" fmla="*/ 358469 w 489855"/>
                <a:gd name="connsiteY822" fmla="*/ 150323 h 534643"/>
                <a:gd name="connsiteX823" fmla="*/ 356681 w 489855"/>
                <a:gd name="connsiteY823" fmla="*/ 150561 h 534643"/>
                <a:gd name="connsiteX824" fmla="*/ 355158 w 489855"/>
                <a:gd name="connsiteY824" fmla="*/ 149438 h 534643"/>
                <a:gd name="connsiteX825" fmla="*/ 355467 w 489855"/>
                <a:gd name="connsiteY825" fmla="*/ 148445 h 534643"/>
                <a:gd name="connsiteX826" fmla="*/ 357020 w 489855"/>
                <a:gd name="connsiteY826" fmla="*/ 148261 h 534643"/>
                <a:gd name="connsiteX827" fmla="*/ 358080 w 489855"/>
                <a:gd name="connsiteY827" fmla="*/ 147748 h 534643"/>
                <a:gd name="connsiteX828" fmla="*/ 358840 w 489855"/>
                <a:gd name="connsiteY828" fmla="*/ 146808 h 534643"/>
                <a:gd name="connsiteX829" fmla="*/ 360266 w 489855"/>
                <a:gd name="connsiteY829" fmla="*/ 143802 h 534643"/>
                <a:gd name="connsiteX830" fmla="*/ 361121 w 489855"/>
                <a:gd name="connsiteY830" fmla="*/ 140579 h 534643"/>
                <a:gd name="connsiteX831" fmla="*/ 361194 w 489855"/>
                <a:gd name="connsiteY831" fmla="*/ 139153 h 534643"/>
                <a:gd name="connsiteX832" fmla="*/ 360080 w 489855"/>
                <a:gd name="connsiteY832" fmla="*/ 136552 h 534643"/>
                <a:gd name="connsiteX833" fmla="*/ 359192 w 489855"/>
                <a:gd name="connsiteY833" fmla="*/ 133422 h 534643"/>
                <a:gd name="connsiteX834" fmla="*/ 359168 w 489855"/>
                <a:gd name="connsiteY834" fmla="*/ 131730 h 534643"/>
                <a:gd name="connsiteX835" fmla="*/ 360139 w 489855"/>
                <a:gd name="connsiteY835" fmla="*/ 129781 h 534643"/>
                <a:gd name="connsiteX836" fmla="*/ 361522 w 489855"/>
                <a:gd name="connsiteY836" fmla="*/ 128197 h 534643"/>
                <a:gd name="connsiteX837" fmla="*/ 362762 w 489855"/>
                <a:gd name="connsiteY837" fmla="*/ 127824 h 534643"/>
                <a:gd name="connsiteX838" fmla="*/ 364104 w 489855"/>
                <a:gd name="connsiteY838" fmla="*/ 127713 h 534643"/>
                <a:gd name="connsiteX839" fmla="*/ 365324 w 489855"/>
                <a:gd name="connsiteY839" fmla="*/ 127101 h 534643"/>
                <a:gd name="connsiteX840" fmla="*/ 366455 w 489855"/>
                <a:gd name="connsiteY840" fmla="*/ 126211 h 534643"/>
                <a:gd name="connsiteX841" fmla="*/ 367093 w 489855"/>
                <a:gd name="connsiteY841" fmla="*/ 125231 h 534643"/>
                <a:gd name="connsiteX842" fmla="*/ 368089 w 489855"/>
                <a:gd name="connsiteY842" fmla="*/ 122562 h 534643"/>
                <a:gd name="connsiteX843" fmla="*/ 368472 w 489855"/>
                <a:gd name="connsiteY843" fmla="*/ 121036 h 534643"/>
                <a:gd name="connsiteX844" fmla="*/ 367844 w 489855"/>
                <a:gd name="connsiteY844" fmla="*/ 116950 h 534643"/>
                <a:gd name="connsiteX845" fmla="*/ 368491 w 489855"/>
                <a:gd name="connsiteY845" fmla="*/ 115832 h 534643"/>
                <a:gd name="connsiteX846" fmla="*/ 369409 w 489855"/>
                <a:gd name="connsiteY846" fmla="*/ 115134 h 534643"/>
                <a:gd name="connsiteX847" fmla="*/ 370633 w 489855"/>
                <a:gd name="connsiteY847" fmla="*/ 115665 h 534643"/>
                <a:gd name="connsiteX848" fmla="*/ 371888 w 489855"/>
                <a:gd name="connsiteY848" fmla="*/ 115770 h 534643"/>
                <a:gd name="connsiteX849" fmla="*/ 373350 w 489855"/>
                <a:gd name="connsiteY849" fmla="*/ 115608 h 534643"/>
                <a:gd name="connsiteX850" fmla="*/ 374753 w 489855"/>
                <a:gd name="connsiteY850" fmla="*/ 116040 h 534643"/>
                <a:gd name="connsiteX851" fmla="*/ 375018 w 489855"/>
                <a:gd name="connsiteY851" fmla="*/ 117089 h 534643"/>
                <a:gd name="connsiteX852" fmla="*/ 375897 w 489855"/>
                <a:gd name="connsiteY852" fmla="*/ 123992 h 534643"/>
                <a:gd name="connsiteX853" fmla="*/ 376407 w 489855"/>
                <a:gd name="connsiteY853" fmla="*/ 124924 h 534643"/>
                <a:gd name="connsiteX854" fmla="*/ 377428 w 489855"/>
                <a:gd name="connsiteY854" fmla="*/ 125646 h 534643"/>
                <a:gd name="connsiteX855" fmla="*/ 378582 w 489855"/>
                <a:gd name="connsiteY855" fmla="*/ 125540 h 534643"/>
                <a:gd name="connsiteX856" fmla="*/ 379577 w 489855"/>
                <a:gd name="connsiteY856" fmla="*/ 124468 h 534643"/>
                <a:gd name="connsiteX857" fmla="*/ 380248 w 489855"/>
                <a:gd name="connsiteY857" fmla="*/ 123038 h 534643"/>
                <a:gd name="connsiteX858" fmla="*/ 381572 w 489855"/>
                <a:gd name="connsiteY858" fmla="*/ 122743 h 534643"/>
                <a:gd name="connsiteX859" fmla="*/ 385608 w 489855"/>
                <a:gd name="connsiteY859" fmla="*/ 124281 h 534643"/>
                <a:gd name="connsiteX860" fmla="*/ 387037 w 489855"/>
                <a:gd name="connsiteY860" fmla="*/ 123183 h 534643"/>
                <a:gd name="connsiteX861" fmla="*/ 387970 w 489855"/>
                <a:gd name="connsiteY861" fmla="*/ 121489 h 534643"/>
                <a:gd name="connsiteX862" fmla="*/ 388783 w 489855"/>
                <a:gd name="connsiteY862" fmla="*/ 118483 h 534643"/>
                <a:gd name="connsiteX863" fmla="*/ 388387 w 489855"/>
                <a:gd name="connsiteY863" fmla="*/ 115771 h 534643"/>
                <a:gd name="connsiteX864" fmla="*/ 387418 w 489855"/>
                <a:gd name="connsiteY864" fmla="*/ 114770 h 534643"/>
                <a:gd name="connsiteX865" fmla="*/ 386415 w 489855"/>
                <a:gd name="connsiteY865" fmla="*/ 114952 h 534643"/>
                <a:gd name="connsiteX866" fmla="*/ 385530 w 489855"/>
                <a:gd name="connsiteY866" fmla="*/ 115696 h 534643"/>
                <a:gd name="connsiteX867" fmla="*/ 384543 w 489855"/>
                <a:gd name="connsiteY867" fmla="*/ 116102 h 534643"/>
                <a:gd name="connsiteX868" fmla="*/ 378577 w 489855"/>
                <a:gd name="connsiteY868" fmla="*/ 117531 h 534643"/>
                <a:gd name="connsiteX869" fmla="*/ 378605 w 489855"/>
                <a:gd name="connsiteY869" fmla="*/ 114505 h 534643"/>
                <a:gd name="connsiteX870" fmla="*/ 379882 w 489855"/>
                <a:gd name="connsiteY870" fmla="*/ 109972 h 534643"/>
                <a:gd name="connsiteX871" fmla="*/ 380588 w 489855"/>
                <a:gd name="connsiteY871" fmla="*/ 108537 h 534643"/>
                <a:gd name="connsiteX872" fmla="*/ 351110 w 489855"/>
                <a:gd name="connsiteY872" fmla="*/ 88508 h 534643"/>
                <a:gd name="connsiteX873" fmla="*/ 349931 w 489855"/>
                <a:gd name="connsiteY873" fmla="*/ 92199 h 534643"/>
                <a:gd name="connsiteX874" fmla="*/ 349404 w 489855"/>
                <a:gd name="connsiteY874" fmla="*/ 92608 h 534643"/>
                <a:gd name="connsiteX875" fmla="*/ 348898 w 489855"/>
                <a:gd name="connsiteY875" fmla="*/ 92751 h 534643"/>
                <a:gd name="connsiteX876" fmla="*/ 348371 w 489855"/>
                <a:gd name="connsiteY876" fmla="*/ 92526 h 534643"/>
                <a:gd name="connsiteX877" fmla="*/ 347862 w 489855"/>
                <a:gd name="connsiteY877" fmla="*/ 90517 h 534643"/>
                <a:gd name="connsiteX878" fmla="*/ 348301 w 489855"/>
                <a:gd name="connsiteY878" fmla="*/ 89456 h 534643"/>
                <a:gd name="connsiteX879" fmla="*/ 349725 w 489855"/>
                <a:gd name="connsiteY879" fmla="*/ 88715 h 534643"/>
                <a:gd name="connsiteX880" fmla="*/ 387271 w 489855"/>
                <a:gd name="connsiteY880" fmla="*/ 7180 h 534643"/>
                <a:gd name="connsiteX881" fmla="*/ 388556 w 489855"/>
                <a:gd name="connsiteY881" fmla="*/ 7601 h 534643"/>
                <a:gd name="connsiteX882" fmla="*/ 389842 w 489855"/>
                <a:gd name="connsiteY882" fmla="*/ 9078 h 534643"/>
                <a:gd name="connsiteX883" fmla="*/ 390266 w 489855"/>
                <a:gd name="connsiteY883" fmla="*/ 9847 h 534643"/>
                <a:gd name="connsiteX884" fmla="*/ 389519 w 489855"/>
                <a:gd name="connsiteY884" fmla="*/ 10699 h 534643"/>
                <a:gd name="connsiteX885" fmla="*/ 387984 w 489855"/>
                <a:gd name="connsiteY885" fmla="*/ 10895 h 534643"/>
                <a:gd name="connsiteX886" fmla="*/ 386200 w 489855"/>
                <a:gd name="connsiteY886" fmla="*/ 9753 h 534643"/>
                <a:gd name="connsiteX887" fmla="*/ 385979 w 489855"/>
                <a:gd name="connsiteY887" fmla="*/ 8321 h 534643"/>
                <a:gd name="connsiteX888" fmla="*/ 382361 w 489855"/>
                <a:gd name="connsiteY888" fmla="*/ 1210 h 534643"/>
                <a:gd name="connsiteX889" fmla="*/ 383023 w 489855"/>
                <a:gd name="connsiteY889" fmla="*/ 1228 h 534643"/>
                <a:gd name="connsiteX890" fmla="*/ 384241 w 489855"/>
                <a:gd name="connsiteY890" fmla="*/ 1647 h 534643"/>
                <a:gd name="connsiteX891" fmla="*/ 384533 w 489855"/>
                <a:gd name="connsiteY891" fmla="*/ 3008 h 534643"/>
                <a:gd name="connsiteX892" fmla="*/ 384595 w 489855"/>
                <a:gd name="connsiteY892" fmla="*/ 4850 h 534643"/>
                <a:gd name="connsiteX893" fmla="*/ 383738 w 489855"/>
                <a:gd name="connsiteY893" fmla="*/ 6591 h 534643"/>
                <a:gd name="connsiteX894" fmla="*/ 382592 w 489855"/>
                <a:gd name="connsiteY894" fmla="*/ 4002 h 534643"/>
                <a:gd name="connsiteX895" fmla="*/ 403721 w 489855"/>
                <a:gd name="connsiteY895" fmla="*/ 0 h 534643"/>
                <a:gd name="connsiteX896" fmla="*/ 404676 w 489855"/>
                <a:gd name="connsiteY896" fmla="*/ 715 h 534643"/>
                <a:gd name="connsiteX897" fmla="*/ 405462 w 489855"/>
                <a:gd name="connsiteY897" fmla="*/ 1966 h 534643"/>
                <a:gd name="connsiteX898" fmla="*/ 408893 w 489855"/>
                <a:gd name="connsiteY898" fmla="*/ 5048 h 534643"/>
                <a:gd name="connsiteX899" fmla="*/ 414297 w 489855"/>
                <a:gd name="connsiteY899" fmla="*/ 10544 h 534643"/>
                <a:gd name="connsiteX900" fmla="*/ 420668 w 489855"/>
                <a:gd name="connsiteY900" fmla="*/ 18900 h 534643"/>
                <a:gd name="connsiteX901" fmla="*/ 424663 w 489855"/>
                <a:gd name="connsiteY901" fmla="*/ 22964 h 534643"/>
                <a:gd name="connsiteX902" fmla="*/ 428872 w 489855"/>
                <a:gd name="connsiteY902" fmla="*/ 26645 h 534643"/>
                <a:gd name="connsiteX903" fmla="*/ 433592 w 489855"/>
                <a:gd name="connsiteY903" fmla="*/ 30404 h 534643"/>
                <a:gd name="connsiteX904" fmla="*/ 438530 w 489855"/>
                <a:gd name="connsiteY904" fmla="*/ 33638 h 534643"/>
                <a:gd name="connsiteX905" fmla="*/ 441685 w 489855"/>
                <a:gd name="connsiteY905" fmla="*/ 35162 h 534643"/>
                <a:gd name="connsiteX906" fmla="*/ 443996 w 489855"/>
                <a:gd name="connsiteY906" fmla="*/ 37594 h 534643"/>
                <a:gd name="connsiteX907" fmla="*/ 445438 w 489855"/>
                <a:gd name="connsiteY907" fmla="*/ 37991 h 534643"/>
                <a:gd name="connsiteX908" fmla="*/ 448206 w 489855"/>
                <a:gd name="connsiteY908" fmla="*/ 38128 h 534643"/>
                <a:gd name="connsiteX909" fmla="*/ 449444 w 489855"/>
                <a:gd name="connsiteY909" fmla="*/ 38000 h 534643"/>
                <a:gd name="connsiteX910" fmla="*/ 451564 w 489855"/>
                <a:gd name="connsiteY910" fmla="*/ 38408 h 534643"/>
                <a:gd name="connsiteX911" fmla="*/ 459978 w 489855"/>
                <a:gd name="connsiteY911" fmla="*/ 42523 h 534643"/>
                <a:gd name="connsiteX912" fmla="*/ 462517 w 489855"/>
                <a:gd name="connsiteY912" fmla="*/ 43046 h 534643"/>
                <a:gd name="connsiteX913" fmla="*/ 465139 w 489855"/>
                <a:gd name="connsiteY913" fmla="*/ 43107 h 534643"/>
                <a:gd name="connsiteX914" fmla="*/ 466980 w 489855"/>
                <a:gd name="connsiteY914" fmla="*/ 42775 h 534643"/>
                <a:gd name="connsiteX915" fmla="*/ 468602 w 489855"/>
                <a:gd name="connsiteY915" fmla="*/ 41647 h 534643"/>
                <a:gd name="connsiteX916" fmla="*/ 473681 w 489855"/>
                <a:gd name="connsiteY916" fmla="*/ 36658 h 534643"/>
                <a:gd name="connsiteX917" fmla="*/ 479014 w 489855"/>
                <a:gd name="connsiteY917" fmla="*/ 32108 h 534643"/>
                <a:gd name="connsiteX918" fmla="*/ 479607 w 489855"/>
                <a:gd name="connsiteY918" fmla="*/ 32284 h 534643"/>
                <a:gd name="connsiteX919" fmla="*/ 479608 w 489855"/>
                <a:gd name="connsiteY919" fmla="*/ 33535 h 534643"/>
                <a:gd name="connsiteX920" fmla="*/ 479217 w 489855"/>
                <a:gd name="connsiteY920" fmla="*/ 34933 h 534643"/>
                <a:gd name="connsiteX921" fmla="*/ 476857 w 489855"/>
                <a:gd name="connsiteY921" fmla="*/ 39096 h 534643"/>
                <a:gd name="connsiteX922" fmla="*/ 474229 w 489855"/>
                <a:gd name="connsiteY922" fmla="*/ 44691 h 534643"/>
                <a:gd name="connsiteX923" fmla="*/ 473670 w 489855"/>
                <a:gd name="connsiteY923" fmla="*/ 47522 h 534643"/>
                <a:gd name="connsiteX924" fmla="*/ 474523 w 489855"/>
                <a:gd name="connsiteY924" fmla="*/ 50276 h 534643"/>
                <a:gd name="connsiteX925" fmla="*/ 476169 w 489855"/>
                <a:gd name="connsiteY925" fmla="*/ 52548 h 534643"/>
                <a:gd name="connsiteX926" fmla="*/ 477470 w 489855"/>
                <a:gd name="connsiteY926" fmla="*/ 55654 h 534643"/>
                <a:gd name="connsiteX927" fmla="*/ 478971 w 489855"/>
                <a:gd name="connsiteY927" fmla="*/ 59968 h 534643"/>
                <a:gd name="connsiteX928" fmla="*/ 481079 w 489855"/>
                <a:gd name="connsiteY928" fmla="*/ 60513 h 534643"/>
                <a:gd name="connsiteX929" fmla="*/ 482223 w 489855"/>
                <a:gd name="connsiteY929" fmla="*/ 60580 h 534643"/>
                <a:gd name="connsiteX930" fmla="*/ 484333 w 489855"/>
                <a:gd name="connsiteY930" fmla="*/ 59289 h 534643"/>
                <a:gd name="connsiteX931" fmla="*/ 486330 w 489855"/>
                <a:gd name="connsiteY931" fmla="*/ 57646 h 534643"/>
                <a:gd name="connsiteX932" fmla="*/ 488047 w 489855"/>
                <a:gd name="connsiteY932" fmla="*/ 57446 h 534643"/>
                <a:gd name="connsiteX933" fmla="*/ 489855 w 489855"/>
                <a:gd name="connsiteY933" fmla="*/ 57725 h 534643"/>
                <a:gd name="connsiteX934" fmla="*/ 487479 w 489855"/>
                <a:gd name="connsiteY934" fmla="*/ 58868 h 534643"/>
                <a:gd name="connsiteX935" fmla="*/ 485238 w 489855"/>
                <a:gd name="connsiteY935" fmla="*/ 60269 h 534643"/>
                <a:gd name="connsiteX936" fmla="*/ 483318 w 489855"/>
                <a:gd name="connsiteY936" fmla="*/ 62919 h 534643"/>
                <a:gd name="connsiteX937" fmla="*/ 482603 w 489855"/>
                <a:gd name="connsiteY937" fmla="*/ 63414 h 534643"/>
                <a:gd name="connsiteX938" fmla="*/ 480386 w 489855"/>
                <a:gd name="connsiteY938" fmla="*/ 63251 h 534643"/>
                <a:gd name="connsiteX939" fmla="*/ 479118 w 489855"/>
                <a:gd name="connsiteY939" fmla="*/ 63347 h 534643"/>
                <a:gd name="connsiteX940" fmla="*/ 476522 w 489855"/>
                <a:gd name="connsiteY940" fmla="*/ 64453 h 534643"/>
                <a:gd name="connsiteX941" fmla="*/ 474246 w 489855"/>
                <a:gd name="connsiteY941" fmla="*/ 65704 h 534643"/>
                <a:gd name="connsiteX942" fmla="*/ 472072 w 489855"/>
                <a:gd name="connsiteY942" fmla="*/ 67239 h 534643"/>
                <a:gd name="connsiteX943" fmla="*/ 469696 w 489855"/>
                <a:gd name="connsiteY943" fmla="*/ 68062 h 534643"/>
                <a:gd name="connsiteX944" fmla="*/ 467170 w 489855"/>
                <a:gd name="connsiteY944" fmla="*/ 68256 h 534643"/>
                <a:gd name="connsiteX945" fmla="*/ 463270 w 489855"/>
                <a:gd name="connsiteY945" fmla="*/ 69509 h 534643"/>
                <a:gd name="connsiteX946" fmla="*/ 460737 w 489855"/>
                <a:gd name="connsiteY946" fmla="*/ 69598 h 534643"/>
                <a:gd name="connsiteX947" fmla="*/ 455991 w 489855"/>
                <a:gd name="connsiteY947" fmla="*/ 68504 h 534643"/>
                <a:gd name="connsiteX948" fmla="*/ 453685 w 489855"/>
                <a:gd name="connsiteY948" fmla="*/ 68793 h 534643"/>
                <a:gd name="connsiteX949" fmla="*/ 448645 w 489855"/>
                <a:gd name="connsiteY949" fmla="*/ 71263 h 534643"/>
                <a:gd name="connsiteX950" fmla="*/ 444063 w 489855"/>
                <a:gd name="connsiteY950" fmla="*/ 74828 h 534643"/>
                <a:gd name="connsiteX951" fmla="*/ 440057 w 489855"/>
                <a:gd name="connsiteY951" fmla="*/ 78820 h 534643"/>
                <a:gd name="connsiteX952" fmla="*/ 436708 w 489855"/>
                <a:gd name="connsiteY952" fmla="*/ 83617 h 534643"/>
                <a:gd name="connsiteX953" fmla="*/ 435362 w 489855"/>
                <a:gd name="connsiteY953" fmla="*/ 86114 h 534643"/>
                <a:gd name="connsiteX954" fmla="*/ 434554 w 489855"/>
                <a:gd name="connsiteY954" fmla="*/ 88903 h 534643"/>
                <a:gd name="connsiteX955" fmla="*/ 434445 w 489855"/>
                <a:gd name="connsiteY955" fmla="*/ 90747 h 534643"/>
                <a:gd name="connsiteX956" fmla="*/ 434147 w 489855"/>
                <a:gd name="connsiteY956" fmla="*/ 92520 h 534643"/>
                <a:gd name="connsiteX957" fmla="*/ 433374 w 489855"/>
                <a:gd name="connsiteY957" fmla="*/ 93755 h 534643"/>
                <a:gd name="connsiteX958" fmla="*/ 432441 w 489855"/>
                <a:gd name="connsiteY958" fmla="*/ 94754 h 534643"/>
                <a:gd name="connsiteX959" fmla="*/ 429681 w 489855"/>
                <a:gd name="connsiteY959" fmla="*/ 94169 h 534643"/>
                <a:gd name="connsiteX960" fmla="*/ 425140 w 489855"/>
                <a:gd name="connsiteY960" fmla="*/ 91616 h 534643"/>
                <a:gd name="connsiteX961" fmla="*/ 416336 w 489855"/>
                <a:gd name="connsiteY961" fmla="*/ 87903 h 534643"/>
                <a:gd name="connsiteX962" fmla="*/ 407042 w 489855"/>
                <a:gd name="connsiteY962" fmla="*/ 82208 h 534643"/>
                <a:gd name="connsiteX963" fmla="*/ 401812 w 489855"/>
                <a:gd name="connsiteY963" fmla="*/ 79345 h 534643"/>
                <a:gd name="connsiteX964" fmla="*/ 391979 w 489855"/>
                <a:gd name="connsiteY964" fmla="*/ 80203 h 534643"/>
                <a:gd name="connsiteX965" fmla="*/ 382680 w 489855"/>
                <a:gd name="connsiteY965" fmla="*/ 85662 h 534643"/>
                <a:gd name="connsiteX966" fmla="*/ 381847 w 489855"/>
                <a:gd name="connsiteY966" fmla="*/ 85198 h 534643"/>
                <a:gd name="connsiteX967" fmla="*/ 378290 w 489855"/>
                <a:gd name="connsiteY967" fmla="*/ 81455 h 534643"/>
                <a:gd name="connsiteX968" fmla="*/ 376569 w 489855"/>
                <a:gd name="connsiteY968" fmla="*/ 79971 h 534643"/>
                <a:gd name="connsiteX969" fmla="*/ 374513 w 489855"/>
                <a:gd name="connsiteY969" fmla="*/ 79551 h 534643"/>
                <a:gd name="connsiteX970" fmla="*/ 372984 w 489855"/>
                <a:gd name="connsiteY970" fmla="*/ 79599 h 534643"/>
                <a:gd name="connsiteX971" fmla="*/ 371498 w 489855"/>
                <a:gd name="connsiteY971" fmla="*/ 79871 h 534643"/>
                <a:gd name="connsiteX972" fmla="*/ 369398 w 489855"/>
                <a:gd name="connsiteY972" fmla="*/ 81797 h 534643"/>
                <a:gd name="connsiteX973" fmla="*/ 368627 w 489855"/>
                <a:gd name="connsiteY973" fmla="*/ 83185 h 534643"/>
                <a:gd name="connsiteX974" fmla="*/ 368028 w 489855"/>
                <a:gd name="connsiteY974" fmla="*/ 84758 h 534643"/>
                <a:gd name="connsiteX975" fmla="*/ 367844 w 489855"/>
                <a:gd name="connsiteY975" fmla="*/ 85871 h 534643"/>
                <a:gd name="connsiteX976" fmla="*/ 368098 w 489855"/>
                <a:gd name="connsiteY976" fmla="*/ 86961 h 534643"/>
                <a:gd name="connsiteX977" fmla="*/ 370086 w 489855"/>
                <a:gd name="connsiteY977" fmla="*/ 89425 h 534643"/>
                <a:gd name="connsiteX978" fmla="*/ 372540 w 489855"/>
                <a:gd name="connsiteY978" fmla="*/ 91259 h 534643"/>
                <a:gd name="connsiteX979" fmla="*/ 373650 w 489855"/>
                <a:gd name="connsiteY979" fmla="*/ 91607 h 534643"/>
                <a:gd name="connsiteX980" fmla="*/ 376005 w 489855"/>
                <a:gd name="connsiteY980" fmla="*/ 91479 h 534643"/>
                <a:gd name="connsiteX981" fmla="*/ 377100 w 489855"/>
                <a:gd name="connsiteY981" fmla="*/ 91669 h 534643"/>
                <a:gd name="connsiteX982" fmla="*/ 381048 w 489855"/>
                <a:gd name="connsiteY982" fmla="*/ 95349 h 534643"/>
                <a:gd name="connsiteX983" fmla="*/ 385368 w 489855"/>
                <a:gd name="connsiteY983" fmla="*/ 98790 h 534643"/>
                <a:gd name="connsiteX984" fmla="*/ 386325 w 489855"/>
                <a:gd name="connsiteY984" fmla="*/ 99929 h 534643"/>
                <a:gd name="connsiteX985" fmla="*/ 384727 w 489855"/>
                <a:gd name="connsiteY985" fmla="*/ 101129 h 534643"/>
                <a:gd name="connsiteX986" fmla="*/ 382976 w 489855"/>
                <a:gd name="connsiteY986" fmla="*/ 101722 h 534643"/>
                <a:gd name="connsiteX987" fmla="*/ 380941 w 489855"/>
                <a:gd name="connsiteY987" fmla="*/ 101567 h 534643"/>
                <a:gd name="connsiteX988" fmla="*/ 378927 w 489855"/>
                <a:gd name="connsiteY988" fmla="*/ 101113 h 534643"/>
                <a:gd name="connsiteX989" fmla="*/ 375466 w 489855"/>
                <a:gd name="connsiteY989" fmla="*/ 99651 h 534643"/>
                <a:gd name="connsiteX990" fmla="*/ 373986 w 489855"/>
                <a:gd name="connsiteY990" fmla="*/ 100897 h 534643"/>
                <a:gd name="connsiteX991" fmla="*/ 371691 w 489855"/>
                <a:gd name="connsiteY991" fmla="*/ 103449 h 534643"/>
                <a:gd name="connsiteX992" fmla="*/ 370419 w 489855"/>
                <a:gd name="connsiteY992" fmla="*/ 106221 h 534643"/>
                <a:gd name="connsiteX993" fmla="*/ 369387 w 489855"/>
                <a:gd name="connsiteY993" fmla="*/ 107493 h 534643"/>
                <a:gd name="connsiteX994" fmla="*/ 366847 w 489855"/>
                <a:gd name="connsiteY994" fmla="*/ 109165 h 534643"/>
                <a:gd name="connsiteX995" fmla="*/ 364161 w 489855"/>
                <a:gd name="connsiteY995" fmla="*/ 110030 h 534643"/>
                <a:gd name="connsiteX996" fmla="*/ 362757 w 489855"/>
                <a:gd name="connsiteY996" fmla="*/ 109744 h 534643"/>
                <a:gd name="connsiteX997" fmla="*/ 361684 w 489855"/>
                <a:gd name="connsiteY997" fmla="*/ 108696 h 534643"/>
                <a:gd name="connsiteX998" fmla="*/ 361077 w 489855"/>
                <a:gd name="connsiteY998" fmla="*/ 107439 h 534643"/>
                <a:gd name="connsiteX999" fmla="*/ 360771 w 489855"/>
                <a:gd name="connsiteY999" fmla="*/ 105983 h 534643"/>
                <a:gd name="connsiteX1000" fmla="*/ 361345 w 489855"/>
                <a:gd name="connsiteY1000" fmla="*/ 102825 h 534643"/>
                <a:gd name="connsiteX1001" fmla="*/ 362736 w 489855"/>
                <a:gd name="connsiteY1001" fmla="*/ 99979 h 534643"/>
                <a:gd name="connsiteX1002" fmla="*/ 363271 w 489855"/>
                <a:gd name="connsiteY1002" fmla="*/ 97070 h 534643"/>
                <a:gd name="connsiteX1003" fmla="*/ 362132 w 489855"/>
                <a:gd name="connsiteY1003" fmla="*/ 92971 h 534643"/>
                <a:gd name="connsiteX1004" fmla="*/ 361408 w 489855"/>
                <a:gd name="connsiteY1004" fmla="*/ 92115 h 534643"/>
                <a:gd name="connsiteX1005" fmla="*/ 358555 w 489855"/>
                <a:gd name="connsiteY1005" fmla="*/ 89710 h 534643"/>
                <a:gd name="connsiteX1006" fmla="*/ 357236 w 489855"/>
                <a:gd name="connsiteY1006" fmla="*/ 87367 h 534643"/>
                <a:gd name="connsiteX1007" fmla="*/ 356914 w 489855"/>
                <a:gd name="connsiteY1007" fmla="*/ 84451 h 534643"/>
                <a:gd name="connsiteX1008" fmla="*/ 357083 w 489855"/>
                <a:gd name="connsiteY1008" fmla="*/ 82837 h 534643"/>
                <a:gd name="connsiteX1009" fmla="*/ 357782 w 489855"/>
                <a:gd name="connsiteY1009" fmla="*/ 79274 h 534643"/>
                <a:gd name="connsiteX1010" fmla="*/ 358467 w 489855"/>
                <a:gd name="connsiteY1010" fmla="*/ 77472 h 534643"/>
                <a:gd name="connsiteX1011" fmla="*/ 359782 w 489855"/>
                <a:gd name="connsiteY1011" fmla="*/ 76878 h 534643"/>
                <a:gd name="connsiteX1012" fmla="*/ 361207 w 489855"/>
                <a:gd name="connsiteY1012" fmla="*/ 76522 h 534643"/>
                <a:gd name="connsiteX1013" fmla="*/ 363410 w 489855"/>
                <a:gd name="connsiteY1013" fmla="*/ 75234 h 534643"/>
                <a:gd name="connsiteX1014" fmla="*/ 365831 w 489855"/>
                <a:gd name="connsiteY1014" fmla="*/ 73562 h 534643"/>
                <a:gd name="connsiteX1015" fmla="*/ 368141 w 489855"/>
                <a:gd name="connsiteY1015" fmla="*/ 71653 h 534643"/>
                <a:gd name="connsiteX1016" fmla="*/ 370432 w 489855"/>
                <a:gd name="connsiteY1016" fmla="*/ 69317 h 534643"/>
                <a:gd name="connsiteX1017" fmla="*/ 371630 w 489855"/>
                <a:gd name="connsiteY1017" fmla="*/ 66749 h 534643"/>
                <a:gd name="connsiteX1018" fmla="*/ 369663 w 489855"/>
                <a:gd name="connsiteY1018" fmla="*/ 63599 h 534643"/>
                <a:gd name="connsiteX1019" fmla="*/ 369261 w 489855"/>
                <a:gd name="connsiteY1019" fmla="*/ 61726 h 534643"/>
                <a:gd name="connsiteX1020" fmla="*/ 369551 w 489855"/>
                <a:gd name="connsiteY1020" fmla="*/ 59952 h 534643"/>
                <a:gd name="connsiteX1021" fmla="*/ 371641 w 489855"/>
                <a:gd name="connsiteY1021" fmla="*/ 59009 h 534643"/>
                <a:gd name="connsiteX1022" fmla="*/ 373801 w 489855"/>
                <a:gd name="connsiteY1022" fmla="*/ 59721 h 534643"/>
                <a:gd name="connsiteX1023" fmla="*/ 378137 w 489855"/>
                <a:gd name="connsiteY1023" fmla="*/ 62319 h 534643"/>
                <a:gd name="connsiteX1024" fmla="*/ 378987 w 489855"/>
                <a:gd name="connsiteY1024" fmla="*/ 62575 h 534643"/>
                <a:gd name="connsiteX1025" fmla="*/ 381965 w 489855"/>
                <a:gd name="connsiteY1025" fmla="*/ 62696 h 534643"/>
                <a:gd name="connsiteX1026" fmla="*/ 386042 w 489855"/>
                <a:gd name="connsiteY1026" fmla="*/ 63261 h 534643"/>
                <a:gd name="connsiteX1027" fmla="*/ 388404 w 489855"/>
                <a:gd name="connsiteY1027" fmla="*/ 63123 h 534643"/>
                <a:gd name="connsiteX1028" fmla="*/ 389538 w 489855"/>
                <a:gd name="connsiteY1028" fmla="*/ 62731 h 534643"/>
                <a:gd name="connsiteX1029" fmla="*/ 391259 w 489855"/>
                <a:gd name="connsiteY1029" fmla="*/ 60583 h 534643"/>
                <a:gd name="connsiteX1030" fmla="*/ 392103 w 489855"/>
                <a:gd name="connsiteY1030" fmla="*/ 57844 h 534643"/>
                <a:gd name="connsiteX1031" fmla="*/ 391795 w 489855"/>
                <a:gd name="connsiteY1031" fmla="*/ 54319 h 534643"/>
                <a:gd name="connsiteX1032" fmla="*/ 391779 w 489855"/>
                <a:gd name="connsiteY1032" fmla="*/ 50812 h 534643"/>
                <a:gd name="connsiteX1033" fmla="*/ 392866 w 489855"/>
                <a:gd name="connsiteY1033" fmla="*/ 47952 h 534643"/>
                <a:gd name="connsiteX1034" fmla="*/ 396269 w 489855"/>
                <a:gd name="connsiteY1034" fmla="*/ 43349 h 534643"/>
                <a:gd name="connsiteX1035" fmla="*/ 397243 w 489855"/>
                <a:gd name="connsiteY1035" fmla="*/ 40632 h 534643"/>
                <a:gd name="connsiteX1036" fmla="*/ 397599 w 489855"/>
                <a:gd name="connsiteY1036" fmla="*/ 34015 h 534643"/>
                <a:gd name="connsiteX1037" fmla="*/ 398826 w 489855"/>
                <a:gd name="connsiteY1037" fmla="*/ 31095 h 534643"/>
                <a:gd name="connsiteX1038" fmla="*/ 399813 w 489855"/>
                <a:gd name="connsiteY1038" fmla="*/ 28070 h 534643"/>
                <a:gd name="connsiteX1039" fmla="*/ 400284 w 489855"/>
                <a:gd name="connsiteY1039" fmla="*/ 21704 h 534643"/>
                <a:gd name="connsiteX1040" fmla="*/ 398886 w 489855"/>
                <a:gd name="connsiteY1040" fmla="*/ 15573 h 534643"/>
                <a:gd name="connsiteX1041" fmla="*/ 397487 w 489855"/>
                <a:gd name="connsiteY1041" fmla="*/ 12563 h 534643"/>
                <a:gd name="connsiteX1042" fmla="*/ 395878 w 489855"/>
                <a:gd name="connsiteY1042" fmla="*/ 9697 h 534643"/>
                <a:gd name="connsiteX1043" fmla="*/ 396116 w 489855"/>
                <a:gd name="connsiteY1043" fmla="*/ 6958 h 534643"/>
                <a:gd name="connsiteX1044" fmla="*/ 397416 w 489855"/>
                <a:gd name="connsiteY1044" fmla="*/ 4417 h 534643"/>
                <a:gd name="connsiteX1045" fmla="*/ 397448 w 489855"/>
                <a:gd name="connsiteY1045" fmla="*/ 3651 h 534643"/>
                <a:gd name="connsiteX1046" fmla="*/ 397757 w 489855"/>
                <a:gd name="connsiteY1046" fmla="*/ 2973 h 534643"/>
                <a:gd name="connsiteX1047" fmla="*/ 400192 w 489855"/>
                <a:gd name="connsiteY1047" fmla="*/ 2489 h 534643"/>
                <a:gd name="connsiteX1048" fmla="*/ 401328 w 489855"/>
                <a:gd name="connsiteY1048" fmla="*/ 1944 h 534643"/>
                <a:gd name="connsiteX1049" fmla="*/ 402417 w 489855"/>
                <a:gd name="connsiteY1049" fmla="*/ 721 h 534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</a:cxnLst>
              <a:rect l="l" t="t" r="r" b="b"/>
              <a:pathLst>
                <a:path w="489855" h="534643">
                  <a:moveTo>
                    <a:pt x="2028" y="531163"/>
                  </a:moveTo>
                  <a:lnTo>
                    <a:pt x="5640" y="532393"/>
                  </a:lnTo>
                  <a:lnTo>
                    <a:pt x="5491" y="533293"/>
                  </a:lnTo>
                  <a:lnTo>
                    <a:pt x="4619" y="534314"/>
                  </a:lnTo>
                  <a:lnTo>
                    <a:pt x="3224" y="534643"/>
                  </a:lnTo>
                  <a:lnTo>
                    <a:pt x="1548" y="534239"/>
                  </a:lnTo>
                  <a:lnTo>
                    <a:pt x="20" y="534128"/>
                  </a:lnTo>
                  <a:lnTo>
                    <a:pt x="0" y="533431"/>
                  </a:lnTo>
                  <a:lnTo>
                    <a:pt x="1605" y="532710"/>
                  </a:lnTo>
                  <a:lnTo>
                    <a:pt x="1635" y="531706"/>
                  </a:lnTo>
                  <a:close/>
                  <a:moveTo>
                    <a:pt x="13758" y="527110"/>
                  </a:moveTo>
                  <a:lnTo>
                    <a:pt x="14245" y="527598"/>
                  </a:lnTo>
                  <a:lnTo>
                    <a:pt x="13564" y="528782"/>
                  </a:lnTo>
                  <a:lnTo>
                    <a:pt x="12261" y="532486"/>
                  </a:lnTo>
                  <a:lnTo>
                    <a:pt x="11186" y="533025"/>
                  </a:lnTo>
                  <a:lnTo>
                    <a:pt x="10082" y="532731"/>
                  </a:lnTo>
                  <a:lnTo>
                    <a:pt x="8955" y="530661"/>
                  </a:lnTo>
                  <a:lnTo>
                    <a:pt x="9743" y="529868"/>
                  </a:lnTo>
                  <a:lnTo>
                    <a:pt x="10845" y="530285"/>
                  </a:lnTo>
                  <a:lnTo>
                    <a:pt x="11736" y="530126"/>
                  </a:lnTo>
                  <a:close/>
                  <a:moveTo>
                    <a:pt x="35464" y="520417"/>
                  </a:moveTo>
                  <a:lnTo>
                    <a:pt x="36157" y="520877"/>
                  </a:lnTo>
                  <a:lnTo>
                    <a:pt x="36591" y="521998"/>
                  </a:lnTo>
                  <a:lnTo>
                    <a:pt x="38079" y="522652"/>
                  </a:lnTo>
                  <a:lnTo>
                    <a:pt x="39013" y="523444"/>
                  </a:lnTo>
                  <a:lnTo>
                    <a:pt x="37140" y="524057"/>
                  </a:lnTo>
                  <a:lnTo>
                    <a:pt x="35140" y="523695"/>
                  </a:lnTo>
                  <a:close/>
                  <a:moveTo>
                    <a:pt x="101165" y="472903"/>
                  </a:moveTo>
                  <a:lnTo>
                    <a:pt x="102862" y="474561"/>
                  </a:lnTo>
                  <a:lnTo>
                    <a:pt x="102405" y="476732"/>
                  </a:lnTo>
                  <a:lnTo>
                    <a:pt x="101251" y="478345"/>
                  </a:lnTo>
                  <a:lnTo>
                    <a:pt x="99122" y="479433"/>
                  </a:lnTo>
                  <a:lnTo>
                    <a:pt x="98336" y="480731"/>
                  </a:lnTo>
                  <a:lnTo>
                    <a:pt x="96367" y="481173"/>
                  </a:lnTo>
                  <a:lnTo>
                    <a:pt x="94452" y="483002"/>
                  </a:lnTo>
                  <a:lnTo>
                    <a:pt x="92590" y="483334"/>
                  </a:lnTo>
                  <a:lnTo>
                    <a:pt x="92638" y="484802"/>
                  </a:lnTo>
                  <a:lnTo>
                    <a:pt x="93424" y="486045"/>
                  </a:lnTo>
                  <a:lnTo>
                    <a:pt x="92185" y="486262"/>
                  </a:lnTo>
                  <a:lnTo>
                    <a:pt x="90888" y="487775"/>
                  </a:lnTo>
                  <a:lnTo>
                    <a:pt x="90787" y="488874"/>
                  </a:lnTo>
                  <a:lnTo>
                    <a:pt x="91249" y="489760"/>
                  </a:lnTo>
                  <a:lnTo>
                    <a:pt x="91187" y="490203"/>
                  </a:lnTo>
                  <a:lnTo>
                    <a:pt x="89545" y="491514"/>
                  </a:lnTo>
                  <a:lnTo>
                    <a:pt x="87859" y="491571"/>
                  </a:lnTo>
                  <a:lnTo>
                    <a:pt x="87783" y="490157"/>
                  </a:lnTo>
                  <a:lnTo>
                    <a:pt x="87898" y="489099"/>
                  </a:lnTo>
                  <a:lnTo>
                    <a:pt x="89494" y="486524"/>
                  </a:lnTo>
                  <a:lnTo>
                    <a:pt x="89535" y="483537"/>
                  </a:lnTo>
                  <a:lnTo>
                    <a:pt x="91016" y="483191"/>
                  </a:lnTo>
                  <a:lnTo>
                    <a:pt x="91558" y="482775"/>
                  </a:lnTo>
                  <a:lnTo>
                    <a:pt x="93892" y="480648"/>
                  </a:lnTo>
                  <a:lnTo>
                    <a:pt x="94324" y="479742"/>
                  </a:lnTo>
                  <a:lnTo>
                    <a:pt x="93115" y="478861"/>
                  </a:lnTo>
                  <a:lnTo>
                    <a:pt x="93204" y="477819"/>
                  </a:lnTo>
                  <a:lnTo>
                    <a:pt x="93477" y="477376"/>
                  </a:lnTo>
                  <a:lnTo>
                    <a:pt x="95404" y="477712"/>
                  </a:lnTo>
                  <a:lnTo>
                    <a:pt x="96186" y="478485"/>
                  </a:lnTo>
                  <a:lnTo>
                    <a:pt x="96563" y="478570"/>
                  </a:lnTo>
                  <a:lnTo>
                    <a:pt x="97689" y="477989"/>
                  </a:lnTo>
                  <a:lnTo>
                    <a:pt x="98217" y="476953"/>
                  </a:lnTo>
                  <a:lnTo>
                    <a:pt x="100317" y="474923"/>
                  </a:lnTo>
                  <a:close/>
                  <a:moveTo>
                    <a:pt x="116572" y="448392"/>
                  </a:moveTo>
                  <a:lnTo>
                    <a:pt x="117415" y="450761"/>
                  </a:lnTo>
                  <a:lnTo>
                    <a:pt x="118004" y="451739"/>
                  </a:lnTo>
                  <a:lnTo>
                    <a:pt x="117600" y="452918"/>
                  </a:lnTo>
                  <a:lnTo>
                    <a:pt x="116674" y="453356"/>
                  </a:lnTo>
                  <a:lnTo>
                    <a:pt x="115430" y="452752"/>
                  </a:lnTo>
                  <a:lnTo>
                    <a:pt x="115050" y="450013"/>
                  </a:lnTo>
                  <a:lnTo>
                    <a:pt x="115599" y="448685"/>
                  </a:lnTo>
                  <a:close/>
                  <a:moveTo>
                    <a:pt x="121897" y="441640"/>
                  </a:moveTo>
                  <a:lnTo>
                    <a:pt x="123333" y="442031"/>
                  </a:lnTo>
                  <a:lnTo>
                    <a:pt x="123774" y="442784"/>
                  </a:lnTo>
                  <a:lnTo>
                    <a:pt x="124806" y="443736"/>
                  </a:lnTo>
                  <a:lnTo>
                    <a:pt x="124951" y="444294"/>
                  </a:lnTo>
                  <a:lnTo>
                    <a:pt x="122780" y="443827"/>
                  </a:lnTo>
                  <a:close/>
                  <a:moveTo>
                    <a:pt x="132888" y="433851"/>
                  </a:moveTo>
                  <a:lnTo>
                    <a:pt x="133444" y="434999"/>
                  </a:lnTo>
                  <a:lnTo>
                    <a:pt x="133351" y="435898"/>
                  </a:lnTo>
                  <a:lnTo>
                    <a:pt x="131830" y="436398"/>
                  </a:lnTo>
                  <a:lnTo>
                    <a:pt x="130347" y="437599"/>
                  </a:lnTo>
                  <a:lnTo>
                    <a:pt x="128978" y="439096"/>
                  </a:lnTo>
                  <a:lnTo>
                    <a:pt x="127741" y="439728"/>
                  </a:lnTo>
                  <a:lnTo>
                    <a:pt x="127350" y="440148"/>
                  </a:lnTo>
                  <a:lnTo>
                    <a:pt x="127648" y="441245"/>
                  </a:lnTo>
                  <a:lnTo>
                    <a:pt x="125743" y="443190"/>
                  </a:lnTo>
                  <a:lnTo>
                    <a:pt x="123720" y="441439"/>
                  </a:lnTo>
                  <a:lnTo>
                    <a:pt x="121282" y="440269"/>
                  </a:lnTo>
                  <a:lnTo>
                    <a:pt x="122442" y="439953"/>
                  </a:lnTo>
                  <a:lnTo>
                    <a:pt x="123121" y="439484"/>
                  </a:lnTo>
                  <a:lnTo>
                    <a:pt x="123189" y="438740"/>
                  </a:lnTo>
                  <a:lnTo>
                    <a:pt x="124772" y="437636"/>
                  </a:lnTo>
                  <a:lnTo>
                    <a:pt x="127913" y="436782"/>
                  </a:lnTo>
                  <a:lnTo>
                    <a:pt x="128911" y="436728"/>
                  </a:lnTo>
                  <a:lnTo>
                    <a:pt x="130036" y="435924"/>
                  </a:lnTo>
                  <a:lnTo>
                    <a:pt x="130403" y="435199"/>
                  </a:lnTo>
                  <a:lnTo>
                    <a:pt x="130866" y="434849"/>
                  </a:lnTo>
                  <a:close/>
                  <a:moveTo>
                    <a:pt x="150747" y="386845"/>
                  </a:moveTo>
                  <a:lnTo>
                    <a:pt x="153984" y="388703"/>
                  </a:lnTo>
                  <a:lnTo>
                    <a:pt x="154640" y="389239"/>
                  </a:lnTo>
                  <a:lnTo>
                    <a:pt x="153523" y="391759"/>
                  </a:lnTo>
                  <a:lnTo>
                    <a:pt x="150991" y="392282"/>
                  </a:lnTo>
                  <a:lnTo>
                    <a:pt x="149607" y="391717"/>
                  </a:lnTo>
                  <a:lnTo>
                    <a:pt x="148335" y="388722"/>
                  </a:lnTo>
                  <a:close/>
                  <a:moveTo>
                    <a:pt x="163200" y="378024"/>
                  </a:moveTo>
                  <a:lnTo>
                    <a:pt x="163693" y="378939"/>
                  </a:lnTo>
                  <a:lnTo>
                    <a:pt x="163135" y="382547"/>
                  </a:lnTo>
                  <a:lnTo>
                    <a:pt x="161701" y="385280"/>
                  </a:lnTo>
                  <a:lnTo>
                    <a:pt x="160976" y="388510"/>
                  </a:lnTo>
                  <a:lnTo>
                    <a:pt x="159039" y="388767"/>
                  </a:lnTo>
                  <a:lnTo>
                    <a:pt x="158998" y="387362"/>
                  </a:lnTo>
                  <a:lnTo>
                    <a:pt x="160538" y="384184"/>
                  </a:lnTo>
                  <a:lnTo>
                    <a:pt x="160701" y="381849"/>
                  </a:lnTo>
                  <a:lnTo>
                    <a:pt x="162135" y="378904"/>
                  </a:lnTo>
                  <a:lnTo>
                    <a:pt x="162746" y="378257"/>
                  </a:lnTo>
                  <a:close/>
                  <a:moveTo>
                    <a:pt x="135050" y="354626"/>
                  </a:moveTo>
                  <a:lnTo>
                    <a:pt x="135190" y="355718"/>
                  </a:lnTo>
                  <a:lnTo>
                    <a:pt x="133517" y="357807"/>
                  </a:lnTo>
                  <a:lnTo>
                    <a:pt x="132828" y="358235"/>
                  </a:lnTo>
                  <a:lnTo>
                    <a:pt x="133271" y="356311"/>
                  </a:lnTo>
                  <a:close/>
                  <a:moveTo>
                    <a:pt x="147834" y="336460"/>
                  </a:moveTo>
                  <a:lnTo>
                    <a:pt x="149956" y="336743"/>
                  </a:lnTo>
                  <a:lnTo>
                    <a:pt x="149008" y="338170"/>
                  </a:lnTo>
                  <a:lnTo>
                    <a:pt x="148180" y="339006"/>
                  </a:lnTo>
                  <a:lnTo>
                    <a:pt x="146222" y="339114"/>
                  </a:lnTo>
                  <a:lnTo>
                    <a:pt x="145415" y="338826"/>
                  </a:lnTo>
                  <a:lnTo>
                    <a:pt x="145098" y="338045"/>
                  </a:lnTo>
                  <a:close/>
                  <a:moveTo>
                    <a:pt x="143463" y="336116"/>
                  </a:moveTo>
                  <a:lnTo>
                    <a:pt x="144102" y="337336"/>
                  </a:lnTo>
                  <a:lnTo>
                    <a:pt x="144165" y="341050"/>
                  </a:lnTo>
                  <a:lnTo>
                    <a:pt x="141578" y="343774"/>
                  </a:lnTo>
                  <a:lnTo>
                    <a:pt x="139831" y="344650"/>
                  </a:lnTo>
                  <a:lnTo>
                    <a:pt x="139606" y="343811"/>
                  </a:lnTo>
                  <a:lnTo>
                    <a:pt x="138872" y="343429"/>
                  </a:lnTo>
                  <a:lnTo>
                    <a:pt x="140136" y="342247"/>
                  </a:lnTo>
                  <a:lnTo>
                    <a:pt x="140092" y="341711"/>
                  </a:lnTo>
                  <a:lnTo>
                    <a:pt x="139296" y="340912"/>
                  </a:lnTo>
                  <a:lnTo>
                    <a:pt x="140224" y="337896"/>
                  </a:lnTo>
                  <a:lnTo>
                    <a:pt x="139969" y="336598"/>
                  </a:lnTo>
                  <a:close/>
                  <a:moveTo>
                    <a:pt x="110241" y="330139"/>
                  </a:moveTo>
                  <a:lnTo>
                    <a:pt x="111098" y="330804"/>
                  </a:lnTo>
                  <a:lnTo>
                    <a:pt x="112357" y="330423"/>
                  </a:lnTo>
                  <a:lnTo>
                    <a:pt x="113353" y="330334"/>
                  </a:lnTo>
                  <a:lnTo>
                    <a:pt x="114072" y="330656"/>
                  </a:lnTo>
                  <a:lnTo>
                    <a:pt x="114975" y="332371"/>
                  </a:lnTo>
                  <a:lnTo>
                    <a:pt x="115309" y="333385"/>
                  </a:lnTo>
                  <a:lnTo>
                    <a:pt x="113689" y="333528"/>
                  </a:lnTo>
                  <a:lnTo>
                    <a:pt x="113007" y="333764"/>
                  </a:lnTo>
                  <a:lnTo>
                    <a:pt x="112124" y="335010"/>
                  </a:lnTo>
                  <a:lnTo>
                    <a:pt x="110852" y="334552"/>
                  </a:lnTo>
                  <a:lnTo>
                    <a:pt x="110064" y="333969"/>
                  </a:lnTo>
                  <a:lnTo>
                    <a:pt x="109883" y="333142"/>
                  </a:lnTo>
                  <a:close/>
                  <a:moveTo>
                    <a:pt x="120068" y="321533"/>
                  </a:moveTo>
                  <a:lnTo>
                    <a:pt x="120375" y="323136"/>
                  </a:lnTo>
                  <a:lnTo>
                    <a:pt x="121018" y="324726"/>
                  </a:lnTo>
                  <a:lnTo>
                    <a:pt x="121664" y="324978"/>
                  </a:lnTo>
                  <a:lnTo>
                    <a:pt x="121036" y="326136"/>
                  </a:lnTo>
                  <a:lnTo>
                    <a:pt x="120109" y="326564"/>
                  </a:lnTo>
                  <a:lnTo>
                    <a:pt x="119343" y="328748"/>
                  </a:lnTo>
                  <a:lnTo>
                    <a:pt x="118790" y="329014"/>
                  </a:lnTo>
                  <a:lnTo>
                    <a:pt x="118075" y="326791"/>
                  </a:lnTo>
                  <a:lnTo>
                    <a:pt x="117581" y="325996"/>
                  </a:lnTo>
                  <a:lnTo>
                    <a:pt x="118415" y="325571"/>
                  </a:lnTo>
                  <a:close/>
                  <a:moveTo>
                    <a:pt x="130243" y="315884"/>
                  </a:moveTo>
                  <a:lnTo>
                    <a:pt x="128877" y="317782"/>
                  </a:lnTo>
                  <a:lnTo>
                    <a:pt x="128516" y="319297"/>
                  </a:lnTo>
                  <a:lnTo>
                    <a:pt x="126959" y="320464"/>
                  </a:lnTo>
                  <a:lnTo>
                    <a:pt x="125832" y="320459"/>
                  </a:lnTo>
                  <a:lnTo>
                    <a:pt x="126861" y="319098"/>
                  </a:lnTo>
                  <a:lnTo>
                    <a:pt x="126998" y="318448"/>
                  </a:lnTo>
                  <a:lnTo>
                    <a:pt x="127855" y="316621"/>
                  </a:lnTo>
                  <a:lnTo>
                    <a:pt x="129537" y="315965"/>
                  </a:lnTo>
                  <a:close/>
                  <a:moveTo>
                    <a:pt x="133502" y="303553"/>
                  </a:moveTo>
                  <a:lnTo>
                    <a:pt x="134808" y="304278"/>
                  </a:lnTo>
                  <a:lnTo>
                    <a:pt x="135236" y="306273"/>
                  </a:lnTo>
                  <a:lnTo>
                    <a:pt x="133707" y="307303"/>
                  </a:lnTo>
                  <a:lnTo>
                    <a:pt x="132563" y="306500"/>
                  </a:lnTo>
                  <a:lnTo>
                    <a:pt x="133119" y="304285"/>
                  </a:lnTo>
                  <a:close/>
                  <a:moveTo>
                    <a:pt x="155578" y="301829"/>
                  </a:moveTo>
                  <a:lnTo>
                    <a:pt x="158320" y="302078"/>
                  </a:lnTo>
                  <a:lnTo>
                    <a:pt x="160829" y="303214"/>
                  </a:lnTo>
                  <a:lnTo>
                    <a:pt x="162066" y="305603"/>
                  </a:lnTo>
                  <a:lnTo>
                    <a:pt x="163150" y="308158"/>
                  </a:lnTo>
                  <a:lnTo>
                    <a:pt x="165727" y="309900"/>
                  </a:lnTo>
                  <a:lnTo>
                    <a:pt x="168702" y="310640"/>
                  </a:lnTo>
                  <a:lnTo>
                    <a:pt x="169959" y="310686"/>
                  </a:lnTo>
                  <a:lnTo>
                    <a:pt x="171125" y="310351"/>
                  </a:lnTo>
                  <a:lnTo>
                    <a:pt x="172896" y="309380"/>
                  </a:lnTo>
                  <a:lnTo>
                    <a:pt x="174757" y="308666"/>
                  </a:lnTo>
                  <a:lnTo>
                    <a:pt x="176085" y="309028"/>
                  </a:lnTo>
                  <a:lnTo>
                    <a:pt x="177262" y="309895"/>
                  </a:lnTo>
                  <a:lnTo>
                    <a:pt x="177879" y="311110"/>
                  </a:lnTo>
                  <a:lnTo>
                    <a:pt x="177579" y="312385"/>
                  </a:lnTo>
                  <a:lnTo>
                    <a:pt x="175476" y="315121"/>
                  </a:lnTo>
                  <a:lnTo>
                    <a:pt x="173749" y="318035"/>
                  </a:lnTo>
                  <a:lnTo>
                    <a:pt x="177722" y="318578"/>
                  </a:lnTo>
                  <a:lnTo>
                    <a:pt x="181691" y="318517"/>
                  </a:lnTo>
                  <a:lnTo>
                    <a:pt x="180764" y="320321"/>
                  </a:lnTo>
                  <a:lnTo>
                    <a:pt x="180613" y="321892"/>
                  </a:lnTo>
                  <a:lnTo>
                    <a:pt x="181827" y="322639"/>
                  </a:lnTo>
                  <a:lnTo>
                    <a:pt x="182857" y="323645"/>
                  </a:lnTo>
                  <a:lnTo>
                    <a:pt x="182589" y="324557"/>
                  </a:lnTo>
                  <a:lnTo>
                    <a:pt x="181998" y="325457"/>
                  </a:lnTo>
                  <a:lnTo>
                    <a:pt x="184167" y="326806"/>
                  </a:lnTo>
                  <a:lnTo>
                    <a:pt x="184025" y="327710"/>
                  </a:lnTo>
                  <a:lnTo>
                    <a:pt x="183461" y="328658"/>
                  </a:lnTo>
                  <a:lnTo>
                    <a:pt x="178054" y="334845"/>
                  </a:lnTo>
                  <a:lnTo>
                    <a:pt x="176467" y="337975"/>
                  </a:lnTo>
                  <a:lnTo>
                    <a:pt x="175362" y="341421"/>
                  </a:lnTo>
                  <a:lnTo>
                    <a:pt x="174351" y="343937"/>
                  </a:lnTo>
                  <a:lnTo>
                    <a:pt x="173611" y="346546"/>
                  </a:lnTo>
                  <a:lnTo>
                    <a:pt x="173047" y="349362"/>
                  </a:lnTo>
                  <a:lnTo>
                    <a:pt x="172042" y="352265"/>
                  </a:lnTo>
                  <a:lnTo>
                    <a:pt x="172375" y="354839"/>
                  </a:lnTo>
                  <a:lnTo>
                    <a:pt x="172036" y="357473"/>
                  </a:lnTo>
                  <a:lnTo>
                    <a:pt x="169322" y="363978"/>
                  </a:lnTo>
                  <a:lnTo>
                    <a:pt x="167387" y="363857"/>
                  </a:lnTo>
                  <a:lnTo>
                    <a:pt x="164955" y="363070"/>
                  </a:lnTo>
                  <a:lnTo>
                    <a:pt x="163431" y="363192"/>
                  </a:lnTo>
                  <a:lnTo>
                    <a:pt x="162643" y="364637"/>
                  </a:lnTo>
                  <a:lnTo>
                    <a:pt x="164042" y="367603"/>
                  </a:lnTo>
                  <a:lnTo>
                    <a:pt x="159704" y="371118"/>
                  </a:lnTo>
                  <a:lnTo>
                    <a:pt x="154916" y="373479"/>
                  </a:lnTo>
                  <a:lnTo>
                    <a:pt x="154881" y="372404"/>
                  </a:lnTo>
                  <a:lnTo>
                    <a:pt x="155331" y="371555"/>
                  </a:lnTo>
                  <a:lnTo>
                    <a:pt x="156022" y="370873"/>
                  </a:lnTo>
                  <a:lnTo>
                    <a:pt x="156523" y="370051"/>
                  </a:lnTo>
                  <a:lnTo>
                    <a:pt x="157216" y="367288"/>
                  </a:lnTo>
                  <a:lnTo>
                    <a:pt x="156873" y="364502"/>
                  </a:lnTo>
                  <a:lnTo>
                    <a:pt x="155430" y="361012"/>
                  </a:lnTo>
                  <a:lnTo>
                    <a:pt x="155325" y="359756"/>
                  </a:lnTo>
                  <a:lnTo>
                    <a:pt x="156325" y="359248"/>
                  </a:lnTo>
                  <a:lnTo>
                    <a:pt x="156996" y="359104"/>
                  </a:lnTo>
                  <a:lnTo>
                    <a:pt x="157361" y="358616"/>
                  </a:lnTo>
                  <a:lnTo>
                    <a:pt x="157374" y="357461"/>
                  </a:lnTo>
                  <a:lnTo>
                    <a:pt x="156919" y="356604"/>
                  </a:lnTo>
                  <a:lnTo>
                    <a:pt x="155554" y="356326"/>
                  </a:lnTo>
                  <a:lnTo>
                    <a:pt x="154238" y="356308"/>
                  </a:lnTo>
                  <a:lnTo>
                    <a:pt x="153319" y="357604"/>
                  </a:lnTo>
                  <a:lnTo>
                    <a:pt x="152049" y="360107"/>
                  </a:lnTo>
                  <a:lnTo>
                    <a:pt x="151431" y="362635"/>
                  </a:lnTo>
                  <a:lnTo>
                    <a:pt x="151703" y="364017"/>
                  </a:lnTo>
                  <a:lnTo>
                    <a:pt x="152267" y="365255"/>
                  </a:lnTo>
                  <a:lnTo>
                    <a:pt x="154006" y="367327"/>
                  </a:lnTo>
                  <a:lnTo>
                    <a:pt x="153496" y="368546"/>
                  </a:lnTo>
                  <a:lnTo>
                    <a:pt x="152772" y="369497"/>
                  </a:lnTo>
                  <a:lnTo>
                    <a:pt x="146622" y="367341"/>
                  </a:lnTo>
                  <a:lnTo>
                    <a:pt x="145294" y="367188"/>
                  </a:lnTo>
                  <a:lnTo>
                    <a:pt x="144191" y="366731"/>
                  </a:lnTo>
                  <a:lnTo>
                    <a:pt x="143009" y="363885"/>
                  </a:lnTo>
                  <a:lnTo>
                    <a:pt x="145515" y="363199"/>
                  </a:lnTo>
                  <a:lnTo>
                    <a:pt x="146258" y="362854"/>
                  </a:lnTo>
                  <a:lnTo>
                    <a:pt x="146534" y="361948"/>
                  </a:lnTo>
                  <a:lnTo>
                    <a:pt x="146873" y="359169"/>
                  </a:lnTo>
                  <a:lnTo>
                    <a:pt x="145701" y="356848"/>
                  </a:lnTo>
                  <a:lnTo>
                    <a:pt x="144711" y="356022"/>
                  </a:lnTo>
                  <a:lnTo>
                    <a:pt x="143909" y="355073"/>
                  </a:lnTo>
                  <a:lnTo>
                    <a:pt x="144418" y="353111"/>
                  </a:lnTo>
                  <a:lnTo>
                    <a:pt x="144083" y="350639"/>
                  </a:lnTo>
                  <a:lnTo>
                    <a:pt x="144053" y="347184"/>
                  </a:lnTo>
                  <a:lnTo>
                    <a:pt x="144487" y="346588"/>
                  </a:lnTo>
                  <a:lnTo>
                    <a:pt x="146810" y="345890"/>
                  </a:lnTo>
                  <a:lnTo>
                    <a:pt x="148486" y="344036"/>
                  </a:lnTo>
                  <a:lnTo>
                    <a:pt x="149969" y="341926"/>
                  </a:lnTo>
                  <a:lnTo>
                    <a:pt x="152144" y="338211"/>
                  </a:lnTo>
                  <a:lnTo>
                    <a:pt x="153917" y="334195"/>
                  </a:lnTo>
                  <a:lnTo>
                    <a:pt x="152209" y="334019"/>
                  </a:lnTo>
                  <a:lnTo>
                    <a:pt x="150762" y="333267"/>
                  </a:lnTo>
                  <a:lnTo>
                    <a:pt x="152344" y="331365"/>
                  </a:lnTo>
                  <a:lnTo>
                    <a:pt x="151855" y="328963"/>
                  </a:lnTo>
                  <a:lnTo>
                    <a:pt x="149492" y="326008"/>
                  </a:lnTo>
                  <a:lnTo>
                    <a:pt x="148194" y="322521"/>
                  </a:lnTo>
                  <a:lnTo>
                    <a:pt x="146106" y="320985"/>
                  </a:lnTo>
                  <a:lnTo>
                    <a:pt x="145005" y="320420"/>
                  </a:lnTo>
                  <a:lnTo>
                    <a:pt x="143664" y="321238"/>
                  </a:lnTo>
                  <a:lnTo>
                    <a:pt x="142559" y="322219"/>
                  </a:lnTo>
                  <a:lnTo>
                    <a:pt x="143582" y="324487"/>
                  </a:lnTo>
                  <a:lnTo>
                    <a:pt x="143463" y="326491"/>
                  </a:lnTo>
                  <a:lnTo>
                    <a:pt x="143623" y="328476"/>
                  </a:lnTo>
                  <a:lnTo>
                    <a:pt x="144666" y="328587"/>
                  </a:lnTo>
                  <a:lnTo>
                    <a:pt x="145946" y="328093"/>
                  </a:lnTo>
                  <a:lnTo>
                    <a:pt x="146972" y="328444"/>
                  </a:lnTo>
                  <a:lnTo>
                    <a:pt x="147570" y="329486"/>
                  </a:lnTo>
                  <a:lnTo>
                    <a:pt x="147732" y="330830"/>
                  </a:lnTo>
                  <a:lnTo>
                    <a:pt x="147280" y="332160"/>
                  </a:lnTo>
                  <a:lnTo>
                    <a:pt x="146335" y="332822"/>
                  </a:lnTo>
                  <a:lnTo>
                    <a:pt x="145182" y="332769"/>
                  </a:lnTo>
                  <a:lnTo>
                    <a:pt x="144020" y="332051"/>
                  </a:lnTo>
                  <a:lnTo>
                    <a:pt x="143116" y="331027"/>
                  </a:lnTo>
                  <a:lnTo>
                    <a:pt x="140950" y="330461"/>
                  </a:lnTo>
                  <a:lnTo>
                    <a:pt x="138665" y="331671"/>
                  </a:lnTo>
                  <a:lnTo>
                    <a:pt x="136493" y="334134"/>
                  </a:lnTo>
                  <a:lnTo>
                    <a:pt x="134635" y="335383"/>
                  </a:lnTo>
                  <a:lnTo>
                    <a:pt x="135510" y="333554"/>
                  </a:lnTo>
                  <a:lnTo>
                    <a:pt x="135922" y="331582"/>
                  </a:lnTo>
                  <a:lnTo>
                    <a:pt x="135020" y="330194"/>
                  </a:lnTo>
                  <a:lnTo>
                    <a:pt x="132899" y="327886"/>
                  </a:lnTo>
                  <a:lnTo>
                    <a:pt x="132407" y="326550"/>
                  </a:lnTo>
                  <a:lnTo>
                    <a:pt x="132286" y="324933"/>
                  </a:lnTo>
                  <a:lnTo>
                    <a:pt x="132658" y="323327"/>
                  </a:lnTo>
                  <a:lnTo>
                    <a:pt x="134839" y="325165"/>
                  </a:lnTo>
                  <a:lnTo>
                    <a:pt x="135957" y="327456"/>
                  </a:lnTo>
                  <a:lnTo>
                    <a:pt x="137559" y="328462"/>
                  </a:lnTo>
                  <a:lnTo>
                    <a:pt x="139570" y="328470"/>
                  </a:lnTo>
                  <a:lnTo>
                    <a:pt x="138026" y="325104"/>
                  </a:lnTo>
                  <a:lnTo>
                    <a:pt x="137471" y="324256"/>
                  </a:lnTo>
                  <a:lnTo>
                    <a:pt x="135303" y="322743"/>
                  </a:lnTo>
                  <a:lnTo>
                    <a:pt x="132346" y="320197"/>
                  </a:lnTo>
                  <a:lnTo>
                    <a:pt x="130468" y="318970"/>
                  </a:lnTo>
                  <a:lnTo>
                    <a:pt x="131133" y="316314"/>
                  </a:lnTo>
                  <a:lnTo>
                    <a:pt x="132234" y="315786"/>
                  </a:lnTo>
                  <a:lnTo>
                    <a:pt x="133167" y="315914"/>
                  </a:lnTo>
                  <a:lnTo>
                    <a:pt x="136307" y="316855"/>
                  </a:lnTo>
                  <a:lnTo>
                    <a:pt x="136603" y="315532"/>
                  </a:lnTo>
                  <a:lnTo>
                    <a:pt x="136141" y="314825"/>
                  </a:lnTo>
                  <a:lnTo>
                    <a:pt x="135899" y="314003"/>
                  </a:lnTo>
                  <a:lnTo>
                    <a:pt x="137965" y="312852"/>
                  </a:lnTo>
                  <a:lnTo>
                    <a:pt x="141347" y="311903"/>
                  </a:lnTo>
                  <a:lnTo>
                    <a:pt x="142040" y="311459"/>
                  </a:lnTo>
                  <a:lnTo>
                    <a:pt x="142640" y="310506"/>
                  </a:lnTo>
                  <a:lnTo>
                    <a:pt x="143467" y="310007"/>
                  </a:lnTo>
                  <a:lnTo>
                    <a:pt x="145836" y="310022"/>
                  </a:lnTo>
                  <a:lnTo>
                    <a:pt x="147825" y="309110"/>
                  </a:lnTo>
                  <a:lnTo>
                    <a:pt x="149471" y="306635"/>
                  </a:lnTo>
                  <a:lnTo>
                    <a:pt x="149864" y="305277"/>
                  </a:lnTo>
                  <a:lnTo>
                    <a:pt x="150452" y="304143"/>
                  </a:lnTo>
                  <a:lnTo>
                    <a:pt x="154558" y="302135"/>
                  </a:lnTo>
                  <a:close/>
                  <a:moveTo>
                    <a:pt x="188577" y="301331"/>
                  </a:moveTo>
                  <a:lnTo>
                    <a:pt x="189860" y="301397"/>
                  </a:lnTo>
                  <a:lnTo>
                    <a:pt x="190933" y="302306"/>
                  </a:lnTo>
                  <a:lnTo>
                    <a:pt x="193496" y="301935"/>
                  </a:lnTo>
                  <a:lnTo>
                    <a:pt x="193816" y="302192"/>
                  </a:lnTo>
                  <a:lnTo>
                    <a:pt x="193067" y="303018"/>
                  </a:lnTo>
                  <a:lnTo>
                    <a:pt x="191937" y="303835"/>
                  </a:lnTo>
                  <a:lnTo>
                    <a:pt x="189888" y="303228"/>
                  </a:lnTo>
                  <a:lnTo>
                    <a:pt x="188594" y="303194"/>
                  </a:lnTo>
                  <a:lnTo>
                    <a:pt x="188413" y="301829"/>
                  </a:lnTo>
                  <a:close/>
                  <a:moveTo>
                    <a:pt x="195994" y="295739"/>
                  </a:moveTo>
                  <a:lnTo>
                    <a:pt x="196363" y="296878"/>
                  </a:lnTo>
                  <a:lnTo>
                    <a:pt x="196767" y="297169"/>
                  </a:lnTo>
                  <a:lnTo>
                    <a:pt x="196126" y="298167"/>
                  </a:lnTo>
                  <a:lnTo>
                    <a:pt x="194170" y="297864"/>
                  </a:lnTo>
                  <a:lnTo>
                    <a:pt x="194952" y="297000"/>
                  </a:lnTo>
                  <a:lnTo>
                    <a:pt x="195554" y="295953"/>
                  </a:lnTo>
                  <a:close/>
                  <a:moveTo>
                    <a:pt x="122392" y="292053"/>
                  </a:moveTo>
                  <a:lnTo>
                    <a:pt x="125096" y="292947"/>
                  </a:lnTo>
                  <a:lnTo>
                    <a:pt x="125050" y="294291"/>
                  </a:lnTo>
                  <a:lnTo>
                    <a:pt x="123821" y="296965"/>
                  </a:lnTo>
                  <a:lnTo>
                    <a:pt x="122383" y="297975"/>
                  </a:lnTo>
                  <a:lnTo>
                    <a:pt x="121763" y="296427"/>
                  </a:lnTo>
                  <a:close/>
                  <a:moveTo>
                    <a:pt x="229879" y="291112"/>
                  </a:moveTo>
                  <a:lnTo>
                    <a:pt x="233050" y="292093"/>
                  </a:lnTo>
                  <a:lnTo>
                    <a:pt x="236105" y="293655"/>
                  </a:lnTo>
                  <a:lnTo>
                    <a:pt x="239163" y="294691"/>
                  </a:lnTo>
                  <a:lnTo>
                    <a:pt x="242298" y="294396"/>
                  </a:lnTo>
                  <a:lnTo>
                    <a:pt x="242249" y="298942"/>
                  </a:lnTo>
                  <a:lnTo>
                    <a:pt x="242693" y="300466"/>
                  </a:lnTo>
                  <a:lnTo>
                    <a:pt x="243577" y="301830"/>
                  </a:lnTo>
                  <a:lnTo>
                    <a:pt x="243123" y="303816"/>
                  </a:lnTo>
                  <a:lnTo>
                    <a:pt x="244540" y="304494"/>
                  </a:lnTo>
                  <a:lnTo>
                    <a:pt x="240335" y="306758"/>
                  </a:lnTo>
                  <a:lnTo>
                    <a:pt x="236539" y="309756"/>
                  </a:lnTo>
                  <a:lnTo>
                    <a:pt x="234980" y="311779"/>
                  </a:lnTo>
                  <a:lnTo>
                    <a:pt x="233567" y="313942"/>
                  </a:lnTo>
                  <a:lnTo>
                    <a:pt x="232750" y="316232"/>
                  </a:lnTo>
                  <a:lnTo>
                    <a:pt x="232218" y="318699"/>
                  </a:lnTo>
                  <a:lnTo>
                    <a:pt x="230946" y="317721"/>
                  </a:lnTo>
                  <a:lnTo>
                    <a:pt x="227289" y="313722"/>
                  </a:lnTo>
                  <a:lnTo>
                    <a:pt x="224973" y="312624"/>
                  </a:lnTo>
                  <a:lnTo>
                    <a:pt x="221250" y="312039"/>
                  </a:lnTo>
                  <a:lnTo>
                    <a:pt x="220065" y="312171"/>
                  </a:lnTo>
                  <a:lnTo>
                    <a:pt x="212412" y="315910"/>
                  </a:lnTo>
                  <a:lnTo>
                    <a:pt x="211395" y="318640"/>
                  </a:lnTo>
                  <a:lnTo>
                    <a:pt x="209309" y="322754"/>
                  </a:lnTo>
                  <a:lnTo>
                    <a:pt x="208320" y="324111"/>
                  </a:lnTo>
                  <a:lnTo>
                    <a:pt x="207222" y="324500"/>
                  </a:lnTo>
                  <a:lnTo>
                    <a:pt x="206444" y="325205"/>
                  </a:lnTo>
                  <a:lnTo>
                    <a:pt x="205587" y="328706"/>
                  </a:lnTo>
                  <a:lnTo>
                    <a:pt x="203213" y="330861"/>
                  </a:lnTo>
                  <a:lnTo>
                    <a:pt x="201762" y="330925"/>
                  </a:lnTo>
                  <a:lnTo>
                    <a:pt x="199283" y="330335"/>
                  </a:lnTo>
                  <a:lnTo>
                    <a:pt x="198169" y="330667"/>
                  </a:lnTo>
                  <a:lnTo>
                    <a:pt x="199655" y="327214"/>
                  </a:lnTo>
                  <a:lnTo>
                    <a:pt x="197288" y="326793"/>
                  </a:lnTo>
                  <a:lnTo>
                    <a:pt x="194926" y="326866"/>
                  </a:lnTo>
                  <a:lnTo>
                    <a:pt x="194870" y="324618"/>
                  </a:lnTo>
                  <a:lnTo>
                    <a:pt x="193437" y="323341"/>
                  </a:lnTo>
                  <a:lnTo>
                    <a:pt x="194498" y="321684"/>
                  </a:lnTo>
                  <a:lnTo>
                    <a:pt x="194529" y="320333"/>
                  </a:lnTo>
                  <a:lnTo>
                    <a:pt x="195150" y="319588"/>
                  </a:lnTo>
                  <a:lnTo>
                    <a:pt x="195367" y="318498"/>
                  </a:lnTo>
                  <a:lnTo>
                    <a:pt x="195287" y="317565"/>
                  </a:lnTo>
                  <a:lnTo>
                    <a:pt x="193826" y="317281"/>
                  </a:lnTo>
                  <a:lnTo>
                    <a:pt x="192937" y="316621"/>
                  </a:lnTo>
                  <a:lnTo>
                    <a:pt x="193106" y="314165"/>
                  </a:lnTo>
                  <a:lnTo>
                    <a:pt x="192268" y="314075"/>
                  </a:lnTo>
                  <a:lnTo>
                    <a:pt x="190193" y="314504"/>
                  </a:lnTo>
                  <a:lnTo>
                    <a:pt x="185876" y="316401"/>
                  </a:lnTo>
                  <a:lnTo>
                    <a:pt x="184699" y="316405"/>
                  </a:lnTo>
                  <a:lnTo>
                    <a:pt x="186508" y="315054"/>
                  </a:lnTo>
                  <a:lnTo>
                    <a:pt x="190344" y="313197"/>
                  </a:lnTo>
                  <a:lnTo>
                    <a:pt x="192069" y="312134"/>
                  </a:lnTo>
                  <a:lnTo>
                    <a:pt x="195830" y="309148"/>
                  </a:lnTo>
                  <a:lnTo>
                    <a:pt x="198197" y="307734"/>
                  </a:lnTo>
                  <a:lnTo>
                    <a:pt x="199432" y="305229"/>
                  </a:lnTo>
                  <a:lnTo>
                    <a:pt x="199814" y="303706"/>
                  </a:lnTo>
                  <a:lnTo>
                    <a:pt x="200614" y="302367"/>
                  </a:lnTo>
                  <a:lnTo>
                    <a:pt x="201320" y="300222"/>
                  </a:lnTo>
                  <a:lnTo>
                    <a:pt x="202540" y="299506"/>
                  </a:lnTo>
                  <a:lnTo>
                    <a:pt x="204656" y="297664"/>
                  </a:lnTo>
                  <a:lnTo>
                    <a:pt x="205872" y="297842"/>
                  </a:lnTo>
                  <a:lnTo>
                    <a:pt x="207223" y="300106"/>
                  </a:lnTo>
                  <a:lnTo>
                    <a:pt x="209046" y="301841"/>
                  </a:lnTo>
                  <a:lnTo>
                    <a:pt x="210359" y="301694"/>
                  </a:lnTo>
                  <a:lnTo>
                    <a:pt x="212697" y="300805"/>
                  </a:lnTo>
                  <a:lnTo>
                    <a:pt x="213825" y="300605"/>
                  </a:lnTo>
                  <a:lnTo>
                    <a:pt x="216528" y="300710"/>
                  </a:lnTo>
                  <a:lnTo>
                    <a:pt x="218960" y="299608"/>
                  </a:lnTo>
                  <a:lnTo>
                    <a:pt x="219949" y="298309"/>
                  </a:lnTo>
                  <a:lnTo>
                    <a:pt x="220318" y="296684"/>
                  </a:lnTo>
                  <a:lnTo>
                    <a:pt x="219415" y="293966"/>
                  </a:lnTo>
                  <a:lnTo>
                    <a:pt x="220585" y="294240"/>
                  </a:lnTo>
                  <a:lnTo>
                    <a:pt x="221706" y="294128"/>
                  </a:lnTo>
                  <a:lnTo>
                    <a:pt x="224345" y="292398"/>
                  </a:lnTo>
                  <a:lnTo>
                    <a:pt x="227059" y="291370"/>
                  </a:lnTo>
                  <a:close/>
                  <a:moveTo>
                    <a:pt x="235410" y="286723"/>
                  </a:moveTo>
                  <a:lnTo>
                    <a:pt x="236433" y="287023"/>
                  </a:lnTo>
                  <a:lnTo>
                    <a:pt x="235982" y="287989"/>
                  </a:lnTo>
                  <a:lnTo>
                    <a:pt x="235570" y="288485"/>
                  </a:lnTo>
                  <a:lnTo>
                    <a:pt x="235175" y="288356"/>
                  </a:lnTo>
                  <a:lnTo>
                    <a:pt x="233771" y="289501"/>
                  </a:lnTo>
                  <a:lnTo>
                    <a:pt x="233467" y="288403"/>
                  </a:lnTo>
                  <a:lnTo>
                    <a:pt x="232365" y="287673"/>
                  </a:lnTo>
                  <a:lnTo>
                    <a:pt x="232229" y="287101"/>
                  </a:lnTo>
                  <a:close/>
                  <a:moveTo>
                    <a:pt x="249445" y="286460"/>
                  </a:moveTo>
                  <a:lnTo>
                    <a:pt x="250418" y="286482"/>
                  </a:lnTo>
                  <a:lnTo>
                    <a:pt x="248224" y="290118"/>
                  </a:lnTo>
                  <a:lnTo>
                    <a:pt x="248828" y="292863"/>
                  </a:lnTo>
                  <a:lnTo>
                    <a:pt x="246432" y="294985"/>
                  </a:lnTo>
                  <a:lnTo>
                    <a:pt x="244358" y="294837"/>
                  </a:lnTo>
                  <a:lnTo>
                    <a:pt x="243316" y="293889"/>
                  </a:lnTo>
                  <a:lnTo>
                    <a:pt x="242970" y="292714"/>
                  </a:lnTo>
                  <a:lnTo>
                    <a:pt x="244946" y="290869"/>
                  </a:lnTo>
                  <a:lnTo>
                    <a:pt x="246650" y="288263"/>
                  </a:lnTo>
                  <a:lnTo>
                    <a:pt x="248194" y="287105"/>
                  </a:lnTo>
                  <a:close/>
                  <a:moveTo>
                    <a:pt x="127616" y="282923"/>
                  </a:moveTo>
                  <a:lnTo>
                    <a:pt x="128088" y="283303"/>
                  </a:lnTo>
                  <a:lnTo>
                    <a:pt x="128259" y="283850"/>
                  </a:lnTo>
                  <a:lnTo>
                    <a:pt x="128015" y="284697"/>
                  </a:lnTo>
                  <a:lnTo>
                    <a:pt x="128153" y="286572"/>
                  </a:lnTo>
                  <a:lnTo>
                    <a:pt x="126075" y="289665"/>
                  </a:lnTo>
                  <a:lnTo>
                    <a:pt x="126169" y="291231"/>
                  </a:lnTo>
                  <a:lnTo>
                    <a:pt x="125720" y="292430"/>
                  </a:lnTo>
                  <a:lnTo>
                    <a:pt x="124218" y="291581"/>
                  </a:lnTo>
                  <a:lnTo>
                    <a:pt x="123538" y="290812"/>
                  </a:lnTo>
                  <a:lnTo>
                    <a:pt x="124924" y="287035"/>
                  </a:lnTo>
                  <a:lnTo>
                    <a:pt x="124763" y="285602"/>
                  </a:lnTo>
                  <a:lnTo>
                    <a:pt x="124847" y="284903"/>
                  </a:lnTo>
                  <a:close/>
                  <a:moveTo>
                    <a:pt x="348186" y="280690"/>
                  </a:moveTo>
                  <a:lnTo>
                    <a:pt x="348856" y="281925"/>
                  </a:lnTo>
                  <a:lnTo>
                    <a:pt x="348618" y="283098"/>
                  </a:lnTo>
                  <a:lnTo>
                    <a:pt x="347439" y="282840"/>
                  </a:lnTo>
                  <a:lnTo>
                    <a:pt x="346875" y="282075"/>
                  </a:lnTo>
                  <a:lnTo>
                    <a:pt x="346944" y="280701"/>
                  </a:lnTo>
                  <a:close/>
                  <a:moveTo>
                    <a:pt x="212628" y="241351"/>
                  </a:moveTo>
                  <a:lnTo>
                    <a:pt x="214520" y="243721"/>
                  </a:lnTo>
                  <a:lnTo>
                    <a:pt x="214283" y="244797"/>
                  </a:lnTo>
                  <a:lnTo>
                    <a:pt x="213269" y="245741"/>
                  </a:lnTo>
                  <a:lnTo>
                    <a:pt x="211380" y="245431"/>
                  </a:lnTo>
                  <a:lnTo>
                    <a:pt x="210290" y="244070"/>
                  </a:lnTo>
                  <a:lnTo>
                    <a:pt x="210648" y="242533"/>
                  </a:lnTo>
                  <a:close/>
                  <a:moveTo>
                    <a:pt x="327786" y="190970"/>
                  </a:moveTo>
                  <a:lnTo>
                    <a:pt x="327929" y="192433"/>
                  </a:lnTo>
                  <a:lnTo>
                    <a:pt x="326883" y="195891"/>
                  </a:lnTo>
                  <a:lnTo>
                    <a:pt x="326681" y="197139"/>
                  </a:lnTo>
                  <a:lnTo>
                    <a:pt x="329369" y="197399"/>
                  </a:lnTo>
                  <a:lnTo>
                    <a:pt x="327639" y="201543"/>
                  </a:lnTo>
                  <a:lnTo>
                    <a:pt x="324257" y="203637"/>
                  </a:lnTo>
                  <a:lnTo>
                    <a:pt x="322157" y="203702"/>
                  </a:lnTo>
                  <a:lnTo>
                    <a:pt x="321629" y="203451"/>
                  </a:lnTo>
                  <a:lnTo>
                    <a:pt x="322904" y="202816"/>
                  </a:lnTo>
                  <a:lnTo>
                    <a:pt x="323016" y="201750"/>
                  </a:lnTo>
                  <a:lnTo>
                    <a:pt x="323776" y="199861"/>
                  </a:lnTo>
                  <a:lnTo>
                    <a:pt x="323763" y="199315"/>
                  </a:lnTo>
                  <a:lnTo>
                    <a:pt x="322094" y="199219"/>
                  </a:lnTo>
                  <a:lnTo>
                    <a:pt x="322178" y="197068"/>
                  </a:lnTo>
                  <a:lnTo>
                    <a:pt x="323424" y="194946"/>
                  </a:lnTo>
                  <a:lnTo>
                    <a:pt x="326852" y="191599"/>
                  </a:lnTo>
                  <a:close/>
                  <a:moveTo>
                    <a:pt x="381592" y="107855"/>
                  </a:moveTo>
                  <a:lnTo>
                    <a:pt x="384096" y="108644"/>
                  </a:lnTo>
                  <a:lnTo>
                    <a:pt x="385327" y="109169"/>
                  </a:lnTo>
                  <a:lnTo>
                    <a:pt x="388057" y="111366"/>
                  </a:lnTo>
                  <a:lnTo>
                    <a:pt x="388929" y="111863"/>
                  </a:lnTo>
                  <a:lnTo>
                    <a:pt x="393058" y="110519"/>
                  </a:lnTo>
                  <a:lnTo>
                    <a:pt x="392272" y="114570"/>
                  </a:lnTo>
                  <a:lnTo>
                    <a:pt x="391831" y="118650"/>
                  </a:lnTo>
                  <a:lnTo>
                    <a:pt x="392134" y="125409"/>
                  </a:lnTo>
                  <a:lnTo>
                    <a:pt x="392505" y="128454"/>
                  </a:lnTo>
                  <a:lnTo>
                    <a:pt x="393220" y="131397"/>
                  </a:lnTo>
                  <a:lnTo>
                    <a:pt x="394978" y="133505"/>
                  </a:lnTo>
                  <a:lnTo>
                    <a:pt x="397278" y="134999"/>
                  </a:lnTo>
                  <a:lnTo>
                    <a:pt x="400611" y="139774"/>
                  </a:lnTo>
                  <a:lnTo>
                    <a:pt x="402400" y="145621"/>
                  </a:lnTo>
                  <a:lnTo>
                    <a:pt x="403662" y="148457"/>
                  </a:lnTo>
                  <a:lnTo>
                    <a:pt x="404609" y="151428"/>
                  </a:lnTo>
                  <a:lnTo>
                    <a:pt x="404896" y="152787"/>
                  </a:lnTo>
                  <a:lnTo>
                    <a:pt x="404920" y="154149"/>
                  </a:lnTo>
                  <a:lnTo>
                    <a:pt x="404637" y="156010"/>
                  </a:lnTo>
                  <a:lnTo>
                    <a:pt x="404948" y="157512"/>
                  </a:lnTo>
                  <a:lnTo>
                    <a:pt x="404589" y="162231"/>
                  </a:lnTo>
                  <a:lnTo>
                    <a:pt x="403097" y="167678"/>
                  </a:lnTo>
                  <a:lnTo>
                    <a:pt x="402905" y="170457"/>
                  </a:lnTo>
                  <a:lnTo>
                    <a:pt x="401607" y="171008"/>
                  </a:lnTo>
                  <a:lnTo>
                    <a:pt x="400821" y="172291"/>
                  </a:lnTo>
                  <a:lnTo>
                    <a:pt x="400149" y="172886"/>
                  </a:lnTo>
                  <a:lnTo>
                    <a:pt x="399405" y="173347"/>
                  </a:lnTo>
                  <a:lnTo>
                    <a:pt x="398322" y="173462"/>
                  </a:lnTo>
                  <a:lnTo>
                    <a:pt x="397550" y="173987"/>
                  </a:lnTo>
                  <a:lnTo>
                    <a:pt x="397243" y="175458"/>
                  </a:lnTo>
                  <a:lnTo>
                    <a:pt x="396747" y="176821"/>
                  </a:lnTo>
                  <a:lnTo>
                    <a:pt x="395805" y="178077"/>
                  </a:lnTo>
                  <a:lnTo>
                    <a:pt x="395066" y="179461"/>
                  </a:lnTo>
                  <a:lnTo>
                    <a:pt x="394458" y="182834"/>
                  </a:lnTo>
                  <a:lnTo>
                    <a:pt x="394237" y="186290"/>
                  </a:lnTo>
                  <a:lnTo>
                    <a:pt x="393324" y="188702"/>
                  </a:lnTo>
                  <a:lnTo>
                    <a:pt x="391128" y="189329"/>
                  </a:lnTo>
                  <a:lnTo>
                    <a:pt x="388610" y="189287"/>
                  </a:lnTo>
                  <a:lnTo>
                    <a:pt x="385384" y="190404"/>
                  </a:lnTo>
                  <a:lnTo>
                    <a:pt x="384697" y="191057"/>
                  </a:lnTo>
                  <a:lnTo>
                    <a:pt x="382149" y="195261"/>
                  </a:lnTo>
                  <a:lnTo>
                    <a:pt x="381416" y="197724"/>
                  </a:lnTo>
                  <a:lnTo>
                    <a:pt x="381393" y="200372"/>
                  </a:lnTo>
                  <a:lnTo>
                    <a:pt x="382101" y="203624"/>
                  </a:lnTo>
                  <a:lnTo>
                    <a:pt x="383062" y="206802"/>
                  </a:lnTo>
                  <a:lnTo>
                    <a:pt x="383790" y="212709"/>
                  </a:lnTo>
                  <a:lnTo>
                    <a:pt x="383023" y="221696"/>
                  </a:lnTo>
                  <a:lnTo>
                    <a:pt x="382287" y="224561"/>
                  </a:lnTo>
                  <a:lnTo>
                    <a:pt x="380667" y="226501"/>
                  </a:lnTo>
                  <a:lnTo>
                    <a:pt x="379441" y="227401"/>
                  </a:lnTo>
                  <a:lnTo>
                    <a:pt x="378383" y="228505"/>
                  </a:lnTo>
                  <a:lnTo>
                    <a:pt x="377014" y="231425"/>
                  </a:lnTo>
                  <a:lnTo>
                    <a:pt x="374746" y="237233"/>
                  </a:lnTo>
                  <a:lnTo>
                    <a:pt x="374559" y="238689"/>
                  </a:lnTo>
                  <a:lnTo>
                    <a:pt x="374567" y="240200"/>
                  </a:lnTo>
                  <a:lnTo>
                    <a:pt x="373956" y="242168"/>
                  </a:lnTo>
                  <a:lnTo>
                    <a:pt x="373557" y="244102"/>
                  </a:lnTo>
                  <a:lnTo>
                    <a:pt x="373930" y="246349"/>
                  </a:lnTo>
                  <a:lnTo>
                    <a:pt x="374628" y="248450"/>
                  </a:lnTo>
                  <a:lnTo>
                    <a:pt x="377670" y="253836"/>
                  </a:lnTo>
                  <a:lnTo>
                    <a:pt x="378862" y="255428"/>
                  </a:lnTo>
                  <a:lnTo>
                    <a:pt x="380201" y="256878"/>
                  </a:lnTo>
                  <a:lnTo>
                    <a:pt x="375010" y="258481"/>
                  </a:lnTo>
                  <a:lnTo>
                    <a:pt x="374073" y="259217"/>
                  </a:lnTo>
                  <a:lnTo>
                    <a:pt x="370989" y="262280"/>
                  </a:lnTo>
                  <a:lnTo>
                    <a:pt x="370004" y="265181"/>
                  </a:lnTo>
                  <a:lnTo>
                    <a:pt x="370085" y="268389"/>
                  </a:lnTo>
                  <a:lnTo>
                    <a:pt x="369565" y="269540"/>
                  </a:lnTo>
                  <a:lnTo>
                    <a:pt x="368717" y="270535"/>
                  </a:lnTo>
                  <a:lnTo>
                    <a:pt x="367834" y="271198"/>
                  </a:lnTo>
                  <a:lnTo>
                    <a:pt x="364388" y="272665"/>
                  </a:lnTo>
                  <a:lnTo>
                    <a:pt x="362183" y="274123"/>
                  </a:lnTo>
                  <a:lnTo>
                    <a:pt x="359984" y="276402"/>
                  </a:lnTo>
                  <a:lnTo>
                    <a:pt x="359115" y="277596"/>
                  </a:lnTo>
                  <a:lnTo>
                    <a:pt x="357423" y="277213"/>
                  </a:lnTo>
                  <a:lnTo>
                    <a:pt x="356435" y="276161"/>
                  </a:lnTo>
                  <a:lnTo>
                    <a:pt x="357409" y="274835"/>
                  </a:lnTo>
                  <a:lnTo>
                    <a:pt x="357109" y="273275"/>
                  </a:lnTo>
                  <a:lnTo>
                    <a:pt x="357590" y="269259"/>
                  </a:lnTo>
                  <a:lnTo>
                    <a:pt x="357037" y="267644"/>
                  </a:lnTo>
                  <a:lnTo>
                    <a:pt x="358799" y="266425"/>
                  </a:lnTo>
                  <a:lnTo>
                    <a:pt x="359640" y="264472"/>
                  </a:lnTo>
                  <a:lnTo>
                    <a:pt x="361474" y="262909"/>
                  </a:lnTo>
                  <a:lnTo>
                    <a:pt x="362784" y="261521"/>
                  </a:lnTo>
                  <a:lnTo>
                    <a:pt x="363017" y="260396"/>
                  </a:lnTo>
                  <a:lnTo>
                    <a:pt x="361840" y="259183"/>
                  </a:lnTo>
                  <a:lnTo>
                    <a:pt x="360598" y="258306"/>
                  </a:lnTo>
                  <a:lnTo>
                    <a:pt x="358879" y="258302"/>
                  </a:lnTo>
                  <a:lnTo>
                    <a:pt x="357221" y="258562"/>
                  </a:lnTo>
                  <a:lnTo>
                    <a:pt x="356150" y="259718"/>
                  </a:lnTo>
                  <a:lnTo>
                    <a:pt x="355791" y="261291"/>
                  </a:lnTo>
                  <a:lnTo>
                    <a:pt x="355875" y="262025"/>
                  </a:lnTo>
                  <a:lnTo>
                    <a:pt x="355740" y="262667"/>
                  </a:lnTo>
                  <a:lnTo>
                    <a:pt x="353135" y="264821"/>
                  </a:lnTo>
                  <a:lnTo>
                    <a:pt x="353479" y="267072"/>
                  </a:lnTo>
                  <a:lnTo>
                    <a:pt x="354241" y="268214"/>
                  </a:lnTo>
                  <a:lnTo>
                    <a:pt x="355215" y="268756"/>
                  </a:lnTo>
                  <a:lnTo>
                    <a:pt x="354924" y="269530"/>
                  </a:lnTo>
                  <a:lnTo>
                    <a:pt x="353688" y="271342"/>
                  </a:lnTo>
                  <a:lnTo>
                    <a:pt x="352824" y="271521"/>
                  </a:lnTo>
                  <a:lnTo>
                    <a:pt x="351235" y="268985"/>
                  </a:lnTo>
                  <a:lnTo>
                    <a:pt x="349253" y="267598"/>
                  </a:lnTo>
                  <a:lnTo>
                    <a:pt x="346800" y="267609"/>
                  </a:lnTo>
                  <a:lnTo>
                    <a:pt x="344278" y="268113"/>
                  </a:lnTo>
                  <a:lnTo>
                    <a:pt x="342360" y="269800"/>
                  </a:lnTo>
                  <a:lnTo>
                    <a:pt x="341727" y="271202"/>
                  </a:lnTo>
                  <a:lnTo>
                    <a:pt x="341324" y="272650"/>
                  </a:lnTo>
                  <a:lnTo>
                    <a:pt x="341459" y="276172"/>
                  </a:lnTo>
                  <a:lnTo>
                    <a:pt x="340665" y="279108"/>
                  </a:lnTo>
                  <a:lnTo>
                    <a:pt x="339107" y="281687"/>
                  </a:lnTo>
                  <a:lnTo>
                    <a:pt x="338378" y="282628"/>
                  </a:lnTo>
                  <a:lnTo>
                    <a:pt x="336477" y="284376"/>
                  </a:lnTo>
                  <a:lnTo>
                    <a:pt x="335169" y="284605"/>
                  </a:lnTo>
                  <a:lnTo>
                    <a:pt x="334233" y="283811"/>
                  </a:lnTo>
                  <a:lnTo>
                    <a:pt x="333478" y="282607"/>
                  </a:lnTo>
                  <a:lnTo>
                    <a:pt x="334439" y="278193"/>
                  </a:lnTo>
                  <a:lnTo>
                    <a:pt x="334401" y="275713"/>
                  </a:lnTo>
                  <a:lnTo>
                    <a:pt x="336631" y="274450"/>
                  </a:lnTo>
                  <a:lnTo>
                    <a:pt x="334802" y="272685"/>
                  </a:lnTo>
                  <a:lnTo>
                    <a:pt x="332563" y="271974"/>
                  </a:lnTo>
                  <a:lnTo>
                    <a:pt x="329412" y="272916"/>
                  </a:lnTo>
                  <a:lnTo>
                    <a:pt x="328525" y="273977"/>
                  </a:lnTo>
                  <a:lnTo>
                    <a:pt x="327918" y="275404"/>
                  </a:lnTo>
                  <a:lnTo>
                    <a:pt x="326227" y="277206"/>
                  </a:lnTo>
                  <a:lnTo>
                    <a:pt x="324360" y="278894"/>
                  </a:lnTo>
                  <a:lnTo>
                    <a:pt x="322250" y="281771"/>
                  </a:lnTo>
                  <a:lnTo>
                    <a:pt x="320831" y="285177"/>
                  </a:lnTo>
                  <a:lnTo>
                    <a:pt x="316186" y="284063"/>
                  </a:lnTo>
                  <a:lnTo>
                    <a:pt x="313649" y="283814"/>
                  </a:lnTo>
                  <a:lnTo>
                    <a:pt x="311090" y="283901"/>
                  </a:lnTo>
                  <a:lnTo>
                    <a:pt x="306554" y="283481"/>
                  </a:lnTo>
                  <a:lnTo>
                    <a:pt x="301572" y="284177"/>
                  </a:lnTo>
                  <a:lnTo>
                    <a:pt x="295903" y="285514"/>
                  </a:lnTo>
                  <a:lnTo>
                    <a:pt x="296242" y="284550"/>
                  </a:lnTo>
                  <a:lnTo>
                    <a:pt x="300902" y="282499"/>
                  </a:lnTo>
                  <a:lnTo>
                    <a:pt x="301070" y="281898"/>
                  </a:lnTo>
                  <a:lnTo>
                    <a:pt x="300623" y="280775"/>
                  </a:lnTo>
                  <a:lnTo>
                    <a:pt x="299462" y="280720"/>
                  </a:lnTo>
                  <a:lnTo>
                    <a:pt x="296674" y="281112"/>
                  </a:lnTo>
                  <a:lnTo>
                    <a:pt x="295250" y="280940"/>
                  </a:lnTo>
                  <a:lnTo>
                    <a:pt x="294670" y="279734"/>
                  </a:lnTo>
                  <a:lnTo>
                    <a:pt x="293726" y="279214"/>
                  </a:lnTo>
                  <a:lnTo>
                    <a:pt x="293096" y="279708"/>
                  </a:lnTo>
                  <a:lnTo>
                    <a:pt x="293302" y="282049"/>
                  </a:lnTo>
                  <a:lnTo>
                    <a:pt x="292612" y="282361"/>
                  </a:lnTo>
                  <a:lnTo>
                    <a:pt x="291693" y="281760"/>
                  </a:lnTo>
                  <a:lnTo>
                    <a:pt x="291986" y="279941"/>
                  </a:lnTo>
                  <a:lnTo>
                    <a:pt x="291358" y="277273"/>
                  </a:lnTo>
                  <a:lnTo>
                    <a:pt x="291286" y="275616"/>
                  </a:lnTo>
                  <a:lnTo>
                    <a:pt x="292262" y="274192"/>
                  </a:lnTo>
                  <a:lnTo>
                    <a:pt x="291262" y="273591"/>
                  </a:lnTo>
                  <a:lnTo>
                    <a:pt x="290208" y="273823"/>
                  </a:lnTo>
                  <a:lnTo>
                    <a:pt x="288868" y="274506"/>
                  </a:lnTo>
                  <a:lnTo>
                    <a:pt x="287684" y="275480"/>
                  </a:lnTo>
                  <a:lnTo>
                    <a:pt x="285184" y="280349"/>
                  </a:lnTo>
                  <a:lnTo>
                    <a:pt x="284212" y="283128"/>
                  </a:lnTo>
                  <a:lnTo>
                    <a:pt x="286043" y="285358"/>
                  </a:lnTo>
                  <a:lnTo>
                    <a:pt x="291035" y="288474"/>
                  </a:lnTo>
                  <a:lnTo>
                    <a:pt x="291891" y="289238"/>
                  </a:lnTo>
                  <a:lnTo>
                    <a:pt x="291910" y="290562"/>
                  </a:lnTo>
                  <a:lnTo>
                    <a:pt x="291303" y="291968"/>
                  </a:lnTo>
                  <a:lnTo>
                    <a:pt x="289943" y="292586"/>
                  </a:lnTo>
                  <a:lnTo>
                    <a:pt x="284464" y="293621"/>
                  </a:lnTo>
                  <a:lnTo>
                    <a:pt x="279720" y="295635"/>
                  </a:lnTo>
                  <a:lnTo>
                    <a:pt x="278349" y="297675"/>
                  </a:lnTo>
                  <a:lnTo>
                    <a:pt x="274031" y="305544"/>
                  </a:lnTo>
                  <a:lnTo>
                    <a:pt x="270574" y="310913"/>
                  </a:lnTo>
                  <a:lnTo>
                    <a:pt x="265689" y="312766"/>
                  </a:lnTo>
                  <a:lnTo>
                    <a:pt x="260327" y="311120"/>
                  </a:lnTo>
                  <a:lnTo>
                    <a:pt x="259032" y="309252"/>
                  </a:lnTo>
                  <a:lnTo>
                    <a:pt x="257981" y="306940"/>
                  </a:lnTo>
                  <a:lnTo>
                    <a:pt x="255988" y="304848"/>
                  </a:lnTo>
                  <a:lnTo>
                    <a:pt x="254192" y="302568"/>
                  </a:lnTo>
                  <a:lnTo>
                    <a:pt x="253143" y="299861"/>
                  </a:lnTo>
                  <a:lnTo>
                    <a:pt x="253306" y="295491"/>
                  </a:lnTo>
                  <a:lnTo>
                    <a:pt x="252527" y="292857"/>
                  </a:lnTo>
                  <a:lnTo>
                    <a:pt x="253231" y="292155"/>
                  </a:lnTo>
                  <a:lnTo>
                    <a:pt x="256188" y="290554"/>
                  </a:lnTo>
                  <a:lnTo>
                    <a:pt x="257153" y="289657"/>
                  </a:lnTo>
                  <a:lnTo>
                    <a:pt x="258822" y="287570"/>
                  </a:lnTo>
                  <a:lnTo>
                    <a:pt x="259420" y="286409"/>
                  </a:lnTo>
                  <a:lnTo>
                    <a:pt x="259511" y="284648"/>
                  </a:lnTo>
                  <a:lnTo>
                    <a:pt x="258167" y="283729"/>
                  </a:lnTo>
                  <a:lnTo>
                    <a:pt x="254697" y="283763"/>
                  </a:lnTo>
                  <a:lnTo>
                    <a:pt x="251236" y="284311"/>
                  </a:lnTo>
                  <a:lnTo>
                    <a:pt x="248763" y="283541"/>
                  </a:lnTo>
                  <a:lnTo>
                    <a:pt x="245559" y="281411"/>
                  </a:lnTo>
                  <a:lnTo>
                    <a:pt x="244565" y="280957"/>
                  </a:lnTo>
                  <a:lnTo>
                    <a:pt x="241110" y="280822"/>
                  </a:lnTo>
                  <a:lnTo>
                    <a:pt x="238645" y="281218"/>
                  </a:lnTo>
                  <a:lnTo>
                    <a:pt x="236222" y="281995"/>
                  </a:lnTo>
                  <a:lnTo>
                    <a:pt x="233660" y="282240"/>
                  </a:lnTo>
                  <a:lnTo>
                    <a:pt x="232808" y="282646"/>
                  </a:lnTo>
                  <a:lnTo>
                    <a:pt x="229849" y="285257"/>
                  </a:lnTo>
                  <a:lnTo>
                    <a:pt x="227500" y="286900"/>
                  </a:lnTo>
                  <a:lnTo>
                    <a:pt x="225469" y="287715"/>
                  </a:lnTo>
                  <a:lnTo>
                    <a:pt x="221081" y="287933"/>
                  </a:lnTo>
                  <a:lnTo>
                    <a:pt x="218884" y="288462"/>
                  </a:lnTo>
                  <a:lnTo>
                    <a:pt x="216580" y="289324"/>
                  </a:lnTo>
                  <a:lnTo>
                    <a:pt x="215937" y="289249"/>
                  </a:lnTo>
                  <a:lnTo>
                    <a:pt x="213511" y="290441"/>
                  </a:lnTo>
                  <a:lnTo>
                    <a:pt x="210728" y="291472"/>
                  </a:lnTo>
                  <a:lnTo>
                    <a:pt x="209238" y="292507"/>
                  </a:lnTo>
                  <a:lnTo>
                    <a:pt x="206509" y="291831"/>
                  </a:lnTo>
                  <a:lnTo>
                    <a:pt x="201106" y="293683"/>
                  </a:lnTo>
                  <a:lnTo>
                    <a:pt x="198495" y="293911"/>
                  </a:lnTo>
                  <a:lnTo>
                    <a:pt x="195796" y="292890"/>
                  </a:lnTo>
                  <a:lnTo>
                    <a:pt x="193293" y="291238"/>
                  </a:lnTo>
                  <a:lnTo>
                    <a:pt x="190889" y="291946"/>
                  </a:lnTo>
                  <a:lnTo>
                    <a:pt x="189242" y="294386"/>
                  </a:lnTo>
                  <a:lnTo>
                    <a:pt x="188443" y="299238"/>
                  </a:lnTo>
                  <a:lnTo>
                    <a:pt x="187502" y="301420"/>
                  </a:lnTo>
                  <a:lnTo>
                    <a:pt x="187217" y="304040"/>
                  </a:lnTo>
                  <a:lnTo>
                    <a:pt x="185973" y="303626"/>
                  </a:lnTo>
                  <a:lnTo>
                    <a:pt x="178741" y="298909"/>
                  </a:lnTo>
                  <a:lnTo>
                    <a:pt x="178240" y="298740"/>
                  </a:lnTo>
                  <a:lnTo>
                    <a:pt x="172394" y="299552"/>
                  </a:lnTo>
                  <a:lnTo>
                    <a:pt x="170885" y="299944"/>
                  </a:lnTo>
                  <a:lnTo>
                    <a:pt x="169002" y="300900"/>
                  </a:lnTo>
                  <a:lnTo>
                    <a:pt x="167009" y="301327"/>
                  </a:lnTo>
                  <a:lnTo>
                    <a:pt x="165191" y="300640"/>
                  </a:lnTo>
                  <a:lnTo>
                    <a:pt x="163455" y="299521"/>
                  </a:lnTo>
                  <a:lnTo>
                    <a:pt x="161786" y="299853"/>
                  </a:lnTo>
                  <a:lnTo>
                    <a:pt x="160071" y="300637"/>
                  </a:lnTo>
                  <a:lnTo>
                    <a:pt x="159417" y="293519"/>
                  </a:lnTo>
                  <a:lnTo>
                    <a:pt x="159749" y="292579"/>
                  </a:lnTo>
                  <a:lnTo>
                    <a:pt x="160801" y="291329"/>
                  </a:lnTo>
                  <a:lnTo>
                    <a:pt x="161958" y="290260"/>
                  </a:lnTo>
                  <a:lnTo>
                    <a:pt x="164789" y="289891"/>
                  </a:lnTo>
                  <a:lnTo>
                    <a:pt x="167654" y="290238"/>
                  </a:lnTo>
                  <a:lnTo>
                    <a:pt x="169702" y="289747"/>
                  </a:lnTo>
                  <a:lnTo>
                    <a:pt x="171429" y="288334"/>
                  </a:lnTo>
                  <a:lnTo>
                    <a:pt x="173254" y="286330"/>
                  </a:lnTo>
                  <a:lnTo>
                    <a:pt x="175310" y="284698"/>
                  </a:lnTo>
                  <a:lnTo>
                    <a:pt x="178098" y="283409"/>
                  </a:lnTo>
                  <a:lnTo>
                    <a:pt x="180795" y="281930"/>
                  </a:lnTo>
                  <a:lnTo>
                    <a:pt x="183161" y="279853"/>
                  </a:lnTo>
                  <a:lnTo>
                    <a:pt x="185409" y="277586"/>
                  </a:lnTo>
                  <a:lnTo>
                    <a:pt x="187476" y="275921"/>
                  </a:lnTo>
                  <a:lnTo>
                    <a:pt x="189717" y="274523"/>
                  </a:lnTo>
                  <a:lnTo>
                    <a:pt x="193133" y="271166"/>
                  </a:lnTo>
                  <a:lnTo>
                    <a:pt x="197666" y="267389"/>
                  </a:lnTo>
                  <a:lnTo>
                    <a:pt x="199404" y="264590"/>
                  </a:lnTo>
                  <a:lnTo>
                    <a:pt x="200486" y="263818"/>
                  </a:lnTo>
                  <a:lnTo>
                    <a:pt x="204385" y="262254"/>
                  </a:lnTo>
                  <a:lnTo>
                    <a:pt x="209560" y="261058"/>
                  </a:lnTo>
                  <a:lnTo>
                    <a:pt x="211997" y="261116"/>
                  </a:lnTo>
                  <a:lnTo>
                    <a:pt x="214414" y="263572"/>
                  </a:lnTo>
                  <a:lnTo>
                    <a:pt x="215717" y="263236"/>
                  </a:lnTo>
                  <a:lnTo>
                    <a:pt x="217034" y="262601"/>
                  </a:lnTo>
                  <a:lnTo>
                    <a:pt x="219698" y="262250"/>
                  </a:lnTo>
                  <a:lnTo>
                    <a:pt x="222439" y="262656"/>
                  </a:lnTo>
                  <a:lnTo>
                    <a:pt x="225112" y="262666"/>
                  </a:lnTo>
                  <a:lnTo>
                    <a:pt x="227787" y="262356"/>
                  </a:lnTo>
                  <a:lnTo>
                    <a:pt x="232935" y="261550"/>
                  </a:lnTo>
                  <a:lnTo>
                    <a:pt x="235643" y="260578"/>
                  </a:lnTo>
                  <a:lnTo>
                    <a:pt x="238286" y="259320"/>
                  </a:lnTo>
                  <a:lnTo>
                    <a:pt x="247710" y="258431"/>
                  </a:lnTo>
                  <a:lnTo>
                    <a:pt x="254168" y="256321"/>
                  </a:lnTo>
                  <a:lnTo>
                    <a:pt x="255190" y="256471"/>
                  </a:lnTo>
                  <a:lnTo>
                    <a:pt x="256183" y="256958"/>
                  </a:lnTo>
                  <a:lnTo>
                    <a:pt x="256257" y="258521"/>
                  </a:lnTo>
                  <a:lnTo>
                    <a:pt x="255444" y="260226"/>
                  </a:lnTo>
                  <a:lnTo>
                    <a:pt x="256235" y="261258"/>
                  </a:lnTo>
                  <a:lnTo>
                    <a:pt x="257543" y="261895"/>
                  </a:lnTo>
                  <a:lnTo>
                    <a:pt x="263622" y="262092"/>
                  </a:lnTo>
                  <a:lnTo>
                    <a:pt x="265356" y="262459"/>
                  </a:lnTo>
                  <a:lnTo>
                    <a:pt x="267893" y="261292"/>
                  </a:lnTo>
                  <a:lnTo>
                    <a:pt x="270284" y="259850"/>
                  </a:lnTo>
                  <a:lnTo>
                    <a:pt x="272784" y="257946"/>
                  </a:lnTo>
                  <a:lnTo>
                    <a:pt x="274533" y="255803"/>
                  </a:lnTo>
                  <a:lnTo>
                    <a:pt x="272918" y="253119"/>
                  </a:lnTo>
                  <a:lnTo>
                    <a:pt x="272564" y="250182"/>
                  </a:lnTo>
                  <a:lnTo>
                    <a:pt x="273918" y="246995"/>
                  </a:lnTo>
                  <a:lnTo>
                    <a:pt x="275881" y="244304"/>
                  </a:lnTo>
                  <a:lnTo>
                    <a:pt x="278215" y="242677"/>
                  </a:lnTo>
                  <a:lnTo>
                    <a:pt x="280364" y="240803"/>
                  </a:lnTo>
                  <a:lnTo>
                    <a:pt x="284717" y="235480"/>
                  </a:lnTo>
                  <a:lnTo>
                    <a:pt x="287863" y="231166"/>
                  </a:lnTo>
                  <a:lnTo>
                    <a:pt x="288995" y="225858"/>
                  </a:lnTo>
                  <a:lnTo>
                    <a:pt x="288330" y="219564"/>
                  </a:lnTo>
                  <a:lnTo>
                    <a:pt x="291076" y="214881"/>
                  </a:lnTo>
                  <a:lnTo>
                    <a:pt x="293705" y="214076"/>
                  </a:lnTo>
                  <a:lnTo>
                    <a:pt x="298931" y="211937"/>
                  </a:lnTo>
                  <a:lnTo>
                    <a:pt x="301673" y="211309"/>
                  </a:lnTo>
                  <a:lnTo>
                    <a:pt x="302083" y="212244"/>
                  </a:lnTo>
                  <a:lnTo>
                    <a:pt x="302001" y="213469"/>
                  </a:lnTo>
                  <a:lnTo>
                    <a:pt x="297901" y="217404"/>
                  </a:lnTo>
                  <a:lnTo>
                    <a:pt x="295551" y="219021"/>
                  </a:lnTo>
                  <a:lnTo>
                    <a:pt x="294145" y="219522"/>
                  </a:lnTo>
                  <a:lnTo>
                    <a:pt x="292858" y="220237"/>
                  </a:lnTo>
                  <a:lnTo>
                    <a:pt x="292325" y="221619"/>
                  </a:lnTo>
                  <a:lnTo>
                    <a:pt x="294415" y="223933"/>
                  </a:lnTo>
                  <a:lnTo>
                    <a:pt x="294948" y="225640"/>
                  </a:lnTo>
                  <a:lnTo>
                    <a:pt x="294819" y="227279"/>
                  </a:lnTo>
                  <a:lnTo>
                    <a:pt x="294907" y="228751"/>
                  </a:lnTo>
                  <a:lnTo>
                    <a:pt x="297274" y="230354"/>
                  </a:lnTo>
                  <a:lnTo>
                    <a:pt x="299984" y="230884"/>
                  </a:lnTo>
                  <a:lnTo>
                    <a:pt x="301120" y="230869"/>
                  </a:lnTo>
                  <a:lnTo>
                    <a:pt x="302114" y="230448"/>
                  </a:lnTo>
                  <a:lnTo>
                    <a:pt x="305210" y="226526"/>
                  </a:lnTo>
                  <a:lnTo>
                    <a:pt x="305906" y="225845"/>
                  </a:lnTo>
                  <a:lnTo>
                    <a:pt x="314731" y="222970"/>
                  </a:lnTo>
                  <a:lnTo>
                    <a:pt x="319073" y="220769"/>
                  </a:lnTo>
                  <a:lnTo>
                    <a:pt x="321472" y="220201"/>
                  </a:lnTo>
                  <a:lnTo>
                    <a:pt x="323724" y="219054"/>
                  </a:lnTo>
                  <a:lnTo>
                    <a:pt x="328776" y="214625"/>
                  </a:lnTo>
                  <a:lnTo>
                    <a:pt x="330643" y="212583"/>
                  </a:lnTo>
                  <a:lnTo>
                    <a:pt x="332337" y="210323"/>
                  </a:lnTo>
                  <a:lnTo>
                    <a:pt x="333690" y="207697"/>
                  </a:lnTo>
                  <a:lnTo>
                    <a:pt x="334757" y="204851"/>
                  </a:lnTo>
                  <a:lnTo>
                    <a:pt x="336221" y="203078"/>
                  </a:lnTo>
                  <a:lnTo>
                    <a:pt x="344227" y="198847"/>
                  </a:lnTo>
                  <a:lnTo>
                    <a:pt x="346809" y="196540"/>
                  </a:lnTo>
                  <a:lnTo>
                    <a:pt x="347629" y="195422"/>
                  </a:lnTo>
                  <a:lnTo>
                    <a:pt x="348620" y="192182"/>
                  </a:lnTo>
                  <a:lnTo>
                    <a:pt x="349304" y="188814"/>
                  </a:lnTo>
                  <a:lnTo>
                    <a:pt x="350278" y="186170"/>
                  </a:lnTo>
                  <a:lnTo>
                    <a:pt x="351591" y="183689"/>
                  </a:lnTo>
                  <a:lnTo>
                    <a:pt x="353351" y="181159"/>
                  </a:lnTo>
                  <a:lnTo>
                    <a:pt x="355327" y="178809"/>
                  </a:lnTo>
                  <a:lnTo>
                    <a:pt x="356496" y="176396"/>
                  </a:lnTo>
                  <a:lnTo>
                    <a:pt x="358190" y="170623"/>
                  </a:lnTo>
                  <a:lnTo>
                    <a:pt x="358936" y="167422"/>
                  </a:lnTo>
                  <a:lnTo>
                    <a:pt x="359516" y="166267"/>
                  </a:lnTo>
                  <a:lnTo>
                    <a:pt x="360369" y="165296"/>
                  </a:lnTo>
                  <a:lnTo>
                    <a:pt x="361114" y="164067"/>
                  </a:lnTo>
                  <a:lnTo>
                    <a:pt x="361682" y="162690"/>
                  </a:lnTo>
                  <a:lnTo>
                    <a:pt x="361939" y="161325"/>
                  </a:lnTo>
                  <a:lnTo>
                    <a:pt x="362306" y="157152"/>
                  </a:lnTo>
                  <a:lnTo>
                    <a:pt x="362084" y="153905"/>
                  </a:lnTo>
                  <a:lnTo>
                    <a:pt x="360758" y="151151"/>
                  </a:lnTo>
                  <a:lnTo>
                    <a:pt x="359664" y="150369"/>
                  </a:lnTo>
                  <a:lnTo>
                    <a:pt x="358469" y="150323"/>
                  </a:lnTo>
                  <a:lnTo>
                    <a:pt x="356681" y="150561"/>
                  </a:lnTo>
                  <a:lnTo>
                    <a:pt x="355158" y="149438"/>
                  </a:lnTo>
                  <a:lnTo>
                    <a:pt x="355467" y="148445"/>
                  </a:lnTo>
                  <a:lnTo>
                    <a:pt x="357020" y="148261"/>
                  </a:lnTo>
                  <a:lnTo>
                    <a:pt x="358080" y="147748"/>
                  </a:lnTo>
                  <a:lnTo>
                    <a:pt x="358840" y="146808"/>
                  </a:lnTo>
                  <a:lnTo>
                    <a:pt x="360266" y="143802"/>
                  </a:lnTo>
                  <a:lnTo>
                    <a:pt x="361121" y="140579"/>
                  </a:lnTo>
                  <a:lnTo>
                    <a:pt x="361194" y="139153"/>
                  </a:lnTo>
                  <a:lnTo>
                    <a:pt x="360080" y="136552"/>
                  </a:lnTo>
                  <a:lnTo>
                    <a:pt x="359192" y="133422"/>
                  </a:lnTo>
                  <a:lnTo>
                    <a:pt x="359168" y="131730"/>
                  </a:lnTo>
                  <a:lnTo>
                    <a:pt x="360139" y="129781"/>
                  </a:lnTo>
                  <a:lnTo>
                    <a:pt x="361522" y="128197"/>
                  </a:lnTo>
                  <a:lnTo>
                    <a:pt x="362762" y="127824"/>
                  </a:lnTo>
                  <a:lnTo>
                    <a:pt x="364104" y="127713"/>
                  </a:lnTo>
                  <a:lnTo>
                    <a:pt x="365324" y="127101"/>
                  </a:lnTo>
                  <a:lnTo>
                    <a:pt x="366455" y="126211"/>
                  </a:lnTo>
                  <a:lnTo>
                    <a:pt x="367093" y="125231"/>
                  </a:lnTo>
                  <a:lnTo>
                    <a:pt x="368089" y="122562"/>
                  </a:lnTo>
                  <a:lnTo>
                    <a:pt x="368472" y="121036"/>
                  </a:lnTo>
                  <a:lnTo>
                    <a:pt x="367844" y="116950"/>
                  </a:lnTo>
                  <a:lnTo>
                    <a:pt x="368491" y="115832"/>
                  </a:lnTo>
                  <a:lnTo>
                    <a:pt x="369409" y="115134"/>
                  </a:lnTo>
                  <a:lnTo>
                    <a:pt x="370633" y="115665"/>
                  </a:lnTo>
                  <a:lnTo>
                    <a:pt x="371888" y="115770"/>
                  </a:lnTo>
                  <a:lnTo>
                    <a:pt x="373350" y="115608"/>
                  </a:lnTo>
                  <a:lnTo>
                    <a:pt x="374753" y="116040"/>
                  </a:lnTo>
                  <a:lnTo>
                    <a:pt x="375018" y="117089"/>
                  </a:lnTo>
                  <a:lnTo>
                    <a:pt x="375897" y="123992"/>
                  </a:lnTo>
                  <a:lnTo>
                    <a:pt x="376407" y="124924"/>
                  </a:lnTo>
                  <a:lnTo>
                    <a:pt x="377428" y="125646"/>
                  </a:lnTo>
                  <a:lnTo>
                    <a:pt x="378582" y="125540"/>
                  </a:lnTo>
                  <a:lnTo>
                    <a:pt x="379577" y="124468"/>
                  </a:lnTo>
                  <a:lnTo>
                    <a:pt x="380248" y="123038"/>
                  </a:lnTo>
                  <a:lnTo>
                    <a:pt x="381572" y="122743"/>
                  </a:lnTo>
                  <a:lnTo>
                    <a:pt x="385608" y="124281"/>
                  </a:lnTo>
                  <a:lnTo>
                    <a:pt x="387037" y="123183"/>
                  </a:lnTo>
                  <a:lnTo>
                    <a:pt x="387970" y="121489"/>
                  </a:lnTo>
                  <a:lnTo>
                    <a:pt x="388783" y="118483"/>
                  </a:lnTo>
                  <a:lnTo>
                    <a:pt x="388387" y="115771"/>
                  </a:lnTo>
                  <a:lnTo>
                    <a:pt x="387418" y="114770"/>
                  </a:lnTo>
                  <a:lnTo>
                    <a:pt x="386415" y="114952"/>
                  </a:lnTo>
                  <a:lnTo>
                    <a:pt x="385530" y="115696"/>
                  </a:lnTo>
                  <a:lnTo>
                    <a:pt x="384543" y="116102"/>
                  </a:lnTo>
                  <a:lnTo>
                    <a:pt x="378577" y="117531"/>
                  </a:lnTo>
                  <a:lnTo>
                    <a:pt x="378605" y="114505"/>
                  </a:lnTo>
                  <a:lnTo>
                    <a:pt x="379882" y="109972"/>
                  </a:lnTo>
                  <a:lnTo>
                    <a:pt x="380588" y="108537"/>
                  </a:lnTo>
                  <a:close/>
                  <a:moveTo>
                    <a:pt x="351110" y="88508"/>
                  </a:moveTo>
                  <a:lnTo>
                    <a:pt x="349931" y="92199"/>
                  </a:lnTo>
                  <a:lnTo>
                    <a:pt x="349404" y="92608"/>
                  </a:lnTo>
                  <a:lnTo>
                    <a:pt x="348898" y="92751"/>
                  </a:lnTo>
                  <a:lnTo>
                    <a:pt x="348371" y="92526"/>
                  </a:lnTo>
                  <a:lnTo>
                    <a:pt x="347862" y="90517"/>
                  </a:lnTo>
                  <a:lnTo>
                    <a:pt x="348301" y="89456"/>
                  </a:lnTo>
                  <a:lnTo>
                    <a:pt x="349725" y="88715"/>
                  </a:lnTo>
                  <a:close/>
                  <a:moveTo>
                    <a:pt x="387271" y="7180"/>
                  </a:moveTo>
                  <a:lnTo>
                    <a:pt x="388556" y="7601"/>
                  </a:lnTo>
                  <a:lnTo>
                    <a:pt x="389842" y="9078"/>
                  </a:lnTo>
                  <a:lnTo>
                    <a:pt x="390266" y="9847"/>
                  </a:lnTo>
                  <a:lnTo>
                    <a:pt x="389519" y="10699"/>
                  </a:lnTo>
                  <a:lnTo>
                    <a:pt x="387984" y="10895"/>
                  </a:lnTo>
                  <a:lnTo>
                    <a:pt x="386200" y="9753"/>
                  </a:lnTo>
                  <a:lnTo>
                    <a:pt x="385979" y="8321"/>
                  </a:lnTo>
                  <a:close/>
                  <a:moveTo>
                    <a:pt x="382361" y="1210"/>
                  </a:moveTo>
                  <a:lnTo>
                    <a:pt x="383023" y="1228"/>
                  </a:lnTo>
                  <a:lnTo>
                    <a:pt x="384241" y="1647"/>
                  </a:lnTo>
                  <a:lnTo>
                    <a:pt x="384533" y="3008"/>
                  </a:lnTo>
                  <a:lnTo>
                    <a:pt x="384595" y="4850"/>
                  </a:lnTo>
                  <a:lnTo>
                    <a:pt x="383738" y="6591"/>
                  </a:lnTo>
                  <a:lnTo>
                    <a:pt x="382592" y="4002"/>
                  </a:lnTo>
                  <a:close/>
                  <a:moveTo>
                    <a:pt x="403721" y="0"/>
                  </a:moveTo>
                  <a:lnTo>
                    <a:pt x="404676" y="715"/>
                  </a:lnTo>
                  <a:lnTo>
                    <a:pt x="405462" y="1966"/>
                  </a:lnTo>
                  <a:lnTo>
                    <a:pt x="408893" y="5048"/>
                  </a:lnTo>
                  <a:lnTo>
                    <a:pt x="414297" y="10544"/>
                  </a:lnTo>
                  <a:lnTo>
                    <a:pt x="420668" y="18900"/>
                  </a:lnTo>
                  <a:lnTo>
                    <a:pt x="424663" y="22964"/>
                  </a:lnTo>
                  <a:lnTo>
                    <a:pt x="428872" y="26645"/>
                  </a:lnTo>
                  <a:lnTo>
                    <a:pt x="433592" y="30404"/>
                  </a:lnTo>
                  <a:lnTo>
                    <a:pt x="438530" y="33638"/>
                  </a:lnTo>
                  <a:lnTo>
                    <a:pt x="441685" y="35162"/>
                  </a:lnTo>
                  <a:lnTo>
                    <a:pt x="443996" y="37594"/>
                  </a:lnTo>
                  <a:lnTo>
                    <a:pt x="445438" y="37991"/>
                  </a:lnTo>
                  <a:lnTo>
                    <a:pt x="448206" y="38128"/>
                  </a:lnTo>
                  <a:lnTo>
                    <a:pt x="449444" y="38000"/>
                  </a:lnTo>
                  <a:lnTo>
                    <a:pt x="451564" y="38408"/>
                  </a:lnTo>
                  <a:lnTo>
                    <a:pt x="459978" y="42523"/>
                  </a:lnTo>
                  <a:lnTo>
                    <a:pt x="462517" y="43046"/>
                  </a:lnTo>
                  <a:lnTo>
                    <a:pt x="465139" y="43107"/>
                  </a:lnTo>
                  <a:lnTo>
                    <a:pt x="466980" y="42775"/>
                  </a:lnTo>
                  <a:lnTo>
                    <a:pt x="468602" y="41647"/>
                  </a:lnTo>
                  <a:lnTo>
                    <a:pt x="473681" y="36658"/>
                  </a:lnTo>
                  <a:lnTo>
                    <a:pt x="479014" y="32108"/>
                  </a:lnTo>
                  <a:lnTo>
                    <a:pt x="479607" y="32284"/>
                  </a:lnTo>
                  <a:lnTo>
                    <a:pt x="479608" y="33535"/>
                  </a:lnTo>
                  <a:lnTo>
                    <a:pt x="479217" y="34933"/>
                  </a:lnTo>
                  <a:lnTo>
                    <a:pt x="476857" y="39096"/>
                  </a:lnTo>
                  <a:lnTo>
                    <a:pt x="474229" y="44691"/>
                  </a:lnTo>
                  <a:lnTo>
                    <a:pt x="473670" y="47522"/>
                  </a:lnTo>
                  <a:lnTo>
                    <a:pt x="474523" y="50276"/>
                  </a:lnTo>
                  <a:lnTo>
                    <a:pt x="476169" y="52548"/>
                  </a:lnTo>
                  <a:lnTo>
                    <a:pt x="477470" y="55654"/>
                  </a:lnTo>
                  <a:lnTo>
                    <a:pt x="478971" y="59968"/>
                  </a:lnTo>
                  <a:lnTo>
                    <a:pt x="481079" y="60513"/>
                  </a:lnTo>
                  <a:lnTo>
                    <a:pt x="482223" y="60580"/>
                  </a:lnTo>
                  <a:lnTo>
                    <a:pt x="484333" y="59289"/>
                  </a:lnTo>
                  <a:lnTo>
                    <a:pt x="486330" y="57646"/>
                  </a:lnTo>
                  <a:lnTo>
                    <a:pt x="488047" y="57446"/>
                  </a:lnTo>
                  <a:lnTo>
                    <a:pt x="489855" y="57725"/>
                  </a:lnTo>
                  <a:lnTo>
                    <a:pt x="487479" y="58868"/>
                  </a:lnTo>
                  <a:lnTo>
                    <a:pt x="485238" y="60269"/>
                  </a:lnTo>
                  <a:lnTo>
                    <a:pt x="483318" y="62919"/>
                  </a:lnTo>
                  <a:lnTo>
                    <a:pt x="482603" y="63414"/>
                  </a:lnTo>
                  <a:lnTo>
                    <a:pt x="480386" y="63251"/>
                  </a:lnTo>
                  <a:lnTo>
                    <a:pt x="479118" y="63347"/>
                  </a:lnTo>
                  <a:lnTo>
                    <a:pt x="476522" y="64453"/>
                  </a:lnTo>
                  <a:lnTo>
                    <a:pt x="474246" y="65704"/>
                  </a:lnTo>
                  <a:lnTo>
                    <a:pt x="472072" y="67239"/>
                  </a:lnTo>
                  <a:lnTo>
                    <a:pt x="469696" y="68062"/>
                  </a:lnTo>
                  <a:lnTo>
                    <a:pt x="467170" y="68256"/>
                  </a:lnTo>
                  <a:lnTo>
                    <a:pt x="463270" y="69509"/>
                  </a:lnTo>
                  <a:lnTo>
                    <a:pt x="460737" y="69598"/>
                  </a:lnTo>
                  <a:lnTo>
                    <a:pt x="455991" y="68504"/>
                  </a:lnTo>
                  <a:lnTo>
                    <a:pt x="453685" y="68793"/>
                  </a:lnTo>
                  <a:lnTo>
                    <a:pt x="448645" y="71263"/>
                  </a:lnTo>
                  <a:lnTo>
                    <a:pt x="444063" y="74828"/>
                  </a:lnTo>
                  <a:lnTo>
                    <a:pt x="440057" y="78820"/>
                  </a:lnTo>
                  <a:lnTo>
                    <a:pt x="436708" y="83617"/>
                  </a:lnTo>
                  <a:lnTo>
                    <a:pt x="435362" y="86114"/>
                  </a:lnTo>
                  <a:lnTo>
                    <a:pt x="434554" y="88903"/>
                  </a:lnTo>
                  <a:lnTo>
                    <a:pt x="434445" y="90747"/>
                  </a:lnTo>
                  <a:lnTo>
                    <a:pt x="434147" y="92520"/>
                  </a:lnTo>
                  <a:lnTo>
                    <a:pt x="433374" y="93755"/>
                  </a:lnTo>
                  <a:lnTo>
                    <a:pt x="432441" y="94754"/>
                  </a:lnTo>
                  <a:lnTo>
                    <a:pt x="429681" y="94169"/>
                  </a:lnTo>
                  <a:lnTo>
                    <a:pt x="425140" y="91616"/>
                  </a:lnTo>
                  <a:lnTo>
                    <a:pt x="416336" y="87903"/>
                  </a:lnTo>
                  <a:lnTo>
                    <a:pt x="407042" y="82208"/>
                  </a:lnTo>
                  <a:lnTo>
                    <a:pt x="401812" y="79345"/>
                  </a:lnTo>
                  <a:lnTo>
                    <a:pt x="391979" y="80203"/>
                  </a:lnTo>
                  <a:lnTo>
                    <a:pt x="382680" y="85662"/>
                  </a:lnTo>
                  <a:lnTo>
                    <a:pt x="381847" y="85198"/>
                  </a:lnTo>
                  <a:lnTo>
                    <a:pt x="378290" y="81455"/>
                  </a:lnTo>
                  <a:lnTo>
                    <a:pt x="376569" y="79971"/>
                  </a:lnTo>
                  <a:lnTo>
                    <a:pt x="374513" y="79551"/>
                  </a:lnTo>
                  <a:lnTo>
                    <a:pt x="372984" y="79599"/>
                  </a:lnTo>
                  <a:lnTo>
                    <a:pt x="371498" y="79871"/>
                  </a:lnTo>
                  <a:lnTo>
                    <a:pt x="369398" y="81797"/>
                  </a:lnTo>
                  <a:lnTo>
                    <a:pt x="368627" y="83185"/>
                  </a:lnTo>
                  <a:lnTo>
                    <a:pt x="368028" y="84758"/>
                  </a:lnTo>
                  <a:lnTo>
                    <a:pt x="367844" y="85871"/>
                  </a:lnTo>
                  <a:lnTo>
                    <a:pt x="368098" y="86961"/>
                  </a:lnTo>
                  <a:lnTo>
                    <a:pt x="370086" y="89425"/>
                  </a:lnTo>
                  <a:lnTo>
                    <a:pt x="372540" y="91259"/>
                  </a:lnTo>
                  <a:lnTo>
                    <a:pt x="373650" y="91607"/>
                  </a:lnTo>
                  <a:lnTo>
                    <a:pt x="376005" y="91479"/>
                  </a:lnTo>
                  <a:lnTo>
                    <a:pt x="377100" y="91669"/>
                  </a:lnTo>
                  <a:lnTo>
                    <a:pt x="381048" y="95349"/>
                  </a:lnTo>
                  <a:lnTo>
                    <a:pt x="385368" y="98790"/>
                  </a:lnTo>
                  <a:lnTo>
                    <a:pt x="386325" y="99929"/>
                  </a:lnTo>
                  <a:lnTo>
                    <a:pt x="384727" y="101129"/>
                  </a:lnTo>
                  <a:lnTo>
                    <a:pt x="382976" y="101722"/>
                  </a:lnTo>
                  <a:lnTo>
                    <a:pt x="380941" y="101567"/>
                  </a:lnTo>
                  <a:lnTo>
                    <a:pt x="378927" y="101113"/>
                  </a:lnTo>
                  <a:lnTo>
                    <a:pt x="375466" y="99651"/>
                  </a:lnTo>
                  <a:lnTo>
                    <a:pt x="373986" y="100897"/>
                  </a:lnTo>
                  <a:lnTo>
                    <a:pt x="371691" y="103449"/>
                  </a:lnTo>
                  <a:lnTo>
                    <a:pt x="370419" y="106221"/>
                  </a:lnTo>
                  <a:lnTo>
                    <a:pt x="369387" y="107493"/>
                  </a:lnTo>
                  <a:lnTo>
                    <a:pt x="366847" y="109165"/>
                  </a:lnTo>
                  <a:lnTo>
                    <a:pt x="364161" y="110030"/>
                  </a:lnTo>
                  <a:lnTo>
                    <a:pt x="362757" y="109744"/>
                  </a:lnTo>
                  <a:lnTo>
                    <a:pt x="361684" y="108696"/>
                  </a:lnTo>
                  <a:lnTo>
                    <a:pt x="361077" y="107439"/>
                  </a:lnTo>
                  <a:lnTo>
                    <a:pt x="360771" y="105983"/>
                  </a:lnTo>
                  <a:lnTo>
                    <a:pt x="361345" y="102825"/>
                  </a:lnTo>
                  <a:lnTo>
                    <a:pt x="362736" y="99979"/>
                  </a:lnTo>
                  <a:lnTo>
                    <a:pt x="363271" y="97070"/>
                  </a:lnTo>
                  <a:lnTo>
                    <a:pt x="362132" y="92971"/>
                  </a:lnTo>
                  <a:lnTo>
                    <a:pt x="361408" y="92115"/>
                  </a:lnTo>
                  <a:lnTo>
                    <a:pt x="358555" y="89710"/>
                  </a:lnTo>
                  <a:lnTo>
                    <a:pt x="357236" y="87367"/>
                  </a:lnTo>
                  <a:lnTo>
                    <a:pt x="356914" y="84451"/>
                  </a:lnTo>
                  <a:lnTo>
                    <a:pt x="357083" y="82837"/>
                  </a:lnTo>
                  <a:lnTo>
                    <a:pt x="357782" y="79274"/>
                  </a:lnTo>
                  <a:lnTo>
                    <a:pt x="358467" y="77472"/>
                  </a:lnTo>
                  <a:lnTo>
                    <a:pt x="359782" y="76878"/>
                  </a:lnTo>
                  <a:lnTo>
                    <a:pt x="361207" y="76522"/>
                  </a:lnTo>
                  <a:lnTo>
                    <a:pt x="363410" y="75234"/>
                  </a:lnTo>
                  <a:lnTo>
                    <a:pt x="365831" y="73562"/>
                  </a:lnTo>
                  <a:lnTo>
                    <a:pt x="368141" y="71653"/>
                  </a:lnTo>
                  <a:lnTo>
                    <a:pt x="370432" y="69317"/>
                  </a:lnTo>
                  <a:lnTo>
                    <a:pt x="371630" y="66749"/>
                  </a:lnTo>
                  <a:lnTo>
                    <a:pt x="369663" y="63599"/>
                  </a:lnTo>
                  <a:lnTo>
                    <a:pt x="369261" y="61726"/>
                  </a:lnTo>
                  <a:lnTo>
                    <a:pt x="369551" y="59952"/>
                  </a:lnTo>
                  <a:lnTo>
                    <a:pt x="371641" y="59009"/>
                  </a:lnTo>
                  <a:lnTo>
                    <a:pt x="373801" y="59721"/>
                  </a:lnTo>
                  <a:lnTo>
                    <a:pt x="378137" y="62319"/>
                  </a:lnTo>
                  <a:lnTo>
                    <a:pt x="378987" y="62575"/>
                  </a:lnTo>
                  <a:lnTo>
                    <a:pt x="381965" y="62696"/>
                  </a:lnTo>
                  <a:lnTo>
                    <a:pt x="386042" y="63261"/>
                  </a:lnTo>
                  <a:lnTo>
                    <a:pt x="388404" y="63123"/>
                  </a:lnTo>
                  <a:lnTo>
                    <a:pt x="389538" y="62731"/>
                  </a:lnTo>
                  <a:lnTo>
                    <a:pt x="391259" y="60583"/>
                  </a:lnTo>
                  <a:lnTo>
                    <a:pt x="392103" y="57844"/>
                  </a:lnTo>
                  <a:lnTo>
                    <a:pt x="391795" y="54319"/>
                  </a:lnTo>
                  <a:lnTo>
                    <a:pt x="391779" y="50812"/>
                  </a:lnTo>
                  <a:lnTo>
                    <a:pt x="392866" y="47952"/>
                  </a:lnTo>
                  <a:lnTo>
                    <a:pt x="396269" y="43349"/>
                  </a:lnTo>
                  <a:lnTo>
                    <a:pt x="397243" y="40632"/>
                  </a:lnTo>
                  <a:lnTo>
                    <a:pt x="397599" y="34015"/>
                  </a:lnTo>
                  <a:lnTo>
                    <a:pt x="398826" y="31095"/>
                  </a:lnTo>
                  <a:lnTo>
                    <a:pt x="399813" y="28070"/>
                  </a:lnTo>
                  <a:lnTo>
                    <a:pt x="400284" y="21704"/>
                  </a:lnTo>
                  <a:lnTo>
                    <a:pt x="398886" y="15573"/>
                  </a:lnTo>
                  <a:lnTo>
                    <a:pt x="397487" y="12563"/>
                  </a:lnTo>
                  <a:lnTo>
                    <a:pt x="395878" y="9697"/>
                  </a:lnTo>
                  <a:lnTo>
                    <a:pt x="396116" y="6958"/>
                  </a:lnTo>
                  <a:lnTo>
                    <a:pt x="397416" y="4417"/>
                  </a:lnTo>
                  <a:lnTo>
                    <a:pt x="397448" y="3651"/>
                  </a:lnTo>
                  <a:lnTo>
                    <a:pt x="397757" y="2973"/>
                  </a:lnTo>
                  <a:lnTo>
                    <a:pt x="400192" y="2489"/>
                  </a:lnTo>
                  <a:lnTo>
                    <a:pt x="401328" y="1944"/>
                  </a:lnTo>
                  <a:lnTo>
                    <a:pt x="402417" y="721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00" name="ee4p_XS_1_82333">
              <a:extLst>
                <a:ext uri="{FF2B5EF4-FFF2-40B4-BE49-F238E27FC236}">
                  <a16:creationId xmlns:a16="http://schemas.microsoft.com/office/drawing/2014/main" id="{23133B8C-2B56-F445-DEB0-46FA726EAA1D}"/>
                </a:ext>
              </a:extLst>
            </p:cNvPr>
            <p:cNvSpPr>
              <a:spLocks noChangeAspect="1"/>
            </p:cNvSpPr>
            <p:nvPr>
              <p:custDataLst>
                <p:tags r:id="rId28"/>
              </p:custDataLst>
            </p:nvPr>
          </p:nvSpPr>
          <p:spPr>
            <a:xfrm>
              <a:off x="8646467" y="3613669"/>
              <a:ext cx="28673" cy="17881"/>
            </a:xfrm>
            <a:custGeom>
              <a:avLst/>
              <a:gdLst/>
              <a:ahLst/>
              <a:cxnLst/>
              <a:rect l="0" t="0" r="0" b="0"/>
              <a:pathLst>
                <a:path w="22832" h="13861">
                  <a:moveTo>
                    <a:pt x="22831" y="4171"/>
                  </a:moveTo>
                  <a:lnTo>
                    <a:pt x="20566" y="5494"/>
                  </a:lnTo>
                  <a:lnTo>
                    <a:pt x="17793" y="7115"/>
                  </a:lnTo>
                  <a:lnTo>
                    <a:pt x="14518" y="9027"/>
                  </a:lnTo>
                  <a:lnTo>
                    <a:pt x="11633" y="10709"/>
                  </a:lnTo>
                  <a:lnTo>
                    <a:pt x="8882" y="12315"/>
                  </a:lnTo>
                  <a:lnTo>
                    <a:pt x="6230" y="13860"/>
                  </a:lnTo>
                  <a:lnTo>
                    <a:pt x="5254" y="11693"/>
                  </a:lnTo>
                  <a:lnTo>
                    <a:pt x="4688" y="10436"/>
                  </a:lnTo>
                  <a:lnTo>
                    <a:pt x="3557" y="7921"/>
                  </a:lnTo>
                  <a:lnTo>
                    <a:pt x="2550" y="5683"/>
                  </a:lnTo>
                  <a:lnTo>
                    <a:pt x="1015" y="2262"/>
                  </a:lnTo>
                  <a:lnTo>
                    <a:pt x="0" y="0"/>
                  </a:lnTo>
                  <a:lnTo>
                    <a:pt x="2477" y="1219"/>
                  </a:lnTo>
                  <a:lnTo>
                    <a:pt x="7146" y="2760"/>
                  </a:lnTo>
                  <a:lnTo>
                    <a:pt x="11674" y="3863"/>
                  </a:lnTo>
                  <a:lnTo>
                    <a:pt x="15027" y="4682"/>
                  </a:lnTo>
                  <a:lnTo>
                    <a:pt x="16653" y="4736"/>
                  </a:lnTo>
                  <a:lnTo>
                    <a:pt x="17815" y="4776"/>
                  </a:lnTo>
                  <a:lnTo>
                    <a:pt x="21164" y="4557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01" name="ee4p_KZ_1_82333">
              <a:extLst>
                <a:ext uri="{FF2B5EF4-FFF2-40B4-BE49-F238E27FC236}">
                  <a16:creationId xmlns:a16="http://schemas.microsoft.com/office/drawing/2014/main" id="{E5E9FF99-2FD8-EDB2-AE53-5FA6088B07E5}"/>
                </a:ext>
              </a:extLst>
            </p:cNvPr>
            <p:cNvSpPr>
              <a:spLocks noChangeAspect="1"/>
            </p:cNvSpPr>
            <p:nvPr>
              <p:custDataLst>
                <p:tags r:id="rId29"/>
              </p:custDataLst>
            </p:nvPr>
          </p:nvSpPr>
          <p:spPr>
            <a:xfrm>
              <a:off x="7809006" y="2909653"/>
              <a:ext cx="1130593" cy="540174"/>
            </a:xfrm>
            <a:custGeom>
              <a:avLst/>
              <a:gdLst>
                <a:gd name="connsiteX0" fmla="*/ 77408 w 900266"/>
                <a:gd name="connsiteY0" fmla="*/ 298988 h 418727"/>
                <a:gd name="connsiteX1" fmla="*/ 77557 w 900266"/>
                <a:gd name="connsiteY1" fmla="*/ 299635 h 418727"/>
                <a:gd name="connsiteX2" fmla="*/ 75980 w 900266"/>
                <a:gd name="connsiteY2" fmla="*/ 300954 h 418727"/>
                <a:gd name="connsiteX3" fmla="*/ 75838 w 900266"/>
                <a:gd name="connsiteY3" fmla="*/ 302618 h 418727"/>
                <a:gd name="connsiteX4" fmla="*/ 77149 w 900266"/>
                <a:gd name="connsiteY4" fmla="*/ 304464 h 418727"/>
                <a:gd name="connsiteX5" fmla="*/ 79057 w 900266"/>
                <a:gd name="connsiteY5" fmla="*/ 305198 h 418727"/>
                <a:gd name="connsiteX6" fmla="*/ 78267 w 900266"/>
                <a:gd name="connsiteY6" fmla="*/ 305967 h 418727"/>
                <a:gd name="connsiteX7" fmla="*/ 77086 w 900266"/>
                <a:gd name="connsiteY7" fmla="*/ 305854 h 418727"/>
                <a:gd name="connsiteX8" fmla="*/ 74870 w 900266"/>
                <a:gd name="connsiteY8" fmla="*/ 302950 h 418727"/>
                <a:gd name="connsiteX9" fmla="*/ 75488 w 900266"/>
                <a:gd name="connsiteY9" fmla="*/ 300005 h 418727"/>
                <a:gd name="connsiteX10" fmla="*/ 76291 w 900266"/>
                <a:gd name="connsiteY10" fmla="*/ 299402 h 418727"/>
                <a:gd name="connsiteX11" fmla="*/ 82711 w 900266"/>
                <a:gd name="connsiteY11" fmla="*/ 298958 h 418727"/>
                <a:gd name="connsiteX12" fmla="*/ 82294 w 900266"/>
                <a:gd name="connsiteY12" fmla="*/ 301271 h 418727"/>
                <a:gd name="connsiteX13" fmla="*/ 81871 w 900266"/>
                <a:gd name="connsiteY13" fmla="*/ 301991 h 418727"/>
                <a:gd name="connsiteX14" fmla="*/ 81109 w 900266"/>
                <a:gd name="connsiteY14" fmla="*/ 302359 h 418727"/>
                <a:gd name="connsiteX15" fmla="*/ 80643 w 900266"/>
                <a:gd name="connsiteY15" fmla="*/ 300615 h 418727"/>
                <a:gd name="connsiteX16" fmla="*/ 81500 w 900266"/>
                <a:gd name="connsiteY16" fmla="*/ 299152 h 418727"/>
                <a:gd name="connsiteX17" fmla="*/ 132667 w 900266"/>
                <a:gd name="connsiteY17" fmla="*/ 286757 h 418727"/>
                <a:gd name="connsiteX18" fmla="*/ 133787 w 900266"/>
                <a:gd name="connsiteY18" fmla="*/ 287031 h 418727"/>
                <a:gd name="connsiteX19" fmla="*/ 134526 w 900266"/>
                <a:gd name="connsiteY19" fmla="*/ 288605 h 418727"/>
                <a:gd name="connsiteX20" fmla="*/ 134292 w 900266"/>
                <a:gd name="connsiteY20" fmla="*/ 289948 h 418727"/>
                <a:gd name="connsiteX21" fmla="*/ 133904 w 900266"/>
                <a:gd name="connsiteY21" fmla="*/ 290237 h 418727"/>
                <a:gd name="connsiteX22" fmla="*/ 132433 w 900266"/>
                <a:gd name="connsiteY22" fmla="*/ 289500 h 418727"/>
                <a:gd name="connsiteX23" fmla="*/ 131460 w 900266"/>
                <a:gd name="connsiteY23" fmla="*/ 288242 h 418727"/>
                <a:gd name="connsiteX24" fmla="*/ 494606 w 900266"/>
                <a:gd name="connsiteY24" fmla="*/ 0 h 418727"/>
                <a:gd name="connsiteX25" fmla="*/ 500570 w 900266"/>
                <a:gd name="connsiteY25" fmla="*/ 529 h 418727"/>
                <a:gd name="connsiteX26" fmla="*/ 506016 w 900266"/>
                <a:gd name="connsiteY26" fmla="*/ 1011 h 418727"/>
                <a:gd name="connsiteX27" fmla="*/ 511477 w 900266"/>
                <a:gd name="connsiteY27" fmla="*/ 2540 h 418727"/>
                <a:gd name="connsiteX28" fmla="*/ 514351 w 900266"/>
                <a:gd name="connsiteY28" fmla="*/ 4444 h 418727"/>
                <a:gd name="connsiteX29" fmla="*/ 516817 w 900266"/>
                <a:gd name="connsiteY29" fmla="*/ 5881 h 418727"/>
                <a:gd name="connsiteX30" fmla="*/ 519153 w 900266"/>
                <a:gd name="connsiteY30" fmla="*/ 6568 h 418727"/>
                <a:gd name="connsiteX31" fmla="*/ 521254 w 900266"/>
                <a:gd name="connsiteY31" fmla="*/ 7009 h 418727"/>
                <a:gd name="connsiteX32" fmla="*/ 523707 w 900266"/>
                <a:gd name="connsiteY32" fmla="*/ 6357 h 418727"/>
                <a:gd name="connsiteX33" fmla="*/ 525435 w 900266"/>
                <a:gd name="connsiteY33" fmla="*/ 5474 h 418727"/>
                <a:gd name="connsiteX34" fmla="*/ 526446 w 900266"/>
                <a:gd name="connsiteY34" fmla="*/ 4212 h 418727"/>
                <a:gd name="connsiteX35" fmla="*/ 527975 w 900266"/>
                <a:gd name="connsiteY35" fmla="*/ 3311 h 418727"/>
                <a:gd name="connsiteX36" fmla="*/ 533541 w 900266"/>
                <a:gd name="connsiteY36" fmla="*/ 2608 h 418727"/>
                <a:gd name="connsiteX37" fmla="*/ 534697 w 900266"/>
                <a:gd name="connsiteY37" fmla="*/ 3967 h 418727"/>
                <a:gd name="connsiteX38" fmla="*/ 537346 w 900266"/>
                <a:gd name="connsiteY38" fmla="*/ 8071 h 418727"/>
                <a:gd name="connsiteX39" fmla="*/ 539151 w 900266"/>
                <a:gd name="connsiteY39" fmla="*/ 13530 h 418727"/>
                <a:gd name="connsiteX40" fmla="*/ 542125 w 900266"/>
                <a:gd name="connsiteY40" fmla="*/ 20751 h 418727"/>
                <a:gd name="connsiteX41" fmla="*/ 543436 w 900266"/>
                <a:gd name="connsiteY41" fmla="*/ 24292 h 418727"/>
                <a:gd name="connsiteX42" fmla="*/ 542853 w 900266"/>
                <a:gd name="connsiteY42" fmla="*/ 26147 h 418727"/>
                <a:gd name="connsiteX43" fmla="*/ 542866 w 900266"/>
                <a:gd name="connsiteY43" fmla="*/ 28687 h 418727"/>
                <a:gd name="connsiteX44" fmla="*/ 542697 w 900266"/>
                <a:gd name="connsiteY44" fmla="*/ 31474 h 418727"/>
                <a:gd name="connsiteX45" fmla="*/ 540499 w 900266"/>
                <a:gd name="connsiteY45" fmla="*/ 34628 h 418727"/>
                <a:gd name="connsiteX46" fmla="*/ 541393 w 900266"/>
                <a:gd name="connsiteY46" fmla="*/ 36097 h 418727"/>
                <a:gd name="connsiteX47" fmla="*/ 546772 w 900266"/>
                <a:gd name="connsiteY47" fmla="*/ 37735 h 418727"/>
                <a:gd name="connsiteX48" fmla="*/ 554306 w 900266"/>
                <a:gd name="connsiteY48" fmla="*/ 37137 h 418727"/>
                <a:gd name="connsiteX49" fmla="*/ 558955 w 900266"/>
                <a:gd name="connsiteY49" fmla="*/ 35815 h 418727"/>
                <a:gd name="connsiteX50" fmla="*/ 561544 w 900266"/>
                <a:gd name="connsiteY50" fmla="*/ 36296 h 418727"/>
                <a:gd name="connsiteX51" fmla="*/ 562896 w 900266"/>
                <a:gd name="connsiteY51" fmla="*/ 35506 h 418727"/>
                <a:gd name="connsiteX52" fmla="*/ 563775 w 900266"/>
                <a:gd name="connsiteY52" fmla="*/ 33168 h 418727"/>
                <a:gd name="connsiteX53" fmla="*/ 565559 w 900266"/>
                <a:gd name="connsiteY53" fmla="*/ 32644 h 418727"/>
                <a:gd name="connsiteX54" fmla="*/ 567396 w 900266"/>
                <a:gd name="connsiteY54" fmla="*/ 34274 h 418727"/>
                <a:gd name="connsiteX55" fmla="*/ 568731 w 900266"/>
                <a:gd name="connsiteY55" fmla="*/ 37033 h 418727"/>
                <a:gd name="connsiteX56" fmla="*/ 570009 w 900266"/>
                <a:gd name="connsiteY56" fmla="*/ 38808 h 418727"/>
                <a:gd name="connsiteX57" fmla="*/ 569914 w 900266"/>
                <a:gd name="connsiteY57" fmla="*/ 40915 h 418727"/>
                <a:gd name="connsiteX58" fmla="*/ 570385 w 900266"/>
                <a:gd name="connsiteY58" fmla="*/ 43621 h 418727"/>
                <a:gd name="connsiteX59" fmla="*/ 571324 w 900266"/>
                <a:gd name="connsiteY59" fmla="*/ 44306 h 418727"/>
                <a:gd name="connsiteX60" fmla="*/ 573170 w 900266"/>
                <a:gd name="connsiteY60" fmla="*/ 43278 h 418727"/>
                <a:gd name="connsiteX61" fmla="*/ 574401 w 900266"/>
                <a:gd name="connsiteY61" fmla="*/ 42666 h 418727"/>
                <a:gd name="connsiteX62" fmla="*/ 574695 w 900266"/>
                <a:gd name="connsiteY62" fmla="*/ 41844 h 418727"/>
                <a:gd name="connsiteX63" fmla="*/ 574172 w 900266"/>
                <a:gd name="connsiteY63" fmla="*/ 40829 h 418727"/>
                <a:gd name="connsiteX64" fmla="*/ 573922 w 900266"/>
                <a:gd name="connsiteY64" fmla="*/ 39798 h 418727"/>
                <a:gd name="connsiteX65" fmla="*/ 574330 w 900266"/>
                <a:gd name="connsiteY65" fmla="*/ 38852 h 418727"/>
                <a:gd name="connsiteX66" fmla="*/ 575205 w 900266"/>
                <a:gd name="connsiteY66" fmla="*/ 38465 h 418727"/>
                <a:gd name="connsiteX67" fmla="*/ 577830 w 900266"/>
                <a:gd name="connsiteY67" fmla="*/ 38763 h 418727"/>
                <a:gd name="connsiteX68" fmla="*/ 581657 w 900266"/>
                <a:gd name="connsiteY68" fmla="*/ 39285 h 418727"/>
                <a:gd name="connsiteX69" fmla="*/ 586196 w 900266"/>
                <a:gd name="connsiteY69" fmla="*/ 43127 h 418727"/>
                <a:gd name="connsiteX70" fmla="*/ 588640 w 900266"/>
                <a:gd name="connsiteY70" fmla="*/ 43822 h 418727"/>
                <a:gd name="connsiteX71" fmla="*/ 589672 w 900266"/>
                <a:gd name="connsiteY71" fmla="*/ 43889 h 418727"/>
                <a:gd name="connsiteX72" fmla="*/ 591975 w 900266"/>
                <a:gd name="connsiteY72" fmla="*/ 43670 h 418727"/>
                <a:gd name="connsiteX73" fmla="*/ 594738 w 900266"/>
                <a:gd name="connsiteY73" fmla="*/ 42564 h 418727"/>
                <a:gd name="connsiteX74" fmla="*/ 596602 w 900266"/>
                <a:gd name="connsiteY74" fmla="*/ 41179 h 418727"/>
                <a:gd name="connsiteX75" fmla="*/ 597221 w 900266"/>
                <a:gd name="connsiteY75" fmla="*/ 40498 h 418727"/>
                <a:gd name="connsiteX76" fmla="*/ 598293 w 900266"/>
                <a:gd name="connsiteY76" fmla="*/ 40617 h 418727"/>
                <a:gd name="connsiteX77" fmla="*/ 599310 w 900266"/>
                <a:gd name="connsiteY77" fmla="*/ 41257 h 418727"/>
                <a:gd name="connsiteX78" fmla="*/ 599379 w 900266"/>
                <a:gd name="connsiteY78" fmla="*/ 42658 h 418727"/>
                <a:gd name="connsiteX79" fmla="*/ 598569 w 900266"/>
                <a:gd name="connsiteY79" fmla="*/ 44682 h 418727"/>
                <a:gd name="connsiteX80" fmla="*/ 595812 w 900266"/>
                <a:gd name="connsiteY80" fmla="*/ 46534 h 418727"/>
                <a:gd name="connsiteX81" fmla="*/ 592389 w 900266"/>
                <a:gd name="connsiteY81" fmla="*/ 48255 h 418727"/>
                <a:gd name="connsiteX82" fmla="*/ 590316 w 900266"/>
                <a:gd name="connsiteY82" fmla="*/ 51407 h 418727"/>
                <a:gd name="connsiteX83" fmla="*/ 589875 w 900266"/>
                <a:gd name="connsiteY83" fmla="*/ 54694 h 418727"/>
                <a:gd name="connsiteX84" fmla="*/ 590785 w 900266"/>
                <a:gd name="connsiteY84" fmla="*/ 56359 h 418727"/>
                <a:gd name="connsiteX85" fmla="*/ 591560 w 900266"/>
                <a:gd name="connsiteY85" fmla="*/ 57473 h 418727"/>
                <a:gd name="connsiteX86" fmla="*/ 591780 w 900266"/>
                <a:gd name="connsiteY86" fmla="*/ 59034 h 418727"/>
                <a:gd name="connsiteX87" fmla="*/ 592556 w 900266"/>
                <a:gd name="connsiteY87" fmla="*/ 59240 h 418727"/>
                <a:gd name="connsiteX88" fmla="*/ 593948 w 900266"/>
                <a:gd name="connsiteY88" fmla="*/ 58598 h 418727"/>
                <a:gd name="connsiteX89" fmla="*/ 597775 w 900266"/>
                <a:gd name="connsiteY89" fmla="*/ 55361 h 418727"/>
                <a:gd name="connsiteX90" fmla="*/ 599724 w 900266"/>
                <a:gd name="connsiteY90" fmla="*/ 54561 h 418727"/>
                <a:gd name="connsiteX91" fmla="*/ 602551 w 900266"/>
                <a:gd name="connsiteY91" fmla="*/ 54049 h 418727"/>
                <a:gd name="connsiteX92" fmla="*/ 607187 w 900266"/>
                <a:gd name="connsiteY92" fmla="*/ 54300 h 418727"/>
                <a:gd name="connsiteX93" fmla="*/ 610312 w 900266"/>
                <a:gd name="connsiteY93" fmla="*/ 55355 h 418727"/>
                <a:gd name="connsiteX94" fmla="*/ 611802 w 900266"/>
                <a:gd name="connsiteY94" fmla="*/ 56824 h 418727"/>
                <a:gd name="connsiteX95" fmla="*/ 613443 w 900266"/>
                <a:gd name="connsiteY95" fmla="*/ 58033 h 418727"/>
                <a:gd name="connsiteX96" fmla="*/ 614574 w 900266"/>
                <a:gd name="connsiteY96" fmla="*/ 57527 h 418727"/>
                <a:gd name="connsiteX97" fmla="*/ 615162 w 900266"/>
                <a:gd name="connsiteY97" fmla="*/ 56131 h 418727"/>
                <a:gd name="connsiteX98" fmla="*/ 615187 w 900266"/>
                <a:gd name="connsiteY98" fmla="*/ 54533 h 418727"/>
                <a:gd name="connsiteX99" fmla="*/ 615663 w 900266"/>
                <a:gd name="connsiteY99" fmla="*/ 53218 h 418727"/>
                <a:gd name="connsiteX100" fmla="*/ 620738 w 900266"/>
                <a:gd name="connsiteY100" fmla="*/ 49981 h 418727"/>
                <a:gd name="connsiteX101" fmla="*/ 624115 w 900266"/>
                <a:gd name="connsiteY101" fmla="*/ 47825 h 418727"/>
                <a:gd name="connsiteX102" fmla="*/ 625279 w 900266"/>
                <a:gd name="connsiteY102" fmla="*/ 47572 h 418727"/>
                <a:gd name="connsiteX103" fmla="*/ 627537 w 900266"/>
                <a:gd name="connsiteY103" fmla="*/ 48020 h 418727"/>
                <a:gd name="connsiteX104" fmla="*/ 628934 w 900266"/>
                <a:gd name="connsiteY104" fmla="*/ 47794 h 418727"/>
                <a:gd name="connsiteX105" fmla="*/ 632651 w 900266"/>
                <a:gd name="connsiteY105" fmla="*/ 45762 h 418727"/>
                <a:gd name="connsiteX106" fmla="*/ 636119 w 900266"/>
                <a:gd name="connsiteY106" fmla="*/ 43450 h 418727"/>
                <a:gd name="connsiteX107" fmla="*/ 636457 w 900266"/>
                <a:gd name="connsiteY107" fmla="*/ 41884 h 418727"/>
                <a:gd name="connsiteX108" fmla="*/ 636585 w 900266"/>
                <a:gd name="connsiteY108" fmla="*/ 40464 h 418727"/>
                <a:gd name="connsiteX109" fmla="*/ 637449 w 900266"/>
                <a:gd name="connsiteY109" fmla="*/ 39822 h 418727"/>
                <a:gd name="connsiteX110" fmla="*/ 642305 w 900266"/>
                <a:gd name="connsiteY110" fmla="*/ 39325 h 418727"/>
                <a:gd name="connsiteX111" fmla="*/ 643102 w 900266"/>
                <a:gd name="connsiteY111" fmla="*/ 39058 h 418727"/>
                <a:gd name="connsiteX112" fmla="*/ 647254 w 900266"/>
                <a:gd name="connsiteY112" fmla="*/ 37442 h 418727"/>
                <a:gd name="connsiteX113" fmla="*/ 653001 w 900266"/>
                <a:gd name="connsiteY113" fmla="*/ 34687 h 418727"/>
                <a:gd name="connsiteX114" fmla="*/ 655788 w 900266"/>
                <a:gd name="connsiteY114" fmla="*/ 33061 h 418727"/>
                <a:gd name="connsiteX115" fmla="*/ 660871 w 900266"/>
                <a:gd name="connsiteY115" fmla="*/ 32338 h 418727"/>
                <a:gd name="connsiteX116" fmla="*/ 661815 w 900266"/>
                <a:gd name="connsiteY116" fmla="*/ 31869 h 418727"/>
                <a:gd name="connsiteX117" fmla="*/ 663504 w 900266"/>
                <a:gd name="connsiteY117" fmla="*/ 30771 h 418727"/>
                <a:gd name="connsiteX118" fmla="*/ 666685 w 900266"/>
                <a:gd name="connsiteY118" fmla="*/ 29253 h 418727"/>
                <a:gd name="connsiteX119" fmla="*/ 668408 w 900266"/>
                <a:gd name="connsiteY119" fmla="*/ 29085 h 418727"/>
                <a:gd name="connsiteX120" fmla="*/ 667339 w 900266"/>
                <a:gd name="connsiteY120" fmla="*/ 32759 h 418727"/>
                <a:gd name="connsiteX121" fmla="*/ 665439 w 900266"/>
                <a:gd name="connsiteY121" fmla="*/ 37001 h 418727"/>
                <a:gd name="connsiteX122" fmla="*/ 664368 w 900266"/>
                <a:gd name="connsiteY122" fmla="*/ 38133 h 418727"/>
                <a:gd name="connsiteX123" fmla="*/ 659218 w 900266"/>
                <a:gd name="connsiteY123" fmla="*/ 37943 h 418727"/>
                <a:gd name="connsiteX124" fmla="*/ 659226 w 900266"/>
                <a:gd name="connsiteY124" fmla="*/ 39097 h 418727"/>
                <a:gd name="connsiteX125" fmla="*/ 660034 w 900266"/>
                <a:gd name="connsiteY125" fmla="*/ 40866 h 418727"/>
                <a:gd name="connsiteX126" fmla="*/ 660613 w 900266"/>
                <a:gd name="connsiteY126" fmla="*/ 41859 h 418727"/>
                <a:gd name="connsiteX127" fmla="*/ 661239 w 900266"/>
                <a:gd name="connsiteY127" fmla="*/ 42749 h 418727"/>
                <a:gd name="connsiteX128" fmla="*/ 662623 w 900266"/>
                <a:gd name="connsiteY128" fmla="*/ 44286 h 418727"/>
                <a:gd name="connsiteX129" fmla="*/ 668041 w 900266"/>
                <a:gd name="connsiteY129" fmla="*/ 47916 h 418727"/>
                <a:gd name="connsiteX130" fmla="*/ 674934 w 900266"/>
                <a:gd name="connsiteY130" fmla="*/ 52528 h 418727"/>
                <a:gd name="connsiteX131" fmla="*/ 682381 w 900266"/>
                <a:gd name="connsiteY131" fmla="*/ 57697 h 418727"/>
                <a:gd name="connsiteX132" fmla="*/ 687581 w 900266"/>
                <a:gd name="connsiteY132" fmla="*/ 61300 h 418727"/>
                <a:gd name="connsiteX133" fmla="*/ 689682 w 900266"/>
                <a:gd name="connsiteY133" fmla="*/ 63156 h 418727"/>
                <a:gd name="connsiteX134" fmla="*/ 691021 w 900266"/>
                <a:gd name="connsiteY134" fmla="*/ 64606 h 418727"/>
                <a:gd name="connsiteX135" fmla="*/ 694858 w 900266"/>
                <a:gd name="connsiteY135" fmla="*/ 69835 h 418727"/>
                <a:gd name="connsiteX136" fmla="*/ 698497 w 900266"/>
                <a:gd name="connsiteY136" fmla="*/ 74785 h 418727"/>
                <a:gd name="connsiteX137" fmla="*/ 704632 w 900266"/>
                <a:gd name="connsiteY137" fmla="*/ 83482 h 418727"/>
                <a:gd name="connsiteX138" fmla="*/ 710071 w 900266"/>
                <a:gd name="connsiteY138" fmla="*/ 91855 h 418727"/>
                <a:gd name="connsiteX139" fmla="*/ 716055 w 900266"/>
                <a:gd name="connsiteY139" fmla="*/ 101033 h 418727"/>
                <a:gd name="connsiteX140" fmla="*/ 719518 w 900266"/>
                <a:gd name="connsiteY140" fmla="*/ 106332 h 418727"/>
                <a:gd name="connsiteX141" fmla="*/ 726597 w 900266"/>
                <a:gd name="connsiteY141" fmla="*/ 117377 h 418727"/>
                <a:gd name="connsiteX142" fmla="*/ 728486 w 900266"/>
                <a:gd name="connsiteY142" fmla="*/ 120758 h 418727"/>
                <a:gd name="connsiteX143" fmla="*/ 732071 w 900266"/>
                <a:gd name="connsiteY143" fmla="*/ 127146 h 418727"/>
                <a:gd name="connsiteX144" fmla="*/ 735239 w 900266"/>
                <a:gd name="connsiteY144" fmla="*/ 133125 h 418727"/>
                <a:gd name="connsiteX145" fmla="*/ 738037 w 900266"/>
                <a:gd name="connsiteY145" fmla="*/ 138401 h 418727"/>
                <a:gd name="connsiteX146" fmla="*/ 739799 w 900266"/>
                <a:gd name="connsiteY146" fmla="*/ 138877 h 418727"/>
                <a:gd name="connsiteX147" fmla="*/ 739935 w 900266"/>
                <a:gd name="connsiteY147" fmla="*/ 137448 h 418727"/>
                <a:gd name="connsiteX148" fmla="*/ 740251 w 900266"/>
                <a:gd name="connsiteY148" fmla="*/ 136494 h 418727"/>
                <a:gd name="connsiteX149" fmla="*/ 741155 w 900266"/>
                <a:gd name="connsiteY149" fmla="*/ 135959 h 418727"/>
                <a:gd name="connsiteX150" fmla="*/ 743211 w 900266"/>
                <a:gd name="connsiteY150" fmla="*/ 134401 h 418727"/>
                <a:gd name="connsiteX151" fmla="*/ 744321 w 900266"/>
                <a:gd name="connsiteY151" fmla="*/ 134026 h 418727"/>
                <a:gd name="connsiteX152" fmla="*/ 745975 w 900266"/>
                <a:gd name="connsiteY152" fmla="*/ 134187 h 418727"/>
                <a:gd name="connsiteX153" fmla="*/ 747709 w 900266"/>
                <a:gd name="connsiteY153" fmla="*/ 133393 h 418727"/>
                <a:gd name="connsiteX154" fmla="*/ 748342 w 900266"/>
                <a:gd name="connsiteY154" fmla="*/ 131894 h 418727"/>
                <a:gd name="connsiteX155" fmla="*/ 747929 w 900266"/>
                <a:gd name="connsiteY155" fmla="*/ 129117 h 418727"/>
                <a:gd name="connsiteX156" fmla="*/ 747662 w 900266"/>
                <a:gd name="connsiteY156" fmla="*/ 127838 h 418727"/>
                <a:gd name="connsiteX157" fmla="*/ 748249 w 900266"/>
                <a:gd name="connsiteY157" fmla="*/ 126463 h 418727"/>
                <a:gd name="connsiteX158" fmla="*/ 749199 w 900266"/>
                <a:gd name="connsiteY158" fmla="*/ 125924 h 418727"/>
                <a:gd name="connsiteX159" fmla="*/ 750519 w 900266"/>
                <a:gd name="connsiteY159" fmla="*/ 125489 h 418727"/>
                <a:gd name="connsiteX160" fmla="*/ 751730 w 900266"/>
                <a:gd name="connsiteY160" fmla="*/ 125266 h 418727"/>
                <a:gd name="connsiteX161" fmla="*/ 752726 w 900266"/>
                <a:gd name="connsiteY161" fmla="*/ 123710 h 418727"/>
                <a:gd name="connsiteX162" fmla="*/ 754600 w 900266"/>
                <a:gd name="connsiteY162" fmla="*/ 123239 h 418727"/>
                <a:gd name="connsiteX163" fmla="*/ 756321 w 900266"/>
                <a:gd name="connsiteY163" fmla="*/ 123529 h 418727"/>
                <a:gd name="connsiteX164" fmla="*/ 757742 w 900266"/>
                <a:gd name="connsiteY164" fmla="*/ 123590 h 418727"/>
                <a:gd name="connsiteX165" fmla="*/ 758997 w 900266"/>
                <a:gd name="connsiteY165" fmla="*/ 124723 h 418727"/>
                <a:gd name="connsiteX166" fmla="*/ 759694 w 900266"/>
                <a:gd name="connsiteY166" fmla="*/ 126274 h 418727"/>
                <a:gd name="connsiteX167" fmla="*/ 761046 w 900266"/>
                <a:gd name="connsiteY167" fmla="*/ 126394 h 418727"/>
                <a:gd name="connsiteX168" fmla="*/ 763268 w 900266"/>
                <a:gd name="connsiteY168" fmla="*/ 126237 h 418727"/>
                <a:gd name="connsiteX169" fmla="*/ 763572 w 900266"/>
                <a:gd name="connsiteY169" fmla="*/ 127539 h 418727"/>
                <a:gd name="connsiteX170" fmla="*/ 762939 w 900266"/>
                <a:gd name="connsiteY170" fmla="*/ 129710 h 418727"/>
                <a:gd name="connsiteX171" fmla="*/ 762168 w 900266"/>
                <a:gd name="connsiteY171" fmla="*/ 131388 h 418727"/>
                <a:gd name="connsiteX172" fmla="*/ 762035 w 900266"/>
                <a:gd name="connsiteY172" fmla="*/ 132737 h 418727"/>
                <a:gd name="connsiteX173" fmla="*/ 763209 w 900266"/>
                <a:gd name="connsiteY173" fmla="*/ 133393 h 418727"/>
                <a:gd name="connsiteX174" fmla="*/ 767511 w 900266"/>
                <a:gd name="connsiteY174" fmla="*/ 132806 h 418727"/>
                <a:gd name="connsiteX175" fmla="*/ 769040 w 900266"/>
                <a:gd name="connsiteY175" fmla="*/ 133095 h 418727"/>
                <a:gd name="connsiteX176" fmla="*/ 769523 w 900266"/>
                <a:gd name="connsiteY176" fmla="*/ 134459 h 418727"/>
                <a:gd name="connsiteX177" fmla="*/ 770132 w 900266"/>
                <a:gd name="connsiteY177" fmla="*/ 135588 h 418727"/>
                <a:gd name="connsiteX178" fmla="*/ 770439 w 900266"/>
                <a:gd name="connsiteY178" fmla="*/ 136969 h 418727"/>
                <a:gd name="connsiteX179" fmla="*/ 769994 w 900266"/>
                <a:gd name="connsiteY179" fmla="*/ 138501 h 418727"/>
                <a:gd name="connsiteX180" fmla="*/ 770756 w 900266"/>
                <a:gd name="connsiteY180" fmla="*/ 139412 h 418727"/>
                <a:gd name="connsiteX181" fmla="*/ 774470 w 900266"/>
                <a:gd name="connsiteY181" fmla="*/ 139433 h 418727"/>
                <a:gd name="connsiteX182" fmla="*/ 777083 w 900266"/>
                <a:gd name="connsiteY182" fmla="*/ 138697 h 418727"/>
                <a:gd name="connsiteX183" fmla="*/ 781100 w 900266"/>
                <a:gd name="connsiteY183" fmla="*/ 138640 h 418727"/>
                <a:gd name="connsiteX184" fmla="*/ 784734 w 900266"/>
                <a:gd name="connsiteY184" fmla="*/ 140256 h 418727"/>
                <a:gd name="connsiteX185" fmla="*/ 787252 w 900266"/>
                <a:gd name="connsiteY185" fmla="*/ 140006 h 418727"/>
                <a:gd name="connsiteX186" fmla="*/ 789783 w 900266"/>
                <a:gd name="connsiteY186" fmla="*/ 139352 h 418727"/>
                <a:gd name="connsiteX187" fmla="*/ 793488 w 900266"/>
                <a:gd name="connsiteY187" fmla="*/ 139769 h 418727"/>
                <a:gd name="connsiteX188" fmla="*/ 796092 w 900266"/>
                <a:gd name="connsiteY188" fmla="*/ 138490 h 418727"/>
                <a:gd name="connsiteX189" fmla="*/ 797889 w 900266"/>
                <a:gd name="connsiteY189" fmla="*/ 136893 h 418727"/>
                <a:gd name="connsiteX190" fmla="*/ 798455 w 900266"/>
                <a:gd name="connsiteY190" fmla="*/ 135634 h 418727"/>
                <a:gd name="connsiteX191" fmla="*/ 799390 w 900266"/>
                <a:gd name="connsiteY191" fmla="*/ 134938 h 418727"/>
                <a:gd name="connsiteX192" fmla="*/ 802888 w 900266"/>
                <a:gd name="connsiteY192" fmla="*/ 134945 h 418727"/>
                <a:gd name="connsiteX193" fmla="*/ 805104 w 900266"/>
                <a:gd name="connsiteY193" fmla="*/ 134824 h 418727"/>
                <a:gd name="connsiteX194" fmla="*/ 806730 w 900266"/>
                <a:gd name="connsiteY194" fmla="*/ 132975 h 418727"/>
                <a:gd name="connsiteX195" fmla="*/ 808222 w 900266"/>
                <a:gd name="connsiteY195" fmla="*/ 132140 h 418727"/>
                <a:gd name="connsiteX196" fmla="*/ 810731 w 900266"/>
                <a:gd name="connsiteY196" fmla="*/ 131983 h 418727"/>
                <a:gd name="connsiteX197" fmla="*/ 812579 w 900266"/>
                <a:gd name="connsiteY197" fmla="*/ 131983 h 418727"/>
                <a:gd name="connsiteX198" fmla="*/ 817535 w 900266"/>
                <a:gd name="connsiteY198" fmla="*/ 133701 h 418727"/>
                <a:gd name="connsiteX199" fmla="*/ 820550 w 900266"/>
                <a:gd name="connsiteY199" fmla="*/ 135119 h 418727"/>
                <a:gd name="connsiteX200" fmla="*/ 823689 w 900266"/>
                <a:gd name="connsiteY200" fmla="*/ 137135 h 418727"/>
                <a:gd name="connsiteX201" fmla="*/ 825577 w 900266"/>
                <a:gd name="connsiteY201" fmla="*/ 138398 h 418727"/>
                <a:gd name="connsiteX202" fmla="*/ 826842 w 900266"/>
                <a:gd name="connsiteY202" fmla="*/ 141245 h 418727"/>
                <a:gd name="connsiteX203" fmla="*/ 828986 w 900266"/>
                <a:gd name="connsiteY203" fmla="*/ 143343 h 418727"/>
                <a:gd name="connsiteX204" fmla="*/ 830682 w 900266"/>
                <a:gd name="connsiteY204" fmla="*/ 145789 h 418727"/>
                <a:gd name="connsiteX205" fmla="*/ 831092 w 900266"/>
                <a:gd name="connsiteY205" fmla="*/ 148201 h 418727"/>
                <a:gd name="connsiteX206" fmla="*/ 832491 w 900266"/>
                <a:gd name="connsiteY206" fmla="*/ 152527 h 418727"/>
                <a:gd name="connsiteX207" fmla="*/ 833938 w 900266"/>
                <a:gd name="connsiteY207" fmla="*/ 153948 h 418727"/>
                <a:gd name="connsiteX208" fmla="*/ 835657 w 900266"/>
                <a:gd name="connsiteY208" fmla="*/ 153948 h 418727"/>
                <a:gd name="connsiteX209" fmla="*/ 837825 w 900266"/>
                <a:gd name="connsiteY209" fmla="*/ 154539 h 418727"/>
                <a:gd name="connsiteX210" fmla="*/ 840219 w 900266"/>
                <a:gd name="connsiteY210" fmla="*/ 155012 h 418727"/>
                <a:gd name="connsiteX211" fmla="*/ 845342 w 900266"/>
                <a:gd name="connsiteY211" fmla="*/ 158224 h 418727"/>
                <a:gd name="connsiteX212" fmla="*/ 847223 w 900266"/>
                <a:gd name="connsiteY212" fmla="*/ 158320 h 418727"/>
                <a:gd name="connsiteX213" fmla="*/ 848669 w 900266"/>
                <a:gd name="connsiteY213" fmla="*/ 159088 h 418727"/>
                <a:gd name="connsiteX214" fmla="*/ 848896 w 900266"/>
                <a:gd name="connsiteY214" fmla="*/ 160564 h 418727"/>
                <a:gd name="connsiteX215" fmla="*/ 848354 w 900266"/>
                <a:gd name="connsiteY215" fmla="*/ 162273 h 418727"/>
                <a:gd name="connsiteX216" fmla="*/ 848920 w 900266"/>
                <a:gd name="connsiteY216" fmla="*/ 163915 h 418727"/>
                <a:gd name="connsiteX217" fmla="*/ 850593 w 900266"/>
                <a:gd name="connsiteY217" fmla="*/ 166004 h 418727"/>
                <a:gd name="connsiteX218" fmla="*/ 851921 w 900266"/>
                <a:gd name="connsiteY218" fmla="*/ 168046 h 418727"/>
                <a:gd name="connsiteX219" fmla="*/ 853550 w 900266"/>
                <a:gd name="connsiteY219" fmla="*/ 170517 h 418727"/>
                <a:gd name="connsiteX220" fmla="*/ 854046 w 900266"/>
                <a:gd name="connsiteY220" fmla="*/ 171926 h 418727"/>
                <a:gd name="connsiteX221" fmla="*/ 855357 w 900266"/>
                <a:gd name="connsiteY221" fmla="*/ 172396 h 418727"/>
                <a:gd name="connsiteX222" fmla="*/ 857119 w 900266"/>
                <a:gd name="connsiteY222" fmla="*/ 171693 h 418727"/>
                <a:gd name="connsiteX223" fmla="*/ 859924 w 900266"/>
                <a:gd name="connsiteY223" fmla="*/ 172226 h 418727"/>
                <a:gd name="connsiteX224" fmla="*/ 868372 w 900266"/>
                <a:gd name="connsiteY224" fmla="*/ 173629 h 418727"/>
                <a:gd name="connsiteX225" fmla="*/ 869546 w 900266"/>
                <a:gd name="connsiteY225" fmla="*/ 173804 h 418727"/>
                <a:gd name="connsiteX226" fmla="*/ 870449 w 900266"/>
                <a:gd name="connsiteY226" fmla="*/ 175272 h 418727"/>
                <a:gd name="connsiteX227" fmla="*/ 871669 w 900266"/>
                <a:gd name="connsiteY227" fmla="*/ 175154 h 418727"/>
                <a:gd name="connsiteX228" fmla="*/ 873070 w 900266"/>
                <a:gd name="connsiteY228" fmla="*/ 175095 h 418727"/>
                <a:gd name="connsiteX229" fmla="*/ 875014 w 900266"/>
                <a:gd name="connsiteY229" fmla="*/ 175272 h 418727"/>
                <a:gd name="connsiteX230" fmla="*/ 876370 w 900266"/>
                <a:gd name="connsiteY230" fmla="*/ 173922 h 418727"/>
                <a:gd name="connsiteX231" fmla="*/ 877480 w 900266"/>
                <a:gd name="connsiteY231" fmla="*/ 172740 h 418727"/>
                <a:gd name="connsiteX232" fmla="*/ 880257 w 900266"/>
                <a:gd name="connsiteY232" fmla="*/ 171275 h 418727"/>
                <a:gd name="connsiteX233" fmla="*/ 882563 w 900266"/>
                <a:gd name="connsiteY233" fmla="*/ 169283 h 418727"/>
                <a:gd name="connsiteX234" fmla="*/ 884506 w 900266"/>
                <a:gd name="connsiteY234" fmla="*/ 167516 h 418727"/>
                <a:gd name="connsiteX235" fmla="*/ 885951 w 900266"/>
                <a:gd name="connsiteY235" fmla="*/ 167282 h 418727"/>
                <a:gd name="connsiteX236" fmla="*/ 887128 w 900266"/>
                <a:gd name="connsiteY236" fmla="*/ 168105 h 418727"/>
                <a:gd name="connsiteX237" fmla="*/ 887171 w 900266"/>
                <a:gd name="connsiteY237" fmla="*/ 169634 h 418727"/>
                <a:gd name="connsiteX238" fmla="*/ 885726 w 900266"/>
                <a:gd name="connsiteY238" fmla="*/ 170751 h 418727"/>
                <a:gd name="connsiteX239" fmla="*/ 884597 w 900266"/>
                <a:gd name="connsiteY239" fmla="*/ 172101 h 418727"/>
                <a:gd name="connsiteX240" fmla="*/ 884867 w 900266"/>
                <a:gd name="connsiteY240" fmla="*/ 173452 h 418727"/>
                <a:gd name="connsiteX241" fmla="*/ 886810 w 900266"/>
                <a:gd name="connsiteY241" fmla="*/ 173570 h 418727"/>
                <a:gd name="connsiteX242" fmla="*/ 888972 w 900266"/>
                <a:gd name="connsiteY242" fmla="*/ 175599 h 418727"/>
                <a:gd name="connsiteX243" fmla="*/ 892086 w 900266"/>
                <a:gd name="connsiteY243" fmla="*/ 180353 h 418727"/>
                <a:gd name="connsiteX244" fmla="*/ 893148 w 900266"/>
                <a:gd name="connsiteY244" fmla="*/ 181348 h 418727"/>
                <a:gd name="connsiteX245" fmla="*/ 894688 w 900266"/>
                <a:gd name="connsiteY245" fmla="*/ 182285 h 418727"/>
                <a:gd name="connsiteX246" fmla="*/ 896400 w 900266"/>
                <a:gd name="connsiteY246" fmla="*/ 182708 h 418727"/>
                <a:gd name="connsiteX247" fmla="*/ 898294 w 900266"/>
                <a:gd name="connsiteY247" fmla="*/ 183384 h 418727"/>
                <a:gd name="connsiteX248" fmla="*/ 899691 w 900266"/>
                <a:gd name="connsiteY248" fmla="*/ 185343 h 418727"/>
                <a:gd name="connsiteX249" fmla="*/ 900266 w 900266"/>
                <a:gd name="connsiteY249" fmla="*/ 187111 h 418727"/>
                <a:gd name="connsiteX250" fmla="*/ 898212 w 900266"/>
                <a:gd name="connsiteY250" fmla="*/ 186537 h 418727"/>
                <a:gd name="connsiteX251" fmla="*/ 894200 w 900266"/>
                <a:gd name="connsiteY251" fmla="*/ 186421 h 418727"/>
                <a:gd name="connsiteX252" fmla="*/ 891755 w 900266"/>
                <a:gd name="connsiteY252" fmla="*/ 186775 h 418727"/>
                <a:gd name="connsiteX253" fmla="*/ 890604 w 900266"/>
                <a:gd name="connsiteY253" fmla="*/ 186974 h 418727"/>
                <a:gd name="connsiteX254" fmla="*/ 888888 w 900266"/>
                <a:gd name="connsiteY254" fmla="*/ 188141 h 418727"/>
                <a:gd name="connsiteX255" fmla="*/ 887668 w 900266"/>
                <a:gd name="connsiteY255" fmla="*/ 189308 h 418727"/>
                <a:gd name="connsiteX256" fmla="*/ 887126 w 900266"/>
                <a:gd name="connsiteY256" fmla="*/ 191290 h 418727"/>
                <a:gd name="connsiteX257" fmla="*/ 887771 w 900266"/>
                <a:gd name="connsiteY257" fmla="*/ 193530 h 418727"/>
                <a:gd name="connsiteX258" fmla="*/ 886890 w 900266"/>
                <a:gd name="connsiteY258" fmla="*/ 198186 h 418727"/>
                <a:gd name="connsiteX259" fmla="*/ 885692 w 900266"/>
                <a:gd name="connsiteY259" fmla="*/ 199938 h 418727"/>
                <a:gd name="connsiteX260" fmla="*/ 883163 w 900266"/>
                <a:gd name="connsiteY260" fmla="*/ 202974 h 418727"/>
                <a:gd name="connsiteX261" fmla="*/ 881701 w 900266"/>
                <a:gd name="connsiteY261" fmla="*/ 203634 h 418727"/>
                <a:gd name="connsiteX262" fmla="*/ 879252 w 900266"/>
                <a:gd name="connsiteY262" fmla="*/ 204177 h 418727"/>
                <a:gd name="connsiteX263" fmla="*/ 876888 w 900266"/>
                <a:gd name="connsiteY263" fmla="*/ 205076 h 418727"/>
                <a:gd name="connsiteX264" fmla="*/ 872256 w 900266"/>
                <a:gd name="connsiteY264" fmla="*/ 205949 h 418727"/>
                <a:gd name="connsiteX265" fmla="*/ 867253 w 900266"/>
                <a:gd name="connsiteY265" fmla="*/ 206393 h 418727"/>
                <a:gd name="connsiteX266" fmla="*/ 865473 w 900266"/>
                <a:gd name="connsiteY266" fmla="*/ 207045 h 418727"/>
                <a:gd name="connsiteX267" fmla="*/ 864208 w 900266"/>
                <a:gd name="connsiteY267" fmla="*/ 209120 h 418727"/>
                <a:gd name="connsiteX268" fmla="*/ 863310 w 900266"/>
                <a:gd name="connsiteY268" fmla="*/ 210854 h 418727"/>
                <a:gd name="connsiteX269" fmla="*/ 862753 w 900266"/>
                <a:gd name="connsiteY269" fmla="*/ 212171 h 418727"/>
                <a:gd name="connsiteX270" fmla="*/ 861336 w 900266"/>
                <a:gd name="connsiteY270" fmla="*/ 216470 h 418727"/>
                <a:gd name="connsiteX271" fmla="*/ 860533 w 900266"/>
                <a:gd name="connsiteY271" fmla="*/ 220313 h 418727"/>
                <a:gd name="connsiteX272" fmla="*/ 861321 w 900266"/>
                <a:gd name="connsiteY272" fmla="*/ 225076 h 418727"/>
                <a:gd name="connsiteX273" fmla="*/ 861910 w 900266"/>
                <a:gd name="connsiteY273" fmla="*/ 230360 h 418727"/>
                <a:gd name="connsiteX274" fmla="*/ 861874 w 900266"/>
                <a:gd name="connsiteY274" fmla="*/ 232180 h 418727"/>
                <a:gd name="connsiteX275" fmla="*/ 863094 w 900266"/>
                <a:gd name="connsiteY275" fmla="*/ 234879 h 418727"/>
                <a:gd name="connsiteX276" fmla="*/ 863713 w 900266"/>
                <a:gd name="connsiteY276" fmla="*/ 236533 h 418727"/>
                <a:gd name="connsiteX277" fmla="*/ 863422 w 900266"/>
                <a:gd name="connsiteY277" fmla="*/ 238878 h 418727"/>
                <a:gd name="connsiteX278" fmla="*/ 861667 w 900266"/>
                <a:gd name="connsiteY278" fmla="*/ 240729 h 418727"/>
                <a:gd name="connsiteX279" fmla="*/ 860615 w 900266"/>
                <a:gd name="connsiteY279" fmla="*/ 243180 h 418727"/>
                <a:gd name="connsiteX280" fmla="*/ 859621 w 900266"/>
                <a:gd name="connsiteY280" fmla="*/ 244221 h 418727"/>
                <a:gd name="connsiteX281" fmla="*/ 856760 w 900266"/>
                <a:gd name="connsiteY281" fmla="*/ 244690 h 418727"/>
                <a:gd name="connsiteX282" fmla="*/ 854066 w 900266"/>
                <a:gd name="connsiteY282" fmla="*/ 244979 h 418727"/>
                <a:gd name="connsiteX283" fmla="*/ 851347 w 900266"/>
                <a:gd name="connsiteY283" fmla="*/ 247076 h 418727"/>
                <a:gd name="connsiteX284" fmla="*/ 849172 w 900266"/>
                <a:gd name="connsiteY284" fmla="*/ 248527 h 418727"/>
                <a:gd name="connsiteX285" fmla="*/ 845767 w 900266"/>
                <a:gd name="connsiteY285" fmla="*/ 250368 h 418727"/>
                <a:gd name="connsiteX286" fmla="*/ 844173 w 900266"/>
                <a:gd name="connsiteY286" fmla="*/ 250715 h 418727"/>
                <a:gd name="connsiteX287" fmla="*/ 843286 w 900266"/>
                <a:gd name="connsiteY287" fmla="*/ 249777 h 418727"/>
                <a:gd name="connsiteX288" fmla="*/ 842701 w 900266"/>
                <a:gd name="connsiteY288" fmla="*/ 247686 h 418727"/>
                <a:gd name="connsiteX289" fmla="*/ 841530 w 900266"/>
                <a:gd name="connsiteY289" fmla="*/ 246765 h 418727"/>
                <a:gd name="connsiteX290" fmla="*/ 839887 w 900266"/>
                <a:gd name="connsiteY290" fmla="*/ 246693 h 418727"/>
                <a:gd name="connsiteX291" fmla="*/ 838563 w 900266"/>
                <a:gd name="connsiteY291" fmla="*/ 246670 h 418727"/>
                <a:gd name="connsiteX292" fmla="*/ 834283 w 900266"/>
                <a:gd name="connsiteY292" fmla="*/ 246102 h 418727"/>
                <a:gd name="connsiteX293" fmla="*/ 831548 w 900266"/>
                <a:gd name="connsiteY293" fmla="*/ 246141 h 418727"/>
                <a:gd name="connsiteX294" fmla="*/ 829489 w 900266"/>
                <a:gd name="connsiteY294" fmla="*/ 246591 h 418727"/>
                <a:gd name="connsiteX295" fmla="*/ 827144 w 900266"/>
                <a:gd name="connsiteY295" fmla="*/ 246817 h 418727"/>
                <a:gd name="connsiteX296" fmla="*/ 823089 w 900266"/>
                <a:gd name="connsiteY296" fmla="*/ 246054 h 418727"/>
                <a:gd name="connsiteX297" fmla="*/ 820466 w 900266"/>
                <a:gd name="connsiteY297" fmla="*/ 245407 h 418727"/>
                <a:gd name="connsiteX298" fmla="*/ 818699 w 900266"/>
                <a:gd name="connsiteY298" fmla="*/ 244788 h 418727"/>
                <a:gd name="connsiteX299" fmla="*/ 814486 w 900266"/>
                <a:gd name="connsiteY299" fmla="*/ 242961 h 418727"/>
                <a:gd name="connsiteX300" fmla="*/ 808947 w 900266"/>
                <a:gd name="connsiteY300" fmla="*/ 240782 h 418727"/>
                <a:gd name="connsiteX301" fmla="*/ 806675 w 900266"/>
                <a:gd name="connsiteY301" fmla="*/ 240145 h 418727"/>
                <a:gd name="connsiteX302" fmla="*/ 805330 w 900266"/>
                <a:gd name="connsiteY302" fmla="*/ 240800 h 418727"/>
                <a:gd name="connsiteX303" fmla="*/ 805123 w 900266"/>
                <a:gd name="connsiteY303" fmla="*/ 242044 h 418727"/>
                <a:gd name="connsiteX304" fmla="*/ 804769 w 900266"/>
                <a:gd name="connsiteY304" fmla="*/ 245059 h 418727"/>
                <a:gd name="connsiteX305" fmla="*/ 804123 w 900266"/>
                <a:gd name="connsiteY305" fmla="*/ 246943 h 418727"/>
                <a:gd name="connsiteX306" fmla="*/ 800256 w 900266"/>
                <a:gd name="connsiteY306" fmla="*/ 256454 h 418727"/>
                <a:gd name="connsiteX307" fmla="*/ 797872 w 900266"/>
                <a:gd name="connsiteY307" fmla="*/ 263056 h 418727"/>
                <a:gd name="connsiteX308" fmla="*/ 794840 w 900266"/>
                <a:gd name="connsiteY308" fmla="*/ 269369 h 418727"/>
                <a:gd name="connsiteX309" fmla="*/ 793881 w 900266"/>
                <a:gd name="connsiteY309" fmla="*/ 273595 h 418727"/>
                <a:gd name="connsiteX310" fmla="*/ 792067 w 900266"/>
                <a:gd name="connsiteY310" fmla="*/ 278944 h 418727"/>
                <a:gd name="connsiteX311" fmla="*/ 790264 w 900266"/>
                <a:gd name="connsiteY311" fmla="*/ 282811 h 418727"/>
                <a:gd name="connsiteX312" fmla="*/ 789537 w 900266"/>
                <a:gd name="connsiteY312" fmla="*/ 284918 h 418727"/>
                <a:gd name="connsiteX313" fmla="*/ 789469 w 900266"/>
                <a:gd name="connsiteY313" fmla="*/ 285776 h 418727"/>
                <a:gd name="connsiteX314" fmla="*/ 789789 w 900266"/>
                <a:gd name="connsiteY314" fmla="*/ 286980 h 418727"/>
                <a:gd name="connsiteX315" fmla="*/ 792553 w 900266"/>
                <a:gd name="connsiteY315" fmla="*/ 288297 h 418727"/>
                <a:gd name="connsiteX316" fmla="*/ 795447 w 900266"/>
                <a:gd name="connsiteY316" fmla="*/ 289104 h 418727"/>
                <a:gd name="connsiteX317" fmla="*/ 796090 w 900266"/>
                <a:gd name="connsiteY317" fmla="*/ 289607 h 418727"/>
                <a:gd name="connsiteX318" fmla="*/ 796403 w 900266"/>
                <a:gd name="connsiteY318" fmla="*/ 290975 h 418727"/>
                <a:gd name="connsiteX319" fmla="*/ 796300 w 900266"/>
                <a:gd name="connsiteY319" fmla="*/ 293204 h 418727"/>
                <a:gd name="connsiteX320" fmla="*/ 795766 w 900266"/>
                <a:gd name="connsiteY320" fmla="*/ 295319 h 418727"/>
                <a:gd name="connsiteX321" fmla="*/ 794926 w 900266"/>
                <a:gd name="connsiteY321" fmla="*/ 296977 h 418727"/>
                <a:gd name="connsiteX322" fmla="*/ 794097 w 900266"/>
                <a:gd name="connsiteY322" fmla="*/ 297796 h 418727"/>
                <a:gd name="connsiteX323" fmla="*/ 793151 w 900266"/>
                <a:gd name="connsiteY323" fmla="*/ 297848 h 418727"/>
                <a:gd name="connsiteX324" fmla="*/ 791338 w 900266"/>
                <a:gd name="connsiteY324" fmla="*/ 296784 h 418727"/>
                <a:gd name="connsiteX325" fmla="*/ 789718 w 900266"/>
                <a:gd name="connsiteY325" fmla="*/ 295595 h 418727"/>
                <a:gd name="connsiteX326" fmla="*/ 788461 w 900266"/>
                <a:gd name="connsiteY326" fmla="*/ 295233 h 418727"/>
                <a:gd name="connsiteX327" fmla="*/ 785281 w 900266"/>
                <a:gd name="connsiteY327" fmla="*/ 295897 h 418727"/>
                <a:gd name="connsiteX328" fmla="*/ 782328 w 900266"/>
                <a:gd name="connsiteY328" fmla="*/ 296800 h 418727"/>
                <a:gd name="connsiteX329" fmla="*/ 781348 w 900266"/>
                <a:gd name="connsiteY329" fmla="*/ 296828 h 418727"/>
                <a:gd name="connsiteX330" fmla="*/ 779636 w 900266"/>
                <a:gd name="connsiteY330" fmla="*/ 296247 h 418727"/>
                <a:gd name="connsiteX331" fmla="*/ 777915 w 900266"/>
                <a:gd name="connsiteY331" fmla="*/ 295043 h 418727"/>
                <a:gd name="connsiteX332" fmla="*/ 777235 w 900266"/>
                <a:gd name="connsiteY332" fmla="*/ 292718 h 418727"/>
                <a:gd name="connsiteX333" fmla="*/ 775756 w 900266"/>
                <a:gd name="connsiteY333" fmla="*/ 291662 h 418727"/>
                <a:gd name="connsiteX334" fmla="*/ 773767 w 900266"/>
                <a:gd name="connsiteY334" fmla="*/ 292718 h 418727"/>
                <a:gd name="connsiteX335" fmla="*/ 767856 w 900266"/>
                <a:gd name="connsiteY335" fmla="*/ 294490 h 418727"/>
                <a:gd name="connsiteX336" fmla="*/ 761346 w 900266"/>
                <a:gd name="connsiteY336" fmla="*/ 296601 h 418727"/>
                <a:gd name="connsiteX337" fmla="*/ 757211 w 900266"/>
                <a:gd name="connsiteY337" fmla="*/ 297692 h 418727"/>
                <a:gd name="connsiteX338" fmla="*/ 755591 w 900266"/>
                <a:gd name="connsiteY338" fmla="*/ 297520 h 418727"/>
                <a:gd name="connsiteX339" fmla="*/ 752378 w 900266"/>
                <a:gd name="connsiteY339" fmla="*/ 297768 h 418727"/>
                <a:gd name="connsiteX340" fmla="*/ 749601 w 900266"/>
                <a:gd name="connsiteY340" fmla="*/ 298357 h 418727"/>
                <a:gd name="connsiteX341" fmla="*/ 747517 w 900266"/>
                <a:gd name="connsiteY341" fmla="*/ 299175 h 418727"/>
                <a:gd name="connsiteX342" fmla="*/ 743389 w 900266"/>
                <a:gd name="connsiteY342" fmla="*/ 300299 h 418727"/>
                <a:gd name="connsiteX343" fmla="*/ 739650 w 900266"/>
                <a:gd name="connsiteY343" fmla="*/ 301052 h 418727"/>
                <a:gd name="connsiteX344" fmla="*/ 737240 w 900266"/>
                <a:gd name="connsiteY344" fmla="*/ 302755 h 418727"/>
                <a:gd name="connsiteX345" fmla="*/ 735509 w 900266"/>
                <a:gd name="connsiteY345" fmla="*/ 304402 h 418727"/>
                <a:gd name="connsiteX346" fmla="*/ 735584 w 900266"/>
                <a:gd name="connsiteY346" fmla="*/ 305029 h 418727"/>
                <a:gd name="connsiteX347" fmla="*/ 736841 w 900266"/>
                <a:gd name="connsiteY347" fmla="*/ 306002 h 418727"/>
                <a:gd name="connsiteX348" fmla="*/ 738279 w 900266"/>
                <a:gd name="connsiteY348" fmla="*/ 306765 h 418727"/>
                <a:gd name="connsiteX349" fmla="*/ 741169 w 900266"/>
                <a:gd name="connsiteY349" fmla="*/ 306586 h 418727"/>
                <a:gd name="connsiteX350" fmla="*/ 743982 w 900266"/>
                <a:gd name="connsiteY350" fmla="*/ 306468 h 418727"/>
                <a:gd name="connsiteX351" fmla="*/ 746321 w 900266"/>
                <a:gd name="connsiteY351" fmla="*/ 307499 h 418727"/>
                <a:gd name="connsiteX352" fmla="*/ 748413 w 900266"/>
                <a:gd name="connsiteY352" fmla="*/ 308159 h 418727"/>
                <a:gd name="connsiteX353" fmla="*/ 748990 w 900266"/>
                <a:gd name="connsiteY353" fmla="*/ 309016 h 418727"/>
                <a:gd name="connsiteX354" fmla="*/ 748413 w 900266"/>
                <a:gd name="connsiteY354" fmla="*/ 309849 h 418727"/>
                <a:gd name="connsiteX355" fmla="*/ 747200 w 900266"/>
                <a:gd name="connsiteY355" fmla="*/ 310044 h 418727"/>
                <a:gd name="connsiteX356" fmla="*/ 746776 w 900266"/>
                <a:gd name="connsiteY356" fmla="*/ 310630 h 418727"/>
                <a:gd name="connsiteX357" fmla="*/ 746988 w 900266"/>
                <a:gd name="connsiteY357" fmla="*/ 311409 h 418727"/>
                <a:gd name="connsiteX358" fmla="*/ 746193 w 900266"/>
                <a:gd name="connsiteY358" fmla="*/ 313445 h 418727"/>
                <a:gd name="connsiteX359" fmla="*/ 745779 w 900266"/>
                <a:gd name="connsiteY359" fmla="*/ 316535 h 418727"/>
                <a:gd name="connsiteX360" fmla="*/ 746189 w 900266"/>
                <a:gd name="connsiteY360" fmla="*/ 319573 h 418727"/>
                <a:gd name="connsiteX361" fmla="*/ 746420 w 900266"/>
                <a:gd name="connsiteY361" fmla="*/ 322374 h 418727"/>
                <a:gd name="connsiteX362" fmla="*/ 746280 w 900266"/>
                <a:gd name="connsiteY362" fmla="*/ 323784 h 418727"/>
                <a:gd name="connsiteX363" fmla="*/ 746198 w 900266"/>
                <a:gd name="connsiteY363" fmla="*/ 325790 h 418727"/>
                <a:gd name="connsiteX364" fmla="*/ 747094 w 900266"/>
                <a:gd name="connsiteY364" fmla="*/ 327147 h 418727"/>
                <a:gd name="connsiteX365" fmla="*/ 747884 w 900266"/>
                <a:gd name="connsiteY365" fmla="*/ 329728 h 418727"/>
                <a:gd name="connsiteX366" fmla="*/ 749309 w 900266"/>
                <a:gd name="connsiteY366" fmla="*/ 331342 h 418727"/>
                <a:gd name="connsiteX367" fmla="*/ 751464 w 900266"/>
                <a:gd name="connsiteY367" fmla="*/ 336931 h 418727"/>
                <a:gd name="connsiteX368" fmla="*/ 752732 w 900266"/>
                <a:gd name="connsiteY368" fmla="*/ 340192 h 418727"/>
                <a:gd name="connsiteX369" fmla="*/ 753905 w 900266"/>
                <a:gd name="connsiteY369" fmla="*/ 343884 h 418727"/>
                <a:gd name="connsiteX370" fmla="*/ 753056 w 900266"/>
                <a:gd name="connsiteY370" fmla="*/ 345876 h 418727"/>
                <a:gd name="connsiteX371" fmla="*/ 753108 w 900266"/>
                <a:gd name="connsiteY371" fmla="*/ 347030 h 418727"/>
                <a:gd name="connsiteX372" fmla="*/ 754479 w 900266"/>
                <a:gd name="connsiteY372" fmla="*/ 347992 h 418727"/>
                <a:gd name="connsiteX373" fmla="*/ 755082 w 900266"/>
                <a:gd name="connsiteY373" fmla="*/ 349870 h 418727"/>
                <a:gd name="connsiteX374" fmla="*/ 755716 w 900266"/>
                <a:gd name="connsiteY374" fmla="*/ 351019 h 418727"/>
                <a:gd name="connsiteX375" fmla="*/ 755539 w 900266"/>
                <a:gd name="connsiteY375" fmla="*/ 352162 h 418727"/>
                <a:gd name="connsiteX376" fmla="*/ 754952 w 900266"/>
                <a:gd name="connsiteY376" fmla="*/ 352604 h 418727"/>
                <a:gd name="connsiteX377" fmla="*/ 751985 w 900266"/>
                <a:gd name="connsiteY377" fmla="*/ 351912 h 418727"/>
                <a:gd name="connsiteX378" fmla="*/ 749554 w 900266"/>
                <a:gd name="connsiteY378" fmla="*/ 353052 h 418727"/>
                <a:gd name="connsiteX379" fmla="*/ 746971 w 900266"/>
                <a:gd name="connsiteY379" fmla="*/ 354196 h 418727"/>
                <a:gd name="connsiteX380" fmla="*/ 746623 w 900266"/>
                <a:gd name="connsiteY380" fmla="*/ 354805 h 418727"/>
                <a:gd name="connsiteX381" fmla="*/ 746552 w 900266"/>
                <a:gd name="connsiteY381" fmla="*/ 355470 h 418727"/>
                <a:gd name="connsiteX382" fmla="*/ 746820 w 900266"/>
                <a:gd name="connsiteY382" fmla="*/ 356054 h 418727"/>
                <a:gd name="connsiteX383" fmla="*/ 748307 w 900266"/>
                <a:gd name="connsiteY383" fmla="*/ 357078 h 418727"/>
                <a:gd name="connsiteX384" fmla="*/ 750365 w 900266"/>
                <a:gd name="connsiteY384" fmla="*/ 357717 h 418727"/>
                <a:gd name="connsiteX385" fmla="*/ 750259 w 900266"/>
                <a:gd name="connsiteY385" fmla="*/ 358740 h 418727"/>
                <a:gd name="connsiteX386" fmla="*/ 747718 w 900266"/>
                <a:gd name="connsiteY386" fmla="*/ 359215 h 418727"/>
                <a:gd name="connsiteX387" fmla="*/ 743876 w 900266"/>
                <a:gd name="connsiteY387" fmla="*/ 360780 h 418727"/>
                <a:gd name="connsiteX388" fmla="*/ 742814 w 900266"/>
                <a:gd name="connsiteY388" fmla="*/ 362459 h 418727"/>
                <a:gd name="connsiteX389" fmla="*/ 741991 w 900266"/>
                <a:gd name="connsiteY389" fmla="*/ 364301 h 418727"/>
                <a:gd name="connsiteX390" fmla="*/ 741922 w 900266"/>
                <a:gd name="connsiteY390" fmla="*/ 365369 h 418727"/>
                <a:gd name="connsiteX391" fmla="*/ 742306 w 900266"/>
                <a:gd name="connsiteY391" fmla="*/ 368230 h 418727"/>
                <a:gd name="connsiteX392" fmla="*/ 742892 w 900266"/>
                <a:gd name="connsiteY392" fmla="*/ 371401 h 418727"/>
                <a:gd name="connsiteX393" fmla="*/ 743982 w 900266"/>
                <a:gd name="connsiteY393" fmla="*/ 374736 h 418727"/>
                <a:gd name="connsiteX394" fmla="*/ 744071 w 900266"/>
                <a:gd name="connsiteY394" fmla="*/ 375768 h 418727"/>
                <a:gd name="connsiteX395" fmla="*/ 743494 w 900266"/>
                <a:gd name="connsiteY395" fmla="*/ 376502 h 418727"/>
                <a:gd name="connsiteX396" fmla="*/ 742972 w 900266"/>
                <a:gd name="connsiteY396" fmla="*/ 376975 h 418727"/>
                <a:gd name="connsiteX397" fmla="*/ 739918 w 900266"/>
                <a:gd name="connsiteY397" fmla="*/ 373970 h 418727"/>
                <a:gd name="connsiteX398" fmla="*/ 736597 w 900266"/>
                <a:gd name="connsiteY398" fmla="*/ 371035 h 418727"/>
                <a:gd name="connsiteX399" fmla="*/ 733995 w 900266"/>
                <a:gd name="connsiteY399" fmla="*/ 370360 h 418727"/>
                <a:gd name="connsiteX400" fmla="*/ 729462 w 900266"/>
                <a:gd name="connsiteY400" fmla="*/ 369876 h 418727"/>
                <a:gd name="connsiteX401" fmla="*/ 727068 w 900266"/>
                <a:gd name="connsiteY401" fmla="*/ 369851 h 418727"/>
                <a:gd name="connsiteX402" fmla="*/ 725699 w 900266"/>
                <a:gd name="connsiteY402" fmla="*/ 369159 h 418727"/>
                <a:gd name="connsiteX403" fmla="*/ 724362 w 900266"/>
                <a:gd name="connsiteY403" fmla="*/ 367460 h 418727"/>
                <a:gd name="connsiteX404" fmla="*/ 722764 w 900266"/>
                <a:gd name="connsiteY404" fmla="*/ 365922 h 418727"/>
                <a:gd name="connsiteX405" fmla="*/ 720719 w 900266"/>
                <a:gd name="connsiteY405" fmla="*/ 364288 h 418727"/>
                <a:gd name="connsiteX406" fmla="*/ 719875 w 900266"/>
                <a:gd name="connsiteY406" fmla="*/ 361802 h 418727"/>
                <a:gd name="connsiteX407" fmla="*/ 719030 w 900266"/>
                <a:gd name="connsiteY407" fmla="*/ 361355 h 418727"/>
                <a:gd name="connsiteX408" fmla="*/ 717553 w 900266"/>
                <a:gd name="connsiteY408" fmla="*/ 361674 h 418727"/>
                <a:gd name="connsiteX409" fmla="*/ 715079 w 900266"/>
                <a:gd name="connsiteY409" fmla="*/ 361597 h 418727"/>
                <a:gd name="connsiteX410" fmla="*/ 713690 w 900266"/>
                <a:gd name="connsiteY410" fmla="*/ 361378 h 418727"/>
                <a:gd name="connsiteX411" fmla="*/ 711620 w 900266"/>
                <a:gd name="connsiteY411" fmla="*/ 360952 h 418727"/>
                <a:gd name="connsiteX412" fmla="*/ 708320 w 900266"/>
                <a:gd name="connsiteY412" fmla="*/ 359938 h 418727"/>
                <a:gd name="connsiteX413" fmla="*/ 705709 w 900266"/>
                <a:gd name="connsiteY413" fmla="*/ 358977 h 418727"/>
                <a:gd name="connsiteX414" fmla="*/ 702431 w 900266"/>
                <a:gd name="connsiteY414" fmla="*/ 358794 h 418727"/>
                <a:gd name="connsiteX415" fmla="*/ 700531 w 900266"/>
                <a:gd name="connsiteY415" fmla="*/ 358985 h 418727"/>
                <a:gd name="connsiteX416" fmla="*/ 694630 w 900266"/>
                <a:gd name="connsiteY416" fmla="*/ 359167 h 418727"/>
                <a:gd name="connsiteX417" fmla="*/ 689732 w 900266"/>
                <a:gd name="connsiteY417" fmla="*/ 358159 h 418727"/>
                <a:gd name="connsiteX418" fmla="*/ 685769 w 900266"/>
                <a:gd name="connsiteY418" fmla="*/ 357970 h 418727"/>
                <a:gd name="connsiteX419" fmla="*/ 683331 w 900266"/>
                <a:gd name="connsiteY419" fmla="*/ 358029 h 418727"/>
                <a:gd name="connsiteX420" fmla="*/ 682161 w 900266"/>
                <a:gd name="connsiteY420" fmla="*/ 357904 h 418727"/>
                <a:gd name="connsiteX421" fmla="*/ 680155 w 900266"/>
                <a:gd name="connsiteY421" fmla="*/ 357912 h 418727"/>
                <a:gd name="connsiteX422" fmla="*/ 677214 w 900266"/>
                <a:gd name="connsiteY422" fmla="*/ 357692 h 418727"/>
                <a:gd name="connsiteX423" fmla="*/ 673273 w 900266"/>
                <a:gd name="connsiteY423" fmla="*/ 356138 h 418727"/>
                <a:gd name="connsiteX424" fmla="*/ 671742 w 900266"/>
                <a:gd name="connsiteY424" fmla="*/ 356060 h 418727"/>
                <a:gd name="connsiteX425" fmla="*/ 670768 w 900266"/>
                <a:gd name="connsiteY425" fmla="*/ 356116 h 418727"/>
                <a:gd name="connsiteX426" fmla="*/ 664188 w 900266"/>
                <a:gd name="connsiteY426" fmla="*/ 357259 h 418727"/>
                <a:gd name="connsiteX427" fmla="*/ 661152 w 900266"/>
                <a:gd name="connsiteY427" fmla="*/ 357525 h 418727"/>
                <a:gd name="connsiteX428" fmla="*/ 654718 w 900266"/>
                <a:gd name="connsiteY428" fmla="*/ 357395 h 418727"/>
                <a:gd name="connsiteX429" fmla="*/ 648395 w 900266"/>
                <a:gd name="connsiteY429" fmla="*/ 357267 h 418727"/>
                <a:gd name="connsiteX430" fmla="*/ 646363 w 900266"/>
                <a:gd name="connsiteY430" fmla="*/ 357026 h 418727"/>
                <a:gd name="connsiteX431" fmla="*/ 645240 w 900266"/>
                <a:gd name="connsiteY431" fmla="*/ 357149 h 418727"/>
                <a:gd name="connsiteX432" fmla="*/ 642856 w 900266"/>
                <a:gd name="connsiteY432" fmla="*/ 359891 h 418727"/>
                <a:gd name="connsiteX433" fmla="*/ 641837 w 900266"/>
                <a:gd name="connsiteY433" fmla="*/ 360316 h 418727"/>
                <a:gd name="connsiteX434" fmla="*/ 635879 w 900266"/>
                <a:gd name="connsiteY434" fmla="*/ 359718 h 418727"/>
                <a:gd name="connsiteX435" fmla="*/ 628835 w 900266"/>
                <a:gd name="connsiteY435" fmla="*/ 357913 h 418727"/>
                <a:gd name="connsiteX436" fmla="*/ 623747 w 900266"/>
                <a:gd name="connsiteY436" fmla="*/ 355937 h 418727"/>
                <a:gd name="connsiteX437" fmla="*/ 619429 w 900266"/>
                <a:gd name="connsiteY437" fmla="*/ 353845 h 418727"/>
                <a:gd name="connsiteX438" fmla="*/ 613715 w 900266"/>
                <a:gd name="connsiteY438" fmla="*/ 350539 h 418727"/>
                <a:gd name="connsiteX439" fmla="*/ 610292 w 900266"/>
                <a:gd name="connsiteY439" fmla="*/ 348903 h 418727"/>
                <a:gd name="connsiteX440" fmla="*/ 609800 w 900266"/>
                <a:gd name="connsiteY440" fmla="*/ 349845 h 418727"/>
                <a:gd name="connsiteX441" fmla="*/ 608895 w 900266"/>
                <a:gd name="connsiteY441" fmla="*/ 350146 h 418727"/>
                <a:gd name="connsiteX442" fmla="*/ 607576 w 900266"/>
                <a:gd name="connsiteY442" fmla="*/ 350292 h 418727"/>
                <a:gd name="connsiteX443" fmla="*/ 604546 w 900266"/>
                <a:gd name="connsiteY443" fmla="*/ 350121 h 418727"/>
                <a:gd name="connsiteX444" fmla="*/ 603149 w 900266"/>
                <a:gd name="connsiteY444" fmla="*/ 351797 h 418727"/>
                <a:gd name="connsiteX445" fmla="*/ 599446 w 900266"/>
                <a:gd name="connsiteY445" fmla="*/ 352995 h 418727"/>
                <a:gd name="connsiteX446" fmla="*/ 597090 w 900266"/>
                <a:gd name="connsiteY446" fmla="*/ 354068 h 418727"/>
                <a:gd name="connsiteX447" fmla="*/ 595857 w 900266"/>
                <a:gd name="connsiteY447" fmla="*/ 355277 h 418727"/>
                <a:gd name="connsiteX448" fmla="*/ 593512 w 900266"/>
                <a:gd name="connsiteY448" fmla="*/ 363299 h 418727"/>
                <a:gd name="connsiteX449" fmla="*/ 592886 w 900266"/>
                <a:gd name="connsiteY449" fmla="*/ 366224 h 418727"/>
                <a:gd name="connsiteX450" fmla="*/ 594458 w 900266"/>
                <a:gd name="connsiteY450" fmla="*/ 371145 h 418727"/>
                <a:gd name="connsiteX451" fmla="*/ 592659 w 900266"/>
                <a:gd name="connsiteY451" fmla="*/ 370858 h 418727"/>
                <a:gd name="connsiteX452" fmla="*/ 590545 w 900266"/>
                <a:gd name="connsiteY452" fmla="*/ 369600 h 418727"/>
                <a:gd name="connsiteX453" fmla="*/ 589813 w 900266"/>
                <a:gd name="connsiteY453" fmla="*/ 368610 h 418727"/>
                <a:gd name="connsiteX454" fmla="*/ 587776 w 900266"/>
                <a:gd name="connsiteY454" fmla="*/ 368003 h 418727"/>
                <a:gd name="connsiteX455" fmla="*/ 580353 w 900266"/>
                <a:gd name="connsiteY455" fmla="*/ 367088 h 418727"/>
                <a:gd name="connsiteX456" fmla="*/ 578966 w 900266"/>
                <a:gd name="connsiteY456" fmla="*/ 365959 h 418727"/>
                <a:gd name="connsiteX457" fmla="*/ 578094 w 900266"/>
                <a:gd name="connsiteY457" fmla="*/ 365039 h 418727"/>
                <a:gd name="connsiteX458" fmla="*/ 576174 w 900266"/>
                <a:gd name="connsiteY458" fmla="*/ 364438 h 418727"/>
                <a:gd name="connsiteX459" fmla="*/ 573456 w 900266"/>
                <a:gd name="connsiteY459" fmla="*/ 363975 h 418727"/>
                <a:gd name="connsiteX460" fmla="*/ 567543 w 900266"/>
                <a:gd name="connsiteY460" fmla="*/ 361839 h 418727"/>
                <a:gd name="connsiteX461" fmla="*/ 565023 w 900266"/>
                <a:gd name="connsiteY461" fmla="*/ 361758 h 418727"/>
                <a:gd name="connsiteX462" fmla="*/ 557394 w 900266"/>
                <a:gd name="connsiteY462" fmla="*/ 360114 h 418727"/>
                <a:gd name="connsiteX463" fmla="*/ 556150 w 900266"/>
                <a:gd name="connsiteY463" fmla="*/ 360132 h 418727"/>
                <a:gd name="connsiteX464" fmla="*/ 555580 w 900266"/>
                <a:gd name="connsiteY464" fmla="*/ 360201 h 418727"/>
                <a:gd name="connsiteX465" fmla="*/ 552618 w 900266"/>
                <a:gd name="connsiteY465" fmla="*/ 361277 h 418727"/>
                <a:gd name="connsiteX466" fmla="*/ 550704 w 900266"/>
                <a:gd name="connsiteY466" fmla="*/ 361591 h 418727"/>
                <a:gd name="connsiteX467" fmla="*/ 548666 w 900266"/>
                <a:gd name="connsiteY467" fmla="*/ 361157 h 418727"/>
                <a:gd name="connsiteX468" fmla="*/ 545008 w 900266"/>
                <a:gd name="connsiteY468" fmla="*/ 362484 h 418727"/>
                <a:gd name="connsiteX469" fmla="*/ 543034 w 900266"/>
                <a:gd name="connsiteY469" fmla="*/ 364250 h 418727"/>
                <a:gd name="connsiteX470" fmla="*/ 541402 w 900266"/>
                <a:gd name="connsiteY470" fmla="*/ 366411 h 418727"/>
                <a:gd name="connsiteX471" fmla="*/ 539836 w 900266"/>
                <a:gd name="connsiteY471" fmla="*/ 367774 h 418727"/>
                <a:gd name="connsiteX472" fmla="*/ 539376 w 900266"/>
                <a:gd name="connsiteY472" fmla="*/ 369811 h 418727"/>
                <a:gd name="connsiteX473" fmla="*/ 538279 w 900266"/>
                <a:gd name="connsiteY473" fmla="*/ 370869 h 418727"/>
                <a:gd name="connsiteX474" fmla="*/ 536964 w 900266"/>
                <a:gd name="connsiteY474" fmla="*/ 372984 h 418727"/>
                <a:gd name="connsiteX475" fmla="*/ 536964 w 900266"/>
                <a:gd name="connsiteY475" fmla="*/ 374217 h 418727"/>
                <a:gd name="connsiteX476" fmla="*/ 538156 w 900266"/>
                <a:gd name="connsiteY476" fmla="*/ 375415 h 418727"/>
                <a:gd name="connsiteX477" fmla="*/ 536245 w 900266"/>
                <a:gd name="connsiteY477" fmla="*/ 376518 h 418727"/>
                <a:gd name="connsiteX478" fmla="*/ 534127 w 900266"/>
                <a:gd name="connsiteY478" fmla="*/ 376864 h 418727"/>
                <a:gd name="connsiteX479" fmla="*/ 533036 w 900266"/>
                <a:gd name="connsiteY479" fmla="*/ 377543 h 418727"/>
                <a:gd name="connsiteX480" fmla="*/ 531870 w 900266"/>
                <a:gd name="connsiteY480" fmla="*/ 379170 h 418727"/>
                <a:gd name="connsiteX481" fmla="*/ 530782 w 900266"/>
                <a:gd name="connsiteY481" fmla="*/ 380571 h 418727"/>
                <a:gd name="connsiteX482" fmla="*/ 530140 w 900266"/>
                <a:gd name="connsiteY482" fmla="*/ 381068 h 418727"/>
                <a:gd name="connsiteX483" fmla="*/ 529164 w 900266"/>
                <a:gd name="connsiteY483" fmla="*/ 380977 h 418727"/>
                <a:gd name="connsiteX484" fmla="*/ 528035 w 900266"/>
                <a:gd name="connsiteY484" fmla="*/ 379893 h 418727"/>
                <a:gd name="connsiteX485" fmla="*/ 526420 w 900266"/>
                <a:gd name="connsiteY485" fmla="*/ 379938 h 418727"/>
                <a:gd name="connsiteX486" fmla="*/ 524493 w 900266"/>
                <a:gd name="connsiteY486" fmla="*/ 381282 h 418727"/>
                <a:gd name="connsiteX487" fmla="*/ 522215 w 900266"/>
                <a:gd name="connsiteY487" fmla="*/ 383458 h 418727"/>
                <a:gd name="connsiteX488" fmla="*/ 519335 w 900266"/>
                <a:gd name="connsiteY488" fmla="*/ 386786 h 418727"/>
                <a:gd name="connsiteX489" fmla="*/ 516335 w 900266"/>
                <a:gd name="connsiteY489" fmla="*/ 388546 h 418727"/>
                <a:gd name="connsiteX490" fmla="*/ 512535 w 900266"/>
                <a:gd name="connsiteY490" fmla="*/ 390049 h 418727"/>
                <a:gd name="connsiteX491" fmla="*/ 509788 w 900266"/>
                <a:gd name="connsiteY491" fmla="*/ 390716 h 418727"/>
                <a:gd name="connsiteX492" fmla="*/ 507605 w 900266"/>
                <a:gd name="connsiteY492" fmla="*/ 391855 h 418727"/>
                <a:gd name="connsiteX493" fmla="*/ 503975 w 900266"/>
                <a:gd name="connsiteY493" fmla="*/ 394160 h 418727"/>
                <a:gd name="connsiteX494" fmla="*/ 503254 w 900266"/>
                <a:gd name="connsiteY494" fmla="*/ 395516 h 418727"/>
                <a:gd name="connsiteX495" fmla="*/ 500622 w 900266"/>
                <a:gd name="connsiteY495" fmla="*/ 396318 h 418727"/>
                <a:gd name="connsiteX496" fmla="*/ 498505 w 900266"/>
                <a:gd name="connsiteY496" fmla="*/ 397242 h 418727"/>
                <a:gd name="connsiteX497" fmla="*/ 496545 w 900266"/>
                <a:gd name="connsiteY497" fmla="*/ 398782 h 418727"/>
                <a:gd name="connsiteX498" fmla="*/ 496070 w 900266"/>
                <a:gd name="connsiteY498" fmla="*/ 401494 h 418727"/>
                <a:gd name="connsiteX499" fmla="*/ 494819 w 900266"/>
                <a:gd name="connsiteY499" fmla="*/ 403052 h 418727"/>
                <a:gd name="connsiteX500" fmla="*/ 491818 w 900266"/>
                <a:gd name="connsiteY500" fmla="*/ 405191 h 418727"/>
                <a:gd name="connsiteX501" fmla="*/ 489296 w 900266"/>
                <a:gd name="connsiteY501" fmla="*/ 407348 h 418727"/>
                <a:gd name="connsiteX502" fmla="*/ 487652 w 900266"/>
                <a:gd name="connsiteY502" fmla="*/ 409462 h 418727"/>
                <a:gd name="connsiteX503" fmla="*/ 485912 w 900266"/>
                <a:gd name="connsiteY503" fmla="*/ 411703 h 418727"/>
                <a:gd name="connsiteX504" fmla="*/ 485363 w 900266"/>
                <a:gd name="connsiteY504" fmla="*/ 412937 h 418727"/>
                <a:gd name="connsiteX505" fmla="*/ 485303 w 900266"/>
                <a:gd name="connsiteY505" fmla="*/ 414622 h 418727"/>
                <a:gd name="connsiteX506" fmla="*/ 486123 w 900266"/>
                <a:gd name="connsiteY506" fmla="*/ 416036 h 418727"/>
                <a:gd name="connsiteX507" fmla="*/ 486279 w 900266"/>
                <a:gd name="connsiteY507" fmla="*/ 417382 h 418727"/>
                <a:gd name="connsiteX508" fmla="*/ 485659 w 900266"/>
                <a:gd name="connsiteY508" fmla="*/ 418360 h 418727"/>
                <a:gd name="connsiteX509" fmla="*/ 483957 w 900266"/>
                <a:gd name="connsiteY509" fmla="*/ 418727 h 418727"/>
                <a:gd name="connsiteX510" fmla="*/ 482174 w 900266"/>
                <a:gd name="connsiteY510" fmla="*/ 418444 h 418727"/>
                <a:gd name="connsiteX511" fmla="*/ 479451 w 900266"/>
                <a:gd name="connsiteY511" fmla="*/ 417483 h 418727"/>
                <a:gd name="connsiteX512" fmla="*/ 476540 w 900266"/>
                <a:gd name="connsiteY512" fmla="*/ 415760 h 418727"/>
                <a:gd name="connsiteX513" fmla="*/ 475480 w 900266"/>
                <a:gd name="connsiteY513" fmla="*/ 414913 h 418727"/>
                <a:gd name="connsiteX514" fmla="*/ 474050 w 900266"/>
                <a:gd name="connsiteY514" fmla="*/ 413463 h 418727"/>
                <a:gd name="connsiteX515" fmla="*/ 474258 w 900266"/>
                <a:gd name="connsiteY515" fmla="*/ 412115 h 418727"/>
                <a:gd name="connsiteX516" fmla="*/ 474994 w 900266"/>
                <a:gd name="connsiteY516" fmla="*/ 409496 h 418727"/>
                <a:gd name="connsiteX517" fmla="*/ 475497 w 900266"/>
                <a:gd name="connsiteY517" fmla="*/ 407697 h 418727"/>
                <a:gd name="connsiteX518" fmla="*/ 474309 w 900266"/>
                <a:gd name="connsiteY518" fmla="*/ 406838 h 418727"/>
                <a:gd name="connsiteX519" fmla="*/ 473433 w 900266"/>
                <a:gd name="connsiteY519" fmla="*/ 405918 h 418727"/>
                <a:gd name="connsiteX520" fmla="*/ 472807 w 900266"/>
                <a:gd name="connsiteY520" fmla="*/ 405028 h 418727"/>
                <a:gd name="connsiteX521" fmla="*/ 471576 w 900266"/>
                <a:gd name="connsiteY521" fmla="*/ 403274 h 418727"/>
                <a:gd name="connsiteX522" fmla="*/ 470027 w 900266"/>
                <a:gd name="connsiteY522" fmla="*/ 403704 h 418727"/>
                <a:gd name="connsiteX523" fmla="*/ 468686 w 900266"/>
                <a:gd name="connsiteY523" fmla="*/ 404135 h 418727"/>
                <a:gd name="connsiteX524" fmla="*/ 467138 w 900266"/>
                <a:gd name="connsiteY524" fmla="*/ 403520 h 418727"/>
                <a:gd name="connsiteX525" fmla="*/ 462560 w 900266"/>
                <a:gd name="connsiteY525" fmla="*/ 403787 h 418727"/>
                <a:gd name="connsiteX526" fmla="*/ 459101 w 900266"/>
                <a:gd name="connsiteY526" fmla="*/ 403987 h 418727"/>
                <a:gd name="connsiteX527" fmla="*/ 455860 w 900266"/>
                <a:gd name="connsiteY527" fmla="*/ 404176 h 418727"/>
                <a:gd name="connsiteX528" fmla="*/ 451740 w 900266"/>
                <a:gd name="connsiteY528" fmla="*/ 404414 h 418727"/>
                <a:gd name="connsiteX529" fmla="*/ 446777 w 900266"/>
                <a:gd name="connsiteY529" fmla="*/ 404702 h 418727"/>
                <a:gd name="connsiteX530" fmla="*/ 445352 w 900266"/>
                <a:gd name="connsiteY530" fmla="*/ 404315 h 418727"/>
                <a:gd name="connsiteX531" fmla="*/ 444465 w 900266"/>
                <a:gd name="connsiteY531" fmla="*/ 403734 h 418727"/>
                <a:gd name="connsiteX532" fmla="*/ 443558 w 900266"/>
                <a:gd name="connsiteY532" fmla="*/ 401319 h 418727"/>
                <a:gd name="connsiteX533" fmla="*/ 443041 w 900266"/>
                <a:gd name="connsiteY533" fmla="*/ 399265 h 418727"/>
                <a:gd name="connsiteX534" fmla="*/ 442076 w 900266"/>
                <a:gd name="connsiteY534" fmla="*/ 395417 h 418727"/>
                <a:gd name="connsiteX535" fmla="*/ 441433 w 900266"/>
                <a:gd name="connsiteY535" fmla="*/ 392439 h 418727"/>
                <a:gd name="connsiteX536" fmla="*/ 440666 w 900266"/>
                <a:gd name="connsiteY536" fmla="*/ 388885 h 418727"/>
                <a:gd name="connsiteX537" fmla="*/ 440161 w 900266"/>
                <a:gd name="connsiteY537" fmla="*/ 384959 h 418727"/>
                <a:gd name="connsiteX538" fmla="*/ 439798 w 900266"/>
                <a:gd name="connsiteY538" fmla="*/ 382160 h 418727"/>
                <a:gd name="connsiteX539" fmla="*/ 436043 w 900266"/>
                <a:gd name="connsiteY539" fmla="*/ 382068 h 418727"/>
                <a:gd name="connsiteX540" fmla="*/ 433044 w 900266"/>
                <a:gd name="connsiteY540" fmla="*/ 381995 h 418727"/>
                <a:gd name="connsiteX541" fmla="*/ 428984 w 900266"/>
                <a:gd name="connsiteY541" fmla="*/ 381895 h 418727"/>
                <a:gd name="connsiteX542" fmla="*/ 429021 w 900266"/>
                <a:gd name="connsiteY542" fmla="*/ 379667 h 418727"/>
                <a:gd name="connsiteX543" fmla="*/ 429064 w 900266"/>
                <a:gd name="connsiteY543" fmla="*/ 376857 h 418727"/>
                <a:gd name="connsiteX544" fmla="*/ 429115 w 900266"/>
                <a:gd name="connsiteY544" fmla="*/ 373655 h 418727"/>
                <a:gd name="connsiteX545" fmla="*/ 429874 w 900266"/>
                <a:gd name="connsiteY545" fmla="*/ 369446 h 418727"/>
                <a:gd name="connsiteX546" fmla="*/ 430159 w 900266"/>
                <a:gd name="connsiteY546" fmla="*/ 365913 h 418727"/>
                <a:gd name="connsiteX547" fmla="*/ 430508 w 900266"/>
                <a:gd name="connsiteY547" fmla="*/ 361598 h 418727"/>
                <a:gd name="connsiteX548" fmla="*/ 430737 w 900266"/>
                <a:gd name="connsiteY548" fmla="*/ 358743 h 418727"/>
                <a:gd name="connsiteX549" fmla="*/ 430990 w 900266"/>
                <a:gd name="connsiteY549" fmla="*/ 355598 h 418727"/>
                <a:gd name="connsiteX550" fmla="*/ 428898 w 900266"/>
                <a:gd name="connsiteY550" fmla="*/ 356568 h 418727"/>
                <a:gd name="connsiteX551" fmla="*/ 426585 w 900266"/>
                <a:gd name="connsiteY551" fmla="*/ 357642 h 418727"/>
                <a:gd name="connsiteX552" fmla="*/ 424417 w 900266"/>
                <a:gd name="connsiteY552" fmla="*/ 358647 h 418727"/>
                <a:gd name="connsiteX553" fmla="*/ 422927 w 900266"/>
                <a:gd name="connsiteY553" fmla="*/ 356099 h 418727"/>
                <a:gd name="connsiteX554" fmla="*/ 421480 w 900266"/>
                <a:gd name="connsiteY554" fmla="*/ 353620 h 418727"/>
                <a:gd name="connsiteX555" fmla="*/ 419280 w 900266"/>
                <a:gd name="connsiteY555" fmla="*/ 349848 h 418727"/>
                <a:gd name="connsiteX556" fmla="*/ 417632 w 900266"/>
                <a:gd name="connsiteY556" fmla="*/ 347017 h 418727"/>
                <a:gd name="connsiteX557" fmla="*/ 414764 w 900266"/>
                <a:gd name="connsiteY557" fmla="*/ 345364 h 418727"/>
                <a:gd name="connsiteX558" fmla="*/ 412642 w 900266"/>
                <a:gd name="connsiteY558" fmla="*/ 344140 h 418727"/>
                <a:gd name="connsiteX559" fmla="*/ 410439 w 900266"/>
                <a:gd name="connsiteY559" fmla="*/ 342077 h 418727"/>
                <a:gd name="connsiteX560" fmla="*/ 408537 w 900266"/>
                <a:gd name="connsiteY560" fmla="*/ 339935 h 418727"/>
                <a:gd name="connsiteX561" fmla="*/ 406729 w 900266"/>
                <a:gd name="connsiteY561" fmla="*/ 337903 h 418727"/>
                <a:gd name="connsiteX562" fmla="*/ 404570 w 900266"/>
                <a:gd name="connsiteY562" fmla="*/ 336133 h 418727"/>
                <a:gd name="connsiteX563" fmla="*/ 402499 w 900266"/>
                <a:gd name="connsiteY563" fmla="*/ 336692 h 418727"/>
                <a:gd name="connsiteX564" fmla="*/ 400161 w 900266"/>
                <a:gd name="connsiteY564" fmla="*/ 337798 h 418727"/>
                <a:gd name="connsiteX565" fmla="*/ 397906 w 900266"/>
                <a:gd name="connsiteY565" fmla="*/ 338863 h 418727"/>
                <a:gd name="connsiteX566" fmla="*/ 395518 w 900266"/>
                <a:gd name="connsiteY566" fmla="*/ 339991 h 418727"/>
                <a:gd name="connsiteX567" fmla="*/ 394347 w 900266"/>
                <a:gd name="connsiteY567" fmla="*/ 340542 h 418727"/>
                <a:gd name="connsiteX568" fmla="*/ 391583 w 900266"/>
                <a:gd name="connsiteY568" fmla="*/ 340333 h 418727"/>
                <a:gd name="connsiteX569" fmla="*/ 389165 w 900266"/>
                <a:gd name="connsiteY569" fmla="*/ 340150 h 418727"/>
                <a:gd name="connsiteX570" fmla="*/ 384842 w 900266"/>
                <a:gd name="connsiteY570" fmla="*/ 339824 h 418727"/>
                <a:gd name="connsiteX571" fmla="*/ 381190 w 900266"/>
                <a:gd name="connsiteY571" fmla="*/ 339546 h 418727"/>
                <a:gd name="connsiteX572" fmla="*/ 377465 w 900266"/>
                <a:gd name="connsiteY572" fmla="*/ 339263 h 418727"/>
                <a:gd name="connsiteX573" fmla="*/ 372272 w 900266"/>
                <a:gd name="connsiteY573" fmla="*/ 338869 h 418727"/>
                <a:gd name="connsiteX574" fmla="*/ 367014 w 900266"/>
                <a:gd name="connsiteY574" fmla="*/ 338472 h 418727"/>
                <a:gd name="connsiteX575" fmla="*/ 363490 w 900266"/>
                <a:gd name="connsiteY575" fmla="*/ 338997 h 418727"/>
                <a:gd name="connsiteX576" fmla="*/ 359035 w 900266"/>
                <a:gd name="connsiteY576" fmla="*/ 339661 h 418727"/>
                <a:gd name="connsiteX577" fmla="*/ 354353 w 900266"/>
                <a:gd name="connsiteY577" fmla="*/ 340358 h 418727"/>
                <a:gd name="connsiteX578" fmla="*/ 350482 w 900266"/>
                <a:gd name="connsiteY578" fmla="*/ 340934 h 418727"/>
                <a:gd name="connsiteX579" fmla="*/ 345584 w 900266"/>
                <a:gd name="connsiteY579" fmla="*/ 341662 h 418727"/>
                <a:gd name="connsiteX580" fmla="*/ 341915 w 900266"/>
                <a:gd name="connsiteY580" fmla="*/ 342207 h 418727"/>
                <a:gd name="connsiteX581" fmla="*/ 340108 w 900266"/>
                <a:gd name="connsiteY581" fmla="*/ 342132 h 418727"/>
                <a:gd name="connsiteX582" fmla="*/ 337838 w 900266"/>
                <a:gd name="connsiteY582" fmla="*/ 339839 h 418727"/>
                <a:gd name="connsiteX583" fmla="*/ 334204 w 900266"/>
                <a:gd name="connsiteY583" fmla="*/ 336163 h 418727"/>
                <a:gd name="connsiteX584" fmla="*/ 332002 w 900266"/>
                <a:gd name="connsiteY584" fmla="*/ 333933 h 418727"/>
                <a:gd name="connsiteX585" fmla="*/ 329840 w 900266"/>
                <a:gd name="connsiteY585" fmla="*/ 331744 h 418727"/>
                <a:gd name="connsiteX586" fmla="*/ 326726 w 900266"/>
                <a:gd name="connsiteY586" fmla="*/ 328587 h 418727"/>
                <a:gd name="connsiteX587" fmla="*/ 324215 w 900266"/>
                <a:gd name="connsiteY587" fmla="*/ 326196 h 418727"/>
                <a:gd name="connsiteX588" fmla="*/ 321766 w 900266"/>
                <a:gd name="connsiteY588" fmla="*/ 323857 h 418727"/>
                <a:gd name="connsiteX589" fmla="*/ 320358 w 900266"/>
                <a:gd name="connsiteY589" fmla="*/ 321697 h 418727"/>
                <a:gd name="connsiteX590" fmla="*/ 319656 w 900266"/>
                <a:gd name="connsiteY590" fmla="*/ 318980 h 418727"/>
                <a:gd name="connsiteX591" fmla="*/ 318387 w 900266"/>
                <a:gd name="connsiteY591" fmla="*/ 317746 h 418727"/>
                <a:gd name="connsiteX592" fmla="*/ 315541 w 900266"/>
                <a:gd name="connsiteY592" fmla="*/ 316081 h 418727"/>
                <a:gd name="connsiteX593" fmla="*/ 312487 w 900266"/>
                <a:gd name="connsiteY593" fmla="*/ 314292 h 418727"/>
                <a:gd name="connsiteX594" fmla="*/ 309432 w 900266"/>
                <a:gd name="connsiteY594" fmla="*/ 312503 h 418727"/>
                <a:gd name="connsiteX595" fmla="*/ 306376 w 900266"/>
                <a:gd name="connsiteY595" fmla="*/ 310711 h 418727"/>
                <a:gd name="connsiteX596" fmla="*/ 303323 w 900266"/>
                <a:gd name="connsiteY596" fmla="*/ 308919 h 418727"/>
                <a:gd name="connsiteX597" fmla="*/ 300267 w 900266"/>
                <a:gd name="connsiteY597" fmla="*/ 307126 h 418727"/>
                <a:gd name="connsiteX598" fmla="*/ 297212 w 900266"/>
                <a:gd name="connsiteY598" fmla="*/ 305331 h 418727"/>
                <a:gd name="connsiteX599" fmla="*/ 294158 w 900266"/>
                <a:gd name="connsiteY599" fmla="*/ 303534 h 418727"/>
                <a:gd name="connsiteX600" fmla="*/ 291103 w 900266"/>
                <a:gd name="connsiteY600" fmla="*/ 301739 h 418727"/>
                <a:gd name="connsiteX601" fmla="*/ 288049 w 900266"/>
                <a:gd name="connsiteY601" fmla="*/ 299941 h 418727"/>
                <a:gd name="connsiteX602" fmla="*/ 284996 w 900266"/>
                <a:gd name="connsiteY602" fmla="*/ 298142 h 418727"/>
                <a:gd name="connsiteX603" fmla="*/ 281938 w 900266"/>
                <a:gd name="connsiteY603" fmla="*/ 296342 h 418727"/>
                <a:gd name="connsiteX604" fmla="*/ 278885 w 900266"/>
                <a:gd name="connsiteY604" fmla="*/ 294539 h 418727"/>
                <a:gd name="connsiteX605" fmla="*/ 275831 w 900266"/>
                <a:gd name="connsiteY605" fmla="*/ 292736 h 418727"/>
                <a:gd name="connsiteX606" fmla="*/ 272774 w 900266"/>
                <a:gd name="connsiteY606" fmla="*/ 290932 h 418727"/>
                <a:gd name="connsiteX607" fmla="*/ 269721 w 900266"/>
                <a:gd name="connsiteY607" fmla="*/ 289126 h 418727"/>
                <a:gd name="connsiteX608" fmla="*/ 266667 w 900266"/>
                <a:gd name="connsiteY608" fmla="*/ 287319 h 418727"/>
                <a:gd name="connsiteX609" fmla="*/ 264154 w 900266"/>
                <a:gd name="connsiteY609" fmla="*/ 286006 h 418727"/>
                <a:gd name="connsiteX610" fmla="*/ 261813 w 900266"/>
                <a:gd name="connsiteY610" fmla="*/ 286348 h 418727"/>
                <a:gd name="connsiteX611" fmla="*/ 258313 w 900266"/>
                <a:gd name="connsiteY611" fmla="*/ 287268 h 418727"/>
                <a:gd name="connsiteX612" fmla="*/ 254644 w 900266"/>
                <a:gd name="connsiteY612" fmla="*/ 288231 h 418727"/>
                <a:gd name="connsiteX613" fmla="*/ 251014 w 900266"/>
                <a:gd name="connsiteY613" fmla="*/ 289183 h 418727"/>
                <a:gd name="connsiteX614" fmla="*/ 244505 w 900266"/>
                <a:gd name="connsiteY614" fmla="*/ 290892 h 418727"/>
                <a:gd name="connsiteX615" fmla="*/ 240318 w 900266"/>
                <a:gd name="connsiteY615" fmla="*/ 291989 h 418727"/>
                <a:gd name="connsiteX616" fmla="*/ 237045 w 900266"/>
                <a:gd name="connsiteY616" fmla="*/ 292915 h 418727"/>
                <a:gd name="connsiteX617" fmla="*/ 233560 w 900266"/>
                <a:gd name="connsiteY617" fmla="*/ 293901 h 418727"/>
                <a:gd name="connsiteX618" fmla="*/ 228990 w 900266"/>
                <a:gd name="connsiteY618" fmla="*/ 295192 h 418727"/>
                <a:gd name="connsiteX619" fmla="*/ 225162 w 900266"/>
                <a:gd name="connsiteY619" fmla="*/ 296275 h 418727"/>
                <a:gd name="connsiteX620" fmla="*/ 220670 w 900266"/>
                <a:gd name="connsiteY620" fmla="*/ 297542 h 418727"/>
                <a:gd name="connsiteX621" fmla="*/ 216699 w 900266"/>
                <a:gd name="connsiteY621" fmla="*/ 298663 h 418727"/>
                <a:gd name="connsiteX622" fmla="*/ 213354 w 900266"/>
                <a:gd name="connsiteY622" fmla="*/ 299606 h 418727"/>
                <a:gd name="connsiteX623" fmla="*/ 209873 w 900266"/>
                <a:gd name="connsiteY623" fmla="*/ 300588 h 418727"/>
                <a:gd name="connsiteX624" fmla="*/ 207114 w 900266"/>
                <a:gd name="connsiteY624" fmla="*/ 301367 h 418727"/>
                <a:gd name="connsiteX625" fmla="*/ 207115 w 900266"/>
                <a:gd name="connsiteY625" fmla="*/ 307633 h 418727"/>
                <a:gd name="connsiteX626" fmla="*/ 207120 w 900266"/>
                <a:gd name="connsiteY626" fmla="*/ 313885 h 418727"/>
                <a:gd name="connsiteX627" fmla="*/ 207122 w 900266"/>
                <a:gd name="connsiteY627" fmla="*/ 320122 h 418727"/>
                <a:gd name="connsiteX628" fmla="*/ 207124 w 900266"/>
                <a:gd name="connsiteY628" fmla="*/ 326345 h 418727"/>
                <a:gd name="connsiteX629" fmla="*/ 207126 w 900266"/>
                <a:gd name="connsiteY629" fmla="*/ 332554 h 418727"/>
                <a:gd name="connsiteX630" fmla="*/ 207129 w 900266"/>
                <a:gd name="connsiteY630" fmla="*/ 338751 h 418727"/>
                <a:gd name="connsiteX631" fmla="*/ 207131 w 900266"/>
                <a:gd name="connsiteY631" fmla="*/ 344932 h 418727"/>
                <a:gd name="connsiteX632" fmla="*/ 207133 w 900266"/>
                <a:gd name="connsiteY632" fmla="*/ 351099 h 418727"/>
                <a:gd name="connsiteX633" fmla="*/ 207135 w 900266"/>
                <a:gd name="connsiteY633" fmla="*/ 357252 h 418727"/>
                <a:gd name="connsiteX634" fmla="*/ 207137 w 900266"/>
                <a:gd name="connsiteY634" fmla="*/ 363393 h 418727"/>
                <a:gd name="connsiteX635" fmla="*/ 207139 w 900266"/>
                <a:gd name="connsiteY635" fmla="*/ 369520 h 418727"/>
                <a:gd name="connsiteX636" fmla="*/ 207141 w 900266"/>
                <a:gd name="connsiteY636" fmla="*/ 375634 h 418727"/>
                <a:gd name="connsiteX637" fmla="*/ 207144 w 900266"/>
                <a:gd name="connsiteY637" fmla="*/ 381735 h 418727"/>
                <a:gd name="connsiteX638" fmla="*/ 207146 w 900266"/>
                <a:gd name="connsiteY638" fmla="*/ 387823 h 418727"/>
                <a:gd name="connsiteX639" fmla="*/ 207150 w 900266"/>
                <a:gd name="connsiteY639" fmla="*/ 393899 h 418727"/>
                <a:gd name="connsiteX640" fmla="*/ 207152 w 900266"/>
                <a:gd name="connsiteY640" fmla="*/ 399962 h 418727"/>
                <a:gd name="connsiteX641" fmla="*/ 206213 w 900266"/>
                <a:gd name="connsiteY641" fmla="*/ 399911 h 418727"/>
                <a:gd name="connsiteX642" fmla="*/ 204092 w 900266"/>
                <a:gd name="connsiteY642" fmla="*/ 400263 h 418727"/>
                <a:gd name="connsiteX643" fmla="*/ 200545 w 900266"/>
                <a:gd name="connsiteY643" fmla="*/ 401107 h 418727"/>
                <a:gd name="connsiteX644" fmla="*/ 197595 w 900266"/>
                <a:gd name="connsiteY644" fmla="*/ 401530 h 418727"/>
                <a:gd name="connsiteX645" fmla="*/ 196308 w 900266"/>
                <a:gd name="connsiteY645" fmla="*/ 401279 h 418727"/>
                <a:gd name="connsiteX646" fmla="*/ 195144 w 900266"/>
                <a:gd name="connsiteY646" fmla="*/ 400646 h 418727"/>
                <a:gd name="connsiteX647" fmla="*/ 194127 w 900266"/>
                <a:gd name="connsiteY647" fmla="*/ 399310 h 418727"/>
                <a:gd name="connsiteX648" fmla="*/ 192609 w 900266"/>
                <a:gd name="connsiteY648" fmla="*/ 397687 h 418727"/>
                <a:gd name="connsiteX649" fmla="*/ 191059 w 900266"/>
                <a:gd name="connsiteY649" fmla="*/ 396374 h 418727"/>
                <a:gd name="connsiteX650" fmla="*/ 189128 w 900266"/>
                <a:gd name="connsiteY650" fmla="*/ 393675 h 418727"/>
                <a:gd name="connsiteX651" fmla="*/ 187791 w 900266"/>
                <a:gd name="connsiteY651" fmla="*/ 391599 h 418727"/>
                <a:gd name="connsiteX652" fmla="*/ 184485 w 900266"/>
                <a:gd name="connsiteY652" fmla="*/ 387064 h 418727"/>
                <a:gd name="connsiteX653" fmla="*/ 184027 w 900266"/>
                <a:gd name="connsiteY653" fmla="*/ 385632 h 418727"/>
                <a:gd name="connsiteX654" fmla="*/ 183410 w 900266"/>
                <a:gd name="connsiteY654" fmla="*/ 384171 h 418727"/>
                <a:gd name="connsiteX655" fmla="*/ 182307 w 900266"/>
                <a:gd name="connsiteY655" fmla="*/ 382949 h 418727"/>
                <a:gd name="connsiteX656" fmla="*/ 178417 w 900266"/>
                <a:gd name="connsiteY656" fmla="*/ 379947 h 418727"/>
                <a:gd name="connsiteX657" fmla="*/ 173883 w 900266"/>
                <a:gd name="connsiteY657" fmla="*/ 377237 h 418727"/>
                <a:gd name="connsiteX658" fmla="*/ 169439 w 900266"/>
                <a:gd name="connsiteY658" fmla="*/ 374582 h 418727"/>
                <a:gd name="connsiteX659" fmla="*/ 168180 w 900266"/>
                <a:gd name="connsiteY659" fmla="*/ 373937 h 418727"/>
                <a:gd name="connsiteX660" fmla="*/ 166102 w 900266"/>
                <a:gd name="connsiteY660" fmla="*/ 373112 h 418727"/>
                <a:gd name="connsiteX661" fmla="*/ 163541 w 900266"/>
                <a:gd name="connsiteY661" fmla="*/ 373093 h 418727"/>
                <a:gd name="connsiteX662" fmla="*/ 161799 w 900266"/>
                <a:gd name="connsiteY662" fmla="*/ 373256 h 418727"/>
                <a:gd name="connsiteX663" fmla="*/ 156469 w 900266"/>
                <a:gd name="connsiteY663" fmla="*/ 374132 h 418727"/>
                <a:gd name="connsiteX664" fmla="*/ 152388 w 900266"/>
                <a:gd name="connsiteY664" fmla="*/ 375160 h 418727"/>
                <a:gd name="connsiteX665" fmla="*/ 146845 w 900266"/>
                <a:gd name="connsiteY665" fmla="*/ 376554 h 418727"/>
                <a:gd name="connsiteX666" fmla="*/ 142550 w 900266"/>
                <a:gd name="connsiteY666" fmla="*/ 378099 h 418727"/>
                <a:gd name="connsiteX667" fmla="*/ 141591 w 900266"/>
                <a:gd name="connsiteY667" fmla="*/ 378552 h 418727"/>
                <a:gd name="connsiteX668" fmla="*/ 138451 w 900266"/>
                <a:gd name="connsiteY668" fmla="*/ 380415 h 418727"/>
                <a:gd name="connsiteX669" fmla="*/ 134612 w 900266"/>
                <a:gd name="connsiteY669" fmla="*/ 383500 h 418727"/>
                <a:gd name="connsiteX670" fmla="*/ 130123 w 900266"/>
                <a:gd name="connsiteY670" fmla="*/ 387849 h 418727"/>
                <a:gd name="connsiteX671" fmla="*/ 129542 w 900266"/>
                <a:gd name="connsiteY671" fmla="*/ 385052 h 418727"/>
                <a:gd name="connsiteX672" fmla="*/ 129343 w 900266"/>
                <a:gd name="connsiteY672" fmla="*/ 380741 h 418727"/>
                <a:gd name="connsiteX673" fmla="*/ 129421 w 900266"/>
                <a:gd name="connsiteY673" fmla="*/ 379352 h 418727"/>
                <a:gd name="connsiteX674" fmla="*/ 130639 w 900266"/>
                <a:gd name="connsiteY674" fmla="*/ 375721 h 418727"/>
                <a:gd name="connsiteX675" fmla="*/ 131878 w 900266"/>
                <a:gd name="connsiteY675" fmla="*/ 373227 h 418727"/>
                <a:gd name="connsiteX676" fmla="*/ 132876 w 900266"/>
                <a:gd name="connsiteY676" fmla="*/ 370633 h 418727"/>
                <a:gd name="connsiteX677" fmla="*/ 133321 w 900266"/>
                <a:gd name="connsiteY677" fmla="*/ 367234 h 418727"/>
                <a:gd name="connsiteX678" fmla="*/ 132394 w 900266"/>
                <a:gd name="connsiteY678" fmla="*/ 361772 h 418727"/>
                <a:gd name="connsiteX679" fmla="*/ 131364 w 900266"/>
                <a:gd name="connsiteY679" fmla="*/ 360560 h 418727"/>
                <a:gd name="connsiteX680" fmla="*/ 130125 w 900266"/>
                <a:gd name="connsiteY680" fmla="*/ 360164 h 418727"/>
                <a:gd name="connsiteX681" fmla="*/ 128806 w 900266"/>
                <a:gd name="connsiteY681" fmla="*/ 360052 h 418727"/>
                <a:gd name="connsiteX682" fmla="*/ 126376 w 900266"/>
                <a:gd name="connsiteY682" fmla="*/ 360274 h 418727"/>
                <a:gd name="connsiteX683" fmla="*/ 125241 w 900266"/>
                <a:gd name="connsiteY683" fmla="*/ 360712 h 418727"/>
                <a:gd name="connsiteX684" fmla="*/ 123265 w 900266"/>
                <a:gd name="connsiteY684" fmla="*/ 358867 h 418727"/>
                <a:gd name="connsiteX685" fmla="*/ 120874 w 900266"/>
                <a:gd name="connsiteY685" fmla="*/ 358572 h 418727"/>
                <a:gd name="connsiteX686" fmla="*/ 119613 w 900266"/>
                <a:gd name="connsiteY686" fmla="*/ 359086 h 418727"/>
                <a:gd name="connsiteX687" fmla="*/ 118335 w 900266"/>
                <a:gd name="connsiteY687" fmla="*/ 359353 h 418727"/>
                <a:gd name="connsiteX688" fmla="*/ 116953 w 900266"/>
                <a:gd name="connsiteY688" fmla="*/ 358843 h 418727"/>
                <a:gd name="connsiteX689" fmla="*/ 115756 w 900266"/>
                <a:gd name="connsiteY689" fmla="*/ 357751 h 418727"/>
                <a:gd name="connsiteX690" fmla="*/ 115024 w 900266"/>
                <a:gd name="connsiteY690" fmla="*/ 356572 h 418727"/>
                <a:gd name="connsiteX691" fmla="*/ 114452 w 900266"/>
                <a:gd name="connsiteY691" fmla="*/ 355236 h 418727"/>
                <a:gd name="connsiteX692" fmla="*/ 112578 w 900266"/>
                <a:gd name="connsiteY692" fmla="*/ 352562 h 418727"/>
                <a:gd name="connsiteX693" fmla="*/ 110712 w 900266"/>
                <a:gd name="connsiteY693" fmla="*/ 351102 h 418727"/>
                <a:gd name="connsiteX694" fmla="*/ 108458 w 900266"/>
                <a:gd name="connsiteY694" fmla="*/ 350779 h 418727"/>
                <a:gd name="connsiteX695" fmla="*/ 104782 w 900266"/>
                <a:gd name="connsiteY695" fmla="*/ 350863 h 418727"/>
                <a:gd name="connsiteX696" fmla="*/ 103623 w 900266"/>
                <a:gd name="connsiteY696" fmla="*/ 350682 h 418727"/>
                <a:gd name="connsiteX697" fmla="*/ 103556 w 900266"/>
                <a:gd name="connsiteY697" fmla="*/ 349162 h 418727"/>
                <a:gd name="connsiteX698" fmla="*/ 104020 w 900266"/>
                <a:gd name="connsiteY698" fmla="*/ 345804 h 418727"/>
                <a:gd name="connsiteX699" fmla="*/ 104031 w 900266"/>
                <a:gd name="connsiteY699" fmla="*/ 344051 h 418727"/>
                <a:gd name="connsiteX700" fmla="*/ 103763 w 900266"/>
                <a:gd name="connsiteY700" fmla="*/ 342395 h 418727"/>
                <a:gd name="connsiteX701" fmla="*/ 103152 w 900266"/>
                <a:gd name="connsiteY701" fmla="*/ 341034 h 418727"/>
                <a:gd name="connsiteX702" fmla="*/ 102375 w 900266"/>
                <a:gd name="connsiteY702" fmla="*/ 339854 h 418727"/>
                <a:gd name="connsiteX703" fmla="*/ 100179 w 900266"/>
                <a:gd name="connsiteY703" fmla="*/ 337911 h 418727"/>
                <a:gd name="connsiteX704" fmla="*/ 98524 w 900266"/>
                <a:gd name="connsiteY704" fmla="*/ 335176 h 418727"/>
                <a:gd name="connsiteX705" fmla="*/ 95760 w 900266"/>
                <a:gd name="connsiteY705" fmla="*/ 329545 h 418727"/>
                <a:gd name="connsiteX706" fmla="*/ 93348 w 900266"/>
                <a:gd name="connsiteY706" fmla="*/ 323202 h 418727"/>
                <a:gd name="connsiteX707" fmla="*/ 92284 w 900266"/>
                <a:gd name="connsiteY707" fmla="*/ 322246 h 418727"/>
                <a:gd name="connsiteX708" fmla="*/ 90125 w 900266"/>
                <a:gd name="connsiteY708" fmla="*/ 321241 h 418727"/>
                <a:gd name="connsiteX709" fmla="*/ 85410 w 900266"/>
                <a:gd name="connsiteY709" fmla="*/ 320435 h 418727"/>
                <a:gd name="connsiteX710" fmla="*/ 82301 w 900266"/>
                <a:gd name="connsiteY710" fmla="*/ 319601 h 418727"/>
                <a:gd name="connsiteX711" fmla="*/ 81072 w 900266"/>
                <a:gd name="connsiteY711" fmla="*/ 318797 h 418727"/>
                <a:gd name="connsiteX712" fmla="*/ 80563 w 900266"/>
                <a:gd name="connsiteY712" fmla="*/ 317401 h 418727"/>
                <a:gd name="connsiteX713" fmla="*/ 80571 w 900266"/>
                <a:gd name="connsiteY713" fmla="*/ 315906 h 418727"/>
                <a:gd name="connsiteX714" fmla="*/ 80828 w 900266"/>
                <a:gd name="connsiteY714" fmla="*/ 314137 h 418727"/>
                <a:gd name="connsiteX715" fmla="*/ 81556 w 900266"/>
                <a:gd name="connsiteY715" fmla="*/ 312641 h 418727"/>
                <a:gd name="connsiteX716" fmla="*/ 84033 w 900266"/>
                <a:gd name="connsiteY716" fmla="*/ 311485 h 418727"/>
                <a:gd name="connsiteX717" fmla="*/ 89406 w 900266"/>
                <a:gd name="connsiteY717" fmla="*/ 311231 h 418727"/>
                <a:gd name="connsiteX718" fmla="*/ 94003 w 900266"/>
                <a:gd name="connsiteY718" fmla="*/ 311356 h 418727"/>
                <a:gd name="connsiteX719" fmla="*/ 98170 w 900266"/>
                <a:gd name="connsiteY719" fmla="*/ 314031 h 418727"/>
                <a:gd name="connsiteX720" fmla="*/ 99539 w 900266"/>
                <a:gd name="connsiteY720" fmla="*/ 314647 h 418727"/>
                <a:gd name="connsiteX721" fmla="*/ 101008 w 900266"/>
                <a:gd name="connsiteY721" fmla="*/ 314823 h 418727"/>
                <a:gd name="connsiteX722" fmla="*/ 103962 w 900266"/>
                <a:gd name="connsiteY722" fmla="*/ 313978 h 418727"/>
                <a:gd name="connsiteX723" fmla="*/ 105419 w 900266"/>
                <a:gd name="connsiteY723" fmla="*/ 313738 h 418727"/>
                <a:gd name="connsiteX724" fmla="*/ 109110 w 900266"/>
                <a:gd name="connsiteY724" fmla="*/ 314016 h 418727"/>
                <a:gd name="connsiteX725" fmla="*/ 108009 w 900266"/>
                <a:gd name="connsiteY725" fmla="*/ 312750 h 418727"/>
                <a:gd name="connsiteX726" fmla="*/ 106622 w 900266"/>
                <a:gd name="connsiteY726" fmla="*/ 312085 h 418727"/>
                <a:gd name="connsiteX727" fmla="*/ 105191 w 900266"/>
                <a:gd name="connsiteY727" fmla="*/ 312143 h 418727"/>
                <a:gd name="connsiteX728" fmla="*/ 103951 w 900266"/>
                <a:gd name="connsiteY728" fmla="*/ 311628 h 418727"/>
                <a:gd name="connsiteX729" fmla="*/ 101915 w 900266"/>
                <a:gd name="connsiteY729" fmla="*/ 309170 h 418727"/>
                <a:gd name="connsiteX730" fmla="*/ 98371 w 900266"/>
                <a:gd name="connsiteY730" fmla="*/ 306373 h 418727"/>
                <a:gd name="connsiteX731" fmla="*/ 97549 w 900266"/>
                <a:gd name="connsiteY731" fmla="*/ 305215 h 418727"/>
                <a:gd name="connsiteX732" fmla="*/ 97298 w 900266"/>
                <a:gd name="connsiteY732" fmla="*/ 303364 h 418727"/>
                <a:gd name="connsiteX733" fmla="*/ 97983 w 900266"/>
                <a:gd name="connsiteY733" fmla="*/ 301766 h 418727"/>
                <a:gd name="connsiteX734" fmla="*/ 100489 w 900266"/>
                <a:gd name="connsiteY734" fmla="*/ 300128 h 418727"/>
                <a:gd name="connsiteX735" fmla="*/ 102616 w 900266"/>
                <a:gd name="connsiteY735" fmla="*/ 297900 h 418727"/>
                <a:gd name="connsiteX736" fmla="*/ 103593 w 900266"/>
                <a:gd name="connsiteY736" fmla="*/ 294940 h 418727"/>
                <a:gd name="connsiteX737" fmla="*/ 104463 w 900266"/>
                <a:gd name="connsiteY737" fmla="*/ 293575 h 418727"/>
                <a:gd name="connsiteX738" fmla="*/ 106283 w 900266"/>
                <a:gd name="connsiteY738" fmla="*/ 291429 h 418727"/>
                <a:gd name="connsiteX739" fmla="*/ 109023 w 900266"/>
                <a:gd name="connsiteY739" fmla="*/ 291840 h 418727"/>
                <a:gd name="connsiteX740" fmla="*/ 113290 w 900266"/>
                <a:gd name="connsiteY740" fmla="*/ 290288 h 418727"/>
                <a:gd name="connsiteX741" fmla="*/ 120280 w 900266"/>
                <a:gd name="connsiteY741" fmla="*/ 290592 h 418727"/>
                <a:gd name="connsiteX742" fmla="*/ 128639 w 900266"/>
                <a:gd name="connsiteY742" fmla="*/ 290145 h 418727"/>
                <a:gd name="connsiteX743" fmla="*/ 130946 w 900266"/>
                <a:gd name="connsiteY743" fmla="*/ 290310 h 418727"/>
                <a:gd name="connsiteX744" fmla="*/ 136273 w 900266"/>
                <a:gd name="connsiteY744" fmla="*/ 291823 h 418727"/>
                <a:gd name="connsiteX745" fmla="*/ 139341 w 900266"/>
                <a:gd name="connsiteY745" fmla="*/ 292475 h 418727"/>
                <a:gd name="connsiteX746" fmla="*/ 143060 w 900266"/>
                <a:gd name="connsiteY746" fmla="*/ 292810 h 418727"/>
                <a:gd name="connsiteX747" fmla="*/ 145746 w 900266"/>
                <a:gd name="connsiteY747" fmla="*/ 292139 h 418727"/>
                <a:gd name="connsiteX748" fmla="*/ 143211 w 900266"/>
                <a:gd name="connsiteY748" fmla="*/ 290071 h 418727"/>
                <a:gd name="connsiteX749" fmla="*/ 137722 w 900266"/>
                <a:gd name="connsiteY749" fmla="*/ 287617 h 418727"/>
                <a:gd name="connsiteX750" fmla="*/ 136314 w 900266"/>
                <a:gd name="connsiteY750" fmla="*/ 285528 h 418727"/>
                <a:gd name="connsiteX751" fmla="*/ 138827 w 900266"/>
                <a:gd name="connsiteY751" fmla="*/ 279836 h 418727"/>
                <a:gd name="connsiteX752" fmla="*/ 142235 w 900266"/>
                <a:gd name="connsiteY752" fmla="*/ 274642 h 418727"/>
                <a:gd name="connsiteX753" fmla="*/ 144306 w 900266"/>
                <a:gd name="connsiteY753" fmla="*/ 268458 h 418727"/>
                <a:gd name="connsiteX754" fmla="*/ 143725 w 900266"/>
                <a:gd name="connsiteY754" fmla="*/ 262296 h 418727"/>
                <a:gd name="connsiteX755" fmla="*/ 142729 w 900266"/>
                <a:gd name="connsiteY755" fmla="*/ 260598 h 418727"/>
                <a:gd name="connsiteX756" fmla="*/ 143051 w 900266"/>
                <a:gd name="connsiteY756" fmla="*/ 258594 h 418727"/>
                <a:gd name="connsiteX757" fmla="*/ 144243 w 900266"/>
                <a:gd name="connsiteY757" fmla="*/ 256902 h 418727"/>
                <a:gd name="connsiteX758" fmla="*/ 145079 w 900266"/>
                <a:gd name="connsiteY758" fmla="*/ 255215 h 418727"/>
                <a:gd name="connsiteX759" fmla="*/ 144355 w 900266"/>
                <a:gd name="connsiteY759" fmla="*/ 253184 h 418727"/>
                <a:gd name="connsiteX760" fmla="*/ 142850 w 900266"/>
                <a:gd name="connsiteY760" fmla="*/ 250009 h 418727"/>
                <a:gd name="connsiteX761" fmla="*/ 142079 w 900266"/>
                <a:gd name="connsiteY761" fmla="*/ 248981 h 418727"/>
                <a:gd name="connsiteX762" fmla="*/ 139458 w 900266"/>
                <a:gd name="connsiteY762" fmla="*/ 247267 h 418727"/>
                <a:gd name="connsiteX763" fmla="*/ 134187 w 900266"/>
                <a:gd name="connsiteY763" fmla="*/ 247191 h 418727"/>
                <a:gd name="connsiteX764" fmla="*/ 129887 w 900266"/>
                <a:gd name="connsiteY764" fmla="*/ 246255 h 418727"/>
                <a:gd name="connsiteX765" fmla="*/ 128497 w 900266"/>
                <a:gd name="connsiteY765" fmla="*/ 247008 h 418727"/>
                <a:gd name="connsiteX766" fmla="*/ 127713 w 900266"/>
                <a:gd name="connsiteY766" fmla="*/ 248167 h 418727"/>
                <a:gd name="connsiteX767" fmla="*/ 126728 w 900266"/>
                <a:gd name="connsiteY767" fmla="*/ 248930 h 418727"/>
                <a:gd name="connsiteX768" fmla="*/ 123377 w 900266"/>
                <a:gd name="connsiteY768" fmla="*/ 250470 h 418727"/>
                <a:gd name="connsiteX769" fmla="*/ 122261 w 900266"/>
                <a:gd name="connsiteY769" fmla="*/ 250773 h 418727"/>
                <a:gd name="connsiteX770" fmla="*/ 121094 w 900266"/>
                <a:gd name="connsiteY770" fmla="*/ 250467 h 418727"/>
                <a:gd name="connsiteX771" fmla="*/ 119449 w 900266"/>
                <a:gd name="connsiteY771" fmla="*/ 248731 h 418727"/>
                <a:gd name="connsiteX772" fmla="*/ 117989 w 900266"/>
                <a:gd name="connsiteY772" fmla="*/ 248927 h 418727"/>
                <a:gd name="connsiteX773" fmla="*/ 113554 w 900266"/>
                <a:gd name="connsiteY773" fmla="*/ 247843 h 418727"/>
                <a:gd name="connsiteX774" fmla="*/ 111465 w 900266"/>
                <a:gd name="connsiteY774" fmla="*/ 245490 h 418727"/>
                <a:gd name="connsiteX775" fmla="*/ 110695 w 900266"/>
                <a:gd name="connsiteY775" fmla="*/ 245159 h 418727"/>
                <a:gd name="connsiteX776" fmla="*/ 103521 w 900266"/>
                <a:gd name="connsiteY776" fmla="*/ 243277 h 418727"/>
                <a:gd name="connsiteX777" fmla="*/ 101027 w 900266"/>
                <a:gd name="connsiteY777" fmla="*/ 242918 h 418727"/>
                <a:gd name="connsiteX778" fmla="*/ 95322 w 900266"/>
                <a:gd name="connsiteY778" fmla="*/ 244859 h 418727"/>
                <a:gd name="connsiteX779" fmla="*/ 91180 w 900266"/>
                <a:gd name="connsiteY779" fmla="*/ 247343 h 418727"/>
                <a:gd name="connsiteX780" fmla="*/ 90012 w 900266"/>
                <a:gd name="connsiteY780" fmla="*/ 247704 h 418727"/>
                <a:gd name="connsiteX781" fmla="*/ 87868 w 900266"/>
                <a:gd name="connsiteY781" fmla="*/ 249278 h 418727"/>
                <a:gd name="connsiteX782" fmla="*/ 86663 w 900266"/>
                <a:gd name="connsiteY782" fmla="*/ 249528 h 418727"/>
                <a:gd name="connsiteX783" fmla="*/ 85421 w 900266"/>
                <a:gd name="connsiteY783" fmla="*/ 249260 h 418727"/>
                <a:gd name="connsiteX784" fmla="*/ 84251 w 900266"/>
                <a:gd name="connsiteY784" fmla="*/ 249356 h 418727"/>
                <a:gd name="connsiteX785" fmla="*/ 81750 w 900266"/>
                <a:gd name="connsiteY785" fmla="*/ 251712 h 418727"/>
                <a:gd name="connsiteX786" fmla="*/ 77224 w 900266"/>
                <a:gd name="connsiteY786" fmla="*/ 254453 h 418727"/>
                <a:gd name="connsiteX787" fmla="*/ 74974 w 900266"/>
                <a:gd name="connsiteY787" fmla="*/ 256182 h 418727"/>
                <a:gd name="connsiteX788" fmla="*/ 72465 w 900266"/>
                <a:gd name="connsiteY788" fmla="*/ 257255 h 418727"/>
                <a:gd name="connsiteX789" fmla="*/ 69684 w 900266"/>
                <a:gd name="connsiteY789" fmla="*/ 257926 h 418727"/>
                <a:gd name="connsiteX790" fmla="*/ 66831 w 900266"/>
                <a:gd name="connsiteY790" fmla="*/ 258035 h 418727"/>
                <a:gd name="connsiteX791" fmla="*/ 65788 w 900266"/>
                <a:gd name="connsiteY791" fmla="*/ 258656 h 418727"/>
                <a:gd name="connsiteX792" fmla="*/ 62534 w 900266"/>
                <a:gd name="connsiteY792" fmla="*/ 258877 h 418727"/>
                <a:gd name="connsiteX793" fmla="*/ 60550 w 900266"/>
                <a:gd name="connsiteY793" fmla="*/ 259380 h 418727"/>
                <a:gd name="connsiteX794" fmla="*/ 60478 w 900266"/>
                <a:gd name="connsiteY794" fmla="*/ 260313 h 418727"/>
                <a:gd name="connsiteX795" fmla="*/ 60874 w 900266"/>
                <a:gd name="connsiteY795" fmla="*/ 262403 h 418727"/>
                <a:gd name="connsiteX796" fmla="*/ 59187 w 900266"/>
                <a:gd name="connsiteY796" fmla="*/ 261665 h 418727"/>
                <a:gd name="connsiteX797" fmla="*/ 57414 w 900266"/>
                <a:gd name="connsiteY797" fmla="*/ 263083 h 418727"/>
                <a:gd name="connsiteX798" fmla="*/ 58001 w 900266"/>
                <a:gd name="connsiteY798" fmla="*/ 264428 h 418727"/>
                <a:gd name="connsiteX799" fmla="*/ 56941 w 900266"/>
                <a:gd name="connsiteY799" fmla="*/ 264105 h 418727"/>
                <a:gd name="connsiteX800" fmla="*/ 51959 w 900266"/>
                <a:gd name="connsiteY800" fmla="*/ 261517 h 418727"/>
                <a:gd name="connsiteX801" fmla="*/ 47876 w 900266"/>
                <a:gd name="connsiteY801" fmla="*/ 259691 h 418727"/>
                <a:gd name="connsiteX802" fmla="*/ 44246 w 900266"/>
                <a:gd name="connsiteY802" fmla="*/ 258066 h 418727"/>
                <a:gd name="connsiteX803" fmla="*/ 43713 w 900266"/>
                <a:gd name="connsiteY803" fmla="*/ 257771 h 418727"/>
                <a:gd name="connsiteX804" fmla="*/ 42722 w 900266"/>
                <a:gd name="connsiteY804" fmla="*/ 256978 h 418727"/>
                <a:gd name="connsiteX805" fmla="*/ 42013 w 900266"/>
                <a:gd name="connsiteY805" fmla="*/ 255745 h 418727"/>
                <a:gd name="connsiteX806" fmla="*/ 41862 w 900266"/>
                <a:gd name="connsiteY806" fmla="*/ 254392 h 418727"/>
                <a:gd name="connsiteX807" fmla="*/ 42220 w 900266"/>
                <a:gd name="connsiteY807" fmla="*/ 253399 h 418727"/>
                <a:gd name="connsiteX808" fmla="*/ 43102 w 900266"/>
                <a:gd name="connsiteY808" fmla="*/ 252764 h 418727"/>
                <a:gd name="connsiteX809" fmla="*/ 44138 w 900266"/>
                <a:gd name="connsiteY809" fmla="*/ 252519 h 418727"/>
                <a:gd name="connsiteX810" fmla="*/ 45063 w 900266"/>
                <a:gd name="connsiteY810" fmla="*/ 252720 h 418727"/>
                <a:gd name="connsiteX811" fmla="*/ 46090 w 900266"/>
                <a:gd name="connsiteY811" fmla="*/ 253329 h 418727"/>
                <a:gd name="connsiteX812" fmla="*/ 47921 w 900266"/>
                <a:gd name="connsiteY812" fmla="*/ 254066 h 418727"/>
                <a:gd name="connsiteX813" fmla="*/ 50292 w 900266"/>
                <a:gd name="connsiteY813" fmla="*/ 254203 h 418727"/>
                <a:gd name="connsiteX814" fmla="*/ 51767 w 900266"/>
                <a:gd name="connsiteY814" fmla="*/ 253636 h 418727"/>
                <a:gd name="connsiteX815" fmla="*/ 51968 w 900266"/>
                <a:gd name="connsiteY815" fmla="*/ 252277 h 418727"/>
                <a:gd name="connsiteX816" fmla="*/ 49148 w 900266"/>
                <a:gd name="connsiteY816" fmla="*/ 247252 h 418727"/>
                <a:gd name="connsiteX817" fmla="*/ 46550 w 900266"/>
                <a:gd name="connsiteY817" fmla="*/ 243189 h 418727"/>
                <a:gd name="connsiteX818" fmla="*/ 44037 w 900266"/>
                <a:gd name="connsiteY818" fmla="*/ 238663 h 418727"/>
                <a:gd name="connsiteX819" fmla="*/ 42972 w 900266"/>
                <a:gd name="connsiteY819" fmla="*/ 237020 h 418727"/>
                <a:gd name="connsiteX820" fmla="*/ 39888 w 900266"/>
                <a:gd name="connsiteY820" fmla="*/ 233222 h 418727"/>
                <a:gd name="connsiteX821" fmla="*/ 36850 w 900266"/>
                <a:gd name="connsiteY821" fmla="*/ 229477 h 418727"/>
                <a:gd name="connsiteX822" fmla="*/ 34447 w 900266"/>
                <a:gd name="connsiteY822" fmla="*/ 226136 h 418727"/>
                <a:gd name="connsiteX823" fmla="*/ 33186 w 900266"/>
                <a:gd name="connsiteY823" fmla="*/ 225106 h 418727"/>
                <a:gd name="connsiteX824" fmla="*/ 29310 w 900266"/>
                <a:gd name="connsiteY824" fmla="*/ 224676 h 418727"/>
                <a:gd name="connsiteX825" fmla="*/ 21914 w 900266"/>
                <a:gd name="connsiteY825" fmla="*/ 223852 h 418727"/>
                <a:gd name="connsiteX826" fmla="*/ 19299 w 900266"/>
                <a:gd name="connsiteY826" fmla="*/ 223460 h 418727"/>
                <a:gd name="connsiteX827" fmla="*/ 17207 w 900266"/>
                <a:gd name="connsiteY827" fmla="*/ 224452 h 418727"/>
                <a:gd name="connsiteX828" fmla="*/ 15107 w 900266"/>
                <a:gd name="connsiteY828" fmla="*/ 225233 h 418727"/>
                <a:gd name="connsiteX829" fmla="*/ 13110 w 900266"/>
                <a:gd name="connsiteY829" fmla="*/ 223782 h 418727"/>
                <a:gd name="connsiteX830" fmla="*/ 11534 w 900266"/>
                <a:gd name="connsiteY830" fmla="*/ 221408 h 418727"/>
                <a:gd name="connsiteX831" fmla="*/ 10705 w 900266"/>
                <a:gd name="connsiteY831" fmla="*/ 219408 h 418727"/>
                <a:gd name="connsiteX832" fmla="*/ 11108 w 900266"/>
                <a:gd name="connsiteY832" fmla="*/ 217366 h 418727"/>
                <a:gd name="connsiteX833" fmla="*/ 11274 w 900266"/>
                <a:gd name="connsiteY833" fmla="*/ 214347 h 418727"/>
                <a:gd name="connsiteX834" fmla="*/ 10072 w 900266"/>
                <a:gd name="connsiteY834" fmla="*/ 211366 h 418727"/>
                <a:gd name="connsiteX835" fmla="*/ 8737 w 900266"/>
                <a:gd name="connsiteY835" fmla="*/ 209894 h 418727"/>
                <a:gd name="connsiteX836" fmla="*/ 5394 w 900266"/>
                <a:gd name="connsiteY836" fmla="*/ 208787 h 418727"/>
                <a:gd name="connsiteX837" fmla="*/ 1145 w 900266"/>
                <a:gd name="connsiteY837" fmla="*/ 206275 h 418727"/>
                <a:gd name="connsiteX838" fmla="*/ 0 w 900266"/>
                <a:gd name="connsiteY838" fmla="*/ 201689 h 418727"/>
                <a:gd name="connsiteX839" fmla="*/ 2067 w 900266"/>
                <a:gd name="connsiteY839" fmla="*/ 195102 h 418727"/>
                <a:gd name="connsiteX840" fmla="*/ 5390 w 900266"/>
                <a:gd name="connsiteY840" fmla="*/ 190426 h 418727"/>
                <a:gd name="connsiteX841" fmla="*/ 7807 w 900266"/>
                <a:gd name="connsiteY841" fmla="*/ 188466 h 418727"/>
                <a:gd name="connsiteX842" fmla="*/ 8957 w 900266"/>
                <a:gd name="connsiteY842" fmla="*/ 186752 h 418727"/>
                <a:gd name="connsiteX843" fmla="*/ 9335 w 900266"/>
                <a:gd name="connsiteY843" fmla="*/ 185268 h 418727"/>
                <a:gd name="connsiteX844" fmla="*/ 9044 w 900266"/>
                <a:gd name="connsiteY844" fmla="*/ 183849 h 418727"/>
                <a:gd name="connsiteX845" fmla="*/ 7612 w 900266"/>
                <a:gd name="connsiteY845" fmla="*/ 182342 h 418727"/>
                <a:gd name="connsiteX846" fmla="*/ 5390 w 900266"/>
                <a:gd name="connsiteY846" fmla="*/ 180874 h 418727"/>
                <a:gd name="connsiteX847" fmla="*/ 4265 w 900266"/>
                <a:gd name="connsiteY847" fmla="*/ 179063 h 418727"/>
                <a:gd name="connsiteX848" fmla="*/ 4732 w 900266"/>
                <a:gd name="connsiteY848" fmla="*/ 175188 h 418727"/>
                <a:gd name="connsiteX849" fmla="*/ 6200 w 900266"/>
                <a:gd name="connsiteY849" fmla="*/ 169593 h 418727"/>
                <a:gd name="connsiteX850" fmla="*/ 8465 w 900266"/>
                <a:gd name="connsiteY850" fmla="*/ 165108 h 418727"/>
                <a:gd name="connsiteX851" fmla="*/ 11508 w 900266"/>
                <a:gd name="connsiteY851" fmla="*/ 162620 h 418727"/>
                <a:gd name="connsiteX852" fmla="*/ 14133 w 900266"/>
                <a:gd name="connsiteY852" fmla="*/ 160836 h 418727"/>
                <a:gd name="connsiteX853" fmla="*/ 15170 w 900266"/>
                <a:gd name="connsiteY853" fmla="*/ 159172 h 418727"/>
                <a:gd name="connsiteX854" fmla="*/ 15224 w 900266"/>
                <a:gd name="connsiteY854" fmla="*/ 156810 h 418727"/>
                <a:gd name="connsiteX855" fmla="*/ 15159 w 900266"/>
                <a:gd name="connsiteY855" fmla="*/ 154576 h 418727"/>
                <a:gd name="connsiteX856" fmla="*/ 15861 w 900266"/>
                <a:gd name="connsiteY856" fmla="*/ 152953 h 418727"/>
                <a:gd name="connsiteX857" fmla="*/ 16964 w 900266"/>
                <a:gd name="connsiteY857" fmla="*/ 151662 h 418727"/>
                <a:gd name="connsiteX858" fmla="*/ 18133 w 900266"/>
                <a:gd name="connsiteY858" fmla="*/ 150507 h 418727"/>
                <a:gd name="connsiteX859" fmla="*/ 19778 w 900266"/>
                <a:gd name="connsiteY859" fmla="*/ 149209 h 418727"/>
                <a:gd name="connsiteX860" fmla="*/ 21901 w 900266"/>
                <a:gd name="connsiteY860" fmla="*/ 148894 h 418727"/>
                <a:gd name="connsiteX861" fmla="*/ 24248 w 900266"/>
                <a:gd name="connsiteY861" fmla="*/ 149927 h 418727"/>
                <a:gd name="connsiteX862" fmla="*/ 27429 w 900266"/>
                <a:gd name="connsiteY862" fmla="*/ 152698 h 418727"/>
                <a:gd name="connsiteX863" fmla="*/ 32097 w 900266"/>
                <a:gd name="connsiteY863" fmla="*/ 158158 h 418727"/>
                <a:gd name="connsiteX864" fmla="*/ 34764 w 900266"/>
                <a:gd name="connsiteY864" fmla="*/ 161727 h 418727"/>
                <a:gd name="connsiteX865" fmla="*/ 35725 w 900266"/>
                <a:gd name="connsiteY865" fmla="*/ 162825 h 418727"/>
                <a:gd name="connsiteX866" fmla="*/ 38161 w 900266"/>
                <a:gd name="connsiteY866" fmla="*/ 164949 h 418727"/>
                <a:gd name="connsiteX867" fmla="*/ 40357 w 900266"/>
                <a:gd name="connsiteY867" fmla="*/ 165806 h 418727"/>
                <a:gd name="connsiteX868" fmla="*/ 44022 w 900266"/>
                <a:gd name="connsiteY868" fmla="*/ 164475 h 418727"/>
                <a:gd name="connsiteX869" fmla="*/ 47537 w 900266"/>
                <a:gd name="connsiteY869" fmla="*/ 162929 h 418727"/>
                <a:gd name="connsiteX870" fmla="*/ 48671 w 900266"/>
                <a:gd name="connsiteY870" fmla="*/ 161946 h 418727"/>
                <a:gd name="connsiteX871" fmla="*/ 49401 w 900266"/>
                <a:gd name="connsiteY871" fmla="*/ 160482 h 418727"/>
                <a:gd name="connsiteX872" fmla="*/ 48841 w 900266"/>
                <a:gd name="connsiteY872" fmla="*/ 157977 h 418727"/>
                <a:gd name="connsiteX873" fmla="*/ 48107 w 900266"/>
                <a:gd name="connsiteY873" fmla="*/ 156341 h 418727"/>
                <a:gd name="connsiteX874" fmla="*/ 47325 w 900266"/>
                <a:gd name="connsiteY874" fmla="*/ 154258 h 418727"/>
                <a:gd name="connsiteX875" fmla="*/ 46243 w 900266"/>
                <a:gd name="connsiteY875" fmla="*/ 150629 h 418727"/>
                <a:gd name="connsiteX876" fmla="*/ 45481 w 900266"/>
                <a:gd name="connsiteY876" fmla="*/ 144924 h 418727"/>
                <a:gd name="connsiteX877" fmla="*/ 44577 w 900266"/>
                <a:gd name="connsiteY877" fmla="*/ 143112 h 418727"/>
                <a:gd name="connsiteX878" fmla="*/ 45242 w 900266"/>
                <a:gd name="connsiteY878" fmla="*/ 142903 h 418727"/>
                <a:gd name="connsiteX879" fmla="*/ 47002 w 900266"/>
                <a:gd name="connsiteY879" fmla="*/ 143281 h 418727"/>
                <a:gd name="connsiteX880" fmla="*/ 48630 w 900266"/>
                <a:gd name="connsiteY880" fmla="*/ 143442 h 418727"/>
                <a:gd name="connsiteX881" fmla="*/ 50959 w 900266"/>
                <a:gd name="connsiteY881" fmla="*/ 142184 h 418727"/>
                <a:gd name="connsiteX882" fmla="*/ 54164 w 900266"/>
                <a:gd name="connsiteY882" fmla="*/ 139813 h 418727"/>
                <a:gd name="connsiteX883" fmla="*/ 60018 w 900266"/>
                <a:gd name="connsiteY883" fmla="*/ 136152 h 418727"/>
                <a:gd name="connsiteX884" fmla="*/ 61258 w 900266"/>
                <a:gd name="connsiteY884" fmla="*/ 133732 h 418727"/>
                <a:gd name="connsiteX885" fmla="*/ 62255 w 900266"/>
                <a:gd name="connsiteY885" fmla="*/ 131036 h 418727"/>
                <a:gd name="connsiteX886" fmla="*/ 63879 w 900266"/>
                <a:gd name="connsiteY886" fmla="*/ 129381 h 418727"/>
                <a:gd name="connsiteX887" fmla="*/ 67600 w 900266"/>
                <a:gd name="connsiteY887" fmla="*/ 128835 h 418727"/>
                <a:gd name="connsiteX888" fmla="*/ 71049 w 900266"/>
                <a:gd name="connsiteY888" fmla="*/ 127969 h 418727"/>
                <a:gd name="connsiteX889" fmla="*/ 73482 w 900266"/>
                <a:gd name="connsiteY889" fmla="*/ 126058 h 418727"/>
                <a:gd name="connsiteX890" fmla="*/ 77298 w 900266"/>
                <a:gd name="connsiteY890" fmla="*/ 124377 h 418727"/>
                <a:gd name="connsiteX891" fmla="*/ 80438 w 900266"/>
                <a:gd name="connsiteY891" fmla="*/ 123353 h 418727"/>
                <a:gd name="connsiteX892" fmla="*/ 81817 w 900266"/>
                <a:gd name="connsiteY892" fmla="*/ 122413 h 418727"/>
                <a:gd name="connsiteX893" fmla="*/ 82800 w 900266"/>
                <a:gd name="connsiteY893" fmla="*/ 121000 h 418727"/>
                <a:gd name="connsiteX894" fmla="*/ 86395 w 900266"/>
                <a:gd name="connsiteY894" fmla="*/ 117010 h 418727"/>
                <a:gd name="connsiteX895" fmla="*/ 89218 w 900266"/>
                <a:gd name="connsiteY895" fmla="*/ 114553 h 418727"/>
                <a:gd name="connsiteX896" fmla="*/ 91699 w 900266"/>
                <a:gd name="connsiteY896" fmla="*/ 112022 h 418727"/>
                <a:gd name="connsiteX897" fmla="*/ 92534 w 900266"/>
                <a:gd name="connsiteY897" fmla="*/ 110430 h 418727"/>
                <a:gd name="connsiteX898" fmla="*/ 94491 w 900266"/>
                <a:gd name="connsiteY898" fmla="*/ 110725 h 418727"/>
                <a:gd name="connsiteX899" fmla="*/ 97486 w 900266"/>
                <a:gd name="connsiteY899" fmla="*/ 111831 h 418727"/>
                <a:gd name="connsiteX900" fmla="*/ 100705 w 900266"/>
                <a:gd name="connsiteY900" fmla="*/ 112838 h 418727"/>
                <a:gd name="connsiteX901" fmla="*/ 103059 w 900266"/>
                <a:gd name="connsiteY901" fmla="*/ 114397 h 418727"/>
                <a:gd name="connsiteX902" fmla="*/ 103519 w 900266"/>
                <a:gd name="connsiteY902" fmla="*/ 115994 h 418727"/>
                <a:gd name="connsiteX903" fmla="*/ 103748 w 900266"/>
                <a:gd name="connsiteY903" fmla="*/ 117251 h 418727"/>
                <a:gd name="connsiteX904" fmla="*/ 104709 w 900266"/>
                <a:gd name="connsiteY904" fmla="*/ 117900 h 418727"/>
                <a:gd name="connsiteX905" fmla="*/ 105847 w 900266"/>
                <a:gd name="connsiteY905" fmla="*/ 118019 h 418727"/>
                <a:gd name="connsiteX906" fmla="*/ 107560 w 900266"/>
                <a:gd name="connsiteY906" fmla="*/ 117703 h 418727"/>
                <a:gd name="connsiteX907" fmla="*/ 110559 w 900266"/>
                <a:gd name="connsiteY907" fmla="*/ 117646 h 418727"/>
                <a:gd name="connsiteX908" fmla="*/ 114236 w 900266"/>
                <a:gd name="connsiteY908" fmla="*/ 115580 h 418727"/>
                <a:gd name="connsiteX909" fmla="*/ 119360 w 900266"/>
                <a:gd name="connsiteY909" fmla="*/ 112094 h 418727"/>
                <a:gd name="connsiteX910" fmla="*/ 124048 w 900266"/>
                <a:gd name="connsiteY910" fmla="*/ 111014 h 418727"/>
                <a:gd name="connsiteX911" fmla="*/ 126523 w 900266"/>
                <a:gd name="connsiteY911" fmla="*/ 111841 h 418727"/>
                <a:gd name="connsiteX912" fmla="*/ 128557 w 900266"/>
                <a:gd name="connsiteY912" fmla="*/ 114404 h 418727"/>
                <a:gd name="connsiteX913" fmla="*/ 130174 w 900266"/>
                <a:gd name="connsiteY913" fmla="*/ 116818 h 418727"/>
                <a:gd name="connsiteX914" fmla="*/ 131833 w 900266"/>
                <a:gd name="connsiteY914" fmla="*/ 117715 h 418727"/>
                <a:gd name="connsiteX915" fmla="*/ 132863 w 900266"/>
                <a:gd name="connsiteY915" fmla="*/ 117740 h 418727"/>
                <a:gd name="connsiteX916" fmla="*/ 133247 w 900266"/>
                <a:gd name="connsiteY916" fmla="*/ 117776 h 418727"/>
                <a:gd name="connsiteX917" fmla="*/ 135303 w 900266"/>
                <a:gd name="connsiteY917" fmla="*/ 117230 h 418727"/>
                <a:gd name="connsiteX918" fmla="*/ 135456 w 900266"/>
                <a:gd name="connsiteY918" fmla="*/ 117237 h 418727"/>
                <a:gd name="connsiteX919" fmla="*/ 137346 w 900266"/>
                <a:gd name="connsiteY919" fmla="*/ 117334 h 418727"/>
                <a:gd name="connsiteX920" fmla="*/ 139162 w 900266"/>
                <a:gd name="connsiteY920" fmla="*/ 118146 h 418727"/>
                <a:gd name="connsiteX921" fmla="*/ 142164 w 900266"/>
                <a:gd name="connsiteY921" fmla="*/ 118241 h 418727"/>
                <a:gd name="connsiteX922" fmla="*/ 146342 w 900266"/>
                <a:gd name="connsiteY922" fmla="*/ 117617 h 418727"/>
                <a:gd name="connsiteX923" fmla="*/ 146782 w 900266"/>
                <a:gd name="connsiteY923" fmla="*/ 117363 h 418727"/>
                <a:gd name="connsiteX924" fmla="*/ 148791 w 900266"/>
                <a:gd name="connsiteY924" fmla="*/ 117693 h 418727"/>
                <a:gd name="connsiteX925" fmla="*/ 151235 w 900266"/>
                <a:gd name="connsiteY925" fmla="*/ 118805 h 418727"/>
                <a:gd name="connsiteX926" fmla="*/ 153137 w 900266"/>
                <a:gd name="connsiteY926" fmla="*/ 120125 h 418727"/>
                <a:gd name="connsiteX927" fmla="*/ 156530 w 900266"/>
                <a:gd name="connsiteY927" fmla="*/ 124458 h 418727"/>
                <a:gd name="connsiteX928" fmla="*/ 158484 w 900266"/>
                <a:gd name="connsiteY928" fmla="*/ 125574 h 418727"/>
                <a:gd name="connsiteX929" fmla="*/ 162472 w 900266"/>
                <a:gd name="connsiteY929" fmla="*/ 127112 h 418727"/>
                <a:gd name="connsiteX930" fmla="*/ 164345 w 900266"/>
                <a:gd name="connsiteY930" fmla="*/ 128458 h 418727"/>
                <a:gd name="connsiteX931" fmla="*/ 166517 w 900266"/>
                <a:gd name="connsiteY931" fmla="*/ 130633 h 418727"/>
                <a:gd name="connsiteX932" fmla="*/ 167653 w 900266"/>
                <a:gd name="connsiteY932" fmla="*/ 131950 h 418727"/>
                <a:gd name="connsiteX933" fmla="*/ 170013 w 900266"/>
                <a:gd name="connsiteY933" fmla="*/ 134334 h 418727"/>
                <a:gd name="connsiteX934" fmla="*/ 172747 w 900266"/>
                <a:gd name="connsiteY934" fmla="*/ 138233 h 418727"/>
                <a:gd name="connsiteX935" fmla="*/ 173231 w 900266"/>
                <a:gd name="connsiteY935" fmla="*/ 141331 h 418727"/>
                <a:gd name="connsiteX936" fmla="*/ 173852 w 900266"/>
                <a:gd name="connsiteY936" fmla="*/ 143952 h 418727"/>
                <a:gd name="connsiteX937" fmla="*/ 174867 w 900266"/>
                <a:gd name="connsiteY937" fmla="*/ 145191 h 418727"/>
                <a:gd name="connsiteX938" fmla="*/ 175705 w 900266"/>
                <a:gd name="connsiteY938" fmla="*/ 145347 h 418727"/>
                <a:gd name="connsiteX939" fmla="*/ 176610 w 900266"/>
                <a:gd name="connsiteY939" fmla="*/ 144914 h 418727"/>
                <a:gd name="connsiteX940" fmla="*/ 177493 w 900266"/>
                <a:gd name="connsiteY940" fmla="*/ 143725 h 418727"/>
                <a:gd name="connsiteX941" fmla="*/ 177800 w 900266"/>
                <a:gd name="connsiteY941" fmla="*/ 141731 h 418727"/>
                <a:gd name="connsiteX942" fmla="*/ 177532 w 900266"/>
                <a:gd name="connsiteY942" fmla="*/ 138212 h 418727"/>
                <a:gd name="connsiteX943" fmla="*/ 176832 w 900266"/>
                <a:gd name="connsiteY943" fmla="*/ 135331 h 418727"/>
                <a:gd name="connsiteX944" fmla="*/ 175934 w 900266"/>
                <a:gd name="connsiteY944" fmla="*/ 134415 h 418727"/>
                <a:gd name="connsiteX945" fmla="*/ 175502 w 900266"/>
                <a:gd name="connsiteY945" fmla="*/ 133400 h 418727"/>
                <a:gd name="connsiteX946" fmla="*/ 176096 w 900266"/>
                <a:gd name="connsiteY946" fmla="*/ 132110 h 418727"/>
                <a:gd name="connsiteX947" fmla="*/ 177614 w 900266"/>
                <a:gd name="connsiteY947" fmla="*/ 131486 h 418727"/>
                <a:gd name="connsiteX948" fmla="*/ 179506 w 900266"/>
                <a:gd name="connsiteY948" fmla="*/ 131880 h 418727"/>
                <a:gd name="connsiteX949" fmla="*/ 182620 w 900266"/>
                <a:gd name="connsiteY949" fmla="*/ 133537 h 418727"/>
                <a:gd name="connsiteX950" fmla="*/ 185867 w 900266"/>
                <a:gd name="connsiteY950" fmla="*/ 135625 h 418727"/>
                <a:gd name="connsiteX951" fmla="*/ 189856 w 900266"/>
                <a:gd name="connsiteY951" fmla="*/ 139270 h 418727"/>
                <a:gd name="connsiteX952" fmla="*/ 193524 w 900266"/>
                <a:gd name="connsiteY952" fmla="*/ 141582 h 418727"/>
                <a:gd name="connsiteX953" fmla="*/ 197530 w 900266"/>
                <a:gd name="connsiteY953" fmla="*/ 143428 h 418727"/>
                <a:gd name="connsiteX954" fmla="*/ 200713 w 900266"/>
                <a:gd name="connsiteY954" fmla="*/ 143979 h 418727"/>
                <a:gd name="connsiteX955" fmla="*/ 203177 w 900266"/>
                <a:gd name="connsiteY955" fmla="*/ 143421 h 418727"/>
                <a:gd name="connsiteX956" fmla="*/ 206086 w 900266"/>
                <a:gd name="connsiteY956" fmla="*/ 141917 h 418727"/>
                <a:gd name="connsiteX957" fmla="*/ 208750 w 900266"/>
                <a:gd name="connsiteY957" fmla="*/ 140178 h 418727"/>
                <a:gd name="connsiteX958" fmla="*/ 209962 w 900266"/>
                <a:gd name="connsiteY958" fmla="*/ 138351 h 418727"/>
                <a:gd name="connsiteX959" fmla="*/ 210834 w 900266"/>
                <a:gd name="connsiteY959" fmla="*/ 136359 h 418727"/>
                <a:gd name="connsiteX960" fmla="*/ 214851 w 900266"/>
                <a:gd name="connsiteY960" fmla="*/ 133691 h 418727"/>
                <a:gd name="connsiteX961" fmla="*/ 218517 w 900266"/>
                <a:gd name="connsiteY961" fmla="*/ 131254 h 418727"/>
                <a:gd name="connsiteX962" fmla="*/ 220186 w 900266"/>
                <a:gd name="connsiteY962" fmla="*/ 131693 h 418727"/>
                <a:gd name="connsiteX963" fmla="*/ 221365 w 900266"/>
                <a:gd name="connsiteY963" fmla="*/ 132384 h 418727"/>
                <a:gd name="connsiteX964" fmla="*/ 225127 w 900266"/>
                <a:gd name="connsiteY964" fmla="*/ 130902 h 418727"/>
                <a:gd name="connsiteX965" fmla="*/ 226438 w 900266"/>
                <a:gd name="connsiteY965" fmla="*/ 130493 h 418727"/>
                <a:gd name="connsiteX966" fmla="*/ 230023 w 900266"/>
                <a:gd name="connsiteY966" fmla="*/ 129920 h 418727"/>
                <a:gd name="connsiteX967" fmla="*/ 233722 w 900266"/>
                <a:gd name="connsiteY967" fmla="*/ 130772 h 418727"/>
                <a:gd name="connsiteX968" fmla="*/ 236673 w 900266"/>
                <a:gd name="connsiteY968" fmla="*/ 133386 h 418727"/>
                <a:gd name="connsiteX969" fmla="*/ 239541 w 900266"/>
                <a:gd name="connsiteY969" fmla="*/ 135069 h 418727"/>
                <a:gd name="connsiteX970" fmla="*/ 242098 w 900266"/>
                <a:gd name="connsiteY970" fmla="*/ 134873 h 418727"/>
                <a:gd name="connsiteX971" fmla="*/ 244221 w 900266"/>
                <a:gd name="connsiteY971" fmla="*/ 134010 h 418727"/>
                <a:gd name="connsiteX972" fmla="*/ 245617 w 900266"/>
                <a:gd name="connsiteY972" fmla="*/ 132381 h 418727"/>
                <a:gd name="connsiteX973" fmla="*/ 246675 w 900266"/>
                <a:gd name="connsiteY973" fmla="*/ 130455 h 418727"/>
                <a:gd name="connsiteX974" fmla="*/ 248092 w 900266"/>
                <a:gd name="connsiteY974" fmla="*/ 129223 h 418727"/>
                <a:gd name="connsiteX975" fmla="*/ 248313 w 900266"/>
                <a:gd name="connsiteY975" fmla="*/ 129146 h 418727"/>
                <a:gd name="connsiteX976" fmla="*/ 252873 w 900266"/>
                <a:gd name="connsiteY976" fmla="*/ 129813 h 418727"/>
                <a:gd name="connsiteX977" fmla="*/ 255738 w 900266"/>
                <a:gd name="connsiteY977" fmla="*/ 129713 h 418727"/>
                <a:gd name="connsiteX978" fmla="*/ 256043 w 900266"/>
                <a:gd name="connsiteY978" fmla="*/ 129436 h 418727"/>
                <a:gd name="connsiteX979" fmla="*/ 259818 w 900266"/>
                <a:gd name="connsiteY979" fmla="*/ 129960 h 418727"/>
                <a:gd name="connsiteX980" fmla="*/ 263981 w 900266"/>
                <a:gd name="connsiteY980" fmla="*/ 132670 h 418727"/>
                <a:gd name="connsiteX981" fmla="*/ 266570 w 900266"/>
                <a:gd name="connsiteY981" fmla="*/ 135668 h 418727"/>
                <a:gd name="connsiteX982" fmla="*/ 269876 w 900266"/>
                <a:gd name="connsiteY982" fmla="*/ 139489 h 418727"/>
                <a:gd name="connsiteX983" fmla="*/ 271416 w 900266"/>
                <a:gd name="connsiteY983" fmla="*/ 140734 h 418727"/>
                <a:gd name="connsiteX984" fmla="*/ 273653 w 900266"/>
                <a:gd name="connsiteY984" fmla="*/ 141267 h 418727"/>
                <a:gd name="connsiteX985" fmla="*/ 275411 w 900266"/>
                <a:gd name="connsiteY985" fmla="*/ 141497 h 418727"/>
                <a:gd name="connsiteX986" fmla="*/ 277767 w 900266"/>
                <a:gd name="connsiteY986" fmla="*/ 142088 h 418727"/>
                <a:gd name="connsiteX987" fmla="*/ 283990 w 900266"/>
                <a:gd name="connsiteY987" fmla="*/ 142887 h 418727"/>
                <a:gd name="connsiteX988" fmla="*/ 284936 w 900266"/>
                <a:gd name="connsiteY988" fmla="*/ 143356 h 418727"/>
                <a:gd name="connsiteX989" fmla="*/ 285573 w 900266"/>
                <a:gd name="connsiteY989" fmla="*/ 143980 h 418727"/>
                <a:gd name="connsiteX990" fmla="*/ 284996 w 900266"/>
                <a:gd name="connsiteY990" fmla="*/ 146064 h 418727"/>
                <a:gd name="connsiteX991" fmla="*/ 285553 w 900266"/>
                <a:gd name="connsiteY991" fmla="*/ 146593 h 418727"/>
                <a:gd name="connsiteX992" fmla="*/ 290598 w 900266"/>
                <a:gd name="connsiteY992" fmla="*/ 145110 h 418727"/>
                <a:gd name="connsiteX993" fmla="*/ 291951 w 900266"/>
                <a:gd name="connsiteY993" fmla="*/ 144003 h 418727"/>
                <a:gd name="connsiteX994" fmla="*/ 293619 w 900266"/>
                <a:gd name="connsiteY994" fmla="*/ 140858 h 418727"/>
                <a:gd name="connsiteX995" fmla="*/ 295109 w 900266"/>
                <a:gd name="connsiteY995" fmla="*/ 137681 h 418727"/>
                <a:gd name="connsiteX996" fmla="*/ 296216 w 900266"/>
                <a:gd name="connsiteY996" fmla="*/ 136503 h 418727"/>
                <a:gd name="connsiteX997" fmla="*/ 297395 w 900266"/>
                <a:gd name="connsiteY997" fmla="*/ 136194 h 418727"/>
                <a:gd name="connsiteX998" fmla="*/ 298578 w 900266"/>
                <a:gd name="connsiteY998" fmla="*/ 136663 h 418727"/>
                <a:gd name="connsiteX999" fmla="*/ 300228 w 900266"/>
                <a:gd name="connsiteY999" fmla="*/ 138540 h 418727"/>
                <a:gd name="connsiteX1000" fmla="*/ 302470 w 900266"/>
                <a:gd name="connsiteY1000" fmla="*/ 140451 h 418727"/>
                <a:gd name="connsiteX1001" fmla="*/ 305493 w 900266"/>
                <a:gd name="connsiteY1001" fmla="*/ 141179 h 418727"/>
                <a:gd name="connsiteX1002" fmla="*/ 307343 w 900266"/>
                <a:gd name="connsiteY1002" fmla="*/ 141469 h 418727"/>
                <a:gd name="connsiteX1003" fmla="*/ 310207 w 900266"/>
                <a:gd name="connsiteY1003" fmla="*/ 141628 h 418727"/>
                <a:gd name="connsiteX1004" fmla="*/ 316936 w 900266"/>
                <a:gd name="connsiteY1004" fmla="*/ 140703 h 418727"/>
                <a:gd name="connsiteX1005" fmla="*/ 323228 w 900266"/>
                <a:gd name="connsiteY1005" fmla="*/ 138394 h 418727"/>
                <a:gd name="connsiteX1006" fmla="*/ 326823 w 900266"/>
                <a:gd name="connsiteY1006" fmla="*/ 135880 h 418727"/>
                <a:gd name="connsiteX1007" fmla="*/ 328494 w 900266"/>
                <a:gd name="connsiteY1007" fmla="*/ 132110 h 418727"/>
                <a:gd name="connsiteX1008" fmla="*/ 329538 w 900266"/>
                <a:gd name="connsiteY1008" fmla="*/ 127819 h 418727"/>
                <a:gd name="connsiteX1009" fmla="*/ 331149 w 900266"/>
                <a:gd name="connsiteY1009" fmla="*/ 125106 h 418727"/>
                <a:gd name="connsiteX1010" fmla="*/ 330477 w 900266"/>
                <a:gd name="connsiteY1010" fmla="*/ 122324 h 418727"/>
                <a:gd name="connsiteX1011" fmla="*/ 327307 w 900266"/>
                <a:gd name="connsiteY1011" fmla="*/ 119679 h 418727"/>
                <a:gd name="connsiteX1012" fmla="*/ 326240 w 900266"/>
                <a:gd name="connsiteY1012" fmla="*/ 118882 h 418727"/>
                <a:gd name="connsiteX1013" fmla="*/ 318540 w 900266"/>
                <a:gd name="connsiteY1013" fmla="*/ 117399 h 418727"/>
                <a:gd name="connsiteX1014" fmla="*/ 318065 w 900266"/>
                <a:gd name="connsiteY1014" fmla="*/ 116331 h 418727"/>
                <a:gd name="connsiteX1015" fmla="*/ 317627 w 900266"/>
                <a:gd name="connsiteY1015" fmla="*/ 116086 h 418727"/>
                <a:gd name="connsiteX1016" fmla="*/ 310039 w 900266"/>
                <a:gd name="connsiteY1016" fmla="*/ 113736 h 418727"/>
                <a:gd name="connsiteX1017" fmla="*/ 306376 w 900266"/>
                <a:gd name="connsiteY1017" fmla="*/ 112728 h 418727"/>
                <a:gd name="connsiteX1018" fmla="*/ 305351 w 900266"/>
                <a:gd name="connsiteY1018" fmla="*/ 111175 h 418727"/>
                <a:gd name="connsiteX1019" fmla="*/ 304668 w 900266"/>
                <a:gd name="connsiteY1019" fmla="*/ 109139 h 418727"/>
                <a:gd name="connsiteX1020" fmla="*/ 302299 w 900266"/>
                <a:gd name="connsiteY1020" fmla="*/ 107321 h 418727"/>
                <a:gd name="connsiteX1021" fmla="*/ 297592 w 900266"/>
                <a:gd name="connsiteY1021" fmla="*/ 105668 h 418727"/>
                <a:gd name="connsiteX1022" fmla="*/ 296769 w 900266"/>
                <a:gd name="connsiteY1022" fmla="*/ 104409 h 418727"/>
                <a:gd name="connsiteX1023" fmla="*/ 297549 w 900266"/>
                <a:gd name="connsiteY1023" fmla="*/ 103132 h 418727"/>
                <a:gd name="connsiteX1024" fmla="*/ 301267 w 900266"/>
                <a:gd name="connsiteY1024" fmla="*/ 101711 h 418727"/>
                <a:gd name="connsiteX1025" fmla="*/ 305508 w 900266"/>
                <a:gd name="connsiteY1025" fmla="*/ 98719 h 418727"/>
                <a:gd name="connsiteX1026" fmla="*/ 307140 w 900266"/>
                <a:gd name="connsiteY1026" fmla="*/ 98105 h 418727"/>
                <a:gd name="connsiteX1027" fmla="*/ 310922 w 900266"/>
                <a:gd name="connsiteY1027" fmla="*/ 97972 h 418727"/>
                <a:gd name="connsiteX1028" fmla="*/ 314418 w 900266"/>
                <a:gd name="connsiteY1028" fmla="*/ 95524 h 418727"/>
                <a:gd name="connsiteX1029" fmla="*/ 316832 w 900266"/>
                <a:gd name="connsiteY1029" fmla="*/ 94125 h 418727"/>
                <a:gd name="connsiteX1030" fmla="*/ 318091 w 900266"/>
                <a:gd name="connsiteY1030" fmla="*/ 92454 h 418727"/>
                <a:gd name="connsiteX1031" fmla="*/ 317758 w 900266"/>
                <a:gd name="connsiteY1031" fmla="*/ 90734 h 418727"/>
                <a:gd name="connsiteX1032" fmla="*/ 314260 w 900266"/>
                <a:gd name="connsiteY1032" fmla="*/ 85526 h 418727"/>
                <a:gd name="connsiteX1033" fmla="*/ 313224 w 900266"/>
                <a:gd name="connsiteY1033" fmla="*/ 82369 h 418727"/>
                <a:gd name="connsiteX1034" fmla="*/ 313841 w 900266"/>
                <a:gd name="connsiteY1034" fmla="*/ 80312 h 418727"/>
                <a:gd name="connsiteX1035" fmla="*/ 315851 w 900266"/>
                <a:gd name="connsiteY1035" fmla="*/ 78081 h 418727"/>
                <a:gd name="connsiteX1036" fmla="*/ 316989 w 900266"/>
                <a:gd name="connsiteY1036" fmla="*/ 76864 h 418727"/>
                <a:gd name="connsiteX1037" fmla="*/ 318356 w 900266"/>
                <a:gd name="connsiteY1037" fmla="*/ 74675 h 418727"/>
                <a:gd name="connsiteX1038" fmla="*/ 319261 w 900266"/>
                <a:gd name="connsiteY1038" fmla="*/ 73505 h 418727"/>
                <a:gd name="connsiteX1039" fmla="*/ 322787 w 900266"/>
                <a:gd name="connsiteY1039" fmla="*/ 73008 h 418727"/>
                <a:gd name="connsiteX1040" fmla="*/ 327074 w 900266"/>
                <a:gd name="connsiteY1040" fmla="*/ 72800 h 418727"/>
                <a:gd name="connsiteX1041" fmla="*/ 330011 w 900266"/>
                <a:gd name="connsiteY1041" fmla="*/ 73324 h 418727"/>
                <a:gd name="connsiteX1042" fmla="*/ 334118 w 900266"/>
                <a:gd name="connsiteY1042" fmla="*/ 73597 h 418727"/>
                <a:gd name="connsiteX1043" fmla="*/ 337860 w 900266"/>
                <a:gd name="connsiteY1043" fmla="*/ 74000 h 418727"/>
                <a:gd name="connsiteX1044" fmla="*/ 339754 w 900266"/>
                <a:gd name="connsiteY1044" fmla="*/ 74364 h 418727"/>
                <a:gd name="connsiteX1045" fmla="*/ 341144 w 900266"/>
                <a:gd name="connsiteY1045" fmla="*/ 73695 h 418727"/>
                <a:gd name="connsiteX1046" fmla="*/ 342153 w 900266"/>
                <a:gd name="connsiteY1046" fmla="*/ 72518 h 418727"/>
                <a:gd name="connsiteX1047" fmla="*/ 342116 w 900266"/>
                <a:gd name="connsiteY1047" fmla="*/ 70960 h 418727"/>
                <a:gd name="connsiteX1048" fmla="*/ 340648 w 900266"/>
                <a:gd name="connsiteY1048" fmla="*/ 69448 h 418727"/>
                <a:gd name="connsiteX1049" fmla="*/ 335154 w 900266"/>
                <a:gd name="connsiteY1049" fmla="*/ 67466 h 418727"/>
                <a:gd name="connsiteX1050" fmla="*/ 332803 w 900266"/>
                <a:gd name="connsiteY1050" fmla="*/ 65829 h 418727"/>
                <a:gd name="connsiteX1051" fmla="*/ 330952 w 900266"/>
                <a:gd name="connsiteY1051" fmla="*/ 66010 h 418727"/>
                <a:gd name="connsiteX1052" fmla="*/ 327870 w 900266"/>
                <a:gd name="connsiteY1052" fmla="*/ 65501 h 418727"/>
                <a:gd name="connsiteX1053" fmla="*/ 325087 w 900266"/>
                <a:gd name="connsiteY1053" fmla="*/ 64425 h 418727"/>
                <a:gd name="connsiteX1054" fmla="*/ 322617 w 900266"/>
                <a:gd name="connsiteY1054" fmla="*/ 64066 h 418727"/>
                <a:gd name="connsiteX1055" fmla="*/ 321812 w 900266"/>
                <a:gd name="connsiteY1055" fmla="*/ 62575 h 418727"/>
                <a:gd name="connsiteX1056" fmla="*/ 322323 w 900266"/>
                <a:gd name="connsiteY1056" fmla="*/ 60486 h 418727"/>
                <a:gd name="connsiteX1057" fmla="*/ 323273 w 900266"/>
                <a:gd name="connsiteY1057" fmla="*/ 59290 h 418727"/>
                <a:gd name="connsiteX1058" fmla="*/ 325102 w 900266"/>
                <a:gd name="connsiteY1058" fmla="*/ 58693 h 418727"/>
                <a:gd name="connsiteX1059" fmla="*/ 327078 w 900266"/>
                <a:gd name="connsiteY1059" fmla="*/ 58992 h 418727"/>
                <a:gd name="connsiteX1060" fmla="*/ 329236 w 900266"/>
                <a:gd name="connsiteY1060" fmla="*/ 58122 h 418727"/>
                <a:gd name="connsiteX1061" fmla="*/ 329855 w 900266"/>
                <a:gd name="connsiteY1061" fmla="*/ 57613 h 418727"/>
                <a:gd name="connsiteX1062" fmla="*/ 330041 w 900266"/>
                <a:gd name="connsiteY1062" fmla="*/ 56958 h 418727"/>
                <a:gd name="connsiteX1063" fmla="*/ 329691 w 900266"/>
                <a:gd name="connsiteY1063" fmla="*/ 56018 h 418727"/>
                <a:gd name="connsiteX1064" fmla="*/ 328696 w 900266"/>
                <a:gd name="connsiteY1064" fmla="*/ 55240 h 418727"/>
                <a:gd name="connsiteX1065" fmla="*/ 327277 w 900266"/>
                <a:gd name="connsiteY1065" fmla="*/ 55035 h 418727"/>
                <a:gd name="connsiteX1066" fmla="*/ 325644 w 900266"/>
                <a:gd name="connsiteY1066" fmla="*/ 55695 h 418727"/>
                <a:gd name="connsiteX1067" fmla="*/ 323694 w 900266"/>
                <a:gd name="connsiteY1067" fmla="*/ 56124 h 418727"/>
                <a:gd name="connsiteX1068" fmla="*/ 320391 w 900266"/>
                <a:gd name="connsiteY1068" fmla="*/ 55155 h 418727"/>
                <a:gd name="connsiteX1069" fmla="*/ 317758 w 900266"/>
                <a:gd name="connsiteY1069" fmla="*/ 53989 h 418727"/>
                <a:gd name="connsiteX1070" fmla="*/ 317892 w 900266"/>
                <a:gd name="connsiteY1070" fmla="*/ 52912 h 418727"/>
                <a:gd name="connsiteX1071" fmla="*/ 319838 w 900266"/>
                <a:gd name="connsiteY1071" fmla="*/ 51310 h 418727"/>
                <a:gd name="connsiteX1072" fmla="*/ 320714 w 900266"/>
                <a:gd name="connsiteY1072" fmla="*/ 50009 h 418727"/>
                <a:gd name="connsiteX1073" fmla="*/ 320714 w 900266"/>
                <a:gd name="connsiteY1073" fmla="*/ 48209 h 418727"/>
                <a:gd name="connsiteX1074" fmla="*/ 320714 w 900266"/>
                <a:gd name="connsiteY1074" fmla="*/ 46106 h 418727"/>
                <a:gd name="connsiteX1075" fmla="*/ 321390 w 900266"/>
                <a:gd name="connsiteY1075" fmla="*/ 43640 h 418727"/>
                <a:gd name="connsiteX1076" fmla="*/ 323321 w 900266"/>
                <a:gd name="connsiteY1076" fmla="*/ 41952 h 418727"/>
                <a:gd name="connsiteX1077" fmla="*/ 325590 w 900266"/>
                <a:gd name="connsiteY1077" fmla="*/ 41048 h 418727"/>
                <a:gd name="connsiteX1078" fmla="*/ 331438 w 900266"/>
                <a:gd name="connsiteY1078" fmla="*/ 42697 h 418727"/>
                <a:gd name="connsiteX1079" fmla="*/ 338747 w 900266"/>
                <a:gd name="connsiteY1079" fmla="*/ 44166 h 418727"/>
                <a:gd name="connsiteX1080" fmla="*/ 340007 w 900266"/>
                <a:gd name="connsiteY1080" fmla="*/ 43926 h 418727"/>
                <a:gd name="connsiteX1081" fmla="*/ 340376 w 900266"/>
                <a:gd name="connsiteY1081" fmla="*/ 43152 h 418727"/>
                <a:gd name="connsiteX1082" fmla="*/ 341213 w 900266"/>
                <a:gd name="connsiteY1082" fmla="*/ 42463 h 418727"/>
                <a:gd name="connsiteX1083" fmla="*/ 351358 w 900266"/>
                <a:gd name="connsiteY1083" fmla="*/ 42143 h 418727"/>
                <a:gd name="connsiteX1084" fmla="*/ 353332 w 900266"/>
                <a:gd name="connsiteY1084" fmla="*/ 41195 h 418727"/>
                <a:gd name="connsiteX1085" fmla="*/ 354315 w 900266"/>
                <a:gd name="connsiteY1085" fmla="*/ 40441 h 418727"/>
                <a:gd name="connsiteX1086" fmla="*/ 364071 w 900266"/>
                <a:gd name="connsiteY1086" fmla="*/ 39349 h 418727"/>
                <a:gd name="connsiteX1087" fmla="*/ 365234 w 900266"/>
                <a:gd name="connsiteY1087" fmla="*/ 38315 h 418727"/>
                <a:gd name="connsiteX1088" fmla="*/ 366666 w 900266"/>
                <a:gd name="connsiteY1088" fmla="*/ 37349 h 418727"/>
                <a:gd name="connsiteX1089" fmla="*/ 368908 w 900266"/>
                <a:gd name="connsiteY1089" fmla="*/ 37367 h 418727"/>
                <a:gd name="connsiteX1090" fmla="*/ 371583 w 900266"/>
                <a:gd name="connsiteY1090" fmla="*/ 36979 h 418727"/>
                <a:gd name="connsiteX1091" fmla="*/ 375306 w 900266"/>
                <a:gd name="connsiteY1091" fmla="*/ 35802 h 418727"/>
                <a:gd name="connsiteX1092" fmla="*/ 377945 w 900266"/>
                <a:gd name="connsiteY1092" fmla="*/ 35154 h 418727"/>
                <a:gd name="connsiteX1093" fmla="*/ 378383 w 900266"/>
                <a:gd name="connsiteY1093" fmla="*/ 35099 h 418727"/>
                <a:gd name="connsiteX1094" fmla="*/ 381166 w 900266"/>
                <a:gd name="connsiteY1094" fmla="*/ 35359 h 418727"/>
                <a:gd name="connsiteX1095" fmla="*/ 384634 w 900266"/>
                <a:gd name="connsiteY1095" fmla="*/ 34427 h 418727"/>
                <a:gd name="connsiteX1096" fmla="*/ 385375 w 900266"/>
                <a:gd name="connsiteY1096" fmla="*/ 34042 h 418727"/>
                <a:gd name="connsiteX1097" fmla="*/ 385939 w 900266"/>
                <a:gd name="connsiteY1097" fmla="*/ 33336 h 418727"/>
                <a:gd name="connsiteX1098" fmla="*/ 388957 w 900266"/>
                <a:gd name="connsiteY1098" fmla="*/ 31981 h 418727"/>
                <a:gd name="connsiteX1099" fmla="*/ 394747 w 900266"/>
                <a:gd name="connsiteY1099" fmla="*/ 30860 h 418727"/>
                <a:gd name="connsiteX1100" fmla="*/ 396159 w 900266"/>
                <a:gd name="connsiteY1100" fmla="*/ 31531 h 418727"/>
                <a:gd name="connsiteX1101" fmla="*/ 398919 w 900266"/>
                <a:gd name="connsiteY1101" fmla="*/ 31834 h 418727"/>
                <a:gd name="connsiteX1102" fmla="*/ 402443 w 900266"/>
                <a:gd name="connsiteY1102" fmla="*/ 31337 h 418727"/>
                <a:gd name="connsiteX1103" fmla="*/ 405041 w 900266"/>
                <a:gd name="connsiteY1103" fmla="*/ 30481 h 418727"/>
                <a:gd name="connsiteX1104" fmla="*/ 406559 w 900266"/>
                <a:gd name="connsiteY1104" fmla="*/ 31330 h 418727"/>
                <a:gd name="connsiteX1105" fmla="*/ 408614 w 900266"/>
                <a:gd name="connsiteY1105" fmla="*/ 32201 h 418727"/>
                <a:gd name="connsiteX1106" fmla="*/ 410150 w 900266"/>
                <a:gd name="connsiteY1106" fmla="*/ 31463 h 418727"/>
                <a:gd name="connsiteX1107" fmla="*/ 410910 w 900266"/>
                <a:gd name="connsiteY1107" fmla="*/ 29124 h 418727"/>
                <a:gd name="connsiteX1108" fmla="*/ 411910 w 900266"/>
                <a:gd name="connsiteY1108" fmla="*/ 26836 h 418727"/>
                <a:gd name="connsiteX1109" fmla="*/ 413646 w 900266"/>
                <a:gd name="connsiteY1109" fmla="*/ 25751 h 418727"/>
                <a:gd name="connsiteX1110" fmla="*/ 415021 w 900266"/>
                <a:gd name="connsiteY1110" fmla="*/ 25357 h 418727"/>
                <a:gd name="connsiteX1111" fmla="*/ 416265 w 900266"/>
                <a:gd name="connsiteY1111" fmla="*/ 24475 h 418727"/>
                <a:gd name="connsiteX1112" fmla="*/ 417207 w 900266"/>
                <a:gd name="connsiteY1112" fmla="*/ 23559 h 418727"/>
                <a:gd name="connsiteX1113" fmla="*/ 422311 w 900266"/>
                <a:gd name="connsiteY1113" fmla="*/ 23699 h 418727"/>
                <a:gd name="connsiteX1114" fmla="*/ 426876 w 900266"/>
                <a:gd name="connsiteY1114" fmla="*/ 21416 h 418727"/>
                <a:gd name="connsiteX1115" fmla="*/ 427770 w 900266"/>
                <a:gd name="connsiteY1115" fmla="*/ 22450 h 418727"/>
                <a:gd name="connsiteX1116" fmla="*/ 433696 w 900266"/>
                <a:gd name="connsiteY1116" fmla="*/ 22210 h 418727"/>
                <a:gd name="connsiteX1117" fmla="*/ 441053 w 900266"/>
                <a:gd name="connsiteY1117" fmla="*/ 20739 h 418727"/>
                <a:gd name="connsiteX1118" fmla="*/ 445456 w 900266"/>
                <a:gd name="connsiteY1118" fmla="*/ 20051 h 418727"/>
                <a:gd name="connsiteX1119" fmla="*/ 453059 w 900266"/>
                <a:gd name="connsiteY1119" fmla="*/ 18510 h 418727"/>
                <a:gd name="connsiteX1120" fmla="*/ 456574 w 900266"/>
                <a:gd name="connsiteY1120" fmla="*/ 17264 h 418727"/>
                <a:gd name="connsiteX1121" fmla="*/ 461601 w 900266"/>
                <a:gd name="connsiteY1121" fmla="*/ 16477 h 418727"/>
                <a:gd name="connsiteX1122" fmla="*/ 466216 w 900266"/>
                <a:gd name="connsiteY1122" fmla="*/ 15927 h 418727"/>
                <a:gd name="connsiteX1123" fmla="*/ 469235 w 900266"/>
                <a:gd name="connsiteY1123" fmla="*/ 13742 h 418727"/>
                <a:gd name="connsiteX1124" fmla="*/ 471668 w 900266"/>
                <a:gd name="connsiteY1124" fmla="*/ 13430 h 418727"/>
                <a:gd name="connsiteX1125" fmla="*/ 474629 w 900266"/>
                <a:gd name="connsiteY1125" fmla="*/ 13250 h 418727"/>
                <a:gd name="connsiteX1126" fmla="*/ 476443 w 900266"/>
                <a:gd name="connsiteY1126" fmla="*/ 12724 h 418727"/>
                <a:gd name="connsiteX1127" fmla="*/ 477626 w 900266"/>
                <a:gd name="connsiteY1127" fmla="*/ 11915 h 418727"/>
                <a:gd name="connsiteX1128" fmla="*/ 478393 w 900266"/>
                <a:gd name="connsiteY1128" fmla="*/ 10396 h 418727"/>
                <a:gd name="connsiteX1129" fmla="*/ 477978 w 900266"/>
                <a:gd name="connsiteY1129" fmla="*/ 8463 h 418727"/>
                <a:gd name="connsiteX1130" fmla="*/ 477557 w 900266"/>
                <a:gd name="connsiteY1130" fmla="*/ 7055 h 418727"/>
                <a:gd name="connsiteX1131" fmla="*/ 479673 w 900266"/>
                <a:gd name="connsiteY1131" fmla="*/ 6267 h 418727"/>
                <a:gd name="connsiteX1132" fmla="*/ 482692 w 900266"/>
                <a:gd name="connsiteY1132" fmla="*/ 6023 h 418727"/>
                <a:gd name="connsiteX1133" fmla="*/ 484601 w 900266"/>
                <a:gd name="connsiteY1133" fmla="*/ 5703 h 418727"/>
                <a:gd name="connsiteX1134" fmla="*/ 488760 w 900266"/>
                <a:gd name="connsiteY1134" fmla="*/ 2505 h 418727"/>
                <a:gd name="connsiteX1135" fmla="*/ 491636 w 900266"/>
                <a:gd name="connsiteY1135" fmla="*/ 966 h 418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</a:cxnLst>
              <a:rect l="l" t="t" r="r" b="b"/>
              <a:pathLst>
                <a:path w="900266" h="418727">
                  <a:moveTo>
                    <a:pt x="77408" y="298988"/>
                  </a:moveTo>
                  <a:lnTo>
                    <a:pt x="77557" y="299635"/>
                  </a:lnTo>
                  <a:lnTo>
                    <a:pt x="75980" y="300954"/>
                  </a:lnTo>
                  <a:lnTo>
                    <a:pt x="75838" y="302618"/>
                  </a:lnTo>
                  <a:lnTo>
                    <a:pt x="77149" y="304464"/>
                  </a:lnTo>
                  <a:lnTo>
                    <a:pt x="79057" y="305198"/>
                  </a:lnTo>
                  <a:lnTo>
                    <a:pt x="78267" y="305967"/>
                  </a:lnTo>
                  <a:lnTo>
                    <a:pt x="77086" y="305854"/>
                  </a:lnTo>
                  <a:lnTo>
                    <a:pt x="74870" y="302950"/>
                  </a:lnTo>
                  <a:lnTo>
                    <a:pt x="75488" y="300005"/>
                  </a:lnTo>
                  <a:lnTo>
                    <a:pt x="76291" y="299402"/>
                  </a:lnTo>
                  <a:close/>
                  <a:moveTo>
                    <a:pt x="82711" y="298958"/>
                  </a:moveTo>
                  <a:lnTo>
                    <a:pt x="82294" y="301271"/>
                  </a:lnTo>
                  <a:lnTo>
                    <a:pt x="81871" y="301991"/>
                  </a:lnTo>
                  <a:lnTo>
                    <a:pt x="81109" y="302359"/>
                  </a:lnTo>
                  <a:lnTo>
                    <a:pt x="80643" y="300615"/>
                  </a:lnTo>
                  <a:lnTo>
                    <a:pt x="81500" y="299152"/>
                  </a:lnTo>
                  <a:close/>
                  <a:moveTo>
                    <a:pt x="132667" y="286757"/>
                  </a:moveTo>
                  <a:lnTo>
                    <a:pt x="133787" y="287031"/>
                  </a:lnTo>
                  <a:lnTo>
                    <a:pt x="134526" y="288605"/>
                  </a:lnTo>
                  <a:lnTo>
                    <a:pt x="134292" y="289948"/>
                  </a:lnTo>
                  <a:lnTo>
                    <a:pt x="133904" y="290237"/>
                  </a:lnTo>
                  <a:lnTo>
                    <a:pt x="132433" y="289500"/>
                  </a:lnTo>
                  <a:lnTo>
                    <a:pt x="131460" y="288242"/>
                  </a:lnTo>
                  <a:close/>
                  <a:moveTo>
                    <a:pt x="494606" y="0"/>
                  </a:moveTo>
                  <a:lnTo>
                    <a:pt x="500570" y="529"/>
                  </a:lnTo>
                  <a:lnTo>
                    <a:pt x="506016" y="1011"/>
                  </a:lnTo>
                  <a:lnTo>
                    <a:pt x="511477" y="2540"/>
                  </a:lnTo>
                  <a:lnTo>
                    <a:pt x="514351" y="4444"/>
                  </a:lnTo>
                  <a:lnTo>
                    <a:pt x="516817" y="5881"/>
                  </a:lnTo>
                  <a:lnTo>
                    <a:pt x="519153" y="6568"/>
                  </a:lnTo>
                  <a:lnTo>
                    <a:pt x="521254" y="7009"/>
                  </a:lnTo>
                  <a:lnTo>
                    <a:pt x="523707" y="6357"/>
                  </a:lnTo>
                  <a:lnTo>
                    <a:pt x="525435" y="5474"/>
                  </a:lnTo>
                  <a:lnTo>
                    <a:pt x="526446" y="4212"/>
                  </a:lnTo>
                  <a:lnTo>
                    <a:pt x="527975" y="3311"/>
                  </a:lnTo>
                  <a:lnTo>
                    <a:pt x="533541" y="2608"/>
                  </a:lnTo>
                  <a:lnTo>
                    <a:pt x="534697" y="3967"/>
                  </a:lnTo>
                  <a:lnTo>
                    <a:pt x="537346" y="8071"/>
                  </a:lnTo>
                  <a:lnTo>
                    <a:pt x="539151" y="13530"/>
                  </a:lnTo>
                  <a:lnTo>
                    <a:pt x="542125" y="20751"/>
                  </a:lnTo>
                  <a:lnTo>
                    <a:pt x="543436" y="24292"/>
                  </a:lnTo>
                  <a:lnTo>
                    <a:pt x="542853" y="26147"/>
                  </a:lnTo>
                  <a:lnTo>
                    <a:pt x="542866" y="28687"/>
                  </a:lnTo>
                  <a:lnTo>
                    <a:pt x="542697" y="31474"/>
                  </a:lnTo>
                  <a:lnTo>
                    <a:pt x="540499" y="34628"/>
                  </a:lnTo>
                  <a:lnTo>
                    <a:pt x="541393" y="36097"/>
                  </a:lnTo>
                  <a:lnTo>
                    <a:pt x="546772" y="37735"/>
                  </a:lnTo>
                  <a:lnTo>
                    <a:pt x="554306" y="37137"/>
                  </a:lnTo>
                  <a:lnTo>
                    <a:pt x="558955" y="35815"/>
                  </a:lnTo>
                  <a:lnTo>
                    <a:pt x="561544" y="36296"/>
                  </a:lnTo>
                  <a:lnTo>
                    <a:pt x="562896" y="35506"/>
                  </a:lnTo>
                  <a:lnTo>
                    <a:pt x="563775" y="33168"/>
                  </a:lnTo>
                  <a:lnTo>
                    <a:pt x="565559" y="32644"/>
                  </a:lnTo>
                  <a:lnTo>
                    <a:pt x="567396" y="34274"/>
                  </a:lnTo>
                  <a:lnTo>
                    <a:pt x="568731" y="37033"/>
                  </a:lnTo>
                  <a:lnTo>
                    <a:pt x="570009" y="38808"/>
                  </a:lnTo>
                  <a:lnTo>
                    <a:pt x="569914" y="40915"/>
                  </a:lnTo>
                  <a:lnTo>
                    <a:pt x="570385" y="43621"/>
                  </a:lnTo>
                  <a:lnTo>
                    <a:pt x="571324" y="44306"/>
                  </a:lnTo>
                  <a:lnTo>
                    <a:pt x="573170" y="43278"/>
                  </a:lnTo>
                  <a:lnTo>
                    <a:pt x="574401" y="42666"/>
                  </a:lnTo>
                  <a:lnTo>
                    <a:pt x="574695" y="41844"/>
                  </a:lnTo>
                  <a:lnTo>
                    <a:pt x="574172" y="40829"/>
                  </a:lnTo>
                  <a:lnTo>
                    <a:pt x="573922" y="39798"/>
                  </a:lnTo>
                  <a:lnTo>
                    <a:pt x="574330" y="38852"/>
                  </a:lnTo>
                  <a:lnTo>
                    <a:pt x="575205" y="38465"/>
                  </a:lnTo>
                  <a:lnTo>
                    <a:pt x="577830" y="38763"/>
                  </a:lnTo>
                  <a:lnTo>
                    <a:pt x="581657" y="39285"/>
                  </a:lnTo>
                  <a:lnTo>
                    <a:pt x="586196" y="43127"/>
                  </a:lnTo>
                  <a:lnTo>
                    <a:pt x="588640" y="43822"/>
                  </a:lnTo>
                  <a:lnTo>
                    <a:pt x="589672" y="43889"/>
                  </a:lnTo>
                  <a:lnTo>
                    <a:pt x="591975" y="43670"/>
                  </a:lnTo>
                  <a:lnTo>
                    <a:pt x="594738" y="42564"/>
                  </a:lnTo>
                  <a:lnTo>
                    <a:pt x="596602" y="41179"/>
                  </a:lnTo>
                  <a:lnTo>
                    <a:pt x="597221" y="40498"/>
                  </a:lnTo>
                  <a:lnTo>
                    <a:pt x="598293" y="40617"/>
                  </a:lnTo>
                  <a:lnTo>
                    <a:pt x="599310" y="41257"/>
                  </a:lnTo>
                  <a:lnTo>
                    <a:pt x="599379" y="42658"/>
                  </a:lnTo>
                  <a:lnTo>
                    <a:pt x="598569" y="44682"/>
                  </a:lnTo>
                  <a:lnTo>
                    <a:pt x="595812" y="46534"/>
                  </a:lnTo>
                  <a:lnTo>
                    <a:pt x="592389" y="48255"/>
                  </a:lnTo>
                  <a:lnTo>
                    <a:pt x="590316" y="51407"/>
                  </a:lnTo>
                  <a:lnTo>
                    <a:pt x="589875" y="54694"/>
                  </a:lnTo>
                  <a:lnTo>
                    <a:pt x="590785" y="56359"/>
                  </a:lnTo>
                  <a:lnTo>
                    <a:pt x="591560" y="57473"/>
                  </a:lnTo>
                  <a:lnTo>
                    <a:pt x="591780" y="59034"/>
                  </a:lnTo>
                  <a:lnTo>
                    <a:pt x="592556" y="59240"/>
                  </a:lnTo>
                  <a:lnTo>
                    <a:pt x="593948" y="58598"/>
                  </a:lnTo>
                  <a:lnTo>
                    <a:pt x="597775" y="55361"/>
                  </a:lnTo>
                  <a:lnTo>
                    <a:pt x="599724" y="54561"/>
                  </a:lnTo>
                  <a:lnTo>
                    <a:pt x="602551" y="54049"/>
                  </a:lnTo>
                  <a:lnTo>
                    <a:pt x="607187" y="54300"/>
                  </a:lnTo>
                  <a:lnTo>
                    <a:pt x="610312" y="55355"/>
                  </a:lnTo>
                  <a:lnTo>
                    <a:pt x="611802" y="56824"/>
                  </a:lnTo>
                  <a:lnTo>
                    <a:pt x="613443" y="58033"/>
                  </a:lnTo>
                  <a:lnTo>
                    <a:pt x="614574" y="57527"/>
                  </a:lnTo>
                  <a:lnTo>
                    <a:pt x="615162" y="56131"/>
                  </a:lnTo>
                  <a:lnTo>
                    <a:pt x="615187" y="54533"/>
                  </a:lnTo>
                  <a:lnTo>
                    <a:pt x="615663" y="53218"/>
                  </a:lnTo>
                  <a:lnTo>
                    <a:pt x="620738" y="49981"/>
                  </a:lnTo>
                  <a:lnTo>
                    <a:pt x="624115" y="47825"/>
                  </a:lnTo>
                  <a:lnTo>
                    <a:pt x="625279" y="47572"/>
                  </a:lnTo>
                  <a:lnTo>
                    <a:pt x="627537" y="48020"/>
                  </a:lnTo>
                  <a:lnTo>
                    <a:pt x="628934" y="47794"/>
                  </a:lnTo>
                  <a:lnTo>
                    <a:pt x="632651" y="45762"/>
                  </a:lnTo>
                  <a:lnTo>
                    <a:pt x="636119" y="43450"/>
                  </a:lnTo>
                  <a:lnTo>
                    <a:pt x="636457" y="41884"/>
                  </a:lnTo>
                  <a:lnTo>
                    <a:pt x="636585" y="40464"/>
                  </a:lnTo>
                  <a:lnTo>
                    <a:pt x="637449" y="39822"/>
                  </a:lnTo>
                  <a:lnTo>
                    <a:pt x="642305" y="39325"/>
                  </a:lnTo>
                  <a:lnTo>
                    <a:pt x="643102" y="39058"/>
                  </a:lnTo>
                  <a:lnTo>
                    <a:pt x="647254" y="37442"/>
                  </a:lnTo>
                  <a:lnTo>
                    <a:pt x="653001" y="34687"/>
                  </a:lnTo>
                  <a:lnTo>
                    <a:pt x="655788" y="33061"/>
                  </a:lnTo>
                  <a:lnTo>
                    <a:pt x="660871" y="32338"/>
                  </a:lnTo>
                  <a:lnTo>
                    <a:pt x="661815" y="31869"/>
                  </a:lnTo>
                  <a:lnTo>
                    <a:pt x="663504" y="30771"/>
                  </a:lnTo>
                  <a:lnTo>
                    <a:pt x="666685" y="29253"/>
                  </a:lnTo>
                  <a:lnTo>
                    <a:pt x="668408" y="29085"/>
                  </a:lnTo>
                  <a:lnTo>
                    <a:pt x="667339" y="32759"/>
                  </a:lnTo>
                  <a:lnTo>
                    <a:pt x="665439" y="37001"/>
                  </a:lnTo>
                  <a:lnTo>
                    <a:pt x="664368" y="38133"/>
                  </a:lnTo>
                  <a:lnTo>
                    <a:pt x="659218" y="37943"/>
                  </a:lnTo>
                  <a:lnTo>
                    <a:pt x="659226" y="39097"/>
                  </a:lnTo>
                  <a:lnTo>
                    <a:pt x="660034" y="40866"/>
                  </a:lnTo>
                  <a:lnTo>
                    <a:pt x="660613" y="41859"/>
                  </a:lnTo>
                  <a:lnTo>
                    <a:pt x="661239" y="42749"/>
                  </a:lnTo>
                  <a:lnTo>
                    <a:pt x="662623" y="44286"/>
                  </a:lnTo>
                  <a:lnTo>
                    <a:pt x="668041" y="47916"/>
                  </a:lnTo>
                  <a:lnTo>
                    <a:pt x="674934" y="52528"/>
                  </a:lnTo>
                  <a:lnTo>
                    <a:pt x="682381" y="57697"/>
                  </a:lnTo>
                  <a:lnTo>
                    <a:pt x="687581" y="61300"/>
                  </a:lnTo>
                  <a:lnTo>
                    <a:pt x="689682" y="63156"/>
                  </a:lnTo>
                  <a:lnTo>
                    <a:pt x="691021" y="64606"/>
                  </a:lnTo>
                  <a:lnTo>
                    <a:pt x="694858" y="69835"/>
                  </a:lnTo>
                  <a:lnTo>
                    <a:pt x="698497" y="74785"/>
                  </a:lnTo>
                  <a:lnTo>
                    <a:pt x="704632" y="83482"/>
                  </a:lnTo>
                  <a:lnTo>
                    <a:pt x="710071" y="91855"/>
                  </a:lnTo>
                  <a:lnTo>
                    <a:pt x="716055" y="101033"/>
                  </a:lnTo>
                  <a:lnTo>
                    <a:pt x="719518" y="106332"/>
                  </a:lnTo>
                  <a:lnTo>
                    <a:pt x="726597" y="117377"/>
                  </a:lnTo>
                  <a:lnTo>
                    <a:pt x="728486" y="120758"/>
                  </a:lnTo>
                  <a:lnTo>
                    <a:pt x="732071" y="127146"/>
                  </a:lnTo>
                  <a:lnTo>
                    <a:pt x="735239" y="133125"/>
                  </a:lnTo>
                  <a:lnTo>
                    <a:pt x="738037" y="138401"/>
                  </a:lnTo>
                  <a:lnTo>
                    <a:pt x="739799" y="138877"/>
                  </a:lnTo>
                  <a:lnTo>
                    <a:pt x="739935" y="137448"/>
                  </a:lnTo>
                  <a:lnTo>
                    <a:pt x="740251" y="136494"/>
                  </a:lnTo>
                  <a:lnTo>
                    <a:pt x="741155" y="135959"/>
                  </a:lnTo>
                  <a:lnTo>
                    <a:pt x="743211" y="134401"/>
                  </a:lnTo>
                  <a:lnTo>
                    <a:pt x="744321" y="134026"/>
                  </a:lnTo>
                  <a:lnTo>
                    <a:pt x="745975" y="134187"/>
                  </a:lnTo>
                  <a:lnTo>
                    <a:pt x="747709" y="133393"/>
                  </a:lnTo>
                  <a:lnTo>
                    <a:pt x="748342" y="131894"/>
                  </a:lnTo>
                  <a:lnTo>
                    <a:pt x="747929" y="129117"/>
                  </a:lnTo>
                  <a:lnTo>
                    <a:pt x="747662" y="127838"/>
                  </a:lnTo>
                  <a:lnTo>
                    <a:pt x="748249" y="126463"/>
                  </a:lnTo>
                  <a:lnTo>
                    <a:pt x="749199" y="125924"/>
                  </a:lnTo>
                  <a:lnTo>
                    <a:pt x="750519" y="125489"/>
                  </a:lnTo>
                  <a:lnTo>
                    <a:pt x="751730" y="125266"/>
                  </a:lnTo>
                  <a:lnTo>
                    <a:pt x="752726" y="123710"/>
                  </a:lnTo>
                  <a:lnTo>
                    <a:pt x="754600" y="123239"/>
                  </a:lnTo>
                  <a:lnTo>
                    <a:pt x="756321" y="123529"/>
                  </a:lnTo>
                  <a:lnTo>
                    <a:pt x="757742" y="123590"/>
                  </a:lnTo>
                  <a:lnTo>
                    <a:pt x="758997" y="124723"/>
                  </a:lnTo>
                  <a:lnTo>
                    <a:pt x="759694" y="126274"/>
                  </a:lnTo>
                  <a:lnTo>
                    <a:pt x="761046" y="126394"/>
                  </a:lnTo>
                  <a:lnTo>
                    <a:pt x="763268" y="126237"/>
                  </a:lnTo>
                  <a:lnTo>
                    <a:pt x="763572" y="127539"/>
                  </a:lnTo>
                  <a:lnTo>
                    <a:pt x="762939" y="129710"/>
                  </a:lnTo>
                  <a:lnTo>
                    <a:pt x="762168" y="131388"/>
                  </a:lnTo>
                  <a:lnTo>
                    <a:pt x="762035" y="132737"/>
                  </a:lnTo>
                  <a:lnTo>
                    <a:pt x="763209" y="133393"/>
                  </a:lnTo>
                  <a:lnTo>
                    <a:pt x="767511" y="132806"/>
                  </a:lnTo>
                  <a:lnTo>
                    <a:pt x="769040" y="133095"/>
                  </a:lnTo>
                  <a:lnTo>
                    <a:pt x="769523" y="134459"/>
                  </a:lnTo>
                  <a:lnTo>
                    <a:pt x="770132" y="135588"/>
                  </a:lnTo>
                  <a:lnTo>
                    <a:pt x="770439" y="136969"/>
                  </a:lnTo>
                  <a:lnTo>
                    <a:pt x="769994" y="138501"/>
                  </a:lnTo>
                  <a:lnTo>
                    <a:pt x="770756" y="139412"/>
                  </a:lnTo>
                  <a:lnTo>
                    <a:pt x="774470" y="139433"/>
                  </a:lnTo>
                  <a:lnTo>
                    <a:pt x="777083" y="138697"/>
                  </a:lnTo>
                  <a:lnTo>
                    <a:pt x="781100" y="138640"/>
                  </a:lnTo>
                  <a:lnTo>
                    <a:pt x="784734" y="140256"/>
                  </a:lnTo>
                  <a:lnTo>
                    <a:pt x="787252" y="140006"/>
                  </a:lnTo>
                  <a:lnTo>
                    <a:pt x="789783" y="139352"/>
                  </a:lnTo>
                  <a:lnTo>
                    <a:pt x="793488" y="139769"/>
                  </a:lnTo>
                  <a:lnTo>
                    <a:pt x="796092" y="138490"/>
                  </a:lnTo>
                  <a:lnTo>
                    <a:pt x="797889" y="136893"/>
                  </a:lnTo>
                  <a:lnTo>
                    <a:pt x="798455" y="135634"/>
                  </a:lnTo>
                  <a:lnTo>
                    <a:pt x="799390" y="134938"/>
                  </a:lnTo>
                  <a:lnTo>
                    <a:pt x="802888" y="134945"/>
                  </a:lnTo>
                  <a:lnTo>
                    <a:pt x="805104" y="134824"/>
                  </a:lnTo>
                  <a:lnTo>
                    <a:pt x="806730" y="132975"/>
                  </a:lnTo>
                  <a:lnTo>
                    <a:pt x="808222" y="132140"/>
                  </a:lnTo>
                  <a:lnTo>
                    <a:pt x="810731" y="131983"/>
                  </a:lnTo>
                  <a:lnTo>
                    <a:pt x="812579" y="131983"/>
                  </a:lnTo>
                  <a:lnTo>
                    <a:pt x="817535" y="133701"/>
                  </a:lnTo>
                  <a:lnTo>
                    <a:pt x="820550" y="135119"/>
                  </a:lnTo>
                  <a:lnTo>
                    <a:pt x="823689" y="137135"/>
                  </a:lnTo>
                  <a:lnTo>
                    <a:pt x="825577" y="138398"/>
                  </a:lnTo>
                  <a:lnTo>
                    <a:pt x="826842" y="141245"/>
                  </a:lnTo>
                  <a:lnTo>
                    <a:pt x="828986" y="143343"/>
                  </a:lnTo>
                  <a:lnTo>
                    <a:pt x="830682" y="145789"/>
                  </a:lnTo>
                  <a:lnTo>
                    <a:pt x="831092" y="148201"/>
                  </a:lnTo>
                  <a:lnTo>
                    <a:pt x="832491" y="152527"/>
                  </a:lnTo>
                  <a:lnTo>
                    <a:pt x="833938" y="153948"/>
                  </a:lnTo>
                  <a:lnTo>
                    <a:pt x="835657" y="153948"/>
                  </a:lnTo>
                  <a:lnTo>
                    <a:pt x="837825" y="154539"/>
                  </a:lnTo>
                  <a:lnTo>
                    <a:pt x="840219" y="155012"/>
                  </a:lnTo>
                  <a:lnTo>
                    <a:pt x="845342" y="158224"/>
                  </a:lnTo>
                  <a:lnTo>
                    <a:pt x="847223" y="158320"/>
                  </a:lnTo>
                  <a:lnTo>
                    <a:pt x="848669" y="159088"/>
                  </a:lnTo>
                  <a:lnTo>
                    <a:pt x="848896" y="160564"/>
                  </a:lnTo>
                  <a:lnTo>
                    <a:pt x="848354" y="162273"/>
                  </a:lnTo>
                  <a:lnTo>
                    <a:pt x="848920" y="163915"/>
                  </a:lnTo>
                  <a:lnTo>
                    <a:pt x="850593" y="166004"/>
                  </a:lnTo>
                  <a:lnTo>
                    <a:pt x="851921" y="168046"/>
                  </a:lnTo>
                  <a:lnTo>
                    <a:pt x="853550" y="170517"/>
                  </a:lnTo>
                  <a:lnTo>
                    <a:pt x="854046" y="171926"/>
                  </a:lnTo>
                  <a:lnTo>
                    <a:pt x="855357" y="172396"/>
                  </a:lnTo>
                  <a:lnTo>
                    <a:pt x="857119" y="171693"/>
                  </a:lnTo>
                  <a:lnTo>
                    <a:pt x="859924" y="172226"/>
                  </a:lnTo>
                  <a:lnTo>
                    <a:pt x="868372" y="173629"/>
                  </a:lnTo>
                  <a:lnTo>
                    <a:pt x="869546" y="173804"/>
                  </a:lnTo>
                  <a:lnTo>
                    <a:pt x="870449" y="175272"/>
                  </a:lnTo>
                  <a:lnTo>
                    <a:pt x="871669" y="175154"/>
                  </a:lnTo>
                  <a:lnTo>
                    <a:pt x="873070" y="175095"/>
                  </a:lnTo>
                  <a:lnTo>
                    <a:pt x="875014" y="175272"/>
                  </a:lnTo>
                  <a:lnTo>
                    <a:pt x="876370" y="173922"/>
                  </a:lnTo>
                  <a:lnTo>
                    <a:pt x="877480" y="172740"/>
                  </a:lnTo>
                  <a:lnTo>
                    <a:pt x="880257" y="171275"/>
                  </a:lnTo>
                  <a:lnTo>
                    <a:pt x="882563" y="169283"/>
                  </a:lnTo>
                  <a:lnTo>
                    <a:pt x="884506" y="167516"/>
                  </a:lnTo>
                  <a:lnTo>
                    <a:pt x="885951" y="167282"/>
                  </a:lnTo>
                  <a:lnTo>
                    <a:pt x="887128" y="168105"/>
                  </a:lnTo>
                  <a:lnTo>
                    <a:pt x="887171" y="169634"/>
                  </a:lnTo>
                  <a:lnTo>
                    <a:pt x="885726" y="170751"/>
                  </a:lnTo>
                  <a:lnTo>
                    <a:pt x="884597" y="172101"/>
                  </a:lnTo>
                  <a:lnTo>
                    <a:pt x="884867" y="173452"/>
                  </a:lnTo>
                  <a:lnTo>
                    <a:pt x="886810" y="173570"/>
                  </a:lnTo>
                  <a:lnTo>
                    <a:pt x="888972" y="175599"/>
                  </a:lnTo>
                  <a:lnTo>
                    <a:pt x="892086" y="180353"/>
                  </a:lnTo>
                  <a:lnTo>
                    <a:pt x="893148" y="181348"/>
                  </a:lnTo>
                  <a:lnTo>
                    <a:pt x="894688" y="182285"/>
                  </a:lnTo>
                  <a:lnTo>
                    <a:pt x="896400" y="182708"/>
                  </a:lnTo>
                  <a:lnTo>
                    <a:pt x="898294" y="183384"/>
                  </a:lnTo>
                  <a:lnTo>
                    <a:pt x="899691" y="185343"/>
                  </a:lnTo>
                  <a:lnTo>
                    <a:pt x="900266" y="187111"/>
                  </a:lnTo>
                  <a:lnTo>
                    <a:pt x="898212" y="186537"/>
                  </a:lnTo>
                  <a:lnTo>
                    <a:pt x="894200" y="186421"/>
                  </a:lnTo>
                  <a:lnTo>
                    <a:pt x="891755" y="186775"/>
                  </a:lnTo>
                  <a:lnTo>
                    <a:pt x="890604" y="186974"/>
                  </a:lnTo>
                  <a:lnTo>
                    <a:pt x="888888" y="188141"/>
                  </a:lnTo>
                  <a:lnTo>
                    <a:pt x="887668" y="189308"/>
                  </a:lnTo>
                  <a:lnTo>
                    <a:pt x="887126" y="191290"/>
                  </a:lnTo>
                  <a:lnTo>
                    <a:pt x="887771" y="193530"/>
                  </a:lnTo>
                  <a:lnTo>
                    <a:pt x="886890" y="198186"/>
                  </a:lnTo>
                  <a:lnTo>
                    <a:pt x="885692" y="199938"/>
                  </a:lnTo>
                  <a:lnTo>
                    <a:pt x="883163" y="202974"/>
                  </a:lnTo>
                  <a:lnTo>
                    <a:pt x="881701" y="203634"/>
                  </a:lnTo>
                  <a:lnTo>
                    <a:pt x="879252" y="204177"/>
                  </a:lnTo>
                  <a:lnTo>
                    <a:pt x="876888" y="205076"/>
                  </a:lnTo>
                  <a:lnTo>
                    <a:pt x="872256" y="205949"/>
                  </a:lnTo>
                  <a:lnTo>
                    <a:pt x="867253" y="206393"/>
                  </a:lnTo>
                  <a:lnTo>
                    <a:pt x="865473" y="207045"/>
                  </a:lnTo>
                  <a:lnTo>
                    <a:pt x="864208" y="209120"/>
                  </a:lnTo>
                  <a:lnTo>
                    <a:pt x="863310" y="210854"/>
                  </a:lnTo>
                  <a:lnTo>
                    <a:pt x="862753" y="212171"/>
                  </a:lnTo>
                  <a:lnTo>
                    <a:pt x="861336" y="216470"/>
                  </a:lnTo>
                  <a:lnTo>
                    <a:pt x="860533" y="220313"/>
                  </a:lnTo>
                  <a:lnTo>
                    <a:pt x="861321" y="225076"/>
                  </a:lnTo>
                  <a:lnTo>
                    <a:pt x="861910" y="230360"/>
                  </a:lnTo>
                  <a:lnTo>
                    <a:pt x="861874" y="232180"/>
                  </a:lnTo>
                  <a:lnTo>
                    <a:pt x="863094" y="234879"/>
                  </a:lnTo>
                  <a:lnTo>
                    <a:pt x="863713" y="236533"/>
                  </a:lnTo>
                  <a:lnTo>
                    <a:pt x="863422" y="238878"/>
                  </a:lnTo>
                  <a:lnTo>
                    <a:pt x="861667" y="240729"/>
                  </a:lnTo>
                  <a:lnTo>
                    <a:pt x="860615" y="243180"/>
                  </a:lnTo>
                  <a:lnTo>
                    <a:pt x="859621" y="244221"/>
                  </a:lnTo>
                  <a:lnTo>
                    <a:pt x="856760" y="244690"/>
                  </a:lnTo>
                  <a:lnTo>
                    <a:pt x="854066" y="244979"/>
                  </a:lnTo>
                  <a:lnTo>
                    <a:pt x="851347" y="247076"/>
                  </a:lnTo>
                  <a:lnTo>
                    <a:pt x="849172" y="248527"/>
                  </a:lnTo>
                  <a:lnTo>
                    <a:pt x="845767" y="250368"/>
                  </a:lnTo>
                  <a:lnTo>
                    <a:pt x="844173" y="250715"/>
                  </a:lnTo>
                  <a:lnTo>
                    <a:pt x="843286" y="249777"/>
                  </a:lnTo>
                  <a:lnTo>
                    <a:pt x="842701" y="247686"/>
                  </a:lnTo>
                  <a:lnTo>
                    <a:pt x="841530" y="246765"/>
                  </a:lnTo>
                  <a:lnTo>
                    <a:pt x="839887" y="246693"/>
                  </a:lnTo>
                  <a:lnTo>
                    <a:pt x="838563" y="246670"/>
                  </a:lnTo>
                  <a:lnTo>
                    <a:pt x="834283" y="246102"/>
                  </a:lnTo>
                  <a:lnTo>
                    <a:pt x="831548" y="246141"/>
                  </a:lnTo>
                  <a:lnTo>
                    <a:pt x="829489" y="246591"/>
                  </a:lnTo>
                  <a:lnTo>
                    <a:pt x="827144" y="246817"/>
                  </a:lnTo>
                  <a:lnTo>
                    <a:pt x="823089" y="246054"/>
                  </a:lnTo>
                  <a:lnTo>
                    <a:pt x="820466" y="245407"/>
                  </a:lnTo>
                  <a:lnTo>
                    <a:pt x="818699" y="244788"/>
                  </a:lnTo>
                  <a:lnTo>
                    <a:pt x="814486" y="242961"/>
                  </a:lnTo>
                  <a:lnTo>
                    <a:pt x="808947" y="240782"/>
                  </a:lnTo>
                  <a:lnTo>
                    <a:pt x="806675" y="240145"/>
                  </a:lnTo>
                  <a:lnTo>
                    <a:pt x="805330" y="240800"/>
                  </a:lnTo>
                  <a:lnTo>
                    <a:pt x="805123" y="242044"/>
                  </a:lnTo>
                  <a:lnTo>
                    <a:pt x="804769" y="245059"/>
                  </a:lnTo>
                  <a:lnTo>
                    <a:pt x="804123" y="246943"/>
                  </a:lnTo>
                  <a:lnTo>
                    <a:pt x="800256" y="256454"/>
                  </a:lnTo>
                  <a:lnTo>
                    <a:pt x="797872" y="263056"/>
                  </a:lnTo>
                  <a:lnTo>
                    <a:pt x="794840" y="269369"/>
                  </a:lnTo>
                  <a:lnTo>
                    <a:pt x="793881" y="273595"/>
                  </a:lnTo>
                  <a:lnTo>
                    <a:pt x="792067" y="278944"/>
                  </a:lnTo>
                  <a:lnTo>
                    <a:pt x="790264" y="282811"/>
                  </a:lnTo>
                  <a:lnTo>
                    <a:pt x="789537" y="284918"/>
                  </a:lnTo>
                  <a:lnTo>
                    <a:pt x="789469" y="285776"/>
                  </a:lnTo>
                  <a:lnTo>
                    <a:pt x="789789" y="286980"/>
                  </a:lnTo>
                  <a:lnTo>
                    <a:pt x="792553" y="288297"/>
                  </a:lnTo>
                  <a:lnTo>
                    <a:pt x="795447" y="289104"/>
                  </a:lnTo>
                  <a:lnTo>
                    <a:pt x="796090" y="289607"/>
                  </a:lnTo>
                  <a:lnTo>
                    <a:pt x="796403" y="290975"/>
                  </a:lnTo>
                  <a:lnTo>
                    <a:pt x="796300" y="293204"/>
                  </a:lnTo>
                  <a:lnTo>
                    <a:pt x="795766" y="295319"/>
                  </a:lnTo>
                  <a:lnTo>
                    <a:pt x="794926" y="296977"/>
                  </a:lnTo>
                  <a:lnTo>
                    <a:pt x="794097" y="297796"/>
                  </a:lnTo>
                  <a:lnTo>
                    <a:pt x="793151" y="297848"/>
                  </a:lnTo>
                  <a:lnTo>
                    <a:pt x="791338" y="296784"/>
                  </a:lnTo>
                  <a:lnTo>
                    <a:pt x="789718" y="295595"/>
                  </a:lnTo>
                  <a:lnTo>
                    <a:pt x="788461" y="295233"/>
                  </a:lnTo>
                  <a:lnTo>
                    <a:pt x="785281" y="295897"/>
                  </a:lnTo>
                  <a:lnTo>
                    <a:pt x="782328" y="296800"/>
                  </a:lnTo>
                  <a:lnTo>
                    <a:pt x="781348" y="296828"/>
                  </a:lnTo>
                  <a:lnTo>
                    <a:pt x="779636" y="296247"/>
                  </a:lnTo>
                  <a:lnTo>
                    <a:pt x="777915" y="295043"/>
                  </a:lnTo>
                  <a:lnTo>
                    <a:pt x="777235" y="292718"/>
                  </a:lnTo>
                  <a:lnTo>
                    <a:pt x="775756" y="291662"/>
                  </a:lnTo>
                  <a:lnTo>
                    <a:pt x="773767" y="292718"/>
                  </a:lnTo>
                  <a:lnTo>
                    <a:pt x="767856" y="294490"/>
                  </a:lnTo>
                  <a:lnTo>
                    <a:pt x="761346" y="296601"/>
                  </a:lnTo>
                  <a:lnTo>
                    <a:pt x="757211" y="297692"/>
                  </a:lnTo>
                  <a:lnTo>
                    <a:pt x="755591" y="297520"/>
                  </a:lnTo>
                  <a:lnTo>
                    <a:pt x="752378" y="297768"/>
                  </a:lnTo>
                  <a:lnTo>
                    <a:pt x="749601" y="298357"/>
                  </a:lnTo>
                  <a:lnTo>
                    <a:pt x="747517" y="299175"/>
                  </a:lnTo>
                  <a:lnTo>
                    <a:pt x="743389" y="300299"/>
                  </a:lnTo>
                  <a:lnTo>
                    <a:pt x="739650" y="301052"/>
                  </a:lnTo>
                  <a:lnTo>
                    <a:pt x="737240" y="302755"/>
                  </a:lnTo>
                  <a:lnTo>
                    <a:pt x="735509" y="304402"/>
                  </a:lnTo>
                  <a:lnTo>
                    <a:pt x="735584" y="305029"/>
                  </a:lnTo>
                  <a:lnTo>
                    <a:pt x="736841" y="306002"/>
                  </a:lnTo>
                  <a:lnTo>
                    <a:pt x="738279" y="306765"/>
                  </a:lnTo>
                  <a:lnTo>
                    <a:pt x="741169" y="306586"/>
                  </a:lnTo>
                  <a:lnTo>
                    <a:pt x="743982" y="306468"/>
                  </a:lnTo>
                  <a:lnTo>
                    <a:pt x="746321" y="307499"/>
                  </a:lnTo>
                  <a:lnTo>
                    <a:pt x="748413" y="308159"/>
                  </a:lnTo>
                  <a:lnTo>
                    <a:pt x="748990" y="309016"/>
                  </a:lnTo>
                  <a:lnTo>
                    <a:pt x="748413" y="309849"/>
                  </a:lnTo>
                  <a:lnTo>
                    <a:pt x="747200" y="310044"/>
                  </a:lnTo>
                  <a:lnTo>
                    <a:pt x="746776" y="310630"/>
                  </a:lnTo>
                  <a:lnTo>
                    <a:pt x="746988" y="311409"/>
                  </a:lnTo>
                  <a:lnTo>
                    <a:pt x="746193" y="313445"/>
                  </a:lnTo>
                  <a:lnTo>
                    <a:pt x="745779" y="316535"/>
                  </a:lnTo>
                  <a:lnTo>
                    <a:pt x="746189" y="319573"/>
                  </a:lnTo>
                  <a:lnTo>
                    <a:pt x="746420" y="322374"/>
                  </a:lnTo>
                  <a:lnTo>
                    <a:pt x="746280" y="323784"/>
                  </a:lnTo>
                  <a:lnTo>
                    <a:pt x="746198" y="325790"/>
                  </a:lnTo>
                  <a:lnTo>
                    <a:pt x="747094" y="327147"/>
                  </a:lnTo>
                  <a:lnTo>
                    <a:pt x="747884" y="329728"/>
                  </a:lnTo>
                  <a:lnTo>
                    <a:pt x="749309" y="331342"/>
                  </a:lnTo>
                  <a:lnTo>
                    <a:pt x="751464" y="336931"/>
                  </a:lnTo>
                  <a:lnTo>
                    <a:pt x="752732" y="340192"/>
                  </a:lnTo>
                  <a:lnTo>
                    <a:pt x="753905" y="343884"/>
                  </a:lnTo>
                  <a:lnTo>
                    <a:pt x="753056" y="345876"/>
                  </a:lnTo>
                  <a:lnTo>
                    <a:pt x="753108" y="347030"/>
                  </a:lnTo>
                  <a:lnTo>
                    <a:pt x="754479" y="347992"/>
                  </a:lnTo>
                  <a:lnTo>
                    <a:pt x="755082" y="349870"/>
                  </a:lnTo>
                  <a:lnTo>
                    <a:pt x="755716" y="351019"/>
                  </a:lnTo>
                  <a:lnTo>
                    <a:pt x="755539" y="352162"/>
                  </a:lnTo>
                  <a:lnTo>
                    <a:pt x="754952" y="352604"/>
                  </a:lnTo>
                  <a:lnTo>
                    <a:pt x="751985" y="351912"/>
                  </a:lnTo>
                  <a:lnTo>
                    <a:pt x="749554" y="353052"/>
                  </a:lnTo>
                  <a:lnTo>
                    <a:pt x="746971" y="354196"/>
                  </a:lnTo>
                  <a:lnTo>
                    <a:pt x="746623" y="354805"/>
                  </a:lnTo>
                  <a:lnTo>
                    <a:pt x="746552" y="355470"/>
                  </a:lnTo>
                  <a:lnTo>
                    <a:pt x="746820" y="356054"/>
                  </a:lnTo>
                  <a:lnTo>
                    <a:pt x="748307" y="357078"/>
                  </a:lnTo>
                  <a:lnTo>
                    <a:pt x="750365" y="357717"/>
                  </a:lnTo>
                  <a:lnTo>
                    <a:pt x="750259" y="358740"/>
                  </a:lnTo>
                  <a:lnTo>
                    <a:pt x="747718" y="359215"/>
                  </a:lnTo>
                  <a:lnTo>
                    <a:pt x="743876" y="360780"/>
                  </a:lnTo>
                  <a:lnTo>
                    <a:pt x="742814" y="362459"/>
                  </a:lnTo>
                  <a:lnTo>
                    <a:pt x="741991" y="364301"/>
                  </a:lnTo>
                  <a:lnTo>
                    <a:pt x="741922" y="365369"/>
                  </a:lnTo>
                  <a:lnTo>
                    <a:pt x="742306" y="368230"/>
                  </a:lnTo>
                  <a:lnTo>
                    <a:pt x="742892" y="371401"/>
                  </a:lnTo>
                  <a:lnTo>
                    <a:pt x="743982" y="374736"/>
                  </a:lnTo>
                  <a:lnTo>
                    <a:pt x="744071" y="375768"/>
                  </a:lnTo>
                  <a:lnTo>
                    <a:pt x="743494" y="376502"/>
                  </a:lnTo>
                  <a:lnTo>
                    <a:pt x="742972" y="376975"/>
                  </a:lnTo>
                  <a:lnTo>
                    <a:pt x="739918" y="373970"/>
                  </a:lnTo>
                  <a:lnTo>
                    <a:pt x="736597" y="371035"/>
                  </a:lnTo>
                  <a:lnTo>
                    <a:pt x="733995" y="370360"/>
                  </a:lnTo>
                  <a:lnTo>
                    <a:pt x="729462" y="369876"/>
                  </a:lnTo>
                  <a:lnTo>
                    <a:pt x="727068" y="369851"/>
                  </a:lnTo>
                  <a:lnTo>
                    <a:pt x="725699" y="369159"/>
                  </a:lnTo>
                  <a:lnTo>
                    <a:pt x="724362" y="367460"/>
                  </a:lnTo>
                  <a:lnTo>
                    <a:pt x="722764" y="365922"/>
                  </a:lnTo>
                  <a:lnTo>
                    <a:pt x="720719" y="364288"/>
                  </a:lnTo>
                  <a:lnTo>
                    <a:pt x="719875" y="361802"/>
                  </a:lnTo>
                  <a:lnTo>
                    <a:pt x="719030" y="361355"/>
                  </a:lnTo>
                  <a:lnTo>
                    <a:pt x="717553" y="361674"/>
                  </a:lnTo>
                  <a:lnTo>
                    <a:pt x="715079" y="361597"/>
                  </a:lnTo>
                  <a:lnTo>
                    <a:pt x="713690" y="361378"/>
                  </a:lnTo>
                  <a:lnTo>
                    <a:pt x="711620" y="360952"/>
                  </a:lnTo>
                  <a:lnTo>
                    <a:pt x="708320" y="359938"/>
                  </a:lnTo>
                  <a:lnTo>
                    <a:pt x="705709" y="358977"/>
                  </a:lnTo>
                  <a:lnTo>
                    <a:pt x="702431" y="358794"/>
                  </a:lnTo>
                  <a:lnTo>
                    <a:pt x="700531" y="358985"/>
                  </a:lnTo>
                  <a:lnTo>
                    <a:pt x="694630" y="359167"/>
                  </a:lnTo>
                  <a:lnTo>
                    <a:pt x="689732" y="358159"/>
                  </a:lnTo>
                  <a:lnTo>
                    <a:pt x="685769" y="357970"/>
                  </a:lnTo>
                  <a:lnTo>
                    <a:pt x="683331" y="358029"/>
                  </a:lnTo>
                  <a:lnTo>
                    <a:pt x="682161" y="357904"/>
                  </a:lnTo>
                  <a:lnTo>
                    <a:pt x="680155" y="357912"/>
                  </a:lnTo>
                  <a:lnTo>
                    <a:pt x="677214" y="357692"/>
                  </a:lnTo>
                  <a:lnTo>
                    <a:pt x="673273" y="356138"/>
                  </a:lnTo>
                  <a:lnTo>
                    <a:pt x="671742" y="356060"/>
                  </a:lnTo>
                  <a:lnTo>
                    <a:pt x="670768" y="356116"/>
                  </a:lnTo>
                  <a:lnTo>
                    <a:pt x="664188" y="357259"/>
                  </a:lnTo>
                  <a:lnTo>
                    <a:pt x="661152" y="357525"/>
                  </a:lnTo>
                  <a:lnTo>
                    <a:pt x="654718" y="357395"/>
                  </a:lnTo>
                  <a:lnTo>
                    <a:pt x="648395" y="357267"/>
                  </a:lnTo>
                  <a:lnTo>
                    <a:pt x="646363" y="357026"/>
                  </a:lnTo>
                  <a:lnTo>
                    <a:pt x="645240" y="357149"/>
                  </a:lnTo>
                  <a:lnTo>
                    <a:pt x="642856" y="359891"/>
                  </a:lnTo>
                  <a:lnTo>
                    <a:pt x="641837" y="360316"/>
                  </a:lnTo>
                  <a:lnTo>
                    <a:pt x="635879" y="359718"/>
                  </a:lnTo>
                  <a:lnTo>
                    <a:pt x="628835" y="357913"/>
                  </a:lnTo>
                  <a:lnTo>
                    <a:pt x="623747" y="355937"/>
                  </a:lnTo>
                  <a:lnTo>
                    <a:pt x="619429" y="353845"/>
                  </a:lnTo>
                  <a:lnTo>
                    <a:pt x="613715" y="350539"/>
                  </a:lnTo>
                  <a:lnTo>
                    <a:pt x="610292" y="348903"/>
                  </a:lnTo>
                  <a:lnTo>
                    <a:pt x="609800" y="349845"/>
                  </a:lnTo>
                  <a:lnTo>
                    <a:pt x="608895" y="350146"/>
                  </a:lnTo>
                  <a:lnTo>
                    <a:pt x="607576" y="350292"/>
                  </a:lnTo>
                  <a:lnTo>
                    <a:pt x="604546" y="350121"/>
                  </a:lnTo>
                  <a:lnTo>
                    <a:pt x="603149" y="351797"/>
                  </a:lnTo>
                  <a:lnTo>
                    <a:pt x="599446" y="352995"/>
                  </a:lnTo>
                  <a:lnTo>
                    <a:pt x="597090" y="354068"/>
                  </a:lnTo>
                  <a:lnTo>
                    <a:pt x="595857" y="355277"/>
                  </a:lnTo>
                  <a:lnTo>
                    <a:pt x="593512" y="363299"/>
                  </a:lnTo>
                  <a:lnTo>
                    <a:pt x="592886" y="366224"/>
                  </a:lnTo>
                  <a:lnTo>
                    <a:pt x="594458" y="371145"/>
                  </a:lnTo>
                  <a:lnTo>
                    <a:pt x="592659" y="370858"/>
                  </a:lnTo>
                  <a:lnTo>
                    <a:pt x="590545" y="369600"/>
                  </a:lnTo>
                  <a:lnTo>
                    <a:pt x="589813" y="368610"/>
                  </a:lnTo>
                  <a:lnTo>
                    <a:pt x="587776" y="368003"/>
                  </a:lnTo>
                  <a:lnTo>
                    <a:pt x="580353" y="367088"/>
                  </a:lnTo>
                  <a:lnTo>
                    <a:pt x="578966" y="365959"/>
                  </a:lnTo>
                  <a:lnTo>
                    <a:pt x="578094" y="365039"/>
                  </a:lnTo>
                  <a:lnTo>
                    <a:pt x="576174" y="364438"/>
                  </a:lnTo>
                  <a:lnTo>
                    <a:pt x="573456" y="363975"/>
                  </a:lnTo>
                  <a:lnTo>
                    <a:pt x="567543" y="361839"/>
                  </a:lnTo>
                  <a:lnTo>
                    <a:pt x="565023" y="361758"/>
                  </a:lnTo>
                  <a:lnTo>
                    <a:pt x="557394" y="360114"/>
                  </a:lnTo>
                  <a:lnTo>
                    <a:pt x="556150" y="360132"/>
                  </a:lnTo>
                  <a:lnTo>
                    <a:pt x="555580" y="360201"/>
                  </a:lnTo>
                  <a:lnTo>
                    <a:pt x="552618" y="361277"/>
                  </a:lnTo>
                  <a:lnTo>
                    <a:pt x="550704" y="361591"/>
                  </a:lnTo>
                  <a:lnTo>
                    <a:pt x="548666" y="361157"/>
                  </a:lnTo>
                  <a:lnTo>
                    <a:pt x="545008" y="362484"/>
                  </a:lnTo>
                  <a:lnTo>
                    <a:pt x="543034" y="364250"/>
                  </a:lnTo>
                  <a:lnTo>
                    <a:pt x="541402" y="366411"/>
                  </a:lnTo>
                  <a:lnTo>
                    <a:pt x="539836" y="367774"/>
                  </a:lnTo>
                  <a:lnTo>
                    <a:pt x="539376" y="369811"/>
                  </a:lnTo>
                  <a:lnTo>
                    <a:pt x="538279" y="370869"/>
                  </a:lnTo>
                  <a:lnTo>
                    <a:pt x="536964" y="372984"/>
                  </a:lnTo>
                  <a:lnTo>
                    <a:pt x="536964" y="374217"/>
                  </a:lnTo>
                  <a:lnTo>
                    <a:pt x="538156" y="375415"/>
                  </a:lnTo>
                  <a:lnTo>
                    <a:pt x="536245" y="376518"/>
                  </a:lnTo>
                  <a:lnTo>
                    <a:pt x="534127" y="376864"/>
                  </a:lnTo>
                  <a:lnTo>
                    <a:pt x="533036" y="377543"/>
                  </a:lnTo>
                  <a:lnTo>
                    <a:pt x="531870" y="379170"/>
                  </a:lnTo>
                  <a:lnTo>
                    <a:pt x="530782" y="380571"/>
                  </a:lnTo>
                  <a:lnTo>
                    <a:pt x="530140" y="381068"/>
                  </a:lnTo>
                  <a:lnTo>
                    <a:pt x="529164" y="380977"/>
                  </a:lnTo>
                  <a:lnTo>
                    <a:pt x="528035" y="379893"/>
                  </a:lnTo>
                  <a:lnTo>
                    <a:pt x="526420" y="379938"/>
                  </a:lnTo>
                  <a:lnTo>
                    <a:pt x="524493" y="381282"/>
                  </a:lnTo>
                  <a:lnTo>
                    <a:pt x="522215" y="383458"/>
                  </a:lnTo>
                  <a:lnTo>
                    <a:pt x="519335" y="386786"/>
                  </a:lnTo>
                  <a:lnTo>
                    <a:pt x="516335" y="388546"/>
                  </a:lnTo>
                  <a:lnTo>
                    <a:pt x="512535" y="390049"/>
                  </a:lnTo>
                  <a:lnTo>
                    <a:pt x="509788" y="390716"/>
                  </a:lnTo>
                  <a:lnTo>
                    <a:pt x="507605" y="391855"/>
                  </a:lnTo>
                  <a:lnTo>
                    <a:pt x="503975" y="394160"/>
                  </a:lnTo>
                  <a:lnTo>
                    <a:pt x="503254" y="395516"/>
                  </a:lnTo>
                  <a:lnTo>
                    <a:pt x="500622" y="396318"/>
                  </a:lnTo>
                  <a:lnTo>
                    <a:pt x="498505" y="397242"/>
                  </a:lnTo>
                  <a:lnTo>
                    <a:pt x="496545" y="398782"/>
                  </a:lnTo>
                  <a:lnTo>
                    <a:pt x="496070" y="401494"/>
                  </a:lnTo>
                  <a:lnTo>
                    <a:pt x="494819" y="403052"/>
                  </a:lnTo>
                  <a:lnTo>
                    <a:pt x="491818" y="405191"/>
                  </a:lnTo>
                  <a:lnTo>
                    <a:pt x="489296" y="407348"/>
                  </a:lnTo>
                  <a:lnTo>
                    <a:pt x="487652" y="409462"/>
                  </a:lnTo>
                  <a:lnTo>
                    <a:pt x="485912" y="411703"/>
                  </a:lnTo>
                  <a:lnTo>
                    <a:pt x="485363" y="412937"/>
                  </a:lnTo>
                  <a:lnTo>
                    <a:pt x="485303" y="414622"/>
                  </a:lnTo>
                  <a:lnTo>
                    <a:pt x="486123" y="416036"/>
                  </a:lnTo>
                  <a:lnTo>
                    <a:pt x="486279" y="417382"/>
                  </a:lnTo>
                  <a:lnTo>
                    <a:pt x="485659" y="418360"/>
                  </a:lnTo>
                  <a:lnTo>
                    <a:pt x="483957" y="418727"/>
                  </a:lnTo>
                  <a:lnTo>
                    <a:pt x="482174" y="418444"/>
                  </a:lnTo>
                  <a:lnTo>
                    <a:pt x="479451" y="417483"/>
                  </a:lnTo>
                  <a:lnTo>
                    <a:pt x="476540" y="415760"/>
                  </a:lnTo>
                  <a:lnTo>
                    <a:pt x="475480" y="414913"/>
                  </a:lnTo>
                  <a:lnTo>
                    <a:pt x="474050" y="413463"/>
                  </a:lnTo>
                  <a:lnTo>
                    <a:pt x="474258" y="412115"/>
                  </a:lnTo>
                  <a:lnTo>
                    <a:pt x="474994" y="409496"/>
                  </a:lnTo>
                  <a:lnTo>
                    <a:pt x="475497" y="407697"/>
                  </a:lnTo>
                  <a:lnTo>
                    <a:pt x="474309" y="406838"/>
                  </a:lnTo>
                  <a:lnTo>
                    <a:pt x="473433" y="405918"/>
                  </a:lnTo>
                  <a:lnTo>
                    <a:pt x="472807" y="405028"/>
                  </a:lnTo>
                  <a:lnTo>
                    <a:pt x="471576" y="403274"/>
                  </a:lnTo>
                  <a:lnTo>
                    <a:pt x="470027" y="403704"/>
                  </a:lnTo>
                  <a:lnTo>
                    <a:pt x="468686" y="404135"/>
                  </a:lnTo>
                  <a:lnTo>
                    <a:pt x="467138" y="403520"/>
                  </a:lnTo>
                  <a:lnTo>
                    <a:pt x="462560" y="403787"/>
                  </a:lnTo>
                  <a:lnTo>
                    <a:pt x="459101" y="403987"/>
                  </a:lnTo>
                  <a:lnTo>
                    <a:pt x="455860" y="404176"/>
                  </a:lnTo>
                  <a:lnTo>
                    <a:pt x="451740" y="404414"/>
                  </a:lnTo>
                  <a:lnTo>
                    <a:pt x="446777" y="404702"/>
                  </a:lnTo>
                  <a:lnTo>
                    <a:pt x="445352" y="404315"/>
                  </a:lnTo>
                  <a:lnTo>
                    <a:pt x="444465" y="403734"/>
                  </a:lnTo>
                  <a:lnTo>
                    <a:pt x="443558" y="401319"/>
                  </a:lnTo>
                  <a:lnTo>
                    <a:pt x="443041" y="399265"/>
                  </a:lnTo>
                  <a:lnTo>
                    <a:pt x="442076" y="395417"/>
                  </a:lnTo>
                  <a:lnTo>
                    <a:pt x="441433" y="392439"/>
                  </a:lnTo>
                  <a:lnTo>
                    <a:pt x="440666" y="388885"/>
                  </a:lnTo>
                  <a:lnTo>
                    <a:pt x="440161" y="384959"/>
                  </a:lnTo>
                  <a:lnTo>
                    <a:pt x="439798" y="382160"/>
                  </a:lnTo>
                  <a:lnTo>
                    <a:pt x="436043" y="382068"/>
                  </a:lnTo>
                  <a:lnTo>
                    <a:pt x="433044" y="381995"/>
                  </a:lnTo>
                  <a:lnTo>
                    <a:pt x="428984" y="381895"/>
                  </a:lnTo>
                  <a:lnTo>
                    <a:pt x="429021" y="379667"/>
                  </a:lnTo>
                  <a:lnTo>
                    <a:pt x="429064" y="376857"/>
                  </a:lnTo>
                  <a:lnTo>
                    <a:pt x="429115" y="373655"/>
                  </a:lnTo>
                  <a:lnTo>
                    <a:pt x="429874" y="369446"/>
                  </a:lnTo>
                  <a:lnTo>
                    <a:pt x="430159" y="365913"/>
                  </a:lnTo>
                  <a:lnTo>
                    <a:pt x="430508" y="361598"/>
                  </a:lnTo>
                  <a:lnTo>
                    <a:pt x="430737" y="358743"/>
                  </a:lnTo>
                  <a:lnTo>
                    <a:pt x="430990" y="355598"/>
                  </a:lnTo>
                  <a:lnTo>
                    <a:pt x="428898" y="356568"/>
                  </a:lnTo>
                  <a:lnTo>
                    <a:pt x="426585" y="357642"/>
                  </a:lnTo>
                  <a:lnTo>
                    <a:pt x="424417" y="358647"/>
                  </a:lnTo>
                  <a:lnTo>
                    <a:pt x="422927" y="356099"/>
                  </a:lnTo>
                  <a:lnTo>
                    <a:pt x="421480" y="353620"/>
                  </a:lnTo>
                  <a:lnTo>
                    <a:pt x="419280" y="349848"/>
                  </a:lnTo>
                  <a:lnTo>
                    <a:pt x="417632" y="347017"/>
                  </a:lnTo>
                  <a:lnTo>
                    <a:pt x="414764" y="345364"/>
                  </a:lnTo>
                  <a:lnTo>
                    <a:pt x="412642" y="344140"/>
                  </a:lnTo>
                  <a:lnTo>
                    <a:pt x="410439" y="342077"/>
                  </a:lnTo>
                  <a:lnTo>
                    <a:pt x="408537" y="339935"/>
                  </a:lnTo>
                  <a:lnTo>
                    <a:pt x="406729" y="337903"/>
                  </a:lnTo>
                  <a:lnTo>
                    <a:pt x="404570" y="336133"/>
                  </a:lnTo>
                  <a:lnTo>
                    <a:pt x="402499" y="336692"/>
                  </a:lnTo>
                  <a:lnTo>
                    <a:pt x="400161" y="337798"/>
                  </a:lnTo>
                  <a:lnTo>
                    <a:pt x="397906" y="338863"/>
                  </a:lnTo>
                  <a:lnTo>
                    <a:pt x="395518" y="339991"/>
                  </a:lnTo>
                  <a:lnTo>
                    <a:pt x="394347" y="340542"/>
                  </a:lnTo>
                  <a:lnTo>
                    <a:pt x="391583" y="340333"/>
                  </a:lnTo>
                  <a:lnTo>
                    <a:pt x="389165" y="340150"/>
                  </a:lnTo>
                  <a:lnTo>
                    <a:pt x="384842" y="339824"/>
                  </a:lnTo>
                  <a:lnTo>
                    <a:pt x="381190" y="339546"/>
                  </a:lnTo>
                  <a:lnTo>
                    <a:pt x="377465" y="339263"/>
                  </a:lnTo>
                  <a:lnTo>
                    <a:pt x="372272" y="338869"/>
                  </a:lnTo>
                  <a:lnTo>
                    <a:pt x="367014" y="338472"/>
                  </a:lnTo>
                  <a:lnTo>
                    <a:pt x="363490" y="338997"/>
                  </a:lnTo>
                  <a:lnTo>
                    <a:pt x="359035" y="339661"/>
                  </a:lnTo>
                  <a:lnTo>
                    <a:pt x="354353" y="340358"/>
                  </a:lnTo>
                  <a:lnTo>
                    <a:pt x="350482" y="340934"/>
                  </a:lnTo>
                  <a:lnTo>
                    <a:pt x="345584" y="341662"/>
                  </a:lnTo>
                  <a:lnTo>
                    <a:pt x="341915" y="342207"/>
                  </a:lnTo>
                  <a:lnTo>
                    <a:pt x="340108" y="342132"/>
                  </a:lnTo>
                  <a:lnTo>
                    <a:pt x="337838" y="339839"/>
                  </a:lnTo>
                  <a:lnTo>
                    <a:pt x="334204" y="336163"/>
                  </a:lnTo>
                  <a:lnTo>
                    <a:pt x="332002" y="333933"/>
                  </a:lnTo>
                  <a:lnTo>
                    <a:pt x="329840" y="331744"/>
                  </a:lnTo>
                  <a:lnTo>
                    <a:pt x="326726" y="328587"/>
                  </a:lnTo>
                  <a:lnTo>
                    <a:pt x="324215" y="326196"/>
                  </a:lnTo>
                  <a:lnTo>
                    <a:pt x="321766" y="323857"/>
                  </a:lnTo>
                  <a:lnTo>
                    <a:pt x="320358" y="321697"/>
                  </a:lnTo>
                  <a:lnTo>
                    <a:pt x="319656" y="318980"/>
                  </a:lnTo>
                  <a:lnTo>
                    <a:pt x="318387" y="317746"/>
                  </a:lnTo>
                  <a:lnTo>
                    <a:pt x="315541" y="316081"/>
                  </a:lnTo>
                  <a:lnTo>
                    <a:pt x="312487" y="314292"/>
                  </a:lnTo>
                  <a:lnTo>
                    <a:pt x="309432" y="312503"/>
                  </a:lnTo>
                  <a:lnTo>
                    <a:pt x="306376" y="310711"/>
                  </a:lnTo>
                  <a:lnTo>
                    <a:pt x="303323" y="308919"/>
                  </a:lnTo>
                  <a:lnTo>
                    <a:pt x="300267" y="307126"/>
                  </a:lnTo>
                  <a:lnTo>
                    <a:pt x="297212" y="305331"/>
                  </a:lnTo>
                  <a:lnTo>
                    <a:pt x="294158" y="303534"/>
                  </a:lnTo>
                  <a:lnTo>
                    <a:pt x="291103" y="301739"/>
                  </a:lnTo>
                  <a:lnTo>
                    <a:pt x="288049" y="299941"/>
                  </a:lnTo>
                  <a:lnTo>
                    <a:pt x="284996" y="298142"/>
                  </a:lnTo>
                  <a:lnTo>
                    <a:pt x="281938" y="296342"/>
                  </a:lnTo>
                  <a:lnTo>
                    <a:pt x="278885" y="294539"/>
                  </a:lnTo>
                  <a:lnTo>
                    <a:pt x="275831" y="292736"/>
                  </a:lnTo>
                  <a:lnTo>
                    <a:pt x="272774" y="290932"/>
                  </a:lnTo>
                  <a:lnTo>
                    <a:pt x="269721" y="289126"/>
                  </a:lnTo>
                  <a:lnTo>
                    <a:pt x="266667" y="287319"/>
                  </a:lnTo>
                  <a:lnTo>
                    <a:pt x="264154" y="286006"/>
                  </a:lnTo>
                  <a:lnTo>
                    <a:pt x="261813" y="286348"/>
                  </a:lnTo>
                  <a:lnTo>
                    <a:pt x="258313" y="287268"/>
                  </a:lnTo>
                  <a:lnTo>
                    <a:pt x="254644" y="288231"/>
                  </a:lnTo>
                  <a:lnTo>
                    <a:pt x="251014" y="289183"/>
                  </a:lnTo>
                  <a:lnTo>
                    <a:pt x="244505" y="290892"/>
                  </a:lnTo>
                  <a:lnTo>
                    <a:pt x="240318" y="291989"/>
                  </a:lnTo>
                  <a:lnTo>
                    <a:pt x="237045" y="292915"/>
                  </a:lnTo>
                  <a:lnTo>
                    <a:pt x="233560" y="293901"/>
                  </a:lnTo>
                  <a:lnTo>
                    <a:pt x="228990" y="295192"/>
                  </a:lnTo>
                  <a:lnTo>
                    <a:pt x="225162" y="296275"/>
                  </a:lnTo>
                  <a:lnTo>
                    <a:pt x="220670" y="297542"/>
                  </a:lnTo>
                  <a:lnTo>
                    <a:pt x="216699" y="298663"/>
                  </a:lnTo>
                  <a:lnTo>
                    <a:pt x="213354" y="299606"/>
                  </a:lnTo>
                  <a:lnTo>
                    <a:pt x="209873" y="300588"/>
                  </a:lnTo>
                  <a:lnTo>
                    <a:pt x="207114" y="301367"/>
                  </a:lnTo>
                  <a:lnTo>
                    <a:pt x="207115" y="307633"/>
                  </a:lnTo>
                  <a:lnTo>
                    <a:pt x="207120" y="313885"/>
                  </a:lnTo>
                  <a:lnTo>
                    <a:pt x="207122" y="320122"/>
                  </a:lnTo>
                  <a:lnTo>
                    <a:pt x="207124" y="326345"/>
                  </a:lnTo>
                  <a:lnTo>
                    <a:pt x="207126" y="332554"/>
                  </a:lnTo>
                  <a:lnTo>
                    <a:pt x="207129" y="338751"/>
                  </a:lnTo>
                  <a:lnTo>
                    <a:pt x="207131" y="344932"/>
                  </a:lnTo>
                  <a:lnTo>
                    <a:pt x="207133" y="351099"/>
                  </a:lnTo>
                  <a:lnTo>
                    <a:pt x="207135" y="357252"/>
                  </a:lnTo>
                  <a:lnTo>
                    <a:pt x="207137" y="363393"/>
                  </a:lnTo>
                  <a:lnTo>
                    <a:pt x="207139" y="369520"/>
                  </a:lnTo>
                  <a:lnTo>
                    <a:pt x="207141" y="375634"/>
                  </a:lnTo>
                  <a:lnTo>
                    <a:pt x="207144" y="381735"/>
                  </a:lnTo>
                  <a:lnTo>
                    <a:pt x="207146" y="387823"/>
                  </a:lnTo>
                  <a:lnTo>
                    <a:pt x="207150" y="393899"/>
                  </a:lnTo>
                  <a:lnTo>
                    <a:pt x="207152" y="399962"/>
                  </a:lnTo>
                  <a:lnTo>
                    <a:pt x="206213" y="399911"/>
                  </a:lnTo>
                  <a:lnTo>
                    <a:pt x="204092" y="400263"/>
                  </a:lnTo>
                  <a:lnTo>
                    <a:pt x="200545" y="401107"/>
                  </a:lnTo>
                  <a:lnTo>
                    <a:pt x="197595" y="401530"/>
                  </a:lnTo>
                  <a:lnTo>
                    <a:pt x="196308" y="401279"/>
                  </a:lnTo>
                  <a:lnTo>
                    <a:pt x="195144" y="400646"/>
                  </a:lnTo>
                  <a:lnTo>
                    <a:pt x="194127" y="399310"/>
                  </a:lnTo>
                  <a:lnTo>
                    <a:pt x="192609" y="397687"/>
                  </a:lnTo>
                  <a:lnTo>
                    <a:pt x="191059" y="396374"/>
                  </a:lnTo>
                  <a:lnTo>
                    <a:pt x="189128" y="393675"/>
                  </a:lnTo>
                  <a:lnTo>
                    <a:pt x="187791" y="391599"/>
                  </a:lnTo>
                  <a:lnTo>
                    <a:pt x="184485" y="387064"/>
                  </a:lnTo>
                  <a:lnTo>
                    <a:pt x="184027" y="385632"/>
                  </a:lnTo>
                  <a:lnTo>
                    <a:pt x="183410" y="384171"/>
                  </a:lnTo>
                  <a:lnTo>
                    <a:pt x="182307" y="382949"/>
                  </a:lnTo>
                  <a:lnTo>
                    <a:pt x="178417" y="379947"/>
                  </a:lnTo>
                  <a:lnTo>
                    <a:pt x="173883" y="377237"/>
                  </a:lnTo>
                  <a:lnTo>
                    <a:pt x="169439" y="374582"/>
                  </a:lnTo>
                  <a:lnTo>
                    <a:pt x="168180" y="373937"/>
                  </a:lnTo>
                  <a:lnTo>
                    <a:pt x="166102" y="373112"/>
                  </a:lnTo>
                  <a:lnTo>
                    <a:pt x="163541" y="373093"/>
                  </a:lnTo>
                  <a:lnTo>
                    <a:pt x="161799" y="373256"/>
                  </a:lnTo>
                  <a:lnTo>
                    <a:pt x="156469" y="374132"/>
                  </a:lnTo>
                  <a:lnTo>
                    <a:pt x="152388" y="375160"/>
                  </a:lnTo>
                  <a:lnTo>
                    <a:pt x="146845" y="376554"/>
                  </a:lnTo>
                  <a:lnTo>
                    <a:pt x="142550" y="378099"/>
                  </a:lnTo>
                  <a:lnTo>
                    <a:pt x="141591" y="378552"/>
                  </a:lnTo>
                  <a:lnTo>
                    <a:pt x="138451" y="380415"/>
                  </a:lnTo>
                  <a:lnTo>
                    <a:pt x="134612" y="383500"/>
                  </a:lnTo>
                  <a:lnTo>
                    <a:pt x="130123" y="387849"/>
                  </a:lnTo>
                  <a:lnTo>
                    <a:pt x="129542" y="385052"/>
                  </a:lnTo>
                  <a:lnTo>
                    <a:pt x="129343" y="380741"/>
                  </a:lnTo>
                  <a:lnTo>
                    <a:pt x="129421" y="379352"/>
                  </a:lnTo>
                  <a:lnTo>
                    <a:pt x="130639" y="375721"/>
                  </a:lnTo>
                  <a:lnTo>
                    <a:pt x="131878" y="373227"/>
                  </a:lnTo>
                  <a:lnTo>
                    <a:pt x="132876" y="370633"/>
                  </a:lnTo>
                  <a:lnTo>
                    <a:pt x="133321" y="367234"/>
                  </a:lnTo>
                  <a:lnTo>
                    <a:pt x="132394" y="361772"/>
                  </a:lnTo>
                  <a:lnTo>
                    <a:pt x="131364" y="360560"/>
                  </a:lnTo>
                  <a:lnTo>
                    <a:pt x="130125" y="360164"/>
                  </a:lnTo>
                  <a:lnTo>
                    <a:pt x="128806" y="360052"/>
                  </a:lnTo>
                  <a:lnTo>
                    <a:pt x="126376" y="360274"/>
                  </a:lnTo>
                  <a:lnTo>
                    <a:pt x="125241" y="360712"/>
                  </a:lnTo>
                  <a:lnTo>
                    <a:pt x="123265" y="358867"/>
                  </a:lnTo>
                  <a:lnTo>
                    <a:pt x="120874" y="358572"/>
                  </a:lnTo>
                  <a:lnTo>
                    <a:pt x="119613" y="359086"/>
                  </a:lnTo>
                  <a:lnTo>
                    <a:pt x="118335" y="359353"/>
                  </a:lnTo>
                  <a:lnTo>
                    <a:pt x="116953" y="358843"/>
                  </a:lnTo>
                  <a:lnTo>
                    <a:pt x="115756" y="357751"/>
                  </a:lnTo>
                  <a:lnTo>
                    <a:pt x="115024" y="356572"/>
                  </a:lnTo>
                  <a:lnTo>
                    <a:pt x="114452" y="355236"/>
                  </a:lnTo>
                  <a:lnTo>
                    <a:pt x="112578" y="352562"/>
                  </a:lnTo>
                  <a:lnTo>
                    <a:pt x="110712" y="351102"/>
                  </a:lnTo>
                  <a:lnTo>
                    <a:pt x="108458" y="350779"/>
                  </a:lnTo>
                  <a:lnTo>
                    <a:pt x="104782" y="350863"/>
                  </a:lnTo>
                  <a:lnTo>
                    <a:pt x="103623" y="350682"/>
                  </a:lnTo>
                  <a:lnTo>
                    <a:pt x="103556" y="349162"/>
                  </a:lnTo>
                  <a:lnTo>
                    <a:pt x="104020" y="345804"/>
                  </a:lnTo>
                  <a:lnTo>
                    <a:pt x="104031" y="344051"/>
                  </a:lnTo>
                  <a:lnTo>
                    <a:pt x="103763" y="342395"/>
                  </a:lnTo>
                  <a:lnTo>
                    <a:pt x="103152" y="341034"/>
                  </a:lnTo>
                  <a:lnTo>
                    <a:pt x="102375" y="339854"/>
                  </a:lnTo>
                  <a:lnTo>
                    <a:pt x="100179" y="337911"/>
                  </a:lnTo>
                  <a:lnTo>
                    <a:pt x="98524" y="335176"/>
                  </a:lnTo>
                  <a:lnTo>
                    <a:pt x="95760" y="329545"/>
                  </a:lnTo>
                  <a:lnTo>
                    <a:pt x="93348" y="323202"/>
                  </a:lnTo>
                  <a:lnTo>
                    <a:pt x="92284" y="322246"/>
                  </a:lnTo>
                  <a:lnTo>
                    <a:pt x="90125" y="321241"/>
                  </a:lnTo>
                  <a:lnTo>
                    <a:pt x="85410" y="320435"/>
                  </a:lnTo>
                  <a:lnTo>
                    <a:pt x="82301" y="319601"/>
                  </a:lnTo>
                  <a:lnTo>
                    <a:pt x="81072" y="318797"/>
                  </a:lnTo>
                  <a:lnTo>
                    <a:pt x="80563" y="317401"/>
                  </a:lnTo>
                  <a:lnTo>
                    <a:pt x="80571" y="315906"/>
                  </a:lnTo>
                  <a:lnTo>
                    <a:pt x="80828" y="314137"/>
                  </a:lnTo>
                  <a:lnTo>
                    <a:pt x="81556" y="312641"/>
                  </a:lnTo>
                  <a:lnTo>
                    <a:pt x="84033" y="311485"/>
                  </a:lnTo>
                  <a:lnTo>
                    <a:pt x="89406" y="311231"/>
                  </a:lnTo>
                  <a:lnTo>
                    <a:pt x="94003" y="311356"/>
                  </a:lnTo>
                  <a:lnTo>
                    <a:pt x="98170" y="314031"/>
                  </a:lnTo>
                  <a:lnTo>
                    <a:pt x="99539" y="314647"/>
                  </a:lnTo>
                  <a:lnTo>
                    <a:pt x="101008" y="314823"/>
                  </a:lnTo>
                  <a:lnTo>
                    <a:pt x="103962" y="313978"/>
                  </a:lnTo>
                  <a:lnTo>
                    <a:pt x="105419" y="313738"/>
                  </a:lnTo>
                  <a:lnTo>
                    <a:pt x="109110" y="314016"/>
                  </a:lnTo>
                  <a:lnTo>
                    <a:pt x="108009" y="312750"/>
                  </a:lnTo>
                  <a:lnTo>
                    <a:pt x="106622" y="312085"/>
                  </a:lnTo>
                  <a:lnTo>
                    <a:pt x="105191" y="312143"/>
                  </a:lnTo>
                  <a:lnTo>
                    <a:pt x="103951" y="311628"/>
                  </a:lnTo>
                  <a:lnTo>
                    <a:pt x="101915" y="309170"/>
                  </a:lnTo>
                  <a:lnTo>
                    <a:pt x="98371" y="306373"/>
                  </a:lnTo>
                  <a:lnTo>
                    <a:pt x="97549" y="305215"/>
                  </a:lnTo>
                  <a:lnTo>
                    <a:pt x="97298" y="303364"/>
                  </a:lnTo>
                  <a:lnTo>
                    <a:pt x="97983" y="301766"/>
                  </a:lnTo>
                  <a:lnTo>
                    <a:pt x="100489" y="300128"/>
                  </a:lnTo>
                  <a:lnTo>
                    <a:pt x="102616" y="297900"/>
                  </a:lnTo>
                  <a:lnTo>
                    <a:pt x="103593" y="294940"/>
                  </a:lnTo>
                  <a:lnTo>
                    <a:pt x="104463" y="293575"/>
                  </a:lnTo>
                  <a:lnTo>
                    <a:pt x="106283" y="291429"/>
                  </a:lnTo>
                  <a:lnTo>
                    <a:pt x="109023" y="291840"/>
                  </a:lnTo>
                  <a:lnTo>
                    <a:pt x="113290" y="290288"/>
                  </a:lnTo>
                  <a:lnTo>
                    <a:pt x="120280" y="290592"/>
                  </a:lnTo>
                  <a:lnTo>
                    <a:pt x="128639" y="290145"/>
                  </a:lnTo>
                  <a:lnTo>
                    <a:pt x="130946" y="290310"/>
                  </a:lnTo>
                  <a:lnTo>
                    <a:pt x="136273" y="291823"/>
                  </a:lnTo>
                  <a:lnTo>
                    <a:pt x="139341" y="292475"/>
                  </a:lnTo>
                  <a:lnTo>
                    <a:pt x="143060" y="292810"/>
                  </a:lnTo>
                  <a:lnTo>
                    <a:pt x="145746" y="292139"/>
                  </a:lnTo>
                  <a:lnTo>
                    <a:pt x="143211" y="290071"/>
                  </a:lnTo>
                  <a:lnTo>
                    <a:pt x="137722" y="287617"/>
                  </a:lnTo>
                  <a:lnTo>
                    <a:pt x="136314" y="285528"/>
                  </a:lnTo>
                  <a:lnTo>
                    <a:pt x="138827" y="279836"/>
                  </a:lnTo>
                  <a:lnTo>
                    <a:pt x="142235" y="274642"/>
                  </a:lnTo>
                  <a:lnTo>
                    <a:pt x="144306" y="268458"/>
                  </a:lnTo>
                  <a:lnTo>
                    <a:pt x="143725" y="262296"/>
                  </a:lnTo>
                  <a:lnTo>
                    <a:pt x="142729" y="260598"/>
                  </a:lnTo>
                  <a:lnTo>
                    <a:pt x="143051" y="258594"/>
                  </a:lnTo>
                  <a:lnTo>
                    <a:pt x="144243" y="256902"/>
                  </a:lnTo>
                  <a:lnTo>
                    <a:pt x="145079" y="255215"/>
                  </a:lnTo>
                  <a:lnTo>
                    <a:pt x="144355" y="253184"/>
                  </a:lnTo>
                  <a:lnTo>
                    <a:pt x="142850" y="250009"/>
                  </a:lnTo>
                  <a:lnTo>
                    <a:pt x="142079" y="248981"/>
                  </a:lnTo>
                  <a:lnTo>
                    <a:pt x="139458" y="247267"/>
                  </a:lnTo>
                  <a:lnTo>
                    <a:pt x="134187" y="247191"/>
                  </a:lnTo>
                  <a:lnTo>
                    <a:pt x="129887" y="246255"/>
                  </a:lnTo>
                  <a:lnTo>
                    <a:pt x="128497" y="247008"/>
                  </a:lnTo>
                  <a:lnTo>
                    <a:pt x="127713" y="248167"/>
                  </a:lnTo>
                  <a:lnTo>
                    <a:pt x="126728" y="248930"/>
                  </a:lnTo>
                  <a:lnTo>
                    <a:pt x="123377" y="250470"/>
                  </a:lnTo>
                  <a:lnTo>
                    <a:pt x="122261" y="250773"/>
                  </a:lnTo>
                  <a:lnTo>
                    <a:pt x="121094" y="250467"/>
                  </a:lnTo>
                  <a:lnTo>
                    <a:pt x="119449" y="248731"/>
                  </a:lnTo>
                  <a:lnTo>
                    <a:pt x="117989" y="248927"/>
                  </a:lnTo>
                  <a:lnTo>
                    <a:pt x="113554" y="247843"/>
                  </a:lnTo>
                  <a:lnTo>
                    <a:pt x="111465" y="245490"/>
                  </a:lnTo>
                  <a:lnTo>
                    <a:pt x="110695" y="245159"/>
                  </a:lnTo>
                  <a:lnTo>
                    <a:pt x="103521" y="243277"/>
                  </a:lnTo>
                  <a:lnTo>
                    <a:pt x="101027" y="242918"/>
                  </a:lnTo>
                  <a:lnTo>
                    <a:pt x="95322" y="244859"/>
                  </a:lnTo>
                  <a:lnTo>
                    <a:pt x="91180" y="247343"/>
                  </a:lnTo>
                  <a:lnTo>
                    <a:pt x="90012" y="247704"/>
                  </a:lnTo>
                  <a:lnTo>
                    <a:pt x="87868" y="249278"/>
                  </a:lnTo>
                  <a:lnTo>
                    <a:pt x="86663" y="249528"/>
                  </a:lnTo>
                  <a:lnTo>
                    <a:pt x="85421" y="249260"/>
                  </a:lnTo>
                  <a:lnTo>
                    <a:pt x="84251" y="249356"/>
                  </a:lnTo>
                  <a:lnTo>
                    <a:pt x="81750" y="251712"/>
                  </a:lnTo>
                  <a:lnTo>
                    <a:pt x="77224" y="254453"/>
                  </a:lnTo>
                  <a:lnTo>
                    <a:pt x="74974" y="256182"/>
                  </a:lnTo>
                  <a:lnTo>
                    <a:pt x="72465" y="257255"/>
                  </a:lnTo>
                  <a:lnTo>
                    <a:pt x="69684" y="257926"/>
                  </a:lnTo>
                  <a:lnTo>
                    <a:pt x="66831" y="258035"/>
                  </a:lnTo>
                  <a:lnTo>
                    <a:pt x="65788" y="258656"/>
                  </a:lnTo>
                  <a:lnTo>
                    <a:pt x="62534" y="258877"/>
                  </a:lnTo>
                  <a:lnTo>
                    <a:pt x="60550" y="259380"/>
                  </a:lnTo>
                  <a:lnTo>
                    <a:pt x="60478" y="260313"/>
                  </a:lnTo>
                  <a:lnTo>
                    <a:pt x="60874" y="262403"/>
                  </a:lnTo>
                  <a:lnTo>
                    <a:pt x="59187" y="261665"/>
                  </a:lnTo>
                  <a:lnTo>
                    <a:pt x="57414" y="263083"/>
                  </a:lnTo>
                  <a:lnTo>
                    <a:pt x="58001" y="264428"/>
                  </a:lnTo>
                  <a:lnTo>
                    <a:pt x="56941" y="264105"/>
                  </a:lnTo>
                  <a:lnTo>
                    <a:pt x="51959" y="261517"/>
                  </a:lnTo>
                  <a:lnTo>
                    <a:pt x="47876" y="259691"/>
                  </a:lnTo>
                  <a:lnTo>
                    <a:pt x="44246" y="258066"/>
                  </a:lnTo>
                  <a:lnTo>
                    <a:pt x="43713" y="257771"/>
                  </a:lnTo>
                  <a:lnTo>
                    <a:pt x="42722" y="256978"/>
                  </a:lnTo>
                  <a:lnTo>
                    <a:pt x="42013" y="255745"/>
                  </a:lnTo>
                  <a:lnTo>
                    <a:pt x="41862" y="254392"/>
                  </a:lnTo>
                  <a:lnTo>
                    <a:pt x="42220" y="253399"/>
                  </a:lnTo>
                  <a:lnTo>
                    <a:pt x="43102" y="252764"/>
                  </a:lnTo>
                  <a:lnTo>
                    <a:pt x="44138" y="252519"/>
                  </a:lnTo>
                  <a:lnTo>
                    <a:pt x="45063" y="252720"/>
                  </a:lnTo>
                  <a:lnTo>
                    <a:pt x="46090" y="253329"/>
                  </a:lnTo>
                  <a:lnTo>
                    <a:pt x="47921" y="254066"/>
                  </a:lnTo>
                  <a:lnTo>
                    <a:pt x="50292" y="254203"/>
                  </a:lnTo>
                  <a:lnTo>
                    <a:pt x="51767" y="253636"/>
                  </a:lnTo>
                  <a:lnTo>
                    <a:pt x="51968" y="252277"/>
                  </a:lnTo>
                  <a:lnTo>
                    <a:pt x="49148" y="247252"/>
                  </a:lnTo>
                  <a:lnTo>
                    <a:pt x="46550" y="243189"/>
                  </a:lnTo>
                  <a:lnTo>
                    <a:pt x="44037" y="238663"/>
                  </a:lnTo>
                  <a:lnTo>
                    <a:pt x="42972" y="237020"/>
                  </a:lnTo>
                  <a:lnTo>
                    <a:pt x="39888" y="233222"/>
                  </a:lnTo>
                  <a:lnTo>
                    <a:pt x="36850" y="229477"/>
                  </a:lnTo>
                  <a:lnTo>
                    <a:pt x="34447" y="226136"/>
                  </a:lnTo>
                  <a:lnTo>
                    <a:pt x="33186" y="225106"/>
                  </a:lnTo>
                  <a:lnTo>
                    <a:pt x="29310" y="224676"/>
                  </a:lnTo>
                  <a:lnTo>
                    <a:pt x="21914" y="223852"/>
                  </a:lnTo>
                  <a:lnTo>
                    <a:pt x="19299" y="223460"/>
                  </a:lnTo>
                  <a:lnTo>
                    <a:pt x="17207" y="224452"/>
                  </a:lnTo>
                  <a:lnTo>
                    <a:pt x="15107" y="225233"/>
                  </a:lnTo>
                  <a:lnTo>
                    <a:pt x="13110" y="223782"/>
                  </a:lnTo>
                  <a:lnTo>
                    <a:pt x="11534" y="221408"/>
                  </a:lnTo>
                  <a:lnTo>
                    <a:pt x="10705" y="219408"/>
                  </a:lnTo>
                  <a:lnTo>
                    <a:pt x="11108" y="217366"/>
                  </a:lnTo>
                  <a:lnTo>
                    <a:pt x="11274" y="214347"/>
                  </a:lnTo>
                  <a:lnTo>
                    <a:pt x="10072" y="211366"/>
                  </a:lnTo>
                  <a:lnTo>
                    <a:pt x="8737" y="209894"/>
                  </a:lnTo>
                  <a:lnTo>
                    <a:pt x="5394" y="208787"/>
                  </a:lnTo>
                  <a:lnTo>
                    <a:pt x="1145" y="206275"/>
                  </a:lnTo>
                  <a:lnTo>
                    <a:pt x="0" y="201689"/>
                  </a:lnTo>
                  <a:lnTo>
                    <a:pt x="2067" y="195102"/>
                  </a:lnTo>
                  <a:lnTo>
                    <a:pt x="5390" y="190426"/>
                  </a:lnTo>
                  <a:lnTo>
                    <a:pt x="7807" y="188466"/>
                  </a:lnTo>
                  <a:lnTo>
                    <a:pt x="8957" y="186752"/>
                  </a:lnTo>
                  <a:lnTo>
                    <a:pt x="9335" y="185268"/>
                  </a:lnTo>
                  <a:lnTo>
                    <a:pt x="9044" y="183849"/>
                  </a:lnTo>
                  <a:lnTo>
                    <a:pt x="7612" y="182342"/>
                  </a:lnTo>
                  <a:lnTo>
                    <a:pt x="5390" y="180874"/>
                  </a:lnTo>
                  <a:lnTo>
                    <a:pt x="4265" y="179063"/>
                  </a:lnTo>
                  <a:lnTo>
                    <a:pt x="4732" y="175188"/>
                  </a:lnTo>
                  <a:lnTo>
                    <a:pt x="6200" y="169593"/>
                  </a:lnTo>
                  <a:lnTo>
                    <a:pt x="8465" y="165108"/>
                  </a:lnTo>
                  <a:lnTo>
                    <a:pt x="11508" y="162620"/>
                  </a:lnTo>
                  <a:lnTo>
                    <a:pt x="14133" y="160836"/>
                  </a:lnTo>
                  <a:lnTo>
                    <a:pt x="15170" y="159172"/>
                  </a:lnTo>
                  <a:lnTo>
                    <a:pt x="15224" y="156810"/>
                  </a:lnTo>
                  <a:lnTo>
                    <a:pt x="15159" y="154576"/>
                  </a:lnTo>
                  <a:lnTo>
                    <a:pt x="15861" y="152953"/>
                  </a:lnTo>
                  <a:lnTo>
                    <a:pt x="16964" y="151662"/>
                  </a:lnTo>
                  <a:lnTo>
                    <a:pt x="18133" y="150507"/>
                  </a:lnTo>
                  <a:lnTo>
                    <a:pt x="19778" y="149209"/>
                  </a:lnTo>
                  <a:lnTo>
                    <a:pt x="21901" y="148894"/>
                  </a:lnTo>
                  <a:lnTo>
                    <a:pt x="24248" y="149927"/>
                  </a:lnTo>
                  <a:lnTo>
                    <a:pt x="27429" y="152698"/>
                  </a:lnTo>
                  <a:lnTo>
                    <a:pt x="32097" y="158158"/>
                  </a:lnTo>
                  <a:lnTo>
                    <a:pt x="34764" y="161727"/>
                  </a:lnTo>
                  <a:lnTo>
                    <a:pt x="35725" y="162825"/>
                  </a:lnTo>
                  <a:lnTo>
                    <a:pt x="38161" y="164949"/>
                  </a:lnTo>
                  <a:lnTo>
                    <a:pt x="40357" y="165806"/>
                  </a:lnTo>
                  <a:lnTo>
                    <a:pt x="44022" y="164475"/>
                  </a:lnTo>
                  <a:lnTo>
                    <a:pt x="47537" y="162929"/>
                  </a:lnTo>
                  <a:lnTo>
                    <a:pt x="48671" y="161946"/>
                  </a:lnTo>
                  <a:lnTo>
                    <a:pt x="49401" y="160482"/>
                  </a:lnTo>
                  <a:lnTo>
                    <a:pt x="48841" y="157977"/>
                  </a:lnTo>
                  <a:lnTo>
                    <a:pt x="48107" y="156341"/>
                  </a:lnTo>
                  <a:lnTo>
                    <a:pt x="47325" y="154258"/>
                  </a:lnTo>
                  <a:lnTo>
                    <a:pt x="46243" y="150629"/>
                  </a:lnTo>
                  <a:lnTo>
                    <a:pt x="45481" y="144924"/>
                  </a:lnTo>
                  <a:lnTo>
                    <a:pt x="44577" y="143112"/>
                  </a:lnTo>
                  <a:lnTo>
                    <a:pt x="45242" y="142903"/>
                  </a:lnTo>
                  <a:lnTo>
                    <a:pt x="47002" y="143281"/>
                  </a:lnTo>
                  <a:lnTo>
                    <a:pt x="48630" y="143442"/>
                  </a:lnTo>
                  <a:lnTo>
                    <a:pt x="50959" y="142184"/>
                  </a:lnTo>
                  <a:lnTo>
                    <a:pt x="54164" y="139813"/>
                  </a:lnTo>
                  <a:lnTo>
                    <a:pt x="60018" y="136152"/>
                  </a:lnTo>
                  <a:lnTo>
                    <a:pt x="61258" y="133732"/>
                  </a:lnTo>
                  <a:lnTo>
                    <a:pt x="62255" y="131036"/>
                  </a:lnTo>
                  <a:lnTo>
                    <a:pt x="63879" y="129381"/>
                  </a:lnTo>
                  <a:lnTo>
                    <a:pt x="67600" y="128835"/>
                  </a:lnTo>
                  <a:lnTo>
                    <a:pt x="71049" y="127969"/>
                  </a:lnTo>
                  <a:lnTo>
                    <a:pt x="73482" y="126058"/>
                  </a:lnTo>
                  <a:lnTo>
                    <a:pt x="77298" y="124377"/>
                  </a:lnTo>
                  <a:lnTo>
                    <a:pt x="80438" y="123353"/>
                  </a:lnTo>
                  <a:lnTo>
                    <a:pt x="81817" y="122413"/>
                  </a:lnTo>
                  <a:lnTo>
                    <a:pt x="82800" y="121000"/>
                  </a:lnTo>
                  <a:lnTo>
                    <a:pt x="86395" y="117010"/>
                  </a:lnTo>
                  <a:lnTo>
                    <a:pt x="89218" y="114553"/>
                  </a:lnTo>
                  <a:lnTo>
                    <a:pt x="91699" y="112022"/>
                  </a:lnTo>
                  <a:lnTo>
                    <a:pt x="92534" y="110430"/>
                  </a:lnTo>
                  <a:lnTo>
                    <a:pt x="94491" y="110725"/>
                  </a:lnTo>
                  <a:lnTo>
                    <a:pt x="97486" y="111831"/>
                  </a:lnTo>
                  <a:lnTo>
                    <a:pt x="100705" y="112838"/>
                  </a:lnTo>
                  <a:lnTo>
                    <a:pt x="103059" y="114397"/>
                  </a:lnTo>
                  <a:lnTo>
                    <a:pt x="103519" y="115994"/>
                  </a:lnTo>
                  <a:lnTo>
                    <a:pt x="103748" y="117251"/>
                  </a:lnTo>
                  <a:lnTo>
                    <a:pt x="104709" y="117900"/>
                  </a:lnTo>
                  <a:lnTo>
                    <a:pt x="105847" y="118019"/>
                  </a:lnTo>
                  <a:lnTo>
                    <a:pt x="107560" y="117703"/>
                  </a:lnTo>
                  <a:lnTo>
                    <a:pt x="110559" y="117646"/>
                  </a:lnTo>
                  <a:lnTo>
                    <a:pt x="114236" y="115580"/>
                  </a:lnTo>
                  <a:lnTo>
                    <a:pt x="119360" y="112094"/>
                  </a:lnTo>
                  <a:lnTo>
                    <a:pt x="124048" y="111014"/>
                  </a:lnTo>
                  <a:lnTo>
                    <a:pt x="126523" y="111841"/>
                  </a:lnTo>
                  <a:lnTo>
                    <a:pt x="128557" y="114404"/>
                  </a:lnTo>
                  <a:lnTo>
                    <a:pt x="130174" y="116818"/>
                  </a:lnTo>
                  <a:lnTo>
                    <a:pt x="131833" y="117715"/>
                  </a:lnTo>
                  <a:lnTo>
                    <a:pt x="132863" y="117740"/>
                  </a:lnTo>
                  <a:lnTo>
                    <a:pt x="133247" y="117776"/>
                  </a:lnTo>
                  <a:lnTo>
                    <a:pt x="135303" y="117230"/>
                  </a:lnTo>
                  <a:lnTo>
                    <a:pt x="135456" y="117237"/>
                  </a:lnTo>
                  <a:lnTo>
                    <a:pt x="137346" y="117334"/>
                  </a:lnTo>
                  <a:lnTo>
                    <a:pt x="139162" y="118146"/>
                  </a:lnTo>
                  <a:lnTo>
                    <a:pt x="142164" y="118241"/>
                  </a:lnTo>
                  <a:lnTo>
                    <a:pt x="146342" y="117617"/>
                  </a:lnTo>
                  <a:lnTo>
                    <a:pt x="146782" y="117363"/>
                  </a:lnTo>
                  <a:lnTo>
                    <a:pt x="148791" y="117693"/>
                  </a:lnTo>
                  <a:lnTo>
                    <a:pt x="151235" y="118805"/>
                  </a:lnTo>
                  <a:lnTo>
                    <a:pt x="153137" y="120125"/>
                  </a:lnTo>
                  <a:lnTo>
                    <a:pt x="156530" y="124458"/>
                  </a:lnTo>
                  <a:lnTo>
                    <a:pt x="158484" y="125574"/>
                  </a:lnTo>
                  <a:lnTo>
                    <a:pt x="162472" y="127112"/>
                  </a:lnTo>
                  <a:lnTo>
                    <a:pt x="164345" y="128458"/>
                  </a:lnTo>
                  <a:lnTo>
                    <a:pt x="166517" y="130633"/>
                  </a:lnTo>
                  <a:lnTo>
                    <a:pt x="167653" y="131950"/>
                  </a:lnTo>
                  <a:lnTo>
                    <a:pt x="170013" y="134334"/>
                  </a:lnTo>
                  <a:lnTo>
                    <a:pt x="172747" y="138233"/>
                  </a:lnTo>
                  <a:lnTo>
                    <a:pt x="173231" y="141331"/>
                  </a:lnTo>
                  <a:lnTo>
                    <a:pt x="173852" y="143952"/>
                  </a:lnTo>
                  <a:lnTo>
                    <a:pt x="174867" y="145191"/>
                  </a:lnTo>
                  <a:lnTo>
                    <a:pt x="175705" y="145347"/>
                  </a:lnTo>
                  <a:lnTo>
                    <a:pt x="176610" y="144914"/>
                  </a:lnTo>
                  <a:lnTo>
                    <a:pt x="177493" y="143725"/>
                  </a:lnTo>
                  <a:lnTo>
                    <a:pt x="177800" y="141731"/>
                  </a:lnTo>
                  <a:lnTo>
                    <a:pt x="177532" y="138212"/>
                  </a:lnTo>
                  <a:lnTo>
                    <a:pt x="176832" y="135331"/>
                  </a:lnTo>
                  <a:lnTo>
                    <a:pt x="175934" y="134415"/>
                  </a:lnTo>
                  <a:lnTo>
                    <a:pt x="175502" y="133400"/>
                  </a:lnTo>
                  <a:lnTo>
                    <a:pt x="176096" y="132110"/>
                  </a:lnTo>
                  <a:lnTo>
                    <a:pt x="177614" y="131486"/>
                  </a:lnTo>
                  <a:lnTo>
                    <a:pt x="179506" y="131880"/>
                  </a:lnTo>
                  <a:lnTo>
                    <a:pt x="182620" y="133537"/>
                  </a:lnTo>
                  <a:lnTo>
                    <a:pt x="185867" y="135625"/>
                  </a:lnTo>
                  <a:lnTo>
                    <a:pt x="189856" y="139270"/>
                  </a:lnTo>
                  <a:lnTo>
                    <a:pt x="193524" y="141582"/>
                  </a:lnTo>
                  <a:lnTo>
                    <a:pt x="197530" y="143428"/>
                  </a:lnTo>
                  <a:lnTo>
                    <a:pt x="200713" y="143979"/>
                  </a:lnTo>
                  <a:lnTo>
                    <a:pt x="203177" y="143421"/>
                  </a:lnTo>
                  <a:lnTo>
                    <a:pt x="206086" y="141917"/>
                  </a:lnTo>
                  <a:lnTo>
                    <a:pt x="208750" y="140178"/>
                  </a:lnTo>
                  <a:lnTo>
                    <a:pt x="209962" y="138351"/>
                  </a:lnTo>
                  <a:lnTo>
                    <a:pt x="210834" y="136359"/>
                  </a:lnTo>
                  <a:lnTo>
                    <a:pt x="214851" y="133691"/>
                  </a:lnTo>
                  <a:lnTo>
                    <a:pt x="218517" y="131254"/>
                  </a:lnTo>
                  <a:lnTo>
                    <a:pt x="220186" y="131693"/>
                  </a:lnTo>
                  <a:lnTo>
                    <a:pt x="221365" y="132384"/>
                  </a:lnTo>
                  <a:lnTo>
                    <a:pt x="225127" y="130902"/>
                  </a:lnTo>
                  <a:lnTo>
                    <a:pt x="226438" y="130493"/>
                  </a:lnTo>
                  <a:lnTo>
                    <a:pt x="230023" y="129920"/>
                  </a:lnTo>
                  <a:lnTo>
                    <a:pt x="233722" y="130772"/>
                  </a:lnTo>
                  <a:lnTo>
                    <a:pt x="236673" y="133386"/>
                  </a:lnTo>
                  <a:lnTo>
                    <a:pt x="239541" y="135069"/>
                  </a:lnTo>
                  <a:lnTo>
                    <a:pt x="242098" y="134873"/>
                  </a:lnTo>
                  <a:lnTo>
                    <a:pt x="244221" y="134010"/>
                  </a:lnTo>
                  <a:lnTo>
                    <a:pt x="245617" y="132381"/>
                  </a:lnTo>
                  <a:lnTo>
                    <a:pt x="246675" y="130455"/>
                  </a:lnTo>
                  <a:lnTo>
                    <a:pt x="248092" y="129223"/>
                  </a:lnTo>
                  <a:lnTo>
                    <a:pt x="248313" y="129146"/>
                  </a:lnTo>
                  <a:lnTo>
                    <a:pt x="252873" y="129813"/>
                  </a:lnTo>
                  <a:lnTo>
                    <a:pt x="255738" y="129713"/>
                  </a:lnTo>
                  <a:lnTo>
                    <a:pt x="256043" y="129436"/>
                  </a:lnTo>
                  <a:lnTo>
                    <a:pt x="259818" y="129960"/>
                  </a:lnTo>
                  <a:lnTo>
                    <a:pt x="263981" y="132670"/>
                  </a:lnTo>
                  <a:lnTo>
                    <a:pt x="266570" y="135668"/>
                  </a:lnTo>
                  <a:lnTo>
                    <a:pt x="269876" y="139489"/>
                  </a:lnTo>
                  <a:lnTo>
                    <a:pt x="271416" y="140734"/>
                  </a:lnTo>
                  <a:lnTo>
                    <a:pt x="273653" y="141267"/>
                  </a:lnTo>
                  <a:lnTo>
                    <a:pt x="275411" y="141497"/>
                  </a:lnTo>
                  <a:lnTo>
                    <a:pt x="277767" y="142088"/>
                  </a:lnTo>
                  <a:lnTo>
                    <a:pt x="283990" y="142887"/>
                  </a:lnTo>
                  <a:lnTo>
                    <a:pt x="284936" y="143356"/>
                  </a:lnTo>
                  <a:lnTo>
                    <a:pt x="285573" y="143980"/>
                  </a:lnTo>
                  <a:lnTo>
                    <a:pt x="284996" y="146064"/>
                  </a:lnTo>
                  <a:lnTo>
                    <a:pt x="285553" y="146593"/>
                  </a:lnTo>
                  <a:lnTo>
                    <a:pt x="290598" y="145110"/>
                  </a:lnTo>
                  <a:lnTo>
                    <a:pt x="291951" y="144003"/>
                  </a:lnTo>
                  <a:lnTo>
                    <a:pt x="293619" y="140858"/>
                  </a:lnTo>
                  <a:lnTo>
                    <a:pt x="295109" y="137681"/>
                  </a:lnTo>
                  <a:lnTo>
                    <a:pt x="296216" y="136503"/>
                  </a:lnTo>
                  <a:lnTo>
                    <a:pt x="297395" y="136194"/>
                  </a:lnTo>
                  <a:lnTo>
                    <a:pt x="298578" y="136663"/>
                  </a:lnTo>
                  <a:lnTo>
                    <a:pt x="300228" y="138540"/>
                  </a:lnTo>
                  <a:lnTo>
                    <a:pt x="302470" y="140451"/>
                  </a:lnTo>
                  <a:lnTo>
                    <a:pt x="305493" y="141179"/>
                  </a:lnTo>
                  <a:lnTo>
                    <a:pt x="307343" y="141469"/>
                  </a:lnTo>
                  <a:lnTo>
                    <a:pt x="310207" y="141628"/>
                  </a:lnTo>
                  <a:lnTo>
                    <a:pt x="316936" y="140703"/>
                  </a:lnTo>
                  <a:lnTo>
                    <a:pt x="323228" y="138394"/>
                  </a:lnTo>
                  <a:lnTo>
                    <a:pt x="326823" y="135880"/>
                  </a:lnTo>
                  <a:lnTo>
                    <a:pt x="328494" y="132110"/>
                  </a:lnTo>
                  <a:lnTo>
                    <a:pt x="329538" y="127819"/>
                  </a:lnTo>
                  <a:lnTo>
                    <a:pt x="331149" y="125106"/>
                  </a:lnTo>
                  <a:lnTo>
                    <a:pt x="330477" y="122324"/>
                  </a:lnTo>
                  <a:lnTo>
                    <a:pt x="327307" y="119679"/>
                  </a:lnTo>
                  <a:lnTo>
                    <a:pt x="326240" y="118882"/>
                  </a:lnTo>
                  <a:lnTo>
                    <a:pt x="318540" y="117399"/>
                  </a:lnTo>
                  <a:lnTo>
                    <a:pt x="318065" y="116331"/>
                  </a:lnTo>
                  <a:lnTo>
                    <a:pt x="317627" y="116086"/>
                  </a:lnTo>
                  <a:lnTo>
                    <a:pt x="310039" y="113736"/>
                  </a:lnTo>
                  <a:lnTo>
                    <a:pt x="306376" y="112728"/>
                  </a:lnTo>
                  <a:lnTo>
                    <a:pt x="305351" y="111175"/>
                  </a:lnTo>
                  <a:lnTo>
                    <a:pt x="304668" y="109139"/>
                  </a:lnTo>
                  <a:lnTo>
                    <a:pt x="302299" y="107321"/>
                  </a:lnTo>
                  <a:lnTo>
                    <a:pt x="297592" y="105668"/>
                  </a:lnTo>
                  <a:lnTo>
                    <a:pt x="296769" y="104409"/>
                  </a:lnTo>
                  <a:lnTo>
                    <a:pt x="297549" y="103132"/>
                  </a:lnTo>
                  <a:lnTo>
                    <a:pt x="301267" y="101711"/>
                  </a:lnTo>
                  <a:lnTo>
                    <a:pt x="305508" y="98719"/>
                  </a:lnTo>
                  <a:lnTo>
                    <a:pt x="307140" y="98105"/>
                  </a:lnTo>
                  <a:lnTo>
                    <a:pt x="310922" y="97972"/>
                  </a:lnTo>
                  <a:lnTo>
                    <a:pt x="314418" y="95524"/>
                  </a:lnTo>
                  <a:lnTo>
                    <a:pt x="316832" y="94125"/>
                  </a:lnTo>
                  <a:lnTo>
                    <a:pt x="318091" y="92454"/>
                  </a:lnTo>
                  <a:lnTo>
                    <a:pt x="317758" y="90734"/>
                  </a:lnTo>
                  <a:lnTo>
                    <a:pt x="314260" y="85526"/>
                  </a:lnTo>
                  <a:lnTo>
                    <a:pt x="313224" y="82369"/>
                  </a:lnTo>
                  <a:lnTo>
                    <a:pt x="313841" y="80312"/>
                  </a:lnTo>
                  <a:lnTo>
                    <a:pt x="315851" y="78081"/>
                  </a:lnTo>
                  <a:lnTo>
                    <a:pt x="316989" y="76864"/>
                  </a:lnTo>
                  <a:lnTo>
                    <a:pt x="318356" y="74675"/>
                  </a:lnTo>
                  <a:lnTo>
                    <a:pt x="319261" y="73505"/>
                  </a:lnTo>
                  <a:lnTo>
                    <a:pt x="322787" y="73008"/>
                  </a:lnTo>
                  <a:lnTo>
                    <a:pt x="327074" y="72800"/>
                  </a:lnTo>
                  <a:lnTo>
                    <a:pt x="330011" y="73324"/>
                  </a:lnTo>
                  <a:lnTo>
                    <a:pt x="334118" y="73597"/>
                  </a:lnTo>
                  <a:lnTo>
                    <a:pt x="337860" y="74000"/>
                  </a:lnTo>
                  <a:lnTo>
                    <a:pt x="339754" y="74364"/>
                  </a:lnTo>
                  <a:lnTo>
                    <a:pt x="341144" y="73695"/>
                  </a:lnTo>
                  <a:lnTo>
                    <a:pt x="342153" y="72518"/>
                  </a:lnTo>
                  <a:lnTo>
                    <a:pt x="342116" y="70960"/>
                  </a:lnTo>
                  <a:lnTo>
                    <a:pt x="340648" y="69448"/>
                  </a:lnTo>
                  <a:lnTo>
                    <a:pt x="335154" y="67466"/>
                  </a:lnTo>
                  <a:lnTo>
                    <a:pt x="332803" y="65829"/>
                  </a:lnTo>
                  <a:lnTo>
                    <a:pt x="330952" y="66010"/>
                  </a:lnTo>
                  <a:lnTo>
                    <a:pt x="327870" y="65501"/>
                  </a:lnTo>
                  <a:lnTo>
                    <a:pt x="325087" y="64425"/>
                  </a:lnTo>
                  <a:lnTo>
                    <a:pt x="322617" y="64066"/>
                  </a:lnTo>
                  <a:lnTo>
                    <a:pt x="321812" y="62575"/>
                  </a:lnTo>
                  <a:lnTo>
                    <a:pt x="322323" y="60486"/>
                  </a:lnTo>
                  <a:lnTo>
                    <a:pt x="323273" y="59290"/>
                  </a:lnTo>
                  <a:lnTo>
                    <a:pt x="325102" y="58693"/>
                  </a:lnTo>
                  <a:lnTo>
                    <a:pt x="327078" y="58992"/>
                  </a:lnTo>
                  <a:lnTo>
                    <a:pt x="329236" y="58122"/>
                  </a:lnTo>
                  <a:lnTo>
                    <a:pt x="329855" y="57613"/>
                  </a:lnTo>
                  <a:lnTo>
                    <a:pt x="330041" y="56958"/>
                  </a:lnTo>
                  <a:lnTo>
                    <a:pt x="329691" y="56018"/>
                  </a:lnTo>
                  <a:lnTo>
                    <a:pt x="328696" y="55240"/>
                  </a:lnTo>
                  <a:lnTo>
                    <a:pt x="327277" y="55035"/>
                  </a:lnTo>
                  <a:lnTo>
                    <a:pt x="325644" y="55695"/>
                  </a:lnTo>
                  <a:lnTo>
                    <a:pt x="323694" y="56124"/>
                  </a:lnTo>
                  <a:lnTo>
                    <a:pt x="320391" y="55155"/>
                  </a:lnTo>
                  <a:lnTo>
                    <a:pt x="317758" y="53989"/>
                  </a:lnTo>
                  <a:lnTo>
                    <a:pt x="317892" y="52912"/>
                  </a:lnTo>
                  <a:lnTo>
                    <a:pt x="319838" y="51310"/>
                  </a:lnTo>
                  <a:lnTo>
                    <a:pt x="320714" y="50009"/>
                  </a:lnTo>
                  <a:lnTo>
                    <a:pt x="320714" y="48209"/>
                  </a:lnTo>
                  <a:lnTo>
                    <a:pt x="320714" y="46106"/>
                  </a:lnTo>
                  <a:lnTo>
                    <a:pt x="321390" y="43640"/>
                  </a:lnTo>
                  <a:lnTo>
                    <a:pt x="323321" y="41952"/>
                  </a:lnTo>
                  <a:lnTo>
                    <a:pt x="325590" y="41048"/>
                  </a:lnTo>
                  <a:lnTo>
                    <a:pt x="331438" y="42697"/>
                  </a:lnTo>
                  <a:lnTo>
                    <a:pt x="338747" y="44166"/>
                  </a:lnTo>
                  <a:lnTo>
                    <a:pt x="340007" y="43926"/>
                  </a:lnTo>
                  <a:lnTo>
                    <a:pt x="340376" y="43152"/>
                  </a:lnTo>
                  <a:lnTo>
                    <a:pt x="341213" y="42463"/>
                  </a:lnTo>
                  <a:lnTo>
                    <a:pt x="351358" y="42143"/>
                  </a:lnTo>
                  <a:lnTo>
                    <a:pt x="353332" y="41195"/>
                  </a:lnTo>
                  <a:lnTo>
                    <a:pt x="354315" y="40441"/>
                  </a:lnTo>
                  <a:lnTo>
                    <a:pt x="364071" y="39349"/>
                  </a:lnTo>
                  <a:lnTo>
                    <a:pt x="365234" y="38315"/>
                  </a:lnTo>
                  <a:lnTo>
                    <a:pt x="366666" y="37349"/>
                  </a:lnTo>
                  <a:lnTo>
                    <a:pt x="368908" y="37367"/>
                  </a:lnTo>
                  <a:lnTo>
                    <a:pt x="371583" y="36979"/>
                  </a:lnTo>
                  <a:lnTo>
                    <a:pt x="375306" y="35802"/>
                  </a:lnTo>
                  <a:lnTo>
                    <a:pt x="377945" y="35154"/>
                  </a:lnTo>
                  <a:lnTo>
                    <a:pt x="378383" y="35099"/>
                  </a:lnTo>
                  <a:lnTo>
                    <a:pt x="381166" y="35359"/>
                  </a:lnTo>
                  <a:lnTo>
                    <a:pt x="384634" y="34427"/>
                  </a:lnTo>
                  <a:lnTo>
                    <a:pt x="385375" y="34042"/>
                  </a:lnTo>
                  <a:lnTo>
                    <a:pt x="385939" y="33336"/>
                  </a:lnTo>
                  <a:lnTo>
                    <a:pt x="388957" y="31981"/>
                  </a:lnTo>
                  <a:lnTo>
                    <a:pt x="394747" y="30860"/>
                  </a:lnTo>
                  <a:lnTo>
                    <a:pt x="396159" y="31531"/>
                  </a:lnTo>
                  <a:lnTo>
                    <a:pt x="398919" y="31834"/>
                  </a:lnTo>
                  <a:lnTo>
                    <a:pt x="402443" y="31337"/>
                  </a:lnTo>
                  <a:lnTo>
                    <a:pt x="405041" y="30481"/>
                  </a:lnTo>
                  <a:lnTo>
                    <a:pt x="406559" y="31330"/>
                  </a:lnTo>
                  <a:lnTo>
                    <a:pt x="408614" y="32201"/>
                  </a:lnTo>
                  <a:lnTo>
                    <a:pt x="410150" y="31463"/>
                  </a:lnTo>
                  <a:lnTo>
                    <a:pt x="410910" y="29124"/>
                  </a:lnTo>
                  <a:lnTo>
                    <a:pt x="411910" y="26836"/>
                  </a:lnTo>
                  <a:lnTo>
                    <a:pt x="413646" y="25751"/>
                  </a:lnTo>
                  <a:lnTo>
                    <a:pt x="415021" y="25357"/>
                  </a:lnTo>
                  <a:lnTo>
                    <a:pt x="416265" y="24475"/>
                  </a:lnTo>
                  <a:lnTo>
                    <a:pt x="417207" y="23559"/>
                  </a:lnTo>
                  <a:lnTo>
                    <a:pt x="422311" y="23699"/>
                  </a:lnTo>
                  <a:lnTo>
                    <a:pt x="426876" y="21416"/>
                  </a:lnTo>
                  <a:lnTo>
                    <a:pt x="427770" y="22450"/>
                  </a:lnTo>
                  <a:lnTo>
                    <a:pt x="433696" y="22210"/>
                  </a:lnTo>
                  <a:lnTo>
                    <a:pt x="441053" y="20739"/>
                  </a:lnTo>
                  <a:lnTo>
                    <a:pt x="445456" y="20051"/>
                  </a:lnTo>
                  <a:lnTo>
                    <a:pt x="453059" y="18510"/>
                  </a:lnTo>
                  <a:lnTo>
                    <a:pt x="456574" y="17264"/>
                  </a:lnTo>
                  <a:lnTo>
                    <a:pt x="461601" y="16477"/>
                  </a:lnTo>
                  <a:lnTo>
                    <a:pt x="466216" y="15927"/>
                  </a:lnTo>
                  <a:lnTo>
                    <a:pt x="469235" y="13742"/>
                  </a:lnTo>
                  <a:lnTo>
                    <a:pt x="471668" y="13430"/>
                  </a:lnTo>
                  <a:lnTo>
                    <a:pt x="474629" y="13250"/>
                  </a:lnTo>
                  <a:lnTo>
                    <a:pt x="476443" y="12724"/>
                  </a:lnTo>
                  <a:lnTo>
                    <a:pt x="477626" y="11915"/>
                  </a:lnTo>
                  <a:lnTo>
                    <a:pt x="478393" y="10396"/>
                  </a:lnTo>
                  <a:lnTo>
                    <a:pt x="477978" y="8463"/>
                  </a:lnTo>
                  <a:lnTo>
                    <a:pt x="477557" y="7055"/>
                  </a:lnTo>
                  <a:lnTo>
                    <a:pt x="479673" y="6267"/>
                  </a:lnTo>
                  <a:lnTo>
                    <a:pt x="482692" y="6023"/>
                  </a:lnTo>
                  <a:lnTo>
                    <a:pt x="484601" y="5703"/>
                  </a:lnTo>
                  <a:lnTo>
                    <a:pt x="488760" y="2505"/>
                  </a:lnTo>
                  <a:lnTo>
                    <a:pt x="491636" y="966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02" name="ee4p_KG_1_82333">
              <a:extLst>
                <a:ext uri="{FF2B5EF4-FFF2-40B4-BE49-F238E27FC236}">
                  <a16:creationId xmlns:a16="http://schemas.microsoft.com/office/drawing/2014/main" id="{AA8DFED6-1704-2ECE-1F4F-AD36F5FED950}"/>
                </a:ext>
              </a:extLst>
            </p:cNvPr>
            <p:cNvSpPr>
              <a:spLocks noChangeAspect="1"/>
            </p:cNvSpPr>
            <p:nvPr>
              <p:custDataLst>
                <p:tags r:id="rId30"/>
              </p:custDataLst>
            </p:nvPr>
          </p:nvSpPr>
          <p:spPr>
            <a:xfrm>
              <a:off x="8437149" y="3359750"/>
              <a:ext cx="305937" cy="137170"/>
            </a:xfrm>
            <a:custGeom>
              <a:avLst/>
              <a:gdLst>
                <a:gd name="connsiteX0" fmla="*/ 27722 w 243611"/>
                <a:gd name="connsiteY0" fmla="*/ 88793 h 106330"/>
                <a:gd name="connsiteX1" fmla="*/ 27864 w 243611"/>
                <a:gd name="connsiteY1" fmla="*/ 89306 h 106330"/>
                <a:gd name="connsiteX2" fmla="*/ 28514 w 243611"/>
                <a:gd name="connsiteY2" fmla="*/ 90214 h 106330"/>
                <a:gd name="connsiteX3" fmla="*/ 29419 w 243611"/>
                <a:gd name="connsiteY3" fmla="*/ 91184 h 106330"/>
                <a:gd name="connsiteX4" fmla="*/ 30581 w 243611"/>
                <a:gd name="connsiteY4" fmla="*/ 91292 h 106330"/>
                <a:gd name="connsiteX5" fmla="*/ 32561 w 243611"/>
                <a:gd name="connsiteY5" fmla="*/ 90289 h 106330"/>
                <a:gd name="connsiteX6" fmla="*/ 32485 w 243611"/>
                <a:gd name="connsiteY6" fmla="*/ 89753 h 106330"/>
                <a:gd name="connsiteX7" fmla="*/ 31732 w 243611"/>
                <a:gd name="connsiteY7" fmla="*/ 89503 h 106330"/>
                <a:gd name="connsiteX8" fmla="*/ 29585 w 243611"/>
                <a:gd name="connsiteY8" fmla="*/ 89213 h 106330"/>
                <a:gd name="connsiteX9" fmla="*/ 28052 w 243611"/>
                <a:gd name="connsiteY9" fmla="*/ 88801 h 106330"/>
                <a:gd name="connsiteX10" fmla="*/ 56625 w 243611"/>
                <a:gd name="connsiteY10" fmla="*/ 85859 h 106330"/>
                <a:gd name="connsiteX11" fmla="*/ 56081 w 243611"/>
                <a:gd name="connsiteY11" fmla="*/ 85913 h 106330"/>
                <a:gd name="connsiteX12" fmla="*/ 55444 w 243611"/>
                <a:gd name="connsiteY12" fmla="*/ 86233 h 106330"/>
                <a:gd name="connsiteX13" fmla="*/ 54222 w 243611"/>
                <a:gd name="connsiteY13" fmla="*/ 86554 h 106330"/>
                <a:gd name="connsiteX14" fmla="*/ 53950 w 243611"/>
                <a:gd name="connsiteY14" fmla="*/ 87142 h 106330"/>
                <a:gd name="connsiteX15" fmla="*/ 54766 w 243611"/>
                <a:gd name="connsiteY15" fmla="*/ 87889 h 106330"/>
                <a:gd name="connsiteX16" fmla="*/ 55807 w 243611"/>
                <a:gd name="connsiteY16" fmla="*/ 88157 h 106330"/>
                <a:gd name="connsiteX17" fmla="*/ 56398 w 243611"/>
                <a:gd name="connsiteY17" fmla="*/ 87034 h 106330"/>
                <a:gd name="connsiteX18" fmla="*/ 39279 w 243611"/>
                <a:gd name="connsiteY18" fmla="*/ 81763 h 106330"/>
                <a:gd name="connsiteX19" fmla="*/ 38633 w 243611"/>
                <a:gd name="connsiteY19" fmla="*/ 82260 h 106330"/>
                <a:gd name="connsiteX20" fmla="*/ 38288 w 243611"/>
                <a:gd name="connsiteY20" fmla="*/ 83442 h 106330"/>
                <a:gd name="connsiteX21" fmla="*/ 38592 w 243611"/>
                <a:gd name="connsiteY21" fmla="*/ 84723 h 106330"/>
                <a:gd name="connsiteX22" fmla="*/ 39477 w 243611"/>
                <a:gd name="connsiteY22" fmla="*/ 85587 h 106330"/>
                <a:gd name="connsiteX23" fmla="*/ 40065 w 243611"/>
                <a:gd name="connsiteY23" fmla="*/ 85869 h 106330"/>
                <a:gd name="connsiteX24" fmla="*/ 40149 w 243611"/>
                <a:gd name="connsiteY24" fmla="*/ 85932 h 106330"/>
                <a:gd name="connsiteX25" fmla="*/ 40123 w 243611"/>
                <a:gd name="connsiteY25" fmla="*/ 86354 h 106330"/>
                <a:gd name="connsiteX26" fmla="*/ 39417 w 243611"/>
                <a:gd name="connsiteY26" fmla="*/ 88470 h 106330"/>
                <a:gd name="connsiteX27" fmla="*/ 40579 w 243611"/>
                <a:gd name="connsiteY27" fmla="*/ 88736 h 106330"/>
                <a:gd name="connsiteX28" fmla="*/ 42613 w 243611"/>
                <a:gd name="connsiteY28" fmla="*/ 88774 h 106330"/>
                <a:gd name="connsiteX29" fmla="*/ 43716 w 243611"/>
                <a:gd name="connsiteY29" fmla="*/ 88536 h 106330"/>
                <a:gd name="connsiteX30" fmla="*/ 43926 w 243611"/>
                <a:gd name="connsiteY30" fmla="*/ 88166 h 106330"/>
                <a:gd name="connsiteX31" fmla="*/ 43123 w 243611"/>
                <a:gd name="connsiteY31" fmla="*/ 86263 h 106330"/>
                <a:gd name="connsiteX32" fmla="*/ 44215 w 243611"/>
                <a:gd name="connsiteY32" fmla="*/ 84481 h 106330"/>
                <a:gd name="connsiteX33" fmla="*/ 42039 w 243611"/>
                <a:gd name="connsiteY33" fmla="*/ 84180 h 106330"/>
                <a:gd name="connsiteX34" fmla="*/ 40935 w 243611"/>
                <a:gd name="connsiteY34" fmla="*/ 83653 h 106330"/>
                <a:gd name="connsiteX35" fmla="*/ 39691 w 243611"/>
                <a:gd name="connsiteY35" fmla="*/ 81845 h 106330"/>
                <a:gd name="connsiteX36" fmla="*/ 110117 w 243611"/>
                <a:gd name="connsiteY36" fmla="*/ 0 h 106330"/>
                <a:gd name="connsiteX37" fmla="*/ 113540 w 243611"/>
                <a:gd name="connsiteY37" fmla="*/ 1636 h 106330"/>
                <a:gd name="connsiteX38" fmla="*/ 119254 w 243611"/>
                <a:gd name="connsiteY38" fmla="*/ 4942 h 106330"/>
                <a:gd name="connsiteX39" fmla="*/ 123572 w 243611"/>
                <a:gd name="connsiteY39" fmla="*/ 7034 h 106330"/>
                <a:gd name="connsiteX40" fmla="*/ 128660 w 243611"/>
                <a:gd name="connsiteY40" fmla="*/ 9010 h 106330"/>
                <a:gd name="connsiteX41" fmla="*/ 135704 w 243611"/>
                <a:gd name="connsiteY41" fmla="*/ 10815 h 106330"/>
                <a:gd name="connsiteX42" fmla="*/ 141662 w 243611"/>
                <a:gd name="connsiteY42" fmla="*/ 11413 h 106330"/>
                <a:gd name="connsiteX43" fmla="*/ 142681 w 243611"/>
                <a:gd name="connsiteY43" fmla="*/ 10988 h 106330"/>
                <a:gd name="connsiteX44" fmla="*/ 145065 w 243611"/>
                <a:gd name="connsiteY44" fmla="*/ 8246 h 106330"/>
                <a:gd name="connsiteX45" fmla="*/ 146188 w 243611"/>
                <a:gd name="connsiteY45" fmla="*/ 8123 h 106330"/>
                <a:gd name="connsiteX46" fmla="*/ 148220 w 243611"/>
                <a:gd name="connsiteY46" fmla="*/ 8364 h 106330"/>
                <a:gd name="connsiteX47" fmla="*/ 154543 w 243611"/>
                <a:gd name="connsiteY47" fmla="*/ 8492 h 106330"/>
                <a:gd name="connsiteX48" fmla="*/ 160977 w 243611"/>
                <a:gd name="connsiteY48" fmla="*/ 8622 h 106330"/>
                <a:gd name="connsiteX49" fmla="*/ 164013 w 243611"/>
                <a:gd name="connsiteY49" fmla="*/ 8356 h 106330"/>
                <a:gd name="connsiteX50" fmla="*/ 170593 w 243611"/>
                <a:gd name="connsiteY50" fmla="*/ 7213 h 106330"/>
                <a:gd name="connsiteX51" fmla="*/ 171567 w 243611"/>
                <a:gd name="connsiteY51" fmla="*/ 7157 h 106330"/>
                <a:gd name="connsiteX52" fmla="*/ 173098 w 243611"/>
                <a:gd name="connsiteY52" fmla="*/ 7235 h 106330"/>
                <a:gd name="connsiteX53" fmla="*/ 177039 w 243611"/>
                <a:gd name="connsiteY53" fmla="*/ 8789 h 106330"/>
                <a:gd name="connsiteX54" fmla="*/ 179980 w 243611"/>
                <a:gd name="connsiteY54" fmla="*/ 9009 h 106330"/>
                <a:gd name="connsiteX55" fmla="*/ 181986 w 243611"/>
                <a:gd name="connsiteY55" fmla="*/ 9001 h 106330"/>
                <a:gd name="connsiteX56" fmla="*/ 183156 w 243611"/>
                <a:gd name="connsiteY56" fmla="*/ 9126 h 106330"/>
                <a:gd name="connsiteX57" fmla="*/ 185594 w 243611"/>
                <a:gd name="connsiteY57" fmla="*/ 9067 h 106330"/>
                <a:gd name="connsiteX58" fmla="*/ 189557 w 243611"/>
                <a:gd name="connsiteY58" fmla="*/ 9256 h 106330"/>
                <a:gd name="connsiteX59" fmla="*/ 194455 w 243611"/>
                <a:gd name="connsiteY59" fmla="*/ 10264 h 106330"/>
                <a:gd name="connsiteX60" fmla="*/ 200356 w 243611"/>
                <a:gd name="connsiteY60" fmla="*/ 10082 h 106330"/>
                <a:gd name="connsiteX61" fmla="*/ 202256 w 243611"/>
                <a:gd name="connsiteY61" fmla="*/ 9891 h 106330"/>
                <a:gd name="connsiteX62" fmla="*/ 205534 w 243611"/>
                <a:gd name="connsiteY62" fmla="*/ 10074 h 106330"/>
                <a:gd name="connsiteX63" fmla="*/ 208145 w 243611"/>
                <a:gd name="connsiteY63" fmla="*/ 11035 h 106330"/>
                <a:gd name="connsiteX64" fmla="*/ 211445 w 243611"/>
                <a:gd name="connsiteY64" fmla="*/ 12049 h 106330"/>
                <a:gd name="connsiteX65" fmla="*/ 213515 w 243611"/>
                <a:gd name="connsiteY65" fmla="*/ 12475 h 106330"/>
                <a:gd name="connsiteX66" fmla="*/ 214904 w 243611"/>
                <a:gd name="connsiteY66" fmla="*/ 12694 h 106330"/>
                <a:gd name="connsiteX67" fmla="*/ 217378 w 243611"/>
                <a:gd name="connsiteY67" fmla="*/ 12771 h 106330"/>
                <a:gd name="connsiteX68" fmla="*/ 218855 w 243611"/>
                <a:gd name="connsiteY68" fmla="*/ 12452 h 106330"/>
                <a:gd name="connsiteX69" fmla="*/ 219700 w 243611"/>
                <a:gd name="connsiteY69" fmla="*/ 12899 h 106330"/>
                <a:gd name="connsiteX70" fmla="*/ 220544 w 243611"/>
                <a:gd name="connsiteY70" fmla="*/ 15385 h 106330"/>
                <a:gd name="connsiteX71" fmla="*/ 222589 w 243611"/>
                <a:gd name="connsiteY71" fmla="*/ 17019 h 106330"/>
                <a:gd name="connsiteX72" fmla="*/ 224187 w 243611"/>
                <a:gd name="connsiteY72" fmla="*/ 18557 h 106330"/>
                <a:gd name="connsiteX73" fmla="*/ 225524 w 243611"/>
                <a:gd name="connsiteY73" fmla="*/ 20256 h 106330"/>
                <a:gd name="connsiteX74" fmla="*/ 226893 w 243611"/>
                <a:gd name="connsiteY74" fmla="*/ 20948 h 106330"/>
                <a:gd name="connsiteX75" fmla="*/ 229287 w 243611"/>
                <a:gd name="connsiteY75" fmla="*/ 20973 h 106330"/>
                <a:gd name="connsiteX76" fmla="*/ 233820 w 243611"/>
                <a:gd name="connsiteY76" fmla="*/ 21457 h 106330"/>
                <a:gd name="connsiteX77" fmla="*/ 236422 w 243611"/>
                <a:gd name="connsiteY77" fmla="*/ 22132 h 106330"/>
                <a:gd name="connsiteX78" fmla="*/ 239743 w 243611"/>
                <a:gd name="connsiteY78" fmla="*/ 25067 h 106330"/>
                <a:gd name="connsiteX79" fmla="*/ 242797 w 243611"/>
                <a:gd name="connsiteY79" fmla="*/ 28072 h 106330"/>
                <a:gd name="connsiteX80" fmla="*/ 243235 w 243611"/>
                <a:gd name="connsiteY80" fmla="*/ 29673 h 106330"/>
                <a:gd name="connsiteX81" fmla="*/ 243611 w 243611"/>
                <a:gd name="connsiteY81" fmla="*/ 31533 h 106330"/>
                <a:gd name="connsiteX82" fmla="*/ 243367 w 243611"/>
                <a:gd name="connsiteY82" fmla="*/ 31967 h 106330"/>
                <a:gd name="connsiteX83" fmla="*/ 242948 w 243611"/>
                <a:gd name="connsiteY83" fmla="*/ 32260 h 106330"/>
                <a:gd name="connsiteX84" fmla="*/ 236169 w 243611"/>
                <a:gd name="connsiteY84" fmla="*/ 32723 h 106330"/>
                <a:gd name="connsiteX85" fmla="*/ 234638 w 243611"/>
                <a:gd name="connsiteY85" fmla="*/ 33234 h 106330"/>
                <a:gd name="connsiteX86" fmla="*/ 232995 w 243611"/>
                <a:gd name="connsiteY86" fmla="*/ 35805 h 106330"/>
                <a:gd name="connsiteX87" fmla="*/ 227197 w 243611"/>
                <a:gd name="connsiteY87" fmla="*/ 37869 h 106330"/>
                <a:gd name="connsiteX88" fmla="*/ 223891 w 243611"/>
                <a:gd name="connsiteY88" fmla="*/ 38928 h 106330"/>
                <a:gd name="connsiteX89" fmla="*/ 222546 w 243611"/>
                <a:gd name="connsiteY89" fmla="*/ 38881 h 106330"/>
                <a:gd name="connsiteX90" fmla="*/ 219337 w 243611"/>
                <a:gd name="connsiteY90" fmla="*/ 40568 h 106330"/>
                <a:gd name="connsiteX91" fmla="*/ 210362 w 243611"/>
                <a:gd name="connsiteY91" fmla="*/ 44777 h 106330"/>
                <a:gd name="connsiteX92" fmla="*/ 205953 w 243611"/>
                <a:gd name="connsiteY92" fmla="*/ 47433 h 106330"/>
                <a:gd name="connsiteX93" fmla="*/ 203735 w 243611"/>
                <a:gd name="connsiteY93" fmla="*/ 48543 h 106330"/>
                <a:gd name="connsiteX94" fmla="*/ 201956 w 243611"/>
                <a:gd name="connsiteY94" fmla="*/ 49755 h 106330"/>
                <a:gd name="connsiteX95" fmla="*/ 201656 w 243611"/>
                <a:gd name="connsiteY95" fmla="*/ 50980 h 106330"/>
                <a:gd name="connsiteX96" fmla="*/ 201600 w 243611"/>
                <a:gd name="connsiteY96" fmla="*/ 52134 h 106330"/>
                <a:gd name="connsiteX97" fmla="*/ 196672 w 243611"/>
                <a:gd name="connsiteY97" fmla="*/ 57557 h 106330"/>
                <a:gd name="connsiteX98" fmla="*/ 192979 w 243611"/>
                <a:gd name="connsiteY98" fmla="*/ 58214 h 106330"/>
                <a:gd name="connsiteX99" fmla="*/ 189857 w 243611"/>
                <a:gd name="connsiteY99" fmla="*/ 58084 h 106330"/>
                <a:gd name="connsiteX100" fmla="*/ 187737 w 243611"/>
                <a:gd name="connsiteY100" fmla="*/ 58908 h 106330"/>
                <a:gd name="connsiteX101" fmla="*/ 184694 w 243611"/>
                <a:gd name="connsiteY101" fmla="*/ 59737 h 106330"/>
                <a:gd name="connsiteX102" fmla="*/ 178110 w 243611"/>
                <a:gd name="connsiteY102" fmla="*/ 59170 h 106330"/>
                <a:gd name="connsiteX103" fmla="*/ 175856 w 243611"/>
                <a:gd name="connsiteY103" fmla="*/ 59265 h 106330"/>
                <a:gd name="connsiteX104" fmla="*/ 171535 w 243611"/>
                <a:gd name="connsiteY104" fmla="*/ 58517 h 106330"/>
                <a:gd name="connsiteX105" fmla="*/ 169790 w 243611"/>
                <a:gd name="connsiteY105" fmla="*/ 58911 h 106330"/>
                <a:gd name="connsiteX106" fmla="*/ 167939 w 243611"/>
                <a:gd name="connsiteY106" fmla="*/ 60013 h 106330"/>
                <a:gd name="connsiteX107" fmla="*/ 165383 w 243611"/>
                <a:gd name="connsiteY107" fmla="*/ 64328 h 106330"/>
                <a:gd name="connsiteX108" fmla="*/ 164337 w 243611"/>
                <a:gd name="connsiteY108" fmla="*/ 65339 h 106330"/>
                <a:gd name="connsiteX109" fmla="*/ 163867 w 243611"/>
                <a:gd name="connsiteY109" fmla="*/ 66320 h 106330"/>
                <a:gd name="connsiteX110" fmla="*/ 163476 w 243611"/>
                <a:gd name="connsiteY110" fmla="*/ 68416 h 106330"/>
                <a:gd name="connsiteX111" fmla="*/ 162498 w 243611"/>
                <a:gd name="connsiteY111" fmla="*/ 70631 h 106330"/>
                <a:gd name="connsiteX112" fmla="*/ 161236 w 243611"/>
                <a:gd name="connsiteY112" fmla="*/ 72377 h 106330"/>
                <a:gd name="connsiteX113" fmla="*/ 160336 w 243611"/>
                <a:gd name="connsiteY113" fmla="*/ 73993 h 106330"/>
                <a:gd name="connsiteX114" fmla="*/ 158483 w 243611"/>
                <a:gd name="connsiteY114" fmla="*/ 75556 h 106330"/>
                <a:gd name="connsiteX115" fmla="*/ 156763 w 243611"/>
                <a:gd name="connsiteY115" fmla="*/ 76538 h 106330"/>
                <a:gd name="connsiteX116" fmla="*/ 155430 w 243611"/>
                <a:gd name="connsiteY116" fmla="*/ 74484 h 106330"/>
                <a:gd name="connsiteX117" fmla="*/ 154275 w 243611"/>
                <a:gd name="connsiteY117" fmla="*/ 75069 h 106330"/>
                <a:gd name="connsiteX118" fmla="*/ 153182 w 243611"/>
                <a:gd name="connsiteY118" fmla="*/ 75905 h 106330"/>
                <a:gd name="connsiteX119" fmla="*/ 151096 w 243611"/>
                <a:gd name="connsiteY119" fmla="*/ 75615 h 106330"/>
                <a:gd name="connsiteX120" fmla="*/ 149813 w 243611"/>
                <a:gd name="connsiteY120" fmla="*/ 76036 h 106330"/>
                <a:gd name="connsiteX121" fmla="*/ 146887 w 243611"/>
                <a:gd name="connsiteY121" fmla="*/ 77820 h 106330"/>
                <a:gd name="connsiteX122" fmla="*/ 142579 w 243611"/>
                <a:gd name="connsiteY122" fmla="*/ 77753 h 106330"/>
                <a:gd name="connsiteX123" fmla="*/ 142111 w 243611"/>
                <a:gd name="connsiteY123" fmla="*/ 77140 h 106330"/>
                <a:gd name="connsiteX124" fmla="*/ 141258 w 243611"/>
                <a:gd name="connsiteY124" fmla="*/ 72236 h 106330"/>
                <a:gd name="connsiteX125" fmla="*/ 140509 w 243611"/>
                <a:gd name="connsiteY125" fmla="*/ 69912 h 106330"/>
                <a:gd name="connsiteX126" fmla="*/ 139891 w 243611"/>
                <a:gd name="connsiteY126" fmla="*/ 69391 h 106330"/>
                <a:gd name="connsiteX127" fmla="*/ 139122 w 243611"/>
                <a:gd name="connsiteY127" fmla="*/ 69329 h 106330"/>
                <a:gd name="connsiteX128" fmla="*/ 132936 w 243611"/>
                <a:gd name="connsiteY128" fmla="*/ 73188 h 106330"/>
                <a:gd name="connsiteX129" fmla="*/ 130068 w 243611"/>
                <a:gd name="connsiteY129" fmla="*/ 73873 h 106330"/>
                <a:gd name="connsiteX130" fmla="*/ 127705 w 243611"/>
                <a:gd name="connsiteY130" fmla="*/ 73993 h 106330"/>
                <a:gd name="connsiteX131" fmla="*/ 124635 w 243611"/>
                <a:gd name="connsiteY131" fmla="*/ 72841 h 106330"/>
                <a:gd name="connsiteX132" fmla="*/ 123961 w 243611"/>
                <a:gd name="connsiteY132" fmla="*/ 73127 h 106330"/>
                <a:gd name="connsiteX133" fmla="*/ 123430 w 243611"/>
                <a:gd name="connsiteY133" fmla="*/ 73750 h 106330"/>
                <a:gd name="connsiteX134" fmla="*/ 123212 w 243611"/>
                <a:gd name="connsiteY134" fmla="*/ 74543 h 106330"/>
                <a:gd name="connsiteX135" fmla="*/ 124108 w 243611"/>
                <a:gd name="connsiteY135" fmla="*/ 76728 h 106330"/>
                <a:gd name="connsiteX136" fmla="*/ 123858 w 243611"/>
                <a:gd name="connsiteY136" fmla="*/ 77159 h 106330"/>
                <a:gd name="connsiteX137" fmla="*/ 122471 w 243611"/>
                <a:gd name="connsiteY137" fmla="*/ 77123 h 106330"/>
                <a:gd name="connsiteX138" fmla="*/ 120528 w 243611"/>
                <a:gd name="connsiteY138" fmla="*/ 77627 h 106330"/>
                <a:gd name="connsiteX139" fmla="*/ 119051 w 243611"/>
                <a:gd name="connsiteY139" fmla="*/ 78632 h 106330"/>
                <a:gd name="connsiteX140" fmla="*/ 114602 w 243611"/>
                <a:gd name="connsiteY140" fmla="*/ 82157 h 106330"/>
                <a:gd name="connsiteX141" fmla="*/ 110860 w 243611"/>
                <a:gd name="connsiteY141" fmla="*/ 83336 h 106330"/>
                <a:gd name="connsiteX142" fmla="*/ 107377 w 243611"/>
                <a:gd name="connsiteY142" fmla="*/ 83798 h 106330"/>
                <a:gd name="connsiteX143" fmla="*/ 105948 w 243611"/>
                <a:gd name="connsiteY143" fmla="*/ 84188 h 106330"/>
                <a:gd name="connsiteX144" fmla="*/ 105308 w 243611"/>
                <a:gd name="connsiteY144" fmla="*/ 84613 h 106330"/>
                <a:gd name="connsiteX145" fmla="*/ 104140 w 243611"/>
                <a:gd name="connsiteY145" fmla="*/ 86289 h 106330"/>
                <a:gd name="connsiteX146" fmla="*/ 102942 w 243611"/>
                <a:gd name="connsiteY146" fmla="*/ 88918 h 106330"/>
                <a:gd name="connsiteX147" fmla="*/ 102316 w 243611"/>
                <a:gd name="connsiteY147" fmla="*/ 90201 h 106330"/>
                <a:gd name="connsiteX148" fmla="*/ 101854 w 243611"/>
                <a:gd name="connsiteY148" fmla="*/ 90943 h 106330"/>
                <a:gd name="connsiteX149" fmla="*/ 101951 w 243611"/>
                <a:gd name="connsiteY149" fmla="*/ 91914 h 106330"/>
                <a:gd name="connsiteX150" fmla="*/ 102897 w 243611"/>
                <a:gd name="connsiteY150" fmla="*/ 93170 h 106330"/>
                <a:gd name="connsiteX151" fmla="*/ 103607 w 243611"/>
                <a:gd name="connsiteY151" fmla="*/ 95979 h 106330"/>
                <a:gd name="connsiteX152" fmla="*/ 103441 w 243611"/>
                <a:gd name="connsiteY152" fmla="*/ 96706 h 106330"/>
                <a:gd name="connsiteX153" fmla="*/ 102681 w 243611"/>
                <a:gd name="connsiteY153" fmla="*/ 97881 h 106330"/>
                <a:gd name="connsiteX154" fmla="*/ 101579 w 243611"/>
                <a:gd name="connsiteY154" fmla="*/ 99032 h 106330"/>
                <a:gd name="connsiteX155" fmla="*/ 99208 w 243611"/>
                <a:gd name="connsiteY155" fmla="*/ 99725 h 106330"/>
                <a:gd name="connsiteX156" fmla="*/ 97349 w 243611"/>
                <a:gd name="connsiteY156" fmla="*/ 100073 h 106330"/>
                <a:gd name="connsiteX157" fmla="*/ 96109 w 243611"/>
                <a:gd name="connsiteY157" fmla="*/ 99846 h 106330"/>
                <a:gd name="connsiteX158" fmla="*/ 93784 w 243611"/>
                <a:gd name="connsiteY158" fmla="*/ 99769 h 106330"/>
                <a:gd name="connsiteX159" fmla="*/ 91948 w 243611"/>
                <a:gd name="connsiteY159" fmla="*/ 100232 h 106330"/>
                <a:gd name="connsiteX160" fmla="*/ 90815 w 243611"/>
                <a:gd name="connsiteY160" fmla="*/ 101020 h 106330"/>
                <a:gd name="connsiteX161" fmla="*/ 88578 w 243611"/>
                <a:gd name="connsiteY161" fmla="*/ 102000 h 106330"/>
                <a:gd name="connsiteX162" fmla="*/ 85798 w 243611"/>
                <a:gd name="connsiteY162" fmla="*/ 102329 h 106330"/>
                <a:gd name="connsiteX163" fmla="*/ 82264 w 243611"/>
                <a:gd name="connsiteY163" fmla="*/ 102454 h 106330"/>
                <a:gd name="connsiteX164" fmla="*/ 80562 w 243611"/>
                <a:gd name="connsiteY164" fmla="*/ 102368 h 106330"/>
                <a:gd name="connsiteX165" fmla="*/ 75420 w 243611"/>
                <a:gd name="connsiteY165" fmla="*/ 101704 h 106330"/>
                <a:gd name="connsiteX166" fmla="*/ 73727 w 243611"/>
                <a:gd name="connsiteY166" fmla="*/ 101932 h 106330"/>
                <a:gd name="connsiteX167" fmla="*/ 72110 w 243611"/>
                <a:gd name="connsiteY167" fmla="*/ 102446 h 106330"/>
                <a:gd name="connsiteX168" fmla="*/ 69180 w 243611"/>
                <a:gd name="connsiteY168" fmla="*/ 102978 h 106330"/>
                <a:gd name="connsiteX169" fmla="*/ 67621 w 243611"/>
                <a:gd name="connsiteY169" fmla="*/ 104614 h 106330"/>
                <a:gd name="connsiteX170" fmla="*/ 66794 w 243611"/>
                <a:gd name="connsiteY170" fmla="*/ 106118 h 106330"/>
                <a:gd name="connsiteX171" fmla="*/ 66355 w 243611"/>
                <a:gd name="connsiteY171" fmla="*/ 106330 h 106330"/>
                <a:gd name="connsiteX172" fmla="*/ 64528 w 243611"/>
                <a:gd name="connsiteY172" fmla="*/ 104951 h 106330"/>
                <a:gd name="connsiteX173" fmla="*/ 63132 w 243611"/>
                <a:gd name="connsiteY173" fmla="*/ 103658 h 106330"/>
                <a:gd name="connsiteX174" fmla="*/ 62216 w 243611"/>
                <a:gd name="connsiteY174" fmla="*/ 102582 h 106330"/>
                <a:gd name="connsiteX175" fmla="*/ 61071 w 243611"/>
                <a:gd name="connsiteY175" fmla="*/ 102613 h 106330"/>
                <a:gd name="connsiteX176" fmla="*/ 56979 w 243611"/>
                <a:gd name="connsiteY176" fmla="*/ 104566 h 106330"/>
                <a:gd name="connsiteX177" fmla="*/ 56375 w 243611"/>
                <a:gd name="connsiteY177" fmla="*/ 104504 h 106330"/>
                <a:gd name="connsiteX178" fmla="*/ 55204 w 243611"/>
                <a:gd name="connsiteY178" fmla="*/ 103763 h 106330"/>
                <a:gd name="connsiteX179" fmla="*/ 55418 w 243611"/>
                <a:gd name="connsiteY179" fmla="*/ 101918 h 106330"/>
                <a:gd name="connsiteX180" fmla="*/ 55349 w 243611"/>
                <a:gd name="connsiteY180" fmla="*/ 100744 h 106330"/>
                <a:gd name="connsiteX181" fmla="*/ 54032 w 243611"/>
                <a:gd name="connsiteY181" fmla="*/ 100119 h 106330"/>
                <a:gd name="connsiteX182" fmla="*/ 51237 w 243611"/>
                <a:gd name="connsiteY182" fmla="*/ 99964 h 106330"/>
                <a:gd name="connsiteX183" fmla="*/ 50287 w 243611"/>
                <a:gd name="connsiteY183" fmla="*/ 99296 h 106330"/>
                <a:gd name="connsiteX184" fmla="*/ 50344 w 243611"/>
                <a:gd name="connsiteY184" fmla="*/ 98302 h 106330"/>
                <a:gd name="connsiteX185" fmla="*/ 50598 w 243611"/>
                <a:gd name="connsiteY185" fmla="*/ 97347 h 106330"/>
                <a:gd name="connsiteX186" fmla="*/ 50281 w 243611"/>
                <a:gd name="connsiteY186" fmla="*/ 96612 h 106330"/>
                <a:gd name="connsiteX187" fmla="*/ 49558 w 243611"/>
                <a:gd name="connsiteY187" fmla="*/ 96053 h 106330"/>
                <a:gd name="connsiteX188" fmla="*/ 48098 w 243611"/>
                <a:gd name="connsiteY188" fmla="*/ 96204 h 106330"/>
                <a:gd name="connsiteX189" fmla="*/ 46422 w 243611"/>
                <a:gd name="connsiteY189" fmla="*/ 96962 h 106330"/>
                <a:gd name="connsiteX190" fmla="*/ 45191 w 243611"/>
                <a:gd name="connsiteY190" fmla="*/ 97829 h 106330"/>
                <a:gd name="connsiteX191" fmla="*/ 43641 w 243611"/>
                <a:gd name="connsiteY191" fmla="*/ 98231 h 106330"/>
                <a:gd name="connsiteX192" fmla="*/ 41768 w 243611"/>
                <a:gd name="connsiteY192" fmla="*/ 98393 h 106330"/>
                <a:gd name="connsiteX193" fmla="*/ 40596 w 243611"/>
                <a:gd name="connsiteY193" fmla="*/ 98917 h 106330"/>
                <a:gd name="connsiteX194" fmla="*/ 39266 w 243611"/>
                <a:gd name="connsiteY194" fmla="*/ 101033 h 106330"/>
                <a:gd name="connsiteX195" fmla="*/ 34720 w 243611"/>
                <a:gd name="connsiteY195" fmla="*/ 101478 h 106330"/>
                <a:gd name="connsiteX196" fmla="*/ 33256 w 243611"/>
                <a:gd name="connsiteY196" fmla="*/ 100996 h 106330"/>
                <a:gd name="connsiteX197" fmla="*/ 32051 w 243611"/>
                <a:gd name="connsiteY197" fmla="*/ 99491 h 106330"/>
                <a:gd name="connsiteX198" fmla="*/ 30486 w 243611"/>
                <a:gd name="connsiteY198" fmla="*/ 97073 h 106330"/>
                <a:gd name="connsiteX199" fmla="*/ 29605 w 243611"/>
                <a:gd name="connsiteY199" fmla="*/ 96775 h 106330"/>
                <a:gd name="connsiteX200" fmla="*/ 28128 w 243611"/>
                <a:gd name="connsiteY200" fmla="*/ 96477 h 106330"/>
                <a:gd name="connsiteX201" fmla="*/ 25716 w 243611"/>
                <a:gd name="connsiteY201" fmla="*/ 96619 h 106330"/>
                <a:gd name="connsiteX202" fmla="*/ 22460 w 243611"/>
                <a:gd name="connsiteY202" fmla="*/ 97639 h 106330"/>
                <a:gd name="connsiteX203" fmla="*/ 21673 w 243611"/>
                <a:gd name="connsiteY203" fmla="*/ 96798 h 106330"/>
                <a:gd name="connsiteX204" fmla="*/ 20829 w 243611"/>
                <a:gd name="connsiteY204" fmla="*/ 96560 h 106330"/>
                <a:gd name="connsiteX205" fmla="*/ 20071 w 243611"/>
                <a:gd name="connsiteY205" fmla="*/ 97251 h 106330"/>
                <a:gd name="connsiteX206" fmla="*/ 19293 w 243611"/>
                <a:gd name="connsiteY206" fmla="*/ 97172 h 106330"/>
                <a:gd name="connsiteX207" fmla="*/ 16072 w 243611"/>
                <a:gd name="connsiteY207" fmla="*/ 97367 h 106330"/>
                <a:gd name="connsiteX208" fmla="*/ 12006 w 243611"/>
                <a:gd name="connsiteY208" fmla="*/ 97272 h 106330"/>
                <a:gd name="connsiteX209" fmla="*/ 9682 w 243611"/>
                <a:gd name="connsiteY209" fmla="*/ 96801 h 106330"/>
                <a:gd name="connsiteX210" fmla="*/ 8175 w 243611"/>
                <a:gd name="connsiteY210" fmla="*/ 96830 h 106330"/>
                <a:gd name="connsiteX211" fmla="*/ 5178 w 243611"/>
                <a:gd name="connsiteY211" fmla="*/ 97913 h 106330"/>
                <a:gd name="connsiteX212" fmla="*/ 3591 w 243611"/>
                <a:gd name="connsiteY212" fmla="*/ 97903 h 106330"/>
                <a:gd name="connsiteX213" fmla="*/ 1516 w 243611"/>
                <a:gd name="connsiteY213" fmla="*/ 98102 h 106330"/>
                <a:gd name="connsiteX214" fmla="*/ 1131 w 243611"/>
                <a:gd name="connsiteY214" fmla="*/ 94436 h 106330"/>
                <a:gd name="connsiteX215" fmla="*/ 0 w 243611"/>
                <a:gd name="connsiteY215" fmla="*/ 91960 h 106330"/>
                <a:gd name="connsiteX216" fmla="*/ 345 w 243611"/>
                <a:gd name="connsiteY216" fmla="*/ 90242 h 106330"/>
                <a:gd name="connsiteX217" fmla="*/ 1098 w 243611"/>
                <a:gd name="connsiteY217" fmla="*/ 87880 h 106330"/>
                <a:gd name="connsiteX218" fmla="*/ 1727 w 243611"/>
                <a:gd name="connsiteY218" fmla="*/ 86557 h 106330"/>
                <a:gd name="connsiteX219" fmla="*/ 3014 w 243611"/>
                <a:gd name="connsiteY219" fmla="*/ 87117 h 106330"/>
                <a:gd name="connsiteX220" fmla="*/ 4485 w 243611"/>
                <a:gd name="connsiteY220" fmla="*/ 88089 h 106330"/>
                <a:gd name="connsiteX221" fmla="*/ 5465 w 243611"/>
                <a:gd name="connsiteY221" fmla="*/ 87829 h 106330"/>
                <a:gd name="connsiteX222" fmla="*/ 5722 w 243611"/>
                <a:gd name="connsiteY222" fmla="*/ 87029 h 106330"/>
                <a:gd name="connsiteX223" fmla="*/ 5348 w 243611"/>
                <a:gd name="connsiteY223" fmla="*/ 85981 h 106330"/>
                <a:gd name="connsiteX224" fmla="*/ 5299 w 243611"/>
                <a:gd name="connsiteY224" fmla="*/ 85196 h 106330"/>
                <a:gd name="connsiteX225" fmla="*/ 5849 w 243611"/>
                <a:gd name="connsiteY225" fmla="*/ 84163 h 106330"/>
                <a:gd name="connsiteX226" fmla="*/ 6659 w 243611"/>
                <a:gd name="connsiteY226" fmla="*/ 83198 h 106330"/>
                <a:gd name="connsiteX227" fmla="*/ 11855 w 243611"/>
                <a:gd name="connsiteY227" fmla="*/ 81614 h 106330"/>
                <a:gd name="connsiteX228" fmla="*/ 16312 w 243611"/>
                <a:gd name="connsiteY228" fmla="*/ 80459 h 106330"/>
                <a:gd name="connsiteX229" fmla="*/ 18626 w 243611"/>
                <a:gd name="connsiteY229" fmla="*/ 81229 h 106330"/>
                <a:gd name="connsiteX230" fmla="*/ 23114 w 243611"/>
                <a:gd name="connsiteY230" fmla="*/ 83002 h 106330"/>
                <a:gd name="connsiteX231" fmla="*/ 25424 w 243611"/>
                <a:gd name="connsiteY231" fmla="*/ 83914 h 106330"/>
                <a:gd name="connsiteX232" fmla="*/ 27026 w 243611"/>
                <a:gd name="connsiteY232" fmla="*/ 84453 h 106330"/>
                <a:gd name="connsiteX233" fmla="*/ 28437 w 243611"/>
                <a:gd name="connsiteY233" fmla="*/ 87043 h 106330"/>
                <a:gd name="connsiteX234" fmla="*/ 29359 w 243611"/>
                <a:gd name="connsiteY234" fmla="*/ 86923 h 106330"/>
                <a:gd name="connsiteX235" fmla="*/ 30296 w 243611"/>
                <a:gd name="connsiteY235" fmla="*/ 86401 h 106330"/>
                <a:gd name="connsiteX236" fmla="*/ 30846 w 243611"/>
                <a:gd name="connsiteY236" fmla="*/ 85764 h 106330"/>
                <a:gd name="connsiteX237" fmla="*/ 31293 w 243611"/>
                <a:gd name="connsiteY237" fmla="*/ 83560 h 106330"/>
                <a:gd name="connsiteX238" fmla="*/ 33377 w 243611"/>
                <a:gd name="connsiteY238" fmla="*/ 82315 h 106330"/>
                <a:gd name="connsiteX239" fmla="*/ 37973 w 243611"/>
                <a:gd name="connsiteY239" fmla="*/ 80841 h 106330"/>
                <a:gd name="connsiteX240" fmla="*/ 38294 w 243611"/>
                <a:gd name="connsiteY240" fmla="*/ 79978 h 106330"/>
                <a:gd name="connsiteX241" fmla="*/ 38229 w 243611"/>
                <a:gd name="connsiteY241" fmla="*/ 79502 h 106330"/>
                <a:gd name="connsiteX242" fmla="*/ 38950 w 243611"/>
                <a:gd name="connsiteY242" fmla="*/ 79084 h 106330"/>
                <a:gd name="connsiteX243" fmla="*/ 41248 w 243611"/>
                <a:gd name="connsiteY243" fmla="*/ 78656 h 106330"/>
                <a:gd name="connsiteX244" fmla="*/ 45895 w 243611"/>
                <a:gd name="connsiteY244" fmla="*/ 78246 h 106330"/>
                <a:gd name="connsiteX245" fmla="*/ 47476 w 243611"/>
                <a:gd name="connsiteY245" fmla="*/ 78553 h 106330"/>
                <a:gd name="connsiteX246" fmla="*/ 49272 w 243611"/>
                <a:gd name="connsiteY246" fmla="*/ 79420 h 106330"/>
                <a:gd name="connsiteX247" fmla="*/ 50665 w 243611"/>
                <a:gd name="connsiteY247" fmla="*/ 80283 h 106330"/>
                <a:gd name="connsiteX248" fmla="*/ 51993 w 243611"/>
                <a:gd name="connsiteY248" fmla="*/ 80250 h 106330"/>
                <a:gd name="connsiteX249" fmla="*/ 53086 w 243611"/>
                <a:gd name="connsiteY249" fmla="*/ 80070 h 106330"/>
                <a:gd name="connsiteX250" fmla="*/ 53550 w 243611"/>
                <a:gd name="connsiteY250" fmla="*/ 80308 h 106330"/>
                <a:gd name="connsiteX251" fmla="*/ 53902 w 243611"/>
                <a:gd name="connsiteY251" fmla="*/ 81076 h 106330"/>
                <a:gd name="connsiteX252" fmla="*/ 54470 w 243611"/>
                <a:gd name="connsiteY252" fmla="*/ 81762 h 106330"/>
                <a:gd name="connsiteX253" fmla="*/ 56243 w 243611"/>
                <a:gd name="connsiteY253" fmla="*/ 80830 h 106330"/>
                <a:gd name="connsiteX254" fmla="*/ 57852 w 243611"/>
                <a:gd name="connsiteY254" fmla="*/ 79621 h 106330"/>
                <a:gd name="connsiteX255" fmla="*/ 59119 w 243611"/>
                <a:gd name="connsiteY255" fmla="*/ 79447 h 106330"/>
                <a:gd name="connsiteX256" fmla="*/ 60290 w 243611"/>
                <a:gd name="connsiteY256" fmla="*/ 78987 h 106330"/>
                <a:gd name="connsiteX257" fmla="*/ 60631 w 243611"/>
                <a:gd name="connsiteY257" fmla="*/ 78179 h 106330"/>
                <a:gd name="connsiteX258" fmla="*/ 61549 w 243611"/>
                <a:gd name="connsiteY258" fmla="*/ 76839 h 106330"/>
                <a:gd name="connsiteX259" fmla="*/ 64172 w 243611"/>
                <a:gd name="connsiteY259" fmla="*/ 74278 h 106330"/>
                <a:gd name="connsiteX260" fmla="*/ 65535 w 243611"/>
                <a:gd name="connsiteY260" fmla="*/ 73864 h 106330"/>
                <a:gd name="connsiteX261" fmla="*/ 66418 w 243611"/>
                <a:gd name="connsiteY261" fmla="*/ 73865 h 106330"/>
                <a:gd name="connsiteX262" fmla="*/ 66459 w 243611"/>
                <a:gd name="connsiteY262" fmla="*/ 74278 h 106330"/>
                <a:gd name="connsiteX263" fmla="*/ 66886 w 243611"/>
                <a:gd name="connsiteY263" fmla="*/ 74655 h 106330"/>
                <a:gd name="connsiteX264" fmla="*/ 69180 w 243611"/>
                <a:gd name="connsiteY264" fmla="*/ 75245 h 106330"/>
                <a:gd name="connsiteX265" fmla="*/ 69877 w 243611"/>
                <a:gd name="connsiteY265" fmla="*/ 74572 h 106330"/>
                <a:gd name="connsiteX266" fmla="*/ 70247 w 243611"/>
                <a:gd name="connsiteY266" fmla="*/ 73638 h 106330"/>
                <a:gd name="connsiteX267" fmla="*/ 69445 w 243611"/>
                <a:gd name="connsiteY267" fmla="*/ 72154 h 106330"/>
                <a:gd name="connsiteX268" fmla="*/ 69430 w 243611"/>
                <a:gd name="connsiteY268" fmla="*/ 71533 h 106330"/>
                <a:gd name="connsiteX269" fmla="*/ 69730 w 243611"/>
                <a:gd name="connsiteY269" fmla="*/ 70965 h 106330"/>
                <a:gd name="connsiteX270" fmla="*/ 70160 w 243611"/>
                <a:gd name="connsiteY270" fmla="*/ 70626 h 106330"/>
                <a:gd name="connsiteX271" fmla="*/ 73818 w 243611"/>
                <a:gd name="connsiteY271" fmla="*/ 72033 h 106330"/>
                <a:gd name="connsiteX272" fmla="*/ 74628 w 243611"/>
                <a:gd name="connsiteY272" fmla="*/ 72005 h 106330"/>
                <a:gd name="connsiteX273" fmla="*/ 76297 w 243611"/>
                <a:gd name="connsiteY273" fmla="*/ 71214 h 106330"/>
                <a:gd name="connsiteX274" fmla="*/ 77828 w 243611"/>
                <a:gd name="connsiteY274" fmla="*/ 69823 h 106330"/>
                <a:gd name="connsiteX275" fmla="*/ 78381 w 243611"/>
                <a:gd name="connsiteY275" fmla="*/ 68730 h 106330"/>
                <a:gd name="connsiteX276" fmla="*/ 85878 w 243611"/>
                <a:gd name="connsiteY276" fmla="*/ 65171 h 106330"/>
                <a:gd name="connsiteX277" fmla="*/ 86410 w 243611"/>
                <a:gd name="connsiteY277" fmla="*/ 64524 h 106330"/>
                <a:gd name="connsiteX278" fmla="*/ 86304 w 243611"/>
                <a:gd name="connsiteY278" fmla="*/ 64055 h 106330"/>
                <a:gd name="connsiteX279" fmla="*/ 83162 w 243611"/>
                <a:gd name="connsiteY279" fmla="*/ 63225 h 106330"/>
                <a:gd name="connsiteX280" fmla="*/ 81745 w 243611"/>
                <a:gd name="connsiteY280" fmla="*/ 63690 h 106330"/>
                <a:gd name="connsiteX281" fmla="*/ 80432 w 243611"/>
                <a:gd name="connsiteY281" fmla="*/ 63692 h 106330"/>
                <a:gd name="connsiteX282" fmla="*/ 79644 w 243611"/>
                <a:gd name="connsiteY282" fmla="*/ 63171 h 106330"/>
                <a:gd name="connsiteX283" fmla="*/ 75826 w 243611"/>
                <a:gd name="connsiteY283" fmla="*/ 62967 h 106330"/>
                <a:gd name="connsiteX284" fmla="*/ 74989 w 243611"/>
                <a:gd name="connsiteY284" fmla="*/ 62603 h 106330"/>
                <a:gd name="connsiteX285" fmla="*/ 72458 w 243611"/>
                <a:gd name="connsiteY285" fmla="*/ 60029 h 106330"/>
                <a:gd name="connsiteX286" fmla="*/ 70719 w 243611"/>
                <a:gd name="connsiteY286" fmla="*/ 59049 h 106330"/>
                <a:gd name="connsiteX287" fmla="*/ 69320 w 243611"/>
                <a:gd name="connsiteY287" fmla="*/ 58404 h 106330"/>
                <a:gd name="connsiteX288" fmla="*/ 67791 w 243611"/>
                <a:gd name="connsiteY288" fmla="*/ 58497 h 106330"/>
                <a:gd name="connsiteX289" fmla="*/ 65982 w 243611"/>
                <a:gd name="connsiteY289" fmla="*/ 59172 h 106330"/>
                <a:gd name="connsiteX290" fmla="*/ 65412 w 243611"/>
                <a:gd name="connsiteY290" fmla="*/ 58865 h 106330"/>
                <a:gd name="connsiteX291" fmla="*/ 65265 w 243611"/>
                <a:gd name="connsiteY291" fmla="*/ 57788 h 106330"/>
                <a:gd name="connsiteX292" fmla="*/ 65271 w 243611"/>
                <a:gd name="connsiteY292" fmla="*/ 56429 h 106330"/>
                <a:gd name="connsiteX293" fmla="*/ 64902 w 243611"/>
                <a:gd name="connsiteY293" fmla="*/ 54974 h 106330"/>
                <a:gd name="connsiteX294" fmla="*/ 63823 w 243611"/>
                <a:gd name="connsiteY294" fmla="*/ 54635 h 106330"/>
                <a:gd name="connsiteX295" fmla="*/ 62430 w 243611"/>
                <a:gd name="connsiteY295" fmla="*/ 55211 h 106330"/>
                <a:gd name="connsiteX296" fmla="*/ 60352 w 243611"/>
                <a:gd name="connsiteY296" fmla="*/ 54623 h 106330"/>
                <a:gd name="connsiteX297" fmla="*/ 58586 w 243611"/>
                <a:gd name="connsiteY297" fmla="*/ 54413 h 106330"/>
                <a:gd name="connsiteX298" fmla="*/ 58130 w 243611"/>
                <a:gd name="connsiteY298" fmla="*/ 51345 h 106330"/>
                <a:gd name="connsiteX299" fmla="*/ 57418 w 243611"/>
                <a:gd name="connsiteY299" fmla="*/ 50035 h 106330"/>
                <a:gd name="connsiteX300" fmla="*/ 56681 w 243611"/>
                <a:gd name="connsiteY300" fmla="*/ 48659 h 106330"/>
                <a:gd name="connsiteX301" fmla="*/ 55913 w 243611"/>
                <a:gd name="connsiteY301" fmla="*/ 48266 h 106330"/>
                <a:gd name="connsiteX302" fmla="*/ 54651 w 243611"/>
                <a:gd name="connsiteY302" fmla="*/ 47580 h 106330"/>
                <a:gd name="connsiteX303" fmla="*/ 54576 w 243611"/>
                <a:gd name="connsiteY303" fmla="*/ 45953 h 106330"/>
                <a:gd name="connsiteX304" fmla="*/ 54308 w 243611"/>
                <a:gd name="connsiteY304" fmla="*/ 45492 h 106330"/>
                <a:gd name="connsiteX305" fmla="*/ 53861 w 243611"/>
                <a:gd name="connsiteY305" fmla="*/ 45276 h 106330"/>
                <a:gd name="connsiteX306" fmla="*/ 53254 w 243611"/>
                <a:gd name="connsiteY306" fmla="*/ 45461 h 106330"/>
                <a:gd name="connsiteX307" fmla="*/ 52475 w 243611"/>
                <a:gd name="connsiteY307" fmla="*/ 46278 h 106330"/>
                <a:gd name="connsiteX308" fmla="*/ 52859 w 243611"/>
                <a:gd name="connsiteY308" fmla="*/ 48070 h 106330"/>
                <a:gd name="connsiteX309" fmla="*/ 52563 w 243611"/>
                <a:gd name="connsiteY309" fmla="*/ 49866 h 106330"/>
                <a:gd name="connsiteX310" fmla="*/ 52105 w 243611"/>
                <a:gd name="connsiteY310" fmla="*/ 50768 h 106330"/>
                <a:gd name="connsiteX311" fmla="*/ 51223 w 243611"/>
                <a:gd name="connsiteY311" fmla="*/ 51432 h 106330"/>
                <a:gd name="connsiteX312" fmla="*/ 50214 w 243611"/>
                <a:gd name="connsiteY312" fmla="*/ 51448 h 106330"/>
                <a:gd name="connsiteX313" fmla="*/ 48465 w 243611"/>
                <a:gd name="connsiteY313" fmla="*/ 50540 h 106330"/>
                <a:gd name="connsiteX314" fmla="*/ 48188 w 243611"/>
                <a:gd name="connsiteY314" fmla="*/ 55967 h 106330"/>
                <a:gd name="connsiteX315" fmla="*/ 47849 w 243611"/>
                <a:gd name="connsiteY315" fmla="*/ 56300 h 106330"/>
                <a:gd name="connsiteX316" fmla="*/ 45766 w 243611"/>
                <a:gd name="connsiteY316" fmla="*/ 55533 h 106330"/>
                <a:gd name="connsiteX317" fmla="*/ 44099 w 243611"/>
                <a:gd name="connsiteY317" fmla="*/ 55864 h 106330"/>
                <a:gd name="connsiteX318" fmla="*/ 41606 w 243611"/>
                <a:gd name="connsiteY318" fmla="*/ 55530 h 106330"/>
                <a:gd name="connsiteX319" fmla="*/ 39732 w 243611"/>
                <a:gd name="connsiteY319" fmla="*/ 54635 h 106330"/>
                <a:gd name="connsiteX320" fmla="*/ 38331 w 243611"/>
                <a:gd name="connsiteY320" fmla="*/ 54387 h 106330"/>
                <a:gd name="connsiteX321" fmla="*/ 36072 w 243611"/>
                <a:gd name="connsiteY321" fmla="*/ 53625 h 106330"/>
                <a:gd name="connsiteX322" fmla="*/ 34347 w 243611"/>
                <a:gd name="connsiteY322" fmla="*/ 52634 h 106330"/>
                <a:gd name="connsiteX323" fmla="*/ 33284 w 243611"/>
                <a:gd name="connsiteY323" fmla="*/ 48992 h 106330"/>
                <a:gd name="connsiteX324" fmla="*/ 32278 w 243611"/>
                <a:gd name="connsiteY324" fmla="*/ 47690 h 106330"/>
                <a:gd name="connsiteX325" fmla="*/ 31328 w 243611"/>
                <a:gd name="connsiteY325" fmla="*/ 47412 h 106330"/>
                <a:gd name="connsiteX326" fmla="*/ 27469 w 243611"/>
                <a:gd name="connsiteY326" fmla="*/ 48672 h 106330"/>
                <a:gd name="connsiteX327" fmla="*/ 26063 w 243611"/>
                <a:gd name="connsiteY327" fmla="*/ 47697 h 106330"/>
                <a:gd name="connsiteX328" fmla="*/ 23459 w 243611"/>
                <a:gd name="connsiteY328" fmla="*/ 46448 h 106330"/>
                <a:gd name="connsiteX329" fmla="*/ 21488 w 243611"/>
                <a:gd name="connsiteY329" fmla="*/ 45982 h 106330"/>
                <a:gd name="connsiteX330" fmla="*/ 20959 w 243611"/>
                <a:gd name="connsiteY330" fmla="*/ 45308 h 106330"/>
                <a:gd name="connsiteX331" fmla="*/ 21047 w 243611"/>
                <a:gd name="connsiteY331" fmla="*/ 44476 h 106330"/>
                <a:gd name="connsiteX332" fmla="*/ 27106 w 243611"/>
                <a:gd name="connsiteY332" fmla="*/ 40411 h 106330"/>
                <a:gd name="connsiteX333" fmla="*/ 29492 w 243611"/>
                <a:gd name="connsiteY333" fmla="*/ 37609 h 106330"/>
                <a:gd name="connsiteX334" fmla="*/ 30995 w 243611"/>
                <a:gd name="connsiteY334" fmla="*/ 36425 h 106330"/>
                <a:gd name="connsiteX335" fmla="*/ 33138 w 243611"/>
                <a:gd name="connsiteY335" fmla="*/ 35636 h 106330"/>
                <a:gd name="connsiteX336" fmla="*/ 34809 w 243611"/>
                <a:gd name="connsiteY336" fmla="*/ 35174 h 106330"/>
                <a:gd name="connsiteX337" fmla="*/ 35662 w 243611"/>
                <a:gd name="connsiteY337" fmla="*/ 32600 h 106330"/>
                <a:gd name="connsiteX338" fmla="*/ 35988 w 243611"/>
                <a:gd name="connsiteY338" fmla="*/ 32303 h 106330"/>
                <a:gd name="connsiteX339" fmla="*/ 37176 w 243611"/>
                <a:gd name="connsiteY339" fmla="*/ 32113 h 106330"/>
                <a:gd name="connsiteX340" fmla="*/ 39871 w 243611"/>
                <a:gd name="connsiteY340" fmla="*/ 31056 h 106330"/>
                <a:gd name="connsiteX341" fmla="*/ 44211 w 243611"/>
                <a:gd name="connsiteY341" fmla="*/ 28794 h 106330"/>
                <a:gd name="connsiteX342" fmla="*/ 44295 w 243611"/>
                <a:gd name="connsiteY342" fmla="*/ 28172 h 106330"/>
                <a:gd name="connsiteX343" fmla="*/ 43861 w 243611"/>
                <a:gd name="connsiteY343" fmla="*/ 27636 h 106330"/>
                <a:gd name="connsiteX344" fmla="*/ 42032 w 243611"/>
                <a:gd name="connsiteY344" fmla="*/ 26477 h 106330"/>
                <a:gd name="connsiteX345" fmla="*/ 39955 w 243611"/>
                <a:gd name="connsiteY345" fmla="*/ 25554 h 106330"/>
                <a:gd name="connsiteX346" fmla="*/ 38693 w 243611"/>
                <a:gd name="connsiteY346" fmla="*/ 26036 h 106330"/>
                <a:gd name="connsiteX347" fmla="*/ 37981 w 243611"/>
                <a:gd name="connsiteY347" fmla="*/ 26512 h 106330"/>
                <a:gd name="connsiteX348" fmla="*/ 36789 w 243611"/>
                <a:gd name="connsiteY348" fmla="*/ 25314 h 106330"/>
                <a:gd name="connsiteX349" fmla="*/ 36789 w 243611"/>
                <a:gd name="connsiteY349" fmla="*/ 24081 h 106330"/>
                <a:gd name="connsiteX350" fmla="*/ 38104 w 243611"/>
                <a:gd name="connsiteY350" fmla="*/ 21966 h 106330"/>
                <a:gd name="connsiteX351" fmla="*/ 39201 w 243611"/>
                <a:gd name="connsiteY351" fmla="*/ 20908 h 106330"/>
                <a:gd name="connsiteX352" fmla="*/ 39661 w 243611"/>
                <a:gd name="connsiteY352" fmla="*/ 18871 h 106330"/>
                <a:gd name="connsiteX353" fmla="*/ 41227 w 243611"/>
                <a:gd name="connsiteY353" fmla="*/ 17508 h 106330"/>
                <a:gd name="connsiteX354" fmla="*/ 42859 w 243611"/>
                <a:gd name="connsiteY354" fmla="*/ 15347 h 106330"/>
                <a:gd name="connsiteX355" fmla="*/ 44833 w 243611"/>
                <a:gd name="connsiteY355" fmla="*/ 13581 h 106330"/>
                <a:gd name="connsiteX356" fmla="*/ 48491 w 243611"/>
                <a:gd name="connsiteY356" fmla="*/ 12254 h 106330"/>
                <a:gd name="connsiteX357" fmla="*/ 50529 w 243611"/>
                <a:gd name="connsiteY357" fmla="*/ 12688 h 106330"/>
                <a:gd name="connsiteX358" fmla="*/ 52443 w 243611"/>
                <a:gd name="connsiteY358" fmla="*/ 12374 h 106330"/>
                <a:gd name="connsiteX359" fmla="*/ 55405 w 243611"/>
                <a:gd name="connsiteY359" fmla="*/ 11298 h 106330"/>
                <a:gd name="connsiteX360" fmla="*/ 55975 w 243611"/>
                <a:gd name="connsiteY360" fmla="*/ 11229 h 106330"/>
                <a:gd name="connsiteX361" fmla="*/ 57219 w 243611"/>
                <a:gd name="connsiteY361" fmla="*/ 11211 h 106330"/>
                <a:gd name="connsiteX362" fmla="*/ 64848 w 243611"/>
                <a:gd name="connsiteY362" fmla="*/ 12855 h 106330"/>
                <a:gd name="connsiteX363" fmla="*/ 67368 w 243611"/>
                <a:gd name="connsiteY363" fmla="*/ 12936 h 106330"/>
                <a:gd name="connsiteX364" fmla="*/ 73281 w 243611"/>
                <a:gd name="connsiteY364" fmla="*/ 15072 h 106330"/>
                <a:gd name="connsiteX365" fmla="*/ 75999 w 243611"/>
                <a:gd name="connsiteY365" fmla="*/ 15535 h 106330"/>
                <a:gd name="connsiteX366" fmla="*/ 77919 w 243611"/>
                <a:gd name="connsiteY366" fmla="*/ 16136 h 106330"/>
                <a:gd name="connsiteX367" fmla="*/ 78791 w 243611"/>
                <a:gd name="connsiteY367" fmla="*/ 17056 h 106330"/>
                <a:gd name="connsiteX368" fmla="*/ 80178 w 243611"/>
                <a:gd name="connsiteY368" fmla="*/ 18185 h 106330"/>
                <a:gd name="connsiteX369" fmla="*/ 87601 w 243611"/>
                <a:gd name="connsiteY369" fmla="*/ 19100 h 106330"/>
                <a:gd name="connsiteX370" fmla="*/ 89638 w 243611"/>
                <a:gd name="connsiteY370" fmla="*/ 19707 h 106330"/>
                <a:gd name="connsiteX371" fmla="*/ 90370 w 243611"/>
                <a:gd name="connsiteY371" fmla="*/ 20697 h 106330"/>
                <a:gd name="connsiteX372" fmla="*/ 92484 w 243611"/>
                <a:gd name="connsiteY372" fmla="*/ 21955 h 106330"/>
                <a:gd name="connsiteX373" fmla="*/ 94283 w 243611"/>
                <a:gd name="connsiteY373" fmla="*/ 22242 h 106330"/>
                <a:gd name="connsiteX374" fmla="*/ 92711 w 243611"/>
                <a:gd name="connsiteY374" fmla="*/ 17321 h 106330"/>
                <a:gd name="connsiteX375" fmla="*/ 93337 w 243611"/>
                <a:gd name="connsiteY375" fmla="*/ 14396 h 106330"/>
                <a:gd name="connsiteX376" fmla="*/ 95682 w 243611"/>
                <a:gd name="connsiteY376" fmla="*/ 6374 h 106330"/>
                <a:gd name="connsiteX377" fmla="*/ 96915 w 243611"/>
                <a:gd name="connsiteY377" fmla="*/ 5165 h 106330"/>
                <a:gd name="connsiteX378" fmla="*/ 99271 w 243611"/>
                <a:gd name="connsiteY378" fmla="*/ 4092 h 106330"/>
                <a:gd name="connsiteX379" fmla="*/ 102974 w 243611"/>
                <a:gd name="connsiteY379" fmla="*/ 2894 h 106330"/>
                <a:gd name="connsiteX380" fmla="*/ 104371 w 243611"/>
                <a:gd name="connsiteY380" fmla="*/ 1218 h 106330"/>
                <a:gd name="connsiteX381" fmla="*/ 107401 w 243611"/>
                <a:gd name="connsiteY381" fmla="*/ 1389 h 106330"/>
                <a:gd name="connsiteX382" fmla="*/ 108720 w 243611"/>
                <a:gd name="connsiteY382" fmla="*/ 1243 h 106330"/>
                <a:gd name="connsiteX383" fmla="*/ 109625 w 243611"/>
                <a:gd name="connsiteY383" fmla="*/ 942 h 1063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</a:cxnLst>
              <a:rect l="l" t="t" r="r" b="b"/>
              <a:pathLst>
                <a:path w="243611" h="106330">
                  <a:moveTo>
                    <a:pt x="27722" y="88793"/>
                  </a:moveTo>
                  <a:lnTo>
                    <a:pt x="27864" y="89306"/>
                  </a:lnTo>
                  <a:lnTo>
                    <a:pt x="28514" y="90214"/>
                  </a:lnTo>
                  <a:lnTo>
                    <a:pt x="29419" y="91184"/>
                  </a:lnTo>
                  <a:lnTo>
                    <a:pt x="30581" y="91292"/>
                  </a:lnTo>
                  <a:lnTo>
                    <a:pt x="32561" y="90289"/>
                  </a:lnTo>
                  <a:lnTo>
                    <a:pt x="32485" y="89753"/>
                  </a:lnTo>
                  <a:lnTo>
                    <a:pt x="31732" y="89503"/>
                  </a:lnTo>
                  <a:lnTo>
                    <a:pt x="29585" y="89213"/>
                  </a:lnTo>
                  <a:lnTo>
                    <a:pt x="28052" y="88801"/>
                  </a:lnTo>
                  <a:close/>
                  <a:moveTo>
                    <a:pt x="56625" y="85859"/>
                  </a:moveTo>
                  <a:lnTo>
                    <a:pt x="56081" y="85913"/>
                  </a:lnTo>
                  <a:lnTo>
                    <a:pt x="55444" y="86233"/>
                  </a:lnTo>
                  <a:lnTo>
                    <a:pt x="54222" y="86554"/>
                  </a:lnTo>
                  <a:lnTo>
                    <a:pt x="53950" y="87142"/>
                  </a:lnTo>
                  <a:lnTo>
                    <a:pt x="54766" y="87889"/>
                  </a:lnTo>
                  <a:lnTo>
                    <a:pt x="55807" y="88157"/>
                  </a:lnTo>
                  <a:lnTo>
                    <a:pt x="56398" y="87034"/>
                  </a:lnTo>
                  <a:close/>
                  <a:moveTo>
                    <a:pt x="39279" y="81763"/>
                  </a:moveTo>
                  <a:lnTo>
                    <a:pt x="38633" y="82260"/>
                  </a:lnTo>
                  <a:lnTo>
                    <a:pt x="38288" y="83442"/>
                  </a:lnTo>
                  <a:lnTo>
                    <a:pt x="38592" y="84723"/>
                  </a:lnTo>
                  <a:lnTo>
                    <a:pt x="39477" y="85587"/>
                  </a:lnTo>
                  <a:lnTo>
                    <a:pt x="40065" y="85869"/>
                  </a:lnTo>
                  <a:lnTo>
                    <a:pt x="40149" y="85932"/>
                  </a:lnTo>
                  <a:lnTo>
                    <a:pt x="40123" y="86354"/>
                  </a:lnTo>
                  <a:lnTo>
                    <a:pt x="39417" y="88470"/>
                  </a:lnTo>
                  <a:lnTo>
                    <a:pt x="40579" y="88736"/>
                  </a:lnTo>
                  <a:lnTo>
                    <a:pt x="42613" y="88774"/>
                  </a:lnTo>
                  <a:lnTo>
                    <a:pt x="43716" y="88536"/>
                  </a:lnTo>
                  <a:lnTo>
                    <a:pt x="43926" y="88166"/>
                  </a:lnTo>
                  <a:lnTo>
                    <a:pt x="43123" y="86263"/>
                  </a:lnTo>
                  <a:lnTo>
                    <a:pt x="44215" y="84481"/>
                  </a:lnTo>
                  <a:lnTo>
                    <a:pt x="42039" y="84180"/>
                  </a:lnTo>
                  <a:lnTo>
                    <a:pt x="40935" y="83653"/>
                  </a:lnTo>
                  <a:lnTo>
                    <a:pt x="39691" y="81845"/>
                  </a:lnTo>
                  <a:close/>
                  <a:moveTo>
                    <a:pt x="110117" y="0"/>
                  </a:moveTo>
                  <a:lnTo>
                    <a:pt x="113540" y="1636"/>
                  </a:lnTo>
                  <a:lnTo>
                    <a:pt x="119254" y="4942"/>
                  </a:lnTo>
                  <a:lnTo>
                    <a:pt x="123572" y="7034"/>
                  </a:lnTo>
                  <a:lnTo>
                    <a:pt x="128660" y="9010"/>
                  </a:lnTo>
                  <a:lnTo>
                    <a:pt x="135704" y="10815"/>
                  </a:lnTo>
                  <a:lnTo>
                    <a:pt x="141662" y="11413"/>
                  </a:lnTo>
                  <a:lnTo>
                    <a:pt x="142681" y="10988"/>
                  </a:lnTo>
                  <a:lnTo>
                    <a:pt x="145065" y="8246"/>
                  </a:lnTo>
                  <a:lnTo>
                    <a:pt x="146188" y="8123"/>
                  </a:lnTo>
                  <a:lnTo>
                    <a:pt x="148220" y="8364"/>
                  </a:lnTo>
                  <a:lnTo>
                    <a:pt x="154543" y="8492"/>
                  </a:lnTo>
                  <a:lnTo>
                    <a:pt x="160977" y="8622"/>
                  </a:lnTo>
                  <a:lnTo>
                    <a:pt x="164013" y="8356"/>
                  </a:lnTo>
                  <a:lnTo>
                    <a:pt x="170593" y="7213"/>
                  </a:lnTo>
                  <a:lnTo>
                    <a:pt x="171567" y="7157"/>
                  </a:lnTo>
                  <a:lnTo>
                    <a:pt x="173098" y="7235"/>
                  </a:lnTo>
                  <a:lnTo>
                    <a:pt x="177039" y="8789"/>
                  </a:lnTo>
                  <a:lnTo>
                    <a:pt x="179980" y="9009"/>
                  </a:lnTo>
                  <a:lnTo>
                    <a:pt x="181986" y="9001"/>
                  </a:lnTo>
                  <a:lnTo>
                    <a:pt x="183156" y="9126"/>
                  </a:lnTo>
                  <a:lnTo>
                    <a:pt x="185594" y="9067"/>
                  </a:lnTo>
                  <a:lnTo>
                    <a:pt x="189557" y="9256"/>
                  </a:lnTo>
                  <a:lnTo>
                    <a:pt x="194455" y="10264"/>
                  </a:lnTo>
                  <a:lnTo>
                    <a:pt x="200356" y="10082"/>
                  </a:lnTo>
                  <a:lnTo>
                    <a:pt x="202256" y="9891"/>
                  </a:lnTo>
                  <a:lnTo>
                    <a:pt x="205534" y="10074"/>
                  </a:lnTo>
                  <a:lnTo>
                    <a:pt x="208145" y="11035"/>
                  </a:lnTo>
                  <a:lnTo>
                    <a:pt x="211445" y="12049"/>
                  </a:lnTo>
                  <a:lnTo>
                    <a:pt x="213515" y="12475"/>
                  </a:lnTo>
                  <a:lnTo>
                    <a:pt x="214904" y="12694"/>
                  </a:lnTo>
                  <a:lnTo>
                    <a:pt x="217378" y="12771"/>
                  </a:lnTo>
                  <a:lnTo>
                    <a:pt x="218855" y="12452"/>
                  </a:lnTo>
                  <a:lnTo>
                    <a:pt x="219700" y="12899"/>
                  </a:lnTo>
                  <a:lnTo>
                    <a:pt x="220544" y="15385"/>
                  </a:lnTo>
                  <a:lnTo>
                    <a:pt x="222589" y="17019"/>
                  </a:lnTo>
                  <a:lnTo>
                    <a:pt x="224187" y="18557"/>
                  </a:lnTo>
                  <a:lnTo>
                    <a:pt x="225524" y="20256"/>
                  </a:lnTo>
                  <a:lnTo>
                    <a:pt x="226893" y="20948"/>
                  </a:lnTo>
                  <a:lnTo>
                    <a:pt x="229287" y="20973"/>
                  </a:lnTo>
                  <a:lnTo>
                    <a:pt x="233820" y="21457"/>
                  </a:lnTo>
                  <a:lnTo>
                    <a:pt x="236422" y="22132"/>
                  </a:lnTo>
                  <a:lnTo>
                    <a:pt x="239743" y="25067"/>
                  </a:lnTo>
                  <a:lnTo>
                    <a:pt x="242797" y="28072"/>
                  </a:lnTo>
                  <a:lnTo>
                    <a:pt x="243235" y="29673"/>
                  </a:lnTo>
                  <a:lnTo>
                    <a:pt x="243611" y="31533"/>
                  </a:lnTo>
                  <a:lnTo>
                    <a:pt x="243367" y="31967"/>
                  </a:lnTo>
                  <a:lnTo>
                    <a:pt x="242948" y="32260"/>
                  </a:lnTo>
                  <a:lnTo>
                    <a:pt x="236169" y="32723"/>
                  </a:lnTo>
                  <a:lnTo>
                    <a:pt x="234638" y="33234"/>
                  </a:lnTo>
                  <a:lnTo>
                    <a:pt x="232995" y="35805"/>
                  </a:lnTo>
                  <a:lnTo>
                    <a:pt x="227197" y="37869"/>
                  </a:lnTo>
                  <a:lnTo>
                    <a:pt x="223891" y="38928"/>
                  </a:lnTo>
                  <a:lnTo>
                    <a:pt x="222546" y="38881"/>
                  </a:lnTo>
                  <a:lnTo>
                    <a:pt x="219337" y="40568"/>
                  </a:lnTo>
                  <a:lnTo>
                    <a:pt x="210362" y="44777"/>
                  </a:lnTo>
                  <a:lnTo>
                    <a:pt x="205953" y="47433"/>
                  </a:lnTo>
                  <a:lnTo>
                    <a:pt x="203735" y="48543"/>
                  </a:lnTo>
                  <a:lnTo>
                    <a:pt x="201956" y="49755"/>
                  </a:lnTo>
                  <a:lnTo>
                    <a:pt x="201656" y="50980"/>
                  </a:lnTo>
                  <a:lnTo>
                    <a:pt x="201600" y="52134"/>
                  </a:lnTo>
                  <a:lnTo>
                    <a:pt x="196672" y="57557"/>
                  </a:lnTo>
                  <a:lnTo>
                    <a:pt x="192979" y="58214"/>
                  </a:lnTo>
                  <a:lnTo>
                    <a:pt x="189857" y="58084"/>
                  </a:lnTo>
                  <a:lnTo>
                    <a:pt x="187737" y="58908"/>
                  </a:lnTo>
                  <a:lnTo>
                    <a:pt x="184694" y="59737"/>
                  </a:lnTo>
                  <a:lnTo>
                    <a:pt x="178110" y="59170"/>
                  </a:lnTo>
                  <a:lnTo>
                    <a:pt x="175856" y="59265"/>
                  </a:lnTo>
                  <a:lnTo>
                    <a:pt x="171535" y="58517"/>
                  </a:lnTo>
                  <a:lnTo>
                    <a:pt x="169790" y="58911"/>
                  </a:lnTo>
                  <a:lnTo>
                    <a:pt x="167939" y="60013"/>
                  </a:lnTo>
                  <a:lnTo>
                    <a:pt x="165383" y="64328"/>
                  </a:lnTo>
                  <a:lnTo>
                    <a:pt x="164337" y="65339"/>
                  </a:lnTo>
                  <a:lnTo>
                    <a:pt x="163867" y="66320"/>
                  </a:lnTo>
                  <a:lnTo>
                    <a:pt x="163476" y="68416"/>
                  </a:lnTo>
                  <a:lnTo>
                    <a:pt x="162498" y="70631"/>
                  </a:lnTo>
                  <a:lnTo>
                    <a:pt x="161236" y="72377"/>
                  </a:lnTo>
                  <a:lnTo>
                    <a:pt x="160336" y="73993"/>
                  </a:lnTo>
                  <a:lnTo>
                    <a:pt x="158483" y="75556"/>
                  </a:lnTo>
                  <a:lnTo>
                    <a:pt x="156763" y="76538"/>
                  </a:lnTo>
                  <a:lnTo>
                    <a:pt x="155430" y="74484"/>
                  </a:lnTo>
                  <a:lnTo>
                    <a:pt x="154275" y="75069"/>
                  </a:lnTo>
                  <a:lnTo>
                    <a:pt x="153182" y="75905"/>
                  </a:lnTo>
                  <a:lnTo>
                    <a:pt x="151096" y="75615"/>
                  </a:lnTo>
                  <a:lnTo>
                    <a:pt x="149813" y="76036"/>
                  </a:lnTo>
                  <a:lnTo>
                    <a:pt x="146887" y="77820"/>
                  </a:lnTo>
                  <a:lnTo>
                    <a:pt x="142579" y="77753"/>
                  </a:lnTo>
                  <a:lnTo>
                    <a:pt x="142111" y="77140"/>
                  </a:lnTo>
                  <a:lnTo>
                    <a:pt x="141258" y="72236"/>
                  </a:lnTo>
                  <a:lnTo>
                    <a:pt x="140509" y="69912"/>
                  </a:lnTo>
                  <a:lnTo>
                    <a:pt x="139891" y="69391"/>
                  </a:lnTo>
                  <a:lnTo>
                    <a:pt x="139122" y="69329"/>
                  </a:lnTo>
                  <a:lnTo>
                    <a:pt x="132936" y="73188"/>
                  </a:lnTo>
                  <a:lnTo>
                    <a:pt x="130068" y="73873"/>
                  </a:lnTo>
                  <a:lnTo>
                    <a:pt x="127705" y="73993"/>
                  </a:lnTo>
                  <a:lnTo>
                    <a:pt x="124635" y="72841"/>
                  </a:lnTo>
                  <a:lnTo>
                    <a:pt x="123961" y="73127"/>
                  </a:lnTo>
                  <a:lnTo>
                    <a:pt x="123430" y="73750"/>
                  </a:lnTo>
                  <a:lnTo>
                    <a:pt x="123212" y="74543"/>
                  </a:lnTo>
                  <a:lnTo>
                    <a:pt x="124108" y="76728"/>
                  </a:lnTo>
                  <a:lnTo>
                    <a:pt x="123858" y="77159"/>
                  </a:lnTo>
                  <a:lnTo>
                    <a:pt x="122471" y="77123"/>
                  </a:lnTo>
                  <a:lnTo>
                    <a:pt x="120528" y="77627"/>
                  </a:lnTo>
                  <a:lnTo>
                    <a:pt x="119051" y="78632"/>
                  </a:lnTo>
                  <a:lnTo>
                    <a:pt x="114602" y="82157"/>
                  </a:lnTo>
                  <a:lnTo>
                    <a:pt x="110860" y="83336"/>
                  </a:lnTo>
                  <a:lnTo>
                    <a:pt x="107377" y="83798"/>
                  </a:lnTo>
                  <a:lnTo>
                    <a:pt x="105948" y="84188"/>
                  </a:lnTo>
                  <a:lnTo>
                    <a:pt x="105308" y="84613"/>
                  </a:lnTo>
                  <a:lnTo>
                    <a:pt x="104140" y="86289"/>
                  </a:lnTo>
                  <a:lnTo>
                    <a:pt x="102942" y="88918"/>
                  </a:lnTo>
                  <a:lnTo>
                    <a:pt x="102316" y="90201"/>
                  </a:lnTo>
                  <a:lnTo>
                    <a:pt x="101854" y="90943"/>
                  </a:lnTo>
                  <a:lnTo>
                    <a:pt x="101951" y="91914"/>
                  </a:lnTo>
                  <a:lnTo>
                    <a:pt x="102897" y="93170"/>
                  </a:lnTo>
                  <a:lnTo>
                    <a:pt x="103607" y="95979"/>
                  </a:lnTo>
                  <a:lnTo>
                    <a:pt x="103441" y="96706"/>
                  </a:lnTo>
                  <a:lnTo>
                    <a:pt x="102681" y="97881"/>
                  </a:lnTo>
                  <a:lnTo>
                    <a:pt x="101579" y="99032"/>
                  </a:lnTo>
                  <a:lnTo>
                    <a:pt x="99208" y="99725"/>
                  </a:lnTo>
                  <a:lnTo>
                    <a:pt x="97349" y="100073"/>
                  </a:lnTo>
                  <a:lnTo>
                    <a:pt x="96109" y="99846"/>
                  </a:lnTo>
                  <a:lnTo>
                    <a:pt x="93784" y="99769"/>
                  </a:lnTo>
                  <a:lnTo>
                    <a:pt x="91948" y="100232"/>
                  </a:lnTo>
                  <a:lnTo>
                    <a:pt x="90815" y="101020"/>
                  </a:lnTo>
                  <a:lnTo>
                    <a:pt x="88578" y="102000"/>
                  </a:lnTo>
                  <a:lnTo>
                    <a:pt x="85798" y="102329"/>
                  </a:lnTo>
                  <a:lnTo>
                    <a:pt x="82264" y="102454"/>
                  </a:lnTo>
                  <a:lnTo>
                    <a:pt x="80562" y="102368"/>
                  </a:lnTo>
                  <a:lnTo>
                    <a:pt x="75420" y="101704"/>
                  </a:lnTo>
                  <a:lnTo>
                    <a:pt x="73727" y="101932"/>
                  </a:lnTo>
                  <a:lnTo>
                    <a:pt x="72110" y="102446"/>
                  </a:lnTo>
                  <a:lnTo>
                    <a:pt x="69180" y="102978"/>
                  </a:lnTo>
                  <a:lnTo>
                    <a:pt x="67621" y="104614"/>
                  </a:lnTo>
                  <a:lnTo>
                    <a:pt x="66794" y="106118"/>
                  </a:lnTo>
                  <a:lnTo>
                    <a:pt x="66355" y="106330"/>
                  </a:lnTo>
                  <a:lnTo>
                    <a:pt x="64528" y="104951"/>
                  </a:lnTo>
                  <a:lnTo>
                    <a:pt x="63132" y="103658"/>
                  </a:lnTo>
                  <a:lnTo>
                    <a:pt x="62216" y="102582"/>
                  </a:lnTo>
                  <a:lnTo>
                    <a:pt x="61071" y="102613"/>
                  </a:lnTo>
                  <a:lnTo>
                    <a:pt x="56979" y="104566"/>
                  </a:lnTo>
                  <a:lnTo>
                    <a:pt x="56375" y="104504"/>
                  </a:lnTo>
                  <a:lnTo>
                    <a:pt x="55204" y="103763"/>
                  </a:lnTo>
                  <a:lnTo>
                    <a:pt x="55418" y="101918"/>
                  </a:lnTo>
                  <a:lnTo>
                    <a:pt x="55349" y="100744"/>
                  </a:lnTo>
                  <a:lnTo>
                    <a:pt x="54032" y="100119"/>
                  </a:lnTo>
                  <a:lnTo>
                    <a:pt x="51237" y="99964"/>
                  </a:lnTo>
                  <a:lnTo>
                    <a:pt x="50287" y="99296"/>
                  </a:lnTo>
                  <a:lnTo>
                    <a:pt x="50344" y="98302"/>
                  </a:lnTo>
                  <a:lnTo>
                    <a:pt x="50598" y="97347"/>
                  </a:lnTo>
                  <a:lnTo>
                    <a:pt x="50281" y="96612"/>
                  </a:lnTo>
                  <a:lnTo>
                    <a:pt x="49558" y="96053"/>
                  </a:lnTo>
                  <a:lnTo>
                    <a:pt x="48098" y="96204"/>
                  </a:lnTo>
                  <a:lnTo>
                    <a:pt x="46422" y="96962"/>
                  </a:lnTo>
                  <a:lnTo>
                    <a:pt x="45191" y="97829"/>
                  </a:lnTo>
                  <a:lnTo>
                    <a:pt x="43641" y="98231"/>
                  </a:lnTo>
                  <a:lnTo>
                    <a:pt x="41768" y="98393"/>
                  </a:lnTo>
                  <a:lnTo>
                    <a:pt x="40596" y="98917"/>
                  </a:lnTo>
                  <a:lnTo>
                    <a:pt x="39266" y="101033"/>
                  </a:lnTo>
                  <a:lnTo>
                    <a:pt x="34720" y="101478"/>
                  </a:lnTo>
                  <a:lnTo>
                    <a:pt x="33256" y="100996"/>
                  </a:lnTo>
                  <a:lnTo>
                    <a:pt x="32051" y="99491"/>
                  </a:lnTo>
                  <a:lnTo>
                    <a:pt x="30486" y="97073"/>
                  </a:lnTo>
                  <a:lnTo>
                    <a:pt x="29605" y="96775"/>
                  </a:lnTo>
                  <a:lnTo>
                    <a:pt x="28128" y="96477"/>
                  </a:lnTo>
                  <a:lnTo>
                    <a:pt x="25716" y="96619"/>
                  </a:lnTo>
                  <a:lnTo>
                    <a:pt x="22460" y="97639"/>
                  </a:lnTo>
                  <a:lnTo>
                    <a:pt x="21673" y="96798"/>
                  </a:lnTo>
                  <a:lnTo>
                    <a:pt x="20829" y="96560"/>
                  </a:lnTo>
                  <a:lnTo>
                    <a:pt x="20071" y="97251"/>
                  </a:lnTo>
                  <a:lnTo>
                    <a:pt x="19293" y="97172"/>
                  </a:lnTo>
                  <a:lnTo>
                    <a:pt x="16072" y="97367"/>
                  </a:lnTo>
                  <a:lnTo>
                    <a:pt x="12006" y="97272"/>
                  </a:lnTo>
                  <a:lnTo>
                    <a:pt x="9682" y="96801"/>
                  </a:lnTo>
                  <a:lnTo>
                    <a:pt x="8175" y="96830"/>
                  </a:lnTo>
                  <a:lnTo>
                    <a:pt x="5178" y="97913"/>
                  </a:lnTo>
                  <a:lnTo>
                    <a:pt x="3591" y="97903"/>
                  </a:lnTo>
                  <a:lnTo>
                    <a:pt x="1516" y="98102"/>
                  </a:lnTo>
                  <a:lnTo>
                    <a:pt x="1131" y="94436"/>
                  </a:lnTo>
                  <a:lnTo>
                    <a:pt x="0" y="91960"/>
                  </a:lnTo>
                  <a:lnTo>
                    <a:pt x="345" y="90242"/>
                  </a:lnTo>
                  <a:lnTo>
                    <a:pt x="1098" y="87880"/>
                  </a:lnTo>
                  <a:lnTo>
                    <a:pt x="1727" y="86557"/>
                  </a:lnTo>
                  <a:lnTo>
                    <a:pt x="3014" y="87117"/>
                  </a:lnTo>
                  <a:lnTo>
                    <a:pt x="4485" y="88089"/>
                  </a:lnTo>
                  <a:lnTo>
                    <a:pt x="5465" y="87829"/>
                  </a:lnTo>
                  <a:lnTo>
                    <a:pt x="5722" y="87029"/>
                  </a:lnTo>
                  <a:lnTo>
                    <a:pt x="5348" y="85981"/>
                  </a:lnTo>
                  <a:lnTo>
                    <a:pt x="5299" y="85196"/>
                  </a:lnTo>
                  <a:lnTo>
                    <a:pt x="5849" y="84163"/>
                  </a:lnTo>
                  <a:lnTo>
                    <a:pt x="6659" y="83198"/>
                  </a:lnTo>
                  <a:lnTo>
                    <a:pt x="11855" y="81614"/>
                  </a:lnTo>
                  <a:lnTo>
                    <a:pt x="16312" y="80459"/>
                  </a:lnTo>
                  <a:lnTo>
                    <a:pt x="18626" y="81229"/>
                  </a:lnTo>
                  <a:lnTo>
                    <a:pt x="23114" y="83002"/>
                  </a:lnTo>
                  <a:lnTo>
                    <a:pt x="25424" y="83914"/>
                  </a:lnTo>
                  <a:lnTo>
                    <a:pt x="27026" y="84453"/>
                  </a:lnTo>
                  <a:lnTo>
                    <a:pt x="28437" y="87043"/>
                  </a:lnTo>
                  <a:lnTo>
                    <a:pt x="29359" y="86923"/>
                  </a:lnTo>
                  <a:lnTo>
                    <a:pt x="30296" y="86401"/>
                  </a:lnTo>
                  <a:lnTo>
                    <a:pt x="30846" y="85764"/>
                  </a:lnTo>
                  <a:lnTo>
                    <a:pt x="31293" y="83560"/>
                  </a:lnTo>
                  <a:lnTo>
                    <a:pt x="33377" y="82315"/>
                  </a:lnTo>
                  <a:lnTo>
                    <a:pt x="37973" y="80841"/>
                  </a:lnTo>
                  <a:lnTo>
                    <a:pt x="38294" y="79978"/>
                  </a:lnTo>
                  <a:lnTo>
                    <a:pt x="38229" y="79502"/>
                  </a:lnTo>
                  <a:lnTo>
                    <a:pt x="38950" y="79084"/>
                  </a:lnTo>
                  <a:lnTo>
                    <a:pt x="41248" y="78656"/>
                  </a:lnTo>
                  <a:lnTo>
                    <a:pt x="45895" y="78246"/>
                  </a:lnTo>
                  <a:lnTo>
                    <a:pt x="47476" y="78553"/>
                  </a:lnTo>
                  <a:lnTo>
                    <a:pt x="49272" y="79420"/>
                  </a:lnTo>
                  <a:lnTo>
                    <a:pt x="50665" y="80283"/>
                  </a:lnTo>
                  <a:lnTo>
                    <a:pt x="51993" y="80250"/>
                  </a:lnTo>
                  <a:lnTo>
                    <a:pt x="53086" y="80070"/>
                  </a:lnTo>
                  <a:lnTo>
                    <a:pt x="53550" y="80308"/>
                  </a:lnTo>
                  <a:lnTo>
                    <a:pt x="53902" y="81076"/>
                  </a:lnTo>
                  <a:lnTo>
                    <a:pt x="54470" y="81762"/>
                  </a:lnTo>
                  <a:lnTo>
                    <a:pt x="56243" y="80830"/>
                  </a:lnTo>
                  <a:lnTo>
                    <a:pt x="57852" y="79621"/>
                  </a:lnTo>
                  <a:lnTo>
                    <a:pt x="59119" y="79447"/>
                  </a:lnTo>
                  <a:lnTo>
                    <a:pt x="60290" y="78987"/>
                  </a:lnTo>
                  <a:lnTo>
                    <a:pt x="60631" y="78179"/>
                  </a:lnTo>
                  <a:lnTo>
                    <a:pt x="61549" y="76839"/>
                  </a:lnTo>
                  <a:lnTo>
                    <a:pt x="64172" y="74278"/>
                  </a:lnTo>
                  <a:lnTo>
                    <a:pt x="65535" y="73864"/>
                  </a:lnTo>
                  <a:lnTo>
                    <a:pt x="66418" y="73865"/>
                  </a:lnTo>
                  <a:lnTo>
                    <a:pt x="66459" y="74278"/>
                  </a:lnTo>
                  <a:lnTo>
                    <a:pt x="66886" y="74655"/>
                  </a:lnTo>
                  <a:lnTo>
                    <a:pt x="69180" y="75245"/>
                  </a:lnTo>
                  <a:lnTo>
                    <a:pt x="69877" y="74572"/>
                  </a:lnTo>
                  <a:lnTo>
                    <a:pt x="70247" y="73638"/>
                  </a:lnTo>
                  <a:lnTo>
                    <a:pt x="69445" y="72154"/>
                  </a:lnTo>
                  <a:lnTo>
                    <a:pt x="69430" y="71533"/>
                  </a:lnTo>
                  <a:lnTo>
                    <a:pt x="69730" y="70965"/>
                  </a:lnTo>
                  <a:lnTo>
                    <a:pt x="70160" y="70626"/>
                  </a:lnTo>
                  <a:lnTo>
                    <a:pt x="73818" y="72033"/>
                  </a:lnTo>
                  <a:lnTo>
                    <a:pt x="74628" y="72005"/>
                  </a:lnTo>
                  <a:lnTo>
                    <a:pt x="76297" y="71214"/>
                  </a:lnTo>
                  <a:lnTo>
                    <a:pt x="77828" y="69823"/>
                  </a:lnTo>
                  <a:lnTo>
                    <a:pt x="78381" y="68730"/>
                  </a:lnTo>
                  <a:lnTo>
                    <a:pt x="85878" y="65171"/>
                  </a:lnTo>
                  <a:lnTo>
                    <a:pt x="86410" y="64524"/>
                  </a:lnTo>
                  <a:lnTo>
                    <a:pt x="86304" y="64055"/>
                  </a:lnTo>
                  <a:lnTo>
                    <a:pt x="83162" y="63225"/>
                  </a:lnTo>
                  <a:lnTo>
                    <a:pt x="81745" y="63690"/>
                  </a:lnTo>
                  <a:lnTo>
                    <a:pt x="80432" y="63692"/>
                  </a:lnTo>
                  <a:lnTo>
                    <a:pt x="79644" y="63171"/>
                  </a:lnTo>
                  <a:lnTo>
                    <a:pt x="75826" y="62967"/>
                  </a:lnTo>
                  <a:lnTo>
                    <a:pt x="74989" y="62603"/>
                  </a:lnTo>
                  <a:lnTo>
                    <a:pt x="72458" y="60029"/>
                  </a:lnTo>
                  <a:lnTo>
                    <a:pt x="70719" y="59049"/>
                  </a:lnTo>
                  <a:lnTo>
                    <a:pt x="69320" y="58404"/>
                  </a:lnTo>
                  <a:lnTo>
                    <a:pt x="67791" y="58497"/>
                  </a:lnTo>
                  <a:lnTo>
                    <a:pt x="65982" y="59172"/>
                  </a:lnTo>
                  <a:lnTo>
                    <a:pt x="65412" y="58865"/>
                  </a:lnTo>
                  <a:lnTo>
                    <a:pt x="65265" y="57788"/>
                  </a:lnTo>
                  <a:lnTo>
                    <a:pt x="65271" y="56429"/>
                  </a:lnTo>
                  <a:lnTo>
                    <a:pt x="64902" y="54974"/>
                  </a:lnTo>
                  <a:lnTo>
                    <a:pt x="63823" y="54635"/>
                  </a:lnTo>
                  <a:lnTo>
                    <a:pt x="62430" y="55211"/>
                  </a:lnTo>
                  <a:lnTo>
                    <a:pt x="60352" y="54623"/>
                  </a:lnTo>
                  <a:lnTo>
                    <a:pt x="58586" y="54413"/>
                  </a:lnTo>
                  <a:lnTo>
                    <a:pt x="58130" y="51345"/>
                  </a:lnTo>
                  <a:lnTo>
                    <a:pt x="57418" y="50035"/>
                  </a:lnTo>
                  <a:lnTo>
                    <a:pt x="56681" y="48659"/>
                  </a:lnTo>
                  <a:lnTo>
                    <a:pt x="55913" y="48266"/>
                  </a:lnTo>
                  <a:lnTo>
                    <a:pt x="54651" y="47580"/>
                  </a:lnTo>
                  <a:lnTo>
                    <a:pt x="54576" y="45953"/>
                  </a:lnTo>
                  <a:lnTo>
                    <a:pt x="54308" y="45492"/>
                  </a:lnTo>
                  <a:lnTo>
                    <a:pt x="53861" y="45276"/>
                  </a:lnTo>
                  <a:lnTo>
                    <a:pt x="53254" y="45461"/>
                  </a:lnTo>
                  <a:lnTo>
                    <a:pt x="52475" y="46278"/>
                  </a:lnTo>
                  <a:lnTo>
                    <a:pt x="52859" y="48070"/>
                  </a:lnTo>
                  <a:lnTo>
                    <a:pt x="52563" y="49866"/>
                  </a:lnTo>
                  <a:lnTo>
                    <a:pt x="52105" y="50768"/>
                  </a:lnTo>
                  <a:lnTo>
                    <a:pt x="51223" y="51432"/>
                  </a:lnTo>
                  <a:lnTo>
                    <a:pt x="50214" y="51448"/>
                  </a:lnTo>
                  <a:lnTo>
                    <a:pt x="48465" y="50540"/>
                  </a:lnTo>
                  <a:lnTo>
                    <a:pt x="48188" y="55967"/>
                  </a:lnTo>
                  <a:lnTo>
                    <a:pt x="47849" y="56300"/>
                  </a:lnTo>
                  <a:lnTo>
                    <a:pt x="45766" y="55533"/>
                  </a:lnTo>
                  <a:lnTo>
                    <a:pt x="44099" y="55864"/>
                  </a:lnTo>
                  <a:lnTo>
                    <a:pt x="41606" y="55530"/>
                  </a:lnTo>
                  <a:lnTo>
                    <a:pt x="39732" y="54635"/>
                  </a:lnTo>
                  <a:lnTo>
                    <a:pt x="38331" y="54387"/>
                  </a:lnTo>
                  <a:lnTo>
                    <a:pt x="36072" y="53625"/>
                  </a:lnTo>
                  <a:lnTo>
                    <a:pt x="34347" y="52634"/>
                  </a:lnTo>
                  <a:lnTo>
                    <a:pt x="33284" y="48992"/>
                  </a:lnTo>
                  <a:lnTo>
                    <a:pt x="32278" y="47690"/>
                  </a:lnTo>
                  <a:lnTo>
                    <a:pt x="31328" y="47412"/>
                  </a:lnTo>
                  <a:lnTo>
                    <a:pt x="27469" y="48672"/>
                  </a:lnTo>
                  <a:lnTo>
                    <a:pt x="26063" y="47697"/>
                  </a:lnTo>
                  <a:lnTo>
                    <a:pt x="23459" y="46448"/>
                  </a:lnTo>
                  <a:lnTo>
                    <a:pt x="21488" y="45982"/>
                  </a:lnTo>
                  <a:lnTo>
                    <a:pt x="20959" y="45308"/>
                  </a:lnTo>
                  <a:lnTo>
                    <a:pt x="21047" y="44476"/>
                  </a:lnTo>
                  <a:lnTo>
                    <a:pt x="27106" y="40411"/>
                  </a:lnTo>
                  <a:lnTo>
                    <a:pt x="29492" y="37609"/>
                  </a:lnTo>
                  <a:lnTo>
                    <a:pt x="30995" y="36425"/>
                  </a:lnTo>
                  <a:lnTo>
                    <a:pt x="33138" y="35636"/>
                  </a:lnTo>
                  <a:lnTo>
                    <a:pt x="34809" y="35174"/>
                  </a:lnTo>
                  <a:lnTo>
                    <a:pt x="35662" y="32600"/>
                  </a:lnTo>
                  <a:lnTo>
                    <a:pt x="35988" y="32303"/>
                  </a:lnTo>
                  <a:lnTo>
                    <a:pt x="37176" y="32113"/>
                  </a:lnTo>
                  <a:lnTo>
                    <a:pt x="39871" y="31056"/>
                  </a:lnTo>
                  <a:lnTo>
                    <a:pt x="44211" y="28794"/>
                  </a:lnTo>
                  <a:lnTo>
                    <a:pt x="44295" y="28172"/>
                  </a:lnTo>
                  <a:lnTo>
                    <a:pt x="43861" y="27636"/>
                  </a:lnTo>
                  <a:lnTo>
                    <a:pt x="42032" y="26477"/>
                  </a:lnTo>
                  <a:lnTo>
                    <a:pt x="39955" y="25554"/>
                  </a:lnTo>
                  <a:lnTo>
                    <a:pt x="38693" y="26036"/>
                  </a:lnTo>
                  <a:lnTo>
                    <a:pt x="37981" y="26512"/>
                  </a:lnTo>
                  <a:lnTo>
                    <a:pt x="36789" y="25314"/>
                  </a:lnTo>
                  <a:lnTo>
                    <a:pt x="36789" y="24081"/>
                  </a:lnTo>
                  <a:lnTo>
                    <a:pt x="38104" y="21966"/>
                  </a:lnTo>
                  <a:lnTo>
                    <a:pt x="39201" y="20908"/>
                  </a:lnTo>
                  <a:lnTo>
                    <a:pt x="39661" y="18871"/>
                  </a:lnTo>
                  <a:lnTo>
                    <a:pt x="41227" y="17508"/>
                  </a:lnTo>
                  <a:lnTo>
                    <a:pt x="42859" y="15347"/>
                  </a:lnTo>
                  <a:lnTo>
                    <a:pt x="44833" y="13581"/>
                  </a:lnTo>
                  <a:lnTo>
                    <a:pt x="48491" y="12254"/>
                  </a:lnTo>
                  <a:lnTo>
                    <a:pt x="50529" y="12688"/>
                  </a:lnTo>
                  <a:lnTo>
                    <a:pt x="52443" y="12374"/>
                  </a:lnTo>
                  <a:lnTo>
                    <a:pt x="55405" y="11298"/>
                  </a:lnTo>
                  <a:lnTo>
                    <a:pt x="55975" y="11229"/>
                  </a:lnTo>
                  <a:lnTo>
                    <a:pt x="57219" y="11211"/>
                  </a:lnTo>
                  <a:lnTo>
                    <a:pt x="64848" y="12855"/>
                  </a:lnTo>
                  <a:lnTo>
                    <a:pt x="67368" y="12936"/>
                  </a:lnTo>
                  <a:lnTo>
                    <a:pt x="73281" y="15072"/>
                  </a:lnTo>
                  <a:lnTo>
                    <a:pt x="75999" y="15535"/>
                  </a:lnTo>
                  <a:lnTo>
                    <a:pt x="77919" y="16136"/>
                  </a:lnTo>
                  <a:lnTo>
                    <a:pt x="78791" y="17056"/>
                  </a:lnTo>
                  <a:lnTo>
                    <a:pt x="80178" y="18185"/>
                  </a:lnTo>
                  <a:lnTo>
                    <a:pt x="87601" y="19100"/>
                  </a:lnTo>
                  <a:lnTo>
                    <a:pt x="89638" y="19707"/>
                  </a:lnTo>
                  <a:lnTo>
                    <a:pt x="90370" y="20697"/>
                  </a:lnTo>
                  <a:lnTo>
                    <a:pt x="92484" y="21955"/>
                  </a:lnTo>
                  <a:lnTo>
                    <a:pt x="94283" y="22242"/>
                  </a:lnTo>
                  <a:lnTo>
                    <a:pt x="92711" y="17321"/>
                  </a:lnTo>
                  <a:lnTo>
                    <a:pt x="93337" y="14396"/>
                  </a:lnTo>
                  <a:lnTo>
                    <a:pt x="95682" y="6374"/>
                  </a:lnTo>
                  <a:lnTo>
                    <a:pt x="96915" y="5165"/>
                  </a:lnTo>
                  <a:lnTo>
                    <a:pt x="99271" y="4092"/>
                  </a:lnTo>
                  <a:lnTo>
                    <a:pt x="102974" y="2894"/>
                  </a:lnTo>
                  <a:lnTo>
                    <a:pt x="104371" y="1218"/>
                  </a:lnTo>
                  <a:lnTo>
                    <a:pt x="107401" y="1389"/>
                  </a:lnTo>
                  <a:lnTo>
                    <a:pt x="108720" y="1243"/>
                  </a:lnTo>
                  <a:lnTo>
                    <a:pt x="109625" y="942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03" name="ee4p_KH_1_82333">
              <a:extLst>
                <a:ext uri="{FF2B5EF4-FFF2-40B4-BE49-F238E27FC236}">
                  <a16:creationId xmlns:a16="http://schemas.microsoft.com/office/drawing/2014/main" id="{4C36FAF0-9AA5-304D-1B03-0A85003423E1}"/>
                </a:ext>
              </a:extLst>
            </p:cNvPr>
            <p:cNvSpPr>
              <a:spLocks noChangeAspect="1"/>
            </p:cNvSpPr>
            <p:nvPr>
              <p:custDataLst>
                <p:tags r:id="rId31"/>
              </p:custDataLst>
            </p:nvPr>
          </p:nvSpPr>
          <p:spPr>
            <a:xfrm>
              <a:off x="9356053" y="4253335"/>
              <a:ext cx="146782" cy="124411"/>
            </a:xfrm>
            <a:custGeom>
              <a:avLst/>
              <a:gdLst>
                <a:gd name="connsiteX0" fmla="*/ 19983 w 116879"/>
                <a:gd name="connsiteY0" fmla="*/ 88151 h 96440"/>
                <a:gd name="connsiteX1" fmla="*/ 22069 w 116879"/>
                <a:gd name="connsiteY1" fmla="*/ 89571 h 96440"/>
                <a:gd name="connsiteX2" fmla="*/ 21262 w 116879"/>
                <a:gd name="connsiteY2" fmla="*/ 90439 h 96440"/>
                <a:gd name="connsiteX3" fmla="*/ 19973 w 116879"/>
                <a:gd name="connsiteY3" fmla="*/ 88652 h 96440"/>
                <a:gd name="connsiteX4" fmla="*/ 15857 w 116879"/>
                <a:gd name="connsiteY4" fmla="*/ 74545 h 96440"/>
                <a:gd name="connsiteX5" fmla="*/ 16040 w 116879"/>
                <a:gd name="connsiteY5" fmla="*/ 76894 h 96440"/>
                <a:gd name="connsiteX6" fmla="*/ 15647 w 116879"/>
                <a:gd name="connsiteY6" fmla="*/ 77108 h 96440"/>
                <a:gd name="connsiteX7" fmla="*/ 15275 w 116879"/>
                <a:gd name="connsiteY7" fmla="*/ 77101 h 96440"/>
                <a:gd name="connsiteX8" fmla="*/ 14895 w 116879"/>
                <a:gd name="connsiteY8" fmla="*/ 76774 h 96440"/>
                <a:gd name="connsiteX9" fmla="*/ 14933 w 116879"/>
                <a:gd name="connsiteY9" fmla="*/ 75482 h 96440"/>
                <a:gd name="connsiteX10" fmla="*/ 15208 w 116879"/>
                <a:gd name="connsiteY10" fmla="*/ 74694 h 96440"/>
                <a:gd name="connsiteX11" fmla="*/ 114977 w 116879"/>
                <a:gd name="connsiteY11" fmla="*/ 0 h 96440"/>
                <a:gd name="connsiteX12" fmla="*/ 115326 w 116879"/>
                <a:gd name="connsiteY12" fmla="*/ 1245 h 96440"/>
                <a:gd name="connsiteX13" fmla="*/ 114395 w 116879"/>
                <a:gd name="connsiteY13" fmla="*/ 3598 h 96440"/>
                <a:gd name="connsiteX14" fmla="*/ 113406 w 116879"/>
                <a:gd name="connsiteY14" fmla="*/ 5732 h 96440"/>
                <a:gd name="connsiteX15" fmla="*/ 111550 w 116879"/>
                <a:gd name="connsiteY15" fmla="*/ 7594 h 96440"/>
                <a:gd name="connsiteX16" fmla="*/ 111459 w 116879"/>
                <a:gd name="connsiteY16" fmla="*/ 8966 h 96440"/>
                <a:gd name="connsiteX17" fmla="*/ 110820 w 116879"/>
                <a:gd name="connsiteY17" fmla="*/ 13055 h 96440"/>
                <a:gd name="connsiteX18" fmla="*/ 111066 w 116879"/>
                <a:gd name="connsiteY18" fmla="*/ 14356 h 96440"/>
                <a:gd name="connsiteX19" fmla="*/ 111498 w 116879"/>
                <a:gd name="connsiteY19" fmla="*/ 15470 h 96440"/>
                <a:gd name="connsiteX20" fmla="*/ 112103 w 116879"/>
                <a:gd name="connsiteY20" fmla="*/ 16066 h 96440"/>
                <a:gd name="connsiteX21" fmla="*/ 113713 w 116879"/>
                <a:gd name="connsiteY21" fmla="*/ 20064 h 96440"/>
                <a:gd name="connsiteX22" fmla="*/ 115180 w 116879"/>
                <a:gd name="connsiteY22" fmla="*/ 23700 h 96440"/>
                <a:gd name="connsiteX23" fmla="*/ 116624 w 116879"/>
                <a:gd name="connsiteY23" fmla="*/ 26684 h 96440"/>
                <a:gd name="connsiteX24" fmla="*/ 116879 w 116879"/>
                <a:gd name="connsiteY24" fmla="*/ 28572 h 96440"/>
                <a:gd name="connsiteX25" fmla="*/ 115554 w 116879"/>
                <a:gd name="connsiteY25" fmla="*/ 33351 h 96440"/>
                <a:gd name="connsiteX26" fmla="*/ 114002 w 116879"/>
                <a:gd name="connsiteY26" fmla="*/ 37738 h 96440"/>
                <a:gd name="connsiteX27" fmla="*/ 114139 w 116879"/>
                <a:gd name="connsiteY27" fmla="*/ 39924 h 96440"/>
                <a:gd name="connsiteX28" fmla="*/ 114802 w 116879"/>
                <a:gd name="connsiteY28" fmla="*/ 42112 h 96440"/>
                <a:gd name="connsiteX29" fmla="*/ 115510 w 116879"/>
                <a:gd name="connsiteY29" fmla="*/ 45029 h 96440"/>
                <a:gd name="connsiteX30" fmla="*/ 115774 w 116879"/>
                <a:gd name="connsiteY30" fmla="*/ 48756 h 96440"/>
                <a:gd name="connsiteX31" fmla="*/ 115389 w 116879"/>
                <a:gd name="connsiteY31" fmla="*/ 51185 h 96440"/>
                <a:gd name="connsiteX32" fmla="*/ 114689 w 116879"/>
                <a:gd name="connsiteY32" fmla="*/ 52694 h 96440"/>
                <a:gd name="connsiteX33" fmla="*/ 113353 w 116879"/>
                <a:gd name="connsiteY33" fmla="*/ 54240 h 96440"/>
                <a:gd name="connsiteX34" fmla="*/ 112189 w 116879"/>
                <a:gd name="connsiteY34" fmla="*/ 55030 h 96440"/>
                <a:gd name="connsiteX35" fmla="*/ 110789 w 116879"/>
                <a:gd name="connsiteY35" fmla="*/ 53716 h 96440"/>
                <a:gd name="connsiteX36" fmla="*/ 109676 w 116879"/>
                <a:gd name="connsiteY36" fmla="*/ 53659 h 96440"/>
                <a:gd name="connsiteX37" fmla="*/ 108181 w 116879"/>
                <a:gd name="connsiteY37" fmla="*/ 54054 h 96440"/>
                <a:gd name="connsiteX38" fmla="*/ 107006 w 116879"/>
                <a:gd name="connsiteY38" fmla="*/ 54658 h 96440"/>
                <a:gd name="connsiteX39" fmla="*/ 104612 w 116879"/>
                <a:gd name="connsiteY39" fmla="*/ 56929 h 96440"/>
                <a:gd name="connsiteX40" fmla="*/ 101957 w 116879"/>
                <a:gd name="connsiteY40" fmla="*/ 59135 h 96440"/>
                <a:gd name="connsiteX41" fmla="*/ 98286 w 116879"/>
                <a:gd name="connsiteY41" fmla="*/ 59700 h 96440"/>
                <a:gd name="connsiteX42" fmla="*/ 96859 w 116879"/>
                <a:gd name="connsiteY42" fmla="*/ 61338 h 96440"/>
                <a:gd name="connsiteX43" fmla="*/ 95331 w 116879"/>
                <a:gd name="connsiteY43" fmla="*/ 61564 h 96440"/>
                <a:gd name="connsiteX44" fmla="*/ 92426 w 116879"/>
                <a:gd name="connsiteY44" fmla="*/ 61647 h 96440"/>
                <a:gd name="connsiteX45" fmla="*/ 90530 w 116879"/>
                <a:gd name="connsiteY45" fmla="*/ 62030 h 96440"/>
                <a:gd name="connsiteX46" fmla="*/ 90616 w 116879"/>
                <a:gd name="connsiteY46" fmla="*/ 62853 h 96440"/>
                <a:gd name="connsiteX47" fmla="*/ 90461 w 116879"/>
                <a:gd name="connsiteY47" fmla="*/ 66739 h 96440"/>
                <a:gd name="connsiteX48" fmla="*/ 90500 w 116879"/>
                <a:gd name="connsiteY48" fmla="*/ 67649 h 96440"/>
                <a:gd name="connsiteX49" fmla="*/ 90206 w 116879"/>
                <a:gd name="connsiteY49" fmla="*/ 67890 h 96440"/>
                <a:gd name="connsiteX50" fmla="*/ 88893 w 116879"/>
                <a:gd name="connsiteY50" fmla="*/ 68006 h 96440"/>
                <a:gd name="connsiteX51" fmla="*/ 86667 w 116879"/>
                <a:gd name="connsiteY51" fmla="*/ 67412 h 96440"/>
                <a:gd name="connsiteX52" fmla="*/ 83655 w 116879"/>
                <a:gd name="connsiteY52" fmla="*/ 66450 h 96440"/>
                <a:gd name="connsiteX53" fmla="*/ 81513 w 116879"/>
                <a:gd name="connsiteY53" fmla="*/ 66299 h 96440"/>
                <a:gd name="connsiteX54" fmla="*/ 80411 w 116879"/>
                <a:gd name="connsiteY54" fmla="*/ 67992 h 96440"/>
                <a:gd name="connsiteX55" fmla="*/ 79755 w 116879"/>
                <a:gd name="connsiteY55" fmla="*/ 68654 h 96440"/>
                <a:gd name="connsiteX56" fmla="*/ 78943 w 116879"/>
                <a:gd name="connsiteY56" fmla="*/ 68756 h 96440"/>
                <a:gd name="connsiteX57" fmla="*/ 78095 w 116879"/>
                <a:gd name="connsiteY57" fmla="*/ 69055 h 96440"/>
                <a:gd name="connsiteX58" fmla="*/ 77807 w 116879"/>
                <a:gd name="connsiteY58" fmla="*/ 69810 h 96440"/>
                <a:gd name="connsiteX59" fmla="*/ 77738 w 116879"/>
                <a:gd name="connsiteY59" fmla="*/ 70756 h 96440"/>
                <a:gd name="connsiteX60" fmla="*/ 78150 w 116879"/>
                <a:gd name="connsiteY60" fmla="*/ 72370 h 96440"/>
                <a:gd name="connsiteX61" fmla="*/ 78304 w 116879"/>
                <a:gd name="connsiteY61" fmla="*/ 74938 h 96440"/>
                <a:gd name="connsiteX62" fmla="*/ 78196 w 116879"/>
                <a:gd name="connsiteY62" fmla="*/ 76687 h 96440"/>
                <a:gd name="connsiteX63" fmla="*/ 78982 w 116879"/>
                <a:gd name="connsiteY63" fmla="*/ 77794 h 96440"/>
                <a:gd name="connsiteX64" fmla="*/ 83579 w 116879"/>
                <a:gd name="connsiteY64" fmla="*/ 81514 h 96440"/>
                <a:gd name="connsiteX65" fmla="*/ 84938 w 116879"/>
                <a:gd name="connsiteY65" fmla="*/ 82444 h 96440"/>
                <a:gd name="connsiteX66" fmla="*/ 85093 w 116879"/>
                <a:gd name="connsiteY66" fmla="*/ 82999 h 96440"/>
                <a:gd name="connsiteX67" fmla="*/ 84287 w 116879"/>
                <a:gd name="connsiteY67" fmla="*/ 85020 h 96440"/>
                <a:gd name="connsiteX68" fmla="*/ 85004 w 116879"/>
                <a:gd name="connsiteY68" fmla="*/ 87862 h 96440"/>
                <a:gd name="connsiteX69" fmla="*/ 83564 w 116879"/>
                <a:gd name="connsiteY69" fmla="*/ 87809 h 96440"/>
                <a:gd name="connsiteX70" fmla="*/ 81160 w 116879"/>
                <a:gd name="connsiteY70" fmla="*/ 86590 h 96440"/>
                <a:gd name="connsiteX71" fmla="*/ 80012 w 116879"/>
                <a:gd name="connsiteY71" fmla="*/ 85844 h 96440"/>
                <a:gd name="connsiteX72" fmla="*/ 78619 w 116879"/>
                <a:gd name="connsiteY72" fmla="*/ 86440 h 96440"/>
                <a:gd name="connsiteX73" fmla="*/ 78135 w 116879"/>
                <a:gd name="connsiteY73" fmla="*/ 86326 h 96440"/>
                <a:gd name="connsiteX74" fmla="*/ 77194 w 116879"/>
                <a:gd name="connsiteY74" fmla="*/ 84928 h 96440"/>
                <a:gd name="connsiteX75" fmla="*/ 75963 w 116879"/>
                <a:gd name="connsiteY75" fmla="*/ 83498 h 96440"/>
                <a:gd name="connsiteX76" fmla="*/ 74696 w 116879"/>
                <a:gd name="connsiteY76" fmla="*/ 83407 h 96440"/>
                <a:gd name="connsiteX77" fmla="*/ 72016 w 116879"/>
                <a:gd name="connsiteY77" fmla="*/ 83970 h 96440"/>
                <a:gd name="connsiteX78" fmla="*/ 69277 w 116879"/>
                <a:gd name="connsiteY78" fmla="*/ 84361 h 96440"/>
                <a:gd name="connsiteX79" fmla="*/ 68239 w 116879"/>
                <a:gd name="connsiteY79" fmla="*/ 84357 h 96440"/>
                <a:gd name="connsiteX80" fmla="*/ 67813 w 116879"/>
                <a:gd name="connsiteY80" fmla="*/ 84615 h 96440"/>
                <a:gd name="connsiteX81" fmla="*/ 66224 w 116879"/>
                <a:gd name="connsiteY81" fmla="*/ 86738 h 96440"/>
                <a:gd name="connsiteX82" fmla="*/ 65553 w 116879"/>
                <a:gd name="connsiteY82" fmla="*/ 86373 h 96440"/>
                <a:gd name="connsiteX83" fmla="*/ 62793 w 116879"/>
                <a:gd name="connsiteY83" fmla="*/ 85566 h 96440"/>
                <a:gd name="connsiteX84" fmla="*/ 60277 w 116879"/>
                <a:gd name="connsiteY84" fmla="*/ 85257 h 96440"/>
                <a:gd name="connsiteX85" fmla="*/ 59759 w 116879"/>
                <a:gd name="connsiteY85" fmla="*/ 85805 h 96440"/>
                <a:gd name="connsiteX86" fmla="*/ 60065 w 116879"/>
                <a:gd name="connsiteY86" fmla="*/ 87538 h 96440"/>
                <a:gd name="connsiteX87" fmla="*/ 60618 w 116879"/>
                <a:gd name="connsiteY87" fmla="*/ 89229 h 96440"/>
                <a:gd name="connsiteX88" fmla="*/ 60293 w 116879"/>
                <a:gd name="connsiteY88" fmla="*/ 89948 h 96440"/>
                <a:gd name="connsiteX89" fmla="*/ 58910 w 116879"/>
                <a:gd name="connsiteY89" fmla="*/ 90836 h 96440"/>
                <a:gd name="connsiteX90" fmla="*/ 57083 w 116879"/>
                <a:gd name="connsiteY90" fmla="*/ 92439 h 96440"/>
                <a:gd name="connsiteX91" fmla="*/ 55963 w 116879"/>
                <a:gd name="connsiteY91" fmla="*/ 93685 h 96440"/>
                <a:gd name="connsiteX92" fmla="*/ 55185 w 116879"/>
                <a:gd name="connsiteY92" fmla="*/ 93991 h 96440"/>
                <a:gd name="connsiteX93" fmla="*/ 52404 w 116879"/>
                <a:gd name="connsiteY93" fmla="*/ 93936 h 96440"/>
                <a:gd name="connsiteX94" fmla="*/ 49631 w 116879"/>
                <a:gd name="connsiteY94" fmla="*/ 94099 h 96440"/>
                <a:gd name="connsiteX95" fmla="*/ 48521 w 116879"/>
                <a:gd name="connsiteY95" fmla="*/ 95276 h 96440"/>
                <a:gd name="connsiteX96" fmla="*/ 47481 w 116879"/>
                <a:gd name="connsiteY96" fmla="*/ 96191 h 96440"/>
                <a:gd name="connsiteX97" fmla="*/ 46583 w 116879"/>
                <a:gd name="connsiteY97" fmla="*/ 96440 h 96440"/>
                <a:gd name="connsiteX98" fmla="*/ 42957 w 116879"/>
                <a:gd name="connsiteY98" fmla="*/ 93534 h 96440"/>
                <a:gd name="connsiteX99" fmla="*/ 35764 w 116879"/>
                <a:gd name="connsiteY99" fmla="*/ 92520 h 96440"/>
                <a:gd name="connsiteX100" fmla="*/ 34982 w 116879"/>
                <a:gd name="connsiteY100" fmla="*/ 91238 h 96440"/>
                <a:gd name="connsiteX101" fmla="*/ 34291 w 116879"/>
                <a:gd name="connsiteY101" fmla="*/ 90988 h 96440"/>
                <a:gd name="connsiteX102" fmla="*/ 33628 w 116879"/>
                <a:gd name="connsiteY102" fmla="*/ 92655 h 96440"/>
                <a:gd name="connsiteX103" fmla="*/ 29679 w 116879"/>
                <a:gd name="connsiteY103" fmla="*/ 94256 h 96440"/>
                <a:gd name="connsiteX104" fmla="*/ 28025 w 116879"/>
                <a:gd name="connsiteY104" fmla="*/ 93289 h 96440"/>
                <a:gd name="connsiteX105" fmla="*/ 26811 w 116879"/>
                <a:gd name="connsiteY105" fmla="*/ 92117 h 96440"/>
                <a:gd name="connsiteX106" fmla="*/ 26992 w 116879"/>
                <a:gd name="connsiteY106" fmla="*/ 90684 h 96440"/>
                <a:gd name="connsiteX107" fmla="*/ 28135 w 116879"/>
                <a:gd name="connsiteY107" fmla="*/ 89514 h 96440"/>
                <a:gd name="connsiteX108" fmla="*/ 30097 w 116879"/>
                <a:gd name="connsiteY108" fmla="*/ 88674 h 96440"/>
                <a:gd name="connsiteX109" fmla="*/ 31004 w 116879"/>
                <a:gd name="connsiteY109" fmla="*/ 85732 h 96440"/>
                <a:gd name="connsiteX110" fmla="*/ 29510 w 116879"/>
                <a:gd name="connsiteY110" fmla="*/ 81961 h 96440"/>
                <a:gd name="connsiteX111" fmla="*/ 28199 w 116879"/>
                <a:gd name="connsiteY111" fmla="*/ 80862 h 96440"/>
                <a:gd name="connsiteX112" fmla="*/ 26816 w 116879"/>
                <a:gd name="connsiteY112" fmla="*/ 79992 h 96440"/>
                <a:gd name="connsiteX113" fmla="*/ 25362 w 116879"/>
                <a:gd name="connsiteY113" fmla="*/ 81395 h 96440"/>
                <a:gd name="connsiteX114" fmla="*/ 24138 w 116879"/>
                <a:gd name="connsiteY114" fmla="*/ 83794 h 96440"/>
                <a:gd name="connsiteX115" fmla="*/ 22862 w 116879"/>
                <a:gd name="connsiteY115" fmla="*/ 85028 h 96440"/>
                <a:gd name="connsiteX116" fmla="*/ 21061 w 116879"/>
                <a:gd name="connsiteY116" fmla="*/ 85304 h 96440"/>
                <a:gd name="connsiteX117" fmla="*/ 18421 w 116879"/>
                <a:gd name="connsiteY117" fmla="*/ 85204 h 96440"/>
                <a:gd name="connsiteX118" fmla="*/ 17396 w 116879"/>
                <a:gd name="connsiteY118" fmla="*/ 81623 h 96440"/>
                <a:gd name="connsiteX119" fmla="*/ 17057 w 116879"/>
                <a:gd name="connsiteY119" fmla="*/ 78550 h 96440"/>
                <a:gd name="connsiteX120" fmla="*/ 17418 w 116879"/>
                <a:gd name="connsiteY120" fmla="*/ 75041 h 96440"/>
                <a:gd name="connsiteX121" fmla="*/ 17817 w 116879"/>
                <a:gd name="connsiteY121" fmla="*/ 72962 h 96440"/>
                <a:gd name="connsiteX122" fmla="*/ 15275 w 116879"/>
                <a:gd name="connsiteY122" fmla="*/ 70094 h 96440"/>
                <a:gd name="connsiteX123" fmla="*/ 15135 w 116879"/>
                <a:gd name="connsiteY123" fmla="*/ 67362 h 96440"/>
                <a:gd name="connsiteX124" fmla="*/ 13906 w 116879"/>
                <a:gd name="connsiteY124" fmla="*/ 65952 h 96440"/>
                <a:gd name="connsiteX125" fmla="*/ 13546 w 116879"/>
                <a:gd name="connsiteY125" fmla="*/ 66664 h 96440"/>
                <a:gd name="connsiteX126" fmla="*/ 13581 w 116879"/>
                <a:gd name="connsiteY126" fmla="*/ 67449 h 96440"/>
                <a:gd name="connsiteX127" fmla="*/ 13231 w 116879"/>
                <a:gd name="connsiteY127" fmla="*/ 66880 h 96440"/>
                <a:gd name="connsiteX128" fmla="*/ 9218 w 116879"/>
                <a:gd name="connsiteY128" fmla="*/ 58860 h 96440"/>
                <a:gd name="connsiteX129" fmla="*/ 8547 w 116879"/>
                <a:gd name="connsiteY129" fmla="*/ 55138 h 96440"/>
                <a:gd name="connsiteX130" fmla="*/ 9236 w 116879"/>
                <a:gd name="connsiteY130" fmla="*/ 52272 h 96440"/>
                <a:gd name="connsiteX131" fmla="*/ 9640 w 116879"/>
                <a:gd name="connsiteY131" fmla="*/ 51309 h 96440"/>
                <a:gd name="connsiteX132" fmla="*/ 8483 w 116879"/>
                <a:gd name="connsiteY132" fmla="*/ 49800 h 96440"/>
                <a:gd name="connsiteX133" fmla="*/ 6854 w 116879"/>
                <a:gd name="connsiteY133" fmla="*/ 48084 h 96440"/>
                <a:gd name="connsiteX134" fmla="*/ 3977 w 116879"/>
                <a:gd name="connsiteY134" fmla="*/ 45837 h 96440"/>
                <a:gd name="connsiteX135" fmla="*/ 3781 w 116879"/>
                <a:gd name="connsiteY135" fmla="*/ 42279 h 96440"/>
                <a:gd name="connsiteX136" fmla="*/ 3139 w 116879"/>
                <a:gd name="connsiteY136" fmla="*/ 38082 h 96440"/>
                <a:gd name="connsiteX137" fmla="*/ 2276 w 116879"/>
                <a:gd name="connsiteY137" fmla="*/ 36667 h 96440"/>
                <a:gd name="connsiteX138" fmla="*/ 957 w 116879"/>
                <a:gd name="connsiteY138" fmla="*/ 34081 h 96440"/>
                <a:gd name="connsiteX139" fmla="*/ 244 w 116879"/>
                <a:gd name="connsiteY139" fmla="*/ 31938 h 96440"/>
                <a:gd name="connsiteX140" fmla="*/ 0 w 116879"/>
                <a:gd name="connsiteY140" fmla="*/ 26272 h 96440"/>
                <a:gd name="connsiteX141" fmla="*/ 368 w 116879"/>
                <a:gd name="connsiteY141" fmla="*/ 25815 h 96440"/>
                <a:gd name="connsiteX142" fmla="*/ 2405 w 116879"/>
                <a:gd name="connsiteY142" fmla="*/ 25651 h 96440"/>
                <a:gd name="connsiteX143" fmla="*/ 5023 w 116879"/>
                <a:gd name="connsiteY143" fmla="*/ 25243 h 96440"/>
                <a:gd name="connsiteX144" fmla="*/ 5435 w 116879"/>
                <a:gd name="connsiteY144" fmla="*/ 24327 h 96440"/>
                <a:gd name="connsiteX145" fmla="*/ 4975 w 116879"/>
                <a:gd name="connsiteY145" fmla="*/ 23571 h 96440"/>
                <a:gd name="connsiteX146" fmla="*/ 6649 w 116879"/>
                <a:gd name="connsiteY146" fmla="*/ 22287 h 96440"/>
                <a:gd name="connsiteX147" fmla="*/ 9048 w 116879"/>
                <a:gd name="connsiteY147" fmla="*/ 19472 h 96440"/>
                <a:gd name="connsiteX148" fmla="*/ 10903 w 116879"/>
                <a:gd name="connsiteY148" fmla="*/ 16530 h 96440"/>
                <a:gd name="connsiteX149" fmla="*/ 12240 w 116879"/>
                <a:gd name="connsiteY149" fmla="*/ 14672 h 96440"/>
                <a:gd name="connsiteX150" fmla="*/ 13037 w 116879"/>
                <a:gd name="connsiteY150" fmla="*/ 12827 h 96440"/>
                <a:gd name="connsiteX151" fmla="*/ 15729 w 116879"/>
                <a:gd name="connsiteY151" fmla="*/ 10214 h 96440"/>
                <a:gd name="connsiteX152" fmla="*/ 19452 w 116879"/>
                <a:gd name="connsiteY152" fmla="*/ 8408 h 96440"/>
                <a:gd name="connsiteX153" fmla="*/ 21974 w 116879"/>
                <a:gd name="connsiteY153" fmla="*/ 7986 h 96440"/>
                <a:gd name="connsiteX154" fmla="*/ 24604 w 116879"/>
                <a:gd name="connsiteY154" fmla="*/ 7370 h 96440"/>
                <a:gd name="connsiteX155" fmla="*/ 27124 w 116879"/>
                <a:gd name="connsiteY155" fmla="*/ 6494 h 96440"/>
                <a:gd name="connsiteX156" fmla="*/ 28319 w 116879"/>
                <a:gd name="connsiteY156" fmla="*/ 6412 h 96440"/>
                <a:gd name="connsiteX157" fmla="*/ 31447 w 116879"/>
                <a:gd name="connsiteY157" fmla="*/ 7470 h 96440"/>
                <a:gd name="connsiteX158" fmla="*/ 33138 w 116879"/>
                <a:gd name="connsiteY158" fmla="*/ 7741 h 96440"/>
                <a:gd name="connsiteX159" fmla="*/ 34913 w 116879"/>
                <a:gd name="connsiteY159" fmla="*/ 7727 h 96440"/>
                <a:gd name="connsiteX160" fmla="*/ 36753 w 116879"/>
                <a:gd name="connsiteY160" fmla="*/ 7837 h 96440"/>
                <a:gd name="connsiteX161" fmla="*/ 38355 w 116879"/>
                <a:gd name="connsiteY161" fmla="*/ 7728 h 96440"/>
                <a:gd name="connsiteX162" fmla="*/ 42191 w 116879"/>
                <a:gd name="connsiteY162" fmla="*/ 6989 h 96440"/>
                <a:gd name="connsiteX163" fmla="*/ 46256 w 116879"/>
                <a:gd name="connsiteY163" fmla="*/ 7574 h 96440"/>
                <a:gd name="connsiteX164" fmla="*/ 49886 w 116879"/>
                <a:gd name="connsiteY164" fmla="*/ 7112 h 96440"/>
                <a:gd name="connsiteX165" fmla="*/ 54380 w 116879"/>
                <a:gd name="connsiteY165" fmla="*/ 6260 h 96440"/>
                <a:gd name="connsiteX166" fmla="*/ 56587 w 116879"/>
                <a:gd name="connsiteY166" fmla="*/ 6797 h 96440"/>
                <a:gd name="connsiteX167" fmla="*/ 58597 w 116879"/>
                <a:gd name="connsiteY167" fmla="*/ 7652 h 96440"/>
                <a:gd name="connsiteX168" fmla="*/ 58878 w 116879"/>
                <a:gd name="connsiteY168" fmla="*/ 9382 h 96440"/>
                <a:gd name="connsiteX169" fmla="*/ 59342 w 116879"/>
                <a:gd name="connsiteY169" fmla="*/ 10172 h 96440"/>
                <a:gd name="connsiteX170" fmla="*/ 60012 w 116879"/>
                <a:gd name="connsiteY170" fmla="*/ 10782 h 96440"/>
                <a:gd name="connsiteX171" fmla="*/ 60906 w 116879"/>
                <a:gd name="connsiteY171" fmla="*/ 10781 h 96440"/>
                <a:gd name="connsiteX172" fmla="*/ 62052 w 116879"/>
                <a:gd name="connsiteY172" fmla="*/ 9573 h 96440"/>
                <a:gd name="connsiteX173" fmla="*/ 63006 w 116879"/>
                <a:gd name="connsiteY173" fmla="*/ 8330 h 96440"/>
                <a:gd name="connsiteX174" fmla="*/ 63319 w 116879"/>
                <a:gd name="connsiteY174" fmla="*/ 8101 h 96440"/>
                <a:gd name="connsiteX175" fmla="*/ 63369 w 116879"/>
                <a:gd name="connsiteY175" fmla="*/ 8713 h 96440"/>
                <a:gd name="connsiteX176" fmla="*/ 63844 w 116879"/>
                <a:gd name="connsiteY176" fmla="*/ 10060 h 96440"/>
                <a:gd name="connsiteX177" fmla="*/ 64699 w 116879"/>
                <a:gd name="connsiteY177" fmla="*/ 11388 h 96440"/>
                <a:gd name="connsiteX178" fmla="*/ 65566 w 116879"/>
                <a:gd name="connsiteY178" fmla="*/ 12269 h 96440"/>
                <a:gd name="connsiteX179" fmla="*/ 67010 w 116879"/>
                <a:gd name="connsiteY179" fmla="*/ 13439 h 96440"/>
                <a:gd name="connsiteX180" fmla="*/ 67949 w 116879"/>
                <a:gd name="connsiteY180" fmla="*/ 13495 h 96440"/>
                <a:gd name="connsiteX181" fmla="*/ 71020 w 116879"/>
                <a:gd name="connsiteY181" fmla="*/ 12388 h 96440"/>
                <a:gd name="connsiteX182" fmla="*/ 75624 w 116879"/>
                <a:gd name="connsiteY182" fmla="*/ 13994 h 96440"/>
                <a:gd name="connsiteX183" fmla="*/ 76161 w 116879"/>
                <a:gd name="connsiteY183" fmla="*/ 14803 h 96440"/>
                <a:gd name="connsiteX184" fmla="*/ 77652 w 116879"/>
                <a:gd name="connsiteY184" fmla="*/ 16437 h 96440"/>
                <a:gd name="connsiteX185" fmla="*/ 79267 w 116879"/>
                <a:gd name="connsiteY185" fmla="*/ 17611 h 96440"/>
                <a:gd name="connsiteX186" fmla="*/ 82856 w 116879"/>
                <a:gd name="connsiteY186" fmla="*/ 17685 h 96440"/>
                <a:gd name="connsiteX187" fmla="*/ 84136 w 116879"/>
                <a:gd name="connsiteY187" fmla="*/ 14802 h 96440"/>
                <a:gd name="connsiteX188" fmla="*/ 83517 w 116879"/>
                <a:gd name="connsiteY188" fmla="*/ 13044 h 96440"/>
                <a:gd name="connsiteX189" fmla="*/ 81470 w 116879"/>
                <a:gd name="connsiteY189" fmla="*/ 9981 h 96440"/>
                <a:gd name="connsiteX190" fmla="*/ 80912 w 116879"/>
                <a:gd name="connsiteY190" fmla="*/ 8173 h 96440"/>
                <a:gd name="connsiteX191" fmla="*/ 81564 w 116879"/>
                <a:gd name="connsiteY191" fmla="*/ 7854 h 96440"/>
                <a:gd name="connsiteX192" fmla="*/ 85032 w 116879"/>
                <a:gd name="connsiteY192" fmla="*/ 7511 h 96440"/>
                <a:gd name="connsiteX193" fmla="*/ 85596 w 116879"/>
                <a:gd name="connsiteY193" fmla="*/ 7155 h 96440"/>
                <a:gd name="connsiteX194" fmla="*/ 86362 w 116879"/>
                <a:gd name="connsiteY194" fmla="*/ 5167 h 96440"/>
                <a:gd name="connsiteX195" fmla="*/ 87304 w 116879"/>
                <a:gd name="connsiteY195" fmla="*/ 5393 h 96440"/>
                <a:gd name="connsiteX196" fmla="*/ 89228 w 116879"/>
                <a:gd name="connsiteY196" fmla="*/ 5651 h 96440"/>
                <a:gd name="connsiteX197" fmla="*/ 91262 w 116879"/>
                <a:gd name="connsiteY197" fmla="*/ 4291 h 96440"/>
                <a:gd name="connsiteX198" fmla="*/ 92467 w 116879"/>
                <a:gd name="connsiteY198" fmla="*/ 2865 h 96440"/>
                <a:gd name="connsiteX199" fmla="*/ 93124 w 116879"/>
                <a:gd name="connsiteY199" fmla="*/ 3515 h 96440"/>
                <a:gd name="connsiteX200" fmla="*/ 93842 w 116879"/>
                <a:gd name="connsiteY200" fmla="*/ 4516 h 96440"/>
                <a:gd name="connsiteX201" fmla="*/ 94628 w 116879"/>
                <a:gd name="connsiteY201" fmla="*/ 5096 h 96440"/>
                <a:gd name="connsiteX202" fmla="*/ 96093 w 116879"/>
                <a:gd name="connsiteY202" fmla="*/ 5955 h 96440"/>
                <a:gd name="connsiteX203" fmla="*/ 97701 w 116879"/>
                <a:gd name="connsiteY203" fmla="*/ 7164 h 96440"/>
                <a:gd name="connsiteX204" fmla="*/ 98703 w 116879"/>
                <a:gd name="connsiteY204" fmla="*/ 8352 h 96440"/>
                <a:gd name="connsiteX205" fmla="*/ 99509 w 116879"/>
                <a:gd name="connsiteY205" fmla="*/ 8812 h 96440"/>
                <a:gd name="connsiteX206" fmla="*/ 101571 w 116879"/>
                <a:gd name="connsiteY206" fmla="*/ 8481 h 96440"/>
                <a:gd name="connsiteX207" fmla="*/ 102122 w 116879"/>
                <a:gd name="connsiteY207" fmla="*/ 8527 h 96440"/>
                <a:gd name="connsiteX208" fmla="*/ 103318 w 116879"/>
                <a:gd name="connsiteY208" fmla="*/ 7090 h 96440"/>
                <a:gd name="connsiteX209" fmla="*/ 104158 w 116879"/>
                <a:gd name="connsiteY209" fmla="*/ 6308 h 96440"/>
                <a:gd name="connsiteX210" fmla="*/ 104870 w 116879"/>
                <a:gd name="connsiteY210" fmla="*/ 6532 h 96440"/>
                <a:gd name="connsiteX211" fmla="*/ 105909 w 116879"/>
                <a:gd name="connsiteY211" fmla="*/ 6511 h 96440"/>
                <a:gd name="connsiteX212" fmla="*/ 108060 w 116879"/>
                <a:gd name="connsiteY212" fmla="*/ 4678 h 96440"/>
                <a:gd name="connsiteX213" fmla="*/ 109291 w 116879"/>
                <a:gd name="connsiteY213" fmla="*/ 3002 h 96440"/>
                <a:gd name="connsiteX214" fmla="*/ 109962 w 116879"/>
                <a:gd name="connsiteY214" fmla="*/ 2545 h 96440"/>
                <a:gd name="connsiteX215" fmla="*/ 111891 w 116879"/>
                <a:gd name="connsiteY215" fmla="*/ 3382 h 96440"/>
                <a:gd name="connsiteX216" fmla="*/ 112662 w 116879"/>
                <a:gd name="connsiteY216" fmla="*/ 3211 h 96440"/>
                <a:gd name="connsiteX217" fmla="*/ 113776 w 116879"/>
                <a:gd name="connsiteY217" fmla="*/ 905 h 96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</a:cxnLst>
              <a:rect l="l" t="t" r="r" b="b"/>
              <a:pathLst>
                <a:path w="116879" h="96440">
                  <a:moveTo>
                    <a:pt x="19983" y="88151"/>
                  </a:moveTo>
                  <a:lnTo>
                    <a:pt x="22069" y="89571"/>
                  </a:lnTo>
                  <a:lnTo>
                    <a:pt x="21262" y="90439"/>
                  </a:lnTo>
                  <a:lnTo>
                    <a:pt x="19973" y="88652"/>
                  </a:lnTo>
                  <a:close/>
                  <a:moveTo>
                    <a:pt x="15857" y="74545"/>
                  </a:moveTo>
                  <a:lnTo>
                    <a:pt x="16040" y="76894"/>
                  </a:lnTo>
                  <a:lnTo>
                    <a:pt x="15647" y="77108"/>
                  </a:lnTo>
                  <a:lnTo>
                    <a:pt x="15275" y="77101"/>
                  </a:lnTo>
                  <a:lnTo>
                    <a:pt x="14895" y="76774"/>
                  </a:lnTo>
                  <a:lnTo>
                    <a:pt x="14933" y="75482"/>
                  </a:lnTo>
                  <a:lnTo>
                    <a:pt x="15208" y="74694"/>
                  </a:lnTo>
                  <a:close/>
                  <a:moveTo>
                    <a:pt x="114977" y="0"/>
                  </a:moveTo>
                  <a:lnTo>
                    <a:pt x="115326" y="1245"/>
                  </a:lnTo>
                  <a:lnTo>
                    <a:pt x="114395" y="3598"/>
                  </a:lnTo>
                  <a:lnTo>
                    <a:pt x="113406" y="5732"/>
                  </a:lnTo>
                  <a:lnTo>
                    <a:pt x="111550" y="7594"/>
                  </a:lnTo>
                  <a:lnTo>
                    <a:pt x="111459" y="8966"/>
                  </a:lnTo>
                  <a:lnTo>
                    <a:pt x="110820" y="13055"/>
                  </a:lnTo>
                  <a:lnTo>
                    <a:pt x="111066" y="14356"/>
                  </a:lnTo>
                  <a:lnTo>
                    <a:pt x="111498" y="15470"/>
                  </a:lnTo>
                  <a:lnTo>
                    <a:pt x="112103" y="16066"/>
                  </a:lnTo>
                  <a:lnTo>
                    <a:pt x="113713" y="20064"/>
                  </a:lnTo>
                  <a:lnTo>
                    <a:pt x="115180" y="23700"/>
                  </a:lnTo>
                  <a:lnTo>
                    <a:pt x="116624" y="26684"/>
                  </a:lnTo>
                  <a:lnTo>
                    <a:pt x="116879" y="28572"/>
                  </a:lnTo>
                  <a:lnTo>
                    <a:pt x="115554" y="33351"/>
                  </a:lnTo>
                  <a:lnTo>
                    <a:pt x="114002" y="37738"/>
                  </a:lnTo>
                  <a:lnTo>
                    <a:pt x="114139" y="39924"/>
                  </a:lnTo>
                  <a:lnTo>
                    <a:pt x="114802" y="42112"/>
                  </a:lnTo>
                  <a:lnTo>
                    <a:pt x="115510" y="45029"/>
                  </a:lnTo>
                  <a:lnTo>
                    <a:pt x="115774" y="48756"/>
                  </a:lnTo>
                  <a:lnTo>
                    <a:pt x="115389" y="51185"/>
                  </a:lnTo>
                  <a:lnTo>
                    <a:pt x="114689" y="52694"/>
                  </a:lnTo>
                  <a:lnTo>
                    <a:pt x="113353" y="54240"/>
                  </a:lnTo>
                  <a:lnTo>
                    <a:pt x="112189" y="55030"/>
                  </a:lnTo>
                  <a:lnTo>
                    <a:pt x="110789" y="53716"/>
                  </a:lnTo>
                  <a:lnTo>
                    <a:pt x="109676" y="53659"/>
                  </a:lnTo>
                  <a:lnTo>
                    <a:pt x="108181" y="54054"/>
                  </a:lnTo>
                  <a:lnTo>
                    <a:pt x="107006" y="54658"/>
                  </a:lnTo>
                  <a:lnTo>
                    <a:pt x="104612" y="56929"/>
                  </a:lnTo>
                  <a:lnTo>
                    <a:pt x="101957" y="59135"/>
                  </a:lnTo>
                  <a:lnTo>
                    <a:pt x="98286" y="59700"/>
                  </a:lnTo>
                  <a:lnTo>
                    <a:pt x="96859" y="61338"/>
                  </a:lnTo>
                  <a:lnTo>
                    <a:pt x="95331" y="61564"/>
                  </a:lnTo>
                  <a:lnTo>
                    <a:pt x="92426" y="61647"/>
                  </a:lnTo>
                  <a:lnTo>
                    <a:pt x="90530" y="62030"/>
                  </a:lnTo>
                  <a:lnTo>
                    <a:pt x="90616" y="62853"/>
                  </a:lnTo>
                  <a:lnTo>
                    <a:pt x="90461" y="66739"/>
                  </a:lnTo>
                  <a:lnTo>
                    <a:pt x="90500" y="67649"/>
                  </a:lnTo>
                  <a:lnTo>
                    <a:pt x="90206" y="67890"/>
                  </a:lnTo>
                  <a:lnTo>
                    <a:pt x="88893" y="68006"/>
                  </a:lnTo>
                  <a:lnTo>
                    <a:pt x="86667" y="67412"/>
                  </a:lnTo>
                  <a:lnTo>
                    <a:pt x="83655" y="66450"/>
                  </a:lnTo>
                  <a:lnTo>
                    <a:pt x="81513" y="66299"/>
                  </a:lnTo>
                  <a:lnTo>
                    <a:pt x="80411" y="67992"/>
                  </a:lnTo>
                  <a:lnTo>
                    <a:pt x="79755" y="68654"/>
                  </a:lnTo>
                  <a:lnTo>
                    <a:pt x="78943" y="68756"/>
                  </a:lnTo>
                  <a:lnTo>
                    <a:pt x="78095" y="69055"/>
                  </a:lnTo>
                  <a:lnTo>
                    <a:pt x="77807" y="69810"/>
                  </a:lnTo>
                  <a:lnTo>
                    <a:pt x="77738" y="70756"/>
                  </a:lnTo>
                  <a:lnTo>
                    <a:pt x="78150" y="72370"/>
                  </a:lnTo>
                  <a:lnTo>
                    <a:pt x="78304" y="74938"/>
                  </a:lnTo>
                  <a:lnTo>
                    <a:pt x="78196" y="76687"/>
                  </a:lnTo>
                  <a:lnTo>
                    <a:pt x="78982" y="77794"/>
                  </a:lnTo>
                  <a:lnTo>
                    <a:pt x="83579" y="81514"/>
                  </a:lnTo>
                  <a:lnTo>
                    <a:pt x="84938" y="82444"/>
                  </a:lnTo>
                  <a:lnTo>
                    <a:pt x="85093" y="82999"/>
                  </a:lnTo>
                  <a:lnTo>
                    <a:pt x="84287" y="85020"/>
                  </a:lnTo>
                  <a:lnTo>
                    <a:pt x="85004" y="87862"/>
                  </a:lnTo>
                  <a:lnTo>
                    <a:pt x="83564" y="87809"/>
                  </a:lnTo>
                  <a:lnTo>
                    <a:pt x="81160" y="86590"/>
                  </a:lnTo>
                  <a:lnTo>
                    <a:pt x="80012" y="85844"/>
                  </a:lnTo>
                  <a:lnTo>
                    <a:pt x="78619" y="86440"/>
                  </a:lnTo>
                  <a:lnTo>
                    <a:pt x="78135" y="86326"/>
                  </a:lnTo>
                  <a:lnTo>
                    <a:pt x="77194" y="84928"/>
                  </a:lnTo>
                  <a:lnTo>
                    <a:pt x="75963" y="83498"/>
                  </a:lnTo>
                  <a:lnTo>
                    <a:pt x="74696" y="83407"/>
                  </a:lnTo>
                  <a:lnTo>
                    <a:pt x="72016" y="83970"/>
                  </a:lnTo>
                  <a:lnTo>
                    <a:pt x="69277" y="84361"/>
                  </a:lnTo>
                  <a:lnTo>
                    <a:pt x="68239" y="84357"/>
                  </a:lnTo>
                  <a:lnTo>
                    <a:pt x="67813" y="84615"/>
                  </a:lnTo>
                  <a:lnTo>
                    <a:pt x="66224" y="86738"/>
                  </a:lnTo>
                  <a:lnTo>
                    <a:pt x="65553" y="86373"/>
                  </a:lnTo>
                  <a:lnTo>
                    <a:pt x="62793" y="85566"/>
                  </a:lnTo>
                  <a:lnTo>
                    <a:pt x="60277" y="85257"/>
                  </a:lnTo>
                  <a:lnTo>
                    <a:pt x="59759" y="85805"/>
                  </a:lnTo>
                  <a:lnTo>
                    <a:pt x="60065" y="87538"/>
                  </a:lnTo>
                  <a:lnTo>
                    <a:pt x="60618" y="89229"/>
                  </a:lnTo>
                  <a:lnTo>
                    <a:pt x="60293" y="89948"/>
                  </a:lnTo>
                  <a:lnTo>
                    <a:pt x="58910" y="90836"/>
                  </a:lnTo>
                  <a:lnTo>
                    <a:pt x="57083" y="92439"/>
                  </a:lnTo>
                  <a:lnTo>
                    <a:pt x="55963" y="93685"/>
                  </a:lnTo>
                  <a:lnTo>
                    <a:pt x="55185" y="93991"/>
                  </a:lnTo>
                  <a:lnTo>
                    <a:pt x="52404" y="93936"/>
                  </a:lnTo>
                  <a:lnTo>
                    <a:pt x="49631" y="94099"/>
                  </a:lnTo>
                  <a:lnTo>
                    <a:pt x="48521" y="95276"/>
                  </a:lnTo>
                  <a:lnTo>
                    <a:pt x="47481" y="96191"/>
                  </a:lnTo>
                  <a:lnTo>
                    <a:pt x="46583" y="96440"/>
                  </a:lnTo>
                  <a:lnTo>
                    <a:pt x="42957" y="93534"/>
                  </a:lnTo>
                  <a:lnTo>
                    <a:pt x="35764" y="92520"/>
                  </a:lnTo>
                  <a:lnTo>
                    <a:pt x="34982" y="91238"/>
                  </a:lnTo>
                  <a:lnTo>
                    <a:pt x="34291" y="90988"/>
                  </a:lnTo>
                  <a:lnTo>
                    <a:pt x="33628" y="92655"/>
                  </a:lnTo>
                  <a:lnTo>
                    <a:pt x="29679" y="94256"/>
                  </a:lnTo>
                  <a:lnTo>
                    <a:pt x="28025" y="93289"/>
                  </a:lnTo>
                  <a:lnTo>
                    <a:pt x="26811" y="92117"/>
                  </a:lnTo>
                  <a:lnTo>
                    <a:pt x="26992" y="90684"/>
                  </a:lnTo>
                  <a:lnTo>
                    <a:pt x="28135" y="89514"/>
                  </a:lnTo>
                  <a:lnTo>
                    <a:pt x="30097" y="88674"/>
                  </a:lnTo>
                  <a:lnTo>
                    <a:pt x="31004" y="85732"/>
                  </a:lnTo>
                  <a:lnTo>
                    <a:pt x="29510" y="81961"/>
                  </a:lnTo>
                  <a:lnTo>
                    <a:pt x="28199" y="80862"/>
                  </a:lnTo>
                  <a:lnTo>
                    <a:pt x="26816" y="79992"/>
                  </a:lnTo>
                  <a:lnTo>
                    <a:pt x="25362" y="81395"/>
                  </a:lnTo>
                  <a:lnTo>
                    <a:pt x="24138" y="83794"/>
                  </a:lnTo>
                  <a:lnTo>
                    <a:pt x="22862" y="85028"/>
                  </a:lnTo>
                  <a:lnTo>
                    <a:pt x="21061" y="85304"/>
                  </a:lnTo>
                  <a:lnTo>
                    <a:pt x="18421" y="85204"/>
                  </a:lnTo>
                  <a:lnTo>
                    <a:pt x="17396" y="81623"/>
                  </a:lnTo>
                  <a:lnTo>
                    <a:pt x="17057" y="78550"/>
                  </a:lnTo>
                  <a:lnTo>
                    <a:pt x="17418" y="75041"/>
                  </a:lnTo>
                  <a:lnTo>
                    <a:pt x="17817" y="72962"/>
                  </a:lnTo>
                  <a:lnTo>
                    <a:pt x="15275" y="70094"/>
                  </a:lnTo>
                  <a:lnTo>
                    <a:pt x="15135" y="67362"/>
                  </a:lnTo>
                  <a:lnTo>
                    <a:pt x="13906" y="65952"/>
                  </a:lnTo>
                  <a:lnTo>
                    <a:pt x="13546" y="66664"/>
                  </a:lnTo>
                  <a:lnTo>
                    <a:pt x="13581" y="67449"/>
                  </a:lnTo>
                  <a:lnTo>
                    <a:pt x="13231" y="66880"/>
                  </a:lnTo>
                  <a:lnTo>
                    <a:pt x="9218" y="58860"/>
                  </a:lnTo>
                  <a:lnTo>
                    <a:pt x="8547" y="55138"/>
                  </a:lnTo>
                  <a:lnTo>
                    <a:pt x="9236" y="52272"/>
                  </a:lnTo>
                  <a:lnTo>
                    <a:pt x="9640" y="51309"/>
                  </a:lnTo>
                  <a:lnTo>
                    <a:pt x="8483" y="49800"/>
                  </a:lnTo>
                  <a:lnTo>
                    <a:pt x="6854" y="48084"/>
                  </a:lnTo>
                  <a:lnTo>
                    <a:pt x="3977" y="45837"/>
                  </a:lnTo>
                  <a:lnTo>
                    <a:pt x="3781" y="42279"/>
                  </a:lnTo>
                  <a:lnTo>
                    <a:pt x="3139" y="38082"/>
                  </a:lnTo>
                  <a:lnTo>
                    <a:pt x="2276" y="36667"/>
                  </a:lnTo>
                  <a:lnTo>
                    <a:pt x="957" y="34081"/>
                  </a:lnTo>
                  <a:lnTo>
                    <a:pt x="244" y="31938"/>
                  </a:lnTo>
                  <a:lnTo>
                    <a:pt x="0" y="26272"/>
                  </a:lnTo>
                  <a:lnTo>
                    <a:pt x="368" y="25815"/>
                  </a:lnTo>
                  <a:lnTo>
                    <a:pt x="2405" y="25651"/>
                  </a:lnTo>
                  <a:lnTo>
                    <a:pt x="5023" y="25243"/>
                  </a:lnTo>
                  <a:lnTo>
                    <a:pt x="5435" y="24327"/>
                  </a:lnTo>
                  <a:lnTo>
                    <a:pt x="4975" y="23571"/>
                  </a:lnTo>
                  <a:lnTo>
                    <a:pt x="6649" y="22287"/>
                  </a:lnTo>
                  <a:lnTo>
                    <a:pt x="9048" y="19472"/>
                  </a:lnTo>
                  <a:lnTo>
                    <a:pt x="10903" y="16530"/>
                  </a:lnTo>
                  <a:lnTo>
                    <a:pt x="12240" y="14672"/>
                  </a:lnTo>
                  <a:lnTo>
                    <a:pt x="13037" y="12827"/>
                  </a:lnTo>
                  <a:lnTo>
                    <a:pt x="15729" y="10214"/>
                  </a:lnTo>
                  <a:lnTo>
                    <a:pt x="19452" y="8408"/>
                  </a:lnTo>
                  <a:lnTo>
                    <a:pt x="21974" y="7986"/>
                  </a:lnTo>
                  <a:lnTo>
                    <a:pt x="24604" y="7370"/>
                  </a:lnTo>
                  <a:lnTo>
                    <a:pt x="27124" y="6494"/>
                  </a:lnTo>
                  <a:lnTo>
                    <a:pt x="28319" y="6412"/>
                  </a:lnTo>
                  <a:lnTo>
                    <a:pt x="31447" y="7470"/>
                  </a:lnTo>
                  <a:lnTo>
                    <a:pt x="33138" y="7741"/>
                  </a:lnTo>
                  <a:lnTo>
                    <a:pt x="34913" y="7727"/>
                  </a:lnTo>
                  <a:lnTo>
                    <a:pt x="36753" y="7837"/>
                  </a:lnTo>
                  <a:lnTo>
                    <a:pt x="38355" y="7728"/>
                  </a:lnTo>
                  <a:lnTo>
                    <a:pt x="42191" y="6989"/>
                  </a:lnTo>
                  <a:lnTo>
                    <a:pt x="46256" y="7574"/>
                  </a:lnTo>
                  <a:lnTo>
                    <a:pt x="49886" y="7112"/>
                  </a:lnTo>
                  <a:lnTo>
                    <a:pt x="54380" y="6260"/>
                  </a:lnTo>
                  <a:lnTo>
                    <a:pt x="56587" y="6797"/>
                  </a:lnTo>
                  <a:lnTo>
                    <a:pt x="58597" y="7652"/>
                  </a:lnTo>
                  <a:lnTo>
                    <a:pt x="58878" y="9382"/>
                  </a:lnTo>
                  <a:lnTo>
                    <a:pt x="59342" y="10172"/>
                  </a:lnTo>
                  <a:lnTo>
                    <a:pt x="60012" y="10782"/>
                  </a:lnTo>
                  <a:lnTo>
                    <a:pt x="60906" y="10781"/>
                  </a:lnTo>
                  <a:lnTo>
                    <a:pt x="62052" y="9573"/>
                  </a:lnTo>
                  <a:lnTo>
                    <a:pt x="63006" y="8330"/>
                  </a:lnTo>
                  <a:lnTo>
                    <a:pt x="63319" y="8101"/>
                  </a:lnTo>
                  <a:lnTo>
                    <a:pt x="63369" y="8713"/>
                  </a:lnTo>
                  <a:lnTo>
                    <a:pt x="63844" y="10060"/>
                  </a:lnTo>
                  <a:lnTo>
                    <a:pt x="64699" y="11388"/>
                  </a:lnTo>
                  <a:lnTo>
                    <a:pt x="65566" y="12269"/>
                  </a:lnTo>
                  <a:lnTo>
                    <a:pt x="67010" y="13439"/>
                  </a:lnTo>
                  <a:lnTo>
                    <a:pt x="67949" y="13495"/>
                  </a:lnTo>
                  <a:lnTo>
                    <a:pt x="71020" y="12388"/>
                  </a:lnTo>
                  <a:lnTo>
                    <a:pt x="75624" y="13994"/>
                  </a:lnTo>
                  <a:lnTo>
                    <a:pt x="76161" y="14803"/>
                  </a:lnTo>
                  <a:lnTo>
                    <a:pt x="77652" y="16437"/>
                  </a:lnTo>
                  <a:lnTo>
                    <a:pt x="79267" y="17611"/>
                  </a:lnTo>
                  <a:lnTo>
                    <a:pt x="82856" y="17685"/>
                  </a:lnTo>
                  <a:lnTo>
                    <a:pt x="84136" y="14802"/>
                  </a:lnTo>
                  <a:lnTo>
                    <a:pt x="83517" y="13044"/>
                  </a:lnTo>
                  <a:lnTo>
                    <a:pt x="81470" y="9981"/>
                  </a:lnTo>
                  <a:lnTo>
                    <a:pt x="80912" y="8173"/>
                  </a:lnTo>
                  <a:lnTo>
                    <a:pt x="81564" y="7854"/>
                  </a:lnTo>
                  <a:lnTo>
                    <a:pt x="85032" y="7511"/>
                  </a:lnTo>
                  <a:lnTo>
                    <a:pt x="85596" y="7155"/>
                  </a:lnTo>
                  <a:lnTo>
                    <a:pt x="86362" y="5167"/>
                  </a:lnTo>
                  <a:lnTo>
                    <a:pt x="87304" y="5393"/>
                  </a:lnTo>
                  <a:lnTo>
                    <a:pt x="89228" y="5651"/>
                  </a:lnTo>
                  <a:lnTo>
                    <a:pt x="91262" y="4291"/>
                  </a:lnTo>
                  <a:lnTo>
                    <a:pt x="92467" y="2865"/>
                  </a:lnTo>
                  <a:lnTo>
                    <a:pt x="93124" y="3515"/>
                  </a:lnTo>
                  <a:lnTo>
                    <a:pt x="93842" y="4516"/>
                  </a:lnTo>
                  <a:lnTo>
                    <a:pt x="94628" y="5096"/>
                  </a:lnTo>
                  <a:lnTo>
                    <a:pt x="96093" y="5955"/>
                  </a:lnTo>
                  <a:lnTo>
                    <a:pt x="97701" y="7164"/>
                  </a:lnTo>
                  <a:lnTo>
                    <a:pt x="98703" y="8352"/>
                  </a:lnTo>
                  <a:lnTo>
                    <a:pt x="99509" y="8812"/>
                  </a:lnTo>
                  <a:lnTo>
                    <a:pt x="101571" y="8481"/>
                  </a:lnTo>
                  <a:lnTo>
                    <a:pt x="102122" y="8527"/>
                  </a:lnTo>
                  <a:lnTo>
                    <a:pt x="103318" y="7090"/>
                  </a:lnTo>
                  <a:lnTo>
                    <a:pt x="104158" y="6308"/>
                  </a:lnTo>
                  <a:lnTo>
                    <a:pt x="104870" y="6532"/>
                  </a:lnTo>
                  <a:lnTo>
                    <a:pt x="105909" y="6511"/>
                  </a:lnTo>
                  <a:lnTo>
                    <a:pt x="108060" y="4678"/>
                  </a:lnTo>
                  <a:lnTo>
                    <a:pt x="109291" y="3002"/>
                  </a:lnTo>
                  <a:lnTo>
                    <a:pt x="109962" y="2545"/>
                  </a:lnTo>
                  <a:lnTo>
                    <a:pt x="111891" y="3382"/>
                  </a:lnTo>
                  <a:lnTo>
                    <a:pt x="112662" y="3211"/>
                  </a:lnTo>
                  <a:lnTo>
                    <a:pt x="113776" y="905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04" name="ee4p_KR_1_82333">
              <a:extLst>
                <a:ext uri="{FF2B5EF4-FFF2-40B4-BE49-F238E27FC236}">
                  <a16:creationId xmlns:a16="http://schemas.microsoft.com/office/drawing/2014/main" id="{62E3EFDC-BE70-81D8-2DBD-47FA5CB117D8}"/>
                </a:ext>
              </a:extLst>
            </p:cNvPr>
            <p:cNvSpPr>
              <a:spLocks noChangeAspect="1"/>
            </p:cNvSpPr>
            <p:nvPr>
              <p:custDataLst>
                <p:tags r:id="rId32"/>
              </p:custDataLst>
            </p:nvPr>
          </p:nvSpPr>
          <p:spPr>
            <a:xfrm>
              <a:off x="10013848" y="3516384"/>
              <a:ext cx="136812" cy="176444"/>
            </a:xfrm>
            <a:custGeom>
              <a:avLst/>
              <a:gdLst>
                <a:gd name="connsiteX0" fmla="*/ 16635 w 108940"/>
                <a:gd name="connsiteY0" fmla="*/ 128068 h 136774"/>
                <a:gd name="connsiteX1" fmla="*/ 19760 w 108940"/>
                <a:gd name="connsiteY1" fmla="*/ 129012 h 136774"/>
                <a:gd name="connsiteX2" fmla="*/ 20425 w 108940"/>
                <a:gd name="connsiteY2" fmla="*/ 130777 h 136774"/>
                <a:gd name="connsiteX3" fmla="*/ 19853 w 108940"/>
                <a:gd name="connsiteY3" fmla="*/ 132299 h 136774"/>
                <a:gd name="connsiteX4" fmla="*/ 19133 w 108940"/>
                <a:gd name="connsiteY4" fmla="*/ 133320 h 136774"/>
                <a:gd name="connsiteX5" fmla="*/ 15515 w 108940"/>
                <a:gd name="connsiteY5" fmla="*/ 135038 h 136774"/>
                <a:gd name="connsiteX6" fmla="*/ 12696 w 108940"/>
                <a:gd name="connsiteY6" fmla="*/ 135863 h 136774"/>
                <a:gd name="connsiteX7" fmla="*/ 7063 w 108940"/>
                <a:gd name="connsiteY7" fmla="*/ 136227 h 136774"/>
                <a:gd name="connsiteX8" fmla="*/ 6069 w 108940"/>
                <a:gd name="connsiteY8" fmla="*/ 136774 h 136774"/>
                <a:gd name="connsiteX9" fmla="*/ 5145 w 108940"/>
                <a:gd name="connsiteY9" fmla="*/ 136444 h 136774"/>
                <a:gd name="connsiteX10" fmla="*/ 4897 w 108940"/>
                <a:gd name="connsiteY10" fmla="*/ 136187 h 136774"/>
                <a:gd name="connsiteX11" fmla="*/ 3785 w 108940"/>
                <a:gd name="connsiteY11" fmla="*/ 134769 h 136774"/>
                <a:gd name="connsiteX12" fmla="*/ 3495 w 108940"/>
                <a:gd name="connsiteY12" fmla="*/ 134041 h 136774"/>
                <a:gd name="connsiteX13" fmla="*/ 4243 w 108940"/>
                <a:gd name="connsiteY13" fmla="*/ 132654 h 136774"/>
                <a:gd name="connsiteX14" fmla="*/ 7300 w 108940"/>
                <a:gd name="connsiteY14" fmla="*/ 130368 h 136774"/>
                <a:gd name="connsiteX15" fmla="*/ 15213 w 108940"/>
                <a:gd name="connsiteY15" fmla="*/ 128165 h 136774"/>
                <a:gd name="connsiteX16" fmla="*/ 15311 w 108940"/>
                <a:gd name="connsiteY16" fmla="*/ 107122 h 136774"/>
                <a:gd name="connsiteX17" fmla="*/ 16484 w 108940"/>
                <a:gd name="connsiteY17" fmla="*/ 108416 h 136774"/>
                <a:gd name="connsiteX18" fmla="*/ 16857 w 108940"/>
                <a:gd name="connsiteY18" fmla="*/ 109600 h 136774"/>
                <a:gd name="connsiteX19" fmla="*/ 15070 w 108940"/>
                <a:gd name="connsiteY19" fmla="*/ 109377 h 136774"/>
                <a:gd name="connsiteX20" fmla="*/ 14120 w 108940"/>
                <a:gd name="connsiteY20" fmla="*/ 108238 h 136774"/>
                <a:gd name="connsiteX21" fmla="*/ 14247 w 108940"/>
                <a:gd name="connsiteY21" fmla="*/ 107260 h 136774"/>
                <a:gd name="connsiteX22" fmla="*/ 5305 w 108940"/>
                <a:gd name="connsiteY22" fmla="*/ 102945 h 136774"/>
                <a:gd name="connsiteX23" fmla="*/ 7436 w 108940"/>
                <a:gd name="connsiteY23" fmla="*/ 103404 h 136774"/>
                <a:gd name="connsiteX24" fmla="*/ 8233 w 108940"/>
                <a:gd name="connsiteY24" fmla="*/ 104576 h 136774"/>
                <a:gd name="connsiteX25" fmla="*/ 7250 w 108940"/>
                <a:gd name="connsiteY25" fmla="*/ 106361 h 136774"/>
                <a:gd name="connsiteX26" fmla="*/ 5000 w 108940"/>
                <a:gd name="connsiteY26" fmla="*/ 107755 h 136774"/>
                <a:gd name="connsiteX27" fmla="*/ 3586 w 108940"/>
                <a:gd name="connsiteY27" fmla="*/ 108137 h 136774"/>
                <a:gd name="connsiteX28" fmla="*/ 2792 w 108940"/>
                <a:gd name="connsiteY28" fmla="*/ 107278 h 136774"/>
                <a:gd name="connsiteX29" fmla="*/ 2234 w 108940"/>
                <a:gd name="connsiteY29" fmla="*/ 107051 h 136774"/>
                <a:gd name="connsiteX30" fmla="*/ 2549 w 108940"/>
                <a:gd name="connsiteY30" fmla="*/ 105924 h 136774"/>
                <a:gd name="connsiteX31" fmla="*/ 4853 w 108940"/>
                <a:gd name="connsiteY31" fmla="*/ 103709 h 136774"/>
                <a:gd name="connsiteX32" fmla="*/ 39350 w 108940"/>
                <a:gd name="connsiteY32" fmla="*/ 99978 h 136774"/>
                <a:gd name="connsiteX33" fmla="*/ 39613 w 108940"/>
                <a:gd name="connsiteY33" fmla="*/ 101654 h 136774"/>
                <a:gd name="connsiteX34" fmla="*/ 39365 w 108940"/>
                <a:gd name="connsiteY34" fmla="*/ 102426 h 136774"/>
                <a:gd name="connsiteX35" fmla="*/ 38248 w 108940"/>
                <a:gd name="connsiteY35" fmla="*/ 101257 h 136774"/>
                <a:gd name="connsiteX36" fmla="*/ 1567 w 108940"/>
                <a:gd name="connsiteY36" fmla="*/ 94158 h 136774"/>
                <a:gd name="connsiteX37" fmla="*/ 3560 w 108940"/>
                <a:gd name="connsiteY37" fmla="*/ 96289 h 136774"/>
                <a:gd name="connsiteX38" fmla="*/ 3636 w 108940"/>
                <a:gd name="connsiteY38" fmla="*/ 98753 h 136774"/>
                <a:gd name="connsiteX39" fmla="*/ 3344 w 108940"/>
                <a:gd name="connsiteY39" fmla="*/ 99357 h 136774"/>
                <a:gd name="connsiteX40" fmla="*/ 2381 w 108940"/>
                <a:gd name="connsiteY40" fmla="*/ 99176 h 136774"/>
                <a:gd name="connsiteX41" fmla="*/ 1394 w 108940"/>
                <a:gd name="connsiteY41" fmla="*/ 97455 h 136774"/>
                <a:gd name="connsiteX42" fmla="*/ 984 w 108940"/>
                <a:gd name="connsiteY42" fmla="*/ 96092 h 136774"/>
                <a:gd name="connsiteX43" fmla="*/ 0 w 108940"/>
                <a:gd name="connsiteY43" fmla="*/ 95344 h 136774"/>
                <a:gd name="connsiteX44" fmla="*/ 42187 w 108940"/>
                <a:gd name="connsiteY44" fmla="*/ 94004 h 136774"/>
                <a:gd name="connsiteX45" fmla="*/ 43297 w 108940"/>
                <a:gd name="connsiteY45" fmla="*/ 94704 h 136774"/>
                <a:gd name="connsiteX46" fmla="*/ 44897 w 108940"/>
                <a:gd name="connsiteY46" fmla="*/ 95065 h 136774"/>
                <a:gd name="connsiteX47" fmla="*/ 45513 w 108940"/>
                <a:gd name="connsiteY47" fmla="*/ 96885 h 136774"/>
                <a:gd name="connsiteX48" fmla="*/ 45267 w 108940"/>
                <a:gd name="connsiteY48" fmla="*/ 99330 h 136774"/>
                <a:gd name="connsiteX49" fmla="*/ 43703 w 108940"/>
                <a:gd name="connsiteY49" fmla="*/ 99451 h 136774"/>
                <a:gd name="connsiteX50" fmla="*/ 42770 w 108940"/>
                <a:gd name="connsiteY50" fmla="*/ 97875 h 136774"/>
                <a:gd name="connsiteX51" fmla="*/ 41777 w 108940"/>
                <a:gd name="connsiteY51" fmla="*/ 98644 h 136774"/>
                <a:gd name="connsiteX52" fmla="*/ 41258 w 108940"/>
                <a:gd name="connsiteY52" fmla="*/ 98657 h 136774"/>
                <a:gd name="connsiteX53" fmla="*/ 40481 w 108940"/>
                <a:gd name="connsiteY53" fmla="*/ 96698 h 136774"/>
                <a:gd name="connsiteX54" fmla="*/ 40347 w 108940"/>
                <a:gd name="connsiteY54" fmla="*/ 95168 h 136774"/>
                <a:gd name="connsiteX55" fmla="*/ 60019 w 108940"/>
                <a:gd name="connsiteY55" fmla="*/ 91686 h 136774"/>
                <a:gd name="connsiteX56" fmla="*/ 60442 w 108940"/>
                <a:gd name="connsiteY56" fmla="*/ 97068 h 136774"/>
                <a:gd name="connsiteX57" fmla="*/ 58356 w 108940"/>
                <a:gd name="connsiteY57" fmla="*/ 98610 h 136774"/>
                <a:gd name="connsiteX58" fmla="*/ 55545 w 108940"/>
                <a:gd name="connsiteY58" fmla="*/ 96542 h 136774"/>
                <a:gd name="connsiteX59" fmla="*/ 54876 w 108940"/>
                <a:gd name="connsiteY59" fmla="*/ 95399 h 136774"/>
                <a:gd name="connsiteX60" fmla="*/ 57013 w 108940"/>
                <a:gd name="connsiteY60" fmla="*/ 93722 h 136774"/>
                <a:gd name="connsiteX61" fmla="*/ 58827 w 108940"/>
                <a:gd name="connsiteY61" fmla="*/ 91806 h 136774"/>
                <a:gd name="connsiteX62" fmla="*/ 6877 w 108940"/>
                <a:gd name="connsiteY62" fmla="*/ 51395 h 136774"/>
                <a:gd name="connsiteX63" fmla="*/ 8382 w 108940"/>
                <a:gd name="connsiteY63" fmla="*/ 52445 h 136774"/>
                <a:gd name="connsiteX64" fmla="*/ 9066 w 108940"/>
                <a:gd name="connsiteY64" fmla="*/ 54436 h 136774"/>
                <a:gd name="connsiteX65" fmla="*/ 8762 w 108940"/>
                <a:gd name="connsiteY65" fmla="*/ 56074 h 136774"/>
                <a:gd name="connsiteX66" fmla="*/ 7296 w 108940"/>
                <a:gd name="connsiteY66" fmla="*/ 54993 h 136774"/>
                <a:gd name="connsiteX67" fmla="*/ 108264 w 108940"/>
                <a:gd name="connsiteY67" fmla="*/ 27445 h 136774"/>
                <a:gd name="connsiteX68" fmla="*/ 108940 w 108940"/>
                <a:gd name="connsiteY68" fmla="*/ 28057 h 136774"/>
                <a:gd name="connsiteX69" fmla="*/ 108536 w 108940"/>
                <a:gd name="connsiteY69" fmla="*/ 29366 h 136774"/>
                <a:gd name="connsiteX70" fmla="*/ 107532 w 108940"/>
                <a:gd name="connsiteY70" fmla="*/ 30125 h 136774"/>
                <a:gd name="connsiteX71" fmla="*/ 106343 w 108940"/>
                <a:gd name="connsiteY71" fmla="*/ 29366 h 136774"/>
                <a:gd name="connsiteX72" fmla="*/ 106198 w 108940"/>
                <a:gd name="connsiteY72" fmla="*/ 28563 h 136774"/>
                <a:gd name="connsiteX73" fmla="*/ 106819 w 108940"/>
                <a:gd name="connsiteY73" fmla="*/ 27866 h 136774"/>
                <a:gd name="connsiteX74" fmla="*/ 8935 w 108940"/>
                <a:gd name="connsiteY74" fmla="*/ 20567 h 136774"/>
                <a:gd name="connsiteX75" fmla="*/ 10747 w 108940"/>
                <a:gd name="connsiteY75" fmla="*/ 21593 h 136774"/>
                <a:gd name="connsiteX76" fmla="*/ 11347 w 108940"/>
                <a:gd name="connsiteY76" fmla="*/ 22764 h 136774"/>
                <a:gd name="connsiteX77" fmla="*/ 11243 w 108940"/>
                <a:gd name="connsiteY77" fmla="*/ 26142 h 136774"/>
                <a:gd name="connsiteX78" fmla="*/ 10023 w 108940"/>
                <a:gd name="connsiteY78" fmla="*/ 25997 h 136774"/>
                <a:gd name="connsiteX79" fmla="*/ 9194 w 108940"/>
                <a:gd name="connsiteY79" fmla="*/ 25658 h 136774"/>
                <a:gd name="connsiteX80" fmla="*/ 8838 w 108940"/>
                <a:gd name="connsiteY80" fmla="*/ 24999 h 136774"/>
                <a:gd name="connsiteX81" fmla="*/ 8000 w 108940"/>
                <a:gd name="connsiteY81" fmla="*/ 21863 h 136774"/>
                <a:gd name="connsiteX82" fmla="*/ 52341 w 108940"/>
                <a:gd name="connsiteY82" fmla="*/ 0 h 136774"/>
                <a:gd name="connsiteX83" fmla="*/ 57742 w 108940"/>
                <a:gd name="connsiteY83" fmla="*/ 11507 h 136774"/>
                <a:gd name="connsiteX84" fmla="*/ 62907 w 108940"/>
                <a:gd name="connsiteY84" fmla="*/ 18918 h 136774"/>
                <a:gd name="connsiteX85" fmla="*/ 67309 w 108940"/>
                <a:gd name="connsiteY85" fmla="*/ 24277 h 136774"/>
                <a:gd name="connsiteX86" fmla="*/ 73580 w 108940"/>
                <a:gd name="connsiteY86" fmla="*/ 34567 h 136774"/>
                <a:gd name="connsiteX87" fmla="*/ 75418 w 108940"/>
                <a:gd name="connsiteY87" fmla="*/ 40055 h 136774"/>
                <a:gd name="connsiteX88" fmla="*/ 75593 w 108940"/>
                <a:gd name="connsiteY88" fmla="*/ 43450 h 136774"/>
                <a:gd name="connsiteX89" fmla="*/ 76638 w 108940"/>
                <a:gd name="connsiteY89" fmla="*/ 48114 h 136774"/>
                <a:gd name="connsiteX90" fmla="*/ 75744 w 108940"/>
                <a:gd name="connsiteY90" fmla="*/ 50785 h 136774"/>
                <a:gd name="connsiteX91" fmla="*/ 76010 w 108940"/>
                <a:gd name="connsiteY91" fmla="*/ 54990 h 136774"/>
                <a:gd name="connsiteX92" fmla="*/ 75614 w 108940"/>
                <a:gd name="connsiteY92" fmla="*/ 57147 h 136774"/>
                <a:gd name="connsiteX93" fmla="*/ 74850 w 108940"/>
                <a:gd name="connsiteY93" fmla="*/ 58736 h 136774"/>
                <a:gd name="connsiteX94" fmla="*/ 74822 w 108940"/>
                <a:gd name="connsiteY94" fmla="*/ 61784 h 136774"/>
                <a:gd name="connsiteX95" fmla="*/ 75068 w 108940"/>
                <a:gd name="connsiteY95" fmla="*/ 63414 h 136774"/>
                <a:gd name="connsiteX96" fmla="*/ 75092 w 108940"/>
                <a:gd name="connsiteY96" fmla="*/ 65573 h 136774"/>
                <a:gd name="connsiteX97" fmla="*/ 75584 w 108940"/>
                <a:gd name="connsiteY97" fmla="*/ 66414 h 136774"/>
                <a:gd name="connsiteX98" fmla="*/ 76303 w 108940"/>
                <a:gd name="connsiteY98" fmla="*/ 66726 h 136774"/>
                <a:gd name="connsiteX99" fmla="*/ 77441 w 108940"/>
                <a:gd name="connsiteY99" fmla="*/ 65940 h 136774"/>
                <a:gd name="connsiteX100" fmla="*/ 78836 w 108940"/>
                <a:gd name="connsiteY100" fmla="*/ 65613 h 136774"/>
                <a:gd name="connsiteX101" fmla="*/ 78590 w 108940"/>
                <a:gd name="connsiteY101" fmla="*/ 68209 h 136774"/>
                <a:gd name="connsiteX102" fmla="*/ 76903 w 108940"/>
                <a:gd name="connsiteY102" fmla="*/ 74767 h 136774"/>
                <a:gd name="connsiteX103" fmla="*/ 75438 w 108940"/>
                <a:gd name="connsiteY103" fmla="*/ 79535 h 136774"/>
                <a:gd name="connsiteX104" fmla="*/ 73444 w 108940"/>
                <a:gd name="connsiteY104" fmla="*/ 83683 h 136774"/>
                <a:gd name="connsiteX105" fmla="*/ 70904 w 108940"/>
                <a:gd name="connsiteY105" fmla="*/ 87470 h 136774"/>
                <a:gd name="connsiteX106" fmla="*/ 67867 w 108940"/>
                <a:gd name="connsiteY106" fmla="*/ 88952 h 136774"/>
                <a:gd name="connsiteX107" fmla="*/ 65729 w 108940"/>
                <a:gd name="connsiteY107" fmla="*/ 89483 h 136774"/>
                <a:gd name="connsiteX108" fmla="*/ 61652 w 108940"/>
                <a:gd name="connsiteY108" fmla="*/ 89674 h 136774"/>
                <a:gd name="connsiteX109" fmla="*/ 58266 w 108940"/>
                <a:gd name="connsiteY109" fmla="*/ 89030 h 136774"/>
                <a:gd name="connsiteX110" fmla="*/ 55355 w 108940"/>
                <a:gd name="connsiteY110" fmla="*/ 89497 h 136774"/>
                <a:gd name="connsiteX111" fmla="*/ 54187 w 108940"/>
                <a:gd name="connsiteY111" fmla="*/ 90287 h 136774"/>
                <a:gd name="connsiteX112" fmla="*/ 53319 w 108940"/>
                <a:gd name="connsiteY112" fmla="*/ 91634 h 136774"/>
                <a:gd name="connsiteX113" fmla="*/ 53956 w 108940"/>
                <a:gd name="connsiteY113" fmla="*/ 93727 h 136774"/>
                <a:gd name="connsiteX114" fmla="*/ 53874 w 108940"/>
                <a:gd name="connsiteY114" fmla="*/ 95271 h 136774"/>
                <a:gd name="connsiteX115" fmla="*/ 52630 w 108940"/>
                <a:gd name="connsiteY115" fmla="*/ 95153 h 136774"/>
                <a:gd name="connsiteX116" fmla="*/ 50159 w 108940"/>
                <a:gd name="connsiteY116" fmla="*/ 94255 h 136774"/>
                <a:gd name="connsiteX117" fmla="*/ 47426 w 108940"/>
                <a:gd name="connsiteY117" fmla="*/ 94133 h 136774"/>
                <a:gd name="connsiteX118" fmla="*/ 46147 w 108940"/>
                <a:gd name="connsiteY118" fmla="*/ 93689 h 136774"/>
                <a:gd name="connsiteX119" fmla="*/ 44858 w 108940"/>
                <a:gd name="connsiteY119" fmla="*/ 91476 h 136774"/>
                <a:gd name="connsiteX120" fmla="*/ 43543 w 108940"/>
                <a:gd name="connsiteY120" fmla="*/ 91558 h 136774"/>
                <a:gd name="connsiteX121" fmla="*/ 41254 w 108940"/>
                <a:gd name="connsiteY121" fmla="*/ 92870 h 136774"/>
                <a:gd name="connsiteX122" fmla="*/ 37751 w 108940"/>
                <a:gd name="connsiteY122" fmla="*/ 93161 h 136774"/>
                <a:gd name="connsiteX123" fmla="*/ 36519 w 108940"/>
                <a:gd name="connsiteY123" fmla="*/ 93870 h 136774"/>
                <a:gd name="connsiteX124" fmla="*/ 36083 w 108940"/>
                <a:gd name="connsiteY124" fmla="*/ 94788 h 136774"/>
                <a:gd name="connsiteX125" fmla="*/ 36594 w 108940"/>
                <a:gd name="connsiteY125" fmla="*/ 95946 h 136774"/>
                <a:gd name="connsiteX126" fmla="*/ 38356 w 108940"/>
                <a:gd name="connsiteY126" fmla="*/ 97467 h 136774"/>
                <a:gd name="connsiteX127" fmla="*/ 37765 w 108940"/>
                <a:gd name="connsiteY127" fmla="*/ 99005 h 136774"/>
                <a:gd name="connsiteX128" fmla="*/ 35929 w 108940"/>
                <a:gd name="connsiteY128" fmla="*/ 99775 h 136774"/>
                <a:gd name="connsiteX129" fmla="*/ 34448 w 108940"/>
                <a:gd name="connsiteY129" fmla="*/ 97884 h 136774"/>
                <a:gd name="connsiteX130" fmla="*/ 33524 w 108940"/>
                <a:gd name="connsiteY130" fmla="*/ 96029 h 136774"/>
                <a:gd name="connsiteX131" fmla="*/ 32491 w 108940"/>
                <a:gd name="connsiteY131" fmla="*/ 95924 h 136774"/>
                <a:gd name="connsiteX132" fmla="*/ 30885 w 108940"/>
                <a:gd name="connsiteY132" fmla="*/ 96454 h 136774"/>
                <a:gd name="connsiteX133" fmla="*/ 30561 w 108940"/>
                <a:gd name="connsiteY133" fmla="*/ 98456 h 136774"/>
                <a:gd name="connsiteX134" fmla="*/ 31308 w 108940"/>
                <a:gd name="connsiteY134" fmla="*/ 99819 h 136774"/>
                <a:gd name="connsiteX135" fmla="*/ 32539 w 108940"/>
                <a:gd name="connsiteY135" fmla="*/ 101399 h 136774"/>
                <a:gd name="connsiteX136" fmla="*/ 30815 w 108940"/>
                <a:gd name="connsiteY136" fmla="*/ 103214 h 136774"/>
                <a:gd name="connsiteX137" fmla="*/ 30360 w 108940"/>
                <a:gd name="connsiteY137" fmla="*/ 104509 h 136774"/>
                <a:gd name="connsiteX138" fmla="*/ 29123 w 108940"/>
                <a:gd name="connsiteY138" fmla="*/ 105441 h 136774"/>
                <a:gd name="connsiteX139" fmla="*/ 25780 w 108940"/>
                <a:gd name="connsiteY139" fmla="*/ 103374 h 136774"/>
                <a:gd name="connsiteX140" fmla="*/ 26255 w 108940"/>
                <a:gd name="connsiteY140" fmla="*/ 101903 h 136774"/>
                <a:gd name="connsiteX141" fmla="*/ 27706 w 108940"/>
                <a:gd name="connsiteY141" fmla="*/ 100489 h 136774"/>
                <a:gd name="connsiteX142" fmla="*/ 27885 w 108940"/>
                <a:gd name="connsiteY142" fmla="*/ 99022 h 136774"/>
                <a:gd name="connsiteX143" fmla="*/ 27408 w 108940"/>
                <a:gd name="connsiteY143" fmla="*/ 98153 h 136774"/>
                <a:gd name="connsiteX144" fmla="*/ 22625 w 108940"/>
                <a:gd name="connsiteY144" fmla="*/ 101857 h 136774"/>
                <a:gd name="connsiteX145" fmla="*/ 19677 w 108940"/>
                <a:gd name="connsiteY145" fmla="*/ 106050 h 136774"/>
                <a:gd name="connsiteX146" fmla="*/ 18104 w 108940"/>
                <a:gd name="connsiteY146" fmla="*/ 105746 h 136774"/>
                <a:gd name="connsiteX147" fmla="*/ 17445 w 108940"/>
                <a:gd name="connsiteY147" fmla="*/ 104668 h 136774"/>
                <a:gd name="connsiteX148" fmla="*/ 16523 w 108940"/>
                <a:gd name="connsiteY148" fmla="*/ 104229 h 136774"/>
                <a:gd name="connsiteX149" fmla="*/ 13340 w 108940"/>
                <a:gd name="connsiteY149" fmla="*/ 106932 h 136774"/>
                <a:gd name="connsiteX150" fmla="*/ 12755 w 108940"/>
                <a:gd name="connsiteY150" fmla="*/ 109075 h 136774"/>
                <a:gd name="connsiteX151" fmla="*/ 11585 w 108940"/>
                <a:gd name="connsiteY151" fmla="*/ 109157 h 136774"/>
                <a:gd name="connsiteX152" fmla="*/ 11072 w 108940"/>
                <a:gd name="connsiteY152" fmla="*/ 108250 h 136774"/>
                <a:gd name="connsiteX153" fmla="*/ 11031 w 108940"/>
                <a:gd name="connsiteY153" fmla="*/ 106312 h 136774"/>
                <a:gd name="connsiteX154" fmla="*/ 10485 w 108940"/>
                <a:gd name="connsiteY154" fmla="*/ 104676 h 136774"/>
                <a:gd name="connsiteX155" fmla="*/ 7187 w 108940"/>
                <a:gd name="connsiteY155" fmla="*/ 102287 h 136774"/>
                <a:gd name="connsiteX156" fmla="*/ 5681 w 108940"/>
                <a:gd name="connsiteY156" fmla="*/ 100200 h 136774"/>
                <a:gd name="connsiteX157" fmla="*/ 6491 w 108940"/>
                <a:gd name="connsiteY157" fmla="*/ 99032 h 136774"/>
                <a:gd name="connsiteX158" fmla="*/ 9244 w 108940"/>
                <a:gd name="connsiteY158" fmla="*/ 99667 h 136774"/>
                <a:gd name="connsiteX159" fmla="*/ 11431 w 108940"/>
                <a:gd name="connsiteY159" fmla="*/ 99584 h 136774"/>
                <a:gd name="connsiteX160" fmla="*/ 10999 w 108940"/>
                <a:gd name="connsiteY160" fmla="*/ 98593 h 136774"/>
                <a:gd name="connsiteX161" fmla="*/ 10289 w 108940"/>
                <a:gd name="connsiteY161" fmla="*/ 98123 h 136774"/>
                <a:gd name="connsiteX162" fmla="*/ 11742 w 108940"/>
                <a:gd name="connsiteY162" fmla="*/ 97565 h 136774"/>
                <a:gd name="connsiteX163" fmla="*/ 12954 w 108940"/>
                <a:gd name="connsiteY163" fmla="*/ 96422 h 136774"/>
                <a:gd name="connsiteX164" fmla="*/ 11949 w 108940"/>
                <a:gd name="connsiteY164" fmla="*/ 96112 h 136774"/>
                <a:gd name="connsiteX165" fmla="*/ 10414 w 108940"/>
                <a:gd name="connsiteY165" fmla="*/ 96773 h 136774"/>
                <a:gd name="connsiteX166" fmla="*/ 9135 w 108940"/>
                <a:gd name="connsiteY166" fmla="*/ 96447 h 136774"/>
                <a:gd name="connsiteX167" fmla="*/ 8630 w 108940"/>
                <a:gd name="connsiteY167" fmla="*/ 93709 h 136774"/>
                <a:gd name="connsiteX168" fmla="*/ 7074 w 108940"/>
                <a:gd name="connsiteY168" fmla="*/ 90897 h 136774"/>
                <a:gd name="connsiteX169" fmla="*/ 6270 w 108940"/>
                <a:gd name="connsiteY169" fmla="*/ 88164 h 136774"/>
                <a:gd name="connsiteX170" fmla="*/ 7805 w 108940"/>
                <a:gd name="connsiteY170" fmla="*/ 86590 h 136774"/>
                <a:gd name="connsiteX171" fmla="*/ 8587 w 108940"/>
                <a:gd name="connsiteY171" fmla="*/ 84143 h 136774"/>
                <a:gd name="connsiteX172" fmla="*/ 10014 w 108940"/>
                <a:gd name="connsiteY172" fmla="*/ 80597 h 136774"/>
                <a:gd name="connsiteX173" fmla="*/ 10729 w 108940"/>
                <a:gd name="connsiteY173" fmla="*/ 79449 h 136774"/>
                <a:gd name="connsiteX174" fmla="*/ 12707 w 108940"/>
                <a:gd name="connsiteY174" fmla="*/ 78615 h 136774"/>
                <a:gd name="connsiteX175" fmla="*/ 13411 w 108940"/>
                <a:gd name="connsiteY175" fmla="*/ 77696 h 136774"/>
                <a:gd name="connsiteX176" fmla="*/ 12325 w 108940"/>
                <a:gd name="connsiteY176" fmla="*/ 77225 h 136774"/>
                <a:gd name="connsiteX177" fmla="*/ 10591 w 108940"/>
                <a:gd name="connsiteY177" fmla="*/ 76807 h 136774"/>
                <a:gd name="connsiteX178" fmla="*/ 10635 w 108940"/>
                <a:gd name="connsiteY178" fmla="*/ 75782 h 136774"/>
                <a:gd name="connsiteX179" fmla="*/ 11815 w 108940"/>
                <a:gd name="connsiteY179" fmla="*/ 75222 h 136774"/>
                <a:gd name="connsiteX180" fmla="*/ 13134 w 108940"/>
                <a:gd name="connsiteY180" fmla="*/ 74092 h 136774"/>
                <a:gd name="connsiteX181" fmla="*/ 15695 w 108940"/>
                <a:gd name="connsiteY181" fmla="*/ 72716 h 136774"/>
                <a:gd name="connsiteX182" fmla="*/ 16484 w 108940"/>
                <a:gd name="connsiteY182" fmla="*/ 70118 h 136774"/>
                <a:gd name="connsiteX183" fmla="*/ 15745 w 108940"/>
                <a:gd name="connsiteY183" fmla="*/ 69464 h 136774"/>
                <a:gd name="connsiteX184" fmla="*/ 14150 w 108940"/>
                <a:gd name="connsiteY184" fmla="*/ 68846 h 136774"/>
                <a:gd name="connsiteX185" fmla="*/ 14508 w 108940"/>
                <a:gd name="connsiteY185" fmla="*/ 67532 h 136774"/>
                <a:gd name="connsiteX186" fmla="*/ 15167 w 108940"/>
                <a:gd name="connsiteY186" fmla="*/ 66531 h 136774"/>
                <a:gd name="connsiteX187" fmla="*/ 14921 w 108940"/>
                <a:gd name="connsiteY187" fmla="*/ 65931 h 136774"/>
                <a:gd name="connsiteX188" fmla="*/ 13035 w 108940"/>
                <a:gd name="connsiteY188" fmla="*/ 64237 h 136774"/>
                <a:gd name="connsiteX189" fmla="*/ 11783 w 108940"/>
                <a:gd name="connsiteY189" fmla="*/ 62693 h 136774"/>
                <a:gd name="connsiteX190" fmla="*/ 12155 w 108940"/>
                <a:gd name="connsiteY190" fmla="*/ 60932 h 136774"/>
                <a:gd name="connsiteX191" fmla="*/ 11867 w 108940"/>
                <a:gd name="connsiteY191" fmla="*/ 58268 h 136774"/>
                <a:gd name="connsiteX192" fmla="*/ 12038 w 108940"/>
                <a:gd name="connsiteY192" fmla="*/ 56028 h 136774"/>
                <a:gd name="connsiteX193" fmla="*/ 11955 w 108940"/>
                <a:gd name="connsiteY193" fmla="*/ 54814 h 136774"/>
                <a:gd name="connsiteX194" fmla="*/ 11035 w 108940"/>
                <a:gd name="connsiteY194" fmla="*/ 52078 h 136774"/>
                <a:gd name="connsiteX195" fmla="*/ 10617 w 108940"/>
                <a:gd name="connsiteY195" fmla="*/ 49335 h 136774"/>
                <a:gd name="connsiteX196" fmla="*/ 9407 w 108940"/>
                <a:gd name="connsiteY196" fmla="*/ 49735 h 136774"/>
                <a:gd name="connsiteX197" fmla="*/ 8429 w 108940"/>
                <a:gd name="connsiteY197" fmla="*/ 50416 h 136774"/>
                <a:gd name="connsiteX198" fmla="*/ 4933 w 108940"/>
                <a:gd name="connsiteY198" fmla="*/ 49450 h 136774"/>
                <a:gd name="connsiteX199" fmla="*/ 3832 w 108940"/>
                <a:gd name="connsiteY199" fmla="*/ 49391 h 136774"/>
                <a:gd name="connsiteX200" fmla="*/ 3383 w 108940"/>
                <a:gd name="connsiteY200" fmla="*/ 47352 h 136774"/>
                <a:gd name="connsiteX201" fmla="*/ 4636 w 108940"/>
                <a:gd name="connsiteY201" fmla="*/ 44837 h 136774"/>
                <a:gd name="connsiteX202" fmla="*/ 7607 w 108940"/>
                <a:gd name="connsiteY202" fmla="*/ 42620 h 136774"/>
                <a:gd name="connsiteX203" fmla="*/ 9313 w 108940"/>
                <a:gd name="connsiteY203" fmla="*/ 42344 h 136774"/>
                <a:gd name="connsiteX204" fmla="*/ 10602 w 108940"/>
                <a:gd name="connsiteY204" fmla="*/ 41367 h 136774"/>
                <a:gd name="connsiteX205" fmla="*/ 12608 w 108940"/>
                <a:gd name="connsiteY205" fmla="*/ 41059 h 136774"/>
                <a:gd name="connsiteX206" fmla="*/ 15018 w 108940"/>
                <a:gd name="connsiteY206" fmla="*/ 42565 h 136774"/>
                <a:gd name="connsiteX207" fmla="*/ 17179 w 108940"/>
                <a:gd name="connsiteY207" fmla="*/ 42868 h 136774"/>
                <a:gd name="connsiteX208" fmla="*/ 18380 w 108940"/>
                <a:gd name="connsiteY208" fmla="*/ 45469 h 136774"/>
                <a:gd name="connsiteX209" fmla="*/ 19116 w 108940"/>
                <a:gd name="connsiteY209" fmla="*/ 46018 h 136774"/>
                <a:gd name="connsiteX210" fmla="*/ 19272 w 108940"/>
                <a:gd name="connsiteY210" fmla="*/ 45063 h 136774"/>
                <a:gd name="connsiteX211" fmla="*/ 21017 w 108940"/>
                <a:gd name="connsiteY211" fmla="*/ 43943 h 136774"/>
                <a:gd name="connsiteX212" fmla="*/ 21433 w 108940"/>
                <a:gd name="connsiteY212" fmla="*/ 43098 h 136774"/>
                <a:gd name="connsiteX213" fmla="*/ 21056 w 108940"/>
                <a:gd name="connsiteY213" fmla="*/ 42635 h 136774"/>
                <a:gd name="connsiteX214" fmla="*/ 19047 w 108940"/>
                <a:gd name="connsiteY214" fmla="*/ 42174 h 136774"/>
                <a:gd name="connsiteX215" fmla="*/ 17244 w 108940"/>
                <a:gd name="connsiteY215" fmla="*/ 38944 h 136774"/>
                <a:gd name="connsiteX216" fmla="*/ 16994 w 108940"/>
                <a:gd name="connsiteY216" fmla="*/ 37531 h 136774"/>
                <a:gd name="connsiteX217" fmla="*/ 16337 w 108940"/>
                <a:gd name="connsiteY217" fmla="*/ 36631 h 136774"/>
                <a:gd name="connsiteX218" fmla="*/ 17313 w 108940"/>
                <a:gd name="connsiteY218" fmla="*/ 34048 h 136774"/>
                <a:gd name="connsiteX219" fmla="*/ 15227 w 108940"/>
                <a:gd name="connsiteY219" fmla="*/ 31096 h 136774"/>
                <a:gd name="connsiteX220" fmla="*/ 14212 w 108940"/>
                <a:gd name="connsiteY220" fmla="*/ 30166 h 136774"/>
                <a:gd name="connsiteX221" fmla="*/ 14357 w 108940"/>
                <a:gd name="connsiteY221" fmla="*/ 27509 h 136774"/>
                <a:gd name="connsiteX222" fmla="*/ 13268 w 108940"/>
                <a:gd name="connsiteY222" fmla="*/ 25816 h 136774"/>
                <a:gd name="connsiteX223" fmla="*/ 12662 w 108940"/>
                <a:gd name="connsiteY223" fmla="*/ 24888 h 136774"/>
                <a:gd name="connsiteX224" fmla="*/ 12290 w 108940"/>
                <a:gd name="connsiteY224" fmla="*/ 23284 h 136774"/>
                <a:gd name="connsiteX225" fmla="*/ 12608 w 108940"/>
                <a:gd name="connsiteY225" fmla="*/ 22562 h 136774"/>
                <a:gd name="connsiteX226" fmla="*/ 13558 w 108940"/>
                <a:gd name="connsiteY226" fmla="*/ 22287 h 136774"/>
                <a:gd name="connsiteX227" fmla="*/ 13850 w 108940"/>
                <a:gd name="connsiteY227" fmla="*/ 21612 h 136774"/>
                <a:gd name="connsiteX228" fmla="*/ 14527 w 108940"/>
                <a:gd name="connsiteY228" fmla="*/ 21128 h 136774"/>
                <a:gd name="connsiteX229" fmla="*/ 14571 w 108940"/>
                <a:gd name="connsiteY229" fmla="*/ 20432 h 136774"/>
                <a:gd name="connsiteX230" fmla="*/ 14577 w 108940"/>
                <a:gd name="connsiteY230" fmla="*/ 18146 h 136774"/>
                <a:gd name="connsiteX231" fmla="*/ 16512 w 108940"/>
                <a:gd name="connsiteY231" fmla="*/ 16563 h 136774"/>
                <a:gd name="connsiteX232" fmla="*/ 19267 w 108940"/>
                <a:gd name="connsiteY232" fmla="*/ 13304 h 136774"/>
                <a:gd name="connsiteX233" fmla="*/ 20619 w 108940"/>
                <a:gd name="connsiteY233" fmla="*/ 11519 h 136774"/>
                <a:gd name="connsiteX234" fmla="*/ 22159 w 108940"/>
                <a:gd name="connsiteY234" fmla="*/ 9851 h 136774"/>
                <a:gd name="connsiteX235" fmla="*/ 23942 w 108940"/>
                <a:gd name="connsiteY235" fmla="*/ 8738 h 136774"/>
                <a:gd name="connsiteX236" fmla="*/ 25694 w 108940"/>
                <a:gd name="connsiteY236" fmla="*/ 8207 h 136774"/>
                <a:gd name="connsiteX237" fmla="*/ 28447 w 108940"/>
                <a:gd name="connsiteY237" fmla="*/ 7982 h 136774"/>
                <a:gd name="connsiteX238" fmla="*/ 33725 w 108940"/>
                <a:gd name="connsiteY238" fmla="*/ 8195 h 136774"/>
                <a:gd name="connsiteX239" fmla="*/ 34759 w 108940"/>
                <a:gd name="connsiteY239" fmla="*/ 8002 h 136774"/>
                <a:gd name="connsiteX240" fmla="*/ 38430 w 108940"/>
                <a:gd name="connsiteY240" fmla="*/ 7829 h 136774"/>
                <a:gd name="connsiteX241" fmla="*/ 39296 w 108940"/>
                <a:gd name="connsiteY241" fmla="*/ 8125 h 136774"/>
                <a:gd name="connsiteX242" fmla="*/ 41963 w 108940"/>
                <a:gd name="connsiteY242" fmla="*/ 8312 h 136774"/>
                <a:gd name="connsiteX243" fmla="*/ 44919 w 108940"/>
                <a:gd name="connsiteY243" fmla="*/ 8104 h 136774"/>
                <a:gd name="connsiteX244" fmla="*/ 46407 w 108940"/>
                <a:gd name="connsiteY244" fmla="*/ 7621 h 136774"/>
                <a:gd name="connsiteX245" fmla="*/ 47787 w 108940"/>
                <a:gd name="connsiteY245" fmla="*/ 6799 h 136774"/>
                <a:gd name="connsiteX246" fmla="*/ 48991 w 108940"/>
                <a:gd name="connsiteY246" fmla="*/ 5315 h 136774"/>
                <a:gd name="connsiteX247" fmla="*/ 50233 w 108940"/>
                <a:gd name="connsiteY247" fmla="*/ 2567 h 136774"/>
                <a:gd name="connsiteX248" fmla="*/ 51563 w 108940"/>
                <a:gd name="connsiteY248" fmla="*/ 401 h 136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</a:cxnLst>
              <a:rect l="l" t="t" r="r" b="b"/>
              <a:pathLst>
                <a:path w="108940" h="136774">
                  <a:moveTo>
                    <a:pt x="16635" y="128068"/>
                  </a:moveTo>
                  <a:lnTo>
                    <a:pt x="19760" y="129012"/>
                  </a:lnTo>
                  <a:lnTo>
                    <a:pt x="20425" y="130777"/>
                  </a:lnTo>
                  <a:lnTo>
                    <a:pt x="19853" y="132299"/>
                  </a:lnTo>
                  <a:lnTo>
                    <a:pt x="19133" y="133320"/>
                  </a:lnTo>
                  <a:lnTo>
                    <a:pt x="15515" y="135038"/>
                  </a:lnTo>
                  <a:lnTo>
                    <a:pt x="12696" y="135863"/>
                  </a:lnTo>
                  <a:lnTo>
                    <a:pt x="7063" y="136227"/>
                  </a:lnTo>
                  <a:lnTo>
                    <a:pt x="6069" y="136774"/>
                  </a:lnTo>
                  <a:lnTo>
                    <a:pt x="5145" y="136444"/>
                  </a:lnTo>
                  <a:lnTo>
                    <a:pt x="4897" y="136187"/>
                  </a:lnTo>
                  <a:lnTo>
                    <a:pt x="3785" y="134769"/>
                  </a:lnTo>
                  <a:lnTo>
                    <a:pt x="3495" y="134041"/>
                  </a:lnTo>
                  <a:lnTo>
                    <a:pt x="4243" y="132654"/>
                  </a:lnTo>
                  <a:lnTo>
                    <a:pt x="7300" y="130368"/>
                  </a:lnTo>
                  <a:lnTo>
                    <a:pt x="15213" y="128165"/>
                  </a:lnTo>
                  <a:close/>
                  <a:moveTo>
                    <a:pt x="15311" y="107122"/>
                  </a:moveTo>
                  <a:lnTo>
                    <a:pt x="16484" y="108416"/>
                  </a:lnTo>
                  <a:lnTo>
                    <a:pt x="16857" y="109600"/>
                  </a:lnTo>
                  <a:lnTo>
                    <a:pt x="15070" y="109377"/>
                  </a:lnTo>
                  <a:lnTo>
                    <a:pt x="14120" y="108238"/>
                  </a:lnTo>
                  <a:lnTo>
                    <a:pt x="14247" y="107260"/>
                  </a:lnTo>
                  <a:close/>
                  <a:moveTo>
                    <a:pt x="5305" y="102945"/>
                  </a:moveTo>
                  <a:lnTo>
                    <a:pt x="7436" y="103404"/>
                  </a:lnTo>
                  <a:lnTo>
                    <a:pt x="8233" y="104576"/>
                  </a:lnTo>
                  <a:lnTo>
                    <a:pt x="7250" y="106361"/>
                  </a:lnTo>
                  <a:lnTo>
                    <a:pt x="5000" y="107755"/>
                  </a:lnTo>
                  <a:lnTo>
                    <a:pt x="3586" y="108137"/>
                  </a:lnTo>
                  <a:lnTo>
                    <a:pt x="2792" y="107278"/>
                  </a:lnTo>
                  <a:lnTo>
                    <a:pt x="2234" y="107051"/>
                  </a:lnTo>
                  <a:lnTo>
                    <a:pt x="2549" y="105924"/>
                  </a:lnTo>
                  <a:lnTo>
                    <a:pt x="4853" y="103709"/>
                  </a:lnTo>
                  <a:close/>
                  <a:moveTo>
                    <a:pt x="39350" y="99978"/>
                  </a:moveTo>
                  <a:lnTo>
                    <a:pt x="39613" y="101654"/>
                  </a:lnTo>
                  <a:lnTo>
                    <a:pt x="39365" y="102426"/>
                  </a:lnTo>
                  <a:lnTo>
                    <a:pt x="38248" y="101257"/>
                  </a:lnTo>
                  <a:close/>
                  <a:moveTo>
                    <a:pt x="1567" y="94158"/>
                  </a:moveTo>
                  <a:lnTo>
                    <a:pt x="3560" y="96289"/>
                  </a:lnTo>
                  <a:lnTo>
                    <a:pt x="3636" y="98753"/>
                  </a:lnTo>
                  <a:lnTo>
                    <a:pt x="3344" y="99357"/>
                  </a:lnTo>
                  <a:lnTo>
                    <a:pt x="2381" y="99176"/>
                  </a:lnTo>
                  <a:lnTo>
                    <a:pt x="1394" y="97455"/>
                  </a:lnTo>
                  <a:lnTo>
                    <a:pt x="984" y="96092"/>
                  </a:lnTo>
                  <a:lnTo>
                    <a:pt x="0" y="95344"/>
                  </a:lnTo>
                  <a:close/>
                  <a:moveTo>
                    <a:pt x="42187" y="94004"/>
                  </a:moveTo>
                  <a:lnTo>
                    <a:pt x="43297" y="94704"/>
                  </a:lnTo>
                  <a:lnTo>
                    <a:pt x="44897" y="95065"/>
                  </a:lnTo>
                  <a:lnTo>
                    <a:pt x="45513" y="96885"/>
                  </a:lnTo>
                  <a:lnTo>
                    <a:pt x="45267" y="99330"/>
                  </a:lnTo>
                  <a:lnTo>
                    <a:pt x="43703" y="99451"/>
                  </a:lnTo>
                  <a:lnTo>
                    <a:pt x="42770" y="97875"/>
                  </a:lnTo>
                  <a:lnTo>
                    <a:pt x="41777" y="98644"/>
                  </a:lnTo>
                  <a:lnTo>
                    <a:pt x="41258" y="98657"/>
                  </a:lnTo>
                  <a:lnTo>
                    <a:pt x="40481" y="96698"/>
                  </a:lnTo>
                  <a:lnTo>
                    <a:pt x="40347" y="95168"/>
                  </a:lnTo>
                  <a:close/>
                  <a:moveTo>
                    <a:pt x="60019" y="91686"/>
                  </a:moveTo>
                  <a:lnTo>
                    <a:pt x="60442" y="97068"/>
                  </a:lnTo>
                  <a:lnTo>
                    <a:pt x="58356" y="98610"/>
                  </a:lnTo>
                  <a:lnTo>
                    <a:pt x="55545" y="96542"/>
                  </a:lnTo>
                  <a:lnTo>
                    <a:pt x="54876" y="95399"/>
                  </a:lnTo>
                  <a:lnTo>
                    <a:pt x="57013" y="93722"/>
                  </a:lnTo>
                  <a:lnTo>
                    <a:pt x="58827" y="91806"/>
                  </a:lnTo>
                  <a:close/>
                  <a:moveTo>
                    <a:pt x="6877" y="51395"/>
                  </a:moveTo>
                  <a:lnTo>
                    <a:pt x="8382" y="52445"/>
                  </a:lnTo>
                  <a:lnTo>
                    <a:pt x="9066" y="54436"/>
                  </a:lnTo>
                  <a:lnTo>
                    <a:pt x="8762" y="56074"/>
                  </a:lnTo>
                  <a:lnTo>
                    <a:pt x="7296" y="54993"/>
                  </a:lnTo>
                  <a:close/>
                  <a:moveTo>
                    <a:pt x="108264" y="27445"/>
                  </a:moveTo>
                  <a:lnTo>
                    <a:pt x="108940" y="28057"/>
                  </a:lnTo>
                  <a:lnTo>
                    <a:pt x="108536" y="29366"/>
                  </a:lnTo>
                  <a:lnTo>
                    <a:pt x="107532" y="30125"/>
                  </a:lnTo>
                  <a:lnTo>
                    <a:pt x="106343" y="29366"/>
                  </a:lnTo>
                  <a:lnTo>
                    <a:pt x="106198" y="28563"/>
                  </a:lnTo>
                  <a:lnTo>
                    <a:pt x="106819" y="27866"/>
                  </a:lnTo>
                  <a:close/>
                  <a:moveTo>
                    <a:pt x="8935" y="20567"/>
                  </a:moveTo>
                  <a:lnTo>
                    <a:pt x="10747" y="21593"/>
                  </a:lnTo>
                  <a:lnTo>
                    <a:pt x="11347" y="22764"/>
                  </a:lnTo>
                  <a:lnTo>
                    <a:pt x="11243" y="26142"/>
                  </a:lnTo>
                  <a:lnTo>
                    <a:pt x="10023" y="25997"/>
                  </a:lnTo>
                  <a:lnTo>
                    <a:pt x="9194" y="25658"/>
                  </a:lnTo>
                  <a:lnTo>
                    <a:pt x="8838" y="24999"/>
                  </a:lnTo>
                  <a:lnTo>
                    <a:pt x="8000" y="21863"/>
                  </a:lnTo>
                  <a:close/>
                  <a:moveTo>
                    <a:pt x="52341" y="0"/>
                  </a:moveTo>
                  <a:lnTo>
                    <a:pt x="57742" y="11507"/>
                  </a:lnTo>
                  <a:lnTo>
                    <a:pt x="62907" y="18918"/>
                  </a:lnTo>
                  <a:lnTo>
                    <a:pt x="67309" y="24277"/>
                  </a:lnTo>
                  <a:lnTo>
                    <a:pt x="73580" y="34567"/>
                  </a:lnTo>
                  <a:lnTo>
                    <a:pt x="75418" y="40055"/>
                  </a:lnTo>
                  <a:lnTo>
                    <a:pt x="75593" y="43450"/>
                  </a:lnTo>
                  <a:lnTo>
                    <a:pt x="76638" y="48114"/>
                  </a:lnTo>
                  <a:lnTo>
                    <a:pt x="75744" y="50785"/>
                  </a:lnTo>
                  <a:lnTo>
                    <a:pt x="76010" y="54990"/>
                  </a:lnTo>
                  <a:lnTo>
                    <a:pt x="75614" y="57147"/>
                  </a:lnTo>
                  <a:lnTo>
                    <a:pt x="74850" y="58736"/>
                  </a:lnTo>
                  <a:lnTo>
                    <a:pt x="74822" y="61784"/>
                  </a:lnTo>
                  <a:lnTo>
                    <a:pt x="75068" y="63414"/>
                  </a:lnTo>
                  <a:lnTo>
                    <a:pt x="75092" y="65573"/>
                  </a:lnTo>
                  <a:lnTo>
                    <a:pt x="75584" y="66414"/>
                  </a:lnTo>
                  <a:lnTo>
                    <a:pt x="76303" y="66726"/>
                  </a:lnTo>
                  <a:lnTo>
                    <a:pt x="77441" y="65940"/>
                  </a:lnTo>
                  <a:lnTo>
                    <a:pt x="78836" y="65613"/>
                  </a:lnTo>
                  <a:lnTo>
                    <a:pt x="78590" y="68209"/>
                  </a:lnTo>
                  <a:lnTo>
                    <a:pt x="76903" y="74767"/>
                  </a:lnTo>
                  <a:lnTo>
                    <a:pt x="75438" y="79535"/>
                  </a:lnTo>
                  <a:lnTo>
                    <a:pt x="73444" y="83683"/>
                  </a:lnTo>
                  <a:lnTo>
                    <a:pt x="70904" y="87470"/>
                  </a:lnTo>
                  <a:lnTo>
                    <a:pt x="67867" y="88952"/>
                  </a:lnTo>
                  <a:lnTo>
                    <a:pt x="65729" y="89483"/>
                  </a:lnTo>
                  <a:lnTo>
                    <a:pt x="61652" y="89674"/>
                  </a:lnTo>
                  <a:lnTo>
                    <a:pt x="58266" y="89030"/>
                  </a:lnTo>
                  <a:lnTo>
                    <a:pt x="55355" y="89497"/>
                  </a:lnTo>
                  <a:lnTo>
                    <a:pt x="54187" y="90287"/>
                  </a:lnTo>
                  <a:lnTo>
                    <a:pt x="53319" y="91634"/>
                  </a:lnTo>
                  <a:lnTo>
                    <a:pt x="53956" y="93727"/>
                  </a:lnTo>
                  <a:lnTo>
                    <a:pt x="53874" y="95271"/>
                  </a:lnTo>
                  <a:lnTo>
                    <a:pt x="52630" y="95153"/>
                  </a:lnTo>
                  <a:lnTo>
                    <a:pt x="50159" y="94255"/>
                  </a:lnTo>
                  <a:lnTo>
                    <a:pt x="47426" y="94133"/>
                  </a:lnTo>
                  <a:lnTo>
                    <a:pt x="46147" y="93689"/>
                  </a:lnTo>
                  <a:lnTo>
                    <a:pt x="44858" y="91476"/>
                  </a:lnTo>
                  <a:lnTo>
                    <a:pt x="43543" y="91558"/>
                  </a:lnTo>
                  <a:lnTo>
                    <a:pt x="41254" y="92870"/>
                  </a:lnTo>
                  <a:lnTo>
                    <a:pt x="37751" y="93161"/>
                  </a:lnTo>
                  <a:lnTo>
                    <a:pt x="36519" y="93870"/>
                  </a:lnTo>
                  <a:lnTo>
                    <a:pt x="36083" y="94788"/>
                  </a:lnTo>
                  <a:lnTo>
                    <a:pt x="36594" y="95946"/>
                  </a:lnTo>
                  <a:lnTo>
                    <a:pt x="38356" y="97467"/>
                  </a:lnTo>
                  <a:lnTo>
                    <a:pt x="37765" y="99005"/>
                  </a:lnTo>
                  <a:lnTo>
                    <a:pt x="35929" y="99775"/>
                  </a:lnTo>
                  <a:lnTo>
                    <a:pt x="34448" y="97884"/>
                  </a:lnTo>
                  <a:lnTo>
                    <a:pt x="33524" y="96029"/>
                  </a:lnTo>
                  <a:lnTo>
                    <a:pt x="32491" y="95924"/>
                  </a:lnTo>
                  <a:lnTo>
                    <a:pt x="30885" y="96454"/>
                  </a:lnTo>
                  <a:lnTo>
                    <a:pt x="30561" y="98456"/>
                  </a:lnTo>
                  <a:lnTo>
                    <a:pt x="31308" y="99819"/>
                  </a:lnTo>
                  <a:lnTo>
                    <a:pt x="32539" y="101399"/>
                  </a:lnTo>
                  <a:lnTo>
                    <a:pt x="30815" y="103214"/>
                  </a:lnTo>
                  <a:lnTo>
                    <a:pt x="30360" y="104509"/>
                  </a:lnTo>
                  <a:lnTo>
                    <a:pt x="29123" y="105441"/>
                  </a:lnTo>
                  <a:lnTo>
                    <a:pt x="25780" y="103374"/>
                  </a:lnTo>
                  <a:lnTo>
                    <a:pt x="26255" y="101903"/>
                  </a:lnTo>
                  <a:lnTo>
                    <a:pt x="27706" y="100489"/>
                  </a:lnTo>
                  <a:lnTo>
                    <a:pt x="27885" y="99022"/>
                  </a:lnTo>
                  <a:lnTo>
                    <a:pt x="27408" y="98153"/>
                  </a:lnTo>
                  <a:lnTo>
                    <a:pt x="22625" y="101857"/>
                  </a:lnTo>
                  <a:lnTo>
                    <a:pt x="19677" y="106050"/>
                  </a:lnTo>
                  <a:lnTo>
                    <a:pt x="18104" y="105746"/>
                  </a:lnTo>
                  <a:lnTo>
                    <a:pt x="17445" y="104668"/>
                  </a:lnTo>
                  <a:lnTo>
                    <a:pt x="16523" y="104229"/>
                  </a:lnTo>
                  <a:lnTo>
                    <a:pt x="13340" y="106932"/>
                  </a:lnTo>
                  <a:lnTo>
                    <a:pt x="12755" y="109075"/>
                  </a:lnTo>
                  <a:lnTo>
                    <a:pt x="11585" y="109157"/>
                  </a:lnTo>
                  <a:lnTo>
                    <a:pt x="11072" y="108250"/>
                  </a:lnTo>
                  <a:lnTo>
                    <a:pt x="11031" y="106312"/>
                  </a:lnTo>
                  <a:lnTo>
                    <a:pt x="10485" y="104676"/>
                  </a:lnTo>
                  <a:lnTo>
                    <a:pt x="7187" y="102287"/>
                  </a:lnTo>
                  <a:lnTo>
                    <a:pt x="5681" y="100200"/>
                  </a:lnTo>
                  <a:lnTo>
                    <a:pt x="6491" y="99032"/>
                  </a:lnTo>
                  <a:lnTo>
                    <a:pt x="9244" y="99667"/>
                  </a:lnTo>
                  <a:lnTo>
                    <a:pt x="11431" y="99584"/>
                  </a:lnTo>
                  <a:lnTo>
                    <a:pt x="10999" y="98593"/>
                  </a:lnTo>
                  <a:lnTo>
                    <a:pt x="10289" y="98123"/>
                  </a:lnTo>
                  <a:lnTo>
                    <a:pt x="11742" y="97565"/>
                  </a:lnTo>
                  <a:lnTo>
                    <a:pt x="12954" y="96422"/>
                  </a:lnTo>
                  <a:lnTo>
                    <a:pt x="11949" y="96112"/>
                  </a:lnTo>
                  <a:lnTo>
                    <a:pt x="10414" y="96773"/>
                  </a:lnTo>
                  <a:lnTo>
                    <a:pt x="9135" y="96447"/>
                  </a:lnTo>
                  <a:lnTo>
                    <a:pt x="8630" y="93709"/>
                  </a:lnTo>
                  <a:lnTo>
                    <a:pt x="7074" y="90897"/>
                  </a:lnTo>
                  <a:lnTo>
                    <a:pt x="6270" y="88164"/>
                  </a:lnTo>
                  <a:lnTo>
                    <a:pt x="7805" y="86590"/>
                  </a:lnTo>
                  <a:lnTo>
                    <a:pt x="8587" y="84143"/>
                  </a:lnTo>
                  <a:lnTo>
                    <a:pt x="10014" y="80597"/>
                  </a:lnTo>
                  <a:lnTo>
                    <a:pt x="10729" y="79449"/>
                  </a:lnTo>
                  <a:lnTo>
                    <a:pt x="12707" y="78615"/>
                  </a:lnTo>
                  <a:lnTo>
                    <a:pt x="13411" y="77696"/>
                  </a:lnTo>
                  <a:lnTo>
                    <a:pt x="12325" y="77225"/>
                  </a:lnTo>
                  <a:lnTo>
                    <a:pt x="10591" y="76807"/>
                  </a:lnTo>
                  <a:lnTo>
                    <a:pt x="10635" y="75782"/>
                  </a:lnTo>
                  <a:lnTo>
                    <a:pt x="11815" y="75222"/>
                  </a:lnTo>
                  <a:lnTo>
                    <a:pt x="13134" y="74092"/>
                  </a:lnTo>
                  <a:lnTo>
                    <a:pt x="15695" y="72716"/>
                  </a:lnTo>
                  <a:lnTo>
                    <a:pt x="16484" y="70118"/>
                  </a:lnTo>
                  <a:lnTo>
                    <a:pt x="15745" y="69464"/>
                  </a:lnTo>
                  <a:lnTo>
                    <a:pt x="14150" y="68846"/>
                  </a:lnTo>
                  <a:lnTo>
                    <a:pt x="14508" y="67532"/>
                  </a:lnTo>
                  <a:lnTo>
                    <a:pt x="15167" y="66531"/>
                  </a:lnTo>
                  <a:lnTo>
                    <a:pt x="14921" y="65931"/>
                  </a:lnTo>
                  <a:lnTo>
                    <a:pt x="13035" y="64237"/>
                  </a:lnTo>
                  <a:lnTo>
                    <a:pt x="11783" y="62693"/>
                  </a:lnTo>
                  <a:lnTo>
                    <a:pt x="12155" y="60932"/>
                  </a:lnTo>
                  <a:lnTo>
                    <a:pt x="11867" y="58268"/>
                  </a:lnTo>
                  <a:lnTo>
                    <a:pt x="12038" y="56028"/>
                  </a:lnTo>
                  <a:lnTo>
                    <a:pt x="11955" y="54814"/>
                  </a:lnTo>
                  <a:lnTo>
                    <a:pt x="11035" y="52078"/>
                  </a:lnTo>
                  <a:lnTo>
                    <a:pt x="10617" y="49335"/>
                  </a:lnTo>
                  <a:lnTo>
                    <a:pt x="9407" y="49735"/>
                  </a:lnTo>
                  <a:lnTo>
                    <a:pt x="8429" y="50416"/>
                  </a:lnTo>
                  <a:lnTo>
                    <a:pt x="4933" y="49450"/>
                  </a:lnTo>
                  <a:lnTo>
                    <a:pt x="3832" y="49391"/>
                  </a:lnTo>
                  <a:lnTo>
                    <a:pt x="3383" y="47352"/>
                  </a:lnTo>
                  <a:lnTo>
                    <a:pt x="4636" y="44837"/>
                  </a:lnTo>
                  <a:lnTo>
                    <a:pt x="7607" y="42620"/>
                  </a:lnTo>
                  <a:lnTo>
                    <a:pt x="9313" y="42344"/>
                  </a:lnTo>
                  <a:lnTo>
                    <a:pt x="10602" y="41367"/>
                  </a:lnTo>
                  <a:lnTo>
                    <a:pt x="12608" y="41059"/>
                  </a:lnTo>
                  <a:lnTo>
                    <a:pt x="15018" y="42565"/>
                  </a:lnTo>
                  <a:lnTo>
                    <a:pt x="17179" y="42868"/>
                  </a:lnTo>
                  <a:lnTo>
                    <a:pt x="18380" y="45469"/>
                  </a:lnTo>
                  <a:lnTo>
                    <a:pt x="19116" y="46018"/>
                  </a:lnTo>
                  <a:lnTo>
                    <a:pt x="19272" y="45063"/>
                  </a:lnTo>
                  <a:lnTo>
                    <a:pt x="21017" y="43943"/>
                  </a:lnTo>
                  <a:lnTo>
                    <a:pt x="21433" y="43098"/>
                  </a:lnTo>
                  <a:lnTo>
                    <a:pt x="21056" y="42635"/>
                  </a:lnTo>
                  <a:lnTo>
                    <a:pt x="19047" y="42174"/>
                  </a:lnTo>
                  <a:lnTo>
                    <a:pt x="17244" y="38944"/>
                  </a:lnTo>
                  <a:lnTo>
                    <a:pt x="16994" y="37531"/>
                  </a:lnTo>
                  <a:lnTo>
                    <a:pt x="16337" y="36631"/>
                  </a:lnTo>
                  <a:lnTo>
                    <a:pt x="17313" y="34048"/>
                  </a:lnTo>
                  <a:lnTo>
                    <a:pt x="15227" y="31096"/>
                  </a:lnTo>
                  <a:lnTo>
                    <a:pt x="14212" y="30166"/>
                  </a:lnTo>
                  <a:lnTo>
                    <a:pt x="14357" y="27509"/>
                  </a:lnTo>
                  <a:lnTo>
                    <a:pt x="13268" y="25816"/>
                  </a:lnTo>
                  <a:lnTo>
                    <a:pt x="12662" y="24888"/>
                  </a:lnTo>
                  <a:lnTo>
                    <a:pt x="12290" y="23284"/>
                  </a:lnTo>
                  <a:lnTo>
                    <a:pt x="12608" y="22562"/>
                  </a:lnTo>
                  <a:lnTo>
                    <a:pt x="13558" y="22287"/>
                  </a:lnTo>
                  <a:lnTo>
                    <a:pt x="13850" y="21612"/>
                  </a:lnTo>
                  <a:lnTo>
                    <a:pt x="14527" y="21128"/>
                  </a:lnTo>
                  <a:lnTo>
                    <a:pt x="14571" y="20432"/>
                  </a:lnTo>
                  <a:lnTo>
                    <a:pt x="14577" y="18146"/>
                  </a:lnTo>
                  <a:lnTo>
                    <a:pt x="16512" y="16563"/>
                  </a:lnTo>
                  <a:lnTo>
                    <a:pt x="19267" y="13304"/>
                  </a:lnTo>
                  <a:lnTo>
                    <a:pt x="20619" y="11519"/>
                  </a:lnTo>
                  <a:lnTo>
                    <a:pt x="22159" y="9851"/>
                  </a:lnTo>
                  <a:lnTo>
                    <a:pt x="23942" y="8738"/>
                  </a:lnTo>
                  <a:lnTo>
                    <a:pt x="25694" y="8207"/>
                  </a:lnTo>
                  <a:lnTo>
                    <a:pt x="28447" y="7982"/>
                  </a:lnTo>
                  <a:lnTo>
                    <a:pt x="33725" y="8195"/>
                  </a:lnTo>
                  <a:lnTo>
                    <a:pt x="34759" y="8002"/>
                  </a:lnTo>
                  <a:lnTo>
                    <a:pt x="38430" y="7829"/>
                  </a:lnTo>
                  <a:lnTo>
                    <a:pt x="39296" y="8125"/>
                  </a:lnTo>
                  <a:lnTo>
                    <a:pt x="41963" y="8312"/>
                  </a:lnTo>
                  <a:lnTo>
                    <a:pt x="44919" y="8104"/>
                  </a:lnTo>
                  <a:lnTo>
                    <a:pt x="46407" y="7621"/>
                  </a:lnTo>
                  <a:lnTo>
                    <a:pt x="47787" y="6799"/>
                  </a:lnTo>
                  <a:lnTo>
                    <a:pt x="48991" y="5315"/>
                  </a:lnTo>
                  <a:lnTo>
                    <a:pt x="50233" y="2567"/>
                  </a:lnTo>
                  <a:lnTo>
                    <a:pt x="51563" y="401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05" name="ee4p_KW_1_82333">
              <a:extLst>
                <a:ext uri="{FF2B5EF4-FFF2-40B4-BE49-F238E27FC236}">
                  <a16:creationId xmlns:a16="http://schemas.microsoft.com/office/drawing/2014/main" id="{4F11B87F-7344-BB21-4B51-913482BE876F}"/>
                </a:ext>
              </a:extLst>
            </p:cNvPr>
            <p:cNvSpPr>
              <a:spLocks noChangeAspect="1"/>
            </p:cNvSpPr>
            <p:nvPr>
              <p:custDataLst>
                <p:tags r:id="rId33"/>
              </p:custDataLst>
            </p:nvPr>
          </p:nvSpPr>
          <p:spPr>
            <a:xfrm>
              <a:off x="7806849" y="3790797"/>
              <a:ext cx="53068" cy="48637"/>
            </a:xfrm>
            <a:custGeom>
              <a:avLst/>
              <a:gdLst>
                <a:gd name="connsiteX0" fmla="*/ 36559 w 42257"/>
                <a:gd name="connsiteY0" fmla="*/ 2868 h 37702"/>
                <a:gd name="connsiteX1" fmla="*/ 37509 w 42257"/>
                <a:gd name="connsiteY1" fmla="*/ 3897 h 37702"/>
                <a:gd name="connsiteX2" fmla="*/ 40174 w 42257"/>
                <a:gd name="connsiteY2" fmla="*/ 7613 h 37702"/>
                <a:gd name="connsiteX3" fmla="*/ 40154 w 42257"/>
                <a:gd name="connsiteY3" fmla="*/ 9128 h 37702"/>
                <a:gd name="connsiteX4" fmla="*/ 39997 w 42257"/>
                <a:gd name="connsiteY4" fmla="*/ 9738 h 37702"/>
                <a:gd name="connsiteX5" fmla="*/ 38563 w 42257"/>
                <a:gd name="connsiteY5" fmla="*/ 11439 h 37702"/>
                <a:gd name="connsiteX6" fmla="*/ 37300 w 42257"/>
                <a:gd name="connsiteY6" fmla="*/ 11979 h 37702"/>
                <a:gd name="connsiteX7" fmla="*/ 36447 w 42257"/>
                <a:gd name="connsiteY7" fmla="*/ 11750 h 37702"/>
                <a:gd name="connsiteX8" fmla="*/ 35626 w 42257"/>
                <a:gd name="connsiteY8" fmla="*/ 10449 h 37702"/>
                <a:gd name="connsiteX9" fmla="*/ 34274 w 42257"/>
                <a:gd name="connsiteY9" fmla="*/ 7220 h 37702"/>
                <a:gd name="connsiteX10" fmla="*/ 35011 w 42257"/>
                <a:gd name="connsiteY10" fmla="*/ 6015 h 37702"/>
                <a:gd name="connsiteX11" fmla="*/ 34982 w 42257"/>
                <a:gd name="connsiteY11" fmla="*/ 5496 h 37702"/>
                <a:gd name="connsiteX12" fmla="*/ 35129 w 42257"/>
                <a:gd name="connsiteY12" fmla="*/ 5107 h 37702"/>
                <a:gd name="connsiteX13" fmla="*/ 35544 w 42257"/>
                <a:gd name="connsiteY13" fmla="*/ 4859 h 37702"/>
                <a:gd name="connsiteX14" fmla="*/ 35980 w 42257"/>
                <a:gd name="connsiteY14" fmla="*/ 3335 h 37702"/>
                <a:gd name="connsiteX15" fmla="*/ 24596 w 42257"/>
                <a:gd name="connsiteY15" fmla="*/ 0 h 37702"/>
                <a:gd name="connsiteX16" fmla="*/ 25237 w 42257"/>
                <a:gd name="connsiteY16" fmla="*/ 41 h 37702"/>
                <a:gd name="connsiteX17" fmla="*/ 27032 w 42257"/>
                <a:gd name="connsiteY17" fmla="*/ 502 h 37702"/>
                <a:gd name="connsiteX18" fmla="*/ 32003 w 42257"/>
                <a:gd name="connsiteY18" fmla="*/ 2772 h 37702"/>
                <a:gd name="connsiteX19" fmla="*/ 31890 w 42257"/>
                <a:gd name="connsiteY19" fmla="*/ 3666 h 37702"/>
                <a:gd name="connsiteX20" fmla="*/ 32599 w 42257"/>
                <a:gd name="connsiteY20" fmla="*/ 6329 h 37702"/>
                <a:gd name="connsiteX21" fmla="*/ 34183 w 42257"/>
                <a:gd name="connsiteY21" fmla="*/ 9234 h 37702"/>
                <a:gd name="connsiteX22" fmla="*/ 35483 w 42257"/>
                <a:gd name="connsiteY22" fmla="*/ 11589 h 37702"/>
                <a:gd name="connsiteX23" fmla="*/ 35645 w 42257"/>
                <a:gd name="connsiteY23" fmla="*/ 12691 h 37702"/>
                <a:gd name="connsiteX24" fmla="*/ 34451 w 42257"/>
                <a:gd name="connsiteY24" fmla="*/ 12531 h 37702"/>
                <a:gd name="connsiteX25" fmla="*/ 33542 w 42257"/>
                <a:gd name="connsiteY25" fmla="*/ 12086 h 37702"/>
                <a:gd name="connsiteX26" fmla="*/ 31802 w 42257"/>
                <a:gd name="connsiteY26" fmla="*/ 11623 h 37702"/>
                <a:gd name="connsiteX27" fmla="*/ 28437 w 42257"/>
                <a:gd name="connsiteY27" fmla="*/ 14744 h 37702"/>
                <a:gd name="connsiteX28" fmla="*/ 26399 w 42257"/>
                <a:gd name="connsiteY28" fmla="*/ 16444 h 37702"/>
                <a:gd name="connsiteX29" fmla="*/ 26341 w 42257"/>
                <a:gd name="connsiteY29" fmla="*/ 17021 h 37702"/>
                <a:gd name="connsiteX30" fmla="*/ 29053 w 42257"/>
                <a:gd name="connsiteY30" fmla="*/ 17679 h 37702"/>
                <a:gd name="connsiteX31" fmla="*/ 31044 w 42257"/>
                <a:gd name="connsiteY31" fmla="*/ 17657 h 37702"/>
                <a:gd name="connsiteX32" fmla="*/ 32432 w 42257"/>
                <a:gd name="connsiteY32" fmla="*/ 17201 h 37702"/>
                <a:gd name="connsiteX33" fmla="*/ 33611 w 42257"/>
                <a:gd name="connsiteY33" fmla="*/ 17928 h 37702"/>
                <a:gd name="connsiteX34" fmla="*/ 34382 w 42257"/>
                <a:gd name="connsiteY34" fmla="*/ 19854 h 37702"/>
                <a:gd name="connsiteX35" fmla="*/ 34693 w 42257"/>
                <a:gd name="connsiteY35" fmla="*/ 21414 h 37702"/>
                <a:gd name="connsiteX36" fmla="*/ 36537 w 42257"/>
                <a:gd name="connsiteY36" fmla="*/ 26982 h 37702"/>
                <a:gd name="connsiteX37" fmla="*/ 38066 w 42257"/>
                <a:gd name="connsiteY37" fmla="*/ 28861 h 37702"/>
                <a:gd name="connsiteX38" fmla="*/ 39975 w 42257"/>
                <a:gd name="connsiteY38" fmla="*/ 32178 h 37702"/>
                <a:gd name="connsiteX39" fmla="*/ 40683 w 42257"/>
                <a:gd name="connsiteY39" fmla="*/ 33893 h 37702"/>
                <a:gd name="connsiteX40" fmla="*/ 41089 w 42257"/>
                <a:gd name="connsiteY40" fmla="*/ 35340 h 37702"/>
                <a:gd name="connsiteX41" fmla="*/ 42257 w 42257"/>
                <a:gd name="connsiteY41" fmla="*/ 37468 h 37702"/>
                <a:gd name="connsiteX42" fmla="*/ 38416 w 42257"/>
                <a:gd name="connsiteY42" fmla="*/ 37525 h 37702"/>
                <a:gd name="connsiteX43" fmla="*/ 33570 w 42257"/>
                <a:gd name="connsiteY43" fmla="*/ 37598 h 37702"/>
                <a:gd name="connsiteX44" fmla="*/ 29642 w 42257"/>
                <a:gd name="connsiteY44" fmla="*/ 37647 h 37702"/>
                <a:gd name="connsiteX45" fmla="*/ 25205 w 42257"/>
                <a:gd name="connsiteY45" fmla="*/ 37702 h 37702"/>
                <a:gd name="connsiteX46" fmla="*/ 23255 w 42257"/>
                <a:gd name="connsiteY46" fmla="*/ 35427 h 37702"/>
                <a:gd name="connsiteX47" fmla="*/ 22594 w 42257"/>
                <a:gd name="connsiteY47" fmla="*/ 32940 h 37702"/>
                <a:gd name="connsiteX48" fmla="*/ 21888 w 42257"/>
                <a:gd name="connsiteY48" fmla="*/ 30386 h 37702"/>
                <a:gd name="connsiteX49" fmla="*/ 19940 w 42257"/>
                <a:gd name="connsiteY49" fmla="*/ 26738 h 37702"/>
                <a:gd name="connsiteX50" fmla="*/ 13430 w 42257"/>
                <a:gd name="connsiteY50" fmla="*/ 25857 h 37702"/>
                <a:gd name="connsiteX51" fmla="*/ 9968 w 42257"/>
                <a:gd name="connsiteY51" fmla="*/ 25388 h 37702"/>
                <a:gd name="connsiteX52" fmla="*/ 4276 w 42257"/>
                <a:gd name="connsiteY52" fmla="*/ 24692 h 37702"/>
                <a:gd name="connsiteX53" fmla="*/ 0 w 42257"/>
                <a:gd name="connsiteY53" fmla="*/ 24171 h 37702"/>
                <a:gd name="connsiteX54" fmla="*/ 3589 w 42257"/>
                <a:gd name="connsiteY54" fmla="*/ 20235 h 37702"/>
                <a:gd name="connsiteX55" fmla="*/ 5261 w 42257"/>
                <a:gd name="connsiteY55" fmla="*/ 18119 h 37702"/>
                <a:gd name="connsiteX56" fmla="*/ 8280 w 42257"/>
                <a:gd name="connsiteY56" fmla="*/ 13535 h 37702"/>
                <a:gd name="connsiteX57" fmla="*/ 9830 w 42257"/>
                <a:gd name="connsiteY57" fmla="*/ 10267 h 37702"/>
                <a:gd name="connsiteX58" fmla="*/ 11326 w 42257"/>
                <a:gd name="connsiteY58" fmla="*/ 6638 h 37702"/>
                <a:gd name="connsiteX59" fmla="*/ 12618 w 42257"/>
                <a:gd name="connsiteY59" fmla="*/ 3808 h 37702"/>
                <a:gd name="connsiteX60" fmla="*/ 12890 w 42257"/>
                <a:gd name="connsiteY60" fmla="*/ 3292 h 37702"/>
                <a:gd name="connsiteX61" fmla="*/ 13639 w 42257"/>
                <a:gd name="connsiteY61" fmla="*/ 2332 h 37702"/>
                <a:gd name="connsiteX62" fmla="*/ 15297 w 42257"/>
                <a:gd name="connsiteY62" fmla="*/ 1351 h 37702"/>
                <a:gd name="connsiteX63" fmla="*/ 17688 w 42257"/>
                <a:gd name="connsiteY63" fmla="*/ 427 h 37702"/>
                <a:gd name="connsiteX64" fmla="*/ 21745 w 42257"/>
                <a:gd name="connsiteY64" fmla="*/ 20 h 37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42257" h="37702">
                  <a:moveTo>
                    <a:pt x="36559" y="2868"/>
                  </a:moveTo>
                  <a:lnTo>
                    <a:pt x="37509" y="3897"/>
                  </a:lnTo>
                  <a:lnTo>
                    <a:pt x="40174" y="7613"/>
                  </a:lnTo>
                  <a:lnTo>
                    <a:pt x="40154" y="9128"/>
                  </a:lnTo>
                  <a:lnTo>
                    <a:pt x="39997" y="9738"/>
                  </a:lnTo>
                  <a:lnTo>
                    <a:pt x="38563" y="11439"/>
                  </a:lnTo>
                  <a:lnTo>
                    <a:pt x="37300" y="11979"/>
                  </a:lnTo>
                  <a:lnTo>
                    <a:pt x="36447" y="11750"/>
                  </a:lnTo>
                  <a:lnTo>
                    <a:pt x="35626" y="10449"/>
                  </a:lnTo>
                  <a:lnTo>
                    <a:pt x="34274" y="7220"/>
                  </a:lnTo>
                  <a:lnTo>
                    <a:pt x="35011" y="6015"/>
                  </a:lnTo>
                  <a:lnTo>
                    <a:pt x="34982" y="5496"/>
                  </a:lnTo>
                  <a:lnTo>
                    <a:pt x="35129" y="5107"/>
                  </a:lnTo>
                  <a:lnTo>
                    <a:pt x="35544" y="4859"/>
                  </a:lnTo>
                  <a:lnTo>
                    <a:pt x="35980" y="3335"/>
                  </a:lnTo>
                  <a:close/>
                  <a:moveTo>
                    <a:pt x="24596" y="0"/>
                  </a:moveTo>
                  <a:lnTo>
                    <a:pt x="25237" y="41"/>
                  </a:lnTo>
                  <a:lnTo>
                    <a:pt x="27032" y="502"/>
                  </a:lnTo>
                  <a:lnTo>
                    <a:pt x="32003" y="2772"/>
                  </a:lnTo>
                  <a:lnTo>
                    <a:pt x="31890" y="3666"/>
                  </a:lnTo>
                  <a:lnTo>
                    <a:pt x="32599" y="6329"/>
                  </a:lnTo>
                  <a:lnTo>
                    <a:pt x="34183" y="9234"/>
                  </a:lnTo>
                  <a:lnTo>
                    <a:pt x="35483" y="11589"/>
                  </a:lnTo>
                  <a:lnTo>
                    <a:pt x="35645" y="12691"/>
                  </a:lnTo>
                  <a:lnTo>
                    <a:pt x="34451" y="12531"/>
                  </a:lnTo>
                  <a:lnTo>
                    <a:pt x="33542" y="12086"/>
                  </a:lnTo>
                  <a:lnTo>
                    <a:pt x="31802" y="11623"/>
                  </a:lnTo>
                  <a:lnTo>
                    <a:pt x="28437" y="14744"/>
                  </a:lnTo>
                  <a:lnTo>
                    <a:pt x="26399" y="16444"/>
                  </a:lnTo>
                  <a:lnTo>
                    <a:pt x="26341" y="17021"/>
                  </a:lnTo>
                  <a:lnTo>
                    <a:pt x="29053" y="17679"/>
                  </a:lnTo>
                  <a:lnTo>
                    <a:pt x="31044" y="17657"/>
                  </a:lnTo>
                  <a:lnTo>
                    <a:pt x="32432" y="17201"/>
                  </a:lnTo>
                  <a:lnTo>
                    <a:pt x="33611" y="17928"/>
                  </a:lnTo>
                  <a:lnTo>
                    <a:pt x="34382" y="19854"/>
                  </a:lnTo>
                  <a:lnTo>
                    <a:pt x="34693" y="21414"/>
                  </a:lnTo>
                  <a:lnTo>
                    <a:pt x="36537" y="26982"/>
                  </a:lnTo>
                  <a:lnTo>
                    <a:pt x="38066" y="28861"/>
                  </a:lnTo>
                  <a:lnTo>
                    <a:pt x="39975" y="32178"/>
                  </a:lnTo>
                  <a:lnTo>
                    <a:pt x="40683" y="33893"/>
                  </a:lnTo>
                  <a:lnTo>
                    <a:pt x="41089" y="35340"/>
                  </a:lnTo>
                  <a:lnTo>
                    <a:pt x="42257" y="37468"/>
                  </a:lnTo>
                  <a:lnTo>
                    <a:pt x="38416" y="37525"/>
                  </a:lnTo>
                  <a:lnTo>
                    <a:pt x="33570" y="37598"/>
                  </a:lnTo>
                  <a:lnTo>
                    <a:pt x="29642" y="37647"/>
                  </a:lnTo>
                  <a:lnTo>
                    <a:pt x="25205" y="37702"/>
                  </a:lnTo>
                  <a:lnTo>
                    <a:pt x="23255" y="35427"/>
                  </a:lnTo>
                  <a:lnTo>
                    <a:pt x="22594" y="32940"/>
                  </a:lnTo>
                  <a:lnTo>
                    <a:pt x="21888" y="30386"/>
                  </a:lnTo>
                  <a:lnTo>
                    <a:pt x="19940" y="26738"/>
                  </a:lnTo>
                  <a:lnTo>
                    <a:pt x="13430" y="25857"/>
                  </a:lnTo>
                  <a:lnTo>
                    <a:pt x="9968" y="25388"/>
                  </a:lnTo>
                  <a:lnTo>
                    <a:pt x="4276" y="24692"/>
                  </a:lnTo>
                  <a:lnTo>
                    <a:pt x="0" y="24171"/>
                  </a:lnTo>
                  <a:lnTo>
                    <a:pt x="3589" y="20235"/>
                  </a:lnTo>
                  <a:lnTo>
                    <a:pt x="5261" y="18119"/>
                  </a:lnTo>
                  <a:lnTo>
                    <a:pt x="8280" y="13535"/>
                  </a:lnTo>
                  <a:lnTo>
                    <a:pt x="9830" y="10267"/>
                  </a:lnTo>
                  <a:lnTo>
                    <a:pt x="11326" y="6638"/>
                  </a:lnTo>
                  <a:lnTo>
                    <a:pt x="12618" y="3808"/>
                  </a:lnTo>
                  <a:lnTo>
                    <a:pt x="12890" y="3292"/>
                  </a:lnTo>
                  <a:lnTo>
                    <a:pt x="13639" y="2332"/>
                  </a:lnTo>
                  <a:lnTo>
                    <a:pt x="15297" y="1351"/>
                  </a:lnTo>
                  <a:lnTo>
                    <a:pt x="17688" y="427"/>
                  </a:lnTo>
                  <a:lnTo>
                    <a:pt x="21745" y="20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06" name="ee4p_LA_1_82333">
              <a:extLst>
                <a:ext uri="{FF2B5EF4-FFF2-40B4-BE49-F238E27FC236}">
                  <a16:creationId xmlns:a16="http://schemas.microsoft.com/office/drawing/2014/main" id="{6B4FDCE1-396A-F413-1E0E-DAF8DB59B779}"/>
                </a:ext>
              </a:extLst>
            </p:cNvPr>
            <p:cNvSpPr>
              <a:spLocks noChangeAspect="1"/>
            </p:cNvSpPr>
            <p:nvPr>
              <p:custDataLst>
                <p:tags r:id="rId34"/>
              </p:custDataLst>
            </p:nvPr>
          </p:nvSpPr>
          <p:spPr>
            <a:xfrm>
              <a:off x="9294827" y="4023276"/>
              <a:ext cx="209330" cy="252875"/>
            </a:xfrm>
            <a:custGeom>
              <a:avLst/>
              <a:gdLst/>
              <a:ahLst/>
              <a:cxnLst/>
              <a:rect l="0" t="0" r="0" b="0"/>
              <a:pathLst>
                <a:path w="166685" h="196021">
                  <a:moveTo>
                    <a:pt x="44500" y="2698"/>
                  </a:moveTo>
                  <a:lnTo>
                    <a:pt x="45729" y="4909"/>
                  </a:lnTo>
                  <a:lnTo>
                    <a:pt x="48346" y="7367"/>
                  </a:lnTo>
                  <a:lnTo>
                    <a:pt x="51471" y="10872"/>
                  </a:lnTo>
                  <a:lnTo>
                    <a:pt x="52462" y="12482"/>
                  </a:lnTo>
                  <a:lnTo>
                    <a:pt x="54563" y="13721"/>
                  </a:lnTo>
                  <a:lnTo>
                    <a:pt x="55163" y="14940"/>
                  </a:lnTo>
                  <a:lnTo>
                    <a:pt x="55641" y="16804"/>
                  </a:lnTo>
                  <a:lnTo>
                    <a:pt x="55852" y="18192"/>
                  </a:lnTo>
                  <a:lnTo>
                    <a:pt x="56321" y="19012"/>
                  </a:lnTo>
                  <a:lnTo>
                    <a:pt x="57057" y="19335"/>
                  </a:lnTo>
                  <a:lnTo>
                    <a:pt x="58014" y="18968"/>
                  </a:lnTo>
                  <a:lnTo>
                    <a:pt x="58733" y="18233"/>
                  </a:lnTo>
                  <a:lnTo>
                    <a:pt x="59333" y="16187"/>
                  </a:lnTo>
                  <a:lnTo>
                    <a:pt x="59724" y="15969"/>
                  </a:lnTo>
                  <a:lnTo>
                    <a:pt x="60372" y="17651"/>
                  </a:lnTo>
                  <a:lnTo>
                    <a:pt x="61056" y="17941"/>
                  </a:lnTo>
                  <a:lnTo>
                    <a:pt x="61974" y="18157"/>
                  </a:lnTo>
                  <a:lnTo>
                    <a:pt x="62680" y="18889"/>
                  </a:lnTo>
                  <a:lnTo>
                    <a:pt x="62892" y="20166"/>
                  </a:lnTo>
                  <a:lnTo>
                    <a:pt x="62658" y="21473"/>
                  </a:lnTo>
                  <a:lnTo>
                    <a:pt x="61795" y="22941"/>
                  </a:lnTo>
                  <a:lnTo>
                    <a:pt x="61306" y="24478"/>
                  </a:lnTo>
                  <a:lnTo>
                    <a:pt x="60970" y="26848"/>
                  </a:lnTo>
                  <a:lnTo>
                    <a:pt x="60503" y="28504"/>
                  </a:lnTo>
                  <a:lnTo>
                    <a:pt x="61225" y="29968"/>
                  </a:lnTo>
                  <a:lnTo>
                    <a:pt x="66105" y="37151"/>
                  </a:lnTo>
                  <a:lnTo>
                    <a:pt x="68454" y="38330"/>
                  </a:lnTo>
                  <a:lnTo>
                    <a:pt x="74045" y="39733"/>
                  </a:lnTo>
                  <a:lnTo>
                    <a:pt x="76060" y="40701"/>
                  </a:lnTo>
                  <a:lnTo>
                    <a:pt x="77837" y="41642"/>
                  </a:lnTo>
                  <a:lnTo>
                    <a:pt x="79593" y="41184"/>
                  </a:lnTo>
                  <a:lnTo>
                    <a:pt x="81275" y="39047"/>
                  </a:lnTo>
                  <a:lnTo>
                    <a:pt x="83298" y="37849"/>
                  </a:lnTo>
                  <a:lnTo>
                    <a:pt x="87058" y="36007"/>
                  </a:lnTo>
                  <a:lnTo>
                    <a:pt x="88148" y="35908"/>
                  </a:lnTo>
                  <a:lnTo>
                    <a:pt x="90226" y="36636"/>
                  </a:lnTo>
                  <a:lnTo>
                    <a:pt x="93637" y="38780"/>
                  </a:lnTo>
                  <a:lnTo>
                    <a:pt x="96110" y="40796"/>
                  </a:lnTo>
                  <a:lnTo>
                    <a:pt x="97634" y="41851"/>
                  </a:lnTo>
                  <a:lnTo>
                    <a:pt x="98803" y="42804"/>
                  </a:lnTo>
                  <a:lnTo>
                    <a:pt x="98625" y="43875"/>
                  </a:lnTo>
                  <a:lnTo>
                    <a:pt x="97686" y="44921"/>
                  </a:lnTo>
                  <a:lnTo>
                    <a:pt x="96490" y="45504"/>
                  </a:lnTo>
                  <a:lnTo>
                    <a:pt x="94924" y="46515"/>
                  </a:lnTo>
                  <a:lnTo>
                    <a:pt x="94038" y="47537"/>
                  </a:lnTo>
                  <a:lnTo>
                    <a:pt x="94579" y="47920"/>
                  </a:lnTo>
                  <a:lnTo>
                    <a:pt x="96879" y="48176"/>
                  </a:lnTo>
                  <a:lnTo>
                    <a:pt x="99591" y="49078"/>
                  </a:lnTo>
                  <a:lnTo>
                    <a:pt x="100422" y="50138"/>
                  </a:lnTo>
                  <a:lnTo>
                    <a:pt x="100543" y="51047"/>
                  </a:lnTo>
                  <a:lnTo>
                    <a:pt x="100875" y="52528"/>
                  </a:lnTo>
                  <a:lnTo>
                    <a:pt x="101357" y="52974"/>
                  </a:lnTo>
                  <a:lnTo>
                    <a:pt x="103877" y="52709"/>
                  </a:lnTo>
                  <a:lnTo>
                    <a:pt x="104654" y="53041"/>
                  </a:lnTo>
                  <a:lnTo>
                    <a:pt x="105557" y="53808"/>
                  </a:lnTo>
                  <a:lnTo>
                    <a:pt x="106453" y="55794"/>
                  </a:lnTo>
                  <a:lnTo>
                    <a:pt x="106425" y="57283"/>
                  </a:lnTo>
                  <a:lnTo>
                    <a:pt x="104609" y="58915"/>
                  </a:lnTo>
                  <a:lnTo>
                    <a:pt x="103931" y="59907"/>
                  </a:lnTo>
                  <a:lnTo>
                    <a:pt x="103635" y="61468"/>
                  </a:lnTo>
                  <a:lnTo>
                    <a:pt x="102340" y="63338"/>
                  </a:lnTo>
                  <a:lnTo>
                    <a:pt x="98906" y="66463"/>
                  </a:lnTo>
                  <a:lnTo>
                    <a:pt x="97986" y="66651"/>
                  </a:lnTo>
                  <a:lnTo>
                    <a:pt x="91653" y="64929"/>
                  </a:lnTo>
                  <a:lnTo>
                    <a:pt x="88718" y="65036"/>
                  </a:lnTo>
                  <a:lnTo>
                    <a:pt x="87295" y="65092"/>
                  </a:lnTo>
                  <a:lnTo>
                    <a:pt x="86615" y="65167"/>
                  </a:lnTo>
                  <a:lnTo>
                    <a:pt x="86204" y="65826"/>
                  </a:lnTo>
                  <a:lnTo>
                    <a:pt x="87047" y="67717"/>
                  </a:lnTo>
                  <a:lnTo>
                    <a:pt x="87297" y="69590"/>
                  </a:lnTo>
                  <a:lnTo>
                    <a:pt x="86516" y="71016"/>
                  </a:lnTo>
                  <a:lnTo>
                    <a:pt x="84403" y="72264"/>
                  </a:lnTo>
                  <a:lnTo>
                    <a:pt x="83615" y="72862"/>
                  </a:lnTo>
                  <a:lnTo>
                    <a:pt x="83510" y="73665"/>
                  </a:lnTo>
                  <a:lnTo>
                    <a:pt x="84101" y="74502"/>
                  </a:lnTo>
                  <a:lnTo>
                    <a:pt x="86047" y="75364"/>
                  </a:lnTo>
                  <a:lnTo>
                    <a:pt x="88308" y="76175"/>
                  </a:lnTo>
                  <a:lnTo>
                    <a:pt x="95764" y="81028"/>
                  </a:lnTo>
                  <a:lnTo>
                    <a:pt x="97360" y="82168"/>
                  </a:lnTo>
                  <a:lnTo>
                    <a:pt x="99468" y="83850"/>
                  </a:lnTo>
                  <a:lnTo>
                    <a:pt x="101750" y="85160"/>
                  </a:lnTo>
                  <a:lnTo>
                    <a:pt x="107867" y="86880"/>
                  </a:lnTo>
                  <a:lnTo>
                    <a:pt x="110565" y="88012"/>
                  </a:lnTo>
                  <a:lnTo>
                    <a:pt x="111258" y="88650"/>
                  </a:lnTo>
                  <a:lnTo>
                    <a:pt x="111234" y="89432"/>
                  </a:lnTo>
                  <a:lnTo>
                    <a:pt x="110528" y="90433"/>
                  </a:lnTo>
                  <a:lnTo>
                    <a:pt x="109943" y="92190"/>
                  </a:lnTo>
                  <a:lnTo>
                    <a:pt x="109917" y="93245"/>
                  </a:lnTo>
                  <a:lnTo>
                    <a:pt x="110551" y="94270"/>
                  </a:lnTo>
                  <a:lnTo>
                    <a:pt x="111629" y="95791"/>
                  </a:lnTo>
                  <a:lnTo>
                    <a:pt x="114061" y="98153"/>
                  </a:lnTo>
                  <a:lnTo>
                    <a:pt x="115393" y="99198"/>
                  </a:lnTo>
                  <a:lnTo>
                    <a:pt x="116863" y="99435"/>
                  </a:lnTo>
                  <a:lnTo>
                    <a:pt x="118151" y="100005"/>
                  </a:lnTo>
                  <a:lnTo>
                    <a:pt x="119485" y="101761"/>
                  </a:lnTo>
                  <a:lnTo>
                    <a:pt x="121031" y="103901"/>
                  </a:lnTo>
                  <a:lnTo>
                    <a:pt x="121234" y="105394"/>
                  </a:lnTo>
                  <a:lnTo>
                    <a:pt x="121888" y="107308"/>
                  </a:lnTo>
                  <a:lnTo>
                    <a:pt x="123307" y="109511"/>
                  </a:lnTo>
                  <a:lnTo>
                    <a:pt x="125255" y="111641"/>
                  </a:lnTo>
                  <a:lnTo>
                    <a:pt x="127980" y="114280"/>
                  </a:lnTo>
                  <a:lnTo>
                    <a:pt x="129546" y="116141"/>
                  </a:lnTo>
                  <a:lnTo>
                    <a:pt x="130269" y="116864"/>
                  </a:lnTo>
                  <a:lnTo>
                    <a:pt x="136091" y="121384"/>
                  </a:lnTo>
                  <a:lnTo>
                    <a:pt x="137503" y="123048"/>
                  </a:lnTo>
                  <a:lnTo>
                    <a:pt x="139550" y="126260"/>
                  </a:lnTo>
                  <a:lnTo>
                    <a:pt x="140420" y="126731"/>
                  </a:lnTo>
                  <a:lnTo>
                    <a:pt x="141236" y="127362"/>
                  </a:lnTo>
                  <a:lnTo>
                    <a:pt x="141761" y="129124"/>
                  </a:lnTo>
                  <a:lnTo>
                    <a:pt x="141932" y="130388"/>
                  </a:lnTo>
                  <a:lnTo>
                    <a:pt x="142208" y="134259"/>
                  </a:lnTo>
                  <a:lnTo>
                    <a:pt x="143258" y="135410"/>
                  </a:lnTo>
                  <a:lnTo>
                    <a:pt x="144227" y="136822"/>
                  </a:lnTo>
                  <a:lnTo>
                    <a:pt x="144646" y="137851"/>
                  </a:lnTo>
                  <a:lnTo>
                    <a:pt x="145523" y="138615"/>
                  </a:lnTo>
                  <a:lnTo>
                    <a:pt x="146483" y="138761"/>
                  </a:lnTo>
                  <a:lnTo>
                    <a:pt x="147634" y="137903"/>
                  </a:lnTo>
                  <a:lnTo>
                    <a:pt x="148537" y="137087"/>
                  </a:lnTo>
                  <a:lnTo>
                    <a:pt x="148950" y="137329"/>
                  </a:lnTo>
                  <a:lnTo>
                    <a:pt x="149872" y="140033"/>
                  </a:lnTo>
                  <a:lnTo>
                    <a:pt x="150709" y="141019"/>
                  </a:lnTo>
                  <a:lnTo>
                    <a:pt x="152286" y="141956"/>
                  </a:lnTo>
                  <a:lnTo>
                    <a:pt x="153784" y="142682"/>
                  </a:lnTo>
                  <a:lnTo>
                    <a:pt x="157049" y="145938"/>
                  </a:lnTo>
                  <a:lnTo>
                    <a:pt x="158799" y="147124"/>
                  </a:lnTo>
                  <a:lnTo>
                    <a:pt x="159984" y="147502"/>
                  </a:lnTo>
                  <a:lnTo>
                    <a:pt x="161008" y="148055"/>
                  </a:lnTo>
                  <a:lnTo>
                    <a:pt x="161312" y="149079"/>
                  </a:lnTo>
                  <a:lnTo>
                    <a:pt x="160910" y="150126"/>
                  </a:lnTo>
                  <a:lnTo>
                    <a:pt x="160217" y="150805"/>
                  </a:lnTo>
                  <a:lnTo>
                    <a:pt x="156419" y="152689"/>
                  </a:lnTo>
                  <a:lnTo>
                    <a:pt x="155911" y="153508"/>
                  </a:lnTo>
                  <a:lnTo>
                    <a:pt x="156434" y="154759"/>
                  </a:lnTo>
                  <a:lnTo>
                    <a:pt x="157387" y="156327"/>
                  </a:lnTo>
                  <a:lnTo>
                    <a:pt x="158421" y="157671"/>
                  </a:lnTo>
                  <a:lnTo>
                    <a:pt x="159734" y="158990"/>
                  </a:lnTo>
                  <a:lnTo>
                    <a:pt x="162405" y="161133"/>
                  </a:lnTo>
                  <a:lnTo>
                    <a:pt x="164719" y="162813"/>
                  </a:lnTo>
                  <a:lnTo>
                    <a:pt x="165989" y="164663"/>
                  </a:lnTo>
                  <a:lnTo>
                    <a:pt x="166684" y="165899"/>
                  </a:lnTo>
                  <a:lnTo>
                    <a:pt x="166255" y="167378"/>
                  </a:lnTo>
                  <a:lnTo>
                    <a:pt x="165281" y="168993"/>
                  </a:lnTo>
                  <a:lnTo>
                    <a:pt x="164521" y="170382"/>
                  </a:lnTo>
                  <a:lnTo>
                    <a:pt x="163217" y="171186"/>
                  </a:lnTo>
                  <a:lnTo>
                    <a:pt x="162865" y="172126"/>
                  </a:lnTo>
                  <a:lnTo>
                    <a:pt x="163402" y="173571"/>
                  </a:lnTo>
                  <a:lnTo>
                    <a:pt x="163841" y="174568"/>
                  </a:lnTo>
                  <a:lnTo>
                    <a:pt x="163603" y="175798"/>
                  </a:lnTo>
                  <a:lnTo>
                    <a:pt x="163729" y="178335"/>
                  </a:lnTo>
                  <a:lnTo>
                    <a:pt x="162528" y="179240"/>
                  </a:lnTo>
                  <a:lnTo>
                    <a:pt x="161414" y="181546"/>
                  </a:lnTo>
                  <a:lnTo>
                    <a:pt x="160643" y="181717"/>
                  </a:lnTo>
                  <a:lnTo>
                    <a:pt x="158714" y="180880"/>
                  </a:lnTo>
                  <a:lnTo>
                    <a:pt x="158043" y="181337"/>
                  </a:lnTo>
                  <a:lnTo>
                    <a:pt x="156812" y="183013"/>
                  </a:lnTo>
                  <a:lnTo>
                    <a:pt x="154661" y="184846"/>
                  </a:lnTo>
                  <a:lnTo>
                    <a:pt x="153622" y="184867"/>
                  </a:lnTo>
                  <a:lnTo>
                    <a:pt x="152910" y="184643"/>
                  </a:lnTo>
                  <a:lnTo>
                    <a:pt x="152070" y="185425"/>
                  </a:lnTo>
                  <a:lnTo>
                    <a:pt x="150874" y="186862"/>
                  </a:lnTo>
                  <a:lnTo>
                    <a:pt x="150323" y="186816"/>
                  </a:lnTo>
                  <a:lnTo>
                    <a:pt x="148261" y="187147"/>
                  </a:lnTo>
                  <a:lnTo>
                    <a:pt x="147455" y="186687"/>
                  </a:lnTo>
                  <a:lnTo>
                    <a:pt x="146453" y="185499"/>
                  </a:lnTo>
                  <a:lnTo>
                    <a:pt x="144845" y="184290"/>
                  </a:lnTo>
                  <a:lnTo>
                    <a:pt x="143380" y="183431"/>
                  </a:lnTo>
                  <a:lnTo>
                    <a:pt x="142594" y="182851"/>
                  </a:lnTo>
                  <a:lnTo>
                    <a:pt x="141876" y="181850"/>
                  </a:lnTo>
                  <a:lnTo>
                    <a:pt x="141219" y="181200"/>
                  </a:lnTo>
                  <a:lnTo>
                    <a:pt x="140014" y="182626"/>
                  </a:lnTo>
                  <a:lnTo>
                    <a:pt x="137980" y="183986"/>
                  </a:lnTo>
                  <a:lnTo>
                    <a:pt x="136056" y="183728"/>
                  </a:lnTo>
                  <a:lnTo>
                    <a:pt x="135114" y="183502"/>
                  </a:lnTo>
                  <a:lnTo>
                    <a:pt x="134348" y="185490"/>
                  </a:lnTo>
                  <a:lnTo>
                    <a:pt x="133784" y="185846"/>
                  </a:lnTo>
                  <a:lnTo>
                    <a:pt x="130316" y="186189"/>
                  </a:lnTo>
                  <a:lnTo>
                    <a:pt x="129664" y="186508"/>
                  </a:lnTo>
                  <a:lnTo>
                    <a:pt x="130222" y="188316"/>
                  </a:lnTo>
                  <a:lnTo>
                    <a:pt x="132269" y="191379"/>
                  </a:lnTo>
                  <a:lnTo>
                    <a:pt x="132888" y="193137"/>
                  </a:lnTo>
                  <a:lnTo>
                    <a:pt x="131608" y="196020"/>
                  </a:lnTo>
                  <a:lnTo>
                    <a:pt x="128019" y="195946"/>
                  </a:lnTo>
                  <a:lnTo>
                    <a:pt x="126404" y="194772"/>
                  </a:lnTo>
                  <a:lnTo>
                    <a:pt x="124913" y="193138"/>
                  </a:lnTo>
                  <a:lnTo>
                    <a:pt x="124376" y="192329"/>
                  </a:lnTo>
                  <a:lnTo>
                    <a:pt x="119772" y="190723"/>
                  </a:lnTo>
                  <a:lnTo>
                    <a:pt x="116701" y="191830"/>
                  </a:lnTo>
                  <a:lnTo>
                    <a:pt x="115762" y="191774"/>
                  </a:lnTo>
                  <a:lnTo>
                    <a:pt x="114318" y="190604"/>
                  </a:lnTo>
                  <a:lnTo>
                    <a:pt x="113451" y="189723"/>
                  </a:lnTo>
                  <a:lnTo>
                    <a:pt x="112596" y="188395"/>
                  </a:lnTo>
                  <a:lnTo>
                    <a:pt x="112121" y="187048"/>
                  </a:lnTo>
                  <a:lnTo>
                    <a:pt x="112071" y="186436"/>
                  </a:lnTo>
                  <a:lnTo>
                    <a:pt x="113406" y="185948"/>
                  </a:lnTo>
                  <a:lnTo>
                    <a:pt x="115585" y="184846"/>
                  </a:lnTo>
                  <a:lnTo>
                    <a:pt x="117364" y="183606"/>
                  </a:lnTo>
                  <a:lnTo>
                    <a:pt x="118535" y="182285"/>
                  </a:lnTo>
                  <a:lnTo>
                    <a:pt x="119016" y="180919"/>
                  </a:lnTo>
                  <a:lnTo>
                    <a:pt x="119079" y="179325"/>
                  </a:lnTo>
                  <a:lnTo>
                    <a:pt x="119584" y="175212"/>
                  </a:lnTo>
                  <a:lnTo>
                    <a:pt x="120107" y="173197"/>
                  </a:lnTo>
                  <a:lnTo>
                    <a:pt x="119814" y="170730"/>
                  </a:lnTo>
                  <a:lnTo>
                    <a:pt x="118863" y="168786"/>
                  </a:lnTo>
                  <a:lnTo>
                    <a:pt x="118863" y="165868"/>
                  </a:lnTo>
                  <a:lnTo>
                    <a:pt x="119204" y="164442"/>
                  </a:lnTo>
                  <a:lnTo>
                    <a:pt x="119366" y="163508"/>
                  </a:lnTo>
                  <a:lnTo>
                    <a:pt x="120705" y="162324"/>
                  </a:lnTo>
                  <a:lnTo>
                    <a:pt x="121631" y="160624"/>
                  </a:lnTo>
                  <a:lnTo>
                    <a:pt x="122145" y="158413"/>
                  </a:lnTo>
                  <a:lnTo>
                    <a:pt x="122193" y="156814"/>
                  </a:lnTo>
                  <a:lnTo>
                    <a:pt x="121774" y="155831"/>
                  </a:lnTo>
                  <a:lnTo>
                    <a:pt x="120455" y="154895"/>
                  </a:lnTo>
                  <a:lnTo>
                    <a:pt x="118235" y="154008"/>
                  </a:lnTo>
                  <a:lnTo>
                    <a:pt x="116839" y="152887"/>
                  </a:lnTo>
                  <a:lnTo>
                    <a:pt x="116272" y="151531"/>
                  </a:lnTo>
                  <a:lnTo>
                    <a:pt x="116324" y="150341"/>
                  </a:lnTo>
                  <a:lnTo>
                    <a:pt x="117001" y="149315"/>
                  </a:lnTo>
                  <a:lnTo>
                    <a:pt x="115330" y="148171"/>
                  </a:lnTo>
                  <a:lnTo>
                    <a:pt x="111307" y="146909"/>
                  </a:lnTo>
                  <a:lnTo>
                    <a:pt x="109062" y="145395"/>
                  </a:lnTo>
                  <a:lnTo>
                    <a:pt x="108589" y="143632"/>
                  </a:lnTo>
                  <a:lnTo>
                    <a:pt x="106911" y="141318"/>
                  </a:lnTo>
                  <a:lnTo>
                    <a:pt x="104024" y="138454"/>
                  </a:lnTo>
                  <a:lnTo>
                    <a:pt x="102504" y="134331"/>
                  </a:lnTo>
                  <a:lnTo>
                    <a:pt x="102348" y="128948"/>
                  </a:lnTo>
                  <a:lnTo>
                    <a:pt x="102689" y="124563"/>
                  </a:lnTo>
                  <a:lnTo>
                    <a:pt x="103950" y="119483"/>
                  </a:lnTo>
                  <a:lnTo>
                    <a:pt x="102262" y="115807"/>
                  </a:lnTo>
                  <a:lnTo>
                    <a:pt x="100409" y="113868"/>
                  </a:lnTo>
                  <a:lnTo>
                    <a:pt x="97831" y="112442"/>
                  </a:lnTo>
                  <a:lnTo>
                    <a:pt x="95373" y="110397"/>
                  </a:lnTo>
                  <a:lnTo>
                    <a:pt x="93041" y="107732"/>
                  </a:lnTo>
                  <a:lnTo>
                    <a:pt x="90245" y="103794"/>
                  </a:lnTo>
                  <a:lnTo>
                    <a:pt x="86984" y="98580"/>
                  </a:lnTo>
                  <a:lnTo>
                    <a:pt x="84793" y="96242"/>
                  </a:lnTo>
                  <a:lnTo>
                    <a:pt x="83669" y="96783"/>
                  </a:lnTo>
                  <a:lnTo>
                    <a:pt x="81314" y="96299"/>
                  </a:lnTo>
                  <a:lnTo>
                    <a:pt x="77718" y="94789"/>
                  </a:lnTo>
                  <a:lnTo>
                    <a:pt x="74585" y="93975"/>
                  </a:lnTo>
                  <a:lnTo>
                    <a:pt x="71910" y="93857"/>
                  </a:lnTo>
                  <a:lnTo>
                    <a:pt x="70169" y="94198"/>
                  </a:lnTo>
                  <a:lnTo>
                    <a:pt x="69361" y="94997"/>
                  </a:lnTo>
                  <a:lnTo>
                    <a:pt x="69299" y="95786"/>
                  </a:lnTo>
                  <a:lnTo>
                    <a:pt x="69976" y="96562"/>
                  </a:lnTo>
                  <a:lnTo>
                    <a:pt x="69614" y="97168"/>
                  </a:lnTo>
                  <a:lnTo>
                    <a:pt x="68211" y="97602"/>
                  </a:lnTo>
                  <a:lnTo>
                    <a:pt x="67079" y="98465"/>
                  </a:lnTo>
                  <a:lnTo>
                    <a:pt x="65812" y="100372"/>
                  </a:lnTo>
                  <a:lnTo>
                    <a:pt x="64930" y="102878"/>
                  </a:lnTo>
                  <a:lnTo>
                    <a:pt x="63605" y="103843"/>
                  </a:lnTo>
                  <a:lnTo>
                    <a:pt x="61553" y="104056"/>
                  </a:lnTo>
                  <a:lnTo>
                    <a:pt x="59536" y="104772"/>
                  </a:lnTo>
                  <a:lnTo>
                    <a:pt x="57549" y="105988"/>
                  </a:lnTo>
                  <a:lnTo>
                    <a:pt x="56612" y="106912"/>
                  </a:lnTo>
                  <a:lnTo>
                    <a:pt x="56721" y="107543"/>
                  </a:lnTo>
                  <a:lnTo>
                    <a:pt x="56290" y="107683"/>
                  </a:lnTo>
                  <a:lnTo>
                    <a:pt x="55321" y="107332"/>
                  </a:lnTo>
                  <a:lnTo>
                    <a:pt x="54863" y="106504"/>
                  </a:lnTo>
                  <a:lnTo>
                    <a:pt x="54911" y="105201"/>
                  </a:lnTo>
                  <a:lnTo>
                    <a:pt x="53900" y="104326"/>
                  </a:lnTo>
                  <a:lnTo>
                    <a:pt x="51827" y="103880"/>
                  </a:lnTo>
                  <a:lnTo>
                    <a:pt x="49462" y="102480"/>
                  </a:lnTo>
                  <a:lnTo>
                    <a:pt x="46804" y="100127"/>
                  </a:lnTo>
                  <a:lnTo>
                    <a:pt x="44960" y="98873"/>
                  </a:lnTo>
                  <a:lnTo>
                    <a:pt x="43926" y="98718"/>
                  </a:lnTo>
                  <a:lnTo>
                    <a:pt x="42447" y="99651"/>
                  </a:lnTo>
                  <a:lnTo>
                    <a:pt x="40521" y="101668"/>
                  </a:lnTo>
                  <a:lnTo>
                    <a:pt x="38929" y="102469"/>
                  </a:lnTo>
                  <a:lnTo>
                    <a:pt x="37672" y="102053"/>
                  </a:lnTo>
                  <a:lnTo>
                    <a:pt x="36702" y="102766"/>
                  </a:lnTo>
                  <a:lnTo>
                    <a:pt x="36025" y="104609"/>
                  </a:lnTo>
                  <a:lnTo>
                    <a:pt x="34772" y="106053"/>
                  </a:lnTo>
                  <a:lnTo>
                    <a:pt x="32035" y="107625"/>
                  </a:lnTo>
                  <a:lnTo>
                    <a:pt x="31844" y="107811"/>
                  </a:lnTo>
                  <a:lnTo>
                    <a:pt x="28718" y="109946"/>
                  </a:lnTo>
                  <a:lnTo>
                    <a:pt x="26197" y="112084"/>
                  </a:lnTo>
                  <a:lnTo>
                    <a:pt x="23274" y="114955"/>
                  </a:lnTo>
                  <a:lnTo>
                    <a:pt x="21896" y="115399"/>
                  </a:lnTo>
                  <a:lnTo>
                    <a:pt x="20581" y="114706"/>
                  </a:lnTo>
                  <a:lnTo>
                    <a:pt x="18594" y="113996"/>
                  </a:lnTo>
                  <a:lnTo>
                    <a:pt x="17547" y="113021"/>
                  </a:lnTo>
                  <a:lnTo>
                    <a:pt x="19548" y="108157"/>
                  </a:lnTo>
                  <a:lnTo>
                    <a:pt x="22075" y="102763"/>
                  </a:lnTo>
                  <a:lnTo>
                    <a:pt x="22753" y="100272"/>
                  </a:lnTo>
                  <a:lnTo>
                    <a:pt x="22859" y="98455"/>
                  </a:lnTo>
                  <a:lnTo>
                    <a:pt x="22610" y="96976"/>
                  </a:lnTo>
                  <a:lnTo>
                    <a:pt x="21622" y="95430"/>
                  </a:lnTo>
                  <a:lnTo>
                    <a:pt x="20689" y="94230"/>
                  </a:lnTo>
                  <a:lnTo>
                    <a:pt x="20609" y="93430"/>
                  </a:lnTo>
                  <a:lnTo>
                    <a:pt x="20907" y="92584"/>
                  </a:lnTo>
                  <a:lnTo>
                    <a:pt x="21922" y="91336"/>
                  </a:lnTo>
                  <a:lnTo>
                    <a:pt x="23230" y="89397"/>
                  </a:lnTo>
                  <a:lnTo>
                    <a:pt x="24446" y="85404"/>
                  </a:lnTo>
                  <a:lnTo>
                    <a:pt x="25902" y="81181"/>
                  </a:lnTo>
                  <a:lnTo>
                    <a:pt x="25759" y="78620"/>
                  </a:lnTo>
                  <a:lnTo>
                    <a:pt x="24580" y="75809"/>
                  </a:lnTo>
                  <a:lnTo>
                    <a:pt x="23939" y="73139"/>
                  </a:lnTo>
                  <a:lnTo>
                    <a:pt x="24453" y="69497"/>
                  </a:lnTo>
                  <a:lnTo>
                    <a:pt x="24256" y="68080"/>
                  </a:lnTo>
                  <a:lnTo>
                    <a:pt x="22991" y="67371"/>
                  </a:lnTo>
                  <a:lnTo>
                    <a:pt x="18830" y="66646"/>
                  </a:lnTo>
                  <a:lnTo>
                    <a:pt x="17493" y="66770"/>
                  </a:lnTo>
                  <a:lnTo>
                    <a:pt x="16435" y="67237"/>
                  </a:lnTo>
                  <a:lnTo>
                    <a:pt x="15299" y="68227"/>
                  </a:lnTo>
                  <a:lnTo>
                    <a:pt x="13908" y="68851"/>
                  </a:lnTo>
                  <a:lnTo>
                    <a:pt x="11289" y="69193"/>
                  </a:lnTo>
                  <a:lnTo>
                    <a:pt x="8814" y="67962"/>
                  </a:lnTo>
                  <a:lnTo>
                    <a:pt x="6748" y="65872"/>
                  </a:lnTo>
                  <a:lnTo>
                    <a:pt x="6251" y="63307"/>
                  </a:lnTo>
                  <a:lnTo>
                    <a:pt x="7767" y="60254"/>
                  </a:lnTo>
                  <a:lnTo>
                    <a:pt x="8836" y="57784"/>
                  </a:lnTo>
                  <a:lnTo>
                    <a:pt x="9466" y="55659"/>
                  </a:lnTo>
                  <a:lnTo>
                    <a:pt x="9397" y="54654"/>
                  </a:lnTo>
                  <a:lnTo>
                    <a:pt x="8946" y="53605"/>
                  </a:lnTo>
                  <a:lnTo>
                    <a:pt x="8328" y="53464"/>
                  </a:lnTo>
                  <a:lnTo>
                    <a:pt x="7000" y="52159"/>
                  </a:lnTo>
                  <a:lnTo>
                    <a:pt x="5709" y="49865"/>
                  </a:lnTo>
                  <a:lnTo>
                    <a:pt x="4489" y="48816"/>
                  </a:lnTo>
                  <a:lnTo>
                    <a:pt x="3340" y="49014"/>
                  </a:lnTo>
                  <a:lnTo>
                    <a:pt x="2280" y="49882"/>
                  </a:lnTo>
                  <a:lnTo>
                    <a:pt x="1308" y="51422"/>
                  </a:lnTo>
                  <a:lnTo>
                    <a:pt x="548" y="52052"/>
                  </a:lnTo>
                  <a:lnTo>
                    <a:pt x="0" y="51769"/>
                  </a:lnTo>
                  <a:lnTo>
                    <a:pt x="166" y="50411"/>
                  </a:lnTo>
                  <a:lnTo>
                    <a:pt x="326" y="49131"/>
                  </a:lnTo>
                  <a:lnTo>
                    <a:pt x="1524" y="44132"/>
                  </a:lnTo>
                  <a:lnTo>
                    <a:pt x="2971" y="40876"/>
                  </a:lnTo>
                  <a:lnTo>
                    <a:pt x="4668" y="39366"/>
                  </a:lnTo>
                  <a:lnTo>
                    <a:pt x="6467" y="38731"/>
                  </a:lnTo>
                  <a:lnTo>
                    <a:pt x="8368" y="38967"/>
                  </a:lnTo>
                  <a:lnTo>
                    <a:pt x="9954" y="38688"/>
                  </a:lnTo>
                  <a:lnTo>
                    <a:pt x="11233" y="37892"/>
                  </a:lnTo>
                  <a:lnTo>
                    <a:pt x="11116" y="37438"/>
                  </a:lnTo>
                  <a:lnTo>
                    <a:pt x="9605" y="37323"/>
                  </a:lnTo>
                  <a:lnTo>
                    <a:pt x="9006" y="36453"/>
                  </a:lnTo>
                  <a:lnTo>
                    <a:pt x="9313" y="34825"/>
                  </a:lnTo>
                  <a:lnTo>
                    <a:pt x="9987" y="33767"/>
                  </a:lnTo>
                  <a:lnTo>
                    <a:pt x="11027" y="33279"/>
                  </a:lnTo>
                  <a:lnTo>
                    <a:pt x="12034" y="31637"/>
                  </a:lnTo>
                  <a:lnTo>
                    <a:pt x="13005" y="28840"/>
                  </a:lnTo>
                  <a:lnTo>
                    <a:pt x="14189" y="27423"/>
                  </a:lnTo>
                  <a:lnTo>
                    <a:pt x="15580" y="27387"/>
                  </a:lnTo>
                  <a:lnTo>
                    <a:pt x="17968" y="26184"/>
                  </a:lnTo>
                  <a:lnTo>
                    <a:pt x="21348" y="23814"/>
                  </a:lnTo>
                  <a:lnTo>
                    <a:pt x="22641" y="21526"/>
                  </a:lnTo>
                  <a:lnTo>
                    <a:pt x="23919" y="22577"/>
                  </a:lnTo>
                  <a:lnTo>
                    <a:pt x="23448" y="25228"/>
                  </a:lnTo>
                  <a:lnTo>
                    <a:pt x="24116" y="25789"/>
                  </a:lnTo>
                  <a:lnTo>
                    <a:pt x="24433" y="26734"/>
                  </a:lnTo>
                  <a:lnTo>
                    <a:pt x="24254" y="28219"/>
                  </a:lnTo>
                  <a:lnTo>
                    <a:pt x="24533" y="29479"/>
                  </a:lnTo>
                  <a:lnTo>
                    <a:pt x="25050" y="30090"/>
                  </a:lnTo>
                  <a:lnTo>
                    <a:pt x="25794" y="30395"/>
                  </a:lnTo>
                  <a:lnTo>
                    <a:pt x="29378" y="29316"/>
                  </a:lnTo>
                  <a:lnTo>
                    <a:pt x="31563" y="29236"/>
                  </a:lnTo>
                  <a:lnTo>
                    <a:pt x="32481" y="29946"/>
                  </a:lnTo>
                  <a:lnTo>
                    <a:pt x="33317" y="30388"/>
                  </a:lnTo>
                  <a:lnTo>
                    <a:pt x="34353" y="30730"/>
                  </a:lnTo>
                  <a:lnTo>
                    <a:pt x="35154" y="31180"/>
                  </a:lnTo>
                  <a:lnTo>
                    <a:pt x="35671" y="31036"/>
                  </a:lnTo>
                  <a:lnTo>
                    <a:pt x="36895" y="29932"/>
                  </a:lnTo>
                  <a:lnTo>
                    <a:pt x="37273" y="29737"/>
                  </a:lnTo>
                  <a:lnTo>
                    <a:pt x="37306" y="29196"/>
                  </a:lnTo>
                  <a:lnTo>
                    <a:pt x="36444" y="28203"/>
                  </a:lnTo>
                  <a:lnTo>
                    <a:pt x="35556" y="27370"/>
                  </a:lnTo>
                  <a:lnTo>
                    <a:pt x="35584" y="25518"/>
                  </a:lnTo>
                  <a:lnTo>
                    <a:pt x="36009" y="22305"/>
                  </a:lnTo>
                  <a:lnTo>
                    <a:pt x="36094" y="20640"/>
                  </a:lnTo>
                  <a:lnTo>
                    <a:pt x="36020" y="16650"/>
                  </a:lnTo>
                  <a:lnTo>
                    <a:pt x="35856" y="15525"/>
                  </a:lnTo>
                  <a:lnTo>
                    <a:pt x="35040" y="14228"/>
                  </a:lnTo>
                  <a:lnTo>
                    <a:pt x="32902" y="11741"/>
                  </a:lnTo>
                  <a:lnTo>
                    <a:pt x="32302" y="10220"/>
                  </a:lnTo>
                  <a:lnTo>
                    <a:pt x="31959" y="8696"/>
                  </a:lnTo>
                  <a:lnTo>
                    <a:pt x="31993" y="7733"/>
                  </a:lnTo>
                  <a:lnTo>
                    <a:pt x="31451" y="6631"/>
                  </a:lnTo>
                  <a:lnTo>
                    <a:pt x="31168" y="5614"/>
                  </a:lnTo>
                  <a:lnTo>
                    <a:pt x="32127" y="5087"/>
                  </a:lnTo>
                  <a:lnTo>
                    <a:pt x="33278" y="3900"/>
                  </a:lnTo>
                  <a:lnTo>
                    <a:pt x="33859" y="2088"/>
                  </a:lnTo>
                  <a:lnTo>
                    <a:pt x="34418" y="766"/>
                  </a:lnTo>
                  <a:lnTo>
                    <a:pt x="35215" y="202"/>
                  </a:lnTo>
                  <a:lnTo>
                    <a:pt x="35906" y="0"/>
                  </a:lnTo>
                  <a:lnTo>
                    <a:pt x="36375" y="115"/>
                  </a:lnTo>
                  <a:lnTo>
                    <a:pt x="38184" y="2482"/>
                  </a:lnTo>
                  <a:lnTo>
                    <a:pt x="40475" y="1298"/>
                  </a:lnTo>
                  <a:lnTo>
                    <a:pt x="42222" y="1303"/>
                  </a:lnTo>
                  <a:lnTo>
                    <a:pt x="43706" y="1929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07" name="ee4p_LB_1_82333">
              <a:extLst>
                <a:ext uri="{FF2B5EF4-FFF2-40B4-BE49-F238E27FC236}">
                  <a16:creationId xmlns:a16="http://schemas.microsoft.com/office/drawing/2014/main" id="{BD804C4A-1B1B-D817-4E4A-1539885EC1FE}"/>
                </a:ext>
              </a:extLst>
            </p:cNvPr>
            <p:cNvSpPr>
              <a:spLocks noChangeAspect="1"/>
            </p:cNvSpPr>
            <p:nvPr>
              <p:custDataLst>
                <p:tags r:id="rId35"/>
              </p:custDataLst>
            </p:nvPr>
          </p:nvSpPr>
          <p:spPr>
            <a:xfrm>
              <a:off x="7489643" y="3645469"/>
              <a:ext cx="41000" cy="51371"/>
            </a:xfrm>
            <a:custGeom>
              <a:avLst/>
              <a:gdLst/>
              <a:ahLst/>
              <a:cxnLst/>
              <a:rect l="0" t="0" r="0" b="0"/>
              <a:pathLst>
                <a:path w="32647" h="39821">
                  <a:moveTo>
                    <a:pt x="16817" y="31014"/>
                  </a:moveTo>
                  <a:lnTo>
                    <a:pt x="16189" y="31412"/>
                  </a:lnTo>
                  <a:lnTo>
                    <a:pt x="15012" y="32548"/>
                  </a:lnTo>
                  <a:lnTo>
                    <a:pt x="13840" y="33468"/>
                  </a:lnTo>
                  <a:lnTo>
                    <a:pt x="11469" y="34892"/>
                  </a:lnTo>
                  <a:lnTo>
                    <a:pt x="10931" y="35744"/>
                  </a:lnTo>
                  <a:lnTo>
                    <a:pt x="10408" y="34980"/>
                  </a:lnTo>
                  <a:lnTo>
                    <a:pt x="9374" y="35499"/>
                  </a:lnTo>
                  <a:lnTo>
                    <a:pt x="8504" y="38738"/>
                  </a:lnTo>
                  <a:lnTo>
                    <a:pt x="6692" y="39820"/>
                  </a:lnTo>
                  <a:lnTo>
                    <a:pt x="4429" y="39724"/>
                  </a:lnTo>
                  <a:lnTo>
                    <a:pt x="2537" y="39417"/>
                  </a:lnTo>
                  <a:lnTo>
                    <a:pt x="0" y="39622"/>
                  </a:lnTo>
                  <a:lnTo>
                    <a:pt x="1028" y="37736"/>
                  </a:lnTo>
                  <a:lnTo>
                    <a:pt x="2099" y="35289"/>
                  </a:lnTo>
                  <a:lnTo>
                    <a:pt x="3157" y="31983"/>
                  </a:lnTo>
                  <a:lnTo>
                    <a:pt x="5023" y="29238"/>
                  </a:lnTo>
                  <a:lnTo>
                    <a:pt x="8895" y="19904"/>
                  </a:lnTo>
                  <a:lnTo>
                    <a:pt x="11128" y="16115"/>
                  </a:lnTo>
                  <a:lnTo>
                    <a:pt x="11924" y="10738"/>
                  </a:lnTo>
                  <a:lnTo>
                    <a:pt x="15383" y="6024"/>
                  </a:lnTo>
                  <a:lnTo>
                    <a:pt x="17973" y="4629"/>
                  </a:lnTo>
                  <a:lnTo>
                    <a:pt x="19223" y="3279"/>
                  </a:lnTo>
                  <a:lnTo>
                    <a:pt x="19186" y="1237"/>
                  </a:lnTo>
                  <a:lnTo>
                    <a:pt x="23052" y="1252"/>
                  </a:lnTo>
                  <a:lnTo>
                    <a:pt x="25539" y="1145"/>
                  </a:lnTo>
                  <a:lnTo>
                    <a:pt x="26263" y="0"/>
                  </a:lnTo>
                  <a:lnTo>
                    <a:pt x="28200" y="520"/>
                  </a:lnTo>
                  <a:lnTo>
                    <a:pt x="29286" y="1629"/>
                  </a:lnTo>
                  <a:lnTo>
                    <a:pt x="28306" y="2792"/>
                  </a:lnTo>
                  <a:lnTo>
                    <a:pt x="26925" y="4130"/>
                  </a:lnTo>
                  <a:lnTo>
                    <a:pt x="27005" y="4472"/>
                  </a:lnTo>
                  <a:lnTo>
                    <a:pt x="28035" y="4583"/>
                  </a:lnTo>
                  <a:lnTo>
                    <a:pt x="29785" y="5306"/>
                  </a:lnTo>
                  <a:lnTo>
                    <a:pt x="30864" y="6149"/>
                  </a:lnTo>
                  <a:lnTo>
                    <a:pt x="32646" y="11411"/>
                  </a:lnTo>
                  <a:lnTo>
                    <a:pt x="31544" y="13574"/>
                  </a:lnTo>
                  <a:lnTo>
                    <a:pt x="29828" y="15502"/>
                  </a:lnTo>
                  <a:lnTo>
                    <a:pt x="29061" y="15675"/>
                  </a:lnTo>
                  <a:lnTo>
                    <a:pt x="27558" y="16634"/>
                  </a:lnTo>
                  <a:lnTo>
                    <a:pt x="26297" y="17943"/>
                  </a:lnTo>
                  <a:lnTo>
                    <a:pt x="25855" y="18772"/>
                  </a:lnTo>
                  <a:lnTo>
                    <a:pt x="25952" y="19545"/>
                  </a:lnTo>
                  <a:lnTo>
                    <a:pt x="27733" y="20515"/>
                  </a:lnTo>
                  <a:lnTo>
                    <a:pt x="27783" y="20907"/>
                  </a:lnTo>
                  <a:lnTo>
                    <a:pt x="27418" y="21212"/>
                  </a:lnTo>
                  <a:lnTo>
                    <a:pt x="25977" y="21000"/>
                  </a:lnTo>
                  <a:lnTo>
                    <a:pt x="24121" y="20902"/>
                  </a:lnTo>
                  <a:lnTo>
                    <a:pt x="23023" y="20903"/>
                  </a:lnTo>
                  <a:lnTo>
                    <a:pt x="21749" y="21100"/>
                  </a:lnTo>
                  <a:lnTo>
                    <a:pt x="20128" y="22283"/>
                  </a:lnTo>
                  <a:lnTo>
                    <a:pt x="19405" y="23059"/>
                  </a:lnTo>
                  <a:lnTo>
                    <a:pt x="19013" y="23561"/>
                  </a:lnTo>
                  <a:lnTo>
                    <a:pt x="18437" y="25170"/>
                  </a:lnTo>
                  <a:lnTo>
                    <a:pt x="19085" y="26273"/>
                  </a:lnTo>
                  <a:lnTo>
                    <a:pt x="20301" y="26896"/>
                  </a:lnTo>
                  <a:lnTo>
                    <a:pt x="20473" y="27216"/>
                  </a:lnTo>
                  <a:lnTo>
                    <a:pt x="20203" y="27775"/>
                  </a:lnTo>
                  <a:lnTo>
                    <a:pt x="18994" y="28467"/>
                  </a:lnTo>
                  <a:lnTo>
                    <a:pt x="18087" y="29316"/>
                  </a:lnTo>
                  <a:lnTo>
                    <a:pt x="17826" y="30181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08" name="ee4p_LK_1_82333">
              <a:extLst>
                <a:ext uri="{FF2B5EF4-FFF2-40B4-BE49-F238E27FC236}">
                  <a16:creationId xmlns:a16="http://schemas.microsoft.com/office/drawing/2014/main" id="{04BB97A7-431C-E8B0-BEC3-3349B3578F3C}"/>
                </a:ext>
              </a:extLst>
            </p:cNvPr>
            <p:cNvSpPr>
              <a:spLocks noChangeAspect="1"/>
            </p:cNvSpPr>
            <p:nvPr>
              <p:custDataLst>
                <p:tags r:id="rId36"/>
              </p:custDataLst>
            </p:nvPr>
          </p:nvSpPr>
          <p:spPr>
            <a:xfrm>
              <a:off x="8728134" y="4394993"/>
              <a:ext cx="60235" cy="110888"/>
            </a:xfrm>
            <a:custGeom>
              <a:avLst/>
              <a:gdLst>
                <a:gd name="connsiteX0" fmla="*/ 881 w 47964"/>
                <a:gd name="connsiteY0" fmla="*/ 15795 h 85957"/>
                <a:gd name="connsiteX1" fmla="*/ 3364 w 47964"/>
                <a:gd name="connsiteY1" fmla="*/ 16661 h 85957"/>
                <a:gd name="connsiteX2" fmla="*/ 3693 w 47964"/>
                <a:gd name="connsiteY2" fmla="*/ 16996 h 85957"/>
                <a:gd name="connsiteX3" fmla="*/ 4332 w 47964"/>
                <a:gd name="connsiteY3" fmla="*/ 18684 h 85957"/>
                <a:gd name="connsiteX4" fmla="*/ 2505 w 47964"/>
                <a:gd name="connsiteY4" fmla="*/ 17528 h 85957"/>
                <a:gd name="connsiteX5" fmla="*/ 1304 w 47964"/>
                <a:gd name="connsiteY5" fmla="*/ 16571 h 85957"/>
                <a:gd name="connsiteX6" fmla="*/ 3636 w 47964"/>
                <a:gd name="connsiteY6" fmla="*/ 1525 h 85957"/>
                <a:gd name="connsiteX7" fmla="*/ 3995 w 47964"/>
                <a:gd name="connsiteY7" fmla="*/ 1596 h 85957"/>
                <a:gd name="connsiteX8" fmla="*/ 4513 w 47964"/>
                <a:gd name="connsiteY8" fmla="*/ 2980 h 85957"/>
                <a:gd name="connsiteX9" fmla="*/ 5787 w 47964"/>
                <a:gd name="connsiteY9" fmla="*/ 4062 h 85957"/>
                <a:gd name="connsiteX10" fmla="*/ 4401 w 47964"/>
                <a:gd name="connsiteY10" fmla="*/ 4304 h 85957"/>
                <a:gd name="connsiteX11" fmla="*/ 3308 w 47964"/>
                <a:gd name="connsiteY11" fmla="*/ 2819 h 85957"/>
                <a:gd name="connsiteX12" fmla="*/ 3049 w 47964"/>
                <a:gd name="connsiteY12" fmla="*/ 2188 h 85957"/>
                <a:gd name="connsiteX13" fmla="*/ 3334 w 47964"/>
                <a:gd name="connsiteY13" fmla="*/ 1748 h 85957"/>
                <a:gd name="connsiteX14" fmla="*/ 6070 w 47964"/>
                <a:gd name="connsiteY14" fmla="*/ 0 h 85957"/>
                <a:gd name="connsiteX15" fmla="*/ 8195 w 47964"/>
                <a:gd name="connsiteY15" fmla="*/ 116 h 85957"/>
                <a:gd name="connsiteX16" fmla="*/ 10462 w 47964"/>
                <a:gd name="connsiteY16" fmla="*/ 60 h 85957"/>
                <a:gd name="connsiteX17" fmla="*/ 12051 w 47964"/>
                <a:gd name="connsiteY17" fmla="*/ 365 h 85957"/>
                <a:gd name="connsiteX18" fmla="*/ 14774 w 47964"/>
                <a:gd name="connsiteY18" fmla="*/ 3802 h 85957"/>
                <a:gd name="connsiteX19" fmla="*/ 22186 w 47964"/>
                <a:gd name="connsiteY19" fmla="*/ 9958 h 85957"/>
                <a:gd name="connsiteX20" fmla="*/ 26217 w 47964"/>
                <a:gd name="connsiteY20" fmla="*/ 16212 h 85957"/>
                <a:gd name="connsiteX21" fmla="*/ 26584 w 47964"/>
                <a:gd name="connsiteY21" fmla="*/ 17580 h 85957"/>
                <a:gd name="connsiteX22" fmla="*/ 27146 w 47964"/>
                <a:gd name="connsiteY22" fmla="*/ 18762 h 85957"/>
                <a:gd name="connsiteX23" fmla="*/ 28113 w 47964"/>
                <a:gd name="connsiteY23" fmla="*/ 19086 h 85957"/>
                <a:gd name="connsiteX24" fmla="*/ 28927 w 47964"/>
                <a:gd name="connsiteY24" fmla="*/ 19628 h 85957"/>
                <a:gd name="connsiteX25" fmla="*/ 32957 w 47964"/>
                <a:gd name="connsiteY25" fmla="*/ 25658 h 85957"/>
                <a:gd name="connsiteX26" fmla="*/ 33421 w 47964"/>
                <a:gd name="connsiteY26" fmla="*/ 26851 h 85957"/>
                <a:gd name="connsiteX27" fmla="*/ 33354 w 47964"/>
                <a:gd name="connsiteY27" fmla="*/ 28165 h 85957"/>
                <a:gd name="connsiteX28" fmla="*/ 33591 w 47964"/>
                <a:gd name="connsiteY28" fmla="*/ 29143 h 85957"/>
                <a:gd name="connsiteX29" fmla="*/ 34645 w 47964"/>
                <a:gd name="connsiteY29" fmla="*/ 29631 h 85957"/>
                <a:gd name="connsiteX30" fmla="*/ 35958 w 47964"/>
                <a:gd name="connsiteY30" fmla="*/ 29887 h 85957"/>
                <a:gd name="connsiteX31" fmla="*/ 36817 w 47964"/>
                <a:gd name="connsiteY31" fmla="*/ 30792 h 85957"/>
                <a:gd name="connsiteX32" fmla="*/ 37908 w 47964"/>
                <a:gd name="connsiteY32" fmla="*/ 35606 h 85957"/>
                <a:gd name="connsiteX33" fmla="*/ 37908 w 47964"/>
                <a:gd name="connsiteY33" fmla="*/ 37105 h 85957"/>
                <a:gd name="connsiteX34" fmla="*/ 38213 w 47964"/>
                <a:gd name="connsiteY34" fmla="*/ 37750 h 85957"/>
                <a:gd name="connsiteX35" fmla="*/ 43287 w 47964"/>
                <a:gd name="connsiteY35" fmla="*/ 45235 h 85957"/>
                <a:gd name="connsiteX36" fmla="*/ 43581 w 47964"/>
                <a:gd name="connsiteY36" fmla="*/ 46145 h 85957"/>
                <a:gd name="connsiteX37" fmla="*/ 43527 w 47964"/>
                <a:gd name="connsiteY37" fmla="*/ 46826 h 85957"/>
                <a:gd name="connsiteX38" fmla="*/ 43673 w 47964"/>
                <a:gd name="connsiteY38" fmla="*/ 47415 h 85957"/>
                <a:gd name="connsiteX39" fmla="*/ 44656 w 47964"/>
                <a:gd name="connsiteY39" fmla="*/ 48737 h 85957"/>
                <a:gd name="connsiteX40" fmla="*/ 46189 w 47964"/>
                <a:gd name="connsiteY40" fmla="*/ 52299 h 85957"/>
                <a:gd name="connsiteX41" fmla="*/ 46971 w 47964"/>
                <a:gd name="connsiteY41" fmla="*/ 53108 h 85957"/>
                <a:gd name="connsiteX42" fmla="*/ 47901 w 47964"/>
                <a:gd name="connsiteY42" fmla="*/ 56222 h 85957"/>
                <a:gd name="connsiteX43" fmla="*/ 47964 w 47964"/>
                <a:gd name="connsiteY43" fmla="*/ 62175 h 85957"/>
                <a:gd name="connsiteX44" fmla="*/ 47621 w 47964"/>
                <a:gd name="connsiteY44" fmla="*/ 64823 h 85957"/>
                <a:gd name="connsiteX45" fmla="*/ 46673 w 47964"/>
                <a:gd name="connsiteY45" fmla="*/ 68045 h 85957"/>
                <a:gd name="connsiteX46" fmla="*/ 45550 w 47964"/>
                <a:gd name="connsiteY46" fmla="*/ 71197 h 85957"/>
                <a:gd name="connsiteX47" fmla="*/ 44332 w 47964"/>
                <a:gd name="connsiteY47" fmla="*/ 73471 h 85957"/>
                <a:gd name="connsiteX48" fmla="*/ 42667 w 47964"/>
                <a:gd name="connsiteY48" fmla="*/ 75397 h 85957"/>
                <a:gd name="connsiteX49" fmla="*/ 36975 w 47964"/>
                <a:gd name="connsiteY49" fmla="*/ 79487 h 85957"/>
                <a:gd name="connsiteX50" fmla="*/ 35345 w 47964"/>
                <a:gd name="connsiteY50" fmla="*/ 80309 h 85957"/>
                <a:gd name="connsiteX51" fmla="*/ 27934 w 47964"/>
                <a:gd name="connsiteY51" fmla="*/ 82872 h 85957"/>
                <a:gd name="connsiteX52" fmla="*/ 22473 w 47964"/>
                <a:gd name="connsiteY52" fmla="*/ 85298 h 85957"/>
                <a:gd name="connsiteX53" fmla="*/ 17424 w 47964"/>
                <a:gd name="connsiteY53" fmla="*/ 85957 h 85957"/>
                <a:gd name="connsiteX54" fmla="*/ 12373 w 47964"/>
                <a:gd name="connsiteY54" fmla="*/ 84617 h 85957"/>
                <a:gd name="connsiteX55" fmla="*/ 8569 w 47964"/>
                <a:gd name="connsiteY55" fmla="*/ 81434 h 85957"/>
                <a:gd name="connsiteX56" fmla="*/ 6621 w 47964"/>
                <a:gd name="connsiteY56" fmla="*/ 76745 h 85957"/>
                <a:gd name="connsiteX57" fmla="*/ 5288 w 47964"/>
                <a:gd name="connsiteY57" fmla="*/ 71858 h 85957"/>
                <a:gd name="connsiteX58" fmla="*/ 3351 w 47964"/>
                <a:gd name="connsiteY58" fmla="*/ 66422 h 85957"/>
                <a:gd name="connsiteX59" fmla="*/ 1864 w 47964"/>
                <a:gd name="connsiteY59" fmla="*/ 49622 h 85957"/>
                <a:gd name="connsiteX60" fmla="*/ 1153 w 47964"/>
                <a:gd name="connsiteY60" fmla="*/ 44923 h 85957"/>
                <a:gd name="connsiteX61" fmla="*/ 0 w 47964"/>
                <a:gd name="connsiteY61" fmla="*/ 38934 h 85957"/>
                <a:gd name="connsiteX62" fmla="*/ 114 w 47964"/>
                <a:gd name="connsiteY62" fmla="*/ 36338 h 85957"/>
                <a:gd name="connsiteX63" fmla="*/ 928 w 47964"/>
                <a:gd name="connsiteY63" fmla="*/ 33847 h 85957"/>
                <a:gd name="connsiteX64" fmla="*/ 926 w 47964"/>
                <a:gd name="connsiteY64" fmla="*/ 39308 h 85957"/>
                <a:gd name="connsiteX65" fmla="*/ 1673 w 47964"/>
                <a:gd name="connsiteY65" fmla="*/ 39985 h 85957"/>
                <a:gd name="connsiteX66" fmla="*/ 2235 w 47964"/>
                <a:gd name="connsiteY66" fmla="*/ 39283 h 85957"/>
                <a:gd name="connsiteX67" fmla="*/ 2745 w 47964"/>
                <a:gd name="connsiteY67" fmla="*/ 33628 h 85957"/>
                <a:gd name="connsiteX68" fmla="*/ 3163 w 47964"/>
                <a:gd name="connsiteY68" fmla="*/ 31235 h 85957"/>
                <a:gd name="connsiteX69" fmla="*/ 5174 w 47964"/>
                <a:gd name="connsiteY69" fmla="*/ 25000 h 85957"/>
                <a:gd name="connsiteX70" fmla="*/ 5215 w 47964"/>
                <a:gd name="connsiteY70" fmla="*/ 23894 h 85957"/>
                <a:gd name="connsiteX71" fmla="*/ 4867 w 47964"/>
                <a:gd name="connsiteY71" fmla="*/ 21549 h 85957"/>
                <a:gd name="connsiteX72" fmla="*/ 4889 w 47964"/>
                <a:gd name="connsiteY72" fmla="*/ 20372 h 85957"/>
                <a:gd name="connsiteX73" fmla="*/ 7895 w 47964"/>
                <a:gd name="connsiteY73" fmla="*/ 15994 h 85957"/>
                <a:gd name="connsiteX74" fmla="*/ 8664 w 47964"/>
                <a:gd name="connsiteY74" fmla="*/ 13446 h 85957"/>
                <a:gd name="connsiteX75" fmla="*/ 9078 w 47964"/>
                <a:gd name="connsiteY75" fmla="*/ 10839 h 85957"/>
                <a:gd name="connsiteX76" fmla="*/ 8914 w 47964"/>
                <a:gd name="connsiteY76" fmla="*/ 8020 h 85957"/>
                <a:gd name="connsiteX77" fmla="*/ 8370 w 47964"/>
                <a:gd name="connsiteY77" fmla="*/ 5241 h 85957"/>
                <a:gd name="connsiteX78" fmla="*/ 10797 w 47964"/>
                <a:gd name="connsiteY78" fmla="*/ 6127 h 85957"/>
                <a:gd name="connsiteX79" fmla="*/ 12132 w 47964"/>
                <a:gd name="connsiteY79" fmla="*/ 7094 h 85957"/>
                <a:gd name="connsiteX80" fmla="*/ 13492 w 47964"/>
                <a:gd name="connsiteY80" fmla="*/ 7749 h 85957"/>
                <a:gd name="connsiteX81" fmla="*/ 14597 w 47964"/>
                <a:gd name="connsiteY81" fmla="*/ 7413 h 85957"/>
                <a:gd name="connsiteX82" fmla="*/ 15932 w 47964"/>
                <a:gd name="connsiteY82" fmla="*/ 7402 h 85957"/>
                <a:gd name="connsiteX83" fmla="*/ 14982 w 47964"/>
                <a:gd name="connsiteY83" fmla="*/ 5889 h 85957"/>
                <a:gd name="connsiteX84" fmla="*/ 12157 w 47964"/>
                <a:gd name="connsiteY84" fmla="*/ 4495 h 85957"/>
                <a:gd name="connsiteX85" fmla="*/ 7474 w 47964"/>
                <a:gd name="connsiteY85" fmla="*/ 3633 h 85957"/>
                <a:gd name="connsiteX86" fmla="*/ 6007 w 47964"/>
                <a:gd name="connsiteY86" fmla="*/ 2529 h 85957"/>
                <a:gd name="connsiteX87" fmla="*/ 5444 w 47964"/>
                <a:gd name="connsiteY87" fmla="*/ 1570 h 85957"/>
                <a:gd name="connsiteX88" fmla="*/ 5731 w 47964"/>
                <a:gd name="connsiteY88" fmla="*/ 448 h 859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</a:cxnLst>
              <a:rect l="l" t="t" r="r" b="b"/>
              <a:pathLst>
                <a:path w="47964" h="85957">
                  <a:moveTo>
                    <a:pt x="881" y="15795"/>
                  </a:moveTo>
                  <a:lnTo>
                    <a:pt x="3364" y="16661"/>
                  </a:lnTo>
                  <a:lnTo>
                    <a:pt x="3693" y="16996"/>
                  </a:lnTo>
                  <a:lnTo>
                    <a:pt x="4332" y="18684"/>
                  </a:lnTo>
                  <a:lnTo>
                    <a:pt x="2505" y="17528"/>
                  </a:lnTo>
                  <a:lnTo>
                    <a:pt x="1304" y="16571"/>
                  </a:lnTo>
                  <a:close/>
                  <a:moveTo>
                    <a:pt x="3636" y="1525"/>
                  </a:moveTo>
                  <a:lnTo>
                    <a:pt x="3995" y="1596"/>
                  </a:lnTo>
                  <a:lnTo>
                    <a:pt x="4513" y="2980"/>
                  </a:lnTo>
                  <a:lnTo>
                    <a:pt x="5787" y="4062"/>
                  </a:lnTo>
                  <a:lnTo>
                    <a:pt x="4401" y="4304"/>
                  </a:lnTo>
                  <a:lnTo>
                    <a:pt x="3308" y="2819"/>
                  </a:lnTo>
                  <a:lnTo>
                    <a:pt x="3049" y="2188"/>
                  </a:lnTo>
                  <a:lnTo>
                    <a:pt x="3334" y="1748"/>
                  </a:lnTo>
                  <a:close/>
                  <a:moveTo>
                    <a:pt x="6070" y="0"/>
                  </a:moveTo>
                  <a:lnTo>
                    <a:pt x="8195" y="116"/>
                  </a:lnTo>
                  <a:lnTo>
                    <a:pt x="10462" y="60"/>
                  </a:lnTo>
                  <a:lnTo>
                    <a:pt x="12051" y="365"/>
                  </a:lnTo>
                  <a:lnTo>
                    <a:pt x="14774" y="3802"/>
                  </a:lnTo>
                  <a:lnTo>
                    <a:pt x="22186" y="9958"/>
                  </a:lnTo>
                  <a:lnTo>
                    <a:pt x="26217" y="16212"/>
                  </a:lnTo>
                  <a:lnTo>
                    <a:pt x="26584" y="17580"/>
                  </a:lnTo>
                  <a:lnTo>
                    <a:pt x="27146" y="18762"/>
                  </a:lnTo>
                  <a:lnTo>
                    <a:pt x="28113" y="19086"/>
                  </a:lnTo>
                  <a:lnTo>
                    <a:pt x="28927" y="19628"/>
                  </a:lnTo>
                  <a:lnTo>
                    <a:pt x="32957" y="25658"/>
                  </a:lnTo>
                  <a:lnTo>
                    <a:pt x="33421" y="26851"/>
                  </a:lnTo>
                  <a:lnTo>
                    <a:pt x="33354" y="28165"/>
                  </a:lnTo>
                  <a:lnTo>
                    <a:pt x="33591" y="29143"/>
                  </a:lnTo>
                  <a:lnTo>
                    <a:pt x="34645" y="29631"/>
                  </a:lnTo>
                  <a:lnTo>
                    <a:pt x="35958" y="29887"/>
                  </a:lnTo>
                  <a:lnTo>
                    <a:pt x="36817" y="30792"/>
                  </a:lnTo>
                  <a:lnTo>
                    <a:pt x="37908" y="35606"/>
                  </a:lnTo>
                  <a:lnTo>
                    <a:pt x="37908" y="37105"/>
                  </a:lnTo>
                  <a:lnTo>
                    <a:pt x="38213" y="37750"/>
                  </a:lnTo>
                  <a:lnTo>
                    <a:pt x="43287" y="45235"/>
                  </a:lnTo>
                  <a:lnTo>
                    <a:pt x="43581" y="46145"/>
                  </a:lnTo>
                  <a:lnTo>
                    <a:pt x="43527" y="46826"/>
                  </a:lnTo>
                  <a:lnTo>
                    <a:pt x="43673" y="47415"/>
                  </a:lnTo>
                  <a:lnTo>
                    <a:pt x="44656" y="48737"/>
                  </a:lnTo>
                  <a:lnTo>
                    <a:pt x="46189" y="52299"/>
                  </a:lnTo>
                  <a:lnTo>
                    <a:pt x="46971" y="53108"/>
                  </a:lnTo>
                  <a:lnTo>
                    <a:pt x="47901" y="56222"/>
                  </a:lnTo>
                  <a:lnTo>
                    <a:pt x="47964" y="62175"/>
                  </a:lnTo>
                  <a:lnTo>
                    <a:pt x="47621" y="64823"/>
                  </a:lnTo>
                  <a:lnTo>
                    <a:pt x="46673" y="68045"/>
                  </a:lnTo>
                  <a:lnTo>
                    <a:pt x="45550" y="71197"/>
                  </a:lnTo>
                  <a:lnTo>
                    <a:pt x="44332" y="73471"/>
                  </a:lnTo>
                  <a:lnTo>
                    <a:pt x="42667" y="75397"/>
                  </a:lnTo>
                  <a:lnTo>
                    <a:pt x="36975" y="79487"/>
                  </a:lnTo>
                  <a:lnTo>
                    <a:pt x="35345" y="80309"/>
                  </a:lnTo>
                  <a:lnTo>
                    <a:pt x="27934" y="82872"/>
                  </a:lnTo>
                  <a:lnTo>
                    <a:pt x="22473" y="85298"/>
                  </a:lnTo>
                  <a:lnTo>
                    <a:pt x="17424" y="85957"/>
                  </a:lnTo>
                  <a:lnTo>
                    <a:pt x="12373" y="84617"/>
                  </a:lnTo>
                  <a:lnTo>
                    <a:pt x="8569" y="81434"/>
                  </a:lnTo>
                  <a:lnTo>
                    <a:pt x="6621" y="76745"/>
                  </a:lnTo>
                  <a:lnTo>
                    <a:pt x="5288" y="71858"/>
                  </a:lnTo>
                  <a:lnTo>
                    <a:pt x="3351" y="66422"/>
                  </a:lnTo>
                  <a:lnTo>
                    <a:pt x="1864" y="49622"/>
                  </a:lnTo>
                  <a:lnTo>
                    <a:pt x="1153" y="44923"/>
                  </a:lnTo>
                  <a:lnTo>
                    <a:pt x="0" y="38934"/>
                  </a:lnTo>
                  <a:lnTo>
                    <a:pt x="114" y="36338"/>
                  </a:lnTo>
                  <a:lnTo>
                    <a:pt x="928" y="33847"/>
                  </a:lnTo>
                  <a:lnTo>
                    <a:pt x="926" y="39308"/>
                  </a:lnTo>
                  <a:lnTo>
                    <a:pt x="1673" y="39985"/>
                  </a:lnTo>
                  <a:lnTo>
                    <a:pt x="2235" y="39283"/>
                  </a:lnTo>
                  <a:lnTo>
                    <a:pt x="2745" y="33628"/>
                  </a:lnTo>
                  <a:lnTo>
                    <a:pt x="3163" y="31235"/>
                  </a:lnTo>
                  <a:lnTo>
                    <a:pt x="5174" y="25000"/>
                  </a:lnTo>
                  <a:lnTo>
                    <a:pt x="5215" y="23894"/>
                  </a:lnTo>
                  <a:lnTo>
                    <a:pt x="4867" y="21549"/>
                  </a:lnTo>
                  <a:lnTo>
                    <a:pt x="4889" y="20372"/>
                  </a:lnTo>
                  <a:lnTo>
                    <a:pt x="7895" y="15994"/>
                  </a:lnTo>
                  <a:lnTo>
                    <a:pt x="8664" y="13446"/>
                  </a:lnTo>
                  <a:lnTo>
                    <a:pt x="9078" y="10839"/>
                  </a:lnTo>
                  <a:lnTo>
                    <a:pt x="8914" y="8020"/>
                  </a:lnTo>
                  <a:lnTo>
                    <a:pt x="8370" y="5241"/>
                  </a:lnTo>
                  <a:lnTo>
                    <a:pt x="10797" y="6127"/>
                  </a:lnTo>
                  <a:lnTo>
                    <a:pt x="12132" y="7094"/>
                  </a:lnTo>
                  <a:lnTo>
                    <a:pt x="13492" y="7749"/>
                  </a:lnTo>
                  <a:lnTo>
                    <a:pt x="14597" y="7413"/>
                  </a:lnTo>
                  <a:lnTo>
                    <a:pt x="15932" y="7402"/>
                  </a:lnTo>
                  <a:lnTo>
                    <a:pt x="14982" y="5889"/>
                  </a:lnTo>
                  <a:lnTo>
                    <a:pt x="12157" y="4495"/>
                  </a:lnTo>
                  <a:lnTo>
                    <a:pt x="7474" y="3633"/>
                  </a:lnTo>
                  <a:lnTo>
                    <a:pt x="6007" y="2529"/>
                  </a:lnTo>
                  <a:lnTo>
                    <a:pt x="5444" y="1570"/>
                  </a:lnTo>
                  <a:lnTo>
                    <a:pt x="5731" y="448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09" name="ee4p_MM_1_82333">
              <a:extLst>
                <a:ext uri="{FF2B5EF4-FFF2-40B4-BE49-F238E27FC236}">
                  <a16:creationId xmlns:a16="http://schemas.microsoft.com/office/drawing/2014/main" id="{A88BB3A2-B602-11FF-03D2-B9A8D9D3A54C}"/>
                </a:ext>
              </a:extLst>
            </p:cNvPr>
            <p:cNvSpPr>
              <a:spLocks noChangeAspect="1"/>
            </p:cNvSpPr>
            <p:nvPr>
              <p:custDataLst>
                <p:tags r:id="rId37"/>
              </p:custDataLst>
            </p:nvPr>
          </p:nvSpPr>
          <p:spPr>
            <a:xfrm>
              <a:off x="9074468" y="3839933"/>
              <a:ext cx="249027" cy="553252"/>
            </a:xfrm>
            <a:custGeom>
              <a:avLst/>
              <a:gdLst>
                <a:gd name="connsiteX0" fmla="*/ 135152 w 198295"/>
                <a:gd name="connsiteY0" fmla="*/ 424937 h 428865"/>
                <a:gd name="connsiteX1" fmla="*/ 134968 w 198295"/>
                <a:gd name="connsiteY1" fmla="*/ 425913 h 428865"/>
                <a:gd name="connsiteX2" fmla="*/ 133816 w 198295"/>
                <a:gd name="connsiteY2" fmla="*/ 427111 h 428865"/>
                <a:gd name="connsiteX3" fmla="*/ 132740 w 198295"/>
                <a:gd name="connsiteY3" fmla="*/ 427569 h 428865"/>
                <a:gd name="connsiteX4" fmla="*/ 131673 w 198295"/>
                <a:gd name="connsiteY4" fmla="*/ 428865 h 428865"/>
                <a:gd name="connsiteX5" fmla="*/ 131313 w 198295"/>
                <a:gd name="connsiteY5" fmla="*/ 428810 h 428865"/>
                <a:gd name="connsiteX6" fmla="*/ 131802 w 198295"/>
                <a:gd name="connsiteY6" fmla="*/ 426649 h 428865"/>
                <a:gd name="connsiteX7" fmla="*/ 133582 w 198295"/>
                <a:gd name="connsiteY7" fmla="*/ 425073 h 428865"/>
                <a:gd name="connsiteX8" fmla="*/ 132401 w 198295"/>
                <a:gd name="connsiteY8" fmla="*/ 404171 h 428865"/>
                <a:gd name="connsiteX9" fmla="*/ 133340 w 198295"/>
                <a:gd name="connsiteY9" fmla="*/ 404789 h 428865"/>
                <a:gd name="connsiteX10" fmla="*/ 135191 w 198295"/>
                <a:gd name="connsiteY10" fmla="*/ 408659 h 428865"/>
                <a:gd name="connsiteX11" fmla="*/ 134990 w 198295"/>
                <a:gd name="connsiteY11" fmla="*/ 409253 h 428865"/>
                <a:gd name="connsiteX12" fmla="*/ 134705 w 198295"/>
                <a:gd name="connsiteY12" fmla="*/ 409550 h 428865"/>
                <a:gd name="connsiteX13" fmla="*/ 134268 w 198295"/>
                <a:gd name="connsiteY13" fmla="*/ 409448 h 428865"/>
                <a:gd name="connsiteX14" fmla="*/ 133526 w 198295"/>
                <a:gd name="connsiteY14" fmla="*/ 407361 h 428865"/>
                <a:gd name="connsiteX15" fmla="*/ 132137 w 198295"/>
                <a:gd name="connsiteY15" fmla="*/ 406014 h 428865"/>
                <a:gd name="connsiteX16" fmla="*/ 130481 w 198295"/>
                <a:gd name="connsiteY16" fmla="*/ 406268 h 428865"/>
                <a:gd name="connsiteX17" fmla="*/ 131854 w 198295"/>
                <a:gd name="connsiteY17" fmla="*/ 404556 h 428865"/>
                <a:gd name="connsiteX18" fmla="*/ 140345 w 198295"/>
                <a:gd name="connsiteY18" fmla="*/ 401785 h 428865"/>
                <a:gd name="connsiteX19" fmla="*/ 140680 w 198295"/>
                <a:gd name="connsiteY19" fmla="*/ 404592 h 428865"/>
                <a:gd name="connsiteX20" fmla="*/ 140176 w 198295"/>
                <a:gd name="connsiteY20" fmla="*/ 404640 h 428865"/>
                <a:gd name="connsiteX21" fmla="*/ 139714 w 198295"/>
                <a:gd name="connsiteY21" fmla="*/ 404531 h 428865"/>
                <a:gd name="connsiteX22" fmla="*/ 139259 w 198295"/>
                <a:gd name="connsiteY22" fmla="*/ 404184 h 428865"/>
                <a:gd name="connsiteX23" fmla="*/ 135327 w 198295"/>
                <a:gd name="connsiteY23" fmla="*/ 386196 h 428865"/>
                <a:gd name="connsiteX24" fmla="*/ 135501 w 198295"/>
                <a:gd name="connsiteY24" fmla="*/ 387543 h 428865"/>
                <a:gd name="connsiteX25" fmla="*/ 134977 w 198295"/>
                <a:gd name="connsiteY25" fmla="*/ 390429 h 428865"/>
                <a:gd name="connsiteX26" fmla="*/ 134523 w 198295"/>
                <a:gd name="connsiteY26" fmla="*/ 392008 h 428865"/>
                <a:gd name="connsiteX27" fmla="*/ 133604 w 198295"/>
                <a:gd name="connsiteY27" fmla="*/ 393025 h 428865"/>
                <a:gd name="connsiteX28" fmla="*/ 133483 w 198295"/>
                <a:gd name="connsiteY28" fmla="*/ 393528 h 428865"/>
                <a:gd name="connsiteX29" fmla="*/ 133331 w 198295"/>
                <a:gd name="connsiteY29" fmla="*/ 393511 h 428865"/>
                <a:gd name="connsiteX30" fmla="*/ 132844 w 198295"/>
                <a:gd name="connsiteY30" fmla="*/ 393155 h 428865"/>
                <a:gd name="connsiteX31" fmla="*/ 133148 w 198295"/>
                <a:gd name="connsiteY31" fmla="*/ 391032 h 428865"/>
                <a:gd name="connsiteX32" fmla="*/ 133988 w 198295"/>
                <a:gd name="connsiteY32" fmla="*/ 389295 h 428865"/>
                <a:gd name="connsiteX33" fmla="*/ 134852 w 198295"/>
                <a:gd name="connsiteY33" fmla="*/ 386747 h 428865"/>
                <a:gd name="connsiteX34" fmla="*/ 140279 w 198295"/>
                <a:gd name="connsiteY34" fmla="*/ 385704 h 428865"/>
                <a:gd name="connsiteX35" fmla="*/ 140948 w 198295"/>
                <a:gd name="connsiteY35" fmla="*/ 387051 h 428865"/>
                <a:gd name="connsiteX36" fmla="*/ 140386 w 198295"/>
                <a:gd name="connsiteY36" fmla="*/ 391671 h 428865"/>
                <a:gd name="connsiteX37" fmla="*/ 138980 w 198295"/>
                <a:gd name="connsiteY37" fmla="*/ 391032 h 428865"/>
                <a:gd name="connsiteX38" fmla="*/ 138315 w 198295"/>
                <a:gd name="connsiteY38" fmla="*/ 391034 h 428865"/>
                <a:gd name="connsiteX39" fmla="*/ 137477 w 198295"/>
                <a:gd name="connsiteY39" fmla="*/ 388425 h 428865"/>
                <a:gd name="connsiteX40" fmla="*/ 137536 w 198295"/>
                <a:gd name="connsiteY40" fmla="*/ 387723 h 428865"/>
                <a:gd name="connsiteX41" fmla="*/ 137026 w 198295"/>
                <a:gd name="connsiteY41" fmla="*/ 386005 h 428865"/>
                <a:gd name="connsiteX42" fmla="*/ 128931 w 198295"/>
                <a:gd name="connsiteY42" fmla="*/ 384464 h 428865"/>
                <a:gd name="connsiteX43" fmla="*/ 130019 w 198295"/>
                <a:gd name="connsiteY43" fmla="*/ 386785 h 428865"/>
                <a:gd name="connsiteX44" fmla="*/ 130488 w 198295"/>
                <a:gd name="connsiteY44" fmla="*/ 387312 h 428865"/>
                <a:gd name="connsiteX45" fmla="*/ 130371 w 198295"/>
                <a:gd name="connsiteY45" fmla="*/ 388227 h 428865"/>
                <a:gd name="connsiteX46" fmla="*/ 130551 w 198295"/>
                <a:gd name="connsiteY46" fmla="*/ 389472 h 428865"/>
                <a:gd name="connsiteX47" fmla="*/ 129169 w 198295"/>
                <a:gd name="connsiteY47" fmla="*/ 388148 h 428865"/>
                <a:gd name="connsiteX48" fmla="*/ 139011 w 198295"/>
                <a:gd name="connsiteY48" fmla="*/ 379441 h 428865"/>
                <a:gd name="connsiteX49" fmla="*/ 140317 w 198295"/>
                <a:gd name="connsiteY49" fmla="*/ 381214 h 428865"/>
                <a:gd name="connsiteX50" fmla="*/ 142181 w 198295"/>
                <a:gd name="connsiteY50" fmla="*/ 382303 h 428865"/>
                <a:gd name="connsiteX51" fmla="*/ 141448 w 198295"/>
                <a:gd name="connsiteY51" fmla="*/ 383010 h 428865"/>
                <a:gd name="connsiteX52" fmla="*/ 140112 w 198295"/>
                <a:gd name="connsiteY52" fmla="*/ 383460 h 428865"/>
                <a:gd name="connsiteX53" fmla="*/ 139190 w 198295"/>
                <a:gd name="connsiteY53" fmla="*/ 383586 h 428865"/>
                <a:gd name="connsiteX54" fmla="*/ 138752 w 198295"/>
                <a:gd name="connsiteY54" fmla="*/ 379956 h 428865"/>
                <a:gd name="connsiteX55" fmla="*/ 130280 w 198295"/>
                <a:gd name="connsiteY55" fmla="*/ 374785 h 428865"/>
                <a:gd name="connsiteX56" fmla="*/ 131021 w 198295"/>
                <a:gd name="connsiteY56" fmla="*/ 374874 h 428865"/>
                <a:gd name="connsiteX57" fmla="*/ 131409 w 198295"/>
                <a:gd name="connsiteY57" fmla="*/ 375078 h 428865"/>
                <a:gd name="connsiteX58" fmla="*/ 131541 w 198295"/>
                <a:gd name="connsiteY58" fmla="*/ 375470 h 428865"/>
                <a:gd name="connsiteX59" fmla="*/ 131321 w 198295"/>
                <a:gd name="connsiteY59" fmla="*/ 376319 h 428865"/>
                <a:gd name="connsiteX60" fmla="*/ 131358 w 198295"/>
                <a:gd name="connsiteY60" fmla="*/ 377039 h 428865"/>
                <a:gd name="connsiteX61" fmla="*/ 131725 w 198295"/>
                <a:gd name="connsiteY61" fmla="*/ 377956 h 428865"/>
                <a:gd name="connsiteX62" fmla="*/ 131468 w 198295"/>
                <a:gd name="connsiteY62" fmla="*/ 378081 h 428865"/>
                <a:gd name="connsiteX63" fmla="*/ 131101 w 198295"/>
                <a:gd name="connsiteY63" fmla="*/ 378009 h 428865"/>
                <a:gd name="connsiteX64" fmla="*/ 130369 w 198295"/>
                <a:gd name="connsiteY64" fmla="*/ 377642 h 428865"/>
                <a:gd name="connsiteX65" fmla="*/ 129527 w 198295"/>
                <a:gd name="connsiteY65" fmla="*/ 376116 h 428865"/>
                <a:gd name="connsiteX66" fmla="*/ 129969 w 198295"/>
                <a:gd name="connsiteY66" fmla="*/ 375047 h 428865"/>
                <a:gd name="connsiteX67" fmla="*/ 130025 w 198295"/>
                <a:gd name="connsiteY67" fmla="*/ 372404 h 428865"/>
                <a:gd name="connsiteX68" fmla="*/ 130164 w 198295"/>
                <a:gd name="connsiteY68" fmla="*/ 372585 h 428865"/>
                <a:gd name="connsiteX69" fmla="*/ 130036 w 198295"/>
                <a:gd name="connsiteY69" fmla="*/ 373399 h 428865"/>
                <a:gd name="connsiteX70" fmla="*/ 128754 w 198295"/>
                <a:gd name="connsiteY70" fmla="*/ 375071 h 428865"/>
                <a:gd name="connsiteX71" fmla="*/ 127635 w 198295"/>
                <a:gd name="connsiteY71" fmla="*/ 374099 h 428865"/>
                <a:gd name="connsiteX72" fmla="*/ 127346 w 198295"/>
                <a:gd name="connsiteY72" fmla="*/ 373566 h 428865"/>
                <a:gd name="connsiteX73" fmla="*/ 128486 w 198295"/>
                <a:gd name="connsiteY73" fmla="*/ 372495 h 428865"/>
                <a:gd name="connsiteX74" fmla="*/ 129700 w 198295"/>
                <a:gd name="connsiteY74" fmla="*/ 372648 h 428865"/>
                <a:gd name="connsiteX75" fmla="*/ 135603 w 198295"/>
                <a:gd name="connsiteY75" fmla="*/ 366109 h 428865"/>
                <a:gd name="connsiteX76" fmla="*/ 137469 w 198295"/>
                <a:gd name="connsiteY76" fmla="*/ 366807 h 428865"/>
                <a:gd name="connsiteX77" fmla="*/ 137856 w 198295"/>
                <a:gd name="connsiteY77" fmla="*/ 367911 h 428865"/>
                <a:gd name="connsiteX78" fmla="*/ 138352 w 198295"/>
                <a:gd name="connsiteY78" fmla="*/ 368528 h 428865"/>
                <a:gd name="connsiteX79" fmla="*/ 139056 w 198295"/>
                <a:gd name="connsiteY79" fmla="*/ 368509 h 428865"/>
                <a:gd name="connsiteX80" fmla="*/ 138862 w 198295"/>
                <a:gd name="connsiteY80" fmla="*/ 370701 h 428865"/>
                <a:gd name="connsiteX81" fmla="*/ 137123 w 198295"/>
                <a:gd name="connsiteY81" fmla="*/ 373396 h 428865"/>
                <a:gd name="connsiteX82" fmla="*/ 136098 w 198295"/>
                <a:gd name="connsiteY82" fmla="*/ 373788 h 428865"/>
                <a:gd name="connsiteX83" fmla="*/ 135642 w 198295"/>
                <a:gd name="connsiteY83" fmla="*/ 373793 h 428865"/>
                <a:gd name="connsiteX84" fmla="*/ 136031 w 198295"/>
                <a:gd name="connsiteY84" fmla="*/ 369854 h 428865"/>
                <a:gd name="connsiteX85" fmla="*/ 135391 w 198295"/>
                <a:gd name="connsiteY85" fmla="*/ 367605 h 428865"/>
                <a:gd name="connsiteX86" fmla="*/ 134569 w 198295"/>
                <a:gd name="connsiteY86" fmla="*/ 354329 h 428865"/>
                <a:gd name="connsiteX87" fmla="*/ 134640 w 198295"/>
                <a:gd name="connsiteY87" fmla="*/ 354619 h 428865"/>
                <a:gd name="connsiteX88" fmla="*/ 135305 w 198295"/>
                <a:gd name="connsiteY88" fmla="*/ 355467 h 428865"/>
                <a:gd name="connsiteX89" fmla="*/ 135677 w 198295"/>
                <a:gd name="connsiteY89" fmla="*/ 356650 h 428865"/>
                <a:gd name="connsiteX90" fmla="*/ 135539 w 198295"/>
                <a:gd name="connsiteY90" fmla="*/ 360345 h 428865"/>
                <a:gd name="connsiteX91" fmla="*/ 134435 w 198295"/>
                <a:gd name="connsiteY91" fmla="*/ 358562 h 428865"/>
                <a:gd name="connsiteX92" fmla="*/ 134247 w 198295"/>
                <a:gd name="connsiteY92" fmla="*/ 356530 h 428865"/>
                <a:gd name="connsiteX93" fmla="*/ 134332 w 198295"/>
                <a:gd name="connsiteY93" fmla="*/ 354637 h 428865"/>
                <a:gd name="connsiteX94" fmla="*/ 58563 w 198295"/>
                <a:gd name="connsiteY94" fmla="*/ 292671 h 428865"/>
                <a:gd name="connsiteX95" fmla="*/ 58788 w 198295"/>
                <a:gd name="connsiteY95" fmla="*/ 293599 h 428865"/>
                <a:gd name="connsiteX96" fmla="*/ 58051 w 198295"/>
                <a:gd name="connsiteY96" fmla="*/ 295248 h 428865"/>
                <a:gd name="connsiteX97" fmla="*/ 57598 w 198295"/>
                <a:gd name="connsiteY97" fmla="*/ 295826 h 428865"/>
                <a:gd name="connsiteX98" fmla="*/ 56691 w 198295"/>
                <a:gd name="connsiteY98" fmla="*/ 295412 h 428865"/>
                <a:gd name="connsiteX99" fmla="*/ 56472 w 198295"/>
                <a:gd name="connsiteY99" fmla="*/ 295164 h 428865"/>
                <a:gd name="connsiteX100" fmla="*/ 53549 w 198295"/>
                <a:gd name="connsiteY100" fmla="*/ 286490 h 428865"/>
                <a:gd name="connsiteX101" fmla="*/ 53933 w 198295"/>
                <a:gd name="connsiteY101" fmla="*/ 287947 h 428865"/>
                <a:gd name="connsiteX102" fmla="*/ 52772 w 198295"/>
                <a:gd name="connsiteY102" fmla="*/ 290715 h 428865"/>
                <a:gd name="connsiteX103" fmla="*/ 50796 w 198295"/>
                <a:gd name="connsiteY103" fmla="*/ 292378 h 428865"/>
                <a:gd name="connsiteX104" fmla="*/ 49362 w 198295"/>
                <a:gd name="connsiteY104" fmla="*/ 294590 h 428865"/>
                <a:gd name="connsiteX105" fmla="*/ 48831 w 198295"/>
                <a:gd name="connsiteY105" fmla="*/ 291285 h 428865"/>
                <a:gd name="connsiteX106" fmla="*/ 51171 w 198295"/>
                <a:gd name="connsiteY106" fmla="*/ 289444 h 428865"/>
                <a:gd name="connsiteX107" fmla="*/ 52327 w 198295"/>
                <a:gd name="connsiteY107" fmla="*/ 287686 h 428865"/>
                <a:gd name="connsiteX108" fmla="*/ 118575 w 198295"/>
                <a:gd name="connsiteY108" fmla="*/ 279690 h 428865"/>
                <a:gd name="connsiteX109" fmla="*/ 119392 w 198295"/>
                <a:gd name="connsiteY109" fmla="*/ 280123 h 428865"/>
                <a:gd name="connsiteX110" fmla="*/ 119708 w 198295"/>
                <a:gd name="connsiteY110" fmla="*/ 280696 h 428865"/>
                <a:gd name="connsiteX111" fmla="*/ 119848 w 198295"/>
                <a:gd name="connsiteY111" fmla="*/ 281405 h 428865"/>
                <a:gd name="connsiteX112" fmla="*/ 119622 w 198295"/>
                <a:gd name="connsiteY112" fmla="*/ 282136 h 428865"/>
                <a:gd name="connsiteX113" fmla="*/ 119304 w 198295"/>
                <a:gd name="connsiteY113" fmla="*/ 285408 h 428865"/>
                <a:gd name="connsiteX114" fmla="*/ 118468 w 198295"/>
                <a:gd name="connsiteY114" fmla="*/ 285705 h 428865"/>
                <a:gd name="connsiteX115" fmla="*/ 117212 w 198295"/>
                <a:gd name="connsiteY115" fmla="*/ 284217 h 428865"/>
                <a:gd name="connsiteX116" fmla="*/ 116963 w 198295"/>
                <a:gd name="connsiteY116" fmla="*/ 280690 h 428865"/>
                <a:gd name="connsiteX117" fmla="*/ 118009 w 198295"/>
                <a:gd name="connsiteY117" fmla="*/ 279876 h 428865"/>
                <a:gd name="connsiteX118" fmla="*/ 31812 w 198295"/>
                <a:gd name="connsiteY118" fmla="*/ 225327 h 428865"/>
                <a:gd name="connsiteX119" fmla="*/ 34608 w 198295"/>
                <a:gd name="connsiteY119" fmla="*/ 225860 h 428865"/>
                <a:gd name="connsiteX120" fmla="*/ 34626 w 198295"/>
                <a:gd name="connsiteY120" fmla="*/ 227176 h 428865"/>
                <a:gd name="connsiteX121" fmla="*/ 34026 w 198295"/>
                <a:gd name="connsiteY121" fmla="*/ 229290 h 428865"/>
                <a:gd name="connsiteX122" fmla="*/ 33417 w 198295"/>
                <a:gd name="connsiteY122" fmla="*/ 230010 h 428865"/>
                <a:gd name="connsiteX123" fmla="*/ 33046 w 198295"/>
                <a:gd name="connsiteY123" fmla="*/ 230206 h 428865"/>
                <a:gd name="connsiteX124" fmla="*/ 30744 w 198295"/>
                <a:gd name="connsiteY124" fmla="*/ 228286 h 428865"/>
                <a:gd name="connsiteX125" fmla="*/ 28921 w 198295"/>
                <a:gd name="connsiteY125" fmla="*/ 225814 h 428865"/>
                <a:gd name="connsiteX126" fmla="*/ 33948 w 198295"/>
                <a:gd name="connsiteY126" fmla="*/ 209974 h 428865"/>
                <a:gd name="connsiteX127" fmla="*/ 36483 w 198295"/>
                <a:gd name="connsiteY127" fmla="*/ 211879 h 428865"/>
                <a:gd name="connsiteX128" fmla="*/ 37483 w 198295"/>
                <a:gd name="connsiteY128" fmla="*/ 211747 h 428865"/>
                <a:gd name="connsiteX129" fmla="*/ 39052 w 198295"/>
                <a:gd name="connsiteY129" fmla="*/ 212950 h 428865"/>
                <a:gd name="connsiteX130" fmla="*/ 39092 w 198295"/>
                <a:gd name="connsiteY130" fmla="*/ 213420 h 428865"/>
                <a:gd name="connsiteX131" fmla="*/ 38793 w 198295"/>
                <a:gd name="connsiteY131" fmla="*/ 214400 h 428865"/>
                <a:gd name="connsiteX132" fmla="*/ 38086 w 198295"/>
                <a:gd name="connsiteY132" fmla="*/ 215167 h 428865"/>
                <a:gd name="connsiteX133" fmla="*/ 36168 w 198295"/>
                <a:gd name="connsiteY133" fmla="*/ 215932 h 428865"/>
                <a:gd name="connsiteX134" fmla="*/ 34855 w 198295"/>
                <a:gd name="connsiteY134" fmla="*/ 215312 h 428865"/>
                <a:gd name="connsiteX135" fmla="*/ 34335 w 198295"/>
                <a:gd name="connsiteY135" fmla="*/ 213233 h 428865"/>
                <a:gd name="connsiteX136" fmla="*/ 32784 w 198295"/>
                <a:gd name="connsiteY136" fmla="*/ 212255 h 428865"/>
                <a:gd name="connsiteX137" fmla="*/ 32382 w 198295"/>
                <a:gd name="connsiteY137" fmla="*/ 211425 h 428865"/>
                <a:gd name="connsiteX138" fmla="*/ 33363 w 198295"/>
                <a:gd name="connsiteY138" fmla="*/ 210292 h 428865"/>
                <a:gd name="connsiteX139" fmla="*/ 27271 w 198295"/>
                <a:gd name="connsiteY139" fmla="*/ 200964 h 428865"/>
                <a:gd name="connsiteX140" fmla="*/ 29016 w 198295"/>
                <a:gd name="connsiteY140" fmla="*/ 202292 h 428865"/>
                <a:gd name="connsiteX141" fmla="*/ 29491 w 198295"/>
                <a:gd name="connsiteY141" fmla="*/ 205459 h 428865"/>
                <a:gd name="connsiteX142" fmla="*/ 27973 w 198295"/>
                <a:gd name="connsiteY142" fmla="*/ 204272 h 428865"/>
                <a:gd name="connsiteX143" fmla="*/ 27418 w 198295"/>
                <a:gd name="connsiteY143" fmla="*/ 202637 h 428865"/>
                <a:gd name="connsiteX144" fmla="*/ 16254 w 198295"/>
                <a:gd name="connsiteY144" fmla="*/ 197832 h 428865"/>
                <a:gd name="connsiteX145" fmla="*/ 17247 w 198295"/>
                <a:gd name="connsiteY145" fmla="*/ 198759 h 428865"/>
                <a:gd name="connsiteX146" fmla="*/ 18366 w 198295"/>
                <a:gd name="connsiteY146" fmla="*/ 201571 h 428865"/>
                <a:gd name="connsiteX147" fmla="*/ 18655 w 198295"/>
                <a:gd name="connsiteY147" fmla="*/ 203757 h 428865"/>
                <a:gd name="connsiteX148" fmla="*/ 17593 w 198295"/>
                <a:gd name="connsiteY148" fmla="*/ 202857 h 428865"/>
                <a:gd name="connsiteX149" fmla="*/ 16211 w 198295"/>
                <a:gd name="connsiteY149" fmla="*/ 199826 h 428865"/>
                <a:gd name="connsiteX150" fmla="*/ 119840 w 198295"/>
                <a:gd name="connsiteY150" fmla="*/ 0 h 428865"/>
                <a:gd name="connsiteX151" fmla="*/ 121159 w 198295"/>
                <a:gd name="connsiteY151" fmla="*/ 409 h 428865"/>
                <a:gd name="connsiteX152" fmla="*/ 121950 w 198295"/>
                <a:gd name="connsiteY152" fmla="*/ 1144 h 428865"/>
                <a:gd name="connsiteX153" fmla="*/ 122733 w 198295"/>
                <a:gd name="connsiteY153" fmla="*/ 2636 h 428865"/>
                <a:gd name="connsiteX154" fmla="*/ 123595 w 198295"/>
                <a:gd name="connsiteY154" fmla="*/ 3858 h 428865"/>
                <a:gd name="connsiteX155" fmla="*/ 124644 w 198295"/>
                <a:gd name="connsiteY155" fmla="*/ 3853 h 428865"/>
                <a:gd name="connsiteX156" fmla="*/ 125715 w 198295"/>
                <a:gd name="connsiteY156" fmla="*/ 3680 h 428865"/>
                <a:gd name="connsiteX157" fmla="*/ 126216 w 198295"/>
                <a:gd name="connsiteY157" fmla="*/ 3850 h 428865"/>
                <a:gd name="connsiteX158" fmla="*/ 127244 w 198295"/>
                <a:gd name="connsiteY158" fmla="*/ 4872 h 428865"/>
                <a:gd name="connsiteX159" fmla="*/ 129194 w 198295"/>
                <a:gd name="connsiteY159" fmla="*/ 7322 h 428865"/>
                <a:gd name="connsiteX160" fmla="*/ 130065 w 198295"/>
                <a:gd name="connsiteY160" fmla="*/ 7936 h 428865"/>
                <a:gd name="connsiteX161" fmla="*/ 130889 w 198295"/>
                <a:gd name="connsiteY161" fmla="*/ 8980 h 428865"/>
                <a:gd name="connsiteX162" fmla="*/ 131319 w 198295"/>
                <a:gd name="connsiteY162" fmla="*/ 11063 h 428865"/>
                <a:gd name="connsiteX163" fmla="*/ 131587 w 198295"/>
                <a:gd name="connsiteY163" fmla="*/ 13160 h 428865"/>
                <a:gd name="connsiteX164" fmla="*/ 134031 w 198295"/>
                <a:gd name="connsiteY164" fmla="*/ 20432 h 428865"/>
                <a:gd name="connsiteX165" fmla="*/ 134765 w 198295"/>
                <a:gd name="connsiteY165" fmla="*/ 21962 h 428865"/>
                <a:gd name="connsiteX166" fmla="*/ 135309 w 198295"/>
                <a:gd name="connsiteY166" fmla="*/ 23131 h 428865"/>
                <a:gd name="connsiteX167" fmla="*/ 136452 w 198295"/>
                <a:gd name="connsiteY167" fmla="*/ 23417 h 428865"/>
                <a:gd name="connsiteX168" fmla="*/ 137378 w 198295"/>
                <a:gd name="connsiteY168" fmla="*/ 22249 h 428865"/>
                <a:gd name="connsiteX169" fmla="*/ 137743 w 198295"/>
                <a:gd name="connsiteY169" fmla="*/ 20998 h 428865"/>
                <a:gd name="connsiteX170" fmla="*/ 138708 w 198295"/>
                <a:gd name="connsiteY170" fmla="*/ 20574 h 428865"/>
                <a:gd name="connsiteX171" fmla="*/ 139857 w 198295"/>
                <a:gd name="connsiteY171" fmla="*/ 20803 h 428865"/>
                <a:gd name="connsiteX172" fmla="*/ 141965 w 198295"/>
                <a:gd name="connsiteY172" fmla="*/ 21968 h 428865"/>
                <a:gd name="connsiteX173" fmla="*/ 143100 w 198295"/>
                <a:gd name="connsiteY173" fmla="*/ 22597 h 428865"/>
                <a:gd name="connsiteX174" fmla="*/ 143666 w 198295"/>
                <a:gd name="connsiteY174" fmla="*/ 26187 h 428865"/>
                <a:gd name="connsiteX175" fmla="*/ 143792 w 198295"/>
                <a:gd name="connsiteY175" fmla="*/ 30395 h 428865"/>
                <a:gd name="connsiteX176" fmla="*/ 143623 w 198295"/>
                <a:gd name="connsiteY176" fmla="*/ 31697 h 428865"/>
                <a:gd name="connsiteX177" fmla="*/ 144545 w 198295"/>
                <a:gd name="connsiteY177" fmla="*/ 35165 h 428865"/>
                <a:gd name="connsiteX178" fmla="*/ 144833 w 198295"/>
                <a:gd name="connsiteY178" fmla="*/ 39148 h 428865"/>
                <a:gd name="connsiteX179" fmla="*/ 145031 w 198295"/>
                <a:gd name="connsiteY179" fmla="*/ 41326 h 428865"/>
                <a:gd name="connsiteX180" fmla="*/ 145051 w 198295"/>
                <a:gd name="connsiteY180" fmla="*/ 43406 h 428865"/>
                <a:gd name="connsiteX181" fmla="*/ 144884 w 198295"/>
                <a:gd name="connsiteY181" fmla="*/ 46130 h 428865"/>
                <a:gd name="connsiteX182" fmla="*/ 144390 w 198295"/>
                <a:gd name="connsiteY182" fmla="*/ 49775 h 428865"/>
                <a:gd name="connsiteX183" fmla="*/ 143558 w 198295"/>
                <a:gd name="connsiteY183" fmla="*/ 52884 h 428865"/>
                <a:gd name="connsiteX184" fmla="*/ 143861 w 198295"/>
                <a:gd name="connsiteY184" fmla="*/ 55470 h 428865"/>
                <a:gd name="connsiteX185" fmla="*/ 143366 w 198295"/>
                <a:gd name="connsiteY185" fmla="*/ 56651 h 428865"/>
                <a:gd name="connsiteX186" fmla="*/ 141349 w 198295"/>
                <a:gd name="connsiteY186" fmla="*/ 57252 h 428865"/>
                <a:gd name="connsiteX187" fmla="*/ 141175 w 198295"/>
                <a:gd name="connsiteY187" fmla="*/ 58238 h 428865"/>
                <a:gd name="connsiteX188" fmla="*/ 141771 w 198295"/>
                <a:gd name="connsiteY188" fmla="*/ 59863 h 428865"/>
                <a:gd name="connsiteX189" fmla="*/ 143179 w 198295"/>
                <a:gd name="connsiteY189" fmla="*/ 61895 h 428865"/>
                <a:gd name="connsiteX190" fmla="*/ 143213 w 198295"/>
                <a:gd name="connsiteY190" fmla="*/ 63177 h 428865"/>
                <a:gd name="connsiteX191" fmla="*/ 142531 w 198295"/>
                <a:gd name="connsiteY191" fmla="*/ 64048 h 428865"/>
                <a:gd name="connsiteX192" fmla="*/ 141049 w 198295"/>
                <a:gd name="connsiteY192" fmla="*/ 64130 h 428865"/>
                <a:gd name="connsiteX193" fmla="*/ 138996 w 198295"/>
                <a:gd name="connsiteY193" fmla="*/ 64942 h 428865"/>
                <a:gd name="connsiteX194" fmla="*/ 137584 w 198295"/>
                <a:gd name="connsiteY194" fmla="*/ 67561 h 428865"/>
                <a:gd name="connsiteX195" fmla="*/ 136083 w 198295"/>
                <a:gd name="connsiteY195" fmla="*/ 69715 h 428865"/>
                <a:gd name="connsiteX196" fmla="*/ 135260 w 198295"/>
                <a:gd name="connsiteY196" fmla="*/ 70137 h 428865"/>
                <a:gd name="connsiteX197" fmla="*/ 132518 w 198295"/>
                <a:gd name="connsiteY197" fmla="*/ 69531 h 428865"/>
                <a:gd name="connsiteX198" fmla="*/ 131861 w 198295"/>
                <a:gd name="connsiteY198" fmla="*/ 70085 h 428865"/>
                <a:gd name="connsiteX199" fmla="*/ 130904 w 198295"/>
                <a:gd name="connsiteY199" fmla="*/ 73750 h 428865"/>
                <a:gd name="connsiteX200" fmla="*/ 130118 w 198295"/>
                <a:gd name="connsiteY200" fmla="*/ 75323 h 428865"/>
                <a:gd name="connsiteX201" fmla="*/ 128939 w 198295"/>
                <a:gd name="connsiteY201" fmla="*/ 76654 h 428865"/>
                <a:gd name="connsiteX202" fmla="*/ 127862 w 198295"/>
                <a:gd name="connsiteY202" fmla="*/ 77437 h 428865"/>
                <a:gd name="connsiteX203" fmla="*/ 126888 w 198295"/>
                <a:gd name="connsiteY203" fmla="*/ 77983 h 428865"/>
                <a:gd name="connsiteX204" fmla="*/ 124711 w 198295"/>
                <a:gd name="connsiteY204" fmla="*/ 77612 h 428865"/>
                <a:gd name="connsiteX205" fmla="*/ 123558 w 198295"/>
                <a:gd name="connsiteY205" fmla="*/ 79822 h 428865"/>
                <a:gd name="connsiteX206" fmla="*/ 122398 w 198295"/>
                <a:gd name="connsiteY206" fmla="*/ 82735 h 428865"/>
                <a:gd name="connsiteX207" fmla="*/ 122305 w 198295"/>
                <a:gd name="connsiteY207" fmla="*/ 84240 h 428865"/>
                <a:gd name="connsiteX208" fmla="*/ 122906 w 198295"/>
                <a:gd name="connsiteY208" fmla="*/ 86604 h 428865"/>
                <a:gd name="connsiteX209" fmla="*/ 122595 w 198295"/>
                <a:gd name="connsiteY209" fmla="*/ 87259 h 428865"/>
                <a:gd name="connsiteX210" fmla="*/ 121420 w 198295"/>
                <a:gd name="connsiteY210" fmla="*/ 87773 h 428865"/>
                <a:gd name="connsiteX211" fmla="*/ 119488 w 198295"/>
                <a:gd name="connsiteY211" fmla="*/ 88839 h 428865"/>
                <a:gd name="connsiteX212" fmla="*/ 118296 w 198295"/>
                <a:gd name="connsiteY212" fmla="*/ 92213 h 428865"/>
                <a:gd name="connsiteX213" fmla="*/ 118341 w 198295"/>
                <a:gd name="connsiteY213" fmla="*/ 95489 h 428865"/>
                <a:gd name="connsiteX214" fmla="*/ 119045 w 198295"/>
                <a:gd name="connsiteY214" fmla="*/ 96611 h 428865"/>
                <a:gd name="connsiteX215" fmla="*/ 120380 w 198295"/>
                <a:gd name="connsiteY215" fmla="*/ 97102 h 428865"/>
                <a:gd name="connsiteX216" fmla="*/ 121329 w 198295"/>
                <a:gd name="connsiteY216" fmla="*/ 98110 h 428865"/>
                <a:gd name="connsiteX217" fmla="*/ 121420 w 198295"/>
                <a:gd name="connsiteY217" fmla="*/ 99687 h 428865"/>
                <a:gd name="connsiteX218" fmla="*/ 122250 w 198295"/>
                <a:gd name="connsiteY218" fmla="*/ 101656 h 428865"/>
                <a:gd name="connsiteX219" fmla="*/ 121861 w 198295"/>
                <a:gd name="connsiteY219" fmla="*/ 103951 h 428865"/>
                <a:gd name="connsiteX220" fmla="*/ 119155 w 198295"/>
                <a:gd name="connsiteY220" fmla="*/ 107285 h 428865"/>
                <a:gd name="connsiteX221" fmla="*/ 119073 w 198295"/>
                <a:gd name="connsiteY221" fmla="*/ 109098 h 428865"/>
                <a:gd name="connsiteX222" fmla="*/ 120513 w 198295"/>
                <a:gd name="connsiteY222" fmla="*/ 109657 h 428865"/>
                <a:gd name="connsiteX223" fmla="*/ 121760 w 198295"/>
                <a:gd name="connsiteY223" fmla="*/ 109400 h 428865"/>
                <a:gd name="connsiteX224" fmla="*/ 123299 w 198295"/>
                <a:gd name="connsiteY224" fmla="*/ 108610 h 428865"/>
                <a:gd name="connsiteX225" fmla="*/ 125113 w 198295"/>
                <a:gd name="connsiteY225" fmla="*/ 107336 h 428865"/>
                <a:gd name="connsiteX226" fmla="*/ 129076 w 198295"/>
                <a:gd name="connsiteY226" fmla="*/ 105483 h 428865"/>
                <a:gd name="connsiteX227" fmla="*/ 133401 w 198295"/>
                <a:gd name="connsiteY227" fmla="*/ 104424 h 428865"/>
                <a:gd name="connsiteX228" fmla="*/ 136823 w 198295"/>
                <a:gd name="connsiteY228" fmla="*/ 104227 h 428865"/>
                <a:gd name="connsiteX229" fmla="*/ 139745 w 198295"/>
                <a:gd name="connsiteY229" fmla="*/ 104306 h 428865"/>
                <a:gd name="connsiteX230" fmla="*/ 141176 w 198295"/>
                <a:gd name="connsiteY230" fmla="*/ 104701 h 428865"/>
                <a:gd name="connsiteX231" fmla="*/ 141602 w 198295"/>
                <a:gd name="connsiteY231" fmla="*/ 105380 h 428865"/>
                <a:gd name="connsiteX232" fmla="*/ 145603 w 198295"/>
                <a:gd name="connsiteY232" fmla="*/ 104297 h 428865"/>
                <a:gd name="connsiteX233" fmla="*/ 146443 w 198295"/>
                <a:gd name="connsiteY233" fmla="*/ 104235 h 428865"/>
                <a:gd name="connsiteX234" fmla="*/ 147167 w 198295"/>
                <a:gd name="connsiteY234" fmla="*/ 104177 h 428865"/>
                <a:gd name="connsiteX235" fmla="*/ 147143 w 198295"/>
                <a:gd name="connsiteY235" fmla="*/ 104894 h 428865"/>
                <a:gd name="connsiteX236" fmla="*/ 144215 w 198295"/>
                <a:gd name="connsiteY236" fmla="*/ 107856 h 428865"/>
                <a:gd name="connsiteX237" fmla="*/ 143666 w 198295"/>
                <a:gd name="connsiteY237" fmla="*/ 109237 h 428865"/>
                <a:gd name="connsiteX238" fmla="*/ 143758 w 198295"/>
                <a:gd name="connsiteY238" fmla="*/ 110718 h 428865"/>
                <a:gd name="connsiteX239" fmla="*/ 144956 w 198295"/>
                <a:gd name="connsiteY239" fmla="*/ 112091 h 428865"/>
                <a:gd name="connsiteX240" fmla="*/ 146119 w 198295"/>
                <a:gd name="connsiteY240" fmla="*/ 113149 h 428865"/>
                <a:gd name="connsiteX241" fmla="*/ 147104 w 198295"/>
                <a:gd name="connsiteY241" fmla="*/ 115802 h 428865"/>
                <a:gd name="connsiteX242" fmla="*/ 146344 w 198295"/>
                <a:gd name="connsiteY242" fmla="*/ 118231 h 428865"/>
                <a:gd name="connsiteX243" fmla="*/ 146828 w 198295"/>
                <a:gd name="connsiteY243" fmla="*/ 119117 h 428865"/>
                <a:gd name="connsiteX244" fmla="*/ 147694 w 198295"/>
                <a:gd name="connsiteY244" fmla="*/ 120108 h 428865"/>
                <a:gd name="connsiteX245" fmla="*/ 148219 w 198295"/>
                <a:gd name="connsiteY245" fmla="*/ 121503 h 428865"/>
                <a:gd name="connsiteX246" fmla="*/ 148283 w 198295"/>
                <a:gd name="connsiteY246" fmla="*/ 123203 h 428865"/>
                <a:gd name="connsiteX247" fmla="*/ 147802 w 198295"/>
                <a:gd name="connsiteY247" fmla="*/ 125915 h 428865"/>
                <a:gd name="connsiteX248" fmla="*/ 152031 w 198295"/>
                <a:gd name="connsiteY248" fmla="*/ 127330 h 428865"/>
                <a:gd name="connsiteX249" fmla="*/ 155686 w 198295"/>
                <a:gd name="connsiteY249" fmla="*/ 127965 h 428865"/>
                <a:gd name="connsiteX250" fmla="*/ 158350 w 198295"/>
                <a:gd name="connsiteY250" fmla="*/ 128138 h 428865"/>
                <a:gd name="connsiteX251" fmla="*/ 160058 w 198295"/>
                <a:gd name="connsiteY251" fmla="*/ 128760 h 428865"/>
                <a:gd name="connsiteX252" fmla="*/ 161086 w 198295"/>
                <a:gd name="connsiteY252" fmla="*/ 129296 h 428865"/>
                <a:gd name="connsiteX253" fmla="*/ 161810 w 198295"/>
                <a:gd name="connsiteY253" fmla="*/ 130267 h 428865"/>
                <a:gd name="connsiteX254" fmla="*/ 162028 w 198295"/>
                <a:gd name="connsiteY254" fmla="*/ 131326 h 428865"/>
                <a:gd name="connsiteX255" fmla="*/ 161136 w 198295"/>
                <a:gd name="connsiteY255" fmla="*/ 132068 h 428865"/>
                <a:gd name="connsiteX256" fmla="*/ 159330 w 198295"/>
                <a:gd name="connsiteY256" fmla="*/ 134448 h 428865"/>
                <a:gd name="connsiteX257" fmla="*/ 158294 w 198295"/>
                <a:gd name="connsiteY257" fmla="*/ 137624 h 428865"/>
                <a:gd name="connsiteX258" fmla="*/ 158402 w 198295"/>
                <a:gd name="connsiteY258" fmla="*/ 140000 h 428865"/>
                <a:gd name="connsiteX259" fmla="*/ 158281 w 198295"/>
                <a:gd name="connsiteY259" fmla="*/ 142057 h 428865"/>
                <a:gd name="connsiteX260" fmla="*/ 156189 w 198295"/>
                <a:gd name="connsiteY260" fmla="*/ 145025 h 428865"/>
                <a:gd name="connsiteX261" fmla="*/ 155355 w 198295"/>
                <a:gd name="connsiteY261" fmla="*/ 147065 h 428865"/>
                <a:gd name="connsiteX262" fmla="*/ 154625 w 198295"/>
                <a:gd name="connsiteY262" fmla="*/ 149157 h 428865"/>
                <a:gd name="connsiteX263" fmla="*/ 154649 w 198295"/>
                <a:gd name="connsiteY263" fmla="*/ 150066 h 428865"/>
                <a:gd name="connsiteX264" fmla="*/ 155081 w 198295"/>
                <a:gd name="connsiteY264" fmla="*/ 150701 h 428865"/>
                <a:gd name="connsiteX265" fmla="*/ 155975 w 198295"/>
                <a:gd name="connsiteY265" fmla="*/ 151068 h 428865"/>
                <a:gd name="connsiteX266" fmla="*/ 157516 w 198295"/>
                <a:gd name="connsiteY266" fmla="*/ 151289 h 428865"/>
                <a:gd name="connsiteX267" fmla="*/ 159409 w 198295"/>
                <a:gd name="connsiteY267" fmla="*/ 151053 h 428865"/>
                <a:gd name="connsiteX268" fmla="*/ 163919 w 198295"/>
                <a:gd name="connsiteY268" fmla="*/ 151555 h 428865"/>
                <a:gd name="connsiteX269" fmla="*/ 169065 w 198295"/>
                <a:gd name="connsiteY269" fmla="*/ 152471 h 428865"/>
                <a:gd name="connsiteX270" fmla="*/ 171106 w 198295"/>
                <a:gd name="connsiteY270" fmla="*/ 152974 h 428865"/>
                <a:gd name="connsiteX271" fmla="*/ 171773 w 198295"/>
                <a:gd name="connsiteY271" fmla="*/ 153895 h 428865"/>
                <a:gd name="connsiteX272" fmla="*/ 171609 w 198295"/>
                <a:gd name="connsiteY272" fmla="*/ 155906 h 428865"/>
                <a:gd name="connsiteX273" fmla="*/ 171281 w 198295"/>
                <a:gd name="connsiteY273" fmla="*/ 157779 h 428865"/>
                <a:gd name="connsiteX274" fmla="*/ 171616 w 198295"/>
                <a:gd name="connsiteY274" fmla="*/ 159218 h 428865"/>
                <a:gd name="connsiteX275" fmla="*/ 172444 w 198295"/>
                <a:gd name="connsiteY275" fmla="*/ 160542 h 428865"/>
                <a:gd name="connsiteX276" fmla="*/ 173837 w 198295"/>
                <a:gd name="connsiteY276" fmla="*/ 160978 h 428865"/>
                <a:gd name="connsiteX277" fmla="*/ 175038 w 198295"/>
                <a:gd name="connsiteY277" fmla="*/ 161490 h 428865"/>
                <a:gd name="connsiteX278" fmla="*/ 175265 w 198295"/>
                <a:gd name="connsiteY278" fmla="*/ 162500 h 428865"/>
                <a:gd name="connsiteX279" fmla="*/ 174900 w 198295"/>
                <a:gd name="connsiteY279" fmla="*/ 163870 h 428865"/>
                <a:gd name="connsiteX280" fmla="*/ 175508 w 198295"/>
                <a:gd name="connsiteY280" fmla="*/ 164951 h 428865"/>
                <a:gd name="connsiteX281" fmla="*/ 176191 w 198295"/>
                <a:gd name="connsiteY281" fmla="*/ 165661 h 428865"/>
                <a:gd name="connsiteX282" fmla="*/ 177674 w 198295"/>
                <a:gd name="connsiteY282" fmla="*/ 166067 h 428865"/>
                <a:gd name="connsiteX283" fmla="*/ 180679 w 198295"/>
                <a:gd name="connsiteY283" fmla="*/ 165187 h 428865"/>
                <a:gd name="connsiteX284" fmla="*/ 182782 w 198295"/>
                <a:gd name="connsiteY284" fmla="*/ 165579 h 428865"/>
                <a:gd name="connsiteX285" fmla="*/ 184675 w 198295"/>
                <a:gd name="connsiteY285" fmla="*/ 166180 h 428865"/>
                <a:gd name="connsiteX286" fmla="*/ 186295 w 198295"/>
                <a:gd name="connsiteY286" fmla="*/ 165863 h 428865"/>
                <a:gd name="connsiteX287" fmla="*/ 187899 w 198295"/>
                <a:gd name="connsiteY287" fmla="*/ 165096 h 428865"/>
                <a:gd name="connsiteX288" fmla="*/ 191393 w 198295"/>
                <a:gd name="connsiteY288" fmla="*/ 161617 h 428865"/>
                <a:gd name="connsiteX289" fmla="*/ 195465 w 198295"/>
                <a:gd name="connsiteY289" fmla="*/ 159736 h 428865"/>
                <a:gd name="connsiteX290" fmla="*/ 196802 w 198295"/>
                <a:gd name="connsiteY290" fmla="*/ 159284 h 428865"/>
                <a:gd name="connsiteX291" fmla="*/ 197707 w 198295"/>
                <a:gd name="connsiteY291" fmla="*/ 159511 h 428865"/>
                <a:gd name="connsiteX292" fmla="*/ 197932 w 198295"/>
                <a:gd name="connsiteY292" fmla="*/ 159755 h 428865"/>
                <a:gd name="connsiteX293" fmla="*/ 197871 w 198295"/>
                <a:gd name="connsiteY293" fmla="*/ 160460 h 428865"/>
                <a:gd name="connsiteX294" fmla="*/ 198295 w 198295"/>
                <a:gd name="connsiteY294" fmla="*/ 163320 h 428865"/>
                <a:gd name="connsiteX295" fmla="*/ 198109 w 198295"/>
                <a:gd name="connsiteY295" fmla="*/ 163648 h 428865"/>
                <a:gd name="connsiteX296" fmla="*/ 196816 w 198295"/>
                <a:gd name="connsiteY296" fmla="*/ 165936 h 428865"/>
                <a:gd name="connsiteX297" fmla="*/ 193436 w 198295"/>
                <a:gd name="connsiteY297" fmla="*/ 168306 h 428865"/>
                <a:gd name="connsiteX298" fmla="*/ 191048 w 198295"/>
                <a:gd name="connsiteY298" fmla="*/ 169509 h 428865"/>
                <a:gd name="connsiteX299" fmla="*/ 189657 w 198295"/>
                <a:gd name="connsiteY299" fmla="*/ 169545 h 428865"/>
                <a:gd name="connsiteX300" fmla="*/ 188473 w 198295"/>
                <a:gd name="connsiteY300" fmla="*/ 170962 h 428865"/>
                <a:gd name="connsiteX301" fmla="*/ 187502 w 198295"/>
                <a:gd name="connsiteY301" fmla="*/ 173759 h 428865"/>
                <a:gd name="connsiteX302" fmla="*/ 186495 w 198295"/>
                <a:gd name="connsiteY302" fmla="*/ 175401 h 428865"/>
                <a:gd name="connsiteX303" fmla="*/ 185455 w 198295"/>
                <a:gd name="connsiteY303" fmla="*/ 175889 h 428865"/>
                <a:gd name="connsiteX304" fmla="*/ 184781 w 198295"/>
                <a:gd name="connsiteY304" fmla="*/ 176947 h 428865"/>
                <a:gd name="connsiteX305" fmla="*/ 184474 w 198295"/>
                <a:gd name="connsiteY305" fmla="*/ 178575 h 428865"/>
                <a:gd name="connsiteX306" fmla="*/ 185073 w 198295"/>
                <a:gd name="connsiteY306" fmla="*/ 179445 h 428865"/>
                <a:gd name="connsiteX307" fmla="*/ 186584 w 198295"/>
                <a:gd name="connsiteY307" fmla="*/ 179560 h 428865"/>
                <a:gd name="connsiteX308" fmla="*/ 186701 w 198295"/>
                <a:gd name="connsiteY308" fmla="*/ 180014 h 428865"/>
                <a:gd name="connsiteX309" fmla="*/ 185422 w 198295"/>
                <a:gd name="connsiteY309" fmla="*/ 180810 h 428865"/>
                <a:gd name="connsiteX310" fmla="*/ 183836 w 198295"/>
                <a:gd name="connsiteY310" fmla="*/ 181089 h 428865"/>
                <a:gd name="connsiteX311" fmla="*/ 181935 w 198295"/>
                <a:gd name="connsiteY311" fmla="*/ 180853 h 428865"/>
                <a:gd name="connsiteX312" fmla="*/ 180136 w 198295"/>
                <a:gd name="connsiteY312" fmla="*/ 181488 h 428865"/>
                <a:gd name="connsiteX313" fmla="*/ 178439 w 198295"/>
                <a:gd name="connsiteY313" fmla="*/ 182998 h 428865"/>
                <a:gd name="connsiteX314" fmla="*/ 176992 w 198295"/>
                <a:gd name="connsiteY314" fmla="*/ 186254 h 428865"/>
                <a:gd name="connsiteX315" fmla="*/ 175794 w 198295"/>
                <a:gd name="connsiteY315" fmla="*/ 191253 h 428865"/>
                <a:gd name="connsiteX316" fmla="*/ 175634 w 198295"/>
                <a:gd name="connsiteY316" fmla="*/ 192533 h 428865"/>
                <a:gd name="connsiteX317" fmla="*/ 173006 w 198295"/>
                <a:gd name="connsiteY317" fmla="*/ 191083 h 428865"/>
                <a:gd name="connsiteX318" fmla="*/ 171916 w 198295"/>
                <a:gd name="connsiteY318" fmla="*/ 190257 h 428865"/>
                <a:gd name="connsiteX319" fmla="*/ 170501 w 198295"/>
                <a:gd name="connsiteY319" fmla="*/ 190050 h 428865"/>
                <a:gd name="connsiteX320" fmla="*/ 169061 w 198295"/>
                <a:gd name="connsiteY320" fmla="*/ 190971 h 428865"/>
                <a:gd name="connsiteX321" fmla="*/ 167914 w 198295"/>
                <a:gd name="connsiteY321" fmla="*/ 191965 h 428865"/>
                <a:gd name="connsiteX322" fmla="*/ 166737 w 198295"/>
                <a:gd name="connsiteY322" fmla="*/ 192331 h 428865"/>
                <a:gd name="connsiteX323" fmla="*/ 164936 w 198295"/>
                <a:gd name="connsiteY323" fmla="*/ 192445 h 428865"/>
                <a:gd name="connsiteX324" fmla="*/ 162570 w 198295"/>
                <a:gd name="connsiteY324" fmla="*/ 191930 h 428865"/>
                <a:gd name="connsiteX325" fmla="*/ 160961 w 198295"/>
                <a:gd name="connsiteY325" fmla="*/ 191464 h 428865"/>
                <a:gd name="connsiteX326" fmla="*/ 160719 w 198295"/>
                <a:gd name="connsiteY326" fmla="*/ 191718 h 428865"/>
                <a:gd name="connsiteX327" fmla="*/ 161594 w 198295"/>
                <a:gd name="connsiteY327" fmla="*/ 193823 h 428865"/>
                <a:gd name="connsiteX328" fmla="*/ 161907 w 198295"/>
                <a:gd name="connsiteY328" fmla="*/ 195501 h 428865"/>
                <a:gd name="connsiteX329" fmla="*/ 161559 w 198295"/>
                <a:gd name="connsiteY329" fmla="*/ 196373 h 428865"/>
                <a:gd name="connsiteX330" fmla="*/ 160799 w 198295"/>
                <a:gd name="connsiteY330" fmla="*/ 197099 h 428865"/>
                <a:gd name="connsiteX331" fmla="*/ 159641 w 198295"/>
                <a:gd name="connsiteY331" fmla="*/ 197671 h 428865"/>
                <a:gd name="connsiteX332" fmla="*/ 158285 w 198295"/>
                <a:gd name="connsiteY332" fmla="*/ 198006 h 428865"/>
                <a:gd name="connsiteX333" fmla="*/ 157087 w 198295"/>
                <a:gd name="connsiteY333" fmla="*/ 197971 h 428865"/>
                <a:gd name="connsiteX334" fmla="*/ 155168 w 198295"/>
                <a:gd name="connsiteY334" fmla="*/ 197173 h 428865"/>
                <a:gd name="connsiteX335" fmla="*/ 153705 w 198295"/>
                <a:gd name="connsiteY335" fmla="*/ 197139 h 428865"/>
                <a:gd name="connsiteX336" fmla="*/ 152455 w 198295"/>
                <a:gd name="connsiteY336" fmla="*/ 197535 h 428865"/>
                <a:gd name="connsiteX337" fmla="*/ 151693 w 198295"/>
                <a:gd name="connsiteY337" fmla="*/ 198128 h 428865"/>
                <a:gd name="connsiteX338" fmla="*/ 151272 w 198295"/>
                <a:gd name="connsiteY338" fmla="*/ 198860 h 428865"/>
                <a:gd name="connsiteX339" fmla="*/ 150535 w 198295"/>
                <a:gd name="connsiteY339" fmla="*/ 203009 h 428865"/>
                <a:gd name="connsiteX340" fmla="*/ 149885 w 198295"/>
                <a:gd name="connsiteY340" fmla="*/ 204307 h 428865"/>
                <a:gd name="connsiteX341" fmla="*/ 148972 w 198295"/>
                <a:gd name="connsiteY341" fmla="*/ 205043 h 428865"/>
                <a:gd name="connsiteX342" fmla="*/ 148067 w 198295"/>
                <a:gd name="connsiteY342" fmla="*/ 205119 h 428865"/>
                <a:gd name="connsiteX343" fmla="*/ 146823 w 198295"/>
                <a:gd name="connsiteY343" fmla="*/ 204915 h 428865"/>
                <a:gd name="connsiteX344" fmla="*/ 145521 w 198295"/>
                <a:gd name="connsiteY344" fmla="*/ 205085 h 428865"/>
                <a:gd name="connsiteX345" fmla="*/ 139622 w 198295"/>
                <a:gd name="connsiteY345" fmla="*/ 206688 h 428865"/>
                <a:gd name="connsiteX346" fmla="*/ 138763 w 198295"/>
                <a:gd name="connsiteY346" fmla="*/ 206846 h 428865"/>
                <a:gd name="connsiteX347" fmla="*/ 136912 w 198295"/>
                <a:gd name="connsiteY347" fmla="*/ 206967 h 428865"/>
                <a:gd name="connsiteX348" fmla="*/ 135195 w 198295"/>
                <a:gd name="connsiteY348" fmla="*/ 207011 h 428865"/>
                <a:gd name="connsiteX349" fmla="*/ 133988 w 198295"/>
                <a:gd name="connsiteY349" fmla="*/ 206932 h 428865"/>
                <a:gd name="connsiteX350" fmla="*/ 131157 w 198295"/>
                <a:gd name="connsiteY350" fmla="*/ 205290 h 428865"/>
                <a:gd name="connsiteX351" fmla="*/ 129786 w 198295"/>
                <a:gd name="connsiteY351" fmla="*/ 205116 h 428865"/>
                <a:gd name="connsiteX352" fmla="*/ 129034 w 198295"/>
                <a:gd name="connsiteY352" fmla="*/ 205581 h 428865"/>
                <a:gd name="connsiteX353" fmla="*/ 128507 w 198295"/>
                <a:gd name="connsiteY353" fmla="*/ 207782 h 428865"/>
                <a:gd name="connsiteX354" fmla="*/ 126853 w 198295"/>
                <a:gd name="connsiteY354" fmla="*/ 209179 h 428865"/>
                <a:gd name="connsiteX355" fmla="*/ 124651 w 198295"/>
                <a:gd name="connsiteY355" fmla="*/ 212231 h 428865"/>
                <a:gd name="connsiteX356" fmla="*/ 124137 w 198295"/>
                <a:gd name="connsiteY356" fmla="*/ 216685 h 428865"/>
                <a:gd name="connsiteX357" fmla="*/ 124366 w 198295"/>
                <a:gd name="connsiteY357" fmla="*/ 219789 h 428865"/>
                <a:gd name="connsiteX358" fmla="*/ 122381 w 198295"/>
                <a:gd name="connsiteY358" fmla="*/ 222860 h 428865"/>
                <a:gd name="connsiteX359" fmla="*/ 122202 w 198295"/>
                <a:gd name="connsiteY359" fmla="*/ 224342 h 428865"/>
                <a:gd name="connsiteX360" fmla="*/ 123262 w 198295"/>
                <a:gd name="connsiteY360" fmla="*/ 231462 h 428865"/>
                <a:gd name="connsiteX361" fmla="*/ 123083 w 198295"/>
                <a:gd name="connsiteY361" fmla="*/ 232208 h 428865"/>
                <a:gd name="connsiteX362" fmla="*/ 122681 w 198295"/>
                <a:gd name="connsiteY362" fmla="*/ 232578 h 428865"/>
                <a:gd name="connsiteX363" fmla="*/ 121440 w 198295"/>
                <a:gd name="connsiteY363" fmla="*/ 232825 h 428865"/>
                <a:gd name="connsiteX364" fmla="*/ 119356 w 198295"/>
                <a:gd name="connsiteY364" fmla="*/ 233569 h 428865"/>
                <a:gd name="connsiteX365" fmla="*/ 117981 w 198295"/>
                <a:gd name="connsiteY365" fmla="*/ 234277 h 428865"/>
                <a:gd name="connsiteX366" fmla="*/ 117313 w 198295"/>
                <a:gd name="connsiteY366" fmla="*/ 234358 h 428865"/>
                <a:gd name="connsiteX367" fmla="*/ 115370 w 198295"/>
                <a:gd name="connsiteY367" fmla="*/ 233825 h 428865"/>
                <a:gd name="connsiteX368" fmla="*/ 114858 w 198295"/>
                <a:gd name="connsiteY368" fmla="*/ 233815 h 428865"/>
                <a:gd name="connsiteX369" fmla="*/ 115007 w 198295"/>
                <a:gd name="connsiteY369" fmla="*/ 234356 h 428865"/>
                <a:gd name="connsiteX370" fmla="*/ 116558 w 198295"/>
                <a:gd name="connsiteY370" fmla="*/ 237435 h 428865"/>
                <a:gd name="connsiteX371" fmla="*/ 118172 w 198295"/>
                <a:gd name="connsiteY371" fmla="*/ 238892 h 428865"/>
                <a:gd name="connsiteX372" fmla="*/ 119842 w 198295"/>
                <a:gd name="connsiteY372" fmla="*/ 238730 h 428865"/>
                <a:gd name="connsiteX373" fmla="*/ 120570 w 198295"/>
                <a:gd name="connsiteY373" fmla="*/ 239019 h 428865"/>
                <a:gd name="connsiteX374" fmla="*/ 120354 w 198295"/>
                <a:gd name="connsiteY374" fmla="*/ 239758 h 428865"/>
                <a:gd name="connsiteX375" fmla="*/ 120997 w 198295"/>
                <a:gd name="connsiteY375" fmla="*/ 241683 h 428865"/>
                <a:gd name="connsiteX376" fmla="*/ 122505 w 198295"/>
                <a:gd name="connsiteY376" fmla="*/ 244797 h 428865"/>
                <a:gd name="connsiteX377" fmla="*/ 122952 w 198295"/>
                <a:gd name="connsiteY377" fmla="*/ 247128 h 428865"/>
                <a:gd name="connsiteX378" fmla="*/ 122036 w 198295"/>
                <a:gd name="connsiteY378" fmla="*/ 249450 h 428865"/>
                <a:gd name="connsiteX379" fmla="*/ 122211 w 198295"/>
                <a:gd name="connsiteY379" fmla="*/ 250281 h 428865"/>
                <a:gd name="connsiteX380" fmla="*/ 122712 w 198295"/>
                <a:gd name="connsiteY380" fmla="*/ 250766 h 428865"/>
                <a:gd name="connsiteX381" fmla="*/ 124124 w 198295"/>
                <a:gd name="connsiteY381" fmla="*/ 252923 h 428865"/>
                <a:gd name="connsiteX382" fmla="*/ 127138 w 198295"/>
                <a:gd name="connsiteY382" fmla="*/ 256296 h 428865"/>
                <a:gd name="connsiteX383" fmla="*/ 130097 w 198295"/>
                <a:gd name="connsiteY383" fmla="*/ 259942 h 428865"/>
                <a:gd name="connsiteX384" fmla="*/ 132563 w 198295"/>
                <a:gd name="connsiteY384" fmla="*/ 262980 h 428865"/>
                <a:gd name="connsiteX385" fmla="*/ 134374 w 198295"/>
                <a:gd name="connsiteY385" fmla="*/ 265080 h 428865"/>
                <a:gd name="connsiteX386" fmla="*/ 138406 w 198295"/>
                <a:gd name="connsiteY386" fmla="*/ 268993 h 428865"/>
                <a:gd name="connsiteX387" fmla="*/ 139121 w 198295"/>
                <a:gd name="connsiteY387" fmla="*/ 270828 h 428865"/>
                <a:gd name="connsiteX388" fmla="*/ 139274 w 198295"/>
                <a:gd name="connsiteY388" fmla="*/ 274529 h 428865"/>
                <a:gd name="connsiteX389" fmla="*/ 140269 w 198295"/>
                <a:gd name="connsiteY389" fmla="*/ 276666 h 428865"/>
                <a:gd name="connsiteX390" fmla="*/ 141190 w 198295"/>
                <a:gd name="connsiteY390" fmla="*/ 278194 h 428865"/>
                <a:gd name="connsiteX391" fmla="*/ 141829 w 198295"/>
                <a:gd name="connsiteY391" fmla="*/ 279470 h 428865"/>
                <a:gd name="connsiteX392" fmla="*/ 143313 w 198295"/>
                <a:gd name="connsiteY392" fmla="*/ 283656 h 428865"/>
                <a:gd name="connsiteX393" fmla="*/ 143943 w 198295"/>
                <a:gd name="connsiteY393" fmla="*/ 284224 h 428865"/>
                <a:gd name="connsiteX394" fmla="*/ 147175 w 198295"/>
                <a:gd name="connsiteY394" fmla="*/ 281677 h 428865"/>
                <a:gd name="connsiteX395" fmla="*/ 147925 w 198295"/>
                <a:gd name="connsiteY395" fmla="*/ 282208 h 428865"/>
                <a:gd name="connsiteX396" fmla="*/ 148343 w 198295"/>
                <a:gd name="connsiteY396" fmla="*/ 283168 h 428865"/>
                <a:gd name="connsiteX397" fmla="*/ 148348 w 198295"/>
                <a:gd name="connsiteY397" fmla="*/ 284390 h 428865"/>
                <a:gd name="connsiteX398" fmla="*/ 147840 w 198295"/>
                <a:gd name="connsiteY398" fmla="*/ 285775 h 428865"/>
                <a:gd name="connsiteX399" fmla="*/ 146789 w 198295"/>
                <a:gd name="connsiteY399" fmla="*/ 287051 h 428865"/>
                <a:gd name="connsiteX400" fmla="*/ 141801 w 198295"/>
                <a:gd name="connsiteY400" fmla="*/ 290003 h 428865"/>
                <a:gd name="connsiteX401" fmla="*/ 141395 w 198295"/>
                <a:gd name="connsiteY401" fmla="*/ 292544 h 428865"/>
                <a:gd name="connsiteX402" fmla="*/ 141045 w 198295"/>
                <a:gd name="connsiteY402" fmla="*/ 296398 h 428865"/>
                <a:gd name="connsiteX403" fmla="*/ 140962 w 198295"/>
                <a:gd name="connsiteY403" fmla="*/ 301128 h 428865"/>
                <a:gd name="connsiteX404" fmla="*/ 141200 w 198295"/>
                <a:gd name="connsiteY404" fmla="*/ 304664 h 428865"/>
                <a:gd name="connsiteX405" fmla="*/ 141017 w 198295"/>
                <a:gd name="connsiteY405" fmla="*/ 305476 h 428865"/>
                <a:gd name="connsiteX406" fmla="*/ 140583 w 198295"/>
                <a:gd name="connsiteY406" fmla="*/ 305861 h 428865"/>
                <a:gd name="connsiteX407" fmla="*/ 138700 w 198295"/>
                <a:gd name="connsiteY407" fmla="*/ 305710 h 428865"/>
                <a:gd name="connsiteX408" fmla="*/ 135985 w 198295"/>
                <a:gd name="connsiteY408" fmla="*/ 307493 h 428865"/>
                <a:gd name="connsiteX409" fmla="*/ 135029 w 198295"/>
                <a:gd name="connsiteY409" fmla="*/ 307651 h 428865"/>
                <a:gd name="connsiteX410" fmla="*/ 133836 w 198295"/>
                <a:gd name="connsiteY410" fmla="*/ 308335 h 428865"/>
                <a:gd name="connsiteX411" fmla="*/ 132926 w 198295"/>
                <a:gd name="connsiteY411" fmla="*/ 309177 h 428865"/>
                <a:gd name="connsiteX412" fmla="*/ 132637 w 198295"/>
                <a:gd name="connsiteY412" fmla="*/ 310460 h 428865"/>
                <a:gd name="connsiteX413" fmla="*/ 133172 w 198295"/>
                <a:gd name="connsiteY413" fmla="*/ 314337 h 428865"/>
                <a:gd name="connsiteX414" fmla="*/ 134141 w 198295"/>
                <a:gd name="connsiteY414" fmla="*/ 317980 h 428865"/>
                <a:gd name="connsiteX415" fmla="*/ 136046 w 198295"/>
                <a:gd name="connsiteY415" fmla="*/ 320651 h 428865"/>
                <a:gd name="connsiteX416" fmla="*/ 137551 w 198295"/>
                <a:gd name="connsiteY416" fmla="*/ 322763 h 428865"/>
                <a:gd name="connsiteX417" fmla="*/ 139648 w 198295"/>
                <a:gd name="connsiteY417" fmla="*/ 325699 h 428865"/>
                <a:gd name="connsiteX418" fmla="*/ 141307 w 198295"/>
                <a:gd name="connsiteY418" fmla="*/ 328249 h 428865"/>
                <a:gd name="connsiteX419" fmla="*/ 144649 w 198295"/>
                <a:gd name="connsiteY419" fmla="*/ 331050 h 428865"/>
                <a:gd name="connsiteX420" fmla="*/ 149346 w 198295"/>
                <a:gd name="connsiteY420" fmla="*/ 335242 h 428865"/>
                <a:gd name="connsiteX421" fmla="*/ 151138 w 198295"/>
                <a:gd name="connsiteY421" fmla="*/ 337557 h 428865"/>
                <a:gd name="connsiteX422" fmla="*/ 152721 w 198295"/>
                <a:gd name="connsiteY422" fmla="*/ 340360 h 428865"/>
                <a:gd name="connsiteX423" fmla="*/ 153839 w 198295"/>
                <a:gd name="connsiteY423" fmla="*/ 342750 h 428865"/>
                <a:gd name="connsiteX424" fmla="*/ 154265 w 198295"/>
                <a:gd name="connsiteY424" fmla="*/ 345923 h 428865"/>
                <a:gd name="connsiteX425" fmla="*/ 154610 w 198295"/>
                <a:gd name="connsiteY425" fmla="*/ 347698 h 428865"/>
                <a:gd name="connsiteX426" fmla="*/ 154710 w 198295"/>
                <a:gd name="connsiteY426" fmla="*/ 353636 h 428865"/>
                <a:gd name="connsiteX427" fmla="*/ 153845 w 198295"/>
                <a:gd name="connsiteY427" fmla="*/ 354987 h 428865"/>
                <a:gd name="connsiteX428" fmla="*/ 153190 w 198295"/>
                <a:gd name="connsiteY428" fmla="*/ 356550 h 428865"/>
                <a:gd name="connsiteX429" fmla="*/ 153554 w 198295"/>
                <a:gd name="connsiteY429" fmla="*/ 358186 h 428865"/>
                <a:gd name="connsiteX430" fmla="*/ 154651 w 198295"/>
                <a:gd name="connsiteY430" fmla="*/ 359746 h 428865"/>
                <a:gd name="connsiteX431" fmla="*/ 154651 w 198295"/>
                <a:gd name="connsiteY431" fmla="*/ 361531 h 428865"/>
                <a:gd name="connsiteX432" fmla="*/ 155675 w 198295"/>
                <a:gd name="connsiteY432" fmla="*/ 364726 h 428865"/>
                <a:gd name="connsiteX433" fmla="*/ 157389 w 198295"/>
                <a:gd name="connsiteY433" fmla="*/ 366677 h 428865"/>
                <a:gd name="connsiteX434" fmla="*/ 159039 w 198295"/>
                <a:gd name="connsiteY434" fmla="*/ 367995 h 428865"/>
                <a:gd name="connsiteX435" fmla="*/ 159771 w 198295"/>
                <a:gd name="connsiteY435" fmla="*/ 369035 h 428865"/>
                <a:gd name="connsiteX436" fmla="*/ 159532 w 198295"/>
                <a:gd name="connsiteY436" fmla="*/ 370703 h 428865"/>
                <a:gd name="connsiteX437" fmla="*/ 160019 w 198295"/>
                <a:gd name="connsiteY437" fmla="*/ 372472 h 428865"/>
                <a:gd name="connsiteX438" fmla="*/ 160376 w 198295"/>
                <a:gd name="connsiteY438" fmla="*/ 374397 h 428865"/>
                <a:gd name="connsiteX439" fmla="*/ 161050 w 198295"/>
                <a:gd name="connsiteY439" fmla="*/ 377064 h 428865"/>
                <a:gd name="connsiteX440" fmla="*/ 162377 w 198295"/>
                <a:gd name="connsiteY440" fmla="*/ 379320 h 428865"/>
                <a:gd name="connsiteX441" fmla="*/ 164407 w 198295"/>
                <a:gd name="connsiteY441" fmla="*/ 386236 h 428865"/>
                <a:gd name="connsiteX442" fmla="*/ 164358 w 198295"/>
                <a:gd name="connsiteY442" fmla="*/ 386943 h 428865"/>
                <a:gd name="connsiteX443" fmla="*/ 163481 w 198295"/>
                <a:gd name="connsiteY443" fmla="*/ 388344 h 428865"/>
                <a:gd name="connsiteX444" fmla="*/ 162207 w 198295"/>
                <a:gd name="connsiteY444" fmla="*/ 389610 h 428865"/>
                <a:gd name="connsiteX445" fmla="*/ 161382 w 198295"/>
                <a:gd name="connsiteY445" fmla="*/ 390017 h 428865"/>
                <a:gd name="connsiteX446" fmla="*/ 160602 w 198295"/>
                <a:gd name="connsiteY446" fmla="*/ 391319 h 428865"/>
                <a:gd name="connsiteX447" fmla="*/ 158747 w 198295"/>
                <a:gd name="connsiteY447" fmla="*/ 395013 h 428865"/>
                <a:gd name="connsiteX448" fmla="*/ 155018 w 198295"/>
                <a:gd name="connsiteY448" fmla="*/ 401375 h 428865"/>
                <a:gd name="connsiteX449" fmla="*/ 151376 w 198295"/>
                <a:gd name="connsiteY449" fmla="*/ 405522 h 428865"/>
                <a:gd name="connsiteX450" fmla="*/ 148318 w 198295"/>
                <a:gd name="connsiteY450" fmla="*/ 408466 h 428865"/>
                <a:gd name="connsiteX451" fmla="*/ 146102 w 198295"/>
                <a:gd name="connsiteY451" fmla="*/ 410253 h 428865"/>
                <a:gd name="connsiteX452" fmla="*/ 145446 w 198295"/>
                <a:gd name="connsiteY452" fmla="*/ 411315 h 428865"/>
                <a:gd name="connsiteX453" fmla="*/ 145446 w 198295"/>
                <a:gd name="connsiteY453" fmla="*/ 412150 h 428865"/>
                <a:gd name="connsiteX454" fmla="*/ 145847 w 198295"/>
                <a:gd name="connsiteY454" fmla="*/ 413638 h 428865"/>
                <a:gd name="connsiteX455" fmla="*/ 145692 w 198295"/>
                <a:gd name="connsiteY455" fmla="*/ 416458 h 428865"/>
                <a:gd name="connsiteX456" fmla="*/ 145216 w 198295"/>
                <a:gd name="connsiteY456" fmla="*/ 418247 h 428865"/>
                <a:gd name="connsiteX457" fmla="*/ 144589 w 198295"/>
                <a:gd name="connsiteY457" fmla="*/ 420142 h 428865"/>
                <a:gd name="connsiteX458" fmla="*/ 144237 w 198295"/>
                <a:gd name="connsiteY458" fmla="*/ 421831 h 428865"/>
                <a:gd name="connsiteX459" fmla="*/ 143251 w 198295"/>
                <a:gd name="connsiteY459" fmla="*/ 422084 h 428865"/>
                <a:gd name="connsiteX460" fmla="*/ 141142 w 198295"/>
                <a:gd name="connsiteY460" fmla="*/ 425302 h 428865"/>
                <a:gd name="connsiteX461" fmla="*/ 140228 w 198295"/>
                <a:gd name="connsiteY461" fmla="*/ 423689 h 428865"/>
                <a:gd name="connsiteX462" fmla="*/ 139689 w 198295"/>
                <a:gd name="connsiteY462" fmla="*/ 422007 h 428865"/>
                <a:gd name="connsiteX463" fmla="*/ 140268 w 198295"/>
                <a:gd name="connsiteY463" fmla="*/ 418195 h 428865"/>
                <a:gd name="connsiteX464" fmla="*/ 138983 w 198295"/>
                <a:gd name="connsiteY464" fmla="*/ 410982 h 428865"/>
                <a:gd name="connsiteX465" fmla="*/ 139780 w 198295"/>
                <a:gd name="connsiteY465" fmla="*/ 410018 h 428865"/>
                <a:gd name="connsiteX466" fmla="*/ 140546 w 198295"/>
                <a:gd name="connsiteY466" fmla="*/ 409532 h 428865"/>
                <a:gd name="connsiteX467" fmla="*/ 141943 w 198295"/>
                <a:gd name="connsiteY467" fmla="*/ 406764 h 428865"/>
                <a:gd name="connsiteX468" fmla="*/ 143641 w 198295"/>
                <a:gd name="connsiteY468" fmla="*/ 404024 h 428865"/>
                <a:gd name="connsiteX469" fmla="*/ 143796 w 198295"/>
                <a:gd name="connsiteY469" fmla="*/ 400752 h 428865"/>
                <a:gd name="connsiteX470" fmla="*/ 145169 w 198295"/>
                <a:gd name="connsiteY470" fmla="*/ 398351 h 428865"/>
                <a:gd name="connsiteX471" fmla="*/ 144845 w 198295"/>
                <a:gd name="connsiteY471" fmla="*/ 396345 h 428865"/>
                <a:gd name="connsiteX472" fmla="*/ 144916 w 198295"/>
                <a:gd name="connsiteY472" fmla="*/ 393987 h 428865"/>
                <a:gd name="connsiteX473" fmla="*/ 145206 w 198295"/>
                <a:gd name="connsiteY473" fmla="*/ 392060 h 428865"/>
                <a:gd name="connsiteX474" fmla="*/ 145096 w 198295"/>
                <a:gd name="connsiteY474" fmla="*/ 390483 h 428865"/>
                <a:gd name="connsiteX475" fmla="*/ 146186 w 198295"/>
                <a:gd name="connsiteY475" fmla="*/ 388838 h 428865"/>
                <a:gd name="connsiteX476" fmla="*/ 148071 w 198295"/>
                <a:gd name="connsiteY476" fmla="*/ 387614 h 428865"/>
                <a:gd name="connsiteX477" fmla="*/ 147281 w 198295"/>
                <a:gd name="connsiteY477" fmla="*/ 387176 h 428865"/>
                <a:gd name="connsiteX478" fmla="*/ 146498 w 198295"/>
                <a:gd name="connsiteY478" fmla="*/ 386280 h 428865"/>
                <a:gd name="connsiteX479" fmla="*/ 144040 w 198295"/>
                <a:gd name="connsiteY479" fmla="*/ 387645 h 428865"/>
                <a:gd name="connsiteX480" fmla="*/ 142772 w 198295"/>
                <a:gd name="connsiteY480" fmla="*/ 387196 h 428865"/>
                <a:gd name="connsiteX481" fmla="*/ 142520 w 198295"/>
                <a:gd name="connsiteY481" fmla="*/ 385782 h 428865"/>
                <a:gd name="connsiteX482" fmla="*/ 142833 w 198295"/>
                <a:gd name="connsiteY482" fmla="*/ 384265 h 428865"/>
                <a:gd name="connsiteX483" fmla="*/ 142962 w 198295"/>
                <a:gd name="connsiteY483" fmla="*/ 383342 h 428865"/>
                <a:gd name="connsiteX484" fmla="*/ 143947 w 198295"/>
                <a:gd name="connsiteY484" fmla="*/ 382301 h 428865"/>
                <a:gd name="connsiteX485" fmla="*/ 143878 w 198295"/>
                <a:gd name="connsiteY485" fmla="*/ 380274 h 428865"/>
                <a:gd name="connsiteX486" fmla="*/ 143382 w 198295"/>
                <a:gd name="connsiteY486" fmla="*/ 378489 h 428865"/>
                <a:gd name="connsiteX487" fmla="*/ 144098 w 198295"/>
                <a:gd name="connsiteY487" fmla="*/ 376278 h 428865"/>
                <a:gd name="connsiteX488" fmla="*/ 142645 w 198295"/>
                <a:gd name="connsiteY488" fmla="*/ 376273 h 428865"/>
                <a:gd name="connsiteX489" fmla="*/ 141976 w 198295"/>
                <a:gd name="connsiteY489" fmla="*/ 375828 h 428865"/>
                <a:gd name="connsiteX490" fmla="*/ 142393 w 198295"/>
                <a:gd name="connsiteY490" fmla="*/ 374600 h 428865"/>
                <a:gd name="connsiteX491" fmla="*/ 143710 w 198295"/>
                <a:gd name="connsiteY491" fmla="*/ 373512 h 428865"/>
                <a:gd name="connsiteX492" fmla="*/ 142509 w 198295"/>
                <a:gd name="connsiteY492" fmla="*/ 371442 h 428865"/>
                <a:gd name="connsiteX493" fmla="*/ 143399 w 198295"/>
                <a:gd name="connsiteY493" fmla="*/ 369214 h 428865"/>
                <a:gd name="connsiteX494" fmla="*/ 143366 w 198295"/>
                <a:gd name="connsiteY494" fmla="*/ 366463 h 428865"/>
                <a:gd name="connsiteX495" fmla="*/ 142757 w 198295"/>
                <a:gd name="connsiteY495" fmla="*/ 364035 h 428865"/>
                <a:gd name="connsiteX496" fmla="*/ 142789 w 198295"/>
                <a:gd name="connsiteY496" fmla="*/ 362288 h 428865"/>
                <a:gd name="connsiteX497" fmla="*/ 141861 w 198295"/>
                <a:gd name="connsiteY497" fmla="*/ 359191 h 428865"/>
                <a:gd name="connsiteX498" fmla="*/ 141438 w 198295"/>
                <a:gd name="connsiteY498" fmla="*/ 355236 h 428865"/>
                <a:gd name="connsiteX499" fmla="*/ 139473 w 198295"/>
                <a:gd name="connsiteY499" fmla="*/ 352286 h 428865"/>
                <a:gd name="connsiteX500" fmla="*/ 138018 w 198295"/>
                <a:gd name="connsiteY500" fmla="*/ 347994 h 428865"/>
                <a:gd name="connsiteX501" fmla="*/ 134128 w 198295"/>
                <a:gd name="connsiteY501" fmla="*/ 342372 h 428865"/>
                <a:gd name="connsiteX502" fmla="*/ 134195 w 198295"/>
                <a:gd name="connsiteY502" fmla="*/ 339964 h 428865"/>
                <a:gd name="connsiteX503" fmla="*/ 133986 w 198295"/>
                <a:gd name="connsiteY503" fmla="*/ 337843 h 428865"/>
                <a:gd name="connsiteX504" fmla="*/ 133133 w 198295"/>
                <a:gd name="connsiteY504" fmla="*/ 336813 h 428865"/>
                <a:gd name="connsiteX505" fmla="*/ 132008 w 198295"/>
                <a:gd name="connsiteY505" fmla="*/ 344306 h 428865"/>
                <a:gd name="connsiteX506" fmla="*/ 131148 w 198295"/>
                <a:gd name="connsiteY506" fmla="*/ 342835 h 428865"/>
                <a:gd name="connsiteX507" fmla="*/ 130874 w 198295"/>
                <a:gd name="connsiteY507" fmla="*/ 338657 h 428865"/>
                <a:gd name="connsiteX508" fmla="*/ 130309 w 198295"/>
                <a:gd name="connsiteY508" fmla="*/ 336671 h 428865"/>
                <a:gd name="connsiteX509" fmla="*/ 130917 w 198295"/>
                <a:gd name="connsiteY509" fmla="*/ 332724 h 428865"/>
                <a:gd name="connsiteX510" fmla="*/ 128667 w 198295"/>
                <a:gd name="connsiteY510" fmla="*/ 328805 h 428865"/>
                <a:gd name="connsiteX511" fmla="*/ 128183 w 198295"/>
                <a:gd name="connsiteY511" fmla="*/ 325957 h 428865"/>
                <a:gd name="connsiteX512" fmla="*/ 126707 w 198295"/>
                <a:gd name="connsiteY512" fmla="*/ 321640 h 428865"/>
                <a:gd name="connsiteX513" fmla="*/ 127138 w 198295"/>
                <a:gd name="connsiteY513" fmla="*/ 320672 h 428865"/>
                <a:gd name="connsiteX514" fmla="*/ 129117 w 198295"/>
                <a:gd name="connsiteY514" fmla="*/ 321643 h 428865"/>
                <a:gd name="connsiteX515" fmla="*/ 127298 w 198295"/>
                <a:gd name="connsiteY515" fmla="*/ 319128 h 428865"/>
                <a:gd name="connsiteX516" fmla="*/ 125808 w 198295"/>
                <a:gd name="connsiteY516" fmla="*/ 319697 h 428865"/>
                <a:gd name="connsiteX517" fmla="*/ 124552 w 198295"/>
                <a:gd name="connsiteY517" fmla="*/ 316981 h 428865"/>
                <a:gd name="connsiteX518" fmla="*/ 124275 w 198295"/>
                <a:gd name="connsiteY518" fmla="*/ 309611 h 428865"/>
                <a:gd name="connsiteX519" fmla="*/ 123036 w 198295"/>
                <a:gd name="connsiteY519" fmla="*/ 306854 h 428865"/>
                <a:gd name="connsiteX520" fmla="*/ 123709 w 198295"/>
                <a:gd name="connsiteY520" fmla="*/ 304044 h 428865"/>
                <a:gd name="connsiteX521" fmla="*/ 122297 w 198295"/>
                <a:gd name="connsiteY521" fmla="*/ 293974 h 428865"/>
                <a:gd name="connsiteX522" fmla="*/ 119509 w 198295"/>
                <a:gd name="connsiteY522" fmla="*/ 290708 h 428865"/>
                <a:gd name="connsiteX523" fmla="*/ 120062 w 198295"/>
                <a:gd name="connsiteY523" fmla="*/ 287890 h 428865"/>
                <a:gd name="connsiteX524" fmla="*/ 120755 w 198295"/>
                <a:gd name="connsiteY524" fmla="*/ 285394 h 428865"/>
                <a:gd name="connsiteX525" fmla="*/ 120602 w 198295"/>
                <a:gd name="connsiteY525" fmla="*/ 280767 h 428865"/>
                <a:gd name="connsiteX526" fmla="*/ 121287 w 198295"/>
                <a:gd name="connsiteY526" fmla="*/ 279341 h 428865"/>
                <a:gd name="connsiteX527" fmla="*/ 122643 w 198295"/>
                <a:gd name="connsiteY527" fmla="*/ 278248 h 428865"/>
                <a:gd name="connsiteX528" fmla="*/ 121371 w 198295"/>
                <a:gd name="connsiteY528" fmla="*/ 278633 h 428865"/>
                <a:gd name="connsiteX529" fmla="*/ 120291 w 198295"/>
                <a:gd name="connsiteY529" fmla="*/ 278960 h 428865"/>
                <a:gd name="connsiteX530" fmla="*/ 117758 w 198295"/>
                <a:gd name="connsiteY530" fmla="*/ 279231 h 428865"/>
                <a:gd name="connsiteX531" fmla="*/ 114901 w 198295"/>
                <a:gd name="connsiteY531" fmla="*/ 279284 h 428865"/>
                <a:gd name="connsiteX532" fmla="*/ 113910 w 198295"/>
                <a:gd name="connsiteY532" fmla="*/ 275903 h 428865"/>
                <a:gd name="connsiteX533" fmla="*/ 112504 w 198295"/>
                <a:gd name="connsiteY533" fmla="*/ 274281 h 428865"/>
                <a:gd name="connsiteX534" fmla="*/ 111271 w 198295"/>
                <a:gd name="connsiteY534" fmla="*/ 270883 h 428865"/>
                <a:gd name="connsiteX535" fmla="*/ 110532 w 198295"/>
                <a:gd name="connsiteY535" fmla="*/ 267029 h 428865"/>
                <a:gd name="connsiteX536" fmla="*/ 111016 w 198295"/>
                <a:gd name="connsiteY536" fmla="*/ 266269 h 428865"/>
                <a:gd name="connsiteX537" fmla="*/ 108805 w 198295"/>
                <a:gd name="connsiteY537" fmla="*/ 264695 h 428865"/>
                <a:gd name="connsiteX538" fmla="*/ 108237 w 198295"/>
                <a:gd name="connsiteY538" fmla="*/ 263731 h 428865"/>
                <a:gd name="connsiteX539" fmla="*/ 105929 w 198295"/>
                <a:gd name="connsiteY539" fmla="*/ 261217 h 428865"/>
                <a:gd name="connsiteX540" fmla="*/ 103305 w 198295"/>
                <a:gd name="connsiteY540" fmla="*/ 259310 h 428865"/>
                <a:gd name="connsiteX541" fmla="*/ 103886 w 198295"/>
                <a:gd name="connsiteY541" fmla="*/ 260651 h 428865"/>
                <a:gd name="connsiteX542" fmla="*/ 104595 w 198295"/>
                <a:gd name="connsiteY542" fmla="*/ 261501 h 428865"/>
                <a:gd name="connsiteX543" fmla="*/ 103293 w 198295"/>
                <a:gd name="connsiteY543" fmla="*/ 263822 h 428865"/>
                <a:gd name="connsiteX544" fmla="*/ 104568 w 198295"/>
                <a:gd name="connsiteY544" fmla="*/ 267736 h 428865"/>
                <a:gd name="connsiteX545" fmla="*/ 103450 w 198295"/>
                <a:gd name="connsiteY545" fmla="*/ 270232 h 428865"/>
                <a:gd name="connsiteX546" fmla="*/ 102403 w 198295"/>
                <a:gd name="connsiteY546" fmla="*/ 273480 h 428865"/>
                <a:gd name="connsiteX547" fmla="*/ 101403 w 198295"/>
                <a:gd name="connsiteY547" fmla="*/ 275026 h 428865"/>
                <a:gd name="connsiteX548" fmla="*/ 98242 w 198295"/>
                <a:gd name="connsiteY548" fmla="*/ 278354 h 428865"/>
                <a:gd name="connsiteX549" fmla="*/ 95681 w 198295"/>
                <a:gd name="connsiteY549" fmla="*/ 279480 h 428865"/>
                <a:gd name="connsiteX550" fmla="*/ 94011 w 198295"/>
                <a:gd name="connsiteY550" fmla="*/ 279694 h 428865"/>
                <a:gd name="connsiteX551" fmla="*/ 92534 w 198295"/>
                <a:gd name="connsiteY551" fmla="*/ 279340 h 428865"/>
                <a:gd name="connsiteX552" fmla="*/ 90718 w 198295"/>
                <a:gd name="connsiteY552" fmla="*/ 277625 h 428865"/>
                <a:gd name="connsiteX553" fmla="*/ 90273 w 198295"/>
                <a:gd name="connsiteY553" fmla="*/ 276190 h 428865"/>
                <a:gd name="connsiteX554" fmla="*/ 89982 w 198295"/>
                <a:gd name="connsiteY554" fmla="*/ 273776 h 428865"/>
                <a:gd name="connsiteX555" fmla="*/ 89349 w 198295"/>
                <a:gd name="connsiteY555" fmla="*/ 273430 h 428865"/>
                <a:gd name="connsiteX556" fmla="*/ 88658 w 198295"/>
                <a:gd name="connsiteY556" fmla="*/ 273709 h 428865"/>
                <a:gd name="connsiteX557" fmla="*/ 89734 w 198295"/>
                <a:gd name="connsiteY557" fmla="*/ 276824 h 428865"/>
                <a:gd name="connsiteX558" fmla="*/ 89712 w 198295"/>
                <a:gd name="connsiteY558" fmla="*/ 278274 h 428865"/>
                <a:gd name="connsiteX559" fmla="*/ 91649 w 198295"/>
                <a:gd name="connsiteY559" fmla="*/ 281067 h 428865"/>
                <a:gd name="connsiteX560" fmla="*/ 90958 w 198295"/>
                <a:gd name="connsiteY560" fmla="*/ 281848 h 428865"/>
                <a:gd name="connsiteX561" fmla="*/ 87464 w 198295"/>
                <a:gd name="connsiteY561" fmla="*/ 283381 h 428865"/>
                <a:gd name="connsiteX562" fmla="*/ 86268 w 198295"/>
                <a:gd name="connsiteY562" fmla="*/ 283135 h 428865"/>
                <a:gd name="connsiteX563" fmla="*/ 85425 w 198295"/>
                <a:gd name="connsiteY563" fmla="*/ 283440 h 428865"/>
                <a:gd name="connsiteX564" fmla="*/ 85188 w 198295"/>
                <a:gd name="connsiteY564" fmla="*/ 284696 h 428865"/>
                <a:gd name="connsiteX565" fmla="*/ 84750 w 198295"/>
                <a:gd name="connsiteY565" fmla="*/ 285397 h 428865"/>
                <a:gd name="connsiteX566" fmla="*/ 79243 w 198295"/>
                <a:gd name="connsiteY566" fmla="*/ 287318 h 428865"/>
                <a:gd name="connsiteX567" fmla="*/ 78096 w 198295"/>
                <a:gd name="connsiteY567" fmla="*/ 289488 h 428865"/>
                <a:gd name="connsiteX568" fmla="*/ 77390 w 198295"/>
                <a:gd name="connsiteY568" fmla="*/ 291679 h 428865"/>
                <a:gd name="connsiteX569" fmla="*/ 74652 w 198295"/>
                <a:gd name="connsiteY569" fmla="*/ 294828 h 428865"/>
                <a:gd name="connsiteX570" fmla="*/ 70979 w 198295"/>
                <a:gd name="connsiteY570" fmla="*/ 297436 h 428865"/>
                <a:gd name="connsiteX571" fmla="*/ 70070 w 198295"/>
                <a:gd name="connsiteY571" fmla="*/ 297288 h 428865"/>
                <a:gd name="connsiteX572" fmla="*/ 69032 w 198295"/>
                <a:gd name="connsiteY572" fmla="*/ 296680 h 428865"/>
                <a:gd name="connsiteX573" fmla="*/ 69172 w 198295"/>
                <a:gd name="connsiteY573" fmla="*/ 293863 h 428865"/>
                <a:gd name="connsiteX574" fmla="*/ 70431 w 198295"/>
                <a:gd name="connsiteY574" fmla="*/ 291482 h 428865"/>
                <a:gd name="connsiteX575" fmla="*/ 70033 w 198295"/>
                <a:gd name="connsiteY575" fmla="*/ 288939 h 428865"/>
                <a:gd name="connsiteX576" fmla="*/ 69729 w 198295"/>
                <a:gd name="connsiteY576" fmla="*/ 290398 h 428865"/>
                <a:gd name="connsiteX577" fmla="*/ 67360 w 198295"/>
                <a:gd name="connsiteY577" fmla="*/ 293945 h 428865"/>
                <a:gd name="connsiteX578" fmla="*/ 66279 w 198295"/>
                <a:gd name="connsiteY578" fmla="*/ 295104 h 428865"/>
                <a:gd name="connsiteX579" fmla="*/ 64097 w 198295"/>
                <a:gd name="connsiteY579" fmla="*/ 294798 h 428865"/>
                <a:gd name="connsiteX580" fmla="*/ 61096 w 198295"/>
                <a:gd name="connsiteY580" fmla="*/ 295272 h 428865"/>
                <a:gd name="connsiteX581" fmla="*/ 59960 w 198295"/>
                <a:gd name="connsiteY581" fmla="*/ 291626 h 428865"/>
                <a:gd name="connsiteX582" fmla="*/ 59981 w 198295"/>
                <a:gd name="connsiteY582" fmla="*/ 290286 h 428865"/>
                <a:gd name="connsiteX583" fmla="*/ 59761 w 198295"/>
                <a:gd name="connsiteY583" fmla="*/ 289158 h 428865"/>
                <a:gd name="connsiteX584" fmla="*/ 60107 w 198295"/>
                <a:gd name="connsiteY584" fmla="*/ 287959 h 428865"/>
                <a:gd name="connsiteX585" fmla="*/ 60003 w 198295"/>
                <a:gd name="connsiteY585" fmla="*/ 287006 h 428865"/>
                <a:gd name="connsiteX586" fmla="*/ 59274 w 198295"/>
                <a:gd name="connsiteY586" fmla="*/ 288829 h 428865"/>
                <a:gd name="connsiteX587" fmla="*/ 58999 w 198295"/>
                <a:gd name="connsiteY587" fmla="*/ 290407 h 428865"/>
                <a:gd name="connsiteX588" fmla="*/ 57902 w 198295"/>
                <a:gd name="connsiteY588" fmla="*/ 291808 h 428865"/>
                <a:gd name="connsiteX589" fmla="*/ 54881 w 198295"/>
                <a:gd name="connsiteY589" fmla="*/ 293320 h 428865"/>
                <a:gd name="connsiteX590" fmla="*/ 54765 w 198295"/>
                <a:gd name="connsiteY590" fmla="*/ 291407 h 428865"/>
                <a:gd name="connsiteX591" fmla="*/ 54657 w 198295"/>
                <a:gd name="connsiteY591" fmla="*/ 289682 h 428865"/>
                <a:gd name="connsiteX592" fmla="*/ 55306 w 198295"/>
                <a:gd name="connsiteY592" fmla="*/ 288129 h 428865"/>
                <a:gd name="connsiteX593" fmla="*/ 55213 w 198295"/>
                <a:gd name="connsiteY593" fmla="*/ 285662 h 428865"/>
                <a:gd name="connsiteX594" fmla="*/ 56172 w 198295"/>
                <a:gd name="connsiteY594" fmla="*/ 282105 h 428865"/>
                <a:gd name="connsiteX595" fmla="*/ 56099 w 198295"/>
                <a:gd name="connsiteY595" fmla="*/ 280885 h 428865"/>
                <a:gd name="connsiteX596" fmla="*/ 55806 w 198295"/>
                <a:gd name="connsiteY596" fmla="*/ 279535 h 428865"/>
                <a:gd name="connsiteX597" fmla="*/ 55268 w 198295"/>
                <a:gd name="connsiteY597" fmla="*/ 281495 h 428865"/>
                <a:gd name="connsiteX598" fmla="*/ 54963 w 198295"/>
                <a:gd name="connsiteY598" fmla="*/ 283526 h 428865"/>
                <a:gd name="connsiteX599" fmla="*/ 54355 w 198295"/>
                <a:gd name="connsiteY599" fmla="*/ 284140 h 428865"/>
                <a:gd name="connsiteX600" fmla="*/ 53244 w 198295"/>
                <a:gd name="connsiteY600" fmla="*/ 284600 h 428865"/>
                <a:gd name="connsiteX601" fmla="*/ 51214 w 198295"/>
                <a:gd name="connsiteY601" fmla="*/ 286930 h 428865"/>
                <a:gd name="connsiteX602" fmla="*/ 50018 w 198295"/>
                <a:gd name="connsiteY602" fmla="*/ 289012 h 428865"/>
                <a:gd name="connsiteX603" fmla="*/ 46866 w 198295"/>
                <a:gd name="connsiteY603" fmla="*/ 290980 h 428865"/>
                <a:gd name="connsiteX604" fmla="*/ 45203 w 198295"/>
                <a:gd name="connsiteY604" fmla="*/ 290779 h 428865"/>
                <a:gd name="connsiteX605" fmla="*/ 44991 w 198295"/>
                <a:gd name="connsiteY605" fmla="*/ 288281 h 428865"/>
                <a:gd name="connsiteX606" fmla="*/ 46252 w 198295"/>
                <a:gd name="connsiteY606" fmla="*/ 279413 h 428865"/>
                <a:gd name="connsiteX607" fmla="*/ 47491 w 198295"/>
                <a:gd name="connsiteY607" fmla="*/ 278166 h 428865"/>
                <a:gd name="connsiteX608" fmla="*/ 48068 w 198295"/>
                <a:gd name="connsiteY608" fmla="*/ 276626 h 428865"/>
                <a:gd name="connsiteX609" fmla="*/ 49098 w 198295"/>
                <a:gd name="connsiteY609" fmla="*/ 271439 h 428865"/>
                <a:gd name="connsiteX610" fmla="*/ 50258 w 198295"/>
                <a:gd name="connsiteY610" fmla="*/ 269475 h 428865"/>
                <a:gd name="connsiteX611" fmla="*/ 50715 w 198295"/>
                <a:gd name="connsiteY611" fmla="*/ 265358 h 428865"/>
                <a:gd name="connsiteX612" fmla="*/ 51184 w 198295"/>
                <a:gd name="connsiteY612" fmla="*/ 264650 h 428865"/>
                <a:gd name="connsiteX613" fmla="*/ 52734 w 198295"/>
                <a:gd name="connsiteY613" fmla="*/ 261417 h 428865"/>
                <a:gd name="connsiteX614" fmla="*/ 53277 w 198295"/>
                <a:gd name="connsiteY614" fmla="*/ 255475 h 428865"/>
                <a:gd name="connsiteX615" fmla="*/ 52638 w 198295"/>
                <a:gd name="connsiteY615" fmla="*/ 252519 h 428865"/>
                <a:gd name="connsiteX616" fmla="*/ 51184 w 198295"/>
                <a:gd name="connsiteY616" fmla="*/ 249654 h 428865"/>
                <a:gd name="connsiteX617" fmla="*/ 49778 w 198295"/>
                <a:gd name="connsiteY617" fmla="*/ 241045 h 428865"/>
                <a:gd name="connsiteX618" fmla="*/ 46131 w 198295"/>
                <a:gd name="connsiteY618" fmla="*/ 234060 h 428865"/>
                <a:gd name="connsiteX619" fmla="*/ 45829 w 198295"/>
                <a:gd name="connsiteY619" fmla="*/ 231728 h 428865"/>
                <a:gd name="connsiteX620" fmla="*/ 44028 w 198295"/>
                <a:gd name="connsiteY620" fmla="*/ 228908 h 428865"/>
                <a:gd name="connsiteX621" fmla="*/ 45686 w 198295"/>
                <a:gd name="connsiteY621" fmla="*/ 228708 h 428865"/>
                <a:gd name="connsiteX622" fmla="*/ 42272 w 198295"/>
                <a:gd name="connsiteY622" fmla="*/ 226234 h 428865"/>
                <a:gd name="connsiteX623" fmla="*/ 41802 w 198295"/>
                <a:gd name="connsiteY623" fmla="*/ 225222 h 428865"/>
                <a:gd name="connsiteX624" fmla="*/ 41115 w 198295"/>
                <a:gd name="connsiteY624" fmla="*/ 219429 h 428865"/>
                <a:gd name="connsiteX625" fmla="*/ 41247 w 198295"/>
                <a:gd name="connsiteY625" fmla="*/ 216190 h 428865"/>
                <a:gd name="connsiteX626" fmla="*/ 40750 w 198295"/>
                <a:gd name="connsiteY626" fmla="*/ 216617 h 428865"/>
                <a:gd name="connsiteX627" fmla="*/ 40288 w 198295"/>
                <a:gd name="connsiteY627" fmla="*/ 218613 h 428865"/>
                <a:gd name="connsiteX628" fmla="*/ 38949 w 198295"/>
                <a:gd name="connsiteY628" fmla="*/ 219431 h 428865"/>
                <a:gd name="connsiteX629" fmla="*/ 39547 w 198295"/>
                <a:gd name="connsiteY629" fmla="*/ 222893 h 428865"/>
                <a:gd name="connsiteX630" fmla="*/ 39398 w 198295"/>
                <a:gd name="connsiteY630" fmla="*/ 223733 h 428865"/>
                <a:gd name="connsiteX631" fmla="*/ 38688 w 198295"/>
                <a:gd name="connsiteY631" fmla="*/ 225078 h 428865"/>
                <a:gd name="connsiteX632" fmla="*/ 35833 w 198295"/>
                <a:gd name="connsiteY632" fmla="*/ 223682 h 428865"/>
                <a:gd name="connsiteX633" fmla="*/ 33741 w 198295"/>
                <a:gd name="connsiteY633" fmla="*/ 222163 h 428865"/>
                <a:gd name="connsiteX634" fmla="*/ 31368 w 198295"/>
                <a:gd name="connsiteY634" fmla="*/ 218459 h 428865"/>
                <a:gd name="connsiteX635" fmla="*/ 29044 w 198295"/>
                <a:gd name="connsiteY635" fmla="*/ 214307 h 428865"/>
                <a:gd name="connsiteX636" fmla="*/ 29873 w 198295"/>
                <a:gd name="connsiteY636" fmla="*/ 213663 h 428865"/>
                <a:gd name="connsiteX637" fmla="*/ 30936 w 198295"/>
                <a:gd name="connsiteY637" fmla="*/ 213580 h 428865"/>
                <a:gd name="connsiteX638" fmla="*/ 34239 w 198295"/>
                <a:gd name="connsiteY638" fmla="*/ 216670 h 428865"/>
                <a:gd name="connsiteX639" fmla="*/ 36382 w 198295"/>
                <a:gd name="connsiteY639" fmla="*/ 217313 h 428865"/>
                <a:gd name="connsiteX640" fmla="*/ 37735 w 198295"/>
                <a:gd name="connsiteY640" fmla="*/ 216545 h 428865"/>
                <a:gd name="connsiteX641" fmla="*/ 39414 w 198295"/>
                <a:gd name="connsiteY641" fmla="*/ 215228 h 428865"/>
                <a:gd name="connsiteX642" fmla="*/ 40213 w 198295"/>
                <a:gd name="connsiteY642" fmla="*/ 212669 h 428865"/>
                <a:gd name="connsiteX643" fmla="*/ 39386 w 198295"/>
                <a:gd name="connsiteY643" fmla="*/ 211732 h 428865"/>
                <a:gd name="connsiteX644" fmla="*/ 37775 w 198295"/>
                <a:gd name="connsiteY644" fmla="*/ 211222 h 428865"/>
                <a:gd name="connsiteX645" fmla="*/ 36705 w 198295"/>
                <a:gd name="connsiteY645" fmla="*/ 210528 h 428865"/>
                <a:gd name="connsiteX646" fmla="*/ 35166 w 198295"/>
                <a:gd name="connsiteY646" fmla="*/ 208796 h 428865"/>
                <a:gd name="connsiteX647" fmla="*/ 34970 w 198295"/>
                <a:gd name="connsiteY647" fmla="*/ 207912 h 428865"/>
                <a:gd name="connsiteX648" fmla="*/ 34494 w 198295"/>
                <a:gd name="connsiteY648" fmla="*/ 206781 h 428865"/>
                <a:gd name="connsiteX649" fmla="*/ 32929 w 198295"/>
                <a:gd name="connsiteY649" fmla="*/ 205983 h 428865"/>
                <a:gd name="connsiteX650" fmla="*/ 31668 w 198295"/>
                <a:gd name="connsiteY650" fmla="*/ 204970 h 428865"/>
                <a:gd name="connsiteX651" fmla="*/ 32733 w 198295"/>
                <a:gd name="connsiteY651" fmla="*/ 203176 h 428865"/>
                <a:gd name="connsiteX652" fmla="*/ 33775 w 198295"/>
                <a:gd name="connsiteY652" fmla="*/ 201842 h 428865"/>
                <a:gd name="connsiteX653" fmla="*/ 31007 w 198295"/>
                <a:gd name="connsiteY653" fmla="*/ 201901 h 428865"/>
                <a:gd name="connsiteX654" fmla="*/ 27850 w 198295"/>
                <a:gd name="connsiteY654" fmla="*/ 199605 h 428865"/>
                <a:gd name="connsiteX655" fmla="*/ 27198 w 198295"/>
                <a:gd name="connsiteY655" fmla="*/ 198940 h 428865"/>
                <a:gd name="connsiteX656" fmla="*/ 26152 w 198295"/>
                <a:gd name="connsiteY656" fmla="*/ 198480 h 428865"/>
                <a:gd name="connsiteX657" fmla="*/ 23670 w 198295"/>
                <a:gd name="connsiteY657" fmla="*/ 198208 h 428865"/>
                <a:gd name="connsiteX658" fmla="*/ 21605 w 198295"/>
                <a:gd name="connsiteY658" fmla="*/ 198884 h 428865"/>
                <a:gd name="connsiteX659" fmla="*/ 22542 w 198295"/>
                <a:gd name="connsiteY659" fmla="*/ 202160 h 428865"/>
                <a:gd name="connsiteX660" fmla="*/ 22356 w 198295"/>
                <a:gd name="connsiteY660" fmla="*/ 203243 h 428865"/>
                <a:gd name="connsiteX661" fmla="*/ 21005 w 198295"/>
                <a:gd name="connsiteY661" fmla="*/ 203087 h 428865"/>
                <a:gd name="connsiteX662" fmla="*/ 18185 w 198295"/>
                <a:gd name="connsiteY662" fmla="*/ 198099 h 428865"/>
                <a:gd name="connsiteX663" fmla="*/ 19033 w 198295"/>
                <a:gd name="connsiteY663" fmla="*/ 196835 h 428865"/>
                <a:gd name="connsiteX664" fmla="*/ 20253 w 198295"/>
                <a:gd name="connsiteY664" fmla="*/ 195648 h 428865"/>
                <a:gd name="connsiteX665" fmla="*/ 19653 w 198295"/>
                <a:gd name="connsiteY665" fmla="*/ 195480 h 428865"/>
                <a:gd name="connsiteX666" fmla="*/ 18476 w 198295"/>
                <a:gd name="connsiteY666" fmla="*/ 195558 h 428865"/>
                <a:gd name="connsiteX667" fmla="*/ 19619 w 198295"/>
                <a:gd name="connsiteY667" fmla="*/ 191128 h 428865"/>
                <a:gd name="connsiteX668" fmla="*/ 18923 w 198295"/>
                <a:gd name="connsiteY668" fmla="*/ 190471 h 428865"/>
                <a:gd name="connsiteX669" fmla="*/ 18556 w 198295"/>
                <a:gd name="connsiteY669" fmla="*/ 191856 h 428865"/>
                <a:gd name="connsiteX670" fmla="*/ 17936 w 198295"/>
                <a:gd name="connsiteY670" fmla="*/ 193193 h 428865"/>
                <a:gd name="connsiteX671" fmla="*/ 15535 w 198295"/>
                <a:gd name="connsiteY671" fmla="*/ 196321 h 428865"/>
                <a:gd name="connsiteX672" fmla="*/ 14345 w 198295"/>
                <a:gd name="connsiteY672" fmla="*/ 195735 h 428865"/>
                <a:gd name="connsiteX673" fmla="*/ 13524 w 198295"/>
                <a:gd name="connsiteY673" fmla="*/ 194956 h 428865"/>
                <a:gd name="connsiteX674" fmla="*/ 14682 w 198295"/>
                <a:gd name="connsiteY674" fmla="*/ 193317 h 428865"/>
                <a:gd name="connsiteX675" fmla="*/ 15304 w 198295"/>
                <a:gd name="connsiteY675" fmla="*/ 192876 h 428865"/>
                <a:gd name="connsiteX676" fmla="*/ 15734 w 198295"/>
                <a:gd name="connsiteY676" fmla="*/ 191987 h 428865"/>
                <a:gd name="connsiteX677" fmla="*/ 14840 w 198295"/>
                <a:gd name="connsiteY677" fmla="*/ 190271 h 428865"/>
                <a:gd name="connsiteX678" fmla="*/ 13429 w 198295"/>
                <a:gd name="connsiteY678" fmla="*/ 189022 h 428865"/>
                <a:gd name="connsiteX679" fmla="*/ 12296 w 198295"/>
                <a:gd name="connsiteY679" fmla="*/ 186863 h 428865"/>
                <a:gd name="connsiteX680" fmla="*/ 11706 w 198295"/>
                <a:gd name="connsiteY680" fmla="*/ 186834 h 428865"/>
                <a:gd name="connsiteX681" fmla="*/ 12229 w 198295"/>
                <a:gd name="connsiteY681" fmla="*/ 189383 h 428865"/>
                <a:gd name="connsiteX682" fmla="*/ 12013 w 198295"/>
                <a:gd name="connsiteY682" fmla="*/ 193018 h 428865"/>
                <a:gd name="connsiteX683" fmla="*/ 9474 w 198295"/>
                <a:gd name="connsiteY683" fmla="*/ 189003 h 428865"/>
                <a:gd name="connsiteX684" fmla="*/ 4395 w 198295"/>
                <a:gd name="connsiteY684" fmla="*/ 183291 h 428865"/>
                <a:gd name="connsiteX685" fmla="*/ 3196 w 198295"/>
                <a:gd name="connsiteY685" fmla="*/ 181577 h 428865"/>
                <a:gd name="connsiteX686" fmla="*/ 2926 w 198295"/>
                <a:gd name="connsiteY686" fmla="*/ 179902 h 428865"/>
                <a:gd name="connsiteX687" fmla="*/ 2358 w 198295"/>
                <a:gd name="connsiteY687" fmla="*/ 178351 h 428865"/>
                <a:gd name="connsiteX688" fmla="*/ 1965 w 198295"/>
                <a:gd name="connsiteY688" fmla="*/ 176663 h 428865"/>
                <a:gd name="connsiteX689" fmla="*/ 1877 w 198295"/>
                <a:gd name="connsiteY689" fmla="*/ 175351 h 428865"/>
                <a:gd name="connsiteX690" fmla="*/ 778 w 198295"/>
                <a:gd name="connsiteY690" fmla="*/ 174168 h 428865"/>
                <a:gd name="connsiteX691" fmla="*/ 275 w 198295"/>
                <a:gd name="connsiteY691" fmla="*/ 172098 h 428865"/>
                <a:gd name="connsiteX692" fmla="*/ 0 w 198295"/>
                <a:gd name="connsiteY692" fmla="*/ 169997 h 428865"/>
                <a:gd name="connsiteX693" fmla="*/ 633 w 198295"/>
                <a:gd name="connsiteY693" fmla="*/ 168499 h 428865"/>
                <a:gd name="connsiteX694" fmla="*/ 2214 w 198295"/>
                <a:gd name="connsiteY694" fmla="*/ 166886 h 428865"/>
                <a:gd name="connsiteX695" fmla="*/ 3339 w 198295"/>
                <a:gd name="connsiteY695" fmla="*/ 166604 h 428865"/>
                <a:gd name="connsiteX696" fmla="*/ 4269 w 198295"/>
                <a:gd name="connsiteY696" fmla="*/ 167316 h 428865"/>
                <a:gd name="connsiteX697" fmla="*/ 6464 w 198295"/>
                <a:gd name="connsiteY697" fmla="*/ 168381 h 428865"/>
                <a:gd name="connsiteX698" fmla="*/ 7951 w 198295"/>
                <a:gd name="connsiteY698" fmla="*/ 169379 h 428865"/>
                <a:gd name="connsiteX699" fmla="*/ 8601 w 198295"/>
                <a:gd name="connsiteY699" fmla="*/ 170685 h 428865"/>
                <a:gd name="connsiteX700" fmla="*/ 9292 w 198295"/>
                <a:gd name="connsiteY700" fmla="*/ 170528 h 428865"/>
                <a:gd name="connsiteX701" fmla="*/ 9996 w 198295"/>
                <a:gd name="connsiteY701" fmla="*/ 169694 h 428865"/>
                <a:gd name="connsiteX702" fmla="*/ 9856 w 198295"/>
                <a:gd name="connsiteY702" fmla="*/ 168664 h 428865"/>
                <a:gd name="connsiteX703" fmla="*/ 9152 w 198295"/>
                <a:gd name="connsiteY703" fmla="*/ 165966 h 428865"/>
                <a:gd name="connsiteX704" fmla="*/ 8949 w 198295"/>
                <a:gd name="connsiteY704" fmla="*/ 162686 h 428865"/>
                <a:gd name="connsiteX705" fmla="*/ 8916 w 198295"/>
                <a:gd name="connsiteY705" fmla="*/ 155008 h 428865"/>
                <a:gd name="connsiteX706" fmla="*/ 8742 w 198295"/>
                <a:gd name="connsiteY706" fmla="*/ 154133 h 428865"/>
                <a:gd name="connsiteX707" fmla="*/ 9968 w 198295"/>
                <a:gd name="connsiteY707" fmla="*/ 153361 h 428865"/>
                <a:gd name="connsiteX708" fmla="*/ 10460 w 198295"/>
                <a:gd name="connsiteY708" fmla="*/ 152480 h 428865"/>
                <a:gd name="connsiteX709" fmla="*/ 10949 w 198295"/>
                <a:gd name="connsiteY709" fmla="*/ 151164 h 428865"/>
                <a:gd name="connsiteX710" fmla="*/ 11263 w 198295"/>
                <a:gd name="connsiteY710" fmla="*/ 150585 h 428865"/>
                <a:gd name="connsiteX711" fmla="*/ 11972 w 198295"/>
                <a:gd name="connsiteY711" fmla="*/ 150551 h 428865"/>
                <a:gd name="connsiteX712" fmla="*/ 13086 w 198295"/>
                <a:gd name="connsiteY712" fmla="*/ 151192 h 428865"/>
                <a:gd name="connsiteX713" fmla="*/ 14920 w 198295"/>
                <a:gd name="connsiteY713" fmla="*/ 153388 h 428865"/>
                <a:gd name="connsiteX714" fmla="*/ 16140 w 198295"/>
                <a:gd name="connsiteY714" fmla="*/ 153881 h 428865"/>
                <a:gd name="connsiteX715" fmla="*/ 17358 w 198295"/>
                <a:gd name="connsiteY715" fmla="*/ 153537 h 428865"/>
                <a:gd name="connsiteX716" fmla="*/ 18627 w 198295"/>
                <a:gd name="connsiteY716" fmla="*/ 150243 h 428865"/>
                <a:gd name="connsiteX717" fmla="*/ 19092 w 198295"/>
                <a:gd name="connsiteY717" fmla="*/ 149354 h 428865"/>
                <a:gd name="connsiteX718" fmla="*/ 19702 w 198295"/>
                <a:gd name="connsiteY718" fmla="*/ 148764 h 428865"/>
                <a:gd name="connsiteX719" fmla="*/ 20827 w 198295"/>
                <a:gd name="connsiteY719" fmla="*/ 148862 h 428865"/>
                <a:gd name="connsiteX720" fmla="*/ 21484 w 198295"/>
                <a:gd name="connsiteY720" fmla="*/ 148271 h 428865"/>
                <a:gd name="connsiteX721" fmla="*/ 21732 w 198295"/>
                <a:gd name="connsiteY721" fmla="*/ 146848 h 428865"/>
                <a:gd name="connsiteX722" fmla="*/ 21724 w 198295"/>
                <a:gd name="connsiteY722" fmla="*/ 145261 h 428865"/>
                <a:gd name="connsiteX723" fmla="*/ 20465 w 198295"/>
                <a:gd name="connsiteY723" fmla="*/ 140916 h 428865"/>
                <a:gd name="connsiteX724" fmla="*/ 20091 w 198295"/>
                <a:gd name="connsiteY724" fmla="*/ 138913 h 428865"/>
                <a:gd name="connsiteX725" fmla="*/ 19881 w 198295"/>
                <a:gd name="connsiteY725" fmla="*/ 136936 h 428865"/>
                <a:gd name="connsiteX726" fmla="*/ 20667 w 198295"/>
                <a:gd name="connsiteY726" fmla="*/ 134899 h 428865"/>
                <a:gd name="connsiteX727" fmla="*/ 21735 w 198295"/>
                <a:gd name="connsiteY727" fmla="*/ 132518 h 428865"/>
                <a:gd name="connsiteX728" fmla="*/ 21480 w 198295"/>
                <a:gd name="connsiteY728" fmla="*/ 130436 h 428865"/>
                <a:gd name="connsiteX729" fmla="*/ 21771 w 198295"/>
                <a:gd name="connsiteY729" fmla="*/ 129627 h 428865"/>
                <a:gd name="connsiteX730" fmla="*/ 22650 w 198295"/>
                <a:gd name="connsiteY730" fmla="*/ 129511 h 428865"/>
                <a:gd name="connsiteX731" fmla="*/ 23747 w 198295"/>
                <a:gd name="connsiteY731" fmla="*/ 130013 h 428865"/>
                <a:gd name="connsiteX732" fmla="*/ 24952 w 198295"/>
                <a:gd name="connsiteY732" fmla="*/ 129666 h 428865"/>
                <a:gd name="connsiteX733" fmla="*/ 25868 w 198295"/>
                <a:gd name="connsiteY733" fmla="*/ 128393 h 428865"/>
                <a:gd name="connsiteX734" fmla="*/ 26235 w 198295"/>
                <a:gd name="connsiteY734" fmla="*/ 127285 h 428865"/>
                <a:gd name="connsiteX735" fmla="*/ 26794 w 198295"/>
                <a:gd name="connsiteY735" fmla="*/ 122464 h 428865"/>
                <a:gd name="connsiteX736" fmla="*/ 27165 w 198295"/>
                <a:gd name="connsiteY736" fmla="*/ 118053 h 428865"/>
                <a:gd name="connsiteX737" fmla="*/ 27317 w 198295"/>
                <a:gd name="connsiteY737" fmla="*/ 114453 h 428865"/>
                <a:gd name="connsiteX738" fmla="*/ 26379 w 198295"/>
                <a:gd name="connsiteY738" fmla="*/ 112300 h 428865"/>
                <a:gd name="connsiteX739" fmla="*/ 24937 w 198295"/>
                <a:gd name="connsiteY739" fmla="*/ 106503 h 428865"/>
                <a:gd name="connsiteX740" fmla="*/ 25356 w 198295"/>
                <a:gd name="connsiteY740" fmla="*/ 105512 h 428865"/>
                <a:gd name="connsiteX741" fmla="*/ 26004 w 198295"/>
                <a:gd name="connsiteY741" fmla="*/ 105279 h 428865"/>
                <a:gd name="connsiteX742" fmla="*/ 28139 w 198295"/>
                <a:gd name="connsiteY742" fmla="*/ 107310 h 428865"/>
                <a:gd name="connsiteX743" fmla="*/ 29059 w 198295"/>
                <a:gd name="connsiteY743" fmla="*/ 107651 h 428865"/>
                <a:gd name="connsiteX744" fmla="*/ 30614 w 198295"/>
                <a:gd name="connsiteY744" fmla="*/ 107341 h 428865"/>
                <a:gd name="connsiteX745" fmla="*/ 32145 w 198295"/>
                <a:gd name="connsiteY745" fmla="*/ 106889 h 428865"/>
                <a:gd name="connsiteX746" fmla="*/ 33253 w 198295"/>
                <a:gd name="connsiteY746" fmla="*/ 106862 h 428865"/>
                <a:gd name="connsiteX747" fmla="*/ 34855 w 198295"/>
                <a:gd name="connsiteY747" fmla="*/ 107556 h 428865"/>
                <a:gd name="connsiteX748" fmla="*/ 37057 w 198295"/>
                <a:gd name="connsiteY748" fmla="*/ 108328 h 428865"/>
                <a:gd name="connsiteX749" fmla="*/ 40493 w 198295"/>
                <a:gd name="connsiteY749" fmla="*/ 109287 h 428865"/>
                <a:gd name="connsiteX750" fmla="*/ 41907 w 198295"/>
                <a:gd name="connsiteY750" fmla="*/ 110010 h 428865"/>
                <a:gd name="connsiteX751" fmla="*/ 43076 w 198295"/>
                <a:gd name="connsiteY751" fmla="*/ 109907 h 428865"/>
                <a:gd name="connsiteX752" fmla="*/ 44019 w 198295"/>
                <a:gd name="connsiteY752" fmla="*/ 107655 h 428865"/>
                <a:gd name="connsiteX753" fmla="*/ 45112 w 198295"/>
                <a:gd name="connsiteY753" fmla="*/ 104364 h 428865"/>
                <a:gd name="connsiteX754" fmla="*/ 46734 w 198295"/>
                <a:gd name="connsiteY754" fmla="*/ 99473 h 428865"/>
                <a:gd name="connsiteX755" fmla="*/ 48595 w 198295"/>
                <a:gd name="connsiteY755" fmla="*/ 95910 h 428865"/>
                <a:gd name="connsiteX756" fmla="*/ 49085 w 198295"/>
                <a:gd name="connsiteY756" fmla="*/ 94963 h 428865"/>
                <a:gd name="connsiteX757" fmla="*/ 51159 w 198295"/>
                <a:gd name="connsiteY757" fmla="*/ 92062 h 428865"/>
                <a:gd name="connsiteX758" fmla="*/ 53169 w 198295"/>
                <a:gd name="connsiteY758" fmla="*/ 89017 h 428865"/>
                <a:gd name="connsiteX759" fmla="*/ 54920 w 198295"/>
                <a:gd name="connsiteY759" fmla="*/ 85166 h 428865"/>
                <a:gd name="connsiteX760" fmla="*/ 55900 w 198295"/>
                <a:gd name="connsiteY760" fmla="*/ 82396 h 428865"/>
                <a:gd name="connsiteX761" fmla="*/ 55814 w 198295"/>
                <a:gd name="connsiteY761" fmla="*/ 81239 h 428865"/>
                <a:gd name="connsiteX762" fmla="*/ 55185 w 198295"/>
                <a:gd name="connsiteY762" fmla="*/ 80281 h 428865"/>
                <a:gd name="connsiteX763" fmla="*/ 53866 w 198295"/>
                <a:gd name="connsiteY763" fmla="*/ 79668 h 428865"/>
                <a:gd name="connsiteX764" fmla="*/ 52780 w 198295"/>
                <a:gd name="connsiteY764" fmla="*/ 79034 h 428865"/>
                <a:gd name="connsiteX765" fmla="*/ 52482 w 198295"/>
                <a:gd name="connsiteY765" fmla="*/ 78464 h 428865"/>
                <a:gd name="connsiteX766" fmla="*/ 52512 w 198295"/>
                <a:gd name="connsiteY766" fmla="*/ 77810 h 428865"/>
                <a:gd name="connsiteX767" fmla="*/ 53076 w 198295"/>
                <a:gd name="connsiteY767" fmla="*/ 76011 h 428865"/>
                <a:gd name="connsiteX768" fmla="*/ 54026 w 198295"/>
                <a:gd name="connsiteY768" fmla="*/ 73884 h 428865"/>
                <a:gd name="connsiteX769" fmla="*/ 55019 w 198295"/>
                <a:gd name="connsiteY769" fmla="*/ 72732 h 428865"/>
                <a:gd name="connsiteX770" fmla="*/ 57630 w 198295"/>
                <a:gd name="connsiteY770" fmla="*/ 71306 h 428865"/>
                <a:gd name="connsiteX771" fmla="*/ 59295 w 198295"/>
                <a:gd name="connsiteY771" fmla="*/ 69468 h 428865"/>
                <a:gd name="connsiteX772" fmla="*/ 61165 w 198295"/>
                <a:gd name="connsiteY772" fmla="*/ 67036 h 428865"/>
                <a:gd name="connsiteX773" fmla="*/ 62188 w 198295"/>
                <a:gd name="connsiteY773" fmla="*/ 65377 h 428865"/>
                <a:gd name="connsiteX774" fmla="*/ 62702 w 198295"/>
                <a:gd name="connsiteY774" fmla="*/ 62010 h 428865"/>
                <a:gd name="connsiteX775" fmla="*/ 63266 w 198295"/>
                <a:gd name="connsiteY775" fmla="*/ 61339 h 428865"/>
                <a:gd name="connsiteX776" fmla="*/ 64421 w 198295"/>
                <a:gd name="connsiteY776" fmla="*/ 60251 h 428865"/>
                <a:gd name="connsiteX777" fmla="*/ 65293 w 198295"/>
                <a:gd name="connsiteY777" fmla="*/ 58975 h 428865"/>
                <a:gd name="connsiteX778" fmla="*/ 65224 w 198295"/>
                <a:gd name="connsiteY778" fmla="*/ 58285 h 428865"/>
                <a:gd name="connsiteX779" fmla="*/ 64762 w 198295"/>
                <a:gd name="connsiteY779" fmla="*/ 57788 h 428865"/>
                <a:gd name="connsiteX780" fmla="*/ 63890 w 198295"/>
                <a:gd name="connsiteY780" fmla="*/ 55428 h 428865"/>
                <a:gd name="connsiteX781" fmla="*/ 63490 w 198295"/>
                <a:gd name="connsiteY781" fmla="*/ 51729 h 428865"/>
                <a:gd name="connsiteX782" fmla="*/ 63687 w 198295"/>
                <a:gd name="connsiteY782" fmla="*/ 48725 h 428865"/>
                <a:gd name="connsiteX783" fmla="*/ 64344 w 198295"/>
                <a:gd name="connsiteY783" fmla="*/ 47503 h 428865"/>
                <a:gd name="connsiteX784" fmla="*/ 65211 w 198295"/>
                <a:gd name="connsiteY784" fmla="*/ 45800 h 428865"/>
                <a:gd name="connsiteX785" fmla="*/ 66820 w 198295"/>
                <a:gd name="connsiteY785" fmla="*/ 44753 h 428865"/>
                <a:gd name="connsiteX786" fmla="*/ 69112 w 198295"/>
                <a:gd name="connsiteY786" fmla="*/ 44020 h 428865"/>
                <a:gd name="connsiteX787" fmla="*/ 72622 w 198295"/>
                <a:gd name="connsiteY787" fmla="*/ 42031 h 428865"/>
                <a:gd name="connsiteX788" fmla="*/ 78693 w 198295"/>
                <a:gd name="connsiteY788" fmla="*/ 37412 h 428865"/>
                <a:gd name="connsiteX789" fmla="*/ 80880 w 198295"/>
                <a:gd name="connsiteY789" fmla="*/ 35905 h 428865"/>
                <a:gd name="connsiteX790" fmla="*/ 82383 w 198295"/>
                <a:gd name="connsiteY790" fmla="*/ 35124 h 428865"/>
                <a:gd name="connsiteX791" fmla="*/ 83834 w 198295"/>
                <a:gd name="connsiteY791" fmla="*/ 33186 h 428865"/>
                <a:gd name="connsiteX792" fmla="*/ 85836 w 198295"/>
                <a:gd name="connsiteY792" fmla="*/ 31067 h 428865"/>
                <a:gd name="connsiteX793" fmla="*/ 88697 w 198295"/>
                <a:gd name="connsiteY793" fmla="*/ 30015 h 428865"/>
                <a:gd name="connsiteX794" fmla="*/ 90541 w 198295"/>
                <a:gd name="connsiteY794" fmla="*/ 29608 h 428865"/>
                <a:gd name="connsiteX795" fmla="*/ 99198 w 198295"/>
                <a:gd name="connsiteY795" fmla="*/ 28157 h 428865"/>
                <a:gd name="connsiteX796" fmla="*/ 100656 w 198295"/>
                <a:gd name="connsiteY796" fmla="*/ 28342 h 428865"/>
                <a:gd name="connsiteX797" fmla="*/ 102120 w 198295"/>
                <a:gd name="connsiteY797" fmla="*/ 29183 h 428865"/>
                <a:gd name="connsiteX798" fmla="*/ 103942 w 198295"/>
                <a:gd name="connsiteY798" fmla="*/ 32002 h 428865"/>
                <a:gd name="connsiteX799" fmla="*/ 105560 w 198295"/>
                <a:gd name="connsiteY799" fmla="*/ 33062 h 428865"/>
                <a:gd name="connsiteX800" fmla="*/ 107432 w 198295"/>
                <a:gd name="connsiteY800" fmla="*/ 33805 h 428865"/>
                <a:gd name="connsiteX801" fmla="*/ 108847 w 198295"/>
                <a:gd name="connsiteY801" fmla="*/ 33487 h 428865"/>
                <a:gd name="connsiteX802" fmla="*/ 108883 w 198295"/>
                <a:gd name="connsiteY802" fmla="*/ 32347 h 428865"/>
                <a:gd name="connsiteX803" fmla="*/ 104422 w 198295"/>
                <a:gd name="connsiteY803" fmla="*/ 25766 h 428865"/>
                <a:gd name="connsiteX804" fmla="*/ 104016 w 198295"/>
                <a:gd name="connsiteY804" fmla="*/ 23972 h 428865"/>
                <a:gd name="connsiteX805" fmla="*/ 103867 w 198295"/>
                <a:gd name="connsiteY805" fmla="*/ 22257 h 428865"/>
                <a:gd name="connsiteX806" fmla="*/ 104372 w 198295"/>
                <a:gd name="connsiteY806" fmla="*/ 20894 h 428865"/>
                <a:gd name="connsiteX807" fmla="*/ 105767 w 198295"/>
                <a:gd name="connsiteY807" fmla="*/ 19594 h 428865"/>
                <a:gd name="connsiteX808" fmla="*/ 107689 w 198295"/>
                <a:gd name="connsiteY808" fmla="*/ 18120 h 428865"/>
                <a:gd name="connsiteX809" fmla="*/ 110079 w 198295"/>
                <a:gd name="connsiteY809" fmla="*/ 16284 h 428865"/>
                <a:gd name="connsiteX810" fmla="*/ 111589 w 198295"/>
                <a:gd name="connsiteY810" fmla="*/ 15014 h 428865"/>
                <a:gd name="connsiteX811" fmla="*/ 113359 w 198295"/>
                <a:gd name="connsiteY811" fmla="*/ 14606 h 428865"/>
                <a:gd name="connsiteX812" fmla="*/ 114000 w 198295"/>
                <a:gd name="connsiteY812" fmla="*/ 13873 h 428865"/>
                <a:gd name="connsiteX813" fmla="*/ 114187 w 198295"/>
                <a:gd name="connsiteY813" fmla="*/ 12807 h 428865"/>
                <a:gd name="connsiteX814" fmla="*/ 114089 w 198295"/>
                <a:gd name="connsiteY814" fmla="*/ 11646 h 428865"/>
                <a:gd name="connsiteX815" fmla="*/ 113283 w 198295"/>
                <a:gd name="connsiteY815" fmla="*/ 10327 h 428865"/>
                <a:gd name="connsiteX816" fmla="*/ 113450 w 198295"/>
                <a:gd name="connsiteY816" fmla="*/ 8670 h 428865"/>
                <a:gd name="connsiteX817" fmla="*/ 113720 w 198295"/>
                <a:gd name="connsiteY817" fmla="*/ 7168 h 428865"/>
                <a:gd name="connsiteX818" fmla="*/ 114472 w 198295"/>
                <a:gd name="connsiteY818" fmla="*/ 6293 h 428865"/>
                <a:gd name="connsiteX819" fmla="*/ 116130 w 198295"/>
                <a:gd name="connsiteY819" fmla="*/ 3912 h 428865"/>
                <a:gd name="connsiteX820" fmla="*/ 117154 w 198295"/>
                <a:gd name="connsiteY820" fmla="*/ 2192 h 428865"/>
                <a:gd name="connsiteX821" fmla="*/ 117693 w 198295"/>
                <a:gd name="connsiteY821" fmla="*/ 1455 h 428865"/>
                <a:gd name="connsiteX822" fmla="*/ 118484 w 198295"/>
                <a:gd name="connsiteY822" fmla="*/ 164 h 428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</a:cxnLst>
              <a:rect l="l" t="t" r="r" b="b"/>
              <a:pathLst>
                <a:path w="198295" h="428865">
                  <a:moveTo>
                    <a:pt x="135152" y="424937"/>
                  </a:moveTo>
                  <a:lnTo>
                    <a:pt x="134968" y="425913"/>
                  </a:lnTo>
                  <a:lnTo>
                    <a:pt x="133816" y="427111"/>
                  </a:lnTo>
                  <a:lnTo>
                    <a:pt x="132740" y="427569"/>
                  </a:lnTo>
                  <a:lnTo>
                    <a:pt x="131673" y="428865"/>
                  </a:lnTo>
                  <a:lnTo>
                    <a:pt x="131313" y="428810"/>
                  </a:lnTo>
                  <a:lnTo>
                    <a:pt x="131802" y="426649"/>
                  </a:lnTo>
                  <a:lnTo>
                    <a:pt x="133582" y="425073"/>
                  </a:lnTo>
                  <a:close/>
                  <a:moveTo>
                    <a:pt x="132401" y="404171"/>
                  </a:moveTo>
                  <a:lnTo>
                    <a:pt x="133340" y="404789"/>
                  </a:lnTo>
                  <a:lnTo>
                    <a:pt x="135191" y="408659"/>
                  </a:lnTo>
                  <a:lnTo>
                    <a:pt x="134990" y="409253"/>
                  </a:lnTo>
                  <a:lnTo>
                    <a:pt x="134705" y="409550"/>
                  </a:lnTo>
                  <a:lnTo>
                    <a:pt x="134268" y="409448"/>
                  </a:lnTo>
                  <a:lnTo>
                    <a:pt x="133526" y="407361"/>
                  </a:lnTo>
                  <a:lnTo>
                    <a:pt x="132137" y="406014"/>
                  </a:lnTo>
                  <a:lnTo>
                    <a:pt x="130481" y="406268"/>
                  </a:lnTo>
                  <a:lnTo>
                    <a:pt x="131854" y="404556"/>
                  </a:lnTo>
                  <a:close/>
                  <a:moveTo>
                    <a:pt x="140345" y="401785"/>
                  </a:moveTo>
                  <a:lnTo>
                    <a:pt x="140680" y="404592"/>
                  </a:lnTo>
                  <a:lnTo>
                    <a:pt x="140176" y="404640"/>
                  </a:lnTo>
                  <a:lnTo>
                    <a:pt x="139714" y="404531"/>
                  </a:lnTo>
                  <a:lnTo>
                    <a:pt x="139259" y="404184"/>
                  </a:lnTo>
                  <a:close/>
                  <a:moveTo>
                    <a:pt x="135327" y="386196"/>
                  </a:moveTo>
                  <a:lnTo>
                    <a:pt x="135501" y="387543"/>
                  </a:lnTo>
                  <a:lnTo>
                    <a:pt x="134977" y="390429"/>
                  </a:lnTo>
                  <a:lnTo>
                    <a:pt x="134523" y="392008"/>
                  </a:lnTo>
                  <a:lnTo>
                    <a:pt x="133604" y="393025"/>
                  </a:lnTo>
                  <a:lnTo>
                    <a:pt x="133483" y="393528"/>
                  </a:lnTo>
                  <a:lnTo>
                    <a:pt x="133331" y="393511"/>
                  </a:lnTo>
                  <a:lnTo>
                    <a:pt x="132844" y="393155"/>
                  </a:lnTo>
                  <a:lnTo>
                    <a:pt x="133148" y="391032"/>
                  </a:lnTo>
                  <a:lnTo>
                    <a:pt x="133988" y="389295"/>
                  </a:lnTo>
                  <a:lnTo>
                    <a:pt x="134852" y="386747"/>
                  </a:lnTo>
                  <a:close/>
                  <a:moveTo>
                    <a:pt x="140279" y="385704"/>
                  </a:moveTo>
                  <a:lnTo>
                    <a:pt x="140948" y="387051"/>
                  </a:lnTo>
                  <a:lnTo>
                    <a:pt x="140386" y="391671"/>
                  </a:lnTo>
                  <a:lnTo>
                    <a:pt x="138980" y="391032"/>
                  </a:lnTo>
                  <a:lnTo>
                    <a:pt x="138315" y="391034"/>
                  </a:lnTo>
                  <a:lnTo>
                    <a:pt x="137477" y="388425"/>
                  </a:lnTo>
                  <a:lnTo>
                    <a:pt x="137536" y="387723"/>
                  </a:lnTo>
                  <a:lnTo>
                    <a:pt x="137026" y="386005"/>
                  </a:lnTo>
                  <a:close/>
                  <a:moveTo>
                    <a:pt x="128931" y="384464"/>
                  </a:moveTo>
                  <a:lnTo>
                    <a:pt x="130019" y="386785"/>
                  </a:lnTo>
                  <a:lnTo>
                    <a:pt x="130488" y="387312"/>
                  </a:lnTo>
                  <a:lnTo>
                    <a:pt x="130371" y="388227"/>
                  </a:lnTo>
                  <a:lnTo>
                    <a:pt x="130551" y="389472"/>
                  </a:lnTo>
                  <a:lnTo>
                    <a:pt x="129169" y="388148"/>
                  </a:lnTo>
                  <a:close/>
                  <a:moveTo>
                    <a:pt x="139011" y="379441"/>
                  </a:moveTo>
                  <a:lnTo>
                    <a:pt x="140317" y="381214"/>
                  </a:lnTo>
                  <a:lnTo>
                    <a:pt x="142181" y="382303"/>
                  </a:lnTo>
                  <a:lnTo>
                    <a:pt x="141448" y="383010"/>
                  </a:lnTo>
                  <a:lnTo>
                    <a:pt x="140112" y="383460"/>
                  </a:lnTo>
                  <a:lnTo>
                    <a:pt x="139190" y="383586"/>
                  </a:lnTo>
                  <a:lnTo>
                    <a:pt x="138752" y="379956"/>
                  </a:lnTo>
                  <a:close/>
                  <a:moveTo>
                    <a:pt x="130280" y="374785"/>
                  </a:moveTo>
                  <a:lnTo>
                    <a:pt x="131021" y="374874"/>
                  </a:lnTo>
                  <a:lnTo>
                    <a:pt x="131409" y="375078"/>
                  </a:lnTo>
                  <a:lnTo>
                    <a:pt x="131541" y="375470"/>
                  </a:lnTo>
                  <a:lnTo>
                    <a:pt x="131321" y="376319"/>
                  </a:lnTo>
                  <a:lnTo>
                    <a:pt x="131358" y="377039"/>
                  </a:lnTo>
                  <a:lnTo>
                    <a:pt x="131725" y="377956"/>
                  </a:lnTo>
                  <a:lnTo>
                    <a:pt x="131468" y="378081"/>
                  </a:lnTo>
                  <a:lnTo>
                    <a:pt x="131101" y="378009"/>
                  </a:lnTo>
                  <a:lnTo>
                    <a:pt x="130369" y="377642"/>
                  </a:lnTo>
                  <a:lnTo>
                    <a:pt x="129527" y="376116"/>
                  </a:lnTo>
                  <a:lnTo>
                    <a:pt x="129969" y="375047"/>
                  </a:lnTo>
                  <a:close/>
                  <a:moveTo>
                    <a:pt x="130025" y="372404"/>
                  </a:moveTo>
                  <a:lnTo>
                    <a:pt x="130164" y="372585"/>
                  </a:lnTo>
                  <a:lnTo>
                    <a:pt x="130036" y="373399"/>
                  </a:lnTo>
                  <a:lnTo>
                    <a:pt x="128754" y="375071"/>
                  </a:lnTo>
                  <a:lnTo>
                    <a:pt x="127635" y="374099"/>
                  </a:lnTo>
                  <a:lnTo>
                    <a:pt x="127346" y="373566"/>
                  </a:lnTo>
                  <a:lnTo>
                    <a:pt x="128486" y="372495"/>
                  </a:lnTo>
                  <a:lnTo>
                    <a:pt x="129700" y="372648"/>
                  </a:lnTo>
                  <a:close/>
                  <a:moveTo>
                    <a:pt x="135603" y="366109"/>
                  </a:moveTo>
                  <a:lnTo>
                    <a:pt x="137469" y="366807"/>
                  </a:lnTo>
                  <a:lnTo>
                    <a:pt x="137856" y="367911"/>
                  </a:lnTo>
                  <a:lnTo>
                    <a:pt x="138352" y="368528"/>
                  </a:lnTo>
                  <a:lnTo>
                    <a:pt x="139056" y="368509"/>
                  </a:lnTo>
                  <a:lnTo>
                    <a:pt x="138862" y="370701"/>
                  </a:lnTo>
                  <a:lnTo>
                    <a:pt x="137123" y="373396"/>
                  </a:lnTo>
                  <a:lnTo>
                    <a:pt x="136098" y="373788"/>
                  </a:lnTo>
                  <a:lnTo>
                    <a:pt x="135642" y="373793"/>
                  </a:lnTo>
                  <a:lnTo>
                    <a:pt x="136031" y="369854"/>
                  </a:lnTo>
                  <a:lnTo>
                    <a:pt x="135391" y="367605"/>
                  </a:lnTo>
                  <a:close/>
                  <a:moveTo>
                    <a:pt x="134569" y="354329"/>
                  </a:moveTo>
                  <a:lnTo>
                    <a:pt x="134640" y="354619"/>
                  </a:lnTo>
                  <a:lnTo>
                    <a:pt x="135305" y="355467"/>
                  </a:lnTo>
                  <a:lnTo>
                    <a:pt x="135677" y="356650"/>
                  </a:lnTo>
                  <a:lnTo>
                    <a:pt x="135539" y="360345"/>
                  </a:lnTo>
                  <a:lnTo>
                    <a:pt x="134435" y="358562"/>
                  </a:lnTo>
                  <a:lnTo>
                    <a:pt x="134247" y="356530"/>
                  </a:lnTo>
                  <a:lnTo>
                    <a:pt x="134332" y="354637"/>
                  </a:lnTo>
                  <a:close/>
                  <a:moveTo>
                    <a:pt x="58563" y="292671"/>
                  </a:moveTo>
                  <a:lnTo>
                    <a:pt x="58788" y="293599"/>
                  </a:lnTo>
                  <a:lnTo>
                    <a:pt x="58051" y="295248"/>
                  </a:lnTo>
                  <a:lnTo>
                    <a:pt x="57598" y="295826"/>
                  </a:lnTo>
                  <a:lnTo>
                    <a:pt x="56691" y="295412"/>
                  </a:lnTo>
                  <a:lnTo>
                    <a:pt x="56472" y="295164"/>
                  </a:lnTo>
                  <a:close/>
                  <a:moveTo>
                    <a:pt x="53549" y="286490"/>
                  </a:moveTo>
                  <a:lnTo>
                    <a:pt x="53933" y="287947"/>
                  </a:lnTo>
                  <a:lnTo>
                    <a:pt x="52772" y="290715"/>
                  </a:lnTo>
                  <a:lnTo>
                    <a:pt x="50796" y="292378"/>
                  </a:lnTo>
                  <a:lnTo>
                    <a:pt x="49362" y="294590"/>
                  </a:lnTo>
                  <a:lnTo>
                    <a:pt x="48831" y="291285"/>
                  </a:lnTo>
                  <a:lnTo>
                    <a:pt x="51171" y="289444"/>
                  </a:lnTo>
                  <a:lnTo>
                    <a:pt x="52327" y="287686"/>
                  </a:lnTo>
                  <a:close/>
                  <a:moveTo>
                    <a:pt x="118575" y="279690"/>
                  </a:moveTo>
                  <a:lnTo>
                    <a:pt x="119392" y="280123"/>
                  </a:lnTo>
                  <a:lnTo>
                    <a:pt x="119708" y="280696"/>
                  </a:lnTo>
                  <a:lnTo>
                    <a:pt x="119848" y="281405"/>
                  </a:lnTo>
                  <a:lnTo>
                    <a:pt x="119622" y="282136"/>
                  </a:lnTo>
                  <a:lnTo>
                    <a:pt x="119304" y="285408"/>
                  </a:lnTo>
                  <a:lnTo>
                    <a:pt x="118468" y="285705"/>
                  </a:lnTo>
                  <a:lnTo>
                    <a:pt x="117212" y="284217"/>
                  </a:lnTo>
                  <a:lnTo>
                    <a:pt x="116963" y="280690"/>
                  </a:lnTo>
                  <a:lnTo>
                    <a:pt x="118009" y="279876"/>
                  </a:lnTo>
                  <a:close/>
                  <a:moveTo>
                    <a:pt x="31812" y="225327"/>
                  </a:moveTo>
                  <a:lnTo>
                    <a:pt x="34608" y="225860"/>
                  </a:lnTo>
                  <a:lnTo>
                    <a:pt x="34626" y="227176"/>
                  </a:lnTo>
                  <a:lnTo>
                    <a:pt x="34026" y="229290"/>
                  </a:lnTo>
                  <a:lnTo>
                    <a:pt x="33417" y="230010"/>
                  </a:lnTo>
                  <a:lnTo>
                    <a:pt x="33046" y="230206"/>
                  </a:lnTo>
                  <a:lnTo>
                    <a:pt x="30744" y="228286"/>
                  </a:lnTo>
                  <a:lnTo>
                    <a:pt x="28921" y="225814"/>
                  </a:lnTo>
                  <a:close/>
                  <a:moveTo>
                    <a:pt x="33948" y="209974"/>
                  </a:moveTo>
                  <a:lnTo>
                    <a:pt x="36483" y="211879"/>
                  </a:lnTo>
                  <a:lnTo>
                    <a:pt x="37483" y="211747"/>
                  </a:lnTo>
                  <a:lnTo>
                    <a:pt x="39052" y="212950"/>
                  </a:lnTo>
                  <a:lnTo>
                    <a:pt x="39092" y="213420"/>
                  </a:lnTo>
                  <a:lnTo>
                    <a:pt x="38793" y="214400"/>
                  </a:lnTo>
                  <a:lnTo>
                    <a:pt x="38086" y="215167"/>
                  </a:lnTo>
                  <a:lnTo>
                    <a:pt x="36168" y="215932"/>
                  </a:lnTo>
                  <a:lnTo>
                    <a:pt x="34855" y="215312"/>
                  </a:lnTo>
                  <a:lnTo>
                    <a:pt x="34335" y="213233"/>
                  </a:lnTo>
                  <a:lnTo>
                    <a:pt x="32784" y="212255"/>
                  </a:lnTo>
                  <a:lnTo>
                    <a:pt x="32382" y="211425"/>
                  </a:lnTo>
                  <a:lnTo>
                    <a:pt x="33363" y="210292"/>
                  </a:lnTo>
                  <a:close/>
                  <a:moveTo>
                    <a:pt x="27271" y="200964"/>
                  </a:moveTo>
                  <a:lnTo>
                    <a:pt x="29016" y="202292"/>
                  </a:lnTo>
                  <a:lnTo>
                    <a:pt x="29491" y="205459"/>
                  </a:lnTo>
                  <a:lnTo>
                    <a:pt x="27973" y="204272"/>
                  </a:lnTo>
                  <a:lnTo>
                    <a:pt x="27418" y="202637"/>
                  </a:lnTo>
                  <a:close/>
                  <a:moveTo>
                    <a:pt x="16254" y="197832"/>
                  </a:moveTo>
                  <a:lnTo>
                    <a:pt x="17247" y="198759"/>
                  </a:lnTo>
                  <a:lnTo>
                    <a:pt x="18366" y="201571"/>
                  </a:lnTo>
                  <a:lnTo>
                    <a:pt x="18655" y="203757"/>
                  </a:lnTo>
                  <a:lnTo>
                    <a:pt x="17593" y="202857"/>
                  </a:lnTo>
                  <a:lnTo>
                    <a:pt x="16211" y="199826"/>
                  </a:lnTo>
                  <a:close/>
                  <a:moveTo>
                    <a:pt x="119840" y="0"/>
                  </a:moveTo>
                  <a:lnTo>
                    <a:pt x="121159" y="409"/>
                  </a:lnTo>
                  <a:lnTo>
                    <a:pt x="121950" y="1144"/>
                  </a:lnTo>
                  <a:lnTo>
                    <a:pt x="122733" y="2636"/>
                  </a:lnTo>
                  <a:lnTo>
                    <a:pt x="123595" y="3858"/>
                  </a:lnTo>
                  <a:lnTo>
                    <a:pt x="124644" y="3853"/>
                  </a:lnTo>
                  <a:lnTo>
                    <a:pt x="125715" y="3680"/>
                  </a:lnTo>
                  <a:lnTo>
                    <a:pt x="126216" y="3850"/>
                  </a:lnTo>
                  <a:lnTo>
                    <a:pt x="127244" y="4872"/>
                  </a:lnTo>
                  <a:lnTo>
                    <a:pt x="129194" y="7322"/>
                  </a:lnTo>
                  <a:lnTo>
                    <a:pt x="130065" y="7936"/>
                  </a:lnTo>
                  <a:lnTo>
                    <a:pt x="130889" y="8980"/>
                  </a:lnTo>
                  <a:lnTo>
                    <a:pt x="131319" y="11063"/>
                  </a:lnTo>
                  <a:lnTo>
                    <a:pt x="131587" y="13160"/>
                  </a:lnTo>
                  <a:lnTo>
                    <a:pt x="134031" y="20432"/>
                  </a:lnTo>
                  <a:lnTo>
                    <a:pt x="134765" y="21962"/>
                  </a:lnTo>
                  <a:lnTo>
                    <a:pt x="135309" y="23131"/>
                  </a:lnTo>
                  <a:lnTo>
                    <a:pt x="136452" y="23417"/>
                  </a:lnTo>
                  <a:lnTo>
                    <a:pt x="137378" y="22249"/>
                  </a:lnTo>
                  <a:lnTo>
                    <a:pt x="137743" y="20998"/>
                  </a:lnTo>
                  <a:lnTo>
                    <a:pt x="138708" y="20574"/>
                  </a:lnTo>
                  <a:lnTo>
                    <a:pt x="139857" y="20803"/>
                  </a:lnTo>
                  <a:lnTo>
                    <a:pt x="141965" y="21968"/>
                  </a:lnTo>
                  <a:lnTo>
                    <a:pt x="143100" y="22597"/>
                  </a:lnTo>
                  <a:lnTo>
                    <a:pt x="143666" y="26187"/>
                  </a:lnTo>
                  <a:lnTo>
                    <a:pt x="143792" y="30395"/>
                  </a:lnTo>
                  <a:lnTo>
                    <a:pt x="143623" y="31697"/>
                  </a:lnTo>
                  <a:lnTo>
                    <a:pt x="144545" y="35165"/>
                  </a:lnTo>
                  <a:lnTo>
                    <a:pt x="144833" y="39148"/>
                  </a:lnTo>
                  <a:lnTo>
                    <a:pt x="145031" y="41326"/>
                  </a:lnTo>
                  <a:lnTo>
                    <a:pt x="145051" y="43406"/>
                  </a:lnTo>
                  <a:lnTo>
                    <a:pt x="144884" y="46130"/>
                  </a:lnTo>
                  <a:lnTo>
                    <a:pt x="144390" y="49775"/>
                  </a:lnTo>
                  <a:lnTo>
                    <a:pt x="143558" y="52884"/>
                  </a:lnTo>
                  <a:lnTo>
                    <a:pt x="143861" y="55470"/>
                  </a:lnTo>
                  <a:lnTo>
                    <a:pt x="143366" y="56651"/>
                  </a:lnTo>
                  <a:lnTo>
                    <a:pt x="141349" y="57252"/>
                  </a:lnTo>
                  <a:lnTo>
                    <a:pt x="141175" y="58238"/>
                  </a:lnTo>
                  <a:lnTo>
                    <a:pt x="141771" y="59863"/>
                  </a:lnTo>
                  <a:lnTo>
                    <a:pt x="143179" y="61895"/>
                  </a:lnTo>
                  <a:lnTo>
                    <a:pt x="143213" y="63177"/>
                  </a:lnTo>
                  <a:lnTo>
                    <a:pt x="142531" y="64048"/>
                  </a:lnTo>
                  <a:lnTo>
                    <a:pt x="141049" y="64130"/>
                  </a:lnTo>
                  <a:lnTo>
                    <a:pt x="138996" y="64942"/>
                  </a:lnTo>
                  <a:lnTo>
                    <a:pt x="137584" y="67561"/>
                  </a:lnTo>
                  <a:lnTo>
                    <a:pt x="136083" y="69715"/>
                  </a:lnTo>
                  <a:lnTo>
                    <a:pt x="135260" y="70137"/>
                  </a:lnTo>
                  <a:lnTo>
                    <a:pt x="132518" y="69531"/>
                  </a:lnTo>
                  <a:lnTo>
                    <a:pt x="131861" y="70085"/>
                  </a:lnTo>
                  <a:lnTo>
                    <a:pt x="130904" y="73750"/>
                  </a:lnTo>
                  <a:lnTo>
                    <a:pt x="130118" y="75323"/>
                  </a:lnTo>
                  <a:lnTo>
                    <a:pt x="128939" y="76654"/>
                  </a:lnTo>
                  <a:lnTo>
                    <a:pt x="127862" y="77437"/>
                  </a:lnTo>
                  <a:lnTo>
                    <a:pt x="126888" y="77983"/>
                  </a:lnTo>
                  <a:lnTo>
                    <a:pt x="124711" y="77612"/>
                  </a:lnTo>
                  <a:lnTo>
                    <a:pt x="123558" y="79822"/>
                  </a:lnTo>
                  <a:lnTo>
                    <a:pt x="122398" y="82735"/>
                  </a:lnTo>
                  <a:lnTo>
                    <a:pt x="122305" y="84240"/>
                  </a:lnTo>
                  <a:lnTo>
                    <a:pt x="122906" y="86604"/>
                  </a:lnTo>
                  <a:lnTo>
                    <a:pt x="122595" y="87259"/>
                  </a:lnTo>
                  <a:lnTo>
                    <a:pt x="121420" y="87773"/>
                  </a:lnTo>
                  <a:lnTo>
                    <a:pt x="119488" y="88839"/>
                  </a:lnTo>
                  <a:lnTo>
                    <a:pt x="118296" y="92213"/>
                  </a:lnTo>
                  <a:lnTo>
                    <a:pt x="118341" y="95489"/>
                  </a:lnTo>
                  <a:lnTo>
                    <a:pt x="119045" y="96611"/>
                  </a:lnTo>
                  <a:lnTo>
                    <a:pt x="120380" y="97102"/>
                  </a:lnTo>
                  <a:lnTo>
                    <a:pt x="121329" y="98110"/>
                  </a:lnTo>
                  <a:lnTo>
                    <a:pt x="121420" y="99687"/>
                  </a:lnTo>
                  <a:lnTo>
                    <a:pt x="122250" y="101656"/>
                  </a:lnTo>
                  <a:lnTo>
                    <a:pt x="121861" y="103951"/>
                  </a:lnTo>
                  <a:lnTo>
                    <a:pt x="119155" y="107285"/>
                  </a:lnTo>
                  <a:lnTo>
                    <a:pt x="119073" y="109098"/>
                  </a:lnTo>
                  <a:lnTo>
                    <a:pt x="120513" y="109657"/>
                  </a:lnTo>
                  <a:lnTo>
                    <a:pt x="121760" y="109400"/>
                  </a:lnTo>
                  <a:lnTo>
                    <a:pt x="123299" y="108610"/>
                  </a:lnTo>
                  <a:lnTo>
                    <a:pt x="125113" y="107336"/>
                  </a:lnTo>
                  <a:lnTo>
                    <a:pt x="129076" y="105483"/>
                  </a:lnTo>
                  <a:lnTo>
                    <a:pt x="133401" y="104424"/>
                  </a:lnTo>
                  <a:lnTo>
                    <a:pt x="136823" y="104227"/>
                  </a:lnTo>
                  <a:lnTo>
                    <a:pt x="139745" y="104306"/>
                  </a:lnTo>
                  <a:lnTo>
                    <a:pt x="141176" y="104701"/>
                  </a:lnTo>
                  <a:lnTo>
                    <a:pt x="141602" y="105380"/>
                  </a:lnTo>
                  <a:lnTo>
                    <a:pt x="145603" y="104297"/>
                  </a:lnTo>
                  <a:lnTo>
                    <a:pt x="146443" y="104235"/>
                  </a:lnTo>
                  <a:lnTo>
                    <a:pt x="147167" y="104177"/>
                  </a:lnTo>
                  <a:lnTo>
                    <a:pt x="147143" y="104894"/>
                  </a:lnTo>
                  <a:lnTo>
                    <a:pt x="144215" y="107856"/>
                  </a:lnTo>
                  <a:lnTo>
                    <a:pt x="143666" y="109237"/>
                  </a:lnTo>
                  <a:lnTo>
                    <a:pt x="143758" y="110718"/>
                  </a:lnTo>
                  <a:lnTo>
                    <a:pt x="144956" y="112091"/>
                  </a:lnTo>
                  <a:lnTo>
                    <a:pt x="146119" y="113149"/>
                  </a:lnTo>
                  <a:lnTo>
                    <a:pt x="147104" y="115802"/>
                  </a:lnTo>
                  <a:lnTo>
                    <a:pt x="146344" y="118231"/>
                  </a:lnTo>
                  <a:lnTo>
                    <a:pt x="146828" y="119117"/>
                  </a:lnTo>
                  <a:lnTo>
                    <a:pt x="147694" y="120108"/>
                  </a:lnTo>
                  <a:lnTo>
                    <a:pt x="148219" y="121503"/>
                  </a:lnTo>
                  <a:lnTo>
                    <a:pt x="148283" y="123203"/>
                  </a:lnTo>
                  <a:lnTo>
                    <a:pt x="147802" y="125915"/>
                  </a:lnTo>
                  <a:lnTo>
                    <a:pt x="152031" y="127330"/>
                  </a:lnTo>
                  <a:lnTo>
                    <a:pt x="155686" y="127965"/>
                  </a:lnTo>
                  <a:lnTo>
                    <a:pt x="158350" y="128138"/>
                  </a:lnTo>
                  <a:lnTo>
                    <a:pt x="160058" y="128760"/>
                  </a:lnTo>
                  <a:lnTo>
                    <a:pt x="161086" y="129296"/>
                  </a:lnTo>
                  <a:lnTo>
                    <a:pt x="161810" y="130267"/>
                  </a:lnTo>
                  <a:lnTo>
                    <a:pt x="162028" y="131326"/>
                  </a:lnTo>
                  <a:lnTo>
                    <a:pt x="161136" y="132068"/>
                  </a:lnTo>
                  <a:lnTo>
                    <a:pt x="159330" y="134448"/>
                  </a:lnTo>
                  <a:lnTo>
                    <a:pt x="158294" y="137624"/>
                  </a:lnTo>
                  <a:lnTo>
                    <a:pt x="158402" y="140000"/>
                  </a:lnTo>
                  <a:lnTo>
                    <a:pt x="158281" y="142057"/>
                  </a:lnTo>
                  <a:lnTo>
                    <a:pt x="156189" y="145025"/>
                  </a:lnTo>
                  <a:lnTo>
                    <a:pt x="155355" y="147065"/>
                  </a:lnTo>
                  <a:lnTo>
                    <a:pt x="154625" y="149157"/>
                  </a:lnTo>
                  <a:lnTo>
                    <a:pt x="154649" y="150066"/>
                  </a:lnTo>
                  <a:lnTo>
                    <a:pt x="155081" y="150701"/>
                  </a:lnTo>
                  <a:lnTo>
                    <a:pt x="155975" y="151068"/>
                  </a:lnTo>
                  <a:lnTo>
                    <a:pt x="157516" y="151289"/>
                  </a:lnTo>
                  <a:lnTo>
                    <a:pt x="159409" y="151053"/>
                  </a:lnTo>
                  <a:lnTo>
                    <a:pt x="163919" y="151555"/>
                  </a:lnTo>
                  <a:lnTo>
                    <a:pt x="169065" y="152471"/>
                  </a:lnTo>
                  <a:lnTo>
                    <a:pt x="171106" y="152974"/>
                  </a:lnTo>
                  <a:lnTo>
                    <a:pt x="171773" y="153895"/>
                  </a:lnTo>
                  <a:lnTo>
                    <a:pt x="171609" y="155906"/>
                  </a:lnTo>
                  <a:lnTo>
                    <a:pt x="171281" y="157779"/>
                  </a:lnTo>
                  <a:lnTo>
                    <a:pt x="171616" y="159218"/>
                  </a:lnTo>
                  <a:lnTo>
                    <a:pt x="172444" y="160542"/>
                  </a:lnTo>
                  <a:lnTo>
                    <a:pt x="173837" y="160978"/>
                  </a:lnTo>
                  <a:lnTo>
                    <a:pt x="175038" y="161490"/>
                  </a:lnTo>
                  <a:lnTo>
                    <a:pt x="175265" y="162500"/>
                  </a:lnTo>
                  <a:lnTo>
                    <a:pt x="174900" y="163870"/>
                  </a:lnTo>
                  <a:lnTo>
                    <a:pt x="175508" y="164951"/>
                  </a:lnTo>
                  <a:lnTo>
                    <a:pt x="176191" y="165661"/>
                  </a:lnTo>
                  <a:lnTo>
                    <a:pt x="177674" y="166067"/>
                  </a:lnTo>
                  <a:lnTo>
                    <a:pt x="180679" y="165187"/>
                  </a:lnTo>
                  <a:lnTo>
                    <a:pt x="182782" y="165579"/>
                  </a:lnTo>
                  <a:lnTo>
                    <a:pt x="184675" y="166180"/>
                  </a:lnTo>
                  <a:lnTo>
                    <a:pt x="186295" y="165863"/>
                  </a:lnTo>
                  <a:lnTo>
                    <a:pt x="187899" y="165096"/>
                  </a:lnTo>
                  <a:lnTo>
                    <a:pt x="191393" y="161617"/>
                  </a:lnTo>
                  <a:lnTo>
                    <a:pt x="195465" y="159736"/>
                  </a:lnTo>
                  <a:lnTo>
                    <a:pt x="196802" y="159284"/>
                  </a:lnTo>
                  <a:lnTo>
                    <a:pt x="197707" y="159511"/>
                  </a:lnTo>
                  <a:lnTo>
                    <a:pt x="197932" y="159755"/>
                  </a:lnTo>
                  <a:lnTo>
                    <a:pt x="197871" y="160460"/>
                  </a:lnTo>
                  <a:lnTo>
                    <a:pt x="198295" y="163320"/>
                  </a:lnTo>
                  <a:lnTo>
                    <a:pt x="198109" y="163648"/>
                  </a:lnTo>
                  <a:lnTo>
                    <a:pt x="196816" y="165936"/>
                  </a:lnTo>
                  <a:lnTo>
                    <a:pt x="193436" y="168306"/>
                  </a:lnTo>
                  <a:lnTo>
                    <a:pt x="191048" y="169509"/>
                  </a:lnTo>
                  <a:lnTo>
                    <a:pt x="189657" y="169545"/>
                  </a:lnTo>
                  <a:lnTo>
                    <a:pt x="188473" y="170962"/>
                  </a:lnTo>
                  <a:lnTo>
                    <a:pt x="187502" y="173759"/>
                  </a:lnTo>
                  <a:lnTo>
                    <a:pt x="186495" y="175401"/>
                  </a:lnTo>
                  <a:lnTo>
                    <a:pt x="185455" y="175889"/>
                  </a:lnTo>
                  <a:lnTo>
                    <a:pt x="184781" y="176947"/>
                  </a:lnTo>
                  <a:lnTo>
                    <a:pt x="184474" y="178575"/>
                  </a:lnTo>
                  <a:lnTo>
                    <a:pt x="185073" y="179445"/>
                  </a:lnTo>
                  <a:lnTo>
                    <a:pt x="186584" y="179560"/>
                  </a:lnTo>
                  <a:lnTo>
                    <a:pt x="186701" y="180014"/>
                  </a:lnTo>
                  <a:lnTo>
                    <a:pt x="185422" y="180810"/>
                  </a:lnTo>
                  <a:lnTo>
                    <a:pt x="183836" y="181089"/>
                  </a:lnTo>
                  <a:lnTo>
                    <a:pt x="181935" y="180853"/>
                  </a:lnTo>
                  <a:lnTo>
                    <a:pt x="180136" y="181488"/>
                  </a:lnTo>
                  <a:lnTo>
                    <a:pt x="178439" y="182998"/>
                  </a:lnTo>
                  <a:lnTo>
                    <a:pt x="176992" y="186254"/>
                  </a:lnTo>
                  <a:lnTo>
                    <a:pt x="175794" y="191253"/>
                  </a:lnTo>
                  <a:lnTo>
                    <a:pt x="175634" y="192533"/>
                  </a:lnTo>
                  <a:lnTo>
                    <a:pt x="173006" y="191083"/>
                  </a:lnTo>
                  <a:lnTo>
                    <a:pt x="171916" y="190257"/>
                  </a:lnTo>
                  <a:lnTo>
                    <a:pt x="170501" y="190050"/>
                  </a:lnTo>
                  <a:lnTo>
                    <a:pt x="169061" y="190971"/>
                  </a:lnTo>
                  <a:lnTo>
                    <a:pt x="167914" y="191965"/>
                  </a:lnTo>
                  <a:lnTo>
                    <a:pt x="166737" y="192331"/>
                  </a:lnTo>
                  <a:lnTo>
                    <a:pt x="164936" y="192445"/>
                  </a:lnTo>
                  <a:lnTo>
                    <a:pt x="162570" y="191930"/>
                  </a:lnTo>
                  <a:lnTo>
                    <a:pt x="160961" y="191464"/>
                  </a:lnTo>
                  <a:lnTo>
                    <a:pt x="160719" y="191718"/>
                  </a:lnTo>
                  <a:lnTo>
                    <a:pt x="161594" y="193823"/>
                  </a:lnTo>
                  <a:lnTo>
                    <a:pt x="161907" y="195501"/>
                  </a:lnTo>
                  <a:lnTo>
                    <a:pt x="161559" y="196373"/>
                  </a:lnTo>
                  <a:lnTo>
                    <a:pt x="160799" y="197099"/>
                  </a:lnTo>
                  <a:lnTo>
                    <a:pt x="159641" y="197671"/>
                  </a:lnTo>
                  <a:lnTo>
                    <a:pt x="158285" y="198006"/>
                  </a:lnTo>
                  <a:lnTo>
                    <a:pt x="157087" y="197971"/>
                  </a:lnTo>
                  <a:lnTo>
                    <a:pt x="155168" y="197173"/>
                  </a:lnTo>
                  <a:lnTo>
                    <a:pt x="153705" y="197139"/>
                  </a:lnTo>
                  <a:lnTo>
                    <a:pt x="152455" y="197535"/>
                  </a:lnTo>
                  <a:lnTo>
                    <a:pt x="151693" y="198128"/>
                  </a:lnTo>
                  <a:lnTo>
                    <a:pt x="151272" y="198860"/>
                  </a:lnTo>
                  <a:lnTo>
                    <a:pt x="150535" y="203009"/>
                  </a:lnTo>
                  <a:lnTo>
                    <a:pt x="149885" y="204307"/>
                  </a:lnTo>
                  <a:lnTo>
                    <a:pt x="148972" y="205043"/>
                  </a:lnTo>
                  <a:lnTo>
                    <a:pt x="148067" y="205119"/>
                  </a:lnTo>
                  <a:lnTo>
                    <a:pt x="146823" y="204915"/>
                  </a:lnTo>
                  <a:lnTo>
                    <a:pt x="145521" y="205085"/>
                  </a:lnTo>
                  <a:lnTo>
                    <a:pt x="139622" y="206688"/>
                  </a:lnTo>
                  <a:lnTo>
                    <a:pt x="138763" y="206846"/>
                  </a:lnTo>
                  <a:lnTo>
                    <a:pt x="136912" y="206967"/>
                  </a:lnTo>
                  <a:lnTo>
                    <a:pt x="135195" y="207011"/>
                  </a:lnTo>
                  <a:lnTo>
                    <a:pt x="133988" y="206932"/>
                  </a:lnTo>
                  <a:lnTo>
                    <a:pt x="131157" y="205290"/>
                  </a:lnTo>
                  <a:lnTo>
                    <a:pt x="129786" y="205116"/>
                  </a:lnTo>
                  <a:lnTo>
                    <a:pt x="129034" y="205581"/>
                  </a:lnTo>
                  <a:lnTo>
                    <a:pt x="128507" y="207782"/>
                  </a:lnTo>
                  <a:lnTo>
                    <a:pt x="126853" y="209179"/>
                  </a:lnTo>
                  <a:lnTo>
                    <a:pt x="124651" y="212231"/>
                  </a:lnTo>
                  <a:lnTo>
                    <a:pt x="124137" y="216685"/>
                  </a:lnTo>
                  <a:lnTo>
                    <a:pt x="124366" y="219789"/>
                  </a:lnTo>
                  <a:lnTo>
                    <a:pt x="122381" y="222860"/>
                  </a:lnTo>
                  <a:lnTo>
                    <a:pt x="122202" y="224342"/>
                  </a:lnTo>
                  <a:lnTo>
                    <a:pt x="123262" y="231462"/>
                  </a:lnTo>
                  <a:lnTo>
                    <a:pt x="123083" y="232208"/>
                  </a:lnTo>
                  <a:lnTo>
                    <a:pt x="122681" y="232578"/>
                  </a:lnTo>
                  <a:lnTo>
                    <a:pt x="121440" y="232825"/>
                  </a:lnTo>
                  <a:lnTo>
                    <a:pt x="119356" y="233569"/>
                  </a:lnTo>
                  <a:lnTo>
                    <a:pt x="117981" y="234277"/>
                  </a:lnTo>
                  <a:lnTo>
                    <a:pt x="117313" y="234358"/>
                  </a:lnTo>
                  <a:lnTo>
                    <a:pt x="115370" y="233825"/>
                  </a:lnTo>
                  <a:lnTo>
                    <a:pt x="114858" y="233815"/>
                  </a:lnTo>
                  <a:lnTo>
                    <a:pt x="115007" y="234356"/>
                  </a:lnTo>
                  <a:lnTo>
                    <a:pt x="116558" y="237435"/>
                  </a:lnTo>
                  <a:lnTo>
                    <a:pt x="118172" y="238892"/>
                  </a:lnTo>
                  <a:lnTo>
                    <a:pt x="119842" y="238730"/>
                  </a:lnTo>
                  <a:lnTo>
                    <a:pt x="120570" y="239019"/>
                  </a:lnTo>
                  <a:lnTo>
                    <a:pt x="120354" y="239758"/>
                  </a:lnTo>
                  <a:lnTo>
                    <a:pt x="120997" y="241683"/>
                  </a:lnTo>
                  <a:lnTo>
                    <a:pt x="122505" y="244797"/>
                  </a:lnTo>
                  <a:lnTo>
                    <a:pt x="122952" y="247128"/>
                  </a:lnTo>
                  <a:lnTo>
                    <a:pt x="122036" y="249450"/>
                  </a:lnTo>
                  <a:lnTo>
                    <a:pt x="122211" y="250281"/>
                  </a:lnTo>
                  <a:lnTo>
                    <a:pt x="122712" y="250766"/>
                  </a:lnTo>
                  <a:lnTo>
                    <a:pt x="124124" y="252923"/>
                  </a:lnTo>
                  <a:lnTo>
                    <a:pt x="127138" y="256296"/>
                  </a:lnTo>
                  <a:lnTo>
                    <a:pt x="130097" y="259942"/>
                  </a:lnTo>
                  <a:lnTo>
                    <a:pt x="132563" y="262980"/>
                  </a:lnTo>
                  <a:lnTo>
                    <a:pt x="134374" y="265080"/>
                  </a:lnTo>
                  <a:lnTo>
                    <a:pt x="138406" y="268993"/>
                  </a:lnTo>
                  <a:lnTo>
                    <a:pt x="139121" y="270828"/>
                  </a:lnTo>
                  <a:lnTo>
                    <a:pt x="139274" y="274529"/>
                  </a:lnTo>
                  <a:lnTo>
                    <a:pt x="140269" y="276666"/>
                  </a:lnTo>
                  <a:lnTo>
                    <a:pt x="141190" y="278194"/>
                  </a:lnTo>
                  <a:lnTo>
                    <a:pt x="141829" y="279470"/>
                  </a:lnTo>
                  <a:lnTo>
                    <a:pt x="143313" y="283656"/>
                  </a:lnTo>
                  <a:lnTo>
                    <a:pt x="143943" y="284224"/>
                  </a:lnTo>
                  <a:lnTo>
                    <a:pt x="147175" y="281677"/>
                  </a:lnTo>
                  <a:lnTo>
                    <a:pt x="147925" y="282208"/>
                  </a:lnTo>
                  <a:lnTo>
                    <a:pt x="148343" y="283168"/>
                  </a:lnTo>
                  <a:lnTo>
                    <a:pt x="148348" y="284390"/>
                  </a:lnTo>
                  <a:lnTo>
                    <a:pt x="147840" y="285775"/>
                  </a:lnTo>
                  <a:lnTo>
                    <a:pt x="146789" y="287051"/>
                  </a:lnTo>
                  <a:lnTo>
                    <a:pt x="141801" y="290003"/>
                  </a:lnTo>
                  <a:lnTo>
                    <a:pt x="141395" y="292544"/>
                  </a:lnTo>
                  <a:lnTo>
                    <a:pt x="141045" y="296398"/>
                  </a:lnTo>
                  <a:lnTo>
                    <a:pt x="140962" y="301128"/>
                  </a:lnTo>
                  <a:lnTo>
                    <a:pt x="141200" y="304664"/>
                  </a:lnTo>
                  <a:lnTo>
                    <a:pt x="141017" y="305476"/>
                  </a:lnTo>
                  <a:lnTo>
                    <a:pt x="140583" y="305861"/>
                  </a:lnTo>
                  <a:lnTo>
                    <a:pt x="138700" y="305710"/>
                  </a:lnTo>
                  <a:lnTo>
                    <a:pt x="135985" y="307493"/>
                  </a:lnTo>
                  <a:lnTo>
                    <a:pt x="135029" y="307651"/>
                  </a:lnTo>
                  <a:lnTo>
                    <a:pt x="133836" y="308335"/>
                  </a:lnTo>
                  <a:lnTo>
                    <a:pt x="132926" y="309177"/>
                  </a:lnTo>
                  <a:lnTo>
                    <a:pt x="132637" y="310460"/>
                  </a:lnTo>
                  <a:lnTo>
                    <a:pt x="133172" y="314337"/>
                  </a:lnTo>
                  <a:lnTo>
                    <a:pt x="134141" y="317980"/>
                  </a:lnTo>
                  <a:lnTo>
                    <a:pt x="136046" y="320651"/>
                  </a:lnTo>
                  <a:lnTo>
                    <a:pt x="137551" y="322763"/>
                  </a:lnTo>
                  <a:lnTo>
                    <a:pt x="139648" y="325699"/>
                  </a:lnTo>
                  <a:lnTo>
                    <a:pt x="141307" y="328249"/>
                  </a:lnTo>
                  <a:lnTo>
                    <a:pt x="144649" y="331050"/>
                  </a:lnTo>
                  <a:lnTo>
                    <a:pt x="149346" y="335242"/>
                  </a:lnTo>
                  <a:lnTo>
                    <a:pt x="151138" y="337557"/>
                  </a:lnTo>
                  <a:lnTo>
                    <a:pt x="152721" y="340360"/>
                  </a:lnTo>
                  <a:lnTo>
                    <a:pt x="153839" y="342750"/>
                  </a:lnTo>
                  <a:lnTo>
                    <a:pt x="154265" y="345923"/>
                  </a:lnTo>
                  <a:lnTo>
                    <a:pt x="154610" y="347698"/>
                  </a:lnTo>
                  <a:lnTo>
                    <a:pt x="154710" y="353636"/>
                  </a:lnTo>
                  <a:lnTo>
                    <a:pt x="153845" y="354987"/>
                  </a:lnTo>
                  <a:lnTo>
                    <a:pt x="153190" y="356550"/>
                  </a:lnTo>
                  <a:lnTo>
                    <a:pt x="153554" y="358186"/>
                  </a:lnTo>
                  <a:lnTo>
                    <a:pt x="154651" y="359746"/>
                  </a:lnTo>
                  <a:lnTo>
                    <a:pt x="154651" y="361531"/>
                  </a:lnTo>
                  <a:lnTo>
                    <a:pt x="155675" y="364726"/>
                  </a:lnTo>
                  <a:lnTo>
                    <a:pt x="157389" y="366677"/>
                  </a:lnTo>
                  <a:lnTo>
                    <a:pt x="159039" y="367995"/>
                  </a:lnTo>
                  <a:lnTo>
                    <a:pt x="159771" y="369035"/>
                  </a:lnTo>
                  <a:lnTo>
                    <a:pt x="159532" y="370703"/>
                  </a:lnTo>
                  <a:lnTo>
                    <a:pt x="160019" y="372472"/>
                  </a:lnTo>
                  <a:lnTo>
                    <a:pt x="160376" y="374397"/>
                  </a:lnTo>
                  <a:lnTo>
                    <a:pt x="161050" y="377064"/>
                  </a:lnTo>
                  <a:lnTo>
                    <a:pt x="162377" y="379320"/>
                  </a:lnTo>
                  <a:lnTo>
                    <a:pt x="164407" y="386236"/>
                  </a:lnTo>
                  <a:lnTo>
                    <a:pt x="164358" y="386943"/>
                  </a:lnTo>
                  <a:lnTo>
                    <a:pt x="163481" y="388344"/>
                  </a:lnTo>
                  <a:lnTo>
                    <a:pt x="162207" y="389610"/>
                  </a:lnTo>
                  <a:lnTo>
                    <a:pt x="161382" y="390017"/>
                  </a:lnTo>
                  <a:lnTo>
                    <a:pt x="160602" y="391319"/>
                  </a:lnTo>
                  <a:lnTo>
                    <a:pt x="158747" y="395013"/>
                  </a:lnTo>
                  <a:lnTo>
                    <a:pt x="155018" y="401375"/>
                  </a:lnTo>
                  <a:lnTo>
                    <a:pt x="151376" y="405522"/>
                  </a:lnTo>
                  <a:lnTo>
                    <a:pt x="148318" y="408466"/>
                  </a:lnTo>
                  <a:lnTo>
                    <a:pt x="146102" y="410253"/>
                  </a:lnTo>
                  <a:lnTo>
                    <a:pt x="145446" y="411315"/>
                  </a:lnTo>
                  <a:lnTo>
                    <a:pt x="145446" y="412150"/>
                  </a:lnTo>
                  <a:lnTo>
                    <a:pt x="145847" y="413638"/>
                  </a:lnTo>
                  <a:lnTo>
                    <a:pt x="145692" y="416458"/>
                  </a:lnTo>
                  <a:lnTo>
                    <a:pt x="145216" y="418247"/>
                  </a:lnTo>
                  <a:lnTo>
                    <a:pt x="144589" y="420142"/>
                  </a:lnTo>
                  <a:lnTo>
                    <a:pt x="144237" y="421831"/>
                  </a:lnTo>
                  <a:lnTo>
                    <a:pt x="143251" y="422084"/>
                  </a:lnTo>
                  <a:lnTo>
                    <a:pt x="141142" y="425302"/>
                  </a:lnTo>
                  <a:lnTo>
                    <a:pt x="140228" y="423689"/>
                  </a:lnTo>
                  <a:lnTo>
                    <a:pt x="139689" y="422007"/>
                  </a:lnTo>
                  <a:lnTo>
                    <a:pt x="140268" y="418195"/>
                  </a:lnTo>
                  <a:lnTo>
                    <a:pt x="138983" y="410982"/>
                  </a:lnTo>
                  <a:lnTo>
                    <a:pt x="139780" y="410018"/>
                  </a:lnTo>
                  <a:lnTo>
                    <a:pt x="140546" y="409532"/>
                  </a:lnTo>
                  <a:lnTo>
                    <a:pt x="141943" y="406764"/>
                  </a:lnTo>
                  <a:lnTo>
                    <a:pt x="143641" y="404024"/>
                  </a:lnTo>
                  <a:lnTo>
                    <a:pt x="143796" y="400752"/>
                  </a:lnTo>
                  <a:lnTo>
                    <a:pt x="145169" y="398351"/>
                  </a:lnTo>
                  <a:lnTo>
                    <a:pt x="144845" y="396345"/>
                  </a:lnTo>
                  <a:lnTo>
                    <a:pt x="144916" y="393987"/>
                  </a:lnTo>
                  <a:lnTo>
                    <a:pt x="145206" y="392060"/>
                  </a:lnTo>
                  <a:lnTo>
                    <a:pt x="145096" y="390483"/>
                  </a:lnTo>
                  <a:lnTo>
                    <a:pt x="146186" y="388838"/>
                  </a:lnTo>
                  <a:lnTo>
                    <a:pt x="148071" y="387614"/>
                  </a:lnTo>
                  <a:lnTo>
                    <a:pt x="147281" y="387176"/>
                  </a:lnTo>
                  <a:lnTo>
                    <a:pt x="146498" y="386280"/>
                  </a:lnTo>
                  <a:lnTo>
                    <a:pt x="144040" y="387645"/>
                  </a:lnTo>
                  <a:lnTo>
                    <a:pt x="142772" y="387196"/>
                  </a:lnTo>
                  <a:lnTo>
                    <a:pt x="142520" y="385782"/>
                  </a:lnTo>
                  <a:lnTo>
                    <a:pt x="142833" y="384265"/>
                  </a:lnTo>
                  <a:lnTo>
                    <a:pt x="142962" y="383342"/>
                  </a:lnTo>
                  <a:lnTo>
                    <a:pt x="143947" y="382301"/>
                  </a:lnTo>
                  <a:lnTo>
                    <a:pt x="143878" y="380274"/>
                  </a:lnTo>
                  <a:lnTo>
                    <a:pt x="143382" y="378489"/>
                  </a:lnTo>
                  <a:lnTo>
                    <a:pt x="144098" y="376278"/>
                  </a:lnTo>
                  <a:lnTo>
                    <a:pt x="142645" y="376273"/>
                  </a:lnTo>
                  <a:lnTo>
                    <a:pt x="141976" y="375828"/>
                  </a:lnTo>
                  <a:lnTo>
                    <a:pt x="142393" y="374600"/>
                  </a:lnTo>
                  <a:lnTo>
                    <a:pt x="143710" y="373512"/>
                  </a:lnTo>
                  <a:lnTo>
                    <a:pt x="142509" y="371442"/>
                  </a:lnTo>
                  <a:lnTo>
                    <a:pt x="143399" y="369214"/>
                  </a:lnTo>
                  <a:lnTo>
                    <a:pt x="143366" y="366463"/>
                  </a:lnTo>
                  <a:lnTo>
                    <a:pt x="142757" y="364035"/>
                  </a:lnTo>
                  <a:lnTo>
                    <a:pt x="142789" y="362288"/>
                  </a:lnTo>
                  <a:lnTo>
                    <a:pt x="141861" y="359191"/>
                  </a:lnTo>
                  <a:lnTo>
                    <a:pt x="141438" y="355236"/>
                  </a:lnTo>
                  <a:lnTo>
                    <a:pt x="139473" y="352286"/>
                  </a:lnTo>
                  <a:lnTo>
                    <a:pt x="138018" y="347994"/>
                  </a:lnTo>
                  <a:lnTo>
                    <a:pt x="134128" y="342372"/>
                  </a:lnTo>
                  <a:lnTo>
                    <a:pt x="134195" y="339964"/>
                  </a:lnTo>
                  <a:lnTo>
                    <a:pt x="133986" y="337843"/>
                  </a:lnTo>
                  <a:lnTo>
                    <a:pt x="133133" y="336813"/>
                  </a:lnTo>
                  <a:lnTo>
                    <a:pt x="132008" y="344306"/>
                  </a:lnTo>
                  <a:lnTo>
                    <a:pt x="131148" y="342835"/>
                  </a:lnTo>
                  <a:lnTo>
                    <a:pt x="130874" y="338657"/>
                  </a:lnTo>
                  <a:lnTo>
                    <a:pt x="130309" y="336671"/>
                  </a:lnTo>
                  <a:lnTo>
                    <a:pt x="130917" y="332724"/>
                  </a:lnTo>
                  <a:lnTo>
                    <a:pt x="128667" y="328805"/>
                  </a:lnTo>
                  <a:lnTo>
                    <a:pt x="128183" y="325957"/>
                  </a:lnTo>
                  <a:lnTo>
                    <a:pt x="126707" y="321640"/>
                  </a:lnTo>
                  <a:lnTo>
                    <a:pt x="127138" y="320672"/>
                  </a:lnTo>
                  <a:lnTo>
                    <a:pt x="129117" y="321643"/>
                  </a:lnTo>
                  <a:lnTo>
                    <a:pt x="127298" y="319128"/>
                  </a:lnTo>
                  <a:lnTo>
                    <a:pt x="125808" y="319697"/>
                  </a:lnTo>
                  <a:lnTo>
                    <a:pt x="124552" y="316981"/>
                  </a:lnTo>
                  <a:lnTo>
                    <a:pt x="124275" y="309611"/>
                  </a:lnTo>
                  <a:lnTo>
                    <a:pt x="123036" y="306854"/>
                  </a:lnTo>
                  <a:lnTo>
                    <a:pt x="123709" y="304044"/>
                  </a:lnTo>
                  <a:lnTo>
                    <a:pt x="122297" y="293974"/>
                  </a:lnTo>
                  <a:lnTo>
                    <a:pt x="119509" y="290708"/>
                  </a:lnTo>
                  <a:lnTo>
                    <a:pt x="120062" y="287890"/>
                  </a:lnTo>
                  <a:lnTo>
                    <a:pt x="120755" y="285394"/>
                  </a:lnTo>
                  <a:lnTo>
                    <a:pt x="120602" y="280767"/>
                  </a:lnTo>
                  <a:lnTo>
                    <a:pt x="121287" y="279341"/>
                  </a:lnTo>
                  <a:lnTo>
                    <a:pt x="122643" y="278248"/>
                  </a:lnTo>
                  <a:lnTo>
                    <a:pt x="121371" y="278633"/>
                  </a:lnTo>
                  <a:lnTo>
                    <a:pt x="120291" y="278960"/>
                  </a:lnTo>
                  <a:lnTo>
                    <a:pt x="117758" y="279231"/>
                  </a:lnTo>
                  <a:lnTo>
                    <a:pt x="114901" y="279284"/>
                  </a:lnTo>
                  <a:lnTo>
                    <a:pt x="113910" y="275903"/>
                  </a:lnTo>
                  <a:lnTo>
                    <a:pt x="112504" y="274281"/>
                  </a:lnTo>
                  <a:lnTo>
                    <a:pt x="111271" y="270883"/>
                  </a:lnTo>
                  <a:lnTo>
                    <a:pt x="110532" y="267029"/>
                  </a:lnTo>
                  <a:lnTo>
                    <a:pt x="111016" y="266269"/>
                  </a:lnTo>
                  <a:lnTo>
                    <a:pt x="108805" y="264695"/>
                  </a:lnTo>
                  <a:lnTo>
                    <a:pt x="108237" y="263731"/>
                  </a:lnTo>
                  <a:lnTo>
                    <a:pt x="105929" y="261217"/>
                  </a:lnTo>
                  <a:lnTo>
                    <a:pt x="103305" y="259310"/>
                  </a:lnTo>
                  <a:lnTo>
                    <a:pt x="103886" y="260651"/>
                  </a:lnTo>
                  <a:lnTo>
                    <a:pt x="104595" y="261501"/>
                  </a:lnTo>
                  <a:lnTo>
                    <a:pt x="103293" y="263822"/>
                  </a:lnTo>
                  <a:lnTo>
                    <a:pt x="104568" y="267736"/>
                  </a:lnTo>
                  <a:lnTo>
                    <a:pt x="103450" y="270232"/>
                  </a:lnTo>
                  <a:lnTo>
                    <a:pt x="102403" y="273480"/>
                  </a:lnTo>
                  <a:lnTo>
                    <a:pt x="101403" y="275026"/>
                  </a:lnTo>
                  <a:lnTo>
                    <a:pt x="98242" y="278354"/>
                  </a:lnTo>
                  <a:lnTo>
                    <a:pt x="95681" y="279480"/>
                  </a:lnTo>
                  <a:lnTo>
                    <a:pt x="94011" y="279694"/>
                  </a:lnTo>
                  <a:lnTo>
                    <a:pt x="92534" y="279340"/>
                  </a:lnTo>
                  <a:lnTo>
                    <a:pt x="90718" y="277625"/>
                  </a:lnTo>
                  <a:lnTo>
                    <a:pt x="90273" y="276190"/>
                  </a:lnTo>
                  <a:lnTo>
                    <a:pt x="89982" y="273776"/>
                  </a:lnTo>
                  <a:lnTo>
                    <a:pt x="89349" y="273430"/>
                  </a:lnTo>
                  <a:lnTo>
                    <a:pt x="88658" y="273709"/>
                  </a:lnTo>
                  <a:lnTo>
                    <a:pt x="89734" y="276824"/>
                  </a:lnTo>
                  <a:lnTo>
                    <a:pt x="89712" y="278274"/>
                  </a:lnTo>
                  <a:lnTo>
                    <a:pt x="91649" y="281067"/>
                  </a:lnTo>
                  <a:lnTo>
                    <a:pt x="90958" y="281848"/>
                  </a:lnTo>
                  <a:lnTo>
                    <a:pt x="87464" y="283381"/>
                  </a:lnTo>
                  <a:lnTo>
                    <a:pt x="86268" y="283135"/>
                  </a:lnTo>
                  <a:lnTo>
                    <a:pt x="85425" y="283440"/>
                  </a:lnTo>
                  <a:lnTo>
                    <a:pt x="85188" y="284696"/>
                  </a:lnTo>
                  <a:lnTo>
                    <a:pt x="84750" y="285397"/>
                  </a:lnTo>
                  <a:lnTo>
                    <a:pt x="79243" y="287318"/>
                  </a:lnTo>
                  <a:lnTo>
                    <a:pt x="78096" y="289488"/>
                  </a:lnTo>
                  <a:lnTo>
                    <a:pt x="77390" y="291679"/>
                  </a:lnTo>
                  <a:lnTo>
                    <a:pt x="74652" y="294828"/>
                  </a:lnTo>
                  <a:lnTo>
                    <a:pt x="70979" y="297436"/>
                  </a:lnTo>
                  <a:lnTo>
                    <a:pt x="70070" y="297288"/>
                  </a:lnTo>
                  <a:lnTo>
                    <a:pt x="69032" y="296680"/>
                  </a:lnTo>
                  <a:lnTo>
                    <a:pt x="69172" y="293863"/>
                  </a:lnTo>
                  <a:lnTo>
                    <a:pt x="70431" y="291482"/>
                  </a:lnTo>
                  <a:lnTo>
                    <a:pt x="70033" y="288939"/>
                  </a:lnTo>
                  <a:lnTo>
                    <a:pt x="69729" y="290398"/>
                  </a:lnTo>
                  <a:lnTo>
                    <a:pt x="67360" y="293945"/>
                  </a:lnTo>
                  <a:lnTo>
                    <a:pt x="66279" y="295104"/>
                  </a:lnTo>
                  <a:lnTo>
                    <a:pt x="64097" y="294798"/>
                  </a:lnTo>
                  <a:lnTo>
                    <a:pt x="61096" y="295272"/>
                  </a:lnTo>
                  <a:lnTo>
                    <a:pt x="59960" y="291626"/>
                  </a:lnTo>
                  <a:lnTo>
                    <a:pt x="59981" y="290286"/>
                  </a:lnTo>
                  <a:lnTo>
                    <a:pt x="59761" y="289158"/>
                  </a:lnTo>
                  <a:lnTo>
                    <a:pt x="60107" y="287959"/>
                  </a:lnTo>
                  <a:lnTo>
                    <a:pt x="60003" y="287006"/>
                  </a:lnTo>
                  <a:lnTo>
                    <a:pt x="59274" y="288829"/>
                  </a:lnTo>
                  <a:lnTo>
                    <a:pt x="58999" y="290407"/>
                  </a:lnTo>
                  <a:lnTo>
                    <a:pt x="57902" y="291808"/>
                  </a:lnTo>
                  <a:lnTo>
                    <a:pt x="54881" y="293320"/>
                  </a:lnTo>
                  <a:lnTo>
                    <a:pt x="54765" y="291407"/>
                  </a:lnTo>
                  <a:lnTo>
                    <a:pt x="54657" y="289682"/>
                  </a:lnTo>
                  <a:lnTo>
                    <a:pt x="55306" y="288129"/>
                  </a:lnTo>
                  <a:lnTo>
                    <a:pt x="55213" y="285662"/>
                  </a:lnTo>
                  <a:lnTo>
                    <a:pt x="56172" y="282105"/>
                  </a:lnTo>
                  <a:lnTo>
                    <a:pt x="56099" y="280885"/>
                  </a:lnTo>
                  <a:lnTo>
                    <a:pt x="55806" y="279535"/>
                  </a:lnTo>
                  <a:lnTo>
                    <a:pt x="55268" y="281495"/>
                  </a:lnTo>
                  <a:lnTo>
                    <a:pt x="54963" y="283526"/>
                  </a:lnTo>
                  <a:lnTo>
                    <a:pt x="54355" y="284140"/>
                  </a:lnTo>
                  <a:lnTo>
                    <a:pt x="53244" y="284600"/>
                  </a:lnTo>
                  <a:lnTo>
                    <a:pt x="51214" y="286930"/>
                  </a:lnTo>
                  <a:lnTo>
                    <a:pt x="50018" y="289012"/>
                  </a:lnTo>
                  <a:lnTo>
                    <a:pt x="46866" y="290980"/>
                  </a:lnTo>
                  <a:lnTo>
                    <a:pt x="45203" y="290779"/>
                  </a:lnTo>
                  <a:lnTo>
                    <a:pt x="44991" y="288281"/>
                  </a:lnTo>
                  <a:lnTo>
                    <a:pt x="46252" y="279413"/>
                  </a:lnTo>
                  <a:lnTo>
                    <a:pt x="47491" y="278166"/>
                  </a:lnTo>
                  <a:lnTo>
                    <a:pt x="48068" y="276626"/>
                  </a:lnTo>
                  <a:lnTo>
                    <a:pt x="49098" y="271439"/>
                  </a:lnTo>
                  <a:lnTo>
                    <a:pt x="50258" y="269475"/>
                  </a:lnTo>
                  <a:lnTo>
                    <a:pt x="50715" y="265358"/>
                  </a:lnTo>
                  <a:lnTo>
                    <a:pt x="51184" y="264650"/>
                  </a:lnTo>
                  <a:lnTo>
                    <a:pt x="52734" y="261417"/>
                  </a:lnTo>
                  <a:lnTo>
                    <a:pt x="53277" y="255475"/>
                  </a:lnTo>
                  <a:lnTo>
                    <a:pt x="52638" y="252519"/>
                  </a:lnTo>
                  <a:lnTo>
                    <a:pt x="51184" y="249654"/>
                  </a:lnTo>
                  <a:lnTo>
                    <a:pt x="49778" y="241045"/>
                  </a:lnTo>
                  <a:lnTo>
                    <a:pt x="46131" y="234060"/>
                  </a:lnTo>
                  <a:lnTo>
                    <a:pt x="45829" y="231728"/>
                  </a:lnTo>
                  <a:lnTo>
                    <a:pt x="44028" y="228908"/>
                  </a:lnTo>
                  <a:lnTo>
                    <a:pt x="45686" y="228708"/>
                  </a:lnTo>
                  <a:lnTo>
                    <a:pt x="42272" y="226234"/>
                  </a:lnTo>
                  <a:lnTo>
                    <a:pt x="41802" y="225222"/>
                  </a:lnTo>
                  <a:lnTo>
                    <a:pt x="41115" y="219429"/>
                  </a:lnTo>
                  <a:lnTo>
                    <a:pt x="41247" y="216190"/>
                  </a:lnTo>
                  <a:lnTo>
                    <a:pt x="40750" y="216617"/>
                  </a:lnTo>
                  <a:lnTo>
                    <a:pt x="40288" y="218613"/>
                  </a:lnTo>
                  <a:lnTo>
                    <a:pt x="38949" y="219431"/>
                  </a:lnTo>
                  <a:lnTo>
                    <a:pt x="39547" y="222893"/>
                  </a:lnTo>
                  <a:lnTo>
                    <a:pt x="39398" y="223733"/>
                  </a:lnTo>
                  <a:lnTo>
                    <a:pt x="38688" y="225078"/>
                  </a:lnTo>
                  <a:lnTo>
                    <a:pt x="35833" y="223682"/>
                  </a:lnTo>
                  <a:lnTo>
                    <a:pt x="33741" y="222163"/>
                  </a:lnTo>
                  <a:lnTo>
                    <a:pt x="31368" y="218459"/>
                  </a:lnTo>
                  <a:lnTo>
                    <a:pt x="29044" y="214307"/>
                  </a:lnTo>
                  <a:lnTo>
                    <a:pt x="29873" y="213663"/>
                  </a:lnTo>
                  <a:lnTo>
                    <a:pt x="30936" y="213580"/>
                  </a:lnTo>
                  <a:lnTo>
                    <a:pt x="34239" y="216670"/>
                  </a:lnTo>
                  <a:lnTo>
                    <a:pt x="36382" y="217313"/>
                  </a:lnTo>
                  <a:lnTo>
                    <a:pt x="37735" y="216545"/>
                  </a:lnTo>
                  <a:lnTo>
                    <a:pt x="39414" y="215228"/>
                  </a:lnTo>
                  <a:lnTo>
                    <a:pt x="40213" y="212669"/>
                  </a:lnTo>
                  <a:lnTo>
                    <a:pt x="39386" y="211732"/>
                  </a:lnTo>
                  <a:lnTo>
                    <a:pt x="37775" y="211222"/>
                  </a:lnTo>
                  <a:lnTo>
                    <a:pt x="36705" y="210528"/>
                  </a:lnTo>
                  <a:lnTo>
                    <a:pt x="35166" y="208796"/>
                  </a:lnTo>
                  <a:lnTo>
                    <a:pt x="34970" y="207912"/>
                  </a:lnTo>
                  <a:lnTo>
                    <a:pt x="34494" y="206781"/>
                  </a:lnTo>
                  <a:lnTo>
                    <a:pt x="32929" y="205983"/>
                  </a:lnTo>
                  <a:lnTo>
                    <a:pt x="31668" y="204970"/>
                  </a:lnTo>
                  <a:lnTo>
                    <a:pt x="32733" y="203176"/>
                  </a:lnTo>
                  <a:lnTo>
                    <a:pt x="33775" y="201842"/>
                  </a:lnTo>
                  <a:lnTo>
                    <a:pt x="31007" y="201901"/>
                  </a:lnTo>
                  <a:lnTo>
                    <a:pt x="27850" y="199605"/>
                  </a:lnTo>
                  <a:lnTo>
                    <a:pt x="27198" y="198940"/>
                  </a:lnTo>
                  <a:lnTo>
                    <a:pt x="26152" y="198480"/>
                  </a:lnTo>
                  <a:lnTo>
                    <a:pt x="23670" y="198208"/>
                  </a:lnTo>
                  <a:lnTo>
                    <a:pt x="21605" y="198884"/>
                  </a:lnTo>
                  <a:lnTo>
                    <a:pt x="22542" y="202160"/>
                  </a:lnTo>
                  <a:lnTo>
                    <a:pt x="22356" y="203243"/>
                  </a:lnTo>
                  <a:lnTo>
                    <a:pt x="21005" y="203087"/>
                  </a:lnTo>
                  <a:lnTo>
                    <a:pt x="18185" y="198099"/>
                  </a:lnTo>
                  <a:lnTo>
                    <a:pt x="19033" y="196835"/>
                  </a:lnTo>
                  <a:lnTo>
                    <a:pt x="20253" y="195648"/>
                  </a:lnTo>
                  <a:lnTo>
                    <a:pt x="19653" y="195480"/>
                  </a:lnTo>
                  <a:lnTo>
                    <a:pt x="18476" y="195558"/>
                  </a:lnTo>
                  <a:lnTo>
                    <a:pt x="19619" y="191128"/>
                  </a:lnTo>
                  <a:lnTo>
                    <a:pt x="18923" y="190471"/>
                  </a:lnTo>
                  <a:lnTo>
                    <a:pt x="18556" y="191856"/>
                  </a:lnTo>
                  <a:lnTo>
                    <a:pt x="17936" y="193193"/>
                  </a:lnTo>
                  <a:lnTo>
                    <a:pt x="15535" y="196321"/>
                  </a:lnTo>
                  <a:lnTo>
                    <a:pt x="14345" y="195735"/>
                  </a:lnTo>
                  <a:lnTo>
                    <a:pt x="13524" y="194956"/>
                  </a:lnTo>
                  <a:lnTo>
                    <a:pt x="14682" y="193317"/>
                  </a:lnTo>
                  <a:lnTo>
                    <a:pt x="15304" y="192876"/>
                  </a:lnTo>
                  <a:lnTo>
                    <a:pt x="15734" y="191987"/>
                  </a:lnTo>
                  <a:lnTo>
                    <a:pt x="14840" y="190271"/>
                  </a:lnTo>
                  <a:lnTo>
                    <a:pt x="13429" y="189022"/>
                  </a:lnTo>
                  <a:lnTo>
                    <a:pt x="12296" y="186863"/>
                  </a:lnTo>
                  <a:lnTo>
                    <a:pt x="11706" y="186834"/>
                  </a:lnTo>
                  <a:lnTo>
                    <a:pt x="12229" y="189383"/>
                  </a:lnTo>
                  <a:lnTo>
                    <a:pt x="12013" y="193018"/>
                  </a:lnTo>
                  <a:lnTo>
                    <a:pt x="9474" y="189003"/>
                  </a:lnTo>
                  <a:lnTo>
                    <a:pt x="4395" y="183291"/>
                  </a:lnTo>
                  <a:lnTo>
                    <a:pt x="3196" y="181577"/>
                  </a:lnTo>
                  <a:lnTo>
                    <a:pt x="2926" y="179902"/>
                  </a:lnTo>
                  <a:lnTo>
                    <a:pt x="2358" y="178351"/>
                  </a:lnTo>
                  <a:lnTo>
                    <a:pt x="1965" y="176663"/>
                  </a:lnTo>
                  <a:lnTo>
                    <a:pt x="1877" y="175351"/>
                  </a:lnTo>
                  <a:lnTo>
                    <a:pt x="778" y="174168"/>
                  </a:lnTo>
                  <a:lnTo>
                    <a:pt x="275" y="172098"/>
                  </a:lnTo>
                  <a:lnTo>
                    <a:pt x="0" y="169997"/>
                  </a:lnTo>
                  <a:lnTo>
                    <a:pt x="633" y="168499"/>
                  </a:lnTo>
                  <a:lnTo>
                    <a:pt x="2214" y="166886"/>
                  </a:lnTo>
                  <a:lnTo>
                    <a:pt x="3339" y="166604"/>
                  </a:lnTo>
                  <a:lnTo>
                    <a:pt x="4269" y="167316"/>
                  </a:lnTo>
                  <a:lnTo>
                    <a:pt x="6464" y="168381"/>
                  </a:lnTo>
                  <a:lnTo>
                    <a:pt x="7951" y="169379"/>
                  </a:lnTo>
                  <a:lnTo>
                    <a:pt x="8601" y="170685"/>
                  </a:lnTo>
                  <a:lnTo>
                    <a:pt x="9292" y="170528"/>
                  </a:lnTo>
                  <a:lnTo>
                    <a:pt x="9996" y="169694"/>
                  </a:lnTo>
                  <a:lnTo>
                    <a:pt x="9856" y="168664"/>
                  </a:lnTo>
                  <a:lnTo>
                    <a:pt x="9152" y="165966"/>
                  </a:lnTo>
                  <a:lnTo>
                    <a:pt x="8949" y="162686"/>
                  </a:lnTo>
                  <a:lnTo>
                    <a:pt x="8916" y="155008"/>
                  </a:lnTo>
                  <a:lnTo>
                    <a:pt x="8742" y="154133"/>
                  </a:lnTo>
                  <a:lnTo>
                    <a:pt x="9968" y="153361"/>
                  </a:lnTo>
                  <a:lnTo>
                    <a:pt x="10460" y="152480"/>
                  </a:lnTo>
                  <a:lnTo>
                    <a:pt x="10949" y="151164"/>
                  </a:lnTo>
                  <a:lnTo>
                    <a:pt x="11263" y="150585"/>
                  </a:lnTo>
                  <a:lnTo>
                    <a:pt x="11972" y="150551"/>
                  </a:lnTo>
                  <a:lnTo>
                    <a:pt x="13086" y="151192"/>
                  </a:lnTo>
                  <a:lnTo>
                    <a:pt x="14920" y="153388"/>
                  </a:lnTo>
                  <a:lnTo>
                    <a:pt x="16140" y="153881"/>
                  </a:lnTo>
                  <a:lnTo>
                    <a:pt x="17358" y="153537"/>
                  </a:lnTo>
                  <a:lnTo>
                    <a:pt x="18627" y="150243"/>
                  </a:lnTo>
                  <a:lnTo>
                    <a:pt x="19092" y="149354"/>
                  </a:lnTo>
                  <a:lnTo>
                    <a:pt x="19702" y="148764"/>
                  </a:lnTo>
                  <a:lnTo>
                    <a:pt x="20827" y="148862"/>
                  </a:lnTo>
                  <a:lnTo>
                    <a:pt x="21484" y="148271"/>
                  </a:lnTo>
                  <a:lnTo>
                    <a:pt x="21732" y="146848"/>
                  </a:lnTo>
                  <a:lnTo>
                    <a:pt x="21724" y="145261"/>
                  </a:lnTo>
                  <a:lnTo>
                    <a:pt x="20465" y="140916"/>
                  </a:lnTo>
                  <a:lnTo>
                    <a:pt x="20091" y="138913"/>
                  </a:lnTo>
                  <a:lnTo>
                    <a:pt x="19881" y="136936"/>
                  </a:lnTo>
                  <a:lnTo>
                    <a:pt x="20667" y="134899"/>
                  </a:lnTo>
                  <a:lnTo>
                    <a:pt x="21735" y="132518"/>
                  </a:lnTo>
                  <a:lnTo>
                    <a:pt x="21480" y="130436"/>
                  </a:lnTo>
                  <a:lnTo>
                    <a:pt x="21771" y="129627"/>
                  </a:lnTo>
                  <a:lnTo>
                    <a:pt x="22650" y="129511"/>
                  </a:lnTo>
                  <a:lnTo>
                    <a:pt x="23747" y="130013"/>
                  </a:lnTo>
                  <a:lnTo>
                    <a:pt x="24952" y="129666"/>
                  </a:lnTo>
                  <a:lnTo>
                    <a:pt x="25868" y="128393"/>
                  </a:lnTo>
                  <a:lnTo>
                    <a:pt x="26235" y="127285"/>
                  </a:lnTo>
                  <a:lnTo>
                    <a:pt x="26794" y="122464"/>
                  </a:lnTo>
                  <a:lnTo>
                    <a:pt x="27165" y="118053"/>
                  </a:lnTo>
                  <a:lnTo>
                    <a:pt x="27317" y="114453"/>
                  </a:lnTo>
                  <a:lnTo>
                    <a:pt x="26379" y="112300"/>
                  </a:lnTo>
                  <a:lnTo>
                    <a:pt x="24937" y="106503"/>
                  </a:lnTo>
                  <a:lnTo>
                    <a:pt x="25356" y="105512"/>
                  </a:lnTo>
                  <a:lnTo>
                    <a:pt x="26004" y="105279"/>
                  </a:lnTo>
                  <a:lnTo>
                    <a:pt x="28139" y="107310"/>
                  </a:lnTo>
                  <a:lnTo>
                    <a:pt x="29059" y="107651"/>
                  </a:lnTo>
                  <a:lnTo>
                    <a:pt x="30614" y="107341"/>
                  </a:lnTo>
                  <a:lnTo>
                    <a:pt x="32145" y="106889"/>
                  </a:lnTo>
                  <a:lnTo>
                    <a:pt x="33253" y="106862"/>
                  </a:lnTo>
                  <a:lnTo>
                    <a:pt x="34855" y="107556"/>
                  </a:lnTo>
                  <a:lnTo>
                    <a:pt x="37057" y="108328"/>
                  </a:lnTo>
                  <a:lnTo>
                    <a:pt x="40493" y="109287"/>
                  </a:lnTo>
                  <a:lnTo>
                    <a:pt x="41907" y="110010"/>
                  </a:lnTo>
                  <a:lnTo>
                    <a:pt x="43076" y="109907"/>
                  </a:lnTo>
                  <a:lnTo>
                    <a:pt x="44019" y="107655"/>
                  </a:lnTo>
                  <a:lnTo>
                    <a:pt x="45112" y="104364"/>
                  </a:lnTo>
                  <a:lnTo>
                    <a:pt x="46734" y="99473"/>
                  </a:lnTo>
                  <a:lnTo>
                    <a:pt x="48595" y="95910"/>
                  </a:lnTo>
                  <a:lnTo>
                    <a:pt x="49085" y="94963"/>
                  </a:lnTo>
                  <a:lnTo>
                    <a:pt x="51159" y="92062"/>
                  </a:lnTo>
                  <a:lnTo>
                    <a:pt x="53169" y="89017"/>
                  </a:lnTo>
                  <a:lnTo>
                    <a:pt x="54920" y="85166"/>
                  </a:lnTo>
                  <a:lnTo>
                    <a:pt x="55900" y="82396"/>
                  </a:lnTo>
                  <a:lnTo>
                    <a:pt x="55814" y="81239"/>
                  </a:lnTo>
                  <a:lnTo>
                    <a:pt x="55185" y="80281"/>
                  </a:lnTo>
                  <a:lnTo>
                    <a:pt x="53866" y="79668"/>
                  </a:lnTo>
                  <a:lnTo>
                    <a:pt x="52780" y="79034"/>
                  </a:lnTo>
                  <a:lnTo>
                    <a:pt x="52482" y="78464"/>
                  </a:lnTo>
                  <a:lnTo>
                    <a:pt x="52512" y="77810"/>
                  </a:lnTo>
                  <a:lnTo>
                    <a:pt x="53076" y="76011"/>
                  </a:lnTo>
                  <a:lnTo>
                    <a:pt x="54026" y="73884"/>
                  </a:lnTo>
                  <a:lnTo>
                    <a:pt x="55019" y="72732"/>
                  </a:lnTo>
                  <a:lnTo>
                    <a:pt x="57630" y="71306"/>
                  </a:lnTo>
                  <a:lnTo>
                    <a:pt x="59295" y="69468"/>
                  </a:lnTo>
                  <a:lnTo>
                    <a:pt x="61165" y="67036"/>
                  </a:lnTo>
                  <a:lnTo>
                    <a:pt x="62188" y="65377"/>
                  </a:lnTo>
                  <a:lnTo>
                    <a:pt x="62702" y="62010"/>
                  </a:lnTo>
                  <a:lnTo>
                    <a:pt x="63266" y="61339"/>
                  </a:lnTo>
                  <a:lnTo>
                    <a:pt x="64421" y="60251"/>
                  </a:lnTo>
                  <a:lnTo>
                    <a:pt x="65293" y="58975"/>
                  </a:lnTo>
                  <a:lnTo>
                    <a:pt x="65224" y="58285"/>
                  </a:lnTo>
                  <a:lnTo>
                    <a:pt x="64762" y="57788"/>
                  </a:lnTo>
                  <a:lnTo>
                    <a:pt x="63890" y="55428"/>
                  </a:lnTo>
                  <a:lnTo>
                    <a:pt x="63490" y="51729"/>
                  </a:lnTo>
                  <a:lnTo>
                    <a:pt x="63687" y="48725"/>
                  </a:lnTo>
                  <a:lnTo>
                    <a:pt x="64344" y="47503"/>
                  </a:lnTo>
                  <a:lnTo>
                    <a:pt x="65211" y="45800"/>
                  </a:lnTo>
                  <a:lnTo>
                    <a:pt x="66820" y="44753"/>
                  </a:lnTo>
                  <a:lnTo>
                    <a:pt x="69112" y="44020"/>
                  </a:lnTo>
                  <a:lnTo>
                    <a:pt x="72622" y="42031"/>
                  </a:lnTo>
                  <a:lnTo>
                    <a:pt x="78693" y="37412"/>
                  </a:lnTo>
                  <a:lnTo>
                    <a:pt x="80880" y="35905"/>
                  </a:lnTo>
                  <a:lnTo>
                    <a:pt x="82383" y="35124"/>
                  </a:lnTo>
                  <a:lnTo>
                    <a:pt x="83834" y="33186"/>
                  </a:lnTo>
                  <a:lnTo>
                    <a:pt x="85836" y="31067"/>
                  </a:lnTo>
                  <a:lnTo>
                    <a:pt x="88697" y="30015"/>
                  </a:lnTo>
                  <a:lnTo>
                    <a:pt x="90541" y="29608"/>
                  </a:lnTo>
                  <a:lnTo>
                    <a:pt x="99198" y="28157"/>
                  </a:lnTo>
                  <a:lnTo>
                    <a:pt x="100656" y="28342"/>
                  </a:lnTo>
                  <a:lnTo>
                    <a:pt x="102120" y="29183"/>
                  </a:lnTo>
                  <a:lnTo>
                    <a:pt x="103942" y="32002"/>
                  </a:lnTo>
                  <a:lnTo>
                    <a:pt x="105560" y="33062"/>
                  </a:lnTo>
                  <a:lnTo>
                    <a:pt x="107432" y="33805"/>
                  </a:lnTo>
                  <a:lnTo>
                    <a:pt x="108847" y="33487"/>
                  </a:lnTo>
                  <a:lnTo>
                    <a:pt x="108883" y="32347"/>
                  </a:lnTo>
                  <a:lnTo>
                    <a:pt x="104422" y="25766"/>
                  </a:lnTo>
                  <a:lnTo>
                    <a:pt x="104016" y="23972"/>
                  </a:lnTo>
                  <a:lnTo>
                    <a:pt x="103867" y="22257"/>
                  </a:lnTo>
                  <a:lnTo>
                    <a:pt x="104372" y="20894"/>
                  </a:lnTo>
                  <a:lnTo>
                    <a:pt x="105767" y="19594"/>
                  </a:lnTo>
                  <a:lnTo>
                    <a:pt x="107689" y="18120"/>
                  </a:lnTo>
                  <a:lnTo>
                    <a:pt x="110079" y="16284"/>
                  </a:lnTo>
                  <a:lnTo>
                    <a:pt x="111589" y="15014"/>
                  </a:lnTo>
                  <a:lnTo>
                    <a:pt x="113359" y="14606"/>
                  </a:lnTo>
                  <a:lnTo>
                    <a:pt x="114000" y="13873"/>
                  </a:lnTo>
                  <a:lnTo>
                    <a:pt x="114187" y="12807"/>
                  </a:lnTo>
                  <a:lnTo>
                    <a:pt x="114089" y="11646"/>
                  </a:lnTo>
                  <a:lnTo>
                    <a:pt x="113283" y="10327"/>
                  </a:lnTo>
                  <a:lnTo>
                    <a:pt x="113450" y="8670"/>
                  </a:lnTo>
                  <a:lnTo>
                    <a:pt x="113720" y="7168"/>
                  </a:lnTo>
                  <a:lnTo>
                    <a:pt x="114472" y="6293"/>
                  </a:lnTo>
                  <a:lnTo>
                    <a:pt x="116130" y="3912"/>
                  </a:lnTo>
                  <a:lnTo>
                    <a:pt x="117154" y="2192"/>
                  </a:lnTo>
                  <a:lnTo>
                    <a:pt x="117693" y="1455"/>
                  </a:lnTo>
                  <a:lnTo>
                    <a:pt x="118484" y="164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10" name="ee4p_MN_1_82333">
              <a:extLst>
                <a:ext uri="{FF2B5EF4-FFF2-40B4-BE49-F238E27FC236}">
                  <a16:creationId xmlns:a16="http://schemas.microsoft.com/office/drawing/2014/main" id="{26926CB3-D863-5D9C-E86C-A86714B07133}"/>
                </a:ext>
              </a:extLst>
            </p:cNvPr>
            <p:cNvSpPr>
              <a:spLocks noChangeAspect="1"/>
            </p:cNvSpPr>
            <p:nvPr>
              <p:custDataLst>
                <p:tags r:id="rId38"/>
              </p:custDataLst>
            </p:nvPr>
          </p:nvSpPr>
          <p:spPr>
            <a:xfrm>
              <a:off x="8951270" y="3037320"/>
              <a:ext cx="892917" cy="378986"/>
            </a:xfrm>
            <a:custGeom>
              <a:avLst/>
              <a:gdLst/>
              <a:ahLst/>
              <a:cxnLst/>
              <a:rect l="0" t="0" r="0" b="0"/>
              <a:pathLst>
                <a:path w="711010" h="293779">
                  <a:moveTo>
                    <a:pt x="639928" y="66978"/>
                  </a:moveTo>
                  <a:lnTo>
                    <a:pt x="637860" y="70978"/>
                  </a:lnTo>
                  <a:lnTo>
                    <a:pt x="633711" y="78977"/>
                  </a:lnTo>
                  <a:lnTo>
                    <a:pt x="630200" y="85729"/>
                  </a:lnTo>
                  <a:lnTo>
                    <a:pt x="628349" y="89526"/>
                  </a:lnTo>
                  <a:lnTo>
                    <a:pt x="626991" y="92416"/>
                  </a:lnTo>
                  <a:lnTo>
                    <a:pt x="625579" y="95155"/>
                  </a:lnTo>
                  <a:lnTo>
                    <a:pt x="625383" y="96800"/>
                  </a:lnTo>
                  <a:lnTo>
                    <a:pt x="623798" y="99443"/>
                  </a:lnTo>
                  <a:lnTo>
                    <a:pt x="620850" y="102629"/>
                  </a:lnTo>
                  <a:lnTo>
                    <a:pt x="620213" y="106077"/>
                  </a:lnTo>
                  <a:lnTo>
                    <a:pt x="620321" y="109178"/>
                  </a:lnTo>
                  <a:lnTo>
                    <a:pt x="620077" y="111955"/>
                  </a:lnTo>
                  <a:lnTo>
                    <a:pt x="616846" y="113708"/>
                  </a:lnTo>
                  <a:lnTo>
                    <a:pt x="614318" y="115273"/>
                  </a:lnTo>
                  <a:lnTo>
                    <a:pt x="615037" y="120519"/>
                  </a:lnTo>
                  <a:lnTo>
                    <a:pt x="616337" y="122498"/>
                  </a:lnTo>
                  <a:lnTo>
                    <a:pt x="618444" y="124635"/>
                  </a:lnTo>
                  <a:lnTo>
                    <a:pt x="620655" y="126343"/>
                  </a:lnTo>
                  <a:lnTo>
                    <a:pt x="622569" y="127787"/>
                  </a:lnTo>
                  <a:lnTo>
                    <a:pt x="624683" y="127100"/>
                  </a:lnTo>
                  <a:lnTo>
                    <a:pt x="626473" y="124899"/>
                  </a:lnTo>
                  <a:lnTo>
                    <a:pt x="629931" y="122966"/>
                  </a:lnTo>
                  <a:lnTo>
                    <a:pt x="631832" y="122919"/>
                  </a:lnTo>
                  <a:lnTo>
                    <a:pt x="633182" y="123365"/>
                  </a:lnTo>
                  <a:lnTo>
                    <a:pt x="636173" y="123491"/>
                  </a:lnTo>
                  <a:lnTo>
                    <a:pt x="639235" y="122788"/>
                  </a:lnTo>
                  <a:lnTo>
                    <a:pt x="641636" y="122640"/>
                  </a:lnTo>
                  <a:lnTo>
                    <a:pt x="644746" y="123110"/>
                  </a:lnTo>
                  <a:lnTo>
                    <a:pt x="645862" y="123575"/>
                  </a:lnTo>
                  <a:lnTo>
                    <a:pt x="648473" y="124425"/>
                  </a:lnTo>
                  <a:lnTo>
                    <a:pt x="651289" y="126286"/>
                  </a:lnTo>
                  <a:lnTo>
                    <a:pt x="653253" y="128365"/>
                  </a:lnTo>
                  <a:lnTo>
                    <a:pt x="654687" y="128763"/>
                  </a:lnTo>
                  <a:lnTo>
                    <a:pt x="655422" y="128101"/>
                  </a:lnTo>
                  <a:lnTo>
                    <a:pt x="656993" y="126256"/>
                  </a:lnTo>
                  <a:lnTo>
                    <a:pt x="659211" y="124473"/>
                  </a:lnTo>
                  <a:lnTo>
                    <a:pt x="661893" y="121554"/>
                  </a:lnTo>
                  <a:lnTo>
                    <a:pt x="663921" y="119310"/>
                  </a:lnTo>
                  <a:lnTo>
                    <a:pt x="665514" y="118972"/>
                  </a:lnTo>
                  <a:lnTo>
                    <a:pt x="668583" y="118979"/>
                  </a:lnTo>
                  <a:lnTo>
                    <a:pt x="669969" y="118434"/>
                  </a:lnTo>
                  <a:lnTo>
                    <a:pt x="672295" y="118152"/>
                  </a:lnTo>
                  <a:lnTo>
                    <a:pt x="674342" y="118982"/>
                  </a:lnTo>
                  <a:lnTo>
                    <a:pt x="680065" y="119420"/>
                  </a:lnTo>
                  <a:lnTo>
                    <a:pt x="681598" y="120569"/>
                  </a:lnTo>
                  <a:lnTo>
                    <a:pt x="684313" y="123978"/>
                  </a:lnTo>
                  <a:lnTo>
                    <a:pt x="685847" y="125798"/>
                  </a:lnTo>
                  <a:lnTo>
                    <a:pt x="688508" y="126713"/>
                  </a:lnTo>
                  <a:lnTo>
                    <a:pt x="690118" y="127337"/>
                  </a:lnTo>
                  <a:lnTo>
                    <a:pt x="691544" y="127831"/>
                  </a:lnTo>
                  <a:lnTo>
                    <a:pt x="692967" y="128708"/>
                  </a:lnTo>
                  <a:lnTo>
                    <a:pt x="693306" y="129773"/>
                  </a:lnTo>
                  <a:lnTo>
                    <a:pt x="693874" y="131395"/>
                  </a:lnTo>
                  <a:lnTo>
                    <a:pt x="694746" y="132330"/>
                  </a:lnTo>
                  <a:lnTo>
                    <a:pt x="696357" y="133245"/>
                  </a:lnTo>
                  <a:lnTo>
                    <a:pt x="697585" y="133804"/>
                  </a:lnTo>
                  <a:lnTo>
                    <a:pt x="697979" y="134981"/>
                  </a:lnTo>
                  <a:lnTo>
                    <a:pt x="698363" y="135557"/>
                  </a:lnTo>
                  <a:lnTo>
                    <a:pt x="699484" y="136378"/>
                  </a:lnTo>
                  <a:lnTo>
                    <a:pt x="702808" y="139877"/>
                  </a:lnTo>
                  <a:lnTo>
                    <a:pt x="704427" y="140813"/>
                  </a:lnTo>
                  <a:lnTo>
                    <a:pt x="706880" y="142839"/>
                  </a:lnTo>
                  <a:lnTo>
                    <a:pt x="707899" y="144515"/>
                  </a:lnTo>
                  <a:lnTo>
                    <a:pt x="707958" y="146276"/>
                  </a:lnTo>
                  <a:lnTo>
                    <a:pt x="708590" y="147621"/>
                  </a:lnTo>
                  <a:lnTo>
                    <a:pt x="710231" y="149635"/>
                  </a:lnTo>
                  <a:lnTo>
                    <a:pt x="711009" y="150995"/>
                  </a:lnTo>
                  <a:lnTo>
                    <a:pt x="710706" y="152843"/>
                  </a:lnTo>
                  <a:lnTo>
                    <a:pt x="710965" y="154474"/>
                  </a:lnTo>
                  <a:lnTo>
                    <a:pt x="710330" y="156163"/>
                  </a:lnTo>
                  <a:lnTo>
                    <a:pt x="707683" y="157413"/>
                  </a:lnTo>
                  <a:lnTo>
                    <a:pt x="706781" y="158002"/>
                  </a:lnTo>
                  <a:lnTo>
                    <a:pt x="704869" y="158059"/>
                  </a:lnTo>
                  <a:lnTo>
                    <a:pt x="701637" y="157428"/>
                  </a:lnTo>
                  <a:lnTo>
                    <a:pt x="698493" y="157785"/>
                  </a:lnTo>
                  <a:lnTo>
                    <a:pt x="694740" y="157094"/>
                  </a:lnTo>
                  <a:lnTo>
                    <a:pt x="691786" y="155606"/>
                  </a:lnTo>
                  <a:lnTo>
                    <a:pt x="690208" y="154419"/>
                  </a:lnTo>
                  <a:lnTo>
                    <a:pt x="687705" y="153713"/>
                  </a:lnTo>
                  <a:lnTo>
                    <a:pt x="686519" y="154079"/>
                  </a:lnTo>
                  <a:lnTo>
                    <a:pt x="685029" y="155614"/>
                  </a:lnTo>
                  <a:lnTo>
                    <a:pt x="683388" y="155343"/>
                  </a:lnTo>
                  <a:lnTo>
                    <a:pt x="681879" y="155614"/>
                  </a:lnTo>
                  <a:lnTo>
                    <a:pt x="677985" y="155300"/>
                  </a:lnTo>
                  <a:lnTo>
                    <a:pt x="675869" y="154915"/>
                  </a:lnTo>
                  <a:lnTo>
                    <a:pt x="672511" y="155985"/>
                  </a:lnTo>
                  <a:lnTo>
                    <a:pt x="670620" y="156318"/>
                  </a:lnTo>
                  <a:lnTo>
                    <a:pt x="667062" y="157632"/>
                  </a:lnTo>
                  <a:lnTo>
                    <a:pt x="664919" y="159900"/>
                  </a:lnTo>
                  <a:lnTo>
                    <a:pt x="663321" y="160442"/>
                  </a:lnTo>
                  <a:lnTo>
                    <a:pt x="661770" y="160334"/>
                  </a:lnTo>
                  <a:lnTo>
                    <a:pt x="660651" y="159503"/>
                  </a:lnTo>
                  <a:lnTo>
                    <a:pt x="659023" y="158495"/>
                  </a:lnTo>
                  <a:lnTo>
                    <a:pt x="656618" y="158552"/>
                  </a:lnTo>
                  <a:lnTo>
                    <a:pt x="655899" y="158978"/>
                  </a:lnTo>
                  <a:lnTo>
                    <a:pt x="655603" y="159903"/>
                  </a:lnTo>
                  <a:lnTo>
                    <a:pt x="654810" y="162704"/>
                  </a:lnTo>
                  <a:lnTo>
                    <a:pt x="654824" y="163962"/>
                  </a:lnTo>
                  <a:lnTo>
                    <a:pt x="654303" y="164775"/>
                  </a:lnTo>
                  <a:lnTo>
                    <a:pt x="652880" y="165045"/>
                  </a:lnTo>
                  <a:lnTo>
                    <a:pt x="650380" y="164967"/>
                  </a:lnTo>
                  <a:lnTo>
                    <a:pt x="646462" y="164781"/>
                  </a:lnTo>
                  <a:lnTo>
                    <a:pt x="643815" y="164056"/>
                  </a:lnTo>
                  <a:lnTo>
                    <a:pt x="642221" y="164368"/>
                  </a:lnTo>
                  <a:lnTo>
                    <a:pt x="640051" y="165884"/>
                  </a:lnTo>
                  <a:lnTo>
                    <a:pt x="638514" y="166130"/>
                  </a:lnTo>
                  <a:lnTo>
                    <a:pt x="637259" y="166776"/>
                  </a:lnTo>
                  <a:lnTo>
                    <a:pt x="636244" y="169010"/>
                  </a:lnTo>
                  <a:lnTo>
                    <a:pt x="634655" y="170402"/>
                  </a:lnTo>
                  <a:lnTo>
                    <a:pt x="632727" y="172122"/>
                  </a:lnTo>
                  <a:lnTo>
                    <a:pt x="630669" y="175811"/>
                  </a:lnTo>
                  <a:lnTo>
                    <a:pt x="629528" y="177911"/>
                  </a:lnTo>
                  <a:lnTo>
                    <a:pt x="629885" y="179047"/>
                  </a:lnTo>
                  <a:lnTo>
                    <a:pt x="630140" y="180418"/>
                  </a:lnTo>
                  <a:lnTo>
                    <a:pt x="629190" y="181978"/>
                  </a:lnTo>
                  <a:lnTo>
                    <a:pt x="627249" y="183428"/>
                  </a:lnTo>
                  <a:lnTo>
                    <a:pt x="625694" y="183696"/>
                  </a:lnTo>
                  <a:lnTo>
                    <a:pt x="623364" y="185093"/>
                  </a:lnTo>
                  <a:lnTo>
                    <a:pt x="620157" y="187605"/>
                  </a:lnTo>
                  <a:lnTo>
                    <a:pt x="617766" y="189709"/>
                  </a:lnTo>
                  <a:lnTo>
                    <a:pt x="614635" y="190223"/>
                  </a:lnTo>
                  <a:lnTo>
                    <a:pt x="612424" y="190760"/>
                  </a:lnTo>
                  <a:lnTo>
                    <a:pt x="607516" y="191412"/>
                  </a:lnTo>
                  <a:lnTo>
                    <a:pt x="606303" y="191576"/>
                  </a:lnTo>
                  <a:lnTo>
                    <a:pt x="600921" y="191904"/>
                  </a:lnTo>
                  <a:lnTo>
                    <a:pt x="596930" y="190769"/>
                  </a:lnTo>
                  <a:lnTo>
                    <a:pt x="594842" y="190943"/>
                  </a:lnTo>
                  <a:lnTo>
                    <a:pt x="592981" y="191583"/>
                  </a:lnTo>
                  <a:lnTo>
                    <a:pt x="592031" y="192279"/>
                  </a:lnTo>
                  <a:lnTo>
                    <a:pt x="591700" y="193604"/>
                  </a:lnTo>
                  <a:lnTo>
                    <a:pt x="591370" y="194826"/>
                  </a:lnTo>
                  <a:lnTo>
                    <a:pt x="589862" y="196720"/>
                  </a:lnTo>
                  <a:lnTo>
                    <a:pt x="586809" y="199230"/>
                  </a:lnTo>
                  <a:lnTo>
                    <a:pt x="584296" y="200900"/>
                  </a:lnTo>
                  <a:lnTo>
                    <a:pt x="582370" y="203052"/>
                  </a:lnTo>
                  <a:lnTo>
                    <a:pt x="581264" y="203832"/>
                  </a:lnTo>
                  <a:lnTo>
                    <a:pt x="579065" y="204659"/>
                  </a:lnTo>
                  <a:lnTo>
                    <a:pt x="577876" y="205099"/>
                  </a:lnTo>
                  <a:lnTo>
                    <a:pt x="575114" y="207017"/>
                  </a:lnTo>
                  <a:lnTo>
                    <a:pt x="572914" y="208720"/>
                  </a:lnTo>
                  <a:lnTo>
                    <a:pt x="571463" y="209204"/>
                  </a:lnTo>
                  <a:lnTo>
                    <a:pt x="569713" y="208751"/>
                  </a:lnTo>
                  <a:lnTo>
                    <a:pt x="568558" y="208612"/>
                  </a:lnTo>
                  <a:lnTo>
                    <a:pt x="565138" y="207952"/>
                  </a:lnTo>
                  <a:lnTo>
                    <a:pt x="562818" y="207865"/>
                  </a:lnTo>
                  <a:lnTo>
                    <a:pt x="559575" y="207441"/>
                  </a:lnTo>
                  <a:lnTo>
                    <a:pt x="551998" y="205447"/>
                  </a:lnTo>
                  <a:lnTo>
                    <a:pt x="549566" y="204512"/>
                  </a:lnTo>
                  <a:lnTo>
                    <a:pt x="547412" y="201964"/>
                  </a:lnTo>
                  <a:lnTo>
                    <a:pt x="545466" y="200672"/>
                  </a:lnTo>
                  <a:lnTo>
                    <a:pt x="542829" y="200539"/>
                  </a:lnTo>
                  <a:lnTo>
                    <a:pt x="538866" y="200542"/>
                  </a:lnTo>
                  <a:lnTo>
                    <a:pt x="537091" y="200031"/>
                  </a:lnTo>
                  <a:lnTo>
                    <a:pt x="534116" y="200512"/>
                  </a:lnTo>
                  <a:lnTo>
                    <a:pt x="530866" y="203095"/>
                  </a:lnTo>
                  <a:lnTo>
                    <a:pt x="529327" y="205017"/>
                  </a:lnTo>
                  <a:lnTo>
                    <a:pt x="527996" y="206983"/>
                  </a:lnTo>
                  <a:lnTo>
                    <a:pt x="526364" y="211188"/>
                  </a:lnTo>
                  <a:lnTo>
                    <a:pt x="525641" y="213995"/>
                  </a:lnTo>
                  <a:lnTo>
                    <a:pt x="525081" y="215580"/>
                  </a:lnTo>
                  <a:lnTo>
                    <a:pt x="523345" y="218091"/>
                  </a:lnTo>
                  <a:lnTo>
                    <a:pt x="523153" y="219501"/>
                  </a:lnTo>
                  <a:lnTo>
                    <a:pt x="523757" y="220721"/>
                  </a:lnTo>
                  <a:lnTo>
                    <a:pt x="525010" y="222098"/>
                  </a:lnTo>
                  <a:lnTo>
                    <a:pt x="525751" y="224260"/>
                  </a:lnTo>
                  <a:lnTo>
                    <a:pt x="527584" y="226558"/>
                  </a:lnTo>
                  <a:lnTo>
                    <a:pt x="529379" y="228345"/>
                  </a:lnTo>
                  <a:lnTo>
                    <a:pt x="532764" y="231226"/>
                  </a:lnTo>
                  <a:lnTo>
                    <a:pt x="533723" y="232733"/>
                  </a:lnTo>
                  <a:lnTo>
                    <a:pt x="534861" y="234461"/>
                  </a:lnTo>
                  <a:lnTo>
                    <a:pt x="535107" y="236149"/>
                  </a:lnTo>
                  <a:lnTo>
                    <a:pt x="534893" y="237256"/>
                  </a:lnTo>
                  <a:lnTo>
                    <a:pt x="533675" y="238099"/>
                  </a:lnTo>
                  <a:lnTo>
                    <a:pt x="531309" y="238519"/>
                  </a:lnTo>
                  <a:lnTo>
                    <a:pt x="530173" y="239691"/>
                  </a:lnTo>
                  <a:lnTo>
                    <a:pt x="528428" y="241253"/>
                  </a:lnTo>
                  <a:lnTo>
                    <a:pt x="526362" y="243055"/>
                  </a:lnTo>
                  <a:lnTo>
                    <a:pt x="525392" y="243150"/>
                  </a:lnTo>
                  <a:lnTo>
                    <a:pt x="524232" y="243631"/>
                  </a:lnTo>
                  <a:lnTo>
                    <a:pt x="518389" y="245862"/>
                  </a:lnTo>
                  <a:lnTo>
                    <a:pt x="516172" y="246487"/>
                  </a:lnTo>
                  <a:lnTo>
                    <a:pt x="514418" y="247223"/>
                  </a:lnTo>
                  <a:lnTo>
                    <a:pt x="512341" y="249494"/>
                  </a:lnTo>
                  <a:lnTo>
                    <a:pt x="510711" y="251181"/>
                  </a:lnTo>
                  <a:lnTo>
                    <a:pt x="508698" y="253416"/>
                  </a:lnTo>
                  <a:lnTo>
                    <a:pt x="507815" y="254406"/>
                  </a:lnTo>
                  <a:lnTo>
                    <a:pt x="506023" y="256641"/>
                  </a:lnTo>
                  <a:lnTo>
                    <a:pt x="503665" y="259192"/>
                  </a:lnTo>
                  <a:lnTo>
                    <a:pt x="502355" y="260561"/>
                  </a:lnTo>
                  <a:lnTo>
                    <a:pt x="501645" y="261378"/>
                  </a:lnTo>
                  <a:lnTo>
                    <a:pt x="501000" y="262445"/>
                  </a:lnTo>
                  <a:lnTo>
                    <a:pt x="498533" y="263273"/>
                  </a:lnTo>
                  <a:lnTo>
                    <a:pt x="496500" y="264148"/>
                  </a:lnTo>
                  <a:lnTo>
                    <a:pt x="493429" y="265468"/>
                  </a:lnTo>
                  <a:lnTo>
                    <a:pt x="489024" y="266919"/>
                  </a:lnTo>
                  <a:lnTo>
                    <a:pt x="485470" y="268319"/>
                  </a:lnTo>
                  <a:lnTo>
                    <a:pt x="483202" y="269473"/>
                  </a:lnTo>
                  <a:lnTo>
                    <a:pt x="479834" y="270929"/>
                  </a:lnTo>
                  <a:lnTo>
                    <a:pt x="477549" y="271398"/>
                  </a:lnTo>
                  <a:lnTo>
                    <a:pt x="472945" y="271339"/>
                  </a:lnTo>
                  <a:lnTo>
                    <a:pt x="467259" y="271715"/>
                  </a:lnTo>
                  <a:lnTo>
                    <a:pt x="463120" y="271991"/>
                  </a:lnTo>
                  <a:lnTo>
                    <a:pt x="460006" y="271640"/>
                  </a:lnTo>
                  <a:lnTo>
                    <a:pt x="455307" y="271441"/>
                  </a:lnTo>
                  <a:lnTo>
                    <a:pt x="451707" y="271160"/>
                  </a:lnTo>
                  <a:lnTo>
                    <a:pt x="449300" y="271696"/>
                  </a:lnTo>
                  <a:lnTo>
                    <a:pt x="443631" y="272264"/>
                  </a:lnTo>
                  <a:lnTo>
                    <a:pt x="442366" y="272394"/>
                  </a:lnTo>
                  <a:lnTo>
                    <a:pt x="432275" y="273772"/>
                  </a:lnTo>
                  <a:lnTo>
                    <a:pt x="427816" y="274511"/>
                  </a:lnTo>
                  <a:lnTo>
                    <a:pt x="423732" y="274847"/>
                  </a:lnTo>
                  <a:lnTo>
                    <a:pt x="420725" y="275384"/>
                  </a:lnTo>
                  <a:lnTo>
                    <a:pt x="419025" y="276053"/>
                  </a:lnTo>
                  <a:lnTo>
                    <a:pt x="416503" y="277017"/>
                  </a:lnTo>
                  <a:lnTo>
                    <a:pt x="415168" y="277437"/>
                  </a:lnTo>
                  <a:lnTo>
                    <a:pt x="410711" y="279325"/>
                  </a:lnTo>
                  <a:lnTo>
                    <a:pt x="400769" y="283219"/>
                  </a:lnTo>
                  <a:lnTo>
                    <a:pt x="394110" y="286373"/>
                  </a:lnTo>
                  <a:lnTo>
                    <a:pt x="393019" y="286913"/>
                  </a:lnTo>
                  <a:lnTo>
                    <a:pt x="388537" y="289135"/>
                  </a:lnTo>
                  <a:lnTo>
                    <a:pt x="385943" y="290005"/>
                  </a:lnTo>
                  <a:lnTo>
                    <a:pt x="384138" y="291985"/>
                  </a:lnTo>
                  <a:lnTo>
                    <a:pt x="382704" y="293238"/>
                  </a:lnTo>
                  <a:lnTo>
                    <a:pt x="381188" y="293778"/>
                  </a:lnTo>
                  <a:lnTo>
                    <a:pt x="378498" y="292501"/>
                  </a:lnTo>
                  <a:lnTo>
                    <a:pt x="376580" y="292570"/>
                  </a:lnTo>
                  <a:lnTo>
                    <a:pt x="370491" y="292106"/>
                  </a:lnTo>
                  <a:lnTo>
                    <a:pt x="370491" y="286323"/>
                  </a:lnTo>
                  <a:lnTo>
                    <a:pt x="366222" y="287141"/>
                  </a:lnTo>
                  <a:lnTo>
                    <a:pt x="359413" y="288444"/>
                  </a:lnTo>
                  <a:lnTo>
                    <a:pt x="353086" y="289654"/>
                  </a:lnTo>
                  <a:lnTo>
                    <a:pt x="347305" y="286883"/>
                  </a:lnTo>
                  <a:lnTo>
                    <a:pt x="342842" y="284743"/>
                  </a:lnTo>
                  <a:lnTo>
                    <a:pt x="338972" y="282901"/>
                  </a:lnTo>
                  <a:lnTo>
                    <a:pt x="333091" y="281678"/>
                  </a:lnTo>
                  <a:lnTo>
                    <a:pt x="327968" y="280614"/>
                  </a:lnTo>
                  <a:lnTo>
                    <a:pt x="318713" y="278859"/>
                  </a:lnTo>
                  <a:lnTo>
                    <a:pt x="314651" y="277323"/>
                  </a:lnTo>
                  <a:lnTo>
                    <a:pt x="312593" y="275288"/>
                  </a:lnTo>
                  <a:lnTo>
                    <a:pt x="308922" y="270666"/>
                  </a:lnTo>
                  <a:lnTo>
                    <a:pt x="307730" y="269753"/>
                  </a:lnTo>
                  <a:lnTo>
                    <a:pt x="305943" y="269127"/>
                  </a:lnTo>
                  <a:lnTo>
                    <a:pt x="304089" y="268720"/>
                  </a:lnTo>
                  <a:lnTo>
                    <a:pt x="300076" y="268744"/>
                  </a:lnTo>
                  <a:lnTo>
                    <a:pt x="295171" y="268385"/>
                  </a:lnTo>
                  <a:lnTo>
                    <a:pt x="288108" y="267412"/>
                  </a:lnTo>
                  <a:lnTo>
                    <a:pt x="282502" y="266637"/>
                  </a:lnTo>
                  <a:lnTo>
                    <a:pt x="272934" y="265196"/>
                  </a:lnTo>
                  <a:lnTo>
                    <a:pt x="270666" y="265020"/>
                  </a:lnTo>
                  <a:lnTo>
                    <a:pt x="265661" y="266300"/>
                  </a:lnTo>
                  <a:lnTo>
                    <a:pt x="259259" y="267935"/>
                  </a:lnTo>
                  <a:lnTo>
                    <a:pt x="247738" y="266653"/>
                  </a:lnTo>
                  <a:lnTo>
                    <a:pt x="242640" y="266052"/>
                  </a:lnTo>
                  <a:lnTo>
                    <a:pt x="232290" y="264829"/>
                  </a:lnTo>
                  <a:lnTo>
                    <a:pt x="220587" y="263445"/>
                  </a:lnTo>
                  <a:lnTo>
                    <a:pt x="209236" y="262014"/>
                  </a:lnTo>
                  <a:lnTo>
                    <a:pt x="200996" y="262805"/>
                  </a:lnTo>
                  <a:lnTo>
                    <a:pt x="196404" y="263243"/>
                  </a:lnTo>
                  <a:lnTo>
                    <a:pt x="191100" y="263871"/>
                  </a:lnTo>
                  <a:lnTo>
                    <a:pt x="190367" y="263165"/>
                  </a:lnTo>
                  <a:lnTo>
                    <a:pt x="190150" y="260422"/>
                  </a:lnTo>
                  <a:lnTo>
                    <a:pt x="189199" y="258297"/>
                  </a:lnTo>
                  <a:lnTo>
                    <a:pt x="186302" y="255998"/>
                  </a:lnTo>
                  <a:lnTo>
                    <a:pt x="184352" y="253809"/>
                  </a:lnTo>
                  <a:lnTo>
                    <a:pt x="180642" y="250848"/>
                  </a:lnTo>
                  <a:lnTo>
                    <a:pt x="179471" y="248981"/>
                  </a:lnTo>
                  <a:lnTo>
                    <a:pt x="179083" y="246086"/>
                  </a:lnTo>
                  <a:lnTo>
                    <a:pt x="175662" y="238534"/>
                  </a:lnTo>
                  <a:lnTo>
                    <a:pt x="173537" y="233417"/>
                  </a:lnTo>
                  <a:lnTo>
                    <a:pt x="173007" y="232373"/>
                  </a:lnTo>
                  <a:lnTo>
                    <a:pt x="172086" y="230704"/>
                  </a:lnTo>
                  <a:lnTo>
                    <a:pt x="170886" y="229832"/>
                  </a:lnTo>
                  <a:lnTo>
                    <a:pt x="168346" y="229297"/>
                  </a:lnTo>
                  <a:lnTo>
                    <a:pt x="167664" y="228393"/>
                  </a:lnTo>
                  <a:lnTo>
                    <a:pt x="167664" y="226618"/>
                  </a:lnTo>
                  <a:lnTo>
                    <a:pt x="168063" y="224165"/>
                  </a:lnTo>
                  <a:lnTo>
                    <a:pt x="168575" y="222372"/>
                  </a:lnTo>
                  <a:lnTo>
                    <a:pt x="168210" y="221923"/>
                  </a:lnTo>
                  <a:lnTo>
                    <a:pt x="161566" y="222429"/>
                  </a:lnTo>
                  <a:lnTo>
                    <a:pt x="157502" y="221238"/>
                  </a:lnTo>
                  <a:lnTo>
                    <a:pt x="154097" y="219948"/>
                  </a:lnTo>
                  <a:lnTo>
                    <a:pt x="149283" y="216642"/>
                  </a:lnTo>
                  <a:lnTo>
                    <a:pt x="146417" y="215365"/>
                  </a:lnTo>
                  <a:lnTo>
                    <a:pt x="142760" y="211944"/>
                  </a:lnTo>
                  <a:lnTo>
                    <a:pt x="137422" y="211133"/>
                  </a:lnTo>
                  <a:lnTo>
                    <a:pt x="135437" y="209790"/>
                  </a:lnTo>
                  <a:lnTo>
                    <a:pt x="132941" y="206853"/>
                  </a:lnTo>
                  <a:lnTo>
                    <a:pt x="130756" y="204968"/>
                  </a:lnTo>
                  <a:lnTo>
                    <a:pt x="127655" y="203780"/>
                  </a:lnTo>
                  <a:lnTo>
                    <a:pt x="122748" y="202723"/>
                  </a:lnTo>
                  <a:lnTo>
                    <a:pt x="114383" y="201712"/>
                  </a:lnTo>
                  <a:lnTo>
                    <a:pt x="111550" y="201286"/>
                  </a:lnTo>
                  <a:lnTo>
                    <a:pt x="106929" y="201963"/>
                  </a:lnTo>
                  <a:lnTo>
                    <a:pt x="103500" y="202019"/>
                  </a:lnTo>
                  <a:lnTo>
                    <a:pt x="97946" y="201299"/>
                  </a:lnTo>
                  <a:lnTo>
                    <a:pt x="94786" y="200390"/>
                  </a:lnTo>
                  <a:lnTo>
                    <a:pt x="90874" y="200367"/>
                  </a:lnTo>
                  <a:lnTo>
                    <a:pt x="88330" y="200378"/>
                  </a:lnTo>
                  <a:lnTo>
                    <a:pt x="84937" y="200171"/>
                  </a:lnTo>
                  <a:lnTo>
                    <a:pt x="83294" y="199576"/>
                  </a:lnTo>
                  <a:lnTo>
                    <a:pt x="81768" y="198851"/>
                  </a:lnTo>
                  <a:lnTo>
                    <a:pt x="78918" y="199033"/>
                  </a:lnTo>
                  <a:lnTo>
                    <a:pt x="76920" y="198310"/>
                  </a:lnTo>
                  <a:lnTo>
                    <a:pt x="75061" y="196957"/>
                  </a:lnTo>
                  <a:lnTo>
                    <a:pt x="73122" y="196314"/>
                  </a:lnTo>
                  <a:lnTo>
                    <a:pt x="70990" y="196355"/>
                  </a:lnTo>
                  <a:lnTo>
                    <a:pt x="70114" y="196957"/>
                  </a:lnTo>
                  <a:lnTo>
                    <a:pt x="69302" y="196898"/>
                  </a:lnTo>
                  <a:lnTo>
                    <a:pt x="68770" y="195068"/>
                  </a:lnTo>
                  <a:lnTo>
                    <a:pt x="66780" y="192113"/>
                  </a:lnTo>
                  <a:lnTo>
                    <a:pt x="66480" y="190788"/>
                  </a:lnTo>
                  <a:lnTo>
                    <a:pt x="65260" y="189258"/>
                  </a:lnTo>
                  <a:lnTo>
                    <a:pt x="64538" y="187869"/>
                  </a:lnTo>
                  <a:lnTo>
                    <a:pt x="64735" y="185946"/>
                  </a:lnTo>
                  <a:lnTo>
                    <a:pt x="65596" y="182213"/>
                  </a:lnTo>
                  <a:lnTo>
                    <a:pt x="67503" y="178833"/>
                  </a:lnTo>
                  <a:lnTo>
                    <a:pt x="68753" y="177953"/>
                  </a:lnTo>
                  <a:lnTo>
                    <a:pt x="69520" y="176954"/>
                  </a:lnTo>
                  <a:lnTo>
                    <a:pt x="71126" y="175203"/>
                  </a:lnTo>
                  <a:lnTo>
                    <a:pt x="72055" y="173802"/>
                  </a:lnTo>
                  <a:lnTo>
                    <a:pt x="71945" y="171890"/>
                  </a:lnTo>
                  <a:lnTo>
                    <a:pt x="70856" y="169890"/>
                  </a:lnTo>
                  <a:lnTo>
                    <a:pt x="70059" y="167306"/>
                  </a:lnTo>
                  <a:lnTo>
                    <a:pt x="70209" y="165821"/>
                  </a:lnTo>
                  <a:lnTo>
                    <a:pt x="71386" y="164054"/>
                  </a:lnTo>
                  <a:lnTo>
                    <a:pt x="72765" y="160142"/>
                  </a:lnTo>
                  <a:lnTo>
                    <a:pt x="72655" y="159112"/>
                  </a:lnTo>
                  <a:lnTo>
                    <a:pt x="72111" y="158287"/>
                  </a:lnTo>
                  <a:lnTo>
                    <a:pt x="71968" y="156471"/>
                  </a:lnTo>
                  <a:lnTo>
                    <a:pt x="71701" y="154024"/>
                  </a:lnTo>
                  <a:lnTo>
                    <a:pt x="70038" y="150286"/>
                  </a:lnTo>
                  <a:lnTo>
                    <a:pt x="69140" y="148299"/>
                  </a:lnTo>
                  <a:lnTo>
                    <a:pt x="67572" y="147443"/>
                  </a:lnTo>
                  <a:lnTo>
                    <a:pt x="65726" y="146922"/>
                  </a:lnTo>
                  <a:lnTo>
                    <a:pt x="64130" y="144229"/>
                  </a:lnTo>
                  <a:lnTo>
                    <a:pt x="62130" y="141050"/>
                  </a:lnTo>
                  <a:lnTo>
                    <a:pt x="60876" y="139059"/>
                  </a:lnTo>
                  <a:lnTo>
                    <a:pt x="60440" y="137836"/>
                  </a:lnTo>
                  <a:lnTo>
                    <a:pt x="60241" y="135613"/>
                  </a:lnTo>
                  <a:lnTo>
                    <a:pt x="59306" y="132922"/>
                  </a:lnTo>
                  <a:lnTo>
                    <a:pt x="58321" y="131447"/>
                  </a:lnTo>
                  <a:lnTo>
                    <a:pt x="57587" y="130315"/>
                  </a:lnTo>
                  <a:lnTo>
                    <a:pt x="57216" y="128679"/>
                  </a:lnTo>
                  <a:lnTo>
                    <a:pt x="56831" y="128089"/>
                  </a:lnTo>
                  <a:lnTo>
                    <a:pt x="54128" y="127360"/>
                  </a:lnTo>
                  <a:lnTo>
                    <a:pt x="52187" y="126141"/>
                  </a:lnTo>
                  <a:lnTo>
                    <a:pt x="51377" y="124505"/>
                  </a:lnTo>
                  <a:lnTo>
                    <a:pt x="51096" y="123183"/>
                  </a:lnTo>
                  <a:lnTo>
                    <a:pt x="50522" y="122417"/>
                  </a:lnTo>
                  <a:lnTo>
                    <a:pt x="48991" y="122173"/>
                  </a:lnTo>
                  <a:lnTo>
                    <a:pt x="47923" y="123357"/>
                  </a:lnTo>
                  <a:lnTo>
                    <a:pt x="46175" y="123949"/>
                  </a:lnTo>
                  <a:lnTo>
                    <a:pt x="44998" y="123845"/>
                  </a:lnTo>
                  <a:lnTo>
                    <a:pt x="43836" y="123127"/>
                  </a:lnTo>
                  <a:lnTo>
                    <a:pt x="43119" y="122376"/>
                  </a:lnTo>
                  <a:lnTo>
                    <a:pt x="41910" y="121532"/>
                  </a:lnTo>
                  <a:lnTo>
                    <a:pt x="40195" y="118856"/>
                  </a:lnTo>
                  <a:lnTo>
                    <a:pt x="38388" y="118148"/>
                  </a:lnTo>
                  <a:lnTo>
                    <a:pt x="35086" y="118267"/>
                  </a:lnTo>
                  <a:lnTo>
                    <a:pt x="32132" y="119507"/>
                  </a:lnTo>
                  <a:lnTo>
                    <a:pt x="30349" y="119315"/>
                  </a:lnTo>
                  <a:lnTo>
                    <a:pt x="28846" y="118896"/>
                  </a:lnTo>
                  <a:lnTo>
                    <a:pt x="27153" y="117558"/>
                  </a:lnTo>
                  <a:lnTo>
                    <a:pt x="25974" y="116455"/>
                  </a:lnTo>
                  <a:lnTo>
                    <a:pt x="24216" y="116097"/>
                  </a:lnTo>
                  <a:lnTo>
                    <a:pt x="20757" y="114151"/>
                  </a:lnTo>
                  <a:lnTo>
                    <a:pt x="18416" y="112749"/>
                  </a:lnTo>
                  <a:lnTo>
                    <a:pt x="18213" y="109996"/>
                  </a:lnTo>
                  <a:lnTo>
                    <a:pt x="17114" y="108097"/>
                  </a:lnTo>
                  <a:lnTo>
                    <a:pt x="14833" y="107560"/>
                  </a:lnTo>
                  <a:lnTo>
                    <a:pt x="12534" y="105613"/>
                  </a:lnTo>
                  <a:lnTo>
                    <a:pt x="9178" y="104564"/>
                  </a:lnTo>
                  <a:lnTo>
                    <a:pt x="7064" y="103747"/>
                  </a:lnTo>
                  <a:lnTo>
                    <a:pt x="5231" y="103257"/>
                  </a:lnTo>
                  <a:lnTo>
                    <a:pt x="4959" y="102521"/>
                  </a:lnTo>
                  <a:lnTo>
                    <a:pt x="5066" y="101888"/>
                  </a:lnTo>
                  <a:lnTo>
                    <a:pt x="5915" y="100834"/>
                  </a:lnTo>
                  <a:lnTo>
                    <a:pt x="6790" y="99850"/>
                  </a:lnTo>
                  <a:lnTo>
                    <a:pt x="7008" y="98936"/>
                  </a:lnTo>
                  <a:lnTo>
                    <a:pt x="6297" y="98128"/>
                  </a:lnTo>
                  <a:lnTo>
                    <a:pt x="4401" y="97283"/>
                  </a:lnTo>
                  <a:lnTo>
                    <a:pt x="1961" y="96533"/>
                  </a:lnTo>
                  <a:lnTo>
                    <a:pt x="1460" y="95277"/>
                  </a:lnTo>
                  <a:lnTo>
                    <a:pt x="0" y="93970"/>
                  </a:lnTo>
                  <a:lnTo>
                    <a:pt x="255" y="92917"/>
                  </a:lnTo>
                  <a:lnTo>
                    <a:pt x="1408" y="92149"/>
                  </a:lnTo>
                  <a:lnTo>
                    <a:pt x="2581" y="91578"/>
                  </a:lnTo>
                  <a:lnTo>
                    <a:pt x="2853" y="90591"/>
                  </a:lnTo>
                  <a:lnTo>
                    <a:pt x="2024" y="89683"/>
                  </a:lnTo>
                  <a:lnTo>
                    <a:pt x="1618" y="88303"/>
                  </a:lnTo>
                  <a:lnTo>
                    <a:pt x="1814" y="87274"/>
                  </a:lnTo>
                  <a:lnTo>
                    <a:pt x="1572" y="85959"/>
                  </a:lnTo>
                  <a:lnTo>
                    <a:pt x="1661" y="85965"/>
                  </a:lnTo>
                  <a:lnTo>
                    <a:pt x="4237" y="85895"/>
                  </a:lnTo>
                  <a:lnTo>
                    <a:pt x="5416" y="85256"/>
                  </a:lnTo>
                  <a:lnTo>
                    <a:pt x="6310" y="84316"/>
                  </a:lnTo>
                  <a:lnTo>
                    <a:pt x="8239" y="83271"/>
                  </a:lnTo>
                  <a:lnTo>
                    <a:pt x="8649" y="82065"/>
                  </a:lnTo>
                  <a:lnTo>
                    <a:pt x="8677" y="79686"/>
                  </a:lnTo>
                  <a:lnTo>
                    <a:pt x="9938" y="77673"/>
                  </a:lnTo>
                  <a:lnTo>
                    <a:pt x="13149" y="77074"/>
                  </a:lnTo>
                  <a:lnTo>
                    <a:pt x="14378" y="76779"/>
                  </a:lnTo>
                  <a:lnTo>
                    <a:pt x="15684" y="77070"/>
                  </a:lnTo>
                  <a:lnTo>
                    <a:pt x="17716" y="76787"/>
                  </a:lnTo>
                  <a:lnTo>
                    <a:pt x="19681" y="76685"/>
                  </a:lnTo>
                  <a:lnTo>
                    <a:pt x="20776" y="77304"/>
                  </a:lnTo>
                  <a:lnTo>
                    <a:pt x="22216" y="77829"/>
                  </a:lnTo>
                  <a:lnTo>
                    <a:pt x="24069" y="77766"/>
                  </a:lnTo>
                  <a:lnTo>
                    <a:pt x="24704" y="76816"/>
                  </a:lnTo>
                  <a:lnTo>
                    <a:pt x="24781" y="75494"/>
                  </a:lnTo>
                  <a:lnTo>
                    <a:pt x="25585" y="75147"/>
                  </a:lnTo>
                  <a:lnTo>
                    <a:pt x="26585" y="76067"/>
                  </a:lnTo>
                  <a:lnTo>
                    <a:pt x="27142" y="76754"/>
                  </a:lnTo>
                  <a:lnTo>
                    <a:pt x="27977" y="77068"/>
                  </a:lnTo>
                  <a:lnTo>
                    <a:pt x="30213" y="76248"/>
                  </a:lnTo>
                  <a:lnTo>
                    <a:pt x="31772" y="75362"/>
                  </a:lnTo>
                  <a:lnTo>
                    <a:pt x="32279" y="73539"/>
                  </a:lnTo>
                  <a:lnTo>
                    <a:pt x="33186" y="72638"/>
                  </a:lnTo>
                  <a:lnTo>
                    <a:pt x="34408" y="73096"/>
                  </a:lnTo>
                  <a:lnTo>
                    <a:pt x="36540" y="73084"/>
                  </a:lnTo>
                  <a:lnTo>
                    <a:pt x="38295" y="71675"/>
                  </a:lnTo>
                  <a:lnTo>
                    <a:pt x="40599" y="70549"/>
                  </a:lnTo>
                  <a:lnTo>
                    <a:pt x="42256" y="70038"/>
                  </a:lnTo>
                  <a:lnTo>
                    <a:pt x="42597" y="69088"/>
                  </a:lnTo>
                  <a:lnTo>
                    <a:pt x="41817" y="66992"/>
                  </a:lnTo>
                  <a:lnTo>
                    <a:pt x="42028" y="64694"/>
                  </a:lnTo>
                  <a:lnTo>
                    <a:pt x="44248" y="63394"/>
                  </a:lnTo>
                  <a:lnTo>
                    <a:pt x="47207" y="63238"/>
                  </a:lnTo>
                  <a:lnTo>
                    <a:pt x="49403" y="62349"/>
                  </a:lnTo>
                  <a:lnTo>
                    <a:pt x="50014" y="59896"/>
                  </a:lnTo>
                  <a:lnTo>
                    <a:pt x="51091" y="59189"/>
                  </a:lnTo>
                  <a:lnTo>
                    <a:pt x="52198" y="58912"/>
                  </a:lnTo>
                  <a:lnTo>
                    <a:pt x="54868" y="58525"/>
                  </a:lnTo>
                  <a:lnTo>
                    <a:pt x="56788" y="57529"/>
                  </a:lnTo>
                  <a:lnTo>
                    <a:pt x="57972" y="57074"/>
                  </a:lnTo>
                  <a:lnTo>
                    <a:pt x="61333" y="55731"/>
                  </a:lnTo>
                  <a:lnTo>
                    <a:pt x="64389" y="55469"/>
                  </a:lnTo>
                  <a:lnTo>
                    <a:pt x="65700" y="54397"/>
                  </a:lnTo>
                  <a:lnTo>
                    <a:pt x="66725" y="53049"/>
                  </a:lnTo>
                  <a:lnTo>
                    <a:pt x="68436" y="52534"/>
                  </a:lnTo>
                  <a:lnTo>
                    <a:pt x="70185" y="51362"/>
                  </a:lnTo>
                  <a:lnTo>
                    <a:pt x="72493" y="49874"/>
                  </a:lnTo>
                  <a:lnTo>
                    <a:pt x="73404" y="49667"/>
                  </a:lnTo>
                  <a:lnTo>
                    <a:pt x="77185" y="48803"/>
                  </a:lnTo>
                  <a:lnTo>
                    <a:pt x="78663" y="48484"/>
                  </a:lnTo>
                  <a:lnTo>
                    <a:pt x="79553" y="48290"/>
                  </a:lnTo>
                  <a:lnTo>
                    <a:pt x="81194" y="48350"/>
                  </a:lnTo>
                  <a:lnTo>
                    <a:pt x="81889" y="46777"/>
                  </a:lnTo>
                  <a:lnTo>
                    <a:pt x="83552" y="45620"/>
                  </a:lnTo>
                  <a:lnTo>
                    <a:pt x="85214" y="45227"/>
                  </a:lnTo>
                  <a:lnTo>
                    <a:pt x="86039" y="44076"/>
                  </a:lnTo>
                  <a:lnTo>
                    <a:pt x="87635" y="42610"/>
                  </a:lnTo>
                  <a:lnTo>
                    <a:pt x="89801" y="41793"/>
                  </a:lnTo>
                  <a:lnTo>
                    <a:pt x="93167" y="41676"/>
                  </a:lnTo>
                  <a:lnTo>
                    <a:pt x="96428" y="41840"/>
                  </a:lnTo>
                  <a:lnTo>
                    <a:pt x="98382" y="41590"/>
                  </a:lnTo>
                  <a:lnTo>
                    <a:pt x="99995" y="39417"/>
                  </a:lnTo>
                  <a:lnTo>
                    <a:pt x="100298" y="38339"/>
                  </a:lnTo>
                  <a:lnTo>
                    <a:pt x="100669" y="37243"/>
                  </a:lnTo>
                  <a:lnTo>
                    <a:pt x="101973" y="36824"/>
                  </a:lnTo>
                  <a:lnTo>
                    <a:pt x="103556" y="38605"/>
                  </a:lnTo>
                  <a:lnTo>
                    <a:pt x="104884" y="39712"/>
                  </a:lnTo>
                  <a:lnTo>
                    <a:pt x="106929" y="40866"/>
                  </a:lnTo>
                  <a:lnTo>
                    <a:pt x="107985" y="41948"/>
                  </a:lnTo>
                  <a:lnTo>
                    <a:pt x="109194" y="42096"/>
                  </a:lnTo>
                  <a:lnTo>
                    <a:pt x="110461" y="41289"/>
                  </a:lnTo>
                  <a:lnTo>
                    <a:pt x="111360" y="39316"/>
                  </a:lnTo>
                  <a:lnTo>
                    <a:pt x="113066" y="39012"/>
                  </a:lnTo>
                  <a:lnTo>
                    <a:pt x="114943" y="39329"/>
                  </a:lnTo>
                  <a:lnTo>
                    <a:pt x="115435" y="40299"/>
                  </a:lnTo>
                  <a:lnTo>
                    <a:pt x="115592" y="41243"/>
                  </a:lnTo>
                  <a:lnTo>
                    <a:pt x="116458" y="42930"/>
                  </a:lnTo>
                  <a:lnTo>
                    <a:pt x="118521" y="44402"/>
                  </a:lnTo>
                  <a:lnTo>
                    <a:pt x="121162" y="44326"/>
                  </a:lnTo>
                  <a:lnTo>
                    <a:pt x="122222" y="44063"/>
                  </a:lnTo>
                  <a:lnTo>
                    <a:pt x="124794" y="44269"/>
                  </a:lnTo>
                  <a:lnTo>
                    <a:pt x="127320" y="44589"/>
                  </a:lnTo>
                  <a:lnTo>
                    <a:pt x="130073" y="44936"/>
                  </a:lnTo>
                  <a:lnTo>
                    <a:pt x="130879" y="44990"/>
                  </a:lnTo>
                  <a:lnTo>
                    <a:pt x="133828" y="45166"/>
                  </a:lnTo>
                  <a:lnTo>
                    <a:pt x="138128" y="45421"/>
                  </a:lnTo>
                  <a:lnTo>
                    <a:pt x="140028" y="45305"/>
                  </a:lnTo>
                  <a:lnTo>
                    <a:pt x="143904" y="45783"/>
                  </a:lnTo>
                  <a:lnTo>
                    <a:pt x="144699" y="47091"/>
                  </a:lnTo>
                  <a:lnTo>
                    <a:pt x="145414" y="50181"/>
                  </a:lnTo>
                  <a:lnTo>
                    <a:pt x="146023" y="53122"/>
                  </a:lnTo>
                  <a:lnTo>
                    <a:pt x="146196" y="55485"/>
                  </a:lnTo>
                  <a:lnTo>
                    <a:pt x="147202" y="56706"/>
                  </a:lnTo>
                  <a:lnTo>
                    <a:pt x="148491" y="57108"/>
                  </a:lnTo>
                  <a:lnTo>
                    <a:pt x="149339" y="58060"/>
                  </a:lnTo>
                  <a:lnTo>
                    <a:pt x="150838" y="59357"/>
                  </a:lnTo>
                  <a:lnTo>
                    <a:pt x="151946" y="61211"/>
                  </a:lnTo>
                  <a:lnTo>
                    <a:pt x="153289" y="61086"/>
                  </a:lnTo>
                  <a:lnTo>
                    <a:pt x="154230" y="60647"/>
                  </a:lnTo>
                  <a:lnTo>
                    <a:pt x="156290" y="60505"/>
                  </a:lnTo>
                  <a:lnTo>
                    <a:pt x="158923" y="60633"/>
                  </a:lnTo>
                  <a:lnTo>
                    <a:pt x="160750" y="61658"/>
                  </a:lnTo>
                  <a:lnTo>
                    <a:pt x="161445" y="63005"/>
                  </a:lnTo>
                  <a:lnTo>
                    <a:pt x="162928" y="63759"/>
                  </a:lnTo>
                  <a:lnTo>
                    <a:pt x="164140" y="63517"/>
                  </a:lnTo>
                  <a:lnTo>
                    <a:pt x="167750" y="63508"/>
                  </a:lnTo>
                  <a:lnTo>
                    <a:pt x="168992" y="63593"/>
                  </a:lnTo>
                  <a:lnTo>
                    <a:pt x="170234" y="64333"/>
                  </a:lnTo>
                  <a:lnTo>
                    <a:pt x="172021" y="64457"/>
                  </a:lnTo>
                  <a:lnTo>
                    <a:pt x="173007" y="63517"/>
                  </a:lnTo>
                  <a:lnTo>
                    <a:pt x="176116" y="62877"/>
                  </a:lnTo>
                  <a:lnTo>
                    <a:pt x="177919" y="61535"/>
                  </a:lnTo>
                  <a:lnTo>
                    <a:pt x="179303" y="61523"/>
                  </a:lnTo>
                  <a:lnTo>
                    <a:pt x="180353" y="62168"/>
                  </a:lnTo>
                  <a:lnTo>
                    <a:pt x="181156" y="63050"/>
                  </a:lnTo>
                  <a:lnTo>
                    <a:pt x="182345" y="62659"/>
                  </a:lnTo>
                  <a:lnTo>
                    <a:pt x="182987" y="61932"/>
                  </a:lnTo>
                  <a:lnTo>
                    <a:pt x="184026" y="61933"/>
                  </a:lnTo>
                  <a:lnTo>
                    <a:pt x="185047" y="62402"/>
                  </a:lnTo>
                  <a:lnTo>
                    <a:pt x="187655" y="63221"/>
                  </a:lnTo>
                  <a:lnTo>
                    <a:pt x="189543" y="64749"/>
                  </a:lnTo>
                  <a:lnTo>
                    <a:pt x="191005" y="64895"/>
                  </a:lnTo>
                  <a:lnTo>
                    <a:pt x="192890" y="64449"/>
                  </a:lnTo>
                  <a:lnTo>
                    <a:pt x="193760" y="64242"/>
                  </a:lnTo>
                  <a:lnTo>
                    <a:pt x="194589" y="64997"/>
                  </a:lnTo>
                  <a:lnTo>
                    <a:pt x="195809" y="65403"/>
                  </a:lnTo>
                  <a:lnTo>
                    <a:pt x="196734" y="64843"/>
                  </a:lnTo>
                  <a:lnTo>
                    <a:pt x="198314" y="64448"/>
                  </a:lnTo>
                  <a:lnTo>
                    <a:pt x="204374" y="65277"/>
                  </a:lnTo>
                  <a:lnTo>
                    <a:pt x="205775" y="66802"/>
                  </a:lnTo>
                  <a:lnTo>
                    <a:pt x="206848" y="67518"/>
                  </a:lnTo>
                  <a:lnTo>
                    <a:pt x="207716" y="68765"/>
                  </a:lnTo>
                  <a:lnTo>
                    <a:pt x="209301" y="69654"/>
                  </a:lnTo>
                  <a:lnTo>
                    <a:pt x="212644" y="69348"/>
                  </a:lnTo>
                  <a:lnTo>
                    <a:pt x="213940" y="68439"/>
                  </a:lnTo>
                  <a:lnTo>
                    <a:pt x="216647" y="66420"/>
                  </a:lnTo>
                  <a:lnTo>
                    <a:pt x="217721" y="64450"/>
                  </a:lnTo>
                  <a:lnTo>
                    <a:pt x="219084" y="63812"/>
                  </a:lnTo>
                  <a:lnTo>
                    <a:pt x="220625" y="63494"/>
                  </a:lnTo>
                  <a:lnTo>
                    <a:pt x="222059" y="63497"/>
                  </a:lnTo>
                  <a:lnTo>
                    <a:pt x="223570" y="63432"/>
                  </a:lnTo>
                  <a:lnTo>
                    <a:pt x="225399" y="61989"/>
                  </a:lnTo>
                  <a:lnTo>
                    <a:pt x="226887" y="61485"/>
                  </a:lnTo>
                  <a:lnTo>
                    <a:pt x="229088" y="59649"/>
                  </a:lnTo>
                  <a:lnTo>
                    <a:pt x="229498" y="58818"/>
                  </a:lnTo>
                  <a:lnTo>
                    <a:pt x="230563" y="56679"/>
                  </a:lnTo>
                  <a:lnTo>
                    <a:pt x="231223" y="55315"/>
                  </a:lnTo>
                  <a:lnTo>
                    <a:pt x="232335" y="53151"/>
                  </a:lnTo>
                  <a:lnTo>
                    <a:pt x="232934" y="49656"/>
                  </a:lnTo>
                  <a:lnTo>
                    <a:pt x="233273" y="47800"/>
                  </a:lnTo>
                  <a:lnTo>
                    <a:pt x="232981" y="46455"/>
                  </a:lnTo>
                  <a:lnTo>
                    <a:pt x="231677" y="45760"/>
                  </a:lnTo>
                  <a:lnTo>
                    <a:pt x="230008" y="45430"/>
                  </a:lnTo>
                  <a:lnTo>
                    <a:pt x="228546" y="44405"/>
                  </a:lnTo>
                  <a:lnTo>
                    <a:pt x="227460" y="43218"/>
                  </a:lnTo>
                  <a:lnTo>
                    <a:pt x="226826" y="41547"/>
                  </a:lnTo>
                  <a:lnTo>
                    <a:pt x="225958" y="39594"/>
                  </a:lnTo>
                  <a:lnTo>
                    <a:pt x="226009" y="38180"/>
                  </a:lnTo>
                  <a:lnTo>
                    <a:pt x="225765" y="37086"/>
                  </a:lnTo>
                  <a:lnTo>
                    <a:pt x="225028" y="36154"/>
                  </a:lnTo>
                  <a:lnTo>
                    <a:pt x="223620" y="34514"/>
                  </a:lnTo>
                  <a:lnTo>
                    <a:pt x="222938" y="33290"/>
                  </a:lnTo>
                  <a:lnTo>
                    <a:pt x="223169" y="31350"/>
                  </a:lnTo>
                  <a:lnTo>
                    <a:pt x="224830" y="28030"/>
                  </a:lnTo>
                  <a:lnTo>
                    <a:pt x="224985" y="26487"/>
                  </a:lnTo>
                  <a:lnTo>
                    <a:pt x="225194" y="25525"/>
                  </a:lnTo>
                  <a:lnTo>
                    <a:pt x="225103" y="24653"/>
                  </a:lnTo>
                  <a:lnTo>
                    <a:pt x="225627" y="22660"/>
                  </a:lnTo>
                  <a:lnTo>
                    <a:pt x="226561" y="21821"/>
                  </a:lnTo>
                  <a:lnTo>
                    <a:pt x="227632" y="19681"/>
                  </a:lnTo>
                  <a:lnTo>
                    <a:pt x="229081" y="18694"/>
                  </a:lnTo>
                  <a:lnTo>
                    <a:pt x="230884" y="18629"/>
                  </a:lnTo>
                  <a:lnTo>
                    <a:pt x="231664" y="18045"/>
                  </a:lnTo>
                  <a:lnTo>
                    <a:pt x="232053" y="15904"/>
                  </a:lnTo>
                  <a:lnTo>
                    <a:pt x="232923" y="14252"/>
                  </a:lnTo>
                  <a:lnTo>
                    <a:pt x="233504" y="13083"/>
                  </a:lnTo>
                  <a:lnTo>
                    <a:pt x="234600" y="11806"/>
                  </a:lnTo>
                  <a:lnTo>
                    <a:pt x="240964" y="9343"/>
                  </a:lnTo>
                  <a:lnTo>
                    <a:pt x="243609" y="6276"/>
                  </a:lnTo>
                  <a:lnTo>
                    <a:pt x="244546" y="4728"/>
                  </a:lnTo>
                  <a:lnTo>
                    <a:pt x="245566" y="1398"/>
                  </a:lnTo>
                  <a:lnTo>
                    <a:pt x="246551" y="0"/>
                  </a:lnTo>
                  <a:lnTo>
                    <a:pt x="247986" y="462"/>
                  </a:lnTo>
                  <a:lnTo>
                    <a:pt x="249671" y="2424"/>
                  </a:lnTo>
                  <a:lnTo>
                    <a:pt x="250934" y="2440"/>
                  </a:lnTo>
                  <a:lnTo>
                    <a:pt x="252809" y="3504"/>
                  </a:lnTo>
                  <a:lnTo>
                    <a:pt x="257913" y="5731"/>
                  </a:lnTo>
                  <a:lnTo>
                    <a:pt x="260684" y="6429"/>
                  </a:lnTo>
                  <a:lnTo>
                    <a:pt x="262465" y="6647"/>
                  </a:lnTo>
                  <a:lnTo>
                    <a:pt x="264817" y="7263"/>
                  </a:lnTo>
                  <a:lnTo>
                    <a:pt x="266335" y="8565"/>
                  </a:lnTo>
                  <a:lnTo>
                    <a:pt x="269293" y="10689"/>
                  </a:lnTo>
                  <a:lnTo>
                    <a:pt x="271790" y="11232"/>
                  </a:lnTo>
                  <a:lnTo>
                    <a:pt x="276119" y="11446"/>
                  </a:lnTo>
                  <a:lnTo>
                    <a:pt x="281394" y="11557"/>
                  </a:lnTo>
                  <a:lnTo>
                    <a:pt x="282882" y="11928"/>
                  </a:lnTo>
                  <a:lnTo>
                    <a:pt x="286741" y="13457"/>
                  </a:lnTo>
                  <a:lnTo>
                    <a:pt x="291006" y="15144"/>
                  </a:lnTo>
                  <a:lnTo>
                    <a:pt x="295025" y="16651"/>
                  </a:lnTo>
                  <a:lnTo>
                    <a:pt x="298073" y="17820"/>
                  </a:lnTo>
                  <a:lnTo>
                    <a:pt x="299870" y="18952"/>
                  </a:lnTo>
                  <a:lnTo>
                    <a:pt x="301568" y="19602"/>
                  </a:lnTo>
                  <a:lnTo>
                    <a:pt x="303405" y="19048"/>
                  </a:lnTo>
                  <a:lnTo>
                    <a:pt x="305761" y="19174"/>
                  </a:lnTo>
                  <a:lnTo>
                    <a:pt x="311296" y="20529"/>
                  </a:lnTo>
                  <a:lnTo>
                    <a:pt x="314789" y="21669"/>
                  </a:lnTo>
                  <a:lnTo>
                    <a:pt x="317716" y="22513"/>
                  </a:lnTo>
                  <a:lnTo>
                    <a:pt x="318691" y="23677"/>
                  </a:lnTo>
                  <a:lnTo>
                    <a:pt x="318788" y="25228"/>
                  </a:lnTo>
                  <a:lnTo>
                    <a:pt x="318398" y="26540"/>
                  </a:lnTo>
                  <a:lnTo>
                    <a:pt x="318609" y="29717"/>
                  </a:lnTo>
                  <a:lnTo>
                    <a:pt x="319551" y="31379"/>
                  </a:lnTo>
                  <a:lnTo>
                    <a:pt x="319898" y="33610"/>
                  </a:lnTo>
                  <a:lnTo>
                    <a:pt x="320250" y="35736"/>
                  </a:lnTo>
                  <a:lnTo>
                    <a:pt x="320005" y="37836"/>
                  </a:lnTo>
                  <a:lnTo>
                    <a:pt x="320447" y="38951"/>
                  </a:lnTo>
                  <a:lnTo>
                    <a:pt x="321365" y="39607"/>
                  </a:lnTo>
                  <a:lnTo>
                    <a:pt x="322250" y="41070"/>
                  </a:lnTo>
                  <a:lnTo>
                    <a:pt x="321956" y="42610"/>
                  </a:lnTo>
                  <a:lnTo>
                    <a:pt x="321568" y="43508"/>
                  </a:lnTo>
                  <a:lnTo>
                    <a:pt x="321626" y="44949"/>
                  </a:lnTo>
                  <a:lnTo>
                    <a:pt x="322688" y="46136"/>
                  </a:lnTo>
                  <a:lnTo>
                    <a:pt x="324245" y="46370"/>
                  </a:lnTo>
                  <a:lnTo>
                    <a:pt x="325630" y="46675"/>
                  </a:lnTo>
                  <a:lnTo>
                    <a:pt x="327329" y="48544"/>
                  </a:lnTo>
                  <a:lnTo>
                    <a:pt x="330358" y="50695"/>
                  </a:lnTo>
                  <a:lnTo>
                    <a:pt x="332174" y="51293"/>
                  </a:lnTo>
                  <a:lnTo>
                    <a:pt x="334258" y="52258"/>
                  </a:lnTo>
                  <a:lnTo>
                    <a:pt x="338234" y="53203"/>
                  </a:lnTo>
                  <a:lnTo>
                    <a:pt x="340937" y="53490"/>
                  </a:lnTo>
                  <a:lnTo>
                    <a:pt x="342531" y="54257"/>
                  </a:lnTo>
                  <a:lnTo>
                    <a:pt x="344092" y="56108"/>
                  </a:lnTo>
                  <a:lnTo>
                    <a:pt x="346675" y="56491"/>
                  </a:lnTo>
                  <a:lnTo>
                    <a:pt x="348335" y="57131"/>
                  </a:lnTo>
                  <a:lnTo>
                    <a:pt x="351356" y="57893"/>
                  </a:lnTo>
                  <a:lnTo>
                    <a:pt x="353354" y="57451"/>
                  </a:lnTo>
                  <a:lnTo>
                    <a:pt x="355109" y="56808"/>
                  </a:lnTo>
                  <a:lnTo>
                    <a:pt x="356293" y="56932"/>
                  </a:lnTo>
                  <a:lnTo>
                    <a:pt x="358556" y="57352"/>
                  </a:lnTo>
                  <a:lnTo>
                    <a:pt x="361214" y="57440"/>
                  </a:lnTo>
                  <a:lnTo>
                    <a:pt x="363447" y="57001"/>
                  </a:lnTo>
                  <a:lnTo>
                    <a:pt x="365222" y="55698"/>
                  </a:lnTo>
                  <a:lnTo>
                    <a:pt x="367299" y="53937"/>
                  </a:lnTo>
                  <a:lnTo>
                    <a:pt x="369784" y="53043"/>
                  </a:lnTo>
                  <a:lnTo>
                    <a:pt x="372661" y="52723"/>
                  </a:lnTo>
                  <a:lnTo>
                    <a:pt x="374628" y="52009"/>
                  </a:lnTo>
                  <a:lnTo>
                    <a:pt x="381076" y="50819"/>
                  </a:lnTo>
                  <a:lnTo>
                    <a:pt x="383680" y="50615"/>
                  </a:lnTo>
                  <a:lnTo>
                    <a:pt x="385697" y="49465"/>
                  </a:lnTo>
                  <a:lnTo>
                    <a:pt x="387483" y="48568"/>
                  </a:lnTo>
                  <a:lnTo>
                    <a:pt x="390068" y="48184"/>
                  </a:lnTo>
                  <a:lnTo>
                    <a:pt x="393562" y="49126"/>
                  </a:lnTo>
                  <a:lnTo>
                    <a:pt x="396900" y="49912"/>
                  </a:lnTo>
                  <a:lnTo>
                    <a:pt x="400938" y="50167"/>
                  </a:lnTo>
                  <a:lnTo>
                    <a:pt x="403620" y="51253"/>
                  </a:lnTo>
                  <a:lnTo>
                    <a:pt x="405523" y="52278"/>
                  </a:lnTo>
                  <a:lnTo>
                    <a:pt x="408515" y="53089"/>
                  </a:lnTo>
                  <a:lnTo>
                    <a:pt x="411845" y="52712"/>
                  </a:lnTo>
                  <a:lnTo>
                    <a:pt x="416399" y="52387"/>
                  </a:lnTo>
                  <a:lnTo>
                    <a:pt x="419422" y="52856"/>
                  </a:lnTo>
                  <a:lnTo>
                    <a:pt x="422575" y="54719"/>
                  </a:lnTo>
                  <a:lnTo>
                    <a:pt x="424512" y="56213"/>
                  </a:lnTo>
                  <a:lnTo>
                    <a:pt x="426700" y="59399"/>
                  </a:lnTo>
                  <a:lnTo>
                    <a:pt x="428973" y="60943"/>
                  </a:lnTo>
                  <a:lnTo>
                    <a:pt x="430968" y="62202"/>
                  </a:lnTo>
                  <a:lnTo>
                    <a:pt x="433484" y="62281"/>
                  </a:lnTo>
                  <a:lnTo>
                    <a:pt x="439762" y="62384"/>
                  </a:lnTo>
                  <a:lnTo>
                    <a:pt x="443208" y="63050"/>
                  </a:lnTo>
                  <a:lnTo>
                    <a:pt x="446078" y="63402"/>
                  </a:lnTo>
                  <a:lnTo>
                    <a:pt x="446769" y="64069"/>
                  </a:lnTo>
                  <a:lnTo>
                    <a:pt x="446481" y="66250"/>
                  </a:lnTo>
                  <a:lnTo>
                    <a:pt x="446568" y="69369"/>
                  </a:lnTo>
                  <a:lnTo>
                    <a:pt x="446522" y="70799"/>
                  </a:lnTo>
                  <a:lnTo>
                    <a:pt x="447157" y="71878"/>
                  </a:lnTo>
                  <a:lnTo>
                    <a:pt x="448133" y="72068"/>
                  </a:lnTo>
                  <a:lnTo>
                    <a:pt x="448670" y="73588"/>
                  </a:lnTo>
                  <a:lnTo>
                    <a:pt x="450090" y="74489"/>
                  </a:lnTo>
                  <a:lnTo>
                    <a:pt x="452634" y="75575"/>
                  </a:lnTo>
                  <a:lnTo>
                    <a:pt x="456920" y="79258"/>
                  </a:lnTo>
                  <a:lnTo>
                    <a:pt x="459474" y="80831"/>
                  </a:lnTo>
                  <a:lnTo>
                    <a:pt x="461491" y="81367"/>
                  </a:lnTo>
                  <a:lnTo>
                    <a:pt x="464131" y="80999"/>
                  </a:lnTo>
                  <a:lnTo>
                    <a:pt x="468264" y="81008"/>
                  </a:lnTo>
                  <a:lnTo>
                    <a:pt x="475269" y="81020"/>
                  </a:lnTo>
                  <a:lnTo>
                    <a:pt x="480067" y="82125"/>
                  </a:lnTo>
                  <a:lnTo>
                    <a:pt x="481725" y="82882"/>
                  </a:lnTo>
                  <a:lnTo>
                    <a:pt x="486627" y="83757"/>
                  </a:lnTo>
                  <a:lnTo>
                    <a:pt x="492025" y="84721"/>
                  </a:lnTo>
                  <a:lnTo>
                    <a:pt x="496567" y="85727"/>
                  </a:lnTo>
                  <a:lnTo>
                    <a:pt x="499252" y="84428"/>
                  </a:lnTo>
                  <a:lnTo>
                    <a:pt x="501607" y="84310"/>
                  </a:lnTo>
                  <a:lnTo>
                    <a:pt x="503856" y="85252"/>
                  </a:lnTo>
                  <a:lnTo>
                    <a:pt x="506100" y="86665"/>
                  </a:lnTo>
                  <a:lnTo>
                    <a:pt x="507840" y="86512"/>
                  </a:lnTo>
                  <a:lnTo>
                    <a:pt x="510453" y="85849"/>
                  </a:lnTo>
                  <a:lnTo>
                    <a:pt x="518774" y="81897"/>
                  </a:lnTo>
                  <a:lnTo>
                    <a:pt x="521702" y="80420"/>
                  </a:lnTo>
                  <a:lnTo>
                    <a:pt x="523751" y="80799"/>
                  </a:lnTo>
                  <a:lnTo>
                    <a:pt x="525578" y="80274"/>
                  </a:lnTo>
                  <a:lnTo>
                    <a:pt x="526969" y="79831"/>
                  </a:lnTo>
                  <a:lnTo>
                    <a:pt x="530523" y="79219"/>
                  </a:lnTo>
                  <a:lnTo>
                    <a:pt x="532686" y="79052"/>
                  </a:lnTo>
                  <a:lnTo>
                    <a:pt x="534922" y="78696"/>
                  </a:lnTo>
                  <a:lnTo>
                    <a:pt x="538132" y="78461"/>
                  </a:lnTo>
                  <a:lnTo>
                    <a:pt x="544667" y="75868"/>
                  </a:lnTo>
                  <a:lnTo>
                    <a:pt x="547314" y="75359"/>
                  </a:lnTo>
                  <a:lnTo>
                    <a:pt x="551790" y="76078"/>
                  </a:lnTo>
                  <a:lnTo>
                    <a:pt x="554203" y="75610"/>
                  </a:lnTo>
                  <a:lnTo>
                    <a:pt x="556599" y="74299"/>
                  </a:lnTo>
                  <a:lnTo>
                    <a:pt x="559711" y="72948"/>
                  </a:lnTo>
                  <a:lnTo>
                    <a:pt x="560519" y="70756"/>
                  </a:lnTo>
                  <a:lnTo>
                    <a:pt x="562112" y="67744"/>
                  </a:lnTo>
                  <a:lnTo>
                    <a:pt x="565538" y="65521"/>
                  </a:lnTo>
                  <a:lnTo>
                    <a:pt x="568334" y="63581"/>
                  </a:lnTo>
                  <a:lnTo>
                    <a:pt x="571180" y="61693"/>
                  </a:lnTo>
                  <a:lnTo>
                    <a:pt x="574678" y="60120"/>
                  </a:lnTo>
                  <a:lnTo>
                    <a:pt x="577966" y="58976"/>
                  </a:lnTo>
                  <a:lnTo>
                    <a:pt x="582158" y="55979"/>
                  </a:lnTo>
                  <a:lnTo>
                    <a:pt x="585498" y="54459"/>
                  </a:lnTo>
                  <a:lnTo>
                    <a:pt x="587163" y="53963"/>
                  </a:lnTo>
                  <a:lnTo>
                    <a:pt x="589137" y="54511"/>
                  </a:lnTo>
                  <a:lnTo>
                    <a:pt x="592844" y="54917"/>
                  </a:lnTo>
                  <a:lnTo>
                    <a:pt x="595518" y="54794"/>
                  </a:lnTo>
                  <a:lnTo>
                    <a:pt x="597027" y="55141"/>
                  </a:lnTo>
                  <a:lnTo>
                    <a:pt x="600044" y="56607"/>
                  </a:lnTo>
                  <a:lnTo>
                    <a:pt x="602780" y="57893"/>
                  </a:lnTo>
                  <a:lnTo>
                    <a:pt x="604875" y="60180"/>
                  </a:lnTo>
                  <a:lnTo>
                    <a:pt x="608777" y="63371"/>
                  </a:lnTo>
                  <a:lnTo>
                    <a:pt x="610778" y="64442"/>
                  </a:lnTo>
                  <a:lnTo>
                    <a:pt x="612198" y="64882"/>
                  </a:lnTo>
                  <a:lnTo>
                    <a:pt x="615708" y="65184"/>
                  </a:lnTo>
                  <a:lnTo>
                    <a:pt x="618579" y="65340"/>
                  </a:lnTo>
                  <a:lnTo>
                    <a:pt x="620291" y="64611"/>
                  </a:lnTo>
                  <a:lnTo>
                    <a:pt x="623182" y="63277"/>
                  </a:lnTo>
                  <a:lnTo>
                    <a:pt x="627794" y="61585"/>
                  </a:lnTo>
                  <a:lnTo>
                    <a:pt x="629613" y="61629"/>
                  </a:lnTo>
                  <a:lnTo>
                    <a:pt x="632584" y="62529"/>
                  </a:lnTo>
                  <a:lnTo>
                    <a:pt x="637006" y="64195"/>
                  </a:lnTo>
                  <a:lnTo>
                    <a:pt x="638784" y="65443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11" name="ee4p_MY_1_82333">
              <a:extLst>
                <a:ext uri="{FF2B5EF4-FFF2-40B4-BE49-F238E27FC236}">
                  <a16:creationId xmlns:a16="http://schemas.microsoft.com/office/drawing/2014/main" id="{4EEDD072-C259-39B2-21EA-23228AB77783}"/>
                </a:ext>
              </a:extLst>
            </p:cNvPr>
            <p:cNvSpPr>
              <a:spLocks noChangeAspect="1"/>
            </p:cNvSpPr>
            <p:nvPr>
              <p:custDataLst>
                <p:tags r:id="rId39"/>
              </p:custDataLst>
            </p:nvPr>
          </p:nvSpPr>
          <p:spPr>
            <a:xfrm>
              <a:off x="9281812" y="4465703"/>
              <a:ext cx="544836" cy="185491"/>
            </a:xfrm>
            <a:custGeom>
              <a:avLst/>
              <a:gdLst>
                <a:gd name="connsiteX0" fmla="*/ 258430 w 433841"/>
                <a:gd name="connsiteY0" fmla="*/ 101619 h 143787"/>
                <a:gd name="connsiteX1" fmla="*/ 258907 w 433841"/>
                <a:gd name="connsiteY1" fmla="*/ 101704 h 143787"/>
                <a:gd name="connsiteX2" fmla="*/ 259421 w 433841"/>
                <a:gd name="connsiteY2" fmla="*/ 102924 h 143787"/>
                <a:gd name="connsiteX3" fmla="*/ 259375 w 433841"/>
                <a:gd name="connsiteY3" fmla="*/ 105867 h 143787"/>
                <a:gd name="connsiteX4" fmla="*/ 259468 w 433841"/>
                <a:gd name="connsiteY4" fmla="*/ 108464 h 143787"/>
                <a:gd name="connsiteX5" fmla="*/ 259663 w 433841"/>
                <a:gd name="connsiteY5" fmla="*/ 109429 h 143787"/>
                <a:gd name="connsiteX6" fmla="*/ 258987 w 433841"/>
                <a:gd name="connsiteY6" fmla="*/ 109720 h 143787"/>
                <a:gd name="connsiteX7" fmla="*/ 257944 w 433841"/>
                <a:gd name="connsiteY7" fmla="*/ 108936 h 143787"/>
                <a:gd name="connsiteX8" fmla="*/ 257698 w 433841"/>
                <a:gd name="connsiteY8" fmla="*/ 102219 h 143787"/>
                <a:gd name="connsiteX9" fmla="*/ 100356 w 433841"/>
                <a:gd name="connsiteY9" fmla="*/ 99330 h 143787"/>
                <a:gd name="connsiteX10" fmla="*/ 101207 w 433841"/>
                <a:gd name="connsiteY10" fmla="*/ 101488 h 143787"/>
                <a:gd name="connsiteX11" fmla="*/ 101170 w 433841"/>
                <a:gd name="connsiteY11" fmla="*/ 102428 h 143787"/>
                <a:gd name="connsiteX12" fmla="*/ 100104 w 433841"/>
                <a:gd name="connsiteY12" fmla="*/ 102658 h 143787"/>
                <a:gd name="connsiteX13" fmla="*/ 99518 w 433841"/>
                <a:gd name="connsiteY13" fmla="*/ 102506 h 143787"/>
                <a:gd name="connsiteX14" fmla="*/ 99125 w 433841"/>
                <a:gd name="connsiteY14" fmla="*/ 101643 h 143787"/>
                <a:gd name="connsiteX15" fmla="*/ 100026 w 433841"/>
                <a:gd name="connsiteY15" fmla="*/ 99660 h 143787"/>
                <a:gd name="connsiteX16" fmla="*/ 36816 w 433841"/>
                <a:gd name="connsiteY16" fmla="*/ 95000 h 143787"/>
                <a:gd name="connsiteX17" fmla="*/ 37197 w 433841"/>
                <a:gd name="connsiteY17" fmla="*/ 95438 h 143787"/>
                <a:gd name="connsiteX18" fmla="*/ 36978 w 433841"/>
                <a:gd name="connsiteY18" fmla="*/ 96746 h 143787"/>
                <a:gd name="connsiteX19" fmla="*/ 35862 w 433841"/>
                <a:gd name="connsiteY19" fmla="*/ 97146 h 143787"/>
                <a:gd name="connsiteX20" fmla="*/ 35804 w 433841"/>
                <a:gd name="connsiteY20" fmla="*/ 96569 h 143787"/>
                <a:gd name="connsiteX21" fmla="*/ 35997 w 433841"/>
                <a:gd name="connsiteY21" fmla="*/ 95765 h 143787"/>
                <a:gd name="connsiteX22" fmla="*/ 399384 w 433841"/>
                <a:gd name="connsiteY22" fmla="*/ 68541 h 143787"/>
                <a:gd name="connsiteX23" fmla="*/ 400564 w 433841"/>
                <a:gd name="connsiteY23" fmla="*/ 68764 h 143787"/>
                <a:gd name="connsiteX24" fmla="*/ 403292 w 433841"/>
                <a:gd name="connsiteY24" fmla="*/ 70230 h 143787"/>
                <a:gd name="connsiteX25" fmla="*/ 400211 w 433841"/>
                <a:gd name="connsiteY25" fmla="*/ 70655 h 143787"/>
                <a:gd name="connsiteX26" fmla="*/ 398079 w 433841"/>
                <a:gd name="connsiteY26" fmla="*/ 70610 h 143787"/>
                <a:gd name="connsiteX27" fmla="*/ 398472 w 433841"/>
                <a:gd name="connsiteY27" fmla="*/ 69835 h 143787"/>
                <a:gd name="connsiteX28" fmla="*/ 398368 w 433841"/>
                <a:gd name="connsiteY28" fmla="*/ 68811 h 143787"/>
                <a:gd name="connsiteX29" fmla="*/ 13251 w 433841"/>
                <a:gd name="connsiteY29" fmla="*/ 41826 h 143787"/>
                <a:gd name="connsiteX30" fmla="*/ 14680 w 433841"/>
                <a:gd name="connsiteY30" fmla="*/ 42487 h 143787"/>
                <a:gd name="connsiteX31" fmla="*/ 15315 w 433841"/>
                <a:gd name="connsiteY31" fmla="*/ 43106 h 143787"/>
                <a:gd name="connsiteX32" fmla="*/ 14212 w 433841"/>
                <a:gd name="connsiteY32" fmla="*/ 45663 h 143787"/>
                <a:gd name="connsiteX33" fmla="*/ 13655 w 433841"/>
                <a:gd name="connsiteY33" fmla="*/ 46278 h 143787"/>
                <a:gd name="connsiteX34" fmla="*/ 12046 w 433841"/>
                <a:gd name="connsiteY34" fmla="*/ 45926 h 143787"/>
                <a:gd name="connsiteX35" fmla="*/ 12331 w 433841"/>
                <a:gd name="connsiteY35" fmla="*/ 42289 h 143787"/>
                <a:gd name="connsiteX36" fmla="*/ 4462 w 433841"/>
                <a:gd name="connsiteY36" fmla="*/ 19682 h 143787"/>
                <a:gd name="connsiteX37" fmla="*/ 6023 w 433841"/>
                <a:gd name="connsiteY37" fmla="*/ 22060 h 143787"/>
                <a:gd name="connsiteX38" fmla="*/ 5244 w 433841"/>
                <a:gd name="connsiteY38" fmla="*/ 23120 h 143787"/>
                <a:gd name="connsiteX39" fmla="*/ 4855 w 433841"/>
                <a:gd name="connsiteY39" fmla="*/ 23426 h 143787"/>
                <a:gd name="connsiteX40" fmla="*/ 3913 w 433841"/>
                <a:gd name="connsiteY40" fmla="*/ 23078 h 143787"/>
                <a:gd name="connsiteX41" fmla="*/ 3015 w 433841"/>
                <a:gd name="connsiteY41" fmla="*/ 23992 h 143787"/>
                <a:gd name="connsiteX42" fmla="*/ 2156 w 433841"/>
                <a:gd name="connsiteY42" fmla="*/ 24176 h 143787"/>
                <a:gd name="connsiteX43" fmla="*/ 1293 w 433841"/>
                <a:gd name="connsiteY43" fmla="*/ 22527 h 143787"/>
                <a:gd name="connsiteX44" fmla="*/ 230 w 433841"/>
                <a:gd name="connsiteY44" fmla="*/ 21870 h 143787"/>
                <a:gd name="connsiteX45" fmla="*/ 0 w 433841"/>
                <a:gd name="connsiteY45" fmla="*/ 20733 h 143787"/>
                <a:gd name="connsiteX46" fmla="*/ 1422 w 433841"/>
                <a:gd name="connsiteY46" fmla="*/ 20534 h 143787"/>
                <a:gd name="connsiteX47" fmla="*/ 2277 w 433841"/>
                <a:gd name="connsiteY47" fmla="*/ 20927 h 143787"/>
                <a:gd name="connsiteX48" fmla="*/ 3879 w 433841"/>
                <a:gd name="connsiteY48" fmla="*/ 20141 h 143787"/>
                <a:gd name="connsiteX49" fmla="*/ 12611 w 433841"/>
                <a:gd name="connsiteY49" fmla="*/ 14777 h 143787"/>
                <a:gd name="connsiteX50" fmla="*/ 13603 w 433841"/>
                <a:gd name="connsiteY50" fmla="*/ 14864 h 143787"/>
                <a:gd name="connsiteX51" fmla="*/ 15460 w 433841"/>
                <a:gd name="connsiteY51" fmla="*/ 17813 h 143787"/>
                <a:gd name="connsiteX52" fmla="*/ 20291 w 433841"/>
                <a:gd name="connsiteY52" fmla="*/ 19642 h 143787"/>
                <a:gd name="connsiteX53" fmla="*/ 21742 w 433841"/>
                <a:gd name="connsiteY53" fmla="*/ 20076 h 143787"/>
                <a:gd name="connsiteX54" fmla="*/ 23646 w 433841"/>
                <a:gd name="connsiteY54" fmla="*/ 19350 h 143787"/>
                <a:gd name="connsiteX55" fmla="*/ 24506 w 433841"/>
                <a:gd name="connsiteY55" fmla="*/ 19808 h 143787"/>
                <a:gd name="connsiteX56" fmla="*/ 25373 w 433841"/>
                <a:gd name="connsiteY56" fmla="*/ 20560 h 143787"/>
                <a:gd name="connsiteX57" fmla="*/ 25877 w 433841"/>
                <a:gd name="connsiteY57" fmla="*/ 22659 h 143787"/>
                <a:gd name="connsiteX58" fmla="*/ 27146 w 433841"/>
                <a:gd name="connsiteY58" fmla="*/ 24573 h 143787"/>
                <a:gd name="connsiteX59" fmla="*/ 29686 w 433841"/>
                <a:gd name="connsiteY59" fmla="*/ 24301 h 143787"/>
                <a:gd name="connsiteX60" fmla="*/ 30585 w 433841"/>
                <a:gd name="connsiteY60" fmla="*/ 24575 h 143787"/>
                <a:gd name="connsiteX61" fmla="*/ 31117 w 433841"/>
                <a:gd name="connsiteY61" fmla="*/ 24635 h 143787"/>
                <a:gd name="connsiteX62" fmla="*/ 31614 w 433841"/>
                <a:gd name="connsiteY62" fmla="*/ 26334 h 143787"/>
                <a:gd name="connsiteX63" fmla="*/ 31847 w 433841"/>
                <a:gd name="connsiteY63" fmla="*/ 29272 h 143787"/>
                <a:gd name="connsiteX64" fmla="*/ 31605 w 433841"/>
                <a:gd name="connsiteY64" fmla="*/ 30985 h 143787"/>
                <a:gd name="connsiteX65" fmla="*/ 29774 w 433841"/>
                <a:gd name="connsiteY65" fmla="*/ 33432 h 143787"/>
                <a:gd name="connsiteX66" fmla="*/ 29528 w 433841"/>
                <a:gd name="connsiteY66" fmla="*/ 35099 h 143787"/>
                <a:gd name="connsiteX67" fmla="*/ 30491 w 433841"/>
                <a:gd name="connsiteY67" fmla="*/ 36131 h 143787"/>
                <a:gd name="connsiteX68" fmla="*/ 31742 w 433841"/>
                <a:gd name="connsiteY68" fmla="*/ 37232 h 143787"/>
                <a:gd name="connsiteX69" fmla="*/ 32454 w 433841"/>
                <a:gd name="connsiteY69" fmla="*/ 38078 h 143787"/>
                <a:gd name="connsiteX70" fmla="*/ 33199 w 433841"/>
                <a:gd name="connsiteY70" fmla="*/ 37938 h 143787"/>
                <a:gd name="connsiteX71" fmla="*/ 34149 w 433841"/>
                <a:gd name="connsiteY71" fmla="*/ 37368 h 143787"/>
                <a:gd name="connsiteX72" fmla="*/ 35015 w 433841"/>
                <a:gd name="connsiteY72" fmla="*/ 35928 h 143787"/>
                <a:gd name="connsiteX73" fmla="*/ 35618 w 433841"/>
                <a:gd name="connsiteY73" fmla="*/ 34693 h 143787"/>
                <a:gd name="connsiteX74" fmla="*/ 38872 w 433841"/>
                <a:gd name="connsiteY74" fmla="*/ 33310 h 143787"/>
                <a:gd name="connsiteX75" fmla="*/ 42230 w 433841"/>
                <a:gd name="connsiteY75" fmla="*/ 32066 h 143787"/>
                <a:gd name="connsiteX76" fmla="*/ 42688 w 433841"/>
                <a:gd name="connsiteY76" fmla="*/ 32193 h 143787"/>
                <a:gd name="connsiteX77" fmla="*/ 43232 w 433841"/>
                <a:gd name="connsiteY77" fmla="*/ 32745 h 143787"/>
                <a:gd name="connsiteX78" fmla="*/ 44307 w 433841"/>
                <a:gd name="connsiteY78" fmla="*/ 34545 h 143787"/>
                <a:gd name="connsiteX79" fmla="*/ 44936 w 433841"/>
                <a:gd name="connsiteY79" fmla="*/ 34927 h 143787"/>
                <a:gd name="connsiteX80" fmla="*/ 45845 w 433841"/>
                <a:gd name="connsiteY80" fmla="*/ 35109 h 143787"/>
                <a:gd name="connsiteX81" fmla="*/ 47419 w 433841"/>
                <a:gd name="connsiteY81" fmla="*/ 34915 h 143787"/>
                <a:gd name="connsiteX82" fmla="*/ 49252 w 433841"/>
                <a:gd name="connsiteY82" fmla="*/ 33895 h 143787"/>
                <a:gd name="connsiteX83" fmla="*/ 50215 w 433841"/>
                <a:gd name="connsiteY83" fmla="*/ 31986 h 143787"/>
                <a:gd name="connsiteX84" fmla="*/ 50634 w 433841"/>
                <a:gd name="connsiteY84" fmla="*/ 30477 h 143787"/>
                <a:gd name="connsiteX85" fmla="*/ 53266 w 433841"/>
                <a:gd name="connsiteY85" fmla="*/ 27874 h 143787"/>
                <a:gd name="connsiteX86" fmla="*/ 53558 w 433841"/>
                <a:gd name="connsiteY86" fmla="*/ 25921 h 143787"/>
                <a:gd name="connsiteX87" fmla="*/ 54282 w 433841"/>
                <a:gd name="connsiteY87" fmla="*/ 24643 h 143787"/>
                <a:gd name="connsiteX88" fmla="*/ 58105 w 433841"/>
                <a:gd name="connsiteY88" fmla="*/ 25505 h 143787"/>
                <a:gd name="connsiteX89" fmla="*/ 59567 w 433841"/>
                <a:gd name="connsiteY89" fmla="*/ 26202 h 143787"/>
                <a:gd name="connsiteX90" fmla="*/ 63862 w 433841"/>
                <a:gd name="connsiteY90" fmla="*/ 33069 h 143787"/>
                <a:gd name="connsiteX91" fmla="*/ 69520 w 433841"/>
                <a:gd name="connsiteY91" fmla="*/ 37897 h 143787"/>
                <a:gd name="connsiteX92" fmla="*/ 71915 w 433841"/>
                <a:gd name="connsiteY92" fmla="*/ 39696 h 143787"/>
                <a:gd name="connsiteX93" fmla="*/ 73769 w 433841"/>
                <a:gd name="connsiteY93" fmla="*/ 40558 h 143787"/>
                <a:gd name="connsiteX94" fmla="*/ 76305 w 433841"/>
                <a:gd name="connsiteY94" fmla="*/ 43141 h 143787"/>
                <a:gd name="connsiteX95" fmla="*/ 78514 w 433841"/>
                <a:gd name="connsiteY95" fmla="*/ 46385 h 143787"/>
                <a:gd name="connsiteX96" fmla="*/ 83353 w 433841"/>
                <a:gd name="connsiteY96" fmla="*/ 55515 h 143787"/>
                <a:gd name="connsiteX97" fmla="*/ 84195 w 433841"/>
                <a:gd name="connsiteY97" fmla="*/ 59522 h 143787"/>
                <a:gd name="connsiteX98" fmla="*/ 84524 w 433841"/>
                <a:gd name="connsiteY98" fmla="*/ 65642 h 143787"/>
                <a:gd name="connsiteX99" fmla="*/ 83456 w 433841"/>
                <a:gd name="connsiteY99" fmla="*/ 74865 h 143787"/>
                <a:gd name="connsiteX100" fmla="*/ 82164 w 433841"/>
                <a:gd name="connsiteY100" fmla="*/ 79465 h 143787"/>
                <a:gd name="connsiteX101" fmla="*/ 82414 w 433841"/>
                <a:gd name="connsiteY101" fmla="*/ 81636 h 143787"/>
                <a:gd name="connsiteX102" fmla="*/ 84187 w 433841"/>
                <a:gd name="connsiteY102" fmla="*/ 84968 h 143787"/>
                <a:gd name="connsiteX103" fmla="*/ 83655 w 433841"/>
                <a:gd name="connsiteY103" fmla="*/ 88113 h 143787"/>
                <a:gd name="connsiteX104" fmla="*/ 83999 w 433841"/>
                <a:gd name="connsiteY104" fmla="*/ 90724 h 143787"/>
                <a:gd name="connsiteX105" fmla="*/ 83876 w 433841"/>
                <a:gd name="connsiteY105" fmla="*/ 97972 h 143787"/>
                <a:gd name="connsiteX106" fmla="*/ 84886 w 433841"/>
                <a:gd name="connsiteY106" fmla="*/ 100108 h 143787"/>
                <a:gd name="connsiteX107" fmla="*/ 86039 w 433841"/>
                <a:gd name="connsiteY107" fmla="*/ 101476 h 143787"/>
                <a:gd name="connsiteX108" fmla="*/ 92118 w 433841"/>
                <a:gd name="connsiteY108" fmla="*/ 105775 h 143787"/>
                <a:gd name="connsiteX109" fmla="*/ 92563 w 433841"/>
                <a:gd name="connsiteY109" fmla="*/ 107368 h 143787"/>
                <a:gd name="connsiteX110" fmla="*/ 95558 w 433841"/>
                <a:gd name="connsiteY110" fmla="*/ 112839 h 143787"/>
                <a:gd name="connsiteX111" fmla="*/ 101103 w 433841"/>
                <a:gd name="connsiteY111" fmla="*/ 124748 h 143787"/>
                <a:gd name="connsiteX112" fmla="*/ 102649 w 433841"/>
                <a:gd name="connsiteY112" fmla="*/ 130104 h 143787"/>
                <a:gd name="connsiteX113" fmla="*/ 102470 w 433841"/>
                <a:gd name="connsiteY113" fmla="*/ 131544 h 143787"/>
                <a:gd name="connsiteX114" fmla="*/ 101801 w 433841"/>
                <a:gd name="connsiteY114" fmla="*/ 132141 h 143787"/>
                <a:gd name="connsiteX115" fmla="*/ 100170 w 433841"/>
                <a:gd name="connsiteY115" fmla="*/ 132665 h 143787"/>
                <a:gd name="connsiteX116" fmla="*/ 98812 w 433841"/>
                <a:gd name="connsiteY116" fmla="*/ 131617 h 143787"/>
                <a:gd name="connsiteX117" fmla="*/ 98354 w 433841"/>
                <a:gd name="connsiteY117" fmla="*/ 130867 h 143787"/>
                <a:gd name="connsiteX118" fmla="*/ 98494 w 433841"/>
                <a:gd name="connsiteY118" fmla="*/ 129935 h 143787"/>
                <a:gd name="connsiteX119" fmla="*/ 97955 w 433841"/>
                <a:gd name="connsiteY119" fmla="*/ 129018 h 143787"/>
                <a:gd name="connsiteX120" fmla="*/ 96625 w 433841"/>
                <a:gd name="connsiteY120" fmla="*/ 127923 h 143787"/>
                <a:gd name="connsiteX121" fmla="*/ 95860 w 433841"/>
                <a:gd name="connsiteY121" fmla="*/ 126942 h 143787"/>
                <a:gd name="connsiteX122" fmla="*/ 96076 w 433841"/>
                <a:gd name="connsiteY122" fmla="*/ 128570 h 143787"/>
                <a:gd name="connsiteX123" fmla="*/ 96083 w 433841"/>
                <a:gd name="connsiteY123" fmla="*/ 130677 h 143787"/>
                <a:gd name="connsiteX124" fmla="*/ 94394 w 433841"/>
                <a:gd name="connsiteY124" fmla="*/ 130856 h 143787"/>
                <a:gd name="connsiteX125" fmla="*/ 92220 w 433841"/>
                <a:gd name="connsiteY125" fmla="*/ 130195 h 143787"/>
                <a:gd name="connsiteX126" fmla="*/ 89516 w 433841"/>
                <a:gd name="connsiteY126" fmla="*/ 130790 h 143787"/>
                <a:gd name="connsiteX127" fmla="*/ 86316 w 433841"/>
                <a:gd name="connsiteY127" fmla="*/ 133374 h 143787"/>
                <a:gd name="connsiteX128" fmla="*/ 84778 w 433841"/>
                <a:gd name="connsiteY128" fmla="*/ 133448 h 143787"/>
                <a:gd name="connsiteX129" fmla="*/ 83608 w 433841"/>
                <a:gd name="connsiteY129" fmla="*/ 131228 h 143787"/>
                <a:gd name="connsiteX130" fmla="*/ 83003 w 433841"/>
                <a:gd name="connsiteY130" fmla="*/ 129724 h 143787"/>
                <a:gd name="connsiteX131" fmla="*/ 82049 w 433841"/>
                <a:gd name="connsiteY131" fmla="*/ 128656 h 143787"/>
                <a:gd name="connsiteX132" fmla="*/ 71878 w 433841"/>
                <a:gd name="connsiteY132" fmla="*/ 123211 h 143787"/>
                <a:gd name="connsiteX133" fmla="*/ 68125 w 433841"/>
                <a:gd name="connsiteY133" fmla="*/ 121812 h 143787"/>
                <a:gd name="connsiteX134" fmla="*/ 64169 w 433841"/>
                <a:gd name="connsiteY134" fmla="*/ 117680 h 143787"/>
                <a:gd name="connsiteX135" fmla="*/ 55266 w 433841"/>
                <a:gd name="connsiteY135" fmla="*/ 113120 h 143787"/>
                <a:gd name="connsiteX136" fmla="*/ 49613 w 433841"/>
                <a:gd name="connsiteY136" fmla="*/ 108675 h 143787"/>
                <a:gd name="connsiteX137" fmla="*/ 47209 w 433841"/>
                <a:gd name="connsiteY137" fmla="*/ 105928 h 143787"/>
                <a:gd name="connsiteX138" fmla="*/ 41426 w 433841"/>
                <a:gd name="connsiteY138" fmla="*/ 103492 h 143787"/>
                <a:gd name="connsiteX139" fmla="*/ 38931 w 433841"/>
                <a:gd name="connsiteY139" fmla="*/ 100620 h 143787"/>
                <a:gd name="connsiteX140" fmla="*/ 37703 w 433841"/>
                <a:gd name="connsiteY140" fmla="*/ 100055 h 143787"/>
                <a:gd name="connsiteX141" fmla="*/ 36469 w 433841"/>
                <a:gd name="connsiteY141" fmla="*/ 99032 h 143787"/>
                <a:gd name="connsiteX142" fmla="*/ 37769 w 433841"/>
                <a:gd name="connsiteY142" fmla="*/ 96245 h 143787"/>
                <a:gd name="connsiteX143" fmla="*/ 37235 w 433841"/>
                <a:gd name="connsiteY143" fmla="*/ 93338 h 143787"/>
                <a:gd name="connsiteX144" fmla="*/ 36566 w 433841"/>
                <a:gd name="connsiteY144" fmla="*/ 90886 h 143787"/>
                <a:gd name="connsiteX145" fmla="*/ 32487 w 433841"/>
                <a:gd name="connsiteY145" fmla="*/ 86043 h 143787"/>
                <a:gd name="connsiteX146" fmla="*/ 30483 w 433841"/>
                <a:gd name="connsiteY146" fmla="*/ 82663 h 143787"/>
                <a:gd name="connsiteX147" fmla="*/ 26645 w 433841"/>
                <a:gd name="connsiteY147" fmla="*/ 79298 h 143787"/>
                <a:gd name="connsiteX148" fmla="*/ 25110 w 433841"/>
                <a:gd name="connsiteY148" fmla="*/ 77355 h 143787"/>
                <a:gd name="connsiteX149" fmla="*/ 23642 w 433841"/>
                <a:gd name="connsiteY149" fmla="*/ 75101 h 143787"/>
                <a:gd name="connsiteX150" fmla="*/ 24562 w 433841"/>
                <a:gd name="connsiteY150" fmla="*/ 74313 h 143787"/>
                <a:gd name="connsiteX151" fmla="*/ 25413 w 433841"/>
                <a:gd name="connsiteY151" fmla="*/ 73835 h 143787"/>
                <a:gd name="connsiteX152" fmla="*/ 24633 w 433841"/>
                <a:gd name="connsiteY152" fmla="*/ 72200 h 143787"/>
                <a:gd name="connsiteX153" fmla="*/ 22439 w 433841"/>
                <a:gd name="connsiteY153" fmla="*/ 69353 h 143787"/>
                <a:gd name="connsiteX154" fmla="*/ 21411 w 433841"/>
                <a:gd name="connsiteY154" fmla="*/ 66081 h 143787"/>
                <a:gd name="connsiteX155" fmla="*/ 21411 w 433841"/>
                <a:gd name="connsiteY155" fmla="*/ 59904 h 143787"/>
                <a:gd name="connsiteX156" fmla="*/ 18291 w 433841"/>
                <a:gd name="connsiteY156" fmla="*/ 51215 h 143787"/>
                <a:gd name="connsiteX157" fmla="*/ 15620 w 433841"/>
                <a:gd name="connsiteY157" fmla="*/ 39166 h 143787"/>
                <a:gd name="connsiteX158" fmla="*/ 16092 w 433841"/>
                <a:gd name="connsiteY158" fmla="*/ 34945 h 143787"/>
                <a:gd name="connsiteX159" fmla="*/ 15413 w 433841"/>
                <a:gd name="connsiteY159" fmla="*/ 30370 h 143787"/>
                <a:gd name="connsiteX160" fmla="*/ 13644 w 433841"/>
                <a:gd name="connsiteY160" fmla="*/ 25969 h 143787"/>
                <a:gd name="connsiteX161" fmla="*/ 11324 w 433841"/>
                <a:gd name="connsiteY161" fmla="*/ 22823 h 143787"/>
                <a:gd name="connsiteX162" fmla="*/ 10456 w 433841"/>
                <a:gd name="connsiteY162" fmla="*/ 20209 h 143787"/>
                <a:gd name="connsiteX163" fmla="*/ 10873 w 433841"/>
                <a:gd name="connsiteY163" fmla="*/ 19172 h 143787"/>
                <a:gd name="connsiteX164" fmla="*/ 11387 w 433841"/>
                <a:gd name="connsiteY164" fmla="*/ 15777 h 143787"/>
                <a:gd name="connsiteX165" fmla="*/ 11731 w 433841"/>
                <a:gd name="connsiteY165" fmla="*/ 15105 h 143787"/>
                <a:gd name="connsiteX166" fmla="*/ 378779 w 433841"/>
                <a:gd name="connsiteY166" fmla="*/ 8033 h 143787"/>
                <a:gd name="connsiteX167" fmla="*/ 380035 w 433841"/>
                <a:gd name="connsiteY167" fmla="*/ 8881 h 143787"/>
                <a:gd name="connsiteX168" fmla="*/ 380407 w 433841"/>
                <a:gd name="connsiteY168" fmla="*/ 11665 h 143787"/>
                <a:gd name="connsiteX169" fmla="*/ 380234 w 433841"/>
                <a:gd name="connsiteY169" fmla="*/ 12879 h 143787"/>
                <a:gd name="connsiteX170" fmla="*/ 379476 w 433841"/>
                <a:gd name="connsiteY170" fmla="*/ 14678 h 143787"/>
                <a:gd name="connsiteX171" fmla="*/ 379042 w 433841"/>
                <a:gd name="connsiteY171" fmla="*/ 16565 h 143787"/>
                <a:gd name="connsiteX172" fmla="*/ 379579 w 433841"/>
                <a:gd name="connsiteY172" fmla="*/ 16525 h 143787"/>
                <a:gd name="connsiteX173" fmla="*/ 381810 w 433841"/>
                <a:gd name="connsiteY173" fmla="*/ 15375 h 143787"/>
                <a:gd name="connsiteX174" fmla="*/ 384138 w 433841"/>
                <a:gd name="connsiteY174" fmla="*/ 12317 h 143787"/>
                <a:gd name="connsiteX175" fmla="*/ 385451 w 433841"/>
                <a:gd name="connsiteY175" fmla="*/ 9663 h 143787"/>
                <a:gd name="connsiteX176" fmla="*/ 386570 w 433841"/>
                <a:gd name="connsiteY176" fmla="*/ 8507 h 143787"/>
                <a:gd name="connsiteX177" fmla="*/ 388811 w 433841"/>
                <a:gd name="connsiteY177" fmla="*/ 9149 h 143787"/>
                <a:gd name="connsiteX178" fmla="*/ 389310 w 433841"/>
                <a:gd name="connsiteY178" fmla="*/ 9610 h 143787"/>
                <a:gd name="connsiteX179" fmla="*/ 389153 w 433841"/>
                <a:gd name="connsiteY179" fmla="*/ 11517 h 143787"/>
                <a:gd name="connsiteX180" fmla="*/ 389366 w 433841"/>
                <a:gd name="connsiteY180" fmla="*/ 12626 h 143787"/>
                <a:gd name="connsiteX181" fmla="*/ 390230 w 433841"/>
                <a:gd name="connsiteY181" fmla="*/ 14993 h 143787"/>
                <a:gd name="connsiteX182" fmla="*/ 392138 w 433841"/>
                <a:gd name="connsiteY182" fmla="*/ 16428 h 143787"/>
                <a:gd name="connsiteX183" fmla="*/ 394767 w 433841"/>
                <a:gd name="connsiteY183" fmla="*/ 17334 h 143787"/>
                <a:gd name="connsiteX184" fmla="*/ 397209 w 433841"/>
                <a:gd name="connsiteY184" fmla="*/ 18640 h 143787"/>
                <a:gd name="connsiteX185" fmla="*/ 398005 w 433841"/>
                <a:gd name="connsiteY185" fmla="*/ 19505 h 143787"/>
                <a:gd name="connsiteX186" fmla="*/ 398535 w 433841"/>
                <a:gd name="connsiteY186" fmla="*/ 20547 h 143787"/>
                <a:gd name="connsiteX187" fmla="*/ 399068 w 433841"/>
                <a:gd name="connsiteY187" fmla="*/ 22251 h 143787"/>
                <a:gd name="connsiteX188" fmla="*/ 399109 w 433841"/>
                <a:gd name="connsiteY188" fmla="*/ 23975 h 143787"/>
                <a:gd name="connsiteX189" fmla="*/ 397347 w 433841"/>
                <a:gd name="connsiteY189" fmla="*/ 25657 h 143787"/>
                <a:gd name="connsiteX190" fmla="*/ 398096 w 433841"/>
                <a:gd name="connsiteY190" fmla="*/ 28386 h 143787"/>
                <a:gd name="connsiteX191" fmla="*/ 397980 w 433841"/>
                <a:gd name="connsiteY191" fmla="*/ 29978 h 143787"/>
                <a:gd name="connsiteX192" fmla="*/ 397375 w 433841"/>
                <a:gd name="connsiteY192" fmla="*/ 31335 h 143787"/>
                <a:gd name="connsiteX193" fmla="*/ 394810 w 433841"/>
                <a:gd name="connsiteY193" fmla="*/ 32578 h 143787"/>
                <a:gd name="connsiteX194" fmla="*/ 401808 w 433841"/>
                <a:gd name="connsiteY194" fmla="*/ 31341 h 143787"/>
                <a:gd name="connsiteX195" fmla="*/ 403536 w 433841"/>
                <a:gd name="connsiteY195" fmla="*/ 30635 h 143787"/>
                <a:gd name="connsiteX196" fmla="*/ 405924 w 433841"/>
                <a:gd name="connsiteY196" fmla="*/ 28836 h 143787"/>
                <a:gd name="connsiteX197" fmla="*/ 407205 w 433841"/>
                <a:gd name="connsiteY197" fmla="*/ 30387 h 143787"/>
                <a:gd name="connsiteX198" fmla="*/ 408401 w 433841"/>
                <a:gd name="connsiteY198" fmla="*/ 33070 h 143787"/>
                <a:gd name="connsiteX199" fmla="*/ 407438 w 433841"/>
                <a:gd name="connsiteY199" fmla="*/ 33745 h 143787"/>
                <a:gd name="connsiteX200" fmla="*/ 404397 w 433841"/>
                <a:gd name="connsiteY200" fmla="*/ 34734 h 143787"/>
                <a:gd name="connsiteX201" fmla="*/ 404249 w 433841"/>
                <a:gd name="connsiteY201" fmla="*/ 35140 h 143787"/>
                <a:gd name="connsiteX202" fmla="*/ 405257 w 433841"/>
                <a:gd name="connsiteY202" fmla="*/ 36536 h 143787"/>
                <a:gd name="connsiteX203" fmla="*/ 406529 w 433841"/>
                <a:gd name="connsiteY203" fmla="*/ 36406 h 143787"/>
                <a:gd name="connsiteX204" fmla="*/ 409038 w 433841"/>
                <a:gd name="connsiteY204" fmla="*/ 35473 h 143787"/>
                <a:gd name="connsiteX205" fmla="*/ 411349 w 433841"/>
                <a:gd name="connsiteY205" fmla="*/ 34001 h 143787"/>
                <a:gd name="connsiteX206" fmla="*/ 412470 w 433841"/>
                <a:gd name="connsiteY206" fmla="*/ 34019 h 143787"/>
                <a:gd name="connsiteX207" fmla="*/ 413648 w 433841"/>
                <a:gd name="connsiteY207" fmla="*/ 34322 h 143787"/>
                <a:gd name="connsiteX208" fmla="*/ 415931 w 433841"/>
                <a:gd name="connsiteY208" fmla="*/ 35268 h 143787"/>
                <a:gd name="connsiteX209" fmla="*/ 417209 w 433841"/>
                <a:gd name="connsiteY209" fmla="*/ 36034 h 143787"/>
                <a:gd name="connsiteX210" fmla="*/ 418291 w 433841"/>
                <a:gd name="connsiteY210" fmla="*/ 37018 h 143787"/>
                <a:gd name="connsiteX211" fmla="*/ 418993 w 433841"/>
                <a:gd name="connsiteY211" fmla="*/ 39069 h 143787"/>
                <a:gd name="connsiteX212" fmla="*/ 421621 w 433841"/>
                <a:gd name="connsiteY212" fmla="*/ 39812 h 143787"/>
                <a:gd name="connsiteX213" fmla="*/ 427008 w 433841"/>
                <a:gd name="connsiteY213" fmla="*/ 42685 h 143787"/>
                <a:gd name="connsiteX214" fmla="*/ 428008 w 433841"/>
                <a:gd name="connsiteY214" fmla="*/ 42934 h 143787"/>
                <a:gd name="connsiteX215" fmla="*/ 429058 w 433841"/>
                <a:gd name="connsiteY215" fmla="*/ 42991 h 143787"/>
                <a:gd name="connsiteX216" fmla="*/ 431897 w 433841"/>
                <a:gd name="connsiteY216" fmla="*/ 42643 h 143787"/>
                <a:gd name="connsiteX217" fmla="*/ 432893 w 433841"/>
                <a:gd name="connsiteY217" fmla="*/ 43048 h 143787"/>
                <a:gd name="connsiteX218" fmla="*/ 433603 w 433841"/>
                <a:gd name="connsiteY218" fmla="*/ 44084 h 143787"/>
                <a:gd name="connsiteX219" fmla="*/ 433841 w 433841"/>
                <a:gd name="connsiteY219" fmla="*/ 45366 h 143787"/>
                <a:gd name="connsiteX220" fmla="*/ 433763 w 433841"/>
                <a:gd name="connsiteY220" fmla="*/ 46746 h 143787"/>
                <a:gd name="connsiteX221" fmla="*/ 433474 w 433841"/>
                <a:gd name="connsiteY221" fmla="*/ 47791 h 143787"/>
                <a:gd name="connsiteX222" fmla="*/ 432809 w 433841"/>
                <a:gd name="connsiteY222" fmla="*/ 48654 h 143787"/>
                <a:gd name="connsiteX223" fmla="*/ 430876 w 433841"/>
                <a:gd name="connsiteY223" fmla="*/ 49969 h 143787"/>
                <a:gd name="connsiteX224" fmla="*/ 426018 w 433841"/>
                <a:gd name="connsiteY224" fmla="*/ 51689 h 143787"/>
                <a:gd name="connsiteX225" fmla="*/ 420701 w 433841"/>
                <a:gd name="connsiteY225" fmla="*/ 52993 h 143787"/>
                <a:gd name="connsiteX226" fmla="*/ 418032 w 433841"/>
                <a:gd name="connsiteY226" fmla="*/ 52903 h 143787"/>
                <a:gd name="connsiteX227" fmla="*/ 414284 w 433841"/>
                <a:gd name="connsiteY227" fmla="*/ 51786 h 143787"/>
                <a:gd name="connsiteX228" fmla="*/ 412916 w 433841"/>
                <a:gd name="connsiteY228" fmla="*/ 51931 h 143787"/>
                <a:gd name="connsiteX229" fmla="*/ 411602 w 433841"/>
                <a:gd name="connsiteY229" fmla="*/ 52443 h 143787"/>
                <a:gd name="connsiteX230" fmla="*/ 409938 w 433841"/>
                <a:gd name="connsiteY230" fmla="*/ 55997 h 143787"/>
                <a:gd name="connsiteX231" fmla="*/ 413009 w 433841"/>
                <a:gd name="connsiteY231" fmla="*/ 59539 h 143787"/>
                <a:gd name="connsiteX232" fmla="*/ 418278 w 433841"/>
                <a:gd name="connsiteY232" fmla="*/ 63230 h 143787"/>
                <a:gd name="connsiteX233" fmla="*/ 419000 w 433841"/>
                <a:gd name="connsiteY233" fmla="*/ 64149 h 143787"/>
                <a:gd name="connsiteX234" fmla="*/ 418805 w 433841"/>
                <a:gd name="connsiteY234" fmla="*/ 65279 h 143787"/>
                <a:gd name="connsiteX235" fmla="*/ 417965 w 433841"/>
                <a:gd name="connsiteY235" fmla="*/ 65952 h 143787"/>
                <a:gd name="connsiteX236" fmla="*/ 416853 w 433841"/>
                <a:gd name="connsiteY236" fmla="*/ 66327 h 143787"/>
                <a:gd name="connsiteX237" fmla="*/ 413891 w 433841"/>
                <a:gd name="connsiteY237" fmla="*/ 66916 h 143787"/>
                <a:gd name="connsiteX238" fmla="*/ 410898 w 433841"/>
                <a:gd name="connsiteY238" fmla="*/ 67353 h 143787"/>
                <a:gd name="connsiteX239" fmla="*/ 408434 w 433841"/>
                <a:gd name="connsiteY239" fmla="*/ 67983 h 143787"/>
                <a:gd name="connsiteX240" fmla="*/ 406021 w 433841"/>
                <a:gd name="connsiteY240" fmla="*/ 68810 h 143787"/>
                <a:gd name="connsiteX241" fmla="*/ 403532 w 433841"/>
                <a:gd name="connsiteY241" fmla="*/ 68529 h 143787"/>
                <a:gd name="connsiteX242" fmla="*/ 400113 w 433841"/>
                <a:gd name="connsiteY242" fmla="*/ 66876 h 143787"/>
                <a:gd name="connsiteX243" fmla="*/ 399129 w 433841"/>
                <a:gd name="connsiteY243" fmla="*/ 66760 h 143787"/>
                <a:gd name="connsiteX244" fmla="*/ 398096 w 433841"/>
                <a:gd name="connsiteY244" fmla="*/ 67608 h 143787"/>
                <a:gd name="connsiteX245" fmla="*/ 397079 w 433841"/>
                <a:gd name="connsiteY245" fmla="*/ 69923 h 143787"/>
                <a:gd name="connsiteX246" fmla="*/ 396430 w 433841"/>
                <a:gd name="connsiteY246" fmla="*/ 70574 h 143787"/>
                <a:gd name="connsiteX247" fmla="*/ 395609 w 433841"/>
                <a:gd name="connsiteY247" fmla="*/ 70557 h 143787"/>
                <a:gd name="connsiteX248" fmla="*/ 393698 w 433841"/>
                <a:gd name="connsiteY248" fmla="*/ 70081 h 143787"/>
                <a:gd name="connsiteX249" fmla="*/ 389865 w 433841"/>
                <a:gd name="connsiteY249" fmla="*/ 67723 h 143787"/>
                <a:gd name="connsiteX250" fmla="*/ 385952 w 433841"/>
                <a:gd name="connsiteY250" fmla="*/ 66887 h 143787"/>
                <a:gd name="connsiteX251" fmla="*/ 380269 w 433841"/>
                <a:gd name="connsiteY251" fmla="*/ 66819 h 143787"/>
                <a:gd name="connsiteX252" fmla="*/ 377047 w 433841"/>
                <a:gd name="connsiteY252" fmla="*/ 66490 h 143787"/>
                <a:gd name="connsiteX253" fmla="*/ 375739 w 433841"/>
                <a:gd name="connsiteY253" fmla="*/ 66842 h 143787"/>
                <a:gd name="connsiteX254" fmla="*/ 374641 w 433841"/>
                <a:gd name="connsiteY254" fmla="*/ 66857 h 143787"/>
                <a:gd name="connsiteX255" fmla="*/ 373847 w 433841"/>
                <a:gd name="connsiteY255" fmla="*/ 66382 h 143787"/>
                <a:gd name="connsiteX256" fmla="*/ 372998 w 433841"/>
                <a:gd name="connsiteY256" fmla="*/ 66139 h 143787"/>
                <a:gd name="connsiteX257" fmla="*/ 370782 w 433841"/>
                <a:gd name="connsiteY257" fmla="*/ 67526 h 143787"/>
                <a:gd name="connsiteX258" fmla="*/ 369746 w 433841"/>
                <a:gd name="connsiteY258" fmla="*/ 67102 h 143787"/>
                <a:gd name="connsiteX259" fmla="*/ 368699 w 433841"/>
                <a:gd name="connsiteY259" fmla="*/ 66518 h 143787"/>
                <a:gd name="connsiteX260" fmla="*/ 366839 w 433841"/>
                <a:gd name="connsiteY260" fmla="*/ 66322 h 143787"/>
                <a:gd name="connsiteX261" fmla="*/ 364589 w 433841"/>
                <a:gd name="connsiteY261" fmla="*/ 66486 h 143787"/>
                <a:gd name="connsiteX262" fmla="*/ 362093 w 433841"/>
                <a:gd name="connsiteY262" fmla="*/ 67915 h 143787"/>
                <a:gd name="connsiteX263" fmla="*/ 359320 w 433841"/>
                <a:gd name="connsiteY263" fmla="*/ 66630 h 143787"/>
                <a:gd name="connsiteX264" fmla="*/ 358537 w 433841"/>
                <a:gd name="connsiteY264" fmla="*/ 66644 h 143787"/>
                <a:gd name="connsiteX265" fmla="*/ 358007 w 433841"/>
                <a:gd name="connsiteY265" fmla="*/ 66970 h 143787"/>
                <a:gd name="connsiteX266" fmla="*/ 356805 w 433841"/>
                <a:gd name="connsiteY266" fmla="*/ 68732 h 143787"/>
                <a:gd name="connsiteX267" fmla="*/ 354514 w 433841"/>
                <a:gd name="connsiteY267" fmla="*/ 70078 h 143787"/>
                <a:gd name="connsiteX268" fmla="*/ 353380 w 433841"/>
                <a:gd name="connsiteY268" fmla="*/ 72537 h 143787"/>
                <a:gd name="connsiteX269" fmla="*/ 352684 w 433841"/>
                <a:gd name="connsiteY269" fmla="*/ 74895 h 143787"/>
                <a:gd name="connsiteX270" fmla="*/ 352073 w 433841"/>
                <a:gd name="connsiteY270" fmla="*/ 75709 h 143787"/>
                <a:gd name="connsiteX271" fmla="*/ 351908 w 433841"/>
                <a:gd name="connsiteY271" fmla="*/ 80264 h 143787"/>
                <a:gd name="connsiteX272" fmla="*/ 351545 w 433841"/>
                <a:gd name="connsiteY272" fmla="*/ 82464 h 143787"/>
                <a:gd name="connsiteX273" fmla="*/ 352123 w 433841"/>
                <a:gd name="connsiteY273" fmla="*/ 85373 h 143787"/>
                <a:gd name="connsiteX274" fmla="*/ 352021 w 433841"/>
                <a:gd name="connsiteY274" fmla="*/ 86625 h 143787"/>
                <a:gd name="connsiteX275" fmla="*/ 351000 w 433841"/>
                <a:gd name="connsiteY275" fmla="*/ 88486 h 143787"/>
                <a:gd name="connsiteX276" fmla="*/ 350875 w 433841"/>
                <a:gd name="connsiteY276" fmla="*/ 88913 h 143787"/>
                <a:gd name="connsiteX277" fmla="*/ 350333 w 433841"/>
                <a:gd name="connsiteY277" fmla="*/ 91874 h 143787"/>
                <a:gd name="connsiteX278" fmla="*/ 350540 w 433841"/>
                <a:gd name="connsiteY278" fmla="*/ 92660 h 143787"/>
                <a:gd name="connsiteX279" fmla="*/ 350408 w 433841"/>
                <a:gd name="connsiteY279" fmla="*/ 93656 h 143787"/>
                <a:gd name="connsiteX280" fmla="*/ 349551 w 433841"/>
                <a:gd name="connsiteY280" fmla="*/ 95732 h 143787"/>
                <a:gd name="connsiteX281" fmla="*/ 347998 w 433841"/>
                <a:gd name="connsiteY281" fmla="*/ 96298 h 143787"/>
                <a:gd name="connsiteX282" fmla="*/ 346362 w 433841"/>
                <a:gd name="connsiteY282" fmla="*/ 96626 h 143787"/>
                <a:gd name="connsiteX283" fmla="*/ 344965 w 433841"/>
                <a:gd name="connsiteY283" fmla="*/ 95918 h 143787"/>
                <a:gd name="connsiteX284" fmla="*/ 343703 w 433841"/>
                <a:gd name="connsiteY284" fmla="*/ 97057 h 143787"/>
                <a:gd name="connsiteX285" fmla="*/ 342103 w 433841"/>
                <a:gd name="connsiteY285" fmla="*/ 98818 h 143787"/>
                <a:gd name="connsiteX286" fmla="*/ 341413 w 433841"/>
                <a:gd name="connsiteY286" fmla="*/ 100008 h 143787"/>
                <a:gd name="connsiteX287" fmla="*/ 341417 w 433841"/>
                <a:gd name="connsiteY287" fmla="*/ 101112 h 143787"/>
                <a:gd name="connsiteX288" fmla="*/ 341574 w 433841"/>
                <a:gd name="connsiteY288" fmla="*/ 101851 h 143787"/>
                <a:gd name="connsiteX289" fmla="*/ 341248 w 433841"/>
                <a:gd name="connsiteY289" fmla="*/ 102612 h 143787"/>
                <a:gd name="connsiteX290" fmla="*/ 341207 w 433841"/>
                <a:gd name="connsiteY290" fmla="*/ 103418 h 143787"/>
                <a:gd name="connsiteX291" fmla="*/ 341290 w 433841"/>
                <a:gd name="connsiteY291" fmla="*/ 104586 h 143787"/>
                <a:gd name="connsiteX292" fmla="*/ 342376 w 433841"/>
                <a:gd name="connsiteY292" fmla="*/ 105069 h 143787"/>
                <a:gd name="connsiteX293" fmla="*/ 343503 w 433841"/>
                <a:gd name="connsiteY293" fmla="*/ 106076 h 143787"/>
                <a:gd name="connsiteX294" fmla="*/ 343464 w 433841"/>
                <a:gd name="connsiteY294" fmla="*/ 107043 h 143787"/>
                <a:gd name="connsiteX295" fmla="*/ 342838 w 433841"/>
                <a:gd name="connsiteY295" fmla="*/ 107712 h 143787"/>
                <a:gd name="connsiteX296" fmla="*/ 341417 w 433841"/>
                <a:gd name="connsiteY296" fmla="*/ 108747 h 143787"/>
                <a:gd name="connsiteX297" fmla="*/ 338822 w 433841"/>
                <a:gd name="connsiteY297" fmla="*/ 110856 h 143787"/>
                <a:gd name="connsiteX298" fmla="*/ 335884 w 433841"/>
                <a:gd name="connsiteY298" fmla="*/ 112658 h 143787"/>
                <a:gd name="connsiteX299" fmla="*/ 334781 w 433841"/>
                <a:gd name="connsiteY299" fmla="*/ 113076 h 143787"/>
                <a:gd name="connsiteX300" fmla="*/ 334381 w 433841"/>
                <a:gd name="connsiteY300" fmla="*/ 113907 h 143787"/>
                <a:gd name="connsiteX301" fmla="*/ 334168 w 433841"/>
                <a:gd name="connsiteY301" fmla="*/ 115025 h 143787"/>
                <a:gd name="connsiteX302" fmla="*/ 334816 w 433841"/>
                <a:gd name="connsiteY302" fmla="*/ 117475 h 143787"/>
                <a:gd name="connsiteX303" fmla="*/ 335431 w 433841"/>
                <a:gd name="connsiteY303" fmla="*/ 118198 h 143787"/>
                <a:gd name="connsiteX304" fmla="*/ 335757 w 433841"/>
                <a:gd name="connsiteY304" fmla="*/ 119059 h 143787"/>
                <a:gd name="connsiteX305" fmla="*/ 335362 w 433841"/>
                <a:gd name="connsiteY305" fmla="*/ 120082 h 143787"/>
                <a:gd name="connsiteX306" fmla="*/ 335081 w 433841"/>
                <a:gd name="connsiteY306" fmla="*/ 120963 h 143787"/>
                <a:gd name="connsiteX307" fmla="*/ 333999 w 433841"/>
                <a:gd name="connsiteY307" fmla="*/ 121515 h 143787"/>
                <a:gd name="connsiteX308" fmla="*/ 332948 w 433841"/>
                <a:gd name="connsiteY308" fmla="*/ 121918 h 143787"/>
                <a:gd name="connsiteX309" fmla="*/ 332564 w 433841"/>
                <a:gd name="connsiteY309" fmla="*/ 122620 h 143787"/>
                <a:gd name="connsiteX310" fmla="*/ 332006 w 433841"/>
                <a:gd name="connsiteY310" fmla="*/ 125557 h 143787"/>
                <a:gd name="connsiteX311" fmla="*/ 331372 w 433841"/>
                <a:gd name="connsiteY311" fmla="*/ 127088 h 143787"/>
                <a:gd name="connsiteX312" fmla="*/ 329940 w 433841"/>
                <a:gd name="connsiteY312" fmla="*/ 129363 h 143787"/>
                <a:gd name="connsiteX313" fmla="*/ 329462 w 433841"/>
                <a:gd name="connsiteY313" fmla="*/ 130403 h 143787"/>
                <a:gd name="connsiteX314" fmla="*/ 328724 w 433841"/>
                <a:gd name="connsiteY314" fmla="*/ 130738 h 143787"/>
                <a:gd name="connsiteX315" fmla="*/ 325952 w 433841"/>
                <a:gd name="connsiteY315" fmla="*/ 129675 h 143787"/>
                <a:gd name="connsiteX316" fmla="*/ 323466 w 433841"/>
                <a:gd name="connsiteY316" fmla="*/ 130320 h 143787"/>
                <a:gd name="connsiteX317" fmla="*/ 320177 w 433841"/>
                <a:gd name="connsiteY317" fmla="*/ 130731 h 143787"/>
                <a:gd name="connsiteX318" fmla="*/ 317392 w 433841"/>
                <a:gd name="connsiteY318" fmla="*/ 130666 h 143787"/>
                <a:gd name="connsiteX319" fmla="*/ 315232 w 433841"/>
                <a:gd name="connsiteY319" fmla="*/ 131130 h 143787"/>
                <a:gd name="connsiteX320" fmla="*/ 313749 w 433841"/>
                <a:gd name="connsiteY320" fmla="*/ 132333 h 143787"/>
                <a:gd name="connsiteX321" fmla="*/ 312092 w 433841"/>
                <a:gd name="connsiteY321" fmla="*/ 133848 h 143787"/>
                <a:gd name="connsiteX322" fmla="*/ 310352 w 433841"/>
                <a:gd name="connsiteY322" fmla="*/ 134971 h 143787"/>
                <a:gd name="connsiteX323" fmla="*/ 309039 w 433841"/>
                <a:gd name="connsiteY323" fmla="*/ 135517 h 143787"/>
                <a:gd name="connsiteX324" fmla="*/ 306627 w 433841"/>
                <a:gd name="connsiteY324" fmla="*/ 133914 h 143787"/>
                <a:gd name="connsiteX325" fmla="*/ 305411 w 433841"/>
                <a:gd name="connsiteY325" fmla="*/ 134052 h 143787"/>
                <a:gd name="connsiteX326" fmla="*/ 303217 w 433841"/>
                <a:gd name="connsiteY326" fmla="*/ 133500 h 143787"/>
                <a:gd name="connsiteX327" fmla="*/ 298071 w 433841"/>
                <a:gd name="connsiteY327" fmla="*/ 131709 h 143787"/>
                <a:gd name="connsiteX328" fmla="*/ 296798 w 433841"/>
                <a:gd name="connsiteY328" fmla="*/ 131185 h 143787"/>
                <a:gd name="connsiteX329" fmla="*/ 295424 w 433841"/>
                <a:gd name="connsiteY329" fmla="*/ 131139 h 143787"/>
                <a:gd name="connsiteX330" fmla="*/ 295020 w 433841"/>
                <a:gd name="connsiteY330" fmla="*/ 130625 h 143787"/>
                <a:gd name="connsiteX331" fmla="*/ 295237 w 433841"/>
                <a:gd name="connsiteY331" fmla="*/ 129760 h 143787"/>
                <a:gd name="connsiteX332" fmla="*/ 295020 w 433841"/>
                <a:gd name="connsiteY332" fmla="*/ 128625 h 143787"/>
                <a:gd name="connsiteX333" fmla="*/ 294019 w 433841"/>
                <a:gd name="connsiteY333" fmla="*/ 128195 h 143787"/>
                <a:gd name="connsiteX334" fmla="*/ 283697 w 433841"/>
                <a:gd name="connsiteY334" fmla="*/ 128370 h 143787"/>
                <a:gd name="connsiteX335" fmla="*/ 280721 w 433841"/>
                <a:gd name="connsiteY335" fmla="*/ 129351 h 143787"/>
                <a:gd name="connsiteX336" fmla="*/ 278710 w 433841"/>
                <a:gd name="connsiteY336" fmla="*/ 130127 h 143787"/>
                <a:gd name="connsiteX337" fmla="*/ 277275 w 433841"/>
                <a:gd name="connsiteY337" fmla="*/ 131024 h 143787"/>
                <a:gd name="connsiteX338" fmla="*/ 276869 w 433841"/>
                <a:gd name="connsiteY338" fmla="*/ 133256 h 143787"/>
                <a:gd name="connsiteX339" fmla="*/ 276011 w 433841"/>
                <a:gd name="connsiteY339" fmla="*/ 135347 h 143787"/>
                <a:gd name="connsiteX340" fmla="*/ 274904 w 433841"/>
                <a:gd name="connsiteY340" fmla="*/ 137564 h 143787"/>
                <a:gd name="connsiteX341" fmla="*/ 271467 w 433841"/>
                <a:gd name="connsiteY341" fmla="*/ 138229 h 143787"/>
                <a:gd name="connsiteX342" fmla="*/ 268944 w 433841"/>
                <a:gd name="connsiteY342" fmla="*/ 140476 h 143787"/>
                <a:gd name="connsiteX343" fmla="*/ 268075 w 433841"/>
                <a:gd name="connsiteY343" fmla="*/ 140746 h 143787"/>
                <a:gd name="connsiteX344" fmla="*/ 266341 w 433841"/>
                <a:gd name="connsiteY344" fmla="*/ 140420 h 143787"/>
                <a:gd name="connsiteX345" fmla="*/ 264487 w 433841"/>
                <a:gd name="connsiteY345" fmla="*/ 140235 h 143787"/>
                <a:gd name="connsiteX346" fmla="*/ 263143 w 433841"/>
                <a:gd name="connsiteY346" fmla="*/ 140860 h 143787"/>
                <a:gd name="connsiteX347" fmla="*/ 261740 w 433841"/>
                <a:gd name="connsiteY347" fmla="*/ 140828 h 143787"/>
                <a:gd name="connsiteX348" fmla="*/ 257395 w 433841"/>
                <a:gd name="connsiteY348" fmla="*/ 139779 h 143787"/>
                <a:gd name="connsiteX349" fmla="*/ 253297 w 433841"/>
                <a:gd name="connsiteY349" fmla="*/ 139617 h 143787"/>
                <a:gd name="connsiteX350" fmla="*/ 250969 w 433841"/>
                <a:gd name="connsiteY350" fmla="*/ 140151 h 143787"/>
                <a:gd name="connsiteX351" fmla="*/ 249687 w 433841"/>
                <a:gd name="connsiteY351" fmla="*/ 140351 h 143787"/>
                <a:gd name="connsiteX352" fmla="*/ 242537 w 433841"/>
                <a:gd name="connsiteY352" fmla="*/ 143430 h 143787"/>
                <a:gd name="connsiteX353" fmla="*/ 240127 w 433841"/>
                <a:gd name="connsiteY353" fmla="*/ 143787 h 143787"/>
                <a:gd name="connsiteX354" fmla="*/ 239146 w 433841"/>
                <a:gd name="connsiteY354" fmla="*/ 143342 h 143787"/>
                <a:gd name="connsiteX355" fmla="*/ 237766 w 433841"/>
                <a:gd name="connsiteY355" fmla="*/ 142082 h 143787"/>
                <a:gd name="connsiteX356" fmla="*/ 235914 w 433841"/>
                <a:gd name="connsiteY356" fmla="*/ 140823 h 143787"/>
                <a:gd name="connsiteX357" fmla="*/ 231481 w 433841"/>
                <a:gd name="connsiteY357" fmla="*/ 136530 h 143787"/>
                <a:gd name="connsiteX358" fmla="*/ 229846 w 433841"/>
                <a:gd name="connsiteY358" fmla="*/ 135521 h 143787"/>
                <a:gd name="connsiteX359" fmla="*/ 228759 w 433841"/>
                <a:gd name="connsiteY359" fmla="*/ 134485 h 143787"/>
                <a:gd name="connsiteX360" fmla="*/ 227725 w 433841"/>
                <a:gd name="connsiteY360" fmla="*/ 133259 h 143787"/>
                <a:gd name="connsiteX361" fmla="*/ 226257 w 433841"/>
                <a:gd name="connsiteY361" fmla="*/ 131936 h 143787"/>
                <a:gd name="connsiteX362" fmla="*/ 224920 w 433841"/>
                <a:gd name="connsiteY362" fmla="*/ 131027 h 143787"/>
                <a:gd name="connsiteX363" fmla="*/ 223100 w 433841"/>
                <a:gd name="connsiteY363" fmla="*/ 129169 h 143787"/>
                <a:gd name="connsiteX364" fmla="*/ 221292 w 433841"/>
                <a:gd name="connsiteY364" fmla="*/ 127136 h 143787"/>
                <a:gd name="connsiteX365" fmla="*/ 220891 w 433841"/>
                <a:gd name="connsiteY365" fmla="*/ 123558 h 143787"/>
                <a:gd name="connsiteX366" fmla="*/ 219453 w 433841"/>
                <a:gd name="connsiteY366" fmla="*/ 122902 h 143787"/>
                <a:gd name="connsiteX367" fmla="*/ 218969 w 433841"/>
                <a:gd name="connsiteY367" fmla="*/ 121972 h 143787"/>
                <a:gd name="connsiteX368" fmla="*/ 218748 w 433841"/>
                <a:gd name="connsiteY368" fmla="*/ 120914 h 143787"/>
                <a:gd name="connsiteX369" fmla="*/ 220737 w 433841"/>
                <a:gd name="connsiteY369" fmla="*/ 118008 h 143787"/>
                <a:gd name="connsiteX370" fmla="*/ 222184 w 433841"/>
                <a:gd name="connsiteY370" fmla="*/ 121078 h 143787"/>
                <a:gd name="connsiteX371" fmla="*/ 222743 w 433841"/>
                <a:gd name="connsiteY371" fmla="*/ 121762 h 143787"/>
                <a:gd name="connsiteX372" fmla="*/ 225955 w 433841"/>
                <a:gd name="connsiteY372" fmla="*/ 123827 h 143787"/>
                <a:gd name="connsiteX373" fmla="*/ 228602 w 433841"/>
                <a:gd name="connsiteY373" fmla="*/ 124863 h 143787"/>
                <a:gd name="connsiteX374" fmla="*/ 231465 w 433841"/>
                <a:gd name="connsiteY374" fmla="*/ 125284 h 143787"/>
                <a:gd name="connsiteX375" fmla="*/ 234381 w 433841"/>
                <a:gd name="connsiteY375" fmla="*/ 125370 h 143787"/>
                <a:gd name="connsiteX376" fmla="*/ 235540 w 433841"/>
                <a:gd name="connsiteY376" fmla="*/ 125227 h 143787"/>
                <a:gd name="connsiteX377" fmla="*/ 236665 w 433841"/>
                <a:gd name="connsiteY377" fmla="*/ 124817 h 143787"/>
                <a:gd name="connsiteX378" fmla="*/ 237777 w 433841"/>
                <a:gd name="connsiteY378" fmla="*/ 125256 h 143787"/>
                <a:gd name="connsiteX379" fmla="*/ 243873 w 433841"/>
                <a:gd name="connsiteY379" fmla="*/ 128614 h 143787"/>
                <a:gd name="connsiteX380" fmla="*/ 246236 w 433841"/>
                <a:gd name="connsiteY380" fmla="*/ 129215 h 143787"/>
                <a:gd name="connsiteX381" fmla="*/ 248732 w 433841"/>
                <a:gd name="connsiteY381" fmla="*/ 128958 h 143787"/>
                <a:gd name="connsiteX382" fmla="*/ 249727 w 433841"/>
                <a:gd name="connsiteY382" fmla="*/ 129293 h 143787"/>
                <a:gd name="connsiteX383" fmla="*/ 253232 w 433841"/>
                <a:gd name="connsiteY383" fmla="*/ 131869 h 143787"/>
                <a:gd name="connsiteX384" fmla="*/ 254266 w 433841"/>
                <a:gd name="connsiteY384" fmla="*/ 132177 h 143787"/>
                <a:gd name="connsiteX385" fmla="*/ 255992 w 433841"/>
                <a:gd name="connsiteY385" fmla="*/ 131980 h 143787"/>
                <a:gd name="connsiteX386" fmla="*/ 253785 w 433841"/>
                <a:gd name="connsiteY386" fmla="*/ 130804 h 143787"/>
                <a:gd name="connsiteX387" fmla="*/ 252338 w 433841"/>
                <a:gd name="connsiteY387" fmla="*/ 129972 h 143787"/>
                <a:gd name="connsiteX388" fmla="*/ 251690 w 433841"/>
                <a:gd name="connsiteY388" fmla="*/ 128398 h 143787"/>
                <a:gd name="connsiteX389" fmla="*/ 252086 w 433841"/>
                <a:gd name="connsiteY389" fmla="*/ 126721 h 143787"/>
                <a:gd name="connsiteX390" fmla="*/ 253491 w 433841"/>
                <a:gd name="connsiteY390" fmla="*/ 125605 h 143787"/>
                <a:gd name="connsiteX391" fmla="*/ 254465 w 433841"/>
                <a:gd name="connsiteY391" fmla="*/ 124396 h 143787"/>
                <a:gd name="connsiteX392" fmla="*/ 254815 w 433841"/>
                <a:gd name="connsiteY392" fmla="*/ 120778 h 143787"/>
                <a:gd name="connsiteX393" fmla="*/ 255434 w 433841"/>
                <a:gd name="connsiteY393" fmla="*/ 118947 h 143787"/>
                <a:gd name="connsiteX394" fmla="*/ 256603 w 433841"/>
                <a:gd name="connsiteY394" fmla="*/ 117205 h 143787"/>
                <a:gd name="connsiteX395" fmla="*/ 256985 w 433841"/>
                <a:gd name="connsiteY395" fmla="*/ 115526 h 143787"/>
                <a:gd name="connsiteX396" fmla="*/ 255674 w 433841"/>
                <a:gd name="connsiteY396" fmla="*/ 114245 h 143787"/>
                <a:gd name="connsiteX397" fmla="*/ 255379 w 433841"/>
                <a:gd name="connsiteY397" fmla="*/ 112043 h 143787"/>
                <a:gd name="connsiteX398" fmla="*/ 255668 w 433841"/>
                <a:gd name="connsiteY398" fmla="*/ 110219 h 143787"/>
                <a:gd name="connsiteX399" fmla="*/ 256410 w 433841"/>
                <a:gd name="connsiteY399" fmla="*/ 108978 h 143787"/>
                <a:gd name="connsiteX400" fmla="*/ 257599 w 433841"/>
                <a:gd name="connsiteY400" fmla="*/ 109795 h 143787"/>
                <a:gd name="connsiteX401" fmla="*/ 258825 w 433841"/>
                <a:gd name="connsiteY401" fmla="*/ 110555 h 143787"/>
                <a:gd name="connsiteX402" fmla="*/ 260036 w 433841"/>
                <a:gd name="connsiteY402" fmla="*/ 110479 h 143787"/>
                <a:gd name="connsiteX403" fmla="*/ 260870 w 433841"/>
                <a:gd name="connsiteY403" fmla="*/ 110177 h 143787"/>
                <a:gd name="connsiteX404" fmla="*/ 261023 w 433841"/>
                <a:gd name="connsiteY404" fmla="*/ 109236 h 143787"/>
                <a:gd name="connsiteX405" fmla="*/ 260794 w 433841"/>
                <a:gd name="connsiteY405" fmla="*/ 107598 h 143787"/>
                <a:gd name="connsiteX406" fmla="*/ 260857 w 433841"/>
                <a:gd name="connsiteY406" fmla="*/ 104584 h 143787"/>
                <a:gd name="connsiteX407" fmla="*/ 262387 w 433841"/>
                <a:gd name="connsiteY407" fmla="*/ 102178 h 143787"/>
                <a:gd name="connsiteX408" fmla="*/ 264837 w 433841"/>
                <a:gd name="connsiteY408" fmla="*/ 100520 h 143787"/>
                <a:gd name="connsiteX409" fmla="*/ 267147 w 433841"/>
                <a:gd name="connsiteY409" fmla="*/ 99727 h 143787"/>
                <a:gd name="connsiteX410" fmla="*/ 275795 w 433841"/>
                <a:gd name="connsiteY410" fmla="*/ 98379 h 143787"/>
                <a:gd name="connsiteX411" fmla="*/ 289471 w 433841"/>
                <a:gd name="connsiteY411" fmla="*/ 94932 h 143787"/>
                <a:gd name="connsiteX412" fmla="*/ 293522 w 433841"/>
                <a:gd name="connsiteY412" fmla="*/ 93599 h 143787"/>
                <a:gd name="connsiteX413" fmla="*/ 295012 w 433841"/>
                <a:gd name="connsiteY413" fmla="*/ 92908 h 143787"/>
                <a:gd name="connsiteX414" fmla="*/ 296268 w 433841"/>
                <a:gd name="connsiteY414" fmla="*/ 91949 h 143787"/>
                <a:gd name="connsiteX415" fmla="*/ 298381 w 433841"/>
                <a:gd name="connsiteY415" fmla="*/ 88888 h 143787"/>
                <a:gd name="connsiteX416" fmla="*/ 302358 w 433841"/>
                <a:gd name="connsiteY416" fmla="*/ 84063 h 143787"/>
                <a:gd name="connsiteX417" fmla="*/ 305144 w 433841"/>
                <a:gd name="connsiteY417" fmla="*/ 80098 h 143787"/>
                <a:gd name="connsiteX418" fmla="*/ 311026 w 433841"/>
                <a:gd name="connsiteY418" fmla="*/ 74322 h 143787"/>
                <a:gd name="connsiteX419" fmla="*/ 315710 w 433841"/>
                <a:gd name="connsiteY419" fmla="*/ 68966 h 143787"/>
                <a:gd name="connsiteX420" fmla="*/ 316342 w 433841"/>
                <a:gd name="connsiteY420" fmla="*/ 67958 h 143787"/>
                <a:gd name="connsiteX421" fmla="*/ 317121 w 433841"/>
                <a:gd name="connsiteY421" fmla="*/ 65034 h 143787"/>
                <a:gd name="connsiteX422" fmla="*/ 317180 w 433841"/>
                <a:gd name="connsiteY422" fmla="*/ 63658 h 143787"/>
                <a:gd name="connsiteX423" fmla="*/ 317044 w 433841"/>
                <a:gd name="connsiteY423" fmla="*/ 62263 h 143787"/>
                <a:gd name="connsiteX424" fmla="*/ 317668 w 433841"/>
                <a:gd name="connsiteY424" fmla="*/ 61610 h 143787"/>
                <a:gd name="connsiteX425" fmla="*/ 318577 w 433841"/>
                <a:gd name="connsiteY425" fmla="*/ 61220 h 143787"/>
                <a:gd name="connsiteX426" fmla="*/ 318804 w 433841"/>
                <a:gd name="connsiteY426" fmla="*/ 61224 h 143787"/>
                <a:gd name="connsiteX427" fmla="*/ 319495 w 433841"/>
                <a:gd name="connsiteY427" fmla="*/ 61832 h 143787"/>
                <a:gd name="connsiteX428" fmla="*/ 321125 w 433841"/>
                <a:gd name="connsiteY428" fmla="*/ 62680 h 143787"/>
                <a:gd name="connsiteX429" fmla="*/ 322347 w 433841"/>
                <a:gd name="connsiteY429" fmla="*/ 63767 h 143787"/>
                <a:gd name="connsiteX430" fmla="*/ 323164 w 433841"/>
                <a:gd name="connsiteY430" fmla="*/ 65177 h 143787"/>
                <a:gd name="connsiteX431" fmla="*/ 323751 w 433841"/>
                <a:gd name="connsiteY431" fmla="*/ 66496 h 143787"/>
                <a:gd name="connsiteX432" fmla="*/ 323796 w 433841"/>
                <a:gd name="connsiteY432" fmla="*/ 67615 h 143787"/>
                <a:gd name="connsiteX433" fmla="*/ 324532 w 433841"/>
                <a:gd name="connsiteY433" fmla="*/ 68532 h 143787"/>
                <a:gd name="connsiteX434" fmla="*/ 326604 w 433841"/>
                <a:gd name="connsiteY434" fmla="*/ 68686 h 143787"/>
                <a:gd name="connsiteX435" fmla="*/ 327277 w 433841"/>
                <a:gd name="connsiteY435" fmla="*/ 69844 h 143787"/>
                <a:gd name="connsiteX436" fmla="*/ 328717 w 433841"/>
                <a:gd name="connsiteY436" fmla="*/ 71838 h 143787"/>
                <a:gd name="connsiteX437" fmla="*/ 330034 w 433841"/>
                <a:gd name="connsiteY437" fmla="*/ 73266 h 143787"/>
                <a:gd name="connsiteX438" fmla="*/ 330842 w 433841"/>
                <a:gd name="connsiteY438" fmla="*/ 73822 h 143787"/>
                <a:gd name="connsiteX439" fmla="*/ 331855 w 433841"/>
                <a:gd name="connsiteY439" fmla="*/ 73519 h 143787"/>
                <a:gd name="connsiteX440" fmla="*/ 333423 w 433841"/>
                <a:gd name="connsiteY440" fmla="*/ 72215 h 143787"/>
                <a:gd name="connsiteX441" fmla="*/ 334554 w 433841"/>
                <a:gd name="connsiteY441" fmla="*/ 70614 h 143787"/>
                <a:gd name="connsiteX442" fmla="*/ 335312 w 433841"/>
                <a:gd name="connsiteY442" fmla="*/ 68450 h 143787"/>
                <a:gd name="connsiteX443" fmla="*/ 334716 w 433841"/>
                <a:gd name="connsiteY443" fmla="*/ 68134 h 143787"/>
                <a:gd name="connsiteX444" fmla="*/ 335768 w 433841"/>
                <a:gd name="connsiteY444" fmla="*/ 66501 h 143787"/>
                <a:gd name="connsiteX445" fmla="*/ 335971 w 433841"/>
                <a:gd name="connsiteY445" fmla="*/ 65643 h 143787"/>
                <a:gd name="connsiteX446" fmla="*/ 335485 w 433841"/>
                <a:gd name="connsiteY446" fmla="*/ 64855 h 143787"/>
                <a:gd name="connsiteX447" fmla="*/ 334864 w 433841"/>
                <a:gd name="connsiteY447" fmla="*/ 64077 h 143787"/>
                <a:gd name="connsiteX448" fmla="*/ 334623 w 433841"/>
                <a:gd name="connsiteY448" fmla="*/ 62102 h 143787"/>
                <a:gd name="connsiteX449" fmla="*/ 334196 w 433841"/>
                <a:gd name="connsiteY449" fmla="*/ 59588 h 143787"/>
                <a:gd name="connsiteX450" fmla="*/ 333902 w 433841"/>
                <a:gd name="connsiteY450" fmla="*/ 58445 h 143787"/>
                <a:gd name="connsiteX451" fmla="*/ 334732 w 433841"/>
                <a:gd name="connsiteY451" fmla="*/ 57631 h 143787"/>
                <a:gd name="connsiteX452" fmla="*/ 336508 w 433841"/>
                <a:gd name="connsiteY452" fmla="*/ 56591 h 143787"/>
                <a:gd name="connsiteX453" fmla="*/ 338281 w 433841"/>
                <a:gd name="connsiteY453" fmla="*/ 55383 h 143787"/>
                <a:gd name="connsiteX454" fmla="*/ 340095 w 433841"/>
                <a:gd name="connsiteY454" fmla="*/ 54420 h 143787"/>
                <a:gd name="connsiteX455" fmla="*/ 340141 w 433841"/>
                <a:gd name="connsiteY455" fmla="*/ 56161 h 143787"/>
                <a:gd name="connsiteX456" fmla="*/ 340095 w 433841"/>
                <a:gd name="connsiteY456" fmla="*/ 59037 h 143787"/>
                <a:gd name="connsiteX457" fmla="*/ 340644 w 433841"/>
                <a:gd name="connsiteY457" fmla="*/ 61446 h 143787"/>
                <a:gd name="connsiteX458" fmla="*/ 341870 w 433841"/>
                <a:gd name="connsiteY458" fmla="*/ 65705 h 143787"/>
                <a:gd name="connsiteX459" fmla="*/ 343276 w 433841"/>
                <a:gd name="connsiteY459" fmla="*/ 66286 h 143787"/>
                <a:gd name="connsiteX460" fmla="*/ 344958 w 433841"/>
                <a:gd name="connsiteY460" fmla="*/ 66662 h 143787"/>
                <a:gd name="connsiteX461" fmla="*/ 345930 w 433841"/>
                <a:gd name="connsiteY461" fmla="*/ 66543 h 143787"/>
                <a:gd name="connsiteX462" fmla="*/ 346563 w 433841"/>
                <a:gd name="connsiteY462" fmla="*/ 66262 h 143787"/>
                <a:gd name="connsiteX463" fmla="*/ 346729 w 433841"/>
                <a:gd name="connsiteY463" fmla="*/ 65919 h 143787"/>
                <a:gd name="connsiteX464" fmla="*/ 345679 w 433841"/>
                <a:gd name="connsiteY464" fmla="*/ 64244 h 143787"/>
                <a:gd name="connsiteX465" fmla="*/ 345401 w 433841"/>
                <a:gd name="connsiteY465" fmla="*/ 60308 h 143787"/>
                <a:gd name="connsiteX466" fmla="*/ 344544 w 433841"/>
                <a:gd name="connsiteY466" fmla="*/ 57725 h 143787"/>
                <a:gd name="connsiteX467" fmla="*/ 343228 w 433841"/>
                <a:gd name="connsiteY467" fmla="*/ 55151 h 143787"/>
                <a:gd name="connsiteX468" fmla="*/ 342600 w 433841"/>
                <a:gd name="connsiteY468" fmla="*/ 54419 h 143787"/>
                <a:gd name="connsiteX469" fmla="*/ 347794 w 433841"/>
                <a:gd name="connsiteY469" fmla="*/ 53687 h 143787"/>
                <a:gd name="connsiteX470" fmla="*/ 348960 w 433841"/>
                <a:gd name="connsiteY470" fmla="*/ 52880 h 143787"/>
                <a:gd name="connsiteX471" fmla="*/ 350998 w 433841"/>
                <a:gd name="connsiteY471" fmla="*/ 51112 h 143787"/>
                <a:gd name="connsiteX472" fmla="*/ 351765 w 433841"/>
                <a:gd name="connsiteY472" fmla="*/ 50123 h 143787"/>
                <a:gd name="connsiteX473" fmla="*/ 352373 w 433841"/>
                <a:gd name="connsiteY473" fmla="*/ 47893 h 143787"/>
                <a:gd name="connsiteX474" fmla="*/ 349828 w 433841"/>
                <a:gd name="connsiteY474" fmla="*/ 46564 h 143787"/>
                <a:gd name="connsiteX475" fmla="*/ 348828 w 433841"/>
                <a:gd name="connsiteY475" fmla="*/ 44869 h 143787"/>
                <a:gd name="connsiteX476" fmla="*/ 348770 w 433841"/>
                <a:gd name="connsiteY476" fmla="*/ 43036 h 143787"/>
                <a:gd name="connsiteX477" fmla="*/ 351808 w 433841"/>
                <a:gd name="connsiteY477" fmla="*/ 39632 h 143787"/>
                <a:gd name="connsiteX478" fmla="*/ 352857 w 433841"/>
                <a:gd name="connsiteY478" fmla="*/ 38817 h 143787"/>
                <a:gd name="connsiteX479" fmla="*/ 353313 w 433841"/>
                <a:gd name="connsiteY479" fmla="*/ 40027 h 143787"/>
                <a:gd name="connsiteX480" fmla="*/ 354652 w 433841"/>
                <a:gd name="connsiteY480" fmla="*/ 40332 h 143787"/>
                <a:gd name="connsiteX481" fmla="*/ 355885 w 433841"/>
                <a:gd name="connsiteY481" fmla="*/ 40379 h 143787"/>
                <a:gd name="connsiteX482" fmla="*/ 357124 w 433841"/>
                <a:gd name="connsiteY482" fmla="*/ 40310 h 143787"/>
                <a:gd name="connsiteX483" fmla="*/ 358899 w 433841"/>
                <a:gd name="connsiteY483" fmla="*/ 38593 h 143787"/>
                <a:gd name="connsiteX484" fmla="*/ 359812 w 433841"/>
                <a:gd name="connsiteY484" fmla="*/ 36122 h 143787"/>
                <a:gd name="connsiteX485" fmla="*/ 362937 w 433841"/>
                <a:gd name="connsiteY485" fmla="*/ 32629 h 143787"/>
                <a:gd name="connsiteX486" fmla="*/ 364049 w 433841"/>
                <a:gd name="connsiteY486" fmla="*/ 29947 h 143787"/>
                <a:gd name="connsiteX487" fmla="*/ 364676 w 433841"/>
                <a:gd name="connsiteY487" fmla="*/ 27145 h 143787"/>
                <a:gd name="connsiteX488" fmla="*/ 372555 w 433841"/>
                <a:gd name="connsiteY488" fmla="*/ 18439 h 143787"/>
                <a:gd name="connsiteX489" fmla="*/ 373519 w 433841"/>
                <a:gd name="connsiteY489" fmla="*/ 17084 h 143787"/>
                <a:gd name="connsiteX490" fmla="*/ 378196 w 433841"/>
                <a:gd name="connsiteY490" fmla="*/ 8324 h 143787"/>
                <a:gd name="connsiteX491" fmla="*/ 389567 w 433841"/>
                <a:gd name="connsiteY491" fmla="*/ 0 h 143787"/>
                <a:gd name="connsiteX492" fmla="*/ 389936 w 433841"/>
                <a:gd name="connsiteY492" fmla="*/ 1357 h 143787"/>
                <a:gd name="connsiteX493" fmla="*/ 389627 w 433841"/>
                <a:gd name="connsiteY493" fmla="*/ 2909 h 143787"/>
                <a:gd name="connsiteX494" fmla="*/ 389021 w 433841"/>
                <a:gd name="connsiteY494" fmla="*/ 3710 h 143787"/>
                <a:gd name="connsiteX495" fmla="*/ 386859 w 433841"/>
                <a:gd name="connsiteY495" fmla="*/ 4078 h 143787"/>
                <a:gd name="connsiteX496" fmla="*/ 385512 w 433841"/>
                <a:gd name="connsiteY496" fmla="*/ 5254 h 143787"/>
                <a:gd name="connsiteX497" fmla="*/ 385058 w 433841"/>
                <a:gd name="connsiteY497" fmla="*/ 3841 h 143787"/>
                <a:gd name="connsiteX498" fmla="*/ 385149 w 433841"/>
                <a:gd name="connsiteY498" fmla="*/ 2022 h 143787"/>
                <a:gd name="connsiteX499" fmla="*/ 386975 w 433841"/>
                <a:gd name="connsiteY499" fmla="*/ 326 h 143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</a:cxnLst>
              <a:rect l="l" t="t" r="r" b="b"/>
              <a:pathLst>
                <a:path w="433841" h="143787">
                  <a:moveTo>
                    <a:pt x="258430" y="101619"/>
                  </a:moveTo>
                  <a:lnTo>
                    <a:pt x="258907" y="101704"/>
                  </a:lnTo>
                  <a:lnTo>
                    <a:pt x="259421" y="102924"/>
                  </a:lnTo>
                  <a:lnTo>
                    <a:pt x="259375" y="105867"/>
                  </a:lnTo>
                  <a:lnTo>
                    <a:pt x="259468" y="108464"/>
                  </a:lnTo>
                  <a:lnTo>
                    <a:pt x="259663" y="109429"/>
                  </a:lnTo>
                  <a:lnTo>
                    <a:pt x="258987" y="109720"/>
                  </a:lnTo>
                  <a:lnTo>
                    <a:pt x="257944" y="108936"/>
                  </a:lnTo>
                  <a:lnTo>
                    <a:pt x="257698" y="102219"/>
                  </a:lnTo>
                  <a:close/>
                  <a:moveTo>
                    <a:pt x="100356" y="99330"/>
                  </a:moveTo>
                  <a:lnTo>
                    <a:pt x="101207" y="101488"/>
                  </a:lnTo>
                  <a:lnTo>
                    <a:pt x="101170" y="102428"/>
                  </a:lnTo>
                  <a:lnTo>
                    <a:pt x="100104" y="102658"/>
                  </a:lnTo>
                  <a:lnTo>
                    <a:pt x="99518" y="102506"/>
                  </a:lnTo>
                  <a:lnTo>
                    <a:pt x="99125" y="101643"/>
                  </a:lnTo>
                  <a:lnTo>
                    <a:pt x="100026" y="99660"/>
                  </a:lnTo>
                  <a:close/>
                  <a:moveTo>
                    <a:pt x="36816" y="95000"/>
                  </a:moveTo>
                  <a:lnTo>
                    <a:pt x="37197" y="95438"/>
                  </a:lnTo>
                  <a:lnTo>
                    <a:pt x="36978" y="96746"/>
                  </a:lnTo>
                  <a:lnTo>
                    <a:pt x="35862" y="97146"/>
                  </a:lnTo>
                  <a:lnTo>
                    <a:pt x="35804" y="96569"/>
                  </a:lnTo>
                  <a:lnTo>
                    <a:pt x="35997" y="95765"/>
                  </a:lnTo>
                  <a:close/>
                  <a:moveTo>
                    <a:pt x="399384" y="68541"/>
                  </a:moveTo>
                  <a:lnTo>
                    <a:pt x="400564" y="68764"/>
                  </a:lnTo>
                  <a:lnTo>
                    <a:pt x="403292" y="70230"/>
                  </a:lnTo>
                  <a:lnTo>
                    <a:pt x="400211" y="70655"/>
                  </a:lnTo>
                  <a:lnTo>
                    <a:pt x="398079" y="70610"/>
                  </a:lnTo>
                  <a:lnTo>
                    <a:pt x="398472" y="69835"/>
                  </a:lnTo>
                  <a:lnTo>
                    <a:pt x="398368" y="68811"/>
                  </a:lnTo>
                  <a:close/>
                  <a:moveTo>
                    <a:pt x="13251" y="41826"/>
                  </a:moveTo>
                  <a:lnTo>
                    <a:pt x="14680" y="42487"/>
                  </a:lnTo>
                  <a:lnTo>
                    <a:pt x="15315" y="43106"/>
                  </a:lnTo>
                  <a:lnTo>
                    <a:pt x="14212" y="45663"/>
                  </a:lnTo>
                  <a:lnTo>
                    <a:pt x="13655" y="46278"/>
                  </a:lnTo>
                  <a:lnTo>
                    <a:pt x="12046" y="45926"/>
                  </a:lnTo>
                  <a:lnTo>
                    <a:pt x="12331" y="42289"/>
                  </a:lnTo>
                  <a:close/>
                  <a:moveTo>
                    <a:pt x="4462" y="19682"/>
                  </a:moveTo>
                  <a:lnTo>
                    <a:pt x="6023" y="22060"/>
                  </a:lnTo>
                  <a:lnTo>
                    <a:pt x="5244" y="23120"/>
                  </a:lnTo>
                  <a:lnTo>
                    <a:pt x="4855" y="23426"/>
                  </a:lnTo>
                  <a:lnTo>
                    <a:pt x="3913" y="23078"/>
                  </a:lnTo>
                  <a:lnTo>
                    <a:pt x="3015" y="23992"/>
                  </a:lnTo>
                  <a:lnTo>
                    <a:pt x="2156" y="24176"/>
                  </a:lnTo>
                  <a:lnTo>
                    <a:pt x="1293" y="22527"/>
                  </a:lnTo>
                  <a:lnTo>
                    <a:pt x="230" y="21870"/>
                  </a:lnTo>
                  <a:lnTo>
                    <a:pt x="0" y="20733"/>
                  </a:lnTo>
                  <a:lnTo>
                    <a:pt x="1422" y="20534"/>
                  </a:lnTo>
                  <a:lnTo>
                    <a:pt x="2277" y="20927"/>
                  </a:lnTo>
                  <a:lnTo>
                    <a:pt x="3879" y="20141"/>
                  </a:lnTo>
                  <a:close/>
                  <a:moveTo>
                    <a:pt x="12611" y="14777"/>
                  </a:moveTo>
                  <a:lnTo>
                    <a:pt x="13603" y="14864"/>
                  </a:lnTo>
                  <a:lnTo>
                    <a:pt x="15460" y="17813"/>
                  </a:lnTo>
                  <a:lnTo>
                    <a:pt x="20291" y="19642"/>
                  </a:lnTo>
                  <a:lnTo>
                    <a:pt x="21742" y="20076"/>
                  </a:lnTo>
                  <a:lnTo>
                    <a:pt x="23646" y="19350"/>
                  </a:lnTo>
                  <a:lnTo>
                    <a:pt x="24506" y="19808"/>
                  </a:lnTo>
                  <a:lnTo>
                    <a:pt x="25373" y="20560"/>
                  </a:lnTo>
                  <a:lnTo>
                    <a:pt x="25877" y="22659"/>
                  </a:lnTo>
                  <a:lnTo>
                    <a:pt x="27146" y="24573"/>
                  </a:lnTo>
                  <a:lnTo>
                    <a:pt x="29686" y="24301"/>
                  </a:lnTo>
                  <a:lnTo>
                    <a:pt x="30585" y="24575"/>
                  </a:lnTo>
                  <a:lnTo>
                    <a:pt x="31117" y="24635"/>
                  </a:lnTo>
                  <a:lnTo>
                    <a:pt x="31614" y="26334"/>
                  </a:lnTo>
                  <a:lnTo>
                    <a:pt x="31847" y="29272"/>
                  </a:lnTo>
                  <a:lnTo>
                    <a:pt x="31605" y="30985"/>
                  </a:lnTo>
                  <a:lnTo>
                    <a:pt x="29774" y="33432"/>
                  </a:lnTo>
                  <a:lnTo>
                    <a:pt x="29528" y="35099"/>
                  </a:lnTo>
                  <a:lnTo>
                    <a:pt x="30491" y="36131"/>
                  </a:lnTo>
                  <a:lnTo>
                    <a:pt x="31742" y="37232"/>
                  </a:lnTo>
                  <a:lnTo>
                    <a:pt x="32454" y="38078"/>
                  </a:lnTo>
                  <a:lnTo>
                    <a:pt x="33199" y="37938"/>
                  </a:lnTo>
                  <a:lnTo>
                    <a:pt x="34149" y="37368"/>
                  </a:lnTo>
                  <a:lnTo>
                    <a:pt x="35015" y="35928"/>
                  </a:lnTo>
                  <a:lnTo>
                    <a:pt x="35618" y="34693"/>
                  </a:lnTo>
                  <a:lnTo>
                    <a:pt x="38872" y="33310"/>
                  </a:lnTo>
                  <a:lnTo>
                    <a:pt x="42230" y="32066"/>
                  </a:lnTo>
                  <a:lnTo>
                    <a:pt x="42688" y="32193"/>
                  </a:lnTo>
                  <a:lnTo>
                    <a:pt x="43232" y="32745"/>
                  </a:lnTo>
                  <a:lnTo>
                    <a:pt x="44307" y="34545"/>
                  </a:lnTo>
                  <a:lnTo>
                    <a:pt x="44936" y="34927"/>
                  </a:lnTo>
                  <a:lnTo>
                    <a:pt x="45845" y="35109"/>
                  </a:lnTo>
                  <a:lnTo>
                    <a:pt x="47419" y="34915"/>
                  </a:lnTo>
                  <a:lnTo>
                    <a:pt x="49252" y="33895"/>
                  </a:lnTo>
                  <a:lnTo>
                    <a:pt x="50215" y="31986"/>
                  </a:lnTo>
                  <a:lnTo>
                    <a:pt x="50634" y="30477"/>
                  </a:lnTo>
                  <a:lnTo>
                    <a:pt x="53266" y="27874"/>
                  </a:lnTo>
                  <a:lnTo>
                    <a:pt x="53558" y="25921"/>
                  </a:lnTo>
                  <a:lnTo>
                    <a:pt x="54282" y="24643"/>
                  </a:lnTo>
                  <a:lnTo>
                    <a:pt x="58105" y="25505"/>
                  </a:lnTo>
                  <a:lnTo>
                    <a:pt x="59567" y="26202"/>
                  </a:lnTo>
                  <a:lnTo>
                    <a:pt x="63862" y="33069"/>
                  </a:lnTo>
                  <a:lnTo>
                    <a:pt x="69520" y="37897"/>
                  </a:lnTo>
                  <a:lnTo>
                    <a:pt x="71915" y="39696"/>
                  </a:lnTo>
                  <a:lnTo>
                    <a:pt x="73769" y="40558"/>
                  </a:lnTo>
                  <a:lnTo>
                    <a:pt x="76305" y="43141"/>
                  </a:lnTo>
                  <a:lnTo>
                    <a:pt x="78514" y="46385"/>
                  </a:lnTo>
                  <a:lnTo>
                    <a:pt x="83353" y="55515"/>
                  </a:lnTo>
                  <a:lnTo>
                    <a:pt x="84195" y="59522"/>
                  </a:lnTo>
                  <a:lnTo>
                    <a:pt x="84524" y="65642"/>
                  </a:lnTo>
                  <a:lnTo>
                    <a:pt x="83456" y="74865"/>
                  </a:lnTo>
                  <a:lnTo>
                    <a:pt x="82164" y="79465"/>
                  </a:lnTo>
                  <a:lnTo>
                    <a:pt x="82414" y="81636"/>
                  </a:lnTo>
                  <a:lnTo>
                    <a:pt x="84187" y="84968"/>
                  </a:lnTo>
                  <a:lnTo>
                    <a:pt x="83655" y="88113"/>
                  </a:lnTo>
                  <a:lnTo>
                    <a:pt x="83999" y="90724"/>
                  </a:lnTo>
                  <a:lnTo>
                    <a:pt x="83876" y="97972"/>
                  </a:lnTo>
                  <a:lnTo>
                    <a:pt x="84886" y="100108"/>
                  </a:lnTo>
                  <a:lnTo>
                    <a:pt x="86039" y="101476"/>
                  </a:lnTo>
                  <a:lnTo>
                    <a:pt x="92118" y="105775"/>
                  </a:lnTo>
                  <a:lnTo>
                    <a:pt x="92563" y="107368"/>
                  </a:lnTo>
                  <a:lnTo>
                    <a:pt x="95558" y="112839"/>
                  </a:lnTo>
                  <a:lnTo>
                    <a:pt x="101103" y="124748"/>
                  </a:lnTo>
                  <a:lnTo>
                    <a:pt x="102649" y="130104"/>
                  </a:lnTo>
                  <a:lnTo>
                    <a:pt x="102470" y="131544"/>
                  </a:lnTo>
                  <a:lnTo>
                    <a:pt x="101801" y="132141"/>
                  </a:lnTo>
                  <a:lnTo>
                    <a:pt x="100170" y="132665"/>
                  </a:lnTo>
                  <a:lnTo>
                    <a:pt x="98812" y="131617"/>
                  </a:lnTo>
                  <a:lnTo>
                    <a:pt x="98354" y="130867"/>
                  </a:lnTo>
                  <a:lnTo>
                    <a:pt x="98494" y="129935"/>
                  </a:lnTo>
                  <a:lnTo>
                    <a:pt x="97955" y="129018"/>
                  </a:lnTo>
                  <a:lnTo>
                    <a:pt x="96625" y="127923"/>
                  </a:lnTo>
                  <a:lnTo>
                    <a:pt x="95860" y="126942"/>
                  </a:lnTo>
                  <a:lnTo>
                    <a:pt x="96076" y="128570"/>
                  </a:lnTo>
                  <a:lnTo>
                    <a:pt x="96083" y="130677"/>
                  </a:lnTo>
                  <a:lnTo>
                    <a:pt x="94394" y="130856"/>
                  </a:lnTo>
                  <a:lnTo>
                    <a:pt x="92220" y="130195"/>
                  </a:lnTo>
                  <a:lnTo>
                    <a:pt x="89516" y="130790"/>
                  </a:lnTo>
                  <a:lnTo>
                    <a:pt x="86316" y="133374"/>
                  </a:lnTo>
                  <a:lnTo>
                    <a:pt x="84778" y="133448"/>
                  </a:lnTo>
                  <a:lnTo>
                    <a:pt x="83608" y="131228"/>
                  </a:lnTo>
                  <a:lnTo>
                    <a:pt x="83003" y="129724"/>
                  </a:lnTo>
                  <a:lnTo>
                    <a:pt x="82049" y="128656"/>
                  </a:lnTo>
                  <a:lnTo>
                    <a:pt x="71878" y="123211"/>
                  </a:lnTo>
                  <a:lnTo>
                    <a:pt x="68125" y="121812"/>
                  </a:lnTo>
                  <a:lnTo>
                    <a:pt x="64169" y="117680"/>
                  </a:lnTo>
                  <a:lnTo>
                    <a:pt x="55266" y="113120"/>
                  </a:lnTo>
                  <a:lnTo>
                    <a:pt x="49613" y="108675"/>
                  </a:lnTo>
                  <a:lnTo>
                    <a:pt x="47209" y="105928"/>
                  </a:lnTo>
                  <a:lnTo>
                    <a:pt x="41426" y="103492"/>
                  </a:lnTo>
                  <a:lnTo>
                    <a:pt x="38931" y="100620"/>
                  </a:lnTo>
                  <a:lnTo>
                    <a:pt x="37703" y="100055"/>
                  </a:lnTo>
                  <a:lnTo>
                    <a:pt x="36469" y="99032"/>
                  </a:lnTo>
                  <a:lnTo>
                    <a:pt x="37769" y="96245"/>
                  </a:lnTo>
                  <a:lnTo>
                    <a:pt x="37235" y="93338"/>
                  </a:lnTo>
                  <a:lnTo>
                    <a:pt x="36566" y="90886"/>
                  </a:lnTo>
                  <a:lnTo>
                    <a:pt x="32487" y="86043"/>
                  </a:lnTo>
                  <a:lnTo>
                    <a:pt x="30483" y="82663"/>
                  </a:lnTo>
                  <a:lnTo>
                    <a:pt x="26645" y="79298"/>
                  </a:lnTo>
                  <a:lnTo>
                    <a:pt x="25110" y="77355"/>
                  </a:lnTo>
                  <a:lnTo>
                    <a:pt x="23642" y="75101"/>
                  </a:lnTo>
                  <a:lnTo>
                    <a:pt x="24562" y="74313"/>
                  </a:lnTo>
                  <a:lnTo>
                    <a:pt x="25413" y="73835"/>
                  </a:lnTo>
                  <a:lnTo>
                    <a:pt x="24633" y="72200"/>
                  </a:lnTo>
                  <a:lnTo>
                    <a:pt x="22439" y="69353"/>
                  </a:lnTo>
                  <a:lnTo>
                    <a:pt x="21411" y="66081"/>
                  </a:lnTo>
                  <a:lnTo>
                    <a:pt x="21411" y="59904"/>
                  </a:lnTo>
                  <a:lnTo>
                    <a:pt x="18291" y="51215"/>
                  </a:lnTo>
                  <a:lnTo>
                    <a:pt x="15620" y="39166"/>
                  </a:lnTo>
                  <a:lnTo>
                    <a:pt x="16092" y="34945"/>
                  </a:lnTo>
                  <a:lnTo>
                    <a:pt x="15413" y="30370"/>
                  </a:lnTo>
                  <a:lnTo>
                    <a:pt x="13644" y="25969"/>
                  </a:lnTo>
                  <a:lnTo>
                    <a:pt x="11324" y="22823"/>
                  </a:lnTo>
                  <a:lnTo>
                    <a:pt x="10456" y="20209"/>
                  </a:lnTo>
                  <a:lnTo>
                    <a:pt x="10873" y="19172"/>
                  </a:lnTo>
                  <a:lnTo>
                    <a:pt x="11387" y="15777"/>
                  </a:lnTo>
                  <a:lnTo>
                    <a:pt x="11731" y="15105"/>
                  </a:lnTo>
                  <a:close/>
                  <a:moveTo>
                    <a:pt x="378779" y="8033"/>
                  </a:moveTo>
                  <a:lnTo>
                    <a:pt x="380035" y="8881"/>
                  </a:lnTo>
                  <a:lnTo>
                    <a:pt x="380407" y="11665"/>
                  </a:lnTo>
                  <a:lnTo>
                    <a:pt x="380234" y="12879"/>
                  </a:lnTo>
                  <a:lnTo>
                    <a:pt x="379476" y="14678"/>
                  </a:lnTo>
                  <a:lnTo>
                    <a:pt x="379042" y="16565"/>
                  </a:lnTo>
                  <a:lnTo>
                    <a:pt x="379579" y="16525"/>
                  </a:lnTo>
                  <a:lnTo>
                    <a:pt x="381810" y="15375"/>
                  </a:lnTo>
                  <a:lnTo>
                    <a:pt x="384138" y="12317"/>
                  </a:lnTo>
                  <a:lnTo>
                    <a:pt x="385451" y="9663"/>
                  </a:lnTo>
                  <a:lnTo>
                    <a:pt x="386570" y="8507"/>
                  </a:lnTo>
                  <a:lnTo>
                    <a:pt x="388811" y="9149"/>
                  </a:lnTo>
                  <a:lnTo>
                    <a:pt x="389310" y="9610"/>
                  </a:lnTo>
                  <a:lnTo>
                    <a:pt x="389153" y="11517"/>
                  </a:lnTo>
                  <a:lnTo>
                    <a:pt x="389366" y="12626"/>
                  </a:lnTo>
                  <a:lnTo>
                    <a:pt x="390230" y="14993"/>
                  </a:lnTo>
                  <a:lnTo>
                    <a:pt x="392138" y="16428"/>
                  </a:lnTo>
                  <a:lnTo>
                    <a:pt x="394767" y="17334"/>
                  </a:lnTo>
                  <a:lnTo>
                    <a:pt x="397209" y="18640"/>
                  </a:lnTo>
                  <a:lnTo>
                    <a:pt x="398005" y="19505"/>
                  </a:lnTo>
                  <a:lnTo>
                    <a:pt x="398535" y="20547"/>
                  </a:lnTo>
                  <a:lnTo>
                    <a:pt x="399068" y="22251"/>
                  </a:lnTo>
                  <a:lnTo>
                    <a:pt x="399109" y="23975"/>
                  </a:lnTo>
                  <a:lnTo>
                    <a:pt x="397347" y="25657"/>
                  </a:lnTo>
                  <a:lnTo>
                    <a:pt x="398096" y="28386"/>
                  </a:lnTo>
                  <a:lnTo>
                    <a:pt x="397980" y="29978"/>
                  </a:lnTo>
                  <a:lnTo>
                    <a:pt x="397375" y="31335"/>
                  </a:lnTo>
                  <a:lnTo>
                    <a:pt x="394810" y="32578"/>
                  </a:lnTo>
                  <a:lnTo>
                    <a:pt x="401808" y="31341"/>
                  </a:lnTo>
                  <a:lnTo>
                    <a:pt x="403536" y="30635"/>
                  </a:lnTo>
                  <a:lnTo>
                    <a:pt x="405924" y="28836"/>
                  </a:lnTo>
                  <a:lnTo>
                    <a:pt x="407205" y="30387"/>
                  </a:lnTo>
                  <a:lnTo>
                    <a:pt x="408401" y="33070"/>
                  </a:lnTo>
                  <a:lnTo>
                    <a:pt x="407438" y="33745"/>
                  </a:lnTo>
                  <a:lnTo>
                    <a:pt x="404397" y="34734"/>
                  </a:lnTo>
                  <a:lnTo>
                    <a:pt x="404249" y="35140"/>
                  </a:lnTo>
                  <a:lnTo>
                    <a:pt x="405257" y="36536"/>
                  </a:lnTo>
                  <a:lnTo>
                    <a:pt x="406529" y="36406"/>
                  </a:lnTo>
                  <a:lnTo>
                    <a:pt x="409038" y="35473"/>
                  </a:lnTo>
                  <a:lnTo>
                    <a:pt x="411349" y="34001"/>
                  </a:lnTo>
                  <a:lnTo>
                    <a:pt x="412470" y="34019"/>
                  </a:lnTo>
                  <a:lnTo>
                    <a:pt x="413648" y="34322"/>
                  </a:lnTo>
                  <a:lnTo>
                    <a:pt x="415931" y="35268"/>
                  </a:lnTo>
                  <a:lnTo>
                    <a:pt x="417209" y="36034"/>
                  </a:lnTo>
                  <a:lnTo>
                    <a:pt x="418291" y="37018"/>
                  </a:lnTo>
                  <a:lnTo>
                    <a:pt x="418993" y="39069"/>
                  </a:lnTo>
                  <a:lnTo>
                    <a:pt x="421621" y="39812"/>
                  </a:lnTo>
                  <a:lnTo>
                    <a:pt x="427008" y="42685"/>
                  </a:lnTo>
                  <a:lnTo>
                    <a:pt x="428008" y="42934"/>
                  </a:lnTo>
                  <a:lnTo>
                    <a:pt x="429058" y="42991"/>
                  </a:lnTo>
                  <a:lnTo>
                    <a:pt x="431897" y="42643"/>
                  </a:lnTo>
                  <a:lnTo>
                    <a:pt x="432893" y="43048"/>
                  </a:lnTo>
                  <a:lnTo>
                    <a:pt x="433603" y="44084"/>
                  </a:lnTo>
                  <a:lnTo>
                    <a:pt x="433841" y="45366"/>
                  </a:lnTo>
                  <a:lnTo>
                    <a:pt x="433763" y="46746"/>
                  </a:lnTo>
                  <a:lnTo>
                    <a:pt x="433474" y="47791"/>
                  </a:lnTo>
                  <a:lnTo>
                    <a:pt x="432809" y="48654"/>
                  </a:lnTo>
                  <a:lnTo>
                    <a:pt x="430876" y="49969"/>
                  </a:lnTo>
                  <a:lnTo>
                    <a:pt x="426018" y="51689"/>
                  </a:lnTo>
                  <a:lnTo>
                    <a:pt x="420701" y="52993"/>
                  </a:lnTo>
                  <a:lnTo>
                    <a:pt x="418032" y="52903"/>
                  </a:lnTo>
                  <a:lnTo>
                    <a:pt x="414284" y="51786"/>
                  </a:lnTo>
                  <a:lnTo>
                    <a:pt x="412916" y="51931"/>
                  </a:lnTo>
                  <a:lnTo>
                    <a:pt x="411602" y="52443"/>
                  </a:lnTo>
                  <a:lnTo>
                    <a:pt x="409938" y="55997"/>
                  </a:lnTo>
                  <a:lnTo>
                    <a:pt x="413009" y="59539"/>
                  </a:lnTo>
                  <a:lnTo>
                    <a:pt x="418278" y="63230"/>
                  </a:lnTo>
                  <a:lnTo>
                    <a:pt x="419000" y="64149"/>
                  </a:lnTo>
                  <a:lnTo>
                    <a:pt x="418805" y="65279"/>
                  </a:lnTo>
                  <a:lnTo>
                    <a:pt x="417965" y="65952"/>
                  </a:lnTo>
                  <a:lnTo>
                    <a:pt x="416853" y="66327"/>
                  </a:lnTo>
                  <a:lnTo>
                    <a:pt x="413891" y="66916"/>
                  </a:lnTo>
                  <a:lnTo>
                    <a:pt x="410898" y="67353"/>
                  </a:lnTo>
                  <a:lnTo>
                    <a:pt x="408434" y="67983"/>
                  </a:lnTo>
                  <a:lnTo>
                    <a:pt x="406021" y="68810"/>
                  </a:lnTo>
                  <a:lnTo>
                    <a:pt x="403532" y="68529"/>
                  </a:lnTo>
                  <a:lnTo>
                    <a:pt x="400113" y="66876"/>
                  </a:lnTo>
                  <a:lnTo>
                    <a:pt x="399129" y="66760"/>
                  </a:lnTo>
                  <a:lnTo>
                    <a:pt x="398096" y="67608"/>
                  </a:lnTo>
                  <a:lnTo>
                    <a:pt x="397079" y="69923"/>
                  </a:lnTo>
                  <a:lnTo>
                    <a:pt x="396430" y="70574"/>
                  </a:lnTo>
                  <a:lnTo>
                    <a:pt x="395609" y="70557"/>
                  </a:lnTo>
                  <a:lnTo>
                    <a:pt x="393698" y="70081"/>
                  </a:lnTo>
                  <a:lnTo>
                    <a:pt x="389865" y="67723"/>
                  </a:lnTo>
                  <a:lnTo>
                    <a:pt x="385952" y="66887"/>
                  </a:lnTo>
                  <a:lnTo>
                    <a:pt x="380269" y="66819"/>
                  </a:lnTo>
                  <a:lnTo>
                    <a:pt x="377047" y="66490"/>
                  </a:lnTo>
                  <a:lnTo>
                    <a:pt x="375739" y="66842"/>
                  </a:lnTo>
                  <a:lnTo>
                    <a:pt x="374641" y="66857"/>
                  </a:lnTo>
                  <a:lnTo>
                    <a:pt x="373847" y="66382"/>
                  </a:lnTo>
                  <a:lnTo>
                    <a:pt x="372998" y="66139"/>
                  </a:lnTo>
                  <a:lnTo>
                    <a:pt x="370782" y="67526"/>
                  </a:lnTo>
                  <a:lnTo>
                    <a:pt x="369746" y="67102"/>
                  </a:lnTo>
                  <a:lnTo>
                    <a:pt x="368699" y="66518"/>
                  </a:lnTo>
                  <a:lnTo>
                    <a:pt x="366839" y="66322"/>
                  </a:lnTo>
                  <a:lnTo>
                    <a:pt x="364589" y="66486"/>
                  </a:lnTo>
                  <a:lnTo>
                    <a:pt x="362093" y="67915"/>
                  </a:lnTo>
                  <a:lnTo>
                    <a:pt x="359320" y="66630"/>
                  </a:lnTo>
                  <a:lnTo>
                    <a:pt x="358537" y="66644"/>
                  </a:lnTo>
                  <a:lnTo>
                    <a:pt x="358007" y="66970"/>
                  </a:lnTo>
                  <a:lnTo>
                    <a:pt x="356805" y="68732"/>
                  </a:lnTo>
                  <a:lnTo>
                    <a:pt x="354514" y="70078"/>
                  </a:lnTo>
                  <a:lnTo>
                    <a:pt x="353380" y="72537"/>
                  </a:lnTo>
                  <a:lnTo>
                    <a:pt x="352684" y="74895"/>
                  </a:lnTo>
                  <a:lnTo>
                    <a:pt x="352073" y="75709"/>
                  </a:lnTo>
                  <a:lnTo>
                    <a:pt x="351908" y="80264"/>
                  </a:lnTo>
                  <a:lnTo>
                    <a:pt x="351545" y="82464"/>
                  </a:lnTo>
                  <a:lnTo>
                    <a:pt x="352123" y="85373"/>
                  </a:lnTo>
                  <a:lnTo>
                    <a:pt x="352021" y="86625"/>
                  </a:lnTo>
                  <a:lnTo>
                    <a:pt x="351000" y="88486"/>
                  </a:lnTo>
                  <a:lnTo>
                    <a:pt x="350875" y="88913"/>
                  </a:lnTo>
                  <a:lnTo>
                    <a:pt x="350333" y="91874"/>
                  </a:lnTo>
                  <a:lnTo>
                    <a:pt x="350540" y="92660"/>
                  </a:lnTo>
                  <a:lnTo>
                    <a:pt x="350408" y="93656"/>
                  </a:lnTo>
                  <a:lnTo>
                    <a:pt x="349551" y="95732"/>
                  </a:lnTo>
                  <a:lnTo>
                    <a:pt x="347998" y="96298"/>
                  </a:lnTo>
                  <a:lnTo>
                    <a:pt x="346362" y="96626"/>
                  </a:lnTo>
                  <a:lnTo>
                    <a:pt x="344965" y="95918"/>
                  </a:lnTo>
                  <a:lnTo>
                    <a:pt x="343703" y="97057"/>
                  </a:lnTo>
                  <a:lnTo>
                    <a:pt x="342103" y="98818"/>
                  </a:lnTo>
                  <a:lnTo>
                    <a:pt x="341413" y="100008"/>
                  </a:lnTo>
                  <a:lnTo>
                    <a:pt x="341417" y="101112"/>
                  </a:lnTo>
                  <a:lnTo>
                    <a:pt x="341574" y="101851"/>
                  </a:lnTo>
                  <a:lnTo>
                    <a:pt x="341248" y="102612"/>
                  </a:lnTo>
                  <a:lnTo>
                    <a:pt x="341207" y="103418"/>
                  </a:lnTo>
                  <a:lnTo>
                    <a:pt x="341290" y="104586"/>
                  </a:lnTo>
                  <a:lnTo>
                    <a:pt x="342376" y="105069"/>
                  </a:lnTo>
                  <a:lnTo>
                    <a:pt x="343503" y="106076"/>
                  </a:lnTo>
                  <a:lnTo>
                    <a:pt x="343464" y="107043"/>
                  </a:lnTo>
                  <a:lnTo>
                    <a:pt x="342838" y="107712"/>
                  </a:lnTo>
                  <a:lnTo>
                    <a:pt x="341417" y="108747"/>
                  </a:lnTo>
                  <a:lnTo>
                    <a:pt x="338822" y="110856"/>
                  </a:lnTo>
                  <a:lnTo>
                    <a:pt x="335884" y="112658"/>
                  </a:lnTo>
                  <a:lnTo>
                    <a:pt x="334781" y="113076"/>
                  </a:lnTo>
                  <a:lnTo>
                    <a:pt x="334381" y="113907"/>
                  </a:lnTo>
                  <a:lnTo>
                    <a:pt x="334168" y="115025"/>
                  </a:lnTo>
                  <a:lnTo>
                    <a:pt x="334816" y="117475"/>
                  </a:lnTo>
                  <a:lnTo>
                    <a:pt x="335431" y="118198"/>
                  </a:lnTo>
                  <a:lnTo>
                    <a:pt x="335757" y="119059"/>
                  </a:lnTo>
                  <a:lnTo>
                    <a:pt x="335362" y="120082"/>
                  </a:lnTo>
                  <a:lnTo>
                    <a:pt x="335081" y="120963"/>
                  </a:lnTo>
                  <a:lnTo>
                    <a:pt x="333999" y="121515"/>
                  </a:lnTo>
                  <a:lnTo>
                    <a:pt x="332948" y="121918"/>
                  </a:lnTo>
                  <a:lnTo>
                    <a:pt x="332564" y="122620"/>
                  </a:lnTo>
                  <a:lnTo>
                    <a:pt x="332006" y="125557"/>
                  </a:lnTo>
                  <a:lnTo>
                    <a:pt x="331372" y="127088"/>
                  </a:lnTo>
                  <a:lnTo>
                    <a:pt x="329940" y="129363"/>
                  </a:lnTo>
                  <a:lnTo>
                    <a:pt x="329462" y="130403"/>
                  </a:lnTo>
                  <a:lnTo>
                    <a:pt x="328724" y="130738"/>
                  </a:lnTo>
                  <a:lnTo>
                    <a:pt x="325952" y="129675"/>
                  </a:lnTo>
                  <a:lnTo>
                    <a:pt x="323466" y="130320"/>
                  </a:lnTo>
                  <a:lnTo>
                    <a:pt x="320177" y="130731"/>
                  </a:lnTo>
                  <a:lnTo>
                    <a:pt x="317392" y="130666"/>
                  </a:lnTo>
                  <a:lnTo>
                    <a:pt x="315232" y="131130"/>
                  </a:lnTo>
                  <a:lnTo>
                    <a:pt x="313749" y="132333"/>
                  </a:lnTo>
                  <a:lnTo>
                    <a:pt x="312092" y="133848"/>
                  </a:lnTo>
                  <a:lnTo>
                    <a:pt x="310352" y="134971"/>
                  </a:lnTo>
                  <a:lnTo>
                    <a:pt x="309039" y="135517"/>
                  </a:lnTo>
                  <a:lnTo>
                    <a:pt x="306627" y="133914"/>
                  </a:lnTo>
                  <a:lnTo>
                    <a:pt x="305411" y="134052"/>
                  </a:lnTo>
                  <a:lnTo>
                    <a:pt x="303217" y="133500"/>
                  </a:lnTo>
                  <a:lnTo>
                    <a:pt x="298071" y="131709"/>
                  </a:lnTo>
                  <a:lnTo>
                    <a:pt x="296798" y="131185"/>
                  </a:lnTo>
                  <a:lnTo>
                    <a:pt x="295424" y="131139"/>
                  </a:lnTo>
                  <a:lnTo>
                    <a:pt x="295020" y="130625"/>
                  </a:lnTo>
                  <a:lnTo>
                    <a:pt x="295237" y="129760"/>
                  </a:lnTo>
                  <a:lnTo>
                    <a:pt x="295020" y="128625"/>
                  </a:lnTo>
                  <a:lnTo>
                    <a:pt x="294019" y="128195"/>
                  </a:lnTo>
                  <a:lnTo>
                    <a:pt x="283697" y="128370"/>
                  </a:lnTo>
                  <a:lnTo>
                    <a:pt x="280721" y="129351"/>
                  </a:lnTo>
                  <a:lnTo>
                    <a:pt x="278710" y="130127"/>
                  </a:lnTo>
                  <a:lnTo>
                    <a:pt x="277275" y="131024"/>
                  </a:lnTo>
                  <a:lnTo>
                    <a:pt x="276869" y="133256"/>
                  </a:lnTo>
                  <a:lnTo>
                    <a:pt x="276011" y="135347"/>
                  </a:lnTo>
                  <a:lnTo>
                    <a:pt x="274904" y="137564"/>
                  </a:lnTo>
                  <a:lnTo>
                    <a:pt x="271467" y="138229"/>
                  </a:lnTo>
                  <a:lnTo>
                    <a:pt x="268944" y="140476"/>
                  </a:lnTo>
                  <a:lnTo>
                    <a:pt x="268075" y="140746"/>
                  </a:lnTo>
                  <a:lnTo>
                    <a:pt x="266341" y="140420"/>
                  </a:lnTo>
                  <a:lnTo>
                    <a:pt x="264487" y="140235"/>
                  </a:lnTo>
                  <a:lnTo>
                    <a:pt x="263143" y="140860"/>
                  </a:lnTo>
                  <a:lnTo>
                    <a:pt x="261740" y="140828"/>
                  </a:lnTo>
                  <a:lnTo>
                    <a:pt x="257395" y="139779"/>
                  </a:lnTo>
                  <a:lnTo>
                    <a:pt x="253297" y="139617"/>
                  </a:lnTo>
                  <a:lnTo>
                    <a:pt x="250969" y="140151"/>
                  </a:lnTo>
                  <a:lnTo>
                    <a:pt x="249687" y="140351"/>
                  </a:lnTo>
                  <a:lnTo>
                    <a:pt x="242537" y="143430"/>
                  </a:lnTo>
                  <a:lnTo>
                    <a:pt x="240127" y="143787"/>
                  </a:lnTo>
                  <a:lnTo>
                    <a:pt x="239146" y="143342"/>
                  </a:lnTo>
                  <a:lnTo>
                    <a:pt x="237766" y="142082"/>
                  </a:lnTo>
                  <a:lnTo>
                    <a:pt x="235914" y="140823"/>
                  </a:lnTo>
                  <a:lnTo>
                    <a:pt x="231481" y="136530"/>
                  </a:lnTo>
                  <a:lnTo>
                    <a:pt x="229846" y="135521"/>
                  </a:lnTo>
                  <a:lnTo>
                    <a:pt x="228759" y="134485"/>
                  </a:lnTo>
                  <a:lnTo>
                    <a:pt x="227725" y="133259"/>
                  </a:lnTo>
                  <a:lnTo>
                    <a:pt x="226257" y="131936"/>
                  </a:lnTo>
                  <a:lnTo>
                    <a:pt x="224920" y="131027"/>
                  </a:lnTo>
                  <a:lnTo>
                    <a:pt x="223100" y="129169"/>
                  </a:lnTo>
                  <a:lnTo>
                    <a:pt x="221292" y="127136"/>
                  </a:lnTo>
                  <a:lnTo>
                    <a:pt x="220891" y="123558"/>
                  </a:lnTo>
                  <a:lnTo>
                    <a:pt x="219453" y="122902"/>
                  </a:lnTo>
                  <a:lnTo>
                    <a:pt x="218969" y="121972"/>
                  </a:lnTo>
                  <a:lnTo>
                    <a:pt x="218748" y="120914"/>
                  </a:lnTo>
                  <a:lnTo>
                    <a:pt x="220737" y="118008"/>
                  </a:lnTo>
                  <a:lnTo>
                    <a:pt x="222184" y="121078"/>
                  </a:lnTo>
                  <a:lnTo>
                    <a:pt x="222743" y="121762"/>
                  </a:lnTo>
                  <a:lnTo>
                    <a:pt x="225955" y="123827"/>
                  </a:lnTo>
                  <a:lnTo>
                    <a:pt x="228602" y="124863"/>
                  </a:lnTo>
                  <a:lnTo>
                    <a:pt x="231465" y="125284"/>
                  </a:lnTo>
                  <a:lnTo>
                    <a:pt x="234381" y="125370"/>
                  </a:lnTo>
                  <a:lnTo>
                    <a:pt x="235540" y="125227"/>
                  </a:lnTo>
                  <a:lnTo>
                    <a:pt x="236665" y="124817"/>
                  </a:lnTo>
                  <a:lnTo>
                    <a:pt x="237777" y="125256"/>
                  </a:lnTo>
                  <a:lnTo>
                    <a:pt x="243873" y="128614"/>
                  </a:lnTo>
                  <a:lnTo>
                    <a:pt x="246236" y="129215"/>
                  </a:lnTo>
                  <a:lnTo>
                    <a:pt x="248732" y="128958"/>
                  </a:lnTo>
                  <a:lnTo>
                    <a:pt x="249727" y="129293"/>
                  </a:lnTo>
                  <a:lnTo>
                    <a:pt x="253232" y="131869"/>
                  </a:lnTo>
                  <a:lnTo>
                    <a:pt x="254266" y="132177"/>
                  </a:lnTo>
                  <a:lnTo>
                    <a:pt x="255992" y="131980"/>
                  </a:lnTo>
                  <a:lnTo>
                    <a:pt x="253785" y="130804"/>
                  </a:lnTo>
                  <a:lnTo>
                    <a:pt x="252338" y="129972"/>
                  </a:lnTo>
                  <a:lnTo>
                    <a:pt x="251690" y="128398"/>
                  </a:lnTo>
                  <a:lnTo>
                    <a:pt x="252086" y="126721"/>
                  </a:lnTo>
                  <a:lnTo>
                    <a:pt x="253491" y="125605"/>
                  </a:lnTo>
                  <a:lnTo>
                    <a:pt x="254465" y="124396"/>
                  </a:lnTo>
                  <a:lnTo>
                    <a:pt x="254815" y="120778"/>
                  </a:lnTo>
                  <a:lnTo>
                    <a:pt x="255434" y="118947"/>
                  </a:lnTo>
                  <a:lnTo>
                    <a:pt x="256603" y="117205"/>
                  </a:lnTo>
                  <a:lnTo>
                    <a:pt x="256985" y="115526"/>
                  </a:lnTo>
                  <a:lnTo>
                    <a:pt x="255674" y="114245"/>
                  </a:lnTo>
                  <a:lnTo>
                    <a:pt x="255379" y="112043"/>
                  </a:lnTo>
                  <a:lnTo>
                    <a:pt x="255668" y="110219"/>
                  </a:lnTo>
                  <a:lnTo>
                    <a:pt x="256410" y="108978"/>
                  </a:lnTo>
                  <a:lnTo>
                    <a:pt x="257599" y="109795"/>
                  </a:lnTo>
                  <a:lnTo>
                    <a:pt x="258825" y="110555"/>
                  </a:lnTo>
                  <a:lnTo>
                    <a:pt x="260036" y="110479"/>
                  </a:lnTo>
                  <a:lnTo>
                    <a:pt x="260870" y="110177"/>
                  </a:lnTo>
                  <a:lnTo>
                    <a:pt x="261023" y="109236"/>
                  </a:lnTo>
                  <a:lnTo>
                    <a:pt x="260794" y="107598"/>
                  </a:lnTo>
                  <a:lnTo>
                    <a:pt x="260857" y="104584"/>
                  </a:lnTo>
                  <a:lnTo>
                    <a:pt x="262387" y="102178"/>
                  </a:lnTo>
                  <a:lnTo>
                    <a:pt x="264837" y="100520"/>
                  </a:lnTo>
                  <a:lnTo>
                    <a:pt x="267147" y="99727"/>
                  </a:lnTo>
                  <a:lnTo>
                    <a:pt x="275795" y="98379"/>
                  </a:lnTo>
                  <a:lnTo>
                    <a:pt x="289471" y="94932"/>
                  </a:lnTo>
                  <a:lnTo>
                    <a:pt x="293522" y="93599"/>
                  </a:lnTo>
                  <a:lnTo>
                    <a:pt x="295012" y="92908"/>
                  </a:lnTo>
                  <a:lnTo>
                    <a:pt x="296268" y="91949"/>
                  </a:lnTo>
                  <a:lnTo>
                    <a:pt x="298381" y="88888"/>
                  </a:lnTo>
                  <a:lnTo>
                    <a:pt x="302358" y="84063"/>
                  </a:lnTo>
                  <a:lnTo>
                    <a:pt x="305144" y="80098"/>
                  </a:lnTo>
                  <a:lnTo>
                    <a:pt x="311026" y="74322"/>
                  </a:lnTo>
                  <a:lnTo>
                    <a:pt x="315710" y="68966"/>
                  </a:lnTo>
                  <a:lnTo>
                    <a:pt x="316342" y="67958"/>
                  </a:lnTo>
                  <a:lnTo>
                    <a:pt x="317121" y="65034"/>
                  </a:lnTo>
                  <a:lnTo>
                    <a:pt x="317180" y="63658"/>
                  </a:lnTo>
                  <a:lnTo>
                    <a:pt x="317044" y="62263"/>
                  </a:lnTo>
                  <a:lnTo>
                    <a:pt x="317668" y="61610"/>
                  </a:lnTo>
                  <a:lnTo>
                    <a:pt x="318577" y="61220"/>
                  </a:lnTo>
                  <a:lnTo>
                    <a:pt x="318804" y="61224"/>
                  </a:lnTo>
                  <a:lnTo>
                    <a:pt x="319495" y="61832"/>
                  </a:lnTo>
                  <a:lnTo>
                    <a:pt x="321125" y="62680"/>
                  </a:lnTo>
                  <a:lnTo>
                    <a:pt x="322347" y="63767"/>
                  </a:lnTo>
                  <a:lnTo>
                    <a:pt x="323164" y="65177"/>
                  </a:lnTo>
                  <a:lnTo>
                    <a:pt x="323751" y="66496"/>
                  </a:lnTo>
                  <a:lnTo>
                    <a:pt x="323796" y="67615"/>
                  </a:lnTo>
                  <a:lnTo>
                    <a:pt x="324532" y="68532"/>
                  </a:lnTo>
                  <a:lnTo>
                    <a:pt x="326604" y="68686"/>
                  </a:lnTo>
                  <a:lnTo>
                    <a:pt x="327277" y="69844"/>
                  </a:lnTo>
                  <a:lnTo>
                    <a:pt x="328717" y="71838"/>
                  </a:lnTo>
                  <a:lnTo>
                    <a:pt x="330034" y="73266"/>
                  </a:lnTo>
                  <a:lnTo>
                    <a:pt x="330842" y="73822"/>
                  </a:lnTo>
                  <a:lnTo>
                    <a:pt x="331855" y="73519"/>
                  </a:lnTo>
                  <a:lnTo>
                    <a:pt x="333423" y="72215"/>
                  </a:lnTo>
                  <a:lnTo>
                    <a:pt x="334554" y="70614"/>
                  </a:lnTo>
                  <a:lnTo>
                    <a:pt x="335312" y="68450"/>
                  </a:lnTo>
                  <a:lnTo>
                    <a:pt x="334716" y="68134"/>
                  </a:lnTo>
                  <a:lnTo>
                    <a:pt x="335768" y="66501"/>
                  </a:lnTo>
                  <a:lnTo>
                    <a:pt x="335971" y="65643"/>
                  </a:lnTo>
                  <a:lnTo>
                    <a:pt x="335485" y="64855"/>
                  </a:lnTo>
                  <a:lnTo>
                    <a:pt x="334864" y="64077"/>
                  </a:lnTo>
                  <a:lnTo>
                    <a:pt x="334623" y="62102"/>
                  </a:lnTo>
                  <a:lnTo>
                    <a:pt x="334196" y="59588"/>
                  </a:lnTo>
                  <a:lnTo>
                    <a:pt x="333902" y="58445"/>
                  </a:lnTo>
                  <a:lnTo>
                    <a:pt x="334732" y="57631"/>
                  </a:lnTo>
                  <a:lnTo>
                    <a:pt x="336508" y="56591"/>
                  </a:lnTo>
                  <a:lnTo>
                    <a:pt x="338281" y="55383"/>
                  </a:lnTo>
                  <a:lnTo>
                    <a:pt x="340095" y="54420"/>
                  </a:lnTo>
                  <a:lnTo>
                    <a:pt x="340141" y="56161"/>
                  </a:lnTo>
                  <a:lnTo>
                    <a:pt x="340095" y="59037"/>
                  </a:lnTo>
                  <a:lnTo>
                    <a:pt x="340644" y="61446"/>
                  </a:lnTo>
                  <a:lnTo>
                    <a:pt x="341870" y="65705"/>
                  </a:lnTo>
                  <a:lnTo>
                    <a:pt x="343276" y="66286"/>
                  </a:lnTo>
                  <a:lnTo>
                    <a:pt x="344958" y="66662"/>
                  </a:lnTo>
                  <a:lnTo>
                    <a:pt x="345930" y="66543"/>
                  </a:lnTo>
                  <a:lnTo>
                    <a:pt x="346563" y="66262"/>
                  </a:lnTo>
                  <a:lnTo>
                    <a:pt x="346729" y="65919"/>
                  </a:lnTo>
                  <a:lnTo>
                    <a:pt x="345679" y="64244"/>
                  </a:lnTo>
                  <a:lnTo>
                    <a:pt x="345401" y="60308"/>
                  </a:lnTo>
                  <a:lnTo>
                    <a:pt x="344544" y="57725"/>
                  </a:lnTo>
                  <a:lnTo>
                    <a:pt x="343228" y="55151"/>
                  </a:lnTo>
                  <a:lnTo>
                    <a:pt x="342600" y="54419"/>
                  </a:lnTo>
                  <a:lnTo>
                    <a:pt x="347794" y="53687"/>
                  </a:lnTo>
                  <a:lnTo>
                    <a:pt x="348960" y="52880"/>
                  </a:lnTo>
                  <a:lnTo>
                    <a:pt x="350998" y="51112"/>
                  </a:lnTo>
                  <a:lnTo>
                    <a:pt x="351765" y="50123"/>
                  </a:lnTo>
                  <a:lnTo>
                    <a:pt x="352373" y="47893"/>
                  </a:lnTo>
                  <a:lnTo>
                    <a:pt x="349828" y="46564"/>
                  </a:lnTo>
                  <a:lnTo>
                    <a:pt x="348828" y="44869"/>
                  </a:lnTo>
                  <a:lnTo>
                    <a:pt x="348770" y="43036"/>
                  </a:lnTo>
                  <a:lnTo>
                    <a:pt x="351808" y="39632"/>
                  </a:lnTo>
                  <a:lnTo>
                    <a:pt x="352857" y="38817"/>
                  </a:lnTo>
                  <a:lnTo>
                    <a:pt x="353313" y="40027"/>
                  </a:lnTo>
                  <a:lnTo>
                    <a:pt x="354652" y="40332"/>
                  </a:lnTo>
                  <a:lnTo>
                    <a:pt x="355885" y="40379"/>
                  </a:lnTo>
                  <a:lnTo>
                    <a:pt x="357124" y="40310"/>
                  </a:lnTo>
                  <a:lnTo>
                    <a:pt x="358899" y="38593"/>
                  </a:lnTo>
                  <a:lnTo>
                    <a:pt x="359812" y="36122"/>
                  </a:lnTo>
                  <a:lnTo>
                    <a:pt x="362937" y="32629"/>
                  </a:lnTo>
                  <a:lnTo>
                    <a:pt x="364049" y="29947"/>
                  </a:lnTo>
                  <a:lnTo>
                    <a:pt x="364676" y="27145"/>
                  </a:lnTo>
                  <a:lnTo>
                    <a:pt x="372555" y="18439"/>
                  </a:lnTo>
                  <a:lnTo>
                    <a:pt x="373519" y="17084"/>
                  </a:lnTo>
                  <a:lnTo>
                    <a:pt x="378196" y="8324"/>
                  </a:lnTo>
                  <a:close/>
                  <a:moveTo>
                    <a:pt x="389567" y="0"/>
                  </a:moveTo>
                  <a:lnTo>
                    <a:pt x="389936" y="1357"/>
                  </a:lnTo>
                  <a:lnTo>
                    <a:pt x="389627" y="2909"/>
                  </a:lnTo>
                  <a:lnTo>
                    <a:pt x="389021" y="3710"/>
                  </a:lnTo>
                  <a:lnTo>
                    <a:pt x="386859" y="4078"/>
                  </a:lnTo>
                  <a:lnTo>
                    <a:pt x="385512" y="5254"/>
                  </a:lnTo>
                  <a:lnTo>
                    <a:pt x="385058" y="3841"/>
                  </a:lnTo>
                  <a:lnTo>
                    <a:pt x="385149" y="2022"/>
                  </a:lnTo>
                  <a:lnTo>
                    <a:pt x="386975" y="326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12" name="ee4p_NP_1_82333">
              <a:extLst>
                <a:ext uri="{FF2B5EF4-FFF2-40B4-BE49-F238E27FC236}">
                  <a16:creationId xmlns:a16="http://schemas.microsoft.com/office/drawing/2014/main" id="{B4B24913-AA98-7E5E-4196-3AD72E154281}"/>
                </a:ext>
              </a:extLst>
            </p:cNvPr>
            <p:cNvSpPr>
              <a:spLocks noChangeAspect="1"/>
            </p:cNvSpPr>
            <p:nvPr>
              <p:custDataLst>
                <p:tags r:id="rId40"/>
              </p:custDataLst>
            </p:nvPr>
          </p:nvSpPr>
          <p:spPr>
            <a:xfrm>
              <a:off x="8737682" y="3781723"/>
              <a:ext cx="225207" cy="124545"/>
            </a:xfrm>
            <a:custGeom>
              <a:avLst/>
              <a:gdLst/>
              <a:ahLst/>
              <a:cxnLst/>
              <a:rect l="0" t="0" r="0" b="0"/>
              <a:pathLst>
                <a:path w="179327" h="96544">
                  <a:moveTo>
                    <a:pt x="178182" y="60601"/>
                  </a:moveTo>
                  <a:lnTo>
                    <a:pt x="179078" y="61253"/>
                  </a:lnTo>
                  <a:lnTo>
                    <a:pt x="179166" y="62319"/>
                  </a:lnTo>
                  <a:lnTo>
                    <a:pt x="179005" y="63501"/>
                  </a:lnTo>
                  <a:lnTo>
                    <a:pt x="178089" y="66051"/>
                  </a:lnTo>
                  <a:lnTo>
                    <a:pt x="177256" y="67841"/>
                  </a:lnTo>
                  <a:lnTo>
                    <a:pt x="176288" y="71621"/>
                  </a:lnTo>
                  <a:lnTo>
                    <a:pt x="175409" y="78170"/>
                  </a:lnTo>
                  <a:lnTo>
                    <a:pt x="175603" y="79309"/>
                  </a:lnTo>
                  <a:lnTo>
                    <a:pt x="178210" y="83057"/>
                  </a:lnTo>
                  <a:lnTo>
                    <a:pt x="179231" y="85936"/>
                  </a:lnTo>
                  <a:lnTo>
                    <a:pt x="179326" y="87896"/>
                  </a:lnTo>
                  <a:lnTo>
                    <a:pt x="178221" y="91181"/>
                  </a:lnTo>
                  <a:lnTo>
                    <a:pt x="176968" y="94890"/>
                  </a:lnTo>
                  <a:lnTo>
                    <a:pt x="176351" y="95720"/>
                  </a:lnTo>
                  <a:lnTo>
                    <a:pt x="175647" y="96020"/>
                  </a:lnTo>
                  <a:lnTo>
                    <a:pt x="172421" y="94727"/>
                  </a:lnTo>
                  <a:lnTo>
                    <a:pt x="170201" y="94908"/>
                  </a:lnTo>
                  <a:lnTo>
                    <a:pt x="167648" y="95623"/>
                  </a:lnTo>
                  <a:lnTo>
                    <a:pt x="164988" y="95484"/>
                  </a:lnTo>
                  <a:lnTo>
                    <a:pt x="162787" y="95058"/>
                  </a:lnTo>
                  <a:lnTo>
                    <a:pt x="159998" y="96543"/>
                  </a:lnTo>
                  <a:lnTo>
                    <a:pt x="157331" y="95739"/>
                  </a:lnTo>
                  <a:lnTo>
                    <a:pt x="155623" y="94815"/>
                  </a:lnTo>
                  <a:lnTo>
                    <a:pt x="154480" y="92244"/>
                  </a:lnTo>
                  <a:lnTo>
                    <a:pt x="154005" y="91916"/>
                  </a:lnTo>
                  <a:lnTo>
                    <a:pt x="148391" y="94608"/>
                  </a:lnTo>
                  <a:lnTo>
                    <a:pt x="147039" y="94771"/>
                  </a:lnTo>
                  <a:lnTo>
                    <a:pt x="143552" y="93326"/>
                  </a:lnTo>
                  <a:lnTo>
                    <a:pt x="140695" y="91895"/>
                  </a:lnTo>
                  <a:lnTo>
                    <a:pt x="139626" y="91466"/>
                  </a:lnTo>
                  <a:lnTo>
                    <a:pt x="136873" y="90906"/>
                  </a:lnTo>
                  <a:lnTo>
                    <a:pt x="134392" y="90580"/>
                  </a:lnTo>
                  <a:lnTo>
                    <a:pt x="131692" y="89687"/>
                  </a:lnTo>
                  <a:lnTo>
                    <a:pt x="128339" y="90854"/>
                  </a:lnTo>
                  <a:lnTo>
                    <a:pt x="126987" y="90760"/>
                  </a:lnTo>
                  <a:lnTo>
                    <a:pt x="125722" y="89915"/>
                  </a:lnTo>
                  <a:lnTo>
                    <a:pt x="125061" y="88185"/>
                  </a:lnTo>
                  <a:lnTo>
                    <a:pt x="124895" y="86546"/>
                  </a:lnTo>
                  <a:lnTo>
                    <a:pt x="123757" y="85421"/>
                  </a:lnTo>
                  <a:lnTo>
                    <a:pt x="121988" y="85163"/>
                  </a:lnTo>
                  <a:lnTo>
                    <a:pt x="119511" y="86176"/>
                  </a:lnTo>
                  <a:lnTo>
                    <a:pt x="115897" y="87511"/>
                  </a:lnTo>
                  <a:lnTo>
                    <a:pt x="114730" y="87290"/>
                  </a:lnTo>
                  <a:lnTo>
                    <a:pt x="113659" y="86905"/>
                  </a:lnTo>
                  <a:lnTo>
                    <a:pt x="113268" y="86549"/>
                  </a:lnTo>
                  <a:lnTo>
                    <a:pt x="112770" y="85002"/>
                  </a:lnTo>
                  <a:lnTo>
                    <a:pt x="112191" y="84661"/>
                  </a:lnTo>
                  <a:lnTo>
                    <a:pt x="111349" y="84615"/>
                  </a:lnTo>
                  <a:lnTo>
                    <a:pt x="109863" y="84244"/>
                  </a:lnTo>
                  <a:lnTo>
                    <a:pt x="108030" y="83094"/>
                  </a:lnTo>
                  <a:lnTo>
                    <a:pt x="102461" y="80381"/>
                  </a:lnTo>
                  <a:lnTo>
                    <a:pt x="101763" y="79175"/>
                  </a:lnTo>
                  <a:lnTo>
                    <a:pt x="101785" y="76510"/>
                  </a:lnTo>
                  <a:lnTo>
                    <a:pt x="101474" y="75410"/>
                  </a:lnTo>
                  <a:lnTo>
                    <a:pt x="100798" y="74247"/>
                  </a:lnTo>
                  <a:lnTo>
                    <a:pt x="97939" y="73068"/>
                  </a:lnTo>
                  <a:lnTo>
                    <a:pt x="92387" y="71169"/>
                  </a:lnTo>
                  <a:lnTo>
                    <a:pt x="89319" y="69655"/>
                  </a:lnTo>
                  <a:lnTo>
                    <a:pt x="87855" y="70363"/>
                  </a:lnTo>
                  <a:lnTo>
                    <a:pt x="85033" y="70996"/>
                  </a:lnTo>
                  <a:lnTo>
                    <a:pt x="83521" y="72361"/>
                  </a:lnTo>
                  <a:lnTo>
                    <a:pt x="81711" y="71929"/>
                  </a:lnTo>
                  <a:lnTo>
                    <a:pt x="77393" y="70489"/>
                  </a:lnTo>
                  <a:lnTo>
                    <a:pt x="75082" y="70275"/>
                  </a:lnTo>
                  <a:lnTo>
                    <a:pt x="73685" y="70764"/>
                  </a:lnTo>
                  <a:lnTo>
                    <a:pt x="73363" y="71589"/>
                  </a:lnTo>
                  <a:lnTo>
                    <a:pt x="71601" y="72524"/>
                  </a:lnTo>
                  <a:lnTo>
                    <a:pt x="69923" y="71778"/>
                  </a:lnTo>
                  <a:lnTo>
                    <a:pt x="66611" y="70771"/>
                  </a:lnTo>
                  <a:lnTo>
                    <a:pt x="63709" y="70219"/>
                  </a:lnTo>
                  <a:lnTo>
                    <a:pt x="59299" y="68996"/>
                  </a:lnTo>
                  <a:lnTo>
                    <a:pt x="58800" y="67142"/>
                  </a:lnTo>
                  <a:lnTo>
                    <a:pt x="58059" y="65310"/>
                  </a:lnTo>
                  <a:lnTo>
                    <a:pt x="57010" y="64985"/>
                  </a:lnTo>
                  <a:lnTo>
                    <a:pt x="53063" y="65349"/>
                  </a:lnTo>
                  <a:lnTo>
                    <a:pt x="49444" y="63326"/>
                  </a:lnTo>
                  <a:lnTo>
                    <a:pt x="45557" y="60736"/>
                  </a:lnTo>
                  <a:lnTo>
                    <a:pt x="43901" y="59884"/>
                  </a:lnTo>
                  <a:lnTo>
                    <a:pt x="42810" y="59569"/>
                  </a:lnTo>
                  <a:lnTo>
                    <a:pt x="41871" y="59916"/>
                  </a:lnTo>
                  <a:lnTo>
                    <a:pt x="40802" y="60509"/>
                  </a:lnTo>
                  <a:lnTo>
                    <a:pt x="39824" y="60685"/>
                  </a:lnTo>
                  <a:lnTo>
                    <a:pt x="37714" y="59568"/>
                  </a:lnTo>
                  <a:lnTo>
                    <a:pt x="35023" y="57974"/>
                  </a:lnTo>
                  <a:lnTo>
                    <a:pt x="31717" y="56019"/>
                  </a:lnTo>
                  <a:lnTo>
                    <a:pt x="27843" y="53287"/>
                  </a:lnTo>
                  <a:lnTo>
                    <a:pt x="26254" y="51743"/>
                  </a:lnTo>
                  <a:lnTo>
                    <a:pt x="25531" y="50580"/>
                  </a:lnTo>
                  <a:lnTo>
                    <a:pt x="24706" y="49487"/>
                  </a:lnTo>
                  <a:lnTo>
                    <a:pt x="21337" y="47700"/>
                  </a:lnTo>
                  <a:lnTo>
                    <a:pt x="18673" y="46286"/>
                  </a:lnTo>
                  <a:lnTo>
                    <a:pt x="15459" y="44579"/>
                  </a:lnTo>
                  <a:lnTo>
                    <a:pt x="14915" y="44238"/>
                  </a:lnTo>
                  <a:lnTo>
                    <a:pt x="13702" y="43222"/>
                  </a:lnTo>
                  <a:lnTo>
                    <a:pt x="11838" y="41942"/>
                  </a:lnTo>
                  <a:lnTo>
                    <a:pt x="10309" y="41568"/>
                  </a:lnTo>
                  <a:lnTo>
                    <a:pt x="9821" y="42273"/>
                  </a:lnTo>
                  <a:lnTo>
                    <a:pt x="9452" y="43015"/>
                  </a:lnTo>
                  <a:lnTo>
                    <a:pt x="8113" y="42844"/>
                  </a:lnTo>
                  <a:lnTo>
                    <a:pt x="6040" y="41538"/>
                  </a:lnTo>
                  <a:lnTo>
                    <a:pt x="3868" y="40171"/>
                  </a:lnTo>
                  <a:lnTo>
                    <a:pt x="2166" y="38904"/>
                  </a:lnTo>
                  <a:lnTo>
                    <a:pt x="421" y="37604"/>
                  </a:lnTo>
                  <a:lnTo>
                    <a:pt x="0" y="36640"/>
                  </a:lnTo>
                  <a:lnTo>
                    <a:pt x="728" y="33661"/>
                  </a:lnTo>
                  <a:lnTo>
                    <a:pt x="1743" y="31105"/>
                  </a:lnTo>
                  <a:lnTo>
                    <a:pt x="2607" y="30529"/>
                  </a:lnTo>
                  <a:lnTo>
                    <a:pt x="4010" y="28836"/>
                  </a:lnTo>
                  <a:lnTo>
                    <a:pt x="4518" y="25863"/>
                  </a:lnTo>
                  <a:lnTo>
                    <a:pt x="4494" y="23323"/>
                  </a:lnTo>
                  <a:lnTo>
                    <a:pt x="5865" y="19734"/>
                  </a:lnTo>
                  <a:lnTo>
                    <a:pt x="7744" y="15913"/>
                  </a:lnTo>
                  <a:lnTo>
                    <a:pt x="10998" y="11815"/>
                  </a:lnTo>
                  <a:lnTo>
                    <a:pt x="12410" y="10459"/>
                  </a:lnTo>
                  <a:lnTo>
                    <a:pt x="13984" y="9527"/>
                  </a:lnTo>
                  <a:lnTo>
                    <a:pt x="16988" y="6501"/>
                  </a:lnTo>
                  <a:lnTo>
                    <a:pt x="17612" y="6006"/>
                  </a:lnTo>
                  <a:lnTo>
                    <a:pt x="18927" y="5226"/>
                  </a:lnTo>
                  <a:lnTo>
                    <a:pt x="20221" y="5030"/>
                  </a:lnTo>
                  <a:lnTo>
                    <a:pt x="21197" y="5407"/>
                  </a:lnTo>
                  <a:lnTo>
                    <a:pt x="22198" y="6994"/>
                  </a:lnTo>
                  <a:lnTo>
                    <a:pt x="23410" y="8499"/>
                  </a:lnTo>
                  <a:lnTo>
                    <a:pt x="24887" y="8425"/>
                  </a:lnTo>
                  <a:lnTo>
                    <a:pt x="26610" y="7131"/>
                  </a:lnTo>
                  <a:lnTo>
                    <a:pt x="30195" y="1210"/>
                  </a:lnTo>
                  <a:lnTo>
                    <a:pt x="35163" y="0"/>
                  </a:lnTo>
                  <a:lnTo>
                    <a:pt x="39873" y="608"/>
                  </a:lnTo>
                  <a:lnTo>
                    <a:pt x="44041" y="1473"/>
                  </a:lnTo>
                  <a:lnTo>
                    <a:pt x="45269" y="3454"/>
                  </a:lnTo>
                  <a:lnTo>
                    <a:pt x="46075" y="5540"/>
                  </a:lnTo>
                  <a:lnTo>
                    <a:pt x="46597" y="6601"/>
                  </a:lnTo>
                  <a:lnTo>
                    <a:pt x="47962" y="7844"/>
                  </a:lnTo>
                  <a:lnTo>
                    <a:pt x="53840" y="10806"/>
                  </a:lnTo>
                  <a:lnTo>
                    <a:pt x="57252" y="13474"/>
                  </a:lnTo>
                  <a:lnTo>
                    <a:pt x="61972" y="17046"/>
                  </a:lnTo>
                  <a:lnTo>
                    <a:pt x="65503" y="18624"/>
                  </a:lnTo>
                  <a:lnTo>
                    <a:pt x="68632" y="18755"/>
                  </a:lnTo>
                  <a:lnTo>
                    <a:pt x="70394" y="20156"/>
                  </a:lnTo>
                  <a:lnTo>
                    <a:pt x="73048" y="22942"/>
                  </a:lnTo>
                  <a:lnTo>
                    <a:pt x="75291" y="26144"/>
                  </a:lnTo>
                  <a:lnTo>
                    <a:pt x="78097" y="29102"/>
                  </a:lnTo>
                  <a:lnTo>
                    <a:pt x="80034" y="29005"/>
                  </a:lnTo>
                  <a:lnTo>
                    <a:pt x="82672" y="28046"/>
                  </a:lnTo>
                  <a:lnTo>
                    <a:pt x="85890" y="26791"/>
                  </a:lnTo>
                  <a:lnTo>
                    <a:pt x="87792" y="27409"/>
                  </a:lnTo>
                  <a:lnTo>
                    <a:pt x="89548" y="28225"/>
                  </a:lnTo>
                  <a:lnTo>
                    <a:pt x="90133" y="29759"/>
                  </a:lnTo>
                  <a:lnTo>
                    <a:pt x="91189" y="32646"/>
                  </a:lnTo>
                  <a:lnTo>
                    <a:pt x="92363" y="35643"/>
                  </a:lnTo>
                  <a:lnTo>
                    <a:pt x="94208" y="36692"/>
                  </a:lnTo>
                  <a:lnTo>
                    <a:pt x="96389" y="38236"/>
                  </a:lnTo>
                  <a:lnTo>
                    <a:pt x="97598" y="39460"/>
                  </a:lnTo>
                  <a:lnTo>
                    <a:pt x="101692" y="41702"/>
                  </a:lnTo>
                  <a:lnTo>
                    <a:pt x="102271" y="42616"/>
                  </a:lnTo>
                  <a:lnTo>
                    <a:pt x="103100" y="43239"/>
                  </a:lnTo>
                  <a:lnTo>
                    <a:pt x="104098" y="43630"/>
                  </a:lnTo>
                  <a:lnTo>
                    <a:pt x="104927" y="44087"/>
                  </a:lnTo>
                  <a:lnTo>
                    <a:pt x="106214" y="44245"/>
                  </a:lnTo>
                  <a:lnTo>
                    <a:pt x="110947" y="42900"/>
                  </a:lnTo>
                  <a:lnTo>
                    <a:pt x="112213" y="43069"/>
                  </a:lnTo>
                  <a:lnTo>
                    <a:pt x="112936" y="43319"/>
                  </a:lnTo>
                  <a:lnTo>
                    <a:pt x="112960" y="43807"/>
                  </a:lnTo>
                  <a:lnTo>
                    <a:pt x="112105" y="45909"/>
                  </a:lnTo>
                  <a:lnTo>
                    <a:pt x="111377" y="48594"/>
                  </a:lnTo>
                  <a:lnTo>
                    <a:pt x="112126" y="49943"/>
                  </a:lnTo>
                  <a:lnTo>
                    <a:pt x="114109" y="50503"/>
                  </a:lnTo>
                  <a:lnTo>
                    <a:pt x="118499" y="50900"/>
                  </a:lnTo>
                  <a:lnTo>
                    <a:pt x="124418" y="50867"/>
                  </a:lnTo>
                  <a:lnTo>
                    <a:pt x="126212" y="52227"/>
                  </a:lnTo>
                  <a:lnTo>
                    <a:pt x="127998" y="54269"/>
                  </a:lnTo>
                  <a:lnTo>
                    <a:pt x="129798" y="57754"/>
                  </a:lnTo>
                  <a:lnTo>
                    <a:pt x="130515" y="59224"/>
                  </a:lnTo>
                  <a:lnTo>
                    <a:pt x="131410" y="59650"/>
                  </a:lnTo>
                  <a:lnTo>
                    <a:pt x="132949" y="59068"/>
                  </a:lnTo>
                  <a:lnTo>
                    <a:pt x="133200" y="57637"/>
                  </a:lnTo>
                  <a:lnTo>
                    <a:pt x="133271" y="55507"/>
                  </a:lnTo>
                  <a:lnTo>
                    <a:pt x="134560" y="54771"/>
                  </a:lnTo>
                  <a:lnTo>
                    <a:pt x="135383" y="55314"/>
                  </a:lnTo>
                  <a:lnTo>
                    <a:pt x="136350" y="56979"/>
                  </a:lnTo>
                  <a:lnTo>
                    <a:pt x="138797" y="58475"/>
                  </a:lnTo>
                  <a:lnTo>
                    <a:pt x="140568" y="59213"/>
                  </a:lnTo>
                  <a:lnTo>
                    <a:pt x="142254" y="58953"/>
                  </a:lnTo>
                  <a:lnTo>
                    <a:pt x="142960" y="58380"/>
                  </a:lnTo>
                  <a:lnTo>
                    <a:pt x="143791" y="55469"/>
                  </a:lnTo>
                  <a:lnTo>
                    <a:pt x="145117" y="55043"/>
                  </a:lnTo>
                  <a:lnTo>
                    <a:pt x="146800" y="55236"/>
                  </a:lnTo>
                  <a:lnTo>
                    <a:pt x="147443" y="55817"/>
                  </a:lnTo>
                  <a:lnTo>
                    <a:pt x="148123" y="56979"/>
                  </a:lnTo>
                  <a:lnTo>
                    <a:pt x="150157" y="57527"/>
                  </a:lnTo>
                  <a:lnTo>
                    <a:pt x="152179" y="58262"/>
                  </a:lnTo>
                  <a:lnTo>
                    <a:pt x="154088" y="59213"/>
                  </a:lnTo>
                  <a:lnTo>
                    <a:pt x="156769" y="61372"/>
                  </a:lnTo>
                  <a:lnTo>
                    <a:pt x="160071" y="61764"/>
                  </a:lnTo>
                  <a:lnTo>
                    <a:pt x="163906" y="61719"/>
                  </a:lnTo>
                  <a:lnTo>
                    <a:pt x="165921" y="61766"/>
                  </a:lnTo>
                  <a:lnTo>
                    <a:pt x="167409" y="61925"/>
                  </a:lnTo>
                  <a:lnTo>
                    <a:pt x="168739" y="61777"/>
                  </a:lnTo>
                  <a:lnTo>
                    <a:pt x="172675" y="60231"/>
                  </a:lnTo>
                  <a:lnTo>
                    <a:pt x="174282" y="60118"/>
                  </a:lnTo>
                  <a:lnTo>
                    <a:pt x="176271" y="60295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13" name="ee4p_OM_1_82333">
              <a:extLst>
                <a:ext uri="{FF2B5EF4-FFF2-40B4-BE49-F238E27FC236}">
                  <a16:creationId xmlns:a16="http://schemas.microsoft.com/office/drawing/2014/main" id="{FCBAF84D-2103-CFAD-D8E1-9A3F259A44DC}"/>
                </a:ext>
              </a:extLst>
            </p:cNvPr>
            <p:cNvSpPr>
              <a:spLocks noChangeAspect="1"/>
            </p:cNvSpPr>
            <p:nvPr>
              <p:custDataLst>
                <p:tags r:id="rId41"/>
              </p:custDataLst>
            </p:nvPr>
          </p:nvSpPr>
          <p:spPr>
            <a:xfrm>
              <a:off x="7958085" y="3906387"/>
              <a:ext cx="218263" cy="290155"/>
            </a:xfrm>
            <a:custGeom>
              <a:avLst/>
              <a:gdLst>
                <a:gd name="connsiteX0" fmla="*/ 152723 w 173798"/>
                <a:gd name="connsiteY0" fmla="*/ 132631 h 224920"/>
                <a:gd name="connsiteX1" fmla="*/ 154191 w 173798"/>
                <a:gd name="connsiteY1" fmla="*/ 136422 h 224920"/>
                <a:gd name="connsiteX2" fmla="*/ 151635 w 173798"/>
                <a:gd name="connsiteY2" fmla="*/ 138547 h 224920"/>
                <a:gd name="connsiteX3" fmla="*/ 150244 w 173798"/>
                <a:gd name="connsiteY3" fmla="*/ 142166 h 224920"/>
                <a:gd name="connsiteX4" fmla="*/ 149134 w 173798"/>
                <a:gd name="connsiteY4" fmla="*/ 143273 h 224920"/>
                <a:gd name="connsiteX5" fmla="*/ 147741 w 173798"/>
                <a:gd name="connsiteY5" fmla="*/ 143622 h 224920"/>
                <a:gd name="connsiteX6" fmla="*/ 147340 w 173798"/>
                <a:gd name="connsiteY6" fmla="*/ 143459 h 224920"/>
                <a:gd name="connsiteX7" fmla="*/ 147346 w 173798"/>
                <a:gd name="connsiteY7" fmla="*/ 140542 h 224920"/>
                <a:gd name="connsiteX8" fmla="*/ 150591 w 173798"/>
                <a:gd name="connsiteY8" fmla="*/ 136873 h 224920"/>
                <a:gd name="connsiteX9" fmla="*/ 97522 w 173798"/>
                <a:gd name="connsiteY9" fmla="*/ 32518 h 224920"/>
                <a:gd name="connsiteX10" fmla="*/ 99775 w 173798"/>
                <a:gd name="connsiteY10" fmla="*/ 38698 h 224920"/>
                <a:gd name="connsiteX11" fmla="*/ 103109 w 173798"/>
                <a:gd name="connsiteY11" fmla="*/ 44476 h 224920"/>
                <a:gd name="connsiteX12" fmla="*/ 106061 w 173798"/>
                <a:gd name="connsiteY12" fmla="*/ 47661 h 224920"/>
                <a:gd name="connsiteX13" fmla="*/ 109121 w 173798"/>
                <a:gd name="connsiteY13" fmla="*/ 51983 h 224920"/>
                <a:gd name="connsiteX14" fmla="*/ 113776 w 173798"/>
                <a:gd name="connsiteY14" fmla="*/ 55953 h 224920"/>
                <a:gd name="connsiteX15" fmla="*/ 115916 w 173798"/>
                <a:gd name="connsiteY15" fmla="*/ 57309 h 224920"/>
                <a:gd name="connsiteX16" fmla="*/ 124573 w 173798"/>
                <a:gd name="connsiteY16" fmla="*/ 60096 h 224920"/>
                <a:gd name="connsiteX17" fmla="*/ 129300 w 173798"/>
                <a:gd name="connsiteY17" fmla="*/ 61138 h 224920"/>
                <a:gd name="connsiteX18" fmla="*/ 135830 w 173798"/>
                <a:gd name="connsiteY18" fmla="*/ 62133 h 224920"/>
                <a:gd name="connsiteX19" fmla="*/ 140343 w 173798"/>
                <a:gd name="connsiteY19" fmla="*/ 64301 h 224920"/>
                <a:gd name="connsiteX20" fmla="*/ 141861 w 173798"/>
                <a:gd name="connsiteY20" fmla="*/ 64433 h 224920"/>
                <a:gd name="connsiteX21" fmla="*/ 144223 w 173798"/>
                <a:gd name="connsiteY21" fmla="*/ 63791 h 224920"/>
                <a:gd name="connsiteX22" fmla="*/ 145949 w 173798"/>
                <a:gd name="connsiteY22" fmla="*/ 63842 h 224920"/>
                <a:gd name="connsiteX23" fmla="*/ 150261 w 173798"/>
                <a:gd name="connsiteY23" fmla="*/ 66793 h 224920"/>
                <a:gd name="connsiteX24" fmla="*/ 151529 w 173798"/>
                <a:gd name="connsiteY24" fmla="*/ 69589 h 224920"/>
                <a:gd name="connsiteX25" fmla="*/ 153323 w 173798"/>
                <a:gd name="connsiteY25" fmla="*/ 71066 h 224920"/>
                <a:gd name="connsiteX26" fmla="*/ 154912 w 173798"/>
                <a:gd name="connsiteY26" fmla="*/ 73387 h 224920"/>
                <a:gd name="connsiteX27" fmla="*/ 155940 w 173798"/>
                <a:gd name="connsiteY27" fmla="*/ 75816 h 224920"/>
                <a:gd name="connsiteX28" fmla="*/ 159585 w 173798"/>
                <a:gd name="connsiteY28" fmla="*/ 79515 h 224920"/>
                <a:gd name="connsiteX29" fmla="*/ 162155 w 173798"/>
                <a:gd name="connsiteY29" fmla="*/ 83673 h 224920"/>
                <a:gd name="connsiteX30" fmla="*/ 164775 w 173798"/>
                <a:gd name="connsiteY30" fmla="*/ 86757 h 224920"/>
                <a:gd name="connsiteX31" fmla="*/ 167113 w 173798"/>
                <a:gd name="connsiteY31" fmla="*/ 88672 h 224920"/>
                <a:gd name="connsiteX32" fmla="*/ 170661 w 173798"/>
                <a:gd name="connsiteY32" fmla="*/ 89425 h 224920"/>
                <a:gd name="connsiteX33" fmla="*/ 173483 w 173798"/>
                <a:gd name="connsiteY33" fmla="*/ 90289 h 224920"/>
                <a:gd name="connsiteX34" fmla="*/ 173798 w 173798"/>
                <a:gd name="connsiteY34" fmla="*/ 92345 h 224920"/>
                <a:gd name="connsiteX35" fmla="*/ 173509 w 173798"/>
                <a:gd name="connsiteY35" fmla="*/ 95026 h 224920"/>
                <a:gd name="connsiteX36" fmla="*/ 172969 w 173798"/>
                <a:gd name="connsiteY36" fmla="*/ 97006 h 224920"/>
                <a:gd name="connsiteX37" fmla="*/ 170335 w 173798"/>
                <a:gd name="connsiteY37" fmla="*/ 100861 h 224920"/>
                <a:gd name="connsiteX38" fmla="*/ 169708 w 173798"/>
                <a:gd name="connsiteY38" fmla="*/ 103238 h 224920"/>
                <a:gd name="connsiteX39" fmla="*/ 166724 w 173798"/>
                <a:gd name="connsiteY39" fmla="*/ 107157 h 224920"/>
                <a:gd name="connsiteX40" fmla="*/ 163494 w 173798"/>
                <a:gd name="connsiteY40" fmla="*/ 113723 h 224920"/>
                <a:gd name="connsiteX41" fmla="*/ 162012 w 173798"/>
                <a:gd name="connsiteY41" fmla="*/ 115192 h 224920"/>
                <a:gd name="connsiteX42" fmla="*/ 156800 w 173798"/>
                <a:gd name="connsiteY42" fmla="*/ 118577 h 224920"/>
                <a:gd name="connsiteX43" fmla="*/ 152973 w 173798"/>
                <a:gd name="connsiteY43" fmla="*/ 122651 h 224920"/>
                <a:gd name="connsiteX44" fmla="*/ 148434 w 173798"/>
                <a:gd name="connsiteY44" fmla="*/ 129710 h 224920"/>
                <a:gd name="connsiteX45" fmla="*/ 144979 w 173798"/>
                <a:gd name="connsiteY45" fmla="*/ 136704 h 224920"/>
                <a:gd name="connsiteX46" fmla="*/ 143653 w 173798"/>
                <a:gd name="connsiteY46" fmla="*/ 138940 h 224920"/>
                <a:gd name="connsiteX47" fmla="*/ 140879 w 173798"/>
                <a:gd name="connsiteY47" fmla="*/ 139400 h 224920"/>
                <a:gd name="connsiteX48" fmla="*/ 139050 w 173798"/>
                <a:gd name="connsiteY48" fmla="*/ 139204 h 224920"/>
                <a:gd name="connsiteX49" fmla="*/ 137789 w 173798"/>
                <a:gd name="connsiteY49" fmla="*/ 138546 h 224920"/>
                <a:gd name="connsiteX50" fmla="*/ 138289 w 173798"/>
                <a:gd name="connsiteY50" fmla="*/ 136637 h 224920"/>
                <a:gd name="connsiteX51" fmla="*/ 138585 w 173798"/>
                <a:gd name="connsiteY51" fmla="*/ 134507 h 224920"/>
                <a:gd name="connsiteX52" fmla="*/ 136914 w 173798"/>
                <a:gd name="connsiteY52" fmla="*/ 134731 h 224920"/>
                <a:gd name="connsiteX53" fmla="*/ 135443 w 173798"/>
                <a:gd name="connsiteY53" fmla="*/ 135172 h 224920"/>
                <a:gd name="connsiteX54" fmla="*/ 131999 w 173798"/>
                <a:gd name="connsiteY54" fmla="*/ 140398 h 224920"/>
                <a:gd name="connsiteX55" fmla="*/ 130112 w 173798"/>
                <a:gd name="connsiteY55" fmla="*/ 142689 h 224920"/>
                <a:gd name="connsiteX56" fmla="*/ 129710 w 173798"/>
                <a:gd name="connsiteY56" fmla="*/ 145599 h 224920"/>
                <a:gd name="connsiteX57" fmla="*/ 128793 w 173798"/>
                <a:gd name="connsiteY57" fmla="*/ 149352 h 224920"/>
                <a:gd name="connsiteX58" fmla="*/ 127445 w 173798"/>
                <a:gd name="connsiteY58" fmla="*/ 152803 h 224920"/>
                <a:gd name="connsiteX59" fmla="*/ 126847 w 173798"/>
                <a:gd name="connsiteY59" fmla="*/ 155700 h 224920"/>
                <a:gd name="connsiteX60" fmla="*/ 126869 w 173798"/>
                <a:gd name="connsiteY60" fmla="*/ 157342 h 224920"/>
                <a:gd name="connsiteX61" fmla="*/ 127879 w 173798"/>
                <a:gd name="connsiteY61" fmla="*/ 161353 h 224920"/>
                <a:gd name="connsiteX62" fmla="*/ 127948 w 173798"/>
                <a:gd name="connsiteY62" fmla="*/ 165458 h 224920"/>
                <a:gd name="connsiteX63" fmla="*/ 128531 w 173798"/>
                <a:gd name="connsiteY63" fmla="*/ 167920 h 224920"/>
                <a:gd name="connsiteX64" fmla="*/ 129002 w 173798"/>
                <a:gd name="connsiteY64" fmla="*/ 170874 h 224920"/>
                <a:gd name="connsiteX65" fmla="*/ 127385 w 173798"/>
                <a:gd name="connsiteY65" fmla="*/ 171785 h 224920"/>
                <a:gd name="connsiteX66" fmla="*/ 125998 w 173798"/>
                <a:gd name="connsiteY66" fmla="*/ 172231 h 224920"/>
                <a:gd name="connsiteX67" fmla="*/ 120518 w 173798"/>
                <a:gd name="connsiteY67" fmla="*/ 172553 h 224920"/>
                <a:gd name="connsiteX68" fmla="*/ 114959 w 173798"/>
                <a:gd name="connsiteY68" fmla="*/ 173497 h 224920"/>
                <a:gd name="connsiteX69" fmla="*/ 110110 w 173798"/>
                <a:gd name="connsiteY69" fmla="*/ 175209 h 224920"/>
                <a:gd name="connsiteX70" fmla="*/ 107207 w 173798"/>
                <a:gd name="connsiteY70" fmla="*/ 176911 h 224920"/>
                <a:gd name="connsiteX71" fmla="*/ 103428 w 173798"/>
                <a:gd name="connsiteY71" fmla="*/ 180713 h 224920"/>
                <a:gd name="connsiteX72" fmla="*/ 101122 w 173798"/>
                <a:gd name="connsiteY72" fmla="*/ 190347 h 224920"/>
                <a:gd name="connsiteX73" fmla="*/ 97423 w 173798"/>
                <a:gd name="connsiteY73" fmla="*/ 194411 h 224920"/>
                <a:gd name="connsiteX74" fmla="*/ 94920 w 173798"/>
                <a:gd name="connsiteY74" fmla="*/ 195260 h 224920"/>
                <a:gd name="connsiteX75" fmla="*/ 88892 w 173798"/>
                <a:gd name="connsiteY75" fmla="*/ 195616 h 224920"/>
                <a:gd name="connsiteX76" fmla="*/ 80405 w 173798"/>
                <a:gd name="connsiteY76" fmla="*/ 196737 h 224920"/>
                <a:gd name="connsiteX77" fmla="*/ 77425 w 173798"/>
                <a:gd name="connsiteY77" fmla="*/ 197714 h 224920"/>
                <a:gd name="connsiteX78" fmla="*/ 72478 w 173798"/>
                <a:gd name="connsiteY78" fmla="*/ 203589 h 224920"/>
                <a:gd name="connsiteX79" fmla="*/ 72098 w 173798"/>
                <a:gd name="connsiteY79" fmla="*/ 205433 h 224920"/>
                <a:gd name="connsiteX80" fmla="*/ 73055 w 173798"/>
                <a:gd name="connsiteY80" fmla="*/ 206766 h 224920"/>
                <a:gd name="connsiteX81" fmla="*/ 73367 w 173798"/>
                <a:gd name="connsiteY81" fmla="*/ 208239 h 224920"/>
                <a:gd name="connsiteX82" fmla="*/ 72916 w 173798"/>
                <a:gd name="connsiteY82" fmla="*/ 209621 h 224920"/>
                <a:gd name="connsiteX83" fmla="*/ 70672 w 173798"/>
                <a:gd name="connsiteY83" fmla="*/ 213339 h 224920"/>
                <a:gd name="connsiteX84" fmla="*/ 68250 w 173798"/>
                <a:gd name="connsiteY84" fmla="*/ 216040 h 224920"/>
                <a:gd name="connsiteX85" fmla="*/ 61787 w 173798"/>
                <a:gd name="connsiteY85" fmla="*/ 217730 h 224920"/>
                <a:gd name="connsiteX86" fmla="*/ 59416 w 173798"/>
                <a:gd name="connsiteY86" fmla="*/ 216724 h 224920"/>
                <a:gd name="connsiteX87" fmla="*/ 57245 w 173798"/>
                <a:gd name="connsiteY87" fmla="*/ 216215 h 224920"/>
                <a:gd name="connsiteX88" fmla="*/ 53054 w 173798"/>
                <a:gd name="connsiteY88" fmla="*/ 216161 h 224920"/>
                <a:gd name="connsiteX89" fmla="*/ 46226 w 173798"/>
                <a:gd name="connsiteY89" fmla="*/ 216800 h 224920"/>
                <a:gd name="connsiteX90" fmla="*/ 43711 w 173798"/>
                <a:gd name="connsiteY90" fmla="*/ 218795 h 224920"/>
                <a:gd name="connsiteX91" fmla="*/ 39752 w 173798"/>
                <a:gd name="connsiteY91" fmla="*/ 220208 h 224920"/>
                <a:gd name="connsiteX92" fmla="*/ 36092 w 173798"/>
                <a:gd name="connsiteY92" fmla="*/ 222385 h 224920"/>
                <a:gd name="connsiteX93" fmla="*/ 29191 w 173798"/>
                <a:gd name="connsiteY93" fmla="*/ 223217 h 224920"/>
                <a:gd name="connsiteX94" fmla="*/ 24501 w 173798"/>
                <a:gd name="connsiteY94" fmla="*/ 224920 h 224920"/>
                <a:gd name="connsiteX95" fmla="*/ 23160 w 173798"/>
                <a:gd name="connsiteY95" fmla="*/ 221924 h 224920"/>
                <a:gd name="connsiteX96" fmla="*/ 21819 w 173798"/>
                <a:gd name="connsiteY96" fmla="*/ 218926 h 224920"/>
                <a:gd name="connsiteX97" fmla="*/ 20478 w 173798"/>
                <a:gd name="connsiteY97" fmla="*/ 215928 h 224920"/>
                <a:gd name="connsiteX98" fmla="*/ 19135 w 173798"/>
                <a:gd name="connsiteY98" fmla="*/ 212928 h 224920"/>
                <a:gd name="connsiteX99" fmla="*/ 18197 w 173798"/>
                <a:gd name="connsiteY99" fmla="*/ 210828 h 224920"/>
                <a:gd name="connsiteX100" fmla="*/ 16619 w 173798"/>
                <a:gd name="connsiteY100" fmla="*/ 210088 h 224920"/>
                <a:gd name="connsiteX101" fmla="*/ 15662 w 173798"/>
                <a:gd name="connsiteY101" fmla="*/ 207866 h 224920"/>
                <a:gd name="connsiteX102" fmla="*/ 14684 w 173798"/>
                <a:gd name="connsiteY102" fmla="*/ 205590 h 224920"/>
                <a:gd name="connsiteX103" fmla="*/ 13704 w 173798"/>
                <a:gd name="connsiteY103" fmla="*/ 203313 h 224920"/>
                <a:gd name="connsiteX104" fmla="*/ 12726 w 173798"/>
                <a:gd name="connsiteY104" fmla="*/ 201036 h 224920"/>
                <a:gd name="connsiteX105" fmla="*/ 11747 w 173798"/>
                <a:gd name="connsiteY105" fmla="*/ 198758 h 224920"/>
                <a:gd name="connsiteX106" fmla="*/ 10767 w 173798"/>
                <a:gd name="connsiteY106" fmla="*/ 196478 h 224920"/>
                <a:gd name="connsiteX107" fmla="*/ 9789 w 173798"/>
                <a:gd name="connsiteY107" fmla="*/ 194198 h 224920"/>
                <a:gd name="connsiteX108" fmla="*/ 8811 w 173798"/>
                <a:gd name="connsiteY108" fmla="*/ 191918 h 224920"/>
                <a:gd name="connsiteX109" fmla="*/ 7830 w 173798"/>
                <a:gd name="connsiteY109" fmla="*/ 189636 h 224920"/>
                <a:gd name="connsiteX110" fmla="*/ 6852 w 173798"/>
                <a:gd name="connsiteY110" fmla="*/ 187355 h 224920"/>
                <a:gd name="connsiteX111" fmla="*/ 5874 w 173798"/>
                <a:gd name="connsiteY111" fmla="*/ 185071 h 224920"/>
                <a:gd name="connsiteX112" fmla="*/ 4896 w 173798"/>
                <a:gd name="connsiteY112" fmla="*/ 182788 h 224920"/>
                <a:gd name="connsiteX113" fmla="*/ 3915 w 173798"/>
                <a:gd name="connsiteY113" fmla="*/ 180502 h 224920"/>
                <a:gd name="connsiteX114" fmla="*/ 2937 w 173798"/>
                <a:gd name="connsiteY114" fmla="*/ 178216 h 224920"/>
                <a:gd name="connsiteX115" fmla="*/ 1959 w 173798"/>
                <a:gd name="connsiteY115" fmla="*/ 175929 h 224920"/>
                <a:gd name="connsiteX116" fmla="*/ 978 w 173798"/>
                <a:gd name="connsiteY116" fmla="*/ 173641 h 224920"/>
                <a:gd name="connsiteX117" fmla="*/ 0 w 173798"/>
                <a:gd name="connsiteY117" fmla="*/ 171354 h 224920"/>
                <a:gd name="connsiteX118" fmla="*/ 3116 w 173798"/>
                <a:gd name="connsiteY118" fmla="*/ 170276 h 224920"/>
                <a:gd name="connsiteX119" fmla="*/ 6921 w 173798"/>
                <a:gd name="connsiteY119" fmla="*/ 168963 h 224920"/>
                <a:gd name="connsiteX120" fmla="*/ 10726 w 173798"/>
                <a:gd name="connsiteY120" fmla="*/ 167648 h 224920"/>
                <a:gd name="connsiteX121" fmla="*/ 14529 w 173798"/>
                <a:gd name="connsiteY121" fmla="*/ 166334 h 224920"/>
                <a:gd name="connsiteX122" fmla="*/ 18333 w 173798"/>
                <a:gd name="connsiteY122" fmla="*/ 165019 h 224920"/>
                <a:gd name="connsiteX123" fmla="*/ 22136 w 173798"/>
                <a:gd name="connsiteY123" fmla="*/ 163704 h 224920"/>
                <a:gd name="connsiteX124" fmla="*/ 25941 w 173798"/>
                <a:gd name="connsiteY124" fmla="*/ 162388 h 224920"/>
                <a:gd name="connsiteX125" fmla="*/ 29746 w 173798"/>
                <a:gd name="connsiteY125" fmla="*/ 161072 h 224920"/>
                <a:gd name="connsiteX126" fmla="*/ 33548 w 173798"/>
                <a:gd name="connsiteY126" fmla="*/ 159756 h 224920"/>
                <a:gd name="connsiteX127" fmla="*/ 37353 w 173798"/>
                <a:gd name="connsiteY127" fmla="*/ 158440 h 224920"/>
                <a:gd name="connsiteX128" fmla="*/ 41156 w 173798"/>
                <a:gd name="connsiteY128" fmla="*/ 157123 h 224920"/>
                <a:gd name="connsiteX129" fmla="*/ 44961 w 173798"/>
                <a:gd name="connsiteY129" fmla="*/ 155806 h 224920"/>
                <a:gd name="connsiteX130" fmla="*/ 48766 w 173798"/>
                <a:gd name="connsiteY130" fmla="*/ 154489 h 224920"/>
                <a:gd name="connsiteX131" fmla="*/ 52568 w 173798"/>
                <a:gd name="connsiteY131" fmla="*/ 153171 h 224920"/>
                <a:gd name="connsiteX132" fmla="*/ 56373 w 173798"/>
                <a:gd name="connsiteY132" fmla="*/ 151854 h 224920"/>
                <a:gd name="connsiteX133" fmla="*/ 60176 w 173798"/>
                <a:gd name="connsiteY133" fmla="*/ 150535 h 224920"/>
                <a:gd name="connsiteX134" fmla="*/ 63981 w 173798"/>
                <a:gd name="connsiteY134" fmla="*/ 149216 h 224920"/>
                <a:gd name="connsiteX135" fmla="*/ 66330 w 173798"/>
                <a:gd name="connsiteY135" fmla="*/ 148401 h 224920"/>
                <a:gd name="connsiteX136" fmla="*/ 67306 w 173798"/>
                <a:gd name="connsiteY136" fmla="*/ 145334 h 224920"/>
                <a:gd name="connsiteX137" fmla="*/ 68118 w 173798"/>
                <a:gd name="connsiteY137" fmla="*/ 142786 h 224920"/>
                <a:gd name="connsiteX138" fmla="*/ 68926 w 173798"/>
                <a:gd name="connsiteY138" fmla="*/ 140236 h 224920"/>
                <a:gd name="connsiteX139" fmla="*/ 69738 w 173798"/>
                <a:gd name="connsiteY139" fmla="*/ 137685 h 224920"/>
                <a:gd name="connsiteX140" fmla="*/ 70547 w 173798"/>
                <a:gd name="connsiteY140" fmla="*/ 135134 h 224920"/>
                <a:gd name="connsiteX141" fmla="*/ 71355 w 173798"/>
                <a:gd name="connsiteY141" fmla="*/ 132581 h 224920"/>
                <a:gd name="connsiteX142" fmla="*/ 72165 w 173798"/>
                <a:gd name="connsiteY142" fmla="*/ 130027 h 224920"/>
                <a:gd name="connsiteX143" fmla="*/ 72977 w 173798"/>
                <a:gd name="connsiteY143" fmla="*/ 127472 h 224920"/>
                <a:gd name="connsiteX144" fmla="*/ 73784 w 173798"/>
                <a:gd name="connsiteY144" fmla="*/ 124916 h 224920"/>
                <a:gd name="connsiteX145" fmla="*/ 74594 w 173798"/>
                <a:gd name="connsiteY145" fmla="*/ 122357 h 224920"/>
                <a:gd name="connsiteX146" fmla="*/ 75404 w 173798"/>
                <a:gd name="connsiteY146" fmla="*/ 119798 h 224920"/>
                <a:gd name="connsiteX147" fmla="*/ 76214 w 173798"/>
                <a:gd name="connsiteY147" fmla="*/ 117238 h 224920"/>
                <a:gd name="connsiteX148" fmla="*/ 77023 w 173798"/>
                <a:gd name="connsiteY148" fmla="*/ 114677 h 224920"/>
                <a:gd name="connsiteX149" fmla="*/ 77833 w 173798"/>
                <a:gd name="connsiteY149" fmla="*/ 112115 h 224920"/>
                <a:gd name="connsiteX150" fmla="*/ 78643 w 173798"/>
                <a:gd name="connsiteY150" fmla="*/ 109551 h 224920"/>
                <a:gd name="connsiteX151" fmla="*/ 79453 w 173798"/>
                <a:gd name="connsiteY151" fmla="*/ 106986 h 224920"/>
                <a:gd name="connsiteX152" fmla="*/ 80263 w 173798"/>
                <a:gd name="connsiteY152" fmla="*/ 104420 h 224920"/>
                <a:gd name="connsiteX153" fmla="*/ 81005 w 173798"/>
                <a:gd name="connsiteY153" fmla="*/ 102067 h 224920"/>
                <a:gd name="connsiteX154" fmla="*/ 79606 w 173798"/>
                <a:gd name="connsiteY154" fmla="*/ 99801 h 224920"/>
                <a:gd name="connsiteX155" fmla="*/ 77727 w 173798"/>
                <a:gd name="connsiteY155" fmla="*/ 96756 h 224920"/>
                <a:gd name="connsiteX156" fmla="*/ 75760 w 173798"/>
                <a:gd name="connsiteY156" fmla="*/ 93570 h 224920"/>
                <a:gd name="connsiteX157" fmla="*/ 73910 w 173798"/>
                <a:gd name="connsiteY157" fmla="*/ 90569 h 224920"/>
                <a:gd name="connsiteX158" fmla="*/ 72564 w 173798"/>
                <a:gd name="connsiteY158" fmla="*/ 88384 h 224920"/>
                <a:gd name="connsiteX159" fmla="*/ 70940 w 173798"/>
                <a:gd name="connsiteY159" fmla="*/ 85750 h 224920"/>
                <a:gd name="connsiteX160" fmla="*/ 71122 w 173798"/>
                <a:gd name="connsiteY160" fmla="*/ 82354 h 224920"/>
                <a:gd name="connsiteX161" fmla="*/ 71081 w 173798"/>
                <a:gd name="connsiteY161" fmla="*/ 80655 h 224920"/>
                <a:gd name="connsiteX162" fmla="*/ 71251 w 173798"/>
                <a:gd name="connsiteY162" fmla="*/ 78050 h 224920"/>
                <a:gd name="connsiteX163" fmla="*/ 72806 w 173798"/>
                <a:gd name="connsiteY163" fmla="*/ 74431 h 224920"/>
                <a:gd name="connsiteX164" fmla="*/ 74642 w 173798"/>
                <a:gd name="connsiteY164" fmla="*/ 69823 h 224920"/>
                <a:gd name="connsiteX165" fmla="*/ 75983 w 173798"/>
                <a:gd name="connsiteY165" fmla="*/ 66756 h 224920"/>
                <a:gd name="connsiteX166" fmla="*/ 77142 w 173798"/>
                <a:gd name="connsiteY166" fmla="*/ 64089 h 224920"/>
                <a:gd name="connsiteX167" fmla="*/ 78075 w 173798"/>
                <a:gd name="connsiteY167" fmla="*/ 61945 h 224920"/>
                <a:gd name="connsiteX168" fmla="*/ 78587 w 173798"/>
                <a:gd name="connsiteY168" fmla="*/ 59736 h 224920"/>
                <a:gd name="connsiteX169" fmla="*/ 78315 w 173798"/>
                <a:gd name="connsiteY169" fmla="*/ 58181 h 224920"/>
                <a:gd name="connsiteX170" fmla="*/ 77706 w 173798"/>
                <a:gd name="connsiteY170" fmla="*/ 57616 h 224920"/>
                <a:gd name="connsiteX171" fmla="*/ 77190 w 173798"/>
                <a:gd name="connsiteY171" fmla="*/ 56880 h 224920"/>
                <a:gd name="connsiteX172" fmla="*/ 78945 w 173798"/>
                <a:gd name="connsiteY172" fmla="*/ 55703 h 224920"/>
                <a:gd name="connsiteX173" fmla="*/ 82234 w 173798"/>
                <a:gd name="connsiteY173" fmla="*/ 54936 h 224920"/>
                <a:gd name="connsiteX174" fmla="*/ 84059 w 173798"/>
                <a:gd name="connsiteY174" fmla="*/ 55101 h 224920"/>
                <a:gd name="connsiteX175" fmla="*/ 86603 w 173798"/>
                <a:gd name="connsiteY175" fmla="*/ 54532 h 224920"/>
                <a:gd name="connsiteX176" fmla="*/ 88615 w 173798"/>
                <a:gd name="connsiteY176" fmla="*/ 54017 h 224920"/>
                <a:gd name="connsiteX177" fmla="*/ 88770 w 173798"/>
                <a:gd name="connsiteY177" fmla="*/ 53324 h 224920"/>
                <a:gd name="connsiteX178" fmla="*/ 88198 w 173798"/>
                <a:gd name="connsiteY178" fmla="*/ 52160 h 224920"/>
                <a:gd name="connsiteX179" fmla="*/ 87365 w 173798"/>
                <a:gd name="connsiteY179" fmla="*/ 50461 h 224920"/>
                <a:gd name="connsiteX180" fmla="*/ 84514 w 173798"/>
                <a:gd name="connsiteY180" fmla="*/ 50285 h 224920"/>
                <a:gd name="connsiteX181" fmla="*/ 83655 w 173798"/>
                <a:gd name="connsiteY181" fmla="*/ 49816 h 224920"/>
                <a:gd name="connsiteX182" fmla="*/ 84646 w 173798"/>
                <a:gd name="connsiteY182" fmla="*/ 47304 h 224920"/>
                <a:gd name="connsiteX183" fmla="*/ 84609 w 173798"/>
                <a:gd name="connsiteY183" fmla="*/ 46512 h 224920"/>
                <a:gd name="connsiteX184" fmla="*/ 84229 w 173798"/>
                <a:gd name="connsiteY184" fmla="*/ 45574 h 224920"/>
                <a:gd name="connsiteX185" fmla="*/ 83817 w 173798"/>
                <a:gd name="connsiteY185" fmla="*/ 44000 h 224920"/>
                <a:gd name="connsiteX186" fmla="*/ 84024 w 173798"/>
                <a:gd name="connsiteY186" fmla="*/ 41964 h 224920"/>
                <a:gd name="connsiteX187" fmla="*/ 84607 w 173798"/>
                <a:gd name="connsiteY187" fmla="*/ 40581 h 224920"/>
                <a:gd name="connsiteX188" fmla="*/ 84614 w 173798"/>
                <a:gd name="connsiteY188" fmla="*/ 39468 h 224920"/>
                <a:gd name="connsiteX189" fmla="*/ 84335 w 173798"/>
                <a:gd name="connsiteY189" fmla="*/ 37172 h 224920"/>
                <a:gd name="connsiteX190" fmla="*/ 84426 w 173798"/>
                <a:gd name="connsiteY190" fmla="*/ 35131 h 224920"/>
                <a:gd name="connsiteX191" fmla="*/ 85026 w 173798"/>
                <a:gd name="connsiteY191" fmla="*/ 34116 h 224920"/>
                <a:gd name="connsiteX192" fmla="*/ 86084 w 173798"/>
                <a:gd name="connsiteY192" fmla="*/ 33172 h 224920"/>
                <a:gd name="connsiteX193" fmla="*/ 87082 w 173798"/>
                <a:gd name="connsiteY193" fmla="*/ 32693 h 224920"/>
                <a:gd name="connsiteX194" fmla="*/ 88127 w 173798"/>
                <a:gd name="connsiteY194" fmla="*/ 32728 h 224920"/>
                <a:gd name="connsiteX195" fmla="*/ 88956 w 173798"/>
                <a:gd name="connsiteY195" fmla="*/ 33129 h 224920"/>
                <a:gd name="connsiteX196" fmla="*/ 89312 w 173798"/>
                <a:gd name="connsiteY196" fmla="*/ 34200 h 224920"/>
                <a:gd name="connsiteX197" fmla="*/ 89083 w 173798"/>
                <a:gd name="connsiteY197" fmla="*/ 34936 h 224920"/>
                <a:gd name="connsiteX198" fmla="*/ 88494 w 173798"/>
                <a:gd name="connsiteY198" fmla="*/ 35038 h 224920"/>
                <a:gd name="connsiteX199" fmla="*/ 88287 w 173798"/>
                <a:gd name="connsiteY199" fmla="*/ 35347 h 224920"/>
                <a:gd name="connsiteX200" fmla="*/ 89129 w 173798"/>
                <a:gd name="connsiteY200" fmla="*/ 36774 h 224920"/>
                <a:gd name="connsiteX201" fmla="*/ 90355 w 173798"/>
                <a:gd name="connsiteY201" fmla="*/ 38172 h 224920"/>
                <a:gd name="connsiteX202" fmla="*/ 91299 w 173798"/>
                <a:gd name="connsiteY202" fmla="*/ 37939 h 224920"/>
                <a:gd name="connsiteX203" fmla="*/ 92359 w 173798"/>
                <a:gd name="connsiteY203" fmla="*/ 36838 h 224920"/>
                <a:gd name="connsiteX204" fmla="*/ 93469 w 173798"/>
                <a:gd name="connsiteY204" fmla="*/ 35950 h 224920"/>
                <a:gd name="connsiteX205" fmla="*/ 94866 w 173798"/>
                <a:gd name="connsiteY205" fmla="*/ 35164 h 224920"/>
                <a:gd name="connsiteX206" fmla="*/ 95877 w 173798"/>
                <a:gd name="connsiteY206" fmla="*/ 33645 h 224920"/>
                <a:gd name="connsiteX207" fmla="*/ 96747 w 173798"/>
                <a:gd name="connsiteY207" fmla="*/ 32657 h 224920"/>
                <a:gd name="connsiteX208" fmla="*/ 94123 w 173798"/>
                <a:gd name="connsiteY208" fmla="*/ 24874 h 224920"/>
                <a:gd name="connsiteX209" fmla="*/ 95076 w 173798"/>
                <a:gd name="connsiteY209" fmla="*/ 24943 h 224920"/>
                <a:gd name="connsiteX210" fmla="*/ 95307 w 173798"/>
                <a:gd name="connsiteY210" fmla="*/ 25468 h 224920"/>
                <a:gd name="connsiteX211" fmla="*/ 95175 w 173798"/>
                <a:gd name="connsiteY211" fmla="*/ 26483 h 224920"/>
                <a:gd name="connsiteX212" fmla="*/ 94255 w 173798"/>
                <a:gd name="connsiteY212" fmla="*/ 27112 h 224920"/>
                <a:gd name="connsiteX213" fmla="*/ 93599 w 173798"/>
                <a:gd name="connsiteY213" fmla="*/ 27007 h 224920"/>
                <a:gd name="connsiteX214" fmla="*/ 93730 w 173798"/>
                <a:gd name="connsiteY214" fmla="*/ 25749 h 224920"/>
                <a:gd name="connsiteX215" fmla="*/ 97317 w 173798"/>
                <a:gd name="connsiteY215" fmla="*/ 0 h 224920"/>
                <a:gd name="connsiteX216" fmla="*/ 98077 w 173798"/>
                <a:gd name="connsiteY216" fmla="*/ 123 h 224920"/>
                <a:gd name="connsiteX217" fmla="*/ 98447 w 173798"/>
                <a:gd name="connsiteY217" fmla="*/ 691 h 224920"/>
                <a:gd name="connsiteX218" fmla="*/ 98181 w 173798"/>
                <a:gd name="connsiteY218" fmla="*/ 3510 h 224920"/>
                <a:gd name="connsiteX219" fmla="*/ 98151 w 173798"/>
                <a:gd name="connsiteY219" fmla="*/ 5864 h 224920"/>
                <a:gd name="connsiteX220" fmla="*/ 97205 w 173798"/>
                <a:gd name="connsiteY220" fmla="*/ 13057 h 224920"/>
                <a:gd name="connsiteX221" fmla="*/ 96225 w 173798"/>
                <a:gd name="connsiteY221" fmla="*/ 14300 h 224920"/>
                <a:gd name="connsiteX222" fmla="*/ 95737 w 173798"/>
                <a:gd name="connsiteY222" fmla="*/ 15307 h 224920"/>
                <a:gd name="connsiteX223" fmla="*/ 95529 w 173798"/>
                <a:gd name="connsiteY223" fmla="*/ 16692 h 224920"/>
                <a:gd name="connsiteX224" fmla="*/ 95102 w 173798"/>
                <a:gd name="connsiteY224" fmla="*/ 17234 h 224920"/>
                <a:gd name="connsiteX225" fmla="*/ 94461 w 173798"/>
                <a:gd name="connsiteY225" fmla="*/ 17289 h 224920"/>
                <a:gd name="connsiteX226" fmla="*/ 93003 w 173798"/>
                <a:gd name="connsiteY226" fmla="*/ 16828 h 224920"/>
                <a:gd name="connsiteX227" fmla="*/ 92141 w 173798"/>
                <a:gd name="connsiteY227" fmla="*/ 15751 h 224920"/>
                <a:gd name="connsiteX228" fmla="*/ 92303 w 173798"/>
                <a:gd name="connsiteY228" fmla="*/ 14438 h 224920"/>
                <a:gd name="connsiteX229" fmla="*/ 92351 w 173798"/>
                <a:gd name="connsiteY229" fmla="*/ 12019 h 224920"/>
                <a:gd name="connsiteX230" fmla="*/ 92759 w 173798"/>
                <a:gd name="connsiteY230" fmla="*/ 9734 h 224920"/>
                <a:gd name="connsiteX231" fmla="*/ 92646 w 173798"/>
                <a:gd name="connsiteY231" fmla="*/ 7314 h 224920"/>
                <a:gd name="connsiteX232" fmla="*/ 91519 w 173798"/>
                <a:gd name="connsiteY232" fmla="*/ 6824 h 224920"/>
                <a:gd name="connsiteX233" fmla="*/ 90722 w 173798"/>
                <a:gd name="connsiteY233" fmla="*/ 6955 h 224920"/>
                <a:gd name="connsiteX234" fmla="*/ 92580 w 173798"/>
                <a:gd name="connsiteY234" fmla="*/ 3537 h 224920"/>
                <a:gd name="connsiteX235" fmla="*/ 93305 w 173798"/>
                <a:gd name="connsiteY235" fmla="*/ 3012 h 224920"/>
                <a:gd name="connsiteX236" fmla="*/ 93994 w 173798"/>
                <a:gd name="connsiteY236" fmla="*/ 3235 h 224920"/>
                <a:gd name="connsiteX237" fmla="*/ 95700 w 173798"/>
                <a:gd name="connsiteY237" fmla="*/ 2870 h 224920"/>
                <a:gd name="connsiteX238" fmla="*/ 96605 w 173798"/>
                <a:gd name="connsiteY238" fmla="*/ 1012 h 224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</a:cxnLst>
              <a:rect l="l" t="t" r="r" b="b"/>
              <a:pathLst>
                <a:path w="173798" h="224920">
                  <a:moveTo>
                    <a:pt x="152723" y="132631"/>
                  </a:moveTo>
                  <a:lnTo>
                    <a:pt x="154191" y="136422"/>
                  </a:lnTo>
                  <a:lnTo>
                    <a:pt x="151635" y="138547"/>
                  </a:lnTo>
                  <a:lnTo>
                    <a:pt x="150244" y="142166"/>
                  </a:lnTo>
                  <a:lnTo>
                    <a:pt x="149134" y="143273"/>
                  </a:lnTo>
                  <a:lnTo>
                    <a:pt x="147741" y="143622"/>
                  </a:lnTo>
                  <a:lnTo>
                    <a:pt x="147340" y="143459"/>
                  </a:lnTo>
                  <a:lnTo>
                    <a:pt x="147346" y="140542"/>
                  </a:lnTo>
                  <a:lnTo>
                    <a:pt x="150591" y="136873"/>
                  </a:lnTo>
                  <a:close/>
                  <a:moveTo>
                    <a:pt x="97522" y="32518"/>
                  </a:moveTo>
                  <a:lnTo>
                    <a:pt x="99775" y="38698"/>
                  </a:lnTo>
                  <a:lnTo>
                    <a:pt x="103109" y="44476"/>
                  </a:lnTo>
                  <a:lnTo>
                    <a:pt x="106061" y="47661"/>
                  </a:lnTo>
                  <a:lnTo>
                    <a:pt x="109121" y="51983"/>
                  </a:lnTo>
                  <a:lnTo>
                    <a:pt x="113776" y="55953"/>
                  </a:lnTo>
                  <a:lnTo>
                    <a:pt x="115916" y="57309"/>
                  </a:lnTo>
                  <a:lnTo>
                    <a:pt x="124573" y="60096"/>
                  </a:lnTo>
                  <a:lnTo>
                    <a:pt x="129300" y="61138"/>
                  </a:lnTo>
                  <a:lnTo>
                    <a:pt x="135830" y="62133"/>
                  </a:lnTo>
                  <a:lnTo>
                    <a:pt x="140343" y="64301"/>
                  </a:lnTo>
                  <a:lnTo>
                    <a:pt x="141861" y="64433"/>
                  </a:lnTo>
                  <a:lnTo>
                    <a:pt x="144223" y="63791"/>
                  </a:lnTo>
                  <a:lnTo>
                    <a:pt x="145949" y="63842"/>
                  </a:lnTo>
                  <a:lnTo>
                    <a:pt x="150261" y="66793"/>
                  </a:lnTo>
                  <a:lnTo>
                    <a:pt x="151529" y="69589"/>
                  </a:lnTo>
                  <a:lnTo>
                    <a:pt x="153323" y="71066"/>
                  </a:lnTo>
                  <a:lnTo>
                    <a:pt x="154912" y="73387"/>
                  </a:lnTo>
                  <a:lnTo>
                    <a:pt x="155940" y="75816"/>
                  </a:lnTo>
                  <a:lnTo>
                    <a:pt x="159585" y="79515"/>
                  </a:lnTo>
                  <a:lnTo>
                    <a:pt x="162155" y="83673"/>
                  </a:lnTo>
                  <a:lnTo>
                    <a:pt x="164775" y="86757"/>
                  </a:lnTo>
                  <a:lnTo>
                    <a:pt x="167113" y="88672"/>
                  </a:lnTo>
                  <a:lnTo>
                    <a:pt x="170661" y="89425"/>
                  </a:lnTo>
                  <a:lnTo>
                    <a:pt x="173483" y="90289"/>
                  </a:lnTo>
                  <a:lnTo>
                    <a:pt x="173798" y="92345"/>
                  </a:lnTo>
                  <a:lnTo>
                    <a:pt x="173509" y="95026"/>
                  </a:lnTo>
                  <a:lnTo>
                    <a:pt x="172969" y="97006"/>
                  </a:lnTo>
                  <a:lnTo>
                    <a:pt x="170335" y="100861"/>
                  </a:lnTo>
                  <a:lnTo>
                    <a:pt x="169708" y="103238"/>
                  </a:lnTo>
                  <a:lnTo>
                    <a:pt x="166724" y="107157"/>
                  </a:lnTo>
                  <a:lnTo>
                    <a:pt x="163494" y="113723"/>
                  </a:lnTo>
                  <a:lnTo>
                    <a:pt x="162012" y="115192"/>
                  </a:lnTo>
                  <a:lnTo>
                    <a:pt x="156800" y="118577"/>
                  </a:lnTo>
                  <a:lnTo>
                    <a:pt x="152973" y="122651"/>
                  </a:lnTo>
                  <a:lnTo>
                    <a:pt x="148434" y="129710"/>
                  </a:lnTo>
                  <a:lnTo>
                    <a:pt x="144979" y="136704"/>
                  </a:lnTo>
                  <a:lnTo>
                    <a:pt x="143653" y="138940"/>
                  </a:lnTo>
                  <a:lnTo>
                    <a:pt x="140879" y="139400"/>
                  </a:lnTo>
                  <a:lnTo>
                    <a:pt x="139050" y="139204"/>
                  </a:lnTo>
                  <a:lnTo>
                    <a:pt x="137789" y="138546"/>
                  </a:lnTo>
                  <a:lnTo>
                    <a:pt x="138289" y="136637"/>
                  </a:lnTo>
                  <a:lnTo>
                    <a:pt x="138585" y="134507"/>
                  </a:lnTo>
                  <a:lnTo>
                    <a:pt x="136914" y="134731"/>
                  </a:lnTo>
                  <a:lnTo>
                    <a:pt x="135443" y="135172"/>
                  </a:lnTo>
                  <a:lnTo>
                    <a:pt x="131999" y="140398"/>
                  </a:lnTo>
                  <a:lnTo>
                    <a:pt x="130112" y="142689"/>
                  </a:lnTo>
                  <a:lnTo>
                    <a:pt x="129710" y="145599"/>
                  </a:lnTo>
                  <a:lnTo>
                    <a:pt x="128793" y="149352"/>
                  </a:lnTo>
                  <a:lnTo>
                    <a:pt x="127445" y="152803"/>
                  </a:lnTo>
                  <a:lnTo>
                    <a:pt x="126847" y="155700"/>
                  </a:lnTo>
                  <a:lnTo>
                    <a:pt x="126869" y="157342"/>
                  </a:lnTo>
                  <a:lnTo>
                    <a:pt x="127879" y="161353"/>
                  </a:lnTo>
                  <a:lnTo>
                    <a:pt x="127948" y="165458"/>
                  </a:lnTo>
                  <a:lnTo>
                    <a:pt x="128531" y="167920"/>
                  </a:lnTo>
                  <a:lnTo>
                    <a:pt x="129002" y="170874"/>
                  </a:lnTo>
                  <a:lnTo>
                    <a:pt x="127385" y="171785"/>
                  </a:lnTo>
                  <a:lnTo>
                    <a:pt x="125998" y="172231"/>
                  </a:lnTo>
                  <a:lnTo>
                    <a:pt x="120518" y="172553"/>
                  </a:lnTo>
                  <a:lnTo>
                    <a:pt x="114959" y="173497"/>
                  </a:lnTo>
                  <a:lnTo>
                    <a:pt x="110110" y="175209"/>
                  </a:lnTo>
                  <a:lnTo>
                    <a:pt x="107207" y="176911"/>
                  </a:lnTo>
                  <a:lnTo>
                    <a:pt x="103428" y="180713"/>
                  </a:lnTo>
                  <a:lnTo>
                    <a:pt x="101122" y="190347"/>
                  </a:lnTo>
                  <a:lnTo>
                    <a:pt x="97423" y="194411"/>
                  </a:lnTo>
                  <a:lnTo>
                    <a:pt x="94920" y="195260"/>
                  </a:lnTo>
                  <a:lnTo>
                    <a:pt x="88892" y="195616"/>
                  </a:lnTo>
                  <a:lnTo>
                    <a:pt x="80405" y="196737"/>
                  </a:lnTo>
                  <a:lnTo>
                    <a:pt x="77425" y="197714"/>
                  </a:lnTo>
                  <a:lnTo>
                    <a:pt x="72478" y="203589"/>
                  </a:lnTo>
                  <a:lnTo>
                    <a:pt x="72098" y="205433"/>
                  </a:lnTo>
                  <a:lnTo>
                    <a:pt x="73055" y="206766"/>
                  </a:lnTo>
                  <a:lnTo>
                    <a:pt x="73367" y="208239"/>
                  </a:lnTo>
                  <a:lnTo>
                    <a:pt x="72916" y="209621"/>
                  </a:lnTo>
                  <a:lnTo>
                    <a:pt x="70672" y="213339"/>
                  </a:lnTo>
                  <a:lnTo>
                    <a:pt x="68250" y="216040"/>
                  </a:lnTo>
                  <a:lnTo>
                    <a:pt x="61787" y="217730"/>
                  </a:lnTo>
                  <a:lnTo>
                    <a:pt x="59416" y="216724"/>
                  </a:lnTo>
                  <a:lnTo>
                    <a:pt x="57245" y="216215"/>
                  </a:lnTo>
                  <a:lnTo>
                    <a:pt x="53054" y="216161"/>
                  </a:lnTo>
                  <a:lnTo>
                    <a:pt x="46226" y="216800"/>
                  </a:lnTo>
                  <a:lnTo>
                    <a:pt x="43711" y="218795"/>
                  </a:lnTo>
                  <a:lnTo>
                    <a:pt x="39752" y="220208"/>
                  </a:lnTo>
                  <a:lnTo>
                    <a:pt x="36092" y="222385"/>
                  </a:lnTo>
                  <a:lnTo>
                    <a:pt x="29191" y="223217"/>
                  </a:lnTo>
                  <a:lnTo>
                    <a:pt x="24501" y="224920"/>
                  </a:lnTo>
                  <a:lnTo>
                    <a:pt x="23160" y="221924"/>
                  </a:lnTo>
                  <a:lnTo>
                    <a:pt x="21819" y="218926"/>
                  </a:lnTo>
                  <a:lnTo>
                    <a:pt x="20478" y="215928"/>
                  </a:lnTo>
                  <a:lnTo>
                    <a:pt x="19135" y="212928"/>
                  </a:lnTo>
                  <a:lnTo>
                    <a:pt x="18197" y="210828"/>
                  </a:lnTo>
                  <a:lnTo>
                    <a:pt x="16619" y="210088"/>
                  </a:lnTo>
                  <a:lnTo>
                    <a:pt x="15662" y="207866"/>
                  </a:lnTo>
                  <a:lnTo>
                    <a:pt x="14684" y="205590"/>
                  </a:lnTo>
                  <a:lnTo>
                    <a:pt x="13704" y="203313"/>
                  </a:lnTo>
                  <a:lnTo>
                    <a:pt x="12726" y="201036"/>
                  </a:lnTo>
                  <a:lnTo>
                    <a:pt x="11747" y="198758"/>
                  </a:lnTo>
                  <a:lnTo>
                    <a:pt x="10767" y="196478"/>
                  </a:lnTo>
                  <a:lnTo>
                    <a:pt x="9789" y="194198"/>
                  </a:lnTo>
                  <a:lnTo>
                    <a:pt x="8811" y="191918"/>
                  </a:lnTo>
                  <a:lnTo>
                    <a:pt x="7830" y="189636"/>
                  </a:lnTo>
                  <a:lnTo>
                    <a:pt x="6852" y="187355"/>
                  </a:lnTo>
                  <a:lnTo>
                    <a:pt x="5874" y="185071"/>
                  </a:lnTo>
                  <a:lnTo>
                    <a:pt x="4896" y="182788"/>
                  </a:lnTo>
                  <a:lnTo>
                    <a:pt x="3915" y="180502"/>
                  </a:lnTo>
                  <a:lnTo>
                    <a:pt x="2937" y="178216"/>
                  </a:lnTo>
                  <a:lnTo>
                    <a:pt x="1959" y="175929"/>
                  </a:lnTo>
                  <a:lnTo>
                    <a:pt x="978" y="173641"/>
                  </a:lnTo>
                  <a:lnTo>
                    <a:pt x="0" y="171354"/>
                  </a:lnTo>
                  <a:lnTo>
                    <a:pt x="3116" y="170276"/>
                  </a:lnTo>
                  <a:lnTo>
                    <a:pt x="6921" y="168963"/>
                  </a:lnTo>
                  <a:lnTo>
                    <a:pt x="10726" y="167648"/>
                  </a:lnTo>
                  <a:lnTo>
                    <a:pt x="14529" y="166334"/>
                  </a:lnTo>
                  <a:lnTo>
                    <a:pt x="18333" y="165019"/>
                  </a:lnTo>
                  <a:lnTo>
                    <a:pt x="22136" y="163704"/>
                  </a:lnTo>
                  <a:lnTo>
                    <a:pt x="25941" y="162388"/>
                  </a:lnTo>
                  <a:lnTo>
                    <a:pt x="29746" y="161072"/>
                  </a:lnTo>
                  <a:lnTo>
                    <a:pt x="33548" y="159756"/>
                  </a:lnTo>
                  <a:lnTo>
                    <a:pt x="37353" y="158440"/>
                  </a:lnTo>
                  <a:lnTo>
                    <a:pt x="41156" y="157123"/>
                  </a:lnTo>
                  <a:lnTo>
                    <a:pt x="44961" y="155806"/>
                  </a:lnTo>
                  <a:lnTo>
                    <a:pt x="48766" y="154489"/>
                  </a:lnTo>
                  <a:lnTo>
                    <a:pt x="52568" y="153171"/>
                  </a:lnTo>
                  <a:lnTo>
                    <a:pt x="56373" y="151854"/>
                  </a:lnTo>
                  <a:lnTo>
                    <a:pt x="60176" y="150535"/>
                  </a:lnTo>
                  <a:lnTo>
                    <a:pt x="63981" y="149216"/>
                  </a:lnTo>
                  <a:lnTo>
                    <a:pt x="66330" y="148401"/>
                  </a:lnTo>
                  <a:lnTo>
                    <a:pt x="67306" y="145334"/>
                  </a:lnTo>
                  <a:lnTo>
                    <a:pt x="68118" y="142786"/>
                  </a:lnTo>
                  <a:lnTo>
                    <a:pt x="68926" y="140236"/>
                  </a:lnTo>
                  <a:lnTo>
                    <a:pt x="69738" y="137685"/>
                  </a:lnTo>
                  <a:lnTo>
                    <a:pt x="70547" y="135134"/>
                  </a:lnTo>
                  <a:lnTo>
                    <a:pt x="71355" y="132581"/>
                  </a:lnTo>
                  <a:lnTo>
                    <a:pt x="72165" y="130027"/>
                  </a:lnTo>
                  <a:lnTo>
                    <a:pt x="72977" y="127472"/>
                  </a:lnTo>
                  <a:lnTo>
                    <a:pt x="73784" y="124916"/>
                  </a:lnTo>
                  <a:lnTo>
                    <a:pt x="74594" y="122357"/>
                  </a:lnTo>
                  <a:lnTo>
                    <a:pt x="75404" y="119798"/>
                  </a:lnTo>
                  <a:lnTo>
                    <a:pt x="76214" y="117238"/>
                  </a:lnTo>
                  <a:lnTo>
                    <a:pt x="77023" y="114677"/>
                  </a:lnTo>
                  <a:lnTo>
                    <a:pt x="77833" y="112115"/>
                  </a:lnTo>
                  <a:lnTo>
                    <a:pt x="78643" y="109551"/>
                  </a:lnTo>
                  <a:lnTo>
                    <a:pt x="79453" y="106986"/>
                  </a:lnTo>
                  <a:lnTo>
                    <a:pt x="80263" y="104420"/>
                  </a:lnTo>
                  <a:lnTo>
                    <a:pt x="81005" y="102067"/>
                  </a:lnTo>
                  <a:lnTo>
                    <a:pt x="79606" y="99801"/>
                  </a:lnTo>
                  <a:lnTo>
                    <a:pt x="77727" y="96756"/>
                  </a:lnTo>
                  <a:lnTo>
                    <a:pt x="75760" y="93570"/>
                  </a:lnTo>
                  <a:lnTo>
                    <a:pt x="73910" y="90569"/>
                  </a:lnTo>
                  <a:lnTo>
                    <a:pt x="72564" y="88384"/>
                  </a:lnTo>
                  <a:lnTo>
                    <a:pt x="70940" y="85750"/>
                  </a:lnTo>
                  <a:lnTo>
                    <a:pt x="71122" y="82354"/>
                  </a:lnTo>
                  <a:lnTo>
                    <a:pt x="71081" y="80655"/>
                  </a:lnTo>
                  <a:lnTo>
                    <a:pt x="71251" y="78050"/>
                  </a:lnTo>
                  <a:lnTo>
                    <a:pt x="72806" y="74431"/>
                  </a:lnTo>
                  <a:lnTo>
                    <a:pt x="74642" y="69823"/>
                  </a:lnTo>
                  <a:lnTo>
                    <a:pt x="75983" y="66756"/>
                  </a:lnTo>
                  <a:lnTo>
                    <a:pt x="77142" y="64089"/>
                  </a:lnTo>
                  <a:lnTo>
                    <a:pt x="78075" y="61945"/>
                  </a:lnTo>
                  <a:lnTo>
                    <a:pt x="78587" y="59736"/>
                  </a:lnTo>
                  <a:lnTo>
                    <a:pt x="78315" y="58181"/>
                  </a:lnTo>
                  <a:lnTo>
                    <a:pt x="77706" y="57616"/>
                  </a:lnTo>
                  <a:lnTo>
                    <a:pt x="77190" y="56880"/>
                  </a:lnTo>
                  <a:lnTo>
                    <a:pt x="78945" y="55703"/>
                  </a:lnTo>
                  <a:lnTo>
                    <a:pt x="82234" y="54936"/>
                  </a:lnTo>
                  <a:lnTo>
                    <a:pt x="84059" y="55101"/>
                  </a:lnTo>
                  <a:lnTo>
                    <a:pt x="86603" y="54532"/>
                  </a:lnTo>
                  <a:lnTo>
                    <a:pt x="88615" y="54017"/>
                  </a:lnTo>
                  <a:lnTo>
                    <a:pt x="88770" y="53324"/>
                  </a:lnTo>
                  <a:lnTo>
                    <a:pt x="88198" y="52160"/>
                  </a:lnTo>
                  <a:lnTo>
                    <a:pt x="87365" y="50461"/>
                  </a:lnTo>
                  <a:lnTo>
                    <a:pt x="84514" y="50285"/>
                  </a:lnTo>
                  <a:lnTo>
                    <a:pt x="83655" y="49816"/>
                  </a:lnTo>
                  <a:lnTo>
                    <a:pt x="84646" y="47304"/>
                  </a:lnTo>
                  <a:lnTo>
                    <a:pt x="84609" y="46512"/>
                  </a:lnTo>
                  <a:lnTo>
                    <a:pt x="84229" y="45574"/>
                  </a:lnTo>
                  <a:lnTo>
                    <a:pt x="83817" y="44000"/>
                  </a:lnTo>
                  <a:lnTo>
                    <a:pt x="84024" y="41964"/>
                  </a:lnTo>
                  <a:lnTo>
                    <a:pt x="84607" y="40581"/>
                  </a:lnTo>
                  <a:lnTo>
                    <a:pt x="84614" y="39468"/>
                  </a:lnTo>
                  <a:lnTo>
                    <a:pt x="84335" y="37172"/>
                  </a:lnTo>
                  <a:lnTo>
                    <a:pt x="84426" y="35131"/>
                  </a:lnTo>
                  <a:lnTo>
                    <a:pt x="85026" y="34116"/>
                  </a:lnTo>
                  <a:lnTo>
                    <a:pt x="86084" y="33172"/>
                  </a:lnTo>
                  <a:lnTo>
                    <a:pt x="87082" y="32693"/>
                  </a:lnTo>
                  <a:lnTo>
                    <a:pt x="88127" y="32728"/>
                  </a:lnTo>
                  <a:lnTo>
                    <a:pt x="88956" y="33129"/>
                  </a:lnTo>
                  <a:lnTo>
                    <a:pt x="89312" y="34200"/>
                  </a:lnTo>
                  <a:lnTo>
                    <a:pt x="89083" y="34936"/>
                  </a:lnTo>
                  <a:lnTo>
                    <a:pt x="88494" y="35038"/>
                  </a:lnTo>
                  <a:lnTo>
                    <a:pt x="88287" y="35347"/>
                  </a:lnTo>
                  <a:lnTo>
                    <a:pt x="89129" y="36774"/>
                  </a:lnTo>
                  <a:lnTo>
                    <a:pt x="90355" y="38172"/>
                  </a:lnTo>
                  <a:lnTo>
                    <a:pt x="91299" y="37939"/>
                  </a:lnTo>
                  <a:lnTo>
                    <a:pt x="92359" y="36838"/>
                  </a:lnTo>
                  <a:lnTo>
                    <a:pt x="93469" y="35950"/>
                  </a:lnTo>
                  <a:lnTo>
                    <a:pt x="94866" y="35164"/>
                  </a:lnTo>
                  <a:lnTo>
                    <a:pt x="95877" y="33645"/>
                  </a:lnTo>
                  <a:lnTo>
                    <a:pt x="96747" y="32657"/>
                  </a:lnTo>
                  <a:close/>
                  <a:moveTo>
                    <a:pt x="94123" y="24874"/>
                  </a:moveTo>
                  <a:lnTo>
                    <a:pt x="95076" y="24943"/>
                  </a:lnTo>
                  <a:lnTo>
                    <a:pt x="95307" y="25468"/>
                  </a:lnTo>
                  <a:lnTo>
                    <a:pt x="95175" y="26483"/>
                  </a:lnTo>
                  <a:lnTo>
                    <a:pt x="94255" y="27112"/>
                  </a:lnTo>
                  <a:lnTo>
                    <a:pt x="93599" y="27007"/>
                  </a:lnTo>
                  <a:lnTo>
                    <a:pt x="93730" y="25749"/>
                  </a:lnTo>
                  <a:close/>
                  <a:moveTo>
                    <a:pt x="97317" y="0"/>
                  </a:moveTo>
                  <a:lnTo>
                    <a:pt x="98077" y="123"/>
                  </a:lnTo>
                  <a:lnTo>
                    <a:pt x="98447" y="691"/>
                  </a:lnTo>
                  <a:lnTo>
                    <a:pt x="98181" y="3510"/>
                  </a:lnTo>
                  <a:lnTo>
                    <a:pt x="98151" y="5864"/>
                  </a:lnTo>
                  <a:lnTo>
                    <a:pt x="97205" y="13057"/>
                  </a:lnTo>
                  <a:lnTo>
                    <a:pt x="96225" y="14300"/>
                  </a:lnTo>
                  <a:lnTo>
                    <a:pt x="95737" y="15307"/>
                  </a:lnTo>
                  <a:lnTo>
                    <a:pt x="95529" y="16692"/>
                  </a:lnTo>
                  <a:lnTo>
                    <a:pt x="95102" y="17234"/>
                  </a:lnTo>
                  <a:lnTo>
                    <a:pt x="94461" y="17289"/>
                  </a:lnTo>
                  <a:lnTo>
                    <a:pt x="93003" y="16828"/>
                  </a:lnTo>
                  <a:lnTo>
                    <a:pt x="92141" y="15751"/>
                  </a:lnTo>
                  <a:lnTo>
                    <a:pt x="92303" y="14438"/>
                  </a:lnTo>
                  <a:lnTo>
                    <a:pt x="92351" y="12019"/>
                  </a:lnTo>
                  <a:lnTo>
                    <a:pt x="92759" y="9734"/>
                  </a:lnTo>
                  <a:lnTo>
                    <a:pt x="92646" y="7314"/>
                  </a:lnTo>
                  <a:lnTo>
                    <a:pt x="91519" y="6824"/>
                  </a:lnTo>
                  <a:lnTo>
                    <a:pt x="90722" y="6955"/>
                  </a:lnTo>
                  <a:lnTo>
                    <a:pt x="92580" y="3537"/>
                  </a:lnTo>
                  <a:lnTo>
                    <a:pt x="93305" y="3012"/>
                  </a:lnTo>
                  <a:lnTo>
                    <a:pt x="93994" y="3235"/>
                  </a:lnTo>
                  <a:lnTo>
                    <a:pt x="95700" y="2870"/>
                  </a:lnTo>
                  <a:lnTo>
                    <a:pt x="96605" y="1012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14" name="ee4p_PK_1_82333">
              <a:extLst>
                <a:ext uri="{FF2B5EF4-FFF2-40B4-BE49-F238E27FC236}">
                  <a16:creationId xmlns:a16="http://schemas.microsoft.com/office/drawing/2014/main" id="{73814484-4D66-2949-1D0E-C0FDB4675D47}"/>
                </a:ext>
              </a:extLst>
            </p:cNvPr>
            <p:cNvSpPr>
              <a:spLocks noChangeAspect="1"/>
            </p:cNvSpPr>
            <p:nvPr>
              <p:custDataLst>
                <p:tags r:id="rId42"/>
              </p:custDataLst>
            </p:nvPr>
          </p:nvSpPr>
          <p:spPr>
            <a:xfrm>
              <a:off x="8204281" y="3568790"/>
              <a:ext cx="450011" cy="416642"/>
            </a:xfrm>
            <a:custGeom>
              <a:avLst/>
              <a:gdLst/>
              <a:ahLst/>
              <a:cxnLst/>
              <a:rect l="0" t="0" r="0" b="0"/>
              <a:pathLst>
                <a:path w="358334" h="322969">
                  <a:moveTo>
                    <a:pt x="352103" y="34789"/>
                  </a:moveTo>
                  <a:lnTo>
                    <a:pt x="353118" y="37051"/>
                  </a:lnTo>
                  <a:lnTo>
                    <a:pt x="354653" y="40472"/>
                  </a:lnTo>
                  <a:lnTo>
                    <a:pt x="355660" y="42710"/>
                  </a:lnTo>
                  <a:lnTo>
                    <a:pt x="356791" y="45225"/>
                  </a:lnTo>
                  <a:lnTo>
                    <a:pt x="357357" y="46482"/>
                  </a:lnTo>
                  <a:lnTo>
                    <a:pt x="358333" y="48649"/>
                  </a:lnTo>
                  <a:lnTo>
                    <a:pt x="357936" y="49840"/>
                  </a:lnTo>
                  <a:lnTo>
                    <a:pt x="357277" y="51603"/>
                  </a:lnTo>
                  <a:lnTo>
                    <a:pt x="354863" y="52937"/>
                  </a:lnTo>
                  <a:lnTo>
                    <a:pt x="352457" y="53901"/>
                  </a:lnTo>
                  <a:lnTo>
                    <a:pt x="351896" y="54461"/>
                  </a:lnTo>
                  <a:lnTo>
                    <a:pt x="351708" y="55218"/>
                  </a:lnTo>
                  <a:lnTo>
                    <a:pt x="350542" y="56735"/>
                  </a:lnTo>
                  <a:lnTo>
                    <a:pt x="348290" y="58012"/>
                  </a:lnTo>
                  <a:lnTo>
                    <a:pt x="346422" y="57886"/>
                  </a:lnTo>
                  <a:lnTo>
                    <a:pt x="345245" y="57505"/>
                  </a:lnTo>
                  <a:lnTo>
                    <a:pt x="338959" y="59713"/>
                  </a:lnTo>
                  <a:lnTo>
                    <a:pt x="336052" y="59659"/>
                  </a:lnTo>
                  <a:lnTo>
                    <a:pt x="333780" y="61092"/>
                  </a:lnTo>
                  <a:lnTo>
                    <a:pt x="332096" y="62397"/>
                  </a:lnTo>
                  <a:lnTo>
                    <a:pt x="328715" y="63824"/>
                  </a:lnTo>
                  <a:lnTo>
                    <a:pt x="326424" y="63833"/>
                  </a:lnTo>
                  <a:lnTo>
                    <a:pt x="323040" y="62985"/>
                  </a:lnTo>
                  <a:lnTo>
                    <a:pt x="318872" y="61371"/>
                  </a:lnTo>
                  <a:lnTo>
                    <a:pt x="317180" y="60431"/>
                  </a:lnTo>
                  <a:lnTo>
                    <a:pt x="315652" y="60485"/>
                  </a:lnTo>
                  <a:lnTo>
                    <a:pt x="311969" y="60260"/>
                  </a:lnTo>
                  <a:lnTo>
                    <a:pt x="308363" y="59463"/>
                  </a:lnTo>
                  <a:lnTo>
                    <a:pt x="304059" y="58513"/>
                  </a:lnTo>
                  <a:lnTo>
                    <a:pt x="301932" y="58107"/>
                  </a:lnTo>
                  <a:lnTo>
                    <a:pt x="297563" y="57273"/>
                  </a:lnTo>
                  <a:lnTo>
                    <a:pt x="294724" y="58385"/>
                  </a:lnTo>
                  <a:lnTo>
                    <a:pt x="292156" y="59390"/>
                  </a:lnTo>
                  <a:lnTo>
                    <a:pt x="290064" y="60070"/>
                  </a:lnTo>
                  <a:lnTo>
                    <a:pt x="288336" y="63176"/>
                  </a:lnTo>
                  <a:lnTo>
                    <a:pt x="287607" y="64268"/>
                  </a:lnTo>
                  <a:lnTo>
                    <a:pt x="286767" y="65837"/>
                  </a:lnTo>
                  <a:lnTo>
                    <a:pt x="286378" y="66938"/>
                  </a:lnTo>
                  <a:lnTo>
                    <a:pt x="286719" y="68256"/>
                  </a:lnTo>
                  <a:lnTo>
                    <a:pt x="289254" y="69191"/>
                  </a:lnTo>
                  <a:lnTo>
                    <a:pt x="290310" y="70467"/>
                  </a:lnTo>
                  <a:lnTo>
                    <a:pt x="290468" y="71595"/>
                  </a:lnTo>
                  <a:lnTo>
                    <a:pt x="289556" y="72753"/>
                  </a:lnTo>
                  <a:lnTo>
                    <a:pt x="288796" y="73668"/>
                  </a:lnTo>
                  <a:lnTo>
                    <a:pt x="288801" y="74472"/>
                  </a:lnTo>
                  <a:lnTo>
                    <a:pt x="289204" y="75283"/>
                  </a:lnTo>
                  <a:lnTo>
                    <a:pt x="289813" y="75887"/>
                  </a:lnTo>
                  <a:lnTo>
                    <a:pt x="293411" y="76262"/>
                  </a:lnTo>
                  <a:lnTo>
                    <a:pt x="295542" y="76269"/>
                  </a:lnTo>
                  <a:lnTo>
                    <a:pt x="296371" y="76598"/>
                  </a:lnTo>
                  <a:lnTo>
                    <a:pt x="296469" y="77694"/>
                  </a:lnTo>
                  <a:lnTo>
                    <a:pt x="295689" y="79173"/>
                  </a:lnTo>
                  <a:lnTo>
                    <a:pt x="292655" y="80363"/>
                  </a:lnTo>
                  <a:lnTo>
                    <a:pt x="290943" y="81616"/>
                  </a:lnTo>
                  <a:lnTo>
                    <a:pt x="290401" y="83276"/>
                  </a:lnTo>
                  <a:lnTo>
                    <a:pt x="290425" y="84603"/>
                  </a:lnTo>
                  <a:lnTo>
                    <a:pt x="291010" y="85481"/>
                  </a:lnTo>
                  <a:lnTo>
                    <a:pt x="292463" y="86490"/>
                  </a:lnTo>
                  <a:lnTo>
                    <a:pt x="293823" y="87646"/>
                  </a:lnTo>
                  <a:lnTo>
                    <a:pt x="294238" y="88590"/>
                  </a:lnTo>
                  <a:lnTo>
                    <a:pt x="294074" y="89868"/>
                  </a:lnTo>
                  <a:lnTo>
                    <a:pt x="293526" y="91632"/>
                  </a:lnTo>
                  <a:lnTo>
                    <a:pt x="292035" y="93683"/>
                  </a:lnTo>
                  <a:lnTo>
                    <a:pt x="290794" y="95144"/>
                  </a:lnTo>
                  <a:lnTo>
                    <a:pt x="290697" y="95663"/>
                  </a:lnTo>
                  <a:lnTo>
                    <a:pt x="291006" y="96448"/>
                  </a:lnTo>
                  <a:lnTo>
                    <a:pt x="292007" y="97586"/>
                  </a:lnTo>
                  <a:lnTo>
                    <a:pt x="293713" y="99265"/>
                  </a:lnTo>
                  <a:lnTo>
                    <a:pt x="295832" y="100626"/>
                  </a:lnTo>
                  <a:lnTo>
                    <a:pt x="297192" y="101001"/>
                  </a:lnTo>
                  <a:lnTo>
                    <a:pt x="297635" y="101330"/>
                  </a:lnTo>
                  <a:lnTo>
                    <a:pt x="298058" y="102905"/>
                  </a:lnTo>
                  <a:lnTo>
                    <a:pt x="298217" y="104561"/>
                  </a:lnTo>
                  <a:lnTo>
                    <a:pt x="297676" y="105804"/>
                  </a:lnTo>
                  <a:lnTo>
                    <a:pt x="298762" y="106833"/>
                  </a:lnTo>
                  <a:lnTo>
                    <a:pt x="301610" y="106776"/>
                  </a:lnTo>
                  <a:lnTo>
                    <a:pt x="303929" y="107214"/>
                  </a:lnTo>
                  <a:lnTo>
                    <a:pt x="304905" y="106779"/>
                  </a:lnTo>
                  <a:lnTo>
                    <a:pt x="305588" y="107105"/>
                  </a:lnTo>
                  <a:lnTo>
                    <a:pt x="305147" y="110799"/>
                  </a:lnTo>
                  <a:lnTo>
                    <a:pt x="305467" y="112983"/>
                  </a:lnTo>
                  <a:lnTo>
                    <a:pt x="306084" y="113602"/>
                  </a:lnTo>
                  <a:lnTo>
                    <a:pt x="308365" y="114487"/>
                  </a:lnTo>
                  <a:lnTo>
                    <a:pt x="312753" y="114379"/>
                  </a:lnTo>
                  <a:lnTo>
                    <a:pt x="315335" y="115408"/>
                  </a:lnTo>
                  <a:lnTo>
                    <a:pt x="318201" y="116594"/>
                  </a:lnTo>
                  <a:lnTo>
                    <a:pt x="319725" y="117903"/>
                  </a:lnTo>
                  <a:lnTo>
                    <a:pt x="320408" y="118878"/>
                  </a:lnTo>
                  <a:lnTo>
                    <a:pt x="320213" y="120448"/>
                  </a:lnTo>
                  <a:lnTo>
                    <a:pt x="318652" y="122288"/>
                  </a:lnTo>
                  <a:lnTo>
                    <a:pt x="316102" y="123160"/>
                  </a:lnTo>
                  <a:lnTo>
                    <a:pt x="314614" y="123538"/>
                  </a:lnTo>
                  <a:lnTo>
                    <a:pt x="307272" y="126985"/>
                  </a:lnTo>
                  <a:lnTo>
                    <a:pt x="304979" y="128432"/>
                  </a:lnTo>
                  <a:lnTo>
                    <a:pt x="303206" y="130176"/>
                  </a:lnTo>
                  <a:lnTo>
                    <a:pt x="302552" y="131484"/>
                  </a:lnTo>
                  <a:lnTo>
                    <a:pt x="302197" y="132762"/>
                  </a:lnTo>
                  <a:lnTo>
                    <a:pt x="303787" y="137384"/>
                  </a:lnTo>
                  <a:lnTo>
                    <a:pt x="304055" y="138815"/>
                  </a:lnTo>
                  <a:lnTo>
                    <a:pt x="302750" y="143796"/>
                  </a:lnTo>
                  <a:lnTo>
                    <a:pt x="302368" y="145645"/>
                  </a:lnTo>
                  <a:lnTo>
                    <a:pt x="302856" y="146935"/>
                  </a:lnTo>
                  <a:lnTo>
                    <a:pt x="304417" y="147419"/>
                  </a:lnTo>
                  <a:lnTo>
                    <a:pt x="304759" y="148493"/>
                  </a:lnTo>
                  <a:lnTo>
                    <a:pt x="304914" y="149323"/>
                  </a:lnTo>
                  <a:lnTo>
                    <a:pt x="302193" y="151150"/>
                  </a:lnTo>
                  <a:lnTo>
                    <a:pt x="299332" y="152764"/>
                  </a:lnTo>
                  <a:lnTo>
                    <a:pt x="298425" y="152760"/>
                  </a:lnTo>
                  <a:lnTo>
                    <a:pt x="295689" y="155791"/>
                  </a:lnTo>
                  <a:lnTo>
                    <a:pt x="291120" y="161850"/>
                  </a:lnTo>
                  <a:lnTo>
                    <a:pt x="288695" y="163897"/>
                  </a:lnTo>
                  <a:lnTo>
                    <a:pt x="288524" y="164900"/>
                  </a:lnTo>
                  <a:lnTo>
                    <a:pt x="288328" y="165916"/>
                  </a:lnTo>
                  <a:lnTo>
                    <a:pt x="289254" y="167626"/>
                  </a:lnTo>
                  <a:lnTo>
                    <a:pt x="289448" y="169070"/>
                  </a:lnTo>
                  <a:lnTo>
                    <a:pt x="288412" y="170526"/>
                  </a:lnTo>
                  <a:lnTo>
                    <a:pt x="286702" y="172189"/>
                  </a:lnTo>
                  <a:lnTo>
                    <a:pt x="283359" y="173646"/>
                  </a:lnTo>
                  <a:lnTo>
                    <a:pt x="279146" y="175135"/>
                  </a:lnTo>
                  <a:lnTo>
                    <a:pt x="277248" y="176037"/>
                  </a:lnTo>
                  <a:lnTo>
                    <a:pt x="275825" y="179940"/>
                  </a:lnTo>
                  <a:lnTo>
                    <a:pt x="274510" y="183861"/>
                  </a:lnTo>
                  <a:lnTo>
                    <a:pt x="273921" y="185311"/>
                  </a:lnTo>
                  <a:lnTo>
                    <a:pt x="271647" y="189815"/>
                  </a:lnTo>
                  <a:lnTo>
                    <a:pt x="267675" y="196442"/>
                  </a:lnTo>
                  <a:lnTo>
                    <a:pt x="266671" y="197888"/>
                  </a:lnTo>
                  <a:lnTo>
                    <a:pt x="260530" y="201078"/>
                  </a:lnTo>
                  <a:lnTo>
                    <a:pt x="254257" y="204544"/>
                  </a:lnTo>
                  <a:lnTo>
                    <a:pt x="253154" y="205856"/>
                  </a:lnTo>
                  <a:lnTo>
                    <a:pt x="251869" y="209012"/>
                  </a:lnTo>
                  <a:lnTo>
                    <a:pt x="250660" y="212467"/>
                  </a:lnTo>
                  <a:lnTo>
                    <a:pt x="249539" y="214275"/>
                  </a:lnTo>
                  <a:lnTo>
                    <a:pt x="245548" y="218324"/>
                  </a:lnTo>
                  <a:lnTo>
                    <a:pt x="244240" y="221431"/>
                  </a:lnTo>
                  <a:lnTo>
                    <a:pt x="243829" y="223463"/>
                  </a:lnTo>
                  <a:lnTo>
                    <a:pt x="240433" y="224597"/>
                  </a:lnTo>
                  <a:lnTo>
                    <a:pt x="236591" y="225677"/>
                  </a:lnTo>
                  <a:lnTo>
                    <a:pt x="231000" y="226026"/>
                  </a:lnTo>
                  <a:lnTo>
                    <a:pt x="228671" y="226591"/>
                  </a:lnTo>
                  <a:lnTo>
                    <a:pt x="221819" y="229390"/>
                  </a:lnTo>
                  <a:lnTo>
                    <a:pt x="220117" y="229505"/>
                  </a:lnTo>
                  <a:lnTo>
                    <a:pt x="218778" y="229043"/>
                  </a:lnTo>
                  <a:lnTo>
                    <a:pt x="217765" y="228088"/>
                  </a:lnTo>
                  <a:lnTo>
                    <a:pt x="216826" y="226502"/>
                  </a:lnTo>
                  <a:lnTo>
                    <a:pt x="216384" y="224062"/>
                  </a:lnTo>
                  <a:lnTo>
                    <a:pt x="215060" y="222954"/>
                  </a:lnTo>
                  <a:lnTo>
                    <a:pt x="213276" y="222013"/>
                  </a:lnTo>
                  <a:lnTo>
                    <a:pt x="211400" y="221967"/>
                  </a:lnTo>
                  <a:lnTo>
                    <a:pt x="209514" y="223005"/>
                  </a:lnTo>
                  <a:lnTo>
                    <a:pt x="207875" y="224141"/>
                  </a:lnTo>
                  <a:lnTo>
                    <a:pt x="206761" y="225080"/>
                  </a:lnTo>
                  <a:lnTo>
                    <a:pt x="205668" y="226176"/>
                  </a:lnTo>
                  <a:lnTo>
                    <a:pt x="203574" y="229861"/>
                  </a:lnTo>
                  <a:lnTo>
                    <a:pt x="200179" y="235136"/>
                  </a:lnTo>
                  <a:lnTo>
                    <a:pt x="196388" y="238972"/>
                  </a:lnTo>
                  <a:lnTo>
                    <a:pt x="194984" y="240120"/>
                  </a:lnTo>
                  <a:lnTo>
                    <a:pt x="194105" y="240988"/>
                  </a:lnTo>
                  <a:lnTo>
                    <a:pt x="192920" y="242261"/>
                  </a:lnTo>
                  <a:lnTo>
                    <a:pt x="192235" y="243490"/>
                  </a:lnTo>
                  <a:lnTo>
                    <a:pt x="191296" y="247505"/>
                  </a:lnTo>
                  <a:lnTo>
                    <a:pt x="190754" y="251063"/>
                  </a:lnTo>
                  <a:lnTo>
                    <a:pt x="191002" y="251858"/>
                  </a:lnTo>
                  <a:lnTo>
                    <a:pt x="191570" y="252531"/>
                  </a:lnTo>
                  <a:lnTo>
                    <a:pt x="193641" y="253565"/>
                  </a:lnTo>
                  <a:lnTo>
                    <a:pt x="196634" y="255276"/>
                  </a:lnTo>
                  <a:lnTo>
                    <a:pt x="200514" y="256247"/>
                  </a:lnTo>
                  <a:lnTo>
                    <a:pt x="203786" y="256422"/>
                  </a:lnTo>
                  <a:lnTo>
                    <a:pt x="205008" y="257150"/>
                  </a:lnTo>
                  <a:lnTo>
                    <a:pt x="205738" y="258137"/>
                  </a:lnTo>
                  <a:lnTo>
                    <a:pt x="205941" y="258968"/>
                  </a:lnTo>
                  <a:lnTo>
                    <a:pt x="205772" y="261904"/>
                  </a:lnTo>
                  <a:lnTo>
                    <a:pt x="205405" y="265049"/>
                  </a:lnTo>
                  <a:lnTo>
                    <a:pt x="204191" y="268430"/>
                  </a:lnTo>
                  <a:lnTo>
                    <a:pt x="204211" y="270368"/>
                  </a:lnTo>
                  <a:lnTo>
                    <a:pt x="204688" y="272260"/>
                  </a:lnTo>
                  <a:lnTo>
                    <a:pt x="208325" y="277069"/>
                  </a:lnTo>
                  <a:lnTo>
                    <a:pt x="209664" y="277560"/>
                  </a:lnTo>
                  <a:lnTo>
                    <a:pt x="212391" y="277664"/>
                  </a:lnTo>
                  <a:lnTo>
                    <a:pt x="213658" y="277570"/>
                  </a:lnTo>
                  <a:lnTo>
                    <a:pt x="215066" y="277083"/>
                  </a:lnTo>
                  <a:lnTo>
                    <a:pt x="216068" y="277414"/>
                  </a:lnTo>
                  <a:lnTo>
                    <a:pt x="216811" y="278004"/>
                  </a:lnTo>
                  <a:lnTo>
                    <a:pt x="217005" y="278976"/>
                  </a:lnTo>
                  <a:lnTo>
                    <a:pt x="216891" y="283763"/>
                  </a:lnTo>
                  <a:lnTo>
                    <a:pt x="218007" y="285928"/>
                  </a:lnTo>
                  <a:lnTo>
                    <a:pt x="220173" y="288878"/>
                  </a:lnTo>
                  <a:lnTo>
                    <a:pt x="221881" y="292242"/>
                  </a:lnTo>
                  <a:lnTo>
                    <a:pt x="223499" y="296275"/>
                  </a:lnTo>
                  <a:lnTo>
                    <a:pt x="225043" y="299424"/>
                  </a:lnTo>
                  <a:lnTo>
                    <a:pt x="225643" y="301067"/>
                  </a:lnTo>
                  <a:lnTo>
                    <a:pt x="224637" y="301861"/>
                  </a:lnTo>
                  <a:lnTo>
                    <a:pt x="224062" y="302687"/>
                  </a:lnTo>
                  <a:lnTo>
                    <a:pt x="223918" y="303788"/>
                  </a:lnTo>
                  <a:lnTo>
                    <a:pt x="224127" y="304948"/>
                  </a:lnTo>
                  <a:lnTo>
                    <a:pt x="223993" y="305771"/>
                  </a:lnTo>
                  <a:lnTo>
                    <a:pt x="224723" y="306782"/>
                  </a:lnTo>
                  <a:lnTo>
                    <a:pt x="225587" y="307118"/>
                  </a:lnTo>
                  <a:lnTo>
                    <a:pt x="225559" y="307820"/>
                  </a:lnTo>
                  <a:lnTo>
                    <a:pt x="224205" y="308736"/>
                  </a:lnTo>
                  <a:lnTo>
                    <a:pt x="222996" y="308705"/>
                  </a:lnTo>
                  <a:lnTo>
                    <a:pt x="222069" y="309142"/>
                  </a:lnTo>
                  <a:lnTo>
                    <a:pt x="220275" y="311059"/>
                  </a:lnTo>
                  <a:lnTo>
                    <a:pt x="219439" y="311447"/>
                  </a:lnTo>
                  <a:lnTo>
                    <a:pt x="218312" y="311621"/>
                  </a:lnTo>
                  <a:lnTo>
                    <a:pt x="217055" y="311431"/>
                  </a:lnTo>
                  <a:lnTo>
                    <a:pt x="215282" y="310659"/>
                  </a:lnTo>
                  <a:lnTo>
                    <a:pt x="214764" y="309438"/>
                  </a:lnTo>
                  <a:lnTo>
                    <a:pt x="214967" y="308156"/>
                  </a:lnTo>
                  <a:lnTo>
                    <a:pt x="214563" y="307393"/>
                  </a:lnTo>
                  <a:lnTo>
                    <a:pt x="213291" y="307537"/>
                  </a:lnTo>
                  <a:lnTo>
                    <a:pt x="208864" y="308847"/>
                  </a:lnTo>
                  <a:lnTo>
                    <a:pt x="204645" y="310461"/>
                  </a:lnTo>
                  <a:lnTo>
                    <a:pt x="203913" y="311561"/>
                  </a:lnTo>
                  <a:lnTo>
                    <a:pt x="202939" y="312710"/>
                  </a:lnTo>
                  <a:lnTo>
                    <a:pt x="201009" y="313182"/>
                  </a:lnTo>
                  <a:lnTo>
                    <a:pt x="198165" y="313327"/>
                  </a:lnTo>
                  <a:lnTo>
                    <a:pt x="196198" y="313154"/>
                  </a:lnTo>
                  <a:lnTo>
                    <a:pt x="194384" y="311921"/>
                  </a:lnTo>
                  <a:lnTo>
                    <a:pt x="192725" y="310798"/>
                  </a:lnTo>
                  <a:lnTo>
                    <a:pt x="190166" y="310745"/>
                  </a:lnTo>
                  <a:lnTo>
                    <a:pt x="185558" y="310912"/>
                  </a:lnTo>
                  <a:lnTo>
                    <a:pt x="183004" y="310903"/>
                  </a:lnTo>
                  <a:lnTo>
                    <a:pt x="181501" y="310488"/>
                  </a:lnTo>
                  <a:lnTo>
                    <a:pt x="180020" y="310798"/>
                  </a:lnTo>
                  <a:lnTo>
                    <a:pt x="178167" y="310345"/>
                  </a:lnTo>
                  <a:lnTo>
                    <a:pt x="177342" y="310953"/>
                  </a:lnTo>
                  <a:lnTo>
                    <a:pt x="176564" y="311011"/>
                  </a:lnTo>
                  <a:lnTo>
                    <a:pt x="175938" y="309955"/>
                  </a:lnTo>
                  <a:lnTo>
                    <a:pt x="175521" y="309846"/>
                  </a:lnTo>
                  <a:lnTo>
                    <a:pt x="175031" y="309998"/>
                  </a:lnTo>
                  <a:lnTo>
                    <a:pt x="174604" y="310356"/>
                  </a:lnTo>
                  <a:lnTo>
                    <a:pt x="174349" y="310974"/>
                  </a:lnTo>
                  <a:lnTo>
                    <a:pt x="174260" y="318024"/>
                  </a:lnTo>
                  <a:lnTo>
                    <a:pt x="171220" y="317979"/>
                  </a:lnTo>
                  <a:lnTo>
                    <a:pt x="169054" y="317964"/>
                  </a:lnTo>
                  <a:lnTo>
                    <a:pt x="166679" y="318347"/>
                  </a:lnTo>
                  <a:lnTo>
                    <a:pt x="164495" y="318883"/>
                  </a:lnTo>
                  <a:lnTo>
                    <a:pt x="163426" y="319525"/>
                  </a:lnTo>
                  <a:lnTo>
                    <a:pt x="161898" y="320537"/>
                  </a:lnTo>
                  <a:lnTo>
                    <a:pt x="161539" y="321943"/>
                  </a:lnTo>
                  <a:lnTo>
                    <a:pt x="160803" y="322968"/>
                  </a:lnTo>
                  <a:lnTo>
                    <a:pt x="159747" y="321448"/>
                  </a:lnTo>
                  <a:lnTo>
                    <a:pt x="159067" y="320749"/>
                  </a:lnTo>
                  <a:lnTo>
                    <a:pt x="158281" y="321268"/>
                  </a:lnTo>
                  <a:lnTo>
                    <a:pt x="157164" y="321208"/>
                  </a:lnTo>
                  <a:lnTo>
                    <a:pt x="155152" y="319475"/>
                  </a:lnTo>
                  <a:lnTo>
                    <a:pt x="154247" y="321221"/>
                  </a:lnTo>
                  <a:lnTo>
                    <a:pt x="150918" y="321621"/>
                  </a:lnTo>
                  <a:lnTo>
                    <a:pt x="150499" y="320304"/>
                  </a:lnTo>
                  <a:lnTo>
                    <a:pt x="150416" y="319073"/>
                  </a:lnTo>
                  <a:lnTo>
                    <a:pt x="148587" y="319963"/>
                  </a:lnTo>
                  <a:lnTo>
                    <a:pt x="147272" y="318601"/>
                  </a:lnTo>
                  <a:lnTo>
                    <a:pt x="146681" y="316769"/>
                  </a:lnTo>
                  <a:lnTo>
                    <a:pt x="146173" y="316263"/>
                  </a:lnTo>
                  <a:lnTo>
                    <a:pt x="145592" y="315678"/>
                  </a:lnTo>
                  <a:lnTo>
                    <a:pt x="144213" y="315052"/>
                  </a:lnTo>
                  <a:lnTo>
                    <a:pt x="142977" y="313102"/>
                  </a:lnTo>
                  <a:lnTo>
                    <a:pt x="142865" y="311038"/>
                  </a:lnTo>
                  <a:lnTo>
                    <a:pt x="142520" y="308578"/>
                  </a:lnTo>
                  <a:lnTo>
                    <a:pt x="139928" y="299460"/>
                  </a:lnTo>
                  <a:lnTo>
                    <a:pt x="138361" y="298618"/>
                  </a:lnTo>
                  <a:lnTo>
                    <a:pt x="129570" y="296996"/>
                  </a:lnTo>
                  <a:lnTo>
                    <a:pt x="129110" y="295398"/>
                  </a:lnTo>
                  <a:lnTo>
                    <a:pt x="129721" y="291104"/>
                  </a:lnTo>
                  <a:lnTo>
                    <a:pt x="129473" y="288396"/>
                  </a:lnTo>
                  <a:lnTo>
                    <a:pt x="126626" y="284809"/>
                  </a:lnTo>
                  <a:lnTo>
                    <a:pt x="125830" y="282313"/>
                  </a:lnTo>
                  <a:lnTo>
                    <a:pt x="123502" y="280166"/>
                  </a:lnTo>
                  <a:lnTo>
                    <a:pt x="121193" y="279541"/>
                  </a:lnTo>
                  <a:lnTo>
                    <a:pt x="118868" y="279823"/>
                  </a:lnTo>
                  <a:lnTo>
                    <a:pt x="117613" y="280672"/>
                  </a:lnTo>
                  <a:lnTo>
                    <a:pt x="116924" y="282103"/>
                  </a:lnTo>
                  <a:lnTo>
                    <a:pt x="121906" y="281770"/>
                  </a:lnTo>
                  <a:lnTo>
                    <a:pt x="123027" y="282296"/>
                  </a:lnTo>
                  <a:lnTo>
                    <a:pt x="124365" y="283234"/>
                  </a:lnTo>
                  <a:lnTo>
                    <a:pt x="122934" y="283198"/>
                  </a:lnTo>
                  <a:lnTo>
                    <a:pt x="121284" y="282751"/>
                  </a:lnTo>
                  <a:lnTo>
                    <a:pt x="119213" y="282785"/>
                  </a:lnTo>
                  <a:lnTo>
                    <a:pt x="111450" y="283840"/>
                  </a:lnTo>
                  <a:lnTo>
                    <a:pt x="106942" y="285357"/>
                  </a:lnTo>
                  <a:lnTo>
                    <a:pt x="100895" y="284908"/>
                  </a:lnTo>
                  <a:lnTo>
                    <a:pt x="93268" y="286399"/>
                  </a:lnTo>
                  <a:lnTo>
                    <a:pt x="86974" y="286487"/>
                  </a:lnTo>
                  <a:lnTo>
                    <a:pt x="84372" y="289391"/>
                  </a:lnTo>
                  <a:lnTo>
                    <a:pt x="82936" y="288868"/>
                  </a:lnTo>
                  <a:lnTo>
                    <a:pt x="81823" y="288152"/>
                  </a:lnTo>
                  <a:lnTo>
                    <a:pt x="73162" y="285872"/>
                  </a:lnTo>
                  <a:lnTo>
                    <a:pt x="72562" y="284918"/>
                  </a:lnTo>
                  <a:lnTo>
                    <a:pt x="71113" y="284233"/>
                  </a:lnTo>
                  <a:lnTo>
                    <a:pt x="69519" y="285454"/>
                  </a:lnTo>
                  <a:lnTo>
                    <a:pt x="68375" y="285657"/>
                  </a:lnTo>
                  <a:lnTo>
                    <a:pt x="63629" y="284635"/>
                  </a:lnTo>
                  <a:lnTo>
                    <a:pt x="59996" y="285407"/>
                  </a:lnTo>
                  <a:lnTo>
                    <a:pt x="58649" y="286719"/>
                  </a:lnTo>
                  <a:lnTo>
                    <a:pt x="58554" y="288761"/>
                  </a:lnTo>
                  <a:lnTo>
                    <a:pt x="54006" y="288366"/>
                  </a:lnTo>
                  <a:lnTo>
                    <a:pt x="51448" y="287723"/>
                  </a:lnTo>
                  <a:lnTo>
                    <a:pt x="48020" y="288435"/>
                  </a:lnTo>
                  <a:lnTo>
                    <a:pt x="40275" y="287489"/>
                  </a:lnTo>
                  <a:lnTo>
                    <a:pt x="38234" y="287727"/>
                  </a:lnTo>
                  <a:lnTo>
                    <a:pt x="35410" y="289080"/>
                  </a:lnTo>
                  <a:lnTo>
                    <a:pt x="34226" y="290134"/>
                  </a:lnTo>
                  <a:lnTo>
                    <a:pt x="32548" y="290549"/>
                  </a:lnTo>
                  <a:lnTo>
                    <a:pt x="31076" y="289078"/>
                  </a:lnTo>
                  <a:lnTo>
                    <a:pt x="29968" y="288430"/>
                  </a:lnTo>
                  <a:lnTo>
                    <a:pt x="28940" y="288860"/>
                  </a:lnTo>
                  <a:lnTo>
                    <a:pt x="27554" y="290068"/>
                  </a:lnTo>
                  <a:lnTo>
                    <a:pt x="23540" y="290634"/>
                  </a:lnTo>
                  <a:lnTo>
                    <a:pt x="19907" y="290472"/>
                  </a:lnTo>
                  <a:lnTo>
                    <a:pt x="15999" y="289338"/>
                  </a:lnTo>
                  <a:lnTo>
                    <a:pt x="16463" y="288961"/>
                  </a:lnTo>
                  <a:lnTo>
                    <a:pt x="17072" y="286987"/>
                  </a:lnTo>
                  <a:lnTo>
                    <a:pt x="17618" y="279947"/>
                  </a:lnTo>
                  <a:lnTo>
                    <a:pt x="18310" y="277403"/>
                  </a:lnTo>
                  <a:lnTo>
                    <a:pt x="18098" y="276012"/>
                  </a:lnTo>
                  <a:lnTo>
                    <a:pt x="18249" y="275594"/>
                  </a:lnTo>
                  <a:lnTo>
                    <a:pt x="19776" y="274362"/>
                  </a:lnTo>
                  <a:lnTo>
                    <a:pt x="20145" y="273836"/>
                  </a:lnTo>
                  <a:lnTo>
                    <a:pt x="20728" y="270231"/>
                  </a:lnTo>
                  <a:lnTo>
                    <a:pt x="21374" y="266221"/>
                  </a:lnTo>
                  <a:lnTo>
                    <a:pt x="22091" y="264785"/>
                  </a:lnTo>
                  <a:lnTo>
                    <a:pt x="22697" y="264395"/>
                  </a:lnTo>
                  <a:lnTo>
                    <a:pt x="27545" y="262598"/>
                  </a:lnTo>
                  <a:lnTo>
                    <a:pt x="28361" y="261396"/>
                  </a:lnTo>
                  <a:lnTo>
                    <a:pt x="30868" y="261679"/>
                  </a:lnTo>
                  <a:lnTo>
                    <a:pt x="31095" y="261390"/>
                  </a:lnTo>
                  <a:lnTo>
                    <a:pt x="31318" y="260009"/>
                  </a:lnTo>
                  <a:lnTo>
                    <a:pt x="32482" y="258507"/>
                  </a:lnTo>
                  <a:lnTo>
                    <a:pt x="34091" y="257279"/>
                  </a:lnTo>
                  <a:lnTo>
                    <a:pt x="35289" y="256842"/>
                  </a:lnTo>
                  <a:lnTo>
                    <a:pt x="39649" y="256068"/>
                  </a:lnTo>
                  <a:lnTo>
                    <a:pt x="42194" y="254988"/>
                  </a:lnTo>
                  <a:lnTo>
                    <a:pt x="42970" y="254876"/>
                  </a:lnTo>
                  <a:lnTo>
                    <a:pt x="49744" y="255151"/>
                  </a:lnTo>
                  <a:lnTo>
                    <a:pt x="51178" y="254737"/>
                  </a:lnTo>
                  <a:lnTo>
                    <a:pt x="51404" y="254361"/>
                  </a:lnTo>
                  <a:lnTo>
                    <a:pt x="51804" y="250276"/>
                  </a:lnTo>
                  <a:lnTo>
                    <a:pt x="53030" y="249631"/>
                  </a:lnTo>
                  <a:lnTo>
                    <a:pt x="53225" y="249286"/>
                  </a:lnTo>
                  <a:lnTo>
                    <a:pt x="52806" y="246459"/>
                  </a:lnTo>
                  <a:lnTo>
                    <a:pt x="53041" y="244567"/>
                  </a:lnTo>
                  <a:lnTo>
                    <a:pt x="54436" y="243452"/>
                  </a:lnTo>
                  <a:lnTo>
                    <a:pt x="54356" y="242812"/>
                  </a:lnTo>
                  <a:lnTo>
                    <a:pt x="53354" y="241468"/>
                  </a:lnTo>
                  <a:lnTo>
                    <a:pt x="52024" y="240610"/>
                  </a:lnTo>
                  <a:lnTo>
                    <a:pt x="51376" y="240406"/>
                  </a:lnTo>
                  <a:lnTo>
                    <a:pt x="45818" y="241218"/>
                  </a:lnTo>
                  <a:lnTo>
                    <a:pt x="43523" y="240955"/>
                  </a:lnTo>
                  <a:lnTo>
                    <a:pt x="42447" y="240461"/>
                  </a:lnTo>
                  <a:lnTo>
                    <a:pt x="42220" y="240094"/>
                  </a:lnTo>
                  <a:lnTo>
                    <a:pt x="42436" y="239270"/>
                  </a:lnTo>
                  <a:lnTo>
                    <a:pt x="42475" y="237923"/>
                  </a:lnTo>
                  <a:lnTo>
                    <a:pt x="43285" y="235830"/>
                  </a:lnTo>
                  <a:lnTo>
                    <a:pt x="43531" y="234579"/>
                  </a:lnTo>
                  <a:lnTo>
                    <a:pt x="42875" y="227334"/>
                  </a:lnTo>
                  <a:lnTo>
                    <a:pt x="41933" y="222517"/>
                  </a:lnTo>
                  <a:lnTo>
                    <a:pt x="42436" y="217731"/>
                  </a:lnTo>
                  <a:lnTo>
                    <a:pt x="42337" y="216737"/>
                  </a:lnTo>
                  <a:lnTo>
                    <a:pt x="42147" y="216514"/>
                  </a:lnTo>
                  <a:lnTo>
                    <a:pt x="41443" y="216516"/>
                  </a:lnTo>
                  <a:lnTo>
                    <a:pt x="38059" y="216938"/>
                  </a:lnTo>
                  <a:lnTo>
                    <a:pt x="35170" y="213855"/>
                  </a:lnTo>
                  <a:lnTo>
                    <a:pt x="33382" y="212635"/>
                  </a:lnTo>
                  <a:lnTo>
                    <a:pt x="28463" y="211099"/>
                  </a:lnTo>
                  <a:lnTo>
                    <a:pt x="26306" y="210806"/>
                  </a:lnTo>
                  <a:lnTo>
                    <a:pt x="23140" y="209474"/>
                  </a:lnTo>
                  <a:lnTo>
                    <a:pt x="20225" y="206567"/>
                  </a:lnTo>
                  <a:lnTo>
                    <a:pt x="17240" y="203590"/>
                  </a:lnTo>
                  <a:lnTo>
                    <a:pt x="16040" y="201684"/>
                  </a:lnTo>
                  <a:lnTo>
                    <a:pt x="14710" y="198434"/>
                  </a:lnTo>
                  <a:lnTo>
                    <a:pt x="10935" y="192200"/>
                  </a:lnTo>
                  <a:lnTo>
                    <a:pt x="10970" y="190590"/>
                  </a:lnTo>
                  <a:lnTo>
                    <a:pt x="10503" y="189606"/>
                  </a:lnTo>
                  <a:lnTo>
                    <a:pt x="6828" y="185502"/>
                  </a:lnTo>
                  <a:lnTo>
                    <a:pt x="4220" y="182587"/>
                  </a:lnTo>
                  <a:lnTo>
                    <a:pt x="0" y="177868"/>
                  </a:lnTo>
                  <a:lnTo>
                    <a:pt x="8426" y="180510"/>
                  </a:lnTo>
                  <a:lnTo>
                    <a:pt x="14995" y="182533"/>
                  </a:lnTo>
                  <a:lnTo>
                    <a:pt x="25597" y="185799"/>
                  </a:lnTo>
                  <a:lnTo>
                    <a:pt x="33833" y="188333"/>
                  </a:lnTo>
                  <a:lnTo>
                    <a:pt x="36114" y="188744"/>
                  </a:lnTo>
                  <a:lnTo>
                    <a:pt x="60238" y="186581"/>
                  </a:lnTo>
                  <a:lnTo>
                    <a:pt x="69159" y="188220"/>
                  </a:lnTo>
                  <a:lnTo>
                    <a:pt x="71983" y="189139"/>
                  </a:lnTo>
                  <a:lnTo>
                    <a:pt x="72408" y="188601"/>
                  </a:lnTo>
                  <a:lnTo>
                    <a:pt x="73607" y="187489"/>
                  </a:lnTo>
                  <a:lnTo>
                    <a:pt x="75684" y="186365"/>
                  </a:lnTo>
                  <a:lnTo>
                    <a:pt x="78507" y="185463"/>
                  </a:lnTo>
                  <a:lnTo>
                    <a:pt x="81323" y="184976"/>
                  </a:lnTo>
                  <a:lnTo>
                    <a:pt x="85356" y="184912"/>
                  </a:lnTo>
                  <a:lnTo>
                    <a:pt x="88094" y="184984"/>
                  </a:lnTo>
                  <a:lnTo>
                    <a:pt x="90120" y="185259"/>
                  </a:lnTo>
                  <a:lnTo>
                    <a:pt x="94024" y="185098"/>
                  </a:lnTo>
                  <a:lnTo>
                    <a:pt x="95903" y="184659"/>
                  </a:lnTo>
                  <a:lnTo>
                    <a:pt x="102327" y="182874"/>
                  </a:lnTo>
                  <a:lnTo>
                    <a:pt x="106644" y="181672"/>
                  </a:lnTo>
                  <a:lnTo>
                    <a:pt x="113176" y="179797"/>
                  </a:lnTo>
                  <a:lnTo>
                    <a:pt x="117939" y="178426"/>
                  </a:lnTo>
                  <a:lnTo>
                    <a:pt x="119138" y="177698"/>
                  </a:lnTo>
                  <a:lnTo>
                    <a:pt x="120369" y="176385"/>
                  </a:lnTo>
                  <a:lnTo>
                    <a:pt x="120954" y="175210"/>
                  </a:lnTo>
                  <a:lnTo>
                    <a:pt x="119490" y="173396"/>
                  </a:lnTo>
                  <a:lnTo>
                    <a:pt x="119297" y="171795"/>
                  </a:lnTo>
                  <a:lnTo>
                    <a:pt x="120256" y="169764"/>
                  </a:lnTo>
                  <a:lnTo>
                    <a:pt x="120779" y="166668"/>
                  </a:lnTo>
                  <a:lnTo>
                    <a:pt x="120679" y="162256"/>
                  </a:lnTo>
                  <a:lnTo>
                    <a:pt x="120369" y="159707"/>
                  </a:lnTo>
                  <a:lnTo>
                    <a:pt x="121695" y="154969"/>
                  </a:lnTo>
                  <a:lnTo>
                    <a:pt x="122806" y="152306"/>
                  </a:lnTo>
                  <a:lnTo>
                    <a:pt x="125022" y="151032"/>
                  </a:lnTo>
                  <a:lnTo>
                    <a:pt x="126557" y="150251"/>
                  </a:lnTo>
                  <a:lnTo>
                    <a:pt x="127199" y="149682"/>
                  </a:lnTo>
                  <a:lnTo>
                    <a:pt x="127827" y="149046"/>
                  </a:lnTo>
                  <a:lnTo>
                    <a:pt x="130196" y="145427"/>
                  </a:lnTo>
                  <a:lnTo>
                    <a:pt x="132362" y="143740"/>
                  </a:lnTo>
                  <a:lnTo>
                    <a:pt x="134463" y="142717"/>
                  </a:lnTo>
                  <a:lnTo>
                    <a:pt x="136750" y="142848"/>
                  </a:lnTo>
                  <a:lnTo>
                    <a:pt x="138700" y="144246"/>
                  </a:lnTo>
                  <a:lnTo>
                    <a:pt x="142489" y="144859"/>
                  </a:lnTo>
                  <a:lnTo>
                    <a:pt x="146150" y="144449"/>
                  </a:lnTo>
                  <a:lnTo>
                    <a:pt x="149324" y="143398"/>
                  </a:lnTo>
                  <a:lnTo>
                    <a:pt x="150764" y="142536"/>
                  </a:lnTo>
                  <a:lnTo>
                    <a:pt x="152453" y="141781"/>
                  </a:lnTo>
                  <a:lnTo>
                    <a:pt x="152355" y="140919"/>
                  </a:lnTo>
                  <a:lnTo>
                    <a:pt x="150445" y="140169"/>
                  </a:lnTo>
                  <a:lnTo>
                    <a:pt x="149349" y="139110"/>
                  </a:lnTo>
                  <a:lnTo>
                    <a:pt x="148922" y="137810"/>
                  </a:lnTo>
                  <a:lnTo>
                    <a:pt x="149995" y="137022"/>
                  </a:lnTo>
                  <a:lnTo>
                    <a:pt x="152496" y="136791"/>
                  </a:lnTo>
                  <a:lnTo>
                    <a:pt x="158629" y="133617"/>
                  </a:lnTo>
                  <a:lnTo>
                    <a:pt x="161127" y="131530"/>
                  </a:lnTo>
                  <a:lnTo>
                    <a:pt x="161809" y="130558"/>
                  </a:lnTo>
                  <a:lnTo>
                    <a:pt x="162980" y="130450"/>
                  </a:lnTo>
                  <a:lnTo>
                    <a:pt x="165321" y="131422"/>
                  </a:lnTo>
                  <a:lnTo>
                    <a:pt x="168050" y="131745"/>
                  </a:lnTo>
                  <a:lnTo>
                    <a:pt x="169763" y="130774"/>
                  </a:lnTo>
                  <a:lnTo>
                    <a:pt x="171464" y="130558"/>
                  </a:lnTo>
                  <a:lnTo>
                    <a:pt x="173135" y="131617"/>
                  </a:lnTo>
                  <a:lnTo>
                    <a:pt x="174029" y="132881"/>
                  </a:lnTo>
                  <a:lnTo>
                    <a:pt x="175547" y="134389"/>
                  </a:lnTo>
                  <a:lnTo>
                    <a:pt x="177462" y="134688"/>
                  </a:lnTo>
                  <a:lnTo>
                    <a:pt x="179773" y="133876"/>
                  </a:lnTo>
                  <a:lnTo>
                    <a:pt x="182198" y="132137"/>
                  </a:lnTo>
                  <a:lnTo>
                    <a:pt x="184494" y="129698"/>
                  </a:lnTo>
                  <a:lnTo>
                    <a:pt x="186536" y="127279"/>
                  </a:lnTo>
                  <a:lnTo>
                    <a:pt x="186033" y="119608"/>
                  </a:lnTo>
                  <a:lnTo>
                    <a:pt x="185699" y="115084"/>
                  </a:lnTo>
                  <a:lnTo>
                    <a:pt x="186772" y="112698"/>
                  </a:lnTo>
                  <a:lnTo>
                    <a:pt x="188309" y="111227"/>
                  </a:lnTo>
                  <a:lnTo>
                    <a:pt x="189324" y="108952"/>
                  </a:lnTo>
                  <a:lnTo>
                    <a:pt x="189307" y="106943"/>
                  </a:lnTo>
                  <a:lnTo>
                    <a:pt x="190380" y="105253"/>
                  </a:lnTo>
                  <a:lnTo>
                    <a:pt x="191451" y="100632"/>
                  </a:lnTo>
                  <a:lnTo>
                    <a:pt x="192915" y="99544"/>
                  </a:lnTo>
                  <a:lnTo>
                    <a:pt x="195921" y="98789"/>
                  </a:lnTo>
                  <a:lnTo>
                    <a:pt x="200706" y="98349"/>
                  </a:lnTo>
                  <a:lnTo>
                    <a:pt x="204468" y="96234"/>
                  </a:lnTo>
                  <a:lnTo>
                    <a:pt x="208247" y="93986"/>
                  </a:lnTo>
                  <a:lnTo>
                    <a:pt x="208756" y="92006"/>
                  </a:lnTo>
                  <a:lnTo>
                    <a:pt x="207331" y="89885"/>
                  </a:lnTo>
                  <a:lnTo>
                    <a:pt x="205440" y="85770"/>
                  </a:lnTo>
                  <a:lnTo>
                    <a:pt x="203725" y="83312"/>
                  </a:lnTo>
                  <a:lnTo>
                    <a:pt x="199555" y="78898"/>
                  </a:lnTo>
                  <a:lnTo>
                    <a:pt x="200033" y="76173"/>
                  </a:lnTo>
                  <a:lnTo>
                    <a:pt x="202356" y="75066"/>
                  </a:lnTo>
                  <a:lnTo>
                    <a:pt x="208081" y="76952"/>
                  </a:lnTo>
                  <a:lnTo>
                    <a:pt x="209674" y="77320"/>
                  </a:lnTo>
                  <a:lnTo>
                    <a:pt x="211665" y="77586"/>
                  </a:lnTo>
                  <a:lnTo>
                    <a:pt x="216934" y="77540"/>
                  </a:lnTo>
                  <a:lnTo>
                    <a:pt x="221233" y="76805"/>
                  </a:lnTo>
                  <a:lnTo>
                    <a:pt x="225725" y="75118"/>
                  </a:lnTo>
                  <a:lnTo>
                    <a:pt x="226604" y="73363"/>
                  </a:lnTo>
                  <a:lnTo>
                    <a:pt x="226554" y="71277"/>
                  </a:lnTo>
                  <a:lnTo>
                    <a:pt x="226628" y="69554"/>
                  </a:lnTo>
                  <a:lnTo>
                    <a:pt x="226701" y="67157"/>
                  </a:lnTo>
                  <a:lnTo>
                    <a:pt x="225093" y="65619"/>
                  </a:lnTo>
                  <a:lnTo>
                    <a:pt x="224118" y="64243"/>
                  </a:lnTo>
                  <a:lnTo>
                    <a:pt x="223825" y="63143"/>
                  </a:lnTo>
                  <a:lnTo>
                    <a:pt x="224946" y="62538"/>
                  </a:lnTo>
                  <a:lnTo>
                    <a:pt x="226036" y="61415"/>
                  </a:lnTo>
                  <a:lnTo>
                    <a:pt x="227090" y="59367"/>
                  </a:lnTo>
                  <a:lnTo>
                    <a:pt x="229578" y="56919"/>
                  </a:lnTo>
                  <a:lnTo>
                    <a:pt x="231089" y="54713"/>
                  </a:lnTo>
                  <a:lnTo>
                    <a:pt x="232503" y="53665"/>
                  </a:lnTo>
                  <a:lnTo>
                    <a:pt x="234647" y="52230"/>
                  </a:lnTo>
                  <a:lnTo>
                    <a:pt x="236019" y="50122"/>
                  </a:lnTo>
                  <a:lnTo>
                    <a:pt x="236647" y="48862"/>
                  </a:lnTo>
                  <a:lnTo>
                    <a:pt x="237889" y="47627"/>
                  </a:lnTo>
                  <a:lnTo>
                    <a:pt x="238306" y="46816"/>
                  </a:lnTo>
                  <a:lnTo>
                    <a:pt x="237969" y="46095"/>
                  </a:lnTo>
                  <a:lnTo>
                    <a:pt x="237349" y="45186"/>
                  </a:lnTo>
                  <a:lnTo>
                    <a:pt x="236647" y="44161"/>
                  </a:lnTo>
                  <a:lnTo>
                    <a:pt x="236647" y="43165"/>
                  </a:lnTo>
                  <a:lnTo>
                    <a:pt x="237232" y="42113"/>
                  </a:lnTo>
                  <a:lnTo>
                    <a:pt x="237865" y="41172"/>
                  </a:lnTo>
                  <a:lnTo>
                    <a:pt x="237574" y="39841"/>
                  </a:lnTo>
                  <a:lnTo>
                    <a:pt x="237232" y="37680"/>
                  </a:lnTo>
                  <a:lnTo>
                    <a:pt x="236062" y="36405"/>
                  </a:lnTo>
                  <a:lnTo>
                    <a:pt x="235278" y="33458"/>
                  </a:lnTo>
                  <a:lnTo>
                    <a:pt x="234038" y="30457"/>
                  </a:lnTo>
                  <a:lnTo>
                    <a:pt x="233376" y="29287"/>
                  </a:lnTo>
                  <a:lnTo>
                    <a:pt x="232166" y="27815"/>
                  </a:lnTo>
                  <a:lnTo>
                    <a:pt x="229454" y="26247"/>
                  </a:lnTo>
                  <a:lnTo>
                    <a:pt x="228677" y="25202"/>
                  </a:lnTo>
                  <a:lnTo>
                    <a:pt x="229735" y="23190"/>
                  </a:lnTo>
                  <a:lnTo>
                    <a:pt x="231497" y="21942"/>
                  </a:lnTo>
                  <a:lnTo>
                    <a:pt x="234829" y="18856"/>
                  </a:lnTo>
                  <a:lnTo>
                    <a:pt x="236656" y="16721"/>
                  </a:lnTo>
                  <a:lnTo>
                    <a:pt x="238306" y="15232"/>
                  </a:lnTo>
                  <a:lnTo>
                    <a:pt x="240426" y="15483"/>
                  </a:lnTo>
                  <a:lnTo>
                    <a:pt x="241670" y="15350"/>
                  </a:lnTo>
                  <a:lnTo>
                    <a:pt x="242767" y="13976"/>
                  </a:lnTo>
                  <a:lnTo>
                    <a:pt x="244943" y="12758"/>
                  </a:lnTo>
                  <a:lnTo>
                    <a:pt x="248811" y="10234"/>
                  </a:lnTo>
                  <a:lnTo>
                    <a:pt x="250163" y="8531"/>
                  </a:lnTo>
                  <a:lnTo>
                    <a:pt x="252221" y="7672"/>
                  </a:lnTo>
                  <a:lnTo>
                    <a:pt x="253926" y="7478"/>
                  </a:lnTo>
                  <a:lnTo>
                    <a:pt x="256231" y="6883"/>
                  </a:lnTo>
                  <a:lnTo>
                    <a:pt x="258446" y="5964"/>
                  </a:lnTo>
                  <a:lnTo>
                    <a:pt x="260469" y="5264"/>
                  </a:lnTo>
                  <a:lnTo>
                    <a:pt x="263639" y="5126"/>
                  </a:lnTo>
                  <a:lnTo>
                    <a:pt x="268671" y="4705"/>
                  </a:lnTo>
                  <a:lnTo>
                    <a:pt x="271392" y="4274"/>
                  </a:lnTo>
                  <a:lnTo>
                    <a:pt x="277900" y="3940"/>
                  </a:lnTo>
                  <a:lnTo>
                    <a:pt x="284992" y="3785"/>
                  </a:lnTo>
                  <a:lnTo>
                    <a:pt x="285816" y="3768"/>
                  </a:lnTo>
                  <a:lnTo>
                    <a:pt x="288883" y="4671"/>
                  </a:lnTo>
                  <a:lnTo>
                    <a:pt x="290962" y="5429"/>
                  </a:lnTo>
                  <a:lnTo>
                    <a:pt x="291780" y="5362"/>
                  </a:lnTo>
                  <a:lnTo>
                    <a:pt x="295227" y="3555"/>
                  </a:lnTo>
                  <a:lnTo>
                    <a:pt x="300453" y="1348"/>
                  </a:lnTo>
                  <a:lnTo>
                    <a:pt x="302893" y="369"/>
                  </a:lnTo>
                  <a:lnTo>
                    <a:pt x="304201" y="0"/>
                  </a:lnTo>
                  <a:lnTo>
                    <a:pt x="306227" y="24"/>
                  </a:lnTo>
                  <a:lnTo>
                    <a:pt x="307860" y="609"/>
                  </a:lnTo>
                  <a:lnTo>
                    <a:pt x="309522" y="1465"/>
                  </a:lnTo>
                  <a:lnTo>
                    <a:pt x="310585" y="2143"/>
                  </a:lnTo>
                  <a:lnTo>
                    <a:pt x="311908" y="1738"/>
                  </a:lnTo>
                  <a:lnTo>
                    <a:pt x="314225" y="1260"/>
                  </a:lnTo>
                  <a:lnTo>
                    <a:pt x="316244" y="1613"/>
                  </a:lnTo>
                  <a:lnTo>
                    <a:pt x="320699" y="3133"/>
                  </a:lnTo>
                  <a:lnTo>
                    <a:pt x="321366" y="3890"/>
                  </a:lnTo>
                  <a:lnTo>
                    <a:pt x="322414" y="7583"/>
                  </a:lnTo>
                  <a:lnTo>
                    <a:pt x="323211" y="7918"/>
                  </a:lnTo>
                  <a:lnTo>
                    <a:pt x="325720" y="7048"/>
                  </a:lnTo>
                  <a:lnTo>
                    <a:pt x="327786" y="7488"/>
                  </a:lnTo>
                  <a:lnTo>
                    <a:pt x="330108" y="8682"/>
                  </a:lnTo>
                  <a:lnTo>
                    <a:pt x="331613" y="9829"/>
                  </a:lnTo>
                  <a:lnTo>
                    <a:pt x="332602" y="11071"/>
                  </a:lnTo>
                  <a:lnTo>
                    <a:pt x="333664" y="13077"/>
                  </a:lnTo>
                  <a:lnTo>
                    <a:pt x="334081" y="14685"/>
                  </a:lnTo>
                  <a:lnTo>
                    <a:pt x="334580" y="16601"/>
                  </a:lnTo>
                  <a:lnTo>
                    <a:pt x="334452" y="22001"/>
                  </a:lnTo>
                  <a:lnTo>
                    <a:pt x="333688" y="22883"/>
                  </a:lnTo>
                  <a:lnTo>
                    <a:pt x="333042" y="24031"/>
                  </a:lnTo>
                  <a:lnTo>
                    <a:pt x="333206" y="25029"/>
                  </a:lnTo>
                  <a:lnTo>
                    <a:pt x="333932" y="25821"/>
                  </a:lnTo>
                  <a:lnTo>
                    <a:pt x="335376" y="26357"/>
                  </a:lnTo>
                  <a:lnTo>
                    <a:pt x="336713" y="26693"/>
                  </a:lnTo>
                  <a:lnTo>
                    <a:pt x="337430" y="27546"/>
                  </a:lnTo>
                  <a:lnTo>
                    <a:pt x="338415" y="30576"/>
                  </a:lnTo>
                  <a:lnTo>
                    <a:pt x="339078" y="31042"/>
                  </a:lnTo>
                  <a:lnTo>
                    <a:pt x="340710" y="31032"/>
                  </a:lnTo>
                  <a:lnTo>
                    <a:pt x="343675" y="30371"/>
                  </a:lnTo>
                  <a:lnTo>
                    <a:pt x="346247" y="29336"/>
                  </a:lnTo>
                  <a:lnTo>
                    <a:pt x="347335" y="29113"/>
                  </a:lnTo>
                  <a:lnTo>
                    <a:pt x="347605" y="31988"/>
                  </a:lnTo>
                  <a:lnTo>
                    <a:pt x="349117" y="33086"/>
                  </a:lnTo>
                  <a:lnTo>
                    <a:pt x="351233" y="34363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15" name="ee4p_PH_1_82333">
              <a:extLst>
                <a:ext uri="{FF2B5EF4-FFF2-40B4-BE49-F238E27FC236}">
                  <a16:creationId xmlns:a16="http://schemas.microsoft.com/office/drawing/2014/main" id="{7E687AD0-E701-E312-5581-254047E3F990}"/>
                </a:ext>
              </a:extLst>
            </p:cNvPr>
            <p:cNvSpPr>
              <a:spLocks noChangeAspect="1"/>
            </p:cNvSpPr>
            <p:nvPr>
              <p:custDataLst>
                <p:tags r:id="rId43"/>
              </p:custDataLst>
            </p:nvPr>
          </p:nvSpPr>
          <p:spPr>
            <a:xfrm>
              <a:off x="9762866" y="4072702"/>
              <a:ext cx="267248" cy="458614"/>
            </a:xfrm>
            <a:custGeom>
              <a:avLst/>
              <a:gdLst>
                <a:gd name="connsiteX0" fmla="*/ 71610 w 212804"/>
                <a:gd name="connsiteY0" fmla="*/ 349299 h 355504"/>
                <a:gd name="connsiteX1" fmla="*/ 72083 w 212804"/>
                <a:gd name="connsiteY1" fmla="*/ 350541 h 355504"/>
                <a:gd name="connsiteX2" fmla="*/ 72546 w 212804"/>
                <a:gd name="connsiteY2" fmla="*/ 351150 h 355504"/>
                <a:gd name="connsiteX3" fmla="*/ 71946 w 212804"/>
                <a:gd name="connsiteY3" fmla="*/ 352488 h 355504"/>
                <a:gd name="connsiteX4" fmla="*/ 71247 w 212804"/>
                <a:gd name="connsiteY4" fmla="*/ 353108 h 355504"/>
                <a:gd name="connsiteX5" fmla="*/ 70327 w 212804"/>
                <a:gd name="connsiteY5" fmla="*/ 352758 h 355504"/>
                <a:gd name="connsiteX6" fmla="*/ 69627 w 212804"/>
                <a:gd name="connsiteY6" fmla="*/ 352064 h 355504"/>
                <a:gd name="connsiteX7" fmla="*/ 69234 w 212804"/>
                <a:gd name="connsiteY7" fmla="*/ 353093 h 355504"/>
                <a:gd name="connsiteX8" fmla="*/ 67304 w 212804"/>
                <a:gd name="connsiteY8" fmla="*/ 353489 h 355504"/>
                <a:gd name="connsiteX9" fmla="*/ 66084 w 212804"/>
                <a:gd name="connsiteY9" fmla="*/ 355075 h 355504"/>
                <a:gd name="connsiteX10" fmla="*/ 64303 w 212804"/>
                <a:gd name="connsiteY10" fmla="*/ 355504 h 355504"/>
                <a:gd name="connsiteX11" fmla="*/ 63063 w 212804"/>
                <a:gd name="connsiteY11" fmla="*/ 355298 h 355504"/>
                <a:gd name="connsiteX12" fmla="*/ 63193 w 212804"/>
                <a:gd name="connsiteY12" fmla="*/ 353887 h 355504"/>
                <a:gd name="connsiteX13" fmla="*/ 66628 w 212804"/>
                <a:gd name="connsiteY13" fmla="*/ 351775 h 355504"/>
                <a:gd name="connsiteX14" fmla="*/ 68772 w 212804"/>
                <a:gd name="connsiteY14" fmla="*/ 350995 h 355504"/>
                <a:gd name="connsiteX15" fmla="*/ 70664 w 212804"/>
                <a:gd name="connsiteY15" fmla="*/ 349469 h 355504"/>
                <a:gd name="connsiteX16" fmla="*/ 89956 w 212804"/>
                <a:gd name="connsiteY16" fmla="*/ 332531 h 355504"/>
                <a:gd name="connsiteX17" fmla="*/ 92647 w 212804"/>
                <a:gd name="connsiteY17" fmla="*/ 332983 h 355504"/>
                <a:gd name="connsiteX18" fmla="*/ 93851 w 212804"/>
                <a:gd name="connsiteY18" fmla="*/ 334583 h 355504"/>
                <a:gd name="connsiteX19" fmla="*/ 95370 w 212804"/>
                <a:gd name="connsiteY19" fmla="*/ 334167 h 355504"/>
                <a:gd name="connsiteX20" fmla="*/ 97779 w 212804"/>
                <a:gd name="connsiteY20" fmla="*/ 334615 h 355504"/>
                <a:gd name="connsiteX21" fmla="*/ 98291 w 212804"/>
                <a:gd name="connsiteY21" fmla="*/ 335449 h 355504"/>
                <a:gd name="connsiteX22" fmla="*/ 98212 w 212804"/>
                <a:gd name="connsiteY22" fmla="*/ 335996 h 355504"/>
                <a:gd name="connsiteX23" fmla="*/ 95633 w 212804"/>
                <a:gd name="connsiteY23" fmla="*/ 337546 h 355504"/>
                <a:gd name="connsiteX24" fmla="*/ 93947 w 212804"/>
                <a:gd name="connsiteY24" fmla="*/ 335932 h 355504"/>
                <a:gd name="connsiteX25" fmla="*/ 90958 w 212804"/>
                <a:gd name="connsiteY25" fmla="*/ 337035 h 355504"/>
                <a:gd name="connsiteX26" fmla="*/ 89532 w 212804"/>
                <a:gd name="connsiteY26" fmla="*/ 336371 h 355504"/>
                <a:gd name="connsiteX27" fmla="*/ 87589 w 212804"/>
                <a:gd name="connsiteY27" fmla="*/ 336965 h 355504"/>
                <a:gd name="connsiteX28" fmla="*/ 86389 w 212804"/>
                <a:gd name="connsiteY28" fmla="*/ 335712 h 355504"/>
                <a:gd name="connsiteX29" fmla="*/ 86872 w 212804"/>
                <a:gd name="connsiteY29" fmla="*/ 334507 h 355504"/>
                <a:gd name="connsiteX30" fmla="*/ 112524 w 212804"/>
                <a:gd name="connsiteY30" fmla="*/ 318217 h 355504"/>
                <a:gd name="connsiteX31" fmla="*/ 117605 w 212804"/>
                <a:gd name="connsiteY31" fmla="*/ 320478 h 355504"/>
                <a:gd name="connsiteX32" fmla="*/ 118389 w 212804"/>
                <a:gd name="connsiteY32" fmla="*/ 321293 h 355504"/>
                <a:gd name="connsiteX33" fmla="*/ 116801 w 212804"/>
                <a:gd name="connsiteY33" fmla="*/ 321791 h 355504"/>
                <a:gd name="connsiteX34" fmla="*/ 115679 w 212804"/>
                <a:gd name="connsiteY34" fmla="*/ 323942 h 355504"/>
                <a:gd name="connsiteX35" fmla="*/ 113288 w 212804"/>
                <a:gd name="connsiteY35" fmla="*/ 325154 h 355504"/>
                <a:gd name="connsiteX36" fmla="*/ 111045 w 212804"/>
                <a:gd name="connsiteY36" fmla="*/ 325460 h 355504"/>
                <a:gd name="connsiteX37" fmla="*/ 110332 w 212804"/>
                <a:gd name="connsiteY37" fmla="*/ 325432 h 355504"/>
                <a:gd name="connsiteX38" fmla="*/ 108578 w 212804"/>
                <a:gd name="connsiteY38" fmla="*/ 323172 h 355504"/>
                <a:gd name="connsiteX39" fmla="*/ 108414 w 212804"/>
                <a:gd name="connsiteY39" fmla="*/ 322170 h 355504"/>
                <a:gd name="connsiteX40" fmla="*/ 107004 w 212804"/>
                <a:gd name="connsiteY40" fmla="*/ 321038 h 355504"/>
                <a:gd name="connsiteX41" fmla="*/ 107520 w 212804"/>
                <a:gd name="connsiteY41" fmla="*/ 319920 h 355504"/>
                <a:gd name="connsiteX42" fmla="*/ 109353 w 212804"/>
                <a:gd name="connsiteY42" fmla="*/ 319650 h 355504"/>
                <a:gd name="connsiteX43" fmla="*/ 193369 w 212804"/>
                <a:gd name="connsiteY43" fmla="*/ 308334 h 355504"/>
                <a:gd name="connsiteX44" fmla="*/ 194893 w 212804"/>
                <a:gd name="connsiteY44" fmla="*/ 309554 h 355504"/>
                <a:gd name="connsiteX45" fmla="*/ 194920 w 212804"/>
                <a:gd name="connsiteY45" fmla="*/ 313285 h 355504"/>
                <a:gd name="connsiteX46" fmla="*/ 194574 w 212804"/>
                <a:gd name="connsiteY46" fmla="*/ 314551 h 355504"/>
                <a:gd name="connsiteX47" fmla="*/ 193216 w 212804"/>
                <a:gd name="connsiteY47" fmla="*/ 311569 h 355504"/>
                <a:gd name="connsiteX48" fmla="*/ 192673 w 212804"/>
                <a:gd name="connsiteY48" fmla="*/ 310831 h 355504"/>
                <a:gd name="connsiteX49" fmla="*/ 131464 w 212804"/>
                <a:gd name="connsiteY49" fmla="*/ 302825 h 355504"/>
                <a:gd name="connsiteX50" fmla="*/ 131956 w 212804"/>
                <a:gd name="connsiteY50" fmla="*/ 303365 h 355504"/>
                <a:gd name="connsiteX51" fmla="*/ 132198 w 212804"/>
                <a:gd name="connsiteY51" fmla="*/ 303885 h 355504"/>
                <a:gd name="connsiteX52" fmla="*/ 132101 w 212804"/>
                <a:gd name="connsiteY52" fmla="*/ 304434 h 355504"/>
                <a:gd name="connsiteX53" fmla="*/ 129799 w 212804"/>
                <a:gd name="connsiteY53" fmla="*/ 305466 h 355504"/>
                <a:gd name="connsiteX54" fmla="*/ 129027 w 212804"/>
                <a:gd name="connsiteY54" fmla="*/ 305436 h 355504"/>
                <a:gd name="connsiteX55" fmla="*/ 128848 w 212804"/>
                <a:gd name="connsiteY55" fmla="*/ 303715 h 355504"/>
                <a:gd name="connsiteX56" fmla="*/ 129414 w 212804"/>
                <a:gd name="connsiteY56" fmla="*/ 302935 h 355504"/>
                <a:gd name="connsiteX57" fmla="*/ 130499 w 212804"/>
                <a:gd name="connsiteY57" fmla="*/ 303627 h 355504"/>
                <a:gd name="connsiteX58" fmla="*/ 2378 w 212804"/>
                <a:gd name="connsiteY58" fmla="*/ 288685 h 355504"/>
                <a:gd name="connsiteX59" fmla="*/ 2440 w 212804"/>
                <a:gd name="connsiteY59" fmla="*/ 292818 h 355504"/>
                <a:gd name="connsiteX60" fmla="*/ 1300 w 212804"/>
                <a:gd name="connsiteY60" fmla="*/ 294505 h 355504"/>
                <a:gd name="connsiteX61" fmla="*/ 0 w 212804"/>
                <a:gd name="connsiteY61" fmla="*/ 292561 h 355504"/>
                <a:gd name="connsiteX62" fmla="*/ 138 w 212804"/>
                <a:gd name="connsiteY62" fmla="*/ 289853 h 355504"/>
                <a:gd name="connsiteX63" fmla="*/ 531 w 212804"/>
                <a:gd name="connsiteY63" fmla="*/ 289099 h 355504"/>
                <a:gd name="connsiteX64" fmla="*/ 6885 w 212804"/>
                <a:gd name="connsiteY64" fmla="*/ 283213 h 355504"/>
                <a:gd name="connsiteX65" fmla="*/ 7962 w 212804"/>
                <a:gd name="connsiteY65" fmla="*/ 283357 h 355504"/>
                <a:gd name="connsiteX66" fmla="*/ 8495 w 212804"/>
                <a:gd name="connsiteY66" fmla="*/ 283786 h 355504"/>
                <a:gd name="connsiteX67" fmla="*/ 8529 w 212804"/>
                <a:gd name="connsiteY67" fmla="*/ 285446 h 355504"/>
                <a:gd name="connsiteX68" fmla="*/ 7020 w 212804"/>
                <a:gd name="connsiteY68" fmla="*/ 285973 h 355504"/>
                <a:gd name="connsiteX69" fmla="*/ 6694 w 212804"/>
                <a:gd name="connsiteY69" fmla="*/ 284581 h 355504"/>
                <a:gd name="connsiteX70" fmla="*/ 171751 w 212804"/>
                <a:gd name="connsiteY70" fmla="*/ 262534 h 355504"/>
                <a:gd name="connsiteX71" fmla="*/ 172933 w 212804"/>
                <a:gd name="connsiteY71" fmla="*/ 263717 h 355504"/>
                <a:gd name="connsiteX72" fmla="*/ 173295 w 212804"/>
                <a:gd name="connsiteY72" fmla="*/ 264775 h 355504"/>
                <a:gd name="connsiteX73" fmla="*/ 172660 w 212804"/>
                <a:gd name="connsiteY73" fmla="*/ 266102 h 355504"/>
                <a:gd name="connsiteX74" fmla="*/ 170182 w 212804"/>
                <a:gd name="connsiteY74" fmla="*/ 265005 h 355504"/>
                <a:gd name="connsiteX75" fmla="*/ 169589 w 212804"/>
                <a:gd name="connsiteY75" fmla="*/ 264051 h 355504"/>
                <a:gd name="connsiteX76" fmla="*/ 169905 w 212804"/>
                <a:gd name="connsiteY76" fmla="*/ 262920 h 355504"/>
                <a:gd name="connsiteX77" fmla="*/ 171116 w 212804"/>
                <a:gd name="connsiteY77" fmla="*/ 262537 h 355504"/>
                <a:gd name="connsiteX78" fmla="*/ 147827 w 212804"/>
                <a:gd name="connsiteY78" fmla="*/ 261740 h 355504"/>
                <a:gd name="connsiteX79" fmla="*/ 148773 w 212804"/>
                <a:gd name="connsiteY79" fmla="*/ 262664 h 355504"/>
                <a:gd name="connsiteX80" fmla="*/ 148963 w 212804"/>
                <a:gd name="connsiteY80" fmla="*/ 264977 h 355504"/>
                <a:gd name="connsiteX81" fmla="*/ 146933 w 212804"/>
                <a:gd name="connsiteY81" fmla="*/ 265651 h 355504"/>
                <a:gd name="connsiteX82" fmla="*/ 145303 w 212804"/>
                <a:gd name="connsiteY82" fmla="*/ 265063 h 355504"/>
                <a:gd name="connsiteX83" fmla="*/ 144258 w 212804"/>
                <a:gd name="connsiteY83" fmla="*/ 263672 h 355504"/>
                <a:gd name="connsiteX84" fmla="*/ 144260 w 212804"/>
                <a:gd name="connsiteY84" fmla="*/ 263150 h 355504"/>
                <a:gd name="connsiteX85" fmla="*/ 145180 w 212804"/>
                <a:gd name="connsiteY85" fmla="*/ 263193 h 355504"/>
                <a:gd name="connsiteX86" fmla="*/ 147191 w 212804"/>
                <a:gd name="connsiteY86" fmla="*/ 261974 h 355504"/>
                <a:gd name="connsiteX87" fmla="*/ 198970 w 212804"/>
                <a:gd name="connsiteY87" fmla="*/ 251024 h 355504"/>
                <a:gd name="connsiteX88" fmla="*/ 199527 w 212804"/>
                <a:gd name="connsiteY88" fmla="*/ 252687 h 355504"/>
                <a:gd name="connsiteX89" fmla="*/ 199031 w 212804"/>
                <a:gd name="connsiteY89" fmla="*/ 254718 h 355504"/>
                <a:gd name="connsiteX90" fmla="*/ 198632 w 212804"/>
                <a:gd name="connsiteY90" fmla="*/ 255289 h 355504"/>
                <a:gd name="connsiteX91" fmla="*/ 197960 w 212804"/>
                <a:gd name="connsiteY91" fmla="*/ 254095 h 355504"/>
                <a:gd name="connsiteX92" fmla="*/ 198545 w 212804"/>
                <a:gd name="connsiteY92" fmla="*/ 251468 h 355504"/>
                <a:gd name="connsiteX93" fmla="*/ 189089 w 212804"/>
                <a:gd name="connsiteY93" fmla="*/ 251023 h 355504"/>
                <a:gd name="connsiteX94" fmla="*/ 191777 w 212804"/>
                <a:gd name="connsiteY94" fmla="*/ 253358 h 355504"/>
                <a:gd name="connsiteX95" fmla="*/ 196956 w 212804"/>
                <a:gd name="connsiteY95" fmla="*/ 256512 h 355504"/>
                <a:gd name="connsiteX96" fmla="*/ 198681 w 212804"/>
                <a:gd name="connsiteY96" fmla="*/ 258441 h 355504"/>
                <a:gd name="connsiteX97" fmla="*/ 199815 w 212804"/>
                <a:gd name="connsiteY97" fmla="*/ 260799 h 355504"/>
                <a:gd name="connsiteX98" fmla="*/ 201620 w 212804"/>
                <a:gd name="connsiteY98" fmla="*/ 262142 h 355504"/>
                <a:gd name="connsiteX99" fmla="*/ 203959 w 212804"/>
                <a:gd name="connsiteY99" fmla="*/ 261786 h 355504"/>
                <a:gd name="connsiteX100" fmla="*/ 203928 w 212804"/>
                <a:gd name="connsiteY100" fmla="*/ 265170 h 355504"/>
                <a:gd name="connsiteX101" fmla="*/ 204306 w 212804"/>
                <a:gd name="connsiteY101" fmla="*/ 266159 h 355504"/>
                <a:gd name="connsiteX102" fmla="*/ 206418 w 212804"/>
                <a:gd name="connsiteY102" fmla="*/ 269023 h 355504"/>
                <a:gd name="connsiteX103" fmla="*/ 206748 w 212804"/>
                <a:gd name="connsiteY103" fmla="*/ 271415 h 355504"/>
                <a:gd name="connsiteX104" fmla="*/ 205498 w 212804"/>
                <a:gd name="connsiteY104" fmla="*/ 273660 h 355504"/>
                <a:gd name="connsiteX105" fmla="*/ 204552 w 212804"/>
                <a:gd name="connsiteY105" fmla="*/ 274722 h 355504"/>
                <a:gd name="connsiteX106" fmla="*/ 202814 w 212804"/>
                <a:gd name="connsiteY106" fmla="*/ 276259 h 355504"/>
                <a:gd name="connsiteX107" fmla="*/ 202769 w 212804"/>
                <a:gd name="connsiteY107" fmla="*/ 276963 h 355504"/>
                <a:gd name="connsiteX108" fmla="*/ 203509 w 212804"/>
                <a:gd name="connsiteY108" fmla="*/ 277756 h 355504"/>
                <a:gd name="connsiteX109" fmla="*/ 205926 w 212804"/>
                <a:gd name="connsiteY109" fmla="*/ 278218 h 355504"/>
                <a:gd name="connsiteX110" fmla="*/ 207761 w 212804"/>
                <a:gd name="connsiteY110" fmla="*/ 279452 h 355504"/>
                <a:gd name="connsiteX111" fmla="*/ 208081 w 212804"/>
                <a:gd name="connsiteY111" fmla="*/ 282951 h 355504"/>
                <a:gd name="connsiteX112" fmla="*/ 209826 w 212804"/>
                <a:gd name="connsiteY112" fmla="*/ 285710 h 355504"/>
                <a:gd name="connsiteX113" fmla="*/ 209780 w 212804"/>
                <a:gd name="connsiteY113" fmla="*/ 286913 h 355504"/>
                <a:gd name="connsiteX114" fmla="*/ 209087 w 212804"/>
                <a:gd name="connsiteY114" fmla="*/ 291838 h 355504"/>
                <a:gd name="connsiteX115" fmla="*/ 209309 w 212804"/>
                <a:gd name="connsiteY115" fmla="*/ 293943 h 355504"/>
                <a:gd name="connsiteX116" fmla="*/ 210616 w 212804"/>
                <a:gd name="connsiteY116" fmla="*/ 295630 h 355504"/>
                <a:gd name="connsiteX117" fmla="*/ 211722 w 212804"/>
                <a:gd name="connsiteY117" fmla="*/ 296345 h 355504"/>
                <a:gd name="connsiteX118" fmla="*/ 212289 w 212804"/>
                <a:gd name="connsiteY118" fmla="*/ 297403 h 355504"/>
                <a:gd name="connsiteX119" fmla="*/ 212804 w 212804"/>
                <a:gd name="connsiteY119" fmla="*/ 300304 h 355504"/>
                <a:gd name="connsiteX120" fmla="*/ 212712 w 212804"/>
                <a:gd name="connsiteY120" fmla="*/ 305232 h 355504"/>
                <a:gd name="connsiteX121" fmla="*/ 212542 w 212804"/>
                <a:gd name="connsiteY121" fmla="*/ 306952 h 355504"/>
                <a:gd name="connsiteX122" fmla="*/ 211771 w 212804"/>
                <a:gd name="connsiteY122" fmla="*/ 308550 h 355504"/>
                <a:gd name="connsiteX123" fmla="*/ 209392 w 212804"/>
                <a:gd name="connsiteY123" fmla="*/ 312183 h 355504"/>
                <a:gd name="connsiteX124" fmla="*/ 206185 w 212804"/>
                <a:gd name="connsiteY124" fmla="*/ 315072 h 355504"/>
                <a:gd name="connsiteX125" fmla="*/ 204479 w 212804"/>
                <a:gd name="connsiteY125" fmla="*/ 314879 h 355504"/>
                <a:gd name="connsiteX126" fmla="*/ 203931 w 212804"/>
                <a:gd name="connsiteY126" fmla="*/ 315733 h 355504"/>
                <a:gd name="connsiteX127" fmla="*/ 204995 w 212804"/>
                <a:gd name="connsiteY127" fmla="*/ 318369 h 355504"/>
                <a:gd name="connsiteX128" fmla="*/ 204574 w 212804"/>
                <a:gd name="connsiteY128" fmla="*/ 323932 h 355504"/>
                <a:gd name="connsiteX129" fmla="*/ 203870 w 212804"/>
                <a:gd name="connsiteY129" fmla="*/ 327788 h 355504"/>
                <a:gd name="connsiteX130" fmla="*/ 202833 w 212804"/>
                <a:gd name="connsiteY130" fmla="*/ 325837 h 355504"/>
                <a:gd name="connsiteX131" fmla="*/ 202110 w 212804"/>
                <a:gd name="connsiteY131" fmla="*/ 323793 h 355504"/>
                <a:gd name="connsiteX132" fmla="*/ 201453 w 212804"/>
                <a:gd name="connsiteY132" fmla="*/ 318381 h 355504"/>
                <a:gd name="connsiteX133" fmla="*/ 200636 w 212804"/>
                <a:gd name="connsiteY133" fmla="*/ 315942 h 355504"/>
                <a:gd name="connsiteX134" fmla="*/ 199350 w 212804"/>
                <a:gd name="connsiteY134" fmla="*/ 313712 h 355504"/>
                <a:gd name="connsiteX135" fmla="*/ 198834 w 212804"/>
                <a:gd name="connsiteY135" fmla="*/ 311720 h 355504"/>
                <a:gd name="connsiteX136" fmla="*/ 197498 w 212804"/>
                <a:gd name="connsiteY136" fmla="*/ 309858 h 355504"/>
                <a:gd name="connsiteX137" fmla="*/ 195800 w 212804"/>
                <a:gd name="connsiteY137" fmla="*/ 305051 h 355504"/>
                <a:gd name="connsiteX138" fmla="*/ 194678 w 212804"/>
                <a:gd name="connsiteY138" fmla="*/ 305298 h 355504"/>
                <a:gd name="connsiteX139" fmla="*/ 192812 w 212804"/>
                <a:gd name="connsiteY139" fmla="*/ 306612 h 355504"/>
                <a:gd name="connsiteX140" fmla="*/ 192390 w 212804"/>
                <a:gd name="connsiteY140" fmla="*/ 307517 h 355504"/>
                <a:gd name="connsiteX141" fmla="*/ 192170 w 212804"/>
                <a:gd name="connsiteY141" fmla="*/ 308889 h 355504"/>
                <a:gd name="connsiteX142" fmla="*/ 191738 w 212804"/>
                <a:gd name="connsiteY142" fmla="*/ 310123 h 355504"/>
                <a:gd name="connsiteX143" fmla="*/ 189560 w 212804"/>
                <a:gd name="connsiteY143" fmla="*/ 312089 h 355504"/>
                <a:gd name="connsiteX144" fmla="*/ 187847 w 212804"/>
                <a:gd name="connsiteY144" fmla="*/ 314432 h 355504"/>
                <a:gd name="connsiteX145" fmla="*/ 186437 w 212804"/>
                <a:gd name="connsiteY145" fmla="*/ 316995 h 355504"/>
                <a:gd name="connsiteX146" fmla="*/ 185988 w 212804"/>
                <a:gd name="connsiteY146" fmla="*/ 319345 h 355504"/>
                <a:gd name="connsiteX147" fmla="*/ 187143 w 212804"/>
                <a:gd name="connsiteY147" fmla="*/ 321184 h 355504"/>
                <a:gd name="connsiteX148" fmla="*/ 188331 w 212804"/>
                <a:gd name="connsiteY148" fmla="*/ 321926 h 355504"/>
                <a:gd name="connsiteX149" fmla="*/ 190055 w 212804"/>
                <a:gd name="connsiteY149" fmla="*/ 323572 h 355504"/>
                <a:gd name="connsiteX150" fmla="*/ 190583 w 212804"/>
                <a:gd name="connsiteY150" fmla="*/ 324323 h 355504"/>
                <a:gd name="connsiteX151" fmla="*/ 192401 w 212804"/>
                <a:gd name="connsiteY151" fmla="*/ 329668 h 355504"/>
                <a:gd name="connsiteX152" fmla="*/ 192341 w 212804"/>
                <a:gd name="connsiteY152" fmla="*/ 335135 h 355504"/>
                <a:gd name="connsiteX153" fmla="*/ 191011 w 212804"/>
                <a:gd name="connsiteY153" fmla="*/ 337542 h 355504"/>
                <a:gd name="connsiteX154" fmla="*/ 187651 w 212804"/>
                <a:gd name="connsiteY154" fmla="*/ 342110 h 355504"/>
                <a:gd name="connsiteX155" fmla="*/ 185233 w 212804"/>
                <a:gd name="connsiteY155" fmla="*/ 343558 h 355504"/>
                <a:gd name="connsiteX156" fmla="*/ 183937 w 212804"/>
                <a:gd name="connsiteY156" fmla="*/ 342819 h 355504"/>
                <a:gd name="connsiteX157" fmla="*/ 182900 w 212804"/>
                <a:gd name="connsiteY157" fmla="*/ 340054 h 355504"/>
                <a:gd name="connsiteX158" fmla="*/ 182727 w 212804"/>
                <a:gd name="connsiteY158" fmla="*/ 338914 h 355504"/>
                <a:gd name="connsiteX159" fmla="*/ 183429 w 212804"/>
                <a:gd name="connsiteY159" fmla="*/ 336312 h 355504"/>
                <a:gd name="connsiteX160" fmla="*/ 183507 w 212804"/>
                <a:gd name="connsiteY160" fmla="*/ 333926 h 355504"/>
                <a:gd name="connsiteX161" fmla="*/ 182691 w 212804"/>
                <a:gd name="connsiteY161" fmla="*/ 333118 h 355504"/>
                <a:gd name="connsiteX162" fmla="*/ 181795 w 212804"/>
                <a:gd name="connsiteY162" fmla="*/ 333274 h 355504"/>
                <a:gd name="connsiteX163" fmla="*/ 181419 w 212804"/>
                <a:gd name="connsiteY163" fmla="*/ 333619 h 355504"/>
                <a:gd name="connsiteX164" fmla="*/ 179255 w 212804"/>
                <a:gd name="connsiteY164" fmla="*/ 336741 h 355504"/>
                <a:gd name="connsiteX165" fmla="*/ 178352 w 212804"/>
                <a:gd name="connsiteY165" fmla="*/ 337531 h 355504"/>
                <a:gd name="connsiteX166" fmla="*/ 177022 w 212804"/>
                <a:gd name="connsiteY166" fmla="*/ 337640 h 355504"/>
                <a:gd name="connsiteX167" fmla="*/ 175964 w 212804"/>
                <a:gd name="connsiteY167" fmla="*/ 337427 h 355504"/>
                <a:gd name="connsiteX168" fmla="*/ 169530 w 212804"/>
                <a:gd name="connsiteY168" fmla="*/ 334701 h 355504"/>
                <a:gd name="connsiteX169" fmla="*/ 164277 w 212804"/>
                <a:gd name="connsiteY169" fmla="*/ 332004 h 355504"/>
                <a:gd name="connsiteX170" fmla="*/ 160164 w 212804"/>
                <a:gd name="connsiteY170" fmla="*/ 329485 h 355504"/>
                <a:gd name="connsiteX171" fmla="*/ 157186 w 212804"/>
                <a:gd name="connsiteY171" fmla="*/ 325684 h 355504"/>
                <a:gd name="connsiteX172" fmla="*/ 156558 w 212804"/>
                <a:gd name="connsiteY172" fmla="*/ 322840 h 355504"/>
                <a:gd name="connsiteX173" fmla="*/ 156523 w 212804"/>
                <a:gd name="connsiteY173" fmla="*/ 319864 h 355504"/>
                <a:gd name="connsiteX174" fmla="*/ 155191 w 212804"/>
                <a:gd name="connsiteY174" fmla="*/ 315501 h 355504"/>
                <a:gd name="connsiteX175" fmla="*/ 155035 w 212804"/>
                <a:gd name="connsiteY175" fmla="*/ 314019 h 355504"/>
                <a:gd name="connsiteX176" fmla="*/ 155133 w 212804"/>
                <a:gd name="connsiteY176" fmla="*/ 312597 h 355504"/>
                <a:gd name="connsiteX177" fmla="*/ 156456 w 212804"/>
                <a:gd name="connsiteY177" fmla="*/ 309922 h 355504"/>
                <a:gd name="connsiteX178" fmla="*/ 158059 w 212804"/>
                <a:gd name="connsiteY178" fmla="*/ 308567 h 355504"/>
                <a:gd name="connsiteX179" fmla="*/ 158957 w 212804"/>
                <a:gd name="connsiteY179" fmla="*/ 307595 h 355504"/>
                <a:gd name="connsiteX180" fmla="*/ 159676 w 212804"/>
                <a:gd name="connsiteY180" fmla="*/ 306517 h 355504"/>
                <a:gd name="connsiteX181" fmla="*/ 160166 w 212804"/>
                <a:gd name="connsiteY181" fmla="*/ 305077 h 355504"/>
                <a:gd name="connsiteX182" fmla="*/ 160028 w 212804"/>
                <a:gd name="connsiteY182" fmla="*/ 303647 h 355504"/>
                <a:gd name="connsiteX183" fmla="*/ 159492 w 212804"/>
                <a:gd name="connsiteY183" fmla="*/ 302751 h 355504"/>
                <a:gd name="connsiteX184" fmla="*/ 156961 w 212804"/>
                <a:gd name="connsiteY184" fmla="*/ 299613 h 355504"/>
                <a:gd name="connsiteX185" fmla="*/ 154762 w 212804"/>
                <a:gd name="connsiteY185" fmla="*/ 297683 h 355504"/>
                <a:gd name="connsiteX186" fmla="*/ 150257 w 212804"/>
                <a:gd name="connsiteY186" fmla="*/ 295949 h 355504"/>
                <a:gd name="connsiteX187" fmla="*/ 149209 w 212804"/>
                <a:gd name="connsiteY187" fmla="*/ 294998 h 355504"/>
                <a:gd name="connsiteX188" fmla="*/ 148069 w 212804"/>
                <a:gd name="connsiteY188" fmla="*/ 294278 h 355504"/>
                <a:gd name="connsiteX189" fmla="*/ 146810 w 212804"/>
                <a:gd name="connsiteY189" fmla="*/ 293969 h 355504"/>
                <a:gd name="connsiteX190" fmla="*/ 145579 w 212804"/>
                <a:gd name="connsiteY190" fmla="*/ 293958 h 355504"/>
                <a:gd name="connsiteX191" fmla="*/ 144250 w 212804"/>
                <a:gd name="connsiteY191" fmla="*/ 294497 h 355504"/>
                <a:gd name="connsiteX192" fmla="*/ 143904 w 212804"/>
                <a:gd name="connsiteY192" fmla="*/ 295644 h 355504"/>
                <a:gd name="connsiteX193" fmla="*/ 143996 w 212804"/>
                <a:gd name="connsiteY193" fmla="*/ 296669 h 355504"/>
                <a:gd name="connsiteX194" fmla="*/ 143880 w 212804"/>
                <a:gd name="connsiteY194" fmla="*/ 297667 h 355504"/>
                <a:gd name="connsiteX195" fmla="*/ 141991 w 212804"/>
                <a:gd name="connsiteY195" fmla="*/ 303401 h 355504"/>
                <a:gd name="connsiteX196" fmla="*/ 139583 w 212804"/>
                <a:gd name="connsiteY196" fmla="*/ 302142 h 355504"/>
                <a:gd name="connsiteX197" fmla="*/ 137287 w 212804"/>
                <a:gd name="connsiteY197" fmla="*/ 300690 h 355504"/>
                <a:gd name="connsiteX198" fmla="*/ 136678 w 212804"/>
                <a:gd name="connsiteY198" fmla="*/ 299673 h 355504"/>
                <a:gd name="connsiteX199" fmla="*/ 136415 w 212804"/>
                <a:gd name="connsiteY199" fmla="*/ 298455 h 355504"/>
                <a:gd name="connsiteX200" fmla="*/ 136026 w 212804"/>
                <a:gd name="connsiteY200" fmla="*/ 297633 h 355504"/>
                <a:gd name="connsiteX201" fmla="*/ 135484 w 212804"/>
                <a:gd name="connsiteY201" fmla="*/ 296887 h 355504"/>
                <a:gd name="connsiteX202" fmla="*/ 134429 w 212804"/>
                <a:gd name="connsiteY202" fmla="*/ 298802 h 355504"/>
                <a:gd name="connsiteX203" fmla="*/ 133116 w 212804"/>
                <a:gd name="connsiteY203" fmla="*/ 300315 h 355504"/>
                <a:gd name="connsiteX204" fmla="*/ 131509 w 212804"/>
                <a:gd name="connsiteY204" fmla="*/ 300666 h 355504"/>
                <a:gd name="connsiteX205" fmla="*/ 129875 w 212804"/>
                <a:gd name="connsiteY205" fmla="*/ 300693 h 355504"/>
                <a:gd name="connsiteX206" fmla="*/ 129339 w 212804"/>
                <a:gd name="connsiteY206" fmla="*/ 300044 h 355504"/>
                <a:gd name="connsiteX207" fmla="*/ 128742 w 212804"/>
                <a:gd name="connsiteY207" fmla="*/ 296398 h 355504"/>
                <a:gd name="connsiteX208" fmla="*/ 127021 w 212804"/>
                <a:gd name="connsiteY208" fmla="*/ 295248 h 355504"/>
                <a:gd name="connsiteX209" fmla="*/ 124860 w 212804"/>
                <a:gd name="connsiteY209" fmla="*/ 295493 h 355504"/>
                <a:gd name="connsiteX210" fmla="*/ 122245 w 212804"/>
                <a:gd name="connsiteY210" fmla="*/ 297503 h 355504"/>
                <a:gd name="connsiteX211" fmla="*/ 121725 w 212804"/>
                <a:gd name="connsiteY211" fmla="*/ 298254 h 355504"/>
                <a:gd name="connsiteX212" fmla="*/ 121154 w 212804"/>
                <a:gd name="connsiteY212" fmla="*/ 299985 h 355504"/>
                <a:gd name="connsiteX213" fmla="*/ 118304 w 212804"/>
                <a:gd name="connsiteY213" fmla="*/ 304896 h 355504"/>
                <a:gd name="connsiteX214" fmla="*/ 116795 w 212804"/>
                <a:gd name="connsiteY214" fmla="*/ 308679 h 355504"/>
                <a:gd name="connsiteX215" fmla="*/ 115130 w 212804"/>
                <a:gd name="connsiteY215" fmla="*/ 312364 h 355504"/>
                <a:gd name="connsiteX216" fmla="*/ 114385 w 212804"/>
                <a:gd name="connsiteY216" fmla="*/ 313576 h 355504"/>
                <a:gd name="connsiteX217" fmla="*/ 113404 w 212804"/>
                <a:gd name="connsiteY217" fmla="*/ 314374 h 355504"/>
                <a:gd name="connsiteX218" fmla="*/ 111846 w 212804"/>
                <a:gd name="connsiteY218" fmla="*/ 314043 h 355504"/>
                <a:gd name="connsiteX219" fmla="*/ 110444 w 212804"/>
                <a:gd name="connsiteY219" fmla="*/ 313164 h 355504"/>
                <a:gd name="connsiteX220" fmla="*/ 109116 w 212804"/>
                <a:gd name="connsiteY220" fmla="*/ 310787 h 355504"/>
                <a:gd name="connsiteX221" fmla="*/ 109567 w 212804"/>
                <a:gd name="connsiteY221" fmla="*/ 308024 h 355504"/>
                <a:gd name="connsiteX222" fmla="*/ 111038 w 212804"/>
                <a:gd name="connsiteY222" fmla="*/ 306263 h 355504"/>
                <a:gd name="connsiteX223" fmla="*/ 112277 w 212804"/>
                <a:gd name="connsiteY223" fmla="*/ 304377 h 355504"/>
                <a:gd name="connsiteX224" fmla="*/ 113774 w 212804"/>
                <a:gd name="connsiteY224" fmla="*/ 297789 h 355504"/>
                <a:gd name="connsiteX225" fmla="*/ 113886 w 212804"/>
                <a:gd name="connsiteY225" fmla="*/ 295443 h 355504"/>
                <a:gd name="connsiteX226" fmla="*/ 114150 w 212804"/>
                <a:gd name="connsiteY226" fmla="*/ 294439 h 355504"/>
                <a:gd name="connsiteX227" fmla="*/ 116616 w 212804"/>
                <a:gd name="connsiteY227" fmla="*/ 291444 h 355504"/>
                <a:gd name="connsiteX228" fmla="*/ 118689 w 212804"/>
                <a:gd name="connsiteY228" fmla="*/ 289591 h 355504"/>
                <a:gd name="connsiteX229" fmla="*/ 119785 w 212804"/>
                <a:gd name="connsiteY229" fmla="*/ 289202 h 355504"/>
                <a:gd name="connsiteX230" fmla="*/ 124269 w 212804"/>
                <a:gd name="connsiteY230" fmla="*/ 288147 h 355504"/>
                <a:gd name="connsiteX231" fmla="*/ 126115 w 212804"/>
                <a:gd name="connsiteY231" fmla="*/ 287261 h 355504"/>
                <a:gd name="connsiteX232" fmla="*/ 129021 w 212804"/>
                <a:gd name="connsiteY232" fmla="*/ 287248 h 355504"/>
                <a:gd name="connsiteX233" fmla="*/ 131382 w 212804"/>
                <a:gd name="connsiteY233" fmla="*/ 286742 h 355504"/>
                <a:gd name="connsiteX234" fmla="*/ 133264 w 212804"/>
                <a:gd name="connsiteY234" fmla="*/ 285316 h 355504"/>
                <a:gd name="connsiteX235" fmla="*/ 133407 w 212804"/>
                <a:gd name="connsiteY235" fmla="*/ 283838 h 355504"/>
                <a:gd name="connsiteX236" fmla="*/ 133320 w 212804"/>
                <a:gd name="connsiteY236" fmla="*/ 282298 h 355504"/>
                <a:gd name="connsiteX237" fmla="*/ 133736 w 212804"/>
                <a:gd name="connsiteY237" fmla="*/ 281357 h 355504"/>
                <a:gd name="connsiteX238" fmla="*/ 134465 w 212804"/>
                <a:gd name="connsiteY238" fmla="*/ 280564 h 355504"/>
                <a:gd name="connsiteX239" fmla="*/ 135467 w 212804"/>
                <a:gd name="connsiteY239" fmla="*/ 279521 h 355504"/>
                <a:gd name="connsiteX240" fmla="*/ 136601 w 212804"/>
                <a:gd name="connsiteY240" fmla="*/ 278737 h 355504"/>
                <a:gd name="connsiteX241" fmla="*/ 139822 w 212804"/>
                <a:gd name="connsiteY241" fmla="*/ 278170 h 355504"/>
                <a:gd name="connsiteX242" fmla="*/ 140891 w 212804"/>
                <a:gd name="connsiteY242" fmla="*/ 277526 h 355504"/>
                <a:gd name="connsiteX243" fmla="*/ 141753 w 212804"/>
                <a:gd name="connsiteY243" fmla="*/ 276519 h 355504"/>
                <a:gd name="connsiteX244" fmla="*/ 142956 w 212804"/>
                <a:gd name="connsiteY244" fmla="*/ 274565 h 355504"/>
                <a:gd name="connsiteX245" fmla="*/ 144378 w 212804"/>
                <a:gd name="connsiteY245" fmla="*/ 275050 h 355504"/>
                <a:gd name="connsiteX246" fmla="*/ 145810 w 212804"/>
                <a:gd name="connsiteY246" fmla="*/ 275809 h 355504"/>
                <a:gd name="connsiteX247" fmla="*/ 148384 w 212804"/>
                <a:gd name="connsiteY247" fmla="*/ 276407 h 355504"/>
                <a:gd name="connsiteX248" fmla="*/ 150669 w 212804"/>
                <a:gd name="connsiteY248" fmla="*/ 278031 h 355504"/>
                <a:gd name="connsiteX249" fmla="*/ 152125 w 212804"/>
                <a:gd name="connsiteY249" fmla="*/ 280592 h 355504"/>
                <a:gd name="connsiteX250" fmla="*/ 152375 w 212804"/>
                <a:gd name="connsiteY250" fmla="*/ 281853 h 355504"/>
                <a:gd name="connsiteX251" fmla="*/ 152749 w 212804"/>
                <a:gd name="connsiteY251" fmla="*/ 286022 h 355504"/>
                <a:gd name="connsiteX252" fmla="*/ 152218 w 212804"/>
                <a:gd name="connsiteY252" fmla="*/ 286994 h 355504"/>
                <a:gd name="connsiteX253" fmla="*/ 150000 w 212804"/>
                <a:gd name="connsiteY253" fmla="*/ 288927 h 355504"/>
                <a:gd name="connsiteX254" fmla="*/ 151024 w 212804"/>
                <a:gd name="connsiteY254" fmla="*/ 289130 h 355504"/>
                <a:gd name="connsiteX255" fmla="*/ 153936 w 212804"/>
                <a:gd name="connsiteY255" fmla="*/ 287366 h 355504"/>
                <a:gd name="connsiteX256" fmla="*/ 155389 w 212804"/>
                <a:gd name="connsiteY256" fmla="*/ 286685 h 355504"/>
                <a:gd name="connsiteX257" fmla="*/ 158983 w 212804"/>
                <a:gd name="connsiteY257" fmla="*/ 285740 h 355504"/>
                <a:gd name="connsiteX258" fmla="*/ 159829 w 212804"/>
                <a:gd name="connsiteY258" fmla="*/ 285115 h 355504"/>
                <a:gd name="connsiteX259" fmla="*/ 160451 w 212804"/>
                <a:gd name="connsiteY259" fmla="*/ 284184 h 355504"/>
                <a:gd name="connsiteX260" fmla="*/ 161721 w 212804"/>
                <a:gd name="connsiteY260" fmla="*/ 281632 h 355504"/>
                <a:gd name="connsiteX261" fmla="*/ 162649 w 212804"/>
                <a:gd name="connsiteY261" fmla="*/ 278905 h 355504"/>
                <a:gd name="connsiteX262" fmla="*/ 163373 w 212804"/>
                <a:gd name="connsiteY262" fmla="*/ 277770 h 355504"/>
                <a:gd name="connsiteX263" fmla="*/ 164411 w 212804"/>
                <a:gd name="connsiteY263" fmla="*/ 276870 h 355504"/>
                <a:gd name="connsiteX264" fmla="*/ 165437 w 212804"/>
                <a:gd name="connsiteY264" fmla="*/ 276725 h 355504"/>
                <a:gd name="connsiteX265" fmla="*/ 169207 w 212804"/>
                <a:gd name="connsiteY265" fmla="*/ 278589 h 355504"/>
                <a:gd name="connsiteX266" fmla="*/ 171626 w 212804"/>
                <a:gd name="connsiteY266" fmla="*/ 277691 h 355504"/>
                <a:gd name="connsiteX267" fmla="*/ 172302 w 212804"/>
                <a:gd name="connsiteY267" fmla="*/ 274866 h 355504"/>
                <a:gd name="connsiteX268" fmla="*/ 172857 w 212804"/>
                <a:gd name="connsiteY268" fmla="*/ 270760 h 355504"/>
                <a:gd name="connsiteX269" fmla="*/ 173284 w 212804"/>
                <a:gd name="connsiteY269" fmla="*/ 269648 h 355504"/>
                <a:gd name="connsiteX270" fmla="*/ 174673 w 212804"/>
                <a:gd name="connsiteY270" fmla="*/ 268573 h 355504"/>
                <a:gd name="connsiteX271" fmla="*/ 176329 w 212804"/>
                <a:gd name="connsiteY271" fmla="*/ 268920 h 355504"/>
                <a:gd name="connsiteX272" fmla="*/ 178597 w 212804"/>
                <a:gd name="connsiteY272" fmla="*/ 270394 h 355504"/>
                <a:gd name="connsiteX273" fmla="*/ 180689 w 212804"/>
                <a:gd name="connsiteY273" fmla="*/ 270879 h 355504"/>
                <a:gd name="connsiteX274" fmla="*/ 181466 w 212804"/>
                <a:gd name="connsiteY274" fmla="*/ 269691 h 355504"/>
                <a:gd name="connsiteX275" fmla="*/ 182207 w 212804"/>
                <a:gd name="connsiteY275" fmla="*/ 267349 h 355504"/>
                <a:gd name="connsiteX276" fmla="*/ 183051 w 212804"/>
                <a:gd name="connsiteY276" fmla="*/ 267362 h 355504"/>
                <a:gd name="connsiteX277" fmla="*/ 185876 w 212804"/>
                <a:gd name="connsiteY277" fmla="*/ 268137 h 355504"/>
                <a:gd name="connsiteX278" fmla="*/ 188599 w 212804"/>
                <a:gd name="connsiteY278" fmla="*/ 267626 h 355504"/>
                <a:gd name="connsiteX279" fmla="*/ 189366 w 212804"/>
                <a:gd name="connsiteY279" fmla="*/ 264813 h 355504"/>
                <a:gd name="connsiteX280" fmla="*/ 188851 w 212804"/>
                <a:gd name="connsiteY280" fmla="*/ 261804 h 355504"/>
                <a:gd name="connsiteX281" fmla="*/ 186725 w 212804"/>
                <a:gd name="connsiteY281" fmla="*/ 253030 h 355504"/>
                <a:gd name="connsiteX282" fmla="*/ 187992 w 212804"/>
                <a:gd name="connsiteY282" fmla="*/ 251076 h 355504"/>
                <a:gd name="connsiteX283" fmla="*/ 201315 w 212804"/>
                <a:gd name="connsiteY283" fmla="*/ 244324 h 355504"/>
                <a:gd name="connsiteX284" fmla="*/ 202546 w 212804"/>
                <a:gd name="connsiteY284" fmla="*/ 246906 h 355504"/>
                <a:gd name="connsiteX285" fmla="*/ 202533 w 212804"/>
                <a:gd name="connsiteY285" fmla="*/ 248077 h 355504"/>
                <a:gd name="connsiteX286" fmla="*/ 202354 w 212804"/>
                <a:gd name="connsiteY286" fmla="*/ 248656 h 355504"/>
                <a:gd name="connsiteX287" fmla="*/ 203499 w 212804"/>
                <a:gd name="connsiteY287" fmla="*/ 250112 h 355504"/>
                <a:gd name="connsiteX288" fmla="*/ 202711 w 212804"/>
                <a:gd name="connsiteY288" fmla="*/ 250831 h 355504"/>
                <a:gd name="connsiteX289" fmla="*/ 200996 w 212804"/>
                <a:gd name="connsiteY289" fmla="*/ 250866 h 355504"/>
                <a:gd name="connsiteX290" fmla="*/ 200717 w 212804"/>
                <a:gd name="connsiteY290" fmla="*/ 250986 h 355504"/>
                <a:gd name="connsiteX291" fmla="*/ 199488 w 212804"/>
                <a:gd name="connsiteY291" fmla="*/ 249251 h 355504"/>
                <a:gd name="connsiteX292" fmla="*/ 199653 w 212804"/>
                <a:gd name="connsiteY292" fmla="*/ 247275 h 355504"/>
                <a:gd name="connsiteX293" fmla="*/ 180512 w 212804"/>
                <a:gd name="connsiteY293" fmla="*/ 242184 h 355504"/>
                <a:gd name="connsiteX294" fmla="*/ 181460 w 212804"/>
                <a:gd name="connsiteY294" fmla="*/ 242272 h 355504"/>
                <a:gd name="connsiteX295" fmla="*/ 182678 w 212804"/>
                <a:gd name="connsiteY295" fmla="*/ 243063 h 355504"/>
                <a:gd name="connsiteX296" fmla="*/ 183779 w 212804"/>
                <a:gd name="connsiteY296" fmla="*/ 246044 h 355504"/>
                <a:gd name="connsiteX297" fmla="*/ 183933 w 212804"/>
                <a:gd name="connsiteY297" fmla="*/ 247148 h 355504"/>
                <a:gd name="connsiteX298" fmla="*/ 181086 w 212804"/>
                <a:gd name="connsiteY298" fmla="*/ 244241 h 355504"/>
                <a:gd name="connsiteX299" fmla="*/ 162883 w 212804"/>
                <a:gd name="connsiteY299" fmla="*/ 242075 h 355504"/>
                <a:gd name="connsiteX300" fmla="*/ 163232 w 212804"/>
                <a:gd name="connsiteY300" fmla="*/ 242489 h 355504"/>
                <a:gd name="connsiteX301" fmla="*/ 163712 w 212804"/>
                <a:gd name="connsiteY301" fmla="*/ 242752 h 355504"/>
                <a:gd name="connsiteX302" fmla="*/ 164433 w 212804"/>
                <a:gd name="connsiteY302" fmla="*/ 242823 h 355504"/>
                <a:gd name="connsiteX303" fmla="*/ 166213 w 212804"/>
                <a:gd name="connsiteY303" fmla="*/ 244184 h 355504"/>
                <a:gd name="connsiteX304" fmla="*/ 168220 w 212804"/>
                <a:gd name="connsiteY304" fmla="*/ 245050 h 355504"/>
                <a:gd name="connsiteX305" fmla="*/ 167732 w 212804"/>
                <a:gd name="connsiteY305" fmla="*/ 248343 h 355504"/>
                <a:gd name="connsiteX306" fmla="*/ 168333 w 212804"/>
                <a:gd name="connsiteY306" fmla="*/ 249451 h 355504"/>
                <a:gd name="connsiteX307" fmla="*/ 168590 w 212804"/>
                <a:gd name="connsiteY307" fmla="*/ 250397 h 355504"/>
                <a:gd name="connsiteX308" fmla="*/ 168379 w 212804"/>
                <a:gd name="connsiteY308" fmla="*/ 251216 h 355504"/>
                <a:gd name="connsiteX309" fmla="*/ 166640 w 212804"/>
                <a:gd name="connsiteY309" fmla="*/ 251149 h 355504"/>
                <a:gd name="connsiteX310" fmla="*/ 166018 w 212804"/>
                <a:gd name="connsiteY310" fmla="*/ 251274 h 355504"/>
                <a:gd name="connsiteX311" fmla="*/ 164380 w 212804"/>
                <a:gd name="connsiteY311" fmla="*/ 253367 h 355504"/>
                <a:gd name="connsiteX312" fmla="*/ 163416 w 212804"/>
                <a:gd name="connsiteY312" fmla="*/ 253900 h 355504"/>
                <a:gd name="connsiteX313" fmla="*/ 158167 w 212804"/>
                <a:gd name="connsiteY313" fmla="*/ 254590 h 355504"/>
                <a:gd name="connsiteX314" fmla="*/ 154035 w 212804"/>
                <a:gd name="connsiteY314" fmla="*/ 254039 h 355504"/>
                <a:gd name="connsiteX315" fmla="*/ 152621 w 212804"/>
                <a:gd name="connsiteY315" fmla="*/ 252884 h 355504"/>
                <a:gd name="connsiteX316" fmla="*/ 151699 w 212804"/>
                <a:gd name="connsiteY316" fmla="*/ 250979 h 355504"/>
                <a:gd name="connsiteX317" fmla="*/ 151416 w 212804"/>
                <a:gd name="connsiteY317" fmla="*/ 249723 h 355504"/>
                <a:gd name="connsiteX318" fmla="*/ 152449 w 212804"/>
                <a:gd name="connsiteY318" fmla="*/ 248352 h 355504"/>
                <a:gd name="connsiteX319" fmla="*/ 153444 w 212804"/>
                <a:gd name="connsiteY319" fmla="*/ 247441 h 355504"/>
                <a:gd name="connsiteX320" fmla="*/ 156780 w 212804"/>
                <a:gd name="connsiteY320" fmla="*/ 245642 h 355504"/>
                <a:gd name="connsiteX321" fmla="*/ 157534 w 212804"/>
                <a:gd name="connsiteY321" fmla="*/ 244277 h 355504"/>
                <a:gd name="connsiteX322" fmla="*/ 159281 w 212804"/>
                <a:gd name="connsiteY322" fmla="*/ 242627 h 355504"/>
                <a:gd name="connsiteX323" fmla="*/ 192315 w 212804"/>
                <a:gd name="connsiteY323" fmla="*/ 235814 h 355504"/>
                <a:gd name="connsiteX324" fmla="*/ 192708 w 212804"/>
                <a:gd name="connsiteY324" fmla="*/ 236889 h 355504"/>
                <a:gd name="connsiteX325" fmla="*/ 191870 w 212804"/>
                <a:gd name="connsiteY325" fmla="*/ 240165 h 355504"/>
                <a:gd name="connsiteX326" fmla="*/ 193123 w 212804"/>
                <a:gd name="connsiteY326" fmla="*/ 244043 h 355504"/>
                <a:gd name="connsiteX327" fmla="*/ 192703 w 212804"/>
                <a:gd name="connsiteY327" fmla="*/ 246468 h 355504"/>
                <a:gd name="connsiteX328" fmla="*/ 192883 w 212804"/>
                <a:gd name="connsiteY328" fmla="*/ 247008 h 355504"/>
                <a:gd name="connsiteX329" fmla="*/ 192834 w 212804"/>
                <a:gd name="connsiteY329" fmla="*/ 247556 h 355504"/>
                <a:gd name="connsiteX330" fmla="*/ 192442 w 212804"/>
                <a:gd name="connsiteY330" fmla="*/ 248181 h 355504"/>
                <a:gd name="connsiteX331" fmla="*/ 191914 w 212804"/>
                <a:gd name="connsiteY331" fmla="*/ 246894 h 355504"/>
                <a:gd name="connsiteX332" fmla="*/ 190628 w 212804"/>
                <a:gd name="connsiteY332" fmla="*/ 245686 h 355504"/>
                <a:gd name="connsiteX333" fmla="*/ 189389 w 212804"/>
                <a:gd name="connsiteY333" fmla="*/ 243635 h 355504"/>
                <a:gd name="connsiteX334" fmla="*/ 188512 w 212804"/>
                <a:gd name="connsiteY334" fmla="*/ 242995 h 355504"/>
                <a:gd name="connsiteX335" fmla="*/ 189113 w 212804"/>
                <a:gd name="connsiteY335" fmla="*/ 241369 h 355504"/>
                <a:gd name="connsiteX336" fmla="*/ 189171 w 212804"/>
                <a:gd name="connsiteY336" fmla="*/ 238728 h 355504"/>
                <a:gd name="connsiteX337" fmla="*/ 190400 w 212804"/>
                <a:gd name="connsiteY337" fmla="*/ 237523 h 355504"/>
                <a:gd name="connsiteX338" fmla="*/ 190968 w 212804"/>
                <a:gd name="connsiteY338" fmla="*/ 237167 h 355504"/>
                <a:gd name="connsiteX339" fmla="*/ 191899 w 212804"/>
                <a:gd name="connsiteY339" fmla="*/ 235888 h 355504"/>
                <a:gd name="connsiteX340" fmla="*/ 63738 w 212804"/>
                <a:gd name="connsiteY340" fmla="*/ 231343 h 355504"/>
                <a:gd name="connsiteX341" fmla="*/ 65909 w 212804"/>
                <a:gd name="connsiteY341" fmla="*/ 232133 h 355504"/>
                <a:gd name="connsiteX342" fmla="*/ 67196 w 212804"/>
                <a:gd name="connsiteY342" fmla="*/ 232908 h 355504"/>
                <a:gd name="connsiteX343" fmla="*/ 66593 w 212804"/>
                <a:gd name="connsiteY343" fmla="*/ 233610 h 355504"/>
                <a:gd name="connsiteX344" fmla="*/ 65158 w 212804"/>
                <a:gd name="connsiteY344" fmla="*/ 234789 h 355504"/>
                <a:gd name="connsiteX345" fmla="*/ 62437 w 212804"/>
                <a:gd name="connsiteY345" fmla="*/ 235475 h 355504"/>
                <a:gd name="connsiteX346" fmla="*/ 61801 w 212804"/>
                <a:gd name="connsiteY346" fmla="*/ 233322 h 355504"/>
                <a:gd name="connsiteX347" fmla="*/ 162859 w 212804"/>
                <a:gd name="connsiteY347" fmla="*/ 229855 h 355504"/>
                <a:gd name="connsiteX348" fmla="*/ 163664 w 212804"/>
                <a:gd name="connsiteY348" fmla="*/ 230198 h 355504"/>
                <a:gd name="connsiteX349" fmla="*/ 163913 w 212804"/>
                <a:gd name="connsiteY349" fmla="*/ 230456 h 355504"/>
                <a:gd name="connsiteX350" fmla="*/ 163891 w 212804"/>
                <a:gd name="connsiteY350" fmla="*/ 231512 h 355504"/>
                <a:gd name="connsiteX351" fmla="*/ 162451 w 212804"/>
                <a:gd name="connsiteY351" fmla="*/ 232106 h 355504"/>
                <a:gd name="connsiteX352" fmla="*/ 161837 w 212804"/>
                <a:gd name="connsiteY352" fmla="*/ 232208 h 355504"/>
                <a:gd name="connsiteX353" fmla="*/ 126741 w 212804"/>
                <a:gd name="connsiteY353" fmla="*/ 229096 h 355504"/>
                <a:gd name="connsiteX354" fmla="*/ 127359 w 212804"/>
                <a:gd name="connsiteY354" fmla="*/ 229861 h 355504"/>
                <a:gd name="connsiteX355" fmla="*/ 127535 w 212804"/>
                <a:gd name="connsiteY355" fmla="*/ 231020 h 355504"/>
                <a:gd name="connsiteX356" fmla="*/ 126298 w 212804"/>
                <a:gd name="connsiteY356" fmla="*/ 234515 h 355504"/>
                <a:gd name="connsiteX357" fmla="*/ 125597 w 212804"/>
                <a:gd name="connsiteY357" fmla="*/ 235086 h 355504"/>
                <a:gd name="connsiteX358" fmla="*/ 124985 w 212804"/>
                <a:gd name="connsiteY358" fmla="*/ 235392 h 355504"/>
                <a:gd name="connsiteX359" fmla="*/ 124439 w 212804"/>
                <a:gd name="connsiteY359" fmla="*/ 235347 h 355504"/>
                <a:gd name="connsiteX360" fmla="*/ 123139 w 212804"/>
                <a:gd name="connsiteY360" fmla="*/ 236153 h 355504"/>
                <a:gd name="connsiteX361" fmla="*/ 122660 w 212804"/>
                <a:gd name="connsiteY361" fmla="*/ 234643 h 355504"/>
                <a:gd name="connsiteX362" fmla="*/ 123120 w 212804"/>
                <a:gd name="connsiteY362" fmla="*/ 232071 h 355504"/>
                <a:gd name="connsiteX363" fmla="*/ 125072 w 212804"/>
                <a:gd name="connsiteY363" fmla="*/ 230116 h 355504"/>
                <a:gd name="connsiteX364" fmla="*/ 125573 w 212804"/>
                <a:gd name="connsiteY364" fmla="*/ 229501 h 355504"/>
                <a:gd name="connsiteX365" fmla="*/ 126106 w 212804"/>
                <a:gd name="connsiteY365" fmla="*/ 229137 h 355504"/>
                <a:gd name="connsiteX366" fmla="*/ 139021 w 212804"/>
                <a:gd name="connsiteY366" fmla="*/ 223430 h 355504"/>
                <a:gd name="connsiteX367" fmla="*/ 144638 w 212804"/>
                <a:gd name="connsiteY367" fmla="*/ 225016 h 355504"/>
                <a:gd name="connsiteX368" fmla="*/ 145785 w 212804"/>
                <a:gd name="connsiteY368" fmla="*/ 227409 h 355504"/>
                <a:gd name="connsiteX369" fmla="*/ 145897 w 212804"/>
                <a:gd name="connsiteY369" fmla="*/ 228199 h 355504"/>
                <a:gd name="connsiteX370" fmla="*/ 145016 w 212804"/>
                <a:gd name="connsiteY370" fmla="*/ 230854 h 355504"/>
                <a:gd name="connsiteX371" fmla="*/ 144245 w 212804"/>
                <a:gd name="connsiteY371" fmla="*/ 232636 h 355504"/>
                <a:gd name="connsiteX372" fmla="*/ 142345 w 212804"/>
                <a:gd name="connsiteY372" fmla="*/ 235392 h 355504"/>
                <a:gd name="connsiteX373" fmla="*/ 140943 w 212804"/>
                <a:gd name="connsiteY373" fmla="*/ 238378 h 355504"/>
                <a:gd name="connsiteX374" fmla="*/ 139894 w 212804"/>
                <a:gd name="connsiteY374" fmla="*/ 242866 h 355504"/>
                <a:gd name="connsiteX375" fmla="*/ 139233 w 212804"/>
                <a:gd name="connsiteY375" fmla="*/ 244328 h 355504"/>
                <a:gd name="connsiteX376" fmla="*/ 137473 w 212804"/>
                <a:gd name="connsiteY376" fmla="*/ 247136 h 355504"/>
                <a:gd name="connsiteX377" fmla="*/ 136929 w 212804"/>
                <a:gd name="connsiteY377" fmla="*/ 248677 h 355504"/>
                <a:gd name="connsiteX378" fmla="*/ 136944 w 212804"/>
                <a:gd name="connsiteY378" fmla="*/ 252016 h 355504"/>
                <a:gd name="connsiteX379" fmla="*/ 136650 w 212804"/>
                <a:gd name="connsiteY379" fmla="*/ 253251 h 355504"/>
                <a:gd name="connsiteX380" fmla="*/ 136659 w 212804"/>
                <a:gd name="connsiteY380" fmla="*/ 254437 h 355504"/>
                <a:gd name="connsiteX381" fmla="*/ 140166 w 212804"/>
                <a:gd name="connsiteY381" fmla="*/ 259996 h 355504"/>
                <a:gd name="connsiteX382" fmla="*/ 140464 w 212804"/>
                <a:gd name="connsiteY382" fmla="*/ 260877 h 355504"/>
                <a:gd name="connsiteX383" fmla="*/ 140434 w 212804"/>
                <a:gd name="connsiteY383" fmla="*/ 261869 h 355504"/>
                <a:gd name="connsiteX384" fmla="*/ 139833 w 212804"/>
                <a:gd name="connsiteY384" fmla="*/ 263111 h 355504"/>
                <a:gd name="connsiteX385" fmla="*/ 138404 w 212804"/>
                <a:gd name="connsiteY385" fmla="*/ 265249 h 355504"/>
                <a:gd name="connsiteX386" fmla="*/ 137603 w 212804"/>
                <a:gd name="connsiteY386" fmla="*/ 265995 h 355504"/>
                <a:gd name="connsiteX387" fmla="*/ 136240 w 212804"/>
                <a:gd name="connsiteY387" fmla="*/ 266525 h 355504"/>
                <a:gd name="connsiteX388" fmla="*/ 134776 w 212804"/>
                <a:gd name="connsiteY388" fmla="*/ 266765 h 355504"/>
                <a:gd name="connsiteX389" fmla="*/ 133230 w 212804"/>
                <a:gd name="connsiteY389" fmla="*/ 266643 h 355504"/>
                <a:gd name="connsiteX390" fmla="*/ 132194 w 212804"/>
                <a:gd name="connsiteY390" fmla="*/ 265548 h 355504"/>
                <a:gd name="connsiteX391" fmla="*/ 130397 w 212804"/>
                <a:gd name="connsiteY391" fmla="*/ 260824 h 355504"/>
                <a:gd name="connsiteX392" fmla="*/ 128315 w 212804"/>
                <a:gd name="connsiteY392" fmla="*/ 259675 h 355504"/>
                <a:gd name="connsiteX393" fmla="*/ 125929 w 212804"/>
                <a:gd name="connsiteY393" fmla="*/ 258805 h 355504"/>
                <a:gd name="connsiteX394" fmla="*/ 124731 w 212804"/>
                <a:gd name="connsiteY394" fmla="*/ 258072 h 355504"/>
                <a:gd name="connsiteX395" fmla="*/ 123673 w 212804"/>
                <a:gd name="connsiteY395" fmla="*/ 257189 h 355504"/>
                <a:gd name="connsiteX396" fmla="*/ 120321 w 212804"/>
                <a:gd name="connsiteY396" fmla="*/ 252479 h 355504"/>
                <a:gd name="connsiteX397" fmla="*/ 120068 w 212804"/>
                <a:gd name="connsiteY397" fmla="*/ 249597 h 355504"/>
                <a:gd name="connsiteX398" fmla="*/ 120645 w 212804"/>
                <a:gd name="connsiteY398" fmla="*/ 247966 h 355504"/>
                <a:gd name="connsiteX399" fmla="*/ 121660 w 212804"/>
                <a:gd name="connsiteY399" fmla="*/ 246505 h 355504"/>
                <a:gd name="connsiteX400" fmla="*/ 122805 w 212804"/>
                <a:gd name="connsiteY400" fmla="*/ 246111 h 355504"/>
                <a:gd name="connsiteX401" fmla="*/ 125569 w 212804"/>
                <a:gd name="connsiteY401" fmla="*/ 246058 h 355504"/>
                <a:gd name="connsiteX402" fmla="*/ 127000 w 212804"/>
                <a:gd name="connsiteY402" fmla="*/ 245866 h 355504"/>
                <a:gd name="connsiteX403" fmla="*/ 130153 w 212804"/>
                <a:gd name="connsiteY403" fmla="*/ 243705 h 355504"/>
                <a:gd name="connsiteX404" fmla="*/ 130380 w 212804"/>
                <a:gd name="connsiteY404" fmla="*/ 242855 h 355504"/>
                <a:gd name="connsiteX405" fmla="*/ 130395 w 212804"/>
                <a:gd name="connsiteY405" fmla="*/ 239302 h 355504"/>
                <a:gd name="connsiteX406" fmla="*/ 130082 w 212804"/>
                <a:gd name="connsiteY406" fmla="*/ 236817 h 355504"/>
                <a:gd name="connsiteX407" fmla="*/ 129300 w 212804"/>
                <a:gd name="connsiteY407" fmla="*/ 234391 h 355504"/>
                <a:gd name="connsiteX408" fmla="*/ 130153 w 212804"/>
                <a:gd name="connsiteY408" fmla="*/ 233282 h 355504"/>
                <a:gd name="connsiteX409" fmla="*/ 131265 w 212804"/>
                <a:gd name="connsiteY409" fmla="*/ 232184 h 355504"/>
                <a:gd name="connsiteX410" fmla="*/ 132426 w 212804"/>
                <a:gd name="connsiteY410" fmla="*/ 230042 h 355504"/>
                <a:gd name="connsiteX411" fmla="*/ 132655 w 212804"/>
                <a:gd name="connsiteY411" fmla="*/ 228535 h 355504"/>
                <a:gd name="connsiteX412" fmla="*/ 132677 w 212804"/>
                <a:gd name="connsiteY412" fmla="*/ 226959 h 355504"/>
                <a:gd name="connsiteX413" fmla="*/ 132977 w 212804"/>
                <a:gd name="connsiteY413" fmla="*/ 225831 h 355504"/>
                <a:gd name="connsiteX414" fmla="*/ 133886 w 212804"/>
                <a:gd name="connsiteY414" fmla="*/ 225267 h 355504"/>
                <a:gd name="connsiteX415" fmla="*/ 138250 w 212804"/>
                <a:gd name="connsiteY415" fmla="*/ 223547 h 355504"/>
                <a:gd name="connsiteX416" fmla="*/ 156318 w 212804"/>
                <a:gd name="connsiteY416" fmla="*/ 217172 h 355504"/>
                <a:gd name="connsiteX417" fmla="*/ 156739 w 212804"/>
                <a:gd name="connsiteY417" fmla="*/ 218432 h 355504"/>
                <a:gd name="connsiteX418" fmla="*/ 156266 w 212804"/>
                <a:gd name="connsiteY418" fmla="*/ 220906 h 355504"/>
                <a:gd name="connsiteX419" fmla="*/ 156340 w 212804"/>
                <a:gd name="connsiteY419" fmla="*/ 222094 h 355504"/>
                <a:gd name="connsiteX420" fmla="*/ 156620 w 212804"/>
                <a:gd name="connsiteY420" fmla="*/ 222651 h 355504"/>
                <a:gd name="connsiteX421" fmla="*/ 156638 w 212804"/>
                <a:gd name="connsiteY421" fmla="*/ 224955 h 355504"/>
                <a:gd name="connsiteX422" fmla="*/ 156068 w 212804"/>
                <a:gd name="connsiteY422" fmla="*/ 228487 h 355504"/>
                <a:gd name="connsiteX423" fmla="*/ 156592 w 212804"/>
                <a:gd name="connsiteY423" fmla="*/ 232562 h 355504"/>
                <a:gd name="connsiteX424" fmla="*/ 155568 w 212804"/>
                <a:gd name="connsiteY424" fmla="*/ 236709 h 355504"/>
                <a:gd name="connsiteX425" fmla="*/ 154400 w 212804"/>
                <a:gd name="connsiteY425" fmla="*/ 238574 h 355504"/>
                <a:gd name="connsiteX426" fmla="*/ 152671 w 212804"/>
                <a:gd name="connsiteY426" fmla="*/ 239890 h 355504"/>
                <a:gd name="connsiteX427" fmla="*/ 150786 w 212804"/>
                <a:gd name="connsiteY427" fmla="*/ 240715 h 355504"/>
                <a:gd name="connsiteX428" fmla="*/ 148836 w 212804"/>
                <a:gd name="connsiteY428" fmla="*/ 242780 h 355504"/>
                <a:gd name="connsiteX429" fmla="*/ 147573 w 212804"/>
                <a:gd name="connsiteY429" fmla="*/ 245195 h 355504"/>
                <a:gd name="connsiteX430" fmla="*/ 147365 w 212804"/>
                <a:gd name="connsiteY430" fmla="*/ 247394 h 355504"/>
                <a:gd name="connsiteX431" fmla="*/ 144260 w 212804"/>
                <a:gd name="connsiteY431" fmla="*/ 254813 h 355504"/>
                <a:gd name="connsiteX432" fmla="*/ 141535 w 212804"/>
                <a:gd name="connsiteY432" fmla="*/ 257929 h 355504"/>
                <a:gd name="connsiteX433" fmla="*/ 140682 w 212804"/>
                <a:gd name="connsiteY433" fmla="*/ 258524 h 355504"/>
                <a:gd name="connsiteX434" fmla="*/ 140335 w 212804"/>
                <a:gd name="connsiteY434" fmla="*/ 257052 h 355504"/>
                <a:gd name="connsiteX435" fmla="*/ 140578 w 212804"/>
                <a:gd name="connsiteY435" fmla="*/ 255064 h 355504"/>
                <a:gd name="connsiteX436" fmla="*/ 142273 w 212804"/>
                <a:gd name="connsiteY436" fmla="*/ 248119 h 355504"/>
                <a:gd name="connsiteX437" fmla="*/ 141887 w 212804"/>
                <a:gd name="connsiteY437" fmla="*/ 246381 h 355504"/>
                <a:gd name="connsiteX438" fmla="*/ 144720 w 212804"/>
                <a:gd name="connsiteY438" fmla="*/ 242512 h 355504"/>
                <a:gd name="connsiteX439" fmla="*/ 146457 w 212804"/>
                <a:gd name="connsiteY439" fmla="*/ 238880 h 355504"/>
                <a:gd name="connsiteX440" fmla="*/ 149078 w 212804"/>
                <a:gd name="connsiteY440" fmla="*/ 235064 h 355504"/>
                <a:gd name="connsiteX441" fmla="*/ 149410 w 212804"/>
                <a:gd name="connsiteY441" fmla="*/ 233085 h 355504"/>
                <a:gd name="connsiteX442" fmla="*/ 151734 w 212804"/>
                <a:gd name="connsiteY442" fmla="*/ 229311 h 355504"/>
                <a:gd name="connsiteX443" fmla="*/ 153908 w 212804"/>
                <a:gd name="connsiteY443" fmla="*/ 224104 h 355504"/>
                <a:gd name="connsiteX444" fmla="*/ 153792 w 212804"/>
                <a:gd name="connsiteY444" fmla="*/ 222378 h 355504"/>
                <a:gd name="connsiteX445" fmla="*/ 154355 w 212804"/>
                <a:gd name="connsiteY445" fmla="*/ 221523 h 355504"/>
                <a:gd name="connsiteX446" fmla="*/ 154664 w 212804"/>
                <a:gd name="connsiteY446" fmla="*/ 220218 h 355504"/>
                <a:gd name="connsiteX447" fmla="*/ 154733 w 212804"/>
                <a:gd name="connsiteY447" fmla="*/ 219111 h 355504"/>
                <a:gd name="connsiteX448" fmla="*/ 150086 w 212804"/>
                <a:gd name="connsiteY448" fmla="*/ 216953 h 355504"/>
                <a:gd name="connsiteX449" fmla="*/ 151382 w 212804"/>
                <a:gd name="connsiteY449" fmla="*/ 219921 h 355504"/>
                <a:gd name="connsiteX450" fmla="*/ 149637 w 212804"/>
                <a:gd name="connsiteY450" fmla="*/ 219904 h 355504"/>
                <a:gd name="connsiteX451" fmla="*/ 148994 w 212804"/>
                <a:gd name="connsiteY451" fmla="*/ 217744 h 355504"/>
                <a:gd name="connsiteX452" fmla="*/ 149741 w 212804"/>
                <a:gd name="connsiteY452" fmla="*/ 217046 h 355504"/>
                <a:gd name="connsiteX453" fmla="*/ 55982 w 212804"/>
                <a:gd name="connsiteY453" fmla="*/ 215539 h 355504"/>
                <a:gd name="connsiteX454" fmla="*/ 57133 w 212804"/>
                <a:gd name="connsiteY454" fmla="*/ 216277 h 355504"/>
                <a:gd name="connsiteX455" fmla="*/ 57287 w 212804"/>
                <a:gd name="connsiteY455" fmla="*/ 217323 h 355504"/>
                <a:gd name="connsiteX456" fmla="*/ 56719 w 212804"/>
                <a:gd name="connsiteY456" fmla="*/ 219784 h 355504"/>
                <a:gd name="connsiteX457" fmla="*/ 56675 w 212804"/>
                <a:gd name="connsiteY457" fmla="*/ 221020 h 355504"/>
                <a:gd name="connsiteX458" fmla="*/ 57323 w 212804"/>
                <a:gd name="connsiteY458" fmla="*/ 222276 h 355504"/>
                <a:gd name="connsiteX459" fmla="*/ 56544 w 212804"/>
                <a:gd name="connsiteY459" fmla="*/ 224342 h 355504"/>
                <a:gd name="connsiteX460" fmla="*/ 58522 w 212804"/>
                <a:gd name="connsiteY460" fmla="*/ 229840 h 355504"/>
                <a:gd name="connsiteX461" fmla="*/ 60031 w 212804"/>
                <a:gd name="connsiteY461" fmla="*/ 233320 h 355504"/>
                <a:gd name="connsiteX462" fmla="*/ 60088 w 212804"/>
                <a:gd name="connsiteY462" fmla="*/ 234468 h 355504"/>
                <a:gd name="connsiteX463" fmla="*/ 58060 w 212804"/>
                <a:gd name="connsiteY463" fmla="*/ 236545 h 355504"/>
                <a:gd name="connsiteX464" fmla="*/ 56850 w 212804"/>
                <a:gd name="connsiteY464" fmla="*/ 237173 h 355504"/>
                <a:gd name="connsiteX465" fmla="*/ 54240 w 212804"/>
                <a:gd name="connsiteY465" fmla="*/ 237730 h 355504"/>
                <a:gd name="connsiteX466" fmla="*/ 53065 w 212804"/>
                <a:gd name="connsiteY466" fmla="*/ 238335 h 355504"/>
                <a:gd name="connsiteX467" fmla="*/ 51195 w 212804"/>
                <a:gd name="connsiteY467" fmla="*/ 240024 h 355504"/>
                <a:gd name="connsiteX468" fmla="*/ 50027 w 212804"/>
                <a:gd name="connsiteY468" fmla="*/ 242248 h 355504"/>
                <a:gd name="connsiteX469" fmla="*/ 49731 w 212804"/>
                <a:gd name="connsiteY469" fmla="*/ 243398 h 355504"/>
                <a:gd name="connsiteX470" fmla="*/ 49132 w 212804"/>
                <a:gd name="connsiteY470" fmla="*/ 244282 h 355504"/>
                <a:gd name="connsiteX471" fmla="*/ 43762 w 212804"/>
                <a:gd name="connsiteY471" fmla="*/ 245792 h 355504"/>
                <a:gd name="connsiteX472" fmla="*/ 41242 w 212804"/>
                <a:gd name="connsiteY472" fmla="*/ 246778 h 355504"/>
                <a:gd name="connsiteX473" fmla="*/ 40080 w 212804"/>
                <a:gd name="connsiteY473" fmla="*/ 247519 h 355504"/>
                <a:gd name="connsiteX474" fmla="*/ 39480 w 212804"/>
                <a:gd name="connsiteY474" fmla="*/ 248725 h 355504"/>
                <a:gd name="connsiteX475" fmla="*/ 39896 w 212804"/>
                <a:gd name="connsiteY475" fmla="*/ 250852 h 355504"/>
                <a:gd name="connsiteX476" fmla="*/ 35382 w 212804"/>
                <a:gd name="connsiteY476" fmla="*/ 258529 h 355504"/>
                <a:gd name="connsiteX477" fmla="*/ 33942 w 212804"/>
                <a:gd name="connsiteY477" fmla="*/ 260538 h 355504"/>
                <a:gd name="connsiteX478" fmla="*/ 32404 w 212804"/>
                <a:gd name="connsiteY478" fmla="*/ 262247 h 355504"/>
                <a:gd name="connsiteX479" fmla="*/ 30516 w 212804"/>
                <a:gd name="connsiteY479" fmla="*/ 263464 h 355504"/>
                <a:gd name="connsiteX480" fmla="*/ 27856 w 212804"/>
                <a:gd name="connsiteY480" fmla="*/ 264210 h 355504"/>
                <a:gd name="connsiteX481" fmla="*/ 25751 w 212804"/>
                <a:gd name="connsiteY481" fmla="*/ 265695 h 355504"/>
                <a:gd name="connsiteX482" fmla="*/ 24321 w 212804"/>
                <a:gd name="connsiteY482" fmla="*/ 268321 h 355504"/>
                <a:gd name="connsiteX483" fmla="*/ 22555 w 212804"/>
                <a:gd name="connsiteY483" fmla="*/ 270693 h 355504"/>
                <a:gd name="connsiteX484" fmla="*/ 20322 w 212804"/>
                <a:gd name="connsiteY484" fmla="*/ 272450 h 355504"/>
                <a:gd name="connsiteX485" fmla="*/ 17916 w 212804"/>
                <a:gd name="connsiteY485" fmla="*/ 274002 h 355504"/>
                <a:gd name="connsiteX486" fmla="*/ 15707 w 212804"/>
                <a:gd name="connsiteY486" fmla="*/ 275133 h 355504"/>
                <a:gd name="connsiteX487" fmla="*/ 13326 w 212804"/>
                <a:gd name="connsiteY487" fmla="*/ 275931 h 355504"/>
                <a:gd name="connsiteX488" fmla="*/ 12607 w 212804"/>
                <a:gd name="connsiteY488" fmla="*/ 276964 h 355504"/>
                <a:gd name="connsiteX489" fmla="*/ 12097 w 212804"/>
                <a:gd name="connsiteY489" fmla="*/ 278240 h 355504"/>
                <a:gd name="connsiteX490" fmla="*/ 11048 w 212804"/>
                <a:gd name="connsiteY490" fmla="*/ 278840 h 355504"/>
                <a:gd name="connsiteX491" fmla="*/ 9795 w 212804"/>
                <a:gd name="connsiteY491" fmla="*/ 279186 h 355504"/>
                <a:gd name="connsiteX492" fmla="*/ 7554 w 212804"/>
                <a:gd name="connsiteY492" fmla="*/ 280439 h 355504"/>
                <a:gd name="connsiteX493" fmla="*/ 5506 w 212804"/>
                <a:gd name="connsiteY493" fmla="*/ 282048 h 355504"/>
                <a:gd name="connsiteX494" fmla="*/ 5727 w 212804"/>
                <a:gd name="connsiteY494" fmla="*/ 280058 h 355504"/>
                <a:gd name="connsiteX495" fmla="*/ 6332 w 212804"/>
                <a:gd name="connsiteY495" fmla="*/ 278181 h 355504"/>
                <a:gd name="connsiteX496" fmla="*/ 8411 w 212804"/>
                <a:gd name="connsiteY496" fmla="*/ 274337 h 355504"/>
                <a:gd name="connsiteX497" fmla="*/ 9911 w 212804"/>
                <a:gd name="connsiteY497" fmla="*/ 273154 h 355504"/>
                <a:gd name="connsiteX498" fmla="*/ 12393 w 212804"/>
                <a:gd name="connsiteY498" fmla="*/ 270125 h 355504"/>
                <a:gd name="connsiteX499" fmla="*/ 13792 w 212804"/>
                <a:gd name="connsiteY499" fmla="*/ 268661 h 355504"/>
                <a:gd name="connsiteX500" fmla="*/ 17146 w 212804"/>
                <a:gd name="connsiteY500" fmla="*/ 265765 h 355504"/>
                <a:gd name="connsiteX501" fmla="*/ 20238 w 212804"/>
                <a:gd name="connsiteY501" fmla="*/ 262589 h 355504"/>
                <a:gd name="connsiteX502" fmla="*/ 21272 w 212804"/>
                <a:gd name="connsiteY502" fmla="*/ 262353 h 355504"/>
                <a:gd name="connsiteX503" fmla="*/ 22410 w 212804"/>
                <a:gd name="connsiteY503" fmla="*/ 262305 h 355504"/>
                <a:gd name="connsiteX504" fmla="*/ 23313 w 212804"/>
                <a:gd name="connsiteY504" fmla="*/ 261940 h 355504"/>
                <a:gd name="connsiteX505" fmla="*/ 25325 w 212804"/>
                <a:gd name="connsiteY505" fmla="*/ 260225 h 355504"/>
                <a:gd name="connsiteX506" fmla="*/ 30392 w 212804"/>
                <a:gd name="connsiteY506" fmla="*/ 254512 h 355504"/>
                <a:gd name="connsiteX507" fmla="*/ 34581 w 212804"/>
                <a:gd name="connsiteY507" fmla="*/ 250253 h 355504"/>
                <a:gd name="connsiteX508" fmla="*/ 38873 w 212804"/>
                <a:gd name="connsiteY508" fmla="*/ 244864 h 355504"/>
                <a:gd name="connsiteX509" fmla="*/ 40920 w 212804"/>
                <a:gd name="connsiteY509" fmla="*/ 243294 h 355504"/>
                <a:gd name="connsiteX510" fmla="*/ 41473 w 212804"/>
                <a:gd name="connsiteY510" fmla="*/ 242714 h 355504"/>
                <a:gd name="connsiteX511" fmla="*/ 45425 w 212804"/>
                <a:gd name="connsiteY511" fmla="*/ 237748 h 355504"/>
                <a:gd name="connsiteX512" fmla="*/ 46664 w 212804"/>
                <a:gd name="connsiteY512" fmla="*/ 237027 h 355504"/>
                <a:gd name="connsiteX513" fmla="*/ 48062 w 212804"/>
                <a:gd name="connsiteY513" fmla="*/ 236504 h 355504"/>
                <a:gd name="connsiteX514" fmla="*/ 49011 w 212804"/>
                <a:gd name="connsiteY514" fmla="*/ 235829 h 355504"/>
                <a:gd name="connsiteX515" fmla="*/ 49848 w 212804"/>
                <a:gd name="connsiteY515" fmla="*/ 234984 h 355504"/>
                <a:gd name="connsiteX516" fmla="*/ 51245 w 212804"/>
                <a:gd name="connsiteY516" fmla="*/ 232821 h 355504"/>
                <a:gd name="connsiteX517" fmla="*/ 51813 w 212804"/>
                <a:gd name="connsiteY517" fmla="*/ 230293 h 355504"/>
                <a:gd name="connsiteX518" fmla="*/ 51459 w 212804"/>
                <a:gd name="connsiteY518" fmla="*/ 228865 h 355504"/>
                <a:gd name="connsiteX519" fmla="*/ 50673 w 212804"/>
                <a:gd name="connsiteY519" fmla="*/ 226758 h 355504"/>
                <a:gd name="connsiteX520" fmla="*/ 51657 w 212804"/>
                <a:gd name="connsiteY520" fmla="*/ 223884 h 355504"/>
                <a:gd name="connsiteX521" fmla="*/ 52432 w 212804"/>
                <a:gd name="connsiteY521" fmla="*/ 222558 h 355504"/>
                <a:gd name="connsiteX522" fmla="*/ 55188 w 212804"/>
                <a:gd name="connsiteY522" fmla="*/ 216718 h 355504"/>
                <a:gd name="connsiteX523" fmla="*/ 63946 w 212804"/>
                <a:gd name="connsiteY523" fmla="*/ 211533 h 355504"/>
                <a:gd name="connsiteX524" fmla="*/ 64421 w 212804"/>
                <a:gd name="connsiteY524" fmla="*/ 212718 h 355504"/>
                <a:gd name="connsiteX525" fmla="*/ 63801 w 212804"/>
                <a:gd name="connsiteY525" fmla="*/ 214495 h 355504"/>
                <a:gd name="connsiteX526" fmla="*/ 63266 w 212804"/>
                <a:gd name="connsiteY526" fmla="*/ 214884 h 355504"/>
                <a:gd name="connsiteX527" fmla="*/ 62558 w 212804"/>
                <a:gd name="connsiteY527" fmla="*/ 214144 h 355504"/>
                <a:gd name="connsiteX528" fmla="*/ 61039 w 212804"/>
                <a:gd name="connsiteY528" fmla="*/ 213625 h 355504"/>
                <a:gd name="connsiteX529" fmla="*/ 60942 w 212804"/>
                <a:gd name="connsiteY529" fmla="*/ 212668 h 355504"/>
                <a:gd name="connsiteX530" fmla="*/ 61735 w 212804"/>
                <a:gd name="connsiteY530" fmla="*/ 212691 h 355504"/>
                <a:gd name="connsiteX531" fmla="*/ 63180 w 212804"/>
                <a:gd name="connsiteY531" fmla="*/ 211755 h 355504"/>
                <a:gd name="connsiteX532" fmla="*/ 162770 w 212804"/>
                <a:gd name="connsiteY532" fmla="*/ 211312 h 355504"/>
                <a:gd name="connsiteX533" fmla="*/ 163732 w 212804"/>
                <a:gd name="connsiteY533" fmla="*/ 211764 h 355504"/>
                <a:gd name="connsiteX534" fmla="*/ 165098 w 212804"/>
                <a:gd name="connsiteY534" fmla="*/ 213058 h 355504"/>
                <a:gd name="connsiteX535" fmla="*/ 166757 w 212804"/>
                <a:gd name="connsiteY535" fmla="*/ 213805 h 355504"/>
                <a:gd name="connsiteX536" fmla="*/ 167582 w 212804"/>
                <a:gd name="connsiteY536" fmla="*/ 214451 h 355504"/>
                <a:gd name="connsiteX537" fmla="*/ 168165 w 212804"/>
                <a:gd name="connsiteY537" fmla="*/ 215615 h 355504"/>
                <a:gd name="connsiteX538" fmla="*/ 169706 w 212804"/>
                <a:gd name="connsiteY538" fmla="*/ 216398 h 355504"/>
                <a:gd name="connsiteX539" fmla="*/ 171475 w 212804"/>
                <a:gd name="connsiteY539" fmla="*/ 216085 h 355504"/>
                <a:gd name="connsiteX540" fmla="*/ 173615 w 212804"/>
                <a:gd name="connsiteY540" fmla="*/ 214308 h 355504"/>
                <a:gd name="connsiteX541" fmla="*/ 176022 w 212804"/>
                <a:gd name="connsiteY541" fmla="*/ 214948 h 355504"/>
                <a:gd name="connsiteX542" fmla="*/ 177437 w 212804"/>
                <a:gd name="connsiteY542" fmla="*/ 217566 h 355504"/>
                <a:gd name="connsiteX543" fmla="*/ 178159 w 212804"/>
                <a:gd name="connsiteY543" fmla="*/ 218555 h 355504"/>
                <a:gd name="connsiteX544" fmla="*/ 178551 w 212804"/>
                <a:gd name="connsiteY544" fmla="*/ 220267 h 355504"/>
                <a:gd name="connsiteX545" fmla="*/ 178450 w 212804"/>
                <a:gd name="connsiteY545" fmla="*/ 224370 h 355504"/>
                <a:gd name="connsiteX546" fmla="*/ 177862 w 212804"/>
                <a:gd name="connsiteY546" fmla="*/ 228088 h 355504"/>
                <a:gd name="connsiteX547" fmla="*/ 178317 w 212804"/>
                <a:gd name="connsiteY547" fmla="*/ 228854 h 355504"/>
                <a:gd name="connsiteX548" fmla="*/ 179426 w 212804"/>
                <a:gd name="connsiteY548" fmla="*/ 229522 h 355504"/>
                <a:gd name="connsiteX549" fmla="*/ 180391 w 212804"/>
                <a:gd name="connsiteY549" fmla="*/ 230346 h 355504"/>
                <a:gd name="connsiteX550" fmla="*/ 181201 w 212804"/>
                <a:gd name="connsiteY550" fmla="*/ 231403 h 355504"/>
                <a:gd name="connsiteX551" fmla="*/ 181721 w 212804"/>
                <a:gd name="connsiteY551" fmla="*/ 232579 h 355504"/>
                <a:gd name="connsiteX552" fmla="*/ 181930 w 212804"/>
                <a:gd name="connsiteY552" fmla="*/ 235432 h 355504"/>
                <a:gd name="connsiteX553" fmla="*/ 183321 w 212804"/>
                <a:gd name="connsiteY553" fmla="*/ 237837 h 355504"/>
                <a:gd name="connsiteX554" fmla="*/ 183507 w 212804"/>
                <a:gd name="connsiteY554" fmla="*/ 238773 h 355504"/>
                <a:gd name="connsiteX555" fmla="*/ 183172 w 212804"/>
                <a:gd name="connsiteY555" fmla="*/ 239754 h 355504"/>
                <a:gd name="connsiteX556" fmla="*/ 180853 w 212804"/>
                <a:gd name="connsiteY556" fmla="*/ 239562 h 355504"/>
                <a:gd name="connsiteX557" fmla="*/ 180667 w 212804"/>
                <a:gd name="connsiteY557" fmla="*/ 240390 h 355504"/>
                <a:gd name="connsiteX558" fmla="*/ 180724 w 212804"/>
                <a:gd name="connsiteY558" fmla="*/ 241415 h 355504"/>
                <a:gd name="connsiteX559" fmla="*/ 179900 w 212804"/>
                <a:gd name="connsiteY559" fmla="*/ 240770 h 355504"/>
                <a:gd name="connsiteX560" fmla="*/ 178542 w 212804"/>
                <a:gd name="connsiteY560" fmla="*/ 238422 h 355504"/>
                <a:gd name="connsiteX561" fmla="*/ 177294 w 212804"/>
                <a:gd name="connsiteY561" fmla="*/ 237435 h 355504"/>
                <a:gd name="connsiteX562" fmla="*/ 177679 w 212804"/>
                <a:gd name="connsiteY562" fmla="*/ 241245 h 355504"/>
                <a:gd name="connsiteX563" fmla="*/ 178091 w 212804"/>
                <a:gd name="connsiteY563" fmla="*/ 243072 h 355504"/>
                <a:gd name="connsiteX564" fmla="*/ 178159 w 212804"/>
                <a:gd name="connsiteY564" fmla="*/ 244907 h 355504"/>
                <a:gd name="connsiteX565" fmla="*/ 176003 w 212804"/>
                <a:gd name="connsiteY565" fmla="*/ 243505 h 355504"/>
                <a:gd name="connsiteX566" fmla="*/ 173431 w 212804"/>
                <a:gd name="connsiteY566" fmla="*/ 242640 h 355504"/>
                <a:gd name="connsiteX567" fmla="*/ 172723 w 212804"/>
                <a:gd name="connsiteY567" fmla="*/ 241893 h 355504"/>
                <a:gd name="connsiteX568" fmla="*/ 172965 w 212804"/>
                <a:gd name="connsiteY568" fmla="*/ 239514 h 355504"/>
                <a:gd name="connsiteX569" fmla="*/ 172917 w 212804"/>
                <a:gd name="connsiteY569" fmla="*/ 238330 h 355504"/>
                <a:gd name="connsiteX570" fmla="*/ 171771 w 212804"/>
                <a:gd name="connsiteY570" fmla="*/ 235823 h 355504"/>
                <a:gd name="connsiteX571" fmla="*/ 173119 w 212804"/>
                <a:gd name="connsiteY571" fmla="*/ 230402 h 355504"/>
                <a:gd name="connsiteX572" fmla="*/ 173085 w 212804"/>
                <a:gd name="connsiteY572" fmla="*/ 229294 h 355504"/>
                <a:gd name="connsiteX573" fmla="*/ 172855 w 212804"/>
                <a:gd name="connsiteY573" fmla="*/ 228184 h 355504"/>
                <a:gd name="connsiteX574" fmla="*/ 171792 w 212804"/>
                <a:gd name="connsiteY574" fmla="*/ 225985 h 355504"/>
                <a:gd name="connsiteX575" fmla="*/ 170113 w 212804"/>
                <a:gd name="connsiteY575" fmla="*/ 224145 h 355504"/>
                <a:gd name="connsiteX576" fmla="*/ 169082 w 212804"/>
                <a:gd name="connsiteY576" fmla="*/ 224140 h 355504"/>
                <a:gd name="connsiteX577" fmla="*/ 166577 w 212804"/>
                <a:gd name="connsiteY577" fmla="*/ 225432 h 355504"/>
                <a:gd name="connsiteX578" fmla="*/ 165310 w 212804"/>
                <a:gd name="connsiteY578" fmla="*/ 225004 h 355504"/>
                <a:gd name="connsiteX579" fmla="*/ 164563 w 212804"/>
                <a:gd name="connsiteY579" fmla="*/ 219929 h 355504"/>
                <a:gd name="connsiteX580" fmla="*/ 163552 w 212804"/>
                <a:gd name="connsiteY580" fmla="*/ 214996 h 355504"/>
                <a:gd name="connsiteX581" fmla="*/ 162777 w 212804"/>
                <a:gd name="connsiteY581" fmla="*/ 213733 h 355504"/>
                <a:gd name="connsiteX582" fmla="*/ 162274 w 212804"/>
                <a:gd name="connsiteY582" fmla="*/ 212410 h 355504"/>
                <a:gd name="connsiteX583" fmla="*/ 165131 w 212804"/>
                <a:gd name="connsiteY583" fmla="*/ 207731 h 355504"/>
                <a:gd name="connsiteX584" fmla="*/ 166757 w 212804"/>
                <a:gd name="connsiteY584" fmla="*/ 207908 h 355504"/>
                <a:gd name="connsiteX585" fmla="*/ 167951 w 212804"/>
                <a:gd name="connsiteY585" fmla="*/ 208970 h 355504"/>
                <a:gd name="connsiteX586" fmla="*/ 169218 w 212804"/>
                <a:gd name="connsiteY586" fmla="*/ 210990 h 355504"/>
                <a:gd name="connsiteX587" fmla="*/ 168912 w 212804"/>
                <a:gd name="connsiteY587" fmla="*/ 212275 h 355504"/>
                <a:gd name="connsiteX588" fmla="*/ 166150 w 212804"/>
                <a:gd name="connsiteY588" fmla="*/ 212417 h 355504"/>
                <a:gd name="connsiteX589" fmla="*/ 164941 w 212804"/>
                <a:gd name="connsiteY589" fmla="*/ 211389 h 355504"/>
                <a:gd name="connsiteX590" fmla="*/ 163427 w 212804"/>
                <a:gd name="connsiteY590" fmla="*/ 208383 h 355504"/>
                <a:gd name="connsiteX591" fmla="*/ 171619 w 212804"/>
                <a:gd name="connsiteY591" fmla="*/ 207276 h 355504"/>
                <a:gd name="connsiteX592" fmla="*/ 172891 w 212804"/>
                <a:gd name="connsiteY592" fmla="*/ 207998 h 355504"/>
                <a:gd name="connsiteX593" fmla="*/ 173623 w 212804"/>
                <a:gd name="connsiteY593" fmla="*/ 209264 h 355504"/>
                <a:gd name="connsiteX594" fmla="*/ 174351 w 212804"/>
                <a:gd name="connsiteY594" fmla="*/ 209977 h 355504"/>
                <a:gd name="connsiteX595" fmla="*/ 173943 w 212804"/>
                <a:gd name="connsiteY595" fmla="*/ 211130 h 355504"/>
                <a:gd name="connsiteX596" fmla="*/ 173295 w 212804"/>
                <a:gd name="connsiteY596" fmla="*/ 210811 h 355504"/>
                <a:gd name="connsiteX597" fmla="*/ 172729 w 212804"/>
                <a:gd name="connsiteY597" fmla="*/ 210291 h 355504"/>
                <a:gd name="connsiteX598" fmla="*/ 171902 w 212804"/>
                <a:gd name="connsiteY598" fmla="*/ 208548 h 355504"/>
                <a:gd name="connsiteX599" fmla="*/ 110431 w 212804"/>
                <a:gd name="connsiteY599" fmla="*/ 203195 h 355504"/>
                <a:gd name="connsiteX600" fmla="*/ 111880 w 212804"/>
                <a:gd name="connsiteY600" fmla="*/ 203239 h 355504"/>
                <a:gd name="connsiteX601" fmla="*/ 113154 w 212804"/>
                <a:gd name="connsiteY601" fmla="*/ 204143 h 355504"/>
                <a:gd name="connsiteX602" fmla="*/ 117663 w 212804"/>
                <a:gd name="connsiteY602" fmla="*/ 206005 h 355504"/>
                <a:gd name="connsiteX603" fmla="*/ 120062 w 212804"/>
                <a:gd name="connsiteY603" fmla="*/ 207570 h 355504"/>
                <a:gd name="connsiteX604" fmla="*/ 122206 w 212804"/>
                <a:gd name="connsiteY604" fmla="*/ 209522 h 355504"/>
                <a:gd name="connsiteX605" fmla="*/ 124782 w 212804"/>
                <a:gd name="connsiteY605" fmla="*/ 210663 h 355504"/>
                <a:gd name="connsiteX606" fmla="*/ 127294 w 212804"/>
                <a:gd name="connsiteY606" fmla="*/ 209683 h 355504"/>
                <a:gd name="connsiteX607" fmla="*/ 129766 w 212804"/>
                <a:gd name="connsiteY607" fmla="*/ 209957 h 355504"/>
                <a:gd name="connsiteX608" fmla="*/ 131827 w 212804"/>
                <a:gd name="connsiteY608" fmla="*/ 211444 h 355504"/>
                <a:gd name="connsiteX609" fmla="*/ 131153 w 212804"/>
                <a:gd name="connsiteY609" fmla="*/ 212383 h 355504"/>
                <a:gd name="connsiteX610" fmla="*/ 131014 w 212804"/>
                <a:gd name="connsiteY610" fmla="*/ 213415 h 355504"/>
                <a:gd name="connsiteX611" fmla="*/ 135619 w 212804"/>
                <a:gd name="connsiteY611" fmla="*/ 211171 h 355504"/>
                <a:gd name="connsiteX612" fmla="*/ 136847 w 212804"/>
                <a:gd name="connsiteY612" fmla="*/ 211304 h 355504"/>
                <a:gd name="connsiteX613" fmla="*/ 136806 w 212804"/>
                <a:gd name="connsiteY613" fmla="*/ 213388 h 355504"/>
                <a:gd name="connsiteX614" fmla="*/ 136534 w 212804"/>
                <a:gd name="connsiteY614" fmla="*/ 215156 h 355504"/>
                <a:gd name="connsiteX615" fmla="*/ 135990 w 212804"/>
                <a:gd name="connsiteY615" fmla="*/ 216875 h 355504"/>
                <a:gd name="connsiteX616" fmla="*/ 135015 w 212804"/>
                <a:gd name="connsiteY616" fmla="*/ 218888 h 355504"/>
                <a:gd name="connsiteX617" fmla="*/ 133712 w 212804"/>
                <a:gd name="connsiteY617" fmla="*/ 220687 h 355504"/>
                <a:gd name="connsiteX618" fmla="*/ 131992 w 212804"/>
                <a:gd name="connsiteY618" fmla="*/ 221993 h 355504"/>
                <a:gd name="connsiteX619" fmla="*/ 129956 w 212804"/>
                <a:gd name="connsiteY619" fmla="*/ 222792 h 355504"/>
                <a:gd name="connsiteX620" fmla="*/ 128989 w 212804"/>
                <a:gd name="connsiteY620" fmla="*/ 223517 h 355504"/>
                <a:gd name="connsiteX621" fmla="*/ 128691 w 212804"/>
                <a:gd name="connsiteY621" fmla="*/ 224609 h 355504"/>
                <a:gd name="connsiteX622" fmla="*/ 128727 w 212804"/>
                <a:gd name="connsiteY622" fmla="*/ 225985 h 355504"/>
                <a:gd name="connsiteX623" fmla="*/ 128259 w 212804"/>
                <a:gd name="connsiteY623" fmla="*/ 227235 h 355504"/>
                <a:gd name="connsiteX624" fmla="*/ 126119 w 212804"/>
                <a:gd name="connsiteY624" fmla="*/ 227748 h 355504"/>
                <a:gd name="connsiteX625" fmla="*/ 122779 w 212804"/>
                <a:gd name="connsiteY625" fmla="*/ 230186 h 355504"/>
                <a:gd name="connsiteX626" fmla="*/ 115605 w 212804"/>
                <a:gd name="connsiteY626" fmla="*/ 231728 h 355504"/>
                <a:gd name="connsiteX627" fmla="*/ 113635 w 212804"/>
                <a:gd name="connsiteY627" fmla="*/ 232787 h 355504"/>
                <a:gd name="connsiteX628" fmla="*/ 112379 w 212804"/>
                <a:gd name="connsiteY628" fmla="*/ 234161 h 355504"/>
                <a:gd name="connsiteX629" fmla="*/ 110977 w 212804"/>
                <a:gd name="connsiteY629" fmla="*/ 235408 h 355504"/>
                <a:gd name="connsiteX630" fmla="*/ 110217 w 212804"/>
                <a:gd name="connsiteY630" fmla="*/ 235719 h 355504"/>
                <a:gd name="connsiteX631" fmla="*/ 109870 w 212804"/>
                <a:gd name="connsiteY631" fmla="*/ 235126 h 355504"/>
                <a:gd name="connsiteX632" fmla="*/ 109771 w 212804"/>
                <a:gd name="connsiteY632" fmla="*/ 234618 h 355504"/>
                <a:gd name="connsiteX633" fmla="*/ 110794 w 212804"/>
                <a:gd name="connsiteY633" fmla="*/ 231378 h 355504"/>
                <a:gd name="connsiteX634" fmla="*/ 110623 w 212804"/>
                <a:gd name="connsiteY634" fmla="*/ 230030 h 355504"/>
                <a:gd name="connsiteX635" fmla="*/ 110136 w 212804"/>
                <a:gd name="connsiteY635" fmla="*/ 228722 h 355504"/>
                <a:gd name="connsiteX636" fmla="*/ 110446 w 212804"/>
                <a:gd name="connsiteY636" fmla="*/ 226165 h 355504"/>
                <a:gd name="connsiteX637" fmla="*/ 111692 w 212804"/>
                <a:gd name="connsiteY637" fmla="*/ 223762 h 355504"/>
                <a:gd name="connsiteX638" fmla="*/ 112360 w 212804"/>
                <a:gd name="connsiteY638" fmla="*/ 221115 h 355504"/>
                <a:gd name="connsiteX639" fmla="*/ 112554 w 212804"/>
                <a:gd name="connsiteY639" fmla="*/ 216004 h 355504"/>
                <a:gd name="connsiteX640" fmla="*/ 113523 w 212804"/>
                <a:gd name="connsiteY640" fmla="*/ 208898 h 355504"/>
                <a:gd name="connsiteX641" fmla="*/ 113476 w 212804"/>
                <a:gd name="connsiteY641" fmla="*/ 208048 h 355504"/>
                <a:gd name="connsiteX642" fmla="*/ 112716 w 212804"/>
                <a:gd name="connsiteY642" fmla="*/ 207087 h 355504"/>
                <a:gd name="connsiteX643" fmla="*/ 109926 w 212804"/>
                <a:gd name="connsiteY643" fmla="*/ 206312 h 355504"/>
                <a:gd name="connsiteX644" fmla="*/ 108829 w 212804"/>
                <a:gd name="connsiteY644" fmla="*/ 205583 h 355504"/>
                <a:gd name="connsiteX645" fmla="*/ 109378 w 212804"/>
                <a:gd name="connsiteY645" fmla="*/ 204159 h 355504"/>
                <a:gd name="connsiteX646" fmla="*/ 65153 w 212804"/>
                <a:gd name="connsiteY646" fmla="*/ 201312 h 355504"/>
                <a:gd name="connsiteX647" fmla="*/ 66049 w 212804"/>
                <a:gd name="connsiteY647" fmla="*/ 201785 h 355504"/>
                <a:gd name="connsiteX648" fmla="*/ 66962 w 212804"/>
                <a:gd name="connsiteY648" fmla="*/ 202416 h 355504"/>
                <a:gd name="connsiteX649" fmla="*/ 67805 w 212804"/>
                <a:gd name="connsiteY649" fmla="*/ 202749 h 355504"/>
                <a:gd name="connsiteX650" fmla="*/ 68574 w 212804"/>
                <a:gd name="connsiteY650" fmla="*/ 204020 h 355504"/>
                <a:gd name="connsiteX651" fmla="*/ 68390 w 212804"/>
                <a:gd name="connsiteY651" fmla="*/ 204899 h 355504"/>
                <a:gd name="connsiteX652" fmla="*/ 68627 w 212804"/>
                <a:gd name="connsiteY652" fmla="*/ 205748 h 355504"/>
                <a:gd name="connsiteX653" fmla="*/ 67868 w 212804"/>
                <a:gd name="connsiteY653" fmla="*/ 207545 h 355504"/>
                <a:gd name="connsiteX654" fmla="*/ 66211 w 212804"/>
                <a:gd name="connsiteY654" fmla="*/ 208305 h 355504"/>
                <a:gd name="connsiteX655" fmla="*/ 65793 w 212804"/>
                <a:gd name="connsiteY655" fmla="*/ 207827 h 355504"/>
                <a:gd name="connsiteX656" fmla="*/ 65501 w 212804"/>
                <a:gd name="connsiteY656" fmla="*/ 206715 h 355504"/>
                <a:gd name="connsiteX657" fmla="*/ 65525 w 212804"/>
                <a:gd name="connsiteY657" fmla="*/ 205950 h 355504"/>
                <a:gd name="connsiteX658" fmla="*/ 63935 w 212804"/>
                <a:gd name="connsiteY658" fmla="*/ 201926 h 355504"/>
                <a:gd name="connsiteX659" fmla="*/ 65162 w 212804"/>
                <a:gd name="connsiteY659" fmla="*/ 193735 h 355504"/>
                <a:gd name="connsiteX660" fmla="*/ 66211 w 212804"/>
                <a:gd name="connsiteY660" fmla="*/ 194827 h 355504"/>
                <a:gd name="connsiteX661" fmla="*/ 68725 w 212804"/>
                <a:gd name="connsiteY661" fmla="*/ 196458 h 355504"/>
                <a:gd name="connsiteX662" fmla="*/ 69221 w 212804"/>
                <a:gd name="connsiteY662" fmla="*/ 197132 h 355504"/>
                <a:gd name="connsiteX663" fmla="*/ 70430 w 212804"/>
                <a:gd name="connsiteY663" fmla="*/ 197475 h 355504"/>
                <a:gd name="connsiteX664" fmla="*/ 71295 w 212804"/>
                <a:gd name="connsiteY664" fmla="*/ 197147 h 355504"/>
                <a:gd name="connsiteX665" fmla="*/ 72057 w 212804"/>
                <a:gd name="connsiteY665" fmla="*/ 195963 h 355504"/>
                <a:gd name="connsiteX666" fmla="*/ 72771 w 212804"/>
                <a:gd name="connsiteY666" fmla="*/ 197714 h 355504"/>
                <a:gd name="connsiteX667" fmla="*/ 74559 w 212804"/>
                <a:gd name="connsiteY667" fmla="*/ 199157 h 355504"/>
                <a:gd name="connsiteX668" fmla="*/ 73966 w 212804"/>
                <a:gd name="connsiteY668" fmla="*/ 200615 h 355504"/>
                <a:gd name="connsiteX669" fmla="*/ 72394 w 212804"/>
                <a:gd name="connsiteY669" fmla="*/ 200786 h 355504"/>
                <a:gd name="connsiteX670" fmla="*/ 70850 w 212804"/>
                <a:gd name="connsiteY670" fmla="*/ 200453 h 355504"/>
                <a:gd name="connsiteX671" fmla="*/ 69223 w 212804"/>
                <a:gd name="connsiteY671" fmla="*/ 201034 h 355504"/>
                <a:gd name="connsiteX672" fmla="*/ 67244 w 212804"/>
                <a:gd name="connsiteY672" fmla="*/ 200708 h 355504"/>
                <a:gd name="connsiteX673" fmla="*/ 66060 w 212804"/>
                <a:gd name="connsiteY673" fmla="*/ 199341 h 355504"/>
                <a:gd name="connsiteX674" fmla="*/ 64713 w 212804"/>
                <a:gd name="connsiteY674" fmla="*/ 196884 h 355504"/>
                <a:gd name="connsiteX675" fmla="*/ 64045 w 212804"/>
                <a:gd name="connsiteY675" fmla="*/ 196429 h 355504"/>
                <a:gd name="connsiteX676" fmla="*/ 64128 w 212804"/>
                <a:gd name="connsiteY676" fmla="*/ 195420 h 355504"/>
                <a:gd name="connsiteX677" fmla="*/ 64617 w 212804"/>
                <a:gd name="connsiteY677" fmla="*/ 194780 h 355504"/>
                <a:gd name="connsiteX678" fmla="*/ 64359 w 212804"/>
                <a:gd name="connsiteY678" fmla="*/ 194615 h 355504"/>
                <a:gd name="connsiteX679" fmla="*/ 64484 w 212804"/>
                <a:gd name="connsiteY679" fmla="*/ 194167 h 355504"/>
                <a:gd name="connsiteX680" fmla="*/ 64725 w 212804"/>
                <a:gd name="connsiteY680" fmla="*/ 193862 h 355504"/>
                <a:gd name="connsiteX681" fmla="*/ 121669 w 212804"/>
                <a:gd name="connsiteY681" fmla="*/ 189855 h 355504"/>
                <a:gd name="connsiteX682" fmla="*/ 124582 w 212804"/>
                <a:gd name="connsiteY682" fmla="*/ 189862 h 355504"/>
                <a:gd name="connsiteX683" fmla="*/ 126130 w 212804"/>
                <a:gd name="connsiteY683" fmla="*/ 191374 h 355504"/>
                <a:gd name="connsiteX684" fmla="*/ 126344 w 212804"/>
                <a:gd name="connsiteY684" fmla="*/ 192316 h 355504"/>
                <a:gd name="connsiteX685" fmla="*/ 125707 w 212804"/>
                <a:gd name="connsiteY685" fmla="*/ 193960 h 355504"/>
                <a:gd name="connsiteX686" fmla="*/ 124575 w 212804"/>
                <a:gd name="connsiteY686" fmla="*/ 194487 h 355504"/>
                <a:gd name="connsiteX687" fmla="*/ 122275 w 212804"/>
                <a:gd name="connsiteY687" fmla="*/ 192285 h 355504"/>
                <a:gd name="connsiteX688" fmla="*/ 120939 w 212804"/>
                <a:gd name="connsiteY688" fmla="*/ 191257 h 355504"/>
                <a:gd name="connsiteX689" fmla="*/ 120587 w 212804"/>
                <a:gd name="connsiteY689" fmla="*/ 190682 h 355504"/>
                <a:gd name="connsiteX690" fmla="*/ 180892 w 212804"/>
                <a:gd name="connsiteY690" fmla="*/ 188045 h 355504"/>
                <a:gd name="connsiteX691" fmla="*/ 182868 w 212804"/>
                <a:gd name="connsiteY691" fmla="*/ 189048 h 355504"/>
                <a:gd name="connsiteX692" fmla="*/ 184433 w 212804"/>
                <a:gd name="connsiteY692" fmla="*/ 190880 h 355504"/>
                <a:gd name="connsiteX693" fmla="*/ 184813 w 212804"/>
                <a:gd name="connsiteY693" fmla="*/ 192206 h 355504"/>
                <a:gd name="connsiteX694" fmla="*/ 184651 w 212804"/>
                <a:gd name="connsiteY694" fmla="*/ 193674 h 355504"/>
                <a:gd name="connsiteX695" fmla="*/ 185360 w 212804"/>
                <a:gd name="connsiteY695" fmla="*/ 194326 h 355504"/>
                <a:gd name="connsiteX696" fmla="*/ 186610 w 212804"/>
                <a:gd name="connsiteY696" fmla="*/ 194503 h 355504"/>
                <a:gd name="connsiteX697" fmla="*/ 188212 w 212804"/>
                <a:gd name="connsiteY697" fmla="*/ 195241 h 355504"/>
                <a:gd name="connsiteX698" fmla="*/ 189415 w 212804"/>
                <a:gd name="connsiteY698" fmla="*/ 196600 h 355504"/>
                <a:gd name="connsiteX699" fmla="*/ 188701 w 212804"/>
                <a:gd name="connsiteY699" fmla="*/ 197848 h 355504"/>
                <a:gd name="connsiteX700" fmla="*/ 188923 w 212804"/>
                <a:gd name="connsiteY700" fmla="*/ 199669 h 355504"/>
                <a:gd name="connsiteX701" fmla="*/ 187666 w 212804"/>
                <a:gd name="connsiteY701" fmla="*/ 201958 h 355504"/>
                <a:gd name="connsiteX702" fmla="*/ 187836 w 212804"/>
                <a:gd name="connsiteY702" fmla="*/ 206015 h 355504"/>
                <a:gd name="connsiteX703" fmla="*/ 188558 w 212804"/>
                <a:gd name="connsiteY703" fmla="*/ 207310 h 355504"/>
                <a:gd name="connsiteX704" fmla="*/ 188627 w 212804"/>
                <a:gd name="connsiteY704" fmla="*/ 208618 h 355504"/>
                <a:gd name="connsiteX705" fmla="*/ 188446 w 212804"/>
                <a:gd name="connsiteY705" fmla="*/ 209987 h 355504"/>
                <a:gd name="connsiteX706" fmla="*/ 188754 w 212804"/>
                <a:gd name="connsiteY706" fmla="*/ 211109 h 355504"/>
                <a:gd name="connsiteX707" fmla="*/ 190683 w 212804"/>
                <a:gd name="connsiteY707" fmla="*/ 214828 h 355504"/>
                <a:gd name="connsiteX708" fmla="*/ 191037 w 212804"/>
                <a:gd name="connsiteY708" fmla="*/ 216063 h 355504"/>
                <a:gd name="connsiteX709" fmla="*/ 190447 w 212804"/>
                <a:gd name="connsiteY709" fmla="*/ 217039 h 355504"/>
                <a:gd name="connsiteX710" fmla="*/ 190253 w 212804"/>
                <a:gd name="connsiteY710" fmla="*/ 217962 h 355504"/>
                <a:gd name="connsiteX711" fmla="*/ 191443 w 212804"/>
                <a:gd name="connsiteY711" fmla="*/ 218059 h 355504"/>
                <a:gd name="connsiteX712" fmla="*/ 193138 w 212804"/>
                <a:gd name="connsiteY712" fmla="*/ 219606 h 355504"/>
                <a:gd name="connsiteX713" fmla="*/ 194136 w 212804"/>
                <a:gd name="connsiteY713" fmla="*/ 221648 h 355504"/>
                <a:gd name="connsiteX714" fmla="*/ 193837 w 212804"/>
                <a:gd name="connsiteY714" fmla="*/ 222184 h 355504"/>
                <a:gd name="connsiteX715" fmla="*/ 192483 w 212804"/>
                <a:gd name="connsiteY715" fmla="*/ 220591 h 355504"/>
                <a:gd name="connsiteX716" fmla="*/ 191460 w 212804"/>
                <a:gd name="connsiteY716" fmla="*/ 220339 h 355504"/>
                <a:gd name="connsiteX717" fmla="*/ 187119 w 212804"/>
                <a:gd name="connsiteY717" fmla="*/ 220774 h 355504"/>
                <a:gd name="connsiteX718" fmla="*/ 184459 w 212804"/>
                <a:gd name="connsiteY718" fmla="*/ 220110 h 355504"/>
                <a:gd name="connsiteX719" fmla="*/ 182732 w 212804"/>
                <a:gd name="connsiteY719" fmla="*/ 220048 h 355504"/>
                <a:gd name="connsiteX720" fmla="*/ 181017 w 212804"/>
                <a:gd name="connsiteY720" fmla="*/ 217317 h 355504"/>
                <a:gd name="connsiteX721" fmla="*/ 179514 w 212804"/>
                <a:gd name="connsiteY721" fmla="*/ 216863 h 355504"/>
                <a:gd name="connsiteX722" fmla="*/ 178329 w 212804"/>
                <a:gd name="connsiteY722" fmla="*/ 215655 h 355504"/>
                <a:gd name="connsiteX723" fmla="*/ 176362 w 212804"/>
                <a:gd name="connsiteY723" fmla="*/ 212567 h 355504"/>
                <a:gd name="connsiteX724" fmla="*/ 175735 w 212804"/>
                <a:gd name="connsiteY724" fmla="*/ 210792 h 355504"/>
                <a:gd name="connsiteX725" fmla="*/ 177104 w 212804"/>
                <a:gd name="connsiteY725" fmla="*/ 208998 h 355504"/>
                <a:gd name="connsiteX726" fmla="*/ 177532 w 212804"/>
                <a:gd name="connsiteY726" fmla="*/ 207567 h 355504"/>
                <a:gd name="connsiteX727" fmla="*/ 177461 w 212804"/>
                <a:gd name="connsiteY727" fmla="*/ 206164 h 355504"/>
                <a:gd name="connsiteX728" fmla="*/ 176148 w 212804"/>
                <a:gd name="connsiteY728" fmla="*/ 206395 h 355504"/>
                <a:gd name="connsiteX729" fmla="*/ 175011 w 212804"/>
                <a:gd name="connsiteY729" fmla="*/ 205927 h 355504"/>
                <a:gd name="connsiteX730" fmla="*/ 173615 w 212804"/>
                <a:gd name="connsiteY730" fmla="*/ 204210 h 355504"/>
                <a:gd name="connsiteX731" fmla="*/ 173055 w 212804"/>
                <a:gd name="connsiteY731" fmla="*/ 203218 h 355504"/>
                <a:gd name="connsiteX732" fmla="*/ 172038 w 212804"/>
                <a:gd name="connsiteY732" fmla="*/ 202388 h 355504"/>
                <a:gd name="connsiteX733" fmla="*/ 170423 w 212804"/>
                <a:gd name="connsiteY733" fmla="*/ 200425 h 355504"/>
                <a:gd name="connsiteX734" fmla="*/ 168104 w 212804"/>
                <a:gd name="connsiteY734" fmla="*/ 199657 h 355504"/>
                <a:gd name="connsiteX735" fmla="*/ 167158 w 212804"/>
                <a:gd name="connsiteY735" fmla="*/ 199118 h 355504"/>
                <a:gd name="connsiteX736" fmla="*/ 165314 w 212804"/>
                <a:gd name="connsiteY736" fmla="*/ 197466 h 355504"/>
                <a:gd name="connsiteX737" fmla="*/ 163969 w 212804"/>
                <a:gd name="connsiteY737" fmla="*/ 195420 h 355504"/>
                <a:gd name="connsiteX738" fmla="*/ 162663 w 212804"/>
                <a:gd name="connsiteY738" fmla="*/ 191833 h 355504"/>
                <a:gd name="connsiteX739" fmla="*/ 161976 w 212804"/>
                <a:gd name="connsiteY739" fmla="*/ 188117 h 355504"/>
                <a:gd name="connsiteX740" fmla="*/ 167970 w 212804"/>
                <a:gd name="connsiteY740" fmla="*/ 189085 h 355504"/>
                <a:gd name="connsiteX741" fmla="*/ 174036 w 212804"/>
                <a:gd name="connsiteY741" fmla="*/ 188898 h 355504"/>
                <a:gd name="connsiteX742" fmla="*/ 138575 w 212804"/>
                <a:gd name="connsiteY742" fmla="*/ 187799 h 355504"/>
                <a:gd name="connsiteX743" fmla="*/ 140799 w 212804"/>
                <a:gd name="connsiteY743" fmla="*/ 188722 h 355504"/>
                <a:gd name="connsiteX744" fmla="*/ 143584 w 212804"/>
                <a:gd name="connsiteY744" fmla="*/ 189646 h 355504"/>
                <a:gd name="connsiteX745" fmla="*/ 145707 w 212804"/>
                <a:gd name="connsiteY745" fmla="*/ 190913 h 355504"/>
                <a:gd name="connsiteX746" fmla="*/ 146057 w 212804"/>
                <a:gd name="connsiteY746" fmla="*/ 191763 h 355504"/>
                <a:gd name="connsiteX747" fmla="*/ 149192 w 212804"/>
                <a:gd name="connsiteY747" fmla="*/ 194447 h 355504"/>
                <a:gd name="connsiteX748" fmla="*/ 153431 w 212804"/>
                <a:gd name="connsiteY748" fmla="*/ 197101 h 355504"/>
                <a:gd name="connsiteX749" fmla="*/ 156351 w 212804"/>
                <a:gd name="connsiteY749" fmla="*/ 201638 h 355504"/>
                <a:gd name="connsiteX750" fmla="*/ 156689 w 212804"/>
                <a:gd name="connsiteY750" fmla="*/ 205118 h 355504"/>
                <a:gd name="connsiteX751" fmla="*/ 156465 w 212804"/>
                <a:gd name="connsiteY751" fmla="*/ 206444 h 355504"/>
                <a:gd name="connsiteX752" fmla="*/ 155076 w 212804"/>
                <a:gd name="connsiteY752" fmla="*/ 204954 h 355504"/>
                <a:gd name="connsiteX753" fmla="*/ 152092 w 212804"/>
                <a:gd name="connsiteY753" fmla="*/ 202832 h 355504"/>
                <a:gd name="connsiteX754" fmla="*/ 150019 w 212804"/>
                <a:gd name="connsiteY754" fmla="*/ 202363 h 355504"/>
                <a:gd name="connsiteX755" fmla="*/ 149382 w 212804"/>
                <a:gd name="connsiteY755" fmla="*/ 201980 h 355504"/>
                <a:gd name="connsiteX756" fmla="*/ 149622 w 212804"/>
                <a:gd name="connsiteY756" fmla="*/ 200834 h 355504"/>
                <a:gd name="connsiteX757" fmla="*/ 148268 w 212804"/>
                <a:gd name="connsiteY757" fmla="*/ 199772 h 355504"/>
                <a:gd name="connsiteX758" fmla="*/ 148108 w 212804"/>
                <a:gd name="connsiteY758" fmla="*/ 199338 h 355504"/>
                <a:gd name="connsiteX759" fmla="*/ 146879 w 212804"/>
                <a:gd name="connsiteY759" fmla="*/ 198870 h 355504"/>
                <a:gd name="connsiteX760" fmla="*/ 145089 w 212804"/>
                <a:gd name="connsiteY760" fmla="*/ 196483 h 355504"/>
                <a:gd name="connsiteX761" fmla="*/ 143822 w 212804"/>
                <a:gd name="connsiteY761" fmla="*/ 196034 h 355504"/>
                <a:gd name="connsiteX762" fmla="*/ 142608 w 212804"/>
                <a:gd name="connsiteY762" fmla="*/ 196537 h 355504"/>
                <a:gd name="connsiteX763" fmla="*/ 139818 w 212804"/>
                <a:gd name="connsiteY763" fmla="*/ 200078 h 355504"/>
                <a:gd name="connsiteX764" fmla="*/ 136836 w 212804"/>
                <a:gd name="connsiteY764" fmla="*/ 202561 h 355504"/>
                <a:gd name="connsiteX765" fmla="*/ 136793 w 212804"/>
                <a:gd name="connsiteY765" fmla="*/ 201612 h 355504"/>
                <a:gd name="connsiteX766" fmla="*/ 138002 w 212804"/>
                <a:gd name="connsiteY766" fmla="*/ 198503 h 355504"/>
                <a:gd name="connsiteX767" fmla="*/ 138771 w 212804"/>
                <a:gd name="connsiteY767" fmla="*/ 193535 h 355504"/>
                <a:gd name="connsiteX768" fmla="*/ 139255 w 212804"/>
                <a:gd name="connsiteY768" fmla="*/ 192021 h 355504"/>
                <a:gd name="connsiteX769" fmla="*/ 138650 w 212804"/>
                <a:gd name="connsiteY769" fmla="*/ 189793 h 355504"/>
                <a:gd name="connsiteX770" fmla="*/ 117382 w 212804"/>
                <a:gd name="connsiteY770" fmla="*/ 187587 h 355504"/>
                <a:gd name="connsiteX771" fmla="*/ 117592 w 212804"/>
                <a:gd name="connsiteY771" fmla="*/ 187669 h 355504"/>
                <a:gd name="connsiteX772" fmla="*/ 118108 w 212804"/>
                <a:gd name="connsiteY772" fmla="*/ 189027 h 355504"/>
                <a:gd name="connsiteX773" fmla="*/ 117421 w 212804"/>
                <a:gd name="connsiteY773" fmla="*/ 189712 h 355504"/>
                <a:gd name="connsiteX774" fmla="*/ 117004 w 212804"/>
                <a:gd name="connsiteY774" fmla="*/ 189605 h 355504"/>
                <a:gd name="connsiteX775" fmla="*/ 116715 w 212804"/>
                <a:gd name="connsiteY775" fmla="*/ 188395 h 355504"/>
                <a:gd name="connsiteX776" fmla="*/ 114442 w 212804"/>
                <a:gd name="connsiteY776" fmla="*/ 186246 h 355504"/>
                <a:gd name="connsiteX777" fmla="*/ 114115 w 212804"/>
                <a:gd name="connsiteY777" fmla="*/ 187145 h 355504"/>
                <a:gd name="connsiteX778" fmla="*/ 114145 w 212804"/>
                <a:gd name="connsiteY778" fmla="*/ 188831 h 355504"/>
                <a:gd name="connsiteX779" fmla="*/ 113314 w 212804"/>
                <a:gd name="connsiteY779" fmla="*/ 192931 h 355504"/>
                <a:gd name="connsiteX780" fmla="*/ 111543 w 212804"/>
                <a:gd name="connsiteY780" fmla="*/ 198525 h 355504"/>
                <a:gd name="connsiteX781" fmla="*/ 110353 w 212804"/>
                <a:gd name="connsiteY781" fmla="*/ 196600 h 355504"/>
                <a:gd name="connsiteX782" fmla="*/ 110835 w 212804"/>
                <a:gd name="connsiteY782" fmla="*/ 195391 h 355504"/>
                <a:gd name="connsiteX783" fmla="*/ 109812 w 212804"/>
                <a:gd name="connsiteY783" fmla="*/ 194379 h 355504"/>
                <a:gd name="connsiteX784" fmla="*/ 109537 w 212804"/>
                <a:gd name="connsiteY784" fmla="*/ 193461 h 355504"/>
                <a:gd name="connsiteX785" fmla="*/ 109930 w 212804"/>
                <a:gd name="connsiteY785" fmla="*/ 192247 h 355504"/>
                <a:gd name="connsiteX786" fmla="*/ 111001 w 212804"/>
                <a:gd name="connsiteY786" fmla="*/ 191127 h 355504"/>
                <a:gd name="connsiteX787" fmla="*/ 111269 w 212804"/>
                <a:gd name="connsiteY787" fmla="*/ 187461 h 355504"/>
                <a:gd name="connsiteX788" fmla="*/ 113530 w 212804"/>
                <a:gd name="connsiteY788" fmla="*/ 186291 h 355504"/>
                <a:gd name="connsiteX789" fmla="*/ 147089 w 212804"/>
                <a:gd name="connsiteY789" fmla="*/ 185746 h 355504"/>
                <a:gd name="connsiteX790" fmla="*/ 149018 w 212804"/>
                <a:gd name="connsiteY790" fmla="*/ 187186 h 355504"/>
                <a:gd name="connsiteX791" fmla="*/ 150492 w 212804"/>
                <a:gd name="connsiteY791" fmla="*/ 190709 h 355504"/>
                <a:gd name="connsiteX792" fmla="*/ 150574 w 212804"/>
                <a:gd name="connsiteY792" fmla="*/ 192676 h 355504"/>
                <a:gd name="connsiteX793" fmla="*/ 149742 w 212804"/>
                <a:gd name="connsiteY793" fmla="*/ 191952 h 355504"/>
                <a:gd name="connsiteX794" fmla="*/ 147070 w 212804"/>
                <a:gd name="connsiteY794" fmla="*/ 188091 h 355504"/>
                <a:gd name="connsiteX795" fmla="*/ 146331 w 212804"/>
                <a:gd name="connsiteY795" fmla="*/ 186680 h 355504"/>
                <a:gd name="connsiteX796" fmla="*/ 133724 w 212804"/>
                <a:gd name="connsiteY796" fmla="*/ 175828 h 355504"/>
                <a:gd name="connsiteX797" fmla="*/ 134310 w 212804"/>
                <a:gd name="connsiteY797" fmla="*/ 175891 h 355504"/>
                <a:gd name="connsiteX798" fmla="*/ 137908 w 212804"/>
                <a:gd name="connsiteY798" fmla="*/ 180566 h 355504"/>
                <a:gd name="connsiteX799" fmla="*/ 139579 w 212804"/>
                <a:gd name="connsiteY799" fmla="*/ 181735 h 355504"/>
                <a:gd name="connsiteX800" fmla="*/ 141466 w 212804"/>
                <a:gd name="connsiteY800" fmla="*/ 185163 h 355504"/>
                <a:gd name="connsiteX801" fmla="*/ 139410 w 212804"/>
                <a:gd name="connsiteY801" fmla="*/ 182821 h 355504"/>
                <a:gd name="connsiteX802" fmla="*/ 137026 w 212804"/>
                <a:gd name="connsiteY802" fmla="*/ 181230 h 355504"/>
                <a:gd name="connsiteX803" fmla="*/ 134545 w 212804"/>
                <a:gd name="connsiteY803" fmla="*/ 178587 h 355504"/>
                <a:gd name="connsiteX804" fmla="*/ 132759 w 212804"/>
                <a:gd name="connsiteY804" fmla="*/ 177660 h 355504"/>
                <a:gd name="connsiteX805" fmla="*/ 132220 w 212804"/>
                <a:gd name="connsiteY805" fmla="*/ 177121 h 355504"/>
                <a:gd name="connsiteX806" fmla="*/ 132407 w 212804"/>
                <a:gd name="connsiteY806" fmla="*/ 176030 h 355504"/>
                <a:gd name="connsiteX807" fmla="*/ 77367 w 212804"/>
                <a:gd name="connsiteY807" fmla="*/ 166688 h 355504"/>
                <a:gd name="connsiteX808" fmla="*/ 81457 w 212804"/>
                <a:gd name="connsiteY808" fmla="*/ 167246 h 355504"/>
                <a:gd name="connsiteX809" fmla="*/ 82586 w 212804"/>
                <a:gd name="connsiteY809" fmla="*/ 167654 h 355504"/>
                <a:gd name="connsiteX810" fmla="*/ 83713 w 212804"/>
                <a:gd name="connsiteY810" fmla="*/ 167845 h 355504"/>
                <a:gd name="connsiteX811" fmla="*/ 87250 w 212804"/>
                <a:gd name="connsiteY811" fmla="*/ 167168 h 355504"/>
                <a:gd name="connsiteX812" fmla="*/ 88697 w 212804"/>
                <a:gd name="connsiteY812" fmla="*/ 167507 h 355504"/>
                <a:gd name="connsiteX813" fmla="*/ 89669 w 212804"/>
                <a:gd name="connsiteY813" fmla="*/ 168797 h 355504"/>
                <a:gd name="connsiteX814" fmla="*/ 90876 w 212804"/>
                <a:gd name="connsiteY814" fmla="*/ 169201 h 355504"/>
                <a:gd name="connsiteX815" fmla="*/ 91831 w 212804"/>
                <a:gd name="connsiteY815" fmla="*/ 169865 h 355504"/>
                <a:gd name="connsiteX816" fmla="*/ 93605 w 212804"/>
                <a:gd name="connsiteY816" fmla="*/ 168715 h 355504"/>
                <a:gd name="connsiteX817" fmla="*/ 95411 w 212804"/>
                <a:gd name="connsiteY817" fmla="*/ 170025 h 355504"/>
                <a:gd name="connsiteX818" fmla="*/ 97012 w 212804"/>
                <a:gd name="connsiteY818" fmla="*/ 172470 h 355504"/>
                <a:gd name="connsiteX819" fmla="*/ 98900 w 212804"/>
                <a:gd name="connsiteY819" fmla="*/ 174203 h 355504"/>
                <a:gd name="connsiteX820" fmla="*/ 100682 w 212804"/>
                <a:gd name="connsiteY820" fmla="*/ 175490 h 355504"/>
                <a:gd name="connsiteX821" fmla="*/ 101033 w 212804"/>
                <a:gd name="connsiteY821" fmla="*/ 176442 h 355504"/>
                <a:gd name="connsiteX822" fmla="*/ 99952 w 212804"/>
                <a:gd name="connsiteY822" fmla="*/ 178000 h 355504"/>
                <a:gd name="connsiteX823" fmla="*/ 99622 w 212804"/>
                <a:gd name="connsiteY823" fmla="*/ 179978 h 355504"/>
                <a:gd name="connsiteX824" fmla="*/ 99729 w 212804"/>
                <a:gd name="connsiteY824" fmla="*/ 182101 h 355504"/>
                <a:gd name="connsiteX825" fmla="*/ 101076 w 212804"/>
                <a:gd name="connsiteY825" fmla="*/ 186571 h 355504"/>
                <a:gd name="connsiteX826" fmla="*/ 100604 w 212804"/>
                <a:gd name="connsiteY826" fmla="*/ 187783 h 355504"/>
                <a:gd name="connsiteX827" fmla="*/ 99249 w 212804"/>
                <a:gd name="connsiteY827" fmla="*/ 189495 h 355504"/>
                <a:gd name="connsiteX828" fmla="*/ 98239 w 212804"/>
                <a:gd name="connsiteY828" fmla="*/ 191401 h 355504"/>
                <a:gd name="connsiteX829" fmla="*/ 98369 w 212804"/>
                <a:gd name="connsiteY829" fmla="*/ 192171 h 355504"/>
                <a:gd name="connsiteX830" fmla="*/ 97970 w 212804"/>
                <a:gd name="connsiteY830" fmla="*/ 192800 h 355504"/>
                <a:gd name="connsiteX831" fmla="*/ 97842 w 212804"/>
                <a:gd name="connsiteY831" fmla="*/ 194150 h 355504"/>
                <a:gd name="connsiteX832" fmla="*/ 97012 w 212804"/>
                <a:gd name="connsiteY832" fmla="*/ 193870 h 355504"/>
                <a:gd name="connsiteX833" fmla="*/ 96250 w 212804"/>
                <a:gd name="connsiteY833" fmla="*/ 194082 h 355504"/>
                <a:gd name="connsiteX834" fmla="*/ 95509 w 212804"/>
                <a:gd name="connsiteY834" fmla="*/ 194686 h 355504"/>
                <a:gd name="connsiteX835" fmla="*/ 94357 w 212804"/>
                <a:gd name="connsiteY835" fmla="*/ 195986 h 355504"/>
                <a:gd name="connsiteX836" fmla="*/ 92560 w 212804"/>
                <a:gd name="connsiteY836" fmla="*/ 195592 h 355504"/>
                <a:gd name="connsiteX837" fmla="*/ 91709 w 212804"/>
                <a:gd name="connsiteY837" fmla="*/ 195209 h 355504"/>
                <a:gd name="connsiteX838" fmla="*/ 91502 w 212804"/>
                <a:gd name="connsiteY838" fmla="*/ 194082 h 355504"/>
                <a:gd name="connsiteX839" fmla="*/ 90966 w 212804"/>
                <a:gd name="connsiteY839" fmla="*/ 193289 h 355504"/>
                <a:gd name="connsiteX840" fmla="*/ 90196 w 212804"/>
                <a:gd name="connsiteY840" fmla="*/ 192818 h 355504"/>
                <a:gd name="connsiteX841" fmla="*/ 88294 w 212804"/>
                <a:gd name="connsiteY841" fmla="*/ 190874 h 355504"/>
                <a:gd name="connsiteX842" fmla="*/ 87401 w 212804"/>
                <a:gd name="connsiteY842" fmla="*/ 189413 h 355504"/>
                <a:gd name="connsiteX843" fmla="*/ 87387 w 212804"/>
                <a:gd name="connsiteY843" fmla="*/ 187853 h 355504"/>
                <a:gd name="connsiteX844" fmla="*/ 86898 w 212804"/>
                <a:gd name="connsiteY844" fmla="*/ 186399 h 355504"/>
                <a:gd name="connsiteX845" fmla="*/ 85912 w 212804"/>
                <a:gd name="connsiteY845" fmla="*/ 185100 h 355504"/>
                <a:gd name="connsiteX846" fmla="*/ 84612 w 212804"/>
                <a:gd name="connsiteY846" fmla="*/ 184104 h 355504"/>
                <a:gd name="connsiteX847" fmla="*/ 84178 w 212804"/>
                <a:gd name="connsiteY847" fmla="*/ 183147 h 355504"/>
                <a:gd name="connsiteX848" fmla="*/ 84009 w 212804"/>
                <a:gd name="connsiteY848" fmla="*/ 182016 h 355504"/>
                <a:gd name="connsiteX849" fmla="*/ 83897 w 212804"/>
                <a:gd name="connsiteY849" fmla="*/ 179119 h 355504"/>
                <a:gd name="connsiteX850" fmla="*/ 82053 w 212804"/>
                <a:gd name="connsiteY850" fmla="*/ 175503 h 355504"/>
                <a:gd name="connsiteX851" fmla="*/ 81413 w 212804"/>
                <a:gd name="connsiteY851" fmla="*/ 174637 h 355504"/>
                <a:gd name="connsiteX852" fmla="*/ 79683 w 212804"/>
                <a:gd name="connsiteY852" fmla="*/ 173743 h 355504"/>
                <a:gd name="connsiteX853" fmla="*/ 78250 w 212804"/>
                <a:gd name="connsiteY853" fmla="*/ 172592 h 355504"/>
                <a:gd name="connsiteX854" fmla="*/ 77639 w 212804"/>
                <a:gd name="connsiteY854" fmla="*/ 171445 h 355504"/>
                <a:gd name="connsiteX855" fmla="*/ 77082 w 212804"/>
                <a:gd name="connsiteY855" fmla="*/ 169589 h 355504"/>
                <a:gd name="connsiteX856" fmla="*/ 76697 w 212804"/>
                <a:gd name="connsiteY856" fmla="*/ 169321 h 355504"/>
                <a:gd name="connsiteX857" fmla="*/ 75579 w 212804"/>
                <a:gd name="connsiteY857" fmla="*/ 169406 h 355504"/>
                <a:gd name="connsiteX858" fmla="*/ 74495 w 212804"/>
                <a:gd name="connsiteY858" fmla="*/ 169165 h 355504"/>
                <a:gd name="connsiteX859" fmla="*/ 74810 w 212804"/>
                <a:gd name="connsiteY859" fmla="*/ 167801 h 355504"/>
                <a:gd name="connsiteX860" fmla="*/ 75883 w 212804"/>
                <a:gd name="connsiteY860" fmla="*/ 166809 h 355504"/>
                <a:gd name="connsiteX861" fmla="*/ 108276 w 212804"/>
                <a:gd name="connsiteY861" fmla="*/ 165702 h 355504"/>
                <a:gd name="connsiteX862" fmla="*/ 109352 w 212804"/>
                <a:gd name="connsiteY862" fmla="*/ 166284 h 355504"/>
                <a:gd name="connsiteX863" fmla="*/ 110716 w 212804"/>
                <a:gd name="connsiteY863" fmla="*/ 166350 h 355504"/>
                <a:gd name="connsiteX864" fmla="*/ 111139 w 212804"/>
                <a:gd name="connsiteY864" fmla="*/ 166139 h 355504"/>
                <a:gd name="connsiteX865" fmla="*/ 113767 w 212804"/>
                <a:gd name="connsiteY865" fmla="*/ 168021 h 355504"/>
                <a:gd name="connsiteX866" fmla="*/ 113607 w 212804"/>
                <a:gd name="connsiteY866" fmla="*/ 168974 h 355504"/>
                <a:gd name="connsiteX867" fmla="*/ 113940 w 212804"/>
                <a:gd name="connsiteY867" fmla="*/ 170227 h 355504"/>
                <a:gd name="connsiteX868" fmla="*/ 112444 w 212804"/>
                <a:gd name="connsiteY868" fmla="*/ 172399 h 355504"/>
                <a:gd name="connsiteX869" fmla="*/ 112172 w 212804"/>
                <a:gd name="connsiteY869" fmla="*/ 173129 h 355504"/>
                <a:gd name="connsiteX870" fmla="*/ 111343 w 212804"/>
                <a:gd name="connsiteY870" fmla="*/ 173831 h 355504"/>
                <a:gd name="connsiteX871" fmla="*/ 108490 w 212804"/>
                <a:gd name="connsiteY871" fmla="*/ 172104 h 355504"/>
                <a:gd name="connsiteX872" fmla="*/ 107457 w 212804"/>
                <a:gd name="connsiteY872" fmla="*/ 171049 h 355504"/>
                <a:gd name="connsiteX873" fmla="*/ 107145 w 212804"/>
                <a:gd name="connsiteY873" fmla="*/ 168892 h 355504"/>
                <a:gd name="connsiteX874" fmla="*/ 69679 w 212804"/>
                <a:gd name="connsiteY874" fmla="*/ 159128 h 355504"/>
                <a:gd name="connsiteX875" fmla="*/ 71685 w 212804"/>
                <a:gd name="connsiteY875" fmla="*/ 159971 h 355504"/>
                <a:gd name="connsiteX876" fmla="*/ 73009 w 212804"/>
                <a:gd name="connsiteY876" fmla="*/ 161547 h 355504"/>
                <a:gd name="connsiteX877" fmla="*/ 73043 w 212804"/>
                <a:gd name="connsiteY877" fmla="*/ 163073 h 355504"/>
                <a:gd name="connsiteX878" fmla="*/ 69314 w 212804"/>
                <a:gd name="connsiteY878" fmla="*/ 160833 h 355504"/>
                <a:gd name="connsiteX879" fmla="*/ 69209 w 212804"/>
                <a:gd name="connsiteY879" fmla="*/ 160054 h 355504"/>
                <a:gd name="connsiteX880" fmla="*/ 69297 w 212804"/>
                <a:gd name="connsiteY880" fmla="*/ 159478 h 355504"/>
                <a:gd name="connsiteX881" fmla="*/ 160432 w 212804"/>
                <a:gd name="connsiteY881" fmla="*/ 154180 h 355504"/>
                <a:gd name="connsiteX882" fmla="*/ 162276 w 212804"/>
                <a:gd name="connsiteY882" fmla="*/ 157124 h 355504"/>
                <a:gd name="connsiteX883" fmla="*/ 162904 w 212804"/>
                <a:gd name="connsiteY883" fmla="*/ 157482 h 355504"/>
                <a:gd name="connsiteX884" fmla="*/ 164683 w 212804"/>
                <a:gd name="connsiteY884" fmla="*/ 158835 h 355504"/>
                <a:gd name="connsiteX885" fmla="*/ 164221 w 212804"/>
                <a:gd name="connsiteY885" fmla="*/ 161560 h 355504"/>
                <a:gd name="connsiteX886" fmla="*/ 164392 w 212804"/>
                <a:gd name="connsiteY886" fmla="*/ 163152 h 355504"/>
                <a:gd name="connsiteX887" fmla="*/ 163278 w 212804"/>
                <a:gd name="connsiteY887" fmla="*/ 164215 h 355504"/>
                <a:gd name="connsiteX888" fmla="*/ 162691 w 212804"/>
                <a:gd name="connsiteY888" fmla="*/ 165675 h 355504"/>
                <a:gd name="connsiteX889" fmla="*/ 161972 w 212804"/>
                <a:gd name="connsiteY889" fmla="*/ 165158 h 355504"/>
                <a:gd name="connsiteX890" fmla="*/ 160948 w 212804"/>
                <a:gd name="connsiteY890" fmla="*/ 165241 h 355504"/>
                <a:gd name="connsiteX891" fmla="*/ 159337 w 212804"/>
                <a:gd name="connsiteY891" fmla="*/ 166482 h 355504"/>
                <a:gd name="connsiteX892" fmla="*/ 156720 w 212804"/>
                <a:gd name="connsiteY892" fmla="*/ 164815 h 355504"/>
                <a:gd name="connsiteX893" fmla="*/ 156318 w 212804"/>
                <a:gd name="connsiteY893" fmla="*/ 163519 h 355504"/>
                <a:gd name="connsiteX894" fmla="*/ 158195 w 212804"/>
                <a:gd name="connsiteY894" fmla="*/ 160651 h 355504"/>
                <a:gd name="connsiteX895" fmla="*/ 158175 w 212804"/>
                <a:gd name="connsiteY895" fmla="*/ 156387 h 355504"/>
                <a:gd name="connsiteX896" fmla="*/ 158857 w 212804"/>
                <a:gd name="connsiteY896" fmla="*/ 155339 h 355504"/>
                <a:gd name="connsiteX897" fmla="*/ 159577 w 212804"/>
                <a:gd name="connsiteY897" fmla="*/ 154587 h 355504"/>
                <a:gd name="connsiteX898" fmla="*/ 110332 w 212804"/>
                <a:gd name="connsiteY898" fmla="*/ 150771 h 355504"/>
                <a:gd name="connsiteX899" fmla="*/ 115113 w 212804"/>
                <a:gd name="connsiteY899" fmla="*/ 154828 h 355504"/>
                <a:gd name="connsiteX900" fmla="*/ 115044 w 212804"/>
                <a:gd name="connsiteY900" fmla="*/ 155749 h 355504"/>
                <a:gd name="connsiteX901" fmla="*/ 110267 w 212804"/>
                <a:gd name="connsiteY901" fmla="*/ 152411 h 355504"/>
                <a:gd name="connsiteX902" fmla="*/ 110049 w 212804"/>
                <a:gd name="connsiteY902" fmla="*/ 151837 h 355504"/>
                <a:gd name="connsiteX903" fmla="*/ 110040 w 212804"/>
                <a:gd name="connsiteY903" fmla="*/ 151304 h 355504"/>
                <a:gd name="connsiteX904" fmla="*/ 110608 w 212804"/>
                <a:gd name="connsiteY904" fmla="*/ 132307 h 355504"/>
                <a:gd name="connsiteX905" fmla="*/ 111975 w 212804"/>
                <a:gd name="connsiteY905" fmla="*/ 133242 h 355504"/>
                <a:gd name="connsiteX906" fmla="*/ 112374 w 212804"/>
                <a:gd name="connsiteY906" fmla="*/ 134037 h 355504"/>
                <a:gd name="connsiteX907" fmla="*/ 111936 w 212804"/>
                <a:gd name="connsiteY907" fmla="*/ 133997 h 355504"/>
                <a:gd name="connsiteX908" fmla="*/ 111617 w 212804"/>
                <a:gd name="connsiteY908" fmla="*/ 134140 h 355504"/>
                <a:gd name="connsiteX909" fmla="*/ 110578 w 212804"/>
                <a:gd name="connsiteY909" fmla="*/ 135775 h 355504"/>
                <a:gd name="connsiteX910" fmla="*/ 111714 w 212804"/>
                <a:gd name="connsiteY910" fmla="*/ 138793 h 355504"/>
                <a:gd name="connsiteX911" fmla="*/ 111005 w 212804"/>
                <a:gd name="connsiteY911" fmla="*/ 140989 h 355504"/>
                <a:gd name="connsiteX912" fmla="*/ 109753 w 212804"/>
                <a:gd name="connsiteY912" fmla="*/ 141127 h 355504"/>
                <a:gd name="connsiteX913" fmla="*/ 109259 w 212804"/>
                <a:gd name="connsiteY913" fmla="*/ 140891 h 355504"/>
                <a:gd name="connsiteX914" fmla="*/ 109513 w 212804"/>
                <a:gd name="connsiteY914" fmla="*/ 139806 h 355504"/>
                <a:gd name="connsiteX915" fmla="*/ 109788 w 212804"/>
                <a:gd name="connsiteY915" fmla="*/ 139308 h 355504"/>
                <a:gd name="connsiteX916" fmla="*/ 109533 w 212804"/>
                <a:gd name="connsiteY916" fmla="*/ 137876 h 355504"/>
                <a:gd name="connsiteX917" fmla="*/ 108786 w 212804"/>
                <a:gd name="connsiteY917" fmla="*/ 136976 h 355504"/>
                <a:gd name="connsiteX918" fmla="*/ 108190 w 212804"/>
                <a:gd name="connsiteY918" fmla="*/ 135228 h 355504"/>
                <a:gd name="connsiteX919" fmla="*/ 107261 w 212804"/>
                <a:gd name="connsiteY919" fmla="*/ 134179 h 355504"/>
                <a:gd name="connsiteX920" fmla="*/ 107693 w 212804"/>
                <a:gd name="connsiteY920" fmla="*/ 132494 h 355504"/>
                <a:gd name="connsiteX921" fmla="*/ 91368 w 212804"/>
                <a:gd name="connsiteY921" fmla="*/ 51151 h 355504"/>
                <a:gd name="connsiteX922" fmla="*/ 94750 w 212804"/>
                <a:gd name="connsiteY922" fmla="*/ 52338 h 355504"/>
                <a:gd name="connsiteX923" fmla="*/ 102234 w 212804"/>
                <a:gd name="connsiteY923" fmla="*/ 56613 h 355504"/>
                <a:gd name="connsiteX924" fmla="*/ 104972 w 212804"/>
                <a:gd name="connsiteY924" fmla="*/ 57674 h 355504"/>
                <a:gd name="connsiteX925" fmla="*/ 107820 w 212804"/>
                <a:gd name="connsiteY925" fmla="*/ 58466 h 355504"/>
                <a:gd name="connsiteX926" fmla="*/ 110074 w 212804"/>
                <a:gd name="connsiteY926" fmla="*/ 58700 h 355504"/>
                <a:gd name="connsiteX927" fmla="*/ 112085 w 212804"/>
                <a:gd name="connsiteY927" fmla="*/ 57723 h 355504"/>
                <a:gd name="connsiteX928" fmla="*/ 112936 w 212804"/>
                <a:gd name="connsiteY928" fmla="*/ 56723 h 355504"/>
                <a:gd name="connsiteX929" fmla="*/ 114478 w 212804"/>
                <a:gd name="connsiteY929" fmla="*/ 54096 h 355504"/>
                <a:gd name="connsiteX930" fmla="*/ 116126 w 212804"/>
                <a:gd name="connsiteY930" fmla="*/ 53774 h 355504"/>
                <a:gd name="connsiteX931" fmla="*/ 117106 w 212804"/>
                <a:gd name="connsiteY931" fmla="*/ 54730 h 355504"/>
                <a:gd name="connsiteX932" fmla="*/ 117864 w 212804"/>
                <a:gd name="connsiteY932" fmla="*/ 56012 h 355504"/>
                <a:gd name="connsiteX933" fmla="*/ 118201 w 212804"/>
                <a:gd name="connsiteY933" fmla="*/ 57897 h 355504"/>
                <a:gd name="connsiteX934" fmla="*/ 117732 w 212804"/>
                <a:gd name="connsiteY934" fmla="*/ 59863 h 355504"/>
                <a:gd name="connsiteX935" fmla="*/ 116162 w 212804"/>
                <a:gd name="connsiteY935" fmla="*/ 61626 h 355504"/>
                <a:gd name="connsiteX936" fmla="*/ 115204 w 212804"/>
                <a:gd name="connsiteY936" fmla="*/ 63747 h 355504"/>
                <a:gd name="connsiteX937" fmla="*/ 114573 w 212804"/>
                <a:gd name="connsiteY937" fmla="*/ 70770 h 355504"/>
                <a:gd name="connsiteX938" fmla="*/ 114604 w 212804"/>
                <a:gd name="connsiteY938" fmla="*/ 72871 h 355504"/>
                <a:gd name="connsiteX939" fmla="*/ 115108 w 212804"/>
                <a:gd name="connsiteY939" fmla="*/ 74893 h 355504"/>
                <a:gd name="connsiteX940" fmla="*/ 116471 w 212804"/>
                <a:gd name="connsiteY940" fmla="*/ 78102 h 355504"/>
                <a:gd name="connsiteX941" fmla="*/ 117184 w 212804"/>
                <a:gd name="connsiteY941" fmla="*/ 79005 h 355504"/>
                <a:gd name="connsiteX942" fmla="*/ 119246 w 212804"/>
                <a:gd name="connsiteY942" fmla="*/ 80152 h 355504"/>
                <a:gd name="connsiteX943" fmla="*/ 119802 w 212804"/>
                <a:gd name="connsiteY943" fmla="*/ 81020 h 355504"/>
                <a:gd name="connsiteX944" fmla="*/ 119922 w 212804"/>
                <a:gd name="connsiteY944" fmla="*/ 82578 h 355504"/>
                <a:gd name="connsiteX945" fmla="*/ 120246 w 212804"/>
                <a:gd name="connsiteY945" fmla="*/ 83949 h 355504"/>
                <a:gd name="connsiteX946" fmla="*/ 121580 w 212804"/>
                <a:gd name="connsiteY946" fmla="*/ 84473 h 355504"/>
                <a:gd name="connsiteX947" fmla="*/ 122714 w 212804"/>
                <a:gd name="connsiteY947" fmla="*/ 85162 h 355504"/>
                <a:gd name="connsiteX948" fmla="*/ 122291 w 212804"/>
                <a:gd name="connsiteY948" fmla="*/ 86683 h 355504"/>
                <a:gd name="connsiteX949" fmla="*/ 121582 w 212804"/>
                <a:gd name="connsiteY949" fmla="*/ 88230 h 355504"/>
                <a:gd name="connsiteX950" fmla="*/ 120650 w 212804"/>
                <a:gd name="connsiteY950" fmla="*/ 92036 h 355504"/>
                <a:gd name="connsiteX951" fmla="*/ 116229 w 212804"/>
                <a:gd name="connsiteY951" fmla="*/ 100840 h 355504"/>
                <a:gd name="connsiteX952" fmla="*/ 115970 w 212804"/>
                <a:gd name="connsiteY952" fmla="*/ 102740 h 355504"/>
                <a:gd name="connsiteX953" fmla="*/ 114223 w 212804"/>
                <a:gd name="connsiteY953" fmla="*/ 106523 h 355504"/>
                <a:gd name="connsiteX954" fmla="*/ 110675 w 212804"/>
                <a:gd name="connsiteY954" fmla="*/ 107134 h 355504"/>
                <a:gd name="connsiteX955" fmla="*/ 106561 w 212804"/>
                <a:gd name="connsiteY955" fmla="*/ 108959 h 355504"/>
                <a:gd name="connsiteX956" fmla="*/ 104272 w 212804"/>
                <a:gd name="connsiteY956" fmla="*/ 110381 h 355504"/>
                <a:gd name="connsiteX957" fmla="*/ 102286 w 212804"/>
                <a:gd name="connsiteY957" fmla="*/ 112229 h 355504"/>
                <a:gd name="connsiteX958" fmla="*/ 101526 w 212804"/>
                <a:gd name="connsiteY958" fmla="*/ 114643 h 355504"/>
                <a:gd name="connsiteX959" fmla="*/ 102178 w 212804"/>
                <a:gd name="connsiteY959" fmla="*/ 115747 h 355504"/>
                <a:gd name="connsiteX960" fmla="*/ 102593 w 212804"/>
                <a:gd name="connsiteY960" fmla="*/ 116925 h 355504"/>
                <a:gd name="connsiteX961" fmla="*/ 102545 w 212804"/>
                <a:gd name="connsiteY961" fmla="*/ 118198 h 355504"/>
                <a:gd name="connsiteX962" fmla="*/ 101930 w 212804"/>
                <a:gd name="connsiteY962" fmla="*/ 119255 h 355504"/>
                <a:gd name="connsiteX963" fmla="*/ 99954 w 212804"/>
                <a:gd name="connsiteY963" fmla="*/ 121829 h 355504"/>
                <a:gd name="connsiteX964" fmla="*/ 99118 w 212804"/>
                <a:gd name="connsiteY964" fmla="*/ 123931 h 355504"/>
                <a:gd name="connsiteX965" fmla="*/ 98231 w 212804"/>
                <a:gd name="connsiteY965" fmla="*/ 124873 h 355504"/>
                <a:gd name="connsiteX966" fmla="*/ 97797 w 212804"/>
                <a:gd name="connsiteY966" fmla="*/ 126018 h 355504"/>
                <a:gd name="connsiteX967" fmla="*/ 97943 w 212804"/>
                <a:gd name="connsiteY967" fmla="*/ 127327 h 355504"/>
                <a:gd name="connsiteX968" fmla="*/ 98740 w 212804"/>
                <a:gd name="connsiteY968" fmla="*/ 128464 h 355504"/>
                <a:gd name="connsiteX969" fmla="*/ 101150 w 212804"/>
                <a:gd name="connsiteY969" fmla="*/ 133375 h 355504"/>
                <a:gd name="connsiteX970" fmla="*/ 103728 w 212804"/>
                <a:gd name="connsiteY970" fmla="*/ 138113 h 355504"/>
                <a:gd name="connsiteX971" fmla="*/ 104283 w 212804"/>
                <a:gd name="connsiteY971" fmla="*/ 138657 h 355504"/>
                <a:gd name="connsiteX972" fmla="*/ 104500 w 212804"/>
                <a:gd name="connsiteY972" fmla="*/ 139292 h 355504"/>
                <a:gd name="connsiteX973" fmla="*/ 102977 w 212804"/>
                <a:gd name="connsiteY973" fmla="*/ 140547 h 355504"/>
                <a:gd name="connsiteX974" fmla="*/ 103007 w 212804"/>
                <a:gd name="connsiteY974" fmla="*/ 142819 h 355504"/>
                <a:gd name="connsiteX975" fmla="*/ 103463 w 212804"/>
                <a:gd name="connsiteY975" fmla="*/ 145068 h 355504"/>
                <a:gd name="connsiteX976" fmla="*/ 105748 w 212804"/>
                <a:gd name="connsiteY976" fmla="*/ 150649 h 355504"/>
                <a:gd name="connsiteX977" fmla="*/ 106074 w 212804"/>
                <a:gd name="connsiteY977" fmla="*/ 152140 h 355504"/>
                <a:gd name="connsiteX978" fmla="*/ 106823 w 212804"/>
                <a:gd name="connsiteY978" fmla="*/ 153362 h 355504"/>
                <a:gd name="connsiteX979" fmla="*/ 107991 w 212804"/>
                <a:gd name="connsiteY979" fmla="*/ 154507 h 355504"/>
                <a:gd name="connsiteX980" fmla="*/ 109282 w 212804"/>
                <a:gd name="connsiteY980" fmla="*/ 155469 h 355504"/>
                <a:gd name="connsiteX981" fmla="*/ 112994 w 212804"/>
                <a:gd name="connsiteY981" fmla="*/ 157121 h 355504"/>
                <a:gd name="connsiteX982" fmla="*/ 114426 w 212804"/>
                <a:gd name="connsiteY982" fmla="*/ 157446 h 355504"/>
                <a:gd name="connsiteX983" fmla="*/ 115916 w 212804"/>
                <a:gd name="connsiteY983" fmla="*/ 157503 h 355504"/>
                <a:gd name="connsiteX984" fmla="*/ 116286 w 212804"/>
                <a:gd name="connsiteY984" fmla="*/ 156391 h 355504"/>
                <a:gd name="connsiteX985" fmla="*/ 117592 w 212804"/>
                <a:gd name="connsiteY985" fmla="*/ 156015 h 355504"/>
                <a:gd name="connsiteX986" fmla="*/ 117303 w 212804"/>
                <a:gd name="connsiteY986" fmla="*/ 154921 h 355504"/>
                <a:gd name="connsiteX987" fmla="*/ 115713 w 212804"/>
                <a:gd name="connsiteY987" fmla="*/ 153411 h 355504"/>
                <a:gd name="connsiteX988" fmla="*/ 115651 w 212804"/>
                <a:gd name="connsiteY988" fmla="*/ 152591 h 355504"/>
                <a:gd name="connsiteX989" fmla="*/ 116486 w 212804"/>
                <a:gd name="connsiteY989" fmla="*/ 151982 h 355504"/>
                <a:gd name="connsiteX990" fmla="*/ 117484 w 212804"/>
                <a:gd name="connsiteY990" fmla="*/ 151627 h 355504"/>
                <a:gd name="connsiteX991" fmla="*/ 119719 w 212804"/>
                <a:gd name="connsiteY991" fmla="*/ 149979 h 355504"/>
                <a:gd name="connsiteX992" fmla="*/ 122088 w 212804"/>
                <a:gd name="connsiteY992" fmla="*/ 148659 h 355504"/>
                <a:gd name="connsiteX993" fmla="*/ 125102 w 212804"/>
                <a:gd name="connsiteY993" fmla="*/ 148768 h 355504"/>
                <a:gd name="connsiteX994" fmla="*/ 128062 w 212804"/>
                <a:gd name="connsiteY994" fmla="*/ 149505 h 355504"/>
                <a:gd name="connsiteX995" fmla="*/ 130164 w 212804"/>
                <a:gd name="connsiteY995" fmla="*/ 150274 h 355504"/>
                <a:gd name="connsiteX996" fmla="*/ 131892 w 212804"/>
                <a:gd name="connsiteY996" fmla="*/ 151688 h 355504"/>
                <a:gd name="connsiteX997" fmla="*/ 133668 w 212804"/>
                <a:gd name="connsiteY997" fmla="*/ 154130 h 355504"/>
                <a:gd name="connsiteX998" fmla="*/ 134916 w 212804"/>
                <a:gd name="connsiteY998" fmla="*/ 156832 h 355504"/>
                <a:gd name="connsiteX999" fmla="*/ 134910 w 212804"/>
                <a:gd name="connsiteY999" fmla="*/ 158122 h 355504"/>
                <a:gd name="connsiteX1000" fmla="*/ 134605 w 212804"/>
                <a:gd name="connsiteY1000" fmla="*/ 159412 h 355504"/>
                <a:gd name="connsiteX1001" fmla="*/ 134672 w 212804"/>
                <a:gd name="connsiteY1001" fmla="*/ 160689 h 355504"/>
                <a:gd name="connsiteX1002" fmla="*/ 135601 w 212804"/>
                <a:gd name="connsiteY1002" fmla="*/ 161557 h 355504"/>
                <a:gd name="connsiteX1003" fmla="*/ 138464 w 212804"/>
                <a:gd name="connsiteY1003" fmla="*/ 161622 h 355504"/>
                <a:gd name="connsiteX1004" fmla="*/ 139914 w 212804"/>
                <a:gd name="connsiteY1004" fmla="*/ 159616 h 355504"/>
                <a:gd name="connsiteX1005" fmla="*/ 140099 w 212804"/>
                <a:gd name="connsiteY1005" fmla="*/ 157359 h 355504"/>
                <a:gd name="connsiteX1006" fmla="*/ 139080 w 212804"/>
                <a:gd name="connsiteY1006" fmla="*/ 156483 h 355504"/>
                <a:gd name="connsiteX1007" fmla="*/ 139549 w 212804"/>
                <a:gd name="connsiteY1007" fmla="*/ 155370 h 355504"/>
                <a:gd name="connsiteX1008" fmla="*/ 140429 w 212804"/>
                <a:gd name="connsiteY1008" fmla="*/ 154539 h 355504"/>
                <a:gd name="connsiteX1009" fmla="*/ 141693 w 212804"/>
                <a:gd name="connsiteY1009" fmla="*/ 155283 h 355504"/>
                <a:gd name="connsiteX1010" fmla="*/ 142906 w 212804"/>
                <a:gd name="connsiteY1010" fmla="*/ 156690 h 355504"/>
                <a:gd name="connsiteX1011" fmla="*/ 147340 w 212804"/>
                <a:gd name="connsiteY1011" fmla="*/ 158217 h 355504"/>
                <a:gd name="connsiteX1012" fmla="*/ 148473 w 212804"/>
                <a:gd name="connsiteY1012" fmla="*/ 158250 h 355504"/>
                <a:gd name="connsiteX1013" fmla="*/ 149400 w 212804"/>
                <a:gd name="connsiteY1013" fmla="*/ 158536 h 355504"/>
                <a:gd name="connsiteX1014" fmla="*/ 151383 w 212804"/>
                <a:gd name="connsiteY1014" fmla="*/ 159600 h 355504"/>
                <a:gd name="connsiteX1015" fmla="*/ 152311 w 212804"/>
                <a:gd name="connsiteY1015" fmla="*/ 160445 h 355504"/>
                <a:gd name="connsiteX1016" fmla="*/ 151174 w 212804"/>
                <a:gd name="connsiteY1016" fmla="*/ 162199 h 355504"/>
                <a:gd name="connsiteX1017" fmla="*/ 146771 w 212804"/>
                <a:gd name="connsiteY1017" fmla="*/ 162589 h 355504"/>
                <a:gd name="connsiteX1018" fmla="*/ 145499 w 212804"/>
                <a:gd name="connsiteY1018" fmla="*/ 163910 h 355504"/>
                <a:gd name="connsiteX1019" fmla="*/ 146793 w 212804"/>
                <a:gd name="connsiteY1019" fmla="*/ 166560 h 355504"/>
                <a:gd name="connsiteX1020" fmla="*/ 148905 w 212804"/>
                <a:gd name="connsiteY1020" fmla="*/ 168732 h 355504"/>
                <a:gd name="connsiteX1021" fmla="*/ 150259 w 212804"/>
                <a:gd name="connsiteY1021" fmla="*/ 170489 h 355504"/>
                <a:gd name="connsiteX1022" fmla="*/ 151462 w 212804"/>
                <a:gd name="connsiteY1022" fmla="*/ 172380 h 355504"/>
                <a:gd name="connsiteX1023" fmla="*/ 151404 w 212804"/>
                <a:gd name="connsiteY1023" fmla="*/ 174132 h 355504"/>
                <a:gd name="connsiteX1024" fmla="*/ 150708 w 212804"/>
                <a:gd name="connsiteY1024" fmla="*/ 175955 h 355504"/>
                <a:gd name="connsiteX1025" fmla="*/ 152645 w 212804"/>
                <a:gd name="connsiteY1025" fmla="*/ 175810 h 355504"/>
                <a:gd name="connsiteX1026" fmla="*/ 154468 w 212804"/>
                <a:gd name="connsiteY1026" fmla="*/ 176198 h 355504"/>
                <a:gd name="connsiteX1027" fmla="*/ 156988 w 212804"/>
                <a:gd name="connsiteY1027" fmla="*/ 177722 h 355504"/>
                <a:gd name="connsiteX1028" fmla="*/ 157771 w 212804"/>
                <a:gd name="connsiteY1028" fmla="*/ 177878 h 355504"/>
                <a:gd name="connsiteX1029" fmla="*/ 158616 w 212804"/>
                <a:gd name="connsiteY1029" fmla="*/ 177635 h 355504"/>
                <a:gd name="connsiteX1030" fmla="*/ 158495 w 212804"/>
                <a:gd name="connsiteY1030" fmla="*/ 183134 h 355504"/>
                <a:gd name="connsiteX1031" fmla="*/ 156780 w 212804"/>
                <a:gd name="connsiteY1031" fmla="*/ 188167 h 355504"/>
                <a:gd name="connsiteX1032" fmla="*/ 154612 w 212804"/>
                <a:gd name="connsiteY1032" fmla="*/ 187541 h 355504"/>
                <a:gd name="connsiteX1033" fmla="*/ 152757 w 212804"/>
                <a:gd name="connsiteY1033" fmla="*/ 185413 h 355504"/>
                <a:gd name="connsiteX1034" fmla="*/ 153135 w 212804"/>
                <a:gd name="connsiteY1034" fmla="*/ 182824 h 355504"/>
                <a:gd name="connsiteX1035" fmla="*/ 154321 w 212804"/>
                <a:gd name="connsiteY1035" fmla="*/ 180319 h 355504"/>
                <a:gd name="connsiteX1036" fmla="*/ 153645 w 212804"/>
                <a:gd name="connsiteY1036" fmla="*/ 179790 h 355504"/>
                <a:gd name="connsiteX1037" fmla="*/ 152449 w 212804"/>
                <a:gd name="connsiteY1037" fmla="*/ 179999 h 355504"/>
                <a:gd name="connsiteX1038" fmla="*/ 151088 w 212804"/>
                <a:gd name="connsiteY1038" fmla="*/ 180563 h 355504"/>
                <a:gd name="connsiteX1039" fmla="*/ 149622 w 212804"/>
                <a:gd name="connsiteY1039" fmla="*/ 180757 h 355504"/>
                <a:gd name="connsiteX1040" fmla="*/ 147205 w 212804"/>
                <a:gd name="connsiteY1040" fmla="*/ 180424 h 355504"/>
                <a:gd name="connsiteX1041" fmla="*/ 142243 w 212804"/>
                <a:gd name="connsiteY1041" fmla="*/ 177696 h 355504"/>
                <a:gd name="connsiteX1042" fmla="*/ 140222 w 212804"/>
                <a:gd name="connsiteY1042" fmla="*/ 177449 h 355504"/>
                <a:gd name="connsiteX1043" fmla="*/ 139769 w 212804"/>
                <a:gd name="connsiteY1043" fmla="*/ 176214 h 355504"/>
                <a:gd name="connsiteX1044" fmla="*/ 139881 w 212804"/>
                <a:gd name="connsiteY1044" fmla="*/ 173592 h 355504"/>
                <a:gd name="connsiteX1045" fmla="*/ 137901 w 212804"/>
                <a:gd name="connsiteY1045" fmla="*/ 170489 h 355504"/>
                <a:gd name="connsiteX1046" fmla="*/ 137584 w 212804"/>
                <a:gd name="connsiteY1046" fmla="*/ 169378 h 355504"/>
                <a:gd name="connsiteX1047" fmla="*/ 136957 w 212804"/>
                <a:gd name="connsiteY1047" fmla="*/ 168503 h 355504"/>
                <a:gd name="connsiteX1048" fmla="*/ 131051 w 212804"/>
                <a:gd name="connsiteY1048" fmla="*/ 165122 h 355504"/>
                <a:gd name="connsiteX1049" fmla="*/ 130328 w 212804"/>
                <a:gd name="connsiteY1049" fmla="*/ 164553 h 355504"/>
                <a:gd name="connsiteX1050" fmla="*/ 128512 w 212804"/>
                <a:gd name="connsiteY1050" fmla="*/ 161854 h 355504"/>
                <a:gd name="connsiteX1051" fmla="*/ 124396 w 212804"/>
                <a:gd name="connsiteY1051" fmla="*/ 158011 h 355504"/>
                <a:gd name="connsiteX1052" fmla="*/ 123243 w 212804"/>
                <a:gd name="connsiteY1052" fmla="*/ 157618 h 355504"/>
                <a:gd name="connsiteX1053" fmla="*/ 121988 w 212804"/>
                <a:gd name="connsiteY1053" fmla="*/ 157507 h 355504"/>
                <a:gd name="connsiteX1054" fmla="*/ 121582 w 212804"/>
                <a:gd name="connsiteY1054" fmla="*/ 158482 h 355504"/>
                <a:gd name="connsiteX1055" fmla="*/ 122152 w 212804"/>
                <a:gd name="connsiteY1055" fmla="*/ 159981 h 355504"/>
                <a:gd name="connsiteX1056" fmla="*/ 122384 w 212804"/>
                <a:gd name="connsiteY1056" fmla="*/ 161268 h 355504"/>
                <a:gd name="connsiteX1057" fmla="*/ 122295 w 212804"/>
                <a:gd name="connsiteY1057" fmla="*/ 162617 h 355504"/>
                <a:gd name="connsiteX1058" fmla="*/ 122467 w 212804"/>
                <a:gd name="connsiteY1058" fmla="*/ 163661 h 355504"/>
                <a:gd name="connsiteX1059" fmla="*/ 124418 w 212804"/>
                <a:gd name="connsiteY1059" fmla="*/ 165796 h 355504"/>
                <a:gd name="connsiteX1060" fmla="*/ 124709 w 212804"/>
                <a:gd name="connsiteY1060" fmla="*/ 166806 h 355504"/>
                <a:gd name="connsiteX1061" fmla="*/ 126003 w 212804"/>
                <a:gd name="connsiteY1061" fmla="*/ 169547 h 355504"/>
                <a:gd name="connsiteX1062" fmla="*/ 126162 w 212804"/>
                <a:gd name="connsiteY1062" fmla="*/ 172747 h 355504"/>
                <a:gd name="connsiteX1063" fmla="*/ 124500 w 212804"/>
                <a:gd name="connsiteY1063" fmla="*/ 174074 h 355504"/>
                <a:gd name="connsiteX1064" fmla="*/ 122627 w 212804"/>
                <a:gd name="connsiteY1064" fmla="*/ 172593 h 355504"/>
                <a:gd name="connsiteX1065" fmla="*/ 122567 w 212804"/>
                <a:gd name="connsiteY1065" fmla="*/ 171387 h 355504"/>
                <a:gd name="connsiteX1066" fmla="*/ 122245 w 212804"/>
                <a:gd name="connsiteY1066" fmla="*/ 170264 h 355504"/>
                <a:gd name="connsiteX1067" fmla="*/ 120233 w 212804"/>
                <a:gd name="connsiteY1067" fmla="*/ 167355 h 355504"/>
                <a:gd name="connsiteX1068" fmla="*/ 119561 w 212804"/>
                <a:gd name="connsiteY1068" fmla="*/ 166728 h 355504"/>
                <a:gd name="connsiteX1069" fmla="*/ 115774 w 212804"/>
                <a:gd name="connsiteY1069" fmla="*/ 163855 h 355504"/>
                <a:gd name="connsiteX1070" fmla="*/ 112843 w 212804"/>
                <a:gd name="connsiteY1070" fmla="*/ 160698 h 355504"/>
                <a:gd name="connsiteX1071" fmla="*/ 106324 w 212804"/>
                <a:gd name="connsiteY1071" fmla="*/ 157334 h 355504"/>
                <a:gd name="connsiteX1072" fmla="*/ 105549 w 212804"/>
                <a:gd name="connsiteY1072" fmla="*/ 157150 h 355504"/>
                <a:gd name="connsiteX1073" fmla="*/ 104417 w 212804"/>
                <a:gd name="connsiteY1073" fmla="*/ 157404 h 355504"/>
                <a:gd name="connsiteX1074" fmla="*/ 103351 w 212804"/>
                <a:gd name="connsiteY1074" fmla="*/ 157823 h 355504"/>
                <a:gd name="connsiteX1075" fmla="*/ 100202 w 212804"/>
                <a:gd name="connsiteY1075" fmla="*/ 159486 h 355504"/>
                <a:gd name="connsiteX1076" fmla="*/ 99090 w 212804"/>
                <a:gd name="connsiteY1076" fmla="*/ 160644 h 355504"/>
                <a:gd name="connsiteX1077" fmla="*/ 98991 w 212804"/>
                <a:gd name="connsiteY1077" fmla="*/ 162422 h 355504"/>
                <a:gd name="connsiteX1078" fmla="*/ 96732 w 212804"/>
                <a:gd name="connsiteY1078" fmla="*/ 163835 h 355504"/>
                <a:gd name="connsiteX1079" fmla="*/ 93623 w 212804"/>
                <a:gd name="connsiteY1079" fmla="*/ 164034 h 355504"/>
                <a:gd name="connsiteX1080" fmla="*/ 91234 w 212804"/>
                <a:gd name="connsiteY1080" fmla="*/ 163151 h 355504"/>
                <a:gd name="connsiteX1081" fmla="*/ 89259 w 212804"/>
                <a:gd name="connsiteY1081" fmla="*/ 161380 h 355504"/>
                <a:gd name="connsiteX1082" fmla="*/ 87626 w 212804"/>
                <a:gd name="connsiteY1082" fmla="*/ 161295 h 355504"/>
                <a:gd name="connsiteX1083" fmla="*/ 85601 w 212804"/>
                <a:gd name="connsiteY1083" fmla="*/ 158527 h 355504"/>
                <a:gd name="connsiteX1084" fmla="*/ 83132 w 212804"/>
                <a:gd name="connsiteY1084" fmla="*/ 158171 h 355504"/>
                <a:gd name="connsiteX1085" fmla="*/ 81098 w 212804"/>
                <a:gd name="connsiteY1085" fmla="*/ 160335 h 355504"/>
                <a:gd name="connsiteX1086" fmla="*/ 80662 w 212804"/>
                <a:gd name="connsiteY1086" fmla="*/ 156035 h 355504"/>
                <a:gd name="connsiteX1087" fmla="*/ 80649 w 212804"/>
                <a:gd name="connsiteY1087" fmla="*/ 151689 h 355504"/>
                <a:gd name="connsiteX1088" fmla="*/ 81221 w 212804"/>
                <a:gd name="connsiteY1088" fmla="*/ 150420 h 355504"/>
                <a:gd name="connsiteX1089" fmla="*/ 82230 w 212804"/>
                <a:gd name="connsiteY1089" fmla="*/ 149362 h 355504"/>
                <a:gd name="connsiteX1090" fmla="*/ 87399 w 212804"/>
                <a:gd name="connsiteY1090" fmla="*/ 144806 h 355504"/>
                <a:gd name="connsiteX1091" fmla="*/ 88051 w 212804"/>
                <a:gd name="connsiteY1091" fmla="*/ 143342 h 355504"/>
                <a:gd name="connsiteX1092" fmla="*/ 87825 w 212804"/>
                <a:gd name="connsiteY1092" fmla="*/ 141375 h 355504"/>
                <a:gd name="connsiteX1093" fmla="*/ 86648 w 212804"/>
                <a:gd name="connsiteY1093" fmla="*/ 139778 h 355504"/>
                <a:gd name="connsiteX1094" fmla="*/ 84799 w 212804"/>
                <a:gd name="connsiteY1094" fmla="*/ 138807 h 355504"/>
                <a:gd name="connsiteX1095" fmla="*/ 82664 w 212804"/>
                <a:gd name="connsiteY1095" fmla="*/ 138404 h 355504"/>
                <a:gd name="connsiteX1096" fmla="*/ 81124 w 212804"/>
                <a:gd name="connsiteY1096" fmla="*/ 137510 h 355504"/>
                <a:gd name="connsiteX1097" fmla="*/ 79917 w 212804"/>
                <a:gd name="connsiteY1097" fmla="*/ 136040 h 355504"/>
                <a:gd name="connsiteX1098" fmla="*/ 79100 w 212804"/>
                <a:gd name="connsiteY1098" fmla="*/ 138641 h 355504"/>
                <a:gd name="connsiteX1099" fmla="*/ 79896 w 212804"/>
                <a:gd name="connsiteY1099" fmla="*/ 142514 h 355504"/>
                <a:gd name="connsiteX1100" fmla="*/ 80027 w 212804"/>
                <a:gd name="connsiteY1100" fmla="*/ 145032 h 355504"/>
                <a:gd name="connsiteX1101" fmla="*/ 79297 w 212804"/>
                <a:gd name="connsiteY1101" fmla="*/ 145974 h 355504"/>
                <a:gd name="connsiteX1102" fmla="*/ 77972 w 212804"/>
                <a:gd name="connsiteY1102" fmla="*/ 146001 h 355504"/>
                <a:gd name="connsiteX1103" fmla="*/ 76712 w 212804"/>
                <a:gd name="connsiteY1103" fmla="*/ 145703 h 355504"/>
                <a:gd name="connsiteX1104" fmla="*/ 75769 w 212804"/>
                <a:gd name="connsiteY1104" fmla="*/ 144801 h 355504"/>
                <a:gd name="connsiteX1105" fmla="*/ 75087 w 212804"/>
                <a:gd name="connsiteY1105" fmla="*/ 142205 h 355504"/>
                <a:gd name="connsiteX1106" fmla="*/ 73287 w 212804"/>
                <a:gd name="connsiteY1106" fmla="*/ 140487 h 355504"/>
                <a:gd name="connsiteX1107" fmla="*/ 72556 w 212804"/>
                <a:gd name="connsiteY1107" fmla="*/ 138027 h 355504"/>
                <a:gd name="connsiteX1108" fmla="*/ 71740 w 212804"/>
                <a:gd name="connsiteY1108" fmla="*/ 137677 h 355504"/>
                <a:gd name="connsiteX1109" fmla="*/ 70061 w 212804"/>
                <a:gd name="connsiteY1109" fmla="*/ 137867 h 355504"/>
                <a:gd name="connsiteX1110" fmla="*/ 68827 w 212804"/>
                <a:gd name="connsiteY1110" fmla="*/ 136722 h 355504"/>
                <a:gd name="connsiteX1111" fmla="*/ 67995 w 212804"/>
                <a:gd name="connsiteY1111" fmla="*/ 133850 h 355504"/>
                <a:gd name="connsiteX1112" fmla="*/ 67820 w 212804"/>
                <a:gd name="connsiteY1112" fmla="*/ 130766 h 355504"/>
                <a:gd name="connsiteX1113" fmla="*/ 67120 w 212804"/>
                <a:gd name="connsiteY1113" fmla="*/ 128171 h 355504"/>
                <a:gd name="connsiteX1114" fmla="*/ 66112 w 212804"/>
                <a:gd name="connsiteY1114" fmla="*/ 125660 h 355504"/>
                <a:gd name="connsiteX1115" fmla="*/ 65525 w 212804"/>
                <a:gd name="connsiteY1115" fmla="*/ 123608 h 355504"/>
                <a:gd name="connsiteX1116" fmla="*/ 64614 w 212804"/>
                <a:gd name="connsiteY1116" fmla="*/ 114395 h 355504"/>
                <a:gd name="connsiteX1117" fmla="*/ 64389 w 212804"/>
                <a:gd name="connsiteY1117" fmla="*/ 113549 h 355504"/>
                <a:gd name="connsiteX1118" fmla="*/ 63907 w 212804"/>
                <a:gd name="connsiteY1118" fmla="*/ 112852 h 355504"/>
                <a:gd name="connsiteX1119" fmla="*/ 62769 w 212804"/>
                <a:gd name="connsiteY1119" fmla="*/ 111805 h 355504"/>
                <a:gd name="connsiteX1120" fmla="*/ 61901 w 212804"/>
                <a:gd name="connsiteY1120" fmla="*/ 110524 h 355504"/>
                <a:gd name="connsiteX1121" fmla="*/ 61744 w 212804"/>
                <a:gd name="connsiteY1121" fmla="*/ 109468 h 355504"/>
                <a:gd name="connsiteX1122" fmla="*/ 61981 w 212804"/>
                <a:gd name="connsiteY1122" fmla="*/ 104928 h 355504"/>
                <a:gd name="connsiteX1123" fmla="*/ 62372 w 212804"/>
                <a:gd name="connsiteY1123" fmla="*/ 103834 h 355504"/>
                <a:gd name="connsiteX1124" fmla="*/ 63268 w 212804"/>
                <a:gd name="connsiteY1124" fmla="*/ 103306 h 355504"/>
                <a:gd name="connsiteX1125" fmla="*/ 64493 w 212804"/>
                <a:gd name="connsiteY1125" fmla="*/ 104195 h 355504"/>
                <a:gd name="connsiteX1126" fmla="*/ 65471 w 212804"/>
                <a:gd name="connsiteY1126" fmla="*/ 105299 h 355504"/>
                <a:gd name="connsiteX1127" fmla="*/ 66682 w 212804"/>
                <a:gd name="connsiteY1127" fmla="*/ 105829 h 355504"/>
                <a:gd name="connsiteX1128" fmla="*/ 67749 w 212804"/>
                <a:gd name="connsiteY1128" fmla="*/ 106529 h 355504"/>
                <a:gd name="connsiteX1129" fmla="*/ 69753 w 212804"/>
                <a:gd name="connsiteY1129" fmla="*/ 109214 h 355504"/>
                <a:gd name="connsiteX1130" fmla="*/ 70543 w 212804"/>
                <a:gd name="connsiteY1130" fmla="*/ 109635 h 355504"/>
                <a:gd name="connsiteX1131" fmla="*/ 73009 w 212804"/>
                <a:gd name="connsiteY1131" fmla="*/ 109549 h 355504"/>
                <a:gd name="connsiteX1132" fmla="*/ 74463 w 212804"/>
                <a:gd name="connsiteY1132" fmla="*/ 109208 h 355504"/>
                <a:gd name="connsiteX1133" fmla="*/ 75164 w 212804"/>
                <a:gd name="connsiteY1133" fmla="*/ 108230 h 355504"/>
                <a:gd name="connsiteX1134" fmla="*/ 75607 w 212804"/>
                <a:gd name="connsiteY1134" fmla="*/ 107065 h 355504"/>
                <a:gd name="connsiteX1135" fmla="*/ 75618 w 212804"/>
                <a:gd name="connsiteY1135" fmla="*/ 105688 h 355504"/>
                <a:gd name="connsiteX1136" fmla="*/ 74197 w 212804"/>
                <a:gd name="connsiteY1136" fmla="*/ 101632 h 355504"/>
                <a:gd name="connsiteX1137" fmla="*/ 73760 w 212804"/>
                <a:gd name="connsiteY1137" fmla="*/ 98704 h 355504"/>
                <a:gd name="connsiteX1138" fmla="*/ 73741 w 212804"/>
                <a:gd name="connsiteY1138" fmla="*/ 96064 h 355504"/>
                <a:gd name="connsiteX1139" fmla="*/ 74112 w 212804"/>
                <a:gd name="connsiteY1139" fmla="*/ 93418 h 355504"/>
                <a:gd name="connsiteX1140" fmla="*/ 76052 w 212804"/>
                <a:gd name="connsiteY1140" fmla="*/ 89013 h 355504"/>
                <a:gd name="connsiteX1141" fmla="*/ 76300 w 212804"/>
                <a:gd name="connsiteY1141" fmla="*/ 85953 h 355504"/>
                <a:gd name="connsiteX1142" fmla="*/ 76114 w 212804"/>
                <a:gd name="connsiteY1142" fmla="*/ 81860 h 355504"/>
                <a:gd name="connsiteX1143" fmla="*/ 76455 w 212804"/>
                <a:gd name="connsiteY1143" fmla="*/ 79423 h 355504"/>
                <a:gd name="connsiteX1144" fmla="*/ 76397 w 212804"/>
                <a:gd name="connsiteY1144" fmla="*/ 78023 h 355504"/>
                <a:gd name="connsiteX1145" fmla="*/ 75238 w 212804"/>
                <a:gd name="connsiteY1145" fmla="*/ 75818 h 355504"/>
                <a:gd name="connsiteX1146" fmla="*/ 74935 w 212804"/>
                <a:gd name="connsiteY1146" fmla="*/ 73469 h 355504"/>
                <a:gd name="connsiteX1147" fmla="*/ 78179 w 212804"/>
                <a:gd name="connsiteY1147" fmla="*/ 61500 h 355504"/>
                <a:gd name="connsiteX1148" fmla="*/ 79193 w 212804"/>
                <a:gd name="connsiteY1148" fmla="*/ 59183 h 355504"/>
                <a:gd name="connsiteX1149" fmla="*/ 79934 w 212804"/>
                <a:gd name="connsiteY1149" fmla="*/ 56790 h 355504"/>
                <a:gd name="connsiteX1150" fmla="*/ 80271 w 212804"/>
                <a:gd name="connsiteY1150" fmla="*/ 53609 h 355504"/>
                <a:gd name="connsiteX1151" fmla="*/ 82696 w 212804"/>
                <a:gd name="connsiteY1151" fmla="*/ 52738 h 355504"/>
                <a:gd name="connsiteX1152" fmla="*/ 85005 w 212804"/>
                <a:gd name="connsiteY1152" fmla="*/ 51423 h 355504"/>
                <a:gd name="connsiteX1153" fmla="*/ 86198 w 212804"/>
                <a:gd name="connsiteY1153" fmla="*/ 51526 h 355504"/>
                <a:gd name="connsiteX1154" fmla="*/ 87464 w 212804"/>
                <a:gd name="connsiteY1154" fmla="*/ 51842 h 355504"/>
                <a:gd name="connsiteX1155" fmla="*/ 90259 w 212804"/>
                <a:gd name="connsiteY1155" fmla="*/ 51189 h 355504"/>
                <a:gd name="connsiteX1156" fmla="*/ 109982 w 212804"/>
                <a:gd name="connsiteY1156" fmla="*/ 42103 h 355504"/>
                <a:gd name="connsiteX1157" fmla="*/ 110967 w 212804"/>
                <a:gd name="connsiteY1157" fmla="*/ 43336 h 355504"/>
                <a:gd name="connsiteX1158" fmla="*/ 109502 w 212804"/>
                <a:gd name="connsiteY1158" fmla="*/ 44754 h 355504"/>
                <a:gd name="connsiteX1159" fmla="*/ 108099 w 212804"/>
                <a:gd name="connsiteY1159" fmla="*/ 46399 h 355504"/>
                <a:gd name="connsiteX1160" fmla="*/ 107369 w 212804"/>
                <a:gd name="connsiteY1160" fmla="*/ 45945 h 355504"/>
                <a:gd name="connsiteX1161" fmla="*/ 108155 w 212804"/>
                <a:gd name="connsiteY1161" fmla="*/ 44346 h 355504"/>
                <a:gd name="connsiteX1162" fmla="*/ 108133 w 212804"/>
                <a:gd name="connsiteY1162" fmla="*/ 43791 h 355504"/>
                <a:gd name="connsiteX1163" fmla="*/ 108777 w 212804"/>
                <a:gd name="connsiteY1163" fmla="*/ 42536 h 355504"/>
                <a:gd name="connsiteX1164" fmla="*/ 93837 w 212804"/>
                <a:gd name="connsiteY1164" fmla="*/ 38134 h 355504"/>
                <a:gd name="connsiteX1165" fmla="*/ 94533 w 212804"/>
                <a:gd name="connsiteY1165" fmla="*/ 39064 h 355504"/>
                <a:gd name="connsiteX1166" fmla="*/ 94700 w 212804"/>
                <a:gd name="connsiteY1166" fmla="*/ 40454 h 355504"/>
                <a:gd name="connsiteX1167" fmla="*/ 94577 w 212804"/>
                <a:gd name="connsiteY1167" fmla="*/ 41995 h 355504"/>
                <a:gd name="connsiteX1168" fmla="*/ 93458 w 212804"/>
                <a:gd name="connsiteY1168" fmla="*/ 41181 h 355504"/>
                <a:gd name="connsiteX1169" fmla="*/ 93210 w 212804"/>
                <a:gd name="connsiteY1169" fmla="*/ 40018 h 355504"/>
                <a:gd name="connsiteX1170" fmla="*/ 93323 w 212804"/>
                <a:gd name="connsiteY1170" fmla="*/ 39159 h 355504"/>
                <a:gd name="connsiteX1171" fmla="*/ 97781 w 212804"/>
                <a:gd name="connsiteY1171" fmla="*/ 33185 h 355504"/>
                <a:gd name="connsiteX1172" fmla="*/ 100641 w 212804"/>
                <a:gd name="connsiteY1172" fmla="*/ 34043 h 355504"/>
                <a:gd name="connsiteX1173" fmla="*/ 100870 w 212804"/>
                <a:gd name="connsiteY1173" fmla="*/ 36122 h 355504"/>
                <a:gd name="connsiteX1174" fmla="*/ 99561 w 212804"/>
                <a:gd name="connsiteY1174" fmla="*/ 36076 h 355504"/>
                <a:gd name="connsiteX1175" fmla="*/ 97589 w 212804"/>
                <a:gd name="connsiteY1175" fmla="*/ 34812 h 355504"/>
                <a:gd name="connsiteX1176" fmla="*/ 97405 w 212804"/>
                <a:gd name="connsiteY1176" fmla="*/ 34173 h 355504"/>
                <a:gd name="connsiteX1177" fmla="*/ 97436 w 212804"/>
                <a:gd name="connsiteY1177" fmla="*/ 33636 h 355504"/>
                <a:gd name="connsiteX1178" fmla="*/ 111040 w 212804"/>
                <a:gd name="connsiteY1178" fmla="*/ 8342 h 355504"/>
                <a:gd name="connsiteX1179" fmla="*/ 111923 w 212804"/>
                <a:gd name="connsiteY1179" fmla="*/ 8577 h 355504"/>
                <a:gd name="connsiteX1180" fmla="*/ 110351 w 212804"/>
                <a:gd name="connsiteY1180" fmla="*/ 10962 h 355504"/>
                <a:gd name="connsiteX1181" fmla="*/ 109936 w 212804"/>
                <a:gd name="connsiteY1181" fmla="*/ 11242 h 355504"/>
                <a:gd name="connsiteX1182" fmla="*/ 109334 w 212804"/>
                <a:gd name="connsiteY1182" fmla="*/ 11111 h 355504"/>
                <a:gd name="connsiteX1183" fmla="*/ 109935 w 212804"/>
                <a:gd name="connsiteY1183" fmla="*/ 8938 h 355504"/>
                <a:gd name="connsiteX1184" fmla="*/ 107871 w 212804"/>
                <a:gd name="connsiteY1184" fmla="*/ 0 h 355504"/>
                <a:gd name="connsiteX1185" fmla="*/ 108293 w 212804"/>
                <a:gd name="connsiteY1185" fmla="*/ 47 h 355504"/>
                <a:gd name="connsiteX1186" fmla="*/ 108540 w 212804"/>
                <a:gd name="connsiteY1186" fmla="*/ 1370 h 355504"/>
                <a:gd name="connsiteX1187" fmla="*/ 107467 w 212804"/>
                <a:gd name="connsiteY1187" fmla="*/ 3253 h 355504"/>
                <a:gd name="connsiteX1188" fmla="*/ 106605 w 212804"/>
                <a:gd name="connsiteY1188" fmla="*/ 3233 h 355504"/>
                <a:gd name="connsiteX1189" fmla="*/ 106734 w 212804"/>
                <a:gd name="connsiteY1189" fmla="*/ 2183 h 355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</a:cxnLst>
              <a:rect l="l" t="t" r="r" b="b"/>
              <a:pathLst>
                <a:path w="212804" h="355504">
                  <a:moveTo>
                    <a:pt x="71610" y="349299"/>
                  </a:moveTo>
                  <a:lnTo>
                    <a:pt x="72083" y="350541"/>
                  </a:lnTo>
                  <a:lnTo>
                    <a:pt x="72546" y="351150"/>
                  </a:lnTo>
                  <a:lnTo>
                    <a:pt x="71946" y="352488"/>
                  </a:lnTo>
                  <a:lnTo>
                    <a:pt x="71247" y="353108"/>
                  </a:lnTo>
                  <a:lnTo>
                    <a:pt x="70327" y="352758"/>
                  </a:lnTo>
                  <a:lnTo>
                    <a:pt x="69627" y="352064"/>
                  </a:lnTo>
                  <a:lnTo>
                    <a:pt x="69234" y="353093"/>
                  </a:lnTo>
                  <a:lnTo>
                    <a:pt x="67304" y="353489"/>
                  </a:lnTo>
                  <a:lnTo>
                    <a:pt x="66084" y="355075"/>
                  </a:lnTo>
                  <a:lnTo>
                    <a:pt x="64303" y="355504"/>
                  </a:lnTo>
                  <a:lnTo>
                    <a:pt x="63063" y="355298"/>
                  </a:lnTo>
                  <a:lnTo>
                    <a:pt x="63193" y="353887"/>
                  </a:lnTo>
                  <a:lnTo>
                    <a:pt x="66628" y="351775"/>
                  </a:lnTo>
                  <a:lnTo>
                    <a:pt x="68772" y="350995"/>
                  </a:lnTo>
                  <a:lnTo>
                    <a:pt x="70664" y="349469"/>
                  </a:lnTo>
                  <a:close/>
                  <a:moveTo>
                    <a:pt x="89956" y="332531"/>
                  </a:moveTo>
                  <a:lnTo>
                    <a:pt x="92647" y="332983"/>
                  </a:lnTo>
                  <a:lnTo>
                    <a:pt x="93851" y="334583"/>
                  </a:lnTo>
                  <a:lnTo>
                    <a:pt x="95370" y="334167"/>
                  </a:lnTo>
                  <a:lnTo>
                    <a:pt x="97779" y="334615"/>
                  </a:lnTo>
                  <a:lnTo>
                    <a:pt x="98291" y="335449"/>
                  </a:lnTo>
                  <a:lnTo>
                    <a:pt x="98212" y="335996"/>
                  </a:lnTo>
                  <a:lnTo>
                    <a:pt x="95633" y="337546"/>
                  </a:lnTo>
                  <a:lnTo>
                    <a:pt x="93947" y="335932"/>
                  </a:lnTo>
                  <a:lnTo>
                    <a:pt x="90958" y="337035"/>
                  </a:lnTo>
                  <a:lnTo>
                    <a:pt x="89532" y="336371"/>
                  </a:lnTo>
                  <a:lnTo>
                    <a:pt x="87589" y="336965"/>
                  </a:lnTo>
                  <a:lnTo>
                    <a:pt x="86389" y="335712"/>
                  </a:lnTo>
                  <a:lnTo>
                    <a:pt x="86872" y="334507"/>
                  </a:lnTo>
                  <a:close/>
                  <a:moveTo>
                    <a:pt x="112524" y="318217"/>
                  </a:moveTo>
                  <a:lnTo>
                    <a:pt x="117605" y="320478"/>
                  </a:lnTo>
                  <a:lnTo>
                    <a:pt x="118389" y="321293"/>
                  </a:lnTo>
                  <a:lnTo>
                    <a:pt x="116801" y="321791"/>
                  </a:lnTo>
                  <a:lnTo>
                    <a:pt x="115679" y="323942"/>
                  </a:lnTo>
                  <a:lnTo>
                    <a:pt x="113288" y="325154"/>
                  </a:lnTo>
                  <a:lnTo>
                    <a:pt x="111045" y="325460"/>
                  </a:lnTo>
                  <a:lnTo>
                    <a:pt x="110332" y="325432"/>
                  </a:lnTo>
                  <a:lnTo>
                    <a:pt x="108578" y="323172"/>
                  </a:lnTo>
                  <a:lnTo>
                    <a:pt x="108414" y="322170"/>
                  </a:lnTo>
                  <a:lnTo>
                    <a:pt x="107004" y="321038"/>
                  </a:lnTo>
                  <a:lnTo>
                    <a:pt x="107520" y="319920"/>
                  </a:lnTo>
                  <a:lnTo>
                    <a:pt x="109353" y="319650"/>
                  </a:lnTo>
                  <a:close/>
                  <a:moveTo>
                    <a:pt x="193369" y="308334"/>
                  </a:moveTo>
                  <a:lnTo>
                    <a:pt x="194893" y="309554"/>
                  </a:lnTo>
                  <a:lnTo>
                    <a:pt x="194920" y="313285"/>
                  </a:lnTo>
                  <a:lnTo>
                    <a:pt x="194574" y="314551"/>
                  </a:lnTo>
                  <a:lnTo>
                    <a:pt x="193216" y="311569"/>
                  </a:lnTo>
                  <a:lnTo>
                    <a:pt x="192673" y="310831"/>
                  </a:lnTo>
                  <a:close/>
                  <a:moveTo>
                    <a:pt x="131464" y="302825"/>
                  </a:moveTo>
                  <a:lnTo>
                    <a:pt x="131956" y="303365"/>
                  </a:lnTo>
                  <a:lnTo>
                    <a:pt x="132198" y="303885"/>
                  </a:lnTo>
                  <a:lnTo>
                    <a:pt x="132101" y="304434"/>
                  </a:lnTo>
                  <a:lnTo>
                    <a:pt x="129799" y="305466"/>
                  </a:lnTo>
                  <a:lnTo>
                    <a:pt x="129027" y="305436"/>
                  </a:lnTo>
                  <a:lnTo>
                    <a:pt x="128848" y="303715"/>
                  </a:lnTo>
                  <a:lnTo>
                    <a:pt x="129414" y="302935"/>
                  </a:lnTo>
                  <a:lnTo>
                    <a:pt x="130499" y="303627"/>
                  </a:lnTo>
                  <a:close/>
                  <a:moveTo>
                    <a:pt x="2378" y="288685"/>
                  </a:moveTo>
                  <a:lnTo>
                    <a:pt x="2440" y="292818"/>
                  </a:lnTo>
                  <a:lnTo>
                    <a:pt x="1300" y="294505"/>
                  </a:lnTo>
                  <a:lnTo>
                    <a:pt x="0" y="292561"/>
                  </a:lnTo>
                  <a:lnTo>
                    <a:pt x="138" y="289853"/>
                  </a:lnTo>
                  <a:lnTo>
                    <a:pt x="531" y="289099"/>
                  </a:lnTo>
                  <a:close/>
                  <a:moveTo>
                    <a:pt x="6885" y="283213"/>
                  </a:moveTo>
                  <a:lnTo>
                    <a:pt x="7962" y="283357"/>
                  </a:lnTo>
                  <a:lnTo>
                    <a:pt x="8495" y="283786"/>
                  </a:lnTo>
                  <a:lnTo>
                    <a:pt x="8529" y="285446"/>
                  </a:lnTo>
                  <a:lnTo>
                    <a:pt x="7020" y="285973"/>
                  </a:lnTo>
                  <a:lnTo>
                    <a:pt x="6694" y="284581"/>
                  </a:lnTo>
                  <a:close/>
                  <a:moveTo>
                    <a:pt x="171751" y="262534"/>
                  </a:moveTo>
                  <a:lnTo>
                    <a:pt x="172933" y="263717"/>
                  </a:lnTo>
                  <a:lnTo>
                    <a:pt x="173295" y="264775"/>
                  </a:lnTo>
                  <a:lnTo>
                    <a:pt x="172660" y="266102"/>
                  </a:lnTo>
                  <a:lnTo>
                    <a:pt x="170182" y="265005"/>
                  </a:lnTo>
                  <a:lnTo>
                    <a:pt x="169589" y="264051"/>
                  </a:lnTo>
                  <a:lnTo>
                    <a:pt x="169905" y="262920"/>
                  </a:lnTo>
                  <a:lnTo>
                    <a:pt x="171116" y="262537"/>
                  </a:lnTo>
                  <a:close/>
                  <a:moveTo>
                    <a:pt x="147827" y="261740"/>
                  </a:moveTo>
                  <a:lnTo>
                    <a:pt x="148773" y="262664"/>
                  </a:lnTo>
                  <a:lnTo>
                    <a:pt x="148963" y="264977"/>
                  </a:lnTo>
                  <a:lnTo>
                    <a:pt x="146933" y="265651"/>
                  </a:lnTo>
                  <a:lnTo>
                    <a:pt x="145303" y="265063"/>
                  </a:lnTo>
                  <a:lnTo>
                    <a:pt x="144258" y="263672"/>
                  </a:lnTo>
                  <a:lnTo>
                    <a:pt x="144260" y="263150"/>
                  </a:lnTo>
                  <a:lnTo>
                    <a:pt x="145180" y="263193"/>
                  </a:lnTo>
                  <a:lnTo>
                    <a:pt x="147191" y="261974"/>
                  </a:lnTo>
                  <a:close/>
                  <a:moveTo>
                    <a:pt x="198970" y="251024"/>
                  </a:moveTo>
                  <a:lnTo>
                    <a:pt x="199527" y="252687"/>
                  </a:lnTo>
                  <a:lnTo>
                    <a:pt x="199031" y="254718"/>
                  </a:lnTo>
                  <a:lnTo>
                    <a:pt x="198632" y="255289"/>
                  </a:lnTo>
                  <a:lnTo>
                    <a:pt x="197960" y="254095"/>
                  </a:lnTo>
                  <a:lnTo>
                    <a:pt x="198545" y="251468"/>
                  </a:lnTo>
                  <a:close/>
                  <a:moveTo>
                    <a:pt x="189089" y="251023"/>
                  </a:moveTo>
                  <a:lnTo>
                    <a:pt x="191777" y="253358"/>
                  </a:lnTo>
                  <a:lnTo>
                    <a:pt x="196956" y="256512"/>
                  </a:lnTo>
                  <a:lnTo>
                    <a:pt x="198681" y="258441"/>
                  </a:lnTo>
                  <a:lnTo>
                    <a:pt x="199815" y="260799"/>
                  </a:lnTo>
                  <a:lnTo>
                    <a:pt x="201620" y="262142"/>
                  </a:lnTo>
                  <a:lnTo>
                    <a:pt x="203959" y="261786"/>
                  </a:lnTo>
                  <a:lnTo>
                    <a:pt x="203928" y="265170"/>
                  </a:lnTo>
                  <a:lnTo>
                    <a:pt x="204306" y="266159"/>
                  </a:lnTo>
                  <a:lnTo>
                    <a:pt x="206418" y="269023"/>
                  </a:lnTo>
                  <a:lnTo>
                    <a:pt x="206748" y="271415"/>
                  </a:lnTo>
                  <a:lnTo>
                    <a:pt x="205498" y="273660"/>
                  </a:lnTo>
                  <a:lnTo>
                    <a:pt x="204552" y="274722"/>
                  </a:lnTo>
                  <a:lnTo>
                    <a:pt x="202814" y="276259"/>
                  </a:lnTo>
                  <a:lnTo>
                    <a:pt x="202769" y="276963"/>
                  </a:lnTo>
                  <a:lnTo>
                    <a:pt x="203509" y="277756"/>
                  </a:lnTo>
                  <a:lnTo>
                    <a:pt x="205926" y="278218"/>
                  </a:lnTo>
                  <a:lnTo>
                    <a:pt x="207761" y="279452"/>
                  </a:lnTo>
                  <a:lnTo>
                    <a:pt x="208081" y="282951"/>
                  </a:lnTo>
                  <a:lnTo>
                    <a:pt x="209826" y="285710"/>
                  </a:lnTo>
                  <a:lnTo>
                    <a:pt x="209780" y="286913"/>
                  </a:lnTo>
                  <a:lnTo>
                    <a:pt x="209087" y="291838"/>
                  </a:lnTo>
                  <a:lnTo>
                    <a:pt x="209309" y="293943"/>
                  </a:lnTo>
                  <a:lnTo>
                    <a:pt x="210616" y="295630"/>
                  </a:lnTo>
                  <a:lnTo>
                    <a:pt x="211722" y="296345"/>
                  </a:lnTo>
                  <a:lnTo>
                    <a:pt x="212289" y="297403"/>
                  </a:lnTo>
                  <a:lnTo>
                    <a:pt x="212804" y="300304"/>
                  </a:lnTo>
                  <a:lnTo>
                    <a:pt x="212712" y="305232"/>
                  </a:lnTo>
                  <a:lnTo>
                    <a:pt x="212542" y="306952"/>
                  </a:lnTo>
                  <a:lnTo>
                    <a:pt x="211771" y="308550"/>
                  </a:lnTo>
                  <a:lnTo>
                    <a:pt x="209392" y="312183"/>
                  </a:lnTo>
                  <a:lnTo>
                    <a:pt x="206185" y="315072"/>
                  </a:lnTo>
                  <a:lnTo>
                    <a:pt x="204479" y="314879"/>
                  </a:lnTo>
                  <a:lnTo>
                    <a:pt x="203931" y="315733"/>
                  </a:lnTo>
                  <a:lnTo>
                    <a:pt x="204995" y="318369"/>
                  </a:lnTo>
                  <a:lnTo>
                    <a:pt x="204574" y="323932"/>
                  </a:lnTo>
                  <a:lnTo>
                    <a:pt x="203870" y="327788"/>
                  </a:lnTo>
                  <a:lnTo>
                    <a:pt x="202833" y="325837"/>
                  </a:lnTo>
                  <a:lnTo>
                    <a:pt x="202110" y="323793"/>
                  </a:lnTo>
                  <a:lnTo>
                    <a:pt x="201453" y="318381"/>
                  </a:lnTo>
                  <a:lnTo>
                    <a:pt x="200636" y="315942"/>
                  </a:lnTo>
                  <a:lnTo>
                    <a:pt x="199350" y="313712"/>
                  </a:lnTo>
                  <a:lnTo>
                    <a:pt x="198834" y="311720"/>
                  </a:lnTo>
                  <a:lnTo>
                    <a:pt x="197498" y="309858"/>
                  </a:lnTo>
                  <a:lnTo>
                    <a:pt x="195800" y="305051"/>
                  </a:lnTo>
                  <a:lnTo>
                    <a:pt x="194678" y="305298"/>
                  </a:lnTo>
                  <a:lnTo>
                    <a:pt x="192812" y="306612"/>
                  </a:lnTo>
                  <a:lnTo>
                    <a:pt x="192390" y="307517"/>
                  </a:lnTo>
                  <a:lnTo>
                    <a:pt x="192170" y="308889"/>
                  </a:lnTo>
                  <a:lnTo>
                    <a:pt x="191738" y="310123"/>
                  </a:lnTo>
                  <a:lnTo>
                    <a:pt x="189560" y="312089"/>
                  </a:lnTo>
                  <a:lnTo>
                    <a:pt x="187847" y="314432"/>
                  </a:lnTo>
                  <a:lnTo>
                    <a:pt x="186437" y="316995"/>
                  </a:lnTo>
                  <a:lnTo>
                    <a:pt x="185988" y="319345"/>
                  </a:lnTo>
                  <a:lnTo>
                    <a:pt x="187143" y="321184"/>
                  </a:lnTo>
                  <a:lnTo>
                    <a:pt x="188331" y="321926"/>
                  </a:lnTo>
                  <a:lnTo>
                    <a:pt x="190055" y="323572"/>
                  </a:lnTo>
                  <a:lnTo>
                    <a:pt x="190583" y="324323"/>
                  </a:lnTo>
                  <a:lnTo>
                    <a:pt x="192401" y="329668"/>
                  </a:lnTo>
                  <a:lnTo>
                    <a:pt x="192341" y="335135"/>
                  </a:lnTo>
                  <a:lnTo>
                    <a:pt x="191011" y="337542"/>
                  </a:lnTo>
                  <a:lnTo>
                    <a:pt x="187651" y="342110"/>
                  </a:lnTo>
                  <a:lnTo>
                    <a:pt x="185233" y="343558"/>
                  </a:lnTo>
                  <a:lnTo>
                    <a:pt x="183937" y="342819"/>
                  </a:lnTo>
                  <a:lnTo>
                    <a:pt x="182900" y="340054"/>
                  </a:lnTo>
                  <a:lnTo>
                    <a:pt x="182727" y="338914"/>
                  </a:lnTo>
                  <a:lnTo>
                    <a:pt x="183429" y="336312"/>
                  </a:lnTo>
                  <a:lnTo>
                    <a:pt x="183507" y="333926"/>
                  </a:lnTo>
                  <a:lnTo>
                    <a:pt x="182691" y="333118"/>
                  </a:lnTo>
                  <a:lnTo>
                    <a:pt x="181795" y="333274"/>
                  </a:lnTo>
                  <a:lnTo>
                    <a:pt x="181419" y="333619"/>
                  </a:lnTo>
                  <a:lnTo>
                    <a:pt x="179255" y="336741"/>
                  </a:lnTo>
                  <a:lnTo>
                    <a:pt x="178352" y="337531"/>
                  </a:lnTo>
                  <a:lnTo>
                    <a:pt x="177022" y="337640"/>
                  </a:lnTo>
                  <a:lnTo>
                    <a:pt x="175964" y="337427"/>
                  </a:lnTo>
                  <a:lnTo>
                    <a:pt x="169530" y="334701"/>
                  </a:lnTo>
                  <a:lnTo>
                    <a:pt x="164277" y="332004"/>
                  </a:lnTo>
                  <a:lnTo>
                    <a:pt x="160164" y="329485"/>
                  </a:lnTo>
                  <a:lnTo>
                    <a:pt x="157186" y="325684"/>
                  </a:lnTo>
                  <a:lnTo>
                    <a:pt x="156558" y="322840"/>
                  </a:lnTo>
                  <a:lnTo>
                    <a:pt x="156523" y="319864"/>
                  </a:lnTo>
                  <a:lnTo>
                    <a:pt x="155191" y="315501"/>
                  </a:lnTo>
                  <a:lnTo>
                    <a:pt x="155035" y="314019"/>
                  </a:lnTo>
                  <a:lnTo>
                    <a:pt x="155133" y="312597"/>
                  </a:lnTo>
                  <a:lnTo>
                    <a:pt x="156456" y="309922"/>
                  </a:lnTo>
                  <a:lnTo>
                    <a:pt x="158059" y="308567"/>
                  </a:lnTo>
                  <a:lnTo>
                    <a:pt x="158957" y="307595"/>
                  </a:lnTo>
                  <a:lnTo>
                    <a:pt x="159676" y="306517"/>
                  </a:lnTo>
                  <a:lnTo>
                    <a:pt x="160166" y="305077"/>
                  </a:lnTo>
                  <a:lnTo>
                    <a:pt x="160028" y="303647"/>
                  </a:lnTo>
                  <a:lnTo>
                    <a:pt x="159492" y="302751"/>
                  </a:lnTo>
                  <a:lnTo>
                    <a:pt x="156961" y="299613"/>
                  </a:lnTo>
                  <a:lnTo>
                    <a:pt x="154762" y="297683"/>
                  </a:lnTo>
                  <a:lnTo>
                    <a:pt x="150257" y="295949"/>
                  </a:lnTo>
                  <a:lnTo>
                    <a:pt x="149209" y="294998"/>
                  </a:lnTo>
                  <a:lnTo>
                    <a:pt x="148069" y="294278"/>
                  </a:lnTo>
                  <a:lnTo>
                    <a:pt x="146810" y="293969"/>
                  </a:lnTo>
                  <a:lnTo>
                    <a:pt x="145579" y="293958"/>
                  </a:lnTo>
                  <a:lnTo>
                    <a:pt x="144250" y="294497"/>
                  </a:lnTo>
                  <a:lnTo>
                    <a:pt x="143904" y="295644"/>
                  </a:lnTo>
                  <a:lnTo>
                    <a:pt x="143996" y="296669"/>
                  </a:lnTo>
                  <a:lnTo>
                    <a:pt x="143880" y="297667"/>
                  </a:lnTo>
                  <a:lnTo>
                    <a:pt x="141991" y="303401"/>
                  </a:lnTo>
                  <a:lnTo>
                    <a:pt x="139583" y="302142"/>
                  </a:lnTo>
                  <a:lnTo>
                    <a:pt x="137287" y="300690"/>
                  </a:lnTo>
                  <a:lnTo>
                    <a:pt x="136678" y="299673"/>
                  </a:lnTo>
                  <a:lnTo>
                    <a:pt x="136415" y="298455"/>
                  </a:lnTo>
                  <a:lnTo>
                    <a:pt x="136026" y="297633"/>
                  </a:lnTo>
                  <a:lnTo>
                    <a:pt x="135484" y="296887"/>
                  </a:lnTo>
                  <a:lnTo>
                    <a:pt x="134429" y="298802"/>
                  </a:lnTo>
                  <a:lnTo>
                    <a:pt x="133116" y="300315"/>
                  </a:lnTo>
                  <a:lnTo>
                    <a:pt x="131509" y="300666"/>
                  </a:lnTo>
                  <a:lnTo>
                    <a:pt x="129875" y="300693"/>
                  </a:lnTo>
                  <a:lnTo>
                    <a:pt x="129339" y="300044"/>
                  </a:lnTo>
                  <a:lnTo>
                    <a:pt x="128742" y="296398"/>
                  </a:lnTo>
                  <a:lnTo>
                    <a:pt x="127021" y="295248"/>
                  </a:lnTo>
                  <a:lnTo>
                    <a:pt x="124860" y="295493"/>
                  </a:lnTo>
                  <a:lnTo>
                    <a:pt x="122245" y="297503"/>
                  </a:lnTo>
                  <a:lnTo>
                    <a:pt x="121725" y="298254"/>
                  </a:lnTo>
                  <a:lnTo>
                    <a:pt x="121154" y="299985"/>
                  </a:lnTo>
                  <a:lnTo>
                    <a:pt x="118304" y="304896"/>
                  </a:lnTo>
                  <a:lnTo>
                    <a:pt x="116795" y="308679"/>
                  </a:lnTo>
                  <a:lnTo>
                    <a:pt x="115130" y="312364"/>
                  </a:lnTo>
                  <a:lnTo>
                    <a:pt x="114385" y="313576"/>
                  </a:lnTo>
                  <a:lnTo>
                    <a:pt x="113404" y="314374"/>
                  </a:lnTo>
                  <a:lnTo>
                    <a:pt x="111846" y="314043"/>
                  </a:lnTo>
                  <a:lnTo>
                    <a:pt x="110444" y="313164"/>
                  </a:lnTo>
                  <a:lnTo>
                    <a:pt x="109116" y="310787"/>
                  </a:lnTo>
                  <a:lnTo>
                    <a:pt x="109567" y="308024"/>
                  </a:lnTo>
                  <a:lnTo>
                    <a:pt x="111038" y="306263"/>
                  </a:lnTo>
                  <a:lnTo>
                    <a:pt x="112277" y="304377"/>
                  </a:lnTo>
                  <a:lnTo>
                    <a:pt x="113774" y="297789"/>
                  </a:lnTo>
                  <a:lnTo>
                    <a:pt x="113886" y="295443"/>
                  </a:lnTo>
                  <a:lnTo>
                    <a:pt x="114150" y="294439"/>
                  </a:lnTo>
                  <a:lnTo>
                    <a:pt x="116616" y="291444"/>
                  </a:lnTo>
                  <a:lnTo>
                    <a:pt x="118689" y="289591"/>
                  </a:lnTo>
                  <a:lnTo>
                    <a:pt x="119785" y="289202"/>
                  </a:lnTo>
                  <a:lnTo>
                    <a:pt x="124269" y="288147"/>
                  </a:lnTo>
                  <a:lnTo>
                    <a:pt x="126115" y="287261"/>
                  </a:lnTo>
                  <a:lnTo>
                    <a:pt x="129021" y="287248"/>
                  </a:lnTo>
                  <a:lnTo>
                    <a:pt x="131382" y="286742"/>
                  </a:lnTo>
                  <a:lnTo>
                    <a:pt x="133264" y="285316"/>
                  </a:lnTo>
                  <a:lnTo>
                    <a:pt x="133407" y="283838"/>
                  </a:lnTo>
                  <a:lnTo>
                    <a:pt x="133320" y="282298"/>
                  </a:lnTo>
                  <a:lnTo>
                    <a:pt x="133736" y="281357"/>
                  </a:lnTo>
                  <a:lnTo>
                    <a:pt x="134465" y="280564"/>
                  </a:lnTo>
                  <a:lnTo>
                    <a:pt x="135467" y="279521"/>
                  </a:lnTo>
                  <a:lnTo>
                    <a:pt x="136601" y="278737"/>
                  </a:lnTo>
                  <a:lnTo>
                    <a:pt x="139822" y="278170"/>
                  </a:lnTo>
                  <a:lnTo>
                    <a:pt x="140891" y="277526"/>
                  </a:lnTo>
                  <a:lnTo>
                    <a:pt x="141753" y="276519"/>
                  </a:lnTo>
                  <a:lnTo>
                    <a:pt x="142956" y="274565"/>
                  </a:lnTo>
                  <a:lnTo>
                    <a:pt x="144378" y="275050"/>
                  </a:lnTo>
                  <a:lnTo>
                    <a:pt x="145810" y="275809"/>
                  </a:lnTo>
                  <a:lnTo>
                    <a:pt x="148384" y="276407"/>
                  </a:lnTo>
                  <a:lnTo>
                    <a:pt x="150669" y="278031"/>
                  </a:lnTo>
                  <a:lnTo>
                    <a:pt x="152125" y="280592"/>
                  </a:lnTo>
                  <a:lnTo>
                    <a:pt x="152375" y="281853"/>
                  </a:lnTo>
                  <a:lnTo>
                    <a:pt x="152749" y="286022"/>
                  </a:lnTo>
                  <a:lnTo>
                    <a:pt x="152218" y="286994"/>
                  </a:lnTo>
                  <a:lnTo>
                    <a:pt x="150000" y="288927"/>
                  </a:lnTo>
                  <a:lnTo>
                    <a:pt x="151024" y="289130"/>
                  </a:lnTo>
                  <a:lnTo>
                    <a:pt x="153936" y="287366"/>
                  </a:lnTo>
                  <a:lnTo>
                    <a:pt x="155389" y="286685"/>
                  </a:lnTo>
                  <a:lnTo>
                    <a:pt x="158983" y="285740"/>
                  </a:lnTo>
                  <a:lnTo>
                    <a:pt x="159829" y="285115"/>
                  </a:lnTo>
                  <a:lnTo>
                    <a:pt x="160451" y="284184"/>
                  </a:lnTo>
                  <a:lnTo>
                    <a:pt x="161721" y="281632"/>
                  </a:lnTo>
                  <a:lnTo>
                    <a:pt x="162649" y="278905"/>
                  </a:lnTo>
                  <a:lnTo>
                    <a:pt x="163373" y="277770"/>
                  </a:lnTo>
                  <a:lnTo>
                    <a:pt x="164411" y="276870"/>
                  </a:lnTo>
                  <a:lnTo>
                    <a:pt x="165437" y="276725"/>
                  </a:lnTo>
                  <a:lnTo>
                    <a:pt x="169207" y="278589"/>
                  </a:lnTo>
                  <a:lnTo>
                    <a:pt x="171626" y="277691"/>
                  </a:lnTo>
                  <a:lnTo>
                    <a:pt x="172302" y="274866"/>
                  </a:lnTo>
                  <a:lnTo>
                    <a:pt x="172857" y="270760"/>
                  </a:lnTo>
                  <a:lnTo>
                    <a:pt x="173284" y="269648"/>
                  </a:lnTo>
                  <a:lnTo>
                    <a:pt x="174673" y="268573"/>
                  </a:lnTo>
                  <a:lnTo>
                    <a:pt x="176329" y="268920"/>
                  </a:lnTo>
                  <a:lnTo>
                    <a:pt x="178597" y="270394"/>
                  </a:lnTo>
                  <a:lnTo>
                    <a:pt x="180689" y="270879"/>
                  </a:lnTo>
                  <a:lnTo>
                    <a:pt x="181466" y="269691"/>
                  </a:lnTo>
                  <a:lnTo>
                    <a:pt x="182207" y="267349"/>
                  </a:lnTo>
                  <a:lnTo>
                    <a:pt x="183051" y="267362"/>
                  </a:lnTo>
                  <a:lnTo>
                    <a:pt x="185876" y="268137"/>
                  </a:lnTo>
                  <a:lnTo>
                    <a:pt x="188599" y="267626"/>
                  </a:lnTo>
                  <a:lnTo>
                    <a:pt x="189366" y="264813"/>
                  </a:lnTo>
                  <a:lnTo>
                    <a:pt x="188851" y="261804"/>
                  </a:lnTo>
                  <a:lnTo>
                    <a:pt x="186725" y="253030"/>
                  </a:lnTo>
                  <a:lnTo>
                    <a:pt x="187992" y="251076"/>
                  </a:lnTo>
                  <a:close/>
                  <a:moveTo>
                    <a:pt x="201315" y="244324"/>
                  </a:moveTo>
                  <a:lnTo>
                    <a:pt x="202546" y="246906"/>
                  </a:lnTo>
                  <a:lnTo>
                    <a:pt x="202533" y="248077"/>
                  </a:lnTo>
                  <a:lnTo>
                    <a:pt x="202354" y="248656"/>
                  </a:lnTo>
                  <a:lnTo>
                    <a:pt x="203499" y="250112"/>
                  </a:lnTo>
                  <a:lnTo>
                    <a:pt x="202711" y="250831"/>
                  </a:lnTo>
                  <a:lnTo>
                    <a:pt x="200996" y="250866"/>
                  </a:lnTo>
                  <a:lnTo>
                    <a:pt x="200717" y="250986"/>
                  </a:lnTo>
                  <a:lnTo>
                    <a:pt x="199488" y="249251"/>
                  </a:lnTo>
                  <a:lnTo>
                    <a:pt x="199653" y="247275"/>
                  </a:lnTo>
                  <a:close/>
                  <a:moveTo>
                    <a:pt x="180512" y="242184"/>
                  </a:moveTo>
                  <a:lnTo>
                    <a:pt x="181460" y="242272"/>
                  </a:lnTo>
                  <a:lnTo>
                    <a:pt x="182678" y="243063"/>
                  </a:lnTo>
                  <a:lnTo>
                    <a:pt x="183779" y="246044"/>
                  </a:lnTo>
                  <a:lnTo>
                    <a:pt x="183933" y="247148"/>
                  </a:lnTo>
                  <a:lnTo>
                    <a:pt x="181086" y="244241"/>
                  </a:lnTo>
                  <a:close/>
                  <a:moveTo>
                    <a:pt x="162883" y="242075"/>
                  </a:moveTo>
                  <a:lnTo>
                    <a:pt x="163232" y="242489"/>
                  </a:lnTo>
                  <a:lnTo>
                    <a:pt x="163712" y="242752"/>
                  </a:lnTo>
                  <a:lnTo>
                    <a:pt x="164433" y="242823"/>
                  </a:lnTo>
                  <a:lnTo>
                    <a:pt x="166213" y="244184"/>
                  </a:lnTo>
                  <a:lnTo>
                    <a:pt x="168220" y="245050"/>
                  </a:lnTo>
                  <a:lnTo>
                    <a:pt x="167732" y="248343"/>
                  </a:lnTo>
                  <a:lnTo>
                    <a:pt x="168333" y="249451"/>
                  </a:lnTo>
                  <a:lnTo>
                    <a:pt x="168590" y="250397"/>
                  </a:lnTo>
                  <a:lnTo>
                    <a:pt x="168379" y="251216"/>
                  </a:lnTo>
                  <a:lnTo>
                    <a:pt x="166640" y="251149"/>
                  </a:lnTo>
                  <a:lnTo>
                    <a:pt x="166018" y="251274"/>
                  </a:lnTo>
                  <a:lnTo>
                    <a:pt x="164380" y="253367"/>
                  </a:lnTo>
                  <a:lnTo>
                    <a:pt x="163416" y="253900"/>
                  </a:lnTo>
                  <a:lnTo>
                    <a:pt x="158167" y="254590"/>
                  </a:lnTo>
                  <a:lnTo>
                    <a:pt x="154035" y="254039"/>
                  </a:lnTo>
                  <a:lnTo>
                    <a:pt x="152621" y="252884"/>
                  </a:lnTo>
                  <a:lnTo>
                    <a:pt x="151699" y="250979"/>
                  </a:lnTo>
                  <a:lnTo>
                    <a:pt x="151416" y="249723"/>
                  </a:lnTo>
                  <a:lnTo>
                    <a:pt x="152449" y="248352"/>
                  </a:lnTo>
                  <a:lnTo>
                    <a:pt x="153444" y="247441"/>
                  </a:lnTo>
                  <a:lnTo>
                    <a:pt x="156780" y="245642"/>
                  </a:lnTo>
                  <a:lnTo>
                    <a:pt x="157534" y="244277"/>
                  </a:lnTo>
                  <a:lnTo>
                    <a:pt x="159281" y="242627"/>
                  </a:lnTo>
                  <a:close/>
                  <a:moveTo>
                    <a:pt x="192315" y="235814"/>
                  </a:moveTo>
                  <a:lnTo>
                    <a:pt x="192708" y="236889"/>
                  </a:lnTo>
                  <a:lnTo>
                    <a:pt x="191870" y="240165"/>
                  </a:lnTo>
                  <a:lnTo>
                    <a:pt x="193123" y="244043"/>
                  </a:lnTo>
                  <a:lnTo>
                    <a:pt x="192703" y="246468"/>
                  </a:lnTo>
                  <a:lnTo>
                    <a:pt x="192883" y="247008"/>
                  </a:lnTo>
                  <a:lnTo>
                    <a:pt x="192834" y="247556"/>
                  </a:lnTo>
                  <a:lnTo>
                    <a:pt x="192442" y="248181"/>
                  </a:lnTo>
                  <a:lnTo>
                    <a:pt x="191914" y="246894"/>
                  </a:lnTo>
                  <a:lnTo>
                    <a:pt x="190628" y="245686"/>
                  </a:lnTo>
                  <a:lnTo>
                    <a:pt x="189389" y="243635"/>
                  </a:lnTo>
                  <a:lnTo>
                    <a:pt x="188512" y="242995"/>
                  </a:lnTo>
                  <a:lnTo>
                    <a:pt x="189113" y="241369"/>
                  </a:lnTo>
                  <a:lnTo>
                    <a:pt x="189171" y="238728"/>
                  </a:lnTo>
                  <a:lnTo>
                    <a:pt x="190400" y="237523"/>
                  </a:lnTo>
                  <a:lnTo>
                    <a:pt x="190968" y="237167"/>
                  </a:lnTo>
                  <a:lnTo>
                    <a:pt x="191899" y="235888"/>
                  </a:lnTo>
                  <a:close/>
                  <a:moveTo>
                    <a:pt x="63738" y="231343"/>
                  </a:moveTo>
                  <a:lnTo>
                    <a:pt x="65909" y="232133"/>
                  </a:lnTo>
                  <a:lnTo>
                    <a:pt x="67196" y="232908"/>
                  </a:lnTo>
                  <a:lnTo>
                    <a:pt x="66593" y="233610"/>
                  </a:lnTo>
                  <a:lnTo>
                    <a:pt x="65158" y="234789"/>
                  </a:lnTo>
                  <a:lnTo>
                    <a:pt x="62437" y="235475"/>
                  </a:lnTo>
                  <a:lnTo>
                    <a:pt x="61801" y="233322"/>
                  </a:lnTo>
                  <a:close/>
                  <a:moveTo>
                    <a:pt x="162859" y="229855"/>
                  </a:moveTo>
                  <a:lnTo>
                    <a:pt x="163664" y="230198"/>
                  </a:lnTo>
                  <a:lnTo>
                    <a:pt x="163913" y="230456"/>
                  </a:lnTo>
                  <a:lnTo>
                    <a:pt x="163891" y="231512"/>
                  </a:lnTo>
                  <a:lnTo>
                    <a:pt x="162451" y="232106"/>
                  </a:lnTo>
                  <a:lnTo>
                    <a:pt x="161837" y="232208"/>
                  </a:lnTo>
                  <a:close/>
                  <a:moveTo>
                    <a:pt x="126741" y="229096"/>
                  </a:moveTo>
                  <a:lnTo>
                    <a:pt x="127359" y="229861"/>
                  </a:lnTo>
                  <a:lnTo>
                    <a:pt x="127535" y="231020"/>
                  </a:lnTo>
                  <a:lnTo>
                    <a:pt x="126298" y="234515"/>
                  </a:lnTo>
                  <a:lnTo>
                    <a:pt x="125597" y="235086"/>
                  </a:lnTo>
                  <a:lnTo>
                    <a:pt x="124985" y="235392"/>
                  </a:lnTo>
                  <a:lnTo>
                    <a:pt x="124439" y="235347"/>
                  </a:lnTo>
                  <a:lnTo>
                    <a:pt x="123139" y="236153"/>
                  </a:lnTo>
                  <a:lnTo>
                    <a:pt x="122660" y="234643"/>
                  </a:lnTo>
                  <a:lnTo>
                    <a:pt x="123120" y="232071"/>
                  </a:lnTo>
                  <a:lnTo>
                    <a:pt x="125072" y="230116"/>
                  </a:lnTo>
                  <a:lnTo>
                    <a:pt x="125573" y="229501"/>
                  </a:lnTo>
                  <a:lnTo>
                    <a:pt x="126106" y="229137"/>
                  </a:lnTo>
                  <a:close/>
                  <a:moveTo>
                    <a:pt x="139021" y="223430"/>
                  </a:moveTo>
                  <a:lnTo>
                    <a:pt x="144638" y="225016"/>
                  </a:lnTo>
                  <a:lnTo>
                    <a:pt x="145785" y="227409"/>
                  </a:lnTo>
                  <a:lnTo>
                    <a:pt x="145897" y="228199"/>
                  </a:lnTo>
                  <a:lnTo>
                    <a:pt x="145016" y="230854"/>
                  </a:lnTo>
                  <a:lnTo>
                    <a:pt x="144245" y="232636"/>
                  </a:lnTo>
                  <a:lnTo>
                    <a:pt x="142345" y="235392"/>
                  </a:lnTo>
                  <a:lnTo>
                    <a:pt x="140943" y="238378"/>
                  </a:lnTo>
                  <a:lnTo>
                    <a:pt x="139894" y="242866"/>
                  </a:lnTo>
                  <a:lnTo>
                    <a:pt x="139233" y="244328"/>
                  </a:lnTo>
                  <a:lnTo>
                    <a:pt x="137473" y="247136"/>
                  </a:lnTo>
                  <a:lnTo>
                    <a:pt x="136929" y="248677"/>
                  </a:lnTo>
                  <a:lnTo>
                    <a:pt x="136944" y="252016"/>
                  </a:lnTo>
                  <a:lnTo>
                    <a:pt x="136650" y="253251"/>
                  </a:lnTo>
                  <a:lnTo>
                    <a:pt x="136659" y="254437"/>
                  </a:lnTo>
                  <a:lnTo>
                    <a:pt x="140166" y="259996"/>
                  </a:lnTo>
                  <a:lnTo>
                    <a:pt x="140464" y="260877"/>
                  </a:lnTo>
                  <a:lnTo>
                    <a:pt x="140434" y="261869"/>
                  </a:lnTo>
                  <a:lnTo>
                    <a:pt x="139833" y="263111"/>
                  </a:lnTo>
                  <a:lnTo>
                    <a:pt x="138404" y="265249"/>
                  </a:lnTo>
                  <a:lnTo>
                    <a:pt x="137603" y="265995"/>
                  </a:lnTo>
                  <a:lnTo>
                    <a:pt x="136240" y="266525"/>
                  </a:lnTo>
                  <a:lnTo>
                    <a:pt x="134776" y="266765"/>
                  </a:lnTo>
                  <a:lnTo>
                    <a:pt x="133230" y="266643"/>
                  </a:lnTo>
                  <a:lnTo>
                    <a:pt x="132194" y="265548"/>
                  </a:lnTo>
                  <a:lnTo>
                    <a:pt x="130397" y="260824"/>
                  </a:lnTo>
                  <a:lnTo>
                    <a:pt x="128315" y="259675"/>
                  </a:lnTo>
                  <a:lnTo>
                    <a:pt x="125929" y="258805"/>
                  </a:lnTo>
                  <a:lnTo>
                    <a:pt x="124731" y="258072"/>
                  </a:lnTo>
                  <a:lnTo>
                    <a:pt x="123673" y="257189"/>
                  </a:lnTo>
                  <a:lnTo>
                    <a:pt x="120321" y="252479"/>
                  </a:lnTo>
                  <a:lnTo>
                    <a:pt x="120068" y="249597"/>
                  </a:lnTo>
                  <a:lnTo>
                    <a:pt x="120645" y="247966"/>
                  </a:lnTo>
                  <a:lnTo>
                    <a:pt x="121660" y="246505"/>
                  </a:lnTo>
                  <a:lnTo>
                    <a:pt x="122805" y="246111"/>
                  </a:lnTo>
                  <a:lnTo>
                    <a:pt x="125569" y="246058"/>
                  </a:lnTo>
                  <a:lnTo>
                    <a:pt x="127000" y="245866"/>
                  </a:lnTo>
                  <a:lnTo>
                    <a:pt x="130153" y="243705"/>
                  </a:lnTo>
                  <a:lnTo>
                    <a:pt x="130380" y="242855"/>
                  </a:lnTo>
                  <a:lnTo>
                    <a:pt x="130395" y="239302"/>
                  </a:lnTo>
                  <a:lnTo>
                    <a:pt x="130082" y="236817"/>
                  </a:lnTo>
                  <a:lnTo>
                    <a:pt x="129300" y="234391"/>
                  </a:lnTo>
                  <a:lnTo>
                    <a:pt x="130153" y="233282"/>
                  </a:lnTo>
                  <a:lnTo>
                    <a:pt x="131265" y="232184"/>
                  </a:lnTo>
                  <a:lnTo>
                    <a:pt x="132426" y="230042"/>
                  </a:lnTo>
                  <a:lnTo>
                    <a:pt x="132655" y="228535"/>
                  </a:lnTo>
                  <a:lnTo>
                    <a:pt x="132677" y="226959"/>
                  </a:lnTo>
                  <a:lnTo>
                    <a:pt x="132977" y="225831"/>
                  </a:lnTo>
                  <a:lnTo>
                    <a:pt x="133886" y="225267"/>
                  </a:lnTo>
                  <a:lnTo>
                    <a:pt x="138250" y="223547"/>
                  </a:lnTo>
                  <a:close/>
                  <a:moveTo>
                    <a:pt x="156318" y="217172"/>
                  </a:moveTo>
                  <a:lnTo>
                    <a:pt x="156739" y="218432"/>
                  </a:lnTo>
                  <a:lnTo>
                    <a:pt x="156266" y="220906"/>
                  </a:lnTo>
                  <a:lnTo>
                    <a:pt x="156340" y="222094"/>
                  </a:lnTo>
                  <a:lnTo>
                    <a:pt x="156620" y="222651"/>
                  </a:lnTo>
                  <a:lnTo>
                    <a:pt x="156638" y="224955"/>
                  </a:lnTo>
                  <a:lnTo>
                    <a:pt x="156068" y="228487"/>
                  </a:lnTo>
                  <a:lnTo>
                    <a:pt x="156592" y="232562"/>
                  </a:lnTo>
                  <a:lnTo>
                    <a:pt x="155568" y="236709"/>
                  </a:lnTo>
                  <a:lnTo>
                    <a:pt x="154400" y="238574"/>
                  </a:lnTo>
                  <a:lnTo>
                    <a:pt x="152671" y="239890"/>
                  </a:lnTo>
                  <a:lnTo>
                    <a:pt x="150786" y="240715"/>
                  </a:lnTo>
                  <a:lnTo>
                    <a:pt x="148836" y="242780"/>
                  </a:lnTo>
                  <a:lnTo>
                    <a:pt x="147573" y="245195"/>
                  </a:lnTo>
                  <a:lnTo>
                    <a:pt x="147365" y="247394"/>
                  </a:lnTo>
                  <a:lnTo>
                    <a:pt x="144260" y="254813"/>
                  </a:lnTo>
                  <a:lnTo>
                    <a:pt x="141535" y="257929"/>
                  </a:lnTo>
                  <a:lnTo>
                    <a:pt x="140682" y="258524"/>
                  </a:lnTo>
                  <a:lnTo>
                    <a:pt x="140335" y="257052"/>
                  </a:lnTo>
                  <a:lnTo>
                    <a:pt x="140578" y="255064"/>
                  </a:lnTo>
                  <a:lnTo>
                    <a:pt x="142273" y="248119"/>
                  </a:lnTo>
                  <a:lnTo>
                    <a:pt x="141887" y="246381"/>
                  </a:lnTo>
                  <a:lnTo>
                    <a:pt x="144720" y="242512"/>
                  </a:lnTo>
                  <a:lnTo>
                    <a:pt x="146457" y="238880"/>
                  </a:lnTo>
                  <a:lnTo>
                    <a:pt x="149078" y="235064"/>
                  </a:lnTo>
                  <a:lnTo>
                    <a:pt x="149410" y="233085"/>
                  </a:lnTo>
                  <a:lnTo>
                    <a:pt x="151734" y="229311"/>
                  </a:lnTo>
                  <a:lnTo>
                    <a:pt x="153908" y="224104"/>
                  </a:lnTo>
                  <a:lnTo>
                    <a:pt x="153792" y="222378"/>
                  </a:lnTo>
                  <a:lnTo>
                    <a:pt x="154355" y="221523"/>
                  </a:lnTo>
                  <a:lnTo>
                    <a:pt x="154664" y="220218"/>
                  </a:lnTo>
                  <a:lnTo>
                    <a:pt x="154733" y="219111"/>
                  </a:lnTo>
                  <a:close/>
                  <a:moveTo>
                    <a:pt x="150086" y="216953"/>
                  </a:moveTo>
                  <a:lnTo>
                    <a:pt x="151382" y="219921"/>
                  </a:lnTo>
                  <a:lnTo>
                    <a:pt x="149637" y="219904"/>
                  </a:lnTo>
                  <a:lnTo>
                    <a:pt x="148994" y="217744"/>
                  </a:lnTo>
                  <a:lnTo>
                    <a:pt x="149741" y="217046"/>
                  </a:lnTo>
                  <a:close/>
                  <a:moveTo>
                    <a:pt x="55982" y="215539"/>
                  </a:moveTo>
                  <a:lnTo>
                    <a:pt x="57133" y="216277"/>
                  </a:lnTo>
                  <a:lnTo>
                    <a:pt x="57287" y="217323"/>
                  </a:lnTo>
                  <a:lnTo>
                    <a:pt x="56719" y="219784"/>
                  </a:lnTo>
                  <a:lnTo>
                    <a:pt x="56675" y="221020"/>
                  </a:lnTo>
                  <a:lnTo>
                    <a:pt x="57323" y="222276"/>
                  </a:lnTo>
                  <a:lnTo>
                    <a:pt x="56544" y="224342"/>
                  </a:lnTo>
                  <a:lnTo>
                    <a:pt x="58522" y="229840"/>
                  </a:lnTo>
                  <a:lnTo>
                    <a:pt x="60031" y="233320"/>
                  </a:lnTo>
                  <a:lnTo>
                    <a:pt x="60088" y="234468"/>
                  </a:lnTo>
                  <a:lnTo>
                    <a:pt x="58060" y="236545"/>
                  </a:lnTo>
                  <a:lnTo>
                    <a:pt x="56850" y="237173"/>
                  </a:lnTo>
                  <a:lnTo>
                    <a:pt x="54240" y="237730"/>
                  </a:lnTo>
                  <a:lnTo>
                    <a:pt x="53065" y="238335"/>
                  </a:lnTo>
                  <a:lnTo>
                    <a:pt x="51195" y="240024"/>
                  </a:lnTo>
                  <a:lnTo>
                    <a:pt x="50027" y="242248"/>
                  </a:lnTo>
                  <a:lnTo>
                    <a:pt x="49731" y="243398"/>
                  </a:lnTo>
                  <a:lnTo>
                    <a:pt x="49132" y="244282"/>
                  </a:lnTo>
                  <a:lnTo>
                    <a:pt x="43762" y="245792"/>
                  </a:lnTo>
                  <a:lnTo>
                    <a:pt x="41242" y="246778"/>
                  </a:lnTo>
                  <a:lnTo>
                    <a:pt x="40080" y="247519"/>
                  </a:lnTo>
                  <a:lnTo>
                    <a:pt x="39480" y="248725"/>
                  </a:lnTo>
                  <a:lnTo>
                    <a:pt x="39896" y="250852"/>
                  </a:lnTo>
                  <a:lnTo>
                    <a:pt x="35382" y="258529"/>
                  </a:lnTo>
                  <a:lnTo>
                    <a:pt x="33942" y="260538"/>
                  </a:lnTo>
                  <a:lnTo>
                    <a:pt x="32404" y="262247"/>
                  </a:lnTo>
                  <a:lnTo>
                    <a:pt x="30516" y="263464"/>
                  </a:lnTo>
                  <a:lnTo>
                    <a:pt x="27856" y="264210"/>
                  </a:lnTo>
                  <a:lnTo>
                    <a:pt x="25751" y="265695"/>
                  </a:lnTo>
                  <a:lnTo>
                    <a:pt x="24321" y="268321"/>
                  </a:lnTo>
                  <a:lnTo>
                    <a:pt x="22555" y="270693"/>
                  </a:lnTo>
                  <a:lnTo>
                    <a:pt x="20322" y="272450"/>
                  </a:lnTo>
                  <a:lnTo>
                    <a:pt x="17916" y="274002"/>
                  </a:lnTo>
                  <a:lnTo>
                    <a:pt x="15707" y="275133"/>
                  </a:lnTo>
                  <a:lnTo>
                    <a:pt x="13326" y="275931"/>
                  </a:lnTo>
                  <a:lnTo>
                    <a:pt x="12607" y="276964"/>
                  </a:lnTo>
                  <a:lnTo>
                    <a:pt x="12097" y="278240"/>
                  </a:lnTo>
                  <a:lnTo>
                    <a:pt x="11048" y="278840"/>
                  </a:lnTo>
                  <a:lnTo>
                    <a:pt x="9795" y="279186"/>
                  </a:lnTo>
                  <a:lnTo>
                    <a:pt x="7554" y="280439"/>
                  </a:lnTo>
                  <a:lnTo>
                    <a:pt x="5506" y="282048"/>
                  </a:lnTo>
                  <a:lnTo>
                    <a:pt x="5727" y="280058"/>
                  </a:lnTo>
                  <a:lnTo>
                    <a:pt x="6332" y="278181"/>
                  </a:lnTo>
                  <a:lnTo>
                    <a:pt x="8411" y="274337"/>
                  </a:lnTo>
                  <a:lnTo>
                    <a:pt x="9911" y="273154"/>
                  </a:lnTo>
                  <a:lnTo>
                    <a:pt x="12393" y="270125"/>
                  </a:lnTo>
                  <a:lnTo>
                    <a:pt x="13792" y="268661"/>
                  </a:lnTo>
                  <a:lnTo>
                    <a:pt x="17146" y="265765"/>
                  </a:lnTo>
                  <a:lnTo>
                    <a:pt x="20238" y="262589"/>
                  </a:lnTo>
                  <a:lnTo>
                    <a:pt x="21272" y="262353"/>
                  </a:lnTo>
                  <a:lnTo>
                    <a:pt x="22410" y="262305"/>
                  </a:lnTo>
                  <a:lnTo>
                    <a:pt x="23313" y="261940"/>
                  </a:lnTo>
                  <a:lnTo>
                    <a:pt x="25325" y="260225"/>
                  </a:lnTo>
                  <a:lnTo>
                    <a:pt x="30392" y="254512"/>
                  </a:lnTo>
                  <a:lnTo>
                    <a:pt x="34581" y="250253"/>
                  </a:lnTo>
                  <a:lnTo>
                    <a:pt x="38873" y="244864"/>
                  </a:lnTo>
                  <a:lnTo>
                    <a:pt x="40920" y="243294"/>
                  </a:lnTo>
                  <a:lnTo>
                    <a:pt x="41473" y="242714"/>
                  </a:lnTo>
                  <a:lnTo>
                    <a:pt x="45425" y="237748"/>
                  </a:lnTo>
                  <a:lnTo>
                    <a:pt x="46664" y="237027"/>
                  </a:lnTo>
                  <a:lnTo>
                    <a:pt x="48062" y="236504"/>
                  </a:lnTo>
                  <a:lnTo>
                    <a:pt x="49011" y="235829"/>
                  </a:lnTo>
                  <a:lnTo>
                    <a:pt x="49848" y="234984"/>
                  </a:lnTo>
                  <a:lnTo>
                    <a:pt x="51245" y="232821"/>
                  </a:lnTo>
                  <a:lnTo>
                    <a:pt x="51813" y="230293"/>
                  </a:lnTo>
                  <a:lnTo>
                    <a:pt x="51459" y="228865"/>
                  </a:lnTo>
                  <a:lnTo>
                    <a:pt x="50673" y="226758"/>
                  </a:lnTo>
                  <a:lnTo>
                    <a:pt x="51657" y="223884"/>
                  </a:lnTo>
                  <a:lnTo>
                    <a:pt x="52432" y="222558"/>
                  </a:lnTo>
                  <a:lnTo>
                    <a:pt x="55188" y="216718"/>
                  </a:lnTo>
                  <a:close/>
                  <a:moveTo>
                    <a:pt x="63946" y="211533"/>
                  </a:moveTo>
                  <a:lnTo>
                    <a:pt x="64421" y="212718"/>
                  </a:lnTo>
                  <a:lnTo>
                    <a:pt x="63801" y="214495"/>
                  </a:lnTo>
                  <a:lnTo>
                    <a:pt x="63266" y="214884"/>
                  </a:lnTo>
                  <a:lnTo>
                    <a:pt x="62558" y="214144"/>
                  </a:lnTo>
                  <a:lnTo>
                    <a:pt x="61039" y="213625"/>
                  </a:lnTo>
                  <a:lnTo>
                    <a:pt x="60942" y="212668"/>
                  </a:lnTo>
                  <a:lnTo>
                    <a:pt x="61735" y="212691"/>
                  </a:lnTo>
                  <a:lnTo>
                    <a:pt x="63180" y="211755"/>
                  </a:lnTo>
                  <a:close/>
                  <a:moveTo>
                    <a:pt x="162770" y="211312"/>
                  </a:moveTo>
                  <a:lnTo>
                    <a:pt x="163732" y="211764"/>
                  </a:lnTo>
                  <a:lnTo>
                    <a:pt x="165098" y="213058"/>
                  </a:lnTo>
                  <a:lnTo>
                    <a:pt x="166757" y="213805"/>
                  </a:lnTo>
                  <a:lnTo>
                    <a:pt x="167582" y="214451"/>
                  </a:lnTo>
                  <a:lnTo>
                    <a:pt x="168165" y="215615"/>
                  </a:lnTo>
                  <a:lnTo>
                    <a:pt x="169706" y="216398"/>
                  </a:lnTo>
                  <a:lnTo>
                    <a:pt x="171475" y="216085"/>
                  </a:lnTo>
                  <a:lnTo>
                    <a:pt x="173615" y="214308"/>
                  </a:lnTo>
                  <a:lnTo>
                    <a:pt x="176022" y="214948"/>
                  </a:lnTo>
                  <a:lnTo>
                    <a:pt x="177437" y="217566"/>
                  </a:lnTo>
                  <a:lnTo>
                    <a:pt x="178159" y="218555"/>
                  </a:lnTo>
                  <a:lnTo>
                    <a:pt x="178551" y="220267"/>
                  </a:lnTo>
                  <a:lnTo>
                    <a:pt x="178450" y="224370"/>
                  </a:lnTo>
                  <a:lnTo>
                    <a:pt x="177862" y="228088"/>
                  </a:lnTo>
                  <a:lnTo>
                    <a:pt x="178317" y="228854"/>
                  </a:lnTo>
                  <a:lnTo>
                    <a:pt x="179426" y="229522"/>
                  </a:lnTo>
                  <a:lnTo>
                    <a:pt x="180391" y="230346"/>
                  </a:lnTo>
                  <a:lnTo>
                    <a:pt x="181201" y="231403"/>
                  </a:lnTo>
                  <a:lnTo>
                    <a:pt x="181721" y="232579"/>
                  </a:lnTo>
                  <a:lnTo>
                    <a:pt x="181930" y="235432"/>
                  </a:lnTo>
                  <a:lnTo>
                    <a:pt x="183321" y="237837"/>
                  </a:lnTo>
                  <a:lnTo>
                    <a:pt x="183507" y="238773"/>
                  </a:lnTo>
                  <a:lnTo>
                    <a:pt x="183172" y="239754"/>
                  </a:lnTo>
                  <a:lnTo>
                    <a:pt x="180853" y="239562"/>
                  </a:lnTo>
                  <a:lnTo>
                    <a:pt x="180667" y="240390"/>
                  </a:lnTo>
                  <a:lnTo>
                    <a:pt x="180724" y="241415"/>
                  </a:lnTo>
                  <a:lnTo>
                    <a:pt x="179900" y="240770"/>
                  </a:lnTo>
                  <a:lnTo>
                    <a:pt x="178542" y="238422"/>
                  </a:lnTo>
                  <a:lnTo>
                    <a:pt x="177294" y="237435"/>
                  </a:lnTo>
                  <a:lnTo>
                    <a:pt x="177679" y="241245"/>
                  </a:lnTo>
                  <a:lnTo>
                    <a:pt x="178091" y="243072"/>
                  </a:lnTo>
                  <a:lnTo>
                    <a:pt x="178159" y="244907"/>
                  </a:lnTo>
                  <a:lnTo>
                    <a:pt x="176003" y="243505"/>
                  </a:lnTo>
                  <a:lnTo>
                    <a:pt x="173431" y="242640"/>
                  </a:lnTo>
                  <a:lnTo>
                    <a:pt x="172723" y="241893"/>
                  </a:lnTo>
                  <a:lnTo>
                    <a:pt x="172965" y="239514"/>
                  </a:lnTo>
                  <a:lnTo>
                    <a:pt x="172917" y="238330"/>
                  </a:lnTo>
                  <a:lnTo>
                    <a:pt x="171771" y="235823"/>
                  </a:lnTo>
                  <a:lnTo>
                    <a:pt x="173119" y="230402"/>
                  </a:lnTo>
                  <a:lnTo>
                    <a:pt x="173085" y="229294"/>
                  </a:lnTo>
                  <a:lnTo>
                    <a:pt x="172855" y="228184"/>
                  </a:lnTo>
                  <a:lnTo>
                    <a:pt x="171792" y="225985"/>
                  </a:lnTo>
                  <a:lnTo>
                    <a:pt x="170113" y="224145"/>
                  </a:lnTo>
                  <a:lnTo>
                    <a:pt x="169082" y="224140"/>
                  </a:lnTo>
                  <a:lnTo>
                    <a:pt x="166577" y="225432"/>
                  </a:lnTo>
                  <a:lnTo>
                    <a:pt x="165310" y="225004"/>
                  </a:lnTo>
                  <a:lnTo>
                    <a:pt x="164563" y="219929"/>
                  </a:lnTo>
                  <a:lnTo>
                    <a:pt x="163552" y="214996"/>
                  </a:lnTo>
                  <a:lnTo>
                    <a:pt x="162777" y="213733"/>
                  </a:lnTo>
                  <a:lnTo>
                    <a:pt x="162274" y="212410"/>
                  </a:lnTo>
                  <a:close/>
                  <a:moveTo>
                    <a:pt x="165131" y="207731"/>
                  </a:moveTo>
                  <a:lnTo>
                    <a:pt x="166757" y="207908"/>
                  </a:lnTo>
                  <a:lnTo>
                    <a:pt x="167951" y="208970"/>
                  </a:lnTo>
                  <a:lnTo>
                    <a:pt x="169218" y="210990"/>
                  </a:lnTo>
                  <a:lnTo>
                    <a:pt x="168912" y="212275"/>
                  </a:lnTo>
                  <a:lnTo>
                    <a:pt x="166150" y="212417"/>
                  </a:lnTo>
                  <a:lnTo>
                    <a:pt x="164941" y="211389"/>
                  </a:lnTo>
                  <a:lnTo>
                    <a:pt x="163427" y="208383"/>
                  </a:lnTo>
                  <a:close/>
                  <a:moveTo>
                    <a:pt x="171619" y="207276"/>
                  </a:moveTo>
                  <a:lnTo>
                    <a:pt x="172891" y="207998"/>
                  </a:lnTo>
                  <a:lnTo>
                    <a:pt x="173623" y="209264"/>
                  </a:lnTo>
                  <a:lnTo>
                    <a:pt x="174351" y="209977"/>
                  </a:lnTo>
                  <a:lnTo>
                    <a:pt x="173943" y="211130"/>
                  </a:lnTo>
                  <a:lnTo>
                    <a:pt x="173295" y="210811"/>
                  </a:lnTo>
                  <a:lnTo>
                    <a:pt x="172729" y="210291"/>
                  </a:lnTo>
                  <a:lnTo>
                    <a:pt x="171902" y="208548"/>
                  </a:lnTo>
                  <a:close/>
                  <a:moveTo>
                    <a:pt x="110431" y="203195"/>
                  </a:moveTo>
                  <a:lnTo>
                    <a:pt x="111880" y="203239"/>
                  </a:lnTo>
                  <a:lnTo>
                    <a:pt x="113154" y="204143"/>
                  </a:lnTo>
                  <a:lnTo>
                    <a:pt x="117663" y="206005"/>
                  </a:lnTo>
                  <a:lnTo>
                    <a:pt x="120062" y="207570"/>
                  </a:lnTo>
                  <a:lnTo>
                    <a:pt x="122206" y="209522"/>
                  </a:lnTo>
                  <a:lnTo>
                    <a:pt x="124782" y="210663"/>
                  </a:lnTo>
                  <a:lnTo>
                    <a:pt x="127294" y="209683"/>
                  </a:lnTo>
                  <a:lnTo>
                    <a:pt x="129766" y="209957"/>
                  </a:lnTo>
                  <a:lnTo>
                    <a:pt x="131827" y="211444"/>
                  </a:lnTo>
                  <a:lnTo>
                    <a:pt x="131153" y="212383"/>
                  </a:lnTo>
                  <a:lnTo>
                    <a:pt x="131014" y="213415"/>
                  </a:lnTo>
                  <a:lnTo>
                    <a:pt x="135619" y="211171"/>
                  </a:lnTo>
                  <a:lnTo>
                    <a:pt x="136847" y="211304"/>
                  </a:lnTo>
                  <a:lnTo>
                    <a:pt x="136806" y="213388"/>
                  </a:lnTo>
                  <a:lnTo>
                    <a:pt x="136534" y="215156"/>
                  </a:lnTo>
                  <a:lnTo>
                    <a:pt x="135990" y="216875"/>
                  </a:lnTo>
                  <a:lnTo>
                    <a:pt x="135015" y="218888"/>
                  </a:lnTo>
                  <a:lnTo>
                    <a:pt x="133712" y="220687"/>
                  </a:lnTo>
                  <a:lnTo>
                    <a:pt x="131992" y="221993"/>
                  </a:lnTo>
                  <a:lnTo>
                    <a:pt x="129956" y="222792"/>
                  </a:lnTo>
                  <a:lnTo>
                    <a:pt x="128989" y="223517"/>
                  </a:lnTo>
                  <a:lnTo>
                    <a:pt x="128691" y="224609"/>
                  </a:lnTo>
                  <a:lnTo>
                    <a:pt x="128727" y="225985"/>
                  </a:lnTo>
                  <a:lnTo>
                    <a:pt x="128259" y="227235"/>
                  </a:lnTo>
                  <a:lnTo>
                    <a:pt x="126119" y="227748"/>
                  </a:lnTo>
                  <a:lnTo>
                    <a:pt x="122779" y="230186"/>
                  </a:lnTo>
                  <a:lnTo>
                    <a:pt x="115605" y="231728"/>
                  </a:lnTo>
                  <a:lnTo>
                    <a:pt x="113635" y="232787"/>
                  </a:lnTo>
                  <a:lnTo>
                    <a:pt x="112379" y="234161"/>
                  </a:lnTo>
                  <a:lnTo>
                    <a:pt x="110977" y="235408"/>
                  </a:lnTo>
                  <a:lnTo>
                    <a:pt x="110217" y="235719"/>
                  </a:lnTo>
                  <a:lnTo>
                    <a:pt x="109870" y="235126"/>
                  </a:lnTo>
                  <a:lnTo>
                    <a:pt x="109771" y="234618"/>
                  </a:lnTo>
                  <a:lnTo>
                    <a:pt x="110794" y="231378"/>
                  </a:lnTo>
                  <a:lnTo>
                    <a:pt x="110623" y="230030"/>
                  </a:lnTo>
                  <a:lnTo>
                    <a:pt x="110136" y="228722"/>
                  </a:lnTo>
                  <a:lnTo>
                    <a:pt x="110446" y="226165"/>
                  </a:lnTo>
                  <a:lnTo>
                    <a:pt x="111692" y="223762"/>
                  </a:lnTo>
                  <a:lnTo>
                    <a:pt x="112360" y="221115"/>
                  </a:lnTo>
                  <a:lnTo>
                    <a:pt x="112554" y="216004"/>
                  </a:lnTo>
                  <a:lnTo>
                    <a:pt x="113523" y="208898"/>
                  </a:lnTo>
                  <a:lnTo>
                    <a:pt x="113476" y="208048"/>
                  </a:lnTo>
                  <a:lnTo>
                    <a:pt x="112716" y="207087"/>
                  </a:lnTo>
                  <a:lnTo>
                    <a:pt x="109926" y="206312"/>
                  </a:lnTo>
                  <a:lnTo>
                    <a:pt x="108829" y="205583"/>
                  </a:lnTo>
                  <a:lnTo>
                    <a:pt x="109378" y="204159"/>
                  </a:lnTo>
                  <a:close/>
                  <a:moveTo>
                    <a:pt x="65153" y="201312"/>
                  </a:moveTo>
                  <a:lnTo>
                    <a:pt x="66049" y="201785"/>
                  </a:lnTo>
                  <a:lnTo>
                    <a:pt x="66962" y="202416"/>
                  </a:lnTo>
                  <a:lnTo>
                    <a:pt x="67805" y="202749"/>
                  </a:lnTo>
                  <a:lnTo>
                    <a:pt x="68574" y="204020"/>
                  </a:lnTo>
                  <a:lnTo>
                    <a:pt x="68390" y="204899"/>
                  </a:lnTo>
                  <a:lnTo>
                    <a:pt x="68627" y="205748"/>
                  </a:lnTo>
                  <a:lnTo>
                    <a:pt x="67868" y="207545"/>
                  </a:lnTo>
                  <a:lnTo>
                    <a:pt x="66211" y="208305"/>
                  </a:lnTo>
                  <a:lnTo>
                    <a:pt x="65793" y="207827"/>
                  </a:lnTo>
                  <a:lnTo>
                    <a:pt x="65501" y="206715"/>
                  </a:lnTo>
                  <a:lnTo>
                    <a:pt x="65525" y="205950"/>
                  </a:lnTo>
                  <a:lnTo>
                    <a:pt x="63935" y="201926"/>
                  </a:lnTo>
                  <a:close/>
                  <a:moveTo>
                    <a:pt x="65162" y="193735"/>
                  </a:moveTo>
                  <a:lnTo>
                    <a:pt x="66211" y="194827"/>
                  </a:lnTo>
                  <a:lnTo>
                    <a:pt x="68725" y="196458"/>
                  </a:lnTo>
                  <a:lnTo>
                    <a:pt x="69221" y="197132"/>
                  </a:lnTo>
                  <a:lnTo>
                    <a:pt x="70430" y="197475"/>
                  </a:lnTo>
                  <a:lnTo>
                    <a:pt x="71295" y="197147"/>
                  </a:lnTo>
                  <a:lnTo>
                    <a:pt x="72057" y="195963"/>
                  </a:lnTo>
                  <a:lnTo>
                    <a:pt x="72771" y="197714"/>
                  </a:lnTo>
                  <a:lnTo>
                    <a:pt x="74559" y="199157"/>
                  </a:lnTo>
                  <a:lnTo>
                    <a:pt x="73966" y="200615"/>
                  </a:lnTo>
                  <a:lnTo>
                    <a:pt x="72394" y="200786"/>
                  </a:lnTo>
                  <a:lnTo>
                    <a:pt x="70850" y="200453"/>
                  </a:lnTo>
                  <a:lnTo>
                    <a:pt x="69223" y="201034"/>
                  </a:lnTo>
                  <a:lnTo>
                    <a:pt x="67244" y="200708"/>
                  </a:lnTo>
                  <a:lnTo>
                    <a:pt x="66060" y="199341"/>
                  </a:lnTo>
                  <a:lnTo>
                    <a:pt x="64713" y="196884"/>
                  </a:lnTo>
                  <a:lnTo>
                    <a:pt x="64045" y="196429"/>
                  </a:lnTo>
                  <a:lnTo>
                    <a:pt x="64128" y="195420"/>
                  </a:lnTo>
                  <a:lnTo>
                    <a:pt x="64617" y="194780"/>
                  </a:lnTo>
                  <a:lnTo>
                    <a:pt x="64359" y="194615"/>
                  </a:lnTo>
                  <a:lnTo>
                    <a:pt x="64484" y="194167"/>
                  </a:lnTo>
                  <a:lnTo>
                    <a:pt x="64725" y="193862"/>
                  </a:lnTo>
                  <a:close/>
                  <a:moveTo>
                    <a:pt x="121669" y="189855"/>
                  </a:moveTo>
                  <a:lnTo>
                    <a:pt x="124582" y="189862"/>
                  </a:lnTo>
                  <a:lnTo>
                    <a:pt x="126130" y="191374"/>
                  </a:lnTo>
                  <a:lnTo>
                    <a:pt x="126344" y="192316"/>
                  </a:lnTo>
                  <a:lnTo>
                    <a:pt x="125707" y="193960"/>
                  </a:lnTo>
                  <a:lnTo>
                    <a:pt x="124575" y="194487"/>
                  </a:lnTo>
                  <a:lnTo>
                    <a:pt x="122275" y="192285"/>
                  </a:lnTo>
                  <a:lnTo>
                    <a:pt x="120939" y="191257"/>
                  </a:lnTo>
                  <a:lnTo>
                    <a:pt x="120587" y="190682"/>
                  </a:lnTo>
                  <a:close/>
                  <a:moveTo>
                    <a:pt x="180892" y="188045"/>
                  </a:moveTo>
                  <a:lnTo>
                    <a:pt x="182868" y="189048"/>
                  </a:lnTo>
                  <a:lnTo>
                    <a:pt x="184433" y="190880"/>
                  </a:lnTo>
                  <a:lnTo>
                    <a:pt x="184813" y="192206"/>
                  </a:lnTo>
                  <a:lnTo>
                    <a:pt x="184651" y="193674"/>
                  </a:lnTo>
                  <a:lnTo>
                    <a:pt x="185360" y="194326"/>
                  </a:lnTo>
                  <a:lnTo>
                    <a:pt x="186610" y="194503"/>
                  </a:lnTo>
                  <a:lnTo>
                    <a:pt x="188212" y="195241"/>
                  </a:lnTo>
                  <a:lnTo>
                    <a:pt x="189415" y="196600"/>
                  </a:lnTo>
                  <a:lnTo>
                    <a:pt x="188701" y="197848"/>
                  </a:lnTo>
                  <a:lnTo>
                    <a:pt x="188923" y="199669"/>
                  </a:lnTo>
                  <a:lnTo>
                    <a:pt x="187666" y="201958"/>
                  </a:lnTo>
                  <a:lnTo>
                    <a:pt x="187836" y="206015"/>
                  </a:lnTo>
                  <a:lnTo>
                    <a:pt x="188558" y="207310"/>
                  </a:lnTo>
                  <a:lnTo>
                    <a:pt x="188627" y="208618"/>
                  </a:lnTo>
                  <a:lnTo>
                    <a:pt x="188446" y="209987"/>
                  </a:lnTo>
                  <a:lnTo>
                    <a:pt x="188754" y="211109"/>
                  </a:lnTo>
                  <a:lnTo>
                    <a:pt x="190683" y="214828"/>
                  </a:lnTo>
                  <a:lnTo>
                    <a:pt x="191037" y="216063"/>
                  </a:lnTo>
                  <a:lnTo>
                    <a:pt x="190447" y="217039"/>
                  </a:lnTo>
                  <a:lnTo>
                    <a:pt x="190253" y="217962"/>
                  </a:lnTo>
                  <a:lnTo>
                    <a:pt x="191443" y="218059"/>
                  </a:lnTo>
                  <a:lnTo>
                    <a:pt x="193138" y="219606"/>
                  </a:lnTo>
                  <a:lnTo>
                    <a:pt x="194136" y="221648"/>
                  </a:lnTo>
                  <a:lnTo>
                    <a:pt x="193837" y="222184"/>
                  </a:lnTo>
                  <a:lnTo>
                    <a:pt x="192483" y="220591"/>
                  </a:lnTo>
                  <a:lnTo>
                    <a:pt x="191460" y="220339"/>
                  </a:lnTo>
                  <a:lnTo>
                    <a:pt x="187119" y="220774"/>
                  </a:lnTo>
                  <a:lnTo>
                    <a:pt x="184459" y="220110"/>
                  </a:lnTo>
                  <a:lnTo>
                    <a:pt x="182732" y="220048"/>
                  </a:lnTo>
                  <a:lnTo>
                    <a:pt x="181017" y="217317"/>
                  </a:lnTo>
                  <a:lnTo>
                    <a:pt x="179514" y="216863"/>
                  </a:lnTo>
                  <a:lnTo>
                    <a:pt x="178329" y="215655"/>
                  </a:lnTo>
                  <a:lnTo>
                    <a:pt x="176362" y="212567"/>
                  </a:lnTo>
                  <a:lnTo>
                    <a:pt x="175735" y="210792"/>
                  </a:lnTo>
                  <a:lnTo>
                    <a:pt x="177104" y="208998"/>
                  </a:lnTo>
                  <a:lnTo>
                    <a:pt x="177532" y="207567"/>
                  </a:lnTo>
                  <a:lnTo>
                    <a:pt x="177461" y="206164"/>
                  </a:lnTo>
                  <a:lnTo>
                    <a:pt x="176148" y="206395"/>
                  </a:lnTo>
                  <a:lnTo>
                    <a:pt x="175011" y="205927"/>
                  </a:lnTo>
                  <a:lnTo>
                    <a:pt x="173615" y="204210"/>
                  </a:lnTo>
                  <a:lnTo>
                    <a:pt x="173055" y="203218"/>
                  </a:lnTo>
                  <a:lnTo>
                    <a:pt x="172038" y="202388"/>
                  </a:lnTo>
                  <a:lnTo>
                    <a:pt x="170423" y="200425"/>
                  </a:lnTo>
                  <a:lnTo>
                    <a:pt x="168104" y="199657"/>
                  </a:lnTo>
                  <a:lnTo>
                    <a:pt x="167158" y="199118"/>
                  </a:lnTo>
                  <a:lnTo>
                    <a:pt x="165314" y="197466"/>
                  </a:lnTo>
                  <a:lnTo>
                    <a:pt x="163969" y="195420"/>
                  </a:lnTo>
                  <a:lnTo>
                    <a:pt x="162663" y="191833"/>
                  </a:lnTo>
                  <a:lnTo>
                    <a:pt x="161976" y="188117"/>
                  </a:lnTo>
                  <a:lnTo>
                    <a:pt x="167970" y="189085"/>
                  </a:lnTo>
                  <a:lnTo>
                    <a:pt x="174036" y="188898"/>
                  </a:lnTo>
                  <a:close/>
                  <a:moveTo>
                    <a:pt x="138575" y="187799"/>
                  </a:moveTo>
                  <a:lnTo>
                    <a:pt x="140799" y="188722"/>
                  </a:lnTo>
                  <a:lnTo>
                    <a:pt x="143584" y="189646"/>
                  </a:lnTo>
                  <a:lnTo>
                    <a:pt x="145707" y="190913"/>
                  </a:lnTo>
                  <a:lnTo>
                    <a:pt x="146057" y="191763"/>
                  </a:lnTo>
                  <a:lnTo>
                    <a:pt x="149192" y="194447"/>
                  </a:lnTo>
                  <a:lnTo>
                    <a:pt x="153431" y="197101"/>
                  </a:lnTo>
                  <a:lnTo>
                    <a:pt x="156351" y="201638"/>
                  </a:lnTo>
                  <a:lnTo>
                    <a:pt x="156689" y="205118"/>
                  </a:lnTo>
                  <a:lnTo>
                    <a:pt x="156465" y="206444"/>
                  </a:lnTo>
                  <a:lnTo>
                    <a:pt x="155076" y="204954"/>
                  </a:lnTo>
                  <a:lnTo>
                    <a:pt x="152092" y="202832"/>
                  </a:lnTo>
                  <a:lnTo>
                    <a:pt x="150019" y="202363"/>
                  </a:lnTo>
                  <a:lnTo>
                    <a:pt x="149382" y="201980"/>
                  </a:lnTo>
                  <a:lnTo>
                    <a:pt x="149622" y="200834"/>
                  </a:lnTo>
                  <a:lnTo>
                    <a:pt x="148268" y="199772"/>
                  </a:lnTo>
                  <a:lnTo>
                    <a:pt x="148108" y="199338"/>
                  </a:lnTo>
                  <a:lnTo>
                    <a:pt x="146879" y="198870"/>
                  </a:lnTo>
                  <a:lnTo>
                    <a:pt x="145089" y="196483"/>
                  </a:lnTo>
                  <a:lnTo>
                    <a:pt x="143822" y="196034"/>
                  </a:lnTo>
                  <a:lnTo>
                    <a:pt x="142608" y="196537"/>
                  </a:lnTo>
                  <a:lnTo>
                    <a:pt x="139818" y="200078"/>
                  </a:lnTo>
                  <a:lnTo>
                    <a:pt x="136836" y="202561"/>
                  </a:lnTo>
                  <a:lnTo>
                    <a:pt x="136793" y="201612"/>
                  </a:lnTo>
                  <a:lnTo>
                    <a:pt x="138002" y="198503"/>
                  </a:lnTo>
                  <a:lnTo>
                    <a:pt x="138771" y="193535"/>
                  </a:lnTo>
                  <a:lnTo>
                    <a:pt x="139255" y="192021"/>
                  </a:lnTo>
                  <a:lnTo>
                    <a:pt x="138650" y="189793"/>
                  </a:lnTo>
                  <a:close/>
                  <a:moveTo>
                    <a:pt x="117382" y="187587"/>
                  </a:moveTo>
                  <a:lnTo>
                    <a:pt x="117592" y="187669"/>
                  </a:lnTo>
                  <a:lnTo>
                    <a:pt x="118108" y="189027"/>
                  </a:lnTo>
                  <a:lnTo>
                    <a:pt x="117421" y="189712"/>
                  </a:lnTo>
                  <a:lnTo>
                    <a:pt x="117004" y="189605"/>
                  </a:lnTo>
                  <a:lnTo>
                    <a:pt x="116715" y="188395"/>
                  </a:lnTo>
                  <a:close/>
                  <a:moveTo>
                    <a:pt x="114442" y="186246"/>
                  </a:moveTo>
                  <a:lnTo>
                    <a:pt x="114115" y="187145"/>
                  </a:lnTo>
                  <a:lnTo>
                    <a:pt x="114145" y="188831"/>
                  </a:lnTo>
                  <a:lnTo>
                    <a:pt x="113314" y="192931"/>
                  </a:lnTo>
                  <a:lnTo>
                    <a:pt x="111543" y="198525"/>
                  </a:lnTo>
                  <a:lnTo>
                    <a:pt x="110353" y="196600"/>
                  </a:lnTo>
                  <a:lnTo>
                    <a:pt x="110835" y="195391"/>
                  </a:lnTo>
                  <a:lnTo>
                    <a:pt x="109812" y="194379"/>
                  </a:lnTo>
                  <a:lnTo>
                    <a:pt x="109537" y="193461"/>
                  </a:lnTo>
                  <a:lnTo>
                    <a:pt x="109930" y="192247"/>
                  </a:lnTo>
                  <a:lnTo>
                    <a:pt x="111001" y="191127"/>
                  </a:lnTo>
                  <a:lnTo>
                    <a:pt x="111269" y="187461"/>
                  </a:lnTo>
                  <a:lnTo>
                    <a:pt x="113530" y="186291"/>
                  </a:lnTo>
                  <a:close/>
                  <a:moveTo>
                    <a:pt x="147089" y="185746"/>
                  </a:moveTo>
                  <a:lnTo>
                    <a:pt x="149018" y="187186"/>
                  </a:lnTo>
                  <a:lnTo>
                    <a:pt x="150492" y="190709"/>
                  </a:lnTo>
                  <a:lnTo>
                    <a:pt x="150574" y="192676"/>
                  </a:lnTo>
                  <a:lnTo>
                    <a:pt x="149742" y="191952"/>
                  </a:lnTo>
                  <a:lnTo>
                    <a:pt x="147070" y="188091"/>
                  </a:lnTo>
                  <a:lnTo>
                    <a:pt x="146331" y="186680"/>
                  </a:lnTo>
                  <a:close/>
                  <a:moveTo>
                    <a:pt x="133724" y="175828"/>
                  </a:moveTo>
                  <a:lnTo>
                    <a:pt x="134310" y="175891"/>
                  </a:lnTo>
                  <a:lnTo>
                    <a:pt x="137908" y="180566"/>
                  </a:lnTo>
                  <a:lnTo>
                    <a:pt x="139579" y="181735"/>
                  </a:lnTo>
                  <a:lnTo>
                    <a:pt x="141466" y="185163"/>
                  </a:lnTo>
                  <a:lnTo>
                    <a:pt x="139410" y="182821"/>
                  </a:lnTo>
                  <a:lnTo>
                    <a:pt x="137026" y="181230"/>
                  </a:lnTo>
                  <a:lnTo>
                    <a:pt x="134545" y="178587"/>
                  </a:lnTo>
                  <a:lnTo>
                    <a:pt x="132759" y="177660"/>
                  </a:lnTo>
                  <a:lnTo>
                    <a:pt x="132220" y="177121"/>
                  </a:lnTo>
                  <a:lnTo>
                    <a:pt x="132407" y="176030"/>
                  </a:lnTo>
                  <a:close/>
                  <a:moveTo>
                    <a:pt x="77367" y="166688"/>
                  </a:moveTo>
                  <a:lnTo>
                    <a:pt x="81457" y="167246"/>
                  </a:lnTo>
                  <a:lnTo>
                    <a:pt x="82586" y="167654"/>
                  </a:lnTo>
                  <a:lnTo>
                    <a:pt x="83713" y="167845"/>
                  </a:lnTo>
                  <a:lnTo>
                    <a:pt x="87250" y="167168"/>
                  </a:lnTo>
                  <a:lnTo>
                    <a:pt x="88697" y="167507"/>
                  </a:lnTo>
                  <a:lnTo>
                    <a:pt x="89669" y="168797"/>
                  </a:lnTo>
                  <a:lnTo>
                    <a:pt x="90876" y="169201"/>
                  </a:lnTo>
                  <a:lnTo>
                    <a:pt x="91831" y="169865"/>
                  </a:lnTo>
                  <a:lnTo>
                    <a:pt x="93605" y="168715"/>
                  </a:lnTo>
                  <a:lnTo>
                    <a:pt x="95411" y="170025"/>
                  </a:lnTo>
                  <a:lnTo>
                    <a:pt x="97012" y="172470"/>
                  </a:lnTo>
                  <a:lnTo>
                    <a:pt x="98900" y="174203"/>
                  </a:lnTo>
                  <a:lnTo>
                    <a:pt x="100682" y="175490"/>
                  </a:lnTo>
                  <a:lnTo>
                    <a:pt x="101033" y="176442"/>
                  </a:lnTo>
                  <a:lnTo>
                    <a:pt x="99952" y="178000"/>
                  </a:lnTo>
                  <a:lnTo>
                    <a:pt x="99622" y="179978"/>
                  </a:lnTo>
                  <a:lnTo>
                    <a:pt x="99729" y="182101"/>
                  </a:lnTo>
                  <a:lnTo>
                    <a:pt x="101076" y="186571"/>
                  </a:lnTo>
                  <a:lnTo>
                    <a:pt x="100604" y="187783"/>
                  </a:lnTo>
                  <a:lnTo>
                    <a:pt x="99249" y="189495"/>
                  </a:lnTo>
                  <a:lnTo>
                    <a:pt x="98239" y="191401"/>
                  </a:lnTo>
                  <a:lnTo>
                    <a:pt x="98369" y="192171"/>
                  </a:lnTo>
                  <a:lnTo>
                    <a:pt x="97970" y="192800"/>
                  </a:lnTo>
                  <a:lnTo>
                    <a:pt x="97842" y="194150"/>
                  </a:lnTo>
                  <a:lnTo>
                    <a:pt x="97012" y="193870"/>
                  </a:lnTo>
                  <a:lnTo>
                    <a:pt x="96250" y="194082"/>
                  </a:lnTo>
                  <a:lnTo>
                    <a:pt x="95509" y="194686"/>
                  </a:lnTo>
                  <a:lnTo>
                    <a:pt x="94357" y="195986"/>
                  </a:lnTo>
                  <a:lnTo>
                    <a:pt x="92560" y="195592"/>
                  </a:lnTo>
                  <a:lnTo>
                    <a:pt x="91709" y="195209"/>
                  </a:lnTo>
                  <a:lnTo>
                    <a:pt x="91502" y="194082"/>
                  </a:lnTo>
                  <a:lnTo>
                    <a:pt x="90966" y="193289"/>
                  </a:lnTo>
                  <a:lnTo>
                    <a:pt x="90196" y="192818"/>
                  </a:lnTo>
                  <a:lnTo>
                    <a:pt x="88294" y="190874"/>
                  </a:lnTo>
                  <a:lnTo>
                    <a:pt x="87401" y="189413"/>
                  </a:lnTo>
                  <a:lnTo>
                    <a:pt x="87387" y="187853"/>
                  </a:lnTo>
                  <a:lnTo>
                    <a:pt x="86898" y="186399"/>
                  </a:lnTo>
                  <a:lnTo>
                    <a:pt x="85912" y="185100"/>
                  </a:lnTo>
                  <a:lnTo>
                    <a:pt x="84612" y="184104"/>
                  </a:lnTo>
                  <a:lnTo>
                    <a:pt x="84178" y="183147"/>
                  </a:lnTo>
                  <a:lnTo>
                    <a:pt x="84009" y="182016"/>
                  </a:lnTo>
                  <a:lnTo>
                    <a:pt x="83897" y="179119"/>
                  </a:lnTo>
                  <a:lnTo>
                    <a:pt x="82053" y="175503"/>
                  </a:lnTo>
                  <a:lnTo>
                    <a:pt x="81413" y="174637"/>
                  </a:lnTo>
                  <a:lnTo>
                    <a:pt x="79683" y="173743"/>
                  </a:lnTo>
                  <a:lnTo>
                    <a:pt x="78250" y="172592"/>
                  </a:lnTo>
                  <a:lnTo>
                    <a:pt x="77639" y="171445"/>
                  </a:lnTo>
                  <a:lnTo>
                    <a:pt x="77082" y="169589"/>
                  </a:lnTo>
                  <a:lnTo>
                    <a:pt x="76697" y="169321"/>
                  </a:lnTo>
                  <a:lnTo>
                    <a:pt x="75579" y="169406"/>
                  </a:lnTo>
                  <a:lnTo>
                    <a:pt x="74495" y="169165"/>
                  </a:lnTo>
                  <a:lnTo>
                    <a:pt x="74810" y="167801"/>
                  </a:lnTo>
                  <a:lnTo>
                    <a:pt x="75883" y="166809"/>
                  </a:lnTo>
                  <a:close/>
                  <a:moveTo>
                    <a:pt x="108276" y="165702"/>
                  </a:moveTo>
                  <a:lnTo>
                    <a:pt x="109352" y="166284"/>
                  </a:lnTo>
                  <a:lnTo>
                    <a:pt x="110716" y="166350"/>
                  </a:lnTo>
                  <a:lnTo>
                    <a:pt x="111139" y="166139"/>
                  </a:lnTo>
                  <a:lnTo>
                    <a:pt x="113767" y="168021"/>
                  </a:lnTo>
                  <a:lnTo>
                    <a:pt x="113607" y="168974"/>
                  </a:lnTo>
                  <a:lnTo>
                    <a:pt x="113940" y="170227"/>
                  </a:lnTo>
                  <a:lnTo>
                    <a:pt x="112444" y="172399"/>
                  </a:lnTo>
                  <a:lnTo>
                    <a:pt x="112172" y="173129"/>
                  </a:lnTo>
                  <a:lnTo>
                    <a:pt x="111343" y="173831"/>
                  </a:lnTo>
                  <a:lnTo>
                    <a:pt x="108490" y="172104"/>
                  </a:lnTo>
                  <a:lnTo>
                    <a:pt x="107457" y="171049"/>
                  </a:lnTo>
                  <a:lnTo>
                    <a:pt x="107145" y="168892"/>
                  </a:lnTo>
                  <a:close/>
                  <a:moveTo>
                    <a:pt x="69679" y="159128"/>
                  </a:moveTo>
                  <a:lnTo>
                    <a:pt x="71685" y="159971"/>
                  </a:lnTo>
                  <a:lnTo>
                    <a:pt x="73009" y="161547"/>
                  </a:lnTo>
                  <a:lnTo>
                    <a:pt x="73043" y="163073"/>
                  </a:lnTo>
                  <a:lnTo>
                    <a:pt x="69314" y="160833"/>
                  </a:lnTo>
                  <a:lnTo>
                    <a:pt x="69209" y="160054"/>
                  </a:lnTo>
                  <a:lnTo>
                    <a:pt x="69297" y="159478"/>
                  </a:lnTo>
                  <a:close/>
                  <a:moveTo>
                    <a:pt x="160432" y="154180"/>
                  </a:moveTo>
                  <a:lnTo>
                    <a:pt x="162276" y="157124"/>
                  </a:lnTo>
                  <a:lnTo>
                    <a:pt x="162904" y="157482"/>
                  </a:lnTo>
                  <a:lnTo>
                    <a:pt x="164683" y="158835"/>
                  </a:lnTo>
                  <a:lnTo>
                    <a:pt x="164221" y="161560"/>
                  </a:lnTo>
                  <a:lnTo>
                    <a:pt x="164392" y="163152"/>
                  </a:lnTo>
                  <a:lnTo>
                    <a:pt x="163278" y="164215"/>
                  </a:lnTo>
                  <a:lnTo>
                    <a:pt x="162691" y="165675"/>
                  </a:lnTo>
                  <a:lnTo>
                    <a:pt x="161972" y="165158"/>
                  </a:lnTo>
                  <a:lnTo>
                    <a:pt x="160948" y="165241"/>
                  </a:lnTo>
                  <a:lnTo>
                    <a:pt x="159337" y="166482"/>
                  </a:lnTo>
                  <a:lnTo>
                    <a:pt x="156720" y="164815"/>
                  </a:lnTo>
                  <a:lnTo>
                    <a:pt x="156318" y="163519"/>
                  </a:lnTo>
                  <a:lnTo>
                    <a:pt x="158195" y="160651"/>
                  </a:lnTo>
                  <a:lnTo>
                    <a:pt x="158175" y="156387"/>
                  </a:lnTo>
                  <a:lnTo>
                    <a:pt x="158857" y="155339"/>
                  </a:lnTo>
                  <a:lnTo>
                    <a:pt x="159577" y="154587"/>
                  </a:lnTo>
                  <a:close/>
                  <a:moveTo>
                    <a:pt x="110332" y="150771"/>
                  </a:moveTo>
                  <a:lnTo>
                    <a:pt x="115113" y="154828"/>
                  </a:lnTo>
                  <a:lnTo>
                    <a:pt x="115044" y="155749"/>
                  </a:lnTo>
                  <a:lnTo>
                    <a:pt x="110267" y="152411"/>
                  </a:lnTo>
                  <a:lnTo>
                    <a:pt x="110049" y="151837"/>
                  </a:lnTo>
                  <a:lnTo>
                    <a:pt x="110040" y="151304"/>
                  </a:lnTo>
                  <a:close/>
                  <a:moveTo>
                    <a:pt x="110608" y="132307"/>
                  </a:moveTo>
                  <a:lnTo>
                    <a:pt x="111975" y="133242"/>
                  </a:lnTo>
                  <a:lnTo>
                    <a:pt x="112374" y="134037"/>
                  </a:lnTo>
                  <a:lnTo>
                    <a:pt x="111936" y="133997"/>
                  </a:lnTo>
                  <a:lnTo>
                    <a:pt x="111617" y="134140"/>
                  </a:lnTo>
                  <a:lnTo>
                    <a:pt x="110578" y="135775"/>
                  </a:lnTo>
                  <a:lnTo>
                    <a:pt x="111714" y="138793"/>
                  </a:lnTo>
                  <a:lnTo>
                    <a:pt x="111005" y="140989"/>
                  </a:lnTo>
                  <a:lnTo>
                    <a:pt x="109753" y="141127"/>
                  </a:lnTo>
                  <a:lnTo>
                    <a:pt x="109259" y="140891"/>
                  </a:lnTo>
                  <a:lnTo>
                    <a:pt x="109513" y="139806"/>
                  </a:lnTo>
                  <a:lnTo>
                    <a:pt x="109788" y="139308"/>
                  </a:lnTo>
                  <a:lnTo>
                    <a:pt x="109533" y="137876"/>
                  </a:lnTo>
                  <a:lnTo>
                    <a:pt x="108786" y="136976"/>
                  </a:lnTo>
                  <a:lnTo>
                    <a:pt x="108190" y="135228"/>
                  </a:lnTo>
                  <a:lnTo>
                    <a:pt x="107261" y="134179"/>
                  </a:lnTo>
                  <a:lnTo>
                    <a:pt x="107693" y="132494"/>
                  </a:lnTo>
                  <a:close/>
                  <a:moveTo>
                    <a:pt x="91368" y="51151"/>
                  </a:moveTo>
                  <a:lnTo>
                    <a:pt x="94750" y="52338"/>
                  </a:lnTo>
                  <a:lnTo>
                    <a:pt x="102234" y="56613"/>
                  </a:lnTo>
                  <a:lnTo>
                    <a:pt x="104972" y="57674"/>
                  </a:lnTo>
                  <a:lnTo>
                    <a:pt x="107820" y="58466"/>
                  </a:lnTo>
                  <a:lnTo>
                    <a:pt x="110074" y="58700"/>
                  </a:lnTo>
                  <a:lnTo>
                    <a:pt x="112085" y="57723"/>
                  </a:lnTo>
                  <a:lnTo>
                    <a:pt x="112936" y="56723"/>
                  </a:lnTo>
                  <a:lnTo>
                    <a:pt x="114478" y="54096"/>
                  </a:lnTo>
                  <a:lnTo>
                    <a:pt x="116126" y="53774"/>
                  </a:lnTo>
                  <a:lnTo>
                    <a:pt x="117106" y="54730"/>
                  </a:lnTo>
                  <a:lnTo>
                    <a:pt x="117864" y="56012"/>
                  </a:lnTo>
                  <a:lnTo>
                    <a:pt x="118201" y="57897"/>
                  </a:lnTo>
                  <a:lnTo>
                    <a:pt x="117732" y="59863"/>
                  </a:lnTo>
                  <a:lnTo>
                    <a:pt x="116162" y="61626"/>
                  </a:lnTo>
                  <a:lnTo>
                    <a:pt x="115204" y="63747"/>
                  </a:lnTo>
                  <a:lnTo>
                    <a:pt x="114573" y="70770"/>
                  </a:lnTo>
                  <a:lnTo>
                    <a:pt x="114604" y="72871"/>
                  </a:lnTo>
                  <a:lnTo>
                    <a:pt x="115108" y="74893"/>
                  </a:lnTo>
                  <a:lnTo>
                    <a:pt x="116471" y="78102"/>
                  </a:lnTo>
                  <a:lnTo>
                    <a:pt x="117184" y="79005"/>
                  </a:lnTo>
                  <a:lnTo>
                    <a:pt x="119246" y="80152"/>
                  </a:lnTo>
                  <a:lnTo>
                    <a:pt x="119802" y="81020"/>
                  </a:lnTo>
                  <a:lnTo>
                    <a:pt x="119922" y="82578"/>
                  </a:lnTo>
                  <a:lnTo>
                    <a:pt x="120246" y="83949"/>
                  </a:lnTo>
                  <a:lnTo>
                    <a:pt x="121580" y="84473"/>
                  </a:lnTo>
                  <a:lnTo>
                    <a:pt x="122714" y="85162"/>
                  </a:lnTo>
                  <a:lnTo>
                    <a:pt x="122291" y="86683"/>
                  </a:lnTo>
                  <a:lnTo>
                    <a:pt x="121582" y="88230"/>
                  </a:lnTo>
                  <a:lnTo>
                    <a:pt x="120650" y="92036"/>
                  </a:lnTo>
                  <a:lnTo>
                    <a:pt x="116229" y="100840"/>
                  </a:lnTo>
                  <a:lnTo>
                    <a:pt x="115970" y="102740"/>
                  </a:lnTo>
                  <a:lnTo>
                    <a:pt x="114223" y="106523"/>
                  </a:lnTo>
                  <a:lnTo>
                    <a:pt x="110675" y="107134"/>
                  </a:lnTo>
                  <a:lnTo>
                    <a:pt x="106561" y="108959"/>
                  </a:lnTo>
                  <a:lnTo>
                    <a:pt x="104272" y="110381"/>
                  </a:lnTo>
                  <a:lnTo>
                    <a:pt x="102286" y="112229"/>
                  </a:lnTo>
                  <a:lnTo>
                    <a:pt x="101526" y="114643"/>
                  </a:lnTo>
                  <a:lnTo>
                    <a:pt x="102178" y="115747"/>
                  </a:lnTo>
                  <a:lnTo>
                    <a:pt x="102593" y="116925"/>
                  </a:lnTo>
                  <a:lnTo>
                    <a:pt x="102545" y="118198"/>
                  </a:lnTo>
                  <a:lnTo>
                    <a:pt x="101930" y="119255"/>
                  </a:lnTo>
                  <a:lnTo>
                    <a:pt x="99954" y="121829"/>
                  </a:lnTo>
                  <a:lnTo>
                    <a:pt x="99118" y="123931"/>
                  </a:lnTo>
                  <a:lnTo>
                    <a:pt x="98231" y="124873"/>
                  </a:lnTo>
                  <a:lnTo>
                    <a:pt x="97797" y="126018"/>
                  </a:lnTo>
                  <a:lnTo>
                    <a:pt x="97943" y="127327"/>
                  </a:lnTo>
                  <a:lnTo>
                    <a:pt x="98740" y="128464"/>
                  </a:lnTo>
                  <a:lnTo>
                    <a:pt x="101150" y="133375"/>
                  </a:lnTo>
                  <a:lnTo>
                    <a:pt x="103728" y="138113"/>
                  </a:lnTo>
                  <a:lnTo>
                    <a:pt x="104283" y="138657"/>
                  </a:lnTo>
                  <a:lnTo>
                    <a:pt x="104500" y="139292"/>
                  </a:lnTo>
                  <a:lnTo>
                    <a:pt x="102977" y="140547"/>
                  </a:lnTo>
                  <a:lnTo>
                    <a:pt x="103007" y="142819"/>
                  </a:lnTo>
                  <a:lnTo>
                    <a:pt x="103463" y="145068"/>
                  </a:lnTo>
                  <a:lnTo>
                    <a:pt x="105748" y="150649"/>
                  </a:lnTo>
                  <a:lnTo>
                    <a:pt x="106074" y="152140"/>
                  </a:lnTo>
                  <a:lnTo>
                    <a:pt x="106823" y="153362"/>
                  </a:lnTo>
                  <a:lnTo>
                    <a:pt x="107991" y="154507"/>
                  </a:lnTo>
                  <a:lnTo>
                    <a:pt x="109282" y="155469"/>
                  </a:lnTo>
                  <a:lnTo>
                    <a:pt x="112994" y="157121"/>
                  </a:lnTo>
                  <a:lnTo>
                    <a:pt x="114426" y="157446"/>
                  </a:lnTo>
                  <a:lnTo>
                    <a:pt x="115916" y="157503"/>
                  </a:lnTo>
                  <a:lnTo>
                    <a:pt x="116286" y="156391"/>
                  </a:lnTo>
                  <a:lnTo>
                    <a:pt x="117592" y="156015"/>
                  </a:lnTo>
                  <a:lnTo>
                    <a:pt x="117303" y="154921"/>
                  </a:lnTo>
                  <a:lnTo>
                    <a:pt x="115713" y="153411"/>
                  </a:lnTo>
                  <a:lnTo>
                    <a:pt x="115651" y="152591"/>
                  </a:lnTo>
                  <a:lnTo>
                    <a:pt x="116486" y="151982"/>
                  </a:lnTo>
                  <a:lnTo>
                    <a:pt x="117484" y="151627"/>
                  </a:lnTo>
                  <a:lnTo>
                    <a:pt x="119719" y="149979"/>
                  </a:lnTo>
                  <a:lnTo>
                    <a:pt x="122088" y="148659"/>
                  </a:lnTo>
                  <a:lnTo>
                    <a:pt x="125102" y="148768"/>
                  </a:lnTo>
                  <a:lnTo>
                    <a:pt x="128062" y="149505"/>
                  </a:lnTo>
                  <a:lnTo>
                    <a:pt x="130164" y="150274"/>
                  </a:lnTo>
                  <a:lnTo>
                    <a:pt x="131892" y="151688"/>
                  </a:lnTo>
                  <a:lnTo>
                    <a:pt x="133668" y="154130"/>
                  </a:lnTo>
                  <a:lnTo>
                    <a:pt x="134916" y="156832"/>
                  </a:lnTo>
                  <a:lnTo>
                    <a:pt x="134910" y="158122"/>
                  </a:lnTo>
                  <a:lnTo>
                    <a:pt x="134605" y="159412"/>
                  </a:lnTo>
                  <a:lnTo>
                    <a:pt x="134672" y="160689"/>
                  </a:lnTo>
                  <a:lnTo>
                    <a:pt x="135601" y="161557"/>
                  </a:lnTo>
                  <a:lnTo>
                    <a:pt x="138464" y="161622"/>
                  </a:lnTo>
                  <a:lnTo>
                    <a:pt x="139914" y="159616"/>
                  </a:lnTo>
                  <a:lnTo>
                    <a:pt x="140099" y="157359"/>
                  </a:lnTo>
                  <a:lnTo>
                    <a:pt x="139080" y="156483"/>
                  </a:lnTo>
                  <a:lnTo>
                    <a:pt x="139549" y="155370"/>
                  </a:lnTo>
                  <a:lnTo>
                    <a:pt x="140429" y="154539"/>
                  </a:lnTo>
                  <a:lnTo>
                    <a:pt x="141693" y="155283"/>
                  </a:lnTo>
                  <a:lnTo>
                    <a:pt x="142906" y="156690"/>
                  </a:lnTo>
                  <a:lnTo>
                    <a:pt x="147340" y="158217"/>
                  </a:lnTo>
                  <a:lnTo>
                    <a:pt x="148473" y="158250"/>
                  </a:lnTo>
                  <a:lnTo>
                    <a:pt x="149400" y="158536"/>
                  </a:lnTo>
                  <a:lnTo>
                    <a:pt x="151383" y="159600"/>
                  </a:lnTo>
                  <a:lnTo>
                    <a:pt x="152311" y="160445"/>
                  </a:lnTo>
                  <a:lnTo>
                    <a:pt x="151174" y="162199"/>
                  </a:lnTo>
                  <a:lnTo>
                    <a:pt x="146771" y="162589"/>
                  </a:lnTo>
                  <a:lnTo>
                    <a:pt x="145499" y="163910"/>
                  </a:lnTo>
                  <a:lnTo>
                    <a:pt x="146793" y="166560"/>
                  </a:lnTo>
                  <a:lnTo>
                    <a:pt x="148905" y="168732"/>
                  </a:lnTo>
                  <a:lnTo>
                    <a:pt x="150259" y="170489"/>
                  </a:lnTo>
                  <a:lnTo>
                    <a:pt x="151462" y="172380"/>
                  </a:lnTo>
                  <a:lnTo>
                    <a:pt x="151404" y="174132"/>
                  </a:lnTo>
                  <a:lnTo>
                    <a:pt x="150708" y="175955"/>
                  </a:lnTo>
                  <a:lnTo>
                    <a:pt x="152645" y="175810"/>
                  </a:lnTo>
                  <a:lnTo>
                    <a:pt x="154468" y="176198"/>
                  </a:lnTo>
                  <a:lnTo>
                    <a:pt x="156988" y="177722"/>
                  </a:lnTo>
                  <a:lnTo>
                    <a:pt x="157771" y="177878"/>
                  </a:lnTo>
                  <a:lnTo>
                    <a:pt x="158616" y="177635"/>
                  </a:lnTo>
                  <a:lnTo>
                    <a:pt x="158495" y="183134"/>
                  </a:lnTo>
                  <a:lnTo>
                    <a:pt x="156780" y="188167"/>
                  </a:lnTo>
                  <a:lnTo>
                    <a:pt x="154612" y="187541"/>
                  </a:lnTo>
                  <a:lnTo>
                    <a:pt x="152757" y="185413"/>
                  </a:lnTo>
                  <a:lnTo>
                    <a:pt x="153135" y="182824"/>
                  </a:lnTo>
                  <a:lnTo>
                    <a:pt x="154321" y="180319"/>
                  </a:lnTo>
                  <a:lnTo>
                    <a:pt x="153645" y="179790"/>
                  </a:lnTo>
                  <a:lnTo>
                    <a:pt x="152449" y="179999"/>
                  </a:lnTo>
                  <a:lnTo>
                    <a:pt x="151088" y="180563"/>
                  </a:lnTo>
                  <a:lnTo>
                    <a:pt x="149622" y="180757"/>
                  </a:lnTo>
                  <a:lnTo>
                    <a:pt x="147205" y="180424"/>
                  </a:lnTo>
                  <a:lnTo>
                    <a:pt x="142243" y="177696"/>
                  </a:lnTo>
                  <a:lnTo>
                    <a:pt x="140222" y="177449"/>
                  </a:lnTo>
                  <a:lnTo>
                    <a:pt x="139769" y="176214"/>
                  </a:lnTo>
                  <a:lnTo>
                    <a:pt x="139881" y="173592"/>
                  </a:lnTo>
                  <a:lnTo>
                    <a:pt x="137901" y="170489"/>
                  </a:lnTo>
                  <a:lnTo>
                    <a:pt x="137584" y="169378"/>
                  </a:lnTo>
                  <a:lnTo>
                    <a:pt x="136957" y="168503"/>
                  </a:lnTo>
                  <a:lnTo>
                    <a:pt x="131051" y="165122"/>
                  </a:lnTo>
                  <a:lnTo>
                    <a:pt x="130328" y="164553"/>
                  </a:lnTo>
                  <a:lnTo>
                    <a:pt x="128512" y="161854"/>
                  </a:lnTo>
                  <a:lnTo>
                    <a:pt x="124396" y="158011"/>
                  </a:lnTo>
                  <a:lnTo>
                    <a:pt x="123243" y="157618"/>
                  </a:lnTo>
                  <a:lnTo>
                    <a:pt x="121988" y="157507"/>
                  </a:lnTo>
                  <a:lnTo>
                    <a:pt x="121582" y="158482"/>
                  </a:lnTo>
                  <a:lnTo>
                    <a:pt x="122152" y="159981"/>
                  </a:lnTo>
                  <a:lnTo>
                    <a:pt x="122384" y="161268"/>
                  </a:lnTo>
                  <a:lnTo>
                    <a:pt x="122295" y="162617"/>
                  </a:lnTo>
                  <a:lnTo>
                    <a:pt x="122467" y="163661"/>
                  </a:lnTo>
                  <a:lnTo>
                    <a:pt x="124418" y="165796"/>
                  </a:lnTo>
                  <a:lnTo>
                    <a:pt x="124709" y="166806"/>
                  </a:lnTo>
                  <a:lnTo>
                    <a:pt x="126003" y="169547"/>
                  </a:lnTo>
                  <a:lnTo>
                    <a:pt x="126162" y="172747"/>
                  </a:lnTo>
                  <a:lnTo>
                    <a:pt x="124500" y="174074"/>
                  </a:lnTo>
                  <a:lnTo>
                    <a:pt x="122627" y="172593"/>
                  </a:lnTo>
                  <a:lnTo>
                    <a:pt x="122567" y="171387"/>
                  </a:lnTo>
                  <a:lnTo>
                    <a:pt x="122245" y="170264"/>
                  </a:lnTo>
                  <a:lnTo>
                    <a:pt x="120233" y="167355"/>
                  </a:lnTo>
                  <a:lnTo>
                    <a:pt x="119561" y="166728"/>
                  </a:lnTo>
                  <a:lnTo>
                    <a:pt x="115774" y="163855"/>
                  </a:lnTo>
                  <a:lnTo>
                    <a:pt x="112843" y="160698"/>
                  </a:lnTo>
                  <a:lnTo>
                    <a:pt x="106324" y="157334"/>
                  </a:lnTo>
                  <a:lnTo>
                    <a:pt x="105549" y="157150"/>
                  </a:lnTo>
                  <a:lnTo>
                    <a:pt x="104417" y="157404"/>
                  </a:lnTo>
                  <a:lnTo>
                    <a:pt x="103351" y="157823"/>
                  </a:lnTo>
                  <a:lnTo>
                    <a:pt x="100202" y="159486"/>
                  </a:lnTo>
                  <a:lnTo>
                    <a:pt x="99090" y="160644"/>
                  </a:lnTo>
                  <a:lnTo>
                    <a:pt x="98991" y="162422"/>
                  </a:lnTo>
                  <a:lnTo>
                    <a:pt x="96732" y="163835"/>
                  </a:lnTo>
                  <a:lnTo>
                    <a:pt x="93623" y="164034"/>
                  </a:lnTo>
                  <a:lnTo>
                    <a:pt x="91234" y="163151"/>
                  </a:lnTo>
                  <a:lnTo>
                    <a:pt x="89259" y="161380"/>
                  </a:lnTo>
                  <a:lnTo>
                    <a:pt x="87626" y="161295"/>
                  </a:lnTo>
                  <a:lnTo>
                    <a:pt x="85601" y="158527"/>
                  </a:lnTo>
                  <a:lnTo>
                    <a:pt x="83132" y="158171"/>
                  </a:lnTo>
                  <a:lnTo>
                    <a:pt x="81098" y="160335"/>
                  </a:lnTo>
                  <a:lnTo>
                    <a:pt x="80662" y="156035"/>
                  </a:lnTo>
                  <a:lnTo>
                    <a:pt x="80649" y="151689"/>
                  </a:lnTo>
                  <a:lnTo>
                    <a:pt x="81221" y="150420"/>
                  </a:lnTo>
                  <a:lnTo>
                    <a:pt x="82230" y="149362"/>
                  </a:lnTo>
                  <a:lnTo>
                    <a:pt x="87399" y="144806"/>
                  </a:lnTo>
                  <a:lnTo>
                    <a:pt x="88051" y="143342"/>
                  </a:lnTo>
                  <a:lnTo>
                    <a:pt x="87825" y="141375"/>
                  </a:lnTo>
                  <a:lnTo>
                    <a:pt x="86648" y="139778"/>
                  </a:lnTo>
                  <a:lnTo>
                    <a:pt x="84799" y="138807"/>
                  </a:lnTo>
                  <a:lnTo>
                    <a:pt x="82664" y="138404"/>
                  </a:lnTo>
                  <a:lnTo>
                    <a:pt x="81124" y="137510"/>
                  </a:lnTo>
                  <a:lnTo>
                    <a:pt x="79917" y="136040"/>
                  </a:lnTo>
                  <a:lnTo>
                    <a:pt x="79100" y="138641"/>
                  </a:lnTo>
                  <a:lnTo>
                    <a:pt x="79896" y="142514"/>
                  </a:lnTo>
                  <a:lnTo>
                    <a:pt x="80027" y="145032"/>
                  </a:lnTo>
                  <a:lnTo>
                    <a:pt x="79297" y="145974"/>
                  </a:lnTo>
                  <a:lnTo>
                    <a:pt x="77972" y="146001"/>
                  </a:lnTo>
                  <a:lnTo>
                    <a:pt x="76712" y="145703"/>
                  </a:lnTo>
                  <a:lnTo>
                    <a:pt x="75769" y="144801"/>
                  </a:lnTo>
                  <a:lnTo>
                    <a:pt x="75087" y="142205"/>
                  </a:lnTo>
                  <a:lnTo>
                    <a:pt x="73287" y="140487"/>
                  </a:lnTo>
                  <a:lnTo>
                    <a:pt x="72556" y="138027"/>
                  </a:lnTo>
                  <a:lnTo>
                    <a:pt x="71740" y="137677"/>
                  </a:lnTo>
                  <a:lnTo>
                    <a:pt x="70061" y="137867"/>
                  </a:lnTo>
                  <a:lnTo>
                    <a:pt x="68827" y="136722"/>
                  </a:lnTo>
                  <a:lnTo>
                    <a:pt x="67995" y="133850"/>
                  </a:lnTo>
                  <a:lnTo>
                    <a:pt x="67820" y="130766"/>
                  </a:lnTo>
                  <a:lnTo>
                    <a:pt x="67120" y="128171"/>
                  </a:lnTo>
                  <a:lnTo>
                    <a:pt x="66112" y="125660"/>
                  </a:lnTo>
                  <a:lnTo>
                    <a:pt x="65525" y="123608"/>
                  </a:lnTo>
                  <a:lnTo>
                    <a:pt x="64614" y="114395"/>
                  </a:lnTo>
                  <a:lnTo>
                    <a:pt x="64389" y="113549"/>
                  </a:lnTo>
                  <a:lnTo>
                    <a:pt x="63907" y="112852"/>
                  </a:lnTo>
                  <a:lnTo>
                    <a:pt x="62769" y="111805"/>
                  </a:lnTo>
                  <a:lnTo>
                    <a:pt x="61901" y="110524"/>
                  </a:lnTo>
                  <a:lnTo>
                    <a:pt x="61744" y="109468"/>
                  </a:lnTo>
                  <a:lnTo>
                    <a:pt x="61981" y="104928"/>
                  </a:lnTo>
                  <a:lnTo>
                    <a:pt x="62372" y="103834"/>
                  </a:lnTo>
                  <a:lnTo>
                    <a:pt x="63268" y="103306"/>
                  </a:lnTo>
                  <a:lnTo>
                    <a:pt x="64493" y="104195"/>
                  </a:lnTo>
                  <a:lnTo>
                    <a:pt x="65471" y="105299"/>
                  </a:lnTo>
                  <a:lnTo>
                    <a:pt x="66682" y="105829"/>
                  </a:lnTo>
                  <a:lnTo>
                    <a:pt x="67749" y="106529"/>
                  </a:lnTo>
                  <a:lnTo>
                    <a:pt x="69753" y="109214"/>
                  </a:lnTo>
                  <a:lnTo>
                    <a:pt x="70543" y="109635"/>
                  </a:lnTo>
                  <a:lnTo>
                    <a:pt x="73009" y="109549"/>
                  </a:lnTo>
                  <a:lnTo>
                    <a:pt x="74463" y="109208"/>
                  </a:lnTo>
                  <a:lnTo>
                    <a:pt x="75164" y="108230"/>
                  </a:lnTo>
                  <a:lnTo>
                    <a:pt x="75607" y="107065"/>
                  </a:lnTo>
                  <a:lnTo>
                    <a:pt x="75618" y="105688"/>
                  </a:lnTo>
                  <a:lnTo>
                    <a:pt x="74197" y="101632"/>
                  </a:lnTo>
                  <a:lnTo>
                    <a:pt x="73760" y="98704"/>
                  </a:lnTo>
                  <a:lnTo>
                    <a:pt x="73741" y="96064"/>
                  </a:lnTo>
                  <a:lnTo>
                    <a:pt x="74112" y="93418"/>
                  </a:lnTo>
                  <a:lnTo>
                    <a:pt x="76052" y="89013"/>
                  </a:lnTo>
                  <a:lnTo>
                    <a:pt x="76300" y="85953"/>
                  </a:lnTo>
                  <a:lnTo>
                    <a:pt x="76114" y="81860"/>
                  </a:lnTo>
                  <a:lnTo>
                    <a:pt x="76455" y="79423"/>
                  </a:lnTo>
                  <a:lnTo>
                    <a:pt x="76397" y="78023"/>
                  </a:lnTo>
                  <a:lnTo>
                    <a:pt x="75238" y="75818"/>
                  </a:lnTo>
                  <a:lnTo>
                    <a:pt x="74935" y="73469"/>
                  </a:lnTo>
                  <a:lnTo>
                    <a:pt x="78179" y="61500"/>
                  </a:lnTo>
                  <a:lnTo>
                    <a:pt x="79193" y="59183"/>
                  </a:lnTo>
                  <a:lnTo>
                    <a:pt x="79934" y="56790"/>
                  </a:lnTo>
                  <a:lnTo>
                    <a:pt x="80271" y="53609"/>
                  </a:lnTo>
                  <a:lnTo>
                    <a:pt x="82696" y="52738"/>
                  </a:lnTo>
                  <a:lnTo>
                    <a:pt x="85005" y="51423"/>
                  </a:lnTo>
                  <a:lnTo>
                    <a:pt x="86198" y="51526"/>
                  </a:lnTo>
                  <a:lnTo>
                    <a:pt x="87464" y="51842"/>
                  </a:lnTo>
                  <a:lnTo>
                    <a:pt x="90259" y="51189"/>
                  </a:lnTo>
                  <a:close/>
                  <a:moveTo>
                    <a:pt x="109982" y="42103"/>
                  </a:moveTo>
                  <a:lnTo>
                    <a:pt x="110967" y="43336"/>
                  </a:lnTo>
                  <a:lnTo>
                    <a:pt x="109502" y="44754"/>
                  </a:lnTo>
                  <a:lnTo>
                    <a:pt x="108099" y="46399"/>
                  </a:lnTo>
                  <a:lnTo>
                    <a:pt x="107369" y="45945"/>
                  </a:lnTo>
                  <a:lnTo>
                    <a:pt x="108155" y="44346"/>
                  </a:lnTo>
                  <a:lnTo>
                    <a:pt x="108133" y="43791"/>
                  </a:lnTo>
                  <a:lnTo>
                    <a:pt x="108777" y="42536"/>
                  </a:lnTo>
                  <a:close/>
                  <a:moveTo>
                    <a:pt x="93837" y="38134"/>
                  </a:moveTo>
                  <a:lnTo>
                    <a:pt x="94533" y="39064"/>
                  </a:lnTo>
                  <a:lnTo>
                    <a:pt x="94700" y="40454"/>
                  </a:lnTo>
                  <a:lnTo>
                    <a:pt x="94577" y="41995"/>
                  </a:lnTo>
                  <a:lnTo>
                    <a:pt x="93458" y="41181"/>
                  </a:lnTo>
                  <a:lnTo>
                    <a:pt x="93210" y="40018"/>
                  </a:lnTo>
                  <a:lnTo>
                    <a:pt x="93323" y="39159"/>
                  </a:lnTo>
                  <a:close/>
                  <a:moveTo>
                    <a:pt x="97781" y="33185"/>
                  </a:moveTo>
                  <a:lnTo>
                    <a:pt x="100641" y="34043"/>
                  </a:lnTo>
                  <a:lnTo>
                    <a:pt x="100870" y="36122"/>
                  </a:lnTo>
                  <a:lnTo>
                    <a:pt x="99561" y="36076"/>
                  </a:lnTo>
                  <a:lnTo>
                    <a:pt x="97589" y="34812"/>
                  </a:lnTo>
                  <a:lnTo>
                    <a:pt x="97405" y="34173"/>
                  </a:lnTo>
                  <a:lnTo>
                    <a:pt x="97436" y="33636"/>
                  </a:lnTo>
                  <a:close/>
                  <a:moveTo>
                    <a:pt x="111040" y="8342"/>
                  </a:moveTo>
                  <a:lnTo>
                    <a:pt x="111923" y="8577"/>
                  </a:lnTo>
                  <a:lnTo>
                    <a:pt x="110351" y="10962"/>
                  </a:lnTo>
                  <a:lnTo>
                    <a:pt x="109936" y="11242"/>
                  </a:lnTo>
                  <a:lnTo>
                    <a:pt x="109334" y="11111"/>
                  </a:lnTo>
                  <a:lnTo>
                    <a:pt x="109935" y="8938"/>
                  </a:lnTo>
                  <a:close/>
                  <a:moveTo>
                    <a:pt x="107871" y="0"/>
                  </a:moveTo>
                  <a:lnTo>
                    <a:pt x="108293" y="47"/>
                  </a:lnTo>
                  <a:lnTo>
                    <a:pt x="108540" y="1370"/>
                  </a:lnTo>
                  <a:lnTo>
                    <a:pt x="107467" y="3253"/>
                  </a:lnTo>
                  <a:lnTo>
                    <a:pt x="106605" y="3233"/>
                  </a:lnTo>
                  <a:lnTo>
                    <a:pt x="106734" y="2183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16" name="ee4p_KP_1_82333">
              <a:extLst>
                <a:ext uri="{FF2B5EF4-FFF2-40B4-BE49-F238E27FC236}">
                  <a16:creationId xmlns:a16="http://schemas.microsoft.com/office/drawing/2014/main" id="{FA1A51DC-8011-2DCA-2AF5-6450F977047F}"/>
                </a:ext>
              </a:extLst>
            </p:cNvPr>
            <p:cNvSpPr>
              <a:spLocks noChangeAspect="1"/>
            </p:cNvSpPr>
            <p:nvPr>
              <p:custDataLst>
                <p:tags r:id="rId44"/>
              </p:custDataLst>
            </p:nvPr>
          </p:nvSpPr>
          <p:spPr>
            <a:xfrm>
              <a:off x="9967782" y="3368132"/>
              <a:ext cx="176020" cy="178203"/>
            </a:xfrm>
            <a:custGeom>
              <a:avLst/>
              <a:gdLst>
                <a:gd name="connsiteX0" fmla="*/ 12956 w 140161"/>
                <a:gd name="connsiteY0" fmla="*/ 89447 h 138138"/>
                <a:gd name="connsiteX1" fmla="*/ 12308 w 140161"/>
                <a:gd name="connsiteY1" fmla="*/ 91306 h 138138"/>
                <a:gd name="connsiteX2" fmla="*/ 11062 w 140161"/>
                <a:gd name="connsiteY2" fmla="*/ 92051 h 138138"/>
                <a:gd name="connsiteX3" fmla="*/ 10999 w 140161"/>
                <a:gd name="connsiteY3" fmla="*/ 90719 h 138138"/>
                <a:gd name="connsiteX4" fmla="*/ 11961 w 140161"/>
                <a:gd name="connsiteY4" fmla="*/ 89596 h 138138"/>
                <a:gd name="connsiteX5" fmla="*/ 122713 w 140161"/>
                <a:gd name="connsiteY5" fmla="*/ 0 h 138138"/>
                <a:gd name="connsiteX6" fmla="*/ 123663 w 140161"/>
                <a:gd name="connsiteY6" fmla="*/ 67 h 138138"/>
                <a:gd name="connsiteX7" fmla="*/ 124454 w 140161"/>
                <a:gd name="connsiteY7" fmla="*/ 625 h 138138"/>
                <a:gd name="connsiteX8" fmla="*/ 125456 w 140161"/>
                <a:gd name="connsiteY8" fmla="*/ 953 h 138138"/>
                <a:gd name="connsiteX9" fmla="*/ 126790 w 140161"/>
                <a:gd name="connsiteY9" fmla="*/ 643 h 138138"/>
                <a:gd name="connsiteX10" fmla="*/ 127723 w 140161"/>
                <a:gd name="connsiteY10" fmla="*/ 1130 h 138138"/>
                <a:gd name="connsiteX11" fmla="*/ 128308 w 140161"/>
                <a:gd name="connsiteY11" fmla="*/ 2148 h 138138"/>
                <a:gd name="connsiteX12" fmla="*/ 130277 w 140161"/>
                <a:gd name="connsiteY12" fmla="*/ 2849 h 138138"/>
                <a:gd name="connsiteX13" fmla="*/ 130466 w 140161"/>
                <a:gd name="connsiteY13" fmla="*/ 3363 h 138138"/>
                <a:gd name="connsiteX14" fmla="*/ 130418 w 140161"/>
                <a:gd name="connsiteY14" fmla="*/ 6781 h 138138"/>
                <a:gd name="connsiteX15" fmla="*/ 131500 w 140161"/>
                <a:gd name="connsiteY15" fmla="*/ 8381 h 138138"/>
                <a:gd name="connsiteX16" fmla="*/ 132940 w 140161"/>
                <a:gd name="connsiteY16" fmla="*/ 9826 h 138138"/>
                <a:gd name="connsiteX17" fmla="*/ 134920 w 140161"/>
                <a:gd name="connsiteY17" fmla="*/ 11139 h 138138"/>
                <a:gd name="connsiteX18" fmla="*/ 135981 w 140161"/>
                <a:gd name="connsiteY18" fmla="*/ 11437 h 138138"/>
                <a:gd name="connsiteX19" fmla="*/ 136616 w 140161"/>
                <a:gd name="connsiteY19" fmla="*/ 12374 h 138138"/>
                <a:gd name="connsiteX20" fmla="*/ 137216 w 140161"/>
                <a:gd name="connsiteY20" fmla="*/ 13993 h 138138"/>
                <a:gd name="connsiteX21" fmla="*/ 138628 w 140161"/>
                <a:gd name="connsiteY21" fmla="*/ 15568 h 138138"/>
                <a:gd name="connsiteX22" fmla="*/ 139371 w 140161"/>
                <a:gd name="connsiteY22" fmla="*/ 16717 h 138138"/>
                <a:gd name="connsiteX23" fmla="*/ 139513 w 140161"/>
                <a:gd name="connsiteY23" fmla="*/ 17908 h 138138"/>
                <a:gd name="connsiteX24" fmla="*/ 140161 w 140161"/>
                <a:gd name="connsiteY24" fmla="*/ 18580 h 138138"/>
                <a:gd name="connsiteX25" fmla="*/ 139038 w 140161"/>
                <a:gd name="connsiteY25" fmla="*/ 19317 h 138138"/>
                <a:gd name="connsiteX26" fmla="*/ 137551 w 140161"/>
                <a:gd name="connsiteY26" fmla="*/ 18869 h 138138"/>
                <a:gd name="connsiteX27" fmla="*/ 135080 w 140161"/>
                <a:gd name="connsiteY27" fmla="*/ 18602 h 138138"/>
                <a:gd name="connsiteX28" fmla="*/ 131923 w 140161"/>
                <a:gd name="connsiteY28" fmla="*/ 20934 h 138138"/>
                <a:gd name="connsiteX29" fmla="*/ 130177 w 140161"/>
                <a:gd name="connsiteY29" fmla="*/ 21756 h 138138"/>
                <a:gd name="connsiteX30" fmla="*/ 128941 w 140161"/>
                <a:gd name="connsiteY30" fmla="*/ 24048 h 138138"/>
                <a:gd name="connsiteX31" fmla="*/ 126473 w 140161"/>
                <a:gd name="connsiteY31" fmla="*/ 25409 h 138138"/>
                <a:gd name="connsiteX32" fmla="*/ 125125 w 140161"/>
                <a:gd name="connsiteY32" fmla="*/ 26858 h 138138"/>
                <a:gd name="connsiteX33" fmla="*/ 123376 w 140161"/>
                <a:gd name="connsiteY33" fmla="*/ 29364 h 138138"/>
                <a:gd name="connsiteX34" fmla="*/ 122230 w 140161"/>
                <a:gd name="connsiteY34" fmla="*/ 31782 h 138138"/>
                <a:gd name="connsiteX35" fmla="*/ 119576 w 140161"/>
                <a:gd name="connsiteY35" fmla="*/ 34252 h 138138"/>
                <a:gd name="connsiteX36" fmla="*/ 118028 w 140161"/>
                <a:gd name="connsiteY36" fmla="*/ 37356 h 138138"/>
                <a:gd name="connsiteX37" fmla="*/ 117941 w 140161"/>
                <a:gd name="connsiteY37" fmla="*/ 40016 h 138138"/>
                <a:gd name="connsiteX38" fmla="*/ 119634 w 140161"/>
                <a:gd name="connsiteY38" fmla="*/ 42732 h 138138"/>
                <a:gd name="connsiteX39" fmla="*/ 119785 w 140161"/>
                <a:gd name="connsiteY39" fmla="*/ 45045 h 138138"/>
                <a:gd name="connsiteX40" fmla="*/ 118597 w 140161"/>
                <a:gd name="connsiteY40" fmla="*/ 49794 h 138138"/>
                <a:gd name="connsiteX41" fmla="*/ 119258 w 140161"/>
                <a:gd name="connsiteY41" fmla="*/ 54830 h 138138"/>
                <a:gd name="connsiteX42" fmla="*/ 118522 w 140161"/>
                <a:gd name="connsiteY42" fmla="*/ 56800 h 138138"/>
                <a:gd name="connsiteX43" fmla="*/ 110394 w 140161"/>
                <a:gd name="connsiteY43" fmla="*/ 60240 h 138138"/>
                <a:gd name="connsiteX44" fmla="*/ 108271 w 140161"/>
                <a:gd name="connsiteY44" fmla="*/ 61953 h 138138"/>
                <a:gd name="connsiteX45" fmla="*/ 105278 w 140161"/>
                <a:gd name="connsiteY45" fmla="*/ 66407 h 138138"/>
                <a:gd name="connsiteX46" fmla="*/ 101640 w 140161"/>
                <a:gd name="connsiteY46" fmla="*/ 68061 h 138138"/>
                <a:gd name="connsiteX47" fmla="*/ 99379 w 140161"/>
                <a:gd name="connsiteY47" fmla="*/ 69877 h 138138"/>
                <a:gd name="connsiteX48" fmla="*/ 96248 w 140161"/>
                <a:gd name="connsiteY48" fmla="*/ 70948 h 138138"/>
                <a:gd name="connsiteX49" fmla="*/ 94244 w 140161"/>
                <a:gd name="connsiteY49" fmla="*/ 74074 h 138138"/>
                <a:gd name="connsiteX50" fmla="*/ 92043 w 140161"/>
                <a:gd name="connsiteY50" fmla="*/ 75842 h 138138"/>
                <a:gd name="connsiteX51" fmla="*/ 89429 w 140161"/>
                <a:gd name="connsiteY51" fmla="*/ 76918 h 138138"/>
                <a:gd name="connsiteX52" fmla="*/ 87472 w 140161"/>
                <a:gd name="connsiteY52" fmla="*/ 78302 h 138138"/>
                <a:gd name="connsiteX53" fmla="*/ 83091 w 140161"/>
                <a:gd name="connsiteY53" fmla="*/ 78389 h 138138"/>
                <a:gd name="connsiteX54" fmla="*/ 80001 w 140161"/>
                <a:gd name="connsiteY54" fmla="*/ 79353 h 138138"/>
                <a:gd name="connsiteX55" fmla="*/ 77800 w 140161"/>
                <a:gd name="connsiteY55" fmla="*/ 81951 h 138138"/>
                <a:gd name="connsiteX56" fmla="*/ 71190 w 140161"/>
                <a:gd name="connsiteY56" fmla="*/ 84918 h 138138"/>
                <a:gd name="connsiteX57" fmla="*/ 70290 w 140161"/>
                <a:gd name="connsiteY57" fmla="*/ 87163 h 138138"/>
                <a:gd name="connsiteX58" fmla="*/ 70728 w 140161"/>
                <a:gd name="connsiteY58" fmla="*/ 90617 h 138138"/>
                <a:gd name="connsiteX59" fmla="*/ 70765 w 140161"/>
                <a:gd name="connsiteY59" fmla="*/ 93258 h 138138"/>
                <a:gd name="connsiteX60" fmla="*/ 70189 w 140161"/>
                <a:gd name="connsiteY60" fmla="*/ 95429 h 138138"/>
                <a:gd name="connsiteX61" fmla="*/ 68742 w 140161"/>
                <a:gd name="connsiteY61" fmla="*/ 94817 h 138138"/>
                <a:gd name="connsiteX62" fmla="*/ 67964 w 140161"/>
                <a:gd name="connsiteY62" fmla="*/ 95528 h 138138"/>
                <a:gd name="connsiteX63" fmla="*/ 67107 w 140161"/>
                <a:gd name="connsiteY63" fmla="*/ 97536 h 138138"/>
                <a:gd name="connsiteX64" fmla="*/ 67351 w 140161"/>
                <a:gd name="connsiteY64" fmla="*/ 99821 h 138138"/>
                <a:gd name="connsiteX65" fmla="*/ 69616 w 140161"/>
                <a:gd name="connsiteY65" fmla="*/ 100557 h 138138"/>
                <a:gd name="connsiteX66" fmla="*/ 71473 w 140161"/>
                <a:gd name="connsiteY66" fmla="*/ 101495 h 138138"/>
                <a:gd name="connsiteX67" fmla="*/ 74082 w 140161"/>
                <a:gd name="connsiteY67" fmla="*/ 101966 h 138138"/>
                <a:gd name="connsiteX68" fmla="*/ 76010 w 140161"/>
                <a:gd name="connsiteY68" fmla="*/ 103025 h 138138"/>
                <a:gd name="connsiteX69" fmla="*/ 80113 w 140161"/>
                <a:gd name="connsiteY69" fmla="*/ 107836 h 138138"/>
                <a:gd name="connsiteX70" fmla="*/ 83460 w 140161"/>
                <a:gd name="connsiteY70" fmla="*/ 109943 h 138138"/>
                <a:gd name="connsiteX71" fmla="*/ 84332 w 140161"/>
                <a:gd name="connsiteY71" fmla="*/ 110724 h 138138"/>
                <a:gd name="connsiteX72" fmla="*/ 86254 w 140161"/>
                <a:gd name="connsiteY72" fmla="*/ 111780 h 138138"/>
                <a:gd name="connsiteX73" fmla="*/ 88025 w 140161"/>
                <a:gd name="connsiteY73" fmla="*/ 113438 h 138138"/>
                <a:gd name="connsiteX74" fmla="*/ 89023 w 140161"/>
                <a:gd name="connsiteY74" fmla="*/ 114920 h 138138"/>
                <a:gd name="connsiteX75" fmla="*/ 88245 w 140161"/>
                <a:gd name="connsiteY75" fmla="*/ 115321 h 138138"/>
                <a:gd name="connsiteX76" fmla="*/ 86915 w 140161"/>
                <a:gd name="connsiteY76" fmla="*/ 117487 h 138138"/>
                <a:gd name="connsiteX77" fmla="*/ 85673 w 140161"/>
                <a:gd name="connsiteY77" fmla="*/ 120235 h 138138"/>
                <a:gd name="connsiteX78" fmla="*/ 84469 w 140161"/>
                <a:gd name="connsiteY78" fmla="*/ 121719 h 138138"/>
                <a:gd name="connsiteX79" fmla="*/ 83089 w 140161"/>
                <a:gd name="connsiteY79" fmla="*/ 122541 h 138138"/>
                <a:gd name="connsiteX80" fmla="*/ 81601 w 140161"/>
                <a:gd name="connsiteY80" fmla="*/ 123024 h 138138"/>
                <a:gd name="connsiteX81" fmla="*/ 78645 w 140161"/>
                <a:gd name="connsiteY81" fmla="*/ 123232 h 138138"/>
                <a:gd name="connsiteX82" fmla="*/ 75978 w 140161"/>
                <a:gd name="connsiteY82" fmla="*/ 123045 h 138138"/>
                <a:gd name="connsiteX83" fmla="*/ 75112 w 140161"/>
                <a:gd name="connsiteY83" fmla="*/ 122749 h 138138"/>
                <a:gd name="connsiteX84" fmla="*/ 71441 w 140161"/>
                <a:gd name="connsiteY84" fmla="*/ 122922 h 138138"/>
                <a:gd name="connsiteX85" fmla="*/ 70407 w 140161"/>
                <a:gd name="connsiteY85" fmla="*/ 123115 h 138138"/>
                <a:gd name="connsiteX86" fmla="*/ 65129 w 140161"/>
                <a:gd name="connsiteY86" fmla="*/ 122902 h 138138"/>
                <a:gd name="connsiteX87" fmla="*/ 62376 w 140161"/>
                <a:gd name="connsiteY87" fmla="*/ 123127 h 138138"/>
                <a:gd name="connsiteX88" fmla="*/ 60624 w 140161"/>
                <a:gd name="connsiteY88" fmla="*/ 123658 h 138138"/>
                <a:gd name="connsiteX89" fmla="*/ 58841 w 140161"/>
                <a:gd name="connsiteY89" fmla="*/ 124771 h 138138"/>
                <a:gd name="connsiteX90" fmla="*/ 57301 w 140161"/>
                <a:gd name="connsiteY90" fmla="*/ 126439 h 138138"/>
                <a:gd name="connsiteX91" fmla="*/ 55949 w 140161"/>
                <a:gd name="connsiteY91" fmla="*/ 128224 h 138138"/>
                <a:gd name="connsiteX92" fmla="*/ 53194 w 140161"/>
                <a:gd name="connsiteY92" fmla="*/ 131483 h 138138"/>
                <a:gd name="connsiteX93" fmla="*/ 51259 w 140161"/>
                <a:gd name="connsiteY93" fmla="*/ 133066 h 138138"/>
                <a:gd name="connsiteX94" fmla="*/ 51253 w 140161"/>
                <a:gd name="connsiteY94" fmla="*/ 135352 h 138138"/>
                <a:gd name="connsiteX95" fmla="*/ 51209 w 140161"/>
                <a:gd name="connsiteY95" fmla="*/ 136048 h 138138"/>
                <a:gd name="connsiteX96" fmla="*/ 50532 w 140161"/>
                <a:gd name="connsiteY96" fmla="*/ 136532 h 138138"/>
                <a:gd name="connsiteX97" fmla="*/ 50296 w 140161"/>
                <a:gd name="connsiteY97" fmla="*/ 136318 h 138138"/>
                <a:gd name="connsiteX98" fmla="*/ 49180 w 140161"/>
                <a:gd name="connsiteY98" fmla="*/ 136148 h 138138"/>
                <a:gd name="connsiteX99" fmla="*/ 44695 w 140161"/>
                <a:gd name="connsiteY99" fmla="*/ 134060 h 138138"/>
                <a:gd name="connsiteX100" fmla="*/ 41007 w 140161"/>
                <a:gd name="connsiteY100" fmla="*/ 135337 h 138138"/>
                <a:gd name="connsiteX101" fmla="*/ 40076 w 140161"/>
                <a:gd name="connsiteY101" fmla="*/ 136996 h 138138"/>
                <a:gd name="connsiteX102" fmla="*/ 39095 w 140161"/>
                <a:gd name="connsiteY102" fmla="*/ 137528 h 138138"/>
                <a:gd name="connsiteX103" fmla="*/ 37627 w 140161"/>
                <a:gd name="connsiteY103" fmla="*/ 134279 h 138138"/>
                <a:gd name="connsiteX104" fmla="*/ 35226 w 140161"/>
                <a:gd name="connsiteY104" fmla="*/ 134181 h 138138"/>
                <a:gd name="connsiteX105" fmla="*/ 31410 w 140161"/>
                <a:gd name="connsiteY105" fmla="*/ 131320 h 138138"/>
                <a:gd name="connsiteX106" fmla="*/ 29771 w 140161"/>
                <a:gd name="connsiteY106" fmla="*/ 131900 h 138138"/>
                <a:gd name="connsiteX107" fmla="*/ 29354 w 140161"/>
                <a:gd name="connsiteY107" fmla="*/ 133052 h 138138"/>
                <a:gd name="connsiteX108" fmla="*/ 27262 w 140161"/>
                <a:gd name="connsiteY108" fmla="*/ 135682 h 138138"/>
                <a:gd name="connsiteX109" fmla="*/ 24338 w 140161"/>
                <a:gd name="connsiteY109" fmla="*/ 137852 h 138138"/>
                <a:gd name="connsiteX110" fmla="*/ 23395 w 140161"/>
                <a:gd name="connsiteY110" fmla="*/ 138138 h 138138"/>
                <a:gd name="connsiteX111" fmla="*/ 22315 w 140161"/>
                <a:gd name="connsiteY111" fmla="*/ 137991 h 138138"/>
                <a:gd name="connsiteX112" fmla="*/ 22470 w 140161"/>
                <a:gd name="connsiteY112" fmla="*/ 137392 h 138138"/>
                <a:gd name="connsiteX113" fmla="*/ 21274 w 140161"/>
                <a:gd name="connsiteY113" fmla="*/ 134953 h 138138"/>
                <a:gd name="connsiteX114" fmla="*/ 16657 w 140161"/>
                <a:gd name="connsiteY114" fmla="*/ 133965 h 138138"/>
                <a:gd name="connsiteX115" fmla="*/ 14994 w 140161"/>
                <a:gd name="connsiteY115" fmla="*/ 132928 h 138138"/>
                <a:gd name="connsiteX116" fmla="*/ 14154 w 140161"/>
                <a:gd name="connsiteY116" fmla="*/ 132701 h 138138"/>
                <a:gd name="connsiteX117" fmla="*/ 18674 w 140161"/>
                <a:gd name="connsiteY117" fmla="*/ 129975 h 138138"/>
                <a:gd name="connsiteX118" fmla="*/ 19858 w 140161"/>
                <a:gd name="connsiteY118" fmla="*/ 129487 h 138138"/>
                <a:gd name="connsiteX119" fmla="*/ 18974 w 140161"/>
                <a:gd name="connsiteY119" fmla="*/ 128853 h 138138"/>
                <a:gd name="connsiteX120" fmla="*/ 17998 w 140161"/>
                <a:gd name="connsiteY120" fmla="*/ 128542 h 138138"/>
                <a:gd name="connsiteX121" fmla="*/ 14293 w 140161"/>
                <a:gd name="connsiteY121" fmla="*/ 128948 h 138138"/>
                <a:gd name="connsiteX122" fmla="*/ 12347 w 140161"/>
                <a:gd name="connsiteY122" fmla="*/ 128055 h 138138"/>
                <a:gd name="connsiteX123" fmla="*/ 9527 w 140161"/>
                <a:gd name="connsiteY123" fmla="*/ 128340 h 138138"/>
                <a:gd name="connsiteX124" fmla="*/ 7569 w 140161"/>
                <a:gd name="connsiteY124" fmla="*/ 127630 h 138138"/>
                <a:gd name="connsiteX125" fmla="*/ 11628 w 140161"/>
                <a:gd name="connsiteY125" fmla="*/ 124955 h 138138"/>
                <a:gd name="connsiteX126" fmla="*/ 11809 w 140161"/>
                <a:gd name="connsiteY126" fmla="*/ 123373 h 138138"/>
                <a:gd name="connsiteX127" fmla="*/ 11762 w 140161"/>
                <a:gd name="connsiteY127" fmla="*/ 122173 h 138138"/>
                <a:gd name="connsiteX128" fmla="*/ 13822 w 140161"/>
                <a:gd name="connsiteY128" fmla="*/ 118611 h 138138"/>
                <a:gd name="connsiteX129" fmla="*/ 15893 w 140161"/>
                <a:gd name="connsiteY129" fmla="*/ 116638 h 138138"/>
                <a:gd name="connsiteX130" fmla="*/ 21250 w 140161"/>
                <a:gd name="connsiteY130" fmla="*/ 113839 h 138138"/>
                <a:gd name="connsiteX131" fmla="*/ 23587 w 140161"/>
                <a:gd name="connsiteY131" fmla="*/ 113451 h 138138"/>
                <a:gd name="connsiteX132" fmla="*/ 25278 w 140161"/>
                <a:gd name="connsiteY132" fmla="*/ 113562 h 138138"/>
                <a:gd name="connsiteX133" fmla="*/ 26664 w 140161"/>
                <a:gd name="connsiteY133" fmla="*/ 113301 h 138138"/>
                <a:gd name="connsiteX134" fmla="*/ 25209 w 140161"/>
                <a:gd name="connsiteY134" fmla="*/ 112230 h 138138"/>
                <a:gd name="connsiteX135" fmla="*/ 23783 w 140161"/>
                <a:gd name="connsiteY135" fmla="*/ 111737 h 138138"/>
                <a:gd name="connsiteX136" fmla="*/ 21013 w 140161"/>
                <a:gd name="connsiteY136" fmla="*/ 111838 h 138138"/>
                <a:gd name="connsiteX137" fmla="*/ 18136 w 140161"/>
                <a:gd name="connsiteY137" fmla="*/ 110224 h 138138"/>
                <a:gd name="connsiteX138" fmla="*/ 17882 w 140161"/>
                <a:gd name="connsiteY138" fmla="*/ 108520 h 138138"/>
                <a:gd name="connsiteX139" fmla="*/ 23461 w 140161"/>
                <a:gd name="connsiteY139" fmla="*/ 97737 h 138138"/>
                <a:gd name="connsiteX140" fmla="*/ 23539 w 140161"/>
                <a:gd name="connsiteY140" fmla="*/ 96755 h 138138"/>
                <a:gd name="connsiteX141" fmla="*/ 22665 w 140161"/>
                <a:gd name="connsiteY141" fmla="*/ 94126 h 138138"/>
                <a:gd name="connsiteX142" fmla="*/ 22382 w 140161"/>
                <a:gd name="connsiteY142" fmla="*/ 91557 h 138138"/>
                <a:gd name="connsiteX143" fmla="*/ 18385 w 140161"/>
                <a:gd name="connsiteY143" fmla="*/ 90079 h 138138"/>
                <a:gd name="connsiteX144" fmla="*/ 16616 w 140161"/>
                <a:gd name="connsiteY144" fmla="*/ 89902 h 138138"/>
                <a:gd name="connsiteX145" fmla="*/ 11482 w 140161"/>
                <a:gd name="connsiteY145" fmla="*/ 87004 h 138138"/>
                <a:gd name="connsiteX146" fmla="*/ 9434 w 140161"/>
                <a:gd name="connsiteY146" fmla="*/ 85541 h 138138"/>
                <a:gd name="connsiteX147" fmla="*/ 8629 w 140161"/>
                <a:gd name="connsiteY147" fmla="*/ 85971 h 138138"/>
                <a:gd name="connsiteX148" fmla="*/ 8482 w 140161"/>
                <a:gd name="connsiteY148" fmla="*/ 88294 h 138138"/>
                <a:gd name="connsiteX149" fmla="*/ 7751 w 140161"/>
                <a:gd name="connsiteY149" fmla="*/ 88809 h 138138"/>
                <a:gd name="connsiteX150" fmla="*/ 6404 w 140161"/>
                <a:gd name="connsiteY150" fmla="*/ 89258 h 138138"/>
                <a:gd name="connsiteX151" fmla="*/ 5727 w 140161"/>
                <a:gd name="connsiteY151" fmla="*/ 86610 h 138138"/>
                <a:gd name="connsiteX152" fmla="*/ 4617 w 140161"/>
                <a:gd name="connsiteY152" fmla="*/ 84694 h 138138"/>
                <a:gd name="connsiteX153" fmla="*/ 1220 w 140161"/>
                <a:gd name="connsiteY153" fmla="*/ 82743 h 138138"/>
                <a:gd name="connsiteX154" fmla="*/ 0 w 140161"/>
                <a:gd name="connsiteY154" fmla="*/ 81666 h 138138"/>
                <a:gd name="connsiteX155" fmla="*/ 584 w 140161"/>
                <a:gd name="connsiteY155" fmla="*/ 79339 h 138138"/>
                <a:gd name="connsiteX156" fmla="*/ 298 w 140161"/>
                <a:gd name="connsiteY156" fmla="*/ 79133 h 138138"/>
                <a:gd name="connsiteX157" fmla="*/ 840 w 140161"/>
                <a:gd name="connsiteY157" fmla="*/ 76519 h 138138"/>
                <a:gd name="connsiteX158" fmla="*/ 2928 w 140161"/>
                <a:gd name="connsiteY158" fmla="*/ 74499 h 138138"/>
                <a:gd name="connsiteX159" fmla="*/ 8043 w 140161"/>
                <a:gd name="connsiteY159" fmla="*/ 70903 h 138138"/>
                <a:gd name="connsiteX160" fmla="*/ 9361 w 140161"/>
                <a:gd name="connsiteY160" fmla="*/ 69216 h 138138"/>
                <a:gd name="connsiteX161" fmla="*/ 11956 w 140161"/>
                <a:gd name="connsiteY161" fmla="*/ 67225 h 138138"/>
                <a:gd name="connsiteX162" fmla="*/ 13126 w 140161"/>
                <a:gd name="connsiteY162" fmla="*/ 67269 h 138138"/>
                <a:gd name="connsiteX163" fmla="*/ 14334 w 140161"/>
                <a:gd name="connsiteY163" fmla="*/ 67096 h 138138"/>
                <a:gd name="connsiteX164" fmla="*/ 14698 w 140161"/>
                <a:gd name="connsiteY164" fmla="*/ 66229 h 138138"/>
                <a:gd name="connsiteX165" fmla="*/ 14977 w 140161"/>
                <a:gd name="connsiteY165" fmla="*/ 65548 h 138138"/>
                <a:gd name="connsiteX166" fmla="*/ 16016 w 140161"/>
                <a:gd name="connsiteY166" fmla="*/ 64930 h 138138"/>
                <a:gd name="connsiteX167" fmla="*/ 18514 w 140161"/>
                <a:gd name="connsiteY167" fmla="*/ 63831 h 138138"/>
                <a:gd name="connsiteX168" fmla="*/ 21356 w 140161"/>
                <a:gd name="connsiteY168" fmla="*/ 62383 h 138138"/>
                <a:gd name="connsiteX169" fmla="*/ 23621 w 140161"/>
                <a:gd name="connsiteY169" fmla="*/ 61982 h 138138"/>
                <a:gd name="connsiteX170" fmla="*/ 26401 w 140161"/>
                <a:gd name="connsiteY170" fmla="*/ 59813 h 138138"/>
                <a:gd name="connsiteX171" fmla="*/ 27534 w 140161"/>
                <a:gd name="connsiteY171" fmla="*/ 58858 h 138138"/>
                <a:gd name="connsiteX172" fmla="*/ 28667 w 140161"/>
                <a:gd name="connsiteY172" fmla="*/ 58858 h 138138"/>
                <a:gd name="connsiteX173" fmla="*/ 28979 w 140161"/>
                <a:gd name="connsiteY173" fmla="*/ 58414 h 138138"/>
                <a:gd name="connsiteX174" fmla="*/ 29622 w 140161"/>
                <a:gd name="connsiteY174" fmla="*/ 57290 h 138138"/>
                <a:gd name="connsiteX175" fmla="*/ 30507 w 140161"/>
                <a:gd name="connsiteY175" fmla="*/ 56554 h 138138"/>
                <a:gd name="connsiteX176" fmla="*/ 31738 w 140161"/>
                <a:gd name="connsiteY176" fmla="*/ 56414 h 138138"/>
                <a:gd name="connsiteX177" fmla="*/ 33748 w 140161"/>
                <a:gd name="connsiteY177" fmla="*/ 55883 h 138138"/>
                <a:gd name="connsiteX178" fmla="*/ 36273 w 140161"/>
                <a:gd name="connsiteY178" fmla="*/ 55557 h 138138"/>
                <a:gd name="connsiteX179" fmla="*/ 37992 w 140161"/>
                <a:gd name="connsiteY179" fmla="*/ 53732 h 138138"/>
                <a:gd name="connsiteX180" fmla="*/ 38575 w 140161"/>
                <a:gd name="connsiteY180" fmla="*/ 52426 h 138138"/>
                <a:gd name="connsiteX181" fmla="*/ 39711 w 140161"/>
                <a:gd name="connsiteY181" fmla="*/ 50990 h 138138"/>
                <a:gd name="connsiteX182" fmla="*/ 42123 w 140161"/>
                <a:gd name="connsiteY182" fmla="*/ 49422 h 138138"/>
                <a:gd name="connsiteX183" fmla="*/ 43783 w 140161"/>
                <a:gd name="connsiteY183" fmla="*/ 47106 h 138138"/>
                <a:gd name="connsiteX184" fmla="*/ 45621 w 140161"/>
                <a:gd name="connsiteY184" fmla="*/ 44584 h 138138"/>
                <a:gd name="connsiteX185" fmla="*/ 46498 w 140161"/>
                <a:gd name="connsiteY185" fmla="*/ 43779 h 138138"/>
                <a:gd name="connsiteX186" fmla="*/ 47359 w 140161"/>
                <a:gd name="connsiteY186" fmla="*/ 43615 h 138138"/>
                <a:gd name="connsiteX187" fmla="*/ 47871 w 140161"/>
                <a:gd name="connsiteY187" fmla="*/ 42666 h 138138"/>
                <a:gd name="connsiteX188" fmla="*/ 48458 w 140161"/>
                <a:gd name="connsiteY188" fmla="*/ 39984 h 138138"/>
                <a:gd name="connsiteX189" fmla="*/ 49303 w 140161"/>
                <a:gd name="connsiteY189" fmla="*/ 37373 h 138138"/>
                <a:gd name="connsiteX190" fmla="*/ 49810 w 140161"/>
                <a:gd name="connsiteY190" fmla="*/ 36139 h 138138"/>
                <a:gd name="connsiteX191" fmla="*/ 51926 w 140161"/>
                <a:gd name="connsiteY191" fmla="*/ 34791 h 138138"/>
                <a:gd name="connsiteX192" fmla="*/ 52470 w 140161"/>
                <a:gd name="connsiteY192" fmla="*/ 34138 h 138138"/>
                <a:gd name="connsiteX193" fmla="*/ 52946 w 140161"/>
                <a:gd name="connsiteY193" fmla="*/ 33919 h 138138"/>
                <a:gd name="connsiteX194" fmla="*/ 53932 w 140161"/>
                <a:gd name="connsiteY194" fmla="*/ 34094 h 138138"/>
                <a:gd name="connsiteX195" fmla="*/ 55250 w 140161"/>
                <a:gd name="connsiteY195" fmla="*/ 33306 h 138138"/>
                <a:gd name="connsiteX196" fmla="*/ 56493 w 140161"/>
                <a:gd name="connsiteY196" fmla="*/ 32430 h 138138"/>
                <a:gd name="connsiteX197" fmla="*/ 57628 w 140161"/>
                <a:gd name="connsiteY197" fmla="*/ 32736 h 138138"/>
                <a:gd name="connsiteX198" fmla="*/ 58780 w 140161"/>
                <a:gd name="connsiteY198" fmla="*/ 33463 h 138138"/>
                <a:gd name="connsiteX199" fmla="*/ 59983 w 140161"/>
                <a:gd name="connsiteY199" fmla="*/ 34911 h 138138"/>
                <a:gd name="connsiteX200" fmla="*/ 60514 w 140161"/>
                <a:gd name="connsiteY200" fmla="*/ 36064 h 138138"/>
                <a:gd name="connsiteX201" fmla="*/ 61467 w 140161"/>
                <a:gd name="connsiteY201" fmla="*/ 37026 h 138138"/>
                <a:gd name="connsiteX202" fmla="*/ 61651 w 140161"/>
                <a:gd name="connsiteY202" fmla="*/ 38425 h 138138"/>
                <a:gd name="connsiteX203" fmla="*/ 62600 w 140161"/>
                <a:gd name="connsiteY203" fmla="*/ 39038 h 138138"/>
                <a:gd name="connsiteX204" fmla="*/ 64615 w 140161"/>
                <a:gd name="connsiteY204" fmla="*/ 39343 h 138138"/>
                <a:gd name="connsiteX205" fmla="*/ 67921 w 140161"/>
                <a:gd name="connsiteY205" fmla="*/ 40295 h 138138"/>
                <a:gd name="connsiteX206" fmla="*/ 70059 w 140161"/>
                <a:gd name="connsiteY206" fmla="*/ 40349 h 138138"/>
                <a:gd name="connsiteX207" fmla="*/ 71279 w 140161"/>
                <a:gd name="connsiteY207" fmla="*/ 41063 h 138138"/>
                <a:gd name="connsiteX208" fmla="*/ 73834 w 140161"/>
                <a:gd name="connsiteY208" fmla="*/ 41452 h 138138"/>
                <a:gd name="connsiteX209" fmla="*/ 78940 w 140161"/>
                <a:gd name="connsiteY209" fmla="*/ 40894 h 138138"/>
                <a:gd name="connsiteX210" fmla="*/ 81028 w 140161"/>
                <a:gd name="connsiteY210" fmla="*/ 41222 h 138138"/>
                <a:gd name="connsiteX211" fmla="*/ 81905 w 140161"/>
                <a:gd name="connsiteY211" fmla="*/ 42096 h 138138"/>
                <a:gd name="connsiteX212" fmla="*/ 83199 w 140161"/>
                <a:gd name="connsiteY212" fmla="*/ 42792 h 138138"/>
                <a:gd name="connsiteX213" fmla="*/ 84043 w 140161"/>
                <a:gd name="connsiteY213" fmla="*/ 42832 h 138138"/>
                <a:gd name="connsiteX214" fmla="*/ 85168 w 140161"/>
                <a:gd name="connsiteY214" fmla="*/ 41636 h 138138"/>
                <a:gd name="connsiteX215" fmla="*/ 86375 w 140161"/>
                <a:gd name="connsiteY215" fmla="*/ 39694 h 138138"/>
                <a:gd name="connsiteX216" fmla="*/ 87172 w 140161"/>
                <a:gd name="connsiteY216" fmla="*/ 38207 h 138138"/>
                <a:gd name="connsiteX217" fmla="*/ 87135 w 140161"/>
                <a:gd name="connsiteY217" fmla="*/ 37026 h 138138"/>
                <a:gd name="connsiteX218" fmla="*/ 86440 w 140161"/>
                <a:gd name="connsiteY218" fmla="*/ 35758 h 138138"/>
                <a:gd name="connsiteX219" fmla="*/ 84758 w 140161"/>
                <a:gd name="connsiteY219" fmla="*/ 34575 h 138138"/>
                <a:gd name="connsiteX220" fmla="*/ 83656 w 140161"/>
                <a:gd name="connsiteY220" fmla="*/ 32746 h 138138"/>
                <a:gd name="connsiteX221" fmla="*/ 82600 w 140161"/>
                <a:gd name="connsiteY221" fmla="*/ 30852 h 138138"/>
                <a:gd name="connsiteX222" fmla="*/ 81979 w 140161"/>
                <a:gd name="connsiteY222" fmla="*/ 30238 h 138138"/>
                <a:gd name="connsiteX223" fmla="*/ 81467 w 140161"/>
                <a:gd name="connsiteY223" fmla="*/ 29317 h 138138"/>
                <a:gd name="connsiteX224" fmla="*/ 81374 w 140161"/>
                <a:gd name="connsiteY224" fmla="*/ 27908 h 138138"/>
                <a:gd name="connsiteX225" fmla="*/ 81739 w 140161"/>
                <a:gd name="connsiteY225" fmla="*/ 26955 h 138138"/>
                <a:gd name="connsiteX226" fmla="*/ 84280 w 140161"/>
                <a:gd name="connsiteY226" fmla="*/ 26315 h 138138"/>
                <a:gd name="connsiteX227" fmla="*/ 87546 w 140161"/>
                <a:gd name="connsiteY227" fmla="*/ 25943 h 138138"/>
                <a:gd name="connsiteX228" fmla="*/ 90186 w 140161"/>
                <a:gd name="connsiteY228" fmla="*/ 26338 h 138138"/>
                <a:gd name="connsiteX229" fmla="*/ 94598 w 140161"/>
                <a:gd name="connsiteY229" fmla="*/ 26070 h 138138"/>
                <a:gd name="connsiteX230" fmla="*/ 97302 w 140161"/>
                <a:gd name="connsiteY230" fmla="*/ 25543 h 138138"/>
                <a:gd name="connsiteX231" fmla="*/ 99309 w 140161"/>
                <a:gd name="connsiteY231" fmla="*/ 25619 h 138138"/>
                <a:gd name="connsiteX232" fmla="*/ 101158 w 140161"/>
                <a:gd name="connsiteY232" fmla="*/ 25608 h 138138"/>
                <a:gd name="connsiteX233" fmla="*/ 101981 w 140161"/>
                <a:gd name="connsiteY233" fmla="*/ 24796 h 138138"/>
                <a:gd name="connsiteX234" fmla="*/ 104560 w 140161"/>
                <a:gd name="connsiteY234" fmla="*/ 22841 h 138138"/>
                <a:gd name="connsiteX235" fmla="*/ 105808 w 140161"/>
                <a:gd name="connsiteY235" fmla="*/ 22146 h 138138"/>
                <a:gd name="connsiteX236" fmla="*/ 107174 w 140161"/>
                <a:gd name="connsiteY236" fmla="*/ 20818 h 138138"/>
                <a:gd name="connsiteX237" fmla="*/ 107392 w 140161"/>
                <a:gd name="connsiteY237" fmla="*/ 19431 h 138138"/>
                <a:gd name="connsiteX238" fmla="*/ 107666 w 140161"/>
                <a:gd name="connsiteY238" fmla="*/ 18310 h 138138"/>
                <a:gd name="connsiteX239" fmla="*/ 108435 w 140161"/>
                <a:gd name="connsiteY239" fmla="*/ 17107 h 138138"/>
                <a:gd name="connsiteX240" fmla="*/ 109787 w 140161"/>
                <a:gd name="connsiteY240" fmla="*/ 15623 h 138138"/>
                <a:gd name="connsiteX241" fmla="*/ 110941 w 140161"/>
                <a:gd name="connsiteY241" fmla="*/ 14939 h 138138"/>
                <a:gd name="connsiteX242" fmla="*/ 112219 w 140161"/>
                <a:gd name="connsiteY242" fmla="*/ 15028 h 138138"/>
                <a:gd name="connsiteX243" fmla="*/ 113573 w 140161"/>
                <a:gd name="connsiteY243" fmla="*/ 15710 h 138138"/>
                <a:gd name="connsiteX244" fmla="*/ 114432 w 140161"/>
                <a:gd name="connsiteY244" fmla="*/ 16393 h 138138"/>
                <a:gd name="connsiteX245" fmla="*/ 115402 w 140161"/>
                <a:gd name="connsiteY245" fmla="*/ 16195 h 138138"/>
                <a:gd name="connsiteX246" fmla="*/ 116205 w 140161"/>
                <a:gd name="connsiteY246" fmla="*/ 15028 h 138138"/>
                <a:gd name="connsiteX247" fmla="*/ 116736 w 140161"/>
                <a:gd name="connsiteY247" fmla="*/ 14804 h 138138"/>
                <a:gd name="connsiteX248" fmla="*/ 118282 w 140161"/>
                <a:gd name="connsiteY248" fmla="*/ 14701 h 138138"/>
                <a:gd name="connsiteX249" fmla="*/ 118766 w 140161"/>
                <a:gd name="connsiteY249" fmla="*/ 13985 h 138138"/>
                <a:gd name="connsiteX250" fmla="*/ 119358 w 140161"/>
                <a:gd name="connsiteY250" fmla="*/ 10548 h 138138"/>
                <a:gd name="connsiteX251" fmla="*/ 119954 w 140161"/>
                <a:gd name="connsiteY251" fmla="*/ 7833 h 138138"/>
                <a:gd name="connsiteX252" fmla="*/ 120081 w 140161"/>
                <a:gd name="connsiteY252" fmla="*/ 5932 h 138138"/>
                <a:gd name="connsiteX253" fmla="*/ 121459 w 140161"/>
                <a:gd name="connsiteY253" fmla="*/ 2784 h 138138"/>
                <a:gd name="connsiteX254" fmla="*/ 121890 w 140161"/>
                <a:gd name="connsiteY254" fmla="*/ 886 h 138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</a:cxnLst>
              <a:rect l="l" t="t" r="r" b="b"/>
              <a:pathLst>
                <a:path w="140161" h="138138">
                  <a:moveTo>
                    <a:pt x="12956" y="89447"/>
                  </a:moveTo>
                  <a:lnTo>
                    <a:pt x="12308" y="91306"/>
                  </a:lnTo>
                  <a:lnTo>
                    <a:pt x="11062" y="92051"/>
                  </a:lnTo>
                  <a:lnTo>
                    <a:pt x="10999" y="90719"/>
                  </a:lnTo>
                  <a:lnTo>
                    <a:pt x="11961" y="89596"/>
                  </a:lnTo>
                  <a:close/>
                  <a:moveTo>
                    <a:pt x="122713" y="0"/>
                  </a:moveTo>
                  <a:lnTo>
                    <a:pt x="123663" y="67"/>
                  </a:lnTo>
                  <a:lnTo>
                    <a:pt x="124454" y="625"/>
                  </a:lnTo>
                  <a:lnTo>
                    <a:pt x="125456" y="953"/>
                  </a:lnTo>
                  <a:lnTo>
                    <a:pt x="126790" y="643"/>
                  </a:lnTo>
                  <a:lnTo>
                    <a:pt x="127723" y="1130"/>
                  </a:lnTo>
                  <a:lnTo>
                    <a:pt x="128308" y="2148"/>
                  </a:lnTo>
                  <a:lnTo>
                    <a:pt x="130277" y="2849"/>
                  </a:lnTo>
                  <a:lnTo>
                    <a:pt x="130466" y="3363"/>
                  </a:lnTo>
                  <a:lnTo>
                    <a:pt x="130418" y="6781"/>
                  </a:lnTo>
                  <a:lnTo>
                    <a:pt x="131500" y="8381"/>
                  </a:lnTo>
                  <a:lnTo>
                    <a:pt x="132940" y="9826"/>
                  </a:lnTo>
                  <a:lnTo>
                    <a:pt x="134920" y="11139"/>
                  </a:lnTo>
                  <a:lnTo>
                    <a:pt x="135981" y="11437"/>
                  </a:lnTo>
                  <a:lnTo>
                    <a:pt x="136616" y="12374"/>
                  </a:lnTo>
                  <a:lnTo>
                    <a:pt x="137216" y="13993"/>
                  </a:lnTo>
                  <a:lnTo>
                    <a:pt x="138628" y="15568"/>
                  </a:lnTo>
                  <a:lnTo>
                    <a:pt x="139371" y="16717"/>
                  </a:lnTo>
                  <a:lnTo>
                    <a:pt x="139513" y="17908"/>
                  </a:lnTo>
                  <a:lnTo>
                    <a:pt x="140161" y="18580"/>
                  </a:lnTo>
                  <a:lnTo>
                    <a:pt x="139038" y="19317"/>
                  </a:lnTo>
                  <a:lnTo>
                    <a:pt x="137551" y="18869"/>
                  </a:lnTo>
                  <a:lnTo>
                    <a:pt x="135080" y="18602"/>
                  </a:lnTo>
                  <a:lnTo>
                    <a:pt x="131923" y="20934"/>
                  </a:lnTo>
                  <a:lnTo>
                    <a:pt x="130177" y="21756"/>
                  </a:lnTo>
                  <a:lnTo>
                    <a:pt x="128941" y="24048"/>
                  </a:lnTo>
                  <a:lnTo>
                    <a:pt x="126473" y="25409"/>
                  </a:lnTo>
                  <a:lnTo>
                    <a:pt x="125125" y="26858"/>
                  </a:lnTo>
                  <a:lnTo>
                    <a:pt x="123376" y="29364"/>
                  </a:lnTo>
                  <a:lnTo>
                    <a:pt x="122230" y="31782"/>
                  </a:lnTo>
                  <a:lnTo>
                    <a:pt x="119576" y="34252"/>
                  </a:lnTo>
                  <a:lnTo>
                    <a:pt x="118028" y="37356"/>
                  </a:lnTo>
                  <a:lnTo>
                    <a:pt x="117941" y="40016"/>
                  </a:lnTo>
                  <a:lnTo>
                    <a:pt x="119634" y="42732"/>
                  </a:lnTo>
                  <a:lnTo>
                    <a:pt x="119785" y="45045"/>
                  </a:lnTo>
                  <a:lnTo>
                    <a:pt x="118597" y="49794"/>
                  </a:lnTo>
                  <a:lnTo>
                    <a:pt x="119258" y="54830"/>
                  </a:lnTo>
                  <a:lnTo>
                    <a:pt x="118522" y="56800"/>
                  </a:lnTo>
                  <a:lnTo>
                    <a:pt x="110394" y="60240"/>
                  </a:lnTo>
                  <a:lnTo>
                    <a:pt x="108271" y="61953"/>
                  </a:lnTo>
                  <a:lnTo>
                    <a:pt x="105278" y="66407"/>
                  </a:lnTo>
                  <a:lnTo>
                    <a:pt x="101640" y="68061"/>
                  </a:lnTo>
                  <a:lnTo>
                    <a:pt x="99379" y="69877"/>
                  </a:lnTo>
                  <a:lnTo>
                    <a:pt x="96248" y="70948"/>
                  </a:lnTo>
                  <a:lnTo>
                    <a:pt x="94244" y="74074"/>
                  </a:lnTo>
                  <a:lnTo>
                    <a:pt x="92043" y="75842"/>
                  </a:lnTo>
                  <a:lnTo>
                    <a:pt x="89429" y="76918"/>
                  </a:lnTo>
                  <a:lnTo>
                    <a:pt x="87472" y="78302"/>
                  </a:lnTo>
                  <a:lnTo>
                    <a:pt x="83091" y="78389"/>
                  </a:lnTo>
                  <a:lnTo>
                    <a:pt x="80001" y="79353"/>
                  </a:lnTo>
                  <a:lnTo>
                    <a:pt x="77800" y="81951"/>
                  </a:lnTo>
                  <a:lnTo>
                    <a:pt x="71190" y="84918"/>
                  </a:lnTo>
                  <a:lnTo>
                    <a:pt x="70290" y="87163"/>
                  </a:lnTo>
                  <a:lnTo>
                    <a:pt x="70728" y="90617"/>
                  </a:lnTo>
                  <a:lnTo>
                    <a:pt x="70765" y="93258"/>
                  </a:lnTo>
                  <a:lnTo>
                    <a:pt x="70189" y="95429"/>
                  </a:lnTo>
                  <a:lnTo>
                    <a:pt x="68742" y="94817"/>
                  </a:lnTo>
                  <a:lnTo>
                    <a:pt x="67964" y="95528"/>
                  </a:lnTo>
                  <a:lnTo>
                    <a:pt x="67107" y="97536"/>
                  </a:lnTo>
                  <a:lnTo>
                    <a:pt x="67351" y="99821"/>
                  </a:lnTo>
                  <a:lnTo>
                    <a:pt x="69616" y="100557"/>
                  </a:lnTo>
                  <a:lnTo>
                    <a:pt x="71473" y="101495"/>
                  </a:lnTo>
                  <a:lnTo>
                    <a:pt x="74082" y="101966"/>
                  </a:lnTo>
                  <a:lnTo>
                    <a:pt x="76010" y="103025"/>
                  </a:lnTo>
                  <a:lnTo>
                    <a:pt x="80113" y="107836"/>
                  </a:lnTo>
                  <a:lnTo>
                    <a:pt x="83460" y="109943"/>
                  </a:lnTo>
                  <a:lnTo>
                    <a:pt x="84332" y="110724"/>
                  </a:lnTo>
                  <a:lnTo>
                    <a:pt x="86254" y="111780"/>
                  </a:lnTo>
                  <a:lnTo>
                    <a:pt x="88025" y="113438"/>
                  </a:lnTo>
                  <a:lnTo>
                    <a:pt x="89023" y="114920"/>
                  </a:lnTo>
                  <a:lnTo>
                    <a:pt x="88245" y="115321"/>
                  </a:lnTo>
                  <a:lnTo>
                    <a:pt x="86915" y="117487"/>
                  </a:lnTo>
                  <a:lnTo>
                    <a:pt x="85673" y="120235"/>
                  </a:lnTo>
                  <a:lnTo>
                    <a:pt x="84469" y="121719"/>
                  </a:lnTo>
                  <a:lnTo>
                    <a:pt x="83089" y="122541"/>
                  </a:lnTo>
                  <a:lnTo>
                    <a:pt x="81601" y="123024"/>
                  </a:lnTo>
                  <a:lnTo>
                    <a:pt x="78645" y="123232"/>
                  </a:lnTo>
                  <a:lnTo>
                    <a:pt x="75978" y="123045"/>
                  </a:lnTo>
                  <a:lnTo>
                    <a:pt x="75112" y="122749"/>
                  </a:lnTo>
                  <a:lnTo>
                    <a:pt x="71441" y="122922"/>
                  </a:lnTo>
                  <a:lnTo>
                    <a:pt x="70407" y="123115"/>
                  </a:lnTo>
                  <a:lnTo>
                    <a:pt x="65129" y="122902"/>
                  </a:lnTo>
                  <a:lnTo>
                    <a:pt x="62376" y="123127"/>
                  </a:lnTo>
                  <a:lnTo>
                    <a:pt x="60624" y="123658"/>
                  </a:lnTo>
                  <a:lnTo>
                    <a:pt x="58841" y="124771"/>
                  </a:lnTo>
                  <a:lnTo>
                    <a:pt x="57301" y="126439"/>
                  </a:lnTo>
                  <a:lnTo>
                    <a:pt x="55949" y="128224"/>
                  </a:lnTo>
                  <a:lnTo>
                    <a:pt x="53194" y="131483"/>
                  </a:lnTo>
                  <a:lnTo>
                    <a:pt x="51259" y="133066"/>
                  </a:lnTo>
                  <a:lnTo>
                    <a:pt x="51253" y="135352"/>
                  </a:lnTo>
                  <a:lnTo>
                    <a:pt x="51209" y="136048"/>
                  </a:lnTo>
                  <a:lnTo>
                    <a:pt x="50532" y="136532"/>
                  </a:lnTo>
                  <a:lnTo>
                    <a:pt x="50296" y="136318"/>
                  </a:lnTo>
                  <a:lnTo>
                    <a:pt x="49180" y="136148"/>
                  </a:lnTo>
                  <a:lnTo>
                    <a:pt x="44695" y="134060"/>
                  </a:lnTo>
                  <a:lnTo>
                    <a:pt x="41007" y="135337"/>
                  </a:lnTo>
                  <a:lnTo>
                    <a:pt x="40076" y="136996"/>
                  </a:lnTo>
                  <a:lnTo>
                    <a:pt x="39095" y="137528"/>
                  </a:lnTo>
                  <a:lnTo>
                    <a:pt x="37627" y="134279"/>
                  </a:lnTo>
                  <a:lnTo>
                    <a:pt x="35226" y="134181"/>
                  </a:lnTo>
                  <a:lnTo>
                    <a:pt x="31410" y="131320"/>
                  </a:lnTo>
                  <a:lnTo>
                    <a:pt x="29771" y="131900"/>
                  </a:lnTo>
                  <a:lnTo>
                    <a:pt x="29354" y="133052"/>
                  </a:lnTo>
                  <a:lnTo>
                    <a:pt x="27262" y="135682"/>
                  </a:lnTo>
                  <a:lnTo>
                    <a:pt x="24338" y="137852"/>
                  </a:lnTo>
                  <a:lnTo>
                    <a:pt x="23395" y="138138"/>
                  </a:lnTo>
                  <a:lnTo>
                    <a:pt x="22315" y="137991"/>
                  </a:lnTo>
                  <a:lnTo>
                    <a:pt x="22470" y="137392"/>
                  </a:lnTo>
                  <a:lnTo>
                    <a:pt x="21274" y="134953"/>
                  </a:lnTo>
                  <a:lnTo>
                    <a:pt x="16657" y="133965"/>
                  </a:lnTo>
                  <a:lnTo>
                    <a:pt x="14994" y="132928"/>
                  </a:lnTo>
                  <a:lnTo>
                    <a:pt x="14154" y="132701"/>
                  </a:lnTo>
                  <a:lnTo>
                    <a:pt x="18674" y="129975"/>
                  </a:lnTo>
                  <a:lnTo>
                    <a:pt x="19858" y="129487"/>
                  </a:lnTo>
                  <a:lnTo>
                    <a:pt x="18974" y="128853"/>
                  </a:lnTo>
                  <a:lnTo>
                    <a:pt x="17998" y="128542"/>
                  </a:lnTo>
                  <a:lnTo>
                    <a:pt x="14293" y="128948"/>
                  </a:lnTo>
                  <a:lnTo>
                    <a:pt x="12347" y="128055"/>
                  </a:lnTo>
                  <a:lnTo>
                    <a:pt x="9527" y="128340"/>
                  </a:lnTo>
                  <a:lnTo>
                    <a:pt x="7569" y="127630"/>
                  </a:lnTo>
                  <a:lnTo>
                    <a:pt x="11628" y="124955"/>
                  </a:lnTo>
                  <a:lnTo>
                    <a:pt x="11809" y="123373"/>
                  </a:lnTo>
                  <a:lnTo>
                    <a:pt x="11762" y="122173"/>
                  </a:lnTo>
                  <a:lnTo>
                    <a:pt x="13822" y="118611"/>
                  </a:lnTo>
                  <a:lnTo>
                    <a:pt x="15893" y="116638"/>
                  </a:lnTo>
                  <a:lnTo>
                    <a:pt x="21250" y="113839"/>
                  </a:lnTo>
                  <a:lnTo>
                    <a:pt x="23587" y="113451"/>
                  </a:lnTo>
                  <a:lnTo>
                    <a:pt x="25278" y="113562"/>
                  </a:lnTo>
                  <a:lnTo>
                    <a:pt x="26664" y="113301"/>
                  </a:lnTo>
                  <a:lnTo>
                    <a:pt x="25209" y="112230"/>
                  </a:lnTo>
                  <a:lnTo>
                    <a:pt x="23783" y="111737"/>
                  </a:lnTo>
                  <a:lnTo>
                    <a:pt x="21013" y="111838"/>
                  </a:lnTo>
                  <a:lnTo>
                    <a:pt x="18136" y="110224"/>
                  </a:lnTo>
                  <a:lnTo>
                    <a:pt x="17882" y="108520"/>
                  </a:lnTo>
                  <a:lnTo>
                    <a:pt x="23461" y="97737"/>
                  </a:lnTo>
                  <a:lnTo>
                    <a:pt x="23539" y="96755"/>
                  </a:lnTo>
                  <a:lnTo>
                    <a:pt x="22665" y="94126"/>
                  </a:lnTo>
                  <a:lnTo>
                    <a:pt x="22382" y="91557"/>
                  </a:lnTo>
                  <a:lnTo>
                    <a:pt x="18385" y="90079"/>
                  </a:lnTo>
                  <a:lnTo>
                    <a:pt x="16616" y="89902"/>
                  </a:lnTo>
                  <a:lnTo>
                    <a:pt x="11482" y="87004"/>
                  </a:lnTo>
                  <a:lnTo>
                    <a:pt x="9434" y="85541"/>
                  </a:lnTo>
                  <a:lnTo>
                    <a:pt x="8629" y="85971"/>
                  </a:lnTo>
                  <a:lnTo>
                    <a:pt x="8482" y="88294"/>
                  </a:lnTo>
                  <a:lnTo>
                    <a:pt x="7751" y="88809"/>
                  </a:lnTo>
                  <a:lnTo>
                    <a:pt x="6404" y="89258"/>
                  </a:lnTo>
                  <a:lnTo>
                    <a:pt x="5727" y="86610"/>
                  </a:lnTo>
                  <a:lnTo>
                    <a:pt x="4617" y="84694"/>
                  </a:lnTo>
                  <a:lnTo>
                    <a:pt x="1220" y="82743"/>
                  </a:lnTo>
                  <a:lnTo>
                    <a:pt x="0" y="81666"/>
                  </a:lnTo>
                  <a:lnTo>
                    <a:pt x="584" y="79339"/>
                  </a:lnTo>
                  <a:lnTo>
                    <a:pt x="298" y="79133"/>
                  </a:lnTo>
                  <a:lnTo>
                    <a:pt x="840" y="76519"/>
                  </a:lnTo>
                  <a:lnTo>
                    <a:pt x="2928" y="74499"/>
                  </a:lnTo>
                  <a:lnTo>
                    <a:pt x="8043" y="70903"/>
                  </a:lnTo>
                  <a:lnTo>
                    <a:pt x="9361" y="69216"/>
                  </a:lnTo>
                  <a:lnTo>
                    <a:pt x="11956" y="67225"/>
                  </a:lnTo>
                  <a:lnTo>
                    <a:pt x="13126" y="67269"/>
                  </a:lnTo>
                  <a:lnTo>
                    <a:pt x="14334" y="67096"/>
                  </a:lnTo>
                  <a:lnTo>
                    <a:pt x="14698" y="66229"/>
                  </a:lnTo>
                  <a:lnTo>
                    <a:pt x="14977" y="65548"/>
                  </a:lnTo>
                  <a:lnTo>
                    <a:pt x="16016" y="64930"/>
                  </a:lnTo>
                  <a:lnTo>
                    <a:pt x="18514" y="63831"/>
                  </a:lnTo>
                  <a:lnTo>
                    <a:pt x="21356" y="62383"/>
                  </a:lnTo>
                  <a:lnTo>
                    <a:pt x="23621" y="61982"/>
                  </a:lnTo>
                  <a:lnTo>
                    <a:pt x="26401" y="59813"/>
                  </a:lnTo>
                  <a:lnTo>
                    <a:pt x="27534" y="58858"/>
                  </a:lnTo>
                  <a:lnTo>
                    <a:pt x="28667" y="58858"/>
                  </a:lnTo>
                  <a:lnTo>
                    <a:pt x="28979" y="58414"/>
                  </a:lnTo>
                  <a:lnTo>
                    <a:pt x="29622" y="57290"/>
                  </a:lnTo>
                  <a:lnTo>
                    <a:pt x="30507" y="56554"/>
                  </a:lnTo>
                  <a:lnTo>
                    <a:pt x="31738" y="56414"/>
                  </a:lnTo>
                  <a:lnTo>
                    <a:pt x="33748" y="55883"/>
                  </a:lnTo>
                  <a:lnTo>
                    <a:pt x="36273" y="55557"/>
                  </a:lnTo>
                  <a:lnTo>
                    <a:pt x="37992" y="53732"/>
                  </a:lnTo>
                  <a:lnTo>
                    <a:pt x="38575" y="52426"/>
                  </a:lnTo>
                  <a:lnTo>
                    <a:pt x="39711" y="50990"/>
                  </a:lnTo>
                  <a:lnTo>
                    <a:pt x="42123" y="49422"/>
                  </a:lnTo>
                  <a:lnTo>
                    <a:pt x="43783" y="47106"/>
                  </a:lnTo>
                  <a:lnTo>
                    <a:pt x="45621" y="44584"/>
                  </a:lnTo>
                  <a:lnTo>
                    <a:pt x="46498" y="43779"/>
                  </a:lnTo>
                  <a:lnTo>
                    <a:pt x="47359" y="43615"/>
                  </a:lnTo>
                  <a:lnTo>
                    <a:pt x="47871" y="42666"/>
                  </a:lnTo>
                  <a:lnTo>
                    <a:pt x="48458" y="39984"/>
                  </a:lnTo>
                  <a:lnTo>
                    <a:pt x="49303" y="37373"/>
                  </a:lnTo>
                  <a:lnTo>
                    <a:pt x="49810" y="36139"/>
                  </a:lnTo>
                  <a:lnTo>
                    <a:pt x="51926" y="34791"/>
                  </a:lnTo>
                  <a:lnTo>
                    <a:pt x="52470" y="34138"/>
                  </a:lnTo>
                  <a:lnTo>
                    <a:pt x="52946" y="33919"/>
                  </a:lnTo>
                  <a:lnTo>
                    <a:pt x="53932" y="34094"/>
                  </a:lnTo>
                  <a:lnTo>
                    <a:pt x="55250" y="33306"/>
                  </a:lnTo>
                  <a:lnTo>
                    <a:pt x="56493" y="32430"/>
                  </a:lnTo>
                  <a:lnTo>
                    <a:pt x="57628" y="32736"/>
                  </a:lnTo>
                  <a:lnTo>
                    <a:pt x="58780" y="33463"/>
                  </a:lnTo>
                  <a:lnTo>
                    <a:pt x="59983" y="34911"/>
                  </a:lnTo>
                  <a:lnTo>
                    <a:pt x="60514" y="36064"/>
                  </a:lnTo>
                  <a:lnTo>
                    <a:pt x="61467" y="37026"/>
                  </a:lnTo>
                  <a:lnTo>
                    <a:pt x="61651" y="38425"/>
                  </a:lnTo>
                  <a:lnTo>
                    <a:pt x="62600" y="39038"/>
                  </a:lnTo>
                  <a:lnTo>
                    <a:pt x="64615" y="39343"/>
                  </a:lnTo>
                  <a:lnTo>
                    <a:pt x="67921" y="40295"/>
                  </a:lnTo>
                  <a:lnTo>
                    <a:pt x="70059" y="40349"/>
                  </a:lnTo>
                  <a:lnTo>
                    <a:pt x="71279" y="41063"/>
                  </a:lnTo>
                  <a:lnTo>
                    <a:pt x="73834" y="41452"/>
                  </a:lnTo>
                  <a:lnTo>
                    <a:pt x="78940" y="40894"/>
                  </a:lnTo>
                  <a:lnTo>
                    <a:pt x="81028" y="41222"/>
                  </a:lnTo>
                  <a:lnTo>
                    <a:pt x="81905" y="42096"/>
                  </a:lnTo>
                  <a:lnTo>
                    <a:pt x="83199" y="42792"/>
                  </a:lnTo>
                  <a:lnTo>
                    <a:pt x="84043" y="42832"/>
                  </a:lnTo>
                  <a:lnTo>
                    <a:pt x="85168" y="41636"/>
                  </a:lnTo>
                  <a:lnTo>
                    <a:pt x="86375" y="39694"/>
                  </a:lnTo>
                  <a:lnTo>
                    <a:pt x="87172" y="38207"/>
                  </a:lnTo>
                  <a:lnTo>
                    <a:pt x="87135" y="37026"/>
                  </a:lnTo>
                  <a:lnTo>
                    <a:pt x="86440" y="35758"/>
                  </a:lnTo>
                  <a:lnTo>
                    <a:pt x="84758" y="34575"/>
                  </a:lnTo>
                  <a:lnTo>
                    <a:pt x="83656" y="32746"/>
                  </a:lnTo>
                  <a:lnTo>
                    <a:pt x="82600" y="30852"/>
                  </a:lnTo>
                  <a:lnTo>
                    <a:pt x="81979" y="30238"/>
                  </a:lnTo>
                  <a:lnTo>
                    <a:pt x="81467" y="29317"/>
                  </a:lnTo>
                  <a:lnTo>
                    <a:pt x="81374" y="27908"/>
                  </a:lnTo>
                  <a:lnTo>
                    <a:pt x="81739" y="26955"/>
                  </a:lnTo>
                  <a:lnTo>
                    <a:pt x="84280" y="26315"/>
                  </a:lnTo>
                  <a:lnTo>
                    <a:pt x="87546" y="25943"/>
                  </a:lnTo>
                  <a:lnTo>
                    <a:pt x="90186" y="26338"/>
                  </a:lnTo>
                  <a:lnTo>
                    <a:pt x="94598" y="26070"/>
                  </a:lnTo>
                  <a:lnTo>
                    <a:pt x="97302" y="25543"/>
                  </a:lnTo>
                  <a:lnTo>
                    <a:pt x="99309" y="25619"/>
                  </a:lnTo>
                  <a:lnTo>
                    <a:pt x="101158" y="25608"/>
                  </a:lnTo>
                  <a:lnTo>
                    <a:pt x="101981" y="24796"/>
                  </a:lnTo>
                  <a:lnTo>
                    <a:pt x="104560" y="22841"/>
                  </a:lnTo>
                  <a:lnTo>
                    <a:pt x="105808" y="22146"/>
                  </a:lnTo>
                  <a:lnTo>
                    <a:pt x="107174" y="20818"/>
                  </a:lnTo>
                  <a:lnTo>
                    <a:pt x="107392" y="19431"/>
                  </a:lnTo>
                  <a:lnTo>
                    <a:pt x="107666" y="18310"/>
                  </a:lnTo>
                  <a:lnTo>
                    <a:pt x="108435" y="17107"/>
                  </a:lnTo>
                  <a:lnTo>
                    <a:pt x="109787" y="15623"/>
                  </a:lnTo>
                  <a:lnTo>
                    <a:pt x="110941" y="14939"/>
                  </a:lnTo>
                  <a:lnTo>
                    <a:pt x="112219" y="15028"/>
                  </a:lnTo>
                  <a:lnTo>
                    <a:pt x="113573" y="15710"/>
                  </a:lnTo>
                  <a:lnTo>
                    <a:pt x="114432" y="16393"/>
                  </a:lnTo>
                  <a:lnTo>
                    <a:pt x="115402" y="16195"/>
                  </a:lnTo>
                  <a:lnTo>
                    <a:pt x="116205" y="15028"/>
                  </a:lnTo>
                  <a:lnTo>
                    <a:pt x="116736" y="14804"/>
                  </a:lnTo>
                  <a:lnTo>
                    <a:pt x="118282" y="14701"/>
                  </a:lnTo>
                  <a:lnTo>
                    <a:pt x="118766" y="13985"/>
                  </a:lnTo>
                  <a:lnTo>
                    <a:pt x="119358" y="10548"/>
                  </a:lnTo>
                  <a:lnTo>
                    <a:pt x="119954" y="7833"/>
                  </a:lnTo>
                  <a:lnTo>
                    <a:pt x="120081" y="5932"/>
                  </a:lnTo>
                  <a:lnTo>
                    <a:pt x="121459" y="2784"/>
                  </a:lnTo>
                  <a:lnTo>
                    <a:pt x="121890" y="886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17" name="ee4p_QA_1_82333">
              <a:extLst>
                <a:ext uri="{FF2B5EF4-FFF2-40B4-BE49-F238E27FC236}">
                  <a16:creationId xmlns:a16="http://schemas.microsoft.com/office/drawing/2014/main" id="{B48750D6-6075-8D9A-D00A-C8131C9B7B5F}"/>
                </a:ext>
              </a:extLst>
            </p:cNvPr>
            <p:cNvSpPr>
              <a:spLocks noChangeAspect="1"/>
            </p:cNvSpPr>
            <p:nvPr>
              <p:custDataLst>
                <p:tags r:id="rId45"/>
              </p:custDataLst>
            </p:nvPr>
          </p:nvSpPr>
          <p:spPr>
            <a:xfrm>
              <a:off x="7924122" y="3912593"/>
              <a:ext cx="23724" cy="48316"/>
            </a:xfrm>
            <a:custGeom>
              <a:avLst/>
              <a:gdLst/>
              <a:ahLst/>
              <a:cxnLst/>
              <a:rect l="0" t="0" r="0" b="0"/>
              <a:pathLst>
                <a:path w="18891" h="37453">
                  <a:moveTo>
                    <a:pt x="11352" y="36452"/>
                  </a:moveTo>
                  <a:lnTo>
                    <a:pt x="9363" y="36934"/>
                  </a:lnTo>
                  <a:lnTo>
                    <a:pt x="7491" y="37452"/>
                  </a:lnTo>
                  <a:lnTo>
                    <a:pt x="5930" y="37438"/>
                  </a:lnTo>
                  <a:lnTo>
                    <a:pt x="4675" y="37234"/>
                  </a:lnTo>
                  <a:lnTo>
                    <a:pt x="3842" y="36736"/>
                  </a:lnTo>
                  <a:lnTo>
                    <a:pt x="2235" y="34751"/>
                  </a:lnTo>
                  <a:lnTo>
                    <a:pt x="1101" y="32175"/>
                  </a:lnTo>
                  <a:lnTo>
                    <a:pt x="1799" y="30738"/>
                  </a:lnTo>
                  <a:lnTo>
                    <a:pt x="2039" y="29840"/>
                  </a:lnTo>
                  <a:lnTo>
                    <a:pt x="503" y="23041"/>
                  </a:lnTo>
                  <a:lnTo>
                    <a:pt x="0" y="17814"/>
                  </a:lnTo>
                  <a:lnTo>
                    <a:pt x="184" y="16742"/>
                  </a:lnTo>
                  <a:lnTo>
                    <a:pt x="1062" y="15507"/>
                  </a:lnTo>
                  <a:lnTo>
                    <a:pt x="2522" y="12779"/>
                  </a:lnTo>
                  <a:lnTo>
                    <a:pt x="3300" y="10149"/>
                  </a:lnTo>
                  <a:lnTo>
                    <a:pt x="5496" y="4065"/>
                  </a:lnTo>
                  <a:lnTo>
                    <a:pt x="7817" y="1721"/>
                  </a:lnTo>
                  <a:lnTo>
                    <a:pt x="11227" y="0"/>
                  </a:lnTo>
                  <a:lnTo>
                    <a:pt x="14030" y="3363"/>
                  </a:lnTo>
                  <a:lnTo>
                    <a:pt x="17435" y="5935"/>
                  </a:lnTo>
                  <a:lnTo>
                    <a:pt x="18081" y="8804"/>
                  </a:lnTo>
                  <a:lnTo>
                    <a:pt x="17079" y="11139"/>
                  </a:lnTo>
                  <a:lnTo>
                    <a:pt x="16159" y="14855"/>
                  </a:lnTo>
                  <a:lnTo>
                    <a:pt x="16709" y="16562"/>
                  </a:lnTo>
                  <a:lnTo>
                    <a:pt x="16914" y="18038"/>
                  </a:lnTo>
                  <a:lnTo>
                    <a:pt x="17841" y="20520"/>
                  </a:lnTo>
                  <a:lnTo>
                    <a:pt x="18737" y="23736"/>
                  </a:lnTo>
                  <a:lnTo>
                    <a:pt x="18890" y="25974"/>
                  </a:lnTo>
                  <a:lnTo>
                    <a:pt x="18405" y="28046"/>
                  </a:lnTo>
                  <a:lnTo>
                    <a:pt x="17221" y="29786"/>
                  </a:lnTo>
                  <a:lnTo>
                    <a:pt x="14889" y="35018"/>
                  </a:lnTo>
                  <a:lnTo>
                    <a:pt x="14194" y="35562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18" name="ee4p_SA_1_82333">
              <a:extLst>
                <a:ext uri="{FF2B5EF4-FFF2-40B4-BE49-F238E27FC236}">
                  <a16:creationId xmlns:a16="http://schemas.microsoft.com/office/drawing/2014/main" id="{F8B733C1-2671-2AAA-B321-BD89D48CA406}"/>
                </a:ext>
              </a:extLst>
            </p:cNvPr>
            <p:cNvSpPr>
              <a:spLocks noChangeAspect="1"/>
            </p:cNvSpPr>
            <p:nvPr>
              <p:custDataLst>
                <p:tags r:id="rId46"/>
              </p:custDataLst>
            </p:nvPr>
          </p:nvSpPr>
          <p:spPr>
            <a:xfrm>
              <a:off x="7475971" y="3727048"/>
              <a:ext cx="583844" cy="477602"/>
            </a:xfrm>
            <a:custGeom>
              <a:avLst/>
              <a:gdLst>
                <a:gd name="connsiteX0" fmla="*/ 160185 w 464902"/>
                <a:gd name="connsiteY0" fmla="*/ 355888 h 370223"/>
                <a:gd name="connsiteX1" fmla="*/ 161442 w 464902"/>
                <a:gd name="connsiteY1" fmla="*/ 356091 h 370223"/>
                <a:gd name="connsiteX2" fmla="*/ 162120 w 464902"/>
                <a:gd name="connsiteY2" fmla="*/ 357392 h 370223"/>
                <a:gd name="connsiteX3" fmla="*/ 162251 w 464902"/>
                <a:gd name="connsiteY3" fmla="*/ 360352 h 370223"/>
                <a:gd name="connsiteX4" fmla="*/ 162442 w 464902"/>
                <a:gd name="connsiteY4" fmla="*/ 360979 h 370223"/>
                <a:gd name="connsiteX5" fmla="*/ 162092 w 464902"/>
                <a:gd name="connsiteY5" fmla="*/ 361655 h 370223"/>
                <a:gd name="connsiteX6" fmla="*/ 162999 w 464902"/>
                <a:gd name="connsiteY6" fmla="*/ 362412 h 370223"/>
                <a:gd name="connsiteX7" fmla="*/ 164709 w 464902"/>
                <a:gd name="connsiteY7" fmla="*/ 362539 h 370223"/>
                <a:gd name="connsiteX8" fmla="*/ 164005 w 464902"/>
                <a:gd name="connsiteY8" fmla="*/ 361814 h 370223"/>
                <a:gd name="connsiteX9" fmla="*/ 163854 w 464902"/>
                <a:gd name="connsiteY9" fmla="*/ 361457 h 370223"/>
                <a:gd name="connsiteX10" fmla="*/ 164597 w 464902"/>
                <a:gd name="connsiteY10" fmla="*/ 360414 h 370223"/>
                <a:gd name="connsiteX11" fmla="*/ 167039 w 464902"/>
                <a:gd name="connsiteY11" fmla="*/ 362571 h 370223"/>
                <a:gd name="connsiteX12" fmla="*/ 166968 w 464902"/>
                <a:gd name="connsiteY12" fmla="*/ 365122 h 370223"/>
                <a:gd name="connsiteX13" fmla="*/ 166760 w 464902"/>
                <a:gd name="connsiteY13" fmla="*/ 365705 h 370223"/>
                <a:gd name="connsiteX14" fmla="*/ 166095 w 464902"/>
                <a:gd name="connsiteY14" fmla="*/ 365157 h 370223"/>
                <a:gd name="connsiteX15" fmla="*/ 165668 w 464902"/>
                <a:gd name="connsiteY15" fmla="*/ 364621 h 370223"/>
                <a:gd name="connsiteX16" fmla="*/ 165534 w 464902"/>
                <a:gd name="connsiteY16" fmla="*/ 364041 h 370223"/>
                <a:gd name="connsiteX17" fmla="*/ 164858 w 464902"/>
                <a:gd name="connsiteY17" fmla="*/ 363416 h 370223"/>
                <a:gd name="connsiteX18" fmla="*/ 162478 w 464902"/>
                <a:gd name="connsiteY18" fmla="*/ 363825 h 370223"/>
                <a:gd name="connsiteX19" fmla="*/ 160999 w 464902"/>
                <a:gd name="connsiteY19" fmla="*/ 363125 h 370223"/>
                <a:gd name="connsiteX20" fmla="*/ 158883 w 464902"/>
                <a:gd name="connsiteY20" fmla="*/ 360977 h 370223"/>
                <a:gd name="connsiteX21" fmla="*/ 158319 w 464902"/>
                <a:gd name="connsiteY21" fmla="*/ 359429 h 370223"/>
                <a:gd name="connsiteX22" fmla="*/ 159205 w 464902"/>
                <a:gd name="connsiteY22" fmla="*/ 359127 h 370223"/>
                <a:gd name="connsiteX23" fmla="*/ 160135 w 464902"/>
                <a:gd name="connsiteY23" fmla="*/ 358381 h 370223"/>
                <a:gd name="connsiteX24" fmla="*/ 160727 w 464902"/>
                <a:gd name="connsiteY24" fmla="*/ 357156 h 370223"/>
                <a:gd name="connsiteX25" fmla="*/ 42397 w 464902"/>
                <a:gd name="connsiteY25" fmla="*/ 154814 h 370223"/>
                <a:gd name="connsiteX26" fmla="*/ 42850 w 464902"/>
                <a:gd name="connsiteY26" fmla="*/ 155837 h 370223"/>
                <a:gd name="connsiteX27" fmla="*/ 43617 w 464902"/>
                <a:gd name="connsiteY27" fmla="*/ 156440 h 370223"/>
                <a:gd name="connsiteX28" fmla="*/ 47128 w 464902"/>
                <a:gd name="connsiteY28" fmla="*/ 157882 h 370223"/>
                <a:gd name="connsiteX29" fmla="*/ 51039 w 464902"/>
                <a:gd name="connsiteY29" fmla="*/ 161025 h 370223"/>
                <a:gd name="connsiteX30" fmla="*/ 51710 w 464902"/>
                <a:gd name="connsiteY30" fmla="*/ 161281 h 370223"/>
                <a:gd name="connsiteX31" fmla="*/ 50536 w 464902"/>
                <a:gd name="connsiteY31" fmla="*/ 162026 h 370223"/>
                <a:gd name="connsiteX32" fmla="*/ 49950 w 464902"/>
                <a:gd name="connsiteY32" fmla="*/ 162026 h 370223"/>
                <a:gd name="connsiteX33" fmla="*/ 48400 w 464902"/>
                <a:gd name="connsiteY33" fmla="*/ 160430 h 370223"/>
                <a:gd name="connsiteX34" fmla="*/ 47489 w 464902"/>
                <a:gd name="connsiteY34" fmla="*/ 159254 h 370223"/>
                <a:gd name="connsiteX35" fmla="*/ 46565 w 464902"/>
                <a:gd name="connsiteY35" fmla="*/ 158465 h 370223"/>
                <a:gd name="connsiteX36" fmla="*/ 42323 w 464902"/>
                <a:gd name="connsiteY36" fmla="*/ 156871 h 370223"/>
                <a:gd name="connsiteX37" fmla="*/ 41749 w 464902"/>
                <a:gd name="connsiteY37" fmla="*/ 155843 h 370223"/>
                <a:gd name="connsiteX38" fmla="*/ 43483 w 464902"/>
                <a:gd name="connsiteY38" fmla="*/ 150873 h 370223"/>
                <a:gd name="connsiteX39" fmla="*/ 43421 w 464902"/>
                <a:gd name="connsiteY39" fmla="*/ 152293 h 370223"/>
                <a:gd name="connsiteX40" fmla="*/ 43768 w 464902"/>
                <a:gd name="connsiteY40" fmla="*/ 153724 h 370223"/>
                <a:gd name="connsiteX41" fmla="*/ 43766 w 464902"/>
                <a:gd name="connsiteY41" fmla="*/ 154245 h 370223"/>
                <a:gd name="connsiteX42" fmla="*/ 43559 w 464902"/>
                <a:gd name="connsiteY42" fmla="*/ 154566 h 370223"/>
                <a:gd name="connsiteX43" fmla="*/ 42626 w 464902"/>
                <a:gd name="connsiteY43" fmla="*/ 153738 h 370223"/>
                <a:gd name="connsiteX44" fmla="*/ 42682 w 464902"/>
                <a:gd name="connsiteY44" fmla="*/ 151910 h 370223"/>
                <a:gd name="connsiteX45" fmla="*/ 100150 w 464902"/>
                <a:gd name="connsiteY45" fmla="*/ 0 h 370223"/>
                <a:gd name="connsiteX46" fmla="*/ 105086 w 464902"/>
                <a:gd name="connsiteY46" fmla="*/ 804 h 370223"/>
                <a:gd name="connsiteX47" fmla="*/ 112504 w 464902"/>
                <a:gd name="connsiteY47" fmla="*/ 2011 h 370223"/>
                <a:gd name="connsiteX48" fmla="*/ 119662 w 464902"/>
                <a:gd name="connsiteY48" fmla="*/ 3176 h 370223"/>
                <a:gd name="connsiteX49" fmla="*/ 127213 w 464902"/>
                <a:gd name="connsiteY49" fmla="*/ 4550 h 370223"/>
                <a:gd name="connsiteX50" fmla="*/ 129636 w 464902"/>
                <a:gd name="connsiteY50" fmla="*/ 5668 h 370223"/>
                <a:gd name="connsiteX51" fmla="*/ 136922 w 464902"/>
                <a:gd name="connsiteY51" fmla="*/ 9780 h 370223"/>
                <a:gd name="connsiteX52" fmla="*/ 141655 w 464902"/>
                <a:gd name="connsiteY52" fmla="*/ 12448 h 370223"/>
                <a:gd name="connsiteX53" fmla="*/ 147183 w 464902"/>
                <a:gd name="connsiteY53" fmla="*/ 15562 h 370223"/>
                <a:gd name="connsiteX54" fmla="*/ 154096 w 464902"/>
                <a:gd name="connsiteY54" fmla="*/ 19452 h 370223"/>
                <a:gd name="connsiteX55" fmla="*/ 158842 w 464902"/>
                <a:gd name="connsiteY55" fmla="*/ 22121 h 370223"/>
                <a:gd name="connsiteX56" fmla="*/ 164916 w 464902"/>
                <a:gd name="connsiteY56" fmla="*/ 25534 h 370223"/>
                <a:gd name="connsiteX57" fmla="*/ 169652 w 464902"/>
                <a:gd name="connsiteY57" fmla="*/ 29430 h 370223"/>
                <a:gd name="connsiteX58" fmla="*/ 175648 w 464902"/>
                <a:gd name="connsiteY58" fmla="*/ 34361 h 370223"/>
                <a:gd name="connsiteX59" fmla="*/ 182237 w 464902"/>
                <a:gd name="connsiteY59" fmla="*/ 39768 h 370223"/>
                <a:gd name="connsiteX60" fmla="*/ 187663 w 464902"/>
                <a:gd name="connsiteY60" fmla="*/ 43966 h 370223"/>
                <a:gd name="connsiteX61" fmla="*/ 195130 w 464902"/>
                <a:gd name="connsiteY61" fmla="*/ 49740 h 370223"/>
                <a:gd name="connsiteX62" fmla="*/ 202491 w 464902"/>
                <a:gd name="connsiteY62" fmla="*/ 55421 h 370223"/>
                <a:gd name="connsiteX63" fmla="*/ 209697 w 464902"/>
                <a:gd name="connsiteY63" fmla="*/ 60976 h 370223"/>
                <a:gd name="connsiteX64" fmla="*/ 215472 w 464902"/>
                <a:gd name="connsiteY64" fmla="*/ 65419 h 370223"/>
                <a:gd name="connsiteX65" fmla="*/ 222770 w 464902"/>
                <a:gd name="connsiteY65" fmla="*/ 71033 h 370223"/>
                <a:gd name="connsiteX66" fmla="*/ 223338 w 464902"/>
                <a:gd name="connsiteY66" fmla="*/ 71244 h 370223"/>
                <a:gd name="connsiteX67" fmla="*/ 230719 w 464902"/>
                <a:gd name="connsiteY67" fmla="*/ 71882 h 370223"/>
                <a:gd name="connsiteX68" fmla="*/ 240639 w 464902"/>
                <a:gd name="connsiteY68" fmla="*/ 72738 h 370223"/>
                <a:gd name="connsiteX69" fmla="*/ 250607 w 464902"/>
                <a:gd name="connsiteY69" fmla="*/ 73597 h 370223"/>
                <a:gd name="connsiteX70" fmla="*/ 259601 w 464902"/>
                <a:gd name="connsiteY70" fmla="*/ 74372 h 370223"/>
                <a:gd name="connsiteX71" fmla="*/ 263470 w 464902"/>
                <a:gd name="connsiteY71" fmla="*/ 73588 h 370223"/>
                <a:gd name="connsiteX72" fmla="*/ 267746 w 464902"/>
                <a:gd name="connsiteY72" fmla="*/ 74109 h 370223"/>
                <a:gd name="connsiteX73" fmla="*/ 273438 w 464902"/>
                <a:gd name="connsiteY73" fmla="*/ 74805 h 370223"/>
                <a:gd name="connsiteX74" fmla="*/ 276900 w 464902"/>
                <a:gd name="connsiteY74" fmla="*/ 75274 h 370223"/>
                <a:gd name="connsiteX75" fmla="*/ 283410 w 464902"/>
                <a:gd name="connsiteY75" fmla="*/ 76155 h 370223"/>
                <a:gd name="connsiteX76" fmla="*/ 285358 w 464902"/>
                <a:gd name="connsiteY76" fmla="*/ 79803 h 370223"/>
                <a:gd name="connsiteX77" fmla="*/ 286064 w 464902"/>
                <a:gd name="connsiteY77" fmla="*/ 82357 h 370223"/>
                <a:gd name="connsiteX78" fmla="*/ 286725 w 464902"/>
                <a:gd name="connsiteY78" fmla="*/ 84844 h 370223"/>
                <a:gd name="connsiteX79" fmla="*/ 288675 w 464902"/>
                <a:gd name="connsiteY79" fmla="*/ 87119 h 370223"/>
                <a:gd name="connsiteX80" fmla="*/ 293112 w 464902"/>
                <a:gd name="connsiteY80" fmla="*/ 87064 h 370223"/>
                <a:gd name="connsiteX81" fmla="*/ 297040 w 464902"/>
                <a:gd name="connsiteY81" fmla="*/ 87015 h 370223"/>
                <a:gd name="connsiteX82" fmla="*/ 301886 w 464902"/>
                <a:gd name="connsiteY82" fmla="*/ 86942 h 370223"/>
                <a:gd name="connsiteX83" fmla="*/ 305727 w 464902"/>
                <a:gd name="connsiteY83" fmla="*/ 86885 h 370223"/>
                <a:gd name="connsiteX84" fmla="*/ 306967 w 464902"/>
                <a:gd name="connsiteY84" fmla="*/ 89141 h 370223"/>
                <a:gd name="connsiteX85" fmla="*/ 307509 w 464902"/>
                <a:gd name="connsiteY85" fmla="*/ 91390 h 370223"/>
                <a:gd name="connsiteX86" fmla="*/ 309793 w 464902"/>
                <a:gd name="connsiteY86" fmla="*/ 96718 h 370223"/>
                <a:gd name="connsiteX87" fmla="*/ 313052 w 464902"/>
                <a:gd name="connsiteY87" fmla="*/ 100869 h 370223"/>
                <a:gd name="connsiteX88" fmla="*/ 313832 w 464902"/>
                <a:gd name="connsiteY88" fmla="*/ 102379 h 370223"/>
                <a:gd name="connsiteX89" fmla="*/ 314359 w 464902"/>
                <a:gd name="connsiteY89" fmla="*/ 104655 h 370223"/>
                <a:gd name="connsiteX90" fmla="*/ 313793 w 464902"/>
                <a:gd name="connsiteY90" fmla="*/ 105500 h 370223"/>
                <a:gd name="connsiteX91" fmla="*/ 313570 w 464902"/>
                <a:gd name="connsiteY91" fmla="*/ 106479 h 370223"/>
                <a:gd name="connsiteX92" fmla="*/ 315987 w 464902"/>
                <a:gd name="connsiteY92" fmla="*/ 108753 h 370223"/>
                <a:gd name="connsiteX93" fmla="*/ 319977 w 464902"/>
                <a:gd name="connsiteY93" fmla="*/ 110673 h 370223"/>
                <a:gd name="connsiteX94" fmla="*/ 321538 w 464902"/>
                <a:gd name="connsiteY94" fmla="*/ 111159 h 370223"/>
                <a:gd name="connsiteX95" fmla="*/ 323307 w 464902"/>
                <a:gd name="connsiteY95" fmla="*/ 112005 h 370223"/>
                <a:gd name="connsiteX96" fmla="*/ 321927 w 464902"/>
                <a:gd name="connsiteY96" fmla="*/ 113319 h 370223"/>
                <a:gd name="connsiteX97" fmla="*/ 324281 w 464902"/>
                <a:gd name="connsiteY97" fmla="*/ 116349 h 370223"/>
                <a:gd name="connsiteX98" fmla="*/ 327017 w 464902"/>
                <a:gd name="connsiteY98" fmla="*/ 119434 h 370223"/>
                <a:gd name="connsiteX99" fmla="*/ 329945 w 464902"/>
                <a:gd name="connsiteY99" fmla="*/ 120129 h 370223"/>
                <a:gd name="connsiteX100" fmla="*/ 333899 w 464902"/>
                <a:gd name="connsiteY100" fmla="*/ 124789 h 370223"/>
                <a:gd name="connsiteX101" fmla="*/ 339861 w 464902"/>
                <a:gd name="connsiteY101" fmla="*/ 127806 h 370223"/>
                <a:gd name="connsiteX102" fmla="*/ 343480 w 464902"/>
                <a:gd name="connsiteY102" fmla="*/ 131755 h 370223"/>
                <a:gd name="connsiteX103" fmla="*/ 343145 w 464902"/>
                <a:gd name="connsiteY103" fmla="*/ 131829 h 370223"/>
                <a:gd name="connsiteX104" fmla="*/ 342083 w 464902"/>
                <a:gd name="connsiteY104" fmla="*/ 131428 h 370223"/>
                <a:gd name="connsiteX105" fmla="*/ 340750 w 464902"/>
                <a:gd name="connsiteY105" fmla="*/ 130886 h 370223"/>
                <a:gd name="connsiteX106" fmla="*/ 340347 w 464902"/>
                <a:gd name="connsiteY106" fmla="*/ 131378 h 370223"/>
                <a:gd name="connsiteX107" fmla="*/ 340418 w 464902"/>
                <a:gd name="connsiteY107" fmla="*/ 133033 h 370223"/>
                <a:gd name="connsiteX108" fmla="*/ 340772 w 464902"/>
                <a:gd name="connsiteY108" fmla="*/ 134977 h 370223"/>
                <a:gd name="connsiteX109" fmla="*/ 342616 w 464902"/>
                <a:gd name="connsiteY109" fmla="*/ 136659 h 370223"/>
                <a:gd name="connsiteX110" fmla="*/ 344257 w 464902"/>
                <a:gd name="connsiteY110" fmla="*/ 137868 h 370223"/>
                <a:gd name="connsiteX111" fmla="*/ 344897 w 464902"/>
                <a:gd name="connsiteY111" fmla="*/ 140154 h 370223"/>
                <a:gd name="connsiteX112" fmla="*/ 343605 w 464902"/>
                <a:gd name="connsiteY112" fmla="*/ 145078 h 370223"/>
                <a:gd name="connsiteX113" fmla="*/ 343158 w 464902"/>
                <a:gd name="connsiteY113" fmla="*/ 145075 h 370223"/>
                <a:gd name="connsiteX114" fmla="*/ 342290 w 464902"/>
                <a:gd name="connsiteY114" fmla="*/ 144648 h 370223"/>
                <a:gd name="connsiteX115" fmla="*/ 341359 w 464902"/>
                <a:gd name="connsiteY115" fmla="*/ 144550 h 370223"/>
                <a:gd name="connsiteX116" fmla="*/ 340867 w 464902"/>
                <a:gd name="connsiteY116" fmla="*/ 144831 h 370223"/>
                <a:gd name="connsiteX117" fmla="*/ 341960 w 464902"/>
                <a:gd name="connsiteY117" fmla="*/ 148370 h 370223"/>
                <a:gd name="connsiteX118" fmla="*/ 343048 w 464902"/>
                <a:gd name="connsiteY118" fmla="*/ 151083 h 370223"/>
                <a:gd name="connsiteX119" fmla="*/ 344361 w 464902"/>
                <a:gd name="connsiteY119" fmla="*/ 153229 h 370223"/>
                <a:gd name="connsiteX120" fmla="*/ 345451 w 464902"/>
                <a:gd name="connsiteY120" fmla="*/ 156369 h 370223"/>
                <a:gd name="connsiteX121" fmla="*/ 346387 w 464902"/>
                <a:gd name="connsiteY121" fmla="*/ 157708 h 370223"/>
                <a:gd name="connsiteX122" fmla="*/ 350232 w 464902"/>
                <a:gd name="connsiteY122" fmla="*/ 161042 h 370223"/>
                <a:gd name="connsiteX123" fmla="*/ 351411 w 464902"/>
                <a:gd name="connsiteY123" fmla="*/ 163826 h 370223"/>
                <a:gd name="connsiteX124" fmla="*/ 352504 w 464902"/>
                <a:gd name="connsiteY124" fmla="*/ 169009 h 370223"/>
                <a:gd name="connsiteX125" fmla="*/ 354914 w 464902"/>
                <a:gd name="connsiteY125" fmla="*/ 171900 h 370223"/>
                <a:gd name="connsiteX126" fmla="*/ 356212 w 464902"/>
                <a:gd name="connsiteY126" fmla="*/ 174121 h 370223"/>
                <a:gd name="connsiteX127" fmla="*/ 357954 w 464902"/>
                <a:gd name="connsiteY127" fmla="*/ 176005 h 370223"/>
                <a:gd name="connsiteX128" fmla="*/ 359088 w 464902"/>
                <a:gd name="connsiteY128" fmla="*/ 178581 h 370223"/>
                <a:gd name="connsiteX129" fmla="*/ 360695 w 464902"/>
                <a:gd name="connsiteY129" fmla="*/ 180566 h 370223"/>
                <a:gd name="connsiteX130" fmla="*/ 361528 w 464902"/>
                <a:gd name="connsiteY130" fmla="*/ 181064 h 370223"/>
                <a:gd name="connsiteX131" fmla="*/ 362783 w 464902"/>
                <a:gd name="connsiteY131" fmla="*/ 181268 h 370223"/>
                <a:gd name="connsiteX132" fmla="*/ 364344 w 464902"/>
                <a:gd name="connsiteY132" fmla="*/ 181282 h 370223"/>
                <a:gd name="connsiteX133" fmla="*/ 366216 w 464902"/>
                <a:gd name="connsiteY133" fmla="*/ 180764 h 370223"/>
                <a:gd name="connsiteX134" fmla="*/ 368205 w 464902"/>
                <a:gd name="connsiteY134" fmla="*/ 180282 h 370223"/>
                <a:gd name="connsiteX135" fmla="*/ 369764 w 464902"/>
                <a:gd name="connsiteY135" fmla="*/ 181289 h 370223"/>
                <a:gd name="connsiteX136" fmla="*/ 371373 w 464902"/>
                <a:gd name="connsiteY136" fmla="*/ 181137 h 370223"/>
                <a:gd name="connsiteX137" fmla="*/ 371530 w 464902"/>
                <a:gd name="connsiteY137" fmla="*/ 182073 h 370223"/>
                <a:gd name="connsiteX138" fmla="*/ 370460 w 464902"/>
                <a:gd name="connsiteY138" fmla="*/ 183341 h 370223"/>
                <a:gd name="connsiteX139" fmla="*/ 369131 w 464902"/>
                <a:gd name="connsiteY139" fmla="*/ 186545 h 370223"/>
                <a:gd name="connsiteX140" fmla="*/ 371019 w 464902"/>
                <a:gd name="connsiteY140" fmla="*/ 187050 h 370223"/>
                <a:gd name="connsiteX141" fmla="*/ 372822 w 464902"/>
                <a:gd name="connsiteY141" fmla="*/ 187299 h 370223"/>
                <a:gd name="connsiteX142" fmla="*/ 374105 w 464902"/>
                <a:gd name="connsiteY142" fmla="*/ 187812 h 370223"/>
                <a:gd name="connsiteX143" fmla="*/ 374847 w 464902"/>
                <a:gd name="connsiteY143" fmla="*/ 187816 h 370223"/>
                <a:gd name="connsiteX144" fmla="*/ 374847 w 464902"/>
                <a:gd name="connsiteY144" fmla="*/ 188478 h 370223"/>
                <a:gd name="connsiteX145" fmla="*/ 374931 w 464902"/>
                <a:gd name="connsiteY145" fmla="*/ 191516 h 370223"/>
                <a:gd name="connsiteX146" fmla="*/ 375383 w 464902"/>
                <a:gd name="connsiteY146" fmla="*/ 192674 h 370223"/>
                <a:gd name="connsiteX147" fmla="*/ 376195 w 464902"/>
                <a:gd name="connsiteY147" fmla="*/ 193701 h 370223"/>
                <a:gd name="connsiteX148" fmla="*/ 377413 w 464902"/>
                <a:gd name="connsiteY148" fmla="*/ 195234 h 370223"/>
                <a:gd name="connsiteX149" fmla="*/ 378628 w 464902"/>
                <a:gd name="connsiteY149" fmla="*/ 196768 h 370223"/>
                <a:gd name="connsiteX150" fmla="*/ 379844 w 464902"/>
                <a:gd name="connsiteY150" fmla="*/ 198302 h 370223"/>
                <a:gd name="connsiteX151" fmla="*/ 381062 w 464902"/>
                <a:gd name="connsiteY151" fmla="*/ 199833 h 370223"/>
                <a:gd name="connsiteX152" fmla="*/ 382278 w 464902"/>
                <a:gd name="connsiteY152" fmla="*/ 201365 h 370223"/>
                <a:gd name="connsiteX153" fmla="*/ 383496 w 464902"/>
                <a:gd name="connsiteY153" fmla="*/ 202896 h 370223"/>
                <a:gd name="connsiteX154" fmla="*/ 384711 w 464902"/>
                <a:gd name="connsiteY154" fmla="*/ 204428 h 370223"/>
                <a:gd name="connsiteX155" fmla="*/ 385927 w 464902"/>
                <a:gd name="connsiteY155" fmla="*/ 205957 h 370223"/>
                <a:gd name="connsiteX156" fmla="*/ 387145 w 464902"/>
                <a:gd name="connsiteY156" fmla="*/ 207488 h 370223"/>
                <a:gd name="connsiteX157" fmla="*/ 388361 w 464902"/>
                <a:gd name="connsiteY157" fmla="*/ 209017 h 370223"/>
                <a:gd name="connsiteX158" fmla="*/ 389579 w 464902"/>
                <a:gd name="connsiteY158" fmla="*/ 210546 h 370223"/>
                <a:gd name="connsiteX159" fmla="*/ 390794 w 464902"/>
                <a:gd name="connsiteY159" fmla="*/ 212074 h 370223"/>
                <a:gd name="connsiteX160" fmla="*/ 392010 w 464902"/>
                <a:gd name="connsiteY160" fmla="*/ 213602 h 370223"/>
                <a:gd name="connsiteX161" fmla="*/ 393228 w 464902"/>
                <a:gd name="connsiteY161" fmla="*/ 215130 h 370223"/>
                <a:gd name="connsiteX162" fmla="*/ 394444 w 464902"/>
                <a:gd name="connsiteY162" fmla="*/ 216658 h 370223"/>
                <a:gd name="connsiteX163" fmla="*/ 395660 w 464902"/>
                <a:gd name="connsiteY163" fmla="*/ 218183 h 370223"/>
                <a:gd name="connsiteX164" fmla="*/ 396666 w 464902"/>
                <a:gd name="connsiteY164" fmla="*/ 219445 h 370223"/>
                <a:gd name="connsiteX165" fmla="*/ 398525 w 464902"/>
                <a:gd name="connsiteY165" fmla="*/ 219685 h 370223"/>
                <a:gd name="connsiteX166" fmla="*/ 399117 w 464902"/>
                <a:gd name="connsiteY166" fmla="*/ 219760 h 370223"/>
                <a:gd name="connsiteX167" fmla="*/ 400790 w 464902"/>
                <a:gd name="connsiteY167" fmla="*/ 219976 h 370223"/>
                <a:gd name="connsiteX168" fmla="*/ 403392 w 464902"/>
                <a:gd name="connsiteY168" fmla="*/ 220312 h 370223"/>
                <a:gd name="connsiteX169" fmla="*/ 406767 w 464902"/>
                <a:gd name="connsiteY169" fmla="*/ 220745 h 370223"/>
                <a:gd name="connsiteX170" fmla="*/ 410758 w 464902"/>
                <a:gd name="connsiteY170" fmla="*/ 221259 h 370223"/>
                <a:gd name="connsiteX171" fmla="*/ 415217 w 464902"/>
                <a:gd name="connsiteY171" fmla="*/ 221832 h 370223"/>
                <a:gd name="connsiteX172" fmla="*/ 419983 w 464902"/>
                <a:gd name="connsiteY172" fmla="*/ 222445 h 370223"/>
                <a:gd name="connsiteX173" fmla="*/ 424904 w 464902"/>
                <a:gd name="connsiteY173" fmla="*/ 223078 h 370223"/>
                <a:gd name="connsiteX174" fmla="*/ 429823 w 464902"/>
                <a:gd name="connsiteY174" fmla="*/ 223710 h 370223"/>
                <a:gd name="connsiteX175" fmla="*/ 434589 w 464902"/>
                <a:gd name="connsiteY175" fmla="*/ 224323 h 370223"/>
                <a:gd name="connsiteX176" fmla="*/ 439046 w 464902"/>
                <a:gd name="connsiteY176" fmla="*/ 224895 h 370223"/>
                <a:gd name="connsiteX177" fmla="*/ 443038 w 464902"/>
                <a:gd name="connsiteY177" fmla="*/ 225409 h 370223"/>
                <a:gd name="connsiteX178" fmla="*/ 446413 w 464902"/>
                <a:gd name="connsiteY178" fmla="*/ 225843 h 370223"/>
                <a:gd name="connsiteX179" fmla="*/ 449014 w 464902"/>
                <a:gd name="connsiteY179" fmla="*/ 226177 h 370223"/>
                <a:gd name="connsiteX180" fmla="*/ 450689 w 464902"/>
                <a:gd name="connsiteY180" fmla="*/ 226393 h 370223"/>
                <a:gd name="connsiteX181" fmla="*/ 451281 w 464902"/>
                <a:gd name="connsiteY181" fmla="*/ 226468 h 370223"/>
                <a:gd name="connsiteX182" fmla="*/ 453034 w 464902"/>
                <a:gd name="connsiteY182" fmla="*/ 226693 h 370223"/>
                <a:gd name="connsiteX183" fmla="*/ 453369 w 464902"/>
                <a:gd name="connsiteY183" fmla="*/ 226636 h 370223"/>
                <a:gd name="connsiteX184" fmla="*/ 454837 w 464902"/>
                <a:gd name="connsiteY184" fmla="*/ 224770 h 370223"/>
                <a:gd name="connsiteX185" fmla="*/ 456461 w 464902"/>
                <a:gd name="connsiteY185" fmla="*/ 227404 h 370223"/>
                <a:gd name="connsiteX186" fmla="*/ 457807 w 464902"/>
                <a:gd name="connsiteY186" fmla="*/ 229589 h 370223"/>
                <a:gd name="connsiteX187" fmla="*/ 459657 w 464902"/>
                <a:gd name="connsiteY187" fmla="*/ 232590 h 370223"/>
                <a:gd name="connsiteX188" fmla="*/ 461624 w 464902"/>
                <a:gd name="connsiteY188" fmla="*/ 235776 h 370223"/>
                <a:gd name="connsiteX189" fmla="*/ 463503 w 464902"/>
                <a:gd name="connsiteY189" fmla="*/ 238821 h 370223"/>
                <a:gd name="connsiteX190" fmla="*/ 464902 w 464902"/>
                <a:gd name="connsiteY190" fmla="*/ 241087 h 370223"/>
                <a:gd name="connsiteX191" fmla="*/ 464160 w 464902"/>
                <a:gd name="connsiteY191" fmla="*/ 243440 h 370223"/>
                <a:gd name="connsiteX192" fmla="*/ 463350 w 464902"/>
                <a:gd name="connsiteY192" fmla="*/ 246006 h 370223"/>
                <a:gd name="connsiteX193" fmla="*/ 462540 w 464902"/>
                <a:gd name="connsiteY193" fmla="*/ 248571 h 370223"/>
                <a:gd name="connsiteX194" fmla="*/ 461730 w 464902"/>
                <a:gd name="connsiteY194" fmla="*/ 251135 h 370223"/>
                <a:gd name="connsiteX195" fmla="*/ 460920 w 464902"/>
                <a:gd name="connsiteY195" fmla="*/ 253697 h 370223"/>
                <a:gd name="connsiteX196" fmla="*/ 460111 w 464902"/>
                <a:gd name="connsiteY196" fmla="*/ 256258 h 370223"/>
                <a:gd name="connsiteX197" fmla="*/ 459301 w 464902"/>
                <a:gd name="connsiteY197" fmla="*/ 258818 h 370223"/>
                <a:gd name="connsiteX198" fmla="*/ 458491 w 464902"/>
                <a:gd name="connsiteY198" fmla="*/ 261377 h 370223"/>
                <a:gd name="connsiteX199" fmla="*/ 457681 w 464902"/>
                <a:gd name="connsiteY199" fmla="*/ 263936 h 370223"/>
                <a:gd name="connsiteX200" fmla="*/ 456874 w 464902"/>
                <a:gd name="connsiteY200" fmla="*/ 266492 h 370223"/>
                <a:gd name="connsiteX201" fmla="*/ 456062 w 464902"/>
                <a:gd name="connsiteY201" fmla="*/ 269047 h 370223"/>
                <a:gd name="connsiteX202" fmla="*/ 455252 w 464902"/>
                <a:gd name="connsiteY202" fmla="*/ 271601 h 370223"/>
                <a:gd name="connsiteX203" fmla="*/ 454444 w 464902"/>
                <a:gd name="connsiteY203" fmla="*/ 274154 h 370223"/>
                <a:gd name="connsiteX204" fmla="*/ 453635 w 464902"/>
                <a:gd name="connsiteY204" fmla="*/ 276705 h 370223"/>
                <a:gd name="connsiteX205" fmla="*/ 452823 w 464902"/>
                <a:gd name="connsiteY205" fmla="*/ 279256 h 370223"/>
                <a:gd name="connsiteX206" fmla="*/ 452015 w 464902"/>
                <a:gd name="connsiteY206" fmla="*/ 281806 h 370223"/>
                <a:gd name="connsiteX207" fmla="*/ 451203 w 464902"/>
                <a:gd name="connsiteY207" fmla="*/ 284354 h 370223"/>
                <a:gd name="connsiteX208" fmla="*/ 450227 w 464902"/>
                <a:gd name="connsiteY208" fmla="*/ 287421 h 370223"/>
                <a:gd name="connsiteX209" fmla="*/ 447878 w 464902"/>
                <a:gd name="connsiteY209" fmla="*/ 288236 h 370223"/>
                <a:gd name="connsiteX210" fmla="*/ 444073 w 464902"/>
                <a:gd name="connsiteY210" fmla="*/ 289555 h 370223"/>
                <a:gd name="connsiteX211" fmla="*/ 440270 w 464902"/>
                <a:gd name="connsiteY211" fmla="*/ 290874 h 370223"/>
                <a:gd name="connsiteX212" fmla="*/ 436465 w 464902"/>
                <a:gd name="connsiteY212" fmla="*/ 292191 h 370223"/>
                <a:gd name="connsiteX213" fmla="*/ 432663 w 464902"/>
                <a:gd name="connsiteY213" fmla="*/ 293509 h 370223"/>
                <a:gd name="connsiteX214" fmla="*/ 428858 w 464902"/>
                <a:gd name="connsiteY214" fmla="*/ 294826 h 370223"/>
                <a:gd name="connsiteX215" fmla="*/ 425053 w 464902"/>
                <a:gd name="connsiteY215" fmla="*/ 296143 h 370223"/>
                <a:gd name="connsiteX216" fmla="*/ 421250 w 464902"/>
                <a:gd name="connsiteY216" fmla="*/ 297460 h 370223"/>
                <a:gd name="connsiteX217" fmla="*/ 417445 w 464902"/>
                <a:gd name="connsiteY217" fmla="*/ 298776 h 370223"/>
                <a:gd name="connsiteX218" fmla="*/ 413643 w 464902"/>
                <a:gd name="connsiteY218" fmla="*/ 300092 h 370223"/>
                <a:gd name="connsiteX219" fmla="*/ 409838 w 464902"/>
                <a:gd name="connsiteY219" fmla="*/ 301408 h 370223"/>
                <a:gd name="connsiteX220" fmla="*/ 406033 w 464902"/>
                <a:gd name="connsiteY220" fmla="*/ 302724 h 370223"/>
                <a:gd name="connsiteX221" fmla="*/ 402230 w 464902"/>
                <a:gd name="connsiteY221" fmla="*/ 304039 h 370223"/>
                <a:gd name="connsiteX222" fmla="*/ 398426 w 464902"/>
                <a:gd name="connsiteY222" fmla="*/ 305354 h 370223"/>
                <a:gd name="connsiteX223" fmla="*/ 394623 w 464902"/>
                <a:gd name="connsiteY223" fmla="*/ 306668 h 370223"/>
                <a:gd name="connsiteX224" fmla="*/ 390818 w 464902"/>
                <a:gd name="connsiteY224" fmla="*/ 307983 h 370223"/>
                <a:gd name="connsiteX225" fmla="*/ 387013 w 464902"/>
                <a:gd name="connsiteY225" fmla="*/ 309296 h 370223"/>
                <a:gd name="connsiteX226" fmla="*/ 383897 w 464902"/>
                <a:gd name="connsiteY226" fmla="*/ 310374 h 370223"/>
                <a:gd name="connsiteX227" fmla="*/ 378708 w 464902"/>
                <a:gd name="connsiteY227" fmla="*/ 311098 h 370223"/>
                <a:gd name="connsiteX228" fmla="*/ 373666 w 464902"/>
                <a:gd name="connsiteY228" fmla="*/ 311800 h 370223"/>
                <a:gd name="connsiteX229" fmla="*/ 367993 w 464902"/>
                <a:gd name="connsiteY229" fmla="*/ 312591 h 370223"/>
                <a:gd name="connsiteX230" fmla="*/ 361174 w 464902"/>
                <a:gd name="connsiteY230" fmla="*/ 313542 h 370223"/>
                <a:gd name="connsiteX231" fmla="*/ 355827 w 464902"/>
                <a:gd name="connsiteY231" fmla="*/ 314287 h 370223"/>
                <a:gd name="connsiteX232" fmla="*/ 348023 w 464902"/>
                <a:gd name="connsiteY232" fmla="*/ 315375 h 370223"/>
                <a:gd name="connsiteX233" fmla="*/ 341029 w 464902"/>
                <a:gd name="connsiteY233" fmla="*/ 316349 h 370223"/>
                <a:gd name="connsiteX234" fmla="*/ 334464 w 464902"/>
                <a:gd name="connsiteY234" fmla="*/ 317263 h 370223"/>
                <a:gd name="connsiteX235" fmla="*/ 327898 w 464902"/>
                <a:gd name="connsiteY235" fmla="*/ 318178 h 370223"/>
                <a:gd name="connsiteX236" fmla="*/ 322309 w 464902"/>
                <a:gd name="connsiteY236" fmla="*/ 318956 h 370223"/>
                <a:gd name="connsiteX237" fmla="*/ 318984 w 464902"/>
                <a:gd name="connsiteY237" fmla="*/ 319861 h 370223"/>
                <a:gd name="connsiteX238" fmla="*/ 315067 w 464902"/>
                <a:gd name="connsiteY238" fmla="*/ 321841 h 370223"/>
                <a:gd name="connsiteX239" fmla="*/ 309055 w 464902"/>
                <a:gd name="connsiteY239" fmla="*/ 324878 h 370223"/>
                <a:gd name="connsiteX240" fmla="*/ 302927 w 464902"/>
                <a:gd name="connsiteY240" fmla="*/ 327971 h 370223"/>
                <a:gd name="connsiteX241" fmla="*/ 299750 w 464902"/>
                <a:gd name="connsiteY241" fmla="*/ 329573 h 370223"/>
                <a:gd name="connsiteX242" fmla="*/ 296423 w 464902"/>
                <a:gd name="connsiteY242" fmla="*/ 333683 h 370223"/>
                <a:gd name="connsiteX243" fmla="*/ 294738 w 464902"/>
                <a:gd name="connsiteY243" fmla="*/ 335762 h 370223"/>
                <a:gd name="connsiteX244" fmla="*/ 291693 w 464902"/>
                <a:gd name="connsiteY244" fmla="*/ 339521 h 370223"/>
                <a:gd name="connsiteX245" fmla="*/ 289392 w 464902"/>
                <a:gd name="connsiteY245" fmla="*/ 342354 h 370223"/>
                <a:gd name="connsiteX246" fmla="*/ 286647 w 464902"/>
                <a:gd name="connsiteY246" fmla="*/ 345738 h 370223"/>
                <a:gd name="connsiteX247" fmla="*/ 285449 w 464902"/>
                <a:gd name="connsiteY247" fmla="*/ 348751 h 370223"/>
                <a:gd name="connsiteX248" fmla="*/ 283600 w 464902"/>
                <a:gd name="connsiteY248" fmla="*/ 353400 h 370223"/>
                <a:gd name="connsiteX249" fmla="*/ 282004 w 464902"/>
                <a:gd name="connsiteY249" fmla="*/ 354572 h 370223"/>
                <a:gd name="connsiteX250" fmla="*/ 279387 w 464902"/>
                <a:gd name="connsiteY250" fmla="*/ 356084 h 370223"/>
                <a:gd name="connsiteX251" fmla="*/ 277006 w 464902"/>
                <a:gd name="connsiteY251" fmla="*/ 357159 h 370223"/>
                <a:gd name="connsiteX252" fmla="*/ 273293 w 464902"/>
                <a:gd name="connsiteY252" fmla="*/ 357004 h 370223"/>
                <a:gd name="connsiteX253" fmla="*/ 271177 w 464902"/>
                <a:gd name="connsiteY253" fmla="*/ 354148 h 370223"/>
                <a:gd name="connsiteX254" fmla="*/ 268934 w 464902"/>
                <a:gd name="connsiteY254" fmla="*/ 351119 h 370223"/>
                <a:gd name="connsiteX255" fmla="*/ 267809 w 464902"/>
                <a:gd name="connsiteY255" fmla="*/ 349901 h 370223"/>
                <a:gd name="connsiteX256" fmla="*/ 266800 w 464902"/>
                <a:gd name="connsiteY256" fmla="*/ 349834 h 370223"/>
                <a:gd name="connsiteX257" fmla="*/ 263073 w 464902"/>
                <a:gd name="connsiteY257" fmla="*/ 350218 h 370223"/>
                <a:gd name="connsiteX258" fmla="*/ 258581 w 464902"/>
                <a:gd name="connsiteY258" fmla="*/ 350682 h 370223"/>
                <a:gd name="connsiteX259" fmla="*/ 253284 w 464902"/>
                <a:gd name="connsiteY259" fmla="*/ 350184 h 370223"/>
                <a:gd name="connsiteX260" fmla="*/ 247174 w 464902"/>
                <a:gd name="connsiteY260" fmla="*/ 349609 h 370223"/>
                <a:gd name="connsiteX261" fmla="*/ 241445 w 464902"/>
                <a:gd name="connsiteY261" fmla="*/ 349071 h 370223"/>
                <a:gd name="connsiteX262" fmla="*/ 238597 w 464902"/>
                <a:gd name="connsiteY262" fmla="*/ 348667 h 370223"/>
                <a:gd name="connsiteX263" fmla="*/ 234839 w 464902"/>
                <a:gd name="connsiteY263" fmla="*/ 346698 h 370223"/>
                <a:gd name="connsiteX264" fmla="*/ 233869 w 464902"/>
                <a:gd name="connsiteY264" fmla="*/ 346307 h 370223"/>
                <a:gd name="connsiteX265" fmla="*/ 232881 w 464902"/>
                <a:gd name="connsiteY265" fmla="*/ 346214 h 370223"/>
                <a:gd name="connsiteX266" fmla="*/ 228424 w 464902"/>
                <a:gd name="connsiteY266" fmla="*/ 346166 h 370223"/>
                <a:gd name="connsiteX267" fmla="*/ 224008 w 464902"/>
                <a:gd name="connsiteY267" fmla="*/ 346118 h 370223"/>
                <a:gd name="connsiteX268" fmla="*/ 219579 w 464902"/>
                <a:gd name="connsiteY268" fmla="*/ 346741 h 370223"/>
                <a:gd name="connsiteX269" fmla="*/ 215338 w 464902"/>
                <a:gd name="connsiteY269" fmla="*/ 346513 h 370223"/>
                <a:gd name="connsiteX270" fmla="*/ 210943 w 464902"/>
                <a:gd name="connsiteY270" fmla="*/ 346873 h 370223"/>
                <a:gd name="connsiteX271" fmla="*/ 209395 w 464902"/>
                <a:gd name="connsiteY271" fmla="*/ 347625 h 370223"/>
                <a:gd name="connsiteX272" fmla="*/ 207676 w 464902"/>
                <a:gd name="connsiteY272" fmla="*/ 347581 h 370223"/>
                <a:gd name="connsiteX273" fmla="*/ 206603 w 464902"/>
                <a:gd name="connsiteY273" fmla="*/ 348245 h 370223"/>
                <a:gd name="connsiteX274" fmla="*/ 205659 w 464902"/>
                <a:gd name="connsiteY274" fmla="*/ 348555 h 370223"/>
                <a:gd name="connsiteX275" fmla="*/ 204541 w 464902"/>
                <a:gd name="connsiteY275" fmla="*/ 347988 h 370223"/>
                <a:gd name="connsiteX276" fmla="*/ 203167 w 464902"/>
                <a:gd name="connsiteY276" fmla="*/ 348112 h 370223"/>
                <a:gd name="connsiteX277" fmla="*/ 201149 w 464902"/>
                <a:gd name="connsiteY277" fmla="*/ 347625 h 370223"/>
                <a:gd name="connsiteX278" fmla="*/ 199831 w 464902"/>
                <a:gd name="connsiteY278" fmla="*/ 346342 h 370223"/>
                <a:gd name="connsiteX279" fmla="*/ 198590 w 464902"/>
                <a:gd name="connsiteY279" fmla="*/ 345212 h 370223"/>
                <a:gd name="connsiteX280" fmla="*/ 197307 w 464902"/>
                <a:gd name="connsiteY280" fmla="*/ 344590 h 370223"/>
                <a:gd name="connsiteX281" fmla="*/ 195869 w 464902"/>
                <a:gd name="connsiteY281" fmla="*/ 344199 h 370223"/>
                <a:gd name="connsiteX282" fmla="*/ 194625 w 464902"/>
                <a:gd name="connsiteY282" fmla="*/ 344190 h 370223"/>
                <a:gd name="connsiteX283" fmla="*/ 193035 w 464902"/>
                <a:gd name="connsiteY283" fmla="*/ 344880 h 370223"/>
                <a:gd name="connsiteX284" fmla="*/ 192064 w 464902"/>
                <a:gd name="connsiteY284" fmla="*/ 345546 h 370223"/>
                <a:gd name="connsiteX285" fmla="*/ 189604 w 464902"/>
                <a:gd name="connsiteY285" fmla="*/ 347765 h 370223"/>
                <a:gd name="connsiteX286" fmla="*/ 189503 w 464902"/>
                <a:gd name="connsiteY286" fmla="*/ 348555 h 370223"/>
                <a:gd name="connsiteX287" fmla="*/ 190621 w 464902"/>
                <a:gd name="connsiteY287" fmla="*/ 349881 h 370223"/>
                <a:gd name="connsiteX288" fmla="*/ 190278 w 464902"/>
                <a:gd name="connsiteY288" fmla="*/ 350501 h 370223"/>
                <a:gd name="connsiteX289" fmla="*/ 188831 w 464902"/>
                <a:gd name="connsiteY289" fmla="*/ 351280 h 370223"/>
                <a:gd name="connsiteX290" fmla="*/ 188388 w 464902"/>
                <a:gd name="connsiteY290" fmla="*/ 353375 h 370223"/>
                <a:gd name="connsiteX291" fmla="*/ 188173 w 464902"/>
                <a:gd name="connsiteY291" fmla="*/ 354525 h 370223"/>
                <a:gd name="connsiteX292" fmla="*/ 187959 w 464902"/>
                <a:gd name="connsiteY292" fmla="*/ 357266 h 370223"/>
                <a:gd name="connsiteX293" fmla="*/ 188602 w 464902"/>
                <a:gd name="connsiteY293" fmla="*/ 359431 h 370223"/>
                <a:gd name="connsiteX294" fmla="*/ 189462 w 464902"/>
                <a:gd name="connsiteY294" fmla="*/ 360226 h 370223"/>
                <a:gd name="connsiteX295" fmla="*/ 189503 w 464902"/>
                <a:gd name="connsiteY295" fmla="*/ 361154 h 370223"/>
                <a:gd name="connsiteX296" fmla="*/ 189032 w 464902"/>
                <a:gd name="connsiteY296" fmla="*/ 363008 h 370223"/>
                <a:gd name="connsiteX297" fmla="*/ 187700 w 464902"/>
                <a:gd name="connsiteY297" fmla="*/ 363582 h 370223"/>
                <a:gd name="connsiteX298" fmla="*/ 186726 w 464902"/>
                <a:gd name="connsiteY298" fmla="*/ 365344 h 370223"/>
                <a:gd name="connsiteX299" fmla="*/ 186125 w 464902"/>
                <a:gd name="connsiteY299" fmla="*/ 366167 h 370223"/>
                <a:gd name="connsiteX300" fmla="*/ 185081 w 464902"/>
                <a:gd name="connsiteY300" fmla="*/ 367105 h 370223"/>
                <a:gd name="connsiteX301" fmla="*/ 180945 w 464902"/>
                <a:gd name="connsiteY301" fmla="*/ 370223 h 370223"/>
                <a:gd name="connsiteX302" fmla="*/ 180736 w 464902"/>
                <a:gd name="connsiteY302" fmla="*/ 368411 h 370223"/>
                <a:gd name="connsiteX303" fmla="*/ 179427 w 464902"/>
                <a:gd name="connsiteY303" fmla="*/ 365725 h 370223"/>
                <a:gd name="connsiteX304" fmla="*/ 179332 w 464902"/>
                <a:gd name="connsiteY304" fmla="*/ 363828 h 370223"/>
                <a:gd name="connsiteX305" fmla="*/ 178723 w 464902"/>
                <a:gd name="connsiteY305" fmla="*/ 361927 h 370223"/>
                <a:gd name="connsiteX306" fmla="*/ 177588 w 464902"/>
                <a:gd name="connsiteY306" fmla="*/ 360464 h 370223"/>
                <a:gd name="connsiteX307" fmla="*/ 175497 w 464902"/>
                <a:gd name="connsiteY307" fmla="*/ 358938 h 370223"/>
                <a:gd name="connsiteX308" fmla="*/ 175303 w 464902"/>
                <a:gd name="connsiteY308" fmla="*/ 356863 h 370223"/>
                <a:gd name="connsiteX309" fmla="*/ 173774 w 464902"/>
                <a:gd name="connsiteY309" fmla="*/ 354812 h 370223"/>
                <a:gd name="connsiteX310" fmla="*/ 171746 w 464902"/>
                <a:gd name="connsiteY310" fmla="*/ 353159 h 370223"/>
                <a:gd name="connsiteX311" fmla="*/ 170621 w 464902"/>
                <a:gd name="connsiteY311" fmla="*/ 350105 h 370223"/>
                <a:gd name="connsiteX312" fmla="*/ 169770 w 464902"/>
                <a:gd name="connsiteY312" fmla="*/ 346043 h 370223"/>
                <a:gd name="connsiteX313" fmla="*/ 164426 w 464902"/>
                <a:gd name="connsiteY313" fmla="*/ 340701 h 370223"/>
                <a:gd name="connsiteX314" fmla="*/ 157743 w 464902"/>
                <a:gd name="connsiteY314" fmla="*/ 335765 h 370223"/>
                <a:gd name="connsiteX315" fmla="*/ 155709 w 464902"/>
                <a:gd name="connsiteY315" fmla="*/ 332982 h 370223"/>
                <a:gd name="connsiteX316" fmla="*/ 152383 w 464902"/>
                <a:gd name="connsiteY316" fmla="*/ 327307 h 370223"/>
                <a:gd name="connsiteX317" fmla="*/ 150705 w 464902"/>
                <a:gd name="connsiteY317" fmla="*/ 322819 h 370223"/>
                <a:gd name="connsiteX318" fmla="*/ 146233 w 464902"/>
                <a:gd name="connsiteY318" fmla="*/ 317650 h 370223"/>
                <a:gd name="connsiteX319" fmla="*/ 146041 w 464902"/>
                <a:gd name="connsiteY319" fmla="*/ 315662 h 370223"/>
                <a:gd name="connsiteX320" fmla="*/ 145378 w 464902"/>
                <a:gd name="connsiteY320" fmla="*/ 313236 h 370223"/>
                <a:gd name="connsiteX321" fmla="*/ 144346 w 464902"/>
                <a:gd name="connsiteY321" fmla="*/ 310536 h 370223"/>
                <a:gd name="connsiteX322" fmla="*/ 143724 w 464902"/>
                <a:gd name="connsiteY322" fmla="*/ 308402 h 370223"/>
                <a:gd name="connsiteX323" fmla="*/ 139241 w 464902"/>
                <a:gd name="connsiteY323" fmla="*/ 299044 h 370223"/>
                <a:gd name="connsiteX324" fmla="*/ 137794 w 464902"/>
                <a:gd name="connsiteY324" fmla="*/ 297549 h 370223"/>
                <a:gd name="connsiteX325" fmla="*/ 136551 w 464902"/>
                <a:gd name="connsiteY325" fmla="*/ 295456 h 370223"/>
                <a:gd name="connsiteX326" fmla="*/ 136228 w 464902"/>
                <a:gd name="connsiteY326" fmla="*/ 293836 h 370223"/>
                <a:gd name="connsiteX327" fmla="*/ 135834 w 464902"/>
                <a:gd name="connsiteY327" fmla="*/ 292950 h 370223"/>
                <a:gd name="connsiteX328" fmla="*/ 132666 w 464902"/>
                <a:gd name="connsiteY328" fmla="*/ 291412 h 370223"/>
                <a:gd name="connsiteX329" fmla="*/ 129709 w 464902"/>
                <a:gd name="connsiteY329" fmla="*/ 287478 h 370223"/>
                <a:gd name="connsiteX330" fmla="*/ 120830 w 464902"/>
                <a:gd name="connsiteY330" fmla="*/ 281207 h 370223"/>
                <a:gd name="connsiteX331" fmla="*/ 116483 w 464902"/>
                <a:gd name="connsiteY331" fmla="*/ 280584 h 370223"/>
                <a:gd name="connsiteX332" fmla="*/ 113039 w 464902"/>
                <a:gd name="connsiteY332" fmla="*/ 278342 h 370223"/>
                <a:gd name="connsiteX333" fmla="*/ 110504 w 464902"/>
                <a:gd name="connsiteY333" fmla="*/ 275407 h 370223"/>
                <a:gd name="connsiteX334" fmla="*/ 107796 w 464902"/>
                <a:gd name="connsiteY334" fmla="*/ 270348 h 370223"/>
                <a:gd name="connsiteX335" fmla="*/ 103039 w 464902"/>
                <a:gd name="connsiteY335" fmla="*/ 264879 h 370223"/>
                <a:gd name="connsiteX336" fmla="*/ 99003 w 464902"/>
                <a:gd name="connsiteY336" fmla="*/ 257104 h 370223"/>
                <a:gd name="connsiteX337" fmla="*/ 100266 w 464902"/>
                <a:gd name="connsiteY337" fmla="*/ 254272 h 370223"/>
                <a:gd name="connsiteX338" fmla="*/ 100186 w 464902"/>
                <a:gd name="connsiteY338" fmla="*/ 252276 h 370223"/>
                <a:gd name="connsiteX339" fmla="*/ 98947 w 464902"/>
                <a:gd name="connsiteY339" fmla="*/ 248920 h 370223"/>
                <a:gd name="connsiteX340" fmla="*/ 97593 w 464902"/>
                <a:gd name="connsiteY340" fmla="*/ 246324 h 370223"/>
                <a:gd name="connsiteX341" fmla="*/ 96667 w 464902"/>
                <a:gd name="connsiteY341" fmla="*/ 243873 h 370223"/>
                <a:gd name="connsiteX342" fmla="*/ 97403 w 464902"/>
                <a:gd name="connsiteY342" fmla="*/ 240354 h 370223"/>
                <a:gd name="connsiteX343" fmla="*/ 97686 w 464902"/>
                <a:gd name="connsiteY343" fmla="*/ 236410 h 370223"/>
                <a:gd name="connsiteX344" fmla="*/ 98480 w 464902"/>
                <a:gd name="connsiteY344" fmla="*/ 234313 h 370223"/>
                <a:gd name="connsiteX345" fmla="*/ 99055 w 464902"/>
                <a:gd name="connsiteY345" fmla="*/ 232011 h 370223"/>
                <a:gd name="connsiteX346" fmla="*/ 98306 w 464902"/>
                <a:gd name="connsiteY346" fmla="*/ 227374 h 370223"/>
                <a:gd name="connsiteX347" fmla="*/ 96965 w 464902"/>
                <a:gd name="connsiteY347" fmla="*/ 224890 h 370223"/>
                <a:gd name="connsiteX348" fmla="*/ 97098 w 464902"/>
                <a:gd name="connsiteY348" fmla="*/ 223235 h 370223"/>
                <a:gd name="connsiteX349" fmla="*/ 95581 w 464902"/>
                <a:gd name="connsiteY349" fmla="*/ 222427 h 370223"/>
                <a:gd name="connsiteX350" fmla="*/ 94345 w 464902"/>
                <a:gd name="connsiteY350" fmla="*/ 220628 h 370223"/>
                <a:gd name="connsiteX351" fmla="*/ 95632 w 464902"/>
                <a:gd name="connsiteY351" fmla="*/ 220633 h 370223"/>
                <a:gd name="connsiteX352" fmla="*/ 93298 w 464902"/>
                <a:gd name="connsiteY352" fmla="*/ 218135 h 370223"/>
                <a:gd name="connsiteX353" fmla="*/ 92443 w 464902"/>
                <a:gd name="connsiteY353" fmla="*/ 216747 h 370223"/>
                <a:gd name="connsiteX354" fmla="*/ 91562 w 464902"/>
                <a:gd name="connsiteY354" fmla="*/ 213350 h 370223"/>
                <a:gd name="connsiteX355" fmla="*/ 90434 w 464902"/>
                <a:gd name="connsiteY355" fmla="*/ 210755 h 370223"/>
                <a:gd name="connsiteX356" fmla="*/ 86813 w 464902"/>
                <a:gd name="connsiteY356" fmla="*/ 204861 h 370223"/>
                <a:gd name="connsiteX357" fmla="*/ 85086 w 464902"/>
                <a:gd name="connsiteY357" fmla="*/ 201263 h 370223"/>
                <a:gd name="connsiteX358" fmla="*/ 81210 w 464902"/>
                <a:gd name="connsiteY358" fmla="*/ 196605 h 370223"/>
                <a:gd name="connsiteX359" fmla="*/ 77003 w 464902"/>
                <a:gd name="connsiteY359" fmla="*/ 193162 h 370223"/>
                <a:gd name="connsiteX360" fmla="*/ 74332 w 464902"/>
                <a:gd name="connsiteY360" fmla="*/ 191604 h 370223"/>
                <a:gd name="connsiteX361" fmla="*/ 73047 w 464902"/>
                <a:gd name="connsiteY361" fmla="*/ 190178 h 370223"/>
                <a:gd name="connsiteX362" fmla="*/ 70864 w 464902"/>
                <a:gd name="connsiteY362" fmla="*/ 190129 h 370223"/>
                <a:gd name="connsiteX363" fmla="*/ 68485 w 464902"/>
                <a:gd name="connsiteY363" fmla="*/ 188091 h 370223"/>
                <a:gd name="connsiteX364" fmla="*/ 66822 w 464902"/>
                <a:gd name="connsiteY364" fmla="*/ 188014 h 370223"/>
                <a:gd name="connsiteX365" fmla="*/ 64718 w 464902"/>
                <a:gd name="connsiteY365" fmla="*/ 187687 h 370223"/>
                <a:gd name="connsiteX366" fmla="*/ 62240 w 464902"/>
                <a:gd name="connsiteY366" fmla="*/ 183761 h 370223"/>
                <a:gd name="connsiteX367" fmla="*/ 60195 w 464902"/>
                <a:gd name="connsiteY367" fmla="*/ 180080 h 370223"/>
                <a:gd name="connsiteX368" fmla="*/ 56709 w 464902"/>
                <a:gd name="connsiteY368" fmla="*/ 175282 h 370223"/>
                <a:gd name="connsiteX369" fmla="*/ 57584 w 464902"/>
                <a:gd name="connsiteY369" fmla="*/ 174028 h 370223"/>
                <a:gd name="connsiteX370" fmla="*/ 58599 w 464902"/>
                <a:gd name="connsiteY370" fmla="*/ 171989 h 370223"/>
                <a:gd name="connsiteX371" fmla="*/ 58093 w 464902"/>
                <a:gd name="connsiteY371" fmla="*/ 169320 h 370223"/>
                <a:gd name="connsiteX372" fmla="*/ 57538 w 464902"/>
                <a:gd name="connsiteY372" fmla="*/ 167502 h 370223"/>
                <a:gd name="connsiteX373" fmla="*/ 56001 w 464902"/>
                <a:gd name="connsiteY373" fmla="*/ 164193 h 370223"/>
                <a:gd name="connsiteX374" fmla="*/ 50957 w 464902"/>
                <a:gd name="connsiteY374" fmla="*/ 155936 h 370223"/>
                <a:gd name="connsiteX375" fmla="*/ 49618 w 464902"/>
                <a:gd name="connsiteY375" fmla="*/ 154725 h 370223"/>
                <a:gd name="connsiteX376" fmla="*/ 47463 w 464902"/>
                <a:gd name="connsiteY376" fmla="*/ 153335 h 370223"/>
                <a:gd name="connsiteX377" fmla="*/ 46132 w 464902"/>
                <a:gd name="connsiteY377" fmla="*/ 149754 h 370223"/>
                <a:gd name="connsiteX378" fmla="*/ 45528 w 464902"/>
                <a:gd name="connsiteY378" fmla="*/ 146537 h 370223"/>
                <a:gd name="connsiteX379" fmla="*/ 42069 w 464902"/>
                <a:gd name="connsiteY379" fmla="*/ 144975 h 370223"/>
                <a:gd name="connsiteX380" fmla="*/ 36118 w 464902"/>
                <a:gd name="connsiteY380" fmla="*/ 133366 h 370223"/>
                <a:gd name="connsiteX381" fmla="*/ 32671 w 464902"/>
                <a:gd name="connsiteY381" fmla="*/ 129305 h 370223"/>
                <a:gd name="connsiteX382" fmla="*/ 31306 w 464902"/>
                <a:gd name="connsiteY382" fmla="*/ 126568 h 370223"/>
                <a:gd name="connsiteX383" fmla="*/ 27318 w 464902"/>
                <a:gd name="connsiteY383" fmla="*/ 122063 h 370223"/>
                <a:gd name="connsiteX384" fmla="*/ 25357 w 464902"/>
                <a:gd name="connsiteY384" fmla="*/ 117580 h 370223"/>
                <a:gd name="connsiteX385" fmla="*/ 21341 w 464902"/>
                <a:gd name="connsiteY385" fmla="*/ 113442 h 370223"/>
                <a:gd name="connsiteX386" fmla="*/ 17857 w 464902"/>
                <a:gd name="connsiteY386" fmla="*/ 106252 h 370223"/>
                <a:gd name="connsiteX387" fmla="*/ 12476 w 464902"/>
                <a:gd name="connsiteY387" fmla="*/ 99057 h 370223"/>
                <a:gd name="connsiteX388" fmla="*/ 10218 w 464902"/>
                <a:gd name="connsiteY388" fmla="*/ 97809 h 370223"/>
                <a:gd name="connsiteX389" fmla="*/ 4673 w 464902"/>
                <a:gd name="connsiteY389" fmla="*/ 97292 h 370223"/>
                <a:gd name="connsiteX390" fmla="*/ 2340 w 464902"/>
                <a:gd name="connsiteY390" fmla="*/ 96764 h 370223"/>
                <a:gd name="connsiteX391" fmla="*/ 194 w 464902"/>
                <a:gd name="connsiteY391" fmla="*/ 98347 h 370223"/>
                <a:gd name="connsiteX392" fmla="*/ 0 w 464902"/>
                <a:gd name="connsiteY392" fmla="*/ 96341 h 370223"/>
                <a:gd name="connsiteX393" fmla="*/ 1483 w 464902"/>
                <a:gd name="connsiteY393" fmla="*/ 93569 h 370223"/>
                <a:gd name="connsiteX394" fmla="*/ 3619 w 464902"/>
                <a:gd name="connsiteY394" fmla="*/ 87739 h 370223"/>
                <a:gd name="connsiteX395" fmla="*/ 4044 w 464902"/>
                <a:gd name="connsiteY395" fmla="*/ 82622 h 370223"/>
                <a:gd name="connsiteX396" fmla="*/ 7398 w 464902"/>
                <a:gd name="connsiteY396" fmla="*/ 67390 h 370223"/>
                <a:gd name="connsiteX397" fmla="*/ 12107 w 464902"/>
                <a:gd name="connsiteY397" fmla="*/ 68175 h 370223"/>
                <a:gd name="connsiteX398" fmla="*/ 15985 w 464902"/>
                <a:gd name="connsiteY398" fmla="*/ 68822 h 370223"/>
                <a:gd name="connsiteX399" fmla="*/ 21649 w 464902"/>
                <a:gd name="connsiteY399" fmla="*/ 69767 h 370223"/>
                <a:gd name="connsiteX400" fmla="*/ 27510 w 464902"/>
                <a:gd name="connsiteY400" fmla="*/ 70746 h 370223"/>
                <a:gd name="connsiteX401" fmla="*/ 30939 w 464902"/>
                <a:gd name="connsiteY401" fmla="*/ 71319 h 370223"/>
                <a:gd name="connsiteX402" fmla="*/ 32112 w 464902"/>
                <a:gd name="connsiteY402" fmla="*/ 71077 h 370223"/>
                <a:gd name="connsiteX403" fmla="*/ 36852 w 464902"/>
                <a:gd name="connsiteY403" fmla="*/ 67345 h 370223"/>
                <a:gd name="connsiteX404" fmla="*/ 41125 w 464902"/>
                <a:gd name="connsiteY404" fmla="*/ 63975 h 370223"/>
                <a:gd name="connsiteX405" fmla="*/ 43684 w 464902"/>
                <a:gd name="connsiteY405" fmla="*/ 59847 h 370223"/>
                <a:gd name="connsiteX406" fmla="*/ 46163 w 464902"/>
                <a:gd name="connsiteY406" fmla="*/ 55846 h 370223"/>
                <a:gd name="connsiteX407" fmla="*/ 47299 w 464902"/>
                <a:gd name="connsiteY407" fmla="*/ 55015 h 370223"/>
                <a:gd name="connsiteX408" fmla="*/ 51097 w 464902"/>
                <a:gd name="connsiteY408" fmla="*/ 54264 h 370223"/>
                <a:gd name="connsiteX409" fmla="*/ 57119 w 464902"/>
                <a:gd name="connsiteY409" fmla="*/ 53073 h 370223"/>
                <a:gd name="connsiteX410" fmla="*/ 63086 w 464902"/>
                <a:gd name="connsiteY410" fmla="*/ 51892 h 370223"/>
                <a:gd name="connsiteX411" fmla="*/ 63561 w 464902"/>
                <a:gd name="connsiteY411" fmla="*/ 51489 h 370223"/>
                <a:gd name="connsiteX412" fmla="*/ 64952 w 464902"/>
                <a:gd name="connsiteY412" fmla="*/ 48272 h 370223"/>
                <a:gd name="connsiteX413" fmla="*/ 66720 w 464902"/>
                <a:gd name="connsiteY413" fmla="*/ 44183 h 370223"/>
                <a:gd name="connsiteX414" fmla="*/ 67081 w 464902"/>
                <a:gd name="connsiteY414" fmla="*/ 43754 h 370223"/>
                <a:gd name="connsiteX415" fmla="*/ 67519 w 464902"/>
                <a:gd name="connsiteY415" fmla="*/ 43337 h 370223"/>
                <a:gd name="connsiteX416" fmla="*/ 71791 w 464902"/>
                <a:gd name="connsiteY416" fmla="*/ 41045 h 370223"/>
                <a:gd name="connsiteX417" fmla="*/ 74382 w 464902"/>
                <a:gd name="connsiteY417" fmla="*/ 39652 h 370223"/>
                <a:gd name="connsiteX418" fmla="*/ 70687 w 464902"/>
                <a:gd name="connsiteY418" fmla="*/ 35539 h 370223"/>
                <a:gd name="connsiteX419" fmla="*/ 67204 w 464902"/>
                <a:gd name="connsiteY419" fmla="*/ 31656 h 370223"/>
                <a:gd name="connsiteX420" fmla="*/ 63302 w 464902"/>
                <a:gd name="connsiteY420" fmla="*/ 27303 h 370223"/>
                <a:gd name="connsiteX421" fmla="*/ 59996 w 464902"/>
                <a:gd name="connsiteY421" fmla="*/ 23914 h 370223"/>
                <a:gd name="connsiteX422" fmla="*/ 55038 w 464902"/>
                <a:gd name="connsiteY422" fmla="*/ 18831 h 370223"/>
                <a:gd name="connsiteX423" fmla="*/ 51794 w 464902"/>
                <a:gd name="connsiteY423" fmla="*/ 15501 h 370223"/>
                <a:gd name="connsiteX424" fmla="*/ 57478 w 464902"/>
                <a:gd name="connsiteY424" fmla="*/ 13922 h 370223"/>
                <a:gd name="connsiteX425" fmla="*/ 63619 w 464902"/>
                <a:gd name="connsiteY425" fmla="*/ 12215 h 370223"/>
                <a:gd name="connsiteX426" fmla="*/ 69821 w 464902"/>
                <a:gd name="connsiteY426" fmla="*/ 10492 h 370223"/>
                <a:gd name="connsiteX427" fmla="*/ 77286 w 464902"/>
                <a:gd name="connsiteY427" fmla="*/ 8416 h 370223"/>
                <a:gd name="connsiteX428" fmla="*/ 83125 w 464902"/>
                <a:gd name="connsiteY428" fmla="*/ 6792 h 370223"/>
                <a:gd name="connsiteX429" fmla="*/ 91840 w 464902"/>
                <a:gd name="connsiteY429" fmla="*/ 4366 h 370223"/>
                <a:gd name="connsiteX430" fmla="*/ 96101 w 464902"/>
                <a:gd name="connsiteY430" fmla="*/ 3178 h 370223"/>
                <a:gd name="connsiteX431" fmla="*/ 96870 w 464902"/>
                <a:gd name="connsiteY431" fmla="*/ 2871 h 370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</a:cxnLst>
              <a:rect l="l" t="t" r="r" b="b"/>
              <a:pathLst>
                <a:path w="464902" h="370223">
                  <a:moveTo>
                    <a:pt x="160185" y="355888"/>
                  </a:moveTo>
                  <a:lnTo>
                    <a:pt x="161442" y="356091"/>
                  </a:lnTo>
                  <a:lnTo>
                    <a:pt x="162120" y="357392"/>
                  </a:lnTo>
                  <a:lnTo>
                    <a:pt x="162251" y="360352"/>
                  </a:lnTo>
                  <a:lnTo>
                    <a:pt x="162442" y="360979"/>
                  </a:lnTo>
                  <a:lnTo>
                    <a:pt x="162092" y="361655"/>
                  </a:lnTo>
                  <a:lnTo>
                    <a:pt x="162999" y="362412"/>
                  </a:lnTo>
                  <a:lnTo>
                    <a:pt x="164709" y="362539"/>
                  </a:lnTo>
                  <a:lnTo>
                    <a:pt x="164005" y="361814"/>
                  </a:lnTo>
                  <a:lnTo>
                    <a:pt x="163854" y="361457"/>
                  </a:lnTo>
                  <a:lnTo>
                    <a:pt x="164597" y="360414"/>
                  </a:lnTo>
                  <a:lnTo>
                    <a:pt x="167039" y="362571"/>
                  </a:lnTo>
                  <a:lnTo>
                    <a:pt x="166968" y="365122"/>
                  </a:lnTo>
                  <a:lnTo>
                    <a:pt x="166760" y="365705"/>
                  </a:lnTo>
                  <a:lnTo>
                    <a:pt x="166095" y="365157"/>
                  </a:lnTo>
                  <a:lnTo>
                    <a:pt x="165668" y="364621"/>
                  </a:lnTo>
                  <a:lnTo>
                    <a:pt x="165534" y="364041"/>
                  </a:lnTo>
                  <a:lnTo>
                    <a:pt x="164858" y="363416"/>
                  </a:lnTo>
                  <a:lnTo>
                    <a:pt x="162478" y="363825"/>
                  </a:lnTo>
                  <a:lnTo>
                    <a:pt x="160999" y="363125"/>
                  </a:lnTo>
                  <a:lnTo>
                    <a:pt x="158883" y="360977"/>
                  </a:lnTo>
                  <a:lnTo>
                    <a:pt x="158319" y="359429"/>
                  </a:lnTo>
                  <a:lnTo>
                    <a:pt x="159205" y="359127"/>
                  </a:lnTo>
                  <a:lnTo>
                    <a:pt x="160135" y="358381"/>
                  </a:lnTo>
                  <a:lnTo>
                    <a:pt x="160727" y="357156"/>
                  </a:lnTo>
                  <a:close/>
                  <a:moveTo>
                    <a:pt x="42397" y="154814"/>
                  </a:moveTo>
                  <a:lnTo>
                    <a:pt x="42850" y="155837"/>
                  </a:lnTo>
                  <a:lnTo>
                    <a:pt x="43617" y="156440"/>
                  </a:lnTo>
                  <a:lnTo>
                    <a:pt x="47128" y="157882"/>
                  </a:lnTo>
                  <a:lnTo>
                    <a:pt x="51039" y="161025"/>
                  </a:lnTo>
                  <a:lnTo>
                    <a:pt x="51710" y="161281"/>
                  </a:lnTo>
                  <a:lnTo>
                    <a:pt x="50536" y="162026"/>
                  </a:lnTo>
                  <a:lnTo>
                    <a:pt x="49950" y="162026"/>
                  </a:lnTo>
                  <a:lnTo>
                    <a:pt x="48400" y="160430"/>
                  </a:lnTo>
                  <a:lnTo>
                    <a:pt x="47489" y="159254"/>
                  </a:lnTo>
                  <a:lnTo>
                    <a:pt x="46565" y="158465"/>
                  </a:lnTo>
                  <a:lnTo>
                    <a:pt x="42323" y="156871"/>
                  </a:lnTo>
                  <a:lnTo>
                    <a:pt x="41749" y="155843"/>
                  </a:lnTo>
                  <a:close/>
                  <a:moveTo>
                    <a:pt x="43483" y="150873"/>
                  </a:moveTo>
                  <a:lnTo>
                    <a:pt x="43421" y="152293"/>
                  </a:lnTo>
                  <a:lnTo>
                    <a:pt x="43768" y="153724"/>
                  </a:lnTo>
                  <a:lnTo>
                    <a:pt x="43766" y="154245"/>
                  </a:lnTo>
                  <a:lnTo>
                    <a:pt x="43559" y="154566"/>
                  </a:lnTo>
                  <a:lnTo>
                    <a:pt x="42626" y="153738"/>
                  </a:lnTo>
                  <a:lnTo>
                    <a:pt x="42682" y="151910"/>
                  </a:lnTo>
                  <a:close/>
                  <a:moveTo>
                    <a:pt x="100150" y="0"/>
                  </a:moveTo>
                  <a:lnTo>
                    <a:pt x="105086" y="804"/>
                  </a:lnTo>
                  <a:lnTo>
                    <a:pt x="112504" y="2011"/>
                  </a:lnTo>
                  <a:lnTo>
                    <a:pt x="119662" y="3176"/>
                  </a:lnTo>
                  <a:lnTo>
                    <a:pt x="127213" y="4550"/>
                  </a:lnTo>
                  <a:lnTo>
                    <a:pt x="129636" y="5668"/>
                  </a:lnTo>
                  <a:lnTo>
                    <a:pt x="136922" y="9780"/>
                  </a:lnTo>
                  <a:lnTo>
                    <a:pt x="141655" y="12448"/>
                  </a:lnTo>
                  <a:lnTo>
                    <a:pt x="147183" y="15562"/>
                  </a:lnTo>
                  <a:lnTo>
                    <a:pt x="154096" y="19452"/>
                  </a:lnTo>
                  <a:lnTo>
                    <a:pt x="158842" y="22121"/>
                  </a:lnTo>
                  <a:lnTo>
                    <a:pt x="164916" y="25534"/>
                  </a:lnTo>
                  <a:lnTo>
                    <a:pt x="169652" y="29430"/>
                  </a:lnTo>
                  <a:lnTo>
                    <a:pt x="175648" y="34361"/>
                  </a:lnTo>
                  <a:lnTo>
                    <a:pt x="182237" y="39768"/>
                  </a:lnTo>
                  <a:lnTo>
                    <a:pt x="187663" y="43966"/>
                  </a:lnTo>
                  <a:lnTo>
                    <a:pt x="195130" y="49740"/>
                  </a:lnTo>
                  <a:lnTo>
                    <a:pt x="202491" y="55421"/>
                  </a:lnTo>
                  <a:lnTo>
                    <a:pt x="209697" y="60976"/>
                  </a:lnTo>
                  <a:lnTo>
                    <a:pt x="215472" y="65419"/>
                  </a:lnTo>
                  <a:lnTo>
                    <a:pt x="222770" y="71033"/>
                  </a:lnTo>
                  <a:lnTo>
                    <a:pt x="223338" y="71244"/>
                  </a:lnTo>
                  <a:lnTo>
                    <a:pt x="230719" y="71882"/>
                  </a:lnTo>
                  <a:lnTo>
                    <a:pt x="240639" y="72738"/>
                  </a:lnTo>
                  <a:lnTo>
                    <a:pt x="250607" y="73597"/>
                  </a:lnTo>
                  <a:lnTo>
                    <a:pt x="259601" y="74372"/>
                  </a:lnTo>
                  <a:lnTo>
                    <a:pt x="263470" y="73588"/>
                  </a:lnTo>
                  <a:lnTo>
                    <a:pt x="267746" y="74109"/>
                  </a:lnTo>
                  <a:lnTo>
                    <a:pt x="273438" y="74805"/>
                  </a:lnTo>
                  <a:lnTo>
                    <a:pt x="276900" y="75274"/>
                  </a:lnTo>
                  <a:lnTo>
                    <a:pt x="283410" y="76155"/>
                  </a:lnTo>
                  <a:lnTo>
                    <a:pt x="285358" y="79803"/>
                  </a:lnTo>
                  <a:lnTo>
                    <a:pt x="286064" y="82357"/>
                  </a:lnTo>
                  <a:lnTo>
                    <a:pt x="286725" y="84844"/>
                  </a:lnTo>
                  <a:lnTo>
                    <a:pt x="288675" y="87119"/>
                  </a:lnTo>
                  <a:lnTo>
                    <a:pt x="293112" y="87064"/>
                  </a:lnTo>
                  <a:lnTo>
                    <a:pt x="297040" y="87015"/>
                  </a:lnTo>
                  <a:lnTo>
                    <a:pt x="301886" y="86942"/>
                  </a:lnTo>
                  <a:lnTo>
                    <a:pt x="305727" y="86885"/>
                  </a:lnTo>
                  <a:lnTo>
                    <a:pt x="306967" y="89141"/>
                  </a:lnTo>
                  <a:lnTo>
                    <a:pt x="307509" y="91390"/>
                  </a:lnTo>
                  <a:lnTo>
                    <a:pt x="309793" y="96718"/>
                  </a:lnTo>
                  <a:lnTo>
                    <a:pt x="313052" y="100869"/>
                  </a:lnTo>
                  <a:lnTo>
                    <a:pt x="313832" y="102379"/>
                  </a:lnTo>
                  <a:lnTo>
                    <a:pt x="314359" y="104655"/>
                  </a:lnTo>
                  <a:lnTo>
                    <a:pt x="313793" y="105500"/>
                  </a:lnTo>
                  <a:lnTo>
                    <a:pt x="313570" y="106479"/>
                  </a:lnTo>
                  <a:lnTo>
                    <a:pt x="315987" y="108753"/>
                  </a:lnTo>
                  <a:lnTo>
                    <a:pt x="319977" y="110673"/>
                  </a:lnTo>
                  <a:lnTo>
                    <a:pt x="321538" y="111159"/>
                  </a:lnTo>
                  <a:lnTo>
                    <a:pt x="323307" y="112005"/>
                  </a:lnTo>
                  <a:lnTo>
                    <a:pt x="321927" y="113319"/>
                  </a:lnTo>
                  <a:lnTo>
                    <a:pt x="324281" y="116349"/>
                  </a:lnTo>
                  <a:lnTo>
                    <a:pt x="327017" y="119434"/>
                  </a:lnTo>
                  <a:lnTo>
                    <a:pt x="329945" y="120129"/>
                  </a:lnTo>
                  <a:lnTo>
                    <a:pt x="333899" y="124789"/>
                  </a:lnTo>
                  <a:lnTo>
                    <a:pt x="339861" y="127806"/>
                  </a:lnTo>
                  <a:lnTo>
                    <a:pt x="343480" y="131755"/>
                  </a:lnTo>
                  <a:lnTo>
                    <a:pt x="343145" y="131829"/>
                  </a:lnTo>
                  <a:lnTo>
                    <a:pt x="342083" y="131428"/>
                  </a:lnTo>
                  <a:lnTo>
                    <a:pt x="340750" y="130886"/>
                  </a:lnTo>
                  <a:lnTo>
                    <a:pt x="340347" y="131378"/>
                  </a:lnTo>
                  <a:lnTo>
                    <a:pt x="340418" y="133033"/>
                  </a:lnTo>
                  <a:lnTo>
                    <a:pt x="340772" y="134977"/>
                  </a:lnTo>
                  <a:lnTo>
                    <a:pt x="342616" y="136659"/>
                  </a:lnTo>
                  <a:lnTo>
                    <a:pt x="344257" y="137868"/>
                  </a:lnTo>
                  <a:lnTo>
                    <a:pt x="344897" y="140154"/>
                  </a:lnTo>
                  <a:lnTo>
                    <a:pt x="343605" y="145078"/>
                  </a:lnTo>
                  <a:lnTo>
                    <a:pt x="343158" y="145075"/>
                  </a:lnTo>
                  <a:lnTo>
                    <a:pt x="342290" y="144648"/>
                  </a:lnTo>
                  <a:lnTo>
                    <a:pt x="341359" y="144550"/>
                  </a:lnTo>
                  <a:lnTo>
                    <a:pt x="340867" y="144831"/>
                  </a:lnTo>
                  <a:lnTo>
                    <a:pt x="341960" y="148370"/>
                  </a:lnTo>
                  <a:lnTo>
                    <a:pt x="343048" y="151083"/>
                  </a:lnTo>
                  <a:lnTo>
                    <a:pt x="344361" y="153229"/>
                  </a:lnTo>
                  <a:lnTo>
                    <a:pt x="345451" y="156369"/>
                  </a:lnTo>
                  <a:lnTo>
                    <a:pt x="346387" y="157708"/>
                  </a:lnTo>
                  <a:lnTo>
                    <a:pt x="350232" y="161042"/>
                  </a:lnTo>
                  <a:lnTo>
                    <a:pt x="351411" y="163826"/>
                  </a:lnTo>
                  <a:lnTo>
                    <a:pt x="352504" y="169009"/>
                  </a:lnTo>
                  <a:lnTo>
                    <a:pt x="354914" y="171900"/>
                  </a:lnTo>
                  <a:lnTo>
                    <a:pt x="356212" y="174121"/>
                  </a:lnTo>
                  <a:lnTo>
                    <a:pt x="357954" y="176005"/>
                  </a:lnTo>
                  <a:lnTo>
                    <a:pt x="359088" y="178581"/>
                  </a:lnTo>
                  <a:lnTo>
                    <a:pt x="360695" y="180566"/>
                  </a:lnTo>
                  <a:lnTo>
                    <a:pt x="361528" y="181064"/>
                  </a:lnTo>
                  <a:lnTo>
                    <a:pt x="362783" y="181268"/>
                  </a:lnTo>
                  <a:lnTo>
                    <a:pt x="364344" y="181282"/>
                  </a:lnTo>
                  <a:lnTo>
                    <a:pt x="366216" y="180764"/>
                  </a:lnTo>
                  <a:lnTo>
                    <a:pt x="368205" y="180282"/>
                  </a:lnTo>
                  <a:lnTo>
                    <a:pt x="369764" y="181289"/>
                  </a:lnTo>
                  <a:lnTo>
                    <a:pt x="371373" y="181137"/>
                  </a:lnTo>
                  <a:lnTo>
                    <a:pt x="371530" y="182073"/>
                  </a:lnTo>
                  <a:lnTo>
                    <a:pt x="370460" y="183341"/>
                  </a:lnTo>
                  <a:lnTo>
                    <a:pt x="369131" y="186545"/>
                  </a:lnTo>
                  <a:lnTo>
                    <a:pt x="371019" y="187050"/>
                  </a:lnTo>
                  <a:lnTo>
                    <a:pt x="372822" y="187299"/>
                  </a:lnTo>
                  <a:lnTo>
                    <a:pt x="374105" y="187812"/>
                  </a:lnTo>
                  <a:lnTo>
                    <a:pt x="374847" y="187816"/>
                  </a:lnTo>
                  <a:lnTo>
                    <a:pt x="374847" y="188478"/>
                  </a:lnTo>
                  <a:lnTo>
                    <a:pt x="374931" y="191516"/>
                  </a:lnTo>
                  <a:lnTo>
                    <a:pt x="375383" y="192674"/>
                  </a:lnTo>
                  <a:lnTo>
                    <a:pt x="376195" y="193701"/>
                  </a:lnTo>
                  <a:lnTo>
                    <a:pt x="377413" y="195234"/>
                  </a:lnTo>
                  <a:lnTo>
                    <a:pt x="378628" y="196768"/>
                  </a:lnTo>
                  <a:lnTo>
                    <a:pt x="379844" y="198302"/>
                  </a:lnTo>
                  <a:lnTo>
                    <a:pt x="381062" y="199833"/>
                  </a:lnTo>
                  <a:lnTo>
                    <a:pt x="382278" y="201365"/>
                  </a:lnTo>
                  <a:lnTo>
                    <a:pt x="383496" y="202896"/>
                  </a:lnTo>
                  <a:lnTo>
                    <a:pt x="384711" y="204428"/>
                  </a:lnTo>
                  <a:lnTo>
                    <a:pt x="385927" y="205957"/>
                  </a:lnTo>
                  <a:lnTo>
                    <a:pt x="387145" y="207488"/>
                  </a:lnTo>
                  <a:lnTo>
                    <a:pt x="388361" y="209017"/>
                  </a:lnTo>
                  <a:lnTo>
                    <a:pt x="389579" y="210546"/>
                  </a:lnTo>
                  <a:lnTo>
                    <a:pt x="390794" y="212074"/>
                  </a:lnTo>
                  <a:lnTo>
                    <a:pt x="392010" y="213602"/>
                  </a:lnTo>
                  <a:lnTo>
                    <a:pt x="393228" y="215130"/>
                  </a:lnTo>
                  <a:lnTo>
                    <a:pt x="394444" y="216658"/>
                  </a:lnTo>
                  <a:lnTo>
                    <a:pt x="395660" y="218183"/>
                  </a:lnTo>
                  <a:lnTo>
                    <a:pt x="396666" y="219445"/>
                  </a:lnTo>
                  <a:lnTo>
                    <a:pt x="398525" y="219685"/>
                  </a:lnTo>
                  <a:lnTo>
                    <a:pt x="399117" y="219760"/>
                  </a:lnTo>
                  <a:lnTo>
                    <a:pt x="400790" y="219976"/>
                  </a:lnTo>
                  <a:lnTo>
                    <a:pt x="403392" y="220312"/>
                  </a:lnTo>
                  <a:lnTo>
                    <a:pt x="406767" y="220745"/>
                  </a:lnTo>
                  <a:lnTo>
                    <a:pt x="410758" y="221259"/>
                  </a:lnTo>
                  <a:lnTo>
                    <a:pt x="415217" y="221832"/>
                  </a:lnTo>
                  <a:lnTo>
                    <a:pt x="419983" y="222445"/>
                  </a:lnTo>
                  <a:lnTo>
                    <a:pt x="424904" y="223078"/>
                  </a:lnTo>
                  <a:lnTo>
                    <a:pt x="429823" y="223710"/>
                  </a:lnTo>
                  <a:lnTo>
                    <a:pt x="434589" y="224323"/>
                  </a:lnTo>
                  <a:lnTo>
                    <a:pt x="439046" y="224895"/>
                  </a:lnTo>
                  <a:lnTo>
                    <a:pt x="443038" y="225409"/>
                  </a:lnTo>
                  <a:lnTo>
                    <a:pt x="446413" y="225843"/>
                  </a:lnTo>
                  <a:lnTo>
                    <a:pt x="449014" y="226177"/>
                  </a:lnTo>
                  <a:lnTo>
                    <a:pt x="450689" y="226393"/>
                  </a:lnTo>
                  <a:lnTo>
                    <a:pt x="451281" y="226468"/>
                  </a:lnTo>
                  <a:lnTo>
                    <a:pt x="453034" y="226693"/>
                  </a:lnTo>
                  <a:lnTo>
                    <a:pt x="453369" y="226636"/>
                  </a:lnTo>
                  <a:lnTo>
                    <a:pt x="454837" y="224770"/>
                  </a:lnTo>
                  <a:lnTo>
                    <a:pt x="456461" y="227404"/>
                  </a:lnTo>
                  <a:lnTo>
                    <a:pt x="457807" y="229589"/>
                  </a:lnTo>
                  <a:lnTo>
                    <a:pt x="459657" y="232590"/>
                  </a:lnTo>
                  <a:lnTo>
                    <a:pt x="461624" y="235776"/>
                  </a:lnTo>
                  <a:lnTo>
                    <a:pt x="463503" y="238821"/>
                  </a:lnTo>
                  <a:lnTo>
                    <a:pt x="464902" y="241087"/>
                  </a:lnTo>
                  <a:lnTo>
                    <a:pt x="464160" y="243440"/>
                  </a:lnTo>
                  <a:lnTo>
                    <a:pt x="463350" y="246006"/>
                  </a:lnTo>
                  <a:lnTo>
                    <a:pt x="462540" y="248571"/>
                  </a:lnTo>
                  <a:lnTo>
                    <a:pt x="461730" y="251135"/>
                  </a:lnTo>
                  <a:lnTo>
                    <a:pt x="460920" y="253697"/>
                  </a:lnTo>
                  <a:lnTo>
                    <a:pt x="460111" y="256258"/>
                  </a:lnTo>
                  <a:lnTo>
                    <a:pt x="459301" y="258818"/>
                  </a:lnTo>
                  <a:lnTo>
                    <a:pt x="458491" y="261377"/>
                  </a:lnTo>
                  <a:lnTo>
                    <a:pt x="457681" y="263936"/>
                  </a:lnTo>
                  <a:lnTo>
                    <a:pt x="456874" y="266492"/>
                  </a:lnTo>
                  <a:lnTo>
                    <a:pt x="456062" y="269047"/>
                  </a:lnTo>
                  <a:lnTo>
                    <a:pt x="455252" y="271601"/>
                  </a:lnTo>
                  <a:lnTo>
                    <a:pt x="454444" y="274154"/>
                  </a:lnTo>
                  <a:lnTo>
                    <a:pt x="453635" y="276705"/>
                  </a:lnTo>
                  <a:lnTo>
                    <a:pt x="452823" y="279256"/>
                  </a:lnTo>
                  <a:lnTo>
                    <a:pt x="452015" y="281806"/>
                  </a:lnTo>
                  <a:lnTo>
                    <a:pt x="451203" y="284354"/>
                  </a:lnTo>
                  <a:lnTo>
                    <a:pt x="450227" y="287421"/>
                  </a:lnTo>
                  <a:lnTo>
                    <a:pt x="447878" y="288236"/>
                  </a:lnTo>
                  <a:lnTo>
                    <a:pt x="444073" y="289555"/>
                  </a:lnTo>
                  <a:lnTo>
                    <a:pt x="440270" y="290874"/>
                  </a:lnTo>
                  <a:lnTo>
                    <a:pt x="436465" y="292191"/>
                  </a:lnTo>
                  <a:lnTo>
                    <a:pt x="432663" y="293509"/>
                  </a:lnTo>
                  <a:lnTo>
                    <a:pt x="428858" y="294826"/>
                  </a:lnTo>
                  <a:lnTo>
                    <a:pt x="425053" y="296143"/>
                  </a:lnTo>
                  <a:lnTo>
                    <a:pt x="421250" y="297460"/>
                  </a:lnTo>
                  <a:lnTo>
                    <a:pt x="417445" y="298776"/>
                  </a:lnTo>
                  <a:lnTo>
                    <a:pt x="413643" y="300092"/>
                  </a:lnTo>
                  <a:lnTo>
                    <a:pt x="409838" y="301408"/>
                  </a:lnTo>
                  <a:lnTo>
                    <a:pt x="406033" y="302724"/>
                  </a:lnTo>
                  <a:lnTo>
                    <a:pt x="402230" y="304039"/>
                  </a:lnTo>
                  <a:lnTo>
                    <a:pt x="398426" y="305354"/>
                  </a:lnTo>
                  <a:lnTo>
                    <a:pt x="394623" y="306668"/>
                  </a:lnTo>
                  <a:lnTo>
                    <a:pt x="390818" y="307983"/>
                  </a:lnTo>
                  <a:lnTo>
                    <a:pt x="387013" y="309296"/>
                  </a:lnTo>
                  <a:lnTo>
                    <a:pt x="383897" y="310374"/>
                  </a:lnTo>
                  <a:lnTo>
                    <a:pt x="378708" y="311098"/>
                  </a:lnTo>
                  <a:lnTo>
                    <a:pt x="373666" y="311800"/>
                  </a:lnTo>
                  <a:lnTo>
                    <a:pt x="367993" y="312591"/>
                  </a:lnTo>
                  <a:lnTo>
                    <a:pt x="361174" y="313542"/>
                  </a:lnTo>
                  <a:lnTo>
                    <a:pt x="355827" y="314287"/>
                  </a:lnTo>
                  <a:lnTo>
                    <a:pt x="348023" y="315375"/>
                  </a:lnTo>
                  <a:lnTo>
                    <a:pt x="341029" y="316349"/>
                  </a:lnTo>
                  <a:lnTo>
                    <a:pt x="334464" y="317263"/>
                  </a:lnTo>
                  <a:lnTo>
                    <a:pt x="327898" y="318178"/>
                  </a:lnTo>
                  <a:lnTo>
                    <a:pt x="322309" y="318956"/>
                  </a:lnTo>
                  <a:lnTo>
                    <a:pt x="318984" y="319861"/>
                  </a:lnTo>
                  <a:lnTo>
                    <a:pt x="315067" y="321841"/>
                  </a:lnTo>
                  <a:lnTo>
                    <a:pt x="309055" y="324878"/>
                  </a:lnTo>
                  <a:lnTo>
                    <a:pt x="302927" y="327971"/>
                  </a:lnTo>
                  <a:lnTo>
                    <a:pt x="299750" y="329573"/>
                  </a:lnTo>
                  <a:lnTo>
                    <a:pt x="296423" y="333683"/>
                  </a:lnTo>
                  <a:lnTo>
                    <a:pt x="294738" y="335762"/>
                  </a:lnTo>
                  <a:lnTo>
                    <a:pt x="291693" y="339521"/>
                  </a:lnTo>
                  <a:lnTo>
                    <a:pt x="289392" y="342354"/>
                  </a:lnTo>
                  <a:lnTo>
                    <a:pt x="286647" y="345738"/>
                  </a:lnTo>
                  <a:lnTo>
                    <a:pt x="285449" y="348751"/>
                  </a:lnTo>
                  <a:lnTo>
                    <a:pt x="283600" y="353400"/>
                  </a:lnTo>
                  <a:lnTo>
                    <a:pt x="282004" y="354572"/>
                  </a:lnTo>
                  <a:lnTo>
                    <a:pt x="279387" y="356084"/>
                  </a:lnTo>
                  <a:lnTo>
                    <a:pt x="277006" y="357159"/>
                  </a:lnTo>
                  <a:lnTo>
                    <a:pt x="273293" y="357004"/>
                  </a:lnTo>
                  <a:lnTo>
                    <a:pt x="271177" y="354148"/>
                  </a:lnTo>
                  <a:lnTo>
                    <a:pt x="268934" y="351119"/>
                  </a:lnTo>
                  <a:lnTo>
                    <a:pt x="267809" y="349901"/>
                  </a:lnTo>
                  <a:lnTo>
                    <a:pt x="266800" y="349834"/>
                  </a:lnTo>
                  <a:lnTo>
                    <a:pt x="263073" y="350218"/>
                  </a:lnTo>
                  <a:lnTo>
                    <a:pt x="258581" y="350682"/>
                  </a:lnTo>
                  <a:lnTo>
                    <a:pt x="253284" y="350184"/>
                  </a:lnTo>
                  <a:lnTo>
                    <a:pt x="247174" y="349609"/>
                  </a:lnTo>
                  <a:lnTo>
                    <a:pt x="241445" y="349071"/>
                  </a:lnTo>
                  <a:lnTo>
                    <a:pt x="238597" y="348667"/>
                  </a:lnTo>
                  <a:lnTo>
                    <a:pt x="234839" y="346698"/>
                  </a:lnTo>
                  <a:lnTo>
                    <a:pt x="233869" y="346307"/>
                  </a:lnTo>
                  <a:lnTo>
                    <a:pt x="232881" y="346214"/>
                  </a:lnTo>
                  <a:lnTo>
                    <a:pt x="228424" y="346166"/>
                  </a:lnTo>
                  <a:lnTo>
                    <a:pt x="224008" y="346118"/>
                  </a:lnTo>
                  <a:lnTo>
                    <a:pt x="219579" y="346741"/>
                  </a:lnTo>
                  <a:lnTo>
                    <a:pt x="215338" y="346513"/>
                  </a:lnTo>
                  <a:lnTo>
                    <a:pt x="210943" y="346873"/>
                  </a:lnTo>
                  <a:lnTo>
                    <a:pt x="209395" y="347625"/>
                  </a:lnTo>
                  <a:lnTo>
                    <a:pt x="207676" y="347581"/>
                  </a:lnTo>
                  <a:lnTo>
                    <a:pt x="206603" y="348245"/>
                  </a:lnTo>
                  <a:lnTo>
                    <a:pt x="205659" y="348555"/>
                  </a:lnTo>
                  <a:lnTo>
                    <a:pt x="204541" y="347988"/>
                  </a:lnTo>
                  <a:lnTo>
                    <a:pt x="203167" y="348112"/>
                  </a:lnTo>
                  <a:lnTo>
                    <a:pt x="201149" y="347625"/>
                  </a:lnTo>
                  <a:lnTo>
                    <a:pt x="199831" y="346342"/>
                  </a:lnTo>
                  <a:lnTo>
                    <a:pt x="198590" y="345212"/>
                  </a:lnTo>
                  <a:lnTo>
                    <a:pt x="197307" y="344590"/>
                  </a:lnTo>
                  <a:lnTo>
                    <a:pt x="195869" y="344199"/>
                  </a:lnTo>
                  <a:lnTo>
                    <a:pt x="194625" y="344190"/>
                  </a:lnTo>
                  <a:lnTo>
                    <a:pt x="193035" y="344880"/>
                  </a:lnTo>
                  <a:lnTo>
                    <a:pt x="192064" y="345546"/>
                  </a:lnTo>
                  <a:lnTo>
                    <a:pt x="189604" y="347765"/>
                  </a:lnTo>
                  <a:lnTo>
                    <a:pt x="189503" y="348555"/>
                  </a:lnTo>
                  <a:lnTo>
                    <a:pt x="190621" y="349881"/>
                  </a:lnTo>
                  <a:lnTo>
                    <a:pt x="190278" y="350501"/>
                  </a:lnTo>
                  <a:lnTo>
                    <a:pt x="188831" y="351280"/>
                  </a:lnTo>
                  <a:lnTo>
                    <a:pt x="188388" y="353375"/>
                  </a:lnTo>
                  <a:lnTo>
                    <a:pt x="188173" y="354525"/>
                  </a:lnTo>
                  <a:lnTo>
                    <a:pt x="187959" y="357266"/>
                  </a:lnTo>
                  <a:lnTo>
                    <a:pt x="188602" y="359431"/>
                  </a:lnTo>
                  <a:lnTo>
                    <a:pt x="189462" y="360226"/>
                  </a:lnTo>
                  <a:lnTo>
                    <a:pt x="189503" y="361154"/>
                  </a:lnTo>
                  <a:lnTo>
                    <a:pt x="189032" y="363008"/>
                  </a:lnTo>
                  <a:lnTo>
                    <a:pt x="187700" y="363582"/>
                  </a:lnTo>
                  <a:lnTo>
                    <a:pt x="186726" y="365344"/>
                  </a:lnTo>
                  <a:lnTo>
                    <a:pt x="186125" y="366167"/>
                  </a:lnTo>
                  <a:lnTo>
                    <a:pt x="185081" y="367105"/>
                  </a:lnTo>
                  <a:lnTo>
                    <a:pt x="180945" y="370223"/>
                  </a:lnTo>
                  <a:lnTo>
                    <a:pt x="180736" y="368411"/>
                  </a:lnTo>
                  <a:lnTo>
                    <a:pt x="179427" y="365725"/>
                  </a:lnTo>
                  <a:lnTo>
                    <a:pt x="179332" y="363828"/>
                  </a:lnTo>
                  <a:lnTo>
                    <a:pt x="178723" y="361927"/>
                  </a:lnTo>
                  <a:lnTo>
                    <a:pt x="177588" y="360464"/>
                  </a:lnTo>
                  <a:lnTo>
                    <a:pt x="175497" y="358938"/>
                  </a:lnTo>
                  <a:lnTo>
                    <a:pt x="175303" y="356863"/>
                  </a:lnTo>
                  <a:lnTo>
                    <a:pt x="173774" y="354812"/>
                  </a:lnTo>
                  <a:lnTo>
                    <a:pt x="171746" y="353159"/>
                  </a:lnTo>
                  <a:lnTo>
                    <a:pt x="170621" y="350105"/>
                  </a:lnTo>
                  <a:lnTo>
                    <a:pt x="169770" y="346043"/>
                  </a:lnTo>
                  <a:lnTo>
                    <a:pt x="164426" y="340701"/>
                  </a:lnTo>
                  <a:lnTo>
                    <a:pt x="157743" y="335765"/>
                  </a:lnTo>
                  <a:lnTo>
                    <a:pt x="155709" y="332982"/>
                  </a:lnTo>
                  <a:lnTo>
                    <a:pt x="152383" y="327307"/>
                  </a:lnTo>
                  <a:lnTo>
                    <a:pt x="150705" y="322819"/>
                  </a:lnTo>
                  <a:lnTo>
                    <a:pt x="146233" y="317650"/>
                  </a:lnTo>
                  <a:lnTo>
                    <a:pt x="146041" y="315662"/>
                  </a:lnTo>
                  <a:lnTo>
                    <a:pt x="145378" y="313236"/>
                  </a:lnTo>
                  <a:lnTo>
                    <a:pt x="144346" y="310536"/>
                  </a:lnTo>
                  <a:lnTo>
                    <a:pt x="143724" y="308402"/>
                  </a:lnTo>
                  <a:lnTo>
                    <a:pt x="139241" y="299044"/>
                  </a:lnTo>
                  <a:lnTo>
                    <a:pt x="137794" y="297549"/>
                  </a:lnTo>
                  <a:lnTo>
                    <a:pt x="136551" y="295456"/>
                  </a:lnTo>
                  <a:lnTo>
                    <a:pt x="136228" y="293836"/>
                  </a:lnTo>
                  <a:lnTo>
                    <a:pt x="135834" y="292950"/>
                  </a:lnTo>
                  <a:lnTo>
                    <a:pt x="132666" y="291412"/>
                  </a:lnTo>
                  <a:lnTo>
                    <a:pt x="129709" y="287478"/>
                  </a:lnTo>
                  <a:lnTo>
                    <a:pt x="120830" y="281207"/>
                  </a:lnTo>
                  <a:lnTo>
                    <a:pt x="116483" y="280584"/>
                  </a:lnTo>
                  <a:lnTo>
                    <a:pt x="113039" y="278342"/>
                  </a:lnTo>
                  <a:lnTo>
                    <a:pt x="110504" y="275407"/>
                  </a:lnTo>
                  <a:lnTo>
                    <a:pt x="107796" y="270348"/>
                  </a:lnTo>
                  <a:lnTo>
                    <a:pt x="103039" y="264879"/>
                  </a:lnTo>
                  <a:lnTo>
                    <a:pt x="99003" y="257104"/>
                  </a:lnTo>
                  <a:lnTo>
                    <a:pt x="100266" y="254272"/>
                  </a:lnTo>
                  <a:lnTo>
                    <a:pt x="100186" y="252276"/>
                  </a:lnTo>
                  <a:lnTo>
                    <a:pt x="98947" y="248920"/>
                  </a:lnTo>
                  <a:lnTo>
                    <a:pt x="97593" y="246324"/>
                  </a:lnTo>
                  <a:lnTo>
                    <a:pt x="96667" y="243873"/>
                  </a:lnTo>
                  <a:lnTo>
                    <a:pt x="97403" y="240354"/>
                  </a:lnTo>
                  <a:lnTo>
                    <a:pt x="97686" y="236410"/>
                  </a:lnTo>
                  <a:lnTo>
                    <a:pt x="98480" y="234313"/>
                  </a:lnTo>
                  <a:lnTo>
                    <a:pt x="99055" y="232011"/>
                  </a:lnTo>
                  <a:lnTo>
                    <a:pt x="98306" y="227374"/>
                  </a:lnTo>
                  <a:lnTo>
                    <a:pt x="96965" y="224890"/>
                  </a:lnTo>
                  <a:lnTo>
                    <a:pt x="97098" y="223235"/>
                  </a:lnTo>
                  <a:lnTo>
                    <a:pt x="95581" y="222427"/>
                  </a:lnTo>
                  <a:lnTo>
                    <a:pt x="94345" y="220628"/>
                  </a:lnTo>
                  <a:lnTo>
                    <a:pt x="95632" y="220633"/>
                  </a:lnTo>
                  <a:lnTo>
                    <a:pt x="93298" y="218135"/>
                  </a:lnTo>
                  <a:lnTo>
                    <a:pt x="92443" y="216747"/>
                  </a:lnTo>
                  <a:lnTo>
                    <a:pt x="91562" y="213350"/>
                  </a:lnTo>
                  <a:lnTo>
                    <a:pt x="90434" y="210755"/>
                  </a:lnTo>
                  <a:lnTo>
                    <a:pt x="86813" y="204861"/>
                  </a:lnTo>
                  <a:lnTo>
                    <a:pt x="85086" y="201263"/>
                  </a:lnTo>
                  <a:lnTo>
                    <a:pt x="81210" y="196605"/>
                  </a:lnTo>
                  <a:lnTo>
                    <a:pt x="77003" y="193162"/>
                  </a:lnTo>
                  <a:lnTo>
                    <a:pt x="74332" y="191604"/>
                  </a:lnTo>
                  <a:lnTo>
                    <a:pt x="73047" y="190178"/>
                  </a:lnTo>
                  <a:lnTo>
                    <a:pt x="70864" y="190129"/>
                  </a:lnTo>
                  <a:lnTo>
                    <a:pt x="68485" y="188091"/>
                  </a:lnTo>
                  <a:lnTo>
                    <a:pt x="66822" y="188014"/>
                  </a:lnTo>
                  <a:lnTo>
                    <a:pt x="64718" y="187687"/>
                  </a:lnTo>
                  <a:lnTo>
                    <a:pt x="62240" y="183761"/>
                  </a:lnTo>
                  <a:lnTo>
                    <a:pt x="60195" y="180080"/>
                  </a:lnTo>
                  <a:lnTo>
                    <a:pt x="56709" y="175282"/>
                  </a:lnTo>
                  <a:lnTo>
                    <a:pt x="57584" y="174028"/>
                  </a:lnTo>
                  <a:lnTo>
                    <a:pt x="58599" y="171989"/>
                  </a:lnTo>
                  <a:lnTo>
                    <a:pt x="58093" y="169320"/>
                  </a:lnTo>
                  <a:lnTo>
                    <a:pt x="57538" y="167502"/>
                  </a:lnTo>
                  <a:lnTo>
                    <a:pt x="56001" y="164193"/>
                  </a:lnTo>
                  <a:lnTo>
                    <a:pt x="50957" y="155936"/>
                  </a:lnTo>
                  <a:lnTo>
                    <a:pt x="49618" y="154725"/>
                  </a:lnTo>
                  <a:lnTo>
                    <a:pt x="47463" y="153335"/>
                  </a:lnTo>
                  <a:lnTo>
                    <a:pt x="46132" y="149754"/>
                  </a:lnTo>
                  <a:lnTo>
                    <a:pt x="45528" y="146537"/>
                  </a:lnTo>
                  <a:lnTo>
                    <a:pt x="42069" y="144975"/>
                  </a:lnTo>
                  <a:lnTo>
                    <a:pt x="36118" y="133366"/>
                  </a:lnTo>
                  <a:lnTo>
                    <a:pt x="32671" y="129305"/>
                  </a:lnTo>
                  <a:lnTo>
                    <a:pt x="31306" y="126568"/>
                  </a:lnTo>
                  <a:lnTo>
                    <a:pt x="27318" y="122063"/>
                  </a:lnTo>
                  <a:lnTo>
                    <a:pt x="25357" y="117580"/>
                  </a:lnTo>
                  <a:lnTo>
                    <a:pt x="21341" y="113442"/>
                  </a:lnTo>
                  <a:lnTo>
                    <a:pt x="17857" y="106252"/>
                  </a:lnTo>
                  <a:lnTo>
                    <a:pt x="12476" y="99057"/>
                  </a:lnTo>
                  <a:lnTo>
                    <a:pt x="10218" y="97809"/>
                  </a:lnTo>
                  <a:lnTo>
                    <a:pt x="4673" y="97292"/>
                  </a:lnTo>
                  <a:lnTo>
                    <a:pt x="2340" y="96764"/>
                  </a:lnTo>
                  <a:lnTo>
                    <a:pt x="194" y="98347"/>
                  </a:lnTo>
                  <a:lnTo>
                    <a:pt x="0" y="96341"/>
                  </a:lnTo>
                  <a:lnTo>
                    <a:pt x="1483" y="93569"/>
                  </a:lnTo>
                  <a:lnTo>
                    <a:pt x="3619" y="87739"/>
                  </a:lnTo>
                  <a:lnTo>
                    <a:pt x="4044" y="82622"/>
                  </a:lnTo>
                  <a:lnTo>
                    <a:pt x="7398" y="67390"/>
                  </a:lnTo>
                  <a:lnTo>
                    <a:pt x="12107" y="68175"/>
                  </a:lnTo>
                  <a:lnTo>
                    <a:pt x="15985" y="68822"/>
                  </a:lnTo>
                  <a:lnTo>
                    <a:pt x="21649" y="69767"/>
                  </a:lnTo>
                  <a:lnTo>
                    <a:pt x="27510" y="70746"/>
                  </a:lnTo>
                  <a:lnTo>
                    <a:pt x="30939" y="71319"/>
                  </a:lnTo>
                  <a:lnTo>
                    <a:pt x="32112" y="71077"/>
                  </a:lnTo>
                  <a:lnTo>
                    <a:pt x="36852" y="67345"/>
                  </a:lnTo>
                  <a:lnTo>
                    <a:pt x="41125" y="63975"/>
                  </a:lnTo>
                  <a:lnTo>
                    <a:pt x="43684" y="59847"/>
                  </a:lnTo>
                  <a:lnTo>
                    <a:pt x="46163" y="55846"/>
                  </a:lnTo>
                  <a:lnTo>
                    <a:pt x="47299" y="55015"/>
                  </a:lnTo>
                  <a:lnTo>
                    <a:pt x="51097" y="54264"/>
                  </a:lnTo>
                  <a:lnTo>
                    <a:pt x="57119" y="53073"/>
                  </a:lnTo>
                  <a:lnTo>
                    <a:pt x="63086" y="51892"/>
                  </a:lnTo>
                  <a:lnTo>
                    <a:pt x="63561" y="51489"/>
                  </a:lnTo>
                  <a:lnTo>
                    <a:pt x="64952" y="48272"/>
                  </a:lnTo>
                  <a:lnTo>
                    <a:pt x="66720" y="44183"/>
                  </a:lnTo>
                  <a:lnTo>
                    <a:pt x="67081" y="43754"/>
                  </a:lnTo>
                  <a:lnTo>
                    <a:pt x="67519" y="43337"/>
                  </a:lnTo>
                  <a:lnTo>
                    <a:pt x="71791" y="41045"/>
                  </a:lnTo>
                  <a:lnTo>
                    <a:pt x="74382" y="39652"/>
                  </a:lnTo>
                  <a:lnTo>
                    <a:pt x="70687" y="35539"/>
                  </a:lnTo>
                  <a:lnTo>
                    <a:pt x="67204" y="31656"/>
                  </a:lnTo>
                  <a:lnTo>
                    <a:pt x="63302" y="27303"/>
                  </a:lnTo>
                  <a:lnTo>
                    <a:pt x="59996" y="23914"/>
                  </a:lnTo>
                  <a:lnTo>
                    <a:pt x="55038" y="18831"/>
                  </a:lnTo>
                  <a:lnTo>
                    <a:pt x="51794" y="15501"/>
                  </a:lnTo>
                  <a:lnTo>
                    <a:pt x="57478" y="13922"/>
                  </a:lnTo>
                  <a:lnTo>
                    <a:pt x="63619" y="12215"/>
                  </a:lnTo>
                  <a:lnTo>
                    <a:pt x="69821" y="10492"/>
                  </a:lnTo>
                  <a:lnTo>
                    <a:pt x="77286" y="8416"/>
                  </a:lnTo>
                  <a:lnTo>
                    <a:pt x="83125" y="6792"/>
                  </a:lnTo>
                  <a:lnTo>
                    <a:pt x="91840" y="4366"/>
                  </a:lnTo>
                  <a:lnTo>
                    <a:pt x="96101" y="3178"/>
                  </a:lnTo>
                  <a:lnTo>
                    <a:pt x="96870" y="2871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19" name="ee4p_SG_1_82333">
              <a:extLst>
                <a:ext uri="{FF2B5EF4-FFF2-40B4-BE49-F238E27FC236}">
                  <a16:creationId xmlns:a16="http://schemas.microsoft.com/office/drawing/2014/main" id="{BF50F83A-6EE5-74EE-22F6-DB48223B6BED}"/>
                </a:ext>
              </a:extLst>
            </p:cNvPr>
            <p:cNvSpPr>
              <a:spLocks noChangeAspect="1"/>
            </p:cNvSpPr>
            <p:nvPr>
              <p:custDataLst>
                <p:tags r:id="rId47"/>
              </p:custDataLst>
            </p:nvPr>
          </p:nvSpPr>
          <p:spPr>
            <a:xfrm>
              <a:off x="9392998" y="4634501"/>
              <a:ext cx="9616" cy="5185"/>
            </a:xfrm>
            <a:custGeom>
              <a:avLst/>
              <a:gdLst/>
              <a:ahLst/>
              <a:cxnLst/>
              <a:rect l="0" t="0" r="0" b="0"/>
              <a:pathLst>
                <a:path w="7657" h="4019">
                  <a:moveTo>
                    <a:pt x="7066" y="2557"/>
                  </a:moveTo>
                  <a:lnTo>
                    <a:pt x="3754" y="4018"/>
                  </a:lnTo>
                  <a:lnTo>
                    <a:pt x="0" y="2688"/>
                  </a:lnTo>
                  <a:lnTo>
                    <a:pt x="1219" y="523"/>
                  </a:lnTo>
                  <a:lnTo>
                    <a:pt x="3710" y="0"/>
                  </a:lnTo>
                  <a:lnTo>
                    <a:pt x="5723" y="688"/>
                  </a:lnTo>
                  <a:lnTo>
                    <a:pt x="6870" y="1213"/>
                  </a:lnTo>
                  <a:lnTo>
                    <a:pt x="7656" y="1810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20" name="ee4p_SY_1_82333">
              <a:extLst>
                <a:ext uri="{FF2B5EF4-FFF2-40B4-BE49-F238E27FC236}">
                  <a16:creationId xmlns:a16="http://schemas.microsoft.com/office/drawing/2014/main" id="{EFA907DB-3C6B-0468-9414-E4395C8CFB19}"/>
                </a:ext>
              </a:extLst>
            </p:cNvPr>
            <p:cNvSpPr>
              <a:spLocks noChangeAspect="1"/>
            </p:cNvSpPr>
            <p:nvPr>
              <p:custDataLst>
                <p:tags r:id="rId48"/>
              </p:custDataLst>
            </p:nvPr>
          </p:nvSpPr>
          <p:spPr>
            <a:xfrm>
              <a:off x="7507855" y="3560229"/>
              <a:ext cx="183131" cy="160712"/>
            </a:xfrm>
            <a:custGeom>
              <a:avLst/>
              <a:gdLst/>
              <a:ahLst/>
              <a:cxnLst/>
              <a:rect l="0" t="0" r="0" b="0"/>
              <a:pathLst>
                <a:path w="145823" h="124579">
                  <a:moveTo>
                    <a:pt x="145820" y="4806"/>
                  </a:moveTo>
                  <a:lnTo>
                    <a:pt x="145822" y="5152"/>
                  </a:lnTo>
                  <a:lnTo>
                    <a:pt x="145623" y="6028"/>
                  </a:lnTo>
                  <a:lnTo>
                    <a:pt x="143129" y="8558"/>
                  </a:lnTo>
                  <a:lnTo>
                    <a:pt x="139739" y="11990"/>
                  </a:lnTo>
                  <a:lnTo>
                    <a:pt x="137307" y="14154"/>
                  </a:lnTo>
                  <a:lnTo>
                    <a:pt x="133207" y="17797"/>
                  </a:lnTo>
                  <a:lnTo>
                    <a:pt x="130147" y="18577"/>
                  </a:lnTo>
                  <a:lnTo>
                    <a:pt x="124986" y="19889"/>
                  </a:lnTo>
                  <a:lnTo>
                    <a:pt x="123601" y="21161"/>
                  </a:lnTo>
                  <a:lnTo>
                    <a:pt x="122315" y="23213"/>
                  </a:lnTo>
                  <a:lnTo>
                    <a:pt x="121559" y="26019"/>
                  </a:lnTo>
                  <a:lnTo>
                    <a:pt x="121336" y="27773"/>
                  </a:lnTo>
                  <a:lnTo>
                    <a:pt x="121200" y="31048"/>
                  </a:lnTo>
                  <a:lnTo>
                    <a:pt x="122407" y="34441"/>
                  </a:lnTo>
                  <a:lnTo>
                    <a:pt x="123567" y="37693"/>
                  </a:lnTo>
                  <a:lnTo>
                    <a:pt x="123716" y="39843"/>
                  </a:lnTo>
                  <a:lnTo>
                    <a:pt x="123600" y="41961"/>
                  </a:lnTo>
                  <a:lnTo>
                    <a:pt x="122477" y="44220"/>
                  </a:lnTo>
                  <a:lnTo>
                    <a:pt x="121261" y="47315"/>
                  </a:lnTo>
                  <a:lnTo>
                    <a:pt x="120555" y="50814"/>
                  </a:lnTo>
                  <a:lnTo>
                    <a:pt x="120183" y="57352"/>
                  </a:lnTo>
                  <a:lnTo>
                    <a:pt x="120175" y="62910"/>
                  </a:lnTo>
                  <a:lnTo>
                    <a:pt x="120075" y="63819"/>
                  </a:lnTo>
                  <a:lnTo>
                    <a:pt x="117959" y="67734"/>
                  </a:lnTo>
                  <a:lnTo>
                    <a:pt x="115482" y="72307"/>
                  </a:lnTo>
                  <a:lnTo>
                    <a:pt x="114333" y="73366"/>
                  </a:lnTo>
                  <a:lnTo>
                    <a:pt x="108903" y="74726"/>
                  </a:lnTo>
                  <a:lnTo>
                    <a:pt x="102978" y="78070"/>
                  </a:lnTo>
                  <a:lnTo>
                    <a:pt x="96354" y="81805"/>
                  </a:lnTo>
                  <a:lnTo>
                    <a:pt x="90341" y="85193"/>
                  </a:lnTo>
                  <a:lnTo>
                    <a:pt x="84027" y="88744"/>
                  </a:lnTo>
                  <a:lnTo>
                    <a:pt x="77479" y="92424"/>
                  </a:lnTo>
                  <a:lnTo>
                    <a:pt x="72800" y="95052"/>
                  </a:lnTo>
                  <a:lnTo>
                    <a:pt x="66538" y="98563"/>
                  </a:lnTo>
                  <a:lnTo>
                    <a:pt x="60835" y="101917"/>
                  </a:lnTo>
                  <a:lnTo>
                    <a:pt x="55056" y="105313"/>
                  </a:lnTo>
                  <a:lnTo>
                    <a:pt x="50666" y="107890"/>
                  </a:lnTo>
                  <a:lnTo>
                    <a:pt x="43996" y="111962"/>
                  </a:lnTo>
                  <a:lnTo>
                    <a:pt x="40090" y="114348"/>
                  </a:lnTo>
                  <a:lnTo>
                    <a:pt x="34343" y="117852"/>
                  </a:lnTo>
                  <a:lnTo>
                    <a:pt x="29288" y="120934"/>
                  </a:lnTo>
                  <a:lnTo>
                    <a:pt x="23304" y="124578"/>
                  </a:lnTo>
                  <a:lnTo>
                    <a:pt x="15805" y="123496"/>
                  </a:lnTo>
                  <a:lnTo>
                    <a:pt x="13436" y="122867"/>
                  </a:lnTo>
                  <a:lnTo>
                    <a:pt x="11495" y="121132"/>
                  </a:lnTo>
                  <a:lnTo>
                    <a:pt x="10068" y="120206"/>
                  </a:lnTo>
                  <a:lnTo>
                    <a:pt x="6524" y="119254"/>
                  </a:lnTo>
                  <a:lnTo>
                    <a:pt x="4246" y="115982"/>
                  </a:lnTo>
                  <a:lnTo>
                    <a:pt x="2881" y="114823"/>
                  </a:lnTo>
                  <a:lnTo>
                    <a:pt x="506" y="114302"/>
                  </a:lnTo>
                  <a:lnTo>
                    <a:pt x="819" y="113133"/>
                  </a:lnTo>
                  <a:lnTo>
                    <a:pt x="2043" y="111160"/>
                  </a:lnTo>
                  <a:lnTo>
                    <a:pt x="3296" y="109007"/>
                  </a:lnTo>
                  <a:lnTo>
                    <a:pt x="2600" y="107810"/>
                  </a:lnTo>
                  <a:lnTo>
                    <a:pt x="2374" y="106792"/>
                  </a:lnTo>
                  <a:lnTo>
                    <a:pt x="2291" y="105576"/>
                  </a:lnTo>
                  <a:lnTo>
                    <a:pt x="3144" y="104412"/>
                  </a:lnTo>
                  <a:lnTo>
                    <a:pt x="2743" y="103009"/>
                  </a:lnTo>
                  <a:lnTo>
                    <a:pt x="2086" y="101597"/>
                  </a:lnTo>
                  <a:lnTo>
                    <a:pt x="1605" y="100889"/>
                  </a:lnTo>
                  <a:lnTo>
                    <a:pt x="1607" y="99595"/>
                  </a:lnTo>
                  <a:lnTo>
                    <a:pt x="1927" y="98606"/>
                  </a:lnTo>
                  <a:lnTo>
                    <a:pt x="2315" y="97089"/>
                  </a:lnTo>
                  <a:lnTo>
                    <a:pt x="3324" y="96256"/>
                  </a:lnTo>
                  <a:lnTo>
                    <a:pt x="3585" y="95391"/>
                  </a:lnTo>
                  <a:lnTo>
                    <a:pt x="4492" y="94542"/>
                  </a:lnTo>
                  <a:lnTo>
                    <a:pt x="5701" y="93850"/>
                  </a:lnTo>
                  <a:lnTo>
                    <a:pt x="5971" y="93291"/>
                  </a:lnTo>
                  <a:lnTo>
                    <a:pt x="5799" y="92971"/>
                  </a:lnTo>
                  <a:lnTo>
                    <a:pt x="4583" y="92348"/>
                  </a:lnTo>
                  <a:lnTo>
                    <a:pt x="3935" y="91245"/>
                  </a:lnTo>
                  <a:lnTo>
                    <a:pt x="4511" y="89636"/>
                  </a:lnTo>
                  <a:lnTo>
                    <a:pt x="4903" y="89134"/>
                  </a:lnTo>
                  <a:lnTo>
                    <a:pt x="5626" y="88358"/>
                  </a:lnTo>
                  <a:lnTo>
                    <a:pt x="7247" y="87175"/>
                  </a:lnTo>
                  <a:lnTo>
                    <a:pt x="8521" y="86978"/>
                  </a:lnTo>
                  <a:lnTo>
                    <a:pt x="9619" y="86977"/>
                  </a:lnTo>
                  <a:lnTo>
                    <a:pt x="11475" y="87075"/>
                  </a:lnTo>
                  <a:lnTo>
                    <a:pt x="12916" y="87287"/>
                  </a:lnTo>
                  <a:lnTo>
                    <a:pt x="13281" y="86982"/>
                  </a:lnTo>
                  <a:lnTo>
                    <a:pt x="13231" y="86590"/>
                  </a:lnTo>
                  <a:lnTo>
                    <a:pt x="11450" y="85620"/>
                  </a:lnTo>
                  <a:lnTo>
                    <a:pt x="11353" y="84847"/>
                  </a:lnTo>
                  <a:lnTo>
                    <a:pt x="11795" y="84018"/>
                  </a:lnTo>
                  <a:lnTo>
                    <a:pt x="13056" y="82709"/>
                  </a:lnTo>
                  <a:lnTo>
                    <a:pt x="14559" y="81750"/>
                  </a:lnTo>
                  <a:lnTo>
                    <a:pt x="15326" y="81577"/>
                  </a:lnTo>
                  <a:lnTo>
                    <a:pt x="17042" y="79649"/>
                  </a:lnTo>
                  <a:lnTo>
                    <a:pt x="18144" y="77486"/>
                  </a:lnTo>
                  <a:lnTo>
                    <a:pt x="16362" y="72224"/>
                  </a:lnTo>
                  <a:lnTo>
                    <a:pt x="15283" y="71381"/>
                  </a:lnTo>
                  <a:lnTo>
                    <a:pt x="13533" y="70658"/>
                  </a:lnTo>
                  <a:lnTo>
                    <a:pt x="12503" y="70547"/>
                  </a:lnTo>
                  <a:lnTo>
                    <a:pt x="12423" y="70205"/>
                  </a:lnTo>
                  <a:lnTo>
                    <a:pt x="13804" y="68867"/>
                  </a:lnTo>
                  <a:lnTo>
                    <a:pt x="14784" y="67704"/>
                  </a:lnTo>
                  <a:lnTo>
                    <a:pt x="13698" y="66595"/>
                  </a:lnTo>
                  <a:lnTo>
                    <a:pt x="11761" y="66075"/>
                  </a:lnTo>
                  <a:lnTo>
                    <a:pt x="11037" y="67220"/>
                  </a:lnTo>
                  <a:lnTo>
                    <a:pt x="8550" y="67327"/>
                  </a:lnTo>
                  <a:lnTo>
                    <a:pt x="4684" y="67312"/>
                  </a:lnTo>
                  <a:lnTo>
                    <a:pt x="2982" y="61740"/>
                  </a:lnTo>
                  <a:lnTo>
                    <a:pt x="2730" y="59325"/>
                  </a:lnTo>
                  <a:lnTo>
                    <a:pt x="2776" y="56528"/>
                  </a:lnTo>
                  <a:lnTo>
                    <a:pt x="3950" y="52428"/>
                  </a:lnTo>
                  <a:lnTo>
                    <a:pt x="3397" y="50529"/>
                  </a:lnTo>
                  <a:lnTo>
                    <a:pt x="3352" y="49248"/>
                  </a:lnTo>
                  <a:lnTo>
                    <a:pt x="3052" y="47486"/>
                  </a:lnTo>
                  <a:lnTo>
                    <a:pt x="0" y="43693"/>
                  </a:lnTo>
                  <a:lnTo>
                    <a:pt x="1663" y="36703"/>
                  </a:lnTo>
                  <a:lnTo>
                    <a:pt x="2836" y="35006"/>
                  </a:lnTo>
                  <a:lnTo>
                    <a:pt x="4492" y="35170"/>
                  </a:lnTo>
                  <a:lnTo>
                    <a:pt x="8025" y="37151"/>
                  </a:lnTo>
                  <a:lnTo>
                    <a:pt x="8606" y="37090"/>
                  </a:lnTo>
                  <a:lnTo>
                    <a:pt x="9675" y="34476"/>
                  </a:lnTo>
                  <a:lnTo>
                    <a:pt x="10711" y="33589"/>
                  </a:lnTo>
                  <a:lnTo>
                    <a:pt x="12894" y="32812"/>
                  </a:lnTo>
                  <a:lnTo>
                    <a:pt x="13510" y="28577"/>
                  </a:lnTo>
                  <a:lnTo>
                    <a:pt x="14529" y="27763"/>
                  </a:lnTo>
                  <a:lnTo>
                    <a:pt x="15758" y="27327"/>
                  </a:lnTo>
                  <a:lnTo>
                    <a:pt x="17645" y="27245"/>
                  </a:lnTo>
                  <a:lnTo>
                    <a:pt x="19288" y="26991"/>
                  </a:lnTo>
                  <a:lnTo>
                    <a:pt x="19392" y="26244"/>
                  </a:lnTo>
                  <a:lnTo>
                    <a:pt x="17094" y="21338"/>
                  </a:lnTo>
                  <a:lnTo>
                    <a:pt x="17297" y="20099"/>
                  </a:lnTo>
                  <a:lnTo>
                    <a:pt x="18407" y="15155"/>
                  </a:lnTo>
                  <a:lnTo>
                    <a:pt x="19105" y="13218"/>
                  </a:lnTo>
                  <a:lnTo>
                    <a:pt x="19772" y="12587"/>
                  </a:lnTo>
                  <a:lnTo>
                    <a:pt x="22381" y="12837"/>
                  </a:lnTo>
                  <a:lnTo>
                    <a:pt x="26034" y="13707"/>
                  </a:lnTo>
                  <a:lnTo>
                    <a:pt x="26997" y="15129"/>
                  </a:lnTo>
                  <a:lnTo>
                    <a:pt x="28785" y="16391"/>
                  </a:lnTo>
                  <a:lnTo>
                    <a:pt x="31465" y="16308"/>
                  </a:lnTo>
                  <a:lnTo>
                    <a:pt x="34553" y="16544"/>
                  </a:lnTo>
                  <a:lnTo>
                    <a:pt x="36969" y="16627"/>
                  </a:lnTo>
                  <a:lnTo>
                    <a:pt x="38898" y="15739"/>
                  </a:lnTo>
                  <a:lnTo>
                    <a:pt x="43249" y="14081"/>
                  </a:lnTo>
                  <a:lnTo>
                    <a:pt x="45408" y="13525"/>
                  </a:lnTo>
                  <a:lnTo>
                    <a:pt x="47369" y="12788"/>
                  </a:lnTo>
                  <a:lnTo>
                    <a:pt x="53672" y="10071"/>
                  </a:lnTo>
                  <a:lnTo>
                    <a:pt x="56196" y="10280"/>
                  </a:lnTo>
                  <a:lnTo>
                    <a:pt x="57924" y="10638"/>
                  </a:lnTo>
                  <a:lnTo>
                    <a:pt x="59245" y="11070"/>
                  </a:lnTo>
                  <a:lnTo>
                    <a:pt x="62215" y="12928"/>
                  </a:lnTo>
                  <a:lnTo>
                    <a:pt x="64666" y="14806"/>
                  </a:lnTo>
                  <a:lnTo>
                    <a:pt x="66384" y="15364"/>
                  </a:lnTo>
                  <a:lnTo>
                    <a:pt x="69476" y="15324"/>
                  </a:lnTo>
                  <a:lnTo>
                    <a:pt x="73942" y="15682"/>
                  </a:lnTo>
                  <a:lnTo>
                    <a:pt x="79431" y="15656"/>
                  </a:lnTo>
                  <a:lnTo>
                    <a:pt x="82634" y="15132"/>
                  </a:lnTo>
                  <a:lnTo>
                    <a:pt x="86726" y="14209"/>
                  </a:lnTo>
                  <a:lnTo>
                    <a:pt x="94020" y="11989"/>
                  </a:lnTo>
                  <a:lnTo>
                    <a:pt x="103616" y="7343"/>
                  </a:lnTo>
                  <a:lnTo>
                    <a:pt x="109261" y="5083"/>
                  </a:lnTo>
                  <a:lnTo>
                    <a:pt x="111693" y="4818"/>
                  </a:lnTo>
                  <a:lnTo>
                    <a:pt x="114861" y="4792"/>
                  </a:lnTo>
                  <a:lnTo>
                    <a:pt x="118028" y="5384"/>
                  </a:lnTo>
                  <a:lnTo>
                    <a:pt x="121621" y="5805"/>
                  </a:lnTo>
                  <a:lnTo>
                    <a:pt x="123278" y="5768"/>
                  </a:lnTo>
                  <a:lnTo>
                    <a:pt x="127169" y="5301"/>
                  </a:lnTo>
                  <a:lnTo>
                    <a:pt x="132211" y="4360"/>
                  </a:lnTo>
                  <a:lnTo>
                    <a:pt x="135379" y="3589"/>
                  </a:lnTo>
                  <a:lnTo>
                    <a:pt x="139205" y="2325"/>
                  </a:lnTo>
                  <a:lnTo>
                    <a:pt x="141594" y="221"/>
                  </a:lnTo>
                  <a:lnTo>
                    <a:pt x="142365" y="0"/>
                  </a:lnTo>
                  <a:lnTo>
                    <a:pt x="143356" y="384"/>
                  </a:lnTo>
                  <a:lnTo>
                    <a:pt x="143820" y="528"/>
                  </a:lnTo>
                  <a:lnTo>
                    <a:pt x="144800" y="1725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21" name="ee4p_TH_1_82333">
              <a:extLst>
                <a:ext uri="{FF2B5EF4-FFF2-40B4-BE49-F238E27FC236}">
                  <a16:creationId xmlns:a16="http://schemas.microsoft.com/office/drawing/2014/main" id="{C7E7F775-9DBD-D239-1CDF-22806E2D02A3}"/>
                </a:ext>
              </a:extLst>
            </p:cNvPr>
            <p:cNvSpPr>
              <a:spLocks noChangeAspect="1"/>
            </p:cNvSpPr>
            <p:nvPr>
              <p:custDataLst>
                <p:tags r:id="rId49"/>
              </p:custDataLst>
            </p:nvPr>
          </p:nvSpPr>
          <p:spPr>
            <a:xfrm>
              <a:off x="9218712" y="4085106"/>
              <a:ext cx="229572" cy="429721"/>
            </a:xfrm>
            <a:custGeom>
              <a:avLst/>
              <a:gdLst>
                <a:gd name="connsiteX0" fmla="*/ 50418 w 182803"/>
                <a:gd name="connsiteY0" fmla="*/ 309195 h 333107"/>
                <a:gd name="connsiteX1" fmla="*/ 51465 w 182803"/>
                <a:gd name="connsiteY1" fmla="*/ 312383 h 333107"/>
                <a:gd name="connsiteX2" fmla="*/ 50618 w 182803"/>
                <a:gd name="connsiteY2" fmla="*/ 313463 h 333107"/>
                <a:gd name="connsiteX3" fmla="*/ 50198 w 182803"/>
                <a:gd name="connsiteY3" fmla="*/ 313592 h 333107"/>
                <a:gd name="connsiteX4" fmla="*/ 49370 w 182803"/>
                <a:gd name="connsiteY4" fmla="*/ 311800 h 333107"/>
                <a:gd name="connsiteX5" fmla="*/ 36953 w 182803"/>
                <a:gd name="connsiteY5" fmla="*/ 288696 h 333107"/>
                <a:gd name="connsiteX6" fmla="*/ 37690 w 182803"/>
                <a:gd name="connsiteY6" fmla="*/ 289689 h 333107"/>
                <a:gd name="connsiteX7" fmla="*/ 38264 w 182803"/>
                <a:gd name="connsiteY7" fmla="*/ 292370 h 333107"/>
                <a:gd name="connsiteX8" fmla="*/ 37456 w 182803"/>
                <a:gd name="connsiteY8" fmla="*/ 291823 h 333107"/>
                <a:gd name="connsiteX9" fmla="*/ 36790 w 182803"/>
                <a:gd name="connsiteY9" fmla="*/ 290653 h 333107"/>
                <a:gd name="connsiteX10" fmla="*/ 36798 w 182803"/>
                <a:gd name="connsiteY10" fmla="*/ 288936 h 333107"/>
                <a:gd name="connsiteX11" fmla="*/ 25550 w 182803"/>
                <a:gd name="connsiteY11" fmla="*/ 278195 h 333107"/>
                <a:gd name="connsiteX12" fmla="*/ 27206 w 182803"/>
                <a:gd name="connsiteY12" fmla="*/ 279335 h 333107"/>
                <a:gd name="connsiteX13" fmla="*/ 26934 w 182803"/>
                <a:gd name="connsiteY13" fmla="*/ 282080 h 333107"/>
                <a:gd name="connsiteX14" fmla="*/ 26669 w 182803"/>
                <a:gd name="connsiteY14" fmla="*/ 282456 h 333107"/>
                <a:gd name="connsiteX15" fmla="*/ 20965 w 182803"/>
                <a:gd name="connsiteY15" fmla="*/ 276909 h 333107"/>
                <a:gd name="connsiteX16" fmla="*/ 21605 w 182803"/>
                <a:gd name="connsiteY16" fmla="*/ 278148 h 333107"/>
                <a:gd name="connsiteX17" fmla="*/ 23462 w 182803"/>
                <a:gd name="connsiteY17" fmla="*/ 278704 h 333107"/>
                <a:gd name="connsiteX18" fmla="*/ 22663 w 182803"/>
                <a:gd name="connsiteY18" fmla="*/ 281399 h 333107"/>
                <a:gd name="connsiteX19" fmla="*/ 22889 w 182803"/>
                <a:gd name="connsiteY19" fmla="*/ 282790 h 333107"/>
                <a:gd name="connsiteX20" fmla="*/ 22654 w 182803"/>
                <a:gd name="connsiteY20" fmla="*/ 284428 h 333107"/>
                <a:gd name="connsiteX21" fmla="*/ 21747 w 182803"/>
                <a:gd name="connsiteY21" fmla="*/ 284405 h 333107"/>
                <a:gd name="connsiteX22" fmla="*/ 20823 w 182803"/>
                <a:gd name="connsiteY22" fmla="*/ 285453 h 333107"/>
                <a:gd name="connsiteX23" fmla="*/ 20395 w 182803"/>
                <a:gd name="connsiteY23" fmla="*/ 285592 h 333107"/>
                <a:gd name="connsiteX24" fmla="*/ 19644 w 182803"/>
                <a:gd name="connsiteY24" fmla="*/ 282255 h 333107"/>
                <a:gd name="connsiteX25" fmla="*/ 20508 w 182803"/>
                <a:gd name="connsiteY25" fmla="*/ 277579 h 333107"/>
                <a:gd name="connsiteX26" fmla="*/ 20503 w 182803"/>
                <a:gd name="connsiteY26" fmla="*/ 255240 h 333107"/>
                <a:gd name="connsiteX27" fmla="*/ 20754 w 182803"/>
                <a:gd name="connsiteY27" fmla="*/ 256550 h 333107"/>
                <a:gd name="connsiteX28" fmla="*/ 20643 w 182803"/>
                <a:gd name="connsiteY28" fmla="*/ 257194 h 333107"/>
                <a:gd name="connsiteX29" fmla="*/ 19389 w 182803"/>
                <a:gd name="connsiteY29" fmla="*/ 257432 h 333107"/>
                <a:gd name="connsiteX30" fmla="*/ 19558 w 182803"/>
                <a:gd name="connsiteY30" fmla="*/ 256215 h 333107"/>
                <a:gd name="connsiteX31" fmla="*/ 19895 w 182803"/>
                <a:gd name="connsiteY31" fmla="*/ 255446 h 333107"/>
                <a:gd name="connsiteX32" fmla="*/ 59631 w 182803"/>
                <a:gd name="connsiteY32" fmla="*/ 245273 h 333107"/>
                <a:gd name="connsiteX33" fmla="*/ 59733 w 182803"/>
                <a:gd name="connsiteY33" fmla="*/ 246536 h 333107"/>
                <a:gd name="connsiteX34" fmla="*/ 59256 w 182803"/>
                <a:gd name="connsiteY34" fmla="*/ 248053 h 333107"/>
                <a:gd name="connsiteX35" fmla="*/ 57237 w 182803"/>
                <a:gd name="connsiteY35" fmla="*/ 248940 h 333107"/>
                <a:gd name="connsiteX36" fmla="*/ 56548 w 182803"/>
                <a:gd name="connsiteY36" fmla="*/ 247726 h 333107"/>
                <a:gd name="connsiteX37" fmla="*/ 56731 w 182803"/>
                <a:gd name="connsiteY37" fmla="*/ 245855 h 333107"/>
                <a:gd name="connsiteX38" fmla="*/ 57042 w 182803"/>
                <a:gd name="connsiteY38" fmla="*/ 245385 h 333107"/>
                <a:gd name="connsiteX39" fmla="*/ 59018 w 182803"/>
                <a:gd name="connsiteY39" fmla="*/ 245478 h 333107"/>
                <a:gd name="connsiteX40" fmla="*/ 57701 w 182803"/>
                <a:gd name="connsiteY40" fmla="*/ 240642 h 333107"/>
                <a:gd name="connsiteX41" fmla="*/ 59029 w 182803"/>
                <a:gd name="connsiteY41" fmla="*/ 240684 h 333107"/>
                <a:gd name="connsiteX42" fmla="*/ 59683 w 182803"/>
                <a:gd name="connsiteY42" fmla="*/ 241634 h 333107"/>
                <a:gd name="connsiteX43" fmla="*/ 59707 w 182803"/>
                <a:gd name="connsiteY43" fmla="*/ 242804 h 333107"/>
                <a:gd name="connsiteX44" fmla="*/ 59493 w 182803"/>
                <a:gd name="connsiteY44" fmla="*/ 243177 h 333107"/>
                <a:gd name="connsiteX45" fmla="*/ 58636 w 182803"/>
                <a:gd name="connsiteY45" fmla="*/ 242468 h 333107"/>
                <a:gd name="connsiteX46" fmla="*/ 58025 w 182803"/>
                <a:gd name="connsiteY46" fmla="*/ 241668 h 333107"/>
                <a:gd name="connsiteX47" fmla="*/ 114873 w 182803"/>
                <a:gd name="connsiteY47" fmla="*/ 198192 h 333107"/>
                <a:gd name="connsiteX48" fmla="*/ 115702 w 182803"/>
                <a:gd name="connsiteY48" fmla="*/ 198532 h 333107"/>
                <a:gd name="connsiteX49" fmla="*/ 115337 w 182803"/>
                <a:gd name="connsiteY49" fmla="*/ 200870 h 333107"/>
                <a:gd name="connsiteX50" fmla="*/ 114074 w 182803"/>
                <a:gd name="connsiteY50" fmla="*/ 199912 h 333107"/>
                <a:gd name="connsiteX51" fmla="*/ 114377 w 182803"/>
                <a:gd name="connsiteY51" fmla="*/ 198728 h 333107"/>
                <a:gd name="connsiteX52" fmla="*/ 108427 w 182803"/>
                <a:gd name="connsiteY52" fmla="*/ 187874 h 333107"/>
                <a:gd name="connsiteX53" fmla="*/ 109343 w 182803"/>
                <a:gd name="connsiteY53" fmla="*/ 188103 h 333107"/>
                <a:gd name="connsiteX54" fmla="*/ 110654 w 182803"/>
                <a:gd name="connsiteY54" fmla="*/ 189647 h 333107"/>
                <a:gd name="connsiteX55" fmla="*/ 111323 w 182803"/>
                <a:gd name="connsiteY55" fmla="*/ 190718 h 333107"/>
                <a:gd name="connsiteX56" fmla="*/ 111729 w 182803"/>
                <a:gd name="connsiteY56" fmla="*/ 191533 h 333107"/>
                <a:gd name="connsiteX57" fmla="*/ 111800 w 182803"/>
                <a:gd name="connsiteY57" fmla="*/ 192071 h 333107"/>
                <a:gd name="connsiteX58" fmla="*/ 110654 w 182803"/>
                <a:gd name="connsiteY58" fmla="*/ 191663 h 333107"/>
                <a:gd name="connsiteX59" fmla="*/ 110252 w 182803"/>
                <a:gd name="connsiteY59" fmla="*/ 191854 h 333107"/>
                <a:gd name="connsiteX60" fmla="*/ 108969 w 182803"/>
                <a:gd name="connsiteY60" fmla="*/ 191711 h 333107"/>
                <a:gd name="connsiteX61" fmla="*/ 108337 w 182803"/>
                <a:gd name="connsiteY61" fmla="*/ 188604 h 333107"/>
                <a:gd name="connsiteX62" fmla="*/ 55643 w 182803"/>
                <a:gd name="connsiteY62" fmla="*/ 0 h 333107"/>
                <a:gd name="connsiteX63" fmla="*/ 57058 w 182803"/>
                <a:gd name="connsiteY63" fmla="*/ 207 h 333107"/>
                <a:gd name="connsiteX64" fmla="*/ 58148 w 182803"/>
                <a:gd name="connsiteY64" fmla="*/ 1033 h 333107"/>
                <a:gd name="connsiteX65" fmla="*/ 60776 w 182803"/>
                <a:gd name="connsiteY65" fmla="*/ 2483 h 333107"/>
                <a:gd name="connsiteX66" fmla="*/ 60610 w 182803"/>
                <a:gd name="connsiteY66" fmla="*/ 3841 h 333107"/>
                <a:gd name="connsiteX67" fmla="*/ 61158 w 182803"/>
                <a:gd name="connsiteY67" fmla="*/ 4124 h 333107"/>
                <a:gd name="connsiteX68" fmla="*/ 61918 w 182803"/>
                <a:gd name="connsiteY68" fmla="*/ 3494 h 333107"/>
                <a:gd name="connsiteX69" fmla="*/ 62890 w 182803"/>
                <a:gd name="connsiteY69" fmla="*/ 1954 h 333107"/>
                <a:gd name="connsiteX70" fmla="*/ 63950 w 182803"/>
                <a:gd name="connsiteY70" fmla="*/ 1086 h 333107"/>
                <a:gd name="connsiteX71" fmla="*/ 65099 w 182803"/>
                <a:gd name="connsiteY71" fmla="*/ 888 h 333107"/>
                <a:gd name="connsiteX72" fmla="*/ 66319 w 182803"/>
                <a:gd name="connsiteY72" fmla="*/ 1937 h 333107"/>
                <a:gd name="connsiteX73" fmla="*/ 67610 w 182803"/>
                <a:gd name="connsiteY73" fmla="*/ 4231 h 333107"/>
                <a:gd name="connsiteX74" fmla="*/ 68938 w 182803"/>
                <a:gd name="connsiteY74" fmla="*/ 5536 h 333107"/>
                <a:gd name="connsiteX75" fmla="*/ 69556 w 182803"/>
                <a:gd name="connsiteY75" fmla="*/ 5677 h 333107"/>
                <a:gd name="connsiteX76" fmla="*/ 70007 w 182803"/>
                <a:gd name="connsiteY76" fmla="*/ 6726 h 333107"/>
                <a:gd name="connsiteX77" fmla="*/ 70076 w 182803"/>
                <a:gd name="connsiteY77" fmla="*/ 7731 h 333107"/>
                <a:gd name="connsiteX78" fmla="*/ 69446 w 182803"/>
                <a:gd name="connsiteY78" fmla="*/ 9856 h 333107"/>
                <a:gd name="connsiteX79" fmla="*/ 68377 w 182803"/>
                <a:gd name="connsiteY79" fmla="*/ 12326 h 333107"/>
                <a:gd name="connsiteX80" fmla="*/ 66861 w 182803"/>
                <a:gd name="connsiteY80" fmla="*/ 15379 h 333107"/>
                <a:gd name="connsiteX81" fmla="*/ 67358 w 182803"/>
                <a:gd name="connsiteY81" fmla="*/ 17944 h 333107"/>
                <a:gd name="connsiteX82" fmla="*/ 69424 w 182803"/>
                <a:gd name="connsiteY82" fmla="*/ 20034 h 333107"/>
                <a:gd name="connsiteX83" fmla="*/ 71899 w 182803"/>
                <a:gd name="connsiteY83" fmla="*/ 21265 h 333107"/>
                <a:gd name="connsiteX84" fmla="*/ 74518 w 182803"/>
                <a:gd name="connsiteY84" fmla="*/ 20923 h 333107"/>
                <a:gd name="connsiteX85" fmla="*/ 75909 w 182803"/>
                <a:gd name="connsiteY85" fmla="*/ 20299 h 333107"/>
                <a:gd name="connsiteX86" fmla="*/ 77045 w 182803"/>
                <a:gd name="connsiteY86" fmla="*/ 19309 h 333107"/>
                <a:gd name="connsiteX87" fmla="*/ 78103 w 182803"/>
                <a:gd name="connsiteY87" fmla="*/ 18842 h 333107"/>
                <a:gd name="connsiteX88" fmla="*/ 79440 w 182803"/>
                <a:gd name="connsiteY88" fmla="*/ 18718 h 333107"/>
                <a:gd name="connsiteX89" fmla="*/ 83601 w 182803"/>
                <a:gd name="connsiteY89" fmla="*/ 19443 h 333107"/>
                <a:gd name="connsiteX90" fmla="*/ 84866 w 182803"/>
                <a:gd name="connsiteY90" fmla="*/ 20152 h 333107"/>
                <a:gd name="connsiteX91" fmla="*/ 85063 w 182803"/>
                <a:gd name="connsiteY91" fmla="*/ 21569 h 333107"/>
                <a:gd name="connsiteX92" fmla="*/ 84549 w 182803"/>
                <a:gd name="connsiteY92" fmla="*/ 25211 h 333107"/>
                <a:gd name="connsiteX93" fmla="*/ 85190 w 182803"/>
                <a:gd name="connsiteY93" fmla="*/ 27881 h 333107"/>
                <a:gd name="connsiteX94" fmla="*/ 86369 w 182803"/>
                <a:gd name="connsiteY94" fmla="*/ 30692 h 333107"/>
                <a:gd name="connsiteX95" fmla="*/ 86512 w 182803"/>
                <a:gd name="connsiteY95" fmla="*/ 33253 h 333107"/>
                <a:gd name="connsiteX96" fmla="*/ 85056 w 182803"/>
                <a:gd name="connsiteY96" fmla="*/ 37476 h 333107"/>
                <a:gd name="connsiteX97" fmla="*/ 83840 w 182803"/>
                <a:gd name="connsiteY97" fmla="*/ 41469 h 333107"/>
                <a:gd name="connsiteX98" fmla="*/ 82532 w 182803"/>
                <a:gd name="connsiteY98" fmla="*/ 43408 h 333107"/>
                <a:gd name="connsiteX99" fmla="*/ 81517 w 182803"/>
                <a:gd name="connsiteY99" fmla="*/ 44656 h 333107"/>
                <a:gd name="connsiteX100" fmla="*/ 81219 w 182803"/>
                <a:gd name="connsiteY100" fmla="*/ 45502 h 333107"/>
                <a:gd name="connsiteX101" fmla="*/ 81299 w 182803"/>
                <a:gd name="connsiteY101" fmla="*/ 46302 h 333107"/>
                <a:gd name="connsiteX102" fmla="*/ 82232 w 182803"/>
                <a:gd name="connsiteY102" fmla="*/ 47502 h 333107"/>
                <a:gd name="connsiteX103" fmla="*/ 83220 w 182803"/>
                <a:gd name="connsiteY103" fmla="*/ 49048 h 333107"/>
                <a:gd name="connsiteX104" fmla="*/ 83469 w 182803"/>
                <a:gd name="connsiteY104" fmla="*/ 50527 h 333107"/>
                <a:gd name="connsiteX105" fmla="*/ 83363 w 182803"/>
                <a:gd name="connsiteY105" fmla="*/ 52344 h 333107"/>
                <a:gd name="connsiteX106" fmla="*/ 82685 w 182803"/>
                <a:gd name="connsiteY106" fmla="*/ 54835 h 333107"/>
                <a:gd name="connsiteX107" fmla="*/ 80158 w 182803"/>
                <a:gd name="connsiteY107" fmla="*/ 60229 h 333107"/>
                <a:gd name="connsiteX108" fmla="*/ 78157 w 182803"/>
                <a:gd name="connsiteY108" fmla="*/ 65093 h 333107"/>
                <a:gd name="connsiteX109" fmla="*/ 79204 w 182803"/>
                <a:gd name="connsiteY109" fmla="*/ 66068 h 333107"/>
                <a:gd name="connsiteX110" fmla="*/ 81191 w 182803"/>
                <a:gd name="connsiteY110" fmla="*/ 66778 h 333107"/>
                <a:gd name="connsiteX111" fmla="*/ 82506 w 182803"/>
                <a:gd name="connsiteY111" fmla="*/ 67471 h 333107"/>
                <a:gd name="connsiteX112" fmla="*/ 83884 w 182803"/>
                <a:gd name="connsiteY112" fmla="*/ 67027 h 333107"/>
                <a:gd name="connsiteX113" fmla="*/ 86807 w 182803"/>
                <a:gd name="connsiteY113" fmla="*/ 64156 h 333107"/>
                <a:gd name="connsiteX114" fmla="*/ 89328 w 182803"/>
                <a:gd name="connsiteY114" fmla="*/ 62018 h 333107"/>
                <a:gd name="connsiteX115" fmla="*/ 92454 w 182803"/>
                <a:gd name="connsiteY115" fmla="*/ 59883 h 333107"/>
                <a:gd name="connsiteX116" fmla="*/ 92645 w 182803"/>
                <a:gd name="connsiteY116" fmla="*/ 59697 h 333107"/>
                <a:gd name="connsiteX117" fmla="*/ 95382 w 182803"/>
                <a:gd name="connsiteY117" fmla="*/ 58125 h 333107"/>
                <a:gd name="connsiteX118" fmla="*/ 96635 w 182803"/>
                <a:gd name="connsiteY118" fmla="*/ 56681 h 333107"/>
                <a:gd name="connsiteX119" fmla="*/ 97312 w 182803"/>
                <a:gd name="connsiteY119" fmla="*/ 54838 h 333107"/>
                <a:gd name="connsiteX120" fmla="*/ 98282 w 182803"/>
                <a:gd name="connsiteY120" fmla="*/ 54125 h 333107"/>
                <a:gd name="connsiteX121" fmla="*/ 99539 w 182803"/>
                <a:gd name="connsiteY121" fmla="*/ 54541 h 333107"/>
                <a:gd name="connsiteX122" fmla="*/ 101131 w 182803"/>
                <a:gd name="connsiteY122" fmla="*/ 53740 h 333107"/>
                <a:gd name="connsiteX123" fmla="*/ 103057 w 182803"/>
                <a:gd name="connsiteY123" fmla="*/ 51723 h 333107"/>
                <a:gd name="connsiteX124" fmla="*/ 104536 w 182803"/>
                <a:gd name="connsiteY124" fmla="*/ 50790 h 333107"/>
                <a:gd name="connsiteX125" fmla="*/ 105570 w 182803"/>
                <a:gd name="connsiteY125" fmla="*/ 50945 h 333107"/>
                <a:gd name="connsiteX126" fmla="*/ 107414 w 182803"/>
                <a:gd name="connsiteY126" fmla="*/ 52199 h 333107"/>
                <a:gd name="connsiteX127" fmla="*/ 110072 w 182803"/>
                <a:gd name="connsiteY127" fmla="*/ 54552 h 333107"/>
                <a:gd name="connsiteX128" fmla="*/ 112437 w 182803"/>
                <a:gd name="connsiteY128" fmla="*/ 55952 h 333107"/>
                <a:gd name="connsiteX129" fmla="*/ 114510 w 182803"/>
                <a:gd name="connsiteY129" fmla="*/ 56398 h 333107"/>
                <a:gd name="connsiteX130" fmla="*/ 115521 w 182803"/>
                <a:gd name="connsiteY130" fmla="*/ 57273 h 333107"/>
                <a:gd name="connsiteX131" fmla="*/ 115473 w 182803"/>
                <a:gd name="connsiteY131" fmla="*/ 58576 h 333107"/>
                <a:gd name="connsiteX132" fmla="*/ 115931 w 182803"/>
                <a:gd name="connsiteY132" fmla="*/ 59404 h 333107"/>
                <a:gd name="connsiteX133" fmla="*/ 116900 w 182803"/>
                <a:gd name="connsiteY133" fmla="*/ 59755 h 333107"/>
                <a:gd name="connsiteX134" fmla="*/ 117331 w 182803"/>
                <a:gd name="connsiteY134" fmla="*/ 59615 h 333107"/>
                <a:gd name="connsiteX135" fmla="*/ 117222 w 182803"/>
                <a:gd name="connsiteY135" fmla="*/ 58984 h 333107"/>
                <a:gd name="connsiteX136" fmla="*/ 118159 w 182803"/>
                <a:gd name="connsiteY136" fmla="*/ 58060 h 333107"/>
                <a:gd name="connsiteX137" fmla="*/ 120146 w 182803"/>
                <a:gd name="connsiteY137" fmla="*/ 56844 h 333107"/>
                <a:gd name="connsiteX138" fmla="*/ 122163 w 182803"/>
                <a:gd name="connsiteY138" fmla="*/ 56128 h 333107"/>
                <a:gd name="connsiteX139" fmla="*/ 124215 w 182803"/>
                <a:gd name="connsiteY139" fmla="*/ 55915 h 333107"/>
                <a:gd name="connsiteX140" fmla="*/ 125540 w 182803"/>
                <a:gd name="connsiteY140" fmla="*/ 54950 h 333107"/>
                <a:gd name="connsiteX141" fmla="*/ 126422 w 182803"/>
                <a:gd name="connsiteY141" fmla="*/ 52444 h 333107"/>
                <a:gd name="connsiteX142" fmla="*/ 127689 w 182803"/>
                <a:gd name="connsiteY142" fmla="*/ 50537 h 333107"/>
                <a:gd name="connsiteX143" fmla="*/ 128821 w 182803"/>
                <a:gd name="connsiteY143" fmla="*/ 49674 h 333107"/>
                <a:gd name="connsiteX144" fmla="*/ 130224 w 182803"/>
                <a:gd name="connsiteY144" fmla="*/ 49240 h 333107"/>
                <a:gd name="connsiteX145" fmla="*/ 130586 w 182803"/>
                <a:gd name="connsiteY145" fmla="*/ 48634 h 333107"/>
                <a:gd name="connsiteX146" fmla="*/ 129909 w 182803"/>
                <a:gd name="connsiteY146" fmla="*/ 47858 h 333107"/>
                <a:gd name="connsiteX147" fmla="*/ 129971 w 182803"/>
                <a:gd name="connsiteY147" fmla="*/ 47069 h 333107"/>
                <a:gd name="connsiteX148" fmla="*/ 130779 w 182803"/>
                <a:gd name="connsiteY148" fmla="*/ 46270 h 333107"/>
                <a:gd name="connsiteX149" fmla="*/ 132520 w 182803"/>
                <a:gd name="connsiteY149" fmla="*/ 45929 h 333107"/>
                <a:gd name="connsiteX150" fmla="*/ 135195 w 182803"/>
                <a:gd name="connsiteY150" fmla="*/ 46047 h 333107"/>
                <a:gd name="connsiteX151" fmla="*/ 138328 w 182803"/>
                <a:gd name="connsiteY151" fmla="*/ 46861 h 333107"/>
                <a:gd name="connsiteX152" fmla="*/ 141924 w 182803"/>
                <a:gd name="connsiteY152" fmla="*/ 48371 h 333107"/>
                <a:gd name="connsiteX153" fmla="*/ 144279 w 182803"/>
                <a:gd name="connsiteY153" fmla="*/ 48855 h 333107"/>
                <a:gd name="connsiteX154" fmla="*/ 145403 w 182803"/>
                <a:gd name="connsiteY154" fmla="*/ 48314 h 333107"/>
                <a:gd name="connsiteX155" fmla="*/ 147594 w 182803"/>
                <a:gd name="connsiteY155" fmla="*/ 50652 h 333107"/>
                <a:gd name="connsiteX156" fmla="*/ 150855 w 182803"/>
                <a:gd name="connsiteY156" fmla="*/ 55866 h 333107"/>
                <a:gd name="connsiteX157" fmla="*/ 153651 w 182803"/>
                <a:gd name="connsiteY157" fmla="*/ 59804 h 333107"/>
                <a:gd name="connsiteX158" fmla="*/ 155983 w 182803"/>
                <a:gd name="connsiteY158" fmla="*/ 62469 h 333107"/>
                <a:gd name="connsiteX159" fmla="*/ 158441 w 182803"/>
                <a:gd name="connsiteY159" fmla="*/ 64514 h 333107"/>
                <a:gd name="connsiteX160" fmla="*/ 161019 w 182803"/>
                <a:gd name="connsiteY160" fmla="*/ 65940 h 333107"/>
                <a:gd name="connsiteX161" fmla="*/ 162872 w 182803"/>
                <a:gd name="connsiteY161" fmla="*/ 67879 h 333107"/>
                <a:gd name="connsiteX162" fmla="*/ 164560 w 182803"/>
                <a:gd name="connsiteY162" fmla="*/ 71555 h 333107"/>
                <a:gd name="connsiteX163" fmla="*/ 163299 w 182803"/>
                <a:gd name="connsiteY163" fmla="*/ 76635 h 333107"/>
                <a:gd name="connsiteX164" fmla="*/ 162958 w 182803"/>
                <a:gd name="connsiteY164" fmla="*/ 81020 h 333107"/>
                <a:gd name="connsiteX165" fmla="*/ 163114 w 182803"/>
                <a:gd name="connsiteY165" fmla="*/ 86403 h 333107"/>
                <a:gd name="connsiteX166" fmla="*/ 164634 w 182803"/>
                <a:gd name="connsiteY166" fmla="*/ 90526 h 333107"/>
                <a:gd name="connsiteX167" fmla="*/ 167521 w 182803"/>
                <a:gd name="connsiteY167" fmla="*/ 93390 h 333107"/>
                <a:gd name="connsiteX168" fmla="*/ 169199 w 182803"/>
                <a:gd name="connsiteY168" fmla="*/ 95704 h 333107"/>
                <a:gd name="connsiteX169" fmla="*/ 169672 w 182803"/>
                <a:gd name="connsiteY169" fmla="*/ 97467 h 333107"/>
                <a:gd name="connsiteX170" fmla="*/ 171917 w 182803"/>
                <a:gd name="connsiteY170" fmla="*/ 98981 h 333107"/>
                <a:gd name="connsiteX171" fmla="*/ 175940 w 182803"/>
                <a:gd name="connsiteY171" fmla="*/ 100243 h 333107"/>
                <a:gd name="connsiteX172" fmla="*/ 177611 w 182803"/>
                <a:gd name="connsiteY172" fmla="*/ 101387 h 333107"/>
                <a:gd name="connsiteX173" fmla="*/ 176934 w 182803"/>
                <a:gd name="connsiteY173" fmla="*/ 102413 h 333107"/>
                <a:gd name="connsiteX174" fmla="*/ 176882 w 182803"/>
                <a:gd name="connsiteY174" fmla="*/ 103603 h 333107"/>
                <a:gd name="connsiteX175" fmla="*/ 177449 w 182803"/>
                <a:gd name="connsiteY175" fmla="*/ 104959 h 333107"/>
                <a:gd name="connsiteX176" fmla="*/ 178845 w 182803"/>
                <a:gd name="connsiteY176" fmla="*/ 106080 h 333107"/>
                <a:gd name="connsiteX177" fmla="*/ 181065 w 182803"/>
                <a:gd name="connsiteY177" fmla="*/ 106967 h 333107"/>
                <a:gd name="connsiteX178" fmla="*/ 182384 w 182803"/>
                <a:gd name="connsiteY178" fmla="*/ 107903 h 333107"/>
                <a:gd name="connsiteX179" fmla="*/ 182803 w 182803"/>
                <a:gd name="connsiteY179" fmla="*/ 108886 h 333107"/>
                <a:gd name="connsiteX180" fmla="*/ 182755 w 182803"/>
                <a:gd name="connsiteY180" fmla="*/ 110485 h 333107"/>
                <a:gd name="connsiteX181" fmla="*/ 182241 w 182803"/>
                <a:gd name="connsiteY181" fmla="*/ 112696 h 333107"/>
                <a:gd name="connsiteX182" fmla="*/ 181315 w 182803"/>
                <a:gd name="connsiteY182" fmla="*/ 114396 h 333107"/>
                <a:gd name="connsiteX183" fmla="*/ 179976 w 182803"/>
                <a:gd name="connsiteY183" fmla="*/ 115580 h 333107"/>
                <a:gd name="connsiteX184" fmla="*/ 179814 w 182803"/>
                <a:gd name="connsiteY184" fmla="*/ 116514 h 333107"/>
                <a:gd name="connsiteX185" fmla="*/ 179473 w 182803"/>
                <a:gd name="connsiteY185" fmla="*/ 117940 h 333107"/>
                <a:gd name="connsiteX186" fmla="*/ 179473 w 182803"/>
                <a:gd name="connsiteY186" fmla="*/ 120858 h 333107"/>
                <a:gd name="connsiteX187" fmla="*/ 180424 w 182803"/>
                <a:gd name="connsiteY187" fmla="*/ 122802 h 333107"/>
                <a:gd name="connsiteX188" fmla="*/ 180717 w 182803"/>
                <a:gd name="connsiteY188" fmla="*/ 125269 h 333107"/>
                <a:gd name="connsiteX189" fmla="*/ 180194 w 182803"/>
                <a:gd name="connsiteY189" fmla="*/ 127284 h 333107"/>
                <a:gd name="connsiteX190" fmla="*/ 179689 w 182803"/>
                <a:gd name="connsiteY190" fmla="*/ 131397 h 333107"/>
                <a:gd name="connsiteX191" fmla="*/ 179626 w 182803"/>
                <a:gd name="connsiteY191" fmla="*/ 132991 h 333107"/>
                <a:gd name="connsiteX192" fmla="*/ 179145 w 182803"/>
                <a:gd name="connsiteY192" fmla="*/ 134357 h 333107"/>
                <a:gd name="connsiteX193" fmla="*/ 177974 w 182803"/>
                <a:gd name="connsiteY193" fmla="*/ 135678 h 333107"/>
                <a:gd name="connsiteX194" fmla="*/ 176195 w 182803"/>
                <a:gd name="connsiteY194" fmla="*/ 136918 h 333107"/>
                <a:gd name="connsiteX195" fmla="*/ 174016 w 182803"/>
                <a:gd name="connsiteY195" fmla="*/ 138020 h 333107"/>
                <a:gd name="connsiteX196" fmla="*/ 172681 w 182803"/>
                <a:gd name="connsiteY196" fmla="*/ 138508 h 333107"/>
                <a:gd name="connsiteX197" fmla="*/ 172368 w 182803"/>
                <a:gd name="connsiteY197" fmla="*/ 138737 h 333107"/>
                <a:gd name="connsiteX198" fmla="*/ 171414 w 182803"/>
                <a:gd name="connsiteY198" fmla="*/ 139980 h 333107"/>
                <a:gd name="connsiteX199" fmla="*/ 170268 w 182803"/>
                <a:gd name="connsiteY199" fmla="*/ 141188 h 333107"/>
                <a:gd name="connsiteX200" fmla="*/ 169374 w 182803"/>
                <a:gd name="connsiteY200" fmla="*/ 141189 h 333107"/>
                <a:gd name="connsiteX201" fmla="*/ 168704 w 182803"/>
                <a:gd name="connsiteY201" fmla="*/ 140579 h 333107"/>
                <a:gd name="connsiteX202" fmla="*/ 168240 w 182803"/>
                <a:gd name="connsiteY202" fmla="*/ 139789 h 333107"/>
                <a:gd name="connsiteX203" fmla="*/ 167959 w 182803"/>
                <a:gd name="connsiteY203" fmla="*/ 138059 h 333107"/>
                <a:gd name="connsiteX204" fmla="*/ 165949 w 182803"/>
                <a:gd name="connsiteY204" fmla="*/ 137204 h 333107"/>
                <a:gd name="connsiteX205" fmla="*/ 163742 w 182803"/>
                <a:gd name="connsiteY205" fmla="*/ 136667 h 333107"/>
                <a:gd name="connsiteX206" fmla="*/ 159248 w 182803"/>
                <a:gd name="connsiteY206" fmla="*/ 137519 h 333107"/>
                <a:gd name="connsiteX207" fmla="*/ 155618 w 182803"/>
                <a:gd name="connsiteY207" fmla="*/ 137981 h 333107"/>
                <a:gd name="connsiteX208" fmla="*/ 151553 w 182803"/>
                <a:gd name="connsiteY208" fmla="*/ 137396 h 333107"/>
                <a:gd name="connsiteX209" fmla="*/ 147717 w 182803"/>
                <a:gd name="connsiteY209" fmla="*/ 138135 h 333107"/>
                <a:gd name="connsiteX210" fmla="*/ 146115 w 182803"/>
                <a:gd name="connsiteY210" fmla="*/ 138244 h 333107"/>
                <a:gd name="connsiteX211" fmla="*/ 144275 w 182803"/>
                <a:gd name="connsiteY211" fmla="*/ 138134 h 333107"/>
                <a:gd name="connsiteX212" fmla="*/ 142500 w 182803"/>
                <a:gd name="connsiteY212" fmla="*/ 138148 h 333107"/>
                <a:gd name="connsiteX213" fmla="*/ 140809 w 182803"/>
                <a:gd name="connsiteY213" fmla="*/ 137877 h 333107"/>
                <a:gd name="connsiteX214" fmla="*/ 137681 w 182803"/>
                <a:gd name="connsiteY214" fmla="*/ 136819 h 333107"/>
                <a:gd name="connsiteX215" fmla="*/ 136486 w 182803"/>
                <a:gd name="connsiteY215" fmla="*/ 136901 h 333107"/>
                <a:gd name="connsiteX216" fmla="*/ 133966 w 182803"/>
                <a:gd name="connsiteY216" fmla="*/ 137777 h 333107"/>
                <a:gd name="connsiteX217" fmla="*/ 131336 w 182803"/>
                <a:gd name="connsiteY217" fmla="*/ 138393 h 333107"/>
                <a:gd name="connsiteX218" fmla="*/ 128814 w 182803"/>
                <a:gd name="connsiteY218" fmla="*/ 138815 h 333107"/>
                <a:gd name="connsiteX219" fmla="*/ 125091 w 182803"/>
                <a:gd name="connsiteY219" fmla="*/ 140621 h 333107"/>
                <a:gd name="connsiteX220" fmla="*/ 122399 w 182803"/>
                <a:gd name="connsiteY220" fmla="*/ 143234 h 333107"/>
                <a:gd name="connsiteX221" fmla="*/ 121602 w 182803"/>
                <a:gd name="connsiteY221" fmla="*/ 145079 h 333107"/>
                <a:gd name="connsiteX222" fmla="*/ 120265 w 182803"/>
                <a:gd name="connsiteY222" fmla="*/ 146937 h 333107"/>
                <a:gd name="connsiteX223" fmla="*/ 118410 w 182803"/>
                <a:gd name="connsiteY223" fmla="*/ 149879 h 333107"/>
                <a:gd name="connsiteX224" fmla="*/ 116011 w 182803"/>
                <a:gd name="connsiteY224" fmla="*/ 152694 h 333107"/>
                <a:gd name="connsiteX225" fmla="*/ 114337 w 182803"/>
                <a:gd name="connsiteY225" fmla="*/ 153978 h 333107"/>
                <a:gd name="connsiteX226" fmla="*/ 114797 w 182803"/>
                <a:gd name="connsiteY226" fmla="*/ 154734 h 333107"/>
                <a:gd name="connsiteX227" fmla="*/ 114385 w 182803"/>
                <a:gd name="connsiteY227" fmla="*/ 155650 h 333107"/>
                <a:gd name="connsiteX228" fmla="*/ 111767 w 182803"/>
                <a:gd name="connsiteY228" fmla="*/ 156058 h 333107"/>
                <a:gd name="connsiteX229" fmla="*/ 109730 w 182803"/>
                <a:gd name="connsiteY229" fmla="*/ 156222 h 333107"/>
                <a:gd name="connsiteX230" fmla="*/ 109362 w 182803"/>
                <a:gd name="connsiteY230" fmla="*/ 156679 h 333107"/>
                <a:gd name="connsiteX231" fmla="*/ 109606 w 182803"/>
                <a:gd name="connsiteY231" fmla="*/ 162345 h 333107"/>
                <a:gd name="connsiteX232" fmla="*/ 110319 w 182803"/>
                <a:gd name="connsiteY232" fmla="*/ 164488 h 333107"/>
                <a:gd name="connsiteX233" fmla="*/ 111638 w 182803"/>
                <a:gd name="connsiteY233" fmla="*/ 167074 h 333107"/>
                <a:gd name="connsiteX234" fmla="*/ 112501 w 182803"/>
                <a:gd name="connsiteY234" fmla="*/ 168489 h 333107"/>
                <a:gd name="connsiteX235" fmla="*/ 113143 w 182803"/>
                <a:gd name="connsiteY235" fmla="*/ 172686 h 333107"/>
                <a:gd name="connsiteX236" fmla="*/ 113339 w 182803"/>
                <a:gd name="connsiteY236" fmla="*/ 176244 h 333107"/>
                <a:gd name="connsiteX237" fmla="*/ 116216 w 182803"/>
                <a:gd name="connsiteY237" fmla="*/ 178491 h 333107"/>
                <a:gd name="connsiteX238" fmla="*/ 117845 w 182803"/>
                <a:gd name="connsiteY238" fmla="*/ 180207 h 333107"/>
                <a:gd name="connsiteX239" fmla="*/ 119002 w 182803"/>
                <a:gd name="connsiteY239" fmla="*/ 181716 h 333107"/>
                <a:gd name="connsiteX240" fmla="*/ 118598 w 182803"/>
                <a:gd name="connsiteY240" fmla="*/ 182679 h 333107"/>
                <a:gd name="connsiteX241" fmla="*/ 117909 w 182803"/>
                <a:gd name="connsiteY241" fmla="*/ 185545 h 333107"/>
                <a:gd name="connsiteX242" fmla="*/ 118580 w 182803"/>
                <a:gd name="connsiteY242" fmla="*/ 189267 h 333107"/>
                <a:gd name="connsiteX243" fmla="*/ 122593 w 182803"/>
                <a:gd name="connsiteY243" fmla="*/ 197287 h 333107"/>
                <a:gd name="connsiteX244" fmla="*/ 122943 w 182803"/>
                <a:gd name="connsiteY244" fmla="*/ 197856 h 333107"/>
                <a:gd name="connsiteX245" fmla="*/ 122465 w 182803"/>
                <a:gd name="connsiteY245" fmla="*/ 197919 h 333107"/>
                <a:gd name="connsiteX246" fmla="*/ 121833 w 182803"/>
                <a:gd name="connsiteY246" fmla="*/ 196375 h 333107"/>
                <a:gd name="connsiteX247" fmla="*/ 119796 w 182803"/>
                <a:gd name="connsiteY247" fmla="*/ 193778 h 333107"/>
                <a:gd name="connsiteX248" fmla="*/ 119163 w 182803"/>
                <a:gd name="connsiteY248" fmla="*/ 191001 h 333107"/>
                <a:gd name="connsiteX249" fmla="*/ 116773 w 182803"/>
                <a:gd name="connsiteY249" fmla="*/ 187942 h 333107"/>
                <a:gd name="connsiteX250" fmla="*/ 115430 w 182803"/>
                <a:gd name="connsiteY250" fmla="*/ 186726 h 333107"/>
                <a:gd name="connsiteX251" fmla="*/ 115002 w 182803"/>
                <a:gd name="connsiteY251" fmla="*/ 187741 h 333107"/>
                <a:gd name="connsiteX252" fmla="*/ 114238 w 182803"/>
                <a:gd name="connsiteY252" fmla="*/ 188831 h 333107"/>
                <a:gd name="connsiteX253" fmla="*/ 111891 w 182803"/>
                <a:gd name="connsiteY253" fmla="*/ 187260 h 333107"/>
                <a:gd name="connsiteX254" fmla="*/ 109881 w 182803"/>
                <a:gd name="connsiteY254" fmla="*/ 185614 h 333107"/>
                <a:gd name="connsiteX255" fmla="*/ 108021 w 182803"/>
                <a:gd name="connsiteY255" fmla="*/ 182433 h 333107"/>
                <a:gd name="connsiteX256" fmla="*/ 107785 w 182803"/>
                <a:gd name="connsiteY256" fmla="*/ 183172 h 333107"/>
                <a:gd name="connsiteX257" fmla="*/ 107369 w 182803"/>
                <a:gd name="connsiteY257" fmla="*/ 183840 h 333107"/>
                <a:gd name="connsiteX258" fmla="*/ 105259 w 182803"/>
                <a:gd name="connsiteY258" fmla="*/ 181340 h 333107"/>
                <a:gd name="connsiteX259" fmla="*/ 103052 w 182803"/>
                <a:gd name="connsiteY259" fmla="*/ 179345 h 333107"/>
                <a:gd name="connsiteX260" fmla="*/ 101066 w 182803"/>
                <a:gd name="connsiteY260" fmla="*/ 178631 h 333107"/>
                <a:gd name="connsiteX261" fmla="*/ 99839 w 182803"/>
                <a:gd name="connsiteY261" fmla="*/ 177966 h 333107"/>
                <a:gd name="connsiteX262" fmla="*/ 98660 w 182803"/>
                <a:gd name="connsiteY262" fmla="*/ 176908 h 333107"/>
                <a:gd name="connsiteX263" fmla="*/ 96182 w 182803"/>
                <a:gd name="connsiteY263" fmla="*/ 175808 h 333107"/>
                <a:gd name="connsiteX264" fmla="*/ 90018 w 182803"/>
                <a:gd name="connsiteY264" fmla="*/ 177390 h 333107"/>
                <a:gd name="connsiteX265" fmla="*/ 82175 w 182803"/>
                <a:gd name="connsiteY265" fmla="*/ 176162 h 333107"/>
                <a:gd name="connsiteX266" fmla="*/ 79157 w 182803"/>
                <a:gd name="connsiteY266" fmla="*/ 177338 h 333107"/>
                <a:gd name="connsiteX267" fmla="*/ 77919 w 182803"/>
                <a:gd name="connsiteY267" fmla="*/ 176606 h 333107"/>
                <a:gd name="connsiteX268" fmla="*/ 77157 w 182803"/>
                <a:gd name="connsiteY268" fmla="*/ 175243 h 333107"/>
                <a:gd name="connsiteX269" fmla="*/ 77889 w 182803"/>
                <a:gd name="connsiteY269" fmla="*/ 172914 h 333107"/>
                <a:gd name="connsiteX270" fmla="*/ 78055 w 182803"/>
                <a:gd name="connsiteY270" fmla="*/ 168042 h 333107"/>
                <a:gd name="connsiteX271" fmla="*/ 78988 w 182803"/>
                <a:gd name="connsiteY271" fmla="*/ 164616 h 333107"/>
                <a:gd name="connsiteX272" fmla="*/ 78550 w 182803"/>
                <a:gd name="connsiteY272" fmla="*/ 162012 h 333107"/>
                <a:gd name="connsiteX273" fmla="*/ 79008 w 182803"/>
                <a:gd name="connsiteY273" fmla="*/ 160785 h 333107"/>
                <a:gd name="connsiteX274" fmla="*/ 79355 w 182803"/>
                <a:gd name="connsiteY274" fmla="*/ 159110 h 333107"/>
                <a:gd name="connsiteX275" fmla="*/ 78114 w 182803"/>
                <a:gd name="connsiteY275" fmla="*/ 158425 h 333107"/>
                <a:gd name="connsiteX276" fmla="*/ 72574 w 182803"/>
                <a:gd name="connsiteY276" fmla="*/ 157100 h 333107"/>
                <a:gd name="connsiteX277" fmla="*/ 71400 w 182803"/>
                <a:gd name="connsiteY277" fmla="*/ 156045 h 333107"/>
                <a:gd name="connsiteX278" fmla="*/ 69930 w 182803"/>
                <a:gd name="connsiteY278" fmla="*/ 157254 h 333107"/>
                <a:gd name="connsiteX279" fmla="*/ 63279 w 182803"/>
                <a:gd name="connsiteY279" fmla="*/ 157929 h 333107"/>
                <a:gd name="connsiteX280" fmla="*/ 60774 w 182803"/>
                <a:gd name="connsiteY280" fmla="*/ 158940 h 333107"/>
                <a:gd name="connsiteX281" fmla="*/ 58454 w 182803"/>
                <a:gd name="connsiteY281" fmla="*/ 160884 h 333107"/>
                <a:gd name="connsiteX282" fmla="*/ 57858 w 182803"/>
                <a:gd name="connsiteY282" fmla="*/ 163352 h 333107"/>
                <a:gd name="connsiteX283" fmla="*/ 59197 w 182803"/>
                <a:gd name="connsiteY283" fmla="*/ 164977 h 333107"/>
                <a:gd name="connsiteX284" fmla="*/ 60057 w 182803"/>
                <a:gd name="connsiteY284" fmla="*/ 167801 h 333107"/>
                <a:gd name="connsiteX285" fmla="*/ 57671 w 182803"/>
                <a:gd name="connsiteY285" fmla="*/ 173963 h 333107"/>
                <a:gd name="connsiteX286" fmla="*/ 57271 w 182803"/>
                <a:gd name="connsiteY286" fmla="*/ 175793 h 333107"/>
                <a:gd name="connsiteX287" fmla="*/ 58193 w 182803"/>
                <a:gd name="connsiteY287" fmla="*/ 183322 h 333107"/>
                <a:gd name="connsiteX288" fmla="*/ 57826 w 182803"/>
                <a:gd name="connsiteY288" fmla="*/ 187450 h 333107"/>
                <a:gd name="connsiteX289" fmla="*/ 56527 w 182803"/>
                <a:gd name="connsiteY289" fmla="*/ 190216 h 333107"/>
                <a:gd name="connsiteX290" fmla="*/ 54466 w 182803"/>
                <a:gd name="connsiteY290" fmla="*/ 192702 h 333107"/>
                <a:gd name="connsiteX291" fmla="*/ 53617 w 182803"/>
                <a:gd name="connsiteY291" fmla="*/ 196913 h 333107"/>
                <a:gd name="connsiteX292" fmla="*/ 51998 w 182803"/>
                <a:gd name="connsiteY292" fmla="*/ 198863 h 333107"/>
                <a:gd name="connsiteX293" fmla="*/ 49828 w 182803"/>
                <a:gd name="connsiteY293" fmla="*/ 203318 h 333107"/>
                <a:gd name="connsiteX294" fmla="*/ 48368 w 182803"/>
                <a:gd name="connsiteY294" fmla="*/ 208865 h 333107"/>
                <a:gd name="connsiteX295" fmla="*/ 47329 w 182803"/>
                <a:gd name="connsiteY295" fmla="*/ 211430 h 333107"/>
                <a:gd name="connsiteX296" fmla="*/ 46723 w 182803"/>
                <a:gd name="connsiteY296" fmla="*/ 216152 h 333107"/>
                <a:gd name="connsiteX297" fmla="*/ 42253 w 182803"/>
                <a:gd name="connsiteY297" fmla="*/ 223317 h 333107"/>
                <a:gd name="connsiteX298" fmla="*/ 41203 w 182803"/>
                <a:gd name="connsiteY298" fmla="*/ 227363 h 333107"/>
                <a:gd name="connsiteX299" fmla="*/ 39605 w 182803"/>
                <a:gd name="connsiteY299" fmla="*/ 228889 h 333107"/>
                <a:gd name="connsiteX300" fmla="*/ 40165 w 182803"/>
                <a:gd name="connsiteY300" fmla="*/ 230095 h 333107"/>
                <a:gd name="connsiteX301" fmla="*/ 40259 w 182803"/>
                <a:gd name="connsiteY301" fmla="*/ 232115 h 333107"/>
                <a:gd name="connsiteX302" fmla="*/ 39700 w 182803"/>
                <a:gd name="connsiteY302" fmla="*/ 237503 h 333107"/>
                <a:gd name="connsiteX303" fmla="*/ 39511 w 182803"/>
                <a:gd name="connsiteY303" fmla="*/ 241970 h 333107"/>
                <a:gd name="connsiteX304" fmla="*/ 40186 w 182803"/>
                <a:gd name="connsiteY304" fmla="*/ 244356 h 333107"/>
                <a:gd name="connsiteX305" fmla="*/ 42331 w 182803"/>
                <a:gd name="connsiteY305" fmla="*/ 249097 h 333107"/>
                <a:gd name="connsiteX306" fmla="*/ 41817 w 182803"/>
                <a:gd name="connsiteY306" fmla="*/ 250472 h 333107"/>
                <a:gd name="connsiteX307" fmla="*/ 41570 w 182803"/>
                <a:gd name="connsiteY307" fmla="*/ 252429 h 333107"/>
                <a:gd name="connsiteX308" fmla="*/ 43373 w 182803"/>
                <a:gd name="connsiteY308" fmla="*/ 253316 h 333107"/>
                <a:gd name="connsiteX309" fmla="*/ 44665 w 182803"/>
                <a:gd name="connsiteY309" fmla="*/ 253577 h 333107"/>
                <a:gd name="connsiteX310" fmla="*/ 51961 w 182803"/>
                <a:gd name="connsiteY310" fmla="*/ 251336 h 333107"/>
                <a:gd name="connsiteX311" fmla="*/ 54431 w 182803"/>
                <a:gd name="connsiteY311" fmla="*/ 251912 h 333107"/>
                <a:gd name="connsiteX312" fmla="*/ 55360 w 182803"/>
                <a:gd name="connsiteY312" fmla="*/ 254003 h 333107"/>
                <a:gd name="connsiteX313" fmla="*/ 55961 w 182803"/>
                <a:gd name="connsiteY313" fmla="*/ 255825 h 333107"/>
                <a:gd name="connsiteX314" fmla="*/ 57198 w 182803"/>
                <a:gd name="connsiteY314" fmla="*/ 265667 h 333107"/>
                <a:gd name="connsiteX315" fmla="*/ 57837 w 182803"/>
                <a:gd name="connsiteY315" fmla="*/ 267494 h 333107"/>
                <a:gd name="connsiteX316" fmla="*/ 59312 w 182803"/>
                <a:gd name="connsiteY316" fmla="*/ 269233 h 333107"/>
                <a:gd name="connsiteX317" fmla="*/ 60927 w 182803"/>
                <a:gd name="connsiteY317" fmla="*/ 271082 h 333107"/>
                <a:gd name="connsiteX318" fmla="*/ 61475 w 182803"/>
                <a:gd name="connsiteY318" fmla="*/ 270750 h 333107"/>
                <a:gd name="connsiteX319" fmla="*/ 61581 w 182803"/>
                <a:gd name="connsiteY319" fmla="*/ 270064 h 333107"/>
                <a:gd name="connsiteX320" fmla="*/ 61683 w 182803"/>
                <a:gd name="connsiteY320" fmla="*/ 269293 h 333107"/>
                <a:gd name="connsiteX321" fmla="*/ 63125 w 182803"/>
                <a:gd name="connsiteY321" fmla="*/ 271157 h 333107"/>
                <a:gd name="connsiteX322" fmla="*/ 64246 w 182803"/>
                <a:gd name="connsiteY322" fmla="*/ 274635 h 333107"/>
                <a:gd name="connsiteX323" fmla="*/ 68096 w 182803"/>
                <a:gd name="connsiteY323" fmla="*/ 293015 h 333107"/>
                <a:gd name="connsiteX324" fmla="*/ 69206 w 182803"/>
                <a:gd name="connsiteY324" fmla="*/ 295348 h 333107"/>
                <a:gd name="connsiteX325" fmla="*/ 70124 w 182803"/>
                <a:gd name="connsiteY325" fmla="*/ 297802 h 333107"/>
                <a:gd name="connsiteX326" fmla="*/ 67783 w 182803"/>
                <a:gd name="connsiteY326" fmla="*/ 296605 h 333107"/>
                <a:gd name="connsiteX327" fmla="*/ 67151 w 182803"/>
                <a:gd name="connsiteY327" fmla="*/ 292525 h 333107"/>
                <a:gd name="connsiteX328" fmla="*/ 66479 w 182803"/>
                <a:gd name="connsiteY328" fmla="*/ 290809 h 333107"/>
                <a:gd name="connsiteX329" fmla="*/ 65652 w 182803"/>
                <a:gd name="connsiteY329" fmla="*/ 290556 h 333107"/>
                <a:gd name="connsiteX330" fmla="*/ 64343 w 182803"/>
                <a:gd name="connsiteY330" fmla="*/ 290586 h 333107"/>
                <a:gd name="connsiteX331" fmla="*/ 64259 w 182803"/>
                <a:gd name="connsiteY331" fmla="*/ 289857 h 333107"/>
                <a:gd name="connsiteX332" fmla="*/ 65239 w 182803"/>
                <a:gd name="connsiteY332" fmla="*/ 288525 h 333107"/>
                <a:gd name="connsiteX333" fmla="*/ 65086 w 182803"/>
                <a:gd name="connsiteY333" fmla="*/ 286929 h 333107"/>
                <a:gd name="connsiteX334" fmla="*/ 63743 w 182803"/>
                <a:gd name="connsiteY334" fmla="*/ 285618 h 333107"/>
                <a:gd name="connsiteX335" fmla="*/ 61567 w 182803"/>
                <a:gd name="connsiteY335" fmla="*/ 286659 h 333107"/>
                <a:gd name="connsiteX336" fmla="*/ 61622 w 182803"/>
                <a:gd name="connsiteY336" fmla="*/ 289524 h 333107"/>
                <a:gd name="connsiteX337" fmla="*/ 62598 w 182803"/>
                <a:gd name="connsiteY337" fmla="*/ 291720 h 333107"/>
                <a:gd name="connsiteX338" fmla="*/ 66280 w 182803"/>
                <a:gd name="connsiteY338" fmla="*/ 296619 h 333107"/>
                <a:gd name="connsiteX339" fmla="*/ 67434 w 182803"/>
                <a:gd name="connsiteY339" fmla="*/ 298670 h 333107"/>
                <a:gd name="connsiteX340" fmla="*/ 68897 w 182803"/>
                <a:gd name="connsiteY340" fmla="*/ 299259 h 333107"/>
                <a:gd name="connsiteX341" fmla="*/ 71031 w 182803"/>
                <a:gd name="connsiteY341" fmla="*/ 298934 h 333107"/>
                <a:gd name="connsiteX342" fmla="*/ 73583 w 182803"/>
                <a:gd name="connsiteY342" fmla="*/ 301023 h 333107"/>
                <a:gd name="connsiteX343" fmla="*/ 75594 w 182803"/>
                <a:gd name="connsiteY343" fmla="*/ 302963 h 333107"/>
                <a:gd name="connsiteX344" fmla="*/ 80575 w 182803"/>
                <a:gd name="connsiteY344" fmla="*/ 305934 h 333107"/>
                <a:gd name="connsiteX345" fmla="*/ 83594 w 182803"/>
                <a:gd name="connsiteY345" fmla="*/ 305618 h 333107"/>
                <a:gd name="connsiteX346" fmla="*/ 86857 w 182803"/>
                <a:gd name="connsiteY346" fmla="*/ 304882 h 333107"/>
                <a:gd name="connsiteX347" fmla="*/ 89045 w 182803"/>
                <a:gd name="connsiteY347" fmla="*/ 305076 h 333107"/>
                <a:gd name="connsiteX348" fmla="*/ 91191 w 182803"/>
                <a:gd name="connsiteY348" fmla="*/ 305837 h 333107"/>
                <a:gd name="connsiteX349" fmla="*/ 93763 w 182803"/>
                <a:gd name="connsiteY349" fmla="*/ 308310 h 333107"/>
                <a:gd name="connsiteX350" fmla="*/ 97853 w 182803"/>
                <a:gd name="connsiteY350" fmla="*/ 314514 h 333107"/>
                <a:gd name="connsiteX351" fmla="*/ 104528 w 182803"/>
                <a:gd name="connsiteY351" fmla="*/ 319672 h 333107"/>
                <a:gd name="connsiteX352" fmla="*/ 103804 w 182803"/>
                <a:gd name="connsiteY352" fmla="*/ 320950 h 333107"/>
                <a:gd name="connsiteX353" fmla="*/ 103512 w 182803"/>
                <a:gd name="connsiteY353" fmla="*/ 322903 h 333107"/>
                <a:gd name="connsiteX354" fmla="*/ 100880 w 182803"/>
                <a:gd name="connsiteY354" fmla="*/ 325506 h 333107"/>
                <a:gd name="connsiteX355" fmla="*/ 100461 w 182803"/>
                <a:gd name="connsiteY355" fmla="*/ 327015 h 333107"/>
                <a:gd name="connsiteX356" fmla="*/ 99498 w 182803"/>
                <a:gd name="connsiteY356" fmla="*/ 328924 h 333107"/>
                <a:gd name="connsiteX357" fmla="*/ 97665 w 182803"/>
                <a:gd name="connsiteY357" fmla="*/ 329944 h 333107"/>
                <a:gd name="connsiteX358" fmla="*/ 96091 w 182803"/>
                <a:gd name="connsiteY358" fmla="*/ 330138 h 333107"/>
                <a:gd name="connsiteX359" fmla="*/ 95182 w 182803"/>
                <a:gd name="connsiteY359" fmla="*/ 329956 h 333107"/>
                <a:gd name="connsiteX360" fmla="*/ 94553 w 182803"/>
                <a:gd name="connsiteY360" fmla="*/ 329574 h 333107"/>
                <a:gd name="connsiteX361" fmla="*/ 93478 w 182803"/>
                <a:gd name="connsiteY361" fmla="*/ 327774 h 333107"/>
                <a:gd name="connsiteX362" fmla="*/ 92934 w 182803"/>
                <a:gd name="connsiteY362" fmla="*/ 327222 h 333107"/>
                <a:gd name="connsiteX363" fmla="*/ 92476 w 182803"/>
                <a:gd name="connsiteY363" fmla="*/ 327095 h 333107"/>
                <a:gd name="connsiteX364" fmla="*/ 89118 w 182803"/>
                <a:gd name="connsiteY364" fmla="*/ 328339 h 333107"/>
                <a:gd name="connsiteX365" fmla="*/ 85864 w 182803"/>
                <a:gd name="connsiteY365" fmla="*/ 329722 h 333107"/>
                <a:gd name="connsiteX366" fmla="*/ 85261 w 182803"/>
                <a:gd name="connsiteY366" fmla="*/ 330957 h 333107"/>
                <a:gd name="connsiteX367" fmla="*/ 84395 w 182803"/>
                <a:gd name="connsiteY367" fmla="*/ 332397 h 333107"/>
                <a:gd name="connsiteX368" fmla="*/ 83445 w 182803"/>
                <a:gd name="connsiteY368" fmla="*/ 332967 h 333107"/>
                <a:gd name="connsiteX369" fmla="*/ 82700 w 182803"/>
                <a:gd name="connsiteY369" fmla="*/ 333107 h 333107"/>
                <a:gd name="connsiteX370" fmla="*/ 81988 w 182803"/>
                <a:gd name="connsiteY370" fmla="*/ 332261 h 333107"/>
                <a:gd name="connsiteX371" fmla="*/ 80737 w 182803"/>
                <a:gd name="connsiteY371" fmla="*/ 331160 h 333107"/>
                <a:gd name="connsiteX372" fmla="*/ 79774 w 182803"/>
                <a:gd name="connsiteY372" fmla="*/ 330128 h 333107"/>
                <a:gd name="connsiteX373" fmla="*/ 80020 w 182803"/>
                <a:gd name="connsiteY373" fmla="*/ 328461 h 333107"/>
                <a:gd name="connsiteX374" fmla="*/ 81851 w 182803"/>
                <a:gd name="connsiteY374" fmla="*/ 326014 h 333107"/>
                <a:gd name="connsiteX375" fmla="*/ 82093 w 182803"/>
                <a:gd name="connsiteY375" fmla="*/ 324301 h 333107"/>
                <a:gd name="connsiteX376" fmla="*/ 81860 w 182803"/>
                <a:gd name="connsiteY376" fmla="*/ 321363 h 333107"/>
                <a:gd name="connsiteX377" fmla="*/ 81363 w 182803"/>
                <a:gd name="connsiteY377" fmla="*/ 319664 h 333107"/>
                <a:gd name="connsiteX378" fmla="*/ 80831 w 182803"/>
                <a:gd name="connsiteY378" fmla="*/ 319604 h 333107"/>
                <a:gd name="connsiteX379" fmla="*/ 79932 w 182803"/>
                <a:gd name="connsiteY379" fmla="*/ 319330 h 333107"/>
                <a:gd name="connsiteX380" fmla="*/ 77392 w 182803"/>
                <a:gd name="connsiteY380" fmla="*/ 319602 h 333107"/>
                <a:gd name="connsiteX381" fmla="*/ 76123 w 182803"/>
                <a:gd name="connsiteY381" fmla="*/ 317688 h 333107"/>
                <a:gd name="connsiteX382" fmla="*/ 75619 w 182803"/>
                <a:gd name="connsiteY382" fmla="*/ 315589 h 333107"/>
                <a:gd name="connsiteX383" fmla="*/ 74752 w 182803"/>
                <a:gd name="connsiteY383" fmla="*/ 314837 h 333107"/>
                <a:gd name="connsiteX384" fmla="*/ 73892 w 182803"/>
                <a:gd name="connsiteY384" fmla="*/ 314379 h 333107"/>
                <a:gd name="connsiteX385" fmla="*/ 71988 w 182803"/>
                <a:gd name="connsiteY385" fmla="*/ 315105 h 333107"/>
                <a:gd name="connsiteX386" fmla="*/ 70537 w 182803"/>
                <a:gd name="connsiteY386" fmla="*/ 314671 h 333107"/>
                <a:gd name="connsiteX387" fmla="*/ 65706 w 182803"/>
                <a:gd name="connsiteY387" fmla="*/ 312842 h 333107"/>
                <a:gd name="connsiteX388" fmla="*/ 63849 w 182803"/>
                <a:gd name="connsiteY388" fmla="*/ 309893 h 333107"/>
                <a:gd name="connsiteX389" fmla="*/ 62857 w 182803"/>
                <a:gd name="connsiteY389" fmla="*/ 309806 h 333107"/>
                <a:gd name="connsiteX390" fmla="*/ 61977 w 182803"/>
                <a:gd name="connsiteY390" fmla="*/ 310134 h 333107"/>
                <a:gd name="connsiteX391" fmla="*/ 61633 w 182803"/>
                <a:gd name="connsiteY391" fmla="*/ 310806 h 333107"/>
                <a:gd name="connsiteX392" fmla="*/ 61119 w 182803"/>
                <a:gd name="connsiteY392" fmla="*/ 314201 h 333107"/>
                <a:gd name="connsiteX393" fmla="*/ 60702 w 182803"/>
                <a:gd name="connsiteY393" fmla="*/ 315238 h 333107"/>
                <a:gd name="connsiteX394" fmla="*/ 55164 w 182803"/>
                <a:gd name="connsiteY394" fmla="*/ 308400 h 333107"/>
                <a:gd name="connsiteX395" fmla="*/ 51346 w 182803"/>
                <a:gd name="connsiteY395" fmla="*/ 305585 h 333107"/>
                <a:gd name="connsiteX396" fmla="*/ 51883 w 182803"/>
                <a:gd name="connsiteY396" fmla="*/ 300485 h 333107"/>
                <a:gd name="connsiteX397" fmla="*/ 50722 w 182803"/>
                <a:gd name="connsiteY397" fmla="*/ 299492 h 333107"/>
                <a:gd name="connsiteX398" fmla="*/ 49277 w 182803"/>
                <a:gd name="connsiteY398" fmla="*/ 299393 h 333107"/>
                <a:gd name="connsiteX399" fmla="*/ 48184 w 182803"/>
                <a:gd name="connsiteY399" fmla="*/ 297982 h 333107"/>
                <a:gd name="connsiteX400" fmla="*/ 49156 w 182803"/>
                <a:gd name="connsiteY400" fmla="*/ 294941 h 333107"/>
                <a:gd name="connsiteX401" fmla="*/ 47656 w 182803"/>
                <a:gd name="connsiteY401" fmla="*/ 295522 h 333107"/>
                <a:gd name="connsiteX402" fmla="*/ 45578 w 182803"/>
                <a:gd name="connsiteY402" fmla="*/ 295414 h 333107"/>
                <a:gd name="connsiteX403" fmla="*/ 43885 w 182803"/>
                <a:gd name="connsiteY403" fmla="*/ 294573 h 333107"/>
                <a:gd name="connsiteX404" fmla="*/ 42598 w 182803"/>
                <a:gd name="connsiteY404" fmla="*/ 290368 h 333107"/>
                <a:gd name="connsiteX405" fmla="*/ 41786 w 182803"/>
                <a:gd name="connsiteY405" fmla="*/ 289084 h 333107"/>
                <a:gd name="connsiteX406" fmla="*/ 40011 w 182803"/>
                <a:gd name="connsiteY406" fmla="*/ 286882 h 333107"/>
                <a:gd name="connsiteX407" fmla="*/ 37673 w 182803"/>
                <a:gd name="connsiteY407" fmla="*/ 286882 h 333107"/>
                <a:gd name="connsiteX408" fmla="*/ 36900 w 182803"/>
                <a:gd name="connsiteY408" fmla="*/ 285825 h 333107"/>
                <a:gd name="connsiteX409" fmla="*/ 37085 w 182803"/>
                <a:gd name="connsiteY409" fmla="*/ 283106 h 333107"/>
                <a:gd name="connsiteX410" fmla="*/ 35379 w 182803"/>
                <a:gd name="connsiteY410" fmla="*/ 281438 h 333107"/>
                <a:gd name="connsiteX411" fmla="*/ 33136 w 182803"/>
                <a:gd name="connsiteY411" fmla="*/ 280078 h 333107"/>
                <a:gd name="connsiteX412" fmla="*/ 31283 w 182803"/>
                <a:gd name="connsiteY412" fmla="*/ 279279 h 333107"/>
                <a:gd name="connsiteX413" fmla="*/ 29400 w 182803"/>
                <a:gd name="connsiteY413" fmla="*/ 274897 h 333107"/>
                <a:gd name="connsiteX414" fmla="*/ 27914 w 182803"/>
                <a:gd name="connsiteY414" fmla="*/ 273821 h 333107"/>
                <a:gd name="connsiteX415" fmla="*/ 26651 w 182803"/>
                <a:gd name="connsiteY415" fmla="*/ 272947 h 333107"/>
                <a:gd name="connsiteX416" fmla="*/ 24896 w 182803"/>
                <a:gd name="connsiteY416" fmla="*/ 273537 h 333107"/>
                <a:gd name="connsiteX417" fmla="*/ 24325 w 182803"/>
                <a:gd name="connsiteY417" fmla="*/ 275115 h 333107"/>
                <a:gd name="connsiteX418" fmla="*/ 23153 w 182803"/>
                <a:gd name="connsiteY418" fmla="*/ 276644 h 333107"/>
                <a:gd name="connsiteX419" fmla="*/ 21821 w 182803"/>
                <a:gd name="connsiteY419" fmla="*/ 276450 h 333107"/>
                <a:gd name="connsiteX420" fmla="*/ 20599 w 182803"/>
                <a:gd name="connsiteY420" fmla="*/ 275576 h 333107"/>
                <a:gd name="connsiteX421" fmla="*/ 19110 w 182803"/>
                <a:gd name="connsiteY421" fmla="*/ 271193 h 333107"/>
                <a:gd name="connsiteX422" fmla="*/ 18862 w 182803"/>
                <a:gd name="connsiteY422" fmla="*/ 268508 h 333107"/>
                <a:gd name="connsiteX423" fmla="*/ 19191 w 182803"/>
                <a:gd name="connsiteY423" fmla="*/ 263514 h 333107"/>
                <a:gd name="connsiteX424" fmla="*/ 21052 w 182803"/>
                <a:gd name="connsiteY424" fmla="*/ 259034 h 333107"/>
                <a:gd name="connsiteX425" fmla="*/ 22056 w 182803"/>
                <a:gd name="connsiteY425" fmla="*/ 251865 h 333107"/>
                <a:gd name="connsiteX426" fmla="*/ 23643 w 182803"/>
                <a:gd name="connsiteY426" fmla="*/ 247353 h 333107"/>
                <a:gd name="connsiteX427" fmla="*/ 24744 w 182803"/>
                <a:gd name="connsiteY427" fmla="*/ 245822 h 333107"/>
                <a:gd name="connsiteX428" fmla="*/ 26269 w 182803"/>
                <a:gd name="connsiteY428" fmla="*/ 239661 h 333107"/>
                <a:gd name="connsiteX429" fmla="*/ 29379 w 182803"/>
                <a:gd name="connsiteY429" fmla="*/ 231781 h 333107"/>
                <a:gd name="connsiteX430" fmla="*/ 29731 w 182803"/>
                <a:gd name="connsiteY430" fmla="*/ 230092 h 333107"/>
                <a:gd name="connsiteX431" fmla="*/ 30358 w 182803"/>
                <a:gd name="connsiteY431" fmla="*/ 228197 h 333107"/>
                <a:gd name="connsiteX432" fmla="*/ 30834 w 182803"/>
                <a:gd name="connsiteY432" fmla="*/ 226408 h 333107"/>
                <a:gd name="connsiteX433" fmla="*/ 30989 w 182803"/>
                <a:gd name="connsiteY433" fmla="*/ 223588 h 333107"/>
                <a:gd name="connsiteX434" fmla="*/ 30588 w 182803"/>
                <a:gd name="connsiteY434" fmla="*/ 222100 h 333107"/>
                <a:gd name="connsiteX435" fmla="*/ 30588 w 182803"/>
                <a:gd name="connsiteY435" fmla="*/ 221265 h 333107"/>
                <a:gd name="connsiteX436" fmla="*/ 31244 w 182803"/>
                <a:gd name="connsiteY436" fmla="*/ 220203 h 333107"/>
                <a:gd name="connsiteX437" fmla="*/ 33460 w 182803"/>
                <a:gd name="connsiteY437" fmla="*/ 218416 h 333107"/>
                <a:gd name="connsiteX438" fmla="*/ 36518 w 182803"/>
                <a:gd name="connsiteY438" fmla="*/ 215472 h 333107"/>
                <a:gd name="connsiteX439" fmla="*/ 40160 w 182803"/>
                <a:gd name="connsiteY439" fmla="*/ 211325 h 333107"/>
                <a:gd name="connsiteX440" fmla="*/ 43889 w 182803"/>
                <a:gd name="connsiteY440" fmla="*/ 204963 h 333107"/>
                <a:gd name="connsiteX441" fmla="*/ 45744 w 182803"/>
                <a:gd name="connsiteY441" fmla="*/ 201269 h 333107"/>
                <a:gd name="connsiteX442" fmla="*/ 46524 w 182803"/>
                <a:gd name="connsiteY442" fmla="*/ 199967 h 333107"/>
                <a:gd name="connsiteX443" fmla="*/ 47349 w 182803"/>
                <a:gd name="connsiteY443" fmla="*/ 199560 h 333107"/>
                <a:gd name="connsiteX444" fmla="*/ 48623 w 182803"/>
                <a:gd name="connsiteY444" fmla="*/ 198294 h 333107"/>
                <a:gd name="connsiteX445" fmla="*/ 49500 w 182803"/>
                <a:gd name="connsiteY445" fmla="*/ 196893 h 333107"/>
                <a:gd name="connsiteX446" fmla="*/ 49549 w 182803"/>
                <a:gd name="connsiteY446" fmla="*/ 196186 h 333107"/>
                <a:gd name="connsiteX447" fmla="*/ 47519 w 182803"/>
                <a:gd name="connsiteY447" fmla="*/ 189270 h 333107"/>
                <a:gd name="connsiteX448" fmla="*/ 46192 w 182803"/>
                <a:gd name="connsiteY448" fmla="*/ 187014 h 333107"/>
                <a:gd name="connsiteX449" fmla="*/ 45518 w 182803"/>
                <a:gd name="connsiteY449" fmla="*/ 184347 h 333107"/>
                <a:gd name="connsiteX450" fmla="*/ 45161 w 182803"/>
                <a:gd name="connsiteY450" fmla="*/ 182422 h 333107"/>
                <a:gd name="connsiteX451" fmla="*/ 44674 w 182803"/>
                <a:gd name="connsiteY451" fmla="*/ 180653 h 333107"/>
                <a:gd name="connsiteX452" fmla="*/ 44913 w 182803"/>
                <a:gd name="connsiteY452" fmla="*/ 178985 h 333107"/>
                <a:gd name="connsiteX453" fmla="*/ 44181 w 182803"/>
                <a:gd name="connsiteY453" fmla="*/ 177945 h 333107"/>
                <a:gd name="connsiteX454" fmla="*/ 42531 w 182803"/>
                <a:gd name="connsiteY454" fmla="*/ 176627 h 333107"/>
                <a:gd name="connsiteX455" fmla="*/ 40817 w 182803"/>
                <a:gd name="connsiteY455" fmla="*/ 174676 h 333107"/>
                <a:gd name="connsiteX456" fmla="*/ 39793 w 182803"/>
                <a:gd name="connsiteY456" fmla="*/ 171481 h 333107"/>
                <a:gd name="connsiteX457" fmla="*/ 39793 w 182803"/>
                <a:gd name="connsiteY457" fmla="*/ 169696 h 333107"/>
                <a:gd name="connsiteX458" fmla="*/ 38696 w 182803"/>
                <a:gd name="connsiteY458" fmla="*/ 168136 h 333107"/>
                <a:gd name="connsiteX459" fmla="*/ 38332 w 182803"/>
                <a:gd name="connsiteY459" fmla="*/ 166500 h 333107"/>
                <a:gd name="connsiteX460" fmla="*/ 38987 w 182803"/>
                <a:gd name="connsiteY460" fmla="*/ 164937 h 333107"/>
                <a:gd name="connsiteX461" fmla="*/ 39852 w 182803"/>
                <a:gd name="connsiteY461" fmla="*/ 163586 h 333107"/>
                <a:gd name="connsiteX462" fmla="*/ 39752 w 182803"/>
                <a:gd name="connsiteY462" fmla="*/ 157648 h 333107"/>
                <a:gd name="connsiteX463" fmla="*/ 39407 w 182803"/>
                <a:gd name="connsiteY463" fmla="*/ 155873 h 333107"/>
                <a:gd name="connsiteX464" fmla="*/ 38981 w 182803"/>
                <a:gd name="connsiteY464" fmla="*/ 152700 h 333107"/>
                <a:gd name="connsiteX465" fmla="*/ 37863 w 182803"/>
                <a:gd name="connsiteY465" fmla="*/ 150310 h 333107"/>
                <a:gd name="connsiteX466" fmla="*/ 36280 w 182803"/>
                <a:gd name="connsiteY466" fmla="*/ 147507 h 333107"/>
                <a:gd name="connsiteX467" fmla="*/ 34488 w 182803"/>
                <a:gd name="connsiteY467" fmla="*/ 145192 h 333107"/>
                <a:gd name="connsiteX468" fmla="*/ 29791 w 182803"/>
                <a:gd name="connsiteY468" fmla="*/ 141000 h 333107"/>
                <a:gd name="connsiteX469" fmla="*/ 26449 w 182803"/>
                <a:gd name="connsiteY469" fmla="*/ 138199 h 333107"/>
                <a:gd name="connsiteX470" fmla="*/ 24790 w 182803"/>
                <a:gd name="connsiteY470" fmla="*/ 135649 h 333107"/>
                <a:gd name="connsiteX471" fmla="*/ 22693 w 182803"/>
                <a:gd name="connsiteY471" fmla="*/ 132713 h 333107"/>
                <a:gd name="connsiteX472" fmla="*/ 21188 w 182803"/>
                <a:gd name="connsiteY472" fmla="*/ 130601 h 333107"/>
                <a:gd name="connsiteX473" fmla="*/ 19283 w 182803"/>
                <a:gd name="connsiteY473" fmla="*/ 127930 h 333107"/>
                <a:gd name="connsiteX474" fmla="*/ 18314 w 182803"/>
                <a:gd name="connsiteY474" fmla="*/ 124287 h 333107"/>
                <a:gd name="connsiteX475" fmla="*/ 17779 w 182803"/>
                <a:gd name="connsiteY475" fmla="*/ 120410 h 333107"/>
                <a:gd name="connsiteX476" fmla="*/ 18068 w 182803"/>
                <a:gd name="connsiteY476" fmla="*/ 119127 h 333107"/>
                <a:gd name="connsiteX477" fmla="*/ 18978 w 182803"/>
                <a:gd name="connsiteY477" fmla="*/ 118285 h 333107"/>
                <a:gd name="connsiteX478" fmla="*/ 20171 w 182803"/>
                <a:gd name="connsiteY478" fmla="*/ 117601 h 333107"/>
                <a:gd name="connsiteX479" fmla="*/ 21127 w 182803"/>
                <a:gd name="connsiteY479" fmla="*/ 117443 h 333107"/>
                <a:gd name="connsiteX480" fmla="*/ 23842 w 182803"/>
                <a:gd name="connsiteY480" fmla="*/ 115660 h 333107"/>
                <a:gd name="connsiteX481" fmla="*/ 25725 w 182803"/>
                <a:gd name="connsiteY481" fmla="*/ 115811 h 333107"/>
                <a:gd name="connsiteX482" fmla="*/ 26159 w 182803"/>
                <a:gd name="connsiteY482" fmla="*/ 115426 h 333107"/>
                <a:gd name="connsiteX483" fmla="*/ 26342 w 182803"/>
                <a:gd name="connsiteY483" fmla="*/ 114614 h 333107"/>
                <a:gd name="connsiteX484" fmla="*/ 26104 w 182803"/>
                <a:gd name="connsiteY484" fmla="*/ 111078 h 333107"/>
                <a:gd name="connsiteX485" fmla="*/ 26187 w 182803"/>
                <a:gd name="connsiteY485" fmla="*/ 106348 h 333107"/>
                <a:gd name="connsiteX486" fmla="*/ 26537 w 182803"/>
                <a:gd name="connsiteY486" fmla="*/ 102494 h 333107"/>
                <a:gd name="connsiteX487" fmla="*/ 26943 w 182803"/>
                <a:gd name="connsiteY487" fmla="*/ 99953 h 333107"/>
                <a:gd name="connsiteX488" fmla="*/ 31931 w 182803"/>
                <a:gd name="connsiteY488" fmla="*/ 97001 h 333107"/>
                <a:gd name="connsiteX489" fmla="*/ 32982 w 182803"/>
                <a:gd name="connsiteY489" fmla="*/ 95725 h 333107"/>
                <a:gd name="connsiteX490" fmla="*/ 33490 w 182803"/>
                <a:gd name="connsiteY490" fmla="*/ 94340 h 333107"/>
                <a:gd name="connsiteX491" fmla="*/ 33485 w 182803"/>
                <a:gd name="connsiteY491" fmla="*/ 93118 h 333107"/>
                <a:gd name="connsiteX492" fmla="*/ 33067 w 182803"/>
                <a:gd name="connsiteY492" fmla="*/ 92158 h 333107"/>
                <a:gd name="connsiteX493" fmla="*/ 32317 w 182803"/>
                <a:gd name="connsiteY493" fmla="*/ 91627 h 333107"/>
                <a:gd name="connsiteX494" fmla="*/ 29085 w 182803"/>
                <a:gd name="connsiteY494" fmla="*/ 94174 h 333107"/>
                <a:gd name="connsiteX495" fmla="*/ 28455 w 182803"/>
                <a:gd name="connsiteY495" fmla="*/ 93606 h 333107"/>
                <a:gd name="connsiteX496" fmla="*/ 26971 w 182803"/>
                <a:gd name="connsiteY496" fmla="*/ 89420 h 333107"/>
                <a:gd name="connsiteX497" fmla="*/ 26332 w 182803"/>
                <a:gd name="connsiteY497" fmla="*/ 88144 h 333107"/>
                <a:gd name="connsiteX498" fmla="*/ 25411 w 182803"/>
                <a:gd name="connsiteY498" fmla="*/ 86616 h 333107"/>
                <a:gd name="connsiteX499" fmla="*/ 24416 w 182803"/>
                <a:gd name="connsiteY499" fmla="*/ 84479 h 333107"/>
                <a:gd name="connsiteX500" fmla="*/ 24263 w 182803"/>
                <a:gd name="connsiteY500" fmla="*/ 80778 h 333107"/>
                <a:gd name="connsiteX501" fmla="*/ 23548 w 182803"/>
                <a:gd name="connsiteY501" fmla="*/ 78943 h 333107"/>
                <a:gd name="connsiteX502" fmla="*/ 19516 w 182803"/>
                <a:gd name="connsiteY502" fmla="*/ 75030 h 333107"/>
                <a:gd name="connsiteX503" fmla="*/ 17705 w 182803"/>
                <a:gd name="connsiteY503" fmla="*/ 72930 h 333107"/>
                <a:gd name="connsiteX504" fmla="*/ 15239 w 182803"/>
                <a:gd name="connsiteY504" fmla="*/ 69892 h 333107"/>
                <a:gd name="connsiteX505" fmla="*/ 12280 w 182803"/>
                <a:gd name="connsiteY505" fmla="*/ 66246 h 333107"/>
                <a:gd name="connsiteX506" fmla="*/ 9266 w 182803"/>
                <a:gd name="connsiteY506" fmla="*/ 62873 h 333107"/>
                <a:gd name="connsiteX507" fmla="*/ 7854 w 182803"/>
                <a:gd name="connsiteY507" fmla="*/ 60716 h 333107"/>
                <a:gd name="connsiteX508" fmla="*/ 7353 w 182803"/>
                <a:gd name="connsiteY508" fmla="*/ 60231 h 333107"/>
                <a:gd name="connsiteX509" fmla="*/ 7178 w 182803"/>
                <a:gd name="connsiteY509" fmla="*/ 59400 h 333107"/>
                <a:gd name="connsiteX510" fmla="*/ 8094 w 182803"/>
                <a:gd name="connsiteY510" fmla="*/ 57078 h 333107"/>
                <a:gd name="connsiteX511" fmla="*/ 7647 w 182803"/>
                <a:gd name="connsiteY511" fmla="*/ 54747 h 333107"/>
                <a:gd name="connsiteX512" fmla="*/ 6139 w 182803"/>
                <a:gd name="connsiteY512" fmla="*/ 51633 h 333107"/>
                <a:gd name="connsiteX513" fmla="*/ 5496 w 182803"/>
                <a:gd name="connsiteY513" fmla="*/ 49708 h 333107"/>
                <a:gd name="connsiteX514" fmla="*/ 5712 w 182803"/>
                <a:gd name="connsiteY514" fmla="*/ 48969 h 333107"/>
                <a:gd name="connsiteX515" fmla="*/ 4984 w 182803"/>
                <a:gd name="connsiteY515" fmla="*/ 48680 h 333107"/>
                <a:gd name="connsiteX516" fmla="*/ 3314 w 182803"/>
                <a:gd name="connsiteY516" fmla="*/ 48842 h 333107"/>
                <a:gd name="connsiteX517" fmla="*/ 1700 w 182803"/>
                <a:gd name="connsiteY517" fmla="*/ 47385 h 333107"/>
                <a:gd name="connsiteX518" fmla="*/ 149 w 182803"/>
                <a:gd name="connsiteY518" fmla="*/ 44306 h 333107"/>
                <a:gd name="connsiteX519" fmla="*/ 0 w 182803"/>
                <a:gd name="connsiteY519" fmla="*/ 43765 h 333107"/>
                <a:gd name="connsiteX520" fmla="*/ 512 w 182803"/>
                <a:gd name="connsiteY520" fmla="*/ 43775 h 333107"/>
                <a:gd name="connsiteX521" fmla="*/ 2455 w 182803"/>
                <a:gd name="connsiteY521" fmla="*/ 44308 h 333107"/>
                <a:gd name="connsiteX522" fmla="*/ 3123 w 182803"/>
                <a:gd name="connsiteY522" fmla="*/ 44227 h 333107"/>
                <a:gd name="connsiteX523" fmla="*/ 4498 w 182803"/>
                <a:gd name="connsiteY523" fmla="*/ 43519 h 333107"/>
                <a:gd name="connsiteX524" fmla="*/ 6582 w 182803"/>
                <a:gd name="connsiteY524" fmla="*/ 42775 h 333107"/>
                <a:gd name="connsiteX525" fmla="*/ 7823 w 182803"/>
                <a:gd name="connsiteY525" fmla="*/ 42528 h 333107"/>
                <a:gd name="connsiteX526" fmla="*/ 8225 w 182803"/>
                <a:gd name="connsiteY526" fmla="*/ 42158 h 333107"/>
                <a:gd name="connsiteX527" fmla="*/ 8404 w 182803"/>
                <a:gd name="connsiteY527" fmla="*/ 41412 h 333107"/>
                <a:gd name="connsiteX528" fmla="*/ 7344 w 182803"/>
                <a:gd name="connsiteY528" fmla="*/ 34292 h 333107"/>
                <a:gd name="connsiteX529" fmla="*/ 7523 w 182803"/>
                <a:gd name="connsiteY529" fmla="*/ 32810 h 333107"/>
                <a:gd name="connsiteX530" fmla="*/ 9508 w 182803"/>
                <a:gd name="connsiteY530" fmla="*/ 29739 h 333107"/>
                <a:gd name="connsiteX531" fmla="*/ 9279 w 182803"/>
                <a:gd name="connsiteY531" fmla="*/ 26635 h 333107"/>
                <a:gd name="connsiteX532" fmla="*/ 9793 w 182803"/>
                <a:gd name="connsiteY532" fmla="*/ 22181 h 333107"/>
                <a:gd name="connsiteX533" fmla="*/ 11995 w 182803"/>
                <a:gd name="connsiteY533" fmla="*/ 19129 h 333107"/>
                <a:gd name="connsiteX534" fmla="*/ 13649 w 182803"/>
                <a:gd name="connsiteY534" fmla="*/ 17732 h 333107"/>
                <a:gd name="connsiteX535" fmla="*/ 14176 w 182803"/>
                <a:gd name="connsiteY535" fmla="*/ 15531 h 333107"/>
                <a:gd name="connsiteX536" fmla="*/ 14928 w 182803"/>
                <a:gd name="connsiteY536" fmla="*/ 15066 h 333107"/>
                <a:gd name="connsiteX537" fmla="*/ 16299 w 182803"/>
                <a:gd name="connsiteY537" fmla="*/ 15240 h 333107"/>
                <a:gd name="connsiteX538" fmla="*/ 19130 w 182803"/>
                <a:gd name="connsiteY538" fmla="*/ 16882 h 333107"/>
                <a:gd name="connsiteX539" fmla="*/ 20337 w 182803"/>
                <a:gd name="connsiteY539" fmla="*/ 16961 h 333107"/>
                <a:gd name="connsiteX540" fmla="*/ 22054 w 182803"/>
                <a:gd name="connsiteY540" fmla="*/ 16917 h 333107"/>
                <a:gd name="connsiteX541" fmla="*/ 23905 w 182803"/>
                <a:gd name="connsiteY541" fmla="*/ 16796 h 333107"/>
                <a:gd name="connsiteX542" fmla="*/ 24764 w 182803"/>
                <a:gd name="connsiteY542" fmla="*/ 16638 h 333107"/>
                <a:gd name="connsiteX543" fmla="*/ 30663 w 182803"/>
                <a:gd name="connsiteY543" fmla="*/ 15035 h 333107"/>
                <a:gd name="connsiteX544" fmla="*/ 31965 w 182803"/>
                <a:gd name="connsiteY544" fmla="*/ 14865 h 333107"/>
                <a:gd name="connsiteX545" fmla="*/ 33209 w 182803"/>
                <a:gd name="connsiteY545" fmla="*/ 15069 h 333107"/>
                <a:gd name="connsiteX546" fmla="*/ 34114 w 182803"/>
                <a:gd name="connsiteY546" fmla="*/ 14993 h 333107"/>
                <a:gd name="connsiteX547" fmla="*/ 35027 w 182803"/>
                <a:gd name="connsiteY547" fmla="*/ 14257 h 333107"/>
                <a:gd name="connsiteX548" fmla="*/ 35677 w 182803"/>
                <a:gd name="connsiteY548" fmla="*/ 12959 h 333107"/>
                <a:gd name="connsiteX549" fmla="*/ 36414 w 182803"/>
                <a:gd name="connsiteY549" fmla="*/ 8810 h 333107"/>
                <a:gd name="connsiteX550" fmla="*/ 36835 w 182803"/>
                <a:gd name="connsiteY550" fmla="*/ 8078 h 333107"/>
                <a:gd name="connsiteX551" fmla="*/ 37597 w 182803"/>
                <a:gd name="connsiteY551" fmla="*/ 7485 h 333107"/>
                <a:gd name="connsiteX552" fmla="*/ 38847 w 182803"/>
                <a:gd name="connsiteY552" fmla="*/ 7089 h 333107"/>
                <a:gd name="connsiteX553" fmla="*/ 40310 w 182803"/>
                <a:gd name="connsiteY553" fmla="*/ 7123 h 333107"/>
                <a:gd name="connsiteX554" fmla="*/ 42229 w 182803"/>
                <a:gd name="connsiteY554" fmla="*/ 7921 h 333107"/>
                <a:gd name="connsiteX555" fmla="*/ 43427 w 182803"/>
                <a:gd name="connsiteY555" fmla="*/ 7956 h 333107"/>
                <a:gd name="connsiteX556" fmla="*/ 44783 w 182803"/>
                <a:gd name="connsiteY556" fmla="*/ 7621 h 333107"/>
                <a:gd name="connsiteX557" fmla="*/ 45941 w 182803"/>
                <a:gd name="connsiteY557" fmla="*/ 7049 h 333107"/>
                <a:gd name="connsiteX558" fmla="*/ 46701 w 182803"/>
                <a:gd name="connsiteY558" fmla="*/ 6323 h 333107"/>
                <a:gd name="connsiteX559" fmla="*/ 47049 w 182803"/>
                <a:gd name="connsiteY559" fmla="*/ 5451 h 333107"/>
                <a:gd name="connsiteX560" fmla="*/ 46736 w 182803"/>
                <a:gd name="connsiteY560" fmla="*/ 3773 h 333107"/>
                <a:gd name="connsiteX561" fmla="*/ 45861 w 182803"/>
                <a:gd name="connsiteY561" fmla="*/ 1668 h 333107"/>
                <a:gd name="connsiteX562" fmla="*/ 46103 w 182803"/>
                <a:gd name="connsiteY562" fmla="*/ 1414 h 333107"/>
                <a:gd name="connsiteX563" fmla="*/ 47712 w 182803"/>
                <a:gd name="connsiteY563" fmla="*/ 1880 h 333107"/>
                <a:gd name="connsiteX564" fmla="*/ 50078 w 182803"/>
                <a:gd name="connsiteY564" fmla="*/ 2395 h 333107"/>
                <a:gd name="connsiteX565" fmla="*/ 51879 w 182803"/>
                <a:gd name="connsiteY565" fmla="*/ 2281 h 333107"/>
                <a:gd name="connsiteX566" fmla="*/ 53056 w 182803"/>
                <a:gd name="connsiteY566" fmla="*/ 1915 h 333107"/>
                <a:gd name="connsiteX567" fmla="*/ 54203 w 182803"/>
                <a:gd name="connsiteY567" fmla="*/ 921 h 333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</a:cxnLst>
              <a:rect l="l" t="t" r="r" b="b"/>
              <a:pathLst>
                <a:path w="182803" h="333107">
                  <a:moveTo>
                    <a:pt x="50418" y="309195"/>
                  </a:moveTo>
                  <a:lnTo>
                    <a:pt x="51465" y="312383"/>
                  </a:lnTo>
                  <a:lnTo>
                    <a:pt x="50618" y="313463"/>
                  </a:lnTo>
                  <a:lnTo>
                    <a:pt x="50198" y="313592"/>
                  </a:lnTo>
                  <a:lnTo>
                    <a:pt x="49370" y="311800"/>
                  </a:lnTo>
                  <a:close/>
                  <a:moveTo>
                    <a:pt x="36953" y="288696"/>
                  </a:moveTo>
                  <a:lnTo>
                    <a:pt x="37690" y="289689"/>
                  </a:lnTo>
                  <a:lnTo>
                    <a:pt x="38264" y="292370"/>
                  </a:lnTo>
                  <a:lnTo>
                    <a:pt x="37456" y="291823"/>
                  </a:lnTo>
                  <a:lnTo>
                    <a:pt x="36790" y="290653"/>
                  </a:lnTo>
                  <a:lnTo>
                    <a:pt x="36798" y="288936"/>
                  </a:lnTo>
                  <a:close/>
                  <a:moveTo>
                    <a:pt x="25550" y="278195"/>
                  </a:moveTo>
                  <a:lnTo>
                    <a:pt x="27206" y="279335"/>
                  </a:lnTo>
                  <a:lnTo>
                    <a:pt x="26934" y="282080"/>
                  </a:lnTo>
                  <a:lnTo>
                    <a:pt x="26669" y="282456"/>
                  </a:lnTo>
                  <a:close/>
                  <a:moveTo>
                    <a:pt x="20965" y="276909"/>
                  </a:moveTo>
                  <a:lnTo>
                    <a:pt x="21605" y="278148"/>
                  </a:lnTo>
                  <a:lnTo>
                    <a:pt x="23462" y="278704"/>
                  </a:lnTo>
                  <a:lnTo>
                    <a:pt x="22663" y="281399"/>
                  </a:lnTo>
                  <a:lnTo>
                    <a:pt x="22889" y="282790"/>
                  </a:lnTo>
                  <a:lnTo>
                    <a:pt x="22654" y="284428"/>
                  </a:lnTo>
                  <a:lnTo>
                    <a:pt x="21747" y="284405"/>
                  </a:lnTo>
                  <a:lnTo>
                    <a:pt x="20823" y="285453"/>
                  </a:lnTo>
                  <a:lnTo>
                    <a:pt x="20395" y="285592"/>
                  </a:lnTo>
                  <a:lnTo>
                    <a:pt x="19644" y="282255"/>
                  </a:lnTo>
                  <a:lnTo>
                    <a:pt x="20508" y="277579"/>
                  </a:lnTo>
                  <a:close/>
                  <a:moveTo>
                    <a:pt x="20503" y="255240"/>
                  </a:moveTo>
                  <a:lnTo>
                    <a:pt x="20754" y="256550"/>
                  </a:lnTo>
                  <a:lnTo>
                    <a:pt x="20643" y="257194"/>
                  </a:lnTo>
                  <a:lnTo>
                    <a:pt x="19389" y="257432"/>
                  </a:lnTo>
                  <a:lnTo>
                    <a:pt x="19558" y="256215"/>
                  </a:lnTo>
                  <a:lnTo>
                    <a:pt x="19895" y="255446"/>
                  </a:lnTo>
                  <a:close/>
                  <a:moveTo>
                    <a:pt x="59631" y="245273"/>
                  </a:moveTo>
                  <a:lnTo>
                    <a:pt x="59733" y="246536"/>
                  </a:lnTo>
                  <a:lnTo>
                    <a:pt x="59256" y="248053"/>
                  </a:lnTo>
                  <a:lnTo>
                    <a:pt x="57237" y="248940"/>
                  </a:lnTo>
                  <a:lnTo>
                    <a:pt x="56548" y="247726"/>
                  </a:lnTo>
                  <a:lnTo>
                    <a:pt x="56731" y="245855"/>
                  </a:lnTo>
                  <a:lnTo>
                    <a:pt x="57042" y="245385"/>
                  </a:lnTo>
                  <a:lnTo>
                    <a:pt x="59018" y="245478"/>
                  </a:lnTo>
                  <a:close/>
                  <a:moveTo>
                    <a:pt x="57701" y="240642"/>
                  </a:moveTo>
                  <a:lnTo>
                    <a:pt x="59029" y="240684"/>
                  </a:lnTo>
                  <a:lnTo>
                    <a:pt x="59683" y="241634"/>
                  </a:lnTo>
                  <a:lnTo>
                    <a:pt x="59707" y="242804"/>
                  </a:lnTo>
                  <a:lnTo>
                    <a:pt x="59493" y="243177"/>
                  </a:lnTo>
                  <a:lnTo>
                    <a:pt x="58636" y="242468"/>
                  </a:lnTo>
                  <a:lnTo>
                    <a:pt x="58025" y="241668"/>
                  </a:lnTo>
                  <a:close/>
                  <a:moveTo>
                    <a:pt x="114873" y="198192"/>
                  </a:moveTo>
                  <a:lnTo>
                    <a:pt x="115702" y="198532"/>
                  </a:lnTo>
                  <a:lnTo>
                    <a:pt x="115337" y="200870"/>
                  </a:lnTo>
                  <a:lnTo>
                    <a:pt x="114074" y="199912"/>
                  </a:lnTo>
                  <a:lnTo>
                    <a:pt x="114377" y="198728"/>
                  </a:lnTo>
                  <a:close/>
                  <a:moveTo>
                    <a:pt x="108427" y="187874"/>
                  </a:moveTo>
                  <a:lnTo>
                    <a:pt x="109343" y="188103"/>
                  </a:lnTo>
                  <a:lnTo>
                    <a:pt x="110654" y="189647"/>
                  </a:lnTo>
                  <a:lnTo>
                    <a:pt x="111323" y="190718"/>
                  </a:lnTo>
                  <a:lnTo>
                    <a:pt x="111729" y="191533"/>
                  </a:lnTo>
                  <a:lnTo>
                    <a:pt x="111800" y="192071"/>
                  </a:lnTo>
                  <a:lnTo>
                    <a:pt x="110654" y="191663"/>
                  </a:lnTo>
                  <a:lnTo>
                    <a:pt x="110252" y="191854"/>
                  </a:lnTo>
                  <a:lnTo>
                    <a:pt x="108969" y="191711"/>
                  </a:lnTo>
                  <a:lnTo>
                    <a:pt x="108337" y="188604"/>
                  </a:lnTo>
                  <a:close/>
                  <a:moveTo>
                    <a:pt x="55643" y="0"/>
                  </a:moveTo>
                  <a:lnTo>
                    <a:pt x="57058" y="207"/>
                  </a:lnTo>
                  <a:lnTo>
                    <a:pt x="58148" y="1033"/>
                  </a:lnTo>
                  <a:lnTo>
                    <a:pt x="60776" y="2483"/>
                  </a:lnTo>
                  <a:lnTo>
                    <a:pt x="60610" y="3841"/>
                  </a:lnTo>
                  <a:lnTo>
                    <a:pt x="61158" y="4124"/>
                  </a:lnTo>
                  <a:lnTo>
                    <a:pt x="61918" y="3494"/>
                  </a:lnTo>
                  <a:lnTo>
                    <a:pt x="62890" y="1954"/>
                  </a:lnTo>
                  <a:lnTo>
                    <a:pt x="63950" y="1086"/>
                  </a:lnTo>
                  <a:lnTo>
                    <a:pt x="65099" y="888"/>
                  </a:lnTo>
                  <a:lnTo>
                    <a:pt x="66319" y="1937"/>
                  </a:lnTo>
                  <a:lnTo>
                    <a:pt x="67610" y="4231"/>
                  </a:lnTo>
                  <a:lnTo>
                    <a:pt x="68938" y="5536"/>
                  </a:lnTo>
                  <a:lnTo>
                    <a:pt x="69556" y="5677"/>
                  </a:lnTo>
                  <a:lnTo>
                    <a:pt x="70007" y="6726"/>
                  </a:lnTo>
                  <a:lnTo>
                    <a:pt x="70076" y="7731"/>
                  </a:lnTo>
                  <a:lnTo>
                    <a:pt x="69446" y="9856"/>
                  </a:lnTo>
                  <a:lnTo>
                    <a:pt x="68377" y="12326"/>
                  </a:lnTo>
                  <a:lnTo>
                    <a:pt x="66861" y="15379"/>
                  </a:lnTo>
                  <a:lnTo>
                    <a:pt x="67358" y="17944"/>
                  </a:lnTo>
                  <a:lnTo>
                    <a:pt x="69424" y="20034"/>
                  </a:lnTo>
                  <a:lnTo>
                    <a:pt x="71899" y="21265"/>
                  </a:lnTo>
                  <a:lnTo>
                    <a:pt x="74518" y="20923"/>
                  </a:lnTo>
                  <a:lnTo>
                    <a:pt x="75909" y="20299"/>
                  </a:lnTo>
                  <a:lnTo>
                    <a:pt x="77045" y="19309"/>
                  </a:lnTo>
                  <a:lnTo>
                    <a:pt x="78103" y="18842"/>
                  </a:lnTo>
                  <a:lnTo>
                    <a:pt x="79440" y="18718"/>
                  </a:lnTo>
                  <a:lnTo>
                    <a:pt x="83601" y="19443"/>
                  </a:lnTo>
                  <a:lnTo>
                    <a:pt x="84866" y="20152"/>
                  </a:lnTo>
                  <a:lnTo>
                    <a:pt x="85063" y="21569"/>
                  </a:lnTo>
                  <a:lnTo>
                    <a:pt x="84549" y="25211"/>
                  </a:lnTo>
                  <a:lnTo>
                    <a:pt x="85190" y="27881"/>
                  </a:lnTo>
                  <a:lnTo>
                    <a:pt x="86369" y="30692"/>
                  </a:lnTo>
                  <a:lnTo>
                    <a:pt x="86512" y="33253"/>
                  </a:lnTo>
                  <a:lnTo>
                    <a:pt x="85056" y="37476"/>
                  </a:lnTo>
                  <a:lnTo>
                    <a:pt x="83840" y="41469"/>
                  </a:lnTo>
                  <a:lnTo>
                    <a:pt x="82532" y="43408"/>
                  </a:lnTo>
                  <a:lnTo>
                    <a:pt x="81517" y="44656"/>
                  </a:lnTo>
                  <a:lnTo>
                    <a:pt x="81219" y="45502"/>
                  </a:lnTo>
                  <a:lnTo>
                    <a:pt x="81299" y="46302"/>
                  </a:lnTo>
                  <a:lnTo>
                    <a:pt x="82232" y="47502"/>
                  </a:lnTo>
                  <a:lnTo>
                    <a:pt x="83220" y="49048"/>
                  </a:lnTo>
                  <a:lnTo>
                    <a:pt x="83469" y="50527"/>
                  </a:lnTo>
                  <a:lnTo>
                    <a:pt x="83363" y="52344"/>
                  </a:lnTo>
                  <a:lnTo>
                    <a:pt x="82685" y="54835"/>
                  </a:lnTo>
                  <a:lnTo>
                    <a:pt x="80158" y="60229"/>
                  </a:lnTo>
                  <a:lnTo>
                    <a:pt x="78157" y="65093"/>
                  </a:lnTo>
                  <a:lnTo>
                    <a:pt x="79204" y="66068"/>
                  </a:lnTo>
                  <a:lnTo>
                    <a:pt x="81191" y="66778"/>
                  </a:lnTo>
                  <a:lnTo>
                    <a:pt x="82506" y="67471"/>
                  </a:lnTo>
                  <a:lnTo>
                    <a:pt x="83884" y="67027"/>
                  </a:lnTo>
                  <a:lnTo>
                    <a:pt x="86807" y="64156"/>
                  </a:lnTo>
                  <a:lnTo>
                    <a:pt x="89328" y="62018"/>
                  </a:lnTo>
                  <a:lnTo>
                    <a:pt x="92454" y="59883"/>
                  </a:lnTo>
                  <a:lnTo>
                    <a:pt x="92645" y="59697"/>
                  </a:lnTo>
                  <a:lnTo>
                    <a:pt x="95382" y="58125"/>
                  </a:lnTo>
                  <a:lnTo>
                    <a:pt x="96635" y="56681"/>
                  </a:lnTo>
                  <a:lnTo>
                    <a:pt x="97312" y="54838"/>
                  </a:lnTo>
                  <a:lnTo>
                    <a:pt x="98282" y="54125"/>
                  </a:lnTo>
                  <a:lnTo>
                    <a:pt x="99539" y="54541"/>
                  </a:lnTo>
                  <a:lnTo>
                    <a:pt x="101131" y="53740"/>
                  </a:lnTo>
                  <a:lnTo>
                    <a:pt x="103057" y="51723"/>
                  </a:lnTo>
                  <a:lnTo>
                    <a:pt x="104536" y="50790"/>
                  </a:lnTo>
                  <a:lnTo>
                    <a:pt x="105570" y="50945"/>
                  </a:lnTo>
                  <a:lnTo>
                    <a:pt x="107414" y="52199"/>
                  </a:lnTo>
                  <a:lnTo>
                    <a:pt x="110072" y="54552"/>
                  </a:lnTo>
                  <a:lnTo>
                    <a:pt x="112437" y="55952"/>
                  </a:lnTo>
                  <a:lnTo>
                    <a:pt x="114510" y="56398"/>
                  </a:lnTo>
                  <a:lnTo>
                    <a:pt x="115521" y="57273"/>
                  </a:lnTo>
                  <a:lnTo>
                    <a:pt x="115473" y="58576"/>
                  </a:lnTo>
                  <a:lnTo>
                    <a:pt x="115931" y="59404"/>
                  </a:lnTo>
                  <a:lnTo>
                    <a:pt x="116900" y="59755"/>
                  </a:lnTo>
                  <a:lnTo>
                    <a:pt x="117331" y="59615"/>
                  </a:lnTo>
                  <a:lnTo>
                    <a:pt x="117222" y="58984"/>
                  </a:lnTo>
                  <a:lnTo>
                    <a:pt x="118159" y="58060"/>
                  </a:lnTo>
                  <a:lnTo>
                    <a:pt x="120146" y="56844"/>
                  </a:lnTo>
                  <a:lnTo>
                    <a:pt x="122163" y="56128"/>
                  </a:lnTo>
                  <a:lnTo>
                    <a:pt x="124215" y="55915"/>
                  </a:lnTo>
                  <a:lnTo>
                    <a:pt x="125540" y="54950"/>
                  </a:lnTo>
                  <a:lnTo>
                    <a:pt x="126422" y="52444"/>
                  </a:lnTo>
                  <a:lnTo>
                    <a:pt x="127689" y="50537"/>
                  </a:lnTo>
                  <a:lnTo>
                    <a:pt x="128821" y="49674"/>
                  </a:lnTo>
                  <a:lnTo>
                    <a:pt x="130224" y="49240"/>
                  </a:lnTo>
                  <a:lnTo>
                    <a:pt x="130586" y="48634"/>
                  </a:lnTo>
                  <a:lnTo>
                    <a:pt x="129909" y="47858"/>
                  </a:lnTo>
                  <a:lnTo>
                    <a:pt x="129971" y="47069"/>
                  </a:lnTo>
                  <a:lnTo>
                    <a:pt x="130779" y="46270"/>
                  </a:lnTo>
                  <a:lnTo>
                    <a:pt x="132520" y="45929"/>
                  </a:lnTo>
                  <a:lnTo>
                    <a:pt x="135195" y="46047"/>
                  </a:lnTo>
                  <a:lnTo>
                    <a:pt x="138328" y="46861"/>
                  </a:lnTo>
                  <a:lnTo>
                    <a:pt x="141924" y="48371"/>
                  </a:lnTo>
                  <a:lnTo>
                    <a:pt x="144279" y="48855"/>
                  </a:lnTo>
                  <a:lnTo>
                    <a:pt x="145403" y="48314"/>
                  </a:lnTo>
                  <a:lnTo>
                    <a:pt x="147594" y="50652"/>
                  </a:lnTo>
                  <a:lnTo>
                    <a:pt x="150855" y="55866"/>
                  </a:lnTo>
                  <a:lnTo>
                    <a:pt x="153651" y="59804"/>
                  </a:lnTo>
                  <a:lnTo>
                    <a:pt x="155983" y="62469"/>
                  </a:lnTo>
                  <a:lnTo>
                    <a:pt x="158441" y="64514"/>
                  </a:lnTo>
                  <a:lnTo>
                    <a:pt x="161019" y="65940"/>
                  </a:lnTo>
                  <a:lnTo>
                    <a:pt x="162872" y="67879"/>
                  </a:lnTo>
                  <a:lnTo>
                    <a:pt x="164560" y="71555"/>
                  </a:lnTo>
                  <a:lnTo>
                    <a:pt x="163299" y="76635"/>
                  </a:lnTo>
                  <a:lnTo>
                    <a:pt x="162958" y="81020"/>
                  </a:lnTo>
                  <a:lnTo>
                    <a:pt x="163114" y="86403"/>
                  </a:lnTo>
                  <a:lnTo>
                    <a:pt x="164634" y="90526"/>
                  </a:lnTo>
                  <a:lnTo>
                    <a:pt x="167521" y="93390"/>
                  </a:lnTo>
                  <a:lnTo>
                    <a:pt x="169199" y="95704"/>
                  </a:lnTo>
                  <a:lnTo>
                    <a:pt x="169672" y="97467"/>
                  </a:lnTo>
                  <a:lnTo>
                    <a:pt x="171917" y="98981"/>
                  </a:lnTo>
                  <a:lnTo>
                    <a:pt x="175940" y="100243"/>
                  </a:lnTo>
                  <a:lnTo>
                    <a:pt x="177611" y="101387"/>
                  </a:lnTo>
                  <a:lnTo>
                    <a:pt x="176934" y="102413"/>
                  </a:lnTo>
                  <a:lnTo>
                    <a:pt x="176882" y="103603"/>
                  </a:lnTo>
                  <a:lnTo>
                    <a:pt x="177449" y="104959"/>
                  </a:lnTo>
                  <a:lnTo>
                    <a:pt x="178845" y="106080"/>
                  </a:lnTo>
                  <a:lnTo>
                    <a:pt x="181065" y="106967"/>
                  </a:lnTo>
                  <a:lnTo>
                    <a:pt x="182384" y="107903"/>
                  </a:lnTo>
                  <a:lnTo>
                    <a:pt x="182803" y="108886"/>
                  </a:lnTo>
                  <a:lnTo>
                    <a:pt x="182755" y="110485"/>
                  </a:lnTo>
                  <a:lnTo>
                    <a:pt x="182241" y="112696"/>
                  </a:lnTo>
                  <a:lnTo>
                    <a:pt x="181315" y="114396"/>
                  </a:lnTo>
                  <a:lnTo>
                    <a:pt x="179976" y="115580"/>
                  </a:lnTo>
                  <a:lnTo>
                    <a:pt x="179814" y="116514"/>
                  </a:lnTo>
                  <a:lnTo>
                    <a:pt x="179473" y="117940"/>
                  </a:lnTo>
                  <a:lnTo>
                    <a:pt x="179473" y="120858"/>
                  </a:lnTo>
                  <a:lnTo>
                    <a:pt x="180424" y="122802"/>
                  </a:lnTo>
                  <a:lnTo>
                    <a:pt x="180717" y="125269"/>
                  </a:lnTo>
                  <a:lnTo>
                    <a:pt x="180194" y="127284"/>
                  </a:lnTo>
                  <a:lnTo>
                    <a:pt x="179689" y="131397"/>
                  </a:lnTo>
                  <a:lnTo>
                    <a:pt x="179626" y="132991"/>
                  </a:lnTo>
                  <a:lnTo>
                    <a:pt x="179145" y="134357"/>
                  </a:lnTo>
                  <a:lnTo>
                    <a:pt x="177974" y="135678"/>
                  </a:lnTo>
                  <a:lnTo>
                    <a:pt x="176195" y="136918"/>
                  </a:lnTo>
                  <a:lnTo>
                    <a:pt x="174016" y="138020"/>
                  </a:lnTo>
                  <a:lnTo>
                    <a:pt x="172681" y="138508"/>
                  </a:lnTo>
                  <a:lnTo>
                    <a:pt x="172368" y="138737"/>
                  </a:lnTo>
                  <a:lnTo>
                    <a:pt x="171414" y="139980"/>
                  </a:lnTo>
                  <a:lnTo>
                    <a:pt x="170268" y="141188"/>
                  </a:lnTo>
                  <a:lnTo>
                    <a:pt x="169374" y="141189"/>
                  </a:lnTo>
                  <a:lnTo>
                    <a:pt x="168704" y="140579"/>
                  </a:lnTo>
                  <a:lnTo>
                    <a:pt x="168240" y="139789"/>
                  </a:lnTo>
                  <a:lnTo>
                    <a:pt x="167959" y="138059"/>
                  </a:lnTo>
                  <a:lnTo>
                    <a:pt x="165949" y="137204"/>
                  </a:lnTo>
                  <a:lnTo>
                    <a:pt x="163742" y="136667"/>
                  </a:lnTo>
                  <a:lnTo>
                    <a:pt x="159248" y="137519"/>
                  </a:lnTo>
                  <a:lnTo>
                    <a:pt x="155618" y="137981"/>
                  </a:lnTo>
                  <a:lnTo>
                    <a:pt x="151553" y="137396"/>
                  </a:lnTo>
                  <a:lnTo>
                    <a:pt x="147717" y="138135"/>
                  </a:lnTo>
                  <a:lnTo>
                    <a:pt x="146115" y="138244"/>
                  </a:lnTo>
                  <a:lnTo>
                    <a:pt x="144275" y="138134"/>
                  </a:lnTo>
                  <a:lnTo>
                    <a:pt x="142500" y="138148"/>
                  </a:lnTo>
                  <a:lnTo>
                    <a:pt x="140809" y="137877"/>
                  </a:lnTo>
                  <a:lnTo>
                    <a:pt x="137681" y="136819"/>
                  </a:lnTo>
                  <a:lnTo>
                    <a:pt x="136486" y="136901"/>
                  </a:lnTo>
                  <a:lnTo>
                    <a:pt x="133966" y="137777"/>
                  </a:lnTo>
                  <a:lnTo>
                    <a:pt x="131336" y="138393"/>
                  </a:lnTo>
                  <a:lnTo>
                    <a:pt x="128814" y="138815"/>
                  </a:lnTo>
                  <a:lnTo>
                    <a:pt x="125091" y="140621"/>
                  </a:lnTo>
                  <a:lnTo>
                    <a:pt x="122399" y="143234"/>
                  </a:lnTo>
                  <a:lnTo>
                    <a:pt x="121602" y="145079"/>
                  </a:lnTo>
                  <a:lnTo>
                    <a:pt x="120265" y="146937"/>
                  </a:lnTo>
                  <a:lnTo>
                    <a:pt x="118410" y="149879"/>
                  </a:lnTo>
                  <a:lnTo>
                    <a:pt x="116011" y="152694"/>
                  </a:lnTo>
                  <a:lnTo>
                    <a:pt x="114337" y="153978"/>
                  </a:lnTo>
                  <a:lnTo>
                    <a:pt x="114797" y="154734"/>
                  </a:lnTo>
                  <a:lnTo>
                    <a:pt x="114385" y="155650"/>
                  </a:lnTo>
                  <a:lnTo>
                    <a:pt x="111767" y="156058"/>
                  </a:lnTo>
                  <a:lnTo>
                    <a:pt x="109730" y="156222"/>
                  </a:lnTo>
                  <a:lnTo>
                    <a:pt x="109362" y="156679"/>
                  </a:lnTo>
                  <a:lnTo>
                    <a:pt x="109606" y="162345"/>
                  </a:lnTo>
                  <a:lnTo>
                    <a:pt x="110319" y="164488"/>
                  </a:lnTo>
                  <a:lnTo>
                    <a:pt x="111638" y="167074"/>
                  </a:lnTo>
                  <a:lnTo>
                    <a:pt x="112501" y="168489"/>
                  </a:lnTo>
                  <a:lnTo>
                    <a:pt x="113143" y="172686"/>
                  </a:lnTo>
                  <a:lnTo>
                    <a:pt x="113339" y="176244"/>
                  </a:lnTo>
                  <a:lnTo>
                    <a:pt x="116216" y="178491"/>
                  </a:lnTo>
                  <a:lnTo>
                    <a:pt x="117845" y="180207"/>
                  </a:lnTo>
                  <a:lnTo>
                    <a:pt x="119002" y="181716"/>
                  </a:lnTo>
                  <a:lnTo>
                    <a:pt x="118598" y="182679"/>
                  </a:lnTo>
                  <a:lnTo>
                    <a:pt x="117909" y="185545"/>
                  </a:lnTo>
                  <a:lnTo>
                    <a:pt x="118580" y="189267"/>
                  </a:lnTo>
                  <a:lnTo>
                    <a:pt x="122593" y="197287"/>
                  </a:lnTo>
                  <a:lnTo>
                    <a:pt x="122943" y="197856"/>
                  </a:lnTo>
                  <a:lnTo>
                    <a:pt x="122465" y="197919"/>
                  </a:lnTo>
                  <a:lnTo>
                    <a:pt x="121833" y="196375"/>
                  </a:lnTo>
                  <a:lnTo>
                    <a:pt x="119796" y="193778"/>
                  </a:lnTo>
                  <a:lnTo>
                    <a:pt x="119163" y="191001"/>
                  </a:lnTo>
                  <a:lnTo>
                    <a:pt x="116773" y="187942"/>
                  </a:lnTo>
                  <a:lnTo>
                    <a:pt x="115430" y="186726"/>
                  </a:lnTo>
                  <a:lnTo>
                    <a:pt x="115002" y="187741"/>
                  </a:lnTo>
                  <a:lnTo>
                    <a:pt x="114238" y="188831"/>
                  </a:lnTo>
                  <a:lnTo>
                    <a:pt x="111891" y="187260"/>
                  </a:lnTo>
                  <a:lnTo>
                    <a:pt x="109881" y="185614"/>
                  </a:lnTo>
                  <a:lnTo>
                    <a:pt x="108021" y="182433"/>
                  </a:lnTo>
                  <a:lnTo>
                    <a:pt x="107785" y="183172"/>
                  </a:lnTo>
                  <a:lnTo>
                    <a:pt x="107369" y="183840"/>
                  </a:lnTo>
                  <a:lnTo>
                    <a:pt x="105259" y="181340"/>
                  </a:lnTo>
                  <a:lnTo>
                    <a:pt x="103052" y="179345"/>
                  </a:lnTo>
                  <a:lnTo>
                    <a:pt x="101066" y="178631"/>
                  </a:lnTo>
                  <a:lnTo>
                    <a:pt x="99839" y="177966"/>
                  </a:lnTo>
                  <a:lnTo>
                    <a:pt x="98660" y="176908"/>
                  </a:lnTo>
                  <a:lnTo>
                    <a:pt x="96182" y="175808"/>
                  </a:lnTo>
                  <a:lnTo>
                    <a:pt x="90018" y="177390"/>
                  </a:lnTo>
                  <a:lnTo>
                    <a:pt x="82175" y="176162"/>
                  </a:lnTo>
                  <a:lnTo>
                    <a:pt x="79157" y="177338"/>
                  </a:lnTo>
                  <a:lnTo>
                    <a:pt x="77919" y="176606"/>
                  </a:lnTo>
                  <a:lnTo>
                    <a:pt x="77157" y="175243"/>
                  </a:lnTo>
                  <a:lnTo>
                    <a:pt x="77889" y="172914"/>
                  </a:lnTo>
                  <a:lnTo>
                    <a:pt x="78055" y="168042"/>
                  </a:lnTo>
                  <a:lnTo>
                    <a:pt x="78988" y="164616"/>
                  </a:lnTo>
                  <a:lnTo>
                    <a:pt x="78550" y="162012"/>
                  </a:lnTo>
                  <a:lnTo>
                    <a:pt x="79008" y="160785"/>
                  </a:lnTo>
                  <a:lnTo>
                    <a:pt x="79355" y="159110"/>
                  </a:lnTo>
                  <a:lnTo>
                    <a:pt x="78114" y="158425"/>
                  </a:lnTo>
                  <a:lnTo>
                    <a:pt x="72574" y="157100"/>
                  </a:lnTo>
                  <a:lnTo>
                    <a:pt x="71400" y="156045"/>
                  </a:lnTo>
                  <a:lnTo>
                    <a:pt x="69930" y="157254"/>
                  </a:lnTo>
                  <a:lnTo>
                    <a:pt x="63279" y="157929"/>
                  </a:lnTo>
                  <a:lnTo>
                    <a:pt x="60774" y="158940"/>
                  </a:lnTo>
                  <a:lnTo>
                    <a:pt x="58454" y="160884"/>
                  </a:lnTo>
                  <a:lnTo>
                    <a:pt x="57858" y="163352"/>
                  </a:lnTo>
                  <a:lnTo>
                    <a:pt x="59197" y="164977"/>
                  </a:lnTo>
                  <a:lnTo>
                    <a:pt x="60057" y="167801"/>
                  </a:lnTo>
                  <a:lnTo>
                    <a:pt x="57671" y="173963"/>
                  </a:lnTo>
                  <a:lnTo>
                    <a:pt x="57271" y="175793"/>
                  </a:lnTo>
                  <a:lnTo>
                    <a:pt x="58193" y="183322"/>
                  </a:lnTo>
                  <a:lnTo>
                    <a:pt x="57826" y="187450"/>
                  </a:lnTo>
                  <a:lnTo>
                    <a:pt x="56527" y="190216"/>
                  </a:lnTo>
                  <a:lnTo>
                    <a:pt x="54466" y="192702"/>
                  </a:lnTo>
                  <a:lnTo>
                    <a:pt x="53617" y="196913"/>
                  </a:lnTo>
                  <a:lnTo>
                    <a:pt x="51998" y="198863"/>
                  </a:lnTo>
                  <a:lnTo>
                    <a:pt x="49828" y="203318"/>
                  </a:lnTo>
                  <a:lnTo>
                    <a:pt x="48368" y="208865"/>
                  </a:lnTo>
                  <a:lnTo>
                    <a:pt x="47329" y="211430"/>
                  </a:lnTo>
                  <a:lnTo>
                    <a:pt x="46723" y="216152"/>
                  </a:lnTo>
                  <a:lnTo>
                    <a:pt x="42253" y="223317"/>
                  </a:lnTo>
                  <a:lnTo>
                    <a:pt x="41203" y="227363"/>
                  </a:lnTo>
                  <a:lnTo>
                    <a:pt x="39605" y="228889"/>
                  </a:lnTo>
                  <a:lnTo>
                    <a:pt x="40165" y="230095"/>
                  </a:lnTo>
                  <a:lnTo>
                    <a:pt x="40259" y="232115"/>
                  </a:lnTo>
                  <a:lnTo>
                    <a:pt x="39700" y="237503"/>
                  </a:lnTo>
                  <a:lnTo>
                    <a:pt x="39511" y="241970"/>
                  </a:lnTo>
                  <a:lnTo>
                    <a:pt x="40186" y="244356"/>
                  </a:lnTo>
                  <a:lnTo>
                    <a:pt x="42331" y="249097"/>
                  </a:lnTo>
                  <a:lnTo>
                    <a:pt x="41817" y="250472"/>
                  </a:lnTo>
                  <a:lnTo>
                    <a:pt x="41570" y="252429"/>
                  </a:lnTo>
                  <a:lnTo>
                    <a:pt x="43373" y="253316"/>
                  </a:lnTo>
                  <a:lnTo>
                    <a:pt x="44665" y="253577"/>
                  </a:lnTo>
                  <a:lnTo>
                    <a:pt x="51961" y="251336"/>
                  </a:lnTo>
                  <a:lnTo>
                    <a:pt x="54431" y="251912"/>
                  </a:lnTo>
                  <a:lnTo>
                    <a:pt x="55360" y="254003"/>
                  </a:lnTo>
                  <a:lnTo>
                    <a:pt x="55961" y="255825"/>
                  </a:lnTo>
                  <a:lnTo>
                    <a:pt x="57198" y="265667"/>
                  </a:lnTo>
                  <a:lnTo>
                    <a:pt x="57837" y="267494"/>
                  </a:lnTo>
                  <a:lnTo>
                    <a:pt x="59312" y="269233"/>
                  </a:lnTo>
                  <a:lnTo>
                    <a:pt x="60927" y="271082"/>
                  </a:lnTo>
                  <a:lnTo>
                    <a:pt x="61475" y="270750"/>
                  </a:lnTo>
                  <a:lnTo>
                    <a:pt x="61581" y="270064"/>
                  </a:lnTo>
                  <a:lnTo>
                    <a:pt x="61683" y="269293"/>
                  </a:lnTo>
                  <a:lnTo>
                    <a:pt x="63125" y="271157"/>
                  </a:lnTo>
                  <a:lnTo>
                    <a:pt x="64246" y="274635"/>
                  </a:lnTo>
                  <a:lnTo>
                    <a:pt x="68096" y="293015"/>
                  </a:lnTo>
                  <a:lnTo>
                    <a:pt x="69206" y="295348"/>
                  </a:lnTo>
                  <a:lnTo>
                    <a:pt x="70124" y="297802"/>
                  </a:lnTo>
                  <a:lnTo>
                    <a:pt x="67783" y="296605"/>
                  </a:lnTo>
                  <a:lnTo>
                    <a:pt x="67151" y="292525"/>
                  </a:lnTo>
                  <a:lnTo>
                    <a:pt x="66479" y="290809"/>
                  </a:lnTo>
                  <a:lnTo>
                    <a:pt x="65652" y="290556"/>
                  </a:lnTo>
                  <a:lnTo>
                    <a:pt x="64343" y="290586"/>
                  </a:lnTo>
                  <a:lnTo>
                    <a:pt x="64259" y="289857"/>
                  </a:lnTo>
                  <a:lnTo>
                    <a:pt x="65239" y="288525"/>
                  </a:lnTo>
                  <a:lnTo>
                    <a:pt x="65086" y="286929"/>
                  </a:lnTo>
                  <a:lnTo>
                    <a:pt x="63743" y="285618"/>
                  </a:lnTo>
                  <a:lnTo>
                    <a:pt x="61567" y="286659"/>
                  </a:lnTo>
                  <a:lnTo>
                    <a:pt x="61622" y="289524"/>
                  </a:lnTo>
                  <a:lnTo>
                    <a:pt x="62598" y="291720"/>
                  </a:lnTo>
                  <a:lnTo>
                    <a:pt x="66280" y="296619"/>
                  </a:lnTo>
                  <a:lnTo>
                    <a:pt x="67434" y="298670"/>
                  </a:lnTo>
                  <a:lnTo>
                    <a:pt x="68897" y="299259"/>
                  </a:lnTo>
                  <a:lnTo>
                    <a:pt x="71031" y="298934"/>
                  </a:lnTo>
                  <a:lnTo>
                    <a:pt x="73583" y="301023"/>
                  </a:lnTo>
                  <a:lnTo>
                    <a:pt x="75594" y="302963"/>
                  </a:lnTo>
                  <a:lnTo>
                    <a:pt x="80575" y="305934"/>
                  </a:lnTo>
                  <a:lnTo>
                    <a:pt x="83594" y="305618"/>
                  </a:lnTo>
                  <a:lnTo>
                    <a:pt x="86857" y="304882"/>
                  </a:lnTo>
                  <a:lnTo>
                    <a:pt x="89045" y="305076"/>
                  </a:lnTo>
                  <a:lnTo>
                    <a:pt x="91191" y="305837"/>
                  </a:lnTo>
                  <a:lnTo>
                    <a:pt x="93763" y="308310"/>
                  </a:lnTo>
                  <a:lnTo>
                    <a:pt x="97853" y="314514"/>
                  </a:lnTo>
                  <a:lnTo>
                    <a:pt x="104528" y="319672"/>
                  </a:lnTo>
                  <a:lnTo>
                    <a:pt x="103804" y="320950"/>
                  </a:lnTo>
                  <a:lnTo>
                    <a:pt x="103512" y="322903"/>
                  </a:lnTo>
                  <a:lnTo>
                    <a:pt x="100880" y="325506"/>
                  </a:lnTo>
                  <a:lnTo>
                    <a:pt x="100461" y="327015"/>
                  </a:lnTo>
                  <a:lnTo>
                    <a:pt x="99498" y="328924"/>
                  </a:lnTo>
                  <a:lnTo>
                    <a:pt x="97665" y="329944"/>
                  </a:lnTo>
                  <a:lnTo>
                    <a:pt x="96091" y="330138"/>
                  </a:lnTo>
                  <a:lnTo>
                    <a:pt x="95182" y="329956"/>
                  </a:lnTo>
                  <a:lnTo>
                    <a:pt x="94553" y="329574"/>
                  </a:lnTo>
                  <a:lnTo>
                    <a:pt x="93478" y="327774"/>
                  </a:lnTo>
                  <a:lnTo>
                    <a:pt x="92934" y="327222"/>
                  </a:lnTo>
                  <a:lnTo>
                    <a:pt x="92476" y="327095"/>
                  </a:lnTo>
                  <a:lnTo>
                    <a:pt x="89118" y="328339"/>
                  </a:lnTo>
                  <a:lnTo>
                    <a:pt x="85864" y="329722"/>
                  </a:lnTo>
                  <a:lnTo>
                    <a:pt x="85261" y="330957"/>
                  </a:lnTo>
                  <a:lnTo>
                    <a:pt x="84395" y="332397"/>
                  </a:lnTo>
                  <a:lnTo>
                    <a:pt x="83445" y="332967"/>
                  </a:lnTo>
                  <a:lnTo>
                    <a:pt x="82700" y="333107"/>
                  </a:lnTo>
                  <a:lnTo>
                    <a:pt x="81988" y="332261"/>
                  </a:lnTo>
                  <a:lnTo>
                    <a:pt x="80737" y="331160"/>
                  </a:lnTo>
                  <a:lnTo>
                    <a:pt x="79774" y="330128"/>
                  </a:lnTo>
                  <a:lnTo>
                    <a:pt x="80020" y="328461"/>
                  </a:lnTo>
                  <a:lnTo>
                    <a:pt x="81851" y="326014"/>
                  </a:lnTo>
                  <a:lnTo>
                    <a:pt x="82093" y="324301"/>
                  </a:lnTo>
                  <a:lnTo>
                    <a:pt x="81860" y="321363"/>
                  </a:lnTo>
                  <a:lnTo>
                    <a:pt x="81363" y="319664"/>
                  </a:lnTo>
                  <a:lnTo>
                    <a:pt x="80831" y="319604"/>
                  </a:lnTo>
                  <a:lnTo>
                    <a:pt x="79932" y="319330"/>
                  </a:lnTo>
                  <a:lnTo>
                    <a:pt x="77392" y="319602"/>
                  </a:lnTo>
                  <a:lnTo>
                    <a:pt x="76123" y="317688"/>
                  </a:lnTo>
                  <a:lnTo>
                    <a:pt x="75619" y="315589"/>
                  </a:lnTo>
                  <a:lnTo>
                    <a:pt x="74752" y="314837"/>
                  </a:lnTo>
                  <a:lnTo>
                    <a:pt x="73892" y="314379"/>
                  </a:lnTo>
                  <a:lnTo>
                    <a:pt x="71988" y="315105"/>
                  </a:lnTo>
                  <a:lnTo>
                    <a:pt x="70537" y="314671"/>
                  </a:lnTo>
                  <a:lnTo>
                    <a:pt x="65706" y="312842"/>
                  </a:lnTo>
                  <a:lnTo>
                    <a:pt x="63849" y="309893"/>
                  </a:lnTo>
                  <a:lnTo>
                    <a:pt x="62857" y="309806"/>
                  </a:lnTo>
                  <a:lnTo>
                    <a:pt x="61977" y="310134"/>
                  </a:lnTo>
                  <a:lnTo>
                    <a:pt x="61633" y="310806"/>
                  </a:lnTo>
                  <a:lnTo>
                    <a:pt x="61119" y="314201"/>
                  </a:lnTo>
                  <a:lnTo>
                    <a:pt x="60702" y="315238"/>
                  </a:lnTo>
                  <a:lnTo>
                    <a:pt x="55164" y="308400"/>
                  </a:lnTo>
                  <a:lnTo>
                    <a:pt x="51346" y="305585"/>
                  </a:lnTo>
                  <a:lnTo>
                    <a:pt x="51883" y="300485"/>
                  </a:lnTo>
                  <a:lnTo>
                    <a:pt x="50722" y="299492"/>
                  </a:lnTo>
                  <a:lnTo>
                    <a:pt x="49277" y="299393"/>
                  </a:lnTo>
                  <a:lnTo>
                    <a:pt x="48184" y="297982"/>
                  </a:lnTo>
                  <a:lnTo>
                    <a:pt x="49156" y="294941"/>
                  </a:lnTo>
                  <a:lnTo>
                    <a:pt x="47656" y="295522"/>
                  </a:lnTo>
                  <a:lnTo>
                    <a:pt x="45578" y="295414"/>
                  </a:lnTo>
                  <a:lnTo>
                    <a:pt x="43885" y="294573"/>
                  </a:lnTo>
                  <a:lnTo>
                    <a:pt x="42598" y="290368"/>
                  </a:lnTo>
                  <a:lnTo>
                    <a:pt x="41786" y="289084"/>
                  </a:lnTo>
                  <a:lnTo>
                    <a:pt x="40011" y="286882"/>
                  </a:lnTo>
                  <a:lnTo>
                    <a:pt x="37673" y="286882"/>
                  </a:lnTo>
                  <a:lnTo>
                    <a:pt x="36900" y="285825"/>
                  </a:lnTo>
                  <a:lnTo>
                    <a:pt x="37085" y="283106"/>
                  </a:lnTo>
                  <a:lnTo>
                    <a:pt x="35379" y="281438"/>
                  </a:lnTo>
                  <a:lnTo>
                    <a:pt x="33136" y="280078"/>
                  </a:lnTo>
                  <a:lnTo>
                    <a:pt x="31283" y="279279"/>
                  </a:lnTo>
                  <a:lnTo>
                    <a:pt x="29400" y="274897"/>
                  </a:lnTo>
                  <a:lnTo>
                    <a:pt x="27914" y="273821"/>
                  </a:lnTo>
                  <a:lnTo>
                    <a:pt x="26651" y="272947"/>
                  </a:lnTo>
                  <a:lnTo>
                    <a:pt x="24896" y="273537"/>
                  </a:lnTo>
                  <a:lnTo>
                    <a:pt x="24325" y="275115"/>
                  </a:lnTo>
                  <a:lnTo>
                    <a:pt x="23153" y="276644"/>
                  </a:lnTo>
                  <a:lnTo>
                    <a:pt x="21821" y="276450"/>
                  </a:lnTo>
                  <a:lnTo>
                    <a:pt x="20599" y="275576"/>
                  </a:lnTo>
                  <a:lnTo>
                    <a:pt x="19110" y="271193"/>
                  </a:lnTo>
                  <a:lnTo>
                    <a:pt x="18862" y="268508"/>
                  </a:lnTo>
                  <a:lnTo>
                    <a:pt x="19191" y="263514"/>
                  </a:lnTo>
                  <a:lnTo>
                    <a:pt x="21052" y="259034"/>
                  </a:lnTo>
                  <a:lnTo>
                    <a:pt x="22056" y="251865"/>
                  </a:lnTo>
                  <a:lnTo>
                    <a:pt x="23643" y="247353"/>
                  </a:lnTo>
                  <a:lnTo>
                    <a:pt x="24744" y="245822"/>
                  </a:lnTo>
                  <a:lnTo>
                    <a:pt x="26269" y="239661"/>
                  </a:lnTo>
                  <a:lnTo>
                    <a:pt x="29379" y="231781"/>
                  </a:lnTo>
                  <a:lnTo>
                    <a:pt x="29731" y="230092"/>
                  </a:lnTo>
                  <a:lnTo>
                    <a:pt x="30358" y="228197"/>
                  </a:lnTo>
                  <a:lnTo>
                    <a:pt x="30834" y="226408"/>
                  </a:lnTo>
                  <a:lnTo>
                    <a:pt x="30989" y="223588"/>
                  </a:lnTo>
                  <a:lnTo>
                    <a:pt x="30588" y="222100"/>
                  </a:lnTo>
                  <a:lnTo>
                    <a:pt x="30588" y="221265"/>
                  </a:lnTo>
                  <a:lnTo>
                    <a:pt x="31244" y="220203"/>
                  </a:lnTo>
                  <a:lnTo>
                    <a:pt x="33460" y="218416"/>
                  </a:lnTo>
                  <a:lnTo>
                    <a:pt x="36518" y="215472"/>
                  </a:lnTo>
                  <a:lnTo>
                    <a:pt x="40160" y="211325"/>
                  </a:lnTo>
                  <a:lnTo>
                    <a:pt x="43889" y="204963"/>
                  </a:lnTo>
                  <a:lnTo>
                    <a:pt x="45744" y="201269"/>
                  </a:lnTo>
                  <a:lnTo>
                    <a:pt x="46524" y="199967"/>
                  </a:lnTo>
                  <a:lnTo>
                    <a:pt x="47349" y="199560"/>
                  </a:lnTo>
                  <a:lnTo>
                    <a:pt x="48623" y="198294"/>
                  </a:lnTo>
                  <a:lnTo>
                    <a:pt x="49500" y="196893"/>
                  </a:lnTo>
                  <a:lnTo>
                    <a:pt x="49549" y="196186"/>
                  </a:lnTo>
                  <a:lnTo>
                    <a:pt x="47519" y="189270"/>
                  </a:lnTo>
                  <a:lnTo>
                    <a:pt x="46192" y="187014"/>
                  </a:lnTo>
                  <a:lnTo>
                    <a:pt x="45518" y="184347"/>
                  </a:lnTo>
                  <a:lnTo>
                    <a:pt x="45161" y="182422"/>
                  </a:lnTo>
                  <a:lnTo>
                    <a:pt x="44674" y="180653"/>
                  </a:lnTo>
                  <a:lnTo>
                    <a:pt x="44913" y="178985"/>
                  </a:lnTo>
                  <a:lnTo>
                    <a:pt x="44181" y="177945"/>
                  </a:lnTo>
                  <a:lnTo>
                    <a:pt x="42531" y="176627"/>
                  </a:lnTo>
                  <a:lnTo>
                    <a:pt x="40817" y="174676"/>
                  </a:lnTo>
                  <a:lnTo>
                    <a:pt x="39793" y="171481"/>
                  </a:lnTo>
                  <a:lnTo>
                    <a:pt x="39793" y="169696"/>
                  </a:lnTo>
                  <a:lnTo>
                    <a:pt x="38696" y="168136"/>
                  </a:lnTo>
                  <a:lnTo>
                    <a:pt x="38332" y="166500"/>
                  </a:lnTo>
                  <a:lnTo>
                    <a:pt x="38987" y="164937"/>
                  </a:lnTo>
                  <a:lnTo>
                    <a:pt x="39852" y="163586"/>
                  </a:lnTo>
                  <a:lnTo>
                    <a:pt x="39752" y="157648"/>
                  </a:lnTo>
                  <a:lnTo>
                    <a:pt x="39407" y="155873"/>
                  </a:lnTo>
                  <a:lnTo>
                    <a:pt x="38981" y="152700"/>
                  </a:lnTo>
                  <a:lnTo>
                    <a:pt x="37863" y="150310"/>
                  </a:lnTo>
                  <a:lnTo>
                    <a:pt x="36280" y="147507"/>
                  </a:lnTo>
                  <a:lnTo>
                    <a:pt x="34488" y="145192"/>
                  </a:lnTo>
                  <a:lnTo>
                    <a:pt x="29791" y="141000"/>
                  </a:lnTo>
                  <a:lnTo>
                    <a:pt x="26449" y="138199"/>
                  </a:lnTo>
                  <a:lnTo>
                    <a:pt x="24790" y="135649"/>
                  </a:lnTo>
                  <a:lnTo>
                    <a:pt x="22693" y="132713"/>
                  </a:lnTo>
                  <a:lnTo>
                    <a:pt x="21188" y="130601"/>
                  </a:lnTo>
                  <a:lnTo>
                    <a:pt x="19283" y="127930"/>
                  </a:lnTo>
                  <a:lnTo>
                    <a:pt x="18314" y="124287"/>
                  </a:lnTo>
                  <a:lnTo>
                    <a:pt x="17779" y="120410"/>
                  </a:lnTo>
                  <a:lnTo>
                    <a:pt x="18068" y="119127"/>
                  </a:lnTo>
                  <a:lnTo>
                    <a:pt x="18978" y="118285"/>
                  </a:lnTo>
                  <a:lnTo>
                    <a:pt x="20171" y="117601"/>
                  </a:lnTo>
                  <a:lnTo>
                    <a:pt x="21127" y="117443"/>
                  </a:lnTo>
                  <a:lnTo>
                    <a:pt x="23842" y="115660"/>
                  </a:lnTo>
                  <a:lnTo>
                    <a:pt x="25725" y="115811"/>
                  </a:lnTo>
                  <a:lnTo>
                    <a:pt x="26159" y="115426"/>
                  </a:lnTo>
                  <a:lnTo>
                    <a:pt x="26342" y="114614"/>
                  </a:lnTo>
                  <a:lnTo>
                    <a:pt x="26104" y="111078"/>
                  </a:lnTo>
                  <a:lnTo>
                    <a:pt x="26187" y="106348"/>
                  </a:lnTo>
                  <a:lnTo>
                    <a:pt x="26537" y="102494"/>
                  </a:lnTo>
                  <a:lnTo>
                    <a:pt x="26943" y="99953"/>
                  </a:lnTo>
                  <a:lnTo>
                    <a:pt x="31931" y="97001"/>
                  </a:lnTo>
                  <a:lnTo>
                    <a:pt x="32982" y="95725"/>
                  </a:lnTo>
                  <a:lnTo>
                    <a:pt x="33490" y="94340"/>
                  </a:lnTo>
                  <a:lnTo>
                    <a:pt x="33485" y="93118"/>
                  </a:lnTo>
                  <a:lnTo>
                    <a:pt x="33067" y="92158"/>
                  </a:lnTo>
                  <a:lnTo>
                    <a:pt x="32317" y="91627"/>
                  </a:lnTo>
                  <a:lnTo>
                    <a:pt x="29085" y="94174"/>
                  </a:lnTo>
                  <a:lnTo>
                    <a:pt x="28455" y="93606"/>
                  </a:lnTo>
                  <a:lnTo>
                    <a:pt x="26971" y="89420"/>
                  </a:lnTo>
                  <a:lnTo>
                    <a:pt x="26332" y="88144"/>
                  </a:lnTo>
                  <a:lnTo>
                    <a:pt x="25411" y="86616"/>
                  </a:lnTo>
                  <a:lnTo>
                    <a:pt x="24416" y="84479"/>
                  </a:lnTo>
                  <a:lnTo>
                    <a:pt x="24263" y="80778"/>
                  </a:lnTo>
                  <a:lnTo>
                    <a:pt x="23548" y="78943"/>
                  </a:lnTo>
                  <a:lnTo>
                    <a:pt x="19516" y="75030"/>
                  </a:lnTo>
                  <a:lnTo>
                    <a:pt x="17705" y="72930"/>
                  </a:lnTo>
                  <a:lnTo>
                    <a:pt x="15239" y="69892"/>
                  </a:lnTo>
                  <a:lnTo>
                    <a:pt x="12280" y="66246"/>
                  </a:lnTo>
                  <a:lnTo>
                    <a:pt x="9266" y="62873"/>
                  </a:lnTo>
                  <a:lnTo>
                    <a:pt x="7854" y="60716"/>
                  </a:lnTo>
                  <a:lnTo>
                    <a:pt x="7353" y="60231"/>
                  </a:lnTo>
                  <a:lnTo>
                    <a:pt x="7178" y="59400"/>
                  </a:lnTo>
                  <a:lnTo>
                    <a:pt x="8094" y="57078"/>
                  </a:lnTo>
                  <a:lnTo>
                    <a:pt x="7647" y="54747"/>
                  </a:lnTo>
                  <a:lnTo>
                    <a:pt x="6139" y="51633"/>
                  </a:lnTo>
                  <a:lnTo>
                    <a:pt x="5496" y="49708"/>
                  </a:lnTo>
                  <a:lnTo>
                    <a:pt x="5712" y="48969"/>
                  </a:lnTo>
                  <a:lnTo>
                    <a:pt x="4984" y="48680"/>
                  </a:lnTo>
                  <a:lnTo>
                    <a:pt x="3314" y="48842"/>
                  </a:lnTo>
                  <a:lnTo>
                    <a:pt x="1700" y="47385"/>
                  </a:lnTo>
                  <a:lnTo>
                    <a:pt x="149" y="44306"/>
                  </a:lnTo>
                  <a:lnTo>
                    <a:pt x="0" y="43765"/>
                  </a:lnTo>
                  <a:lnTo>
                    <a:pt x="512" y="43775"/>
                  </a:lnTo>
                  <a:lnTo>
                    <a:pt x="2455" y="44308"/>
                  </a:lnTo>
                  <a:lnTo>
                    <a:pt x="3123" y="44227"/>
                  </a:lnTo>
                  <a:lnTo>
                    <a:pt x="4498" y="43519"/>
                  </a:lnTo>
                  <a:lnTo>
                    <a:pt x="6582" y="42775"/>
                  </a:lnTo>
                  <a:lnTo>
                    <a:pt x="7823" y="42528"/>
                  </a:lnTo>
                  <a:lnTo>
                    <a:pt x="8225" y="42158"/>
                  </a:lnTo>
                  <a:lnTo>
                    <a:pt x="8404" y="41412"/>
                  </a:lnTo>
                  <a:lnTo>
                    <a:pt x="7344" y="34292"/>
                  </a:lnTo>
                  <a:lnTo>
                    <a:pt x="7523" y="32810"/>
                  </a:lnTo>
                  <a:lnTo>
                    <a:pt x="9508" y="29739"/>
                  </a:lnTo>
                  <a:lnTo>
                    <a:pt x="9279" y="26635"/>
                  </a:lnTo>
                  <a:lnTo>
                    <a:pt x="9793" y="22181"/>
                  </a:lnTo>
                  <a:lnTo>
                    <a:pt x="11995" y="19129"/>
                  </a:lnTo>
                  <a:lnTo>
                    <a:pt x="13649" y="17732"/>
                  </a:lnTo>
                  <a:lnTo>
                    <a:pt x="14176" y="15531"/>
                  </a:lnTo>
                  <a:lnTo>
                    <a:pt x="14928" y="15066"/>
                  </a:lnTo>
                  <a:lnTo>
                    <a:pt x="16299" y="15240"/>
                  </a:lnTo>
                  <a:lnTo>
                    <a:pt x="19130" y="16882"/>
                  </a:lnTo>
                  <a:lnTo>
                    <a:pt x="20337" y="16961"/>
                  </a:lnTo>
                  <a:lnTo>
                    <a:pt x="22054" y="16917"/>
                  </a:lnTo>
                  <a:lnTo>
                    <a:pt x="23905" y="16796"/>
                  </a:lnTo>
                  <a:lnTo>
                    <a:pt x="24764" y="16638"/>
                  </a:lnTo>
                  <a:lnTo>
                    <a:pt x="30663" y="15035"/>
                  </a:lnTo>
                  <a:lnTo>
                    <a:pt x="31965" y="14865"/>
                  </a:lnTo>
                  <a:lnTo>
                    <a:pt x="33209" y="15069"/>
                  </a:lnTo>
                  <a:lnTo>
                    <a:pt x="34114" y="14993"/>
                  </a:lnTo>
                  <a:lnTo>
                    <a:pt x="35027" y="14257"/>
                  </a:lnTo>
                  <a:lnTo>
                    <a:pt x="35677" y="12959"/>
                  </a:lnTo>
                  <a:lnTo>
                    <a:pt x="36414" y="8810"/>
                  </a:lnTo>
                  <a:lnTo>
                    <a:pt x="36835" y="8078"/>
                  </a:lnTo>
                  <a:lnTo>
                    <a:pt x="37597" y="7485"/>
                  </a:lnTo>
                  <a:lnTo>
                    <a:pt x="38847" y="7089"/>
                  </a:lnTo>
                  <a:lnTo>
                    <a:pt x="40310" y="7123"/>
                  </a:lnTo>
                  <a:lnTo>
                    <a:pt x="42229" y="7921"/>
                  </a:lnTo>
                  <a:lnTo>
                    <a:pt x="43427" y="7956"/>
                  </a:lnTo>
                  <a:lnTo>
                    <a:pt x="44783" y="7621"/>
                  </a:lnTo>
                  <a:lnTo>
                    <a:pt x="45941" y="7049"/>
                  </a:lnTo>
                  <a:lnTo>
                    <a:pt x="46701" y="6323"/>
                  </a:lnTo>
                  <a:lnTo>
                    <a:pt x="47049" y="5451"/>
                  </a:lnTo>
                  <a:lnTo>
                    <a:pt x="46736" y="3773"/>
                  </a:lnTo>
                  <a:lnTo>
                    <a:pt x="45861" y="1668"/>
                  </a:lnTo>
                  <a:lnTo>
                    <a:pt x="46103" y="1414"/>
                  </a:lnTo>
                  <a:lnTo>
                    <a:pt x="47712" y="1880"/>
                  </a:lnTo>
                  <a:lnTo>
                    <a:pt x="50078" y="2395"/>
                  </a:lnTo>
                  <a:lnTo>
                    <a:pt x="51879" y="2281"/>
                  </a:lnTo>
                  <a:lnTo>
                    <a:pt x="53056" y="1915"/>
                  </a:lnTo>
                  <a:lnTo>
                    <a:pt x="54203" y="921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22" name="ee4p_TJ_1_82333">
              <a:extLst>
                <a:ext uri="{FF2B5EF4-FFF2-40B4-BE49-F238E27FC236}">
                  <a16:creationId xmlns:a16="http://schemas.microsoft.com/office/drawing/2014/main" id="{47EEA0CA-B2DC-9FCB-E3FD-D42BB10470F3}"/>
                </a:ext>
              </a:extLst>
            </p:cNvPr>
            <p:cNvSpPr>
              <a:spLocks noChangeAspect="1"/>
            </p:cNvSpPr>
            <p:nvPr>
              <p:custDataLst>
                <p:tags r:id="rId50"/>
              </p:custDataLst>
            </p:nvPr>
          </p:nvSpPr>
          <p:spPr>
            <a:xfrm>
              <a:off x="8384955" y="3435377"/>
              <a:ext cx="215744" cy="144969"/>
            </a:xfrm>
            <a:custGeom>
              <a:avLst/>
              <a:gdLst>
                <a:gd name="connsiteX0" fmla="*/ 69282 w 171792"/>
                <a:gd name="connsiteY0" fmla="*/ 30169 h 112376"/>
                <a:gd name="connsiteX1" fmla="*/ 69612 w 171792"/>
                <a:gd name="connsiteY1" fmla="*/ 30177 h 112376"/>
                <a:gd name="connsiteX2" fmla="*/ 71145 w 171792"/>
                <a:gd name="connsiteY2" fmla="*/ 30589 h 112376"/>
                <a:gd name="connsiteX3" fmla="*/ 73292 w 171792"/>
                <a:gd name="connsiteY3" fmla="*/ 30879 h 112376"/>
                <a:gd name="connsiteX4" fmla="*/ 74045 w 171792"/>
                <a:gd name="connsiteY4" fmla="*/ 31129 h 112376"/>
                <a:gd name="connsiteX5" fmla="*/ 74121 w 171792"/>
                <a:gd name="connsiteY5" fmla="*/ 31665 h 112376"/>
                <a:gd name="connsiteX6" fmla="*/ 72141 w 171792"/>
                <a:gd name="connsiteY6" fmla="*/ 32668 h 112376"/>
                <a:gd name="connsiteX7" fmla="*/ 70979 w 171792"/>
                <a:gd name="connsiteY7" fmla="*/ 32560 h 112376"/>
                <a:gd name="connsiteX8" fmla="*/ 70074 w 171792"/>
                <a:gd name="connsiteY8" fmla="*/ 31590 h 112376"/>
                <a:gd name="connsiteX9" fmla="*/ 69424 w 171792"/>
                <a:gd name="connsiteY9" fmla="*/ 30682 h 112376"/>
                <a:gd name="connsiteX10" fmla="*/ 71256 w 171792"/>
                <a:gd name="connsiteY10" fmla="*/ 271 h 112376"/>
                <a:gd name="connsiteX11" fmla="*/ 72279 w 171792"/>
                <a:gd name="connsiteY11" fmla="*/ 880 h 112376"/>
                <a:gd name="connsiteX12" fmla="*/ 72961 w 171792"/>
                <a:gd name="connsiteY12" fmla="*/ 1954 h 112376"/>
                <a:gd name="connsiteX13" fmla="*/ 73035 w 171792"/>
                <a:gd name="connsiteY13" fmla="*/ 2590 h 112376"/>
                <a:gd name="connsiteX14" fmla="*/ 72376 w 171792"/>
                <a:gd name="connsiteY14" fmla="*/ 2648 h 112376"/>
                <a:gd name="connsiteX15" fmla="*/ 71182 w 171792"/>
                <a:gd name="connsiteY15" fmla="*/ 1401 h 112376"/>
                <a:gd name="connsiteX16" fmla="*/ 70767 w 171792"/>
                <a:gd name="connsiteY16" fmla="*/ 532 h 112376"/>
                <a:gd name="connsiteX17" fmla="*/ 67494 w 171792"/>
                <a:gd name="connsiteY17" fmla="*/ 0 h 112376"/>
                <a:gd name="connsiteX18" fmla="*/ 68368 w 171792"/>
                <a:gd name="connsiteY18" fmla="*/ 307 h 112376"/>
                <a:gd name="connsiteX19" fmla="*/ 71392 w 171792"/>
                <a:gd name="connsiteY19" fmla="*/ 3251 h 112376"/>
                <a:gd name="connsiteX20" fmla="*/ 73141 w 171792"/>
                <a:gd name="connsiteY20" fmla="*/ 5139 h 112376"/>
                <a:gd name="connsiteX21" fmla="*/ 73141 w 171792"/>
                <a:gd name="connsiteY21" fmla="*/ 5784 h 112376"/>
                <a:gd name="connsiteX22" fmla="*/ 72642 w 171792"/>
                <a:gd name="connsiteY22" fmla="*/ 6270 h 112376"/>
                <a:gd name="connsiteX23" fmla="*/ 72739 w 171792"/>
                <a:gd name="connsiteY23" fmla="*/ 6743 h 112376"/>
                <a:gd name="connsiteX24" fmla="*/ 75212 w 171792"/>
                <a:gd name="connsiteY24" fmla="*/ 7766 h 112376"/>
                <a:gd name="connsiteX25" fmla="*/ 75213 w 171792"/>
                <a:gd name="connsiteY25" fmla="*/ 8233 h 112376"/>
                <a:gd name="connsiteX26" fmla="*/ 74650 w 171792"/>
                <a:gd name="connsiteY26" fmla="*/ 9125 h 112376"/>
                <a:gd name="connsiteX27" fmla="*/ 74350 w 171792"/>
                <a:gd name="connsiteY27" fmla="*/ 9616 h 112376"/>
                <a:gd name="connsiteX28" fmla="*/ 74048 w 171792"/>
                <a:gd name="connsiteY28" fmla="*/ 9823 h 112376"/>
                <a:gd name="connsiteX29" fmla="*/ 70741 w 171792"/>
                <a:gd name="connsiteY29" fmla="*/ 12402 h 112376"/>
                <a:gd name="connsiteX30" fmla="*/ 67066 w 171792"/>
                <a:gd name="connsiteY30" fmla="*/ 15264 h 112376"/>
                <a:gd name="connsiteX31" fmla="*/ 66945 w 171792"/>
                <a:gd name="connsiteY31" fmla="*/ 15637 h 112376"/>
                <a:gd name="connsiteX32" fmla="*/ 66781 w 171792"/>
                <a:gd name="connsiteY32" fmla="*/ 16350 h 112376"/>
                <a:gd name="connsiteX33" fmla="*/ 66822 w 171792"/>
                <a:gd name="connsiteY33" fmla="*/ 17080 h 112376"/>
                <a:gd name="connsiteX34" fmla="*/ 67412 w 171792"/>
                <a:gd name="connsiteY34" fmla="*/ 17675 h 112376"/>
                <a:gd name="connsiteX35" fmla="*/ 68997 w 171792"/>
                <a:gd name="connsiteY35" fmla="*/ 18094 h 112376"/>
                <a:gd name="connsiteX36" fmla="*/ 70404 w 171792"/>
                <a:gd name="connsiteY36" fmla="*/ 18639 h 112376"/>
                <a:gd name="connsiteX37" fmla="*/ 71117 w 171792"/>
                <a:gd name="connsiteY37" fmla="*/ 20139 h 112376"/>
                <a:gd name="connsiteX38" fmla="*/ 71933 w 171792"/>
                <a:gd name="connsiteY38" fmla="*/ 21523 h 112376"/>
                <a:gd name="connsiteX39" fmla="*/ 73048 w 171792"/>
                <a:gd name="connsiteY39" fmla="*/ 21863 h 112376"/>
                <a:gd name="connsiteX40" fmla="*/ 78493 w 171792"/>
                <a:gd name="connsiteY40" fmla="*/ 20990 h 112376"/>
                <a:gd name="connsiteX41" fmla="*/ 79789 w 171792"/>
                <a:gd name="connsiteY41" fmla="*/ 20878 h 112376"/>
                <a:gd name="connsiteX42" fmla="*/ 79854 w 171792"/>
                <a:gd name="connsiteY42" fmla="*/ 21354 h 112376"/>
                <a:gd name="connsiteX43" fmla="*/ 79533 w 171792"/>
                <a:gd name="connsiteY43" fmla="*/ 22217 h 112376"/>
                <a:gd name="connsiteX44" fmla="*/ 74937 w 171792"/>
                <a:gd name="connsiteY44" fmla="*/ 23691 h 112376"/>
                <a:gd name="connsiteX45" fmla="*/ 72853 w 171792"/>
                <a:gd name="connsiteY45" fmla="*/ 24936 h 112376"/>
                <a:gd name="connsiteX46" fmla="*/ 72406 w 171792"/>
                <a:gd name="connsiteY46" fmla="*/ 27140 h 112376"/>
                <a:gd name="connsiteX47" fmla="*/ 71856 w 171792"/>
                <a:gd name="connsiteY47" fmla="*/ 27777 h 112376"/>
                <a:gd name="connsiteX48" fmla="*/ 70919 w 171792"/>
                <a:gd name="connsiteY48" fmla="*/ 28299 h 112376"/>
                <a:gd name="connsiteX49" fmla="*/ 69997 w 171792"/>
                <a:gd name="connsiteY49" fmla="*/ 28419 h 112376"/>
                <a:gd name="connsiteX50" fmla="*/ 68586 w 171792"/>
                <a:gd name="connsiteY50" fmla="*/ 25829 h 112376"/>
                <a:gd name="connsiteX51" fmla="*/ 66984 w 171792"/>
                <a:gd name="connsiteY51" fmla="*/ 25290 h 112376"/>
                <a:gd name="connsiteX52" fmla="*/ 64674 w 171792"/>
                <a:gd name="connsiteY52" fmla="*/ 24378 h 112376"/>
                <a:gd name="connsiteX53" fmla="*/ 60186 w 171792"/>
                <a:gd name="connsiteY53" fmla="*/ 22605 h 112376"/>
                <a:gd name="connsiteX54" fmla="*/ 57872 w 171792"/>
                <a:gd name="connsiteY54" fmla="*/ 21835 h 112376"/>
                <a:gd name="connsiteX55" fmla="*/ 53415 w 171792"/>
                <a:gd name="connsiteY55" fmla="*/ 22990 h 112376"/>
                <a:gd name="connsiteX56" fmla="*/ 48219 w 171792"/>
                <a:gd name="connsiteY56" fmla="*/ 24574 h 112376"/>
                <a:gd name="connsiteX57" fmla="*/ 47409 w 171792"/>
                <a:gd name="connsiteY57" fmla="*/ 25539 h 112376"/>
                <a:gd name="connsiteX58" fmla="*/ 46859 w 171792"/>
                <a:gd name="connsiteY58" fmla="*/ 26572 h 112376"/>
                <a:gd name="connsiteX59" fmla="*/ 46908 w 171792"/>
                <a:gd name="connsiteY59" fmla="*/ 27357 h 112376"/>
                <a:gd name="connsiteX60" fmla="*/ 47282 w 171792"/>
                <a:gd name="connsiteY60" fmla="*/ 28405 h 112376"/>
                <a:gd name="connsiteX61" fmla="*/ 47025 w 171792"/>
                <a:gd name="connsiteY61" fmla="*/ 29205 h 112376"/>
                <a:gd name="connsiteX62" fmla="*/ 46045 w 171792"/>
                <a:gd name="connsiteY62" fmla="*/ 29465 h 112376"/>
                <a:gd name="connsiteX63" fmla="*/ 44574 w 171792"/>
                <a:gd name="connsiteY63" fmla="*/ 28493 h 112376"/>
                <a:gd name="connsiteX64" fmla="*/ 43287 w 171792"/>
                <a:gd name="connsiteY64" fmla="*/ 27933 h 112376"/>
                <a:gd name="connsiteX65" fmla="*/ 42658 w 171792"/>
                <a:gd name="connsiteY65" fmla="*/ 29256 h 112376"/>
                <a:gd name="connsiteX66" fmla="*/ 41905 w 171792"/>
                <a:gd name="connsiteY66" fmla="*/ 31618 h 112376"/>
                <a:gd name="connsiteX67" fmla="*/ 41560 w 171792"/>
                <a:gd name="connsiteY67" fmla="*/ 33336 h 112376"/>
                <a:gd name="connsiteX68" fmla="*/ 42691 w 171792"/>
                <a:gd name="connsiteY68" fmla="*/ 35812 h 112376"/>
                <a:gd name="connsiteX69" fmla="*/ 43076 w 171792"/>
                <a:gd name="connsiteY69" fmla="*/ 39478 h 112376"/>
                <a:gd name="connsiteX70" fmla="*/ 45151 w 171792"/>
                <a:gd name="connsiteY70" fmla="*/ 39279 h 112376"/>
                <a:gd name="connsiteX71" fmla="*/ 46738 w 171792"/>
                <a:gd name="connsiteY71" fmla="*/ 39289 h 112376"/>
                <a:gd name="connsiteX72" fmla="*/ 49735 w 171792"/>
                <a:gd name="connsiteY72" fmla="*/ 38206 h 112376"/>
                <a:gd name="connsiteX73" fmla="*/ 51242 w 171792"/>
                <a:gd name="connsiteY73" fmla="*/ 38177 h 112376"/>
                <a:gd name="connsiteX74" fmla="*/ 53566 w 171792"/>
                <a:gd name="connsiteY74" fmla="*/ 38648 h 112376"/>
                <a:gd name="connsiteX75" fmla="*/ 57632 w 171792"/>
                <a:gd name="connsiteY75" fmla="*/ 38743 h 112376"/>
                <a:gd name="connsiteX76" fmla="*/ 60853 w 171792"/>
                <a:gd name="connsiteY76" fmla="*/ 38548 h 112376"/>
                <a:gd name="connsiteX77" fmla="*/ 61631 w 171792"/>
                <a:gd name="connsiteY77" fmla="*/ 38627 h 112376"/>
                <a:gd name="connsiteX78" fmla="*/ 62389 w 171792"/>
                <a:gd name="connsiteY78" fmla="*/ 37936 h 112376"/>
                <a:gd name="connsiteX79" fmla="*/ 63233 w 171792"/>
                <a:gd name="connsiteY79" fmla="*/ 38174 h 112376"/>
                <a:gd name="connsiteX80" fmla="*/ 64020 w 171792"/>
                <a:gd name="connsiteY80" fmla="*/ 39015 h 112376"/>
                <a:gd name="connsiteX81" fmla="*/ 67276 w 171792"/>
                <a:gd name="connsiteY81" fmla="*/ 37995 h 112376"/>
                <a:gd name="connsiteX82" fmla="*/ 69688 w 171792"/>
                <a:gd name="connsiteY82" fmla="*/ 37853 h 112376"/>
                <a:gd name="connsiteX83" fmla="*/ 71165 w 171792"/>
                <a:gd name="connsiteY83" fmla="*/ 38151 h 112376"/>
                <a:gd name="connsiteX84" fmla="*/ 72046 w 171792"/>
                <a:gd name="connsiteY84" fmla="*/ 38449 h 112376"/>
                <a:gd name="connsiteX85" fmla="*/ 73611 w 171792"/>
                <a:gd name="connsiteY85" fmla="*/ 40867 h 112376"/>
                <a:gd name="connsiteX86" fmla="*/ 74816 w 171792"/>
                <a:gd name="connsiteY86" fmla="*/ 42372 h 112376"/>
                <a:gd name="connsiteX87" fmla="*/ 76280 w 171792"/>
                <a:gd name="connsiteY87" fmla="*/ 42854 h 112376"/>
                <a:gd name="connsiteX88" fmla="*/ 80826 w 171792"/>
                <a:gd name="connsiteY88" fmla="*/ 42409 h 112376"/>
                <a:gd name="connsiteX89" fmla="*/ 82156 w 171792"/>
                <a:gd name="connsiteY89" fmla="*/ 40293 h 112376"/>
                <a:gd name="connsiteX90" fmla="*/ 83328 w 171792"/>
                <a:gd name="connsiteY90" fmla="*/ 39769 h 112376"/>
                <a:gd name="connsiteX91" fmla="*/ 85201 w 171792"/>
                <a:gd name="connsiteY91" fmla="*/ 39607 h 112376"/>
                <a:gd name="connsiteX92" fmla="*/ 86751 w 171792"/>
                <a:gd name="connsiteY92" fmla="*/ 39205 h 112376"/>
                <a:gd name="connsiteX93" fmla="*/ 87982 w 171792"/>
                <a:gd name="connsiteY93" fmla="*/ 38338 h 112376"/>
                <a:gd name="connsiteX94" fmla="*/ 89658 w 171792"/>
                <a:gd name="connsiteY94" fmla="*/ 37580 h 112376"/>
                <a:gd name="connsiteX95" fmla="*/ 91118 w 171792"/>
                <a:gd name="connsiteY95" fmla="*/ 37429 h 112376"/>
                <a:gd name="connsiteX96" fmla="*/ 91841 w 171792"/>
                <a:gd name="connsiteY96" fmla="*/ 37988 h 112376"/>
                <a:gd name="connsiteX97" fmla="*/ 92158 w 171792"/>
                <a:gd name="connsiteY97" fmla="*/ 38723 h 112376"/>
                <a:gd name="connsiteX98" fmla="*/ 91904 w 171792"/>
                <a:gd name="connsiteY98" fmla="*/ 39678 h 112376"/>
                <a:gd name="connsiteX99" fmla="*/ 91847 w 171792"/>
                <a:gd name="connsiteY99" fmla="*/ 40672 h 112376"/>
                <a:gd name="connsiteX100" fmla="*/ 92797 w 171792"/>
                <a:gd name="connsiteY100" fmla="*/ 41340 h 112376"/>
                <a:gd name="connsiteX101" fmla="*/ 95592 w 171792"/>
                <a:gd name="connsiteY101" fmla="*/ 41495 h 112376"/>
                <a:gd name="connsiteX102" fmla="*/ 96909 w 171792"/>
                <a:gd name="connsiteY102" fmla="*/ 42120 h 112376"/>
                <a:gd name="connsiteX103" fmla="*/ 96978 w 171792"/>
                <a:gd name="connsiteY103" fmla="*/ 43294 h 112376"/>
                <a:gd name="connsiteX104" fmla="*/ 96764 w 171792"/>
                <a:gd name="connsiteY104" fmla="*/ 45139 h 112376"/>
                <a:gd name="connsiteX105" fmla="*/ 97935 w 171792"/>
                <a:gd name="connsiteY105" fmla="*/ 45880 h 112376"/>
                <a:gd name="connsiteX106" fmla="*/ 98539 w 171792"/>
                <a:gd name="connsiteY106" fmla="*/ 45942 h 112376"/>
                <a:gd name="connsiteX107" fmla="*/ 102631 w 171792"/>
                <a:gd name="connsiteY107" fmla="*/ 43989 h 112376"/>
                <a:gd name="connsiteX108" fmla="*/ 103776 w 171792"/>
                <a:gd name="connsiteY108" fmla="*/ 43958 h 112376"/>
                <a:gd name="connsiteX109" fmla="*/ 104692 w 171792"/>
                <a:gd name="connsiteY109" fmla="*/ 45034 h 112376"/>
                <a:gd name="connsiteX110" fmla="*/ 106088 w 171792"/>
                <a:gd name="connsiteY110" fmla="*/ 46327 h 112376"/>
                <a:gd name="connsiteX111" fmla="*/ 107915 w 171792"/>
                <a:gd name="connsiteY111" fmla="*/ 47706 h 112376"/>
                <a:gd name="connsiteX112" fmla="*/ 108354 w 171792"/>
                <a:gd name="connsiteY112" fmla="*/ 47494 h 112376"/>
                <a:gd name="connsiteX113" fmla="*/ 109181 w 171792"/>
                <a:gd name="connsiteY113" fmla="*/ 45990 h 112376"/>
                <a:gd name="connsiteX114" fmla="*/ 110740 w 171792"/>
                <a:gd name="connsiteY114" fmla="*/ 44354 h 112376"/>
                <a:gd name="connsiteX115" fmla="*/ 113670 w 171792"/>
                <a:gd name="connsiteY115" fmla="*/ 43822 h 112376"/>
                <a:gd name="connsiteX116" fmla="*/ 115287 w 171792"/>
                <a:gd name="connsiteY116" fmla="*/ 43308 h 112376"/>
                <a:gd name="connsiteX117" fmla="*/ 116980 w 171792"/>
                <a:gd name="connsiteY117" fmla="*/ 43080 h 112376"/>
                <a:gd name="connsiteX118" fmla="*/ 122122 w 171792"/>
                <a:gd name="connsiteY118" fmla="*/ 43744 h 112376"/>
                <a:gd name="connsiteX119" fmla="*/ 123824 w 171792"/>
                <a:gd name="connsiteY119" fmla="*/ 43830 h 112376"/>
                <a:gd name="connsiteX120" fmla="*/ 127358 w 171792"/>
                <a:gd name="connsiteY120" fmla="*/ 43705 h 112376"/>
                <a:gd name="connsiteX121" fmla="*/ 130138 w 171792"/>
                <a:gd name="connsiteY121" fmla="*/ 43376 h 112376"/>
                <a:gd name="connsiteX122" fmla="*/ 132375 w 171792"/>
                <a:gd name="connsiteY122" fmla="*/ 42396 h 112376"/>
                <a:gd name="connsiteX123" fmla="*/ 133508 w 171792"/>
                <a:gd name="connsiteY123" fmla="*/ 41608 h 112376"/>
                <a:gd name="connsiteX124" fmla="*/ 135344 w 171792"/>
                <a:gd name="connsiteY124" fmla="*/ 41145 h 112376"/>
                <a:gd name="connsiteX125" fmla="*/ 137669 w 171792"/>
                <a:gd name="connsiteY125" fmla="*/ 41222 h 112376"/>
                <a:gd name="connsiteX126" fmla="*/ 138909 w 171792"/>
                <a:gd name="connsiteY126" fmla="*/ 41449 h 112376"/>
                <a:gd name="connsiteX127" fmla="*/ 139013 w 171792"/>
                <a:gd name="connsiteY127" fmla="*/ 42803 h 112376"/>
                <a:gd name="connsiteX128" fmla="*/ 138721 w 171792"/>
                <a:gd name="connsiteY128" fmla="*/ 45365 h 112376"/>
                <a:gd name="connsiteX129" fmla="*/ 138371 w 171792"/>
                <a:gd name="connsiteY129" fmla="*/ 47144 h 112376"/>
                <a:gd name="connsiteX130" fmla="*/ 140209 w 171792"/>
                <a:gd name="connsiteY130" fmla="*/ 50371 h 112376"/>
                <a:gd name="connsiteX131" fmla="*/ 141388 w 171792"/>
                <a:gd name="connsiteY131" fmla="*/ 51923 h 112376"/>
                <a:gd name="connsiteX132" fmla="*/ 142535 w 171792"/>
                <a:gd name="connsiteY132" fmla="*/ 53019 h 112376"/>
                <a:gd name="connsiteX133" fmla="*/ 142748 w 171792"/>
                <a:gd name="connsiteY133" fmla="*/ 53885 h 112376"/>
                <a:gd name="connsiteX134" fmla="*/ 142511 w 171792"/>
                <a:gd name="connsiteY134" fmla="*/ 54592 h 112376"/>
                <a:gd name="connsiteX135" fmla="*/ 141083 w 171792"/>
                <a:gd name="connsiteY135" fmla="*/ 55279 h 112376"/>
                <a:gd name="connsiteX136" fmla="*/ 140571 w 171792"/>
                <a:gd name="connsiteY136" fmla="*/ 56014 h 112376"/>
                <a:gd name="connsiteX137" fmla="*/ 140334 w 171792"/>
                <a:gd name="connsiteY137" fmla="*/ 56839 h 112376"/>
                <a:gd name="connsiteX138" fmla="*/ 140792 w 171792"/>
                <a:gd name="connsiteY138" fmla="*/ 57796 h 112376"/>
                <a:gd name="connsiteX139" fmla="*/ 141617 w 171792"/>
                <a:gd name="connsiteY139" fmla="*/ 60848 h 112376"/>
                <a:gd name="connsiteX140" fmla="*/ 142668 w 171792"/>
                <a:gd name="connsiteY140" fmla="*/ 63220 h 112376"/>
                <a:gd name="connsiteX141" fmla="*/ 144160 w 171792"/>
                <a:gd name="connsiteY141" fmla="*/ 64354 h 112376"/>
                <a:gd name="connsiteX142" fmla="*/ 146391 w 171792"/>
                <a:gd name="connsiteY142" fmla="*/ 65106 h 112376"/>
                <a:gd name="connsiteX143" fmla="*/ 147620 w 171792"/>
                <a:gd name="connsiteY143" fmla="*/ 64947 h 112376"/>
                <a:gd name="connsiteX144" fmla="*/ 148499 w 171792"/>
                <a:gd name="connsiteY144" fmla="*/ 63179 h 112376"/>
                <a:gd name="connsiteX145" fmla="*/ 149959 w 171792"/>
                <a:gd name="connsiteY145" fmla="*/ 61821 h 112376"/>
                <a:gd name="connsiteX146" fmla="*/ 151196 w 171792"/>
                <a:gd name="connsiteY146" fmla="*/ 61916 h 112376"/>
                <a:gd name="connsiteX147" fmla="*/ 153189 w 171792"/>
                <a:gd name="connsiteY147" fmla="*/ 61857 h 112376"/>
                <a:gd name="connsiteX148" fmla="*/ 158421 w 171792"/>
                <a:gd name="connsiteY148" fmla="*/ 63398 h 112376"/>
                <a:gd name="connsiteX149" fmla="*/ 163528 w 171792"/>
                <a:gd name="connsiteY149" fmla="*/ 65715 h 112376"/>
                <a:gd name="connsiteX150" fmla="*/ 165016 w 171792"/>
                <a:gd name="connsiteY150" fmla="*/ 66995 h 112376"/>
                <a:gd name="connsiteX151" fmla="*/ 165539 w 171792"/>
                <a:gd name="connsiteY151" fmla="*/ 68436 h 112376"/>
                <a:gd name="connsiteX152" fmla="*/ 164126 w 171792"/>
                <a:gd name="connsiteY152" fmla="*/ 71766 h 112376"/>
                <a:gd name="connsiteX153" fmla="*/ 164193 w 171792"/>
                <a:gd name="connsiteY153" fmla="*/ 73895 h 112376"/>
                <a:gd name="connsiteX154" fmla="*/ 164515 w 171792"/>
                <a:gd name="connsiteY154" fmla="*/ 76160 h 112376"/>
                <a:gd name="connsiteX155" fmla="*/ 165683 w 171792"/>
                <a:gd name="connsiteY155" fmla="*/ 77841 h 112376"/>
                <a:gd name="connsiteX156" fmla="*/ 166752 w 171792"/>
                <a:gd name="connsiteY156" fmla="*/ 80720 h 112376"/>
                <a:gd name="connsiteX157" fmla="*/ 166961 w 171792"/>
                <a:gd name="connsiteY157" fmla="*/ 83104 h 112376"/>
                <a:gd name="connsiteX158" fmla="*/ 167426 w 171792"/>
                <a:gd name="connsiteY158" fmla="*/ 83814 h 112376"/>
                <a:gd name="connsiteX159" fmla="*/ 167802 w 171792"/>
                <a:gd name="connsiteY159" fmla="*/ 84645 h 112376"/>
                <a:gd name="connsiteX160" fmla="*/ 167227 w 171792"/>
                <a:gd name="connsiteY160" fmla="*/ 86824 h 112376"/>
                <a:gd name="connsiteX161" fmla="*/ 166828 w 171792"/>
                <a:gd name="connsiteY161" fmla="*/ 89020 h 112376"/>
                <a:gd name="connsiteX162" fmla="*/ 167305 w 171792"/>
                <a:gd name="connsiteY162" fmla="*/ 89751 h 112376"/>
                <a:gd name="connsiteX163" fmla="*/ 168866 w 171792"/>
                <a:gd name="connsiteY163" fmla="*/ 90835 h 112376"/>
                <a:gd name="connsiteX164" fmla="*/ 171321 w 171792"/>
                <a:gd name="connsiteY164" fmla="*/ 92854 h 112376"/>
                <a:gd name="connsiteX165" fmla="*/ 171792 w 171792"/>
                <a:gd name="connsiteY165" fmla="*/ 94527 h 112376"/>
                <a:gd name="connsiteX166" fmla="*/ 170913 w 171792"/>
                <a:gd name="connsiteY166" fmla="*/ 95590 h 112376"/>
                <a:gd name="connsiteX167" fmla="*/ 169352 w 171792"/>
                <a:gd name="connsiteY167" fmla="*/ 96877 h 112376"/>
                <a:gd name="connsiteX168" fmla="*/ 167357 w 171792"/>
                <a:gd name="connsiteY168" fmla="*/ 97987 h 112376"/>
                <a:gd name="connsiteX169" fmla="*/ 166763 w 171792"/>
                <a:gd name="connsiteY169" fmla="*/ 98455 h 112376"/>
                <a:gd name="connsiteX170" fmla="*/ 166411 w 171792"/>
                <a:gd name="connsiteY170" fmla="*/ 98191 h 112376"/>
                <a:gd name="connsiteX171" fmla="*/ 165418 w 171792"/>
                <a:gd name="connsiteY171" fmla="*/ 97071 h 112376"/>
                <a:gd name="connsiteX172" fmla="*/ 163208 w 171792"/>
                <a:gd name="connsiteY172" fmla="*/ 95258 h 112376"/>
                <a:gd name="connsiteX173" fmla="*/ 161635 w 171792"/>
                <a:gd name="connsiteY173" fmla="*/ 94303 h 112376"/>
                <a:gd name="connsiteX174" fmla="*/ 158646 w 171792"/>
                <a:gd name="connsiteY174" fmla="*/ 94612 h 112376"/>
                <a:gd name="connsiteX175" fmla="*/ 156892 w 171792"/>
                <a:gd name="connsiteY175" fmla="*/ 94275 h 112376"/>
                <a:gd name="connsiteX176" fmla="*/ 154772 w 171792"/>
                <a:gd name="connsiteY176" fmla="*/ 93684 h 112376"/>
                <a:gd name="connsiteX177" fmla="*/ 152796 w 171792"/>
                <a:gd name="connsiteY177" fmla="*/ 93769 h 112376"/>
                <a:gd name="connsiteX178" fmla="*/ 151555 w 171792"/>
                <a:gd name="connsiteY178" fmla="*/ 94865 h 112376"/>
                <a:gd name="connsiteX179" fmla="*/ 150749 w 171792"/>
                <a:gd name="connsiteY179" fmla="*/ 95962 h 112376"/>
                <a:gd name="connsiteX180" fmla="*/ 148773 w 171792"/>
                <a:gd name="connsiteY180" fmla="*/ 96299 h 112376"/>
                <a:gd name="connsiteX181" fmla="*/ 145923 w 171792"/>
                <a:gd name="connsiteY181" fmla="*/ 97142 h 112376"/>
                <a:gd name="connsiteX182" fmla="*/ 141518 w 171792"/>
                <a:gd name="connsiteY182" fmla="*/ 98451 h 112376"/>
                <a:gd name="connsiteX183" fmla="*/ 139392 w 171792"/>
                <a:gd name="connsiteY183" fmla="*/ 98258 h 112376"/>
                <a:gd name="connsiteX184" fmla="*/ 138818 w 171792"/>
                <a:gd name="connsiteY184" fmla="*/ 97692 h 112376"/>
                <a:gd name="connsiteX185" fmla="*/ 139289 w 171792"/>
                <a:gd name="connsiteY185" fmla="*/ 96937 h 112376"/>
                <a:gd name="connsiteX186" fmla="*/ 140803 w 171792"/>
                <a:gd name="connsiteY186" fmla="*/ 95962 h 112376"/>
                <a:gd name="connsiteX187" fmla="*/ 141168 w 171792"/>
                <a:gd name="connsiteY187" fmla="*/ 94780 h 112376"/>
                <a:gd name="connsiteX188" fmla="*/ 140876 w 171792"/>
                <a:gd name="connsiteY188" fmla="*/ 93684 h 112376"/>
                <a:gd name="connsiteX189" fmla="*/ 139473 w 171792"/>
                <a:gd name="connsiteY189" fmla="*/ 93385 h 112376"/>
                <a:gd name="connsiteX190" fmla="*/ 138931 w 171792"/>
                <a:gd name="connsiteY190" fmla="*/ 93213 h 112376"/>
                <a:gd name="connsiteX191" fmla="*/ 138313 w 171792"/>
                <a:gd name="connsiteY191" fmla="*/ 92988 h 112376"/>
                <a:gd name="connsiteX192" fmla="*/ 135586 w 171792"/>
                <a:gd name="connsiteY192" fmla="*/ 92333 h 112376"/>
                <a:gd name="connsiteX193" fmla="*/ 133409 w 171792"/>
                <a:gd name="connsiteY193" fmla="*/ 92574 h 112376"/>
                <a:gd name="connsiteX194" fmla="*/ 129611 w 171792"/>
                <a:gd name="connsiteY194" fmla="*/ 93946 h 112376"/>
                <a:gd name="connsiteX195" fmla="*/ 122632 w 171792"/>
                <a:gd name="connsiteY195" fmla="*/ 97540 h 112376"/>
                <a:gd name="connsiteX196" fmla="*/ 119570 w 171792"/>
                <a:gd name="connsiteY196" fmla="*/ 99956 h 112376"/>
                <a:gd name="connsiteX197" fmla="*/ 117367 w 171792"/>
                <a:gd name="connsiteY197" fmla="*/ 103612 h 112376"/>
                <a:gd name="connsiteX198" fmla="*/ 110764 w 171792"/>
                <a:gd name="connsiteY198" fmla="*/ 104786 h 112376"/>
                <a:gd name="connsiteX199" fmla="*/ 106224 w 171792"/>
                <a:gd name="connsiteY199" fmla="*/ 106879 h 112376"/>
                <a:gd name="connsiteX200" fmla="*/ 101547 w 171792"/>
                <a:gd name="connsiteY200" fmla="*/ 110285 h 112376"/>
                <a:gd name="connsiteX201" fmla="*/ 98453 w 171792"/>
                <a:gd name="connsiteY201" fmla="*/ 112116 h 112376"/>
                <a:gd name="connsiteX202" fmla="*/ 96944 w 171792"/>
                <a:gd name="connsiteY202" fmla="*/ 112376 h 112376"/>
                <a:gd name="connsiteX203" fmla="*/ 95436 w 171792"/>
                <a:gd name="connsiteY203" fmla="*/ 112050 h 112376"/>
                <a:gd name="connsiteX204" fmla="*/ 93929 w 171792"/>
                <a:gd name="connsiteY204" fmla="*/ 111136 h 112376"/>
                <a:gd name="connsiteX205" fmla="*/ 92456 w 171792"/>
                <a:gd name="connsiteY205" fmla="*/ 108287 h 112376"/>
                <a:gd name="connsiteX206" fmla="*/ 91152 w 171792"/>
                <a:gd name="connsiteY206" fmla="*/ 103968 h 112376"/>
                <a:gd name="connsiteX207" fmla="*/ 90290 w 171792"/>
                <a:gd name="connsiteY207" fmla="*/ 101106 h 112376"/>
                <a:gd name="connsiteX208" fmla="*/ 90774 w 171792"/>
                <a:gd name="connsiteY208" fmla="*/ 97431 h 112376"/>
                <a:gd name="connsiteX209" fmla="*/ 91325 w 171792"/>
                <a:gd name="connsiteY209" fmla="*/ 93243 h 112376"/>
                <a:gd name="connsiteX210" fmla="*/ 91886 w 171792"/>
                <a:gd name="connsiteY210" fmla="*/ 88981 h 112376"/>
                <a:gd name="connsiteX211" fmla="*/ 92795 w 171792"/>
                <a:gd name="connsiteY211" fmla="*/ 84053 h 112376"/>
                <a:gd name="connsiteX212" fmla="*/ 93551 w 171792"/>
                <a:gd name="connsiteY212" fmla="*/ 82296 h 112376"/>
                <a:gd name="connsiteX213" fmla="*/ 93592 w 171792"/>
                <a:gd name="connsiteY213" fmla="*/ 81122 h 112376"/>
                <a:gd name="connsiteX214" fmla="*/ 92923 w 171792"/>
                <a:gd name="connsiteY214" fmla="*/ 80531 h 112376"/>
                <a:gd name="connsiteX215" fmla="*/ 91504 w 171792"/>
                <a:gd name="connsiteY215" fmla="*/ 80564 h 112376"/>
                <a:gd name="connsiteX216" fmla="*/ 89334 w 171792"/>
                <a:gd name="connsiteY216" fmla="*/ 81219 h 112376"/>
                <a:gd name="connsiteX217" fmla="*/ 87792 w 171792"/>
                <a:gd name="connsiteY217" fmla="*/ 81333 h 112376"/>
                <a:gd name="connsiteX218" fmla="*/ 86876 w 171792"/>
                <a:gd name="connsiteY218" fmla="*/ 80909 h 112376"/>
                <a:gd name="connsiteX219" fmla="*/ 86971 w 171792"/>
                <a:gd name="connsiteY219" fmla="*/ 78615 h 112376"/>
                <a:gd name="connsiteX220" fmla="*/ 88075 w 171792"/>
                <a:gd name="connsiteY220" fmla="*/ 74450 h 112376"/>
                <a:gd name="connsiteX221" fmla="*/ 86376 w 171792"/>
                <a:gd name="connsiteY221" fmla="*/ 70938 h 112376"/>
                <a:gd name="connsiteX222" fmla="*/ 81871 w 171792"/>
                <a:gd name="connsiteY222" fmla="*/ 68087 h 112376"/>
                <a:gd name="connsiteX223" fmla="*/ 78040 w 171792"/>
                <a:gd name="connsiteY223" fmla="*/ 67095 h 112376"/>
                <a:gd name="connsiteX224" fmla="*/ 74879 w 171792"/>
                <a:gd name="connsiteY224" fmla="*/ 67966 h 112376"/>
                <a:gd name="connsiteX225" fmla="*/ 72223 w 171792"/>
                <a:gd name="connsiteY225" fmla="*/ 70232 h 112376"/>
                <a:gd name="connsiteX226" fmla="*/ 70072 w 171792"/>
                <a:gd name="connsiteY226" fmla="*/ 73892 h 112376"/>
                <a:gd name="connsiteX227" fmla="*/ 67843 w 171792"/>
                <a:gd name="connsiteY227" fmla="*/ 76883 h 112376"/>
                <a:gd name="connsiteX228" fmla="*/ 65533 w 171792"/>
                <a:gd name="connsiteY228" fmla="*/ 79207 h 112376"/>
                <a:gd name="connsiteX229" fmla="*/ 63885 w 171792"/>
                <a:gd name="connsiteY229" fmla="*/ 80325 h 112376"/>
                <a:gd name="connsiteX230" fmla="*/ 63352 w 171792"/>
                <a:gd name="connsiteY230" fmla="*/ 80755 h 112376"/>
                <a:gd name="connsiteX231" fmla="*/ 63015 w 171792"/>
                <a:gd name="connsiteY231" fmla="*/ 81738 h 112376"/>
                <a:gd name="connsiteX232" fmla="*/ 64244 w 171792"/>
                <a:gd name="connsiteY232" fmla="*/ 84827 h 112376"/>
                <a:gd name="connsiteX233" fmla="*/ 64166 w 171792"/>
                <a:gd name="connsiteY233" fmla="*/ 87416 h 112376"/>
                <a:gd name="connsiteX234" fmla="*/ 62778 w 171792"/>
                <a:gd name="connsiteY234" fmla="*/ 89504 h 112376"/>
                <a:gd name="connsiteX235" fmla="*/ 61255 w 171792"/>
                <a:gd name="connsiteY235" fmla="*/ 90499 h 112376"/>
                <a:gd name="connsiteX236" fmla="*/ 59595 w 171792"/>
                <a:gd name="connsiteY236" fmla="*/ 90404 h 112376"/>
                <a:gd name="connsiteX237" fmla="*/ 58273 w 171792"/>
                <a:gd name="connsiteY237" fmla="*/ 89920 h 112376"/>
                <a:gd name="connsiteX238" fmla="*/ 57293 w 171792"/>
                <a:gd name="connsiteY238" fmla="*/ 89048 h 112376"/>
                <a:gd name="connsiteX239" fmla="*/ 54645 w 171792"/>
                <a:gd name="connsiteY239" fmla="*/ 88812 h 112376"/>
                <a:gd name="connsiteX240" fmla="*/ 50331 w 171792"/>
                <a:gd name="connsiteY240" fmla="*/ 89208 h 112376"/>
                <a:gd name="connsiteX241" fmla="*/ 47375 w 171792"/>
                <a:gd name="connsiteY241" fmla="*/ 90255 h 112376"/>
                <a:gd name="connsiteX242" fmla="*/ 45783 w 171792"/>
                <a:gd name="connsiteY242" fmla="*/ 91949 h 112376"/>
                <a:gd name="connsiteX243" fmla="*/ 45321 w 171792"/>
                <a:gd name="connsiteY243" fmla="*/ 94180 h 112376"/>
                <a:gd name="connsiteX244" fmla="*/ 45995 w 171792"/>
                <a:gd name="connsiteY244" fmla="*/ 96946 h 112376"/>
                <a:gd name="connsiteX245" fmla="*/ 45658 w 171792"/>
                <a:gd name="connsiteY245" fmla="*/ 99063 h 112376"/>
                <a:gd name="connsiteX246" fmla="*/ 44317 w 171792"/>
                <a:gd name="connsiteY246" fmla="*/ 100533 h 112376"/>
                <a:gd name="connsiteX247" fmla="*/ 43213 w 171792"/>
                <a:gd name="connsiteY247" fmla="*/ 101376 h 112376"/>
                <a:gd name="connsiteX248" fmla="*/ 42350 w 171792"/>
                <a:gd name="connsiteY248" fmla="*/ 101593 h 112376"/>
                <a:gd name="connsiteX249" fmla="*/ 40478 w 171792"/>
                <a:gd name="connsiteY249" fmla="*/ 100323 h 112376"/>
                <a:gd name="connsiteX250" fmla="*/ 37599 w 171792"/>
                <a:gd name="connsiteY250" fmla="*/ 97566 h 112376"/>
                <a:gd name="connsiteX251" fmla="*/ 35619 w 171792"/>
                <a:gd name="connsiteY251" fmla="*/ 96074 h 112376"/>
                <a:gd name="connsiteX252" fmla="*/ 34544 w 171792"/>
                <a:gd name="connsiteY252" fmla="*/ 95848 h 112376"/>
                <a:gd name="connsiteX253" fmla="*/ 33956 w 171792"/>
                <a:gd name="connsiteY253" fmla="*/ 95997 h 112376"/>
                <a:gd name="connsiteX254" fmla="*/ 33295 w 171792"/>
                <a:gd name="connsiteY254" fmla="*/ 96283 h 112376"/>
                <a:gd name="connsiteX255" fmla="*/ 32922 w 171792"/>
                <a:gd name="connsiteY255" fmla="*/ 96641 h 112376"/>
                <a:gd name="connsiteX256" fmla="*/ 32596 w 171792"/>
                <a:gd name="connsiteY256" fmla="*/ 97459 h 112376"/>
                <a:gd name="connsiteX257" fmla="*/ 31674 w 171792"/>
                <a:gd name="connsiteY257" fmla="*/ 97783 h 112376"/>
                <a:gd name="connsiteX258" fmla="*/ 30374 w 171792"/>
                <a:gd name="connsiteY258" fmla="*/ 97528 h 112376"/>
                <a:gd name="connsiteX259" fmla="*/ 29178 w 171792"/>
                <a:gd name="connsiteY259" fmla="*/ 97773 h 112376"/>
                <a:gd name="connsiteX260" fmla="*/ 28467 w 171792"/>
                <a:gd name="connsiteY260" fmla="*/ 98638 h 112376"/>
                <a:gd name="connsiteX261" fmla="*/ 26466 w 171792"/>
                <a:gd name="connsiteY261" fmla="*/ 99683 h 112376"/>
                <a:gd name="connsiteX262" fmla="*/ 22937 w 171792"/>
                <a:gd name="connsiteY262" fmla="*/ 100852 h 112376"/>
                <a:gd name="connsiteX263" fmla="*/ 21004 w 171792"/>
                <a:gd name="connsiteY263" fmla="*/ 102101 h 112376"/>
                <a:gd name="connsiteX264" fmla="*/ 20678 w 171792"/>
                <a:gd name="connsiteY264" fmla="*/ 103427 h 112376"/>
                <a:gd name="connsiteX265" fmla="*/ 20151 w 171792"/>
                <a:gd name="connsiteY265" fmla="*/ 104018 h 112376"/>
                <a:gd name="connsiteX266" fmla="*/ 19072 w 171792"/>
                <a:gd name="connsiteY266" fmla="*/ 103804 h 112376"/>
                <a:gd name="connsiteX267" fmla="*/ 15880 w 171792"/>
                <a:gd name="connsiteY267" fmla="*/ 105627 h 112376"/>
                <a:gd name="connsiteX268" fmla="*/ 13453 w 171792"/>
                <a:gd name="connsiteY268" fmla="*/ 105062 h 112376"/>
                <a:gd name="connsiteX269" fmla="*/ 10721 w 171792"/>
                <a:gd name="connsiteY269" fmla="*/ 102718 h 112376"/>
                <a:gd name="connsiteX270" fmla="*/ 9208 w 171792"/>
                <a:gd name="connsiteY270" fmla="*/ 100785 h 112376"/>
                <a:gd name="connsiteX271" fmla="*/ 9052 w 171792"/>
                <a:gd name="connsiteY271" fmla="*/ 99969 h 112376"/>
                <a:gd name="connsiteX272" fmla="*/ 9916 w 171792"/>
                <a:gd name="connsiteY272" fmla="*/ 98115 h 112376"/>
                <a:gd name="connsiteX273" fmla="*/ 10276 w 171792"/>
                <a:gd name="connsiteY273" fmla="*/ 91942 h 112376"/>
                <a:gd name="connsiteX274" fmla="*/ 11365 w 171792"/>
                <a:gd name="connsiteY274" fmla="*/ 89805 h 112376"/>
                <a:gd name="connsiteX275" fmla="*/ 14623 w 171792"/>
                <a:gd name="connsiteY275" fmla="*/ 85964 h 112376"/>
                <a:gd name="connsiteX276" fmla="*/ 16319 w 171792"/>
                <a:gd name="connsiteY276" fmla="*/ 83034 h 112376"/>
                <a:gd name="connsiteX277" fmla="*/ 18230 w 171792"/>
                <a:gd name="connsiteY277" fmla="*/ 80653 h 112376"/>
                <a:gd name="connsiteX278" fmla="*/ 19611 w 171792"/>
                <a:gd name="connsiteY278" fmla="*/ 79852 h 112376"/>
                <a:gd name="connsiteX279" fmla="*/ 20883 w 171792"/>
                <a:gd name="connsiteY279" fmla="*/ 77974 h 112376"/>
                <a:gd name="connsiteX280" fmla="*/ 21926 w 171792"/>
                <a:gd name="connsiteY280" fmla="*/ 75822 h 112376"/>
                <a:gd name="connsiteX281" fmla="*/ 22220 w 171792"/>
                <a:gd name="connsiteY281" fmla="*/ 74469 h 112376"/>
                <a:gd name="connsiteX282" fmla="*/ 22127 w 171792"/>
                <a:gd name="connsiteY282" fmla="*/ 73403 h 112376"/>
                <a:gd name="connsiteX283" fmla="*/ 21747 w 171792"/>
                <a:gd name="connsiteY283" fmla="*/ 72716 h 112376"/>
                <a:gd name="connsiteX284" fmla="*/ 19940 w 171792"/>
                <a:gd name="connsiteY284" fmla="*/ 71258 h 112376"/>
                <a:gd name="connsiteX285" fmla="*/ 17569 w 171792"/>
                <a:gd name="connsiteY285" fmla="*/ 68981 h 112376"/>
                <a:gd name="connsiteX286" fmla="*/ 16310 w 171792"/>
                <a:gd name="connsiteY286" fmla="*/ 66654 h 112376"/>
                <a:gd name="connsiteX287" fmla="*/ 15619 w 171792"/>
                <a:gd name="connsiteY287" fmla="*/ 63683 h 112376"/>
                <a:gd name="connsiteX288" fmla="*/ 15440 w 171792"/>
                <a:gd name="connsiteY288" fmla="*/ 61612 h 112376"/>
                <a:gd name="connsiteX289" fmla="*/ 17666 w 171792"/>
                <a:gd name="connsiteY289" fmla="*/ 55901 h 112376"/>
                <a:gd name="connsiteX290" fmla="*/ 17312 w 171792"/>
                <a:gd name="connsiteY290" fmla="*/ 54945 h 112376"/>
                <a:gd name="connsiteX291" fmla="*/ 16671 w 171792"/>
                <a:gd name="connsiteY291" fmla="*/ 54057 h 112376"/>
                <a:gd name="connsiteX292" fmla="*/ 15362 w 171792"/>
                <a:gd name="connsiteY292" fmla="*/ 53499 h 112376"/>
                <a:gd name="connsiteX293" fmla="*/ 13487 w 171792"/>
                <a:gd name="connsiteY293" fmla="*/ 53258 h 112376"/>
                <a:gd name="connsiteX294" fmla="*/ 11633 w 171792"/>
                <a:gd name="connsiteY294" fmla="*/ 53514 h 112376"/>
                <a:gd name="connsiteX295" fmla="*/ 9264 w 171792"/>
                <a:gd name="connsiteY295" fmla="*/ 53534 h 112376"/>
                <a:gd name="connsiteX296" fmla="*/ 7625 w 171792"/>
                <a:gd name="connsiteY296" fmla="*/ 53214 h 112376"/>
                <a:gd name="connsiteX297" fmla="*/ 7230 w 171792"/>
                <a:gd name="connsiteY297" fmla="*/ 52855 h 112376"/>
                <a:gd name="connsiteX298" fmla="*/ 7025 w 171792"/>
                <a:gd name="connsiteY298" fmla="*/ 50251 h 112376"/>
                <a:gd name="connsiteX299" fmla="*/ 6606 w 171792"/>
                <a:gd name="connsiteY299" fmla="*/ 49685 h 112376"/>
                <a:gd name="connsiteX300" fmla="*/ 5901 w 171792"/>
                <a:gd name="connsiteY300" fmla="*/ 49187 h 112376"/>
                <a:gd name="connsiteX301" fmla="*/ 1123 w 171792"/>
                <a:gd name="connsiteY301" fmla="*/ 47986 h 112376"/>
                <a:gd name="connsiteX302" fmla="*/ 177 w 171792"/>
                <a:gd name="connsiteY302" fmla="*/ 47468 h 112376"/>
                <a:gd name="connsiteX303" fmla="*/ 0 w 171792"/>
                <a:gd name="connsiteY303" fmla="*/ 46810 h 112376"/>
                <a:gd name="connsiteX304" fmla="*/ 1693 w 171792"/>
                <a:gd name="connsiteY304" fmla="*/ 41015 h 112376"/>
                <a:gd name="connsiteX305" fmla="*/ 2431 w 171792"/>
                <a:gd name="connsiteY305" fmla="*/ 40578 h 112376"/>
                <a:gd name="connsiteX306" fmla="*/ 3142 w 171792"/>
                <a:gd name="connsiteY306" fmla="*/ 39635 h 112376"/>
                <a:gd name="connsiteX307" fmla="*/ 4265 w 171792"/>
                <a:gd name="connsiteY307" fmla="*/ 38625 h 112376"/>
                <a:gd name="connsiteX308" fmla="*/ 8169 w 171792"/>
                <a:gd name="connsiteY308" fmla="*/ 36969 h 112376"/>
                <a:gd name="connsiteX309" fmla="*/ 12360 w 171792"/>
                <a:gd name="connsiteY309" fmla="*/ 37686 h 112376"/>
                <a:gd name="connsiteX310" fmla="*/ 16088 w 171792"/>
                <a:gd name="connsiteY310" fmla="*/ 38456 h 112376"/>
                <a:gd name="connsiteX311" fmla="*/ 19797 w 171792"/>
                <a:gd name="connsiteY311" fmla="*/ 38868 h 112376"/>
                <a:gd name="connsiteX312" fmla="*/ 21082 w 171792"/>
                <a:gd name="connsiteY312" fmla="*/ 39143 h 112376"/>
                <a:gd name="connsiteX313" fmla="*/ 23205 w 171792"/>
                <a:gd name="connsiteY313" fmla="*/ 39372 h 112376"/>
                <a:gd name="connsiteX314" fmla="*/ 24626 w 171792"/>
                <a:gd name="connsiteY314" fmla="*/ 39168 h 112376"/>
                <a:gd name="connsiteX315" fmla="*/ 25591 w 171792"/>
                <a:gd name="connsiteY315" fmla="*/ 38491 h 112376"/>
                <a:gd name="connsiteX316" fmla="*/ 27342 w 171792"/>
                <a:gd name="connsiteY316" fmla="*/ 36616 h 112376"/>
                <a:gd name="connsiteX317" fmla="*/ 27878 w 171792"/>
                <a:gd name="connsiteY317" fmla="*/ 33799 h 112376"/>
                <a:gd name="connsiteX318" fmla="*/ 28510 w 171792"/>
                <a:gd name="connsiteY318" fmla="*/ 31311 h 112376"/>
                <a:gd name="connsiteX319" fmla="*/ 29571 w 171792"/>
                <a:gd name="connsiteY319" fmla="*/ 31118 h 112376"/>
                <a:gd name="connsiteX320" fmla="*/ 30639 w 171792"/>
                <a:gd name="connsiteY320" fmla="*/ 31380 h 112376"/>
                <a:gd name="connsiteX321" fmla="*/ 31147 w 171792"/>
                <a:gd name="connsiteY321" fmla="*/ 30876 h 112376"/>
                <a:gd name="connsiteX322" fmla="*/ 31363 w 171792"/>
                <a:gd name="connsiteY322" fmla="*/ 30192 h 112376"/>
                <a:gd name="connsiteX323" fmla="*/ 31581 w 171792"/>
                <a:gd name="connsiteY323" fmla="*/ 29610 h 112376"/>
                <a:gd name="connsiteX324" fmla="*/ 32019 w 171792"/>
                <a:gd name="connsiteY324" fmla="*/ 29481 h 112376"/>
                <a:gd name="connsiteX325" fmla="*/ 32788 w 171792"/>
                <a:gd name="connsiteY325" fmla="*/ 30128 h 112376"/>
                <a:gd name="connsiteX326" fmla="*/ 33226 w 171792"/>
                <a:gd name="connsiteY326" fmla="*/ 29954 h 112376"/>
                <a:gd name="connsiteX327" fmla="*/ 33592 w 171792"/>
                <a:gd name="connsiteY327" fmla="*/ 29524 h 112376"/>
                <a:gd name="connsiteX328" fmla="*/ 33483 w 171792"/>
                <a:gd name="connsiteY328" fmla="*/ 29007 h 112376"/>
                <a:gd name="connsiteX329" fmla="*/ 32611 w 171792"/>
                <a:gd name="connsiteY329" fmla="*/ 28135 h 112376"/>
                <a:gd name="connsiteX330" fmla="*/ 31838 w 171792"/>
                <a:gd name="connsiteY330" fmla="*/ 26765 h 112376"/>
                <a:gd name="connsiteX331" fmla="*/ 31911 w 171792"/>
                <a:gd name="connsiteY331" fmla="*/ 26291 h 112376"/>
                <a:gd name="connsiteX332" fmla="*/ 32175 w 171792"/>
                <a:gd name="connsiteY332" fmla="*/ 25800 h 112376"/>
                <a:gd name="connsiteX333" fmla="*/ 34470 w 171792"/>
                <a:gd name="connsiteY333" fmla="*/ 25334 h 112376"/>
                <a:gd name="connsiteX334" fmla="*/ 35513 w 171792"/>
                <a:gd name="connsiteY334" fmla="*/ 25252 h 112376"/>
                <a:gd name="connsiteX335" fmla="*/ 35876 w 171792"/>
                <a:gd name="connsiteY335" fmla="*/ 24767 h 112376"/>
                <a:gd name="connsiteX336" fmla="*/ 35742 w 171792"/>
                <a:gd name="connsiteY336" fmla="*/ 23993 h 112376"/>
                <a:gd name="connsiteX337" fmla="*/ 34876 w 171792"/>
                <a:gd name="connsiteY337" fmla="*/ 23556 h 112376"/>
                <a:gd name="connsiteX338" fmla="*/ 31730 w 171792"/>
                <a:gd name="connsiteY338" fmla="*/ 23797 h 112376"/>
                <a:gd name="connsiteX339" fmla="*/ 28528 w 171792"/>
                <a:gd name="connsiteY339" fmla="*/ 23742 h 112376"/>
                <a:gd name="connsiteX340" fmla="*/ 28145 w 171792"/>
                <a:gd name="connsiteY340" fmla="*/ 23271 h 112376"/>
                <a:gd name="connsiteX341" fmla="*/ 28327 w 171792"/>
                <a:gd name="connsiteY341" fmla="*/ 22753 h 112376"/>
                <a:gd name="connsiteX342" fmla="*/ 28810 w 171792"/>
                <a:gd name="connsiteY342" fmla="*/ 22346 h 112376"/>
                <a:gd name="connsiteX343" fmla="*/ 35427 w 171792"/>
                <a:gd name="connsiteY343" fmla="*/ 21303 h 112376"/>
                <a:gd name="connsiteX344" fmla="*/ 38934 w 171792"/>
                <a:gd name="connsiteY344" fmla="*/ 21665 h 112376"/>
                <a:gd name="connsiteX345" fmla="*/ 41542 w 171792"/>
                <a:gd name="connsiteY345" fmla="*/ 22217 h 112376"/>
                <a:gd name="connsiteX346" fmla="*/ 42572 w 171792"/>
                <a:gd name="connsiteY346" fmla="*/ 21943 h 112376"/>
                <a:gd name="connsiteX347" fmla="*/ 41348 w 171792"/>
                <a:gd name="connsiteY347" fmla="*/ 19591 h 112376"/>
                <a:gd name="connsiteX348" fmla="*/ 43004 w 171792"/>
                <a:gd name="connsiteY348" fmla="*/ 19370 h 112376"/>
                <a:gd name="connsiteX349" fmla="*/ 43220 w 171792"/>
                <a:gd name="connsiteY349" fmla="*/ 18564 h 112376"/>
                <a:gd name="connsiteX350" fmla="*/ 41054 w 171792"/>
                <a:gd name="connsiteY350" fmla="*/ 12304 h 112376"/>
                <a:gd name="connsiteX351" fmla="*/ 42242 w 171792"/>
                <a:gd name="connsiteY351" fmla="*/ 11751 h 112376"/>
                <a:gd name="connsiteX352" fmla="*/ 43436 w 171792"/>
                <a:gd name="connsiteY352" fmla="*/ 10516 h 112376"/>
                <a:gd name="connsiteX353" fmla="*/ 43334 w 171792"/>
                <a:gd name="connsiteY353" fmla="*/ 8177 h 112376"/>
                <a:gd name="connsiteX354" fmla="*/ 44392 w 171792"/>
                <a:gd name="connsiteY354" fmla="*/ 7036 h 112376"/>
                <a:gd name="connsiteX355" fmla="*/ 45645 w 171792"/>
                <a:gd name="connsiteY355" fmla="*/ 6254 h 112376"/>
                <a:gd name="connsiteX356" fmla="*/ 47511 w 171792"/>
                <a:gd name="connsiteY356" fmla="*/ 7044 h 112376"/>
                <a:gd name="connsiteX357" fmla="*/ 50389 w 171792"/>
                <a:gd name="connsiteY357" fmla="*/ 9354 h 112376"/>
                <a:gd name="connsiteX358" fmla="*/ 51327 w 171792"/>
                <a:gd name="connsiteY358" fmla="*/ 9802 h 112376"/>
                <a:gd name="connsiteX359" fmla="*/ 52257 w 171792"/>
                <a:gd name="connsiteY359" fmla="*/ 9933 h 112376"/>
                <a:gd name="connsiteX360" fmla="*/ 53592 w 171792"/>
                <a:gd name="connsiteY360" fmla="*/ 9217 h 112376"/>
                <a:gd name="connsiteX361" fmla="*/ 58731 w 171792"/>
                <a:gd name="connsiteY361" fmla="*/ 6930 h 112376"/>
                <a:gd name="connsiteX362" fmla="*/ 61620 w 171792"/>
                <a:gd name="connsiteY362" fmla="*/ 5644 h 112376"/>
                <a:gd name="connsiteX363" fmla="*/ 65064 w 171792"/>
                <a:gd name="connsiteY363" fmla="*/ 3771 h 112376"/>
                <a:gd name="connsiteX364" fmla="*/ 65658 w 171792"/>
                <a:gd name="connsiteY364" fmla="*/ 3047 h 112376"/>
                <a:gd name="connsiteX365" fmla="*/ 66846 w 171792"/>
                <a:gd name="connsiteY365" fmla="*/ 196 h 112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</a:cxnLst>
              <a:rect l="l" t="t" r="r" b="b"/>
              <a:pathLst>
                <a:path w="171792" h="112376">
                  <a:moveTo>
                    <a:pt x="69282" y="30169"/>
                  </a:moveTo>
                  <a:lnTo>
                    <a:pt x="69612" y="30177"/>
                  </a:lnTo>
                  <a:lnTo>
                    <a:pt x="71145" y="30589"/>
                  </a:lnTo>
                  <a:lnTo>
                    <a:pt x="73292" y="30879"/>
                  </a:lnTo>
                  <a:lnTo>
                    <a:pt x="74045" y="31129"/>
                  </a:lnTo>
                  <a:lnTo>
                    <a:pt x="74121" y="31665"/>
                  </a:lnTo>
                  <a:lnTo>
                    <a:pt x="72141" y="32668"/>
                  </a:lnTo>
                  <a:lnTo>
                    <a:pt x="70979" y="32560"/>
                  </a:lnTo>
                  <a:lnTo>
                    <a:pt x="70074" y="31590"/>
                  </a:lnTo>
                  <a:lnTo>
                    <a:pt x="69424" y="30682"/>
                  </a:lnTo>
                  <a:close/>
                  <a:moveTo>
                    <a:pt x="71256" y="271"/>
                  </a:moveTo>
                  <a:lnTo>
                    <a:pt x="72279" y="880"/>
                  </a:lnTo>
                  <a:lnTo>
                    <a:pt x="72961" y="1954"/>
                  </a:lnTo>
                  <a:lnTo>
                    <a:pt x="73035" y="2590"/>
                  </a:lnTo>
                  <a:lnTo>
                    <a:pt x="72376" y="2648"/>
                  </a:lnTo>
                  <a:lnTo>
                    <a:pt x="71182" y="1401"/>
                  </a:lnTo>
                  <a:lnTo>
                    <a:pt x="70767" y="532"/>
                  </a:lnTo>
                  <a:close/>
                  <a:moveTo>
                    <a:pt x="67494" y="0"/>
                  </a:moveTo>
                  <a:lnTo>
                    <a:pt x="68368" y="307"/>
                  </a:lnTo>
                  <a:lnTo>
                    <a:pt x="71392" y="3251"/>
                  </a:lnTo>
                  <a:lnTo>
                    <a:pt x="73141" y="5139"/>
                  </a:lnTo>
                  <a:lnTo>
                    <a:pt x="73141" y="5784"/>
                  </a:lnTo>
                  <a:lnTo>
                    <a:pt x="72642" y="6270"/>
                  </a:lnTo>
                  <a:lnTo>
                    <a:pt x="72739" y="6743"/>
                  </a:lnTo>
                  <a:lnTo>
                    <a:pt x="75212" y="7766"/>
                  </a:lnTo>
                  <a:lnTo>
                    <a:pt x="75213" y="8233"/>
                  </a:lnTo>
                  <a:lnTo>
                    <a:pt x="74650" y="9125"/>
                  </a:lnTo>
                  <a:lnTo>
                    <a:pt x="74350" y="9616"/>
                  </a:lnTo>
                  <a:lnTo>
                    <a:pt x="74048" y="9823"/>
                  </a:lnTo>
                  <a:lnTo>
                    <a:pt x="70741" y="12402"/>
                  </a:lnTo>
                  <a:lnTo>
                    <a:pt x="67066" y="15264"/>
                  </a:lnTo>
                  <a:lnTo>
                    <a:pt x="66945" y="15637"/>
                  </a:lnTo>
                  <a:lnTo>
                    <a:pt x="66781" y="16350"/>
                  </a:lnTo>
                  <a:lnTo>
                    <a:pt x="66822" y="17080"/>
                  </a:lnTo>
                  <a:lnTo>
                    <a:pt x="67412" y="17675"/>
                  </a:lnTo>
                  <a:lnTo>
                    <a:pt x="68997" y="18094"/>
                  </a:lnTo>
                  <a:lnTo>
                    <a:pt x="70404" y="18639"/>
                  </a:lnTo>
                  <a:lnTo>
                    <a:pt x="71117" y="20139"/>
                  </a:lnTo>
                  <a:lnTo>
                    <a:pt x="71933" y="21523"/>
                  </a:lnTo>
                  <a:lnTo>
                    <a:pt x="73048" y="21863"/>
                  </a:lnTo>
                  <a:lnTo>
                    <a:pt x="78493" y="20990"/>
                  </a:lnTo>
                  <a:lnTo>
                    <a:pt x="79789" y="20878"/>
                  </a:lnTo>
                  <a:lnTo>
                    <a:pt x="79854" y="21354"/>
                  </a:lnTo>
                  <a:lnTo>
                    <a:pt x="79533" y="22217"/>
                  </a:lnTo>
                  <a:lnTo>
                    <a:pt x="74937" y="23691"/>
                  </a:lnTo>
                  <a:lnTo>
                    <a:pt x="72853" y="24936"/>
                  </a:lnTo>
                  <a:lnTo>
                    <a:pt x="72406" y="27140"/>
                  </a:lnTo>
                  <a:lnTo>
                    <a:pt x="71856" y="27777"/>
                  </a:lnTo>
                  <a:lnTo>
                    <a:pt x="70919" y="28299"/>
                  </a:lnTo>
                  <a:lnTo>
                    <a:pt x="69997" y="28419"/>
                  </a:lnTo>
                  <a:lnTo>
                    <a:pt x="68586" y="25829"/>
                  </a:lnTo>
                  <a:lnTo>
                    <a:pt x="66984" y="25290"/>
                  </a:lnTo>
                  <a:lnTo>
                    <a:pt x="64674" y="24378"/>
                  </a:lnTo>
                  <a:lnTo>
                    <a:pt x="60186" y="22605"/>
                  </a:lnTo>
                  <a:lnTo>
                    <a:pt x="57872" y="21835"/>
                  </a:lnTo>
                  <a:lnTo>
                    <a:pt x="53415" y="22990"/>
                  </a:lnTo>
                  <a:lnTo>
                    <a:pt x="48219" y="24574"/>
                  </a:lnTo>
                  <a:lnTo>
                    <a:pt x="47409" y="25539"/>
                  </a:lnTo>
                  <a:lnTo>
                    <a:pt x="46859" y="26572"/>
                  </a:lnTo>
                  <a:lnTo>
                    <a:pt x="46908" y="27357"/>
                  </a:lnTo>
                  <a:lnTo>
                    <a:pt x="47282" y="28405"/>
                  </a:lnTo>
                  <a:lnTo>
                    <a:pt x="47025" y="29205"/>
                  </a:lnTo>
                  <a:lnTo>
                    <a:pt x="46045" y="29465"/>
                  </a:lnTo>
                  <a:lnTo>
                    <a:pt x="44574" y="28493"/>
                  </a:lnTo>
                  <a:lnTo>
                    <a:pt x="43287" y="27933"/>
                  </a:lnTo>
                  <a:lnTo>
                    <a:pt x="42658" y="29256"/>
                  </a:lnTo>
                  <a:lnTo>
                    <a:pt x="41905" y="31618"/>
                  </a:lnTo>
                  <a:lnTo>
                    <a:pt x="41560" y="33336"/>
                  </a:lnTo>
                  <a:lnTo>
                    <a:pt x="42691" y="35812"/>
                  </a:lnTo>
                  <a:lnTo>
                    <a:pt x="43076" y="39478"/>
                  </a:lnTo>
                  <a:lnTo>
                    <a:pt x="45151" y="39279"/>
                  </a:lnTo>
                  <a:lnTo>
                    <a:pt x="46738" y="39289"/>
                  </a:lnTo>
                  <a:lnTo>
                    <a:pt x="49735" y="38206"/>
                  </a:lnTo>
                  <a:lnTo>
                    <a:pt x="51242" y="38177"/>
                  </a:lnTo>
                  <a:lnTo>
                    <a:pt x="53566" y="38648"/>
                  </a:lnTo>
                  <a:lnTo>
                    <a:pt x="57632" y="38743"/>
                  </a:lnTo>
                  <a:lnTo>
                    <a:pt x="60853" y="38548"/>
                  </a:lnTo>
                  <a:lnTo>
                    <a:pt x="61631" y="38627"/>
                  </a:lnTo>
                  <a:lnTo>
                    <a:pt x="62389" y="37936"/>
                  </a:lnTo>
                  <a:lnTo>
                    <a:pt x="63233" y="38174"/>
                  </a:lnTo>
                  <a:lnTo>
                    <a:pt x="64020" y="39015"/>
                  </a:lnTo>
                  <a:lnTo>
                    <a:pt x="67276" y="37995"/>
                  </a:lnTo>
                  <a:lnTo>
                    <a:pt x="69688" y="37853"/>
                  </a:lnTo>
                  <a:lnTo>
                    <a:pt x="71165" y="38151"/>
                  </a:lnTo>
                  <a:lnTo>
                    <a:pt x="72046" y="38449"/>
                  </a:lnTo>
                  <a:lnTo>
                    <a:pt x="73611" y="40867"/>
                  </a:lnTo>
                  <a:lnTo>
                    <a:pt x="74816" y="42372"/>
                  </a:lnTo>
                  <a:lnTo>
                    <a:pt x="76280" y="42854"/>
                  </a:lnTo>
                  <a:lnTo>
                    <a:pt x="80826" y="42409"/>
                  </a:lnTo>
                  <a:lnTo>
                    <a:pt x="82156" y="40293"/>
                  </a:lnTo>
                  <a:lnTo>
                    <a:pt x="83328" y="39769"/>
                  </a:lnTo>
                  <a:lnTo>
                    <a:pt x="85201" y="39607"/>
                  </a:lnTo>
                  <a:lnTo>
                    <a:pt x="86751" y="39205"/>
                  </a:lnTo>
                  <a:lnTo>
                    <a:pt x="87982" y="38338"/>
                  </a:lnTo>
                  <a:lnTo>
                    <a:pt x="89658" y="37580"/>
                  </a:lnTo>
                  <a:lnTo>
                    <a:pt x="91118" y="37429"/>
                  </a:lnTo>
                  <a:lnTo>
                    <a:pt x="91841" y="37988"/>
                  </a:lnTo>
                  <a:lnTo>
                    <a:pt x="92158" y="38723"/>
                  </a:lnTo>
                  <a:lnTo>
                    <a:pt x="91904" y="39678"/>
                  </a:lnTo>
                  <a:lnTo>
                    <a:pt x="91847" y="40672"/>
                  </a:lnTo>
                  <a:lnTo>
                    <a:pt x="92797" y="41340"/>
                  </a:lnTo>
                  <a:lnTo>
                    <a:pt x="95592" y="41495"/>
                  </a:lnTo>
                  <a:lnTo>
                    <a:pt x="96909" y="42120"/>
                  </a:lnTo>
                  <a:lnTo>
                    <a:pt x="96978" y="43294"/>
                  </a:lnTo>
                  <a:lnTo>
                    <a:pt x="96764" y="45139"/>
                  </a:lnTo>
                  <a:lnTo>
                    <a:pt x="97935" y="45880"/>
                  </a:lnTo>
                  <a:lnTo>
                    <a:pt x="98539" y="45942"/>
                  </a:lnTo>
                  <a:lnTo>
                    <a:pt x="102631" y="43989"/>
                  </a:lnTo>
                  <a:lnTo>
                    <a:pt x="103776" y="43958"/>
                  </a:lnTo>
                  <a:lnTo>
                    <a:pt x="104692" y="45034"/>
                  </a:lnTo>
                  <a:lnTo>
                    <a:pt x="106088" y="46327"/>
                  </a:lnTo>
                  <a:lnTo>
                    <a:pt x="107915" y="47706"/>
                  </a:lnTo>
                  <a:lnTo>
                    <a:pt x="108354" y="47494"/>
                  </a:lnTo>
                  <a:lnTo>
                    <a:pt x="109181" y="45990"/>
                  </a:lnTo>
                  <a:lnTo>
                    <a:pt x="110740" y="44354"/>
                  </a:lnTo>
                  <a:lnTo>
                    <a:pt x="113670" y="43822"/>
                  </a:lnTo>
                  <a:lnTo>
                    <a:pt x="115287" y="43308"/>
                  </a:lnTo>
                  <a:lnTo>
                    <a:pt x="116980" y="43080"/>
                  </a:lnTo>
                  <a:lnTo>
                    <a:pt x="122122" y="43744"/>
                  </a:lnTo>
                  <a:lnTo>
                    <a:pt x="123824" y="43830"/>
                  </a:lnTo>
                  <a:lnTo>
                    <a:pt x="127358" y="43705"/>
                  </a:lnTo>
                  <a:lnTo>
                    <a:pt x="130138" y="43376"/>
                  </a:lnTo>
                  <a:lnTo>
                    <a:pt x="132375" y="42396"/>
                  </a:lnTo>
                  <a:lnTo>
                    <a:pt x="133508" y="41608"/>
                  </a:lnTo>
                  <a:lnTo>
                    <a:pt x="135344" y="41145"/>
                  </a:lnTo>
                  <a:lnTo>
                    <a:pt x="137669" y="41222"/>
                  </a:lnTo>
                  <a:lnTo>
                    <a:pt x="138909" y="41449"/>
                  </a:lnTo>
                  <a:lnTo>
                    <a:pt x="139013" y="42803"/>
                  </a:lnTo>
                  <a:lnTo>
                    <a:pt x="138721" y="45365"/>
                  </a:lnTo>
                  <a:lnTo>
                    <a:pt x="138371" y="47144"/>
                  </a:lnTo>
                  <a:lnTo>
                    <a:pt x="140209" y="50371"/>
                  </a:lnTo>
                  <a:lnTo>
                    <a:pt x="141388" y="51923"/>
                  </a:lnTo>
                  <a:lnTo>
                    <a:pt x="142535" y="53019"/>
                  </a:lnTo>
                  <a:lnTo>
                    <a:pt x="142748" y="53885"/>
                  </a:lnTo>
                  <a:lnTo>
                    <a:pt x="142511" y="54592"/>
                  </a:lnTo>
                  <a:lnTo>
                    <a:pt x="141083" y="55279"/>
                  </a:lnTo>
                  <a:lnTo>
                    <a:pt x="140571" y="56014"/>
                  </a:lnTo>
                  <a:lnTo>
                    <a:pt x="140334" y="56839"/>
                  </a:lnTo>
                  <a:lnTo>
                    <a:pt x="140792" y="57796"/>
                  </a:lnTo>
                  <a:lnTo>
                    <a:pt x="141617" y="60848"/>
                  </a:lnTo>
                  <a:lnTo>
                    <a:pt x="142668" y="63220"/>
                  </a:lnTo>
                  <a:lnTo>
                    <a:pt x="144160" y="64354"/>
                  </a:lnTo>
                  <a:lnTo>
                    <a:pt x="146391" y="65106"/>
                  </a:lnTo>
                  <a:lnTo>
                    <a:pt x="147620" y="64947"/>
                  </a:lnTo>
                  <a:lnTo>
                    <a:pt x="148499" y="63179"/>
                  </a:lnTo>
                  <a:lnTo>
                    <a:pt x="149959" y="61821"/>
                  </a:lnTo>
                  <a:lnTo>
                    <a:pt x="151196" y="61916"/>
                  </a:lnTo>
                  <a:lnTo>
                    <a:pt x="153189" y="61857"/>
                  </a:lnTo>
                  <a:lnTo>
                    <a:pt x="158421" y="63398"/>
                  </a:lnTo>
                  <a:lnTo>
                    <a:pt x="163528" y="65715"/>
                  </a:lnTo>
                  <a:lnTo>
                    <a:pt x="165016" y="66995"/>
                  </a:lnTo>
                  <a:lnTo>
                    <a:pt x="165539" y="68436"/>
                  </a:lnTo>
                  <a:lnTo>
                    <a:pt x="164126" y="71766"/>
                  </a:lnTo>
                  <a:lnTo>
                    <a:pt x="164193" y="73895"/>
                  </a:lnTo>
                  <a:lnTo>
                    <a:pt x="164515" y="76160"/>
                  </a:lnTo>
                  <a:lnTo>
                    <a:pt x="165683" y="77841"/>
                  </a:lnTo>
                  <a:lnTo>
                    <a:pt x="166752" y="80720"/>
                  </a:lnTo>
                  <a:lnTo>
                    <a:pt x="166961" y="83104"/>
                  </a:lnTo>
                  <a:lnTo>
                    <a:pt x="167426" y="83814"/>
                  </a:lnTo>
                  <a:lnTo>
                    <a:pt x="167802" y="84645"/>
                  </a:lnTo>
                  <a:lnTo>
                    <a:pt x="167227" y="86824"/>
                  </a:lnTo>
                  <a:lnTo>
                    <a:pt x="166828" y="89020"/>
                  </a:lnTo>
                  <a:lnTo>
                    <a:pt x="167305" y="89751"/>
                  </a:lnTo>
                  <a:lnTo>
                    <a:pt x="168866" y="90835"/>
                  </a:lnTo>
                  <a:lnTo>
                    <a:pt x="171321" y="92854"/>
                  </a:lnTo>
                  <a:lnTo>
                    <a:pt x="171792" y="94527"/>
                  </a:lnTo>
                  <a:lnTo>
                    <a:pt x="170913" y="95590"/>
                  </a:lnTo>
                  <a:lnTo>
                    <a:pt x="169352" y="96877"/>
                  </a:lnTo>
                  <a:lnTo>
                    <a:pt x="167357" y="97987"/>
                  </a:lnTo>
                  <a:lnTo>
                    <a:pt x="166763" y="98455"/>
                  </a:lnTo>
                  <a:lnTo>
                    <a:pt x="166411" y="98191"/>
                  </a:lnTo>
                  <a:lnTo>
                    <a:pt x="165418" y="97071"/>
                  </a:lnTo>
                  <a:lnTo>
                    <a:pt x="163208" y="95258"/>
                  </a:lnTo>
                  <a:lnTo>
                    <a:pt x="161635" y="94303"/>
                  </a:lnTo>
                  <a:lnTo>
                    <a:pt x="158646" y="94612"/>
                  </a:lnTo>
                  <a:lnTo>
                    <a:pt x="156892" y="94275"/>
                  </a:lnTo>
                  <a:lnTo>
                    <a:pt x="154772" y="93684"/>
                  </a:lnTo>
                  <a:lnTo>
                    <a:pt x="152796" y="93769"/>
                  </a:lnTo>
                  <a:lnTo>
                    <a:pt x="151555" y="94865"/>
                  </a:lnTo>
                  <a:lnTo>
                    <a:pt x="150749" y="95962"/>
                  </a:lnTo>
                  <a:lnTo>
                    <a:pt x="148773" y="96299"/>
                  </a:lnTo>
                  <a:lnTo>
                    <a:pt x="145923" y="97142"/>
                  </a:lnTo>
                  <a:lnTo>
                    <a:pt x="141518" y="98451"/>
                  </a:lnTo>
                  <a:lnTo>
                    <a:pt x="139392" y="98258"/>
                  </a:lnTo>
                  <a:lnTo>
                    <a:pt x="138818" y="97692"/>
                  </a:lnTo>
                  <a:lnTo>
                    <a:pt x="139289" y="96937"/>
                  </a:lnTo>
                  <a:lnTo>
                    <a:pt x="140803" y="95962"/>
                  </a:lnTo>
                  <a:lnTo>
                    <a:pt x="141168" y="94780"/>
                  </a:lnTo>
                  <a:lnTo>
                    <a:pt x="140876" y="93684"/>
                  </a:lnTo>
                  <a:lnTo>
                    <a:pt x="139473" y="93385"/>
                  </a:lnTo>
                  <a:lnTo>
                    <a:pt x="138931" y="93213"/>
                  </a:lnTo>
                  <a:lnTo>
                    <a:pt x="138313" y="92988"/>
                  </a:lnTo>
                  <a:lnTo>
                    <a:pt x="135586" y="92333"/>
                  </a:lnTo>
                  <a:lnTo>
                    <a:pt x="133409" y="92574"/>
                  </a:lnTo>
                  <a:lnTo>
                    <a:pt x="129611" y="93946"/>
                  </a:lnTo>
                  <a:lnTo>
                    <a:pt x="122632" y="97540"/>
                  </a:lnTo>
                  <a:lnTo>
                    <a:pt x="119570" y="99956"/>
                  </a:lnTo>
                  <a:lnTo>
                    <a:pt x="117367" y="103612"/>
                  </a:lnTo>
                  <a:lnTo>
                    <a:pt x="110764" y="104786"/>
                  </a:lnTo>
                  <a:lnTo>
                    <a:pt x="106224" y="106879"/>
                  </a:lnTo>
                  <a:lnTo>
                    <a:pt x="101547" y="110285"/>
                  </a:lnTo>
                  <a:lnTo>
                    <a:pt x="98453" y="112116"/>
                  </a:lnTo>
                  <a:lnTo>
                    <a:pt x="96944" y="112376"/>
                  </a:lnTo>
                  <a:lnTo>
                    <a:pt x="95436" y="112050"/>
                  </a:lnTo>
                  <a:lnTo>
                    <a:pt x="93929" y="111136"/>
                  </a:lnTo>
                  <a:lnTo>
                    <a:pt x="92456" y="108287"/>
                  </a:lnTo>
                  <a:lnTo>
                    <a:pt x="91152" y="103968"/>
                  </a:lnTo>
                  <a:lnTo>
                    <a:pt x="90290" y="101106"/>
                  </a:lnTo>
                  <a:lnTo>
                    <a:pt x="90774" y="97431"/>
                  </a:lnTo>
                  <a:lnTo>
                    <a:pt x="91325" y="93243"/>
                  </a:lnTo>
                  <a:lnTo>
                    <a:pt x="91886" y="88981"/>
                  </a:lnTo>
                  <a:lnTo>
                    <a:pt x="92795" y="84053"/>
                  </a:lnTo>
                  <a:lnTo>
                    <a:pt x="93551" y="82296"/>
                  </a:lnTo>
                  <a:lnTo>
                    <a:pt x="93592" y="81122"/>
                  </a:lnTo>
                  <a:lnTo>
                    <a:pt x="92923" y="80531"/>
                  </a:lnTo>
                  <a:lnTo>
                    <a:pt x="91504" y="80564"/>
                  </a:lnTo>
                  <a:lnTo>
                    <a:pt x="89334" y="81219"/>
                  </a:lnTo>
                  <a:lnTo>
                    <a:pt x="87792" y="81333"/>
                  </a:lnTo>
                  <a:lnTo>
                    <a:pt x="86876" y="80909"/>
                  </a:lnTo>
                  <a:lnTo>
                    <a:pt x="86971" y="78615"/>
                  </a:lnTo>
                  <a:lnTo>
                    <a:pt x="88075" y="74450"/>
                  </a:lnTo>
                  <a:lnTo>
                    <a:pt x="86376" y="70938"/>
                  </a:lnTo>
                  <a:lnTo>
                    <a:pt x="81871" y="68087"/>
                  </a:lnTo>
                  <a:lnTo>
                    <a:pt x="78040" y="67095"/>
                  </a:lnTo>
                  <a:lnTo>
                    <a:pt x="74879" y="67966"/>
                  </a:lnTo>
                  <a:lnTo>
                    <a:pt x="72223" y="70232"/>
                  </a:lnTo>
                  <a:lnTo>
                    <a:pt x="70072" y="73892"/>
                  </a:lnTo>
                  <a:lnTo>
                    <a:pt x="67843" y="76883"/>
                  </a:lnTo>
                  <a:lnTo>
                    <a:pt x="65533" y="79207"/>
                  </a:lnTo>
                  <a:lnTo>
                    <a:pt x="63885" y="80325"/>
                  </a:lnTo>
                  <a:lnTo>
                    <a:pt x="63352" y="80755"/>
                  </a:lnTo>
                  <a:lnTo>
                    <a:pt x="63015" y="81738"/>
                  </a:lnTo>
                  <a:lnTo>
                    <a:pt x="64244" y="84827"/>
                  </a:lnTo>
                  <a:lnTo>
                    <a:pt x="64166" y="87416"/>
                  </a:lnTo>
                  <a:lnTo>
                    <a:pt x="62778" y="89504"/>
                  </a:lnTo>
                  <a:lnTo>
                    <a:pt x="61255" y="90499"/>
                  </a:lnTo>
                  <a:lnTo>
                    <a:pt x="59595" y="90404"/>
                  </a:lnTo>
                  <a:lnTo>
                    <a:pt x="58273" y="89920"/>
                  </a:lnTo>
                  <a:lnTo>
                    <a:pt x="57293" y="89048"/>
                  </a:lnTo>
                  <a:lnTo>
                    <a:pt x="54645" y="88812"/>
                  </a:lnTo>
                  <a:lnTo>
                    <a:pt x="50331" y="89208"/>
                  </a:lnTo>
                  <a:lnTo>
                    <a:pt x="47375" y="90255"/>
                  </a:lnTo>
                  <a:lnTo>
                    <a:pt x="45783" y="91949"/>
                  </a:lnTo>
                  <a:lnTo>
                    <a:pt x="45321" y="94180"/>
                  </a:lnTo>
                  <a:lnTo>
                    <a:pt x="45995" y="96946"/>
                  </a:lnTo>
                  <a:lnTo>
                    <a:pt x="45658" y="99063"/>
                  </a:lnTo>
                  <a:lnTo>
                    <a:pt x="44317" y="100533"/>
                  </a:lnTo>
                  <a:lnTo>
                    <a:pt x="43213" y="101376"/>
                  </a:lnTo>
                  <a:lnTo>
                    <a:pt x="42350" y="101593"/>
                  </a:lnTo>
                  <a:lnTo>
                    <a:pt x="40478" y="100323"/>
                  </a:lnTo>
                  <a:lnTo>
                    <a:pt x="37599" y="97566"/>
                  </a:lnTo>
                  <a:lnTo>
                    <a:pt x="35619" y="96074"/>
                  </a:lnTo>
                  <a:lnTo>
                    <a:pt x="34544" y="95848"/>
                  </a:lnTo>
                  <a:lnTo>
                    <a:pt x="33956" y="95997"/>
                  </a:lnTo>
                  <a:lnTo>
                    <a:pt x="33295" y="96283"/>
                  </a:lnTo>
                  <a:lnTo>
                    <a:pt x="32922" y="96641"/>
                  </a:lnTo>
                  <a:lnTo>
                    <a:pt x="32596" y="97459"/>
                  </a:lnTo>
                  <a:lnTo>
                    <a:pt x="31674" y="97783"/>
                  </a:lnTo>
                  <a:lnTo>
                    <a:pt x="30374" y="97528"/>
                  </a:lnTo>
                  <a:lnTo>
                    <a:pt x="29178" y="97773"/>
                  </a:lnTo>
                  <a:lnTo>
                    <a:pt x="28467" y="98638"/>
                  </a:lnTo>
                  <a:lnTo>
                    <a:pt x="26466" y="99683"/>
                  </a:lnTo>
                  <a:lnTo>
                    <a:pt x="22937" y="100852"/>
                  </a:lnTo>
                  <a:lnTo>
                    <a:pt x="21004" y="102101"/>
                  </a:lnTo>
                  <a:lnTo>
                    <a:pt x="20678" y="103427"/>
                  </a:lnTo>
                  <a:lnTo>
                    <a:pt x="20151" y="104018"/>
                  </a:lnTo>
                  <a:lnTo>
                    <a:pt x="19072" y="103804"/>
                  </a:lnTo>
                  <a:lnTo>
                    <a:pt x="15880" y="105627"/>
                  </a:lnTo>
                  <a:lnTo>
                    <a:pt x="13453" y="105062"/>
                  </a:lnTo>
                  <a:lnTo>
                    <a:pt x="10721" y="102718"/>
                  </a:lnTo>
                  <a:lnTo>
                    <a:pt x="9208" y="100785"/>
                  </a:lnTo>
                  <a:lnTo>
                    <a:pt x="9052" y="99969"/>
                  </a:lnTo>
                  <a:lnTo>
                    <a:pt x="9916" y="98115"/>
                  </a:lnTo>
                  <a:lnTo>
                    <a:pt x="10276" y="91942"/>
                  </a:lnTo>
                  <a:lnTo>
                    <a:pt x="11365" y="89805"/>
                  </a:lnTo>
                  <a:lnTo>
                    <a:pt x="14623" y="85964"/>
                  </a:lnTo>
                  <a:lnTo>
                    <a:pt x="16319" y="83034"/>
                  </a:lnTo>
                  <a:lnTo>
                    <a:pt x="18230" y="80653"/>
                  </a:lnTo>
                  <a:lnTo>
                    <a:pt x="19611" y="79852"/>
                  </a:lnTo>
                  <a:lnTo>
                    <a:pt x="20883" y="77974"/>
                  </a:lnTo>
                  <a:lnTo>
                    <a:pt x="21926" y="75822"/>
                  </a:lnTo>
                  <a:lnTo>
                    <a:pt x="22220" y="74469"/>
                  </a:lnTo>
                  <a:lnTo>
                    <a:pt x="22127" y="73403"/>
                  </a:lnTo>
                  <a:lnTo>
                    <a:pt x="21747" y="72716"/>
                  </a:lnTo>
                  <a:lnTo>
                    <a:pt x="19940" y="71258"/>
                  </a:lnTo>
                  <a:lnTo>
                    <a:pt x="17569" y="68981"/>
                  </a:lnTo>
                  <a:lnTo>
                    <a:pt x="16310" y="66654"/>
                  </a:lnTo>
                  <a:lnTo>
                    <a:pt x="15619" y="63683"/>
                  </a:lnTo>
                  <a:lnTo>
                    <a:pt x="15440" y="61612"/>
                  </a:lnTo>
                  <a:lnTo>
                    <a:pt x="17666" y="55901"/>
                  </a:lnTo>
                  <a:lnTo>
                    <a:pt x="17312" y="54945"/>
                  </a:lnTo>
                  <a:lnTo>
                    <a:pt x="16671" y="54057"/>
                  </a:lnTo>
                  <a:lnTo>
                    <a:pt x="15362" y="53499"/>
                  </a:lnTo>
                  <a:lnTo>
                    <a:pt x="13487" y="53258"/>
                  </a:lnTo>
                  <a:lnTo>
                    <a:pt x="11633" y="53514"/>
                  </a:lnTo>
                  <a:lnTo>
                    <a:pt x="9264" y="53534"/>
                  </a:lnTo>
                  <a:lnTo>
                    <a:pt x="7625" y="53214"/>
                  </a:lnTo>
                  <a:lnTo>
                    <a:pt x="7230" y="52855"/>
                  </a:lnTo>
                  <a:lnTo>
                    <a:pt x="7025" y="50251"/>
                  </a:lnTo>
                  <a:lnTo>
                    <a:pt x="6606" y="49685"/>
                  </a:lnTo>
                  <a:lnTo>
                    <a:pt x="5901" y="49187"/>
                  </a:lnTo>
                  <a:lnTo>
                    <a:pt x="1123" y="47986"/>
                  </a:lnTo>
                  <a:lnTo>
                    <a:pt x="177" y="47468"/>
                  </a:lnTo>
                  <a:lnTo>
                    <a:pt x="0" y="46810"/>
                  </a:lnTo>
                  <a:lnTo>
                    <a:pt x="1693" y="41015"/>
                  </a:lnTo>
                  <a:lnTo>
                    <a:pt x="2431" y="40578"/>
                  </a:lnTo>
                  <a:lnTo>
                    <a:pt x="3142" y="39635"/>
                  </a:lnTo>
                  <a:lnTo>
                    <a:pt x="4265" y="38625"/>
                  </a:lnTo>
                  <a:lnTo>
                    <a:pt x="8169" y="36969"/>
                  </a:lnTo>
                  <a:lnTo>
                    <a:pt x="12360" y="37686"/>
                  </a:lnTo>
                  <a:lnTo>
                    <a:pt x="16088" y="38456"/>
                  </a:lnTo>
                  <a:lnTo>
                    <a:pt x="19797" y="38868"/>
                  </a:lnTo>
                  <a:lnTo>
                    <a:pt x="21082" y="39143"/>
                  </a:lnTo>
                  <a:lnTo>
                    <a:pt x="23205" y="39372"/>
                  </a:lnTo>
                  <a:lnTo>
                    <a:pt x="24626" y="39168"/>
                  </a:lnTo>
                  <a:lnTo>
                    <a:pt x="25591" y="38491"/>
                  </a:lnTo>
                  <a:lnTo>
                    <a:pt x="27342" y="36616"/>
                  </a:lnTo>
                  <a:lnTo>
                    <a:pt x="27878" y="33799"/>
                  </a:lnTo>
                  <a:lnTo>
                    <a:pt x="28510" y="31311"/>
                  </a:lnTo>
                  <a:lnTo>
                    <a:pt x="29571" y="31118"/>
                  </a:lnTo>
                  <a:lnTo>
                    <a:pt x="30639" y="31380"/>
                  </a:lnTo>
                  <a:lnTo>
                    <a:pt x="31147" y="30876"/>
                  </a:lnTo>
                  <a:lnTo>
                    <a:pt x="31363" y="30192"/>
                  </a:lnTo>
                  <a:lnTo>
                    <a:pt x="31581" y="29610"/>
                  </a:lnTo>
                  <a:lnTo>
                    <a:pt x="32019" y="29481"/>
                  </a:lnTo>
                  <a:lnTo>
                    <a:pt x="32788" y="30128"/>
                  </a:lnTo>
                  <a:lnTo>
                    <a:pt x="33226" y="29954"/>
                  </a:lnTo>
                  <a:lnTo>
                    <a:pt x="33592" y="29524"/>
                  </a:lnTo>
                  <a:lnTo>
                    <a:pt x="33483" y="29007"/>
                  </a:lnTo>
                  <a:lnTo>
                    <a:pt x="32611" y="28135"/>
                  </a:lnTo>
                  <a:lnTo>
                    <a:pt x="31838" y="26765"/>
                  </a:lnTo>
                  <a:lnTo>
                    <a:pt x="31911" y="26291"/>
                  </a:lnTo>
                  <a:lnTo>
                    <a:pt x="32175" y="25800"/>
                  </a:lnTo>
                  <a:lnTo>
                    <a:pt x="34470" y="25334"/>
                  </a:lnTo>
                  <a:lnTo>
                    <a:pt x="35513" y="25252"/>
                  </a:lnTo>
                  <a:lnTo>
                    <a:pt x="35876" y="24767"/>
                  </a:lnTo>
                  <a:lnTo>
                    <a:pt x="35742" y="23993"/>
                  </a:lnTo>
                  <a:lnTo>
                    <a:pt x="34876" y="23556"/>
                  </a:lnTo>
                  <a:lnTo>
                    <a:pt x="31730" y="23797"/>
                  </a:lnTo>
                  <a:lnTo>
                    <a:pt x="28528" y="23742"/>
                  </a:lnTo>
                  <a:lnTo>
                    <a:pt x="28145" y="23271"/>
                  </a:lnTo>
                  <a:lnTo>
                    <a:pt x="28327" y="22753"/>
                  </a:lnTo>
                  <a:lnTo>
                    <a:pt x="28810" y="22346"/>
                  </a:lnTo>
                  <a:lnTo>
                    <a:pt x="35427" y="21303"/>
                  </a:lnTo>
                  <a:lnTo>
                    <a:pt x="38934" y="21665"/>
                  </a:lnTo>
                  <a:lnTo>
                    <a:pt x="41542" y="22217"/>
                  </a:lnTo>
                  <a:lnTo>
                    <a:pt x="42572" y="21943"/>
                  </a:lnTo>
                  <a:lnTo>
                    <a:pt x="41348" y="19591"/>
                  </a:lnTo>
                  <a:lnTo>
                    <a:pt x="43004" y="19370"/>
                  </a:lnTo>
                  <a:lnTo>
                    <a:pt x="43220" y="18564"/>
                  </a:lnTo>
                  <a:lnTo>
                    <a:pt x="41054" y="12304"/>
                  </a:lnTo>
                  <a:lnTo>
                    <a:pt x="42242" y="11751"/>
                  </a:lnTo>
                  <a:lnTo>
                    <a:pt x="43436" y="10516"/>
                  </a:lnTo>
                  <a:lnTo>
                    <a:pt x="43334" y="8177"/>
                  </a:lnTo>
                  <a:lnTo>
                    <a:pt x="44392" y="7036"/>
                  </a:lnTo>
                  <a:lnTo>
                    <a:pt x="45645" y="6254"/>
                  </a:lnTo>
                  <a:lnTo>
                    <a:pt x="47511" y="7044"/>
                  </a:lnTo>
                  <a:lnTo>
                    <a:pt x="50389" y="9354"/>
                  </a:lnTo>
                  <a:lnTo>
                    <a:pt x="51327" y="9802"/>
                  </a:lnTo>
                  <a:lnTo>
                    <a:pt x="52257" y="9933"/>
                  </a:lnTo>
                  <a:lnTo>
                    <a:pt x="53592" y="9217"/>
                  </a:lnTo>
                  <a:lnTo>
                    <a:pt x="58731" y="6930"/>
                  </a:lnTo>
                  <a:lnTo>
                    <a:pt x="61620" y="5644"/>
                  </a:lnTo>
                  <a:lnTo>
                    <a:pt x="65064" y="3771"/>
                  </a:lnTo>
                  <a:lnTo>
                    <a:pt x="65658" y="3047"/>
                  </a:lnTo>
                  <a:lnTo>
                    <a:pt x="66846" y="196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23" name="ee4p_TM_1_82333">
              <a:extLst>
                <a:ext uri="{FF2B5EF4-FFF2-40B4-BE49-F238E27FC236}">
                  <a16:creationId xmlns:a16="http://schemas.microsoft.com/office/drawing/2014/main" id="{21EEC558-2493-DA6D-C8BC-6BEABD27D8C2}"/>
                </a:ext>
              </a:extLst>
            </p:cNvPr>
            <p:cNvSpPr>
              <a:spLocks noChangeAspect="1"/>
            </p:cNvSpPr>
            <p:nvPr>
              <p:custDataLst>
                <p:tags r:id="rId51"/>
              </p:custDataLst>
            </p:nvPr>
          </p:nvSpPr>
          <p:spPr>
            <a:xfrm>
              <a:off x="7972422" y="3375720"/>
              <a:ext cx="392533" cy="253860"/>
            </a:xfrm>
            <a:custGeom>
              <a:avLst/>
              <a:gdLst>
                <a:gd name="connsiteX0" fmla="*/ 12371 w 312565"/>
                <a:gd name="connsiteY0" fmla="*/ 96822 h 196785"/>
                <a:gd name="connsiteX1" fmla="*/ 13230 w 312565"/>
                <a:gd name="connsiteY1" fmla="*/ 96886 h 196785"/>
                <a:gd name="connsiteX2" fmla="*/ 12412 w 312565"/>
                <a:gd name="connsiteY2" fmla="*/ 98339 h 196785"/>
                <a:gd name="connsiteX3" fmla="*/ 13615 w 312565"/>
                <a:gd name="connsiteY3" fmla="*/ 104406 h 196785"/>
                <a:gd name="connsiteX4" fmla="*/ 13408 w 312565"/>
                <a:gd name="connsiteY4" fmla="*/ 105617 h 196785"/>
                <a:gd name="connsiteX5" fmla="*/ 12207 w 312565"/>
                <a:gd name="connsiteY5" fmla="*/ 101976 h 196785"/>
                <a:gd name="connsiteX6" fmla="*/ 11602 w 312565"/>
                <a:gd name="connsiteY6" fmla="*/ 97956 h 196785"/>
                <a:gd name="connsiteX7" fmla="*/ 134778 w 312565"/>
                <a:gd name="connsiteY7" fmla="*/ 0 h 196785"/>
                <a:gd name="connsiteX8" fmla="*/ 137894 w 312565"/>
                <a:gd name="connsiteY8" fmla="*/ 2735 h 196785"/>
                <a:gd name="connsiteX9" fmla="*/ 141144 w 312565"/>
                <a:gd name="connsiteY9" fmla="*/ 5797 h 196785"/>
                <a:gd name="connsiteX10" fmla="*/ 142336 w 312565"/>
                <a:gd name="connsiteY10" fmla="*/ 6363 h 196785"/>
                <a:gd name="connsiteX11" fmla="*/ 144657 w 312565"/>
                <a:gd name="connsiteY11" fmla="*/ 6687 h 196785"/>
                <a:gd name="connsiteX12" fmla="*/ 146587 w 312565"/>
                <a:gd name="connsiteY12" fmla="*/ 6803 h 196785"/>
                <a:gd name="connsiteX13" fmla="*/ 147393 w 312565"/>
                <a:gd name="connsiteY13" fmla="*/ 7133 h 196785"/>
                <a:gd name="connsiteX14" fmla="*/ 148268 w 312565"/>
                <a:gd name="connsiteY14" fmla="*/ 7926 h 196785"/>
                <a:gd name="connsiteX15" fmla="*/ 149980 w 312565"/>
                <a:gd name="connsiteY15" fmla="*/ 11271 h 196785"/>
                <a:gd name="connsiteX16" fmla="*/ 151699 w 312565"/>
                <a:gd name="connsiteY16" fmla="*/ 12147 h 196785"/>
                <a:gd name="connsiteX17" fmla="*/ 153839 w 312565"/>
                <a:gd name="connsiteY17" fmla="*/ 12780 h 196785"/>
                <a:gd name="connsiteX18" fmla="*/ 160727 w 312565"/>
                <a:gd name="connsiteY18" fmla="*/ 12725 h 196785"/>
                <a:gd name="connsiteX19" fmla="*/ 162843 w 312565"/>
                <a:gd name="connsiteY19" fmla="*/ 12895 h 196785"/>
                <a:gd name="connsiteX20" fmla="*/ 164573 w 312565"/>
                <a:gd name="connsiteY20" fmla="*/ 14469 h 196785"/>
                <a:gd name="connsiteX21" fmla="*/ 165648 w 312565"/>
                <a:gd name="connsiteY21" fmla="*/ 15116 h 196785"/>
                <a:gd name="connsiteX22" fmla="*/ 166111 w 312565"/>
                <a:gd name="connsiteY22" fmla="*/ 15672 h 196785"/>
                <a:gd name="connsiteX23" fmla="*/ 165994 w 312565"/>
                <a:gd name="connsiteY23" fmla="*/ 16365 h 196785"/>
                <a:gd name="connsiteX24" fmla="*/ 165571 w 312565"/>
                <a:gd name="connsiteY24" fmla="*/ 17243 h 196785"/>
                <a:gd name="connsiteX25" fmla="*/ 165517 w 312565"/>
                <a:gd name="connsiteY25" fmla="*/ 18935 h 196785"/>
                <a:gd name="connsiteX26" fmla="*/ 165405 w 312565"/>
                <a:gd name="connsiteY26" fmla="*/ 20243 h 196785"/>
                <a:gd name="connsiteX27" fmla="*/ 164856 w 312565"/>
                <a:gd name="connsiteY27" fmla="*/ 20864 h 196785"/>
                <a:gd name="connsiteX28" fmla="*/ 164689 w 312565"/>
                <a:gd name="connsiteY28" fmla="*/ 21445 h 196785"/>
                <a:gd name="connsiteX29" fmla="*/ 165149 w 312565"/>
                <a:gd name="connsiteY29" fmla="*/ 21953 h 196785"/>
                <a:gd name="connsiteX30" fmla="*/ 168341 w 312565"/>
                <a:gd name="connsiteY30" fmla="*/ 23199 h 196785"/>
                <a:gd name="connsiteX31" fmla="*/ 169417 w 312565"/>
                <a:gd name="connsiteY31" fmla="*/ 24535 h 196785"/>
                <a:gd name="connsiteX32" fmla="*/ 170224 w 312565"/>
                <a:gd name="connsiteY32" fmla="*/ 25135 h 196785"/>
                <a:gd name="connsiteX33" fmla="*/ 170416 w 312565"/>
                <a:gd name="connsiteY33" fmla="*/ 25964 h 196785"/>
                <a:gd name="connsiteX34" fmla="*/ 169877 w 312565"/>
                <a:gd name="connsiteY34" fmla="*/ 26517 h 196785"/>
                <a:gd name="connsiteX35" fmla="*/ 168378 w 312565"/>
                <a:gd name="connsiteY35" fmla="*/ 26241 h 196785"/>
                <a:gd name="connsiteX36" fmla="*/ 167648 w 312565"/>
                <a:gd name="connsiteY36" fmla="*/ 27115 h 196785"/>
                <a:gd name="connsiteX37" fmla="*/ 167648 w 312565"/>
                <a:gd name="connsiteY37" fmla="*/ 28681 h 196785"/>
                <a:gd name="connsiteX38" fmla="*/ 168719 w 312565"/>
                <a:gd name="connsiteY38" fmla="*/ 30152 h 196785"/>
                <a:gd name="connsiteX39" fmla="*/ 169028 w 312565"/>
                <a:gd name="connsiteY39" fmla="*/ 31497 h 196785"/>
                <a:gd name="connsiteX40" fmla="*/ 168322 w 312565"/>
                <a:gd name="connsiteY40" fmla="*/ 32790 h 196785"/>
                <a:gd name="connsiteX41" fmla="*/ 167497 w 312565"/>
                <a:gd name="connsiteY41" fmla="*/ 34614 h 196785"/>
                <a:gd name="connsiteX42" fmla="*/ 167466 w 312565"/>
                <a:gd name="connsiteY42" fmla="*/ 35905 h 196785"/>
                <a:gd name="connsiteX43" fmla="*/ 167959 w 312565"/>
                <a:gd name="connsiteY43" fmla="*/ 36642 h 196785"/>
                <a:gd name="connsiteX44" fmla="*/ 170399 w 312565"/>
                <a:gd name="connsiteY44" fmla="*/ 37974 h 196785"/>
                <a:gd name="connsiteX45" fmla="*/ 176037 w 312565"/>
                <a:gd name="connsiteY45" fmla="*/ 41332 h 196785"/>
                <a:gd name="connsiteX46" fmla="*/ 177333 w 312565"/>
                <a:gd name="connsiteY46" fmla="*/ 41477 h 196785"/>
                <a:gd name="connsiteX47" fmla="*/ 182669 w 312565"/>
                <a:gd name="connsiteY47" fmla="*/ 40696 h 196785"/>
                <a:gd name="connsiteX48" fmla="*/ 185152 w 312565"/>
                <a:gd name="connsiteY48" fmla="*/ 40619 h 196785"/>
                <a:gd name="connsiteX49" fmla="*/ 186612 w 312565"/>
                <a:gd name="connsiteY49" fmla="*/ 41138 h 196785"/>
                <a:gd name="connsiteX50" fmla="*/ 190741 w 312565"/>
                <a:gd name="connsiteY50" fmla="*/ 41615 h 196785"/>
                <a:gd name="connsiteX51" fmla="*/ 192053 w 312565"/>
                <a:gd name="connsiteY51" fmla="*/ 42151 h 196785"/>
                <a:gd name="connsiteX52" fmla="*/ 193448 w 312565"/>
                <a:gd name="connsiteY52" fmla="*/ 42187 h 196785"/>
                <a:gd name="connsiteX53" fmla="*/ 195362 w 312565"/>
                <a:gd name="connsiteY53" fmla="*/ 42031 h 196785"/>
                <a:gd name="connsiteX54" fmla="*/ 196657 w 312565"/>
                <a:gd name="connsiteY54" fmla="*/ 40528 h 196785"/>
                <a:gd name="connsiteX55" fmla="*/ 197318 w 312565"/>
                <a:gd name="connsiteY55" fmla="*/ 40185 h 196785"/>
                <a:gd name="connsiteX56" fmla="*/ 197899 w 312565"/>
                <a:gd name="connsiteY56" fmla="*/ 39936 h 196785"/>
                <a:gd name="connsiteX57" fmla="*/ 199078 w 312565"/>
                <a:gd name="connsiteY57" fmla="*/ 39897 h 196785"/>
                <a:gd name="connsiteX58" fmla="*/ 202341 w 312565"/>
                <a:gd name="connsiteY58" fmla="*/ 40852 h 196785"/>
                <a:gd name="connsiteX59" fmla="*/ 205776 w 312565"/>
                <a:gd name="connsiteY59" fmla="*/ 42866 h 196785"/>
                <a:gd name="connsiteX60" fmla="*/ 208052 w 312565"/>
                <a:gd name="connsiteY60" fmla="*/ 44702 h 196785"/>
                <a:gd name="connsiteX61" fmla="*/ 209173 w 312565"/>
                <a:gd name="connsiteY61" fmla="*/ 46363 h 196785"/>
                <a:gd name="connsiteX62" fmla="*/ 210590 w 312565"/>
                <a:gd name="connsiteY62" fmla="*/ 49961 h 196785"/>
                <a:gd name="connsiteX63" fmla="*/ 212302 w 312565"/>
                <a:gd name="connsiteY63" fmla="*/ 55488 h 196785"/>
                <a:gd name="connsiteX64" fmla="*/ 214369 w 312565"/>
                <a:gd name="connsiteY64" fmla="*/ 59213 h 196785"/>
                <a:gd name="connsiteX65" fmla="*/ 216791 w 312565"/>
                <a:gd name="connsiteY65" fmla="*/ 61144 h 196785"/>
                <a:gd name="connsiteX66" fmla="*/ 218493 w 312565"/>
                <a:gd name="connsiteY66" fmla="*/ 64686 h 196785"/>
                <a:gd name="connsiteX67" fmla="*/ 219966 w 312565"/>
                <a:gd name="connsiteY67" fmla="*/ 72413 h 196785"/>
                <a:gd name="connsiteX68" fmla="*/ 220886 w 312565"/>
                <a:gd name="connsiteY68" fmla="*/ 73993 h 196785"/>
                <a:gd name="connsiteX69" fmla="*/ 221820 w 312565"/>
                <a:gd name="connsiteY69" fmla="*/ 74815 h 196785"/>
                <a:gd name="connsiteX70" fmla="*/ 224589 w 312565"/>
                <a:gd name="connsiteY70" fmla="*/ 77045 h 196785"/>
                <a:gd name="connsiteX71" fmla="*/ 230253 w 312565"/>
                <a:gd name="connsiteY71" fmla="*/ 80733 h 196785"/>
                <a:gd name="connsiteX72" fmla="*/ 233598 w 312565"/>
                <a:gd name="connsiteY72" fmla="*/ 82908 h 196785"/>
                <a:gd name="connsiteX73" fmla="*/ 238767 w 312565"/>
                <a:gd name="connsiteY73" fmla="*/ 86379 h 196785"/>
                <a:gd name="connsiteX74" fmla="*/ 243503 w 312565"/>
                <a:gd name="connsiteY74" fmla="*/ 89556 h 196785"/>
                <a:gd name="connsiteX75" fmla="*/ 248251 w 312565"/>
                <a:gd name="connsiteY75" fmla="*/ 94452 h 196785"/>
                <a:gd name="connsiteX76" fmla="*/ 249199 w 312565"/>
                <a:gd name="connsiteY76" fmla="*/ 95167 h 196785"/>
                <a:gd name="connsiteX77" fmla="*/ 253375 w 312565"/>
                <a:gd name="connsiteY77" fmla="*/ 97811 h 196785"/>
                <a:gd name="connsiteX78" fmla="*/ 258025 w 312565"/>
                <a:gd name="connsiteY78" fmla="*/ 100519 h 196785"/>
                <a:gd name="connsiteX79" fmla="*/ 261279 w 312565"/>
                <a:gd name="connsiteY79" fmla="*/ 99907 h 196785"/>
                <a:gd name="connsiteX80" fmla="*/ 266181 w 312565"/>
                <a:gd name="connsiteY80" fmla="*/ 104067 h 196785"/>
                <a:gd name="connsiteX81" fmla="*/ 268176 w 312565"/>
                <a:gd name="connsiteY81" fmla="*/ 105610 h 196785"/>
                <a:gd name="connsiteX82" fmla="*/ 269018 w 312565"/>
                <a:gd name="connsiteY82" fmla="*/ 106136 h 196785"/>
                <a:gd name="connsiteX83" fmla="*/ 272572 w 312565"/>
                <a:gd name="connsiteY83" fmla="*/ 107775 h 196785"/>
                <a:gd name="connsiteX84" fmla="*/ 278233 w 312565"/>
                <a:gd name="connsiteY84" fmla="*/ 111202 h 196785"/>
                <a:gd name="connsiteX85" fmla="*/ 285374 w 312565"/>
                <a:gd name="connsiteY85" fmla="*/ 116107 h 196785"/>
                <a:gd name="connsiteX86" fmla="*/ 290090 w 312565"/>
                <a:gd name="connsiteY86" fmla="*/ 118940 h 196785"/>
                <a:gd name="connsiteX87" fmla="*/ 291372 w 312565"/>
                <a:gd name="connsiteY87" fmla="*/ 119271 h 196785"/>
                <a:gd name="connsiteX88" fmla="*/ 292646 w 312565"/>
                <a:gd name="connsiteY88" fmla="*/ 119254 h 196785"/>
                <a:gd name="connsiteX89" fmla="*/ 294011 w 312565"/>
                <a:gd name="connsiteY89" fmla="*/ 118646 h 196785"/>
                <a:gd name="connsiteX90" fmla="*/ 295490 w 312565"/>
                <a:gd name="connsiteY90" fmla="*/ 118165 h 196785"/>
                <a:gd name="connsiteX91" fmla="*/ 298012 w 312565"/>
                <a:gd name="connsiteY91" fmla="*/ 118795 h 196785"/>
                <a:gd name="connsiteX92" fmla="*/ 300746 w 312565"/>
                <a:gd name="connsiteY92" fmla="*/ 119928 h 196785"/>
                <a:gd name="connsiteX93" fmla="*/ 302478 w 312565"/>
                <a:gd name="connsiteY93" fmla="*/ 120786 h 196785"/>
                <a:gd name="connsiteX94" fmla="*/ 304480 w 312565"/>
                <a:gd name="connsiteY94" fmla="*/ 122034 h 196785"/>
                <a:gd name="connsiteX95" fmla="*/ 306065 w 312565"/>
                <a:gd name="connsiteY95" fmla="*/ 123212 h 196785"/>
                <a:gd name="connsiteX96" fmla="*/ 307268 w 312565"/>
                <a:gd name="connsiteY96" fmla="*/ 123757 h 196785"/>
                <a:gd name="connsiteX97" fmla="*/ 311353 w 312565"/>
                <a:gd name="connsiteY97" fmla="*/ 124786 h 196785"/>
                <a:gd name="connsiteX98" fmla="*/ 312055 w 312565"/>
                <a:gd name="connsiteY98" fmla="*/ 125404 h 196785"/>
                <a:gd name="connsiteX99" fmla="*/ 312499 w 312565"/>
                <a:gd name="connsiteY99" fmla="*/ 126092 h 196785"/>
                <a:gd name="connsiteX100" fmla="*/ 312565 w 312565"/>
                <a:gd name="connsiteY100" fmla="*/ 126805 h 196785"/>
                <a:gd name="connsiteX101" fmla="*/ 310271 w 312565"/>
                <a:gd name="connsiteY101" fmla="*/ 130551 h 196785"/>
                <a:gd name="connsiteX102" fmla="*/ 309956 w 312565"/>
                <a:gd name="connsiteY102" fmla="*/ 135322 h 196785"/>
                <a:gd name="connsiteX103" fmla="*/ 309941 w 312565"/>
                <a:gd name="connsiteY103" fmla="*/ 138910 h 196785"/>
                <a:gd name="connsiteX104" fmla="*/ 310198 w 312565"/>
                <a:gd name="connsiteY104" fmla="*/ 141722 h 196785"/>
                <a:gd name="connsiteX105" fmla="*/ 309084 w 312565"/>
                <a:gd name="connsiteY105" fmla="*/ 141817 h 196785"/>
                <a:gd name="connsiteX106" fmla="*/ 306395 w 312565"/>
                <a:gd name="connsiteY106" fmla="*/ 141220 h 196785"/>
                <a:gd name="connsiteX107" fmla="*/ 301046 w 312565"/>
                <a:gd name="connsiteY107" fmla="*/ 140031 h 196785"/>
                <a:gd name="connsiteX108" fmla="*/ 296453 w 312565"/>
                <a:gd name="connsiteY108" fmla="*/ 137648 h 196785"/>
                <a:gd name="connsiteX109" fmla="*/ 293454 w 312565"/>
                <a:gd name="connsiteY109" fmla="*/ 136089 h 196785"/>
                <a:gd name="connsiteX110" fmla="*/ 292985 w 312565"/>
                <a:gd name="connsiteY110" fmla="*/ 136301 h 196785"/>
                <a:gd name="connsiteX111" fmla="*/ 291640 w 312565"/>
                <a:gd name="connsiteY111" fmla="*/ 137366 h 196785"/>
                <a:gd name="connsiteX112" fmla="*/ 290716 w 312565"/>
                <a:gd name="connsiteY112" fmla="*/ 138677 h 196785"/>
                <a:gd name="connsiteX113" fmla="*/ 289981 w 312565"/>
                <a:gd name="connsiteY113" fmla="*/ 141214 h 196785"/>
                <a:gd name="connsiteX114" fmla="*/ 288809 w 312565"/>
                <a:gd name="connsiteY114" fmla="*/ 144202 h 196785"/>
                <a:gd name="connsiteX115" fmla="*/ 283251 w 312565"/>
                <a:gd name="connsiteY115" fmla="*/ 144314 h 196785"/>
                <a:gd name="connsiteX116" fmla="*/ 278519 w 312565"/>
                <a:gd name="connsiteY116" fmla="*/ 144539 h 196785"/>
                <a:gd name="connsiteX117" fmla="*/ 275466 w 312565"/>
                <a:gd name="connsiteY117" fmla="*/ 145670 h 196785"/>
                <a:gd name="connsiteX118" fmla="*/ 272475 w 312565"/>
                <a:gd name="connsiteY118" fmla="*/ 147236 h 196785"/>
                <a:gd name="connsiteX119" fmla="*/ 271726 w 312565"/>
                <a:gd name="connsiteY119" fmla="*/ 149088 h 196785"/>
                <a:gd name="connsiteX120" fmla="*/ 271078 w 312565"/>
                <a:gd name="connsiteY120" fmla="*/ 151491 h 196785"/>
                <a:gd name="connsiteX121" fmla="*/ 269336 w 312565"/>
                <a:gd name="connsiteY121" fmla="*/ 156943 h 196785"/>
                <a:gd name="connsiteX122" fmla="*/ 267749 w 312565"/>
                <a:gd name="connsiteY122" fmla="*/ 161905 h 196785"/>
                <a:gd name="connsiteX123" fmla="*/ 266937 w 312565"/>
                <a:gd name="connsiteY123" fmla="*/ 165120 h 196785"/>
                <a:gd name="connsiteX124" fmla="*/ 265725 w 312565"/>
                <a:gd name="connsiteY124" fmla="*/ 167320 h 196785"/>
                <a:gd name="connsiteX125" fmla="*/ 262342 w 312565"/>
                <a:gd name="connsiteY125" fmla="*/ 170218 h 196785"/>
                <a:gd name="connsiteX126" fmla="*/ 258502 w 312565"/>
                <a:gd name="connsiteY126" fmla="*/ 172167 h 196785"/>
                <a:gd name="connsiteX127" fmla="*/ 256464 w 312565"/>
                <a:gd name="connsiteY127" fmla="*/ 173083 h 196785"/>
                <a:gd name="connsiteX128" fmla="*/ 255561 w 312565"/>
                <a:gd name="connsiteY128" fmla="*/ 174221 h 196785"/>
                <a:gd name="connsiteX129" fmla="*/ 255362 w 312565"/>
                <a:gd name="connsiteY129" fmla="*/ 175294 h 196785"/>
                <a:gd name="connsiteX130" fmla="*/ 254639 w 312565"/>
                <a:gd name="connsiteY130" fmla="*/ 175622 h 196785"/>
                <a:gd name="connsiteX131" fmla="*/ 253056 w 312565"/>
                <a:gd name="connsiteY131" fmla="*/ 175430 h 196785"/>
                <a:gd name="connsiteX132" fmla="*/ 251385 w 312565"/>
                <a:gd name="connsiteY132" fmla="*/ 175616 h 196785"/>
                <a:gd name="connsiteX133" fmla="*/ 247716 w 312565"/>
                <a:gd name="connsiteY133" fmla="*/ 176740 h 196785"/>
                <a:gd name="connsiteX134" fmla="*/ 243745 w 312565"/>
                <a:gd name="connsiteY134" fmla="*/ 178119 h 196785"/>
                <a:gd name="connsiteX135" fmla="*/ 238983 w 312565"/>
                <a:gd name="connsiteY135" fmla="*/ 179499 h 196785"/>
                <a:gd name="connsiteX136" fmla="*/ 236269 w 312565"/>
                <a:gd name="connsiteY136" fmla="*/ 179498 h 196785"/>
                <a:gd name="connsiteX137" fmla="*/ 235187 w 312565"/>
                <a:gd name="connsiteY137" fmla="*/ 179807 h 196785"/>
                <a:gd name="connsiteX138" fmla="*/ 234714 w 312565"/>
                <a:gd name="connsiteY138" fmla="*/ 180499 h 196785"/>
                <a:gd name="connsiteX139" fmla="*/ 235187 w 312565"/>
                <a:gd name="connsiteY139" fmla="*/ 181808 h 196785"/>
                <a:gd name="connsiteX140" fmla="*/ 235647 w 312565"/>
                <a:gd name="connsiteY140" fmla="*/ 182777 h 196785"/>
                <a:gd name="connsiteX141" fmla="*/ 236066 w 312565"/>
                <a:gd name="connsiteY141" fmla="*/ 184040 h 196785"/>
                <a:gd name="connsiteX142" fmla="*/ 234952 w 312565"/>
                <a:gd name="connsiteY142" fmla="*/ 185061 h 196785"/>
                <a:gd name="connsiteX143" fmla="*/ 234174 w 312565"/>
                <a:gd name="connsiteY143" fmla="*/ 186809 h 196785"/>
                <a:gd name="connsiteX144" fmla="*/ 233565 w 312565"/>
                <a:gd name="connsiteY144" fmla="*/ 189882 h 196785"/>
                <a:gd name="connsiteX145" fmla="*/ 231877 w 312565"/>
                <a:gd name="connsiteY145" fmla="*/ 190802 h 196785"/>
                <a:gd name="connsiteX146" fmla="*/ 229173 w 312565"/>
                <a:gd name="connsiteY146" fmla="*/ 192297 h 196785"/>
                <a:gd name="connsiteX147" fmla="*/ 226180 w 312565"/>
                <a:gd name="connsiteY147" fmla="*/ 194263 h 196785"/>
                <a:gd name="connsiteX148" fmla="*/ 225416 w 312565"/>
                <a:gd name="connsiteY148" fmla="*/ 194665 h 196785"/>
                <a:gd name="connsiteX149" fmla="*/ 223701 w 312565"/>
                <a:gd name="connsiteY149" fmla="*/ 195221 h 196785"/>
                <a:gd name="connsiteX150" fmla="*/ 221989 w 312565"/>
                <a:gd name="connsiteY150" fmla="*/ 195053 h 196785"/>
                <a:gd name="connsiteX151" fmla="*/ 220436 w 312565"/>
                <a:gd name="connsiteY151" fmla="*/ 194765 h 196785"/>
                <a:gd name="connsiteX152" fmla="*/ 218750 w 312565"/>
                <a:gd name="connsiteY152" fmla="*/ 195269 h 196785"/>
                <a:gd name="connsiteX153" fmla="*/ 217007 w 312565"/>
                <a:gd name="connsiteY153" fmla="*/ 196785 h 196785"/>
                <a:gd name="connsiteX154" fmla="*/ 216198 w 312565"/>
                <a:gd name="connsiteY154" fmla="*/ 196326 h 196785"/>
                <a:gd name="connsiteX155" fmla="*/ 215791 w 312565"/>
                <a:gd name="connsiteY155" fmla="*/ 194792 h 196785"/>
                <a:gd name="connsiteX156" fmla="*/ 214913 w 312565"/>
                <a:gd name="connsiteY156" fmla="*/ 193796 h 196785"/>
                <a:gd name="connsiteX157" fmla="*/ 212183 w 312565"/>
                <a:gd name="connsiteY157" fmla="*/ 191543 h 196785"/>
                <a:gd name="connsiteX158" fmla="*/ 209844 w 312565"/>
                <a:gd name="connsiteY158" fmla="*/ 189935 h 196785"/>
                <a:gd name="connsiteX159" fmla="*/ 208832 w 312565"/>
                <a:gd name="connsiteY159" fmla="*/ 189830 h 196785"/>
                <a:gd name="connsiteX160" fmla="*/ 206685 w 312565"/>
                <a:gd name="connsiteY160" fmla="*/ 190242 h 196785"/>
                <a:gd name="connsiteX161" fmla="*/ 204003 w 312565"/>
                <a:gd name="connsiteY161" fmla="*/ 190545 h 196785"/>
                <a:gd name="connsiteX162" fmla="*/ 201820 w 312565"/>
                <a:gd name="connsiteY162" fmla="*/ 190221 h 196785"/>
                <a:gd name="connsiteX163" fmla="*/ 200091 w 312565"/>
                <a:gd name="connsiteY163" fmla="*/ 189579 h 196785"/>
                <a:gd name="connsiteX164" fmla="*/ 197415 w 312565"/>
                <a:gd name="connsiteY164" fmla="*/ 187369 h 196785"/>
                <a:gd name="connsiteX165" fmla="*/ 196441 w 312565"/>
                <a:gd name="connsiteY165" fmla="*/ 186179 h 196785"/>
                <a:gd name="connsiteX166" fmla="*/ 195712 w 312565"/>
                <a:gd name="connsiteY166" fmla="*/ 185264 h 196785"/>
                <a:gd name="connsiteX167" fmla="*/ 193883 w 312565"/>
                <a:gd name="connsiteY167" fmla="*/ 185513 h 196785"/>
                <a:gd name="connsiteX168" fmla="*/ 193371 w 312565"/>
                <a:gd name="connsiteY168" fmla="*/ 184514 h 196785"/>
                <a:gd name="connsiteX169" fmla="*/ 193297 w 312565"/>
                <a:gd name="connsiteY169" fmla="*/ 183349 h 196785"/>
                <a:gd name="connsiteX170" fmla="*/ 193809 w 312565"/>
                <a:gd name="connsiteY170" fmla="*/ 181932 h 196785"/>
                <a:gd name="connsiteX171" fmla="*/ 193664 w 312565"/>
                <a:gd name="connsiteY171" fmla="*/ 179266 h 196785"/>
                <a:gd name="connsiteX172" fmla="*/ 192641 w 312565"/>
                <a:gd name="connsiteY172" fmla="*/ 177348 h 196785"/>
                <a:gd name="connsiteX173" fmla="*/ 191470 w 312565"/>
                <a:gd name="connsiteY173" fmla="*/ 176514 h 196785"/>
                <a:gd name="connsiteX174" fmla="*/ 191615 w 312565"/>
                <a:gd name="connsiteY174" fmla="*/ 175930 h 196785"/>
                <a:gd name="connsiteX175" fmla="*/ 192127 w 312565"/>
                <a:gd name="connsiteY175" fmla="*/ 174594 h 196785"/>
                <a:gd name="connsiteX176" fmla="*/ 192785 w 312565"/>
                <a:gd name="connsiteY176" fmla="*/ 173426 h 196785"/>
                <a:gd name="connsiteX177" fmla="*/ 192777 w 312565"/>
                <a:gd name="connsiteY177" fmla="*/ 171116 h 196785"/>
                <a:gd name="connsiteX178" fmla="*/ 191961 w 312565"/>
                <a:gd name="connsiteY178" fmla="*/ 168610 h 196785"/>
                <a:gd name="connsiteX179" fmla="*/ 191634 w 312565"/>
                <a:gd name="connsiteY179" fmla="*/ 164990 h 196785"/>
                <a:gd name="connsiteX180" fmla="*/ 191846 w 312565"/>
                <a:gd name="connsiteY180" fmla="*/ 161455 h 196785"/>
                <a:gd name="connsiteX181" fmla="*/ 190734 w 312565"/>
                <a:gd name="connsiteY181" fmla="*/ 159673 h 196785"/>
                <a:gd name="connsiteX182" fmla="*/ 181630 w 312565"/>
                <a:gd name="connsiteY182" fmla="*/ 159663 h 196785"/>
                <a:gd name="connsiteX183" fmla="*/ 173524 w 312565"/>
                <a:gd name="connsiteY183" fmla="*/ 159798 h 196785"/>
                <a:gd name="connsiteX184" fmla="*/ 173068 w 312565"/>
                <a:gd name="connsiteY184" fmla="*/ 159394 h 196785"/>
                <a:gd name="connsiteX185" fmla="*/ 169920 w 312565"/>
                <a:gd name="connsiteY185" fmla="*/ 154931 h 196785"/>
                <a:gd name="connsiteX186" fmla="*/ 167365 w 312565"/>
                <a:gd name="connsiteY186" fmla="*/ 151540 h 196785"/>
                <a:gd name="connsiteX187" fmla="*/ 164841 w 312565"/>
                <a:gd name="connsiteY187" fmla="*/ 149538 h 196785"/>
                <a:gd name="connsiteX188" fmla="*/ 159060 w 312565"/>
                <a:gd name="connsiteY188" fmla="*/ 147072 h 196785"/>
                <a:gd name="connsiteX189" fmla="*/ 156296 w 312565"/>
                <a:gd name="connsiteY189" fmla="*/ 146043 h 196785"/>
                <a:gd name="connsiteX190" fmla="*/ 153925 w 312565"/>
                <a:gd name="connsiteY190" fmla="*/ 144160 h 196785"/>
                <a:gd name="connsiteX191" fmla="*/ 151988 w 312565"/>
                <a:gd name="connsiteY191" fmla="*/ 142098 h 196785"/>
                <a:gd name="connsiteX192" fmla="*/ 151487 w 312565"/>
                <a:gd name="connsiteY192" fmla="*/ 139266 h 196785"/>
                <a:gd name="connsiteX193" fmla="*/ 151094 w 312565"/>
                <a:gd name="connsiteY193" fmla="*/ 138337 h 196785"/>
                <a:gd name="connsiteX194" fmla="*/ 150537 w 312565"/>
                <a:gd name="connsiteY194" fmla="*/ 137584 h 196785"/>
                <a:gd name="connsiteX195" fmla="*/ 149926 w 312565"/>
                <a:gd name="connsiteY195" fmla="*/ 137249 h 196785"/>
                <a:gd name="connsiteX196" fmla="*/ 149190 w 312565"/>
                <a:gd name="connsiteY196" fmla="*/ 137325 h 196785"/>
                <a:gd name="connsiteX197" fmla="*/ 142476 w 312565"/>
                <a:gd name="connsiteY197" fmla="*/ 134032 h 196785"/>
                <a:gd name="connsiteX198" fmla="*/ 139783 w 312565"/>
                <a:gd name="connsiteY198" fmla="*/ 133167 h 196785"/>
                <a:gd name="connsiteX199" fmla="*/ 137248 w 312565"/>
                <a:gd name="connsiteY199" fmla="*/ 133863 h 196785"/>
                <a:gd name="connsiteX200" fmla="*/ 136130 w 312565"/>
                <a:gd name="connsiteY200" fmla="*/ 133983 h 196785"/>
                <a:gd name="connsiteX201" fmla="*/ 133925 w 312565"/>
                <a:gd name="connsiteY201" fmla="*/ 133047 h 196785"/>
                <a:gd name="connsiteX202" fmla="*/ 131388 w 312565"/>
                <a:gd name="connsiteY202" fmla="*/ 134316 h 196785"/>
                <a:gd name="connsiteX203" fmla="*/ 130304 w 312565"/>
                <a:gd name="connsiteY203" fmla="*/ 134397 h 196785"/>
                <a:gd name="connsiteX204" fmla="*/ 128788 w 312565"/>
                <a:gd name="connsiteY204" fmla="*/ 134094 h 196785"/>
                <a:gd name="connsiteX205" fmla="*/ 127537 w 312565"/>
                <a:gd name="connsiteY205" fmla="*/ 133619 h 196785"/>
                <a:gd name="connsiteX206" fmla="*/ 124158 w 312565"/>
                <a:gd name="connsiteY206" fmla="*/ 130620 h 196785"/>
                <a:gd name="connsiteX207" fmla="*/ 121323 w 312565"/>
                <a:gd name="connsiteY207" fmla="*/ 129406 h 196785"/>
                <a:gd name="connsiteX208" fmla="*/ 119280 w 312565"/>
                <a:gd name="connsiteY208" fmla="*/ 128629 h 196785"/>
                <a:gd name="connsiteX209" fmla="*/ 115352 w 312565"/>
                <a:gd name="connsiteY209" fmla="*/ 127490 h 196785"/>
                <a:gd name="connsiteX210" fmla="*/ 111161 w 312565"/>
                <a:gd name="connsiteY210" fmla="*/ 126896 h 196785"/>
                <a:gd name="connsiteX211" fmla="*/ 109012 w 312565"/>
                <a:gd name="connsiteY211" fmla="*/ 126403 h 196785"/>
                <a:gd name="connsiteX212" fmla="*/ 107462 w 312565"/>
                <a:gd name="connsiteY212" fmla="*/ 125746 h 196785"/>
                <a:gd name="connsiteX213" fmla="*/ 107064 w 312565"/>
                <a:gd name="connsiteY213" fmla="*/ 125321 h 196785"/>
                <a:gd name="connsiteX214" fmla="*/ 107086 w 312565"/>
                <a:gd name="connsiteY214" fmla="*/ 124219 h 196785"/>
                <a:gd name="connsiteX215" fmla="*/ 106969 w 312565"/>
                <a:gd name="connsiteY215" fmla="*/ 122772 h 196785"/>
                <a:gd name="connsiteX216" fmla="*/ 106453 w 312565"/>
                <a:gd name="connsiteY216" fmla="*/ 121719 h 196785"/>
                <a:gd name="connsiteX217" fmla="*/ 105393 w 312565"/>
                <a:gd name="connsiteY217" fmla="*/ 120456 h 196785"/>
                <a:gd name="connsiteX218" fmla="*/ 103920 w 312565"/>
                <a:gd name="connsiteY218" fmla="*/ 119510 h 196785"/>
                <a:gd name="connsiteX219" fmla="*/ 101387 w 312565"/>
                <a:gd name="connsiteY219" fmla="*/ 119676 h 196785"/>
                <a:gd name="connsiteX220" fmla="*/ 97576 w 312565"/>
                <a:gd name="connsiteY220" fmla="*/ 119597 h 196785"/>
                <a:gd name="connsiteX221" fmla="*/ 94657 w 312565"/>
                <a:gd name="connsiteY221" fmla="*/ 118646 h 196785"/>
                <a:gd name="connsiteX222" fmla="*/ 92342 w 312565"/>
                <a:gd name="connsiteY222" fmla="*/ 118477 h 196785"/>
                <a:gd name="connsiteX223" fmla="*/ 89558 w 312565"/>
                <a:gd name="connsiteY223" fmla="*/ 118657 h 196785"/>
                <a:gd name="connsiteX224" fmla="*/ 87271 w 312565"/>
                <a:gd name="connsiteY224" fmla="*/ 118662 h 196785"/>
                <a:gd name="connsiteX225" fmla="*/ 85641 w 312565"/>
                <a:gd name="connsiteY225" fmla="*/ 119353 h 196785"/>
                <a:gd name="connsiteX226" fmla="*/ 84695 w 312565"/>
                <a:gd name="connsiteY226" fmla="*/ 120159 h 196785"/>
                <a:gd name="connsiteX227" fmla="*/ 84095 w 312565"/>
                <a:gd name="connsiteY227" fmla="*/ 122631 h 196785"/>
                <a:gd name="connsiteX228" fmla="*/ 83544 w 312565"/>
                <a:gd name="connsiteY228" fmla="*/ 123001 h 196785"/>
                <a:gd name="connsiteX229" fmla="*/ 82587 w 312565"/>
                <a:gd name="connsiteY229" fmla="*/ 123181 h 196785"/>
                <a:gd name="connsiteX230" fmla="*/ 81314 w 312565"/>
                <a:gd name="connsiteY230" fmla="*/ 123053 h 196785"/>
                <a:gd name="connsiteX231" fmla="*/ 78640 w 312565"/>
                <a:gd name="connsiteY231" fmla="*/ 123074 h 196785"/>
                <a:gd name="connsiteX232" fmla="*/ 74019 w 312565"/>
                <a:gd name="connsiteY232" fmla="*/ 122636 h 196785"/>
                <a:gd name="connsiteX233" fmla="*/ 68206 w 312565"/>
                <a:gd name="connsiteY233" fmla="*/ 122505 h 196785"/>
                <a:gd name="connsiteX234" fmla="*/ 63838 w 312565"/>
                <a:gd name="connsiteY234" fmla="*/ 123752 h 196785"/>
                <a:gd name="connsiteX235" fmla="*/ 60385 w 312565"/>
                <a:gd name="connsiteY235" fmla="*/ 125541 h 196785"/>
                <a:gd name="connsiteX236" fmla="*/ 57087 w 312565"/>
                <a:gd name="connsiteY236" fmla="*/ 127562 h 196785"/>
                <a:gd name="connsiteX237" fmla="*/ 53207 w 312565"/>
                <a:gd name="connsiteY237" fmla="*/ 130751 h 196785"/>
                <a:gd name="connsiteX238" fmla="*/ 52069 w 312565"/>
                <a:gd name="connsiteY238" fmla="*/ 132165 h 196785"/>
                <a:gd name="connsiteX239" fmla="*/ 49782 w 312565"/>
                <a:gd name="connsiteY239" fmla="*/ 137807 h 196785"/>
                <a:gd name="connsiteX240" fmla="*/ 48769 w 312565"/>
                <a:gd name="connsiteY240" fmla="*/ 138617 h 196785"/>
                <a:gd name="connsiteX241" fmla="*/ 47448 w 312565"/>
                <a:gd name="connsiteY241" fmla="*/ 139266 h 196785"/>
                <a:gd name="connsiteX242" fmla="*/ 46105 w 312565"/>
                <a:gd name="connsiteY242" fmla="*/ 139381 h 196785"/>
                <a:gd name="connsiteX243" fmla="*/ 43446 w 312565"/>
                <a:gd name="connsiteY243" fmla="*/ 140214 h 196785"/>
                <a:gd name="connsiteX244" fmla="*/ 39933 w 312565"/>
                <a:gd name="connsiteY244" fmla="*/ 141591 h 196785"/>
                <a:gd name="connsiteX245" fmla="*/ 37541 w 312565"/>
                <a:gd name="connsiteY245" fmla="*/ 142130 h 196785"/>
                <a:gd name="connsiteX246" fmla="*/ 31406 w 312565"/>
                <a:gd name="connsiteY246" fmla="*/ 141847 h 196785"/>
                <a:gd name="connsiteX247" fmla="*/ 31045 w 312565"/>
                <a:gd name="connsiteY247" fmla="*/ 140061 h 196785"/>
                <a:gd name="connsiteX248" fmla="*/ 29940 w 312565"/>
                <a:gd name="connsiteY248" fmla="*/ 133523 h 196785"/>
                <a:gd name="connsiteX249" fmla="*/ 29402 w 312565"/>
                <a:gd name="connsiteY249" fmla="*/ 126910 h 196785"/>
                <a:gd name="connsiteX250" fmla="*/ 29439 w 312565"/>
                <a:gd name="connsiteY250" fmla="*/ 123860 h 196785"/>
                <a:gd name="connsiteX251" fmla="*/ 30078 w 312565"/>
                <a:gd name="connsiteY251" fmla="*/ 117731 h 196785"/>
                <a:gd name="connsiteX252" fmla="*/ 30028 w 312565"/>
                <a:gd name="connsiteY252" fmla="*/ 114640 h 196785"/>
                <a:gd name="connsiteX253" fmla="*/ 29767 w 312565"/>
                <a:gd name="connsiteY253" fmla="*/ 111834 h 196785"/>
                <a:gd name="connsiteX254" fmla="*/ 30022 w 312565"/>
                <a:gd name="connsiteY254" fmla="*/ 109082 h 196785"/>
                <a:gd name="connsiteX255" fmla="*/ 30512 w 312565"/>
                <a:gd name="connsiteY255" fmla="*/ 105984 h 196785"/>
                <a:gd name="connsiteX256" fmla="*/ 30769 w 312565"/>
                <a:gd name="connsiteY256" fmla="*/ 102832 h 196785"/>
                <a:gd name="connsiteX257" fmla="*/ 30400 w 312565"/>
                <a:gd name="connsiteY257" fmla="*/ 100631 h 196785"/>
                <a:gd name="connsiteX258" fmla="*/ 29212 w 312565"/>
                <a:gd name="connsiteY258" fmla="*/ 98854 h 196785"/>
                <a:gd name="connsiteX259" fmla="*/ 27204 w 312565"/>
                <a:gd name="connsiteY259" fmla="*/ 96654 h 196785"/>
                <a:gd name="connsiteX260" fmla="*/ 26886 w 312565"/>
                <a:gd name="connsiteY260" fmla="*/ 95351 h 196785"/>
                <a:gd name="connsiteX261" fmla="*/ 26772 w 312565"/>
                <a:gd name="connsiteY261" fmla="*/ 93897 h 196785"/>
                <a:gd name="connsiteX262" fmla="*/ 24848 w 312565"/>
                <a:gd name="connsiteY262" fmla="*/ 93732 h 196785"/>
                <a:gd name="connsiteX263" fmla="*/ 23120 w 312565"/>
                <a:gd name="connsiteY263" fmla="*/ 92227 h 196785"/>
                <a:gd name="connsiteX264" fmla="*/ 21695 w 312565"/>
                <a:gd name="connsiteY264" fmla="*/ 91407 h 196785"/>
                <a:gd name="connsiteX265" fmla="*/ 18629 w 312565"/>
                <a:gd name="connsiteY265" fmla="*/ 90496 h 196785"/>
                <a:gd name="connsiteX266" fmla="*/ 17091 w 312565"/>
                <a:gd name="connsiteY266" fmla="*/ 90450 h 196785"/>
                <a:gd name="connsiteX267" fmla="*/ 15688 w 312565"/>
                <a:gd name="connsiteY267" fmla="*/ 91119 h 196785"/>
                <a:gd name="connsiteX268" fmla="*/ 14656 w 312565"/>
                <a:gd name="connsiteY268" fmla="*/ 92461 h 196785"/>
                <a:gd name="connsiteX269" fmla="*/ 13934 w 312565"/>
                <a:gd name="connsiteY269" fmla="*/ 90345 h 196785"/>
                <a:gd name="connsiteX270" fmla="*/ 13952 w 312565"/>
                <a:gd name="connsiteY270" fmla="*/ 88130 h 196785"/>
                <a:gd name="connsiteX271" fmla="*/ 16402 w 312565"/>
                <a:gd name="connsiteY271" fmla="*/ 83547 h 196785"/>
                <a:gd name="connsiteX272" fmla="*/ 17936 w 312565"/>
                <a:gd name="connsiteY272" fmla="*/ 84884 h 196785"/>
                <a:gd name="connsiteX273" fmla="*/ 19808 w 312565"/>
                <a:gd name="connsiteY273" fmla="*/ 85421 h 196785"/>
                <a:gd name="connsiteX274" fmla="*/ 22190 w 312565"/>
                <a:gd name="connsiteY274" fmla="*/ 85502 h 196785"/>
                <a:gd name="connsiteX275" fmla="*/ 24528 w 312565"/>
                <a:gd name="connsiteY275" fmla="*/ 85147 h 196785"/>
                <a:gd name="connsiteX276" fmla="*/ 24070 w 312565"/>
                <a:gd name="connsiteY276" fmla="*/ 83576 h 196785"/>
                <a:gd name="connsiteX277" fmla="*/ 22984 w 312565"/>
                <a:gd name="connsiteY277" fmla="*/ 82685 h 196785"/>
                <a:gd name="connsiteX278" fmla="*/ 21635 w 312565"/>
                <a:gd name="connsiteY278" fmla="*/ 81981 h 196785"/>
                <a:gd name="connsiteX279" fmla="*/ 21153 w 312565"/>
                <a:gd name="connsiteY279" fmla="*/ 79907 h 196785"/>
                <a:gd name="connsiteX280" fmla="*/ 21326 w 312565"/>
                <a:gd name="connsiteY280" fmla="*/ 77756 h 196785"/>
                <a:gd name="connsiteX281" fmla="*/ 21967 w 312565"/>
                <a:gd name="connsiteY281" fmla="*/ 75720 h 196785"/>
                <a:gd name="connsiteX282" fmla="*/ 21237 w 312565"/>
                <a:gd name="connsiteY282" fmla="*/ 74899 h 196785"/>
                <a:gd name="connsiteX283" fmla="*/ 20130 w 312565"/>
                <a:gd name="connsiteY283" fmla="*/ 74392 h 196785"/>
                <a:gd name="connsiteX284" fmla="*/ 17573 w 312565"/>
                <a:gd name="connsiteY284" fmla="*/ 74452 h 196785"/>
                <a:gd name="connsiteX285" fmla="*/ 14256 w 312565"/>
                <a:gd name="connsiteY285" fmla="*/ 73914 h 196785"/>
                <a:gd name="connsiteX286" fmla="*/ 10915 w 312565"/>
                <a:gd name="connsiteY286" fmla="*/ 73681 h 196785"/>
                <a:gd name="connsiteX287" fmla="*/ 10134 w 312565"/>
                <a:gd name="connsiteY287" fmla="*/ 76083 h 196785"/>
                <a:gd name="connsiteX288" fmla="*/ 11978 w 312565"/>
                <a:gd name="connsiteY288" fmla="*/ 79234 h 196785"/>
                <a:gd name="connsiteX289" fmla="*/ 10414 w 312565"/>
                <a:gd name="connsiteY289" fmla="*/ 77686 h 196785"/>
                <a:gd name="connsiteX290" fmla="*/ 8942 w 312565"/>
                <a:gd name="connsiteY290" fmla="*/ 75638 h 196785"/>
                <a:gd name="connsiteX291" fmla="*/ 6873 w 312565"/>
                <a:gd name="connsiteY291" fmla="*/ 71950 h 196785"/>
                <a:gd name="connsiteX292" fmla="*/ 5541 w 312565"/>
                <a:gd name="connsiteY292" fmla="*/ 67622 h 196785"/>
                <a:gd name="connsiteX293" fmla="*/ 5303 w 312565"/>
                <a:gd name="connsiteY293" fmla="*/ 62943 h 196785"/>
                <a:gd name="connsiteX294" fmla="*/ 6432 w 312565"/>
                <a:gd name="connsiteY294" fmla="*/ 59068 h 196785"/>
                <a:gd name="connsiteX295" fmla="*/ 7873 w 312565"/>
                <a:gd name="connsiteY295" fmla="*/ 55426 h 196785"/>
                <a:gd name="connsiteX296" fmla="*/ 8743 w 312565"/>
                <a:gd name="connsiteY296" fmla="*/ 50758 h 196785"/>
                <a:gd name="connsiteX297" fmla="*/ 9942 w 312565"/>
                <a:gd name="connsiteY297" fmla="*/ 46166 h 196785"/>
                <a:gd name="connsiteX298" fmla="*/ 11140 w 312565"/>
                <a:gd name="connsiteY298" fmla="*/ 48224 h 196785"/>
                <a:gd name="connsiteX299" fmla="*/ 12509 w 312565"/>
                <a:gd name="connsiteY299" fmla="*/ 50067 h 196785"/>
                <a:gd name="connsiteX300" fmla="*/ 14403 w 312565"/>
                <a:gd name="connsiteY300" fmla="*/ 51770 h 196785"/>
                <a:gd name="connsiteX301" fmla="*/ 15437 w 312565"/>
                <a:gd name="connsiteY301" fmla="*/ 52176 h 196785"/>
                <a:gd name="connsiteX302" fmla="*/ 18553 w 312565"/>
                <a:gd name="connsiteY302" fmla="*/ 52879 h 196785"/>
                <a:gd name="connsiteX303" fmla="*/ 20559 w 312565"/>
                <a:gd name="connsiteY303" fmla="*/ 52615 h 196785"/>
                <a:gd name="connsiteX304" fmla="*/ 22697 w 312565"/>
                <a:gd name="connsiteY304" fmla="*/ 51609 h 196785"/>
                <a:gd name="connsiteX305" fmla="*/ 24796 w 312565"/>
                <a:gd name="connsiteY305" fmla="*/ 51939 h 196785"/>
                <a:gd name="connsiteX306" fmla="*/ 26532 w 312565"/>
                <a:gd name="connsiteY306" fmla="*/ 53831 h 196785"/>
                <a:gd name="connsiteX307" fmla="*/ 28080 w 312565"/>
                <a:gd name="connsiteY307" fmla="*/ 55950 h 196785"/>
                <a:gd name="connsiteX308" fmla="*/ 30430 w 312565"/>
                <a:gd name="connsiteY308" fmla="*/ 56396 h 196785"/>
                <a:gd name="connsiteX309" fmla="*/ 35269 w 312565"/>
                <a:gd name="connsiteY309" fmla="*/ 54864 h 196785"/>
                <a:gd name="connsiteX310" fmla="*/ 37571 w 312565"/>
                <a:gd name="connsiteY310" fmla="*/ 54514 h 196785"/>
                <a:gd name="connsiteX311" fmla="*/ 39568 w 312565"/>
                <a:gd name="connsiteY311" fmla="*/ 55215 h 196785"/>
                <a:gd name="connsiteX312" fmla="*/ 40599 w 312565"/>
                <a:gd name="connsiteY312" fmla="*/ 55344 h 196785"/>
                <a:gd name="connsiteX313" fmla="*/ 41648 w 312565"/>
                <a:gd name="connsiteY313" fmla="*/ 55227 h 196785"/>
                <a:gd name="connsiteX314" fmla="*/ 40739 w 312565"/>
                <a:gd name="connsiteY314" fmla="*/ 53345 h 196785"/>
                <a:gd name="connsiteX315" fmla="*/ 40367 w 312565"/>
                <a:gd name="connsiteY315" fmla="*/ 51517 h 196785"/>
                <a:gd name="connsiteX316" fmla="*/ 41583 w 312565"/>
                <a:gd name="connsiteY316" fmla="*/ 50550 h 196785"/>
                <a:gd name="connsiteX317" fmla="*/ 45401 w 312565"/>
                <a:gd name="connsiteY317" fmla="*/ 51577 h 196785"/>
                <a:gd name="connsiteX318" fmla="*/ 47832 w 312565"/>
                <a:gd name="connsiteY318" fmla="*/ 50892 h 196785"/>
                <a:gd name="connsiteX319" fmla="*/ 48452 w 312565"/>
                <a:gd name="connsiteY319" fmla="*/ 50506 h 196785"/>
                <a:gd name="connsiteX320" fmla="*/ 49005 w 312565"/>
                <a:gd name="connsiteY320" fmla="*/ 50032 h 196785"/>
                <a:gd name="connsiteX321" fmla="*/ 49296 w 312565"/>
                <a:gd name="connsiteY321" fmla="*/ 48450 h 196785"/>
                <a:gd name="connsiteX322" fmla="*/ 49180 w 312565"/>
                <a:gd name="connsiteY322" fmla="*/ 46827 h 196785"/>
                <a:gd name="connsiteX323" fmla="*/ 48865 w 312565"/>
                <a:gd name="connsiteY323" fmla="*/ 45296 h 196785"/>
                <a:gd name="connsiteX324" fmla="*/ 48152 w 312565"/>
                <a:gd name="connsiteY324" fmla="*/ 43953 h 196785"/>
                <a:gd name="connsiteX325" fmla="*/ 46399 w 312565"/>
                <a:gd name="connsiteY325" fmla="*/ 42072 h 196785"/>
                <a:gd name="connsiteX326" fmla="*/ 39596 w 312565"/>
                <a:gd name="connsiteY326" fmla="*/ 37585 h 196785"/>
                <a:gd name="connsiteX327" fmla="*/ 37307 w 312565"/>
                <a:gd name="connsiteY327" fmla="*/ 35793 h 196785"/>
                <a:gd name="connsiteX328" fmla="*/ 35401 w 312565"/>
                <a:gd name="connsiteY328" fmla="*/ 33473 h 196785"/>
                <a:gd name="connsiteX329" fmla="*/ 34185 w 312565"/>
                <a:gd name="connsiteY329" fmla="*/ 30195 h 196785"/>
                <a:gd name="connsiteX330" fmla="*/ 33198 w 312565"/>
                <a:gd name="connsiteY330" fmla="*/ 26774 h 196785"/>
                <a:gd name="connsiteX331" fmla="*/ 32282 w 312565"/>
                <a:gd name="connsiteY331" fmla="*/ 24232 h 196785"/>
                <a:gd name="connsiteX332" fmla="*/ 29909 w 312565"/>
                <a:gd name="connsiteY332" fmla="*/ 18321 h 196785"/>
                <a:gd name="connsiteX333" fmla="*/ 28985 w 312565"/>
                <a:gd name="connsiteY333" fmla="*/ 17618 h 196785"/>
                <a:gd name="connsiteX334" fmla="*/ 27828 w 312565"/>
                <a:gd name="connsiteY334" fmla="*/ 17305 h 196785"/>
                <a:gd name="connsiteX335" fmla="*/ 25010 w 312565"/>
                <a:gd name="connsiteY335" fmla="*/ 17120 h 196785"/>
                <a:gd name="connsiteX336" fmla="*/ 22157 w 312565"/>
                <a:gd name="connsiteY336" fmla="*/ 17551 h 196785"/>
                <a:gd name="connsiteX337" fmla="*/ 17493 w 312565"/>
                <a:gd name="connsiteY337" fmla="*/ 18569 h 196785"/>
                <a:gd name="connsiteX338" fmla="*/ 14822 w 312565"/>
                <a:gd name="connsiteY338" fmla="*/ 18251 h 196785"/>
                <a:gd name="connsiteX339" fmla="*/ 13587 w 312565"/>
                <a:gd name="connsiteY339" fmla="*/ 18881 h 196785"/>
                <a:gd name="connsiteX340" fmla="*/ 10529 w 312565"/>
                <a:gd name="connsiteY340" fmla="*/ 21374 h 196785"/>
                <a:gd name="connsiteX341" fmla="*/ 9097 w 312565"/>
                <a:gd name="connsiteY341" fmla="*/ 23508 h 196785"/>
                <a:gd name="connsiteX342" fmla="*/ 7098 w 312565"/>
                <a:gd name="connsiteY342" fmla="*/ 28383 h 196785"/>
                <a:gd name="connsiteX343" fmla="*/ 8616 w 312565"/>
                <a:gd name="connsiteY343" fmla="*/ 29952 h 196785"/>
                <a:gd name="connsiteX344" fmla="*/ 8588 w 312565"/>
                <a:gd name="connsiteY344" fmla="*/ 30980 h 196785"/>
                <a:gd name="connsiteX345" fmla="*/ 7437 w 312565"/>
                <a:gd name="connsiteY345" fmla="*/ 38161 h 196785"/>
                <a:gd name="connsiteX346" fmla="*/ 8136 w 312565"/>
                <a:gd name="connsiteY346" fmla="*/ 41637 h 196785"/>
                <a:gd name="connsiteX347" fmla="*/ 7884 w 312565"/>
                <a:gd name="connsiteY347" fmla="*/ 41895 h 196785"/>
                <a:gd name="connsiteX348" fmla="*/ 7335 w 312565"/>
                <a:gd name="connsiteY348" fmla="*/ 41089 h 196785"/>
                <a:gd name="connsiteX349" fmla="*/ 5603 w 312565"/>
                <a:gd name="connsiteY349" fmla="*/ 37540 h 196785"/>
                <a:gd name="connsiteX350" fmla="*/ 2554 w 312565"/>
                <a:gd name="connsiteY350" fmla="*/ 33207 h 196785"/>
                <a:gd name="connsiteX351" fmla="*/ 0 w 312565"/>
                <a:gd name="connsiteY351" fmla="*/ 26567 h 196785"/>
                <a:gd name="connsiteX352" fmla="*/ 4489 w 312565"/>
                <a:gd name="connsiteY352" fmla="*/ 22218 h 196785"/>
                <a:gd name="connsiteX353" fmla="*/ 8328 w 312565"/>
                <a:gd name="connsiteY353" fmla="*/ 19133 h 196785"/>
                <a:gd name="connsiteX354" fmla="*/ 11468 w 312565"/>
                <a:gd name="connsiteY354" fmla="*/ 17270 h 196785"/>
                <a:gd name="connsiteX355" fmla="*/ 12427 w 312565"/>
                <a:gd name="connsiteY355" fmla="*/ 16817 h 196785"/>
                <a:gd name="connsiteX356" fmla="*/ 16722 w 312565"/>
                <a:gd name="connsiteY356" fmla="*/ 15272 h 196785"/>
                <a:gd name="connsiteX357" fmla="*/ 22265 w 312565"/>
                <a:gd name="connsiteY357" fmla="*/ 13878 h 196785"/>
                <a:gd name="connsiteX358" fmla="*/ 26346 w 312565"/>
                <a:gd name="connsiteY358" fmla="*/ 12850 h 196785"/>
                <a:gd name="connsiteX359" fmla="*/ 31676 w 312565"/>
                <a:gd name="connsiteY359" fmla="*/ 11974 h 196785"/>
                <a:gd name="connsiteX360" fmla="*/ 33418 w 312565"/>
                <a:gd name="connsiteY360" fmla="*/ 11811 h 196785"/>
                <a:gd name="connsiteX361" fmla="*/ 35979 w 312565"/>
                <a:gd name="connsiteY361" fmla="*/ 11830 h 196785"/>
                <a:gd name="connsiteX362" fmla="*/ 38057 w 312565"/>
                <a:gd name="connsiteY362" fmla="*/ 12655 h 196785"/>
                <a:gd name="connsiteX363" fmla="*/ 39316 w 312565"/>
                <a:gd name="connsiteY363" fmla="*/ 13300 h 196785"/>
                <a:gd name="connsiteX364" fmla="*/ 43760 w 312565"/>
                <a:gd name="connsiteY364" fmla="*/ 15955 h 196785"/>
                <a:gd name="connsiteX365" fmla="*/ 48294 w 312565"/>
                <a:gd name="connsiteY365" fmla="*/ 18665 h 196785"/>
                <a:gd name="connsiteX366" fmla="*/ 52184 w 312565"/>
                <a:gd name="connsiteY366" fmla="*/ 21667 h 196785"/>
                <a:gd name="connsiteX367" fmla="*/ 53287 w 312565"/>
                <a:gd name="connsiteY367" fmla="*/ 22889 h 196785"/>
                <a:gd name="connsiteX368" fmla="*/ 53904 w 312565"/>
                <a:gd name="connsiteY368" fmla="*/ 24350 h 196785"/>
                <a:gd name="connsiteX369" fmla="*/ 54362 w 312565"/>
                <a:gd name="connsiteY369" fmla="*/ 25782 h 196785"/>
                <a:gd name="connsiteX370" fmla="*/ 57668 w 312565"/>
                <a:gd name="connsiteY370" fmla="*/ 30317 h 196785"/>
                <a:gd name="connsiteX371" fmla="*/ 59005 w 312565"/>
                <a:gd name="connsiteY371" fmla="*/ 32393 h 196785"/>
                <a:gd name="connsiteX372" fmla="*/ 60936 w 312565"/>
                <a:gd name="connsiteY372" fmla="*/ 35092 h 196785"/>
                <a:gd name="connsiteX373" fmla="*/ 62486 w 312565"/>
                <a:gd name="connsiteY373" fmla="*/ 36405 h 196785"/>
                <a:gd name="connsiteX374" fmla="*/ 64004 w 312565"/>
                <a:gd name="connsiteY374" fmla="*/ 38028 h 196785"/>
                <a:gd name="connsiteX375" fmla="*/ 65021 w 312565"/>
                <a:gd name="connsiteY375" fmla="*/ 39364 h 196785"/>
                <a:gd name="connsiteX376" fmla="*/ 66185 w 312565"/>
                <a:gd name="connsiteY376" fmla="*/ 39997 h 196785"/>
                <a:gd name="connsiteX377" fmla="*/ 67472 w 312565"/>
                <a:gd name="connsiteY377" fmla="*/ 40248 h 196785"/>
                <a:gd name="connsiteX378" fmla="*/ 70422 w 312565"/>
                <a:gd name="connsiteY378" fmla="*/ 39825 h 196785"/>
                <a:gd name="connsiteX379" fmla="*/ 73969 w 312565"/>
                <a:gd name="connsiteY379" fmla="*/ 38981 h 196785"/>
                <a:gd name="connsiteX380" fmla="*/ 76090 w 312565"/>
                <a:gd name="connsiteY380" fmla="*/ 38629 h 196785"/>
                <a:gd name="connsiteX381" fmla="*/ 77029 w 312565"/>
                <a:gd name="connsiteY381" fmla="*/ 38680 h 196785"/>
                <a:gd name="connsiteX382" fmla="*/ 82879 w 312565"/>
                <a:gd name="connsiteY382" fmla="*/ 38980 h 196785"/>
                <a:gd name="connsiteX383" fmla="*/ 88139 w 312565"/>
                <a:gd name="connsiteY383" fmla="*/ 39249 h 196785"/>
                <a:gd name="connsiteX384" fmla="*/ 94635 w 312565"/>
                <a:gd name="connsiteY384" fmla="*/ 39583 h 196785"/>
                <a:gd name="connsiteX385" fmla="*/ 96563 w 312565"/>
                <a:gd name="connsiteY385" fmla="*/ 39896 h 196785"/>
                <a:gd name="connsiteX386" fmla="*/ 98885 w 312565"/>
                <a:gd name="connsiteY386" fmla="*/ 40185 h 196785"/>
                <a:gd name="connsiteX387" fmla="*/ 100038 w 312565"/>
                <a:gd name="connsiteY387" fmla="*/ 40229 h 196785"/>
                <a:gd name="connsiteX388" fmla="*/ 101061 w 312565"/>
                <a:gd name="connsiteY388" fmla="*/ 39074 h 196785"/>
                <a:gd name="connsiteX389" fmla="*/ 101737 w 312565"/>
                <a:gd name="connsiteY389" fmla="*/ 38440 h 196785"/>
                <a:gd name="connsiteX390" fmla="*/ 102268 w 312565"/>
                <a:gd name="connsiteY390" fmla="*/ 37939 h 196785"/>
                <a:gd name="connsiteX391" fmla="*/ 102158 w 312565"/>
                <a:gd name="connsiteY391" fmla="*/ 37372 h 196785"/>
                <a:gd name="connsiteX392" fmla="*/ 101336 w 312565"/>
                <a:gd name="connsiteY392" fmla="*/ 36891 h 196785"/>
                <a:gd name="connsiteX393" fmla="*/ 100042 w 312565"/>
                <a:gd name="connsiteY393" fmla="*/ 35291 h 196785"/>
                <a:gd name="connsiteX394" fmla="*/ 99305 w 312565"/>
                <a:gd name="connsiteY394" fmla="*/ 29507 h 196785"/>
                <a:gd name="connsiteX395" fmla="*/ 98846 w 312565"/>
                <a:gd name="connsiteY395" fmla="*/ 24548 h 196785"/>
                <a:gd name="connsiteX396" fmla="*/ 100385 w 312565"/>
                <a:gd name="connsiteY396" fmla="*/ 23002 h 196785"/>
                <a:gd name="connsiteX397" fmla="*/ 102152 w 312565"/>
                <a:gd name="connsiteY397" fmla="*/ 21880 h 196785"/>
                <a:gd name="connsiteX398" fmla="*/ 104700 w 312565"/>
                <a:gd name="connsiteY398" fmla="*/ 18499 h 196785"/>
                <a:gd name="connsiteX399" fmla="*/ 106067 w 312565"/>
                <a:gd name="connsiteY399" fmla="*/ 17454 h 196785"/>
                <a:gd name="connsiteX400" fmla="*/ 108081 w 312565"/>
                <a:gd name="connsiteY400" fmla="*/ 16590 h 196785"/>
                <a:gd name="connsiteX401" fmla="*/ 114812 w 312565"/>
                <a:gd name="connsiteY401" fmla="*/ 16364 h 196785"/>
                <a:gd name="connsiteX402" fmla="*/ 117645 w 312565"/>
                <a:gd name="connsiteY402" fmla="*/ 15698 h 196785"/>
                <a:gd name="connsiteX403" fmla="*/ 118567 w 312565"/>
                <a:gd name="connsiteY403" fmla="*/ 14602 h 196785"/>
                <a:gd name="connsiteX404" fmla="*/ 120060 w 312565"/>
                <a:gd name="connsiteY404" fmla="*/ 11830 h 196785"/>
                <a:gd name="connsiteX405" fmla="*/ 120552 w 312565"/>
                <a:gd name="connsiteY405" fmla="*/ 9570 h 196785"/>
                <a:gd name="connsiteX406" fmla="*/ 121387 w 312565"/>
                <a:gd name="connsiteY406" fmla="*/ 8536 h 196785"/>
                <a:gd name="connsiteX407" fmla="*/ 122392 w 312565"/>
                <a:gd name="connsiteY407" fmla="*/ 7767 h 196785"/>
                <a:gd name="connsiteX408" fmla="*/ 123421 w 312565"/>
                <a:gd name="connsiteY408" fmla="*/ 7797 h 196785"/>
                <a:gd name="connsiteX409" fmla="*/ 125415 w 312565"/>
                <a:gd name="connsiteY409" fmla="*/ 8462 h 196785"/>
                <a:gd name="connsiteX410" fmla="*/ 126929 w 312565"/>
                <a:gd name="connsiteY410" fmla="*/ 8832 h 196785"/>
                <a:gd name="connsiteX411" fmla="*/ 128008 w 312565"/>
                <a:gd name="connsiteY411" fmla="*/ 9334 h 196785"/>
                <a:gd name="connsiteX412" fmla="*/ 128989 w 312565"/>
                <a:gd name="connsiteY412" fmla="*/ 10132 h 196785"/>
                <a:gd name="connsiteX413" fmla="*/ 129945 w 312565"/>
                <a:gd name="connsiteY413" fmla="*/ 11521 h 196785"/>
                <a:gd name="connsiteX414" fmla="*/ 130092 w 312565"/>
                <a:gd name="connsiteY414" fmla="*/ 12435 h 196785"/>
                <a:gd name="connsiteX415" fmla="*/ 130533 w 312565"/>
                <a:gd name="connsiteY415" fmla="*/ 12967 h 196785"/>
                <a:gd name="connsiteX416" fmla="*/ 131293 w 312565"/>
                <a:gd name="connsiteY416" fmla="*/ 12978 h 196785"/>
                <a:gd name="connsiteX417" fmla="*/ 131858 w 312565"/>
                <a:gd name="connsiteY417" fmla="*/ 12985 h 196785"/>
                <a:gd name="connsiteX418" fmla="*/ 132243 w 312565"/>
                <a:gd name="connsiteY418" fmla="*/ 12784 h 196785"/>
                <a:gd name="connsiteX419" fmla="*/ 132495 w 312565"/>
                <a:gd name="connsiteY419" fmla="*/ 12318 h 196785"/>
                <a:gd name="connsiteX420" fmla="*/ 132299 w 312565"/>
                <a:gd name="connsiteY420" fmla="*/ 11698 h 196785"/>
                <a:gd name="connsiteX421" fmla="*/ 130999 w 312565"/>
                <a:gd name="connsiteY421" fmla="*/ 9925 h 196785"/>
                <a:gd name="connsiteX422" fmla="*/ 128135 w 312565"/>
                <a:gd name="connsiteY422" fmla="*/ 6709 h 196785"/>
                <a:gd name="connsiteX423" fmla="*/ 126265 w 312565"/>
                <a:gd name="connsiteY423" fmla="*/ 5400 h 196785"/>
                <a:gd name="connsiteX424" fmla="*/ 125335 w 312565"/>
                <a:gd name="connsiteY424" fmla="*/ 4690 h 196785"/>
                <a:gd name="connsiteX425" fmla="*/ 125104 w 312565"/>
                <a:gd name="connsiteY425" fmla="*/ 4020 h 196785"/>
                <a:gd name="connsiteX426" fmla="*/ 126317 w 312565"/>
                <a:gd name="connsiteY426" fmla="*/ 2998 h 196785"/>
                <a:gd name="connsiteX427" fmla="*/ 127494 w 312565"/>
                <a:gd name="connsiteY427" fmla="*/ 2416 h 196785"/>
                <a:gd name="connsiteX428" fmla="*/ 129561 w 312565"/>
                <a:gd name="connsiteY428" fmla="*/ 2853 h 196785"/>
                <a:gd name="connsiteX429" fmla="*/ 132303 w 312565"/>
                <a:gd name="connsiteY429" fmla="*/ 3091 h 196785"/>
                <a:gd name="connsiteX430" fmla="*/ 133523 w 312565"/>
                <a:gd name="connsiteY430" fmla="*/ 2581 h 196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</a:cxnLst>
              <a:rect l="l" t="t" r="r" b="b"/>
              <a:pathLst>
                <a:path w="312565" h="196785">
                  <a:moveTo>
                    <a:pt x="12371" y="96822"/>
                  </a:moveTo>
                  <a:lnTo>
                    <a:pt x="13230" y="96886"/>
                  </a:lnTo>
                  <a:lnTo>
                    <a:pt x="12412" y="98339"/>
                  </a:lnTo>
                  <a:lnTo>
                    <a:pt x="13615" y="104406"/>
                  </a:lnTo>
                  <a:lnTo>
                    <a:pt x="13408" y="105617"/>
                  </a:lnTo>
                  <a:lnTo>
                    <a:pt x="12207" y="101976"/>
                  </a:lnTo>
                  <a:lnTo>
                    <a:pt x="11602" y="97956"/>
                  </a:lnTo>
                  <a:close/>
                  <a:moveTo>
                    <a:pt x="134778" y="0"/>
                  </a:moveTo>
                  <a:lnTo>
                    <a:pt x="137894" y="2735"/>
                  </a:lnTo>
                  <a:lnTo>
                    <a:pt x="141144" y="5797"/>
                  </a:lnTo>
                  <a:lnTo>
                    <a:pt x="142336" y="6363"/>
                  </a:lnTo>
                  <a:lnTo>
                    <a:pt x="144657" y="6687"/>
                  </a:lnTo>
                  <a:lnTo>
                    <a:pt x="146587" y="6803"/>
                  </a:lnTo>
                  <a:lnTo>
                    <a:pt x="147393" y="7133"/>
                  </a:lnTo>
                  <a:lnTo>
                    <a:pt x="148268" y="7926"/>
                  </a:lnTo>
                  <a:lnTo>
                    <a:pt x="149980" y="11271"/>
                  </a:lnTo>
                  <a:lnTo>
                    <a:pt x="151699" y="12147"/>
                  </a:lnTo>
                  <a:lnTo>
                    <a:pt x="153839" y="12780"/>
                  </a:lnTo>
                  <a:lnTo>
                    <a:pt x="160727" y="12725"/>
                  </a:lnTo>
                  <a:lnTo>
                    <a:pt x="162843" y="12895"/>
                  </a:lnTo>
                  <a:lnTo>
                    <a:pt x="164573" y="14469"/>
                  </a:lnTo>
                  <a:lnTo>
                    <a:pt x="165648" y="15116"/>
                  </a:lnTo>
                  <a:lnTo>
                    <a:pt x="166111" y="15672"/>
                  </a:lnTo>
                  <a:lnTo>
                    <a:pt x="165994" y="16365"/>
                  </a:lnTo>
                  <a:lnTo>
                    <a:pt x="165571" y="17243"/>
                  </a:lnTo>
                  <a:lnTo>
                    <a:pt x="165517" y="18935"/>
                  </a:lnTo>
                  <a:lnTo>
                    <a:pt x="165405" y="20243"/>
                  </a:lnTo>
                  <a:lnTo>
                    <a:pt x="164856" y="20864"/>
                  </a:lnTo>
                  <a:lnTo>
                    <a:pt x="164689" y="21445"/>
                  </a:lnTo>
                  <a:lnTo>
                    <a:pt x="165149" y="21953"/>
                  </a:lnTo>
                  <a:lnTo>
                    <a:pt x="168341" y="23199"/>
                  </a:lnTo>
                  <a:lnTo>
                    <a:pt x="169417" y="24535"/>
                  </a:lnTo>
                  <a:lnTo>
                    <a:pt x="170224" y="25135"/>
                  </a:lnTo>
                  <a:lnTo>
                    <a:pt x="170416" y="25964"/>
                  </a:lnTo>
                  <a:lnTo>
                    <a:pt x="169877" y="26517"/>
                  </a:lnTo>
                  <a:lnTo>
                    <a:pt x="168378" y="26241"/>
                  </a:lnTo>
                  <a:lnTo>
                    <a:pt x="167648" y="27115"/>
                  </a:lnTo>
                  <a:lnTo>
                    <a:pt x="167648" y="28681"/>
                  </a:lnTo>
                  <a:lnTo>
                    <a:pt x="168719" y="30152"/>
                  </a:lnTo>
                  <a:lnTo>
                    <a:pt x="169028" y="31497"/>
                  </a:lnTo>
                  <a:lnTo>
                    <a:pt x="168322" y="32790"/>
                  </a:lnTo>
                  <a:lnTo>
                    <a:pt x="167497" y="34614"/>
                  </a:lnTo>
                  <a:lnTo>
                    <a:pt x="167466" y="35905"/>
                  </a:lnTo>
                  <a:lnTo>
                    <a:pt x="167959" y="36642"/>
                  </a:lnTo>
                  <a:lnTo>
                    <a:pt x="170399" y="37974"/>
                  </a:lnTo>
                  <a:lnTo>
                    <a:pt x="176037" y="41332"/>
                  </a:lnTo>
                  <a:lnTo>
                    <a:pt x="177333" y="41477"/>
                  </a:lnTo>
                  <a:lnTo>
                    <a:pt x="182669" y="40696"/>
                  </a:lnTo>
                  <a:lnTo>
                    <a:pt x="185152" y="40619"/>
                  </a:lnTo>
                  <a:lnTo>
                    <a:pt x="186612" y="41138"/>
                  </a:lnTo>
                  <a:lnTo>
                    <a:pt x="190741" y="41615"/>
                  </a:lnTo>
                  <a:lnTo>
                    <a:pt x="192053" y="42151"/>
                  </a:lnTo>
                  <a:lnTo>
                    <a:pt x="193448" y="42187"/>
                  </a:lnTo>
                  <a:lnTo>
                    <a:pt x="195362" y="42031"/>
                  </a:lnTo>
                  <a:lnTo>
                    <a:pt x="196657" y="40528"/>
                  </a:lnTo>
                  <a:lnTo>
                    <a:pt x="197318" y="40185"/>
                  </a:lnTo>
                  <a:lnTo>
                    <a:pt x="197899" y="39936"/>
                  </a:lnTo>
                  <a:lnTo>
                    <a:pt x="199078" y="39897"/>
                  </a:lnTo>
                  <a:lnTo>
                    <a:pt x="202341" y="40852"/>
                  </a:lnTo>
                  <a:lnTo>
                    <a:pt x="205776" y="42866"/>
                  </a:lnTo>
                  <a:lnTo>
                    <a:pt x="208052" y="44702"/>
                  </a:lnTo>
                  <a:lnTo>
                    <a:pt x="209173" y="46363"/>
                  </a:lnTo>
                  <a:lnTo>
                    <a:pt x="210590" y="49961"/>
                  </a:lnTo>
                  <a:lnTo>
                    <a:pt x="212302" y="55488"/>
                  </a:lnTo>
                  <a:lnTo>
                    <a:pt x="214369" y="59213"/>
                  </a:lnTo>
                  <a:lnTo>
                    <a:pt x="216791" y="61144"/>
                  </a:lnTo>
                  <a:lnTo>
                    <a:pt x="218493" y="64686"/>
                  </a:lnTo>
                  <a:lnTo>
                    <a:pt x="219966" y="72413"/>
                  </a:lnTo>
                  <a:lnTo>
                    <a:pt x="220886" y="73993"/>
                  </a:lnTo>
                  <a:lnTo>
                    <a:pt x="221820" y="74815"/>
                  </a:lnTo>
                  <a:lnTo>
                    <a:pt x="224589" y="77045"/>
                  </a:lnTo>
                  <a:lnTo>
                    <a:pt x="230253" y="80733"/>
                  </a:lnTo>
                  <a:lnTo>
                    <a:pt x="233598" y="82908"/>
                  </a:lnTo>
                  <a:lnTo>
                    <a:pt x="238767" y="86379"/>
                  </a:lnTo>
                  <a:lnTo>
                    <a:pt x="243503" y="89556"/>
                  </a:lnTo>
                  <a:lnTo>
                    <a:pt x="248251" y="94452"/>
                  </a:lnTo>
                  <a:lnTo>
                    <a:pt x="249199" y="95167"/>
                  </a:lnTo>
                  <a:lnTo>
                    <a:pt x="253375" y="97811"/>
                  </a:lnTo>
                  <a:lnTo>
                    <a:pt x="258025" y="100519"/>
                  </a:lnTo>
                  <a:lnTo>
                    <a:pt x="261279" y="99907"/>
                  </a:lnTo>
                  <a:lnTo>
                    <a:pt x="266181" y="104067"/>
                  </a:lnTo>
                  <a:lnTo>
                    <a:pt x="268176" y="105610"/>
                  </a:lnTo>
                  <a:lnTo>
                    <a:pt x="269018" y="106136"/>
                  </a:lnTo>
                  <a:lnTo>
                    <a:pt x="272572" y="107775"/>
                  </a:lnTo>
                  <a:lnTo>
                    <a:pt x="278233" y="111202"/>
                  </a:lnTo>
                  <a:lnTo>
                    <a:pt x="285374" y="116107"/>
                  </a:lnTo>
                  <a:lnTo>
                    <a:pt x="290090" y="118940"/>
                  </a:lnTo>
                  <a:lnTo>
                    <a:pt x="291372" y="119271"/>
                  </a:lnTo>
                  <a:lnTo>
                    <a:pt x="292646" y="119254"/>
                  </a:lnTo>
                  <a:lnTo>
                    <a:pt x="294011" y="118646"/>
                  </a:lnTo>
                  <a:lnTo>
                    <a:pt x="295490" y="118165"/>
                  </a:lnTo>
                  <a:lnTo>
                    <a:pt x="298012" y="118795"/>
                  </a:lnTo>
                  <a:lnTo>
                    <a:pt x="300746" y="119928"/>
                  </a:lnTo>
                  <a:lnTo>
                    <a:pt x="302478" y="120786"/>
                  </a:lnTo>
                  <a:lnTo>
                    <a:pt x="304480" y="122034"/>
                  </a:lnTo>
                  <a:lnTo>
                    <a:pt x="306065" y="123212"/>
                  </a:lnTo>
                  <a:lnTo>
                    <a:pt x="307268" y="123757"/>
                  </a:lnTo>
                  <a:lnTo>
                    <a:pt x="311353" y="124786"/>
                  </a:lnTo>
                  <a:lnTo>
                    <a:pt x="312055" y="125404"/>
                  </a:lnTo>
                  <a:lnTo>
                    <a:pt x="312499" y="126092"/>
                  </a:lnTo>
                  <a:lnTo>
                    <a:pt x="312565" y="126805"/>
                  </a:lnTo>
                  <a:lnTo>
                    <a:pt x="310271" y="130551"/>
                  </a:lnTo>
                  <a:lnTo>
                    <a:pt x="309956" y="135322"/>
                  </a:lnTo>
                  <a:lnTo>
                    <a:pt x="309941" y="138910"/>
                  </a:lnTo>
                  <a:lnTo>
                    <a:pt x="310198" y="141722"/>
                  </a:lnTo>
                  <a:lnTo>
                    <a:pt x="309084" y="141817"/>
                  </a:lnTo>
                  <a:lnTo>
                    <a:pt x="306395" y="141220"/>
                  </a:lnTo>
                  <a:lnTo>
                    <a:pt x="301046" y="140031"/>
                  </a:lnTo>
                  <a:lnTo>
                    <a:pt x="296453" y="137648"/>
                  </a:lnTo>
                  <a:lnTo>
                    <a:pt x="293454" y="136089"/>
                  </a:lnTo>
                  <a:lnTo>
                    <a:pt x="292985" y="136301"/>
                  </a:lnTo>
                  <a:lnTo>
                    <a:pt x="291640" y="137366"/>
                  </a:lnTo>
                  <a:lnTo>
                    <a:pt x="290716" y="138677"/>
                  </a:lnTo>
                  <a:lnTo>
                    <a:pt x="289981" y="141214"/>
                  </a:lnTo>
                  <a:lnTo>
                    <a:pt x="288809" y="144202"/>
                  </a:lnTo>
                  <a:lnTo>
                    <a:pt x="283251" y="144314"/>
                  </a:lnTo>
                  <a:lnTo>
                    <a:pt x="278519" y="144539"/>
                  </a:lnTo>
                  <a:lnTo>
                    <a:pt x="275466" y="145670"/>
                  </a:lnTo>
                  <a:lnTo>
                    <a:pt x="272475" y="147236"/>
                  </a:lnTo>
                  <a:lnTo>
                    <a:pt x="271726" y="149088"/>
                  </a:lnTo>
                  <a:lnTo>
                    <a:pt x="271078" y="151491"/>
                  </a:lnTo>
                  <a:lnTo>
                    <a:pt x="269336" y="156943"/>
                  </a:lnTo>
                  <a:lnTo>
                    <a:pt x="267749" y="161905"/>
                  </a:lnTo>
                  <a:lnTo>
                    <a:pt x="266937" y="165120"/>
                  </a:lnTo>
                  <a:lnTo>
                    <a:pt x="265725" y="167320"/>
                  </a:lnTo>
                  <a:lnTo>
                    <a:pt x="262342" y="170218"/>
                  </a:lnTo>
                  <a:lnTo>
                    <a:pt x="258502" y="172167"/>
                  </a:lnTo>
                  <a:lnTo>
                    <a:pt x="256464" y="173083"/>
                  </a:lnTo>
                  <a:lnTo>
                    <a:pt x="255561" y="174221"/>
                  </a:lnTo>
                  <a:lnTo>
                    <a:pt x="255362" y="175294"/>
                  </a:lnTo>
                  <a:lnTo>
                    <a:pt x="254639" y="175622"/>
                  </a:lnTo>
                  <a:lnTo>
                    <a:pt x="253056" y="175430"/>
                  </a:lnTo>
                  <a:lnTo>
                    <a:pt x="251385" y="175616"/>
                  </a:lnTo>
                  <a:lnTo>
                    <a:pt x="247716" y="176740"/>
                  </a:lnTo>
                  <a:lnTo>
                    <a:pt x="243745" y="178119"/>
                  </a:lnTo>
                  <a:lnTo>
                    <a:pt x="238983" y="179499"/>
                  </a:lnTo>
                  <a:lnTo>
                    <a:pt x="236269" y="179498"/>
                  </a:lnTo>
                  <a:lnTo>
                    <a:pt x="235187" y="179807"/>
                  </a:lnTo>
                  <a:lnTo>
                    <a:pt x="234714" y="180499"/>
                  </a:lnTo>
                  <a:lnTo>
                    <a:pt x="235187" y="181808"/>
                  </a:lnTo>
                  <a:lnTo>
                    <a:pt x="235647" y="182777"/>
                  </a:lnTo>
                  <a:lnTo>
                    <a:pt x="236066" y="184040"/>
                  </a:lnTo>
                  <a:lnTo>
                    <a:pt x="234952" y="185061"/>
                  </a:lnTo>
                  <a:lnTo>
                    <a:pt x="234174" y="186809"/>
                  </a:lnTo>
                  <a:lnTo>
                    <a:pt x="233565" y="189882"/>
                  </a:lnTo>
                  <a:lnTo>
                    <a:pt x="231877" y="190802"/>
                  </a:lnTo>
                  <a:lnTo>
                    <a:pt x="229173" y="192297"/>
                  </a:lnTo>
                  <a:lnTo>
                    <a:pt x="226180" y="194263"/>
                  </a:lnTo>
                  <a:lnTo>
                    <a:pt x="225416" y="194665"/>
                  </a:lnTo>
                  <a:lnTo>
                    <a:pt x="223701" y="195221"/>
                  </a:lnTo>
                  <a:lnTo>
                    <a:pt x="221989" y="195053"/>
                  </a:lnTo>
                  <a:lnTo>
                    <a:pt x="220436" y="194765"/>
                  </a:lnTo>
                  <a:lnTo>
                    <a:pt x="218750" y="195269"/>
                  </a:lnTo>
                  <a:lnTo>
                    <a:pt x="217007" y="196785"/>
                  </a:lnTo>
                  <a:lnTo>
                    <a:pt x="216198" y="196326"/>
                  </a:lnTo>
                  <a:lnTo>
                    <a:pt x="215791" y="194792"/>
                  </a:lnTo>
                  <a:lnTo>
                    <a:pt x="214913" y="193796"/>
                  </a:lnTo>
                  <a:lnTo>
                    <a:pt x="212183" y="191543"/>
                  </a:lnTo>
                  <a:lnTo>
                    <a:pt x="209844" y="189935"/>
                  </a:lnTo>
                  <a:lnTo>
                    <a:pt x="208832" y="189830"/>
                  </a:lnTo>
                  <a:lnTo>
                    <a:pt x="206685" y="190242"/>
                  </a:lnTo>
                  <a:lnTo>
                    <a:pt x="204003" y="190545"/>
                  </a:lnTo>
                  <a:lnTo>
                    <a:pt x="201820" y="190221"/>
                  </a:lnTo>
                  <a:lnTo>
                    <a:pt x="200091" y="189579"/>
                  </a:lnTo>
                  <a:lnTo>
                    <a:pt x="197415" y="187369"/>
                  </a:lnTo>
                  <a:lnTo>
                    <a:pt x="196441" y="186179"/>
                  </a:lnTo>
                  <a:lnTo>
                    <a:pt x="195712" y="185264"/>
                  </a:lnTo>
                  <a:lnTo>
                    <a:pt x="193883" y="185513"/>
                  </a:lnTo>
                  <a:lnTo>
                    <a:pt x="193371" y="184514"/>
                  </a:lnTo>
                  <a:lnTo>
                    <a:pt x="193297" y="183349"/>
                  </a:lnTo>
                  <a:lnTo>
                    <a:pt x="193809" y="181932"/>
                  </a:lnTo>
                  <a:lnTo>
                    <a:pt x="193664" y="179266"/>
                  </a:lnTo>
                  <a:lnTo>
                    <a:pt x="192641" y="177348"/>
                  </a:lnTo>
                  <a:lnTo>
                    <a:pt x="191470" y="176514"/>
                  </a:lnTo>
                  <a:lnTo>
                    <a:pt x="191615" y="175930"/>
                  </a:lnTo>
                  <a:lnTo>
                    <a:pt x="192127" y="174594"/>
                  </a:lnTo>
                  <a:lnTo>
                    <a:pt x="192785" y="173426"/>
                  </a:lnTo>
                  <a:lnTo>
                    <a:pt x="192777" y="171116"/>
                  </a:lnTo>
                  <a:lnTo>
                    <a:pt x="191961" y="168610"/>
                  </a:lnTo>
                  <a:lnTo>
                    <a:pt x="191634" y="164990"/>
                  </a:lnTo>
                  <a:lnTo>
                    <a:pt x="191846" y="161455"/>
                  </a:lnTo>
                  <a:lnTo>
                    <a:pt x="190734" y="159673"/>
                  </a:lnTo>
                  <a:lnTo>
                    <a:pt x="181630" y="159663"/>
                  </a:lnTo>
                  <a:lnTo>
                    <a:pt x="173524" y="159798"/>
                  </a:lnTo>
                  <a:lnTo>
                    <a:pt x="173068" y="159394"/>
                  </a:lnTo>
                  <a:lnTo>
                    <a:pt x="169920" y="154931"/>
                  </a:lnTo>
                  <a:lnTo>
                    <a:pt x="167365" y="151540"/>
                  </a:lnTo>
                  <a:lnTo>
                    <a:pt x="164841" y="149538"/>
                  </a:lnTo>
                  <a:lnTo>
                    <a:pt x="159060" y="147072"/>
                  </a:lnTo>
                  <a:lnTo>
                    <a:pt x="156296" y="146043"/>
                  </a:lnTo>
                  <a:lnTo>
                    <a:pt x="153925" y="144160"/>
                  </a:lnTo>
                  <a:lnTo>
                    <a:pt x="151988" y="142098"/>
                  </a:lnTo>
                  <a:lnTo>
                    <a:pt x="151487" y="139266"/>
                  </a:lnTo>
                  <a:lnTo>
                    <a:pt x="151094" y="138337"/>
                  </a:lnTo>
                  <a:lnTo>
                    <a:pt x="150537" y="137584"/>
                  </a:lnTo>
                  <a:lnTo>
                    <a:pt x="149926" y="137249"/>
                  </a:lnTo>
                  <a:lnTo>
                    <a:pt x="149190" y="137325"/>
                  </a:lnTo>
                  <a:lnTo>
                    <a:pt x="142476" y="134032"/>
                  </a:lnTo>
                  <a:lnTo>
                    <a:pt x="139783" y="133167"/>
                  </a:lnTo>
                  <a:lnTo>
                    <a:pt x="137248" y="133863"/>
                  </a:lnTo>
                  <a:lnTo>
                    <a:pt x="136130" y="133983"/>
                  </a:lnTo>
                  <a:lnTo>
                    <a:pt x="133925" y="133047"/>
                  </a:lnTo>
                  <a:lnTo>
                    <a:pt x="131388" y="134316"/>
                  </a:lnTo>
                  <a:lnTo>
                    <a:pt x="130304" y="134397"/>
                  </a:lnTo>
                  <a:lnTo>
                    <a:pt x="128788" y="134094"/>
                  </a:lnTo>
                  <a:lnTo>
                    <a:pt x="127537" y="133619"/>
                  </a:lnTo>
                  <a:lnTo>
                    <a:pt x="124158" y="130620"/>
                  </a:lnTo>
                  <a:lnTo>
                    <a:pt x="121323" y="129406"/>
                  </a:lnTo>
                  <a:lnTo>
                    <a:pt x="119280" y="128629"/>
                  </a:lnTo>
                  <a:lnTo>
                    <a:pt x="115352" y="127490"/>
                  </a:lnTo>
                  <a:lnTo>
                    <a:pt x="111161" y="126896"/>
                  </a:lnTo>
                  <a:lnTo>
                    <a:pt x="109012" y="126403"/>
                  </a:lnTo>
                  <a:lnTo>
                    <a:pt x="107462" y="125746"/>
                  </a:lnTo>
                  <a:lnTo>
                    <a:pt x="107064" y="125321"/>
                  </a:lnTo>
                  <a:lnTo>
                    <a:pt x="107086" y="124219"/>
                  </a:lnTo>
                  <a:lnTo>
                    <a:pt x="106969" y="122772"/>
                  </a:lnTo>
                  <a:lnTo>
                    <a:pt x="106453" y="121719"/>
                  </a:lnTo>
                  <a:lnTo>
                    <a:pt x="105393" y="120456"/>
                  </a:lnTo>
                  <a:lnTo>
                    <a:pt x="103920" y="119510"/>
                  </a:lnTo>
                  <a:lnTo>
                    <a:pt x="101387" y="119676"/>
                  </a:lnTo>
                  <a:lnTo>
                    <a:pt x="97576" y="119597"/>
                  </a:lnTo>
                  <a:lnTo>
                    <a:pt x="94657" y="118646"/>
                  </a:lnTo>
                  <a:lnTo>
                    <a:pt x="92342" y="118477"/>
                  </a:lnTo>
                  <a:lnTo>
                    <a:pt x="89558" y="118657"/>
                  </a:lnTo>
                  <a:lnTo>
                    <a:pt x="87271" y="118662"/>
                  </a:lnTo>
                  <a:lnTo>
                    <a:pt x="85641" y="119353"/>
                  </a:lnTo>
                  <a:lnTo>
                    <a:pt x="84695" y="120159"/>
                  </a:lnTo>
                  <a:lnTo>
                    <a:pt x="84095" y="122631"/>
                  </a:lnTo>
                  <a:lnTo>
                    <a:pt x="83544" y="123001"/>
                  </a:lnTo>
                  <a:lnTo>
                    <a:pt x="82587" y="123181"/>
                  </a:lnTo>
                  <a:lnTo>
                    <a:pt x="81314" y="123053"/>
                  </a:lnTo>
                  <a:lnTo>
                    <a:pt x="78640" y="123074"/>
                  </a:lnTo>
                  <a:lnTo>
                    <a:pt x="74019" y="122636"/>
                  </a:lnTo>
                  <a:lnTo>
                    <a:pt x="68206" y="122505"/>
                  </a:lnTo>
                  <a:lnTo>
                    <a:pt x="63838" y="123752"/>
                  </a:lnTo>
                  <a:lnTo>
                    <a:pt x="60385" y="125541"/>
                  </a:lnTo>
                  <a:lnTo>
                    <a:pt x="57087" y="127562"/>
                  </a:lnTo>
                  <a:lnTo>
                    <a:pt x="53207" y="130751"/>
                  </a:lnTo>
                  <a:lnTo>
                    <a:pt x="52069" y="132165"/>
                  </a:lnTo>
                  <a:lnTo>
                    <a:pt x="49782" y="137807"/>
                  </a:lnTo>
                  <a:lnTo>
                    <a:pt x="48769" y="138617"/>
                  </a:lnTo>
                  <a:lnTo>
                    <a:pt x="47448" y="139266"/>
                  </a:lnTo>
                  <a:lnTo>
                    <a:pt x="46105" y="139381"/>
                  </a:lnTo>
                  <a:lnTo>
                    <a:pt x="43446" y="140214"/>
                  </a:lnTo>
                  <a:lnTo>
                    <a:pt x="39933" y="141591"/>
                  </a:lnTo>
                  <a:lnTo>
                    <a:pt x="37541" y="142130"/>
                  </a:lnTo>
                  <a:lnTo>
                    <a:pt x="31406" y="141847"/>
                  </a:lnTo>
                  <a:lnTo>
                    <a:pt x="31045" y="140061"/>
                  </a:lnTo>
                  <a:lnTo>
                    <a:pt x="29940" y="133523"/>
                  </a:lnTo>
                  <a:lnTo>
                    <a:pt x="29402" y="126910"/>
                  </a:lnTo>
                  <a:lnTo>
                    <a:pt x="29439" y="123860"/>
                  </a:lnTo>
                  <a:lnTo>
                    <a:pt x="30078" y="117731"/>
                  </a:lnTo>
                  <a:lnTo>
                    <a:pt x="30028" y="114640"/>
                  </a:lnTo>
                  <a:lnTo>
                    <a:pt x="29767" y="111834"/>
                  </a:lnTo>
                  <a:lnTo>
                    <a:pt x="30022" y="109082"/>
                  </a:lnTo>
                  <a:lnTo>
                    <a:pt x="30512" y="105984"/>
                  </a:lnTo>
                  <a:lnTo>
                    <a:pt x="30769" y="102832"/>
                  </a:lnTo>
                  <a:lnTo>
                    <a:pt x="30400" y="100631"/>
                  </a:lnTo>
                  <a:lnTo>
                    <a:pt x="29212" y="98854"/>
                  </a:lnTo>
                  <a:lnTo>
                    <a:pt x="27204" y="96654"/>
                  </a:lnTo>
                  <a:lnTo>
                    <a:pt x="26886" y="95351"/>
                  </a:lnTo>
                  <a:lnTo>
                    <a:pt x="26772" y="93897"/>
                  </a:lnTo>
                  <a:lnTo>
                    <a:pt x="24848" y="93732"/>
                  </a:lnTo>
                  <a:lnTo>
                    <a:pt x="23120" y="92227"/>
                  </a:lnTo>
                  <a:lnTo>
                    <a:pt x="21695" y="91407"/>
                  </a:lnTo>
                  <a:lnTo>
                    <a:pt x="18629" y="90496"/>
                  </a:lnTo>
                  <a:lnTo>
                    <a:pt x="17091" y="90450"/>
                  </a:lnTo>
                  <a:lnTo>
                    <a:pt x="15688" y="91119"/>
                  </a:lnTo>
                  <a:lnTo>
                    <a:pt x="14656" y="92461"/>
                  </a:lnTo>
                  <a:lnTo>
                    <a:pt x="13934" y="90345"/>
                  </a:lnTo>
                  <a:lnTo>
                    <a:pt x="13952" y="88130"/>
                  </a:lnTo>
                  <a:lnTo>
                    <a:pt x="16402" y="83547"/>
                  </a:lnTo>
                  <a:lnTo>
                    <a:pt x="17936" y="84884"/>
                  </a:lnTo>
                  <a:lnTo>
                    <a:pt x="19808" y="85421"/>
                  </a:lnTo>
                  <a:lnTo>
                    <a:pt x="22190" y="85502"/>
                  </a:lnTo>
                  <a:lnTo>
                    <a:pt x="24528" y="85147"/>
                  </a:lnTo>
                  <a:lnTo>
                    <a:pt x="24070" y="83576"/>
                  </a:lnTo>
                  <a:lnTo>
                    <a:pt x="22984" y="82685"/>
                  </a:lnTo>
                  <a:lnTo>
                    <a:pt x="21635" y="81981"/>
                  </a:lnTo>
                  <a:lnTo>
                    <a:pt x="21153" y="79907"/>
                  </a:lnTo>
                  <a:lnTo>
                    <a:pt x="21326" y="77756"/>
                  </a:lnTo>
                  <a:lnTo>
                    <a:pt x="21967" y="75720"/>
                  </a:lnTo>
                  <a:lnTo>
                    <a:pt x="21237" y="74899"/>
                  </a:lnTo>
                  <a:lnTo>
                    <a:pt x="20130" y="74392"/>
                  </a:lnTo>
                  <a:lnTo>
                    <a:pt x="17573" y="74452"/>
                  </a:lnTo>
                  <a:lnTo>
                    <a:pt x="14256" y="73914"/>
                  </a:lnTo>
                  <a:lnTo>
                    <a:pt x="10915" y="73681"/>
                  </a:lnTo>
                  <a:lnTo>
                    <a:pt x="10134" y="76083"/>
                  </a:lnTo>
                  <a:lnTo>
                    <a:pt x="11978" y="79234"/>
                  </a:lnTo>
                  <a:lnTo>
                    <a:pt x="10414" y="77686"/>
                  </a:lnTo>
                  <a:lnTo>
                    <a:pt x="8942" y="75638"/>
                  </a:lnTo>
                  <a:lnTo>
                    <a:pt x="6873" y="71950"/>
                  </a:lnTo>
                  <a:lnTo>
                    <a:pt x="5541" y="67622"/>
                  </a:lnTo>
                  <a:lnTo>
                    <a:pt x="5303" y="62943"/>
                  </a:lnTo>
                  <a:lnTo>
                    <a:pt x="6432" y="59068"/>
                  </a:lnTo>
                  <a:lnTo>
                    <a:pt x="7873" y="55426"/>
                  </a:lnTo>
                  <a:lnTo>
                    <a:pt x="8743" y="50758"/>
                  </a:lnTo>
                  <a:lnTo>
                    <a:pt x="9942" y="46166"/>
                  </a:lnTo>
                  <a:lnTo>
                    <a:pt x="11140" y="48224"/>
                  </a:lnTo>
                  <a:lnTo>
                    <a:pt x="12509" y="50067"/>
                  </a:lnTo>
                  <a:lnTo>
                    <a:pt x="14403" y="51770"/>
                  </a:lnTo>
                  <a:lnTo>
                    <a:pt x="15437" y="52176"/>
                  </a:lnTo>
                  <a:lnTo>
                    <a:pt x="18553" y="52879"/>
                  </a:lnTo>
                  <a:lnTo>
                    <a:pt x="20559" y="52615"/>
                  </a:lnTo>
                  <a:lnTo>
                    <a:pt x="22697" y="51609"/>
                  </a:lnTo>
                  <a:lnTo>
                    <a:pt x="24796" y="51939"/>
                  </a:lnTo>
                  <a:lnTo>
                    <a:pt x="26532" y="53831"/>
                  </a:lnTo>
                  <a:lnTo>
                    <a:pt x="28080" y="55950"/>
                  </a:lnTo>
                  <a:lnTo>
                    <a:pt x="30430" y="56396"/>
                  </a:lnTo>
                  <a:lnTo>
                    <a:pt x="35269" y="54864"/>
                  </a:lnTo>
                  <a:lnTo>
                    <a:pt x="37571" y="54514"/>
                  </a:lnTo>
                  <a:lnTo>
                    <a:pt x="39568" y="55215"/>
                  </a:lnTo>
                  <a:lnTo>
                    <a:pt x="40599" y="55344"/>
                  </a:lnTo>
                  <a:lnTo>
                    <a:pt x="41648" y="55227"/>
                  </a:lnTo>
                  <a:lnTo>
                    <a:pt x="40739" y="53345"/>
                  </a:lnTo>
                  <a:lnTo>
                    <a:pt x="40367" y="51517"/>
                  </a:lnTo>
                  <a:lnTo>
                    <a:pt x="41583" y="50550"/>
                  </a:lnTo>
                  <a:lnTo>
                    <a:pt x="45401" y="51577"/>
                  </a:lnTo>
                  <a:lnTo>
                    <a:pt x="47832" y="50892"/>
                  </a:lnTo>
                  <a:lnTo>
                    <a:pt x="48452" y="50506"/>
                  </a:lnTo>
                  <a:lnTo>
                    <a:pt x="49005" y="50032"/>
                  </a:lnTo>
                  <a:lnTo>
                    <a:pt x="49296" y="48450"/>
                  </a:lnTo>
                  <a:lnTo>
                    <a:pt x="49180" y="46827"/>
                  </a:lnTo>
                  <a:lnTo>
                    <a:pt x="48865" y="45296"/>
                  </a:lnTo>
                  <a:lnTo>
                    <a:pt x="48152" y="43953"/>
                  </a:lnTo>
                  <a:lnTo>
                    <a:pt x="46399" y="42072"/>
                  </a:lnTo>
                  <a:lnTo>
                    <a:pt x="39596" y="37585"/>
                  </a:lnTo>
                  <a:lnTo>
                    <a:pt x="37307" y="35793"/>
                  </a:lnTo>
                  <a:lnTo>
                    <a:pt x="35401" y="33473"/>
                  </a:lnTo>
                  <a:lnTo>
                    <a:pt x="34185" y="30195"/>
                  </a:lnTo>
                  <a:lnTo>
                    <a:pt x="33198" y="26774"/>
                  </a:lnTo>
                  <a:lnTo>
                    <a:pt x="32282" y="24232"/>
                  </a:lnTo>
                  <a:lnTo>
                    <a:pt x="29909" y="18321"/>
                  </a:lnTo>
                  <a:lnTo>
                    <a:pt x="28985" y="17618"/>
                  </a:lnTo>
                  <a:lnTo>
                    <a:pt x="27828" y="17305"/>
                  </a:lnTo>
                  <a:lnTo>
                    <a:pt x="25010" y="17120"/>
                  </a:lnTo>
                  <a:lnTo>
                    <a:pt x="22157" y="17551"/>
                  </a:lnTo>
                  <a:lnTo>
                    <a:pt x="17493" y="18569"/>
                  </a:lnTo>
                  <a:lnTo>
                    <a:pt x="14822" y="18251"/>
                  </a:lnTo>
                  <a:lnTo>
                    <a:pt x="13587" y="18881"/>
                  </a:lnTo>
                  <a:lnTo>
                    <a:pt x="10529" y="21374"/>
                  </a:lnTo>
                  <a:lnTo>
                    <a:pt x="9097" y="23508"/>
                  </a:lnTo>
                  <a:lnTo>
                    <a:pt x="7098" y="28383"/>
                  </a:lnTo>
                  <a:lnTo>
                    <a:pt x="8616" y="29952"/>
                  </a:lnTo>
                  <a:lnTo>
                    <a:pt x="8588" y="30980"/>
                  </a:lnTo>
                  <a:lnTo>
                    <a:pt x="7437" y="38161"/>
                  </a:lnTo>
                  <a:lnTo>
                    <a:pt x="8136" y="41637"/>
                  </a:lnTo>
                  <a:lnTo>
                    <a:pt x="7884" y="41895"/>
                  </a:lnTo>
                  <a:lnTo>
                    <a:pt x="7335" y="41089"/>
                  </a:lnTo>
                  <a:lnTo>
                    <a:pt x="5603" y="37540"/>
                  </a:lnTo>
                  <a:lnTo>
                    <a:pt x="2554" y="33207"/>
                  </a:lnTo>
                  <a:lnTo>
                    <a:pt x="0" y="26567"/>
                  </a:lnTo>
                  <a:lnTo>
                    <a:pt x="4489" y="22218"/>
                  </a:lnTo>
                  <a:lnTo>
                    <a:pt x="8328" y="19133"/>
                  </a:lnTo>
                  <a:lnTo>
                    <a:pt x="11468" y="17270"/>
                  </a:lnTo>
                  <a:lnTo>
                    <a:pt x="12427" y="16817"/>
                  </a:lnTo>
                  <a:lnTo>
                    <a:pt x="16722" y="15272"/>
                  </a:lnTo>
                  <a:lnTo>
                    <a:pt x="22265" y="13878"/>
                  </a:lnTo>
                  <a:lnTo>
                    <a:pt x="26346" y="12850"/>
                  </a:lnTo>
                  <a:lnTo>
                    <a:pt x="31676" y="11974"/>
                  </a:lnTo>
                  <a:lnTo>
                    <a:pt x="33418" y="11811"/>
                  </a:lnTo>
                  <a:lnTo>
                    <a:pt x="35979" y="11830"/>
                  </a:lnTo>
                  <a:lnTo>
                    <a:pt x="38057" y="12655"/>
                  </a:lnTo>
                  <a:lnTo>
                    <a:pt x="39316" y="13300"/>
                  </a:lnTo>
                  <a:lnTo>
                    <a:pt x="43760" y="15955"/>
                  </a:lnTo>
                  <a:lnTo>
                    <a:pt x="48294" y="18665"/>
                  </a:lnTo>
                  <a:lnTo>
                    <a:pt x="52184" y="21667"/>
                  </a:lnTo>
                  <a:lnTo>
                    <a:pt x="53287" y="22889"/>
                  </a:lnTo>
                  <a:lnTo>
                    <a:pt x="53904" y="24350"/>
                  </a:lnTo>
                  <a:lnTo>
                    <a:pt x="54362" y="25782"/>
                  </a:lnTo>
                  <a:lnTo>
                    <a:pt x="57668" y="30317"/>
                  </a:lnTo>
                  <a:lnTo>
                    <a:pt x="59005" y="32393"/>
                  </a:lnTo>
                  <a:lnTo>
                    <a:pt x="60936" y="35092"/>
                  </a:lnTo>
                  <a:lnTo>
                    <a:pt x="62486" y="36405"/>
                  </a:lnTo>
                  <a:lnTo>
                    <a:pt x="64004" y="38028"/>
                  </a:lnTo>
                  <a:lnTo>
                    <a:pt x="65021" y="39364"/>
                  </a:lnTo>
                  <a:lnTo>
                    <a:pt x="66185" y="39997"/>
                  </a:lnTo>
                  <a:lnTo>
                    <a:pt x="67472" y="40248"/>
                  </a:lnTo>
                  <a:lnTo>
                    <a:pt x="70422" y="39825"/>
                  </a:lnTo>
                  <a:lnTo>
                    <a:pt x="73969" y="38981"/>
                  </a:lnTo>
                  <a:lnTo>
                    <a:pt x="76090" y="38629"/>
                  </a:lnTo>
                  <a:lnTo>
                    <a:pt x="77029" y="38680"/>
                  </a:lnTo>
                  <a:lnTo>
                    <a:pt x="82879" y="38980"/>
                  </a:lnTo>
                  <a:lnTo>
                    <a:pt x="88139" y="39249"/>
                  </a:lnTo>
                  <a:lnTo>
                    <a:pt x="94635" y="39583"/>
                  </a:lnTo>
                  <a:lnTo>
                    <a:pt x="96563" y="39896"/>
                  </a:lnTo>
                  <a:lnTo>
                    <a:pt x="98885" y="40185"/>
                  </a:lnTo>
                  <a:lnTo>
                    <a:pt x="100038" y="40229"/>
                  </a:lnTo>
                  <a:lnTo>
                    <a:pt x="101061" y="39074"/>
                  </a:lnTo>
                  <a:lnTo>
                    <a:pt x="101737" y="38440"/>
                  </a:lnTo>
                  <a:lnTo>
                    <a:pt x="102268" y="37939"/>
                  </a:lnTo>
                  <a:lnTo>
                    <a:pt x="102158" y="37372"/>
                  </a:lnTo>
                  <a:lnTo>
                    <a:pt x="101336" y="36891"/>
                  </a:lnTo>
                  <a:lnTo>
                    <a:pt x="100042" y="35291"/>
                  </a:lnTo>
                  <a:lnTo>
                    <a:pt x="99305" y="29507"/>
                  </a:lnTo>
                  <a:lnTo>
                    <a:pt x="98846" y="24548"/>
                  </a:lnTo>
                  <a:lnTo>
                    <a:pt x="100385" y="23002"/>
                  </a:lnTo>
                  <a:lnTo>
                    <a:pt x="102152" y="21880"/>
                  </a:lnTo>
                  <a:lnTo>
                    <a:pt x="104700" y="18499"/>
                  </a:lnTo>
                  <a:lnTo>
                    <a:pt x="106067" y="17454"/>
                  </a:lnTo>
                  <a:lnTo>
                    <a:pt x="108081" y="16590"/>
                  </a:lnTo>
                  <a:lnTo>
                    <a:pt x="114812" y="16364"/>
                  </a:lnTo>
                  <a:lnTo>
                    <a:pt x="117645" y="15698"/>
                  </a:lnTo>
                  <a:lnTo>
                    <a:pt x="118567" y="14602"/>
                  </a:lnTo>
                  <a:lnTo>
                    <a:pt x="120060" y="11830"/>
                  </a:lnTo>
                  <a:lnTo>
                    <a:pt x="120552" y="9570"/>
                  </a:lnTo>
                  <a:lnTo>
                    <a:pt x="121387" y="8536"/>
                  </a:lnTo>
                  <a:lnTo>
                    <a:pt x="122392" y="7767"/>
                  </a:lnTo>
                  <a:lnTo>
                    <a:pt x="123421" y="7797"/>
                  </a:lnTo>
                  <a:lnTo>
                    <a:pt x="125415" y="8462"/>
                  </a:lnTo>
                  <a:lnTo>
                    <a:pt x="126929" y="8832"/>
                  </a:lnTo>
                  <a:lnTo>
                    <a:pt x="128008" y="9334"/>
                  </a:lnTo>
                  <a:lnTo>
                    <a:pt x="128989" y="10132"/>
                  </a:lnTo>
                  <a:lnTo>
                    <a:pt x="129945" y="11521"/>
                  </a:lnTo>
                  <a:lnTo>
                    <a:pt x="130092" y="12435"/>
                  </a:lnTo>
                  <a:lnTo>
                    <a:pt x="130533" y="12967"/>
                  </a:lnTo>
                  <a:lnTo>
                    <a:pt x="131293" y="12978"/>
                  </a:lnTo>
                  <a:lnTo>
                    <a:pt x="131858" y="12985"/>
                  </a:lnTo>
                  <a:lnTo>
                    <a:pt x="132243" y="12784"/>
                  </a:lnTo>
                  <a:lnTo>
                    <a:pt x="132495" y="12318"/>
                  </a:lnTo>
                  <a:lnTo>
                    <a:pt x="132299" y="11698"/>
                  </a:lnTo>
                  <a:lnTo>
                    <a:pt x="130999" y="9925"/>
                  </a:lnTo>
                  <a:lnTo>
                    <a:pt x="128135" y="6709"/>
                  </a:lnTo>
                  <a:lnTo>
                    <a:pt x="126265" y="5400"/>
                  </a:lnTo>
                  <a:lnTo>
                    <a:pt x="125335" y="4690"/>
                  </a:lnTo>
                  <a:lnTo>
                    <a:pt x="125104" y="4020"/>
                  </a:lnTo>
                  <a:lnTo>
                    <a:pt x="126317" y="2998"/>
                  </a:lnTo>
                  <a:lnTo>
                    <a:pt x="127494" y="2416"/>
                  </a:lnTo>
                  <a:lnTo>
                    <a:pt x="129561" y="2853"/>
                  </a:lnTo>
                  <a:lnTo>
                    <a:pt x="132303" y="3091"/>
                  </a:lnTo>
                  <a:lnTo>
                    <a:pt x="133523" y="2581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24" name="ee4p_TL_1_82333">
              <a:extLst>
                <a:ext uri="{FF2B5EF4-FFF2-40B4-BE49-F238E27FC236}">
                  <a16:creationId xmlns:a16="http://schemas.microsoft.com/office/drawing/2014/main" id="{FD86E8C2-0FF3-7C29-E9A6-FCC7CCF1AF20}"/>
                </a:ext>
              </a:extLst>
            </p:cNvPr>
            <p:cNvSpPr>
              <a:spLocks noChangeAspect="1"/>
            </p:cNvSpPr>
            <p:nvPr>
              <p:custDataLst>
                <p:tags r:id="rId52"/>
              </p:custDataLst>
            </p:nvPr>
          </p:nvSpPr>
          <p:spPr>
            <a:xfrm>
              <a:off x="9959107" y="4908479"/>
              <a:ext cx="90521" cy="39436"/>
            </a:xfrm>
            <a:custGeom>
              <a:avLst/>
              <a:gdLst>
                <a:gd name="connsiteX0" fmla="*/ 9024 w 72080"/>
                <a:gd name="connsiteY0" fmla="*/ 23398 h 30570"/>
                <a:gd name="connsiteX1" fmla="*/ 8888 w 72080"/>
                <a:gd name="connsiteY1" fmla="*/ 24473 h 30570"/>
                <a:gd name="connsiteX2" fmla="*/ 8328 w 72080"/>
                <a:gd name="connsiteY2" fmla="*/ 26163 h 30570"/>
                <a:gd name="connsiteX3" fmla="*/ 7504 w 72080"/>
                <a:gd name="connsiteY3" fmla="*/ 26956 h 30570"/>
                <a:gd name="connsiteX4" fmla="*/ 6258 w 72080"/>
                <a:gd name="connsiteY4" fmla="*/ 28381 h 30570"/>
                <a:gd name="connsiteX5" fmla="*/ 5439 w 72080"/>
                <a:gd name="connsiteY5" fmla="*/ 28696 h 30570"/>
                <a:gd name="connsiteX6" fmla="*/ 2172 w 72080"/>
                <a:gd name="connsiteY6" fmla="*/ 28383 h 30570"/>
                <a:gd name="connsiteX7" fmla="*/ 1751 w 72080"/>
                <a:gd name="connsiteY7" fmla="*/ 28590 h 30570"/>
                <a:gd name="connsiteX8" fmla="*/ 1190 w 72080"/>
                <a:gd name="connsiteY8" fmla="*/ 28440 h 30570"/>
                <a:gd name="connsiteX9" fmla="*/ 357 w 72080"/>
                <a:gd name="connsiteY9" fmla="*/ 27524 h 30570"/>
                <a:gd name="connsiteX10" fmla="*/ 0 w 72080"/>
                <a:gd name="connsiteY10" fmla="*/ 26771 h 30570"/>
                <a:gd name="connsiteX11" fmla="*/ 3578 w 72080"/>
                <a:gd name="connsiteY11" fmla="*/ 24865 h 30570"/>
                <a:gd name="connsiteX12" fmla="*/ 64790 w 72080"/>
                <a:gd name="connsiteY12" fmla="*/ 3913 h 30570"/>
                <a:gd name="connsiteX13" fmla="*/ 66826 w 72080"/>
                <a:gd name="connsiteY13" fmla="*/ 4637 h 30570"/>
                <a:gd name="connsiteX14" fmla="*/ 70284 w 72080"/>
                <a:gd name="connsiteY14" fmla="*/ 5187 h 30570"/>
                <a:gd name="connsiteX15" fmla="*/ 71217 w 72080"/>
                <a:gd name="connsiteY15" fmla="*/ 5668 h 30570"/>
                <a:gd name="connsiteX16" fmla="*/ 72080 w 72080"/>
                <a:gd name="connsiteY16" fmla="*/ 6335 h 30570"/>
                <a:gd name="connsiteX17" fmla="*/ 68066 w 72080"/>
                <a:gd name="connsiteY17" fmla="*/ 9877 h 30570"/>
                <a:gd name="connsiteX18" fmla="*/ 63659 w 72080"/>
                <a:gd name="connsiteY18" fmla="*/ 12810 h 30570"/>
                <a:gd name="connsiteX19" fmla="*/ 60945 w 72080"/>
                <a:gd name="connsiteY19" fmla="*/ 13697 h 30570"/>
                <a:gd name="connsiteX20" fmla="*/ 58135 w 72080"/>
                <a:gd name="connsiteY20" fmla="*/ 14298 h 30570"/>
                <a:gd name="connsiteX21" fmla="*/ 55993 w 72080"/>
                <a:gd name="connsiteY21" fmla="*/ 15431 h 30570"/>
                <a:gd name="connsiteX22" fmla="*/ 54188 w 72080"/>
                <a:gd name="connsiteY22" fmla="*/ 17209 h 30570"/>
                <a:gd name="connsiteX23" fmla="*/ 51879 w 72080"/>
                <a:gd name="connsiteY23" fmla="*/ 18210 h 30570"/>
                <a:gd name="connsiteX24" fmla="*/ 49275 w 72080"/>
                <a:gd name="connsiteY24" fmla="*/ 18548 h 30570"/>
                <a:gd name="connsiteX25" fmla="*/ 47053 w 72080"/>
                <a:gd name="connsiteY25" fmla="*/ 19081 h 30570"/>
                <a:gd name="connsiteX26" fmla="*/ 45036 w 72080"/>
                <a:gd name="connsiteY26" fmla="*/ 20126 h 30570"/>
                <a:gd name="connsiteX27" fmla="*/ 42229 w 72080"/>
                <a:gd name="connsiteY27" fmla="*/ 21917 h 30570"/>
                <a:gd name="connsiteX28" fmla="*/ 41093 w 72080"/>
                <a:gd name="connsiteY28" fmla="*/ 22100 h 30570"/>
                <a:gd name="connsiteX29" fmla="*/ 39890 w 72080"/>
                <a:gd name="connsiteY29" fmla="*/ 22057 h 30570"/>
                <a:gd name="connsiteX30" fmla="*/ 37565 w 72080"/>
                <a:gd name="connsiteY30" fmla="*/ 22743 h 30570"/>
                <a:gd name="connsiteX31" fmla="*/ 30331 w 72080"/>
                <a:gd name="connsiteY31" fmla="*/ 25303 h 30570"/>
                <a:gd name="connsiteX32" fmla="*/ 25958 w 72080"/>
                <a:gd name="connsiteY32" fmla="*/ 28152 h 30570"/>
                <a:gd name="connsiteX33" fmla="*/ 22816 w 72080"/>
                <a:gd name="connsiteY33" fmla="*/ 30570 h 30570"/>
                <a:gd name="connsiteX34" fmla="*/ 22052 w 72080"/>
                <a:gd name="connsiteY34" fmla="*/ 27668 h 30570"/>
                <a:gd name="connsiteX35" fmla="*/ 21242 w 72080"/>
                <a:gd name="connsiteY35" fmla="*/ 26423 h 30570"/>
                <a:gd name="connsiteX36" fmla="*/ 20607 w 72080"/>
                <a:gd name="connsiteY36" fmla="*/ 25715 h 30570"/>
                <a:gd name="connsiteX37" fmla="*/ 20394 w 72080"/>
                <a:gd name="connsiteY37" fmla="*/ 24833 h 30570"/>
                <a:gd name="connsiteX38" fmla="*/ 20428 w 72080"/>
                <a:gd name="connsiteY38" fmla="*/ 23920 h 30570"/>
                <a:gd name="connsiteX39" fmla="*/ 20812 w 72080"/>
                <a:gd name="connsiteY39" fmla="*/ 23500 h 30570"/>
                <a:gd name="connsiteX40" fmla="*/ 23531 w 72080"/>
                <a:gd name="connsiteY40" fmla="*/ 23387 h 30570"/>
                <a:gd name="connsiteX41" fmla="*/ 24613 w 72080"/>
                <a:gd name="connsiteY41" fmla="*/ 21896 h 30570"/>
                <a:gd name="connsiteX42" fmla="*/ 24604 w 72080"/>
                <a:gd name="connsiteY42" fmla="*/ 20104 h 30570"/>
                <a:gd name="connsiteX43" fmla="*/ 24060 w 72080"/>
                <a:gd name="connsiteY43" fmla="*/ 19499 h 30570"/>
                <a:gd name="connsiteX44" fmla="*/ 23529 w 72080"/>
                <a:gd name="connsiteY44" fmla="*/ 19244 h 30570"/>
                <a:gd name="connsiteX45" fmla="*/ 20717 w 72080"/>
                <a:gd name="connsiteY45" fmla="*/ 20587 h 30570"/>
                <a:gd name="connsiteX46" fmla="*/ 19911 w 72080"/>
                <a:gd name="connsiteY46" fmla="*/ 20346 h 30570"/>
                <a:gd name="connsiteX47" fmla="*/ 19430 w 72080"/>
                <a:gd name="connsiteY47" fmla="*/ 19858 h 30570"/>
                <a:gd name="connsiteX48" fmla="*/ 19590 w 72080"/>
                <a:gd name="connsiteY48" fmla="*/ 17873 h 30570"/>
                <a:gd name="connsiteX49" fmla="*/ 21905 w 72080"/>
                <a:gd name="connsiteY49" fmla="*/ 16015 h 30570"/>
                <a:gd name="connsiteX50" fmla="*/ 23868 w 72080"/>
                <a:gd name="connsiteY50" fmla="*/ 12649 h 30570"/>
                <a:gd name="connsiteX51" fmla="*/ 25245 w 72080"/>
                <a:gd name="connsiteY51" fmla="*/ 11309 h 30570"/>
                <a:gd name="connsiteX52" fmla="*/ 28454 w 72080"/>
                <a:gd name="connsiteY52" fmla="*/ 10050 h 30570"/>
                <a:gd name="connsiteX53" fmla="*/ 29752 w 72080"/>
                <a:gd name="connsiteY53" fmla="*/ 9695 h 30570"/>
                <a:gd name="connsiteX54" fmla="*/ 39093 w 72080"/>
                <a:gd name="connsiteY54" fmla="*/ 7842 h 30570"/>
                <a:gd name="connsiteX55" fmla="*/ 41322 w 72080"/>
                <a:gd name="connsiteY55" fmla="*/ 7716 h 30570"/>
                <a:gd name="connsiteX56" fmla="*/ 47243 w 72080"/>
                <a:gd name="connsiteY56" fmla="*/ 7770 h 30570"/>
                <a:gd name="connsiteX57" fmla="*/ 55164 w 72080"/>
                <a:gd name="connsiteY57" fmla="*/ 7366 h 30570"/>
                <a:gd name="connsiteX58" fmla="*/ 57125 w 72080"/>
                <a:gd name="connsiteY58" fmla="*/ 7114 h 30570"/>
                <a:gd name="connsiteX59" fmla="*/ 59664 w 72080"/>
                <a:gd name="connsiteY59" fmla="*/ 6296 h 30570"/>
                <a:gd name="connsiteX60" fmla="*/ 62121 w 72080"/>
                <a:gd name="connsiteY60" fmla="*/ 5285 h 30570"/>
                <a:gd name="connsiteX61" fmla="*/ 63425 w 72080"/>
                <a:gd name="connsiteY61" fmla="*/ 4489 h 30570"/>
                <a:gd name="connsiteX62" fmla="*/ 35596 w 72080"/>
                <a:gd name="connsiteY62" fmla="*/ 0 h 30570"/>
                <a:gd name="connsiteX63" fmla="*/ 34122 w 72080"/>
                <a:gd name="connsiteY63" fmla="*/ 3826 h 30570"/>
                <a:gd name="connsiteX64" fmla="*/ 32522 w 72080"/>
                <a:gd name="connsiteY64" fmla="*/ 3009 h 30570"/>
                <a:gd name="connsiteX65" fmla="*/ 34224 w 72080"/>
                <a:gd name="connsiteY65" fmla="*/ 861 h 30570"/>
                <a:gd name="connsiteX66" fmla="*/ 35042 w 72080"/>
                <a:gd name="connsiteY66" fmla="*/ 224 h 30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72080" h="30570">
                  <a:moveTo>
                    <a:pt x="9024" y="23398"/>
                  </a:moveTo>
                  <a:lnTo>
                    <a:pt x="8888" y="24473"/>
                  </a:lnTo>
                  <a:lnTo>
                    <a:pt x="8328" y="26163"/>
                  </a:lnTo>
                  <a:lnTo>
                    <a:pt x="7504" y="26956"/>
                  </a:lnTo>
                  <a:lnTo>
                    <a:pt x="6258" y="28381"/>
                  </a:lnTo>
                  <a:lnTo>
                    <a:pt x="5439" y="28696"/>
                  </a:lnTo>
                  <a:lnTo>
                    <a:pt x="2172" y="28383"/>
                  </a:lnTo>
                  <a:lnTo>
                    <a:pt x="1751" y="28590"/>
                  </a:lnTo>
                  <a:lnTo>
                    <a:pt x="1190" y="28440"/>
                  </a:lnTo>
                  <a:lnTo>
                    <a:pt x="357" y="27524"/>
                  </a:lnTo>
                  <a:lnTo>
                    <a:pt x="0" y="26771"/>
                  </a:lnTo>
                  <a:lnTo>
                    <a:pt x="3578" y="24865"/>
                  </a:lnTo>
                  <a:close/>
                  <a:moveTo>
                    <a:pt x="64790" y="3913"/>
                  </a:moveTo>
                  <a:lnTo>
                    <a:pt x="66826" y="4637"/>
                  </a:lnTo>
                  <a:lnTo>
                    <a:pt x="70284" y="5187"/>
                  </a:lnTo>
                  <a:lnTo>
                    <a:pt x="71217" y="5668"/>
                  </a:lnTo>
                  <a:lnTo>
                    <a:pt x="72080" y="6335"/>
                  </a:lnTo>
                  <a:lnTo>
                    <a:pt x="68066" y="9877"/>
                  </a:lnTo>
                  <a:lnTo>
                    <a:pt x="63659" y="12810"/>
                  </a:lnTo>
                  <a:lnTo>
                    <a:pt x="60945" y="13697"/>
                  </a:lnTo>
                  <a:lnTo>
                    <a:pt x="58135" y="14298"/>
                  </a:lnTo>
                  <a:lnTo>
                    <a:pt x="55993" y="15431"/>
                  </a:lnTo>
                  <a:lnTo>
                    <a:pt x="54188" y="17209"/>
                  </a:lnTo>
                  <a:lnTo>
                    <a:pt x="51879" y="18210"/>
                  </a:lnTo>
                  <a:lnTo>
                    <a:pt x="49275" y="18548"/>
                  </a:lnTo>
                  <a:lnTo>
                    <a:pt x="47053" y="19081"/>
                  </a:lnTo>
                  <a:lnTo>
                    <a:pt x="45036" y="20126"/>
                  </a:lnTo>
                  <a:lnTo>
                    <a:pt x="42229" y="21917"/>
                  </a:lnTo>
                  <a:lnTo>
                    <a:pt x="41093" y="22100"/>
                  </a:lnTo>
                  <a:lnTo>
                    <a:pt x="39890" y="22057"/>
                  </a:lnTo>
                  <a:lnTo>
                    <a:pt x="37565" y="22743"/>
                  </a:lnTo>
                  <a:lnTo>
                    <a:pt x="30331" y="25303"/>
                  </a:lnTo>
                  <a:lnTo>
                    <a:pt x="25958" y="28152"/>
                  </a:lnTo>
                  <a:lnTo>
                    <a:pt x="22816" y="30570"/>
                  </a:lnTo>
                  <a:lnTo>
                    <a:pt x="22052" y="27668"/>
                  </a:lnTo>
                  <a:lnTo>
                    <a:pt x="21242" y="26423"/>
                  </a:lnTo>
                  <a:lnTo>
                    <a:pt x="20607" y="25715"/>
                  </a:lnTo>
                  <a:lnTo>
                    <a:pt x="20394" y="24833"/>
                  </a:lnTo>
                  <a:lnTo>
                    <a:pt x="20428" y="23920"/>
                  </a:lnTo>
                  <a:lnTo>
                    <a:pt x="20812" y="23500"/>
                  </a:lnTo>
                  <a:lnTo>
                    <a:pt x="23531" y="23387"/>
                  </a:lnTo>
                  <a:lnTo>
                    <a:pt x="24613" y="21896"/>
                  </a:lnTo>
                  <a:lnTo>
                    <a:pt x="24604" y="20104"/>
                  </a:lnTo>
                  <a:lnTo>
                    <a:pt x="24060" y="19499"/>
                  </a:lnTo>
                  <a:lnTo>
                    <a:pt x="23529" y="19244"/>
                  </a:lnTo>
                  <a:lnTo>
                    <a:pt x="20717" y="20587"/>
                  </a:lnTo>
                  <a:lnTo>
                    <a:pt x="19911" y="20346"/>
                  </a:lnTo>
                  <a:lnTo>
                    <a:pt x="19430" y="19858"/>
                  </a:lnTo>
                  <a:lnTo>
                    <a:pt x="19590" y="17873"/>
                  </a:lnTo>
                  <a:lnTo>
                    <a:pt x="21905" y="16015"/>
                  </a:lnTo>
                  <a:lnTo>
                    <a:pt x="23868" y="12649"/>
                  </a:lnTo>
                  <a:lnTo>
                    <a:pt x="25245" y="11309"/>
                  </a:lnTo>
                  <a:lnTo>
                    <a:pt x="28454" y="10050"/>
                  </a:lnTo>
                  <a:lnTo>
                    <a:pt x="29752" y="9695"/>
                  </a:lnTo>
                  <a:lnTo>
                    <a:pt x="39093" y="7842"/>
                  </a:lnTo>
                  <a:lnTo>
                    <a:pt x="41322" y="7716"/>
                  </a:lnTo>
                  <a:lnTo>
                    <a:pt x="47243" y="7770"/>
                  </a:lnTo>
                  <a:lnTo>
                    <a:pt x="55164" y="7366"/>
                  </a:lnTo>
                  <a:lnTo>
                    <a:pt x="57125" y="7114"/>
                  </a:lnTo>
                  <a:lnTo>
                    <a:pt x="59664" y="6296"/>
                  </a:lnTo>
                  <a:lnTo>
                    <a:pt x="62121" y="5285"/>
                  </a:lnTo>
                  <a:lnTo>
                    <a:pt x="63425" y="4489"/>
                  </a:lnTo>
                  <a:close/>
                  <a:moveTo>
                    <a:pt x="35596" y="0"/>
                  </a:moveTo>
                  <a:lnTo>
                    <a:pt x="34122" y="3826"/>
                  </a:lnTo>
                  <a:lnTo>
                    <a:pt x="32522" y="3009"/>
                  </a:lnTo>
                  <a:lnTo>
                    <a:pt x="34224" y="861"/>
                  </a:lnTo>
                  <a:lnTo>
                    <a:pt x="35042" y="224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25" name="ee4p_TR_1_82333">
              <a:extLst>
                <a:ext uri="{FF2B5EF4-FFF2-40B4-BE49-F238E27FC236}">
                  <a16:creationId xmlns:a16="http://schemas.microsoft.com/office/drawing/2014/main" id="{279B9D4D-F1D5-1B9A-7343-A5ED0A9E88CC}"/>
                </a:ext>
              </a:extLst>
            </p:cNvPr>
            <p:cNvSpPr>
              <a:spLocks noChangeAspect="1"/>
            </p:cNvSpPr>
            <p:nvPr>
              <p:custDataLst>
                <p:tags r:id="rId53"/>
              </p:custDataLst>
            </p:nvPr>
          </p:nvSpPr>
          <p:spPr>
            <a:xfrm>
              <a:off x="7227511" y="3399282"/>
              <a:ext cx="531733" cy="208874"/>
            </a:xfrm>
            <a:custGeom>
              <a:avLst/>
              <a:gdLst>
                <a:gd name="connsiteX0" fmla="*/ 5515 w 423407"/>
                <a:gd name="connsiteY0" fmla="*/ 48881 h 161913"/>
                <a:gd name="connsiteX1" fmla="*/ 6812 w 423407"/>
                <a:gd name="connsiteY1" fmla="*/ 50453 h 161913"/>
                <a:gd name="connsiteX2" fmla="*/ 6657 w 423407"/>
                <a:gd name="connsiteY2" fmla="*/ 51536 h 161913"/>
                <a:gd name="connsiteX3" fmla="*/ 1576 w 423407"/>
                <a:gd name="connsiteY3" fmla="*/ 52342 h 161913"/>
                <a:gd name="connsiteX4" fmla="*/ 0 w 423407"/>
                <a:gd name="connsiteY4" fmla="*/ 51547 h 161913"/>
                <a:gd name="connsiteX5" fmla="*/ 1591 w 423407"/>
                <a:gd name="connsiteY5" fmla="*/ 49970 h 161913"/>
                <a:gd name="connsiteX6" fmla="*/ 4552 w 423407"/>
                <a:gd name="connsiteY6" fmla="*/ 48993 h 161913"/>
                <a:gd name="connsiteX7" fmla="*/ 206472 w 423407"/>
                <a:gd name="connsiteY7" fmla="*/ 797 h 161913"/>
                <a:gd name="connsiteX8" fmla="*/ 209754 w 423407"/>
                <a:gd name="connsiteY8" fmla="*/ 1746 h 161913"/>
                <a:gd name="connsiteX9" fmla="*/ 209447 w 423407"/>
                <a:gd name="connsiteY9" fmla="*/ 2756 h 161913"/>
                <a:gd name="connsiteX10" fmla="*/ 208851 w 423407"/>
                <a:gd name="connsiteY10" fmla="*/ 3619 h 161913"/>
                <a:gd name="connsiteX11" fmla="*/ 209028 w 423407"/>
                <a:gd name="connsiteY11" fmla="*/ 5367 h 161913"/>
                <a:gd name="connsiteX12" fmla="*/ 210954 w 423407"/>
                <a:gd name="connsiteY12" fmla="*/ 7931 h 161913"/>
                <a:gd name="connsiteX13" fmla="*/ 212913 w 423407"/>
                <a:gd name="connsiteY13" fmla="*/ 9676 h 161913"/>
                <a:gd name="connsiteX14" fmla="*/ 218668 w 423407"/>
                <a:gd name="connsiteY14" fmla="*/ 12177 h 161913"/>
                <a:gd name="connsiteX15" fmla="*/ 226668 w 423407"/>
                <a:gd name="connsiteY15" fmla="*/ 10067 h 161913"/>
                <a:gd name="connsiteX16" fmla="*/ 227957 w 423407"/>
                <a:gd name="connsiteY16" fmla="*/ 10303 h 161913"/>
                <a:gd name="connsiteX17" fmla="*/ 229586 w 423407"/>
                <a:gd name="connsiteY17" fmla="*/ 10892 h 161913"/>
                <a:gd name="connsiteX18" fmla="*/ 232403 w 423407"/>
                <a:gd name="connsiteY18" fmla="*/ 17660 h 161913"/>
                <a:gd name="connsiteX19" fmla="*/ 234597 w 423407"/>
                <a:gd name="connsiteY19" fmla="*/ 20048 h 161913"/>
                <a:gd name="connsiteX20" fmla="*/ 237404 w 423407"/>
                <a:gd name="connsiteY20" fmla="*/ 21671 h 161913"/>
                <a:gd name="connsiteX21" fmla="*/ 239711 w 423407"/>
                <a:gd name="connsiteY21" fmla="*/ 21990 h 161913"/>
                <a:gd name="connsiteX22" fmla="*/ 241423 w 423407"/>
                <a:gd name="connsiteY22" fmla="*/ 20297 h 161913"/>
                <a:gd name="connsiteX23" fmla="*/ 242749 w 423407"/>
                <a:gd name="connsiteY23" fmla="*/ 19615 h 161913"/>
                <a:gd name="connsiteX24" fmla="*/ 245638 w 423407"/>
                <a:gd name="connsiteY24" fmla="*/ 19326 h 161913"/>
                <a:gd name="connsiteX25" fmla="*/ 250376 w 423407"/>
                <a:gd name="connsiteY25" fmla="*/ 21650 h 161913"/>
                <a:gd name="connsiteX26" fmla="*/ 252017 w 423407"/>
                <a:gd name="connsiteY26" fmla="*/ 24048 h 161913"/>
                <a:gd name="connsiteX27" fmla="*/ 260083 w 423407"/>
                <a:gd name="connsiteY27" fmla="*/ 25900 h 161913"/>
                <a:gd name="connsiteX28" fmla="*/ 267483 w 423407"/>
                <a:gd name="connsiteY28" fmla="*/ 26827 h 161913"/>
                <a:gd name="connsiteX29" fmla="*/ 270676 w 423407"/>
                <a:gd name="connsiteY29" fmla="*/ 28854 h 161913"/>
                <a:gd name="connsiteX30" fmla="*/ 281091 w 423407"/>
                <a:gd name="connsiteY30" fmla="*/ 30889 h 161913"/>
                <a:gd name="connsiteX31" fmla="*/ 284980 w 423407"/>
                <a:gd name="connsiteY31" fmla="*/ 30573 h 161913"/>
                <a:gd name="connsiteX32" fmla="*/ 291508 w 423407"/>
                <a:gd name="connsiteY32" fmla="*/ 28438 h 161913"/>
                <a:gd name="connsiteX33" fmla="*/ 304205 w 423407"/>
                <a:gd name="connsiteY33" fmla="*/ 26102 h 161913"/>
                <a:gd name="connsiteX34" fmla="*/ 312642 w 423407"/>
                <a:gd name="connsiteY34" fmla="*/ 29363 h 161913"/>
                <a:gd name="connsiteX35" fmla="*/ 314924 w 423407"/>
                <a:gd name="connsiteY35" fmla="*/ 29786 h 161913"/>
                <a:gd name="connsiteX36" fmla="*/ 316894 w 423407"/>
                <a:gd name="connsiteY36" fmla="*/ 29505 h 161913"/>
                <a:gd name="connsiteX37" fmla="*/ 319729 w 423407"/>
                <a:gd name="connsiteY37" fmla="*/ 30402 h 161913"/>
                <a:gd name="connsiteX38" fmla="*/ 322754 w 423407"/>
                <a:gd name="connsiteY38" fmla="*/ 29920 h 161913"/>
                <a:gd name="connsiteX39" fmla="*/ 332091 w 423407"/>
                <a:gd name="connsiteY39" fmla="*/ 26076 h 161913"/>
                <a:gd name="connsiteX40" fmla="*/ 335011 w 423407"/>
                <a:gd name="connsiteY40" fmla="*/ 23895 h 161913"/>
                <a:gd name="connsiteX41" fmla="*/ 338105 w 423407"/>
                <a:gd name="connsiteY41" fmla="*/ 23331 h 161913"/>
                <a:gd name="connsiteX42" fmla="*/ 340850 w 423407"/>
                <a:gd name="connsiteY42" fmla="*/ 22024 h 161913"/>
                <a:gd name="connsiteX43" fmla="*/ 348164 w 423407"/>
                <a:gd name="connsiteY43" fmla="*/ 17738 h 161913"/>
                <a:gd name="connsiteX44" fmla="*/ 350280 w 423407"/>
                <a:gd name="connsiteY44" fmla="*/ 15259 h 161913"/>
                <a:gd name="connsiteX45" fmla="*/ 351751 w 423407"/>
                <a:gd name="connsiteY45" fmla="*/ 15792 h 161913"/>
                <a:gd name="connsiteX46" fmla="*/ 354519 w 423407"/>
                <a:gd name="connsiteY46" fmla="*/ 16471 h 161913"/>
                <a:gd name="connsiteX47" fmla="*/ 356236 w 423407"/>
                <a:gd name="connsiteY47" fmla="*/ 17292 h 161913"/>
                <a:gd name="connsiteX48" fmla="*/ 357212 w 423407"/>
                <a:gd name="connsiteY48" fmla="*/ 17507 h 161913"/>
                <a:gd name="connsiteX49" fmla="*/ 359473 w 423407"/>
                <a:gd name="connsiteY49" fmla="*/ 15835 h 161913"/>
                <a:gd name="connsiteX50" fmla="*/ 362833 w 423407"/>
                <a:gd name="connsiteY50" fmla="*/ 15877 h 161913"/>
                <a:gd name="connsiteX51" fmla="*/ 365782 w 423407"/>
                <a:gd name="connsiteY51" fmla="*/ 16071 h 161913"/>
                <a:gd name="connsiteX52" fmla="*/ 367305 w 423407"/>
                <a:gd name="connsiteY52" fmla="*/ 16381 h 161913"/>
                <a:gd name="connsiteX53" fmla="*/ 369170 w 423407"/>
                <a:gd name="connsiteY53" fmla="*/ 16936 h 161913"/>
                <a:gd name="connsiteX54" fmla="*/ 371427 w 423407"/>
                <a:gd name="connsiteY54" fmla="*/ 17310 h 161913"/>
                <a:gd name="connsiteX55" fmla="*/ 372345 w 423407"/>
                <a:gd name="connsiteY55" fmla="*/ 16511 h 161913"/>
                <a:gd name="connsiteX56" fmla="*/ 373660 w 423407"/>
                <a:gd name="connsiteY56" fmla="*/ 14154 h 161913"/>
                <a:gd name="connsiteX57" fmla="*/ 374169 w 423407"/>
                <a:gd name="connsiteY57" fmla="*/ 13852 h 161913"/>
                <a:gd name="connsiteX58" fmla="*/ 374532 w 423407"/>
                <a:gd name="connsiteY58" fmla="*/ 13637 h 161913"/>
                <a:gd name="connsiteX59" fmla="*/ 376203 w 423407"/>
                <a:gd name="connsiteY59" fmla="*/ 13454 h 161913"/>
                <a:gd name="connsiteX60" fmla="*/ 377789 w 423407"/>
                <a:gd name="connsiteY60" fmla="*/ 13635 h 161913"/>
                <a:gd name="connsiteX61" fmla="*/ 378535 w 423407"/>
                <a:gd name="connsiteY61" fmla="*/ 14036 h 161913"/>
                <a:gd name="connsiteX62" fmla="*/ 379283 w 423407"/>
                <a:gd name="connsiteY62" fmla="*/ 15922 h 161913"/>
                <a:gd name="connsiteX63" fmla="*/ 381164 w 423407"/>
                <a:gd name="connsiteY63" fmla="*/ 16597 h 161913"/>
                <a:gd name="connsiteX64" fmla="*/ 384489 w 423407"/>
                <a:gd name="connsiteY64" fmla="*/ 19607 h 161913"/>
                <a:gd name="connsiteX65" fmla="*/ 386521 w 423407"/>
                <a:gd name="connsiteY65" fmla="*/ 20813 h 161913"/>
                <a:gd name="connsiteX66" fmla="*/ 387013 w 423407"/>
                <a:gd name="connsiteY66" fmla="*/ 21319 h 161913"/>
                <a:gd name="connsiteX67" fmla="*/ 386344 w 423407"/>
                <a:gd name="connsiteY67" fmla="*/ 21928 h 161913"/>
                <a:gd name="connsiteX68" fmla="*/ 386605 w 423407"/>
                <a:gd name="connsiteY68" fmla="*/ 22678 h 161913"/>
                <a:gd name="connsiteX69" fmla="*/ 387769 w 423407"/>
                <a:gd name="connsiteY69" fmla="*/ 23659 h 161913"/>
                <a:gd name="connsiteX70" fmla="*/ 389401 w 423407"/>
                <a:gd name="connsiteY70" fmla="*/ 24027 h 161913"/>
                <a:gd name="connsiteX71" fmla="*/ 391164 w 423407"/>
                <a:gd name="connsiteY71" fmla="*/ 23898 h 161913"/>
                <a:gd name="connsiteX72" fmla="*/ 392123 w 423407"/>
                <a:gd name="connsiteY72" fmla="*/ 24255 h 161913"/>
                <a:gd name="connsiteX73" fmla="*/ 392809 w 423407"/>
                <a:gd name="connsiteY73" fmla="*/ 24810 h 161913"/>
                <a:gd name="connsiteX74" fmla="*/ 392990 w 423407"/>
                <a:gd name="connsiteY74" fmla="*/ 25587 h 161913"/>
                <a:gd name="connsiteX75" fmla="*/ 392943 w 423407"/>
                <a:gd name="connsiteY75" fmla="*/ 26084 h 161913"/>
                <a:gd name="connsiteX76" fmla="*/ 393293 w 423407"/>
                <a:gd name="connsiteY76" fmla="*/ 27201 h 161913"/>
                <a:gd name="connsiteX77" fmla="*/ 394668 w 423407"/>
                <a:gd name="connsiteY77" fmla="*/ 28776 h 161913"/>
                <a:gd name="connsiteX78" fmla="*/ 396310 w 423407"/>
                <a:gd name="connsiteY78" fmla="*/ 29740 h 161913"/>
                <a:gd name="connsiteX79" fmla="*/ 397193 w 423407"/>
                <a:gd name="connsiteY79" fmla="*/ 30770 h 161913"/>
                <a:gd name="connsiteX80" fmla="*/ 398626 w 423407"/>
                <a:gd name="connsiteY80" fmla="*/ 34314 h 161913"/>
                <a:gd name="connsiteX81" fmla="*/ 399205 w 423407"/>
                <a:gd name="connsiteY81" fmla="*/ 36272 h 161913"/>
                <a:gd name="connsiteX82" fmla="*/ 398989 w 423407"/>
                <a:gd name="connsiteY82" fmla="*/ 38155 h 161913"/>
                <a:gd name="connsiteX83" fmla="*/ 397994 w 423407"/>
                <a:gd name="connsiteY83" fmla="*/ 40087 h 161913"/>
                <a:gd name="connsiteX84" fmla="*/ 395815 w 423407"/>
                <a:gd name="connsiteY84" fmla="*/ 42489 h 161913"/>
                <a:gd name="connsiteX85" fmla="*/ 396355 w 423407"/>
                <a:gd name="connsiteY85" fmla="*/ 43492 h 161913"/>
                <a:gd name="connsiteX86" fmla="*/ 396843 w 423407"/>
                <a:gd name="connsiteY86" fmla="*/ 44820 h 161913"/>
                <a:gd name="connsiteX87" fmla="*/ 396679 w 423407"/>
                <a:gd name="connsiteY87" fmla="*/ 45780 h 161913"/>
                <a:gd name="connsiteX88" fmla="*/ 398221 w 423407"/>
                <a:gd name="connsiteY88" fmla="*/ 48846 h 161913"/>
                <a:gd name="connsiteX89" fmla="*/ 398922 w 423407"/>
                <a:gd name="connsiteY89" fmla="*/ 50748 h 161913"/>
                <a:gd name="connsiteX90" fmla="*/ 398335 w 423407"/>
                <a:gd name="connsiteY90" fmla="*/ 51188 h 161913"/>
                <a:gd name="connsiteX91" fmla="*/ 397957 w 423407"/>
                <a:gd name="connsiteY91" fmla="*/ 51796 h 161913"/>
                <a:gd name="connsiteX92" fmla="*/ 400732 w 423407"/>
                <a:gd name="connsiteY92" fmla="*/ 53260 h 161913"/>
                <a:gd name="connsiteX93" fmla="*/ 404055 w 423407"/>
                <a:gd name="connsiteY93" fmla="*/ 54489 h 161913"/>
                <a:gd name="connsiteX94" fmla="*/ 405457 w 423407"/>
                <a:gd name="connsiteY94" fmla="*/ 54725 h 161913"/>
                <a:gd name="connsiteX95" fmla="*/ 409275 w 423407"/>
                <a:gd name="connsiteY95" fmla="*/ 54161 h 161913"/>
                <a:gd name="connsiteX96" fmla="*/ 411734 w 423407"/>
                <a:gd name="connsiteY96" fmla="*/ 54040 h 161913"/>
                <a:gd name="connsiteX97" fmla="*/ 414174 w 423407"/>
                <a:gd name="connsiteY97" fmla="*/ 55204 h 161913"/>
                <a:gd name="connsiteX98" fmla="*/ 417731 w 423407"/>
                <a:gd name="connsiteY98" fmla="*/ 58022 h 161913"/>
                <a:gd name="connsiteX99" fmla="*/ 421563 w 423407"/>
                <a:gd name="connsiteY99" fmla="*/ 61696 h 161913"/>
                <a:gd name="connsiteX100" fmla="*/ 422326 w 423407"/>
                <a:gd name="connsiteY100" fmla="*/ 62813 h 161913"/>
                <a:gd name="connsiteX101" fmla="*/ 422661 w 423407"/>
                <a:gd name="connsiteY101" fmla="*/ 63304 h 161913"/>
                <a:gd name="connsiteX102" fmla="*/ 423407 w 423407"/>
                <a:gd name="connsiteY102" fmla="*/ 64194 h 161913"/>
                <a:gd name="connsiteX103" fmla="*/ 422632 w 423407"/>
                <a:gd name="connsiteY103" fmla="*/ 64177 h 161913"/>
                <a:gd name="connsiteX104" fmla="*/ 421369 w 423407"/>
                <a:gd name="connsiteY104" fmla="*/ 63380 h 161913"/>
                <a:gd name="connsiteX105" fmla="*/ 418320 w 423407"/>
                <a:gd name="connsiteY105" fmla="*/ 61121 h 161913"/>
                <a:gd name="connsiteX106" fmla="*/ 416763 w 423407"/>
                <a:gd name="connsiteY106" fmla="*/ 62092 h 161913"/>
                <a:gd name="connsiteX107" fmla="*/ 415420 w 423407"/>
                <a:gd name="connsiteY107" fmla="*/ 63770 h 161913"/>
                <a:gd name="connsiteX108" fmla="*/ 413947 w 423407"/>
                <a:gd name="connsiteY108" fmla="*/ 70123 h 161913"/>
                <a:gd name="connsiteX109" fmla="*/ 412755 w 423407"/>
                <a:gd name="connsiteY109" fmla="*/ 70799 h 161913"/>
                <a:gd name="connsiteX110" fmla="*/ 410654 w 423407"/>
                <a:gd name="connsiteY110" fmla="*/ 70780 h 161913"/>
                <a:gd name="connsiteX111" fmla="*/ 408080 w 423407"/>
                <a:gd name="connsiteY111" fmla="*/ 70561 h 161913"/>
                <a:gd name="connsiteX112" fmla="*/ 406310 w 423407"/>
                <a:gd name="connsiteY112" fmla="*/ 70879 h 161913"/>
                <a:gd name="connsiteX113" fmla="*/ 405852 w 423407"/>
                <a:gd name="connsiteY113" fmla="*/ 71282 h 161913"/>
                <a:gd name="connsiteX114" fmla="*/ 406085 w 423407"/>
                <a:gd name="connsiteY114" fmla="*/ 71967 h 161913"/>
                <a:gd name="connsiteX115" fmla="*/ 406610 w 423407"/>
                <a:gd name="connsiteY115" fmla="*/ 73009 h 161913"/>
                <a:gd name="connsiteX116" fmla="*/ 406981 w 423407"/>
                <a:gd name="connsiteY116" fmla="*/ 74327 h 161913"/>
                <a:gd name="connsiteX117" fmla="*/ 407087 w 423407"/>
                <a:gd name="connsiteY117" fmla="*/ 75406 h 161913"/>
                <a:gd name="connsiteX118" fmla="*/ 408020 w 423407"/>
                <a:gd name="connsiteY118" fmla="*/ 76382 h 161913"/>
                <a:gd name="connsiteX119" fmla="*/ 409275 w 423407"/>
                <a:gd name="connsiteY119" fmla="*/ 77309 h 161913"/>
                <a:gd name="connsiteX120" fmla="*/ 409330 w 423407"/>
                <a:gd name="connsiteY120" fmla="*/ 78260 h 161913"/>
                <a:gd name="connsiteX121" fmla="*/ 409138 w 423407"/>
                <a:gd name="connsiteY121" fmla="*/ 79600 h 161913"/>
                <a:gd name="connsiteX122" fmla="*/ 408849 w 423407"/>
                <a:gd name="connsiteY122" fmla="*/ 80622 h 161913"/>
                <a:gd name="connsiteX123" fmla="*/ 408534 w 423407"/>
                <a:gd name="connsiteY123" fmla="*/ 81200 h 161913"/>
                <a:gd name="connsiteX124" fmla="*/ 409115 w 423407"/>
                <a:gd name="connsiteY124" fmla="*/ 82751 h 161913"/>
                <a:gd name="connsiteX125" fmla="*/ 410477 w 423407"/>
                <a:gd name="connsiteY125" fmla="*/ 84588 h 161913"/>
                <a:gd name="connsiteX126" fmla="*/ 411345 w 423407"/>
                <a:gd name="connsiteY126" fmla="*/ 85290 h 161913"/>
                <a:gd name="connsiteX127" fmla="*/ 411021 w 423407"/>
                <a:gd name="connsiteY127" fmla="*/ 88784 h 161913"/>
                <a:gd name="connsiteX128" fmla="*/ 411533 w 423407"/>
                <a:gd name="connsiteY128" fmla="*/ 90330 h 161913"/>
                <a:gd name="connsiteX129" fmla="*/ 411924 w 423407"/>
                <a:gd name="connsiteY129" fmla="*/ 92465 h 161913"/>
                <a:gd name="connsiteX130" fmla="*/ 411769 w 423407"/>
                <a:gd name="connsiteY130" fmla="*/ 96009 h 161913"/>
                <a:gd name="connsiteX131" fmla="*/ 411939 w 423407"/>
                <a:gd name="connsiteY131" fmla="*/ 96879 h 161913"/>
                <a:gd name="connsiteX132" fmla="*/ 412405 w 423407"/>
                <a:gd name="connsiteY132" fmla="*/ 97177 h 161913"/>
                <a:gd name="connsiteX133" fmla="*/ 413647 w 423407"/>
                <a:gd name="connsiteY133" fmla="*/ 97309 h 161913"/>
                <a:gd name="connsiteX134" fmla="*/ 414865 w 423407"/>
                <a:gd name="connsiteY134" fmla="*/ 97638 h 161913"/>
                <a:gd name="connsiteX135" fmla="*/ 415286 w 423407"/>
                <a:gd name="connsiteY135" fmla="*/ 98217 h 161913"/>
                <a:gd name="connsiteX136" fmla="*/ 415280 w 423407"/>
                <a:gd name="connsiteY136" fmla="*/ 98641 h 161913"/>
                <a:gd name="connsiteX137" fmla="*/ 413760 w 423407"/>
                <a:gd name="connsiteY137" fmla="*/ 100264 h 161913"/>
                <a:gd name="connsiteX138" fmla="*/ 413580 w 423407"/>
                <a:gd name="connsiteY138" fmla="*/ 101417 h 161913"/>
                <a:gd name="connsiteX139" fmla="*/ 413053 w 423407"/>
                <a:gd name="connsiteY139" fmla="*/ 103040 h 161913"/>
                <a:gd name="connsiteX140" fmla="*/ 412621 w 423407"/>
                <a:gd name="connsiteY140" fmla="*/ 103995 h 161913"/>
                <a:gd name="connsiteX141" fmla="*/ 411263 w 423407"/>
                <a:gd name="connsiteY141" fmla="*/ 105803 h 161913"/>
                <a:gd name="connsiteX142" fmla="*/ 410399 w 423407"/>
                <a:gd name="connsiteY142" fmla="*/ 107639 h 161913"/>
                <a:gd name="connsiteX143" fmla="*/ 410011 w 423407"/>
                <a:gd name="connsiteY143" fmla="*/ 109154 h 161913"/>
                <a:gd name="connsiteX144" fmla="*/ 410268 w 423407"/>
                <a:gd name="connsiteY144" fmla="*/ 109868 h 161913"/>
                <a:gd name="connsiteX145" fmla="*/ 412772 w 423407"/>
                <a:gd name="connsiteY145" fmla="*/ 110083 h 161913"/>
                <a:gd name="connsiteX146" fmla="*/ 414133 w 423407"/>
                <a:gd name="connsiteY146" fmla="*/ 111173 h 161913"/>
                <a:gd name="connsiteX147" fmla="*/ 417748 w 423407"/>
                <a:gd name="connsiteY147" fmla="*/ 113338 h 161913"/>
                <a:gd name="connsiteX148" fmla="*/ 418383 w 423407"/>
                <a:gd name="connsiteY148" fmla="*/ 114215 h 161913"/>
                <a:gd name="connsiteX149" fmla="*/ 417396 w 423407"/>
                <a:gd name="connsiteY149" fmla="*/ 115550 h 161913"/>
                <a:gd name="connsiteX150" fmla="*/ 417413 w 423407"/>
                <a:gd name="connsiteY150" fmla="*/ 116107 h 161913"/>
                <a:gd name="connsiteX151" fmla="*/ 417880 w 423407"/>
                <a:gd name="connsiteY151" fmla="*/ 116815 h 161913"/>
                <a:gd name="connsiteX152" fmla="*/ 418100 w 423407"/>
                <a:gd name="connsiteY152" fmla="*/ 118053 h 161913"/>
                <a:gd name="connsiteX153" fmla="*/ 418011 w 423407"/>
                <a:gd name="connsiteY153" fmla="*/ 119427 h 161913"/>
                <a:gd name="connsiteX154" fmla="*/ 418031 w 423407"/>
                <a:gd name="connsiteY154" fmla="*/ 121239 h 161913"/>
                <a:gd name="connsiteX155" fmla="*/ 418696 w 423407"/>
                <a:gd name="connsiteY155" fmla="*/ 121537 h 161913"/>
                <a:gd name="connsiteX156" fmla="*/ 421151 w 423407"/>
                <a:gd name="connsiteY156" fmla="*/ 123236 h 161913"/>
                <a:gd name="connsiteX157" fmla="*/ 422898 w 423407"/>
                <a:gd name="connsiteY157" fmla="*/ 124938 h 161913"/>
                <a:gd name="connsiteX158" fmla="*/ 422956 w 423407"/>
                <a:gd name="connsiteY158" fmla="*/ 125463 h 161913"/>
                <a:gd name="connsiteX159" fmla="*/ 422106 w 423407"/>
                <a:gd name="connsiteY159" fmla="*/ 126806 h 161913"/>
                <a:gd name="connsiteX160" fmla="*/ 422291 w 423407"/>
                <a:gd name="connsiteY160" fmla="*/ 128352 h 161913"/>
                <a:gd name="connsiteX161" fmla="*/ 422257 w 423407"/>
                <a:gd name="connsiteY161" fmla="*/ 128707 h 161913"/>
                <a:gd name="connsiteX162" fmla="*/ 421501 w 423407"/>
                <a:gd name="connsiteY162" fmla="*/ 128125 h 161913"/>
                <a:gd name="connsiteX163" fmla="*/ 420138 w 423407"/>
                <a:gd name="connsiteY163" fmla="*/ 127914 h 161913"/>
                <a:gd name="connsiteX164" fmla="*/ 418737 w 423407"/>
                <a:gd name="connsiteY164" fmla="*/ 127852 h 161913"/>
                <a:gd name="connsiteX165" fmla="*/ 417854 w 423407"/>
                <a:gd name="connsiteY165" fmla="*/ 128304 h 161913"/>
                <a:gd name="connsiteX166" fmla="*/ 416305 w 423407"/>
                <a:gd name="connsiteY166" fmla="*/ 129519 h 161913"/>
                <a:gd name="connsiteX167" fmla="*/ 414226 w 423407"/>
                <a:gd name="connsiteY167" fmla="*/ 130843 h 161913"/>
                <a:gd name="connsiteX168" fmla="*/ 412537 w 423407"/>
                <a:gd name="connsiteY168" fmla="*/ 132058 h 161913"/>
                <a:gd name="connsiteX169" fmla="*/ 411570 w 423407"/>
                <a:gd name="connsiteY169" fmla="*/ 132890 h 161913"/>
                <a:gd name="connsiteX170" fmla="*/ 410771 w 423407"/>
                <a:gd name="connsiteY170" fmla="*/ 132756 h 161913"/>
                <a:gd name="connsiteX171" fmla="*/ 410147 w 423407"/>
                <a:gd name="connsiteY171" fmla="*/ 132029 h 161913"/>
                <a:gd name="connsiteX172" fmla="*/ 409797 w 423407"/>
                <a:gd name="connsiteY172" fmla="*/ 131013 h 161913"/>
                <a:gd name="connsiteX173" fmla="*/ 409946 w 423407"/>
                <a:gd name="connsiteY173" fmla="*/ 127174 h 161913"/>
                <a:gd name="connsiteX174" fmla="*/ 409579 w 423407"/>
                <a:gd name="connsiteY174" fmla="*/ 125971 h 161913"/>
                <a:gd name="connsiteX175" fmla="*/ 408793 w 423407"/>
                <a:gd name="connsiteY175" fmla="*/ 125127 h 161913"/>
                <a:gd name="connsiteX176" fmla="*/ 407869 w 423407"/>
                <a:gd name="connsiteY176" fmla="*/ 124645 h 161913"/>
                <a:gd name="connsiteX177" fmla="*/ 406767 w 423407"/>
                <a:gd name="connsiteY177" fmla="*/ 124375 h 161913"/>
                <a:gd name="connsiteX178" fmla="*/ 405630 w 423407"/>
                <a:gd name="connsiteY178" fmla="*/ 124348 h 161913"/>
                <a:gd name="connsiteX179" fmla="*/ 404012 w 423407"/>
                <a:gd name="connsiteY179" fmla="*/ 125476 h 161913"/>
                <a:gd name="connsiteX180" fmla="*/ 401721 w 423407"/>
                <a:gd name="connsiteY180" fmla="*/ 126641 h 161913"/>
                <a:gd name="connsiteX181" fmla="*/ 398169 w 423407"/>
                <a:gd name="connsiteY181" fmla="*/ 126547 h 161913"/>
                <a:gd name="connsiteX182" fmla="*/ 395785 w 423407"/>
                <a:gd name="connsiteY182" fmla="*/ 126328 h 161913"/>
                <a:gd name="connsiteX183" fmla="*/ 394632 w 423407"/>
                <a:gd name="connsiteY183" fmla="*/ 126106 h 161913"/>
                <a:gd name="connsiteX184" fmla="*/ 390008 w 423407"/>
                <a:gd name="connsiteY184" fmla="*/ 124319 h 161913"/>
                <a:gd name="connsiteX185" fmla="*/ 389043 w 423407"/>
                <a:gd name="connsiteY185" fmla="*/ 124272 h 161913"/>
                <a:gd name="connsiteX186" fmla="*/ 387320 w 423407"/>
                <a:gd name="connsiteY186" fmla="*/ 123549 h 161913"/>
                <a:gd name="connsiteX187" fmla="*/ 385271 w 423407"/>
                <a:gd name="connsiteY187" fmla="*/ 122975 h 161913"/>
                <a:gd name="connsiteX188" fmla="*/ 381824 w 423407"/>
                <a:gd name="connsiteY188" fmla="*/ 124062 h 161913"/>
                <a:gd name="connsiteX189" fmla="*/ 380332 w 423407"/>
                <a:gd name="connsiteY189" fmla="*/ 123803 h 161913"/>
                <a:gd name="connsiteX190" fmla="*/ 378242 w 423407"/>
                <a:gd name="connsiteY190" fmla="*/ 122860 h 161913"/>
                <a:gd name="connsiteX191" fmla="*/ 377501 w 423407"/>
                <a:gd name="connsiteY191" fmla="*/ 123114 h 161913"/>
                <a:gd name="connsiteX192" fmla="*/ 375165 w 423407"/>
                <a:gd name="connsiteY192" fmla="*/ 125986 h 161913"/>
                <a:gd name="connsiteX193" fmla="*/ 371194 w 423407"/>
                <a:gd name="connsiteY193" fmla="*/ 129056 h 161913"/>
                <a:gd name="connsiteX194" fmla="*/ 369052 w 423407"/>
                <a:gd name="connsiteY194" fmla="*/ 129568 h 161913"/>
                <a:gd name="connsiteX195" fmla="*/ 368032 w 423407"/>
                <a:gd name="connsiteY195" fmla="*/ 126487 h 161913"/>
                <a:gd name="connsiteX196" fmla="*/ 367052 w 423407"/>
                <a:gd name="connsiteY196" fmla="*/ 125290 h 161913"/>
                <a:gd name="connsiteX197" fmla="*/ 366588 w 423407"/>
                <a:gd name="connsiteY197" fmla="*/ 125146 h 161913"/>
                <a:gd name="connsiteX198" fmla="*/ 365597 w 423407"/>
                <a:gd name="connsiteY198" fmla="*/ 124762 h 161913"/>
                <a:gd name="connsiteX199" fmla="*/ 364826 w 423407"/>
                <a:gd name="connsiteY199" fmla="*/ 124983 h 161913"/>
                <a:gd name="connsiteX200" fmla="*/ 362437 w 423407"/>
                <a:gd name="connsiteY200" fmla="*/ 127087 h 161913"/>
                <a:gd name="connsiteX201" fmla="*/ 358611 w 423407"/>
                <a:gd name="connsiteY201" fmla="*/ 128351 h 161913"/>
                <a:gd name="connsiteX202" fmla="*/ 355443 w 423407"/>
                <a:gd name="connsiteY202" fmla="*/ 129122 h 161913"/>
                <a:gd name="connsiteX203" fmla="*/ 350401 w 423407"/>
                <a:gd name="connsiteY203" fmla="*/ 130063 h 161913"/>
                <a:gd name="connsiteX204" fmla="*/ 346510 w 423407"/>
                <a:gd name="connsiteY204" fmla="*/ 130530 h 161913"/>
                <a:gd name="connsiteX205" fmla="*/ 344853 w 423407"/>
                <a:gd name="connsiteY205" fmla="*/ 130567 h 161913"/>
                <a:gd name="connsiteX206" fmla="*/ 341260 w 423407"/>
                <a:gd name="connsiteY206" fmla="*/ 130146 h 161913"/>
                <a:gd name="connsiteX207" fmla="*/ 338093 w 423407"/>
                <a:gd name="connsiteY207" fmla="*/ 129554 h 161913"/>
                <a:gd name="connsiteX208" fmla="*/ 334925 w 423407"/>
                <a:gd name="connsiteY208" fmla="*/ 129580 h 161913"/>
                <a:gd name="connsiteX209" fmla="*/ 332493 w 423407"/>
                <a:gd name="connsiteY209" fmla="*/ 129845 h 161913"/>
                <a:gd name="connsiteX210" fmla="*/ 326848 w 423407"/>
                <a:gd name="connsiteY210" fmla="*/ 132105 h 161913"/>
                <a:gd name="connsiteX211" fmla="*/ 317252 w 423407"/>
                <a:gd name="connsiteY211" fmla="*/ 136751 h 161913"/>
                <a:gd name="connsiteX212" fmla="*/ 309958 w 423407"/>
                <a:gd name="connsiteY212" fmla="*/ 138971 h 161913"/>
                <a:gd name="connsiteX213" fmla="*/ 305866 w 423407"/>
                <a:gd name="connsiteY213" fmla="*/ 139894 h 161913"/>
                <a:gd name="connsiteX214" fmla="*/ 302663 w 423407"/>
                <a:gd name="connsiteY214" fmla="*/ 140418 h 161913"/>
                <a:gd name="connsiteX215" fmla="*/ 297174 w 423407"/>
                <a:gd name="connsiteY215" fmla="*/ 140444 h 161913"/>
                <a:gd name="connsiteX216" fmla="*/ 292708 w 423407"/>
                <a:gd name="connsiteY216" fmla="*/ 140086 h 161913"/>
                <a:gd name="connsiteX217" fmla="*/ 289616 w 423407"/>
                <a:gd name="connsiteY217" fmla="*/ 140126 h 161913"/>
                <a:gd name="connsiteX218" fmla="*/ 287898 w 423407"/>
                <a:gd name="connsiteY218" fmla="*/ 139568 h 161913"/>
                <a:gd name="connsiteX219" fmla="*/ 285447 w 423407"/>
                <a:gd name="connsiteY219" fmla="*/ 137690 h 161913"/>
                <a:gd name="connsiteX220" fmla="*/ 282477 w 423407"/>
                <a:gd name="connsiteY220" fmla="*/ 135832 h 161913"/>
                <a:gd name="connsiteX221" fmla="*/ 281156 w 423407"/>
                <a:gd name="connsiteY221" fmla="*/ 135400 h 161913"/>
                <a:gd name="connsiteX222" fmla="*/ 279428 w 423407"/>
                <a:gd name="connsiteY222" fmla="*/ 135042 h 161913"/>
                <a:gd name="connsiteX223" fmla="*/ 276904 w 423407"/>
                <a:gd name="connsiteY223" fmla="*/ 134833 h 161913"/>
                <a:gd name="connsiteX224" fmla="*/ 270601 w 423407"/>
                <a:gd name="connsiteY224" fmla="*/ 137550 h 161913"/>
                <a:gd name="connsiteX225" fmla="*/ 268640 w 423407"/>
                <a:gd name="connsiteY225" fmla="*/ 138287 h 161913"/>
                <a:gd name="connsiteX226" fmla="*/ 266481 w 423407"/>
                <a:gd name="connsiteY226" fmla="*/ 138843 h 161913"/>
                <a:gd name="connsiteX227" fmla="*/ 262130 w 423407"/>
                <a:gd name="connsiteY227" fmla="*/ 140501 h 161913"/>
                <a:gd name="connsiteX228" fmla="*/ 260201 w 423407"/>
                <a:gd name="connsiteY228" fmla="*/ 141389 h 161913"/>
                <a:gd name="connsiteX229" fmla="*/ 257785 w 423407"/>
                <a:gd name="connsiteY229" fmla="*/ 141306 h 161913"/>
                <a:gd name="connsiteX230" fmla="*/ 254697 w 423407"/>
                <a:gd name="connsiteY230" fmla="*/ 141070 h 161913"/>
                <a:gd name="connsiteX231" fmla="*/ 252017 w 423407"/>
                <a:gd name="connsiteY231" fmla="*/ 141153 h 161913"/>
                <a:gd name="connsiteX232" fmla="*/ 250229 w 423407"/>
                <a:gd name="connsiteY232" fmla="*/ 139891 h 161913"/>
                <a:gd name="connsiteX233" fmla="*/ 249266 w 423407"/>
                <a:gd name="connsiteY233" fmla="*/ 138469 h 161913"/>
                <a:gd name="connsiteX234" fmla="*/ 245613 w 423407"/>
                <a:gd name="connsiteY234" fmla="*/ 137599 h 161913"/>
                <a:gd name="connsiteX235" fmla="*/ 243004 w 423407"/>
                <a:gd name="connsiteY235" fmla="*/ 137349 h 161913"/>
                <a:gd name="connsiteX236" fmla="*/ 242337 w 423407"/>
                <a:gd name="connsiteY236" fmla="*/ 137980 h 161913"/>
                <a:gd name="connsiteX237" fmla="*/ 241639 w 423407"/>
                <a:gd name="connsiteY237" fmla="*/ 139917 h 161913"/>
                <a:gd name="connsiteX238" fmla="*/ 240529 w 423407"/>
                <a:gd name="connsiteY238" fmla="*/ 144861 h 161913"/>
                <a:gd name="connsiteX239" fmla="*/ 240326 w 423407"/>
                <a:gd name="connsiteY239" fmla="*/ 146100 h 161913"/>
                <a:gd name="connsiteX240" fmla="*/ 242624 w 423407"/>
                <a:gd name="connsiteY240" fmla="*/ 151006 h 161913"/>
                <a:gd name="connsiteX241" fmla="*/ 242520 w 423407"/>
                <a:gd name="connsiteY241" fmla="*/ 151753 h 161913"/>
                <a:gd name="connsiteX242" fmla="*/ 240877 w 423407"/>
                <a:gd name="connsiteY242" fmla="*/ 152007 h 161913"/>
                <a:gd name="connsiteX243" fmla="*/ 238990 w 423407"/>
                <a:gd name="connsiteY243" fmla="*/ 152089 h 161913"/>
                <a:gd name="connsiteX244" fmla="*/ 237761 w 423407"/>
                <a:gd name="connsiteY244" fmla="*/ 152525 h 161913"/>
                <a:gd name="connsiteX245" fmla="*/ 236742 w 423407"/>
                <a:gd name="connsiteY245" fmla="*/ 153339 h 161913"/>
                <a:gd name="connsiteX246" fmla="*/ 236126 w 423407"/>
                <a:gd name="connsiteY246" fmla="*/ 157574 h 161913"/>
                <a:gd name="connsiteX247" fmla="*/ 233943 w 423407"/>
                <a:gd name="connsiteY247" fmla="*/ 158351 h 161913"/>
                <a:gd name="connsiteX248" fmla="*/ 232907 w 423407"/>
                <a:gd name="connsiteY248" fmla="*/ 159238 h 161913"/>
                <a:gd name="connsiteX249" fmla="*/ 231838 w 423407"/>
                <a:gd name="connsiteY249" fmla="*/ 161852 h 161913"/>
                <a:gd name="connsiteX250" fmla="*/ 231257 w 423407"/>
                <a:gd name="connsiteY250" fmla="*/ 161913 h 161913"/>
                <a:gd name="connsiteX251" fmla="*/ 227724 w 423407"/>
                <a:gd name="connsiteY251" fmla="*/ 159932 h 161913"/>
                <a:gd name="connsiteX252" fmla="*/ 226068 w 423407"/>
                <a:gd name="connsiteY252" fmla="*/ 159768 h 161913"/>
                <a:gd name="connsiteX253" fmla="*/ 227489 w 423407"/>
                <a:gd name="connsiteY253" fmla="*/ 157709 h 161913"/>
                <a:gd name="connsiteX254" fmla="*/ 225945 w 423407"/>
                <a:gd name="connsiteY254" fmla="*/ 153646 h 161913"/>
                <a:gd name="connsiteX255" fmla="*/ 224260 w 423407"/>
                <a:gd name="connsiteY255" fmla="*/ 149834 h 161913"/>
                <a:gd name="connsiteX256" fmla="*/ 225850 w 423407"/>
                <a:gd name="connsiteY256" fmla="*/ 147393 h 161913"/>
                <a:gd name="connsiteX257" fmla="*/ 229143 w 423407"/>
                <a:gd name="connsiteY257" fmla="*/ 144446 h 161913"/>
                <a:gd name="connsiteX258" fmla="*/ 232609 w 423407"/>
                <a:gd name="connsiteY258" fmla="*/ 140992 h 161913"/>
                <a:gd name="connsiteX259" fmla="*/ 232602 w 423407"/>
                <a:gd name="connsiteY259" fmla="*/ 138859 h 161913"/>
                <a:gd name="connsiteX260" fmla="*/ 232423 w 423407"/>
                <a:gd name="connsiteY260" fmla="*/ 137230 h 161913"/>
                <a:gd name="connsiteX261" fmla="*/ 231430 w 423407"/>
                <a:gd name="connsiteY261" fmla="*/ 136103 h 161913"/>
                <a:gd name="connsiteX262" fmla="*/ 229523 w 423407"/>
                <a:gd name="connsiteY262" fmla="*/ 134604 h 161913"/>
                <a:gd name="connsiteX263" fmla="*/ 226331 w 423407"/>
                <a:gd name="connsiteY263" fmla="*/ 136204 h 161913"/>
                <a:gd name="connsiteX264" fmla="*/ 224053 w 423407"/>
                <a:gd name="connsiteY264" fmla="*/ 137970 h 161913"/>
                <a:gd name="connsiteX265" fmla="*/ 222565 w 423407"/>
                <a:gd name="connsiteY265" fmla="*/ 138328 h 161913"/>
                <a:gd name="connsiteX266" fmla="*/ 220948 w 423407"/>
                <a:gd name="connsiteY266" fmla="*/ 139334 h 161913"/>
                <a:gd name="connsiteX267" fmla="*/ 220162 w 423407"/>
                <a:gd name="connsiteY267" fmla="*/ 141149 h 161913"/>
                <a:gd name="connsiteX268" fmla="*/ 218212 w 423407"/>
                <a:gd name="connsiteY268" fmla="*/ 142563 h 161913"/>
                <a:gd name="connsiteX269" fmla="*/ 215023 w 423407"/>
                <a:gd name="connsiteY269" fmla="*/ 143116 h 161913"/>
                <a:gd name="connsiteX270" fmla="*/ 210224 w 423407"/>
                <a:gd name="connsiteY270" fmla="*/ 141604 h 161913"/>
                <a:gd name="connsiteX271" fmla="*/ 205072 w 423407"/>
                <a:gd name="connsiteY271" fmla="*/ 139300 h 161913"/>
                <a:gd name="connsiteX272" fmla="*/ 202155 w 423407"/>
                <a:gd name="connsiteY272" fmla="*/ 137432 h 161913"/>
                <a:gd name="connsiteX273" fmla="*/ 199775 w 423407"/>
                <a:gd name="connsiteY273" fmla="*/ 136987 h 161913"/>
                <a:gd name="connsiteX274" fmla="*/ 197514 w 423407"/>
                <a:gd name="connsiteY274" fmla="*/ 137808 h 161913"/>
                <a:gd name="connsiteX275" fmla="*/ 190842 w 423407"/>
                <a:gd name="connsiteY275" fmla="*/ 142381 h 161913"/>
                <a:gd name="connsiteX276" fmla="*/ 184735 w 423407"/>
                <a:gd name="connsiteY276" fmla="*/ 149053 h 161913"/>
                <a:gd name="connsiteX277" fmla="*/ 183219 w 423407"/>
                <a:gd name="connsiteY277" fmla="*/ 150205 h 161913"/>
                <a:gd name="connsiteX278" fmla="*/ 177466 w 423407"/>
                <a:gd name="connsiteY278" fmla="*/ 153067 h 161913"/>
                <a:gd name="connsiteX279" fmla="*/ 173664 w 423407"/>
                <a:gd name="connsiteY279" fmla="*/ 154027 h 161913"/>
                <a:gd name="connsiteX280" fmla="*/ 171874 w 423407"/>
                <a:gd name="connsiteY280" fmla="*/ 153804 h 161913"/>
                <a:gd name="connsiteX281" fmla="*/ 164305 w 423407"/>
                <a:gd name="connsiteY281" fmla="*/ 155063 h 161913"/>
                <a:gd name="connsiteX282" fmla="*/ 160546 w 423407"/>
                <a:gd name="connsiteY282" fmla="*/ 155247 h 161913"/>
                <a:gd name="connsiteX283" fmla="*/ 157568 w 423407"/>
                <a:gd name="connsiteY283" fmla="*/ 156757 h 161913"/>
                <a:gd name="connsiteX284" fmla="*/ 151796 w 423407"/>
                <a:gd name="connsiteY284" fmla="*/ 155120 h 161913"/>
                <a:gd name="connsiteX285" fmla="*/ 148345 w 423407"/>
                <a:gd name="connsiteY285" fmla="*/ 153025 h 161913"/>
                <a:gd name="connsiteX286" fmla="*/ 146268 w 423407"/>
                <a:gd name="connsiteY286" fmla="*/ 150896 h 161913"/>
                <a:gd name="connsiteX287" fmla="*/ 142880 w 423407"/>
                <a:gd name="connsiteY287" fmla="*/ 146310 h 161913"/>
                <a:gd name="connsiteX288" fmla="*/ 140478 w 423407"/>
                <a:gd name="connsiteY288" fmla="*/ 144127 h 161913"/>
                <a:gd name="connsiteX289" fmla="*/ 135082 w 423407"/>
                <a:gd name="connsiteY289" fmla="*/ 142163 h 161913"/>
                <a:gd name="connsiteX290" fmla="*/ 125676 w 423407"/>
                <a:gd name="connsiteY290" fmla="*/ 137386 h 161913"/>
                <a:gd name="connsiteX291" fmla="*/ 123201 w 423407"/>
                <a:gd name="connsiteY291" fmla="*/ 136862 h 161913"/>
                <a:gd name="connsiteX292" fmla="*/ 116781 w 423407"/>
                <a:gd name="connsiteY292" fmla="*/ 136177 h 161913"/>
                <a:gd name="connsiteX293" fmla="*/ 110010 w 423407"/>
                <a:gd name="connsiteY293" fmla="*/ 135745 h 161913"/>
                <a:gd name="connsiteX294" fmla="*/ 108638 w 423407"/>
                <a:gd name="connsiteY294" fmla="*/ 137485 h 161913"/>
                <a:gd name="connsiteX295" fmla="*/ 108118 w 423407"/>
                <a:gd name="connsiteY295" fmla="*/ 144367 h 161913"/>
                <a:gd name="connsiteX296" fmla="*/ 106958 w 423407"/>
                <a:gd name="connsiteY296" fmla="*/ 146260 h 161913"/>
                <a:gd name="connsiteX297" fmla="*/ 106462 w 423407"/>
                <a:gd name="connsiteY297" fmla="*/ 149821 h 161913"/>
                <a:gd name="connsiteX298" fmla="*/ 105632 w 423407"/>
                <a:gd name="connsiteY298" fmla="*/ 150846 h 161913"/>
                <a:gd name="connsiteX299" fmla="*/ 104332 w 423407"/>
                <a:gd name="connsiteY299" fmla="*/ 151519 h 161913"/>
                <a:gd name="connsiteX300" fmla="*/ 102300 w 423407"/>
                <a:gd name="connsiteY300" fmla="*/ 150395 h 161913"/>
                <a:gd name="connsiteX301" fmla="*/ 100890 w 423407"/>
                <a:gd name="connsiteY301" fmla="*/ 149899 h 161913"/>
                <a:gd name="connsiteX302" fmla="*/ 97608 w 423407"/>
                <a:gd name="connsiteY302" fmla="*/ 151364 h 161913"/>
                <a:gd name="connsiteX303" fmla="*/ 91108 w 423407"/>
                <a:gd name="connsiteY303" fmla="*/ 153419 h 161913"/>
                <a:gd name="connsiteX304" fmla="*/ 88893 w 423407"/>
                <a:gd name="connsiteY304" fmla="*/ 153706 h 161913"/>
                <a:gd name="connsiteX305" fmla="*/ 81359 w 423407"/>
                <a:gd name="connsiteY305" fmla="*/ 151125 h 161913"/>
                <a:gd name="connsiteX306" fmla="*/ 78601 w 423407"/>
                <a:gd name="connsiteY306" fmla="*/ 149465 h 161913"/>
                <a:gd name="connsiteX307" fmla="*/ 76824 w 423407"/>
                <a:gd name="connsiteY307" fmla="*/ 147624 h 161913"/>
                <a:gd name="connsiteX308" fmla="*/ 76224 w 423407"/>
                <a:gd name="connsiteY308" fmla="*/ 144512 h 161913"/>
                <a:gd name="connsiteX309" fmla="*/ 75105 w 423407"/>
                <a:gd name="connsiteY309" fmla="*/ 142739 h 161913"/>
                <a:gd name="connsiteX310" fmla="*/ 74941 w 423407"/>
                <a:gd name="connsiteY310" fmla="*/ 141521 h 161913"/>
                <a:gd name="connsiteX311" fmla="*/ 74503 w 423407"/>
                <a:gd name="connsiteY311" fmla="*/ 140117 h 161913"/>
                <a:gd name="connsiteX312" fmla="*/ 72985 w 423407"/>
                <a:gd name="connsiteY312" fmla="*/ 139562 h 161913"/>
                <a:gd name="connsiteX313" fmla="*/ 71354 w 423407"/>
                <a:gd name="connsiteY313" fmla="*/ 140621 h 161913"/>
                <a:gd name="connsiteX314" fmla="*/ 69607 w 423407"/>
                <a:gd name="connsiteY314" fmla="*/ 140578 h 161913"/>
                <a:gd name="connsiteX315" fmla="*/ 67413 w 423407"/>
                <a:gd name="connsiteY315" fmla="*/ 139929 h 161913"/>
                <a:gd name="connsiteX316" fmla="*/ 62237 w 423407"/>
                <a:gd name="connsiteY316" fmla="*/ 137317 h 161913"/>
                <a:gd name="connsiteX317" fmla="*/ 58260 w 423407"/>
                <a:gd name="connsiteY317" fmla="*/ 137110 h 161913"/>
                <a:gd name="connsiteX318" fmla="*/ 55869 w 423407"/>
                <a:gd name="connsiteY318" fmla="*/ 140298 h 161913"/>
                <a:gd name="connsiteX319" fmla="*/ 54010 w 423407"/>
                <a:gd name="connsiteY319" fmla="*/ 141311 h 161913"/>
                <a:gd name="connsiteX320" fmla="*/ 51974 w 423407"/>
                <a:gd name="connsiteY320" fmla="*/ 141614 h 161913"/>
                <a:gd name="connsiteX321" fmla="*/ 51857 w 423407"/>
                <a:gd name="connsiteY321" fmla="*/ 140707 h 161913"/>
                <a:gd name="connsiteX322" fmla="*/ 53401 w 423407"/>
                <a:gd name="connsiteY322" fmla="*/ 138645 h 161913"/>
                <a:gd name="connsiteX323" fmla="*/ 47206 w 423407"/>
                <a:gd name="connsiteY323" fmla="*/ 139026 h 161913"/>
                <a:gd name="connsiteX324" fmla="*/ 43935 w 423407"/>
                <a:gd name="connsiteY324" fmla="*/ 140596 h 161913"/>
                <a:gd name="connsiteX325" fmla="*/ 41382 w 423407"/>
                <a:gd name="connsiteY325" fmla="*/ 140352 h 161913"/>
                <a:gd name="connsiteX326" fmla="*/ 39469 w 423407"/>
                <a:gd name="connsiteY326" fmla="*/ 139643 h 161913"/>
                <a:gd name="connsiteX327" fmla="*/ 39756 w 423407"/>
                <a:gd name="connsiteY327" fmla="*/ 138775 h 161913"/>
                <a:gd name="connsiteX328" fmla="*/ 41697 w 423407"/>
                <a:gd name="connsiteY328" fmla="*/ 138457 h 161913"/>
                <a:gd name="connsiteX329" fmla="*/ 43381 w 423407"/>
                <a:gd name="connsiteY329" fmla="*/ 137752 h 161913"/>
                <a:gd name="connsiteX330" fmla="*/ 50095 w 423407"/>
                <a:gd name="connsiteY330" fmla="*/ 137178 h 161913"/>
                <a:gd name="connsiteX331" fmla="*/ 51663 w 423407"/>
                <a:gd name="connsiteY331" fmla="*/ 136601 h 161913"/>
                <a:gd name="connsiteX332" fmla="*/ 53380 w 423407"/>
                <a:gd name="connsiteY332" fmla="*/ 134358 h 161913"/>
                <a:gd name="connsiteX333" fmla="*/ 56506 w 423407"/>
                <a:gd name="connsiteY333" fmla="*/ 132423 h 161913"/>
                <a:gd name="connsiteX334" fmla="*/ 56903 w 423407"/>
                <a:gd name="connsiteY334" fmla="*/ 131592 h 161913"/>
                <a:gd name="connsiteX335" fmla="*/ 54500 w 423407"/>
                <a:gd name="connsiteY335" fmla="*/ 131581 h 161913"/>
                <a:gd name="connsiteX336" fmla="*/ 44211 w 423407"/>
                <a:gd name="connsiteY336" fmla="*/ 132143 h 161913"/>
                <a:gd name="connsiteX337" fmla="*/ 37147 w 423407"/>
                <a:gd name="connsiteY337" fmla="*/ 131833 h 161913"/>
                <a:gd name="connsiteX338" fmla="*/ 36310 w 423407"/>
                <a:gd name="connsiteY338" fmla="*/ 132792 h 161913"/>
                <a:gd name="connsiteX339" fmla="*/ 35247 w 423407"/>
                <a:gd name="connsiteY339" fmla="*/ 132927 h 161913"/>
                <a:gd name="connsiteX340" fmla="*/ 34954 w 423407"/>
                <a:gd name="connsiteY340" fmla="*/ 130317 h 161913"/>
                <a:gd name="connsiteX341" fmla="*/ 36070 w 423407"/>
                <a:gd name="connsiteY341" fmla="*/ 129104 h 161913"/>
                <a:gd name="connsiteX342" fmla="*/ 37573 w 423407"/>
                <a:gd name="connsiteY342" fmla="*/ 129216 h 161913"/>
                <a:gd name="connsiteX343" fmla="*/ 41263 w 423407"/>
                <a:gd name="connsiteY343" fmla="*/ 128161 h 161913"/>
                <a:gd name="connsiteX344" fmla="*/ 40933 w 423407"/>
                <a:gd name="connsiteY344" fmla="*/ 125989 h 161913"/>
                <a:gd name="connsiteX345" fmla="*/ 38290 w 423407"/>
                <a:gd name="connsiteY345" fmla="*/ 124521 h 161913"/>
                <a:gd name="connsiteX346" fmla="*/ 37752 w 423407"/>
                <a:gd name="connsiteY346" fmla="*/ 123655 h 161913"/>
                <a:gd name="connsiteX347" fmla="*/ 35835 w 423407"/>
                <a:gd name="connsiteY347" fmla="*/ 123452 h 161913"/>
                <a:gd name="connsiteX348" fmla="*/ 34280 w 423407"/>
                <a:gd name="connsiteY348" fmla="*/ 122419 h 161913"/>
                <a:gd name="connsiteX349" fmla="*/ 33941 w 423407"/>
                <a:gd name="connsiteY349" fmla="*/ 119810 h 161913"/>
                <a:gd name="connsiteX350" fmla="*/ 32703 w 423407"/>
                <a:gd name="connsiteY350" fmla="*/ 116943 h 161913"/>
                <a:gd name="connsiteX351" fmla="*/ 30935 w 423407"/>
                <a:gd name="connsiteY351" fmla="*/ 115556 h 161913"/>
                <a:gd name="connsiteX352" fmla="*/ 31153 w 423407"/>
                <a:gd name="connsiteY352" fmla="*/ 114794 h 161913"/>
                <a:gd name="connsiteX353" fmla="*/ 34394 w 423407"/>
                <a:gd name="connsiteY353" fmla="*/ 113829 h 161913"/>
                <a:gd name="connsiteX354" fmla="*/ 35066 w 423407"/>
                <a:gd name="connsiteY354" fmla="*/ 109813 h 161913"/>
                <a:gd name="connsiteX355" fmla="*/ 34571 w 423407"/>
                <a:gd name="connsiteY355" fmla="*/ 107345 h 161913"/>
                <a:gd name="connsiteX356" fmla="*/ 32941 w 423407"/>
                <a:gd name="connsiteY356" fmla="*/ 107135 h 161913"/>
                <a:gd name="connsiteX357" fmla="*/ 28191 w 423407"/>
                <a:gd name="connsiteY357" fmla="*/ 105185 h 161913"/>
                <a:gd name="connsiteX358" fmla="*/ 26748 w 423407"/>
                <a:gd name="connsiteY358" fmla="*/ 105393 h 161913"/>
                <a:gd name="connsiteX359" fmla="*/ 25174 w 423407"/>
                <a:gd name="connsiteY359" fmla="*/ 103250 h 161913"/>
                <a:gd name="connsiteX360" fmla="*/ 22418 w 423407"/>
                <a:gd name="connsiteY360" fmla="*/ 101709 h 161913"/>
                <a:gd name="connsiteX361" fmla="*/ 21054 w 423407"/>
                <a:gd name="connsiteY361" fmla="*/ 102273 h 161913"/>
                <a:gd name="connsiteX362" fmla="*/ 20198 w 423407"/>
                <a:gd name="connsiteY362" fmla="*/ 102969 h 161913"/>
                <a:gd name="connsiteX363" fmla="*/ 18922 w 423407"/>
                <a:gd name="connsiteY363" fmla="*/ 102635 h 161913"/>
                <a:gd name="connsiteX364" fmla="*/ 16782 w 423407"/>
                <a:gd name="connsiteY364" fmla="*/ 101298 h 161913"/>
                <a:gd name="connsiteX365" fmla="*/ 14681 w 423407"/>
                <a:gd name="connsiteY365" fmla="*/ 100575 h 161913"/>
                <a:gd name="connsiteX366" fmla="*/ 13748 w 423407"/>
                <a:gd name="connsiteY366" fmla="*/ 99683 h 161913"/>
                <a:gd name="connsiteX367" fmla="*/ 14919 w 423407"/>
                <a:gd name="connsiteY367" fmla="*/ 97296 h 161913"/>
                <a:gd name="connsiteX368" fmla="*/ 16528 w 423407"/>
                <a:gd name="connsiteY368" fmla="*/ 97353 h 161913"/>
                <a:gd name="connsiteX369" fmla="*/ 16821 w 423407"/>
                <a:gd name="connsiteY369" fmla="*/ 95481 h 161913"/>
                <a:gd name="connsiteX370" fmla="*/ 15551 w 423407"/>
                <a:gd name="connsiteY370" fmla="*/ 92359 h 161913"/>
                <a:gd name="connsiteX371" fmla="*/ 15675 w 423407"/>
                <a:gd name="connsiteY371" fmla="*/ 90755 h 161913"/>
                <a:gd name="connsiteX372" fmla="*/ 17078 w 423407"/>
                <a:gd name="connsiteY372" fmla="*/ 90316 h 161913"/>
                <a:gd name="connsiteX373" fmla="*/ 18676 w 423407"/>
                <a:gd name="connsiteY373" fmla="*/ 90618 h 161913"/>
                <a:gd name="connsiteX374" fmla="*/ 20289 w 423407"/>
                <a:gd name="connsiteY374" fmla="*/ 92485 h 161913"/>
                <a:gd name="connsiteX375" fmla="*/ 20816 w 423407"/>
                <a:gd name="connsiteY375" fmla="*/ 94290 h 161913"/>
                <a:gd name="connsiteX376" fmla="*/ 20477 w 423407"/>
                <a:gd name="connsiteY376" fmla="*/ 96048 h 161913"/>
                <a:gd name="connsiteX377" fmla="*/ 21501 w 423407"/>
                <a:gd name="connsiteY377" fmla="*/ 97749 h 161913"/>
                <a:gd name="connsiteX378" fmla="*/ 22228 w 423407"/>
                <a:gd name="connsiteY378" fmla="*/ 98179 h 161913"/>
                <a:gd name="connsiteX379" fmla="*/ 22718 w 423407"/>
                <a:gd name="connsiteY379" fmla="*/ 96388 h 161913"/>
                <a:gd name="connsiteX380" fmla="*/ 23403 w 423407"/>
                <a:gd name="connsiteY380" fmla="*/ 96048 h 161913"/>
                <a:gd name="connsiteX381" fmla="*/ 24345 w 423407"/>
                <a:gd name="connsiteY381" fmla="*/ 96830 h 161913"/>
                <a:gd name="connsiteX382" fmla="*/ 26368 w 423407"/>
                <a:gd name="connsiteY382" fmla="*/ 97222 h 161913"/>
                <a:gd name="connsiteX383" fmla="*/ 31613 w 423407"/>
                <a:gd name="connsiteY383" fmla="*/ 96122 h 161913"/>
                <a:gd name="connsiteX384" fmla="*/ 32621 w 423407"/>
                <a:gd name="connsiteY384" fmla="*/ 95190 h 161913"/>
                <a:gd name="connsiteX385" fmla="*/ 28778 w 423407"/>
                <a:gd name="connsiteY385" fmla="*/ 95295 h 161913"/>
                <a:gd name="connsiteX386" fmla="*/ 27372 w 423407"/>
                <a:gd name="connsiteY386" fmla="*/ 94423 h 161913"/>
                <a:gd name="connsiteX387" fmla="*/ 25845 w 423407"/>
                <a:gd name="connsiteY387" fmla="*/ 92471 h 161913"/>
                <a:gd name="connsiteX388" fmla="*/ 24906 w 423407"/>
                <a:gd name="connsiteY388" fmla="*/ 90697 h 161913"/>
                <a:gd name="connsiteX389" fmla="*/ 24738 w 423407"/>
                <a:gd name="connsiteY389" fmla="*/ 89826 h 161913"/>
                <a:gd name="connsiteX390" fmla="*/ 24206 w 423407"/>
                <a:gd name="connsiteY390" fmla="*/ 88552 h 161913"/>
                <a:gd name="connsiteX391" fmla="*/ 24792 w 423407"/>
                <a:gd name="connsiteY391" fmla="*/ 87870 h 161913"/>
                <a:gd name="connsiteX392" fmla="*/ 27424 w 423407"/>
                <a:gd name="connsiteY392" fmla="*/ 86846 h 161913"/>
                <a:gd name="connsiteX393" fmla="*/ 29734 w 423407"/>
                <a:gd name="connsiteY393" fmla="*/ 83978 h 161913"/>
                <a:gd name="connsiteX394" fmla="*/ 28771 w 423407"/>
                <a:gd name="connsiteY394" fmla="*/ 83147 h 161913"/>
                <a:gd name="connsiteX395" fmla="*/ 27670 w 423407"/>
                <a:gd name="connsiteY395" fmla="*/ 82754 h 161913"/>
                <a:gd name="connsiteX396" fmla="*/ 26474 w 423407"/>
                <a:gd name="connsiteY396" fmla="*/ 83046 h 161913"/>
                <a:gd name="connsiteX397" fmla="*/ 25340 w 423407"/>
                <a:gd name="connsiteY397" fmla="*/ 82063 h 161913"/>
                <a:gd name="connsiteX398" fmla="*/ 25193 w 423407"/>
                <a:gd name="connsiteY398" fmla="*/ 80695 h 161913"/>
                <a:gd name="connsiteX399" fmla="*/ 26100 w 423407"/>
                <a:gd name="connsiteY399" fmla="*/ 79588 h 161913"/>
                <a:gd name="connsiteX400" fmla="*/ 26195 w 423407"/>
                <a:gd name="connsiteY400" fmla="*/ 78064 h 161913"/>
                <a:gd name="connsiteX401" fmla="*/ 23226 w 423407"/>
                <a:gd name="connsiteY401" fmla="*/ 74309 h 161913"/>
                <a:gd name="connsiteX402" fmla="*/ 22397 w 423407"/>
                <a:gd name="connsiteY402" fmla="*/ 73491 h 161913"/>
                <a:gd name="connsiteX403" fmla="*/ 23036 w 423407"/>
                <a:gd name="connsiteY403" fmla="*/ 72262 h 161913"/>
                <a:gd name="connsiteX404" fmla="*/ 25303 w 423407"/>
                <a:gd name="connsiteY404" fmla="*/ 70203 h 161913"/>
                <a:gd name="connsiteX405" fmla="*/ 27463 w 423407"/>
                <a:gd name="connsiteY405" fmla="*/ 67652 h 161913"/>
                <a:gd name="connsiteX406" fmla="*/ 27203 w 423407"/>
                <a:gd name="connsiteY406" fmla="*/ 66812 h 161913"/>
                <a:gd name="connsiteX407" fmla="*/ 25608 w 423407"/>
                <a:gd name="connsiteY407" fmla="*/ 66469 h 161913"/>
                <a:gd name="connsiteX408" fmla="*/ 18024 w 423407"/>
                <a:gd name="connsiteY408" fmla="*/ 67564 h 161913"/>
                <a:gd name="connsiteX409" fmla="*/ 15076 w 423407"/>
                <a:gd name="connsiteY409" fmla="*/ 68515 h 161913"/>
                <a:gd name="connsiteX410" fmla="*/ 9820 w 423407"/>
                <a:gd name="connsiteY410" fmla="*/ 68948 h 161913"/>
                <a:gd name="connsiteX411" fmla="*/ 9442 w 423407"/>
                <a:gd name="connsiteY411" fmla="*/ 67562 h 161913"/>
                <a:gd name="connsiteX412" fmla="*/ 9561 w 423407"/>
                <a:gd name="connsiteY412" fmla="*/ 66311 h 161913"/>
                <a:gd name="connsiteX413" fmla="*/ 10740 w 423407"/>
                <a:gd name="connsiteY413" fmla="*/ 64032 h 161913"/>
                <a:gd name="connsiteX414" fmla="*/ 10632 w 423407"/>
                <a:gd name="connsiteY414" fmla="*/ 58406 h 161913"/>
                <a:gd name="connsiteX415" fmla="*/ 11330 w 423407"/>
                <a:gd name="connsiteY415" fmla="*/ 55351 h 161913"/>
                <a:gd name="connsiteX416" fmla="*/ 14250 w 423407"/>
                <a:gd name="connsiteY416" fmla="*/ 54441 h 161913"/>
                <a:gd name="connsiteX417" fmla="*/ 17832 w 423407"/>
                <a:gd name="connsiteY417" fmla="*/ 49945 h 161913"/>
                <a:gd name="connsiteX418" fmla="*/ 23640 w 423407"/>
                <a:gd name="connsiteY418" fmla="*/ 44639 h 161913"/>
                <a:gd name="connsiteX419" fmla="*/ 29700 w 423407"/>
                <a:gd name="connsiteY419" fmla="*/ 44741 h 161913"/>
                <a:gd name="connsiteX420" fmla="*/ 32122 w 423407"/>
                <a:gd name="connsiteY420" fmla="*/ 43275 h 161913"/>
                <a:gd name="connsiteX421" fmla="*/ 35725 w 423407"/>
                <a:gd name="connsiteY421" fmla="*/ 43189 h 161913"/>
                <a:gd name="connsiteX422" fmla="*/ 36379 w 423407"/>
                <a:gd name="connsiteY422" fmla="*/ 44255 h 161913"/>
                <a:gd name="connsiteX423" fmla="*/ 36787 w 423407"/>
                <a:gd name="connsiteY423" fmla="*/ 45275 h 161913"/>
                <a:gd name="connsiteX424" fmla="*/ 39948 w 423407"/>
                <a:gd name="connsiteY424" fmla="*/ 46739 h 161913"/>
                <a:gd name="connsiteX425" fmla="*/ 45530 w 423407"/>
                <a:gd name="connsiteY425" fmla="*/ 46507 h 161913"/>
                <a:gd name="connsiteX426" fmla="*/ 46886 w 423407"/>
                <a:gd name="connsiteY426" fmla="*/ 45930 h 161913"/>
                <a:gd name="connsiteX427" fmla="*/ 48195 w 423407"/>
                <a:gd name="connsiteY427" fmla="*/ 45123 h 161913"/>
                <a:gd name="connsiteX428" fmla="*/ 45614 w 423407"/>
                <a:gd name="connsiteY428" fmla="*/ 42512 h 161913"/>
                <a:gd name="connsiteX429" fmla="*/ 46439 w 423407"/>
                <a:gd name="connsiteY429" fmla="*/ 41775 h 161913"/>
                <a:gd name="connsiteX430" fmla="*/ 48778 w 423407"/>
                <a:gd name="connsiteY430" fmla="*/ 41688 h 161913"/>
                <a:gd name="connsiteX431" fmla="*/ 51313 w 423407"/>
                <a:gd name="connsiteY431" fmla="*/ 42303 h 161913"/>
                <a:gd name="connsiteX432" fmla="*/ 51430 w 423407"/>
                <a:gd name="connsiteY432" fmla="*/ 42901 h 161913"/>
                <a:gd name="connsiteX433" fmla="*/ 50756 w 423407"/>
                <a:gd name="connsiteY433" fmla="*/ 43721 h 161913"/>
                <a:gd name="connsiteX434" fmla="*/ 49972 w 423407"/>
                <a:gd name="connsiteY434" fmla="*/ 45157 h 161913"/>
                <a:gd name="connsiteX435" fmla="*/ 50717 w 423407"/>
                <a:gd name="connsiteY435" fmla="*/ 45433 h 161913"/>
                <a:gd name="connsiteX436" fmla="*/ 57936 w 423407"/>
                <a:gd name="connsiteY436" fmla="*/ 44566 h 161913"/>
                <a:gd name="connsiteX437" fmla="*/ 65481 w 423407"/>
                <a:gd name="connsiteY437" fmla="*/ 45261 h 161913"/>
                <a:gd name="connsiteX438" fmla="*/ 67882 w 423407"/>
                <a:gd name="connsiteY438" fmla="*/ 44884 h 161913"/>
                <a:gd name="connsiteX439" fmla="*/ 73814 w 423407"/>
                <a:gd name="connsiteY439" fmla="*/ 44913 h 161913"/>
                <a:gd name="connsiteX440" fmla="*/ 74876 w 423407"/>
                <a:gd name="connsiteY440" fmla="*/ 44012 h 161913"/>
                <a:gd name="connsiteX441" fmla="*/ 73082 w 423407"/>
                <a:gd name="connsiteY441" fmla="*/ 42881 h 161913"/>
                <a:gd name="connsiteX442" fmla="*/ 71326 w 423407"/>
                <a:gd name="connsiteY442" fmla="*/ 42488 h 161913"/>
                <a:gd name="connsiteX443" fmla="*/ 70145 w 423407"/>
                <a:gd name="connsiteY443" fmla="*/ 41936 h 161913"/>
                <a:gd name="connsiteX444" fmla="*/ 68966 w 423407"/>
                <a:gd name="connsiteY444" fmla="*/ 41136 h 161913"/>
                <a:gd name="connsiteX445" fmla="*/ 72728 w 423407"/>
                <a:gd name="connsiteY445" fmla="*/ 38606 h 161913"/>
                <a:gd name="connsiteX446" fmla="*/ 74852 w 423407"/>
                <a:gd name="connsiteY446" fmla="*/ 38119 h 161913"/>
                <a:gd name="connsiteX447" fmla="*/ 84881 w 423407"/>
                <a:gd name="connsiteY447" fmla="*/ 36564 h 161913"/>
                <a:gd name="connsiteX448" fmla="*/ 92339 w 423407"/>
                <a:gd name="connsiteY448" fmla="*/ 35785 h 161913"/>
                <a:gd name="connsiteX449" fmla="*/ 92434 w 423407"/>
                <a:gd name="connsiteY449" fmla="*/ 35207 h 161913"/>
                <a:gd name="connsiteX450" fmla="*/ 91359 w 423407"/>
                <a:gd name="connsiteY450" fmla="*/ 35206 h 161913"/>
                <a:gd name="connsiteX451" fmla="*/ 81721 w 423407"/>
                <a:gd name="connsiteY451" fmla="*/ 33916 h 161913"/>
                <a:gd name="connsiteX452" fmla="*/ 79400 w 423407"/>
                <a:gd name="connsiteY452" fmla="*/ 32917 h 161913"/>
                <a:gd name="connsiteX453" fmla="*/ 76174 w 423407"/>
                <a:gd name="connsiteY453" fmla="*/ 30538 h 161913"/>
                <a:gd name="connsiteX454" fmla="*/ 75474 w 423407"/>
                <a:gd name="connsiteY454" fmla="*/ 29865 h 161913"/>
                <a:gd name="connsiteX455" fmla="*/ 74662 w 423407"/>
                <a:gd name="connsiteY455" fmla="*/ 28704 h 161913"/>
                <a:gd name="connsiteX456" fmla="*/ 75146 w 423407"/>
                <a:gd name="connsiteY456" fmla="*/ 26228 h 161913"/>
                <a:gd name="connsiteX457" fmla="*/ 75742 w 423407"/>
                <a:gd name="connsiteY457" fmla="*/ 24237 h 161913"/>
                <a:gd name="connsiteX458" fmla="*/ 76932 w 423407"/>
                <a:gd name="connsiteY458" fmla="*/ 23083 h 161913"/>
                <a:gd name="connsiteX459" fmla="*/ 80782 w 423407"/>
                <a:gd name="connsiteY459" fmla="*/ 22907 h 161913"/>
                <a:gd name="connsiteX460" fmla="*/ 93985 w 423407"/>
                <a:gd name="connsiteY460" fmla="*/ 24933 h 161913"/>
                <a:gd name="connsiteX461" fmla="*/ 103395 w 423407"/>
                <a:gd name="connsiteY461" fmla="*/ 23719 h 161913"/>
                <a:gd name="connsiteX462" fmla="*/ 113680 w 423407"/>
                <a:gd name="connsiteY462" fmla="*/ 26670 h 161913"/>
                <a:gd name="connsiteX463" fmla="*/ 123516 w 423407"/>
                <a:gd name="connsiteY463" fmla="*/ 26071 h 161913"/>
                <a:gd name="connsiteX464" fmla="*/ 125546 w 423407"/>
                <a:gd name="connsiteY464" fmla="*/ 24746 h 161913"/>
                <a:gd name="connsiteX465" fmla="*/ 128008 w 423407"/>
                <a:gd name="connsiteY465" fmla="*/ 20473 h 161913"/>
                <a:gd name="connsiteX466" fmla="*/ 141904 w 423407"/>
                <a:gd name="connsiteY466" fmla="*/ 13362 h 161913"/>
                <a:gd name="connsiteX467" fmla="*/ 146769 w 423407"/>
                <a:gd name="connsiteY467" fmla="*/ 9647 h 161913"/>
                <a:gd name="connsiteX468" fmla="*/ 151981 w 423407"/>
                <a:gd name="connsiteY468" fmla="*/ 7613 h 161913"/>
                <a:gd name="connsiteX469" fmla="*/ 160925 w 423407"/>
                <a:gd name="connsiteY469" fmla="*/ 5350 h 161913"/>
                <a:gd name="connsiteX470" fmla="*/ 168401 w 423407"/>
                <a:gd name="connsiteY470" fmla="*/ 2356 h 161913"/>
                <a:gd name="connsiteX471" fmla="*/ 170537 w 423407"/>
                <a:gd name="connsiteY471" fmla="*/ 2011 h 161913"/>
                <a:gd name="connsiteX472" fmla="*/ 188484 w 423407"/>
                <a:gd name="connsiteY472" fmla="*/ 3441 h 161913"/>
                <a:gd name="connsiteX473" fmla="*/ 200812 w 423407"/>
                <a:gd name="connsiteY473" fmla="*/ 3623 h 161913"/>
                <a:gd name="connsiteX474" fmla="*/ 34835 w 423407"/>
                <a:gd name="connsiteY474" fmla="*/ 0 h 161913"/>
                <a:gd name="connsiteX475" fmla="*/ 35953 w 423407"/>
                <a:gd name="connsiteY475" fmla="*/ 365 h 161913"/>
                <a:gd name="connsiteX476" fmla="*/ 37456 w 423407"/>
                <a:gd name="connsiteY476" fmla="*/ 1812 h 161913"/>
                <a:gd name="connsiteX477" fmla="*/ 39931 w 423407"/>
                <a:gd name="connsiteY477" fmla="*/ 3887 h 161913"/>
                <a:gd name="connsiteX478" fmla="*/ 41259 w 423407"/>
                <a:gd name="connsiteY478" fmla="*/ 4579 h 161913"/>
                <a:gd name="connsiteX479" fmla="*/ 42254 w 423407"/>
                <a:gd name="connsiteY479" fmla="*/ 4258 h 161913"/>
                <a:gd name="connsiteX480" fmla="*/ 44051 w 423407"/>
                <a:gd name="connsiteY480" fmla="*/ 3504 h 161913"/>
                <a:gd name="connsiteX481" fmla="*/ 45770 w 423407"/>
                <a:gd name="connsiteY481" fmla="*/ 3498 h 161913"/>
                <a:gd name="connsiteX482" fmla="*/ 47158 w 423407"/>
                <a:gd name="connsiteY482" fmla="*/ 3631 h 161913"/>
                <a:gd name="connsiteX483" fmla="*/ 47828 w 423407"/>
                <a:gd name="connsiteY483" fmla="*/ 2974 h 161913"/>
                <a:gd name="connsiteX484" fmla="*/ 48873 w 423407"/>
                <a:gd name="connsiteY484" fmla="*/ 2833 h 161913"/>
                <a:gd name="connsiteX485" fmla="*/ 51864 w 423407"/>
                <a:gd name="connsiteY485" fmla="*/ 3299 h 161913"/>
                <a:gd name="connsiteX486" fmla="*/ 51264 w 423407"/>
                <a:gd name="connsiteY486" fmla="*/ 6327 h 161913"/>
                <a:gd name="connsiteX487" fmla="*/ 52656 w 423407"/>
                <a:gd name="connsiteY487" fmla="*/ 9659 h 161913"/>
                <a:gd name="connsiteX488" fmla="*/ 55919 w 423407"/>
                <a:gd name="connsiteY488" fmla="*/ 14280 h 161913"/>
                <a:gd name="connsiteX489" fmla="*/ 59203 w 423407"/>
                <a:gd name="connsiteY489" fmla="*/ 16609 h 161913"/>
                <a:gd name="connsiteX490" fmla="*/ 72479 w 423407"/>
                <a:gd name="connsiteY490" fmla="*/ 22362 h 161913"/>
                <a:gd name="connsiteX491" fmla="*/ 74922 w 423407"/>
                <a:gd name="connsiteY491" fmla="*/ 22853 h 161913"/>
                <a:gd name="connsiteX492" fmla="*/ 74367 w 423407"/>
                <a:gd name="connsiteY492" fmla="*/ 25206 h 161913"/>
                <a:gd name="connsiteX493" fmla="*/ 73568 w 423407"/>
                <a:gd name="connsiteY493" fmla="*/ 27295 h 161913"/>
                <a:gd name="connsiteX494" fmla="*/ 72689 w 423407"/>
                <a:gd name="connsiteY494" fmla="*/ 28688 h 161913"/>
                <a:gd name="connsiteX495" fmla="*/ 68800 w 423407"/>
                <a:gd name="connsiteY495" fmla="*/ 29583 h 161913"/>
                <a:gd name="connsiteX496" fmla="*/ 58065 w 423407"/>
                <a:gd name="connsiteY496" fmla="*/ 27022 h 161913"/>
                <a:gd name="connsiteX497" fmla="*/ 55351 w 423407"/>
                <a:gd name="connsiteY497" fmla="*/ 26780 h 161913"/>
                <a:gd name="connsiteX498" fmla="*/ 53436 w 423407"/>
                <a:gd name="connsiteY498" fmla="*/ 27290 h 161913"/>
                <a:gd name="connsiteX499" fmla="*/ 49890 w 423407"/>
                <a:gd name="connsiteY499" fmla="*/ 29151 h 161913"/>
                <a:gd name="connsiteX500" fmla="*/ 45958 w 423407"/>
                <a:gd name="connsiteY500" fmla="*/ 28554 h 161913"/>
                <a:gd name="connsiteX501" fmla="*/ 40475 w 423407"/>
                <a:gd name="connsiteY501" fmla="*/ 29610 h 161913"/>
                <a:gd name="connsiteX502" fmla="*/ 38944 w 423407"/>
                <a:gd name="connsiteY502" fmla="*/ 33111 h 161913"/>
                <a:gd name="connsiteX503" fmla="*/ 35137 w 423407"/>
                <a:gd name="connsiteY503" fmla="*/ 37117 h 161913"/>
                <a:gd name="connsiteX504" fmla="*/ 28871 w 423407"/>
                <a:gd name="connsiteY504" fmla="*/ 40350 h 161913"/>
                <a:gd name="connsiteX505" fmla="*/ 24392 w 423407"/>
                <a:gd name="connsiteY505" fmla="*/ 42078 h 161913"/>
                <a:gd name="connsiteX506" fmla="*/ 17668 w 423407"/>
                <a:gd name="connsiteY506" fmla="*/ 48267 h 161913"/>
                <a:gd name="connsiteX507" fmla="*/ 14617 w 423407"/>
                <a:gd name="connsiteY507" fmla="*/ 51874 h 161913"/>
                <a:gd name="connsiteX508" fmla="*/ 13329 w 423407"/>
                <a:gd name="connsiteY508" fmla="*/ 52573 h 161913"/>
                <a:gd name="connsiteX509" fmla="*/ 11803 w 423407"/>
                <a:gd name="connsiteY509" fmla="*/ 53126 h 161913"/>
                <a:gd name="connsiteX510" fmla="*/ 12317 w 423407"/>
                <a:gd name="connsiteY510" fmla="*/ 51396 h 161913"/>
                <a:gd name="connsiteX511" fmla="*/ 13072 w 423407"/>
                <a:gd name="connsiteY511" fmla="*/ 49811 h 161913"/>
                <a:gd name="connsiteX512" fmla="*/ 12900 w 423407"/>
                <a:gd name="connsiteY512" fmla="*/ 48615 h 161913"/>
                <a:gd name="connsiteX513" fmla="*/ 12932 w 423407"/>
                <a:gd name="connsiteY513" fmla="*/ 46876 h 161913"/>
                <a:gd name="connsiteX514" fmla="*/ 15176 w 423407"/>
                <a:gd name="connsiteY514" fmla="*/ 44900 h 161913"/>
                <a:gd name="connsiteX515" fmla="*/ 17214 w 423407"/>
                <a:gd name="connsiteY515" fmla="*/ 43467 h 161913"/>
                <a:gd name="connsiteX516" fmla="*/ 23247 w 423407"/>
                <a:gd name="connsiteY516" fmla="*/ 40868 h 161913"/>
                <a:gd name="connsiteX517" fmla="*/ 24835 w 423407"/>
                <a:gd name="connsiteY517" fmla="*/ 38709 h 161913"/>
                <a:gd name="connsiteX518" fmla="*/ 20103 w 423407"/>
                <a:gd name="connsiteY518" fmla="*/ 38761 h 161913"/>
                <a:gd name="connsiteX519" fmla="*/ 15301 w 423407"/>
                <a:gd name="connsiteY519" fmla="*/ 39241 h 161913"/>
                <a:gd name="connsiteX520" fmla="*/ 12278 w 423407"/>
                <a:gd name="connsiteY520" fmla="*/ 38934 h 161913"/>
                <a:gd name="connsiteX521" fmla="*/ 9652 w 423407"/>
                <a:gd name="connsiteY521" fmla="*/ 39110 h 161913"/>
                <a:gd name="connsiteX522" fmla="*/ 8818 w 423407"/>
                <a:gd name="connsiteY522" fmla="*/ 37220 h 161913"/>
                <a:gd name="connsiteX523" fmla="*/ 8182 w 423407"/>
                <a:gd name="connsiteY523" fmla="*/ 36083 h 161913"/>
                <a:gd name="connsiteX524" fmla="*/ 8862 w 423407"/>
                <a:gd name="connsiteY524" fmla="*/ 35728 h 161913"/>
                <a:gd name="connsiteX525" fmla="*/ 9734 w 423407"/>
                <a:gd name="connsiteY525" fmla="*/ 35482 h 161913"/>
                <a:gd name="connsiteX526" fmla="*/ 11276 w 423407"/>
                <a:gd name="connsiteY526" fmla="*/ 33464 h 161913"/>
                <a:gd name="connsiteX527" fmla="*/ 12653 w 423407"/>
                <a:gd name="connsiteY527" fmla="*/ 31974 h 161913"/>
                <a:gd name="connsiteX528" fmla="*/ 14640 w 423407"/>
                <a:gd name="connsiteY528" fmla="*/ 30100 h 161913"/>
                <a:gd name="connsiteX529" fmla="*/ 15150 w 423407"/>
                <a:gd name="connsiteY529" fmla="*/ 28981 h 161913"/>
                <a:gd name="connsiteX530" fmla="*/ 15150 w 423407"/>
                <a:gd name="connsiteY530" fmla="*/ 27936 h 161913"/>
                <a:gd name="connsiteX531" fmla="*/ 14675 w 423407"/>
                <a:gd name="connsiteY531" fmla="*/ 27211 h 161913"/>
                <a:gd name="connsiteX532" fmla="*/ 14582 w 423407"/>
                <a:gd name="connsiteY532" fmla="*/ 26350 h 161913"/>
                <a:gd name="connsiteX533" fmla="*/ 14522 w 423407"/>
                <a:gd name="connsiteY533" fmla="*/ 25132 h 161913"/>
                <a:gd name="connsiteX534" fmla="*/ 14632 w 423407"/>
                <a:gd name="connsiteY534" fmla="*/ 22616 h 161913"/>
                <a:gd name="connsiteX535" fmla="*/ 19181 w 423407"/>
                <a:gd name="connsiteY535" fmla="*/ 19863 h 161913"/>
                <a:gd name="connsiteX536" fmla="*/ 20639 w 423407"/>
                <a:gd name="connsiteY536" fmla="*/ 19572 h 161913"/>
                <a:gd name="connsiteX537" fmla="*/ 21138 w 423407"/>
                <a:gd name="connsiteY537" fmla="*/ 18316 h 161913"/>
                <a:gd name="connsiteX538" fmla="*/ 20803 w 423407"/>
                <a:gd name="connsiteY538" fmla="*/ 15399 h 161913"/>
                <a:gd name="connsiteX539" fmla="*/ 20175 w 423407"/>
                <a:gd name="connsiteY539" fmla="*/ 13043 h 161913"/>
                <a:gd name="connsiteX540" fmla="*/ 19360 w 423407"/>
                <a:gd name="connsiteY540" fmla="*/ 12885 h 161913"/>
                <a:gd name="connsiteX541" fmla="*/ 18266 w 423407"/>
                <a:gd name="connsiteY541" fmla="*/ 12197 h 161913"/>
                <a:gd name="connsiteX542" fmla="*/ 17547 w 423407"/>
                <a:gd name="connsiteY542" fmla="*/ 11400 h 161913"/>
                <a:gd name="connsiteX543" fmla="*/ 16398 w 423407"/>
                <a:gd name="connsiteY543" fmla="*/ 10527 h 161913"/>
                <a:gd name="connsiteX544" fmla="*/ 14415 w 423407"/>
                <a:gd name="connsiteY544" fmla="*/ 9992 h 161913"/>
                <a:gd name="connsiteX545" fmla="*/ 14351 w 423407"/>
                <a:gd name="connsiteY545" fmla="*/ 9247 h 161913"/>
                <a:gd name="connsiteX546" fmla="*/ 14556 w 423407"/>
                <a:gd name="connsiteY546" fmla="*/ 8502 h 161913"/>
                <a:gd name="connsiteX547" fmla="*/ 15288 w 423407"/>
                <a:gd name="connsiteY547" fmla="*/ 7740 h 161913"/>
                <a:gd name="connsiteX548" fmla="*/ 18629 w 423407"/>
                <a:gd name="connsiteY548" fmla="*/ 7083 h 161913"/>
                <a:gd name="connsiteX549" fmla="*/ 19024 w 423407"/>
                <a:gd name="connsiteY549" fmla="*/ 6545 h 161913"/>
                <a:gd name="connsiteX550" fmla="*/ 19475 w 423407"/>
                <a:gd name="connsiteY550" fmla="*/ 5218 h 161913"/>
                <a:gd name="connsiteX551" fmla="*/ 20138 w 423407"/>
                <a:gd name="connsiteY551" fmla="*/ 3859 h 161913"/>
                <a:gd name="connsiteX552" fmla="*/ 20926 w 423407"/>
                <a:gd name="connsiteY552" fmla="*/ 3409 h 161913"/>
                <a:gd name="connsiteX553" fmla="*/ 22339 w 423407"/>
                <a:gd name="connsiteY553" fmla="*/ 3451 h 161913"/>
                <a:gd name="connsiteX554" fmla="*/ 25018 w 423407"/>
                <a:gd name="connsiteY554" fmla="*/ 3137 h 161913"/>
                <a:gd name="connsiteX555" fmla="*/ 26886 w 423407"/>
                <a:gd name="connsiteY555" fmla="*/ 2694 h 161913"/>
                <a:gd name="connsiteX556" fmla="*/ 28741 w 423407"/>
                <a:gd name="connsiteY556" fmla="*/ 1764 h 161913"/>
                <a:gd name="connsiteX557" fmla="*/ 29691 w 423407"/>
                <a:gd name="connsiteY557" fmla="*/ 920 h 161913"/>
                <a:gd name="connsiteX558" fmla="*/ 33708 w 423407"/>
                <a:gd name="connsiteY558" fmla="*/ 430 h 161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</a:cxnLst>
              <a:rect l="l" t="t" r="r" b="b"/>
              <a:pathLst>
                <a:path w="423407" h="161913">
                  <a:moveTo>
                    <a:pt x="5515" y="48881"/>
                  </a:moveTo>
                  <a:lnTo>
                    <a:pt x="6812" y="50453"/>
                  </a:lnTo>
                  <a:lnTo>
                    <a:pt x="6657" y="51536"/>
                  </a:lnTo>
                  <a:lnTo>
                    <a:pt x="1576" y="52342"/>
                  </a:lnTo>
                  <a:lnTo>
                    <a:pt x="0" y="51547"/>
                  </a:lnTo>
                  <a:lnTo>
                    <a:pt x="1591" y="49970"/>
                  </a:lnTo>
                  <a:lnTo>
                    <a:pt x="4552" y="48993"/>
                  </a:lnTo>
                  <a:close/>
                  <a:moveTo>
                    <a:pt x="206472" y="797"/>
                  </a:moveTo>
                  <a:lnTo>
                    <a:pt x="209754" y="1746"/>
                  </a:lnTo>
                  <a:lnTo>
                    <a:pt x="209447" y="2756"/>
                  </a:lnTo>
                  <a:lnTo>
                    <a:pt x="208851" y="3619"/>
                  </a:lnTo>
                  <a:lnTo>
                    <a:pt x="209028" y="5367"/>
                  </a:lnTo>
                  <a:lnTo>
                    <a:pt x="210954" y="7931"/>
                  </a:lnTo>
                  <a:lnTo>
                    <a:pt x="212913" y="9676"/>
                  </a:lnTo>
                  <a:lnTo>
                    <a:pt x="218668" y="12177"/>
                  </a:lnTo>
                  <a:lnTo>
                    <a:pt x="226668" y="10067"/>
                  </a:lnTo>
                  <a:lnTo>
                    <a:pt x="227957" y="10303"/>
                  </a:lnTo>
                  <a:lnTo>
                    <a:pt x="229586" y="10892"/>
                  </a:lnTo>
                  <a:lnTo>
                    <a:pt x="232403" y="17660"/>
                  </a:lnTo>
                  <a:lnTo>
                    <a:pt x="234597" y="20048"/>
                  </a:lnTo>
                  <a:lnTo>
                    <a:pt x="237404" y="21671"/>
                  </a:lnTo>
                  <a:lnTo>
                    <a:pt x="239711" y="21990"/>
                  </a:lnTo>
                  <a:lnTo>
                    <a:pt x="241423" y="20297"/>
                  </a:lnTo>
                  <a:lnTo>
                    <a:pt x="242749" y="19615"/>
                  </a:lnTo>
                  <a:lnTo>
                    <a:pt x="245638" y="19326"/>
                  </a:lnTo>
                  <a:lnTo>
                    <a:pt x="250376" y="21650"/>
                  </a:lnTo>
                  <a:lnTo>
                    <a:pt x="252017" y="24048"/>
                  </a:lnTo>
                  <a:lnTo>
                    <a:pt x="260083" y="25900"/>
                  </a:lnTo>
                  <a:lnTo>
                    <a:pt x="267483" y="26827"/>
                  </a:lnTo>
                  <a:lnTo>
                    <a:pt x="270676" y="28854"/>
                  </a:lnTo>
                  <a:lnTo>
                    <a:pt x="281091" y="30889"/>
                  </a:lnTo>
                  <a:lnTo>
                    <a:pt x="284980" y="30573"/>
                  </a:lnTo>
                  <a:lnTo>
                    <a:pt x="291508" y="28438"/>
                  </a:lnTo>
                  <a:lnTo>
                    <a:pt x="304205" y="26102"/>
                  </a:lnTo>
                  <a:lnTo>
                    <a:pt x="312642" y="29363"/>
                  </a:lnTo>
                  <a:lnTo>
                    <a:pt x="314924" y="29786"/>
                  </a:lnTo>
                  <a:lnTo>
                    <a:pt x="316894" y="29505"/>
                  </a:lnTo>
                  <a:lnTo>
                    <a:pt x="319729" y="30402"/>
                  </a:lnTo>
                  <a:lnTo>
                    <a:pt x="322754" y="29920"/>
                  </a:lnTo>
                  <a:lnTo>
                    <a:pt x="332091" y="26076"/>
                  </a:lnTo>
                  <a:lnTo>
                    <a:pt x="335011" y="23895"/>
                  </a:lnTo>
                  <a:lnTo>
                    <a:pt x="338105" y="23331"/>
                  </a:lnTo>
                  <a:lnTo>
                    <a:pt x="340850" y="22024"/>
                  </a:lnTo>
                  <a:lnTo>
                    <a:pt x="348164" y="17738"/>
                  </a:lnTo>
                  <a:lnTo>
                    <a:pt x="350280" y="15259"/>
                  </a:lnTo>
                  <a:lnTo>
                    <a:pt x="351751" y="15792"/>
                  </a:lnTo>
                  <a:lnTo>
                    <a:pt x="354519" y="16471"/>
                  </a:lnTo>
                  <a:lnTo>
                    <a:pt x="356236" y="17292"/>
                  </a:lnTo>
                  <a:lnTo>
                    <a:pt x="357212" y="17507"/>
                  </a:lnTo>
                  <a:lnTo>
                    <a:pt x="359473" y="15835"/>
                  </a:lnTo>
                  <a:lnTo>
                    <a:pt x="362833" y="15877"/>
                  </a:lnTo>
                  <a:lnTo>
                    <a:pt x="365782" y="16071"/>
                  </a:lnTo>
                  <a:lnTo>
                    <a:pt x="367305" y="16381"/>
                  </a:lnTo>
                  <a:lnTo>
                    <a:pt x="369170" y="16936"/>
                  </a:lnTo>
                  <a:lnTo>
                    <a:pt x="371427" y="17310"/>
                  </a:lnTo>
                  <a:lnTo>
                    <a:pt x="372345" y="16511"/>
                  </a:lnTo>
                  <a:lnTo>
                    <a:pt x="373660" y="14154"/>
                  </a:lnTo>
                  <a:lnTo>
                    <a:pt x="374169" y="13852"/>
                  </a:lnTo>
                  <a:lnTo>
                    <a:pt x="374532" y="13637"/>
                  </a:lnTo>
                  <a:lnTo>
                    <a:pt x="376203" y="13454"/>
                  </a:lnTo>
                  <a:lnTo>
                    <a:pt x="377789" y="13635"/>
                  </a:lnTo>
                  <a:lnTo>
                    <a:pt x="378535" y="14036"/>
                  </a:lnTo>
                  <a:lnTo>
                    <a:pt x="379283" y="15922"/>
                  </a:lnTo>
                  <a:lnTo>
                    <a:pt x="381164" y="16597"/>
                  </a:lnTo>
                  <a:lnTo>
                    <a:pt x="384489" y="19607"/>
                  </a:lnTo>
                  <a:lnTo>
                    <a:pt x="386521" y="20813"/>
                  </a:lnTo>
                  <a:lnTo>
                    <a:pt x="387013" y="21319"/>
                  </a:lnTo>
                  <a:lnTo>
                    <a:pt x="386344" y="21928"/>
                  </a:lnTo>
                  <a:lnTo>
                    <a:pt x="386605" y="22678"/>
                  </a:lnTo>
                  <a:lnTo>
                    <a:pt x="387769" y="23659"/>
                  </a:lnTo>
                  <a:lnTo>
                    <a:pt x="389401" y="24027"/>
                  </a:lnTo>
                  <a:lnTo>
                    <a:pt x="391164" y="23898"/>
                  </a:lnTo>
                  <a:lnTo>
                    <a:pt x="392123" y="24255"/>
                  </a:lnTo>
                  <a:lnTo>
                    <a:pt x="392809" y="24810"/>
                  </a:lnTo>
                  <a:lnTo>
                    <a:pt x="392990" y="25587"/>
                  </a:lnTo>
                  <a:lnTo>
                    <a:pt x="392943" y="26084"/>
                  </a:lnTo>
                  <a:lnTo>
                    <a:pt x="393293" y="27201"/>
                  </a:lnTo>
                  <a:lnTo>
                    <a:pt x="394668" y="28776"/>
                  </a:lnTo>
                  <a:lnTo>
                    <a:pt x="396310" y="29740"/>
                  </a:lnTo>
                  <a:lnTo>
                    <a:pt x="397193" y="30770"/>
                  </a:lnTo>
                  <a:lnTo>
                    <a:pt x="398626" y="34314"/>
                  </a:lnTo>
                  <a:lnTo>
                    <a:pt x="399205" y="36272"/>
                  </a:lnTo>
                  <a:lnTo>
                    <a:pt x="398989" y="38155"/>
                  </a:lnTo>
                  <a:lnTo>
                    <a:pt x="397994" y="40087"/>
                  </a:lnTo>
                  <a:lnTo>
                    <a:pt x="395815" y="42489"/>
                  </a:lnTo>
                  <a:lnTo>
                    <a:pt x="396355" y="43492"/>
                  </a:lnTo>
                  <a:lnTo>
                    <a:pt x="396843" y="44820"/>
                  </a:lnTo>
                  <a:lnTo>
                    <a:pt x="396679" y="45780"/>
                  </a:lnTo>
                  <a:lnTo>
                    <a:pt x="398221" y="48846"/>
                  </a:lnTo>
                  <a:lnTo>
                    <a:pt x="398922" y="50748"/>
                  </a:lnTo>
                  <a:lnTo>
                    <a:pt x="398335" y="51188"/>
                  </a:lnTo>
                  <a:lnTo>
                    <a:pt x="397957" y="51796"/>
                  </a:lnTo>
                  <a:lnTo>
                    <a:pt x="400732" y="53260"/>
                  </a:lnTo>
                  <a:lnTo>
                    <a:pt x="404055" y="54489"/>
                  </a:lnTo>
                  <a:lnTo>
                    <a:pt x="405457" y="54725"/>
                  </a:lnTo>
                  <a:lnTo>
                    <a:pt x="409275" y="54161"/>
                  </a:lnTo>
                  <a:lnTo>
                    <a:pt x="411734" y="54040"/>
                  </a:lnTo>
                  <a:lnTo>
                    <a:pt x="414174" y="55204"/>
                  </a:lnTo>
                  <a:lnTo>
                    <a:pt x="417731" y="58022"/>
                  </a:lnTo>
                  <a:lnTo>
                    <a:pt x="421563" y="61696"/>
                  </a:lnTo>
                  <a:lnTo>
                    <a:pt x="422326" y="62813"/>
                  </a:lnTo>
                  <a:lnTo>
                    <a:pt x="422661" y="63304"/>
                  </a:lnTo>
                  <a:lnTo>
                    <a:pt x="423407" y="64194"/>
                  </a:lnTo>
                  <a:lnTo>
                    <a:pt x="422632" y="64177"/>
                  </a:lnTo>
                  <a:lnTo>
                    <a:pt x="421369" y="63380"/>
                  </a:lnTo>
                  <a:lnTo>
                    <a:pt x="418320" y="61121"/>
                  </a:lnTo>
                  <a:lnTo>
                    <a:pt x="416763" y="62092"/>
                  </a:lnTo>
                  <a:lnTo>
                    <a:pt x="415420" y="63770"/>
                  </a:lnTo>
                  <a:lnTo>
                    <a:pt x="413947" y="70123"/>
                  </a:lnTo>
                  <a:lnTo>
                    <a:pt x="412755" y="70799"/>
                  </a:lnTo>
                  <a:lnTo>
                    <a:pt x="410654" y="70780"/>
                  </a:lnTo>
                  <a:lnTo>
                    <a:pt x="408080" y="70561"/>
                  </a:lnTo>
                  <a:lnTo>
                    <a:pt x="406310" y="70879"/>
                  </a:lnTo>
                  <a:lnTo>
                    <a:pt x="405852" y="71282"/>
                  </a:lnTo>
                  <a:lnTo>
                    <a:pt x="406085" y="71967"/>
                  </a:lnTo>
                  <a:lnTo>
                    <a:pt x="406610" y="73009"/>
                  </a:lnTo>
                  <a:lnTo>
                    <a:pt x="406981" y="74327"/>
                  </a:lnTo>
                  <a:lnTo>
                    <a:pt x="407087" y="75406"/>
                  </a:lnTo>
                  <a:lnTo>
                    <a:pt x="408020" y="76382"/>
                  </a:lnTo>
                  <a:lnTo>
                    <a:pt x="409275" y="77309"/>
                  </a:lnTo>
                  <a:lnTo>
                    <a:pt x="409330" y="78260"/>
                  </a:lnTo>
                  <a:lnTo>
                    <a:pt x="409138" y="79600"/>
                  </a:lnTo>
                  <a:lnTo>
                    <a:pt x="408849" y="80622"/>
                  </a:lnTo>
                  <a:lnTo>
                    <a:pt x="408534" y="81200"/>
                  </a:lnTo>
                  <a:lnTo>
                    <a:pt x="409115" y="82751"/>
                  </a:lnTo>
                  <a:lnTo>
                    <a:pt x="410477" y="84588"/>
                  </a:lnTo>
                  <a:lnTo>
                    <a:pt x="411345" y="85290"/>
                  </a:lnTo>
                  <a:lnTo>
                    <a:pt x="411021" y="88784"/>
                  </a:lnTo>
                  <a:lnTo>
                    <a:pt x="411533" y="90330"/>
                  </a:lnTo>
                  <a:lnTo>
                    <a:pt x="411924" y="92465"/>
                  </a:lnTo>
                  <a:lnTo>
                    <a:pt x="411769" y="96009"/>
                  </a:lnTo>
                  <a:lnTo>
                    <a:pt x="411939" y="96879"/>
                  </a:lnTo>
                  <a:lnTo>
                    <a:pt x="412405" y="97177"/>
                  </a:lnTo>
                  <a:lnTo>
                    <a:pt x="413647" y="97309"/>
                  </a:lnTo>
                  <a:lnTo>
                    <a:pt x="414865" y="97638"/>
                  </a:lnTo>
                  <a:lnTo>
                    <a:pt x="415286" y="98217"/>
                  </a:lnTo>
                  <a:lnTo>
                    <a:pt x="415280" y="98641"/>
                  </a:lnTo>
                  <a:lnTo>
                    <a:pt x="413760" y="100264"/>
                  </a:lnTo>
                  <a:lnTo>
                    <a:pt x="413580" y="101417"/>
                  </a:lnTo>
                  <a:lnTo>
                    <a:pt x="413053" y="103040"/>
                  </a:lnTo>
                  <a:lnTo>
                    <a:pt x="412621" y="103995"/>
                  </a:lnTo>
                  <a:lnTo>
                    <a:pt x="411263" y="105803"/>
                  </a:lnTo>
                  <a:lnTo>
                    <a:pt x="410399" y="107639"/>
                  </a:lnTo>
                  <a:lnTo>
                    <a:pt x="410011" y="109154"/>
                  </a:lnTo>
                  <a:lnTo>
                    <a:pt x="410268" y="109868"/>
                  </a:lnTo>
                  <a:lnTo>
                    <a:pt x="412772" y="110083"/>
                  </a:lnTo>
                  <a:lnTo>
                    <a:pt x="414133" y="111173"/>
                  </a:lnTo>
                  <a:lnTo>
                    <a:pt x="417748" y="113338"/>
                  </a:lnTo>
                  <a:lnTo>
                    <a:pt x="418383" y="114215"/>
                  </a:lnTo>
                  <a:lnTo>
                    <a:pt x="417396" y="115550"/>
                  </a:lnTo>
                  <a:lnTo>
                    <a:pt x="417413" y="116107"/>
                  </a:lnTo>
                  <a:lnTo>
                    <a:pt x="417880" y="116815"/>
                  </a:lnTo>
                  <a:lnTo>
                    <a:pt x="418100" y="118053"/>
                  </a:lnTo>
                  <a:lnTo>
                    <a:pt x="418011" y="119427"/>
                  </a:lnTo>
                  <a:lnTo>
                    <a:pt x="418031" y="121239"/>
                  </a:lnTo>
                  <a:lnTo>
                    <a:pt x="418696" y="121537"/>
                  </a:lnTo>
                  <a:lnTo>
                    <a:pt x="421151" y="123236"/>
                  </a:lnTo>
                  <a:lnTo>
                    <a:pt x="422898" y="124938"/>
                  </a:lnTo>
                  <a:lnTo>
                    <a:pt x="422956" y="125463"/>
                  </a:lnTo>
                  <a:lnTo>
                    <a:pt x="422106" y="126806"/>
                  </a:lnTo>
                  <a:lnTo>
                    <a:pt x="422291" y="128352"/>
                  </a:lnTo>
                  <a:lnTo>
                    <a:pt x="422257" y="128707"/>
                  </a:lnTo>
                  <a:lnTo>
                    <a:pt x="421501" y="128125"/>
                  </a:lnTo>
                  <a:lnTo>
                    <a:pt x="420138" y="127914"/>
                  </a:lnTo>
                  <a:lnTo>
                    <a:pt x="418737" y="127852"/>
                  </a:lnTo>
                  <a:lnTo>
                    <a:pt x="417854" y="128304"/>
                  </a:lnTo>
                  <a:lnTo>
                    <a:pt x="416305" y="129519"/>
                  </a:lnTo>
                  <a:lnTo>
                    <a:pt x="414226" y="130843"/>
                  </a:lnTo>
                  <a:lnTo>
                    <a:pt x="412537" y="132058"/>
                  </a:lnTo>
                  <a:lnTo>
                    <a:pt x="411570" y="132890"/>
                  </a:lnTo>
                  <a:lnTo>
                    <a:pt x="410771" y="132756"/>
                  </a:lnTo>
                  <a:lnTo>
                    <a:pt x="410147" y="132029"/>
                  </a:lnTo>
                  <a:lnTo>
                    <a:pt x="409797" y="131013"/>
                  </a:lnTo>
                  <a:lnTo>
                    <a:pt x="409946" y="127174"/>
                  </a:lnTo>
                  <a:lnTo>
                    <a:pt x="409579" y="125971"/>
                  </a:lnTo>
                  <a:lnTo>
                    <a:pt x="408793" y="125127"/>
                  </a:lnTo>
                  <a:lnTo>
                    <a:pt x="407869" y="124645"/>
                  </a:lnTo>
                  <a:lnTo>
                    <a:pt x="406767" y="124375"/>
                  </a:lnTo>
                  <a:lnTo>
                    <a:pt x="405630" y="124348"/>
                  </a:lnTo>
                  <a:lnTo>
                    <a:pt x="404012" y="125476"/>
                  </a:lnTo>
                  <a:lnTo>
                    <a:pt x="401721" y="126641"/>
                  </a:lnTo>
                  <a:lnTo>
                    <a:pt x="398169" y="126547"/>
                  </a:lnTo>
                  <a:lnTo>
                    <a:pt x="395785" y="126328"/>
                  </a:lnTo>
                  <a:lnTo>
                    <a:pt x="394632" y="126106"/>
                  </a:lnTo>
                  <a:lnTo>
                    <a:pt x="390008" y="124319"/>
                  </a:lnTo>
                  <a:lnTo>
                    <a:pt x="389043" y="124272"/>
                  </a:lnTo>
                  <a:lnTo>
                    <a:pt x="387320" y="123549"/>
                  </a:lnTo>
                  <a:lnTo>
                    <a:pt x="385271" y="122975"/>
                  </a:lnTo>
                  <a:lnTo>
                    <a:pt x="381824" y="124062"/>
                  </a:lnTo>
                  <a:lnTo>
                    <a:pt x="380332" y="123803"/>
                  </a:lnTo>
                  <a:lnTo>
                    <a:pt x="378242" y="122860"/>
                  </a:lnTo>
                  <a:lnTo>
                    <a:pt x="377501" y="123114"/>
                  </a:lnTo>
                  <a:lnTo>
                    <a:pt x="375165" y="125986"/>
                  </a:lnTo>
                  <a:lnTo>
                    <a:pt x="371194" y="129056"/>
                  </a:lnTo>
                  <a:lnTo>
                    <a:pt x="369052" y="129568"/>
                  </a:lnTo>
                  <a:lnTo>
                    <a:pt x="368032" y="126487"/>
                  </a:lnTo>
                  <a:lnTo>
                    <a:pt x="367052" y="125290"/>
                  </a:lnTo>
                  <a:lnTo>
                    <a:pt x="366588" y="125146"/>
                  </a:lnTo>
                  <a:lnTo>
                    <a:pt x="365597" y="124762"/>
                  </a:lnTo>
                  <a:lnTo>
                    <a:pt x="364826" y="124983"/>
                  </a:lnTo>
                  <a:lnTo>
                    <a:pt x="362437" y="127087"/>
                  </a:lnTo>
                  <a:lnTo>
                    <a:pt x="358611" y="128351"/>
                  </a:lnTo>
                  <a:lnTo>
                    <a:pt x="355443" y="129122"/>
                  </a:lnTo>
                  <a:lnTo>
                    <a:pt x="350401" y="130063"/>
                  </a:lnTo>
                  <a:lnTo>
                    <a:pt x="346510" y="130530"/>
                  </a:lnTo>
                  <a:lnTo>
                    <a:pt x="344853" y="130567"/>
                  </a:lnTo>
                  <a:lnTo>
                    <a:pt x="341260" y="130146"/>
                  </a:lnTo>
                  <a:lnTo>
                    <a:pt x="338093" y="129554"/>
                  </a:lnTo>
                  <a:lnTo>
                    <a:pt x="334925" y="129580"/>
                  </a:lnTo>
                  <a:lnTo>
                    <a:pt x="332493" y="129845"/>
                  </a:lnTo>
                  <a:lnTo>
                    <a:pt x="326848" y="132105"/>
                  </a:lnTo>
                  <a:lnTo>
                    <a:pt x="317252" y="136751"/>
                  </a:lnTo>
                  <a:lnTo>
                    <a:pt x="309958" y="138971"/>
                  </a:lnTo>
                  <a:lnTo>
                    <a:pt x="305866" y="139894"/>
                  </a:lnTo>
                  <a:lnTo>
                    <a:pt x="302663" y="140418"/>
                  </a:lnTo>
                  <a:lnTo>
                    <a:pt x="297174" y="140444"/>
                  </a:lnTo>
                  <a:lnTo>
                    <a:pt x="292708" y="140086"/>
                  </a:lnTo>
                  <a:lnTo>
                    <a:pt x="289616" y="140126"/>
                  </a:lnTo>
                  <a:lnTo>
                    <a:pt x="287898" y="139568"/>
                  </a:lnTo>
                  <a:lnTo>
                    <a:pt x="285447" y="137690"/>
                  </a:lnTo>
                  <a:lnTo>
                    <a:pt x="282477" y="135832"/>
                  </a:lnTo>
                  <a:lnTo>
                    <a:pt x="281156" y="135400"/>
                  </a:lnTo>
                  <a:lnTo>
                    <a:pt x="279428" y="135042"/>
                  </a:lnTo>
                  <a:lnTo>
                    <a:pt x="276904" y="134833"/>
                  </a:lnTo>
                  <a:lnTo>
                    <a:pt x="270601" y="137550"/>
                  </a:lnTo>
                  <a:lnTo>
                    <a:pt x="268640" y="138287"/>
                  </a:lnTo>
                  <a:lnTo>
                    <a:pt x="266481" y="138843"/>
                  </a:lnTo>
                  <a:lnTo>
                    <a:pt x="262130" y="140501"/>
                  </a:lnTo>
                  <a:lnTo>
                    <a:pt x="260201" y="141389"/>
                  </a:lnTo>
                  <a:lnTo>
                    <a:pt x="257785" y="141306"/>
                  </a:lnTo>
                  <a:lnTo>
                    <a:pt x="254697" y="141070"/>
                  </a:lnTo>
                  <a:lnTo>
                    <a:pt x="252017" y="141153"/>
                  </a:lnTo>
                  <a:lnTo>
                    <a:pt x="250229" y="139891"/>
                  </a:lnTo>
                  <a:lnTo>
                    <a:pt x="249266" y="138469"/>
                  </a:lnTo>
                  <a:lnTo>
                    <a:pt x="245613" y="137599"/>
                  </a:lnTo>
                  <a:lnTo>
                    <a:pt x="243004" y="137349"/>
                  </a:lnTo>
                  <a:lnTo>
                    <a:pt x="242337" y="137980"/>
                  </a:lnTo>
                  <a:lnTo>
                    <a:pt x="241639" y="139917"/>
                  </a:lnTo>
                  <a:lnTo>
                    <a:pt x="240529" y="144861"/>
                  </a:lnTo>
                  <a:lnTo>
                    <a:pt x="240326" y="146100"/>
                  </a:lnTo>
                  <a:lnTo>
                    <a:pt x="242624" y="151006"/>
                  </a:lnTo>
                  <a:lnTo>
                    <a:pt x="242520" y="151753"/>
                  </a:lnTo>
                  <a:lnTo>
                    <a:pt x="240877" y="152007"/>
                  </a:lnTo>
                  <a:lnTo>
                    <a:pt x="238990" y="152089"/>
                  </a:lnTo>
                  <a:lnTo>
                    <a:pt x="237761" y="152525"/>
                  </a:lnTo>
                  <a:lnTo>
                    <a:pt x="236742" y="153339"/>
                  </a:lnTo>
                  <a:lnTo>
                    <a:pt x="236126" y="157574"/>
                  </a:lnTo>
                  <a:lnTo>
                    <a:pt x="233943" y="158351"/>
                  </a:lnTo>
                  <a:lnTo>
                    <a:pt x="232907" y="159238"/>
                  </a:lnTo>
                  <a:lnTo>
                    <a:pt x="231838" y="161852"/>
                  </a:lnTo>
                  <a:lnTo>
                    <a:pt x="231257" y="161913"/>
                  </a:lnTo>
                  <a:lnTo>
                    <a:pt x="227724" y="159932"/>
                  </a:lnTo>
                  <a:lnTo>
                    <a:pt x="226068" y="159768"/>
                  </a:lnTo>
                  <a:lnTo>
                    <a:pt x="227489" y="157709"/>
                  </a:lnTo>
                  <a:lnTo>
                    <a:pt x="225945" y="153646"/>
                  </a:lnTo>
                  <a:lnTo>
                    <a:pt x="224260" y="149834"/>
                  </a:lnTo>
                  <a:lnTo>
                    <a:pt x="225850" y="147393"/>
                  </a:lnTo>
                  <a:lnTo>
                    <a:pt x="229143" y="144446"/>
                  </a:lnTo>
                  <a:lnTo>
                    <a:pt x="232609" y="140992"/>
                  </a:lnTo>
                  <a:lnTo>
                    <a:pt x="232602" y="138859"/>
                  </a:lnTo>
                  <a:lnTo>
                    <a:pt x="232423" y="137230"/>
                  </a:lnTo>
                  <a:lnTo>
                    <a:pt x="231430" y="136103"/>
                  </a:lnTo>
                  <a:lnTo>
                    <a:pt x="229523" y="134604"/>
                  </a:lnTo>
                  <a:lnTo>
                    <a:pt x="226331" y="136204"/>
                  </a:lnTo>
                  <a:lnTo>
                    <a:pt x="224053" y="137970"/>
                  </a:lnTo>
                  <a:lnTo>
                    <a:pt x="222565" y="138328"/>
                  </a:lnTo>
                  <a:lnTo>
                    <a:pt x="220948" y="139334"/>
                  </a:lnTo>
                  <a:lnTo>
                    <a:pt x="220162" y="141149"/>
                  </a:lnTo>
                  <a:lnTo>
                    <a:pt x="218212" y="142563"/>
                  </a:lnTo>
                  <a:lnTo>
                    <a:pt x="215023" y="143116"/>
                  </a:lnTo>
                  <a:lnTo>
                    <a:pt x="210224" y="141604"/>
                  </a:lnTo>
                  <a:lnTo>
                    <a:pt x="205072" y="139300"/>
                  </a:lnTo>
                  <a:lnTo>
                    <a:pt x="202155" y="137432"/>
                  </a:lnTo>
                  <a:lnTo>
                    <a:pt x="199775" y="136987"/>
                  </a:lnTo>
                  <a:lnTo>
                    <a:pt x="197514" y="137808"/>
                  </a:lnTo>
                  <a:lnTo>
                    <a:pt x="190842" y="142381"/>
                  </a:lnTo>
                  <a:lnTo>
                    <a:pt x="184735" y="149053"/>
                  </a:lnTo>
                  <a:lnTo>
                    <a:pt x="183219" y="150205"/>
                  </a:lnTo>
                  <a:lnTo>
                    <a:pt x="177466" y="153067"/>
                  </a:lnTo>
                  <a:lnTo>
                    <a:pt x="173664" y="154027"/>
                  </a:lnTo>
                  <a:lnTo>
                    <a:pt x="171874" y="153804"/>
                  </a:lnTo>
                  <a:lnTo>
                    <a:pt x="164305" y="155063"/>
                  </a:lnTo>
                  <a:lnTo>
                    <a:pt x="160546" y="155247"/>
                  </a:lnTo>
                  <a:lnTo>
                    <a:pt x="157568" y="156757"/>
                  </a:lnTo>
                  <a:lnTo>
                    <a:pt x="151796" y="155120"/>
                  </a:lnTo>
                  <a:lnTo>
                    <a:pt x="148345" y="153025"/>
                  </a:lnTo>
                  <a:lnTo>
                    <a:pt x="146268" y="150896"/>
                  </a:lnTo>
                  <a:lnTo>
                    <a:pt x="142880" y="146310"/>
                  </a:lnTo>
                  <a:lnTo>
                    <a:pt x="140478" y="144127"/>
                  </a:lnTo>
                  <a:lnTo>
                    <a:pt x="135082" y="142163"/>
                  </a:lnTo>
                  <a:lnTo>
                    <a:pt x="125676" y="137386"/>
                  </a:lnTo>
                  <a:lnTo>
                    <a:pt x="123201" y="136862"/>
                  </a:lnTo>
                  <a:lnTo>
                    <a:pt x="116781" y="136177"/>
                  </a:lnTo>
                  <a:lnTo>
                    <a:pt x="110010" y="135745"/>
                  </a:lnTo>
                  <a:lnTo>
                    <a:pt x="108638" y="137485"/>
                  </a:lnTo>
                  <a:lnTo>
                    <a:pt x="108118" y="144367"/>
                  </a:lnTo>
                  <a:lnTo>
                    <a:pt x="106958" y="146260"/>
                  </a:lnTo>
                  <a:lnTo>
                    <a:pt x="106462" y="149821"/>
                  </a:lnTo>
                  <a:lnTo>
                    <a:pt x="105632" y="150846"/>
                  </a:lnTo>
                  <a:lnTo>
                    <a:pt x="104332" y="151519"/>
                  </a:lnTo>
                  <a:lnTo>
                    <a:pt x="102300" y="150395"/>
                  </a:lnTo>
                  <a:lnTo>
                    <a:pt x="100890" y="149899"/>
                  </a:lnTo>
                  <a:lnTo>
                    <a:pt x="97608" y="151364"/>
                  </a:lnTo>
                  <a:lnTo>
                    <a:pt x="91108" y="153419"/>
                  </a:lnTo>
                  <a:lnTo>
                    <a:pt x="88893" y="153706"/>
                  </a:lnTo>
                  <a:lnTo>
                    <a:pt x="81359" y="151125"/>
                  </a:lnTo>
                  <a:lnTo>
                    <a:pt x="78601" y="149465"/>
                  </a:lnTo>
                  <a:lnTo>
                    <a:pt x="76824" y="147624"/>
                  </a:lnTo>
                  <a:lnTo>
                    <a:pt x="76224" y="144512"/>
                  </a:lnTo>
                  <a:lnTo>
                    <a:pt x="75105" y="142739"/>
                  </a:lnTo>
                  <a:lnTo>
                    <a:pt x="74941" y="141521"/>
                  </a:lnTo>
                  <a:lnTo>
                    <a:pt x="74503" y="140117"/>
                  </a:lnTo>
                  <a:lnTo>
                    <a:pt x="72985" y="139562"/>
                  </a:lnTo>
                  <a:lnTo>
                    <a:pt x="71354" y="140621"/>
                  </a:lnTo>
                  <a:lnTo>
                    <a:pt x="69607" y="140578"/>
                  </a:lnTo>
                  <a:lnTo>
                    <a:pt x="67413" y="139929"/>
                  </a:lnTo>
                  <a:lnTo>
                    <a:pt x="62237" y="137317"/>
                  </a:lnTo>
                  <a:lnTo>
                    <a:pt x="58260" y="137110"/>
                  </a:lnTo>
                  <a:lnTo>
                    <a:pt x="55869" y="140298"/>
                  </a:lnTo>
                  <a:lnTo>
                    <a:pt x="54010" y="141311"/>
                  </a:lnTo>
                  <a:lnTo>
                    <a:pt x="51974" y="141614"/>
                  </a:lnTo>
                  <a:lnTo>
                    <a:pt x="51857" y="140707"/>
                  </a:lnTo>
                  <a:lnTo>
                    <a:pt x="53401" y="138645"/>
                  </a:lnTo>
                  <a:lnTo>
                    <a:pt x="47206" y="139026"/>
                  </a:lnTo>
                  <a:lnTo>
                    <a:pt x="43935" y="140596"/>
                  </a:lnTo>
                  <a:lnTo>
                    <a:pt x="41382" y="140352"/>
                  </a:lnTo>
                  <a:lnTo>
                    <a:pt x="39469" y="139643"/>
                  </a:lnTo>
                  <a:lnTo>
                    <a:pt x="39756" y="138775"/>
                  </a:lnTo>
                  <a:lnTo>
                    <a:pt x="41697" y="138457"/>
                  </a:lnTo>
                  <a:lnTo>
                    <a:pt x="43381" y="137752"/>
                  </a:lnTo>
                  <a:lnTo>
                    <a:pt x="50095" y="137178"/>
                  </a:lnTo>
                  <a:lnTo>
                    <a:pt x="51663" y="136601"/>
                  </a:lnTo>
                  <a:lnTo>
                    <a:pt x="53380" y="134358"/>
                  </a:lnTo>
                  <a:lnTo>
                    <a:pt x="56506" y="132423"/>
                  </a:lnTo>
                  <a:lnTo>
                    <a:pt x="56903" y="131592"/>
                  </a:lnTo>
                  <a:lnTo>
                    <a:pt x="54500" y="131581"/>
                  </a:lnTo>
                  <a:lnTo>
                    <a:pt x="44211" y="132143"/>
                  </a:lnTo>
                  <a:lnTo>
                    <a:pt x="37147" y="131833"/>
                  </a:lnTo>
                  <a:lnTo>
                    <a:pt x="36310" y="132792"/>
                  </a:lnTo>
                  <a:lnTo>
                    <a:pt x="35247" y="132927"/>
                  </a:lnTo>
                  <a:lnTo>
                    <a:pt x="34954" y="130317"/>
                  </a:lnTo>
                  <a:lnTo>
                    <a:pt x="36070" y="129104"/>
                  </a:lnTo>
                  <a:lnTo>
                    <a:pt x="37573" y="129216"/>
                  </a:lnTo>
                  <a:lnTo>
                    <a:pt x="41263" y="128161"/>
                  </a:lnTo>
                  <a:lnTo>
                    <a:pt x="40933" y="125989"/>
                  </a:lnTo>
                  <a:lnTo>
                    <a:pt x="38290" y="124521"/>
                  </a:lnTo>
                  <a:lnTo>
                    <a:pt x="37752" y="123655"/>
                  </a:lnTo>
                  <a:lnTo>
                    <a:pt x="35835" y="123452"/>
                  </a:lnTo>
                  <a:lnTo>
                    <a:pt x="34280" y="122419"/>
                  </a:lnTo>
                  <a:lnTo>
                    <a:pt x="33941" y="119810"/>
                  </a:lnTo>
                  <a:lnTo>
                    <a:pt x="32703" y="116943"/>
                  </a:lnTo>
                  <a:lnTo>
                    <a:pt x="30935" y="115556"/>
                  </a:lnTo>
                  <a:lnTo>
                    <a:pt x="31153" y="114794"/>
                  </a:lnTo>
                  <a:lnTo>
                    <a:pt x="34394" y="113829"/>
                  </a:lnTo>
                  <a:lnTo>
                    <a:pt x="35066" y="109813"/>
                  </a:lnTo>
                  <a:lnTo>
                    <a:pt x="34571" y="107345"/>
                  </a:lnTo>
                  <a:lnTo>
                    <a:pt x="32941" y="107135"/>
                  </a:lnTo>
                  <a:lnTo>
                    <a:pt x="28191" y="105185"/>
                  </a:lnTo>
                  <a:lnTo>
                    <a:pt x="26748" y="105393"/>
                  </a:lnTo>
                  <a:lnTo>
                    <a:pt x="25174" y="103250"/>
                  </a:lnTo>
                  <a:lnTo>
                    <a:pt x="22418" y="101709"/>
                  </a:lnTo>
                  <a:lnTo>
                    <a:pt x="21054" y="102273"/>
                  </a:lnTo>
                  <a:lnTo>
                    <a:pt x="20198" y="102969"/>
                  </a:lnTo>
                  <a:lnTo>
                    <a:pt x="18922" y="102635"/>
                  </a:lnTo>
                  <a:lnTo>
                    <a:pt x="16782" y="101298"/>
                  </a:lnTo>
                  <a:lnTo>
                    <a:pt x="14681" y="100575"/>
                  </a:lnTo>
                  <a:lnTo>
                    <a:pt x="13748" y="99683"/>
                  </a:lnTo>
                  <a:lnTo>
                    <a:pt x="14919" y="97296"/>
                  </a:lnTo>
                  <a:lnTo>
                    <a:pt x="16528" y="97353"/>
                  </a:lnTo>
                  <a:lnTo>
                    <a:pt x="16821" y="95481"/>
                  </a:lnTo>
                  <a:lnTo>
                    <a:pt x="15551" y="92359"/>
                  </a:lnTo>
                  <a:lnTo>
                    <a:pt x="15675" y="90755"/>
                  </a:lnTo>
                  <a:lnTo>
                    <a:pt x="17078" y="90316"/>
                  </a:lnTo>
                  <a:lnTo>
                    <a:pt x="18676" y="90618"/>
                  </a:lnTo>
                  <a:lnTo>
                    <a:pt x="20289" y="92485"/>
                  </a:lnTo>
                  <a:lnTo>
                    <a:pt x="20816" y="94290"/>
                  </a:lnTo>
                  <a:lnTo>
                    <a:pt x="20477" y="96048"/>
                  </a:lnTo>
                  <a:lnTo>
                    <a:pt x="21501" y="97749"/>
                  </a:lnTo>
                  <a:lnTo>
                    <a:pt x="22228" y="98179"/>
                  </a:lnTo>
                  <a:lnTo>
                    <a:pt x="22718" y="96388"/>
                  </a:lnTo>
                  <a:lnTo>
                    <a:pt x="23403" y="96048"/>
                  </a:lnTo>
                  <a:lnTo>
                    <a:pt x="24345" y="96830"/>
                  </a:lnTo>
                  <a:lnTo>
                    <a:pt x="26368" y="97222"/>
                  </a:lnTo>
                  <a:lnTo>
                    <a:pt x="31613" y="96122"/>
                  </a:lnTo>
                  <a:lnTo>
                    <a:pt x="32621" y="95190"/>
                  </a:lnTo>
                  <a:lnTo>
                    <a:pt x="28778" y="95295"/>
                  </a:lnTo>
                  <a:lnTo>
                    <a:pt x="27372" y="94423"/>
                  </a:lnTo>
                  <a:lnTo>
                    <a:pt x="25845" y="92471"/>
                  </a:lnTo>
                  <a:lnTo>
                    <a:pt x="24906" y="90697"/>
                  </a:lnTo>
                  <a:lnTo>
                    <a:pt x="24738" y="89826"/>
                  </a:lnTo>
                  <a:lnTo>
                    <a:pt x="24206" y="88552"/>
                  </a:lnTo>
                  <a:lnTo>
                    <a:pt x="24792" y="87870"/>
                  </a:lnTo>
                  <a:lnTo>
                    <a:pt x="27424" y="86846"/>
                  </a:lnTo>
                  <a:lnTo>
                    <a:pt x="29734" y="83978"/>
                  </a:lnTo>
                  <a:lnTo>
                    <a:pt x="28771" y="83147"/>
                  </a:lnTo>
                  <a:lnTo>
                    <a:pt x="27670" y="82754"/>
                  </a:lnTo>
                  <a:lnTo>
                    <a:pt x="26474" y="83046"/>
                  </a:lnTo>
                  <a:lnTo>
                    <a:pt x="25340" y="82063"/>
                  </a:lnTo>
                  <a:lnTo>
                    <a:pt x="25193" y="80695"/>
                  </a:lnTo>
                  <a:lnTo>
                    <a:pt x="26100" y="79588"/>
                  </a:lnTo>
                  <a:lnTo>
                    <a:pt x="26195" y="78064"/>
                  </a:lnTo>
                  <a:lnTo>
                    <a:pt x="23226" y="74309"/>
                  </a:lnTo>
                  <a:lnTo>
                    <a:pt x="22397" y="73491"/>
                  </a:lnTo>
                  <a:lnTo>
                    <a:pt x="23036" y="72262"/>
                  </a:lnTo>
                  <a:lnTo>
                    <a:pt x="25303" y="70203"/>
                  </a:lnTo>
                  <a:lnTo>
                    <a:pt x="27463" y="67652"/>
                  </a:lnTo>
                  <a:lnTo>
                    <a:pt x="27203" y="66812"/>
                  </a:lnTo>
                  <a:lnTo>
                    <a:pt x="25608" y="66469"/>
                  </a:lnTo>
                  <a:lnTo>
                    <a:pt x="18024" y="67564"/>
                  </a:lnTo>
                  <a:lnTo>
                    <a:pt x="15076" y="68515"/>
                  </a:lnTo>
                  <a:lnTo>
                    <a:pt x="9820" y="68948"/>
                  </a:lnTo>
                  <a:lnTo>
                    <a:pt x="9442" y="67562"/>
                  </a:lnTo>
                  <a:lnTo>
                    <a:pt x="9561" y="66311"/>
                  </a:lnTo>
                  <a:lnTo>
                    <a:pt x="10740" y="64032"/>
                  </a:lnTo>
                  <a:lnTo>
                    <a:pt x="10632" y="58406"/>
                  </a:lnTo>
                  <a:lnTo>
                    <a:pt x="11330" y="55351"/>
                  </a:lnTo>
                  <a:lnTo>
                    <a:pt x="14250" y="54441"/>
                  </a:lnTo>
                  <a:lnTo>
                    <a:pt x="17832" y="49945"/>
                  </a:lnTo>
                  <a:lnTo>
                    <a:pt x="23640" y="44639"/>
                  </a:lnTo>
                  <a:lnTo>
                    <a:pt x="29700" y="44741"/>
                  </a:lnTo>
                  <a:lnTo>
                    <a:pt x="32122" y="43275"/>
                  </a:lnTo>
                  <a:lnTo>
                    <a:pt x="35725" y="43189"/>
                  </a:lnTo>
                  <a:lnTo>
                    <a:pt x="36379" y="44255"/>
                  </a:lnTo>
                  <a:lnTo>
                    <a:pt x="36787" y="45275"/>
                  </a:lnTo>
                  <a:lnTo>
                    <a:pt x="39948" y="46739"/>
                  </a:lnTo>
                  <a:lnTo>
                    <a:pt x="45530" y="46507"/>
                  </a:lnTo>
                  <a:lnTo>
                    <a:pt x="46886" y="45930"/>
                  </a:lnTo>
                  <a:lnTo>
                    <a:pt x="48195" y="45123"/>
                  </a:lnTo>
                  <a:lnTo>
                    <a:pt x="45614" y="42512"/>
                  </a:lnTo>
                  <a:lnTo>
                    <a:pt x="46439" y="41775"/>
                  </a:lnTo>
                  <a:lnTo>
                    <a:pt x="48778" y="41688"/>
                  </a:lnTo>
                  <a:lnTo>
                    <a:pt x="51313" y="42303"/>
                  </a:lnTo>
                  <a:lnTo>
                    <a:pt x="51430" y="42901"/>
                  </a:lnTo>
                  <a:lnTo>
                    <a:pt x="50756" y="43721"/>
                  </a:lnTo>
                  <a:lnTo>
                    <a:pt x="49972" y="45157"/>
                  </a:lnTo>
                  <a:lnTo>
                    <a:pt x="50717" y="45433"/>
                  </a:lnTo>
                  <a:lnTo>
                    <a:pt x="57936" y="44566"/>
                  </a:lnTo>
                  <a:lnTo>
                    <a:pt x="65481" y="45261"/>
                  </a:lnTo>
                  <a:lnTo>
                    <a:pt x="67882" y="44884"/>
                  </a:lnTo>
                  <a:lnTo>
                    <a:pt x="73814" y="44913"/>
                  </a:lnTo>
                  <a:lnTo>
                    <a:pt x="74876" y="44012"/>
                  </a:lnTo>
                  <a:lnTo>
                    <a:pt x="73082" y="42881"/>
                  </a:lnTo>
                  <a:lnTo>
                    <a:pt x="71326" y="42488"/>
                  </a:lnTo>
                  <a:lnTo>
                    <a:pt x="70145" y="41936"/>
                  </a:lnTo>
                  <a:lnTo>
                    <a:pt x="68966" y="41136"/>
                  </a:lnTo>
                  <a:lnTo>
                    <a:pt x="72728" y="38606"/>
                  </a:lnTo>
                  <a:lnTo>
                    <a:pt x="74852" y="38119"/>
                  </a:lnTo>
                  <a:lnTo>
                    <a:pt x="84881" y="36564"/>
                  </a:lnTo>
                  <a:lnTo>
                    <a:pt x="92339" y="35785"/>
                  </a:lnTo>
                  <a:lnTo>
                    <a:pt x="92434" y="35207"/>
                  </a:lnTo>
                  <a:lnTo>
                    <a:pt x="91359" y="35206"/>
                  </a:lnTo>
                  <a:lnTo>
                    <a:pt x="81721" y="33916"/>
                  </a:lnTo>
                  <a:lnTo>
                    <a:pt x="79400" y="32917"/>
                  </a:lnTo>
                  <a:lnTo>
                    <a:pt x="76174" y="30538"/>
                  </a:lnTo>
                  <a:lnTo>
                    <a:pt x="75474" y="29865"/>
                  </a:lnTo>
                  <a:lnTo>
                    <a:pt x="74662" y="28704"/>
                  </a:lnTo>
                  <a:lnTo>
                    <a:pt x="75146" y="26228"/>
                  </a:lnTo>
                  <a:lnTo>
                    <a:pt x="75742" y="24237"/>
                  </a:lnTo>
                  <a:lnTo>
                    <a:pt x="76932" y="23083"/>
                  </a:lnTo>
                  <a:lnTo>
                    <a:pt x="80782" y="22907"/>
                  </a:lnTo>
                  <a:lnTo>
                    <a:pt x="93985" y="24933"/>
                  </a:lnTo>
                  <a:lnTo>
                    <a:pt x="103395" y="23719"/>
                  </a:lnTo>
                  <a:lnTo>
                    <a:pt x="113680" y="26670"/>
                  </a:lnTo>
                  <a:lnTo>
                    <a:pt x="123516" y="26071"/>
                  </a:lnTo>
                  <a:lnTo>
                    <a:pt x="125546" y="24746"/>
                  </a:lnTo>
                  <a:lnTo>
                    <a:pt x="128008" y="20473"/>
                  </a:lnTo>
                  <a:lnTo>
                    <a:pt x="141904" y="13362"/>
                  </a:lnTo>
                  <a:lnTo>
                    <a:pt x="146769" y="9647"/>
                  </a:lnTo>
                  <a:lnTo>
                    <a:pt x="151981" y="7613"/>
                  </a:lnTo>
                  <a:lnTo>
                    <a:pt x="160925" y="5350"/>
                  </a:lnTo>
                  <a:lnTo>
                    <a:pt x="168401" y="2356"/>
                  </a:lnTo>
                  <a:lnTo>
                    <a:pt x="170537" y="2011"/>
                  </a:lnTo>
                  <a:lnTo>
                    <a:pt x="188484" y="3441"/>
                  </a:lnTo>
                  <a:lnTo>
                    <a:pt x="200812" y="3623"/>
                  </a:lnTo>
                  <a:close/>
                  <a:moveTo>
                    <a:pt x="34835" y="0"/>
                  </a:moveTo>
                  <a:lnTo>
                    <a:pt x="35953" y="365"/>
                  </a:lnTo>
                  <a:lnTo>
                    <a:pt x="37456" y="1812"/>
                  </a:lnTo>
                  <a:lnTo>
                    <a:pt x="39931" y="3887"/>
                  </a:lnTo>
                  <a:lnTo>
                    <a:pt x="41259" y="4579"/>
                  </a:lnTo>
                  <a:lnTo>
                    <a:pt x="42254" y="4258"/>
                  </a:lnTo>
                  <a:lnTo>
                    <a:pt x="44051" y="3504"/>
                  </a:lnTo>
                  <a:lnTo>
                    <a:pt x="45770" y="3498"/>
                  </a:lnTo>
                  <a:lnTo>
                    <a:pt x="47158" y="3631"/>
                  </a:lnTo>
                  <a:lnTo>
                    <a:pt x="47828" y="2974"/>
                  </a:lnTo>
                  <a:lnTo>
                    <a:pt x="48873" y="2833"/>
                  </a:lnTo>
                  <a:lnTo>
                    <a:pt x="51864" y="3299"/>
                  </a:lnTo>
                  <a:lnTo>
                    <a:pt x="51264" y="6327"/>
                  </a:lnTo>
                  <a:lnTo>
                    <a:pt x="52656" y="9659"/>
                  </a:lnTo>
                  <a:lnTo>
                    <a:pt x="55919" y="14280"/>
                  </a:lnTo>
                  <a:lnTo>
                    <a:pt x="59203" y="16609"/>
                  </a:lnTo>
                  <a:lnTo>
                    <a:pt x="72479" y="22362"/>
                  </a:lnTo>
                  <a:lnTo>
                    <a:pt x="74922" y="22853"/>
                  </a:lnTo>
                  <a:lnTo>
                    <a:pt x="74367" y="25206"/>
                  </a:lnTo>
                  <a:lnTo>
                    <a:pt x="73568" y="27295"/>
                  </a:lnTo>
                  <a:lnTo>
                    <a:pt x="72689" y="28688"/>
                  </a:lnTo>
                  <a:lnTo>
                    <a:pt x="68800" y="29583"/>
                  </a:lnTo>
                  <a:lnTo>
                    <a:pt x="58065" y="27022"/>
                  </a:lnTo>
                  <a:lnTo>
                    <a:pt x="55351" y="26780"/>
                  </a:lnTo>
                  <a:lnTo>
                    <a:pt x="53436" y="27290"/>
                  </a:lnTo>
                  <a:lnTo>
                    <a:pt x="49890" y="29151"/>
                  </a:lnTo>
                  <a:lnTo>
                    <a:pt x="45958" y="28554"/>
                  </a:lnTo>
                  <a:lnTo>
                    <a:pt x="40475" y="29610"/>
                  </a:lnTo>
                  <a:lnTo>
                    <a:pt x="38944" y="33111"/>
                  </a:lnTo>
                  <a:lnTo>
                    <a:pt x="35137" y="37117"/>
                  </a:lnTo>
                  <a:lnTo>
                    <a:pt x="28871" y="40350"/>
                  </a:lnTo>
                  <a:lnTo>
                    <a:pt x="24392" y="42078"/>
                  </a:lnTo>
                  <a:lnTo>
                    <a:pt x="17668" y="48267"/>
                  </a:lnTo>
                  <a:lnTo>
                    <a:pt x="14617" y="51874"/>
                  </a:lnTo>
                  <a:lnTo>
                    <a:pt x="13329" y="52573"/>
                  </a:lnTo>
                  <a:lnTo>
                    <a:pt x="11803" y="53126"/>
                  </a:lnTo>
                  <a:lnTo>
                    <a:pt x="12317" y="51396"/>
                  </a:lnTo>
                  <a:lnTo>
                    <a:pt x="13072" y="49811"/>
                  </a:lnTo>
                  <a:lnTo>
                    <a:pt x="12900" y="48615"/>
                  </a:lnTo>
                  <a:lnTo>
                    <a:pt x="12932" y="46876"/>
                  </a:lnTo>
                  <a:lnTo>
                    <a:pt x="15176" y="44900"/>
                  </a:lnTo>
                  <a:lnTo>
                    <a:pt x="17214" y="43467"/>
                  </a:lnTo>
                  <a:lnTo>
                    <a:pt x="23247" y="40868"/>
                  </a:lnTo>
                  <a:lnTo>
                    <a:pt x="24835" y="38709"/>
                  </a:lnTo>
                  <a:lnTo>
                    <a:pt x="20103" y="38761"/>
                  </a:lnTo>
                  <a:lnTo>
                    <a:pt x="15301" y="39241"/>
                  </a:lnTo>
                  <a:lnTo>
                    <a:pt x="12278" y="38934"/>
                  </a:lnTo>
                  <a:lnTo>
                    <a:pt x="9652" y="39110"/>
                  </a:lnTo>
                  <a:lnTo>
                    <a:pt x="8818" y="37220"/>
                  </a:lnTo>
                  <a:lnTo>
                    <a:pt x="8182" y="36083"/>
                  </a:lnTo>
                  <a:lnTo>
                    <a:pt x="8862" y="35728"/>
                  </a:lnTo>
                  <a:lnTo>
                    <a:pt x="9734" y="35482"/>
                  </a:lnTo>
                  <a:lnTo>
                    <a:pt x="11276" y="33464"/>
                  </a:lnTo>
                  <a:lnTo>
                    <a:pt x="12653" y="31974"/>
                  </a:lnTo>
                  <a:lnTo>
                    <a:pt x="14640" y="30100"/>
                  </a:lnTo>
                  <a:lnTo>
                    <a:pt x="15150" y="28981"/>
                  </a:lnTo>
                  <a:lnTo>
                    <a:pt x="15150" y="27936"/>
                  </a:lnTo>
                  <a:lnTo>
                    <a:pt x="14675" y="27211"/>
                  </a:lnTo>
                  <a:lnTo>
                    <a:pt x="14582" y="26350"/>
                  </a:lnTo>
                  <a:lnTo>
                    <a:pt x="14522" y="25132"/>
                  </a:lnTo>
                  <a:lnTo>
                    <a:pt x="14632" y="22616"/>
                  </a:lnTo>
                  <a:lnTo>
                    <a:pt x="19181" y="19863"/>
                  </a:lnTo>
                  <a:lnTo>
                    <a:pt x="20639" y="19572"/>
                  </a:lnTo>
                  <a:lnTo>
                    <a:pt x="21138" y="18316"/>
                  </a:lnTo>
                  <a:lnTo>
                    <a:pt x="20803" y="15399"/>
                  </a:lnTo>
                  <a:lnTo>
                    <a:pt x="20175" y="13043"/>
                  </a:lnTo>
                  <a:lnTo>
                    <a:pt x="19360" y="12885"/>
                  </a:lnTo>
                  <a:lnTo>
                    <a:pt x="18266" y="12197"/>
                  </a:lnTo>
                  <a:lnTo>
                    <a:pt x="17547" y="11400"/>
                  </a:lnTo>
                  <a:lnTo>
                    <a:pt x="16398" y="10527"/>
                  </a:lnTo>
                  <a:lnTo>
                    <a:pt x="14415" y="9992"/>
                  </a:lnTo>
                  <a:lnTo>
                    <a:pt x="14351" y="9247"/>
                  </a:lnTo>
                  <a:lnTo>
                    <a:pt x="14556" y="8502"/>
                  </a:lnTo>
                  <a:lnTo>
                    <a:pt x="15288" y="7740"/>
                  </a:lnTo>
                  <a:lnTo>
                    <a:pt x="18629" y="7083"/>
                  </a:lnTo>
                  <a:lnTo>
                    <a:pt x="19024" y="6545"/>
                  </a:lnTo>
                  <a:lnTo>
                    <a:pt x="19475" y="5218"/>
                  </a:lnTo>
                  <a:lnTo>
                    <a:pt x="20138" y="3859"/>
                  </a:lnTo>
                  <a:lnTo>
                    <a:pt x="20926" y="3409"/>
                  </a:lnTo>
                  <a:lnTo>
                    <a:pt x="22339" y="3451"/>
                  </a:lnTo>
                  <a:lnTo>
                    <a:pt x="25018" y="3137"/>
                  </a:lnTo>
                  <a:lnTo>
                    <a:pt x="26886" y="2694"/>
                  </a:lnTo>
                  <a:lnTo>
                    <a:pt x="28741" y="1764"/>
                  </a:lnTo>
                  <a:lnTo>
                    <a:pt x="29691" y="920"/>
                  </a:lnTo>
                  <a:lnTo>
                    <a:pt x="33708" y="430"/>
                  </a:lnTo>
                  <a:close/>
                </a:path>
              </a:pathLst>
            </a:custGeom>
            <a:solidFill>
              <a:srgbClr val="A3BA1E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26" name="ee4p_TW_1_82333">
              <a:extLst>
                <a:ext uri="{FF2B5EF4-FFF2-40B4-BE49-F238E27FC236}">
                  <a16:creationId xmlns:a16="http://schemas.microsoft.com/office/drawing/2014/main" id="{6D86FDB7-620F-512B-6C12-AD19B5A81ABD}"/>
                </a:ext>
              </a:extLst>
            </p:cNvPr>
            <p:cNvSpPr>
              <a:spLocks noChangeAspect="1"/>
            </p:cNvSpPr>
            <p:nvPr>
              <p:custDataLst>
                <p:tags r:id="rId54"/>
              </p:custDataLst>
            </p:nvPr>
          </p:nvSpPr>
          <p:spPr>
            <a:xfrm>
              <a:off x="9799461" y="3939294"/>
              <a:ext cx="101127" cy="101064"/>
            </a:xfrm>
            <a:custGeom>
              <a:avLst/>
              <a:gdLst>
                <a:gd name="connsiteX0" fmla="*/ 2656 w 80525"/>
                <a:gd name="connsiteY0" fmla="*/ 17752 h 78342"/>
                <a:gd name="connsiteX1" fmla="*/ 3624 w 80525"/>
                <a:gd name="connsiteY1" fmla="*/ 19315 h 78342"/>
                <a:gd name="connsiteX2" fmla="*/ 3215 w 80525"/>
                <a:gd name="connsiteY2" fmla="*/ 20281 h 78342"/>
                <a:gd name="connsiteX3" fmla="*/ 173 w 80525"/>
                <a:gd name="connsiteY3" fmla="*/ 19766 h 78342"/>
                <a:gd name="connsiteX4" fmla="*/ 0 w 80525"/>
                <a:gd name="connsiteY4" fmla="*/ 18820 h 78342"/>
                <a:gd name="connsiteX5" fmla="*/ 1151 w 80525"/>
                <a:gd name="connsiteY5" fmla="*/ 18996 h 78342"/>
                <a:gd name="connsiteX6" fmla="*/ 71417 w 80525"/>
                <a:gd name="connsiteY6" fmla="*/ 0 h 78342"/>
                <a:gd name="connsiteX7" fmla="*/ 73110 w 80525"/>
                <a:gd name="connsiteY7" fmla="*/ 37 h 78342"/>
                <a:gd name="connsiteX8" fmla="*/ 74202 w 80525"/>
                <a:gd name="connsiteY8" fmla="*/ 1048 h 78342"/>
                <a:gd name="connsiteX9" fmla="*/ 75177 w 80525"/>
                <a:gd name="connsiteY9" fmla="*/ 2246 h 78342"/>
                <a:gd name="connsiteX10" fmla="*/ 76198 w 80525"/>
                <a:gd name="connsiteY10" fmla="*/ 2893 h 78342"/>
                <a:gd name="connsiteX11" fmla="*/ 78841 w 80525"/>
                <a:gd name="connsiteY11" fmla="*/ 4062 h 78342"/>
                <a:gd name="connsiteX12" fmla="*/ 79999 w 80525"/>
                <a:gd name="connsiteY12" fmla="*/ 5192 h 78342"/>
                <a:gd name="connsiteX13" fmla="*/ 80525 w 80525"/>
                <a:gd name="connsiteY13" fmla="*/ 7139 h 78342"/>
                <a:gd name="connsiteX14" fmla="*/ 78917 w 80525"/>
                <a:gd name="connsiteY14" fmla="*/ 8985 h 78342"/>
                <a:gd name="connsiteX15" fmla="*/ 78118 w 80525"/>
                <a:gd name="connsiteY15" fmla="*/ 10648 h 78342"/>
                <a:gd name="connsiteX16" fmla="*/ 77969 w 80525"/>
                <a:gd name="connsiteY16" fmla="*/ 12486 h 78342"/>
                <a:gd name="connsiteX17" fmla="*/ 78256 w 80525"/>
                <a:gd name="connsiteY17" fmla="*/ 14972 h 78342"/>
                <a:gd name="connsiteX18" fmla="*/ 78293 w 80525"/>
                <a:gd name="connsiteY18" fmla="*/ 17465 h 78342"/>
                <a:gd name="connsiteX19" fmla="*/ 76281 w 80525"/>
                <a:gd name="connsiteY19" fmla="*/ 23309 h 78342"/>
                <a:gd name="connsiteX20" fmla="*/ 74121 w 80525"/>
                <a:gd name="connsiteY20" fmla="*/ 26947 h 78342"/>
                <a:gd name="connsiteX21" fmla="*/ 73540 w 80525"/>
                <a:gd name="connsiteY21" fmla="*/ 28758 h 78342"/>
                <a:gd name="connsiteX22" fmla="*/ 72883 w 80525"/>
                <a:gd name="connsiteY22" fmla="*/ 33249 h 78342"/>
                <a:gd name="connsiteX23" fmla="*/ 71616 w 80525"/>
                <a:gd name="connsiteY23" fmla="*/ 37754 h 78342"/>
                <a:gd name="connsiteX24" fmla="*/ 70534 w 80525"/>
                <a:gd name="connsiteY24" fmla="*/ 43460 h 78342"/>
                <a:gd name="connsiteX25" fmla="*/ 68772 w 80525"/>
                <a:gd name="connsiteY25" fmla="*/ 49330 h 78342"/>
                <a:gd name="connsiteX26" fmla="*/ 67773 w 80525"/>
                <a:gd name="connsiteY26" fmla="*/ 51783 h 78342"/>
                <a:gd name="connsiteX27" fmla="*/ 66526 w 80525"/>
                <a:gd name="connsiteY27" fmla="*/ 54130 h 78342"/>
                <a:gd name="connsiteX28" fmla="*/ 63549 w 80525"/>
                <a:gd name="connsiteY28" fmla="*/ 58560 h 78342"/>
                <a:gd name="connsiteX29" fmla="*/ 60178 w 80525"/>
                <a:gd name="connsiteY29" fmla="*/ 62191 h 78342"/>
                <a:gd name="connsiteX30" fmla="*/ 58809 w 80525"/>
                <a:gd name="connsiteY30" fmla="*/ 64918 h 78342"/>
                <a:gd name="connsiteX31" fmla="*/ 57714 w 80525"/>
                <a:gd name="connsiteY31" fmla="*/ 67799 h 78342"/>
                <a:gd name="connsiteX32" fmla="*/ 57271 w 80525"/>
                <a:gd name="connsiteY32" fmla="*/ 70516 h 78342"/>
                <a:gd name="connsiteX33" fmla="*/ 57295 w 80525"/>
                <a:gd name="connsiteY33" fmla="*/ 73317 h 78342"/>
                <a:gd name="connsiteX34" fmla="*/ 56982 w 80525"/>
                <a:gd name="connsiteY34" fmla="*/ 75844 h 78342"/>
                <a:gd name="connsiteX35" fmla="*/ 56442 w 80525"/>
                <a:gd name="connsiteY35" fmla="*/ 78342 h 78342"/>
                <a:gd name="connsiteX36" fmla="*/ 54296 w 80525"/>
                <a:gd name="connsiteY36" fmla="*/ 77623 h 78342"/>
                <a:gd name="connsiteX37" fmla="*/ 53132 w 80525"/>
                <a:gd name="connsiteY37" fmla="*/ 75834 h 78342"/>
                <a:gd name="connsiteX38" fmla="*/ 52863 w 80525"/>
                <a:gd name="connsiteY38" fmla="*/ 72897 h 78342"/>
                <a:gd name="connsiteX39" fmla="*/ 51307 w 80525"/>
                <a:gd name="connsiteY39" fmla="*/ 69346 h 78342"/>
                <a:gd name="connsiteX40" fmla="*/ 50724 w 80525"/>
                <a:gd name="connsiteY40" fmla="*/ 68328 h 78342"/>
                <a:gd name="connsiteX41" fmla="*/ 48480 w 80525"/>
                <a:gd name="connsiteY41" fmla="*/ 66341 h 78342"/>
                <a:gd name="connsiteX42" fmla="*/ 46442 w 80525"/>
                <a:gd name="connsiteY42" fmla="*/ 65350 h 78342"/>
                <a:gd name="connsiteX43" fmla="*/ 44863 w 80525"/>
                <a:gd name="connsiteY43" fmla="*/ 63883 h 78342"/>
                <a:gd name="connsiteX44" fmla="*/ 45071 w 80525"/>
                <a:gd name="connsiteY44" fmla="*/ 64003 h 78342"/>
                <a:gd name="connsiteX45" fmla="*/ 43904 w 80525"/>
                <a:gd name="connsiteY45" fmla="*/ 62026 h 78342"/>
                <a:gd name="connsiteX46" fmla="*/ 43019 w 80525"/>
                <a:gd name="connsiteY46" fmla="*/ 59921 h 78342"/>
                <a:gd name="connsiteX47" fmla="*/ 41191 w 80525"/>
                <a:gd name="connsiteY47" fmla="*/ 53936 h 78342"/>
                <a:gd name="connsiteX48" fmla="*/ 40560 w 80525"/>
                <a:gd name="connsiteY48" fmla="*/ 52489 h 78342"/>
                <a:gd name="connsiteX49" fmla="*/ 39715 w 80525"/>
                <a:gd name="connsiteY49" fmla="*/ 51168 h 78342"/>
                <a:gd name="connsiteX50" fmla="*/ 39474 w 80525"/>
                <a:gd name="connsiteY50" fmla="*/ 49861 h 78342"/>
                <a:gd name="connsiteX51" fmla="*/ 39763 w 80525"/>
                <a:gd name="connsiteY51" fmla="*/ 48407 h 78342"/>
                <a:gd name="connsiteX52" fmla="*/ 40551 w 80525"/>
                <a:gd name="connsiteY52" fmla="*/ 46235 h 78342"/>
                <a:gd name="connsiteX53" fmla="*/ 41032 w 80525"/>
                <a:gd name="connsiteY53" fmla="*/ 44043 h 78342"/>
                <a:gd name="connsiteX54" fmla="*/ 40644 w 80525"/>
                <a:gd name="connsiteY54" fmla="*/ 41065 h 78342"/>
                <a:gd name="connsiteX55" fmla="*/ 40793 w 80525"/>
                <a:gd name="connsiteY55" fmla="*/ 38113 h 78342"/>
                <a:gd name="connsiteX56" fmla="*/ 41387 w 80525"/>
                <a:gd name="connsiteY56" fmla="*/ 36801 h 78342"/>
                <a:gd name="connsiteX57" fmla="*/ 51795 w 80525"/>
                <a:gd name="connsiteY57" fmla="*/ 18776 h 78342"/>
                <a:gd name="connsiteX58" fmla="*/ 54619 w 80525"/>
                <a:gd name="connsiteY58" fmla="*/ 14931 h 78342"/>
                <a:gd name="connsiteX59" fmla="*/ 56355 w 80525"/>
                <a:gd name="connsiteY59" fmla="*/ 13042 h 78342"/>
                <a:gd name="connsiteX60" fmla="*/ 57807 w 80525"/>
                <a:gd name="connsiteY60" fmla="*/ 10912 h 78342"/>
                <a:gd name="connsiteX61" fmla="*/ 59189 w 80525"/>
                <a:gd name="connsiteY61" fmla="*/ 8215 h 78342"/>
                <a:gd name="connsiteX62" fmla="*/ 60882 w 80525"/>
                <a:gd name="connsiteY62" fmla="*/ 5749 h 78342"/>
                <a:gd name="connsiteX63" fmla="*/ 62093 w 80525"/>
                <a:gd name="connsiteY63" fmla="*/ 4989 h 78342"/>
                <a:gd name="connsiteX64" fmla="*/ 68064 w 80525"/>
                <a:gd name="connsiteY64" fmla="*/ 2774 h 78342"/>
                <a:gd name="connsiteX65" fmla="*/ 69925 w 80525"/>
                <a:gd name="connsiteY65" fmla="*/ 657 h 78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</a:cxnLst>
              <a:rect l="l" t="t" r="r" b="b"/>
              <a:pathLst>
                <a:path w="80525" h="78342">
                  <a:moveTo>
                    <a:pt x="2656" y="17752"/>
                  </a:moveTo>
                  <a:lnTo>
                    <a:pt x="3624" y="19315"/>
                  </a:lnTo>
                  <a:lnTo>
                    <a:pt x="3215" y="20281"/>
                  </a:lnTo>
                  <a:lnTo>
                    <a:pt x="173" y="19766"/>
                  </a:lnTo>
                  <a:lnTo>
                    <a:pt x="0" y="18820"/>
                  </a:lnTo>
                  <a:lnTo>
                    <a:pt x="1151" y="18996"/>
                  </a:lnTo>
                  <a:close/>
                  <a:moveTo>
                    <a:pt x="71417" y="0"/>
                  </a:moveTo>
                  <a:lnTo>
                    <a:pt x="73110" y="37"/>
                  </a:lnTo>
                  <a:lnTo>
                    <a:pt x="74202" y="1048"/>
                  </a:lnTo>
                  <a:lnTo>
                    <a:pt x="75177" y="2246"/>
                  </a:lnTo>
                  <a:lnTo>
                    <a:pt x="76198" y="2893"/>
                  </a:lnTo>
                  <a:lnTo>
                    <a:pt x="78841" y="4062"/>
                  </a:lnTo>
                  <a:lnTo>
                    <a:pt x="79999" y="5192"/>
                  </a:lnTo>
                  <a:lnTo>
                    <a:pt x="80525" y="7139"/>
                  </a:lnTo>
                  <a:lnTo>
                    <a:pt x="78917" y="8985"/>
                  </a:lnTo>
                  <a:lnTo>
                    <a:pt x="78118" y="10648"/>
                  </a:lnTo>
                  <a:lnTo>
                    <a:pt x="77969" y="12486"/>
                  </a:lnTo>
                  <a:lnTo>
                    <a:pt x="78256" y="14972"/>
                  </a:lnTo>
                  <a:lnTo>
                    <a:pt x="78293" y="17465"/>
                  </a:lnTo>
                  <a:lnTo>
                    <a:pt x="76281" y="23309"/>
                  </a:lnTo>
                  <a:lnTo>
                    <a:pt x="74121" y="26947"/>
                  </a:lnTo>
                  <a:lnTo>
                    <a:pt x="73540" y="28758"/>
                  </a:lnTo>
                  <a:lnTo>
                    <a:pt x="72883" y="33249"/>
                  </a:lnTo>
                  <a:lnTo>
                    <a:pt x="71616" y="37754"/>
                  </a:lnTo>
                  <a:lnTo>
                    <a:pt x="70534" y="43460"/>
                  </a:lnTo>
                  <a:lnTo>
                    <a:pt x="68772" y="49330"/>
                  </a:lnTo>
                  <a:lnTo>
                    <a:pt x="67773" y="51783"/>
                  </a:lnTo>
                  <a:lnTo>
                    <a:pt x="66526" y="54130"/>
                  </a:lnTo>
                  <a:lnTo>
                    <a:pt x="63549" y="58560"/>
                  </a:lnTo>
                  <a:lnTo>
                    <a:pt x="60178" y="62191"/>
                  </a:lnTo>
                  <a:lnTo>
                    <a:pt x="58809" y="64918"/>
                  </a:lnTo>
                  <a:lnTo>
                    <a:pt x="57714" y="67799"/>
                  </a:lnTo>
                  <a:lnTo>
                    <a:pt x="57271" y="70516"/>
                  </a:lnTo>
                  <a:lnTo>
                    <a:pt x="57295" y="73317"/>
                  </a:lnTo>
                  <a:lnTo>
                    <a:pt x="56982" y="75844"/>
                  </a:lnTo>
                  <a:lnTo>
                    <a:pt x="56442" y="78342"/>
                  </a:lnTo>
                  <a:lnTo>
                    <a:pt x="54296" y="77623"/>
                  </a:lnTo>
                  <a:lnTo>
                    <a:pt x="53132" y="75834"/>
                  </a:lnTo>
                  <a:lnTo>
                    <a:pt x="52863" y="72897"/>
                  </a:lnTo>
                  <a:lnTo>
                    <a:pt x="51307" y="69346"/>
                  </a:lnTo>
                  <a:lnTo>
                    <a:pt x="50724" y="68328"/>
                  </a:lnTo>
                  <a:lnTo>
                    <a:pt x="48480" y="66341"/>
                  </a:lnTo>
                  <a:lnTo>
                    <a:pt x="46442" y="65350"/>
                  </a:lnTo>
                  <a:lnTo>
                    <a:pt x="44863" y="63883"/>
                  </a:lnTo>
                  <a:lnTo>
                    <a:pt x="45071" y="64003"/>
                  </a:lnTo>
                  <a:lnTo>
                    <a:pt x="43904" y="62026"/>
                  </a:lnTo>
                  <a:lnTo>
                    <a:pt x="43019" y="59921"/>
                  </a:lnTo>
                  <a:lnTo>
                    <a:pt x="41191" y="53936"/>
                  </a:lnTo>
                  <a:lnTo>
                    <a:pt x="40560" y="52489"/>
                  </a:lnTo>
                  <a:lnTo>
                    <a:pt x="39715" y="51168"/>
                  </a:lnTo>
                  <a:lnTo>
                    <a:pt x="39474" y="49861"/>
                  </a:lnTo>
                  <a:lnTo>
                    <a:pt x="39763" y="48407"/>
                  </a:lnTo>
                  <a:lnTo>
                    <a:pt x="40551" y="46235"/>
                  </a:lnTo>
                  <a:lnTo>
                    <a:pt x="41032" y="44043"/>
                  </a:lnTo>
                  <a:lnTo>
                    <a:pt x="40644" y="41065"/>
                  </a:lnTo>
                  <a:lnTo>
                    <a:pt x="40793" y="38113"/>
                  </a:lnTo>
                  <a:lnTo>
                    <a:pt x="41387" y="36801"/>
                  </a:lnTo>
                  <a:lnTo>
                    <a:pt x="51795" y="18776"/>
                  </a:lnTo>
                  <a:lnTo>
                    <a:pt x="54619" y="14931"/>
                  </a:lnTo>
                  <a:lnTo>
                    <a:pt x="56355" y="13042"/>
                  </a:lnTo>
                  <a:lnTo>
                    <a:pt x="57807" y="10912"/>
                  </a:lnTo>
                  <a:lnTo>
                    <a:pt x="59189" y="8215"/>
                  </a:lnTo>
                  <a:lnTo>
                    <a:pt x="60882" y="5749"/>
                  </a:lnTo>
                  <a:lnTo>
                    <a:pt x="62093" y="4989"/>
                  </a:lnTo>
                  <a:lnTo>
                    <a:pt x="68064" y="2774"/>
                  </a:lnTo>
                  <a:lnTo>
                    <a:pt x="69925" y="657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27" name="ee4p_UZ_1_82333">
              <a:extLst>
                <a:ext uri="{FF2B5EF4-FFF2-40B4-BE49-F238E27FC236}">
                  <a16:creationId xmlns:a16="http://schemas.microsoft.com/office/drawing/2014/main" id="{513625CD-6F1A-0D70-7862-D47C1D6510C7}"/>
                </a:ext>
              </a:extLst>
            </p:cNvPr>
            <p:cNvSpPr>
              <a:spLocks noChangeAspect="1"/>
            </p:cNvSpPr>
            <p:nvPr>
              <p:custDataLst>
                <p:tags r:id="rId55"/>
              </p:custDataLst>
            </p:nvPr>
          </p:nvSpPr>
          <p:spPr>
            <a:xfrm>
              <a:off x="8069110" y="3278610"/>
              <a:ext cx="476556" cy="285731"/>
            </a:xfrm>
            <a:custGeom>
              <a:avLst/>
              <a:gdLst>
                <a:gd name="connsiteX0" fmla="*/ 349686 w 379471"/>
                <a:gd name="connsiteY0" fmla="*/ 148756 h 221490"/>
                <a:gd name="connsiteX1" fmla="*/ 349459 w 379471"/>
                <a:gd name="connsiteY1" fmla="*/ 149931 h 221490"/>
                <a:gd name="connsiteX2" fmla="*/ 348868 w 379471"/>
                <a:gd name="connsiteY2" fmla="*/ 151054 h 221490"/>
                <a:gd name="connsiteX3" fmla="*/ 347827 w 379471"/>
                <a:gd name="connsiteY3" fmla="*/ 150786 h 221490"/>
                <a:gd name="connsiteX4" fmla="*/ 347011 w 379471"/>
                <a:gd name="connsiteY4" fmla="*/ 150039 h 221490"/>
                <a:gd name="connsiteX5" fmla="*/ 347283 w 379471"/>
                <a:gd name="connsiteY5" fmla="*/ 149451 h 221490"/>
                <a:gd name="connsiteX6" fmla="*/ 348505 w 379471"/>
                <a:gd name="connsiteY6" fmla="*/ 149130 h 221490"/>
                <a:gd name="connsiteX7" fmla="*/ 349142 w 379471"/>
                <a:gd name="connsiteY7" fmla="*/ 148810 h 221490"/>
                <a:gd name="connsiteX8" fmla="*/ 332340 w 379471"/>
                <a:gd name="connsiteY8" fmla="*/ 144660 h 221490"/>
                <a:gd name="connsiteX9" fmla="*/ 332752 w 379471"/>
                <a:gd name="connsiteY9" fmla="*/ 144742 h 221490"/>
                <a:gd name="connsiteX10" fmla="*/ 333996 w 379471"/>
                <a:gd name="connsiteY10" fmla="*/ 146550 h 221490"/>
                <a:gd name="connsiteX11" fmla="*/ 335100 w 379471"/>
                <a:gd name="connsiteY11" fmla="*/ 147077 h 221490"/>
                <a:gd name="connsiteX12" fmla="*/ 337276 w 379471"/>
                <a:gd name="connsiteY12" fmla="*/ 147378 h 221490"/>
                <a:gd name="connsiteX13" fmla="*/ 336184 w 379471"/>
                <a:gd name="connsiteY13" fmla="*/ 149160 h 221490"/>
                <a:gd name="connsiteX14" fmla="*/ 336987 w 379471"/>
                <a:gd name="connsiteY14" fmla="*/ 151063 h 221490"/>
                <a:gd name="connsiteX15" fmla="*/ 336777 w 379471"/>
                <a:gd name="connsiteY15" fmla="*/ 151433 h 221490"/>
                <a:gd name="connsiteX16" fmla="*/ 335674 w 379471"/>
                <a:gd name="connsiteY16" fmla="*/ 151671 h 221490"/>
                <a:gd name="connsiteX17" fmla="*/ 333640 w 379471"/>
                <a:gd name="connsiteY17" fmla="*/ 151633 h 221490"/>
                <a:gd name="connsiteX18" fmla="*/ 332478 w 379471"/>
                <a:gd name="connsiteY18" fmla="*/ 151367 h 221490"/>
                <a:gd name="connsiteX19" fmla="*/ 333184 w 379471"/>
                <a:gd name="connsiteY19" fmla="*/ 149251 h 221490"/>
                <a:gd name="connsiteX20" fmla="*/ 333210 w 379471"/>
                <a:gd name="connsiteY20" fmla="*/ 148829 h 221490"/>
                <a:gd name="connsiteX21" fmla="*/ 333126 w 379471"/>
                <a:gd name="connsiteY21" fmla="*/ 148766 h 221490"/>
                <a:gd name="connsiteX22" fmla="*/ 332538 w 379471"/>
                <a:gd name="connsiteY22" fmla="*/ 148484 h 221490"/>
                <a:gd name="connsiteX23" fmla="*/ 331653 w 379471"/>
                <a:gd name="connsiteY23" fmla="*/ 147620 h 221490"/>
                <a:gd name="connsiteX24" fmla="*/ 331349 w 379471"/>
                <a:gd name="connsiteY24" fmla="*/ 146339 h 221490"/>
                <a:gd name="connsiteX25" fmla="*/ 331694 w 379471"/>
                <a:gd name="connsiteY25" fmla="*/ 145157 h 221490"/>
                <a:gd name="connsiteX26" fmla="*/ 322757 w 379471"/>
                <a:gd name="connsiteY26" fmla="*/ 121792 h 221490"/>
                <a:gd name="connsiteX27" fmla="*/ 322268 w 379471"/>
                <a:gd name="connsiteY27" fmla="*/ 122053 h 221490"/>
                <a:gd name="connsiteX28" fmla="*/ 322683 w 379471"/>
                <a:gd name="connsiteY28" fmla="*/ 122922 h 221490"/>
                <a:gd name="connsiteX29" fmla="*/ 323877 w 379471"/>
                <a:gd name="connsiteY29" fmla="*/ 124169 h 221490"/>
                <a:gd name="connsiteX30" fmla="*/ 324536 w 379471"/>
                <a:gd name="connsiteY30" fmla="*/ 124111 h 221490"/>
                <a:gd name="connsiteX31" fmla="*/ 324462 w 379471"/>
                <a:gd name="connsiteY31" fmla="*/ 123475 h 221490"/>
                <a:gd name="connsiteX32" fmla="*/ 323780 w 379471"/>
                <a:gd name="connsiteY32" fmla="*/ 122401 h 221490"/>
                <a:gd name="connsiteX33" fmla="*/ 57040 w 379471"/>
                <a:gd name="connsiteY33" fmla="*/ 0 h 221490"/>
                <a:gd name="connsiteX34" fmla="*/ 59553 w 379471"/>
                <a:gd name="connsiteY34" fmla="*/ 1313 h 221490"/>
                <a:gd name="connsiteX35" fmla="*/ 62607 w 379471"/>
                <a:gd name="connsiteY35" fmla="*/ 3120 h 221490"/>
                <a:gd name="connsiteX36" fmla="*/ 65660 w 379471"/>
                <a:gd name="connsiteY36" fmla="*/ 4926 h 221490"/>
                <a:gd name="connsiteX37" fmla="*/ 68717 w 379471"/>
                <a:gd name="connsiteY37" fmla="*/ 6730 h 221490"/>
                <a:gd name="connsiteX38" fmla="*/ 71771 w 379471"/>
                <a:gd name="connsiteY38" fmla="*/ 8533 h 221490"/>
                <a:gd name="connsiteX39" fmla="*/ 74824 w 379471"/>
                <a:gd name="connsiteY39" fmla="*/ 10336 h 221490"/>
                <a:gd name="connsiteX40" fmla="*/ 77882 w 379471"/>
                <a:gd name="connsiteY40" fmla="*/ 12136 h 221490"/>
                <a:gd name="connsiteX41" fmla="*/ 80935 w 379471"/>
                <a:gd name="connsiteY41" fmla="*/ 13935 h 221490"/>
                <a:gd name="connsiteX42" fmla="*/ 83989 w 379471"/>
                <a:gd name="connsiteY42" fmla="*/ 15733 h 221490"/>
                <a:gd name="connsiteX43" fmla="*/ 87044 w 379471"/>
                <a:gd name="connsiteY43" fmla="*/ 17528 h 221490"/>
                <a:gd name="connsiteX44" fmla="*/ 90098 w 379471"/>
                <a:gd name="connsiteY44" fmla="*/ 19325 h 221490"/>
                <a:gd name="connsiteX45" fmla="*/ 93153 w 379471"/>
                <a:gd name="connsiteY45" fmla="*/ 21120 h 221490"/>
                <a:gd name="connsiteX46" fmla="*/ 96209 w 379471"/>
                <a:gd name="connsiteY46" fmla="*/ 22913 h 221490"/>
                <a:gd name="connsiteX47" fmla="*/ 99262 w 379471"/>
                <a:gd name="connsiteY47" fmla="*/ 24705 h 221490"/>
                <a:gd name="connsiteX48" fmla="*/ 102318 w 379471"/>
                <a:gd name="connsiteY48" fmla="*/ 26497 h 221490"/>
                <a:gd name="connsiteX49" fmla="*/ 105373 w 379471"/>
                <a:gd name="connsiteY49" fmla="*/ 28286 h 221490"/>
                <a:gd name="connsiteX50" fmla="*/ 108427 w 379471"/>
                <a:gd name="connsiteY50" fmla="*/ 30075 h 221490"/>
                <a:gd name="connsiteX51" fmla="*/ 111273 w 379471"/>
                <a:gd name="connsiteY51" fmla="*/ 31740 h 221490"/>
                <a:gd name="connsiteX52" fmla="*/ 112542 w 379471"/>
                <a:gd name="connsiteY52" fmla="*/ 32974 h 221490"/>
                <a:gd name="connsiteX53" fmla="*/ 113244 w 379471"/>
                <a:gd name="connsiteY53" fmla="*/ 35691 h 221490"/>
                <a:gd name="connsiteX54" fmla="*/ 114652 w 379471"/>
                <a:gd name="connsiteY54" fmla="*/ 37851 h 221490"/>
                <a:gd name="connsiteX55" fmla="*/ 117101 w 379471"/>
                <a:gd name="connsiteY55" fmla="*/ 40190 h 221490"/>
                <a:gd name="connsiteX56" fmla="*/ 119612 w 379471"/>
                <a:gd name="connsiteY56" fmla="*/ 42581 h 221490"/>
                <a:gd name="connsiteX57" fmla="*/ 122726 w 379471"/>
                <a:gd name="connsiteY57" fmla="*/ 45738 h 221490"/>
                <a:gd name="connsiteX58" fmla="*/ 124888 w 379471"/>
                <a:gd name="connsiteY58" fmla="*/ 47927 h 221490"/>
                <a:gd name="connsiteX59" fmla="*/ 127090 w 379471"/>
                <a:gd name="connsiteY59" fmla="*/ 50157 h 221490"/>
                <a:gd name="connsiteX60" fmla="*/ 130724 w 379471"/>
                <a:gd name="connsiteY60" fmla="*/ 53833 h 221490"/>
                <a:gd name="connsiteX61" fmla="*/ 132994 w 379471"/>
                <a:gd name="connsiteY61" fmla="*/ 56126 h 221490"/>
                <a:gd name="connsiteX62" fmla="*/ 134801 w 379471"/>
                <a:gd name="connsiteY62" fmla="*/ 56201 h 221490"/>
                <a:gd name="connsiteX63" fmla="*/ 138470 w 379471"/>
                <a:gd name="connsiteY63" fmla="*/ 55656 h 221490"/>
                <a:gd name="connsiteX64" fmla="*/ 143368 w 379471"/>
                <a:gd name="connsiteY64" fmla="*/ 54928 h 221490"/>
                <a:gd name="connsiteX65" fmla="*/ 147239 w 379471"/>
                <a:gd name="connsiteY65" fmla="*/ 54352 h 221490"/>
                <a:gd name="connsiteX66" fmla="*/ 151921 w 379471"/>
                <a:gd name="connsiteY66" fmla="*/ 53655 h 221490"/>
                <a:gd name="connsiteX67" fmla="*/ 156376 w 379471"/>
                <a:gd name="connsiteY67" fmla="*/ 52991 h 221490"/>
                <a:gd name="connsiteX68" fmla="*/ 159900 w 379471"/>
                <a:gd name="connsiteY68" fmla="*/ 52466 h 221490"/>
                <a:gd name="connsiteX69" fmla="*/ 165158 w 379471"/>
                <a:gd name="connsiteY69" fmla="*/ 52863 h 221490"/>
                <a:gd name="connsiteX70" fmla="*/ 170351 w 379471"/>
                <a:gd name="connsiteY70" fmla="*/ 53257 h 221490"/>
                <a:gd name="connsiteX71" fmla="*/ 174076 w 379471"/>
                <a:gd name="connsiteY71" fmla="*/ 53540 h 221490"/>
                <a:gd name="connsiteX72" fmla="*/ 177728 w 379471"/>
                <a:gd name="connsiteY72" fmla="*/ 53818 h 221490"/>
                <a:gd name="connsiteX73" fmla="*/ 182051 w 379471"/>
                <a:gd name="connsiteY73" fmla="*/ 54144 h 221490"/>
                <a:gd name="connsiteX74" fmla="*/ 184469 w 379471"/>
                <a:gd name="connsiteY74" fmla="*/ 54327 h 221490"/>
                <a:gd name="connsiteX75" fmla="*/ 187233 w 379471"/>
                <a:gd name="connsiteY75" fmla="*/ 54536 h 221490"/>
                <a:gd name="connsiteX76" fmla="*/ 188404 w 379471"/>
                <a:gd name="connsiteY76" fmla="*/ 53985 h 221490"/>
                <a:gd name="connsiteX77" fmla="*/ 190792 w 379471"/>
                <a:gd name="connsiteY77" fmla="*/ 52857 h 221490"/>
                <a:gd name="connsiteX78" fmla="*/ 193047 w 379471"/>
                <a:gd name="connsiteY78" fmla="*/ 51792 h 221490"/>
                <a:gd name="connsiteX79" fmla="*/ 195385 w 379471"/>
                <a:gd name="connsiteY79" fmla="*/ 50686 h 221490"/>
                <a:gd name="connsiteX80" fmla="*/ 197456 w 379471"/>
                <a:gd name="connsiteY80" fmla="*/ 50127 h 221490"/>
                <a:gd name="connsiteX81" fmla="*/ 199615 w 379471"/>
                <a:gd name="connsiteY81" fmla="*/ 51897 h 221490"/>
                <a:gd name="connsiteX82" fmla="*/ 201423 w 379471"/>
                <a:gd name="connsiteY82" fmla="*/ 53929 h 221490"/>
                <a:gd name="connsiteX83" fmla="*/ 203325 w 379471"/>
                <a:gd name="connsiteY83" fmla="*/ 56071 h 221490"/>
                <a:gd name="connsiteX84" fmla="*/ 205528 w 379471"/>
                <a:gd name="connsiteY84" fmla="*/ 58134 h 221490"/>
                <a:gd name="connsiteX85" fmla="*/ 207650 w 379471"/>
                <a:gd name="connsiteY85" fmla="*/ 59358 h 221490"/>
                <a:gd name="connsiteX86" fmla="*/ 210518 w 379471"/>
                <a:gd name="connsiteY86" fmla="*/ 61011 h 221490"/>
                <a:gd name="connsiteX87" fmla="*/ 212166 w 379471"/>
                <a:gd name="connsiteY87" fmla="*/ 63842 h 221490"/>
                <a:gd name="connsiteX88" fmla="*/ 214366 w 379471"/>
                <a:gd name="connsiteY88" fmla="*/ 67614 h 221490"/>
                <a:gd name="connsiteX89" fmla="*/ 215813 w 379471"/>
                <a:gd name="connsiteY89" fmla="*/ 70093 h 221490"/>
                <a:gd name="connsiteX90" fmla="*/ 217303 w 379471"/>
                <a:gd name="connsiteY90" fmla="*/ 72641 h 221490"/>
                <a:gd name="connsiteX91" fmla="*/ 219471 w 379471"/>
                <a:gd name="connsiteY91" fmla="*/ 71636 h 221490"/>
                <a:gd name="connsiteX92" fmla="*/ 221784 w 379471"/>
                <a:gd name="connsiteY92" fmla="*/ 70562 h 221490"/>
                <a:gd name="connsiteX93" fmla="*/ 223876 w 379471"/>
                <a:gd name="connsiteY93" fmla="*/ 69592 h 221490"/>
                <a:gd name="connsiteX94" fmla="*/ 223623 w 379471"/>
                <a:gd name="connsiteY94" fmla="*/ 72737 h 221490"/>
                <a:gd name="connsiteX95" fmla="*/ 223394 w 379471"/>
                <a:gd name="connsiteY95" fmla="*/ 75592 h 221490"/>
                <a:gd name="connsiteX96" fmla="*/ 223045 w 379471"/>
                <a:gd name="connsiteY96" fmla="*/ 79907 h 221490"/>
                <a:gd name="connsiteX97" fmla="*/ 222760 w 379471"/>
                <a:gd name="connsiteY97" fmla="*/ 83440 h 221490"/>
                <a:gd name="connsiteX98" fmla="*/ 222001 w 379471"/>
                <a:gd name="connsiteY98" fmla="*/ 87649 h 221490"/>
                <a:gd name="connsiteX99" fmla="*/ 221950 w 379471"/>
                <a:gd name="connsiteY99" fmla="*/ 90851 h 221490"/>
                <a:gd name="connsiteX100" fmla="*/ 221907 w 379471"/>
                <a:gd name="connsiteY100" fmla="*/ 93661 h 221490"/>
                <a:gd name="connsiteX101" fmla="*/ 221870 w 379471"/>
                <a:gd name="connsiteY101" fmla="*/ 95889 h 221490"/>
                <a:gd name="connsiteX102" fmla="*/ 225930 w 379471"/>
                <a:gd name="connsiteY102" fmla="*/ 95989 h 221490"/>
                <a:gd name="connsiteX103" fmla="*/ 228929 w 379471"/>
                <a:gd name="connsiteY103" fmla="*/ 96062 h 221490"/>
                <a:gd name="connsiteX104" fmla="*/ 232684 w 379471"/>
                <a:gd name="connsiteY104" fmla="*/ 96154 h 221490"/>
                <a:gd name="connsiteX105" fmla="*/ 233047 w 379471"/>
                <a:gd name="connsiteY105" fmla="*/ 98953 h 221490"/>
                <a:gd name="connsiteX106" fmla="*/ 233552 w 379471"/>
                <a:gd name="connsiteY106" fmla="*/ 102879 h 221490"/>
                <a:gd name="connsiteX107" fmla="*/ 234319 w 379471"/>
                <a:gd name="connsiteY107" fmla="*/ 106433 h 221490"/>
                <a:gd name="connsiteX108" fmla="*/ 234962 w 379471"/>
                <a:gd name="connsiteY108" fmla="*/ 109411 h 221490"/>
                <a:gd name="connsiteX109" fmla="*/ 235927 w 379471"/>
                <a:gd name="connsiteY109" fmla="*/ 113259 h 221490"/>
                <a:gd name="connsiteX110" fmla="*/ 236444 w 379471"/>
                <a:gd name="connsiteY110" fmla="*/ 115313 h 221490"/>
                <a:gd name="connsiteX111" fmla="*/ 237351 w 379471"/>
                <a:gd name="connsiteY111" fmla="*/ 117728 h 221490"/>
                <a:gd name="connsiteX112" fmla="*/ 238238 w 379471"/>
                <a:gd name="connsiteY112" fmla="*/ 118309 h 221490"/>
                <a:gd name="connsiteX113" fmla="*/ 239663 w 379471"/>
                <a:gd name="connsiteY113" fmla="*/ 118696 h 221490"/>
                <a:gd name="connsiteX114" fmla="*/ 244626 w 379471"/>
                <a:gd name="connsiteY114" fmla="*/ 118408 h 221490"/>
                <a:gd name="connsiteX115" fmla="*/ 248746 w 379471"/>
                <a:gd name="connsiteY115" fmla="*/ 118170 h 221490"/>
                <a:gd name="connsiteX116" fmla="*/ 251987 w 379471"/>
                <a:gd name="connsiteY116" fmla="*/ 117981 h 221490"/>
                <a:gd name="connsiteX117" fmla="*/ 255446 w 379471"/>
                <a:gd name="connsiteY117" fmla="*/ 117781 h 221490"/>
                <a:gd name="connsiteX118" fmla="*/ 260024 w 379471"/>
                <a:gd name="connsiteY118" fmla="*/ 117514 h 221490"/>
                <a:gd name="connsiteX119" fmla="*/ 261572 w 379471"/>
                <a:gd name="connsiteY119" fmla="*/ 118129 h 221490"/>
                <a:gd name="connsiteX120" fmla="*/ 262913 w 379471"/>
                <a:gd name="connsiteY120" fmla="*/ 117698 h 221490"/>
                <a:gd name="connsiteX121" fmla="*/ 264462 w 379471"/>
                <a:gd name="connsiteY121" fmla="*/ 117268 h 221490"/>
                <a:gd name="connsiteX122" fmla="*/ 265693 w 379471"/>
                <a:gd name="connsiteY122" fmla="*/ 119022 h 221490"/>
                <a:gd name="connsiteX123" fmla="*/ 266319 w 379471"/>
                <a:gd name="connsiteY123" fmla="*/ 119912 h 221490"/>
                <a:gd name="connsiteX124" fmla="*/ 267195 w 379471"/>
                <a:gd name="connsiteY124" fmla="*/ 120832 h 221490"/>
                <a:gd name="connsiteX125" fmla="*/ 268383 w 379471"/>
                <a:gd name="connsiteY125" fmla="*/ 121691 h 221490"/>
                <a:gd name="connsiteX126" fmla="*/ 267880 w 379471"/>
                <a:gd name="connsiteY126" fmla="*/ 123490 h 221490"/>
                <a:gd name="connsiteX127" fmla="*/ 267144 w 379471"/>
                <a:gd name="connsiteY127" fmla="*/ 126109 h 221490"/>
                <a:gd name="connsiteX128" fmla="*/ 266936 w 379471"/>
                <a:gd name="connsiteY128" fmla="*/ 127457 h 221490"/>
                <a:gd name="connsiteX129" fmla="*/ 268366 w 379471"/>
                <a:gd name="connsiteY129" fmla="*/ 128907 h 221490"/>
                <a:gd name="connsiteX130" fmla="*/ 269426 w 379471"/>
                <a:gd name="connsiteY130" fmla="*/ 129754 h 221490"/>
                <a:gd name="connsiteX131" fmla="*/ 272337 w 379471"/>
                <a:gd name="connsiteY131" fmla="*/ 131477 h 221490"/>
                <a:gd name="connsiteX132" fmla="*/ 275060 w 379471"/>
                <a:gd name="connsiteY132" fmla="*/ 132438 h 221490"/>
                <a:gd name="connsiteX133" fmla="*/ 276843 w 379471"/>
                <a:gd name="connsiteY133" fmla="*/ 132721 h 221490"/>
                <a:gd name="connsiteX134" fmla="*/ 278545 w 379471"/>
                <a:gd name="connsiteY134" fmla="*/ 132354 h 221490"/>
                <a:gd name="connsiteX135" fmla="*/ 279165 w 379471"/>
                <a:gd name="connsiteY135" fmla="*/ 131376 h 221490"/>
                <a:gd name="connsiteX136" fmla="*/ 279009 w 379471"/>
                <a:gd name="connsiteY136" fmla="*/ 130030 h 221490"/>
                <a:gd name="connsiteX137" fmla="*/ 278189 w 379471"/>
                <a:gd name="connsiteY137" fmla="*/ 128616 h 221490"/>
                <a:gd name="connsiteX138" fmla="*/ 278249 w 379471"/>
                <a:gd name="connsiteY138" fmla="*/ 126931 h 221490"/>
                <a:gd name="connsiteX139" fmla="*/ 278798 w 379471"/>
                <a:gd name="connsiteY139" fmla="*/ 125697 h 221490"/>
                <a:gd name="connsiteX140" fmla="*/ 280538 w 379471"/>
                <a:gd name="connsiteY140" fmla="*/ 123456 h 221490"/>
                <a:gd name="connsiteX141" fmla="*/ 282182 w 379471"/>
                <a:gd name="connsiteY141" fmla="*/ 121342 h 221490"/>
                <a:gd name="connsiteX142" fmla="*/ 284704 w 379471"/>
                <a:gd name="connsiteY142" fmla="*/ 119185 h 221490"/>
                <a:gd name="connsiteX143" fmla="*/ 287705 w 379471"/>
                <a:gd name="connsiteY143" fmla="*/ 117046 h 221490"/>
                <a:gd name="connsiteX144" fmla="*/ 288956 w 379471"/>
                <a:gd name="connsiteY144" fmla="*/ 115488 h 221490"/>
                <a:gd name="connsiteX145" fmla="*/ 289431 w 379471"/>
                <a:gd name="connsiteY145" fmla="*/ 112776 h 221490"/>
                <a:gd name="connsiteX146" fmla="*/ 291391 w 379471"/>
                <a:gd name="connsiteY146" fmla="*/ 111236 h 221490"/>
                <a:gd name="connsiteX147" fmla="*/ 293508 w 379471"/>
                <a:gd name="connsiteY147" fmla="*/ 110312 h 221490"/>
                <a:gd name="connsiteX148" fmla="*/ 296140 w 379471"/>
                <a:gd name="connsiteY148" fmla="*/ 109510 h 221490"/>
                <a:gd name="connsiteX149" fmla="*/ 296861 w 379471"/>
                <a:gd name="connsiteY149" fmla="*/ 108154 h 221490"/>
                <a:gd name="connsiteX150" fmla="*/ 300491 w 379471"/>
                <a:gd name="connsiteY150" fmla="*/ 105849 h 221490"/>
                <a:gd name="connsiteX151" fmla="*/ 302674 w 379471"/>
                <a:gd name="connsiteY151" fmla="*/ 104710 h 221490"/>
                <a:gd name="connsiteX152" fmla="*/ 305421 w 379471"/>
                <a:gd name="connsiteY152" fmla="*/ 104043 h 221490"/>
                <a:gd name="connsiteX153" fmla="*/ 309221 w 379471"/>
                <a:gd name="connsiteY153" fmla="*/ 102540 h 221490"/>
                <a:gd name="connsiteX154" fmla="*/ 312221 w 379471"/>
                <a:gd name="connsiteY154" fmla="*/ 100780 h 221490"/>
                <a:gd name="connsiteX155" fmla="*/ 315101 w 379471"/>
                <a:gd name="connsiteY155" fmla="*/ 97452 h 221490"/>
                <a:gd name="connsiteX156" fmla="*/ 317379 w 379471"/>
                <a:gd name="connsiteY156" fmla="*/ 95276 h 221490"/>
                <a:gd name="connsiteX157" fmla="*/ 319306 w 379471"/>
                <a:gd name="connsiteY157" fmla="*/ 93932 h 221490"/>
                <a:gd name="connsiteX158" fmla="*/ 320921 w 379471"/>
                <a:gd name="connsiteY158" fmla="*/ 93887 h 221490"/>
                <a:gd name="connsiteX159" fmla="*/ 322050 w 379471"/>
                <a:gd name="connsiteY159" fmla="*/ 94971 h 221490"/>
                <a:gd name="connsiteX160" fmla="*/ 323026 w 379471"/>
                <a:gd name="connsiteY160" fmla="*/ 95062 h 221490"/>
                <a:gd name="connsiteX161" fmla="*/ 323668 w 379471"/>
                <a:gd name="connsiteY161" fmla="*/ 94565 h 221490"/>
                <a:gd name="connsiteX162" fmla="*/ 324756 w 379471"/>
                <a:gd name="connsiteY162" fmla="*/ 93164 h 221490"/>
                <a:gd name="connsiteX163" fmla="*/ 325922 w 379471"/>
                <a:gd name="connsiteY163" fmla="*/ 91537 h 221490"/>
                <a:gd name="connsiteX164" fmla="*/ 327013 w 379471"/>
                <a:gd name="connsiteY164" fmla="*/ 90858 h 221490"/>
                <a:gd name="connsiteX165" fmla="*/ 329131 w 379471"/>
                <a:gd name="connsiteY165" fmla="*/ 90512 h 221490"/>
                <a:gd name="connsiteX166" fmla="*/ 331042 w 379471"/>
                <a:gd name="connsiteY166" fmla="*/ 89409 h 221490"/>
                <a:gd name="connsiteX167" fmla="*/ 331754 w 379471"/>
                <a:gd name="connsiteY167" fmla="*/ 88933 h 221490"/>
                <a:gd name="connsiteX168" fmla="*/ 333016 w 379471"/>
                <a:gd name="connsiteY168" fmla="*/ 88451 h 221490"/>
                <a:gd name="connsiteX169" fmla="*/ 335093 w 379471"/>
                <a:gd name="connsiteY169" fmla="*/ 89374 h 221490"/>
                <a:gd name="connsiteX170" fmla="*/ 336922 w 379471"/>
                <a:gd name="connsiteY170" fmla="*/ 90533 h 221490"/>
                <a:gd name="connsiteX171" fmla="*/ 337356 w 379471"/>
                <a:gd name="connsiteY171" fmla="*/ 91069 h 221490"/>
                <a:gd name="connsiteX172" fmla="*/ 337272 w 379471"/>
                <a:gd name="connsiteY172" fmla="*/ 91691 h 221490"/>
                <a:gd name="connsiteX173" fmla="*/ 332932 w 379471"/>
                <a:gd name="connsiteY173" fmla="*/ 93953 h 221490"/>
                <a:gd name="connsiteX174" fmla="*/ 330237 w 379471"/>
                <a:gd name="connsiteY174" fmla="*/ 95010 h 221490"/>
                <a:gd name="connsiteX175" fmla="*/ 329049 w 379471"/>
                <a:gd name="connsiteY175" fmla="*/ 95200 h 221490"/>
                <a:gd name="connsiteX176" fmla="*/ 328723 w 379471"/>
                <a:gd name="connsiteY176" fmla="*/ 95497 h 221490"/>
                <a:gd name="connsiteX177" fmla="*/ 327870 w 379471"/>
                <a:gd name="connsiteY177" fmla="*/ 98071 h 221490"/>
                <a:gd name="connsiteX178" fmla="*/ 326199 w 379471"/>
                <a:gd name="connsiteY178" fmla="*/ 98533 h 221490"/>
                <a:gd name="connsiteX179" fmla="*/ 324056 w 379471"/>
                <a:gd name="connsiteY179" fmla="*/ 99322 h 221490"/>
                <a:gd name="connsiteX180" fmla="*/ 322553 w 379471"/>
                <a:gd name="connsiteY180" fmla="*/ 100506 h 221490"/>
                <a:gd name="connsiteX181" fmla="*/ 320167 w 379471"/>
                <a:gd name="connsiteY181" fmla="*/ 103308 h 221490"/>
                <a:gd name="connsiteX182" fmla="*/ 314108 w 379471"/>
                <a:gd name="connsiteY182" fmla="*/ 107373 h 221490"/>
                <a:gd name="connsiteX183" fmla="*/ 314020 w 379471"/>
                <a:gd name="connsiteY183" fmla="*/ 108205 h 221490"/>
                <a:gd name="connsiteX184" fmla="*/ 314549 w 379471"/>
                <a:gd name="connsiteY184" fmla="*/ 108879 h 221490"/>
                <a:gd name="connsiteX185" fmla="*/ 316520 w 379471"/>
                <a:gd name="connsiteY185" fmla="*/ 109345 h 221490"/>
                <a:gd name="connsiteX186" fmla="*/ 319124 w 379471"/>
                <a:gd name="connsiteY186" fmla="*/ 110594 h 221490"/>
                <a:gd name="connsiteX187" fmla="*/ 320530 w 379471"/>
                <a:gd name="connsiteY187" fmla="*/ 111569 h 221490"/>
                <a:gd name="connsiteX188" fmla="*/ 324389 w 379471"/>
                <a:gd name="connsiteY188" fmla="*/ 110309 h 221490"/>
                <a:gd name="connsiteX189" fmla="*/ 325339 w 379471"/>
                <a:gd name="connsiteY189" fmla="*/ 110587 h 221490"/>
                <a:gd name="connsiteX190" fmla="*/ 326345 w 379471"/>
                <a:gd name="connsiteY190" fmla="*/ 111889 h 221490"/>
                <a:gd name="connsiteX191" fmla="*/ 327408 w 379471"/>
                <a:gd name="connsiteY191" fmla="*/ 115531 h 221490"/>
                <a:gd name="connsiteX192" fmla="*/ 329133 w 379471"/>
                <a:gd name="connsiteY192" fmla="*/ 116522 h 221490"/>
                <a:gd name="connsiteX193" fmla="*/ 331392 w 379471"/>
                <a:gd name="connsiteY193" fmla="*/ 117284 h 221490"/>
                <a:gd name="connsiteX194" fmla="*/ 332793 w 379471"/>
                <a:gd name="connsiteY194" fmla="*/ 117532 h 221490"/>
                <a:gd name="connsiteX195" fmla="*/ 334667 w 379471"/>
                <a:gd name="connsiteY195" fmla="*/ 118427 h 221490"/>
                <a:gd name="connsiteX196" fmla="*/ 337160 w 379471"/>
                <a:gd name="connsiteY196" fmla="*/ 118761 h 221490"/>
                <a:gd name="connsiteX197" fmla="*/ 338827 w 379471"/>
                <a:gd name="connsiteY197" fmla="*/ 118430 h 221490"/>
                <a:gd name="connsiteX198" fmla="*/ 340910 w 379471"/>
                <a:gd name="connsiteY198" fmla="*/ 119197 h 221490"/>
                <a:gd name="connsiteX199" fmla="*/ 341249 w 379471"/>
                <a:gd name="connsiteY199" fmla="*/ 118864 h 221490"/>
                <a:gd name="connsiteX200" fmla="*/ 341526 w 379471"/>
                <a:gd name="connsiteY200" fmla="*/ 113437 h 221490"/>
                <a:gd name="connsiteX201" fmla="*/ 343275 w 379471"/>
                <a:gd name="connsiteY201" fmla="*/ 114345 h 221490"/>
                <a:gd name="connsiteX202" fmla="*/ 344284 w 379471"/>
                <a:gd name="connsiteY202" fmla="*/ 114329 h 221490"/>
                <a:gd name="connsiteX203" fmla="*/ 345166 w 379471"/>
                <a:gd name="connsiteY203" fmla="*/ 113665 h 221490"/>
                <a:gd name="connsiteX204" fmla="*/ 345624 w 379471"/>
                <a:gd name="connsiteY204" fmla="*/ 112763 h 221490"/>
                <a:gd name="connsiteX205" fmla="*/ 345920 w 379471"/>
                <a:gd name="connsiteY205" fmla="*/ 110967 h 221490"/>
                <a:gd name="connsiteX206" fmla="*/ 345536 w 379471"/>
                <a:gd name="connsiteY206" fmla="*/ 109175 h 221490"/>
                <a:gd name="connsiteX207" fmla="*/ 346315 w 379471"/>
                <a:gd name="connsiteY207" fmla="*/ 108358 h 221490"/>
                <a:gd name="connsiteX208" fmla="*/ 346922 w 379471"/>
                <a:gd name="connsiteY208" fmla="*/ 108173 h 221490"/>
                <a:gd name="connsiteX209" fmla="*/ 347369 w 379471"/>
                <a:gd name="connsiteY209" fmla="*/ 108389 h 221490"/>
                <a:gd name="connsiteX210" fmla="*/ 347637 w 379471"/>
                <a:gd name="connsiteY210" fmla="*/ 108850 h 221490"/>
                <a:gd name="connsiteX211" fmla="*/ 347712 w 379471"/>
                <a:gd name="connsiteY211" fmla="*/ 110477 h 221490"/>
                <a:gd name="connsiteX212" fmla="*/ 348974 w 379471"/>
                <a:gd name="connsiteY212" fmla="*/ 111163 h 221490"/>
                <a:gd name="connsiteX213" fmla="*/ 349742 w 379471"/>
                <a:gd name="connsiteY213" fmla="*/ 111556 h 221490"/>
                <a:gd name="connsiteX214" fmla="*/ 350479 w 379471"/>
                <a:gd name="connsiteY214" fmla="*/ 112932 h 221490"/>
                <a:gd name="connsiteX215" fmla="*/ 351191 w 379471"/>
                <a:gd name="connsiteY215" fmla="*/ 114242 h 221490"/>
                <a:gd name="connsiteX216" fmla="*/ 351647 w 379471"/>
                <a:gd name="connsiteY216" fmla="*/ 117310 h 221490"/>
                <a:gd name="connsiteX217" fmla="*/ 353413 w 379471"/>
                <a:gd name="connsiteY217" fmla="*/ 117520 h 221490"/>
                <a:gd name="connsiteX218" fmla="*/ 355491 w 379471"/>
                <a:gd name="connsiteY218" fmla="*/ 118108 h 221490"/>
                <a:gd name="connsiteX219" fmla="*/ 356884 w 379471"/>
                <a:gd name="connsiteY219" fmla="*/ 117532 h 221490"/>
                <a:gd name="connsiteX220" fmla="*/ 357963 w 379471"/>
                <a:gd name="connsiteY220" fmla="*/ 117871 h 221490"/>
                <a:gd name="connsiteX221" fmla="*/ 358332 w 379471"/>
                <a:gd name="connsiteY221" fmla="*/ 119326 h 221490"/>
                <a:gd name="connsiteX222" fmla="*/ 358326 w 379471"/>
                <a:gd name="connsiteY222" fmla="*/ 120685 h 221490"/>
                <a:gd name="connsiteX223" fmla="*/ 358473 w 379471"/>
                <a:gd name="connsiteY223" fmla="*/ 121762 h 221490"/>
                <a:gd name="connsiteX224" fmla="*/ 359043 w 379471"/>
                <a:gd name="connsiteY224" fmla="*/ 122069 h 221490"/>
                <a:gd name="connsiteX225" fmla="*/ 360852 w 379471"/>
                <a:gd name="connsiteY225" fmla="*/ 121394 h 221490"/>
                <a:gd name="connsiteX226" fmla="*/ 362381 w 379471"/>
                <a:gd name="connsiteY226" fmla="*/ 121301 h 221490"/>
                <a:gd name="connsiteX227" fmla="*/ 363780 w 379471"/>
                <a:gd name="connsiteY227" fmla="*/ 121946 h 221490"/>
                <a:gd name="connsiteX228" fmla="*/ 365519 w 379471"/>
                <a:gd name="connsiteY228" fmla="*/ 122926 h 221490"/>
                <a:gd name="connsiteX229" fmla="*/ 368050 w 379471"/>
                <a:gd name="connsiteY229" fmla="*/ 125500 h 221490"/>
                <a:gd name="connsiteX230" fmla="*/ 368887 w 379471"/>
                <a:gd name="connsiteY230" fmla="*/ 125864 h 221490"/>
                <a:gd name="connsiteX231" fmla="*/ 372705 w 379471"/>
                <a:gd name="connsiteY231" fmla="*/ 126068 h 221490"/>
                <a:gd name="connsiteX232" fmla="*/ 373493 w 379471"/>
                <a:gd name="connsiteY232" fmla="*/ 126589 h 221490"/>
                <a:gd name="connsiteX233" fmla="*/ 374806 w 379471"/>
                <a:gd name="connsiteY233" fmla="*/ 126587 h 221490"/>
                <a:gd name="connsiteX234" fmla="*/ 376223 w 379471"/>
                <a:gd name="connsiteY234" fmla="*/ 126122 h 221490"/>
                <a:gd name="connsiteX235" fmla="*/ 379365 w 379471"/>
                <a:gd name="connsiteY235" fmla="*/ 126952 h 221490"/>
                <a:gd name="connsiteX236" fmla="*/ 379471 w 379471"/>
                <a:gd name="connsiteY236" fmla="*/ 127421 h 221490"/>
                <a:gd name="connsiteX237" fmla="*/ 378939 w 379471"/>
                <a:gd name="connsiteY237" fmla="*/ 128068 h 221490"/>
                <a:gd name="connsiteX238" fmla="*/ 371442 w 379471"/>
                <a:gd name="connsiteY238" fmla="*/ 131627 h 221490"/>
                <a:gd name="connsiteX239" fmla="*/ 370889 w 379471"/>
                <a:gd name="connsiteY239" fmla="*/ 132720 h 221490"/>
                <a:gd name="connsiteX240" fmla="*/ 369358 w 379471"/>
                <a:gd name="connsiteY240" fmla="*/ 134111 h 221490"/>
                <a:gd name="connsiteX241" fmla="*/ 367689 w 379471"/>
                <a:gd name="connsiteY241" fmla="*/ 134902 h 221490"/>
                <a:gd name="connsiteX242" fmla="*/ 366879 w 379471"/>
                <a:gd name="connsiteY242" fmla="*/ 134930 h 221490"/>
                <a:gd name="connsiteX243" fmla="*/ 363221 w 379471"/>
                <a:gd name="connsiteY243" fmla="*/ 133523 h 221490"/>
                <a:gd name="connsiteX244" fmla="*/ 362791 w 379471"/>
                <a:gd name="connsiteY244" fmla="*/ 133862 h 221490"/>
                <a:gd name="connsiteX245" fmla="*/ 362491 w 379471"/>
                <a:gd name="connsiteY245" fmla="*/ 134430 h 221490"/>
                <a:gd name="connsiteX246" fmla="*/ 362506 w 379471"/>
                <a:gd name="connsiteY246" fmla="*/ 135051 h 221490"/>
                <a:gd name="connsiteX247" fmla="*/ 363308 w 379471"/>
                <a:gd name="connsiteY247" fmla="*/ 136535 h 221490"/>
                <a:gd name="connsiteX248" fmla="*/ 362938 w 379471"/>
                <a:gd name="connsiteY248" fmla="*/ 137469 h 221490"/>
                <a:gd name="connsiteX249" fmla="*/ 362241 w 379471"/>
                <a:gd name="connsiteY249" fmla="*/ 138142 h 221490"/>
                <a:gd name="connsiteX250" fmla="*/ 359947 w 379471"/>
                <a:gd name="connsiteY250" fmla="*/ 137552 h 221490"/>
                <a:gd name="connsiteX251" fmla="*/ 359520 w 379471"/>
                <a:gd name="connsiteY251" fmla="*/ 137175 h 221490"/>
                <a:gd name="connsiteX252" fmla="*/ 359479 w 379471"/>
                <a:gd name="connsiteY252" fmla="*/ 136762 h 221490"/>
                <a:gd name="connsiteX253" fmla="*/ 358596 w 379471"/>
                <a:gd name="connsiteY253" fmla="*/ 136761 h 221490"/>
                <a:gd name="connsiteX254" fmla="*/ 357233 w 379471"/>
                <a:gd name="connsiteY254" fmla="*/ 137175 h 221490"/>
                <a:gd name="connsiteX255" fmla="*/ 354610 w 379471"/>
                <a:gd name="connsiteY255" fmla="*/ 139736 h 221490"/>
                <a:gd name="connsiteX256" fmla="*/ 353692 w 379471"/>
                <a:gd name="connsiteY256" fmla="*/ 141076 h 221490"/>
                <a:gd name="connsiteX257" fmla="*/ 353351 w 379471"/>
                <a:gd name="connsiteY257" fmla="*/ 141884 h 221490"/>
                <a:gd name="connsiteX258" fmla="*/ 352180 w 379471"/>
                <a:gd name="connsiteY258" fmla="*/ 142344 h 221490"/>
                <a:gd name="connsiteX259" fmla="*/ 350913 w 379471"/>
                <a:gd name="connsiteY259" fmla="*/ 142518 h 221490"/>
                <a:gd name="connsiteX260" fmla="*/ 349304 w 379471"/>
                <a:gd name="connsiteY260" fmla="*/ 143727 h 221490"/>
                <a:gd name="connsiteX261" fmla="*/ 347531 w 379471"/>
                <a:gd name="connsiteY261" fmla="*/ 144659 h 221490"/>
                <a:gd name="connsiteX262" fmla="*/ 346963 w 379471"/>
                <a:gd name="connsiteY262" fmla="*/ 143973 h 221490"/>
                <a:gd name="connsiteX263" fmla="*/ 346611 w 379471"/>
                <a:gd name="connsiteY263" fmla="*/ 143205 h 221490"/>
                <a:gd name="connsiteX264" fmla="*/ 346147 w 379471"/>
                <a:gd name="connsiteY264" fmla="*/ 142967 h 221490"/>
                <a:gd name="connsiteX265" fmla="*/ 345054 w 379471"/>
                <a:gd name="connsiteY265" fmla="*/ 143147 h 221490"/>
                <a:gd name="connsiteX266" fmla="*/ 343726 w 379471"/>
                <a:gd name="connsiteY266" fmla="*/ 143180 h 221490"/>
                <a:gd name="connsiteX267" fmla="*/ 342333 w 379471"/>
                <a:gd name="connsiteY267" fmla="*/ 142317 h 221490"/>
                <a:gd name="connsiteX268" fmla="*/ 340537 w 379471"/>
                <a:gd name="connsiteY268" fmla="*/ 141450 h 221490"/>
                <a:gd name="connsiteX269" fmla="*/ 338956 w 379471"/>
                <a:gd name="connsiteY269" fmla="*/ 141143 h 221490"/>
                <a:gd name="connsiteX270" fmla="*/ 334309 w 379471"/>
                <a:gd name="connsiteY270" fmla="*/ 141553 h 221490"/>
                <a:gd name="connsiteX271" fmla="*/ 332011 w 379471"/>
                <a:gd name="connsiteY271" fmla="*/ 141981 h 221490"/>
                <a:gd name="connsiteX272" fmla="*/ 331290 w 379471"/>
                <a:gd name="connsiteY272" fmla="*/ 142399 h 221490"/>
                <a:gd name="connsiteX273" fmla="*/ 329994 w 379471"/>
                <a:gd name="connsiteY273" fmla="*/ 142511 h 221490"/>
                <a:gd name="connsiteX274" fmla="*/ 324549 w 379471"/>
                <a:gd name="connsiteY274" fmla="*/ 143384 h 221490"/>
                <a:gd name="connsiteX275" fmla="*/ 323434 w 379471"/>
                <a:gd name="connsiteY275" fmla="*/ 143044 h 221490"/>
                <a:gd name="connsiteX276" fmla="*/ 322618 w 379471"/>
                <a:gd name="connsiteY276" fmla="*/ 141660 h 221490"/>
                <a:gd name="connsiteX277" fmla="*/ 321905 w 379471"/>
                <a:gd name="connsiteY277" fmla="*/ 140160 h 221490"/>
                <a:gd name="connsiteX278" fmla="*/ 320498 w 379471"/>
                <a:gd name="connsiteY278" fmla="*/ 139615 h 221490"/>
                <a:gd name="connsiteX279" fmla="*/ 318913 w 379471"/>
                <a:gd name="connsiteY279" fmla="*/ 139196 h 221490"/>
                <a:gd name="connsiteX280" fmla="*/ 318323 w 379471"/>
                <a:gd name="connsiteY280" fmla="*/ 138601 h 221490"/>
                <a:gd name="connsiteX281" fmla="*/ 318282 w 379471"/>
                <a:gd name="connsiteY281" fmla="*/ 137871 h 221490"/>
                <a:gd name="connsiteX282" fmla="*/ 318446 w 379471"/>
                <a:gd name="connsiteY282" fmla="*/ 137158 h 221490"/>
                <a:gd name="connsiteX283" fmla="*/ 318567 w 379471"/>
                <a:gd name="connsiteY283" fmla="*/ 136785 h 221490"/>
                <a:gd name="connsiteX284" fmla="*/ 322242 w 379471"/>
                <a:gd name="connsiteY284" fmla="*/ 133923 h 221490"/>
                <a:gd name="connsiteX285" fmla="*/ 325549 w 379471"/>
                <a:gd name="connsiteY285" fmla="*/ 131344 h 221490"/>
                <a:gd name="connsiteX286" fmla="*/ 325851 w 379471"/>
                <a:gd name="connsiteY286" fmla="*/ 131137 h 221490"/>
                <a:gd name="connsiteX287" fmla="*/ 326151 w 379471"/>
                <a:gd name="connsiteY287" fmla="*/ 130646 h 221490"/>
                <a:gd name="connsiteX288" fmla="*/ 326714 w 379471"/>
                <a:gd name="connsiteY288" fmla="*/ 129754 h 221490"/>
                <a:gd name="connsiteX289" fmla="*/ 326713 w 379471"/>
                <a:gd name="connsiteY289" fmla="*/ 129287 h 221490"/>
                <a:gd name="connsiteX290" fmla="*/ 324240 w 379471"/>
                <a:gd name="connsiteY290" fmla="*/ 128264 h 221490"/>
                <a:gd name="connsiteX291" fmla="*/ 324143 w 379471"/>
                <a:gd name="connsiteY291" fmla="*/ 127791 h 221490"/>
                <a:gd name="connsiteX292" fmla="*/ 324642 w 379471"/>
                <a:gd name="connsiteY292" fmla="*/ 127305 h 221490"/>
                <a:gd name="connsiteX293" fmla="*/ 324642 w 379471"/>
                <a:gd name="connsiteY293" fmla="*/ 126660 h 221490"/>
                <a:gd name="connsiteX294" fmla="*/ 322893 w 379471"/>
                <a:gd name="connsiteY294" fmla="*/ 124772 h 221490"/>
                <a:gd name="connsiteX295" fmla="*/ 319869 w 379471"/>
                <a:gd name="connsiteY295" fmla="*/ 121828 h 221490"/>
                <a:gd name="connsiteX296" fmla="*/ 318995 w 379471"/>
                <a:gd name="connsiteY296" fmla="*/ 121521 h 221490"/>
                <a:gd name="connsiteX297" fmla="*/ 318347 w 379471"/>
                <a:gd name="connsiteY297" fmla="*/ 121717 h 221490"/>
                <a:gd name="connsiteX298" fmla="*/ 317159 w 379471"/>
                <a:gd name="connsiteY298" fmla="*/ 124568 h 221490"/>
                <a:gd name="connsiteX299" fmla="*/ 316565 w 379471"/>
                <a:gd name="connsiteY299" fmla="*/ 125292 h 221490"/>
                <a:gd name="connsiteX300" fmla="*/ 313121 w 379471"/>
                <a:gd name="connsiteY300" fmla="*/ 127165 h 221490"/>
                <a:gd name="connsiteX301" fmla="*/ 310232 w 379471"/>
                <a:gd name="connsiteY301" fmla="*/ 128451 h 221490"/>
                <a:gd name="connsiteX302" fmla="*/ 305093 w 379471"/>
                <a:gd name="connsiteY302" fmla="*/ 130738 h 221490"/>
                <a:gd name="connsiteX303" fmla="*/ 303758 w 379471"/>
                <a:gd name="connsiteY303" fmla="*/ 131454 h 221490"/>
                <a:gd name="connsiteX304" fmla="*/ 302828 w 379471"/>
                <a:gd name="connsiteY304" fmla="*/ 131323 h 221490"/>
                <a:gd name="connsiteX305" fmla="*/ 301890 w 379471"/>
                <a:gd name="connsiteY305" fmla="*/ 130875 h 221490"/>
                <a:gd name="connsiteX306" fmla="*/ 299012 w 379471"/>
                <a:gd name="connsiteY306" fmla="*/ 128565 h 221490"/>
                <a:gd name="connsiteX307" fmla="*/ 297146 w 379471"/>
                <a:gd name="connsiteY307" fmla="*/ 127775 h 221490"/>
                <a:gd name="connsiteX308" fmla="*/ 295893 w 379471"/>
                <a:gd name="connsiteY308" fmla="*/ 128557 h 221490"/>
                <a:gd name="connsiteX309" fmla="*/ 294835 w 379471"/>
                <a:gd name="connsiteY309" fmla="*/ 129698 h 221490"/>
                <a:gd name="connsiteX310" fmla="*/ 294937 w 379471"/>
                <a:gd name="connsiteY310" fmla="*/ 132037 h 221490"/>
                <a:gd name="connsiteX311" fmla="*/ 293743 w 379471"/>
                <a:gd name="connsiteY311" fmla="*/ 133272 h 221490"/>
                <a:gd name="connsiteX312" fmla="*/ 292555 w 379471"/>
                <a:gd name="connsiteY312" fmla="*/ 133825 h 221490"/>
                <a:gd name="connsiteX313" fmla="*/ 294721 w 379471"/>
                <a:gd name="connsiteY313" fmla="*/ 140085 h 221490"/>
                <a:gd name="connsiteX314" fmla="*/ 294505 w 379471"/>
                <a:gd name="connsiteY314" fmla="*/ 140891 h 221490"/>
                <a:gd name="connsiteX315" fmla="*/ 292849 w 379471"/>
                <a:gd name="connsiteY315" fmla="*/ 141112 h 221490"/>
                <a:gd name="connsiteX316" fmla="*/ 294073 w 379471"/>
                <a:gd name="connsiteY316" fmla="*/ 143464 h 221490"/>
                <a:gd name="connsiteX317" fmla="*/ 293043 w 379471"/>
                <a:gd name="connsiteY317" fmla="*/ 143738 h 221490"/>
                <a:gd name="connsiteX318" fmla="*/ 290435 w 379471"/>
                <a:gd name="connsiteY318" fmla="*/ 143186 h 221490"/>
                <a:gd name="connsiteX319" fmla="*/ 286928 w 379471"/>
                <a:gd name="connsiteY319" fmla="*/ 142824 h 221490"/>
                <a:gd name="connsiteX320" fmla="*/ 280311 w 379471"/>
                <a:gd name="connsiteY320" fmla="*/ 143867 h 221490"/>
                <a:gd name="connsiteX321" fmla="*/ 279828 w 379471"/>
                <a:gd name="connsiteY321" fmla="*/ 144274 h 221490"/>
                <a:gd name="connsiteX322" fmla="*/ 279646 w 379471"/>
                <a:gd name="connsiteY322" fmla="*/ 144792 h 221490"/>
                <a:gd name="connsiteX323" fmla="*/ 280029 w 379471"/>
                <a:gd name="connsiteY323" fmla="*/ 145263 h 221490"/>
                <a:gd name="connsiteX324" fmla="*/ 283231 w 379471"/>
                <a:gd name="connsiteY324" fmla="*/ 145318 h 221490"/>
                <a:gd name="connsiteX325" fmla="*/ 286377 w 379471"/>
                <a:gd name="connsiteY325" fmla="*/ 145077 h 221490"/>
                <a:gd name="connsiteX326" fmla="*/ 287243 w 379471"/>
                <a:gd name="connsiteY326" fmla="*/ 145514 h 221490"/>
                <a:gd name="connsiteX327" fmla="*/ 287377 w 379471"/>
                <a:gd name="connsiteY327" fmla="*/ 146288 h 221490"/>
                <a:gd name="connsiteX328" fmla="*/ 287014 w 379471"/>
                <a:gd name="connsiteY328" fmla="*/ 146773 h 221490"/>
                <a:gd name="connsiteX329" fmla="*/ 285971 w 379471"/>
                <a:gd name="connsiteY329" fmla="*/ 146855 h 221490"/>
                <a:gd name="connsiteX330" fmla="*/ 283676 w 379471"/>
                <a:gd name="connsiteY330" fmla="*/ 147321 h 221490"/>
                <a:gd name="connsiteX331" fmla="*/ 283412 w 379471"/>
                <a:gd name="connsiteY331" fmla="*/ 147812 h 221490"/>
                <a:gd name="connsiteX332" fmla="*/ 283339 w 379471"/>
                <a:gd name="connsiteY332" fmla="*/ 148286 h 221490"/>
                <a:gd name="connsiteX333" fmla="*/ 284112 w 379471"/>
                <a:gd name="connsiteY333" fmla="*/ 149656 h 221490"/>
                <a:gd name="connsiteX334" fmla="*/ 284984 w 379471"/>
                <a:gd name="connsiteY334" fmla="*/ 150528 h 221490"/>
                <a:gd name="connsiteX335" fmla="*/ 285093 w 379471"/>
                <a:gd name="connsiteY335" fmla="*/ 151045 h 221490"/>
                <a:gd name="connsiteX336" fmla="*/ 284727 w 379471"/>
                <a:gd name="connsiteY336" fmla="*/ 151475 h 221490"/>
                <a:gd name="connsiteX337" fmla="*/ 284289 w 379471"/>
                <a:gd name="connsiteY337" fmla="*/ 151649 h 221490"/>
                <a:gd name="connsiteX338" fmla="*/ 283520 w 379471"/>
                <a:gd name="connsiteY338" fmla="*/ 151002 h 221490"/>
                <a:gd name="connsiteX339" fmla="*/ 283082 w 379471"/>
                <a:gd name="connsiteY339" fmla="*/ 151131 h 221490"/>
                <a:gd name="connsiteX340" fmla="*/ 282864 w 379471"/>
                <a:gd name="connsiteY340" fmla="*/ 151713 h 221490"/>
                <a:gd name="connsiteX341" fmla="*/ 282648 w 379471"/>
                <a:gd name="connsiteY341" fmla="*/ 152397 h 221490"/>
                <a:gd name="connsiteX342" fmla="*/ 282140 w 379471"/>
                <a:gd name="connsiteY342" fmla="*/ 152901 h 221490"/>
                <a:gd name="connsiteX343" fmla="*/ 281072 w 379471"/>
                <a:gd name="connsiteY343" fmla="*/ 152639 h 221490"/>
                <a:gd name="connsiteX344" fmla="*/ 280011 w 379471"/>
                <a:gd name="connsiteY344" fmla="*/ 152832 h 221490"/>
                <a:gd name="connsiteX345" fmla="*/ 279379 w 379471"/>
                <a:gd name="connsiteY345" fmla="*/ 155320 h 221490"/>
                <a:gd name="connsiteX346" fmla="*/ 278843 w 379471"/>
                <a:gd name="connsiteY346" fmla="*/ 158137 h 221490"/>
                <a:gd name="connsiteX347" fmla="*/ 277092 w 379471"/>
                <a:gd name="connsiteY347" fmla="*/ 160012 h 221490"/>
                <a:gd name="connsiteX348" fmla="*/ 276127 w 379471"/>
                <a:gd name="connsiteY348" fmla="*/ 160689 h 221490"/>
                <a:gd name="connsiteX349" fmla="*/ 274706 w 379471"/>
                <a:gd name="connsiteY349" fmla="*/ 160893 h 221490"/>
                <a:gd name="connsiteX350" fmla="*/ 272583 w 379471"/>
                <a:gd name="connsiteY350" fmla="*/ 160664 h 221490"/>
                <a:gd name="connsiteX351" fmla="*/ 271298 w 379471"/>
                <a:gd name="connsiteY351" fmla="*/ 160389 h 221490"/>
                <a:gd name="connsiteX352" fmla="*/ 267589 w 379471"/>
                <a:gd name="connsiteY352" fmla="*/ 159977 h 221490"/>
                <a:gd name="connsiteX353" fmla="*/ 263861 w 379471"/>
                <a:gd name="connsiteY353" fmla="*/ 159207 h 221490"/>
                <a:gd name="connsiteX354" fmla="*/ 259670 w 379471"/>
                <a:gd name="connsiteY354" fmla="*/ 158490 h 221490"/>
                <a:gd name="connsiteX355" fmla="*/ 255766 w 379471"/>
                <a:gd name="connsiteY355" fmla="*/ 160146 h 221490"/>
                <a:gd name="connsiteX356" fmla="*/ 254643 w 379471"/>
                <a:gd name="connsiteY356" fmla="*/ 161156 h 221490"/>
                <a:gd name="connsiteX357" fmla="*/ 253932 w 379471"/>
                <a:gd name="connsiteY357" fmla="*/ 162099 h 221490"/>
                <a:gd name="connsiteX358" fmla="*/ 253194 w 379471"/>
                <a:gd name="connsiteY358" fmla="*/ 162536 h 221490"/>
                <a:gd name="connsiteX359" fmla="*/ 251501 w 379471"/>
                <a:gd name="connsiteY359" fmla="*/ 168331 h 221490"/>
                <a:gd name="connsiteX360" fmla="*/ 251678 w 379471"/>
                <a:gd name="connsiteY360" fmla="*/ 168989 h 221490"/>
                <a:gd name="connsiteX361" fmla="*/ 252624 w 379471"/>
                <a:gd name="connsiteY361" fmla="*/ 169507 h 221490"/>
                <a:gd name="connsiteX362" fmla="*/ 257402 w 379471"/>
                <a:gd name="connsiteY362" fmla="*/ 170708 h 221490"/>
                <a:gd name="connsiteX363" fmla="*/ 258107 w 379471"/>
                <a:gd name="connsiteY363" fmla="*/ 171206 h 221490"/>
                <a:gd name="connsiteX364" fmla="*/ 258526 w 379471"/>
                <a:gd name="connsiteY364" fmla="*/ 171772 h 221490"/>
                <a:gd name="connsiteX365" fmla="*/ 258731 w 379471"/>
                <a:gd name="connsiteY365" fmla="*/ 174376 h 221490"/>
                <a:gd name="connsiteX366" fmla="*/ 259126 w 379471"/>
                <a:gd name="connsiteY366" fmla="*/ 174735 h 221490"/>
                <a:gd name="connsiteX367" fmla="*/ 260765 w 379471"/>
                <a:gd name="connsiteY367" fmla="*/ 175055 h 221490"/>
                <a:gd name="connsiteX368" fmla="*/ 263134 w 379471"/>
                <a:gd name="connsiteY368" fmla="*/ 175035 h 221490"/>
                <a:gd name="connsiteX369" fmla="*/ 264988 w 379471"/>
                <a:gd name="connsiteY369" fmla="*/ 174779 h 221490"/>
                <a:gd name="connsiteX370" fmla="*/ 266863 w 379471"/>
                <a:gd name="connsiteY370" fmla="*/ 175020 h 221490"/>
                <a:gd name="connsiteX371" fmla="*/ 268172 w 379471"/>
                <a:gd name="connsiteY371" fmla="*/ 175578 h 221490"/>
                <a:gd name="connsiteX372" fmla="*/ 268813 w 379471"/>
                <a:gd name="connsiteY372" fmla="*/ 176466 h 221490"/>
                <a:gd name="connsiteX373" fmla="*/ 269167 w 379471"/>
                <a:gd name="connsiteY373" fmla="*/ 177422 h 221490"/>
                <a:gd name="connsiteX374" fmla="*/ 266941 w 379471"/>
                <a:gd name="connsiteY374" fmla="*/ 183133 h 221490"/>
                <a:gd name="connsiteX375" fmla="*/ 267120 w 379471"/>
                <a:gd name="connsiteY375" fmla="*/ 185204 h 221490"/>
                <a:gd name="connsiteX376" fmla="*/ 267811 w 379471"/>
                <a:gd name="connsiteY376" fmla="*/ 188175 h 221490"/>
                <a:gd name="connsiteX377" fmla="*/ 269070 w 379471"/>
                <a:gd name="connsiteY377" fmla="*/ 190502 h 221490"/>
                <a:gd name="connsiteX378" fmla="*/ 271441 w 379471"/>
                <a:gd name="connsiteY378" fmla="*/ 192779 h 221490"/>
                <a:gd name="connsiteX379" fmla="*/ 273248 w 379471"/>
                <a:gd name="connsiteY379" fmla="*/ 194237 h 221490"/>
                <a:gd name="connsiteX380" fmla="*/ 273628 w 379471"/>
                <a:gd name="connsiteY380" fmla="*/ 194924 h 221490"/>
                <a:gd name="connsiteX381" fmla="*/ 273721 w 379471"/>
                <a:gd name="connsiteY381" fmla="*/ 195990 h 221490"/>
                <a:gd name="connsiteX382" fmla="*/ 273427 w 379471"/>
                <a:gd name="connsiteY382" fmla="*/ 197343 h 221490"/>
                <a:gd name="connsiteX383" fmla="*/ 272384 w 379471"/>
                <a:gd name="connsiteY383" fmla="*/ 199495 h 221490"/>
                <a:gd name="connsiteX384" fmla="*/ 271112 w 379471"/>
                <a:gd name="connsiteY384" fmla="*/ 201373 h 221490"/>
                <a:gd name="connsiteX385" fmla="*/ 269731 w 379471"/>
                <a:gd name="connsiteY385" fmla="*/ 202174 h 221490"/>
                <a:gd name="connsiteX386" fmla="*/ 267820 w 379471"/>
                <a:gd name="connsiteY386" fmla="*/ 204555 h 221490"/>
                <a:gd name="connsiteX387" fmla="*/ 266124 w 379471"/>
                <a:gd name="connsiteY387" fmla="*/ 207485 h 221490"/>
                <a:gd name="connsiteX388" fmla="*/ 262866 w 379471"/>
                <a:gd name="connsiteY388" fmla="*/ 211326 h 221490"/>
                <a:gd name="connsiteX389" fmla="*/ 261777 w 379471"/>
                <a:gd name="connsiteY389" fmla="*/ 213463 h 221490"/>
                <a:gd name="connsiteX390" fmla="*/ 261417 w 379471"/>
                <a:gd name="connsiteY390" fmla="*/ 219636 h 221490"/>
                <a:gd name="connsiteX391" fmla="*/ 260553 w 379471"/>
                <a:gd name="connsiteY391" fmla="*/ 221490 h 221490"/>
                <a:gd name="connsiteX392" fmla="*/ 260419 w 379471"/>
                <a:gd name="connsiteY392" fmla="*/ 220787 h 221490"/>
                <a:gd name="connsiteX393" fmla="*/ 259249 w 379471"/>
                <a:gd name="connsiteY393" fmla="*/ 220088 h 221490"/>
                <a:gd name="connsiteX394" fmla="*/ 257202 w 379471"/>
                <a:gd name="connsiteY394" fmla="*/ 220208 h 221490"/>
                <a:gd name="connsiteX395" fmla="*/ 255854 w 379471"/>
                <a:gd name="connsiteY395" fmla="*/ 219874 h 221490"/>
                <a:gd name="connsiteX396" fmla="*/ 255209 w 379471"/>
                <a:gd name="connsiteY396" fmla="*/ 219084 h 221490"/>
                <a:gd name="connsiteX397" fmla="*/ 253537 w 379471"/>
                <a:gd name="connsiteY397" fmla="*/ 219304 h 221490"/>
                <a:gd name="connsiteX398" fmla="*/ 250840 w 379471"/>
                <a:gd name="connsiteY398" fmla="*/ 220538 h 221490"/>
                <a:gd name="connsiteX399" fmla="*/ 248094 w 379471"/>
                <a:gd name="connsiteY399" fmla="*/ 219885 h 221490"/>
                <a:gd name="connsiteX400" fmla="*/ 245293 w 379471"/>
                <a:gd name="connsiteY400" fmla="*/ 217346 h 221490"/>
                <a:gd name="connsiteX401" fmla="*/ 239961 w 379471"/>
                <a:gd name="connsiteY401" fmla="*/ 216416 h 221490"/>
                <a:gd name="connsiteX402" fmla="*/ 233207 w 379471"/>
                <a:gd name="connsiteY402" fmla="*/ 216998 h 221490"/>
                <a:gd name="connsiteX403" fmla="*/ 232950 w 379471"/>
                <a:gd name="connsiteY403" fmla="*/ 214186 h 221490"/>
                <a:gd name="connsiteX404" fmla="*/ 232965 w 379471"/>
                <a:gd name="connsiteY404" fmla="*/ 210598 h 221490"/>
                <a:gd name="connsiteX405" fmla="*/ 233280 w 379471"/>
                <a:gd name="connsiteY405" fmla="*/ 205827 h 221490"/>
                <a:gd name="connsiteX406" fmla="*/ 235574 w 379471"/>
                <a:gd name="connsiteY406" fmla="*/ 202081 h 221490"/>
                <a:gd name="connsiteX407" fmla="*/ 235508 w 379471"/>
                <a:gd name="connsiteY407" fmla="*/ 201368 h 221490"/>
                <a:gd name="connsiteX408" fmla="*/ 235064 w 379471"/>
                <a:gd name="connsiteY408" fmla="*/ 200680 h 221490"/>
                <a:gd name="connsiteX409" fmla="*/ 234362 w 379471"/>
                <a:gd name="connsiteY409" fmla="*/ 200062 h 221490"/>
                <a:gd name="connsiteX410" fmla="*/ 230277 w 379471"/>
                <a:gd name="connsiteY410" fmla="*/ 199033 h 221490"/>
                <a:gd name="connsiteX411" fmla="*/ 229074 w 379471"/>
                <a:gd name="connsiteY411" fmla="*/ 198488 h 221490"/>
                <a:gd name="connsiteX412" fmla="*/ 227489 w 379471"/>
                <a:gd name="connsiteY412" fmla="*/ 197310 h 221490"/>
                <a:gd name="connsiteX413" fmla="*/ 225487 w 379471"/>
                <a:gd name="connsiteY413" fmla="*/ 196062 h 221490"/>
                <a:gd name="connsiteX414" fmla="*/ 223755 w 379471"/>
                <a:gd name="connsiteY414" fmla="*/ 195204 h 221490"/>
                <a:gd name="connsiteX415" fmla="*/ 221021 w 379471"/>
                <a:gd name="connsiteY415" fmla="*/ 194071 h 221490"/>
                <a:gd name="connsiteX416" fmla="*/ 218499 w 379471"/>
                <a:gd name="connsiteY416" fmla="*/ 193441 h 221490"/>
                <a:gd name="connsiteX417" fmla="*/ 217020 w 379471"/>
                <a:gd name="connsiteY417" fmla="*/ 193922 h 221490"/>
                <a:gd name="connsiteX418" fmla="*/ 215655 w 379471"/>
                <a:gd name="connsiteY418" fmla="*/ 194530 h 221490"/>
                <a:gd name="connsiteX419" fmla="*/ 214381 w 379471"/>
                <a:gd name="connsiteY419" fmla="*/ 194547 h 221490"/>
                <a:gd name="connsiteX420" fmla="*/ 213099 w 379471"/>
                <a:gd name="connsiteY420" fmla="*/ 194216 h 221490"/>
                <a:gd name="connsiteX421" fmla="*/ 208383 w 379471"/>
                <a:gd name="connsiteY421" fmla="*/ 191383 h 221490"/>
                <a:gd name="connsiteX422" fmla="*/ 201242 w 379471"/>
                <a:gd name="connsiteY422" fmla="*/ 186478 h 221490"/>
                <a:gd name="connsiteX423" fmla="*/ 195581 w 379471"/>
                <a:gd name="connsiteY423" fmla="*/ 183051 h 221490"/>
                <a:gd name="connsiteX424" fmla="*/ 192027 w 379471"/>
                <a:gd name="connsiteY424" fmla="*/ 181412 h 221490"/>
                <a:gd name="connsiteX425" fmla="*/ 191185 w 379471"/>
                <a:gd name="connsiteY425" fmla="*/ 180886 h 221490"/>
                <a:gd name="connsiteX426" fmla="*/ 189190 w 379471"/>
                <a:gd name="connsiteY426" fmla="*/ 179343 h 221490"/>
                <a:gd name="connsiteX427" fmla="*/ 184288 w 379471"/>
                <a:gd name="connsiteY427" fmla="*/ 175183 h 221490"/>
                <a:gd name="connsiteX428" fmla="*/ 181034 w 379471"/>
                <a:gd name="connsiteY428" fmla="*/ 175795 h 221490"/>
                <a:gd name="connsiteX429" fmla="*/ 176384 w 379471"/>
                <a:gd name="connsiteY429" fmla="*/ 173087 h 221490"/>
                <a:gd name="connsiteX430" fmla="*/ 172208 w 379471"/>
                <a:gd name="connsiteY430" fmla="*/ 170443 h 221490"/>
                <a:gd name="connsiteX431" fmla="*/ 171260 w 379471"/>
                <a:gd name="connsiteY431" fmla="*/ 169728 h 221490"/>
                <a:gd name="connsiteX432" fmla="*/ 166512 w 379471"/>
                <a:gd name="connsiteY432" fmla="*/ 164832 h 221490"/>
                <a:gd name="connsiteX433" fmla="*/ 161776 w 379471"/>
                <a:gd name="connsiteY433" fmla="*/ 161655 h 221490"/>
                <a:gd name="connsiteX434" fmla="*/ 156607 w 379471"/>
                <a:gd name="connsiteY434" fmla="*/ 158184 h 221490"/>
                <a:gd name="connsiteX435" fmla="*/ 153262 w 379471"/>
                <a:gd name="connsiteY435" fmla="*/ 156009 h 221490"/>
                <a:gd name="connsiteX436" fmla="*/ 147598 w 379471"/>
                <a:gd name="connsiteY436" fmla="*/ 152321 h 221490"/>
                <a:gd name="connsiteX437" fmla="*/ 144829 w 379471"/>
                <a:gd name="connsiteY437" fmla="*/ 150091 h 221490"/>
                <a:gd name="connsiteX438" fmla="*/ 143895 w 379471"/>
                <a:gd name="connsiteY438" fmla="*/ 149269 h 221490"/>
                <a:gd name="connsiteX439" fmla="*/ 142975 w 379471"/>
                <a:gd name="connsiteY439" fmla="*/ 147689 h 221490"/>
                <a:gd name="connsiteX440" fmla="*/ 141502 w 379471"/>
                <a:gd name="connsiteY440" fmla="*/ 139962 h 221490"/>
                <a:gd name="connsiteX441" fmla="*/ 139800 w 379471"/>
                <a:gd name="connsiteY441" fmla="*/ 136420 h 221490"/>
                <a:gd name="connsiteX442" fmla="*/ 137378 w 379471"/>
                <a:gd name="connsiteY442" fmla="*/ 134489 h 221490"/>
                <a:gd name="connsiteX443" fmla="*/ 135311 w 379471"/>
                <a:gd name="connsiteY443" fmla="*/ 130764 h 221490"/>
                <a:gd name="connsiteX444" fmla="*/ 133599 w 379471"/>
                <a:gd name="connsiteY444" fmla="*/ 125237 h 221490"/>
                <a:gd name="connsiteX445" fmla="*/ 132182 w 379471"/>
                <a:gd name="connsiteY445" fmla="*/ 121639 h 221490"/>
                <a:gd name="connsiteX446" fmla="*/ 131061 w 379471"/>
                <a:gd name="connsiteY446" fmla="*/ 119978 h 221490"/>
                <a:gd name="connsiteX447" fmla="*/ 128785 w 379471"/>
                <a:gd name="connsiteY447" fmla="*/ 118142 h 221490"/>
                <a:gd name="connsiteX448" fmla="*/ 125350 w 379471"/>
                <a:gd name="connsiteY448" fmla="*/ 116128 h 221490"/>
                <a:gd name="connsiteX449" fmla="*/ 122087 w 379471"/>
                <a:gd name="connsiteY449" fmla="*/ 115173 h 221490"/>
                <a:gd name="connsiteX450" fmla="*/ 120908 w 379471"/>
                <a:gd name="connsiteY450" fmla="*/ 115212 h 221490"/>
                <a:gd name="connsiteX451" fmla="*/ 120327 w 379471"/>
                <a:gd name="connsiteY451" fmla="*/ 115461 h 221490"/>
                <a:gd name="connsiteX452" fmla="*/ 119666 w 379471"/>
                <a:gd name="connsiteY452" fmla="*/ 115804 h 221490"/>
                <a:gd name="connsiteX453" fmla="*/ 118371 w 379471"/>
                <a:gd name="connsiteY453" fmla="*/ 117307 h 221490"/>
                <a:gd name="connsiteX454" fmla="*/ 116457 w 379471"/>
                <a:gd name="connsiteY454" fmla="*/ 117463 h 221490"/>
                <a:gd name="connsiteX455" fmla="*/ 115062 w 379471"/>
                <a:gd name="connsiteY455" fmla="*/ 117427 h 221490"/>
                <a:gd name="connsiteX456" fmla="*/ 113750 w 379471"/>
                <a:gd name="connsiteY456" fmla="*/ 116891 h 221490"/>
                <a:gd name="connsiteX457" fmla="*/ 109621 w 379471"/>
                <a:gd name="connsiteY457" fmla="*/ 116414 h 221490"/>
                <a:gd name="connsiteX458" fmla="*/ 108161 w 379471"/>
                <a:gd name="connsiteY458" fmla="*/ 115895 h 221490"/>
                <a:gd name="connsiteX459" fmla="*/ 105678 w 379471"/>
                <a:gd name="connsiteY459" fmla="*/ 115972 h 221490"/>
                <a:gd name="connsiteX460" fmla="*/ 100342 w 379471"/>
                <a:gd name="connsiteY460" fmla="*/ 116753 h 221490"/>
                <a:gd name="connsiteX461" fmla="*/ 99046 w 379471"/>
                <a:gd name="connsiteY461" fmla="*/ 116608 h 221490"/>
                <a:gd name="connsiteX462" fmla="*/ 93408 w 379471"/>
                <a:gd name="connsiteY462" fmla="*/ 113250 h 221490"/>
                <a:gd name="connsiteX463" fmla="*/ 90968 w 379471"/>
                <a:gd name="connsiteY463" fmla="*/ 111918 h 221490"/>
                <a:gd name="connsiteX464" fmla="*/ 90475 w 379471"/>
                <a:gd name="connsiteY464" fmla="*/ 111181 h 221490"/>
                <a:gd name="connsiteX465" fmla="*/ 90506 w 379471"/>
                <a:gd name="connsiteY465" fmla="*/ 109890 h 221490"/>
                <a:gd name="connsiteX466" fmla="*/ 91331 w 379471"/>
                <a:gd name="connsiteY466" fmla="*/ 108066 h 221490"/>
                <a:gd name="connsiteX467" fmla="*/ 92037 w 379471"/>
                <a:gd name="connsiteY467" fmla="*/ 106773 h 221490"/>
                <a:gd name="connsiteX468" fmla="*/ 91728 w 379471"/>
                <a:gd name="connsiteY468" fmla="*/ 105428 h 221490"/>
                <a:gd name="connsiteX469" fmla="*/ 90657 w 379471"/>
                <a:gd name="connsiteY469" fmla="*/ 103957 h 221490"/>
                <a:gd name="connsiteX470" fmla="*/ 90657 w 379471"/>
                <a:gd name="connsiteY470" fmla="*/ 102391 h 221490"/>
                <a:gd name="connsiteX471" fmla="*/ 91387 w 379471"/>
                <a:gd name="connsiteY471" fmla="*/ 101517 h 221490"/>
                <a:gd name="connsiteX472" fmla="*/ 92886 w 379471"/>
                <a:gd name="connsiteY472" fmla="*/ 101793 h 221490"/>
                <a:gd name="connsiteX473" fmla="*/ 93425 w 379471"/>
                <a:gd name="connsiteY473" fmla="*/ 101240 h 221490"/>
                <a:gd name="connsiteX474" fmla="*/ 93233 w 379471"/>
                <a:gd name="connsiteY474" fmla="*/ 100411 h 221490"/>
                <a:gd name="connsiteX475" fmla="*/ 92426 w 379471"/>
                <a:gd name="connsiteY475" fmla="*/ 99811 h 221490"/>
                <a:gd name="connsiteX476" fmla="*/ 91350 w 379471"/>
                <a:gd name="connsiteY476" fmla="*/ 98475 h 221490"/>
                <a:gd name="connsiteX477" fmla="*/ 88158 w 379471"/>
                <a:gd name="connsiteY477" fmla="*/ 97229 h 221490"/>
                <a:gd name="connsiteX478" fmla="*/ 87698 w 379471"/>
                <a:gd name="connsiteY478" fmla="*/ 96721 h 221490"/>
                <a:gd name="connsiteX479" fmla="*/ 87865 w 379471"/>
                <a:gd name="connsiteY479" fmla="*/ 96140 h 221490"/>
                <a:gd name="connsiteX480" fmla="*/ 88414 w 379471"/>
                <a:gd name="connsiteY480" fmla="*/ 95519 h 221490"/>
                <a:gd name="connsiteX481" fmla="*/ 88526 w 379471"/>
                <a:gd name="connsiteY481" fmla="*/ 94211 h 221490"/>
                <a:gd name="connsiteX482" fmla="*/ 88580 w 379471"/>
                <a:gd name="connsiteY482" fmla="*/ 92519 h 221490"/>
                <a:gd name="connsiteX483" fmla="*/ 89003 w 379471"/>
                <a:gd name="connsiteY483" fmla="*/ 91641 h 221490"/>
                <a:gd name="connsiteX484" fmla="*/ 89120 w 379471"/>
                <a:gd name="connsiteY484" fmla="*/ 90948 h 221490"/>
                <a:gd name="connsiteX485" fmla="*/ 88657 w 379471"/>
                <a:gd name="connsiteY485" fmla="*/ 90392 h 221490"/>
                <a:gd name="connsiteX486" fmla="*/ 87582 w 379471"/>
                <a:gd name="connsiteY486" fmla="*/ 89745 h 221490"/>
                <a:gd name="connsiteX487" fmla="*/ 85852 w 379471"/>
                <a:gd name="connsiteY487" fmla="*/ 88171 h 221490"/>
                <a:gd name="connsiteX488" fmla="*/ 83736 w 379471"/>
                <a:gd name="connsiteY488" fmla="*/ 88001 h 221490"/>
                <a:gd name="connsiteX489" fmla="*/ 76848 w 379471"/>
                <a:gd name="connsiteY489" fmla="*/ 88056 h 221490"/>
                <a:gd name="connsiteX490" fmla="*/ 74708 w 379471"/>
                <a:gd name="connsiteY490" fmla="*/ 87423 h 221490"/>
                <a:gd name="connsiteX491" fmla="*/ 72989 w 379471"/>
                <a:gd name="connsiteY491" fmla="*/ 86547 h 221490"/>
                <a:gd name="connsiteX492" fmla="*/ 71277 w 379471"/>
                <a:gd name="connsiteY492" fmla="*/ 83202 h 221490"/>
                <a:gd name="connsiteX493" fmla="*/ 70402 w 379471"/>
                <a:gd name="connsiteY493" fmla="*/ 82409 h 221490"/>
                <a:gd name="connsiteX494" fmla="*/ 69596 w 379471"/>
                <a:gd name="connsiteY494" fmla="*/ 82079 h 221490"/>
                <a:gd name="connsiteX495" fmla="*/ 67666 w 379471"/>
                <a:gd name="connsiteY495" fmla="*/ 81963 h 221490"/>
                <a:gd name="connsiteX496" fmla="*/ 65345 w 379471"/>
                <a:gd name="connsiteY496" fmla="*/ 81639 h 221490"/>
                <a:gd name="connsiteX497" fmla="*/ 64153 w 379471"/>
                <a:gd name="connsiteY497" fmla="*/ 81073 h 221490"/>
                <a:gd name="connsiteX498" fmla="*/ 60903 w 379471"/>
                <a:gd name="connsiteY498" fmla="*/ 78011 h 221490"/>
                <a:gd name="connsiteX499" fmla="*/ 57787 w 379471"/>
                <a:gd name="connsiteY499" fmla="*/ 75276 h 221490"/>
                <a:gd name="connsiteX500" fmla="*/ 56532 w 379471"/>
                <a:gd name="connsiteY500" fmla="*/ 77857 h 221490"/>
                <a:gd name="connsiteX501" fmla="*/ 55312 w 379471"/>
                <a:gd name="connsiteY501" fmla="*/ 78367 h 221490"/>
                <a:gd name="connsiteX502" fmla="*/ 52570 w 379471"/>
                <a:gd name="connsiteY502" fmla="*/ 78129 h 221490"/>
                <a:gd name="connsiteX503" fmla="*/ 50503 w 379471"/>
                <a:gd name="connsiteY503" fmla="*/ 77692 h 221490"/>
                <a:gd name="connsiteX504" fmla="*/ 49326 w 379471"/>
                <a:gd name="connsiteY504" fmla="*/ 78274 h 221490"/>
                <a:gd name="connsiteX505" fmla="*/ 48113 w 379471"/>
                <a:gd name="connsiteY505" fmla="*/ 79296 h 221490"/>
                <a:gd name="connsiteX506" fmla="*/ 48344 w 379471"/>
                <a:gd name="connsiteY506" fmla="*/ 79966 h 221490"/>
                <a:gd name="connsiteX507" fmla="*/ 49274 w 379471"/>
                <a:gd name="connsiteY507" fmla="*/ 80676 h 221490"/>
                <a:gd name="connsiteX508" fmla="*/ 51144 w 379471"/>
                <a:gd name="connsiteY508" fmla="*/ 81985 h 221490"/>
                <a:gd name="connsiteX509" fmla="*/ 54008 w 379471"/>
                <a:gd name="connsiteY509" fmla="*/ 85201 h 221490"/>
                <a:gd name="connsiteX510" fmla="*/ 55308 w 379471"/>
                <a:gd name="connsiteY510" fmla="*/ 86974 h 221490"/>
                <a:gd name="connsiteX511" fmla="*/ 55504 w 379471"/>
                <a:gd name="connsiteY511" fmla="*/ 87594 h 221490"/>
                <a:gd name="connsiteX512" fmla="*/ 55252 w 379471"/>
                <a:gd name="connsiteY512" fmla="*/ 88060 h 221490"/>
                <a:gd name="connsiteX513" fmla="*/ 54867 w 379471"/>
                <a:gd name="connsiteY513" fmla="*/ 88261 h 221490"/>
                <a:gd name="connsiteX514" fmla="*/ 54302 w 379471"/>
                <a:gd name="connsiteY514" fmla="*/ 88254 h 221490"/>
                <a:gd name="connsiteX515" fmla="*/ 53542 w 379471"/>
                <a:gd name="connsiteY515" fmla="*/ 88243 h 221490"/>
                <a:gd name="connsiteX516" fmla="*/ 53101 w 379471"/>
                <a:gd name="connsiteY516" fmla="*/ 87711 h 221490"/>
                <a:gd name="connsiteX517" fmla="*/ 52954 w 379471"/>
                <a:gd name="connsiteY517" fmla="*/ 86797 h 221490"/>
                <a:gd name="connsiteX518" fmla="*/ 51998 w 379471"/>
                <a:gd name="connsiteY518" fmla="*/ 85408 h 221490"/>
                <a:gd name="connsiteX519" fmla="*/ 51017 w 379471"/>
                <a:gd name="connsiteY519" fmla="*/ 84610 h 221490"/>
                <a:gd name="connsiteX520" fmla="*/ 49938 w 379471"/>
                <a:gd name="connsiteY520" fmla="*/ 84108 h 221490"/>
                <a:gd name="connsiteX521" fmla="*/ 48424 w 379471"/>
                <a:gd name="connsiteY521" fmla="*/ 83738 h 221490"/>
                <a:gd name="connsiteX522" fmla="*/ 46430 w 379471"/>
                <a:gd name="connsiteY522" fmla="*/ 83073 h 221490"/>
                <a:gd name="connsiteX523" fmla="*/ 45401 w 379471"/>
                <a:gd name="connsiteY523" fmla="*/ 83043 h 221490"/>
                <a:gd name="connsiteX524" fmla="*/ 44396 w 379471"/>
                <a:gd name="connsiteY524" fmla="*/ 83812 h 221490"/>
                <a:gd name="connsiteX525" fmla="*/ 43561 w 379471"/>
                <a:gd name="connsiteY525" fmla="*/ 84846 h 221490"/>
                <a:gd name="connsiteX526" fmla="*/ 43069 w 379471"/>
                <a:gd name="connsiteY526" fmla="*/ 87106 h 221490"/>
                <a:gd name="connsiteX527" fmla="*/ 41576 w 379471"/>
                <a:gd name="connsiteY527" fmla="*/ 89878 h 221490"/>
                <a:gd name="connsiteX528" fmla="*/ 40654 w 379471"/>
                <a:gd name="connsiteY528" fmla="*/ 90974 h 221490"/>
                <a:gd name="connsiteX529" fmla="*/ 37821 w 379471"/>
                <a:gd name="connsiteY529" fmla="*/ 91640 h 221490"/>
                <a:gd name="connsiteX530" fmla="*/ 31090 w 379471"/>
                <a:gd name="connsiteY530" fmla="*/ 91866 h 221490"/>
                <a:gd name="connsiteX531" fmla="*/ 29076 w 379471"/>
                <a:gd name="connsiteY531" fmla="*/ 92730 h 221490"/>
                <a:gd name="connsiteX532" fmla="*/ 27709 w 379471"/>
                <a:gd name="connsiteY532" fmla="*/ 93775 h 221490"/>
                <a:gd name="connsiteX533" fmla="*/ 25161 w 379471"/>
                <a:gd name="connsiteY533" fmla="*/ 97156 h 221490"/>
                <a:gd name="connsiteX534" fmla="*/ 23394 w 379471"/>
                <a:gd name="connsiteY534" fmla="*/ 98278 h 221490"/>
                <a:gd name="connsiteX535" fmla="*/ 21855 w 379471"/>
                <a:gd name="connsiteY535" fmla="*/ 99824 h 221490"/>
                <a:gd name="connsiteX536" fmla="*/ 22314 w 379471"/>
                <a:gd name="connsiteY536" fmla="*/ 104783 h 221490"/>
                <a:gd name="connsiteX537" fmla="*/ 23051 w 379471"/>
                <a:gd name="connsiteY537" fmla="*/ 110567 h 221490"/>
                <a:gd name="connsiteX538" fmla="*/ 24345 w 379471"/>
                <a:gd name="connsiteY538" fmla="*/ 112167 h 221490"/>
                <a:gd name="connsiteX539" fmla="*/ 25167 w 379471"/>
                <a:gd name="connsiteY539" fmla="*/ 112648 h 221490"/>
                <a:gd name="connsiteX540" fmla="*/ 25277 w 379471"/>
                <a:gd name="connsiteY540" fmla="*/ 113215 h 221490"/>
                <a:gd name="connsiteX541" fmla="*/ 24746 w 379471"/>
                <a:gd name="connsiteY541" fmla="*/ 113716 h 221490"/>
                <a:gd name="connsiteX542" fmla="*/ 24070 w 379471"/>
                <a:gd name="connsiteY542" fmla="*/ 114350 h 221490"/>
                <a:gd name="connsiteX543" fmla="*/ 23047 w 379471"/>
                <a:gd name="connsiteY543" fmla="*/ 115505 h 221490"/>
                <a:gd name="connsiteX544" fmla="*/ 21894 w 379471"/>
                <a:gd name="connsiteY544" fmla="*/ 115461 h 221490"/>
                <a:gd name="connsiteX545" fmla="*/ 19572 w 379471"/>
                <a:gd name="connsiteY545" fmla="*/ 115172 h 221490"/>
                <a:gd name="connsiteX546" fmla="*/ 17644 w 379471"/>
                <a:gd name="connsiteY546" fmla="*/ 114859 h 221490"/>
                <a:gd name="connsiteX547" fmla="*/ 11148 w 379471"/>
                <a:gd name="connsiteY547" fmla="*/ 114525 h 221490"/>
                <a:gd name="connsiteX548" fmla="*/ 5888 w 379471"/>
                <a:gd name="connsiteY548" fmla="*/ 114256 h 221490"/>
                <a:gd name="connsiteX549" fmla="*/ 38 w 379471"/>
                <a:gd name="connsiteY549" fmla="*/ 113956 h 221490"/>
                <a:gd name="connsiteX550" fmla="*/ 36 w 379471"/>
                <a:gd name="connsiteY550" fmla="*/ 107893 h 221490"/>
                <a:gd name="connsiteX551" fmla="*/ 32 w 379471"/>
                <a:gd name="connsiteY551" fmla="*/ 101817 h 221490"/>
                <a:gd name="connsiteX552" fmla="*/ 30 w 379471"/>
                <a:gd name="connsiteY552" fmla="*/ 95729 h 221490"/>
                <a:gd name="connsiteX553" fmla="*/ 27 w 379471"/>
                <a:gd name="connsiteY553" fmla="*/ 89628 h 221490"/>
                <a:gd name="connsiteX554" fmla="*/ 25 w 379471"/>
                <a:gd name="connsiteY554" fmla="*/ 83514 h 221490"/>
                <a:gd name="connsiteX555" fmla="*/ 23 w 379471"/>
                <a:gd name="connsiteY555" fmla="*/ 77387 h 221490"/>
                <a:gd name="connsiteX556" fmla="*/ 21 w 379471"/>
                <a:gd name="connsiteY556" fmla="*/ 71246 h 221490"/>
                <a:gd name="connsiteX557" fmla="*/ 19 w 379471"/>
                <a:gd name="connsiteY557" fmla="*/ 65093 h 221490"/>
                <a:gd name="connsiteX558" fmla="*/ 17 w 379471"/>
                <a:gd name="connsiteY558" fmla="*/ 58926 h 221490"/>
                <a:gd name="connsiteX559" fmla="*/ 15 w 379471"/>
                <a:gd name="connsiteY559" fmla="*/ 52745 h 221490"/>
                <a:gd name="connsiteX560" fmla="*/ 12 w 379471"/>
                <a:gd name="connsiteY560" fmla="*/ 46548 h 221490"/>
                <a:gd name="connsiteX561" fmla="*/ 10 w 379471"/>
                <a:gd name="connsiteY561" fmla="*/ 40339 h 221490"/>
                <a:gd name="connsiteX562" fmla="*/ 8 w 379471"/>
                <a:gd name="connsiteY562" fmla="*/ 34116 h 221490"/>
                <a:gd name="connsiteX563" fmla="*/ 6 w 379471"/>
                <a:gd name="connsiteY563" fmla="*/ 27879 h 221490"/>
                <a:gd name="connsiteX564" fmla="*/ 1 w 379471"/>
                <a:gd name="connsiteY564" fmla="*/ 21627 h 221490"/>
                <a:gd name="connsiteX565" fmla="*/ 0 w 379471"/>
                <a:gd name="connsiteY565" fmla="*/ 15361 h 221490"/>
                <a:gd name="connsiteX566" fmla="*/ 2759 w 379471"/>
                <a:gd name="connsiteY566" fmla="*/ 14582 h 221490"/>
                <a:gd name="connsiteX567" fmla="*/ 6240 w 379471"/>
                <a:gd name="connsiteY567" fmla="*/ 13600 h 221490"/>
                <a:gd name="connsiteX568" fmla="*/ 9585 w 379471"/>
                <a:gd name="connsiteY568" fmla="*/ 12657 h 221490"/>
                <a:gd name="connsiteX569" fmla="*/ 13556 w 379471"/>
                <a:gd name="connsiteY569" fmla="*/ 11536 h 221490"/>
                <a:gd name="connsiteX570" fmla="*/ 18048 w 379471"/>
                <a:gd name="connsiteY570" fmla="*/ 10269 h 221490"/>
                <a:gd name="connsiteX571" fmla="*/ 21876 w 379471"/>
                <a:gd name="connsiteY571" fmla="*/ 9186 h 221490"/>
                <a:gd name="connsiteX572" fmla="*/ 26446 w 379471"/>
                <a:gd name="connsiteY572" fmla="*/ 7895 h 221490"/>
                <a:gd name="connsiteX573" fmla="*/ 29931 w 379471"/>
                <a:gd name="connsiteY573" fmla="*/ 6909 h 221490"/>
                <a:gd name="connsiteX574" fmla="*/ 33204 w 379471"/>
                <a:gd name="connsiteY574" fmla="*/ 5983 h 221490"/>
                <a:gd name="connsiteX575" fmla="*/ 37391 w 379471"/>
                <a:gd name="connsiteY575" fmla="*/ 4886 h 221490"/>
                <a:gd name="connsiteX576" fmla="*/ 43900 w 379471"/>
                <a:gd name="connsiteY576" fmla="*/ 3177 h 221490"/>
                <a:gd name="connsiteX577" fmla="*/ 47530 w 379471"/>
                <a:gd name="connsiteY577" fmla="*/ 2225 h 221490"/>
                <a:gd name="connsiteX578" fmla="*/ 51199 w 379471"/>
                <a:gd name="connsiteY578" fmla="*/ 1262 h 221490"/>
                <a:gd name="connsiteX579" fmla="*/ 54699 w 379471"/>
                <a:gd name="connsiteY579" fmla="*/ 342 h 221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</a:cxnLst>
              <a:rect l="l" t="t" r="r" b="b"/>
              <a:pathLst>
                <a:path w="379471" h="221490">
                  <a:moveTo>
                    <a:pt x="349686" y="148756"/>
                  </a:moveTo>
                  <a:lnTo>
                    <a:pt x="349459" y="149931"/>
                  </a:lnTo>
                  <a:lnTo>
                    <a:pt x="348868" y="151054"/>
                  </a:lnTo>
                  <a:lnTo>
                    <a:pt x="347827" y="150786"/>
                  </a:lnTo>
                  <a:lnTo>
                    <a:pt x="347011" y="150039"/>
                  </a:lnTo>
                  <a:lnTo>
                    <a:pt x="347283" y="149451"/>
                  </a:lnTo>
                  <a:lnTo>
                    <a:pt x="348505" y="149130"/>
                  </a:lnTo>
                  <a:lnTo>
                    <a:pt x="349142" y="148810"/>
                  </a:lnTo>
                  <a:close/>
                  <a:moveTo>
                    <a:pt x="332340" y="144660"/>
                  </a:moveTo>
                  <a:lnTo>
                    <a:pt x="332752" y="144742"/>
                  </a:lnTo>
                  <a:lnTo>
                    <a:pt x="333996" y="146550"/>
                  </a:lnTo>
                  <a:lnTo>
                    <a:pt x="335100" y="147077"/>
                  </a:lnTo>
                  <a:lnTo>
                    <a:pt x="337276" y="147378"/>
                  </a:lnTo>
                  <a:lnTo>
                    <a:pt x="336184" y="149160"/>
                  </a:lnTo>
                  <a:lnTo>
                    <a:pt x="336987" y="151063"/>
                  </a:lnTo>
                  <a:lnTo>
                    <a:pt x="336777" y="151433"/>
                  </a:lnTo>
                  <a:lnTo>
                    <a:pt x="335674" y="151671"/>
                  </a:lnTo>
                  <a:lnTo>
                    <a:pt x="333640" y="151633"/>
                  </a:lnTo>
                  <a:lnTo>
                    <a:pt x="332478" y="151367"/>
                  </a:lnTo>
                  <a:lnTo>
                    <a:pt x="333184" y="149251"/>
                  </a:lnTo>
                  <a:lnTo>
                    <a:pt x="333210" y="148829"/>
                  </a:lnTo>
                  <a:lnTo>
                    <a:pt x="333126" y="148766"/>
                  </a:lnTo>
                  <a:lnTo>
                    <a:pt x="332538" y="148484"/>
                  </a:lnTo>
                  <a:lnTo>
                    <a:pt x="331653" y="147620"/>
                  </a:lnTo>
                  <a:lnTo>
                    <a:pt x="331349" y="146339"/>
                  </a:lnTo>
                  <a:lnTo>
                    <a:pt x="331694" y="145157"/>
                  </a:lnTo>
                  <a:close/>
                  <a:moveTo>
                    <a:pt x="322757" y="121792"/>
                  </a:moveTo>
                  <a:lnTo>
                    <a:pt x="322268" y="122053"/>
                  </a:lnTo>
                  <a:lnTo>
                    <a:pt x="322683" y="122922"/>
                  </a:lnTo>
                  <a:lnTo>
                    <a:pt x="323877" y="124169"/>
                  </a:lnTo>
                  <a:lnTo>
                    <a:pt x="324536" y="124111"/>
                  </a:lnTo>
                  <a:lnTo>
                    <a:pt x="324462" y="123475"/>
                  </a:lnTo>
                  <a:lnTo>
                    <a:pt x="323780" y="122401"/>
                  </a:lnTo>
                  <a:close/>
                  <a:moveTo>
                    <a:pt x="57040" y="0"/>
                  </a:moveTo>
                  <a:lnTo>
                    <a:pt x="59553" y="1313"/>
                  </a:lnTo>
                  <a:lnTo>
                    <a:pt x="62607" y="3120"/>
                  </a:lnTo>
                  <a:lnTo>
                    <a:pt x="65660" y="4926"/>
                  </a:lnTo>
                  <a:lnTo>
                    <a:pt x="68717" y="6730"/>
                  </a:lnTo>
                  <a:lnTo>
                    <a:pt x="71771" y="8533"/>
                  </a:lnTo>
                  <a:lnTo>
                    <a:pt x="74824" y="10336"/>
                  </a:lnTo>
                  <a:lnTo>
                    <a:pt x="77882" y="12136"/>
                  </a:lnTo>
                  <a:lnTo>
                    <a:pt x="80935" y="13935"/>
                  </a:lnTo>
                  <a:lnTo>
                    <a:pt x="83989" y="15733"/>
                  </a:lnTo>
                  <a:lnTo>
                    <a:pt x="87044" y="17528"/>
                  </a:lnTo>
                  <a:lnTo>
                    <a:pt x="90098" y="19325"/>
                  </a:lnTo>
                  <a:lnTo>
                    <a:pt x="93153" y="21120"/>
                  </a:lnTo>
                  <a:lnTo>
                    <a:pt x="96209" y="22913"/>
                  </a:lnTo>
                  <a:lnTo>
                    <a:pt x="99262" y="24705"/>
                  </a:lnTo>
                  <a:lnTo>
                    <a:pt x="102318" y="26497"/>
                  </a:lnTo>
                  <a:lnTo>
                    <a:pt x="105373" y="28286"/>
                  </a:lnTo>
                  <a:lnTo>
                    <a:pt x="108427" y="30075"/>
                  </a:lnTo>
                  <a:lnTo>
                    <a:pt x="111273" y="31740"/>
                  </a:lnTo>
                  <a:lnTo>
                    <a:pt x="112542" y="32974"/>
                  </a:lnTo>
                  <a:lnTo>
                    <a:pt x="113244" y="35691"/>
                  </a:lnTo>
                  <a:lnTo>
                    <a:pt x="114652" y="37851"/>
                  </a:lnTo>
                  <a:lnTo>
                    <a:pt x="117101" y="40190"/>
                  </a:lnTo>
                  <a:lnTo>
                    <a:pt x="119612" y="42581"/>
                  </a:lnTo>
                  <a:lnTo>
                    <a:pt x="122726" y="45738"/>
                  </a:lnTo>
                  <a:lnTo>
                    <a:pt x="124888" y="47927"/>
                  </a:lnTo>
                  <a:lnTo>
                    <a:pt x="127090" y="50157"/>
                  </a:lnTo>
                  <a:lnTo>
                    <a:pt x="130724" y="53833"/>
                  </a:lnTo>
                  <a:lnTo>
                    <a:pt x="132994" y="56126"/>
                  </a:lnTo>
                  <a:lnTo>
                    <a:pt x="134801" y="56201"/>
                  </a:lnTo>
                  <a:lnTo>
                    <a:pt x="138470" y="55656"/>
                  </a:lnTo>
                  <a:lnTo>
                    <a:pt x="143368" y="54928"/>
                  </a:lnTo>
                  <a:lnTo>
                    <a:pt x="147239" y="54352"/>
                  </a:lnTo>
                  <a:lnTo>
                    <a:pt x="151921" y="53655"/>
                  </a:lnTo>
                  <a:lnTo>
                    <a:pt x="156376" y="52991"/>
                  </a:lnTo>
                  <a:lnTo>
                    <a:pt x="159900" y="52466"/>
                  </a:lnTo>
                  <a:lnTo>
                    <a:pt x="165158" y="52863"/>
                  </a:lnTo>
                  <a:lnTo>
                    <a:pt x="170351" y="53257"/>
                  </a:lnTo>
                  <a:lnTo>
                    <a:pt x="174076" y="53540"/>
                  </a:lnTo>
                  <a:lnTo>
                    <a:pt x="177728" y="53818"/>
                  </a:lnTo>
                  <a:lnTo>
                    <a:pt x="182051" y="54144"/>
                  </a:lnTo>
                  <a:lnTo>
                    <a:pt x="184469" y="54327"/>
                  </a:lnTo>
                  <a:lnTo>
                    <a:pt x="187233" y="54536"/>
                  </a:lnTo>
                  <a:lnTo>
                    <a:pt x="188404" y="53985"/>
                  </a:lnTo>
                  <a:lnTo>
                    <a:pt x="190792" y="52857"/>
                  </a:lnTo>
                  <a:lnTo>
                    <a:pt x="193047" y="51792"/>
                  </a:lnTo>
                  <a:lnTo>
                    <a:pt x="195385" y="50686"/>
                  </a:lnTo>
                  <a:lnTo>
                    <a:pt x="197456" y="50127"/>
                  </a:lnTo>
                  <a:lnTo>
                    <a:pt x="199615" y="51897"/>
                  </a:lnTo>
                  <a:lnTo>
                    <a:pt x="201423" y="53929"/>
                  </a:lnTo>
                  <a:lnTo>
                    <a:pt x="203325" y="56071"/>
                  </a:lnTo>
                  <a:lnTo>
                    <a:pt x="205528" y="58134"/>
                  </a:lnTo>
                  <a:lnTo>
                    <a:pt x="207650" y="59358"/>
                  </a:lnTo>
                  <a:lnTo>
                    <a:pt x="210518" y="61011"/>
                  </a:lnTo>
                  <a:lnTo>
                    <a:pt x="212166" y="63842"/>
                  </a:lnTo>
                  <a:lnTo>
                    <a:pt x="214366" y="67614"/>
                  </a:lnTo>
                  <a:lnTo>
                    <a:pt x="215813" y="70093"/>
                  </a:lnTo>
                  <a:lnTo>
                    <a:pt x="217303" y="72641"/>
                  </a:lnTo>
                  <a:lnTo>
                    <a:pt x="219471" y="71636"/>
                  </a:lnTo>
                  <a:lnTo>
                    <a:pt x="221784" y="70562"/>
                  </a:lnTo>
                  <a:lnTo>
                    <a:pt x="223876" y="69592"/>
                  </a:lnTo>
                  <a:lnTo>
                    <a:pt x="223623" y="72737"/>
                  </a:lnTo>
                  <a:lnTo>
                    <a:pt x="223394" y="75592"/>
                  </a:lnTo>
                  <a:lnTo>
                    <a:pt x="223045" y="79907"/>
                  </a:lnTo>
                  <a:lnTo>
                    <a:pt x="222760" y="83440"/>
                  </a:lnTo>
                  <a:lnTo>
                    <a:pt x="222001" y="87649"/>
                  </a:lnTo>
                  <a:lnTo>
                    <a:pt x="221950" y="90851"/>
                  </a:lnTo>
                  <a:lnTo>
                    <a:pt x="221907" y="93661"/>
                  </a:lnTo>
                  <a:lnTo>
                    <a:pt x="221870" y="95889"/>
                  </a:lnTo>
                  <a:lnTo>
                    <a:pt x="225930" y="95989"/>
                  </a:lnTo>
                  <a:lnTo>
                    <a:pt x="228929" y="96062"/>
                  </a:lnTo>
                  <a:lnTo>
                    <a:pt x="232684" y="96154"/>
                  </a:lnTo>
                  <a:lnTo>
                    <a:pt x="233047" y="98953"/>
                  </a:lnTo>
                  <a:lnTo>
                    <a:pt x="233552" y="102879"/>
                  </a:lnTo>
                  <a:lnTo>
                    <a:pt x="234319" y="106433"/>
                  </a:lnTo>
                  <a:lnTo>
                    <a:pt x="234962" y="109411"/>
                  </a:lnTo>
                  <a:lnTo>
                    <a:pt x="235927" y="113259"/>
                  </a:lnTo>
                  <a:lnTo>
                    <a:pt x="236444" y="115313"/>
                  </a:lnTo>
                  <a:lnTo>
                    <a:pt x="237351" y="117728"/>
                  </a:lnTo>
                  <a:lnTo>
                    <a:pt x="238238" y="118309"/>
                  </a:lnTo>
                  <a:lnTo>
                    <a:pt x="239663" y="118696"/>
                  </a:lnTo>
                  <a:lnTo>
                    <a:pt x="244626" y="118408"/>
                  </a:lnTo>
                  <a:lnTo>
                    <a:pt x="248746" y="118170"/>
                  </a:lnTo>
                  <a:lnTo>
                    <a:pt x="251987" y="117981"/>
                  </a:lnTo>
                  <a:lnTo>
                    <a:pt x="255446" y="117781"/>
                  </a:lnTo>
                  <a:lnTo>
                    <a:pt x="260024" y="117514"/>
                  </a:lnTo>
                  <a:lnTo>
                    <a:pt x="261572" y="118129"/>
                  </a:lnTo>
                  <a:lnTo>
                    <a:pt x="262913" y="117698"/>
                  </a:lnTo>
                  <a:lnTo>
                    <a:pt x="264462" y="117268"/>
                  </a:lnTo>
                  <a:lnTo>
                    <a:pt x="265693" y="119022"/>
                  </a:lnTo>
                  <a:lnTo>
                    <a:pt x="266319" y="119912"/>
                  </a:lnTo>
                  <a:lnTo>
                    <a:pt x="267195" y="120832"/>
                  </a:lnTo>
                  <a:lnTo>
                    <a:pt x="268383" y="121691"/>
                  </a:lnTo>
                  <a:lnTo>
                    <a:pt x="267880" y="123490"/>
                  </a:lnTo>
                  <a:lnTo>
                    <a:pt x="267144" y="126109"/>
                  </a:lnTo>
                  <a:lnTo>
                    <a:pt x="266936" y="127457"/>
                  </a:lnTo>
                  <a:lnTo>
                    <a:pt x="268366" y="128907"/>
                  </a:lnTo>
                  <a:lnTo>
                    <a:pt x="269426" y="129754"/>
                  </a:lnTo>
                  <a:lnTo>
                    <a:pt x="272337" y="131477"/>
                  </a:lnTo>
                  <a:lnTo>
                    <a:pt x="275060" y="132438"/>
                  </a:lnTo>
                  <a:lnTo>
                    <a:pt x="276843" y="132721"/>
                  </a:lnTo>
                  <a:lnTo>
                    <a:pt x="278545" y="132354"/>
                  </a:lnTo>
                  <a:lnTo>
                    <a:pt x="279165" y="131376"/>
                  </a:lnTo>
                  <a:lnTo>
                    <a:pt x="279009" y="130030"/>
                  </a:lnTo>
                  <a:lnTo>
                    <a:pt x="278189" y="128616"/>
                  </a:lnTo>
                  <a:lnTo>
                    <a:pt x="278249" y="126931"/>
                  </a:lnTo>
                  <a:lnTo>
                    <a:pt x="278798" y="125697"/>
                  </a:lnTo>
                  <a:lnTo>
                    <a:pt x="280538" y="123456"/>
                  </a:lnTo>
                  <a:lnTo>
                    <a:pt x="282182" y="121342"/>
                  </a:lnTo>
                  <a:lnTo>
                    <a:pt x="284704" y="119185"/>
                  </a:lnTo>
                  <a:lnTo>
                    <a:pt x="287705" y="117046"/>
                  </a:lnTo>
                  <a:lnTo>
                    <a:pt x="288956" y="115488"/>
                  </a:lnTo>
                  <a:lnTo>
                    <a:pt x="289431" y="112776"/>
                  </a:lnTo>
                  <a:lnTo>
                    <a:pt x="291391" y="111236"/>
                  </a:lnTo>
                  <a:lnTo>
                    <a:pt x="293508" y="110312"/>
                  </a:lnTo>
                  <a:lnTo>
                    <a:pt x="296140" y="109510"/>
                  </a:lnTo>
                  <a:lnTo>
                    <a:pt x="296861" y="108154"/>
                  </a:lnTo>
                  <a:lnTo>
                    <a:pt x="300491" y="105849"/>
                  </a:lnTo>
                  <a:lnTo>
                    <a:pt x="302674" y="104710"/>
                  </a:lnTo>
                  <a:lnTo>
                    <a:pt x="305421" y="104043"/>
                  </a:lnTo>
                  <a:lnTo>
                    <a:pt x="309221" y="102540"/>
                  </a:lnTo>
                  <a:lnTo>
                    <a:pt x="312221" y="100780"/>
                  </a:lnTo>
                  <a:lnTo>
                    <a:pt x="315101" y="97452"/>
                  </a:lnTo>
                  <a:lnTo>
                    <a:pt x="317379" y="95276"/>
                  </a:lnTo>
                  <a:lnTo>
                    <a:pt x="319306" y="93932"/>
                  </a:lnTo>
                  <a:lnTo>
                    <a:pt x="320921" y="93887"/>
                  </a:lnTo>
                  <a:lnTo>
                    <a:pt x="322050" y="94971"/>
                  </a:lnTo>
                  <a:lnTo>
                    <a:pt x="323026" y="95062"/>
                  </a:lnTo>
                  <a:lnTo>
                    <a:pt x="323668" y="94565"/>
                  </a:lnTo>
                  <a:lnTo>
                    <a:pt x="324756" y="93164"/>
                  </a:lnTo>
                  <a:lnTo>
                    <a:pt x="325922" y="91537"/>
                  </a:lnTo>
                  <a:lnTo>
                    <a:pt x="327013" y="90858"/>
                  </a:lnTo>
                  <a:lnTo>
                    <a:pt x="329131" y="90512"/>
                  </a:lnTo>
                  <a:lnTo>
                    <a:pt x="331042" y="89409"/>
                  </a:lnTo>
                  <a:lnTo>
                    <a:pt x="331754" y="88933"/>
                  </a:lnTo>
                  <a:lnTo>
                    <a:pt x="333016" y="88451"/>
                  </a:lnTo>
                  <a:lnTo>
                    <a:pt x="335093" y="89374"/>
                  </a:lnTo>
                  <a:lnTo>
                    <a:pt x="336922" y="90533"/>
                  </a:lnTo>
                  <a:lnTo>
                    <a:pt x="337356" y="91069"/>
                  </a:lnTo>
                  <a:lnTo>
                    <a:pt x="337272" y="91691"/>
                  </a:lnTo>
                  <a:lnTo>
                    <a:pt x="332932" y="93953"/>
                  </a:lnTo>
                  <a:lnTo>
                    <a:pt x="330237" y="95010"/>
                  </a:lnTo>
                  <a:lnTo>
                    <a:pt x="329049" y="95200"/>
                  </a:lnTo>
                  <a:lnTo>
                    <a:pt x="328723" y="95497"/>
                  </a:lnTo>
                  <a:lnTo>
                    <a:pt x="327870" y="98071"/>
                  </a:lnTo>
                  <a:lnTo>
                    <a:pt x="326199" y="98533"/>
                  </a:lnTo>
                  <a:lnTo>
                    <a:pt x="324056" y="99322"/>
                  </a:lnTo>
                  <a:lnTo>
                    <a:pt x="322553" y="100506"/>
                  </a:lnTo>
                  <a:lnTo>
                    <a:pt x="320167" y="103308"/>
                  </a:lnTo>
                  <a:lnTo>
                    <a:pt x="314108" y="107373"/>
                  </a:lnTo>
                  <a:lnTo>
                    <a:pt x="314020" y="108205"/>
                  </a:lnTo>
                  <a:lnTo>
                    <a:pt x="314549" y="108879"/>
                  </a:lnTo>
                  <a:lnTo>
                    <a:pt x="316520" y="109345"/>
                  </a:lnTo>
                  <a:lnTo>
                    <a:pt x="319124" y="110594"/>
                  </a:lnTo>
                  <a:lnTo>
                    <a:pt x="320530" y="111569"/>
                  </a:lnTo>
                  <a:lnTo>
                    <a:pt x="324389" y="110309"/>
                  </a:lnTo>
                  <a:lnTo>
                    <a:pt x="325339" y="110587"/>
                  </a:lnTo>
                  <a:lnTo>
                    <a:pt x="326345" y="111889"/>
                  </a:lnTo>
                  <a:lnTo>
                    <a:pt x="327408" y="115531"/>
                  </a:lnTo>
                  <a:lnTo>
                    <a:pt x="329133" y="116522"/>
                  </a:lnTo>
                  <a:lnTo>
                    <a:pt x="331392" y="117284"/>
                  </a:lnTo>
                  <a:lnTo>
                    <a:pt x="332793" y="117532"/>
                  </a:lnTo>
                  <a:lnTo>
                    <a:pt x="334667" y="118427"/>
                  </a:lnTo>
                  <a:lnTo>
                    <a:pt x="337160" y="118761"/>
                  </a:lnTo>
                  <a:lnTo>
                    <a:pt x="338827" y="118430"/>
                  </a:lnTo>
                  <a:lnTo>
                    <a:pt x="340910" y="119197"/>
                  </a:lnTo>
                  <a:lnTo>
                    <a:pt x="341249" y="118864"/>
                  </a:lnTo>
                  <a:lnTo>
                    <a:pt x="341526" y="113437"/>
                  </a:lnTo>
                  <a:lnTo>
                    <a:pt x="343275" y="114345"/>
                  </a:lnTo>
                  <a:lnTo>
                    <a:pt x="344284" y="114329"/>
                  </a:lnTo>
                  <a:lnTo>
                    <a:pt x="345166" y="113665"/>
                  </a:lnTo>
                  <a:lnTo>
                    <a:pt x="345624" y="112763"/>
                  </a:lnTo>
                  <a:lnTo>
                    <a:pt x="345920" y="110967"/>
                  </a:lnTo>
                  <a:lnTo>
                    <a:pt x="345536" y="109175"/>
                  </a:lnTo>
                  <a:lnTo>
                    <a:pt x="346315" y="108358"/>
                  </a:lnTo>
                  <a:lnTo>
                    <a:pt x="346922" y="108173"/>
                  </a:lnTo>
                  <a:lnTo>
                    <a:pt x="347369" y="108389"/>
                  </a:lnTo>
                  <a:lnTo>
                    <a:pt x="347637" y="108850"/>
                  </a:lnTo>
                  <a:lnTo>
                    <a:pt x="347712" y="110477"/>
                  </a:lnTo>
                  <a:lnTo>
                    <a:pt x="348974" y="111163"/>
                  </a:lnTo>
                  <a:lnTo>
                    <a:pt x="349742" y="111556"/>
                  </a:lnTo>
                  <a:lnTo>
                    <a:pt x="350479" y="112932"/>
                  </a:lnTo>
                  <a:lnTo>
                    <a:pt x="351191" y="114242"/>
                  </a:lnTo>
                  <a:lnTo>
                    <a:pt x="351647" y="117310"/>
                  </a:lnTo>
                  <a:lnTo>
                    <a:pt x="353413" y="117520"/>
                  </a:lnTo>
                  <a:lnTo>
                    <a:pt x="355491" y="118108"/>
                  </a:lnTo>
                  <a:lnTo>
                    <a:pt x="356884" y="117532"/>
                  </a:lnTo>
                  <a:lnTo>
                    <a:pt x="357963" y="117871"/>
                  </a:lnTo>
                  <a:lnTo>
                    <a:pt x="358332" y="119326"/>
                  </a:lnTo>
                  <a:lnTo>
                    <a:pt x="358326" y="120685"/>
                  </a:lnTo>
                  <a:lnTo>
                    <a:pt x="358473" y="121762"/>
                  </a:lnTo>
                  <a:lnTo>
                    <a:pt x="359043" y="122069"/>
                  </a:lnTo>
                  <a:lnTo>
                    <a:pt x="360852" y="121394"/>
                  </a:lnTo>
                  <a:lnTo>
                    <a:pt x="362381" y="121301"/>
                  </a:lnTo>
                  <a:lnTo>
                    <a:pt x="363780" y="121946"/>
                  </a:lnTo>
                  <a:lnTo>
                    <a:pt x="365519" y="122926"/>
                  </a:lnTo>
                  <a:lnTo>
                    <a:pt x="368050" y="125500"/>
                  </a:lnTo>
                  <a:lnTo>
                    <a:pt x="368887" y="125864"/>
                  </a:lnTo>
                  <a:lnTo>
                    <a:pt x="372705" y="126068"/>
                  </a:lnTo>
                  <a:lnTo>
                    <a:pt x="373493" y="126589"/>
                  </a:lnTo>
                  <a:lnTo>
                    <a:pt x="374806" y="126587"/>
                  </a:lnTo>
                  <a:lnTo>
                    <a:pt x="376223" y="126122"/>
                  </a:lnTo>
                  <a:lnTo>
                    <a:pt x="379365" y="126952"/>
                  </a:lnTo>
                  <a:lnTo>
                    <a:pt x="379471" y="127421"/>
                  </a:lnTo>
                  <a:lnTo>
                    <a:pt x="378939" y="128068"/>
                  </a:lnTo>
                  <a:lnTo>
                    <a:pt x="371442" y="131627"/>
                  </a:lnTo>
                  <a:lnTo>
                    <a:pt x="370889" y="132720"/>
                  </a:lnTo>
                  <a:lnTo>
                    <a:pt x="369358" y="134111"/>
                  </a:lnTo>
                  <a:lnTo>
                    <a:pt x="367689" y="134902"/>
                  </a:lnTo>
                  <a:lnTo>
                    <a:pt x="366879" y="134930"/>
                  </a:lnTo>
                  <a:lnTo>
                    <a:pt x="363221" y="133523"/>
                  </a:lnTo>
                  <a:lnTo>
                    <a:pt x="362791" y="133862"/>
                  </a:lnTo>
                  <a:lnTo>
                    <a:pt x="362491" y="134430"/>
                  </a:lnTo>
                  <a:lnTo>
                    <a:pt x="362506" y="135051"/>
                  </a:lnTo>
                  <a:lnTo>
                    <a:pt x="363308" y="136535"/>
                  </a:lnTo>
                  <a:lnTo>
                    <a:pt x="362938" y="137469"/>
                  </a:lnTo>
                  <a:lnTo>
                    <a:pt x="362241" y="138142"/>
                  </a:lnTo>
                  <a:lnTo>
                    <a:pt x="359947" y="137552"/>
                  </a:lnTo>
                  <a:lnTo>
                    <a:pt x="359520" y="137175"/>
                  </a:lnTo>
                  <a:lnTo>
                    <a:pt x="359479" y="136762"/>
                  </a:lnTo>
                  <a:lnTo>
                    <a:pt x="358596" y="136761"/>
                  </a:lnTo>
                  <a:lnTo>
                    <a:pt x="357233" y="137175"/>
                  </a:lnTo>
                  <a:lnTo>
                    <a:pt x="354610" y="139736"/>
                  </a:lnTo>
                  <a:lnTo>
                    <a:pt x="353692" y="141076"/>
                  </a:lnTo>
                  <a:lnTo>
                    <a:pt x="353351" y="141884"/>
                  </a:lnTo>
                  <a:lnTo>
                    <a:pt x="352180" y="142344"/>
                  </a:lnTo>
                  <a:lnTo>
                    <a:pt x="350913" y="142518"/>
                  </a:lnTo>
                  <a:lnTo>
                    <a:pt x="349304" y="143727"/>
                  </a:lnTo>
                  <a:lnTo>
                    <a:pt x="347531" y="144659"/>
                  </a:lnTo>
                  <a:lnTo>
                    <a:pt x="346963" y="143973"/>
                  </a:lnTo>
                  <a:lnTo>
                    <a:pt x="346611" y="143205"/>
                  </a:lnTo>
                  <a:lnTo>
                    <a:pt x="346147" y="142967"/>
                  </a:lnTo>
                  <a:lnTo>
                    <a:pt x="345054" y="143147"/>
                  </a:lnTo>
                  <a:lnTo>
                    <a:pt x="343726" y="143180"/>
                  </a:lnTo>
                  <a:lnTo>
                    <a:pt x="342333" y="142317"/>
                  </a:lnTo>
                  <a:lnTo>
                    <a:pt x="340537" y="141450"/>
                  </a:lnTo>
                  <a:lnTo>
                    <a:pt x="338956" y="141143"/>
                  </a:lnTo>
                  <a:lnTo>
                    <a:pt x="334309" y="141553"/>
                  </a:lnTo>
                  <a:lnTo>
                    <a:pt x="332011" y="141981"/>
                  </a:lnTo>
                  <a:lnTo>
                    <a:pt x="331290" y="142399"/>
                  </a:lnTo>
                  <a:lnTo>
                    <a:pt x="329994" y="142511"/>
                  </a:lnTo>
                  <a:lnTo>
                    <a:pt x="324549" y="143384"/>
                  </a:lnTo>
                  <a:lnTo>
                    <a:pt x="323434" y="143044"/>
                  </a:lnTo>
                  <a:lnTo>
                    <a:pt x="322618" y="141660"/>
                  </a:lnTo>
                  <a:lnTo>
                    <a:pt x="321905" y="140160"/>
                  </a:lnTo>
                  <a:lnTo>
                    <a:pt x="320498" y="139615"/>
                  </a:lnTo>
                  <a:lnTo>
                    <a:pt x="318913" y="139196"/>
                  </a:lnTo>
                  <a:lnTo>
                    <a:pt x="318323" y="138601"/>
                  </a:lnTo>
                  <a:lnTo>
                    <a:pt x="318282" y="137871"/>
                  </a:lnTo>
                  <a:lnTo>
                    <a:pt x="318446" y="137158"/>
                  </a:lnTo>
                  <a:lnTo>
                    <a:pt x="318567" y="136785"/>
                  </a:lnTo>
                  <a:lnTo>
                    <a:pt x="322242" y="133923"/>
                  </a:lnTo>
                  <a:lnTo>
                    <a:pt x="325549" y="131344"/>
                  </a:lnTo>
                  <a:lnTo>
                    <a:pt x="325851" y="131137"/>
                  </a:lnTo>
                  <a:lnTo>
                    <a:pt x="326151" y="130646"/>
                  </a:lnTo>
                  <a:lnTo>
                    <a:pt x="326714" y="129754"/>
                  </a:lnTo>
                  <a:lnTo>
                    <a:pt x="326713" y="129287"/>
                  </a:lnTo>
                  <a:lnTo>
                    <a:pt x="324240" y="128264"/>
                  </a:lnTo>
                  <a:lnTo>
                    <a:pt x="324143" y="127791"/>
                  </a:lnTo>
                  <a:lnTo>
                    <a:pt x="324642" y="127305"/>
                  </a:lnTo>
                  <a:lnTo>
                    <a:pt x="324642" y="126660"/>
                  </a:lnTo>
                  <a:lnTo>
                    <a:pt x="322893" y="124772"/>
                  </a:lnTo>
                  <a:lnTo>
                    <a:pt x="319869" y="121828"/>
                  </a:lnTo>
                  <a:lnTo>
                    <a:pt x="318995" y="121521"/>
                  </a:lnTo>
                  <a:lnTo>
                    <a:pt x="318347" y="121717"/>
                  </a:lnTo>
                  <a:lnTo>
                    <a:pt x="317159" y="124568"/>
                  </a:lnTo>
                  <a:lnTo>
                    <a:pt x="316565" y="125292"/>
                  </a:lnTo>
                  <a:lnTo>
                    <a:pt x="313121" y="127165"/>
                  </a:lnTo>
                  <a:lnTo>
                    <a:pt x="310232" y="128451"/>
                  </a:lnTo>
                  <a:lnTo>
                    <a:pt x="305093" y="130738"/>
                  </a:lnTo>
                  <a:lnTo>
                    <a:pt x="303758" y="131454"/>
                  </a:lnTo>
                  <a:lnTo>
                    <a:pt x="302828" y="131323"/>
                  </a:lnTo>
                  <a:lnTo>
                    <a:pt x="301890" y="130875"/>
                  </a:lnTo>
                  <a:lnTo>
                    <a:pt x="299012" y="128565"/>
                  </a:lnTo>
                  <a:lnTo>
                    <a:pt x="297146" y="127775"/>
                  </a:lnTo>
                  <a:lnTo>
                    <a:pt x="295893" y="128557"/>
                  </a:lnTo>
                  <a:lnTo>
                    <a:pt x="294835" y="129698"/>
                  </a:lnTo>
                  <a:lnTo>
                    <a:pt x="294937" y="132037"/>
                  </a:lnTo>
                  <a:lnTo>
                    <a:pt x="293743" y="133272"/>
                  </a:lnTo>
                  <a:lnTo>
                    <a:pt x="292555" y="133825"/>
                  </a:lnTo>
                  <a:lnTo>
                    <a:pt x="294721" y="140085"/>
                  </a:lnTo>
                  <a:lnTo>
                    <a:pt x="294505" y="140891"/>
                  </a:lnTo>
                  <a:lnTo>
                    <a:pt x="292849" y="141112"/>
                  </a:lnTo>
                  <a:lnTo>
                    <a:pt x="294073" y="143464"/>
                  </a:lnTo>
                  <a:lnTo>
                    <a:pt x="293043" y="143738"/>
                  </a:lnTo>
                  <a:lnTo>
                    <a:pt x="290435" y="143186"/>
                  </a:lnTo>
                  <a:lnTo>
                    <a:pt x="286928" y="142824"/>
                  </a:lnTo>
                  <a:lnTo>
                    <a:pt x="280311" y="143867"/>
                  </a:lnTo>
                  <a:lnTo>
                    <a:pt x="279828" y="144274"/>
                  </a:lnTo>
                  <a:lnTo>
                    <a:pt x="279646" y="144792"/>
                  </a:lnTo>
                  <a:lnTo>
                    <a:pt x="280029" y="145263"/>
                  </a:lnTo>
                  <a:lnTo>
                    <a:pt x="283231" y="145318"/>
                  </a:lnTo>
                  <a:lnTo>
                    <a:pt x="286377" y="145077"/>
                  </a:lnTo>
                  <a:lnTo>
                    <a:pt x="287243" y="145514"/>
                  </a:lnTo>
                  <a:lnTo>
                    <a:pt x="287377" y="146288"/>
                  </a:lnTo>
                  <a:lnTo>
                    <a:pt x="287014" y="146773"/>
                  </a:lnTo>
                  <a:lnTo>
                    <a:pt x="285971" y="146855"/>
                  </a:lnTo>
                  <a:lnTo>
                    <a:pt x="283676" y="147321"/>
                  </a:lnTo>
                  <a:lnTo>
                    <a:pt x="283412" y="147812"/>
                  </a:lnTo>
                  <a:lnTo>
                    <a:pt x="283339" y="148286"/>
                  </a:lnTo>
                  <a:lnTo>
                    <a:pt x="284112" y="149656"/>
                  </a:lnTo>
                  <a:lnTo>
                    <a:pt x="284984" y="150528"/>
                  </a:lnTo>
                  <a:lnTo>
                    <a:pt x="285093" y="151045"/>
                  </a:lnTo>
                  <a:lnTo>
                    <a:pt x="284727" y="151475"/>
                  </a:lnTo>
                  <a:lnTo>
                    <a:pt x="284289" y="151649"/>
                  </a:lnTo>
                  <a:lnTo>
                    <a:pt x="283520" y="151002"/>
                  </a:lnTo>
                  <a:lnTo>
                    <a:pt x="283082" y="151131"/>
                  </a:lnTo>
                  <a:lnTo>
                    <a:pt x="282864" y="151713"/>
                  </a:lnTo>
                  <a:lnTo>
                    <a:pt x="282648" y="152397"/>
                  </a:lnTo>
                  <a:lnTo>
                    <a:pt x="282140" y="152901"/>
                  </a:lnTo>
                  <a:lnTo>
                    <a:pt x="281072" y="152639"/>
                  </a:lnTo>
                  <a:lnTo>
                    <a:pt x="280011" y="152832"/>
                  </a:lnTo>
                  <a:lnTo>
                    <a:pt x="279379" y="155320"/>
                  </a:lnTo>
                  <a:lnTo>
                    <a:pt x="278843" y="158137"/>
                  </a:lnTo>
                  <a:lnTo>
                    <a:pt x="277092" y="160012"/>
                  </a:lnTo>
                  <a:lnTo>
                    <a:pt x="276127" y="160689"/>
                  </a:lnTo>
                  <a:lnTo>
                    <a:pt x="274706" y="160893"/>
                  </a:lnTo>
                  <a:lnTo>
                    <a:pt x="272583" y="160664"/>
                  </a:lnTo>
                  <a:lnTo>
                    <a:pt x="271298" y="160389"/>
                  </a:lnTo>
                  <a:lnTo>
                    <a:pt x="267589" y="159977"/>
                  </a:lnTo>
                  <a:lnTo>
                    <a:pt x="263861" y="159207"/>
                  </a:lnTo>
                  <a:lnTo>
                    <a:pt x="259670" y="158490"/>
                  </a:lnTo>
                  <a:lnTo>
                    <a:pt x="255766" y="160146"/>
                  </a:lnTo>
                  <a:lnTo>
                    <a:pt x="254643" y="161156"/>
                  </a:lnTo>
                  <a:lnTo>
                    <a:pt x="253932" y="162099"/>
                  </a:lnTo>
                  <a:lnTo>
                    <a:pt x="253194" y="162536"/>
                  </a:lnTo>
                  <a:lnTo>
                    <a:pt x="251501" y="168331"/>
                  </a:lnTo>
                  <a:lnTo>
                    <a:pt x="251678" y="168989"/>
                  </a:lnTo>
                  <a:lnTo>
                    <a:pt x="252624" y="169507"/>
                  </a:lnTo>
                  <a:lnTo>
                    <a:pt x="257402" y="170708"/>
                  </a:lnTo>
                  <a:lnTo>
                    <a:pt x="258107" y="171206"/>
                  </a:lnTo>
                  <a:lnTo>
                    <a:pt x="258526" y="171772"/>
                  </a:lnTo>
                  <a:lnTo>
                    <a:pt x="258731" y="174376"/>
                  </a:lnTo>
                  <a:lnTo>
                    <a:pt x="259126" y="174735"/>
                  </a:lnTo>
                  <a:lnTo>
                    <a:pt x="260765" y="175055"/>
                  </a:lnTo>
                  <a:lnTo>
                    <a:pt x="263134" y="175035"/>
                  </a:lnTo>
                  <a:lnTo>
                    <a:pt x="264988" y="174779"/>
                  </a:lnTo>
                  <a:lnTo>
                    <a:pt x="266863" y="175020"/>
                  </a:lnTo>
                  <a:lnTo>
                    <a:pt x="268172" y="175578"/>
                  </a:lnTo>
                  <a:lnTo>
                    <a:pt x="268813" y="176466"/>
                  </a:lnTo>
                  <a:lnTo>
                    <a:pt x="269167" y="177422"/>
                  </a:lnTo>
                  <a:lnTo>
                    <a:pt x="266941" y="183133"/>
                  </a:lnTo>
                  <a:lnTo>
                    <a:pt x="267120" y="185204"/>
                  </a:lnTo>
                  <a:lnTo>
                    <a:pt x="267811" y="188175"/>
                  </a:lnTo>
                  <a:lnTo>
                    <a:pt x="269070" y="190502"/>
                  </a:lnTo>
                  <a:lnTo>
                    <a:pt x="271441" y="192779"/>
                  </a:lnTo>
                  <a:lnTo>
                    <a:pt x="273248" y="194237"/>
                  </a:lnTo>
                  <a:lnTo>
                    <a:pt x="273628" y="194924"/>
                  </a:lnTo>
                  <a:lnTo>
                    <a:pt x="273721" y="195990"/>
                  </a:lnTo>
                  <a:lnTo>
                    <a:pt x="273427" y="197343"/>
                  </a:lnTo>
                  <a:lnTo>
                    <a:pt x="272384" y="199495"/>
                  </a:lnTo>
                  <a:lnTo>
                    <a:pt x="271112" y="201373"/>
                  </a:lnTo>
                  <a:lnTo>
                    <a:pt x="269731" y="202174"/>
                  </a:lnTo>
                  <a:lnTo>
                    <a:pt x="267820" y="204555"/>
                  </a:lnTo>
                  <a:lnTo>
                    <a:pt x="266124" y="207485"/>
                  </a:lnTo>
                  <a:lnTo>
                    <a:pt x="262866" y="211326"/>
                  </a:lnTo>
                  <a:lnTo>
                    <a:pt x="261777" y="213463"/>
                  </a:lnTo>
                  <a:lnTo>
                    <a:pt x="261417" y="219636"/>
                  </a:lnTo>
                  <a:lnTo>
                    <a:pt x="260553" y="221490"/>
                  </a:lnTo>
                  <a:lnTo>
                    <a:pt x="260419" y="220787"/>
                  </a:lnTo>
                  <a:lnTo>
                    <a:pt x="259249" y="220088"/>
                  </a:lnTo>
                  <a:lnTo>
                    <a:pt x="257202" y="220208"/>
                  </a:lnTo>
                  <a:lnTo>
                    <a:pt x="255854" y="219874"/>
                  </a:lnTo>
                  <a:lnTo>
                    <a:pt x="255209" y="219084"/>
                  </a:lnTo>
                  <a:lnTo>
                    <a:pt x="253537" y="219304"/>
                  </a:lnTo>
                  <a:lnTo>
                    <a:pt x="250840" y="220538"/>
                  </a:lnTo>
                  <a:lnTo>
                    <a:pt x="248094" y="219885"/>
                  </a:lnTo>
                  <a:lnTo>
                    <a:pt x="245293" y="217346"/>
                  </a:lnTo>
                  <a:lnTo>
                    <a:pt x="239961" y="216416"/>
                  </a:lnTo>
                  <a:lnTo>
                    <a:pt x="233207" y="216998"/>
                  </a:lnTo>
                  <a:lnTo>
                    <a:pt x="232950" y="214186"/>
                  </a:lnTo>
                  <a:lnTo>
                    <a:pt x="232965" y="210598"/>
                  </a:lnTo>
                  <a:lnTo>
                    <a:pt x="233280" y="205827"/>
                  </a:lnTo>
                  <a:lnTo>
                    <a:pt x="235574" y="202081"/>
                  </a:lnTo>
                  <a:lnTo>
                    <a:pt x="235508" y="201368"/>
                  </a:lnTo>
                  <a:lnTo>
                    <a:pt x="235064" y="200680"/>
                  </a:lnTo>
                  <a:lnTo>
                    <a:pt x="234362" y="200062"/>
                  </a:lnTo>
                  <a:lnTo>
                    <a:pt x="230277" y="199033"/>
                  </a:lnTo>
                  <a:lnTo>
                    <a:pt x="229074" y="198488"/>
                  </a:lnTo>
                  <a:lnTo>
                    <a:pt x="227489" y="197310"/>
                  </a:lnTo>
                  <a:lnTo>
                    <a:pt x="225487" y="196062"/>
                  </a:lnTo>
                  <a:lnTo>
                    <a:pt x="223755" y="195204"/>
                  </a:lnTo>
                  <a:lnTo>
                    <a:pt x="221021" y="194071"/>
                  </a:lnTo>
                  <a:lnTo>
                    <a:pt x="218499" y="193441"/>
                  </a:lnTo>
                  <a:lnTo>
                    <a:pt x="217020" y="193922"/>
                  </a:lnTo>
                  <a:lnTo>
                    <a:pt x="215655" y="194530"/>
                  </a:lnTo>
                  <a:lnTo>
                    <a:pt x="214381" y="194547"/>
                  </a:lnTo>
                  <a:lnTo>
                    <a:pt x="213099" y="194216"/>
                  </a:lnTo>
                  <a:lnTo>
                    <a:pt x="208383" y="191383"/>
                  </a:lnTo>
                  <a:lnTo>
                    <a:pt x="201242" y="186478"/>
                  </a:lnTo>
                  <a:lnTo>
                    <a:pt x="195581" y="183051"/>
                  </a:lnTo>
                  <a:lnTo>
                    <a:pt x="192027" y="181412"/>
                  </a:lnTo>
                  <a:lnTo>
                    <a:pt x="191185" y="180886"/>
                  </a:lnTo>
                  <a:lnTo>
                    <a:pt x="189190" y="179343"/>
                  </a:lnTo>
                  <a:lnTo>
                    <a:pt x="184288" y="175183"/>
                  </a:lnTo>
                  <a:lnTo>
                    <a:pt x="181034" y="175795"/>
                  </a:lnTo>
                  <a:lnTo>
                    <a:pt x="176384" y="173087"/>
                  </a:lnTo>
                  <a:lnTo>
                    <a:pt x="172208" y="170443"/>
                  </a:lnTo>
                  <a:lnTo>
                    <a:pt x="171260" y="169728"/>
                  </a:lnTo>
                  <a:lnTo>
                    <a:pt x="166512" y="164832"/>
                  </a:lnTo>
                  <a:lnTo>
                    <a:pt x="161776" y="161655"/>
                  </a:lnTo>
                  <a:lnTo>
                    <a:pt x="156607" y="158184"/>
                  </a:lnTo>
                  <a:lnTo>
                    <a:pt x="153262" y="156009"/>
                  </a:lnTo>
                  <a:lnTo>
                    <a:pt x="147598" y="152321"/>
                  </a:lnTo>
                  <a:lnTo>
                    <a:pt x="144829" y="150091"/>
                  </a:lnTo>
                  <a:lnTo>
                    <a:pt x="143895" y="149269"/>
                  </a:lnTo>
                  <a:lnTo>
                    <a:pt x="142975" y="147689"/>
                  </a:lnTo>
                  <a:lnTo>
                    <a:pt x="141502" y="139962"/>
                  </a:lnTo>
                  <a:lnTo>
                    <a:pt x="139800" y="136420"/>
                  </a:lnTo>
                  <a:lnTo>
                    <a:pt x="137378" y="134489"/>
                  </a:lnTo>
                  <a:lnTo>
                    <a:pt x="135311" y="130764"/>
                  </a:lnTo>
                  <a:lnTo>
                    <a:pt x="133599" y="125237"/>
                  </a:lnTo>
                  <a:lnTo>
                    <a:pt x="132182" y="121639"/>
                  </a:lnTo>
                  <a:lnTo>
                    <a:pt x="131061" y="119978"/>
                  </a:lnTo>
                  <a:lnTo>
                    <a:pt x="128785" y="118142"/>
                  </a:lnTo>
                  <a:lnTo>
                    <a:pt x="125350" y="116128"/>
                  </a:lnTo>
                  <a:lnTo>
                    <a:pt x="122087" y="115173"/>
                  </a:lnTo>
                  <a:lnTo>
                    <a:pt x="120908" y="115212"/>
                  </a:lnTo>
                  <a:lnTo>
                    <a:pt x="120327" y="115461"/>
                  </a:lnTo>
                  <a:lnTo>
                    <a:pt x="119666" y="115804"/>
                  </a:lnTo>
                  <a:lnTo>
                    <a:pt x="118371" y="117307"/>
                  </a:lnTo>
                  <a:lnTo>
                    <a:pt x="116457" y="117463"/>
                  </a:lnTo>
                  <a:lnTo>
                    <a:pt x="115062" y="117427"/>
                  </a:lnTo>
                  <a:lnTo>
                    <a:pt x="113750" y="116891"/>
                  </a:lnTo>
                  <a:lnTo>
                    <a:pt x="109621" y="116414"/>
                  </a:lnTo>
                  <a:lnTo>
                    <a:pt x="108161" y="115895"/>
                  </a:lnTo>
                  <a:lnTo>
                    <a:pt x="105678" y="115972"/>
                  </a:lnTo>
                  <a:lnTo>
                    <a:pt x="100342" y="116753"/>
                  </a:lnTo>
                  <a:lnTo>
                    <a:pt x="99046" y="116608"/>
                  </a:lnTo>
                  <a:lnTo>
                    <a:pt x="93408" y="113250"/>
                  </a:lnTo>
                  <a:lnTo>
                    <a:pt x="90968" y="111918"/>
                  </a:lnTo>
                  <a:lnTo>
                    <a:pt x="90475" y="111181"/>
                  </a:lnTo>
                  <a:lnTo>
                    <a:pt x="90506" y="109890"/>
                  </a:lnTo>
                  <a:lnTo>
                    <a:pt x="91331" y="108066"/>
                  </a:lnTo>
                  <a:lnTo>
                    <a:pt x="92037" y="106773"/>
                  </a:lnTo>
                  <a:lnTo>
                    <a:pt x="91728" y="105428"/>
                  </a:lnTo>
                  <a:lnTo>
                    <a:pt x="90657" y="103957"/>
                  </a:lnTo>
                  <a:lnTo>
                    <a:pt x="90657" y="102391"/>
                  </a:lnTo>
                  <a:lnTo>
                    <a:pt x="91387" y="101517"/>
                  </a:lnTo>
                  <a:lnTo>
                    <a:pt x="92886" y="101793"/>
                  </a:lnTo>
                  <a:lnTo>
                    <a:pt x="93425" y="101240"/>
                  </a:lnTo>
                  <a:lnTo>
                    <a:pt x="93233" y="100411"/>
                  </a:lnTo>
                  <a:lnTo>
                    <a:pt x="92426" y="99811"/>
                  </a:lnTo>
                  <a:lnTo>
                    <a:pt x="91350" y="98475"/>
                  </a:lnTo>
                  <a:lnTo>
                    <a:pt x="88158" y="97229"/>
                  </a:lnTo>
                  <a:lnTo>
                    <a:pt x="87698" y="96721"/>
                  </a:lnTo>
                  <a:lnTo>
                    <a:pt x="87865" y="96140"/>
                  </a:lnTo>
                  <a:lnTo>
                    <a:pt x="88414" y="95519"/>
                  </a:lnTo>
                  <a:lnTo>
                    <a:pt x="88526" y="94211"/>
                  </a:lnTo>
                  <a:lnTo>
                    <a:pt x="88580" y="92519"/>
                  </a:lnTo>
                  <a:lnTo>
                    <a:pt x="89003" y="91641"/>
                  </a:lnTo>
                  <a:lnTo>
                    <a:pt x="89120" y="90948"/>
                  </a:lnTo>
                  <a:lnTo>
                    <a:pt x="88657" y="90392"/>
                  </a:lnTo>
                  <a:lnTo>
                    <a:pt x="87582" y="89745"/>
                  </a:lnTo>
                  <a:lnTo>
                    <a:pt x="85852" y="88171"/>
                  </a:lnTo>
                  <a:lnTo>
                    <a:pt x="83736" y="88001"/>
                  </a:lnTo>
                  <a:lnTo>
                    <a:pt x="76848" y="88056"/>
                  </a:lnTo>
                  <a:lnTo>
                    <a:pt x="74708" y="87423"/>
                  </a:lnTo>
                  <a:lnTo>
                    <a:pt x="72989" y="86547"/>
                  </a:lnTo>
                  <a:lnTo>
                    <a:pt x="71277" y="83202"/>
                  </a:lnTo>
                  <a:lnTo>
                    <a:pt x="70402" y="82409"/>
                  </a:lnTo>
                  <a:lnTo>
                    <a:pt x="69596" y="82079"/>
                  </a:lnTo>
                  <a:lnTo>
                    <a:pt x="67666" y="81963"/>
                  </a:lnTo>
                  <a:lnTo>
                    <a:pt x="65345" y="81639"/>
                  </a:lnTo>
                  <a:lnTo>
                    <a:pt x="64153" y="81073"/>
                  </a:lnTo>
                  <a:lnTo>
                    <a:pt x="60903" y="78011"/>
                  </a:lnTo>
                  <a:lnTo>
                    <a:pt x="57787" y="75276"/>
                  </a:lnTo>
                  <a:lnTo>
                    <a:pt x="56532" y="77857"/>
                  </a:lnTo>
                  <a:lnTo>
                    <a:pt x="55312" y="78367"/>
                  </a:lnTo>
                  <a:lnTo>
                    <a:pt x="52570" y="78129"/>
                  </a:lnTo>
                  <a:lnTo>
                    <a:pt x="50503" y="77692"/>
                  </a:lnTo>
                  <a:lnTo>
                    <a:pt x="49326" y="78274"/>
                  </a:lnTo>
                  <a:lnTo>
                    <a:pt x="48113" y="79296"/>
                  </a:lnTo>
                  <a:lnTo>
                    <a:pt x="48344" y="79966"/>
                  </a:lnTo>
                  <a:lnTo>
                    <a:pt x="49274" y="80676"/>
                  </a:lnTo>
                  <a:lnTo>
                    <a:pt x="51144" y="81985"/>
                  </a:lnTo>
                  <a:lnTo>
                    <a:pt x="54008" y="85201"/>
                  </a:lnTo>
                  <a:lnTo>
                    <a:pt x="55308" y="86974"/>
                  </a:lnTo>
                  <a:lnTo>
                    <a:pt x="55504" y="87594"/>
                  </a:lnTo>
                  <a:lnTo>
                    <a:pt x="55252" y="88060"/>
                  </a:lnTo>
                  <a:lnTo>
                    <a:pt x="54867" y="88261"/>
                  </a:lnTo>
                  <a:lnTo>
                    <a:pt x="54302" y="88254"/>
                  </a:lnTo>
                  <a:lnTo>
                    <a:pt x="53542" y="88243"/>
                  </a:lnTo>
                  <a:lnTo>
                    <a:pt x="53101" y="87711"/>
                  </a:lnTo>
                  <a:lnTo>
                    <a:pt x="52954" y="86797"/>
                  </a:lnTo>
                  <a:lnTo>
                    <a:pt x="51998" y="85408"/>
                  </a:lnTo>
                  <a:lnTo>
                    <a:pt x="51017" y="84610"/>
                  </a:lnTo>
                  <a:lnTo>
                    <a:pt x="49938" y="84108"/>
                  </a:lnTo>
                  <a:lnTo>
                    <a:pt x="48424" y="83738"/>
                  </a:lnTo>
                  <a:lnTo>
                    <a:pt x="46430" y="83073"/>
                  </a:lnTo>
                  <a:lnTo>
                    <a:pt x="45401" y="83043"/>
                  </a:lnTo>
                  <a:lnTo>
                    <a:pt x="44396" y="83812"/>
                  </a:lnTo>
                  <a:lnTo>
                    <a:pt x="43561" y="84846"/>
                  </a:lnTo>
                  <a:lnTo>
                    <a:pt x="43069" y="87106"/>
                  </a:lnTo>
                  <a:lnTo>
                    <a:pt x="41576" y="89878"/>
                  </a:lnTo>
                  <a:lnTo>
                    <a:pt x="40654" y="90974"/>
                  </a:lnTo>
                  <a:lnTo>
                    <a:pt x="37821" y="91640"/>
                  </a:lnTo>
                  <a:lnTo>
                    <a:pt x="31090" y="91866"/>
                  </a:lnTo>
                  <a:lnTo>
                    <a:pt x="29076" y="92730"/>
                  </a:lnTo>
                  <a:lnTo>
                    <a:pt x="27709" y="93775"/>
                  </a:lnTo>
                  <a:lnTo>
                    <a:pt x="25161" y="97156"/>
                  </a:lnTo>
                  <a:lnTo>
                    <a:pt x="23394" y="98278"/>
                  </a:lnTo>
                  <a:lnTo>
                    <a:pt x="21855" y="99824"/>
                  </a:lnTo>
                  <a:lnTo>
                    <a:pt x="22314" y="104783"/>
                  </a:lnTo>
                  <a:lnTo>
                    <a:pt x="23051" y="110567"/>
                  </a:lnTo>
                  <a:lnTo>
                    <a:pt x="24345" y="112167"/>
                  </a:lnTo>
                  <a:lnTo>
                    <a:pt x="25167" y="112648"/>
                  </a:lnTo>
                  <a:lnTo>
                    <a:pt x="25277" y="113215"/>
                  </a:lnTo>
                  <a:lnTo>
                    <a:pt x="24746" y="113716"/>
                  </a:lnTo>
                  <a:lnTo>
                    <a:pt x="24070" y="114350"/>
                  </a:lnTo>
                  <a:lnTo>
                    <a:pt x="23047" y="115505"/>
                  </a:lnTo>
                  <a:lnTo>
                    <a:pt x="21894" y="115461"/>
                  </a:lnTo>
                  <a:lnTo>
                    <a:pt x="19572" y="115172"/>
                  </a:lnTo>
                  <a:lnTo>
                    <a:pt x="17644" y="114859"/>
                  </a:lnTo>
                  <a:lnTo>
                    <a:pt x="11148" y="114525"/>
                  </a:lnTo>
                  <a:lnTo>
                    <a:pt x="5888" y="114256"/>
                  </a:lnTo>
                  <a:lnTo>
                    <a:pt x="38" y="113956"/>
                  </a:lnTo>
                  <a:lnTo>
                    <a:pt x="36" y="107893"/>
                  </a:lnTo>
                  <a:lnTo>
                    <a:pt x="32" y="101817"/>
                  </a:lnTo>
                  <a:lnTo>
                    <a:pt x="30" y="95729"/>
                  </a:lnTo>
                  <a:lnTo>
                    <a:pt x="27" y="89628"/>
                  </a:lnTo>
                  <a:lnTo>
                    <a:pt x="25" y="83514"/>
                  </a:lnTo>
                  <a:lnTo>
                    <a:pt x="23" y="77387"/>
                  </a:lnTo>
                  <a:lnTo>
                    <a:pt x="21" y="71246"/>
                  </a:lnTo>
                  <a:lnTo>
                    <a:pt x="19" y="65093"/>
                  </a:lnTo>
                  <a:lnTo>
                    <a:pt x="17" y="58926"/>
                  </a:lnTo>
                  <a:lnTo>
                    <a:pt x="15" y="52745"/>
                  </a:lnTo>
                  <a:lnTo>
                    <a:pt x="12" y="46548"/>
                  </a:lnTo>
                  <a:lnTo>
                    <a:pt x="10" y="40339"/>
                  </a:lnTo>
                  <a:lnTo>
                    <a:pt x="8" y="34116"/>
                  </a:lnTo>
                  <a:lnTo>
                    <a:pt x="6" y="27879"/>
                  </a:lnTo>
                  <a:lnTo>
                    <a:pt x="1" y="21627"/>
                  </a:lnTo>
                  <a:lnTo>
                    <a:pt x="0" y="15361"/>
                  </a:lnTo>
                  <a:lnTo>
                    <a:pt x="2759" y="14582"/>
                  </a:lnTo>
                  <a:lnTo>
                    <a:pt x="6240" y="13600"/>
                  </a:lnTo>
                  <a:lnTo>
                    <a:pt x="9585" y="12657"/>
                  </a:lnTo>
                  <a:lnTo>
                    <a:pt x="13556" y="11536"/>
                  </a:lnTo>
                  <a:lnTo>
                    <a:pt x="18048" y="10269"/>
                  </a:lnTo>
                  <a:lnTo>
                    <a:pt x="21876" y="9186"/>
                  </a:lnTo>
                  <a:lnTo>
                    <a:pt x="26446" y="7895"/>
                  </a:lnTo>
                  <a:lnTo>
                    <a:pt x="29931" y="6909"/>
                  </a:lnTo>
                  <a:lnTo>
                    <a:pt x="33204" y="5983"/>
                  </a:lnTo>
                  <a:lnTo>
                    <a:pt x="37391" y="4886"/>
                  </a:lnTo>
                  <a:lnTo>
                    <a:pt x="43900" y="3177"/>
                  </a:lnTo>
                  <a:lnTo>
                    <a:pt x="47530" y="2225"/>
                  </a:lnTo>
                  <a:lnTo>
                    <a:pt x="51199" y="1262"/>
                  </a:lnTo>
                  <a:lnTo>
                    <a:pt x="54699" y="342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28" name="ee4p_VN_1_82333">
              <a:extLst>
                <a:ext uri="{FF2B5EF4-FFF2-40B4-BE49-F238E27FC236}">
                  <a16:creationId xmlns:a16="http://schemas.microsoft.com/office/drawing/2014/main" id="{32A57BC4-45CA-4E35-1CC6-9A7ACDB0E454}"/>
                </a:ext>
              </a:extLst>
            </p:cNvPr>
            <p:cNvSpPr>
              <a:spLocks noChangeAspect="1"/>
            </p:cNvSpPr>
            <p:nvPr>
              <p:custDataLst>
                <p:tags r:id="rId56"/>
              </p:custDataLst>
            </p:nvPr>
          </p:nvSpPr>
          <p:spPr>
            <a:xfrm>
              <a:off x="9350713" y="3997736"/>
              <a:ext cx="203202" cy="432618"/>
            </a:xfrm>
            <a:custGeom>
              <a:avLst/>
              <a:gdLst>
                <a:gd name="connsiteX0" fmla="*/ 100194 w 161805"/>
                <a:gd name="connsiteY0" fmla="*/ 331275 h 335353"/>
                <a:gd name="connsiteX1" fmla="*/ 99993 w 161805"/>
                <a:gd name="connsiteY1" fmla="*/ 332241 h 335353"/>
                <a:gd name="connsiteX2" fmla="*/ 100060 w 161805"/>
                <a:gd name="connsiteY2" fmla="*/ 332728 h 335353"/>
                <a:gd name="connsiteX3" fmla="*/ 99284 w 161805"/>
                <a:gd name="connsiteY3" fmla="*/ 333136 h 335353"/>
                <a:gd name="connsiteX4" fmla="*/ 98660 w 161805"/>
                <a:gd name="connsiteY4" fmla="*/ 333187 h 335353"/>
                <a:gd name="connsiteX5" fmla="*/ 98190 w 161805"/>
                <a:gd name="connsiteY5" fmla="*/ 332732 h 335353"/>
                <a:gd name="connsiteX6" fmla="*/ 42020 w 161805"/>
                <a:gd name="connsiteY6" fmla="*/ 294191 h 335353"/>
                <a:gd name="connsiteX7" fmla="*/ 42821 w 161805"/>
                <a:gd name="connsiteY7" fmla="*/ 295030 h 335353"/>
                <a:gd name="connsiteX8" fmla="*/ 43242 w 161805"/>
                <a:gd name="connsiteY8" fmla="*/ 296141 h 335353"/>
                <a:gd name="connsiteX9" fmla="*/ 43082 w 161805"/>
                <a:gd name="connsiteY9" fmla="*/ 298738 h 335353"/>
                <a:gd name="connsiteX10" fmla="*/ 42220 w 161805"/>
                <a:gd name="connsiteY10" fmla="*/ 301287 h 335353"/>
                <a:gd name="connsiteX11" fmla="*/ 42475 w 161805"/>
                <a:gd name="connsiteY11" fmla="*/ 302397 h 335353"/>
                <a:gd name="connsiteX12" fmla="*/ 41815 w 161805"/>
                <a:gd name="connsiteY12" fmla="*/ 303108 h 335353"/>
                <a:gd name="connsiteX13" fmla="*/ 40348 w 161805"/>
                <a:gd name="connsiteY13" fmla="*/ 298334 h 335353"/>
                <a:gd name="connsiteX14" fmla="*/ 38487 w 161805"/>
                <a:gd name="connsiteY14" fmla="*/ 296268 h 335353"/>
                <a:gd name="connsiteX15" fmla="*/ 38079 w 161805"/>
                <a:gd name="connsiteY15" fmla="*/ 295471 h 335353"/>
                <a:gd name="connsiteX16" fmla="*/ 39161 w 161805"/>
                <a:gd name="connsiteY16" fmla="*/ 295529 h 335353"/>
                <a:gd name="connsiteX17" fmla="*/ 41093 w 161805"/>
                <a:gd name="connsiteY17" fmla="*/ 294223 h 335353"/>
                <a:gd name="connsiteX18" fmla="*/ 111647 w 161805"/>
                <a:gd name="connsiteY18" fmla="*/ 293792 h 335353"/>
                <a:gd name="connsiteX19" fmla="*/ 112053 w 161805"/>
                <a:gd name="connsiteY19" fmla="*/ 293803 h 335353"/>
                <a:gd name="connsiteX20" fmla="*/ 111450 w 161805"/>
                <a:gd name="connsiteY20" fmla="*/ 294888 h 335353"/>
                <a:gd name="connsiteX21" fmla="*/ 109595 w 161805"/>
                <a:gd name="connsiteY21" fmla="*/ 296242 h 335353"/>
                <a:gd name="connsiteX22" fmla="*/ 109466 w 161805"/>
                <a:gd name="connsiteY22" fmla="*/ 295104 h 335353"/>
                <a:gd name="connsiteX23" fmla="*/ 111079 w 161805"/>
                <a:gd name="connsiteY23" fmla="*/ 294371 h 335353"/>
                <a:gd name="connsiteX24" fmla="*/ 106713 w 161805"/>
                <a:gd name="connsiteY24" fmla="*/ 57519 h 335353"/>
                <a:gd name="connsiteX25" fmla="*/ 108710 w 161805"/>
                <a:gd name="connsiteY25" fmla="*/ 58216 h 335353"/>
                <a:gd name="connsiteX26" fmla="*/ 109168 w 161805"/>
                <a:gd name="connsiteY26" fmla="*/ 58667 h 335353"/>
                <a:gd name="connsiteX27" fmla="*/ 109157 w 161805"/>
                <a:gd name="connsiteY27" fmla="*/ 59072 h 335353"/>
                <a:gd name="connsiteX28" fmla="*/ 108678 w 161805"/>
                <a:gd name="connsiteY28" fmla="*/ 59965 h 335353"/>
                <a:gd name="connsiteX29" fmla="*/ 108436 w 161805"/>
                <a:gd name="connsiteY29" fmla="*/ 60288 h 335353"/>
                <a:gd name="connsiteX30" fmla="*/ 107523 w 161805"/>
                <a:gd name="connsiteY30" fmla="*/ 60380 h 335353"/>
                <a:gd name="connsiteX31" fmla="*/ 105767 w 161805"/>
                <a:gd name="connsiteY31" fmla="*/ 58507 h 335353"/>
                <a:gd name="connsiteX32" fmla="*/ 103217 w 161805"/>
                <a:gd name="connsiteY32" fmla="*/ 56113 h 335353"/>
                <a:gd name="connsiteX33" fmla="*/ 104538 w 161805"/>
                <a:gd name="connsiteY33" fmla="*/ 57722 h 335353"/>
                <a:gd name="connsiteX34" fmla="*/ 104772 w 161805"/>
                <a:gd name="connsiteY34" fmla="*/ 58703 h 335353"/>
                <a:gd name="connsiteX35" fmla="*/ 104517 w 161805"/>
                <a:gd name="connsiteY35" fmla="*/ 59149 h 335353"/>
                <a:gd name="connsiteX36" fmla="*/ 103389 w 161805"/>
                <a:gd name="connsiteY36" fmla="*/ 58056 h 335353"/>
                <a:gd name="connsiteX37" fmla="*/ 102645 w 161805"/>
                <a:gd name="connsiteY37" fmla="*/ 57584 h 335353"/>
                <a:gd name="connsiteX38" fmla="*/ 119933 w 161805"/>
                <a:gd name="connsiteY38" fmla="*/ 53662 h 335353"/>
                <a:gd name="connsiteX39" fmla="*/ 119928 w 161805"/>
                <a:gd name="connsiteY39" fmla="*/ 54883 h 335353"/>
                <a:gd name="connsiteX40" fmla="*/ 119270 w 161805"/>
                <a:gd name="connsiteY40" fmla="*/ 56143 h 335353"/>
                <a:gd name="connsiteX41" fmla="*/ 118037 w 161805"/>
                <a:gd name="connsiteY41" fmla="*/ 56745 h 335353"/>
                <a:gd name="connsiteX42" fmla="*/ 116570 w 161805"/>
                <a:gd name="connsiteY42" fmla="*/ 56677 h 335353"/>
                <a:gd name="connsiteX43" fmla="*/ 118326 w 161805"/>
                <a:gd name="connsiteY43" fmla="*/ 55549 h 335353"/>
                <a:gd name="connsiteX44" fmla="*/ 119218 w 161805"/>
                <a:gd name="connsiteY44" fmla="*/ 54152 h 335353"/>
                <a:gd name="connsiteX45" fmla="*/ 118274 w 161805"/>
                <a:gd name="connsiteY45" fmla="*/ 48233 h 335353"/>
                <a:gd name="connsiteX46" fmla="*/ 120185 w 161805"/>
                <a:gd name="connsiteY46" fmla="*/ 49355 h 335353"/>
                <a:gd name="connsiteX47" fmla="*/ 121071 w 161805"/>
                <a:gd name="connsiteY47" fmla="*/ 49439 h 335353"/>
                <a:gd name="connsiteX48" fmla="*/ 117885 w 161805"/>
                <a:gd name="connsiteY48" fmla="*/ 52331 h 335353"/>
                <a:gd name="connsiteX49" fmla="*/ 116665 w 161805"/>
                <a:gd name="connsiteY49" fmla="*/ 52285 h 335353"/>
                <a:gd name="connsiteX50" fmla="*/ 117749 w 161805"/>
                <a:gd name="connsiteY50" fmla="*/ 49011 h 335353"/>
                <a:gd name="connsiteX51" fmla="*/ 69608 w 161805"/>
                <a:gd name="connsiteY51" fmla="*/ 0 h 335353"/>
                <a:gd name="connsiteX52" fmla="*/ 71268 w 161805"/>
                <a:gd name="connsiteY52" fmla="*/ 876 h 335353"/>
                <a:gd name="connsiteX53" fmla="*/ 73251 w 161805"/>
                <a:gd name="connsiteY53" fmla="*/ 2563 h 335353"/>
                <a:gd name="connsiteX54" fmla="*/ 74454 w 161805"/>
                <a:gd name="connsiteY54" fmla="*/ 3834 h 335353"/>
                <a:gd name="connsiteX55" fmla="*/ 75257 w 161805"/>
                <a:gd name="connsiteY55" fmla="*/ 5207 h 335353"/>
                <a:gd name="connsiteX56" fmla="*/ 75639 w 161805"/>
                <a:gd name="connsiteY56" fmla="*/ 6357 h 335353"/>
                <a:gd name="connsiteX57" fmla="*/ 78803 w 161805"/>
                <a:gd name="connsiteY57" fmla="*/ 7353 h 335353"/>
                <a:gd name="connsiteX58" fmla="*/ 80817 w 161805"/>
                <a:gd name="connsiteY58" fmla="*/ 8765 h 335353"/>
                <a:gd name="connsiteX59" fmla="*/ 82158 w 161805"/>
                <a:gd name="connsiteY59" fmla="*/ 9849 h 335353"/>
                <a:gd name="connsiteX60" fmla="*/ 83478 w 161805"/>
                <a:gd name="connsiteY60" fmla="*/ 9799 h 335353"/>
                <a:gd name="connsiteX61" fmla="*/ 84798 w 161805"/>
                <a:gd name="connsiteY61" fmla="*/ 9508 h 335353"/>
                <a:gd name="connsiteX62" fmla="*/ 85653 w 161805"/>
                <a:gd name="connsiteY62" fmla="*/ 8639 h 335353"/>
                <a:gd name="connsiteX63" fmla="*/ 87145 w 161805"/>
                <a:gd name="connsiteY63" fmla="*/ 8621 h 335353"/>
                <a:gd name="connsiteX64" fmla="*/ 88913 w 161805"/>
                <a:gd name="connsiteY64" fmla="*/ 8748 h 335353"/>
                <a:gd name="connsiteX65" fmla="*/ 89699 w 161805"/>
                <a:gd name="connsiteY65" fmla="*/ 9096 h 335353"/>
                <a:gd name="connsiteX66" fmla="*/ 91146 w 161805"/>
                <a:gd name="connsiteY66" fmla="*/ 11092 h 335353"/>
                <a:gd name="connsiteX67" fmla="*/ 91800 w 161805"/>
                <a:gd name="connsiteY67" fmla="*/ 11371 h 335353"/>
                <a:gd name="connsiteX68" fmla="*/ 93106 w 161805"/>
                <a:gd name="connsiteY68" fmla="*/ 11231 h 335353"/>
                <a:gd name="connsiteX69" fmla="*/ 95601 w 161805"/>
                <a:gd name="connsiteY69" fmla="*/ 10523 h 335353"/>
                <a:gd name="connsiteX70" fmla="*/ 97611 w 161805"/>
                <a:gd name="connsiteY70" fmla="*/ 10186 h 335353"/>
                <a:gd name="connsiteX71" fmla="*/ 99429 w 161805"/>
                <a:gd name="connsiteY71" fmla="*/ 10980 h 335353"/>
                <a:gd name="connsiteX72" fmla="*/ 102884 w 161805"/>
                <a:gd name="connsiteY72" fmla="*/ 13200 h 335353"/>
                <a:gd name="connsiteX73" fmla="*/ 101913 w 161805"/>
                <a:gd name="connsiteY73" fmla="*/ 14782 h 335353"/>
                <a:gd name="connsiteX74" fmla="*/ 101144 w 161805"/>
                <a:gd name="connsiteY74" fmla="*/ 16485 h 335353"/>
                <a:gd name="connsiteX75" fmla="*/ 99630 w 161805"/>
                <a:gd name="connsiteY75" fmla="*/ 17688 h 335353"/>
                <a:gd name="connsiteX76" fmla="*/ 98509 w 161805"/>
                <a:gd name="connsiteY76" fmla="*/ 17986 h 335353"/>
                <a:gd name="connsiteX77" fmla="*/ 97801 w 161805"/>
                <a:gd name="connsiteY77" fmla="*/ 19657 h 335353"/>
                <a:gd name="connsiteX78" fmla="*/ 97490 w 161805"/>
                <a:gd name="connsiteY78" fmla="*/ 22120 h 335353"/>
                <a:gd name="connsiteX79" fmla="*/ 97872 w 161805"/>
                <a:gd name="connsiteY79" fmla="*/ 23368 h 335353"/>
                <a:gd name="connsiteX80" fmla="*/ 98747 w 161805"/>
                <a:gd name="connsiteY80" fmla="*/ 23767 h 335353"/>
                <a:gd name="connsiteX81" fmla="*/ 99705 w 161805"/>
                <a:gd name="connsiteY81" fmla="*/ 24601 h 335353"/>
                <a:gd name="connsiteX82" fmla="*/ 100097 w 161805"/>
                <a:gd name="connsiteY82" fmla="*/ 25697 h 335353"/>
                <a:gd name="connsiteX83" fmla="*/ 100226 w 161805"/>
                <a:gd name="connsiteY83" fmla="*/ 28134 h 335353"/>
                <a:gd name="connsiteX84" fmla="*/ 100174 w 161805"/>
                <a:gd name="connsiteY84" fmla="*/ 30878 h 335353"/>
                <a:gd name="connsiteX85" fmla="*/ 100304 w 161805"/>
                <a:gd name="connsiteY85" fmla="*/ 31790 h 335353"/>
                <a:gd name="connsiteX86" fmla="*/ 101057 w 161805"/>
                <a:gd name="connsiteY86" fmla="*/ 31622 h 335353"/>
                <a:gd name="connsiteX87" fmla="*/ 101762 w 161805"/>
                <a:gd name="connsiteY87" fmla="*/ 31293 h 335353"/>
                <a:gd name="connsiteX88" fmla="*/ 103191 w 161805"/>
                <a:gd name="connsiteY88" fmla="*/ 31719 h 335353"/>
                <a:gd name="connsiteX89" fmla="*/ 104968 w 161805"/>
                <a:gd name="connsiteY89" fmla="*/ 32431 h 335353"/>
                <a:gd name="connsiteX90" fmla="*/ 106089 w 161805"/>
                <a:gd name="connsiteY90" fmla="*/ 33154 h 335353"/>
                <a:gd name="connsiteX91" fmla="*/ 107102 w 161805"/>
                <a:gd name="connsiteY91" fmla="*/ 33065 h 335353"/>
                <a:gd name="connsiteX92" fmla="*/ 107885 w 161805"/>
                <a:gd name="connsiteY92" fmla="*/ 33773 h 335353"/>
                <a:gd name="connsiteX93" fmla="*/ 108181 w 161805"/>
                <a:gd name="connsiteY93" fmla="*/ 35130 h 335353"/>
                <a:gd name="connsiteX94" fmla="*/ 109105 w 161805"/>
                <a:gd name="connsiteY94" fmla="*/ 36073 h 335353"/>
                <a:gd name="connsiteX95" fmla="*/ 111691 w 161805"/>
                <a:gd name="connsiteY95" fmla="*/ 37860 h 335353"/>
                <a:gd name="connsiteX96" fmla="*/ 113759 w 161805"/>
                <a:gd name="connsiteY96" fmla="*/ 38009 h 335353"/>
                <a:gd name="connsiteX97" fmla="*/ 115508 w 161805"/>
                <a:gd name="connsiteY97" fmla="*/ 40366 h 335353"/>
                <a:gd name="connsiteX98" fmla="*/ 117328 w 161805"/>
                <a:gd name="connsiteY98" fmla="*/ 39593 h 335353"/>
                <a:gd name="connsiteX99" fmla="*/ 118166 w 161805"/>
                <a:gd name="connsiteY99" fmla="*/ 40610 h 335353"/>
                <a:gd name="connsiteX100" fmla="*/ 121917 w 161805"/>
                <a:gd name="connsiteY100" fmla="*/ 40250 h 335353"/>
                <a:gd name="connsiteX101" fmla="*/ 124532 w 161805"/>
                <a:gd name="connsiteY101" fmla="*/ 39298 h 335353"/>
                <a:gd name="connsiteX102" fmla="*/ 125478 w 161805"/>
                <a:gd name="connsiteY102" fmla="*/ 39526 h 335353"/>
                <a:gd name="connsiteX103" fmla="*/ 127830 w 161805"/>
                <a:gd name="connsiteY103" fmla="*/ 41489 h 335353"/>
                <a:gd name="connsiteX104" fmla="*/ 129250 w 161805"/>
                <a:gd name="connsiteY104" fmla="*/ 42703 h 335353"/>
                <a:gd name="connsiteX105" fmla="*/ 128214 w 161805"/>
                <a:gd name="connsiteY105" fmla="*/ 42912 h 335353"/>
                <a:gd name="connsiteX106" fmla="*/ 125633 w 161805"/>
                <a:gd name="connsiteY106" fmla="*/ 42954 h 335353"/>
                <a:gd name="connsiteX107" fmla="*/ 123381 w 161805"/>
                <a:gd name="connsiteY107" fmla="*/ 45066 h 335353"/>
                <a:gd name="connsiteX108" fmla="*/ 121822 w 161805"/>
                <a:gd name="connsiteY108" fmla="*/ 45940 h 335353"/>
                <a:gd name="connsiteX109" fmla="*/ 119395 w 161805"/>
                <a:gd name="connsiteY109" fmla="*/ 46677 h 335353"/>
                <a:gd name="connsiteX110" fmla="*/ 116808 w 161805"/>
                <a:gd name="connsiteY110" fmla="*/ 47866 h 335353"/>
                <a:gd name="connsiteX111" fmla="*/ 116061 w 161805"/>
                <a:gd name="connsiteY111" fmla="*/ 49962 h 335353"/>
                <a:gd name="connsiteX112" fmla="*/ 115998 w 161805"/>
                <a:gd name="connsiteY112" fmla="*/ 51480 h 335353"/>
                <a:gd name="connsiteX113" fmla="*/ 115577 w 161805"/>
                <a:gd name="connsiteY113" fmla="*/ 53174 h 335353"/>
                <a:gd name="connsiteX114" fmla="*/ 111386 w 161805"/>
                <a:gd name="connsiteY114" fmla="*/ 55633 h 335353"/>
                <a:gd name="connsiteX115" fmla="*/ 110213 w 161805"/>
                <a:gd name="connsiteY115" fmla="*/ 55382 h 335353"/>
                <a:gd name="connsiteX116" fmla="*/ 109405 w 161805"/>
                <a:gd name="connsiteY116" fmla="*/ 54465 h 335353"/>
                <a:gd name="connsiteX117" fmla="*/ 108168 w 161805"/>
                <a:gd name="connsiteY117" fmla="*/ 54651 h 335353"/>
                <a:gd name="connsiteX118" fmla="*/ 107333 w 161805"/>
                <a:gd name="connsiteY118" fmla="*/ 55109 h 335353"/>
                <a:gd name="connsiteX119" fmla="*/ 106337 w 161805"/>
                <a:gd name="connsiteY119" fmla="*/ 55047 h 335353"/>
                <a:gd name="connsiteX120" fmla="*/ 105227 w 161805"/>
                <a:gd name="connsiteY120" fmla="*/ 55603 h 335353"/>
                <a:gd name="connsiteX121" fmla="*/ 103776 w 161805"/>
                <a:gd name="connsiteY121" fmla="*/ 55429 h 335353"/>
                <a:gd name="connsiteX122" fmla="*/ 102441 w 161805"/>
                <a:gd name="connsiteY122" fmla="*/ 54654 h 335353"/>
                <a:gd name="connsiteX123" fmla="*/ 101666 w 161805"/>
                <a:gd name="connsiteY123" fmla="*/ 54450 h 335353"/>
                <a:gd name="connsiteX124" fmla="*/ 100742 w 161805"/>
                <a:gd name="connsiteY124" fmla="*/ 54442 h 335353"/>
                <a:gd name="connsiteX125" fmla="*/ 100567 w 161805"/>
                <a:gd name="connsiteY125" fmla="*/ 55361 h 335353"/>
                <a:gd name="connsiteX126" fmla="*/ 101934 w 161805"/>
                <a:gd name="connsiteY126" fmla="*/ 58924 h 335353"/>
                <a:gd name="connsiteX127" fmla="*/ 102290 w 161805"/>
                <a:gd name="connsiteY127" fmla="*/ 60565 h 335353"/>
                <a:gd name="connsiteX128" fmla="*/ 97810 w 161805"/>
                <a:gd name="connsiteY128" fmla="*/ 65373 h 335353"/>
                <a:gd name="connsiteX129" fmla="*/ 98298 w 161805"/>
                <a:gd name="connsiteY129" fmla="*/ 68470 h 335353"/>
                <a:gd name="connsiteX130" fmla="*/ 97084 w 161805"/>
                <a:gd name="connsiteY130" fmla="*/ 70850 h 335353"/>
                <a:gd name="connsiteX131" fmla="*/ 94376 w 161805"/>
                <a:gd name="connsiteY131" fmla="*/ 72760 h 335353"/>
                <a:gd name="connsiteX132" fmla="*/ 89295 w 161805"/>
                <a:gd name="connsiteY132" fmla="*/ 77682 h 335353"/>
                <a:gd name="connsiteX133" fmla="*/ 87006 w 161805"/>
                <a:gd name="connsiteY133" fmla="*/ 77789 h 335353"/>
                <a:gd name="connsiteX134" fmla="*/ 85279 w 161805"/>
                <a:gd name="connsiteY134" fmla="*/ 78900 h 335353"/>
                <a:gd name="connsiteX135" fmla="*/ 81517 w 161805"/>
                <a:gd name="connsiteY135" fmla="*/ 86981 h 335353"/>
                <a:gd name="connsiteX136" fmla="*/ 81476 w 161805"/>
                <a:gd name="connsiteY136" fmla="*/ 89746 h 335353"/>
                <a:gd name="connsiteX137" fmla="*/ 80885 w 161805"/>
                <a:gd name="connsiteY137" fmla="*/ 91769 h 335353"/>
                <a:gd name="connsiteX138" fmla="*/ 81012 w 161805"/>
                <a:gd name="connsiteY138" fmla="*/ 93712 h 335353"/>
                <a:gd name="connsiteX139" fmla="*/ 79360 w 161805"/>
                <a:gd name="connsiteY139" fmla="*/ 97528 h 335353"/>
                <a:gd name="connsiteX140" fmla="*/ 77649 w 161805"/>
                <a:gd name="connsiteY140" fmla="*/ 99146 h 335353"/>
                <a:gd name="connsiteX141" fmla="*/ 77268 w 161805"/>
                <a:gd name="connsiteY141" fmla="*/ 101229 h 335353"/>
                <a:gd name="connsiteX142" fmla="*/ 79706 w 161805"/>
                <a:gd name="connsiteY142" fmla="*/ 105512 h 335353"/>
                <a:gd name="connsiteX143" fmla="*/ 79975 w 161805"/>
                <a:gd name="connsiteY143" fmla="*/ 106267 h 335353"/>
                <a:gd name="connsiteX144" fmla="*/ 81390 w 161805"/>
                <a:gd name="connsiteY144" fmla="*/ 108566 h 335353"/>
                <a:gd name="connsiteX145" fmla="*/ 82076 w 161805"/>
                <a:gd name="connsiteY145" fmla="*/ 110206 h 335353"/>
                <a:gd name="connsiteX146" fmla="*/ 83160 w 161805"/>
                <a:gd name="connsiteY146" fmla="*/ 111846 h 335353"/>
                <a:gd name="connsiteX147" fmla="*/ 87082 w 161805"/>
                <a:gd name="connsiteY147" fmla="*/ 116101 h 335353"/>
                <a:gd name="connsiteX148" fmla="*/ 88827 w 161805"/>
                <a:gd name="connsiteY148" fmla="*/ 117402 h 335353"/>
                <a:gd name="connsiteX149" fmla="*/ 90927 w 161805"/>
                <a:gd name="connsiteY149" fmla="*/ 118287 h 335353"/>
                <a:gd name="connsiteX150" fmla="*/ 94739 w 161805"/>
                <a:gd name="connsiteY150" fmla="*/ 122114 h 335353"/>
                <a:gd name="connsiteX151" fmla="*/ 96665 w 161805"/>
                <a:gd name="connsiteY151" fmla="*/ 124550 h 335353"/>
                <a:gd name="connsiteX152" fmla="*/ 95788 w 161805"/>
                <a:gd name="connsiteY152" fmla="*/ 126211 h 335353"/>
                <a:gd name="connsiteX153" fmla="*/ 96220 w 161805"/>
                <a:gd name="connsiteY153" fmla="*/ 129726 h 335353"/>
                <a:gd name="connsiteX154" fmla="*/ 93499 w 161805"/>
                <a:gd name="connsiteY154" fmla="*/ 128689 h 335353"/>
                <a:gd name="connsiteX155" fmla="*/ 93823 w 161805"/>
                <a:gd name="connsiteY155" fmla="*/ 129104 h 335353"/>
                <a:gd name="connsiteX156" fmla="*/ 97058 w 161805"/>
                <a:gd name="connsiteY156" fmla="*/ 131021 h 335353"/>
                <a:gd name="connsiteX157" fmla="*/ 101900 w 161805"/>
                <a:gd name="connsiteY157" fmla="*/ 137758 h 335353"/>
                <a:gd name="connsiteX158" fmla="*/ 106110 w 161805"/>
                <a:gd name="connsiteY158" fmla="*/ 141079 h 335353"/>
                <a:gd name="connsiteX159" fmla="*/ 110394 w 161805"/>
                <a:gd name="connsiteY159" fmla="*/ 144854 h 335353"/>
                <a:gd name="connsiteX160" fmla="*/ 111732 w 161805"/>
                <a:gd name="connsiteY160" fmla="*/ 148438 h 335353"/>
                <a:gd name="connsiteX161" fmla="*/ 115594 w 161805"/>
                <a:gd name="connsiteY161" fmla="*/ 150807 h 335353"/>
                <a:gd name="connsiteX162" fmla="*/ 119889 w 161805"/>
                <a:gd name="connsiteY162" fmla="*/ 154244 h 335353"/>
                <a:gd name="connsiteX163" fmla="*/ 119702 w 161805"/>
                <a:gd name="connsiteY163" fmla="*/ 155014 h 335353"/>
                <a:gd name="connsiteX164" fmla="*/ 120866 w 161805"/>
                <a:gd name="connsiteY164" fmla="*/ 155937 h 335353"/>
                <a:gd name="connsiteX165" fmla="*/ 123755 w 161805"/>
                <a:gd name="connsiteY165" fmla="*/ 157759 h 335353"/>
                <a:gd name="connsiteX166" fmla="*/ 125501 w 161805"/>
                <a:gd name="connsiteY166" fmla="*/ 159684 h 335353"/>
                <a:gd name="connsiteX167" fmla="*/ 126180 w 161805"/>
                <a:gd name="connsiteY167" fmla="*/ 161514 h 335353"/>
                <a:gd name="connsiteX168" fmla="*/ 127246 w 161805"/>
                <a:gd name="connsiteY168" fmla="*/ 161805 h 335353"/>
                <a:gd name="connsiteX169" fmla="*/ 128447 w 161805"/>
                <a:gd name="connsiteY169" fmla="*/ 161356 h 335353"/>
                <a:gd name="connsiteX170" fmla="*/ 129650 w 161805"/>
                <a:gd name="connsiteY170" fmla="*/ 161181 h 335353"/>
                <a:gd name="connsiteX171" fmla="*/ 130505 w 161805"/>
                <a:gd name="connsiteY171" fmla="*/ 161317 h 335353"/>
                <a:gd name="connsiteX172" fmla="*/ 131801 w 161805"/>
                <a:gd name="connsiteY172" fmla="*/ 163323 h 335353"/>
                <a:gd name="connsiteX173" fmla="*/ 133608 w 161805"/>
                <a:gd name="connsiteY173" fmla="*/ 165117 h 335353"/>
                <a:gd name="connsiteX174" fmla="*/ 134476 w 161805"/>
                <a:gd name="connsiteY174" fmla="*/ 166764 h 335353"/>
                <a:gd name="connsiteX175" fmla="*/ 135180 w 161805"/>
                <a:gd name="connsiteY175" fmla="*/ 166544 h 335353"/>
                <a:gd name="connsiteX176" fmla="*/ 135767 w 161805"/>
                <a:gd name="connsiteY176" fmla="*/ 166793 h 335353"/>
                <a:gd name="connsiteX177" fmla="*/ 135914 w 161805"/>
                <a:gd name="connsiteY177" fmla="*/ 168171 h 335353"/>
                <a:gd name="connsiteX178" fmla="*/ 136180 w 161805"/>
                <a:gd name="connsiteY178" fmla="*/ 169077 h 335353"/>
                <a:gd name="connsiteX179" fmla="*/ 138596 w 161805"/>
                <a:gd name="connsiteY179" fmla="*/ 171721 h 335353"/>
                <a:gd name="connsiteX180" fmla="*/ 139749 w 161805"/>
                <a:gd name="connsiteY180" fmla="*/ 174208 h 335353"/>
                <a:gd name="connsiteX181" fmla="*/ 142632 w 161805"/>
                <a:gd name="connsiteY181" fmla="*/ 178240 h 335353"/>
                <a:gd name="connsiteX182" fmla="*/ 144764 w 161805"/>
                <a:gd name="connsiteY182" fmla="*/ 180530 h 335353"/>
                <a:gd name="connsiteX183" fmla="*/ 146279 w 161805"/>
                <a:gd name="connsiteY183" fmla="*/ 181819 h 335353"/>
                <a:gd name="connsiteX184" fmla="*/ 148015 w 161805"/>
                <a:gd name="connsiteY184" fmla="*/ 182921 h 335353"/>
                <a:gd name="connsiteX185" fmla="*/ 149717 w 161805"/>
                <a:gd name="connsiteY185" fmla="*/ 187388 h 335353"/>
                <a:gd name="connsiteX186" fmla="*/ 150639 w 161805"/>
                <a:gd name="connsiteY186" fmla="*/ 191437 h 335353"/>
                <a:gd name="connsiteX187" fmla="*/ 152464 w 161805"/>
                <a:gd name="connsiteY187" fmla="*/ 195926 h 335353"/>
                <a:gd name="connsiteX188" fmla="*/ 153844 w 161805"/>
                <a:gd name="connsiteY188" fmla="*/ 197884 h 335353"/>
                <a:gd name="connsiteX189" fmla="*/ 153891 w 161805"/>
                <a:gd name="connsiteY189" fmla="*/ 201578 h 335353"/>
                <a:gd name="connsiteX190" fmla="*/ 155003 w 161805"/>
                <a:gd name="connsiteY190" fmla="*/ 205380 h 335353"/>
                <a:gd name="connsiteX191" fmla="*/ 156199 w 161805"/>
                <a:gd name="connsiteY191" fmla="*/ 207944 h 335353"/>
                <a:gd name="connsiteX192" fmla="*/ 156551 w 161805"/>
                <a:gd name="connsiteY192" fmla="*/ 210564 h 335353"/>
                <a:gd name="connsiteX193" fmla="*/ 156919 w 161805"/>
                <a:gd name="connsiteY193" fmla="*/ 211864 h 335353"/>
                <a:gd name="connsiteX194" fmla="*/ 157376 w 161805"/>
                <a:gd name="connsiteY194" fmla="*/ 212839 h 335353"/>
                <a:gd name="connsiteX195" fmla="*/ 158674 w 161805"/>
                <a:gd name="connsiteY195" fmla="*/ 217279 h 335353"/>
                <a:gd name="connsiteX196" fmla="*/ 158337 w 161805"/>
                <a:gd name="connsiteY196" fmla="*/ 219338 h 335353"/>
                <a:gd name="connsiteX197" fmla="*/ 157430 w 161805"/>
                <a:gd name="connsiteY197" fmla="*/ 217317 h 335353"/>
                <a:gd name="connsiteX198" fmla="*/ 157540 w 161805"/>
                <a:gd name="connsiteY198" fmla="*/ 223268 h 335353"/>
                <a:gd name="connsiteX199" fmla="*/ 158337 w 161805"/>
                <a:gd name="connsiteY199" fmla="*/ 226414 h 335353"/>
                <a:gd name="connsiteX200" fmla="*/ 157978 w 161805"/>
                <a:gd name="connsiteY200" fmla="*/ 230272 h 335353"/>
                <a:gd name="connsiteX201" fmla="*/ 158812 w 161805"/>
                <a:gd name="connsiteY201" fmla="*/ 231625 h 335353"/>
                <a:gd name="connsiteX202" fmla="*/ 160298 w 161805"/>
                <a:gd name="connsiteY202" fmla="*/ 235981 h 335353"/>
                <a:gd name="connsiteX203" fmla="*/ 161341 w 161805"/>
                <a:gd name="connsiteY203" fmla="*/ 237544 h 335353"/>
                <a:gd name="connsiteX204" fmla="*/ 161255 w 161805"/>
                <a:gd name="connsiteY204" fmla="*/ 242868 h 335353"/>
                <a:gd name="connsiteX205" fmla="*/ 161805 w 161805"/>
                <a:gd name="connsiteY205" fmla="*/ 245551 h 335353"/>
                <a:gd name="connsiteX206" fmla="*/ 160401 w 161805"/>
                <a:gd name="connsiteY206" fmla="*/ 243953 h 335353"/>
                <a:gd name="connsiteX207" fmla="*/ 159387 w 161805"/>
                <a:gd name="connsiteY207" fmla="*/ 242130 h 335353"/>
                <a:gd name="connsiteX208" fmla="*/ 158026 w 161805"/>
                <a:gd name="connsiteY208" fmla="*/ 243093 h 335353"/>
                <a:gd name="connsiteX209" fmla="*/ 156809 w 161805"/>
                <a:gd name="connsiteY209" fmla="*/ 244514 h 335353"/>
                <a:gd name="connsiteX210" fmla="*/ 158704 w 161805"/>
                <a:gd name="connsiteY210" fmla="*/ 250231 h 335353"/>
                <a:gd name="connsiteX211" fmla="*/ 156540 w 161805"/>
                <a:gd name="connsiteY211" fmla="*/ 249688 h 335353"/>
                <a:gd name="connsiteX212" fmla="*/ 156737 w 161805"/>
                <a:gd name="connsiteY212" fmla="*/ 257373 h 335353"/>
                <a:gd name="connsiteX213" fmla="*/ 157633 w 161805"/>
                <a:gd name="connsiteY213" fmla="*/ 259167 h 335353"/>
                <a:gd name="connsiteX214" fmla="*/ 157698 w 161805"/>
                <a:gd name="connsiteY214" fmla="*/ 260027 h 335353"/>
                <a:gd name="connsiteX215" fmla="*/ 157435 w 161805"/>
                <a:gd name="connsiteY215" fmla="*/ 261055 h 335353"/>
                <a:gd name="connsiteX216" fmla="*/ 156837 w 161805"/>
                <a:gd name="connsiteY216" fmla="*/ 259931 h 335353"/>
                <a:gd name="connsiteX217" fmla="*/ 156711 w 161805"/>
                <a:gd name="connsiteY217" fmla="*/ 258773 h 335353"/>
                <a:gd name="connsiteX218" fmla="*/ 156370 w 161805"/>
                <a:gd name="connsiteY218" fmla="*/ 259029 h 335353"/>
                <a:gd name="connsiteX219" fmla="*/ 156387 w 161805"/>
                <a:gd name="connsiteY219" fmla="*/ 259625 h 335353"/>
                <a:gd name="connsiteX220" fmla="*/ 155666 w 161805"/>
                <a:gd name="connsiteY220" fmla="*/ 260981 h 335353"/>
                <a:gd name="connsiteX221" fmla="*/ 155450 w 161805"/>
                <a:gd name="connsiteY221" fmla="*/ 262660 h 335353"/>
                <a:gd name="connsiteX222" fmla="*/ 156227 w 161805"/>
                <a:gd name="connsiteY222" fmla="*/ 264087 h 335353"/>
                <a:gd name="connsiteX223" fmla="*/ 156359 w 161805"/>
                <a:gd name="connsiteY223" fmla="*/ 265176 h 335353"/>
                <a:gd name="connsiteX224" fmla="*/ 155798 w 161805"/>
                <a:gd name="connsiteY224" fmla="*/ 266523 h 335353"/>
                <a:gd name="connsiteX225" fmla="*/ 154897 w 161805"/>
                <a:gd name="connsiteY225" fmla="*/ 267950 h 335353"/>
                <a:gd name="connsiteX226" fmla="*/ 152844 w 161805"/>
                <a:gd name="connsiteY226" fmla="*/ 268138 h 335353"/>
                <a:gd name="connsiteX227" fmla="*/ 152375 w 161805"/>
                <a:gd name="connsiteY227" fmla="*/ 270923 h 335353"/>
                <a:gd name="connsiteX228" fmla="*/ 151673 w 161805"/>
                <a:gd name="connsiteY228" fmla="*/ 273879 h 335353"/>
                <a:gd name="connsiteX229" fmla="*/ 148005 w 161805"/>
                <a:gd name="connsiteY229" fmla="*/ 274348 h 335353"/>
                <a:gd name="connsiteX230" fmla="*/ 145340 w 161805"/>
                <a:gd name="connsiteY230" fmla="*/ 276949 h 335353"/>
                <a:gd name="connsiteX231" fmla="*/ 142044 w 161805"/>
                <a:gd name="connsiteY231" fmla="*/ 277918 h 335353"/>
                <a:gd name="connsiteX232" fmla="*/ 139110 w 161805"/>
                <a:gd name="connsiteY232" fmla="*/ 280497 h 335353"/>
                <a:gd name="connsiteX233" fmla="*/ 135863 w 161805"/>
                <a:gd name="connsiteY233" fmla="*/ 282878 h 335353"/>
                <a:gd name="connsiteX234" fmla="*/ 133750 w 161805"/>
                <a:gd name="connsiteY234" fmla="*/ 283194 h 335353"/>
                <a:gd name="connsiteX235" fmla="*/ 131954 w 161805"/>
                <a:gd name="connsiteY235" fmla="*/ 283707 h 335353"/>
                <a:gd name="connsiteX236" fmla="*/ 129886 w 161805"/>
                <a:gd name="connsiteY236" fmla="*/ 287663 h 335353"/>
                <a:gd name="connsiteX237" fmla="*/ 126430 w 161805"/>
                <a:gd name="connsiteY237" fmla="*/ 288116 h 335353"/>
                <a:gd name="connsiteX238" fmla="*/ 120224 w 161805"/>
                <a:gd name="connsiteY238" fmla="*/ 291350 h 335353"/>
                <a:gd name="connsiteX239" fmla="*/ 118143 w 161805"/>
                <a:gd name="connsiteY239" fmla="*/ 292906 h 335353"/>
                <a:gd name="connsiteX240" fmla="*/ 116244 w 161805"/>
                <a:gd name="connsiteY240" fmla="*/ 293514 h 335353"/>
                <a:gd name="connsiteX241" fmla="*/ 113525 w 161805"/>
                <a:gd name="connsiteY241" fmla="*/ 294861 h 335353"/>
                <a:gd name="connsiteX242" fmla="*/ 112941 w 161805"/>
                <a:gd name="connsiteY242" fmla="*/ 294381 h 335353"/>
                <a:gd name="connsiteX243" fmla="*/ 112035 w 161805"/>
                <a:gd name="connsiteY243" fmla="*/ 293225 h 335353"/>
                <a:gd name="connsiteX244" fmla="*/ 109684 w 161805"/>
                <a:gd name="connsiteY244" fmla="*/ 292627 h 335353"/>
                <a:gd name="connsiteX245" fmla="*/ 108533 w 161805"/>
                <a:gd name="connsiteY245" fmla="*/ 291331 h 335353"/>
                <a:gd name="connsiteX246" fmla="*/ 108201 w 161805"/>
                <a:gd name="connsiteY246" fmla="*/ 289662 h 335353"/>
                <a:gd name="connsiteX247" fmla="*/ 107890 w 161805"/>
                <a:gd name="connsiteY247" fmla="*/ 289001 h 335353"/>
                <a:gd name="connsiteX248" fmla="*/ 107382 w 161805"/>
                <a:gd name="connsiteY248" fmla="*/ 289945 h 335353"/>
                <a:gd name="connsiteX249" fmla="*/ 106993 w 161805"/>
                <a:gd name="connsiteY249" fmla="*/ 293915 h 335353"/>
                <a:gd name="connsiteX250" fmla="*/ 106582 w 161805"/>
                <a:gd name="connsiteY250" fmla="*/ 294817 h 335353"/>
                <a:gd name="connsiteX251" fmla="*/ 105577 w 161805"/>
                <a:gd name="connsiteY251" fmla="*/ 295209 h 335353"/>
                <a:gd name="connsiteX252" fmla="*/ 103601 w 161805"/>
                <a:gd name="connsiteY252" fmla="*/ 294080 h 335353"/>
                <a:gd name="connsiteX253" fmla="*/ 101714 w 161805"/>
                <a:gd name="connsiteY253" fmla="*/ 291793 h 335353"/>
                <a:gd name="connsiteX254" fmla="*/ 99028 w 161805"/>
                <a:gd name="connsiteY254" fmla="*/ 293373 h 335353"/>
                <a:gd name="connsiteX255" fmla="*/ 99850 w 161805"/>
                <a:gd name="connsiteY255" fmla="*/ 293568 h 335353"/>
                <a:gd name="connsiteX256" fmla="*/ 101075 w 161805"/>
                <a:gd name="connsiteY256" fmla="*/ 293438 h 335353"/>
                <a:gd name="connsiteX257" fmla="*/ 102021 w 161805"/>
                <a:gd name="connsiteY257" fmla="*/ 293833 h 335353"/>
                <a:gd name="connsiteX258" fmla="*/ 102824 w 161805"/>
                <a:gd name="connsiteY258" fmla="*/ 295358 h 335353"/>
                <a:gd name="connsiteX259" fmla="*/ 102796 w 161805"/>
                <a:gd name="connsiteY259" fmla="*/ 296189 h 335353"/>
                <a:gd name="connsiteX260" fmla="*/ 102379 w 161805"/>
                <a:gd name="connsiteY260" fmla="*/ 297153 h 335353"/>
                <a:gd name="connsiteX261" fmla="*/ 99861 w 161805"/>
                <a:gd name="connsiteY261" fmla="*/ 297307 h 335353"/>
                <a:gd name="connsiteX262" fmla="*/ 96503 w 161805"/>
                <a:gd name="connsiteY262" fmla="*/ 296968 h 335353"/>
                <a:gd name="connsiteX263" fmla="*/ 95892 w 161805"/>
                <a:gd name="connsiteY263" fmla="*/ 297098 h 335353"/>
                <a:gd name="connsiteX264" fmla="*/ 98952 w 161805"/>
                <a:gd name="connsiteY264" fmla="*/ 298584 h 335353"/>
                <a:gd name="connsiteX265" fmla="*/ 101751 w 161805"/>
                <a:gd name="connsiteY265" fmla="*/ 299443 h 335353"/>
                <a:gd name="connsiteX266" fmla="*/ 102994 w 161805"/>
                <a:gd name="connsiteY266" fmla="*/ 300384 h 335353"/>
                <a:gd name="connsiteX267" fmla="*/ 102994 w 161805"/>
                <a:gd name="connsiteY267" fmla="*/ 301159 h 335353"/>
                <a:gd name="connsiteX268" fmla="*/ 101422 w 161805"/>
                <a:gd name="connsiteY268" fmla="*/ 302416 h 335353"/>
                <a:gd name="connsiteX269" fmla="*/ 100207 w 161805"/>
                <a:gd name="connsiteY269" fmla="*/ 303952 h 335353"/>
                <a:gd name="connsiteX270" fmla="*/ 100183 w 161805"/>
                <a:gd name="connsiteY270" fmla="*/ 304905 h 335353"/>
                <a:gd name="connsiteX271" fmla="*/ 100155 w 161805"/>
                <a:gd name="connsiteY271" fmla="*/ 305969 h 335353"/>
                <a:gd name="connsiteX272" fmla="*/ 98801 w 161805"/>
                <a:gd name="connsiteY272" fmla="*/ 306889 h 335353"/>
                <a:gd name="connsiteX273" fmla="*/ 97954 w 161805"/>
                <a:gd name="connsiteY273" fmla="*/ 306706 h 335353"/>
                <a:gd name="connsiteX274" fmla="*/ 95562 w 161805"/>
                <a:gd name="connsiteY274" fmla="*/ 305108 h 335353"/>
                <a:gd name="connsiteX275" fmla="*/ 88648 w 161805"/>
                <a:gd name="connsiteY275" fmla="*/ 298809 h 335353"/>
                <a:gd name="connsiteX276" fmla="*/ 89690 w 161805"/>
                <a:gd name="connsiteY276" fmla="*/ 300587 h 335353"/>
                <a:gd name="connsiteX277" fmla="*/ 96851 w 161805"/>
                <a:gd name="connsiteY277" fmla="*/ 307751 h 335353"/>
                <a:gd name="connsiteX278" fmla="*/ 98110 w 161805"/>
                <a:gd name="connsiteY278" fmla="*/ 310109 h 335353"/>
                <a:gd name="connsiteX279" fmla="*/ 98289 w 161805"/>
                <a:gd name="connsiteY279" fmla="*/ 311771 h 335353"/>
                <a:gd name="connsiteX280" fmla="*/ 97553 w 161805"/>
                <a:gd name="connsiteY280" fmla="*/ 312609 h 335353"/>
                <a:gd name="connsiteX281" fmla="*/ 96335 w 161805"/>
                <a:gd name="connsiteY281" fmla="*/ 313594 h 335353"/>
                <a:gd name="connsiteX282" fmla="*/ 93990 w 161805"/>
                <a:gd name="connsiteY282" fmla="*/ 313668 h 335353"/>
                <a:gd name="connsiteX283" fmla="*/ 90141 w 161805"/>
                <a:gd name="connsiteY283" fmla="*/ 311005 h 335353"/>
                <a:gd name="connsiteX284" fmla="*/ 83988 w 161805"/>
                <a:gd name="connsiteY284" fmla="*/ 304615 h 335353"/>
                <a:gd name="connsiteX285" fmla="*/ 81893 w 161805"/>
                <a:gd name="connsiteY285" fmla="*/ 303744 h 335353"/>
                <a:gd name="connsiteX286" fmla="*/ 88118 w 161805"/>
                <a:gd name="connsiteY286" fmla="*/ 311046 h 335353"/>
                <a:gd name="connsiteX287" fmla="*/ 89138 w 161805"/>
                <a:gd name="connsiteY287" fmla="*/ 312819 h 335353"/>
                <a:gd name="connsiteX288" fmla="*/ 90189 w 161805"/>
                <a:gd name="connsiteY288" fmla="*/ 314867 h 335353"/>
                <a:gd name="connsiteX289" fmla="*/ 89889 w 161805"/>
                <a:gd name="connsiteY289" fmla="*/ 316084 h 335353"/>
                <a:gd name="connsiteX290" fmla="*/ 89353 w 161805"/>
                <a:gd name="connsiteY290" fmla="*/ 317223 h 335353"/>
                <a:gd name="connsiteX291" fmla="*/ 74596 w 161805"/>
                <a:gd name="connsiteY291" fmla="*/ 323991 h 335353"/>
                <a:gd name="connsiteX292" fmla="*/ 72394 w 161805"/>
                <a:gd name="connsiteY292" fmla="*/ 326906 h 335353"/>
                <a:gd name="connsiteX293" fmla="*/ 70645 w 161805"/>
                <a:gd name="connsiteY293" fmla="*/ 330500 h 335353"/>
                <a:gd name="connsiteX294" fmla="*/ 67747 w 161805"/>
                <a:gd name="connsiteY294" fmla="*/ 332501 h 335353"/>
                <a:gd name="connsiteX295" fmla="*/ 66048 w 161805"/>
                <a:gd name="connsiteY295" fmla="*/ 334330 h 335353"/>
                <a:gd name="connsiteX296" fmla="*/ 61128 w 161805"/>
                <a:gd name="connsiteY296" fmla="*/ 335353 h 335353"/>
                <a:gd name="connsiteX297" fmla="*/ 58442 w 161805"/>
                <a:gd name="connsiteY297" fmla="*/ 335033 h 335353"/>
                <a:gd name="connsiteX298" fmla="*/ 61225 w 161805"/>
                <a:gd name="connsiteY298" fmla="*/ 331714 h 335353"/>
                <a:gd name="connsiteX299" fmla="*/ 59507 w 161805"/>
                <a:gd name="connsiteY299" fmla="*/ 330484 h 335353"/>
                <a:gd name="connsiteX300" fmla="*/ 59420 w 161805"/>
                <a:gd name="connsiteY300" fmla="*/ 321933 h 335353"/>
                <a:gd name="connsiteX301" fmla="*/ 60096 w 161805"/>
                <a:gd name="connsiteY301" fmla="*/ 312551 h 335353"/>
                <a:gd name="connsiteX302" fmla="*/ 61379 w 161805"/>
                <a:gd name="connsiteY302" fmla="*/ 307862 h 335353"/>
                <a:gd name="connsiteX303" fmla="*/ 63234 w 161805"/>
                <a:gd name="connsiteY303" fmla="*/ 306693 h 335353"/>
                <a:gd name="connsiteX304" fmla="*/ 65565 w 161805"/>
                <a:gd name="connsiteY304" fmla="*/ 305971 h 335353"/>
                <a:gd name="connsiteX305" fmla="*/ 65617 w 161805"/>
                <a:gd name="connsiteY305" fmla="*/ 304982 h 335353"/>
                <a:gd name="connsiteX306" fmla="*/ 65386 w 161805"/>
                <a:gd name="connsiteY306" fmla="*/ 303856 h 335353"/>
                <a:gd name="connsiteX307" fmla="*/ 64134 w 161805"/>
                <a:gd name="connsiteY307" fmla="*/ 302254 h 335353"/>
                <a:gd name="connsiteX308" fmla="*/ 62762 w 161805"/>
                <a:gd name="connsiteY308" fmla="*/ 301514 h 335353"/>
                <a:gd name="connsiteX309" fmla="*/ 60716 w 161805"/>
                <a:gd name="connsiteY309" fmla="*/ 301197 h 335353"/>
                <a:gd name="connsiteX310" fmla="*/ 59139 w 161805"/>
                <a:gd name="connsiteY310" fmla="*/ 299232 h 335353"/>
                <a:gd name="connsiteX311" fmla="*/ 57939 w 161805"/>
                <a:gd name="connsiteY311" fmla="*/ 299313 h 335353"/>
                <a:gd name="connsiteX312" fmla="*/ 56078 w 161805"/>
                <a:gd name="connsiteY312" fmla="*/ 299965 h 335353"/>
                <a:gd name="connsiteX313" fmla="*/ 54954 w 161805"/>
                <a:gd name="connsiteY313" fmla="*/ 299122 h 335353"/>
                <a:gd name="connsiteX314" fmla="*/ 54542 w 161805"/>
                <a:gd name="connsiteY314" fmla="*/ 297799 h 335353"/>
                <a:gd name="connsiteX315" fmla="*/ 52819 w 161805"/>
                <a:gd name="connsiteY315" fmla="*/ 296166 h 335353"/>
                <a:gd name="connsiteX316" fmla="*/ 50835 w 161805"/>
                <a:gd name="connsiteY316" fmla="*/ 294574 h 335353"/>
                <a:gd name="connsiteX317" fmla="*/ 51733 w 161805"/>
                <a:gd name="connsiteY317" fmla="*/ 294325 h 335353"/>
                <a:gd name="connsiteX318" fmla="*/ 52773 w 161805"/>
                <a:gd name="connsiteY318" fmla="*/ 293410 h 335353"/>
                <a:gd name="connsiteX319" fmla="*/ 53883 w 161805"/>
                <a:gd name="connsiteY319" fmla="*/ 292233 h 335353"/>
                <a:gd name="connsiteX320" fmla="*/ 56656 w 161805"/>
                <a:gd name="connsiteY320" fmla="*/ 292070 h 335353"/>
                <a:gd name="connsiteX321" fmla="*/ 59437 w 161805"/>
                <a:gd name="connsiteY321" fmla="*/ 292125 h 335353"/>
                <a:gd name="connsiteX322" fmla="*/ 60215 w 161805"/>
                <a:gd name="connsiteY322" fmla="*/ 291819 h 335353"/>
                <a:gd name="connsiteX323" fmla="*/ 61335 w 161805"/>
                <a:gd name="connsiteY323" fmla="*/ 290573 h 335353"/>
                <a:gd name="connsiteX324" fmla="*/ 63162 w 161805"/>
                <a:gd name="connsiteY324" fmla="*/ 288970 h 335353"/>
                <a:gd name="connsiteX325" fmla="*/ 64545 w 161805"/>
                <a:gd name="connsiteY325" fmla="*/ 288082 h 335353"/>
                <a:gd name="connsiteX326" fmla="*/ 64870 w 161805"/>
                <a:gd name="connsiteY326" fmla="*/ 287363 h 335353"/>
                <a:gd name="connsiteX327" fmla="*/ 64317 w 161805"/>
                <a:gd name="connsiteY327" fmla="*/ 285672 h 335353"/>
                <a:gd name="connsiteX328" fmla="*/ 64011 w 161805"/>
                <a:gd name="connsiteY328" fmla="*/ 283939 h 335353"/>
                <a:gd name="connsiteX329" fmla="*/ 64529 w 161805"/>
                <a:gd name="connsiteY329" fmla="*/ 283391 h 335353"/>
                <a:gd name="connsiteX330" fmla="*/ 67045 w 161805"/>
                <a:gd name="connsiteY330" fmla="*/ 283700 h 335353"/>
                <a:gd name="connsiteX331" fmla="*/ 69805 w 161805"/>
                <a:gd name="connsiteY331" fmla="*/ 284507 h 335353"/>
                <a:gd name="connsiteX332" fmla="*/ 70476 w 161805"/>
                <a:gd name="connsiteY332" fmla="*/ 284872 h 335353"/>
                <a:gd name="connsiteX333" fmla="*/ 72065 w 161805"/>
                <a:gd name="connsiteY333" fmla="*/ 282749 h 335353"/>
                <a:gd name="connsiteX334" fmla="*/ 72491 w 161805"/>
                <a:gd name="connsiteY334" fmla="*/ 282491 h 335353"/>
                <a:gd name="connsiteX335" fmla="*/ 73529 w 161805"/>
                <a:gd name="connsiteY335" fmla="*/ 282495 h 335353"/>
                <a:gd name="connsiteX336" fmla="*/ 76268 w 161805"/>
                <a:gd name="connsiteY336" fmla="*/ 282104 h 335353"/>
                <a:gd name="connsiteX337" fmla="*/ 78948 w 161805"/>
                <a:gd name="connsiteY337" fmla="*/ 281541 h 335353"/>
                <a:gd name="connsiteX338" fmla="*/ 80215 w 161805"/>
                <a:gd name="connsiteY338" fmla="*/ 281632 h 335353"/>
                <a:gd name="connsiteX339" fmla="*/ 81446 w 161805"/>
                <a:gd name="connsiteY339" fmla="*/ 283062 h 335353"/>
                <a:gd name="connsiteX340" fmla="*/ 82387 w 161805"/>
                <a:gd name="connsiteY340" fmla="*/ 284460 h 335353"/>
                <a:gd name="connsiteX341" fmla="*/ 82871 w 161805"/>
                <a:gd name="connsiteY341" fmla="*/ 284574 h 335353"/>
                <a:gd name="connsiteX342" fmla="*/ 84264 w 161805"/>
                <a:gd name="connsiteY342" fmla="*/ 283978 h 335353"/>
                <a:gd name="connsiteX343" fmla="*/ 85412 w 161805"/>
                <a:gd name="connsiteY343" fmla="*/ 284724 h 335353"/>
                <a:gd name="connsiteX344" fmla="*/ 87816 w 161805"/>
                <a:gd name="connsiteY344" fmla="*/ 285943 h 335353"/>
                <a:gd name="connsiteX345" fmla="*/ 89256 w 161805"/>
                <a:gd name="connsiteY345" fmla="*/ 285996 h 335353"/>
                <a:gd name="connsiteX346" fmla="*/ 88539 w 161805"/>
                <a:gd name="connsiteY346" fmla="*/ 283154 h 335353"/>
                <a:gd name="connsiteX347" fmla="*/ 89345 w 161805"/>
                <a:gd name="connsiteY347" fmla="*/ 281133 h 335353"/>
                <a:gd name="connsiteX348" fmla="*/ 89190 w 161805"/>
                <a:gd name="connsiteY348" fmla="*/ 280578 h 335353"/>
                <a:gd name="connsiteX349" fmla="*/ 87831 w 161805"/>
                <a:gd name="connsiteY349" fmla="*/ 279648 h 335353"/>
                <a:gd name="connsiteX350" fmla="*/ 83234 w 161805"/>
                <a:gd name="connsiteY350" fmla="*/ 275928 h 335353"/>
                <a:gd name="connsiteX351" fmla="*/ 82448 w 161805"/>
                <a:gd name="connsiteY351" fmla="*/ 274821 h 335353"/>
                <a:gd name="connsiteX352" fmla="*/ 82556 w 161805"/>
                <a:gd name="connsiteY352" fmla="*/ 273072 h 335353"/>
                <a:gd name="connsiteX353" fmla="*/ 82402 w 161805"/>
                <a:gd name="connsiteY353" fmla="*/ 270504 h 335353"/>
                <a:gd name="connsiteX354" fmla="*/ 81990 w 161805"/>
                <a:gd name="connsiteY354" fmla="*/ 268890 h 335353"/>
                <a:gd name="connsiteX355" fmla="*/ 82059 w 161805"/>
                <a:gd name="connsiteY355" fmla="*/ 267944 h 335353"/>
                <a:gd name="connsiteX356" fmla="*/ 82347 w 161805"/>
                <a:gd name="connsiteY356" fmla="*/ 267189 h 335353"/>
                <a:gd name="connsiteX357" fmla="*/ 83195 w 161805"/>
                <a:gd name="connsiteY357" fmla="*/ 266890 h 335353"/>
                <a:gd name="connsiteX358" fmla="*/ 84007 w 161805"/>
                <a:gd name="connsiteY358" fmla="*/ 266788 h 335353"/>
                <a:gd name="connsiteX359" fmla="*/ 84663 w 161805"/>
                <a:gd name="connsiteY359" fmla="*/ 266126 h 335353"/>
                <a:gd name="connsiteX360" fmla="*/ 85765 w 161805"/>
                <a:gd name="connsiteY360" fmla="*/ 264433 h 335353"/>
                <a:gd name="connsiteX361" fmla="*/ 87907 w 161805"/>
                <a:gd name="connsiteY361" fmla="*/ 264584 h 335353"/>
                <a:gd name="connsiteX362" fmla="*/ 90919 w 161805"/>
                <a:gd name="connsiteY362" fmla="*/ 265546 h 335353"/>
                <a:gd name="connsiteX363" fmla="*/ 93145 w 161805"/>
                <a:gd name="connsiteY363" fmla="*/ 266140 h 335353"/>
                <a:gd name="connsiteX364" fmla="*/ 94458 w 161805"/>
                <a:gd name="connsiteY364" fmla="*/ 266024 h 335353"/>
                <a:gd name="connsiteX365" fmla="*/ 94752 w 161805"/>
                <a:gd name="connsiteY365" fmla="*/ 265783 h 335353"/>
                <a:gd name="connsiteX366" fmla="*/ 94713 w 161805"/>
                <a:gd name="connsiteY366" fmla="*/ 264873 h 335353"/>
                <a:gd name="connsiteX367" fmla="*/ 94868 w 161805"/>
                <a:gd name="connsiteY367" fmla="*/ 260987 h 335353"/>
                <a:gd name="connsiteX368" fmla="*/ 94782 w 161805"/>
                <a:gd name="connsiteY368" fmla="*/ 260164 h 335353"/>
                <a:gd name="connsiteX369" fmla="*/ 96678 w 161805"/>
                <a:gd name="connsiteY369" fmla="*/ 259781 h 335353"/>
                <a:gd name="connsiteX370" fmla="*/ 99583 w 161805"/>
                <a:gd name="connsiteY370" fmla="*/ 259698 h 335353"/>
                <a:gd name="connsiteX371" fmla="*/ 101111 w 161805"/>
                <a:gd name="connsiteY371" fmla="*/ 259472 h 335353"/>
                <a:gd name="connsiteX372" fmla="*/ 102538 w 161805"/>
                <a:gd name="connsiteY372" fmla="*/ 257834 h 335353"/>
                <a:gd name="connsiteX373" fmla="*/ 106209 w 161805"/>
                <a:gd name="connsiteY373" fmla="*/ 257269 h 335353"/>
                <a:gd name="connsiteX374" fmla="*/ 108864 w 161805"/>
                <a:gd name="connsiteY374" fmla="*/ 255063 h 335353"/>
                <a:gd name="connsiteX375" fmla="*/ 111258 w 161805"/>
                <a:gd name="connsiteY375" fmla="*/ 252792 h 335353"/>
                <a:gd name="connsiteX376" fmla="*/ 112433 w 161805"/>
                <a:gd name="connsiteY376" fmla="*/ 252188 h 335353"/>
                <a:gd name="connsiteX377" fmla="*/ 113928 w 161805"/>
                <a:gd name="connsiteY377" fmla="*/ 251793 h 335353"/>
                <a:gd name="connsiteX378" fmla="*/ 115041 w 161805"/>
                <a:gd name="connsiteY378" fmla="*/ 251850 h 335353"/>
                <a:gd name="connsiteX379" fmla="*/ 116441 w 161805"/>
                <a:gd name="connsiteY379" fmla="*/ 253164 h 335353"/>
                <a:gd name="connsiteX380" fmla="*/ 117605 w 161805"/>
                <a:gd name="connsiteY380" fmla="*/ 252374 h 335353"/>
                <a:gd name="connsiteX381" fmla="*/ 118941 w 161805"/>
                <a:gd name="connsiteY381" fmla="*/ 250828 h 335353"/>
                <a:gd name="connsiteX382" fmla="*/ 119641 w 161805"/>
                <a:gd name="connsiteY382" fmla="*/ 249319 h 335353"/>
                <a:gd name="connsiteX383" fmla="*/ 120026 w 161805"/>
                <a:gd name="connsiteY383" fmla="*/ 246890 h 335353"/>
                <a:gd name="connsiteX384" fmla="*/ 119762 w 161805"/>
                <a:gd name="connsiteY384" fmla="*/ 243163 h 335353"/>
                <a:gd name="connsiteX385" fmla="*/ 119054 w 161805"/>
                <a:gd name="connsiteY385" fmla="*/ 240246 h 335353"/>
                <a:gd name="connsiteX386" fmla="*/ 118391 w 161805"/>
                <a:gd name="connsiteY386" fmla="*/ 238058 h 335353"/>
                <a:gd name="connsiteX387" fmla="*/ 118254 w 161805"/>
                <a:gd name="connsiteY387" fmla="*/ 235872 h 335353"/>
                <a:gd name="connsiteX388" fmla="*/ 119806 w 161805"/>
                <a:gd name="connsiteY388" fmla="*/ 231485 h 335353"/>
                <a:gd name="connsiteX389" fmla="*/ 121131 w 161805"/>
                <a:gd name="connsiteY389" fmla="*/ 226706 h 335353"/>
                <a:gd name="connsiteX390" fmla="*/ 120876 w 161805"/>
                <a:gd name="connsiteY390" fmla="*/ 224818 h 335353"/>
                <a:gd name="connsiteX391" fmla="*/ 119432 w 161805"/>
                <a:gd name="connsiteY391" fmla="*/ 221834 h 335353"/>
                <a:gd name="connsiteX392" fmla="*/ 117965 w 161805"/>
                <a:gd name="connsiteY392" fmla="*/ 218198 h 335353"/>
                <a:gd name="connsiteX393" fmla="*/ 116355 w 161805"/>
                <a:gd name="connsiteY393" fmla="*/ 214200 h 335353"/>
                <a:gd name="connsiteX394" fmla="*/ 115750 w 161805"/>
                <a:gd name="connsiteY394" fmla="*/ 213604 h 335353"/>
                <a:gd name="connsiteX395" fmla="*/ 115318 w 161805"/>
                <a:gd name="connsiteY395" fmla="*/ 212490 h 335353"/>
                <a:gd name="connsiteX396" fmla="*/ 115072 w 161805"/>
                <a:gd name="connsiteY396" fmla="*/ 211189 h 335353"/>
                <a:gd name="connsiteX397" fmla="*/ 115711 w 161805"/>
                <a:gd name="connsiteY397" fmla="*/ 207100 h 335353"/>
                <a:gd name="connsiteX398" fmla="*/ 115802 w 161805"/>
                <a:gd name="connsiteY398" fmla="*/ 205728 h 335353"/>
                <a:gd name="connsiteX399" fmla="*/ 117658 w 161805"/>
                <a:gd name="connsiteY399" fmla="*/ 203866 h 335353"/>
                <a:gd name="connsiteX400" fmla="*/ 118647 w 161805"/>
                <a:gd name="connsiteY400" fmla="*/ 201732 h 335353"/>
                <a:gd name="connsiteX401" fmla="*/ 119578 w 161805"/>
                <a:gd name="connsiteY401" fmla="*/ 199379 h 335353"/>
                <a:gd name="connsiteX402" fmla="*/ 119229 w 161805"/>
                <a:gd name="connsiteY402" fmla="*/ 198134 h 335353"/>
                <a:gd name="connsiteX403" fmla="*/ 119103 w 161805"/>
                <a:gd name="connsiteY403" fmla="*/ 195597 h 335353"/>
                <a:gd name="connsiteX404" fmla="*/ 119341 w 161805"/>
                <a:gd name="connsiteY404" fmla="*/ 194367 h 335353"/>
                <a:gd name="connsiteX405" fmla="*/ 118902 w 161805"/>
                <a:gd name="connsiteY405" fmla="*/ 193370 h 335353"/>
                <a:gd name="connsiteX406" fmla="*/ 118365 w 161805"/>
                <a:gd name="connsiteY406" fmla="*/ 191925 h 335353"/>
                <a:gd name="connsiteX407" fmla="*/ 118717 w 161805"/>
                <a:gd name="connsiteY407" fmla="*/ 190985 h 335353"/>
                <a:gd name="connsiteX408" fmla="*/ 120021 w 161805"/>
                <a:gd name="connsiteY408" fmla="*/ 190181 h 335353"/>
                <a:gd name="connsiteX409" fmla="*/ 120781 w 161805"/>
                <a:gd name="connsiteY409" fmla="*/ 188792 h 335353"/>
                <a:gd name="connsiteX410" fmla="*/ 121755 w 161805"/>
                <a:gd name="connsiteY410" fmla="*/ 187177 h 335353"/>
                <a:gd name="connsiteX411" fmla="*/ 122184 w 161805"/>
                <a:gd name="connsiteY411" fmla="*/ 185698 h 335353"/>
                <a:gd name="connsiteX412" fmla="*/ 121489 w 161805"/>
                <a:gd name="connsiteY412" fmla="*/ 184462 h 335353"/>
                <a:gd name="connsiteX413" fmla="*/ 120219 w 161805"/>
                <a:gd name="connsiteY413" fmla="*/ 182612 h 335353"/>
                <a:gd name="connsiteX414" fmla="*/ 117905 w 161805"/>
                <a:gd name="connsiteY414" fmla="*/ 180932 h 335353"/>
                <a:gd name="connsiteX415" fmla="*/ 115234 w 161805"/>
                <a:gd name="connsiteY415" fmla="*/ 178789 h 335353"/>
                <a:gd name="connsiteX416" fmla="*/ 113921 w 161805"/>
                <a:gd name="connsiteY416" fmla="*/ 177470 h 335353"/>
                <a:gd name="connsiteX417" fmla="*/ 112887 w 161805"/>
                <a:gd name="connsiteY417" fmla="*/ 176126 h 335353"/>
                <a:gd name="connsiteX418" fmla="*/ 111934 w 161805"/>
                <a:gd name="connsiteY418" fmla="*/ 174558 h 335353"/>
                <a:gd name="connsiteX419" fmla="*/ 111411 w 161805"/>
                <a:gd name="connsiteY419" fmla="*/ 173307 h 335353"/>
                <a:gd name="connsiteX420" fmla="*/ 111919 w 161805"/>
                <a:gd name="connsiteY420" fmla="*/ 172488 h 335353"/>
                <a:gd name="connsiteX421" fmla="*/ 115717 w 161805"/>
                <a:gd name="connsiteY421" fmla="*/ 170604 h 335353"/>
                <a:gd name="connsiteX422" fmla="*/ 116410 w 161805"/>
                <a:gd name="connsiteY422" fmla="*/ 169925 h 335353"/>
                <a:gd name="connsiteX423" fmla="*/ 116812 w 161805"/>
                <a:gd name="connsiteY423" fmla="*/ 168878 h 335353"/>
                <a:gd name="connsiteX424" fmla="*/ 116508 w 161805"/>
                <a:gd name="connsiteY424" fmla="*/ 167854 h 335353"/>
                <a:gd name="connsiteX425" fmla="*/ 115484 w 161805"/>
                <a:gd name="connsiteY425" fmla="*/ 167301 h 335353"/>
                <a:gd name="connsiteX426" fmla="*/ 114299 w 161805"/>
                <a:gd name="connsiteY426" fmla="*/ 166923 h 335353"/>
                <a:gd name="connsiteX427" fmla="*/ 112549 w 161805"/>
                <a:gd name="connsiteY427" fmla="*/ 165737 h 335353"/>
                <a:gd name="connsiteX428" fmla="*/ 109284 w 161805"/>
                <a:gd name="connsiteY428" fmla="*/ 162481 h 335353"/>
                <a:gd name="connsiteX429" fmla="*/ 107786 w 161805"/>
                <a:gd name="connsiteY429" fmla="*/ 161755 h 335353"/>
                <a:gd name="connsiteX430" fmla="*/ 106209 w 161805"/>
                <a:gd name="connsiteY430" fmla="*/ 160818 h 335353"/>
                <a:gd name="connsiteX431" fmla="*/ 105372 w 161805"/>
                <a:gd name="connsiteY431" fmla="*/ 159832 h 335353"/>
                <a:gd name="connsiteX432" fmla="*/ 104450 w 161805"/>
                <a:gd name="connsiteY432" fmla="*/ 157128 h 335353"/>
                <a:gd name="connsiteX433" fmla="*/ 104037 w 161805"/>
                <a:gd name="connsiteY433" fmla="*/ 156886 h 335353"/>
                <a:gd name="connsiteX434" fmla="*/ 103134 w 161805"/>
                <a:gd name="connsiteY434" fmla="*/ 157702 h 335353"/>
                <a:gd name="connsiteX435" fmla="*/ 101983 w 161805"/>
                <a:gd name="connsiteY435" fmla="*/ 158560 h 335353"/>
                <a:gd name="connsiteX436" fmla="*/ 101023 w 161805"/>
                <a:gd name="connsiteY436" fmla="*/ 158414 h 335353"/>
                <a:gd name="connsiteX437" fmla="*/ 100146 w 161805"/>
                <a:gd name="connsiteY437" fmla="*/ 157650 h 335353"/>
                <a:gd name="connsiteX438" fmla="*/ 99727 w 161805"/>
                <a:gd name="connsiteY438" fmla="*/ 156621 h 335353"/>
                <a:gd name="connsiteX439" fmla="*/ 98758 w 161805"/>
                <a:gd name="connsiteY439" fmla="*/ 155209 h 335353"/>
                <a:gd name="connsiteX440" fmla="*/ 97708 w 161805"/>
                <a:gd name="connsiteY440" fmla="*/ 154058 h 335353"/>
                <a:gd name="connsiteX441" fmla="*/ 97432 w 161805"/>
                <a:gd name="connsiteY441" fmla="*/ 150187 h 335353"/>
                <a:gd name="connsiteX442" fmla="*/ 97261 w 161805"/>
                <a:gd name="connsiteY442" fmla="*/ 148923 h 335353"/>
                <a:gd name="connsiteX443" fmla="*/ 96736 w 161805"/>
                <a:gd name="connsiteY443" fmla="*/ 147161 h 335353"/>
                <a:gd name="connsiteX444" fmla="*/ 95920 w 161805"/>
                <a:gd name="connsiteY444" fmla="*/ 146530 h 335353"/>
                <a:gd name="connsiteX445" fmla="*/ 95050 w 161805"/>
                <a:gd name="connsiteY445" fmla="*/ 146059 h 335353"/>
                <a:gd name="connsiteX446" fmla="*/ 93003 w 161805"/>
                <a:gd name="connsiteY446" fmla="*/ 142847 h 335353"/>
                <a:gd name="connsiteX447" fmla="*/ 91591 w 161805"/>
                <a:gd name="connsiteY447" fmla="*/ 141183 h 335353"/>
                <a:gd name="connsiteX448" fmla="*/ 85769 w 161805"/>
                <a:gd name="connsiteY448" fmla="*/ 136663 h 335353"/>
                <a:gd name="connsiteX449" fmla="*/ 85046 w 161805"/>
                <a:gd name="connsiteY449" fmla="*/ 135940 h 335353"/>
                <a:gd name="connsiteX450" fmla="*/ 83480 w 161805"/>
                <a:gd name="connsiteY450" fmla="*/ 134079 h 335353"/>
                <a:gd name="connsiteX451" fmla="*/ 80755 w 161805"/>
                <a:gd name="connsiteY451" fmla="*/ 131440 h 335353"/>
                <a:gd name="connsiteX452" fmla="*/ 78807 w 161805"/>
                <a:gd name="connsiteY452" fmla="*/ 129310 h 335353"/>
                <a:gd name="connsiteX453" fmla="*/ 77388 w 161805"/>
                <a:gd name="connsiteY453" fmla="*/ 127107 h 335353"/>
                <a:gd name="connsiteX454" fmla="*/ 76734 w 161805"/>
                <a:gd name="connsiteY454" fmla="*/ 125193 h 335353"/>
                <a:gd name="connsiteX455" fmla="*/ 76531 w 161805"/>
                <a:gd name="connsiteY455" fmla="*/ 123700 h 335353"/>
                <a:gd name="connsiteX456" fmla="*/ 74985 w 161805"/>
                <a:gd name="connsiteY456" fmla="*/ 121560 h 335353"/>
                <a:gd name="connsiteX457" fmla="*/ 73651 w 161805"/>
                <a:gd name="connsiteY457" fmla="*/ 119804 h 335353"/>
                <a:gd name="connsiteX458" fmla="*/ 72363 w 161805"/>
                <a:gd name="connsiteY458" fmla="*/ 119234 h 335353"/>
                <a:gd name="connsiteX459" fmla="*/ 70893 w 161805"/>
                <a:gd name="connsiteY459" fmla="*/ 118997 h 335353"/>
                <a:gd name="connsiteX460" fmla="*/ 69561 w 161805"/>
                <a:gd name="connsiteY460" fmla="*/ 117952 h 335353"/>
                <a:gd name="connsiteX461" fmla="*/ 67129 w 161805"/>
                <a:gd name="connsiteY461" fmla="*/ 115590 h 335353"/>
                <a:gd name="connsiteX462" fmla="*/ 66051 w 161805"/>
                <a:gd name="connsiteY462" fmla="*/ 114069 h 335353"/>
                <a:gd name="connsiteX463" fmla="*/ 65417 w 161805"/>
                <a:gd name="connsiteY463" fmla="*/ 113044 h 335353"/>
                <a:gd name="connsiteX464" fmla="*/ 65443 w 161805"/>
                <a:gd name="connsiteY464" fmla="*/ 111989 h 335353"/>
                <a:gd name="connsiteX465" fmla="*/ 66028 w 161805"/>
                <a:gd name="connsiteY465" fmla="*/ 110232 h 335353"/>
                <a:gd name="connsiteX466" fmla="*/ 66734 w 161805"/>
                <a:gd name="connsiteY466" fmla="*/ 109231 h 335353"/>
                <a:gd name="connsiteX467" fmla="*/ 66758 w 161805"/>
                <a:gd name="connsiteY467" fmla="*/ 108449 h 335353"/>
                <a:gd name="connsiteX468" fmla="*/ 66065 w 161805"/>
                <a:gd name="connsiteY468" fmla="*/ 107811 h 335353"/>
                <a:gd name="connsiteX469" fmla="*/ 63367 w 161805"/>
                <a:gd name="connsiteY469" fmla="*/ 106679 h 335353"/>
                <a:gd name="connsiteX470" fmla="*/ 57250 w 161805"/>
                <a:gd name="connsiteY470" fmla="*/ 104959 h 335353"/>
                <a:gd name="connsiteX471" fmla="*/ 54968 w 161805"/>
                <a:gd name="connsiteY471" fmla="*/ 103649 h 335353"/>
                <a:gd name="connsiteX472" fmla="*/ 52860 w 161805"/>
                <a:gd name="connsiteY472" fmla="*/ 101967 h 335353"/>
                <a:gd name="connsiteX473" fmla="*/ 51264 w 161805"/>
                <a:gd name="connsiteY473" fmla="*/ 100827 h 335353"/>
                <a:gd name="connsiteX474" fmla="*/ 43808 w 161805"/>
                <a:gd name="connsiteY474" fmla="*/ 95974 h 335353"/>
                <a:gd name="connsiteX475" fmla="*/ 41547 w 161805"/>
                <a:gd name="connsiteY475" fmla="*/ 95163 h 335353"/>
                <a:gd name="connsiteX476" fmla="*/ 39601 w 161805"/>
                <a:gd name="connsiteY476" fmla="*/ 94301 h 335353"/>
                <a:gd name="connsiteX477" fmla="*/ 39010 w 161805"/>
                <a:gd name="connsiteY477" fmla="*/ 93464 h 335353"/>
                <a:gd name="connsiteX478" fmla="*/ 39115 w 161805"/>
                <a:gd name="connsiteY478" fmla="*/ 92661 h 335353"/>
                <a:gd name="connsiteX479" fmla="*/ 39903 w 161805"/>
                <a:gd name="connsiteY479" fmla="*/ 92063 h 335353"/>
                <a:gd name="connsiteX480" fmla="*/ 42016 w 161805"/>
                <a:gd name="connsiteY480" fmla="*/ 90815 h 335353"/>
                <a:gd name="connsiteX481" fmla="*/ 42797 w 161805"/>
                <a:gd name="connsiteY481" fmla="*/ 89389 h 335353"/>
                <a:gd name="connsiteX482" fmla="*/ 42547 w 161805"/>
                <a:gd name="connsiteY482" fmla="*/ 87516 h 335353"/>
                <a:gd name="connsiteX483" fmla="*/ 41704 w 161805"/>
                <a:gd name="connsiteY483" fmla="*/ 85625 h 335353"/>
                <a:gd name="connsiteX484" fmla="*/ 42115 w 161805"/>
                <a:gd name="connsiteY484" fmla="*/ 84966 h 335353"/>
                <a:gd name="connsiteX485" fmla="*/ 42795 w 161805"/>
                <a:gd name="connsiteY485" fmla="*/ 84891 h 335353"/>
                <a:gd name="connsiteX486" fmla="*/ 44218 w 161805"/>
                <a:gd name="connsiteY486" fmla="*/ 84835 h 335353"/>
                <a:gd name="connsiteX487" fmla="*/ 47153 w 161805"/>
                <a:gd name="connsiteY487" fmla="*/ 84728 h 335353"/>
                <a:gd name="connsiteX488" fmla="*/ 53486 w 161805"/>
                <a:gd name="connsiteY488" fmla="*/ 86450 h 335353"/>
                <a:gd name="connsiteX489" fmla="*/ 54406 w 161805"/>
                <a:gd name="connsiteY489" fmla="*/ 86262 h 335353"/>
                <a:gd name="connsiteX490" fmla="*/ 57840 w 161805"/>
                <a:gd name="connsiteY490" fmla="*/ 83137 h 335353"/>
                <a:gd name="connsiteX491" fmla="*/ 59135 w 161805"/>
                <a:gd name="connsiteY491" fmla="*/ 81267 h 335353"/>
                <a:gd name="connsiteX492" fmla="*/ 59431 w 161805"/>
                <a:gd name="connsiteY492" fmla="*/ 79706 h 335353"/>
                <a:gd name="connsiteX493" fmla="*/ 60109 w 161805"/>
                <a:gd name="connsiteY493" fmla="*/ 78714 h 335353"/>
                <a:gd name="connsiteX494" fmla="*/ 61925 w 161805"/>
                <a:gd name="connsiteY494" fmla="*/ 77082 h 335353"/>
                <a:gd name="connsiteX495" fmla="*/ 61953 w 161805"/>
                <a:gd name="connsiteY495" fmla="*/ 75593 h 335353"/>
                <a:gd name="connsiteX496" fmla="*/ 61057 w 161805"/>
                <a:gd name="connsiteY496" fmla="*/ 73607 h 335353"/>
                <a:gd name="connsiteX497" fmla="*/ 60154 w 161805"/>
                <a:gd name="connsiteY497" fmla="*/ 72840 h 335353"/>
                <a:gd name="connsiteX498" fmla="*/ 59377 w 161805"/>
                <a:gd name="connsiteY498" fmla="*/ 72508 h 335353"/>
                <a:gd name="connsiteX499" fmla="*/ 56857 w 161805"/>
                <a:gd name="connsiteY499" fmla="*/ 72773 h 335353"/>
                <a:gd name="connsiteX500" fmla="*/ 56375 w 161805"/>
                <a:gd name="connsiteY500" fmla="*/ 72327 h 335353"/>
                <a:gd name="connsiteX501" fmla="*/ 56043 w 161805"/>
                <a:gd name="connsiteY501" fmla="*/ 70846 h 335353"/>
                <a:gd name="connsiteX502" fmla="*/ 55922 w 161805"/>
                <a:gd name="connsiteY502" fmla="*/ 69937 h 335353"/>
                <a:gd name="connsiteX503" fmla="*/ 55091 w 161805"/>
                <a:gd name="connsiteY503" fmla="*/ 68877 h 335353"/>
                <a:gd name="connsiteX504" fmla="*/ 52379 w 161805"/>
                <a:gd name="connsiteY504" fmla="*/ 67975 h 335353"/>
                <a:gd name="connsiteX505" fmla="*/ 50079 w 161805"/>
                <a:gd name="connsiteY505" fmla="*/ 67719 h 335353"/>
                <a:gd name="connsiteX506" fmla="*/ 49538 w 161805"/>
                <a:gd name="connsiteY506" fmla="*/ 67336 h 335353"/>
                <a:gd name="connsiteX507" fmla="*/ 50424 w 161805"/>
                <a:gd name="connsiteY507" fmla="*/ 66314 h 335353"/>
                <a:gd name="connsiteX508" fmla="*/ 51990 w 161805"/>
                <a:gd name="connsiteY508" fmla="*/ 65303 h 335353"/>
                <a:gd name="connsiteX509" fmla="*/ 53186 w 161805"/>
                <a:gd name="connsiteY509" fmla="*/ 64720 h 335353"/>
                <a:gd name="connsiteX510" fmla="*/ 54125 w 161805"/>
                <a:gd name="connsiteY510" fmla="*/ 63674 h 335353"/>
                <a:gd name="connsiteX511" fmla="*/ 54303 w 161805"/>
                <a:gd name="connsiteY511" fmla="*/ 62603 h 335353"/>
                <a:gd name="connsiteX512" fmla="*/ 53134 w 161805"/>
                <a:gd name="connsiteY512" fmla="*/ 61650 h 335353"/>
                <a:gd name="connsiteX513" fmla="*/ 51610 w 161805"/>
                <a:gd name="connsiteY513" fmla="*/ 60595 h 335353"/>
                <a:gd name="connsiteX514" fmla="*/ 49137 w 161805"/>
                <a:gd name="connsiteY514" fmla="*/ 58579 h 335353"/>
                <a:gd name="connsiteX515" fmla="*/ 45726 w 161805"/>
                <a:gd name="connsiteY515" fmla="*/ 56435 h 335353"/>
                <a:gd name="connsiteX516" fmla="*/ 43648 w 161805"/>
                <a:gd name="connsiteY516" fmla="*/ 55707 h 335353"/>
                <a:gd name="connsiteX517" fmla="*/ 42558 w 161805"/>
                <a:gd name="connsiteY517" fmla="*/ 55806 h 335353"/>
                <a:gd name="connsiteX518" fmla="*/ 38798 w 161805"/>
                <a:gd name="connsiteY518" fmla="*/ 57648 h 335353"/>
                <a:gd name="connsiteX519" fmla="*/ 36775 w 161805"/>
                <a:gd name="connsiteY519" fmla="*/ 58846 h 335353"/>
                <a:gd name="connsiteX520" fmla="*/ 35093 w 161805"/>
                <a:gd name="connsiteY520" fmla="*/ 60983 h 335353"/>
                <a:gd name="connsiteX521" fmla="*/ 33337 w 161805"/>
                <a:gd name="connsiteY521" fmla="*/ 61441 h 335353"/>
                <a:gd name="connsiteX522" fmla="*/ 31560 w 161805"/>
                <a:gd name="connsiteY522" fmla="*/ 60500 h 335353"/>
                <a:gd name="connsiteX523" fmla="*/ 29545 w 161805"/>
                <a:gd name="connsiteY523" fmla="*/ 59532 h 335353"/>
                <a:gd name="connsiteX524" fmla="*/ 23954 w 161805"/>
                <a:gd name="connsiteY524" fmla="*/ 58129 h 335353"/>
                <a:gd name="connsiteX525" fmla="*/ 21605 w 161805"/>
                <a:gd name="connsiteY525" fmla="*/ 56950 h 335353"/>
                <a:gd name="connsiteX526" fmla="*/ 16725 w 161805"/>
                <a:gd name="connsiteY526" fmla="*/ 49767 h 335353"/>
                <a:gd name="connsiteX527" fmla="*/ 16003 w 161805"/>
                <a:gd name="connsiteY527" fmla="*/ 48303 h 335353"/>
                <a:gd name="connsiteX528" fmla="*/ 16470 w 161805"/>
                <a:gd name="connsiteY528" fmla="*/ 46647 h 335353"/>
                <a:gd name="connsiteX529" fmla="*/ 16806 w 161805"/>
                <a:gd name="connsiteY529" fmla="*/ 44277 h 335353"/>
                <a:gd name="connsiteX530" fmla="*/ 17295 w 161805"/>
                <a:gd name="connsiteY530" fmla="*/ 42740 h 335353"/>
                <a:gd name="connsiteX531" fmla="*/ 18158 w 161805"/>
                <a:gd name="connsiteY531" fmla="*/ 41272 h 335353"/>
                <a:gd name="connsiteX532" fmla="*/ 18392 w 161805"/>
                <a:gd name="connsiteY532" fmla="*/ 39965 h 335353"/>
                <a:gd name="connsiteX533" fmla="*/ 18180 w 161805"/>
                <a:gd name="connsiteY533" fmla="*/ 38688 h 335353"/>
                <a:gd name="connsiteX534" fmla="*/ 17474 w 161805"/>
                <a:gd name="connsiteY534" fmla="*/ 37956 h 335353"/>
                <a:gd name="connsiteX535" fmla="*/ 16556 w 161805"/>
                <a:gd name="connsiteY535" fmla="*/ 37740 h 335353"/>
                <a:gd name="connsiteX536" fmla="*/ 15872 w 161805"/>
                <a:gd name="connsiteY536" fmla="*/ 37450 h 335353"/>
                <a:gd name="connsiteX537" fmla="*/ 15224 w 161805"/>
                <a:gd name="connsiteY537" fmla="*/ 35768 h 335353"/>
                <a:gd name="connsiteX538" fmla="*/ 14833 w 161805"/>
                <a:gd name="connsiteY538" fmla="*/ 35986 h 335353"/>
                <a:gd name="connsiteX539" fmla="*/ 14233 w 161805"/>
                <a:gd name="connsiteY539" fmla="*/ 38032 h 335353"/>
                <a:gd name="connsiteX540" fmla="*/ 13514 w 161805"/>
                <a:gd name="connsiteY540" fmla="*/ 38767 h 335353"/>
                <a:gd name="connsiteX541" fmla="*/ 12557 w 161805"/>
                <a:gd name="connsiteY541" fmla="*/ 39134 h 335353"/>
                <a:gd name="connsiteX542" fmla="*/ 11821 w 161805"/>
                <a:gd name="connsiteY542" fmla="*/ 38811 h 335353"/>
                <a:gd name="connsiteX543" fmla="*/ 11352 w 161805"/>
                <a:gd name="connsiteY543" fmla="*/ 37991 h 335353"/>
                <a:gd name="connsiteX544" fmla="*/ 11141 w 161805"/>
                <a:gd name="connsiteY544" fmla="*/ 36603 h 335353"/>
                <a:gd name="connsiteX545" fmla="*/ 10663 w 161805"/>
                <a:gd name="connsiteY545" fmla="*/ 34739 h 335353"/>
                <a:gd name="connsiteX546" fmla="*/ 10063 w 161805"/>
                <a:gd name="connsiteY546" fmla="*/ 33520 h 335353"/>
                <a:gd name="connsiteX547" fmla="*/ 7962 w 161805"/>
                <a:gd name="connsiteY547" fmla="*/ 32281 h 335353"/>
                <a:gd name="connsiteX548" fmla="*/ 6971 w 161805"/>
                <a:gd name="connsiteY548" fmla="*/ 30671 h 335353"/>
                <a:gd name="connsiteX549" fmla="*/ 3846 w 161805"/>
                <a:gd name="connsiteY549" fmla="*/ 27166 h 335353"/>
                <a:gd name="connsiteX550" fmla="*/ 1229 w 161805"/>
                <a:gd name="connsiteY550" fmla="*/ 24708 h 335353"/>
                <a:gd name="connsiteX551" fmla="*/ 0 w 161805"/>
                <a:gd name="connsiteY551" fmla="*/ 22497 h 335353"/>
                <a:gd name="connsiteX552" fmla="*/ 1074 w 161805"/>
                <a:gd name="connsiteY552" fmla="*/ 21673 h 335353"/>
                <a:gd name="connsiteX553" fmla="*/ 2424 w 161805"/>
                <a:gd name="connsiteY553" fmla="*/ 20479 h 335353"/>
                <a:gd name="connsiteX554" fmla="*/ 3865 w 161805"/>
                <a:gd name="connsiteY554" fmla="*/ 18619 h 335353"/>
                <a:gd name="connsiteX555" fmla="*/ 5492 w 161805"/>
                <a:gd name="connsiteY555" fmla="*/ 16279 h 335353"/>
                <a:gd name="connsiteX556" fmla="*/ 6170 w 161805"/>
                <a:gd name="connsiteY556" fmla="*/ 14851 h 335353"/>
                <a:gd name="connsiteX557" fmla="*/ 6645 w 161805"/>
                <a:gd name="connsiteY557" fmla="*/ 14273 h 335353"/>
                <a:gd name="connsiteX558" fmla="*/ 7595 w 161805"/>
                <a:gd name="connsiteY558" fmla="*/ 13851 h 335353"/>
                <a:gd name="connsiteX559" fmla="*/ 8619 w 161805"/>
                <a:gd name="connsiteY559" fmla="*/ 14082 h 335353"/>
                <a:gd name="connsiteX560" fmla="*/ 10417 w 161805"/>
                <a:gd name="connsiteY560" fmla="*/ 15028 h 335353"/>
                <a:gd name="connsiteX561" fmla="*/ 13125 w 161805"/>
                <a:gd name="connsiteY561" fmla="*/ 16235 h 335353"/>
                <a:gd name="connsiteX562" fmla="*/ 15537 w 161805"/>
                <a:gd name="connsiteY562" fmla="*/ 17662 h 335353"/>
                <a:gd name="connsiteX563" fmla="*/ 16513 w 161805"/>
                <a:gd name="connsiteY563" fmla="*/ 19099 h 335353"/>
                <a:gd name="connsiteX564" fmla="*/ 17861 w 161805"/>
                <a:gd name="connsiteY564" fmla="*/ 20476 h 335353"/>
                <a:gd name="connsiteX565" fmla="*/ 18895 w 161805"/>
                <a:gd name="connsiteY565" fmla="*/ 20892 h 335353"/>
                <a:gd name="connsiteX566" fmla="*/ 19413 w 161805"/>
                <a:gd name="connsiteY566" fmla="*/ 20782 h 335353"/>
                <a:gd name="connsiteX567" fmla="*/ 20972 w 161805"/>
                <a:gd name="connsiteY567" fmla="*/ 19747 h 335353"/>
                <a:gd name="connsiteX568" fmla="*/ 22309 w 161805"/>
                <a:gd name="connsiteY568" fmla="*/ 18707 h 335353"/>
                <a:gd name="connsiteX569" fmla="*/ 22337 w 161805"/>
                <a:gd name="connsiteY569" fmla="*/ 17527 h 335353"/>
                <a:gd name="connsiteX570" fmla="*/ 23570 w 161805"/>
                <a:gd name="connsiteY570" fmla="*/ 16467 h 335353"/>
                <a:gd name="connsiteX571" fmla="*/ 25183 w 161805"/>
                <a:gd name="connsiteY571" fmla="*/ 14722 h 335353"/>
                <a:gd name="connsiteX572" fmla="*/ 25941 w 161805"/>
                <a:gd name="connsiteY572" fmla="*/ 13538 h 335353"/>
                <a:gd name="connsiteX573" fmla="*/ 26517 w 161805"/>
                <a:gd name="connsiteY573" fmla="*/ 13413 h 335353"/>
                <a:gd name="connsiteX574" fmla="*/ 27168 w 161805"/>
                <a:gd name="connsiteY574" fmla="*/ 13764 h 335353"/>
                <a:gd name="connsiteX575" fmla="*/ 29709 w 161805"/>
                <a:gd name="connsiteY575" fmla="*/ 17424 h 335353"/>
                <a:gd name="connsiteX576" fmla="*/ 30195 w 161805"/>
                <a:gd name="connsiteY576" fmla="*/ 17643 h 335353"/>
                <a:gd name="connsiteX577" fmla="*/ 30912 w 161805"/>
                <a:gd name="connsiteY577" fmla="*/ 17094 h 335353"/>
                <a:gd name="connsiteX578" fmla="*/ 31914 w 161805"/>
                <a:gd name="connsiteY578" fmla="*/ 14235 h 335353"/>
                <a:gd name="connsiteX579" fmla="*/ 33008 w 161805"/>
                <a:gd name="connsiteY579" fmla="*/ 13127 h 335353"/>
                <a:gd name="connsiteX580" fmla="*/ 33387 w 161805"/>
                <a:gd name="connsiteY580" fmla="*/ 13407 h 335353"/>
                <a:gd name="connsiteX581" fmla="*/ 39527 w 161805"/>
                <a:gd name="connsiteY581" fmla="*/ 18800 h 335353"/>
                <a:gd name="connsiteX582" fmla="*/ 40113 w 161805"/>
                <a:gd name="connsiteY582" fmla="*/ 18757 h 335353"/>
                <a:gd name="connsiteX583" fmla="*/ 40774 w 161805"/>
                <a:gd name="connsiteY583" fmla="*/ 18515 h 335353"/>
                <a:gd name="connsiteX584" fmla="*/ 41203 w 161805"/>
                <a:gd name="connsiteY584" fmla="*/ 17686 h 335353"/>
                <a:gd name="connsiteX585" fmla="*/ 41687 w 161805"/>
                <a:gd name="connsiteY585" fmla="*/ 15820 h 335353"/>
                <a:gd name="connsiteX586" fmla="*/ 42599 w 161805"/>
                <a:gd name="connsiteY586" fmla="*/ 13820 h 335353"/>
                <a:gd name="connsiteX587" fmla="*/ 44570 w 161805"/>
                <a:gd name="connsiteY587" fmla="*/ 12706 h 335353"/>
                <a:gd name="connsiteX588" fmla="*/ 46105 w 161805"/>
                <a:gd name="connsiteY588" fmla="*/ 12490 h 335353"/>
                <a:gd name="connsiteX589" fmla="*/ 46675 w 161805"/>
                <a:gd name="connsiteY589" fmla="*/ 13443 h 335353"/>
                <a:gd name="connsiteX590" fmla="*/ 48004 w 161805"/>
                <a:gd name="connsiteY590" fmla="*/ 14757 h 335353"/>
                <a:gd name="connsiteX591" fmla="*/ 49628 w 161805"/>
                <a:gd name="connsiteY591" fmla="*/ 14942 h 335353"/>
                <a:gd name="connsiteX592" fmla="*/ 53056 w 161805"/>
                <a:gd name="connsiteY592" fmla="*/ 12613 h 335353"/>
                <a:gd name="connsiteX593" fmla="*/ 54177 w 161805"/>
                <a:gd name="connsiteY593" fmla="*/ 12243 h 335353"/>
                <a:gd name="connsiteX594" fmla="*/ 55375 w 161805"/>
                <a:gd name="connsiteY594" fmla="*/ 12285 h 335353"/>
                <a:gd name="connsiteX595" fmla="*/ 56604 w 161805"/>
                <a:gd name="connsiteY595" fmla="*/ 12192 h 335353"/>
                <a:gd name="connsiteX596" fmla="*/ 57771 w 161805"/>
                <a:gd name="connsiteY596" fmla="*/ 11300 h 335353"/>
                <a:gd name="connsiteX597" fmla="*/ 59001 w 161805"/>
                <a:gd name="connsiteY597" fmla="*/ 10121 h 335353"/>
                <a:gd name="connsiteX598" fmla="*/ 59422 w 161805"/>
                <a:gd name="connsiteY598" fmla="*/ 7799 h 335353"/>
                <a:gd name="connsiteX599" fmla="*/ 59684 w 161805"/>
                <a:gd name="connsiteY599" fmla="*/ 5715 h 335353"/>
                <a:gd name="connsiteX600" fmla="*/ 60528 w 161805"/>
                <a:gd name="connsiteY600" fmla="*/ 4872 h 335353"/>
                <a:gd name="connsiteX601" fmla="*/ 61532 w 161805"/>
                <a:gd name="connsiteY601" fmla="*/ 4308 h 335353"/>
                <a:gd name="connsiteX602" fmla="*/ 63424 w 161805"/>
                <a:gd name="connsiteY602" fmla="*/ 3520 h 335353"/>
                <a:gd name="connsiteX603" fmla="*/ 67699 w 161805"/>
                <a:gd name="connsiteY603" fmla="*/ 1497 h 335353"/>
                <a:gd name="connsiteX604" fmla="*/ 68799 w 161805"/>
                <a:gd name="connsiteY604" fmla="*/ 539 h 335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</a:cxnLst>
              <a:rect l="l" t="t" r="r" b="b"/>
              <a:pathLst>
                <a:path w="161805" h="335353">
                  <a:moveTo>
                    <a:pt x="100194" y="331275"/>
                  </a:moveTo>
                  <a:lnTo>
                    <a:pt x="99993" y="332241"/>
                  </a:lnTo>
                  <a:lnTo>
                    <a:pt x="100060" y="332728"/>
                  </a:lnTo>
                  <a:lnTo>
                    <a:pt x="99284" y="333136"/>
                  </a:lnTo>
                  <a:lnTo>
                    <a:pt x="98660" y="333187"/>
                  </a:lnTo>
                  <a:lnTo>
                    <a:pt x="98190" y="332732"/>
                  </a:lnTo>
                  <a:close/>
                  <a:moveTo>
                    <a:pt x="42020" y="294191"/>
                  </a:moveTo>
                  <a:lnTo>
                    <a:pt x="42821" y="295030"/>
                  </a:lnTo>
                  <a:lnTo>
                    <a:pt x="43242" y="296141"/>
                  </a:lnTo>
                  <a:lnTo>
                    <a:pt x="43082" y="298738"/>
                  </a:lnTo>
                  <a:lnTo>
                    <a:pt x="42220" y="301287"/>
                  </a:lnTo>
                  <a:lnTo>
                    <a:pt x="42475" y="302397"/>
                  </a:lnTo>
                  <a:lnTo>
                    <a:pt x="41815" y="303108"/>
                  </a:lnTo>
                  <a:lnTo>
                    <a:pt x="40348" y="298334"/>
                  </a:lnTo>
                  <a:lnTo>
                    <a:pt x="38487" y="296268"/>
                  </a:lnTo>
                  <a:lnTo>
                    <a:pt x="38079" y="295471"/>
                  </a:lnTo>
                  <a:lnTo>
                    <a:pt x="39161" y="295529"/>
                  </a:lnTo>
                  <a:lnTo>
                    <a:pt x="41093" y="294223"/>
                  </a:lnTo>
                  <a:close/>
                  <a:moveTo>
                    <a:pt x="111647" y="293792"/>
                  </a:moveTo>
                  <a:lnTo>
                    <a:pt x="112053" y="293803"/>
                  </a:lnTo>
                  <a:lnTo>
                    <a:pt x="111450" y="294888"/>
                  </a:lnTo>
                  <a:lnTo>
                    <a:pt x="109595" y="296242"/>
                  </a:lnTo>
                  <a:lnTo>
                    <a:pt x="109466" y="295104"/>
                  </a:lnTo>
                  <a:lnTo>
                    <a:pt x="111079" y="294371"/>
                  </a:lnTo>
                  <a:close/>
                  <a:moveTo>
                    <a:pt x="106713" y="57519"/>
                  </a:moveTo>
                  <a:lnTo>
                    <a:pt x="108710" y="58216"/>
                  </a:lnTo>
                  <a:lnTo>
                    <a:pt x="109168" y="58667"/>
                  </a:lnTo>
                  <a:lnTo>
                    <a:pt x="109157" y="59072"/>
                  </a:lnTo>
                  <a:lnTo>
                    <a:pt x="108678" y="59965"/>
                  </a:lnTo>
                  <a:lnTo>
                    <a:pt x="108436" y="60288"/>
                  </a:lnTo>
                  <a:lnTo>
                    <a:pt x="107523" y="60380"/>
                  </a:lnTo>
                  <a:lnTo>
                    <a:pt x="105767" y="58507"/>
                  </a:lnTo>
                  <a:close/>
                  <a:moveTo>
                    <a:pt x="103217" y="56113"/>
                  </a:moveTo>
                  <a:lnTo>
                    <a:pt x="104538" y="57722"/>
                  </a:lnTo>
                  <a:lnTo>
                    <a:pt x="104772" y="58703"/>
                  </a:lnTo>
                  <a:lnTo>
                    <a:pt x="104517" y="59149"/>
                  </a:lnTo>
                  <a:lnTo>
                    <a:pt x="103389" y="58056"/>
                  </a:lnTo>
                  <a:lnTo>
                    <a:pt x="102645" y="57584"/>
                  </a:lnTo>
                  <a:close/>
                  <a:moveTo>
                    <a:pt x="119933" y="53662"/>
                  </a:moveTo>
                  <a:lnTo>
                    <a:pt x="119928" y="54883"/>
                  </a:lnTo>
                  <a:lnTo>
                    <a:pt x="119270" y="56143"/>
                  </a:lnTo>
                  <a:lnTo>
                    <a:pt x="118037" y="56745"/>
                  </a:lnTo>
                  <a:lnTo>
                    <a:pt x="116570" y="56677"/>
                  </a:lnTo>
                  <a:lnTo>
                    <a:pt x="118326" y="55549"/>
                  </a:lnTo>
                  <a:lnTo>
                    <a:pt x="119218" y="54152"/>
                  </a:lnTo>
                  <a:close/>
                  <a:moveTo>
                    <a:pt x="118274" y="48233"/>
                  </a:moveTo>
                  <a:lnTo>
                    <a:pt x="120185" y="49355"/>
                  </a:lnTo>
                  <a:lnTo>
                    <a:pt x="121071" y="49439"/>
                  </a:lnTo>
                  <a:lnTo>
                    <a:pt x="117885" y="52331"/>
                  </a:lnTo>
                  <a:lnTo>
                    <a:pt x="116665" y="52285"/>
                  </a:lnTo>
                  <a:lnTo>
                    <a:pt x="117749" y="49011"/>
                  </a:lnTo>
                  <a:close/>
                  <a:moveTo>
                    <a:pt x="69608" y="0"/>
                  </a:moveTo>
                  <a:lnTo>
                    <a:pt x="71268" y="876"/>
                  </a:lnTo>
                  <a:lnTo>
                    <a:pt x="73251" y="2563"/>
                  </a:lnTo>
                  <a:lnTo>
                    <a:pt x="74454" y="3834"/>
                  </a:lnTo>
                  <a:lnTo>
                    <a:pt x="75257" y="5207"/>
                  </a:lnTo>
                  <a:lnTo>
                    <a:pt x="75639" y="6357"/>
                  </a:lnTo>
                  <a:lnTo>
                    <a:pt x="78803" y="7353"/>
                  </a:lnTo>
                  <a:lnTo>
                    <a:pt x="80817" y="8765"/>
                  </a:lnTo>
                  <a:lnTo>
                    <a:pt x="82158" y="9849"/>
                  </a:lnTo>
                  <a:lnTo>
                    <a:pt x="83478" y="9799"/>
                  </a:lnTo>
                  <a:lnTo>
                    <a:pt x="84798" y="9508"/>
                  </a:lnTo>
                  <a:lnTo>
                    <a:pt x="85653" y="8639"/>
                  </a:lnTo>
                  <a:lnTo>
                    <a:pt x="87145" y="8621"/>
                  </a:lnTo>
                  <a:lnTo>
                    <a:pt x="88913" y="8748"/>
                  </a:lnTo>
                  <a:lnTo>
                    <a:pt x="89699" y="9096"/>
                  </a:lnTo>
                  <a:lnTo>
                    <a:pt x="91146" y="11092"/>
                  </a:lnTo>
                  <a:lnTo>
                    <a:pt x="91800" y="11371"/>
                  </a:lnTo>
                  <a:lnTo>
                    <a:pt x="93106" y="11231"/>
                  </a:lnTo>
                  <a:lnTo>
                    <a:pt x="95601" y="10523"/>
                  </a:lnTo>
                  <a:lnTo>
                    <a:pt x="97611" y="10186"/>
                  </a:lnTo>
                  <a:lnTo>
                    <a:pt x="99429" y="10980"/>
                  </a:lnTo>
                  <a:lnTo>
                    <a:pt x="102884" y="13200"/>
                  </a:lnTo>
                  <a:lnTo>
                    <a:pt x="101913" y="14782"/>
                  </a:lnTo>
                  <a:lnTo>
                    <a:pt x="101144" y="16485"/>
                  </a:lnTo>
                  <a:lnTo>
                    <a:pt x="99630" y="17688"/>
                  </a:lnTo>
                  <a:lnTo>
                    <a:pt x="98509" y="17986"/>
                  </a:lnTo>
                  <a:lnTo>
                    <a:pt x="97801" y="19657"/>
                  </a:lnTo>
                  <a:lnTo>
                    <a:pt x="97490" y="22120"/>
                  </a:lnTo>
                  <a:lnTo>
                    <a:pt x="97872" y="23368"/>
                  </a:lnTo>
                  <a:lnTo>
                    <a:pt x="98747" y="23767"/>
                  </a:lnTo>
                  <a:lnTo>
                    <a:pt x="99705" y="24601"/>
                  </a:lnTo>
                  <a:lnTo>
                    <a:pt x="100097" y="25697"/>
                  </a:lnTo>
                  <a:lnTo>
                    <a:pt x="100226" y="28134"/>
                  </a:lnTo>
                  <a:lnTo>
                    <a:pt x="100174" y="30878"/>
                  </a:lnTo>
                  <a:lnTo>
                    <a:pt x="100304" y="31790"/>
                  </a:lnTo>
                  <a:lnTo>
                    <a:pt x="101057" y="31622"/>
                  </a:lnTo>
                  <a:lnTo>
                    <a:pt x="101762" y="31293"/>
                  </a:lnTo>
                  <a:lnTo>
                    <a:pt x="103191" y="31719"/>
                  </a:lnTo>
                  <a:lnTo>
                    <a:pt x="104968" y="32431"/>
                  </a:lnTo>
                  <a:lnTo>
                    <a:pt x="106089" y="33154"/>
                  </a:lnTo>
                  <a:lnTo>
                    <a:pt x="107102" y="33065"/>
                  </a:lnTo>
                  <a:lnTo>
                    <a:pt x="107885" y="33773"/>
                  </a:lnTo>
                  <a:lnTo>
                    <a:pt x="108181" y="35130"/>
                  </a:lnTo>
                  <a:lnTo>
                    <a:pt x="109105" y="36073"/>
                  </a:lnTo>
                  <a:lnTo>
                    <a:pt x="111691" y="37860"/>
                  </a:lnTo>
                  <a:lnTo>
                    <a:pt x="113759" y="38009"/>
                  </a:lnTo>
                  <a:lnTo>
                    <a:pt x="115508" y="40366"/>
                  </a:lnTo>
                  <a:lnTo>
                    <a:pt x="117328" y="39593"/>
                  </a:lnTo>
                  <a:lnTo>
                    <a:pt x="118166" y="40610"/>
                  </a:lnTo>
                  <a:lnTo>
                    <a:pt x="121917" y="40250"/>
                  </a:lnTo>
                  <a:lnTo>
                    <a:pt x="124532" y="39298"/>
                  </a:lnTo>
                  <a:lnTo>
                    <a:pt x="125478" y="39526"/>
                  </a:lnTo>
                  <a:lnTo>
                    <a:pt x="127830" y="41489"/>
                  </a:lnTo>
                  <a:lnTo>
                    <a:pt x="129250" y="42703"/>
                  </a:lnTo>
                  <a:lnTo>
                    <a:pt x="128214" y="42912"/>
                  </a:lnTo>
                  <a:lnTo>
                    <a:pt x="125633" y="42954"/>
                  </a:lnTo>
                  <a:lnTo>
                    <a:pt x="123381" y="45066"/>
                  </a:lnTo>
                  <a:lnTo>
                    <a:pt x="121822" y="45940"/>
                  </a:lnTo>
                  <a:lnTo>
                    <a:pt x="119395" y="46677"/>
                  </a:lnTo>
                  <a:lnTo>
                    <a:pt x="116808" y="47866"/>
                  </a:lnTo>
                  <a:lnTo>
                    <a:pt x="116061" y="49962"/>
                  </a:lnTo>
                  <a:lnTo>
                    <a:pt x="115998" y="51480"/>
                  </a:lnTo>
                  <a:lnTo>
                    <a:pt x="115577" y="53174"/>
                  </a:lnTo>
                  <a:lnTo>
                    <a:pt x="111386" y="55633"/>
                  </a:lnTo>
                  <a:lnTo>
                    <a:pt x="110213" y="55382"/>
                  </a:lnTo>
                  <a:lnTo>
                    <a:pt x="109405" y="54465"/>
                  </a:lnTo>
                  <a:lnTo>
                    <a:pt x="108168" y="54651"/>
                  </a:lnTo>
                  <a:lnTo>
                    <a:pt x="107333" y="55109"/>
                  </a:lnTo>
                  <a:lnTo>
                    <a:pt x="106337" y="55047"/>
                  </a:lnTo>
                  <a:lnTo>
                    <a:pt x="105227" y="55603"/>
                  </a:lnTo>
                  <a:lnTo>
                    <a:pt x="103776" y="55429"/>
                  </a:lnTo>
                  <a:lnTo>
                    <a:pt x="102441" y="54654"/>
                  </a:lnTo>
                  <a:lnTo>
                    <a:pt x="101666" y="54450"/>
                  </a:lnTo>
                  <a:lnTo>
                    <a:pt x="100742" y="54442"/>
                  </a:lnTo>
                  <a:lnTo>
                    <a:pt x="100567" y="55361"/>
                  </a:lnTo>
                  <a:lnTo>
                    <a:pt x="101934" y="58924"/>
                  </a:lnTo>
                  <a:lnTo>
                    <a:pt x="102290" y="60565"/>
                  </a:lnTo>
                  <a:lnTo>
                    <a:pt x="97810" y="65373"/>
                  </a:lnTo>
                  <a:lnTo>
                    <a:pt x="98298" y="68470"/>
                  </a:lnTo>
                  <a:lnTo>
                    <a:pt x="97084" y="70850"/>
                  </a:lnTo>
                  <a:lnTo>
                    <a:pt x="94376" y="72760"/>
                  </a:lnTo>
                  <a:lnTo>
                    <a:pt x="89295" y="77682"/>
                  </a:lnTo>
                  <a:lnTo>
                    <a:pt x="87006" y="77789"/>
                  </a:lnTo>
                  <a:lnTo>
                    <a:pt x="85279" y="78900"/>
                  </a:lnTo>
                  <a:lnTo>
                    <a:pt x="81517" y="86981"/>
                  </a:lnTo>
                  <a:lnTo>
                    <a:pt x="81476" y="89746"/>
                  </a:lnTo>
                  <a:lnTo>
                    <a:pt x="80885" y="91769"/>
                  </a:lnTo>
                  <a:lnTo>
                    <a:pt x="81012" y="93712"/>
                  </a:lnTo>
                  <a:lnTo>
                    <a:pt x="79360" y="97528"/>
                  </a:lnTo>
                  <a:lnTo>
                    <a:pt x="77649" y="99146"/>
                  </a:lnTo>
                  <a:lnTo>
                    <a:pt x="77268" y="101229"/>
                  </a:lnTo>
                  <a:lnTo>
                    <a:pt x="79706" y="105512"/>
                  </a:lnTo>
                  <a:lnTo>
                    <a:pt x="79975" y="106267"/>
                  </a:lnTo>
                  <a:lnTo>
                    <a:pt x="81390" y="108566"/>
                  </a:lnTo>
                  <a:lnTo>
                    <a:pt x="82076" y="110206"/>
                  </a:lnTo>
                  <a:lnTo>
                    <a:pt x="83160" y="111846"/>
                  </a:lnTo>
                  <a:lnTo>
                    <a:pt x="87082" y="116101"/>
                  </a:lnTo>
                  <a:lnTo>
                    <a:pt x="88827" y="117402"/>
                  </a:lnTo>
                  <a:lnTo>
                    <a:pt x="90927" y="118287"/>
                  </a:lnTo>
                  <a:lnTo>
                    <a:pt x="94739" y="122114"/>
                  </a:lnTo>
                  <a:lnTo>
                    <a:pt x="96665" y="124550"/>
                  </a:lnTo>
                  <a:lnTo>
                    <a:pt x="95788" y="126211"/>
                  </a:lnTo>
                  <a:lnTo>
                    <a:pt x="96220" y="129726"/>
                  </a:lnTo>
                  <a:lnTo>
                    <a:pt x="93499" y="128689"/>
                  </a:lnTo>
                  <a:lnTo>
                    <a:pt x="93823" y="129104"/>
                  </a:lnTo>
                  <a:lnTo>
                    <a:pt x="97058" y="131021"/>
                  </a:lnTo>
                  <a:lnTo>
                    <a:pt x="101900" y="137758"/>
                  </a:lnTo>
                  <a:lnTo>
                    <a:pt x="106110" y="141079"/>
                  </a:lnTo>
                  <a:lnTo>
                    <a:pt x="110394" y="144854"/>
                  </a:lnTo>
                  <a:lnTo>
                    <a:pt x="111732" y="148438"/>
                  </a:lnTo>
                  <a:lnTo>
                    <a:pt x="115594" y="150807"/>
                  </a:lnTo>
                  <a:lnTo>
                    <a:pt x="119889" y="154244"/>
                  </a:lnTo>
                  <a:lnTo>
                    <a:pt x="119702" y="155014"/>
                  </a:lnTo>
                  <a:lnTo>
                    <a:pt x="120866" y="155937"/>
                  </a:lnTo>
                  <a:lnTo>
                    <a:pt x="123755" y="157759"/>
                  </a:lnTo>
                  <a:lnTo>
                    <a:pt x="125501" y="159684"/>
                  </a:lnTo>
                  <a:lnTo>
                    <a:pt x="126180" y="161514"/>
                  </a:lnTo>
                  <a:lnTo>
                    <a:pt x="127246" y="161805"/>
                  </a:lnTo>
                  <a:lnTo>
                    <a:pt x="128447" y="161356"/>
                  </a:lnTo>
                  <a:lnTo>
                    <a:pt x="129650" y="161181"/>
                  </a:lnTo>
                  <a:lnTo>
                    <a:pt x="130505" y="161317"/>
                  </a:lnTo>
                  <a:lnTo>
                    <a:pt x="131801" y="163323"/>
                  </a:lnTo>
                  <a:lnTo>
                    <a:pt x="133608" y="165117"/>
                  </a:lnTo>
                  <a:lnTo>
                    <a:pt x="134476" y="166764"/>
                  </a:lnTo>
                  <a:lnTo>
                    <a:pt x="135180" y="166544"/>
                  </a:lnTo>
                  <a:lnTo>
                    <a:pt x="135767" y="166793"/>
                  </a:lnTo>
                  <a:lnTo>
                    <a:pt x="135914" y="168171"/>
                  </a:lnTo>
                  <a:lnTo>
                    <a:pt x="136180" y="169077"/>
                  </a:lnTo>
                  <a:lnTo>
                    <a:pt x="138596" y="171721"/>
                  </a:lnTo>
                  <a:lnTo>
                    <a:pt x="139749" y="174208"/>
                  </a:lnTo>
                  <a:lnTo>
                    <a:pt x="142632" y="178240"/>
                  </a:lnTo>
                  <a:lnTo>
                    <a:pt x="144764" y="180530"/>
                  </a:lnTo>
                  <a:lnTo>
                    <a:pt x="146279" y="181819"/>
                  </a:lnTo>
                  <a:lnTo>
                    <a:pt x="148015" y="182921"/>
                  </a:lnTo>
                  <a:lnTo>
                    <a:pt x="149717" y="187388"/>
                  </a:lnTo>
                  <a:lnTo>
                    <a:pt x="150639" y="191437"/>
                  </a:lnTo>
                  <a:lnTo>
                    <a:pt x="152464" y="195926"/>
                  </a:lnTo>
                  <a:lnTo>
                    <a:pt x="153844" y="197884"/>
                  </a:lnTo>
                  <a:lnTo>
                    <a:pt x="153891" y="201578"/>
                  </a:lnTo>
                  <a:lnTo>
                    <a:pt x="155003" y="205380"/>
                  </a:lnTo>
                  <a:lnTo>
                    <a:pt x="156199" y="207944"/>
                  </a:lnTo>
                  <a:lnTo>
                    <a:pt x="156551" y="210564"/>
                  </a:lnTo>
                  <a:lnTo>
                    <a:pt x="156919" y="211864"/>
                  </a:lnTo>
                  <a:lnTo>
                    <a:pt x="157376" y="212839"/>
                  </a:lnTo>
                  <a:lnTo>
                    <a:pt x="158674" y="217279"/>
                  </a:lnTo>
                  <a:lnTo>
                    <a:pt x="158337" y="219338"/>
                  </a:lnTo>
                  <a:lnTo>
                    <a:pt x="157430" y="217317"/>
                  </a:lnTo>
                  <a:lnTo>
                    <a:pt x="157540" y="223268"/>
                  </a:lnTo>
                  <a:lnTo>
                    <a:pt x="158337" y="226414"/>
                  </a:lnTo>
                  <a:lnTo>
                    <a:pt x="157978" y="230272"/>
                  </a:lnTo>
                  <a:lnTo>
                    <a:pt x="158812" y="231625"/>
                  </a:lnTo>
                  <a:lnTo>
                    <a:pt x="160298" y="235981"/>
                  </a:lnTo>
                  <a:lnTo>
                    <a:pt x="161341" y="237544"/>
                  </a:lnTo>
                  <a:lnTo>
                    <a:pt x="161255" y="242868"/>
                  </a:lnTo>
                  <a:lnTo>
                    <a:pt x="161805" y="245551"/>
                  </a:lnTo>
                  <a:lnTo>
                    <a:pt x="160401" y="243953"/>
                  </a:lnTo>
                  <a:lnTo>
                    <a:pt x="159387" y="242130"/>
                  </a:lnTo>
                  <a:lnTo>
                    <a:pt x="158026" y="243093"/>
                  </a:lnTo>
                  <a:lnTo>
                    <a:pt x="156809" y="244514"/>
                  </a:lnTo>
                  <a:lnTo>
                    <a:pt x="158704" y="250231"/>
                  </a:lnTo>
                  <a:lnTo>
                    <a:pt x="156540" y="249688"/>
                  </a:lnTo>
                  <a:lnTo>
                    <a:pt x="156737" y="257373"/>
                  </a:lnTo>
                  <a:lnTo>
                    <a:pt x="157633" y="259167"/>
                  </a:lnTo>
                  <a:lnTo>
                    <a:pt x="157698" y="260027"/>
                  </a:lnTo>
                  <a:lnTo>
                    <a:pt x="157435" y="261055"/>
                  </a:lnTo>
                  <a:lnTo>
                    <a:pt x="156837" y="259931"/>
                  </a:lnTo>
                  <a:lnTo>
                    <a:pt x="156711" y="258773"/>
                  </a:lnTo>
                  <a:lnTo>
                    <a:pt x="156370" y="259029"/>
                  </a:lnTo>
                  <a:lnTo>
                    <a:pt x="156387" y="259625"/>
                  </a:lnTo>
                  <a:lnTo>
                    <a:pt x="155666" y="260981"/>
                  </a:lnTo>
                  <a:lnTo>
                    <a:pt x="155450" y="262660"/>
                  </a:lnTo>
                  <a:lnTo>
                    <a:pt x="156227" y="264087"/>
                  </a:lnTo>
                  <a:lnTo>
                    <a:pt x="156359" y="265176"/>
                  </a:lnTo>
                  <a:lnTo>
                    <a:pt x="155798" y="266523"/>
                  </a:lnTo>
                  <a:lnTo>
                    <a:pt x="154897" y="267950"/>
                  </a:lnTo>
                  <a:lnTo>
                    <a:pt x="152844" y="268138"/>
                  </a:lnTo>
                  <a:lnTo>
                    <a:pt x="152375" y="270923"/>
                  </a:lnTo>
                  <a:lnTo>
                    <a:pt x="151673" y="273879"/>
                  </a:lnTo>
                  <a:lnTo>
                    <a:pt x="148005" y="274348"/>
                  </a:lnTo>
                  <a:lnTo>
                    <a:pt x="145340" y="276949"/>
                  </a:lnTo>
                  <a:lnTo>
                    <a:pt x="142044" y="277918"/>
                  </a:lnTo>
                  <a:lnTo>
                    <a:pt x="139110" y="280497"/>
                  </a:lnTo>
                  <a:lnTo>
                    <a:pt x="135863" y="282878"/>
                  </a:lnTo>
                  <a:lnTo>
                    <a:pt x="133750" y="283194"/>
                  </a:lnTo>
                  <a:lnTo>
                    <a:pt x="131954" y="283707"/>
                  </a:lnTo>
                  <a:lnTo>
                    <a:pt x="129886" y="287663"/>
                  </a:lnTo>
                  <a:lnTo>
                    <a:pt x="126430" y="288116"/>
                  </a:lnTo>
                  <a:lnTo>
                    <a:pt x="120224" y="291350"/>
                  </a:lnTo>
                  <a:lnTo>
                    <a:pt x="118143" y="292906"/>
                  </a:lnTo>
                  <a:lnTo>
                    <a:pt x="116244" y="293514"/>
                  </a:lnTo>
                  <a:lnTo>
                    <a:pt x="113525" y="294861"/>
                  </a:lnTo>
                  <a:lnTo>
                    <a:pt x="112941" y="294381"/>
                  </a:lnTo>
                  <a:lnTo>
                    <a:pt x="112035" y="293225"/>
                  </a:lnTo>
                  <a:lnTo>
                    <a:pt x="109684" y="292627"/>
                  </a:lnTo>
                  <a:lnTo>
                    <a:pt x="108533" y="291331"/>
                  </a:lnTo>
                  <a:lnTo>
                    <a:pt x="108201" y="289662"/>
                  </a:lnTo>
                  <a:lnTo>
                    <a:pt x="107890" y="289001"/>
                  </a:lnTo>
                  <a:lnTo>
                    <a:pt x="107382" y="289945"/>
                  </a:lnTo>
                  <a:lnTo>
                    <a:pt x="106993" y="293915"/>
                  </a:lnTo>
                  <a:lnTo>
                    <a:pt x="106582" y="294817"/>
                  </a:lnTo>
                  <a:lnTo>
                    <a:pt x="105577" y="295209"/>
                  </a:lnTo>
                  <a:lnTo>
                    <a:pt x="103601" y="294080"/>
                  </a:lnTo>
                  <a:lnTo>
                    <a:pt x="101714" y="291793"/>
                  </a:lnTo>
                  <a:lnTo>
                    <a:pt x="99028" y="293373"/>
                  </a:lnTo>
                  <a:lnTo>
                    <a:pt x="99850" y="293568"/>
                  </a:lnTo>
                  <a:lnTo>
                    <a:pt x="101075" y="293438"/>
                  </a:lnTo>
                  <a:lnTo>
                    <a:pt x="102021" y="293833"/>
                  </a:lnTo>
                  <a:lnTo>
                    <a:pt x="102824" y="295358"/>
                  </a:lnTo>
                  <a:lnTo>
                    <a:pt x="102796" y="296189"/>
                  </a:lnTo>
                  <a:lnTo>
                    <a:pt x="102379" y="297153"/>
                  </a:lnTo>
                  <a:lnTo>
                    <a:pt x="99861" y="297307"/>
                  </a:lnTo>
                  <a:lnTo>
                    <a:pt x="96503" y="296968"/>
                  </a:lnTo>
                  <a:lnTo>
                    <a:pt x="95892" y="297098"/>
                  </a:lnTo>
                  <a:lnTo>
                    <a:pt x="98952" y="298584"/>
                  </a:lnTo>
                  <a:lnTo>
                    <a:pt x="101751" y="299443"/>
                  </a:lnTo>
                  <a:lnTo>
                    <a:pt x="102994" y="300384"/>
                  </a:lnTo>
                  <a:lnTo>
                    <a:pt x="102994" y="301159"/>
                  </a:lnTo>
                  <a:lnTo>
                    <a:pt x="101422" y="302416"/>
                  </a:lnTo>
                  <a:lnTo>
                    <a:pt x="100207" y="303952"/>
                  </a:lnTo>
                  <a:lnTo>
                    <a:pt x="100183" y="304905"/>
                  </a:lnTo>
                  <a:lnTo>
                    <a:pt x="100155" y="305969"/>
                  </a:lnTo>
                  <a:lnTo>
                    <a:pt x="98801" y="306889"/>
                  </a:lnTo>
                  <a:lnTo>
                    <a:pt x="97954" y="306706"/>
                  </a:lnTo>
                  <a:lnTo>
                    <a:pt x="95562" y="305108"/>
                  </a:lnTo>
                  <a:lnTo>
                    <a:pt x="88648" y="298809"/>
                  </a:lnTo>
                  <a:lnTo>
                    <a:pt x="89690" y="300587"/>
                  </a:lnTo>
                  <a:lnTo>
                    <a:pt x="96851" y="307751"/>
                  </a:lnTo>
                  <a:lnTo>
                    <a:pt x="98110" y="310109"/>
                  </a:lnTo>
                  <a:lnTo>
                    <a:pt x="98289" y="311771"/>
                  </a:lnTo>
                  <a:lnTo>
                    <a:pt x="97553" y="312609"/>
                  </a:lnTo>
                  <a:lnTo>
                    <a:pt x="96335" y="313594"/>
                  </a:lnTo>
                  <a:lnTo>
                    <a:pt x="93990" y="313668"/>
                  </a:lnTo>
                  <a:lnTo>
                    <a:pt x="90141" y="311005"/>
                  </a:lnTo>
                  <a:lnTo>
                    <a:pt x="83988" y="304615"/>
                  </a:lnTo>
                  <a:lnTo>
                    <a:pt x="81893" y="303744"/>
                  </a:lnTo>
                  <a:lnTo>
                    <a:pt x="88118" y="311046"/>
                  </a:lnTo>
                  <a:lnTo>
                    <a:pt x="89138" y="312819"/>
                  </a:lnTo>
                  <a:lnTo>
                    <a:pt x="90189" y="314867"/>
                  </a:lnTo>
                  <a:lnTo>
                    <a:pt x="89889" y="316084"/>
                  </a:lnTo>
                  <a:lnTo>
                    <a:pt x="89353" y="317223"/>
                  </a:lnTo>
                  <a:lnTo>
                    <a:pt x="74596" y="323991"/>
                  </a:lnTo>
                  <a:lnTo>
                    <a:pt x="72394" y="326906"/>
                  </a:lnTo>
                  <a:lnTo>
                    <a:pt x="70645" y="330500"/>
                  </a:lnTo>
                  <a:lnTo>
                    <a:pt x="67747" y="332501"/>
                  </a:lnTo>
                  <a:lnTo>
                    <a:pt x="66048" y="334330"/>
                  </a:lnTo>
                  <a:lnTo>
                    <a:pt x="61128" y="335353"/>
                  </a:lnTo>
                  <a:lnTo>
                    <a:pt x="58442" y="335033"/>
                  </a:lnTo>
                  <a:lnTo>
                    <a:pt x="61225" y="331714"/>
                  </a:lnTo>
                  <a:lnTo>
                    <a:pt x="59507" y="330484"/>
                  </a:lnTo>
                  <a:lnTo>
                    <a:pt x="59420" y="321933"/>
                  </a:lnTo>
                  <a:lnTo>
                    <a:pt x="60096" y="312551"/>
                  </a:lnTo>
                  <a:lnTo>
                    <a:pt x="61379" y="307862"/>
                  </a:lnTo>
                  <a:lnTo>
                    <a:pt x="63234" y="306693"/>
                  </a:lnTo>
                  <a:lnTo>
                    <a:pt x="65565" y="305971"/>
                  </a:lnTo>
                  <a:lnTo>
                    <a:pt x="65617" y="304982"/>
                  </a:lnTo>
                  <a:lnTo>
                    <a:pt x="65386" y="303856"/>
                  </a:lnTo>
                  <a:lnTo>
                    <a:pt x="64134" y="302254"/>
                  </a:lnTo>
                  <a:lnTo>
                    <a:pt x="62762" y="301514"/>
                  </a:lnTo>
                  <a:lnTo>
                    <a:pt x="60716" y="301197"/>
                  </a:lnTo>
                  <a:lnTo>
                    <a:pt x="59139" y="299232"/>
                  </a:lnTo>
                  <a:lnTo>
                    <a:pt x="57939" y="299313"/>
                  </a:lnTo>
                  <a:lnTo>
                    <a:pt x="56078" y="299965"/>
                  </a:lnTo>
                  <a:lnTo>
                    <a:pt x="54954" y="299122"/>
                  </a:lnTo>
                  <a:lnTo>
                    <a:pt x="54542" y="297799"/>
                  </a:lnTo>
                  <a:lnTo>
                    <a:pt x="52819" y="296166"/>
                  </a:lnTo>
                  <a:lnTo>
                    <a:pt x="50835" y="294574"/>
                  </a:lnTo>
                  <a:lnTo>
                    <a:pt x="51733" y="294325"/>
                  </a:lnTo>
                  <a:lnTo>
                    <a:pt x="52773" y="293410"/>
                  </a:lnTo>
                  <a:lnTo>
                    <a:pt x="53883" y="292233"/>
                  </a:lnTo>
                  <a:lnTo>
                    <a:pt x="56656" y="292070"/>
                  </a:lnTo>
                  <a:lnTo>
                    <a:pt x="59437" y="292125"/>
                  </a:lnTo>
                  <a:lnTo>
                    <a:pt x="60215" y="291819"/>
                  </a:lnTo>
                  <a:lnTo>
                    <a:pt x="61335" y="290573"/>
                  </a:lnTo>
                  <a:lnTo>
                    <a:pt x="63162" y="288970"/>
                  </a:lnTo>
                  <a:lnTo>
                    <a:pt x="64545" y="288082"/>
                  </a:lnTo>
                  <a:lnTo>
                    <a:pt x="64870" y="287363"/>
                  </a:lnTo>
                  <a:lnTo>
                    <a:pt x="64317" y="285672"/>
                  </a:lnTo>
                  <a:lnTo>
                    <a:pt x="64011" y="283939"/>
                  </a:lnTo>
                  <a:lnTo>
                    <a:pt x="64529" y="283391"/>
                  </a:lnTo>
                  <a:lnTo>
                    <a:pt x="67045" y="283700"/>
                  </a:lnTo>
                  <a:lnTo>
                    <a:pt x="69805" y="284507"/>
                  </a:lnTo>
                  <a:lnTo>
                    <a:pt x="70476" y="284872"/>
                  </a:lnTo>
                  <a:lnTo>
                    <a:pt x="72065" y="282749"/>
                  </a:lnTo>
                  <a:lnTo>
                    <a:pt x="72491" y="282491"/>
                  </a:lnTo>
                  <a:lnTo>
                    <a:pt x="73529" y="282495"/>
                  </a:lnTo>
                  <a:lnTo>
                    <a:pt x="76268" y="282104"/>
                  </a:lnTo>
                  <a:lnTo>
                    <a:pt x="78948" y="281541"/>
                  </a:lnTo>
                  <a:lnTo>
                    <a:pt x="80215" y="281632"/>
                  </a:lnTo>
                  <a:lnTo>
                    <a:pt x="81446" y="283062"/>
                  </a:lnTo>
                  <a:lnTo>
                    <a:pt x="82387" y="284460"/>
                  </a:lnTo>
                  <a:lnTo>
                    <a:pt x="82871" y="284574"/>
                  </a:lnTo>
                  <a:lnTo>
                    <a:pt x="84264" y="283978"/>
                  </a:lnTo>
                  <a:lnTo>
                    <a:pt x="85412" y="284724"/>
                  </a:lnTo>
                  <a:lnTo>
                    <a:pt x="87816" y="285943"/>
                  </a:lnTo>
                  <a:lnTo>
                    <a:pt x="89256" y="285996"/>
                  </a:lnTo>
                  <a:lnTo>
                    <a:pt x="88539" y="283154"/>
                  </a:lnTo>
                  <a:lnTo>
                    <a:pt x="89345" y="281133"/>
                  </a:lnTo>
                  <a:lnTo>
                    <a:pt x="89190" y="280578"/>
                  </a:lnTo>
                  <a:lnTo>
                    <a:pt x="87831" y="279648"/>
                  </a:lnTo>
                  <a:lnTo>
                    <a:pt x="83234" y="275928"/>
                  </a:lnTo>
                  <a:lnTo>
                    <a:pt x="82448" y="274821"/>
                  </a:lnTo>
                  <a:lnTo>
                    <a:pt x="82556" y="273072"/>
                  </a:lnTo>
                  <a:lnTo>
                    <a:pt x="82402" y="270504"/>
                  </a:lnTo>
                  <a:lnTo>
                    <a:pt x="81990" y="268890"/>
                  </a:lnTo>
                  <a:lnTo>
                    <a:pt x="82059" y="267944"/>
                  </a:lnTo>
                  <a:lnTo>
                    <a:pt x="82347" y="267189"/>
                  </a:lnTo>
                  <a:lnTo>
                    <a:pt x="83195" y="266890"/>
                  </a:lnTo>
                  <a:lnTo>
                    <a:pt x="84007" y="266788"/>
                  </a:lnTo>
                  <a:lnTo>
                    <a:pt x="84663" y="266126"/>
                  </a:lnTo>
                  <a:lnTo>
                    <a:pt x="85765" y="264433"/>
                  </a:lnTo>
                  <a:lnTo>
                    <a:pt x="87907" y="264584"/>
                  </a:lnTo>
                  <a:lnTo>
                    <a:pt x="90919" y="265546"/>
                  </a:lnTo>
                  <a:lnTo>
                    <a:pt x="93145" y="266140"/>
                  </a:lnTo>
                  <a:lnTo>
                    <a:pt x="94458" y="266024"/>
                  </a:lnTo>
                  <a:lnTo>
                    <a:pt x="94752" y="265783"/>
                  </a:lnTo>
                  <a:lnTo>
                    <a:pt x="94713" y="264873"/>
                  </a:lnTo>
                  <a:lnTo>
                    <a:pt x="94868" y="260987"/>
                  </a:lnTo>
                  <a:lnTo>
                    <a:pt x="94782" y="260164"/>
                  </a:lnTo>
                  <a:lnTo>
                    <a:pt x="96678" y="259781"/>
                  </a:lnTo>
                  <a:lnTo>
                    <a:pt x="99583" y="259698"/>
                  </a:lnTo>
                  <a:lnTo>
                    <a:pt x="101111" y="259472"/>
                  </a:lnTo>
                  <a:lnTo>
                    <a:pt x="102538" y="257834"/>
                  </a:lnTo>
                  <a:lnTo>
                    <a:pt x="106209" y="257269"/>
                  </a:lnTo>
                  <a:lnTo>
                    <a:pt x="108864" y="255063"/>
                  </a:lnTo>
                  <a:lnTo>
                    <a:pt x="111258" y="252792"/>
                  </a:lnTo>
                  <a:lnTo>
                    <a:pt x="112433" y="252188"/>
                  </a:lnTo>
                  <a:lnTo>
                    <a:pt x="113928" y="251793"/>
                  </a:lnTo>
                  <a:lnTo>
                    <a:pt x="115041" y="251850"/>
                  </a:lnTo>
                  <a:lnTo>
                    <a:pt x="116441" y="253164"/>
                  </a:lnTo>
                  <a:lnTo>
                    <a:pt x="117605" y="252374"/>
                  </a:lnTo>
                  <a:lnTo>
                    <a:pt x="118941" y="250828"/>
                  </a:lnTo>
                  <a:lnTo>
                    <a:pt x="119641" y="249319"/>
                  </a:lnTo>
                  <a:lnTo>
                    <a:pt x="120026" y="246890"/>
                  </a:lnTo>
                  <a:lnTo>
                    <a:pt x="119762" y="243163"/>
                  </a:lnTo>
                  <a:lnTo>
                    <a:pt x="119054" y="240246"/>
                  </a:lnTo>
                  <a:lnTo>
                    <a:pt x="118391" y="238058"/>
                  </a:lnTo>
                  <a:lnTo>
                    <a:pt x="118254" y="235872"/>
                  </a:lnTo>
                  <a:lnTo>
                    <a:pt x="119806" y="231485"/>
                  </a:lnTo>
                  <a:lnTo>
                    <a:pt x="121131" y="226706"/>
                  </a:lnTo>
                  <a:lnTo>
                    <a:pt x="120876" y="224818"/>
                  </a:lnTo>
                  <a:lnTo>
                    <a:pt x="119432" y="221834"/>
                  </a:lnTo>
                  <a:lnTo>
                    <a:pt x="117965" y="218198"/>
                  </a:lnTo>
                  <a:lnTo>
                    <a:pt x="116355" y="214200"/>
                  </a:lnTo>
                  <a:lnTo>
                    <a:pt x="115750" y="213604"/>
                  </a:lnTo>
                  <a:lnTo>
                    <a:pt x="115318" y="212490"/>
                  </a:lnTo>
                  <a:lnTo>
                    <a:pt x="115072" y="211189"/>
                  </a:lnTo>
                  <a:lnTo>
                    <a:pt x="115711" y="207100"/>
                  </a:lnTo>
                  <a:lnTo>
                    <a:pt x="115802" y="205728"/>
                  </a:lnTo>
                  <a:lnTo>
                    <a:pt x="117658" y="203866"/>
                  </a:lnTo>
                  <a:lnTo>
                    <a:pt x="118647" y="201732"/>
                  </a:lnTo>
                  <a:lnTo>
                    <a:pt x="119578" y="199379"/>
                  </a:lnTo>
                  <a:lnTo>
                    <a:pt x="119229" y="198134"/>
                  </a:lnTo>
                  <a:lnTo>
                    <a:pt x="119103" y="195597"/>
                  </a:lnTo>
                  <a:lnTo>
                    <a:pt x="119341" y="194367"/>
                  </a:lnTo>
                  <a:lnTo>
                    <a:pt x="118902" y="193370"/>
                  </a:lnTo>
                  <a:lnTo>
                    <a:pt x="118365" y="191925"/>
                  </a:lnTo>
                  <a:lnTo>
                    <a:pt x="118717" y="190985"/>
                  </a:lnTo>
                  <a:lnTo>
                    <a:pt x="120021" y="190181"/>
                  </a:lnTo>
                  <a:lnTo>
                    <a:pt x="120781" y="188792"/>
                  </a:lnTo>
                  <a:lnTo>
                    <a:pt x="121755" y="187177"/>
                  </a:lnTo>
                  <a:lnTo>
                    <a:pt x="122184" y="185698"/>
                  </a:lnTo>
                  <a:lnTo>
                    <a:pt x="121489" y="184462"/>
                  </a:lnTo>
                  <a:lnTo>
                    <a:pt x="120219" y="182612"/>
                  </a:lnTo>
                  <a:lnTo>
                    <a:pt x="117905" y="180932"/>
                  </a:lnTo>
                  <a:lnTo>
                    <a:pt x="115234" y="178789"/>
                  </a:lnTo>
                  <a:lnTo>
                    <a:pt x="113921" y="177470"/>
                  </a:lnTo>
                  <a:lnTo>
                    <a:pt x="112887" y="176126"/>
                  </a:lnTo>
                  <a:lnTo>
                    <a:pt x="111934" y="174558"/>
                  </a:lnTo>
                  <a:lnTo>
                    <a:pt x="111411" y="173307"/>
                  </a:lnTo>
                  <a:lnTo>
                    <a:pt x="111919" y="172488"/>
                  </a:lnTo>
                  <a:lnTo>
                    <a:pt x="115717" y="170604"/>
                  </a:lnTo>
                  <a:lnTo>
                    <a:pt x="116410" y="169925"/>
                  </a:lnTo>
                  <a:lnTo>
                    <a:pt x="116812" y="168878"/>
                  </a:lnTo>
                  <a:lnTo>
                    <a:pt x="116508" y="167854"/>
                  </a:lnTo>
                  <a:lnTo>
                    <a:pt x="115484" y="167301"/>
                  </a:lnTo>
                  <a:lnTo>
                    <a:pt x="114299" y="166923"/>
                  </a:lnTo>
                  <a:lnTo>
                    <a:pt x="112549" y="165737"/>
                  </a:lnTo>
                  <a:lnTo>
                    <a:pt x="109284" y="162481"/>
                  </a:lnTo>
                  <a:lnTo>
                    <a:pt x="107786" y="161755"/>
                  </a:lnTo>
                  <a:lnTo>
                    <a:pt x="106209" y="160818"/>
                  </a:lnTo>
                  <a:lnTo>
                    <a:pt x="105372" y="159832"/>
                  </a:lnTo>
                  <a:lnTo>
                    <a:pt x="104450" y="157128"/>
                  </a:lnTo>
                  <a:lnTo>
                    <a:pt x="104037" y="156886"/>
                  </a:lnTo>
                  <a:lnTo>
                    <a:pt x="103134" y="157702"/>
                  </a:lnTo>
                  <a:lnTo>
                    <a:pt x="101983" y="158560"/>
                  </a:lnTo>
                  <a:lnTo>
                    <a:pt x="101023" y="158414"/>
                  </a:lnTo>
                  <a:lnTo>
                    <a:pt x="100146" y="157650"/>
                  </a:lnTo>
                  <a:lnTo>
                    <a:pt x="99727" y="156621"/>
                  </a:lnTo>
                  <a:lnTo>
                    <a:pt x="98758" y="155209"/>
                  </a:lnTo>
                  <a:lnTo>
                    <a:pt x="97708" y="154058"/>
                  </a:lnTo>
                  <a:lnTo>
                    <a:pt x="97432" y="150187"/>
                  </a:lnTo>
                  <a:lnTo>
                    <a:pt x="97261" y="148923"/>
                  </a:lnTo>
                  <a:lnTo>
                    <a:pt x="96736" y="147161"/>
                  </a:lnTo>
                  <a:lnTo>
                    <a:pt x="95920" y="146530"/>
                  </a:lnTo>
                  <a:lnTo>
                    <a:pt x="95050" y="146059"/>
                  </a:lnTo>
                  <a:lnTo>
                    <a:pt x="93003" y="142847"/>
                  </a:lnTo>
                  <a:lnTo>
                    <a:pt x="91591" y="141183"/>
                  </a:lnTo>
                  <a:lnTo>
                    <a:pt x="85769" y="136663"/>
                  </a:lnTo>
                  <a:lnTo>
                    <a:pt x="85046" y="135940"/>
                  </a:lnTo>
                  <a:lnTo>
                    <a:pt x="83480" y="134079"/>
                  </a:lnTo>
                  <a:lnTo>
                    <a:pt x="80755" y="131440"/>
                  </a:lnTo>
                  <a:lnTo>
                    <a:pt x="78807" y="129310"/>
                  </a:lnTo>
                  <a:lnTo>
                    <a:pt x="77388" y="127107"/>
                  </a:lnTo>
                  <a:lnTo>
                    <a:pt x="76734" y="125193"/>
                  </a:lnTo>
                  <a:lnTo>
                    <a:pt x="76531" y="123700"/>
                  </a:lnTo>
                  <a:lnTo>
                    <a:pt x="74985" y="121560"/>
                  </a:lnTo>
                  <a:lnTo>
                    <a:pt x="73651" y="119804"/>
                  </a:lnTo>
                  <a:lnTo>
                    <a:pt x="72363" y="119234"/>
                  </a:lnTo>
                  <a:lnTo>
                    <a:pt x="70893" y="118997"/>
                  </a:lnTo>
                  <a:lnTo>
                    <a:pt x="69561" y="117952"/>
                  </a:lnTo>
                  <a:lnTo>
                    <a:pt x="67129" y="115590"/>
                  </a:lnTo>
                  <a:lnTo>
                    <a:pt x="66051" y="114069"/>
                  </a:lnTo>
                  <a:lnTo>
                    <a:pt x="65417" y="113044"/>
                  </a:lnTo>
                  <a:lnTo>
                    <a:pt x="65443" y="111989"/>
                  </a:lnTo>
                  <a:lnTo>
                    <a:pt x="66028" y="110232"/>
                  </a:lnTo>
                  <a:lnTo>
                    <a:pt x="66734" y="109231"/>
                  </a:lnTo>
                  <a:lnTo>
                    <a:pt x="66758" y="108449"/>
                  </a:lnTo>
                  <a:lnTo>
                    <a:pt x="66065" y="107811"/>
                  </a:lnTo>
                  <a:lnTo>
                    <a:pt x="63367" y="106679"/>
                  </a:lnTo>
                  <a:lnTo>
                    <a:pt x="57250" y="104959"/>
                  </a:lnTo>
                  <a:lnTo>
                    <a:pt x="54968" y="103649"/>
                  </a:lnTo>
                  <a:lnTo>
                    <a:pt x="52860" y="101967"/>
                  </a:lnTo>
                  <a:lnTo>
                    <a:pt x="51264" y="100827"/>
                  </a:lnTo>
                  <a:lnTo>
                    <a:pt x="43808" y="95974"/>
                  </a:lnTo>
                  <a:lnTo>
                    <a:pt x="41547" y="95163"/>
                  </a:lnTo>
                  <a:lnTo>
                    <a:pt x="39601" y="94301"/>
                  </a:lnTo>
                  <a:lnTo>
                    <a:pt x="39010" y="93464"/>
                  </a:lnTo>
                  <a:lnTo>
                    <a:pt x="39115" y="92661"/>
                  </a:lnTo>
                  <a:lnTo>
                    <a:pt x="39903" y="92063"/>
                  </a:lnTo>
                  <a:lnTo>
                    <a:pt x="42016" y="90815"/>
                  </a:lnTo>
                  <a:lnTo>
                    <a:pt x="42797" y="89389"/>
                  </a:lnTo>
                  <a:lnTo>
                    <a:pt x="42547" y="87516"/>
                  </a:lnTo>
                  <a:lnTo>
                    <a:pt x="41704" y="85625"/>
                  </a:lnTo>
                  <a:lnTo>
                    <a:pt x="42115" y="84966"/>
                  </a:lnTo>
                  <a:lnTo>
                    <a:pt x="42795" y="84891"/>
                  </a:lnTo>
                  <a:lnTo>
                    <a:pt x="44218" y="84835"/>
                  </a:lnTo>
                  <a:lnTo>
                    <a:pt x="47153" y="84728"/>
                  </a:lnTo>
                  <a:lnTo>
                    <a:pt x="53486" y="86450"/>
                  </a:lnTo>
                  <a:lnTo>
                    <a:pt x="54406" y="86262"/>
                  </a:lnTo>
                  <a:lnTo>
                    <a:pt x="57840" y="83137"/>
                  </a:lnTo>
                  <a:lnTo>
                    <a:pt x="59135" y="81267"/>
                  </a:lnTo>
                  <a:lnTo>
                    <a:pt x="59431" y="79706"/>
                  </a:lnTo>
                  <a:lnTo>
                    <a:pt x="60109" y="78714"/>
                  </a:lnTo>
                  <a:lnTo>
                    <a:pt x="61925" y="77082"/>
                  </a:lnTo>
                  <a:lnTo>
                    <a:pt x="61953" y="75593"/>
                  </a:lnTo>
                  <a:lnTo>
                    <a:pt x="61057" y="73607"/>
                  </a:lnTo>
                  <a:lnTo>
                    <a:pt x="60154" y="72840"/>
                  </a:lnTo>
                  <a:lnTo>
                    <a:pt x="59377" y="72508"/>
                  </a:lnTo>
                  <a:lnTo>
                    <a:pt x="56857" y="72773"/>
                  </a:lnTo>
                  <a:lnTo>
                    <a:pt x="56375" y="72327"/>
                  </a:lnTo>
                  <a:lnTo>
                    <a:pt x="56043" y="70846"/>
                  </a:lnTo>
                  <a:lnTo>
                    <a:pt x="55922" y="69937"/>
                  </a:lnTo>
                  <a:lnTo>
                    <a:pt x="55091" y="68877"/>
                  </a:lnTo>
                  <a:lnTo>
                    <a:pt x="52379" y="67975"/>
                  </a:lnTo>
                  <a:lnTo>
                    <a:pt x="50079" y="67719"/>
                  </a:lnTo>
                  <a:lnTo>
                    <a:pt x="49538" y="67336"/>
                  </a:lnTo>
                  <a:lnTo>
                    <a:pt x="50424" y="66314"/>
                  </a:lnTo>
                  <a:lnTo>
                    <a:pt x="51990" y="65303"/>
                  </a:lnTo>
                  <a:lnTo>
                    <a:pt x="53186" y="64720"/>
                  </a:lnTo>
                  <a:lnTo>
                    <a:pt x="54125" y="63674"/>
                  </a:lnTo>
                  <a:lnTo>
                    <a:pt x="54303" y="62603"/>
                  </a:lnTo>
                  <a:lnTo>
                    <a:pt x="53134" y="61650"/>
                  </a:lnTo>
                  <a:lnTo>
                    <a:pt x="51610" y="60595"/>
                  </a:lnTo>
                  <a:lnTo>
                    <a:pt x="49137" y="58579"/>
                  </a:lnTo>
                  <a:lnTo>
                    <a:pt x="45726" y="56435"/>
                  </a:lnTo>
                  <a:lnTo>
                    <a:pt x="43648" y="55707"/>
                  </a:lnTo>
                  <a:lnTo>
                    <a:pt x="42558" y="55806"/>
                  </a:lnTo>
                  <a:lnTo>
                    <a:pt x="38798" y="57648"/>
                  </a:lnTo>
                  <a:lnTo>
                    <a:pt x="36775" y="58846"/>
                  </a:lnTo>
                  <a:lnTo>
                    <a:pt x="35093" y="60983"/>
                  </a:lnTo>
                  <a:lnTo>
                    <a:pt x="33337" y="61441"/>
                  </a:lnTo>
                  <a:lnTo>
                    <a:pt x="31560" y="60500"/>
                  </a:lnTo>
                  <a:lnTo>
                    <a:pt x="29545" y="59532"/>
                  </a:lnTo>
                  <a:lnTo>
                    <a:pt x="23954" y="58129"/>
                  </a:lnTo>
                  <a:lnTo>
                    <a:pt x="21605" y="56950"/>
                  </a:lnTo>
                  <a:lnTo>
                    <a:pt x="16725" y="49767"/>
                  </a:lnTo>
                  <a:lnTo>
                    <a:pt x="16003" y="48303"/>
                  </a:lnTo>
                  <a:lnTo>
                    <a:pt x="16470" y="46647"/>
                  </a:lnTo>
                  <a:lnTo>
                    <a:pt x="16806" y="44277"/>
                  </a:lnTo>
                  <a:lnTo>
                    <a:pt x="17295" y="42740"/>
                  </a:lnTo>
                  <a:lnTo>
                    <a:pt x="18158" y="41272"/>
                  </a:lnTo>
                  <a:lnTo>
                    <a:pt x="18392" y="39965"/>
                  </a:lnTo>
                  <a:lnTo>
                    <a:pt x="18180" y="38688"/>
                  </a:lnTo>
                  <a:lnTo>
                    <a:pt x="17474" y="37956"/>
                  </a:lnTo>
                  <a:lnTo>
                    <a:pt x="16556" y="37740"/>
                  </a:lnTo>
                  <a:lnTo>
                    <a:pt x="15872" y="37450"/>
                  </a:lnTo>
                  <a:lnTo>
                    <a:pt x="15224" y="35768"/>
                  </a:lnTo>
                  <a:lnTo>
                    <a:pt x="14833" y="35986"/>
                  </a:lnTo>
                  <a:lnTo>
                    <a:pt x="14233" y="38032"/>
                  </a:lnTo>
                  <a:lnTo>
                    <a:pt x="13514" y="38767"/>
                  </a:lnTo>
                  <a:lnTo>
                    <a:pt x="12557" y="39134"/>
                  </a:lnTo>
                  <a:lnTo>
                    <a:pt x="11821" y="38811"/>
                  </a:lnTo>
                  <a:lnTo>
                    <a:pt x="11352" y="37991"/>
                  </a:lnTo>
                  <a:lnTo>
                    <a:pt x="11141" y="36603"/>
                  </a:lnTo>
                  <a:lnTo>
                    <a:pt x="10663" y="34739"/>
                  </a:lnTo>
                  <a:lnTo>
                    <a:pt x="10063" y="33520"/>
                  </a:lnTo>
                  <a:lnTo>
                    <a:pt x="7962" y="32281"/>
                  </a:lnTo>
                  <a:lnTo>
                    <a:pt x="6971" y="30671"/>
                  </a:lnTo>
                  <a:lnTo>
                    <a:pt x="3846" y="27166"/>
                  </a:lnTo>
                  <a:lnTo>
                    <a:pt x="1229" y="24708"/>
                  </a:lnTo>
                  <a:lnTo>
                    <a:pt x="0" y="22497"/>
                  </a:lnTo>
                  <a:lnTo>
                    <a:pt x="1074" y="21673"/>
                  </a:lnTo>
                  <a:lnTo>
                    <a:pt x="2424" y="20479"/>
                  </a:lnTo>
                  <a:lnTo>
                    <a:pt x="3865" y="18619"/>
                  </a:lnTo>
                  <a:lnTo>
                    <a:pt x="5492" y="16279"/>
                  </a:lnTo>
                  <a:lnTo>
                    <a:pt x="6170" y="14851"/>
                  </a:lnTo>
                  <a:lnTo>
                    <a:pt x="6645" y="14273"/>
                  </a:lnTo>
                  <a:lnTo>
                    <a:pt x="7595" y="13851"/>
                  </a:lnTo>
                  <a:lnTo>
                    <a:pt x="8619" y="14082"/>
                  </a:lnTo>
                  <a:lnTo>
                    <a:pt x="10417" y="15028"/>
                  </a:lnTo>
                  <a:lnTo>
                    <a:pt x="13125" y="16235"/>
                  </a:lnTo>
                  <a:lnTo>
                    <a:pt x="15537" y="17662"/>
                  </a:lnTo>
                  <a:lnTo>
                    <a:pt x="16513" y="19099"/>
                  </a:lnTo>
                  <a:lnTo>
                    <a:pt x="17861" y="20476"/>
                  </a:lnTo>
                  <a:lnTo>
                    <a:pt x="18895" y="20892"/>
                  </a:lnTo>
                  <a:lnTo>
                    <a:pt x="19413" y="20782"/>
                  </a:lnTo>
                  <a:lnTo>
                    <a:pt x="20972" y="19747"/>
                  </a:lnTo>
                  <a:lnTo>
                    <a:pt x="22309" y="18707"/>
                  </a:lnTo>
                  <a:lnTo>
                    <a:pt x="22337" y="17527"/>
                  </a:lnTo>
                  <a:lnTo>
                    <a:pt x="23570" y="16467"/>
                  </a:lnTo>
                  <a:lnTo>
                    <a:pt x="25183" y="14722"/>
                  </a:lnTo>
                  <a:lnTo>
                    <a:pt x="25941" y="13538"/>
                  </a:lnTo>
                  <a:lnTo>
                    <a:pt x="26517" y="13413"/>
                  </a:lnTo>
                  <a:lnTo>
                    <a:pt x="27168" y="13764"/>
                  </a:lnTo>
                  <a:lnTo>
                    <a:pt x="29709" y="17424"/>
                  </a:lnTo>
                  <a:lnTo>
                    <a:pt x="30195" y="17643"/>
                  </a:lnTo>
                  <a:lnTo>
                    <a:pt x="30912" y="17094"/>
                  </a:lnTo>
                  <a:lnTo>
                    <a:pt x="31914" y="14235"/>
                  </a:lnTo>
                  <a:lnTo>
                    <a:pt x="33008" y="13127"/>
                  </a:lnTo>
                  <a:lnTo>
                    <a:pt x="33387" y="13407"/>
                  </a:lnTo>
                  <a:lnTo>
                    <a:pt x="39527" y="18800"/>
                  </a:lnTo>
                  <a:lnTo>
                    <a:pt x="40113" y="18757"/>
                  </a:lnTo>
                  <a:lnTo>
                    <a:pt x="40774" y="18515"/>
                  </a:lnTo>
                  <a:lnTo>
                    <a:pt x="41203" y="17686"/>
                  </a:lnTo>
                  <a:lnTo>
                    <a:pt x="41687" y="15820"/>
                  </a:lnTo>
                  <a:lnTo>
                    <a:pt x="42599" y="13820"/>
                  </a:lnTo>
                  <a:lnTo>
                    <a:pt x="44570" y="12706"/>
                  </a:lnTo>
                  <a:lnTo>
                    <a:pt x="46105" y="12490"/>
                  </a:lnTo>
                  <a:lnTo>
                    <a:pt x="46675" y="13443"/>
                  </a:lnTo>
                  <a:lnTo>
                    <a:pt x="48004" y="14757"/>
                  </a:lnTo>
                  <a:lnTo>
                    <a:pt x="49628" y="14942"/>
                  </a:lnTo>
                  <a:lnTo>
                    <a:pt x="53056" y="12613"/>
                  </a:lnTo>
                  <a:lnTo>
                    <a:pt x="54177" y="12243"/>
                  </a:lnTo>
                  <a:lnTo>
                    <a:pt x="55375" y="12285"/>
                  </a:lnTo>
                  <a:lnTo>
                    <a:pt x="56604" y="12192"/>
                  </a:lnTo>
                  <a:lnTo>
                    <a:pt x="57771" y="11300"/>
                  </a:lnTo>
                  <a:lnTo>
                    <a:pt x="59001" y="10121"/>
                  </a:lnTo>
                  <a:lnTo>
                    <a:pt x="59422" y="7799"/>
                  </a:lnTo>
                  <a:lnTo>
                    <a:pt x="59684" y="5715"/>
                  </a:lnTo>
                  <a:lnTo>
                    <a:pt x="60528" y="4872"/>
                  </a:lnTo>
                  <a:lnTo>
                    <a:pt x="61532" y="4308"/>
                  </a:lnTo>
                  <a:lnTo>
                    <a:pt x="63424" y="3520"/>
                  </a:lnTo>
                  <a:lnTo>
                    <a:pt x="67699" y="1497"/>
                  </a:lnTo>
                  <a:lnTo>
                    <a:pt x="68799" y="539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29" name="ee4p_YE_1_82333">
              <a:extLst>
                <a:ext uri="{FF2B5EF4-FFF2-40B4-BE49-F238E27FC236}">
                  <a16:creationId xmlns:a16="http://schemas.microsoft.com/office/drawing/2014/main" id="{EF4B47C3-8247-F072-C394-151FE4895364}"/>
                </a:ext>
              </a:extLst>
            </p:cNvPr>
            <p:cNvSpPr>
              <a:spLocks noChangeAspect="1"/>
            </p:cNvSpPr>
            <p:nvPr>
              <p:custDataLst>
                <p:tags r:id="rId57"/>
              </p:custDataLst>
            </p:nvPr>
          </p:nvSpPr>
          <p:spPr>
            <a:xfrm>
              <a:off x="7696259" y="4127441"/>
              <a:ext cx="332179" cy="195191"/>
            </a:xfrm>
            <a:custGeom>
              <a:avLst/>
              <a:gdLst>
                <a:gd name="connsiteX0" fmla="*/ 242922 w 264507"/>
                <a:gd name="connsiteY0" fmla="*/ 142397 h 151306"/>
                <a:gd name="connsiteX1" fmla="*/ 245211 w 264507"/>
                <a:gd name="connsiteY1" fmla="*/ 142585 h 151306"/>
                <a:gd name="connsiteX2" fmla="*/ 247969 w 264507"/>
                <a:gd name="connsiteY2" fmla="*/ 144170 h 151306"/>
                <a:gd name="connsiteX3" fmla="*/ 249331 w 264507"/>
                <a:gd name="connsiteY3" fmla="*/ 144440 h 151306"/>
                <a:gd name="connsiteX4" fmla="*/ 251404 w 264507"/>
                <a:gd name="connsiteY4" fmla="*/ 143662 h 151306"/>
                <a:gd name="connsiteX5" fmla="*/ 257349 w 264507"/>
                <a:gd name="connsiteY5" fmla="*/ 143559 h 151306"/>
                <a:gd name="connsiteX6" fmla="*/ 264507 w 264507"/>
                <a:gd name="connsiteY6" fmla="*/ 146058 h 151306"/>
                <a:gd name="connsiteX7" fmla="*/ 263156 w 264507"/>
                <a:gd name="connsiteY7" fmla="*/ 146717 h 151306"/>
                <a:gd name="connsiteX8" fmla="*/ 262354 w 264507"/>
                <a:gd name="connsiteY8" fmla="*/ 147618 h 151306"/>
                <a:gd name="connsiteX9" fmla="*/ 259204 w 264507"/>
                <a:gd name="connsiteY9" fmla="*/ 148441 h 151306"/>
                <a:gd name="connsiteX10" fmla="*/ 256068 w 264507"/>
                <a:gd name="connsiteY10" fmla="*/ 150371 h 151306"/>
                <a:gd name="connsiteX11" fmla="*/ 246988 w 264507"/>
                <a:gd name="connsiteY11" fmla="*/ 151306 h 151306"/>
                <a:gd name="connsiteX12" fmla="*/ 244323 w 264507"/>
                <a:gd name="connsiteY12" fmla="*/ 150783 h 151306"/>
                <a:gd name="connsiteX13" fmla="*/ 242136 w 264507"/>
                <a:gd name="connsiteY13" fmla="*/ 148919 h 151306"/>
                <a:gd name="connsiteX14" fmla="*/ 238076 w 264507"/>
                <a:gd name="connsiteY14" fmla="*/ 146498 h 151306"/>
                <a:gd name="connsiteX15" fmla="*/ 239683 w 264507"/>
                <a:gd name="connsiteY15" fmla="*/ 144955 h 151306"/>
                <a:gd name="connsiteX16" fmla="*/ 240024 w 264507"/>
                <a:gd name="connsiteY16" fmla="*/ 144248 h 151306"/>
                <a:gd name="connsiteX17" fmla="*/ 240622 w 264507"/>
                <a:gd name="connsiteY17" fmla="*/ 143569 h 151306"/>
                <a:gd name="connsiteX18" fmla="*/ 5135 w 264507"/>
                <a:gd name="connsiteY18" fmla="*/ 118697 h 151306"/>
                <a:gd name="connsiteX19" fmla="*/ 5420 w 264507"/>
                <a:gd name="connsiteY19" fmla="*/ 118769 h 151306"/>
                <a:gd name="connsiteX20" fmla="*/ 4573 w 264507"/>
                <a:gd name="connsiteY20" fmla="*/ 120161 h 151306"/>
                <a:gd name="connsiteX21" fmla="*/ 3111 w 264507"/>
                <a:gd name="connsiteY21" fmla="*/ 120851 h 151306"/>
                <a:gd name="connsiteX22" fmla="*/ 4111 w 264507"/>
                <a:gd name="connsiteY22" fmla="*/ 119064 h 151306"/>
                <a:gd name="connsiteX23" fmla="*/ 4711 w 264507"/>
                <a:gd name="connsiteY23" fmla="*/ 111977 h 151306"/>
                <a:gd name="connsiteX24" fmla="*/ 5513 w 264507"/>
                <a:gd name="connsiteY24" fmla="*/ 113222 h 151306"/>
                <a:gd name="connsiteX25" fmla="*/ 5271 w 264507"/>
                <a:gd name="connsiteY25" fmla="*/ 114141 h 151306"/>
                <a:gd name="connsiteX26" fmla="*/ 4979 w 264507"/>
                <a:gd name="connsiteY26" fmla="*/ 114620 h 151306"/>
                <a:gd name="connsiteX27" fmla="*/ 4578 w 264507"/>
                <a:gd name="connsiteY27" fmla="*/ 114515 h 151306"/>
                <a:gd name="connsiteX28" fmla="*/ 3206 w 264507"/>
                <a:gd name="connsiteY28" fmla="*/ 113320 h 151306"/>
                <a:gd name="connsiteX29" fmla="*/ 1179 w 264507"/>
                <a:gd name="connsiteY29" fmla="*/ 81141 h 151306"/>
                <a:gd name="connsiteX30" fmla="*/ 1669 w 264507"/>
                <a:gd name="connsiteY30" fmla="*/ 82602 h 151306"/>
                <a:gd name="connsiteX31" fmla="*/ 1358 w 264507"/>
                <a:gd name="connsiteY31" fmla="*/ 83410 h 151306"/>
                <a:gd name="connsiteX32" fmla="*/ 911 w 264507"/>
                <a:gd name="connsiteY32" fmla="*/ 84063 h 151306"/>
                <a:gd name="connsiteX33" fmla="*/ 214 w 264507"/>
                <a:gd name="connsiteY33" fmla="*/ 84565 h 151306"/>
                <a:gd name="connsiteX34" fmla="*/ 0 w 264507"/>
                <a:gd name="connsiteY34" fmla="*/ 83686 h 151306"/>
                <a:gd name="connsiteX35" fmla="*/ 457 w 264507"/>
                <a:gd name="connsiteY35" fmla="*/ 81711 h 151306"/>
                <a:gd name="connsiteX36" fmla="*/ 208486 w 264507"/>
                <a:gd name="connsiteY36" fmla="*/ 0 h 151306"/>
                <a:gd name="connsiteX37" fmla="*/ 209464 w 264507"/>
                <a:gd name="connsiteY37" fmla="*/ 2287 h 151306"/>
                <a:gd name="connsiteX38" fmla="*/ 210445 w 264507"/>
                <a:gd name="connsiteY38" fmla="*/ 4575 h 151306"/>
                <a:gd name="connsiteX39" fmla="*/ 211423 w 264507"/>
                <a:gd name="connsiteY39" fmla="*/ 6862 h 151306"/>
                <a:gd name="connsiteX40" fmla="*/ 212401 w 264507"/>
                <a:gd name="connsiteY40" fmla="*/ 9148 h 151306"/>
                <a:gd name="connsiteX41" fmla="*/ 213382 w 264507"/>
                <a:gd name="connsiteY41" fmla="*/ 11434 h 151306"/>
                <a:gd name="connsiteX42" fmla="*/ 214360 w 264507"/>
                <a:gd name="connsiteY42" fmla="*/ 13717 h 151306"/>
                <a:gd name="connsiteX43" fmla="*/ 215338 w 264507"/>
                <a:gd name="connsiteY43" fmla="*/ 16001 h 151306"/>
                <a:gd name="connsiteX44" fmla="*/ 216316 w 264507"/>
                <a:gd name="connsiteY44" fmla="*/ 18282 h 151306"/>
                <a:gd name="connsiteX45" fmla="*/ 217297 w 264507"/>
                <a:gd name="connsiteY45" fmla="*/ 20564 h 151306"/>
                <a:gd name="connsiteX46" fmla="*/ 218275 w 264507"/>
                <a:gd name="connsiteY46" fmla="*/ 22844 h 151306"/>
                <a:gd name="connsiteX47" fmla="*/ 219253 w 264507"/>
                <a:gd name="connsiteY47" fmla="*/ 25124 h 151306"/>
                <a:gd name="connsiteX48" fmla="*/ 220233 w 264507"/>
                <a:gd name="connsiteY48" fmla="*/ 27404 h 151306"/>
                <a:gd name="connsiteX49" fmla="*/ 221212 w 264507"/>
                <a:gd name="connsiteY49" fmla="*/ 29682 h 151306"/>
                <a:gd name="connsiteX50" fmla="*/ 222190 w 264507"/>
                <a:gd name="connsiteY50" fmla="*/ 31959 h 151306"/>
                <a:gd name="connsiteX51" fmla="*/ 223170 w 264507"/>
                <a:gd name="connsiteY51" fmla="*/ 34236 h 151306"/>
                <a:gd name="connsiteX52" fmla="*/ 224148 w 264507"/>
                <a:gd name="connsiteY52" fmla="*/ 36512 h 151306"/>
                <a:gd name="connsiteX53" fmla="*/ 225105 w 264507"/>
                <a:gd name="connsiteY53" fmla="*/ 38734 h 151306"/>
                <a:gd name="connsiteX54" fmla="*/ 226683 w 264507"/>
                <a:gd name="connsiteY54" fmla="*/ 39474 h 151306"/>
                <a:gd name="connsiteX55" fmla="*/ 227621 w 264507"/>
                <a:gd name="connsiteY55" fmla="*/ 41574 h 151306"/>
                <a:gd name="connsiteX56" fmla="*/ 228964 w 264507"/>
                <a:gd name="connsiteY56" fmla="*/ 44574 h 151306"/>
                <a:gd name="connsiteX57" fmla="*/ 230305 w 264507"/>
                <a:gd name="connsiteY57" fmla="*/ 47572 h 151306"/>
                <a:gd name="connsiteX58" fmla="*/ 231646 w 264507"/>
                <a:gd name="connsiteY58" fmla="*/ 50570 h 151306"/>
                <a:gd name="connsiteX59" fmla="*/ 232987 w 264507"/>
                <a:gd name="connsiteY59" fmla="*/ 53566 h 151306"/>
                <a:gd name="connsiteX60" fmla="*/ 221838 w 264507"/>
                <a:gd name="connsiteY60" fmla="*/ 57610 h 151306"/>
                <a:gd name="connsiteX61" fmla="*/ 218897 w 264507"/>
                <a:gd name="connsiteY61" fmla="*/ 59407 h 151306"/>
                <a:gd name="connsiteX62" fmla="*/ 216228 w 264507"/>
                <a:gd name="connsiteY62" fmla="*/ 61625 h 151306"/>
                <a:gd name="connsiteX63" fmla="*/ 214228 w 264507"/>
                <a:gd name="connsiteY63" fmla="*/ 64397 h 151306"/>
                <a:gd name="connsiteX64" fmla="*/ 212829 w 264507"/>
                <a:gd name="connsiteY64" fmla="*/ 69263 h 151306"/>
                <a:gd name="connsiteX65" fmla="*/ 213891 w 264507"/>
                <a:gd name="connsiteY65" fmla="*/ 73711 h 151306"/>
                <a:gd name="connsiteX66" fmla="*/ 213790 w 264507"/>
                <a:gd name="connsiteY66" fmla="*/ 76091 h 151306"/>
                <a:gd name="connsiteX67" fmla="*/ 210911 w 264507"/>
                <a:gd name="connsiteY67" fmla="*/ 77667 h 151306"/>
                <a:gd name="connsiteX68" fmla="*/ 208225 w 264507"/>
                <a:gd name="connsiteY68" fmla="*/ 78805 h 151306"/>
                <a:gd name="connsiteX69" fmla="*/ 205239 w 264507"/>
                <a:gd name="connsiteY69" fmla="*/ 80535 h 151306"/>
                <a:gd name="connsiteX70" fmla="*/ 203422 w 264507"/>
                <a:gd name="connsiteY70" fmla="*/ 80969 h 151306"/>
                <a:gd name="connsiteX71" fmla="*/ 201939 w 264507"/>
                <a:gd name="connsiteY71" fmla="*/ 82350 h 151306"/>
                <a:gd name="connsiteX72" fmla="*/ 200218 w 264507"/>
                <a:gd name="connsiteY72" fmla="*/ 83307 h 151306"/>
                <a:gd name="connsiteX73" fmla="*/ 193999 w 264507"/>
                <a:gd name="connsiteY73" fmla="*/ 85808 h 151306"/>
                <a:gd name="connsiteX74" fmla="*/ 187203 w 264507"/>
                <a:gd name="connsiteY74" fmla="*/ 87742 h 151306"/>
                <a:gd name="connsiteX75" fmla="*/ 176411 w 264507"/>
                <a:gd name="connsiteY75" fmla="*/ 90062 h 151306"/>
                <a:gd name="connsiteX76" fmla="*/ 172243 w 264507"/>
                <a:gd name="connsiteY76" fmla="*/ 92570 h 151306"/>
                <a:gd name="connsiteX77" fmla="*/ 168447 w 264507"/>
                <a:gd name="connsiteY77" fmla="*/ 94292 h 151306"/>
                <a:gd name="connsiteX78" fmla="*/ 162686 w 264507"/>
                <a:gd name="connsiteY78" fmla="*/ 94809 h 151306"/>
                <a:gd name="connsiteX79" fmla="*/ 154776 w 264507"/>
                <a:gd name="connsiteY79" fmla="*/ 97198 h 151306"/>
                <a:gd name="connsiteX80" fmla="*/ 150381 w 264507"/>
                <a:gd name="connsiteY80" fmla="*/ 99109 h 151306"/>
                <a:gd name="connsiteX81" fmla="*/ 144920 w 264507"/>
                <a:gd name="connsiteY81" fmla="*/ 102219 h 151306"/>
                <a:gd name="connsiteX82" fmla="*/ 143707 w 264507"/>
                <a:gd name="connsiteY82" fmla="*/ 103203 h 151306"/>
                <a:gd name="connsiteX83" fmla="*/ 142748 w 264507"/>
                <a:gd name="connsiteY83" fmla="*/ 105491 h 151306"/>
                <a:gd name="connsiteX84" fmla="*/ 141068 w 264507"/>
                <a:gd name="connsiteY84" fmla="*/ 107467 h 151306"/>
                <a:gd name="connsiteX85" fmla="*/ 137779 w 264507"/>
                <a:gd name="connsiteY85" fmla="*/ 110705 h 151306"/>
                <a:gd name="connsiteX86" fmla="*/ 135311 w 264507"/>
                <a:gd name="connsiteY86" fmla="*/ 112368 h 151306"/>
                <a:gd name="connsiteX87" fmla="*/ 133661 w 264507"/>
                <a:gd name="connsiteY87" fmla="*/ 112456 h 151306"/>
                <a:gd name="connsiteX88" fmla="*/ 130461 w 264507"/>
                <a:gd name="connsiteY88" fmla="*/ 113365 h 151306"/>
                <a:gd name="connsiteX89" fmla="*/ 126676 w 264507"/>
                <a:gd name="connsiteY89" fmla="*/ 113551 h 151306"/>
                <a:gd name="connsiteX90" fmla="*/ 120310 w 264507"/>
                <a:gd name="connsiteY90" fmla="*/ 112414 h 151306"/>
                <a:gd name="connsiteX91" fmla="*/ 118675 w 264507"/>
                <a:gd name="connsiteY91" fmla="*/ 113209 h 151306"/>
                <a:gd name="connsiteX92" fmla="*/ 117328 w 264507"/>
                <a:gd name="connsiteY92" fmla="*/ 114469 h 151306"/>
                <a:gd name="connsiteX93" fmla="*/ 112426 w 264507"/>
                <a:gd name="connsiteY93" fmla="*/ 116688 h 151306"/>
                <a:gd name="connsiteX94" fmla="*/ 107436 w 264507"/>
                <a:gd name="connsiteY94" fmla="*/ 121122 h 151306"/>
                <a:gd name="connsiteX95" fmla="*/ 103784 w 264507"/>
                <a:gd name="connsiteY95" fmla="*/ 122299 h 151306"/>
                <a:gd name="connsiteX96" fmla="*/ 97882 w 264507"/>
                <a:gd name="connsiteY96" fmla="*/ 123693 h 151306"/>
                <a:gd name="connsiteX97" fmla="*/ 93752 w 264507"/>
                <a:gd name="connsiteY97" fmla="*/ 125536 h 151306"/>
                <a:gd name="connsiteX98" fmla="*/ 90979 w 264507"/>
                <a:gd name="connsiteY98" fmla="*/ 126276 h 151306"/>
                <a:gd name="connsiteX99" fmla="*/ 87407 w 264507"/>
                <a:gd name="connsiteY99" fmla="*/ 126662 h 151306"/>
                <a:gd name="connsiteX100" fmla="*/ 80800 w 264507"/>
                <a:gd name="connsiteY100" fmla="*/ 126476 h 151306"/>
                <a:gd name="connsiteX101" fmla="*/ 74533 w 264507"/>
                <a:gd name="connsiteY101" fmla="*/ 127141 h 151306"/>
                <a:gd name="connsiteX102" fmla="*/ 68731 w 264507"/>
                <a:gd name="connsiteY102" fmla="*/ 128391 h 151306"/>
                <a:gd name="connsiteX103" fmla="*/ 66004 w 264507"/>
                <a:gd name="connsiteY103" fmla="*/ 130758 h 151306"/>
                <a:gd name="connsiteX104" fmla="*/ 62898 w 264507"/>
                <a:gd name="connsiteY104" fmla="*/ 134502 h 151306"/>
                <a:gd name="connsiteX105" fmla="*/ 57819 w 264507"/>
                <a:gd name="connsiteY105" fmla="*/ 136047 h 151306"/>
                <a:gd name="connsiteX106" fmla="*/ 56623 w 264507"/>
                <a:gd name="connsiteY106" fmla="*/ 137390 h 151306"/>
                <a:gd name="connsiteX107" fmla="*/ 55051 w 264507"/>
                <a:gd name="connsiteY107" fmla="*/ 140148 h 151306"/>
                <a:gd name="connsiteX108" fmla="*/ 51760 w 264507"/>
                <a:gd name="connsiteY108" fmla="*/ 140860 h 151306"/>
                <a:gd name="connsiteX109" fmla="*/ 48785 w 264507"/>
                <a:gd name="connsiteY109" fmla="*/ 141318 h 151306"/>
                <a:gd name="connsiteX110" fmla="*/ 45744 w 264507"/>
                <a:gd name="connsiteY110" fmla="*/ 140117 h 151306"/>
                <a:gd name="connsiteX111" fmla="*/ 40011 w 264507"/>
                <a:gd name="connsiteY111" fmla="*/ 143444 h 151306"/>
                <a:gd name="connsiteX112" fmla="*/ 37841 w 264507"/>
                <a:gd name="connsiteY112" fmla="*/ 143995 h 151306"/>
                <a:gd name="connsiteX113" fmla="*/ 34550 w 264507"/>
                <a:gd name="connsiteY113" fmla="*/ 144129 h 151306"/>
                <a:gd name="connsiteX114" fmla="*/ 32213 w 264507"/>
                <a:gd name="connsiteY114" fmla="*/ 144825 h 151306"/>
                <a:gd name="connsiteX115" fmla="*/ 30531 w 264507"/>
                <a:gd name="connsiteY115" fmla="*/ 144626 h 151306"/>
                <a:gd name="connsiteX116" fmla="*/ 28443 w 264507"/>
                <a:gd name="connsiteY116" fmla="*/ 143326 h 151306"/>
                <a:gd name="connsiteX117" fmla="*/ 23999 w 264507"/>
                <a:gd name="connsiteY117" fmla="*/ 141752 h 151306"/>
                <a:gd name="connsiteX118" fmla="*/ 20754 w 264507"/>
                <a:gd name="connsiteY118" fmla="*/ 142777 h 151306"/>
                <a:gd name="connsiteX119" fmla="*/ 20481 w 264507"/>
                <a:gd name="connsiteY119" fmla="*/ 139627 h 151306"/>
                <a:gd name="connsiteX120" fmla="*/ 15100 w 264507"/>
                <a:gd name="connsiteY120" fmla="*/ 130002 h 151306"/>
                <a:gd name="connsiteX121" fmla="*/ 16221 w 264507"/>
                <a:gd name="connsiteY121" fmla="*/ 121613 h 151306"/>
                <a:gd name="connsiteX122" fmla="*/ 16217 w 264507"/>
                <a:gd name="connsiteY122" fmla="*/ 120426 h 151306"/>
                <a:gd name="connsiteX123" fmla="*/ 15148 w 264507"/>
                <a:gd name="connsiteY123" fmla="*/ 116677 h 151306"/>
                <a:gd name="connsiteX124" fmla="*/ 11941 w 264507"/>
                <a:gd name="connsiteY124" fmla="*/ 113250 h 151306"/>
                <a:gd name="connsiteX125" fmla="*/ 12036 w 264507"/>
                <a:gd name="connsiteY125" fmla="*/ 108906 h 151306"/>
                <a:gd name="connsiteX126" fmla="*/ 10963 w 264507"/>
                <a:gd name="connsiteY126" fmla="*/ 105795 h 151306"/>
                <a:gd name="connsiteX127" fmla="*/ 10110 w 264507"/>
                <a:gd name="connsiteY127" fmla="*/ 102601 h 151306"/>
                <a:gd name="connsiteX128" fmla="*/ 10386 w 264507"/>
                <a:gd name="connsiteY128" fmla="*/ 101750 h 151306"/>
                <a:gd name="connsiteX129" fmla="*/ 10438 w 264507"/>
                <a:gd name="connsiteY129" fmla="*/ 100981 h 151306"/>
                <a:gd name="connsiteX130" fmla="*/ 8799 w 264507"/>
                <a:gd name="connsiteY130" fmla="*/ 96051 h 151306"/>
                <a:gd name="connsiteX131" fmla="*/ 8251 w 264507"/>
                <a:gd name="connsiteY131" fmla="*/ 95052 h 151306"/>
                <a:gd name="connsiteX132" fmla="*/ 8048 w 264507"/>
                <a:gd name="connsiteY132" fmla="*/ 94019 h 151306"/>
                <a:gd name="connsiteX133" fmla="*/ 8585 w 264507"/>
                <a:gd name="connsiteY133" fmla="*/ 93229 h 151306"/>
                <a:gd name="connsiteX134" fmla="*/ 8566 w 264507"/>
                <a:gd name="connsiteY134" fmla="*/ 92313 h 151306"/>
                <a:gd name="connsiteX135" fmla="*/ 7696 w 264507"/>
                <a:gd name="connsiteY135" fmla="*/ 90799 h 151306"/>
                <a:gd name="connsiteX136" fmla="*/ 6780 w 264507"/>
                <a:gd name="connsiteY136" fmla="*/ 87919 h 151306"/>
                <a:gd name="connsiteX137" fmla="*/ 2405 w 264507"/>
                <a:gd name="connsiteY137" fmla="*/ 85660 h 151306"/>
                <a:gd name="connsiteX138" fmla="*/ 3290 w 264507"/>
                <a:gd name="connsiteY138" fmla="*/ 83544 h 151306"/>
                <a:gd name="connsiteX139" fmla="*/ 4144 w 264507"/>
                <a:gd name="connsiteY139" fmla="*/ 84286 h 151306"/>
                <a:gd name="connsiteX140" fmla="*/ 5295 w 264507"/>
                <a:gd name="connsiteY140" fmla="*/ 84915 h 151306"/>
                <a:gd name="connsiteX141" fmla="*/ 5528 w 264507"/>
                <a:gd name="connsiteY141" fmla="*/ 83546 h 151306"/>
                <a:gd name="connsiteX142" fmla="*/ 5547 w 264507"/>
                <a:gd name="connsiteY142" fmla="*/ 82519 h 151306"/>
                <a:gd name="connsiteX143" fmla="*/ 3718 w 264507"/>
                <a:gd name="connsiteY143" fmla="*/ 76111 h 151306"/>
                <a:gd name="connsiteX144" fmla="*/ 6426 w 264507"/>
                <a:gd name="connsiteY144" fmla="*/ 67558 h 151306"/>
                <a:gd name="connsiteX145" fmla="*/ 5534 w 264507"/>
                <a:gd name="connsiteY145" fmla="*/ 59849 h 151306"/>
                <a:gd name="connsiteX146" fmla="*/ 9670 w 264507"/>
                <a:gd name="connsiteY146" fmla="*/ 56731 h 151306"/>
                <a:gd name="connsiteX147" fmla="*/ 10714 w 264507"/>
                <a:gd name="connsiteY147" fmla="*/ 55793 h 151306"/>
                <a:gd name="connsiteX148" fmla="*/ 11315 w 264507"/>
                <a:gd name="connsiteY148" fmla="*/ 54970 h 151306"/>
                <a:gd name="connsiteX149" fmla="*/ 12289 w 264507"/>
                <a:gd name="connsiteY149" fmla="*/ 53208 h 151306"/>
                <a:gd name="connsiteX150" fmla="*/ 13621 w 264507"/>
                <a:gd name="connsiteY150" fmla="*/ 52634 h 151306"/>
                <a:gd name="connsiteX151" fmla="*/ 14092 w 264507"/>
                <a:gd name="connsiteY151" fmla="*/ 50780 h 151306"/>
                <a:gd name="connsiteX152" fmla="*/ 14051 w 264507"/>
                <a:gd name="connsiteY152" fmla="*/ 49852 h 151306"/>
                <a:gd name="connsiteX153" fmla="*/ 13191 w 264507"/>
                <a:gd name="connsiteY153" fmla="*/ 49057 h 151306"/>
                <a:gd name="connsiteX154" fmla="*/ 12548 w 264507"/>
                <a:gd name="connsiteY154" fmla="*/ 46892 h 151306"/>
                <a:gd name="connsiteX155" fmla="*/ 12762 w 264507"/>
                <a:gd name="connsiteY155" fmla="*/ 44151 h 151306"/>
                <a:gd name="connsiteX156" fmla="*/ 12977 w 264507"/>
                <a:gd name="connsiteY156" fmla="*/ 43001 h 151306"/>
                <a:gd name="connsiteX157" fmla="*/ 13420 w 264507"/>
                <a:gd name="connsiteY157" fmla="*/ 40906 h 151306"/>
                <a:gd name="connsiteX158" fmla="*/ 14867 w 264507"/>
                <a:gd name="connsiteY158" fmla="*/ 40127 h 151306"/>
                <a:gd name="connsiteX159" fmla="*/ 15210 w 264507"/>
                <a:gd name="connsiteY159" fmla="*/ 39507 h 151306"/>
                <a:gd name="connsiteX160" fmla="*/ 14092 w 264507"/>
                <a:gd name="connsiteY160" fmla="*/ 38181 h 151306"/>
                <a:gd name="connsiteX161" fmla="*/ 14193 w 264507"/>
                <a:gd name="connsiteY161" fmla="*/ 37391 h 151306"/>
                <a:gd name="connsiteX162" fmla="*/ 16653 w 264507"/>
                <a:gd name="connsiteY162" fmla="*/ 35172 h 151306"/>
                <a:gd name="connsiteX163" fmla="*/ 17624 w 264507"/>
                <a:gd name="connsiteY163" fmla="*/ 34506 h 151306"/>
                <a:gd name="connsiteX164" fmla="*/ 19214 w 264507"/>
                <a:gd name="connsiteY164" fmla="*/ 33816 h 151306"/>
                <a:gd name="connsiteX165" fmla="*/ 20458 w 264507"/>
                <a:gd name="connsiteY165" fmla="*/ 33825 h 151306"/>
                <a:gd name="connsiteX166" fmla="*/ 21896 w 264507"/>
                <a:gd name="connsiteY166" fmla="*/ 34216 h 151306"/>
                <a:gd name="connsiteX167" fmla="*/ 23179 w 264507"/>
                <a:gd name="connsiteY167" fmla="*/ 34838 h 151306"/>
                <a:gd name="connsiteX168" fmla="*/ 24420 w 264507"/>
                <a:gd name="connsiteY168" fmla="*/ 35968 h 151306"/>
                <a:gd name="connsiteX169" fmla="*/ 25738 w 264507"/>
                <a:gd name="connsiteY169" fmla="*/ 37251 h 151306"/>
                <a:gd name="connsiteX170" fmla="*/ 27756 w 264507"/>
                <a:gd name="connsiteY170" fmla="*/ 37738 h 151306"/>
                <a:gd name="connsiteX171" fmla="*/ 29130 w 264507"/>
                <a:gd name="connsiteY171" fmla="*/ 37614 h 151306"/>
                <a:gd name="connsiteX172" fmla="*/ 30248 w 264507"/>
                <a:gd name="connsiteY172" fmla="*/ 38181 h 151306"/>
                <a:gd name="connsiteX173" fmla="*/ 31192 w 264507"/>
                <a:gd name="connsiteY173" fmla="*/ 37871 h 151306"/>
                <a:gd name="connsiteX174" fmla="*/ 32265 w 264507"/>
                <a:gd name="connsiteY174" fmla="*/ 37207 h 151306"/>
                <a:gd name="connsiteX175" fmla="*/ 33984 w 264507"/>
                <a:gd name="connsiteY175" fmla="*/ 37251 h 151306"/>
                <a:gd name="connsiteX176" fmla="*/ 35532 w 264507"/>
                <a:gd name="connsiteY176" fmla="*/ 36499 h 151306"/>
                <a:gd name="connsiteX177" fmla="*/ 39927 w 264507"/>
                <a:gd name="connsiteY177" fmla="*/ 36139 h 151306"/>
                <a:gd name="connsiteX178" fmla="*/ 44168 w 264507"/>
                <a:gd name="connsiteY178" fmla="*/ 36367 h 151306"/>
                <a:gd name="connsiteX179" fmla="*/ 48597 w 264507"/>
                <a:gd name="connsiteY179" fmla="*/ 35744 h 151306"/>
                <a:gd name="connsiteX180" fmla="*/ 53013 w 264507"/>
                <a:gd name="connsiteY180" fmla="*/ 35792 h 151306"/>
                <a:gd name="connsiteX181" fmla="*/ 57470 w 264507"/>
                <a:gd name="connsiteY181" fmla="*/ 35840 h 151306"/>
                <a:gd name="connsiteX182" fmla="*/ 58458 w 264507"/>
                <a:gd name="connsiteY182" fmla="*/ 35933 h 151306"/>
                <a:gd name="connsiteX183" fmla="*/ 59428 w 264507"/>
                <a:gd name="connsiteY183" fmla="*/ 36324 h 151306"/>
                <a:gd name="connsiteX184" fmla="*/ 63186 w 264507"/>
                <a:gd name="connsiteY184" fmla="*/ 38293 h 151306"/>
                <a:gd name="connsiteX185" fmla="*/ 66034 w 264507"/>
                <a:gd name="connsiteY185" fmla="*/ 38697 h 151306"/>
                <a:gd name="connsiteX186" fmla="*/ 71763 w 264507"/>
                <a:gd name="connsiteY186" fmla="*/ 39235 h 151306"/>
                <a:gd name="connsiteX187" fmla="*/ 77873 w 264507"/>
                <a:gd name="connsiteY187" fmla="*/ 39810 h 151306"/>
                <a:gd name="connsiteX188" fmla="*/ 83170 w 264507"/>
                <a:gd name="connsiteY188" fmla="*/ 40308 h 151306"/>
                <a:gd name="connsiteX189" fmla="*/ 87662 w 264507"/>
                <a:gd name="connsiteY189" fmla="*/ 39844 h 151306"/>
                <a:gd name="connsiteX190" fmla="*/ 91389 w 264507"/>
                <a:gd name="connsiteY190" fmla="*/ 39460 h 151306"/>
                <a:gd name="connsiteX191" fmla="*/ 92398 w 264507"/>
                <a:gd name="connsiteY191" fmla="*/ 39527 h 151306"/>
                <a:gd name="connsiteX192" fmla="*/ 93523 w 264507"/>
                <a:gd name="connsiteY192" fmla="*/ 40745 h 151306"/>
                <a:gd name="connsiteX193" fmla="*/ 95766 w 264507"/>
                <a:gd name="connsiteY193" fmla="*/ 43774 h 151306"/>
                <a:gd name="connsiteX194" fmla="*/ 97882 w 264507"/>
                <a:gd name="connsiteY194" fmla="*/ 46630 h 151306"/>
                <a:gd name="connsiteX195" fmla="*/ 101595 w 264507"/>
                <a:gd name="connsiteY195" fmla="*/ 46785 h 151306"/>
                <a:gd name="connsiteX196" fmla="*/ 103976 w 264507"/>
                <a:gd name="connsiteY196" fmla="*/ 45710 h 151306"/>
                <a:gd name="connsiteX197" fmla="*/ 106593 w 264507"/>
                <a:gd name="connsiteY197" fmla="*/ 44198 h 151306"/>
                <a:gd name="connsiteX198" fmla="*/ 108189 w 264507"/>
                <a:gd name="connsiteY198" fmla="*/ 43026 h 151306"/>
                <a:gd name="connsiteX199" fmla="*/ 110038 w 264507"/>
                <a:gd name="connsiteY199" fmla="*/ 38377 h 151306"/>
                <a:gd name="connsiteX200" fmla="*/ 111236 w 264507"/>
                <a:gd name="connsiteY200" fmla="*/ 35364 h 151306"/>
                <a:gd name="connsiteX201" fmla="*/ 113981 w 264507"/>
                <a:gd name="connsiteY201" fmla="*/ 31980 h 151306"/>
                <a:gd name="connsiteX202" fmla="*/ 116282 w 264507"/>
                <a:gd name="connsiteY202" fmla="*/ 29147 h 151306"/>
                <a:gd name="connsiteX203" fmla="*/ 119327 w 264507"/>
                <a:gd name="connsiteY203" fmla="*/ 25388 h 151306"/>
                <a:gd name="connsiteX204" fmla="*/ 121012 w 264507"/>
                <a:gd name="connsiteY204" fmla="*/ 23309 h 151306"/>
                <a:gd name="connsiteX205" fmla="*/ 124339 w 264507"/>
                <a:gd name="connsiteY205" fmla="*/ 19199 h 151306"/>
                <a:gd name="connsiteX206" fmla="*/ 127516 w 264507"/>
                <a:gd name="connsiteY206" fmla="*/ 17597 h 151306"/>
                <a:gd name="connsiteX207" fmla="*/ 133644 w 264507"/>
                <a:gd name="connsiteY207" fmla="*/ 14504 h 151306"/>
                <a:gd name="connsiteX208" fmla="*/ 139656 w 264507"/>
                <a:gd name="connsiteY208" fmla="*/ 11467 h 151306"/>
                <a:gd name="connsiteX209" fmla="*/ 143573 w 264507"/>
                <a:gd name="connsiteY209" fmla="*/ 9487 h 151306"/>
                <a:gd name="connsiteX210" fmla="*/ 146898 w 264507"/>
                <a:gd name="connsiteY210" fmla="*/ 8582 h 151306"/>
                <a:gd name="connsiteX211" fmla="*/ 152487 w 264507"/>
                <a:gd name="connsiteY211" fmla="*/ 7804 h 151306"/>
                <a:gd name="connsiteX212" fmla="*/ 159053 w 264507"/>
                <a:gd name="connsiteY212" fmla="*/ 6889 h 151306"/>
                <a:gd name="connsiteX213" fmla="*/ 165618 w 264507"/>
                <a:gd name="connsiteY213" fmla="*/ 5975 h 151306"/>
                <a:gd name="connsiteX214" fmla="*/ 172612 w 264507"/>
                <a:gd name="connsiteY214" fmla="*/ 5001 h 151306"/>
                <a:gd name="connsiteX215" fmla="*/ 180416 w 264507"/>
                <a:gd name="connsiteY215" fmla="*/ 3913 h 151306"/>
                <a:gd name="connsiteX216" fmla="*/ 185763 w 264507"/>
                <a:gd name="connsiteY216" fmla="*/ 3168 h 151306"/>
                <a:gd name="connsiteX217" fmla="*/ 192582 w 264507"/>
                <a:gd name="connsiteY217" fmla="*/ 2217 h 151306"/>
                <a:gd name="connsiteX218" fmla="*/ 198255 w 264507"/>
                <a:gd name="connsiteY218" fmla="*/ 1426 h 151306"/>
                <a:gd name="connsiteX219" fmla="*/ 203297 w 264507"/>
                <a:gd name="connsiteY219" fmla="*/ 724 h 151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</a:cxnLst>
              <a:rect l="l" t="t" r="r" b="b"/>
              <a:pathLst>
                <a:path w="264507" h="151306">
                  <a:moveTo>
                    <a:pt x="242922" y="142397"/>
                  </a:moveTo>
                  <a:lnTo>
                    <a:pt x="245211" y="142585"/>
                  </a:lnTo>
                  <a:lnTo>
                    <a:pt x="247969" y="144170"/>
                  </a:lnTo>
                  <a:lnTo>
                    <a:pt x="249331" y="144440"/>
                  </a:lnTo>
                  <a:lnTo>
                    <a:pt x="251404" y="143662"/>
                  </a:lnTo>
                  <a:lnTo>
                    <a:pt x="257349" y="143559"/>
                  </a:lnTo>
                  <a:lnTo>
                    <a:pt x="264507" y="146058"/>
                  </a:lnTo>
                  <a:lnTo>
                    <a:pt x="263156" y="146717"/>
                  </a:lnTo>
                  <a:lnTo>
                    <a:pt x="262354" y="147618"/>
                  </a:lnTo>
                  <a:lnTo>
                    <a:pt x="259204" y="148441"/>
                  </a:lnTo>
                  <a:lnTo>
                    <a:pt x="256068" y="150371"/>
                  </a:lnTo>
                  <a:lnTo>
                    <a:pt x="246988" y="151306"/>
                  </a:lnTo>
                  <a:lnTo>
                    <a:pt x="244323" y="150783"/>
                  </a:lnTo>
                  <a:lnTo>
                    <a:pt x="242136" y="148919"/>
                  </a:lnTo>
                  <a:lnTo>
                    <a:pt x="238076" y="146498"/>
                  </a:lnTo>
                  <a:lnTo>
                    <a:pt x="239683" y="144955"/>
                  </a:lnTo>
                  <a:lnTo>
                    <a:pt x="240024" y="144248"/>
                  </a:lnTo>
                  <a:lnTo>
                    <a:pt x="240622" y="143569"/>
                  </a:lnTo>
                  <a:close/>
                  <a:moveTo>
                    <a:pt x="5135" y="118697"/>
                  </a:moveTo>
                  <a:lnTo>
                    <a:pt x="5420" y="118769"/>
                  </a:lnTo>
                  <a:lnTo>
                    <a:pt x="4573" y="120161"/>
                  </a:lnTo>
                  <a:lnTo>
                    <a:pt x="3111" y="120851"/>
                  </a:lnTo>
                  <a:lnTo>
                    <a:pt x="4111" y="119064"/>
                  </a:lnTo>
                  <a:close/>
                  <a:moveTo>
                    <a:pt x="4711" y="111977"/>
                  </a:moveTo>
                  <a:lnTo>
                    <a:pt x="5513" y="113222"/>
                  </a:lnTo>
                  <a:lnTo>
                    <a:pt x="5271" y="114141"/>
                  </a:lnTo>
                  <a:lnTo>
                    <a:pt x="4979" y="114620"/>
                  </a:lnTo>
                  <a:lnTo>
                    <a:pt x="4578" y="114515"/>
                  </a:lnTo>
                  <a:lnTo>
                    <a:pt x="3206" y="113320"/>
                  </a:lnTo>
                  <a:close/>
                  <a:moveTo>
                    <a:pt x="1179" y="81141"/>
                  </a:moveTo>
                  <a:lnTo>
                    <a:pt x="1669" y="82602"/>
                  </a:lnTo>
                  <a:lnTo>
                    <a:pt x="1358" y="83410"/>
                  </a:lnTo>
                  <a:lnTo>
                    <a:pt x="911" y="84063"/>
                  </a:lnTo>
                  <a:lnTo>
                    <a:pt x="214" y="84565"/>
                  </a:lnTo>
                  <a:lnTo>
                    <a:pt x="0" y="83686"/>
                  </a:lnTo>
                  <a:lnTo>
                    <a:pt x="457" y="81711"/>
                  </a:lnTo>
                  <a:close/>
                  <a:moveTo>
                    <a:pt x="208486" y="0"/>
                  </a:moveTo>
                  <a:lnTo>
                    <a:pt x="209464" y="2287"/>
                  </a:lnTo>
                  <a:lnTo>
                    <a:pt x="210445" y="4575"/>
                  </a:lnTo>
                  <a:lnTo>
                    <a:pt x="211423" y="6862"/>
                  </a:lnTo>
                  <a:lnTo>
                    <a:pt x="212401" y="9148"/>
                  </a:lnTo>
                  <a:lnTo>
                    <a:pt x="213382" y="11434"/>
                  </a:lnTo>
                  <a:lnTo>
                    <a:pt x="214360" y="13717"/>
                  </a:lnTo>
                  <a:lnTo>
                    <a:pt x="215338" y="16001"/>
                  </a:lnTo>
                  <a:lnTo>
                    <a:pt x="216316" y="18282"/>
                  </a:lnTo>
                  <a:lnTo>
                    <a:pt x="217297" y="20564"/>
                  </a:lnTo>
                  <a:lnTo>
                    <a:pt x="218275" y="22844"/>
                  </a:lnTo>
                  <a:lnTo>
                    <a:pt x="219253" y="25124"/>
                  </a:lnTo>
                  <a:lnTo>
                    <a:pt x="220233" y="27404"/>
                  </a:lnTo>
                  <a:lnTo>
                    <a:pt x="221212" y="29682"/>
                  </a:lnTo>
                  <a:lnTo>
                    <a:pt x="222190" y="31959"/>
                  </a:lnTo>
                  <a:lnTo>
                    <a:pt x="223170" y="34236"/>
                  </a:lnTo>
                  <a:lnTo>
                    <a:pt x="224148" y="36512"/>
                  </a:lnTo>
                  <a:lnTo>
                    <a:pt x="225105" y="38734"/>
                  </a:lnTo>
                  <a:lnTo>
                    <a:pt x="226683" y="39474"/>
                  </a:lnTo>
                  <a:lnTo>
                    <a:pt x="227621" y="41574"/>
                  </a:lnTo>
                  <a:lnTo>
                    <a:pt x="228964" y="44574"/>
                  </a:lnTo>
                  <a:lnTo>
                    <a:pt x="230305" y="47572"/>
                  </a:lnTo>
                  <a:lnTo>
                    <a:pt x="231646" y="50570"/>
                  </a:lnTo>
                  <a:lnTo>
                    <a:pt x="232987" y="53566"/>
                  </a:lnTo>
                  <a:lnTo>
                    <a:pt x="221838" y="57610"/>
                  </a:lnTo>
                  <a:lnTo>
                    <a:pt x="218897" y="59407"/>
                  </a:lnTo>
                  <a:lnTo>
                    <a:pt x="216228" y="61625"/>
                  </a:lnTo>
                  <a:lnTo>
                    <a:pt x="214228" y="64397"/>
                  </a:lnTo>
                  <a:lnTo>
                    <a:pt x="212829" y="69263"/>
                  </a:lnTo>
                  <a:lnTo>
                    <a:pt x="213891" y="73711"/>
                  </a:lnTo>
                  <a:lnTo>
                    <a:pt x="213790" y="76091"/>
                  </a:lnTo>
                  <a:lnTo>
                    <a:pt x="210911" y="77667"/>
                  </a:lnTo>
                  <a:lnTo>
                    <a:pt x="208225" y="78805"/>
                  </a:lnTo>
                  <a:lnTo>
                    <a:pt x="205239" y="80535"/>
                  </a:lnTo>
                  <a:lnTo>
                    <a:pt x="203422" y="80969"/>
                  </a:lnTo>
                  <a:lnTo>
                    <a:pt x="201939" y="82350"/>
                  </a:lnTo>
                  <a:lnTo>
                    <a:pt x="200218" y="83307"/>
                  </a:lnTo>
                  <a:lnTo>
                    <a:pt x="193999" y="85808"/>
                  </a:lnTo>
                  <a:lnTo>
                    <a:pt x="187203" y="87742"/>
                  </a:lnTo>
                  <a:lnTo>
                    <a:pt x="176411" y="90062"/>
                  </a:lnTo>
                  <a:lnTo>
                    <a:pt x="172243" y="92570"/>
                  </a:lnTo>
                  <a:lnTo>
                    <a:pt x="168447" y="94292"/>
                  </a:lnTo>
                  <a:lnTo>
                    <a:pt x="162686" y="94809"/>
                  </a:lnTo>
                  <a:lnTo>
                    <a:pt x="154776" y="97198"/>
                  </a:lnTo>
                  <a:lnTo>
                    <a:pt x="150381" y="99109"/>
                  </a:lnTo>
                  <a:lnTo>
                    <a:pt x="144920" y="102219"/>
                  </a:lnTo>
                  <a:lnTo>
                    <a:pt x="143707" y="103203"/>
                  </a:lnTo>
                  <a:lnTo>
                    <a:pt x="142748" y="105491"/>
                  </a:lnTo>
                  <a:lnTo>
                    <a:pt x="141068" y="107467"/>
                  </a:lnTo>
                  <a:lnTo>
                    <a:pt x="137779" y="110705"/>
                  </a:lnTo>
                  <a:lnTo>
                    <a:pt x="135311" y="112368"/>
                  </a:lnTo>
                  <a:lnTo>
                    <a:pt x="133661" y="112456"/>
                  </a:lnTo>
                  <a:lnTo>
                    <a:pt x="130461" y="113365"/>
                  </a:lnTo>
                  <a:lnTo>
                    <a:pt x="126676" y="113551"/>
                  </a:lnTo>
                  <a:lnTo>
                    <a:pt x="120310" y="112414"/>
                  </a:lnTo>
                  <a:lnTo>
                    <a:pt x="118675" y="113209"/>
                  </a:lnTo>
                  <a:lnTo>
                    <a:pt x="117328" y="114469"/>
                  </a:lnTo>
                  <a:lnTo>
                    <a:pt x="112426" y="116688"/>
                  </a:lnTo>
                  <a:lnTo>
                    <a:pt x="107436" y="121122"/>
                  </a:lnTo>
                  <a:lnTo>
                    <a:pt x="103784" y="122299"/>
                  </a:lnTo>
                  <a:lnTo>
                    <a:pt x="97882" y="123693"/>
                  </a:lnTo>
                  <a:lnTo>
                    <a:pt x="93752" y="125536"/>
                  </a:lnTo>
                  <a:lnTo>
                    <a:pt x="90979" y="126276"/>
                  </a:lnTo>
                  <a:lnTo>
                    <a:pt x="87407" y="126662"/>
                  </a:lnTo>
                  <a:lnTo>
                    <a:pt x="80800" y="126476"/>
                  </a:lnTo>
                  <a:lnTo>
                    <a:pt x="74533" y="127141"/>
                  </a:lnTo>
                  <a:lnTo>
                    <a:pt x="68731" y="128391"/>
                  </a:lnTo>
                  <a:lnTo>
                    <a:pt x="66004" y="130758"/>
                  </a:lnTo>
                  <a:lnTo>
                    <a:pt x="62898" y="134502"/>
                  </a:lnTo>
                  <a:lnTo>
                    <a:pt x="57819" y="136047"/>
                  </a:lnTo>
                  <a:lnTo>
                    <a:pt x="56623" y="137390"/>
                  </a:lnTo>
                  <a:lnTo>
                    <a:pt x="55051" y="140148"/>
                  </a:lnTo>
                  <a:lnTo>
                    <a:pt x="51760" y="140860"/>
                  </a:lnTo>
                  <a:lnTo>
                    <a:pt x="48785" y="141318"/>
                  </a:lnTo>
                  <a:lnTo>
                    <a:pt x="45744" y="140117"/>
                  </a:lnTo>
                  <a:lnTo>
                    <a:pt x="40011" y="143444"/>
                  </a:lnTo>
                  <a:lnTo>
                    <a:pt x="37841" y="143995"/>
                  </a:lnTo>
                  <a:lnTo>
                    <a:pt x="34550" y="144129"/>
                  </a:lnTo>
                  <a:lnTo>
                    <a:pt x="32213" y="144825"/>
                  </a:lnTo>
                  <a:lnTo>
                    <a:pt x="30531" y="144626"/>
                  </a:lnTo>
                  <a:lnTo>
                    <a:pt x="28443" y="143326"/>
                  </a:lnTo>
                  <a:lnTo>
                    <a:pt x="23999" y="141752"/>
                  </a:lnTo>
                  <a:lnTo>
                    <a:pt x="20754" y="142777"/>
                  </a:lnTo>
                  <a:lnTo>
                    <a:pt x="20481" y="139627"/>
                  </a:lnTo>
                  <a:lnTo>
                    <a:pt x="15100" y="130002"/>
                  </a:lnTo>
                  <a:lnTo>
                    <a:pt x="16221" y="121613"/>
                  </a:lnTo>
                  <a:lnTo>
                    <a:pt x="16217" y="120426"/>
                  </a:lnTo>
                  <a:lnTo>
                    <a:pt x="15148" y="116677"/>
                  </a:lnTo>
                  <a:lnTo>
                    <a:pt x="11941" y="113250"/>
                  </a:lnTo>
                  <a:lnTo>
                    <a:pt x="12036" y="108906"/>
                  </a:lnTo>
                  <a:lnTo>
                    <a:pt x="10963" y="105795"/>
                  </a:lnTo>
                  <a:lnTo>
                    <a:pt x="10110" y="102601"/>
                  </a:lnTo>
                  <a:lnTo>
                    <a:pt x="10386" y="101750"/>
                  </a:lnTo>
                  <a:lnTo>
                    <a:pt x="10438" y="100981"/>
                  </a:lnTo>
                  <a:lnTo>
                    <a:pt x="8799" y="96051"/>
                  </a:lnTo>
                  <a:lnTo>
                    <a:pt x="8251" y="95052"/>
                  </a:lnTo>
                  <a:lnTo>
                    <a:pt x="8048" y="94019"/>
                  </a:lnTo>
                  <a:lnTo>
                    <a:pt x="8585" y="93229"/>
                  </a:lnTo>
                  <a:lnTo>
                    <a:pt x="8566" y="92313"/>
                  </a:lnTo>
                  <a:lnTo>
                    <a:pt x="7696" y="90799"/>
                  </a:lnTo>
                  <a:lnTo>
                    <a:pt x="6780" y="87919"/>
                  </a:lnTo>
                  <a:lnTo>
                    <a:pt x="2405" y="85660"/>
                  </a:lnTo>
                  <a:lnTo>
                    <a:pt x="3290" y="83544"/>
                  </a:lnTo>
                  <a:lnTo>
                    <a:pt x="4144" y="84286"/>
                  </a:lnTo>
                  <a:lnTo>
                    <a:pt x="5295" y="84915"/>
                  </a:lnTo>
                  <a:lnTo>
                    <a:pt x="5528" y="83546"/>
                  </a:lnTo>
                  <a:lnTo>
                    <a:pt x="5547" y="82519"/>
                  </a:lnTo>
                  <a:lnTo>
                    <a:pt x="3718" y="76111"/>
                  </a:lnTo>
                  <a:lnTo>
                    <a:pt x="6426" y="67558"/>
                  </a:lnTo>
                  <a:lnTo>
                    <a:pt x="5534" y="59849"/>
                  </a:lnTo>
                  <a:lnTo>
                    <a:pt x="9670" y="56731"/>
                  </a:lnTo>
                  <a:lnTo>
                    <a:pt x="10714" y="55793"/>
                  </a:lnTo>
                  <a:lnTo>
                    <a:pt x="11315" y="54970"/>
                  </a:lnTo>
                  <a:lnTo>
                    <a:pt x="12289" y="53208"/>
                  </a:lnTo>
                  <a:lnTo>
                    <a:pt x="13621" y="52634"/>
                  </a:lnTo>
                  <a:lnTo>
                    <a:pt x="14092" y="50780"/>
                  </a:lnTo>
                  <a:lnTo>
                    <a:pt x="14051" y="49852"/>
                  </a:lnTo>
                  <a:lnTo>
                    <a:pt x="13191" y="49057"/>
                  </a:lnTo>
                  <a:lnTo>
                    <a:pt x="12548" y="46892"/>
                  </a:lnTo>
                  <a:lnTo>
                    <a:pt x="12762" y="44151"/>
                  </a:lnTo>
                  <a:lnTo>
                    <a:pt x="12977" y="43001"/>
                  </a:lnTo>
                  <a:lnTo>
                    <a:pt x="13420" y="40906"/>
                  </a:lnTo>
                  <a:lnTo>
                    <a:pt x="14867" y="40127"/>
                  </a:lnTo>
                  <a:lnTo>
                    <a:pt x="15210" y="39507"/>
                  </a:lnTo>
                  <a:lnTo>
                    <a:pt x="14092" y="38181"/>
                  </a:lnTo>
                  <a:lnTo>
                    <a:pt x="14193" y="37391"/>
                  </a:lnTo>
                  <a:lnTo>
                    <a:pt x="16653" y="35172"/>
                  </a:lnTo>
                  <a:lnTo>
                    <a:pt x="17624" y="34506"/>
                  </a:lnTo>
                  <a:lnTo>
                    <a:pt x="19214" y="33816"/>
                  </a:lnTo>
                  <a:lnTo>
                    <a:pt x="20458" y="33825"/>
                  </a:lnTo>
                  <a:lnTo>
                    <a:pt x="21896" y="34216"/>
                  </a:lnTo>
                  <a:lnTo>
                    <a:pt x="23179" y="34838"/>
                  </a:lnTo>
                  <a:lnTo>
                    <a:pt x="24420" y="35968"/>
                  </a:lnTo>
                  <a:lnTo>
                    <a:pt x="25738" y="37251"/>
                  </a:lnTo>
                  <a:lnTo>
                    <a:pt x="27756" y="37738"/>
                  </a:lnTo>
                  <a:lnTo>
                    <a:pt x="29130" y="37614"/>
                  </a:lnTo>
                  <a:lnTo>
                    <a:pt x="30248" y="38181"/>
                  </a:lnTo>
                  <a:lnTo>
                    <a:pt x="31192" y="37871"/>
                  </a:lnTo>
                  <a:lnTo>
                    <a:pt x="32265" y="37207"/>
                  </a:lnTo>
                  <a:lnTo>
                    <a:pt x="33984" y="37251"/>
                  </a:lnTo>
                  <a:lnTo>
                    <a:pt x="35532" y="36499"/>
                  </a:lnTo>
                  <a:lnTo>
                    <a:pt x="39927" y="36139"/>
                  </a:lnTo>
                  <a:lnTo>
                    <a:pt x="44168" y="36367"/>
                  </a:lnTo>
                  <a:lnTo>
                    <a:pt x="48597" y="35744"/>
                  </a:lnTo>
                  <a:lnTo>
                    <a:pt x="53013" y="35792"/>
                  </a:lnTo>
                  <a:lnTo>
                    <a:pt x="57470" y="35840"/>
                  </a:lnTo>
                  <a:lnTo>
                    <a:pt x="58458" y="35933"/>
                  </a:lnTo>
                  <a:lnTo>
                    <a:pt x="59428" y="36324"/>
                  </a:lnTo>
                  <a:lnTo>
                    <a:pt x="63186" y="38293"/>
                  </a:lnTo>
                  <a:lnTo>
                    <a:pt x="66034" y="38697"/>
                  </a:lnTo>
                  <a:lnTo>
                    <a:pt x="71763" y="39235"/>
                  </a:lnTo>
                  <a:lnTo>
                    <a:pt x="77873" y="39810"/>
                  </a:lnTo>
                  <a:lnTo>
                    <a:pt x="83170" y="40308"/>
                  </a:lnTo>
                  <a:lnTo>
                    <a:pt x="87662" y="39844"/>
                  </a:lnTo>
                  <a:lnTo>
                    <a:pt x="91389" y="39460"/>
                  </a:lnTo>
                  <a:lnTo>
                    <a:pt x="92398" y="39527"/>
                  </a:lnTo>
                  <a:lnTo>
                    <a:pt x="93523" y="40745"/>
                  </a:lnTo>
                  <a:lnTo>
                    <a:pt x="95766" y="43774"/>
                  </a:lnTo>
                  <a:lnTo>
                    <a:pt x="97882" y="46630"/>
                  </a:lnTo>
                  <a:lnTo>
                    <a:pt x="101595" y="46785"/>
                  </a:lnTo>
                  <a:lnTo>
                    <a:pt x="103976" y="45710"/>
                  </a:lnTo>
                  <a:lnTo>
                    <a:pt x="106593" y="44198"/>
                  </a:lnTo>
                  <a:lnTo>
                    <a:pt x="108189" y="43026"/>
                  </a:lnTo>
                  <a:lnTo>
                    <a:pt x="110038" y="38377"/>
                  </a:lnTo>
                  <a:lnTo>
                    <a:pt x="111236" y="35364"/>
                  </a:lnTo>
                  <a:lnTo>
                    <a:pt x="113981" y="31980"/>
                  </a:lnTo>
                  <a:lnTo>
                    <a:pt x="116282" y="29147"/>
                  </a:lnTo>
                  <a:lnTo>
                    <a:pt x="119327" y="25388"/>
                  </a:lnTo>
                  <a:lnTo>
                    <a:pt x="121012" y="23309"/>
                  </a:lnTo>
                  <a:lnTo>
                    <a:pt x="124339" y="19199"/>
                  </a:lnTo>
                  <a:lnTo>
                    <a:pt x="127516" y="17597"/>
                  </a:lnTo>
                  <a:lnTo>
                    <a:pt x="133644" y="14504"/>
                  </a:lnTo>
                  <a:lnTo>
                    <a:pt x="139656" y="11467"/>
                  </a:lnTo>
                  <a:lnTo>
                    <a:pt x="143573" y="9487"/>
                  </a:lnTo>
                  <a:lnTo>
                    <a:pt x="146898" y="8582"/>
                  </a:lnTo>
                  <a:lnTo>
                    <a:pt x="152487" y="7804"/>
                  </a:lnTo>
                  <a:lnTo>
                    <a:pt x="159053" y="6889"/>
                  </a:lnTo>
                  <a:lnTo>
                    <a:pt x="165618" y="5975"/>
                  </a:lnTo>
                  <a:lnTo>
                    <a:pt x="172612" y="5001"/>
                  </a:lnTo>
                  <a:lnTo>
                    <a:pt x="180416" y="3913"/>
                  </a:lnTo>
                  <a:lnTo>
                    <a:pt x="185763" y="3168"/>
                  </a:lnTo>
                  <a:lnTo>
                    <a:pt x="192582" y="2217"/>
                  </a:lnTo>
                  <a:lnTo>
                    <a:pt x="198255" y="1426"/>
                  </a:lnTo>
                  <a:lnTo>
                    <a:pt x="203297" y="724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30" name="ee4p_RU_1_82333">
              <a:extLst>
                <a:ext uri="{FF2B5EF4-FFF2-40B4-BE49-F238E27FC236}">
                  <a16:creationId xmlns:a16="http://schemas.microsoft.com/office/drawing/2014/main" id="{106CCCA5-11AA-FE0D-42EF-F76727B306D1}"/>
                </a:ext>
              </a:extLst>
            </p:cNvPr>
            <p:cNvSpPr>
              <a:spLocks noChangeAspect="1"/>
            </p:cNvSpPr>
            <p:nvPr>
              <p:custDataLst>
                <p:tags r:id="rId58"/>
              </p:custDataLst>
            </p:nvPr>
          </p:nvSpPr>
          <p:spPr>
            <a:xfrm>
              <a:off x="7059102" y="1556961"/>
              <a:ext cx="4739295" cy="1872839"/>
            </a:xfrm>
            <a:custGeom>
              <a:avLst/>
              <a:gdLst>
                <a:gd name="connsiteX0" fmla="*/ 2796832 w 3773795"/>
                <a:gd name="connsiteY0" fmla="*/ 1391858 h 1451770"/>
                <a:gd name="connsiteX1" fmla="*/ 2797101 w 3773795"/>
                <a:gd name="connsiteY1" fmla="*/ 1392096 h 1451770"/>
                <a:gd name="connsiteX2" fmla="*/ 2796782 w 3773795"/>
                <a:gd name="connsiteY2" fmla="*/ 1392392 h 1451770"/>
                <a:gd name="connsiteX3" fmla="*/ 2796419 w 3773795"/>
                <a:gd name="connsiteY3" fmla="*/ 1392600 h 1451770"/>
                <a:gd name="connsiteX4" fmla="*/ 2795881 w 3773795"/>
                <a:gd name="connsiteY4" fmla="*/ 1392927 h 1451770"/>
                <a:gd name="connsiteX5" fmla="*/ 2795588 w 3773795"/>
                <a:gd name="connsiteY5" fmla="*/ 1392986 h 1451770"/>
                <a:gd name="connsiteX6" fmla="*/ 2795493 w 3773795"/>
                <a:gd name="connsiteY6" fmla="*/ 1392630 h 1451770"/>
                <a:gd name="connsiteX7" fmla="*/ 2795955 w 3773795"/>
                <a:gd name="connsiteY7" fmla="*/ 1392274 h 1451770"/>
                <a:gd name="connsiteX8" fmla="*/ 2792254 w 3773795"/>
                <a:gd name="connsiteY8" fmla="*/ 1391576 h 1451770"/>
                <a:gd name="connsiteX9" fmla="*/ 2792564 w 3773795"/>
                <a:gd name="connsiteY9" fmla="*/ 1391710 h 1451770"/>
                <a:gd name="connsiteX10" fmla="*/ 2792968 w 3773795"/>
                <a:gd name="connsiteY10" fmla="*/ 1391688 h 1451770"/>
                <a:gd name="connsiteX11" fmla="*/ 2793351 w 3773795"/>
                <a:gd name="connsiteY11" fmla="*/ 1391643 h 1451770"/>
                <a:gd name="connsiteX12" fmla="*/ 2793571 w 3773795"/>
                <a:gd name="connsiteY12" fmla="*/ 1391955 h 1451770"/>
                <a:gd name="connsiteX13" fmla="*/ 2793625 w 3773795"/>
                <a:gd name="connsiteY13" fmla="*/ 1392466 h 1451770"/>
                <a:gd name="connsiteX14" fmla="*/ 2793351 w 3773795"/>
                <a:gd name="connsiteY14" fmla="*/ 1392488 h 1451770"/>
                <a:gd name="connsiteX15" fmla="*/ 2792822 w 3773795"/>
                <a:gd name="connsiteY15" fmla="*/ 1392577 h 1451770"/>
                <a:gd name="connsiteX16" fmla="*/ 2792528 w 3773795"/>
                <a:gd name="connsiteY16" fmla="*/ 1392644 h 1451770"/>
                <a:gd name="connsiteX17" fmla="*/ 2792364 w 3773795"/>
                <a:gd name="connsiteY17" fmla="*/ 1392288 h 1451770"/>
                <a:gd name="connsiteX18" fmla="*/ 2792254 w 3773795"/>
                <a:gd name="connsiteY18" fmla="*/ 1391999 h 1451770"/>
                <a:gd name="connsiteX19" fmla="*/ 2791979 w 3773795"/>
                <a:gd name="connsiteY19" fmla="*/ 1391820 h 1451770"/>
                <a:gd name="connsiteX20" fmla="*/ 2791979 w 3773795"/>
                <a:gd name="connsiteY20" fmla="*/ 1391620 h 1451770"/>
                <a:gd name="connsiteX21" fmla="*/ 2801731 w 3773795"/>
                <a:gd name="connsiteY21" fmla="*/ 1386394 h 1451770"/>
                <a:gd name="connsiteX22" fmla="*/ 2802243 w 3773795"/>
                <a:gd name="connsiteY22" fmla="*/ 1386512 h 1451770"/>
                <a:gd name="connsiteX23" fmla="*/ 2802608 w 3773795"/>
                <a:gd name="connsiteY23" fmla="*/ 1386602 h 1451770"/>
                <a:gd name="connsiteX24" fmla="*/ 2802807 w 3773795"/>
                <a:gd name="connsiteY24" fmla="*/ 1387108 h 1451770"/>
                <a:gd name="connsiteX25" fmla="*/ 2802221 w 3773795"/>
                <a:gd name="connsiteY25" fmla="*/ 1387255 h 1451770"/>
                <a:gd name="connsiteX26" fmla="*/ 2801245 w 3773795"/>
                <a:gd name="connsiteY26" fmla="*/ 1387108 h 1451770"/>
                <a:gd name="connsiteX27" fmla="*/ 2800928 w 3773795"/>
                <a:gd name="connsiteY27" fmla="*/ 1386988 h 1451770"/>
                <a:gd name="connsiteX28" fmla="*/ 2801146 w 3773795"/>
                <a:gd name="connsiteY28" fmla="*/ 1386751 h 1451770"/>
                <a:gd name="connsiteX29" fmla="*/ 2813107 w 3773795"/>
                <a:gd name="connsiteY29" fmla="*/ 1380761 h 1451770"/>
                <a:gd name="connsiteX30" fmla="*/ 2814422 w 3773795"/>
                <a:gd name="connsiteY30" fmla="*/ 1381609 h 1451770"/>
                <a:gd name="connsiteX31" fmla="*/ 2814752 w 3773795"/>
                <a:gd name="connsiteY31" fmla="*/ 1382284 h 1451770"/>
                <a:gd name="connsiteX32" fmla="*/ 2810660 w 3773795"/>
                <a:gd name="connsiteY32" fmla="*/ 1383913 h 1451770"/>
                <a:gd name="connsiteX33" fmla="*/ 2809976 w 3773795"/>
                <a:gd name="connsiteY33" fmla="*/ 1384654 h 1451770"/>
                <a:gd name="connsiteX34" fmla="*/ 2808331 w 3773795"/>
                <a:gd name="connsiteY34" fmla="*/ 1384003 h 1451770"/>
                <a:gd name="connsiteX35" fmla="*/ 2808439 w 3773795"/>
                <a:gd name="connsiteY35" fmla="*/ 1382476 h 1451770"/>
                <a:gd name="connsiteX36" fmla="*/ 2808626 w 3773795"/>
                <a:gd name="connsiteY36" fmla="*/ 1382045 h 1451770"/>
                <a:gd name="connsiteX37" fmla="*/ 2797352 w 3773795"/>
                <a:gd name="connsiteY37" fmla="*/ 1363421 h 1451770"/>
                <a:gd name="connsiteX38" fmla="*/ 2799464 w 3773795"/>
                <a:gd name="connsiteY38" fmla="*/ 1363489 h 1451770"/>
                <a:gd name="connsiteX39" fmla="*/ 2802744 w 3773795"/>
                <a:gd name="connsiteY39" fmla="*/ 1365475 h 1451770"/>
                <a:gd name="connsiteX40" fmla="*/ 2807428 w 3773795"/>
                <a:gd name="connsiteY40" fmla="*/ 1365045 h 1451770"/>
                <a:gd name="connsiteX41" fmla="*/ 2806288 w 3773795"/>
                <a:gd name="connsiteY41" fmla="*/ 1366832 h 1451770"/>
                <a:gd name="connsiteX42" fmla="*/ 2804526 w 3773795"/>
                <a:gd name="connsiteY42" fmla="*/ 1366804 h 1451770"/>
                <a:gd name="connsiteX43" fmla="*/ 2801423 w 3773795"/>
                <a:gd name="connsiteY43" fmla="*/ 1369376 h 1451770"/>
                <a:gd name="connsiteX44" fmla="*/ 2798697 w 3773795"/>
                <a:gd name="connsiteY44" fmla="*/ 1369710 h 1451770"/>
                <a:gd name="connsiteX45" fmla="*/ 2797356 w 3773795"/>
                <a:gd name="connsiteY45" fmla="*/ 1370326 h 1451770"/>
                <a:gd name="connsiteX46" fmla="*/ 2792973 w 3773795"/>
                <a:gd name="connsiteY46" fmla="*/ 1374181 h 1451770"/>
                <a:gd name="connsiteX47" fmla="*/ 2792381 w 3773795"/>
                <a:gd name="connsiteY47" fmla="*/ 1375697 h 1451770"/>
                <a:gd name="connsiteX48" fmla="*/ 2789721 w 3773795"/>
                <a:gd name="connsiteY48" fmla="*/ 1378593 h 1451770"/>
                <a:gd name="connsiteX49" fmla="*/ 2785737 w 3773795"/>
                <a:gd name="connsiteY49" fmla="*/ 1381177 h 1451770"/>
                <a:gd name="connsiteX50" fmla="*/ 2785053 w 3773795"/>
                <a:gd name="connsiteY50" fmla="*/ 1386050 h 1451770"/>
                <a:gd name="connsiteX51" fmla="*/ 2782474 w 3773795"/>
                <a:gd name="connsiteY51" fmla="*/ 1384095 h 1451770"/>
                <a:gd name="connsiteX52" fmla="*/ 2782184 w 3773795"/>
                <a:gd name="connsiteY52" fmla="*/ 1382116 h 1451770"/>
                <a:gd name="connsiteX53" fmla="*/ 2782970 w 3773795"/>
                <a:gd name="connsiteY53" fmla="*/ 1380480 h 1451770"/>
                <a:gd name="connsiteX54" fmla="*/ 2787494 w 3773795"/>
                <a:gd name="connsiteY54" fmla="*/ 1377014 h 1451770"/>
                <a:gd name="connsiteX55" fmla="*/ 2789308 w 3773795"/>
                <a:gd name="connsiteY55" fmla="*/ 1375053 h 1451770"/>
                <a:gd name="connsiteX56" fmla="*/ 2789862 w 3773795"/>
                <a:gd name="connsiteY56" fmla="*/ 1373496 h 1451770"/>
                <a:gd name="connsiteX57" fmla="*/ 2791599 w 3773795"/>
                <a:gd name="connsiteY57" fmla="*/ 1371761 h 1451770"/>
                <a:gd name="connsiteX58" fmla="*/ 2792446 w 3773795"/>
                <a:gd name="connsiteY58" fmla="*/ 1370254 h 1451770"/>
                <a:gd name="connsiteX59" fmla="*/ 2793556 w 3773795"/>
                <a:gd name="connsiteY59" fmla="*/ 1369601 h 1451770"/>
                <a:gd name="connsiteX60" fmla="*/ 2856182 w 3773795"/>
                <a:gd name="connsiteY60" fmla="*/ 1335366 h 1451770"/>
                <a:gd name="connsiteX61" fmla="*/ 2857057 w 3773795"/>
                <a:gd name="connsiteY61" fmla="*/ 1335818 h 1451770"/>
                <a:gd name="connsiteX62" fmla="*/ 2857366 w 3773795"/>
                <a:gd name="connsiteY62" fmla="*/ 1336475 h 1451770"/>
                <a:gd name="connsiteX63" fmla="*/ 2857349 w 3773795"/>
                <a:gd name="connsiteY63" fmla="*/ 1337304 h 1451770"/>
                <a:gd name="connsiteX64" fmla="*/ 2856854 w 3773795"/>
                <a:gd name="connsiteY64" fmla="*/ 1338468 h 1451770"/>
                <a:gd name="connsiteX65" fmla="*/ 2857608 w 3773795"/>
                <a:gd name="connsiteY65" fmla="*/ 1339862 h 1451770"/>
                <a:gd name="connsiteX66" fmla="*/ 2856582 w 3773795"/>
                <a:gd name="connsiteY66" fmla="*/ 1340924 h 1451770"/>
                <a:gd name="connsiteX67" fmla="*/ 2852354 w 3773795"/>
                <a:gd name="connsiteY67" fmla="*/ 1341098 h 1451770"/>
                <a:gd name="connsiteX68" fmla="*/ 2848266 w 3773795"/>
                <a:gd name="connsiteY68" fmla="*/ 1343030 h 1451770"/>
                <a:gd name="connsiteX69" fmla="*/ 2844898 w 3773795"/>
                <a:gd name="connsiteY69" fmla="*/ 1343861 h 1451770"/>
                <a:gd name="connsiteX70" fmla="*/ 2839214 w 3773795"/>
                <a:gd name="connsiteY70" fmla="*/ 1347875 h 1451770"/>
                <a:gd name="connsiteX71" fmla="*/ 2837190 w 3773795"/>
                <a:gd name="connsiteY71" fmla="*/ 1350057 h 1451770"/>
                <a:gd name="connsiteX72" fmla="*/ 2834323 w 3773795"/>
                <a:gd name="connsiteY72" fmla="*/ 1350925 h 1451770"/>
                <a:gd name="connsiteX73" fmla="*/ 2831530 w 3773795"/>
                <a:gd name="connsiteY73" fmla="*/ 1350418 h 1451770"/>
                <a:gd name="connsiteX74" fmla="*/ 2830737 w 3773795"/>
                <a:gd name="connsiteY74" fmla="*/ 1351304 h 1451770"/>
                <a:gd name="connsiteX75" fmla="*/ 2830464 w 3773795"/>
                <a:gd name="connsiteY75" fmla="*/ 1352892 h 1451770"/>
                <a:gd name="connsiteX76" fmla="*/ 2829436 w 3773795"/>
                <a:gd name="connsiteY76" fmla="*/ 1354285 h 1451770"/>
                <a:gd name="connsiteX77" fmla="*/ 2823843 w 3773795"/>
                <a:gd name="connsiteY77" fmla="*/ 1358590 h 1451770"/>
                <a:gd name="connsiteX78" fmla="*/ 2821572 w 3773795"/>
                <a:gd name="connsiteY78" fmla="*/ 1361968 h 1451770"/>
                <a:gd name="connsiteX79" fmla="*/ 2819162 w 3773795"/>
                <a:gd name="connsiteY79" fmla="*/ 1362576 h 1451770"/>
                <a:gd name="connsiteX80" fmla="*/ 2814718 w 3773795"/>
                <a:gd name="connsiteY80" fmla="*/ 1366027 h 1451770"/>
                <a:gd name="connsiteX81" fmla="*/ 2815515 w 3773795"/>
                <a:gd name="connsiteY81" fmla="*/ 1363070 h 1451770"/>
                <a:gd name="connsiteX82" fmla="*/ 2816415 w 3773795"/>
                <a:gd name="connsiteY82" fmla="*/ 1361637 h 1451770"/>
                <a:gd name="connsiteX83" fmla="*/ 2820102 w 3773795"/>
                <a:gd name="connsiteY83" fmla="*/ 1358980 h 1451770"/>
                <a:gd name="connsiteX84" fmla="*/ 2820408 w 3773795"/>
                <a:gd name="connsiteY84" fmla="*/ 1356176 h 1451770"/>
                <a:gd name="connsiteX85" fmla="*/ 2822438 w 3773795"/>
                <a:gd name="connsiteY85" fmla="*/ 1353726 h 1451770"/>
                <a:gd name="connsiteX86" fmla="*/ 2826503 w 3773795"/>
                <a:gd name="connsiteY86" fmla="*/ 1351291 h 1451770"/>
                <a:gd name="connsiteX87" fmla="*/ 2829320 w 3773795"/>
                <a:gd name="connsiteY87" fmla="*/ 1348087 h 1451770"/>
                <a:gd name="connsiteX88" fmla="*/ 2831533 w 3773795"/>
                <a:gd name="connsiteY88" fmla="*/ 1347250 h 1451770"/>
                <a:gd name="connsiteX89" fmla="*/ 2833999 w 3773795"/>
                <a:gd name="connsiteY89" fmla="*/ 1344576 h 1451770"/>
                <a:gd name="connsiteX90" fmla="*/ 2836566 w 3773795"/>
                <a:gd name="connsiteY90" fmla="*/ 1343620 h 1451770"/>
                <a:gd name="connsiteX91" fmla="*/ 2836281 w 3773795"/>
                <a:gd name="connsiteY91" fmla="*/ 1341574 h 1451770"/>
                <a:gd name="connsiteX92" fmla="*/ 2837418 w 3773795"/>
                <a:gd name="connsiteY92" fmla="*/ 1339297 h 1451770"/>
                <a:gd name="connsiteX93" fmla="*/ 2838314 w 3773795"/>
                <a:gd name="connsiteY93" fmla="*/ 1339450 h 1451770"/>
                <a:gd name="connsiteX94" fmla="*/ 2840337 w 3773795"/>
                <a:gd name="connsiteY94" fmla="*/ 1342620 h 1451770"/>
                <a:gd name="connsiteX95" fmla="*/ 2841974 w 3773795"/>
                <a:gd name="connsiteY95" fmla="*/ 1342727 h 1451770"/>
                <a:gd name="connsiteX96" fmla="*/ 2846267 w 3773795"/>
                <a:gd name="connsiteY96" fmla="*/ 1342064 h 1451770"/>
                <a:gd name="connsiteX97" fmla="*/ 2852637 w 3773795"/>
                <a:gd name="connsiteY97" fmla="*/ 1336514 h 1451770"/>
                <a:gd name="connsiteX98" fmla="*/ 2854723 w 3773795"/>
                <a:gd name="connsiteY98" fmla="*/ 1335525 h 1451770"/>
                <a:gd name="connsiteX99" fmla="*/ 626718 w 3773795"/>
                <a:gd name="connsiteY99" fmla="*/ 1332050 h 1451770"/>
                <a:gd name="connsiteX100" fmla="*/ 627601 w 3773795"/>
                <a:gd name="connsiteY100" fmla="*/ 1334608 h 1451770"/>
                <a:gd name="connsiteX101" fmla="*/ 627511 w 3773795"/>
                <a:gd name="connsiteY101" fmla="*/ 1336416 h 1451770"/>
                <a:gd name="connsiteX102" fmla="*/ 627171 w 3773795"/>
                <a:gd name="connsiteY102" fmla="*/ 1336918 h 1451770"/>
                <a:gd name="connsiteX103" fmla="*/ 626124 w 3773795"/>
                <a:gd name="connsiteY103" fmla="*/ 1334388 h 1451770"/>
                <a:gd name="connsiteX104" fmla="*/ 626064 w 3773795"/>
                <a:gd name="connsiteY104" fmla="*/ 1332845 h 1451770"/>
                <a:gd name="connsiteX105" fmla="*/ 2891031 w 3773795"/>
                <a:gd name="connsiteY105" fmla="*/ 1316421 h 1451770"/>
                <a:gd name="connsiteX106" fmla="*/ 2895553 w 3773795"/>
                <a:gd name="connsiteY106" fmla="*/ 1316556 h 1451770"/>
                <a:gd name="connsiteX107" fmla="*/ 2888508 w 3773795"/>
                <a:gd name="connsiteY107" fmla="*/ 1321982 h 1451770"/>
                <a:gd name="connsiteX108" fmla="*/ 2887634 w 3773795"/>
                <a:gd name="connsiteY108" fmla="*/ 1324165 h 1451770"/>
                <a:gd name="connsiteX109" fmla="*/ 2884574 w 3773795"/>
                <a:gd name="connsiteY109" fmla="*/ 1326478 h 1451770"/>
                <a:gd name="connsiteX110" fmla="*/ 2882306 w 3773795"/>
                <a:gd name="connsiteY110" fmla="*/ 1327220 h 1451770"/>
                <a:gd name="connsiteX111" fmla="*/ 2880743 w 3773795"/>
                <a:gd name="connsiteY111" fmla="*/ 1328303 h 1451770"/>
                <a:gd name="connsiteX112" fmla="*/ 2876416 w 3773795"/>
                <a:gd name="connsiteY112" fmla="*/ 1332188 h 1451770"/>
                <a:gd name="connsiteX113" fmla="*/ 2873125 w 3773795"/>
                <a:gd name="connsiteY113" fmla="*/ 1333582 h 1451770"/>
                <a:gd name="connsiteX114" fmla="*/ 2871095 w 3773795"/>
                <a:gd name="connsiteY114" fmla="*/ 1333527 h 1451770"/>
                <a:gd name="connsiteX115" fmla="*/ 2875935 w 3773795"/>
                <a:gd name="connsiteY115" fmla="*/ 1326742 h 1451770"/>
                <a:gd name="connsiteX116" fmla="*/ 2878817 w 3773795"/>
                <a:gd name="connsiteY116" fmla="*/ 1325741 h 1451770"/>
                <a:gd name="connsiteX117" fmla="*/ 2882488 w 3773795"/>
                <a:gd name="connsiteY117" fmla="*/ 1321716 h 1451770"/>
                <a:gd name="connsiteX118" fmla="*/ 2890149 w 3773795"/>
                <a:gd name="connsiteY118" fmla="*/ 1316783 h 1451770"/>
                <a:gd name="connsiteX119" fmla="*/ 2932735 w 3773795"/>
                <a:gd name="connsiteY119" fmla="*/ 1290555 h 1451770"/>
                <a:gd name="connsiteX120" fmla="*/ 2933933 w 3773795"/>
                <a:gd name="connsiteY120" fmla="*/ 1290589 h 1451770"/>
                <a:gd name="connsiteX121" fmla="*/ 2927591 w 3773795"/>
                <a:gd name="connsiteY121" fmla="*/ 1297429 h 1451770"/>
                <a:gd name="connsiteX122" fmla="*/ 2923469 w 3773795"/>
                <a:gd name="connsiteY122" fmla="*/ 1300495 h 1451770"/>
                <a:gd name="connsiteX123" fmla="*/ 2922109 w 3773795"/>
                <a:gd name="connsiteY123" fmla="*/ 1300461 h 1451770"/>
                <a:gd name="connsiteX124" fmla="*/ 2921430 w 3773795"/>
                <a:gd name="connsiteY124" fmla="*/ 1299334 h 1451770"/>
                <a:gd name="connsiteX125" fmla="*/ 2921251 w 3773795"/>
                <a:gd name="connsiteY125" fmla="*/ 1298668 h 1451770"/>
                <a:gd name="connsiteX126" fmla="*/ 2924546 w 3773795"/>
                <a:gd name="connsiteY126" fmla="*/ 1298214 h 1451770"/>
                <a:gd name="connsiteX127" fmla="*/ 2928427 w 3773795"/>
                <a:gd name="connsiteY127" fmla="*/ 1294142 h 1451770"/>
                <a:gd name="connsiteX128" fmla="*/ 2931213 w 3773795"/>
                <a:gd name="connsiteY128" fmla="*/ 1291476 h 1451770"/>
                <a:gd name="connsiteX129" fmla="*/ 2951409 w 3773795"/>
                <a:gd name="connsiteY129" fmla="*/ 1271890 h 1451770"/>
                <a:gd name="connsiteX130" fmla="*/ 2951893 w 3773795"/>
                <a:gd name="connsiteY130" fmla="*/ 1273179 h 1451770"/>
                <a:gd name="connsiteX131" fmla="*/ 2950848 w 3773795"/>
                <a:gd name="connsiteY131" fmla="*/ 1274778 h 1451770"/>
                <a:gd name="connsiteX132" fmla="*/ 2949749 w 3773795"/>
                <a:gd name="connsiteY132" fmla="*/ 1274571 h 1451770"/>
                <a:gd name="connsiteX133" fmla="*/ 2949311 w 3773795"/>
                <a:gd name="connsiteY133" fmla="*/ 1274164 h 1451770"/>
                <a:gd name="connsiteX134" fmla="*/ 2950744 w 3773795"/>
                <a:gd name="connsiteY134" fmla="*/ 1272220 h 1451770"/>
                <a:gd name="connsiteX135" fmla="*/ 2976171 w 3773795"/>
                <a:gd name="connsiteY135" fmla="*/ 1240837 h 1451770"/>
                <a:gd name="connsiteX136" fmla="*/ 2976821 w 3773795"/>
                <a:gd name="connsiteY136" fmla="*/ 1241203 h 1451770"/>
                <a:gd name="connsiteX137" fmla="*/ 2976296 w 3773795"/>
                <a:gd name="connsiteY137" fmla="*/ 1242198 h 1451770"/>
                <a:gd name="connsiteX138" fmla="*/ 2973567 w 3773795"/>
                <a:gd name="connsiteY138" fmla="*/ 1244103 h 1451770"/>
                <a:gd name="connsiteX139" fmla="*/ 2972720 w 3773795"/>
                <a:gd name="connsiteY139" fmla="*/ 1245569 h 1451770"/>
                <a:gd name="connsiteX140" fmla="*/ 2971785 w 3773795"/>
                <a:gd name="connsiteY140" fmla="*/ 1245086 h 1451770"/>
                <a:gd name="connsiteX141" fmla="*/ 2971599 w 3773795"/>
                <a:gd name="connsiteY141" fmla="*/ 1244609 h 1451770"/>
                <a:gd name="connsiteX142" fmla="*/ 2973798 w 3773795"/>
                <a:gd name="connsiteY142" fmla="*/ 1242911 h 1451770"/>
                <a:gd name="connsiteX143" fmla="*/ 2974564 w 3773795"/>
                <a:gd name="connsiteY143" fmla="*/ 1240851 h 1451770"/>
                <a:gd name="connsiteX144" fmla="*/ 2990011 w 3773795"/>
                <a:gd name="connsiteY144" fmla="*/ 1219598 h 1451770"/>
                <a:gd name="connsiteX145" fmla="*/ 2991662 w 3773795"/>
                <a:gd name="connsiteY145" fmla="*/ 1220074 h 1451770"/>
                <a:gd name="connsiteX146" fmla="*/ 2991301 w 3773795"/>
                <a:gd name="connsiteY146" fmla="*/ 1221911 h 1451770"/>
                <a:gd name="connsiteX147" fmla="*/ 2989511 w 3773795"/>
                <a:gd name="connsiteY147" fmla="*/ 1224729 h 1451770"/>
                <a:gd name="connsiteX148" fmla="*/ 2990121 w 3773795"/>
                <a:gd name="connsiteY148" fmla="*/ 1228179 h 1451770"/>
                <a:gd name="connsiteX149" fmla="*/ 2989691 w 3773795"/>
                <a:gd name="connsiteY149" fmla="*/ 1229207 h 1451770"/>
                <a:gd name="connsiteX150" fmla="*/ 2987577 w 3773795"/>
                <a:gd name="connsiteY150" fmla="*/ 1230476 h 1451770"/>
                <a:gd name="connsiteX151" fmla="*/ 2985279 w 3773795"/>
                <a:gd name="connsiteY151" fmla="*/ 1229721 h 1451770"/>
                <a:gd name="connsiteX152" fmla="*/ 2985325 w 3773795"/>
                <a:gd name="connsiteY152" fmla="*/ 1227242 h 1451770"/>
                <a:gd name="connsiteX153" fmla="*/ 3018137 w 3773795"/>
                <a:gd name="connsiteY153" fmla="*/ 1187045 h 1451770"/>
                <a:gd name="connsiteX154" fmla="*/ 3018711 w 3773795"/>
                <a:gd name="connsiteY154" fmla="*/ 1189974 h 1451770"/>
                <a:gd name="connsiteX155" fmla="*/ 3018218 w 3773795"/>
                <a:gd name="connsiteY155" fmla="*/ 1193230 h 1451770"/>
                <a:gd name="connsiteX156" fmla="*/ 3016976 w 3773795"/>
                <a:gd name="connsiteY156" fmla="*/ 1196352 h 1451770"/>
                <a:gd name="connsiteX157" fmla="*/ 3014249 w 3773795"/>
                <a:gd name="connsiteY157" fmla="*/ 1200689 h 1451770"/>
                <a:gd name="connsiteX158" fmla="*/ 3011404 w 3773795"/>
                <a:gd name="connsiteY158" fmla="*/ 1203588 h 1451770"/>
                <a:gd name="connsiteX159" fmla="*/ 3007316 w 3773795"/>
                <a:gd name="connsiteY159" fmla="*/ 1204306 h 1451770"/>
                <a:gd name="connsiteX160" fmla="*/ 3005301 w 3773795"/>
                <a:gd name="connsiteY160" fmla="*/ 1205221 h 1451770"/>
                <a:gd name="connsiteX161" fmla="*/ 3003809 w 3773795"/>
                <a:gd name="connsiteY161" fmla="*/ 1207181 h 1451770"/>
                <a:gd name="connsiteX162" fmla="*/ 3002665 w 3773795"/>
                <a:gd name="connsiteY162" fmla="*/ 1208236 h 1451770"/>
                <a:gd name="connsiteX163" fmla="*/ 3000265 w 3773795"/>
                <a:gd name="connsiteY163" fmla="*/ 1207661 h 1451770"/>
                <a:gd name="connsiteX164" fmla="*/ 2999257 w 3773795"/>
                <a:gd name="connsiteY164" fmla="*/ 1206694 h 1451770"/>
                <a:gd name="connsiteX165" fmla="*/ 2999257 w 3773795"/>
                <a:gd name="connsiteY165" fmla="*/ 1203277 h 1451770"/>
                <a:gd name="connsiteX166" fmla="*/ 2998196 w 3773795"/>
                <a:gd name="connsiteY166" fmla="*/ 1201779 h 1451770"/>
                <a:gd name="connsiteX167" fmla="*/ 2998711 w 3773795"/>
                <a:gd name="connsiteY167" fmla="*/ 1200815 h 1451770"/>
                <a:gd name="connsiteX168" fmla="*/ 3001108 w 3773795"/>
                <a:gd name="connsiteY168" fmla="*/ 1200947 h 1451770"/>
                <a:gd name="connsiteX169" fmla="*/ 3003476 w 3773795"/>
                <a:gd name="connsiteY169" fmla="*/ 1198754 h 1451770"/>
                <a:gd name="connsiteX170" fmla="*/ 3008923 w 3773795"/>
                <a:gd name="connsiteY170" fmla="*/ 1197833 h 1451770"/>
                <a:gd name="connsiteX171" fmla="*/ 3010969 w 3773795"/>
                <a:gd name="connsiteY171" fmla="*/ 1195462 h 1451770"/>
                <a:gd name="connsiteX172" fmla="*/ 3013446 w 3773795"/>
                <a:gd name="connsiteY172" fmla="*/ 1189600 h 1451770"/>
                <a:gd name="connsiteX173" fmla="*/ 3016031 w 3773795"/>
                <a:gd name="connsiteY173" fmla="*/ 1187480 h 1451770"/>
                <a:gd name="connsiteX174" fmla="*/ 3024319 w 3773795"/>
                <a:gd name="connsiteY174" fmla="*/ 1184415 h 1451770"/>
                <a:gd name="connsiteX175" fmla="*/ 3026074 w 3773795"/>
                <a:gd name="connsiteY175" fmla="*/ 1184489 h 1451770"/>
                <a:gd name="connsiteX176" fmla="*/ 3026774 w 3773795"/>
                <a:gd name="connsiteY176" fmla="*/ 1184973 h 1451770"/>
                <a:gd name="connsiteX177" fmla="*/ 3026677 w 3773795"/>
                <a:gd name="connsiteY177" fmla="*/ 1187647 h 1451770"/>
                <a:gd name="connsiteX178" fmla="*/ 3024951 w 3773795"/>
                <a:gd name="connsiteY178" fmla="*/ 1190371 h 1451770"/>
                <a:gd name="connsiteX179" fmla="*/ 3024074 w 3773795"/>
                <a:gd name="connsiteY179" fmla="*/ 1191064 h 1451770"/>
                <a:gd name="connsiteX180" fmla="*/ 3023198 w 3773795"/>
                <a:gd name="connsiteY180" fmla="*/ 1190911 h 1451770"/>
                <a:gd name="connsiteX181" fmla="*/ 3020334 w 3773795"/>
                <a:gd name="connsiteY181" fmla="*/ 1189075 h 1451770"/>
                <a:gd name="connsiteX182" fmla="*/ 3019709 w 3773795"/>
                <a:gd name="connsiteY182" fmla="*/ 1188210 h 1451770"/>
                <a:gd name="connsiteX183" fmla="*/ 3020706 w 3773795"/>
                <a:gd name="connsiteY183" fmla="*/ 1186671 h 1451770"/>
                <a:gd name="connsiteX184" fmla="*/ 3006454 w 3773795"/>
                <a:gd name="connsiteY184" fmla="*/ 1182304 h 1451770"/>
                <a:gd name="connsiteX185" fmla="*/ 3008026 w 3773795"/>
                <a:gd name="connsiteY185" fmla="*/ 1183004 h 1451770"/>
                <a:gd name="connsiteX186" fmla="*/ 3008335 w 3773795"/>
                <a:gd name="connsiteY186" fmla="*/ 1184903 h 1451770"/>
                <a:gd name="connsiteX187" fmla="*/ 3008140 w 3773795"/>
                <a:gd name="connsiteY187" fmla="*/ 1185587 h 1451770"/>
                <a:gd name="connsiteX188" fmla="*/ 3006121 w 3773795"/>
                <a:gd name="connsiteY188" fmla="*/ 1185917 h 1451770"/>
                <a:gd name="connsiteX189" fmla="*/ 3005221 w 3773795"/>
                <a:gd name="connsiteY189" fmla="*/ 1185138 h 1451770"/>
                <a:gd name="connsiteX190" fmla="*/ 3004573 w 3773795"/>
                <a:gd name="connsiteY190" fmla="*/ 1184196 h 1451770"/>
                <a:gd name="connsiteX191" fmla="*/ 3004217 w 3773795"/>
                <a:gd name="connsiteY191" fmla="*/ 1182914 h 1451770"/>
                <a:gd name="connsiteX192" fmla="*/ 2721743 w 3773795"/>
                <a:gd name="connsiteY192" fmla="*/ 1078452 h 1451770"/>
                <a:gd name="connsiteX193" fmla="*/ 2723252 w 3773795"/>
                <a:gd name="connsiteY193" fmla="*/ 1079128 h 1451770"/>
                <a:gd name="connsiteX194" fmla="*/ 2728010 w 3773795"/>
                <a:gd name="connsiteY194" fmla="*/ 1086829 h 1451770"/>
                <a:gd name="connsiteX195" fmla="*/ 2728226 w 3773795"/>
                <a:gd name="connsiteY195" fmla="*/ 1088508 h 1451770"/>
                <a:gd name="connsiteX196" fmla="*/ 2727809 w 3773795"/>
                <a:gd name="connsiteY196" fmla="*/ 1090235 h 1451770"/>
                <a:gd name="connsiteX197" fmla="*/ 2726913 w 3773795"/>
                <a:gd name="connsiteY197" fmla="*/ 1092455 h 1451770"/>
                <a:gd name="connsiteX198" fmla="*/ 2726578 w 3773795"/>
                <a:gd name="connsiteY198" fmla="*/ 1094796 h 1451770"/>
                <a:gd name="connsiteX199" fmla="*/ 2727131 w 3773795"/>
                <a:gd name="connsiteY199" fmla="*/ 1096837 h 1451770"/>
                <a:gd name="connsiteX200" fmla="*/ 2726723 w 3773795"/>
                <a:gd name="connsiteY200" fmla="*/ 1097342 h 1451770"/>
                <a:gd name="connsiteX201" fmla="*/ 2730649 w 3773795"/>
                <a:gd name="connsiteY201" fmla="*/ 1106568 h 1451770"/>
                <a:gd name="connsiteX202" fmla="*/ 2733482 w 3773795"/>
                <a:gd name="connsiteY202" fmla="*/ 1112365 h 1451770"/>
                <a:gd name="connsiteX203" fmla="*/ 2734285 w 3773795"/>
                <a:gd name="connsiteY203" fmla="*/ 1114731 h 1451770"/>
                <a:gd name="connsiteX204" fmla="*/ 2734903 w 3773795"/>
                <a:gd name="connsiteY204" fmla="*/ 1117219 h 1451770"/>
                <a:gd name="connsiteX205" fmla="*/ 2735717 w 3773795"/>
                <a:gd name="connsiteY205" fmla="*/ 1122351 h 1451770"/>
                <a:gd name="connsiteX206" fmla="*/ 2735892 w 3773795"/>
                <a:gd name="connsiteY206" fmla="*/ 1130211 h 1451770"/>
                <a:gd name="connsiteX207" fmla="*/ 2735693 w 3773795"/>
                <a:gd name="connsiteY207" fmla="*/ 1132789 h 1451770"/>
                <a:gd name="connsiteX208" fmla="*/ 2735063 w 3773795"/>
                <a:gd name="connsiteY208" fmla="*/ 1135303 h 1451770"/>
                <a:gd name="connsiteX209" fmla="*/ 2734380 w 3773795"/>
                <a:gd name="connsiteY209" fmla="*/ 1136806 h 1451770"/>
                <a:gd name="connsiteX210" fmla="*/ 2732981 w 3773795"/>
                <a:gd name="connsiteY210" fmla="*/ 1137869 h 1451770"/>
                <a:gd name="connsiteX211" fmla="*/ 2732346 w 3773795"/>
                <a:gd name="connsiteY211" fmla="*/ 1140649 h 1451770"/>
                <a:gd name="connsiteX212" fmla="*/ 2731977 w 3773795"/>
                <a:gd name="connsiteY212" fmla="*/ 1148524 h 1451770"/>
                <a:gd name="connsiteX213" fmla="*/ 2732752 w 3773795"/>
                <a:gd name="connsiteY213" fmla="*/ 1152643 h 1451770"/>
                <a:gd name="connsiteX214" fmla="*/ 2734077 w 3773795"/>
                <a:gd name="connsiteY214" fmla="*/ 1155495 h 1451770"/>
                <a:gd name="connsiteX215" fmla="*/ 2735054 w 3773795"/>
                <a:gd name="connsiteY215" fmla="*/ 1158550 h 1451770"/>
                <a:gd name="connsiteX216" fmla="*/ 2735159 w 3773795"/>
                <a:gd name="connsiteY216" fmla="*/ 1161848 h 1451770"/>
                <a:gd name="connsiteX217" fmla="*/ 2735624 w 3773795"/>
                <a:gd name="connsiteY217" fmla="*/ 1163293 h 1451770"/>
                <a:gd name="connsiteX218" fmla="*/ 2737775 w 3773795"/>
                <a:gd name="connsiteY218" fmla="*/ 1165135 h 1451770"/>
                <a:gd name="connsiteX219" fmla="*/ 2738608 w 3773795"/>
                <a:gd name="connsiteY219" fmla="*/ 1166579 h 1451770"/>
                <a:gd name="connsiteX220" fmla="*/ 2738872 w 3773795"/>
                <a:gd name="connsiteY220" fmla="*/ 1168622 h 1451770"/>
                <a:gd name="connsiteX221" fmla="*/ 2738995 w 3773795"/>
                <a:gd name="connsiteY221" fmla="*/ 1171635 h 1451770"/>
                <a:gd name="connsiteX222" fmla="*/ 2739344 w 3773795"/>
                <a:gd name="connsiteY222" fmla="*/ 1172284 h 1451770"/>
                <a:gd name="connsiteX223" fmla="*/ 2740349 w 3773795"/>
                <a:gd name="connsiteY223" fmla="*/ 1173186 h 1451770"/>
                <a:gd name="connsiteX224" fmla="*/ 2744812 w 3773795"/>
                <a:gd name="connsiteY224" fmla="*/ 1194757 h 1451770"/>
                <a:gd name="connsiteX225" fmla="*/ 2746580 w 3773795"/>
                <a:gd name="connsiteY225" fmla="*/ 1201256 h 1451770"/>
                <a:gd name="connsiteX226" fmla="*/ 2751709 w 3773795"/>
                <a:gd name="connsiteY226" fmla="*/ 1212435 h 1451770"/>
                <a:gd name="connsiteX227" fmla="*/ 2753774 w 3773795"/>
                <a:gd name="connsiteY227" fmla="*/ 1219179 h 1451770"/>
                <a:gd name="connsiteX228" fmla="*/ 2755063 w 3773795"/>
                <a:gd name="connsiteY228" fmla="*/ 1222390 h 1451770"/>
                <a:gd name="connsiteX229" fmla="*/ 2755955 w 3773795"/>
                <a:gd name="connsiteY229" fmla="*/ 1225768 h 1451770"/>
                <a:gd name="connsiteX230" fmla="*/ 2756665 w 3773795"/>
                <a:gd name="connsiteY230" fmla="*/ 1229227 h 1451770"/>
                <a:gd name="connsiteX231" fmla="*/ 2758194 w 3773795"/>
                <a:gd name="connsiteY231" fmla="*/ 1232969 h 1451770"/>
                <a:gd name="connsiteX232" fmla="*/ 2760195 w 3773795"/>
                <a:gd name="connsiteY232" fmla="*/ 1236668 h 1451770"/>
                <a:gd name="connsiteX233" fmla="*/ 2764068 w 3773795"/>
                <a:gd name="connsiteY233" fmla="*/ 1239956 h 1451770"/>
                <a:gd name="connsiteX234" fmla="*/ 2765808 w 3773795"/>
                <a:gd name="connsiteY234" fmla="*/ 1241797 h 1451770"/>
                <a:gd name="connsiteX235" fmla="*/ 2766274 w 3773795"/>
                <a:gd name="connsiteY235" fmla="*/ 1243270 h 1451770"/>
                <a:gd name="connsiteX236" fmla="*/ 2766432 w 3773795"/>
                <a:gd name="connsiteY236" fmla="*/ 1248369 h 1451770"/>
                <a:gd name="connsiteX237" fmla="*/ 2765523 w 3773795"/>
                <a:gd name="connsiteY237" fmla="*/ 1247281 h 1451770"/>
                <a:gd name="connsiteX238" fmla="*/ 2764381 w 3773795"/>
                <a:gd name="connsiteY238" fmla="*/ 1243404 h 1451770"/>
                <a:gd name="connsiteX239" fmla="*/ 2762508 w 3773795"/>
                <a:gd name="connsiteY239" fmla="*/ 1241161 h 1451770"/>
                <a:gd name="connsiteX240" fmla="*/ 2759755 w 3773795"/>
                <a:gd name="connsiteY240" fmla="*/ 1238514 h 1451770"/>
                <a:gd name="connsiteX241" fmla="*/ 2756924 w 3773795"/>
                <a:gd name="connsiteY241" fmla="*/ 1236134 h 1451770"/>
                <a:gd name="connsiteX242" fmla="*/ 2753423 w 3773795"/>
                <a:gd name="connsiteY242" fmla="*/ 1232168 h 1451770"/>
                <a:gd name="connsiteX243" fmla="*/ 2751727 w 3773795"/>
                <a:gd name="connsiteY243" fmla="*/ 1231006 h 1451770"/>
                <a:gd name="connsiteX244" fmla="*/ 2749936 w 3773795"/>
                <a:gd name="connsiteY244" fmla="*/ 1230229 h 1451770"/>
                <a:gd name="connsiteX245" fmla="*/ 2746649 w 3773795"/>
                <a:gd name="connsiteY245" fmla="*/ 1229305 h 1451770"/>
                <a:gd name="connsiteX246" fmla="*/ 2744730 w 3773795"/>
                <a:gd name="connsiteY246" fmla="*/ 1229207 h 1451770"/>
                <a:gd name="connsiteX247" fmla="*/ 2736989 w 3773795"/>
                <a:gd name="connsiteY247" fmla="*/ 1229818 h 1451770"/>
                <a:gd name="connsiteX248" fmla="*/ 2733763 w 3773795"/>
                <a:gd name="connsiteY248" fmla="*/ 1230615 h 1451770"/>
                <a:gd name="connsiteX249" fmla="*/ 2730858 w 3773795"/>
                <a:gd name="connsiteY249" fmla="*/ 1232446 h 1451770"/>
                <a:gd name="connsiteX250" fmla="*/ 2729130 w 3773795"/>
                <a:gd name="connsiteY250" fmla="*/ 1235116 h 1451770"/>
                <a:gd name="connsiteX251" fmla="*/ 2727910 w 3773795"/>
                <a:gd name="connsiteY251" fmla="*/ 1240471 h 1451770"/>
                <a:gd name="connsiteX252" fmla="*/ 2720819 w 3773795"/>
                <a:gd name="connsiteY252" fmla="*/ 1259524 h 1451770"/>
                <a:gd name="connsiteX253" fmla="*/ 2719122 w 3773795"/>
                <a:gd name="connsiteY253" fmla="*/ 1264462 h 1451770"/>
                <a:gd name="connsiteX254" fmla="*/ 2718495 w 3773795"/>
                <a:gd name="connsiteY254" fmla="*/ 1269744 h 1451770"/>
                <a:gd name="connsiteX255" fmla="*/ 2718740 w 3773795"/>
                <a:gd name="connsiteY255" fmla="*/ 1273884 h 1451770"/>
                <a:gd name="connsiteX256" fmla="*/ 2719228 w 3773795"/>
                <a:gd name="connsiteY256" fmla="*/ 1275400 h 1451770"/>
                <a:gd name="connsiteX257" fmla="*/ 2721242 w 3773795"/>
                <a:gd name="connsiteY257" fmla="*/ 1279532 h 1451770"/>
                <a:gd name="connsiteX258" fmla="*/ 2722907 w 3773795"/>
                <a:gd name="connsiteY258" fmla="*/ 1281904 h 1451770"/>
                <a:gd name="connsiteX259" fmla="*/ 2724131 w 3773795"/>
                <a:gd name="connsiteY259" fmla="*/ 1282919 h 1451770"/>
                <a:gd name="connsiteX260" fmla="*/ 2725529 w 3773795"/>
                <a:gd name="connsiteY260" fmla="*/ 1283603 h 1451770"/>
                <a:gd name="connsiteX261" fmla="*/ 2726447 w 3773795"/>
                <a:gd name="connsiteY261" fmla="*/ 1284441 h 1451770"/>
                <a:gd name="connsiteX262" fmla="*/ 2727217 w 3773795"/>
                <a:gd name="connsiteY262" fmla="*/ 1285537 h 1451770"/>
                <a:gd name="connsiteX263" fmla="*/ 2728660 w 3773795"/>
                <a:gd name="connsiteY263" fmla="*/ 1288337 h 1451770"/>
                <a:gd name="connsiteX264" fmla="*/ 2730511 w 3773795"/>
                <a:gd name="connsiteY264" fmla="*/ 1294538 h 1451770"/>
                <a:gd name="connsiteX265" fmla="*/ 2732471 w 3773795"/>
                <a:gd name="connsiteY265" fmla="*/ 1298909 h 1451770"/>
                <a:gd name="connsiteX266" fmla="*/ 2733350 w 3773795"/>
                <a:gd name="connsiteY266" fmla="*/ 1300279 h 1451770"/>
                <a:gd name="connsiteX267" fmla="*/ 2735583 w 3773795"/>
                <a:gd name="connsiteY267" fmla="*/ 1299931 h 1451770"/>
                <a:gd name="connsiteX268" fmla="*/ 2737036 w 3773795"/>
                <a:gd name="connsiteY268" fmla="*/ 1299978 h 1451770"/>
                <a:gd name="connsiteX269" fmla="*/ 2738427 w 3773795"/>
                <a:gd name="connsiteY269" fmla="*/ 1300359 h 1451770"/>
                <a:gd name="connsiteX270" fmla="*/ 2739275 w 3773795"/>
                <a:gd name="connsiteY270" fmla="*/ 1301471 h 1451770"/>
                <a:gd name="connsiteX271" fmla="*/ 2740485 w 3773795"/>
                <a:gd name="connsiteY271" fmla="*/ 1306392 h 1451770"/>
                <a:gd name="connsiteX272" fmla="*/ 2741333 w 3773795"/>
                <a:gd name="connsiteY272" fmla="*/ 1311084 h 1451770"/>
                <a:gd name="connsiteX273" fmla="*/ 2741376 w 3773795"/>
                <a:gd name="connsiteY273" fmla="*/ 1312342 h 1451770"/>
                <a:gd name="connsiteX274" fmla="*/ 2739782 w 3773795"/>
                <a:gd name="connsiteY274" fmla="*/ 1315958 h 1451770"/>
                <a:gd name="connsiteX275" fmla="*/ 2739386 w 3773795"/>
                <a:gd name="connsiteY275" fmla="*/ 1317495 h 1451770"/>
                <a:gd name="connsiteX276" fmla="*/ 2739202 w 3773795"/>
                <a:gd name="connsiteY276" fmla="*/ 1319121 h 1451770"/>
                <a:gd name="connsiteX277" fmla="*/ 2738785 w 3773795"/>
                <a:gd name="connsiteY277" fmla="*/ 1320402 h 1451770"/>
                <a:gd name="connsiteX278" fmla="*/ 2738081 w 3773795"/>
                <a:gd name="connsiteY278" fmla="*/ 1321530 h 1451770"/>
                <a:gd name="connsiteX279" fmla="*/ 2737794 w 3773795"/>
                <a:gd name="connsiteY279" fmla="*/ 1316183 h 1451770"/>
                <a:gd name="connsiteX280" fmla="*/ 2736725 w 3773795"/>
                <a:gd name="connsiteY280" fmla="*/ 1312403 h 1451770"/>
                <a:gd name="connsiteX281" fmla="*/ 2736324 w 3773795"/>
                <a:gd name="connsiteY281" fmla="*/ 1309138 h 1451770"/>
                <a:gd name="connsiteX282" fmla="*/ 2734780 w 3773795"/>
                <a:gd name="connsiteY282" fmla="*/ 1306840 h 1451770"/>
                <a:gd name="connsiteX283" fmla="*/ 2729595 w 3773795"/>
                <a:gd name="connsiteY283" fmla="*/ 1305905 h 1451770"/>
                <a:gd name="connsiteX284" fmla="*/ 2724762 w 3773795"/>
                <a:gd name="connsiteY284" fmla="*/ 1305554 h 1451770"/>
                <a:gd name="connsiteX285" fmla="*/ 2724015 w 3773795"/>
                <a:gd name="connsiteY285" fmla="*/ 1305138 h 1451770"/>
                <a:gd name="connsiteX286" fmla="*/ 2722950 w 3773795"/>
                <a:gd name="connsiteY286" fmla="*/ 1303736 h 1451770"/>
                <a:gd name="connsiteX287" fmla="*/ 2721724 w 3773795"/>
                <a:gd name="connsiteY287" fmla="*/ 1302618 h 1451770"/>
                <a:gd name="connsiteX288" fmla="*/ 2720482 w 3773795"/>
                <a:gd name="connsiteY288" fmla="*/ 1302469 h 1451770"/>
                <a:gd name="connsiteX289" fmla="*/ 2719206 w 3773795"/>
                <a:gd name="connsiteY289" fmla="*/ 1302898 h 1451770"/>
                <a:gd name="connsiteX290" fmla="*/ 2717012 w 3773795"/>
                <a:gd name="connsiteY290" fmla="*/ 1304470 h 1451770"/>
                <a:gd name="connsiteX291" fmla="*/ 2715413 w 3773795"/>
                <a:gd name="connsiteY291" fmla="*/ 1306959 h 1451770"/>
                <a:gd name="connsiteX292" fmla="*/ 2714164 w 3773795"/>
                <a:gd name="connsiteY292" fmla="*/ 1309624 h 1451770"/>
                <a:gd name="connsiteX293" fmla="*/ 2713147 w 3773795"/>
                <a:gd name="connsiteY293" fmla="*/ 1312429 h 1451770"/>
                <a:gd name="connsiteX294" fmla="*/ 2711037 w 3773795"/>
                <a:gd name="connsiteY294" fmla="*/ 1319866 h 1451770"/>
                <a:gd name="connsiteX295" fmla="*/ 2709735 w 3773795"/>
                <a:gd name="connsiteY295" fmla="*/ 1322342 h 1451770"/>
                <a:gd name="connsiteX296" fmla="*/ 2708130 w 3773795"/>
                <a:gd name="connsiteY296" fmla="*/ 1324611 h 1451770"/>
                <a:gd name="connsiteX297" fmla="*/ 2706770 w 3773795"/>
                <a:gd name="connsiteY297" fmla="*/ 1323381 h 1451770"/>
                <a:gd name="connsiteX298" fmla="*/ 2705576 w 3773795"/>
                <a:gd name="connsiteY298" fmla="*/ 1321949 h 1451770"/>
                <a:gd name="connsiteX299" fmla="*/ 2704876 w 3773795"/>
                <a:gd name="connsiteY299" fmla="*/ 1319883 h 1451770"/>
                <a:gd name="connsiteX300" fmla="*/ 2704574 w 3773795"/>
                <a:gd name="connsiteY300" fmla="*/ 1317602 h 1451770"/>
                <a:gd name="connsiteX301" fmla="*/ 2702674 w 3773795"/>
                <a:gd name="connsiteY301" fmla="*/ 1309836 h 1451770"/>
                <a:gd name="connsiteX302" fmla="*/ 2703473 w 3773795"/>
                <a:gd name="connsiteY302" fmla="*/ 1303081 h 1451770"/>
                <a:gd name="connsiteX303" fmla="*/ 2706668 w 3773795"/>
                <a:gd name="connsiteY303" fmla="*/ 1293714 h 1451770"/>
                <a:gd name="connsiteX304" fmla="*/ 2707280 w 3773795"/>
                <a:gd name="connsiteY304" fmla="*/ 1290642 h 1451770"/>
                <a:gd name="connsiteX305" fmla="*/ 2706798 w 3773795"/>
                <a:gd name="connsiteY305" fmla="*/ 1287723 h 1451770"/>
                <a:gd name="connsiteX306" fmla="*/ 2706075 w 3773795"/>
                <a:gd name="connsiteY306" fmla="*/ 1284838 h 1451770"/>
                <a:gd name="connsiteX307" fmla="*/ 2705595 w 3773795"/>
                <a:gd name="connsiteY307" fmla="*/ 1279339 h 1451770"/>
                <a:gd name="connsiteX308" fmla="*/ 2705630 w 3773795"/>
                <a:gd name="connsiteY308" fmla="*/ 1278113 h 1451770"/>
                <a:gd name="connsiteX309" fmla="*/ 2706770 w 3773795"/>
                <a:gd name="connsiteY309" fmla="*/ 1274932 h 1451770"/>
                <a:gd name="connsiteX310" fmla="*/ 2708105 w 3773795"/>
                <a:gd name="connsiteY310" fmla="*/ 1271901 h 1451770"/>
                <a:gd name="connsiteX311" fmla="*/ 2709724 w 3773795"/>
                <a:gd name="connsiteY311" fmla="*/ 1269259 h 1451770"/>
                <a:gd name="connsiteX312" fmla="*/ 2710443 w 3773795"/>
                <a:gd name="connsiteY312" fmla="*/ 1266122 h 1451770"/>
                <a:gd name="connsiteX313" fmla="*/ 2709418 w 3773795"/>
                <a:gd name="connsiteY313" fmla="*/ 1258301 h 1451770"/>
                <a:gd name="connsiteX314" fmla="*/ 2707060 w 3773795"/>
                <a:gd name="connsiteY314" fmla="*/ 1253002 h 1451770"/>
                <a:gd name="connsiteX315" fmla="*/ 2704153 w 3773795"/>
                <a:gd name="connsiteY315" fmla="*/ 1247959 h 1451770"/>
                <a:gd name="connsiteX316" fmla="*/ 2703617 w 3773795"/>
                <a:gd name="connsiteY316" fmla="*/ 1246616 h 1451770"/>
                <a:gd name="connsiteX317" fmla="*/ 2703468 w 3773795"/>
                <a:gd name="connsiteY317" fmla="*/ 1245246 h 1451770"/>
                <a:gd name="connsiteX318" fmla="*/ 2705973 w 3773795"/>
                <a:gd name="connsiteY318" fmla="*/ 1238920 h 1451770"/>
                <a:gd name="connsiteX319" fmla="*/ 2706870 w 3773795"/>
                <a:gd name="connsiteY319" fmla="*/ 1235886 h 1451770"/>
                <a:gd name="connsiteX320" fmla="*/ 2707895 w 3773795"/>
                <a:gd name="connsiteY320" fmla="*/ 1229206 h 1451770"/>
                <a:gd name="connsiteX321" fmla="*/ 2708828 w 3773795"/>
                <a:gd name="connsiteY321" fmla="*/ 1225549 h 1451770"/>
                <a:gd name="connsiteX322" fmla="*/ 2709571 w 3773795"/>
                <a:gd name="connsiteY322" fmla="*/ 1221833 h 1451770"/>
                <a:gd name="connsiteX323" fmla="*/ 2709811 w 3773795"/>
                <a:gd name="connsiteY323" fmla="*/ 1203163 h 1451770"/>
                <a:gd name="connsiteX324" fmla="*/ 2709588 w 3773795"/>
                <a:gd name="connsiteY324" fmla="*/ 1200402 h 1451770"/>
                <a:gd name="connsiteX325" fmla="*/ 2707997 w 3773795"/>
                <a:gd name="connsiteY325" fmla="*/ 1194517 h 1451770"/>
                <a:gd name="connsiteX326" fmla="*/ 2707884 w 3773795"/>
                <a:gd name="connsiteY326" fmla="*/ 1191161 h 1451770"/>
                <a:gd name="connsiteX327" fmla="*/ 2708647 w 3773795"/>
                <a:gd name="connsiteY327" fmla="*/ 1186911 h 1451770"/>
                <a:gd name="connsiteX328" fmla="*/ 2709681 w 3773795"/>
                <a:gd name="connsiteY328" fmla="*/ 1183596 h 1451770"/>
                <a:gd name="connsiteX329" fmla="*/ 2711022 w 3773795"/>
                <a:gd name="connsiteY329" fmla="*/ 1180435 h 1451770"/>
                <a:gd name="connsiteX330" fmla="*/ 2710996 w 3773795"/>
                <a:gd name="connsiteY330" fmla="*/ 1173881 h 1451770"/>
                <a:gd name="connsiteX331" fmla="*/ 2708431 w 3773795"/>
                <a:gd name="connsiteY331" fmla="*/ 1167815 h 1451770"/>
                <a:gd name="connsiteX332" fmla="*/ 2706557 w 3773795"/>
                <a:gd name="connsiteY332" fmla="*/ 1165138 h 1451770"/>
                <a:gd name="connsiteX333" fmla="*/ 2703616 w 3773795"/>
                <a:gd name="connsiteY333" fmla="*/ 1161917 h 1451770"/>
                <a:gd name="connsiteX334" fmla="*/ 2701381 w 3773795"/>
                <a:gd name="connsiteY334" fmla="*/ 1160145 h 1451770"/>
                <a:gd name="connsiteX335" fmla="*/ 2700286 w 3773795"/>
                <a:gd name="connsiteY335" fmla="*/ 1158786 h 1451770"/>
                <a:gd name="connsiteX336" fmla="*/ 2701381 w 3773795"/>
                <a:gd name="connsiteY336" fmla="*/ 1158330 h 1451770"/>
                <a:gd name="connsiteX337" fmla="*/ 2702182 w 3773795"/>
                <a:gd name="connsiteY337" fmla="*/ 1157227 h 1451770"/>
                <a:gd name="connsiteX338" fmla="*/ 2700255 w 3773795"/>
                <a:gd name="connsiteY338" fmla="*/ 1155528 h 1451770"/>
                <a:gd name="connsiteX339" fmla="*/ 2699093 w 3773795"/>
                <a:gd name="connsiteY339" fmla="*/ 1152972 h 1451770"/>
                <a:gd name="connsiteX340" fmla="*/ 2698925 w 3773795"/>
                <a:gd name="connsiteY340" fmla="*/ 1142917 h 1451770"/>
                <a:gd name="connsiteX341" fmla="*/ 2699403 w 3773795"/>
                <a:gd name="connsiteY341" fmla="*/ 1140359 h 1451770"/>
                <a:gd name="connsiteX342" fmla="*/ 2700843 w 3773795"/>
                <a:gd name="connsiteY342" fmla="*/ 1137514 h 1451770"/>
                <a:gd name="connsiteX343" fmla="*/ 2702075 w 3773795"/>
                <a:gd name="connsiteY343" fmla="*/ 1134515 h 1451770"/>
                <a:gd name="connsiteX344" fmla="*/ 2703230 w 3773795"/>
                <a:gd name="connsiteY344" fmla="*/ 1127422 h 1451770"/>
                <a:gd name="connsiteX345" fmla="*/ 2703630 w 3773795"/>
                <a:gd name="connsiteY345" fmla="*/ 1120081 h 1451770"/>
                <a:gd name="connsiteX346" fmla="*/ 2702861 w 3773795"/>
                <a:gd name="connsiteY346" fmla="*/ 1117096 h 1451770"/>
                <a:gd name="connsiteX347" fmla="*/ 2702523 w 3773795"/>
                <a:gd name="connsiteY347" fmla="*/ 1111058 h 1451770"/>
                <a:gd name="connsiteX348" fmla="*/ 2703162 w 3773795"/>
                <a:gd name="connsiteY348" fmla="*/ 1109556 h 1451770"/>
                <a:gd name="connsiteX349" fmla="*/ 2705639 w 3773795"/>
                <a:gd name="connsiteY349" fmla="*/ 1107540 h 1451770"/>
                <a:gd name="connsiteX350" fmla="*/ 2709565 w 3773795"/>
                <a:gd name="connsiteY350" fmla="*/ 1106359 h 1451770"/>
                <a:gd name="connsiteX351" fmla="*/ 2710402 w 3773795"/>
                <a:gd name="connsiteY351" fmla="*/ 1106708 h 1451770"/>
                <a:gd name="connsiteX352" fmla="*/ 2713477 w 3773795"/>
                <a:gd name="connsiteY352" fmla="*/ 1109074 h 1451770"/>
                <a:gd name="connsiteX353" fmla="*/ 2714617 w 3773795"/>
                <a:gd name="connsiteY353" fmla="*/ 1109162 h 1451770"/>
                <a:gd name="connsiteX354" fmla="*/ 2715801 w 3773795"/>
                <a:gd name="connsiteY354" fmla="*/ 1108915 h 1451770"/>
                <a:gd name="connsiteX355" fmla="*/ 2718060 w 3773795"/>
                <a:gd name="connsiteY355" fmla="*/ 1107809 h 1451770"/>
                <a:gd name="connsiteX356" fmla="*/ 2719327 w 3773795"/>
                <a:gd name="connsiteY356" fmla="*/ 1105118 h 1451770"/>
                <a:gd name="connsiteX357" fmla="*/ 2717684 w 3773795"/>
                <a:gd name="connsiteY357" fmla="*/ 1103585 h 1451770"/>
                <a:gd name="connsiteX358" fmla="*/ 2718643 w 3773795"/>
                <a:gd name="connsiteY358" fmla="*/ 1101622 h 1451770"/>
                <a:gd name="connsiteX359" fmla="*/ 2721452 w 3773795"/>
                <a:gd name="connsiteY359" fmla="*/ 1100966 h 1451770"/>
                <a:gd name="connsiteX360" fmla="*/ 2721657 w 3773795"/>
                <a:gd name="connsiteY360" fmla="*/ 1099279 h 1451770"/>
                <a:gd name="connsiteX361" fmla="*/ 2720640 w 3773795"/>
                <a:gd name="connsiteY361" fmla="*/ 1099080 h 1451770"/>
                <a:gd name="connsiteX362" fmla="*/ 2721528 w 3773795"/>
                <a:gd name="connsiteY362" fmla="*/ 1096683 h 1451770"/>
                <a:gd name="connsiteX363" fmla="*/ 2722035 w 3773795"/>
                <a:gd name="connsiteY363" fmla="*/ 1094271 h 1451770"/>
                <a:gd name="connsiteX364" fmla="*/ 2721244 w 3773795"/>
                <a:gd name="connsiteY364" fmla="*/ 1092067 h 1451770"/>
                <a:gd name="connsiteX365" fmla="*/ 2716742 w 3773795"/>
                <a:gd name="connsiteY365" fmla="*/ 1086599 h 1451770"/>
                <a:gd name="connsiteX366" fmla="*/ 2713831 w 3773795"/>
                <a:gd name="connsiteY366" fmla="*/ 1082578 h 1451770"/>
                <a:gd name="connsiteX367" fmla="*/ 2718623 w 3773795"/>
                <a:gd name="connsiteY367" fmla="*/ 1082632 h 1451770"/>
                <a:gd name="connsiteX368" fmla="*/ 2720038 w 3773795"/>
                <a:gd name="connsiteY368" fmla="*/ 1081881 h 1451770"/>
                <a:gd name="connsiteX369" fmla="*/ 2721156 w 3773795"/>
                <a:gd name="connsiteY369" fmla="*/ 1080218 h 1451770"/>
                <a:gd name="connsiteX370" fmla="*/ 3270542 w 3773795"/>
                <a:gd name="connsiteY370" fmla="*/ 1064968 h 1451770"/>
                <a:gd name="connsiteX371" fmla="*/ 3272329 w 3773795"/>
                <a:gd name="connsiteY371" fmla="*/ 1066783 h 1451770"/>
                <a:gd name="connsiteX372" fmla="*/ 3274941 w 3773795"/>
                <a:gd name="connsiteY372" fmla="*/ 1067628 h 1451770"/>
                <a:gd name="connsiteX373" fmla="*/ 3278744 w 3773795"/>
                <a:gd name="connsiteY373" fmla="*/ 1070069 h 1451770"/>
                <a:gd name="connsiteX374" fmla="*/ 3282204 w 3773795"/>
                <a:gd name="connsiteY374" fmla="*/ 1073907 h 1451770"/>
                <a:gd name="connsiteX375" fmla="*/ 3283138 w 3773795"/>
                <a:gd name="connsiteY375" fmla="*/ 1075503 h 1451770"/>
                <a:gd name="connsiteX376" fmla="*/ 3274205 w 3773795"/>
                <a:gd name="connsiteY376" fmla="*/ 1069849 h 1451770"/>
                <a:gd name="connsiteX377" fmla="*/ 3270020 w 3773795"/>
                <a:gd name="connsiteY377" fmla="*/ 1066868 h 1451770"/>
                <a:gd name="connsiteX378" fmla="*/ 3268990 w 3773795"/>
                <a:gd name="connsiteY378" fmla="*/ 1065001 h 1451770"/>
                <a:gd name="connsiteX379" fmla="*/ 2599314 w 3773795"/>
                <a:gd name="connsiteY379" fmla="*/ 1057258 h 1451770"/>
                <a:gd name="connsiteX380" fmla="*/ 2599814 w 3773795"/>
                <a:gd name="connsiteY380" fmla="*/ 1057484 h 1451770"/>
                <a:gd name="connsiteX381" fmla="*/ 2597086 w 3773795"/>
                <a:gd name="connsiteY381" fmla="*/ 1062824 h 1451770"/>
                <a:gd name="connsiteX382" fmla="*/ 2595188 w 3773795"/>
                <a:gd name="connsiteY382" fmla="*/ 1062910 h 1451770"/>
                <a:gd name="connsiteX383" fmla="*/ 2593714 w 3773795"/>
                <a:gd name="connsiteY383" fmla="*/ 1061783 h 1451770"/>
                <a:gd name="connsiteX384" fmla="*/ 2590671 w 3773795"/>
                <a:gd name="connsiteY384" fmla="*/ 1062232 h 1451770"/>
                <a:gd name="connsiteX385" fmla="*/ 2589554 w 3773795"/>
                <a:gd name="connsiteY385" fmla="*/ 1061921 h 1451770"/>
                <a:gd name="connsiteX386" fmla="*/ 2591338 w 3773795"/>
                <a:gd name="connsiteY386" fmla="*/ 1060286 h 1451770"/>
                <a:gd name="connsiteX387" fmla="*/ 2595769 w 3773795"/>
                <a:gd name="connsiteY387" fmla="*/ 1057722 h 1451770"/>
                <a:gd name="connsiteX388" fmla="*/ 2597579 w 3773795"/>
                <a:gd name="connsiteY388" fmla="*/ 1057752 h 1451770"/>
                <a:gd name="connsiteX389" fmla="*/ 2608631 w 3773795"/>
                <a:gd name="connsiteY389" fmla="*/ 1054510 h 1451770"/>
                <a:gd name="connsiteX390" fmla="*/ 2615996 w 3773795"/>
                <a:gd name="connsiteY390" fmla="*/ 1057188 h 1451770"/>
                <a:gd name="connsiteX391" fmla="*/ 2616661 w 3773795"/>
                <a:gd name="connsiteY391" fmla="*/ 1057725 h 1451770"/>
                <a:gd name="connsiteX392" fmla="*/ 2618667 w 3773795"/>
                <a:gd name="connsiteY392" fmla="*/ 1058934 h 1451770"/>
                <a:gd name="connsiteX393" fmla="*/ 2621781 w 3773795"/>
                <a:gd name="connsiteY393" fmla="*/ 1058727 h 1451770"/>
                <a:gd name="connsiteX394" fmla="*/ 2622535 w 3773795"/>
                <a:gd name="connsiteY394" fmla="*/ 1059543 h 1451770"/>
                <a:gd name="connsiteX395" fmla="*/ 2620110 w 3773795"/>
                <a:gd name="connsiteY395" fmla="*/ 1060853 h 1451770"/>
                <a:gd name="connsiteX396" fmla="*/ 2618343 w 3773795"/>
                <a:gd name="connsiteY396" fmla="*/ 1063619 h 1451770"/>
                <a:gd name="connsiteX397" fmla="*/ 2617782 w 3773795"/>
                <a:gd name="connsiteY397" fmla="*/ 1066079 h 1451770"/>
                <a:gd name="connsiteX398" fmla="*/ 2617080 w 3773795"/>
                <a:gd name="connsiteY398" fmla="*/ 1067051 h 1451770"/>
                <a:gd name="connsiteX399" fmla="*/ 2615104 w 3773795"/>
                <a:gd name="connsiteY399" fmla="*/ 1068260 h 1451770"/>
                <a:gd name="connsiteX400" fmla="*/ 2613338 w 3773795"/>
                <a:gd name="connsiteY400" fmla="*/ 1069872 h 1451770"/>
                <a:gd name="connsiteX401" fmla="*/ 2611817 w 3773795"/>
                <a:gd name="connsiteY401" fmla="*/ 1070903 h 1451770"/>
                <a:gd name="connsiteX402" fmla="*/ 2610483 w 3773795"/>
                <a:gd name="connsiteY402" fmla="*/ 1071207 h 1451770"/>
                <a:gd name="connsiteX403" fmla="*/ 2607486 w 3773795"/>
                <a:gd name="connsiteY403" fmla="*/ 1065922 h 1451770"/>
                <a:gd name="connsiteX404" fmla="*/ 2606095 w 3773795"/>
                <a:gd name="connsiteY404" fmla="*/ 1064463 h 1451770"/>
                <a:gd name="connsiteX405" fmla="*/ 2601969 w 3773795"/>
                <a:gd name="connsiteY405" fmla="*/ 1066947 h 1451770"/>
                <a:gd name="connsiteX406" fmla="*/ 2601014 w 3773795"/>
                <a:gd name="connsiteY406" fmla="*/ 1067003 h 1451770"/>
                <a:gd name="connsiteX407" fmla="*/ 2601949 w 3773795"/>
                <a:gd name="connsiteY407" fmla="*/ 1063922 h 1451770"/>
                <a:gd name="connsiteX408" fmla="*/ 2604364 w 3773795"/>
                <a:gd name="connsiteY408" fmla="*/ 1060553 h 1451770"/>
                <a:gd name="connsiteX409" fmla="*/ 2605495 w 3773795"/>
                <a:gd name="connsiteY409" fmla="*/ 1060082 h 1451770"/>
                <a:gd name="connsiteX410" fmla="*/ 2607886 w 3773795"/>
                <a:gd name="connsiteY410" fmla="*/ 1055555 h 1451770"/>
                <a:gd name="connsiteX411" fmla="*/ 28644 w 3773795"/>
                <a:gd name="connsiteY411" fmla="*/ 1051745 h 1451770"/>
                <a:gd name="connsiteX412" fmla="*/ 29927 w 3773795"/>
                <a:gd name="connsiteY412" fmla="*/ 1051984 h 1451770"/>
                <a:gd name="connsiteX413" fmla="*/ 27750 w 3773795"/>
                <a:gd name="connsiteY413" fmla="*/ 1054922 h 1451770"/>
                <a:gd name="connsiteX414" fmla="*/ 21900 w 3773795"/>
                <a:gd name="connsiteY414" fmla="*/ 1061116 h 1451770"/>
                <a:gd name="connsiteX415" fmla="*/ 23733 w 3773795"/>
                <a:gd name="connsiteY415" fmla="*/ 1061937 h 1451770"/>
                <a:gd name="connsiteX416" fmla="*/ 25862 w 3773795"/>
                <a:gd name="connsiteY416" fmla="*/ 1062202 h 1451770"/>
                <a:gd name="connsiteX417" fmla="*/ 28372 w 3773795"/>
                <a:gd name="connsiteY417" fmla="*/ 1063355 h 1451770"/>
                <a:gd name="connsiteX418" fmla="*/ 30769 w 3773795"/>
                <a:gd name="connsiteY418" fmla="*/ 1063563 h 1451770"/>
                <a:gd name="connsiteX419" fmla="*/ 35036 w 3773795"/>
                <a:gd name="connsiteY419" fmla="*/ 1062565 h 1451770"/>
                <a:gd name="connsiteX420" fmla="*/ 35787 w 3773795"/>
                <a:gd name="connsiteY420" fmla="*/ 1057259 h 1451770"/>
                <a:gd name="connsiteX421" fmla="*/ 36072 w 3773795"/>
                <a:gd name="connsiteY421" fmla="*/ 1052441 h 1451770"/>
                <a:gd name="connsiteX422" fmla="*/ 37439 w 3773795"/>
                <a:gd name="connsiteY422" fmla="*/ 1052430 h 1451770"/>
                <a:gd name="connsiteX423" fmla="*/ 39467 w 3773795"/>
                <a:gd name="connsiteY423" fmla="*/ 1052089 h 1451770"/>
                <a:gd name="connsiteX424" fmla="*/ 40745 w 3773795"/>
                <a:gd name="connsiteY424" fmla="*/ 1053356 h 1451770"/>
                <a:gd name="connsiteX425" fmla="*/ 43125 w 3773795"/>
                <a:gd name="connsiteY425" fmla="*/ 1054562 h 1451770"/>
                <a:gd name="connsiteX426" fmla="*/ 45955 w 3773795"/>
                <a:gd name="connsiteY426" fmla="*/ 1055640 h 1451770"/>
                <a:gd name="connsiteX427" fmla="*/ 50184 w 3773795"/>
                <a:gd name="connsiteY427" fmla="*/ 1057476 h 1451770"/>
                <a:gd name="connsiteX428" fmla="*/ 54572 w 3773795"/>
                <a:gd name="connsiteY428" fmla="*/ 1058616 h 1451770"/>
                <a:gd name="connsiteX429" fmla="*/ 56020 w 3773795"/>
                <a:gd name="connsiteY429" fmla="*/ 1058748 h 1451770"/>
                <a:gd name="connsiteX430" fmla="*/ 60631 w 3773795"/>
                <a:gd name="connsiteY430" fmla="*/ 1058598 h 1451770"/>
                <a:gd name="connsiteX431" fmla="*/ 65515 w 3773795"/>
                <a:gd name="connsiteY431" fmla="*/ 1058756 h 1451770"/>
                <a:gd name="connsiteX432" fmla="*/ 66846 w 3773795"/>
                <a:gd name="connsiteY432" fmla="*/ 1061475 h 1451770"/>
                <a:gd name="connsiteX433" fmla="*/ 69257 w 3773795"/>
                <a:gd name="connsiteY433" fmla="*/ 1062760 h 1451770"/>
                <a:gd name="connsiteX434" fmla="*/ 71207 w 3773795"/>
                <a:gd name="connsiteY434" fmla="*/ 1064527 h 1451770"/>
                <a:gd name="connsiteX435" fmla="*/ 71352 w 3773795"/>
                <a:gd name="connsiteY435" fmla="*/ 1065534 h 1451770"/>
                <a:gd name="connsiteX436" fmla="*/ 68664 w 3773795"/>
                <a:gd name="connsiteY436" fmla="*/ 1071839 h 1451770"/>
                <a:gd name="connsiteX437" fmla="*/ 68107 w 3773795"/>
                <a:gd name="connsiteY437" fmla="*/ 1073970 h 1451770"/>
                <a:gd name="connsiteX438" fmla="*/ 68005 w 3773795"/>
                <a:gd name="connsiteY438" fmla="*/ 1076105 h 1451770"/>
                <a:gd name="connsiteX439" fmla="*/ 68988 w 3773795"/>
                <a:gd name="connsiteY439" fmla="*/ 1078772 h 1451770"/>
                <a:gd name="connsiteX440" fmla="*/ 69914 w 3773795"/>
                <a:gd name="connsiteY440" fmla="*/ 1080261 h 1451770"/>
                <a:gd name="connsiteX441" fmla="*/ 69154 w 3773795"/>
                <a:gd name="connsiteY441" fmla="*/ 1080465 h 1451770"/>
                <a:gd name="connsiteX442" fmla="*/ 56696 w 3773795"/>
                <a:gd name="connsiteY442" fmla="*/ 1080167 h 1451770"/>
                <a:gd name="connsiteX443" fmla="*/ 44883 w 3773795"/>
                <a:gd name="connsiteY443" fmla="*/ 1079661 h 1451770"/>
                <a:gd name="connsiteX444" fmla="*/ 33967 w 3773795"/>
                <a:gd name="connsiteY444" fmla="*/ 1079194 h 1451770"/>
                <a:gd name="connsiteX445" fmla="*/ 23446 w 3773795"/>
                <a:gd name="connsiteY445" fmla="*/ 1078741 h 1451770"/>
                <a:gd name="connsiteX446" fmla="*/ 13351 w 3773795"/>
                <a:gd name="connsiteY446" fmla="*/ 1078311 h 1451770"/>
                <a:gd name="connsiteX447" fmla="*/ 7074 w 3773795"/>
                <a:gd name="connsiteY447" fmla="*/ 1077907 h 1451770"/>
                <a:gd name="connsiteX448" fmla="*/ 881 w 3773795"/>
                <a:gd name="connsiteY448" fmla="*/ 1077508 h 1451770"/>
                <a:gd name="connsiteX449" fmla="*/ 0 w 3773795"/>
                <a:gd name="connsiteY449" fmla="*/ 1077139 h 1451770"/>
                <a:gd name="connsiteX450" fmla="*/ 3407 w 3773795"/>
                <a:gd name="connsiteY450" fmla="*/ 1074523 h 1451770"/>
                <a:gd name="connsiteX451" fmla="*/ 5627 w 3773795"/>
                <a:gd name="connsiteY451" fmla="*/ 1071802 h 1451770"/>
                <a:gd name="connsiteX452" fmla="*/ 7512 w 3773795"/>
                <a:gd name="connsiteY452" fmla="*/ 1068246 h 1451770"/>
                <a:gd name="connsiteX453" fmla="*/ 7713 w 3773795"/>
                <a:gd name="connsiteY453" fmla="*/ 1065780 h 1451770"/>
                <a:gd name="connsiteX454" fmla="*/ 8184 w 3773795"/>
                <a:gd name="connsiteY454" fmla="*/ 1062995 h 1451770"/>
                <a:gd name="connsiteX455" fmla="*/ 11127 w 3773795"/>
                <a:gd name="connsiteY455" fmla="*/ 1061911 h 1451770"/>
                <a:gd name="connsiteX456" fmla="*/ 17519 w 3773795"/>
                <a:gd name="connsiteY456" fmla="*/ 1062072 h 1451770"/>
                <a:gd name="connsiteX457" fmla="*/ 20252 w 3773795"/>
                <a:gd name="connsiteY457" fmla="*/ 1060732 h 1451770"/>
                <a:gd name="connsiteX458" fmla="*/ 23759 w 3773795"/>
                <a:gd name="connsiteY458" fmla="*/ 1057417 h 1451770"/>
                <a:gd name="connsiteX459" fmla="*/ 27448 w 3773795"/>
                <a:gd name="connsiteY459" fmla="*/ 1053430 h 1451770"/>
                <a:gd name="connsiteX460" fmla="*/ 3235595 w 3773795"/>
                <a:gd name="connsiteY460" fmla="*/ 1049745 h 1451770"/>
                <a:gd name="connsiteX461" fmla="*/ 3241801 w 3773795"/>
                <a:gd name="connsiteY461" fmla="*/ 1050593 h 1451770"/>
                <a:gd name="connsiteX462" fmla="*/ 3243214 w 3773795"/>
                <a:gd name="connsiteY462" fmla="*/ 1050964 h 1451770"/>
                <a:gd name="connsiteX463" fmla="*/ 3242201 w 3773795"/>
                <a:gd name="connsiteY463" fmla="*/ 1053113 h 1451770"/>
                <a:gd name="connsiteX464" fmla="*/ 3242601 w 3773795"/>
                <a:gd name="connsiteY464" fmla="*/ 1055483 h 1451770"/>
                <a:gd name="connsiteX465" fmla="*/ 3246055 w 3773795"/>
                <a:gd name="connsiteY465" fmla="*/ 1060401 h 1451770"/>
                <a:gd name="connsiteX466" fmla="*/ 3247718 w 3773795"/>
                <a:gd name="connsiteY466" fmla="*/ 1062113 h 1451770"/>
                <a:gd name="connsiteX467" fmla="*/ 3249882 w 3773795"/>
                <a:gd name="connsiteY467" fmla="*/ 1063409 h 1451770"/>
                <a:gd name="connsiteX468" fmla="*/ 3251495 w 3773795"/>
                <a:gd name="connsiteY468" fmla="*/ 1065516 h 1451770"/>
                <a:gd name="connsiteX469" fmla="*/ 3251380 w 3773795"/>
                <a:gd name="connsiteY469" fmla="*/ 1069958 h 1451770"/>
                <a:gd name="connsiteX470" fmla="*/ 3248642 w 3773795"/>
                <a:gd name="connsiteY470" fmla="*/ 1067706 h 1451770"/>
                <a:gd name="connsiteX471" fmla="*/ 3247368 w 3773795"/>
                <a:gd name="connsiteY471" fmla="*/ 1065890 h 1451770"/>
                <a:gd name="connsiteX472" fmla="*/ 3245556 w 3773795"/>
                <a:gd name="connsiteY472" fmla="*/ 1065546 h 1451770"/>
                <a:gd name="connsiteX473" fmla="*/ 3244297 w 3773795"/>
                <a:gd name="connsiteY473" fmla="*/ 1064734 h 1451770"/>
                <a:gd name="connsiteX474" fmla="*/ 3242199 w 3773795"/>
                <a:gd name="connsiteY474" fmla="*/ 1062525 h 1451770"/>
                <a:gd name="connsiteX475" fmla="*/ 3239763 w 3773795"/>
                <a:gd name="connsiteY475" fmla="*/ 1059640 h 1451770"/>
                <a:gd name="connsiteX476" fmla="*/ 3238936 w 3773795"/>
                <a:gd name="connsiteY476" fmla="*/ 1058219 h 1451770"/>
                <a:gd name="connsiteX477" fmla="*/ 3238581 w 3773795"/>
                <a:gd name="connsiteY477" fmla="*/ 1056399 h 1451770"/>
                <a:gd name="connsiteX478" fmla="*/ 3236937 w 3773795"/>
                <a:gd name="connsiteY478" fmla="*/ 1054711 h 1451770"/>
                <a:gd name="connsiteX479" fmla="*/ 3231611 w 3773795"/>
                <a:gd name="connsiteY479" fmla="*/ 1051502 h 1451770"/>
                <a:gd name="connsiteX480" fmla="*/ 3233367 w 3773795"/>
                <a:gd name="connsiteY480" fmla="*/ 1051119 h 1451770"/>
                <a:gd name="connsiteX481" fmla="*/ 2898053 w 3773795"/>
                <a:gd name="connsiteY481" fmla="*/ 928889 h 1451770"/>
                <a:gd name="connsiteX482" fmla="*/ 2899080 w 3773795"/>
                <a:gd name="connsiteY482" fmla="*/ 930119 h 1451770"/>
                <a:gd name="connsiteX483" fmla="*/ 2899414 w 3773795"/>
                <a:gd name="connsiteY483" fmla="*/ 931007 h 1451770"/>
                <a:gd name="connsiteX484" fmla="*/ 2896367 w 3773795"/>
                <a:gd name="connsiteY484" fmla="*/ 933497 h 1451770"/>
                <a:gd name="connsiteX485" fmla="*/ 2894624 w 3773795"/>
                <a:gd name="connsiteY485" fmla="*/ 933866 h 1451770"/>
                <a:gd name="connsiteX486" fmla="*/ 2893754 w 3773795"/>
                <a:gd name="connsiteY486" fmla="*/ 932976 h 1451770"/>
                <a:gd name="connsiteX487" fmla="*/ 2893719 w 3773795"/>
                <a:gd name="connsiteY487" fmla="*/ 932348 h 1451770"/>
                <a:gd name="connsiteX488" fmla="*/ 2896422 w 3773795"/>
                <a:gd name="connsiteY488" fmla="*/ 930941 h 1451770"/>
                <a:gd name="connsiteX489" fmla="*/ 3204332 w 3773795"/>
                <a:gd name="connsiteY489" fmla="*/ 926715 h 1451770"/>
                <a:gd name="connsiteX490" fmla="*/ 3205554 w 3773795"/>
                <a:gd name="connsiteY490" fmla="*/ 926899 h 1451770"/>
                <a:gd name="connsiteX491" fmla="*/ 3206807 w 3773795"/>
                <a:gd name="connsiteY491" fmla="*/ 930453 h 1451770"/>
                <a:gd name="connsiteX492" fmla="*/ 3207521 w 3773795"/>
                <a:gd name="connsiteY492" fmla="*/ 935059 h 1451770"/>
                <a:gd name="connsiteX493" fmla="*/ 3206506 w 3773795"/>
                <a:gd name="connsiteY493" fmla="*/ 937828 h 1451770"/>
                <a:gd name="connsiteX494" fmla="*/ 3199056 w 3773795"/>
                <a:gd name="connsiteY494" fmla="*/ 939371 h 1451770"/>
                <a:gd name="connsiteX495" fmla="*/ 3192008 w 3773795"/>
                <a:gd name="connsiteY495" fmla="*/ 942431 h 1451770"/>
                <a:gd name="connsiteX496" fmla="*/ 3184823 w 3773795"/>
                <a:gd name="connsiteY496" fmla="*/ 946977 h 1451770"/>
                <a:gd name="connsiteX497" fmla="*/ 3181202 w 3773795"/>
                <a:gd name="connsiteY497" fmla="*/ 950016 h 1451770"/>
                <a:gd name="connsiteX498" fmla="*/ 3180669 w 3773795"/>
                <a:gd name="connsiteY498" fmla="*/ 949522 h 1451770"/>
                <a:gd name="connsiteX499" fmla="*/ 3180328 w 3773795"/>
                <a:gd name="connsiteY499" fmla="*/ 948828 h 1451770"/>
                <a:gd name="connsiteX500" fmla="*/ 3180226 w 3773795"/>
                <a:gd name="connsiteY500" fmla="*/ 947767 h 1451770"/>
                <a:gd name="connsiteX501" fmla="*/ 3183532 w 3773795"/>
                <a:gd name="connsiteY501" fmla="*/ 945764 h 1451770"/>
                <a:gd name="connsiteX502" fmla="*/ 3186845 w 3773795"/>
                <a:gd name="connsiteY502" fmla="*/ 940654 h 1451770"/>
                <a:gd name="connsiteX503" fmla="*/ 3188126 w 3773795"/>
                <a:gd name="connsiteY503" fmla="*/ 936393 h 1451770"/>
                <a:gd name="connsiteX504" fmla="*/ 3187730 w 3773795"/>
                <a:gd name="connsiteY504" fmla="*/ 935007 h 1451770"/>
                <a:gd name="connsiteX505" fmla="*/ 3187605 w 3773795"/>
                <a:gd name="connsiteY505" fmla="*/ 933618 h 1451770"/>
                <a:gd name="connsiteX506" fmla="*/ 3197361 w 3773795"/>
                <a:gd name="connsiteY506" fmla="*/ 930975 h 1451770"/>
                <a:gd name="connsiteX507" fmla="*/ 356551 w 3773795"/>
                <a:gd name="connsiteY507" fmla="*/ 722070 h 1451770"/>
                <a:gd name="connsiteX508" fmla="*/ 358475 w 3773795"/>
                <a:gd name="connsiteY508" fmla="*/ 722628 h 1451770"/>
                <a:gd name="connsiteX509" fmla="*/ 359190 w 3773795"/>
                <a:gd name="connsiteY509" fmla="*/ 724047 h 1451770"/>
                <a:gd name="connsiteX510" fmla="*/ 359410 w 3773795"/>
                <a:gd name="connsiteY510" fmla="*/ 726377 h 1451770"/>
                <a:gd name="connsiteX511" fmla="*/ 358723 w 3773795"/>
                <a:gd name="connsiteY511" fmla="*/ 727868 h 1451770"/>
                <a:gd name="connsiteX512" fmla="*/ 359054 w 3773795"/>
                <a:gd name="connsiteY512" fmla="*/ 729125 h 1451770"/>
                <a:gd name="connsiteX513" fmla="*/ 357648 w 3773795"/>
                <a:gd name="connsiteY513" fmla="*/ 730016 h 1451770"/>
                <a:gd name="connsiteX514" fmla="*/ 355467 w 3773795"/>
                <a:gd name="connsiteY514" fmla="*/ 727108 h 1451770"/>
                <a:gd name="connsiteX515" fmla="*/ 354169 w 3773795"/>
                <a:gd name="connsiteY515" fmla="*/ 727066 h 1451770"/>
                <a:gd name="connsiteX516" fmla="*/ 352780 w 3773795"/>
                <a:gd name="connsiteY516" fmla="*/ 725813 h 1451770"/>
                <a:gd name="connsiteX517" fmla="*/ 352124 w 3773795"/>
                <a:gd name="connsiteY517" fmla="*/ 723745 h 1451770"/>
                <a:gd name="connsiteX518" fmla="*/ 353381 w 3773795"/>
                <a:gd name="connsiteY518" fmla="*/ 723168 h 1451770"/>
                <a:gd name="connsiteX519" fmla="*/ 353889 w 3773795"/>
                <a:gd name="connsiteY519" fmla="*/ 723527 h 1451770"/>
                <a:gd name="connsiteX520" fmla="*/ 1103357 w 3773795"/>
                <a:gd name="connsiteY520" fmla="*/ 665275 h 1451770"/>
                <a:gd name="connsiteX521" fmla="*/ 1105871 w 3773795"/>
                <a:gd name="connsiteY521" fmla="*/ 665722 h 1451770"/>
                <a:gd name="connsiteX522" fmla="*/ 1109939 w 3773795"/>
                <a:gd name="connsiteY522" fmla="*/ 665816 h 1451770"/>
                <a:gd name="connsiteX523" fmla="*/ 1112530 w 3773795"/>
                <a:gd name="connsiteY523" fmla="*/ 666736 h 1451770"/>
                <a:gd name="connsiteX524" fmla="*/ 1116048 w 3773795"/>
                <a:gd name="connsiteY524" fmla="*/ 667320 h 1451770"/>
                <a:gd name="connsiteX525" fmla="*/ 1115627 w 3773795"/>
                <a:gd name="connsiteY525" fmla="*/ 669864 h 1451770"/>
                <a:gd name="connsiteX526" fmla="*/ 1115618 w 3773795"/>
                <a:gd name="connsiteY526" fmla="*/ 670890 h 1451770"/>
                <a:gd name="connsiteX527" fmla="*/ 1116787 w 3773795"/>
                <a:gd name="connsiteY527" fmla="*/ 672013 h 1451770"/>
                <a:gd name="connsiteX528" fmla="*/ 1115661 w 3773795"/>
                <a:gd name="connsiteY528" fmla="*/ 673916 h 1451770"/>
                <a:gd name="connsiteX529" fmla="*/ 1114811 w 3773795"/>
                <a:gd name="connsiteY529" fmla="*/ 674484 h 1451770"/>
                <a:gd name="connsiteX530" fmla="*/ 1110919 w 3773795"/>
                <a:gd name="connsiteY530" fmla="*/ 674943 h 1451770"/>
                <a:gd name="connsiteX531" fmla="*/ 1106644 w 3773795"/>
                <a:gd name="connsiteY531" fmla="*/ 672152 h 1451770"/>
                <a:gd name="connsiteX532" fmla="*/ 1102619 w 3773795"/>
                <a:gd name="connsiteY532" fmla="*/ 666577 h 1451770"/>
                <a:gd name="connsiteX533" fmla="*/ 507319 w 3773795"/>
                <a:gd name="connsiteY533" fmla="*/ 663626 h 1451770"/>
                <a:gd name="connsiteX534" fmla="*/ 509176 w 3773795"/>
                <a:gd name="connsiteY534" fmla="*/ 664119 h 1451770"/>
                <a:gd name="connsiteX535" fmla="*/ 510487 w 3773795"/>
                <a:gd name="connsiteY535" fmla="*/ 665860 h 1451770"/>
                <a:gd name="connsiteX536" fmla="*/ 510994 w 3773795"/>
                <a:gd name="connsiteY536" fmla="*/ 667105 h 1451770"/>
                <a:gd name="connsiteX537" fmla="*/ 510152 w 3773795"/>
                <a:gd name="connsiteY537" fmla="*/ 667609 h 1451770"/>
                <a:gd name="connsiteX538" fmla="*/ 505769 w 3773795"/>
                <a:gd name="connsiteY538" fmla="*/ 665869 h 1451770"/>
                <a:gd name="connsiteX539" fmla="*/ 505387 w 3773795"/>
                <a:gd name="connsiteY539" fmla="*/ 664559 h 1451770"/>
                <a:gd name="connsiteX540" fmla="*/ 505574 w 3773795"/>
                <a:gd name="connsiteY540" fmla="*/ 663996 h 1451770"/>
                <a:gd name="connsiteX541" fmla="*/ 654978 w 3773795"/>
                <a:gd name="connsiteY541" fmla="*/ 560128 h 1451770"/>
                <a:gd name="connsiteX542" fmla="*/ 672028 w 3773795"/>
                <a:gd name="connsiteY542" fmla="*/ 568012 h 1451770"/>
                <a:gd name="connsiteX543" fmla="*/ 675810 w 3773795"/>
                <a:gd name="connsiteY543" fmla="*/ 570052 h 1451770"/>
                <a:gd name="connsiteX544" fmla="*/ 677975 w 3773795"/>
                <a:gd name="connsiteY544" fmla="*/ 572834 h 1451770"/>
                <a:gd name="connsiteX545" fmla="*/ 678368 w 3773795"/>
                <a:gd name="connsiteY545" fmla="*/ 576592 h 1451770"/>
                <a:gd name="connsiteX546" fmla="*/ 676989 w 3773795"/>
                <a:gd name="connsiteY546" fmla="*/ 578147 h 1451770"/>
                <a:gd name="connsiteX547" fmla="*/ 675747 w 3773795"/>
                <a:gd name="connsiteY547" fmla="*/ 578583 h 1451770"/>
                <a:gd name="connsiteX548" fmla="*/ 675227 w 3773795"/>
                <a:gd name="connsiteY548" fmla="*/ 576232 h 1451770"/>
                <a:gd name="connsiteX549" fmla="*/ 674188 w 3773795"/>
                <a:gd name="connsiteY549" fmla="*/ 575169 h 1451770"/>
                <a:gd name="connsiteX550" fmla="*/ 670359 w 3773795"/>
                <a:gd name="connsiteY550" fmla="*/ 577973 h 1451770"/>
                <a:gd name="connsiteX551" fmla="*/ 668569 w 3773795"/>
                <a:gd name="connsiteY551" fmla="*/ 581054 h 1451770"/>
                <a:gd name="connsiteX552" fmla="*/ 663847 w 3773795"/>
                <a:gd name="connsiteY552" fmla="*/ 585466 h 1451770"/>
                <a:gd name="connsiteX553" fmla="*/ 653989 w 3773795"/>
                <a:gd name="connsiteY553" fmla="*/ 588604 h 1451770"/>
                <a:gd name="connsiteX554" fmla="*/ 648016 w 3773795"/>
                <a:gd name="connsiteY554" fmla="*/ 589968 h 1451770"/>
                <a:gd name="connsiteX555" fmla="*/ 642635 w 3773795"/>
                <a:gd name="connsiteY555" fmla="*/ 590350 h 1451770"/>
                <a:gd name="connsiteX556" fmla="*/ 637595 w 3773795"/>
                <a:gd name="connsiteY556" fmla="*/ 587583 h 1451770"/>
                <a:gd name="connsiteX557" fmla="*/ 634872 w 3773795"/>
                <a:gd name="connsiteY557" fmla="*/ 582270 h 1451770"/>
                <a:gd name="connsiteX558" fmla="*/ 634397 w 3773795"/>
                <a:gd name="connsiteY558" fmla="*/ 580649 h 1451770"/>
                <a:gd name="connsiteX559" fmla="*/ 634051 w 3773795"/>
                <a:gd name="connsiteY559" fmla="*/ 578475 h 1451770"/>
                <a:gd name="connsiteX560" fmla="*/ 634084 w 3773795"/>
                <a:gd name="connsiteY560" fmla="*/ 576291 h 1451770"/>
                <a:gd name="connsiteX561" fmla="*/ 634438 w 3773795"/>
                <a:gd name="connsiteY561" fmla="*/ 572901 h 1451770"/>
                <a:gd name="connsiteX562" fmla="*/ 634961 w 3773795"/>
                <a:gd name="connsiteY562" fmla="*/ 569578 h 1451770"/>
                <a:gd name="connsiteX563" fmla="*/ 637038 w 3773795"/>
                <a:gd name="connsiteY563" fmla="*/ 566599 h 1451770"/>
                <a:gd name="connsiteX564" fmla="*/ 641847 w 3773795"/>
                <a:gd name="connsiteY564" fmla="*/ 563070 h 1451770"/>
                <a:gd name="connsiteX565" fmla="*/ 646569 w 3773795"/>
                <a:gd name="connsiteY565" fmla="*/ 560774 h 1451770"/>
                <a:gd name="connsiteX566" fmla="*/ 648966 w 3773795"/>
                <a:gd name="connsiteY566" fmla="*/ 560205 h 1451770"/>
                <a:gd name="connsiteX567" fmla="*/ 1052795 w 3773795"/>
                <a:gd name="connsiteY567" fmla="*/ 557615 h 1451770"/>
                <a:gd name="connsiteX568" fmla="*/ 1055289 w 3773795"/>
                <a:gd name="connsiteY568" fmla="*/ 557743 h 1451770"/>
                <a:gd name="connsiteX569" fmla="*/ 1055643 w 3773795"/>
                <a:gd name="connsiteY569" fmla="*/ 559400 h 1451770"/>
                <a:gd name="connsiteX570" fmla="*/ 1053853 w 3773795"/>
                <a:gd name="connsiteY570" fmla="*/ 562816 h 1451770"/>
                <a:gd name="connsiteX571" fmla="*/ 1050180 w 3773795"/>
                <a:gd name="connsiteY571" fmla="*/ 562635 h 1451770"/>
                <a:gd name="connsiteX572" fmla="*/ 1049062 w 3773795"/>
                <a:gd name="connsiteY572" fmla="*/ 561858 h 1451770"/>
                <a:gd name="connsiteX573" fmla="*/ 1048589 w 3773795"/>
                <a:gd name="connsiteY573" fmla="*/ 561225 h 1451770"/>
                <a:gd name="connsiteX574" fmla="*/ 3137726 w 3773795"/>
                <a:gd name="connsiteY574" fmla="*/ 555102 h 1451770"/>
                <a:gd name="connsiteX575" fmla="*/ 3138069 w 3773795"/>
                <a:gd name="connsiteY575" fmla="*/ 555315 h 1451770"/>
                <a:gd name="connsiteX576" fmla="*/ 3140215 w 3773795"/>
                <a:gd name="connsiteY576" fmla="*/ 556947 h 1451770"/>
                <a:gd name="connsiteX577" fmla="*/ 3140027 w 3773795"/>
                <a:gd name="connsiteY577" fmla="*/ 560532 h 1451770"/>
                <a:gd name="connsiteX578" fmla="*/ 3138502 w 3773795"/>
                <a:gd name="connsiteY578" fmla="*/ 563051 h 1451770"/>
                <a:gd name="connsiteX579" fmla="*/ 3134834 w 3773795"/>
                <a:gd name="connsiteY579" fmla="*/ 563944 h 1451770"/>
                <a:gd name="connsiteX580" fmla="*/ 3134313 w 3773795"/>
                <a:gd name="connsiteY580" fmla="*/ 565675 h 1451770"/>
                <a:gd name="connsiteX581" fmla="*/ 3134795 w 3773795"/>
                <a:gd name="connsiteY581" fmla="*/ 568660 h 1451770"/>
                <a:gd name="connsiteX582" fmla="*/ 3134903 w 3773795"/>
                <a:gd name="connsiteY582" fmla="*/ 572490 h 1451770"/>
                <a:gd name="connsiteX583" fmla="*/ 3135272 w 3773795"/>
                <a:gd name="connsiteY583" fmla="*/ 575910 h 1451770"/>
                <a:gd name="connsiteX584" fmla="*/ 3137494 w 3773795"/>
                <a:gd name="connsiteY584" fmla="*/ 579418 h 1451770"/>
                <a:gd name="connsiteX585" fmla="*/ 3137987 w 3773795"/>
                <a:gd name="connsiteY585" fmla="*/ 581217 h 1451770"/>
                <a:gd name="connsiteX586" fmla="*/ 3137760 w 3773795"/>
                <a:gd name="connsiteY586" fmla="*/ 582842 h 1451770"/>
                <a:gd name="connsiteX587" fmla="*/ 3136883 w 3773795"/>
                <a:gd name="connsiteY587" fmla="*/ 583871 h 1451770"/>
                <a:gd name="connsiteX588" fmla="*/ 3135896 w 3773795"/>
                <a:gd name="connsiteY588" fmla="*/ 583922 h 1451770"/>
                <a:gd name="connsiteX589" fmla="*/ 3136643 w 3773795"/>
                <a:gd name="connsiteY589" fmla="*/ 581355 h 1451770"/>
                <a:gd name="connsiteX590" fmla="*/ 3136751 w 3773795"/>
                <a:gd name="connsiteY590" fmla="*/ 580209 h 1451770"/>
                <a:gd name="connsiteX591" fmla="*/ 3134605 w 3773795"/>
                <a:gd name="connsiteY591" fmla="*/ 578316 h 1451770"/>
                <a:gd name="connsiteX592" fmla="*/ 3130590 w 3773795"/>
                <a:gd name="connsiteY592" fmla="*/ 576875 h 1451770"/>
                <a:gd name="connsiteX593" fmla="*/ 3129573 w 3773795"/>
                <a:gd name="connsiteY593" fmla="*/ 575762 h 1451770"/>
                <a:gd name="connsiteX594" fmla="*/ 3129330 w 3773795"/>
                <a:gd name="connsiteY594" fmla="*/ 572390 h 1451770"/>
                <a:gd name="connsiteX595" fmla="*/ 3130193 w 3773795"/>
                <a:gd name="connsiteY595" fmla="*/ 567070 h 1451770"/>
                <a:gd name="connsiteX596" fmla="*/ 3128386 w 3773795"/>
                <a:gd name="connsiteY596" fmla="*/ 564257 h 1451770"/>
                <a:gd name="connsiteX597" fmla="*/ 3129004 w 3773795"/>
                <a:gd name="connsiteY597" fmla="*/ 561749 h 1451770"/>
                <a:gd name="connsiteX598" fmla="*/ 3133704 w 3773795"/>
                <a:gd name="connsiteY598" fmla="*/ 558966 h 1451770"/>
                <a:gd name="connsiteX599" fmla="*/ 3135616 w 3773795"/>
                <a:gd name="connsiteY599" fmla="*/ 556819 h 1451770"/>
                <a:gd name="connsiteX600" fmla="*/ 3289254 w 3773795"/>
                <a:gd name="connsiteY600" fmla="*/ 540278 h 1451770"/>
                <a:gd name="connsiteX601" fmla="*/ 3311739 w 3773795"/>
                <a:gd name="connsiteY601" fmla="*/ 545534 h 1451770"/>
                <a:gd name="connsiteX602" fmla="*/ 3312754 w 3773795"/>
                <a:gd name="connsiteY602" fmla="*/ 546581 h 1451770"/>
                <a:gd name="connsiteX603" fmla="*/ 3313040 w 3773795"/>
                <a:gd name="connsiteY603" fmla="*/ 547523 h 1451770"/>
                <a:gd name="connsiteX604" fmla="*/ 3312699 w 3773795"/>
                <a:gd name="connsiteY604" fmla="*/ 549609 h 1451770"/>
                <a:gd name="connsiteX605" fmla="*/ 3310803 w 3773795"/>
                <a:gd name="connsiteY605" fmla="*/ 549988 h 1451770"/>
                <a:gd name="connsiteX606" fmla="*/ 3310066 w 3773795"/>
                <a:gd name="connsiteY606" fmla="*/ 551358 h 1451770"/>
                <a:gd name="connsiteX607" fmla="*/ 3309276 w 3773795"/>
                <a:gd name="connsiteY607" fmla="*/ 555524 h 1451770"/>
                <a:gd name="connsiteX608" fmla="*/ 3308887 w 3773795"/>
                <a:gd name="connsiteY608" fmla="*/ 556606 h 1451770"/>
                <a:gd name="connsiteX609" fmla="*/ 3307891 w 3773795"/>
                <a:gd name="connsiteY609" fmla="*/ 557416 h 1451770"/>
                <a:gd name="connsiteX610" fmla="*/ 3301588 w 3773795"/>
                <a:gd name="connsiteY610" fmla="*/ 557770 h 1451770"/>
                <a:gd name="connsiteX611" fmla="*/ 3289036 w 3773795"/>
                <a:gd name="connsiteY611" fmla="*/ 554125 h 1451770"/>
                <a:gd name="connsiteX612" fmla="*/ 3284531 w 3773795"/>
                <a:gd name="connsiteY612" fmla="*/ 552200 h 1451770"/>
                <a:gd name="connsiteX613" fmla="*/ 3281177 w 3773795"/>
                <a:gd name="connsiteY613" fmla="*/ 549742 h 1451770"/>
                <a:gd name="connsiteX614" fmla="*/ 3277388 w 3773795"/>
                <a:gd name="connsiteY614" fmla="*/ 548017 h 1451770"/>
                <a:gd name="connsiteX615" fmla="*/ 3276671 w 3773795"/>
                <a:gd name="connsiteY615" fmla="*/ 547338 h 1451770"/>
                <a:gd name="connsiteX616" fmla="*/ 3277226 w 3773795"/>
                <a:gd name="connsiteY616" fmla="*/ 545911 h 1451770"/>
                <a:gd name="connsiteX617" fmla="*/ 3278349 w 3773795"/>
                <a:gd name="connsiteY617" fmla="*/ 544806 h 1451770"/>
                <a:gd name="connsiteX618" fmla="*/ 3282657 w 3773795"/>
                <a:gd name="connsiteY618" fmla="*/ 541890 h 1451770"/>
                <a:gd name="connsiteX619" fmla="*/ 3285680 w 3773795"/>
                <a:gd name="connsiteY619" fmla="*/ 540566 h 1451770"/>
                <a:gd name="connsiteX620" fmla="*/ 871236 w 3773795"/>
                <a:gd name="connsiteY620" fmla="*/ 522414 h 1451770"/>
                <a:gd name="connsiteX621" fmla="*/ 872182 w 3773795"/>
                <a:gd name="connsiteY621" fmla="*/ 522601 h 1451770"/>
                <a:gd name="connsiteX622" fmla="*/ 873072 w 3773795"/>
                <a:gd name="connsiteY622" fmla="*/ 523535 h 1451770"/>
                <a:gd name="connsiteX623" fmla="*/ 877971 w 3773795"/>
                <a:gd name="connsiteY623" fmla="*/ 526543 h 1451770"/>
                <a:gd name="connsiteX624" fmla="*/ 880539 w 3773795"/>
                <a:gd name="connsiteY624" fmla="*/ 528563 h 1451770"/>
                <a:gd name="connsiteX625" fmla="*/ 882819 w 3773795"/>
                <a:gd name="connsiteY625" fmla="*/ 531027 h 1451770"/>
                <a:gd name="connsiteX626" fmla="*/ 885190 w 3773795"/>
                <a:gd name="connsiteY626" fmla="*/ 533091 h 1451770"/>
                <a:gd name="connsiteX627" fmla="*/ 892256 w 3773795"/>
                <a:gd name="connsiteY627" fmla="*/ 536609 h 1451770"/>
                <a:gd name="connsiteX628" fmla="*/ 897041 w 3773795"/>
                <a:gd name="connsiteY628" fmla="*/ 539994 h 1451770"/>
                <a:gd name="connsiteX629" fmla="*/ 901912 w 3773795"/>
                <a:gd name="connsiteY629" fmla="*/ 542384 h 1451770"/>
                <a:gd name="connsiteX630" fmla="*/ 903193 w 3773795"/>
                <a:gd name="connsiteY630" fmla="*/ 543472 h 1451770"/>
                <a:gd name="connsiteX631" fmla="*/ 903860 w 3773795"/>
                <a:gd name="connsiteY631" fmla="*/ 545420 h 1451770"/>
                <a:gd name="connsiteX632" fmla="*/ 903784 w 3773795"/>
                <a:gd name="connsiteY632" fmla="*/ 549038 h 1451770"/>
                <a:gd name="connsiteX633" fmla="*/ 902966 w 3773795"/>
                <a:gd name="connsiteY633" fmla="*/ 551705 h 1451770"/>
                <a:gd name="connsiteX634" fmla="*/ 900466 w 3773795"/>
                <a:gd name="connsiteY634" fmla="*/ 552123 h 1451770"/>
                <a:gd name="connsiteX635" fmla="*/ 898006 w 3773795"/>
                <a:gd name="connsiteY635" fmla="*/ 553208 h 1451770"/>
                <a:gd name="connsiteX636" fmla="*/ 893811 w 3773795"/>
                <a:gd name="connsiteY636" fmla="*/ 552054 h 1451770"/>
                <a:gd name="connsiteX637" fmla="*/ 891452 w 3773795"/>
                <a:gd name="connsiteY637" fmla="*/ 552843 h 1451770"/>
                <a:gd name="connsiteX638" fmla="*/ 889092 w 3773795"/>
                <a:gd name="connsiteY638" fmla="*/ 552895 h 1451770"/>
                <a:gd name="connsiteX639" fmla="*/ 887142 w 3773795"/>
                <a:gd name="connsiteY639" fmla="*/ 552480 h 1451770"/>
                <a:gd name="connsiteX640" fmla="*/ 885205 w 3773795"/>
                <a:gd name="connsiteY640" fmla="*/ 551897 h 1451770"/>
                <a:gd name="connsiteX641" fmla="*/ 883905 w 3773795"/>
                <a:gd name="connsiteY641" fmla="*/ 551206 h 1451770"/>
                <a:gd name="connsiteX642" fmla="*/ 883972 w 3773795"/>
                <a:gd name="connsiteY642" fmla="*/ 549150 h 1451770"/>
                <a:gd name="connsiteX643" fmla="*/ 882234 w 3773795"/>
                <a:gd name="connsiteY643" fmla="*/ 546181 h 1451770"/>
                <a:gd name="connsiteX644" fmla="*/ 879556 w 3773795"/>
                <a:gd name="connsiteY644" fmla="*/ 545226 h 1451770"/>
                <a:gd name="connsiteX645" fmla="*/ 877053 w 3773795"/>
                <a:gd name="connsiteY645" fmla="*/ 544910 h 1451770"/>
                <a:gd name="connsiteX646" fmla="*/ 874309 w 3773795"/>
                <a:gd name="connsiteY646" fmla="*/ 543983 h 1451770"/>
                <a:gd name="connsiteX647" fmla="*/ 872944 w 3773795"/>
                <a:gd name="connsiteY647" fmla="*/ 544422 h 1451770"/>
                <a:gd name="connsiteX648" fmla="*/ 871208 w 3773795"/>
                <a:gd name="connsiteY648" fmla="*/ 545507 h 1451770"/>
                <a:gd name="connsiteX649" fmla="*/ 870074 w 3773795"/>
                <a:gd name="connsiteY649" fmla="*/ 545133 h 1451770"/>
                <a:gd name="connsiteX650" fmla="*/ 864045 w 3773795"/>
                <a:gd name="connsiteY650" fmla="*/ 538879 h 1451770"/>
                <a:gd name="connsiteX651" fmla="*/ 863030 w 3773795"/>
                <a:gd name="connsiteY651" fmla="*/ 537414 h 1451770"/>
                <a:gd name="connsiteX652" fmla="*/ 862398 w 3773795"/>
                <a:gd name="connsiteY652" fmla="*/ 535782 h 1451770"/>
                <a:gd name="connsiteX653" fmla="*/ 861568 w 3773795"/>
                <a:gd name="connsiteY653" fmla="*/ 534733 h 1451770"/>
                <a:gd name="connsiteX654" fmla="*/ 859467 w 3773795"/>
                <a:gd name="connsiteY654" fmla="*/ 530317 h 1451770"/>
                <a:gd name="connsiteX655" fmla="*/ 860504 w 3773795"/>
                <a:gd name="connsiteY655" fmla="*/ 528269 h 1451770"/>
                <a:gd name="connsiteX656" fmla="*/ 862614 w 3773795"/>
                <a:gd name="connsiteY656" fmla="*/ 526974 h 1451770"/>
                <a:gd name="connsiteX657" fmla="*/ 864000 w 3773795"/>
                <a:gd name="connsiteY657" fmla="*/ 526626 h 1451770"/>
                <a:gd name="connsiteX658" fmla="*/ 866570 w 3773795"/>
                <a:gd name="connsiteY658" fmla="*/ 523700 h 1451770"/>
                <a:gd name="connsiteX659" fmla="*/ 1035639 w 3773795"/>
                <a:gd name="connsiteY659" fmla="*/ 510097 h 1451770"/>
                <a:gd name="connsiteX660" fmla="*/ 1036140 w 3773795"/>
                <a:gd name="connsiteY660" fmla="*/ 510231 h 1451770"/>
                <a:gd name="connsiteX661" fmla="*/ 1036026 w 3773795"/>
                <a:gd name="connsiteY661" fmla="*/ 513064 h 1451770"/>
                <a:gd name="connsiteX662" fmla="*/ 1038308 w 3773795"/>
                <a:gd name="connsiteY662" fmla="*/ 519355 h 1451770"/>
                <a:gd name="connsiteX663" fmla="*/ 1038476 w 3773795"/>
                <a:gd name="connsiteY663" fmla="*/ 520965 h 1451770"/>
                <a:gd name="connsiteX664" fmla="*/ 1037310 w 3773795"/>
                <a:gd name="connsiteY664" fmla="*/ 520428 h 1451770"/>
                <a:gd name="connsiteX665" fmla="*/ 1035824 w 3773795"/>
                <a:gd name="connsiteY665" fmla="*/ 518583 h 1451770"/>
                <a:gd name="connsiteX666" fmla="*/ 1034917 w 3773795"/>
                <a:gd name="connsiteY666" fmla="*/ 516392 h 1451770"/>
                <a:gd name="connsiteX667" fmla="*/ 1034635 w 3773795"/>
                <a:gd name="connsiteY667" fmla="*/ 511920 h 1451770"/>
                <a:gd name="connsiteX668" fmla="*/ 1035151 w 3773795"/>
                <a:gd name="connsiteY668" fmla="*/ 510721 h 1451770"/>
                <a:gd name="connsiteX669" fmla="*/ 3114361 w 3773795"/>
                <a:gd name="connsiteY669" fmla="*/ 503601 h 1451770"/>
                <a:gd name="connsiteX670" fmla="*/ 3116954 w 3773795"/>
                <a:gd name="connsiteY670" fmla="*/ 504014 h 1451770"/>
                <a:gd name="connsiteX671" fmla="*/ 3118703 w 3773795"/>
                <a:gd name="connsiteY671" fmla="*/ 505636 h 1451770"/>
                <a:gd name="connsiteX672" fmla="*/ 3120341 w 3773795"/>
                <a:gd name="connsiteY672" fmla="*/ 508085 h 1451770"/>
                <a:gd name="connsiteX673" fmla="*/ 3118845 w 3773795"/>
                <a:gd name="connsiteY673" fmla="*/ 508762 h 1451770"/>
                <a:gd name="connsiteX674" fmla="*/ 3115604 w 3773795"/>
                <a:gd name="connsiteY674" fmla="*/ 508205 h 1451770"/>
                <a:gd name="connsiteX675" fmla="*/ 3114104 w 3773795"/>
                <a:gd name="connsiteY675" fmla="*/ 506945 h 1451770"/>
                <a:gd name="connsiteX676" fmla="*/ 3114181 w 3773795"/>
                <a:gd name="connsiteY676" fmla="*/ 504060 h 1451770"/>
                <a:gd name="connsiteX677" fmla="*/ 732526 w 3773795"/>
                <a:gd name="connsiteY677" fmla="*/ 484565 h 1451770"/>
                <a:gd name="connsiteX678" fmla="*/ 733510 w 3773795"/>
                <a:gd name="connsiteY678" fmla="*/ 484724 h 1451770"/>
                <a:gd name="connsiteX679" fmla="*/ 736309 w 3773795"/>
                <a:gd name="connsiteY679" fmla="*/ 486142 h 1451770"/>
                <a:gd name="connsiteX680" fmla="*/ 738317 w 3773795"/>
                <a:gd name="connsiteY680" fmla="*/ 489140 h 1451770"/>
                <a:gd name="connsiteX681" fmla="*/ 740084 w 3773795"/>
                <a:gd name="connsiteY681" fmla="*/ 491306 h 1451770"/>
                <a:gd name="connsiteX682" fmla="*/ 741574 w 3773795"/>
                <a:gd name="connsiteY682" fmla="*/ 491145 h 1451770"/>
                <a:gd name="connsiteX683" fmla="*/ 742705 w 3773795"/>
                <a:gd name="connsiteY683" fmla="*/ 492225 h 1451770"/>
                <a:gd name="connsiteX684" fmla="*/ 742984 w 3773795"/>
                <a:gd name="connsiteY684" fmla="*/ 494478 h 1451770"/>
                <a:gd name="connsiteX685" fmla="*/ 740027 w 3773795"/>
                <a:gd name="connsiteY685" fmla="*/ 498310 h 1451770"/>
                <a:gd name="connsiteX686" fmla="*/ 739511 w 3773795"/>
                <a:gd name="connsiteY686" fmla="*/ 499688 h 1451770"/>
                <a:gd name="connsiteX687" fmla="*/ 740785 w 3773795"/>
                <a:gd name="connsiteY687" fmla="*/ 500968 h 1451770"/>
                <a:gd name="connsiteX688" fmla="*/ 741122 w 3773795"/>
                <a:gd name="connsiteY688" fmla="*/ 501664 h 1451770"/>
                <a:gd name="connsiteX689" fmla="*/ 738948 w 3773795"/>
                <a:gd name="connsiteY689" fmla="*/ 502202 h 1451770"/>
                <a:gd name="connsiteX690" fmla="*/ 738546 w 3773795"/>
                <a:gd name="connsiteY690" fmla="*/ 500469 h 1451770"/>
                <a:gd name="connsiteX691" fmla="*/ 737333 w 3773795"/>
                <a:gd name="connsiteY691" fmla="*/ 498772 h 1451770"/>
                <a:gd name="connsiteX692" fmla="*/ 734806 w 3773795"/>
                <a:gd name="connsiteY692" fmla="*/ 497469 h 1451770"/>
                <a:gd name="connsiteX693" fmla="*/ 733780 w 3773795"/>
                <a:gd name="connsiteY693" fmla="*/ 496291 h 1451770"/>
                <a:gd name="connsiteX694" fmla="*/ 732662 w 3773795"/>
                <a:gd name="connsiteY694" fmla="*/ 493629 h 1451770"/>
                <a:gd name="connsiteX695" fmla="*/ 728421 w 3773795"/>
                <a:gd name="connsiteY695" fmla="*/ 490798 h 1451770"/>
                <a:gd name="connsiteX696" fmla="*/ 725743 w 3773795"/>
                <a:gd name="connsiteY696" fmla="*/ 491252 h 1451770"/>
                <a:gd name="connsiteX697" fmla="*/ 722735 w 3773795"/>
                <a:gd name="connsiteY697" fmla="*/ 489989 h 1451770"/>
                <a:gd name="connsiteX698" fmla="*/ 721854 w 3773795"/>
                <a:gd name="connsiteY698" fmla="*/ 489398 h 1451770"/>
                <a:gd name="connsiteX699" fmla="*/ 721638 w 3773795"/>
                <a:gd name="connsiteY699" fmla="*/ 487767 h 1451770"/>
                <a:gd name="connsiteX700" fmla="*/ 722893 w 3773795"/>
                <a:gd name="connsiteY700" fmla="*/ 486474 h 1451770"/>
                <a:gd name="connsiteX701" fmla="*/ 727669 w 3773795"/>
                <a:gd name="connsiteY701" fmla="*/ 485325 h 1451770"/>
                <a:gd name="connsiteX702" fmla="*/ 729986 w 3773795"/>
                <a:gd name="connsiteY702" fmla="*/ 485394 h 1451770"/>
                <a:gd name="connsiteX703" fmla="*/ 732470 w 3773795"/>
                <a:gd name="connsiteY703" fmla="*/ 486543 h 1451770"/>
                <a:gd name="connsiteX704" fmla="*/ 732262 w 3773795"/>
                <a:gd name="connsiteY704" fmla="*/ 485132 h 1451770"/>
                <a:gd name="connsiteX705" fmla="*/ 2613925 w 3773795"/>
                <a:gd name="connsiteY705" fmla="*/ 477048 h 1451770"/>
                <a:gd name="connsiteX706" fmla="*/ 2614828 w 3773795"/>
                <a:gd name="connsiteY706" fmla="*/ 477245 h 1451770"/>
                <a:gd name="connsiteX707" fmla="*/ 2616512 w 3773795"/>
                <a:gd name="connsiteY707" fmla="*/ 478892 h 1451770"/>
                <a:gd name="connsiteX708" fmla="*/ 2617088 w 3773795"/>
                <a:gd name="connsiteY708" fmla="*/ 480326 h 1451770"/>
                <a:gd name="connsiteX709" fmla="*/ 2611604 w 3773795"/>
                <a:gd name="connsiteY709" fmla="*/ 483770 h 1451770"/>
                <a:gd name="connsiteX710" fmla="*/ 2609417 w 3773795"/>
                <a:gd name="connsiteY710" fmla="*/ 483333 h 1451770"/>
                <a:gd name="connsiteX711" fmla="*/ 2607181 w 3773795"/>
                <a:gd name="connsiteY711" fmla="*/ 481675 h 1451770"/>
                <a:gd name="connsiteX712" fmla="*/ 2605987 w 3773795"/>
                <a:gd name="connsiteY712" fmla="*/ 481312 h 1451770"/>
                <a:gd name="connsiteX713" fmla="*/ 2604781 w 3773795"/>
                <a:gd name="connsiteY713" fmla="*/ 481565 h 1451770"/>
                <a:gd name="connsiteX714" fmla="*/ 2603476 w 3773795"/>
                <a:gd name="connsiteY714" fmla="*/ 482248 h 1451770"/>
                <a:gd name="connsiteX715" fmla="*/ 2601736 w 3773795"/>
                <a:gd name="connsiteY715" fmla="*/ 482438 h 1451770"/>
                <a:gd name="connsiteX716" fmla="*/ 2597604 w 3773795"/>
                <a:gd name="connsiteY716" fmla="*/ 480549 h 1451770"/>
                <a:gd name="connsiteX717" fmla="*/ 2597280 w 3773795"/>
                <a:gd name="connsiteY717" fmla="*/ 479418 h 1451770"/>
                <a:gd name="connsiteX718" fmla="*/ 2597673 w 3773795"/>
                <a:gd name="connsiteY718" fmla="*/ 478894 h 1451770"/>
                <a:gd name="connsiteX719" fmla="*/ 2598727 w 3773795"/>
                <a:gd name="connsiteY719" fmla="*/ 478345 h 1451770"/>
                <a:gd name="connsiteX720" fmla="*/ 2599582 w 3773795"/>
                <a:gd name="connsiteY720" fmla="*/ 478305 h 1451770"/>
                <a:gd name="connsiteX721" fmla="*/ 2602096 w 3773795"/>
                <a:gd name="connsiteY721" fmla="*/ 477373 h 1451770"/>
                <a:gd name="connsiteX722" fmla="*/ 3566330 w 3773795"/>
                <a:gd name="connsiteY722" fmla="*/ 476708 h 1451770"/>
                <a:gd name="connsiteX723" fmla="*/ 3568929 w 3773795"/>
                <a:gd name="connsiteY723" fmla="*/ 476830 h 1451770"/>
                <a:gd name="connsiteX724" fmla="*/ 3571529 w 3773795"/>
                <a:gd name="connsiteY724" fmla="*/ 477491 h 1451770"/>
                <a:gd name="connsiteX725" fmla="*/ 3581202 w 3773795"/>
                <a:gd name="connsiteY725" fmla="*/ 478958 h 1451770"/>
                <a:gd name="connsiteX726" fmla="*/ 3583091 w 3773795"/>
                <a:gd name="connsiteY726" fmla="*/ 479447 h 1451770"/>
                <a:gd name="connsiteX727" fmla="*/ 3586162 w 3773795"/>
                <a:gd name="connsiteY727" fmla="*/ 481388 h 1451770"/>
                <a:gd name="connsiteX728" fmla="*/ 3587948 w 3773795"/>
                <a:gd name="connsiteY728" fmla="*/ 482047 h 1451770"/>
                <a:gd name="connsiteX729" fmla="*/ 3589657 w 3773795"/>
                <a:gd name="connsiteY729" fmla="*/ 483184 h 1451770"/>
                <a:gd name="connsiteX730" fmla="*/ 3591466 w 3773795"/>
                <a:gd name="connsiteY730" fmla="*/ 485102 h 1451770"/>
                <a:gd name="connsiteX731" fmla="*/ 3594956 w 3773795"/>
                <a:gd name="connsiteY731" fmla="*/ 487159 h 1451770"/>
                <a:gd name="connsiteX732" fmla="*/ 3600104 w 3773795"/>
                <a:gd name="connsiteY732" fmla="*/ 489529 h 1451770"/>
                <a:gd name="connsiteX733" fmla="*/ 3601254 w 3773795"/>
                <a:gd name="connsiteY733" fmla="*/ 490285 h 1451770"/>
                <a:gd name="connsiteX734" fmla="*/ 3601999 w 3773795"/>
                <a:gd name="connsiteY734" fmla="*/ 492069 h 1451770"/>
                <a:gd name="connsiteX735" fmla="*/ 3601444 w 3773795"/>
                <a:gd name="connsiteY735" fmla="*/ 494187 h 1451770"/>
                <a:gd name="connsiteX736" fmla="*/ 3594850 w 3773795"/>
                <a:gd name="connsiteY736" fmla="*/ 498208 h 1451770"/>
                <a:gd name="connsiteX737" fmla="*/ 3589523 w 3773795"/>
                <a:gd name="connsiteY737" fmla="*/ 499244 h 1451770"/>
                <a:gd name="connsiteX738" fmla="*/ 3579234 w 3773795"/>
                <a:gd name="connsiteY738" fmla="*/ 500341 h 1451770"/>
                <a:gd name="connsiteX739" fmla="*/ 3565328 w 3773795"/>
                <a:gd name="connsiteY739" fmla="*/ 503367 h 1451770"/>
                <a:gd name="connsiteX740" fmla="*/ 3559605 w 3773795"/>
                <a:gd name="connsiteY740" fmla="*/ 504207 h 1451770"/>
                <a:gd name="connsiteX741" fmla="*/ 3557593 w 3773795"/>
                <a:gd name="connsiteY741" fmla="*/ 504028 h 1451770"/>
                <a:gd name="connsiteX742" fmla="*/ 3552566 w 3773795"/>
                <a:gd name="connsiteY742" fmla="*/ 502082 h 1451770"/>
                <a:gd name="connsiteX743" fmla="*/ 3546685 w 3773795"/>
                <a:gd name="connsiteY743" fmla="*/ 501221 h 1451770"/>
                <a:gd name="connsiteX744" fmla="*/ 3544061 w 3773795"/>
                <a:gd name="connsiteY744" fmla="*/ 501920 h 1451770"/>
                <a:gd name="connsiteX745" fmla="*/ 3538894 w 3773795"/>
                <a:gd name="connsiteY745" fmla="*/ 505016 h 1451770"/>
                <a:gd name="connsiteX746" fmla="*/ 3527946 w 3773795"/>
                <a:gd name="connsiteY746" fmla="*/ 505768 h 1451770"/>
                <a:gd name="connsiteX747" fmla="*/ 3521511 w 3773795"/>
                <a:gd name="connsiteY747" fmla="*/ 507936 h 1451770"/>
                <a:gd name="connsiteX748" fmla="*/ 3519986 w 3773795"/>
                <a:gd name="connsiteY748" fmla="*/ 508111 h 1451770"/>
                <a:gd name="connsiteX749" fmla="*/ 3516795 w 3773795"/>
                <a:gd name="connsiteY749" fmla="*/ 500915 h 1451770"/>
                <a:gd name="connsiteX750" fmla="*/ 3516354 w 3773795"/>
                <a:gd name="connsiteY750" fmla="*/ 499025 h 1451770"/>
                <a:gd name="connsiteX751" fmla="*/ 3517583 w 3773795"/>
                <a:gd name="connsiteY751" fmla="*/ 496667 h 1451770"/>
                <a:gd name="connsiteX752" fmla="*/ 3520792 w 3773795"/>
                <a:gd name="connsiteY752" fmla="*/ 493742 h 1451770"/>
                <a:gd name="connsiteX753" fmla="*/ 3522165 w 3773795"/>
                <a:gd name="connsiteY753" fmla="*/ 491583 h 1451770"/>
                <a:gd name="connsiteX754" fmla="*/ 3529771 w 3773795"/>
                <a:gd name="connsiteY754" fmla="*/ 487789 h 1451770"/>
                <a:gd name="connsiteX755" fmla="*/ 3536683 w 3773795"/>
                <a:gd name="connsiteY755" fmla="*/ 482774 h 1451770"/>
                <a:gd name="connsiteX756" fmla="*/ 3540403 w 3773795"/>
                <a:gd name="connsiteY756" fmla="*/ 482017 h 1451770"/>
                <a:gd name="connsiteX757" fmla="*/ 3544174 w 3773795"/>
                <a:gd name="connsiteY757" fmla="*/ 479686 h 1451770"/>
                <a:gd name="connsiteX758" fmla="*/ 3546685 w 3773795"/>
                <a:gd name="connsiteY758" fmla="*/ 479098 h 1451770"/>
                <a:gd name="connsiteX759" fmla="*/ 3550115 w 3773795"/>
                <a:gd name="connsiteY759" fmla="*/ 478557 h 1451770"/>
                <a:gd name="connsiteX760" fmla="*/ 3553517 w 3773795"/>
                <a:gd name="connsiteY760" fmla="*/ 477453 h 1451770"/>
                <a:gd name="connsiteX761" fmla="*/ 3556716 w 3773795"/>
                <a:gd name="connsiteY761" fmla="*/ 477271 h 1451770"/>
                <a:gd name="connsiteX762" fmla="*/ 3559907 w 3773795"/>
                <a:gd name="connsiteY762" fmla="*/ 477916 h 1451770"/>
                <a:gd name="connsiteX763" fmla="*/ 3563125 w 3773795"/>
                <a:gd name="connsiteY763" fmla="*/ 477711 h 1451770"/>
                <a:gd name="connsiteX764" fmla="*/ 1285689 w 3773795"/>
                <a:gd name="connsiteY764" fmla="*/ 433887 h 1451770"/>
                <a:gd name="connsiteX765" fmla="*/ 1297421 w 3773795"/>
                <a:gd name="connsiteY765" fmla="*/ 437147 h 1451770"/>
                <a:gd name="connsiteX766" fmla="*/ 1299054 w 3773795"/>
                <a:gd name="connsiteY766" fmla="*/ 439190 h 1451770"/>
                <a:gd name="connsiteX767" fmla="*/ 1299323 w 3773795"/>
                <a:gd name="connsiteY767" fmla="*/ 440103 h 1451770"/>
                <a:gd name="connsiteX768" fmla="*/ 1294666 w 3773795"/>
                <a:gd name="connsiteY768" fmla="*/ 442830 h 1451770"/>
                <a:gd name="connsiteX769" fmla="*/ 1291409 w 3773795"/>
                <a:gd name="connsiteY769" fmla="*/ 443851 h 1451770"/>
                <a:gd name="connsiteX770" fmla="*/ 1286404 w 3773795"/>
                <a:gd name="connsiteY770" fmla="*/ 447341 h 1451770"/>
                <a:gd name="connsiteX771" fmla="*/ 1283124 w 3773795"/>
                <a:gd name="connsiteY771" fmla="*/ 448059 h 1451770"/>
                <a:gd name="connsiteX772" fmla="*/ 1272357 w 3773795"/>
                <a:gd name="connsiteY772" fmla="*/ 448449 h 1451770"/>
                <a:gd name="connsiteX773" fmla="*/ 1267058 w 3773795"/>
                <a:gd name="connsiteY773" fmla="*/ 447794 h 1451770"/>
                <a:gd name="connsiteX774" fmla="*/ 1266287 w 3773795"/>
                <a:gd name="connsiteY774" fmla="*/ 446988 h 1451770"/>
                <a:gd name="connsiteX775" fmla="*/ 1266995 w 3773795"/>
                <a:gd name="connsiteY775" fmla="*/ 444970 h 1451770"/>
                <a:gd name="connsiteX776" fmla="*/ 1272444 w 3773795"/>
                <a:gd name="connsiteY776" fmla="*/ 441904 h 1451770"/>
                <a:gd name="connsiteX777" fmla="*/ 1274897 w 3773795"/>
                <a:gd name="connsiteY777" fmla="*/ 439948 h 1451770"/>
                <a:gd name="connsiteX778" fmla="*/ 1277492 w 3773795"/>
                <a:gd name="connsiteY778" fmla="*/ 436643 h 1451770"/>
                <a:gd name="connsiteX779" fmla="*/ 1281934 w 3773795"/>
                <a:gd name="connsiteY779" fmla="*/ 433901 h 1451770"/>
                <a:gd name="connsiteX780" fmla="*/ 1316994 w 3773795"/>
                <a:gd name="connsiteY780" fmla="*/ 414403 h 1451770"/>
                <a:gd name="connsiteX781" fmla="*/ 1321246 w 3773795"/>
                <a:gd name="connsiteY781" fmla="*/ 416758 h 1451770"/>
                <a:gd name="connsiteX782" fmla="*/ 1322483 w 3773795"/>
                <a:gd name="connsiteY782" fmla="*/ 419101 h 1451770"/>
                <a:gd name="connsiteX783" fmla="*/ 1325331 w 3773795"/>
                <a:gd name="connsiteY783" fmla="*/ 421818 h 1451770"/>
                <a:gd name="connsiteX784" fmla="*/ 1325256 w 3773795"/>
                <a:gd name="connsiteY784" fmla="*/ 428097 h 1451770"/>
                <a:gd name="connsiteX785" fmla="*/ 1324450 w 3773795"/>
                <a:gd name="connsiteY785" fmla="*/ 430086 h 1451770"/>
                <a:gd name="connsiteX786" fmla="*/ 1322885 w 3773795"/>
                <a:gd name="connsiteY786" fmla="*/ 430557 h 1451770"/>
                <a:gd name="connsiteX787" fmla="*/ 1310721 w 3773795"/>
                <a:gd name="connsiteY787" fmla="*/ 428841 h 1451770"/>
                <a:gd name="connsiteX788" fmla="*/ 1306512 w 3773795"/>
                <a:gd name="connsiteY788" fmla="*/ 426665 h 1451770"/>
                <a:gd name="connsiteX789" fmla="*/ 1305251 w 3773795"/>
                <a:gd name="connsiteY789" fmla="*/ 424677 h 1451770"/>
                <a:gd name="connsiteX790" fmla="*/ 1305773 w 3773795"/>
                <a:gd name="connsiteY790" fmla="*/ 422928 h 1451770"/>
                <a:gd name="connsiteX791" fmla="*/ 1211840 w 3773795"/>
                <a:gd name="connsiteY791" fmla="*/ 412874 h 1451770"/>
                <a:gd name="connsiteX792" fmla="*/ 1216066 w 3773795"/>
                <a:gd name="connsiteY792" fmla="*/ 413242 h 1451770"/>
                <a:gd name="connsiteX793" fmla="*/ 1218839 w 3773795"/>
                <a:gd name="connsiteY793" fmla="*/ 413818 h 1451770"/>
                <a:gd name="connsiteX794" fmla="*/ 1224063 w 3773795"/>
                <a:gd name="connsiteY794" fmla="*/ 415749 h 1451770"/>
                <a:gd name="connsiteX795" fmla="*/ 1219221 w 3773795"/>
                <a:gd name="connsiteY795" fmla="*/ 417007 h 1451770"/>
                <a:gd name="connsiteX796" fmla="*/ 1217113 w 3773795"/>
                <a:gd name="connsiteY796" fmla="*/ 419694 h 1451770"/>
                <a:gd name="connsiteX797" fmla="*/ 1217399 w 3773795"/>
                <a:gd name="connsiteY797" fmla="*/ 421369 h 1451770"/>
                <a:gd name="connsiteX798" fmla="*/ 1218217 w 3773795"/>
                <a:gd name="connsiteY798" fmla="*/ 422279 h 1451770"/>
                <a:gd name="connsiteX799" fmla="*/ 1217407 w 3773795"/>
                <a:gd name="connsiteY799" fmla="*/ 423721 h 1451770"/>
                <a:gd name="connsiteX800" fmla="*/ 1216917 w 3773795"/>
                <a:gd name="connsiteY800" fmla="*/ 424128 h 1451770"/>
                <a:gd name="connsiteX801" fmla="*/ 1215805 w 3773795"/>
                <a:gd name="connsiteY801" fmla="*/ 423397 h 1451770"/>
                <a:gd name="connsiteX802" fmla="*/ 1212415 w 3773795"/>
                <a:gd name="connsiteY802" fmla="*/ 422280 h 1451770"/>
                <a:gd name="connsiteX803" fmla="*/ 1206796 w 3773795"/>
                <a:gd name="connsiteY803" fmla="*/ 419428 h 1451770"/>
                <a:gd name="connsiteX804" fmla="*/ 1205017 w 3773795"/>
                <a:gd name="connsiteY804" fmla="*/ 417479 h 1451770"/>
                <a:gd name="connsiteX805" fmla="*/ 1205950 w 3773795"/>
                <a:gd name="connsiteY805" fmla="*/ 415248 h 1451770"/>
                <a:gd name="connsiteX806" fmla="*/ 1207191 w 3773795"/>
                <a:gd name="connsiteY806" fmla="*/ 413779 h 1451770"/>
                <a:gd name="connsiteX807" fmla="*/ 2219172 w 3773795"/>
                <a:gd name="connsiteY807" fmla="*/ 411299 h 1451770"/>
                <a:gd name="connsiteX808" fmla="*/ 2221695 w 3773795"/>
                <a:gd name="connsiteY808" fmla="*/ 411762 h 1451770"/>
                <a:gd name="connsiteX809" fmla="*/ 2225195 w 3773795"/>
                <a:gd name="connsiteY809" fmla="*/ 413856 h 1451770"/>
                <a:gd name="connsiteX810" fmla="*/ 2225737 w 3773795"/>
                <a:gd name="connsiteY810" fmla="*/ 414593 h 1451770"/>
                <a:gd name="connsiteX811" fmla="*/ 2220134 w 3773795"/>
                <a:gd name="connsiteY811" fmla="*/ 416494 h 1451770"/>
                <a:gd name="connsiteX812" fmla="*/ 2215361 w 3773795"/>
                <a:gd name="connsiteY812" fmla="*/ 416471 h 1451770"/>
                <a:gd name="connsiteX813" fmla="*/ 2212007 w 3773795"/>
                <a:gd name="connsiteY813" fmla="*/ 413135 h 1451770"/>
                <a:gd name="connsiteX814" fmla="*/ 2214694 w 3773795"/>
                <a:gd name="connsiteY814" fmla="*/ 411816 h 1451770"/>
                <a:gd name="connsiteX815" fmla="*/ 778335 w 3773795"/>
                <a:gd name="connsiteY815" fmla="*/ 401957 h 1451770"/>
                <a:gd name="connsiteX816" fmla="*/ 781358 w 3773795"/>
                <a:gd name="connsiteY816" fmla="*/ 402144 h 1451770"/>
                <a:gd name="connsiteX817" fmla="*/ 785355 w 3773795"/>
                <a:gd name="connsiteY817" fmla="*/ 403269 h 1451770"/>
                <a:gd name="connsiteX818" fmla="*/ 789743 w 3773795"/>
                <a:gd name="connsiteY818" fmla="*/ 405332 h 1451770"/>
                <a:gd name="connsiteX819" fmla="*/ 800080 w 3773795"/>
                <a:gd name="connsiteY819" fmla="*/ 407019 h 1451770"/>
                <a:gd name="connsiteX820" fmla="*/ 807828 w 3773795"/>
                <a:gd name="connsiteY820" fmla="*/ 407547 h 1451770"/>
                <a:gd name="connsiteX821" fmla="*/ 812533 w 3773795"/>
                <a:gd name="connsiteY821" fmla="*/ 408846 h 1451770"/>
                <a:gd name="connsiteX822" fmla="*/ 814282 w 3773795"/>
                <a:gd name="connsiteY822" fmla="*/ 409879 h 1451770"/>
                <a:gd name="connsiteX823" fmla="*/ 813572 w 3773795"/>
                <a:gd name="connsiteY823" fmla="*/ 412506 h 1451770"/>
                <a:gd name="connsiteX824" fmla="*/ 812183 w 3773795"/>
                <a:gd name="connsiteY824" fmla="*/ 413585 h 1451770"/>
                <a:gd name="connsiteX825" fmla="*/ 808962 w 3773795"/>
                <a:gd name="connsiteY825" fmla="*/ 416995 h 1451770"/>
                <a:gd name="connsiteX826" fmla="*/ 808476 w 3773795"/>
                <a:gd name="connsiteY826" fmla="*/ 419097 h 1451770"/>
                <a:gd name="connsiteX827" fmla="*/ 809048 w 3773795"/>
                <a:gd name="connsiteY827" fmla="*/ 422394 h 1451770"/>
                <a:gd name="connsiteX828" fmla="*/ 808553 w 3773795"/>
                <a:gd name="connsiteY828" fmla="*/ 424787 h 1451770"/>
                <a:gd name="connsiteX829" fmla="*/ 807474 w 3773795"/>
                <a:gd name="connsiteY829" fmla="*/ 426532 h 1451770"/>
                <a:gd name="connsiteX830" fmla="*/ 806636 w 3773795"/>
                <a:gd name="connsiteY830" fmla="*/ 427254 h 1451770"/>
                <a:gd name="connsiteX831" fmla="*/ 800797 w 3773795"/>
                <a:gd name="connsiteY831" fmla="*/ 427250 h 1451770"/>
                <a:gd name="connsiteX832" fmla="*/ 798668 w 3773795"/>
                <a:gd name="connsiteY832" fmla="*/ 428220 h 1451770"/>
                <a:gd name="connsiteX833" fmla="*/ 798558 w 3773795"/>
                <a:gd name="connsiteY833" fmla="*/ 430102 h 1451770"/>
                <a:gd name="connsiteX834" fmla="*/ 798171 w 3773795"/>
                <a:gd name="connsiteY834" fmla="*/ 432190 h 1451770"/>
                <a:gd name="connsiteX835" fmla="*/ 796301 w 3773795"/>
                <a:gd name="connsiteY835" fmla="*/ 435231 h 1451770"/>
                <a:gd name="connsiteX836" fmla="*/ 792429 w 3773795"/>
                <a:gd name="connsiteY836" fmla="*/ 436221 h 1451770"/>
                <a:gd name="connsiteX837" fmla="*/ 791589 w 3773795"/>
                <a:gd name="connsiteY837" fmla="*/ 437321 h 1451770"/>
                <a:gd name="connsiteX838" fmla="*/ 791889 w 3773795"/>
                <a:gd name="connsiteY838" fmla="*/ 439314 h 1451770"/>
                <a:gd name="connsiteX839" fmla="*/ 790542 w 3773795"/>
                <a:gd name="connsiteY839" fmla="*/ 440826 h 1451770"/>
                <a:gd name="connsiteX840" fmla="*/ 790622 w 3773795"/>
                <a:gd name="connsiteY840" fmla="*/ 443176 h 1451770"/>
                <a:gd name="connsiteX841" fmla="*/ 791304 w 3773795"/>
                <a:gd name="connsiteY841" fmla="*/ 444460 h 1451770"/>
                <a:gd name="connsiteX842" fmla="*/ 791496 w 3773795"/>
                <a:gd name="connsiteY842" fmla="*/ 447130 h 1451770"/>
                <a:gd name="connsiteX843" fmla="*/ 794127 w 3773795"/>
                <a:gd name="connsiteY843" fmla="*/ 450990 h 1451770"/>
                <a:gd name="connsiteX844" fmla="*/ 793615 w 3773795"/>
                <a:gd name="connsiteY844" fmla="*/ 452578 h 1451770"/>
                <a:gd name="connsiteX845" fmla="*/ 791589 w 3773795"/>
                <a:gd name="connsiteY845" fmla="*/ 455701 h 1451770"/>
                <a:gd name="connsiteX846" fmla="*/ 790963 w 3773795"/>
                <a:gd name="connsiteY846" fmla="*/ 459503 h 1451770"/>
                <a:gd name="connsiteX847" fmla="*/ 789257 w 3773795"/>
                <a:gd name="connsiteY847" fmla="*/ 462784 h 1451770"/>
                <a:gd name="connsiteX848" fmla="*/ 793088 w 3773795"/>
                <a:gd name="connsiteY848" fmla="*/ 465506 h 1451770"/>
                <a:gd name="connsiteX849" fmla="*/ 794759 w 3773795"/>
                <a:gd name="connsiteY849" fmla="*/ 469037 h 1451770"/>
                <a:gd name="connsiteX850" fmla="*/ 796241 w 3773795"/>
                <a:gd name="connsiteY850" fmla="*/ 472871 h 1451770"/>
                <a:gd name="connsiteX851" fmla="*/ 800788 w 3773795"/>
                <a:gd name="connsiteY851" fmla="*/ 480330 h 1451770"/>
                <a:gd name="connsiteX852" fmla="*/ 805738 w 3773795"/>
                <a:gd name="connsiteY852" fmla="*/ 486931 h 1451770"/>
                <a:gd name="connsiteX853" fmla="*/ 814831 w 3773795"/>
                <a:gd name="connsiteY853" fmla="*/ 496598 h 1451770"/>
                <a:gd name="connsiteX854" fmla="*/ 824569 w 3773795"/>
                <a:gd name="connsiteY854" fmla="*/ 503884 h 1451770"/>
                <a:gd name="connsiteX855" fmla="*/ 828346 w 3773795"/>
                <a:gd name="connsiteY855" fmla="*/ 505939 h 1451770"/>
                <a:gd name="connsiteX856" fmla="*/ 837588 w 3773795"/>
                <a:gd name="connsiteY856" fmla="*/ 509308 h 1451770"/>
                <a:gd name="connsiteX857" fmla="*/ 839200 w 3773795"/>
                <a:gd name="connsiteY857" fmla="*/ 510372 h 1451770"/>
                <a:gd name="connsiteX858" fmla="*/ 840724 w 3773795"/>
                <a:gd name="connsiteY858" fmla="*/ 511859 h 1451770"/>
                <a:gd name="connsiteX859" fmla="*/ 836783 w 3773795"/>
                <a:gd name="connsiteY859" fmla="*/ 514578 h 1451770"/>
                <a:gd name="connsiteX860" fmla="*/ 832726 w 3773795"/>
                <a:gd name="connsiteY860" fmla="*/ 515580 h 1451770"/>
                <a:gd name="connsiteX861" fmla="*/ 832356 w 3773795"/>
                <a:gd name="connsiteY861" fmla="*/ 516818 h 1451770"/>
                <a:gd name="connsiteX862" fmla="*/ 830121 w 3773795"/>
                <a:gd name="connsiteY862" fmla="*/ 517459 h 1451770"/>
                <a:gd name="connsiteX863" fmla="*/ 819130 w 3773795"/>
                <a:gd name="connsiteY863" fmla="*/ 515159 h 1451770"/>
                <a:gd name="connsiteX864" fmla="*/ 818530 w 3773795"/>
                <a:gd name="connsiteY864" fmla="*/ 514805 h 1451770"/>
                <a:gd name="connsiteX865" fmla="*/ 817358 w 3773795"/>
                <a:gd name="connsiteY865" fmla="*/ 513117 h 1451770"/>
                <a:gd name="connsiteX866" fmla="*/ 816061 w 3773795"/>
                <a:gd name="connsiteY866" fmla="*/ 511859 h 1451770"/>
                <a:gd name="connsiteX867" fmla="*/ 813313 w 3773795"/>
                <a:gd name="connsiteY867" fmla="*/ 511645 h 1451770"/>
                <a:gd name="connsiteX868" fmla="*/ 810534 w 3773795"/>
                <a:gd name="connsiteY868" fmla="*/ 512423 h 1451770"/>
                <a:gd name="connsiteX869" fmla="*/ 812186 w 3773795"/>
                <a:gd name="connsiteY869" fmla="*/ 513949 h 1451770"/>
                <a:gd name="connsiteX870" fmla="*/ 814008 w 3773795"/>
                <a:gd name="connsiteY870" fmla="*/ 514421 h 1451770"/>
                <a:gd name="connsiteX871" fmla="*/ 817196 w 3773795"/>
                <a:gd name="connsiteY871" fmla="*/ 517282 h 1451770"/>
                <a:gd name="connsiteX872" fmla="*/ 815833 w 3773795"/>
                <a:gd name="connsiteY872" fmla="*/ 518368 h 1451770"/>
                <a:gd name="connsiteX873" fmla="*/ 814393 w 3773795"/>
                <a:gd name="connsiteY873" fmla="*/ 518505 h 1451770"/>
                <a:gd name="connsiteX874" fmla="*/ 807934 w 3773795"/>
                <a:gd name="connsiteY874" fmla="*/ 514705 h 1451770"/>
                <a:gd name="connsiteX875" fmla="*/ 807321 w 3773795"/>
                <a:gd name="connsiteY875" fmla="*/ 515175 h 1451770"/>
                <a:gd name="connsiteX876" fmla="*/ 806709 w 3773795"/>
                <a:gd name="connsiteY876" fmla="*/ 516288 h 1451770"/>
                <a:gd name="connsiteX877" fmla="*/ 803492 w 3773795"/>
                <a:gd name="connsiteY877" fmla="*/ 515050 h 1451770"/>
                <a:gd name="connsiteX878" fmla="*/ 802732 w 3773795"/>
                <a:gd name="connsiteY878" fmla="*/ 515969 h 1451770"/>
                <a:gd name="connsiteX879" fmla="*/ 800292 w 3773795"/>
                <a:gd name="connsiteY879" fmla="*/ 516400 h 1451770"/>
                <a:gd name="connsiteX880" fmla="*/ 798299 w 3773795"/>
                <a:gd name="connsiteY880" fmla="*/ 515345 h 1451770"/>
                <a:gd name="connsiteX881" fmla="*/ 798292 w 3773795"/>
                <a:gd name="connsiteY881" fmla="*/ 514008 h 1451770"/>
                <a:gd name="connsiteX882" fmla="*/ 797869 w 3773795"/>
                <a:gd name="connsiteY882" fmla="*/ 513329 h 1451770"/>
                <a:gd name="connsiteX883" fmla="*/ 787910 w 3773795"/>
                <a:gd name="connsiteY883" fmla="*/ 514378 h 1451770"/>
                <a:gd name="connsiteX884" fmla="*/ 783813 w 3773795"/>
                <a:gd name="connsiteY884" fmla="*/ 514349 h 1451770"/>
                <a:gd name="connsiteX885" fmla="*/ 779732 w 3773795"/>
                <a:gd name="connsiteY885" fmla="*/ 513893 h 1451770"/>
                <a:gd name="connsiteX886" fmla="*/ 774824 w 3773795"/>
                <a:gd name="connsiteY886" fmla="*/ 511335 h 1451770"/>
                <a:gd name="connsiteX887" fmla="*/ 774007 w 3773795"/>
                <a:gd name="connsiteY887" fmla="*/ 512484 h 1451770"/>
                <a:gd name="connsiteX888" fmla="*/ 773852 w 3773795"/>
                <a:gd name="connsiteY888" fmla="*/ 513814 h 1451770"/>
                <a:gd name="connsiteX889" fmla="*/ 771999 w 3773795"/>
                <a:gd name="connsiteY889" fmla="*/ 513283 h 1451770"/>
                <a:gd name="connsiteX890" fmla="*/ 767914 w 3773795"/>
                <a:gd name="connsiteY890" fmla="*/ 511222 h 1451770"/>
                <a:gd name="connsiteX891" fmla="*/ 764968 w 3773795"/>
                <a:gd name="connsiteY891" fmla="*/ 510409 h 1451770"/>
                <a:gd name="connsiteX892" fmla="*/ 754420 w 3773795"/>
                <a:gd name="connsiteY892" fmla="*/ 508417 h 1451770"/>
                <a:gd name="connsiteX893" fmla="*/ 746929 w 3773795"/>
                <a:gd name="connsiteY893" fmla="*/ 506039 h 1451770"/>
                <a:gd name="connsiteX894" fmla="*/ 748790 w 3773795"/>
                <a:gd name="connsiteY894" fmla="*/ 504949 h 1451770"/>
                <a:gd name="connsiteX895" fmla="*/ 752014 w 3773795"/>
                <a:gd name="connsiteY895" fmla="*/ 504382 h 1451770"/>
                <a:gd name="connsiteX896" fmla="*/ 752060 w 3773795"/>
                <a:gd name="connsiteY896" fmla="*/ 502923 h 1451770"/>
                <a:gd name="connsiteX897" fmla="*/ 751550 w 3773795"/>
                <a:gd name="connsiteY897" fmla="*/ 500911 h 1451770"/>
                <a:gd name="connsiteX898" fmla="*/ 751444 w 3773795"/>
                <a:gd name="connsiteY898" fmla="*/ 498826 h 1451770"/>
                <a:gd name="connsiteX899" fmla="*/ 753273 w 3773795"/>
                <a:gd name="connsiteY899" fmla="*/ 497426 h 1451770"/>
                <a:gd name="connsiteX900" fmla="*/ 757398 w 3773795"/>
                <a:gd name="connsiteY900" fmla="*/ 498093 h 1451770"/>
                <a:gd name="connsiteX901" fmla="*/ 756895 w 3773795"/>
                <a:gd name="connsiteY901" fmla="*/ 495815 h 1451770"/>
                <a:gd name="connsiteX902" fmla="*/ 758840 w 3773795"/>
                <a:gd name="connsiteY902" fmla="*/ 495374 h 1451770"/>
                <a:gd name="connsiteX903" fmla="*/ 762636 w 3773795"/>
                <a:gd name="connsiteY903" fmla="*/ 496685 h 1451770"/>
                <a:gd name="connsiteX904" fmla="*/ 764001 w 3773795"/>
                <a:gd name="connsiteY904" fmla="*/ 495864 h 1451770"/>
                <a:gd name="connsiteX905" fmla="*/ 758041 w 3773795"/>
                <a:gd name="connsiteY905" fmla="*/ 492996 h 1451770"/>
                <a:gd name="connsiteX906" fmla="*/ 751511 w 3773795"/>
                <a:gd name="connsiteY906" fmla="*/ 488920 h 1451770"/>
                <a:gd name="connsiteX907" fmla="*/ 752205 w 3773795"/>
                <a:gd name="connsiteY907" fmla="*/ 487453 h 1451770"/>
                <a:gd name="connsiteX908" fmla="*/ 749840 w 3773795"/>
                <a:gd name="connsiteY908" fmla="*/ 487056 h 1451770"/>
                <a:gd name="connsiteX909" fmla="*/ 747512 w 3773795"/>
                <a:gd name="connsiteY909" fmla="*/ 487153 h 1451770"/>
                <a:gd name="connsiteX910" fmla="*/ 745501 w 3773795"/>
                <a:gd name="connsiteY910" fmla="*/ 484750 h 1451770"/>
                <a:gd name="connsiteX911" fmla="*/ 745799 w 3773795"/>
                <a:gd name="connsiteY911" fmla="*/ 481567 h 1451770"/>
                <a:gd name="connsiteX912" fmla="*/ 747549 w 3773795"/>
                <a:gd name="connsiteY912" fmla="*/ 479409 h 1451770"/>
                <a:gd name="connsiteX913" fmla="*/ 746493 w 3773795"/>
                <a:gd name="connsiteY913" fmla="*/ 478938 h 1451770"/>
                <a:gd name="connsiteX914" fmla="*/ 736434 w 3773795"/>
                <a:gd name="connsiteY914" fmla="*/ 480842 h 1451770"/>
                <a:gd name="connsiteX915" fmla="*/ 731343 w 3773795"/>
                <a:gd name="connsiteY915" fmla="*/ 480408 h 1451770"/>
                <a:gd name="connsiteX916" fmla="*/ 725596 w 3773795"/>
                <a:gd name="connsiteY916" fmla="*/ 479133 h 1451770"/>
                <a:gd name="connsiteX917" fmla="*/ 720315 w 3773795"/>
                <a:gd name="connsiteY917" fmla="*/ 481037 h 1451770"/>
                <a:gd name="connsiteX918" fmla="*/ 714961 w 3773795"/>
                <a:gd name="connsiteY918" fmla="*/ 481671 h 1451770"/>
                <a:gd name="connsiteX919" fmla="*/ 712191 w 3773795"/>
                <a:gd name="connsiteY919" fmla="*/ 480993 h 1451770"/>
                <a:gd name="connsiteX920" fmla="*/ 709515 w 3773795"/>
                <a:gd name="connsiteY920" fmla="*/ 479612 h 1451770"/>
                <a:gd name="connsiteX921" fmla="*/ 707278 w 3773795"/>
                <a:gd name="connsiteY921" fmla="*/ 477732 h 1451770"/>
                <a:gd name="connsiteX922" fmla="*/ 705529 w 3773795"/>
                <a:gd name="connsiteY922" fmla="*/ 474584 h 1451770"/>
                <a:gd name="connsiteX923" fmla="*/ 703923 w 3773795"/>
                <a:gd name="connsiteY923" fmla="*/ 469305 h 1451770"/>
                <a:gd name="connsiteX924" fmla="*/ 703700 w 3773795"/>
                <a:gd name="connsiteY924" fmla="*/ 467303 h 1451770"/>
                <a:gd name="connsiteX925" fmla="*/ 704031 w 3773795"/>
                <a:gd name="connsiteY925" fmla="*/ 462824 h 1451770"/>
                <a:gd name="connsiteX926" fmla="*/ 704886 w 3773795"/>
                <a:gd name="connsiteY926" fmla="*/ 460952 h 1451770"/>
                <a:gd name="connsiteX927" fmla="*/ 707103 w 3773795"/>
                <a:gd name="connsiteY927" fmla="*/ 457178 h 1451770"/>
                <a:gd name="connsiteX928" fmla="*/ 708665 w 3773795"/>
                <a:gd name="connsiteY928" fmla="*/ 456012 h 1451770"/>
                <a:gd name="connsiteX929" fmla="*/ 712033 w 3773795"/>
                <a:gd name="connsiteY929" fmla="*/ 454243 h 1451770"/>
                <a:gd name="connsiteX930" fmla="*/ 713802 w 3773795"/>
                <a:gd name="connsiteY930" fmla="*/ 453784 h 1451770"/>
                <a:gd name="connsiteX931" fmla="*/ 717853 w 3773795"/>
                <a:gd name="connsiteY931" fmla="*/ 454698 h 1451770"/>
                <a:gd name="connsiteX932" fmla="*/ 721908 w 3773795"/>
                <a:gd name="connsiteY932" fmla="*/ 454756 h 1451770"/>
                <a:gd name="connsiteX933" fmla="*/ 723683 w 3773795"/>
                <a:gd name="connsiteY933" fmla="*/ 453754 h 1451770"/>
                <a:gd name="connsiteX934" fmla="*/ 725329 w 3773795"/>
                <a:gd name="connsiteY934" fmla="*/ 451982 h 1451770"/>
                <a:gd name="connsiteX935" fmla="*/ 726549 w 3773795"/>
                <a:gd name="connsiteY935" fmla="*/ 449675 h 1451770"/>
                <a:gd name="connsiteX936" fmla="*/ 729295 w 3773795"/>
                <a:gd name="connsiteY936" fmla="*/ 448359 h 1451770"/>
                <a:gd name="connsiteX937" fmla="*/ 730090 w 3773795"/>
                <a:gd name="connsiteY937" fmla="*/ 447656 h 1451770"/>
                <a:gd name="connsiteX938" fmla="*/ 730971 w 3773795"/>
                <a:gd name="connsiteY938" fmla="*/ 446164 h 1451770"/>
                <a:gd name="connsiteX939" fmla="*/ 731941 w 3773795"/>
                <a:gd name="connsiteY939" fmla="*/ 443914 h 1451770"/>
                <a:gd name="connsiteX940" fmla="*/ 732120 w 3773795"/>
                <a:gd name="connsiteY940" fmla="*/ 441998 h 1451770"/>
                <a:gd name="connsiteX941" fmla="*/ 732891 w 3773795"/>
                <a:gd name="connsiteY941" fmla="*/ 440081 h 1451770"/>
                <a:gd name="connsiteX942" fmla="*/ 735432 w 3773795"/>
                <a:gd name="connsiteY942" fmla="*/ 437288 h 1451770"/>
                <a:gd name="connsiteX943" fmla="*/ 734539 w 3773795"/>
                <a:gd name="connsiteY943" fmla="*/ 435557 h 1451770"/>
                <a:gd name="connsiteX944" fmla="*/ 734888 w 3773795"/>
                <a:gd name="connsiteY944" fmla="*/ 434385 h 1451770"/>
                <a:gd name="connsiteX945" fmla="*/ 736603 w 3773795"/>
                <a:gd name="connsiteY945" fmla="*/ 432309 h 1451770"/>
                <a:gd name="connsiteX946" fmla="*/ 731440 w 3773795"/>
                <a:gd name="connsiteY946" fmla="*/ 431746 h 1451770"/>
                <a:gd name="connsiteX947" fmla="*/ 729712 w 3773795"/>
                <a:gd name="connsiteY947" fmla="*/ 430835 h 1451770"/>
                <a:gd name="connsiteX948" fmla="*/ 728021 w 3773795"/>
                <a:gd name="connsiteY948" fmla="*/ 429439 h 1451770"/>
                <a:gd name="connsiteX949" fmla="*/ 728509 w 3773795"/>
                <a:gd name="connsiteY949" fmla="*/ 428130 h 1451770"/>
                <a:gd name="connsiteX950" fmla="*/ 729144 w 3773795"/>
                <a:gd name="connsiteY950" fmla="*/ 427172 h 1451770"/>
                <a:gd name="connsiteX951" fmla="*/ 734294 w 3773795"/>
                <a:gd name="connsiteY951" fmla="*/ 423645 h 1451770"/>
                <a:gd name="connsiteX952" fmla="*/ 736527 w 3773795"/>
                <a:gd name="connsiteY952" fmla="*/ 422606 h 1451770"/>
                <a:gd name="connsiteX953" fmla="*/ 738982 w 3773795"/>
                <a:gd name="connsiteY953" fmla="*/ 422032 h 1451770"/>
                <a:gd name="connsiteX954" fmla="*/ 741431 w 3773795"/>
                <a:gd name="connsiteY954" fmla="*/ 422046 h 1451770"/>
                <a:gd name="connsiteX955" fmla="*/ 744053 w 3773795"/>
                <a:gd name="connsiteY955" fmla="*/ 422445 h 1451770"/>
                <a:gd name="connsiteX956" fmla="*/ 746625 w 3773795"/>
                <a:gd name="connsiteY956" fmla="*/ 421898 h 1451770"/>
                <a:gd name="connsiteX957" fmla="*/ 743914 w 3773795"/>
                <a:gd name="connsiteY957" fmla="*/ 419521 h 1451770"/>
                <a:gd name="connsiteX958" fmla="*/ 743690 w 3773795"/>
                <a:gd name="connsiteY958" fmla="*/ 417916 h 1451770"/>
                <a:gd name="connsiteX959" fmla="*/ 742625 w 3773795"/>
                <a:gd name="connsiteY959" fmla="*/ 413994 h 1451770"/>
                <a:gd name="connsiteX960" fmla="*/ 742824 w 3773795"/>
                <a:gd name="connsiteY960" fmla="*/ 412151 h 1451770"/>
                <a:gd name="connsiteX961" fmla="*/ 744001 w 3773795"/>
                <a:gd name="connsiteY961" fmla="*/ 410651 h 1451770"/>
                <a:gd name="connsiteX962" fmla="*/ 746354 w 3773795"/>
                <a:gd name="connsiteY962" fmla="*/ 408887 h 1451770"/>
                <a:gd name="connsiteX963" fmla="*/ 749773 w 3773795"/>
                <a:gd name="connsiteY963" fmla="*/ 408301 h 1451770"/>
                <a:gd name="connsiteX964" fmla="*/ 752459 w 3773795"/>
                <a:gd name="connsiteY964" fmla="*/ 407373 h 1451770"/>
                <a:gd name="connsiteX965" fmla="*/ 755102 w 3773795"/>
                <a:gd name="connsiteY965" fmla="*/ 405971 h 1451770"/>
                <a:gd name="connsiteX966" fmla="*/ 757588 w 3773795"/>
                <a:gd name="connsiteY966" fmla="*/ 405729 h 1451770"/>
                <a:gd name="connsiteX967" fmla="*/ 762571 w 3773795"/>
                <a:gd name="connsiteY967" fmla="*/ 406684 h 1451770"/>
                <a:gd name="connsiteX968" fmla="*/ 765033 w 3773795"/>
                <a:gd name="connsiteY968" fmla="*/ 406477 h 1451770"/>
                <a:gd name="connsiteX969" fmla="*/ 767804 w 3773795"/>
                <a:gd name="connsiteY969" fmla="*/ 405708 h 1451770"/>
                <a:gd name="connsiteX970" fmla="*/ 775509 w 3773795"/>
                <a:gd name="connsiteY970" fmla="*/ 402707 h 1451770"/>
                <a:gd name="connsiteX971" fmla="*/ 1135143 w 3773795"/>
                <a:gd name="connsiteY971" fmla="*/ 396553 h 1451770"/>
                <a:gd name="connsiteX972" fmla="*/ 1136979 w 3773795"/>
                <a:gd name="connsiteY972" fmla="*/ 396988 h 1451770"/>
                <a:gd name="connsiteX973" fmla="*/ 1139587 w 3773795"/>
                <a:gd name="connsiteY973" fmla="*/ 398107 h 1451770"/>
                <a:gd name="connsiteX974" fmla="*/ 1141587 w 3773795"/>
                <a:gd name="connsiteY974" fmla="*/ 399396 h 1451770"/>
                <a:gd name="connsiteX975" fmla="*/ 1144230 w 3773795"/>
                <a:gd name="connsiteY975" fmla="*/ 402614 h 1451770"/>
                <a:gd name="connsiteX976" fmla="*/ 1146303 w 3773795"/>
                <a:gd name="connsiteY976" fmla="*/ 403896 h 1451770"/>
                <a:gd name="connsiteX977" fmla="*/ 1149501 w 3773795"/>
                <a:gd name="connsiteY977" fmla="*/ 406400 h 1451770"/>
                <a:gd name="connsiteX978" fmla="*/ 1150406 w 3773795"/>
                <a:gd name="connsiteY978" fmla="*/ 408877 h 1451770"/>
                <a:gd name="connsiteX979" fmla="*/ 1150311 w 3773795"/>
                <a:gd name="connsiteY979" fmla="*/ 411032 h 1451770"/>
                <a:gd name="connsiteX980" fmla="*/ 1144329 w 3773795"/>
                <a:gd name="connsiteY980" fmla="*/ 411520 h 1451770"/>
                <a:gd name="connsiteX981" fmla="*/ 1133960 w 3773795"/>
                <a:gd name="connsiteY981" fmla="*/ 413333 h 1451770"/>
                <a:gd name="connsiteX982" fmla="*/ 1129255 w 3773795"/>
                <a:gd name="connsiteY982" fmla="*/ 414374 h 1451770"/>
                <a:gd name="connsiteX983" fmla="*/ 1122764 w 3773795"/>
                <a:gd name="connsiteY983" fmla="*/ 416357 h 1451770"/>
                <a:gd name="connsiteX984" fmla="*/ 1120950 w 3773795"/>
                <a:gd name="connsiteY984" fmla="*/ 416510 h 1451770"/>
                <a:gd name="connsiteX985" fmla="*/ 1116976 w 3773795"/>
                <a:gd name="connsiteY985" fmla="*/ 416011 h 1451770"/>
                <a:gd name="connsiteX986" fmla="*/ 1115253 w 3773795"/>
                <a:gd name="connsiteY986" fmla="*/ 416820 h 1451770"/>
                <a:gd name="connsiteX987" fmla="*/ 1112586 w 3773795"/>
                <a:gd name="connsiteY987" fmla="*/ 414818 h 1451770"/>
                <a:gd name="connsiteX988" fmla="*/ 1112813 w 3773795"/>
                <a:gd name="connsiteY988" fmla="*/ 413038 h 1451770"/>
                <a:gd name="connsiteX989" fmla="*/ 1114035 w 3773795"/>
                <a:gd name="connsiteY989" fmla="*/ 411233 h 1451770"/>
                <a:gd name="connsiteX990" fmla="*/ 1114767 w 3773795"/>
                <a:gd name="connsiteY990" fmla="*/ 408898 h 1451770"/>
                <a:gd name="connsiteX991" fmla="*/ 1114262 w 3773795"/>
                <a:gd name="connsiteY991" fmla="*/ 403160 h 1451770"/>
                <a:gd name="connsiteX992" fmla="*/ 1117661 w 3773795"/>
                <a:gd name="connsiteY992" fmla="*/ 399525 h 1451770"/>
                <a:gd name="connsiteX993" fmla="*/ 1122092 w 3773795"/>
                <a:gd name="connsiteY993" fmla="*/ 398122 h 1451770"/>
                <a:gd name="connsiteX994" fmla="*/ 1252569 w 3773795"/>
                <a:gd name="connsiteY994" fmla="*/ 394807 h 1451770"/>
                <a:gd name="connsiteX995" fmla="*/ 1263743 w 3773795"/>
                <a:gd name="connsiteY995" fmla="*/ 399480 h 1451770"/>
                <a:gd name="connsiteX996" fmla="*/ 1261606 w 3773795"/>
                <a:gd name="connsiteY996" fmla="*/ 399748 h 1451770"/>
                <a:gd name="connsiteX997" fmla="*/ 1252210 w 3773795"/>
                <a:gd name="connsiteY997" fmla="*/ 398182 h 1451770"/>
                <a:gd name="connsiteX998" fmla="*/ 1248863 w 3773795"/>
                <a:gd name="connsiteY998" fmla="*/ 396165 h 1451770"/>
                <a:gd name="connsiteX999" fmla="*/ 1250111 w 3773795"/>
                <a:gd name="connsiteY999" fmla="*/ 394848 h 1451770"/>
                <a:gd name="connsiteX1000" fmla="*/ 1245481 w 3773795"/>
                <a:gd name="connsiteY1000" fmla="*/ 394022 h 1451770"/>
                <a:gd name="connsiteX1001" fmla="*/ 1247898 w 3773795"/>
                <a:gd name="connsiteY1001" fmla="*/ 394608 h 1451770"/>
                <a:gd name="connsiteX1002" fmla="*/ 1248166 w 3773795"/>
                <a:gd name="connsiteY1002" fmla="*/ 395063 h 1451770"/>
                <a:gd name="connsiteX1003" fmla="*/ 1244836 w 3773795"/>
                <a:gd name="connsiteY1003" fmla="*/ 397958 h 1451770"/>
                <a:gd name="connsiteX1004" fmla="*/ 1243203 w 3773795"/>
                <a:gd name="connsiteY1004" fmla="*/ 398911 h 1451770"/>
                <a:gd name="connsiteX1005" fmla="*/ 1236051 w 3773795"/>
                <a:gd name="connsiteY1005" fmla="*/ 399017 h 1451770"/>
                <a:gd name="connsiteX1006" fmla="*/ 1232527 w 3773795"/>
                <a:gd name="connsiteY1006" fmla="*/ 400056 h 1451770"/>
                <a:gd name="connsiteX1007" fmla="*/ 1233205 w 3773795"/>
                <a:gd name="connsiteY1007" fmla="*/ 398132 h 1451770"/>
                <a:gd name="connsiteX1008" fmla="*/ 1237511 w 3773795"/>
                <a:gd name="connsiteY1008" fmla="*/ 395432 h 1451770"/>
                <a:gd name="connsiteX1009" fmla="*/ 2704917 w 3773795"/>
                <a:gd name="connsiteY1009" fmla="*/ 379370 h 1451770"/>
                <a:gd name="connsiteX1010" fmla="*/ 2710512 w 3773795"/>
                <a:gd name="connsiteY1010" fmla="*/ 380191 h 1451770"/>
                <a:gd name="connsiteX1011" fmla="*/ 2716045 w 3773795"/>
                <a:gd name="connsiteY1011" fmla="*/ 382100 h 1451770"/>
                <a:gd name="connsiteX1012" fmla="*/ 2720558 w 3773795"/>
                <a:gd name="connsiteY1012" fmla="*/ 384185 h 1451770"/>
                <a:gd name="connsiteX1013" fmla="*/ 2736138 w 3773795"/>
                <a:gd name="connsiteY1013" fmla="*/ 394231 h 1451770"/>
                <a:gd name="connsiteX1014" fmla="*/ 2737619 w 3773795"/>
                <a:gd name="connsiteY1014" fmla="*/ 396277 h 1451770"/>
                <a:gd name="connsiteX1015" fmla="*/ 2738796 w 3773795"/>
                <a:gd name="connsiteY1015" fmla="*/ 398922 h 1451770"/>
                <a:gd name="connsiteX1016" fmla="*/ 2739400 w 3773795"/>
                <a:gd name="connsiteY1016" fmla="*/ 407959 h 1451770"/>
                <a:gd name="connsiteX1017" fmla="*/ 2738520 w 3773795"/>
                <a:gd name="connsiteY1017" fmla="*/ 408602 h 1451770"/>
                <a:gd name="connsiteX1018" fmla="*/ 2732810 w 3773795"/>
                <a:gd name="connsiteY1018" fmla="*/ 409049 h 1451770"/>
                <a:gd name="connsiteX1019" fmla="*/ 2725034 w 3773795"/>
                <a:gd name="connsiteY1019" fmla="*/ 408028 h 1451770"/>
                <a:gd name="connsiteX1020" fmla="*/ 2719403 w 3773795"/>
                <a:gd name="connsiteY1020" fmla="*/ 407667 h 1451770"/>
                <a:gd name="connsiteX1021" fmla="*/ 2713991 w 3773795"/>
                <a:gd name="connsiteY1021" fmla="*/ 407686 h 1451770"/>
                <a:gd name="connsiteX1022" fmla="*/ 2709219 w 3773795"/>
                <a:gd name="connsiteY1022" fmla="*/ 406463 h 1451770"/>
                <a:gd name="connsiteX1023" fmla="*/ 2697507 w 3773795"/>
                <a:gd name="connsiteY1023" fmla="*/ 405224 h 1451770"/>
                <a:gd name="connsiteX1024" fmla="*/ 2688353 w 3773795"/>
                <a:gd name="connsiteY1024" fmla="*/ 401891 h 1451770"/>
                <a:gd name="connsiteX1025" fmla="*/ 2678873 w 3773795"/>
                <a:gd name="connsiteY1025" fmla="*/ 399469 h 1451770"/>
                <a:gd name="connsiteX1026" fmla="*/ 2676856 w 3773795"/>
                <a:gd name="connsiteY1026" fmla="*/ 399215 h 1451770"/>
                <a:gd name="connsiteX1027" fmla="*/ 2670879 w 3773795"/>
                <a:gd name="connsiteY1027" fmla="*/ 399925 h 1451770"/>
                <a:gd name="connsiteX1028" fmla="*/ 2662796 w 3773795"/>
                <a:gd name="connsiteY1028" fmla="*/ 403073 h 1451770"/>
                <a:gd name="connsiteX1029" fmla="*/ 2660545 w 3773795"/>
                <a:gd name="connsiteY1029" fmla="*/ 403337 h 1451770"/>
                <a:gd name="connsiteX1030" fmla="*/ 2657459 w 3773795"/>
                <a:gd name="connsiteY1030" fmla="*/ 403337 h 1451770"/>
                <a:gd name="connsiteX1031" fmla="*/ 2655247 w 3773795"/>
                <a:gd name="connsiteY1031" fmla="*/ 400335 h 1451770"/>
                <a:gd name="connsiteX1032" fmla="*/ 2660434 w 3773795"/>
                <a:gd name="connsiteY1032" fmla="*/ 399361 h 1451770"/>
                <a:gd name="connsiteX1033" fmla="*/ 2665632 w 3773795"/>
                <a:gd name="connsiteY1033" fmla="*/ 398980 h 1451770"/>
                <a:gd name="connsiteX1034" fmla="*/ 2670618 w 3773795"/>
                <a:gd name="connsiteY1034" fmla="*/ 397893 h 1451770"/>
                <a:gd name="connsiteX1035" fmla="*/ 2675325 w 3773795"/>
                <a:gd name="connsiteY1035" fmla="*/ 394410 h 1451770"/>
                <a:gd name="connsiteX1036" fmla="*/ 2677623 w 3773795"/>
                <a:gd name="connsiteY1036" fmla="*/ 391646 h 1451770"/>
                <a:gd name="connsiteX1037" fmla="*/ 2681743 w 3773795"/>
                <a:gd name="connsiteY1037" fmla="*/ 385283 h 1451770"/>
                <a:gd name="connsiteX1038" fmla="*/ 2683950 w 3773795"/>
                <a:gd name="connsiteY1038" fmla="*/ 382961 h 1451770"/>
                <a:gd name="connsiteX1039" fmla="*/ 2686186 w 3773795"/>
                <a:gd name="connsiteY1039" fmla="*/ 381484 h 1451770"/>
                <a:gd name="connsiteX1040" fmla="*/ 2688513 w 3773795"/>
                <a:gd name="connsiteY1040" fmla="*/ 381028 h 1451770"/>
                <a:gd name="connsiteX1041" fmla="*/ 2691209 w 3773795"/>
                <a:gd name="connsiteY1041" fmla="*/ 381226 h 1451770"/>
                <a:gd name="connsiteX1042" fmla="*/ 2699392 w 3773795"/>
                <a:gd name="connsiteY1042" fmla="*/ 379833 h 1451770"/>
                <a:gd name="connsiteX1043" fmla="*/ 2317908 w 3773795"/>
                <a:gd name="connsiteY1043" fmla="*/ 378160 h 1451770"/>
                <a:gd name="connsiteX1044" fmla="*/ 2320517 w 3773795"/>
                <a:gd name="connsiteY1044" fmla="*/ 378556 h 1451770"/>
                <a:gd name="connsiteX1045" fmla="*/ 2322490 w 3773795"/>
                <a:gd name="connsiteY1045" fmla="*/ 379997 h 1451770"/>
                <a:gd name="connsiteX1046" fmla="*/ 2322844 w 3773795"/>
                <a:gd name="connsiteY1046" fmla="*/ 380529 h 1451770"/>
                <a:gd name="connsiteX1047" fmla="*/ 2320413 w 3773795"/>
                <a:gd name="connsiteY1047" fmla="*/ 382163 h 1451770"/>
                <a:gd name="connsiteX1048" fmla="*/ 2319059 w 3773795"/>
                <a:gd name="connsiteY1048" fmla="*/ 382257 h 1451770"/>
                <a:gd name="connsiteX1049" fmla="*/ 2316509 w 3773795"/>
                <a:gd name="connsiteY1049" fmla="*/ 381108 h 1451770"/>
                <a:gd name="connsiteX1050" fmla="*/ 2315831 w 3773795"/>
                <a:gd name="connsiteY1050" fmla="*/ 379570 h 1451770"/>
                <a:gd name="connsiteX1051" fmla="*/ 2315848 w 3773795"/>
                <a:gd name="connsiteY1051" fmla="*/ 378792 h 1451770"/>
                <a:gd name="connsiteX1052" fmla="*/ 1405122 w 3773795"/>
                <a:gd name="connsiteY1052" fmla="*/ 369142 h 1451770"/>
                <a:gd name="connsiteX1053" fmla="*/ 1413164 w 3773795"/>
                <a:gd name="connsiteY1053" fmla="*/ 370409 h 1451770"/>
                <a:gd name="connsiteX1054" fmla="*/ 1415483 w 3773795"/>
                <a:gd name="connsiteY1054" fmla="*/ 371834 h 1451770"/>
                <a:gd name="connsiteX1055" fmla="*/ 1413950 w 3773795"/>
                <a:gd name="connsiteY1055" fmla="*/ 372598 h 1451770"/>
                <a:gd name="connsiteX1056" fmla="*/ 1412773 w 3773795"/>
                <a:gd name="connsiteY1056" fmla="*/ 373608 h 1451770"/>
                <a:gd name="connsiteX1057" fmla="*/ 1411760 w 3773795"/>
                <a:gd name="connsiteY1057" fmla="*/ 373468 h 1451770"/>
                <a:gd name="connsiteX1058" fmla="*/ 1410890 w 3773795"/>
                <a:gd name="connsiteY1058" fmla="*/ 373992 h 1451770"/>
                <a:gd name="connsiteX1059" fmla="*/ 1405326 w 3773795"/>
                <a:gd name="connsiteY1059" fmla="*/ 372444 h 1451770"/>
                <a:gd name="connsiteX1060" fmla="*/ 1397781 w 3773795"/>
                <a:gd name="connsiteY1060" fmla="*/ 371741 h 1451770"/>
                <a:gd name="connsiteX1061" fmla="*/ 1399664 w 3773795"/>
                <a:gd name="connsiteY1061" fmla="*/ 370126 h 1451770"/>
                <a:gd name="connsiteX1062" fmla="*/ 1391320 w 3773795"/>
                <a:gd name="connsiteY1062" fmla="*/ 368717 h 1451770"/>
                <a:gd name="connsiteX1063" fmla="*/ 1393209 w 3773795"/>
                <a:gd name="connsiteY1063" fmla="*/ 369275 h 1451770"/>
                <a:gd name="connsiteX1064" fmla="*/ 1394933 w 3773795"/>
                <a:gd name="connsiteY1064" fmla="*/ 370891 h 1451770"/>
                <a:gd name="connsiteX1065" fmla="*/ 1395397 w 3773795"/>
                <a:gd name="connsiteY1065" fmla="*/ 371773 h 1451770"/>
                <a:gd name="connsiteX1066" fmla="*/ 1393248 w 3773795"/>
                <a:gd name="connsiteY1066" fmla="*/ 373262 h 1451770"/>
                <a:gd name="connsiteX1067" fmla="*/ 1390271 w 3773795"/>
                <a:gd name="connsiteY1067" fmla="*/ 372425 h 1451770"/>
                <a:gd name="connsiteX1068" fmla="*/ 1388135 w 3773795"/>
                <a:gd name="connsiteY1068" fmla="*/ 371411 h 1451770"/>
                <a:gd name="connsiteX1069" fmla="*/ 1386982 w 3773795"/>
                <a:gd name="connsiteY1069" fmla="*/ 370031 h 1451770"/>
                <a:gd name="connsiteX1070" fmla="*/ 1388154 w 3773795"/>
                <a:gd name="connsiteY1070" fmla="*/ 369243 h 1451770"/>
                <a:gd name="connsiteX1071" fmla="*/ 2560197 w 3773795"/>
                <a:gd name="connsiteY1071" fmla="*/ 364726 h 1451770"/>
                <a:gd name="connsiteX1072" fmla="*/ 2565533 w 3773795"/>
                <a:gd name="connsiteY1072" fmla="*/ 366179 h 1451770"/>
                <a:gd name="connsiteX1073" fmla="*/ 2574566 w 3773795"/>
                <a:gd name="connsiteY1073" fmla="*/ 371796 h 1451770"/>
                <a:gd name="connsiteX1074" fmla="*/ 2579483 w 3773795"/>
                <a:gd name="connsiteY1074" fmla="*/ 376350 h 1451770"/>
                <a:gd name="connsiteX1075" fmla="*/ 2578119 w 3773795"/>
                <a:gd name="connsiteY1075" fmla="*/ 379427 h 1451770"/>
                <a:gd name="connsiteX1076" fmla="*/ 2576442 w 3773795"/>
                <a:gd name="connsiteY1076" fmla="*/ 380660 h 1451770"/>
                <a:gd name="connsiteX1077" fmla="*/ 2574890 w 3773795"/>
                <a:gd name="connsiteY1077" fmla="*/ 378760 h 1451770"/>
                <a:gd name="connsiteX1078" fmla="*/ 2567440 w 3773795"/>
                <a:gd name="connsiteY1078" fmla="*/ 373128 h 1451770"/>
                <a:gd name="connsiteX1079" fmla="*/ 2565646 w 3773795"/>
                <a:gd name="connsiteY1079" fmla="*/ 370449 h 1451770"/>
                <a:gd name="connsiteX1080" fmla="*/ 2561560 w 3773795"/>
                <a:gd name="connsiteY1080" fmla="*/ 367925 h 1451770"/>
                <a:gd name="connsiteX1081" fmla="*/ 2560538 w 3773795"/>
                <a:gd name="connsiteY1081" fmla="*/ 366970 h 1451770"/>
                <a:gd name="connsiteX1082" fmla="*/ 2680978 w 3773795"/>
                <a:gd name="connsiteY1082" fmla="*/ 363840 h 1451770"/>
                <a:gd name="connsiteX1083" fmla="*/ 2683082 w 3773795"/>
                <a:gd name="connsiteY1083" fmla="*/ 364237 h 1451770"/>
                <a:gd name="connsiteX1084" fmla="*/ 2685166 w 3773795"/>
                <a:gd name="connsiteY1084" fmla="*/ 365189 h 1451770"/>
                <a:gd name="connsiteX1085" fmla="*/ 2686070 w 3773795"/>
                <a:gd name="connsiteY1085" fmla="*/ 366639 h 1451770"/>
                <a:gd name="connsiteX1086" fmla="*/ 2686468 w 3773795"/>
                <a:gd name="connsiteY1086" fmla="*/ 368439 h 1451770"/>
                <a:gd name="connsiteX1087" fmla="*/ 2685349 w 3773795"/>
                <a:gd name="connsiteY1087" fmla="*/ 373523 h 1451770"/>
                <a:gd name="connsiteX1088" fmla="*/ 2684539 w 3773795"/>
                <a:gd name="connsiteY1088" fmla="*/ 375724 h 1451770"/>
                <a:gd name="connsiteX1089" fmla="*/ 2673417 w 3773795"/>
                <a:gd name="connsiteY1089" fmla="*/ 379210 h 1451770"/>
                <a:gd name="connsiteX1090" fmla="*/ 2671255 w 3773795"/>
                <a:gd name="connsiteY1090" fmla="*/ 379080 h 1451770"/>
                <a:gd name="connsiteX1091" fmla="*/ 2666251 w 3773795"/>
                <a:gd name="connsiteY1091" fmla="*/ 375502 h 1451770"/>
                <a:gd name="connsiteX1092" fmla="*/ 2664446 w 3773795"/>
                <a:gd name="connsiteY1092" fmla="*/ 367725 h 1451770"/>
                <a:gd name="connsiteX1093" fmla="*/ 2666481 w 3773795"/>
                <a:gd name="connsiteY1093" fmla="*/ 365450 h 1451770"/>
                <a:gd name="connsiteX1094" fmla="*/ 2668841 w 3773795"/>
                <a:gd name="connsiteY1094" fmla="*/ 364559 h 1451770"/>
                <a:gd name="connsiteX1095" fmla="*/ 2671209 w 3773795"/>
                <a:gd name="connsiteY1095" fmla="*/ 364158 h 1451770"/>
                <a:gd name="connsiteX1096" fmla="*/ 1443223 w 3773795"/>
                <a:gd name="connsiteY1096" fmla="*/ 353303 h 1451770"/>
                <a:gd name="connsiteX1097" fmla="*/ 1440705 w 3773795"/>
                <a:gd name="connsiteY1097" fmla="*/ 355753 h 1451770"/>
                <a:gd name="connsiteX1098" fmla="*/ 1439632 w 3773795"/>
                <a:gd name="connsiteY1098" fmla="*/ 358354 h 1451770"/>
                <a:gd name="connsiteX1099" fmla="*/ 1433406 w 3773795"/>
                <a:gd name="connsiteY1099" fmla="*/ 357023 h 1451770"/>
                <a:gd name="connsiteX1100" fmla="*/ 1432534 w 3773795"/>
                <a:gd name="connsiteY1100" fmla="*/ 355971 h 1451770"/>
                <a:gd name="connsiteX1101" fmla="*/ 1435870 w 3773795"/>
                <a:gd name="connsiteY1101" fmla="*/ 354399 h 1451770"/>
                <a:gd name="connsiteX1102" fmla="*/ 1438956 w 3773795"/>
                <a:gd name="connsiteY1102" fmla="*/ 353441 h 1451770"/>
                <a:gd name="connsiteX1103" fmla="*/ 2044929 w 3773795"/>
                <a:gd name="connsiteY1103" fmla="*/ 351840 h 1451770"/>
                <a:gd name="connsiteX1104" fmla="*/ 2064107 w 3773795"/>
                <a:gd name="connsiteY1104" fmla="*/ 354873 h 1451770"/>
                <a:gd name="connsiteX1105" fmla="*/ 2071503 w 3773795"/>
                <a:gd name="connsiteY1105" fmla="*/ 356557 h 1451770"/>
                <a:gd name="connsiteX1106" fmla="*/ 2073735 w 3773795"/>
                <a:gd name="connsiteY1106" fmla="*/ 358327 h 1451770"/>
                <a:gd name="connsiteX1107" fmla="*/ 2072982 w 3773795"/>
                <a:gd name="connsiteY1107" fmla="*/ 360394 h 1451770"/>
                <a:gd name="connsiteX1108" fmla="*/ 2071790 w 3773795"/>
                <a:gd name="connsiteY1108" fmla="*/ 361954 h 1451770"/>
                <a:gd name="connsiteX1109" fmla="*/ 2070898 w 3773795"/>
                <a:gd name="connsiteY1109" fmla="*/ 363887 h 1451770"/>
                <a:gd name="connsiteX1110" fmla="*/ 2069380 w 3773795"/>
                <a:gd name="connsiteY1110" fmla="*/ 365338 h 1451770"/>
                <a:gd name="connsiteX1111" fmla="*/ 2064679 w 3773795"/>
                <a:gd name="connsiteY1111" fmla="*/ 367181 h 1451770"/>
                <a:gd name="connsiteX1112" fmla="*/ 2061001 w 3773795"/>
                <a:gd name="connsiteY1112" fmla="*/ 371251 h 1451770"/>
                <a:gd name="connsiteX1113" fmla="*/ 2060363 w 3773795"/>
                <a:gd name="connsiteY1113" fmla="*/ 371591 h 1451770"/>
                <a:gd name="connsiteX1114" fmla="*/ 2047391 w 3773795"/>
                <a:gd name="connsiteY1114" fmla="*/ 369375 h 1451770"/>
                <a:gd name="connsiteX1115" fmla="*/ 2045384 w 3773795"/>
                <a:gd name="connsiteY1115" fmla="*/ 368638 h 1451770"/>
                <a:gd name="connsiteX1116" fmla="*/ 2041118 w 3773795"/>
                <a:gd name="connsiteY1116" fmla="*/ 366209 h 1451770"/>
                <a:gd name="connsiteX1117" fmla="*/ 2035167 w 3773795"/>
                <a:gd name="connsiteY1117" fmla="*/ 363876 h 1451770"/>
                <a:gd name="connsiteX1118" fmla="*/ 2032081 w 3773795"/>
                <a:gd name="connsiteY1118" fmla="*/ 360390 h 1451770"/>
                <a:gd name="connsiteX1119" fmla="*/ 2033556 w 3773795"/>
                <a:gd name="connsiteY1119" fmla="*/ 359727 h 1451770"/>
                <a:gd name="connsiteX1120" fmla="*/ 2035046 w 3773795"/>
                <a:gd name="connsiteY1120" fmla="*/ 359465 h 1451770"/>
                <a:gd name="connsiteX1121" fmla="*/ 2040403 w 3773795"/>
                <a:gd name="connsiteY1121" fmla="*/ 359922 h 1451770"/>
                <a:gd name="connsiteX1122" fmla="*/ 2041938 w 3773795"/>
                <a:gd name="connsiteY1122" fmla="*/ 358835 h 1451770"/>
                <a:gd name="connsiteX1123" fmla="*/ 2042682 w 3773795"/>
                <a:gd name="connsiteY1123" fmla="*/ 355890 h 1451770"/>
                <a:gd name="connsiteX1124" fmla="*/ 2042826 w 3773795"/>
                <a:gd name="connsiteY1124" fmla="*/ 354145 h 1451770"/>
                <a:gd name="connsiteX1125" fmla="*/ 2043230 w 3773795"/>
                <a:gd name="connsiteY1125" fmla="*/ 352812 h 1451770"/>
                <a:gd name="connsiteX1126" fmla="*/ 1481535 w 3773795"/>
                <a:gd name="connsiteY1126" fmla="*/ 332319 h 1451770"/>
                <a:gd name="connsiteX1127" fmla="*/ 1482588 w 3773795"/>
                <a:gd name="connsiteY1127" fmla="*/ 332828 h 1451770"/>
                <a:gd name="connsiteX1128" fmla="*/ 1484445 w 3773795"/>
                <a:gd name="connsiteY1128" fmla="*/ 333637 h 1451770"/>
                <a:gd name="connsiteX1129" fmla="*/ 1490271 w 3773795"/>
                <a:gd name="connsiteY1129" fmla="*/ 332358 h 1451770"/>
                <a:gd name="connsiteX1130" fmla="*/ 1491412 w 3773795"/>
                <a:gd name="connsiteY1130" fmla="*/ 332772 h 1451770"/>
                <a:gd name="connsiteX1131" fmla="*/ 1493007 w 3773795"/>
                <a:gd name="connsiteY1131" fmla="*/ 334657 h 1451770"/>
                <a:gd name="connsiteX1132" fmla="*/ 1490518 w 3773795"/>
                <a:gd name="connsiteY1132" fmla="*/ 338098 h 1451770"/>
                <a:gd name="connsiteX1133" fmla="*/ 1488648 w 3773795"/>
                <a:gd name="connsiteY1133" fmla="*/ 339471 h 1451770"/>
                <a:gd name="connsiteX1134" fmla="*/ 1483448 w 3773795"/>
                <a:gd name="connsiteY1134" fmla="*/ 338699 h 1451770"/>
                <a:gd name="connsiteX1135" fmla="*/ 1476782 w 3773795"/>
                <a:gd name="connsiteY1135" fmla="*/ 338584 h 1451770"/>
                <a:gd name="connsiteX1136" fmla="*/ 1473864 w 3773795"/>
                <a:gd name="connsiteY1136" fmla="*/ 336705 h 1451770"/>
                <a:gd name="connsiteX1137" fmla="*/ 1475458 w 3773795"/>
                <a:gd name="connsiteY1137" fmla="*/ 334699 h 1451770"/>
                <a:gd name="connsiteX1138" fmla="*/ 1479302 w 3773795"/>
                <a:gd name="connsiteY1138" fmla="*/ 333506 h 1451770"/>
                <a:gd name="connsiteX1139" fmla="*/ 1383361 w 3773795"/>
                <a:gd name="connsiteY1139" fmla="*/ 309055 h 1451770"/>
                <a:gd name="connsiteX1140" fmla="*/ 1383509 w 3773795"/>
                <a:gd name="connsiteY1140" fmla="*/ 313360 h 1451770"/>
                <a:gd name="connsiteX1141" fmla="*/ 1384315 w 3773795"/>
                <a:gd name="connsiteY1141" fmla="*/ 314808 h 1451770"/>
                <a:gd name="connsiteX1142" fmla="*/ 1384598 w 3773795"/>
                <a:gd name="connsiteY1142" fmla="*/ 316433 h 1451770"/>
                <a:gd name="connsiteX1143" fmla="*/ 1383663 w 3773795"/>
                <a:gd name="connsiteY1143" fmla="*/ 316949 h 1451770"/>
                <a:gd name="connsiteX1144" fmla="*/ 1380806 w 3773795"/>
                <a:gd name="connsiteY1144" fmla="*/ 316860 h 1451770"/>
                <a:gd name="connsiteX1145" fmla="*/ 1379223 w 3773795"/>
                <a:gd name="connsiteY1145" fmla="*/ 321040 h 1451770"/>
                <a:gd name="connsiteX1146" fmla="*/ 1377599 w 3773795"/>
                <a:gd name="connsiteY1146" fmla="*/ 320342 h 1451770"/>
                <a:gd name="connsiteX1147" fmla="*/ 1376614 w 3773795"/>
                <a:gd name="connsiteY1147" fmla="*/ 317950 h 1451770"/>
                <a:gd name="connsiteX1148" fmla="*/ 1373013 w 3773795"/>
                <a:gd name="connsiteY1148" fmla="*/ 319553 h 1451770"/>
                <a:gd name="connsiteX1149" fmla="*/ 1372065 w 3773795"/>
                <a:gd name="connsiteY1149" fmla="*/ 319179 h 1451770"/>
                <a:gd name="connsiteX1150" fmla="*/ 1370395 w 3773795"/>
                <a:gd name="connsiteY1150" fmla="*/ 317306 h 1451770"/>
                <a:gd name="connsiteX1151" fmla="*/ 1369353 w 3773795"/>
                <a:gd name="connsiteY1151" fmla="*/ 316923 h 1451770"/>
                <a:gd name="connsiteX1152" fmla="*/ 1368655 w 3773795"/>
                <a:gd name="connsiteY1152" fmla="*/ 315657 h 1451770"/>
                <a:gd name="connsiteX1153" fmla="*/ 1373332 w 3773795"/>
                <a:gd name="connsiteY1153" fmla="*/ 311928 h 1451770"/>
                <a:gd name="connsiteX1154" fmla="*/ 1376209 w 3773795"/>
                <a:gd name="connsiteY1154" fmla="*/ 313911 h 1451770"/>
                <a:gd name="connsiteX1155" fmla="*/ 1378074 w 3773795"/>
                <a:gd name="connsiteY1155" fmla="*/ 313781 h 1451770"/>
                <a:gd name="connsiteX1156" fmla="*/ 1377703 w 3773795"/>
                <a:gd name="connsiteY1156" fmla="*/ 311544 h 1451770"/>
                <a:gd name="connsiteX1157" fmla="*/ 1377770 w 3773795"/>
                <a:gd name="connsiteY1157" fmla="*/ 309857 h 1451770"/>
                <a:gd name="connsiteX1158" fmla="*/ 1380182 w 3773795"/>
                <a:gd name="connsiteY1158" fmla="*/ 309151 h 1451770"/>
                <a:gd name="connsiteX1159" fmla="*/ 2806758 w 3773795"/>
                <a:gd name="connsiteY1159" fmla="*/ 306089 h 1451770"/>
                <a:gd name="connsiteX1160" fmla="*/ 2811479 w 3773795"/>
                <a:gd name="connsiteY1160" fmla="*/ 309286 h 1451770"/>
                <a:gd name="connsiteX1161" fmla="*/ 2811418 w 3773795"/>
                <a:gd name="connsiteY1161" fmla="*/ 312945 h 1451770"/>
                <a:gd name="connsiteX1162" fmla="*/ 2812457 w 3773795"/>
                <a:gd name="connsiteY1162" fmla="*/ 315531 h 1451770"/>
                <a:gd name="connsiteX1163" fmla="*/ 2818319 w 3773795"/>
                <a:gd name="connsiteY1163" fmla="*/ 315819 h 1451770"/>
                <a:gd name="connsiteX1164" fmla="*/ 2826793 w 3773795"/>
                <a:gd name="connsiteY1164" fmla="*/ 312528 h 1451770"/>
                <a:gd name="connsiteX1165" fmla="*/ 2827975 w 3773795"/>
                <a:gd name="connsiteY1165" fmla="*/ 312415 h 1451770"/>
                <a:gd name="connsiteX1166" fmla="*/ 2848659 w 3773795"/>
                <a:gd name="connsiteY1166" fmla="*/ 313621 h 1451770"/>
                <a:gd name="connsiteX1167" fmla="*/ 2850350 w 3773795"/>
                <a:gd name="connsiteY1167" fmla="*/ 314786 h 1451770"/>
                <a:gd name="connsiteX1168" fmla="*/ 2850570 w 3773795"/>
                <a:gd name="connsiteY1168" fmla="*/ 317060 h 1451770"/>
                <a:gd name="connsiteX1169" fmla="*/ 2849914 w 3773795"/>
                <a:gd name="connsiteY1169" fmla="*/ 318268 h 1451770"/>
                <a:gd name="connsiteX1170" fmla="*/ 2849601 w 3773795"/>
                <a:gd name="connsiteY1170" fmla="*/ 319914 h 1451770"/>
                <a:gd name="connsiteX1171" fmla="*/ 2852147 w 3773795"/>
                <a:gd name="connsiteY1171" fmla="*/ 321518 h 1451770"/>
                <a:gd name="connsiteX1172" fmla="*/ 2858826 w 3773795"/>
                <a:gd name="connsiteY1172" fmla="*/ 321885 h 1451770"/>
                <a:gd name="connsiteX1173" fmla="*/ 2863049 w 3773795"/>
                <a:gd name="connsiteY1173" fmla="*/ 320375 h 1451770"/>
                <a:gd name="connsiteX1174" fmla="*/ 2875479 w 3773795"/>
                <a:gd name="connsiteY1174" fmla="*/ 321153 h 1451770"/>
                <a:gd name="connsiteX1175" fmla="*/ 2885619 w 3773795"/>
                <a:gd name="connsiteY1175" fmla="*/ 322280 h 1451770"/>
                <a:gd name="connsiteX1176" fmla="*/ 2889528 w 3773795"/>
                <a:gd name="connsiteY1176" fmla="*/ 324733 h 1451770"/>
                <a:gd name="connsiteX1177" fmla="*/ 2892547 w 3773795"/>
                <a:gd name="connsiteY1177" fmla="*/ 326051 h 1451770"/>
                <a:gd name="connsiteX1178" fmla="*/ 2895054 w 3773795"/>
                <a:gd name="connsiteY1178" fmla="*/ 327580 h 1451770"/>
                <a:gd name="connsiteX1179" fmla="*/ 2896874 w 3773795"/>
                <a:gd name="connsiteY1179" fmla="*/ 326679 h 1451770"/>
                <a:gd name="connsiteX1180" fmla="*/ 2898587 w 3773795"/>
                <a:gd name="connsiteY1180" fmla="*/ 325120 h 1451770"/>
                <a:gd name="connsiteX1181" fmla="*/ 2900059 w 3773795"/>
                <a:gd name="connsiteY1181" fmla="*/ 324805 h 1451770"/>
                <a:gd name="connsiteX1182" fmla="*/ 2901506 w 3773795"/>
                <a:gd name="connsiteY1182" fmla="*/ 325065 h 1451770"/>
                <a:gd name="connsiteX1183" fmla="*/ 2897612 w 3773795"/>
                <a:gd name="connsiteY1183" fmla="*/ 334451 h 1451770"/>
                <a:gd name="connsiteX1184" fmla="*/ 2896153 w 3773795"/>
                <a:gd name="connsiteY1184" fmla="*/ 335583 h 1451770"/>
                <a:gd name="connsiteX1185" fmla="*/ 2890646 w 3773795"/>
                <a:gd name="connsiteY1185" fmla="*/ 337883 h 1451770"/>
                <a:gd name="connsiteX1186" fmla="*/ 2879741 w 3773795"/>
                <a:gd name="connsiteY1186" fmla="*/ 341031 h 1451770"/>
                <a:gd name="connsiteX1187" fmla="*/ 2874408 w 3773795"/>
                <a:gd name="connsiteY1187" fmla="*/ 342030 h 1451770"/>
                <a:gd name="connsiteX1188" fmla="*/ 2862320 w 3773795"/>
                <a:gd name="connsiteY1188" fmla="*/ 342037 h 1451770"/>
                <a:gd name="connsiteX1189" fmla="*/ 2845662 w 3773795"/>
                <a:gd name="connsiteY1189" fmla="*/ 340806 h 1451770"/>
                <a:gd name="connsiteX1190" fmla="*/ 2841140 w 3773795"/>
                <a:gd name="connsiteY1190" fmla="*/ 339694 h 1451770"/>
                <a:gd name="connsiteX1191" fmla="*/ 2838476 w 3773795"/>
                <a:gd name="connsiteY1191" fmla="*/ 338300 h 1451770"/>
                <a:gd name="connsiteX1192" fmla="*/ 2833369 w 3773795"/>
                <a:gd name="connsiteY1192" fmla="*/ 335007 h 1451770"/>
                <a:gd name="connsiteX1193" fmla="*/ 2830847 w 3773795"/>
                <a:gd name="connsiteY1193" fmla="*/ 333816 h 1451770"/>
                <a:gd name="connsiteX1194" fmla="*/ 2822669 w 3773795"/>
                <a:gd name="connsiteY1194" fmla="*/ 332697 h 1451770"/>
                <a:gd name="connsiteX1195" fmla="*/ 2820171 w 3773795"/>
                <a:gd name="connsiteY1195" fmla="*/ 332071 h 1451770"/>
                <a:gd name="connsiteX1196" fmla="*/ 2815324 w 3773795"/>
                <a:gd name="connsiteY1196" fmla="*/ 329235 h 1451770"/>
                <a:gd name="connsiteX1197" fmla="*/ 2810425 w 3773795"/>
                <a:gd name="connsiteY1197" fmla="*/ 326943 h 1451770"/>
                <a:gd name="connsiteX1198" fmla="*/ 2798158 w 3773795"/>
                <a:gd name="connsiteY1198" fmla="*/ 323211 h 1451770"/>
                <a:gd name="connsiteX1199" fmla="*/ 2798989 w 3773795"/>
                <a:gd name="connsiteY1199" fmla="*/ 318884 h 1451770"/>
                <a:gd name="connsiteX1200" fmla="*/ 2800569 w 3773795"/>
                <a:gd name="connsiteY1200" fmla="*/ 314504 h 1451770"/>
                <a:gd name="connsiteX1201" fmla="*/ 2802457 w 3773795"/>
                <a:gd name="connsiteY1201" fmla="*/ 310609 h 1451770"/>
                <a:gd name="connsiteX1202" fmla="*/ 2804569 w 3773795"/>
                <a:gd name="connsiteY1202" fmla="*/ 307147 h 1451770"/>
                <a:gd name="connsiteX1203" fmla="*/ 2567088 w 3773795"/>
                <a:gd name="connsiteY1203" fmla="*/ 294232 h 1451770"/>
                <a:gd name="connsiteX1204" fmla="*/ 2569070 w 3773795"/>
                <a:gd name="connsiteY1204" fmla="*/ 296343 h 1451770"/>
                <a:gd name="connsiteX1205" fmla="*/ 2570418 w 3773795"/>
                <a:gd name="connsiteY1205" fmla="*/ 299463 h 1451770"/>
                <a:gd name="connsiteX1206" fmla="*/ 2571647 w 3773795"/>
                <a:gd name="connsiteY1206" fmla="*/ 301032 h 1451770"/>
                <a:gd name="connsiteX1207" fmla="*/ 2576568 w 3773795"/>
                <a:gd name="connsiteY1207" fmla="*/ 304124 h 1451770"/>
                <a:gd name="connsiteX1208" fmla="*/ 2577488 w 3773795"/>
                <a:gd name="connsiteY1208" fmla="*/ 305022 h 1451770"/>
                <a:gd name="connsiteX1209" fmla="*/ 2573385 w 3773795"/>
                <a:gd name="connsiteY1209" fmla="*/ 308772 h 1451770"/>
                <a:gd name="connsiteX1210" fmla="*/ 2572981 w 3773795"/>
                <a:gd name="connsiteY1210" fmla="*/ 310375 h 1451770"/>
                <a:gd name="connsiteX1211" fmla="*/ 2574206 w 3773795"/>
                <a:gd name="connsiteY1211" fmla="*/ 312511 h 1451770"/>
                <a:gd name="connsiteX1212" fmla="*/ 2572617 w 3773795"/>
                <a:gd name="connsiteY1212" fmla="*/ 313798 h 1451770"/>
                <a:gd name="connsiteX1213" fmla="*/ 2568133 w 3773795"/>
                <a:gd name="connsiteY1213" fmla="*/ 315030 h 1451770"/>
                <a:gd name="connsiteX1214" fmla="*/ 2561634 w 3773795"/>
                <a:gd name="connsiteY1214" fmla="*/ 314692 h 1451770"/>
                <a:gd name="connsiteX1215" fmla="*/ 2562100 w 3773795"/>
                <a:gd name="connsiteY1215" fmla="*/ 311399 h 1451770"/>
                <a:gd name="connsiteX1216" fmla="*/ 2563214 w 3773795"/>
                <a:gd name="connsiteY1216" fmla="*/ 309940 h 1451770"/>
                <a:gd name="connsiteX1217" fmla="*/ 2564745 w 3773795"/>
                <a:gd name="connsiteY1217" fmla="*/ 306328 h 1451770"/>
                <a:gd name="connsiteX1218" fmla="*/ 2564050 w 3773795"/>
                <a:gd name="connsiteY1218" fmla="*/ 303635 h 1451770"/>
                <a:gd name="connsiteX1219" fmla="*/ 2564430 w 3773795"/>
                <a:gd name="connsiteY1219" fmla="*/ 300331 h 1451770"/>
                <a:gd name="connsiteX1220" fmla="*/ 2565213 w 3773795"/>
                <a:gd name="connsiteY1220" fmla="*/ 297793 h 1451770"/>
                <a:gd name="connsiteX1221" fmla="*/ 2945223 w 3773795"/>
                <a:gd name="connsiteY1221" fmla="*/ 278380 h 1451770"/>
                <a:gd name="connsiteX1222" fmla="*/ 2946011 w 3773795"/>
                <a:gd name="connsiteY1222" fmla="*/ 278821 h 1451770"/>
                <a:gd name="connsiteX1223" fmla="*/ 2946646 w 3773795"/>
                <a:gd name="connsiteY1223" fmla="*/ 279810 h 1451770"/>
                <a:gd name="connsiteX1224" fmla="*/ 2947136 w 3773795"/>
                <a:gd name="connsiteY1224" fmla="*/ 281706 h 1451770"/>
                <a:gd name="connsiteX1225" fmla="*/ 2944933 w 3773795"/>
                <a:gd name="connsiteY1225" fmla="*/ 283340 h 1451770"/>
                <a:gd name="connsiteX1226" fmla="*/ 2939897 w 3773795"/>
                <a:gd name="connsiteY1226" fmla="*/ 280712 h 1451770"/>
                <a:gd name="connsiteX1227" fmla="*/ 2941759 w 3773795"/>
                <a:gd name="connsiteY1227" fmla="*/ 279292 h 1451770"/>
                <a:gd name="connsiteX1228" fmla="*/ 2635975 w 3773795"/>
                <a:gd name="connsiteY1228" fmla="*/ 278158 h 1451770"/>
                <a:gd name="connsiteX1229" fmla="*/ 2638309 w 3773795"/>
                <a:gd name="connsiteY1229" fmla="*/ 278293 h 1451770"/>
                <a:gd name="connsiteX1230" fmla="*/ 2640477 w 3773795"/>
                <a:gd name="connsiteY1230" fmla="*/ 279961 h 1451770"/>
                <a:gd name="connsiteX1231" fmla="*/ 2642502 w 3773795"/>
                <a:gd name="connsiteY1231" fmla="*/ 282314 h 1451770"/>
                <a:gd name="connsiteX1232" fmla="*/ 2644761 w 3773795"/>
                <a:gd name="connsiteY1232" fmla="*/ 283570 h 1451770"/>
                <a:gd name="connsiteX1233" fmla="*/ 2651775 w 3773795"/>
                <a:gd name="connsiteY1233" fmla="*/ 286623 h 1451770"/>
                <a:gd name="connsiteX1234" fmla="*/ 2656525 w 3773795"/>
                <a:gd name="connsiteY1234" fmla="*/ 289358 h 1451770"/>
                <a:gd name="connsiteX1235" fmla="*/ 2663279 w 3773795"/>
                <a:gd name="connsiteY1235" fmla="*/ 294968 h 1451770"/>
                <a:gd name="connsiteX1236" fmla="*/ 2665564 w 3773795"/>
                <a:gd name="connsiteY1236" fmla="*/ 295832 h 1451770"/>
                <a:gd name="connsiteX1237" fmla="*/ 2668268 w 3773795"/>
                <a:gd name="connsiteY1237" fmla="*/ 295264 h 1451770"/>
                <a:gd name="connsiteX1238" fmla="*/ 2670804 w 3773795"/>
                <a:gd name="connsiteY1238" fmla="*/ 296462 h 1451770"/>
                <a:gd name="connsiteX1239" fmla="*/ 2673175 w 3773795"/>
                <a:gd name="connsiteY1239" fmla="*/ 301238 h 1451770"/>
                <a:gd name="connsiteX1240" fmla="*/ 2674289 w 3773795"/>
                <a:gd name="connsiteY1240" fmla="*/ 302434 h 1451770"/>
                <a:gd name="connsiteX1241" fmla="*/ 2675515 w 3773795"/>
                <a:gd name="connsiteY1241" fmla="*/ 303299 h 1451770"/>
                <a:gd name="connsiteX1242" fmla="*/ 2676722 w 3773795"/>
                <a:gd name="connsiteY1242" fmla="*/ 303740 h 1451770"/>
                <a:gd name="connsiteX1243" fmla="*/ 2680242 w 3773795"/>
                <a:gd name="connsiteY1243" fmla="*/ 303893 h 1451770"/>
                <a:gd name="connsiteX1244" fmla="*/ 2681863 w 3773795"/>
                <a:gd name="connsiteY1244" fmla="*/ 302937 h 1451770"/>
                <a:gd name="connsiteX1245" fmla="*/ 2683077 w 3773795"/>
                <a:gd name="connsiteY1245" fmla="*/ 300757 h 1451770"/>
                <a:gd name="connsiteX1246" fmla="*/ 2682995 w 3773795"/>
                <a:gd name="connsiteY1246" fmla="*/ 298550 h 1451770"/>
                <a:gd name="connsiteX1247" fmla="*/ 2682688 w 3773795"/>
                <a:gd name="connsiteY1247" fmla="*/ 296323 h 1451770"/>
                <a:gd name="connsiteX1248" fmla="*/ 2682671 w 3773795"/>
                <a:gd name="connsiteY1248" fmla="*/ 293258 h 1451770"/>
                <a:gd name="connsiteX1249" fmla="*/ 2683213 w 3773795"/>
                <a:gd name="connsiteY1249" fmla="*/ 290522 h 1451770"/>
                <a:gd name="connsiteX1250" fmla="*/ 2683989 w 3773795"/>
                <a:gd name="connsiteY1250" fmla="*/ 288841 h 1451770"/>
                <a:gd name="connsiteX1251" fmla="*/ 2685034 w 3773795"/>
                <a:gd name="connsiteY1251" fmla="*/ 287732 h 1451770"/>
                <a:gd name="connsiteX1252" fmla="*/ 2690931 w 3773795"/>
                <a:gd name="connsiteY1252" fmla="*/ 284340 h 1451770"/>
                <a:gd name="connsiteX1253" fmla="*/ 2695046 w 3773795"/>
                <a:gd name="connsiteY1253" fmla="*/ 281005 h 1451770"/>
                <a:gd name="connsiteX1254" fmla="*/ 2700726 w 3773795"/>
                <a:gd name="connsiteY1254" fmla="*/ 282328 h 1451770"/>
                <a:gd name="connsiteX1255" fmla="*/ 2706457 w 3773795"/>
                <a:gd name="connsiteY1255" fmla="*/ 285257 h 1451770"/>
                <a:gd name="connsiteX1256" fmla="*/ 2716604 w 3773795"/>
                <a:gd name="connsiteY1256" fmla="*/ 291596 h 1451770"/>
                <a:gd name="connsiteX1257" fmla="*/ 2721229 w 3773795"/>
                <a:gd name="connsiteY1257" fmla="*/ 293412 h 1451770"/>
                <a:gd name="connsiteX1258" fmla="*/ 2726917 w 3773795"/>
                <a:gd name="connsiteY1258" fmla="*/ 295061 h 1451770"/>
                <a:gd name="connsiteX1259" fmla="*/ 2732631 w 3773795"/>
                <a:gd name="connsiteY1259" fmla="*/ 295660 h 1451770"/>
                <a:gd name="connsiteX1260" fmla="*/ 2735417 w 3773795"/>
                <a:gd name="connsiteY1260" fmla="*/ 295268 h 1451770"/>
                <a:gd name="connsiteX1261" fmla="*/ 2740919 w 3773795"/>
                <a:gd name="connsiteY1261" fmla="*/ 293549 h 1451770"/>
                <a:gd name="connsiteX1262" fmla="*/ 2743702 w 3773795"/>
                <a:gd name="connsiteY1262" fmla="*/ 293401 h 1451770"/>
                <a:gd name="connsiteX1263" fmla="*/ 2778406 w 3773795"/>
                <a:gd name="connsiteY1263" fmla="*/ 305919 h 1451770"/>
                <a:gd name="connsiteX1264" fmla="*/ 2779611 w 3773795"/>
                <a:gd name="connsiteY1264" fmla="*/ 306884 h 1451770"/>
                <a:gd name="connsiteX1265" fmla="*/ 2780720 w 3773795"/>
                <a:gd name="connsiteY1265" fmla="*/ 308390 h 1451770"/>
                <a:gd name="connsiteX1266" fmla="*/ 2773280 w 3773795"/>
                <a:gd name="connsiteY1266" fmla="*/ 310213 h 1451770"/>
                <a:gd name="connsiteX1267" fmla="*/ 2768408 w 3773795"/>
                <a:gd name="connsiteY1267" fmla="*/ 313508 h 1451770"/>
                <a:gd name="connsiteX1268" fmla="*/ 2766720 w 3773795"/>
                <a:gd name="connsiteY1268" fmla="*/ 315762 h 1451770"/>
                <a:gd name="connsiteX1269" fmla="*/ 2768654 w 3773795"/>
                <a:gd name="connsiteY1269" fmla="*/ 317594 h 1451770"/>
                <a:gd name="connsiteX1270" fmla="*/ 2770185 w 3773795"/>
                <a:gd name="connsiteY1270" fmla="*/ 320069 h 1451770"/>
                <a:gd name="connsiteX1271" fmla="*/ 2759666 w 3773795"/>
                <a:gd name="connsiteY1271" fmla="*/ 327472 h 1451770"/>
                <a:gd name="connsiteX1272" fmla="*/ 2755426 w 3773795"/>
                <a:gd name="connsiteY1272" fmla="*/ 329382 h 1451770"/>
                <a:gd name="connsiteX1273" fmla="*/ 2751085 w 3773795"/>
                <a:gd name="connsiteY1273" fmla="*/ 330024 h 1451770"/>
                <a:gd name="connsiteX1274" fmla="*/ 2742377 w 3773795"/>
                <a:gd name="connsiteY1274" fmla="*/ 328283 h 1451770"/>
                <a:gd name="connsiteX1275" fmla="*/ 2737295 w 3773795"/>
                <a:gd name="connsiteY1275" fmla="*/ 328333 h 1451770"/>
                <a:gd name="connsiteX1276" fmla="*/ 2732303 w 3773795"/>
                <a:gd name="connsiteY1276" fmla="*/ 326824 h 1451770"/>
                <a:gd name="connsiteX1277" fmla="*/ 2726813 w 3773795"/>
                <a:gd name="connsiteY1277" fmla="*/ 322360 h 1451770"/>
                <a:gd name="connsiteX1278" fmla="*/ 2724559 w 3773795"/>
                <a:gd name="connsiteY1278" fmla="*/ 320119 h 1451770"/>
                <a:gd name="connsiteX1279" fmla="*/ 2722556 w 3773795"/>
                <a:gd name="connsiteY1279" fmla="*/ 317008 h 1451770"/>
                <a:gd name="connsiteX1280" fmla="*/ 2721894 w 3773795"/>
                <a:gd name="connsiteY1280" fmla="*/ 312041 h 1451770"/>
                <a:gd name="connsiteX1281" fmla="*/ 2722666 w 3773795"/>
                <a:gd name="connsiteY1281" fmla="*/ 307758 h 1451770"/>
                <a:gd name="connsiteX1282" fmla="*/ 2725609 w 3773795"/>
                <a:gd name="connsiteY1282" fmla="*/ 306538 h 1451770"/>
                <a:gd name="connsiteX1283" fmla="*/ 2728228 w 3773795"/>
                <a:gd name="connsiteY1283" fmla="*/ 303779 h 1451770"/>
                <a:gd name="connsiteX1284" fmla="*/ 2728591 w 3773795"/>
                <a:gd name="connsiteY1284" fmla="*/ 302583 h 1451770"/>
                <a:gd name="connsiteX1285" fmla="*/ 2727250 w 3773795"/>
                <a:gd name="connsiteY1285" fmla="*/ 300181 h 1451770"/>
                <a:gd name="connsiteX1286" fmla="*/ 2718621 w 3773795"/>
                <a:gd name="connsiteY1286" fmla="*/ 299838 h 1451770"/>
                <a:gd name="connsiteX1287" fmla="*/ 2713233 w 3773795"/>
                <a:gd name="connsiteY1287" fmla="*/ 301152 h 1451770"/>
                <a:gd name="connsiteX1288" fmla="*/ 2708332 w 3773795"/>
                <a:gd name="connsiteY1288" fmla="*/ 302549 h 1451770"/>
                <a:gd name="connsiteX1289" fmla="*/ 2709765 w 3773795"/>
                <a:gd name="connsiteY1289" fmla="*/ 311653 h 1451770"/>
                <a:gd name="connsiteX1290" fmla="*/ 2710821 w 3773795"/>
                <a:gd name="connsiteY1290" fmla="*/ 314553 h 1451770"/>
                <a:gd name="connsiteX1291" fmla="*/ 2712279 w 3773795"/>
                <a:gd name="connsiteY1291" fmla="*/ 316629 h 1451770"/>
                <a:gd name="connsiteX1292" fmla="*/ 2720063 w 3773795"/>
                <a:gd name="connsiteY1292" fmla="*/ 326099 h 1451770"/>
                <a:gd name="connsiteX1293" fmla="*/ 2721836 w 3773795"/>
                <a:gd name="connsiteY1293" fmla="*/ 327437 h 1451770"/>
                <a:gd name="connsiteX1294" fmla="*/ 2726982 w 3773795"/>
                <a:gd name="connsiteY1294" fmla="*/ 329240 h 1451770"/>
                <a:gd name="connsiteX1295" fmla="*/ 2731366 w 3773795"/>
                <a:gd name="connsiteY1295" fmla="*/ 333314 h 1451770"/>
                <a:gd name="connsiteX1296" fmla="*/ 2723633 w 3773795"/>
                <a:gd name="connsiteY1296" fmla="*/ 337840 h 1451770"/>
                <a:gd name="connsiteX1297" fmla="*/ 2720268 w 3773795"/>
                <a:gd name="connsiteY1297" fmla="*/ 339178 h 1451770"/>
                <a:gd name="connsiteX1298" fmla="*/ 2716878 w 3773795"/>
                <a:gd name="connsiteY1298" fmla="*/ 339926 h 1451770"/>
                <a:gd name="connsiteX1299" fmla="*/ 2714792 w 3773795"/>
                <a:gd name="connsiteY1299" fmla="*/ 339567 h 1451770"/>
                <a:gd name="connsiteX1300" fmla="*/ 2712779 w 3773795"/>
                <a:gd name="connsiteY1300" fmla="*/ 338627 h 1451770"/>
                <a:gd name="connsiteX1301" fmla="*/ 2710497 w 3773795"/>
                <a:gd name="connsiteY1301" fmla="*/ 336435 h 1451770"/>
                <a:gd name="connsiteX1302" fmla="*/ 2708636 w 3773795"/>
                <a:gd name="connsiteY1302" fmla="*/ 334168 h 1451770"/>
                <a:gd name="connsiteX1303" fmla="*/ 2706144 w 3773795"/>
                <a:gd name="connsiteY1303" fmla="*/ 332388 h 1451770"/>
                <a:gd name="connsiteX1304" fmla="*/ 2700862 w 3773795"/>
                <a:gd name="connsiteY1304" fmla="*/ 332772 h 1451770"/>
                <a:gd name="connsiteX1305" fmla="*/ 2696032 w 3773795"/>
                <a:gd name="connsiteY1305" fmla="*/ 334336 h 1451770"/>
                <a:gd name="connsiteX1306" fmla="*/ 2691178 w 3773795"/>
                <a:gd name="connsiteY1306" fmla="*/ 335395 h 1451770"/>
                <a:gd name="connsiteX1307" fmla="*/ 2676811 w 3773795"/>
                <a:gd name="connsiteY1307" fmla="*/ 337220 h 1451770"/>
                <a:gd name="connsiteX1308" fmla="*/ 2672458 w 3773795"/>
                <a:gd name="connsiteY1308" fmla="*/ 338356 h 1451770"/>
                <a:gd name="connsiteX1309" fmla="*/ 2668123 w 3773795"/>
                <a:gd name="connsiteY1309" fmla="*/ 338759 h 1451770"/>
                <a:gd name="connsiteX1310" fmla="*/ 2662445 w 3773795"/>
                <a:gd name="connsiteY1310" fmla="*/ 336649 h 1451770"/>
                <a:gd name="connsiteX1311" fmla="*/ 2656854 w 3773795"/>
                <a:gd name="connsiteY1311" fmla="*/ 333603 h 1451770"/>
                <a:gd name="connsiteX1312" fmla="*/ 2655152 w 3773795"/>
                <a:gd name="connsiteY1312" fmla="*/ 333590 h 1451770"/>
                <a:gd name="connsiteX1313" fmla="*/ 2653485 w 3773795"/>
                <a:gd name="connsiteY1313" fmla="*/ 334406 h 1451770"/>
                <a:gd name="connsiteX1314" fmla="*/ 2652207 w 3773795"/>
                <a:gd name="connsiteY1314" fmla="*/ 336240 h 1451770"/>
                <a:gd name="connsiteX1315" fmla="*/ 2651416 w 3773795"/>
                <a:gd name="connsiteY1315" fmla="*/ 339161 h 1451770"/>
                <a:gd name="connsiteX1316" fmla="*/ 2649599 w 3773795"/>
                <a:gd name="connsiteY1316" fmla="*/ 343058 h 1451770"/>
                <a:gd name="connsiteX1317" fmla="*/ 2647288 w 3773795"/>
                <a:gd name="connsiteY1317" fmla="*/ 345800 h 1451770"/>
                <a:gd name="connsiteX1318" fmla="*/ 2644850 w 3773795"/>
                <a:gd name="connsiteY1318" fmla="*/ 346991 h 1451770"/>
                <a:gd name="connsiteX1319" fmla="*/ 2642280 w 3773795"/>
                <a:gd name="connsiteY1319" fmla="*/ 347128 h 1451770"/>
                <a:gd name="connsiteX1320" fmla="*/ 2639685 w 3773795"/>
                <a:gd name="connsiteY1320" fmla="*/ 346376 h 1451770"/>
                <a:gd name="connsiteX1321" fmla="*/ 2637117 w 3773795"/>
                <a:gd name="connsiteY1321" fmla="*/ 345180 h 1451770"/>
                <a:gd name="connsiteX1322" fmla="*/ 2620017 w 3773795"/>
                <a:gd name="connsiteY1322" fmla="*/ 340937 h 1451770"/>
                <a:gd name="connsiteX1323" fmla="*/ 2618007 w 3773795"/>
                <a:gd name="connsiteY1323" fmla="*/ 339636 h 1451770"/>
                <a:gd name="connsiteX1324" fmla="*/ 2616098 w 3773795"/>
                <a:gd name="connsiteY1324" fmla="*/ 337704 h 1451770"/>
                <a:gd name="connsiteX1325" fmla="*/ 2610967 w 3773795"/>
                <a:gd name="connsiteY1325" fmla="*/ 331623 h 1451770"/>
                <a:gd name="connsiteX1326" fmla="*/ 2608425 w 3773795"/>
                <a:gd name="connsiteY1326" fmla="*/ 330206 h 1451770"/>
                <a:gd name="connsiteX1327" fmla="*/ 2605748 w 3773795"/>
                <a:gd name="connsiteY1327" fmla="*/ 329603 h 1451770"/>
                <a:gd name="connsiteX1328" fmla="*/ 2600684 w 3773795"/>
                <a:gd name="connsiteY1328" fmla="*/ 326521 h 1451770"/>
                <a:gd name="connsiteX1329" fmla="*/ 2596003 w 3773795"/>
                <a:gd name="connsiteY1329" fmla="*/ 321579 h 1451770"/>
                <a:gd name="connsiteX1330" fmla="*/ 2595031 w 3773795"/>
                <a:gd name="connsiteY1330" fmla="*/ 320005 h 1451770"/>
                <a:gd name="connsiteX1331" fmla="*/ 2594707 w 3773795"/>
                <a:gd name="connsiteY1331" fmla="*/ 317548 h 1451770"/>
                <a:gd name="connsiteX1332" fmla="*/ 2595476 w 3773795"/>
                <a:gd name="connsiteY1332" fmla="*/ 315773 h 1451770"/>
                <a:gd name="connsiteX1333" fmla="*/ 2599535 w 3773795"/>
                <a:gd name="connsiteY1333" fmla="*/ 316610 h 1451770"/>
                <a:gd name="connsiteX1334" fmla="*/ 2602271 w 3773795"/>
                <a:gd name="connsiteY1334" fmla="*/ 316518 h 1451770"/>
                <a:gd name="connsiteX1335" fmla="*/ 2600623 w 3773795"/>
                <a:gd name="connsiteY1335" fmla="*/ 307317 h 1451770"/>
                <a:gd name="connsiteX1336" fmla="*/ 2601809 w 3773795"/>
                <a:gd name="connsiteY1336" fmla="*/ 298554 h 1451770"/>
                <a:gd name="connsiteX1337" fmla="*/ 2603791 w 3773795"/>
                <a:gd name="connsiteY1337" fmla="*/ 297102 h 1451770"/>
                <a:gd name="connsiteX1338" fmla="*/ 2611487 w 3773795"/>
                <a:gd name="connsiteY1338" fmla="*/ 298097 h 1451770"/>
                <a:gd name="connsiteX1339" fmla="*/ 2608989 w 3773795"/>
                <a:gd name="connsiteY1339" fmla="*/ 295220 h 1451770"/>
                <a:gd name="connsiteX1340" fmla="*/ 2606946 w 3773795"/>
                <a:gd name="connsiteY1340" fmla="*/ 291322 h 1451770"/>
                <a:gd name="connsiteX1341" fmla="*/ 2608259 w 3773795"/>
                <a:gd name="connsiteY1341" fmla="*/ 289260 h 1451770"/>
                <a:gd name="connsiteX1342" fmla="*/ 2609693 w 3773795"/>
                <a:gd name="connsiteY1342" fmla="*/ 287768 h 1451770"/>
                <a:gd name="connsiteX1343" fmla="*/ 2612988 w 3773795"/>
                <a:gd name="connsiteY1343" fmla="*/ 286522 h 1451770"/>
                <a:gd name="connsiteX1344" fmla="*/ 2617469 w 3773795"/>
                <a:gd name="connsiteY1344" fmla="*/ 285972 h 1451770"/>
                <a:gd name="connsiteX1345" fmla="*/ 2618832 w 3773795"/>
                <a:gd name="connsiteY1345" fmla="*/ 285089 h 1451770"/>
                <a:gd name="connsiteX1346" fmla="*/ 2620099 w 3773795"/>
                <a:gd name="connsiteY1346" fmla="*/ 283579 h 1451770"/>
                <a:gd name="connsiteX1347" fmla="*/ 2622567 w 3773795"/>
                <a:gd name="connsiteY1347" fmla="*/ 282015 h 1451770"/>
                <a:gd name="connsiteX1348" fmla="*/ 2627499 w 3773795"/>
                <a:gd name="connsiteY1348" fmla="*/ 281327 h 1451770"/>
                <a:gd name="connsiteX1349" fmla="*/ 1695253 w 3773795"/>
                <a:gd name="connsiteY1349" fmla="*/ 273338 h 1451770"/>
                <a:gd name="connsiteX1350" fmla="*/ 1701040 w 3773795"/>
                <a:gd name="connsiteY1350" fmla="*/ 274582 h 1451770"/>
                <a:gd name="connsiteX1351" fmla="*/ 1702843 w 3773795"/>
                <a:gd name="connsiteY1351" fmla="*/ 275235 h 1451770"/>
                <a:gd name="connsiteX1352" fmla="*/ 1702306 w 3773795"/>
                <a:gd name="connsiteY1352" fmla="*/ 277177 h 1451770"/>
                <a:gd name="connsiteX1353" fmla="*/ 1700030 w 3773795"/>
                <a:gd name="connsiteY1353" fmla="*/ 276607 h 1451770"/>
                <a:gd name="connsiteX1354" fmla="*/ 1697024 w 3773795"/>
                <a:gd name="connsiteY1354" fmla="*/ 277591 h 1451770"/>
                <a:gd name="connsiteX1355" fmla="*/ 1697083 w 3773795"/>
                <a:gd name="connsiteY1355" fmla="*/ 279170 h 1451770"/>
                <a:gd name="connsiteX1356" fmla="*/ 1695914 w 3773795"/>
                <a:gd name="connsiteY1356" fmla="*/ 281706 h 1451770"/>
                <a:gd name="connsiteX1357" fmla="*/ 1691673 w 3773795"/>
                <a:gd name="connsiteY1357" fmla="*/ 280172 h 1451770"/>
                <a:gd name="connsiteX1358" fmla="*/ 1685830 w 3773795"/>
                <a:gd name="connsiteY1358" fmla="*/ 279954 h 1451770"/>
                <a:gd name="connsiteX1359" fmla="*/ 1682161 w 3773795"/>
                <a:gd name="connsiteY1359" fmla="*/ 278434 h 1451770"/>
                <a:gd name="connsiteX1360" fmla="*/ 1674035 w 3773795"/>
                <a:gd name="connsiteY1360" fmla="*/ 277473 h 1451770"/>
                <a:gd name="connsiteX1361" fmla="*/ 1674277 w 3773795"/>
                <a:gd name="connsiteY1361" fmla="*/ 275335 h 1451770"/>
                <a:gd name="connsiteX1362" fmla="*/ 1675555 w 3773795"/>
                <a:gd name="connsiteY1362" fmla="*/ 274083 h 1451770"/>
                <a:gd name="connsiteX1363" fmla="*/ 1680300 w 3773795"/>
                <a:gd name="connsiteY1363" fmla="*/ 275883 h 1451770"/>
                <a:gd name="connsiteX1364" fmla="*/ 1684541 w 3773795"/>
                <a:gd name="connsiteY1364" fmla="*/ 273862 h 1451770"/>
                <a:gd name="connsiteX1365" fmla="*/ 1692606 w 3773795"/>
                <a:gd name="connsiteY1365" fmla="*/ 274868 h 1451770"/>
                <a:gd name="connsiteX1366" fmla="*/ 1708680 w 3773795"/>
                <a:gd name="connsiteY1366" fmla="*/ 271060 h 1451770"/>
                <a:gd name="connsiteX1367" fmla="*/ 1711164 w 3773795"/>
                <a:gd name="connsiteY1367" fmla="*/ 271600 h 1451770"/>
                <a:gd name="connsiteX1368" fmla="*/ 1712382 w 3773795"/>
                <a:gd name="connsiteY1368" fmla="*/ 272881 h 1451770"/>
                <a:gd name="connsiteX1369" fmla="*/ 1712552 w 3773795"/>
                <a:gd name="connsiteY1369" fmla="*/ 273465 h 1451770"/>
                <a:gd name="connsiteX1370" fmla="*/ 1710810 w 3773795"/>
                <a:gd name="connsiteY1370" fmla="*/ 276480 h 1451770"/>
                <a:gd name="connsiteX1371" fmla="*/ 1708149 w 3773795"/>
                <a:gd name="connsiteY1371" fmla="*/ 278182 h 1451770"/>
                <a:gd name="connsiteX1372" fmla="*/ 1706910 w 3773795"/>
                <a:gd name="connsiteY1372" fmla="*/ 278671 h 1451770"/>
                <a:gd name="connsiteX1373" fmla="*/ 1705951 w 3773795"/>
                <a:gd name="connsiteY1373" fmla="*/ 278338 h 1451770"/>
                <a:gd name="connsiteX1374" fmla="*/ 1705616 w 3773795"/>
                <a:gd name="connsiteY1374" fmla="*/ 277829 h 1451770"/>
                <a:gd name="connsiteX1375" fmla="*/ 1705635 w 3773795"/>
                <a:gd name="connsiteY1375" fmla="*/ 275507 h 1451770"/>
                <a:gd name="connsiteX1376" fmla="*/ 1707685 w 3773795"/>
                <a:gd name="connsiteY1376" fmla="*/ 272479 h 1451770"/>
                <a:gd name="connsiteX1377" fmla="*/ 1707737 w 3773795"/>
                <a:gd name="connsiteY1377" fmla="*/ 271535 h 1451770"/>
                <a:gd name="connsiteX1378" fmla="*/ 2051776 w 3773795"/>
                <a:gd name="connsiteY1378" fmla="*/ 257815 h 1451770"/>
                <a:gd name="connsiteX1379" fmla="*/ 2053631 w 3773795"/>
                <a:gd name="connsiteY1379" fmla="*/ 258869 h 1451770"/>
                <a:gd name="connsiteX1380" fmla="*/ 2057048 w 3773795"/>
                <a:gd name="connsiteY1380" fmla="*/ 261994 h 1451770"/>
                <a:gd name="connsiteX1381" fmla="*/ 2057674 w 3773795"/>
                <a:gd name="connsiteY1381" fmla="*/ 263988 h 1451770"/>
                <a:gd name="connsiteX1382" fmla="*/ 2056642 w 3773795"/>
                <a:gd name="connsiteY1382" fmla="*/ 264460 h 1451770"/>
                <a:gd name="connsiteX1383" fmla="*/ 2056030 w 3773795"/>
                <a:gd name="connsiteY1383" fmla="*/ 265209 h 1451770"/>
                <a:gd name="connsiteX1384" fmla="*/ 2055771 w 3773795"/>
                <a:gd name="connsiteY1384" fmla="*/ 266611 h 1451770"/>
                <a:gd name="connsiteX1385" fmla="*/ 2054817 w 3773795"/>
                <a:gd name="connsiteY1385" fmla="*/ 266718 h 1451770"/>
                <a:gd name="connsiteX1386" fmla="*/ 2051792 w 3773795"/>
                <a:gd name="connsiteY1386" fmla="*/ 265171 h 1451770"/>
                <a:gd name="connsiteX1387" fmla="*/ 2049626 w 3773795"/>
                <a:gd name="connsiteY1387" fmla="*/ 262683 h 1451770"/>
                <a:gd name="connsiteX1388" fmla="*/ 2046463 w 3773795"/>
                <a:gd name="connsiteY1388" fmla="*/ 262162 h 1451770"/>
                <a:gd name="connsiteX1389" fmla="*/ 2043122 w 3773795"/>
                <a:gd name="connsiteY1389" fmla="*/ 259694 h 1451770"/>
                <a:gd name="connsiteX1390" fmla="*/ 2042375 w 3773795"/>
                <a:gd name="connsiteY1390" fmla="*/ 258626 h 1451770"/>
                <a:gd name="connsiteX1391" fmla="*/ 2043308 w 3773795"/>
                <a:gd name="connsiteY1391" fmla="*/ 258319 h 1451770"/>
                <a:gd name="connsiteX1392" fmla="*/ 2049285 w 3773795"/>
                <a:gd name="connsiteY1392" fmla="*/ 258986 h 1451770"/>
                <a:gd name="connsiteX1393" fmla="*/ 1719818 w 3773795"/>
                <a:gd name="connsiteY1393" fmla="*/ 254915 h 1451770"/>
                <a:gd name="connsiteX1394" fmla="*/ 1724390 w 3773795"/>
                <a:gd name="connsiteY1394" fmla="*/ 259860 h 1451770"/>
                <a:gd name="connsiteX1395" fmla="*/ 1723216 w 3773795"/>
                <a:gd name="connsiteY1395" fmla="*/ 260547 h 1451770"/>
                <a:gd name="connsiteX1396" fmla="*/ 1720897 w 3773795"/>
                <a:gd name="connsiteY1396" fmla="*/ 260258 h 1451770"/>
                <a:gd name="connsiteX1397" fmla="*/ 1718935 w 3773795"/>
                <a:gd name="connsiteY1397" fmla="*/ 258503 h 1451770"/>
                <a:gd name="connsiteX1398" fmla="*/ 1718242 w 3773795"/>
                <a:gd name="connsiteY1398" fmla="*/ 255703 h 1451770"/>
                <a:gd name="connsiteX1399" fmla="*/ 2870197 w 3773795"/>
                <a:gd name="connsiteY1399" fmla="*/ 251433 h 1451770"/>
                <a:gd name="connsiteX1400" fmla="*/ 2867144 w 3773795"/>
                <a:gd name="connsiteY1400" fmla="*/ 253044 h 1451770"/>
                <a:gd name="connsiteX1401" fmla="*/ 2865738 w 3773795"/>
                <a:gd name="connsiteY1401" fmla="*/ 256284 h 1451770"/>
                <a:gd name="connsiteX1402" fmla="*/ 2864531 w 3773795"/>
                <a:gd name="connsiteY1402" fmla="*/ 257072 h 1451770"/>
                <a:gd name="connsiteX1403" fmla="*/ 2847912 w 3773795"/>
                <a:gd name="connsiteY1403" fmla="*/ 257610 h 1451770"/>
                <a:gd name="connsiteX1404" fmla="*/ 2849007 w 3773795"/>
                <a:gd name="connsiteY1404" fmla="*/ 256287 h 1451770"/>
                <a:gd name="connsiteX1405" fmla="*/ 2855010 w 3773795"/>
                <a:gd name="connsiteY1405" fmla="*/ 253073 h 1451770"/>
                <a:gd name="connsiteX1406" fmla="*/ 1062430 w 3773795"/>
                <a:gd name="connsiteY1406" fmla="*/ 240792 h 1451770"/>
                <a:gd name="connsiteX1407" fmla="*/ 1070511 w 3773795"/>
                <a:gd name="connsiteY1407" fmla="*/ 241766 h 1451770"/>
                <a:gd name="connsiteX1408" fmla="*/ 1080869 w 3773795"/>
                <a:gd name="connsiteY1408" fmla="*/ 244410 h 1451770"/>
                <a:gd name="connsiteX1409" fmla="*/ 1085588 w 3773795"/>
                <a:gd name="connsiteY1409" fmla="*/ 247334 h 1451770"/>
                <a:gd name="connsiteX1410" fmla="*/ 1089440 w 3773795"/>
                <a:gd name="connsiteY1410" fmla="*/ 251085 h 1451770"/>
                <a:gd name="connsiteX1411" fmla="*/ 1090289 w 3773795"/>
                <a:gd name="connsiteY1411" fmla="*/ 252428 h 1451770"/>
                <a:gd name="connsiteX1412" fmla="*/ 1090951 w 3773795"/>
                <a:gd name="connsiteY1412" fmla="*/ 254870 h 1451770"/>
                <a:gd name="connsiteX1413" fmla="*/ 1089820 w 3773795"/>
                <a:gd name="connsiteY1413" fmla="*/ 257081 h 1451770"/>
                <a:gd name="connsiteX1414" fmla="*/ 1089101 w 3773795"/>
                <a:gd name="connsiteY1414" fmla="*/ 259348 h 1451770"/>
                <a:gd name="connsiteX1415" fmla="*/ 1090025 w 3773795"/>
                <a:gd name="connsiteY1415" fmla="*/ 261075 h 1451770"/>
                <a:gd name="connsiteX1416" fmla="*/ 1082480 w 3773795"/>
                <a:gd name="connsiteY1416" fmla="*/ 266747 h 1451770"/>
                <a:gd name="connsiteX1417" fmla="*/ 1075046 w 3773795"/>
                <a:gd name="connsiteY1417" fmla="*/ 272968 h 1451770"/>
                <a:gd name="connsiteX1418" fmla="*/ 1073786 w 3773795"/>
                <a:gd name="connsiteY1418" fmla="*/ 274275 h 1451770"/>
                <a:gd name="connsiteX1419" fmla="*/ 1064940 w 3773795"/>
                <a:gd name="connsiteY1419" fmla="*/ 276431 h 1451770"/>
                <a:gd name="connsiteX1420" fmla="*/ 1056093 w 3773795"/>
                <a:gd name="connsiteY1420" fmla="*/ 279908 h 1451770"/>
                <a:gd name="connsiteX1421" fmla="*/ 1050823 w 3773795"/>
                <a:gd name="connsiteY1421" fmla="*/ 282323 h 1451770"/>
                <a:gd name="connsiteX1422" fmla="*/ 1045654 w 3773795"/>
                <a:gd name="connsiteY1422" fmla="*/ 283954 h 1451770"/>
                <a:gd name="connsiteX1423" fmla="*/ 1040442 w 3773795"/>
                <a:gd name="connsiteY1423" fmla="*/ 285100 h 1451770"/>
                <a:gd name="connsiteX1424" fmla="*/ 1032149 w 3773795"/>
                <a:gd name="connsiteY1424" fmla="*/ 287971 h 1451770"/>
                <a:gd name="connsiteX1425" fmla="*/ 1017483 w 3773795"/>
                <a:gd name="connsiteY1425" fmla="*/ 291549 h 1451770"/>
                <a:gd name="connsiteX1426" fmla="*/ 1008249 w 3773795"/>
                <a:gd name="connsiteY1426" fmla="*/ 294494 h 1451770"/>
                <a:gd name="connsiteX1427" fmla="*/ 998143 w 3773795"/>
                <a:gd name="connsiteY1427" fmla="*/ 296805 h 1451770"/>
                <a:gd name="connsiteX1428" fmla="*/ 987487 w 3773795"/>
                <a:gd name="connsiteY1428" fmla="*/ 299893 h 1451770"/>
                <a:gd name="connsiteX1429" fmla="*/ 976800 w 3773795"/>
                <a:gd name="connsiteY1429" fmla="*/ 302011 h 1451770"/>
                <a:gd name="connsiteX1430" fmla="*/ 974150 w 3773795"/>
                <a:gd name="connsiteY1430" fmla="*/ 302184 h 1451770"/>
                <a:gd name="connsiteX1431" fmla="*/ 966571 w 3773795"/>
                <a:gd name="connsiteY1431" fmla="*/ 305134 h 1451770"/>
                <a:gd name="connsiteX1432" fmla="*/ 960585 w 3773795"/>
                <a:gd name="connsiteY1432" fmla="*/ 306361 h 1451770"/>
                <a:gd name="connsiteX1433" fmla="*/ 938918 w 3773795"/>
                <a:gd name="connsiteY1433" fmla="*/ 312987 h 1451770"/>
                <a:gd name="connsiteX1434" fmla="*/ 928969 w 3773795"/>
                <a:gd name="connsiteY1434" fmla="*/ 317811 h 1451770"/>
                <a:gd name="connsiteX1435" fmla="*/ 926102 w 3773795"/>
                <a:gd name="connsiteY1435" fmla="*/ 318203 h 1451770"/>
                <a:gd name="connsiteX1436" fmla="*/ 923215 w 3773795"/>
                <a:gd name="connsiteY1436" fmla="*/ 318024 h 1451770"/>
                <a:gd name="connsiteX1437" fmla="*/ 920846 w 3773795"/>
                <a:gd name="connsiteY1437" fmla="*/ 319532 h 1451770"/>
                <a:gd name="connsiteX1438" fmla="*/ 918600 w 3773795"/>
                <a:gd name="connsiteY1438" fmla="*/ 322132 h 1451770"/>
                <a:gd name="connsiteX1439" fmla="*/ 913921 w 3773795"/>
                <a:gd name="connsiteY1439" fmla="*/ 324749 h 1451770"/>
                <a:gd name="connsiteX1440" fmla="*/ 911567 w 3773795"/>
                <a:gd name="connsiteY1440" fmla="*/ 327093 h 1451770"/>
                <a:gd name="connsiteX1441" fmla="*/ 909136 w 3773795"/>
                <a:gd name="connsiteY1441" fmla="*/ 328965 h 1451770"/>
                <a:gd name="connsiteX1442" fmla="*/ 907723 w 3773795"/>
                <a:gd name="connsiteY1442" fmla="*/ 329566 h 1451770"/>
                <a:gd name="connsiteX1443" fmla="*/ 905035 w 3773795"/>
                <a:gd name="connsiteY1443" fmla="*/ 329378 h 1451770"/>
                <a:gd name="connsiteX1444" fmla="*/ 903748 w 3773795"/>
                <a:gd name="connsiteY1444" fmla="*/ 329579 h 1451770"/>
                <a:gd name="connsiteX1445" fmla="*/ 899354 w 3773795"/>
                <a:gd name="connsiteY1445" fmla="*/ 331667 h 1451770"/>
                <a:gd name="connsiteX1446" fmla="*/ 898563 w 3773795"/>
                <a:gd name="connsiteY1446" fmla="*/ 333295 h 1451770"/>
                <a:gd name="connsiteX1447" fmla="*/ 903290 w 3773795"/>
                <a:gd name="connsiteY1447" fmla="*/ 334382 h 1451770"/>
                <a:gd name="connsiteX1448" fmla="*/ 904318 w 3773795"/>
                <a:gd name="connsiteY1448" fmla="*/ 336214 h 1451770"/>
                <a:gd name="connsiteX1449" fmla="*/ 902943 w 3773795"/>
                <a:gd name="connsiteY1449" fmla="*/ 337506 h 1451770"/>
                <a:gd name="connsiteX1450" fmla="*/ 899883 w 3773795"/>
                <a:gd name="connsiteY1450" fmla="*/ 339195 h 1451770"/>
                <a:gd name="connsiteX1451" fmla="*/ 898151 w 3773795"/>
                <a:gd name="connsiteY1451" fmla="*/ 340975 h 1451770"/>
                <a:gd name="connsiteX1452" fmla="*/ 895002 w 3773795"/>
                <a:gd name="connsiteY1452" fmla="*/ 342766 h 1451770"/>
                <a:gd name="connsiteX1453" fmla="*/ 892841 w 3773795"/>
                <a:gd name="connsiteY1453" fmla="*/ 343260 h 1451770"/>
                <a:gd name="connsiteX1454" fmla="*/ 887643 w 3773795"/>
                <a:gd name="connsiteY1454" fmla="*/ 343205 h 1451770"/>
                <a:gd name="connsiteX1455" fmla="*/ 887364 w 3773795"/>
                <a:gd name="connsiteY1455" fmla="*/ 345420 h 1451770"/>
                <a:gd name="connsiteX1456" fmla="*/ 888179 w 3773795"/>
                <a:gd name="connsiteY1456" fmla="*/ 346781 h 1451770"/>
                <a:gd name="connsiteX1457" fmla="*/ 887764 w 3773795"/>
                <a:gd name="connsiteY1457" fmla="*/ 347984 h 1451770"/>
                <a:gd name="connsiteX1458" fmla="*/ 886023 w 3773795"/>
                <a:gd name="connsiteY1458" fmla="*/ 349161 h 1451770"/>
                <a:gd name="connsiteX1459" fmla="*/ 884298 w 3773795"/>
                <a:gd name="connsiteY1459" fmla="*/ 349005 h 1451770"/>
                <a:gd name="connsiteX1460" fmla="*/ 876429 w 3773795"/>
                <a:gd name="connsiteY1460" fmla="*/ 345529 h 1451770"/>
                <a:gd name="connsiteX1461" fmla="*/ 875145 w 3773795"/>
                <a:gd name="connsiteY1461" fmla="*/ 346723 h 1451770"/>
                <a:gd name="connsiteX1462" fmla="*/ 874592 w 3773795"/>
                <a:gd name="connsiteY1462" fmla="*/ 349131 h 1451770"/>
                <a:gd name="connsiteX1463" fmla="*/ 874350 w 3773795"/>
                <a:gd name="connsiteY1463" fmla="*/ 351712 h 1451770"/>
                <a:gd name="connsiteX1464" fmla="*/ 873353 w 3773795"/>
                <a:gd name="connsiteY1464" fmla="*/ 353652 h 1451770"/>
                <a:gd name="connsiteX1465" fmla="*/ 872013 w 3773795"/>
                <a:gd name="connsiteY1465" fmla="*/ 354612 h 1451770"/>
                <a:gd name="connsiteX1466" fmla="*/ 869532 w 3773795"/>
                <a:gd name="connsiteY1466" fmla="*/ 355611 h 1451770"/>
                <a:gd name="connsiteX1467" fmla="*/ 860830 w 3773795"/>
                <a:gd name="connsiteY1467" fmla="*/ 354028 h 1451770"/>
                <a:gd name="connsiteX1468" fmla="*/ 860111 w 3773795"/>
                <a:gd name="connsiteY1468" fmla="*/ 355544 h 1451770"/>
                <a:gd name="connsiteX1469" fmla="*/ 861435 w 3773795"/>
                <a:gd name="connsiteY1469" fmla="*/ 357394 h 1451770"/>
                <a:gd name="connsiteX1470" fmla="*/ 863285 w 3773795"/>
                <a:gd name="connsiteY1470" fmla="*/ 361480 h 1451770"/>
                <a:gd name="connsiteX1471" fmla="*/ 863713 w 3773795"/>
                <a:gd name="connsiteY1471" fmla="*/ 363167 h 1451770"/>
                <a:gd name="connsiteX1472" fmla="*/ 862670 w 3773795"/>
                <a:gd name="connsiteY1472" fmla="*/ 365855 h 1451770"/>
                <a:gd name="connsiteX1473" fmla="*/ 858768 w 3773795"/>
                <a:gd name="connsiteY1473" fmla="*/ 370128 h 1451770"/>
                <a:gd name="connsiteX1474" fmla="*/ 843864 w 3773795"/>
                <a:gd name="connsiteY1474" fmla="*/ 375104 h 1451770"/>
                <a:gd name="connsiteX1475" fmla="*/ 844108 w 3773795"/>
                <a:gd name="connsiteY1475" fmla="*/ 376827 h 1451770"/>
                <a:gd name="connsiteX1476" fmla="*/ 845766 w 3773795"/>
                <a:gd name="connsiteY1476" fmla="*/ 380107 h 1451770"/>
                <a:gd name="connsiteX1477" fmla="*/ 846183 w 3773795"/>
                <a:gd name="connsiteY1477" fmla="*/ 382148 h 1451770"/>
                <a:gd name="connsiteX1478" fmla="*/ 845578 w 3773795"/>
                <a:gd name="connsiteY1478" fmla="*/ 384099 h 1451770"/>
                <a:gd name="connsiteX1479" fmla="*/ 843611 w 3773795"/>
                <a:gd name="connsiteY1479" fmla="*/ 385641 h 1451770"/>
                <a:gd name="connsiteX1480" fmla="*/ 841432 w 3773795"/>
                <a:gd name="connsiteY1480" fmla="*/ 385685 h 1451770"/>
                <a:gd name="connsiteX1481" fmla="*/ 840244 w 3773795"/>
                <a:gd name="connsiteY1481" fmla="*/ 385371 h 1451770"/>
                <a:gd name="connsiteX1482" fmla="*/ 836813 w 3773795"/>
                <a:gd name="connsiteY1482" fmla="*/ 383215 h 1451770"/>
                <a:gd name="connsiteX1483" fmla="*/ 833818 w 3773795"/>
                <a:gd name="connsiteY1483" fmla="*/ 382682 h 1451770"/>
                <a:gd name="connsiteX1484" fmla="*/ 833328 w 3773795"/>
                <a:gd name="connsiteY1484" fmla="*/ 383692 h 1451770"/>
                <a:gd name="connsiteX1485" fmla="*/ 837161 w 3773795"/>
                <a:gd name="connsiteY1485" fmla="*/ 386635 h 1451770"/>
                <a:gd name="connsiteX1486" fmla="*/ 838893 w 3773795"/>
                <a:gd name="connsiteY1486" fmla="*/ 390402 h 1451770"/>
                <a:gd name="connsiteX1487" fmla="*/ 837062 w 3773795"/>
                <a:gd name="connsiteY1487" fmla="*/ 392453 h 1451770"/>
                <a:gd name="connsiteX1488" fmla="*/ 829866 w 3773795"/>
                <a:gd name="connsiteY1488" fmla="*/ 396980 h 1451770"/>
                <a:gd name="connsiteX1489" fmla="*/ 826096 w 3773795"/>
                <a:gd name="connsiteY1489" fmla="*/ 402855 h 1451770"/>
                <a:gd name="connsiteX1490" fmla="*/ 818806 w 3773795"/>
                <a:gd name="connsiteY1490" fmla="*/ 405502 h 1451770"/>
                <a:gd name="connsiteX1491" fmla="*/ 814300 w 3773795"/>
                <a:gd name="connsiteY1491" fmla="*/ 405803 h 1451770"/>
                <a:gd name="connsiteX1492" fmla="*/ 809832 w 3773795"/>
                <a:gd name="connsiteY1492" fmla="*/ 405085 h 1451770"/>
                <a:gd name="connsiteX1493" fmla="*/ 805547 w 3773795"/>
                <a:gd name="connsiteY1493" fmla="*/ 403734 h 1451770"/>
                <a:gd name="connsiteX1494" fmla="*/ 794815 w 3773795"/>
                <a:gd name="connsiteY1494" fmla="*/ 403269 h 1451770"/>
                <a:gd name="connsiteX1495" fmla="*/ 788866 w 3773795"/>
                <a:gd name="connsiteY1495" fmla="*/ 401770 h 1451770"/>
                <a:gd name="connsiteX1496" fmla="*/ 782822 w 3773795"/>
                <a:gd name="connsiteY1496" fmla="*/ 399136 h 1451770"/>
                <a:gd name="connsiteX1497" fmla="*/ 777556 w 3773795"/>
                <a:gd name="connsiteY1497" fmla="*/ 399325 h 1451770"/>
                <a:gd name="connsiteX1498" fmla="*/ 773070 w 3773795"/>
                <a:gd name="connsiteY1498" fmla="*/ 400643 h 1451770"/>
                <a:gd name="connsiteX1499" fmla="*/ 767190 w 3773795"/>
                <a:gd name="connsiteY1499" fmla="*/ 403518 h 1451770"/>
                <a:gd name="connsiteX1500" fmla="*/ 763468 w 3773795"/>
                <a:gd name="connsiteY1500" fmla="*/ 397978 h 1451770"/>
                <a:gd name="connsiteX1501" fmla="*/ 765083 w 3773795"/>
                <a:gd name="connsiteY1501" fmla="*/ 395372 h 1451770"/>
                <a:gd name="connsiteX1502" fmla="*/ 756992 w 3773795"/>
                <a:gd name="connsiteY1502" fmla="*/ 388734 h 1451770"/>
                <a:gd name="connsiteX1503" fmla="*/ 755316 w 3773795"/>
                <a:gd name="connsiteY1503" fmla="*/ 385771 h 1451770"/>
                <a:gd name="connsiteX1504" fmla="*/ 757272 w 3773795"/>
                <a:gd name="connsiteY1504" fmla="*/ 384294 h 1451770"/>
                <a:gd name="connsiteX1505" fmla="*/ 759751 w 3773795"/>
                <a:gd name="connsiteY1505" fmla="*/ 383358 h 1451770"/>
                <a:gd name="connsiteX1506" fmla="*/ 764407 w 3773795"/>
                <a:gd name="connsiteY1506" fmla="*/ 380628 h 1451770"/>
                <a:gd name="connsiteX1507" fmla="*/ 769102 w 3773795"/>
                <a:gd name="connsiteY1507" fmla="*/ 378478 h 1451770"/>
                <a:gd name="connsiteX1508" fmla="*/ 773951 w 3773795"/>
                <a:gd name="connsiteY1508" fmla="*/ 377802 h 1451770"/>
                <a:gd name="connsiteX1509" fmla="*/ 774770 w 3773795"/>
                <a:gd name="connsiteY1509" fmla="*/ 377446 h 1451770"/>
                <a:gd name="connsiteX1510" fmla="*/ 776776 w 3773795"/>
                <a:gd name="connsiteY1510" fmla="*/ 374233 h 1451770"/>
                <a:gd name="connsiteX1511" fmla="*/ 778940 w 3773795"/>
                <a:gd name="connsiteY1511" fmla="*/ 371561 h 1451770"/>
                <a:gd name="connsiteX1512" fmla="*/ 780909 w 3773795"/>
                <a:gd name="connsiteY1512" fmla="*/ 370117 h 1451770"/>
                <a:gd name="connsiteX1513" fmla="*/ 783176 w 3773795"/>
                <a:gd name="connsiteY1513" fmla="*/ 367624 h 1451770"/>
                <a:gd name="connsiteX1514" fmla="*/ 790210 w 3773795"/>
                <a:gd name="connsiteY1514" fmla="*/ 357490 h 1451770"/>
                <a:gd name="connsiteX1515" fmla="*/ 791879 w 3773795"/>
                <a:gd name="connsiteY1515" fmla="*/ 356770 h 1451770"/>
                <a:gd name="connsiteX1516" fmla="*/ 806515 w 3773795"/>
                <a:gd name="connsiteY1516" fmla="*/ 354798 h 1451770"/>
                <a:gd name="connsiteX1517" fmla="*/ 807815 w 3773795"/>
                <a:gd name="connsiteY1517" fmla="*/ 354152 h 1451770"/>
                <a:gd name="connsiteX1518" fmla="*/ 803622 w 3773795"/>
                <a:gd name="connsiteY1518" fmla="*/ 352136 h 1451770"/>
                <a:gd name="connsiteX1519" fmla="*/ 799294 w 3773795"/>
                <a:gd name="connsiteY1519" fmla="*/ 352179 h 1451770"/>
                <a:gd name="connsiteX1520" fmla="*/ 797299 w 3773795"/>
                <a:gd name="connsiteY1520" fmla="*/ 351528 h 1451770"/>
                <a:gd name="connsiteX1521" fmla="*/ 796167 w 3773795"/>
                <a:gd name="connsiteY1521" fmla="*/ 350021 h 1451770"/>
                <a:gd name="connsiteX1522" fmla="*/ 795545 w 3773795"/>
                <a:gd name="connsiteY1522" fmla="*/ 348393 h 1451770"/>
                <a:gd name="connsiteX1523" fmla="*/ 797258 w 3773795"/>
                <a:gd name="connsiteY1523" fmla="*/ 347139 h 1451770"/>
                <a:gd name="connsiteX1524" fmla="*/ 802874 w 3773795"/>
                <a:gd name="connsiteY1524" fmla="*/ 340997 h 1451770"/>
                <a:gd name="connsiteX1525" fmla="*/ 809601 w 3773795"/>
                <a:gd name="connsiteY1525" fmla="*/ 336529 h 1451770"/>
                <a:gd name="connsiteX1526" fmla="*/ 815811 w 3773795"/>
                <a:gd name="connsiteY1526" fmla="*/ 333899 h 1451770"/>
                <a:gd name="connsiteX1527" fmla="*/ 814258 w 3773795"/>
                <a:gd name="connsiteY1527" fmla="*/ 333198 h 1451770"/>
                <a:gd name="connsiteX1528" fmla="*/ 812302 w 3773795"/>
                <a:gd name="connsiteY1528" fmla="*/ 331406 h 1451770"/>
                <a:gd name="connsiteX1529" fmla="*/ 804740 w 3773795"/>
                <a:gd name="connsiteY1529" fmla="*/ 331852 h 1451770"/>
                <a:gd name="connsiteX1530" fmla="*/ 801758 w 3773795"/>
                <a:gd name="connsiteY1530" fmla="*/ 329402 h 1451770"/>
                <a:gd name="connsiteX1531" fmla="*/ 800829 w 3773795"/>
                <a:gd name="connsiteY1531" fmla="*/ 327989 h 1451770"/>
                <a:gd name="connsiteX1532" fmla="*/ 800583 w 3773795"/>
                <a:gd name="connsiteY1532" fmla="*/ 326469 h 1451770"/>
                <a:gd name="connsiteX1533" fmla="*/ 803030 w 3773795"/>
                <a:gd name="connsiteY1533" fmla="*/ 324541 h 1451770"/>
                <a:gd name="connsiteX1534" fmla="*/ 805569 w 3773795"/>
                <a:gd name="connsiteY1534" fmla="*/ 323391 h 1451770"/>
                <a:gd name="connsiteX1535" fmla="*/ 808370 w 3773795"/>
                <a:gd name="connsiteY1535" fmla="*/ 323732 h 1451770"/>
                <a:gd name="connsiteX1536" fmla="*/ 811166 w 3773795"/>
                <a:gd name="connsiteY1536" fmla="*/ 324721 h 1451770"/>
                <a:gd name="connsiteX1537" fmla="*/ 813386 w 3773795"/>
                <a:gd name="connsiteY1537" fmla="*/ 325880 h 1451770"/>
                <a:gd name="connsiteX1538" fmla="*/ 815513 w 3773795"/>
                <a:gd name="connsiteY1538" fmla="*/ 327747 h 1451770"/>
                <a:gd name="connsiteX1539" fmla="*/ 817394 w 3773795"/>
                <a:gd name="connsiteY1539" fmla="*/ 327673 h 1451770"/>
                <a:gd name="connsiteX1540" fmla="*/ 824159 w 3773795"/>
                <a:gd name="connsiteY1540" fmla="*/ 321162 h 1451770"/>
                <a:gd name="connsiteX1541" fmla="*/ 823121 w 3773795"/>
                <a:gd name="connsiteY1541" fmla="*/ 319677 h 1451770"/>
                <a:gd name="connsiteX1542" fmla="*/ 822682 w 3773795"/>
                <a:gd name="connsiteY1542" fmla="*/ 317420 h 1451770"/>
                <a:gd name="connsiteX1543" fmla="*/ 823456 w 3773795"/>
                <a:gd name="connsiteY1543" fmla="*/ 316394 h 1451770"/>
                <a:gd name="connsiteX1544" fmla="*/ 826662 w 3773795"/>
                <a:gd name="connsiteY1544" fmla="*/ 315337 h 1451770"/>
                <a:gd name="connsiteX1545" fmla="*/ 828830 w 3773795"/>
                <a:gd name="connsiteY1545" fmla="*/ 314947 h 1451770"/>
                <a:gd name="connsiteX1546" fmla="*/ 833568 w 3773795"/>
                <a:gd name="connsiteY1546" fmla="*/ 315420 h 1451770"/>
                <a:gd name="connsiteX1547" fmla="*/ 840313 w 3773795"/>
                <a:gd name="connsiteY1547" fmla="*/ 316847 h 1451770"/>
                <a:gd name="connsiteX1548" fmla="*/ 840860 w 3773795"/>
                <a:gd name="connsiteY1548" fmla="*/ 316169 h 1451770"/>
                <a:gd name="connsiteX1549" fmla="*/ 842555 w 3773795"/>
                <a:gd name="connsiteY1549" fmla="*/ 311790 h 1451770"/>
                <a:gd name="connsiteX1550" fmla="*/ 844218 w 3773795"/>
                <a:gd name="connsiteY1550" fmla="*/ 309455 h 1451770"/>
                <a:gd name="connsiteX1551" fmla="*/ 851078 w 3773795"/>
                <a:gd name="connsiteY1551" fmla="*/ 305607 h 1451770"/>
                <a:gd name="connsiteX1552" fmla="*/ 850612 w 3773795"/>
                <a:gd name="connsiteY1552" fmla="*/ 304419 h 1451770"/>
                <a:gd name="connsiteX1553" fmla="*/ 850297 w 3773795"/>
                <a:gd name="connsiteY1553" fmla="*/ 302439 h 1451770"/>
                <a:gd name="connsiteX1554" fmla="*/ 858258 w 3773795"/>
                <a:gd name="connsiteY1554" fmla="*/ 299889 h 1451770"/>
                <a:gd name="connsiteX1555" fmla="*/ 863441 w 3773795"/>
                <a:gd name="connsiteY1555" fmla="*/ 297320 h 1451770"/>
                <a:gd name="connsiteX1556" fmla="*/ 868494 w 3773795"/>
                <a:gd name="connsiteY1556" fmla="*/ 293802 h 1451770"/>
                <a:gd name="connsiteX1557" fmla="*/ 871003 w 3773795"/>
                <a:gd name="connsiteY1557" fmla="*/ 293037 h 1451770"/>
                <a:gd name="connsiteX1558" fmla="*/ 873562 w 3773795"/>
                <a:gd name="connsiteY1558" fmla="*/ 292946 h 1451770"/>
                <a:gd name="connsiteX1559" fmla="*/ 878783 w 3773795"/>
                <a:gd name="connsiteY1559" fmla="*/ 291441 h 1451770"/>
                <a:gd name="connsiteX1560" fmla="*/ 888410 w 3773795"/>
                <a:gd name="connsiteY1560" fmla="*/ 289685 h 1451770"/>
                <a:gd name="connsiteX1561" fmla="*/ 894031 w 3773795"/>
                <a:gd name="connsiteY1561" fmla="*/ 287964 h 1451770"/>
                <a:gd name="connsiteX1562" fmla="*/ 895845 w 3773795"/>
                <a:gd name="connsiteY1562" fmla="*/ 284213 h 1451770"/>
                <a:gd name="connsiteX1563" fmla="*/ 899408 w 3773795"/>
                <a:gd name="connsiteY1563" fmla="*/ 282865 h 1451770"/>
                <a:gd name="connsiteX1564" fmla="*/ 906635 w 3773795"/>
                <a:gd name="connsiteY1564" fmla="*/ 282301 h 1451770"/>
                <a:gd name="connsiteX1565" fmla="*/ 909386 w 3773795"/>
                <a:gd name="connsiteY1565" fmla="*/ 282510 h 1451770"/>
                <a:gd name="connsiteX1566" fmla="*/ 910947 w 3773795"/>
                <a:gd name="connsiteY1566" fmla="*/ 284111 h 1451770"/>
                <a:gd name="connsiteX1567" fmla="*/ 914065 w 3773795"/>
                <a:gd name="connsiteY1567" fmla="*/ 283998 h 1451770"/>
                <a:gd name="connsiteX1568" fmla="*/ 915294 w 3773795"/>
                <a:gd name="connsiteY1568" fmla="*/ 283182 h 1451770"/>
                <a:gd name="connsiteX1569" fmla="*/ 916536 w 3773795"/>
                <a:gd name="connsiteY1569" fmla="*/ 281791 h 1451770"/>
                <a:gd name="connsiteX1570" fmla="*/ 916160 w 3773795"/>
                <a:gd name="connsiteY1570" fmla="*/ 279554 h 1451770"/>
                <a:gd name="connsiteX1571" fmla="*/ 916104 w 3773795"/>
                <a:gd name="connsiteY1571" fmla="*/ 276643 h 1451770"/>
                <a:gd name="connsiteX1572" fmla="*/ 918814 w 3773795"/>
                <a:gd name="connsiteY1572" fmla="*/ 274792 h 1451770"/>
                <a:gd name="connsiteX1573" fmla="*/ 919803 w 3773795"/>
                <a:gd name="connsiteY1573" fmla="*/ 274404 h 1451770"/>
                <a:gd name="connsiteX1574" fmla="*/ 927935 w 3773795"/>
                <a:gd name="connsiteY1574" fmla="*/ 273653 h 1451770"/>
                <a:gd name="connsiteX1575" fmla="*/ 932748 w 3773795"/>
                <a:gd name="connsiteY1575" fmla="*/ 273994 h 1451770"/>
                <a:gd name="connsiteX1576" fmla="*/ 942703 w 3773795"/>
                <a:gd name="connsiteY1576" fmla="*/ 276248 h 1451770"/>
                <a:gd name="connsiteX1577" fmla="*/ 947873 w 3773795"/>
                <a:gd name="connsiteY1577" fmla="*/ 276756 h 1451770"/>
                <a:gd name="connsiteX1578" fmla="*/ 954748 w 3773795"/>
                <a:gd name="connsiteY1578" fmla="*/ 276084 h 1451770"/>
                <a:gd name="connsiteX1579" fmla="*/ 958937 w 3773795"/>
                <a:gd name="connsiteY1579" fmla="*/ 276473 h 1451770"/>
                <a:gd name="connsiteX1580" fmla="*/ 971203 w 3773795"/>
                <a:gd name="connsiteY1580" fmla="*/ 273148 h 1451770"/>
                <a:gd name="connsiteX1581" fmla="*/ 991929 w 3773795"/>
                <a:gd name="connsiteY1581" fmla="*/ 270010 h 1451770"/>
                <a:gd name="connsiteX1582" fmla="*/ 997327 w 3773795"/>
                <a:gd name="connsiteY1582" fmla="*/ 267819 h 1451770"/>
                <a:gd name="connsiteX1583" fmla="*/ 1002687 w 3773795"/>
                <a:gd name="connsiteY1583" fmla="*/ 265146 h 1451770"/>
                <a:gd name="connsiteX1584" fmla="*/ 1005403 w 3773795"/>
                <a:gd name="connsiteY1584" fmla="*/ 264577 h 1451770"/>
                <a:gd name="connsiteX1585" fmla="*/ 1008152 w 3773795"/>
                <a:gd name="connsiteY1585" fmla="*/ 264443 h 1451770"/>
                <a:gd name="connsiteX1586" fmla="*/ 1010642 w 3773795"/>
                <a:gd name="connsiteY1586" fmla="*/ 263604 h 1451770"/>
                <a:gd name="connsiteX1587" fmla="*/ 1015477 w 3773795"/>
                <a:gd name="connsiteY1587" fmla="*/ 261311 h 1451770"/>
                <a:gd name="connsiteX1588" fmla="*/ 1017876 w 3773795"/>
                <a:gd name="connsiteY1588" fmla="*/ 260813 h 1451770"/>
                <a:gd name="connsiteX1589" fmla="*/ 1020491 w 3773795"/>
                <a:gd name="connsiteY1589" fmla="*/ 260783 h 1451770"/>
                <a:gd name="connsiteX1590" fmla="*/ 1022872 w 3773795"/>
                <a:gd name="connsiteY1590" fmla="*/ 259218 h 1451770"/>
                <a:gd name="connsiteX1591" fmla="*/ 1024995 w 3773795"/>
                <a:gd name="connsiteY1591" fmla="*/ 255780 h 1451770"/>
                <a:gd name="connsiteX1592" fmla="*/ 1027297 w 3773795"/>
                <a:gd name="connsiteY1592" fmla="*/ 253096 h 1451770"/>
                <a:gd name="connsiteX1593" fmla="*/ 1033538 w 3773795"/>
                <a:gd name="connsiteY1593" fmla="*/ 249631 h 1451770"/>
                <a:gd name="connsiteX1594" fmla="*/ 1044231 w 3773795"/>
                <a:gd name="connsiteY1594" fmla="*/ 244868 h 1451770"/>
                <a:gd name="connsiteX1595" fmla="*/ 1053847 w 3773795"/>
                <a:gd name="connsiteY1595" fmla="*/ 243014 h 1451770"/>
                <a:gd name="connsiteX1596" fmla="*/ 1059845 w 3773795"/>
                <a:gd name="connsiteY1596" fmla="*/ 240969 h 1451770"/>
                <a:gd name="connsiteX1597" fmla="*/ 1700952 w 3773795"/>
                <a:gd name="connsiteY1597" fmla="*/ 231750 h 1451770"/>
                <a:gd name="connsiteX1598" fmla="*/ 1701693 w 3773795"/>
                <a:gd name="connsiteY1598" fmla="*/ 234154 h 1451770"/>
                <a:gd name="connsiteX1599" fmla="*/ 1701680 w 3773795"/>
                <a:gd name="connsiteY1599" fmla="*/ 235295 h 1451770"/>
                <a:gd name="connsiteX1600" fmla="*/ 1698650 w 3773795"/>
                <a:gd name="connsiteY1600" fmla="*/ 238017 h 1451770"/>
                <a:gd name="connsiteX1601" fmla="*/ 1695579 w 3773795"/>
                <a:gd name="connsiteY1601" fmla="*/ 240090 h 1451770"/>
                <a:gd name="connsiteX1602" fmla="*/ 1694873 w 3773795"/>
                <a:gd name="connsiteY1602" fmla="*/ 240992 h 1451770"/>
                <a:gd name="connsiteX1603" fmla="*/ 1693908 w 3773795"/>
                <a:gd name="connsiteY1603" fmla="*/ 241695 h 1451770"/>
                <a:gd name="connsiteX1604" fmla="*/ 1691289 w 3773795"/>
                <a:gd name="connsiteY1604" fmla="*/ 241212 h 1451770"/>
                <a:gd name="connsiteX1605" fmla="*/ 1686054 w 3773795"/>
                <a:gd name="connsiteY1605" fmla="*/ 242494 h 1451770"/>
                <a:gd name="connsiteX1606" fmla="*/ 1684089 w 3773795"/>
                <a:gd name="connsiteY1606" fmla="*/ 241766 h 1451770"/>
                <a:gd name="connsiteX1607" fmla="*/ 1682211 w 3773795"/>
                <a:gd name="connsiteY1607" fmla="*/ 240338 h 1451770"/>
                <a:gd name="connsiteX1608" fmla="*/ 1675206 w 3773795"/>
                <a:gd name="connsiteY1608" fmla="*/ 240795 h 1451770"/>
                <a:gd name="connsiteX1609" fmla="*/ 1673133 w 3773795"/>
                <a:gd name="connsiteY1609" fmla="*/ 240454 h 1451770"/>
                <a:gd name="connsiteX1610" fmla="*/ 1676458 w 3773795"/>
                <a:gd name="connsiteY1610" fmla="*/ 238702 h 1451770"/>
                <a:gd name="connsiteX1611" fmla="*/ 1686041 w 3773795"/>
                <a:gd name="connsiteY1611" fmla="*/ 236789 h 1451770"/>
                <a:gd name="connsiteX1612" fmla="*/ 1548109 w 3773795"/>
                <a:gd name="connsiteY1612" fmla="*/ 226811 h 1451770"/>
                <a:gd name="connsiteX1613" fmla="*/ 1549510 w 3773795"/>
                <a:gd name="connsiteY1613" fmla="*/ 228250 h 1451770"/>
                <a:gd name="connsiteX1614" fmla="*/ 1549205 w 3773795"/>
                <a:gd name="connsiteY1614" fmla="*/ 229459 h 1451770"/>
                <a:gd name="connsiteX1615" fmla="*/ 1545855 w 3773795"/>
                <a:gd name="connsiteY1615" fmla="*/ 232530 h 1451770"/>
                <a:gd name="connsiteX1616" fmla="*/ 1541106 w 3773795"/>
                <a:gd name="connsiteY1616" fmla="*/ 232756 h 1451770"/>
                <a:gd name="connsiteX1617" fmla="*/ 1538447 w 3773795"/>
                <a:gd name="connsiteY1617" fmla="*/ 231544 h 1451770"/>
                <a:gd name="connsiteX1618" fmla="*/ 1537616 w 3773795"/>
                <a:gd name="connsiteY1618" fmla="*/ 230755 h 1451770"/>
                <a:gd name="connsiteX1619" fmla="*/ 1538916 w 3773795"/>
                <a:gd name="connsiteY1619" fmla="*/ 228641 h 1451770"/>
                <a:gd name="connsiteX1620" fmla="*/ 1540708 w 3773795"/>
                <a:gd name="connsiteY1620" fmla="*/ 227260 h 1451770"/>
                <a:gd name="connsiteX1621" fmla="*/ 1943257 w 3773795"/>
                <a:gd name="connsiteY1621" fmla="*/ 225119 h 1451770"/>
                <a:gd name="connsiteX1622" fmla="*/ 1945628 w 3773795"/>
                <a:gd name="connsiteY1622" fmla="*/ 225921 h 1451770"/>
                <a:gd name="connsiteX1623" fmla="*/ 1946416 w 3773795"/>
                <a:gd name="connsiteY1623" fmla="*/ 226406 h 1451770"/>
                <a:gd name="connsiteX1624" fmla="*/ 1947195 w 3773795"/>
                <a:gd name="connsiteY1624" fmla="*/ 227338 h 1451770"/>
                <a:gd name="connsiteX1625" fmla="*/ 1947526 w 3773795"/>
                <a:gd name="connsiteY1625" fmla="*/ 228815 h 1451770"/>
                <a:gd name="connsiteX1626" fmla="*/ 1941672 w 3773795"/>
                <a:gd name="connsiteY1626" fmla="*/ 230013 h 1451770"/>
                <a:gd name="connsiteX1627" fmla="*/ 1939184 w 3773795"/>
                <a:gd name="connsiteY1627" fmla="*/ 230068 h 1451770"/>
                <a:gd name="connsiteX1628" fmla="*/ 1938461 w 3773795"/>
                <a:gd name="connsiteY1628" fmla="*/ 227843 h 1451770"/>
                <a:gd name="connsiteX1629" fmla="*/ 1940603 w 3773795"/>
                <a:gd name="connsiteY1629" fmla="*/ 225142 h 1451770"/>
                <a:gd name="connsiteX1630" fmla="*/ 1870252 w 3773795"/>
                <a:gd name="connsiteY1630" fmla="*/ 207045 h 1451770"/>
                <a:gd name="connsiteX1631" fmla="*/ 1884170 w 3773795"/>
                <a:gd name="connsiteY1631" fmla="*/ 210755 h 1451770"/>
                <a:gd name="connsiteX1632" fmla="*/ 1887508 w 3773795"/>
                <a:gd name="connsiteY1632" fmla="*/ 213466 h 1451770"/>
                <a:gd name="connsiteX1633" fmla="*/ 1895109 w 3773795"/>
                <a:gd name="connsiteY1633" fmla="*/ 215614 h 1451770"/>
                <a:gd name="connsiteX1634" fmla="*/ 1903981 w 3773795"/>
                <a:gd name="connsiteY1634" fmla="*/ 216744 h 1451770"/>
                <a:gd name="connsiteX1635" fmla="*/ 1908056 w 3773795"/>
                <a:gd name="connsiteY1635" fmla="*/ 218457 h 1451770"/>
                <a:gd name="connsiteX1636" fmla="*/ 1910021 w 3773795"/>
                <a:gd name="connsiteY1636" fmla="*/ 220399 h 1451770"/>
                <a:gd name="connsiteX1637" fmla="*/ 1911706 w 3773795"/>
                <a:gd name="connsiteY1637" fmla="*/ 223082 h 1451770"/>
                <a:gd name="connsiteX1638" fmla="*/ 1904511 w 3773795"/>
                <a:gd name="connsiteY1638" fmla="*/ 224890 h 1451770"/>
                <a:gd name="connsiteX1639" fmla="*/ 1896780 w 3773795"/>
                <a:gd name="connsiteY1639" fmla="*/ 230239 h 1451770"/>
                <a:gd name="connsiteX1640" fmla="*/ 1886329 w 3773795"/>
                <a:gd name="connsiteY1640" fmla="*/ 233190 h 1451770"/>
                <a:gd name="connsiteX1641" fmla="*/ 1873321 w 3773795"/>
                <a:gd name="connsiteY1641" fmla="*/ 235152 h 1451770"/>
                <a:gd name="connsiteX1642" fmla="*/ 1870641 w 3773795"/>
                <a:gd name="connsiteY1642" fmla="*/ 236591 h 1451770"/>
                <a:gd name="connsiteX1643" fmla="*/ 1895357 w 3773795"/>
                <a:gd name="connsiteY1643" fmla="*/ 237032 h 1451770"/>
                <a:gd name="connsiteX1644" fmla="*/ 1902559 w 3773795"/>
                <a:gd name="connsiteY1644" fmla="*/ 236643 h 1451770"/>
                <a:gd name="connsiteX1645" fmla="*/ 1904021 w 3773795"/>
                <a:gd name="connsiteY1645" fmla="*/ 241262 h 1451770"/>
                <a:gd name="connsiteX1646" fmla="*/ 1906457 w 3773795"/>
                <a:gd name="connsiteY1646" fmla="*/ 241446 h 1451770"/>
                <a:gd name="connsiteX1647" fmla="*/ 1913604 w 3773795"/>
                <a:gd name="connsiteY1647" fmla="*/ 239222 h 1451770"/>
                <a:gd name="connsiteX1648" fmla="*/ 1917878 w 3773795"/>
                <a:gd name="connsiteY1648" fmla="*/ 239104 h 1451770"/>
                <a:gd name="connsiteX1649" fmla="*/ 1925979 w 3773795"/>
                <a:gd name="connsiteY1649" fmla="*/ 240690 h 1451770"/>
                <a:gd name="connsiteX1650" fmla="*/ 1927718 w 3773795"/>
                <a:gd name="connsiteY1650" fmla="*/ 239852 h 1451770"/>
                <a:gd name="connsiteX1651" fmla="*/ 1931209 w 3773795"/>
                <a:gd name="connsiteY1651" fmla="*/ 239731 h 1451770"/>
                <a:gd name="connsiteX1652" fmla="*/ 1938668 w 3773795"/>
                <a:gd name="connsiteY1652" fmla="*/ 241750 h 1451770"/>
                <a:gd name="connsiteX1653" fmla="*/ 1942004 w 3773795"/>
                <a:gd name="connsiteY1653" fmla="*/ 244741 h 1451770"/>
                <a:gd name="connsiteX1654" fmla="*/ 1936707 w 3773795"/>
                <a:gd name="connsiteY1654" fmla="*/ 249586 h 1451770"/>
                <a:gd name="connsiteX1655" fmla="*/ 1931195 w 3773795"/>
                <a:gd name="connsiteY1655" fmla="*/ 253817 h 1451770"/>
                <a:gd name="connsiteX1656" fmla="*/ 1924514 w 3773795"/>
                <a:gd name="connsiteY1656" fmla="*/ 261055 h 1451770"/>
                <a:gd name="connsiteX1657" fmla="*/ 1922451 w 3773795"/>
                <a:gd name="connsiteY1657" fmla="*/ 260462 h 1451770"/>
                <a:gd name="connsiteX1658" fmla="*/ 1918895 w 3773795"/>
                <a:gd name="connsiteY1658" fmla="*/ 260316 h 1451770"/>
                <a:gd name="connsiteX1659" fmla="*/ 1919534 w 3773795"/>
                <a:gd name="connsiteY1659" fmla="*/ 263864 h 1451770"/>
                <a:gd name="connsiteX1660" fmla="*/ 1925496 w 3773795"/>
                <a:gd name="connsiteY1660" fmla="*/ 263752 h 1451770"/>
                <a:gd name="connsiteX1661" fmla="*/ 1928640 w 3773795"/>
                <a:gd name="connsiteY1661" fmla="*/ 265341 h 1451770"/>
                <a:gd name="connsiteX1662" fmla="*/ 1935988 w 3773795"/>
                <a:gd name="connsiteY1662" fmla="*/ 263322 h 1451770"/>
                <a:gd name="connsiteX1663" fmla="*/ 1946304 w 3773795"/>
                <a:gd name="connsiteY1663" fmla="*/ 263963 h 1451770"/>
                <a:gd name="connsiteX1664" fmla="*/ 1948469 w 3773795"/>
                <a:gd name="connsiteY1664" fmla="*/ 263402 h 1451770"/>
                <a:gd name="connsiteX1665" fmla="*/ 1952451 w 3773795"/>
                <a:gd name="connsiteY1665" fmla="*/ 261226 h 1451770"/>
                <a:gd name="connsiteX1666" fmla="*/ 1953505 w 3773795"/>
                <a:gd name="connsiteY1666" fmla="*/ 257038 h 1451770"/>
                <a:gd name="connsiteX1667" fmla="*/ 1955230 w 3773795"/>
                <a:gd name="connsiteY1667" fmla="*/ 254372 h 1451770"/>
                <a:gd name="connsiteX1668" fmla="*/ 1958629 w 3773795"/>
                <a:gd name="connsiteY1668" fmla="*/ 253477 h 1451770"/>
                <a:gd name="connsiteX1669" fmla="*/ 1962397 w 3773795"/>
                <a:gd name="connsiteY1669" fmla="*/ 254323 h 1451770"/>
                <a:gd name="connsiteX1670" fmla="*/ 1968729 w 3773795"/>
                <a:gd name="connsiteY1670" fmla="*/ 254295 h 1451770"/>
                <a:gd name="connsiteX1671" fmla="*/ 1984892 w 3773795"/>
                <a:gd name="connsiteY1671" fmla="*/ 252951 h 1451770"/>
                <a:gd name="connsiteX1672" fmla="*/ 1998421 w 3773795"/>
                <a:gd name="connsiteY1672" fmla="*/ 254676 h 1451770"/>
                <a:gd name="connsiteX1673" fmla="*/ 2009263 w 3773795"/>
                <a:gd name="connsiteY1673" fmla="*/ 252527 h 1451770"/>
                <a:gd name="connsiteX1674" fmla="*/ 2023489 w 3773795"/>
                <a:gd name="connsiteY1674" fmla="*/ 254160 h 1451770"/>
                <a:gd name="connsiteX1675" fmla="*/ 2029628 w 3773795"/>
                <a:gd name="connsiteY1675" fmla="*/ 255839 h 1451770"/>
                <a:gd name="connsiteX1676" fmla="*/ 2034229 w 3773795"/>
                <a:gd name="connsiteY1676" fmla="*/ 258804 h 1451770"/>
                <a:gd name="connsiteX1677" fmla="*/ 2038332 w 3773795"/>
                <a:gd name="connsiteY1677" fmla="*/ 259667 h 1451770"/>
                <a:gd name="connsiteX1678" fmla="*/ 2041706 w 3773795"/>
                <a:gd name="connsiteY1678" fmla="*/ 261973 h 1451770"/>
                <a:gd name="connsiteX1679" fmla="*/ 2045139 w 3773795"/>
                <a:gd name="connsiteY1679" fmla="*/ 265330 h 1451770"/>
                <a:gd name="connsiteX1680" fmla="*/ 2043433 w 3773795"/>
                <a:gd name="connsiteY1680" fmla="*/ 268070 h 1451770"/>
                <a:gd name="connsiteX1681" fmla="*/ 2041794 w 3773795"/>
                <a:gd name="connsiteY1681" fmla="*/ 269905 h 1451770"/>
                <a:gd name="connsiteX1682" fmla="*/ 2046219 w 3773795"/>
                <a:gd name="connsiteY1682" fmla="*/ 267913 h 1451770"/>
                <a:gd name="connsiteX1683" fmla="*/ 2049630 w 3773795"/>
                <a:gd name="connsiteY1683" fmla="*/ 267423 h 1451770"/>
                <a:gd name="connsiteX1684" fmla="*/ 2052200 w 3773795"/>
                <a:gd name="connsiteY1684" fmla="*/ 268631 h 1451770"/>
                <a:gd name="connsiteX1685" fmla="*/ 2056761 w 3773795"/>
                <a:gd name="connsiteY1685" fmla="*/ 269764 h 1451770"/>
                <a:gd name="connsiteX1686" fmla="*/ 2058190 w 3773795"/>
                <a:gd name="connsiteY1686" fmla="*/ 277286 h 1451770"/>
                <a:gd name="connsiteX1687" fmla="*/ 2059481 w 3773795"/>
                <a:gd name="connsiteY1687" fmla="*/ 278741 h 1451770"/>
                <a:gd name="connsiteX1688" fmla="*/ 2060716 w 3773795"/>
                <a:gd name="connsiteY1688" fmla="*/ 281347 h 1451770"/>
                <a:gd name="connsiteX1689" fmla="*/ 2059024 w 3773795"/>
                <a:gd name="connsiteY1689" fmla="*/ 283730 h 1451770"/>
                <a:gd name="connsiteX1690" fmla="*/ 2057572 w 3773795"/>
                <a:gd name="connsiteY1690" fmla="*/ 284803 h 1451770"/>
                <a:gd name="connsiteX1691" fmla="*/ 2061170 w 3773795"/>
                <a:gd name="connsiteY1691" fmla="*/ 284575 h 1451770"/>
                <a:gd name="connsiteX1692" fmla="*/ 2066206 w 3773795"/>
                <a:gd name="connsiteY1692" fmla="*/ 282053 h 1451770"/>
                <a:gd name="connsiteX1693" fmla="*/ 2067253 w 3773795"/>
                <a:gd name="connsiteY1693" fmla="*/ 281198 h 1451770"/>
                <a:gd name="connsiteX1694" fmla="*/ 2068499 w 3773795"/>
                <a:gd name="connsiteY1694" fmla="*/ 279305 h 1451770"/>
                <a:gd name="connsiteX1695" fmla="*/ 2066634 w 3773795"/>
                <a:gd name="connsiteY1695" fmla="*/ 277450 h 1451770"/>
                <a:gd name="connsiteX1696" fmla="*/ 2064908 w 3773795"/>
                <a:gd name="connsiteY1696" fmla="*/ 276333 h 1451770"/>
                <a:gd name="connsiteX1697" fmla="*/ 2067076 w 3773795"/>
                <a:gd name="connsiteY1697" fmla="*/ 275496 h 1451770"/>
                <a:gd name="connsiteX1698" fmla="*/ 2071202 w 3773795"/>
                <a:gd name="connsiteY1698" fmla="*/ 275790 h 1451770"/>
                <a:gd name="connsiteX1699" fmla="*/ 2073256 w 3773795"/>
                <a:gd name="connsiteY1699" fmla="*/ 279107 h 1451770"/>
                <a:gd name="connsiteX1700" fmla="*/ 2074632 w 3773795"/>
                <a:gd name="connsiteY1700" fmla="*/ 282144 h 1451770"/>
                <a:gd name="connsiteX1701" fmla="*/ 2077641 w 3773795"/>
                <a:gd name="connsiteY1701" fmla="*/ 292136 h 1451770"/>
                <a:gd name="connsiteX1702" fmla="*/ 2084129 w 3773795"/>
                <a:gd name="connsiteY1702" fmla="*/ 290796 h 1451770"/>
                <a:gd name="connsiteX1703" fmla="*/ 2084433 w 3773795"/>
                <a:gd name="connsiteY1703" fmla="*/ 293747 h 1451770"/>
                <a:gd name="connsiteX1704" fmla="*/ 2081730 w 3773795"/>
                <a:gd name="connsiteY1704" fmla="*/ 300563 h 1451770"/>
                <a:gd name="connsiteX1705" fmla="*/ 2078881 w 3773795"/>
                <a:gd name="connsiteY1705" fmla="*/ 305601 h 1451770"/>
                <a:gd name="connsiteX1706" fmla="*/ 2077724 w 3773795"/>
                <a:gd name="connsiteY1706" fmla="*/ 306689 h 1451770"/>
                <a:gd name="connsiteX1707" fmla="*/ 2075918 w 3773795"/>
                <a:gd name="connsiteY1707" fmla="*/ 306888 h 1451770"/>
                <a:gd name="connsiteX1708" fmla="*/ 2076610 w 3773795"/>
                <a:gd name="connsiteY1708" fmla="*/ 304290 h 1451770"/>
                <a:gd name="connsiteX1709" fmla="*/ 2075545 w 3773795"/>
                <a:gd name="connsiteY1709" fmla="*/ 302726 h 1451770"/>
                <a:gd name="connsiteX1710" fmla="*/ 2073832 w 3773795"/>
                <a:gd name="connsiteY1710" fmla="*/ 301774 h 1451770"/>
                <a:gd name="connsiteX1711" fmla="*/ 2067968 w 3773795"/>
                <a:gd name="connsiteY1711" fmla="*/ 300838 h 1451770"/>
                <a:gd name="connsiteX1712" fmla="*/ 2056974 w 3773795"/>
                <a:gd name="connsiteY1712" fmla="*/ 294677 h 1451770"/>
                <a:gd name="connsiteX1713" fmla="*/ 2054044 w 3773795"/>
                <a:gd name="connsiteY1713" fmla="*/ 294023 h 1451770"/>
                <a:gd name="connsiteX1714" fmla="*/ 2053369 w 3773795"/>
                <a:gd name="connsiteY1714" fmla="*/ 294305 h 1451770"/>
                <a:gd name="connsiteX1715" fmla="*/ 2053079 w 3773795"/>
                <a:gd name="connsiteY1715" fmla="*/ 294913 h 1451770"/>
                <a:gd name="connsiteX1716" fmla="*/ 2059194 w 3773795"/>
                <a:gd name="connsiteY1716" fmla="*/ 299084 h 1451770"/>
                <a:gd name="connsiteX1717" fmla="*/ 2064193 w 3773795"/>
                <a:gd name="connsiteY1717" fmla="*/ 306532 h 1451770"/>
                <a:gd name="connsiteX1718" fmla="*/ 2068745 w 3773795"/>
                <a:gd name="connsiteY1718" fmla="*/ 304352 h 1451770"/>
                <a:gd name="connsiteX1719" fmla="*/ 2070546 w 3773795"/>
                <a:gd name="connsiteY1719" fmla="*/ 304759 h 1451770"/>
                <a:gd name="connsiteX1720" fmla="*/ 2073051 w 3773795"/>
                <a:gd name="connsiteY1720" fmla="*/ 308219 h 1451770"/>
                <a:gd name="connsiteX1721" fmla="*/ 2077531 w 3773795"/>
                <a:gd name="connsiteY1721" fmla="*/ 309663 h 1451770"/>
                <a:gd name="connsiteX1722" fmla="*/ 2081230 w 3773795"/>
                <a:gd name="connsiteY1722" fmla="*/ 311963 h 1451770"/>
                <a:gd name="connsiteX1723" fmla="*/ 2078741 w 3773795"/>
                <a:gd name="connsiteY1723" fmla="*/ 318999 h 1451770"/>
                <a:gd name="connsiteX1724" fmla="*/ 2063513 w 3773795"/>
                <a:gd name="connsiteY1724" fmla="*/ 331336 h 1451770"/>
                <a:gd name="connsiteX1725" fmla="*/ 2047307 w 3773795"/>
                <a:gd name="connsiteY1725" fmla="*/ 338483 h 1451770"/>
                <a:gd name="connsiteX1726" fmla="*/ 2040148 w 3773795"/>
                <a:gd name="connsiteY1726" fmla="*/ 343462 h 1451770"/>
                <a:gd name="connsiteX1727" fmla="*/ 2027562 w 3773795"/>
                <a:gd name="connsiteY1727" fmla="*/ 347044 h 1451770"/>
                <a:gd name="connsiteX1728" fmla="*/ 2018578 w 3773795"/>
                <a:gd name="connsiteY1728" fmla="*/ 351878 h 1451770"/>
                <a:gd name="connsiteX1729" fmla="*/ 2007097 w 3773795"/>
                <a:gd name="connsiteY1729" fmla="*/ 355463 h 1451770"/>
                <a:gd name="connsiteX1730" fmla="*/ 2003832 w 3773795"/>
                <a:gd name="connsiteY1730" fmla="*/ 359276 h 1451770"/>
                <a:gd name="connsiteX1731" fmla="*/ 1995306 w 3773795"/>
                <a:gd name="connsiteY1731" fmla="*/ 361744 h 1451770"/>
                <a:gd name="connsiteX1732" fmla="*/ 1995883 w 3773795"/>
                <a:gd name="connsiteY1732" fmla="*/ 363001 h 1451770"/>
                <a:gd name="connsiteX1733" fmla="*/ 1996877 w 3773795"/>
                <a:gd name="connsiteY1733" fmla="*/ 364381 h 1451770"/>
                <a:gd name="connsiteX1734" fmla="*/ 1995827 w 3773795"/>
                <a:gd name="connsiteY1734" fmla="*/ 366658 h 1451770"/>
                <a:gd name="connsiteX1735" fmla="*/ 1994642 w 3773795"/>
                <a:gd name="connsiteY1735" fmla="*/ 368380 h 1451770"/>
                <a:gd name="connsiteX1736" fmla="*/ 1988021 w 3773795"/>
                <a:gd name="connsiteY1736" fmla="*/ 371861 h 1451770"/>
                <a:gd name="connsiteX1737" fmla="*/ 1978383 w 3773795"/>
                <a:gd name="connsiteY1737" fmla="*/ 374304 h 1451770"/>
                <a:gd name="connsiteX1738" fmla="*/ 1959025 w 3773795"/>
                <a:gd name="connsiteY1738" fmla="*/ 388864 h 1451770"/>
                <a:gd name="connsiteX1739" fmla="*/ 1949426 w 3773795"/>
                <a:gd name="connsiteY1739" fmla="*/ 391824 h 1451770"/>
                <a:gd name="connsiteX1740" fmla="*/ 1938495 w 3773795"/>
                <a:gd name="connsiteY1740" fmla="*/ 391993 h 1451770"/>
                <a:gd name="connsiteX1741" fmla="*/ 1936193 w 3773795"/>
                <a:gd name="connsiteY1741" fmla="*/ 393347 h 1451770"/>
                <a:gd name="connsiteX1742" fmla="*/ 1927951 w 3773795"/>
                <a:gd name="connsiteY1742" fmla="*/ 402425 h 1451770"/>
                <a:gd name="connsiteX1743" fmla="*/ 1925412 w 3773795"/>
                <a:gd name="connsiteY1743" fmla="*/ 404382 h 1451770"/>
                <a:gd name="connsiteX1744" fmla="*/ 1914561 w 3773795"/>
                <a:gd name="connsiteY1744" fmla="*/ 405345 h 1451770"/>
                <a:gd name="connsiteX1745" fmla="*/ 1903250 w 3773795"/>
                <a:gd name="connsiteY1745" fmla="*/ 420106 h 1451770"/>
                <a:gd name="connsiteX1746" fmla="*/ 1896962 w 3773795"/>
                <a:gd name="connsiteY1746" fmla="*/ 425085 h 1451770"/>
                <a:gd name="connsiteX1747" fmla="*/ 1891460 w 3773795"/>
                <a:gd name="connsiteY1747" fmla="*/ 427773 h 1451770"/>
                <a:gd name="connsiteX1748" fmla="*/ 1897182 w 3773795"/>
                <a:gd name="connsiteY1748" fmla="*/ 427232 h 1451770"/>
                <a:gd name="connsiteX1749" fmla="*/ 1903937 w 3773795"/>
                <a:gd name="connsiteY1749" fmla="*/ 425268 h 1451770"/>
                <a:gd name="connsiteX1750" fmla="*/ 1911863 w 3773795"/>
                <a:gd name="connsiteY1750" fmla="*/ 420503 h 1451770"/>
                <a:gd name="connsiteX1751" fmla="*/ 1913917 w 3773795"/>
                <a:gd name="connsiteY1751" fmla="*/ 418304 h 1451770"/>
                <a:gd name="connsiteX1752" fmla="*/ 1915006 w 3773795"/>
                <a:gd name="connsiteY1752" fmla="*/ 415831 h 1451770"/>
                <a:gd name="connsiteX1753" fmla="*/ 1917355 w 3773795"/>
                <a:gd name="connsiteY1753" fmla="*/ 413893 h 1451770"/>
                <a:gd name="connsiteX1754" fmla="*/ 1920956 w 3773795"/>
                <a:gd name="connsiteY1754" fmla="*/ 412496 h 1451770"/>
                <a:gd name="connsiteX1755" fmla="*/ 1934906 w 3773795"/>
                <a:gd name="connsiteY1755" fmla="*/ 410891 h 1451770"/>
                <a:gd name="connsiteX1756" fmla="*/ 1940654 w 3773795"/>
                <a:gd name="connsiteY1756" fmla="*/ 411491 h 1451770"/>
                <a:gd name="connsiteX1757" fmla="*/ 1949093 w 3773795"/>
                <a:gd name="connsiteY1757" fmla="*/ 411067 h 1451770"/>
                <a:gd name="connsiteX1758" fmla="*/ 1954641 w 3773795"/>
                <a:gd name="connsiteY1758" fmla="*/ 408419 h 1451770"/>
                <a:gd name="connsiteX1759" fmla="*/ 1957951 w 3773795"/>
                <a:gd name="connsiteY1759" fmla="*/ 407472 h 1451770"/>
                <a:gd name="connsiteX1760" fmla="*/ 1960923 w 3773795"/>
                <a:gd name="connsiteY1760" fmla="*/ 407135 h 1451770"/>
                <a:gd name="connsiteX1761" fmla="*/ 1962385 w 3773795"/>
                <a:gd name="connsiteY1761" fmla="*/ 405251 h 1451770"/>
                <a:gd name="connsiteX1762" fmla="*/ 1967336 w 3773795"/>
                <a:gd name="connsiteY1762" fmla="*/ 404875 h 1451770"/>
                <a:gd name="connsiteX1763" fmla="*/ 1978714 w 3773795"/>
                <a:gd name="connsiteY1763" fmla="*/ 402350 h 1451770"/>
                <a:gd name="connsiteX1764" fmla="*/ 1980388 w 3773795"/>
                <a:gd name="connsiteY1764" fmla="*/ 401448 h 1451770"/>
                <a:gd name="connsiteX1765" fmla="*/ 1984046 w 3773795"/>
                <a:gd name="connsiteY1765" fmla="*/ 397703 h 1451770"/>
                <a:gd name="connsiteX1766" fmla="*/ 1990813 w 3773795"/>
                <a:gd name="connsiteY1766" fmla="*/ 399130 h 1451770"/>
                <a:gd name="connsiteX1767" fmla="*/ 1995637 w 3773795"/>
                <a:gd name="connsiteY1767" fmla="*/ 398343 h 1451770"/>
                <a:gd name="connsiteX1768" fmla="*/ 2008317 w 3773795"/>
                <a:gd name="connsiteY1768" fmla="*/ 391657 h 1451770"/>
                <a:gd name="connsiteX1769" fmla="*/ 2015937 w 3773795"/>
                <a:gd name="connsiteY1769" fmla="*/ 389075 h 1451770"/>
                <a:gd name="connsiteX1770" fmla="*/ 2018034 w 3773795"/>
                <a:gd name="connsiteY1770" fmla="*/ 387293 h 1451770"/>
                <a:gd name="connsiteX1771" fmla="*/ 2016510 w 3773795"/>
                <a:gd name="connsiteY1771" fmla="*/ 386046 h 1451770"/>
                <a:gd name="connsiteX1772" fmla="*/ 2014810 w 3773795"/>
                <a:gd name="connsiteY1772" fmla="*/ 385180 h 1451770"/>
                <a:gd name="connsiteX1773" fmla="*/ 2007423 w 3773795"/>
                <a:gd name="connsiteY1773" fmla="*/ 387494 h 1451770"/>
                <a:gd name="connsiteX1774" fmla="*/ 2000854 w 3773795"/>
                <a:gd name="connsiteY1774" fmla="*/ 388244 h 1451770"/>
                <a:gd name="connsiteX1775" fmla="*/ 1993370 w 3773795"/>
                <a:gd name="connsiteY1775" fmla="*/ 387643 h 1451770"/>
                <a:gd name="connsiteX1776" fmla="*/ 1992353 w 3773795"/>
                <a:gd name="connsiteY1776" fmla="*/ 386734 h 1451770"/>
                <a:gd name="connsiteX1777" fmla="*/ 1991444 w 3773795"/>
                <a:gd name="connsiteY1777" fmla="*/ 384307 h 1451770"/>
                <a:gd name="connsiteX1778" fmla="*/ 1993843 w 3773795"/>
                <a:gd name="connsiteY1778" fmla="*/ 380822 h 1451770"/>
                <a:gd name="connsiteX1779" fmla="*/ 1995943 w 3773795"/>
                <a:gd name="connsiteY1779" fmla="*/ 378695 h 1451770"/>
                <a:gd name="connsiteX1780" fmla="*/ 2000692 w 3773795"/>
                <a:gd name="connsiteY1780" fmla="*/ 375943 h 1451770"/>
                <a:gd name="connsiteX1781" fmla="*/ 2004618 w 3773795"/>
                <a:gd name="connsiteY1781" fmla="*/ 374948 h 1451770"/>
                <a:gd name="connsiteX1782" fmla="*/ 2019183 w 3773795"/>
                <a:gd name="connsiteY1782" fmla="*/ 377949 h 1451770"/>
                <a:gd name="connsiteX1783" fmla="*/ 2022193 w 3773795"/>
                <a:gd name="connsiteY1783" fmla="*/ 378318 h 1451770"/>
                <a:gd name="connsiteX1784" fmla="*/ 2023843 w 3773795"/>
                <a:gd name="connsiteY1784" fmla="*/ 373418 h 1451770"/>
                <a:gd name="connsiteX1785" fmla="*/ 2028499 w 3773795"/>
                <a:gd name="connsiteY1785" fmla="*/ 373654 h 1451770"/>
                <a:gd name="connsiteX1786" fmla="*/ 2033124 w 3773795"/>
                <a:gd name="connsiteY1786" fmla="*/ 374469 h 1451770"/>
                <a:gd name="connsiteX1787" fmla="*/ 2031120 w 3773795"/>
                <a:gd name="connsiteY1787" fmla="*/ 375492 h 1451770"/>
                <a:gd name="connsiteX1788" fmla="*/ 2025993 w 3773795"/>
                <a:gd name="connsiteY1788" fmla="*/ 377058 h 1451770"/>
                <a:gd name="connsiteX1789" fmla="*/ 2027572 w 3773795"/>
                <a:gd name="connsiteY1789" fmla="*/ 380666 h 1451770"/>
                <a:gd name="connsiteX1790" fmla="*/ 2029803 w 3773795"/>
                <a:gd name="connsiteY1790" fmla="*/ 383125 h 1451770"/>
                <a:gd name="connsiteX1791" fmla="*/ 2038721 w 3773795"/>
                <a:gd name="connsiteY1791" fmla="*/ 386669 h 1451770"/>
                <a:gd name="connsiteX1792" fmla="*/ 2046318 w 3773795"/>
                <a:gd name="connsiteY1792" fmla="*/ 388227 h 1451770"/>
                <a:gd name="connsiteX1793" fmla="*/ 2051907 w 3773795"/>
                <a:gd name="connsiteY1793" fmla="*/ 388133 h 1451770"/>
                <a:gd name="connsiteX1794" fmla="*/ 2060649 w 3773795"/>
                <a:gd name="connsiteY1794" fmla="*/ 386633 h 1451770"/>
                <a:gd name="connsiteX1795" fmla="*/ 2061988 w 3773795"/>
                <a:gd name="connsiteY1795" fmla="*/ 385557 h 1451770"/>
                <a:gd name="connsiteX1796" fmla="*/ 2063839 w 3773795"/>
                <a:gd name="connsiteY1796" fmla="*/ 382785 h 1451770"/>
                <a:gd name="connsiteX1797" fmla="*/ 2061546 w 3773795"/>
                <a:gd name="connsiteY1797" fmla="*/ 377338 h 1451770"/>
                <a:gd name="connsiteX1798" fmla="*/ 2063735 w 3773795"/>
                <a:gd name="connsiteY1798" fmla="*/ 378044 h 1451770"/>
                <a:gd name="connsiteX1799" fmla="*/ 2065899 w 3773795"/>
                <a:gd name="connsiteY1799" fmla="*/ 379417 h 1451770"/>
                <a:gd name="connsiteX1800" fmla="*/ 2069188 w 3773795"/>
                <a:gd name="connsiteY1800" fmla="*/ 382709 h 1451770"/>
                <a:gd name="connsiteX1801" fmla="*/ 2072401 w 3773795"/>
                <a:gd name="connsiteY1801" fmla="*/ 388292 h 1451770"/>
                <a:gd name="connsiteX1802" fmla="*/ 2074377 w 3773795"/>
                <a:gd name="connsiteY1802" fmla="*/ 390856 h 1451770"/>
                <a:gd name="connsiteX1803" fmla="*/ 2073232 w 3773795"/>
                <a:gd name="connsiteY1803" fmla="*/ 393631 h 1451770"/>
                <a:gd name="connsiteX1804" fmla="*/ 2068644 w 3773795"/>
                <a:gd name="connsiteY1804" fmla="*/ 398892 h 1451770"/>
                <a:gd name="connsiteX1805" fmla="*/ 2071298 w 3773795"/>
                <a:gd name="connsiteY1805" fmla="*/ 401793 h 1451770"/>
                <a:gd name="connsiteX1806" fmla="*/ 2076029 w 3773795"/>
                <a:gd name="connsiteY1806" fmla="*/ 403725 h 1451770"/>
                <a:gd name="connsiteX1807" fmla="*/ 2075955 w 3773795"/>
                <a:gd name="connsiteY1807" fmla="*/ 412254 h 1451770"/>
                <a:gd name="connsiteX1808" fmla="*/ 2075668 w 3773795"/>
                <a:gd name="connsiteY1808" fmla="*/ 416368 h 1451770"/>
                <a:gd name="connsiteX1809" fmla="*/ 2073340 w 3773795"/>
                <a:gd name="connsiteY1809" fmla="*/ 420839 h 1451770"/>
                <a:gd name="connsiteX1810" fmla="*/ 2070643 w 3773795"/>
                <a:gd name="connsiteY1810" fmla="*/ 422721 h 1451770"/>
                <a:gd name="connsiteX1811" fmla="*/ 2068000 w 3773795"/>
                <a:gd name="connsiteY1811" fmla="*/ 425520 h 1451770"/>
                <a:gd name="connsiteX1812" fmla="*/ 2068671 w 3773795"/>
                <a:gd name="connsiteY1812" fmla="*/ 428091 h 1451770"/>
                <a:gd name="connsiteX1813" fmla="*/ 2069289 w 3773795"/>
                <a:gd name="connsiteY1813" fmla="*/ 429740 h 1451770"/>
                <a:gd name="connsiteX1814" fmla="*/ 2072077 w 3773795"/>
                <a:gd name="connsiteY1814" fmla="*/ 432791 h 1451770"/>
                <a:gd name="connsiteX1815" fmla="*/ 2079868 w 3773795"/>
                <a:gd name="connsiteY1815" fmla="*/ 433748 h 1451770"/>
                <a:gd name="connsiteX1816" fmla="*/ 2080916 w 3773795"/>
                <a:gd name="connsiteY1816" fmla="*/ 432926 h 1451770"/>
                <a:gd name="connsiteX1817" fmla="*/ 2079106 w 3773795"/>
                <a:gd name="connsiteY1817" fmla="*/ 431965 h 1451770"/>
                <a:gd name="connsiteX1818" fmla="*/ 2073828 w 3773795"/>
                <a:gd name="connsiteY1818" fmla="*/ 430543 h 1451770"/>
                <a:gd name="connsiteX1819" fmla="*/ 2071766 w 3773795"/>
                <a:gd name="connsiteY1819" fmla="*/ 429375 h 1451770"/>
                <a:gd name="connsiteX1820" fmla="*/ 2069940 w 3773795"/>
                <a:gd name="connsiteY1820" fmla="*/ 426563 h 1451770"/>
                <a:gd name="connsiteX1821" fmla="*/ 2072062 w 3773795"/>
                <a:gd name="connsiteY1821" fmla="*/ 423516 h 1451770"/>
                <a:gd name="connsiteX1822" fmla="*/ 2074405 w 3773795"/>
                <a:gd name="connsiteY1822" fmla="*/ 421248 h 1451770"/>
                <a:gd name="connsiteX1823" fmla="*/ 2077176 w 3773795"/>
                <a:gd name="connsiteY1823" fmla="*/ 416094 h 1451770"/>
                <a:gd name="connsiteX1824" fmla="*/ 2078031 w 3773795"/>
                <a:gd name="connsiteY1824" fmla="*/ 412376 h 1451770"/>
                <a:gd name="connsiteX1825" fmla="*/ 2077531 w 3773795"/>
                <a:gd name="connsiteY1825" fmla="*/ 408546 h 1451770"/>
                <a:gd name="connsiteX1826" fmla="*/ 2079306 w 3773795"/>
                <a:gd name="connsiteY1826" fmla="*/ 406807 h 1451770"/>
                <a:gd name="connsiteX1827" fmla="*/ 2082095 w 3773795"/>
                <a:gd name="connsiteY1827" fmla="*/ 404921 h 1451770"/>
                <a:gd name="connsiteX1828" fmla="*/ 2083511 w 3773795"/>
                <a:gd name="connsiteY1828" fmla="*/ 404556 h 1451770"/>
                <a:gd name="connsiteX1829" fmla="*/ 2084770 w 3773795"/>
                <a:gd name="connsiteY1829" fmla="*/ 403738 h 1451770"/>
                <a:gd name="connsiteX1830" fmla="*/ 2082755 w 3773795"/>
                <a:gd name="connsiteY1830" fmla="*/ 402818 h 1451770"/>
                <a:gd name="connsiteX1831" fmla="*/ 2080902 w 3773795"/>
                <a:gd name="connsiteY1831" fmla="*/ 402344 h 1451770"/>
                <a:gd name="connsiteX1832" fmla="*/ 2077102 w 3773795"/>
                <a:gd name="connsiteY1832" fmla="*/ 399998 h 1451770"/>
                <a:gd name="connsiteX1833" fmla="*/ 2076459 w 3773795"/>
                <a:gd name="connsiteY1833" fmla="*/ 396955 h 1451770"/>
                <a:gd name="connsiteX1834" fmla="*/ 2084122 w 3773795"/>
                <a:gd name="connsiteY1834" fmla="*/ 395741 h 1451770"/>
                <a:gd name="connsiteX1835" fmla="*/ 2088624 w 3773795"/>
                <a:gd name="connsiteY1835" fmla="*/ 393550 h 1451770"/>
                <a:gd name="connsiteX1836" fmla="*/ 2105330 w 3773795"/>
                <a:gd name="connsiteY1836" fmla="*/ 392587 h 1451770"/>
                <a:gd name="connsiteX1837" fmla="*/ 2116865 w 3773795"/>
                <a:gd name="connsiteY1837" fmla="*/ 388500 h 1451770"/>
                <a:gd name="connsiteX1838" fmla="*/ 2142466 w 3773795"/>
                <a:gd name="connsiteY1838" fmla="*/ 389637 h 1451770"/>
                <a:gd name="connsiteX1839" fmla="*/ 2160446 w 3773795"/>
                <a:gd name="connsiteY1839" fmla="*/ 392930 h 1451770"/>
                <a:gd name="connsiteX1840" fmla="*/ 2185689 w 3773795"/>
                <a:gd name="connsiteY1840" fmla="*/ 393330 h 1451770"/>
                <a:gd name="connsiteX1841" fmla="*/ 2194992 w 3773795"/>
                <a:gd name="connsiteY1841" fmla="*/ 395550 h 1451770"/>
                <a:gd name="connsiteX1842" fmla="*/ 2195883 w 3773795"/>
                <a:gd name="connsiteY1842" fmla="*/ 396384 h 1451770"/>
                <a:gd name="connsiteX1843" fmla="*/ 2196440 w 3773795"/>
                <a:gd name="connsiteY1843" fmla="*/ 397970 h 1451770"/>
                <a:gd name="connsiteX1844" fmla="*/ 2192417 w 3773795"/>
                <a:gd name="connsiteY1844" fmla="*/ 398682 h 1451770"/>
                <a:gd name="connsiteX1845" fmla="*/ 2185840 w 3773795"/>
                <a:gd name="connsiteY1845" fmla="*/ 398687 h 1451770"/>
                <a:gd name="connsiteX1846" fmla="*/ 2184061 w 3773795"/>
                <a:gd name="connsiteY1846" fmla="*/ 402826 h 1451770"/>
                <a:gd name="connsiteX1847" fmla="*/ 2185248 w 3773795"/>
                <a:gd name="connsiteY1847" fmla="*/ 407955 h 1451770"/>
                <a:gd name="connsiteX1848" fmla="*/ 2196970 w 3773795"/>
                <a:gd name="connsiteY1848" fmla="*/ 413432 h 1451770"/>
                <a:gd name="connsiteX1849" fmla="*/ 2207251 w 3773795"/>
                <a:gd name="connsiteY1849" fmla="*/ 415687 h 1451770"/>
                <a:gd name="connsiteX1850" fmla="*/ 2214439 w 3773795"/>
                <a:gd name="connsiteY1850" fmla="*/ 419270 h 1451770"/>
                <a:gd name="connsiteX1851" fmla="*/ 2218227 w 3773795"/>
                <a:gd name="connsiteY1851" fmla="*/ 419597 h 1451770"/>
                <a:gd name="connsiteX1852" fmla="*/ 2233180 w 3773795"/>
                <a:gd name="connsiteY1852" fmla="*/ 419186 h 1451770"/>
                <a:gd name="connsiteX1853" fmla="*/ 2242008 w 3773795"/>
                <a:gd name="connsiteY1853" fmla="*/ 421056 h 1451770"/>
                <a:gd name="connsiteX1854" fmla="*/ 2249905 w 3773795"/>
                <a:gd name="connsiteY1854" fmla="*/ 419618 h 1451770"/>
                <a:gd name="connsiteX1855" fmla="*/ 2258607 w 3773795"/>
                <a:gd name="connsiteY1855" fmla="*/ 419667 h 1451770"/>
                <a:gd name="connsiteX1856" fmla="*/ 2261663 w 3773795"/>
                <a:gd name="connsiteY1856" fmla="*/ 420038 h 1451770"/>
                <a:gd name="connsiteX1857" fmla="*/ 2264841 w 3773795"/>
                <a:gd name="connsiteY1857" fmla="*/ 422721 h 1451770"/>
                <a:gd name="connsiteX1858" fmla="*/ 2269935 w 3773795"/>
                <a:gd name="connsiteY1858" fmla="*/ 423421 h 1451770"/>
                <a:gd name="connsiteX1859" fmla="*/ 2276068 w 3773795"/>
                <a:gd name="connsiteY1859" fmla="*/ 423539 h 1451770"/>
                <a:gd name="connsiteX1860" fmla="*/ 2279486 w 3773795"/>
                <a:gd name="connsiteY1860" fmla="*/ 422990 h 1451770"/>
                <a:gd name="connsiteX1861" fmla="*/ 2280810 w 3773795"/>
                <a:gd name="connsiteY1861" fmla="*/ 422330 h 1451770"/>
                <a:gd name="connsiteX1862" fmla="*/ 2280344 w 3773795"/>
                <a:gd name="connsiteY1862" fmla="*/ 421285 h 1451770"/>
                <a:gd name="connsiteX1863" fmla="*/ 2275282 w 3773795"/>
                <a:gd name="connsiteY1863" fmla="*/ 419626 h 1451770"/>
                <a:gd name="connsiteX1864" fmla="*/ 2275830 w 3773795"/>
                <a:gd name="connsiteY1864" fmla="*/ 417683 h 1451770"/>
                <a:gd name="connsiteX1865" fmla="*/ 2277787 w 3773795"/>
                <a:gd name="connsiteY1865" fmla="*/ 417209 h 1451770"/>
                <a:gd name="connsiteX1866" fmla="*/ 2286280 w 3773795"/>
                <a:gd name="connsiteY1866" fmla="*/ 419880 h 1451770"/>
                <a:gd name="connsiteX1867" fmla="*/ 2289840 w 3773795"/>
                <a:gd name="connsiteY1867" fmla="*/ 420291 h 1451770"/>
                <a:gd name="connsiteX1868" fmla="*/ 2292954 w 3773795"/>
                <a:gd name="connsiteY1868" fmla="*/ 418312 h 1451770"/>
                <a:gd name="connsiteX1869" fmla="*/ 2295241 w 3773795"/>
                <a:gd name="connsiteY1869" fmla="*/ 414770 h 1451770"/>
                <a:gd name="connsiteX1870" fmla="*/ 2296502 w 3773795"/>
                <a:gd name="connsiteY1870" fmla="*/ 412293 h 1451770"/>
                <a:gd name="connsiteX1871" fmla="*/ 2297834 w 3773795"/>
                <a:gd name="connsiteY1871" fmla="*/ 411078 h 1451770"/>
                <a:gd name="connsiteX1872" fmla="*/ 2298953 w 3773795"/>
                <a:gd name="connsiteY1872" fmla="*/ 410889 h 1451770"/>
                <a:gd name="connsiteX1873" fmla="*/ 2300054 w 3773795"/>
                <a:gd name="connsiteY1873" fmla="*/ 410215 h 1451770"/>
                <a:gd name="connsiteX1874" fmla="*/ 2297372 w 3773795"/>
                <a:gd name="connsiteY1874" fmla="*/ 407315 h 1451770"/>
                <a:gd name="connsiteX1875" fmla="*/ 2294783 w 3773795"/>
                <a:gd name="connsiteY1875" fmla="*/ 403674 h 1451770"/>
                <a:gd name="connsiteX1876" fmla="*/ 2294150 w 3773795"/>
                <a:gd name="connsiteY1876" fmla="*/ 401325 h 1451770"/>
                <a:gd name="connsiteX1877" fmla="*/ 2293429 w 3773795"/>
                <a:gd name="connsiteY1877" fmla="*/ 400119 h 1451770"/>
                <a:gd name="connsiteX1878" fmla="*/ 2293041 w 3773795"/>
                <a:gd name="connsiteY1878" fmla="*/ 395762 h 1451770"/>
                <a:gd name="connsiteX1879" fmla="*/ 2295498 w 3773795"/>
                <a:gd name="connsiteY1879" fmla="*/ 391316 h 1451770"/>
                <a:gd name="connsiteX1880" fmla="*/ 2297154 w 3773795"/>
                <a:gd name="connsiteY1880" fmla="*/ 390053 h 1451770"/>
                <a:gd name="connsiteX1881" fmla="*/ 2303915 w 3773795"/>
                <a:gd name="connsiteY1881" fmla="*/ 391749 h 1451770"/>
                <a:gd name="connsiteX1882" fmla="*/ 2306945 w 3773795"/>
                <a:gd name="connsiteY1882" fmla="*/ 389069 h 1451770"/>
                <a:gd name="connsiteX1883" fmla="*/ 2308827 w 3773795"/>
                <a:gd name="connsiteY1883" fmla="*/ 388083 h 1451770"/>
                <a:gd name="connsiteX1884" fmla="*/ 2316988 w 3773795"/>
                <a:gd name="connsiteY1884" fmla="*/ 386258 h 1451770"/>
                <a:gd name="connsiteX1885" fmla="*/ 2320374 w 3773795"/>
                <a:gd name="connsiteY1885" fmla="*/ 386411 h 1451770"/>
                <a:gd name="connsiteX1886" fmla="*/ 2326014 w 3773795"/>
                <a:gd name="connsiteY1886" fmla="*/ 388106 h 1451770"/>
                <a:gd name="connsiteX1887" fmla="*/ 2344164 w 3773795"/>
                <a:gd name="connsiteY1887" fmla="*/ 396288 h 1451770"/>
                <a:gd name="connsiteX1888" fmla="*/ 2343754 w 3773795"/>
                <a:gd name="connsiteY1888" fmla="*/ 399411 h 1451770"/>
                <a:gd name="connsiteX1889" fmla="*/ 2348085 w 3773795"/>
                <a:gd name="connsiteY1889" fmla="*/ 398513 h 1451770"/>
                <a:gd name="connsiteX1890" fmla="*/ 2350152 w 3773795"/>
                <a:gd name="connsiteY1890" fmla="*/ 397249 h 1451770"/>
                <a:gd name="connsiteX1891" fmla="*/ 2355006 w 3773795"/>
                <a:gd name="connsiteY1891" fmla="*/ 396421 h 1451770"/>
                <a:gd name="connsiteX1892" fmla="*/ 2358258 w 3773795"/>
                <a:gd name="connsiteY1892" fmla="*/ 395109 h 1451770"/>
                <a:gd name="connsiteX1893" fmla="*/ 2359176 w 3773795"/>
                <a:gd name="connsiteY1893" fmla="*/ 395602 h 1451770"/>
                <a:gd name="connsiteX1894" fmla="*/ 2360258 w 3773795"/>
                <a:gd name="connsiteY1894" fmla="*/ 396898 h 1451770"/>
                <a:gd name="connsiteX1895" fmla="*/ 2359461 w 3773795"/>
                <a:gd name="connsiteY1895" fmla="*/ 398718 h 1451770"/>
                <a:gd name="connsiteX1896" fmla="*/ 2358324 w 3773795"/>
                <a:gd name="connsiteY1896" fmla="*/ 400589 h 1451770"/>
                <a:gd name="connsiteX1897" fmla="*/ 2359098 w 3773795"/>
                <a:gd name="connsiteY1897" fmla="*/ 401679 h 1451770"/>
                <a:gd name="connsiteX1898" fmla="*/ 2360048 w 3773795"/>
                <a:gd name="connsiteY1898" fmla="*/ 401909 h 1451770"/>
                <a:gd name="connsiteX1899" fmla="*/ 2364849 w 3773795"/>
                <a:gd name="connsiteY1899" fmla="*/ 404201 h 1451770"/>
                <a:gd name="connsiteX1900" fmla="*/ 2371172 w 3773795"/>
                <a:gd name="connsiteY1900" fmla="*/ 399975 h 1451770"/>
                <a:gd name="connsiteX1901" fmla="*/ 2373752 w 3773795"/>
                <a:gd name="connsiteY1901" fmla="*/ 395962 h 1451770"/>
                <a:gd name="connsiteX1902" fmla="*/ 2375436 w 3773795"/>
                <a:gd name="connsiteY1902" fmla="*/ 395140 h 1451770"/>
                <a:gd name="connsiteX1903" fmla="*/ 2391113 w 3773795"/>
                <a:gd name="connsiteY1903" fmla="*/ 397955 h 1451770"/>
                <a:gd name="connsiteX1904" fmla="*/ 2395862 w 3773795"/>
                <a:gd name="connsiteY1904" fmla="*/ 399490 h 1451770"/>
                <a:gd name="connsiteX1905" fmla="*/ 2396786 w 3773795"/>
                <a:gd name="connsiteY1905" fmla="*/ 400339 h 1451770"/>
                <a:gd name="connsiteX1906" fmla="*/ 2397423 w 3773795"/>
                <a:gd name="connsiteY1906" fmla="*/ 401824 h 1451770"/>
                <a:gd name="connsiteX1907" fmla="*/ 2399988 w 3773795"/>
                <a:gd name="connsiteY1907" fmla="*/ 403457 h 1451770"/>
                <a:gd name="connsiteX1908" fmla="*/ 2403078 w 3773795"/>
                <a:gd name="connsiteY1908" fmla="*/ 404386 h 1451770"/>
                <a:gd name="connsiteX1909" fmla="*/ 2402696 w 3773795"/>
                <a:gd name="connsiteY1909" fmla="*/ 405654 h 1451770"/>
                <a:gd name="connsiteX1910" fmla="*/ 2402556 w 3773795"/>
                <a:gd name="connsiteY1910" fmla="*/ 407066 h 1451770"/>
                <a:gd name="connsiteX1911" fmla="*/ 2409835 w 3773795"/>
                <a:gd name="connsiteY1911" fmla="*/ 407282 h 1451770"/>
                <a:gd name="connsiteX1912" fmla="*/ 2413008 w 3773795"/>
                <a:gd name="connsiteY1912" fmla="*/ 408513 h 1451770"/>
                <a:gd name="connsiteX1913" fmla="*/ 2416505 w 3773795"/>
                <a:gd name="connsiteY1913" fmla="*/ 410343 h 1451770"/>
                <a:gd name="connsiteX1914" fmla="*/ 2416129 w 3773795"/>
                <a:gd name="connsiteY1914" fmla="*/ 412498 h 1451770"/>
                <a:gd name="connsiteX1915" fmla="*/ 2417052 w 3773795"/>
                <a:gd name="connsiteY1915" fmla="*/ 413715 h 1451770"/>
                <a:gd name="connsiteX1916" fmla="*/ 2420276 w 3773795"/>
                <a:gd name="connsiteY1916" fmla="*/ 413845 h 1451770"/>
                <a:gd name="connsiteX1917" fmla="*/ 2421192 w 3773795"/>
                <a:gd name="connsiteY1917" fmla="*/ 413641 h 1451770"/>
                <a:gd name="connsiteX1918" fmla="*/ 2420155 w 3773795"/>
                <a:gd name="connsiteY1918" fmla="*/ 416471 h 1451770"/>
                <a:gd name="connsiteX1919" fmla="*/ 2415728 w 3773795"/>
                <a:gd name="connsiteY1919" fmla="*/ 419544 h 1451770"/>
                <a:gd name="connsiteX1920" fmla="*/ 2413113 w 3773795"/>
                <a:gd name="connsiteY1920" fmla="*/ 420781 h 1451770"/>
                <a:gd name="connsiteX1921" fmla="*/ 2410101 w 3773795"/>
                <a:gd name="connsiteY1921" fmla="*/ 422807 h 1451770"/>
                <a:gd name="connsiteX1922" fmla="*/ 2411759 w 3773795"/>
                <a:gd name="connsiteY1922" fmla="*/ 423198 h 1451770"/>
                <a:gd name="connsiteX1923" fmla="*/ 2419349 w 3773795"/>
                <a:gd name="connsiteY1923" fmla="*/ 423763 h 1451770"/>
                <a:gd name="connsiteX1924" fmla="*/ 2424033 w 3773795"/>
                <a:gd name="connsiteY1924" fmla="*/ 427828 h 1451770"/>
                <a:gd name="connsiteX1925" fmla="*/ 2424504 w 3773795"/>
                <a:gd name="connsiteY1925" fmla="*/ 430788 h 1451770"/>
                <a:gd name="connsiteX1926" fmla="*/ 2421567 w 3773795"/>
                <a:gd name="connsiteY1926" fmla="*/ 431971 h 1451770"/>
                <a:gd name="connsiteX1927" fmla="*/ 2414884 w 3773795"/>
                <a:gd name="connsiteY1927" fmla="*/ 435782 h 1451770"/>
                <a:gd name="connsiteX1928" fmla="*/ 2410861 w 3773795"/>
                <a:gd name="connsiteY1928" fmla="*/ 437276 h 1451770"/>
                <a:gd name="connsiteX1929" fmla="*/ 2408099 w 3773795"/>
                <a:gd name="connsiteY1929" fmla="*/ 437394 h 1451770"/>
                <a:gd name="connsiteX1930" fmla="*/ 2406104 w 3773795"/>
                <a:gd name="connsiteY1930" fmla="*/ 437902 h 1451770"/>
                <a:gd name="connsiteX1931" fmla="*/ 2409003 w 3773795"/>
                <a:gd name="connsiteY1931" fmla="*/ 439543 h 1451770"/>
                <a:gd name="connsiteX1932" fmla="*/ 2421546 w 3773795"/>
                <a:gd name="connsiteY1932" fmla="*/ 439964 h 1451770"/>
                <a:gd name="connsiteX1933" fmla="*/ 2425188 w 3773795"/>
                <a:gd name="connsiteY1933" fmla="*/ 441967 h 1451770"/>
                <a:gd name="connsiteX1934" fmla="*/ 2428071 w 3773795"/>
                <a:gd name="connsiteY1934" fmla="*/ 447053 h 1451770"/>
                <a:gd name="connsiteX1935" fmla="*/ 2428047 w 3773795"/>
                <a:gd name="connsiteY1935" fmla="*/ 453242 h 1451770"/>
                <a:gd name="connsiteX1936" fmla="*/ 2425236 w 3773795"/>
                <a:gd name="connsiteY1936" fmla="*/ 456316 h 1451770"/>
                <a:gd name="connsiteX1937" fmla="*/ 2417529 w 3773795"/>
                <a:gd name="connsiteY1937" fmla="*/ 456834 h 1451770"/>
                <a:gd name="connsiteX1938" fmla="*/ 2407362 w 3773795"/>
                <a:gd name="connsiteY1938" fmla="*/ 449957 h 1451770"/>
                <a:gd name="connsiteX1939" fmla="*/ 2401211 w 3773795"/>
                <a:gd name="connsiteY1939" fmla="*/ 447297 h 1451770"/>
                <a:gd name="connsiteX1940" fmla="*/ 2392508 w 3773795"/>
                <a:gd name="connsiteY1940" fmla="*/ 442120 h 1451770"/>
                <a:gd name="connsiteX1941" fmla="*/ 2390798 w 3773795"/>
                <a:gd name="connsiteY1941" fmla="*/ 442988 h 1451770"/>
                <a:gd name="connsiteX1942" fmla="*/ 2393349 w 3773795"/>
                <a:gd name="connsiteY1942" fmla="*/ 447354 h 1451770"/>
                <a:gd name="connsiteX1943" fmla="*/ 2397443 w 3773795"/>
                <a:gd name="connsiteY1943" fmla="*/ 449772 h 1451770"/>
                <a:gd name="connsiteX1944" fmla="*/ 2404789 w 3773795"/>
                <a:gd name="connsiteY1944" fmla="*/ 456469 h 1451770"/>
                <a:gd name="connsiteX1945" fmla="*/ 2417008 w 3773795"/>
                <a:gd name="connsiteY1945" fmla="*/ 470188 h 1451770"/>
                <a:gd name="connsiteX1946" fmla="*/ 2419855 w 3773795"/>
                <a:gd name="connsiteY1946" fmla="*/ 469075 h 1451770"/>
                <a:gd name="connsiteX1947" fmla="*/ 2421546 w 3773795"/>
                <a:gd name="connsiteY1947" fmla="*/ 467342 h 1451770"/>
                <a:gd name="connsiteX1948" fmla="*/ 2422377 w 3773795"/>
                <a:gd name="connsiteY1948" fmla="*/ 465118 h 1451770"/>
                <a:gd name="connsiteX1949" fmla="*/ 2421656 w 3773795"/>
                <a:gd name="connsiteY1949" fmla="*/ 462047 h 1451770"/>
                <a:gd name="connsiteX1950" fmla="*/ 2423616 w 3773795"/>
                <a:gd name="connsiteY1950" fmla="*/ 463542 h 1451770"/>
                <a:gd name="connsiteX1951" fmla="*/ 2425419 w 3773795"/>
                <a:gd name="connsiteY1951" fmla="*/ 466289 h 1451770"/>
                <a:gd name="connsiteX1952" fmla="*/ 2429157 w 3773795"/>
                <a:gd name="connsiteY1952" fmla="*/ 470845 h 1451770"/>
                <a:gd name="connsiteX1953" fmla="*/ 2424145 w 3773795"/>
                <a:gd name="connsiteY1953" fmla="*/ 470619 h 1451770"/>
                <a:gd name="connsiteX1954" fmla="*/ 2417840 w 3773795"/>
                <a:gd name="connsiteY1954" fmla="*/ 472147 h 1451770"/>
                <a:gd name="connsiteX1955" fmla="*/ 2415501 w 3773795"/>
                <a:gd name="connsiteY1955" fmla="*/ 473954 h 1451770"/>
                <a:gd name="connsiteX1956" fmla="*/ 2417257 w 3773795"/>
                <a:gd name="connsiteY1956" fmla="*/ 476480 h 1451770"/>
                <a:gd name="connsiteX1957" fmla="*/ 2421937 w 3773795"/>
                <a:gd name="connsiteY1957" fmla="*/ 476844 h 1451770"/>
                <a:gd name="connsiteX1958" fmla="*/ 2423932 w 3773795"/>
                <a:gd name="connsiteY1958" fmla="*/ 480278 h 1451770"/>
                <a:gd name="connsiteX1959" fmla="*/ 2427588 w 3773795"/>
                <a:gd name="connsiteY1959" fmla="*/ 484517 h 1451770"/>
                <a:gd name="connsiteX1960" fmla="*/ 2435815 w 3773795"/>
                <a:gd name="connsiteY1960" fmla="*/ 496106 h 1451770"/>
                <a:gd name="connsiteX1961" fmla="*/ 2441653 w 3773795"/>
                <a:gd name="connsiteY1961" fmla="*/ 498297 h 1451770"/>
                <a:gd name="connsiteX1962" fmla="*/ 2447299 w 3773795"/>
                <a:gd name="connsiteY1962" fmla="*/ 503065 h 1451770"/>
                <a:gd name="connsiteX1963" fmla="*/ 2452956 w 3773795"/>
                <a:gd name="connsiteY1963" fmla="*/ 505274 h 1451770"/>
                <a:gd name="connsiteX1964" fmla="*/ 2455860 w 3773795"/>
                <a:gd name="connsiteY1964" fmla="*/ 505443 h 1451770"/>
                <a:gd name="connsiteX1965" fmla="*/ 2457821 w 3773795"/>
                <a:gd name="connsiteY1965" fmla="*/ 502458 h 1451770"/>
                <a:gd name="connsiteX1966" fmla="*/ 2459475 w 3773795"/>
                <a:gd name="connsiteY1966" fmla="*/ 503526 h 1451770"/>
                <a:gd name="connsiteX1967" fmla="*/ 2460937 w 3773795"/>
                <a:gd name="connsiteY1967" fmla="*/ 508855 h 1451770"/>
                <a:gd name="connsiteX1968" fmla="*/ 2463668 w 3773795"/>
                <a:gd name="connsiteY1968" fmla="*/ 511165 h 1451770"/>
                <a:gd name="connsiteX1969" fmla="*/ 2466673 w 3773795"/>
                <a:gd name="connsiteY1969" fmla="*/ 511321 h 1451770"/>
                <a:gd name="connsiteX1970" fmla="*/ 2469123 w 3773795"/>
                <a:gd name="connsiteY1970" fmla="*/ 510384 h 1451770"/>
                <a:gd name="connsiteX1971" fmla="*/ 2472751 w 3773795"/>
                <a:gd name="connsiteY1971" fmla="*/ 507861 h 1451770"/>
                <a:gd name="connsiteX1972" fmla="*/ 2475619 w 3773795"/>
                <a:gd name="connsiteY1972" fmla="*/ 504931 h 1451770"/>
                <a:gd name="connsiteX1973" fmla="*/ 2480197 w 3773795"/>
                <a:gd name="connsiteY1973" fmla="*/ 496839 h 1451770"/>
                <a:gd name="connsiteX1974" fmla="*/ 2483235 w 3773795"/>
                <a:gd name="connsiteY1974" fmla="*/ 492738 h 1451770"/>
                <a:gd name="connsiteX1975" fmla="*/ 2486086 w 3773795"/>
                <a:gd name="connsiteY1975" fmla="*/ 491058 h 1451770"/>
                <a:gd name="connsiteX1976" fmla="*/ 2485100 w 3773795"/>
                <a:gd name="connsiteY1976" fmla="*/ 489061 h 1451770"/>
                <a:gd name="connsiteX1977" fmla="*/ 2485386 w 3773795"/>
                <a:gd name="connsiteY1977" fmla="*/ 486744 h 1451770"/>
                <a:gd name="connsiteX1978" fmla="*/ 2487489 w 3773795"/>
                <a:gd name="connsiteY1978" fmla="*/ 481292 h 1451770"/>
                <a:gd name="connsiteX1979" fmla="*/ 2490337 w 3773795"/>
                <a:gd name="connsiteY1979" fmla="*/ 474802 h 1451770"/>
                <a:gd name="connsiteX1980" fmla="*/ 2492507 w 3773795"/>
                <a:gd name="connsiteY1980" fmla="*/ 471382 h 1451770"/>
                <a:gd name="connsiteX1981" fmla="*/ 2497738 w 3773795"/>
                <a:gd name="connsiteY1981" fmla="*/ 464433 h 1451770"/>
                <a:gd name="connsiteX1982" fmla="*/ 2499763 w 3773795"/>
                <a:gd name="connsiteY1982" fmla="*/ 463170 h 1451770"/>
                <a:gd name="connsiteX1983" fmla="*/ 2501132 w 3773795"/>
                <a:gd name="connsiteY1983" fmla="*/ 465414 h 1451770"/>
                <a:gd name="connsiteX1984" fmla="*/ 2502298 w 3773795"/>
                <a:gd name="connsiteY1984" fmla="*/ 468405 h 1451770"/>
                <a:gd name="connsiteX1985" fmla="*/ 2503074 w 3773795"/>
                <a:gd name="connsiteY1985" fmla="*/ 469685 h 1451770"/>
                <a:gd name="connsiteX1986" fmla="*/ 2503862 w 3773795"/>
                <a:gd name="connsiteY1986" fmla="*/ 470194 h 1451770"/>
                <a:gd name="connsiteX1987" fmla="*/ 2510310 w 3773795"/>
                <a:gd name="connsiteY1987" fmla="*/ 476279 h 1451770"/>
                <a:gd name="connsiteX1988" fmla="*/ 2516839 w 3773795"/>
                <a:gd name="connsiteY1988" fmla="*/ 481007 h 1451770"/>
                <a:gd name="connsiteX1989" fmla="*/ 2522648 w 3773795"/>
                <a:gd name="connsiteY1989" fmla="*/ 483322 h 1451770"/>
                <a:gd name="connsiteX1990" fmla="*/ 2531801 w 3773795"/>
                <a:gd name="connsiteY1990" fmla="*/ 485573 h 1451770"/>
                <a:gd name="connsiteX1991" fmla="*/ 2545066 w 3773795"/>
                <a:gd name="connsiteY1991" fmla="*/ 485253 h 1451770"/>
                <a:gd name="connsiteX1992" fmla="*/ 2547524 w 3773795"/>
                <a:gd name="connsiteY1992" fmla="*/ 482247 h 1451770"/>
                <a:gd name="connsiteX1993" fmla="*/ 2552135 w 3773795"/>
                <a:gd name="connsiteY1993" fmla="*/ 480025 h 1451770"/>
                <a:gd name="connsiteX1994" fmla="*/ 2559586 w 3773795"/>
                <a:gd name="connsiteY1994" fmla="*/ 478862 h 1451770"/>
                <a:gd name="connsiteX1995" fmla="*/ 2564005 w 3773795"/>
                <a:gd name="connsiteY1995" fmla="*/ 476129 h 1451770"/>
                <a:gd name="connsiteX1996" fmla="*/ 2571204 w 3773795"/>
                <a:gd name="connsiteY1996" fmla="*/ 475301 h 1451770"/>
                <a:gd name="connsiteX1997" fmla="*/ 2575750 w 3773795"/>
                <a:gd name="connsiteY1997" fmla="*/ 475751 h 1451770"/>
                <a:gd name="connsiteX1998" fmla="*/ 2582733 w 3773795"/>
                <a:gd name="connsiteY1998" fmla="*/ 477748 h 1451770"/>
                <a:gd name="connsiteX1999" fmla="*/ 2598425 w 3773795"/>
                <a:gd name="connsiteY1999" fmla="*/ 484078 h 1451770"/>
                <a:gd name="connsiteX2000" fmla="*/ 2602839 w 3773795"/>
                <a:gd name="connsiteY2000" fmla="*/ 486368 h 1451770"/>
                <a:gd name="connsiteX2001" fmla="*/ 2605095 w 3773795"/>
                <a:gd name="connsiteY2001" fmla="*/ 488825 h 1451770"/>
                <a:gd name="connsiteX2002" fmla="*/ 2610250 w 3773795"/>
                <a:gd name="connsiteY2002" fmla="*/ 492514 h 1451770"/>
                <a:gd name="connsiteX2003" fmla="*/ 2613506 w 3773795"/>
                <a:gd name="connsiteY2003" fmla="*/ 494308 h 1451770"/>
                <a:gd name="connsiteX2004" fmla="*/ 2616642 w 3773795"/>
                <a:gd name="connsiteY2004" fmla="*/ 495544 h 1451770"/>
                <a:gd name="connsiteX2005" fmla="*/ 2617793 w 3773795"/>
                <a:gd name="connsiteY2005" fmla="*/ 495166 h 1451770"/>
                <a:gd name="connsiteX2006" fmla="*/ 2617395 w 3773795"/>
                <a:gd name="connsiteY2006" fmla="*/ 494116 h 1451770"/>
                <a:gd name="connsiteX2007" fmla="*/ 2615808 w 3773795"/>
                <a:gd name="connsiteY2007" fmla="*/ 493086 h 1451770"/>
                <a:gd name="connsiteX2008" fmla="*/ 2614527 w 3773795"/>
                <a:gd name="connsiteY2008" fmla="*/ 491757 h 1451770"/>
                <a:gd name="connsiteX2009" fmla="*/ 2618257 w 3773795"/>
                <a:gd name="connsiteY2009" fmla="*/ 490376 h 1451770"/>
                <a:gd name="connsiteX2010" fmla="*/ 2618695 w 3773795"/>
                <a:gd name="connsiteY2010" fmla="*/ 489360 h 1451770"/>
                <a:gd name="connsiteX2011" fmla="*/ 2619980 w 3773795"/>
                <a:gd name="connsiteY2011" fmla="*/ 488483 h 1451770"/>
                <a:gd name="connsiteX2012" fmla="*/ 2624921 w 3773795"/>
                <a:gd name="connsiteY2012" fmla="*/ 487747 h 1451770"/>
                <a:gd name="connsiteX2013" fmla="*/ 2620125 w 3773795"/>
                <a:gd name="connsiteY2013" fmla="*/ 486402 h 1451770"/>
                <a:gd name="connsiteX2014" fmla="*/ 2618467 w 3773795"/>
                <a:gd name="connsiteY2014" fmla="*/ 486205 h 1451770"/>
                <a:gd name="connsiteX2015" fmla="*/ 2616171 w 3773795"/>
                <a:gd name="connsiteY2015" fmla="*/ 485365 h 1451770"/>
                <a:gd name="connsiteX2016" fmla="*/ 2616370 w 3773795"/>
                <a:gd name="connsiteY2016" fmla="*/ 483503 h 1451770"/>
                <a:gd name="connsiteX2017" fmla="*/ 2617881 w 3773795"/>
                <a:gd name="connsiteY2017" fmla="*/ 482127 h 1451770"/>
                <a:gd name="connsiteX2018" fmla="*/ 2619045 w 3773795"/>
                <a:gd name="connsiteY2018" fmla="*/ 479578 h 1451770"/>
                <a:gd name="connsiteX2019" fmla="*/ 2620596 w 3773795"/>
                <a:gd name="connsiteY2019" fmla="*/ 477936 h 1451770"/>
                <a:gd name="connsiteX2020" fmla="*/ 2623155 w 3773795"/>
                <a:gd name="connsiteY2020" fmla="*/ 476702 h 1451770"/>
                <a:gd name="connsiteX2021" fmla="*/ 2625010 w 3773795"/>
                <a:gd name="connsiteY2021" fmla="*/ 476437 h 1451770"/>
                <a:gd name="connsiteX2022" fmla="*/ 2629589 w 3773795"/>
                <a:gd name="connsiteY2022" fmla="*/ 478076 h 1451770"/>
                <a:gd name="connsiteX2023" fmla="*/ 2632791 w 3773795"/>
                <a:gd name="connsiteY2023" fmla="*/ 475128 h 1451770"/>
                <a:gd name="connsiteX2024" fmla="*/ 2635228 w 3773795"/>
                <a:gd name="connsiteY2024" fmla="*/ 475365 h 1451770"/>
                <a:gd name="connsiteX2025" fmla="*/ 2640196 w 3773795"/>
                <a:gd name="connsiteY2025" fmla="*/ 478349 h 1451770"/>
                <a:gd name="connsiteX2026" fmla="*/ 2644718 w 3773795"/>
                <a:gd name="connsiteY2026" fmla="*/ 482891 h 1451770"/>
                <a:gd name="connsiteX2027" fmla="*/ 2647169 w 3773795"/>
                <a:gd name="connsiteY2027" fmla="*/ 482894 h 1451770"/>
                <a:gd name="connsiteX2028" fmla="*/ 2654066 w 3773795"/>
                <a:gd name="connsiteY2028" fmla="*/ 481077 h 1451770"/>
                <a:gd name="connsiteX2029" fmla="*/ 2661851 w 3773795"/>
                <a:gd name="connsiteY2029" fmla="*/ 480986 h 1451770"/>
                <a:gd name="connsiteX2030" fmla="*/ 2660846 w 3773795"/>
                <a:gd name="connsiteY2030" fmla="*/ 478283 h 1451770"/>
                <a:gd name="connsiteX2031" fmla="*/ 2655459 w 3773795"/>
                <a:gd name="connsiteY2031" fmla="*/ 472439 h 1451770"/>
                <a:gd name="connsiteX2032" fmla="*/ 2656074 w 3773795"/>
                <a:gd name="connsiteY2032" fmla="*/ 464859 h 1451770"/>
                <a:gd name="connsiteX2033" fmla="*/ 2652302 w 3773795"/>
                <a:gd name="connsiteY2033" fmla="*/ 463140 h 1451770"/>
                <a:gd name="connsiteX2034" fmla="*/ 2648033 w 3773795"/>
                <a:gd name="connsiteY2034" fmla="*/ 462123 h 1451770"/>
                <a:gd name="connsiteX2035" fmla="*/ 2654245 w 3773795"/>
                <a:gd name="connsiteY2035" fmla="*/ 460186 h 1451770"/>
                <a:gd name="connsiteX2036" fmla="*/ 2658819 w 3773795"/>
                <a:gd name="connsiteY2036" fmla="*/ 453976 h 1451770"/>
                <a:gd name="connsiteX2037" fmla="*/ 2662512 w 3773795"/>
                <a:gd name="connsiteY2037" fmla="*/ 453416 h 1451770"/>
                <a:gd name="connsiteX2038" fmla="*/ 2666350 w 3773795"/>
                <a:gd name="connsiteY2038" fmla="*/ 452206 h 1451770"/>
                <a:gd name="connsiteX2039" fmla="*/ 2665171 w 3773795"/>
                <a:gd name="connsiteY2039" fmla="*/ 451447 h 1451770"/>
                <a:gd name="connsiteX2040" fmla="*/ 2653731 w 3773795"/>
                <a:gd name="connsiteY2040" fmla="*/ 450781 h 1451770"/>
                <a:gd name="connsiteX2041" fmla="*/ 2651261 w 3773795"/>
                <a:gd name="connsiteY2041" fmla="*/ 451528 h 1451770"/>
                <a:gd name="connsiteX2042" fmla="*/ 2649607 w 3773795"/>
                <a:gd name="connsiteY2042" fmla="*/ 453359 h 1451770"/>
                <a:gd name="connsiteX2043" fmla="*/ 2643988 w 3773795"/>
                <a:gd name="connsiteY2043" fmla="*/ 453359 h 1451770"/>
                <a:gd name="connsiteX2044" fmla="*/ 2643295 w 3773795"/>
                <a:gd name="connsiteY2044" fmla="*/ 449175 h 1451770"/>
                <a:gd name="connsiteX2045" fmla="*/ 2643202 w 3773795"/>
                <a:gd name="connsiteY2045" fmla="*/ 446461 h 1451770"/>
                <a:gd name="connsiteX2046" fmla="*/ 2650562 w 3773795"/>
                <a:gd name="connsiteY2046" fmla="*/ 440767 h 1451770"/>
                <a:gd name="connsiteX2047" fmla="*/ 2653381 w 3773795"/>
                <a:gd name="connsiteY2047" fmla="*/ 439532 h 1451770"/>
                <a:gd name="connsiteX2048" fmla="*/ 2672164 w 3773795"/>
                <a:gd name="connsiteY2048" fmla="*/ 439657 h 1451770"/>
                <a:gd name="connsiteX2049" fmla="*/ 2677792 w 3773795"/>
                <a:gd name="connsiteY2049" fmla="*/ 438579 h 1451770"/>
                <a:gd name="connsiteX2050" fmla="*/ 2686066 w 3773795"/>
                <a:gd name="connsiteY2050" fmla="*/ 435739 h 1451770"/>
                <a:gd name="connsiteX2051" fmla="*/ 2683941 w 3773795"/>
                <a:gd name="connsiteY2051" fmla="*/ 433936 h 1451770"/>
                <a:gd name="connsiteX2052" fmla="*/ 2683712 w 3773795"/>
                <a:gd name="connsiteY2052" fmla="*/ 430293 h 1451770"/>
                <a:gd name="connsiteX2053" fmla="*/ 2676625 w 3773795"/>
                <a:gd name="connsiteY2053" fmla="*/ 425010 h 1451770"/>
                <a:gd name="connsiteX2054" fmla="*/ 2677148 w 3773795"/>
                <a:gd name="connsiteY2054" fmla="*/ 423798 h 1451770"/>
                <a:gd name="connsiteX2055" fmla="*/ 2677858 w 3773795"/>
                <a:gd name="connsiteY2055" fmla="*/ 423023 h 1451770"/>
                <a:gd name="connsiteX2056" fmla="*/ 2680071 w 3773795"/>
                <a:gd name="connsiteY2056" fmla="*/ 422984 h 1451770"/>
                <a:gd name="connsiteX2057" fmla="*/ 2691162 w 3773795"/>
                <a:gd name="connsiteY2057" fmla="*/ 424383 h 1451770"/>
                <a:gd name="connsiteX2058" fmla="*/ 2695774 w 3773795"/>
                <a:gd name="connsiteY2058" fmla="*/ 427285 h 1451770"/>
                <a:gd name="connsiteX2059" fmla="*/ 2707783 w 3773795"/>
                <a:gd name="connsiteY2059" fmla="*/ 430133 h 1451770"/>
                <a:gd name="connsiteX2060" fmla="*/ 2739943 w 3773795"/>
                <a:gd name="connsiteY2060" fmla="*/ 431079 h 1451770"/>
                <a:gd name="connsiteX2061" fmla="*/ 2743594 w 3773795"/>
                <a:gd name="connsiteY2061" fmla="*/ 432128 h 1451770"/>
                <a:gd name="connsiteX2062" fmla="*/ 2757369 w 3773795"/>
                <a:gd name="connsiteY2062" fmla="*/ 433392 h 1451770"/>
                <a:gd name="connsiteX2063" fmla="*/ 2763223 w 3773795"/>
                <a:gd name="connsiteY2063" fmla="*/ 434778 h 1451770"/>
                <a:gd name="connsiteX2064" fmla="*/ 2777169 w 3773795"/>
                <a:gd name="connsiteY2064" fmla="*/ 436437 h 1451770"/>
                <a:gd name="connsiteX2065" fmla="*/ 2783502 w 3773795"/>
                <a:gd name="connsiteY2065" fmla="*/ 437612 h 1451770"/>
                <a:gd name="connsiteX2066" fmla="*/ 2788552 w 3773795"/>
                <a:gd name="connsiteY2066" fmla="*/ 439480 h 1451770"/>
                <a:gd name="connsiteX2067" fmla="*/ 2796715 w 3773795"/>
                <a:gd name="connsiteY2067" fmla="*/ 440563 h 1451770"/>
                <a:gd name="connsiteX2068" fmla="*/ 2800466 w 3773795"/>
                <a:gd name="connsiteY2068" fmla="*/ 441778 h 1451770"/>
                <a:gd name="connsiteX2069" fmla="*/ 2800065 w 3773795"/>
                <a:gd name="connsiteY2069" fmla="*/ 445630 h 1451770"/>
                <a:gd name="connsiteX2070" fmla="*/ 2783089 w 3773795"/>
                <a:gd name="connsiteY2070" fmla="*/ 445116 h 1451770"/>
                <a:gd name="connsiteX2071" fmla="*/ 2777468 w 3773795"/>
                <a:gd name="connsiteY2071" fmla="*/ 443842 h 1451770"/>
                <a:gd name="connsiteX2072" fmla="*/ 2770494 w 3773795"/>
                <a:gd name="connsiteY2072" fmla="*/ 443694 h 1451770"/>
                <a:gd name="connsiteX2073" fmla="*/ 2767816 w 3773795"/>
                <a:gd name="connsiteY2073" fmla="*/ 444275 h 1451770"/>
                <a:gd name="connsiteX2074" fmla="*/ 2763642 w 3773795"/>
                <a:gd name="connsiteY2074" fmla="*/ 447467 h 1451770"/>
                <a:gd name="connsiteX2075" fmla="*/ 2758630 w 3773795"/>
                <a:gd name="connsiteY2075" fmla="*/ 449136 h 1451770"/>
                <a:gd name="connsiteX2076" fmla="*/ 2754391 w 3773795"/>
                <a:gd name="connsiteY2076" fmla="*/ 449408 h 1451770"/>
                <a:gd name="connsiteX2077" fmla="*/ 2757171 w 3773795"/>
                <a:gd name="connsiteY2077" fmla="*/ 452151 h 1451770"/>
                <a:gd name="connsiteX2078" fmla="*/ 2761057 w 3773795"/>
                <a:gd name="connsiteY2078" fmla="*/ 452892 h 1451770"/>
                <a:gd name="connsiteX2079" fmla="*/ 2773627 w 3773795"/>
                <a:gd name="connsiteY2079" fmla="*/ 449363 h 1451770"/>
                <a:gd name="connsiteX2080" fmla="*/ 2808011 w 3773795"/>
                <a:gd name="connsiteY2080" fmla="*/ 447595 h 1451770"/>
                <a:gd name="connsiteX2081" fmla="*/ 2813266 w 3773795"/>
                <a:gd name="connsiteY2081" fmla="*/ 447887 h 1451770"/>
                <a:gd name="connsiteX2082" fmla="*/ 2812718 w 3773795"/>
                <a:gd name="connsiteY2082" fmla="*/ 450330 h 1451770"/>
                <a:gd name="connsiteX2083" fmla="*/ 2808123 w 3773795"/>
                <a:gd name="connsiteY2083" fmla="*/ 455013 h 1451770"/>
                <a:gd name="connsiteX2084" fmla="*/ 2803754 w 3773795"/>
                <a:gd name="connsiteY2084" fmla="*/ 458652 h 1451770"/>
                <a:gd name="connsiteX2085" fmla="*/ 2797378 w 3773795"/>
                <a:gd name="connsiteY2085" fmla="*/ 462387 h 1451770"/>
                <a:gd name="connsiteX2086" fmla="*/ 2795002 w 3773795"/>
                <a:gd name="connsiteY2086" fmla="*/ 462367 h 1451770"/>
                <a:gd name="connsiteX2087" fmla="*/ 2799965 w 3773795"/>
                <a:gd name="connsiteY2087" fmla="*/ 454435 h 1451770"/>
                <a:gd name="connsiteX2088" fmla="*/ 2797909 w 3773795"/>
                <a:gd name="connsiteY2088" fmla="*/ 454063 h 1451770"/>
                <a:gd name="connsiteX2089" fmla="*/ 2796011 w 3773795"/>
                <a:gd name="connsiteY2089" fmla="*/ 454237 h 1451770"/>
                <a:gd name="connsiteX2090" fmla="*/ 2790437 w 3773795"/>
                <a:gd name="connsiteY2090" fmla="*/ 450939 h 1451770"/>
                <a:gd name="connsiteX2091" fmla="*/ 2789535 w 3773795"/>
                <a:gd name="connsiteY2091" fmla="*/ 450773 h 1451770"/>
                <a:gd name="connsiteX2092" fmla="*/ 2788453 w 3773795"/>
                <a:gd name="connsiteY2092" fmla="*/ 451583 h 1451770"/>
                <a:gd name="connsiteX2093" fmla="*/ 2788464 w 3773795"/>
                <a:gd name="connsiteY2093" fmla="*/ 452775 h 1451770"/>
                <a:gd name="connsiteX2094" fmla="*/ 2787445 w 3773795"/>
                <a:gd name="connsiteY2094" fmla="*/ 457351 h 1451770"/>
                <a:gd name="connsiteX2095" fmla="*/ 2789494 w 3773795"/>
                <a:gd name="connsiteY2095" fmla="*/ 459265 h 1451770"/>
                <a:gd name="connsiteX2096" fmla="*/ 2789494 w 3773795"/>
                <a:gd name="connsiteY2096" fmla="*/ 462538 h 1451770"/>
                <a:gd name="connsiteX2097" fmla="*/ 2781766 w 3773795"/>
                <a:gd name="connsiteY2097" fmla="*/ 464646 h 1451770"/>
                <a:gd name="connsiteX2098" fmla="*/ 2778758 w 3773795"/>
                <a:gd name="connsiteY2098" fmla="*/ 464461 h 1451770"/>
                <a:gd name="connsiteX2099" fmla="*/ 2775542 w 3773795"/>
                <a:gd name="connsiteY2099" fmla="*/ 463122 h 1451770"/>
                <a:gd name="connsiteX2100" fmla="*/ 2774176 w 3773795"/>
                <a:gd name="connsiteY2100" fmla="*/ 463166 h 1451770"/>
                <a:gd name="connsiteX2101" fmla="*/ 2773797 w 3773795"/>
                <a:gd name="connsiteY2101" fmla="*/ 464198 h 1451770"/>
                <a:gd name="connsiteX2102" fmla="*/ 2774480 w 3773795"/>
                <a:gd name="connsiteY2102" fmla="*/ 466107 h 1451770"/>
                <a:gd name="connsiteX2103" fmla="*/ 2774391 w 3773795"/>
                <a:gd name="connsiteY2103" fmla="*/ 467085 h 1451770"/>
                <a:gd name="connsiteX2104" fmla="*/ 2773156 w 3773795"/>
                <a:gd name="connsiteY2104" fmla="*/ 468612 h 1451770"/>
                <a:gd name="connsiteX2105" fmla="*/ 2772532 w 3773795"/>
                <a:gd name="connsiteY2105" fmla="*/ 470268 h 1451770"/>
                <a:gd name="connsiteX2106" fmla="*/ 2774432 w 3773795"/>
                <a:gd name="connsiteY2106" fmla="*/ 472155 h 1451770"/>
                <a:gd name="connsiteX2107" fmla="*/ 2776931 w 3773795"/>
                <a:gd name="connsiteY2107" fmla="*/ 472629 h 1451770"/>
                <a:gd name="connsiteX2108" fmla="*/ 2790557 w 3773795"/>
                <a:gd name="connsiteY2108" fmla="*/ 470551 h 1451770"/>
                <a:gd name="connsiteX2109" fmla="*/ 2796493 w 3773795"/>
                <a:gd name="connsiteY2109" fmla="*/ 468010 h 1451770"/>
                <a:gd name="connsiteX2110" fmla="*/ 2803010 w 3773795"/>
                <a:gd name="connsiteY2110" fmla="*/ 463331 h 1451770"/>
                <a:gd name="connsiteX2111" fmla="*/ 2814658 w 3773795"/>
                <a:gd name="connsiteY2111" fmla="*/ 451949 h 1451770"/>
                <a:gd name="connsiteX2112" fmla="*/ 2819795 w 3773795"/>
                <a:gd name="connsiteY2112" fmla="*/ 448027 h 1451770"/>
                <a:gd name="connsiteX2113" fmla="*/ 2822774 w 3773795"/>
                <a:gd name="connsiteY2113" fmla="*/ 446538 h 1451770"/>
                <a:gd name="connsiteX2114" fmla="*/ 2826582 w 3773795"/>
                <a:gd name="connsiteY2114" fmla="*/ 445996 h 1451770"/>
                <a:gd name="connsiteX2115" fmla="*/ 2847987 w 3773795"/>
                <a:gd name="connsiteY2115" fmla="*/ 447199 h 1451770"/>
                <a:gd name="connsiteX2116" fmla="*/ 2860432 w 3773795"/>
                <a:gd name="connsiteY2116" fmla="*/ 449675 h 1451770"/>
                <a:gd name="connsiteX2117" fmla="*/ 2872300 w 3773795"/>
                <a:gd name="connsiteY2117" fmla="*/ 453325 h 1451770"/>
                <a:gd name="connsiteX2118" fmla="*/ 2878151 w 3773795"/>
                <a:gd name="connsiteY2118" fmla="*/ 456348 h 1451770"/>
                <a:gd name="connsiteX2119" fmla="*/ 2882505 w 3773795"/>
                <a:gd name="connsiteY2119" fmla="*/ 460440 h 1451770"/>
                <a:gd name="connsiteX2120" fmla="*/ 2883281 w 3773795"/>
                <a:gd name="connsiteY2120" fmla="*/ 462160 h 1451770"/>
                <a:gd name="connsiteX2121" fmla="*/ 2883695 w 3773795"/>
                <a:gd name="connsiteY2121" fmla="*/ 464419 h 1451770"/>
                <a:gd name="connsiteX2122" fmla="*/ 2880692 w 3773795"/>
                <a:gd name="connsiteY2122" fmla="*/ 466585 h 1451770"/>
                <a:gd name="connsiteX2123" fmla="*/ 2867394 w 3773795"/>
                <a:gd name="connsiteY2123" fmla="*/ 467303 h 1451770"/>
                <a:gd name="connsiteX2124" fmla="*/ 2862287 w 3773795"/>
                <a:gd name="connsiteY2124" fmla="*/ 468527 h 1451770"/>
                <a:gd name="connsiteX2125" fmla="*/ 2860443 w 3773795"/>
                <a:gd name="connsiteY2125" fmla="*/ 469881 h 1451770"/>
                <a:gd name="connsiteX2126" fmla="*/ 2860212 w 3773795"/>
                <a:gd name="connsiteY2126" fmla="*/ 470647 h 1451770"/>
                <a:gd name="connsiteX2127" fmla="*/ 2859515 w 3773795"/>
                <a:gd name="connsiteY2127" fmla="*/ 471857 h 1451770"/>
                <a:gd name="connsiteX2128" fmla="*/ 2860506 w 3773795"/>
                <a:gd name="connsiteY2128" fmla="*/ 472848 h 1451770"/>
                <a:gd name="connsiteX2129" fmla="*/ 2866469 w 3773795"/>
                <a:gd name="connsiteY2129" fmla="*/ 472951 h 1451770"/>
                <a:gd name="connsiteX2130" fmla="*/ 2872222 w 3773795"/>
                <a:gd name="connsiteY2130" fmla="*/ 473932 h 1451770"/>
                <a:gd name="connsiteX2131" fmla="*/ 2880162 w 3773795"/>
                <a:gd name="connsiteY2131" fmla="*/ 476492 h 1451770"/>
                <a:gd name="connsiteX2132" fmla="*/ 2881391 w 3773795"/>
                <a:gd name="connsiteY2132" fmla="*/ 477341 h 1451770"/>
                <a:gd name="connsiteX2133" fmla="*/ 2883907 w 3773795"/>
                <a:gd name="connsiteY2133" fmla="*/ 479767 h 1451770"/>
                <a:gd name="connsiteX2134" fmla="*/ 2884667 w 3773795"/>
                <a:gd name="connsiteY2134" fmla="*/ 480196 h 1451770"/>
                <a:gd name="connsiteX2135" fmla="*/ 2896584 w 3773795"/>
                <a:gd name="connsiteY2135" fmla="*/ 479817 h 1451770"/>
                <a:gd name="connsiteX2136" fmla="*/ 2897360 w 3773795"/>
                <a:gd name="connsiteY2136" fmla="*/ 480684 h 1451770"/>
                <a:gd name="connsiteX2137" fmla="*/ 2898087 w 3773795"/>
                <a:gd name="connsiteY2137" fmla="*/ 482466 h 1451770"/>
                <a:gd name="connsiteX2138" fmla="*/ 2894933 w 3773795"/>
                <a:gd name="connsiteY2138" fmla="*/ 485293 h 1451770"/>
                <a:gd name="connsiteX2139" fmla="*/ 2891830 w 3773795"/>
                <a:gd name="connsiteY2139" fmla="*/ 487207 h 1451770"/>
                <a:gd name="connsiteX2140" fmla="*/ 2885481 w 3773795"/>
                <a:gd name="connsiteY2140" fmla="*/ 491767 h 1451770"/>
                <a:gd name="connsiteX2141" fmla="*/ 2888694 w 3773795"/>
                <a:gd name="connsiteY2141" fmla="*/ 490118 h 1451770"/>
                <a:gd name="connsiteX2142" fmla="*/ 2901490 w 3773795"/>
                <a:gd name="connsiteY2142" fmla="*/ 486227 h 1451770"/>
                <a:gd name="connsiteX2143" fmla="*/ 2904721 w 3773795"/>
                <a:gd name="connsiteY2143" fmla="*/ 485512 h 1451770"/>
                <a:gd name="connsiteX2144" fmla="*/ 2908647 w 3773795"/>
                <a:gd name="connsiteY2144" fmla="*/ 485786 h 1451770"/>
                <a:gd name="connsiteX2145" fmla="*/ 2918313 w 3773795"/>
                <a:gd name="connsiteY2145" fmla="*/ 489315 h 1451770"/>
                <a:gd name="connsiteX2146" fmla="*/ 2922234 w 3773795"/>
                <a:gd name="connsiteY2146" fmla="*/ 492122 h 1451770"/>
                <a:gd name="connsiteX2147" fmla="*/ 2929597 w 3773795"/>
                <a:gd name="connsiteY2147" fmla="*/ 499998 h 1451770"/>
                <a:gd name="connsiteX2148" fmla="*/ 2927542 w 3773795"/>
                <a:gd name="connsiteY2148" fmla="*/ 500838 h 1451770"/>
                <a:gd name="connsiteX2149" fmla="*/ 2922284 w 3773795"/>
                <a:gd name="connsiteY2149" fmla="*/ 501647 h 1451770"/>
                <a:gd name="connsiteX2150" fmla="*/ 2938797 w 3773795"/>
                <a:gd name="connsiteY2150" fmla="*/ 507611 h 1451770"/>
                <a:gd name="connsiteX2151" fmla="*/ 2945199 w 3773795"/>
                <a:gd name="connsiteY2151" fmla="*/ 507564 h 1451770"/>
                <a:gd name="connsiteX2152" fmla="*/ 2959844 w 3773795"/>
                <a:gd name="connsiteY2152" fmla="*/ 505834 h 1451770"/>
                <a:gd name="connsiteX2153" fmla="*/ 2967218 w 3773795"/>
                <a:gd name="connsiteY2153" fmla="*/ 505779 h 1451770"/>
                <a:gd name="connsiteX2154" fmla="*/ 2980924 w 3773795"/>
                <a:gd name="connsiteY2154" fmla="*/ 501970 h 1451770"/>
                <a:gd name="connsiteX2155" fmla="*/ 2994534 w 3773795"/>
                <a:gd name="connsiteY2155" fmla="*/ 499556 h 1451770"/>
                <a:gd name="connsiteX2156" fmla="*/ 3007059 w 3773795"/>
                <a:gd name="connsiteY2156" fmla="*/ 499379 h 1451770"/>
                <a:gd name="connsiteX2157" fmla="*/ 3013677 w 3773795"/>
                <a:gd name="connsiteY2157" fmla="*/ 497078 h 1451770"/>
                <a:gd name="connsiteX2158" fmla="*/ 3031131 w 3773795"/>
                <a:gd name="connsiteY2158" fmla="*/ 497149 h 1451770"/>
                <a:gd name="connsiteX2159" fmla="*/ 3047998 w 3773795"/>
                <a:gd name="connsiteY2159" fmla="*/ 497927 h 1451770"/>
                <a:gd name="connsiteX2160" fmla="*/ 3061037 w 3773795"/>
                <a:gd name="connsiteY2160" fmla="*/ 499352 h 1451770"/>
                <a:gd name="connsiteX2161" fmla="*/ 3075745 w 3773795"/>
                <a:gd name="connsiteY2161" fmla="*/ 503561 h 1451770"/>
                <a:gd name="connsiteX2162" fmla="*/ 3090085 w 3773795"/>
                <a:gd name="connsiteY2162" fmla="*/ 509371 h 1451770"/>
                <a:gd name="connsiteX2163" fmla="*/ 3098426 w 3773795"/>
                <a:gd name="connsiteY2163" fmla="*/ 515034 h 1451770"/>
                <a:gd name="connsiteX2164" fmla="*/ 3100124 w 3773795"/>
                <a:gd name="connsiteY2164" fmla="*/ 516826 h 1451770"/>
                <a:gd name="connsiteX2165" fmla="*/ 3102493 w 3773795"/>
                <a:gd name="connsiteY2165" fmla="*/ 520779 h 1451770"/>
                <a:gd name="connsiteX2166" fmla="*/ 3103527 w 3773795"/>
                <a:gd name="connsiteY2166" fmla="*/ 524072 h 1451770"/>
                <a:gd name="connsiteX2167" fmla="*/ 3104585 w 3773795"/>
                <a:gd name="connsiteY2167" fmla="*/ 528613 h 1451770"/>
                <a:gd name="connsiteX2168" fmla="*/ 3104076 w 3773795"/>
                <a:gd name="connsiteY2168" fmla="*/ 532124 h 1451770"/>
                <a:gd name="connsiteX2169" fmla="*/ 3102002 w 3773795"/>
                <a:gd name="connsiteY2169" fmla="*/ 534609 h 1451770"/>
                <a:gd name="connsiteX2170" fmla="*/ 3100715 w 3773795"/>
                <a:gd name="connsiteY2170" fmla="*/ 537675 h 1451770"/>
                <a:gd name="connsiteX2171" fmla="*/ 3100886 w 3773795"/>
                <a:gd name="connsiteY2171" fmla="*/ 541294 h 1451770"/>
                <a:gd name="connsiteX2172" fmla="*/ 3098459 w 3773795"/>
                <a:gd name="connsiteY2172" fmla="*/ 546023 h 1451770"/>
                <a:gd name="connsiteX2173" fmla="*/ 3100739 w 3773795"/>
                <a:gd name="connsiteY2173" fmla="*/ 549383 h 1451770"/>
                <a:gd name="connsiteX2174" fmla="*/ 3107077 w 3773795"/>
                <a:gd name="connsiteY2174" fmla="*/ 551554 h 1451770"/>
                <a:gd name="connsiteX2175" fmla="*/ 3120794 w 3773795"/>
                <a:gd name="connsiteY2175" fmla="*/ 554485 h 1451770"/>
                <a:gd name="connsiteX2176" fmla="*/ 3124581 w 3773795"/>
                <a:gd name="connsiteY2176" fmla="*/ 556401 h 1451770"/>
                <a:gd name="connsiteX2177" fmla="*/ 3124983 w 3773795"/>
                <a:gd name="connsiteY2177" fmla="*/ 562190 h 1451770"/>
                <a:gd name="connsiteX2178" fmla="*/ 3126157 w 3773795"/>
                <a:gd name="connsiteY2178" fmla="*/ 567036 h 1451770"/>
                <a:gd name="connsiteX2179" fmla="*/ 3127341 w 3773795"/>
                <a:gd name="connsiteY2179" fmla="*/ 576230 h 1451770"/>
                <a:gd name="connsiteX2180" fmla="*/ 3129669 w 3773795"/>
                <a:gd name="connsiteY2180" fmla="*/ 578532 h 1451770"/>
                <a:gd name="connsiteX2181" fmla="*/ 3133406 w 3773795"/>
                <a:gd name="connsiteY2181" fmla="*/ 580725 h 1451770"/>
                <a:gd name="connsiteX2182" fmla="*/ 3134087 w 3773795"/>
                <a:gd name="connsiteY2182" fmla="*/ 583709 h 1451770"/>
                <a:gd name="connsiteX2183" fmla="*/ 3129407 w 3773795"/>
                <a:gd name="connsiteY2183" fmla="*/ 593403 h 1451770"/>
                <a:gd name="connsiteX2184" fmla="*/ 3126481 w 3773795"/>
                <a:gd name="connsiteY2184" fmla="*/ 595185 h 1451770"/>
                <a:gd name="connsiteX2185" fmla="*/ 3123371 w 3773795"/>
                <a:gd name="connsiteY2185" fmla="*/ 597843 h 1451770"/>
                <a:gd name="connsiteX2186" fmla="*/ 3128866 w 3773795"/>
                <a:gd name="connsiteY2186" fmla="*/ 596915 h 1451770"/>
                <a:gd name="connsiteX2187" fmla="*/ 3131645 w 3773795"/>
                <a:gd name="connsiteY2187" fmla="*/ 593401 h 1451770"/>
                <a:gd name="connsiteX2188" fmla="*/ 3134629 w 3773795"/>
                <a:gd name="connsiteY2188" fmla="*/ 586884 h 1451770"/>
                <a:gd name="connsiteX2189" fmla="*/ 3137507 w 3773795"/>
                <a:gd name="connsiteY2189" fmla="*/ 585847 h 1451770"/>
                <a:gd name="connsiteX2190" fmla="*/ 3139062 w 3773795"/>
                <a:gd name="connsiteY2190" fmla="*/ 583709 h 1451770"/>
                <a:gd name="connsiteX2191" fmla="*/ 3139062 w 3773795"/>
                <a:gd name="connsiteY2191" fmla="*/ 577559 h 1451770"/>
                <a:gd name="connsiteX2192" fmla="*/ 3137170 w 3773795"/>
                <a:gd name="connsiteY2192" fmla="*/ 572208 h 1451770"/>
                <a:gd name="connsiteX2193" fmla="*/ 3137170 w 3773795"/>
                <a:gd name="connsiteY2193" fmla="*/ 568376 h 1451770"/>
                <a:gd name="connsiteX2194" fmla="*/ 3138427 w 3773795"/>
                <a:gd name="connsiteY2194" fmla="*/ 565277 h 1451770"/>
                <a:gd name="connsiteX2195" fmla="*/ 3147453 w 3773795"/>
                <a:gd name="connsiteY2195" fmla="*/ 558801 h 1451770"/>
                <a:gd name="connsiteX2196" fmla="*/ 3152338 w 3773795"/>
                <a:gd name="connsiteY2196" fmla="*/ 556196 h 1451770"/>
                <a:gd name="connsiteX2197" fmla="*/ 3156974 w 3773795"/>
                <a:gd name="connsiteY2197" fmla="*/ 554725 h 1451770"/>
                <a:gd name="connsiteX2198" fmla="*/ 3169555 w 3773795"/>
                <a:gd name="connsiteY2198" fmla="*/ 553402 h 1451770"/>
                <a:gd name="connsiteX2199" fmla="*/ 3175232 w 3773795"/>
                <a:gd name="connsiteY2199" fmla="*/ 552145 h 1451770"/>
                <a:gd name="connsiteX2200" fmla="*/ 3181792 w 3773795"/>
                <a:gd name="connsiteY2200" fmla="*/ 552989 h 1451770"/>
                <a:gd name="connsiteX2201" fmla="*/ 3186375 w 3773795"/>
                <a:gd name="connsiteY2201" fmla="*/ 552653 h 1451770"/>
                <a:gd name="connsiteX2202" fmla="*/ 3191697 w 3773795"/>
                <a:gd name="connsiteY2202" fmla="*/ 551342 h 1451770"/>
                <a:gd name="connsiteX2203" fmla="*/ 3196420 w 3773795"/>
                <a:gd name="connsiteY2203" fmla="*/ 551966 h 1451770"/>
                <a:gd name="connsiteX2204" fmla="*/ 3204241 w 3773795"/>
                <a:gd name="connsiteY2204" fmla="*/ 556292 h 1451770"/>
                <a:gd name="connsiteX2205" fmla="*/ 3231824 w 3773795"/>
                <a:gd name="connsiteY2205" fmla="*/ 557261 h 1451770"/>
                <a:gd name="connsiteX2206" fmla="*/ 3236683 w 3773795"/>
                <a:gd name="connsiteY2206" fmla="*/ 558767 h 1451770"/>
                <a:gd name="connsiteX2207" fmla="*/ 3255254 w 3773795"/>
                <a:gd name="connsiteY2207" fmla="*/ 560585 h 1451770"/>
                <a:gd name="connsiteX2208" fmla="*/ 3256671 w 3773795"/>
                <a:gd name="connsiteY2208" fmla="*/ 560572 h 1451770"/>
                <a:gd name="connsiteX2209" fmla="*/ 3260845 w 3773795"/>
                <a:gd name="connsiteY2209" fmla="*/ 558436 h 1451770"/>
                <a:gd name="connsiteX2210" fmla="*/ 3273117 w 3773795"/>
                <a:gd name="connsiteY2210" fmla="*/ 551138 h 1451770"/>
                <a:gd name="connsiteX2211" fmla="*/ 3278174 w 3773795"/>
                <a:gd name="connsiteY2211" fmla="*/ 551615 h 1451770"/>
                <a:gd name="connsiteX2212" fmla="*/ 3280236 w 3773795"/>
                <a:gd name="connsiteY2212" fmla="*/ 552757 h 1451770"/>
                <a:gd name="connsiteX2213" fmla="*/ 3282393 w 3773795"/>
                <a:gd name="connsiteY2213" fmla="*/ 555645 h 1451770"/>
                <a:gd name="connsiteX2214" fmla="*/ 3284656 w 3773795"/>
                <a:gd name="connsiteY2214" fmla="*/ 557537 h 1451770"/>
                <a:gd name="connsiteX2215" fmla="*/ 3286425 w 3773795"/>
                <a:gd name="connsiteY2215" fmla="*/ 562640 h 1451770"/>
                <a:gd name="connsiteX2216" fmla="*/ 3288040 w 3773795"/>
                <a:gd name="connsiteY2216" fmla="*/ 569491 h 1451770"/>
                <a:gd name="connsiteX2217" fmla="*/ 3290695 w 3773795"/>
                <a:gd name="connsiteY2217" fmla="*/ 570736 h 1451770"/>
                <a:gd name="connsiteX2218" fmla="*/ 3294333 w 3773795"/>
                <a:gd name="connsiteY2218" fmla="*/ 571170 h 1451770"/>
                <a:gd name="connsiteX2219" fmla="*/ 3302262 w 3773795"/>
                <a:gd name="connsiteY2219" fmla="*/ 573700 h 1451770"/>
                <a:gd name="connsiteX2220" fmla="*/ 3310320 w 3773795"/>
                <a:gd name="connsiteY2220" fmla="*/ 576954 h 1451770"/>
                <a:gd name="connsiteX2221" fmla="*/ 3312620 w 3773795"/>
                <a:gd name="connsiteY2221" fmla="*/ 583150 h 1451770"/>
                <a:gd name="connsiteX2222" fmla="*/ 3316937 w 3773795"/>
                <a:gd name="connsiteY2222" fmla="*/ 588311 h 1451770"/>
                <a:gd name="connsiteX2223" fmla="*/ 3327015 w 3773795"/>
                <a:gd name="connsiteY2223" fmla="*/ 587823 h 1451770"/>
                <a:gd name="connsiteX2224" fmla="*/ 3337451 w 3773795"/>
                <a:gd name="connsiteY2224" fmla="*/ 586792 h 1451770"/>
                <a:gd name="connsiteX2225" fmla="*/ 3347575 w 3773795"/>
                <a:gd name="connsiteY2225" fmla="*/ 578282 h 1451770"/>
                <a:gd name="connsiteX2226" fmla="*/ 3347602 w 3773795"/>
                <a:gd name="connsiteY2226" fmla="*/ 574812 h 1451770"/>
                <a:gd name="connsiteX2227" fmla="*/ 3345106 w 3773795"/>
                <a:gd name="connsiteY2227" fmla="*/ 569797 h 1451770"/>
                <a:gd name="connsiteX2228" fmla="*/ 3341355 w 3773795"/>
                <a:gd name="connsiteY2228" fmla="*/ 564938 h 1451770"/>
                <a:gd name="connsiteX2229" fmla="*/ 3338438 w 3773795"/>
                <a:gd name="connsiteY2229" fmla="*/ 557303 h 1451770"/>
                <a:gd name="connsiteX2230" fmla="*/ 3329122 w 3773795"/>
                <a:gd name="connsiteY2230" fmla="*/ 555608 h 1451770"/>
                <a:gd name="connsiteX2231" fmla="*/ 3330012 w 3773795"/>
                <a:gd name="connsiteY2231" fmla="*/ 553384 h 1451770"/>
                <a:gd name="connsiteX2232" fmla="*/ 3333514 w 3773795"/>
                <a:gd name="connsiteY2232" fmla="*/ 550720 h 1451770"/>
                <a:gd name="connsiteX2233" fmla="*/ 3336689 w 3773795"/>
                <a:gd name="connsiteY2233" fmla="*/ 546562 h 1451770"/>
                <a:gd name="connsiteX2234" fmla="*/ 3337181 w 3773795"/>
                <a:gd name="connsiteY2234" fmla="*/ 543353 h 1451770"/>
                <a:gd name="connsiteX2235" fmla="*/ 3336328 w 3773795"/>
                <a:gd name="connsiteY2235" fmla="*/ 536640 h 1451770"/>
                <a:gd name="connsiteX2236" fmla="*/ 3344756 w 3773795"/>
                <a:gd name="connsiteY2236" fmla="*/ 537096 h 1451770"/>
                <a:gd name="connsiteX2237" fmla="*/ 3353130 w 3773795"/>
                <a:gd name="connsiteY2237" fmla="*/ 537885 h 1451770"/>
                <a:gd name="connsiteX2238" fmla="*/ 3369135 w 3773795"/>
                <a:gd name="connsiteY2238" fmla="*/ 540884 h 1451770"/>
                <a:gd name="connsiteX2239" fmla="*/ 3382161 w 3773795"/>
                <a:gd name="connsiteY2239" fmla="*/ 542149 h 1451770"/>
                <a:gd name="connsiteX2240" fmla="*/ 3389009 w 3773795"/>
                <a:gd name="connsiteY2240" fmla="*/ 544068 h 1451770"/>
                <a:gd name="connsiteX2241" fmla="*/ 3393146 w 3773795"/>
                <a:gd name="connsiteY2241" fmla="*/ 546231 h 1451770"/>
                <a:gd name="connsiteX2242" fmla="*/ 3398034 w 3773795"/>
                <a:gd name="connsiteY2242" fmla="*/ 547852 h 1451770"/>
                <a:gd name="connsiteX2243" fmla="*/ 3399713 w 3773795"/>
                <a:gd name="connsiteY2243" fmla="*/ 543900 h 1451770"/>
                <a:gd name="connsiteX2244" fmla="*/ 3401600 w 3773795"/>
                <a:gd name="connsiteY2244" fmla="*/ 543000 h 1451770"/>
                <a:gd name="connsiteX2245" fmla="*/ 3408117 w 3773795"/>
                <a:gd name="connsiteY2245" fmla="*/ 545199 h 1451770"/>
                <a:gd name="connsiteX2246" fmla="*/ 3412864 w 3773795"/>
                <a:gd name="connsiteY2246" fmla="*/ 545869 h 1451770"/>
                <a:gd name="connsiteX2247" fmla="*/ 3421076 w 3773795"/>
                <a:gd name="connsiteY2247" fmla="*/ 545573 h 1451770"/>
                <a:gd name="connsiteX2248" fmla="*/ 3431382 w 3773795"/>
                <a:gd name="connsiteY2248" fmla="*/ 546597 h 1451770"/>
                <a:gd name="connsiteX2249" fmla="*/ 3442660 w 3773795"/>
                <a:gd name="connsiteY2249" fmla="*/ 546424 h 1451770"/>
                <a:gd name="connsiteX2250" fmla="*/ 3452734 w 3773795"/>
                <a:gd name="connsiteY2250" fmla="*/ 544684 h 1451770"/>
                <a:gd name="connsiteX2251" fmla="*/ 3456500 w 3773795"/>
                <a:gd name="connsiteY2251" fmla="*/ 545033 h 1451770"/>
                <a:gd name="connsiteX2252" fmla="*/ 3460614 w 3773795"/>
                <a:gd name="connsiteY2252" fmla="*/ 546414 h 1451770"/>
                <a:gd name="connsiteX2253" fmla="*/ 3467312 w 3773795"/>
                <a:gd name="connsiteY2253" fmla="*/ 550030 h 1451770"/>
                <a:gd name="connsiteX2254" fmla="*/ 3478677 w 3773795"/>
                <a:gd name="connsiteY2254" fmla="*/ 554845 h 1451770"/>
                <a:gd name="connsiteX2255" fmla="*/ 3489072 w 3773795"/>
                <a:gd name="connsiteY2255" fmla="*/ 556195 h 1451770"/>
                <a:gd name="connsiteX2256" fmla="*/ 3500994 w 3773795"/>
                <a:gd name="connsiteY2256" fmla="*/ 560740 h 1451770"/>
                <a:gd name="connsiteX2257" fmla="*/ 3512252 w 3773795"/>
                <a:gd name="connsiteY2257" fmla="*/ 562407 h 1451770"/>
                <a:gd name="connsiteX2258" fmla="*/ 3521219 w 3773795"/>
                <a:gd name="connsiteY2258" fmla="*/ 564978 h 1451770"/>
                <a:gd name="connsiteX2259" fmla="*/ 3522515 w 3773795"/>
                <a:gd name="connsiteY2259" fmla="*/ 565957 h 1451770"/>
                <a:gd name="connsiteX2260" fmla="*/ 3522914 w 3773795"/>
                <a:gd name="connsiteY2260" fmla="*/ 567367 h 1451770"/>
                <a:gd name="connsiteX2261" fmla="*/ 3523483 w 3773795"/>
                <a:gd name="connsiteY2261" fmla="*/ 568544 h 1451770"/>
                <a:gd name="connsiteX2262" fmla="*/ 3530602 w 3773795"/>
                <a:gd name="connsiteY2262" fmla="*/ 569951 h 1451770"/>
                <a:gd name="connsiteX2263" fmla="*/ 3543771 w 3773795"/>
                <a:gd name="connsiteY2263" fmla="*/ 579547 h 1451770"/>
                <a:gd name="connsiteX2264" fmla="*/ 3546685 w 3773795"/>
                <a:gd name="connsiteY2264" fmla="*/ 580680 h 1451770"/>
                <a:gd name="connsiteX2265" fmla="*/ 3546686 w 3773795"/>
                <a:gd name="connsiteY2265" fmla="*/ 580680 h 1451770"/>
                <a:gd name="connsiteX2266" fmla="*/ 3551140 w 3773795"/>
                <a:gd name="connsiteY2266" fmla="*/ 582345 h 1451770"/>
                <a:gd name="connsiteX2267" fmla="*/ 3555631 w 3773795"/>
                <a:gd name="connsiteY2267" fmla="*/ 583658 h 1451770"/>
                <a:gd name="connsiteX2268" fmla="*/ 3557421 w 3773795"/>
                <a:gd name="connsiteY2268" fmla="*/ 583246 h 1451770"/>
                <a:gd name="connsiteX2269" fmla="*/ 3558385 w 3773795"/>
                <a:gd name="connsiteY2269" fmla="*/ 583430 h 1451770"/>
                <a:gd name="connsiteX2270" fmla="*/ 3560926 w 3773795"/>
                <a:gd name="connsiteY2270" fmla="*/ 585726 h 1451770"/>
                <a:gd name="connsiteX2271" fmla="*/ 3562621 w 3773795"/>
                <a:gd name="connsiteY2271" fmla="*/ 586799 h 1451770"/>
                <a:gd name="connsiteX2272" fmla="*/ 3571586 w 3773795"/>
                <a:gd name="connsiteY2272" fmla="*/ 589542 h 1451770"/>
                <a:gd name="connsiteX2273" fmla="*/ 3575667 w 3773795"/>
                <a:gd name="connsiteY2273" fmla="*/ 592584 h 1451770"/>
                <a:gd name="connsiteX2274" fmla="*/ 3579001 w 3773795"/>
                <a:gd name="connsiteY2274" fmla="*/ 596026 h 1451770"/>
                <a:gd name="connsiteX2275" fmla="*/ 3577340 w 3773795"/>
                <a:gd name="connsiteY2275" fmla="*/ 595356 h 1451770"/>
                <a:gd name="connsiteX2276" fmla="*/ 3574293 w 3773795"/>
                <a:gd name="connsiteY2276" fmla="*/ 593150 h 1451770"/>
                <a:gd name="connsiteX2277" fmla="*/ 3574623 w 3773795"/>
                <a:gd name="connsiteY2277" fmla="*/ 595743 h 1451770"/>
                <a:gd name="connsiteX2278" fmla="*/ 3575593 w 3773795"/>
                <a:gd name="connsiteY2278" fmla="*/ 597549 h 1451770"/>
                <a:gd name="connsiteX2279" fmla="*/ 3580430 w 3773795"/>
                <a:gd name="connsiteY2279" fmla="*/ 599247 h 1451770"/>
                <a:gd name="connsiteX2280" fmla="*/ 3585504 w 3773795"/>
                <a:gd name="connsiteY2280" fmla="*/ 600593 h 1451770"/>
                <a:gd name="connsiteX2281" fmla="*/ 3588754 w 3773795"/>
                <a:gd name="connsiteY2281" fmla="*/ 602197 h 1451770"/>
                <a:gd name="connsiteX2282" fmla="*/ 3589833 w 3773795"/>
                <a:gd name="connsiteY2282" fmla="*/ 603590 h 1451770"/>
                <a:gd name="connsiteX2283" fmla="*/ 3590496 w 3773795"/>
                <a:gd name="connsiteY2283" fmla="*/ 606102 h 1451770"/>
                <a:gd name="connsiteX2284" fmla="*/ 3589675 w 3773795"/>
                <a:gd name="connsiteY2284" fmla="*/ 608312 h 1451770"/>
                <a:gd name="connsiteX2285" fmla="*/ 3592625 w 3773795"/>
                <a:gd name="connsiteY2285" fmla="*/ 607486 h 1451770"/>
                <a:gd name="connsiteX2286" fmla="*/ 3595403 w 3773795"/>
                <a:gd name="connsiteY2286" fmla="*/ 605519 h 1451770"/>
                <a:gd name="connsiteX2287" fmla="*/ 3593964 w 3773795"/>
                <a:gd name="connsiteY2287" fmla="*/ 603980 h 1451770"/>
                <a:gd name="connsiteX2288" fmla="*/ 3584618 w 3773795"/>
                <a:gd name="connsiteY2288" fmla="*/ 598602 h 1451770"/>
                <a:gd name="connsiteX2289" fmla="*/ 3582660 w 3773795"/>
                <a:gd name="connsiteY2289" fmla="*/ 596793 h 1451770"/>
                <a:gd name="connsiteX2290" fmla="*/ 3585384 w 3773795"/>
                <a:gd name="connsiteY2290" fmla="*/ 597725 h 1451770"/>
                <a:gd name="connsiteX2291" fmla="*/ 3597915 w 3773795"/>
                <a:gd name="connsiteY2291" fmla="*/ 604570 h 1451770"/>
                <a:gd name="connsiteX2292" fmla="*/ 3601362 w 3773795"/>
                <a:gd name="connsiteY2292" fmla="*/ 607186 h 1451770"/>
                <a:gd name="connsiteX2293" fmla="*/ 3599904 w 3773795"/>
                <a:gd name="connsiteY2293" fmla="*/ 607691 h 1451770"/>
                <a:gd name="connsiteX2294" fmla="*/ 3598883 w 3773795"/>
                <a:gd name="connsiteY2294" fmla="*/ 609216 h 1451770"/>
                <a:gd name="connsiteX2295" fmla="*/ 3599993 w 3773795"/>
                <a:gd name="connsiteY2295" fmla="*/ 609865 h 1451770"/>
                <a:gd name="connsiteX2296" fmla="*/ 3601503 w 3773795"/>
                <a:gd name="connsiteY2296" fmla="*/ 609382 h 1451770"/>
                <a:gd name="connsiteX2297" fmla="*/ 3604010 w 3773795"/>
                <a:gd name="connsiteY2297" fmla="*/ 609065 h 1451770"/>
                <a:gd name="connsiteX2298" fmla="*/ 3606445 w 3773795"/>
                <a:gd name="connsiteY2298" fmla="*/ 609930 h 1451770"/>
                <a:gd name="connsiteX2299" fmla="*/ 3609222 w 3773795"/>
                <a:gd name="connsiteY2299" fmla="*/ 611755 h 1451770"/>
                <a:gd name="connsiteX2300" fmla="*/ 3615072 w 3773795"/>
                <a:gd name="connsiteY2300" fmla="*/ 613870 h 1451770"/>
                <a:gd name="connsiteX2301" fmla="*/ 3649612 w 3773795"/>
                <a:gd name="connsiteY2301" fmla="*/ 630590 h 1451770"/>
                <a:gd name="connsiteX2302" fmla="*/ 3650394 w 3773795"/>
                <a:gd name="connsiteY2302" fmla="*/ 633458 h 1451770"/>
                <a:gd name="connsiteX2303" fmla="*/ 3651366 w 3773795"/>
                <a:gd name="connsiteY2303" fmla="*/ 634798 h 1451770"/>
                <a:gd name="connsiteX2304" fmla="*/ 3651948 w 3773795"/>
                <a:gd name="connsiteY2304" fmla="*/ 636507 h 1451770"/>
                <a:gd name="connsiteX2305" fmla="*/ 3652104 w 3773795"/>
                <a:gd name="connsiteY2305" fmla="*/ 639306 h 1451770"/>
                <a:gd name="connsiteX2306" fmla="*/ 3648959 w 3773795"/>
                <a:gd name="connsiteY2306" fmla="*/ 642659 h 1451770"/>
                <a:gd name="connsiteX2307" fmla="*/ 3653817 w 3773795"/>
                <a:gd name="connsiteY2307" fmla="*/ 642359 h 1451770"/>
                <a:gd name="connsiteX2308" fmla="*/ 3654530 w 3773795"/>
                <a:gd name="connsiteY2308" fmla="*/ 641925 h 1451770"/>
                <a:gd name="connsiteX2309" fmla="*/ 3655794 w 3773795"/>
                <a:gd name="connsiteY2309" fmla="*/ 640555 h 1451770"/>
                <a:gd name="connsiteX2310" fmla="*/ 3657186 w 3773795"/>
                <a:gd name="connsiteY2310" fmla="*/ 639651 h 1451770"/>
                <a:gd name="connsiteX2311" fmla="*/ 3659057 w 3773795"/>
                <a:gd name="connsiteY2311" fmla="*/ 640775 h 1451770"/>
                <a:gd name="connsiteX2312" fmla="*/ 3660566 w 3773795"/>
                <a:gd name="connsiteY2312" fmla="*/ 642978 h 1451770"/>
                <a:gd name="connsiteX2313" fmla="*/ 3660122 w 3773795"/>
                <a:gd name="connsiteY2313" fmla="*/ 645990 h 1451770"/>
                <a:gd name="connsiteX2314" fmla="*/ 3658784 w 3773795"/>
                <a:gd name="connsiteY2314" fmla="*/ 648425 h 1451770"/>
                <a:gd name="connsiteX2315" fmla="*/ 3658613 w 3773795"/>
                <a:gd name="connsiteY2315" fmla="*/ 652552 h 1451770"/>
                <a:gd name="connsiteX2316" fmla="*/ 3659787 w 3773795"/>
                <a:gd name="connsiteY2316" fmla="*/ 656012 h 1451770"/>
                <a:gd name="connsiteX2317" fmla="*/ 3661033 w 3773795"/>
                <a:gd name="connsiteY2317" fmla="*/ 657460 h 1451770"/>
                <a:gd name="connsiteX2318" fmla="*/ 3662029 w 3773795"/>
                <a:gd name="connsiteY2318" fmla="*/ 659119 h 1451770"/>
                <a:gd name="connsiteX2319" fmla="*/ 3662304 w 3773795"/>
                <a:gd name="connsiteY2319" fmla="*/ 664041 h 1451770"/>
                <a:gd name="connsiteX2320" fmla="*/ 3660118 w 3773795"/>
                <a:gd name="connsiteY2320" fmla="*/ 666245 h 1451770"/>
                <a:gd name="connsiteX2321" fmla="*/ 3658906 w 3773795"/>
                <a:gd name="connsiteY2321" fmla="*/ 670014 h 1451770"/>
                <a:gd name="connsiteX2322" fmla="*/ 3660247 w 3773795"/>
                <a:gd name="connsiteY2322" fmla="*/ 670384 h 1451770"/>
                <a:gd name="connsiteX2323" fmla="*/ 3664440 w 3773795"/>
                <a:gd name="connsiteY2323" fmla="*/ 670744 h 1451770"/>
                <a:gd name="connsiteX2324" fmla="*/ 3665815 w 3773795"/>
                <a:gd name="connsiteY2324" fmla="*/ 671410 h 1451770"/>
                <a:gd name="connsiteX2325" fmla="*/ 3668219 w 3773795"/>
                <a:gd name="connsiteY2325" fmla="*/ 673164 h 1451770"/>
                <a:gd name="connsiteX2326" fmla="*/ 3668794 w 3773795"/>
                <a:gd name="connsiteY2326" fmla="*/ 674853 h 1451770"/>
                <a:gd name="connsiteX2327" fmla="*/ 3669323 w 3773795"/>
                <a:gd name="connsiteY2327" fmla="*/ 677151 h 1451770"/>
                <a:gd name="connsiteX2328" fmla="*/ 3670099 w 3773795"/>
                <a:gd name="connsiteY2328" fmla="*/ 679285 h 1451770"/>
                <a:gd name="connsiteX2329" fmla="*/ 3670643 w 3773795"/>
                <a:gd name="connsiteY2329" fmla="*/ 680306 h 1451770"/>
                <a:gd name="connsiteX2330" fmla="*/ 3671264 w 3773795"/>
                <a:gd name="connsiteY2330" fmla="*/ 680155 h 1451770"/>
                <a:gd name="connsiteX2331" fmla="*/ 3673675 w 3773795"/>
                <a:gd name="connsiteY2331" fmla="*/ 677204 h 1451770"/>
                <a:gd name="connsiteX2332" fmla="*/ 3674802 w 3773795"/>
                <a:gd name="connsiteY2332" fmla="*/ 676323 h 1451770"/>
                <a:gd name="connsiteX2333" fmla="*/ 3677483 w 3773795"/>
                <a:gd name="connsiteY2333" fmla="*/ 675557 h 1451770"/>
                <a:gd name="connsiteX2334" fmla="*/ 3678965 w 3773795"/>
                <a:gd name="connsiteY2334" fmla="*/ 678897 h 1451770"/>
                <a:gd name="connsiteX2335" fmla="*/ 3677920 w 3773795"/>
                <a:gd name="connsiteY2335" fmla="*/ 684521 h 1451770"/>
                <a:gd name="connsiteX2336" fmla="*/ 3678795 w 3773795"/>
                <a:gd name="connsiteY2336" fmla="*/ 684518 h 1451770"/>
                <a:gd name="connsiteX2337" fmla="*/ 3679479 w 3773795"/>
                <a:gd name="connsiteY2337" fmla="*/ 683926 h 1451770"/>
                <a:gd name="connsiteX2338" fmla="*/ 3680342 w 3773795"/>
                <a:gd name="connsiteY2338" fmla="*/ 682420 h 1451770"/>
                <a:gd name="connsiteX2339" fmla="*/ 3681570 w 3773795"/>
                <a:gd name="connsiteY2339" fmla="*/ 681548 h 1451770"/>
                <a:gd name="connsiteX2340" fmla="*/ 3683071 w 3773795"/>
                <a:gd name="connsiteY2340" fmla="*/ 679503 h 1451770"/>
                <a:gd name="connsiteX2341" fmla="*/ 3684356 w 3773795"/>
                <a:gd name="connsiteY2341" fmla="*/ 676975 h 1451770"/>
                <a:gd name="connsiteX2342" fmla="*/ 3682840 w 3773795"/>
                <a:gd name="connsiteY2342" fmla="*/ 674997 h 1451770"/>
                <a:gd name="connsiteX2343" fmla="*/ 3681106 w 3773795"/>
                <a:gd name="connsiteY2343" fmla="*/ 673761 h 1451770"/>
                <a:gd name="connsiteX2344" fmla="*/ 3677105 w 3773795"/>
                <a:gd name="connsiteY2344" fmla="*/ 673064 h 1451770"/>
                <a:gd name="connsiteX2345" fmla="*/ 3675016 w 3773795"/>
                <a:gd name="connsiteY2345" fmla="*/ 671583 h 1451770"/>
                <a:gd name="connsiteX2346" fmla="*/ 3674236 w 3773795"/>
                <a:gd name="connsiteY2346" fmla="*/ 669691 h 1451770"/>
                <a:gd name="connsiteX2347" fmla="*/ 3676271 w 3773795"/>
                <a:gd name="connsiteY2347" fmla="*/ 668922 h 1451770"/>
                <a:gd name="connsiteX2348" fmla="*/ 3678017 w 3773795"/>
                <a:gd name="connsiteY2348" fmla="*/ 667546 h 1451770"/>
                <a:gd name="connsiteX2349" fmla="*/ 3679235 w 3773795"/>
                <a:gd name="connsiteY2349" fmla="*/ 664253 h 1451770"/>
                <a:gd name="connsiteX2350" fmla="*/ 3678941 w 3773795"/>
                <a:gd name="connsiteY2350" fmla="*/ 662442 h 1451770"/>
                <a:gd name="connsiteX2351" fmla="*/ 3678451 w 3773795"/>
                <a:gd name="connsiteY2351" fmla="*/ 660655 h 1451770"/>
                <a:gd name="connsiteX2352" fmla="*/ 3677446 w 3773795"/>
                <a:gd name="connsiteY2352" fmla="*/ 658149 h 1451770"/>
                <a:gd name="connsiteX2353" fmla="*/ 3675945 w 3773795"/>
                <a:gd name="connsiteY2353" fmla="*/ 656691 h 1451770"/>
                <a:gd name="connsiteX2354" fmla="*/ 3673088 w 3773795"/>
                <a:gd name="connsiteY2354" fmla="*/ 655963 h 1451770"/>
                <a:gd name="connsiteX2355" fmla="*/ 3671798 w 3773795"/>
                <a:gd name="connsiteY2355" fmla="*/ 654539 h 1451770"/>
                <a:gd name="connsiteX2356" fmla="*/ 3669830 w 3773795"/>
                <a:gd name="connsiteY2356" fmla="*/ 654618 h 1451770"/>
                <a:gd name="connsiteX2357" fmla="*/ 3667882 w 3773795"/>
                <a:gd name="connsiteY2357" fmla="*/ 654192 h 1451770"/>
                <a:gd name="connsiteX2358" fmla="*/ 3667096 w 3773795"/>
                <a:gd name="connsiteY2358" fmla="*/ 653671 h 1451770"/>
                <a:gd name="connsiteX2359" fmla="*/ 3667194 w 3773795"/>
                <a:gd name="connsiteY2359" fmla="*/ 652641 h 1451770"/>
                <a:gd name="connsiteX2360" fmla="*/ 3669461 w 3773795"/>
                <a:gd name="connsiteY2360" fmla="*/ 652175 h 1451770"/>
                <a:gd name="connsiteX2361" fmla="*/ 3681922 w 3773795"/>
                <a:gd name="connsiteY2361" fmla="*/ 652051 h 1451770"/>
                <a:gd name="connsiteX2362" fmla="*/ 3686440 w 3773795"/>
                <a:gd name="connsiteY2362" fmla="*/ 650619 h 1451770"/>
                <a:gd name="connsiteX2363" fmla="*/ 3688499 w 3773795"/>
                <a:gd name="connsiteY2363" fmla="*/ 651068 h 1451770"/>
                <a:gd name="connsiteX2364" fmla="*/ 3690546 w 3773795"/>
                <a:gd name="connsiteY2364" fmla="*/ 652098 h 1451770"/>
                <a:gd name="connsiteX2365" fmla="*/ 3697980 w 3773795"/>
                <a:gd name="connsiteY2365" fmla="*/ 653445 h 1451770"/>
                <a:gd name="connsiteX2366" fmla="*/ 3697763 w 3773795"/>
                <a:gd name="connsiteY2366" fmla="*/ 654073 h 1451770"/>
                <a:gd name="connsiteX2367" fmla="*/ 3696513 w 3773795"/>
                <a:gd name="connsiteY2367" fmla="*/ 654712 h 1451770"/>
                <a:gd name="connsiteX2368" fmla="*/ 3694316 w 3773795"/>
                <a:gd name="connsiteY2368" fmla="*/ 657703 h 1451770"/>
                <a:gd name="connsiteX2369" fmla="*/ 3693884 w 3773795"/>
                <a:gd name="connsiteY2369" fmla="*/ 659401 h 1451770"/>
                <a:gd name="connsiteX2370" fmla="*/ 3693789 w 3773795"/>
                <a:gd name="connsiteY2370" fmla="*/ 661552 h 1451770"/>
                <a:gd name="connsiteX2371" fmla="*/ 3695744 w 3773795"/>
                <a:gd name="connsiteY2371" fmla="*/ 661971 h 1451770"/>
                <a:gd name="connsiteX2372" fmla="*/ 3697591 w 3773795"/>
                <a:gd name="connsiteY2372" fmla="*/ 661060 h 1451770"/>
                <a:gd name="connsiteX2373" fmla="*/ 3696690 w 3773795"/>
                <a:gd name="connsiteY2373" fmla="*/ 659326 h 1451770"/>
                <a:gd name="connsiteX2374" fmla="*/ 3696422 w 3773795"/>
                <a:gd name="connsiteY2374" fmla="*/ 657193 h 1451770"/>
                <a:gd name="connsiteX2375" fmla="*/ 3697202 w 3773795"/>
                <a:gd name="connsiteY2375" fmla="*/ 656259 h 1451770"/>
                <a:gd name="connsiteX2376" fmla="*/ 3698223 w 3773795"/>
                <a:gd name="connsiteY2376" fmla="*/ 656059 h 1451770"/>
                <a:gd name="connsiteX2377" fmla="*/ 3700176 w 3773795"/>
                <a:gd name="connsiteY2377" fmla="*/ 657665 h 1451770"/>
                <a:gd name="connsiteX2378" fmla="*/ 3702297 w 3773795"/>
                <a:gd name="connsiteY2378" fmla="*/ 658176 h 1451770"/>
                <a:gd name="connsiteX2379" fmla="*/ 3709417 w 3773795"/>
                <a:gd name="connsiteY2379" fmla="*/ 658814 h 1451770"/>
                <a:gd name="connsiteX2380" fmla="*/ 3711434 w 3773795"/>
                <a:gd name="connsiteY2380" fmla="*/ 658608 h 1451770"/>
                <a:gd name="connsiteX2381" fmla="*/ 3712081 w 3773795"/>
                <a:gd name="connsiteY2381" fmla="*/ 657791 h 1451770"/>
                <a:gd name="connsiteX2382" fmla="*/ 3710691 w 3773795"/>
                <a:gd name="connsiteY2382" fmla="*/ 656847 h 1451770"/>
                <a:gd name="connsiteX2383" fmla="*/ 3701428 w 3773795"/>
                <a:gd name="connsiteY2383" fmla="*/ 654754 h 1451770"/>
                <a:gd name="connsiteX2384" fmla="*/ 3701304 w 3773795"/>
                <a:gd name="connsiteY2384" fmla="*/ 653602 h 1451770"/>
                <a:gd name="connsiteX2385" fmla="*/ 3709849 w 3773795"/>
                <a:gd name="connsiteY2385" fmla="*/ 655022 h 1451770"/>
                <a:gd name="connsiteX2386" fmla="*/ 3713691 w 3773795"/>
                <a:gd name="connsiteY2386" fmla="*/ 656329 h 1451770"/>
                <a:gd name="connsiteX2387" fmla="*/ 3717524 w 3773795"/>
                <a:gd name="connsiteY2387" fmla="*/ 657303 h 1451770"/>
                <a:gd name="connsiteX2388" fmla="*/ 3722885 w 3773795"/>
                <a:gd name="connsiteY2388" fmla="*/ 657016 h 1451770"/>
                <a:gd name="connsiteX2389" fmla="*/ 3728103 w 3773795"/>
                <a:gd name="connsiteY2389" fmla="*/ 658563 h 1451770"/>
                <a:gd name="connsiteX2390" fmla="*/ 3733099 w 3773795"/>
                <a:gd name="connsiteY2390" fmla="*/ 662765 h 1451770"/>
                <a:gd name="connsiteX2391" fmla="*/ 3737722 w 3773795"/>
                <a:gd name="connsiteY2391" fmla="*/ 668029 h 1451770"/>
                <a:gd name="connsiteX2392" fmla="*/ 3742393 w 3773795"/>
                <a:gd name="connsiteY2392" fmla="*/ 671139 h 1451770"/>
                <a:gd name="connsiteX2393" fmla="*/ 3747315 w 3773795"/>
                <a:gd name="connsiteY2393" fmla="*/ 673467 h 1451770"/>
                <a:gd name="connsiteX2394" fmla="*/ 3755519 w 3773795"/>
                <a:gd name="connsiteY2394" fmla="*/ 679828 h 1451770"/>
                <a:gd name="connsiteX2395" fmla="*/ 3756540 w 3773795"/>
                <a:gd name="connsiteY2395" fmla="*/ 680328 h 1451770"/>
                <a:gd name="connsiteX2396" fmla="*/ 3757345 w 3773795"/>
                <a:gd name="connsiteY2396" fmla="*/ 681188 h 1451770"/>
                <a:gd name="connsiteX2397" fmla="*/ 3755803 w 3773795"/>
                <a:gd name="connsiteY2397" fmla="*/ 682262 h 1451770"/>
                <a:gd name="connsiteX2398" fmla="*/ 3754441 w 3773795"/>
                <a:gd name="connsiteY2398" fmla="*/ 683811 h 1451770"/>
                <a:gd name="connsiteX2399" fmla="*/ 3757120 w 3773795"/>
                <a:gd name="connsiteY2399" fmla="*/ 682740 h 1451770"/>
                <a:gd name="connsiteX2400" fmla="*/ 3759820 w 3773795"/>
                <a:gd name="connsiteY2400" fmla="*/ 682011 h 1451770"/>
                <a:gd name="connsiteX2401" fmla="*/ 3761146 w 3773795"/>
                <a:gd name="connsiteY2401" fmla="*/ 682153 h 1451770"/>
                <a:gd name="connsiteX2402" fmla="*/ 3762345 w 3773795"/>
                <a:gd name="connsiteY2402" fmla="*/ 682968 h 1451770"/>
                <a:gd name="connsiteX2403" fmla="*/ 3763127 w 3773795"/>
                <a:gd name="connsiteY2403" fmla="*/ 684270 h 1451770"/>
                <a:gd name="connsiteX2404" fmla="*/ 3763562 w 3773795"/>
                <a:gd name="connsiteY2404" fmla="*/ 685561 h 1451770"/>
                <a:gd name="connsiteX2405" fmla="*/ 3762412 w 3773795"/>
                <a:gd name="connsiteY2405" fmla="*/ 686735 h 1451770"/>
                <a:gd name="connsiteX2406" fmla="*/ 3770264 w 3773795"/>
                <a:gd name="connsiteY2406" fmla="*/ 686948 h 1451770"/>
                <a:gd name="connsiteX2407" fmla="*/ 3772718 w 3773795"/>
                <a:gd name="connsiteY2407" fmla="*/ 687695 h 1451770"/>
                <a:gd name="connsiteX2408" fmla="*/ 3773795 w 3773795"/>
                <a:gd name="connsiteY2408" fmla="*/ 690810 h 1451770"/>
                <a:gd name="connsiteX2409" fmla="*/ 3771527 w 3773795"/>
                <a:gd name="connsiteY2409" fmla="*/ 692976 h 1451770"/>
                <a:gd name="connsiteX2410" fmla="*/ 3770201 w 3773795"/>
                <a:gd name="connsiteY2410" fmla="*/ 692713 h 1451770"/>
                <a:gd name="connsiteX2411" fmla="*/ 3768927 w 3773795"/>
                <a:gd name="connsiteY2411" fmla="*/ 691802 h 1451770"/>
                <a:gd name="connsiteX2412" fmla="*/ 3767722 w 3773795"/>
                <a:gd name="connsiteY2412" fmla="*/ 691711 h 1451770"/>
                <a:gd name="connsiteX2413" fmla="*/ 3764280 w 3773795"/>
                <a:gd name="connsiteY2413" fmla="*/ 692641 h 1451770"/>
                <a:gd name="connsiteX2414" fmla="*/ 3758939 w 3773795"/>
                <a:gd name="connsiteY2414" fmla="*/ 695549 h 1451770"/>
                <a:gd name="connsiteX2415" fmla="*/ 3755851 w 3773795"/>
                <a:gd name="connsiteY2415" fmla="*/ 697852 h 1451770"/>
                <a:gd name="connsiteX2416" fmla="*/ 3755356 w 3773795"/>
                <a:gd name="connsiteY2416" fmla="*/ 699378 h 1451770"/>
                <a:gd name="connsiteX2417" fmla="*/ 3755834 w 3773795"/>
                <a:gd name="connsiteY2417" fmla="*/ 703505 h 1451770"/>
                <a:gd name="connsiteX2418" fmla="*/ 3755401 w 3773795"/>
                <a:gd name="connsiteY2418" fmla="*/ 705469 h 1451770"/>
                <a:gd name="connsiteX2419" fmla="*/ 3753073 w 3773795"/>
                <a:gd name="connsiteY2419" fmla="*/ 706730 h 1451770"/>
                <a:gd name="connsiteX2420" fmla="*/ 3747974 w 3773795"/>
                <a:gd name="connsiteY2420" fmla="*/ 705964 h 1451770"/>
                <a:gd name="connsiteX2421" fmla="*/ 3745661 w 3773795"/>
                <a:gd name="connsiteY2421" fmla="*/ 705154 h 1451770"/>
                <a:gd name="connsiteX2422" fmla="*/ 3743063 w 3773795"/>
                <a:gd name="connsiteY2422" fmla="*/ 704059 h 1451770"/>
                <a:gd name="connsiteX2423" fmla="*/ 3740563 w 3773795"/>
                <a:gd name="connsiteY2423" fmla="*/ 702537 h 1451770"/>
                <a:gd name="connsiteX2424" fmla="*/ 3737360 w 3773795"/>
                <a:gd name="connsiteY2424" fmla="*/ 700093 h 1451770"/>
                <a:gd name="connsiteX2425" fmla="*/ 3736373 w 3773795"/>
                <a:gd name="connsiteY2425" fmla="*/ 699860 h 1451770"/>
                <a:gd name="connsiteX2426" fmla="*/ 3735718 w 3773795"/>
                <a:gd name="connsiteY2426" fmla="*/ 700447 h 1451770"/>
                <a:gd name="connsiteX2427" fmla="*/ 3736811 w 3773795"/>
                <a:gd name="connsiteY2427" fmla="*/ 701995 h 1451770"/>
                <a:gd name="connsiteX2428" fmla="*/ 3738989 w 3773795"/>
                <a:gd name="connsiteY2428" fmla="*/ 703933 h 1451770"/>
                <a:gd name="connsiteX2429" fmla="*/ 3742721 w 3773795"/>
                <a:gd name="connsiteY2429" fmla="*/ 706492 h 1451770"/>
                <a:gd name="connsiteX2430" fmla="*/ 3744494 w 3773795"/>
                <a:gd name="connsiteY2430" fmla="*/ 709328 h 1451770"/>
                <a:gd name="connsiteX2431" fmla="*/ 3743353 w 3773795"/>
                <a:gd name="connsiteY2431" fmla="*/ 710739 h 1451770"/>
                <a:gd name="connsiteX2432" fmla="*/ 3741935 w 3773795"/>
                <a:gd name="connsiteY2432" fmla="*/ 711063 h 1451770"/>
                <a:gd name="connsiteX2433" fmla="*/ 3740917 w 3773795"/>
                <a:gd name="connsiteY2433" fmla="*/ 711038 h 1451770"/>
                <a:gd name="connsiteX2434" fmla="*/ 3737650 w 3773795"/>
                <a:gd name="connsiteY2434" fmla="*/ 710153 h 1451770"/>
                <a:gd name="connsiteX2435" fmla="*/ 3735384 w 3773795"/>
                <a:gd name="connsiteY2435" fmla="*/ 709939 h 1451770"/>
                <a:gd name="connsiteX2436" fmla="*/ 3728217 w 3773795"/>
                <a:gd name="connsiteY2436" fmla="*/ 710761 h 1451770"/>
                <a:gd name="connsiteX2437" fmla="*/ 3725635 w 3773795"/>
                <a:gd name="connsiteY2437" fmla="*/ 711286 h 1451770"/>
                <a:gd name="connsiteX2438" fmla="*/ 3724750 w 3773795"/>
                <a:gd name="connsiteY2438" fmla="*/ 710851 h 1451770"/>
                <a:gd name="connsiteX2439" fmla="*/ 3724529 w 3773795"/>
                <a:gd name="connsiteY2439" fmla="*/ 709613 h 1451770"/>
                <a:gd name="connsiteX2440" fmla="*/ 3720674 w 3773795"/>
                <a:gd name="connsiteY2440" fmla="*/ 708712 h 1451770"/>
                <a:gd name="connsiteX2441" fmla="*/ 3718410 w 3773795"/>
                <a:gd name="connsiteY2441" fmla="*/ 708584 h 1451770"/>
                <a:gd name="connsiteX2442" fmla="*/ 3717340 w 3773795"/>
                <a:gd name="connsiteY2442" fmla="*/ 708154 h 1451770"/>
                <a:gd name="connsiteX2443" fmla="*/ 3716456 w 3773795"/>
                <a:gd name="connsiteY2443" fmla="*/ 706875 h 1451770"/>
                <a:gd name="connsiteX2444" fmla="*/ 3713948 w 3773795"/>
                <a:gd name="connsiteY2444" fmla="*/ 704982 h 1451770"/>
                <a:gd name="connsiteX2445" fmla="*/ 3710144 w 3773795"/>
                <a:gd name="connsiteY2445" fmla="*/ 704240 h 1451770"/>
                <a:gd name="connsiteX2446" fmla="*/ 3707679 w 3773795"/>
                <a:gd name="connsiteY2446" fmla="*/ 704153 h 1451770"/>
                <a:gd name="connsiteX2447" fmla="*/ 3706261 w 3773795"/>
                <a:gd name="connsiteY2447" fmla="*/ 704567 h 1451770"/>
                <a:gd name="connsiteX2448" fmla="*/ 3711275 w 3773795"/>
                <a:gd name="connsiteY2448" fmla="*/ 707076 h 1451770"/>
                <a:gd name="connsiteX2449" fmla="*/ 3715755 w 3773795"/>
                <a:gd name="connsiteY2449" fmla="*/ 711284 h 1451770"/>
                <a:gd name="connsiteX2450" fmla="*/ 3714914 w 3773795"/>
                <a:gd name="connsiteY2450" fmla="*/ 712061 h 1451770"/>
                <a:gd name="connsiteX2451" fmla="*/ 3714344 w 3773795"/>
                <a:gd name="connsiteY2451" fmla="*/ 712966 h 1451770"/>
                <a:gd name="connsiteX2452" fmla="*/ 3716822 w 3773795"/>
                <a:gd name="connsiteY2452" fmla="*/ 713030 h 1451770"/>
                <a:gd name="connsiteX2453" fmla="*/ 3718434 w 3773795"/>
                <a:gd name="connsiteY2453" fmla="*/ 712744 h 1451770"/>
                <a:gd name="connsiteX2454" fmla="*/ 3718903 w 3773795"/>
                <a:gd name="connsiteY2454" fmla="*/ 713848 h 1451770"/>
                <a:gd name="connsiteX2455" fmla="*/ 3717614 w 3773795"/>
                <a:gd name="connsiteY2455" fmla="*/ 718276 h 1451770"/>
                <a:gd name="connsiteX2456" fmla="*/ 3716743 w 3773795"/>
                <a:gd name="connsiteY2456" fmla="*/ 719254 h 1451770"/>
                <a:gd name="connsiteX2457" fmla="*/ 3708946 w 3773795"/>
                <a:gd name="connsiteY2457" fmla="*/ 720232 h 1451770"/>
                <a:gd name="connsiteX2458" fmla="*/ 3710908 w 3773795"/>
                <a:gd name="connsiteY2458" fmla="*/ 720964 h 1451770"/>
                <a:gd name="connsiteX2459" fmla="*/ 3712921 w 3773795"/>
                <a:gd name="connsiteY2459" fmla="*/ 721193 h 1451770"/>
                <a:gd name="connsiteX2460" fmla="*/ 3715208 w 3773795"/>
                <a:gd name="connsiteY2460" fmla="*/ 721019 h 1451770"/>
                <a:gd name="connsiteX2461" fmla="*/ 3717257 w 3773795"/>
                <a:gd name="connsiteY2461" fmla="*/ 721776 h 1451770"/>
                <a:gd name="connsiteX2462" fmla="*/ 3718636 w 3773795"/>
                <a:gd name="connsiteY2462" fmla="*/ 724550 h 1451770"/>
                <a:gd name="connsiteX2463" fmla="*/ 3718868 w 3773795"/>
                <a:gd name="connsiteY2463" fmla="*/ 727448 h 1451770"/>
                <a:gd name="connsiteX2464" fmla="*/ 3716852 w 3773795"/>
                <a:gd name="connsiteY2464" fmla="*/ 729101 h 1451770"/>
                <a:gd name="connsiteX2465" fmla="*/ 3714765 w 3773795"/>
                <a:gd name="connsiteY2465" fmla="*/ 730444 h 1451770"/>
                <a:gd name="connsiteX2466" fmla="*/ 3710474 w 3773795"/>
                <a:gd name="connsiteY2466" fmla="*/ 732481 h 1451770"/>
                <a:gd name="connsiteX2467" fmla="*/ 3706058 w 3773795"/>
                <a:gd name="connsiteY2467" fmla="*/ 733379 h 1451770"/>
                <a:gd name="connsiteX2468" fmla="*/ 3703739 w 3773795"/>
                <a:gd name="connsiteY2468" fmla="*/ 733154 h 1451770"/>
                <a:gd name="connsiteX2469" fmla="*/ 3701489 w 3773795"/>
                <a:gd name="connsiteY2469" fmla="*/ 733605 h 1451770"/>
                <a:gd name="connsiteX2470" fmla="*/ 3700006 w 3773795"/>
                <a:gd name="connsiteY2470" fmla="*/ 734660 h 1451770"/>
                <a:gd name="connsiteX2471" fmla="*/ 3699573 w 3773795"/>
                <a:gd name="connsiteY2471" fmla="*/ 735728 h 1451770"/>
                <a:gd name="connsiteX2472" fmla="*/ 3701513 w 3773795"/>
                <a:gd name="connsiteY2472" fmla="*/ 735020 h 1451770"/>
                <a:gd name="connsiteX2473" fmla="*/ 3703750 w 3773795"/>
                <a:gd name="connsiteY2473" fmla="*/ 735415 h 1451770"/>
                <a:gd name="connsiteX2474" fmla="*/ 3705868 w 3773795"/>
                <a:gd name="connsiteY2474" fmla="*/ 736687 h 1451770"/>
                <a:gd name="connsiteX2475" fmla="*/ 3705637 w 3773795"/>
                <a:gd name="connsiteY2475" fmla="*/ 737737 h 1451770"/>
                <a:gd name="connsiteX2476" fmla="*/ 3703624 w 3773795"/>
                <a:gd name="connsiteY2476" fmla="*/ 738881 h 1451770"/>
                <a:gd name="connsiteX2477" fmla="*/ 3703149 w 3773795"/>
                <a:gd name="connsiteY2477" fmla="*/ 739748 h 1451770"/>
                <a:gd name="connsiteX2478" fmla="*/ 3703923 w 3773795"/>
                <a:gd name="connsiteY2478" fmla="*/ 741209 h 1451770"/>
                <a:gd name="connsiteX2479" fmla="*/ 3703662 w 3773795"/>
                <a:gd name="connsiteY2479" fmla="*/ 742464 h 1451770"/>
                <a:gd name="connsiteX2480" fmla="*/ 3704695 w 3773795"/>
                <a:gd name="connsiteY2480" fmla="*/ 743140 h 1451770"/>
                <a:gd name="connsiteX2481" fmla="*/ 3707067 w 3773795"/>
                <a:gd name="connsiteY2481" fmla="*/ 743377 h 1451770"/>
                <a:gd name="connsiteX2482" fmla="*/ 3709958 w 3773795"/>
                <a:gd name="connsiteY2482" fmla="*/ 744282 h 1451770"/>
                <a:gd name="connsiteX2483" fmla="*/ 3712804 w 3773795"/>
                <a:gd name="connsiteY2483" fmla="*/ 745483 h 1451770"/>
                <a:gd name="connsiteX2484" fmla="*/ 3713928 w 3773795"/>
                <a:gd name="connsiteY2484" fmla="*/ 746511 h 1451770"/>
                <a:gd name="connsiteX2485" fmla="*/ 3714873 w 3773795"/>
                <a:gd name="connsiteY2485" fmla="*/ 747958 h 1451770"/>
                <a:gd name="connsiteX2486" fmla="*/ 3715207 w 3773795"/>
                <a:gd name="connsiteY2486" fmla="*/ 749492 h 1451770"/>
                <a:gd name="connsiteX2487" fmla="*/ 3714704 w 3773795"/>
                <a:gd name="connsiteY2487" fmla="*/ 750119 h 1451770"/>
                <a:gd name="connsiteX2488" fmla="*/ 3708221 w 3773795"/>
                <a:gd name="connsiteY2488" fmla="*/ 750362 h 1451770"/>
                <a:gd name="connsiteX2489" fmla="*/ 3707237 w 3773795"/>
                <a:gd name="connsiteY2489" fmla="*/ 750178 h 1451770"/>
                <a:gd name="connsiteX2490" fmla="*/ 3706866 w 3773795"/>
                <a:gd name="connsiteY2490" fmla="*/ 748481 h 1451770"/>
                <a:gd name="connsiteX2491" fmla="*/ 3706080 w 3773795"/>
                <a:gd name="connsiteY2491" fmla="*/ 747095 h 1451770"/>
                <a:gd name="connsiteX2492" fmla="*/ 3703611 w 3773795"/>
                <a:gd name="connsiteY2492" fmla="*/ 746128 h 1451770"/>
                <a:gd name="connsiteX2493" fmla="*/ 3702597 w 3773795"/>
                <a:gd name="connsiteY2493" fmla="*/ 746794 h 1451770"/>
                <a:gd name="connsiteX2494" fmla="*/ 3703331 w 3773795"/>
                <a:gd name="connsiteY2494" fmla="*/ 751699 h 1451770"/>
                <a:gd name="connsiteX2495" fmla="*/ 3702353 w 3773795"/>
                <a:gd name="connsiteY2495" fmla="*/ 753182 h 1451770"/>
                <a:gd name="connsiteX2496" fmla="*/ 3701268 w 3773795"/>
                <a:gd name="connsiteY2496" fmla="*/ 754254 h 1451770"/>
                <a:gd name="connsiteX2497" fmla="*/ 3697988 w 3773795"/>
                <a:gd name="connsiteY2497" fmla="*/ 754882 h 1451770"/>
                <a:gd name="connsiteX2498" fmla="*/ 3695378 w 3773795"/>
                <a:gd name="connsiteY2498" fmla="*/ 754531 h 1451770"/>
                <a:gd name="connsiteX2499" fmla="*/ 3693162 w 3773795"/>
                <a:gd name="connsiteY2499" fmla="*/ 752216 h 1451770"/>
                <a:gd name="connsiteX2500" fmla="*/ 3693166 w 3773795"/>
                <a:gd name="connsiteY2500" fmla="*/ 750244 h 1451770"/>
                <a:gd name="connsiteX2501" fmla="*/ 3694632 w 3773795"/>
                <a:gd name="connsiteY2501" fmla="*/ 749096 h 1451770"/>
                <a:gd name="connsiteX2502" fmla="*/ 3694630 w 3773795"/>
                <a:gd name="connsiteY2502" fmla="*/ 747503 h 1451770"/>
                <a:gd name="connsiteX2503" fmla="*/ 3694228 w 3773795"/>
                <a:gd name="connsiteY2503" fmla="*/ 745648 h 1451770"/>
                <a:gd name="connsiteX2504" fmla="*/ 3692720 w 3773795"/>
                <a:gd name="connsiteY2504" fmla="*/ 747804 h 1451770"/>
                <a:gd name="connsiteX2505" fmla="*/ 3690968 w 3773795"/>
                <a:gd name="connsiteY2505" fmla="*/ 749596 h 1451770"/>
                <a:gd name="connsiteX2506" fmla="*/ 3688123 w 3773795"/>
                <a:gd name="connsiteY2506" fmla="*/ 751840 h 1451770"/>
                <a:gd name="connsiteX2507" fmla="*/ 3686744 w 3773795"/>
                <a:gd name="connsiteY2507" fmla="*/ 752129 h 1451770"/>
                <a:gd name="connsiteX2508" fmla="*/ 3685334 w 3773795"/>
                <a:gd name="connsiteY2508" fmla="*/ 751874 h 1451770"/>
                <a:gd name="connsiteX2509" fmla="*/ 3681616 w 3773795"/>
                <a:gd name="connsiteY2509" fmla="*/ 750268 h 1451770"/>
                <a:gd name="connsiteX2510" fmla="*/ 3679327 w 3773795"/>
                <a:gd name="connsiteY2510" fmla="*/ 748872 h 1451770"/>
                <a:gd name="connsiteX2511" fmla="*/ 3674828 w 3773795"/>
                <a:gd name="connsiteY2511" fmla="*/ 744286 h 1451770"/>
                <a:gd name="connsiteX2512" fmla="*/ 3672325 w 3773795"/>
                <a:gd name="connsiteY2512" fmla="*/ 742150 h 1451770"/>
                <a:gd name="connsiteX2513" fmla="*/ 3666741 w 3773795"/>
                <a:gd name="connsiteY2513" fmla="*/ 739289 h 1451770"/>
                <a:gd name="connsiteX2514" fmla="*/ 3660994 w 3773795"/>
                <a:gd name="connsiteY2514" fmla="*/ 737208 h 1451770"/>
                <a:gd name="connsiteX2515" fmla="*/ 3656448 w 3773795"/>
                <a:gd name="connsiteY2515" fmla="*/ 735859 h 1451770"/>
                <a:gd name="connsiteX2516" fmla="*/ 3654020 w 3773795"/>
                <a:gd name="connsiteY2516" fmla="*/ 736016 h 1451770"/>
                <a:gd name="connsiteX2517" fmla="*/ 3651586 w 3773795"/>
                <a:gd name="connsiteY2517" fmla="*/ 736564 h 1451770"/>
                <a:gd name="connsiteX2518" fmla="*/ 3648509 w 3773795"/>
                <a:gd name="connsiteY2518" fmla="*/ 736263 h 1451770"/>
                <a:gd name="connsiteX2519" fmla="*/ 3647469 w 3773795"/>
                <a:gd name="connsiteY2519" fmla="*/ 735751 h 1451770"/>
                <a:gd name="connsiteX2520" fmla="*/ 3646560 w 3773795"/>
                <a:gd name="connsiteY2520" fmla="*/ 734609 h 1451770"/>
                <a:gd name="connsiteX2521" fmla="*/ 3645733 w 3773795"/>
                <a:gd name="connsiteY2521" fmla="*/ 733946 h 1451770"/>
                <a:gd name="connsiteX2522" fmla="*/ 3641416 w 3773795"/>
                <a:gd name="connsiteY2522" fmla="*/ 731113 h 1451770"/>
                <a:gd name="connsiteX2523" fmla="*/ 3638365 w 3773795"/>
                <a:gd name="connsiteY2523" fmla="*/ 728789 h 1451770"/>
                <a:gd name="connsiteX2524" fmla="*/ 3638241 w 3773795"/>
                <a:gd name="connsiteY2524" fmla="*/ 727231 h 1451770"/>
                <a:gd name="connsiteX2525" fmla="*/ 3638887 w 3773795"/>
                <a:gd name="connsiteY2525" fmla="*/ 725385 h 1451770"/>
                <a:gd name="connsiteX2526" fmla="*/ 3638314 w 3773795"/>
                <a:gd name="connsiteY2526" fmla="*/ 720799 h 1451770"/>
                <a:gd name="connsiteX2527" fmla="*/ 3636837 w 3773795"/>
                <a:gd name="connsiteY2527" fmla="*/ 716478 h 1451770"/>
                <a:gd name="connsiteX2528" fmla="*/ 3633071 w 3773795"/>
                <a:gd name="connsiteY2528" fmla="*/ 712188 h 1451770"/>
                <a:gd name="connsiteX2529" fmla="*/ 3623028 w 3773795"/>
                <a:gd name="connsiteY2529" fmla="*/ 709415 h 1451770"/>
                <a:gd name="connsiteX2530" fmla="*/ 3614743 w 3773795"/>
                <a:gd name="connsiteY2530" fmla="*/ 707462 h 1451770"/>
                <a:gd name="connsiteX2531" fmla="*/ 3611778 w 3773795"/>
                <a:gd name="connsiteY2531" fmla="*/ 707017 h 1451770"/>
                <a:gd name="connsiteX2532" fmla="*/ 3609146 w 3773795"/>
                <a:gd name="connsiteY2532" fmla="*/ 707452 h 1451770"/>
                <a:gd name="connsiteX2533" fmla="*/ 3602214 w 3773795"/>
                <a:gd name="connsiteY2533" fmla="*/ 711005 h 1451770"/>
                <a:gd name="connsiteX2534" fmla="*/ 3597573 w 3773795"/>
                <a:gd name="connsiteY2534" fmla="*/ 711512 h 1451770"/>
                <a:gd name="connsiteX2535" fmla="*/ 3584049 w 3773795"/>
                <a:gd name="connsiteY2535" fmla="*/ 711688 h 1451770"/>
                <a:gd name="connsiteX2536" fmla="*/ 3581788 w 3773795"/>
                <a:gd name="connsiteY2536" fmla="*/ 711300 h 1451770"/>
                <a:gd name="connsiteX2537" fmla="*/ 3579751 w 3773795"/>
                <a:gd name="connsiteY2537" fmla="*/ 709790 h 1451770"/>
                <a:gd name="connsiteX2538" fmla="*/ 3579280 w 3773795"/>
                <a:gd name="connsiteY2538" fmla="*/ 707765 h 1451770"/>
                <a:gd name="connsiteX2539" fmla="*/ 3579868 w 3773795"/>
                <a:gd name="connsiteY2539" fmla="*/ 704000 h 1451770"/>
                <a:gd name="connsiteX2540" fmla="*/ 3579801 w 3773795"/>
                <a:gd name="connsiteY2540" fmla="*/ 702407 h 1451770"/>
                <a:gd name="connsiteX2541" fmla="*/ 3579273 w 3773795"/>
                <a:gd name="connsiteY2541" fmla="*/ 701868 h 1451770"/>
                <a:gd name="connsiteX2542" fmla="*/ 3578558 w 3773795"/>
                <a:gd name="connsiteY2542" fmla="*/ 701913 h 1451770"/>
                <a:gd name="connsiteX2543" fmla="*/ 3575892 w 3773795"/>
                <a:gd name="connsiteY2543" fmla="*/ 700406 h 1451770"/>
                <a:gd name="connsiteX2544" fmla="*/ 3573417 w 3773795"/>
                <a:gd name="connsiteY2544" fmla="*/ 697877 h 1451770"/>
                <a:gd name="connsiteX2545" fmla="*/ 3571465 w 3773795"/>
                <a:gd name="connsiteY2545" fmla="*/ 695258 h 1451770"/>
                <a:gd name="connsiteX2546" fmla="*/ 3570144 w 3773795"/>
                <a:gd name="connsiteY2546" fmla="*/ 691738 h 1451770"/>
                <a:gd name="connsiteX2547" fmla="*/ 3571932 w 3773795"/>
                <a:gd name="connsiteY2547" fmla="*/ 691562 h 1451770"/>
                <a:gd name="connsiteX2548" fmla="*/ 3574397 w 3773795"/>
                <a:gd name="connsiteY2548" fmla="*/ 692436 h 1451770"/>
                <a:gd name="connsiteX2549" fmla="*/ 3574755 w 3773795"/>
                <a:gd name="connsiteY2549" fmla="*/ 691573 h 1451770"/>
                <a:gd name="connsiteX2550" fmla="*/ 3575568 w 3773795"/>
                <a:gd name="connsiteY2550" fmla="*/ 688388 h 1451770"/>
                <a:gd name="connsiteX2551" fmla="*/ 3577282 w 3773795"/>
                <a:gd name="connsiteY2551" fmla="*/ 686855 h 1451770"/>
                <a:gd name="connsiteX2552" fmla="*/ 3577940 w 3773795"/>
                <a:gd name="connsiteY2552" fmla="*/ 685665 h 1451770"/>
                <a:gd name="connsiteX2553" fmla="*/ 3579099 w 3773795"/>
                <a:gd name="connsiteY2553" fmla="*/ 681325 h 1451770"/>
                <a:gd name="connsiteX2554" fmla="*/ 3579266 w 3773795"/>
                <a:gd name="connsiteY2554" fmla="*/ 678195 h 1451770"/>
                <a:gd name="connsiteX2555" fmla="*/ 3577293 w 3773795"/>
                <a:gd name="connsiteY2555" fmla="*/ 679903 h 1451770"/>
                <a:gd name="connsiteX2556" fmla="*/ 3574264 w 3773795"/>
                <a:gd name="connsiteY2556" fmla="*/ 684240 h 1451770"/>
                <a:gd name="connsiteX2557" fmla="*/ 3572759 w 3773795"/>
                <a:gd name="connsiteY2557" fmla="*/ 685510 h 1451770"/>
                <a:gd name="connsiteX2558" fmla="*/ 3571713 w 3773795"/>
                <a:gd name="connsiteY2558" fmla="*/ 686083 h 1451770"/>
                <a:gd name="connsiteX2559" fmla="*/ 3570665 w 3773795"/>
                <a:gd name="connsiteY2559" fmla="*/ 686345 h 1451770"/>
                <a:gd name="connsiteX2560" fmla="*/ 3568219 w 3773795"/>
                <a:gd name="connsiteY2560" fmla="*/ 685479 h 1451770"/>
                <a:gd name="connsiteX2561" fmla="*/ 3566474 w 3773795"/>
                <a:gd name="connsiteY2561" fmla="*/ 684435 h 1451770"/>
                <a:gd name="connsiteX2562" fmla="*/ 3566434 w 3773795"/>
                <a:gd name="connsiteY2562" fmla="*/ 680238 h 1451770"/>
                <a:gd name="connsiteX2563" fmla="*/ 3565626 w 3773795"/>
                <a:gd name="connsiteY2563" fmla="*/ 679172 h 1451770"/>
                <a:gd name="connsiteX2564" fmla="*/ 3564853 w 3773795"/>
                <a:gd name="connsiteY2564" fmla="*/ 679972 h 1451770"/>
                <a:gd name="connsiteX2565" fmla="*/ 3564537 w 3773795"/>
                <a:gd name="connsiteY2565" fmla="*/ 681472 h 1451770"/>
                <a:gd name="connsiteX2566" fmla="*/ 3562314 w 3773795"/>
                <a:gd name="connsiteY2566" fmla="*/ 681747 h 1451770"/>
                <a:gd name="connsiteX2567" fmla="*/ 3561276 w 3773795"/>
                <a:gd name="connsiteY2567" fmla="*/ 682393 h 1451770"/>
                <a:gd name="connsiteX2568" fmla="*/ 3561805 w 3773795"/>
                <a:gd name="connsiteY2568" fmla="*/ 684880 h 1451770"/>
                <a:gd name="connsiteX2569" fmla="*/ 3561562 w 3773795"/>
                <a:gd name="connsiteY2569" fmla="*/ 686981 h 1451770"/>
                <a:gd name="connsiteX2570" fmla="*/ 3559451 w 3773795"/>
                <a:gd name="connsiteY2570" fmla="*/ 687770 h 1451770"/>
                <a:gd name="connsiteX2571" fmla="*/ 3555172 w 3773795"/>
                <a:gd name="connsiteY2571" fmla="*/ 688254 h 1451770"/>
                <a:gd name="connsiteX2572" fmla="*/ 3553688 w 3773795"/>
                <a:gd name="connsiteY2572" fmla="*/ 686190 h 1451770"/>
                <a:gd name="connsiteX2573" fmla="*/ 3552415 w 3773795"/>
                <a:gd name="connsiteY2573" fmla="*/ 689064 h 1451770"/>
                <a:gd name="connsiteX2574" fmla="*/ 3551469 w 3773795"/>
                <a:gd name="connsiteY2574" fmla="*/ 692279 h 1451770"/>
                <a:gd name="connsiteX2575" fmla="*/ 3551335 w 3773795"/>
                <a:gd name="connsiteY2575" fmla="*/ 696558 h 1451770"/>
                <a:gd name="connsiteX2576" fmla="*/ 3552692 w 3773795"/>
                <a:gd name="connsiteY2576" fmla="*/ 700099 h 1451770"/>
                <a:gd name="connsiteX2577" fmla="*/ 3554631 w 3773795"/>
                <a:gd name="connsiteY2577" fmla="*/ 701783 h 1451770"/>
                <a:gd name="connsiteX2578" fmla="*/ 3558867 w 3773795"/>
                <a:gd name="connsiteY2578" fmla="*/ 704320 h 1451770"/>
                <a:gd name="connsiteX2579" fmla="*/ 3560705 w 3773795"/>
                <a:gd name="connsiteY2579" fmla="*/ 706109 h 1451770"/>
                <a:gd name="connsiteX2580" fmla="*/ 3561182 w 3773795"/>
                <a:gd name="connsiteY2580" fmla="*/ 708411 h 1451770"/>
                <a:gd name="connsiteX2581" fmla="*/ 3561011 w 3773795"/>
                <a:gd name="connsiteY2581" fmla="*/ 710532 h 1451770"/>
                <a:gd name="connsiteX2582" fmla="*/ 3558810 w 3773795"/>
                <a:gd name="connsiteY2582" fmla="*/ 713120 h 1451770"/>
                <a:gd name="connsiteX2583" fmla="*/ 3557314 w 3773795"/>
                <a:gd name="connsiteY2583" fmla="*/ 715257 h 1451770"/>
                <a:gd name="connsiteX2584" fmla="*/ 3554752 w 3773795"/>
                <a:gd name="connsiteY2584" fmla="*/ 720390 h 1451770"/>
                <a:gd name="connsiteX2585" fmla="*/ 3553217 w 3773795"/>
                <a:gd name="connsiteY2585" fmla="*/ 722443 h 1451770"/>
                <a:gd name="connsiteX2586" fmla="*/ 3546685 w 3773795"/>
                <a:gd name="connsiteY2586" fmla="*/ 726762 h 1451770"/>
                <a:gd name="connsiteX2587" fmla="*/ 3542868 w 3773795"/>
                <a:gd name="connsiteY2587" fmla="*/ 727950 h 1451770"/>
                <a:gd name="connsiteX2588" fmla="*/ 3538975 w 3773795"/>
                <a:gd name="connsiteY2588" fmla="*/ 732015 h 1451770"/>
                <a:gd name="connsiteX2589" fmla="*/ 3534484 w 3773795"/>
                <a:gd name="connsiteY2589" fmla="*/ 735560 h 1451770"/>
                <a:gd name="connsiteX2590" fmla="*/ 3527889 w 3773795"/>
                <a:gd name="connsiteY2590" fmla="*/ 737007 h 1451770"/>
                <a:gd name="connsiteX2591" fmla="*/ 3517905 w 3773795"/>
                <a:gd name="connsiteY2591" fmla="*/ 742384 h 1451770"/>
                <a:gd name="connsiteX2592" fmla="*/ 3513948 w 3773795"/>
                <a:gd name="connsiteY2592" fmla="*/ 743387 h 1451770"/>
                <a:gd name="connsiteX2593" fmla="*/ 3508770 w 3773795"/>
                <a:gd name="connsiteY2593" fmla="*/ 740915 h 1451770"/>
                <a:gd name="connsiteX2594" fmla="*/ 3496902 w 3773795"/>
                <a:gd name="connsiteY2594" fmla="*/ 739315 h 1451770"/>
                <a:gd name="connsiteX2595" fmla="*/ 3493210 w 3773795"/>
                <a:gd name="connsiteY2595" fmla="*/ 737140 h 1451770"/>
                <a:gd name="connsiteX2596" fmla="*/ 3487800 w 3773795"/>
                <a:gd name="connsiteY2596" fmla="*/ 731642 h 1451770"/>
                <a:gd name="connsiteX2597" fmla="*/ 3485917 w 3773795"/>
                <a:gd name="connsiteY2597" fmla="*/ 730844 h 1451770"/>
                <a:gd name="connsiteX2598" fmla="*/ 3484311 w 3773795"/>
                <a:gd name="connsiteY2598" fmla="*/ 728671 h 1451770"/>
                <a:gd name="connsiteX2599" fmla="*/ 3477714 w 3773795"/>
                <a:gd name="connsiteY2599" fmla="*/ 726233 h 1451770"/>
                <a:gd name="connsiteX2600" fmla="*/ 3472052 w 3773795"/>
                <a:gd name="connsiteY2600" fmla="*/ 727827 h 1451770"/>
                <a:gd name="connsiteX2601" fmla="*/ 3467371 w 3773795"/>
                <a:gd name="connsiteY2601" fmla="*/ 726618 h 1451770"/>
                <a:gd name="connsiteX2602" fmla="*/ 3465777 w 3773795"/>
                <a:gd name="connsiteY2602" fmla="*/ 727478 h 1451770"/>
                <a:gd name="connsiteX2603" fmla="*/ 3468234 w 3773795"/>
                <a:gd name="connsiteY2603" fmla="*/ 728271 h 1451770"/>
                <a:gd name="connsiteX2604" fmla="*/ 3472510 w 3773795"/>
                <a:gd name="connsiteY2604" fmla="*/ 728920 h 1451770"/>
                <a:gd name="connsiteX2605" fmla="*/ 3479023 w 3773795"/>
                <a:gd name="connsiteY2605" fmla="*/ 728603 h 1451770"/>
                <a:gd name="connsiteX2606" fmla="*/ 3481174 w 3773795"/>
                <a:gd name="connsiteY2606" fmla="*/ 729190 h 1451770"/>
                <a:gd name="connsiteX2607" fmla="*/ 3483078 w 3773795"/>
                <a:gd name="connsiteY2607" fmla="*/ 731080 h 1451770"/>
                <a:gd name="connsiteX2608" fmla="*/ 3485276 w 3773795"/>
                <a:gd name="connsiteY2608" fmla="*/ 734140 h 1451770"/>
                <a:gd name="connsiteX2609" fmla="*/ 3483626 w 3773795"/>
                <a:gd name="connsiteY2609" fmla="*/ 736176 h 1451770"/>
                <a:gd name="connsiteX2610" fmla="*/ 3481869 w 3773795"/>
                <a:gd name="connsiteY2610" fmla="*/ 736826 h 1451770"/>
                <a:gd name="connsiteX2611" fmla="*/ 3476613 w 3773795"/>
                <a:gd name="connsiteY2611" fmla="*/ 734586 h 1451770"/>
                <a:gd name="connsiteX2612" fmla="*/ 3470545 w 3773795"/>
                <a:gd name="connsiteY2612" fmla="*/ 734917 h 1451770"/>
                <a:gd name="connsiteX2613" fmla="*/ 3467733 w 3773795"/>
                <a:gd name="connsiteY2613" fmla="*/ 734373 h 1451770"/>
                <a:gd name="connsiteX2614" fmla="*/ 3459588 w 3773795"/>
                <a:gd name="connsiteY2614" fmla="*/ 730582 h 1451770"/>
                <a:gd name="connsiteX2615" fmla="*/ 3453398 w 3773795"/>
                <a:gd name="connsiteY2615" fmla="*/ 734772 h 1451770"/>
                <a:gd name="connsiteX2616" fmla="*/ 3444891 w 3773795"/>
                <a:gd name="connsiteY2616" fmla="*/ 736932 h 1451770"/>
                <a:gd name="connsiteX2617" fmla="*/ 3438286 w 3773795"/>
                <a:gd name="connsiteY2617" fmla="*/ 737177 h 1451770"/>
                <a:gd name="connsiteX2618" fmla="*/ 3426148 w 3773795"/>
                <a:gd name="connsiteY2618" fmla="*/ 740500 h 1451770"/>
                <a:gd name="connsiteX2619" fmla="*/ 3429460 w 3773795"/>
                <a:gd name="connsiteY2619" fmla="*/ 740587 h 1451770"/>
                <a:gd name="connsiteX2620" fmla="*/ 3438271 w 3773795"/>
                <a:gd name="connsiteY2620" fmla="*/ 738258 h 1451770"/>
                <a:gd name="connsiteX2621" fmla="*/ 3443436 w 3773795"/>
                <a:gd name="connsiteY2621" fmla="*/ 738258 h 1451770"/>
                <a:gd name="connsiteX2622" fmla="*/ 3451115 w 3773795"/>
                <a:gd name="connsiteY2622" fmla="*/ 736976 h 1451770"/>
                <a:gd name="connsiteX2623" fmla="*/ 3455110 w 3773795"/>
                <a:gd name="connsiteY2623" fmla="*/ 735443 h 1451770"/>
                <a:gd name="connsiteX2624" fmla="*/ 3457040 w 3773795"/>
                <a:gd name="connsiteY2624" fmla="*/ 734014 h 1451770"/>
                <a:gd name="connsiteX2625" fmla="*/ 3459487 w 3773795"/>
                <a:gd name="connsiteY2625" fmla="*/ 732597 h 1451770"/>
                <a:gd name="connsiteX2626" fmla="*/ 3461979 w 3773795"/>
                <a:gd name="connsiteY2626" fmla="*/ 733313 h 1451770"/>
                <a:gd name="connsiteX2627" fmla="*/ 3463698 w 3773795"/>
                <a:gd name="connsiteY2627" fmla="*/ 734808 h 1451770"/>
                <a:gd name="connsiteX2628" fmla="*/ 3464889 w 3773795"/>
                <a:gd name="connsiteY2628" fmla="*/ 736927 h 1451770"/>
                <a:gd name="connsiteX2629" fmla="*/ 3465997 w 3773795"/>
                <a:gd name="connsiteY2629" fmla="*/ 739741 h 1451770"/>
                <a:gd name="connsiteX2630" fmla="*/ 3464499 w 3773795"/>
                <a:gd name="connsiteY2630" fmla="*/ 741216 h 1451770"/>
                <a:gd name="connsiteX2631" fmla="*/ 3463089 w 3773795"/>
                <a:gd name="connsiteY2631" fmla="*/ 741997 h 1451770"/>
                <a:gd name="connsiteX2632" fmla="*/ 3461352 w 3773795"/>
                <a:gd name="connsiteY2632" fmla="*/ 743999 h 1451770"/>
                <a:gd name="connsiteX2633" fmla="*/ 3469461 w 3773795"/>
                <a:gd name="connsiteY2633" fmla="*/ 740552 h 1451770"/>
                <a:gd name="connsiteX2634" fmla="*/ 3474400 w 3773795"/>
                <a:gd name="connsiteY2634" fmla="*/ 742607 h 1451770"/>
                <a:gd name="connsiteX2635" fmla="*/ 3476874 w 3773795"/>
                <a:gd name="connsiteY2635" fmla="*/ 742288 h 1451770"/>
                <a:gd name="connsiteX2636" fmla="*/ 3481450 w 3773795"/>
                <a:gd name="connsiteY2636" fmla="*/ 739237 h 1451770"/>
                <a:gd name="connsiteX2637" fmla="*/ 3488917 w 3773795"/>
                <a:gd name="connsiteY2637" fmla="*/ 737278 h 1451770"/>
                <a:gd name="connsiteX2638" fmla="*/ 3489800 w 3773795"/>
                <a:gd name="connsiteY2638" fmla="*/ 737658 h 1451770"/>
                <a:gd name="connsiteX2639" fmla="*/ 3490679 w 3773795"/>
                <a:gd name="connsiteY2639" fmla="*/ 738609 h 1451770"/>
                <a:gd name="connsiteX2640" fmla="*/ 3489411 w 3773795"/>
                <a:gd name="connsiteY2640" fmla="*/ 744463 h 1451770"/>
                <a:gd name="connsiteX2641" fmla="*/ 3489921 w 3773795"/>
                <a:gd name="connsiteY2641" fmla="*/ 749032 h 1451770"/>
                <a:gd name="connsiteX2642" fmla="*/ 3495550 w 3773795"/>
                <a:gd name="connsiteY2642" fmla="*/ 753996 h 1451770"/>
                <a:gd name="connsiteX2643" fmla="*/ 3501429 w 3773795"/>
                <a:gd name="connsiteY2643" fmla="*/ 756920 h 1451770"/>
                <a:gd name="connsiteX2644" fmla="*/ 3503450 w 3773795"/>
                <a:gd name="connsiteY2644" fmla="*/ 757015 h 1451770"/>
                <a:gd name="connsiteX2645" fmla="*/ 3505348 w 3773795"/>
                <a:gd name="connsiteY2645" fmla="*/ 756459 h 1451770"/>
                <a:gd name="connsiteX2646" fmla="*/ 3506086 w 3773795"/>
                <a:gd name="connsiteY2646" fmla="*/ 753842 h 1451770"/>
                <a:gd name="connsiteX2647" fmla="*/ 3507536 w 3773795"/>
                <a:gd name="connsiteY2647" fmla="*/ 751878 h 1451770"/>
                <a:gd name="connsiteX2648" fmla="*/ 3509381 w 3773795"/>
                <a:gd name="connsiteY2648" fmla="*/ 753653 h 1451770"/>
                <a:gd name="connsiteX2649" fmla="*/ 3510895 w 3773795"/>
                <a:gd name="connsiteY2649" fmla="*/ 755551 h 1451770"/>
                <a:gd name="connsiteX2650" fmla="*/ 3513011 w 3773795"/>
                <a:gd name="connsiteY2650" fmla="*/ 760260 h 1451770"/>
                <a:gd name="connsiteX2651" fmla="*/ 3512960 w 3773795"/>
                <a:gd name="connsiteY2651" fmla="*/ 761635 h 1451770"/>
                <a:gd name="connsiteX2652" fmla="*/ 3512441 w 3773795"/>
                <a:gd name="connsiteY2652" fmla="*/ 764377 h 1451770"/>
                <a:gd name="connsiteX2653" fmla="*/ 3514313 w 3773795"/>
                <a:gd name="connsiteY2653" fmla="*/ 765638 h 1451770"/>
                <a:gd name="connsiteX2654" fmla="*/ 3516840 w 3773795"/>
                <a:gd name="connsiteY2654" fmla="*/ 766003 h 1451770"/>
                <a:gd name="connsiteX2655" fmla="*/ 3517773 w 3773795"/>
                <a:gd name="connsiteY2655" fmla="*/ 770334 h 1451770"/>
                <a:gd name="connsiteX2656" fmla="*/ 3518635 w 3773795"/>
                <a:gd name="connsiteY2656" fmla="*/ 776492 h 1451770"/>
                <a:gd name="connsiteX2657" fmla="*/ 3517527 w 3773795"/>
                <a:gd name="connsiteY2657" fmla="*/ 777066 h 1451770"/>
                <a:gd name="connsiteX2658" fmla="*/ 3516302 w 3773795"/>
                <a:gd name="connsiteY2658" fmla="*/ 777066 h 1451770"/>
                <a:gd name="connsiteX2659" fmla="*/ 3512200 w 3773795"/>
                <a:gd name="connsiteY2659" fmla="*/ 778650 h 1451770"/>
                <a:gd name="connsiteX2660" fmla="*/ 3512767 w 3773795"/>
                <a:gd name="connsiteY2660" fmla="*/ 779753 h 1451770"/>
                <a:gd name="connsiteX2661" fmla="*/ 3516916 w 3773795"/>
                <a:gd name="connsiteY2661" fmla="*/ 780364 h 1451770"/>
                <a:gd name="connsiteX2662" fmla="*/ 3518081 w 3773795"/>
                <a:gd name="connsiteY2662" fmla="*/ 781593 h 1451770"/>
                <a:gd name="connsiteX2663" fmla="*/ 3517250 w 3773795"/>
                <a:gd name="connsiteY2663" fmla="*/ 784447 h 1451770"/>
                <a:gd name="connsiteX2664" fmla="*/ 3517468 w 3773795"/>
                <a:gd name="connsiteY2664" fmla="*/ 785762 h 1451770"/>
                <a:gd name="connsiteX2665" fmla="*/ 3518913 w 3773795"/>
                <a:gd name="connsiteY2665" fmla="*/ 786025 h 1451770"/>
                <a:gd name="connsiteX2666" fmla="*/ 3519857 w 3773795"/>
                <a:gd name="connsiteY2666" fmla="*/ 784360 h 1451770"/>
                <a:gd name="connsiteX2667" fmla="*/ 3519606 w 3773795"/>
                <a:gd name="connsiteY2667" fmla="*/ 781988 h 1451770"/>
                <a:gd name="connsiteX2668" fmla="*/ 3519995 w 3773795"/>
                <a:gd name="connsiteY2668" fmla="*/ 780935 h 1451770"/>
                <a:gd name="connsiteX2669" fmla="*/ 3522772 w 3773795"/>
                <a:gd name="connsiteY2669" fmla="*/ 785833 h 1451770"/>
                <a:gd name="connsiteX2670" fmla="*/ 3522836 w 3773795"/>
                <a:gd name="connsiteY2670" fmla="*/ 787761 h 1451770"/>
                <a:gd name="connsiteX2671" fmla="*/ 3525195 w 3773795"/>
                <a:gd name="connsiteY2671" fmla="*/ 789944 h 1451770"/>
                <a:gd name="connsiteX2672" fmla="*/ 3531921 w 3773795"/>
                <a:gd name="connsiteY2672" fmla="*/ 793157 h 1451770"/>
                <a:gd name="connsiteX2673" fmla="*/ 3533165 w 3773795"/>
                <a:gd name="connsiteY2673" fmla="*/ 794652 h 1451770"/>
                <a:gd name="connsiteX2674" fmla="*/ 3533530 w 3773795"/>
                <a:gd name="connsiteY2674" fmla="*/ 797067 h 1451770"/>
                <a:gd name="connsiteX2675" fmla="*/ 3531848 w 3773795"/>
                <a:gd name="connsiteY2675" fmla="*/ 797755 h 1451770"/>
                <a:gd name="connsiteX2676" fmla="*/ 3530312 w 3773795"/>
                <a:gd name="connsiteY2676" fmla="*/ 799477 h 1451770"/>
                <a:gd name="connsiteX2677" fmla="*/ 3531254 w 3773795"/>
                <a:gd name="connsiteY2677" fmla="*/ 801851 h 1451770"/>
                <a:gd name="connsiteX2678" fmla="*/ 3532998 w 3773795"/>
                <a:gd name="connsiteY2678" fmla="*/ 803796 h 1451770"/>
                <a:gd name="connsiteX2679" fmla="*/ 3535871 w 3773795"/>
                <a:gd name="connsiteY2679" fmla="*/ 804519 h 1451770"/>
                <a:gd name="connsiteX2680" fmla="*/ 3537188 w 3773795"/>
                <a:gd name="connsiteY2680" fmla="*/ 807608 h 1451770"/>
                <a:gd name="connsiteX2681" fmla="*/ 3537188 w 3773795"/>
                <a:gd name="connsiteY2681" fmla="*/ 810577 h 1451770"/>
                <a:gd name="connsiteX2682" fmla="*/ 3535126 w 3773795"/>
                <a:gd name="connsiteY2682" fmla="*/ 813143 h 1451770"/>
                <a:gd name="connsiteX2683" fmla="*/ 3530956 w 3773795"/>
                <a:gd name="connsiteY2683" fmla="*/ 816681 h 1451770"/>
                <a:gd name="connsiteX2684" fmla="*/ 3528485 w 3773795"/>
                <a:gd name="connsiteY2684" fmla="*/ 818097 h 1451770"/>
                <a:gd name="connsiteX2685" fmla="*/ 3527534 w 3773795"/>
                <a:gd name="connsiteY2685" fmla="*/ 820597 h 1451770"/>
                <a:gd name="connsiteX2686" fmla="*/ 3527242 w 3773795"/>
                <a:gd name="connsiteY2686" fmla="*/ 823208 h 1451770"/>
                <a:gd name="connsiteX2687" fmla="*/ 3525559 w 3773795"/>
                <a:gd name="connsiteY2687" fmla="*/ 823094 h 1451770"/>
                <a:gd name="connsiteX2688" fmla="*/ 3523774 w 3773795"/>
                <a:gd name="connsiteY2688" fmla="*/ 822010 h 1451770"/>
                <a:gd name="connsiteX2689" fmla="*/ 3502886 w 3773795"/>
                <a:gd name="connsiteY2689" fmla="*/ 815421 h 1451770"/>
                <a:gd name="connsiteX2690" fmla="*/ 3495011 w 3773795"/>
                <a:gd name="connsiteY2690" fmla="*/ 814187 h 1451770"/>
                <a:gd name="connsiteX2691" fmla="*/ 3488116 w 3773795"/>
                <a:gd name="connsiteY2691" fmla="*/ 814027 h 1451770"/>
                <a:gd name="connsiteX2692" fmla="*/ 3486818 w 3773795"/>
                <a:gd name="connsiteY2692" fmla="*/ 813628 h 1451770"/>
                <a:gd name="connsiteX2693" fmla="*/ 3486891 w 3773795"/>
                <a:gd name="connsiteY2693" fmla="*/ 812061 h 1451770"/>
                <a:gd name="connsiteX2694" fmla="*/ 3487332 w 3773795"/>
                <a:gd name="connsiteY2694" fmla="*/ 810655 h 1451770"/>
                <a:gd name="connsiteX2695" fmla="*/ 3488301 w 3773795"/>
                <a:gd name="connsiteY2695" fmla="*/ 808870 h 1451770"/>
                <a:gd name="connsiteX2696" fmla="*/ 3487844 w 3773795"/>
                <a:gd name="connsiteY2696" fmla="*/ 807336 h 1451770"/>
                <a:gd name="connsiteX2697" fmla="*/ 3486945 w 3773795"/>
                <a:gd name="connsiteY2697" fmla="*/ 807237 h 1451770"/>
                <a:gd name="connsiteX2698" fmla="*/ 3486069 w 3773795"/>
                <a:gd name="connsiteY2698" fmla="*/ 808404 h 1451770"/>
                <a:gd name="connsiteX2699" fmla="*/ 3484166 w 3773795"/>
                <a:gd name="connsiteY2699" fmla="*/ 808407 h 1451770"/>
                <a:gd name="connsiteX2700" fmla="*/ 3482366 w 3773795"/>
                <a:gd name="connsiteY2700" fmla="*/ 807053 h 1451770"/>
                <a:gd name="connsiteX2701" fmla="*/ 3480869 w 3773795"/>
                <a:gd name="connsiteY2701" fmla="*/ 807478 h 1451770"/>
                <a:gd name="connsiteX2702" fmla="*/ 3480128 w 3773795"/>
                <a:gd name="connsiteY2702" fmla="*/ 809379 h 1451770"/>
                <a:gd name="connsiteX2703" fmla="*/ 3479540 w 3773795"/>
                <a:gd name="connsiteY2703" fmla="*/ 810378 h 1451770"/>
                <a:gd name="connsiteX2704" fmla="*/ 3479569 w 3773795"/>
                <a:gd name="connsiteY2704" fmla="*/ 811573 h 1451770"/>
                <a:gd name="connsiteX2705" fmla="*/ 3480526 w 3773795"/>
                <a:gd name="connsiteY2705" fmla="*/ 812679 h 1451770"/>
                <a:gd name="connsiteX2706" fmla="*/ 3484542 w 3773795"/>
                <a:gd name="connsiteY2706" fmla="*/ 813884 h 1451770"/>
                <a:gd name="connsiteX2707" fmla="*/ 3483875 w 3773795"/>
                <a:gd name="connsiteY2707" fmla="*/ 814938 h 1451770"/>
                <a:gd name="connsiteX2708" fmla="*/ 3478302 w 3773795"/>
                <a:gd name="connsiteY2708" fmla="*/ 815796 h 1451770"/>
                <a:gd name="connsiteX2709" fmla="*/ 3473771 w 3773795"/>
                <a:gd name="connsiteY2709" fmla="*/ 816839 h 1451770"/>
                <a:gd name="connsiteX2710" fmla="*/ 3467889 w 3773795"/>
                <a:gd name="connsiteY2710" fmla="*/ 820102 h 1451770"/>
                <a:gd name="connsiteX2711" fmla="*/ 3465499 w 3773795"/>
                <a:gd name="connsiteY2711" fmla="*/ 822327 h 1451770"/>
                <a:gd name="connsiteX2712" fmla="*/ 3449698 w 3773795"/>
                <a:gd name="connsiteY2712" fmla="*/ 827867 h 1451770"/>
                <a:gd name="connsiteX2713" fmla="*/ 3445897 w 3773795"/>
                <a:gd name="connsiteY2713" fmla="*/ 829797 h 1451770"/>
                <a:gd name="connsiteX2714" fmla="*/ 3444213 w 3773795"/>
                <a:gd name="connsiteY2714" fmla="*/ 830023 h 1451770"/>
                <a:gd name="connsiteX2715" fmla="*/ 3442047 w 3773795"/>
                <a:gd name="connsiteY2715" fmla="*/ 830670 h 1451770"/>
                <a:gd name="connsiteX2716" fmla="*/ 3440378 w 3773795"/>
                <a:gd name="connsiteY2716" fmla="*/ 832992 h 1451770"/>
                <a:gd name="connsiteX2717" fmla="*/ 3431648 w 3773795"/>
                <a:gd name="connsiteY2717" fmla="*/ 836251 h 1451770"/>
                <a:gd name="connsiteX2718" fmla="*/ 3429823 w 3773795"/>
                <a:gd name="connsiteY2718" fmla="*/ 835943 h 1451770"/>
                <a:gd name="connsiteX2719" fmla="*/ 3427513 w 3773795"/>
                <a:gd name="connsiteY2719" fmla="*/ 838678 h 1451770"/>
                <a:gd name="connsiteX2720" fmla="*/ 3425386 w 3773795"/>
                <a:gd name="connsiteY2720" fmla="*/ 840175 h 1451770"/>
                <a:gd name="connsiteX2721" fmla="*/ 3420313 w 3773795"/>
                <a:gd name="connsiteY2721" fmla="*/ 840383 h 1451770"/>
                <a:gd name="connsiteX2722" fmla="*/ 3417083 w 3773795"/>
                <a:gd name="connsiteY2722" fmla="*/ 841143 h 1451770"/>
                <a:gd name="connsiteX2723" fmla="*/ 3410084 w 3773795"/>
                <a:gd name="connsiteY2723" fmla="*/ 845076 h 1451770"/>
                <a:gd name="connsiteX2724" fmla="*/ 3405686 w 3773795"/>
                <a:gd name="connsiteY2724" fmla="*/ 843831 h 1451770"/>
                <a:gd name="connsiteX2725" fmla="*/ 3400540 w 3773795"/>
                <a:gd name="connsiteY2725" fmla="*/ 849235 h 1451770"/>
                <a:gd name="connsiteX2726" fmla="*/ 3394815 w 3773795"/>
                <a:gd name="connsiteY2726" fmla="*/ 854313 h 1451770"/>
                <a:gd name="connsiteX2727" fmla="*/ 3393107 w 3773795"/>
                <a:gd name="connsiteY2727" fmla="*/ 854328 h 1451770"/>
                <a:gd name="connsiteX2728" fmla="*/ 3388728 w 3773795"/>
                <a:gd name="connsiteY2728" fmla="*/ 852198 h 1451770"/>
                <a:gd name="connsiteX2729" fmla="*/ 3387629 w 3773795"/>
                <a:gd name="connsiteY2729" fmla="*/ 853316 h 1451770"/>
                <a:gd name="connsiteX2730" fmla="*/ 3388316 w 3773795"/>
                <a:gd name="connsiteY2730" fmla="*/ 855362 h 1451770"/>
                <a:gd name="connsiteX2731" fmla="*/ 3389866 w 3773795"/>
                <a:gd name="connsiteY2731" fmla="*/ 857521 h 1451770"/>
                <a:gd name="connsiteX2732" fmla="*/ 3388976 w 3773795"/>
                <a:gd name="connsiteY2732" fmla="*/ 858147 h 1451770"/>
                <a:gd name="connsiteX2733" fmla="*/ 3387236 w 3773795"/>
                <a:gd name="connsiteY2733" fmla="*/ 857552 h 1451770"/>
                <a:gd name="connsiteX2734" fmla="*/ 3385945 w 3773795"/>
                <a:gd name="connsiteY2734" fmla="*/ 857427 h 1451770"/>
                <a:gd name="connsiteX2735" fmla="*/ 3385046 w 3773795"/>
                <a:gd name="connsiteY2735" fmla="*/ 858076 h 1451770"/>
                <a:gd name="connsiteX2736" fmla="*/ 3385200 w 3773795"/>
                <a:gd name="connsiteY2736" fmla="*/ 859622 h 1451770"/>
                <a:gd name="connsiteX2737" fmla="*/ 3382718 w 3773795"/>
                <a:gd name="connsiteY2737" fmla="*/ 861606 h 1451770"/>
                <a:gd name="connsiteX2738" fmla="*/ 3380779 w 3773795"/>
                <a:gd name="connsiteY2738" fmla="*/ 861758 h 1451770"/>
                <a:gd name="connsiteX2739" fmla="*/ 3378547 w 3773795"/>
                <a:gd name="connsiteY2739" fmla="*/ 862382 h 1451770"/>
                <a:gd name="connsiteX2740" fmla="*/ 3377802 w 3773795"/>
                <a:gd name="connsiteY2740" fmla="*/ 864090 h 1451770"/>
                <a:gd name="connsiteX2741" fmla="*/ 3378473 w 3773795"/>
                <a:gd name="connsiteY2741" fmla="*/ 865934 h 1451770"/>
                <a:gd name="connsiteX2742" fmla="*/ 3374504 w 3773795"/>
                <a:gd name="connsiteY2742" fmla="*/ 868080 h 1451770"/>
                <a:gd name="connsiteX2743" fmla="*/ 3371276 w 3773795"/>
                <a:gd name="connsiteY2743" fmla="*/ 870837 h 1451770"/>
                <a:gd name="connsiteX2744" fmla="*/ 3369736 w 3773795"/>
                <a:gd name="connsiteY2744" fmla="*/ 871339 h 1451770"/>
                <a:gd name="connsiteX2745" fmla="*/ 3367974 w 3773795"/>
                <a:gd name="connsiteY2745" fmla="*/ 872565 h 1451770"/>
                <a:gd name="connsiteX2746" fmla="*/ 3366041 w 3773795"/>
                <a:gd name="connsiteY2746" fmla="*/ 873461 h 1451770"/>
                <a:gd name="connsiteX2747" fmla="*/ 3363806 w 3773795"/>
                <a:gd name="connsiteY2747" fmla="*/ 873268 h 1451770"/>
                <a:gd name="connsiteX2748" fmla="*/ 3358505 w 3773795"/>
                <a:gd name="connsiteY2748" fmla="*/ 877195 h 1451770"/>
                <a:gd name="connsiteX2749" fmla="*/ 3346555 w 3773795"/>
                <a:gd name="connsiteY2749" fmla="*/ 883962 h 1451770"/>
                <a:gd name="connsiteX2750" fmla="*/ 3343239 w 3773795"/>
                <a:gd name="connsiteY2750" fmla="*/ 884844 h 1451770"/>
                <a:gd name="connsiteX2751" fmla="*/ 3339013 w 3773795"/>
                <a:gd name="connsiteY2751" fmla="*/ 886893 h 1451770"/>
                <a:gd name="connsiteX2752" fmla="*/ 3338605 w 3773795"/>
                <a:gd name="connsiteY2752" fmla="*/ 888264 h 1451770"/>
                <a:gd name="connsiteX2753" fmla="*/ 3338578 w 3773795"/>
                <a:gd name="connsiteY2753" fmla="*/ 889953 h 1451770"/>
                <a:gd name="connsiteX2754" fmla="*/ 3336892 w 3773795"/>
                <a:gd name="connsiteY2754" fmla="*/ 892721 h 1451770"/>
                <a:gd name="connsiteX2755" fmla="*/ 3334927 w 3773795"/>
                <a:gd name="connsiteY2755" fmla="*/ 899734 h 1451770"/>
                <a:gd name="connsiteX2756" fmla="*/ 3334331 w 3773795"/>
                <a:gd name="connsiteY2756" fmla="*/ 900991 h 1451770"/>
                <a:gd name="connsiteX2757" fmla="*/ 3333324 w 3773795"/>
                <a:gd name="connsiteY2757" fmla="*/ 902453 h 1451770"/>
                <a:gd name="connsiteX2758" fmla="*/ 3328971 w 3773795"/>
                <a:gd name="connsiteY2758" fmla="*/ 901774 h 1451770"/>
                <a:gd name="connsiteX2759" fmla="*/ 3325179 w 3773795"/>
                <a:gd name="connsiteY2759" fmla="*/ 899096 h 1451770"/>
                <a:gd name="connsiteX2760" fmla="*/ 3323955 w 3773795"/>
                <a:gd name="connsiteY2760" fmla="*/ 897866 h 1451770"/>
                <a:gd name="connsiteX2761" fmla="*/ 3323299 w 3773795"/>
                <a:gd name="connsiteY2761" fmla="*/ 896423 h 1451770"/>
                <a:gd name="connsiteX2762" fmla="*/ 3323065 w 3773795"/>
                <a:gd name="connsiteY2762" fmla="*/ 894101 h 1451770"/>
                <a:gd name="connsiteX2763" fmla="*/ 3322342 w 3773795"/>
                <a:gd name="connsiteY2763" fmla="*/ 893028 h 1451770"/>
                <a:gd name="connsiteX2764" fmla="*/ 3321467 w 3773795"/>
                <a:gd name="connsiteY2764" fmla="*/ 892526 h 1451770"/>
                <a:gd name="connsiteX2765" fmla="*/ 3317125 w 3773795"/>
                <a:gd name="connsiteY2765" fmla="*/ 886789 h 1451770"/>
                <a:gd name="connsiteX2766" fmla="*/ 3309548 w 3773795"/>
                <a:gd name="connsiteY2766" fmla="*/ 882839 h 1451770"/>
                <a:gd name="connsiteX2767" fmla="*/ 3308466 w 3773795"/>
                <a:gd name="connsiteY2767" fmla="*/ 881529 h 1451770"/>
                <a:gd name="connsiteX2768" fmla="*/ 3298770 w 3773795"/>
                <a:gd name="connsiteY2768" fmla="*/ 882600 h 1451770"/>
                <a:gd name="connsiteX2769" fmla="*/ 3296162 w 3773795"/>
                <a:gd name="connsiteY2769" fmla="*/ 882631 h 1451770"/>
                <a:gd name="connsiteX2770" fmla="*/ 3291574 w 3773795"/>
                <a:gd name="connsiteY2770" fmla="*/ 881652 h 1451770"/>
                <a:gd name="connsiteX2771" fmla="*/ 3284380 w 3773795"/>
                <a:gd name="connsiteY2771" fmla="*/ 882263 h 1451770"/>
                <a:gd name="connsiteX2772" fmla="*/ 3275723 w 3773795"/>
                <a:gd name="connsiteY2772" fmla="*/ 884416 h 1451770"/>
                <a:gd name="connsiteX2773" fmla="*/ 3273071 w 3773795"/>
                <a:gd name="connsiteY2773" fmla="*/ 885761 h 1451770"/>
                <a:gd name="connsiteX2774" fmla="*/ 3264242 w 3773795"/>
                <a:gd name="connsiteY2774" fmla="*/ 887845 h 1451770"/>
                <a:gd name="connsiteX2775" fmla="*/ 3258433 w 3773795"/>
                <a:gd name="connsiteY2775" fmla="*/ 891144 h 1451770"/>
                <a:gd name="connsiteX2776" fmla="*/ 3247122 w 3773795"/>
                <a:gd name="connsiteY2776" fmla="*/ 903064 h 1451770"/>
                <a:gd name="connsiteX2777" fmla="*/ 3244452 w 3773795"/>
                <a:gd name="connsiteY2777" fmla="*/ 905526 h 1451770"/>
                <a:gd name="connsiteX2778" fmla="*/ 3243153 w 3773795"/>
                <a:gd name="connsiteY2778" fmla="*/ 906059 h 1451770"/>
                <a:gd name="connsiteX2779" fmla="*/ 3241239 w 3773795"/>
                <a:gd name="connsiteY2779" fmla="*/ 906283 h 1451770"/>
                <a:gd name="connsiteX2780" fmla="*/ 3240408 w 3773795"/>
                <a:gd name="connsiteY2780" fmla="*/ 903888 h 1451770"/>
                <a:gd name="connsiteX2781" fmla="*/ 3240123 w 3773795"/>
                <a:gd name="connsiteY2781" fmla="*/ 901997 h 1451770"/>
                <a:gd name="connsiteX2782" fmla="*/ 3240839 w 3773795"/>
                <a:gd name="connsiteY2782" fmla="*/ 898377 h 1451770"/>
                <a:gd name="connsiteX2783" fmla="*/ 3242197 w 3773795"/>
                <a:gd name="connsiteY2783" fmla="*/ 895413 h 1451770"/>
                <a:gd name="connsiteX2784" fmla="*/ 3243583 w 3773795"/>
                <a:gd name="connsiteY2784" fmla="*/ 889846 h 1451770"/>
                <a:gd name="connsiteX2785" fmla="*/ 3243928 w 3773795"/>
                <a:gd name="connsiteY2785" fmla="*/ 887580 h 1451770"/>
                <a:gd name="connsiteX2786" fmla="*/ 3244902 w 3773795"/>
                <a:gd name="connsiteY2786" fmla="*/ 885232 h 1451770"/>
                <a:gd name="connsiteX2787" fmla="*/ 3241099 w 3773795"/>
                <a:gd name="connsiteY2787" fmla="*/ 885380 h 1451770"/>
                <a:gd name="connsiteX2788" fmla="*/ 3235833 w 3773795"/>
                <a:gd name="connsiteY2788" fmla="*/ 889488 h 1451770"/>
                <a:gd name="connsiteX2789" fmla="*/ 3227894 w 3773795"/>
                <a:gd name="connsiteY2789" fmla="*/ 893485 h 1451770"/>
                <a:gd name="connsiteX2790" fmla="*/ 3224198 w 3773795"/>
                <a:gd name="connsiteY2790" fmla="*/ 894523 h 1451770"/>
                <a:gd name="connsiteX2791" fmla="*/ 3221310 w 3773795"/>
                <a:gd name="connsiteY2791" fmla="*/ 896851 h 1451770"/>
                <a:gd name="connsiteX2792" fmla="*/ 3219262 w 3773795"/>
                <a:gd name="connsiteY2792" fmla="*/ 897187 h 1451770"/>
                <a:gd name="connsiteX2793" fmla="*/ 3216873 w 3773795"/>
                <a:gd name="connsiteY2793" fmla="*/ 898054 h 1451770"/>
                <a:gd name="connsiteX2794" fmla="*/ 3216632 w 3773795"/>
                <a:gd name="connsiteY2794" fmla="*/ 903111 h 1451770"/>
                <a:gd name="connsiteX2795" fmla="*/ 3215422 w 3773795"/>
                <a:gd name="connsiteY2795" fmla="*/ 905911 h 1451770"/>
                <a:gd name="connsiteX2796" fmla="*/ 3213979 w 3773795"/>
                <a:gd name="connsiteY2796" fmla="*/ 906476 h 1451770"/>
                <a:gd name="connsiteX2797" fmla="*/ 3211782 w 3773795"/>
                <a:gd name="connsiteY2797" fmla="*/ 906563 h 1451770"/>
                <a:gd name="connsiteX2798" fmla="*/ 3210125 w 3773795"/>
                <a:gd name="connsiteY2798" fmla="*/ 905467 h 1451770"/>
                <a:gd name="connsiteX2799" fmla="*/ 3207700 w 3773795"/>
                <a:gd name="connsiteY2799" fmla="*/ 901398 h 1451770"/>
                <a:gd name="connsiteX2800" fmla="*/ 3204507 w 3773795"/>
                <a:gd name="connsiteY2800" fmla="*/ 899288 h 1451770"/>
                <a:gd name="connsiteX2801" fmla="*/ 3202621 w 3773795"/>
                <a:gd name="connsiteY2801" fmla="*/ 898910 h 1451770"/>
                <a:gd name="connsiteX2802" fmla="*/ 3201224 w 3773795"/>
                <a:gd name="connsiteY2802" fmla="*/ 899395 h 1451770"/>
                <a:gd name="connsiteX2803" fmla="*/ 3198454 w 3773795"/>
                <a:gd name="connsiteY2803" fmla="*/ 902181 h 1451770"/>
                <a:gd name="connsiteX2804" fmla="*/ 3195396 w 3773795"/>
                <a:gd name="connsiteY2804" fmla="*/ 904697 h 1451770"/>
                <a:gd name="connsiteX2805" fmla="*/ 3195878 w 3773795"/>
                <a:gd name="connsiteY2805" fmla="*/ 901830 h 1451770"/>
                <a:gd name="connsiteX2806" fmla="*/ 3193280 w 3773795"/>
                <a:gd name="connsiteY2806" fmla="*/ 900741 h 1451770"/>
                <a:gd name="connsiteX2807" fmla="*/ 3190965 w 3773795"/>
                <a:gd name="connsiteY2807" fmla="*/ 900089 h 1451770"/>
                <a:gd name="connsiteX2808" fmla="*/ 3188028 w 3773795"/>
                <a:gd name="connsiteY2808" fmla="*/ 899955 h 1451770"/>
                <a:gd name="connsiteX2809" fmla="*/ 3187227 w 3773795"/>
                <a:gd name="connsiteY2809" fmla="*/ 900388 h 1451770"/>
                <a:gd name="connsiteX2810" fmla="*/ 3186037 w 3773795"/>
                <a:gd name="connsiteY2810" fmla="*/ 902027 h 1451770"/>
                <a:gd name="connsiteX2811" fmla="*/ 3183479 w 3773795"/>
                <a:gd name="connsiteY2811" fmla="*/ 904152 h 1451770"/>
                <a:gd name="connsiteX2812" fmla="*/ 3181697 w 3773795"/>
                <a:gd name="connsiteY2812" fmla="*/ 905053 h 1451770"/>
                <a:gd name="connsiteX2813" fmla="*/ 3179844 w 3773795"/>
                <a:gd name="connsiteY2813" fmla="*/ 906761 h 1451770"/>
                <a:gd name="connsiteX2814" fmla="*/ 3178846 w 3773795"/>
                <a:gd name="connsiteY2814" fmla="*/ 908524 h 1451770"/>
                <a:gd name="connsiteX2815" fmla="*/ 3177881 w 3773795"/>
                <a:gd name="connsiteY2815" fmla="*/ 911027 h 1451770"/>
                <a:gd name="connsiteX2816" fmla="*/ 3176728 w 3773795"/>
                <a:gd name="connsiteY2816" fmla="*/ 917117 h 1451770"/>
                <a:gd name="connsiteX2817" fmla="*/ 3176812 w 3773795"/>
                <a:gd name="connsiteY2817" fmla="*/ 924237 h 1451770"/>
                <a:gd name="connsiteX2818" fmla="*/ 3172655 w 3773795"/>
                <a:gd name="connsiteY2818" fmla="*/ 929827 h 1451770"/>
                <a:gd name="connsiteX2819" fmla="*/ 3171004 w 3773795"/>
                <a:gd name="connsiteY2819" fmla="*/ 929276 h 1451770"/>
                <a:gd name="connsiteX2820" fmla="*/ 3170224 w 3773795"/>
                <a:gd name="connsiteY2820" fmla="*/ 929642 h 1451770"/>
                <a:gd name="connsiteX2821" fmla="*/ 3169453 w 3773795"/>
                <a:gd name="connsiteY2821" fmla="*/ 930384 h 1451770"/>
                <a:gd name="connsiteX2822" fmla="*/ 3170874 w 3773795"/>
                <a:gd name="connsiteY2822" fmla="*/ 933451 h 1451770"/>
                <a:gd name="connsiteX2823" fmla="*/ 3170112 w 3773795"/>
                <a:gd name="connsiteY2823" fmla="*/ 934548 h 1451770"/>
                <a:gd name="connsiteX2824" fmla="*/ 3169332 w 3773795"/>
                <a:gd name="connsiteY2824" fmla="*/ 935280 h 1451770"/>
                <a:gd name="connsiteX2825" fmla="*/ 3167401 w 3773795"/>
                <a:gd name="connsiteY2825" fmla="*/ 936083 h 1451770"/>
                <a:gd name="connsiteX2826" fmla="*/ 3162893 w 3773795"/>
                <a:gd name="connsiteY2826" fmla="*/ 940610 h 1451770"/>
                <a:gd name="connsiteX2827" fmla="*/ 3158685 w 3773795"/>
                <a:gd name="connsiteY2827" fmla="*/ 943571 h 1451770"/>
                <a:gd name="connsiteX2828" fmla="*/ 3151798 w 3773795"/>
                <a:gd name="connsiteY2828" fmla="*/ 952017 h 1451770"/>
                <a:gd name="connsiteX2829" fmla="*/ 3149756 w 3773795"/>
                <a:gd name="connsiteY2829" fmla="*/ 957644 h 1451770"/>
                <a:gd name="connsiteX2830" fmla="*/ 3147784 w 3773795"/>
                <a:gd name="connsiteY2830" fmla="*/ 963943 h 1451770"/>
                <a:gd name="connsiteX2831" fmla="*/ 3148710 w 3773795"/>
                <a:gd name="connsiteY2831" fmla="*/ 967021 h 1451770"/>
                <a:gd name="connsiteX2832" fmla="*/ 3149543 w 3773795"/>
                <a:gd name="connsiteY2832" fmla="*/ 969030 h 1451770"/>
                <a:gd name="connsiteX2833" fmla="*/ 3150833 w 3773795"/>
                <a:gd name="connsiteY2833" fmla="*/ 970426 h 1451770"/>
                <a:gd name="connsiteX2834" fmla="*/ 3153033 w 3773795"/>
                <a:gd name="connsiteY2834" fmla="*/ 971882 h 1451770"/>
                <a:gd name="connsiteX2835" fmla="*/ 3157765 w 3773795"/>
                <a:gd name="connsiteY2835" fmla="*/ 973505 h 1451770"/>
                <a:gd name="connsiteX2836" fmla="*/ 3157339 w 3773795"/>
                <a:gd name="connsiteY2836" fmla="*/ 974571 h 1451770"/>
                <a:gd name="connsiteX2837" fmla="*/ 3157322 w 3773795"/>
                <a:gd name="connsiteY2837" fmla="*/ 975458 h 1451770"/>
                <a:gd name="connsiteX2838" fmla="*/ 3158993 w 3773795"/>
                <a:gd name="connsiteY2838" fmla="*/ 973894 h 1451770"/>
                <a:gd name="connsiteX2839" fmla="*/ 3160209 w 3773795"/>
                <a:gd name="connsiteY2839" fmla="*/ 969483 h 1451770"/>
                <a:gd name="connsiteX2840" fmla="*/ 3163135 w 3773795"/>
                <a:gd name="connsiteY2840" fmla="*/ 968069 h 1451770"/>
                <a:gd name="connsiteX2841" fmla="*/ 3164551 w 3773795"/>
                <a:gd name="connsiteY2841" fmla="*/ 968138 h 1451770"/>
                <a:gd name="connsiteX2842" fmla="*/ 3173986 w 3773795"/>
                <a:gd name="connsiteY2842" fmla="*/ 971621 h 1451770"/>
                <a:gd name="connsiteX2843" fmla="*/ 3175771 w 3773795"/>
                <a:gd name="connsiteY2843" fmla="*/ 973121 h 1451770"/>
                <a:gd name="connsiteX2844" fmla="*/ 3175509 w 3773795"/>
                <a:gd name="connsiteY2844" fmla="*/ 976429 h 1451770"/>
                <a:gd name="connsiteX2845" fmla="*/ 3174933 w 3773795"/>
                <a:gd name="connsiteY2845" fmla="*/ 978006 h 1451770"/>
                <a:gd name="connsiteX2846" fmla="*/ 3173185 w 3773795"/>
                <a:gd name="connsiteY2846" fmla="*/ 980319 h 1451770"/>
                <a:gd name="connsiteX2847" fmla="*/ 3169829 w 3773795"/>
                <a:gd name="connsiteY2847" fmla="*/ 983100 h 1451770"/>
                <a:gd name="connsiteX2848" fmla="*/ 3165899 w 3773795"/>
                <a:gd name="connsiteY2848" fmla="*/ 986912 h 1451770"/>
                <a:gd name="connsiteX2849" fmla="*/ 3165523 w 3773795"/>
                <a:gd name="connsiteY2849" fmla="*/ 989246 h 1451770"/>
                <a:gd name="connsiteX2850" fmla="*/ 3165506 w 3773795"/>
                <a:gd name="connsiteY2850" fmla="*/ 990520 h 1451770"/>
                <a:gd name="connsiteX2851" fmla="*/ 3166535 w 3773795"/>
                <a:gd name="connsiteY2851" fmla="*/ 994992 h 1451770"/>
                <a:gd name="connsiteX2852" fmla="*/ 3166685 w 3773795"/>
                <a:gd name="connsiteY2852" fmla="*/ 997503 h 1451770"/>
                <a:gd name="connsiteX2853" fmla="*/ 3166160 w 3773795"/>
                <a:gd name="connsiteY2853" fmla="*/ 1002177 h 1451770"/>
                <a:gd name="connsiteX2854" fmla="*/ 3166415 w 3773795"/>
                <a:gd name="connsiteY2854" fmla="*/ 1004193 h 1451770"/>
                <a:gd name="connsiteX2855" fmla="*/ 3167460 w 3773795"/>
                <a:gd name="connsiteY2855" fmla="*/ 1005914 h 1451770"/>
                <a:gd name="connsiteX2856" fmla="*/ 3169056 w 3773795"/>
                <a:gd name="connsiteY2856" fmla="*/ 1006991 h 1451770"/>
                <a:gd name="connsiteX2857" fmla="*/ 3171805 w 3773795"/>
                <a:gd name="connsiteY2857" fmla="*/ 1006403 h 1451770"/>
                <a:gd name="connsiteX2858" fmla="*/ 3174437 w 3773795"/>
                <a:gd name="connsiteY2858" fmla="*/ 1006902 h 1451770"/>
                <a:gd name="connsiteX2859" fmla="*/ 3176452 w 3773795"/>
                <a:gd name="connsiteY2859" fmla="*/ 1008080 h 1451770"/>
                <a:gd name="connsiteX2860" fmla="*/ 3176158 w 3773795"/>
                <a:gd name="connsiteY2860" fmla="*/ 1011962 h 1451770"/>
                <a:gd name="connsiteX2861" fmla="*/ 3177281 w 3773795"/>
                <a:gd name="connsiteY2861" fmla="*/ 1015629 h 1451770"/>
                <a:gd name="connsiteX2862" fmla="*/ 3178198 w 3773795"/>
                <a:gd name="connsiteY2862" fmla="*/ 1022367 h 1451770"/>
                <a:gd name="connsiteX2863" fmla="*/ 3176557 w 3773795"/>
                <a:gd name="connsiteY2863" fmla="*/ 1024204 h 1451770"/>
                <a:gd name="connsiteX2864" fmla="*/ 3174964 w 3773795"/>
                <a:gd name="connsiteY2864" fmla="*/ 1025351 h 1451770"/>
                <a:gd name="connsiteX2865" fmla="*/ 3171827 w 3773795"/>
                <a:gd name="connsiteY2865" fmla="*/ 1028232 h 1451770"/>
                <a:gd name="connsiteX2866" fmla="*/ 3170153 w 3773795"/>
                <a:gd name="connsiteY2866" fmla="*/ 1028571 h 1451770"/>
                <a:gd name="connsiteX2867" fmla="*/ 3167249 w 3773795"/>
                <a:gd name="connsiteY2867" fmla="*/ 1027579 h 1451770"/>
                <a:gd name="connsiteX2868" fmla="*/ 3162556 w 3773795"/>
                <a:gd name="connsiteY2868" fmla="*/ 1022374 h 1451770"/>
                <a:gd name="connsiteX2869" fmla="*/ 3164437 w 3773795"/>
                <a:gd name="connsiteY2869" fmla="*/ 1019290 h 1451770"/>
                <a:gd name="connsiteX2870" fmla="*/ 3168419 w 3773795"/>
                <a:gd name="connsiteY2870" fmla="*/ 1017141 h 1451770"/>
                <a:gd name="connsiteX2871" fmla="*/ 3170231 w 3773795"/>
                <a:gd name="connsiteY2871" fmla="*/ 1015588 h 1451770"/>
                <a:gd name="connsiteX2872" fmla="*/ 3171627 w 3773795"/>
                <a:gd name="connsiteY2872" fmla="*/ 1013302 h 1451770"/>
                <a:gd name="connsiteX2873" fmla="*/ 3169544 w 3773795"/>
                <a:gd name="connsiteY2873" fmla="*/ 1013736 h 1451770"/>
                <a:gd name="connsiteX2874" fmla="*/ 3168073 w 3773795"/>
                <a:gd name="connsiteY2874" fmla="*/ 1014730 h 1451770"/>
                <a:gd name="connsiteX2875" fmla="*/ 3163515 w 3773795"/>
                <a:gd name="connsiteY2875" fmla="*/ 1014300 h 1451770"/>
                <a:gd name="connsiteX2876" fmla="*/ 3161692 w 3773795"/>
                <a:gd name="connsiteY2876" fmla="*/ 1015403 h 1451770"/>
                <a:gd name="connsiteX2877" fmla="*/ 3159473 w 3773795"/>
                <a:gd name="connsiteY2877" fmla="*/ 1017152 h 1451770"/>
                <a:gd name="connsiteX2878" fmla="*/ 3160347 w 3773795"/>
                <a:gd name="connsiteY2878" fmla="*/ 1021486 h 1451770"/>
                <a:gd name="connsiteX2879" fmla="*/ 3158864 w 3773795"/>
                <a:gd name="connsiteY2879" fmla="*/ 1022274 h 1451770"/>
                <a:gd name="connsiteX2880" fmla="*/ 3156054 w 3773795"/>
                <a:gd name="connsiteY2880" fmla="*/ 1023766 h 1451770"/>
                <a:gd name="connsiteX2881" fmla="*/ 3151897 w 3773795"/>
                <a:gd name="connsiteY2881" fmla="*/ 1025624 h 1451770"/>
                <a:gd name="connsiteX2882" fmla="*/ 3150546 w 3773795"/>
                <a:gd name="connsiteY2882" fmla="*/ 1026829 h 1451770"/>
                <a:gd name="connsiteX2883" fmla="*/ 3146987 w 3773795"/>
                <a:gd name="connsiteY2883" fmla="*/ 1034593 h 1451770"/>
                <a:gd name="connsiteX2884" fmla="*/ 3143704 w 3773795"/>
                <a:gd name="connsiteY2884" fmla="*/ 1040355 h 1451770"/>
                <a:gd name="connsiteX2885" fmla="*/ 3142562 w 3773795"/>
                <a:gd name="connsiteY2885" fmla="*/ 1045272 h 1451770"/>
                <a:gd name="connsiteX2886" fmla="*/ 3142683 w 3773795"/>
                <a:gd name="connsiteY2886" fmla="*/ 1049542 h 1451770"/>
                <a:gd name="connsiteX2887" fmla="*/ 3143912 w 3773795"/>
                <a:gd name="connsiteY2887" fmla="*/ 1054254 h 1451770"/>
                <a:gd name="connsiteX2888" fmla="*/ 3144780 w 3773795"/>
                <a:gd name="connsiteY2888" fmla="*/ 1056300 h 1451770"/>
                <a:gd name="connsiteX2889" fmla="*/ 3148581 w 3773795"/>
                <a:gd name="connsiteY2889" fmla="*/ 1060636 h 1451770"/>
                <a:gd name="connsiteX2890" fmla="*/ 3150442 w 3773795"/>
                <a:gd name="connsiteY2890" fmla="*/ 1064072 h 1451770"/>
                <a:gd name="connsiteX2891" fmla="*/ 3151002 w 3773795"/>
                <a:gd name="connsiteY2891" fmla="*/ 1068180 h 1451770"/>
                <a:gd name="connsiteX2892" fmla="*/ 3147935 w 3773795"/>
                <a:gd name="connsiteY2892" fmla="*/ 1070124 h 1451770"/>
                <a:gd name="connsiteX2893" fmla="*/ 3142601 w 3773795"/>
                <a:gd name="connsiteY2893" fmla="*/ 1074886 h 1451770"/>
                <a:gd name="connsiteX2894" fmla="*/ 3140370 w 3773795"/>
                <a:gd name="connsiteY2894" fmla="*/ 1075396 h 1451770"/>
                <a:gd name="connsiteX2895" fmla="*/ 3133057 w 3773795"/>
                <a:gd name="connsiteY2895" fmla="*/ 1075265 h 1451770"/>
                <a:gd name="connsiteX2896" fmla="*/ 3129427 w 3773795"/>
                <a:gd name="connsiteY2896" fmla="*/ 1072891 h 1451770"/>
                <a:gd name="connsiteX2897" fmla="*/ 3125129 w 3773795"/>
                <a:gd name="connsiteY2897" fmla="*/ 1073498 h 1451770"/>
                <a:gd name="connsiteX2898" fmla="*/ 3121527 w 3773795"/>
                <a:gd name="connsiteY2898" fmla="*/ 1074629 h 1451770"/>
                <a:gd name="connsiteX2899" fmla="*/ 3115879 w 3773795"/>
                <a:gd name="connsiteY2899" fmla="*/ 1078003 h 1451770"/>
                <a:gd name="connsiteX2900" fmla="*/ 3110830 w 3773795"/>
                <a:gd name="connsiteY2900" fmla="*/ 1082350 h 1451770"/>
                <a:gd name="connsiteX2901" fmla="*/ 3106088 w 3773795"/>
                <a:gd name="connsiteY2901" fmla="*/ 1085364 h 1451770"/>
                <a:gd name="connsiteX2902" fmla="*/ 3104667 w 3773795"/>
                <a:gd name="connsiteY2902" fmla="*/ 1087136 h 1451770"/>
                <a:gd name="connsiteX2903" fmla="*/ 3102713 w 3773795"/>
                <a:gd name="connsiteY2903" fmla="*/ 1090854 h 1451770"/>
                <a:gd name="connsiteX2904" fmla="*/ 3100988 w 3773795"/>
                <a:gd name="connsiteY2904" fmla="*/ 1097663 h 1451770"/>
                <a:gd name="connsiteX2905" fmla="*/ 3101587 w 3773795"/>
                <a:gd name="connsiteY2905" fmla="*/ 1101017 h 1451770"/>
                <a:gd name="connsiteX2906" fmla="*/ 3102547 w 3773795"/>
                <a:gd name="connsiteY2906" fmla="*/ 1102582 h 1451770"/>
                <a:gd name="connsiteX2907" fmla="*/ 3103466 w 3773795"/>
                <a:gd name="connsiteY2907" fmla="*/ 1104653 h 1451770"/>
                <a:gd name="connsiteX2908" fmla="*/ 3102212 w 3773795"/>
                <a:gd name="connsiteY2908" fmla="*/ 1107802 h 1451770"/>
                <a:gd name="connsiteX2909" fmla="*/ 3102180 w 3773795"/>
                <a:gd name="connsiteY2909" fmla="*/ 1109817 h 1451770"/>
                <a:gd name="connsiteX2910" fmla="*/ 3104490 w 3773795"/>
                <a:gd name="connsiteY2910" fmla="*/ 1113000 h 1451770"/>
                <a:gd name="connsiteX2911" fmla="*/ 3104998 w 3773795"/>
                <a:gd name="connsiteY2911" fmla="*/ 1117363 h 1451770"/>
                <a:gd name="connsiteX2912" fmla="*/ 3103281 w 3773795"/>
                <a:gd name="connsiteY2912" fmla="*/ 1117498 h 1451770"/>
                <a:gd name="connsiteX2913" fmla="*/ 3099391 w 3773795"/>
                <a:gd name="connsiteY2913" fmla="*/ 1114359 h 1451770"/>
                <a:gd name="connsiteX2914" fmla="*/ 3095287 w 3773795"/>
                <a:gd name="connsiteY2914" fmla="*/ 1114118 h 1451770"/>
                <a:gd name="connsiteX2915" fmla="*/ 3085341 w 3773795"/>
                <a:gd name="connsiteY2915" fmla="*/ 1117736 h 1451770"/>
                <a:gd name="connsiteX2916" fmla="*/ 3081270 w 3773795"/>
                <a:gd name="connsiteY2916" fmla="*/ 1119822 h 1451770"/>
                <a:gd name="connsiteX2917" fmla="*/ 3076701 w 3773795"/>
                <a:gd name="connsiteY2917" fmla="*/ 1123972 h 1451770"/>
                <a:gd name="connsiteX2918" fmla="*/ 3075336 w 3773795"/>
                <a:gd name="connsiteY2918" fmla="*/ 1123180 h 1451770"/>
                <a:gd name="connsiteX2919" fmla="*/ 3074360 w 3773795"/>
                <a:gd name="connsiteY2919" fmla="*/ 1120803 h 1451770"/>
                <a:gd name="connsiteX2920" fmla="*/ 3072704 w 3773795"/>
                <a:gd name="connsiteY2920" fmla="*/ 1119749 h 1451770"/>
                <a:gd name="connsiteX2921" fmla="*/ 3070658 w 3773795"/>
                <a:gd name="connsiteY2921" fmla="*/ 1120277 h 1451770"/>
                <a:gd name="connsiteX2922" fmla="*/ 3069779 w 3773795"/>
                <a:gd name="connsiteY2922" fmla="*/ 1122521 h 1451770"/>
                <a:gd name="connsiteX2923" fmla="*/ 3072605 w 3773795"/>
                <a:gd name="connsiteY2923" fmla="*/ 1123576 h 1451770"/>
                <a:gd name="connsiteX2924" fmla="*/ 3073680 w 3773795"/>
                <a:gd name="connsiteY2924" fmla="*/ 1125027 h 1451770"/>
                <a:gd name="connsiteX2925" fmla="*/ 3072020 w 3773795"/>
                <a:gd name="connsiteY2925" fmla="*/ 1130558 h 1451770"/>
                <a:gd name="connsiteX2926" fmla="*/ 3070849 w 3773795"/>
                <a:gd name="connsiteY2926" fmla="*/ 1132399 h 1451770"/>
                <a:gd name="connsiteX2927" fmla="*/ 3071283 w 3773795"/>
                <a:gd name="connsiteY2927" fmla="*/ 1137352 h 1451770"/>
                <a:gd name="connsiteX2928" fmla="*/ 3071123 w 3773795"/>
                <a:gd name="connsiteY2928" fmla="*/ 1139645 h 1451770"/>
                <a:gd name="connsiteX2929" fmla="*/ 3070467 w 3773795"/>
                <a:gd name="connsiteY2929" fmla="*/ 1141967 h 1451770"/>
                <a:gd name="connsiteX2930" fmla="*/ 3067552 w 3773795"/>
                <a:gd name="connsiteY2930" fmla="*/ 1148313 h 1451770"/>
                <a:gd name="connsiteX2931" fmla="*/ 3062508 w 3773795"/>
                <a:gd name="connsiteY2931" fmla="*/ 1156625 h 1451770"/>
                <a:gd name="connsiteX2932" fmla="*/ 3056310 w 3773795"/>
                <a:gd name="connsiteY2932" fmla="*/ 1162644 h 1451770"/>
                <a:gd name="connsiteX2933" fmla="*/ 3052013 w 3773795"/>
                <a:gd name="connsiteY2933" fmla="*/ 1164725 h 1451770"/>
                <a:gd name="connsiteX2934" fmla="*/ 3049847 w 3773795"/>
                <a:gd name="connsiteY2934" fmla="*/ 1166332 h 1451770"/>
                <a:gd name="connsiteX2935" fmla="*/ 3048938 w 3773795"/>
                <a:gd name="connsiteY2935" fmla="*/ 1168416 h 1451770"/>
                <a:gd name="connsiteX2936" fmla="*/ 3042579 w 3773795"/>
                <a:gd name="connsiteY2936" fmla="*/ 1174168 h 1451770"/>
                <a:gd name="connsiteX2937" fmla="*/ 3034733 w 3773795"/>
                <a:gd name="connsiteY2937" fmla="*/ 1180198 h 1451770"/>
                <a:gd name="connsiteX2938" fmla="*/ 3032529 w 3773795"/>
                <a:gd name="connsiteY2938" fmla="*/ 1181288 h 1451770"/>
                <a:gd name="connsiteX2939" fmla="*/ 3032010 w 3773795"/>
                <a:gd name="connsiteY2939" fmla="*/ 1179015 h 1451770"/>
                <a:gd name="connsiteX2940" fmla="*/ 3031771 w 3773795"/>
                <a:gd name="connsiteY2940" fmla="*/ 1176762 h 1451770"/>
                <a:gd name="connsiteX2941" fmla="*/ 3030827 w 3773795"/>
                <a:gd name="connsiteY2941" fmla="*/ 1173755 h 1451770"/>
                <a:gd name="connsiteX2942" fmla="*/ 3028011 w 3773795"/>
                <a:gd name="connsiteY2942" fmla="*/ 1171271 h 1451770"/>
                <a:gd name="connsiteX2943" fmla="*/ 3027519 w 3773795"/>
                <a:gd name="connsiteY2943" fmla="*/ 1169257 h 1451770"/>
                <a:gd name="connsiteX2944" fmla="*/ 3027059 w 3773795"/>
                <a:gd name="connsiteY2944" fmla="*/ 1166473 h 1451770"/>
                <a:gd name="connsiteX2945" fmla="*/ 3026825 w 3773795"/>
                <a:gd name="connsiteY2945" fmla="*/ 1153572 h 1451770"/>
                <a:gd name="connsiteX2946" fmla="*/ 3024338 w 3773795"/>
                <a:gd name="connsiteY2946" fmla="*/ 1140138 h 1451770"/>
                <a:gd name="connsiteX2947" fmla="*/ 3024060 w 3773795"/>
                <a:gd name="connsiteY2947" fmla="*/ 1135892 h 1451770"/>
                <a:gd name="connsiteX2948" fmla="*/ 3021049 w 3773795"/>
                <a:gd name="connsiteY2948" fmla="*/ 1132411 h 1451770"/>
                <a:gd name="connsiteX2949" fmla="*/ 3019408 w 3773795"/>
                <a:gd name="connsiteY2949" fmla="*/ 1128802 h 1451770"/>
                <a:gd name="connsiteX2950" fmla="*/ 3018434 w 3773795"/>
                <a:gd name="connsiteY2950" fmla="*/ 1125251 h 1451770"/>
                <a:gd name="connsiteX2951" fmla="*/ 3018179 w 3773795"/>
                <a:gd name="connsiteY2951" fmla="*/ 1121052 h 1451770"/>
                <a:gd name="connsiteX2952" fmla="*/ 3014893 w 3773795"/>
                <a:gd name="connsiteY2952" fmla="*/ 1098853 h 1451770"/>
                <a:gd name="connsiteX2953" fmla="*/ 3013890 w 3773795"/>
                <a:gd name="connsiteY2953" fmla="*/ 1093288 h 1451770"/>
                <a:gd name="connsiteX2954" fmla="*/ 3009503 w 3773795"/>
                <a:gd name="connsiteY2954" fmla="*/ 1075236 h 1451770"/>
                <a:gd name="connsiteX2955" fmla="*/ 3007599 w 3773795"/>
                <a:gd name="connsiteY2955" fmla="*/ 1064734 h 1451770"/>
                <a:gd name="connsiteX2956" fmla="*/ 3006351 w 3773795"/>
                <a:gd name="connsiteY2956" fmla="*/ 1054445 h 1451770"/>
                <a:gd name="connsiteX2957" fmla="*/ 3006151 w 3773795"/>
                <a:gd name="connsiteY2957" fmla="*/ 1049837 h 1451770"/>
                <a:gd name="connsiteX2958" fmla="*/ 3008110 w 3773795"/>
                <a:gd name="connsiteY2958" fmla="*/ 1036049 h 1451770"/>
                <a:gd name="connsiteX2959" fmla="*/ 3009727 w 3773795"/>
                <a:gd name="connsiteY2959" fmla="*/ 1027373 h 1451770"/>
                <a:gd name="connsiteX2960" fmla="*/ 3015607 w 3773795"/>
                <a:gd name="connsiteY2960" fmla="*/ 1007854 h 1451770"/>
                <a:gd name="connsiteX2961" fmla="*/ 3016555 w 3773795"/>
                <a:gd name="connsiteY2961" fmla="*/ 1006067 h 1451770"/>
                <a:gd name="connsiteX2962" fmla="*/ 3017486 w 3773795"/>
                <a:gd name="connsiteY2962" fmla="*/ 1005134 h 1451770"/>
                <a:gd name="connsiteX2963" fmla="*/ 3027698 w 3773795"/>
                <a:gd name="connsiteY2963" fmla="*/ 997573 h 1451770"/>
                <a:gd name="connsiteX2964" fmla="*/ 3032101 w 3773795"/>
                <a:gd name="connsiteY2964" fmla="*/ 993426 h 1451770"/>
                <a:gd name="connsiteX2965" fmla="*/ 3034764 w 3773795"/>
                <a:gd name="connsiteY2965" fmla="*/ 989053 h 1451770"/>
                <a:gd name="connsiteX2966" fmla="*/ 3037592 w 3773795"/>
                <a:gd name="connsiteY2966" fmla="*/ 983456 h 1451770"/>
                <a:gd name="connsiteX2967" fmla="*/ 3037301 w 3773795"/>
                <a:gd name="connsiteY2967" fmla="*/ 980443 h 1451770"/>
                <a:gd name="connsiteX2968" fmla="*/ 3036962 w 3773795"/>
                <a:gd name="connsiteY2968" fmla="*/ 978696 h 1451770"/>
                <a:gd name="connsiteX2969" fmla="*/ 3035893 w 3773795"/>
                <a:gd name="connsiteY2969" fmla="*/ 976746 h 1451770"/>
                <a:gd name="connsiteX2970" fmla="*/ 3033498 w 3773795"/>
                <a:gd name="connsiteY2970" fmla="*/ 974477 h 1451770"/>
                <a:gd name="connsiteX2971" fmla="*/ 3034345 w 3773795"/>
                <a:gd name="connsiteY2971" fmla="*/ 973465 h 1451770"/>
                <a:gd name="connsiteX2972" fmla="*/ 3035275 w 3773795"/>
                <a:gd name="connsiteY2972" fmla="*/ 972697 h 1451770"/>
                <a:gd name="connsiteX2973" fmla="*/ 3037791 w 3773795"/>
                <a:gd name="connsiteY2973" fmla="*/ 971849 h 1451770"/>
                <a:gd name="connsiteX2974" fmla="*/ 3042900 w 3773795"/>
                <a:gd name="connsiteY2974" fmla="*/ 973555 h 1451770"/>
                <a:gd name="connsiteX2975" fmla="*/ 3048066 w 3773795"/>
                <a:gd name="connsiteY2975" fmla="*/ 972837 h 1451770"/>
                <a:gd name="connsiteX2976" fmla="*/ 3052842 w 3773795"/>
                <a:gd name="connsiteY2976" fmla="*/ 965776 h 1451770"/>
                <a:gd name="connsiteX2977" fmla="*/ 3059657 w 3773795"/>
                <a:gd name="connsiteY2977" fmla="*/ 966861 h 1451770"/>
                <a:gd name="connsiteX2978" fmla="*/ 3064872 w 3773795"/>
                <a:gd name="connsiteY2978" fmla="*/ 965599 h 1451770"/>
                <a:gd name="connsiteX2979" fmla="*/ 3066304 w 3773795"/>
                <a:gd name="connsiteY2979" fmla="*/ 966122 h 1451770"/>
                <a:gd name="connsiteX2980" fmla="*/ 3067318 w 3773795"/>
                <a:gd name="connsiteY2980" fmla="*/ 963733 h 1451770"/>
                <a:gd name="connsiteX2981" fmla="*/ 3070156 w 3773795"/>
                <a:gd name="connsiteY2981" fmla="*/ 961183 h 1451770"/>
                <a:gd name="connsiteX2982" fmla="*/ 3075410 w 3773795"/>
                <a:gd name="connsiteY2982" fmla="*/ 957370 h 1451770"/>
                <a:gd name="connsiteX2983" fmla="*/ 3083147 w 3773795"/>
                <a:gd name="connsiteY2983" fmla="*/ 952775 h 1451770"/>
                <a:gd name="connsiteX2984" fmla="*/ 3086988 w 3773795"/>
                <a:gd name="connsiteY2984" fmla="*/ 949691 h 1451770"/>
                <a:gd name="connsiteX2985" fmla="*/ 3089150 w 3773795"/>
                <a:gd name="connsiteY2985" fmla="*/ 946745 h 1451770"/>
                <a:gd name="connsiteX2986" fmla="*/ 3092339 w 3773795"/>
                <a:gd name="connsiteY2986" fmla="*/ 943980 h 1451770"/>
                <a:gd name="connsiteX2987" fmla="*/ 3095410 w 3773795"/>
                <a:gd name="connsiteY2987" fmla="*/ 940488 h 1451770"/>
                <a:gd name="connsiteX2988" fmla="*/ 3101067 w 3773795"/>
                <a:gd name="connsiteY2988" fmla="*/ 929966 h 1451770"/>
                <a:gd name="connsiteX2989" fmla="*/ 3112191 w 3773795"/>
                <a:gd name="connsiteY2989" fmla="*/ 921245 h 1451770"/>
                <a:gd name="connsiteX2990" fmla="*/ 3116548 w 3773795"/>
                <a:gd name="connsiteY2990" fmla="*/ 916220 h 1451770"/>
                <a:gd name="connsiteX2991" fmla="*/ 3120174 w 3773795"/>
                <a:gd name="connsiteY2991" fmla="*/ 914437 h 1451770"/>
                <a:gd name="connsiteX2992" fmla="*/ 3123354 w 3773795"/>
                <a:gd name="connsiteY2992" fmla="*/ 913610 h 1451770"/>
                <a:gd name="connsiteX2993" fmla="*/ 3131397 w 3773795"/>
                <a:gd name="connsiteY2993" fmla="*/ 906410 h 1451770"/>
                <a:gd name="connsiteX2994" fmla="*/ 3136490 w 3773795"/>
                <a:gd name="connsiteY2994" fmla="*/ 900410 h 1451770"/>
                <a:gd name="connsiteX2995" fmla="*/ 3143217 w 3773795"/>
                <a:gd name="connsiteY2995" fmla="*/ 896276 h 1451770"/>
                <a:gd name="connsiteX2996" fmla="*/ 3145262 w 3773795"/>
                <a:gd name="connsiteY2996" fmla="*/ 893626 h 1451770"/>
                <a:gd name="connsiteX2997" fmla="*/ 3148747 w 3773795"/>
                <a:gd name="connsiteY2997" fmla="*/ 887384 h 1451770"/>
                <a:gd name="connsiteX2998" fmla="*/ 3150174 w 3773795"/>
                <a:gd name="connsiteY2998" fmla="*/ 885845 h 1451770"/>
                <a:gd name="connsiteX2999" fmla="*/ 3154556 w 3773795"/>
                <a:gd name="connsiteY2999" fmla="*/ 883503 h 1451770"/>
                <a:gd name="connsiteX3000" fmla="*/ 3164437 w 3773795"/>
                <a:gd name="connsiteY3000" fmla="*/ 879409 h 1451770"/>
                <a:gd name="connsiteX3001" fmla="*/ 3170186 w 3773795"/>
                <a:gd name="connsiteY3001" fmla="*/ 875283 h 1451770"/>
                <a:gd name="connsiteX3002" fmla="*/ 3178570 w 3773795"/>
                <a:gd name="connsiteY3002" fmla="*/ 874697 h 1451770"/>
                <a:gd name="connsiteX3003" fmla="*/ 3181092 w 3773795"/>
                <a:gd name="connsiteY3003" fmla="*/ 873046 h 1451770"/>
                <a:gd name="connsiteX3004" fmla="*/ 3183718 w 3773795"/>
                <a:gd name="connsiteY3004" fmla="*/ 872128 h 1451770"/>
                <a:gd name="connsiteX3005" fmla="*/ 3186478 w 3773795"/>
                <a:gd name="connsiteY3005" fmla="*/ 870799 h 1451770"/>
                <a:gd name="connsiteX3006" fmla="*/ 3183018 w 3773795"/>
                <a:gd name="connsiteY3006" fmla="*/ 867147 h 1451770"/>
                <a:gd name="connsiteX3007" fmla="*/ 3183809 w 3773795"/>
                <a:gd name="connsiteY3007" fmla="*/ 865174 h 1451770"/>
                <a:gd name="connsiteX3008" fmla="*/ 3184480 w 3773795"/>
                <a:gd name="connsiteY3008" fmla="*/ 864268 h 1451770"/>
                <a:gd name="connsiteX3009" fmla="*/ 3190533 w 3773795"/>
                <a:gd name="connsiteY3009" fmla="*/ 859920 h 1451770"/>
                <a:gd name="connsiteX3010" fmla="*/ 3193012 w 3773795"/>
                <a:gd name="connsiteY3010" fmla="*/ 856435 h 1451770"/>
                <a:gd name="connsiteX3011" fmla="*/ 3192716 w 3773795"/>
                <a:gd name="connsiteY3011" fmla="*/ 854935 h 1451770"/>
                <a:gd name="connsiteX3012" fmla="*/ 3192289 w 3773795"/>
                <a:gd name="connsiteY3012" fmla="*/ 853866 h 1451770"/>
                <a:gd name="connsiteX3013" fmla="*/ 3188566 w 3773795"/>
                <a:gd name="connsiteY3013" fmla="*/ 852463 h 1451770"/>
                <a:gd name="connsiteX3014" fmla="*/ 3189289 w 3773795"/>
                <a:gd name="connsiteY3014" fmla="*/ 849184 h 1451770"/>
                <a:gd name="connsiteX3015" fmla="*/ 3190298 w 3773795"/>
                <a:gd name="connsiteY3015" fmla="*/ 846408 h 1451770"/>
                <a:gd name="connsiteX3016" fmla="*/ 3193323 w 3773795"/>
                <a:gd name="connsiteY3016" fmla="*/ 844014 h 1451770"/>
                <a:gd name="connsiteX3017" fmla="*/ 3194394 w 3773795"/>
                <a:gd name="connsiteY3017" fmla="*/ 838465 h 1451770"/>
                <a:gd name="connsiteX3018" fmla="*/ 3194532 w 3773795"/>
                <a:gd name="connsiteY3018" fmla="*/ 832630 h 1451770"/>
                <a:gd name="connsiteX3019" fmla="*/ 3197473 w 3773795"/>
                <a:gd name="connsiteY3019" fmla="*/ 824172 h 1451770"/>
                <a:gd name="connsiteX3020" fmla="*/ 3199249 w 3773795"/>
                <a:gd name="connsiteY3020" fmla="*/ 822307 h 1451770"/>
                <a:gd name="connsiteX3021" fmla="*/ 3206121 w 3773795"/>
                <a:gd name="connsiteY3021" fmla="*/ 818050 h 1451770"/>
                <a:gd name="connsiteX3022" fmla="*/ 3207721 w 3773795"/>
                <a:gd name="connsiteY3022" fmla="*/ 817939 h 1451770"/>
                <a:gd name="connsiteX3023" fmla="*/ 3212520 w 3773795"/>
                <a:gd name="connsiteY3023" fmla="*/ 819379 h 1451770"/>
                <a:gd name="connsiteX3024" fmla="*/ 3217748 w 3773795"/>
                <a:gd name="connsiteY3024" fmla="*/ 820079 h 1451770"/>
                <a:gd name="connsiteX3025" fmla="*/ 3219605 w 3773795"/>
                <a:gd name="connsiteY3025" fmla="*/ 821368 h 1451770"/>
                <a:gd name="connsiteX3026" fmla="*/ 3219993 w 3773795"/>
                <a:gd name="connsiteY3026" fmla="*/ 820277 h 1451770"/>
                <a:gd name="connsiteX3027" fmla="*/ 3219732 w 3773795"/>
                <a:gd name="connsiteY3027" fmla="*/ 818819 h 1451770"/>
                <a:gd name="connsiteX3028" fmla="*/ 3221203 w 3773795"/>
                <a:gd name="connsiteY3028" fmla="*/ 818310 h 1451770"/>
                <a:gd name="connsiteX3029" fmla="*/ 3224233 w 3773795"/>
                <a:gd name="connsiteY3029" fmla="*/ 818857 h 1451770"/>
                <a:gd name="connsiteX3030" fmla="*/ 3223772 w 3773795"/>
                <a:gd name="connsiteY3030" fmla="*/ 817247 h 1451770"/>
                <a:gd name="connsiteX3031" fmla="*/ 3215977 w 3773795"/>
                <a:gd name="connsiteY3031" fmla="*/ 816453 h 1451770"/>
                <a:gd name="connsiteX3032" fmla="*/ 3210413 w 3773795"/>
                <a:gd name="connsiteY3032" fmla="*/ 814590 h 1451770"/>
                <a:gd name="connsiteX3033" fmla="*/ 3205428 w 3773795"/>
                <a:gd name="connsiteY3033" fmla="*/ 810992 h 1451770"/>
                <a:gd name="connsiteX3034" fmla="*/ 3202142 w 3773795"/>
                <a:gd name="connsiteY3034" fmla="*/ 809986 h 1451770"/>
                <a:gd name="connsiteX3035" fmla="*/ 3198544 w 3773795"/>
                <a:gd name="connsiteY3035" fmla="*/ 810264 h 1451770"/>
                <a:gd name="connsiteX3036" fmla="*/ 3178115 w 3773795"/>
                <a:gd name="connsiteY3036" fmla="*/ 815285 h 1451770"/>
                <a:gd name="connsiteX3037" fmla="*/ 3177128 w 3773795"/>
                <a:gd name="connsiteY3037" fmla="*/ 816644 h 1451770"/>
                <a:gd name="connsiteX3038" fmla="*/ 3176179 w 3773795"/>
                <a:gd name="connsiteY3038" fmla="*/ 818572 h 1451770"/>
                <a:gd name="connsiteX3039" fmla="*/ 3177460 w 3773795"/>
                <a:gd name="connsiteY3039" fmla="*/ 821402 h 1451770"/>
                <a:gd name="connsiteX3040" fmla="*/ 3176484 w 3773795"/>
                <a:gd name="connsiteY3040" fmla="*/ 822640 h 1451770"/>
                <a:gd name="connsiteX3041" fmla="*/ 3175495 w 3773795"/>
                <a:gd name="connsiteY3041" fmla="*/ 823446 h 1451770"/>
                <a:gd name="connsiteX3042" fmla="*/ 3174394 w 3773795"/>
                <a:gd name="connsiteY3042" fmla="*/ 825292 h 1451770"/>
                <a:gd name="connsiteX3043" fmla="*/ 3173399 w 3773795"/>
                <a:gd name="connsiteY3043" fmla="*/ 828942 h 1451770"/>
                <a:gd name="connsiteX3044" fmla="*/ 3173677 w 3773795"/>
                <a:gd name="connsiteY3044" fmla="*/ 832463 h 1451770"/>
                <a:gd name="connsiteX3045" fmla="*/ 3171170 w 3773795"/>
                <a:gd name="connsiteY3045" fmla="*/ 837880 h 1451770"/>
                <a:gd name="connsiteX3046" fmla="*/ 3170984 w 3773795"/>
                <a:gd name="connsiteY3046" fmla="*/ 841268 h 1451770"/>
                <a:gd name="connsiteX3047" fmla="*/ 3175370 w 3773795"/>
                <a:gd name="connsiteY3047" fmla="*/ 843135 h 1451770"/>
                <a:gd name="connsiteX3048" fmla="*/ 3176480 w 3773795"/>
                <a:gd name="connsiteY3048" fmla="*/ 844395 h 1451770"/>
                <a:gd name="connsiteX3049" fmla="*/ 3175154 w 3773795"/>
                <a:gd name="connsiteY3049" fmla="*/ 846251 h 1451770"/>
                <a:gd name="connsiteX3050" fmla="*/ 3173850 w 3773795"/>
                <a:gd name="connsiteY3050" fmla="*/ 847382 h 1451770"/>
                <a:gd name="connsiteX3051" fmla="*/ 3172664 w 3773795"/>
                <a:gd name="connsiteY3051" fmla="*/ 848767 h 1451770"/>
                <a:gd name="connsiteX3052" fmla="*/ 3171824 w 3773795"/>
                <a:gd name="connsiteY3052" fmla="*/ 849326 h 1451770"/>
                <a:gd name="connsiteX3053" fmla="*/ 3170645 w 3773795"/>
                <a:gd name="connsiteY3053" fmla="*/ 849660 h 1451770"/>
                <a:gd name="connsiteX3054" fmla="*/ 3169047 w 3773795"/>
                <a:gd name="connsiteY3054" fmla="*/ 847847 h 1451770"/>
                <a:gd name="connsiteX3055" fmla="*/ 3167594 w 3773795"/>
                <a:gd name="connsiteY3055" fmla="*/ 844206 h 1451770"/>
                <a:gd name="connsiteX3056" fmla="*/ 3165303 w 3773795"/>
                <a:gd name="connsiteY3056" fmla="*/ 843994 h 1451770"/>
                <a:gd name="connsiteX3057" fmla="*/ 3164540 w 3773795"/>
                <a:gd name="connsiteY3057" fmla="*/ 844542 h 1451770"/>
                <a:gd name="connsiteX3058" fmla="*/ 3164124 w 3773795"/>
                <a:gd name="connsiteY3058" fmla="*/ 845986 h 1451770"/>
                <a:gd name="connsiteX3059" fmla="*/ 3162103 w 3773795"/>
                <a:gd name="connsiteY3059" fmla="*/ 846072 h 1451770"/>
                <a:gd name="connsiteX3060" fmla="*/ 3159865 w 3773795"/>
                <a:gd name="connsiteY3060" fmla="*/ 845391 h 1451770"/>
                <a:gd name="connsiteX3061" fmla="*/ 3157348 w 3773795"/>
                <a:gd name="connsiteY3061" fmla="*/ 845663 h 1451770"/>
                <a:gd name="connsiteX3062" fmla="*/ 3152832 w 3773795"/>
                <a:gd name="connsiteY3062" fmla="*/ 849779 h 1451770"/>
                <a:gd name="connsiteX3063" fmla="*/ 3127375 w 3773795"/>
                <a:gd name="connsiteY3063" fmla="*/ 869254 h 1451770"/>
                <a:gd name="connsiteX3064" fmla="*/ 3124676 w 3773795"/>
                <a:gd name="connsiteY3064" fmla="*/ 871608 h 1451770"/>
                <a:gd name="connsiteX3065" fmla="*/ 3121394 w 3773795"/>
                <a:gd name="connsiteY3065" fmla="*/ 876273 h 1451770"/>
                <a:gd name="connsiteX3066" fmla="*/ 3115101 w 3773795"/>
                <a:gd name="connsiteY3066" fmla="*/ 876723 h 1451770"/>
                <a:gd name="connsiteX3067" fmla="*/ 3112584 w 3773795"/>
                <a:gd name="connsiteY3067" fmla="*/ 877770 h 1451770"/>
                <a:gd name="connsiteX3068" fmla="*/ 3110795 w 3773795"/>
                <a:gd name="connsiteY3068" fmla="*/ 879156 h 1451770"/>
                <a:gd name="connsiteX3069" fmla="*/ 3108282 w 3773795"/>
                <a:gd name="connsiteY3069" fmla="*/ 880111 h 1451770"/>
                <a:gd name="connsiteX3070" fmla="*/ 3108364 w 3773795"/>
                <a:gd name="connsiteY3070" fmla="*/ 878365 h 1451770"/>
                <a:gd name="connsiteX3071" fmla="*/ 3108889 w 3773795"/>
                <a:gd name="connsiteY3071" fmla="*/ 877065 h 1451770"/>
                <a:gd name="connsiteX3072" fmla="*/ 3109435 w 3773795"/>
                <a:gd name="connsiteY3072" fmla="*/ 873656 h 1451770"/>
                <a:gd name="connsiteX3073" fmla="*/ 3112821 w 3773795"/>
                <a:gd name="connsiteY3073" fmla="*/ 867152 h 1451770"/>
                <a:gd name="connsiteX3074" fmla="*/ 3110661 w 3773795"/>
                <a:gd name="connsiteY3074" fmla="*/ 866504 h 1451770"/>
                <a:gd name="connsiteX3075" fmla="*/ 3108517 w 3773795"/>
                <a:gd name="connsiteY3075" fmla="*/ 866408 h 1451770"/>
                <a:gd name="connsiteX3076" fmla="*/ 3104531 w 3773795"/>
                <a:gd name="connsiteY3076" fmla="*/ 867759 h 1451770"/>
                <a:gd name="connsiteX3077" fmla="*/ 3101858 w 3773795"/>
                <a:gd name="connsiteY3077" fmla="*/ 869907 h 1451770"/>
                <a:gd name="connsiteX3078" fmla="*/ 3099809 w 3773795"/>
                <a:gd name="connsiteY3078" fmla="*/ 869463 h 1451770"/>
                <a:gd name="connsiteX3079" fmla="*/ 3100784 w 3773795"/>
                <a:gd name="connsiteY3079" fmla="*/ 867539 h 1451770"/>
                <a:gd name="connsiteX3080" fmla="*/ 3103320 w 3773795"/>
                <a:gd name="connsiteY3080" fmla="*/ 863686 h 1451770"/>
                <a:gd name="connsiteX3081" fmla="*/ 3102541 w 3773795"/>
                <a:gd name="connsiteY3081" fmla="*/ 860122 h 1451770"/>
                <a:gd name="connsiteX3082" fmla="*/ 3101858 w 3773795"/>
                <a:gd name="connsiteY3082" fmla="*/ 858190 h 1451770"/>
                <a:gd name="connsiteX3083" fmla="*/ 3102914 w 3773795"/>
                <a:gd name="connsiteY3083" fmla="*/ 857106 h 1451770"/>
                <a:gd name="connsiteX3084" fmla="*/ 3108040 w 3773795"/>
                <a:gd name="connsiteY3084" fmla="*/ 849887 h 1451770"/>
                <a:gd name="connsiteX3085" fmla="*/ 3109902 w 3773795"/>
                <a:gd name="connsiteY3085" fmla="*/ 846155 h 1451770"/>
                <a:gd name="connsiteX3086" fmla="*/ 3111461 w 3773795"/>
                <a:gd name="connsiteY3086" fmla="*/ 841205 h 1451770"/>
                <a:gd name="connsiteX3087" fmla="*/ 3111551 w 3773795"/>
                <a:gd name="connsiteY3087" fmla="*/ 839667 h 1451770"/>
                <a:gd name="connsiteX3088" fmla="*/ 3111284 w 3773795"/>
                <a:gd name="connsiteY3088" fmla="*/ 837767 h 1451770"/>
                <a:gd name="connsiteX3089" fmla="*/ 3109701 w 3773795"/>
                <a:gd name="connsiteY3089" fmla="*/ 837444 h 1451770"/>
                <a:gd name="connsiteX3090" fmla="*/ 3108479 w 3773795"/>
                <a:gd name="connsiteY3090" fmla="*/ 837479 h 1451770"/>
                <a:gd name="connsiteX3091" fmla="*/ 3098299 w 3773795"/>
                <a:gd name="connsiteY3091" fmla="*/ 842393 h 1451770"/>
                <a:gd name="connsiteX3092" fmla="*/ 3094544 w 3773795"/>
                <a:gd name="connsiteY3092" fmla="*/ 843715 h 1451770"/>
                <a:gd name="connsiteX3093" fmla="*/ 3093305 w 3773795"/>
                <a:gd name="connsiteY3093" fmla="*/ 841610 h 1451770"/>
                <a:gd name="connsiteX3094" fmla="*/ 3091685 w 3773795"/>
                <a:gd name="connsiteY3094" fmla="*/ 840705 h 1451770"/>
                <a:gd name="connsiteX3095" fmla="*/ 3088854 w 3773795"/>
                <a:gd name="connsiteY3095" fmla="*/ 837093 h 1451770"/>
                <a:gd name="connsiteX3096" fmla="*/ 3086516 w 3773795"/>
                <a:gd name="connsiteY3096" fmla="*/ 836574 h 1451770"/>
                <a:gd name="connsiteX3097" fmla="*/ 3084026 w 3773795"/>
                <a:gd name="connsiteY3097" fmla="*/ 836817 h 1451770"/>
                <a:gd name="connsiteX3098" fmla="*/ 3078445 w 3773795"/>
                <a:gd name="connsiteY3098" fmla="*/ 839270 h 1451770"/>
                <a:gd name="connsiteX3099" fmla="*/ 3072317 w 3773795"/>
                <a:gd name="connsiteY3099" fmla="*/ 840609 h 1451770"/>
                <a:gd name="connsiteX3100" fmla="*/ 3067597 w 3773795"/>
                <a:gd name="connsiteY3100" fmla="*/ 840105 h 1451770"/>
                <a:gd name="connsiteX3101" fmla="*/ 3063570 w 3773795"/>
                <a:gd name="connsiteY3101" fmla="*/ 842174 h 1451770"/>
                <a:gd name="connsiteX3102" fmla="*/ 3061769 w 3773795"/>
                <a:gd name="connsiteY3102" fmla="*/ 842556 h 1451770"/>
                <a:gd name="connsiteX3103" fmla="*/ 3055781 w 3773795"/>
                <a:gd name="connsiteY3103" fmla="*/ 841140 h 1451770"/>
                <a:gd name="connsiteX3104" fmla="*/ 3048485 w 3773795"/>
                <a:gd name="connsiteY3104" fmla="*/ 841015 h 1451770"/>
                <a:gd name="connsiteX3105" fmla="*/ 3046303 w 3773795"/>
                <a:gd name="connsiteY3105" fmla="*/ 842778 h 1451770"/>
                <a:gd name="connsiteX3106" fmla="*/ 3039968 w 3773795"/>
                <a:gd name="connsiteY3106" fmla="*/ 845202 h 1451770"/>
                <a:gd name="connsiteX3107" fmla="*/ 3035714 w 3773795"/>
                <a:gd name="connsiteY3107" fmla="*/ 848949 h 1451770"/>
                <a:gd name="connsiteX3108" fmla="*/ 3033476 w 3773795"/>
                <a:gd name="connsiteY3108" fmla="*/ 850152 h 1451770"/>
                <a:gd name="connsiteX3109" fmla="*/ 3031036 w 3773795"/>
                <a:gd name="connsiteY3109" fmla="*/ 851812 h 1451770"/>
                <a:gd name="connsiteX3110" fmla="*/ 3029917 w 3773795"/>
                <a:gd name="connsiteY3110" fmla="*/ 858842 h 1451770"/>
                <a:gd name="connsiteX3111" fmla="*/ 3026666 w 3773795"/>
                <a:gd name="connsiteY3111" fmla="*/ 861081 h 1451770"/>
                <a:gd name="connsiteX3112" fmla="*/ 3023604 w 3773795"/>
                <a:gd name="connsiteY3112" fmla="*/ 862796 h 1451770"/>
                <a:gd name="connsiteX3113" fmla="*/ 3017231 w 3773795"/>
                <a:gd name="connsiteY3113" fmla="*/ 868156 h 1451770"/>
                <a:gd name="connsiteX3114" fmla="*/ 3012751 w 3773795"/>
                <a:gd name="connsiteY3114" fmla="*/ 875476 h 1451770"/>
                <a:gd name="connsiteX3115" fmla="*/ 3009717 w 3773795"/>
                <a:gd name="connsiteY3115" fmla="*/ 878644 h 1451770"/>
                <a:gd name="connsiteX3116" fmla="*/ 3003342 w 3773795"/>
                <a:gd name="connsiteY3116" fmla="*/ 883066 h 1451770"/>
                <a:gd name="connsiteX3117" fmla="*/ 2993236 w 3773795"/>
                <a:gd name="connsiteY3117" fmla="*/ 888830 h 1451770"/>
                <a:gd name="connsiteX3118" fmla="*/ 2984556 w 3773795"/>
                <a:gd name="connsiteY3118" fmla="*/ 898172 h 1451770"/>
                <a:gd name="connsiteX3119" fmla="*/ 2981515 w 3773795"/>
                <a:gd name="connsiteY3119" fmla="*/ 905151 h 1451770"/>
                <a:gd name="connsiteX3120" fmla="*/ 2980390 w 3773795"/>
                <a:gd name="connsiteY3120" fmla="*/ 905383 h 1451770"/>
                <a:gd name="connsiteX3121" fmla="*/ 2978250 w 3773795"/>
                <a:gd name="connsiteY3121" fmla="*/ 906814 h 1451770"/>
                <a:gd name="connsiteX3122" fmla="*/ 2977665 w 3773795"/>
                <a:gd name="connsiteY3122" fmla="*/ 910206 h 1451770"/>
                <a:gd name="connsiteX3123" fmla="*/ 2977714 w 3773795"/>
                <a:gd name="connsiteY3123" fmla="*/ 912573 h 1451770"/>
                <a:gd name="connsiteX3124" fmla="*/ 2976396 w 3773795"/>
                <a:gd name="connsiteY3124" fmla="*/ 914481 h 1451770"/>
                <a:gd name="connsiteX3125" fmla="*/ 2975083 w 3773795"/>
                <a:gd name="connsiteY3125" fmla="*/ 916838 h 1451770"/>
                <a:gd name="connsiteX3126" fmla="*/ 2976477 w 3773795"/>
                <a:gd name="connsiteY3126" fmla="*/ 918318 h 1451770"/>
                <a:gd name="connsiteX3127" fmla="*/ 2977788 w 3773795"/>
                <a:gd name="connsiteY3127" fmla="*/ 918589 h 1451770"/>
                <a:gd name="connsiteX3128" fmla="*/ 2979678 w 3773795"/>
                <a:gd name="connsiteY3128" fmla="*/ 918382 h 1451770"/>
                <a:gd name="connsiteX3129" fmla="*/ 2984651 w 3773795"/>
                <a:gd name="connsiteY3129" fmla="*/ 916458 h 1451770"/>
                <a:gd name="connsiteX3130" fmla="*/ 2993247 w 3773795"/>
                <a:gd name="connsiteY3130" fmla="*/ 919425 h 1451770"/>
                <a:gd name="connsiteX3131" fmla="*/ 2997568 w 3773795"/>
                <a:gd name="connsiteY3131" fmla="*/ 922355 h 1451770"/>
                <a:gd name="connsiteX3132" fmla="*/ 2997266 w 3773795"/>
                <a:gd name="connsiteY3132" fmla="*/ 925296 h 1451770"/>
                <a:gd name="connsiteX3133" fmla="*/ 2997430 w 3773795"/>
                <a:gd name="connsiteY3133" fmla="*/ 927911 h 1451770"/>
                <a:gd name="connsiteX3134" fmla="*/ 2994251 w 3773795"/>
                <a:gd name="connsiteY3134" fmla="*/ 927732 h 1451770"/>
                <a:gd name="connsiteX3135" fmla="*/ 2989984 w 3773795"/>
                <a:gd name="connsiteY3135" fmla="*/ 927995 h 1451770"/>
                <a:gd name="connsiteX3136" fmla="*/ 2987326 w 3773795"/>
                <a:gd name="connsiteY3136" fmla="*/ 929504 h 1451770"/>
                <a:gd name="connsiteX3137" fmla="*/ 2981898 w 3773795"/>
                <a:gd name="connsiteY3137" fmla="*/ 927048 h 1451770"/>
                <a:gd name="connsiteX3138" fmla="*/ 2980084 w 3773795"/>
                <a:gd name="connsiteY3138" fmla="*/ 927986 h 1451770"/>
                <a:gd name="connsiteX3139" fmla="*/ 2977225 w 3773795"/>
                <a:gd name="connsiteY3139" fmla="*/ 930571 h 1451770"/>
                <a:gd name="connsiteX3140" fmla="*/ 2972012 w 3773795"/>
                <a:gd name="connsiteY3140" fmla="*/ 931648 h 1451770"/>
                <a:gd name="connsiteX3141" fmla="*/ 2969375 w 3773795"/>
                <a:gd name="connsiteY3141" fmla="*/ 930389 h 1451770"/>
                <a:gd name="connsiteX3142" fmla="*/ 2965031 w 3773795"/>
                <a:gd name="connsiteY3142" fmla="*/ 926781 h 1451770"/>
                <a:gd name="connsiteX3143" fmla="*/ 2957644 w 3773795"/>
                <a:gd name="connsiteY3143" fmla="*/ 927106 h 1451770"/>
                <a:gd name="connsiteX3144" fmla="*/ 2955693 w 3773795"/>
                <a:gd name="connsiteY3144" fmla="*/ 931134 h 1451770"/>
                <a:gd name="connsiteX3145" fmla="*/ 2953994 w 3773795"/>
                <a:gd name="connsiteY3145" fmla="*/ 931032 h 1451770"/>
                <a:gd name="connsiteX3146" fmla="*/ 2951376 w 3773795"/>
                <a:gd name="connsiteY3146" fmla="*/ 931441 h 1451770"/>
                <a:gd name="connsiteX3147" fmla="*/ 2947053 w 3773795"/>
                <a:gd name="connsiteY3147" fmla="*/ 936090 h 1451770"/>
                <a:gd name="connsiteX3148" fmla="*/ 2945631 w 3773795"/>
                <a:gd name="connsiteY3148" fmla="*/ 936506 h 1451770"/>
                <a:gd name="connsiteX3149" fmla="*/ 2940273 w 3773795"/>
                <a:gd name="connsiteY3149" fmla="*/ 935601 h 1451770"/>
                <a:gd name="connsiteX3150" fmla="*/ 2936406 w 3773795"/>
                <a:gd name="connsiteY3150" fmla="*/ 933248 h 1451770"/>
                <a:gd name="connsiteX3151" fmla="*/ 2934613 w 3773795"/>
                <a:gd name="connsiteY3151" fmla="*/ 933106 h 1451770"/>
                <a:gd name="connsiteX3152" fmla="*/ 2931199 w 3773795"/>
                <a:gd name="connsiteY3152" fmla="*/ 934205 h 1451770"/>
                <a:gd name="connsiteX3153" fmla="*/ 2929489 w 3773795"/>
                <a:gd name="connsiteY3153" fmla="*/ 937020 h 1451770"/>
                <a:gd name="connsiteX3154" fmla="*/ 2921014 w 3773795"/>
                <a:gd name="connsiteY3154" fmla="*/ 938442 h 1451770"/>
                <a:gd name="connsiteX3155" fmla="*/ 2912659 w 3773795"/>
                <a:gd name="connsiteY3155" fmla="*/ 938169 h 1451770"/>
                <a:gd name="connsiteX3156" fmla="*/ 2908111 w 3773795"/>
                <a:gd name="connsiteY3156" fmla="*/ 931420 h 1451770"/>
                <a:gd name="connsiteX3157" fmla="*/ 2916600 w 3773795"/>
                <a:gd name="connsiteY3157" fmla="*/ 928763 h 1451770"/>
                <a:gd name="connsiteX3158" fmla="*/ 2921653 w 3773795"/>
                <a:gd name="connsiteY3158" fmla="*/ 929329 h 1451770"/>
                <a:gd name="connsiteX3159" fmla="*/ 2927325 w 3773795"/>
                <a:gd name="connsiteY3159" fmla="*/ 928892 h 1451770"/>
                <a:gd name="connsiteX3160" fmla="*/ 2933309 w 3773795"/>
                <a:gd name="connsiteY3160" fmla="*/ 926819 h 1451770"/>
                <a:gd name="connsiteX3161" fmla="*/ 2931294 w 3773795"/>
                <a:gd name="connsiteY3161" fmla="*/ 925044 h 1451770"/>
                <a:gd name="connsiteX3162" fmla="*/ 2929856 w 3773795"/>
                <a:gd name="connsiteY3162" fmla="*/ 924630 h 1451770"/>
                <a:gd name="connsiteX3163" fmla="*/ 2926272 w 3773795"/>
                <a:gd name="connsiteY3163" fmla="*/ 924842 h 1451770"/>
                <a:gd name="connsiteX3164" fmla="*/ 2923081 w 3773795"/>
                <a:gd name="connsiteY3164" fmla="*/ 923562 h 1451770"/>
                <a:gd name="connsiteX3165" fmla="*/ 2916175 w 3773795"/>
                <a:gd name="connsiteY3165" fmla="*/ 916982 h 1451770"/>
                <a:gd name="connsiteX3166" fmla="*/ 2913134 w 3773795"/>
                <a:gd name="connsiteY3166" fmla="*/ 915768 h 1451770"/>
                <a:gd name="connsiteX3167" fmla="*/ 2909200 w 3773795"/>
                <a:gd name="connsiteY3167" fmla="*/ 915042 h 1451770"/>
                <a:gd name="connsiteX3168" fmla="*/ 2906177 w 3773795"/>
                <a:gd name="connsiteY3168" fmla="*/ 914963 h 1451770"/>
                <a:gd name="connsiteX3169" fmla="*/ 2905048 w 3773795"/>
                <a:gd name="connsiteY3169" fmla="*/ 915433 h 1451770"/>
                <a:gd name="connsiteX3170" fmla="*/ 2903486 w 3773795"/>
                <a:gd name="connsiteY3170" fmla="*/ 917018 h 1451770"/>
                <a:gd name="connsiteX3171" fmla="*/ 2902410 w 3773795"/>
                <a:gd name="connsiteY3171" fmla="*/ 918579 h 1451770"/>
                <a:gd name="connsiteX3172" fmla="*/ 2901530 w 3773795"/>
                <a:gd name="connsiteY3172" fmla="*/ 919061 h 1451770"/>
                <a:gd name="connsiteX3173" fmla="*/ 2899452 w 3773795"/>
                <a:gd name="connsiteY3173" fmla="*/ 918785 h 1451770"/>
                <a:gd name="connsiteX3174" fmla="*/ 2896926 w 3773795"/>
                <a:gd name="connsiteY3174" fmla="*/ 917559 h 1451770"/>
                <a:gd name="connsiteX3175" fmla="*/ 2894015 w 3773795"/>
                <a:gd name="connsiteY3175" fmla="*/ 917958 h 1451770"/>
                <a:gd name="connsiteX3176" fmla="*/ 2895259 w 3773795"/>
                <a:gd name="connsiteY3176" fmla="*/ 916955 h 1451770"/>
                <a:gd name="connsiteX3177" fmla="*/ 2898077 w 3773795"/>
                <a:gd name="connsiteY3177" fmla="*/ 915925 h 1451770"/>
                <a:gd name="connsiteX3178" fmla="*/ 2893432 w 3773795"/>
                <a:gd name="connsiteY3178" fmla="*/ 914797 h 1451770"/>
                <a:gd name="connsiteX3179" fmla="*/ 2890521 w 3773795"/>
                <a:gd name="connsiteY3179" fmla="*/ 913215 h 1451770"/>
                <a:gd name="connsiteX3180" fmla="*/ 2887801 w 3773795"/>
                <a:gd name="connsiteY3180" fmla="*/ 912807 h 1451770"/>
                <a:gd name="connsiteX3181" fmla="*/ 2875418 w 3773795"/>
                <a:gd name="connsiteY3181" fmla="*/ 908888 h 1451770"/>
                <a:gd name="connsiteX3182" fmla="*/ 2870596 w 3773795"/>
                <a:gd name="connsiteY3182" fmla="*/ 909198 h 1451770"/>
                <a:gd name="connsiteX3183" fmla="*/ 2867632 w 3773795"/>
                <a:gd name="connsiteY3183" fmla="*/ 910268 h 1451770"/>
                <a:gd name="connsiteX3184" fmla="*/ 2862652 w 3773795"/>
                <a:gd name="connsiteY3184" fmla="*/ 913489 h 1451770"/>
                <a:gd name="connsiteX3185" fmla="*/ 2864034 w 3773795"/>
                <a:gd name="connsiteY3185" fmla="*/ 915845 h 1451770"/>
                <a:gd name="connsiteX3186" fmla="*/ 2865088 w 3773795"/>
                <a:gd name="connsiteY3186" fmla="*/ 916896 h 1451770"/>
                <a:gd name="connsiteX3187" fmla="*/ 2865742 w 3773795"/>
                <a:gd name="connsiteY3187" fmla="*/ 918161 h 1451770"/>
                <a:gd name="connsiteX3188" fmla="*/ 2864151 w 3773795"/>
                <a:gd name="connsiteY3188" fmla="*/ 918412 h 1451770"/>
                <a:gd name="connsiteX3189" fmla="*/ 2859551 w 3773795"/>
                <a:gd name="connsiteY3189" fmla="*/ 918593 h 1451770"/>
                <a:gd name="connsiteX3190" fmla="*/ 2856723 w 3773795"/>
                <a:gd name="connsiteY3190" fmla="*/ 916713 h 1451770"/>
                <a:gd name="connsiteX3191" fmla="*/ 2854772 w 3773795"/>
                <a:gd name="connsiteY3191" fmla="*/ 919461 h 1451770"/>
                <a:gd name="connsiteX3192" fmla="*/ 2855552 w 3773795"/>
                <a:gd name="connsiteY3192" fmla="*/ 921917 h 1451770"/>
                <a:gd name="connsiteX3193" fmla="*/ 2858770 w 3773795"/>
                <a:gd name="connsiteY3193" fmla="*/ 921050 h 1451770"/>
                <a:gd name="connsiteX3194" fmla="*/ 2860428 w 3773795"/>
                <a:gd name="connsiteY3194" fmla="*/ 922060 h 1451770"/>
                <a:gd name="connsiteX3195" fmla="*/ 2859309 w 3773795"/>
                <a:gd name="connsiteY3195" fmla="*/ 924887 h 1451770"/>
                <a:gd name="connsiteX3196" fmla="*/ 2855165 w 3773795"/>
                <a:gd name="connsiteY3196" fmla="*/ 925698 h 1451770"/>
                <a:gd name="connsiteX3197" fmla="*/ 2849959 w 3773795"/>
                <a:gd name="connsiteY3197" fmla="*/ 925554 h 1451770"/>
                <a:gd name="connsiteX3198" fmla="*/ 2844789 w 3773795"/>
                <a:gd name="connsiteY3198" fmla="*/ 920585 h 1451770"/>
                <a:gd name="connsiteX3199" fmla="*/ 2836325 w 3773795"/>
                <a:gd name="connsiteY3199" fmla="*/ 921442 h 1451770"/>
                <a:gd name="connsiteX3200" fmla="*/ 2832196 w 3773795"/>
                <a:gd name="connsiteY3200" fmla="*/ 924627 h 1451770"/>
                <a:gd name="connsiteX3201" fmla="*/ 2828361 w 3773795"/>
                <a:gd name="connsiteY3201" fmla="*/ 925350 h 1451770"/>
                <a:gd name="connsiteX3202" fmla="*/ 2817871 w 3773795"/>
                <a:gd name="connsiteY3202" fmla="*/ 922172 h 1451770"/>
                <a:gd name="connsiteX3203" fmla="*/ 2812645 w 3773795"/>
                <a:gd name="connsiteY3203" fmla="*/ 921936 h 1451770"/>
                <a:gd name="connsiteX3204" fmla="*/ 2806752 w 3773795"/>
                <a:gd name="connsiteY3204" fmla="*/ 919184 h 1451770"/>
                <a:gd name="connsiteX3205" fmla="*/ 2804699 w 3773795"/>
                <a:gd name="connsiteY3205" fmla="*/ 920052 h 1451770"/>
                <a:gd name="connsiteX3206" fmla="*/ 2800919 w 3773795"/>
                <a:gd name="connsiteY3206" fmla="*/ 926887 h 1451770"/>
                <a:gd name="connsiteX3207" fmla="*/ 2795968 w 3773795"/>
                <a:gd name="connsiteY3207" fmla="*/ 928550 h 1451770"/>
                <a:gd name="connsiteX3208" fmla="*/ 2793361 w 3773795"/>
                <a:gd name="connsiteY3208" fmla="*/ 927641 h 1451770"/>
                <a:gd name="connsiteX3209" fmla="*/ 2791094 w 3773795"/>
                <a:gd name="connsiteY3209" fmla="*/ 923330 h 1451770"/>
                <a:gd name="connsiteX3210" fmla="*/ 2789488 w 3773795"/>
                <a:gd name="connsiteY3210" fmla="*/ 921910 h 1451770"/>
                <a:gd name="connsiteX3211" fmla="*/ 2785025 w 3773795"/>
                <a:gd name="connsiteY3211" fmla="*/ 920607 h 1451770"/>
                <a:gd name="connsiteX3212" fmla="*/ 2761338 w 3773795"/>
                <a:gd name="connsiteY3212" fmla="*/ 921827 h 1451770"/>
                <a:gd name="connsiteX3213" fmla="*/ 2753378 w 3773795"/>
                <a:gd name="connsiteY3213" fmla="*/ 920779 h 1451770"/>
                <a:gd name="connsiteX3214" fmla="*/ 2747746 w 3773795"/>
                <a:gd name="connsiteY3214" fmla="*/ 920678 h 1451770"/>
                <a:gd name="connsiteX3215" fmla="*/ 2740120 w 3773795"/>
                <a:gd name="connsiteY3215" fmla="*/ 922895 h 1451770"/>
                <a:gd name="connsiteX3216" fmla="*/ 2732787 w 3773795"/>
                <a:gd name="connsiteY3216" fmla="*/ 922028 h 1451770"/>
                <a:gd name="connsiteX3217" fmla="*/ 2719256 w 3773795"/>
                <a:gd name="connsiteY3217" fmla="*/ 926278 h 1451770"/>
                <a:gd name="connsiteX3218" fmla="*/ 2713730 w 3773795"/>
                <a:gd name="connsiteY3218" fmla="*/ 929134 h 1451770"/>
                <a:gd name="connsiteX3219" fmla="*/ 2706986 w 3773795"/>
                <a:gd name="connsiteY3219" fmla="*/ 934119 h 1451770"/>
                <a:gd name="connsiteX3220" fmla="*/ 2701000 w 3773795"/>
                <a:gd name="connsiteY3220" fmla="*/ 942382 h 1451770"/>
                <a:gd name="connsiteX3221" fmla="*/ 2697645 w 3773795"/>
                <a:gd name="connsiteY3221" fmla="*/ 945500 h 1451770"/>
                <a:gd name="connsiteX3222" fmla="*/ 2691987 w 3773795"/>
                <a:gd name="connsiteY3222" fmla="*/ 949412 h 1451770"/>
                <a:gd name="connsiteX3223" fmla="*/ 2684041 w 3773795"/>
                <a:gd name="connsiteY3223" fmla="*/ 953003 h 1451770"/>
                <a:gd name="connsiteX3224" fmla="*/ 2679674 w 3773795"/>
                <a:gd name="connsiteY3224" fmla="*/ 956658 h 1451770"/>
                <a:gd name="connsiteX3225" fmla="*/ 2677347 w 3773795"/>
                <a:gd name="connsiteY3225" fmla="*/ 959597 h 1451770"/>
                <a:gd name="connsiteX3226" fmla="*/ 2673149 w 3773795"/>
                <a:gd name="connsiteY3226" fmla="*/ 970721 h 1451770"/>
                <a:gd name="connsiteX3227" fmla="*/ 2672082 w 3773795"/>
                <a:gd name="connsiteY3227" fmla="*/ 972377 h 1451770"/>
                <a:gd name="connsiteX3228" fmla="*/ 2662252 w 3773795"/>
                <a:gd name="connsiteY3228" fmla="*/ 976407 h 1451770"/>
                <a:gd name="connsiteX3229" fmla="*/ 2659139 w 3773795"/>
                <a:gd name="connsiteY3229" fmla="*/ 980814 h 1451770"/>
                <a:gd name="connsiteX3230" fmla="*/ 2657852 w 3773795"/>
                <a:gd name="connsiteY3230" fmla="*/ 981933 h 1451770"/>
                <a:gd name="connsiteX3231" fmla="*/ 2653781 w 3773795"/>
                <a:gd name="connsiteY3231" fmla="*/ 983793 h 1451770"/>
                <a:gd name="connsiteX3232" fmla="*/ 2651291 w 3773795"/>
                <a:gd name="connsiteY3232" fmla="*/ 986890 h 1451770"/>
                <a:gd name="connsiteX3233" fmla="*/ 2649903 w 3773795"/>
                <a:gd name="connsiteY3233" fmla="*/ 987799 h 1451770"/>
                <a:gd name="connsiteX3234" fmla="*/ 2644105 w 3773795"/>
                <a:gd name="connsiteY3234" fmla="*/ 989962 h 1451770"/>
                <a:gd name="connsiteX3235" fmla="*/ 2639330 w 3773795"/>
                <a:gd name="connsiteY3235" fmla="*/ 995456 h 1451770"/>
                <a:gd name="connsiteX3236" fmla="*/ 2632617 w 3773795"/>
                <a:gd name="connsiteY3236" fmla="*/ 999332 h 1451770"/>
                <a:gd name="connsiteX3237" fmla="*/ 2622792 w 3773795"/>
                <a:gd name="connsiteY3237" fmla="*/ 1009937 h 1451770"/>
                <a:gd name="connsiteX3238" fmla="*/ 2621959 w 3773795"/>
                <a:gd name="connsiteY3238" fmla="*/ 1011209 h 1451770"/>
                <a:gd name="connsiteX3239" fmla="*/ 2621086 w 3773795"/>
                <a:gd name="connsiteY3239" fmla="*/ 1014030 h 1451770"/>
                <a:gd name="connsiteX3240" fmla="*/ 2619608 w 3773795"/>
                <a:gd name="connsiteY3240" fmla="*/ 1016087 h 1451770"/>
                <a:gd name="connsiteX3241" fmla="*/ 2611155 w 3773795"/>
                <a:gd name="connsiteY3241" fmla="*/ 1025278 h 1451770"/>
                <a:gd name="connsiteX3242" fmla="*/ 2608533 w 3773795"/>
                <a:gd name="connsiteY3242" fmla="*/ 1026128 h 1451770"/>
                <a:gd name="connsiteX3243" fmla="*/ 2604357 w 3773795"/>
                <a:gd name="connsiteY3243" fmla="*/ 1030411 h 1451770"/>
                <a:gd name="connsiteX3244" fmla="*/ 2600062 w 3773795"/>
                <a:gd name="connsiteY3244" fmla="*/ 1032979 h 1451770"/>
                <a:gd name="connsiteX3245" fmla="*/ 2596132 w 3773795"/>
                <a:gd name="connsiteY3245" fmla="*/ 1035995 h 1451770"/>
                <a:gd name="connsiteX3246" fmla="*/ 2591299 w 3773795"/>
                <a:gd name="connsiteY3246" fmla="*/ 1039134 h 1451770"/>
                <a:gd name="connsiteX3247" fmla="*/ 2583929 w 3773795"/>
                <a:gd name="connsiteY3247" fmla="*/ 1042777 h 1451770"/>
                <a:gd name="connsiteX3248" fmla="*/ 2581517 w 3773795"/>
                <a:gd name="connsiteY3248" fmla="*/ 1044842 h 1451770"/>
                <a:gd name="connsiteX3249" fmla="*/ 2577626 w 3773795"/>
                <a:gd name="connsiteY3249" fmla="*/ 1049720 h 1451770"/>
                <a:gd name="connsiteX3250" fmla="*/ 2568241 w 3773795"/>
                <a:gd name="connsiteY3250" fmla="*/ 1055631 h 1451770"/>
                <a:gd name="connsiteX3251" fmla="*/ 2563594 w 3773795"/>
                <a:gd name="connsiteY3251" fmla="*/ 1057074 h 1451770"/>
                <a:gd name="connsiteX3252" fmla="*/ 2557444 w 3773795"/>
                <a:gd name="connsiteY3252" fmla="*/ 1062316 h 1451770"/>
                <a:gd name="connsiteX3253" fmla="*/ 2556831 w 3773795"/>
                <a:gd name="connsiteY3253" fmla="*/ 1063547 h 1451770"/>
                <a:gd name="connsiteX3254" fmla="*/ 2556317 w 3773795"/>
                <a:gd name="connsiteY3254" fmla="*/ 1065462 h 1451770"/>
                <a:gd name="connsiteX3255" fmla="*/ 2557339 w 3773795"/>
                <a:gd name="connsiteY3255" fmla="*/ 1068813 h 1451770"/>
                <a:gd name="connsiteX3256" fmla="*/ 2558835 w 3773795"/>
                <a:gd name="connsiteY3256" fmla="*/ 1069550 h 1451770"/>
                <a:gd name="connsiteX3257" fmla="*/ 2561320 w 3773795"/>
                <a:gd name="connsiteY3257" fmla="*/ 1070008 h 1451770"/>
                <a:gd name="connsiteX3258" fmla="*/ 2570470 w 3773795"/>
                <a:gd name="connsiteY3258" fmla="*/ 1073328 h 1451770"/>
                <a:gd name="connsiteX3259" fmla="*/ 2579015 w 3773795"/>
                <a:gd name="connsiteY3259" fmla="*/ 1072407 h 1451770"/>
                <a:gd name="connsiteX3260" fmla="*/ 2586583 w 3773795"/>
                <a:gd name="connsiteY3260" fmla="*/ 1072420 h 1451770"/>
                <a:gd name="connsiteX3261" fmla="*/ 2589552 w 3773795"/>
                <a:gd name="connsiteY3261" fmla="*/ 1072093 h 1451770"/>
                <a:gd name="connsiteX3262" fmla="*/ 2591381 w 3773795"/>
                <a:gd name="connsiteY3262" fmla="*/ 1072195 h 1451770"/>
                <a:gd name="connsiteX3263" fmla="*/ 2591967 w 3773795"/>
                <a:gd name="connsiteY3263" fmla="*/ 1074014 h 1451770"/>
                <a:gd name="connsiteX3264" fmla="*/ 2591893 w 3773795"/>
                <a:gd name="connsiteY3264" fmla="*/ 1077347 h 1451770"/>
                <a:gd name="connsiteX3265" fmla="*/ 2590788 w 3773795"/>
                <a:gd name="connsiteY3265" fmla="*/ 1080367 h 1451770"/>
                <a:gd name="connsiteX3266" fmla="*/ 2589881 w 3773795"/>
                <a:gd name="connsiteY3266" fmla="*/ 1089269 h 1451770"/>
                <a:gd name="connsiteX3267" fmla="*/ 2588855 w 3773795"/>
                <a:gd name="connsiteY3267" fmla="*/ 1093192 h 1451770"/>
                <a:gd name="connsiteX3268" fmla="*/ 2589647 w 3773795"/>
                <a:gd name="connsiteY3268" fmla="*/ 1097044 h 1451770"/>
                <a:gd name="connsiteX3269" fmla="*/ 2591500 w 3773795"/>
                <a:gd name="connsiteY3269" fmla="*/ 1097713 h 1451770"/>
                <a:gd name="connsiteX3270" fmla="*/ 2593353 w 3773795"/>
                <a:gd name="connsiteY3270" fmla="*/ 1095977 h 1451770"/>
                <a:gd name="connsiteX3271" fmla="*/ 2596279 w 3773795"/>
                <a:gd name="connsiteY3271" fmla="*/ 1095711 h 1451770"/>
                <a:gd name="connsiteX3272" fmla="*/ 2599300 w 3773795"/>
                <a:gd name="connsiteY3272" fmla="*/ 1096512 h 1451770"/>
                <a:gd name="connsiteX3273" fmla="*/ 2601569 w 3773795"/>
                <a:gd name="connsiteY3273" fmla="*/ 1090343 h 1451770"/>
                <a:gd name="connsiteX3274" fmla="*/ 2599678 w 3773795"/>
                <a:gd name="connsiteY3274" fmla="*/ 1089383 h 1451770"/>
                <a:gd name="connsiteX3275" fmla="*/ 2597991 w 3773795"/>
                <a:gd name="connsiteY3275" fmla="*/ 1087206 h 1451770"/>
                <a:gd name="connsiteX3276" fmla="*/ 2598996 w 3773795"/>
                <a:gd name="connsiteY3276" fmla="*/ 1085575 h 1451770"/>
                <a:gd name="connsiteX3277" fmla="*/ 2604216 w 3773795"/>
                <a:gd name="connsiteY3277" fmla="*/ 1082529 h 1451770"/>
                <a:gd name="connsiteX3278" fmla="*/ 2607475 w 3773795"/>
                <a:gd name="connsiteY3278" fmla="*/ 1082259 h 1451770"/>
                <a:gd name="connsiteX3279" fmla="*/ 2610591 w 3773795"/>
                <a:gd name="connsiteY3279" fmla="*/ 1082500 h 1451770"/>
                <a:gd name="connsiteX3280" fmla="*/ 2607211 w 3773795"/>
                <a:gd name="connsiteY3280" fmla="*/ 1086360 h 1451770"/>
                <a:gd name="connsiteX3281" fmla="*/ 2605843 w 3773795"/>
                <a:gd name="connsiteY3281" fmla="*/ 1087148 h 1451770"/>
                <a:gd name="connsiteX3282" fmla="*/ 2604784 w 3773795"/>
                <a:gd name="connsiteY3282" fmla="*/ 1087359 h 1451770"/>
                <a:gd name="connsiteX3283" fmla="*/ 2603366 w 3773795"/>
                <a:gd name="connsiteY3283" fmla="*/ 1088057 h 1451770"/>
                <a:gd name="connsiteX3284" fmla="*/ 2606400 w 3773795"/>
                <a:gd name="connsiteY3284" fmla="*/ 1090272 h 1451770"/>
                <a:gd name="connsiteX3285" fmla="*/ 2609635 w 3773795"/>
                <a:gd name="connsiteY3285" fmla="*/ 1092005 h 1451770"/>
                <a:gd name="connsiteX3286" fmla="*/ 2614323 w 3773795"/>
                <a:gd name="connsiteY3286" fmla="*/ 1092724 h 1451770"/>
                <a:gd name="connsiteX3287" fmla="*/ 2613248 w 3773795"/>
                <a:gd name="connsiteY3287" fmla="*/ 1094040 h 1451770"/>
                <a:gd name="connsiteX3288" fmla="*/ 2610123 w 3773795"/>
                <a:gd name="connsiteY3288" fmla="*/ 1095176 h 1451770"/>
                <a:gd name="connsiteX3289" fmla="*/ 2607296 w 3773795"/>
                <a:gd name="connsiteY3289" fmla="*/ 1099977 h 1451770"/>
                <a:gd name="connsiteX3290" fmla="*/ 2602800 w 3773795"/>
                <a:gd name="connsiteY3290" fmla="*/ 1102257 h 1451770"/>
                <a:gd name="connsiteX3291" fmla="*/ 2600761 w 3773795"/>
                <a:gd name="connsiteY3291" fmla="*/ 1103838 h 1451770"/>
                <a:gd name="connsiteX3292" fmla="*/ 2601474 w 3773795"/>
                <a:gd name="connsiteY3292" fmla="*/ 1104835 h 1451770"/>
                <a:gd name="connsiteX3293" fmla="*/ 2603124 w 3773795"/>
                <a:gd name="connsiteY3293" fmla="*/ 1105052 h 1451770"/>
                <a:gd name="connsiteX3294" fmla="*/ 2612187 w 3773795"/>
                <a:gd name="connsiteY3294" fmla="*/ 1104408 h 1451770"/>
                <a:gd name="connsiteX3295" fmla="*/ 2616881 w 3773795"/>
                <a:gd name="connsiteY3295" fmla="*/ 1103103 h 1451770"/>
                <a:gd name="connsiteX3296" fmla="*/ 2623569 w 3773795"/>
                <a:gd name="connsiteY3296" fmla="*/ 1099393 h 1451770"/>
                <a:gd name="connsiteX3297" fmla="*/ 2626354 w 3773795"/>
                <a:gd name="connsiteY3297" fmla="*/ 1093859 h 1451770"/>
                <a:gd name="connsiteX3298" fmla="*/ 2628890 w 3773795"/>
                <a:gd name="connsiteY3298" fmla="*/ 1092332 h 1451770"/>
                <a:gd name="connsiteX3299" fmla="*/ 2629650 w 3773795"/>
                <a:gd name="connsiteY3299" fmla="*/ 1092326 h 1451770"/>
                <a:gd name="connsiteX3300" fmla="*/ 2630539 w 3773795"/>
                <a:gd name="connsiteY3300" fmla="*/ 1092711 h 1451770"/>
                <a:gd name="connsiteX3301" fmla="*/ 2630561 w 3773795"/>
                <a:gd name="connsiteY3301" fmla="*/ 1096599 h 1451770"/>
                <a:gd name="connsiteX3302" fmla="*/ 2626976 w 3773795"/>
                <a:gd name="connsiteY3302" fmla="*/ 1100972 h 1451770"/>
                <a:gd name="connsiteX3303" fmla="*/ 2624438 w 3773795"/>
                <a:gd name="connsiteY3303" fmla="*/ 1103439 h 1451770"/>
                <a:gd name="connsiteX3304" fmla="*/ 2623498 w 3773795"/>
                <a:gd name="connsiteY3304" fmla="*/ 1105502 h 1451770"/>
                <a:gd name="connsiteX3305" fmla="*/ 2625059 w 3773795"/>
                <a:gd name="connsiteY3305" fmla="*/ 1105536 h 1451770"/>
                <a:gd name="connsiteX3306" fmla="*/ 2627942 w 3773795"/>
                <a:gd name="connsiteY3306" fmla="*/ 1105111 h 1451770"/>
                <a:gd name="connsiteX3307" fmla="*/ 2629274 w 3773795"/>
                <a:gd name="connsiteY3307" fmla="*/ 1104115 h 1451770"/>
                <a:gd name="connsiteX3308" fmla="*/ 2632587 w 3773795"/>
                <a:gd name="connsiteY3308" fmla="*/ 1098838 h 1451770"/>
                <a:gd name="connsiteX3309" fmla="*/ 2633442 w 3773795"/>
                <a:gd name="connsiteY3309" fmla="*/ 1095057 h 1451770"/>
                <a:gd name="connsiteX3310" fmla="*/ 2633934 w 3773795"/>
                <a:gd name="connsiteY3310" fmla="*/ 1089782 h 1451770"/>
                <a:gd name="connsiteX3311" fmla="*/ 2633558 w 3773795"/>
                <a:gd name="connsiteY3311" fmla="*/ 1086626 h 1451770"/>
                <a:gd name="connsiteX3312" fmla="*/ 2633807 w 3773795"/>
                <a:gd name="connsiteY3312" fmla="*/ 1084345 h 1451770"/>
                <a:gd name="connsiteX3313" fmla="*/ 2632509 w 3773795"/>
                <a:gd name="connsiteY3313" fmla="*/ 1082042 h 1451770"/>
                <a:gd name="connsiteX3314" fmla="*/ 2633359 w 3773795"/>
                <a:gd name="connsiteY3314" fmla="*/ 1081381 h 1451770"/>
                <a:gd name="connsiteX3315" fmla="*/ 2642412 w 3773795"/>
                <a:gd name="connsiteY3315" fmla="*/ 1084492 h 1451770"/>
                <a:gd name="connsiteX3316" fmla="*/ 2647158 w 3773795"/>
                <a:gd name="connsiteY3316" fmla="*/ 1085248 h 1451770"/>
                <a:gd name="connsiteX3317" fmla="*/ 2655731 w 3773795"/>
                <a:gd name="connsiteY3317" fmla="*/ 1082687 h 1451770"/>
                <a:gd name="connsiteX3318" fmla="*/ 2657679 w 3773795"/>
                <a:gd name="connsiteY3318" fmla="*/ 1083317 h 1451770"/>
                <a:gd name="connsiteX3319" fmla="*/ 2659070 w 3773795"/>
                <a:gd name="connsiteY3319" fmla="*/ 1084873 h 1451770"/>
                <a:gd name="connsiteX3320" fmla="*/ 2666152 w 3773795"/>
                <a:gd name="connsiteY3320" fmla="*/ 1089545 h 1451770"/>
                <a:gd name="connsiteX3321" fmla="*/ 2667545 w 3773795"/>
                <a:gd name="connsiteY3321" fmla="*/ 1091078 h 1451770"/>
                <a:gd name="connsiteX3322" fmla="*/ 2669875 w 3773795"/>
                <a:gd name="connsiteY3322" fmla="*/ 1096787 h 1451770"/>
                <a:gd name="connsiteX3323" fmla="*/ 2677405 w 3773795"/>
                <a:gd name="connsiteY3323" fmla="*/ 1103318 h 1451770"/>
                <a:gd name="connsiteX3324" fmla="*/ 2684438 w 3773795"/>
                <a:gd name="connsiteY3324" fmla="*/ 1106390 h 1451770"/>
                <a:gd name="connsiteX3325" fmla="*/ 2684645 w 3773795"/>
                <a:gd name="connsiteY3325" fmla="*/ 1107605 h 1451770"/>
                <a:gd name="connsiteX3326" fmla="*/ 2689126 w 3773795"/>
                <a:gd name="connsiteY3326" fmla="*/ 1111210 h 1451770"/>
                <a:gd name="connsiteX3327" fmla="*/ 2692577 w 3773795"/>
                <a:gd name="connsiteY3327" fmla="*/ 1112463 h 1451770"/>
                <a:gd name="connsiteX3328" fmla="*/ 2693203 w 3773795"/>
                <a:gd name="connsiteY3328" fmla="*/ 1115731 h 1451770"/>
                <a:gd name="connsiteX3329" fmla="*/ 2691564 w 3773795"/>
                <a:gd name="connsiteY3329" fmla="*/ 1118332 h 1451770"/>
                <a:gd name="connsiteX3330" fmla="*/ 2688320 w 3773795"/>
                <a:gd name="connsiteY3330" fmla="*/ 1120789 h 1451770"/>
                <a:gd name="connsiteX3331" fmla="*/ 2681821 w 3773795"/>
                <a:gd name="connsiteY3331" fmla="*/ 1118505 h 1451770"/>
                <a:gd name="connsiteX3332" fmla="*/ 2680767 w 3773795"/>
                <a:gd name="connsiteY3332" fmla="*/ 1118613 h 1451770"/>
                <a:gd name="connsiteX3333" fmla="*/ 2681538 w 3773795"/>
                <a:gd name="connsiteY3333" fmla="*/ 1120053 h 1451770"/>
                <a:gd name="connsiteX3334" fmla="*/ 2686232 w 3773795"/>
                <a:gd name="connsiteY3334" fmla="*/ 1124312 h 1451770"/>
                <a:gd name="connsiteX3335" fmla="*/ 2689970 w 3773795"/>
                <a:gd name="connsiteY3335" fmla="*/ 1126028 h 1451770"/>
                <a:gd name="connsiteX3336" fmla="*/ 2690192 w 3773795"/>
                <a:gd name="connsiteY3336" fmla="*/ 1131626 h 1451770"/>
                <a:gd name="connsiteX3337" fmla="*/ 2689730 w 3773795"/>
                <a:gd name="connsiteY3337" fmla="*/ 1134678 h 1451770"/>
                <a:gd name="connsiteX3338" fmla="*/ 2687241 w 3773795"/>
                <a:gd name="connsiteY3338" fmla="*/ 1138083 h 1451770"/>
                <a:gd name="connsiteX3339" fmla="*/ 2688068 w 3773795"/>
                <a:gd name="connsiteY3339" fmla="*/ 1140083 h 1451770"/>
                <a:gd name="connsiteX3340" fmla="*/ 2691602 w 3773795"/>
                <a:gd name="connsiteY3340" fmla="*/ 1142971 h 1451770"/>
                <a:gd name="connsiteX3341" fmla="*/ 2693359 w 3773795"/>
                <a:gd name="connsiteY3341" fmla="*/ 1144063 h 1451770"/>
                <a:gd name="connsiteX3342" fmla="*/ 2695043 w 3773795"/>
                <a:gd name="connsiteY3342" fmla="*/ 1145717 h 1451770"/>
                <a:gd name="connsiteX3343" fmla="*/ 2692838 w 3773795"/>
                <a:gd name="connsiteY3343" fmla="*/ 1149309 h 1451770"/>
                <a:gd name="connsiteX3344" fmla="*/ 2692426 w 3773795"/>
                <a:gd name="connsiteY3344" fmla="*/ 1153347 h 1451770"/>
                <a:gd name="connsiteX3345" fmla="*/ 2690027 w 3773795"/>
                <a:gd name="connsiteY3345" fmla="*/ 1155117 h 1451770"/>
                <a:gd name="connsiteX3346" fmla="*/ 2687174 w 3773795"/>
                <a:gd name="connsiteY3346" fmla="*/ 1159038 h 1451770"/>
                <a:gd name="connsiteX3347" fmla="*/ 2682822 w 3773795"/>
                <a:gd name="connsiteY3347" fmla="*/ 1162214 h 1451770"/>
                <a:gd name="connsiteX3348" fmla="*/ 2680743 w 3773795"/>
                <a:gd name="connsiteY3348" fmla="*/ 1168262 h 1451770"/>
                <a:gd name="connsiteX3349" fmla="*/ 2677407 w 3773795"/>
                <a:gd name="connsiteY3349" fmla="*/ 1173596 h 1451770"/>
                <a:gd name="connsiteX3350" fmla="*/ 2677031 w 3773795"/>
                <a:gd name="connsiteY3350" fmla="*/ 1178891 h 1451770"/>
                <a:gd name="connsiteX3351" fmla="*/ 2676476 w 3773795"/>
                <a:gd name="connsiteY3351" fmla="*/ 1180777 h 1451770"/>
                <a:gd name="connsiteX3352" fmla="*/ 2673719 w 3773795"/>
                <a:gd name="connsiteY3352" fmla="*/ 1186220 h 1451770"/>
                <a:gd name="connsiteX3353" fmla="*/ 2672734 w 3773795"/>
                <a:gd name="connsiteY3353" fmla="*/ 1193616 h 1451770"/>
                <a:gd name="connsiteX3354" fmla="*/ 2674040 w 3773795"/>
                <a:gd name="connsiteY3354" fmla="*/ 1205650 h 1451770"/>
                <a:gd name="connsiteX3355" fmla="*/ 2674672 w 3773795"/>
                <a:gd name="connsiteY3355" fmla="*/ 1206346 h 1451770"/>
                <a:gd name="connsiteX3356" fmla="*/ 2676010 w 3773795"/>
                <a:gd name="connsiteY3356" fmla="*/ 1207047 h 1451770"/>
                <a:gd name="connsiteX3357" fmla="*/ 2675762 w 3773795"/>
                <a:gd name="connsiteY3357" fmla="*/ 1207876 h 1451770"/>
                <a:gd name="connsiteX3358" fmla="*/ 2675127 w 3773795"/>
                <a:gd name="connsiteY3358" fmla="*/ 1208464 h 1451770"/>
                <a:gd name="connsiteX3359" fmla="*/ 2672431 w 3773795"/>
                <a:gd name="connsiteY3359" fmla="*/ 1211981 h 1451770"/>
                <a:gd name="connsiteX3360" fmla="*/ 2672473 w 3773795"/>
                <a:gd name="connsiteY3360" fmla="*/ 1214457 h 1451770"/>
                <a:gd name="connsiteX3361" fmla="*/ 2673507 w 3773795"/>
                <a:gd name="connsiteY3361" fmla="*/ 1216297 h 1451770"/>
                <a:gd name="connsiteX3362" fmla="*/ 2673636 w 3773795"/>
                <a:gd name="connsiteY3362" fmla="*/ 1221057 h 1451770"/>
                <a:gd name="connsiteX3363" fmla="*/ 2671732 w 3773795"/>
                <a:gd name="connsiteY3363" fmla="*/ 1228649 h 1451770"/>
                <a:gd name="connsiteX3364" fmla="*/ 2671026 w 3773795"/>
                <a:gd name="connsiteY3364" fmla="*/ 1229843 h 1451770"/>
                <a:gd name="connsiteX3365" fmla="*/ 2670257 w 3773795"/>
                <a:gd name="connsiteY3365" fmla="*/ 1231816 h 1451770"/>
                <a:gd name="connsiteX3366" fmla="*/ 2669910 w 3773795"/>
                <a:gd name="connsiteY3366" fmla="*/ 1233580 h 1451770"/>
                <a:gd name="connsiteX3367" fmla="*/ 2669400 w 3773795"/>
                <a:gd name="connsiteY3367" fmla="*/ 1234699 h 1451770"/>
                <a:gd name="connsiteX3368" fmla="*/ 2669033 w 3773795"/>
                <a:gd name="connsiteY3368" fmla="*/ 1236587 h 1451770"/>
                <a:gd name="connsiteX3369" fmla="*/ 2669579 w 3773795"/>
                <a:gd name="connsiteY3369" fmla="*/ 1238273 h 1451770"/>
                <a:gd name="connsiteX3370" fmla="*/ 2670566 w 3773795"/>
                <a:gd name="connsiteY3370" fmla="*/ 1239150 h 1451770"/>
                <a:gd name="connsiteX3371" fmla="*/ 2667158 w 3773795"/>
                <a:gd name="connsiteY3371" fmla="*/ 1244599 h 1451770"/>
                <a:gd name="connsiteX3372" fmla="*/ 2665973 w 3773795"/>
                <a:gd name="connsiteY3372" fmla="*/ 1251680 h 1451770"/>
                <a:gd name="connsiteX3373" fmla="*/ 2664706 w 3773795"/>
                <a:gd name="connsiteY3373" fmla="*/ 1254546 h 1451770"/>
                <a:gd name="connsiteX3374" fmla="*/ 2662166 w 3773795"/>
                <a:gd name="connsiteY3374" fmla="*/ 1257347 h 1451770"/>
                <a:gd name="connsiteX3375" fmla="*/ 2656910 w 3773795"/>
                <a:gd name="connsiteY3375" fmla="*/ 1261399 h 1451770"/>
                <a:gd name="connsiteX3376" fmla="*/ 2655043 w 3773795"/>
                <a:gd name="connsiteY3376" fmla="*/ 1263962 h 1451770"/>
                <a:gd name="connsiteX3377" fmla="*/ 2651598 w 3773795"/>
                <a:gd name="connsiteY3377" fmla="*/ 1267196 h 1451770"/>
                <a:gd name="connsiteX3378" fmla="*/ 2648328 w 3773795"/>
                <a:gd name="connsiteY3378" fmla="*/ 1269676 h 1451770"/>
                <a:gd name="connsiteX3379" fmla="*/ 2643781 w 3773795"/>
                <a:gd name="connsiteY3379" fmla="*/ 1276781 h 1451770"/>
                <a:gd name="connsiteX3380" fmla="*/ 2640119 w 3773795"/>
                <a:gd name="connsiteY3380" fmla="*/ 1283841 h 1451770"/>
                <a:gd name="connsiteX3381" fmla="*/ 2630952 w 3773795"/>
                <a:gd name="connsiteY3381" fmla="*/ 1292963 h 1451770"/>
                <a:gd name="connsiteX3382" fmla="*/ 2629689 w 3773795"/>
                <a:gd name="connsiteY3382" fmla="*/ 1295224 h 1451770"/>
                <a:gd name="connsiteX3383" fmla="*/ 2629043 w 3773795"/>
                <a:gd name="connsiteY3383" fmla="*/ 1297633 h 1451770"/>
                <a:gd name="connsiteX3384" fmla="*/ 2626640 w 3773795"/>
                <a:gd name="connsiteY3384" fmla="*/ 1301666 h 1451770"/>
                <a:gd name="connsiteX3385" fmla="*/ 2625426 w 3773795"/>
                <a:gd name="connsiteY3385" fmla="*/ 1307273 h 1451770"/>
                <a:gd name="connsiteX3386" fmla="*/ 2622624 w 3773795"/>
                <a:gd name="connsiteY3386" fmla="*/ 1309506 h 1451770"/>
                <a:gd name="connsiteX3387" fmla="*/ 2620328 w 3773795"/>
                <a:gd name="connsiteY3387" fmla="*/ 1315388 h 1451770"/>
                <a:gd name="connsiteX3388" fmla="*/ 2612872 w 3773795"/>
                <a:gd name="connsiteY3388" fmla="*/ 1324295 h 1451770"/>
                <a:gd name="connsiteX3389" fmla="*/ 2611021 w 3773795"/>
                <a:gd name="connsiteY3389" fmla="*/ 1327333 h 1451770"/>
                <a:gd name="connsiteX3390" fmla="*/ 2605266 w 3773795"/>
                <a:gd name="connsiteY3390" fmla="*/ 1332244 h 1451770"/>
                <a:gd name="connsiteX3391" fmla="*/ 2599114 w 3773795"/>
                <a:gd name="connsiteY3391" fmla="*/ 1339017 h 1451770"/>
                <a:gd name="connsiteX3392" fmla="*/ 2591519 w 3773795"/>
                <a:gd name="connsiteY3392" fmla="*/ 1345112 h 1451770"/>
                <a:gd name="connsiteX3393" fmla="*/ 2590054 w 3773795"/>
                <a:gd name="connsiteY3393" fmla="*/ 1347606 h 1451770"/>
                <a:gd name="connsiteX3394" fmla="*/ 2587110 w 3773795"/>
                <a:gd name="connsiteY3394" fmla="*/ 1350390 h 1451770"/>
                <a:gd name="connsiteX3395" fmla="*/ 2583934 w 3773795"/>
                <a:gd name="connsiteY3395" fmla="*/ 1354651 h 1451770"/>
                <a:gd name="connsiteX3396" fmla="*/ 2579306 w 3773795"/>
                <a:gd name="connsiteY3396" fmla="*/ 1358886 h 1451770"/>
                <a:gd name="connsiteX3397" fmla="*/ 2578367 w 3773795"/>
                <a:gd name="connsiteY3397" fmla="*/ 1361739 h 1451770"/>
                <a:gd name="connsiteX3398" fmla="*/ 2576899 w 3773795"/>
                <a:gd name="connsiteY3398" fmla="*/ 1363721 h 1451770"/>
                <a:gd name="connsiteX3399" fmla="*/ 2573465 w 3773795"/>
                <a:gd name="connsiteY3399" fmla="*/ 1365061 h 1451770"/>
                <a:gd name="connsiteX3400" fmla="*/ 2570980 w 3773795"/>
                <a:gd name="connsiteY3400" fmla="*/ 1366863 h 1451770"/>
                <a:gd name="connsiteX3401" fmla="*/ 2563430 w 3773795"/>
                <a:gd name="connsiteY3401" fmla="*/ 1377761 h 1451770"/>
                <a:gd name="connsiteX3402" fmla="*/ 2562454 w 3773795"/>
                <a:gd name="connsiteY3402" fmla="*/ 1379725 h 1451770"/>
                <a:gd name="connsiteX3403" fmla="*/ 2562329 w 3773795"/>
                <a:gd name="connsiteY3403" fmla="*/ 1381450 h 1451770"/>
                <a:gd name="connsiteX3404" fmla="*/ 2557393 w 3773795"/>
                <a:gd name="connsiteY3404" fmla="*/ 1385510 h 1451770"/>
                <a:gd name="connsiteX3405" fmla="*/ 2554538 w 3773795"/>
                <a:gd name="connsiteY3405" fmla="*/ 1389793 h 1451770"/>
                <a:gd name="connsiteX3406" fmla="*/ 2549804 w 3773795"/>
                <a:gd name="connsiteY3406" fmla="*/ 1392463 h 1451770"/>
                <a:gd name="connsiteX3407" fmla="*/ 2544825 w 3773795"/>
                <a:gd name="connsiteY3407" fmla="*/ 1396120 h 1451770"/>
                <a:gd name="connsiteX3408" fmla="*/ 2532987 w 3773795"/>
                <a:gd name="connsiteY3408" fmla="*/ 1402788 h 1451770"/>
                <a:gd name="connsiteX3409" fmla="*/ 2529759 w 3773795"/>
                <a:gd name="connsiteY3409" fmla="*/ 1405325 h 1451770"/>
                <a:gd name="connsiteX3410" fmla="*/ 2523102 w 3773795"/>
                <a:gd name="connsiteY3410" fmla="*/ 1408472 h 1451770"/>
                <a:gd name="connsiteX3411" fmla="*/ 2520389 w 3773795"/>
                <a:gd name="connsiteY3411" fmla="*/ 1408518 h 1451770"/>
                <a:gd name="connsiteX3412" fmla="*/ 2514702 w 3773795"/>
                <a:gd name="connsiteY3412" fmla="*/ 1410239 h 1451770"/>
                <a:gd name="connsiteX3413" fmla="*/ 2510953 w 3773795"/>
                <a:gd name="connsiteY3413" fmla="*/ 1412027 h 1451770"/>
                <a:gd name="connsiteX3414" fmla="*/ 2508728 w 3773795"/>
                <a:gd name="connsiteY3414" fmla="*/ 1411337 h 1451770"/>
                <a:gd name="connsiteX3415" fmla="*/ 2507340 w 3773795"/>
                <a:gd name="connsiteY3415" fmla="*/ 1409058 h 1451770"/>
                <a:gd name="connsiteX3416" fmla="*/ 2505733 w 3773795"/>
                <a:gd name="connsiteY3416" fmla="*/ 1409131 h 1451770"/>
                <a:gd name="connsiteX3417" fmla="*/ 2504399 w 3773795"/>
                <a:gd name="connsiteY3417" fmla="*/ 1409440 h 1451770"/>
                <a:gd name="connsiteX3418" fmla="*/ 2500981 w 3773795"/>
                <a:gd name="connsiteY3418" fmla="*/ 1407244 h 1451770"/>
                <a:gd name="connsiteX3419" fmla="*/ 2498051 w 3773795"/>
                <a:gd name="connsiteY3419" fmla="*/ 1407357 h 1451770"/>
                <a:gd name="connsiteX3420" fmla="*/ 2495948 w 3773795"/>
                <a:gd name="connsiteY3420" fmla="*/ 1406335 h 1451770"/>
                <a:gd name="connsiteX3421" fmla="*/ 2492021 w 3773795"/>
                <a:gd name="connsiteY3421" fmla="*/ 1407044 h 1451770"/>
                <a:gd name="connsiteX3422" fmla="*/ 2492698 w 3773795"/>
                <a:gd name="connsiteY3422" fmla="*/ 1397514 h 1451770"/>
                <a:gd name="connsiteX3423" fmla="*/ 2492149 w 3773795"/>
                <a:gd name="connsiteY3423" fmla="*/ 1395503 h 1451770"/>
                <a:gd name="connsiteX3424" fmla="*/ 2490460 w 3773795"/>
                <a:gd name="connsiteY3424" fmla="*/ 1397343 h 1451770"/>
                <a:gd name="connsiteX3425" fmla="*/ 2485938 w 3773795"/>
                <a:gd name="connsiteY3425" fmla="*/ 1400728 h 1451770"/>
                <a:gd name="connsiteX3426" fmla="*/ 2484138 w 3773795"/>
                <a:gd name="connsiteY3426" fmla="*/ 1401360 h 1451770"/>
                <a:gd name="connsiteX3427" fmla="*/ 2482354 w 3773795"/>
                <a:gd name="connsiteY3427" fmla="*/ 1401366 h 1451770"/>
                <a:gd name="connsiteX3428" fmla="*/ 2483055 w 3773795"/>
                <a:gd name="connsiteY3428" fmla="*/ 1399338 h 1451770"/>
                <a:gd name="connsiteX3429" fmla="*/ 2485593 w 3773795"/>
                <a:gd name="connsiteY3429" fmla="*/ 1396403 h 1451770"/>
                <a:gd name="connsiteX3430" fmla="*/ 2484779 w 3773795"/>
                <a:gd name="connsiteY3430" fmla="*/ 1395973 h 1451770"/>
                <a:gd name="connsiteX3431" fmla="*/ 2483954 w 3773795"/>
                <a:gd name="connsiteY3431" fmla="*/ 1395814 h 1451770"/>
                <a:gd name="connsiteX3432" fmla="*/ 2480765 w 3773795"/>
                <a:gd name="connsiteY3432" fmla="*/ 1397069 h 1451770"/>
                <a:gd name="connsiteX3433" fmla="*/ 2479158 w 3773795"/>
                <a:gd name="connsiteY3433" fmla="*/ 1398482 h 1451770"/>
                <a:gd name="connsiteX3434" fmla="*/ 2474610 w 3773795"/>
                <a:gd name="connsiteY3434" fmla="*/ 1404014 h 1451770"/>
                <a:gd name="connsiteX3435" fmla="*/ 2471887 w 3773795"/>
                <a:gd name="connsiteY3435" fmla="*/ 1408676 h 1451770"/>
                <a:gd name="connsiteX3436" fmla="*/ 2469659 w 3773795"/>
                <a:gd name="connsiteY3436" fmla="*/ 1410018 h 1451770"/>
                <a:gd name="connsiteX3437" fmla="*/ 2468616 w 3773795"/>
                <a:gd name="connsiteY3437" fmla="*/ 1412015 h 1451770"/>
                <a:gd name="connsiteX3438" fmla="*/ 2466691 w 3773795"/>
                <a:gd name="connsiteY3438" fmla="*/ 1413922 h 1451770"/>
                <a:gd name="connsiteX3439" fmla="*/ 2463740 w 3773795"/>
                <a:gd name="connsiteY3439" fmla="*/ 1413411 h 1451770"/>
                <a:gd name="connsiteX3440" fmla="*/ 2461991 w 3773795"/>
                <a:gd name="connsiteY3440" fmla="*/ 1413711 h 1451770"/>
                <a:gd name="connsiteX3441" fmla="*/ 2457800 w 3773795"/>
                <a:gd name="connsiteY3441" fmla="*/ 1412660 h 1451770"/>
                <a:gd name="connsiteX3442" fmla="*/ 2456766 w 3773795"/>
                <a:gd name="connsiteY3442" fmla="*/ 1413111 h 1451770"/>
                <a:gd name="connsiteX3443" fmla="*/ 2459525 w 3773795"/>
                <a:gd name="connsiteY3443" fmla="*/ 1416673 h 1451770"/>
                <a:gd name="connsiteX3444" fmla="*/ 2457219 w 3773795"/>
                <a:gd name="connsiteY3444" fmla="*/ 1421928 h 1451770"/>
                <a:gd name="connsiteX3445" fmla="*/ 2456277 w 3773795"/>
                <a:gd name="connsiteY3445" fmla="*/ 1422547 h 1451770"/>
                <a:gd name="connsiteX3446" fmla="*/ 2455629 w 3773795"/>
                <a:gd name="connsiteY3446" fmla="*/ 1421875 h 1451770"/>
                <a:gd name="connsiteX3447" fmla="*/ 2455487 w 3773795"/>
                <a:gd name="connsiteY3447" fmla="*/ 1420684 h 1451770"/>
                <a:gd name="connsiteX3448" fmla="*/ 2454744 w 3773795"/>
                <a:gd name="connsiteY3448" fmla="*/ 1419535 h 1451770"/>
                <a:gd name="connsiteX3449" fmla="*/ 2453332 w 3773795"/>
                <a:gd name="connsiteY3449" fmla="*/ 1417960 h 1451770"/>
                <a:gd name="connsiteX3450" fmla="*/ 2452732 w 3773795"/>
                <a:gd name="connsiteY3450" fmla="*/ 1416341 h 1451770"/>
                <a:gd name="connsiteX3451" fmla="*/ 2454003 w 3773795"/>
                <a:gd name="connsiteY3451" fmla="*/ 1415489 h 1451770"/>
                <a:gd name="connsiteX3452" fmla="*/ 2453829 w 3773795"/>
                <a:gd name="connsiteY3452" fmla="*/ 1413997 h 1451770"/>
                <a:gd name="connsiteX3453" fmla="*/ 2452591 w 3773795"/>
                <a:gd name="connsiteY3453" fmla="*/ 1412632 h 1451770"/>
                <a:gd name="connsiteX3454" fmla="*/ 2450792 w 3773795"/>
                <a:gd name="connsiteY3454" fmla="*/ 1412332 h 1451770"/>
                <a:gd name="connsiteX3455" fmla="*/ 2450364 w 3773795"/>
                <a:gd name="connsiteY3455" fmla="*/ 1411950 h 1451770"/>
                <a:gd name="connsiteX3456" fmla="*/ 2450472 w 3773795"/>
                <a:gd name="connsiteY3456" fmla="*/ 1411223 h 1451770"/>
                <a:gd name="connsiteX3457" fmla="*/ 2451090 w 3773795"/>
                <a:gd name="connsiteY3457" fmla="*/ 1410465 h 1451770"/>
                <a:gd name="connsiteX3458" fmla="*/ 2451980 w 3773795"/>
                <a:gd name="connsiteY3458" fmla="*/ 1409831 h 1451770"/>
                <a:gd name="connsiteX3459" fmla="*/ 2453843 w 3773795"/>
                <a:gd name="connsiteY3459" fmla="*/ 1408962 h 1451770"/>
                <a:gd name="connsiteX3460" fmla="*/ 2457055 w 3773795"/>
                <a:gd name="connsiteY3460" fmla="*/ 1408314 h 1451770"/>
                <a:gd name="connsiteX3461" fmla="*/ 2458842 w 3773795"/>
                <a:gd name="connsiteY3461" fmla="*/ 1407752 h 1451770"/>
                <a:gd name="connsiteX3462" fmla="*/ 2460285 w 3773795"/>
                <a:gd name="connsiteY3462" fmla="*/ 1407578 h 1451770"/>
                <a:gd name="connsiteX3463" fmla="*/ 2461928 w 3773795"/>
                <a:gd name="connsiteY3463" fmla="*/ 1407888 h 1451770"/>
                <a:gd name="connsiteX3464" fmla="*/ 2463315 w 3773795"/>
                <a:gd name="connsiteY3464" fmla="*/ 1407049 h 1451770"/>
                <a:gd name="connsiteX3465" fmla="*/ 2464708 w 3773795"/>
                <a:gd name="connsiteY3465" fmla="*/ 1406536 h 1451770"/>
                <a:gd name="connsiteX3466" fmla="*/ 2465038 w 3773795"/>
                <a:gd name="connsiteY3466" fmla="*/ 1405089 h 1451770"/>
                <a:gd name="connsiteX3467" fmla="*/ 2465096 w 3773795"/>
                <a:gd name="connsiteY3467" fmla="*/ 1402897 h 1451770"/>
                <a:gd name="connsiteX3468" fmla="*/ 2465601 w 3773795"/>
                <a:gd name="connsiteY3468" fmla="*/ 1402244 h 1451770"/>
                <a:gd name="connsiteX3469" fmla="*/ 2466189 w 3773795"/>
                <a:gd name="connsiteY3469" fmla="*/ 1401301 h 1451770"/>
                <a:gd name="connsiteX3470" fmla="*/ 2467074 w 3773795"/>
                <a:gd name="connsiteY3470" fmla="*/ 1400105 h 1451770"/>
                <a:gd name="connsiteX3471" fmla="*/ 2467877 w 3773795"/>
                <a:gd name="connsiteY3471" fmla="*/ 1397002 h 1451770"/>
                <a:gd name="connsiteX3472" fmla="*/ 2468484 w 3773795"/>
                <a:gd name="connsiteY3472" fmla="*/ 1394855 h 1451770"/>
                <a:gd name="connsiteX3473" fmla="*/ 2468882 w 3773795"/>
                <a:gd name="connsiteY3473" fmla="*/ 1393768 h 1451770"/>
                <a:gd name="connsiteX3474" fmla="*/ 2468980 w 3773795"/>
                <a:gd name="connsiteY3474" fmla="*/ 1392288 h 1451770"/>
                <a:gd name="connsiteX3475" fmla="*/ 2468586 w 3773795"/>
                <a:gd name="connsiteY3475" fmla="*/ 1391320 h 1451770"/>
                <a:gd name="connsiteX3476" fmla="*/ 2467817 w 3773795"/>
                <a:gd name="connsiteY3476" fmla="*/ 1390744 h 1451770"/>
                <a:gd name="connsiteX3477" fmla="*/ 2467225 w 3773795"/>
                <a:gd name="connsiteY3477" fmla="*/ 1390336 h 1451770"/>
                <a:gd name="connsiteX3478" fmla="*/ 2467173 w 3773795"/>
                <a:gd name="connsiteY3478" fmla="*/ 1388679 h 1451770"/>
                <a:gd name="connsiteX3479" fmla="*/ 2467251 w 3773795"/>
                <a:gd name="connsiteY3479" fmla="*/ 1386420 h 1451770"/>
                <a:gd name="connsiteX3480" fmla="*/ 2467044 w 3773795"/>
                <a:gd name="connsiteY3480" fmla="*/ 1384967 h 1451770"/>
                <a:gd name="connsiteX3481" fmla="*/ 2467908 w 3773795"/>
                <a:gd name="connsiteY3481" fmla="*/ 1376910 h 1451770"/>
                <a:gd name="connsiteX3482" fmla="*/ 2468836 w 3773795"/>
                <a:gd name="connsiteY3482" fmla="*/ 1375051 h 1451770"/>
                <a:gd name="connsiteX3483" fmla="*/ 2465973 w 3773795"/>
                <a:gd name="connsiteY3483" fmla="*/ 1364263 h 1451770"/>
                <a:gd name="connsiteX3484" fmla="*/ 2465113 w 3773795"/>
                <a:gd name="connsiteY3484" fmla="*/ 1360823 h 1451770"/>
                <a:gd name="connsiteX3485" fmla="*/ 2464533 w 3773795"/>
                <a:gd name="connsiteY3485" fmla="*/ 1359080 h 1451770"/>
                <a:gd name="connsiteX3486" fmla="*/ 2463278 w 3773795"/>
                <a:gd name="connsiteY3486" fmla="*/ 1356530 h 1451770"/>
                <a:gd name="connsiteX3487" fmla="*/ 2462479 w 3773795"/>
                <a:gd name="connsiteY3487" fmla="*/ 1355256 h 1451770"/>
                <a:gd name="connsiteX3488" fmla="*/ 2462785 w 3773795"/>
                <a:gd name="connsiteY3488" fmla="*/ 1354045 h 1451770"/>
                <a:gd name="connsiteX3489" fmla="*/ 2463921 w 3773795"/>
                <a:gd name="connsiteY3489" fmla="*/ 1352830 h 1451770"/>
                <a:gd name="connsiteX3490" fmla="*/ 2465012 w 3773795"/>
                <a:gd name="connsiteY3490" fmla="*/ 1352252 h 1451770"/>
                <a:gd name="connsiteX3491" fmla="*/ 2468232 w 3773795"/>
                <a:gd name="connsiteY3491" fmla="*/ 1351975 h 1451770"/>
                <a:gd name="connsiteX3492" fmla="*/ 2469123 w 3773795"/>
                <a:gd name="connsiteY3492" fmla="*/ 1351539 h 1451770"/>
                <a:gd name="connsiteX3493" fmla="*/ 2473072 w 3773795"/>
                <a:gd name="connsiteY3493" fmla="*/ 1350230 h 1451770"/>
                <a:gd name="connsiteX3494" fmla="*/ 2473972 w 3773795"/>
                <a:gd name="connsiteY3494" fmla="*/ 1349435 h 1451770"/>
                <a:gd name="connsiteX3495" fmla="*/ 2475988 w 3773795"/>
                <a:gd name="connsiteY3495" fmla="*/ 1347507 h 1451770"/>
                <a:gd name="connsiteX3496" fmla="*/ 2476767 w 3773795"/>
                <a:gd name="connsiteY3496" fmla="*/ 1346059 h 1451770"/>
                <a:gd name="connsiteX3497" fmla="*/ 2477653 w 3773795"/>
                <a:gd name="connsiteY3497" fmla="*/ 1344175 h 1451770"/>
                <a:gd name="connsiteX3498" fmla="*/ 2479601 w 3773795"/>
                <a:gd name="connsiteY3498" fmla="*/ 1343154 h 1451770"/>
                <a:gd name="connsiteX3499" fmla="*/ 2480769 w 3773795"/>
                <a:gd name="connsiteY3499" fmla="*/ 1341437 h 1451770"/>
                <a:gd name="connsiteX3500" fmla="*/ 2482028 w 3773795"/>
                <a:gd name="connsiteY3500" fmla="*/ 1340845 h 1451770"/>
                <a:gd name="connsiteX3501" fmla="*/ 2483297 w 3773795"/>
                <a:gd name="connsiteY3501" fmla="*/ 1342302 h 1451770"/>
                <a:gd name="connsiteX3502" fmla="*/ 2484807 w 3773795"/>
                <a:gd name="connsiteY3502" fmla="*/ 1343117 h 1451770"/>
                <a:gd name="connsiteX3503" fmla="*/ 2486793 w 3773795"/>
                <a:gd name="connsiteY3503" fmla="*/ 1343611 h 1451770"/>
                <a:gd name="connsiteX3504" fmla="*/ 2489313 w 3773795"/>
                <a:gd name="connsiteY3504" fmla="*/ 1344232 h 1451770"/>
                <a:gd name="connsiteX3505" fmla="*/ 2493330 w 3773795"/>
                <a:gd name="connsiteY3505" fmla="*/ 1345418 h 1451770"/>
                <a:gd name="connsiteX3506" fmla="*/ 2497444 w 3773795"/>
                <a:gd name="connsiteY3506" fmla="*/ 1346435 h 1451770"/>
                <a:gd name="connsiteX3507" fmla="*/ 2500022 w 3773795"/>
                <a:gd name="connsiteY3507" fmla="*/ 1347232 h 1451770"/>
                <a:gd name="connsiteX3508" fmla="*/ 2501294 w 3773795"/>
                <a:gd name="connsiteY3508" fmla="*/ 1347591 h 1451770"/>
                <a:gd name="connsiteX3509" fmla="*/ 2503848 w 3773795"/>
                <a:gd name="connsiteY3509" fmla="*/ 1348122 h 1451770"/>
                <a:gd name="connsiteX3510" fmla="*/ 2504956 w 3773795"/>
                <a:gd name="connsiteY3510" fmla="*/ 1348535 h 1451770"/>
                <a:gd name="connsiteX3511" fmla="*/ 2506001 w 3773795"/>
                <a:gd name="connsiteY3511" fmla="*/ 1348976 h 1451770"/>
                <a:gd name="connsiteX3512" fmla="*/ 2507675 w 3773795"/>
                <a:gd name="connsiteY3512" fmla="*/ 1347755 h 1451770"/>
                <a:gd name="connsiteX3513" fmla="*/ 2509925 w 3773795"/>
                <a:gd name="connsiteY3513" fmla="*/ 1346219 h 1451770"/>
                <a:gd name="connsiteX3514" fmla="*/ 2509558 w 3773795"/>
                <a:gd name="connsiteY3514" fmla="*/ 1343761 h 1451770"/>
                <a:gd name="connsiteX3515" fmla="*/ 2509923 w 3773795"/>
                <a:gd name="connsiteY3515" fmla="*/ 1340994 h 1451770"/>
                <a:gd name="connsiteX3516" fmla="*/ 2511530 w 3773795"/>
                <a:gd name="connsiteY3516" fmla="*/ 1336235 h 1451770"/>
                <a:gd name="connsiteX3517" fmla="*/ 2513320 w 3773795"/>
                <a:gd name="connsiteY3517" fmla="*/ 1334849 h 1451770"/>
                <a:gd name="connsiteX3518" fmla="*/ 2514261 w 3773795"/>
                <a:gd name="connsiteY3518" fmla="*/ 1334634 h 1451770"/>
                <a:gd name="connsiteX3519" fmla="*/ 2515276 w 3773795"/>
                <a:gd name="connsiteY3519" fmla="*/ 1334109 h 1451770"/>
                <a:gd name="connsiteX3520" fmla="*/ 2517066 w 3773795"/>
                <a:gd name="connsiteY3520" fmla="*/ 1333216 h 1451770"/>
                <a:gd name="connsiteX3521" fmla="*/ 2517711 w 3773795"/>
                <a:gd name="connsiteY3521" fmla="*/ 1331935 h 1451770"/>
                <a:gd name="connsiteX3522" fmla="*/ 2517347 w 3773795"/>
                <a:gd name="connsiteY3522" fmla="*/ 1330453 h 1451770"/>
                <a:gd name="connsiteX3523" fmla="*/ 2517936 w 3773795"/>
                <a:gd name="connsiteY3523" fmla="*/ 1329005 h 1451770"/>
                <a:gd name="connsiteX3524" fmla="*/ 2518132 w 3773795"/>
                <a:gd name="connsiteY3524" fmla="*/ 1327551 h 1451770"/>
                <a:gd name="connsiteX3525" fmla="*/ 2518761 w 3773795"/>
                <a:gd name="connsiteY3525" fmla="*/ 1325666 h 1451770"/>
                <a:gd name="connsiteX3526" fmla="*/ 2519604 w 3773795"/>
                <a:gd name="connsiteY3526" fmla="*/ 1325142 h 1451770"/>
                <a:gd name="connsiteX3527" fmla="*/ 2520860 w 3773795"/>
                <a:gd name="connsiteY3527" fmla="*/ 1324521 h 1451770"/>
                <a:gd name="connsiteX3528" fmla="*/ 2521741 w 3773795"/>
                <a:gd name="connsiteY3528" fmla="*/ 1323558 h 1451770"/>
                <a:gd name="connsiteX3529" fmla="*/ 2522579 w 3773795"/>
                <a:gd name="connsiteY3529" fmla="*/ 1322075 h 1451770"/>
                <a:gd name="connsiteX3530" fmla="*/ 2523141 w 3773795"/>
                <a:gd name="connsiteY3530" fmla="*/ 1320398 h 1451770"/>
                <a:gd name="connsiteX3531" fmla="*/ 2522909 w 3773795"/>
                <a:gd name="connsiteY3531" fmla="*/ 1318459 h 1451770"/>
                <a:gd name="connsiteX3532" fmla="*/ 2524004 w 3773795"/>
                <a:gd name="connsiteY3532" fmla="*/ 1317182 h 1451770"/>
                <a:gd name="connsiteX3533" fmla="*/ 2525830 w 3773795"/>
                <a:gd name="connsiteY3533" fmla="*/ 1316121 h 1451770"/>
                <a:gd name="connsiteX3534" fmla="*/ 2526461 w 3773795"/>
                <a:gd name="connsiteY3534" fmla="*/ 1315471 h 1451770"/>
                <a:gd name="connsiteX3535" fmla="*/ 2526759 w 3773795"/>
                <a:gd name="connsiteY3535" fmla="*/ 1313772 h 1451770"/>
                <a:gd name="connsiteX3536" fmla="*/ 2526881 w 3773795"/>
                <a:gd name="connsiteY3536" fmla="*/ 1313025 h 1451770"/>
                <a:gd name="connsiteX3537" fmla="*/ 2527378 w 3773795"/>
                <a:gd name="connsiteY3537" fmla="*/ 1312169 h 1451770"/>
                <a:gd name="connsiteX3538" fmla="*/ 2527023 w 3773795"/>
                <a:gd name="connsiteY3538" fmla="*/ 1310405 h 1451770"/>
                <a:gd name="connsiteX3539" fmla="*/ 2526578 w 3773795"/>
                <a:gd name="connsiteY3539" fmla="*/ 1308502 h 1451770"/>
                <a:gd name="connsiteX3540" fmla="*/ 2528588 w 3773795"/>
                <a:gd name="connsiteY3540" fmla="*/ 1305304 h 1451770"/>
                <a:gd name="connsiteX3541" fmla="*/ 2530029 w 3773795"/>
                <a:gd name="connsiteY3541" fmla="*/ 1302553 h 1451770"/>
                <a:gd name="connsiteX3542" fmla="*/ 2530380 w 3773795"/>
                <a:gd name="connsiteY3542" fmla="*/ 1298516 h 1451770"/>
                <a:gd name="connsiteX3543" fmla="*/ 2530545 w 3773795"/>
                <a:gd name="connsiteY3543" fmla="*/ 1297852 h 1451770"/>
                <a:gd name="connsiteX3544" fmla="*/ 2531106 w 3773795"/>
                <a:gd name="connsiteY3544" fmla="*/ 1295934 h 1451770"/>
                <a:gd name="connsiteX3545" fmla="*/ 2531439 w 3773795"/>
                <a:gd name="connsiteY3545" fmla="*/ 1295171 h 1451770"/>
                <a:gd name="connsiteX3546" fmla="*/ 2532556 w 3773795"/>
                <a:gd name="connsiteY3546" fmla="*/ 1292634 h 1451770"/>
                <a:gd name="connsiteX3547" fmla="*/ 2533998 w 3773795"/>
                <a:gd name="connsiteY3547" fmla="*/ 1290983 h 1451770"/>
                <a:gd name="connsiteX3548" fmla="*/ 2533713 w 3773795"/>
                <a:gd name="connsiteY3548" fmla="*/ 1289134 h 1451770"/>
                <a:gd name="connsiteX3549" fmla="*/ 2533131 w 3773795"/>
                <a:gd name="connsiteY3549" fmla="*/ 1287329 h 1451770"/>
                <a:gd name="connsiteX3550" fmla="*/ 2533235 w 3773795"/>
                <a:gd name="connsiteY3550" fmla="*/ 1286113 h 1451770"/>
                <a:gd name="connsiteX3551" fmla="*/ 2534507 w 3773795"/>
                <a:gd name="connsiteY3551" fmla="*/ 1284700 h 1451770"/>
                <a:gd name="connsiteX3552" fmla="*/ 2535279 w 3773795"/>
                <a:gd name="connsiteY3552" fmla="*/ 1283996 h 1451770"/>
                <a:gd name="connsiteX3553" fmla="*/ 2535958 w 3773795"/>
                <a:gd name="connsiteY3553" fmla="*/ 1282992 h 1451770"/>
                <a:gd name="connsiteX3554" fmla="*/ 2537034 w 3773795"/>
                <a:gd name="connsiteY3554" fmla="*/ 1282546 h 1451770"/>
                <a:gd name="connsiteX3555" fmla="*/ 2537986 w 3773795"/>
                <a:gd name="connsiteY3555" fmla="*/ 1282301 h 1451770"/>
                <a:gd name="connsiteX3556" fmla="*/ 2540219 w 3773795"/>
                <a:gd name="connsiteY3556" fmla="*/ 1282045 h 1451770"/>
                <a:gd name="connsiteX3557" fmla="*/ 2541510 w 3773795"/>
                <a:gd name="connsiteY3557" fmla="*/ 1280985 h 1451770"/>
                <a:gd name="connsiteX3558" fmla="*/ 2542711 w 3773795"/>
                <a:gd name="connsiteY3558" fmla="*/ 1279898 h 1451770"/>
                <a:gd name="connsiteX3559" fmla="*/ 2544914 w 3773795"/>
                <a:gd name="connsiteY3559" fmla="*/ 1277062 h 1451770"/>
                <a:gd name="connsiteX3560" fmla="*/ 2545628 w 3773795"/>
                <a:gd name="connsiteY3560" fmla="*/ 1275387 h 1451770"/>
                <a:gd name="connsiteX3561" fmla="*/ 2546164 w 3773795"/>
                <a:gd name="connsiteY3561" fmla="*/ 1274516 h 1451770"/>
                <a:gd name="connsiteX3562" fmla="*/ 2544976 w 3773795"/>
                <a:gd name="connsiteY3562" fmla="*/ 1272096 h 1451770"/>
                <a:gd name="connsiteX3563" fmla="*/ 2543908 w 3773795"/>
                <a:gd name="connsiteY3563" fmla="*/ 1270044 h 1451770"/>
                <a:gd name="connsiteX3564" fmla="*/ 2542603 w 3773795"/>
                <a:gd name="connsiteY3564" fmla="*/ 1267199 h 1451770"/>
                <a:gd name="connsiteX3565" fmla="*/ 2542043 w 3773795"/>
                <a:gd name="connsiteY3565" fmla="*/ 1265864 h 1451770"/>
                <a:gd name="connsiteX3566" fmla="*/ 2542914 w 3773795"/>
                <a:gd name="connsiteY3566" fmla="*/ 1264159 h 1451770"/>
                <a:gd name="connsiteX3567" fmla="*/ 2543840 w 3773795"/>
                <a:gd name="connsiteY3567" fmla="*/ 1263106 h 1451770"/>
                <a:gd name="connsiteX3568" fmla="*/ 2544328 w 3773795"/>
                <a:gd name="connsiteY3568" fmla="*/ 1262169 h 1451770"/>
                <a:gd name="connsiteX3569" fmla="*/ 2544583 w 3773795"/>
                <a:gd name="connsiteY3569" fmla="*/ 1260554 h 1451770"/>
                <a:gd name="connsiteX3570" fmla="*/ 2544238 w 3773795"/>
                <a:gd name="connsiteY3570" fmla="*/ 1259325 h 1451770"/>
                <a:gd name="connsiteX3571" fmla="*/ 2541989 w 3773795"/>
                <a:gd name="connsiteY3571" fmla="*/ 1257405 h 1451770"/>
                <a:gd name="connsiteX3572" fmla="*/ 2539614 w 3773795"/>
                <a:gd name="connsiteY3572" fmla="*/ 1256454 h 1451770"/>
                <a:gd name="connsiteX3573" fmla="*/ 2536934 w 3773795"/>
                <a:gd name="connsiteY3573" fmla="*/ 1256071 h 1451770"/>
                <a:gd name="connsiteX3574" fmla="*/ 2536015 w 3773795"/>
                <a:gd name="connsiteY3574" fmla="*/ 1255941 h 1451770"/>
                <a:gd name="connsiteX3575" fmla="*/ 2534079 w 3773795"/>
                <a:gd name="connsiteY3575" fmla="*/ 1256324 h 1451770"/>
                <a:gd name="connsiteX3576" fmla="*/ 2526038 w 3773795"/>
                <a:gd name="connsiteY3576" fmla="*/ 1258764 h 1451770"/>
                <a:gd name="connsiteX3577" fmla="*/ 2522270 w 3773795"/>
                <a:gd name="connsiteY3577" fmla="*/ 1260632 h 1451770"/>
                <a:gd name="connsiteX3578" fmla="*/ 2520091 w 3773795"/>
                <a:gd name="connsiteY3578" fmla="*/ 1262743 h 1451770"/>
                <a:gd name="connsiteX3579" fmla="*/ 2517772 w 3773795"/>
                <a:gd name="connsiteY3579" fmla="*/ 1263756 h 1451770"/>
                <a:gd name="connsiteX3580" fmla="*/ 2514075 w 3773795"/>
                <a:gd name="connsiteY3580" fmla="*/ 1263633 h 1451770"/>
                <a:gd name="connsiteX3581" fmla="*/ 2510601 w 3773795"/>
                <a:gd name="connsiteY3581" fmla="*/ 1263516 h 1451770"/>
                <a:gd name="connsiteX3582" fmla="*/ 2507860 w 3773795"/>
                <a:gd name="connsiteY3582" fmla="*/ 1264681 h 1451770"/>
                <a:gd name="connsiteX3583" fmla="*/ 2504699 w 3773795"/>
                <a:gd name="connsiteY3583" fmla="*/ 1267089 h 1451770"/>
                <a:gd name="connsiteX3584" fmla="*/ 2502393 w 3773795"/>
                <a:gd name="connsiteY3584" fmla="*/ 1268189 h 1451770"/>
                <a:gd name="connsiteX3585" fmla="*/ 2500942 w 3773795"/>
                <a:gd name="connsiteY3585" fmla="*/ 1267987 h 1451770"/>
                <a:gd name="connsiteX3586" fmla="*/ 2499387 w 3773795"/>
                <a:gd name="connsiteY3586" fmla="*/ 1269598 h 1451770"/>
                <a:gd name="connsiteX3587" fmla="*/ 2497729 w 3773795"/>
                <a:gd name="connsiteY3587" fmla="*/ 1273023 h 1451770"/>
                <a:gd name="connsiteX3588" fmla="*/ 2495835 w 3773795"/>
                <a:gd name="connsiteY3588" fmla="*/ 1274528 h 1451770"/>
                <a:gd name="connsiteX3589" fmla="*/ 2493710 w 3773795"/>
                <a:gd name="connsiteY3589" fmla="*/ 1274120 h 1451770"/>
                <a:gd name="connsiteX3590" fmla="*/ 2488616 w 3773795"/>
                <a:gd name="connsiteY3590" fmla="*/ 1274444 h 1451770"/>
                <a:gd name="connsiteX3591" fmla="*/ 2480555 w 3773795"/>
                <a:gd name="connsiteY3591" fmla="*/ 1275498 h 1451770"/>
                <a:gd name="connsiteX3592" fmla="*/ 2475502 w 3773795"/>
                <a:gd name="connsiteY3592" fmla="*/ 1275455 h 1451770"/>
                <a:gd name="connsiteX3593" fmla="*/ 2473457 w 3773795"/>
                <a:gd name="connsiteY3593" fmla="*/ 1274314 h 1451770"/>
                <a:gd name="connsiteX3594" fmla="*/ 2470252 w 3773795"/>
                <a:gd name="connsiteY3594" fmla="*/ 1274167 h 1451770"/>
                <a:gd name="connsiteX3595" fmla="*/ 2465887 w 3773795"/>
                <a:gd name="connsiteY3595" fmla="*/ 1275016 h 1451770"/>
                <a:gd name="connsiteX3596" fmla="*/ 2463252 w 3773795"/>
                <a:gd name="connsiteY3596" fmla="*/ 1275190 h 1451770"/>
                <a:gd name="connsiteX3597" fmla="*/ 2462349 w 3773795"/>
                <a:gd name="connsiteY3597" fmla="*/ 1274687 h 1451770"/>
                <a:gd name="connsiteX3598" fmla="*/ 2461706 w 3773795"/>
                <a:gd name="connsiteY3598" fmla="*/ 1273267 h 1451770"/>
                <a:gd name="connsiteX3599" fmla="*/ 2461322 w 3773795"/>
                <a:gd name="connsiteY3599" fmla="*/ 1270927 h 1451770"/>
                <a:gd name="connsiteX3600" fmla="*/ 2459844 w 3773795"/>
                <a:gd name="connsiteY3600" fmla="*/ 1268489 h 1451770"/>
                <a:gd name="connsiteX3601" fmla="*/ 2457280 w 3773795"/>
                <a:gd name="connsiteY3601" fmla="*/ 1265956 h 1451770"/>
                <a:gd name="connsiteX3602" fmla="*/ 2456826 w 3773795"/>
                <a:gd name="connsiteY3602" fmla="*/ 1262895 h 1451770"/>
                <a:gd name="connsiteX3603" fmla="*/ 2458486 w 3773795"/>
                <a:gd name="connsiteY3603" fmla="*/ 1259306 h 1451770"/>
                <a:gd name="connsiteX3604" fmla="*/ 2458864 w 3773795"/>
                <a:gd name="connsiteY3604" fmla="*/ 1256845 h 1451770"/>
                <a:gd name="connsiteX3605" fmla="*/ 2457962 w 3773795"/>
                <a:gd name="connsiteY3605" fmla="*/ 1255516 h 1451770"/>
                <a:gd name="connsiteX3606" fmla="*/ 2457594 w 3773795"/>
                <a:gd name="connsiteY3606" fmla="*/ 1254327 h 1451770"/>
                <a:gd name="connsiteX3607" fmla="*/ 2455656 w 3773795"/>
                <a:gd name="connsiteY3607" fmla="*/ 1252823 h 1451770"/>
                <a:gd name="connsiteX3608" fmla="*/ 2454286 w 3773795"/>
                <a:gd name="connsiteY3608" fmla="*/ 1250233 h 1451770"/>
                <a:gd name="connsiteX3609" fmla="*/ 2453288 w 3773795"/>
                <a:gd name="connsiteY3609" fmla="*/ 1249443 h 1451770"/>
                <a:gd name="connsiteX3610" fmla="*/ 2453587 w 3773795"/>
                <a:gd name="connsiteY3610" fmla="*/ 1247236 h 1451770"/>
                <a:gd name="connsiteX3611" fmla="*/ 2454727 w 3773795"/>
                <a:gd name="connsiteY3611" fmla="*/ 1244589 h 1451770"/>
                <a:gd name="connsiteX3612" fmla="*/ 2453311 w 3773795"/>
                <a:gd name="connsiteY3612" fmla="*/ 1242084 h 1451770"/>
                <a:gd name="connsiteX3613" fmla="*/ 2448935 w 3773795"/>
                <a:gd name="connsiteY3613" fmla="*/ 1241936 h 1451770"/>
                <a:gd name="connsiteX3614" fmla="*/ 2445414 w 3773795"/>
                <a:gd name="connsiteY3614" fmla="*/ 1241215 h 1451770"/>
                <a:gd name="connsiteX3615" fmla="*/ 2441900 w 3773795"/>
                <a:gd name="connsiteY3615" fmla="*/ 1238917 h 1451770"/>
                <a:gd name="connsiteX3616" fmla="*/ 2436492 w 3773795"/>
                <a:gd name="connsiteY3616" fmla="*/ 1232445 h 1451770"/>
                <a:gd name="connsiteX3617" fmla="*/ 2433807 w 3773795"/>
                <a:gd name="connsiteY3617" fmla="*/ 1230166 h 1451770"/>
                <a:gd name="connsiteX3618" fmla="*/ 2432045 w 3773795"/>
                <a:gd name="connsiteY3618" fmla="*/ 1229933 h 1451770"/>
                <a:gd name="connsiteX3619" fmla="*/ 2430768 w 3773795"/>
                <a:gd name="connsiteY3619" fmla="*/ 1228880 h 1451770"/>
                <a:gd name="connsiteX3620" fmla="*/ 2429982 w 3773795"/>
                <a:gd name="connsiteY3620" fmla="*/ 1227007 h 1451770"/>
                <a:gd name="connsiteX3621" fmla="*/ 2428712 w 3773795"/>
                <a:gd name="connsiteY3621" fmla="*/ 1226988 h 1451770"/>
                <a:gd name="connsiteX3622" fmla="*/ 2427473 w 3773795"/>
                <a:gd name="connsiteY3622" fmla="*/ 1226988 h 1451770"/>
                <a:gd name="connsiteX3623" fmla="*/ 2426709 w 3773795"/>
                <a:gd name="connsiteY3623" fmla="*/ 1227765 h 1451770"/>
                <a:gd name="connsiteX3624" fmla="*/ 2425819 w 3773795"/>
                <a:gd name="connsiteY3624" fmla="*/ 1228008 h 1451770"/>
                <a:gd name="connsiteX3625" fmla="*/ 2424461 w 3773795"/>
                <a:gd name="connsiteY3625" fmla="*/ 1227298 h 1451770"/>
                <a:gd name="connsiteX3626" fmla="*/ 2423061 w 3773795"/>
                <a:gd name="connsiteY3626" fmla="*/ 1227219 h 1451770"/>
                <a:gd name="connsiteX3627" fmla="*/ 2421624 w 3773795"/>
                <a:gd name="connsiteY3627" fmla="*/ 1227773 h 1451770"/>
                <a:gd name="connsiteX3628" fmla="*/ 2420407 w 3773795"/>
                <a:gd name="connsiteY3628" fmla="*/ 1227412 h 1451770"/>
                <a:gd name="connsiteX3629" fmla="*/ 2419416 w 3773795"/>
                <a:gd name="connsiteY3629" fmla="*/ 1226134 h 1451770"/>
                <a:gd name="connsiteX3630" fmla="*/ 2417602 w 3773795"/>
                <a:gd name="connsiteY3630" fmla="*/ 1225283 h 1451770"/>
                <a:gd name="connsiteX3631" fmla="*/ 2414972 w 3773795"/>
                <a:gd name="connsiteY3631" fmla="*/ 1224857 h 1451770"/>
                <a:gd name="connsiteX3632" fmla="*/ 2413888 w 3773795"/>
                <a:gd name="connsiteY3632" fmla="*/ 1223969 h 1451770"/>
                <a:gd name="connsiteX3633" fmla="*/ 2414346 w 3773795"/>
                <a:gd name="connsiteY3633" fmla="*/ 1222617 h 1451770"/>
                <a:gd name="connsiteX3634" fmla="*/ 2413860 w 3773795"/>
                <a:gd name="connsiteY3634" fmla="*/ 1221608 h 1451770"/>
                <a:gd name="connsiteX3635" fmla="*/ 2412423 w 3773795"/>
                <a:gd name="connsiteY3635" fmla="*/ 1220942 h 1451770"/>
                <a:gd name="connsiteX3636" fmla="*/ 2408503 w 3773795"/>
                <a:gd name="connsiteY3636" fmla="*/ 1221112 h 1451770"/>
                <a:gd name="connsiteX3637" fmla="*/ 2402098 w 3773795"/>
                <a:gd name="connsiteY3637" fmla="*/ 1222116 h 1451770"/>
                <a:gd name="connsiteX3638" fmla="*/ 2396847 w 3773795"/>
                <a:gd name="connsiteY3638" fmla="*/ 1221848 h 1451770"/>
                <a:gd name="connsiteX3639" fmla="*/ 2392748 w 3773795"/>
                <a:gd name="connsiteY3639" fmla="*/ 1220311 h 1451770"/>
                <a:gd name="connsiteX3640" fmla="*/ 2390468 w 3773795"/>
                <a:gd name="connsiteY3640" fmla="*/ 1218890 h 1451770"/>
                <a:gd name="connsiteX3641" fmla="*/ 2390004 w 3773795"/>
                <a:gd name="connsiteY3641" fmla="*/ 1217590 h 1451770"/>
                <a:gd name="connsiteX3642" fmla="*/ 2388822 w 3773795"/>
                <a:gd name="connsiteY3642" fmla="*/ 1216339 h 1451770"/>
                <a:gd name="connsiteX3643" fmla="*/ 2386922 w 3773795"/>
                <a:gd name="connsiteY3643" fmla="*/ 1215142 h 1451770"/>
                <a:gd name="connsiteX3644" fmla="*/ 2385853 w 3773795"/>
                <a:gd name="connsiteY3644" fmla="*/ 1213078 h 1451770"/>
                <a:gd name="connsiteX3645" fmla="*/ 2385617 w 3773795"/>
                <a:gd name="connsiteY3645" fmla="*/ 1210147 h 1451770"/>
                <a:gd name="connsiteX3646" fmla="*/ 2386071 w 3773795"/>
                <a:gd name="connsiteY3646" fmla="*/ 1207357 h 1451770"/>
                <a:gd name="connsiteX3647" fmla="*/ 2387795 w 3773795"/>
                <a:gd name="connsiteY3647" fmla="*/ 1203387 h 1451770"/>
                <a:gd name="connsiteX3648" fmla="*/ 2383484 w 3773795"/>
                <a:gd name="connsiteY3648" fmla="*/ 1200793 h 1451770"/>
                <a:gd name="connsiteX3649" fmla="*/ 2382199 w 3773795"/>
                <a:gd name="connsiteY3649" fmla="*/ 1199299 h 1451770"/>
                <a:gd name="connsiteX3650" fmla="*/ 2382508 w 3773795"/>
                <a:gd name="connsiteY3650" fmla="*/ 1198039 h 1451770"/>
                <a:gd name="connsiteX3651" fmla="*/ 2382279 w 3773795"/>
                <a:gd name="connsiteY3651" fmla="*/ 1197040 h 1451770"/>
                <a:gd name="connsiteX3652" fmla="*/ 2381510 w 3773795"/>
                <a:gd name="connsiteY3652" fmla="*/ 1196301 h 1451770"/>
                <a:gd name="connsiteX3653" fmla="*/ 2381559 w 3773795"/>
                <a:gd name="connsiteY3653" fmla="*/ 1195121 h 1451770"/>
                <a:gd name="connsiteX3654" fmla="*/ 2382420 w 3773795"/>
                <a:gd name="connsiteY3654" fmla="*/ 1193497 h 1451770"/>
                <a:gd name="connsiteX3655" fmla="*/ 2382414 w 3773795"/>
                <a:gd name="connsiteY3655" fmla="*/ 1191426 h 1451770"/>
                <a:gd name="connsiteX3656" fmla="*/ 2381532 w 3773795"/>
                <a:gd name="connsiteY3656" fmla="*/ 1188906 h 1451770"/>
                <a:gd name="connsiteX3657" fmla="*/ 2379127 w 3773795"/>
                <a:gd name="connsiteY3657" fmla="*/ 1185367 h 1451770"/>
                <a:gd name="connsiteX3658" fmla="*/ 2375195 w 3773795"/>
                <a:gd name="connsiteY3658" fmla="*/ 1180803 h 1451770"/>
                <a:gd name="connsiteX3659" fmla="*/ 2373080 w 3773795"/>
                <a:gd name="connsiteY3659" fmla="*/ 1177463 h 1451770"/>
                <a:gd name="connsiteX3660" fmla="*/ 2372787 w 3773795"/>
                <a:gd name="connsiteY3660" fmla="*/ 1175352 h 1451770"/>
                <a:gd name="connsiteX3661" fmla="*/ 2372260 w 3773795"/>
                <a:gd name="connsiteY3661" fmla="*/ 1173659 h 1451770"/>
                <a:gd name="connsiteX3662" fmla="*/ 2371524 w 3773795"/>
                <a:gd name="connsiteY3662" fmla="*/ 1172744 h 1451770"/>
                <a:gd name="connsiteX3663" fmla="*/ 2371068 w 3773795"/>
                <a:gd name="connsiteY3663" fmla="*/ 1171175 h 1451770"/>
                <a:gd name="connsiteX3664" fmla="*/ 2371377 w 3773795"/>
                <a:gd name="connsiteY3664" fmla="*/ 1169436 h 1451770"/>
                <a:gd name="connsiteX3665" fmla="*/ 2370925 w 3773795"/>
                <a:gd name="connsiteY3665" fmla="*/ 1168318 h 1451770"/>
                <a:gd name="connsiteX3666" fmla="*/ 2370359 w 3773795"/>
                <a:gd name="connsiteY3666" fmla="*/ 1167267 h 1451770"/>
                <a:gd name="connsiteX3667" fmla="*/ 2370441 w 3773795"/>
                <a:gd name="connsiteY3667" fmla="*/ 1165575 h 1451770"/>
                <a:gd name="connsiteX3668" fmla="*/ 2369757 w 3773795"/>
                <a:gd name="connsiteY3668" fmla="*/ 1164416 h 1451770"/>
                <a:gd name="connsiteX3669" fmla="*/ 2368313 w 3773795"/>
                <a:gd name="connsiteY3669" fmla="*/ 1163792 h 1451770"/>
                <a:gd name="connsiteX3670" fmla="*/ 2367859 w 3773795"/>
                <a:gd name="connsiteY3670" fmla="*/ 1162509 h 1451770"/>
                <a:gd name="connsiteX3671" fmla="*/ 2368127 w 3773795"/>
                <a:gd name="connsiteY3671" fmla="*/ 1159767 h 1451770"/>
                <a:gd name="connsiteX3672" fmla="*/ 2367086 w 3773795"/>
                <a:gd name="connsiteY3672" fmla="*/ 1157460 h 1451770"/>
                <a:gd name="connsiteX3673" fmla="*/ 2363920 w 3773795"/>
                <a:gd name="connsiteY3673" fmla="*/ 1153194 h 1451770"/>
                <a:gd name="connsiteX3674" fmla="*/ 2362981 w 3773795"/>
                <a:gd name="connsiteY3674" fmla="*/ 1150076 h 1451770"/>
                <a:gd name="connsiteX3675" fmla="*/ 2362705 w 3773795"/>
                <a:gd name="connsiteY3675" fmla="*/ 1147259 h 1451770"/>
                <a:gd name="connsiteX3676" fmla="*/ 2361361 w 3773795"/>
                <a:gd name="connsiteY3676" fmla="*/ 1145881 h 1451770"/>
                <a:gd name="connsiteX3677" fmla="*/ 2361288 w 3773795"/>
                <a:gd name="connsiteY3677" fmla="*/ 1144651 h 1451770"/>
                <a:gd name="connsiteX3678" fmla="*/ 2361111 w 3773795"/>
                <a:gd name="connsiteY3678" fmla="*/ 1142514 h 1451770"/>
                <a:gd name="connsiteX3679" fmla="*/ 2360288 w 3773795"/>
                <a:gd name="connsiteY3679" fmla="*/ 1141929 h 1451770"/>
                <a:gd name="connsiteX3680" fmla="*/ 2359800 w 3773795"/>
                <a:gd name="connsiteY3680" fmla="*/ 1141175 h 1451770"/>
                <a:gd name="connsiteX3681" fmla="*/ 2360186 w 3773795"/>
                <a:gd name="connsiteY3681" fmla="*/ 1140273 h 1451770"/>
                <a:gd name="connsiteX3682" fmla="*/ 2359550 w 3773795"/>
                <a:gd name="connsiteY3682" fmla="*/ 1139152 h 1451770"/>
                <a:gd name="connsiteX3683" fmla="*/ 2357885 w 3773795"/>
                <a:gd name="connsiteY3683" fmla="*/ 1137812 h 1451770"/>
                <a:gd name="connsiteX3684" fmla="*/ 2357118 w 3773795"/>
                <a:gd name="connsiteY3684" fmla="*/ 1136652 h 1451770"/>
                <a:gd name="connsiteX3685" fmla="*/ 2356931 w 3773795"/>
                <a:gd name="connsiteY3685" fmla="*/ 1135601 h 1451770"/>
                <a:gd name="connsiteX3686" fmla="*/ 2356094 w 3773795"/>
                <a:gd name="connsiteY3686" fmla="*/ 1134783 h 1451770"/>
                <a:gd name="connsiteX3687" fmla="*/ 2353646 w 3773795"/>
                <a:gd name="connsiteY3687" fmla="*/ 1133988 h 1451770"/>
                <a:gd name="connsiteX3688" fmla="*/ 2352985 w 3773795"/>
                <a:gd name="connsiteY3688" fmla="*/ 1132889 h 1451770"/>
                <a:gd name="connsiteX3689" fmla="*/ 2353145 w 3773795"/>
                <a:gd name="connsiteY3689" fmla="*/ 1131912 h 1451770"/>
                <a:gd name="connsiteX3690" fmla="*/ 2353672 w 3773795"/>
                <a:gd name="connsiteY3690" fmla="*/ 1131003 h 1451770"/>
                <a:gd name="connsiteX3691" fmla="*/ 2353961 w 3773795"/>
                <a:gd name="connsiteY3691" fmla="*/ 1130451 h 1451770"/>
                <a:gd name="connsiteX3692" fmla="*/ 2353870 w 3773795"/>
                <a:gd name="connsiteY3692" fmla="*/ 1129739 h 1451770"/>
                <a:gd name="connsiteX3693" fmla="*/ 2353695 w 3773795"/>
                <a:gd name="connsiteY3693" fmla="*/ 1129035 h 1451770"/>
                <a:gd name="connsiteX3694" fmla="*/ 2352726 w 3773795"/>
                <a:gd name="connsiteY3694" fmla="*/ 1128187 h 1451770"/>
                <a:gd name="connsiteX3695" fmla="*/ 2351339 w 3773795"/>
                <a:gd name="connsiteY3695" fmla="*/ 1127207 h 1451770"/>
                <a:gd name="connsiteX3696" fmla="*/ 2349798 w 3773795"/>
                <a:gd name="connsiteY3696" fmla="*/ 1125090 h 1451770"/>
                <a:gd name="connsiteX3697" fmla="*/ 2347828 w 3773795"/>
                <a:gd name="connsiteY3697" fmla="*/ 1124516 h 1451770"/>
                <a:gd name="connsiteX3698" fmla="*/ 2346620 w 3773795"/>
                <a:gd name="connsiteY3698" fmla="*/ 1124516 h 1451770"/>
                <a:gd name="connsiteX3699" fmla="*/ 2345572 w 3773795"/>
                <a:gd name="connsiteY3699" fmla="*/ 1123317 h 1451770"/>
                <a:gd name="connsiteX3700" fmla="*/ 2345894 w 3773795"/>
                <a:gd name="connsiteY3700" fmla="*/ 1122555 h 1451770"/>
                <a:gd name="connsiteX3701" fmla="*/ 2345813 w 3773795"/>
                <a:gd name="connsiteY3701" fmla="*/ 1121135 h 1451770"/>
                <a:gd name="connsiteX3702" fmla="*/ 2344870 w 3773795"/>
                <a:gd name="connsiteY3702" fmla="*/ 1119980 h 1451770"/>
                <a:gd name="connsiteX3703" fmla="*/ 2343697 w 3773795"/>
                <a:gd name="connsiteY3703" fmla="*/ 1119525 h 1451770"/>
                <a:gd name="connsiteX3704" fmla="*/ 2342592 w 3773795"/>
                <a:gd name="connsiteY3704" fmla="*/ 1119820 h 1451770"/>
                <a:gd name="connsiteX3705" fmla="*/ 2339860 w 3773795"/>
                <a:gd name="connsiteY3705" fmla="*/ 1118738 h 1451770"/>
                <a:gd name="connsiteX3706" fmla="*/ 2335507 w 3773795"/>
                <a:gd name="connsiteY3706" fmla="*/ 1116276 h 1451770"/>
                <a:gd name="connsiteX3707" fmla="*/ 2332177 w 3773795"/>
                <a:gd name="connsiteY3707" fmla="*/ 1115140 h 1451770"/>
                <a:gd name="connsiteX3708" fmla="*/ 2329876 w 3773795"/>
                <a:gd name="connsiteY3708" fmla="*/ 1115331 h 1451770"/>
                <a:gd name="connsiteX3709" fmla="*/ 2328454 w 3773795"/>
                <a:gd name="connsiteY3709" fmla="*/ 1116071 h 1451770"/>
                <a:gd name="connsiteX3710" fmla="*/ 2327912 w 3773795"/>
                <a:gd name="connsiteY3710" fmla="*/ 1117358 h 1451770"/>
                <a:gd name="connsiteX3711" fmla="*/ 2326368 w 3773795"/>
                <a:gd name="connsiteY3711" fmla="*/ 1117235 h 1451770"/>
                <a:gd name="connsiteX3712" fmla="*/ 2322555 w 3773795"/>
                <a:gd name="connsiteY3712" fmla="*/ 1114930 h 1451770"/>
                <a:gd name="connsiteX3713" fmla="*/ 2318709 w 3773795"/>
                <a:gd name="connsiteY3713" fmla="*/ 1114360 h 1451770"/>
                <a:gd name="connsiteX3714" fmla="*/ 2316569 w 3773795"/>
                <a:gd name="connsiteY3714" fmla="*/ 1113119 h 1451770"/>
                <a:gd name="connsiteX3715" fmla="*/ 2314850 w 3773795"/>
                <a:gd name="connsiteY3715" fmla="*/ 1111017 h 1451770"/>
                <a:gd name="connsiteX3716" fmla="*/ 2313270 w 3773795"/>
                <a:gd name="connsiteY3716" fmla="*/ 1110137 h 1451770"/>
                <a:gd name="connsiteX3717" fmla="*/ 2311819 w 3773795"/>
                <a:gd name="connsiteY3717" fmla="*/ 1110481 h 1451770"/>
                <a:gd name="connsiteX3718" fmla="*/ 2308290 w 3773795"/>
                <a:gd name="connsiteY3718" fmla="*/ 1109069 h 1451770"/>
                <a:gd name="connsiteX3719" fmla="*/ 2302678 w 3773795"/>
                <a:gd name="connsiteY3719" fmla="*/ 1105895 h 1451770"/>
                <a:gd name="connsiteX3720" fmla="*/ 2299734 w 3773795"/>
                <a:gd name="connsiteY3720" fmla="*/ 1104824 h 1451770"/>
                <a:gd name="connsiteX3721" fmla="*/ 2298672 w 3773795"/>
                <a:gd name="connsiteY3721" fmla="*/ 1105423 h 1451770"/>
                <a:gd name="connsiteX3722" fmla="*/ 2298119 w 3773795"/>
                <a:gd name="connsiteY3722" fmla="*/ 1105429 h 1451770"/>
                <a:gd name="connsiteX3723" fmla="*/ 2297117 w 3773795"/>
                <a:gd name="connsiteY3723" fmla="*/ 1105339 h 1451770"/>
                <a:gd name="connsiteX3724" fmla="*/ 2295671 w 3773795"/>
                <a:gd name="connsiteY3724" fmla="*/ 1105299 h 1451770"/>
                <a:gd name="connsiteX3725" fmla="*/ 2293140 w 3773795"/>
                <a:gd name="connsiteY3725" fmla="*/ 1104550 h 1451770"/>
                <a:gd name="connsiteX3726" fmla="*/ 2289702 w 3773795"/>
                <a:gd name="connsiteY3726" fmla="*/ 1104883 h 1451770"/>
                <a:gd name="connsiteX3727" fmla="*/ 2285357 w 3773795"/>
                <a:gd name="connsiteY3727" fmla="*/ 1106296 h 1451770"/>
                <a:gd name="connsiteX3728" fmla="*/ 2280650 w 3773795"/>
                <a:gd name="connsiteY3728" fmla="*/ 1107175 h 1451770"/>
                <a:gd name="connsiteX3729" fmla="*/ 2275588 w 3773795"/>
                <a:gd name="connsiteY3729" fmla="*/ 1107523 h 1451770"/>
                <a:gd name="connsiteX3730" fmla="*/ 2272589 w 3773795"/>
                <a:gd name="connsiteY3730" fmla="*/ 1107356 h 1451770"/>
                <a:gd name="connsiteX3731" fmla="*/ 2271651 w 3773795"/>
                <a:gd name="connsiteY3731" fmla="*/ 1106678 h 1451770"/>
                <a:gd name="connsiteX3732" fmla="*/ 2266148 w 3773795"/>
                <a:gd name="connsiteY3732" fmla="*/ 1107689 h 1451770"/>
                <a:gd name="connsiteX3733" fmla="*/ 2258520 w 3773795"/>
                <a:gd name="connsiteY3733" fmla="*/ 1109732 h 1451770"/>
                <a:gd name="connsiteX3734" fmla="*/ 2251036 w 3773795"/>
                <a:gd name="connsiteY3734" fmla="*/ 1111734 h 1451770"/>
                <a:gd name="connsiteX3735" fmla="*/ 2241748 w 3773795"/>
                <a:gd name="connsiteY3735" fmla="*/ 1112710 h 1451770"/>
                <a:gd name="connsiteX3736" fmla="*/ 2235527 w 3773795"/>
                <a:gd name="connsiteY3736" fmla="*/ 1116096 h 1451770"/>
                <a:gd name="connsiteX3737" fmla="*/ 2229274 w 3773795"/>
                <a:gd name="connsiteY3737" fmla="*/ 1122202 h 1451770"/>
                <a:gd name="connsiteX3738" fmla="*/ 2224782 w 3773795"/>
                <a:gd name="connsiteY3738" fmla="*/ 1126036 h 1451770"/>
                <a:gd name="connsiteX3739" fmla="*/ 2222049 w 3773795"/>
                <a:gd name="connsiteY3739" fmla="*/ 1127609 h 1451770"/>
                <a:gd name="connsiteX3740" fmla="*/ 2220939 w 3773795"/>
                <a:gd name="connsiteY3740" fmla="*/ 1129669 h 1451770"/>
                <a:gd name="connsiteX3741" fmla="*/ 2221453 w 3773795"/>
                <a:gd name="connsiteY3741" fmla="*/ 1132213 h 1451770"/>
                <a:gd name="connsiteX3742" fmla="*/ 2223778 w 3773795"/>
                <a:gd name="connsiteY3742" fmla="*/ 1133119 h 1451770"/>
                <a:gd name="connsiteX3743" fmla="*/ 2227920 w 3773795"/>
                <a:gd name="connsiteY3743" fmla="*/ 1132389 h 1451770"/>
                <a:gd name="connsiteX3744" fmla="*/ 2231481 w 3773795"/>
                <a:gd name="connsiteY3744" fmla="*/ 1132745 h 1451770"/>
                <a:gd name="connsiteX3745" fmla="*/ 2234468 w 3773795"/>
                <a:gd name="connsiteY3745" fmla="*/ 1134187 h 1451770"/>
                <a:gd name="connsiteX3746" fmla="*/ 2235419 w 3773795"/>
                <a:gd name="connsiteY3746" fmla="*/ 1136361 h 1451770"/>
                <a:gd name="connsiteX3747" fmla="*/ 2234340 w 3773795"/>
                <a:gd name="connsiteY3747" fmla="*/ 1139266 h 1451770"/>
                <a:gd name="connsiteX3748" fmla="*/ 2234672 w 3773795"/>
                <a:gd name="connsiteY3748" fmla="*/ 1142117 h 1451770"/>
                <a:gd name="connsiteX3749" fmla="*/ 2236422 w 3773795"/>
                <a:gd name="connsiteY3749" fmla="*/ 1144918 h 1451770"/>
                <a:gd name="connsiteX3750" fmla="*/ 2236538 w 3773795"/>
                <a:gd name="connsiteY3750" fmla="*/ 1148146 h 1451770"/>
                <a:gd name="connsiteX3751" fmla="*/ 2235026 w 3773795"/>
                <a:gd name="connsiteY3751" fmla="*/ 1151799 h 1451770"/>
                <a:gd name="connsiteX3752" fmla="*/ 2231248 w 3773795"/>
                <a:gd name="connsiteY3752" fmla="*/ 1155476 h 1451770"/>
                <a:gd name="connsiteX3753" fmla="*/ 2225199 w 3773795"/>
                <a:gd name="connsiteY3753" fmla="*/ 1159178 h 1451770"/>
                <a:gd name="connsiteX3754" fmla="*/ 2221437 w 3773795"/>
                <a:gd name="connsiteY3754" fmla="*/ 1162780 h 1451770"/>
                <a:gd name="connsiteX3755" fmla="*/ 2219229 w 3773795"/>
                <a:gd name="connsiteY3755" fmla="*/ 1168029 h 1451770"/>
                <a:gd name="connsiteX3756" fmla="*/ 2215828 w 3773795"/>
                <a:gd name="connsiteY3756" fmla="*/ 1172578 h 1451770"/>
                <a:gd name="connsiteX3757" fmla="*/ 2214577 w 3773795"/>
                <a:gd name="connsiteY3757" fmla="*/ 1175142 h 1451770"/>
                <a:gd name="connsiteX3758" fmla="*/ 2214342 w 3773795"/>
                <a:gd name="connsiteY3758" fmla="*/ 1177242 h 1451770"/>
                <a:gd name="connsiteX3759" fmla="*/ 2212992 w 3773795"/>
                <a:gd name="connsiteY3759" fmla="*/ 1179510 h 1451770"/>
                <a:gd name="connsiteX3760" fmla="*/ 2210526 w 3773795"/>
                <a:gd name="connsiteY3760" fmla="*/ 1181945 h 1451770"/>
                <a:gd name="connsiteX3761" fmla="*/ 2209174 w 3773795"/>
                <a:gd name="connsiteY3761" fmla="*/ 1184385 h 1451770"/>
                <a:gd name="connsiteX3762" fmla="*/ 2208941 w 3773795"/>
                <a:gd name="connsiteY3762" fmla="*/ 1186830 h 1451770"/>
                <a:gd name="connsiteX3763" fmla="*/ 2207702 w 3773795"/>
                <a:gd name="connsiteY3763" fmla="*/ 1189056 h 1451770"/>
                <a:gd name="connsiteX3764" fmla="*/ 2205454 w 3773795"/>
                <a:gd name="connsiteY3764" fmla="*/ 1191061 h 1451770"/>
                <a:gd name="connsiteX3765" fmla="*/ 2204052 w 3773795"/>
                <a:gd name="connsiteY3765" fmla="*/ 1193181 h 1451770"/>
                <a:gd name="connsiteX3766" fmla="*/ 2203504 w 3773795"/>
                <a:gd name="connsiteY3766" fmla="*/ 1195411 h 1451770"/>
                <a:gd name="connsiteX3767" fmla="*/ 2202638 w 3773795"/>
                <a:gd name="connsiteY3767" fmla="*/ 1196911 h 1451770"/>
                <a:gd name="connsiteX3768" fmla="*/ 2201466 w 3773795"/>
                <a:gd name="connsiteY3768" fmla="*/ 1197680 h 1451770"/>
                <a:gd name="connsiteX3769" fmla="*/ 2202090 w 3773795"/>
                <a:gd name="connsiteY3769" fmla="*/ 1198439 h 1451770"/>
                <a:gd name="connsiteX3770" fmla="*/ 2204514 w 3773795"/>
                <a:gd name="connsiteY3770" fmla="*/ 1199190 h 1451770"/>
                <a:gd name="connsiteX3771" fmla="*/ 2205503 w 3773795"/>
                <a:gd name="connsiteY3771" fmla="*/ 1201362 h 1451770"/>
                <a:gd name="connsiteX3772" fmla="*/ 2205056 w 3773795"/>
                <a:gd name="connsiteY3772" fmla="*/ 1204951 h 1451770"/>
                <a:gd name="connsiteX3773" fmla="*/ 2203593 w 3773795"/>
                <a:gd name="connsiteY3773" fmla="*/ 1207510 h 1451770"/>
                <a:gd name="connsiteX3774" fmla="*/ 2201107 w 3773795"/>
                <a:gd name="connsiteY3774" fmla="*/ 1209041 h 1451770"/>
                <a:gd name="connsiteX3775" fmla="*/ 2197393 w 3773795"/>
                <a:gd name="connsiteY3775" fmla="*/ 1210037 h 1451770"/>
                <a:gd name="connsiteX3776" fmla="*/ 2192450 w 3773795"/>
                <a:gd name="connsiteY3776" fmla="*/ 1210500 h 1451770"/>
                <a:gd name="connsiteX3777" fmla="*/ 2185719 w 3773795"/>
                <a:gd name="connsiteY3777" fmla="*/ 1213912 h 1451770"/>
                <a:gd name="connsiteX3778" fmla="*/ 2179861 w 3773795"/>
                <a:gd name="connsiteY3778" fmla="*/ 1218280 h 1451770"/>
                <a:gd name="connsiteX3779" fmla="*/ 2172936 w 3773795"/>
                <a:gd name="connsiteY3779" fmla="*/ 1223431 h 1451770"/>
                <a:gd name="connsiteX3780" fmla="*/ 2171590 w 3773795"/>
                <a:gd name="connsiteY3780" fmla="*/ 1223430 h 1451770"/>
                <a:gd name="connsiteX3781" fmla="*/ 2169066 w 3773795"/>
                <a:gd name="connsiteY3781" fmla="*/ 1222789 h 1451770"/>
                <a:gd name="connsiteX3782" fmla="*/ 2164173 w 3773795"/>
                <a:gd name="connsiteY3782" fmla="*/ 1220676 h 1451770"/>
                <a:gd name="connsiteX3783" fmla="*/ 2159053 w 3773795"/>
                <a:gd name="connsiteY3783" fmla="*/ 1220232 h 1451770"/>
                <a:gd name="connsiteX3784" fmla="*/ 2154101 w 3773795"/>
                <a:gd name="connsiteY3784" fmla="*/ 1218274 h 1451770"/>
                <a:gd name="connsiteX3785" fmla="*/ 2151166 w 3773795"/>
                <a:gd name="connsiteY3785" fmla="*/ 1216984 h 1451770"/>
                <a:gd name="connsiteX3786" fmla="*/ 2146619 w 3773795"/>
                <a:gd name="connsiteY3786" fmla="*/ 1214509 h 1451770"/>
                <a:gd name="connsiteX3787" fmla="*/ 2145475 w 3773795"/>
                <a:gd name="connsiteY3787" fmla="*/ 1212974 h 1451770"/>
                <a:gd name="connsiteX3788" fmla="*/ 2143697 w 3773795"/>
                <a:gd name="connsiteY3788" fmla="*/ 1211726 h 1451770"/>
                <a:gd name="connsiteX3789" fmla="*/ 2139275 w 3773795"/>
                <a:gd name="connsiteY3789" fmla="*/ 1210060 h 1451770"/>
                <a:gd name="connsiteX3790" fmla="*/ 2136304 w 3773795"/>
                <a:gd name="connsiteY3790" fmla="*/ 1209160 h 1451770"/>
                <a:gd name="connsiteX3791" fmla="*/ 2134485 w 3773795"/>
                <a:gd name="connsiteY3791" fmla="*/ 1209116 h 1451770"/>
                <a:gd name="connsiteX3792" fmla="*/ 2129873 w 3773795"/>
                <a:gd name="connsiteY3792" fmla="*/ 1210808 h 1451770"/>
                <a:gd name="connsiteX3793" fmla="*/ 2126982 w 3773795"/>
                <a:gd name="connsiteY3793" fmla="*/ 1212142 h 1451770"/>
                <a:gd name="connsiteX3794" fmla="*/ 2125270 w 3773795"/>
                <a:gd name="connsiteY3794" fmla="*/ 1212871 h 1451770"/>
                <a:gd name="connsiteX3795" fmla="*/ 2122399 w 3773795"/>
                <a:gd name="connsiteY3795" fmla="*/ 1212715 h 1451770"/>
                <a:gd name="connsiteX3796" fmla="*/ 2118889 w 3773795"/>
                <a:gd name="connsiteY3796" fmla="*/ 1212413 h 1451770"/>
                <a:gd name="connsiteX3797" fmla="*/ 2117469 w 3773795"/>
                <a:gd name="connsiteY3797" fmla="*/ 1211973 h 1451770"/>
                <a:gd name="connsiteX3798" fmla="*/ 2115468 w 3773795"/>
                <a:gd name="connsiteY3798" fmla="*/ 1210902 h 1451770"/>
                <a:gd name="connsiteX3799" fmla="*/ 2111566 w 3773795"/>
                <a:gd name="connsiteY3799" fmla="*/ 1207711 h 1451770"/>
                <a:gd name="connsiteX3800" fmla="*/ 2109471 w 3773795"/>
                <a:gd name="connsiteY3800" fmla="*/ 1205424 h 1451770"/>
                <a:gd name="connsiteX3801" fmla="*/ 2106735 w 3773795"/>
                <a:gd name="connsiteY3801" fmla="*/ 1204138 h 1451770"/>
                <a:gd name="connsiteX3802" fmla="*/ 2103718 w 3773795"/>
                <a:gd name="connsiteY3802" fmla="*/ 1202672 h 1451770"/>
                <a:gd name="connsiteX3803" fmla="*/ 2102209 w 3773795"/>
                <a:gd name="connsiteY3803" fmla="*/ 1202325 h 1451770"/>
                <a:gd name="connsiteX3804" fmla="*/ 2099535 w 3773795"/>
                <a:gd name="connsiteY3804" fmla="*/ 1202448 h 1451770"/>
                <a:gd name="connsiteX3805" fmla="*/ 2095828 w 3773795"/>
                <a:gd name="connsiteY3805" fmla="*/ 1202042 h 1451770"/>
                <a:gd name="connsiteX3806" fmla="*/ 2093854 w 3773795"/>
                <a:gd name="connsiteY3806" fmla="*/ 1201494 h 1451770"/>
                <a:gd name="connsiteX3807" fmla="*/ 2092189 w 3773795"/>
                <a:gd name="connsiteY3807" fmla="*/ 1201990 h 1451770"/>
                <a:gd name="connsiteX3808" fmla="*/ 2088849 w 3773795"/>
                <a:gd name="connsiteY3808" fmla="*/ 1203510 h 1451770"/>
                <a:gd name="connsiteX3809" fmla="*/ 2084657 w 3773795"/>
                <a:gd name="connsiteY3809" fmla="*/ 1206507 h 1451770"/>
                <a:gd name="connsiteX3810" fmla="*/ 2081369 w 3773795"/>
                <a:gd name="connsiteY3810" fmla="*/ 1207651 h 1451770"/>
                <a:gd name="connsiteX3811" fmla="*/ 2077871 w 3773795"/>
                <a:gd name="connsiteY3811" fmla="*/ 1209224 h 1451770"/>
                <a:gd name="connsiteX3812" fmla="*/ 2075025 w 3773795"/>
                <a:gd name="connsiteY3812" fmla="*/ 1211112 h 1451770"/>
                <a:gd name="connsiteX3813" fmla="*/ 2072229 w 3773795"/>
                <a:gd name="connsiteY3813" fmla="*/ 1213052 h 1451770"/>
                <a:gd name="connsiteX3814" fmla="*/ 2068803 w 3773795"/>
                <a:gd name="connsiteY3814" fmla="*/ 1215275 h 1451770"/>
                <a:gd name="connsiteX3815" fmla="*/ 2067210 w 3773795"/>
                <a:gd name="connsiteY3815" fmla="*/ 1218287 h 1451770"/>
                <a:gd name="connsiteX3816" fmla="*/ 2066402 w 3773795"/>
                <a:gd name="connsiteY3816" fmla="*/ 1220479 h 1451770"/>
                <a:gd name="connsiteX3817" fmla="*/ 2063290 w 3773795"/>
                <a:gd name="connsiteY3817" fmla="*/ 1221830 h 1451770"/>
                <a:gd name="connsiteX3818" fmla="*/ 2060894 w 3773795"/>
                <a:gd name="connsiteY3818" fmla="*/ 1223141 h 1451770"/>
                <a:gd name="connsiteX3819" fmla="*/ 2058481 w 3773795"/>
                <a:gd name="connsiteY3819" fmla="*/ 1223609 h 1451770"/>
                <a:gd name="connsiteX3820" fmla="*/ 2054005 w 3773795"/>
                <a:gd name="connsiteY3820" fmla="*/ 1222890 h 1451770"/>
                <a:gd name="connsiteX3821" fmla="*/ 2051358 w 3773795"/>
                <a:gd name="connsiteY3821" fmla="*/ 1223399 h 1451770"/>
                <a:gd name="connsiteX3822" fmla="*/ 2044823 w 3773795"/>
                <a:gd name="connsiteY3822" fmla="*/ 1225992 h 1451770"/>
                <a:gd name="connsiteX3823" fmla="*/ 2041613 w 3773795"/>
                <a:gd name="connsiteY3823" fmla="*/ 1226227 h 1451770"/>
                <a:gd name="connsiteX3824" fmla="*/ 2039377 w 3773795"/>
                <a:gd name="connsiteY3824" fmla="*/ 1226583 h 1451770"/>
                <a:gd name="connsiteX3825" fmla="*/ 2037214 w 3773795"/>
                <a:gd name="connsiteY3825" fmla="*/ 1226750 h 1451770"/>
                <a:gd name="connsiteX3826" fmla="*/ 2033660 w 3773795"/>
                <a:gd name="connsiteY3826" fmla="*/ 1227362 h 1451770"/>
                <a:gd name="connsiteX3827" fmla="*/ 2032269 w 3773795"/>
                <a:gd name="connsiteY3827" fmla="*/ 1227805 h 1451770"/>
                <a:gd name="connsiteX3828" fmla="*/ 2030442 w 3773795"/>
                <a:gd name="connsiteY3828" fmla="*/ 1228330 h 1451770"/>
                <a:gd name="connsiteX3829" fmla="*/ 2028393 w 3773795"/>
                <a:gd name="connsiteY3829" fmla="*/ 1227951 h 1451770"/>
                <a:gd name="connsiteX3830" fmla="*/ 2025465 w 3773795"/>
                <a:gd name="connsiteY3830" fmla="*/ 1229428 h 1451770"/>
                <a:gd name="connsiteX3831" fmla="*/ 2017144 w 3773795"/>
                <a:gd name="connsiteY3831" fmla="*/ 1233380 h 1451770"/>
                <a:gd name="connsiteX3832" fmla="*/ 2014531 w 3773795"/>
                <a:gd name="connsiteY3832" fmla="*/ 1234043 h 1451770"/>
                <a:gd name="connsiteX3833" fmla="*/ 2012791 w 3773795"/>
                <a:gd name="connsiteY3833" fmla="*/ 1234196 h 1451770"/>
                <a:gd name="connsiteX3834" fmla="*/ 2010547 w 3773795"/>
                <a:gd name="connsiteY3834" fmla="*/ 1232783 h 1451770"/>
                <a:gd name="connsiteX3835" fmla="*/ 2008298 w 3773795"/>
                <a:gd name="connsiteY3835" fmla="*/ 1231841 h 1451770"/>
                <a:gd name="connsiteX3836" fmla="*/ 2005943 w 3773795"/>
                <a:gd name="connsiteY3836" fmla="*/ 1231959 h 1451770"/>
                <a:gd name="connsiteX3837" fmla="*/ 2003258 w 3773795"/>
                <a:gd name="connsiteY3837" fmla="*/ 1233258 h 1451770"/>
                <a:gd name="connsiteX3838" fmla="*/ 1998716 w 3773795"/>
                <a:gd name="connsiteY3838" fmla="*/ 1232252 h 1451770"/>
                <a:gd name="connsiteX3839" fmla="*/ 1993318 w 3773795"/>
                <a:gd name="connsiteY3839" fmla="*/ 1231288 h 1451770"/>
                <a:gd name="connsiteX3840" fmla="*/ 1988416 w 3773795"/>
                <a:gd name="connsiteY3840" fmla="*/ 1230413 h 1451770"/>
                <a:gd name="connsiteX3841" fmla="*/ 1986758 w 3773795"/>
                <a:gd name="connsiteY3841" fmla="*/ 1229656 h 1451770"/>
                <a:gd name="connsiteX3842" fmla="*/ 1981960 w 3773795"/>
                <a:gd name="connsiteY3842" fmla="*/ 1228551 h 1451770"/>
                <a:gd name="connsiteX3843" fmla="*/ 1974955 w 3773795"/>
                <a:gd name="connsiteY3843" fmla="*/ 1228539 h 1451770"/>
                <a:gd name="connsiteX3844" fmla="*/ 1970822 w 3773795"/>
                <a:gd name="connsiteY3844" fmla="*/ 1228530 h 1451770"/>
                <a:gd name="connsiteX3845" fmla="*/ 1968182 w 3773795"/>
                <a:gd name="connsiteY3845" fmla="*/ 1228898 h 1451770"/>
                <a:gd name="connsiteX3846" fmla="*/ 1966165 w 3773795"/>
                <a:gd name="connsiteY3846" fmla="*/ 1228362 h 1451770"/>
                <a:gd name="connsiteX3847" fmla="*/ 1963611 w 3773795"/>
                <a:gd name="connsiteY3847" fmla="*/ 1226789 h 1451770"/>
                <a:gd name="connsiteX3848" fmla="*/ 1959325 w 3773795"/>
                <a:gd name="connsiteY3848" fmla="*/ 1223106 h 1451770"/>
                <a:gd name="connsiteX3849" fmla="*/ 1956781 w 3773795"/>
                <a:gd name="connsiteY3849" fmla="*/ 1222020 h 1451770"/>
                <a:gd name="connsiteX3850" fmla="*/ 1955361 w 3773795"/>
                <a:gd name="connsiteY3850" fmla="*/ 1221119 h 1451770"/>
                <a:gd name="connsiteX3851" fmla="*/ 1954824 w 3773795"/>
                <a:gd name="connsiteY3851" fmla="*/ 1219599 h 1451770"/>
                <a:gd name="connsiteX3852" fmla="*/ 1953848 w 3773795"/>
                <a:gd name="connsiteY3852" fmla="*/ 1219409 h 1451770"/>
                <a:gd name="connsiteX3853" fmla="*/ 1953213 w 3773795"/>
                <a:gd name="connsiteY3853" fmla="*/ 1218330 h 1451770"/>
                <a:gd name="connsiteX3854" fmla="*/ 1953259 w 3773795"/>
                <a:gd name="connsiteY3854" fmla="*/ 1216900 h 1451770"/>
                <a:gd name="connsiteX3855" fmla="*/ 1953172 w 3773795"/>
                <a:gd name="connsiteY3855" fmla="*/ 1213781 h 1451770"/>
                <a:gd name="connsiteX3856" fmla="*/ 1953460 w 3773795"/>
                <a:gd name="connsiteY3856" fmla="*/ 1211600 h 1451770"/>
                <a:gd name="connsiteX3857" fmla="*/ 1952769 w 3773795"/>
                <a:gd name="connsiteY3857" fmla="*/ 1210933 h 1451770"/>
                <a:gd name="connsiteX3858" fmla="*/ 1949899 w 3773795"/>
                <a:gd name="connsiteY3858" fmla="*/ 1210581 h 1451770"/>
                <a:gd name="connsiteX3859" fmla="*/ 1946453 w 3773795"/>
                <a:gd name="connsiteY3859" fmla="*/ 1209915 h 1451770"/>
                <a:gd name="connsiteX3860" fmla="*/ 1940175 w 3773795"/>
                <a:gd name="connsiteY3860" fmla="*/ 1209812 h 1451770"/>
                <a:gd name="connsiteX3861" fmla="*/ 1937659 w 3773795"/>
                <a:gd name="connsiteY3861" fmla="*/ 1209733 h 1451770"/>
                <a:gd name="connsiteX3862" fmla="*/ 1935664 w 3773795"/>
                <a:gd name="connsiteY3862" fmla="*/ 1208474 h 1451770"/>
                <a:gd name="connsiteX3863" fmla="*/ 1933391 w 3773795"/>
                <a:gd name="connsiteY3863" fmla="*/ 1206930 h 1451770"/>
                <a:gd name="connsiteX3864" fmla="*/ 1931203 w 3773795"/>
                <a:gd name="connsiteY3864" fmla="*/ 1203744 h 1451770"/>
                <a:gd name="connsiteX3865" fmla="*/ 1929266 w 3773795"/>
                <a:gd name="connsiteY3865" fmla="*/ 1202250 h 1451770"/>
                <a:gd name="connsiteX3866" fmla="*/ 1926113 w 3773795"/>
                <a:gd name="connsiteY3866" fmla="*/ 1200387 h 1451770"/>
                <a:gd name="connsiteX3867" fmla="*/ 1923090 w 3773795"/>
                <a:gd name="connsiteY3867" fmla="*/ 1199918 h 1451770"/>
                <a:gd name="connsiteX3868" fmla="*/ 1918536 w 3773795"/>
                <a:gd name="connsiteY3868" fmla="*/ 1200243 h 1451770"/>
                <a:gd name="connsiteX3869" fmla="*/ 1915206 w 3773795"/>
                <a:gd name="connsiteY3869" fmla="*/ 1200620 h 1451770"/>
                <a:gd name="connsiteX3870" fmla="*/ 1912214 w 3773795"/>
                <a:gd name="connsiteY3870" fmla="*/ 1199809 h 1451770"/>
                <a:gd name="connsiteX3871" fmla="*/ 1910311 w 3773795"/>
                <a:gd name="connsiteY3871" fmla="*/ 1198784 h 1451770"/>
                <a:gd name="connsiteX3872" fmla="*/ 1907629 w 3773795"/>
                <a:gd name="connsiteY3872" fmla="*/ 1197698 h 1451770"/>
                <a:gd name="connsiteX3873" fmla="*/ 1903591 w 3773795"/>
                <a:gd name="connsiteY3873" fmla="*/ 1197443 h 1451770"/>
                <a:gd name="connsiteX3874" fmla="*/ 1900253 w 3773795"/>
                <a:gd name="connsiteY3874" fmla="*/ 1196657 h 1451770"/>
                <a:gd name="connsiteX3875" fmla="*/ 1896759 w 3773795"/>
                <a:gd name="connsiteY3875" fmla="*/ 1195715 h 1451770"/>
                <a:gd name="connsiteX3876" fmla="*/ 1894174 w 3773795"/>
                <a:gd name="connsiteY3876" fmla="*/ 1196099 h 1451770"/>
                <a:gd name="connsiteX3877" fmla="*/ 1892388 w 3773795"/>
                <a:gd name="connsiteY3877" fmla="*/ 1196996 h 1451770"/>
                <a:gd name="connsiteX3878" fmla="*/ 1890371 w 3773795"/>
                <a:gd name="connsiteY3878" fmla="*/ 1198146 h 1451770"/>
                <a:gd name="connsiteX3879" fmla="*/ 1887767 w 3773795"/>
                <a:gd name="connsiteY3879" fmla="*/ 1198350 h 1451770"/>
                <a:gd name="connsiteX3880" fmla="*/ 1881319 w 3773795"/>
                <a:gd name="connsiteY3880" fmla="*/ 1199540 h 1451770"/>
                <a:gd name="connsiteX3881" fmla="*/ 1879352 w 3773795"/>
                <a:gd name="connsiteY3881" fmla="*/ 1200254 h 1451770"/>
                <a:gd name="connsiteX3882" fmla="*/ 1876475 w 3773795"/>
                <a:gd name="connsiteY3882" fmla="*/ 1200574 h 1451770"/>
                <a:gd name="connsiteX3883" fmla="*/ 1873990 w 3773795"/>
                <a:gd name="connsiteY3883" fmla="*/ 1201468 h 1451770"/>
                <a:gd name="connsiteX3884" fmla="*/ 1871913 w 3773795"/>
                <a:gd name="connsiteY3884" fmla="*/ 1203229 h 1451770"/>
                <a:gd name="connsiteX3885" fmla="*/ 1870138 w 3773795"/>
                <a:gd name="connsiteY3885" fmla="*/ 1204532 h 1451770"/>
                <a:gd name="connsiteX3886" fmla="*/ 1867905 w 3773795"/>
                <a:gd name="connsiteY3886" fmla="*/ 1204971 h 1451770"/>
                <a:gd name="connsiteX3887" fmla="*/ 1865247 w 3773795"/>
                <a:gd name="connsiteY3887" fmla="*/ 1204883 h 1451770"/>
                <a:gd name="connsiteX3888" fmla="*/ 1862984 w 3773795"/>
                <a:gd name="connsiteY3888" fmla="*/ 1204463 h 1451770"/>
                <a:gd name="connsiteX3889" fmla="*/ 1861800 w 3773795"/>
                <a:gd name="connsiteY3889" fmla="*/ 1204339 h 1451770"/>
                <a:gd name="connsiteX3890" fmla="*/ 1860045 w 3773795"/>
                <a:gd name="connsiteY3890" fmla="*/ 1204982 h 1451770"/>
                <a:gd name="connsiteX3891" fmla="*/ 1858047 w 3773795"/>
                <a:gd name="connsiteY3891" fmla="*/ 1205424 h 1451770"/>
                <a:gd name="connsiteX3892" fmla="*/ 1855026 w 3773795"/>
                <a:gd name="connsiteY3892" fmla="*/ 1204662 h 1451770"/>
                <a:gd name="connsiteX3893" fmla="*/ 1853366 w 3773795"/>
                <a:gd name="connsiteY3893" fmla="*/ 1204022 h 1451770"/>
                <a:gd name="connsiteX3894" fmla="*/ 1850783 w 3773795"/>
                <a:gd name="connsiteY3894" fmla="*/ 1203639 h 1451770"/>
                <a:gd name="connsiteX3895" fmla="*/ 1849222 w 3773795"/>
                <a:gd name="connsiteY3895" fmla="*/ 1201788 h 1451770"/>
                <a:gd name="connsiteX3896" fmla="*/ 1847628 w 3773795"/>
                <a:gd name="connsiteY3896" fmla="*/ 1201021 h 1451770"/>
                <a:gd name="connsiteX3897" fmla="*/ 1844925 w 3773795"/>
                <a:gd name="connsiteY3897" fmla="*/ 1200734 h 1451770"/>
                <a:gd name="connsiteX3898" fmla="*/ 1840949 w 3773795"/>
                <a:gd name="connsiteY3898" fmla="*/ 1199789 h 1451770"/>
                <a:gd name="connsiteX3899" fmla="*/ 1838865 w 3773795"/>
                <a:gd name="connsiteY3899" fmla="*/ 1198824 h 1451770"/>
                <a:gd name="connsiteX3900" fmla="*/ 1837049 w 3773795"/>
                <a:gd name="connsiteY3900" fmla="*/ 1198226 h 1451770"/>
                <a:gd name="connsiteX3901" fmla="*/ 1834020 w 3773795"/>
                <a:gd name="connsiteY3901" fmla="*/ 1196075 h 1451770"/>
                <a:gd name="connsiteX3902" fmla="*/ 1832321 w 3773795"/>
                <a:gd name="connsiteY3902" fmla="*/ 1194206 h 1451770"/>
                <a:gd name="connsiteX3903" fmla="*/ 1830936 w 3773795"/>
                <a:gd name="connsiteY3903" fmla="*/ 1193901 h 1451770"/>
                <a:gd name="connsiteX3904" fmla="*/ 1829379 w 3773795"/>
                <a:gd name="connsiteY3904" fmla="*/ 1193667 h 1451770"/>
                <a:gd name="connsiteX3905" fmla="*/ 1828317 w 3773795"/>
                <a:gd name="connsiteY3905" fmla="*/ 1192480 h 1451770"/>
                <a:gd name="connsiteX3906" fmla="*/ 1828259 w 3773795"/>
                <a:gd name="connsiteY3906" fmla="*/ 1191039 h 1451770"/>
                <a:gd name="connsiteX3907" fmla="*/ 1828647 w 3773795"/>
                <a:gd name="connsiteY3907" fmla="*/ 1190141 h 1451770"/>
                <a:gd name="connsiteX3908" fmla="*/ 1828941 w 3773795"/>
                <a:gd name="connsiteY3908" fmla="*/ 1188601 h 1451770"/>
                <a:gd name="connsiteX3909" fmla="*/ 1828056 w 3773795"/>
                <a:gd name="connsiteY3909" fmla="*/ 1187138 h 1451770"/>
                <a:gd name="connsiteX3910" fmla="*/ 1827138 w 3773795"/>
                <a:gd name="connsiteY3910" fmla="*/ 1186482 h 1451770"/>
                <a:gd name="connsiteX3911" fmla="*/ 1826696 w 3773795"/>
                <a:gd name="connsiteY3911" fmla="*/ 1185367 h 1451770"/>
                <a:gd name="connsiteX3912" fmla="*/ 1826941 w 3773795"/>
                <a:gd name="connsiteY3912" fmla="*/ 1183267 h 1451770"/>
                <a:gd name="connsiteX3913" fmla="*/ 1826589 w 3773795"/>
                <a:gd name="connsiteY3913" fmla="*/ 1181141 h 1451770"/>
                <a:gd name="connsiteX3914" fmla="*/ 1826242 w 3773795"/>
                <a:gd name="connsiteY3914" fmla="*/ 1178910 h 1451770"/>
                <a:gd name="connsiteX3915" fmla="*/ 1825300 w 3773795"/>
                <a:gd name="connsiteY3915" fmla="*/ 1177248 h 1451770"/>
                <a:gd name="connsiteX3916" fmla="*/ 1825089 w 3773795"/>
                <a:gd name="connsiteY3916" fmla="*/ 1174071 h 1451770"/>
                <a:gd name="connsiteX3917" fmla="*/ 1825479 w 3773795"/>
                <a:gd name="connsiteY3917" fmla="*/ 1172759 h 1451770"/>
                <a:gd name="connsiteX3918" fmla="*/ 1825382 w 3773795"/>
                <a:gd name="connsiteY3918" fmla="*/ 1171208 h 1451770"/>
                <a:gd name="connsiteX3919" fmla="*/ 1824407 w 3773795"/>
                <a:gd name="connsiteY3919" fmla="*/ 1170044 h 1451770"/>
                <a:gd name="connsiteX3920" fmla="*/ 1821480 w 3773795"/>
                <a:gd name="connsiteY3920" fmla="*/ 1169200 h 1451770"/>
                <a:gd name="connsiteX3921" fmla="*/ 1817987 w 3773795"/>
                <a:gd name="connsiteY3921" fmla="*/ 1168060 h 1451770"/>
                <a:gd name="connsiteX3922" fmla="*/ 1812452 w 3773795"/>
                <a:gd name="connsiteY3922" fmla="*/ 1166705 h 1451770"/>
                <a:gd name="connsiteX3923" fmla="*/ 1810096 w 3773795"/>
                <a:gd name="connsiteY3923" fmla="*/ 1166579 h 1451770"/>
                <a:gd name="connsiteX3924" fmla="*/ 1808259 w 3773795"/>
                <a:gd name="connsiteY3924" fmla="*/ 1167133 h 1451770"/>
                <a:gd name="connsiteX3925" fmla="*/ 1806561 w 3773795"/>
                <a:gd name="connsiteY3925" fmla="*/ 1166483 h 1451770"/>
                <a:gd name="connsiteX3926" fmla="*/ 1804764 w 3773795"/>
                <a:gd name="connsiteY3926" fmla="*/ 1165351 h 1451770"/>
                <a:gd name="connsiteX3927" fmla="*/ 1801716 w 3773795"/>
                <a:gd name="connsiteY3927" fmla="*/ 1164182 h 1451770"/>
                <a:gd name="connsiteX3928" fmla="*/ 1797697 w 3773795"/>
                <a:gd name="connsiteY3928" fmla="*/ 1162675 h 1451770"/>
                <a:gd name="connsiteX3929" fmla="*/ 1793432 w 3773795"/>
                <a:gd name="connsiteY3929" fmla="*/ 1160988 h 1451770"/>
                <a:gd name="connsiteX3930" fmla="*/ 1789573 w 3773795"/>
                <a:gd name="connsiteY3930" fmla="*/ 1159459 h 1451770"/>
                <a:gd name="connsiteX3931" fmla="*/ 1788085 w 3773795"/>
                <a:gd name="connsiteY3931" fmla="*/ 1159088 h 1451770"/>
                <a:gd name="connsiteX3932" fmla="*/ 1782810 w 3773795"/>
                <a:gd name="connsiteY3932" fmla="*/ 1158977 h 1451770"/>
                <a:gd name="connsiteX3933" fmla="*/ 1778481 w 3773795"/>
                <a:gd name="connsiteY3933" fmla="*/ 1158763 h 1451770"/>
                <a:gd name="connsiteX3934" fmla="*/ 1775984 w 3773795"/>
                <a:gd name="connsiteY3934" fmla="*/ 1158220 h 1451770"/>
                <a:gd name="connsiteX3935" fmla="*/ 1773026 w 3773795"/>
                <a:gd name="connsiteY3935" fmla="*/ 1156096 h 1451770"/>
                <a:gd name="connsiteX3936" fmla="*/ 1771508 w 3773795"/>
                <a:gd name="connsiteY3936" fmla="*/ 1154794 h 1451770"/>
                <a:gd name="connsiteX3937" fmla="*/ 1769156 w 3773795"/>
                <a:gd name="connsiteY3937" fmla="*/ 1154178 h 1451770"/>
                <a:gd name="connsiteX3938" fmla="*/ 1767375 w 3773795"/>
                <a:gd name="connsiteY3938" fmla="*/ 1153960 h 1451770"/>
                <a:gd name="connsiteX3939" fmla="*/ 1764604 w 3773795"/>
                <a:gd name="connsiteY3939" fmla="*/ 1153262 h 1451770"/>
                <a:gd name="connsiteX3940" fmla="*/ 1759500 w 3773795"/>
                <a:gd name="connsiteY3940" fmla="*/ 1151035 h 1451770"/>
                <a:gd name="connsiteX3941" fmla="*/ 1757625 w 3773795"/>
                <a:gd name="connsiteY3941" fmla="*/ 1149971 h 1451770"/>
                <a:gd name="connsiteX3942" fmla="*/ 1756362 w 3773795"/>
                <a:gd name="connsiteY3942" fmla="*/ 1149955 h 1451770"/>
                <a:gd name="connsiteX3943" fmla="*/ 1754677 w 3773795"/>
                <a:gd name="connsiteY3943" fmla="*/ 1147993 h 1451770"/>
                <a:gd name="connsiteX3944" fmla="*/ 1753242 w 3773795"/>
                <a:gd name="connsiteY3944" fmla="*/ 1147531 h 1451770"/>
                <a:gd name="connsiteX3945" fmla="*/ 1752257 w 3773795"/>
                <a:gd name="connsiteY3945" fmla="*/ 1148929 h 1451770"/>
                <a:gd name="connsiteX3946" fmla="*/ 1751237 w 3773795"/>
                <a:gd name="connsiteY3946" fmla="*/ 1152259 h 1451770"/>
                <a:gd name="connsiteX3947" fmla="*/ 1750300 w 3773795"/>
                <a:gd name="connsiteY3947" fmla="*/ 1153807 h 1451770"/>
                <a:gd name="connsiteX3948" fmla="*/ 1747655 w 3773795"/>
                <a:gd name="connsiteY3948" fmla="*/ 1156874 h 1451770"/>
                <a:gd name="connsiteX3949" fmla="*/ 1741291 w 3773795"/>
                <a:gd name="connsiteY3949" fmla="*/ 1159337 h 1451770"/>
                <a:gd name="connsiteX3950" fmla="*/ 1740195 w 3773795"/>
                <a:gd name="connsiteY3950" fmla="*/ 1160614 h 1451770"/>
                <a:gd name="connsiteX3951" fmla="*/ 1739614 w 3773795"/>
                <a:gd name="connsiteY3951" fmla="*/ 1161783 h 1451770"/>
                <a:gd name="connsiteX3952" fmla="*/ 1738744 w 3773795"/>
                <a:gd name="connsiteY3952" fmla="*/ 1163435 h 1451770"/>
                <a:gd name="connsiteX3953" fmla="*/ 1738355 w 3773795"/>
                <a:gd name="connsiteY3953" fmla="*/ 1165576 h 1451770"/>
                <a:gd name="connsiteX3954" fmla="*/ 1737575 w 3773795"/>
                <a:gd name="connsiteY3954" fmla="*/ 1166160 h 1451770"/>
                <a:gd name="connsiteX3955" fmla="*/ 1735772 w 3773795"/>
                <a:gd name="connsiteY3955" fmla="*/ 1166225 h 1451770"/>
                <a:gd name="connsiteX3956" fmla="*/ 1734323 w 3773795"/>
                <a:gd name="connsiteY3956" fmla="*/ 1167212 h 1451770"/>
                <a:gd name="connsiteX3957" fmla="*/ 1733252 w 3773795"/>
                <a:gd name="connsiteY3957" fmla="*/ 1169352 h 1451770"/>
                <a:gd name="connsiteX3958" fmla="*/ 1732318 w 3773795"/>
                <a:gd name="connsiteY3958" fmla="*/ 1170191 h 1451770"/>
                <a:gd name="connsiteX3959" fmla="*/ 1731794 w 3773795"/>
                <a:gd name="connsiteY3959" fmla="*/ 1172184 h 1451770"/>
                <a:gd name="connsiteX3960" fmla="*/ 1731885 w 3773795"/>
                <a:gd name="connsiteY3960" fmla="*/ 1173056 h 1451770"/>
                <a:gd name="connsiteX3961" fmla="*/ 1731676 w 3773795"/>
                <a:gd name="connsiteY3961" fmla="*/ 1174018 h 1451770"/>
                <a:gd name="connsiteX3962" fmla="*/ 1731521 w 3773795"/>
                <a:gd name="connsiteY3962" fmla="*/ 1175561 h 1451770"/>
                <a:gd name="connsiteX3963" fmla="*/ 1729860 w 3773795"/>
                <a:gd name="connsiteY3963" fmla="*/ 1178881 h 1451770"/>
                <a:gd name="connsiteX3964" fmla="*/ 1729629 w 3773795"/>
                <a:gd name="connsiteY3964" fmla="*/ 1180821 h 1451770"/>
                <a:gd name="connsiteX3965" fmla="*/ 1730311 w 3773795"/>
                <a:gd name="connsiteY3965" fmla="*/ 1182045 h 1451770"/>
                <a:gd name="connsiteX3966" fmla="*/ 1731719 w 3773795"/>
                <a:gd name="connsiteY3966" fmla="*/ 1183685 h 1451770"/>
                <a:gd name="connsiteX3967" fmla="*/ 1732456 w 3773795"/>
                <a:gd name="connsiteY3967" fmla="*/ 1184617 h 1451770"/>
                <a:gd name="connsiteX3968" fmla="*/ 1732700 w 3773795"/>
                <a:gd name="connsiteY3968" fmla="*/ 1185711 h 1451770"/>
                <a:gd name="connsiteX3969" fmla="*/ 1732649 w 3773795"/>
                <a:gd name="connsiteY3969" fmla="*/ 1187125 h 1451770"/>
                <a:gd name="connsiteX3970" fmla="*/ 1733517 w 3773795"/>
                <a:gd name="connsiteY3970" fmla="*/ 1189078 h 1451770"/>
                <a:gd name="connsiteX3971" fmla="*/ 1734151 w 3773795"/>
                <a:gd name="connsiteY3971" fmla="*/ 1190749 h 1451770"/>
                <a:gd name="connsiteX3972" fmla="*/ 1735237 w 3773795"/>
                <a:gd name="connsiteY3972" fmla="*/ 1191936 h 1451770"/>
                <a:gd name="connsiteX3973" fmla="*/ 1736699 w 3773795"/>
                <a:gd name="connsiteY3973" fmla="*/ 1192961 h 1451770"/>
                <a:gd name="connsiteX3974" fmla="*/ 1738368 w 3773795"/>
                <a:gd name="connsiteY3974" fmla="*/ 1193291 h 1451770"/>
                <a:gd name="connsiteX3975" fmla="*/ 1739672 w 3773795"/>
                <a:gd name="connsiteY3975" fmla="*/ 1193986 h 1451770"/>
                <a:gd name="connsiteX3976" fmla="*/ 1739964 w 3773795"/>
                <a:gd name="connsiteY3976" fmla="*/ 1195331 h 1451770"/>
                <a:gd name="connsiteX3977" fmla="*/ 1739625 w 3773795"/>
                <a:gd name="connsiteY3977" fmla="*/ 1197187 h 1451770"/>
                <a:gd name="connsiteX3978" fmla="*/ 1739026 w 3773795"/>
                <a:gd name="connsiteY3978" fmla="*/ 1200682 h 1451770"/>
                <a:gd name="connsiteX3979" fmla="*/ 1737914 w 3773795"/>
                <a:gd name="connsiteY3979" fmla="*/ 1202846 h 1451770"/>
                <a:gd name="connsiteX3980" fmla="*/ 1737254 w 3773795"/>
                <a:gd name="connsiteY3980" fmla="*/ 1204210 h 1451770"/>
                <a:gd name="connsiteX3981" fmla="*/ 1736189 w 3773795"/>
                <a:gd name="connsiteY3981" fmla="*/ 1206349 h 1451770"/>
                <a:gd name="connsiteX3982" fmla="*/ 1735779 w 3773795"/>
                <a:gd name="connsiteY3982" fmla="*/ 1207180 h 1451770"/>
                <a:gd name="connsiteX3983" fmla="*/ 1733578 w 3773795"/>
                <a:gd name="connsiteY3983" fmla="*/ 1209016 h 1451770"/>
                <a:gd name="connsiteX3984" fmla="*/ 1732090 w 3773795"/>
                <a:gd name="connsiteY3984" fmla="*/ 1209520 h 1451770"/>
                <a:gd name="connsiteX3985" fmla="*/ 1730261 w 3773795"/>
                <a:gd name="connsiteY3985" fmla="*/ 1210963 h 1451770"/>
                <a:gd name="connsiteX3986" fmla="*/ 1728750 w 3773795"/>
                <a:gd name="connsiteY3986" fmla="*/ 1211028 h 1451770"/>
                <a:gd name="connsiteX3987" fmla="*/ 1727316 w 3773795"/>
                <a:gd name="connsiteY3987" fmla="*/ 1211025 h 1451770"/>
                <a:gd name="connsiteX3988" fmla="*/ 1725775 w 3773795"/>
                <a:gd name="connsiteY3988" fmla="*/ 1211343 h 1451770"/>
                <a:gd name="connsiteX3989" fmla="*/ 1724412 w 3773795"/>
                <a:gd name="connsiteY3989" fmla="*/ 1211981 h 1451770"/>
                <a:gd name="connsiteX3990" fmla="*/ 1723338 w 3773795"/>
                <a:gd name="connsiteY3990" fmla="*/ 1213951 h 1451770"/>
                <a:gd name="connsiteX3991" fmla="*/ 1720631 w 3773795"/>
                <a:gd name="connsiteY3991" fmla="*/ 1215970 h 1451770"/>
                <a:gd name="connsiteX3992" fmla="*/ 1719335 w 3773795"/>
                <a:gd name="connsiteY3992" fmla="*/ 1216879 h 1451770"/>
                <a:gd name="connsiteX3993" fmla="*/ 1715992 w 3773795"/>
                <a:gd name="connsiteY3993" fmla="*/ 1217185 h 1451770"/>
                <a:gd name="connsiteX3994" fmla="*/ 1714407 w 3773795"/>
                <a:gd name="connsiteY3994" fmla="*/ 1216296 h 1451770"/>
                <a:gd name="connsiteX3995" fmla="*/ 1713539 w 3773795"/>
                <a:gd name="connsiteY3995" fmla="*/ 1215049 h 1451770"/>
                <a:gd name="connsiteX3996" fmla="*/ 1712466 w 3773795"/>
                <a:gd name="connsiteY3996" fmla="*/ 1214333 h 1451770"/>
                <a:gd name="connsiteX3997" fmla="*/ 1711065 w 3773795"/>
                <a:gd name="connsiteY3997" fmla="*/ 1212808 h 1451770"/>
                <a:gd name="connsiteX3998" fmla="*/ 1705005 w 3773795"/>
                <a:gd name="connsiteY3998" fmla="*/ 1211979 h 1451770"/>
                <a:gd name="connsiteX3999" fmla="*/ 1703425 w 3773795"/>
                <a:gd name="connsiteY3999" fmla="*/ 1212374 h 1451770"/>
                <a:gd name="connsiteX4000" fmla="*/ 1702500 w 3773795"/>
                <a:gd name="connsiteY4000" fmla="*/ 1212934 h 1451770"/>
                <a:gd name="connsiteX4001" fmla="*/ 1701280 w 3773795"/>
                <a:gd name="connsiteY4001" fmla="*/ 1212528 h 1451770"/>
                <a:gd name="connsiteX4002" fmla="*/ 1700451 w 3773795"/>
                <a:gd name="connsiteY4002" fmla="*/ 1211773 h 1451770"/>
                <a:gd name="connsiteX4003" fmla="*/ 1699581 w 3773795"/>
                <a:gd name="connsiteY4003" fmla="*/ 1211980 h 1451770"/>
                <a:gd name="connsiteX4004" fmla="*/ 1697696 w 3773795"/>
                <a:gd name="connsiteY4004" fmla="*/ 1212426 h 1451770"/>
                <a:gd name="connsiteX4005" fmla="*/ 1696234 w 3773795"/>
                <a:gd name="connsiteY4005" fmla="*/ 1212280 h 1451770"/>
                <a:gd name="connsiteX4006" fmla="*/ 1694346 w 3773795"/>
                <a:gd name="connsiteY4006" fmla="*/ 1210752 h 1451770"/>
                <a:gd name="connsiteX4007" fmla="*/ 1691738 w 3773795"/>
                <a:gd name="connsiteY4007" fmla="*/ 1209933 h 1451770"/>
                <a:gd name="connsiteX4008" fmla="*/ 1690717 w 3773795"/>
                <a:gd name="connsiteY4008" fmla="*/ 1209464 h 1451770"/>
                <a:gd name="connsiteX4009" fmla="*/ 1689678 w 3773795"/>
                <a:gd name="connsiteY4009" fmla="*/ 1209463 h 1451770"/>
                <a:gd name="connsiteX4010" fmla="*/ 1689036 w 3773795"/>
                <a:gd name="connsiteY4010" fmla="*/ 1210190 h 1451770"/>
                <a:gd name="connsiteX4011" fmla="*/ 1687847 w 3773795"/>
                <a:gd name="connsiteY4011" fmla="*/ 1210581 h 1451770"/>
                <a:gd name="connsiteX4012" fmla="*/ 1687044 w 3773795"/>
                <a:gd name="connsiteY4012" fmla="*/ 1209699 h 1451770"/>
                <a:gd name="connsiteX4013" fmla="*/ 1685994 w 3773795"/>
                <a:gd name="connsiteY4013" fmla="*/ 1209054 h 1451770"/>
                <a:gd name="connsiteX4014" fmla="*/ 1684610 w 3773795"/>
                <a:gd name="connsiteY4014" fmla="*/ 1209066 h 1451770"/>
                <a:gd name="connsiteX4015" fmla="*/ 1682807 w 3773795"/>
                <a:gd name="connsiteY4015" fmla="*/ 1210408 h 1451770"/>
                <a:gd name="connsiteX4016" fmla="*/ 1679698 w 3773795"/>
                <a:gd name="connsiteY4016" fmla="*/ 1211048 h 1451770"/>
                <a:gd name="connsiteX4017" fmla="*/ 1678712 w 3773795"/>
                <a:gd name="connsiteY4017" fmla="*/ 1211988 h 1451770"/>
                <a:gd name="connsiteX4018" fmla="*/ 1676925 w 3773795"/>
                <a:gd name="connsiteY4018" fmla="*/ 1211864 h 1451770"/>
                <a:gd name="connsiteX4019" fmla="*/ 1675683 w 3773795"/>
                <a:gd name="connsiteY4019" fmla="*/ 1211124 h 1451770"/>
                <a:gd name="connsiteX4020" fmla="*/ 1674441 w 3773795"/>
                <a:gd name="connsiteY4020" fmla="*/ 1211039 h 1451770"/>
                <a:gd name="connsiteX4021" fmla="*/ 1670831 w 3773795"/>
                <a:gd name="connsiteY4021" fmla="*/ 1211048 h 1451770"/>
                <a:gd name="connsiteX4022" fmla="*/ 1669619 w 3773795"/>
                <a:gd name="connsiteY4022" fmla="*/ 1211290 h 1451770"/>
                <a:gd name="connsiteX4023" fmla="*/ 1668136 w 3773795"/>
                <a:gd name="connsiteY4023" fmla="*/ 1210536 h 1451770"/>
                <a:gd name="connsiteX4024" fmla="*/ 1667441 w 3773795"/>
                <a:gd name="connsiteY4024" fmla="*/ 1209189 h 1451770"/>
                <a:gd name="connsiteX4025" fmla="*/ 1665614 w 3773795"/>
                <a:gd name="connsiteY4025" fmla="*/ 1208164 h 1451770"/>
                <a:gd name="connsiteX4026" fmla="*/ 1662981 w 3773795"/>
                <a:gd name="connsiteY4026" fmla="*/ 1208036 h 1451770"/>
                <a:gd name="connsiteX4027" fmla="*/ 1660921 w 3773795"/>
                <a:gd name="connsiteY4027" fmla="*/ 1208178 h 1451770"/>
                <a:gd name="connsiteX4028" fmla="*/ 1659980 w 3773795"/>
                <a:gd name="connsiteY4028" fmla="*/ 1208617 h 1451770"/>
                <a:gd name="connsiteX4029" fmla="*/ 1658637 w 3773795"/>
                <a:gd name="connsiteY4029" fmla="*/ 1208742 h 1451770"/>
                <a:gd name="connsiteX4030" fmla="*/ 1657529 w 3773795"/>
                <a:gd name="connsiteY4030" fmla="*/ 1206888 h 1451770"/>
                <a:gd name="connsiteX4031" fmla="*/ 1656030 w 3773795"/>
                <a:gd name="connsiteY4031" fmla="*/ 1205591 h 1451770"/>
                <a:gd name="connsiteX4032" fmla="*/ 1655182 w 3773795"/>
                <a:gd name="connsiteY4032" fmla="*/ 1204639 h 1451770"/>
                <a:gd name="connsiteX4033" fmla="*/ 1653893 w 3773795"/>
                <a:gd name="connsiteY4033" fmla="*/ 1204237 h 1451770"/>
                <a:gd name="connsiteX4034" fmla="*/ 1652887 w 3773795"/>
                <a:gd name="connsiteY4034" fmla="*/ 1203016 h 1451770"/>
                <a:gd name="connsiteX4035" fmla="*/ 1652714 w 3773795"/>
                <a:gd name="connsiteY4035" fmla="*/ 1200653 h 1451770"/>
                <a:gd name="connsiteX4036" fmla="*/ 1652105 w 3773795"/>
                <a:gd name="connsiteY4036" fmla="*/ 1197712 h 1451770"/>
                <a:gd name="connsiteX4037" fmla="*/ 1651390 w 3773795"/>
                <a:gd name="connsiteY4037" fmla="*/ 1194622 h 1451770"/>
                <a:gd name="connsiteX4038" fmla="*/ 1650595 w 3773795"/>
                <a:gd name="connsiteY4038" fmla="*/ 1193314 h 1451770"/>
                <a:gd name="connsiteX4039" fmla="*/ 1646719 w 3773795"/>
                <a:gd name="connsiteY4039" fmla="*/ 1192836 h 1451770"/>
                <a:gd name="connsiteX4040" fmla="*/ 1644819 w 3773795"/>
                <a:gd name="connsiteY4040" fmla="*/ 1192952 h 1451770"/>
                <a:gd name="connsiteX4041" fmla="*/ 1640519 w 3773795"/>
                <a:gd name="connsiteY4041" fmla="*/ 1192697 h 1451770"/>
                <a:gd name="connsiteX4042" fmla="*/ 1637570 w 3773795"/>
                <a:gd name="connsiteY4042" fmla="*/ 1192521 h 1451770"/>
                <a:gd name="connsiteX4043" fmla="*/ 1636764 w 3773795"/>
                <a:gd name="connsiteY4043" fmla="*/ 1192467 h 1451770"/>
                <a:gd name="connsiteX4044" fmla="*/ 1634011 w 3773795"/>
                <a:gd name="connsiteY4044" fmla="*/ 1192120 h 1451770"/>
                <a:gd name="connsiteX4045" fmla="*/ 1631485 w 3773795"/>
                <a:gd name="connsiteY4045" fmla="*/ 1191800 h 1451770"/>
                <a:gd name="connsiteX4046" fmla="*/ 1628913 w 3773795"/>
                <a:gd name="connsiteY4046" fmla="*/ 1191594 h 1451770"/>
                <a:gd name="connsiteX4047" fmla="*/ 1627853 w 3773795"/>
                <a:gd name="connsiteY4047" fmla="*/ 1191857 h 1451770"/>
                <a:gd name="connsiteX4048" fmla="*/ 1625212 w 3773795"/>
                <a:gd name="connsiteY4048" fmla="*/ 1191933 h 1451770"/>
                <a:gd name="connsiteX4049" fmla="*/ 1623149 w 3773795"/>
                <a:gd name="connsiteY4049" fmla="*/ 1190461 h 1451770"/>
                <a:gd name="connsiteX4050" fmla="*/ 1622283 w 3773795"/>
                <a:gd name="connsiteY4050" fmla="*/ 1188774 h 1451770"/>
                <a:gd name="connsiteX4051" fmla="*/ 1622126 w 3773795"/>
                <a:gd name="connsiteY4051" fmla="*/ 1187830 h 1451770"/>
                <a:gd name="connsiteX4052" fmla="*/ 1621634 w 3773795"/>
                <a:gd name="connsiteY4052" fmla="*/ 1186860 h 1451770"/>
                <a:gd name="connsiteX4053" fmla="*/ 1619757 w 3773795"/>
                <a:gd name="connsiteY4053" fmla="*/ 1186543 h 1451770"/>
                <a:gd name="connsiteX4054" fmla="*/ 1618051 w 3773795"/>
                <a:gd name="connsiteY4054" fmla="*/ 1186847 h 1451770"/>
                <a:gd name="connsiteX4055" fmla="*/ 1617152 w 3773795"/>
                <a:gd name="connsiteY4055" fmla="*/ 1188820 h 1451770"/>
                <a:gd name="connsiteX4056" fmla="*/ 1615885 w 3773795"/>
                <a:gd name="connsiteY4056" fmla="*/ 1189627 h 1451770"/>
                <a:gd name="connsiteX4057" fmla="*/ 1614676 w 3773795"/>
                <a:gd name="connsiteY4057" fmla="*/ 1189479 h 1451770"/>
                <a:gd name="connsiteX4058" fmla="*/ 1613620 w 3773795"/>
                <a:gd name="connsiteY4058" fmla="*/ 1188397 h 1451770"/>
                <a:gd name="connsiteX4059" fmla="*/ 1611575 w 3773795"/>
                <a:gd name="connsiteY4059" fmla="*/ 1187243 h 1451770"/>
                <a:gd name="connsiteX4060" fmla="*/ 1610247 w 3773795"/>
                <a:gd name="connsiteY4060" fmla="*/ 1186136 h 1451770"/>
                <a:gd name="connsiteX4061" fmla="*/ 1608664 w 3773795"/>
                <a:gd name="connsiteY4061" fmla="*/ 1184355 h 1451770"/>
                <a:gd name="connsiteX4062" fmla="*/ 1607360 w 3773795"/>
                <a:gd name="connsiteY4062" fmla="*/ 1184774 h 1451770"/>
                <a:gd name="connsiteX4063" fmla="*/ 1606989 w 3773795"/>
                <a:gd name="connsiteY4063" fmla="*/ 1185870 h 1451770"/>
                <a:gd name="connsiteX4064" fmla="*/ 1606686 w 3773795"/>
                <a:gd name="connsiteY4064" fmla="*/ 1186948 h 1451770"/>
                <a:gd name="connsiteX4065" fmla="*/ 1605073 w 3773795"/>
                <a:gd name="connsiteY4065" fmla="*/ 1189121 h 1451770"/>
                <a:gd name="connsiteX4066" fmla="*/ 1603119 w 3773795"/>
                <a:gd name="connsiteY4066" fmla="*/ 1189371 h 1451770"/>
                <a:gd name="connsiteX4067" fmla="*/ 1599858 w 3773795"/>
                <a:gd name="connsiteY4067" fmla="*/ 1189207 h 1451770"/>
                <a:gd name="connsiteX4068" fmla="*/ 1596492 w 3773795"/>
                <a:gd name="connsiteY4068" fmla="*/ 1189324 h 1451770"/>
                <a:gd name="connsiteX4069" fmla="*/ 1594326 w 3773795"/>
                <a:gd name="connsiteY4069" fmla="*/ 1190141 h 1451770"/>
                <a:gd name="connsiteX4070" fmla="*/ 1592730 w 3773795"/>
                <a:gd name="connsiteY4070" fmla="*/ 1191607 h 1451770"/>
                <a:gd name="connsiteX4071" fmla="*/ 1591905 w 3773795"/>
                <a:gd name="connsiteY4071" fmla="*/ 1192758 h 1451770"/>
                <a:gd name="connsiteX4072" fmla="*/ 1590243 w 3773795"/>
                <a:gd name="connsiteY4072" fmla="*/ 1193151 h 1451770"/>
                <a:gd name="connsiteX4073" fmla="*/ 1588580 w 3773795"/>
                <a:gd name="connsiteY4073" fmla="*/ 1194308 h 1451770"/>
                <a:gd name="connsiteX4074" fmla="*/ 1587885 w 3773795"/>
                <a:gd name="connsiteY4074" fmla="*/ 1195881 h 1451770"/>
                <a:gd name="connsiteX4075" fmla="*/ 1586244 w 3773795"/>
                <a:gd name="connsiteY4075" fmla="*/ 1195821 h 1451770"/>
                <a:gd name="connsiteX4076" fmla="*/ 1585354 w 3773795"/>
                <a:gd name="connsiteY4076" fmla="*/ 1196015 h 1451770"/>
                <a:gd name="connsiteX4077" fmla="*/ 1583876 w 3773795"/>
                <a:gd name="connsiteY4077" fmla="*/ 1196334 h 1451770"/>
                <a:gd name="connsiteX4078" fmla="*/ 1580095 w 3773795"/>
                <a:gd name="connsiteY4078" fmla="*/ 1197198 h 1451770"/>
                <a:gd name="connsiteX4079" fmla="*/ 1579184 w 3773795"/>
                <a:gd name="connsiteY4079" fmla="*/ 1197405 h 1451770"/>
                <a:gd name="connsiteX4080" fmla="*/ 1576876 w 3773795"/>
                <a:gd name="connsiteY4080" fmla="*/ 1198893 h 1451770"/>
                <a:gd name="connsiteX4081" fmla="*/ 1575127 w 3773795"/>
                <a:gd name="connsiteY4081" fmla="*/ 1200065 h 1451770"/>
                <a:gd name="connsiteX4082" fmla="*/ 1573416 w 3773795"/>
                <a:gd name="connsiteY4082" fmla="*/ 1200580 h 1451770"/>
                <a:gd name="connsiteX4083" fmla="*/ 1572391 w 3773795"/>
                <a:gd name="connsiteY4083" fmla="*/ 1201928 h 1451770"/>
                <a:gd name="connsiteX4084" fmla="*/ 1571080 w 3773795"/>
                <a:gd name="connsiteY4084" fmla="*/ 1203000 h 1451770"/>
                <a:gd name="connsiteX4085" fmla="*/ 1568024 w 3773795"/>
                <a:gd name="connsiteY4085" fmla="*/ 1203262 h 1451770"/>
                <a:gd name="connsiteX4086" fmla="*/ 1564663 w 3773795"/>
                <a:gd name="connsiteY4086" fmla="*/ 1204605 h 1451770"/>
                <a:gd name="connsiteX4087" fmla="*/ 1563479 w 3773795"/>
                <a:gd name="connsiteY4087" fmla="*/ 1205060 h 1451770"/>
                <a:gd name="connsiteX4088" fmla="*/ 1561559 w 3773795"/>
                <a:gd name="connsiteY4088" fmla="*/ 1206056 h 1451770"/>
                <a:gd name="connsiteX4089" fmla="*/ 1558889 w 3773795"/>
                <a:gd name="connsiteY4089" fmla="*/ 1206443 h 1451770"/>
                <a:gd name="connsiteX4090" fmla="*/ 1557782 w 3773795"/>
                <a:gd name="connsiteY4090" fmla="*/ 1206720 h 1451770"/>
                <a:gd name="connsiteX4091" fmla="*/ 1556705 w 3773795"/>
                <a:gd name="connsiteY4091" fmla="*/ 1207427 h 1451770"/>
                <a:gd name="connsiteX4092" fmla="*/ 1556094 w 3773795"/>
                <a:gd name="connsiteY4092" fmla="*/ 1209880 h 1451770"/>
                <a:gd name="connsiteX4093" fmla="*/ 1553898 w 3773795"/>
                <a:gd name="connsiteY4093" fmla="*/ 1210769 h 1451770"/>
                <a:gd name="connsiteX4094" fmla="*/ 1550939 w 3773795"/>
                <a:gd name="connsiteY4094" fmla="*/ 1210925 h 1451770"/>
                <a:gd name="connsiteX4095" fmla="*/ 1548719 w 3773795"/>
                <a:gd name="connsiteY4095" fmla="*/ 1212225 h 1451770"/>
                <a:gd name="connsiteX4096" fmla="*/ 1548508 w 3773795"/>
                <a:gd name="connsiteY4096" fmla="*/ 1214523 h 1451770"/>
                <a:gd name="connsiteX4097" fmla="*/ 1549288 w 3773795"/>
                <a:gd name="connsiteY4097" fmla="*/ 1216619 h 1451770"/>
                <a:gd name="connsiteX4098" fmla="*/ 1548947 w 3773795"/>
                <a:gd name="connsiteY4098" fmla="*/ 1217569 h 1451770"/>
                <a:gd name="connsiteX4099" fmla="*/ 1547290 w 3773795"/>
                <a:gd name="connsiteY4099" fmla="*/ 1218080 h 1451770"/>
                <a:gd name="connsiteX4100" fmla="*/ 1544986 w 3773795"/>
                <a:gd name="connsiteY4100" fmla="*/ 1219206 h 1451770"/>
                <a:gd name="connsiteX4101" fmla="*/ 1543231 w 3773795"/>
                <a:gd name="connsiteY4101" fmla="*/ 1220615 h 1451770"/>
                <a:gd name="connsiteX4102" fmla="*/ 1541099 w 3773795"/>
                <a:gd name="connsiteY4102" fmla="*/ 1220627 h 1451770"/>
                <a:gd name="connsiteX4103" fmla="*/ 1539877 w 3773795"/>
                <a:gd name="connsiteY4103" fmla="*/ 1220169 h 1451770"/>
                <a:gd name="connsiteX4104" fmla="*/ 1538970 w 3773795"/>
                <a:gd name="connsiteY4104" fmla="*/ 1221070 h 1451770"/>
                <a:gd name="connsiteX4105" fmla="*/ 1538463 w 3773795"/>
                <a:gd name="connsiteY4105" fmla="*/ 1222893 h 1451770"/>
                <a:gd name="connsiteX4106" fmla="*/ 1536904 w 3773795"/>
                <a:gd name="connsiteY4106" fmla="*/ 1223779 h 1451770"/>
                <a:gd name="connsiteX4107" fmla="*/ 1534668 w 3773795"/>
                <a:gd name="connsiteY4107" fmla="*/ 1224599 h 1451770"/>
                <a:gd name="connsiteX4108" fmla="*/ 1533833 w 3773795"/>
                <a:gd name="connsiteY4108" fmla="*/ 1224285 h 1451770"/>
                <a:gd name="connsiteX4109" fmla="*/ 1533276 w 3773795"/>
                <a:gd name="connsiteY4109" fmla="*/ 1223598 h 1451770"/>
                <a:gd name="connsiteX4110" fmla="*/ 1532276 w 3773795"/>
                <a:gd name="connsiteY4110" fmla="*/ 1222678 h 1451770"/>
                <a:gd name="connsiteX4111" fmla="*/ 1531472 w 3773795"/>
                <a:gd name="connsiteY4111" fmla="*/ 1223025 h 1451770"/>
                <a:gd name="connsiteX4112" fmla="*/ 1531395 w 3773795"/>
                <a:gd name="connsiteY4112" fmla="*/ 1224347 h 1451770"/>
                <a:gd name="connsiteX4113" fmla="*/ 1530760 w 3773795"/>
                <a:gd name="connsiteY4113" fmla="*/ 1225297 h 1451770"/>
                <a:gd name="connsiteX4114" fmla="*/ 1528907 w 3773795"/>
                <a:gd name="connsiteY4114" fmla="*/ 1225360 h 1451770"/>
                <a:gd name="connsiteX4115" fmla="*/ 1527467 w 3773795"/>
                <a:gd name="connsiteY4115" fmla="*/ 1224835 h 1451770"/>
                <a:gd name="connsiteX4116" fmla="*/ 1526372 w 3773795"/>
                <a:gd name="connsiteY4116" fmla="*/ 1224216 h 1451770"/>
                <a:gd name="connsiteX4117" fmla="*/ 1524407 w 3773795"/>
                <a:gd name="connsiteY4117" fmla="*/ 1224318 h 1451770"/>
                <a:gd name="connsiteX4118" fmla="*/ 1522375 w 3773795"/>
                <a:gd name="connsiteY4118" fmla="*/ 1224601 h 1451770"/>
                <a:gd name="connsiteX4119" fmla="*/ 1521069 w 3773795"/>
                <a:gd name="connsiteY4119" fmla="*/ 1224310 h 1451770"/>
                <a:gd name="connsiteX4120" fmla="*/ 1519840 w 3773795"/>
                <a:gd name="connsiteY4120" fmla="*/ 1224605 h 1451770"/>
                <a:gd name="connsiteX4121" fmla="*/ 1516629 w 3773795"/>
                <a:gd name="connsiteY4121" fmla="*/ 1225204 h 1451770"/>
                <a:gd name="connsiteX4122" fmla="*/ 1515368 w 3773795"/>
                <a:gd name="connsiteY4122" fmla="*/ 1227217 h 1451770"/>
                <a:gd name="connsiteX4123" fmla="*/ 1515340 w 3773795"/>
                <a:gd name="connsiteY4123" fmla="*/ 1229596 h 1451770"/>
                <a:gd name="connsiteX4124" fmla="*/ 1514930 w 3773795"/>
                <a:gd name="connsiteY4124" fmla="*/ 1230802 h 1451770"/>
                <a:gd name="connsiteX4125" fmla="*/ 1513001 w 3773795"/>
                <a:gd name="connsiteY4125" fmla="*/ 1231847 h 1451770"/>
                <a:gd name="connsiteX4126" fmla="*/ 1512107 w 3773795"/>
                <a:gd name="connsiteY4126" fmla="*/ 1232787 h 1451770"/>
                <a:gd name="connsiteX4127" fmla="*/ 1510928 w 3773795"/>
                <a:gd name="connsiteY4127" fmla="*/ 1233426 h 1451770"/>
                <a:gd name="connsiteX4128" fmla="*/ 1508352 w 3773795"/>
                <a:gd name="connsiteY4128" fmla="*/ 1233496 h 1451770"/>
                <a:gd name="connsiteX4129" fmla="*/ 1508263 w 3773795"/>
                <a:gd name="connsiteY4129" fmla="*/ 1233490 h 1451770"/>
                <a:gd name="connsiteX4130" fmla="*/ 1507119 w 3773795"/>
                <a:gd name="connsiteY4130" fmla="*/ 1233390 h 1451770"/>
                <a:gd name="connsiteX4131" fmla="*/ 1505038 w 3773795"/>
                <a:gd name="connsiteY4131" fmla="*/ 1233922 h 1451770"/>
                <a:gd name="connsiteX4132" fmla="*/ 1503008 w 3773795"/>
                <a:gd name="connsiteY4132" fmla="*/ 1234346 h 1451770"/>
                <a:gd name="connsiteX4133" fmla="*/ 1501665 w 3773795"/>
                <a:gd name="connsiteY4133" fmla="*/ 1234630 h 1451770"/>
                <a:gd name="connsiteX4134" fmla="*/ 1500788 w 3773795"/>
                <a:gd name="connsiteY4134" fmla="*/ 1235515 h 1451770"/>
                <a:gd name="connsiteX4135" fmla="*/ 1499473 w 3773795"/>
                <a:gd name="connsiteY4135" fmla="*/ 1235939 h 1451770"/>
                <a:gd name="connsiteX4136" fmla="*/ 1497398 w 3773795"/>
                <a:gd name="connsiteY4136" fmla="*/ 1235677 h 1451770"/>
                <a:gd name="connsiteX4137" fmla="*/ 1496823 w 3773795"/>
                <a:gd name="connsiteY4137" fmla="*/ 1233909 h 1451770"/>
                <a:gd name="connsiteX4138" fmla="*/ 1495426 w 3773795"/>
                <a:gd name="connsiteY4138" fmla="*/ 1231950 h 1451770"/>
                <a:gd name="connsiteX4139" fmla="*/ 1493532 w 3773795"/>
                <a:gd name="connsiteY4139" fmla="*/ 1231274 h 1451770"/>
                <a:gd name="connsiteX4140" fmla="*/ 1491820 w 3773795"/>
                <a:gd name="connsiteY4140" fmla="*/ 1230851 h 1451770"/>
                <a:gd name="connsiteX4141" fmla="*/ 1490280 w 3773795"/>
                <a:gd name="connsiteY4141" fmla="*/ 1229914 h 1451770"/>
                <a:gd name="connsiteX4142" fmla="*/ 1489218 w 3773795"/>
                <a:gd name="connsiteY4142" fmla="*/ 1228919 h 1451770"/>
                <a:gd name="connsiteX4143" fmla="*/ 1486104 w 3773795"/>
                <a:gd name="connsiteY4143" fmla="*/ 1224165 h 1451770"/>
                <a:gd name="connsiteX4144" fmla="*/ 1483942 w 3773795"/>
                <a:gd name="connsiteY4144" fmla="*/ 1222136 h 1451770"/>
                <a:gd name="connsiteX4145" fmla="*/ 1481999 w 3773795"/>
                <a:gd name="connsiteY4145" fmla="*/ 1222018 h 1451770"/>
                <a:gd name="connsiteX4146" fmla="*/ 1481729 w 3773795"/>
                <a:gd name="connsiteY4146" fmla="*/ 1220667 h 1451770"/>
                <a:gd name="connsiteX4147" fmla="*/ 1482858 w 3773795"/>
                <a:gd name="connsiteY4147" fmla="*/ 1219317 h 1451770"/>
                <a:gd name="connsiteX4148" fmla="*/ 1484303 w 3773795"/>
                <a:gd name="connsiteY4148" fmla="*/ 1218200 h 1451770"/>
                <a:gd name="connsiteX4149" fmla="*/ 1484260 w 3773795"/>
                <a:gd name="connsiteY4149" fmla="*/ 1216671 h 1451770"/>
                <a:gd name="connsiteX4150" fmla="*/ 1483083 w 3773795"/>
                <a:gd name="connsiteY4150" fmla="*/ 1215848 h 1451770"/>
                <a:gd name="connsiteX4151" fmla="*/ 1481638 w 3773795"/>
                <a:gd name="connsiteY4151" fmla="*/ 1216082 h 1451770"/>
                <a:gd name="connsiteX4152" fmla="*/ 1479695 w 3773795"/>
                <a:gd name="connsiteY4152" fmla="*/ 1217849 h 1451770"/>
                <a:gd name="connsiteX4153" fmla="*/ 1477389 w 3773795"/>
                <a:gd name="connsiteY4153" fmla="*/ 1219841 h 1451770"/>
                <a:gd name="connsiteX4154" fmla="*/ 1474612 w 3773795"/>
                <a:gd name="connsiteY4154" fmla="*/ 1221306 h 1451770"/>
                <a:gd name="connsiteX4155" fmla="*/ 1473502 w 3773795"/>
                <a:gd name="connsiteY4155" fmla="*/ 1222488 h 1451770"/>
                <a:gd name="connsiteX4156" fmla="*/ 1472146 w 3773795"/>
                <a:gd name="connsiteY4156" fmla="*/ 1223838 h 1451770"/>
                <a:gd name="connsiteX4157" fmla="*/ 1470202 w 3773795"/>
                <a:gd name="connsiteY4157" fmla="*/ 1223661 h 1451770"/>
                <a:gd name="connsiteX4158" fmla="*/ 1468801 w 3773795"/>
                <a:gd name="connsiteY4158" fmla="*/ 1223720 h 1451770"/>
                <a:gd name="connsiteX4159" fmla="*/ 1467581 w 3773795"/>
                <a:gd name="connsiteY4159" fmla="*/ 1223838 h 1451770"/>
                <a:gd name="connsiteX4160" fmla="*/ 1466678 w 3773795"/>
                <a:gd name="connsiteY4160" fmla="*/ 1222370 h 1451770"/>
                <a:gd name="connsiteX4161" fmla="*/ 1465504 w 3773795"/>
                <a:gd name="connsiteY4161" fmla="*/ 1222195 h 1451770"/>
                <a:gd name="connsiteX4162" fmla="*/ 1457056 w 3773795"/>
                <a:gd name="connsiteY4162" fmla="*/ 1220792 h 1451770"/>
                <a:gd name="connsiteX4163" fmla="*/ 1454251 w 3773795"/>
                <a:gd name="connsiteY4163" fmla="*/ 1220259 h 1451770"/>
                <a:gd name="connsiteX4164" fmla="*/ 1452489 w 3773795"/>
                <a:gd name="connsiteY4164" fmla="*/ 1220962 h 1451770"/>
                <a:gd name="connsiteX4165" fmla="*/ 1451178 w 3773795"/>
                <a:gd name="connsiteY4165" fmla="*/ 1220492 h 1451770"/>
                <a:gd name="connsiteX4166" fmla="*/ 1450682 w 3773795"/>
                <a:gd name="connsiteY4166" fmla="*/ 1219083 h 1451770"/>
                <a:gd name="connsiteX4167" fmla="*/ 1449053 w 3773795"/>
                <a:gd name="connsiteY4167" fmla="*/ 1216612 h 1451770"/>
                <a:gd name="connsiteX4168" fmla="*/ 1447725 w 3773795"/>
                <a:gd name="connsiteY4168" fmla="*/ 1214570 h 1451770"/>
                <a:gd name="connsiteX4169" fmla="*/ 1446052 w 3773795"/>
                <a:gd name="connsiteY4169" fmla="*/ 1212481 h 1451770"/>
                <a:gd name="connsiteX4170" fmla="*/ 1445486 w 3773795"/>
                <a:gd name="connsiteY4170" fmla="*/ 1210839 h 1451770"/>
                <a:gd name="connsiteX4171" fmla="*/ 1446028 w 3773795"/>
                <a:gd name="connsiteY4171" fmla="*/ 1209130 h 1451770"/>
                <a:gd name="connsiteX4172" fmla="*/ 1445801 w 3773795"/>
                <a:gd name="connsiteY4172" fmla="*/ 1207654 h 1451770"/>
                <a:gd name="connsiteX4173" fmla="*/ 1444355 w 3773795"/>
                <a:gd name="connsiteY4173" fmla="*/ 1206886 h 1451770"/>
                <a:gd name="connsiteX4174" fmla="*/ 1442474 w 3773795"/>
                <a:gd name="connsiteY4174" fmla="*/ 1206790 h 1451770"/>
                <a:gd name="connsiteX4175" fmla="*/ 1437351 w 3773795"/>
                <a:gd name="connsiteY4175" fmla="*/ 1203578 h 1451770"/>
                <a:gd name="connsiteX4176" fmla="*/ 1434957 w 3773795"/>
                <a:gd name="connsiteY4176" fmla="*/ 1203105 h 1451770"/>
                <a:gd name="connsiteX4177" fmla="*/ 1432789 w 3773795"/>
                <a:gd name="connsiteY4177" fmla="*/ 1202514 h 1451770"/>
                <a:gd name="connsiteX4178" fmla="*/ 1431070 w 3773795"/>
                <a:gd name="connsiteY4178" fmla="*/ 1202514 h 1451770"/>
                <a:gd name="connsiteX4179" fmla="*/ 1429623 w 3773795"/>
                <a:gd name="connsiteY4179" fmla="*/ 1201093 h 1451770"/>
                <a:gd name="connsiteX4180" fmla="*/ 1428224 w 3773795"/>
                <a:gd name="connsiteY4180" fmla="*/ 1196767 h 1451770"/>
                <a:gd name="connsiteX4181" fmla="*/ 1427814 w 3773795"/>
                <a:gd name="connsiteY4181" fmla="*/ 1194355 h 1451770"/>
                <a:gd name="connsiteX4182" fmla="*/ 1426118 w 3773795"/>
                <a:gd name="connsiteY4182" fmla="*/ 1191909 h 1451770"/>
                <a:gd name="connsiteX4183" fmla="*/ 1423974 w 3773795"/>
                <a:gd name="connsiteY4183" fmla="*/ 1189811 h 1451770"/>
                <a:gd name="connsiteX4184" fmla="*/ 1422709 w 3773795"/>
                <a:gd name="connsiteY4184" fmla="*/ 1186964 h 1451770"/>
                <a:gd name="connsiteX4185" fmla="*/ 1420821 w 3773795"/>
                <a:gd name="connsiteY4185" fmla="*/ 1185701 h 1451770"/>
                <a:gd name="connsiteX4186" fmla="*/ 1417682 w 3773795"/>
                <a:gd name="connsiteY4186" fmla="*/ 1183685 h 1451770"/>
                <a:gd name="connsiteX4187" fmla="*/ 1414667 w 3773795"/>
                <a:gd name="connsiteY4187" fmla="*/ 1182267 h 1451770"/>
                <a:gd name="connsiteX4188" fmla="*/ 1409711 w 3773795"/>
                <a:gd name="connsiteY4188" fmla="*/ 1180549 h 1451770"/>
                <a:gd name="connsiteX4189" fmla="*/ 1407863 w 3773795"/>
                <a:gd name="connsiteY4189" fmla="*/ 1180549 h 1451770"/>
                <a:gd name="connsiteX4190" fmla="*/ 1405354 w 3773795"/>
                <a:gd name="connsiteY4190" fmla="*/ 1180706 h 1451770"/>
                <a:gd name="connsiteX4191" fmla="*/ 1403862 w 3773795"/>
                <a:gd name="connsiteY4191" fmla="*/ 1181541 h 1451770"/>
                <a:gd name="connsiteX4192" fmla="*/ 1402236 w 3773795"/>
                <a:gd name="connsiteY4192" fmla="*/ 1183390 h 1451770"/>
                <a:gd name="connsiteX4193" fmla="*/ 1400020 w 3773795"/>
                <a:gd name="connsiteY4193" fmla="*/ 1183511 h 1451770"/>
                <a:gd name="connsiteX4194" fmla="*/ 1396522 w 3773795"/>
                <a:gd name="connsiteY4194" fmla="*/ 1183504 h 1451770"/>
                <a:gd name="connsiteX4195" fmla="*/ 1395587 w 3773795"/>
                <a:gd name="connsiteY4195" fmla="*/ 1184200 h 1451770"/>
                <a:gd name="connsiteX4196" fmla="*/ 1395021 w 3773795"/>
                <a:gd name="connsiteY4196" fmla="*/ 1185459 h 1451770"/>
                <a:gd name="connsiteX4197" fmla="*/ 1393224 w 3773795"/>
                <a:gd name="connsiteY4197" fmla="*/ 1187056 h 1451770"/>
                <a:gd name="connsiteX4198" fmla="*/ 1390620 w 3773795"/>
                <a:gd name="connsiteY4198" fmla="*/ 1188335 h 1451770"/>
                <a:gd name="connsiteX4199" fmla="*/ 1386915 w 3773795"/>
                <a:gd name="connsiteY4199" fmla="*/ 1187918 h 1451770"/>
                <a:gd name="connsiteX4200" fmla="*/ 1384384 w 3773795"/>
                <a:gd name="connsiteY4200" fmla="*/ 1188572 h 1451770"/>
                <a:gd name="connsiteX4201" fmla="*/ 1381866 w 3773795"/>
                <a:gd name="connsiteY4201" fmla="*/ 1188822 h 1451770"/>
                <a:gd name="connsiteX4202" fmla="*/ 1378232 w 3773795"/>
                <a:gd name="connsiteY4202" fmla="*/ 1187206 h 1451770"/>
                <a:gd name="connsiteX4203" fmla="*/ 1374215 w 3773795"/>
                <a:gd name="connsiteY4203" fmla="*/ 1187263 h 1451770"/>
                <a:gd name="connsiteX4204" fmla="*/ 1371602 w 3773795"/>
                <a:gd name="connsiteY4204" fmla="*/ 1187999 h 1451770"/>
                <a:gd name="connsiteX4205" fmla="*/ 1367888 w 3773795"/>
                <a:gd name="connsiteY4205" fmla="*/ 1187978 h 1451770"/>
                <a:gd name="connsiteX4206" fmla="*/ 1367126 w 3773795"/>
                <a:gd name="connsiteY4206" fmla="*/ 1187067 h 1451770"/>
                <a:gd name="connsiteX4207" fmla="*/ 1367571 w 3773795"/>
                <a:gd name="connsiteY4207" fmla="*/ 1185535 h 1451770"/>
                <a:gd name="connsiteX4208" fmla="*/ 1367264 w 3773795"/>
                <a:gd name="connsiteY4208" fmla="*/ 1184154 h 1451770"/>
                <a:gd name="connsiteX4209" fmla="*/ 1366655 w 3773795"/>
                <a:gd name="connsiteY4209" fmla="*/ 1183025 h 1451770"/>
                <a:gd name="connsiteX4210" fmla="*/ 1366172 w 3773795"/>
                <a:gd name="connsiteY4210" fmla="*/ 1181661 h 1451770"/>
                <a:gd name="connsiteX4211" fmla="*/ 1364643 w 3773795"/>
                <a:gd name="connsiteY4211" fmla="*/ 1181372 h 1451770"/>
                <a:gd name="connsiteX4212" fmla="*/ 1360341 w 3773795"/>
                <a:gd name="connsiteY4212" fmla="*/ 1181959 h 1451770"/>
                <a:gd name="connsiteX4213" fmla="*/ 1359167 w 3773795"/>
                <a:gd name="connsiteY4213" fmla="*/ 1181303 h 1451770"/>
                <a:gd name="connsiteX4214" fmla="*/ 1359300 w 3773795"/>
                <a:gd name="connsiteY4214" fmla="*/ 1179954 h 1451770"/>
                <a:gd name="connsiteX4215" fmla="*/ 1360071 w 3773795"/>
                <a:gd name="connsiteY4215" fmla="*/ 1178276 h 1451770"/>
                <a:gd name="connsiteX4216" fmla="*/ 1360704 w 3773795"/>
                <a:gd name="connsiteY4216" fmla="*/ 1176105 h 1451770"/>
                <a:gd name="connsiteX4217" fmla="*/ 1360400 w 3773795"/>
                <a:gd name="connsiteY4217" fmla="*/ 1174803 h 1451770"/>
                <a:gd name="connsiteX4218" fmla="*/ 1358178 w 3773795"/>
                <a:gd name="connsiteY4218" fmla="*/ 1174960 h 1451770"/>
                <a:gd name="connsiteX4219" fmla="*/ 1356826 w 3773795"/>
                <a:gd name="connsiteY4219" fmla="*/ 1174840 h 1451770"/>
                <a:gd name="connsiteX4220" fmla="*/ 1356129 w 3773795"/>
                <a:gd name="connsiteY4220" fmla="*/ 1173289 h 1451770"/>
                <a:gd name="connsiteX4221" fmla="*/ 1354874 w 3773795"/>
                <a:gd name="connsiteY4221" fmla="*/ 1172156 h 1451770"/>
                <a:gd name="connsiteX4222" fmla="*/ 1353453 w 3773795"/>
                <a:gd name="connsiteY4222" fmla="*/ 1172095 h 1451770"/>
                <a:gd name="connsiteX4223" fmla="*/ 1351732 w 3773795"/>
                <a:gd name="connsiteY4223" fmla="*/ 1171805 h 1451770"/>
                <a:gd name="connsiteX4224" fmla="*/ 1349858 w 3773795"/>
                <a:gd name="connsiteY4224" fmla="*/ 1172276 h 1451770"/>
                <a:gd name="connsiteX4225" fmla="*/ 1348862 w 3773795"/>
                <a:gd name="connsiteY4225" fmla="*/ 1173832 h 1451770"/>
                <a:gd name="connsiteX4226" fmla="*/ 1347651 w 3773795"/>
                <a:gd name="connsiteY4226" fmla="*/ 1174055 h 1451770"/>
                <a:gd name="connsiteX4227" fmla="*/ 1346331 w 3773795"/>
                <a:gd name="connsiteY4227" fmla="*/ 1174490 h 1451770"/>
                <a:gd name="connsiteX4228" fmla="*/ 1345381 w 3773795"/>
                <a:gd name="connsiteY4228" fmla="*/ 1175029 h 1451770"/>
                <a:gd name="connsiteX4229" fmla="*/ 1344794 w 3773795"/>
                <a:gd name="connsiteY4229" fmla="*/ 1176404 h 1451770"/>
                <a:gd name="connsiteX4230" fmla="*/ 1345061 w 3773795"/>
                <a:gd name="connsiteY4230" fmla="*/ 1177683 h 1451770"/>
                <a:gd name="connsiteX4231" fmla="*/ 1345474 w 3773795"/>
                <a:gd name="connsiteY4231" fmla="*/ 1180460 h 1451770"/>
                <a:gd name="connsiteX4232" fmla="*/ 1344841 w 3773795"/>
                <a:gd name="connsiteY4232" fmla="*/ 1181959 h 1451770"/>
                <a:gd name="connsiteX4233" fmla="*/ 1343107 w 3773795"/>
                <a:gd name="connsiteY4233" fmla="*/ 1182753 h 1451770"/>
                <a:gd name="connsiteX4234" fmla="*/ 1341453 w 3773795"/>
                <a:gd name="connsiteY4234" fmla="*/ 1182592 h 1451770"/>
                <a:gd name="connsiteX4235" fmla="*/ 1340343 w 3773795"/>
                <a:gd name="connsiteY4235" fmla="*/ 1182967 h 1451770"/>
                <a:gd name="connsiteX4236" fmla="*/ 1338287 w 3773795"/>
                <a:gd name="connsiteY4236" fmla="*/ 1184525 h 1451770"/>
                <a:gd name="connsiteX4237" fmla="*/ 1337383 w 3773795"/>
                <a:gd name="connsiteY4237" fmla="*/ 1185060 h 1451770"/>
                <a:gd name="connsiteX4238" fmla="*/ 1337067 w 3773795"/>
                <a:gd name="connsiteY4238" fmla="*/ 1186014 h 1451770"/>
                <a:gd name="connsiteX4239" fmla="*/ 1336931 w 3773795"/>
                <a:gd name="connsiteY4239" fmla="*/ 1187443 h 1451770"/>
                <a:gd name="connsiteX4240" fmla="*/ 1335169 w 3773795"/>
                <a:gd name="connsiteY4240" fmla="*/ 1186967 h 1451770"/>
                <a:gd name="connsiteX4241" fmla="*/ 1332371 w 3773795"/>
                <a:gd name="connsiteY4241" fmla="*/ 1181691 h 1451770"/>
                <a:gd name="connsiteX4242" fmla="*/ 1329203 w 3773795"/>
                <a:gd name="connsiteY4242" fmla="*/ 1175712 h 1451770"/>
                <a:gd name="connsiteX4243" fmla="*/ 1325618 w 3773795"/>
                <a:gd name="connsiteY4243" fmla="*/ 1169324 h 1451770"/>
                <a:gd name="connsiteX4244" fmla="*/ 1323729 w 3773795"/>
                <a:gd name="connsiteY4244" fmla="*/ 1165943 h 1451770"/>
                <a:gd name="connsiteX4245" fmla="*/ 1316650 w 3773795"/>
                <a:gd name="connsiteY4245" fmla="*/ 1154898 h 1451770"/>
                <a:gd name="connsiteX4246" fmla="*/ 1313187 w 3773795"/>
                <a:gd name="connsiteY4246" fmla="*/ 1149599 h 1451770"/>
                <a:gd name="connsiteX4247" fmla="*/ 1307203 w 3773795"/>
                <a:gd name="connsiteY4247" fmla="*/ 1140421 h 1451770"/>
                <a:gd name="connsiteX4248" fmla="*/ 1301764 w 3773795"/>
                <a:gd name="connsiteY4248" fmla="*/ 1132048 h 1451770"/>
                <a:gd name="connsiteX4249" fmla="*/ 1295629 w 3773795"/>
                <a:gd name="connsiteY4249" fmla="*/ 1123351 h 1451770"/>
                <a:gd name="connsiteX4250" fmla="*/ 1291990 w 3773795"/>
                <a:gd name="connsiteY4250" fmla="*/ 1118401 h 1451770"/>
                <a:gd name="connsiteX4251" fmla="*/ 1288153 w 3773795"/>
                <a:gd name="connsiteY4251" fmla="*/ 1113172 h 1451770"/>
                <a:gd name="connsiteX4252" fmla="*/ 1286814 w 3773795"/>
                <a:gd name="connsiteY4252" fmla="*/ 1111722 h 1451770"/>
                <a:gd name="connsiteX4253" fmla="*/ 1284713 w 3773795"/>
                <a:gd name="connsiteY4253" fmla="*/ 1109866 h 1451770"/>
                <a:gd name="connsiteX4254" fmla="*/ 1279513 w 3773795"/>
                <a:gd name="connsiteY4254" fmla="*/ 1106263 h 1451770"/>
                <a:gd name="connsiteX4255" fmla="*/ 1272066 w 3773795"/>
                <a:gd name="connsiteY4255" fmla="*/ 1101094 h 1451770"/>
                <a:gd name="connsiteX4256" fmla="*/ 1265173 w 3773795"/>
                <a:gd name="connsiteY4256" fmla="*/ 1096482 h 1451770"/>
                <a:gd name="connsiteX4257" fmla="*/ 1259755 w 3773795"/>
                <a:gd name="connsiteY4257" fmla="*/ 1092852 h 1451770"/>
                <a:gd name="connsiteX4258" fmla="*/ 1258371 w 3773795"/>
                <a:gd name="connsiteY4258" fmla="*/ 1091315 h 1451770"/>
                <a:gd name="connsiteX4259" fmla="*/ 1257745 w 3773795"/>
                <a:gd name="connsiteY4259" fmla="*/ 1090425 h 1451770"/>
                <a:gd name="connsiteX4260" fmla="*/ 1257166 w 3773795"/>
                <a:gd name="connsiteY4260" fmla="*/ 1089432 h 1451770"/>
                <a:gd name="connsiteX4261" fmla="*/ 1256358 w 3773795"/>
                <a:gd name="connsiteY4261" fmla="*/ 1087663 h 1451770"/>
                <a:gd name="connsiteX4262" fmla="*/ 1256350 w 3773795"/>
                <a:gd name="connsiteY4262" fmla="*/ 1086509 h 1451770"/>
                <a:gd name="connsiteX4263" fmla="*/ 1261500 w 3773795"/>
                <a:gd name="connsiteY4263" fmla="*/ 1086699 h 1451770"/>
                <a:gd name="connsiteX4264" fmla="*/ 1262571 w 3773795"/>
                <a:gd name="connsiteY4264" fmla="*/ 1085567 h 1451770"/>
                <a:gd name="connsiteX4265" fmla="*/ 1264471 w 3773795"/>
                <a:gd name="connsiteY4265" fmla="*/ 1081325 h 1451770"/>
                <a:gd name="connsiteX4266" fmla="*/ 1265540 w 3773795"/>
                <a:gd name="connsiteY4266" fmla="*/ 1077651 h 1451770"/>
                <a:gd name="connsiteX4267" fmla="*/ 1263817 w 3773795"/>
                <a:gd name="connsiteY4267" fmla="*/ 1077819 h 1451770"/>
                <a:gd name="connsiteX4268" fmla="*/ 1260636 w 3773795"/>
                <a:gd name="connsiteY4268" fmla="*/ 1079337 h 1451770"/>
                <a:gd name="connsiteX4269" fmla="*/ 1258947 w 3773795"/>
                <a:gd name="connsiteY4269" fmla="*/ 1080435 h 1451770"/>
                <a:gd name="connsiteX4270" fmla="*/ 1258003 w 3773795"/>
                <a:gd name="connsiteY4270" fmla="*/ 1080904 h 1451770"/>
                <a:gd name="connsiteX4271" fmla="*/ 1252920 w 3773795"/>
                <a:gd name="connsiteY4271" fmla="*/ 1081627 h 1451770"/>
                <a:gd name="connsiteX4272" fmla="*/ 1250133 w 3773795"/>
                <a:gd name="connsiteY4272" fmla="*/ 1083253 h 1451770"/>
                <a:gd name="connsiteX4273" fmla="*/ 1244386 w 3773795"/>
                <a:gd name="connsiteY4273" fmla="*/ 1086008 h 1451770"/>
                <a:gd name="connsiteX4274" fmla="*/ 1240234 w 3773795"/>
                <a:gd name="connsiteY4274" fmla="*/ 1087624 h 1451770"/>
                <a:gd name="connsiteX4275" fmla="*/ 1239437 w 3773795"/>
                <a:gd name="connsiteY4275" fmla="*/ 1087891 h 1451770"/>
                <a:gd name="connsiteX4276" fmla="*/ 1234581 w 3773795"/>
                <a:gd name="connsiteY4276" fmla="*/ 1088388 h 1451770"/>
                <a:gd name="connsiteX4277" fmla="*/ 1233717 w 3773795"/>
                <a:gd name="connsiteY4277" fmla="*/ 1089030 h 1451770"/>
                <a:gd name="connsiteX4278" fmla="*/ 1233589 w 3773795"/>
                <a:gd name="connsiteY4278" fmla="*/ 1090450 h 1451770"/>
                <a:gd name="connsiteX4279" fmla="*/ 1233251 w 3773795"/>
                <a:gd name="connsiteY4279" fmla="*/ 1092016 h 1451770"/>
                <a:gd name="connsiteX4280" fmla="*/ 1229783 w 3773795"/>
                <a:gd name="connsiteY4280" fmla="*/ 1094328 h 1451770"/>
                <a:gd name="connsiteX4281" fmla="*/ 1226066 w 3773795"/>
                <a:gd name="connsiteY4281" fmla="*/ 1096360 h 1451770"/>
                <a:gd name="connsiteX4282" fmla="*/ 1224669 w 3773795"/>
                <a:gd name="connsiteY4282" fmla="*/ 1096586 h 1451770"/>
                <a:gd name="connsiteX4283" fmla="*/ 1222411 w 3773795"/>
                <a:gd name="connsiteY4283" fmla="*/ 1096138 h 1451770"/>
                <a:gd name="connsiteX4284" fmla="*/ 1221247 w 3773795"/>
                <a:gd name="connsiteY4284" fmla="*/ 1096391 h 1451770"/>
                <a:gd name="connsiteX4285" fmla="*/ 1217870 w 3773795"/>
                <a:gd name="connsiteY4285" fmla="*/ 1098547 h 1451770"/>
                <a:gd name="connsiteX4286" fmla="*/ 1212795 w 3773795"/>
                <a:gd name="connsiteY4286" fmla="*/ 1101784 h 1451770"/>
                <a:gd name="connsiteX4287" fmla="*/ 1212319 w 3773795"/>
                <a:gd name="connsiteY4287" fmla="*/ 1103099 h 1451770"/>
                <a:gd name="connsiteX4288" fmla="*/ 1212294 w 3773795"/>
                <a:gd name="connsiteY4288" fmla="*/ 1104697 h 1451770"/>
                <a:gd name="connsiteX4289" fmla="*/ 1211706 w 3773795"/>
                <a:gd name="connsiteY4289" fmla="*/ 1106093 h 1451770"/>
                <a:gd name="connsiteX4290" fmla="*/ 1210575 w 3773795"/>
                <a:gd name="connsiteY4290" fmla="*/ 1106599 h 1451770"/>
                <a:gd name="connsiteX4291" fmla="*/ 1208934 w 3773795"/>
                <a:gd name="connsiteY4291" fmla="*/ 1105390 h 1451770"/>
                <a:gd name="connsiteX4292" fmla="*/ 1207444 w 3773795"/>
                <a:gd name="connsiteY4292" fmla="*/ 1103921 h 1451770"/>
                <a:gd name="connsiteX4293" fmla="*/ 1204319 w 3773795"/>
                <a:gd name="connsiteY4293" fmla="*/ 1102866 h 1451770"/>
                <a:gd name="connsiteX4294" fmla="*/ 1199683 w 3773795"/>
                <a:gd name="connsiteY4294" fmla="*/ 1102615 h 1451770"/>
                <a:gd name="connsiteX4295" fmla="*/ 1196856 w 3773795"/>
                <a:gd name="connsiteY4295" fmla="*/ 1103127 h 1451770"/>
                <a:gd name="connsiteX4296" fmla="*/ 1194907 w 3773795"/>
                <a:gd name="connsiteY4296" fmla="*/ 1103927 h 1451770"/>
                <a:gd name="connsiteX4297" fmla="*/ 1191080 w 3773795"/>
                <a:gd name="connsiteY4297" fmla="*/ 1107164 h 1451770"/>
                <a:gd name="connsiteX4298" fmla="*/ 1189688 w 3773795"/>
                <a:gd name="connsiteY4298" fmla="*/ 1107806 h 1451770"/>
                <a:gd name="connsiteX4299" fmla="*/ 1188912 w 3773795"/>
                <a:gd name="connsiteY4299" fmla="*/ 1107600 h 1451770"/>
                <a:gd name="connsiteX4300" fmla="*/ 1188692 w 3773795"/>
                <a:gd name="connsiteY4300" fmla="*/ 1106039 h 1451770"/>
                <a:gd name="connsiteX4301" fmla="*/ 1187917 w 3773795"/>
                <a:gd name="connsiteY4301" fmla="*/ 1104925 h 1451770"/>
                <a:gd name="connsiteX4302" fmla="*/ 1187007 w 3773795"/>
                <a:gd name="connsiteY4302" fmla="*/ 1103260 h 1451770"/>
                <a:gd name="connsiteX4303" fmla="*/ 1187448 w 3773795"/>
                <a:gd name="connsiteY4303" fmla="*/ 1099973 h 1451770"/>
                <a:gd name="connsiteX4304" fmla="*/ 1189521 w 3773795"/>
                <a:gd name="connsiteY4304" fmla="*/ 1096821 h 1451770"/>
                <a:gd name="connsiteX4305" fmla="*/ 1192944 w 3773795"/>
                <a:gd name="connsiteY4305" fmla="*/ 1095100 h 1451770"/>
                <a:gd name="connsiteX4306" fmla="*/ 1195701 w 3773795"/>
                <a:gd name="connsiteY4306" fmla="*/ 1093248 h 1451770"/>
                <a:gd name="connsiteX4307" fmla="*/ 1196511 w 3773795"/>
                <a:gd name="connsiteY4307" fmla="*/ 1091224 h 1451770"/>
                <a:gd name="connsiteX4308" fmla="*/ 1196442 w 3773795"/>
                <a:gd name="connsiteY4308" fmla="*/ 1089823 h 1451770"/>
                <a:gd name="connsiteX4309" fmla="*/ 1195425 w 3773795"/>
                <a:gd name="connsiteY4309" fmla="*/ 1089183 h 1451770"/>
                <a:gd name="connsiteX4310" fmla="*/ 1194353 w 3773795"/>
                <a:gd name="connsiteY4310" fmla="*/ 1089064 h 1451770"/>
                <a:gd name="connsiteX4311" fmla="*/ 1193734 w 3773795"/>
                <a:gd name="connsiteY4311" fmla="*/ 1089745 h 1451770"/>
                <a:gd name="connsiteX4312" fmla="*/ 1191870 w 3773795"/>
                <a:gd name="connsiteY4312" fmla="*/ 1091130 h 1451770"/>
                <a:gd name="connsiteX4313" fmla="*/ 1189107 w 3773795"/>
                <a:gd name="connsiteY4313" fmla="*/ 1092236 h 1451770"/>
                <a:gd name="connsiteX4314" fmla="*/ 1186804 w 3773795"/>
                <a:gd name="connsiteY4314" fmla="*/ 1092455 h 1451770"/>
                <a:gd name="connsiteX4315" fmla="*/ 1185772 w 3773795"/>
                <a:gd name="connsiteY4315" fmla="*/ 1092388 h 1451770"/>
                <a:gd name="connsiteX4316" fmla="*/ 1183328 w 3773795"/>
                <a:gd name="connsiteY4316" fmla="*/ 1091693 h 1451770"/>
                <a:gd name="connsiteX4317" fmla="*/ 1178789 w 3773795"/>
                <a:gd name="connsiteY4317" fmla="*/ 1087851 h 1451770"/>
                <a:gd name="connsiteX4318" fmla="*/ 1174962 w 3773795"/>
                <a:gd name="connsiteY4318" fmla="*/ 1087329 h 1451770"/>
                <a:gd name="connsiteX4319" fmla="*/ 1172337 w 3773795"/>
                <a:gd name="connsiteY4319" fmla="*/ 1087031 h 1451770"/>
                <a:gd name="connsiteX4320" fmla="*/ 1171462 w 3773795"/>
                <a:gd name="connsiteY4320" fmla="*/ 1087418 h 1451770"/>
                <a:gd name="connsiteX4321" fmla="*/ 1171054 w 3773795"/>
                <a:gd name="connsiteY4321" fmla="*/ 1088364 h 1451770"/>
                <a:gd name="connsiteX4322" fmla="*/ 1171304 w 3773795"/>
                <a:gd name="connsiteY4322" fmla="*/ 1089395 h 1451770"/>
                <a:gd name="connsiteX4323" fmla="*/ 1171827 w 3773795"/>
                <a:gd name="connsiteY4323" fmla="*/ 1090410 h 1451770"/>
                <a:gd name="connsiteX4324" fmla="*/ 1171533 w 3773795"/>
                <a:gd name="connsiteY4324" fmla="*/ 1091232 h 1451770"/>
                <a:gd name="connsiteX4325" fmla="*/ 1170302 w 3773795"/>
                <a:gd name="connsiteY4325" fmla="*/ 1091844 h 1451770"/>
                <a:gd name="connsiteX4326" fmla="*/ 1168456 w 3773795"/>
                <a:gd name="connsiteY4326" fmla="*/ 1092872 h 1451770"/>
                <a:gd name="connsiteX4327" fmla="*/ 1167517 w 3773795"/>
                <a:gd name="connsiteY4327" fmla="*/ 1092187 h 1451770"/>
                <a:gd name="connsiteX4328" fmla="*/ 1167046 w 3773795"/>
                <a:gd name="connsiteY4328" fmla="*/ 1089481 h 1451770"/>
                <a:gd name="connsiteX4329" fmla="*/ 1167141 w 3773795"/>
                <a:gd name="connsiteY4329" fmla="*/ 1087374 h 1451770"/>
                <a:gd name="connsiteX4330" fmla="*/ 1165863 w 3773795"/>
                <a:gd name="connsiteY4330" fmla="*/ 1085599 h 1451770"/>
                <a:gd name="connsiteX4331" fmla="*/ 1164528 w 3773795"/>
                <a:gd name="connsiteY4331" fmla="*/ 1082840 h 1451770"/>
                <a:gd name="connsiteX4332" fmla="*/ 1162691 w 3773795"/>
                <a:gd name="connsiteY4332" fmla="*/ 1081210 h 1451770"/>
                <a:gd name="connsiteX4333" fmla="*/ 1160907 w 3773795"/>
                <a:gd name="connsiteY4333" fmla="*/ 1081734 h 1451770"/>
                <a:gd name="connsiteX4334" fmla="*/ 1160028 w 3773795"/>
                <a:gd name="connsiteY4334" fmla="*/ 1084072 h 1451770"/>
                <a:gd name="connsiteX4335" fmla="*/ 1158676 w 3773795"/>
                <a:gd name="connsiteY4335" fmla="*/ 1084862 h 1451770"/>
                <a:gd name="connsiteX4336" fmla="*/ 1156087 w 3773795"/>
                <a:gd name="connsiteY4336" fmla="*/ 1084381 h 1451770"/>
                <a:gd name="connsiteX4337" fmla="*/ 1151438 w 3773795"/>
                <a:gd name="connsiteY4337" fmla="*/ 1085703 h 1451770"/>
                <a:gd name="connsiteX4338" fmla="*/ 1143904 w 3773795"/>
                <a:gd name="connsiteY4338" fmla="*/ 1086301 h 1451770"/>
                <a:gd name="connsiteX4339" fmla="*/ 1138525 w 3773795"/>
                <a:gd name="connsiteY4339" fmla="*/ 1084663 h 1451770"/>
                <a:gd name="connsiteX4340" fmla="*/ 1137631 w 3773795"/>
                <a:gd name="connsiteY4340" fmla="*/ 1083194 h 1451770"/>
                <a:gd name="connsiteX4341" fmla="*/ 1139829 w 3773795"/>
                <a:gd name="connsiteY4341" fmla="*/ 1080040 h 1451770"/>
                <a:gd name="connsiteX4342" fmla="*/ 1139998 w 3773795"/>
                <a:gd name="connsiteY4342" fmla="*/ 1077253 h 1451770"/>
                <a:gd name="connsiteX4343" fmla="*/ 1139985 w 3773795"/>
                <a:gd name="connsiteY4343" fmla="*/ 1074713 h 1451770"/>
                <a:gd name="connsiteX4344" fmla="*/ 1140568 w 3773795"/>
                <a:gd name="connsiteY4344" fmla="*/ 1072858 h 1451770"/>
                <a:gd name="connsiteX4345" fmla="*/ 1139257 w 3773795"/>
                <a:gd name="connsiteY4345" fmla="*/ 1069317 h 1451770"/>
                <a:gd name="connsiteX4346" fmla="*/ 1136283 w 3773795"/>
                <a:gd name="connsiteY4346" fmla="*/ 1062096 h 1451770"/>
                <a:gd name="connsiteX4347" fmla="*/ 1134478 w 3773795"/>
                <a:gd name="connsiteY4347" fmla="*/ 1056637 h 1451770"/>
                <a:gd name="connsiteX4348" fmla="*/ 1131829 w 3773795"/>
                <a:gd name="connsiteY4348" fmla="*/ 1052533 h 1451770"/>
                <a:gd name="connsiteX4349" fmla="*/ 1130673 w 3773795"/>
                <a:gd name="connsiteY4349" fmla="*/ 1051174 h 1451770"/>
                <a:gd name="connsiteX4350" fmla="*/ 1125107 w 3773795"/>
                <a:gd name="connsiteY4350" fmla="*/ 1051877 h 1451770"/>
                <a:gd name="connsiteX4351" fmla="*/ 1123578 w 3773795"/>
                <a:gd name="connsiteY4351" fmla="*/ 1052778 h 1451770"/>
                <a:gd name="connsiteX4352" fmla="*/ 1122567 w 3773795"/>
                <a:gd name="connsiteY4352" fmla="*/ 1054040 h 1451770"/>
                <a:gd name="connsiteX4353" fmla="*/ 1120839 w 3773795"/>
                <a:gd name="connsiteY4353" fmla="*/ 1054923 h 1451770"/>
                <a:gd name="connsiteX4354" fmla="*/ 1118386 w 3773795"/>
                <a:gd name="connsiteY4354" fmla="*/ 1055575 h 1451770"/>
                <a:gd name="connsiteX4355" fmla="*/ 1116285 w 3773795"/>
                <a:gd name="connsiteY4355" fmla="*/ 1055134 h 1451770"/>
                <a:gd name="connsiteX4356" fmla="*/ 1113949 w 3773795"/>
                <a:gd name="connsiteY4356" fmla="*/ 1054447 h 1451770"/>
                <a:gd name="connsiteX4357" fmla="*/ 1111483 w 3773795"/>
                <a:gd name="connsiteY4357" fmla="*/ 1053010 h 1451770"/>
                <a:gd name="connsiteX4358" fmla="*/ 1108609 w 3773795"/>
                <a:gd name="connsiteY4358" fmla="*/ 1051106 h 1451770"/>
                <a:gd name="connsiteX4359" fmla="*/ 1103148 w 3773795"/>
                <a:gd name="connsiteY4359" fmla="*/ 1049577 h 1451770"/>
                <a:gd name="connsiteX4360" fmla="*/ 1097702 w 3773795"/>
                <a:gd name="connsiteY4360" fmla="*/ 1049095 h 1451770"/>
                <a:gd name="connsiteX4361" fmla="*/ 1091738 w 3773795"/>
                <a:gd name="connsiteY4361" fmla="*/ 1048566 h 1451770"/>
                <a:gd name="connsiteX4362" fmla="*/ 1088768 w 3773795"/>
                <a:gd name="connsiteY4362" fmla="*/ 1049532 h 1451770"/>
                <a:gd name="connsiteX4363" fmla="*/ 1085892 w 3773795"/>
                <a:gd name="connsiteY4363" fmla="*/ 1051071 h 1451770"/>
                <a:gd name="connsiteX4364" fmla="*/ 1081733 w 3773795"/>
                <a:gd name="connsiteY4364" fmla="*/ 1054269 h 1451770"/>
                <a:gd name="connsiteX4365" fmla="*/ 1079824 w 3773795"/>
                <a:gd name="connsiteY4365" fmla="*/ 1054589 h 1451770"/>
                <a:gd name="connsiteX4366" fmla="*/ 1076805 w 3773795"/>
                <a:gd name="connsiteY4366" fmla="*/ 1054833 h 1451770"/>
                <a:gd name="connsiteX4367" fmla="*/ 1074689 w 3773795"/>
                <a:gd name="connsiteY4367" fmla="*/ 1055621 h 1451770"/>
                <a:gd name="connsiteX4368" fmla="*/ 1075110 w 3773795"/>
                <a:gd name="connsiteY4368" fmla="*/ 1057029 h 1451770"/>
                <a:gd name="connsiteX4369" fmla="*/ 1075525 w 3773795"/>
                <a:gd name="connsiteY4369" fmla="*/ 1058962 h 1451770"/>
                <a:gd name="connsiteX4370" fmla="*/ 1074758 w 3773795"/>
                <a:gd name="connsiteY4370" fmla="*/ 1060481 h 1451770"/>
                <a:gd name="connsiteX4371" fmla="*/ 1073575 w 3773795"/>
                <a:gd name="connsiteY4371" fmla="*/ 1061290 h 1451770"/>
                <a:gd name="connsiteX4372" fmla="*/ 1071761 w 3773795"/>
                <a:gd name="connsiteY4372" fmla="*/ 1061816 h 1451770"/>
                <a:gd name="connsiteX4373" fmla="*/ 1068800 w 3773795"/>
                <a:gd name="connsiteY4373" fmla="*/ 1061996 h 1451770"/>
                <a:gd name="connsiteX4374" fmla="*/ 1066367 w 3773795"/>
                <a:gd name="connsiteY4374" fmla="*/ 1062308 h 1451770"/>
                <a:gd name="connsiteX4375" fmla="*/ 1063348 w 3773795"/>
                <a:gd name="connsiteY4375" fmla="*/ 1064493 h 1451770"/>
                <a:gd name="connsiteX4376" fmla="*/ 1058733 w 3773795"/>
                <a:gd name="connsiteY4376" fmla="*/ 1065043 h 1451770"/>
                <a:gd name="connsiteX4377" fmla="*/ 1053706 w 3773795"/>
                <a:gd name="connsiteY4377" fmla="*/ 1065830 h 1451770"/>
                <a:gd name="connsiteX4378" fmla="*/ 1050191 w 3773795"/>
                <a:gd name="connsiteY4378" fmla="*/ 1067076 h 1451770"/>
                <a:gd name="connsiteX4379" fmla="*/ 1042588 w 3773795"/>
                <a:gd name="connsiteY4379" fmla="*/ 1068617 h 1451770"/>
                <a:gd name="connsiteX4380" fmla="*/ 1038185 w 3773795"/>
                <a:gd name="connsiteY4380" fmla="*/ 1069305 h 1451770"/>
                <a:gd name="connsiteX4381" fmla="*/ 1030828 w 3773795"/>
                <a:gd name="connsiteY4381" fmla="*/ 1070776 h 1451770"/>
                <a:gd name="connsiteX4382" fmla="*/ 1024902 w 3773795"/>
                <a:gd name="connsiteY4382" fmla="*/ 1071016 h 1451770"/>
                <a:gd name="connsiteX4383" fmla="*/ 1024008 w 3773795"/>
                <a:gd name="connsiteY4383" fmla="*/ 1069982 h 1451770"/>
                <a:gd name="connsiteX4384" fmla="*/ 1019443 w 3773795"/>
                <a:gd name="connsiteY4384" fmla="*/ 1072265 h 1451770"/>
                <a:gd name="connsiteX4385" fmla="*/ 1014339 w 3773795"/>
                <a:gd name="connsiteY4385" fmla="*/ 1072125 h 1451770"/>
                <a:gd name="connsiteX4386" fmla="*/ 1013397 w 3773795"/>
                <a:gd name="connsiteY4386" fmla="*/ 1073041 h 1451770"/>
                <a:gd name="connsiteX4387" fmla="*/ 1012153 w 3773795"/>
                <a:gd name="connsiteY4387" fmla="*/ 1073923 h 1451770"/>
                <a:gd name="connsiteX4388" fmla="*/ 1010778 w 3773795"/>
                <a:gd name="connsiteY4388" fmla="*/ 1074317 h 1451770"/>
                <a:gd name="connsiteX4389" fmla="*/ 1009042 w 3773795"/>
                <a:gd name="connsiteY4389" fmla="*/ 1075402 h 1451770"/>
                <a:gd name="connsiteX4390" fmla="*/ 1008042 w 3773795"/>
                <a:gd name="connsiteY4390" fmla="*/ 1077690 h 1451770"/>
                <a:gd name="connsiteX4391" fmla="*/ 1007282 w 3773795"/>
                <a:gd name="connsiteY4391" fmla="*/ 1080029 h 1451770"/>
                <a:gd name="connsiteX4392" fmla="*/ 1005746 w 3773795"/>
                <a:gd name="connsiteY4392" fmla="*/ 1080767 h 1451770"/>
                <a:gd name="connsiteX4393" fmla="*/ 1003691 w 3773795"/>
                <a:gd name="connsiteY4393" fmla="*/ 1079896 h 1451770"/>
                <a:gd name="connsiteX4394" fmla="*/ 1002173 w 3773795"/>
                <a:gd name="connsiteY4394" fmla="*/ 1079047 h 1451770"/>
                <a:gd name="connsiteX4395" fmla="*/ 999575 w 3773795"/>
                <a:gd name="connsiteY4395" fmla="*/ 1079903 h 1451770"/>
                <a:gd name="connsiteX4396" fmla="*/ 996051 w 3773795"/>
                <a:gd name="connsiteY4396" fmla="*/ 1080400 h 1451770"/>
                <a:gd name="connsiteX4397" fmla="*/ 993291 w 3773795"/>
                <a:gd name="connsiteY4397" fmla="*/ 1080097 h 1451770"/>
                <a:gd name="connsiteX4398" fmla="*/ 991879 w 3773795"/>
                <a:gd name="connsiteY4398" fmla="*/ 1079426 h 1451770"/>
                <a:gd name="connsiteX4399" fmla="*/ 986089 w 3773795"/>
                <a:gd name="connsiteY4399" fmla="*/ 1080547 h 1451770"/>
                <a:gd name="connsiteX4400" fmla="*/ 983071 w 3773795"/>
                <a:gd name="connsiteY4400" fmla="*/ 1081902 h 1451770"/>
                <a:gd name="connsiteX4401" fmla="*/ 982507 w 3773795"/>
                <a:gd name="connsiteY4401" fmla="*/ 1082608 h 1451770"/>
                <a:gd name="connsiteX4402" fmla="*/ 981766 w 3773795"/>
                <a:gd name="connsiteY4402" fmla="*/ 1082993 h 1451770"/>
                <a:gd name="connsiteX4403" fmla="*/ 978298 w 3773795"/>
                <a:gd name="connsiteY4403" fmla="*/ 1083925 h 1451770"/>
                <a:gd name="connsiteX4404" fmla="*/ 975515 w 3773795"/>
                <a:gd name="connsiteY4404" fmla="*/ 1083665 h 1451770"/>
                <a:gd name="connsiteX4405" fmla="*/ 975077 w 3773795"/>
                <a:gd name="connsiteY4405" fmla="*/ 1083720 h 1451770"/>
                <a:gd name="connsiteX4406" fmla="*/ 972438 w 3773795"/>
                <a:gd name="connsiteY4406" fmla="*/ 1084368 h 1451770"/>
                <a:gd name="connsiteX4407" fmla="*/ 968715 w 3773795"/>
                <a:gd name="connsiteY4407" fmla="*/ 1085545 h 1451770"/>
                <a:gd name="connsiteX4408" fmla="*/ 966040 w 3773795"/>
                <a:gd name="connsiteY4408" fmla="*/ 1085933 h 1451770"/>
                <a:gd name="connsiteX4409" fmla="*/ 963798 w 3773795"/>
                <a:gd name="connsiteY4409" fmla="*/ 1085915 h 1451770"/>
                <a:gd name="connsiteX4410" fmla="*/ 962366 w 3773795"/>
                <a:gd name="connsiteY4410" fmla="*/ 1086881 h 1451770"/>
                <a:gd name="connsiteX4411" fmla="*/ 961203 w 3773795"/>
                <a:gd name="connsiteY4411" fmla="*/ 1087915 h 1451770"/>
                <a:gd name="connsiteX4412" fmla="*/ 951447 w 3773795"/>
                <a:gd name="connsiteY4412" fmla="*/ 1089007 h 1451770"/>
                <a:gd name="connsiteX4413" fmla="*/ 950464 w 3773795"/>
                <a:gd name="connsiteY4413" fmla="*/ 1089761 h 1451770"/>
                <a:gd name="connsiteX4414" fmla="*/ 948490 w 3773795"/>
                <a:gd name="connsiteY4414" fmla="*/ 1090709 h 1451770"/>
                <a:gd name="connsiteX4415" fmla="*/ 938345 w 3773795"/>
                <a:gd name="connsiteY4415" fmla="*/ 1091029 h 1451770"/>
                <a:gd name="connsiteX4416" fmla="*/ 937508 w 3773795"/>
                <a:gd name="connsiteY4416" fmla="*/ 1091718 h 1451770"/>
                <a:gd name="connsiteX4417" fmla="*/ 937139 w 3773795"/>
                <a:gd name="connsiteY4417" fmla="*/ 1092492 h 1451770"/>
                <a:gd name="connsiteX4418" fmla="*/ 935879 w 3773795"/>
                <a:gd name="connsiteY4418" fmla="*/ 1092732 h 1451770"/>
                <a:gd name="connsiteX4419" fmla="*/ 928570 w 3773795"/>
                <a:gd name="connsiteY4419" fmla="*/ 1091263 h 1451770"/>
                <a:gd name="connsiteX4420" fmla="*/ 922722 w 3773795"/>
                <a:gd name="connsiteY4420" fmla="*/ 1089614 h 1451770"/>
                <a:gd name="connsiteX4421" fmla="*/ 920453 w 3773795"/>
                <a:gd name="connsiteY4421" fmla="*/ 1090518 h 1451770"/>
                <a:gd name="connsiteX4422" fmla="*/ 918522 w 3773795"/>
                <a:gd name="connsiteY4422" fmla="*/ 1092206 h 1451770"/>
                <a:gd name="connsiteX4423" fmla="*/ 917846 w 3773795"/>
                <a:gd name="connsiteY4423" fmla="*/ 1094672 h 1451770"/>
                <a:gd name="connsiteX4424" fmla="*/ 917846 w 3773795"/>
                <a:gd name="connsiteY4424" fmla="*/ 1096775 h 1451770"/>
                <a:gd name="connsiteX4425" fmla="*/ 917846 w 3773795"/>
                <a:gd name="connsiteY4425" fmla="*/ 1098575 h 1451770"/>
                <a:gd name="connsiteX4426" fmla="*/ 916970 w 3773795"/>
                <a:gd name="connsiteY4426" fmla="*/ 1099876 h 1451770"/>
                <a:gd name="connsiteX4427" fmla="*/ 915024 w 3773795"/>
                <a:gd name="connsiteY4427" fmla="*/ 1101478 h 1451770"/>
                <a:gd name="connsiteX4428" fmla="*/ 914890 w 3773795"/>
                <a:gd name="connsiteY4428" fmla="*/ 1102555 h 1451770"/>
                <a:gd name="connsiteX4429" fmla="*/ 917523 w 3773795"/>
                <a:gd name="connsiteY4429" fmla="*/ 1103721 h 1451770"/>
                <a:gd name="connsiteX4430" fmla="*/ 920826 w 3773795"/>
                <a:gd name="connsiteY4430" fmla="*/ 1104690 h 1451770"/>
                <a:gd name="connsiteX4431" fmla="*/ 922776 w 3773795"/>
                <a:gd name="connsiteY4431" fmla="*/ 1104261 h 1451770"/>
                <a:gd name="connsiteX4432" fmla="*/ 924409 w 3773795"/>
                <a:gd name="connsiteY4432" fmla="*/ 1103601 h 1451770"/>
                <a:gd name="connsiteX4433" fmla="*/ 925828 w 3773795"/>
                <a:gd name="connsiteY4433" fmla="*/ 1103806 h 1451770"/>
                <a:gd name="connsiteX4434" fmla="*/ 926823 w 3773795"/>
                <a:gd name="connsiteY4434" fmla="*/ 1104584 h 1451770"/>
                <a:gd name="connsiteX4435" fmla="*/ 927173 w 3773795"/>
                <a:gd name="connsiteY4435" fmla="*/ 1105524 h 1451770"/>
                <a:gd name="connsiteX4436" fmla="*/ 926987 w 3773795"/>
                <a:gd name="connsiteY4436" fmla="*/ 1106179 h 1451770"/>
                <a:gd name="connsiteX4437" fmla="*/ 926368 w 3773795"/>
                <a:gd name="connsiteY4437" fmla="*/ 1106688 h 1451770"/>
                <a:gd name="connsiteX4438" fmla="*/ 924210 w 3773795"/>
                <a:gd name="connsiteY4438" fmla="*/ 1107558 h 1451770"/>
                <a:gd name="connsiteX4439" fmla="*/ 922234 w 3773795"/>
                <a:gd name="connsiteY4439" fmla="*/ 1107259 h 1451770"/>
                <a:gd name="connsiteX4440" fmla="*/ 920405 w 3773795"/>
                <a:gd name="connsiteY4440" fmla="*/ 1107856 h 1451770"/>
                <a:gd name="connsiteX4441" fmla="*/ 919455 w 3773795"/>
                <a:gd name="connsiteY4441" fmla="*/ 1109052 h 1451770"/>
                <a:gd name="connsiteX4442" fmla="*/ 918944 w 3773795"/>
                <a:gd name="connsiteY4442" fmla="*/ 1111141 h 1451770"/>
                <a:gd name="connsiteX4443" fmla="*/ 919749 w 3773795"/>
                <a:gd name="connsiteY4443" fmla="*/ 1112632 h 1451770"/>
                <a:gd name="connsiteX4444" fmla="*/ 922219 w 3773795"/>
                <a:gd name="connsiteY4444" fmla="*/ 1112991 h 1451770"/>
                <a:gd name="connsiteX4445" fmla="*/ 925002 w 3773795"/>
                <a:gd name="connsiteY4445" fmla="*/ 1114067 h 1451770"/>
                <a:gd name="connsiteX4446" fmla="*/ 928084 w 3773795"/>
                <a:gd name="connsiteY4446" fmla="*/ 1114576 h 1451770"/>
                <a:gd name="connsiteX4447" fmla="*/ 929935 w 3773795"/>
                <a:gd name="connsiteY4447" fmla="*/ 1114395 h 1451770"/>
                <a:gd name="connsiteX4448" fmla="*/ 932286 w 3773795"/>
                <a:gd name="connsiteY4448" fmla="*/ 1116032 h 1451770"/>
                <a:gd name="connsiteX4449" fmla="*/ 937780 w 3773795"/>
                <a:gd name="connsiteY4449" fmla="*/ 1118014 h 1451770"/>
                <a:gd name="connsiteX4450" fmla="*/ 939248 w 3773795"/>
                <a:gd name="connsiteY4450" fmla="*/ 1119526 h 1451770"/>
                <a:gd name="connsiteX4451" fmla="*/ 939285 w 3773795"/>
                <a:gd name="connsiteY4451" fmla="*/ 1121084 h 1451770"/>
                <a:gd name="connsiteX4452" fmla="*/ 938276 w 3773795"/>
                <a:gd name="connsiteY4452" fmla="*/ 1122261 h 1451770"/>
                <a:gd name="connsiteX4453" fmla="*/ 936886 w 3773795"/>
                <a:gd name="connsiteY4453" fmla="*/ 1122930 h 1451770"/>
                <a:gd name="connsiteX4454" fmla="*/ 934992 w 3773795"/>
                <a:gd name="connsiteY4454" fmla="*/ 1122566 h 1451770"/>
                <a:gd name="connsiteX4455" fmla="*/ 931250 w 3773795"/>
                <a:gd name="connsiteY4455" fmla="*/ 1122163 h 1451770"/>
                <a:gd name="connsiteX4456" fmla="*/ 927143 w 3773795"/>
                <a:gd name="connsiteY4456" fmla="*/ 1121890 h 1451770"/>
                <a:gd name="connsiteX4457" fmla="*/ 924206 w 3773795"/>
                <a:gd name="connsiteY4457" fmla="*/ 1121366 h 1451770"/>
                <a:gd name="connsiteX4458" fmla="*/ 919919 w 3773795"/>
                <a:gd name="connsiteY4458" fmla="*/ 1121574 h 1451770"/>
                <a:gd name="connsiteX4459" fmla="*/ 916393 w 3773795"/>
                <a:gd name="connsiteY4459" fmla="*/ 1122071 h 1451770"/>
                <a:gd name="connsiteX4460" fmla="*/ 915488 w 3773795"/>
                <a:gd name="connsiteY4460" fmla="*/ 1123241 h 1451770"/>
                <a:gd name="connsiteX4461" fmla="*/ 914121 w 3773795"/>
                <a:gd name="connsiteY4461" fmla="*/ 1125430 h 1451770"/>
                <a:gd name="connsiteX4462" fmla="*/ 912983 w 3773795"/>
                <a:gd name="connsiteY4462" fmla="*/ 1126647 h 1451770"/>
                <a:gd name="connsiteX4463" fmla="*/ 910973 w 3773795"/>
                <a:gd name="connsiteY4463" fmla="*/ 1128878 h 1451770"/>
                <a:gd name="connsiteX4464" fmla="*/ 910356 w 3773795"/>
                <a:gd name="connsiteY4464" fmla="*/ 1130935 h 1451770"/>
                <a:gd name="connsiteX4465" fmla="*/ 911392 w 3773795"/>
                <a:gd name="connsiteY4465" fmla="*/ 1134092 h 1451770"/>
                <a:gd name="connsiteX4466" fmla="*/ 914890 w 3773795"/>
                <a:gd name="connsiteY4466" fmla="*/ 1139300 h 1451770"/>
                <a:gd name="connsiteX4467" fmla="*/ 915223 w 3773795"/>
                <a:gd name="connsiteY4467" fmla="*/ 1141020 h 1451770"/>
                <a:gd name="connsiteX4468" fmla="*/ 913964 w 3773795"/>
                <a:gd name="connsiteY4468" fmla="*/ 1142691 h 1451770"/>
                <a:gd name="connsiteX4469" fmla="*/ 911550 w 3773795"/>
                <a:gd name="connsiteY4469" fmla="*/ 1144090 h 1451770"/>
                <a:gd name="connsiteX4470" fmla="*/ 908054 w 3773795"/>
                <a:gd name="connsiteY4470" fmla="*/ 1146538 h 1451770"/>
                <a:gd name="connsiteX4471" fmla="*/ 904272 w 3773795"/>
                <a:gd name="connsiteY4471" fmla="*/ 1146671 h 1451770"/>
                <a:gd name="connsiteX4472" fmla="*/ 902640 w 3773795"/>
                <a:gd name="connsiteY4472" fmla="*/ 1147285 h 1451770"/>
                <a:gd name="connsiteX4473" fmla="*/ 898399 w 3773795"/>
                <a:gd name="connsiteY4473" fmla="*/ 1150277 h 1451770"/>
                <a:gd name="connsiteX4474" fmla="*/ 894681 w 3773795"/>
                <a:gd name="connsiteY4474" fmla="*/ 1151698 h 1451770"/>
                <a:gd name="connsiteX4475" fmla="*/ 893901 w 3773795"/>
                <a:gd name="connsiteY4475" fmla="*/ 1152975 h 1451770"/>
                <a:gd name="connsiteX4476" fmla="*/ 894724 w 3773795"/>
                <a:gd name="connsiteY4476" fmla="*/ 1154234 h 1451770"/>
                <a:gd name="connsiteX4477" fmla="*/ 899431 w 3773795"/>
                <a:gd name="connsiteY4477" fmla="*/ 1155887 h 1451770"/>
                <a:gd name="connsiteX4478" fmla="*/ 901800 w 3773795"/>
                <a:gd name="connsiteY4478" fmla="*/ 1157705 h 1451770"/>
                <a:gd name="connsiteX4479" fmla="*/ 902483 w 3773795"/>
                <a:gd name="connsiteY4479" fmla="*/ 1159741 h 1451770"/>
                <a:gd name="connsiteX4480" fmla="*/ 903508 w 3773795"/>
                <a:gd name="connsiteY4480" fmla="*/ 1161294 h 1451770"/>
                <a:gd name="connsiteX4481" fmla="*/ 907171 w 3773795"/>
                <a:gd name="connsiteY4481" fmla="*/ 1162302 h 1451770"/>
                <a:gd name="connsiteX4482" fmla="*/ 914759 w 3773795"/>
                <a:gd name="connsiteY4482" fmla="*/ 1164652 h 1451770"/>
                <a:gd name="connsiteX4483" fmla="*/ 915197 w 3773795"/>
                <a:gd name="connsiteY4483" fmla="*/ 1164897 h 1451770"/>
                <a:gd name="connsiteX4484" fmla="*/ 915672 w 3773795"/>
                <a:gd name="connsiteY4484" fmla="*/ 1165965 h 1451770"/>
                <a:gd name="connsiteX4485" fmla="*/ 923372 w 3773795"/>
                <a:gd name="connsiteY4485" fmla="*/ 1167448 h 1451770"/>
                <a:gd name="connsiteX4486" fmla="*/ 924439 w 3773795"/>
                <a:gd name="connsiteY4486" fmla="*/ 1168245 h 1451770"/>
                <a:gd name="connsiteX4487" fmla="*/ 927609 w 3773795"/>
                <a:gd name="connsiteY4487" fmla="*/ 1170890 h 1451770"/>
                <a:gd name="connsiteX4488" fmla="*/ 928281 w 3773795"/>
                <a:gd name="connsiteY4488" fmla="*/ 1173672 h 1451770"/>
                <a:gd name="connsiteX4489" fmla="*/ 926670 w 3773795"/>
                <a:gd name="connsiteY4489" fmla="*/ 1176385 h 1451770"/>
                <a:gd name="connsiteX4490" fmla="*/ 925626 w 3773795"/>
                <a:gd name="connsiteY4490" fmla="*/ 1180676 h 1451770"/>
                <a:gd name="connsiteX4491" fmla="*/ 923955 w 3773795"/>
                <a:gd name="connsiteY4491" fmla="*/ 1184446 h 1451770"/>
                <a:gd name="connsiteX4492" fmla="*/ 920360 w 3773795"/>
                <a:gd name="connsiteY4492" fmla="*/ 1186960 h 1451770"/>
                <a:gd name="connsiteX4493" fmla="*/ 914068 w 3773795"/>
                <a:gd name="connsiteY4493" fmla="*/ 1189269 h 1451770"/>
                <a:gd name="connsiteX4494" fmla="*/ 907339 w 3773795"/>
                <a:gd name="connsiteY4494" fmla="*/ 1190194 h 1451770"/>
                <a:gd name="connsiteX4495" fmla="*/ 904475 w 3773795"/>
                <a:gd name="connsiteY4495" fmla="*/ 1190035 h 1451770"/>
                <a:gd name="connsiteX4496" fmla="*/ 902625 w 3773795"/>
                <a:gd name="connsiteY4496" fmla="*/ 1189745 h 1451770"/>
                <a:gd name="connsiteX4497" fmla="*/ 899602 w 3773795"/>
                <a:gd name="connsiteY4497" fmla="*/ 1189017 h 1451770"/>
                <a:gd name="connsiteX4498" fmla="*/ 897360 w 3773795"/>
                <a:gd name="connsiteY4498" fmla="*/ 1187106 h 1451770"/>
                <a:gd name="connsiteX4499" fmla="*/ 895710 w 3773795"/>
                <a:gd name="connsiteY4499" fmla="*/ 1185229 h 1451770"/>
                <a:gd name="connsiteX4500" fmla="*/ 894527 w 3773795"/>
                <a:gd name="connsiteY4500" fmla="*/ 1184760 h 1451770"/>
                <a:gd name="connsiteX4501" fmla="*/ 893348 w 3773795"/>
                <a:gd name="connsiteY4501" fmla="*/ 1185069 h 1451770"/>
                <a:gd name="connsiteX4502" fmla="*/ 892241 w 3773795"/>
                <a:gd name="connsiteY4502" fmla="*/ 1186247 h 1451770"/>
                <a:gd name="connsiteX4503" fmla="*/ 890751 w 3773795"/>
                <a:gd name="connsiteY4503" fmla="*/ 1189424 h 1451770"/>
                <a:gd name="connsiteX4504" fmla="*/ 889083 w 3773795"/>
                <a:gd name="connsiteY4504" fmla="*/ 1192569 h 1451770"/>
                <a:gd name="connsiteX4505" fmla="*/ 887730 w 3773795"/>
                <a:gd name="connsiteY4505" fmla="*/ 1193676 h 1451770"/>
                <a:gd name="connsiteX4506" fmla="*/ 882685 w 3773795"/>
                <a:gd name="connsiteY4506" fmla="*/ 1195159 h 1451770"/>
                <a:gd name="connsiteX4507" fmla="*/ 882128 w 3773795"/>
                <a:gd name="connsiteY4507" fmla="*/ 1194630 h 1451770"/>
                <a:gd name="connsiteX4508" fmla="*/ 882705 w 3773795"/>
                <a:gd name="connsiteY4508" fmla="*/ 1192546 h 1451770"/>
                <a:gd name="connsiteX4509" fmla="*/ 882068 w 3773795"/>
                <a:gd name="connsiteY4509" fmla="*/ 1191922 h 1451770"/>
                <a:gd name="connsiteX4510" fmla="*/ 881122 w 3773795"/>
                <a:gd name="connsiteY4510" fmla="*/ 1191453 h 1451770"/>
                <a:gd name="connsiteX4511" fmla="*/ 874899 w 3773795"/>
                <a:gd name="connsiteY4511" fmla="*/ 1190654 h 1451770"/>
                <a:gd name="connsiteX4512" fmla="*/ 872543 w 3773795"/>
                <a:gd name="connsiteY4512" fmla="*/ 1190063 h 1451770"/>
                <a:gd name="connsiteX4513" fmla="*/ 870785 w 3773795"/>
                <a:gd name="connsiteY4513" fmla="*/ 1189833 h 1451770"/>
                <a:gd name="connsiteX4514" fmla="*/ 868548 w 3773795"/>
                <a:gd name="connsiteY4514" fmla="*/ 1189300 h 1451770"/>
                <a:gd name="connsiteX4515" fmla="*/ 867008 w 3773795"/>
                <a:gd name="connsiteY4515" fmla="*/ 1188055 h 1451770"/>
                <a:gd name="connsiteX4516" fmla="*/ 863702 w 3773795"/>
                <a:gd name="connsiteY4516" fmla="*/ 1184234 h 1451770"/>
                <a:gd name="connsiteX4517" fmla="*/ 861113 w 3773795"/>
                <a:gd name="connsiteY4517" fmla="*/ 1181236 h 1451770"/>
                <a:gd name="connsiteX4518" fmla="*/ 856950 w 3773795"/>
                <a:gd name="connsiteY4518" fmla="*/ 1178526 h 1451770"/>
                <a:gd name="connsiteX4519" fmla="*/ 853175 w 3773795"/>
                <a:gd name="connsiteY4519" fmla="*/ 1178002 h 1451770"/>
                <a:gd name="connsiteX4520" fmla="*/ 852870 w 3773795"/>
                <a:gd name="connsiteY4520" fmla="*/ 1178279 h 1451770"/>
                <a:gd name="connsiteX4521" fmla="*/ 850005 w 3773795"/>
                <a:gd name="connsiteY4521" fmla="*/ 1178379 h 1451770"/>
                <a:gd name="connsiteX4522" fmla="*/ 845445 w 3773795"/>
                <a:gd name="connsiteY4522" fmla="*/ 1177712 h 1451770"/>
                <a:gd name="connsiteX4523" fmla="*/ 845224 w 3773795"/>
                <a:gd name="connsiteY4523" fmla="*/ 1177789 h 1451770"/>
                <a:gd name="connsiteX4524" fmla="*/ 843807 w 3773795"/>
                <a:gd name="connsiteY4524" fmla="*/ 1179021 h 1451770"/>
                <a:gd name="connsiteX4525" fmla="*/ 842749 w 3773795"/>
                <a:gd name="connsiteY4525" fmla="*/ 1180947 h 1451770"/>
                <a:gd name="connsiteX4526" fmla="*/ 841353 w 3773795"/>
                <a:gd name="connsiteY4526" fmla="*/ 1182576 h 1451770"/>
                <a:gd name="connsiteX4527" fmla="*/ 839230 w 3773795"/>
                <a:gd name="connsiteY4527" fmla="*/ 1183439 h 1451770"/>
                <a:gd name="connsiteX4528" fmla="*/ 836673 w 3773795"/>
                <a:gd name="connsiteY4528" fmla="*/ 1183635 h 1451770"/>
                <a:gd name="connsiteX4529" fmla="*/ 833805 w 3773795"/>
                <a:gd name="connsiteY4529" fmla="*/ 1181952 h 1451770"/>
                <a:gd name="connsiteX4530" fmla="*/ 830854 w 3773795"/>
                <a:gd name="connsiteY4530" fmla="*/ 1179338 h 1451770"/>
                <a:gd name="connsiteX4531" fmla="*/ 827155 w 3773795"/>
                <a:gd name="connsiteY4531" fmla="*/ 1178486 h 1451770"/>
                <a:gd name="connsiteX4532" fmla="*/ 823570 w 3773795"/>
                <a:gd name="connsiteY4532" fmla="*/ 1179059 h 1451770"/>
                <a:gd name="connsiteX4533" fmla="*/ 822259 w 3773795"/>
                <a:gd name="connsiteY4533" fmla="*/ 1179468 h 1451770"/>
                <a:gd name="connsiteX4534" fmla="*/ 818497 w 3773795"/>
                <a:gd name="connsiteY4534" fmla="*/ 1180950 h 1451770"/>
                <a:gd name="connsiteX4535" fmla="*/ 817318 w 3773795"/>
                <a:gd name="connsiteY4535" fmla="*/ 1180259 h 1451770"/>
                <a:gd name="connsiteX4536" fmla="*/ 815649 w 3773795"/>
                <a:gd name="connsiteY4536" fmla="*/ 1179820 h 1451770"/>
                <a:gd name="connsiteX4537" fmla="*/ 811983 w 3773795"/>
                <a:gd name="connsiteY4537" fmla="*/ 1182257 h 1451770"/>
                <a:gd name="connsiteX4538" fmla="*/ 807966 w 3773795"/>
                <a:gd name="connsiteY4538" fmla="*/ 1184925 h 1451770"/>
                <a:gd name="connsiteX4539" fmla="*/ 807094 w 3773795"/>
                <a:gd name="connsiteY4539" fmla="*/ 1186917 h 1451770"/>
                <a:gd name="connsiteX4540" fmla="*/ 805882 w 3773795"/>
                <a:gd name="connsiteY4540" fmla="*/ 1188744 h 1451770"/>
                <a:gd name="connsiteX4541" fmla="*/ 803218 w 3773795"/>
                <a:gd name="connsiteY4541" fmla="*/ 1190483 h 1451770"/>
                <a:gd name="connsiteX4542" fmla="*/ 800309 w 3773795"/>
                <a:gd name="connsiteY4542" fmla="*/ 1191987 h 1451770"/>
                <a:gd name="connsiteX4543" fmla="*/ 797845 w 3773795"/>
                <a:gd name="connsiteY4543" fmla="*/ 1192545 h 1451770"/>
                <a:gd name="connsiteX4544" fmla="*/ 794662 w 3773795"/>
                <a:gd name="connsiteY4544" fmla="*/ 1191994 h 1451770"/>
                <a:gd name="connsiteX4545" fmla="*/ 790656 w 3773795"/>
                <a:gd name="connsiteY4545" fmla="*/ 1190148 h 1451770"/>
                <a:gd name="connsiteX4546" fmla="*/ 786988 w 3773795"/>
                <a:gd name="connsiteY4546" fmla="*/ 1187836 h 1451770"/>
                <a:gd name="connsiteX4547" fmla="*/ 782999 w 3773795"/>
                <a:gd name="connsiteY4547" fmla="*/ 1184191 h 1451770"/>
                <a:gd name="connsiteX4548" fmla="*/ 779752 w 3773795"/>
                <a:gd name="connsiteY4548" fmla="*/ 1182103 h 1451770"/>
                <a:gd name="connsiteX4549" fmla="*/ 776638 w 3773795"/>
                <a:gd name="connsiteY4549" fmla="*/ 1180446 h 1451770"/>
                <a:gd name="connsiteX4550" fmla="*/ 774746 w 3773795"/>
                <a:gd name="connsiteY4550" fmla="*/ 1180052 h 1451770"/>
                <a:gd name="connsiteX4551" fmla="*/ 773228 w 3773795"/>
                <a:gd name="connsiteY4551" fmla="*/ 1180676 h 1451770"/>
                <a:gd name="connsiteX4552" fmla="*/ 772634 w 3773795"/>
                <a:gd name="connsiteY4552" fmla="*/ 1181966 h 1451770"/>
                <a:gd name="connsiteX4553" fmla="*/ 773066 w 3773795"/>
                <a:gd name="connsiteY4553" fmla="*/ 1182981 h 1451770"/>
                <a:gd name="connsiteX4554" fmla="*/ 773964 w 3773795"/>
                <a:gd name="connsiteY4554" fmla="*/ 1183897 h 1451770"/>
                <a:gd name="connsiteX4555" fmla="*/ 774664 w 3773795"/>
                <a:gd name="connsiteY4555" fmla="*/ 1186778 h 1451770"/>
                <a:gd name="connsiteX4556" fmla="*/ 774932 w 3773795"/>
                <a:gd name="connsiteY4556" fmla="*/ 1190297 h 1451770"/>
                <a:gd name="connsiteX4557" fmla="*/ 774625 w 3773795"/>
                <a:gd name="connsiteY4557" fmla="*/ 1192291 h 1451770"/>
                <a:gd name="connsiteX4558" fmla="*/ 773742 w 3773795"/>
                <a:gd name="connsiteY4558" fmla="*/ 1193480 h 1451770"/>
                <a:gd name="connsiteX4559" fmla="*/ 772837 w 3773795"/>
                <a:gd name="connsiteY4559" fmla="*/ 1193913 h 1451770"/>
                <a:gd name="connsiteX4560" fmla="*/ 771999 w 3773795"/>
                <a:gd name="connsiteY4560" fmla="*/ 1193757 h 1451770"/>
                <a:gd name="connsiteX4561" fmla="*/ 770984 w 3773795"/>
                <a:gd name="connsiteY4561" fmla="*/ 1192518 h 1451770"/>
                <a:gd name="connsiteX4562" fmla="*/ 770363 w 3773795"/>
                <a:gd name="connsiteY4562" fmla="*/ 1189897 h 1451770"/>
                <a:gd name="connsiteX4563" fmla="*/ 769879 w 3773795"/>
                <a:gd name="connsiteY4563" fmla="*/ 1186799 h 1451770"/>
                <a:gd name="connsiteX4564" fmla="*/ 767145 w 3773795"/>
                <a:gd name="connsiteY4564" fmla="*/ 1182900 h 1451770"/>
                <a:gd name="connsiteX4565" fmla="*/ 764785 w 3773795"/>
                <a:gd name="connsiteY4565" fmla="*/ 1180516 h 1451770"/>
                <a:gd name="connsiteX4566" fmla="*/ 763649 w 3773795"/>
                <a:gd name="connsiteY4566" fmla="*/ 1179199 h 1451770"/>
                <a:gd name="connsiteX4567" fmla="*/ 761477 w 3773795"/>
                <a:gd name="connsiteY4567" fmla="*/ 1177024 h 1451770"/>
                <a:gd name="connsiteX4568" fmla="*/ 759604 w 3773795"/>
                <a:gd name="connsiteY4568" fmla="*/ 1175678 h 1451770"/>
                <a:gd name="connsiteX4569" fmla="*/ 755616 w 3773795"/>
                <a:gd name="connsiteY4569" fmla="*/ 1174140 h 1451770"/>
                <a:gd name="connsiteX4570" fmla="*/ 753662 w 3773795"/>
                <a:gd name="connsiteY4570" fmla="*/ 1173024 h 1451770"/>
                <a:gd name="connsiteX4571" fmla="*/ 750269 w 3773795"/>
                <a:gd name="connsiteY4571" fmla="*/ 1168691 h 1451770"/>
                <a:gd name="connsiteX4572" fmla="*/ 748367 w 3773795"/>
                <a:gd name="connsiteY4572" fmla="*/ 1167371 h 1451770"/>
                <a:gd name="connsiteX4573" fmla="*/ 745923 w 3773795"/>
                <a:gd name="connsiteY4573" fmla="*/ 1166259 h 1451770"/>
                <a:gd name="connsiteX4574" fmla="*/ 743914 w 3773795"/>
                <a:gd name="connsiteY4574" fmla="*/ 1165929 h 1451770"/>
                <a:gd name="connsiteX4575" fmla="*/ 743474 w 3773795"/>
                <a:gd name="connsiteY4575" fmla="*/ 1166183 h 1451770"/>
                <a:gd name="connsiteX4576" fmla="*/ 739296 w 3773795"/>
                <a:gd name="connsiteY4576" fmla="*/ 1166807 h 1451770"/>
                <a:gd name="connsiteX4577" fmla="*/ 736294 w 3773795"/>
                <a:gd name="connsiteY4577" fmla="*/ 1166712 h 1451770"/>
                <a:gd name="connsiteX4578" fmla="*/ 734478 w 3773795"/>
                <a:gd name="connsiteY4578" fmla="*/ 1165900 h 1451770"/>
                <a:gd name="connsiteX4579" fmla="*/ 732588 w 3773795"/>
                <a:gd name="connsiteY4579" fmla="*/ 1165803 h 1451770"/>
                <a:gd name="connsiteX4580" fmla="*/ 732435 w 3773795"/>
                <a:gd name="connsiteY4580" fmla="*/ 1165796 h 1451770"/>
                <a:gd name="connsiteX4581" fmla="*/ 730379 w 3773795"/>
                <a:gd name="connsiteY4581" fmla="*/ 1166342 h 1451770"/>
                <a:gd name="connsiteX4582" fmla="*/ 729995 w 3773795"/>
                <a:gd name="connsiteY4582" fmla="*/ 1166306 h 1451770"/>
                <a:gd name="connsiteX4583" fmla="*/ 728965 w 3773795"/>
                <a:gd name="connsiteY4583" fmla="*/ 1166281 h 1451770"/>
                <a:gd name="connsiteX4584" fmla="*/ 727306 w 3773795"/>
                <a:gd name="connsiteY4584" fmla="*/ 1165384 h 1451770"/>
                <a:gd name="connsiteX4585" fmla="*/ 725689 w 3773795"/>
                <a:gd name="connsiteY4585" fmla="*/ 1162970 h 1451770"/>
                <a:gd name="connsiteX4586" fmla="*/ 723655 w 3773795"/>
                <a:gd name="connsiteY4586" fmla="*/ 1160407 h 1451770"/>
                <a:gd name="connsiteX4587" fmla="*/ 721180 w 3773795"/>
                <a:gd name="connsiteY4587" fmla="*/ 1159580 h 1451770"/>
                <a:gd name="connsiteX4588" fmla="*/ 716492 w 3773795"/>
                <a:gd name="connsiteY4588" fmla="*/ 1160660 h 1451770"/>
                <a:gd name="connsiteX4589" fmla="*/ 711368 w 3773795"/>
                <a:gd name="connsiteY4589" fmla="*/ 1164146 h 1451770"/>
                <a:gd name="connsiteX4590" fmla="*/ 707691 w 3773795"/>
                <a:gd name="connsiteY4590" fmla="*/ 1166212 h 1451770"/>
                <a:gd name="connsiteX4591" fmla="*/ 704692 w 3773795"/>
                <a:gd name="connsiteY4591" fmla="*/ 1166269 h 1451770"/>
                <a:gd name="connsiteX4592" fmla="*/ 702979 w 3773795"/>
                <a:gd name="connsiteY4592" fmla="*/ 1166585 h 1451770"/>
                <a:gd name="connsiteX4593" fmla="*/ 701841 w 3773795"/>
                <a:gd name="connsiteY4593" fmla="*/ 1166466 h 1451770"/>
                <a:gd name="connsiteX4594" fmla="*/ 700880 w 3773795"/>
                <a:gd name="connsiteY4594" fmla="*/ 1165817 h 1451770"/>
                <a:gd name="connsiteX4595" fmla="*/ 700651 w 3773795"/>
                <a:gd name="connsiteY4595" fmla="*/ 1164560 h 1451770"/>
                <a:gd name="connsiteX4596" fmla="*/ 700191 w 3773795"/>
                <a:gd name="connsiteY4596" fmla="*/ 1162963 h 1451770"/>
                <a:gd name="connsiteX4597" fmla="*/ 697837 w 3773795"/>
                <a:gd name="connsiteY4597" fmla="*/ 1161404 h 1451770"/>
                <a:gd name="connsiteX4598" fmla="*/ 694618 w 3773795"/>
                <a:gd name="connsiteY4598" fmla="*/ 1160397 h 1451770"/>
                <a:gd name="connsiteX4599" fmla="*/ 691623 w 3773795"/>
                <a:gd name="connsiteY4599" fmla="*/ 1159291 h 1451770"/>
                <a:gd name="connsiteX4600" fmla="*/ 689666 w 3773795"/>
                <a:gd name="connsiteY4600" fmla="*/ 1158996 h 1451770"/>
                <a:gd name="connsiteX4601" fmla="*/ 688831 w 3773795"/>
                <a:gd name="connsiteY4601" fmla="*/ 1160588 h 1451770"/>
                <a:gd name="connsiteX4602" fmla="*/ 686350 w 3773795"/>
                <a:gd name="connsiteY4602" fmla="*/ 1163119 h 1451770"/>
                <a:gd name="connsiteX4603" fmla="*/ 683527 w 3773795"/>
                <a:gd name="connsiteY4603" fmla="*/ 1165576 h 1451770"/>
                <a:gd name="connsiteX4604" fmla="*/ 679932 w 3773795"/>
                <a:gd name="connsiteY4604" fmla="*/ 1169566 h 1451770"/>
                <a:gd name="connsiteX4605" fmla="*/ 678949 w 3773795"/>
                <a:gd name="connsiteY4605" fmla="*/ 1170979 h 1451770"/>
                <a:gd name="connsiteX4606" fmla="*/ 677570 w 3773795"/>
                <a:gd name="connsiteY4606" fmla="*/ 1171919 h 1451770"/>
                <a:gd name="connsiteX4607" fmla="*/ 674430 w 3773795"/>
                <a:gd name="connsiteY4607" fmla="*/ 1172943 h 1451770"/>
                <a:gd name="connsiteX4608" fmla="*/ 670614 w 3773795"/>
                <a:gd name="connsiteY4608" fmla="*/ 1174624 h 1451770"/>
                <a:gd name="connsiteX4609" fmla="*/ 668181 w 3773795"/>
                <a:gd name="connsiteY4609" fmla="*/ 1176535 h 1451770"/>
                <a:gd name="connsiteX4610" fmla="*/ 664732 w 3773795"/>
                <a:gd name="connsiteY4610" fmla="*/ 1177401 h 1451770"/>
                <a:gd name="connsiteX4611" fmla="*/ 661011 w 3773795"/>
                <a:gd name="connsiteY4611" fmla="*/ 1177947 h 1451770"/>
                <a:gd name="connsiteX4612" fmla="*/ 659387 w 3773795"/>
                <a:gd name="connsiteY4612" fmla="*/ 1179602 h 1451770"/>
                <a:gd name="connsiteX4613" fmla="*/ 658390 w 3773795"/>
                <a:gd name="connsiteY4613" fmla="*/ 1182298 h 1451770"/>
                <a:gd name="connsiteX4614" fmla="*/ 657150 w 3773795"/>
                <a:gd name="connsiteY4614" fmla="*/ 1184718 h 1451770"/>
                <a:gd name="connsiteX4615" fmla="*/ 651296 w 3773795"/>
                <a:gd name="connsiteY4615" fmla="*/ 1188379 h 1451770"/>
                <a:gd name="connsiteX4616" fmla="*/ 648091 w 3773795"/>
                <a:gd name="connsiteY4616" fmla="*/ 1190750 h 1451770"/>
                <a:gd name="connsiteX4617" fmla="*/ 645762 w 3773795"/>
                <a:gd name="connsiteY4617" fmla="*/ 1192008 h 1451770"/>
                <a:gd name="connsiteX4618" fmla="*/ 644134 w 3773795"/>
                <a:gd name="connsiteY4618" fmla="*/ 1191847 h 1451770"/>
                <a:gd name="connsiteX4619" fmla="*/ 642374 w 3773795"/>
                <a:gd name="connsiteY4619" fmla="*/ 1191469 h 1451770"/>
                <a:gd name="connsiteX4620" fmla="*/ 641709 w 3773795"/>
                <a:gd name="connsiteY4620" fmla="*/ 1191678 h 1451770"/>
                <a:gd name="connsiteX4621" fmla="*/ 642613 w 3773795"/>
                <a:gd name="connsiteY4621" fmla="*/ 1193490 h 1451770"/>
                <a:gd name="connsiteX4622" fmla="*/ 643375 w 3773795"/>
                <a:gd name="connsiteY4622" fmla="*/ 1199195 h 1451770"/>
                <a:gd name="connsiteX4623" fmla="*/ 644457 w 3773795"/>
                <a:gd name="connsiteY4623" fmla="*/ 1202824 h 1451770"/>
                <a:gd name="connsiteX4624" fmla="*/ 645239 w 3773795"/>
                <a:gd name="connsiteY4624" fmla="*/ 1204907 h 1451770"/>
                <a:gd name="connsiteX4625" fmla="*/ 645973 w 3773795"/>
                <a:gd name="connsiteY4625" fmla="*/ 1206543 h 1451770"/>
                <a:gd name="connsiteX4626" fmla="*/ 646533 w 3773795"/>
                <a:gd name="connsiteY4626" fmla="*/ 1209048 h 1451770"/>
                <a:gd name="connsiteX4627" fmla="*/ 645803 w 3773795"/>
                <a:gd name="connsiteY4627" fmla="*/ 1210512 h 1451770"/>
                <a:gd name="connsiteX4628" fmla="*/ 644669 w 3773795"/>
                <a:gd name="connsiteY4628" fmla="*/ 1211495 h 1451770"/>
                <a:gd name="connsiteX4629" fmla="*/ 641154 w 3773795"/>
                <a:gd name="connsiteY4629" fmla="*/ 1213041 h 1451770"/>
                <a:gd name="connsiteX4630" fmla="*/ 637489 w 3773795"/>
                <a:gd name="connsiteY4630" fmla="*/ 1214372 h 1451770"/>
                <a:gd name="connsiteX4631" fmla="*/ 635293 w 3773795"/>
                <a:gd name="connsiteY4631" fmla="*/ 1213515 h 1451770"/>
                <a:gd name="connsiteX4632" fmla="*/ 632857 w 3773795"/>
                <a:gd name="connsiteY4632" fmla="*/ 1211391 h 1451770"/>
                <a:gd name="connsiteX4633" fmla="*/ 631896 w 3773795"/>
                <a:gd name="connsiteY4633" fmla="*/ 1210293 h 1451770"/>
                <a:gd name="connsiteX4634" fmla="*/ 629229 w 3773795"/>
                <a:gd name="connsiteY4634" fmla="*/ 1206724 h 1451770"/>
                <a:gd name="connsiteX4635" fmla="*/ 624561 w 3773795"/>
                <a:gd name="connsiteY4635" fmla="*/ 1201264 h 1451770"/>
                <a:gd name="connsiteX4636" fmla="*/ 621380 w 3773795"/>
                <a:gd name="connsiteY4636" fmla="*/ 1198493 h 1451770"/>
                <a:gd name="connsiteX4637" fmla="*/ 619033 w 3773795"/>
                <a:gd name="connsiteY4637" fmla="*/ 1197460 h 1451770"/>
                <a:gd name="connsiteX4638" fmla="*/ 616910 w 3773795"/>
                <a:gd name="connsiteY4638" fmla="*/ 1197775 h 1451770"/>
                <a:gd name="connsiteX4639" fmla="*/ 615265 w 3773795"/>
                <a:gd name="connsiteY4639" fmla="*/ 1199073 h 1451770"/>
                <a:gd name="connsiteX4640" fmla="*/ 614096 w 3773795"/>
                <a:gd name="connsiteY4640" fmla="*/ 1200228 h 1451770"/>
                <a:gd name="connsiteX4641" fmla="*/ 612993 w 3773795"/>
                <a:gd name="connsiteY4641" fmla="*/ 1201519 h 1451770"/>
                <a:gd name="connsiteX4642" fmla="*/ 612291 w 3773795"/>
                <a:gd name="connsiteY4642" fmla="*/ 1203142 h 1451770"/>
                <a:gd name="connsiteX4643" fmla="*/ 612356 w 3773795"/>
                <a:gd name="connsiteY4643" fmla="*/ 1205376 h 1451770"/>
                <a:gd name="connsiteX4644" fmla="*/ 612302 w 3773795"/>
                <a:gd name="connsiteY4644" fmla="*/ 1207738 h 1451770"/>
                <a:gd name="connsiteX4645" fmla="*/ 611265 w 3773795"/>
                <a:gd name="connsiteY4645" fmla="*/ 1209402 h 1451770"/>
                <a:gd name="connsiteX4646" fmla="*/ 608640 w 3773795"/>
                <a:gd name="connsiteY4646" fmla="*/ 1211186 h 1451770"/>
                <a:gd name="connsiteX4647" fmla="*/ 605597 w 3773795"/>
                <a:gd name="connsiteY4647" fmla="*/ 1213674 h 1451770"/>
                <a:gd name="connsiteX4648" fmla="*/ 603332 w 3773795"/>
                <a:gd name="connsiteY4648" fmla="*/ 1218159 h 1451770"/>
                <a:gd name="connsiteX4649" fmla="*/ 601864 w 3773795"/>
                <a:gd name="connsiteY4649" fmla="*/ 1223754 h 1451770"/>
                <a:gd name="connsiteX4650" fmla="*/ 601397 w 3773795"/>
                <a:gd name="connsiteY4650" fmla="*/ 1227629 h 1451770"/>
                <a:gd name="connsiteX4651" fmla="*/ 602522 w 3773795"/>
                <a:gd name="connsiteY4651" fmla="*/ 1229440 h 1451770"/>
                <a:gd name="connsiteX4652" fmla="*/ 604744 w 3773795"/>
                <a:gd name="connsiteY4652" fmla="*/ 1230908 h 1451770"/>
                <a:gd name="connsiteX4653" fmla="*/ 606176 w 3773795"/>
                <a:gd name="connsiteY4653" fmla="*/ 1232415 h 1451770"/>
                <a:gd name="connsiteX4654" fmla="*/ 606467 w 3773795"/>
                <a:gd name="connsiteY4654" fmla="*/ 1233834 h 1451770"/>
                <a:gd name="connsiteX4655" fmla="*/ 606089 w 3773795"/>
                <a:gd name="connsiteY4655" fmla="*/ 1235318 h 1451770"/>
                <a:gd name="connsiteX4656" fmla="*/ 604939 w 3773795"/>
                <a:gd name="connsiteY4656" fmla="*/ 1237032 h 1451770"/>
                <a:gd name="connsiteX4657" fmla="*/ 602522 w 3773795"/>
                <a:gd name="connsiteY4657" fmla="*/ 1238992 h 1451770"/>
                <a:gd name="connsiteX4658" fmla="*/ 599199 w 3773795"/>
                <a:gd name="connsiteY4658" fmla="*/ 1243668 h 1451770"/>
                <a:gd name="connsiteX4659" fmla="*/ 597132 w 3773795"/>
                <a:gd name="connsiteY4659" fmla="*/ 1250255 h 1451770"/>
                <a:gd name="connsiteX4660" fmla="*/ 598277 w 3773795"/>
                <a:gd name="connsiteY4660" fmla="*/ 1254841 h 1451770"/>
                <a:gd name="connsiteX4661" fmla="*/ 602526 w 3773795"/>
                <a:gd name="connsiteY4661" fmla="*/ 1257353 h 1451770"/>
                <a:gd name="connsiteX4662" fmla="*/ 605869 w 3773795"/>
                <a:gd name="connsiteY4662" fmla="*/ 1258460 h 1451770"/>
                <a:gd name="connsiteX4663" fmla="*/ 607204 w 3773795"/>
                <a:gd name="connsiteY4663" fmla="*/ 1259932 h 1451770"/>
                <a:gd name="connsiteX4664" fmla="*/ 608406 w 3773795"/>
                <a:gd name="connsiteY4664" fmla="*/ 1262913 h 1451770"/>
                <a:gd name="connsiteX4665" fmla="*/ 608240 w 3773795"/>
                <a:gd name="connsiteY4665" fmla="*/ 1265932 h 1451770"/>
                <a:gd name="connsiteX4666" fmla="*/ 607837 w 3773795"/>
                <a:gd name="connsiteY4666" fmla="*/ 1267974 h 1451770"/>
                <a:gd name="connsiteX4667" fmla="*/ 608666 w 3773795"/>
                <a:gd name="connsiteY4667" fmla="*/ 1269974 h 1451770"/>
                <a:gd name="connsiteX4668" fmla="*/ 610242 w 3773795"/>
                <a:gd name="connsiteY4668" fmla="*/ 1272348 h 1451770"/>
                <a:gd name="connsiteX4669" fmla="*/ 612239 w 3773795"/>
                <a:gd name="connsiteY4669" fmla="*/ 1273799 h 1451770"/>
                <a:gd name="connsiteX4670" fmla="*/ 614339 w 3773795"/>
                <a:gd name="connsiteY4670" fmla="*/ 1273018 h 1451770"/>
                <a:gd name="connsiteX4671" fmla="*/ 616431 w 3773795"/>
                <a:gd name="connsiteY4671" fmla="*/ 1272026 h 1451770"/>
                <a:gd name="connsiteX4672" fmla="*/ 619046 w 3773795"/>
                <a:gd name="connsiteY4672" fmla="*/ 1272418 h 1451770"/>
                <a:gd name="connsiteX4673" fmla="*/ 626442 w 3773795"/>
                <a:gd name="connsiteY4673" fmla="*/ 1273242 h 1451770"/>
                <a:gd name="connsiteX4674" fmla="*/ 630318 w 3773795"/>
                <a:gd name="connsiteY4674" fmla="*/ 1273672 h 1451770"/>
                <a:gd name="connsiteX4675" fmla="*/ 631579 w 3773795"/>
                <a:gd name="connsiteY4675" fmla="*/ 1274702 h 1451770"/>
                <a:gd name="connsiteX4676" fmla="*/ 633982 w 3773795"/>
                <a:gd name="connsiteY4676" fmla="*/ 1278043 h 1451770"/>
                <a:gd name="connsiteX4677" fmla="*/ 637020 w 3773795"/>
                <a:gd name="connsiteY4677" fmla="*/ 1281788 h 1451770"/>
                <a:gd name="connsiteX4678" fmla="*/ 640104 w 3773795"/>
                <a:gd name="connsiteY4678" fmla="*/ 1285586 h 1451770"/>
                <a:gd name="connsiteX4679" fmla="*/ 641169 w 3773795"/>
                <a:gd name="connsiteY4679" fmla="*/ 1287229 h 1451770"/>
                <a:gd name="connsiteX4680" fmla="*/ 643682 w 3773795"/>
                <a:gd name="connsiteY4680" fmla="*/ 1291755 h 1451770"/>
                <a:gd name="connsiteX4681" fmla="*/ 646280 w 3773795"/>
                <a:gd name="connsiteY4681" fmla="*/ 1295818 h 1451770"/>
                <a:gd name="connsiteX4682" fmla="*/ 649100 w 3773795"/>
                <a:gd name="connsiteY4682" fmla="*/ 1300843 h 1451770"/>
                <a:gd name="connsiteX4683" fmla="*/ 648899 w 3773795"/>
                <a:gd name="connsiteY4683" fmla="*/ 1302202 h 1451770"/>
                <a:gd name="connsiteX4684" fmla="*/ 647424 w 3773795"/>
                <a:gd name="connsiteY4684" fmla="*/ 1302769 h 1451770"/>
                <a:gd name="connsiteX4685" fmla="*/ 645053 w 3773795"/>
                <a:gd name="connsiteY4685" fmla="*/ 1302632 h 1451770"/>
                <a:gd name="connsiteX4686" fmla="*/ 643222 w 3773795"/>
                <a:gd name="connsiteY4686" fmla="*/ 1301895 h 1451770"/>
                <a:gd name="connsiteX4687" fmla="*/ 642195 w 3773795"/>
                <a:gd name="connsiteY4687" fmla="*/ 1301286 h 1451770"/>
                <a:gd name="connsiteX4688" fmla="*/ 641270 w 3773795"/>
                <a:gd name="connsiteY4688" fmla="*/ 1301085 h 1451770"/>
                <a:gd name="connsiteX4689" fmla="*/ 640234 w 3773795"/>
                <a:gd name="connsiteY4689" fmla="*/ 1301330 h 1451770"/>
                <a:gd name="connsiteX4690" fmla="*/ 639352 w 3773795"/>
                <a:gd name="connsiteY4690" fmla="*/ 1301965 h 1451770"/>
                <a:gd name="connsiteX4691" fmla="*/ 638994 w 3773795"/>
                <a:gd name="connsiteY4691" fmla="*/ 1302958 h 1451770"/>
                <a:gd name="connsiteX4692" fmla="*/ 639145 w 3773795"/>
                <a:gd name="connsiteY4692" fmla="*/ 1304311 h 1451770"/>
                <a:gd name="connsiteX4693" fmla="*/ 639854 w 3773795"/>
                <a:gd name="connsiteY4693" fmla="*/ 1305544 h 1451770"/>
                <a:gd name="connsiteX4694" fmla="*/ 640845 w 3773795"/>
                <a:gd name="connsiteY4694" fmla="*/ 1306337 h 1451770"/>
                <a:gd name="connsiteX4695" fmla="*/ 641378 w 3773795"/>
                <a:gd name="connsiteY4695" fmla="*/ 1306632 h 1451770"/>
                <a:gd name="connsiteX4696" fmla="*/ 645008 w 3773795"/>
                <a:gd name="connsiteY4696" fmla="*/ 1308257 h 1451770"/>
                <a:gd name="connsiteX4697" fmla="*/ 649091 w 3773795"/>
                <a:gd name="connsiteY4697" fmla="*/ 1310083 h 1451770"/>
                <a:gd name="connsiteX4698" fmla="*/ 654073 w 3773795"/>
                <a:gd name="connsiteY4698" fmla="*/ 1312671 h 1451770"/>
                <a:gd name="connsiteX4699" fmla="*/ 655133 w 3773795"/>
                <a:gd name="connsiteY4699" fmla="*/ 1312994 h 1451770"/>
                <a:gd name="connsiteX4700" fmla="*/ 655436 w 3773795"/>
                <a:gd name="connsiteY4700" fmla="*/ 1314257 h 1451770"/>
                <a:gd name="connsiteX4701" fmla="*/ 652773 w 3773795"/>
                <a:gd name="connsiteY4701" fmla="*/ 1314530 h 1451770"/>
                <a:gd name="connsiteX4702" fmla="*/ 652445 w 3773795"/>
                <a:gd name="connsiteY4702" fmla="*/ 1316005 h 1451770"/>
                <a:gd name="connsiteX4703" fmla="*/ 651758 w 3773795"/>
                <a:gd name="connsiteY4703" fmla="*/ 1317091 h 1451770"/>
                <a:gd name="connsiteX4704" fmla="*/ 645796 w 3773795"/>
                <a:gd name="connsiteY4704" fmla="*/ 1319545 h 1451770"/>
                <a:gd name="connsiteX4705" fmla="*/ 644306 w 3773795"/>
                <a:gd name="connsiteY4705" fmla="*/ 1319538 h 1451770"/>
                <a:gd name="connsiteX4706" fmla="*/ 643004 w 3773795"/>
                <a:gd name="connsiteY4706" fmla="*/ 1319940 h 1451770"/>
                <a:gd name="connsiteX4707" fmla="*/ 643084 w 3773795"/>
                <a:gd name="connsiteY4707" fmla="*/ 1321527 h 1451770"/>
                <a:gd name="connsiteX4708" fmla="*/ 643440 w 3773795"/>
                <a:gd name="connsiteY4708" fmla="*/ 1322978 h 1451770"/>
                <a:gd name="connsiteX4709" fmla="*/ 644462 w 3773795"/>
                <a:gd name="connsiteY4709" fmla="*/ 1324515 h 1451770"/>
                <a:gd name="connsiteX4710" fmla="*/ 644019 w 3773795"/>
                <a:gd name="connsiteY4710" fmla="*/ 1325169 h 1451770"/>
                <a:gd name="connsiteX4711" fmla="*/ 643136 w 3773795"/>
                <a:gd name="connsiteY4711" fmla="*/ 1325388 h 1451770"/>
                <a:gd name="connsiteX4712" fmla="*/ 641981 w 3773795"/>
                <a:gd name="connsiteY4712" fmla="*/ 1324923 h 1451770"/>
                <a:gd name="connsiteX4713" fmla="*/ 640912 w 3773795"/>
                <a:gd name="connsiteY4713" fmla="*/ 1324120 h 1451770"/>
                <a:gd name="connsiteX4714" fmla="*/ 639767 w 3773795"/>
                <a:gd name="connsiteY4714" fmla="*/ 1323919 h 1451770"/>
                <a:gd name="connsiteX4715" fmla="*/ 638655 w 3773795"/>
                <a:gd name="connsiteY4715" fmla="*/ 1324120 h 1451770"/>
                <a:gd name="connsiteX4716" fmla="*/ 633583 w 3773795"/>
                <a:gd name="connsiteY4716" fmla="*/ 1328451 h 1451770"/>
                <a:gd name="connsiteX4717" fmla="*/ 631406 w 3773795"/>
                <a:gd name="connsiteY4717" fmla="*/ 1329574 h 1451770"/>
                <a:gd name="connsiteX4718" fmla="*/ 629055 w 3773795"/>
                <a:gd name="connsiteY4718" fmla="*/ 1330015 h 1451770"/>
                <a:gd name="connsiteX4719" fmla="*/ 624131 w 3773795"/>
                <a:gd name="connsiteY4719" fmla="*/ 1331610 h 1451770"/>
                <a:gd name="connsiteX4720" fmla="*/ 622667 w 3773795"/>
                <a:gd name="connsiteY4720" fmla="*/ 1331530 h 1451770"/>
                <a:gd name="connsiteX4721" fmla="*/ 621276 w 3773795"/>
                <a:gd name="connsiteY4721" fmla="*/ 1330973 h 1451770"/>
                <a:gd name="connsiteX4722" fmla="*/ 620143 w 3773795"/>
                <a:gd name="connsiteY4722" fmla="*/ 1331783 h 1451770"/>
                <a:gd name="connsiteX4723" fmla="*/ 619778 w 3773795"/>
                <a:gd name="connsiteY4723" fmla="*/ 1333783 h 1451770"/>
                <a:gd name="connsiteX4724" fmla="*/ 618467 w 3773795"/>
                <a:gd name="connsiteY4724" fmla="*/ 1332402 h 1451770"/>
                <a:gd name="connsiteX4725" fmla="*/ 617016 w 3773795"/>
                <a:gd name="connsiteY4725" fmla="*/ 1331304 h 1451770"/>
                <a:gd name="connsiteX4726" fmla="*/ 616374 w 3773795"/>
                <a:gd name="connsiteY4726" fmla="*/ 1330934 h 1451770"/>
                <a:gd name="connsiteX4727" fmla="*/ 616018 w 3773795"/>
                <a:gd name="connsiteY4727" fmla="*/ 1331152 h 1451770"/>
                <a:gd name="connsiteX4728" fmla="*/ 617366 w 3773795"/>
                <a:gd name="connsiteY4728" fmla="*/ 1333297 h 1451770"/>
                <a:gd name="connsiteX4729" fmla="*/ 617483 w 3773795"/>
                <a:gd name="connsiteY4729" fmla="*/ 1335263 h 1451770"/>
                <a:gd name="connsiteX4730" fmla="*/ 617152 w 3773795"/>
                <a:gd name="connsiteY4730" fmla="*/ 1336342 h 1451770"/>
                <a:gd name="connsiteX4731" fmla="*/ 616580 w 3773795"/>
                <a:gd name="connsiteY4731" fmla="*/ 1337327 h 1451770"/>
                <a:gd name="connsiteX4732" fmla="*/ 615824 w 3773795"/>
                <a:gd name="connsiteY4732" fmla="*/ 1337932 h 1451770"/>
                <a:gd name="connsiteX4733" fmla="*/ 614908 w 3773795"/>
                <a:gd name="connsiteY4733" fmla="*/ 1338261 h 1451770"/>
                <a:gd name="connsiteX4734" fmla="*/ 614423 w 3773795"/>
                <a:gd name="connsiteY4734" fmla="*/ 1341725 h 1451770"/>
                <a:gd name="connsiteX4735" fmla="*/ 613542 w 3773795"/>
                <a:gd name="connsiteY4735" fmla="*/ 1343837 h 1451770"/>
                <a:gd name="connsiteX4736" fmla="*/ 612324 w 3773795"/>
                <a:gd name="connsiteY4736" fmla="*/ 1345706 h 1451770"/>
                <a:gd name="connsiteX4737" fmla="*/ 610672 w 3773795"/>
                <a:gd name="connsiteY4737" fmla="*/ 1349130 h 1451770"/>
                <a:gd name="connsiteX4738" fmla="*/ 609346 w 3773795"/>
                <a:gd name="connsiteY4738" fmla="*/ 1350624 h 1451770"/>
                <a:gd name="connsiteX4739" fmla="*/ 608311 w 3773795"/>
                <a:gd name="connsiteY4739" fmla="*/ 1352363 h 1451770"/>
                <a:gd name="connsiteX4740" fmla="*/ 607627 w 3773795"/>
                <a:gd name="connsiteY4740" fmla="*/ 1354791 h 1451770"/>
                <a:gd name="connsiteX4741" fmla="*/ 606642 w 3773795"/>
                <a:gd name="connsiteY4741" fmla="*/ 1354221 h 1451770"/>
                <a:gd name="connsiteX4742" fmla="*/ 605839 w 3773795"/>
                <a:gd name="connsiteY4742" fmla="*/ 1353179 h 1451770"/>
                <a:gd name="connsiteX4743" fmla="*/ 605413 w 3773795"/>
                <a:gd name="connsiteY4743" fmla="*/ 1354557 h 1451770"/>
                <a:gd name="connsiteX4744" fmla="*/ 604833 w 3773795"/>
                <a:gd name="connsiteY4744" fmla="*/ 1355730 h 1451770"/>
                <a:gd name="connsiteX4745" fmla="*/ 602263 w 3773795"/>
                <a:gd name="connsiteY4745" fmla="*/ 1357483 h 1451770"/>
                <a:gd name="connsiteX4746" fmla="*/ 600363 w 3773795"/>
                <a:gd name="connsiteY4746" fmla="*/ 1359165 h 1451770"/>
                <a:gd name="connsiteX4747" fmla="*/ 599497 w 3773795"/>
                <a:gd name="connsiteY4747" fmla="*/ 1361775 h 1451770"/>
                <a:gd name="connsiteX4748" fmla="*/ 599300 w 3773795"/>
                <a:gd name="connsiteY4748" fmla="*/ 1363335 h 1451770"/>
                <a:gd name="connsiteX4749" fmla="*/ 599603 w 3773795"/>
                <a:gd name="connsiteY4749" fmla="*/ 1364740 h 1451770"/>
                <a:gd name="connsiteX4750" fmla="*/ 600313 w 3773795"/>
                <a:gd name="connsiteY4750" fmla="*/ 1365583 h 1451770"/>
                <a:gd name="connsiteX4751" fmla="*/ 603910 w 3773795"/>
                <a:gd name="connsiteY4751" fmla="*/ 1366493 h 1451770"/>
                <a:gd name="connsiteX4752" fmla="*/ 606297 w 3773795"/>
                <a:gd name="connsiteY4752" fmla="*/ 1367685 h 1451770"/>
                <a:gd name="connsiteX4753" fmla="*/ 608487 w 3773795"/>
                <a:gd name="connsiteY4753" fmla="*/ 1369899 h 1451770"/>
                <a:gd name="connsiteX4754" fmla="*/ 610857 w 3773795"/>
                <a:gd name="connsiteY4754" fmla="*/ 1371778 h 1451770"/>
                <a:gd name="connsiteX4755" fmla="*/ 612563 w 3773795"/>
                <a:gd name="connsiteY4755" fmla="*/ 1374197 h 1451770"/>
                <a:gd name="connsiteX4756" fmla="*/ 613768 w 3773795"/>
                <a:gd name="connsiteY4756" fmla="*/ 1377169 h 1451770"/>
                <a:gd name="connsiteX4757" fmla="*/ 615265 w 3773795"/>
                <a:gd name="connsiteY4757" fmla="*/ 1382939 h 1451770"/>
                <a:gd name="connsiteX4758" fmla="*/ 616007 w 3773795"/>
                <a:gd name="connsiteY4758" fmla="*/ 1389004 h 1451770"/>
                <a:gd name="connsiteX4759" fmla="*/ 618215 w 3773795"/>
                <a:gd name="connsiteY4759" fmla="*/ 1381459 h 1451770"/>
                <a:gd name="connsiteX4760" fmla="*/ 620069 w 3773795"/>
                <a:gd name="connsiteY4760" fmla="*/ 1380110 h 1451770"/>
                <a:gd name="connsiteX4761" fmla="*/ 619657 w 3773795"/>
                <a:gd name="connsiteY4761" fmla="*/ 1382235 h 1451770"/>
                <a:gd name="connsiteX4762" fmla="*/ 618333 w 3773795"/>
                <a:gd name="connsiteY4762" fmla="*/ 1385501 h 1451770"/>
                <a:gd name="connsiteX4763" fmla="*/ 617029 w 3773795"/>
                <a:gd name="connsiteY4763" fmla="*/ 1390224 h 1451770"/>
                <a:gd name="connsiteX4764" fmla="*/ 616606 w 3773795"/>
                <a:gd name="connsiteY4764" fmla="*/ 1393670 h 1451770"/>
                <a:gd name="connsiteX4765" fmla="*/ 617087 w 3773795"/>
                <a:gd name="connsiteY4765" fmla="*/ 1396653 h 1451770"/>
                <a:gd name="connsiteX4766" fmla="*/ 617115 w 3773795"/>
                <a:gd name="connsiteY4766" fmla="*/ 1398050 h 1451770"/>
                <a:gd name="connsiteX4767" fmla="*/ 616016 w 3773795"/>
                <a:gd name="connsiteY4767" fmla="*/ 1402978 h 1451770"/>
                <a:gd name="connsiteX4768" fmla="*/ 616584 w 3773795"/>
                <a:gd name="connsiteY4768" fmla="*/ 1403924 h 1451770"/>
                <a:gd name="connsiteX4769" fmla="*/ 617472 w 3773795"/>
                <a:gd name="connsiteY4769" fmla="*/ 1404798 h 1451770"/>
                <a:gd name="connsiteX4770" fmla="*/ 619813 w 3773795"/>
                <a:gd name="connsiteY4770" fmla="*/ 1406504 h 1451770"/>
                <a:gd name="connsiteX4771" fmla="*/ 621454 w 3773795"/>
                <a:gd name="connsiteY4771" fmla="*/ 1408980 h 1451770"/>
                <a:gd name="connsiteX4772" fmla="*/ 621866 w 3773795"/>
                <a:gd name="connsiteY4772" fmla="*/ 1412461 h 1451770"/>
                <a:gd name="connsiteX4773" fmla="*/ 622795 w 3773795"/>
                <a:gd name="connsiteY4773" fmla="*/ 1413421 h 1451770"/>
                <a:gd name="connsiteX4774" fmla="*/ 623958 w 3773795"/>
                <a:gd name="connsiteY4774" fmla="*/ 1414257 h 1451770"/>
                <a:gd name="connsiteX4775" fmla="*/ 629659 w 3773795"/>
                <a:gd name="connsiteY4775" fmla="*/ 1421185 h 1451770"/>
                <a:gd name="connsiteX4776" fmla="*/ 632942 w 3773795"/>
                <a:gd name="connsiteY4776" fmla="*/ 1425782 h 1451770"/>
                <a:gd name="connsiteX4777" fmla="*/ 634587 w 3773795"/>
                <a:gd name="connsiteY4777" fmla="*/ 1428460 h 1451770"/>
                <a:gd name="connsiteX4778" fmla="*/ 636373 w 3773795"/>
                <a:gd name="connsiteY4778" fmla="*/ 1431827 h 1451770"/>
                <a:gd name="connsiteX4779" fmla="*/ 637314 w 3773795"/>
                <a:gd name="connsiteY4779" fmla="*/ 1432608 h 1451770"/>
                <a:gd name="connsiteX4780" fmla="*/ 638429 w 3773795"/>
                <a:gd name="connsiteY4780" fmla="*/ 1433108 h 1451770"/>
                <a:gd name="connsiteX4781" fmla="*/ 640553 w 3773795"/>
                <a:gd name="connsiteY4781" fmla="*/ 1434716 h 1451770"/>
                <a:gd name="connsiteX4782" fmla="*/ 639355 w 3773795"/>
                <a:gd name="connsiteY4782" fmla="*/ 1436442 h 1451770"/>
                <a:gd name="connsiteX4783" fmla="*/ 637409 w 3773795"/>
                <a:gd name="connsiteY4783" fmla="*/ 1439514 h 1451770"/>
                <a:gd name="connsiteX4784" fmla="*/ 636541 w 3773795"/>
                <a:gd name="connsiteY4784" fmla="*/ 1441140 h 1451770"/>
                <a:gd name="connsiteX4785" fmla="*/ 634479 w 3773795"/>
                <a:gd name="connsiteY4785" fmla="*/ 1442644 h 1451770"/>
                <a:gd name="connsiteX4786" fmla="*/ 631032 w 3773795"/>
                <a:gd name="connsiteY4786" fmla="*/ 1444236 h 1451770"/>
                <a:gd name="connsiteX4787" fmla="*/ 629126 w 3773795"/>
                <a:gd name="connsiteY4787" fmla="*/ 1444925 h 1451770"/>
                <a:gd name="connsiteX4788" fmla="*/ 627083 w 3773795"/>
                <a:gd name="connsiteY4788" fmla="*/ 1448217 h 1451770"/>
                <a:gd name="connsiteX4789" fmla="*/ 624816 w 3773795"/>
                <a:gd name="connsiteY4789" fmla="*/ 1451415 h 1451770"/>
                <a:gd name="connsiteX4790" fmla="*/ 623265 w 3773795"/>
                <a:gd name="connsiteY4790" fmla="*/ 1451770 h 1451770"/>
                <a:gd name="connsiteX4791" fmla="*/ 618860 w 3773795"/>
                <a:gd name="connsiteY4791" fmla="*/ 1451273 h 1451770"/>
                <a:gd name="connsiteX4792" fmla="*/ 617286 w 3773795"/>
                <a:gd name="connsiteY4792" fmla="*/ 1450985 h 1451770"/>
                <a:gd name="connsiteX4793" fmla="*/ 612799 w 3773795"/>
                <a:gd name="connsiteY4793" fmla="*/ 1449577 h 1451770"/>
                <a:gd name="connsiteX4794" fmla="*/ 611548 w 3773795"/>
                <a:gd name="connsiteY4794" fmla="*/ 1448716 h 1451770"/>
                <a:gd name="connsiteX4795" fmla="*/ 610313 w 3773795"/>
                <a:gd name="connsiteY4795" fmla="*/ 1445006 h 1451770"/>
                <a:gd name="connsiteX4796" fmla="*/ 608927 w 3773795"/>
                <a:gd name="connsiteY4796" fmla="*/ 1443409 h 1451770"/>
                <a:gd name="connsiteX4797" fmla="*/ 607189 w 3773795"/>
                <a:gd name="connsiteY4797" fmla="*/ 1442388 h 1451770"/>
                <a:gd name="connsiteX4798" fmla="*/ 605999 w 3773795"/>
                <a:gd name="connsiteY4798" fmla="*/ 1441520 h 1451770"/>
                <a:gd name="connsiteX4799" fmla="*/ 605504 w 3773795"/>
                <a:gd name="connsiteY4799" fmla="*/ 1440624 h 1451770"/>
                <a:gd name="connsiteX4800" fmla="*/ 604245 w 3773795"/>
                <a:gd name="connsiteY4800" fmla="*/ 1439327 h 1451770"/>
                <a:gd name="connsiteX4801" fmla="*/ 601918 w 3773795"/>
                <a:gd name="connsiteY4801" fmla="*/ 1437394 h 1451770"/>
                <a:gd name="connsiteX4802" fmla="*/ 600231 w 3773795"/>
                <a:gd name="connsiteY4802" fmla="*/ 1435561 h 1451770"/>
                <a:gd name="connsiteX4803" fmla="*/ 598927 w 3773795"/>
                <a:gd name="connsiteY4803" fmla="*/ 1435064 h 1451770"/>
                <a:gd name="connsiteX4804" fmla="*/ 597283 w 3773795"/>
                <a:gd name="connsiteY4804" fmla="*/ 1435711 h 1451770"/>
                <a:gd name="connsiteX4805" fmla="*/ 596295 w 3773795"/>
                <a:gd name="connsiteY4805" fmla="*/ 1435892 h 1451770"/>
                <a:gd name="connsiteX4806" fmla="*/ 595871 w 3773795"/>
                <a:gd name="connsiteY4806" fmla="*/ 1435569 h 1451770"/>
                <a:gd name="connsiteX4807" fmla="*/ 595552 w 3773795"/>
                <a:gd name="connsiteY4807" fmla="*/ 1434028 h 1451770"/>
                <a:gd name="connsiteX4808" fmla="*/ 593168 w 3773795"/>
                <a:gd name="connsiteY4808" fmla="*/ 1433483 h 1451770"/>
                <a:gd name="connsiteX4809" fmla="*/ 592762 w 3773795"/>
                <a:gd name="connsiteY4809" fmla="*/ 1433121 h 1451770"/>
                <a:gd name="connsiteX4810" fmla="*/ 589583 w 3773795"/>
                <a:gd name="connsiteY4810" fmla="*/ 1431643 h 1451770"/>
                <a:gd name="connsiteX4811" fmla="*/ 588365 w 3773795"/>
                <a:gd name="connsiteY4811" fmla="*/ 1430859 h 1451770"/>
                <a:gd name="connsiteX4812" fmla="*/ 587195 w 3773795"/>
                <a:gd name="connsiteY4812" fmla="*/ 1430801 h 1451770"/>
                <a:gd name="connsiteX4813" fmla="*/ 584733 w 3773795"/>
                <a:gd name="connsiteY4813" fmla="*/ 1430358 h 1451770"/>
                <a:gd name="connsiteX4814" fmla="*/ 582645 w 3773795"/>
                <a:gd name="connsiteY4814" fmla="*/ 1429650 h 1451770"/>
                <a:gd name="connsiteX4815" fmla="*/ 581680 w 3773795"/>
                <a:gd name="connsiteY4815" fmla="*/ 1428713 h 1451770"/>
                <a:gd name="connsiteX4816" fmla="*/ 580257 w 3773795"/>
                <a:gd name="connsiteY4816" fmla="*/ 1427669 h 1451770"/>
                <a:gd name="connsiteX4817" fmla="*/ 577616 w 3773795"/>
                <a:gd name="connsiteY4817" fmla="*/ 1426369 h 1451770"/>
                <a:gd name="connsiteX4818" fmla="*/ 575670 w 3773795"/>
                <a:gd name="connsiteY4818" fmla="*/ 1425141 h 1451770"/>
                <a:gd name="connsiteX4819" fmla="*/ 575575 w 3773795"/>
                <a:gd name="connsiteY4819" fmla="*/ 1424352 h 1451770"/>
                <a:gd name="connsiteX4820" fmla="*/ 576771 w 3773795"/>
                <a:gd name="connsiteY4820" fmla="*/ 1421087 h 1451770"/>
                <a:gd name="connsiteX4821" fmla="*/ 577637 w 3773795"/>
                <a:gd name="connsiteY4821" fmla="*/ 1417951 h 1451770"/>
                <a:gd name="connsiteX4822" fmla="*/ 577145 w 3773795"/>
                <a:gd name="connsiteY4822" fmla="*/ 1417336 h 1451770"/>
                <a:gd name="connsiteX4823" fmla="*/ 576046 w 3773795"/>
                <a:gd name="connsiteY4823" fmla="*/ 1416814 h 1451770"/>
                <a:gd name="connsiteX4824" fmla="*/ 573997 w 3773795"/>
                <a:gd name="connsiteY4824" fmla="*/ 1416332 h 1451770"/>
                <a:gd name="connsiteX4825" fmla="*/ 569151 w 3773795"/>
                <a:gd name="connsiteY4825" fmla="*/ 1416491 h 1451770"/>
                <a:gd name="connsiteX4826" fmla="*/ 566154 w 3773795"/>
                <a:gd name="connsiteY4826" fmla="*/ 1413329 h 1451770"/>
                <a:gd name="connsiteX4827" fmla="*/ 565093 w 3773795"/>
                <a:gd name="connsiteY4827" fmla="*/ 1412614 h 1451770"/>
                <a:gd name="connsiteX4828" fmla="*/ 563133 w 3773795"/>
                <a:gd name="connsiteY4828" fmla="*/ 1412103 h 1451770"/>
                <a:gd name="connsiteX4829" fmla="*/ 560298 w 3773795"/>
                <a:gd name="connsiteY4829" fmla="*/ 1411137 h 1451770"/>
                <a:gd name="connsiteX4830" fmla="*/ 558697 w 3773795"/>
                <a:gd name="connsiteY4830" fmla="*/ 1410439 h 1451770"/>
                <a:gd name="connsiteX4831" fmla="*/ 558244 w 3773795"/>
                <a:gd name="connsiteY4831" fmla="*/ 1410695 h 1451770"/>
                <a:gd name="connsiteX4832" fmla="*/ 556489 w 3773795"/>
                <a:gd name="connsiteY4832" fmla="*/ 1414168 h 1451770"/>
                <a:gd name="connsiteX4833" fmla="*/ 554735 w 3773795"/>
                <a:gd name="connsiteY4833" fmla="*/ 1411689 h 1451770"/>
                <a:gd name="connsiteX4834" fmla="*/ 553686 w 3773795"/>
                <a:gd name="connsiteY4834" fmla="*/ 1411018 h 1451770"/>
                <a:gd name="connsiteX4835" fmla="*/ 552185 w 3773795"/>
                <a:gd name="connsiteY4835" fmla="*/ 1410650 h 1451770"/>
                <a:gd name="connsiteX4836" fmla="*/ 550623 w 3773795"/>
                <a:gd name="connsiteY4836" fmla="*/ 1410646 h 1451770"/>
                <a:gd name="connsiteX4837" fmla="*/ 546724 w 3773795"/>
                <a:gd name="connsiteY4837" fmla="*/ 1411852 h 1451770"/>
                <a:gd name="connsiteX4838" fmla="*/ 543854 w 3773795"/>
                <a:gd name="connsiteY4838" fmla="*/ 1413185 h 1451770"/>
                <a:gd name="connsiteX4839" fmla="*/ 541710 w 3773795"/>
                <a:gd name="connsiteY4839" fmla="*/ 1414180 h 1451770"/>
                <a:gd name="connsiteX4840" fmla="*/ 539542 w 3773795"/>
                <a:gd name="connsiteY4840" fmla="*/ 1414734 h 1451770"/>
                <a:gd name="connsiteX4841" fmla="*/ 538496 w 3773795"/>
                <a:gd name="connsiteY4841" fmla="*/ 1415510 h 1451770"/>
                <a:gd name="connsiteX4842" fmla="*/ 535590 w 3773795"/>
                <a:gd name="connsiteY4842" fmla="*/ 1415377 h 1451770"/>
                <a:gd name="connsiteX4843" fmla="*/ 534128 w 3773795"/>
                <a:gd name="connsiteY4843" fmla="*/ 1414781 h 1451770"/>
                <a:gd name="connsiteX4844" fmla="*/ 533653 w 3773795"/>
                <a:gd name="connsiteY4844" fmla="*/ 1414163 h 1451770"/>
                <a:gd name="connsiteX4845" fmla="*/ 533908 w 3773795"/>
                <a:gd name="connsiteY4845" fmla="*/ 1413081 h 1451770"/>
                <a:gd name="connsiteX4846" fmla="*/ 534914 w 3773795"/>
                <a:gd name="connsiteY4846" fmla="*/ 1411867 h 1451770"/>
                <a:gd name="connsiteX4847" fmla="*/ 534987 w 3773795"/>
                <a:gd name="connsiteY4847" fmla="*/ 1411203 h 1451770"/>
                <a:gd name="connsiteX4848" fmla="*/ 534631 w 3773795"/>
                <a:gd name="connsiteY4848" fmla="*/ 1410689 h 1451770"/>
                <a:gd name="connsiteX4849" fmla="*/ 531103 w 3773795"/>
                <a:gd name="connsiteY4849" fmla="*/ 1409066 h 1451770"/>
                <a:gd name="connsiteX4850" fmla="*/ 529660 w 3773795"/>
                <a:gd name="connsiteY4850" fmla="*/ 1408083 h 1451770"/>
                <a:gd name="connsiteX4851" fmla="*/ 525020 w 3773795"/>
                <a:gd name="connsiteY4851" fmla="*/ 1406685 h 1451770"/>
                <a:gd name="connsiteX4852" fmla="*/ 519297 w 3773795"/>
                <a:gd name="connsiteY4852" fmla="*/ 1404211 h 1451770"/>
                <a:gd name="connsiteX4853" fmla="*/ 517330 w 3773795"/>
                <a:gd name="connsiteY4853" fmla="*/ 1402587 h 1451770"/>
                <a:gd name="connsiteX4854" fmla="*/ 517140 w 3773795"/>
                <a:gd name="connsiteY4854" fmla="*/ 1401464 h 1451770"/>
                <a:gd name="connsiteX4855" fmla="*/ 514894 w 3773795"/>
                <a:gd name="connsiteY4855" fmla="*/ 1400361 h 1451770"/>
                <a:gd name="connsiteX4856" fmla="*/ 512033 w 3773795"/>
                <a:gd name="connsiteY4856" fmla="*/ 1399370 h 1451770"/>
                <a:gd name="connsiteX4857" fmla="*/ 509813 w 3773795"/>
                <a:gd name="connsiteY4857" fmla="*/ 1399651 h 1451770"/>
                <a:gd name="connsiteX4858" fmla="*/ 507730 w 3773795"/>
                <a:gd name="connsiteY4858" fmla="*/ 1399758 h 1451770"/>
                <a:gd name="connsiteX4859" fmla="*/ 504480 w 3773795"/>
                <a:gd name="connsiteY4859" fmla="*/ 1397903 h 1451770"/>
                <a:gd name="connsiteX4860" fmla="*/ 501398 w 3773795"/>
                <a:gd name="connsiteY4860" fmla="*/ 1397799 h 1451770"/>
                <a:gd name="connsiteX4861" fmla="*/ 497917 w 3773795"/>
                <a:gd name="connsiteY4861" fmla="*/ 1398356 h 1451770"/>
                <a:gd name="connsiteX4862" fmla="*/ 497155 w 3773795"/>
                <a:gd name="connsiteY4862" fmla="*/ 1398577 h 1451770"/>
                <a:gd name="connsiteX4863" fmla="*/ 496319 w 3773795"/>
                <a:gd name="connsiteY4863" fmla="*/ 1398818 h 1451770"/>
                <a:gd name="connsiteX4864" fmla="*/ 485939 w 3773795"/>
                <a:gd name="connsiteY4864" fmla="*/ 1398036 h 1451770"/>
                <a:gd name="connsiteX4865" fmla="*/ 483290 w 3773795"/>
                <a:gd name="connsiteY4865" fmla="*/ 1396503 h 1451770"/>
                <a:gd name="connsiteX4866" fmla="*/ 481022 w 3773795"/>
                <a:gd name="connsiteY4866" fmla="*/ 1394969 h 1451770"/>
                <a:gd name="connsiteX4867" fmla="*/ 474939 w 3773795"/>
                <a:gd name="connsiteY4867" fmla="*/ 1393865 h 1451770"/>
                <a:gd name="connsiteX4868" fmla="*/ 471819 w 3773795"/>
                <a:gd name="connsiteY4868" fmla="*/ 1392692 h 1451770"/>
                <a:gd name="connsiteX4869" fmla="*/ 468716 w 3773795"/>
                <a:gd name="connsiteY4869" fmla="*/ 1391027 h 1451770"/>
                <a:gd name="connsiteX4870" fmla="*/ 465319 w 3773795"/>
                <a:gd name="connsiteY4870" fmla="*/ 1389574 h 1451770"/>
                <a:gd name="connsiteX4871" fmla="*/ 462464 w 3773795"/>
                <a:gd name="connsiteY4871" fmla="*/ 1390163 h 1451770"/>
                <a:gd name="connsiteX4872" fmla="*/ 458558 w 3773795"/>
                <a:gd name="connsiteY4872" fmla="*/ 1389335 h 1451770"/>
                <a:gd name="connsiteX4873" fmla="*/ 454311 w 3773795"/>
                <a:gd name="connsiteY4873" fmla="*/ 1388607 h 1451770"/>
                <a:gd name="connsiteX4874" fmla="*/ 452860 w 3773795"/>
                <a:gd name="connsiteY4874" fmla="*/ 1389055 h 1451770"/>
                <a:gd name="connsiteX4875" fmla="*/ 451514 w 3773795"/>
                <a:gd name="connsiteY4875" fmla="*/ 1390894 h 1451770"/>
                <a:gd name="connsiteX4876" fmla="*/ 450510 w 3773795"/>
                <a:gd name="connsiteY4876" fmla="*/ 1392644 h 1451770"/>
                <a:gd name="connsiteX4877" fmla="*/ 448195 w 3773795"/>
                <a:gd name="connsiteY4877" fmla="*/ 1391219 h 1451770"/>
                <a:gd name="connsiteX4878" fmla="*/ 440303 w 3773795"/>
                <a:gd name="connsiteY4878" fmla="*/ 1384343 h 1451770"/>
                <a:gd name="connsiteX4879" fmla="*/ 436161 w 3773795"/>
                <a:gd name="connsiteY4879" fmla="*/ 1379768 h 1451770"/>
                <a:gd name="connsiteX4880" fmla="*/ 422626 w 3773795"/>
                <a:gd name="connsiteY4880" fmla="*/ 1369182 h 1451770"/>
                <a:gd name="connsiteX4881" fmla="*/ 420825 w 3773795"/>
                <a:gd name="connsiteY4881" fmla="*/ 1368370 h 1451770"/>
                <a:gd name="connsiteX4882" fmla="*/ 413660 w 3773795"/>
                <a:gd name="connsiteY4882" fmla="*/ 1366838 h 1451770"/>
                <a:gd name="connsiteX4883" fmla="*/ 410773 w 3773795"/>
                <a:gd name="connsiteY4883" fmla="*/ 1365609 h 1451770"/>
                <a:gd name="connsiteX4884" fmla="*/ 403481 w 3773795"/>
                <a:gd name="connsiteY4884" fmla="*/ 1358013 h 1451770"/>
                <a:gd name="connsiteX4885" fmla="*/ 400240 w 3773795"/>
                <a:gd name="connsiteY4885" fmla="*/ 1359033 h 1451770"/>
                <a:gd name="connsiteX4886" fmla="*/ 397311 w 3773795"/>
                <a:gd name="connsiteY4886" fmla="*/ 1358775 h 1451770"/>
                <a:gd name="connsiteX4887" fmla="*/ 395601 w 3773795"/>
                <a:gd name="connsiteY4887" fmla="*/ 1358110 h 1451770"/>
                <a:gd name="connsiteX4888" fmla="*/ 393748 w 3773795"/>
                <a:gd name="connsiteY4888" fmla="*/ 1357018 h 1451770"/>
                <a:gd name="connsiteX4889" fmla="*/ 392444 w 3773795"/>
                <a:gd name="connsiteY4889" fmla="*/ 1355572 h 1451770"/>
                <a:gd name="connsiteX4890" fmla="*/ 390935 w 3773795"/>
                <a:gd name="connsiteY4890" fmla="*/ 1352388 h 1451770"/>
                <a:gd name="connsiteX4891" fmla="*/ 389181 w 3773795"/>
                <a:gd name="connsiteY4891" fmla="*/ 1350560 h 1451770"/>
                <a:gd name="connsiteX4892" fmla="*/ 383424 w 3773795"/>
                <a:gd name="connsiteY4892" fmla="*/ 1347891 h 1451770"/>
                <a:gd name="connsiteX4893" fmla="*/ 376931 w 3773795"/>
                <a:gd name="connsiteY4893" fmla="*/ 1346335 h 1451770"/>
                <a:gd name="connsiteX4894" fmla="*/ 376419 w 3773795"/>
                <a:gd name="connsiteY4894" fmla="*/ 1345655 h 1451770"/>
                <a:gd name="connsiteX4895" fmla="*/ 376231 w 3773795"/>
                <a:gd name="connsiteY4895" fmla="*/ 1344719 h 1451770"/>
                <a:gd name="connsiteX4896" fmla="*/ 381846 w 3773795"/>
                <a:gd name="connsiteY4896" fmla="*/ 1342904 h 1451770"/>
                <a:gd name="connsiteX4897" fmla="*/ 383353 w 3773795"/>
                <a:gd name="connsiteY4897" fmla="*/ 1341864 h 1451770"/>
                <a:gd name="connsiteX4898" fmla="*/ 380474 w 3773795"/>
                <a:gd name="connsiteY4898" fmla="*/ 1340484 h 1451770"/>
                <a:gd name="connsiteX4899" fmla="*/ 379382 w 3773795"/>
                <a:gd name="connsiteY4899" fmla="*/ 1340256 h 1451770"/>
                <a:gd name="connsiteX4900" fmla="*/ 378471 w 3773795"/>
                <a:gd name="connsiteY4900" fmla="*/ 1339610 h 1451770"/>
                <a:gd name="connsiteX4901" fmla="*/ 380092 w 3773795"/>
                <a:gd name="connsiteY4901" fmla="*/ 1338572 h 1451770"/>
                <a:gd name="connsiteX4902" fmla="*/ 381688 w 3773795"/>
                <a:gd name="connsiteY4902" fmla="*/ 1338096 h 1451770"/>
                <a:gd name="connsiteX4903" fmla="*/ 384163 w 3773795"/>
                <a:gd name="connsiteY4903" fmla="*/ 1339289 h 1451770"/>
                <a:gd name="connsiteX4904" fmla="*/ 386942 w 3773795"/>
                <a:gd name="connsiteY4904" fmla="*/ 1341503 h 1451770"/>
                <a:gd name="connsiteX4905" fmla="*/ 389375 w 3773795"/>
                <a:gd name="connsiteY4905" fmla="*/ 1342341 h 1451770"/>
                <a:gd name="connsiteX4906" fmla="*/ 390496 w 3773795"/>
                <a:gd name="connsiteY4906" fmla="*/ 1341282 h 1451770"/>
                <a:gd name="connsiteX4907" fmla="*/ 398963 w 3773795"/>
                <a:gd name="connsiteY4907" fmla="*/ 1339464 h 1451770"/>
                <a:gd name="connsiteX4908" fmla="*/ 399533 w 3773795"/>
                <a:gd name="connsiteY4908" fmla="*/ 1338023 h 1451770"/>
                <a:gd name="connsiteX4909" fmla="*/ 399510 w 3773795"/>
                <a:gd name="connsiteY4909" fmla="*/ 1336412 h 1451770"/>
                <a:gd name="connsiteX4910" fmla="*/ 398680 w 3773795"/>
                <a:gd name="connsiteY4910" fmla="*/ 1336469 h 1451770"/>
                <a:gd name="connsiteX4911" fmla="*/ 398140 w 3773795"/>
                <a:gd name="connsiteY4911" fmla="*/ 1336106 h 1451770"/>
                <a:gd name="connsiteX4912" fmla="*/ 398195 w 3773795"/>
                <a:gd name="connsiteY4912" fmla="*/ 1334315 h 1451770"/>
                <a:gd name="connsiteX4913" fmla="*/ 399451 w 3773795"/>
                <a:gd name="connsiteY4913" fmla="*/ 1331857 h 1451770"/>
                <a:gd name="connsiteX4914" fmla="*/ 403248 w 3773795"/>
                <a:gd name="connsiteY4914" fmla="*/ 1327851 h 1451770"/>
                <a:gd name="connsiteX4915" fmla="*/ 405286 w 3773795"/>
                <a:gd name="connsiteY4915" fmla="*/ 1322274 h 1451770"/>
                <a:gd name="connsiteX4916" fmla="*/ 407081 w 3773795"/>
                <a:gd name="connsiteY4916" fmla="*/ 1321002 h 1451770"/>
                <a:gd name="connsiteX4917" fmla="*/ 408398 w 3773795"/>
                <a:gd name="connsiteY4917" fmla="*/ 1321850 h 1451770"/>
                <a:gd name="connsiteX4918" fmla="*/ 408307 w 3773795"/>
                <a:gd name="connsiteY4918" fmla="*/ 1323153 h 1451770"/>
                <a:gd name="connsiteX4919" fmla="*/ 408525 w 3773795"/>
                <a:gd name="connsiteY4919" fmla="*/ 1324121 h 1451770"/>
                <a:gd name="connsiteX4920" fmla="*/ 409702 w 3773795"/>
                <a:gd name="connsiteY4920" fmla="*/ 1322243 h 1451770"/>
                <a:gd name="connsiteX4921" fmla="*/ 410825 w 3773795"/>
                <a:gd name="connsiteY4921" fmla="*/ 1319702 h 1451770"/>
                <a:gd name="connsiteX4922" fmla="*/ 413660 w 3773795"/>
                <a:gd name="connsiteY4922" fmla="*/ 1319687 h 1451770"/>
                <a:gd name="connsiteX4923" fmla="*/ 415618 w 3773795"/>
                <a:gd name="connsiteY4923" fmla="*/ 1320111 h 1451770"/>
                <a:gd name="connsiteX4924" fmla="*/ 417651 w 3773795"/>
                <a:gd name="connsiteY4924" fmla="*/ 1319820 h 1451770"/>
                <a:gd name="connsiteX4925" fmla="*/ 413736 w 3773795"/>
                <a:gd name="connsiteY4925" fmla="*/ 1315632 h 1451770"/>
                <a:gd name="connsiteX4926" fmla="*/ 408484 w 3773795"/>
                <a:gd name="connsiteY4926" fmla="*/ 1311409 h 1451770"/>
                <a:gd name="connsiteX4927" fmla="*/ 406269 w 3773795"/>
                <a:gd name="connsiteY4927" fmla="*/ 1311727 h 1451770"/>
                <a:gd name="connsiteX4928" fmla="*/ 404861 w 3773795"/>
                <a:gd name="connsiteY4928" fmla="*/ 1311072 h 1451770"/>
                <a:gd name="connsiteX4929" fmla="*/ 402555 w 3773795"/>
                <a:gd name="connsiteY4929" fmla="*/ 1307587 h 1451770"/>
                <a:gd name="connsiteX4930" fmla="*/ 401602 w 3773795"/>
                <a:gd name="connsiteY4930" fmla="*/ 1304696 h 1451770"/>
                <a:gd name="connsiteX4931" fmla="*/ 403833 w 3773795"/>
                <a:gd name="connsiteY4931" fmla="*/ 1304761 h 1451770"/>
                <a:gd name="connsiteX4932" fmla="*/ 406057 w 3773795"/>
                <a:gd name="connsiteY4932" fmla="*/ 1305199 h 1451770"/>
                <a:gd name="connsiteX4933" fmla="*/ 410292 w 3773795"/>
                <a:gd name="connsiteY4933" fmla="*/ 1303179 h 1451770"/>
                <a:gd name="connsiteX4934" fmla="*/ 411850 w 3773795"/>
                <a:gd name="connsiteY4934" fmla="*/ 1302884 h 1451770"/>
                <a:gd name="connsiteX4935" fmla="*/ 414360 w 3773795"/>
                <a:gd name="connsiteY4935" fmla="*/ 1303523 h 1451770"/>
                <a:gd name="connsiteX4936" fmla="*/ 417843 w 3773795"/>
                <a:gd name="connsiteY4936" fmla="*/ 1303930 h 1451770"/>
                <a:gd name="connsiteX4937" fmla="*/ 417556 w 3773795"/>
                <a:gd name="connsiteY4937" fmla="*/ 1302024 h 1451770"/>
                <a:gd name="connsiteX4938" fmla="*/ 416465 w 3773795"/>
                <a:gd name="connsiteY4938" fmla="*/ 1299772 h 1451770"/>
                <a:gd name="connsiteX4939" fmla="*/ 420713 w 3773795"/>
                <a:gd name="connsiteY4939" fmla="*/ 1298101 h 1451770"/>
                <a:gd name="connsiteX4940" fmla="*/ 424479 w 3773795"/>
                <a:gd name="connsiteY4940" fmla="*/ 1297178 h 1451770"/>
                <a:gd name="connsiteX4941" fmla="*/ 431680 w 3773795"/>
                <a:gd name="connsiteY4941" fmla="*/ 1293906 h 1451770"/>
                <a:gd name="connsiteX4942" fmla="*/ 434863 w 3773795"/>
                <a:gd name="connsiteY4942" fmla="*/ 1293328 h 1451770"/>
                <a:gd name="connsiteX4943" fmla="*/ 435269 w 3773795"/>
                <a:gd name="connsiteY4943" fmla="*/ 1292581 h 1451770"/>
                <a:gd name="connsiteX4944" fmla="*/ 435366 w 3773795"/>
                <a:gd name="connsiteY4944" fmla="*/ 1291607 h 1451770"/>
                <a:gd name="connsiteX4945" fmla="*/ 434284 w 3773795"/>
                <a:gd name="connsiteY4945" fmla="*/ 1288986 h 1451770"/>
                <a:gd name="connsiteX4946" fmla="*/ 433205 w 3773795"/>
                <a:gd name="connsiteY4946" fmla="*/ 1287046 h 1451770"/>
                <a:gd name="connsiteX4947" fmla="*/ 429402 w 3773795"/>
                <a:gd name="connsiteY4947" fmla="*/ 1286952 h 1451770"/>
                <a:gd name="connsiteX4948" fmla="*/ 427292 w 3773795"/>
                <a:gd name="connsiteY4948" fmla="*/ 1289653 h 1451770"/>
                <a:gd name="connsiteX4949" fmla="*/ 421540 w 3773795"/>
                <a:gd name="connsiteY4949" fmla="*/ 1290540 h 1451770"/>
                <a:gd name="connsiteX4950" fmla="*/ 418981 w 3773795"/>
                <a:gd name="connsiteY4950" fmla="*/ 1290361 h 1451770"/>
                <a:gd name="connsiteX4951" fmla="*/ 421013 w 3773795"/>
                <a:gd name="connsiteY4951" fmla="*/ 1288631 h 1451770"/>
                <a:gd name="connsiteX4952" fmla="*/ 423040 w 3773795"/>
                <a:gd name="connsiteY4952" fmla="*/ 1287970 h 1451770"/>
                <a:gd name="connsiteX4953" fmla="*/ 423613 w 3773795"/>
                <a:gd name="connsiteY4953" fmla="*/ 1287249 h 1451770"/>
                <a:gd name="connsiteX4954" fmla="*/ 419529 w 3773795"/>
                <a:gd name="connsiteY4954" fmla="*/ 1287878 h 1451770"/>
                <a:gd name="connsiteX4955" fmla="*/ 417484 w 3773795"/>
                <a:gd name="connsiteY4955" fmla="*/ 1289657 h 1451770"/>
                <a:gd name="connsiteX4956" fmla="*/ 411505 w 3773795"/>
                <a:gd name="connsiteY4956" fmla="*/ 1292007 h 1451770"/>
                <a:gd name="connsiteX4957" fmla="*/ 411317 w 3773795"/>
                <a:gd name="connsiteY4957" fmla="*/ 1290773 h 1451770"/>
                <a:gd name="connsiteX4958" fmla="*/ 411218 w 3773795"/>
                <a:gd name="connsiteY4958" fmla="*/ 1289665 h 1451770"/>
                <a:gd name="connsiteX4959" fmla="*/ 411656 w 3773795"/>
                <a:gd name="connsiteY4959" fmla="*/ 1288616 h 1451770"/>
                <a:gd name="connsiteX4960" fmla="*/ 412632 w 3773795"/>
                <a:gd name="connsiteY4960" fmla="*/ 1287938 h 1451770"/>
                <a:gd name="connsiteX4961" fmla="*/ 412973 w 3773795"/>
                <a:gd name="connsiteY4961" fmla="*/ 1287321 h 1451770"/>
                <a:gd name="connsiteX4962" fmla="*/ 412973 w 3773795"/>
                <a:gd name="connsiteY4962" fmla="*/ 1286827 h 1451770"/>
                <a:gd name="connsiteX4963" fmla="*/ 412095 w 3773795"/>
                <a:gd name="connsiteY4963" fmla="*/ 1286518 h 1451770"/>
                <a:gd name="connsiteX4964" fmla="*/ 411364 w 3773795"/>
                <a:gd name="connsiteY4964" fmla="*/ 1286271 h 1451770"/>
                <a:gd name="connsiteX4965" fmla="*/ 411218 w 3773795"/>
                <a:gd name="connsiteY4965" fmla="*/ 1285592 h 1451770"/>
                <a:gd name="connsiteX4966" fmla="*/ 411462 w 3773795"/>
                <a:gd name="connsiteY4966" fmla="*/ 1284976 h 1451770"/>
                <a:gd name="connsiteX4967" fmla="*/ 412144 w 3773795"/>
                <a:gd name="connsiteY4967" fmla="*/ 1284110 h 1451770"/>
                <a:gd name="connsiteX4968" fmla="*/ 412438 w 3773795"/>
                <a:gd name="connsiteY4968" fmla="*/ 1283122 h 1451770"/>
                <a:gd name="connsiteX4969" fmla="*/ 412488 w 3773795"/>
                <a:gd name="connsiteY4969" fmla="*/ 1281142 h 1451770"/>
                <a:gd name="connsiteX4970" fmla="*/ 413120 w 3773795"/>
                <a:gd name="connsiteY4970" fmla="*/ 1278907 h 1451770"/>
                <a:gd name="connsiteX4971" fmla="*/ 414921 w 3773795"/>
                <a:gd name="connsiteY4971" fmla="*/ 1277481 h 1451770"/>
                <a:gd name="connsiteX4972" fmla="*/ 418063 w 3773795"/>
                <a:gd name="connsiteY4972" fmla="*/ 1277131 h 1451770"/>
                <a:gd name="connsiteX4973" fmla="*/ 420931 w 3773795"/>
                <a:gd name="connsiteY4973" fmla="*/ 1275908 h 1451770"/>
                <a:gd name="connsiteX4974" fmla="*/ 422663 w 3773795"/>
                <a:gd name="connsiteY4974" fmla="*/ 1274553 h 1451770"/>
                <a:gd name="connsiteX4975" fmla="*/ 424947 w 3773795"/>
                <a:gd name="connsiteY4975" fmla="*/ 1271094 h 1451770"/>
                <a:gd name="connsiteX4976" fmla="*/ 426672 w 3773795"/>
                <a:gd name="connsiteY4976" fmla="*/ 1270584 h 1451770"/>
                <a:gd name="connsiteX4977" fmla="*/ 430156 w 3773795"/>
                <a:gd name="connsiteY4977" fmla="*/ 1270771 h 1451770"/>
                <a:gd name="connsiteX4978" fmla="*/ 432382 w 3773795"/>
                <a:gd name="connsiteY4978" fmla="*/ 1271083 h 1451770"/>
                <a:gd name="connsiteX4979" fmla="*/ 437523 w 3773795"/>
                <a:gd name="connsiteY4979" fmla="*/ 1271186 h 1451770"/>
                <a:gd name="connsiteX4980" fmla="*/ 443438 w 3773795"/>
                <a:gd name="connsiteY4980" fmla="*/ 1270976 h 1451770"/>
                <a:gd name="connsiteX4981" fmla="*/ 445150 w 3773795"/>
                <a:gd name="connsiteY4981" fmla="*/ 1270874 h 1451770"/>
                <a:gd name="connsiteX4982" fmla="*/ 446096 w 3773795"/>
                <a:gd name="connsiteY4982" fmla="*/ 1269670 h 1451770"/>
                <a:gd name="connsiteX4983" fmla="*/ 446031 w 3773795"/>
                <a:gd name="connsiteY4983" fmla="*/ 1267502 h 1451770"/>
                <a:gd name="connsiteX4984" fmla="*/ 446876 w 3773795"/>
                <a:gd name="connsiteY4984" fmla="*/ 1265503 h 1451770"/>
                <a:gd name="connsiteX4985" fmla="*/ 448448 w 3773795"/>
                <a:gd name="connsiteY4985" fmla="*/ 1261744 h 1451770"/>
                <a:gd name="connsiteX4986" fmla="*/ 450128 w 3773795"/>
                <a:gd name="connsiteY4986" fmla="*/ 1259777 h 1451770"/>
                <a:gd name="connsiteX4987" fmla="*/ 450059 w 3773795"/>
                <a:gd name="connsiteY4987" fmla="*/ 1258901 h 1451770"/>
                <a:gd name="connsiteX4988" fmla="*/ 449180 w 3773795"/>
                <a:gd name="connsiteY4988" fmla="*/ 1258532 h 1451770"/>
                <a:gd name="connsiteX4989" fmla="*/ 448033 w 3773795"/>
                <a:gd name="connsiteY4989" fmla="*/ 1258348 h 1451770"/>
                <a:gd name="connsiteX4990" fmla="*/ 447617 w 3773795"/>
                <a:gd name="connsiteY4990" fmla="*/ 1257942 h 1451770"/>
                <a:gd name="connsiteX4991" fmla="*/ 447670 w 3773795"/>
                <a:gd name="connsiteY4991" fmla="*/ 1257116 h 1451770"/>
                <a:gd name="connsiteX4992" fmla="*/ 448554 w 3773795"/>
                <a:gd name="connsiteY4992" fmla="*/ 1256309 h 1451770"/>
                <a:gd name="connsiteX4993" fmla="*/ 448394 w 3773795"/>
                <a:gd name="connsiteY4993" fmla="*/ 1254647 h 1451770"/>
                <a:gd name="connsiteX4994" fmla="*/ 447839 w 3773795"/>
                <a:gd name="connsiteY4994" fmla="*/ 1252800 h 1451770"/>
                <a:gd name="connsiteX4995" fmla="*/ 447355 w 3773795"/>
                <a:gd name="connsiteY4995" fmla="*/ 1251138 h 1451770"/>
                <a:gd name="connsiteX4996" fmla="*/ 445803 w 3773795"/>
                <a:gd name="connsiteY4996" fmla="*/ 1250312 h 1451770"/>
                <a:gd name="connsiteX4997" fmla="*/ 443133 w 3773795"/>
                <a:gd name="connsiteY4997" fmla="*/ 1249763 h 1451770"/>
                <a:gd name="connsiteX4998" fmla="*/ 443702 w 3773795"/>
                <a:gd name="connsiteY4998" fmla="*/ 1247739 h 1451770"/>
                <a:gd name="connsiteX4999" fmla="*/ 444457 w 3773795"/>
                <a:gd name="connsiteY4999" fmla="*/ 1245552 h 1451770"/>
                <a:gd name="connsiteX5000" fmla="*/ 445591 w 3773795"/>
                <a:gd name="connsiteY5000" fmla="*/ 1244336 h 1451770"/>
                <a:gd name="connsiteX5001" fmla="*/ 446409 w 3773795"/>
                <a:gd name="connsiteY5001" fmla="*/ 1243606 h 1451770"/>
                <a:gd name="connsiteX5002" fmla="*/ 448869 w 3773795"/>
                <a:gd name="connsiteY5002" fmla="*/ 1244004 h 1451770"/>
                <a:gd name="connsiteX5003" fmla="*/ 450646 w 3773795"/>
                <a:gd name="connsiteY5003" fmla="*/ 1243616 h 1451770"/>
                <a:gd name="connsiteX5004" fmla="*/ 451069 w 3773795"/>
                <a:gd name="connsiteY5004" fmla="*/ 1243197 h 1451770"/>
                <a:gd name="connsiteX5005" fmla="*/ 450750 w 3773795"/>
                <a:gd name="connsiteY5005" fmla="*/ 1242362 h 1451770"/>
                <a:gd name="connsiteX5006" fmla="*/ 447977 w 3773795"/>
                <a:gd name="connsiteY5006" fmla="*/ 1241605 h 1451770"/>
                <a:gd name="connsiteX5007" fmla="*/ 445535 w 3773795"/>
                <a:gd name="connsiteY5007" fmla="*/ 1240565 h 1451770"/>
                <a:gd name="connsiteX5008" fmla="*/ 444481 w 3773795"/>
                <a:gd name="connsiteY5008" fmla="*/ 1239279 h 1451770"/>
                <a:gd name="connsiteX5009" fmla="*/ 444058 w 3773795"/>
                <a:gd name="connsiteY5009" fmla="*/ 1237900 h 1451770"/>
                <a:gd name="connsiteX5010" fmla="*/ 445671 w 3773795"/>
                <a:gd name="connsiteY5010" fmla="*/ 1237082 h 1451770"/>
                <a:gd name="connsiteX5011" fmla="*/ 448551 w 3773795"/>
                <a:gd name="connsiteY5011" fmla="*/ 1236297 h 1451770"/>
                <a:gd name="connsiteX5012" fmla="*/ 450467 w 3773795"/>
                <a:gd name="connsiteY5012" fmla="*/ 1234418 h 1451770"/>
                <a:gd name="connsiteX5013" fmla="*/ 452538 w 3773795"/>
                <a:gd name="connsiteY5013" fmla="*/ 1232404 h 1451770"/>
                <a:gd name="connsiteX5014" fmla="*/ 453395 w 3773795"/>
                <a:gd name="connsiteY5014" fmla="*/ 1230937 h 1451770"/>
                <a:gd name="connsiteX5015" fmla="*/ 453827 w 3773795"/>
                <a:gd name="connsiteY5015" fmla="*/ 1229344 h 1451770"/>
                <a:gd name="connsiteX5016" fmla="*/ 453779 w 3773795"/>
                <a:gd name="connsiteY5016" fmla="*/ 1227579 h 1451770"/>
                <a:gd name="connsiteX5017" fmla="*/ 452268 w 3773795"/>
                <a:gd name="connsiteY5017" fmla="*/ 1225782 h 1451770"/>
                <a:gd name="connsiteX5018" fmla="*/ 452268 w 3773795"/>
                <a:gd name="connsiteY5018" fmla="*/ 1223902 h 1451770"/>
                <a:gd name="connsiteX5019" fmla="*/ 453088 w 3773795"/>
                <a:gd name="connsiteY5019" fmla="*/ 1222593 h 1451770"/>
                <a:gd name="connsiteX5020" fmla="*/ 452773 w 3773795"/>
                <a:gd name="connsiteY5020" fmla="*/ 1221611 h 1451770"/>
                <a:gd name="connsiteX5021" fmla="*/ 451667 w 3773795"/>
                <a:gd name="connsiteY5021" fmla="*/ 1221041 h 1451770"/>
                <a:gd name="connsiteX5022" fmla="*/ 450072 w 3773795"/>
                <a:gd name="connsiteY5022" fmla="*/ 1221212 h 1451770"/>
                <a:gd name="connsiteX5023" fmla="*/ 448266 w 3773795"/>
                <a:gd name="connsiteY5023" fmla="*/ 1221875 h 1451770"/>
                <a:gd name="connsiteX5024" fmla="*/ 446137 w 3773795"/>
                <a:gd name="connsiteY5024" fmla="*/ 1221750 h 1451770"/>
                <a:gd name="connsiteX5025" fmla="*/ 442732 w 3773795"/>
                <a:gd name="connsiteY5025" fmla="*/ 1219490 h 1451770"/>
                <a:gd name="connsiteX5026" fmla="*/ 439110 w 3773795"/>
                <a:gd name="connsiteY5026" fmla="*/ 1217265 h 1451770"/>
                <a:gd name="connsiteX5027" fmla="*/ 437025 w 3773795"/>
                <a:gd name="connsiteY5027" fmla="*/ 1217190 h 1451770"/>
                <a:gd name="connsiteX5028" fmla="*/ 435576 w 3773795"/>
                <a:gd name="connsiteY5028" fmla="*/ 1216862 h 1451770"/>
                <a:gd name="connsiteX5029" fmla="*/ 434317 w 3773795"/>
                <a:gd name="connsiteY5029" fmla="*/ 1215714 h 1451770"/>
                <a:gd name="connsiteX5030" fmla="*/ 433561 w 3773795"/>
                <a:gd name="connsiteY5030" fmla="*/ 1214237 h 1451770"/>
                <a:gd name="connsiteX5031" fmla="*/ 432743 w 3773795"/>
                <a:gd name="connsiteY5031" fmla="*/ 1213582 h 1451770"/>
                <a:gd name="connsiteX5032" fmla="*/ 431419 w 3773795"/>
                <a:gd name="connsiteY5032" fmla="*/ 1213991 h 1451770"/>
                <a:gd name="connsiteX5033" fmla="*/ 429490 w 3773795"/>
                <a:gd name="connsiteY5033" fmla="*/ 1214663 h 1451770"/>
                <a:gd name="connsiteX5034" fmla="*/ 427072 w 3773795"/>
                <a:gd name="connsiteY5034" fmla="*/ 1214482 h 1451770"/>
                <a:gd name="connsiteX5035" fmla="*/ 423939 w 3773795"/>
                <a:gd name="connsiteY5035" fmla="*/ 1212764 h 1451770"/>
                <a:gd name="connsiteX5036" fmla="*/ 421088 w 3773795"/>
                <a:gd name="connsiteY5036" fmla="*/ 1210787 h 1451770"/>
                <a:gd name="connsiteX5037" fmla="*/ 418970 w 3773795"/>
                <a:gd name="connsiteY5037" fmla="*/ 1210738 h 1451770"/>
                <a:gd name="connsiteX5038" fmla="*/ 416742 w 3773795"/>
                <a:gd name="connsiteY5038" fmla="*/ 1210464 h 1451770"/>
                <a:gd name="connsiteX5039" fmla="*/ 412483 w 3773795"/>
                <a:gd name="connsiteY5039" fmla="*/ 1207916 h 1451770"/>
                <a:gd name="connsiteX5040" fmla="*/ 411380 w 3773795"/>
                <a:gd name="connsiteY5040" fmla="*/ 1207941 h 1451770"/>
                <a:gd name="connsiteX5041" fmla="*/ 410691 w 3773795"/>
                <a:gd name="connsiteY5041" fmla="*/ 1208694 h 1451770"/>
                <a:gd name="connsiteX5042" fmla="*/ 410363 w 3773795"/>
                <a:gd name="connsiteY5042" fmla="*/ 1210739 h 1451770"/>
                <a:gd name="connsiteX5043" fmla="*/ 410011 w 3773795"/>
                <a:gd name="connsiteY5043" fmla="*/ 1211176 h 1451770"/>
                <a:gd name="connsiteX5044" fmla="*/ 409253 w 3773795"/>
                <a:gd name="connsiteY5044" fmla="*/ 1211510 h 1451770"/>
                <a:gd name="connsiteX5045" fmla="*/ 407802 w 3773795"/>
                <a:gd name="connsiteY5045" fmla="*/ 1211735 h 1451770"/>
                <a:gd name="connsiteX5046" fmla="*/ 405666 w 3773795"/>
                <a:gd name="connsiteY5046" fmla="*/ 1210460 h 1451770"/>
                <a:gd name="connsiteX5047" fmla="*/ 400224 w 3773795"/>
                <a:gd name="connsiteY5047" fmla="*/ 1206277 h 1451770"/>
                <a:gd name="connsiteX5048" fmla="*/ 398033 w 3773795"/>
                <a:gd name="connsiteY5048" fmla="*/ 1203215 h 1451770"/>
                <a:gd name="connsiteX5049" fmla="*/ 397530 w 3773795"/>
                <a:gd name="connsiteY5049" fmla="*/ 1200989 h 1451770"/>
                <a:gd name="connsiteX5050" fmla="*/ 395739 w 3773795"/>
                <a:gd name="connsiteY5050" fmla="*/ 1199573 h 1451770"/>
                <a:gd name="connsiteX5051" fmla="*/ 394003 w 3773795"/>
                <a:gd name="connsiteY5051" fmla="*/ 1197521 h 1451770"/>
                <a:gd name="connsiteX5052" fmla="*/ 392241 w 3773795"/>
                <a:gd name="connsiteY5052" fmla="*/ 1197343 h 1451770"/>
                <a:gd name="connsiteX5053" fmla="*/ 390289 w 3773795"/>
                <a:gd name="connsiteY5053" fmla="*/ 1198000 h 1451770"/>
                <a:gd name="connsiteX5054" fmla="*/ 388436 w 3773795"/>
                <a:gd name="connsiteY5054" fmla="*/ 1198988 h 1451770"/>
                <a:gd name="connsiteX5055" fmla="*/ 387555 w 3773795"/>
                <a:gd name="connsiteY5055" fmla="*/ 1199260 h 1451770"/>
                <a:gd name="connsiteX5056" fmla="*/ 384398 w 3773795"/>
                <a:gd name="connsiteY5056" fmla="*/ 1199606 h 1451770"/>
                <a:gd name="connsiteX5057" fmla="*/ 379326 w 3773795"/>
                <a:gd name="connsiteY5057" fmla="*/ 1200989 h 1451770"/>
                <a:gd name="connsiteX5058" fmla="*/ 377939 w 3773795"/>
                <a:gd name="connsiteY5058" fmla="*/ 1202309 h 1451770"/>
                <a:gd name="connsiteX5059" fmla="*/ 376238 w 3773795"/>
                <a:gd name="connsiteY5059" fmla="*/ 1203380 h 1451770"/>
                <a:gd name="connsiteX5060" fmla="*/ 374916 w 3773795"/>
                <a:gd name="connsiteY5060" fmla="*/ 1202638 h 1451770"/>
                <a:gd name="connsiteX5061" fmla="*/ 373593 w 3773795"/>
                <a:gd name="connsiteY5061" fmla="*/ 1201318 h 1451770"/>
                <a:gd name="connsiteX5062" fmla="*/ 370697 w 3773795"/>
                <a:gd name="connsiteY5062" fmla="*/ 1200844 h 1451770"/>
                <a:gd name="connsiteX5063" fmla="*/ 369309 w 3773795"/>
                <a:gd name="connsiteY5063" fmla="*/ 1201318 h 1451770"/>
                <a:gd name="connsiteX5064" fmla="*/ 367922 w 3773795"/>
                <a:gd name="connsiteY5064" fmla="*/ 1200411 h 1451770"/>
                <a:gd name="connsiteX5065" fmla="*/ 366730 w 3773795"/>
                <a:gd name="connsiteY5065" fmla="*/ 1198787 h 1451770"/>
                <a:gd name="connsiteX5066" fmla="*/ 365115 w 3773795"/>
                <a:gd name="connsiteY5066" fmla="*/ 1197606 h 1451770"/>
                <a:gd name="connsiteX5067" fmla="*/ 362714 w 3773795"/>
                <a:gd name="connsiteY5067" fmla="*/ 1197283 h 1451770"/>
                <a:gd name="connsiteX5068" fmla="*/ 360114 w 3773795"/>
                <a:gd name="connsiteY5068" fmla="*/ 1196778 h 1451770"/>
                <a:gd name="connsiteX5069" fmla="*/ 358034 w 3773795"/>
                <a:gd name="connsiteY5069" fmla="*/ 1197687 h 1451770"/>
                <a:gd name="connsiteX5070" fmla="*/ 355326 w 3773795"/>
                <a:gd name="connsiteY5070" fmla="*/ 1199420 h 1451770"/>
                <a:gd name="connsiteX5071" fmla="*/ 353500 w 3773795"/>
                <a:gd name="connsiteY5071" fmla="*/ 1198760 h 1451770"/>
                <a:gd name="connsiteX5072" fmla="*/ 352491 w 3773795"/>
                <a:gd name="connsiteY5072" fmla="*/ 1196694 h 1451770"/>
                <a:gd name="connsiteX5073" fmla="*/ 351230 w 3773795"/>
                <a:gd name="connsiteY5073" fmla="*/ 1196116 h 1451770"/>
                <a:gd name="connsiteX5074" fmla="*/ 349531 w 3773795"/>
                <a:gd name="connsiteY5074" fmla="*/ 1193799 h 1451770"/>
                <a:gd name="connsiteX5075" fmla="*/ 349090 w 3773795"/>
                <a:gd name="connsiteY5075" fmla="*/ 1191729 h 1451770"/>
                <a:gd name="connsiteX5076" fmla="*/ 349531 w 3773795"/>
                <a:gd name="connsiteY5076" fmla="*/ 1190819 h 1451770"/>
                <a:gd name="connsiteX5077" fmla="*/ 350161 w 3773795"/>
                <a:gd name="connsiteY5077" fmla="*/ 1189659 h 1451770"/>
                <a:gd name="connsiteX5078" fmla="*/ 350161 w 3773795"/>
                <a:gd name="connsiteY5078" fmla="*/ 1188332 h 1451770"/>
                <a:gd name="connsiteX5079" fmla="*/ 349658 w 3773795"/>
                <a:gd name="connsiteY5079" fmla="*/ 1187170 h 1451770"/>
                <a:gd name="connsiteX5080" fmla="*/ 348902 w 3773795"/>
                <a:gd name="connsiteY5080" fmla="*/ 1186257 h 1451770"/>
                <a:gd name="connsiteX5081" fmla="*/ 348082 w 3773795"/>
                <a:gd name="connsiteY5081" fmla="*/ 1183184 h 1451770"/>
                <a:gd name="connsiteX5082" fmla="*/ 347389 w 3773795"/>
                <a:gd name="connsiteY5082" fmla="*/ 1181853 h 1451770"/>
                <a:gd name="connsiteX5083" fmla="*/ 347263 w 3773795"/>
                <a:gd name="connsiteY5083" fmla="*/ 1180773 h 1451770"/>
                <a:gd name="connsiteX5084" fmla="*/ 347831 w 3773795"/>
                <a:gd name="connsiteY5084" fmla="*/ 1179773 h 1451770"/>
                <a:gd name="connsiteX5085" fmla="*/ 347326 w 3773795"/>
                <a:gd name="connsiteY5085" fmla="*/ 1179108 h 1451770"/>
                <a:gd name="connsiteX5086" fmla="*/ 346380 w 3773795"/>
                <a:gd name="connsiteY5086" fmla="*/ 1179024 h 1451770"/>
                <a:gd name="connsiteX5087" fmla="*/ 344808 w 3773795"/>
                <a:gd name="connsiteY5087" fmla="*/ 1179108 h 1451770"/>
                <a:gd name="connsiteX5088" fmla="*/ 343925 w 3773795"/>
                <a:gd name="connsiteY5088" fmla="*/ 1178608 h 1451770"/>
                <a:gd name="connsiteX5089" fmla="*/ 342979 w 3773795"/>
                <a:gd name="connsiteY5089" fmla="*/ 1176858 h 1451770"/>
                <a:gd name="connsiteX5090" fmla="*/ 342476 w 3773795"/>
                <a:gd name="connsiteY5090" fmla="*/ 1175108 h 1451770"/>
                <a:gd name="connsiteX5091" fmla="*/ 341845 w 3773795"/>
                <a:gd name="connsiteY5091" fmla="*/ 1174441 h 1451770"/>
                <a:gd name="connsiteX5092" fmla="*/ 340213 w 3773795"/>
                <a:gd name="connsiteY5092" fmla="*/ 1174490 h 1451770"/>
                <a:gd name="connsiteX5093" fmla="*/ 337522 w 3773795"/>
                <a:gd name="connsiteY5093" fmla="*/ 1174857 h 1451770"/>
                <a:gd name="connsiteX5094" fmla="*/ 335130 w 3773795"/>
                <a:gd name="connsiteY5094" fmla="*/ 1175439 h 1451770"/>
                <a:gd name="connsiteX5095" fmla="*/ 334067 w 3773795"/>
                <a:gd name="connsiteY5095" fmla="*/ 1175355 h 1451770"/>
                <a:gd name="connsiteX5096" fmla="*/ 331955 w 3773795"/>
                <a:gd name="connsiteY5096" fmla="*/ 1174450 h 1451770"/>
                <a:gd name="connsiteX5097" fmla="*/ 329174 w 3773795"/>
                <a:gd name="connsiteY5097" fmla="*/ 1173456 h 1451770"/>
                <a:gd name="connsiteX5098" fmla="*/ 323495 w 3773795"/>
                <a:gd name="connsiteY5098" fmla="*/ 1173259 h 1451770"/>
                <a:gd name="connsiteX5099" fmla="*/ 323046 w 3773795"/>
                <a:gd name="connsiteY5099" fmla="*/ 1172920 h 1451770"/>
                <a:gd name="connsiteX5100" fmla="*/ 323368 w 3773795"/>
                <a:gd name="connsiteY5100" fmla="*/ 1172290 h 1451770"/>
                <a:gd name="connsiteX5101" fmla="*/ 324523 w 3773795"/>
                <a:gd name="connsiteY5101" fmla="*/ 1171269 h 1451770"/>
                <a:gd name="connsiteX5102" fmla="*/ 324398 w 3773795"/>
                <a:gd name="connsiteY5102" fmla="*/ 1170433 h 1451770"/>
                <a:gd name="connsiteX5103" fmla="*/ 323400 w 3773795"/>
                <a:gd name="connsiteY5103" fmla="*/ 1169757 h 1451770"/>
                <a:gd name="connsiteX5104" fmla="*/ 322884 w 3773795"/>
                <a:gd name="connsiteY5104" fmla="*/ 1168093 h 1451770"/>
                <a:gd name="connsiteX5105" fmla="*/ 322944 w 3773795"/>
                <a:gd name="connsiteY5105" fmla="*/ 1166209 h 1451770"/>
                <a:gd name="connsiteX5106" fmla="*/ 322759 w 3773795"/>
                <a:gd name="connsiteY5106" fmla="*/ 1164159 h 1451770"/>
                <a:gd name="connsiteX5107" fmla="*/ 321562 w 3773795"/>
                <a:gd name="connsiteY5107" fmla="*/ 1162566 h 1451770"/>
                <a:gd name="connsiteX5108" fmla="*/ 320869 w 3773795"/>
                <a:gd name="connsiteY5108" fmla="*/ 1161477 h 1451770"/>
                <a:gd name="connsiteX5109" fmla="*/ 320994 w 3773795"/>
                <a:gd name="connsiteY5109" fmla="*/ 1160470 h 1451770"/>
                <a:gd name="connsiteX5110" fmla="*/ 323605 w 3773795"/>
                <a:gd name="connsiteY5110" fmla="*/ 1160085 h 1451770"/>
                <a:gd name="connsiteX5111" fmla="*/ 326704 w 3773795"/>
                <a:gd name="connsiteY5111" fmla="*/ 1159370 h 1451770"/>
                <a:gd name="connsiteX5112" fmla="*/ 327222 w 3773795"/>
                <a:gd name="connsiteY5112" fmla="*/ 1158633 h 1451770"/>
                <a:gd name="connsiteX5113" fmla="*/ 327114 w 3773795"/>
                <a:gd name="connsiteY5113" fmla="*/ 1157486 h 1451770"/>
                <a:gd name="connsiteX5114" fmla="*/ 320817 w 3773795"/>
                <a:gd name="connsiteY5114" fmla="*/ 1151604 h 1451770"/>
                <a:gd name="connsiteX5115" fmla="*/ 318656 w 3773795"/>
                <a:gd name="connsiteY5115" fmla="*/ 1146386 h 1451770"/>
                <a:gd name="connsiteX5116" fmla="*/ 316594 w 3773795"/>
                <a:gd name="connsiteY5116" fmla="*/ 1143554 h 1451770"/>
                <a:gd name="connsiteX5117" fmla="*/ 314311 w 3773795"/>
                <a:gd name="connsiteY5117" fmla="*/ 1141650 h 1451770"/>
                <a:gd name="connsiteX5118" fmla="*/ 312463 w 3773795"/>
                <a:gd name="connsiteY5118" fmla="*/ 1140785 h 1451770"/>
                <a:gd name="connsiteX5119" fmla="*/ 309768 w 3773795"/>
                <a:gd name="connsiteY5119" fmla="*/ 1141146 h 1451770"/>
                <a:gd name="connsiteX5120" fmla="*/ 306196 w 3773795"/>
                <a:gd name="connsiteY5120" fmla="*/ 1141111 h 1451770"/>
                <a:gd name="connsiteX5121" fmla="*/ 302553 w 3773795"/>
                <a:gd name="connsiteY5121" fmla="*/ 1140524 h 1451770"/>
                <a:gd name="connsiteX5122" fmla="*/ 299487 w 3773795"/>
                <a:gd name="connsiteY5122" fmla="*/ 1140914 h 1451770"/>
                <a:gd name="connsiteX5123" fmla="*/ 293987 w 3773795"/>
                <a:gd name="connsiteY5123" fmla="*/ 1143410 h 1451770"/>
                <a:gd name="connsiteX5124" fmla="*/ 291925 w 3773795"/>
                <a:gd name="connsiteY5124" fmla="*/ 1143520 h 1451770"/>
                <a:gd name="connsiteX5125" fmla="*/ 288364 w 3773795"/>
                <a:gd name="connsiteY5125" fmla="*/ 1142735 h 1451770"/>
                <a:gd name="connsiteX5126" fmla="*/ 285324 w 3773795"/>
                <a:gd name="connsiteY5126" fmla="*/ 1141861 h 1451770"/>
                <a:gd name="connsiteX5127" fmla="*/ 283721 w 3773795"/>
                <a:gd name="connsiteY5127" fmla="*/ 1141900 h 1451770"/>
                <a:gd name="connsiteX5128" fmla="*/ 282745 w 3773795"/>
                <a:gd name="connsiteY5128" fmla="*/ 1142268 h 1451770"/>
                <a:gd name="connsiteX5129" fmla="*/ 282119 w 3773795"/>
                <a:gd name="connsiteY5129" fmla="*/ 1142942 h 1451770"/>
                <a:gd name="connsiteX5130" fmla="*/ 280346 w 3773795"/>
                <a:gd name="connsiteY5130" fmla="*/ 1147628 h 1451770"/>
                <a:gd name="connsiteX5131" fmla="*/ 278887 w 3773795"/>
                <a:gd name="connsiteY5131" fmla="*/ 1148548 h 1451770"/>
                <a:gd name="connsiteX5132" fmla="*/ 276796 w 3773795"/>
                <a:gd name="connsiteY5132" fmla="*/ 1149505 h 1451770"/>
                <a:gd name="connsiteX5133" fmla="*/ 275012 w 3773795"/>
                <a:gd name="connsiteY5133" fmla="*/ 1149670 h 1451770"/>
                <a:gd name="connsiteX5134" fmla="*/ 273514 w 3773795"/>
                <a:gd name="connsiteY5134" fmla="*/ 1149622 h 1451770"/>
                <a:gd name="connsiteX5135" fmla="*/ 271342 w 3773795"/>
                <a:gd name="connsiteY5135" fmla="*/ 1148904 h 1451770"/>
                <a:gd name="connsiteX5136" fmla="*/ 269281 w 3773795"/>
                <a:gd name="connsiteY5136" fmla="*/ 1148060 h 1451770"/>
                <a:gd name="connsiteX5137" fmla="*/ 268860 w 3773795"/>
                <a:gd name="connsiteY5137" fmla="*/ 1148011 h 1451770"/>
                <a:gd name="connsiteX5138" fmla="*/ 268755 w 3773795"/>
                <a:gd name="connsiteY5138" fmla="*/ 1147278 h 1451770"/>
                <a:gd name="connsiteX5139" fmla="*/ 267252 w 3773795"/>
                <a:gd name="connsiteY5139" fmla="*/ 1144468 h 1451770"/>
                <a:gd name="connsiteX5140" fmla="*/ 266351 w 3773795"/>
                <a:gd name="connsiteY5140" fmla="*/ 1143236 h 1451770"/>
                <a:gd name="connsiteX5141" fmla="*/ 265282 w 3773795"/>
                <a:gd name="connsiteY5141" fmla="*/ 1142565 h 1451770"/>
                <a:gd name="connsiteX5142" fmla="*/ 264747 w 3773795"/>
                <a:gd name="connsiteY5142" fmla="*/ 1141749 h 1451770"/>
                <a:gd name="connsiteX5143" fmla="*/ 264730 w 3773795"/>
                <a:gd name="connsiteY5143" fmla="*/ 1138371 h 1451770"/>
                <a:gd name="connsiteX5144" fmla="*/ 264928 w 3773795"/>
                <a:gd name="connsiteY5144" fmla="*/ 1135204 h 1451770"/>
                <a:gd name="connsiteX5145" fmla="*/ 265600 w 3773795"/>
                <a:gd name="connsiteY5145" fmla="*/ 1134796 h 1451770"/>
                <a:gd name="connsiteX5146" fmla="*/ 263615 w 3773795"/>
                <a:gd name="connsiteY5146" fmla="*/ 1132210 h 1451770"/>
                <a:gd name="connsiteX5147" fmla="*/ 263466 w 3773795"/>
                <a:gd name="connsiteY5147" fmla="*/ 1130250 h 1451770"/>
                <a:gd name="connsiteX5148" fmla="*/ 264440 w 3773795"/>
                <a:gd name="connsiteY5148" fmla="*/ 1129274 h 1451770"/>
                <a:gd name="connsiteX5149" fmla="*/ 264470 w 3773795"/>
                <a:gd name="connsiteY5149" fmla="*/ 1128445 h 1451770"/>
                <a:gd name="connsiteX5150" fmla="*/ 263814 w 3773795"/>
                <a:gd name="connsiteY5150" fmla="*/ 1127280 h 1451770"/>
                <a:gd name="connsiteX5151" fmla="*/ 261771 w 3773795"/>
                <a:gd name="connsiteY5151" fmla="*/ 1125380 h 1451770"/>
                <a:gd name="connsiteX5152" fmla="*/ 259787 w 3773795"/>
                <a:gd name="connsiteY5152" fmla="*/ 1123238 h 1451770"/>
                <a:gd name="connsiteX5153" fmla="*/ 258506 w 3773795"/>
                <a:gd name="connsiteY5153" fmla="*/ 1121552 h 1451770"/>
                <a:gd name="connsiteX5154" fmla="*/ 257703 w 3773795"/>
                <a:gd name="connsiteY5154" fmla="*/ 1120746 h 1451770"/>
                <a:gd name="connsiteX5155" fmla="*/ 258679 w 3773795"/>
                <a:gd name="connsiteY5155" fmla="*/ 1119422 h 1451770"/>
                <a:gd name="connsiteX5156" fmla="*/ 260042 w 3773795"/>
                <a:gd name="connsiteY5156" fmla="*/ 1117081 h 1451770"/>
                <a:gd name="connsiteX5157" fmla="*/ 260568 w 3773795"/>
                <a:gd name="connsiteY5157" fmla="*/ 1115706 h 1451770"/>
                <a:gd name="connsiteX5158" fmla="*/ 261221 w 3773795"/>
                <a:gd name="connsiteY5158" fmla="*/ 1115369 h 1451770"/>
                <a:gd name="connsiteX5159" fmla="*/ 264429 w 3773795"/>
                <a:gd name="connsiteY5159" fmla="*/ 1115175 h 1451770"/>
                <a:gd name="connsiteX5160" fmla="*/ 266757 w 3773795"/>
                <a:gd name="connsiteY5160" fmla="*/ 1115222 h 1451770"/>
                <a:gd name="connsiteX5161" fmla="*/ 268508 w 3773795"/>
                <a:gd name="connsiteY5161" fmla="*/ 1115725 h 1451770"/>
                <a:gd name="connsiteX5162" fmla="*/ 269171 w 3773795"/>
                <a:gd name="connsiteY5162" fmla="*/ 1116844 h 1451770"/>
                <a:gd name="connsiteX5163" fmla="*/ 270769 w 3773795"/>
                <a:gd name="connsiteY5163" fmla="*/ 1118064 h 1451770"/>
                <a:gd name="connsiteX5164" fmla="*/ 275319 w 3773795"/>
                <a:gd name="connsiteY5164" fmla="*/ 1118566 h 1451770"/>
                <a:gd name="connsiteX5165" fmla="*/ 277232 w 3773795"/>
                <a:gd name="connsiteY5165" fmla="*/ 1118515 h 1451770"/>
                <a:gd name="connsiteX5166" fmla="*/ 279636 w 3773795"/>
                <a:gd name="connsiteY5166" fmla="*/ 1117399 h 1451770"/>
                <a:gd name="connsiteX5167" fmla="*/ 283518 w 3773795"/>
                <a:gd name="connsiteY5167" fmla="*/ 1114932 h 1451770"/>
                <a:gd name="connsiteX5168" fmla="*/ 284471 w 3773795"/>
                <a:gd name="connsiteY5168" fmla="*/ 1113138 h 1451770"/>
                <a:gd name="connsiteX5169" fmla="*/ 286874 w 3773795"/>
                <a:gd name="connsiteY5169" fmla="*/ 1111873 h 1451770"/>
                <a:gd name="connsiteX5170" fmla="*/ 288342 w 3773795"/>
                <a:gd name="connsiteY5170" fmla="*/ 1111377 h 1451770"/>
                <a:gd name="connsiteX5171" fmla="*/ 289666 w 3773795"/>
                <a:gd name="connsiteY5171" fmla="*/ 1111154 h 1451770"/>
                <a:gd name="connsiteX5172" fmla="*/ 289798 w 3773795"/>
                <a:gd name="connsiteY5172" fmla="*/ 1110098 h 1451770"/>
                <a:gd name="connsiteX5173" fmla="*/ 289713 w 3773795"/>
                <a:gd name="connsiteY5173" fmla="*/ 1108653 h 1451770"/>
                <a:gd name="connsiteX5174" fmla="*/ 289256 w 3773795"/>
                <a:gd name="connsiteY5174" fmla="*/ 1107789 h 1451770"/>
                <a:gd name="connsiteX5175" fmla="*/ 284477 w 3773795"/>
                <a:gd name="connsiteY5175" fmla="*/ 1104810 h 1451770"/>
                <a:gd name="connsiteX5176" fmla="*/ 283875 w 3773795"/>
                <a:gd name="connsiteY5176" fmla="*/ 1103837 h 1451770"/>
                <a:gd name="connsiteX5177" fmla="*/ 283494 w 3773795"/>
                <a:gd name="connsiteY5177" fmla="*/ 1102689 h 1451770"/>
                <a:gd name="connsiteX5178" fmla="*/ 284064 w 3773795"/>
                <a:gd name="connsiteY5178" fmla="*/ 1101601 h 1451770"/>
                <a:gd name="connsiteX5179" fmla="*/ 284047 w 3773795"/>
                <a:gd name="connsiteY5179" fmla="*/ 1100405 h 1451770"/>
                <a:gd name="connsiteX5180" fmla="*/ 278524 w 3773795"/>
                <a:gd name="connsiteY5180" fmla="*/ 1097735 h 1451770"/>
                <a:gd name="connsiteX5181" fmla="*/ 273920 w 3773795"/>
                <a:gd name="connsiteY5181" fmla="*/ 1097262 h 1451770"/>
                <a:gd name="connsiteX5182" fmla="*/ 270130 w 3773795"/>
                <a:gd name="connsiteY5182" fmla="*/ 1097412 h 1451770"/>
                <a:gd name="connsiteX5183" fmla="*/ 268657 w 3773795"/>
                <a:gd name="connsiteY5183" fmla="*/ 1096852 h 1451770"/>
                <a:gd name="connsiteX5184" fmla="*/ 269294 w 3773795"/>
                <a:gd name="connsiteY5184" fmla="*/ 1095504 h 1451770"/>
                <a:gd name="connsiteX5185" fmla="*/ 270229 w 3773795"/>
                <a:gd name="connsiteY5185" fmla="*/ 1093080 h 1451770"/>
                <a:gd name="connsiteX5186" fmla="*/ 270506 w 3773795"/>
                <a:gd name="connsiteY5186" fmla="*/ 1091085 h 1451770"/>
                <a:gd name="connsiteX5187" fmla="*/ 270244 w 3773795"/>
                <a:gd name="connsiteY5187" fmla="*/ 1090177 h 1451770"/>
                <a:gd name="connsiteX5188" fmla="*/ 269493 w 3773795"/>
                <a:gd name="connsiteY5188" fmla="*/ 1089413 h 1451770"/>
                <a:gd name="connsiteX5189" fmla="*/ 265876 w 3773795"/>
                <a:gd name="connsiteY5189" fmla="*/ 1087734 h 1451770"/>
                <a:gd name="connsiteX5190" fmla="*/ 260905 w 3773795"/>
                <a:gd name="connsiteY5190" fmla="*/ 1085158 h 1451770"/>
                <a:gd name="connsiteX5191" fmla="*/ 258595 w 3773795"/>
                <a:gd name="connsiteY5191" fmla="*/ 1082244 h 1451770"/>
                <a:gd name="connsiteX5192" fmla="*/ 257409 w 3773795"/>
                <a:gd name="connsiteY5192" fmla="*/ 1079198 h 1451770"/>
                <a:gd name="connsiteX5193" fmla="*/ 256066 w 3773795"/>
                <a:gd name="connsiteY5193" fmla="*/ 1077328 h 1451770"/>
                <a:gd name="connsiteX5194" fmla="*/ 253635 w 3773795"/>
                <a:gd name="connsiteY5194" fmla="*/ 1076143 h 1451770"/>
                <a:gd name="connsiteX5195" fmla="*/ 253792 w 3773795"/>
                <a:gd name="connsiteY5195" fmla="*/ 1075370 h 1451770"/>
                <a:gd name="connsiteX5196" fmla="*/ 255405 w 3773795"/>
                <a:gd name="connsiteY5196" fmla="*/ 1072502 h 1451770"/>
                <a:gd name="connsiteX5197" fmla="*/ 255345 w 3773795"/>
                <a:gd name="connsiteY5197" fmla="*/ 1072062 h 1451770"/>
                <a:gd name="connsiteX5198" fmla="*/ 254662 w 3773795"/>
                <a:gd name="connsiteY5198" fmla="*/ 1071354 h 1451770"/>
                <a:gd name="connsiteX5199" fmla="*/ 251630 w 3773795"/>
                <a:gd name="connsiteY5199" fmla="*/ 1069903 h 1451770"/>
                <a:gd name="connsiteX5200" fmla="*/ 247532 w 3773795"/>
                <a:gd name="connsiteY5200" fmla="*/ 1067227 h 1451770"/>
                <a:gd name="connsiteX5201" fmla="*/ 247359 w 3773795"/>
                <a:gd name="connsiteY5201" fmla="*/ 1066529 h 1451770"/>
                <a:gd name="connsiteX5202" fmla="*/ 247657 w 3773795"/>
                <a:gd name="connsiteY5202" fmla="*/ 1064845 h 1451770"/>
                <a:gd name="connsiteX5203" fmla="*/ 248219 w 3773795"/>
                <a:gd name="connsiteY5203" fmla="*/ 1063186 h 1451770"/>
                <a:gd name="connsiteX5204" fmla="*/ 249035 w 3773795"/>
                <a:gd name="connsiteY5204" fmla="*/ 1062395 h 1451770"/>
                <a:gd name="connsiteX5205" fmla="*/ 251488 w 3773795"/>
                <a:gd name="connsiteY5205" fmla="*/ 1059022 h 1451770"/>
                <a:gd name="connsiteX5206" fmla="*/ 251488 w 3773795"/>
                <a:gd name="connsiteY5206" fmla="*/ 1057874 h 1451770"/>
                <a:gd name="connsiteX5207" fmla="*/ 251071 w 3773795"/>
                <a:gd name="connsiteY5207" fmla="*/ 1056341 h 1451770"/>
                <a:gd name="connsiteX5208" fmla="*/ 249270 w 3773795"/>
                <a:gd name="connsiteY5208" fmla="*/ 1053695 h 1451770"/>
                <a:gd name="connsiteX5209" fmla="*/ 247878 w 3773795"/>
                <a:gd name="connsiteY5209" fmla="*/ 1051991 h 1451770"/>
                <a:gd name="connsiteX5210" fmla="*/ 247791 w 3773795"/>
                <a:gd name="connsiteY5210" fmla="*/ 1051118 h 1451770"/>
                <a:gd name="connsiteX5211" fmla="*/ 248022 w 3773795"/>
                <a:gd name="connsiteY5211" fmla="*/ 1050399 h 1451770"/>
                <a:gd name="connsiteX5212" fmla="*/ 248925 w 3773795"/>
                <a:gd name="connsiteY5212" fmla="*/ 1049469 h 1451770"/>
                <a:gd name="connsiteX5213" fmla="*/ 249782 w 3773795"/>
                <a:gd name="connsiteY5213" fmla="*/ 1048325 h 1451770"/>
                <a:gd name="connsiteX5214" fmla="*/ 249963 w 3773795"/>
                <a:gd name="connsiteY5214" fmla="*/ 1044368 h 1451770"/>
                <a:gd name="connsiteX5215" fmla="*/ 249920 w 3773795"/>
                <a:gd name="connsiteY5215" fmla="*/ 1042984 h 1451770"/>
                <a:gd name="connsiteX5216" fmla="*/ 249376 w 3773795"/>
                <a:gd name="connsiteY5216" fmla="*/ 1042167 h 1451770"/>
                <a:gd name="connsiteX5217" fmla="*/ 248795 w 3773795"/>
                <a:gd name="connsiteY5217" fmla="*/ 1041822 h 1451770"/>
                <a:gd name="connsiteX5218" fmla="*/ 247575 w 3773795"/>
                <a:gd name="connsiteY5218" fmla="*/ 1042020 h 1451770"/>
                <a:gd name="connsiteX5219" fmla="*/ 245826 w 3773795"/>
                <a:gd name="connsiteY5219" fmla="*/ 1041370 h 1451770"/>
                <a:gd name="connsiteX5220" fmla="*/ 244513 w 3773795"/>
                <a:gd name="connsiteY5220" fmla="*/ 1040336 h 1451770"/>
                <a:gd name="connsiteX5221" fmla="*/ 243701 w 3773795"/>
                <a:gd name="connsiteY5221" fmla="*/ 1040001 h 1451770"/>
                <a:gd name="connsiteX5222" fmla="*/ 242842 w 3773795"/>
                <a:gd name="connsiteY5222" fmla="*/ 1038945 h 1451770"/>
                <a:gd name="connsiteX5223" fmla="*/ 240380 w 3773795"/>
                <a:gd name="connsiteY5223" fmla="*/ 1036818 h 1451770"/>
                <a:gd name="connsiteX5224" fmla="*/ 239957 w 3773795"/>
                <a:gd name="connsiteY5224" fmla="*/ 1036258 h 1451770"/>
                <a:gd name="connsiteX5225" fmla="*/ 235033 w 3773795"/>
                <a:gd name="connsiteY5225" fmla="*/ 1034443 h 1451770"/>
                <a:gd name="connsiteX5226" fmla="*/ 230812 w 3773795"/>
                <a:gd name="connsiteY5226" fmla="*/ 1034716 h 1451770"/>
                <a:gd name="connsiteX5227" fmla="*/ 228476 w 3773795"/>
                <a:gd name="connsiteY5227" fmla="*/ 1034441 h 1451770"/>
                <a:gd name="connsiteX5228" fmla="*/ 227251 w 3773795"/>
                <a:gd name="connsiteY5228" fmla="*/ 1034844 h 1451770"/>
                <a:gd name="connsiteX5229" fmla="*/ 225975 w 3773795"/>
                <a:gd name="connsiteY5229" fmla="*/ 1036000 h 1451770"/>
                <a:gd name="connsiteX5230" fmla="*/ 224211 w 3773795"/>
                <a:gd name="connsiteY5230" fmla="*/ 1036768 h 1451770"/>
                <a:gd name="connsiteX5231" fmla="*/ 222893 w 3773795"/>
                <a:gd name="connsiteY5231" fmla="*/ 1036789 h 1451770"/>
                <a:gd name="connsiteX5232" fmla="*/ 221688 w 3773795"/>
                <a:gd name="connsiteY5232" fmla="*/ 1037365 h 1451770"/>
                <a:gd name="connsiteX5233" fmla="*/ 218419 w 3773795"/>
                <a:gd name="connsiteY5233" fmla="*/ 1039433 h 1451770"/>
                <a:gd name="connsiteX5234" fmla="*/ 216888 w 3773795"/>
                <a:gd name="connsiteY5234" fmla="*/ 1038183 h 1451770"/>
                <a:gd name="connsiteX5235" fmla="*/ 215571 w 3773795"/>
                <a:gd name="connsiteY5235" fmla="*/ 1036334 h 1451770"/>
                <a:gd name="connsiteX5236" fmla="*/ 216007 w 3773795"/>
                <a:gd name="connsiteY5236" fmla="*/ 1034769 h 1451770"/>
                <a:gd name="connsiteX5237" fmla="*/ 216556 w 3773795"/>
                <a:gd name="connsiteY5237" fmla="*/ 1033328 h 1451770"/>
                <a:gd name="connsiteX5238" fmla="*/ 216515 w 3773795"/>
                <a:gd name="connsiteY5238" fmla="*/ 1032359 h 1451770"/>
                <a:gd name="connsiteX5239" fmla="*/ 216048 w 3773795"/>
                <a:gd name="connsiteY5239" fmla="*/ 1031533 h 1451770"/>
                <a:gd name="connsiteX5240" fmla="*/ 214014 w 3773795"/>
                <a:gd name="connsiteY5240" fmla="*/ 1030625 h 1451770"/>
                <a:gd name="connsiteX5241" fmla="*/ 209689 w 3773795"/>
                <a:gd name="connsiteY5241" fmla="*/ 1028966 h 1451770"/>
                <a:gd name="connsiteX5242" fmla="*/ 208458 w 3773795"/>
                <a:gd name="connsiteY5242" fmla="*/ 1028946 h 1451770"/>
                <a:gd name="connsiteX5243" fmla="*/ 206594 w 3773795"/>
                <a:gd name="connsiteY5243" fmla="*/ 1029559 h 1451770"/>
                <a:gd name="connsiteX5244" fmla="*/ 203217 w 3773795"/>
                <a:gd name="connsiteY5244" fmla="*/ 1031413 h 1451770"/>
                <a:gd name="connsiteX5245" fmla="*/ 202025 w 3773795"/>
                <a:gd name="connsiteY5245" fmla="*/ 1031015 h 1451770"/>
                <a:gd name="connsiteX5246" fmla="*/ 200920 w 3773795"/>
                <a:gd name="connsiteY5246" fmla="*/ 1029542 h 1451770"/>
                <a:gd name="connsiteX5247" fmla="*/ 199728 w 3773795"/>
                <a:gd name="connsiteY5247" fmla="*/ 1027699 h 1451770"/>
                <a:gd name="connsiteX5248" fmla="*/ 198115 w 3773795"/>
                <a:gd name="connsiteY5248" fmla="*/ 1026756 h 1451770"/>
                <a:gd name="connsiteX5249" fmla="*/ 194644 w 3773795"/>
                <a:gd name="connsiteY5249" fmla="*/ 1026849 h 1451770"/>
                <a:gd name="connsiteX5250" fmla="*/ 194314 w 3773795"/>
                <a:gd name="connsiteY5250" fmla="*/ 1026920 h 1451770"/>
                <a:gd name="connsiteX5251" fmla="*/ 192638 w 3773795"/>
                <a:gd name="connsiteY5251" fmla="*/ 1027987 h 1451770"/>
                <a:gd name="connsiteX5252" fmla="*/ 191930 w 3773795"/>
                <a:gd name="connsiteY5252" fmla="*/ 1027881 h 1451770"/>
                <a:gd name="connsiteX5253" fmla="*/ 188916 w 3773795"/>
                <a:gd name="connsiteY5253" fmla="*/ 1025166 h 1451770"/>
                <a:gd name="connsiteX5254" fmla="*/ 189477 w 3773795"/>
                <a:gd name="connsiteY5254" fmla="*/ 1023685 h 1451770"/>
                <a:gd name="connsiteX5255" fmla="*/ 190112 w 3773795"/>
                <a:gd name="connsiteY5255" fmla="*/ 1021495 h 1451770"/>
                <a:gd name="connsiteX5256" fmla="*/ 189883 w 3773795"/>
                <a:gd name="connsiteY5256" fmla="*/ 1019769 h 1451770"/>
                <a:gd name="connsiteX5257" fmla="*/ 189386 w 3773795"/>
                <a:gd name="connsiteY5257" fmla="*/ 1017536 h 1451770"/>
                <a:gd name="connsiteX5258" fmla="*/ 188095 w 3773795"/>
                <a:gd name="connsiteY5258" fmla="*/ 1013653 h 1451770"/>
                <a:gd name="connsiteX5259" fmla="*/ 187924 w 3773795"/>
                <a:gd name="connsiteY5259" fmla="*/ 1012554 h 1451770"/>
                <a:gd name="connsiteX5260" fmla="*/ 185810 w 3773795"/>
                <a:gd name="connsiteY5260" fmla="*/ 1010853 h 1451770"/>
                <a:gd name="connsiteX5261" fmla="*/ 185458 w 3773795"/>
                <a:gd name="connsiteY5261" fmla="*/ 1009424 h 1451770"/>
                <a:gd name="connsiteX5262" fmla="*/ 184348 w 3773795"/>
                <a:gd name="connsiteY5262" fmla="*/ 1007587 h 1451770"/>
                <a:gd name="connsiteX5263" fmla="*/ 183258 w 3773795"/>
                <a:gd name="connsiteY5263" fmla="*/ 1006411 h 1451770"/>
                <a:gd name="connsiteX5264" fmla="*/ 183025 w 3773795"/>
                <a:gd name="connsiteY5264" fmla="*/ 1003793 h 1451770"/>
                <a:gd name="connsiteX5265" fmla="*/ 182297 w 3773795"/>
                <a:gd name="connsiteY5265" fmla="*/ 1002871 h 1451770"/>
                <a:gd name="connsiteX5266" fmla="*/ 181356 w 3773795"/>
                <a:gd name="connsiteY5266" fmla="*/ 1002439 h 1451770"/>
                <a:gd name="connsiteX5267" fmla="*/ 178030 w 3773795"/>
                <a:gd name="connsiteY5267" fmla="*/ 1003192 h 1451770"/>
                <a:gd name="connsiteX5268" fmla="*/ 177672 w 3773795"/>
                <a:gd name="connsiteY5268" fmla="*/ 1003115 h 1451770"/>
                <a:gd name="connsiteX5269" fmla="*/ 179257 w 3773795"/>
                <a:gd name="connsiteY5269" fmla="*/ 998936 h 1451770"/>
                <a:gd name="connsiteX5270" fmla="*/ 179395 w 3773795"/>
                <a:gd name="connsiteY5270" fmla="*/ 996515 h 1451770"/>
                <a:gd name="connsiteX5271" fmla="*/ 180399 w 3773795"/>
                <a:gd name="connsiteY5271" fmla="*/ 993969 h 1451770"/>
                <a:gd name="connsiteX5272" fmla="*/ 181543 w 3773795"/>
                <a:gd name="connsiteY5272" fmla="*/ 992962 h 1451770"/>
                <a:gd name="connsiteX5273" fmla="*/ 181891 w 3773795"/>
                <a:gd name="connsiteY5273" fmla="*/ 992088 h 1451770"/>
                <a:gd name="connsiteX5274" fmla="*/ 182068 w 3773795"/>
                <a:gd name="connsiteY5274" fmla="*/ 990400 h 1451770"/>
                <a:gd name="connsiteX5275" fmla="*/ 181854 w 3773795"/>
                <a:gd name="connsiteY5275" fmla="*/ 988953 h 1451770"/>
                <a:gd name="connsiteX5276" fmla="*/ 181153 w 3773795"/>
                <a:gd name="connsiteY5276" fmla="*/ 988203 h 1451770"/>
                <a:gd name="connsiteX5277" fmla="*/ 178408 w 3773795"/>
                <a:gd name="connsiteY5277" fmla="*/ 986578 h 1451770"/>
                <a:gd name="connsiteX5278" fmla="*/ 175443 w 3773795"/>
                <a:gd name="connsiteY5278" fmla="*/ 984618 h 1451770"/>
                <a:gd name="connsiteX5279" fmla="*/ 174834 w 3773795"/>
                <a:gd name="connsiteY5279" fmla="*/ 982125 h 1451770"/>
                <a:gd name="connsiteX5280" fmla="*/ 173918 w 3773795"/>
                <a:gd name="connsiteY5280" fmla="*/ 981619 h 1451770"/>
                <a:gd name="connsiteX5281" fmla="*/ 171314 w 3773795"/>
                <a:gd name="connsiteY5281" fmla="*/ 981489 h 1451770"/>
                <a:gd name="connsiteX5282" fmla="*/ 171366 w 3773795"/>
                <a:gd name="connsiteY5282" fmla="*/ 980783 h 1451770"/>
                <a:gd name="connsiteX5283" fmla="*/ 171753 w 3773795"/>
                <a:gd name="connsiteY5283" fmla="*/ 978798 h 1451770"/>
                <a:gd name="connsiteX5284" fmla="*/ 172377 w 3773795"/>
                <a:gd name="connsiteY5284" fmla="*/ 977068 h 1451770"/>
                <a:gd name="connsiteX5285" fmla="*/ 174411 w 3773795"/>
                <a:gd name="connsiteY5285" fmla="*/ 975212 h 1451770"/>
                <a:gd name="connsiteX5286" fmla="*/ 174914 w 3773795"/>
                <a:gd name="connsiteY5286" fmla="*/ 973958 h 1451770"/>
                <a:gd name="connsiteX5287" fmla="*/ 175519 w 3773795"/>
                <a:gd name="connsiteY5287" fmla="*/ 972832 h 1451770"/>
                <a:gd name="connsiteX5288" fmla="*/ 180179 w 3773795"/>
                <a:gd name="connsiteY5288" fmla="*/ 971502 h 1451770"/>
                <a:gd name="connsiteX5289" fmla="*/ 180712 w 3773795"/>
                <a:gd name="connsiteY5289" fmla="*/ 970999 h 1451770"/>
                <a:gd name="connsiteX5290" fmla="*/ 180747 w 3773795"/>
                <a:gd name="connsiteY5290" fmla="*/ 970552 h 1451770"/>
                <a:gd name="connsiteX5291" fmla="*/ 180530 w 3773795"/>
                <a:gd name="connsiteY5291" fmla="*/ 970122 h 1451770"/>
                <a:gd name="connsiteX5292" fmla="*/ 179496 w 3773795"/>
                <a:gd name="connsiteY5292" fmla="*/ 969439 h 1451770"/>
                <a:gd name="connsiteX5293" fmla="*/ 178423 w 3773795"/>
                <a:gd name="connsiteY5293" fmla="*/ 968506 h 1451770"/>
                <a:gd name="connsiteX5294" fmla="*/ 177775 w 3773795"/>
                <a:gd name="connsiteY5294" fmla="*/ 965964 h 1451770"/>
                <a:gd name="connsiteX5295" fmla="*/ 176160 w 3773795"/>
                <a:gd name="connsiteY5295" fmla="*/ 961978 h 1451770"/>
                <a:gd name="connsiteX5296" fmla="*/ 174642 w 3773795"/>
                <a:gd name="connsiteY5296" fmla="*/ 959302 h 1451770"/>
                <a:gd name="connsiteX5297" fmla="*/ 174318 w 3773795"/>
                <a:gd name="connsiteY5297" fmla="*/ 957734 h 1451770"/>
                <a:gd name="connsiteX5298" fmla="*/ 174711 w 3773795"/>
                <a:gd name="connsiteY5298" fmla="*/ 955923 h 1451770"/>
                <a:gd name="connsiteX5299" fmla="*/ 175253 w 3773795"/>
                <a:gd name="connsiteY5299" fmla="*/ 954144 h 1451770"/>
                <a:gd name="connsiteX5300" fmla="*/ 175281 w 3773795"/>
                <a:gd name="connsiteY5300" fmla="*/ 952410 h 1451770"/>
                <a:gd name="connsiteX5301" fmla="*/ 172975 w 3773795"/>
                <a:gd name="connsiteY5301" fmla="*/ 942778 h 1451770"/>
                <a:gd name="connsiteX5302" fmla="*/ 173132 w 3773795"/>
                <a:gd name="connsiteY5302" fmla="*/ 941020 h 1451770"/>
                <a:gd name="connsiteX5303" fmla="*/ 173802 w 3773795"/>
                <a:gd name="connsiteY5303" fmla="*/ 939266 h 1451770"/>
                <a:gd name="connsiteX5304" fmla="*/ 174877 w 3773795"/>
                <a:gd name="connsiteY5304" fmla="*/ 937805 h 1451770"/>
                <a:gd name="connsiteX5305" fmla="*/ 177281 w 3773795"/>
                <a:gd name="connsiteY5305" fmla="*/ 935898 h 1451770"/>
                <a:gd name="connsiteX5306" fmla="*/ 180284 w 3773795"/>
                <a:gd name="connsiteY5306" fmla="*/ 932415 h 1451770"/>
                <a:gd name="connsiteX5307" fmla="*/ 182316 w 3773795"/>
                <a:gd name="connsiteY5307" fmla="*/ 927828 h 1451770"/>
                <a:gd name="connsiteX5308" fmla="*/ 183381 w 3773795"/>
                <a:gd name="connsiteY5308" fmla="*/ 925053 h 1451770"/>
                <a:gd name="connsiteX5309" fmla="*/ 184277 w 3773795"/>
                <a:gd name="connsiteY5309" fmla="*/ 924420 h 1451770"/>
                <a:gd name="connsiteX5310" fmla="*/ 186007 w 3773795"/>
                <a:gd name="connsiteY5310" fmla="*/ 924266 h 1451770"/>
                <a:gd name="connsiteX5311" fmla="*/ 186663 w 3773795"/>
                <a:gd name="connsiteY5311" fmla="*/ 923412 h 1451770"/>
                <a:gd name="connsiteX5312" fmla="*/ 187000 w 3773795"/>
                <a:gd name="connsiteY5312" fmla="*/ 922907 h 1451770"/>
                <a:gd name="connsiteX5313" fmla="*/ 188482 w 3773795"/>
                <a:gd name="connsiteY5313" fmla="*/ 922439 h 1451770"/>
                <a:gd name="connsiteX5314" fmla="*/ 188985 w 3773795"/>
                <a:gd name="connsiteY5314" fmla="*/ 921888 h 1451770"/>
                <a:gd name="connsiteX5315" fmla="*/ 188585 w 3773795"/>
                <a:gd name="connsiteY5315" fmla="*/ 920950 h 1451770"/>
                <a:gd name="connsiteX5316" fmla="*/ 187099 w 3773795"/>
                <a:gd name="connsiteY5316" fmla="*/ 919309 h 1451770"/>
                <a:gd name="connsiteX5317" fmla="*/ 185920 w 3773795"/>
                <a:gd name="connsiteY5317" fmla="*/ 918289 h 1451770"/>
                <a:gd name="connsiteX5318" fmla="*/ 187058 w 3773795"/>
                <a:gd name="connsiteY5318" fmla="*/ 916002 h 1451770"/>
                <a:gd name="connsiteX5319" fmla="*/ 186668 w 3773795"/>
                <a:gd name="connsiteY5319" fmla="*/ 912942 h 1451770"/>
                <a:gd name="connsiteX5320" fmla="*/ 185953 w 3773795"/>
                <a:gd name="connsiteY5320" fmla="*/ 910391 h 1451770"/>
                <a:gd name="connsiteX5321" fmla="*/ 186927 w 3773795"/>
                <a:gd name="connsiteY5321" fmla="*/ 908521 h 1451770"/>
                <a:gd name="connsiteX5322" fmla="*/ 188544 w 3773795"/>
                <a:gd name="connsiteY5322" fmla="*/ 908357 h 1451770"/>
                <a:gd name="connsiteX5323" fmla="*/ 190343 w 3773795"/>
                <a:gd name="connsiteY5323" fmla="*/ 910394 h 1451770"/>
                <a:gd name="connsiteX5324" fmla="*/ 193042 w 3773795"/>
                <a:gd name="connsiteY5324" fmla="*/ 911451 h 1451770"/>
                <a:gd name="connsiteX5325" fmla="*/ 195014 w 3773795"/>
                <a:gd name="connsiteY5325" fmla="*/ 910084 h 1451770"/>
                <a:gd name="connsiteX5326" fmla="*/ 195681 w 3773795"/>
                <a:gd name="connsiteY5326" fmla="*/ 907443 h 1451770"/>
                <a:gd name="connsiteX5327" fmla="*/ 197102 w 3773795"/>
                <a:gd name="connsiteY5327" fmla="*/ 906280 h 1451770"/>
                <a:gd name="connsiteX5328" fmla="*/ 198998 w 3773795"/>
                <a:gd name="connsiteY5328" fmla="*/ 907318 h 1451770"/>
                <a:gd name="connsiteX5329" fmla="*/ 202176 w 3773795"/>
                <a:gd name="connsiteY5329" fmla="*/ 907693 h 1451770"/>
                <a:gd name="connsiteX5330" fmla="*/ 204813 w 3773795"/>
                <a:gd name="connsiteY5330" fmla="*/ 907521 h 1451770"/>
                <a:gd name="connsiteX5331" fmla="*/ 206590 w 3773795"/>
                <a:gd name="connsiteY5331" fmla="*/ 906966 h 1451770"/>
                <a:gd name="connsiteX5332" fmla="*/ 207348 w 3773795"/>
                <a:gd name="connsiteY5332" fmla="*/ 906107 h 1451770"/>
                <a:gd name="connsiteX5333" fmla="*/ 208052 w 3773795"/>
                <a:gd name="connsiteY5333" fmla="*/ 904565 h 1451770"/>
                <a:gd name="connsiteX5334" fmla="*/ 209505 w 3773795"/>
                <a:gd name="connsiteY5334" fmla="*/ 902603 h 1451770"/>
                <a:gd name="connsiteX5335" fmla="*/ 211013 w 3773795"/>
                <a:gd name="connsiteY5335" fmla="*/ 901322 h 1451770"/>
                <a:gd name="connsiteX5336" fmla="*/ 222565 w 3773795"/>
                <a:gd name="connsiteY5336" fmla="*/ 902779 h 1451770"/>
                <a:gd name="connsiteX5337" fmla="*/ 232578 w 3773795"/>
                <a:gd name="connsiteY5337" fmla="*/ 905488 h 1451770"/>
                <a:gd name="connsiteX5338" fmla="*/ 233336 w 3773795"/>
                <a:gd name="connsiteY5338" fmla="*/ 904474 h 1451770"/>
                <a:gd name="connsiteX5339" fmla="*/ 233686 w 3773795"/>
                <a:gd name="connsiteY5339" fmla="*/ 902730 h 1451770"/>
                <a:gd name="connsiteX5340" fmla="*/ 231194 w 3773795"/>
                <a:gd name="connsiteY5340" fmla="*/ 901229 h 1451770"/>
                <a:gd name="connsiteX5341" fmla="*/ 229354 w 3773795"/>
                <a:gd name="connsiteY5341" fmla="*/ 900443 h 1451770"/>
                <a:gd name="connsiteX5342" fmla="*/ 227044 w 3773795"/>
                <a:gd name="connsiteY5342" fmla="*/ 897317 h 1451770"/>
                <a:gd name="connsiteX5343" fmla="*/ 223703 w 3773795"/>
                <a:gd name="connsiteY5343" fmla="*/ 894850 h 1451770"/>
                <a:gd name="connsiteX5344" fmla="*/ 220346 w 3773795"/>
                <a:gd name="connsiteY5344" fmla="*/ 894633 h 1451770"/>
                <a:gd name="connsiteX5345" fmla="*/ 215947 w 3773795"/>
                <a:gd name="connsiteY5345" fmla="*/ 895492 h 1451770"/>
                <a:gd name="connsiteX5346" fmla="*/ 209285 w 3773795"/>
                <a:gd name="connsiteY5346" fmla="*/ 894978 h 1451770"/>
                <a:gd name="connsiteX5347" fmla="*/ 203614 w 3773795"/>
                <a:gd name="connsiteY5347" fmla="*/ 890330 h 1451770"/>
                <a:gd name="connsiteX5348" fmla="*/ 199866 w 3773795"/>
                <a:gd name="connsiteY5348" fmla="*/ 888876 h 1451770"/>
                <a:gd name="connsiteX5349" fmla="*/ 197193 w 3773795"/>
                <a:gd name="connsiteY5349" fmla="*/ 885294 h 1451770"/>
                <a:gd name="connsiteX5350" fmla="*/ 196514 w 3773795"/>
                <a:gd name="connsiteY5350" fmla="*/ 883390 h 1451770"/>
                <a:gd name="connsiteX5351" fmla="*/ 199408 w 3773795"/>
                <a:gd name="connsiteY5351" fmla="*/ 885006 h 1451770"/>
                <a:gd name="connsiteX5352" fmla="*/ 199803 w 3773795"/>
                <a:gd name="connsiteY5352" fmla="*/ 883298 h 1451770"/>
                <a:gd name="connsiteX5353" fmla="*/ 200030 w 3773795"/>
                <a:gd name="connsiteY5353" fmla="*/ 881027 h 1451770"/>
                <a:gd name="connsiteX5354" fmla="*/ 198421 w 3773795"/>
                <a:gd name="connsiteY5354" fmla="*/ 879640 h 1451770"/>
                <a:gd name="connsiteX5355" fmla="*/ 196983 w 3773795"/>
                <a:gd name="connsiteY5355" fmla="*/ 878814 h 1451770"/>
                <a:gd name="connsiteX5356" fmla="*/ 189609 w 3773795"/>
                <a:gd name="connsiteY5356" fmla="*/ 882361 h 1451770"/>
                <a:gd name="connsiteX5357" fmla="*/ 181170 w 3773795"/>
                <a:gd name="connsiteY5357" fmla="*/ 883523 h 1451770"/>
                <a:gd name="connsiteX5358" fmla="*/ 189004 w 3773795"/>
                <a:gd name="connsiteY5358" fmla="*/ 876523 h 1451770"/>
                <a:gd name="connsiteX5359" fmla="*/ 194653 w 3773795"/>
                <a:gd name="connsiteY5359" fmla="*/ 871466 h 1451770"/>
                <a:gd name="connsiteX5360" fmla="*/ 195707 w 3773795"/>
                <a:gd name="connsiteY5360" fmla="*/ 870704 h 1451770"/>
                <a:gd name="connsiteX5361" fmla="*/ 198207 w 3773795"/>
                <a:gd name="connsiteY5361" fmla="*/ 869344 h 1451770"/>
                <a:gd name="connsiteX5362" fmla="*/ 200302 w 3773795"/>
                <a:gd name="connsiteY5362" fmla="*/ 867913 h 1451770"/>
                <a:gd name="connsiteX5363" fmla="*/ 201986 w 3773795"/>
                <a:gd name="connsiteY5363" fmla="*/ 866035 h 1451770"/>
                <a:gd name="connsiteX5364" fmla="*/ 207601 w 3773795"/>
                <a:gd name="connsiteY5364" fmla="*/ 862326 h 1451770"/>
                <a:gd name="connsiteX5365" fmla="*/ 213321 w 3773795"/>
                <a:gd name="connsiteY5365" fmla="*/ 858325 h 1451770"/>
                <a:gd name="connsiteX5366" fmla="*/ 218644 w 3773795"/>
                <a:gd name="connsiteY5366" fmla="*/ 853042 h 1451770"/>
                <a:gd name="connsiteX5367" fmla="*/ 220568 w 3773795"/>
                <a:gd name="connsiteY5367" fmla="*/ 851377 h 1451770"/>
                <a:gd name="connsiteX5368" fmla="*/ 223017 w 3773795"/>
                <a:gd name="connsiteY5368" fmla="*/ 849595 h 1451770"/>
                <a:gd name="connsiteX5369" fmla="*/ 228391 w 3773795"/>
                <a:gd name="connsiteY5369" fmla="*/ 843984 h 1451770"/>
                <a:gd name="connsiteX5370" fmla="*/ 230089 w 3773795"/>
                <a:gd name="connsiteY5370" fmla="*/ 842428 h 1451770"/>
                <a:gd name="connsiteX5371" fmla="*/ 236645 w 3773795"/>
                <a:gd name="connsiteY5371" fmla="*/ 835366 h 1451770"/>
                <a:gd name="connsiteX5372" fmla="*/ 240475 w 3773795"/>
                <a:gd name="connsiteY5372" fmla="*/ 831838 h 1451770"/>
                <a:gd name="connsiteX5373" fmla="*/ 242376 w 3773795"/>
                <a:gd name="connsiteY5373" fmla="*/ 829809 h 1451770"/>
                <a:gd name="connsiteX5374" fmla="*/ 250560 w 3773795"/>
                <a:gd name="connsiteY5374" fmla="*/ 823091 h 1451770"/>
                <a:gd name="connsiteX5375" fmla="*/ 256109 w 3773795"/>
                <a:gd name="connsiteY5375" fmla="*/ 817677 h 1451770"/>
                <a:gd name="connsiteX5376" fmla="*/ 258297 w 3773795"/>
                <a:gd name="connsiteY5376" fmla="*/ 814703 h 1451770"/>
                <a:gd name="connsiteX5377" fmla="*/ 260436 w 3773795"/>
                <a:gd name="connsiteY5377" fmla="*/ 810434 h 1451770"/>
                <a:gd name="connsiteX5378" fmla="*/ 261650 w 3773795"/>
                <a:gd name="connsiteY5378" fmla="*/ 807517 h 1451770"/>
                <a:gd name="connsiteX5379" fmla="*/ 263788 w 3773795"/>
                <a:gd name="connsiteY5379" fmla="*/ 803737 h 1451770"/>
                <a:gd name="connsiteX5380" fmla="*/ 263844 w 3773795"/>
                <a:gd name="connsiteY5380" fmla="*/ 802482 h 1451770"/>
                <a:gd name="connsiteX5381" fmla="*/ 263242 w 3773795"/>
                <a:gd name="connsiteY5381" fmla="*/ 801314 h 1451770"/>
                <a:gd name="connsiteX5382" fmla="*/ 261644 w 3773795"/>
                <a:gd name="connsiteY5382" fmla="*/ 799498 h 1451770"/>
                <a:gd name="connsiteX5383" fmla="*/ 259426 w 3773795"/>
                <a:gd name="connsiteY5383" fmla="*/ 797403 h 1451770"/>
                <a:gd name="connsiteX5384" fmla="*/ 257452 w 3773795"/>
                <a:gd name="connsiteY5384" fmla="*/ 794837 h 1451770"/>
                <a:gd name="connsiteX5385" fmla="*/ 255980 w 3773795"/>
                <a:gd name="connsiteY5385" fmla="*/ 792526 h 1451770"/>
                <a:gd name="connsiteX5386" fmla="*/ 251423 w 3773795"/>
                <a:gd name="connsiteY5386" fmla="*/ 789310 h 1451770"/>
                <a:gd name="connsiteX5387" fmla="*/ 244358 w 3773795"/>
                <a:gd name="connsiteY5387" fmla="*/ 785232 h 1451770"/>
                <a:gd name="connsiteX5388" fmla="*/ 239123 w 3773795"/>
                <a:gd name="connsiteY5388" fmla="*/ 782205 h 1451770"/>
                <a:gd name="connsiteX5389" fmla="*/ 231093 w 3773795"/>
                <a:gd name="connsiteY5389" fmla="*/ 775723 h 1451770"/>
                <a:gd name="connsiteX5390" fmla="*/ 229681 w 3773795"/>
                <a:gd name="connsiteY5390" fmla="*/ 774103 h 1451770"/>
                <a:gd name="connsiteX5391" fmla="*/ 229959 w 3773795"/>
                <a:gd name="connsiteY5391" fmla="*/ 773676 h 1451770"/>
                <a:gd name="connsiteX5392" fmla="*/ 234518 w 3773795"/>
                <a:gd name="connsiteY5392" fmla="*/ 771707 h 1451770"/>
                <a:gd name="connsiteX5393" fmla="*/ 239052 w 3773795"/>
                <a:gd name="connsiteY5393" fmla="*/ 766630 h 1451770"/>
                <a:gd name="connsiteX5394" fmla="*/ 241011 w 3773795"/>
                <a:gd name="connsiteY5394" fmla="*/ 764051 h 1451770"/>
                <a:gd name="connsiteX5395" fmla="*/ 241501 w 3773795"/>
                <a:gd name="connsiteY5395" fmla="*/ 762049 h 1451770"/>
                <a:gd name="connsiteX5396" fmla="*/ 241542 w 3773795"/>
                <a:gd name="connsiteY5396" fmla="*/ 759792 h 1451770"/>
                <a:gd name="connsiteX5397" fmla="*/ 241229 w 3773795"/>
                <a:gd name="connsiteY5397" fmla="*/ 757708 h 1451770"/>
                <a:gd name="connsiteX5398" fmla="*/ 240657 w 3773795"/>
                <a:gd name="connsiteY5398" fmla="*/ 756414 h 1451770"/>
                <a:gd name="connsiteX5399" fmla="*/ 238506 w 3773795"/>
                <a:gd name="connsiteY5399" fmla="*/ 754787 h 1451770"/>
                <a:gd name="connsiteX5400" fmla="*/ 232259 w 3773795"/>
                <a:gd name="connsiteY5400" fmla="*/ 751817 h 1451770"/>
                <a:gd name="connsiteX5401" fmla="*/ 230794 w 3773795"/>
                <a:gd name="connsiteY5401" fmla="*/ 749072 h 1451770"/>
                <a:gd name="connsiteX5402" fmla="*/ 229572 w 3773795"/>
                <a:gd name="connsiteY5402" fmla="*/ 746192 h 1451770"/>
                <a:gd name="connsiteX5403" fmla="*/ 229549 w 3773795"/>
                <a:gd name="connsiteY5403" fmla="*/ 745001 h 1451770"/>
                <a:gd name="connsiteX5404" fmla="*/ 232524 w 3773795"/>
                <a:gd name="connsiteY5404" fmla="*/ 741901 h 1451770"/>
                <a:gd name="connsiteX5405" fmla="*/ 232658 w 3773795"/>
                <a:gd name="connsiteY5405" fmla="*/ 740350 h 1451770"/>
                <a:gd name="connsiteX5406" fmla="*/ 232306 w 3773795"/>
                <a:gd name="connsiteY5406" fmla="*/ 738760 h 1451770"/>
                <a:gd name="connsiteX5407" fmla="*/ 231479 w 3773795"/>
                <a:gd name="connsiteY5407" fmla="*/ 737599 h 1451770"/>
                <a:gd name="connsiteX5408" fmla="*/ 225075 w 3773795"/>
                <a:gd name="connsiteY5408" fmla="*/ 736195 h 1451770"/>
                <a:gd name="connsiteX5409" fmla="*/ 223271 w 3773795"/>
                <a:gd name="connsiteY5409" fmla="*/ 734711 h 1451770"/>
                <a:gd name="connsiteX5410" fmla="*/ 221853 w 3773795"/>
                <a:gd name="connsiteY5410" fmla="*/ 732345 h 1451770"/>
                <a:gd name="connsiteX5411" fmla="*/ 221116 w 3773795"/>
                <a:gd name="connsiteY5411" fmla="*/ 730312 h 1451770"/>
                <a:gd name="connsiteX5412" fmla="*/ 221043 w 3773795"/>
                <a:gd name="connsiteY5412" fmla="*/ 729108 h 1451770"/>
                <a:gd name="connsiteX5413" fmla="*/ 221520 w 3773795"/>
                <a:gd name="connsiteY5413" fmla="*/ 727759 h 1451770"/>
                <a:gd name="connsiteX5414" fmla="*/ 223677 w 3773795"/>
                <a:gd name="connsiteY5414" fmla="*/ 726291 h 1451770"/>
                <a:gd name="connsiteX5415" fmla="*/ 225685 w 3773795"/>
                <a:gd name="connsiteY5415" fmla="*/ 725299 h 1451770"/>
                <a:gd name="connsiteX5416" fmla="*/ 226042 w 3773795"/>
                <a:gd name="connsiteY5416" fmla="*/ 723961 h 1451770"/>
                <a:gd name="connsiteX5417" fmla="*/ 226025 w 3773795"/>
                <a:gd name="connsiteY5417" fmla="*/ 722512 h 1451770"/>
                <a:gd name="connsiteX5418" fmla="*/ 225679 w 3773795"/>
                <a:gd name="connsiteY5418" fmla="*/ 721811 h 1451770"/>
                <a:gd name="connsiteX5419" fmla="*/ 221680 w 3773795"/>
                <a:gd name="connsiteY5419" fmla="*/ 721121 h 1451770"/>
                <a:gd name="connsiteX5420" fmla="*/ 221298 w 3773795"/>
                <a:gd name="connsiteY5420" fmla="*/ 720729 h 1451770"/>
                <a:gd name="connsiteX5421" fmla="*/ 221200 w 3773795"/>
                <a:gd name="connsiteY5421" fmla="*/ 720227 h 1451770"/>
                <a:gd name="connsiteX5422" fmla="*/ 221404 w 3773795"/>
                <a:gd name="connsiteY5422" fmla="*/ 719626 h 1451770"/>
                <a:gd name="connsiteX5423" fmla="*/ 223563 w 3773795"/>
                <a:gd name="connsiteY5423" fmla="*/ 717039 h 1451770"/>
                <a:gd name="connsiteX5424" fmla="*/ 223854 w 3773795"/>
                <a:gd name="connsiteY5424" fmla="*/ 712102 h 1451770"/>
                <a:gd name="connsiteX5425" fmla="*/ 225876 w 3773795"/>
                <a:gd name="connsiteY5425" fmla="*/ 708646 h 1451770"/>
                <a:gd name="connsiteX5426" fmla="*/ 223587 w 3773795"/>
                <a:gd name="connsiteY5426" fmla="*/ 706620 h 1451770"/>
                <a:gd name="connsiteX5427" fmla="*/ 223764 w 3773795"/>
                <a:gd name="connsiteY5427" fmla="*/ 706263 h 1451770"/>
                <a:gd name="connsiteX5428" fmla="*/ 227273 w 3773795"/>
                <a:gd name="connsiteY5428" fmla="*/ 705201 h 1451770"/>
                <a:gd name="connsiteX5429" fmla="*/ 230510 w 3773795"/>
                <a:gd name="connsiteY5429" fmla="*/ 704943 h 1451770"/>
                <a:gd name="connsiteX5430" fmla="*/ 231976 w 3773795"/>
                <a:gd name="connsiteY5430" fmla="*/ 704544 h 1451770"/>
                <a:gd name="connsiteX5431" fmla="*/ 232140 w 3773795"/>
                <a:gd name="connsiteY5431" fmla="*/ 702922 h 1451770"/>
                <a:gd name="connsiteX5432" fmla="*/ 231803 w 3773795"/>
                <a:gd name="connsiteY5432" fmla="*/ 700728 h 1451770"/>
                <a:gd name="connsiteX5433" fmla="*/ 228467 w 3773795"/>
                <a:gd name="connsiteY5433" fmla="*/ 692097 h 1451770"/>
                <a:gd name="connsiteX5434" fmla="*/ 227733 w 3773795"/>
                <a:gd name="connsiteY5434" fmla="*/ 689603 h 1451770"/>
                <a:gd name="connsiteX5435" fmla="*/ 225523 w 3773795"/>
                <a:gd name="connsiteY5435" fmla="*/ 686450 h 1451770"/>
                <a:gd name="connsiteX5436" fmla="*/ 223693 w 3773795"/>
                <a:gd name="connsiteY5436" fmla="*/ 684328 h 1451770"/>
                <a:gd name="connsiteX5437" fmla="*/ 222591 w 3773795"/>
                <a:gd name="connsiteY5437" fmla="*/ 682812 h 1451770"/>
                <a:gd name="connsiteX5438" fmla="*/ 220818 w 3773795"/>
                <a:gd name="connsiteY5438" fmla="*/ 679842 h 1451770"/>
                <a:gd name="connsiteX5439" fmla="*/ 219792 w 3773795"/>
                <a:gd name="connsiteY5439" fmla="*/ 676790 h 1451770"/>
                <a:gd name="connsiteX5440" fmla="*/ 218024 w 3773795"/>
                <a:gd name="connsiteY5440" fmla="*/ 673377 h 1451770"/>
                <a:gd name="connsiteX5441" fmla="*/ 215964 w 3773795"/>
                <a:gd name="connsiteY5441" fmla="*/ 670240 h 1451770"/>
                <a:gd name="connsiteX5442" fmla="*/ 214241 w 3773795"/>
                <a:gd name="connsiteY5442" fmla="*/ 667334 h 1451770"/>
                <a:gd name="connsiteX5443" fmla="*/ 209814 w 3773795"/>
                <a:gd name="connsiteY5443" fmla="*/ 661632 h 1451770"/>
                <a:gd name="connsiteX5444" fmla="*/ 209220 w 3773795"/>
                <a:gd name="connsiteY5444" fmla="*/ 660051 h 1451770"/>
                <a:gd name="connsiteX5445" fmla="*/ 209283 w 3773795"/>
                <a:gd name="connsiteY5445" fmla="*/ 658620 h 1451770"/>
                <a:gd name="connsiteX5446" fmla="*/ 209680 w 3773795"/>
                <a:gd name="connsiteY5446" fmla="*/ 657104 h 1451770"/>
                <a:gd name="connsiteX5447" fmla="*/ 213137 w 3773795"/>
                <a:gd name="connsiteY5447" fmla="*/ 652419 h 1451770"/>
                <a:gd name="connsiteX5448" fmla="*/ 216329 w 3773795"/>
                <a:gd name="connsiteY5448" fmla="*/ 648502 h 1451770"/>
                <a:gd name="connsiteX5449" fmla="*/ 220410 w 3773795"/>
                <a:gd name="connsiteY5449" fmla="*/ 643897 h 1451770"/>
                <a:gd name="connsiteX5450" fmla="*/ 224353 w 3773795"/>
                <a:gd name="connsiteY5450" fmla="*/ 640067 h 1451770"/>
                <a:gd name="connsiteX5451" fmla="*/ 228568 w 3773795"/>
                <a:gd name="connsiteY5451" fmla="*/ 635515 h 1451770"/>
                <a:gd name="connsiteX5452" fmla="*/ 229605 w 3773795"/>
                <a:gd name="connsiteY5452" fmla="*/ 630961 h 1451770"/>
                <a:gd name="connsiteX5453" fmla="*/ 229409 w 3773795"/>
                <a:gd name="connsiteY5453" fmla="*/ 630194 h 1451770"/>
                <a:gd name="connsiteX5454" fmla="*/ 225923 w 3773795"/>
                <a:gd name="connsiteY5454" fmla="*/ 627722 h 1451770"/>
                <a:gd name="connsiteX5455" fmla="*/ 219348 w 3773795"/>
                <a:gd name="connsiteY5455" fmla="*/ 621092 h 1451770"/>
                <a:gd name="connsiteX5456" fmla="*/ 215359 w 3773795"/>
                <a:gd name="connsiteY5456" fmla="*/ 616049 h 1451770"/>
                <a:gd name="connsiteX5457" fmla="*/ 209149 w 3773795"/>
                <a:gd name="connsiteY5457" fmla="*/ 613914 h 1451770"/>
                <a:gd name="connsiteX5458" fmla="*/ 200794 w 3773795"/>
                <a:gd name="connsiteY5458" fmla="*/ 611177 h 1451770"/>
                <a:gd name="connsiteX5459" fmla="*/ 198030 w 3773795"/>
                <a:gd name="connsiteY5459" fmla="*/ 605008 h 1451770"/>
                <a:gd name="connsiteX5460" fmla="*/ 196052 w 3773795"/>
                <a:gd name="connsiteY5460" fmla="*/ 599760 h 1451770"/>
                <a:gd name="connsiteX5461" fmla="*/ 196242 w 3773795"/>
                <a:gd name="connsiteY5461" fmla="*/ 597870 h 1451770"/>
                <a:gd name="connsiteX5462" fmla="*/ 202273 w 3773795"/>
                <a:gd name="connsiteY5462" fmla="*/ 588874 h 1451770"/>
                <a:gd name="connsiteX5463" fmla="*/ 202839 w 3773795"/>
                <a:gd name="connsiteY5463" fmla="*/ 587239 h 1451770"/>
                <a:gd name="connsiteX5464" fmla="*/ 202733 w 3773795"/>
                <a:gd name="connsiteY5464" fmla="*/ 586226 h 1451770"/>
                <a:gd name="connsiteX5465" fmla="*/ 202114 w 3773795"/>
                <a:gd name="connsiteY5465" fmla="*/ 585592 h 1451770"/>
                <a:gd name="connsiteX5466" fmla="*/ 201254 w 3773795"/>
                <a:gd name="connsiteY5466" fmla="*/ 585242 h 1451770"/>
                <a:gd name="connsiteX5467" fmla="*/ 195672 w 3773795"/>
                <a:gd name="connsiteY5467" fmla="*/ 584981 h 1451770"/>
                <a:gd name="connsiteX5468" fmla="*/ 194800 w 3773795"/>
                <a:gd name="connsiteY5468" fmla="*/ 583748 h 1451770"/>
                <a:gd name="connsiteX5469" fmla="*/ 198160 w 3773795"/>
                <a:gd name="connsiteY5469" fmla="*/ 582817 h 1451770"/>
                <a:gd name="connsiteX5470" fmla="*/ 200950 w 3773795"/>
                <a:gd name="connsiteY5470" fmla="*/ 581547 h 1451770"/>
                <a:gd name="connsiteX5471" fmla="*/ 205521 w 3773795"/>
                <a:gd name="connsiteY5471" fmla="*/ 579664 h 1451770"/>
                <a:gd name="connsiteX5472" fmla="*/ 207001 w 3773795"/>
                <a:gd name="connsiteY5472" fmla="*/ 579187 h 1451770"/>
                <a:gd name="connsiteX5473" fmla="*/ 210378 w 3773795"/>
                <a:gd name="connsiteY5473" fmla="*/ 578102 h 1451770"/>
                <a:gd name="connsiteX5474" fmla="*/ 211535 w 3773795"/>
                <a:gd name="connsiteY5474" fmla="*/ 577265 h 1451770"/>
                <a:gd name="connsiteX5475" fmla="*/ 212399 w 3773795"/>
                <a:gd name="connsiteY5475" fmla="*/ 576276 h 1451770"/>
                <a:gd name="connsiteX5476" fmla="*/ 215562 w 3773795"/>
                <a:gd name="connsiteY5476" fmla="*/ 569525 h 1451770"/>
                <a:gd name="connsiteX5477" fmla="*/ 216342 w 3773795"/>
                <a:gd name="connsiteY5477" fmla="*/ 568452 h 1451770"/>
                <a:gd name="connsiteX5478" fmla="*/ 226169 w 3773795"/>
                <a:gd name="connsiteY5478" fmla="*/ 566022 h 1451770"/>
                <a:gd name="connsiteX5479" fmla="*/ 229737 w 3773795"/>
                <a:gd name="connsiteY5479" fmla="*/ 564772 h 1451770"/>
                <a:gd name="connsiteX5480" fmla="*/ 231799 w 3773795"/>
                <a:gd name="connsiteY5480" fmla="*/ 563194 h 1451770"/>
                <a:gd name="connsiteX5481" fmla="*/ 232784 w 3773795"/>
                <a:gd name="connsiteY5481" fmla="*/ 561966 h 1451770"/>
                <a:gd name="connsiteX5482" fmla="*/ 233490 w 3773795"/>
                <a:gd name="connsiteY5482" fmla="*/ 560505 h 1451770"/>
                <a:gd name="connsiteX5483" fmla="*/ 233997 w 3773795"/>
                <a:gd name="connsiteY5483" fmla="*/ 558893 h 1451770"/>
                <a:gd name="connsiteX5484" fmla="*/ 234213 w 3773795"/>
                <a:gd name="connsiteY5484" fmla="*/ 557412 h 1451770"/>
                <a:gd name="connsiteX5485" fmla="*/ 233401 w 3773795"/>
                <a:gd name="connsiteY5485" fmla="*/ 555478 h 1451770"/>
                <a:gd name="connsiteX5486" fmla="*/ 233852 w 3773795"/>
                <a:gd name="connsiteY5486" fmla="*/ 555244 h 1451770"/>
                <a:gd name="connsiteX5487" fmla="*/ 234900 w 3773795"/>
                <a:gd name="connsiteY5487" fmla="*/ 555325 h 1451770"/>
                <a:gd name="connsiteX5488" fmla="*/ 238264 w 3773795"/>
                <a:gd name="connsiteY5488" fmla="*/ 557250 h 1451770"/>
                <a:gd name="connsiteX5489" fmla="*/ 243477 w 3773795"/>
                <a:gd name="connsiteY5489" fmla="*/ 559293 h 1451770"/>
                <a:gd name="connsiteX5490" fmla="*/ 247312 w 3773795"/>
                <a:gd name="connsiteY5490" fmla="*/ 559452 h 1451770"/>
                <a:gd name="connsiteX5491" fmla="*/ 248901 w 3773795"/>
                <a:gd name="connsiteY5491" fmla="*/ 559063 h 1451770"/>
                <a:gd name="connsiteX5492" fmla="*/ 249696 w 3773795"/>
                <a:gd name="connsiteY5492" fmla="*/ 558170 h 1451770"/>
                <a:gd name="connsiteX5493" fmla="*/ 250266 w 3773795"/>
                <a:gd name="connsiteY5493" fmla="*/ 556422 h 1451770"/>
                <a:gd name="connsiteX5494" fmla="*/ 250303 w 3773795"/>
                <a:gd name="connsiteY5494" fmla="*/ 554619 h 1451770"/>
                <a:gd name="connsiteX5495" fmla="*/ 249100 w 3773795"/>
                <a:gd name="connsiteY5495" fmla="*/ 549442 h 1451770"/>
                <a:gd name="connsiteX5496" fmla="*/ 253075 w 3773795"/>
                <a:gd name="connsiteY5496" fmla="*/ 550001 h 1451770"/>
                <a:gd name="connsiteX5497" fmla="*/ 261991 w 3773795"/>
                <a:gd name="connsiteY5497" fmla="*/ 553133 h 1451770"/>
                <a:gd name="connsiteX5498" fmla="*/ 264075 w 3773795"/>
                <a:gd name="connsiteY5498" fmla="*/ 552845 h 1451770"/>
                <a:gd name="connsiteX5499" fmla="*/ 266712 w 3773795"/>
                <a:gd name="connsiteY5499" fmla="*/ 551899 h 1451770"/>
                <a:gd name="connsiteX5500" fmla="*/ 269417 w 3773795"/>
                <a:gd name="connsiteY5500" fmla="*/ 548169 h 1451770"/>
                <a:gd name="connsiteX5501" fmla="*/ 271426 w 3773795"/>
                <a:gd name="connsiteY5501" fmla="*/ 547530 h 1451770"/>
                <a:gd name="connsiteX5502" fmla="*/ 274047 w 3773795"/>
                <a:gd name="connsiteY5502" fmla="*/ 548400 h 1451770"/>
                <a:gd name="connsiteX5503" fmla="*/ 274769 w 3773795"/>
                <a:gd name="connsiteY5503" fmla="*/ 547399 h 1451770"/>
                <a:gd name="connsiteX5504" fmla="*/ 273414 w 3773795"/>
                <a:gd name="connsiteY5504" fmla="*/ 544299 h 1451770"/>
                <a:gd name="connsiteX5505" fmla="*/ 273751 w 3773795"/>
                <a:gd name="connsiteY5505" fmla="*/ 542729 h 1451770"/>
                <a:gd name="connsiteX5506" fmla="*/ 282752 w 3773795"/>
                <a:gd name="connsiteY5506" fmla="*/ 546083 h 1451770"/>
                <a:gd name="connsiteX5507" fmla="*/ 286595 w 3773795"/>
                <a:gd name="connsiteY5507" fmla="*/ 548534 h 1451770"/>
                <a:gd name="connsiteX5508" fmla="*/ 294915 w 3773795"/>
                <a:gd name="connsiteY5508" fmla="*/ 550685 h 1451770"/>
                <a:gd name="connsiteX5509" fmla="*/ 296377 w 3773795"/>
                <a:gd name="connsiteY5509" fmla="*/ 551855 h 1451770"/>
                <a:gd name="connsiteX5510" fmla="*/ 296483 w 3773795"/>
                <a:gd name="connsiteY5510" fmla="*/ 553883 h 1451770"/>
                <a:gd name="connsiteX5511" fmla="*/ 296086 w 3773795"/>
                <a:gd name="connsiteY5511" fmla="*/ 555623 h 1451770"/>
                <a:gd name="connsiteX5512" fmla="*/ 294326 w 3773795"/>
                <a:gd name="connsiteY5512" fmla="*/ 556583 h 1451770"/>
                <a:gd name="connsiteX5513" fmla="*/ 290771 w 3773795"/>
                <a:gd name="connsiteY5513" fmla="*/ 556426 h 1451770"/>
                <a:gd name="connsiteX5514" fmla="*/ 278001 w 3773795"/>
                <a:gd name="connsiteY5514" fmla="*/ 553745 h 1451770"/>
                <a:gd name="connsiteX5515" fmla="*/ 276116 w 3773795"/>
                <a:gd name="connsiteY5515" fmla="*/ 555373 h 1451770"/>
                <a:gd name="connsiteX5516" fmla="*/ 277660 w 3773795"/>
                <a:gd name="connsiteY5516" fmla="*/ 556782 h 1451770"/>
                <a:gd name="connsiteX5517" fmla="*/ 281402 w 3773795"/>
                <a:gd name="connsiteY5517" fmla="*/ 558444 h 1451770"/>
                <a:gd name="connsiteX5518" fmla="*/ 282445 w 3773795"/>
                <a:gd name="connsiteY5518" fmla="*/ 561386 h 1451770"/>
                <a:gd name="connsiteX5519" fmla="*/ 288174 w 3773795"/>
                <a:gd name="connsiteY5519" fmla="*/ 560981 h 1451770"/>
                <a:gd name="connsiteX5520" fmla="*/ 293635 w 3773795"/>
                <a:gd name="connsiteY5520" fmla="*/ 562100 h 1451770"/>
                <a:gd name="connsiteX5521" fmla="*/ 296200 w 3773795"/>
                <a:gd name="connsiteY5521" fmla="*/ 561737 h 1451770"/>
                <a:gd name="connsiteX5522" fmla="*/ 296669 w 3773795"/>
                <a:gd name="connsiteY5522" fmla="*/ 562696 h 1451770"/>
                <a:gd name="connsiteX5523" fmla="*/ 294913 w 3773795"/>
                <a:gd name="connsiteY5523" fmla="*/ 565128 h 1451770"/>
                <a:gd name="connsiteX5524" fmla="*/ 295738 w 3773795"/>
                <a:gd name="connsiteY5524" fmla="*/ 565753 h 1451770"/>
                <a:gd name="connsiteX5525" fmla="*/ 301862 w 3773795"/>
                <a:gd name="connsiteY5525" fmla="*/ 563394 h 1451770"/>
                <a:gd name="connsiteX5526" fmla="*/ 304715 w 3773795"/>
                <a:gd name="connsiteY5526" fmla="*/ 562747 h 1451770"/>
                <a:gd name="connsiteX5527" fmla="*/ 306250 w 3773795"/>
                <a:gd name="connsiteY5527" fmla="*/ 563377 h 1451770"/>
                <a:gd name="connsiteX5528" fmla="*/ 306457 w 3773795"/>
                <a:gd name="connsiteY5528" fmla="*/ 565330 h 1451770"/>
                <a:gd name="connsiteX5529" fmla="*/ 305447 w 3773795"/>
                <a:gd name="connsiteY5529" fmla="*/ 567784 h 1451770"/>
                <a:gd name="connsiteX5530" fmla="*/ 305337 w 3773795"/>
                <a:gd name="connsiteY5530" fmla="*/ 569649 h 1451770"/>
                <a:gd name="connsiteX5531" fmla="*/ 303452 w 3773795"/>
                <a:gd name="connsiteY5531" fmla="*/ 574146 h 1451770"/>
                <a:gd name="connsiteX5532" fmla="*/ 300547 w 3773795"/>
                <a:gd name="connsiteY5532" fmla="*/ 575506 h 1451770"/>
                <a:gd name="connsiteX5533" fmla="*/ 299327 w 3773795"/>
                <a:gd name="connsiteY5533" fmla="*/ 577375 h 1451770"/>
                <a:gd name="connsiteX5534" fmla="*/ 303577 w 3773795"/>
                <a:gd name="connsiteY5534" fmla="*/ 576230 h 1451770"/>
                <a:gd name="connsiteX5535" fmla="*/ 305838 w 3773795"/>
                <a:gd name="connsiteY5535" fmla="*/ 574981 h 1451770"/>
                <a:gd name="connsiteX5536" fmla="*/ 310070 w 3773795"/>
                <a:gd name="connsiteY5536" fmla="*/ 568802 h 1451770"/>
                <a:gd name="connsiteX5537" fmla="*/ 311338 w 3773795"/>
                <a:gd name="connsiteY5537" fmla="*/ 567980 h 1451770"/>
                <a:gd name="connsiteX5538" fmla="*/ 323389 w 3773795"/>
                <a:gd name="connsiteY5538" fmla="*/ 567868 h 1451770"/>
                <a:gd name="connsiteX5539" fmla="*/ 326117 w 3773795"/>
                <a:gd name="connsiteY5539" fmla="*/ 568266 h 1451770"/>
                <a:gd name="connsiteX5540" fmla="*/ 337421 w 3773795"/>
                <a:gd name="connsiteY5540" fmla="*/ 571181 h 1451770"/>
                <a:gd name="connsiteX5541" fmla="*/ 340640 w 3773795"/>
                <a:gd name="connsiteY5541" fmla="*/ 571448 h 1451770"/>
                <a:gd name="connsiteX5542" fmla="*/ 344318 w 3773795"/>
                <a:gd name="connsiteY5542" fmla="*/ 571075 h 1451770"/>
                <a:gd name="connsiteX5543" fmla="*/ 345586 w 3773795"/>
                <a:gd name="connsiteY5543" fmla="*/ 569721 h 1451770"/>
                <a:gd name="connsiteX5544" fmla="*/ 346838 w 3773795"/>
                <a:gd name="connsiteY5544" fmla="*/ 569337 h 1451770"/>
                <a:gd name="connsiteX5545" fmla="*/ 359399 w 3773795"/>
                <a:gd name="connsiteY5545" fmla="*/ 572595 h 1451770"/>
                <a:gd name="connsiteX5546" fmla="*/ 376212 w 3773795"/>
                <a:gd name="connsiteY5546" fmla="*/ 579904 h 1451770"/>
                <a:gd name="connsiteX5547" fmla="*/ 400807 w 3773795"/>
                <a:gd name="connsiteY5547" fmla="*/ 591930 h 1451770"/>
                <a:gd name="connsiteX5548" fmla="*/ 414673 w 3773795"/>
                <a:gd name="connsiteY5548" fmla="*/ 602567 h 1451770"/>
                <a:gd name="connsiteX5549" fmla="*/ 416277 w 3773795"/>
                <a:gd name="connsiteY5549" fmla="*/ 604845 h 1451770"/>
                <a:gd name="connsiteX5550" fmla="*/ 421289 w 3773795"/>
                <a:gd name="connsiteY5550" fmla="*/ 606135 h 1451770"/>
                <a:gd name="connsiteX5551" fmla="*/ 422367 w 3773795"/>
                <a:gd name="connsiteY5551" fmla="*/ 605262 h 1451770"/>
                <a:gd name="connsiteX5552" fmla="*/ 425152 w 3773795"/>
                <a:gd name="connsiteY5552" fmla="*/ 606019 h 1451770"/>
                <a:gd name="connsiteX5553" fmla="*/ 441458 w 3773795"/>
                <a:gd name="connsiteY5553" fmla="*/ 615674 h 1451770"/>
                <a:gd name="connsiteX5554" fmla="*/ 447083 w 3773795"/>
                <a:gd name="connsiteY5554" fmla="*/ 616173 h 1451770"/>
                <a:gd name="connsiteX5555" fmla="*/ 446340 w 3773795"/>
                <a:gd name="connsiteY5555" fmla="*/ 614135 h 1451770"/>
                <a:gd name="connsiteX5556" fmla="*/ 445379 w 3773795"/>
                <a:gd name="connsiteY5556" fmla="*/ 612229 h 1451770"/>
                <a:gd name="connsiteX5557" fmla="*/ 446772 w 3773795"/>
                <a:gd name="connsiteY5557" fmla="*/ 612662 h 1451770"/>
                <a:gd name="connsiteX5558" fmla="*/ 448681 w 3773795"/>
                <a:gd name="connsiteY5558" fmla="*/ 614046 h 1451770"/>
                <a:gd name="connsiteX5559" fmla="*/ 451780 w 3773795"/>
                <a:gd name="connsiteY5559" fmla="*/ 617816 h 1451770"/>
                <a:gd name="connsiteX5560" fmla="*/ 455559 w 3773795"/>
                <a:gd name="connsiteY5560" fmla="*/ 620606 h 1451770"/>
                <a:gd name="connsiteX5561" fmla="*/ 459407 w 3773795"/>
                <a:gd name="connsiteY5561" fmla="*/ 624776 h 1451770"/>
                <a:gd name="connsiteX5562" fmla="*/ 462616 w 3773795"/>
                <a:gd name="connsiteY5562" fmla="*/ 626372 h 1451770"/>
                <a:gd name="connsiteX5563" fmla="*/ 465507 w 3773795"/>
                <a:gd name="connsiteY5563" fmla="*/ 626963 h 1451770"/>
                <a:gd name="connsiteX5564" fmla="*/ 467934 w 3773795"/>
                <a:gd name="connsiteY5564" fmla="*/ 628137 h 1451770"/>
                <a:gd name="connsiteX5565" fmla="*/ 472359 w 3773795"/>
                <a:gd name="connsiteY5565" fmla="*/ 629254 h 1451770"/>
                <a:gd name="connsiteX5566" fmla="*/ 474449 w 3773795"/>
                <a:gd name="connsiteY5566" fmla="*/ 639399 h 1451770"/>
                <a:gd name="connsiteX5567" fmla="*/ 476062 w 3773795"/>
                <a:gd name="connsiteY5567" fmla="*/ 641584 h 1451770"/>
                <a:gd name="connsiteX5568" fmla="*/ 476062 w 3773795"/>
                <a:gd name="connsiteY5568" fmla="*/ 646049 h 1451770"/>
                <a:gd name="connsiteX5569" fmla="*/ 478889 w 3773795"/>
                <a:gd name="connsiteY5569" fmla="*/ 647864 h 1451770"/>
                <a:gd name="connsiteX5570" fmla="*/ 481035 w 3773795"/>
                <a:gd name="connsiteY5570" fmla="*/ 648193 h 1451770"/>
                <a:gd name="connsiteX5571" fmla="*/ 480936 w 3773795"/>
                <a:gd name="connsiteY5571" fmla="*/ 651491 h 1451770"/>
                <a:gd name="connsiteX5572" fmla="*/ 479195 w 3773795"/>
                <a:gd name="connsiteY5572" fmla="*/ 659212 h 1451770"/>
                <a:gd name="connsiteX5573" fmla="*/ 477280 w 3773795"/>
                <a:gd name="connsiteY5573" fmla="*/ 662488 h 1451770"/>
                <a:gd name="connsiteX5574" fmla="*/ 462523 w 3773795"/>
                <a:gd name="connsiteY5574" fmla="*/ 676534 h 1451770"/>
                <a:gd name="connsiteX5575" fmla="*/ 453274 w 3773795"/>
                <a:gd name="connsiteY5575" fmla="*/ 681936 h 1451770"/>
                <a:gd name="connsiteX5576" fmla="*/ 435269 w 3773795"/>
                <a:gd name="connsiteY5576" fmla="*/ 688101 h 1451770"/>
                <a:gd name="connsiteX5577" fmla="*/ 421224 w 3773795"/>
                <a:gd name="connsiteY5577" fmla="*/ 690409 h 1451770"/>
                <a:gd name="connsiteX5578" fmla="*/ 415556 w 3773795"/>
                <a:gd name="connsiteY5578" fmla="*/ 690577 h 1451770"/>
                <a:gd name="connsiteX5579" fmla="*/ 404569 w 3773795"/>
                <a:gd name="connsiteY5579" fmla="*/ 689437 h 1451770"/>
                <a:gd name="connsiteX5580" fmla="*/ 398544 w 3773795"/>
                <a:gd name="connsiteY5580" fmla="*/ 688191 h 1451770"/>
                <a:gd name="connsiteX5581" fmla="*/ 391172 w 3773795"/>
                <a:gd name="connsiteY5581" fmla="*/ 684688 h 1451770"/>
                <a:gd name="connsiteX5582" fmla="*/ 384292 w 3773795"/>
                <a:gd name="connsiteY5582" fmla="*/ 682943 h 1451770"/>
                <a:gd name="connsiteX5583" fmla="*/ 379566 w 3773795"/>
                <a:gd name="connsiteY5583" fmla="*/ 682171 h 1451770"/>
                <a:gd name="connsiteX5584" fmla="*/ 370798 w 3773795"/>
                <a:gd name="connsiteY5584" fmla="*/ 681849 h 1451770"/>
                <a:gd name="connsiteX5585" fmla="*/ 351783 w 3773795"/>
                <a:gd name="connsiteY5585" fmla="*/ 678407 h 1451770"/>
                <a:gd name="connsiteX5586" fmla="*/ 348477 w 3773795"/>
                <a:gd name="connsiteY5586" fmla="*/ 677196 h 1451770"/>
                <a:gd name="connsiteX5587" fmla="*/ 336550 w 3773795"/>
                <a:gd name="connsiteY5587" fmla="*/ 670458 h 1451770"/>
                <a:gd name="connsiteX5588" fmla="*/ 331811 w 3773795"/>
                <a:gd name="connsiteY5588" fmla="*/ 672363 h 1451770"/>
                <a:gd name="connsiteX5589" fmla="*/ 328988 w 3773795"/>
                <a:gd name="connsiteY5589" fmla="*/ 672706 h 1451770"/>
                <a:gd name="connsiteX5590" fmla="*/ 327075 w 3773795"/>
                <a:gd name="connsiteY5590" fmla="*/ 670382 h 1451770"/>
                <a:gd name="connsiteX5591" fmla="*/ 327844 w 3773795"/>
                <a:gd name="connsiteY5591" fmla="*/ 669768 h 1451770"/>
                <a:gd name="connsiteX5592" fmla="*/ 328302 w 3773795"/>
                <a:gd name="connsiteY5592" fmla="*/ 668975 h 1451770"/>
                <a:gd name="connsiteX5593" fmla="*/ 321547 w 3773795"/>
                <a:gd name="connsiteY5593" fmla="*/ 667047 h 1451770"/>
                <a:gd name="connsiteX5594" fmla="*/ 315965 w 3773795"/>
                <a:gd name="connsiteY5594" fmla="*/ 666918 h 1451770"/>
                <a:gd name="connsiteX5595" fmla="*/ 313000 w 3773795"/>
                <a:gd name="connsiteY5595" fmla="*/ 665279 h 1451770"/>
                <a:gd name="connsiteX5596" fmla="*/ 309370 w 3773795"/>
                <a:gd name="connsiteY5596" fmla="*/ 664030 h 1451770"/>
                <a:gd name="connsiteX5597" fmla="*/ 307768 w 3773795"/>
                <a:gd name="connsiteY5597" fmla="*/ 664782 h 1451770"/>
                <a:gd name="connsiteX5598" fmla="*/ 306863 w 3773795"/>
                <a:gd name="connsiteY5598" fmla="*/ 664775 h 1451770"/>
                <a:gd name="connsiteX5599" fmla="*/ 299526 w 3773795"/>
                <a:gd name="connsiteY5599" fmla="*/ 661827 h 1451770"/>
                <a:gd name="connsiteX5600" fmla="*/ 296248 w 3773795"/>
                <a:gd name="connsiteY5600" fmla="*/ 659435 h 1451770"/>
                <a:gd name="connsiteX5601" fmla="*/ 292834 w 3773795"/>
                <a:gd name="connsiteY5601" fmla="*/ 655219 h 1451770"/>
                <a:gd name="connsiteX5602" fmla="*/ 293667 w 3773795"/>
                <a:gd name="connsiteY5602" fmla="*/ 653742 h 1451770"/>
                <a:gd name="connsiteX5603" fmla="*/ 294667 w 3773795"/>
                <a:gd name="connsiteY5603" fmla="*/ 652784 h 1451770"/>
                <a:gd name="connsiteX5604" fmla="*/ 282935 w 3773795"/>
                <a:gd name="connsiteY5604" fmla="*/ 650323 h 1451770"/>
                <a:gd name="connsiteX5605" fmla="*/ 271778 w 3773795"/>
                <a:gd name="connsiteY5605" fmla="*/ 649997 h 1451770"/>
                <a:gd name="connsiteX5606" fmla="*/ 273717 w 3773795"/>
                <a:gd name="connsiteY5606" fmla="*/ 651177 h 1451770"/>
                <a:gd name="connsiteX5607" fmla="*/ 278549 w 3773795"/>
                <a:gd name="connsiteY5607" fmla="*/ 651797 h 1451770"/>
                <a:gd name="connsiteX5608" fmla="*/ 281624 w 3773795"/>
                <a:gd name="connsiteY5608" fmla="*/ 653491 h 1451770"/>
                <a:gd name="connsiteX5609" fmla="*/ 285170 w 3773795"/>
                <a:gd name="connsiteY5609" fmla="*/ 655877 h 1451770"/>
                <a:gd name="connsiteX5610" fmla="*/ 284345 w 3773795"/>
                <a:gd name="connsiteY5610" fmla="*/ 659137 h 1451770"/>
                <a:gd name="connsiteX5611" fmla="*/ 289271 w 3773795"/>
                <a:gd name="connsiteY5611" fmla="*/ 662362 h 1451770"/>
                <a:gd name="connsiteX5612" fmla="*/ 293050 w 3773795"/>
                <a:gd name="connsiteY5612" fmla="*/ 665429 h 1451770"/>
                <a:gd name="connsiteX5613" fmla="*/ 293162 w 3773795"/>
                <a:gd name="connsiteY5613" fmla="*/ 666375 h 1451770"/>
                <a:gd name="connsiteX5614" fmla="*/ 294628 w 3773795"/>
                <a:gd name="connsiteY5614" fmla="*/ 667016 h 1451770"/>
                <a:gd name="connsiteX5615" fmla="*/ 300197 w 3773795"/>
                <a:gd name="connsiteY5615" fmla="*/ 667912 h 1451770"/>
                <a:gd name="connsiteX5616" fmla="*/ 301167 w 3773795"/>
                <a:gd name="connsiteY5616" fmla="*/ 670727 h 1451770"/>
                <a:gd name="connsiteX5617" fmla="*/ 300249 w 3773795"/>
                <a:gd name="connsiteY5617" fmla="*/ 671836 h 1451770"/>
                <a:gd name="connsiteX5618" fmla="*/ 301012 w 3773795"/>
                <a:gd name="connsiteY5618" fmla="*/ 673397 h 1451770"/>
                <a:gd name="connsiteX5619" fmla="*/ 305166 w 3773795"/>
                <a:gd name="connsiteY5619" fmla="*/ 675145 h 1451770"/>
                <a:gd name="connsiteX5620" fmla="*/ 307651 w 3773795"/>
                <a:gd name="connsiteY5620" fmla="*/ 675621 h 1451770"/>
                <a:gd name="connsiteX5621" fmla="*/ 310709 w 3773795"/>
                <a:gd name="connsiteY5621" fmla="*/ 676681 h 1451770"/>
                <a:gd name="connsiteX5622" fmla="*/ 309323 w 3773795"/>
                <a:gd name="connsiteY5622" fmla="*/ 678821 h 1451770"/>
                <a:gd name="connsiteX5623" fmla="*/ 306751 w 3773795"/>
                <a:gd name="connsiteY5623" fmla="*/ 680209 h 1451770"/>
                <a:gd name="connsiteX5624" fmla="*/ 304177 w 3773795"/>
                <a:gd name="connsiteY5624" fmla="*/ 680847 h 1451770"/>
                <a:gd name="connsiteX5625" fmla="*/ 305399 w 3773795"/>
                <a:gd name="connsiteY5625" fmla="*/ 681359 h 1451770"/>
                <a:gd name="connsiteX5626" fmla="*/ 308735 w 3773795"/>
                <a:gd name="connsiteY5626" fmla="*/ 681161 h 1451770"/>
                <a:gd name="connsiteX5627" fmla="*/ 320809 w 3773795"/>
                <a:gd name="connsiteY5627" fmla="*/ 684681 h 1451770"/>
                <a:gd name="connsiteX5628" fmla="*/ 327157 w 3773795"/>
                <a:gd name="connsiteY5628" fmla="*/ 688234 h 1451770"/>
                <a:gd name="connsiteX5629" fmla="*/ 333614 w 3773795"/>
                <a:gd name="connsiteY5629" fmla="*/ 694696 h 1451770"/>
                <a:gd name="connsiteX5630" fmla="*/ 335704 w 3773795"/>
                <a:gd name="connsiteY5630" fmla="*/ 697884 h 1451770"/>
                <a:gd name="connsiteX5631" fmla="*/ 335855 w 3773795"/>
                <a:gd name="connsiteY5631" fmla="*/ 699641 h 1451770"/>
                <a:gd name="connsiteX5632" fmla="*/ 335497 w 3773795"/>
                <a:gd name="connsiteY5632" fmla="*/ 701393 h 1451770"/>
                <a:gd name="connsiteX5633" fmla="*/ 334564 w 3773795"/>
                <a:gd name="connsiteY5633" fmla="*/ 703285 h 1451770"/>
                <a:gd name="connsiteX5634" fmla="*/ 334139 w 3773795"/>
                <a:gd name="connsiteY5634" fmla="*/ 705184 h 1451770"/>
                <a:gd name="connsiteX5635" fmla="*/ 331932 w 3773795"/>
                <a:gd name="connsiteY5635" fmla="*/ 710780 h 1451770"/>
                <a:gd name="connsiteX5636" fmla="*/ 330349 w 3773795"/>
                <a:gd name="connsiteY5636" fmla="*/ 712708 h 1451770"/>
                <a:gd name="connsiteX5637" fmla="*/ 327304 w 3773795"/>
                <a:gd name="connsiteY5637" fmla="*/ 714914 h 1451770"/>
                <a:gd name="connsiteX5638" fmla="*/ 330167 w 3773795"/>
                <a:gd name="connsiteY5638" fmla="*/ 719171 h 1451770"/>
                <a:gd name="connsiteX5639" fmla="*/ 333156 w 3773795"/>
                <a:gd name="connsiteY5639" fmla="*/ 723131 h 1451770"/>
                <a:gd name="connsiteX5640" fmla="*/ 336084 w 3773795"/>
                <a:gd name="connsiteY5640" fmla="*/ 729681 h 1451770"/>
                <a:gd name="connsiteX5641" fmla="*/ 336607 w 3773795"/>
                <a:gd name="connsiteY5641" fmla="*/ 732311 h 1451770"/>
                <a:gd name="connsiteX5642" fmla="*/ 336728 w 3773795"/>
                <a:gd name="connsiteY5642" fmla="*/ 736342 h 1451770"/>
                <a:gd name="connsiteX5643" fmla="*/ 339373 w 3773795"/>
                <a:gd name="connsiteY5643" fmla="*/ 737924 h 1451770"/>
                <a:gd name="connsiteX5644" fmla="*/ 338339 w 3773795"/>
                <a:gd name="connsiteY5644" fmla="*/ 738542 h 1451770"/>
                <a:gd name="connsiteX5645" fmla="*/ 337296 w 3773795"/>
                <a:gd name="connsiteY5645" fmla="*/ 739685 h 1451770"/>
                <a:gd name="connsiteX5646" fmla="*/ 337544 w 3773795"/>
                <a:gd name="connsiteY5646" fmla="*/ 744919 h 1451770"/>
                <a:gd name="connsiteX5647" fmla="*/ 341211 w 3773795"/>
                <a:gd name="connsiteY5647" fmla="*/ 749183 h 1451770"/>
                <a:gd name="connsiteX5648" fmla="*/ 346711 w 3773795"/>
                <a:gd name="connsiteY5648" fmla="*/ 751944 h 1451770"/>
                <a:gd name="connsiteX5649" fmla="*/ 349982 w 3773795"/>
                <a:gd name="connsiteY5649" fmla="*/ 752504 h 1451770"/>
                <a:gd name="connsiteX5650" fmla="*/ 354737 w 3773795"/>
                <a:gd name="connsiteY5650" fmla="*/ 751384 h 1451770"/>
                <a:gd name="connsiteX5651" fmla="*/ 358164 w 3773795"/>
                <a:gd name="connsiteY5651" fmla="*/ 752909 h 1451770"/>
                <a:gd name="connsiteX5652" fmla="*/ 365780 w 3773795"/>
                <a:gd name="connsiteY5652" fmla="*/ 758097 h 1451770"/>
                <a:gd name="connsiteX5653" fmla="*/ 369218 w 3773795"/>
                <a:gd name="connsiteY5653" fmla="*/ 763565 h 1451770"/>
                <a:gd name="connsiteX5654" fmla="*/ 370611 w 3773795"/>
                <a:gd name="connsiteY5654" fmla="*/ 764678 h 1451770"/>
                <a:gd name="connsiteX5655" fmla="*/ 378324 w 3773795"/>
                <a:gd name="connsiteY5655" fmla="*/ 766716 h 1451770"/>
                <a:gd name="connsiteX5656" fmla="*/ 384105 w 3773795"/>
                <a:gd name="connsiteY5656" fmla="*/ 767968 h 1451770"/>
                <a:gd name="connsiteX5657" fmla="*/ 392895 w 3773795"/>
                <a:gd name="connsiteY5657" fmla="*/ 771235 h 1451770"/>
                <a:gd name="connsiteX5658" fmla="*/ 394431 w 3773795"/>
                <a:gd name="connsiteY5658" fmla="*/ 771353 h 1451770"/>
                <a:gd name="connsiteX5659" fmla="*/ 398702 w 3773795"/>
                <a:gd name="connsiteY5659" fmla="*/ 768536 h 1451770"/>
                <a:gd name="connsiteX5660" fmla="*/ 406057 w 3773795"/>
                <a:gd name="connsiteY5660" fmla="*/ 766573 h 1451770"/>
                <a:gd name="connsiteX5661" fmla="*/ 408331 w 3773795"/>
                <a:gd name="connsiteY5661" fmla="*/ 763866 h 1451770"/>
                <a:gd name="connsiteX5662" fmla="*/ 408141 w 3773795"/>
                <a:gd name="connsiteY5662" fmla="*/ 761564 h 1451770"/>
                <a:gd name="connsiteX5663" fmla="*/ 406260 w 3773795"/>
                <a:gd name="connsiteY5663" fmla="*/ 757459 h 1451770"/>
                <a:gd name="connsiteX5664" fmla="*/ 405742 w 3773795"/>
                <a:gd name="connsiteY5664" fmla="*/ 753450 h 1451770"/>
                <a:gd name="connsiteX5665" fmla="*/ 403306 w 3773795"/>
                <a:gd name="connsiteY5665" fmla="*/ 751810 h 1451770"/>
                <a:gd name="connsiteX5666" fmla="*/ 401030 w 3773795"/>
                <a:gd name="connsiteY5666" fmla="*/ 750721 h 1451770"/>
                <a:gd name="connsiteX5667" fmla="*/ 394152 w 3773795"/>
                <a:gd name="connsiteY5667" fmla="*/ 751552 h 1451770"/>
                <a:gd name="connsiteX5668" fmla="*/ 391056 w 3773795"/>
                <a:gd name="connsiteY5668" fmla="*/ 751397 h 1451770"/>
                <a:gd name="connsiteX5669" fmla="*/ 388715 w 3773795"/>
                <a:gd name="connsiteY5669" fmla="*/ 750311 h 1451770"/>
                <a:gd name="connsiteX5670" fmla="*/ 385547 w 3773795"/>
                <a:gd name="connsiteY5670" fmla="*/ 747442 h 1451770"/>
                <a:gd name="connsiteX5671" fmla="*/ 379552 w 3773795"/>
                <a:gd name="connsiteY5671" fmla="*/ 740451 h 1451770"/>
                <a:gd name="connsiteX5672" fmla="*/ 376344 w 3773795"/>
                <a:gd name="connsiteY5672" fmla="*/ 738118 h 1451770"/>
                <a:gd name="connsiteX5673" fmla="*/ 375338 w 3773795"/>
                <a:gd name="connsiteY5673" fmla="*/ 736672 h 1451770"/>
                <a:gd name="connsiteX5674" fmla="*/ 374221 w 3773795"/>
                <a:gd name="connsiteY5674" fmla="*/ 734653 h 1451770"/>
                <a:gd name="connsiteX5675" fmla="*/ 374361 w 3773795"/>
                <a:gd name="connsiteY5675" fmla="*/ 731381 h 1451770"/>
                <a:gd name="connsiteX5676" fmla="*/ 376979 w 3773795"/>
                <a:gd name="connsiteY5676" fmla="*/ 731495 h 1451770"/>
                <a:gd name="connsiteX5677" fmla="*/ 379920 w 3773795"/>
                <a:gd name="connsiteY5677" fmla="*/ 729639 h 1451770"/>
                <a:gd name="connsiteX5678" fmla="*/ 382062 w 3773795"/>
                <a:gd name="connsiteY5678" fmla="*/ 722978 h 1451770"/>
                <a:gd name="connsiteX5679" fmla="*/ 385763 w 3773795"/>
                <a:gd name="connsiteY5679" fmla="*/ 722130 h 1451770"/>
                <a:gd name="connsiteX5680" fmla="*/ 387767 w 3773795"/>
                <a:gd name="connsiteY5680" fmla="*/ 722188 h 1451770"/>
                <a:gd name="connsiteX5681" fmla="*/ 396331 w 3773795"/>
                <a:gd name="connsiteY5681" fmla="*/ 725286 h 1451770"/>
                <a:gd name="connsiteX5682" fmla="*/ 406972 w 3773795"/>
                <a:gd name="connsiteY5682" fmla="*/ 733528 h 1451770"/>
                <a:gd name="connsiteX5683" fmla="*/ 409324 w 3773795"/>
                <a:gd name="connsiteY5683" fmla="*/ 734394 h 1451770"/>
                <a:gd name="connsiteX5684" fmla="*/ 411812 w 3773795"/>
                <a:gd name="connsiteY5684" fmla="*/ 734515 h 1451770"/>
                <a:gd name="connsiteX5685" fmla="*/ 415878 w 3773795"/>
                <a:gd name="connsiteY5685" fmla="*/ 734305 h 1451770"/>
                <a:gd name="connsiteX5686" fmla="*/ 416539 w 3773795"/>
                <a:gd name="connsiteY5686" fmla="*/ 735377 h 1451770"/>
                <a:gd name="connsiteX5687" fmla="*/ 418726 w 3773795"/>
                <a:gd name="connsiteY5687" fmla="*/ 736661 h 1451770"/>
                <a:gd name="connsiteX5688" fmla="*/ 420322 w 3773795"/>
                <a:gd name="connsiteY5688" fmla="*/ 736826 h 1451770"/>
                <a:gd name="connsiteX5689" fmla="*/ 430061 w 3773795"/>
                <a:gd name="connsiteY5689" fmla="*/ 739427 h 1451770"/>
                <a:gd name="connsiteX5690" fmla="*/ 441423 w 3773795"/>
                <a:gd name="connsiteY5690" fmla="*/ 744543 h 1451770"/>
                <a:gd name="connsiteX5691" fmla="*/ 445638 w 3773795"/>
                <a:gd name="connsiteY5691" fmla="*/ 744312 h 1451770"/>
                <a:gd name="connsiteX5692" fmla="*/ 447297 w 3773795"/>
                <a:gd name="connsiteY5692" fmla="*/ 741481 h 1451770"/>
                <a:gd name="connsiteX5693" fmla="*/ 447642 w 3773795"/>
                <a:gd name="connsiteY5693" fmla="*/ 740262 h 1451770"/>
                <a:gd name="connsiteX5694" fmla="*/ 452268 w 3773795"/>
                <a:gd name="connsiteY5694" fmla="*/ 737395 h 1451770"/>
                <a:gd name="connsiteX5695" fmla="*/ 455494 w 3773795"/>
                <a:gd name="connsiteY5695" fmla="*/ 736920 h 1451770"/>
                <a:gd name="connsiteX5696" fmla="*/ 460007 w 3773795"/>
                <a:gd name="connsiteY5696" fmla="*/ 737963 h 1451770"/>
                <a:gd name="connsiteX5697" fmla="*/ 460828 w 3773795"/>
                <a:gd name="connsiteY5697" fmla="*/ 737110 h 1451770"/>
                <a:gd name="connsiteX5698" fmla="*/ 459290 w 3773795"/>
                <a:gd name="connsiteY5698" fmla="*/ 732900 h 1451770"/>
                <a:gd name="connsiteX5699" fmla="*/ 457209 w 3773795"/>
                <a:gd name="connsiteY5699" fmla="*/ 729247 h 1451770"/>
                <a:gd name="connsiteX5700" fmla="*/ 454144 w 3773795"/>
                <a:gd name="connsiteY5700" fmla="*/ 726904 h 1451770"/>
                <a:gd name="connsiteX5701" fmla="*/ 448701 w 3773795"/>
                <a:gd name="connsiteY5701" fmla="*/ 720006 h 1451770"/>
                <a:gd name="connsiteX5702" fmla="*/ 446524 w 3773795"/>
                <a:gd name="connsiteY5702" fmla="*/ 716573 h 1451770"/>
                <a:gd name="connsiteX5703" fmla="*/ 445442 w 3773795"/>
                <a:gd name="connsiteY5703" fmla="*/ 713025 h 1451770"/>
                <a:gd name="connsiteX5704" fmla="*/ 446150 w 3773795"/>
                <a:gd name="connsiteY5704" fmla="*/ 709881 h 1451770"/>
                <a:gd name="connsiteX5705" fmla="*/ 446932 w 3773795"/>
                <a:gd name="connsiteY5705" fmla="*/ 707586 h 1451770"/>
                <a:gd name="connsiteX5706" fmla="*/ 458238 w 3773795"/>
                <a:gd name="connsiteY5706" fmla="*/ 701996 h 1451770"/>
                <a:gd name="connsiteX5707" fmla="*/ 462328 w 3773795"/>
                <a:gd name="connsiteY5707" fmla="*/ 698641 h 1451770"/>
                <a:gd name="connsiteX5708" fmla="*/ 466282 w 3773795"/>
                <a:gd name="connsiteY5708" fmla="*/ 694273 h 1451770"/>
                <a:gd name="connsiteX5709" fmla="*/ 468113 w 3773795"/>
                <a:gd name="connsiteY5709" fmla="*/ 693379 h 1451770"/>
                <a:gd name="connsiteX5710" fmla="*/ 474783 w 3773795"/>
                <a:gd name="connsiteY5710" fmla="*/ 692164 h 1451770"/>
                <a:gd name="connsiteX5711" fmla="*/ 483622 w 3773795"/>
                <a:gd name="connsiteY5711" fmla="*/ 688417 h 1451770"/>
                <a:gd name="connsiteX5712" fmla="*/ 490368 w 3773795"/>
                <a:gd name="connsiteY5712" fmla="*/ 683429 h 1451770"/>
                <a:gd name="connsiteX5713" fmla="*/ 497062 w 3773795"/>
                <a:gd name="connsiteY5713" fmla="*/ 675822 h 1451770"/>
                <a:gd name="connsiteX5714" fmla="*/ 499869 w 3773795"/>
                <a:gd name="connsiteY5714" fmla="*/ 673838 h 1451770"/>
                <a:gd name="connsiteX5715" fmla="*/ 502150 w 3773795"/>
                <a:gd name="connsiteY5715" fmla="*/ 674020 h 1451770"/>
                <a:gd name="connsiteX5716" fmla="*/ 505181 w 3773795"/>
                <a:gd name="connsiteY5716" fmla="*/ 675213 h 1451770"/>
                <a:gd name="connsiteX5717" fmla="*/ 508528 w 3773795"/>
                <a:gd name="connsiteY5717" fmla="*/ 677423 h 1451770"/>
                <a:gd name="connsiteX5718" fmla="*/ 513048 w 3773795"/>
                <a:gd name="connsiteY5718" fmla="*/ 677835 h 1451770"/>
                <a:gd name="connsiteX5719" fmla="*/ 517458 w 3773795"/>
                <a:gd name="connsiteY5719" fmla="*/ 677481 h 1451770"/>
                <a:gd name="connsiteX5720" fmla="*/ 522482 w 3773795"/>
                <a:gd name="connsiteY5720" fmla="*/ 677681 h 1451770"/>
                <a:gd name="connsiteX5721" fmla="*/ 529507 w 3773795"/>
                <a:gd name="connsiteY5721" fmla="*/ 681150 h 1451770"/>
                <a:gd name="connsiteX5722" fmla="*/ 530666 w 3773795"/>
                <a:gd name="connsiteY5722" fmla="*/ 682257 h 1451770"/>
                <a:gd name="connsiteX5723" fmla="*/ 531768 w 3773795"/>
                <a:gd name="connsiteY5723" fmla="*/ 683736 h 1451770"/>
                <a:gd name="connsiteX5724" fmla="*/ 529496 w 3773795"/>
                <a:gd name="connsiteY5724" fmla="*/ 686585 h 1451770"/>
                <a:gd name="connsiteX5725" fmla="*/ 529308 w 3773795"/>
                <a:gd name="connsiteY5725" fmla="*/ 688418 h 1451770"/>
                <a:gd name="connsiteX5726" fmla="*/ 531122 w 3773795"/>
                <a:gd name="connsiteY5726" fmla="*/ 687563 h 1451770"/>
                <a:gd name="connsiteX5727" fmla="*/ 533623 w 3773795"/>
                <a:gd name="connsiteY5727" fmla="*/ 687134 h 1451770"/>
                <a:gd name="connsiteX5728" fmla="*/ 535983 w 3773795"/>
                <a:gd name="connsiteY5728" fmla="*/ 687722 h 1451770"/>
                <a:gd name="connsiteX5729" fmla="*/ 538203 w 3773795"/>
                <a:gd name="connsiteY5729" fmla="*/ 689324 h 1451770"/>
                <a:gd name="connsiteX5730" fmla="*/ 539807 w 3773795"/>
                <a:gd name="connsiteY5730" fmla="*/ 691115 h 1451770"/>
                <a:gd name="connsiteX5731" fmla="*/ 541746 w 3773795"/>
                <a:gd name="connsiteY5731" fmla="*/ 692622 h 1451770"/>
                <a:gd name="connsiteX5732" fmla="*/ 542366 w 3773795"/>
                <a:gd name="connsiteY5732" fmla="*/ 690574 h 1451770"/>
                <a:gd name="connsiteX5733" fmla="*/ 542651 w 3773795"/>
                <a:gd name="connsiteY5733" fmla="*/ 688808 h 1451770"/>
                <a:gd name="connsiteX5734" fmla="*/ 541586 w 3773795"/>
                <a:gd name="connsiteY5734" fmla="*/ 684321 h 1451770"/>
                <a:gd name="connsiteX5735" fmla="*/ 544318 w 3773795"/>
                <a:gd name="connsiteY5735" fmla="*/ 677992 h 1451770"/>
                <a:gd name="connsiteX5736" fmla="*/ 546434 w 3773795"/>
                <a:gd name="connsiteY5736" fmla="*/ 675240 h 1451770"/>
                <a:gd name="connsiteX5737" fmla="*/ 550243 w 3773795"/>
                <a:gd name="connsiteY5737" fmla="*/ 668214 h 1451770"/>
                <a:gd name="connsiteX5738" fmla="*/ 549103 w 3773795"/>
                <a:gd name="connsiteY5738" fmla="*/ 663659 h 1451770"/>
                <a:gd name="connsiteX5739" fmla="*/ 548930 w 3773795"/>
                <a:gd name="connsiteY5739" fmla="*/ 658340 h 1451770"/>
                <a:gd name="connsiteX5740" fmla="*/ 548369 w 3773795"/>
                <a:gd name="connsiteY5740" fmla="*/ 655865 h 1451770"/>
                <a:gd name="connsiteX5741" fmla="*/ 545890 w 3773795"/>
                <a:gd name="connsiteY5741" fmla="*/ 652304 h 1451770"/>
                <a:gd name="connsiteX5742" fmla="*/ 541083 w 3773795"/>
                <a:gd name="connsiteY5742" fmla="*/ 649776 h 1451770"/>
                <a:gd name="connsiteX5743" fmla="*/ 536240 w 3773795"/>
                <a:gd name="connsiteY5743" fmla="*/ 648980 h 1451770"/>
                <a:gd name="connsiteX5744" fmla="*/ 534627 w 3773795"/>
                <a:gd name="connsiteY5744" fmla="*/ 646515 h 1451770"/>
                <a:gd name="connsiteX5745" fmla="*/ 534920 w 3773795"/>
                <a:gd name="connsiteY5745" fmla="*/ 643701 h 1451770"/>
                <a:gd name="connsiteX5746" fmla="*/ 536261 w 3773795"/>
                <a:gd name="connsiteY5746" fmla="*/ 639583 h 1451770"/>
                <a:gd name="connsiteX5747" fmla="*/ 540243 w 3773795"/>
                <a:gd name="connsiteY5747" fmla="*/ 630871 h 1451770"/>
                <a:gd name="connsiteX5748" fmla="*/ 544422 w 3773795"/>
                <a:gd name="connsiteY5748" fmla="*/ 618567 h 1451770"/>
                <a:gd name="connsiteX5749" fmla="*/ 544558 w 3773795"/>
                <a:gd name="connsiteY5749" fmla="*/ 615692 h 1451770"/>
                <a:gd name="connsiteX5750" fmla="*/ 544167 w 3773795"/>
                <a:gd name="connsiteY5750" fmla="*/ 614119 h 1451770"/>
                <a:gd name="connsiteX5751" fmla="*/ 544445 w 3773795"/>
                <a:gd name="connsiteY5751" fmla="*/ 612525 h 1451770"/>
                <a:gd name="connsiteX5752" fmla="*/ 543964 w 3773795"/>
                <a:gd name="connsiteY5752" fmla="*/ 608737 h 1451770"/>
                <a:gd name="connsiteX5753" fmla="*/ 543178 w 3773795"/>
                <a:gd name="connsiteY5753" fmla="*/ 605936 h 1451770"/>
                <a:gd name="connsiteX5754" fmla="*/ 526259 w 3773795"/>
                <a:gd name="connsiteY5754" fmla="*/ 595146 h 1451770"/>
                <a:gd name="connsiteX5755" fmla="*/ 525242 w 3773795"/>
                <a:gd name="connsiteY5755" fmla="*/ 594098 h 1451770"/>
                <a:gd name="connsiteX5756" fmla="*/ 524694 w 3773795"/>
                <a:gd name="connsiteY5756" fmla="*/ 592652 h 1451770"/>
                <a:gd name="connsiteX5757" fmla="*/ 526464 w 3773795"/>
                <a:gd name="connsiteY5757" fmla="*/ 592330 h 1451770"/>
                <a:gd name="connsiteX5758" fmla="*/ 527762 w 3773795"/>
                <a:gd name="connsiteY5758" fmla="*/ 592404 h 1451770"/>
                <a:gd name="connsiteX5759" fmla="*/ 540500 w 3773795"/>
                <a:gd name="connsiteY5759" fmla="*/ 597440 h 1451770"/>
                <a:gd name="connsiteX5760" fmla="*/ 543314 w 3773795"/>
                <a:gd name="connsiteY5760" fmla="*/ 597712 h 1451770"/>
                <a:gd name="connsiteX5761" fmla="*/ 563277 w 3773795"/>
                <a:gd name="connsiteY5761" fmla="*/ 596313 h 1451770"/>
                <a:gd name="connsiteX5762" fmla="*/ 573036 w 3773795"/>
                <a:gd name="connsiteY5762" fmla="*/ 597528 h 1451770"/>
                <a:gd name="connsiteX5763" fmla="*/ 581274 w 3773795"/>
                <a:gd name="connsiteY5763" fmla="*/ 600093 h 1451770"/>
                <a:gd name="connsiteX5764" fmla="*/ 587165 w 3773795"/>
                <a:gd name="connsiteY5764" fmla="*/ 607301 h 1451770"/>
                <a:gd name="connsiteX5765" fmla="*/ 593163 w 3773795"/>
                <a:gd name="connsiteY5765" fmla="*/ 613881 h 1451770"/>
                <a:gd name="connsiteX5766" fmla="*/ 598778 w 3773795"/>
                <a:gd name="connsiteY5766" fmla="*/ 619522 h 1451770"/>
                <a:gd name="connsiteX5767" fmla="*/ 598929 w 3773795"/>
                <a:gd name="connsiteY5767" fmla="*/ 624134 h 1451770"/>
                <a:gd name="connsiteX5768" fmla="*/ 593146 w 3773795"/>
                <a:gd name="connsiteY5768" fmla="*/ 625086 h 1451770"/>
                <a:gd name="connsiteX5769" fmla="*/ 587515 w 3773795"/>
                <a:gd name="connsiteY5769" fmla="*/ 625295 h 1451770"/>
                <a:gd name="connsiteX5770" fmla="*/ 573241 w 3773795"/>
                <a:gd name="connsiteY5770" fmla="*/ 627587 h 1451770"/>
                <a:gd name="connsiteX5771" fmla="*/ 569823 w 3773795"/>
                <a:gd name="connsiteY5771" fmla="*/ 630183 h 1451770"/>
                <a:gd name="connsiteX5772" fmla="*/ 560211 w 3773795"/>
                <a:gd name="connsiteY5772" fmla="*/ 638150 h 1451770"/>
                <a:gd name="connsiteX5773" fmla="*/ 559386 w 3773795"/>
                <a:gd name="connsiteY5773" fmla="*/ 640566 h 1451770"/>
                <a:gd name="connsiteX5774" fmla="*/ 560211 w 3773795"/>
                <a:gd name="connsiteY5774" fmla="*/ 642907 h 1451770"/>
                <a:gd name="connsiteX5775" fmla="*/ 564621 w 3773795"/>
                <a:gd name="connsiteY5775" fmla="*/ 645383 h 1451770"/>
                <a:gd name="connsiteX5776" fmla="*/ 573982 w 3773795"/>
                <a:gd name="connsiteY5776" fmla="*/ 649093 h 1451770"/>
                <a:gd name="connsiteX5777" fmla="*/ 578190 w 3773795"/>
                <a:gd name="connsiteY5777" fmla="*/ 656425 h 1451770"/>
                <a:gd name="connsiteX5778" fmla="*/ 581127 w 3773795"/>
                <a:gd name="connsiteY5778" fmla="*/ 660076 h 1451770"/>
                <a:gd name="connsiteX5779" fmla="*/ 583353 w 3773795"/>
                <a:gd name="connsiteY5779" fmla="*/ 661486 h 1451770"/>
                <a:gd name="connsiteX5780" fmla="*/ 585519 w 3773795"/>
                <a:gd name="connsiteY5780" fmla="*/ 661844 h 1451770"/>
                <a:gd name="connsiteX5781" fmla="*/ 590246 w 3773795"/>
                <a:gd name="connsiteY5781" fmla="*/ 661869 h 1451770"/>
                <a:gd name="connsiteX5782" fmla="*/ 593580 w 3773795"/>
                <a:gd name="connsiteY5782" fmla="*/ 662754 h 1451770"/>
                <a:gd name="connsiteX5783" fmla="*/ 594550 w 3773795"/>
                <a:gd name="connsiteY5783" fmla="*/ 663452 h 1451770"/>
                <a:gd name="connsiteX5784" fmla="*/ 595876 w 3773795"/>
                <a:gd name="connsiteY5784" fmla="*/ 662754 h 1451770"/>
                <a:gd name="connsiteX5785" fmla="*/ 598938 w 3773795"/>
                <a:gd name="connsiteY5785" fmla="*/ 662511 h 1451770"/>
                <a:gd name="connsiteX5786" fmla="*/ 616752 w 3773795"/>
                <a:gd name="connsiteY5786" fmla="*/ 658634 h 1451770"/>
                <a:gd name="connsiteX5787" fmla="*/ 620277 w 3773795"/>
                <a:gd name="connsiteY5787" fmla="*/ 656918 h 1451770"/>
                <a:gd name="connsiteX5788" fmla="*/ 621454 w 3773795"/>
                <a:gd name="connsiteY5788" fmla="*/ 654343 h 1451770"/>
                <a:gd name="connsiteX5789" fmla="*/ 622758 w 3773795"/>
                <a:gd name="connsiteY5789" fmla="*/ 645724 h 1451770"/>
                <a:gd name="connsiteX5790" fmla="*/ 624332 w 3773795"/>
                <a:gd name="connsiteY5790" fmla="*/ 642722 h 1451770"/>
                <a:gd name="connsiteX5791" fmla="*/ 625856 w 3773795"/>
                <a:gd name="connsiteY5791" fmla="*/ 639005 h 1451770"/>
                <a:gd name="connsiteX5792" fmla="*/ 625291 w 3773795"/>
                <a:gd name="connsiteY5792" fmla="*/ 636724 h 1451770"/>
                <a:gd name="connsiteX5793" fmla="*/ 625116 w 3773795"/>
                <a:gd name="connsiteY5793" fmla="*/ 634132 h 1451770"/>
                <a:gd name="connsiteX5794" fmla="*/ 634049 w 3773795"/>
                <a:gd name="connsiteY5794" fmla="*/ 631635 h 1451770"/>
                <a:gd name="connsiteX5795" fmla="*/ 642343 w 3773795"/>
                <a:gd name="connsiteY5795" fmla="*/ 629941 h 1451770"/>
                <a:gd name="connsiteX5796" fmla="*/ 646310 w 3773795"/>
                <a:gd name="connsiteY5796" fmla="*/ 630461 h 1451770"/>
                <a:gd name="connsiteX5797" fmla="*/ 647299 w 3773795"/>
                <a:gd name="connsiteY5797" fmla="*/ 628579 h 1451770"/>
                <a:gd name="connsiteX5798" fmla="*/ 644751 w 3773795"/>
                <a:gd name="connsiteY5798" fmla="*/ 624961 h 1451770"/>
                <a:gd name="connsiteX5799" fmla="*/ 643270 w 3773795"/>
                <a:gd name="connsiteY5799" fmla="*/ 623172 h 1451770"/>
                <a:gd name="connsiteX5800" fmla="*/ 644565 w 3773795"/>
                <a:gd name="connsiteY5800" fmla="*/ 622349 h 1451770"/>
                <a:gd name="connsiteX5801" fmla="*/ 646474 w 3773795"/>
                <a:gd name="connsiteY5801" fmla="*/ 623342 h 1451770"/>
                <a:gd name="connsiteX5802" fmla="*/ 648979 w 3773795"/>
                <a:gd name="connsiteY5802" fmla="*/ 623946 h 1451770"/>
                <a:gd name="connsiteX5803" fmla="*/ 653432 w 3773795"/>
                <a:gd name="connsiteY5803" fmla="*/ 623317 h 1451770"/>
                <a:gd name="connsiteX5804" fmla="*/ 670591 w 3773795"/>
                <a:gd name="connsiteY5804" fmla="*/ 615924 h 1451770"/>
                <a:gd name="connsiteX5805" fmla="*/ 677267 w 3773795"/>
                <a:gd name="connsiteY5805" fmla="*/ 611729 h 1451770"/>
                <a:gd name="connsiteX5806" fmla="*/ 681266 w 3773795"/>
                <a:gd name="connsiteY5806" fmla="*/ 610088 h 1451770"/>
                <a:gd name="connsiteX5807" fmla="*/ 687576 w 3773795"/>
                <a:gd name="connsiteY5807" fmla="*/ 606294 h 1451770"/>
                <a:gd name="connsiteX5808" fmla="*/ 690660 w 3773795"/>
                <a:gd name="connsiteY5808" fmla="*/ 605062 h 1451770"/>
                <a:gd name="connsiteX5809" fmla="*/ 695959 w 3773795"/>
                <a:gd name="connsiteY5809" fmla="*/ 604550 h 1451770"/>
                <a:gd name="connsiteX5810" fmla="*/ 701655 w 3773795"/>
                <a:gd name="connsiteY5810" fmla="*/ 603053 h 1451770"/>
                <a:gd name="connsiteX5811" fmla="*/ 707859 w 3773795"/>
                <a:gd name="connsiteY5811" fmla="*/ 600222 h 1451770"/>
                <a:gd name="connsiteX5812" fmla="*/ 716218 w 3773795"/>
                <a:gd name="connsiteY5812" fmla="*/ 597826 h 1451770"/>
                <a:gd name="connsiteX5813" fmla="*/ 717566 w 3773795"/>
                <a:gd name="connsiteY5813" fmla="*/ 597729 h 1451770"/>
                <a:gd name="connsiteX5814" fmla="*/ 719183 w 3773795"/>
                <a:gd name="connsiteY5814" fmla="*/ 598085 h 1451770"/>
                <a:gd name="connsiteX5815" fmla="*/ 722644 w 3773795"/>
                <a:gd name="connsiteY5815" fmla="*/ 600872 h 1451770"/>
                <a:gd name="connsiteX5816" fmla="*/ 721364 w 3773795"/>
                <a:gd name="connsiteY5816" fmla="*/ 602434 h 1451770"/>
                <a:gd name="connsiteX5817" fmla="*/ 720392 w 3773795"/>
                <a:gd name="connsiteY5817" fmla="*/ 604131 h 1451770"/>
                <a:gd name="connsiteX5818" fmla="*/ 722066 w 3773795"/>
                <a:gd name="connsiteY5818" fmla="*/ 605024 h 1451770"/>
                <a:gd name="connsiteX5819" fmla="*/ 723461 w 3773795"/>
                <a:gd name="connsiteY5819" fmla="*/ 605454 h 1451770"/>
                <a:gd name="connsiteX5820" fmla="*/ 725106 w 3773795"/>
                <a:gd name="connsiteY5820" fmla="*/ 604994 h 1451770"/>
                <a:gd name="connsiteX5821" fmla="*/ 726838 w 3773795"/>
                <a:gd name="connsiteY5821" fmla="*/ 603831 h 1451770"/>
                <a:gd name="connsiteX5822" fmla="*/ 731144 w 3773795"/>
                <a:gd name="connsiteY5822" fmla="*/ 602122 h 1451770"/>
                <a:gd name="connsiteX5823" fmla="*/ 732314 w 3773795"/>
                <a:gd name="connsiteY5823" fmla="*/ 599927 h 1451770"/>
                <a:gd name="connsiteX5824" fmla="*/ 730656 w 3773795"/>
                <a:gd name="connsiteY5824" fmla="*/ 599078 h 1451770"/>
                <a:gd name="connsiteX5825" fmla="*/ 728499 w 3773795"/>
                <a:gd name="connsiteY5825" fmla="*/ 595765 h 1451770"/>
                <a:gd name="connsiteX5826" fmla="*/ 725955 w 3773795"/>
                <a:gd name="connsiteY5826" fmla="*/ 595082 h 1451770"/>
                <a:gd name="connsiteX5827" fmla="*/ 723942 w 3773795"/>
                <a:gd name="connsiteY5827" fmla="*/ 595161 h 1451770"/>
                <a:gd name="connsiteX5828" fmla="*/ 731450 w 3773795"/>
                <a:gd name="connsiteY5828" fmla="*/ 590425 h 1451770"/>
                <a:gd name="connsiteX5829" fmla="*/ 747577 w 3773795"/>
                <a:gd name="connsiteY5829" fmla="*/ 583424 h 1451770"/>
                <a:gd name="connsiteX5830" fmla="*/ 756180 w 3773795"/>
                <a:gd name="connsiteY5830" fmla="*/ 580198 h 1451770"/>
                <a:gd name="connsiteX5831" fmla="*/ 764668 w 3773795"/>
                <a:gd name="connsiteY5831" fmla="*/ 579910 h 1451770"/>
                <a:gd name="connsiteX5832" fmla="*/ 771421 w 3773795"/>
                <a:gd name="connsiteY5832" fmla="*/ 580336 h 1451770"/>
                <a:gd name="connsiteX5833" fmla="*/ 768879 w 3773795"/>
                <a:gd name="connsiteY5833" fmla="*/ 581404 h 1451770"/>
                <a:gd name="connsiteX5834" fmla="*/ 757782 w 3773795"/>
                <a:gd name="connsiteY5834" fmla="*/ 582880 h 1451770"/>
                <a:gd name="connsiteX5835" fmla="*/ 756085 w 3773795"/>
                <a:gd name="connsiteY5835" fmla="*/ 583620 h 1451770"/>
                <a:gd name="connsiteX5836" fmla="*/ 756098 w 3773795"/>
                <a:gd name="connsiteY5836" fmla="*/ 584502 h 1451770"/>
                <a:gd name="connsiteX5837" fmla="*/ 758780 w 3773795"/>
                <a:gd name="connsiteY5837" fmla="*/ 585021 h 1451770"/>
                <a:gd name="connsiteX5838" fmla="*/ 759909 w 3773795"/>
                <a:gd name="connsiteY5838" fmla="*/ 586062 h 1451770"/>
                <a:gd name="connsiteX5839" fmla="*/ 758996 w 3773795"/>
                <a:gd name="connsiteY5839" fmla="*/ 587314 h 1451770"/>
                <a:gd name="connsiteX5840" fmla="*/ 758153 w 3773795"/>
                <a:gd name="connsiteY5840" fmla="*/ 587714 h 1451770"/>
                <a:gd name="connsiteX5841" fmla="*/ 756886 w 3773795"/>
                <a:gd name="connsiteY5841" fmla="*/ 591283 h 1451770"/>
                <a:gd name="connsiteX5842" fmla="*/ 755228 w 3773795"/>
                <a:gd name="connsiteY5842" fmla="*/ 594168 h 1451770"/>
                <a:gd name="connsiteX5843" fmla="*/ 758739 w 3773795"/>
                <a:gd name="connsiteY5843" fmla="*/ 597896 h 1451770"/>
                <a:gd name="connsiteX5844" fmla="*/ 759030 w 3773795"/>
                <a:gd name="connsiteY5844" fmla="*/ 601785 h 1451770"/>
                <a:gd name="connsiteX5845" fmla="*/ 756789 w 3773795"/>
                <a:gd name="connsiteY5845" fmla="*/ 603810 h 1451770"/>
                <a:gd name="connsiteX5846" fmla="*/ 753705 w 3773795"/>
                <a:gd name="connsiteY5846" fmla="*/ 603049 h 1451770"/>
                <a:gd name="connsiteX5847" fmla="*/ 750978 w 3773795"/>
                <a:gd name="connsiteY5847" fmla="*/ 604406 h 1451770"/>
                <a:gd name="connsiteX5848" fmla="*/ 746022 w 3773795"/>
                <a:gd name="connsiteY5848" fmla="*/ 605319 h 1451770"/>
                <a:gd name="connsiteX5849" fmla="*/ 744934 w 3773795"/>
                <a:gd name="connsiteY5849" fmla="*/ 606525 h 1451770"/>
                <a:gd name="connsiteX5850" fmla="*/ 744208 w 3773795"/>
                <a:gd name="connsiteY5850" fmla="*/ 608213 h 1451770"/>
                <a:gd name="connsiteX5851" fmla="*/ 747361 w 3773795"/>
                <a:gd name="connsiteY5851" fmla="*/ 608620 h 1451770"/>
                <a:gd name="connsiteX5852" fmla="*/ 749838 w 3773795"/>
                <a:gd name="connsiteY5852" fmla="*/ 608512 h 1451770"/>
                <a:gd name="connsiteX5853" fmla="*/ 758650 w 3773795"/>
                <a:gd name="connsiteY5853" fmla="*/ 609598 h 1451770"/>
                <a:gd name="connsiteX5854" fmla="*/ 759849 w 3773795"/>
                <a:gd name="connsiteY5854" fmla="*/ 609746 h 1451770"/>
                <a:gd name="connsiteX5855" fmla="*/ 762753 w 3773795"/>
                <a:gd name="connsiteY5855" fmla="*/ 608536 h 1451770"/>
                <a:gd name="connsiteX5856" fmla="*/ 765709 w 3773795"/>
                <a:gd name="connsiteY5856" fmla="*/ 608258 h 1451770"/>
                <a:gd name="connsiteX5857" fmla="*/ 769270 w 3773795"/>
                <a:gd name="connsiteY5857" fmla="*/ 607922 h 1451770"/>
                <a:gd name="connsiteX5858" fmla="*/ 771088 w 3773795"/>
                <a:gd name="connsiteY5858" fmla="*/ 607195 h 1451770"/>
                <a:gd name="connsiteX5859" fmla="*/ 772969 w 3773795"/>
                <a:gd name="connsiteY5859" fmla="*/ 608001 h 1451770"/>
                <a:gd name="connsiteX5860" fmla="*/ 776435 w 3773795"/>
                <a:gd name="connsiteY5860" fmla="*/ 611392 h 1451770"/>
                <a:gd name="connsiteX5861" fmla="*/ 779605 w 3773795"/>
                <a:gd name="connsiteY5861" fmla="*/ 610718 h 1451770"/>
                <a:gd name="connsiteX5862" fmla="*/ 780969 w 3773795"/>
                <a:gd name="connsiteY5862" fmla="*/ 604148 h 1451770"/>
                <a:gd name="connsiteX5863" fmla="*/ 786007 w 3773795"/>
                <a:gd name="connsiteY5863" fmla="*/ 600080 h 1451770"/>
                <a:gd name="connsiteX5864" fmla="*/ 791915 w 3773795"/>
                <a:gd name="connsiteY5864" fmla="*/ 596711 h 1451770"/>
                <a:gd name="connsiteX5865" fmla="*/ 797603 w 3773795"/>
                <a:gd name="connsiteY5865" fmla="*/ 596401 h 1451770"/>
                <a:gd name="connsiteX5866" fmla="*/ 803116 w 3773795"/>
                <a:gd name="connsiteY5866" fmla="*/ 594040 h 1451770"/>
                <a:gd name="connsiteX5867" fmla="*/ 805749 w 3773795"/>
                <a:gd name="connsiteY5867" fmla="*/ 593595 h 1451770"/>
                <a:gd name="connsiteX5868" fmla="*/ 810879 w 3773795"/>
                <a:gd name="connsiteY5868" fmla="*/ 594549 h 1451770"/>
                <a:gd name="connsiteX5869" fmla="*/ 818497 w 3773795"/>
                <a:gd name="connsiteY5869" fmla="*/ 594742 h 1451770"/>
                <a:gd name="connsiteX5870" fmla="*/ 824892 w 3773795"/>
                <a:gd name="connsiteY5870" fmla="*/ 596754 h 1451770"/>
                <a:gd name="connsiteX5871" fmla="*/ 829700 w 3773795"/>
                <a:gd name="connsiteY5871" fmla="*/ 597242 h 1451770"/>
                <a:gd name="connsiteX5872" fmla="*/ 836721 w 3773795"/>
                <a:gd name="connsiteY5872" fmla="*/ 593878 h 1451770"/>
                <a:gd name="connsiteX5873" fmla="*/ 852834 w 3773795"/>
                <a:gd name="connsiteY5873" fmla="*/ 584305 h 1451770"/>
                <a:gd name="connsiteX5874" fmla="*/ 854248 w 3773795"/>
                <a:gd name="connsiteY5874" fmla="*/ 586462 h 1451770"/>
                <a:gd name="connsiteX5875" fmla="*/ 856833 w 3773795"/>
                <a:gd name="connsiteY5875" fmla="*/ 583282 h 1451770"/>
                <a:gd name="connsiteX5876" fmla="*/ 869327 w 3773795"/>
                <a:gd name="connsiteY5876" fmla="*/ 579891 h 1451770"/>
                <a:gd name="connsiteX5877" fmla="*/ 872387 w 3773795"/>
                <a:gd name="connsiteY5877" fmla="*/ 579804 h 1451770"/>
                <a:gd name="connsiteX5878" fmla="*/ 872443 w 3773795"/>
                <a:gd name="connsiteY5878" fmla="*/ 581101 h 1451770"/>
                <a:gd name="connsiteX5879" fmla="*/ 873555 w 3773795"/>
                <a:gd name="connsiteY5879" fmla="*/ 584053 h 1451770"/>
                <a:gd name="connsiteX5880" fmla="*/ 875993 w 3773795"/>
                <a:gd name="connsiteY5880" fmla="*/ 585857 h 1451770"/>
                <a:gd name="connsiteX5881" fmla="*/ 879312 w 3773795"/>
                <a:gd name="connsiteY5881" fmla="*/ 590148 h 1451770"/>
                <a:gd name="connsiteX5882" fmla="*/ 877717 w 3773795"/>
                <a:gd name="connsiteY5882" fmla="*/ 591302 h 1451770"/>
                <a:gd name="connsiteX5883" fmla="*/ 876041 w 3773795"/>
                <a:gd name="connsiteY5883" fmla="*/ 591962 h 1451770"/>
                <a:gd name="connsiteX5884" fmla="*/ 873603 w 3773795"/>
                <a:gd name="connsiteY5884" fmla="*/ 594847 h 1451770"/>
                <a:gd name="connsiteX5885" fmla="*/ 873309 w 3773795"/>
                <a:gd name="connsiteY5885" fmla="*/ 601448 h 1451770"/>
                <a:gd name="connsiteX5886" fmla="*/ 877991 w 3773795"/>
                <a:gd name="connsiteY5886" fmla="*/ 603135 h 1451770"/>
                <a:gd name="connsiteX5887" fmla="*/ 884482 w 3773795"/>
                <a:gd name="connsiteY5887" fmla="*/ 605017 h 1451770"/>
                <a:gd name="connsiteX5888" fmla="*/ 887166 w 3773795"/>
                <a:gd name="connsiteY5888" fmla="*/ 604998 h 1451770"/>
                <a:gd name="connsiteX5889" fmla="*/ 889418 w 3773795"/>
                <a:gd name="connsiteY5889" fmla="*/ 603900 h 1451770"/>
                <a:gd name="connsiteX5890" fmla="*/ 890109 w 3773795"/>
                <a:gd name="connsiteY5890" fmla="*/ 603298 h 1451770"/>
                <a:gd name="connsiteX5891" fmla="*/ 890962 w 3773795"/>
                <a:gd name="connsiteY5891" fmla="*/ 602307 h 1451770"/>
                <a:gd name="connsiteX5892" fmla="*/ 891526 w 3773795"/>
                <a:gd name="connsiteY5892" fmla="*/ 600414 h 1451770"/>
                <a:gd name="connsiteX5893" fmla="*/ 891936 w 3773795"/>
                <a:gd name="connsiteY5893" fmla="*/ 598912 h 1451770"/>
                <a:gd name="connsiteX5894" fmla="*/ 890250 w 3773795"/>
                <a:gd name="connsiteY5894" fmla="*/ 595285 h 1451770"/>
                <a:gd name="connsiteX5895" fmla="*/ 890932 w 3773795"/>
                <a:gd name="connsiteY5895" fmla="*/ 591383 h 1451770"/>
                <a:gd name="connsiteX5896" fmla="*/ 896775 w 3773795"/>
                <a:gd name="connsiteY5896" fmla="*/ 591646 h 1451770"/>
                <a:gd name="connsiteX5897" fmla="*/ 904048 w 3773795"/>
                <a:gd name="connsiteY5897" fmla="*/ 590511 h 1451770"/>
                <a:gd name="connsiteX5898" fmla="*/ 907332 w 3773795"/>
                <a:gd name="connsiteY5898" fmla="*/ 588273 h 1451770"/>
                <a:gd name="connsiteX5899" fmla="*/ 911256 w 3773795"/>
                <a:gd name="connsiteY5899" fmla="*/ 584094 h 1451770"/>
                <a:gd name="connsiteX5900" fmla="*/ 913875 w 3773795"/>
                <a:gd name="connsiteY5900" fmla="*/ 580551 h 1451770"/>
                <a:gd name="connsiteX5901" fmla="*/ 912217 w 3773795"/>
                <a:gd name="connsiteY5901" fmla="*/ 574392 h 1451770"/>
                <a:gd name="connsiteX5902" fmla="*/ 907926 w 3773795"/>
                <a:gd name="connsiteY5902" fmla="*/ 575762 h 1451770"/>
                <a:gd name="connsiteX5903" fmla="*/ 900690 w 3773795"/>
                <a:gd name="connsiteY5903" fmla="*/ 562249 h 1451770"/>
                <a:gd name="connsiteX5904" fmla="*/ 897004 w 3773795"/>
                <a:gd name="connsiteY5904" fmla="*/ 557006 h 1451770"/>
                <a:gd name="connsiteX5905" fmla="*/ 899345 w 3773795"/>
                <a:gd name="connsiteY5905" fmla="*/ 554585 h 1451770"/>
                <a:gd name="connsiteX5906" fmla="*/ 905585 w 3773795"/>
                <a:gd name="connsiteY5906" fmla="*/ 553025 h 1451770"/>
                <a:gd name="connsiteX5907" fmla="*/ 911208 w 3773795"/>
                <a:gd name="connsiteY5907" fmla="*/ 547957 h 1451770"/>
                <a:gd name="connsiteX5908" fmla="*/ 913333 w 3773795"/>
                <a:gd name="connsiteY5908" fmla="*/ 546934 h 1451770"/>
                <a:gd name="connsiteX5909" fmla="*/ 915696 w 3773795"/>
                <a:gd name="connsiteY5909" fmla="*/ 546763 h 1451770"/>
                <a:gd name="connsiteX5910" fmla="*/ 932382 w 3773795"/>
                <a:gd name="connsiteY5910" fmla="*/ 550245 h 1451770"/>
                <a:gd name="connsiteX5911" fmla="*/ 951414 w 3773795"/>
                <a:gd name="connsiteY5911" fmla="*/ 551029 h 1451770"/>
                <a:gd name="connsiteX5912" fmla="*/ 967560 w 3773795"/>
                <a:gd name="connsiteY5912" fmla="*/ 553695 h 1451770"/>
                <a:gd name="connsiteX5913" fmla="*/ 985891 w 3773795"/>
                <a:gd name="connsiteY5913" fmla="*/ 559211 h 1451770"/>
                <a:gd name="connsiteX5914" fmla="*/ 994775 w 3773795"/>
                <a:gd name="connsiteY5914" fmla="*/ 563085 h 1451770"/>
                <a:gd name="connsiteX5915" fmla="*/ 1002211 w 3773795"/>
                <a:gd name="connsiteY5915" fmla="*/ 567390 h 1451770"/>
                <a:gd name="connsiteX5916" fmla="*/ 1001499 w 3773795"/>
                <a:gd name="connsiteY5916" fmla="*/ 570413 h 1451770"/>
                <a:gd name="connsiteX5917" fmla="*/ 1004490 w 3773795"/>
                <a:gd name="connsiteY5917" fmla="*/ 569556 h 1451770"/>
                <a:gd name="connsiteX5918" fmla="*/ 1011017 w 3773795"/>
                <a:gd name="connsiteY5918" fmla="*/ 572221 h 1451770"/>
                <a:gd name="connsiteX5919" fmla="*/ 1015466 w 3773795"/>
                <a:gd name="connsiteY5919" fmla="*/ 573307 h 1451770"/>
                <a:gd name="connsiteX5920" fmla="*/ 1020061 w 3773795"/>
                <a:gd name="connsiteY5920" fmla="*/ 574905 h 1451770"/>
                <a:gd name="connsiteX5921" fmla="*/ 1021762 w 3773795"/>
                <a:gd name="connsiteY5921" fmla="*/ 577053 h 1451770"/>
                <a:gd name="connsiteX5922" fmla="*/ 1027779 w 3773795"/>
                <a:gd name="connsiteY5922" fmla="*/ 578630 h 1451770"/>
                <a:gd name="connsiteX5923" fmla="*/ 1033989 w 3773795"/>
                <a:gd name="connsiteY5923" fmla="*/ 581536 h 1451770"/>
                <a:gd name="connsiteX5924" fmla="*/ 1035105 w 3773795"/>
                <a:gd name="connsiteY5924" fmla="*/ 582058 h 1451770"/>
                <a:gd name="connsiteX5925" fmla="*/ 1042631 w 3773795"/>
                <a:gd name="connsiteY5925" fmla="*/ 584219 h 1451770"/>
                <a:gd name="connsiteX5926" fmla="*/ 1048071 w 3773795"/>
                <a:gd name="connsiteY5926" fmla="*/ 584930 h 1451770"/>
                <a:gd name="connsiteX5927" fmla="*/ 1051316 w 3773795"/>
                <a:gd name="connsiteY5927" fmla="*/ 589548 h 1451770"/>
                <a:gd name="connsiteX5928" fmla="*/ 1062160 w 3773795"/>
                <a:gd name="connsiteY5928" fmla="*/ 596270 h 1451770"/>
                <a:gd name="connsiteX5929" fmla="*/ 1064175 w 3773795"/>
                <a:gd name="connsiteY5929" fmla="*/ 598790 h 1451770"/>
                <a:gd name="connsiteX5930" fmla="*/ 1073599 w 3773795"/>
                <a:gd name="connsiteY5930" fmla="*/ 603006 h 1451770"/>
                <a:gd name="connsiteX5931" fmla="*/ 1078336 w 3773795"/>
                <a:gd name="connsiteY5931" fmla="*/ 606426 h 1451770"/>
                <a:gd name="connsiteX5932" fmla="*/ 1081277 w 3773795"/>
                <a:gd name="connsiteY5932" fmla="*/ 605120 h 1451770"/>
                <a:gd name="connsiteX5933" fmla="*/ 1088470 w 3773795"/>
                <a:gd name="connsiteY5933" fmla="*/ 596726 h 1451770"/>
                <a:gd name="connsiteX5934" fmla="*/ 1092778 w 3773795"/>
                <a:gd name="connsiteY5934" fmla="*/ 587078 h 1451770"/>
                <a:gd name="connsiteX5935" fmla="*/ 1095348 w 3773795"/>
                <a:gd name="connsiteY5935" fmla="*/ 581950 h 1451770"/>
                <a:gd name="connsiteX5936" fmla="*/ 1090569 w 3773795"/>
                <a:gd name="connsiteY5936" fmla="*/ 581735 h 1451770"/>
                <a:gd name="connsiteX5937" fmla="*/ 1086998 w 3773795"/>
                <a:gd name="connsiteY5937" fmla="*/ 583237 h 1451770"/>
                <a:gd name="connsiteX5938" fmla="*/ 1084713 w 3773795"/>
                <a:gd name="connsiteY5938" fmla="*/ 582850 h 1451770"/>
                <a:gd name="connsiteX5939" fmla="*/ 1082131 w 3773795"/>
                <a:gd name="connsiteY5939" fmla="*/ 581313 h 1451770"/>
                <a:gd name="connsiteX5940" fmla="*/ 1077980 w 3773795"/>
                <a:gd name="connsiteY5940" fmla="*/ 577418 h 1451770"/>
                <a:gd name="connsiteX5941" fmla="*/ 1072724 w 3773795"/>
                <a:gd name="connsiteY5941" fmla="*/ 570864 h 1451770"/>
                <a:gd name="connsiteX5942" fmla="*/ 1071744 w 3773795"/>
                <a:gd name="connsiteY5942" fmla="*/ 563665 h 1451770"/>
                <a:gd name="connsiteX5943" fmla="*/ 1070258 w 3773795"/>
                <a:gd name="connsiteY5943" fmla="*/ 561350 h 1451770"/>
                <a:gd name="connsiteX5944" fmla="*/ 1065138 w 3773795"/>
                <a:gd name="connsiteY5944" fmla="*/ 559394 h 1451770"/>
                <a:gd name="connsiteX5945" fmla="*/ 1061817 w 3773795"/>
                <a:gd name="connsiteY5945" fmla="*/ 557261 h 1451770"/>
                <a:gd name="connsiteX5946" fmla="*/ 1049441 w 3773795"/>
                <a:gd name="connsiteY5946" fmla="*/ 552972 h 1451770"/>
                <a:gd name="connsiteX5947" fmla="*/ 1047222 w 3773795"/>
                <a:gd name="connsiteY5947" fmla="*/ 554470 h 1451770"/>
                <a:gd name="connsiteX5948" fmla="*/ 1046561 w 3773795"/>
                <a:gd name="connsiteY5948" fmla="*/ 556780 h 1451770"/>
                <a:gd name="connsiteX5949" fmla="*/ 1045732 w 3773795"/>
                <a:gd name="connsiteY5949" fmla="*/ 558461 h 1451770"/>
                <a:gd name="connsiteX5950" fmla="*/ 1044484 w 3773795"/>
                <a:gd name="connsiteY5950" fmla="*/ 556290 h 1451770"/>
                <a:gd name="connsiteX5951" fmla="*/ 1043682 w 3773795"/>
                <a:gd name="connsiteY5951" fmla="*/ 554326 h 1451770"/>
                <a:gd name="connsiteX5952" fmla="*/ 1043659 w 3773795"/>
                <a:gd name="connsiteY5952" fmla="*/ 551146 h 1451770"/>
                <a:gd name="connsiteX5953" fmla="*/ 1044306 w 3773795"/>
                <a:gd name="connsiteY5953" fmla="*/ 547128 h 1451770"/>
                <a:gd name="connsiteX5954" fmla="*/ 1046388 w 3773795"/>
                <a:gd name="connsiteY5954" fmla="*/ 540334 h 1451770"/>
                <a:gd name="connsiteX5955" fmla="*/ 1049543 w 3773795"/>
                <a:gd name="connsiteY5955" fmla="*/ 540676 h 1451770"/>
                <a:gd name="connsiteX5956" fmla="*/ 1051210 w 3773795"/>
                <a:gd name="connsiteY5956" fmla="*/ 539687 h 1451770"/>
                <a:gd name="connsiteX5957" fmla="*/ 1053307 w 3773795"/>
                <a:gd name="connsiteY5957" fmla="*/ 536620 h 1451770"/>
                <a:gd name="connsiteX5958" fmla="*/ 1052383 w 3773795"/>
                <a:gd name="connsiteY5958" fmla="*/ 534099 h 1451770"/>
                <a:gd name="connsiteX5959" fmla="*/ 1051256 w 3773795"/>
                <a:gd name="connsiteY5959" fmla="*/ 532182 h 1451770"/>
                <a:gd name="connsiteX5960" fmla="*/ 1051484 w 3773795"/>
                <a:gd name="connsiteY5960" fmla="*/ 529192 h 1451770"/>
                <a:gd name="connsiteX5961" fmla="*/ 1053475 w 3773795"/>
                <a:gd name="connsiteY5961" fmla="*/ 521020 h 1451770"/>
                <a:gd name="connsiteX5962" fmla="*/ 1054313 w 3773795"/>
                <a:gd name="connsiteY5962" fmla="*/ 511460 h 1451770"/>
                <a:gd name="connsiteX5963" fmla="*/ 1052694 w 3773795"/>
                <a:gd name="connsiteY5963" fmla="*/ 509061 h 1451770"/>
                <a:gd name="connsiteX5964" fmla="*/ 1051186 w 3773795"/>
                <a:gd name="connsiteY5964" fmla="*/ 507488 h 1451770"/>
                <a:gd name="connsiteX5965" fmla="*/ 1044091 w 3773795"/>
                <a:gd name="connsiteY5965" fmla="*/ 509104 h 1451770"/>
                <a:gd name="connsiteX5966" fmla="*/ 1041433 w 3773795"/>
                <a:gd name="connsiteY5966" fmla="*/ 508254 h 1451770"/>
                <a:gd name="connsiteX5967" fmla="*/ 1040834 w 3773795"/>
                <a:gd name="connsiteY5967" fmla="*/ 506395 h 1451770"/>
                <a:gd name="connsiteX5968" fmla="*/ 1040633 w 3773795"/>
                <a:gd name="connsiteY5968" fmla="*/ 504949 h 1451770"/>
                <a:gd name="connsiteX5969" fmla="*/ 1042683 w 3773795"/>
                <a:gd name="connsiteY5969" fmla="*/ 502458 h 1451770"/>
                <a:gd name="connsiteX5970" fmla="*/ 1044635 w 3773795"/>
                <a:gd name="connsiteY5970" fmla="*/ 498364 h 1451770"/>
                <a:gd name="connsiteX5971" fmla="*/ 1041219 w 3773795"/>
                <a:gd name="connsiteY5971" fmla="*/ 499254 h 1451770"/>
                <a:gd name="connsiteX5972" fmla="*/ 1040048 w 3773795"/>
                <a:gd name="connsiteY5972" fmla="*/ 497649 h 1451770"/>
                <a:gd name="connsiteX5973" fmla="*/ 1042888 w 3773795"/>
                <a:gd name="connsiteY5973" fmla="*/ 495281 h 1451770"/>
                <a:gd name="connsiteX5974" fmla="*/ 1046194 w 3773795"/>
                <a:gd name="connsiteY5974" fmla="*/ 489501 h 1451770"/>
                <a:gd name="connsiteX5975" fmla="*/ 1054080 w 3773795"/>
                <a:gd name="connsiteY5975" fmla="*/ 486839 h 1451770"/>
                <a:gd name="connsiteX5976" fmla="*/ 1059997 w 3773795"/>
                <a:gd name="connsiteY5976" fmla="*/ 484227 h 1451770"/>
                <a:gd name="connsiteX5977" fmla="*/ 1069230 w 3773795"/>
                <a:gd name="connsiteY5977" fmla="*/ 478663 h 1451770"/>
                <a:gd name="connsiteX5978" fmla="*/ 1076082 w 3773795"/>
                <a:gd name="connsiteY5978" fmla="*/ 473162 h 1451770"/>
                <a:gd name="connsiteX5979" fmla="*/ 1080509 w 3773795"/>
                <a:gd name="connsiteY5979" fmla="*/ 466189 h 1451770"/>
                <a:gd name="connsiteX5980" fmla="*/ 1083560 w 3773795"/>
                <a:gd name="connsiteY5980" fmla="*/ 459592 h 1451770"/>
                <a:gd name="connsiteX5981" fmla="*/ 1088475 w 3773795"/>
                <a:gd name="connsiteY5981" fmla="*/ 443889 h 1451770"/>
                <a:gd name="connsiteX5982" fmla="*/ 1093104 w 3773795"/>
                <a:gd name="connsiteY5982" fmla="*/ 432265 h 1451770"/>
                <a:gd name="connsiteX5983" fmla="*/ 1100895 w 3773795"/>
                <a:gd name="connsiteY5983" fmla="*/ 420264 h 1451770"/>
                <a:gd name="connsiteX5984" fmla="*/ 1105769 w 3773795"/>
                <a:gd name="connsiteY5984" fmla="*/ 419150 h 1451770"/>
                <a:gd name="connsiteX5985" fmla="*/ 1107594 w 3773795"/>
                <a:gd name="connsiteY5985" fmla="*/ 419336 h 1451770"/>
                <a:gd name="connsiteX5986" fmla="*/ 1107918 w 3773795"/>
                <a:gd name="connsiteY5986" fmla="*/ 420227 h 1451770"/>
                <a:gd name="connsiteX5987" fmla="*/ 1106808 w 3773795"/>
                <a:gd name="connsiteY5987" fmla="*/ 421262 h 1451770"/>
                <a:gd name="connsiteX5988" fmla="*/ 1106505 w 3773795"/>
                <a:gd name="connsiteY5988" fmla="*/ 422706 h 1451770"/>
                <a:gd name="connsiteX5989" fmla="*/ 1108566 w 3773795"/>
                <a:gd name="connsiteY5989" fmla="*/ 423236 h 1451770"/>
                <a:gd name="connsiteX5990" fmla="*/ 1111865 w 3773795"/>
                <a:gd name="connsiteY5990" fmla="*/ 423337 h 1451770"/>
                <a:gd name="connsiteX5991" fmla="*/ 1118160 w 3773795"/>
                <a:gd name="connsiteY5991" fmla="*/ 422554 h 1451770"/>
                <a:gd name="connsiteX5992" fmla="*/ 1128844 w 3773795"/>
                <a:gd name="connsiteY5992" fmla="*/ 423008 h 1451770"/>
                <a:gd name="connsiteX5993" fmla="*/ 1147525 w 3773795"/>
                <a:gd name="connsiteY5993" fmla="*/ 422028 h 1451770"/>
                <a:gd name="connsiteX5994" fmla="*/ 1150108 w 3773795"/>
                <a:gd name="connsiteY5994" fmla="*/ 422515 h 1451770"/>
                <a:gd name="connsiteX5995" fmla="*/ 1157020 w 3773795"/>
                <a:gd name="connsiteY5995" fmla="*/ 425982 h 1451770"/>
                <a:gd name="connsiteX5996" fmla="*/ 1160810 w 3773795"/>
                <a:gd name="connsiteY5996" fmla="*/ 425590 h 1451770"/>
                <a:gd name="connsiteX5997" fmla="*/ 1168448 w 3773795"/>
                <a:gd name="connsiteY5997" fmla="*/ 427215 h 1451770"/>
                <a:gd name="connsiteX5998" fmla="*/ 1172591 w 3773795"/>
                <a:gd name="connsiteY5998" fmla="*/ 429140 h 1451770"/>
                <a:gd name="connsiteX5999" fmla="*/ 1176534 w 3773795"/>
                <a:gd name="connsiteY5999" fmla="*/ 431365 h 1451770"/>
                <a:gd name="connsiteX6000" fmla="*/ 1175988 w 3773795"/>
                <a:gd name="connsiteY6000" fmla="*/ 440081 h 1451770"/>
                <a:gd name="connsiteX6001" fmla="*/ 1175226 w 3773795"/>
                <a:gd name="connsiteY6001" fmla="*/ 445902 h 1451770"/>
                <a:gd name="connsiteX6002" fmla="*/ 1172384 w 3773795"/>
                <a:gd name="connsiteY6002" fmla="*/ 456836 h 1451770"/>
                <a:gd name="connsiteX6003" fmla="*/ 1171272 w 3773795"/>
                <a:gd name="connsiteY6003" fmla="*/ 459600 h 1451770"/>
                <a:gd name="connsiteX6004" fmla="*/ 1166869 w 3773795"/>
                <a:gd name="connsiteY6004" fmla="*/ 467464 h 1451770"/>
                <a:gd name="connsiteX6005" fmla="*/ 1164757 w 3773795"/>
                <a:gd name="connsiteY6005" fmla="*/ 472641 h 1451770"/>
                <a:gd name="connsiteX6006" fmla="*/ 1161445 w 3773795"/>
                <a:gd name="connsiteY6006" fmla="*/ 476177 h 1451770"/>
                <a:gd name="connsiteX6007" fmla="*/ 1156631 w 3773795"/>
                <a:gd name="connsiteY6007" fmla="*/ 478680 h 1451770"/>
                <a:gd name="connsiteX6008" fmla="*/ 1156020 w 3773795"/>
                <a:gd name="connsiteY6008" fmla="*/ 480174 h 1451770"/>
                <a:gd name="connsiteX6009" fmla="*/ 1155642 w 3773795"/>
                <a:gd name="connsiteY6009" fmla="*/ 482378 h 1451770"/>
                <a:gd name="connsiteX6010" fmla="*/ 1160330 w 3773795"/>
                <a:gd name="connsiteY6010" fmla="*/ 488513 h 1451770"/>
                <a:gd name="connsiteX6011" fmla="*/ 1171432 w 3773795"/>
                <a:gd name="connsiteY6011" fmla="*/ 494826 h 1451770"/>
                <a:gd name="connsiteX6012" fmla="*/ 1174155 w 3773795"/>
                <a:gd name="connsiteY6012" fmla="*/ 502423 h 1451770"/>
                <a:gd name="connsiteX6013" fmla="*/ 1174755 w 3773795"/>
                <a:gd name="connsiteY6013" fmla="*/ 508079 h 1451770"/>
                <a:gd name="connsiteX6014" fmla="*/ 1174055 w 3773795"/>
                <a:gd name="connsiteY6014" fmla="*/ 522728 h 1451770"/>
                <a:gd name="connsiteX6015" fmla="*/ 1173023 w 3773795"/>
                <a:gd name="connsiteY6015" fmla="*/ 524879 h 1451770"/>
                <a:gd name="connsiteX6016" fmla="*/ 1171002 w 3773795"/>
                <a:gd name="connsiteY6016" fmla="*/ 527185 h 1451770"/>
                <a:gd name="connsiteX6017" fmla="*/ 1168957 w 3773795"/>
                <a:gd name="connsiteY6017" fmla="*/ 529995 h 1451770"/>
                <a:gd name="connsiteX6018" fmla="*/ 1170289 w 3773795"/>
                <a:gd name="connsiteY6018" fmla="*/ 534064 h 1451770"/>
                <a:gd name="connsiteX6019" fmla="*/ 1171831 w 3773795"/>
                <a:gd name="connsiteY6019" fmla="*/ 549058 h 1451770"/>
                <a:gd name="connsiteX6020" fmla="*/ 1172190 w 3773795"/>
                <a:gd name="connsiteY6020" fmla="*/ 561193 h 1451770"/>
                <a:gd name="connsiteX6021" fmla="*/ 1170901 w 3773795"/>
                <a:gd name="connsiteY6021" fmla="*/ 565321 h 1451770"/>
                <a:gd name="connsiteX6022" fmla="*/ 1170231 w 3773795"/>
                <a:gd name="connsiteY6022" fmla="*/ 574053 h 1451770"/>
                <a:gd name="connsiteX6023" fmla="*/ 1170238 w 3773795"/>
                <a:gd name="connsiteY6023" fmla="*/ 576916 h 1451770"/>
                <a:gd name="connsiteX6024" fmla="*/ 1171330 w 3773795"/>
                <a:gd name="connsiteY6024" fmla="*/ 581251 h 1451770"/>
                <a:gd name="connsiteX6025" fmla="*/ 1173576 w 3773795"/>
                <a:gd name="connsiteY6025" fmla="*/ 584881 h 1451770"/>
                <a:gd name="connsiteX6026" fmla="*/ 1176530 w 3773795"/>
                <a:gd name="connsiteY6026" fmla="*/ 587184 h 1451770"/>
                <a:gd name="connsiteX6027" fmla="*/ 1184906 w 3773795"/>
                <a:gd name="connsiteY6027" fmla="*/ 591366 h 1451770"/>
                <a:gd name="connsiteX6028" fmla="*/ 1192807 w 3773795"/>
                <a:gd name="connsiteY6028" fmla="*/ 596454 h 1451770"/>
                <a:gd name="connsiteX6029" fmla="*/ 1193369 w 3773795"/>
                <a:gd name="connsiteY6029" fmla="*/ 598063 h 1451770"/>
                <a:gd name="connsiteX6030" fmla="*/ 1193773 w 3773795"/>
                <a:gd name="connsiteY6030" fmla="*/ 600009 h 1451770"/>
                <a:gd name="connsiteX6031" fmla="*/ 1190977 w 3773795"/>
                <a:gd name="connsiteY6031" fmla="*/ 601969 h 1451770"/>
                <a:gd name="connsiteX6032" fmla="*/ 1186580 w 3773795"/>
                <a:gd name="connsiteY6032" fmla="*/ 607182 h 1451770"/>
                <a:gd name="connsiteX6033" fmla="*/ 1183773 w 3773795"/>
                <a:gd name="connsiteY6033" fmla="*/ 611499 h 1451770"/>
                <a:gd name="connsiteX6034" fmla="*/ 1183550 w 3773795"/>
                <a:gd name="connsiteY6034" fmla="*/ 614944 h 1451770"/>
                <a:gd name="connsiteX6035" fmla="*/ 1184516 w 3773795"/>
                <a:gd name="connsiteY6035" fmla="*/ 619424 h 1451770"/>
                <a:gd name="connsiteX6036" fmla="*/ 1184053 w 3773795"/>
                <a:gd name="connsiteY6036" fmla="*/ 623520 h 1451770"/>
                <a:gd name="connsiteX6037" fmla="*/ 1182166 w 3773795"/>
                <a:gd name="connsiteY6037" fmla="*/ 627233 h 1451770"/>
                <a:gd name="connsiteX6038" fmla="*/ 1179555 w 3773795"/>
                <a:gd name="connsiteY6038" fmla="*/ 629905 h 1451770"/>
                <a:gd name="connsiteX6039" fmla="*/ 1171719 w 3773795"/>
                <a:gd name="connsiteY6039" fmla="*/ 634027 h 1451770"/>
                <a:gd name="connsiteX6040" fmla="*/ 1155204 w 3773795"/>
                <a:gd name="connsiteY6040" fmla="*/ 655737 h 1451770"/>
                <a:gd name="connsiteX6041" fmla="*/ 1151239 w 3773795"/>
                <a:gd name="connsiteY6041" fmla="*/ 658267 h 1451770"/>
                <a:gd name="connsiteX6042" fmla="*/ 1144541 w 3773795"/>
                <a:gd name="connsiteY6042" fmla="*/ 657454 h 1451770"/>
                <a:gd name="connsiteX6043" fmla="*/ 1146392 w 3773795"/>
                <a:gd name="connsiteY6043" fmla="*/ 660527 h 1451770"/>
                <a:gd name="connsiteX6044" fmla="*/ 1148652 w 3773795"/>
                <a:gd name="connsiteY6044" fmla="*/ 664927 h 1451770"/>
                <a:gd name="connsiteX6045" fmla="*/ 1148395 w 3773795"/>
                <a:gd name="connsiteY6045" fmla="*/ 667794 h 1451770"/>
                <a:gd name="connsiteX6046" fmla="*/ 1144027 w 3773795"/>
                <a:gd name="connsiteY6046" fmla="*/ 667660 h 1451770"/>
                <a:gd name="connsiteX6047" fmla="*/ 1137916 w 3773795"/>
                <a:gd name="connsiteY6047" fmla="*/ 670704 h 1451770"/>
                <a:gd name="connsiteX6048" fmla="*/ 1135126 w 3773795"/>
                <a:gd name="connsiteY6048" fmla="*/ 672787 h 1451770"/>
                <a:gd name="connsiteX6049" fmla="*/ 1130382 w 3773795"/>
                <a:gd name="connsiteY6049" fmla="*/ 673847 h 1451770"/>
                <a:gd name="connsiteX6050" fmla="*/ 1126767 w 3773795"/>
                <a:gd name="connsiteY6050" fmla="*/ 672767 h 1451770"/>
                <a:gd name="connsiteX6051" fmla="*/ 1122818 w 3773795"/>
                <a:gd name="connsiteY6051" fmla="*/ 670778 h 1451770"/>
                <a:gd name="connsiteX6052" fmla="*/ 1123394 w 3773795"/>
                <a:gd name="connsiteY6052" fmla="*/ 669109 h 1451770"/>
                <a:gd name="connsiteX6053" fmla="*/ 1124139 w 3773795"/>
                <a:gd name="connsiteY6053" fmla="*/ 668344 h 1451770"/>
                <a:gd name="connsiteX6054" fmla="*/ 1126912 w 3773795"/>
                <a:gd name="connsiteY6054" fmla="*/ 667135 h 1451770"/>
                <a:gd name="connsiteX6055" fmla="*/ 1129626 w 3773795"/>
                <a:gd name="connsiteY6055" fmla="*/ 665488 h 1451770"/>
                <a:gd name="connsiteX6056" fmla="*/ 1128300 w 3773795"/>
                <a:gd name="connsiteY6056" fmla="*/ 665159 h 1451770"/>
                <a:gd name="connsiteX6057" fmla="*/ 1127158 w 3773795"/>
                <a:gd name="connsiteY6057" fmla="*/ 665175 h 1451770"/>
                <a:gd name="connsiteX6058" fmla="*/ 1124169 w 3773795"/>
                <a:gd name="connsiteY6058" fmla="*/ 667268 h 1451770"/>
                <a:gd name="connsiteX6059" fmla="*/ 1120619 w 3773795"/>
                <a:gd name="connsiteY6059" fmla="*/ 667695 h 1451770"/>
                <a:gd name="connsiteX6060" fmla="*/ 1116426 w 3773795"/>
                <a:gd name="connsiteY6060" fmla="*/ 665153 h 1451770"/>
                <a:gd name="connsiteX6061" fmla="*/ 1113217 w 3773795"/>
                <a:gd name="connsiteY6061" fmla="*/ 662346 h 1451770"/>
                <a:gd name="connsiteX6062" fmla="*/ 1111636 w 3773795"/>
                <a:gd name="connsiteY6062" fmla="*/ 661771 h 1451770"/>
                <a:gd name="connsiteX6063" fmla="*/ 1108613 w 3773795"/>
                <a:gd name="connsiteY6063" fmla="*/ 662917 h 1451770"/>
                <a:gd name="connsiteX6064" fmla="*/ 1097056 w 3773795"/>
                <a:gd name="connsiteY6064" fmla="*/ 662397 h 1451770"/>
                <a:gd name="connsiteX6065" fmla="*/ 1093981 w 3773795"/>
                <a:gd name="connsiteY6065" fmla="*/ 662869 h 1451770"/>
                <a:gd name="connsiteX6066" fmla="*/ 1092538 w 3773795"/>
                <a:gd name="connsiteY6066" fmla="*/ 663893 h 1451770"/>
                <a:gd name="connsiteX6067" fmla="*/ 1093372 w 3773795"/>
                <a:gd name="connsiteY6067" fmla="*/ 664708 h 1451770"/>
                <a:gd name="connsiteX6068" fmla="*/ 1094255 w 3773795"/>
                <a:gd name="connsiteY6068" fmla="*/ 666294 h 1451770"/>
                <a:gd name="connsiteX6069" fmla="*/ 1095423 w 3773795"/>
                <a:gd name="connsiteY6069" fmla="*/ 669363 h 1451770"/>
                <a:gd name="connsiteX6070" fmla="*/ 1096538 w 3773795"/>
                <a:gd name="connsiteY6070" fmla="*/ 671659 h 1451770"/>
                <a:gd name="connsiteX6071" fmla="*/ 1101351 w 3773795"/>
                <a:gd name="connsiteY6071" fmla="*/ 674168 h 1451770"/>
                <a:gd name="connsiteX6072" fmla="*/ 1107741 w 3773795"/>
                <a:gd name="connsiteY6072" fmla="*/ 675134 h 1451770"/>
                <a:gd name="connsiteX6073" fmla="*/ 1113964 w 3773795"/>
                <a:gd name="connsiteY6073" fmla="*/ 678201 h 1451770"/>
                <a:gd name="connsiteX6074" fmla="*/ 1121859 w 3773795"/>
                <a:gd name="connsiteY6074" fmla="*/ 680374 h 1451770"/>
                <a:gd name="connsiteX6075" fmla="*/ 1139682 w 3773795"/>
                <a:gd name="connsiteY6075" fmla="*/ 679481 h 1451770"/>
                <a:gd name="connsiteX6076" fmla="*/ 1144381 w 3773795"/>
                <a:gd name="connsiteY6076" fmla="*/ 679747 h 1451770"/>
                <a:gd name="connsiteX6077" fmla="*/ 1148972 w 3773795"/>
                <a:gd name="connsiteY6077" fmla="*/ 680693 h 1451770"/>
                <a:gd name="connsiteX6078" fmla="*/ 1156741 w 3773795"/>
                <a:gd name="connsiteY6078" fmla="*/ 683892 h 1451770"/>
                <a:gd name="connsiteX6079" fmla="*/ 1160071 w 3773795"/>
                <a:gd name="connsiteY6079" fmla="*/ 683650 h 1451770"/>
                <a:gd name="connsiteX6080" fmla="*/ 1165688 w 3773795"/>
                <a:gd name="connsiteY6080" fmla="*/ 680752 h 1451770"/>
                <a:gd name="connsiteX6081" fmla="*/ 1167068 w 3773795"/>
                <a:gd name="connsiteY6081" fmla="*/ 674323 h 1451770"/>
                <a:gd name="connsiteX6082" fmla="*/ 1167806 w 3773795"/>
                <a:gd name="connsiteY6082" fmla="*/ 672319 h 1451770"/>
                <a:gd name="connsiteX6083" fmla="*/ 1188243 w 3773795"/>
                <a:gd name="connsiteY6083" fmla="*/ 663206 h 1451770"/>
                <a:gd name="connsiteX6084" fmla="*/ 1192045 w 3773795"/>
                <a:gd name="connsiteY6084" fmla="*/ 661191 h 1451770"/>
                <a:gd name="connsiteX6085" fmla="*/ 1198204 w 3773795"/>
                <a:gd name="connsiteY6085" fmla="*/ 656196 h 1451770"/>
                <a:gd name="connsiteX6086" fmla="*/ 1200221 w 3773795"/>
                <a:gd name="connsiteY6086" fmla="*/ 652853 h 1451770"/>
                <a:gd name="connsiteX6087" fmla="*/ 1202497 w 3773795"/>
                <a:gd name="connsiteY6087" fmla="*/ 643773 h 1451770"/>
                <a:gd name="connsiteX6088" fmla="*/ 1204449 w 3773795"/>
                <a:gd name="connsiteY6088" fmla="*/ 640530 h 1451770"/>
                <a:gd name="connsiteX6089" fmla="*/ 1217751 w 3773795"/>
                <a:gd name="connsiteY6089" fmla="*/ 629966 h 1451770"/>
                <a:gd name="connsiteX6090" fmla="*/ 1219817 w 3773795"/>
                <a:gd name="connsiteY6090" fmla="*/ 627255 h 1451770"/>
                <a:gd name="connsiteX6091" fmla="*/ 1220210 w 3773795"/>
                <a:gd name="connsiteY6091" fmla="*/ 622290 h 1451770"/>
                <a:gd name="connsiteX6092" fmla="*/ 1220009 w 3773795"/>
                <a:gd name="connsiteY6092" fmla="*/ 618934 h 1451770"/>
                <a:gd name="connsiteX6093" fmla="*/ 1219223 w 3773795"/>
                <a:gd name="connsiteY6093" fmla="*/ 615605 h 1451770"/>
                <a:gd name="connsiteX6094" fmla="*/ 1216785 w 3773795"/>
                <a:gd name="connsiteY6094" fmla="*/ 610090 h 1451770"/>
                <a:gd name="connsiteX6095" fmla="*/ 1214105 w 3773795"/>
                <a:gd name="connsiteY6095" fmla="*/ 606853 h 1451770"/>
                <a:gd name="connsiteX6096" fmla="*/ 1211456 w 3773795"/>
                <a:gd name="connsiteY6096" fmla="*/ 602357 h 1451770"/>
                <a:gd name="connsiteX6097" fmla="*/ 1213436 w 3773795"/>
                <a:gd name="connsiteY6097" fmla="*/ 593210 h 1451770"/>
                <a:gd name="connsiteX6098" fmla="*/ 1215617 w 3773795"/>
                <a:gd name="connsiteY6098" fmla="*/ 589653 h 1451770"/>
                <a:gd name="connsiteX6099" fmla="*/ 1227669 w 3773795"/>
                <a:gd name="connsiteY6099" fmla="*/ 585389 h 1451770"/>
                <a:gd name="connsiteX6100" fmla="*/ 1237950 w 3773795"/>
                <a:gd name="connsiteY6100" fmla="*/ 583864 h 1451770"/>
                <a:gd name="connsiteX6101" fmla="*/ 1249403 w 3773795"/>
                <a:gd name="connsiteY6101" fmla="*/ 580979 h 1451770"/>
                <a:gd name="connsiteX6102" fmla="*/ 1254013 w 3773795"/>
                <a:gd name="connsiteY6102" fmla="*/ 580368 h 1451770"/>
                <a:gd name="connsiteX6103" fmla="*/ 1257179 w 3773795"/>
                <a:gd name="connsiteY6103" fmla="*/ 580880 h 1451770"/>
                <a:gd name="connsiteX6104" fmla="*/ 1260420 w 3773795"/>
                <a:gd name="connsiteY6104" fmla="*/ 584002 h 1451770"/>
                <a:gd name="connsiteX6105" fmla="*/ 1263279 w 3773795"/>
                <a:gd name="connsiteY6105" fmla="*/ 588663 h 1451770"/>
                <a:gd name="connsiteX6106" fmla="*/ 1271608 w 3773795"/>
                <a:gd name="connsiteY6106" fmla="*/ 595621 h 1451770"/>
                <a:gd name="connsiteX6107" fmla="*/ 1274411 w 3773795"/>
                <a:gd name="connsiteY6107" fmla="*/ 600481 h 1451770"/>
                <a:gd name="connsiteX6108" fmla="*/ 1274909 w 3773795"/>
                <a:gd name="connsiteY6108" fmla="*/ 606376 h 1451770"/>
                <a:gd name="connsiteX6109" fmla="*/ 1274631 w 3773795"/>
                <a:gd name="connsiteY6109" fmla="*/ 620639 h 1451770"/>
                <a:gd name="connsiteX6110" fmla="*/ 1272994 w 3773795"/>
                <a:gd name="connsiteY6110" fmla="*/ 626795 h 1451770"/>
                <a:gd name="connsiteX6111" fmla="*/ 1276326 w 3773795"/>
                <a:gd name="connsiteY6111" fmla="*/ 628416 h 1451770"/>
                <a:gd name="connsiteX6112" fmla="*/ 1277885 w 3773795"/>
                <a:gd name="connsiteY6112" fmla="*/ 629812 h 1451770"/>
                <a:gd name="connsiteX6113" fmla="*/ 1281945 w 3773795"/>
                <a:gd name="connsiteY6113" fmla="*/ 631878 h 1451770"/>
                <a:gd name="connsiteX6114" fmla="*/ 1284065 w 3773795"/>
                <a:gd name="connsiteY6114" fmla="*/ 633927 h 1451770"/>
                <a:gd name="connsiteX6115" fmla="*/ 1286199 w 3773795"/>
                <a:gd name="connsiteY6115" fmla="*/ 634656 h 1451770"/>
                <a:gd name="connsiteX6116" fmla="*/ 1290930 w 3773795"/>
                <a:gd name="connsiteY6116" fmla="*/ 635073 h 1451770"/>
                <a:gd name="connsiteX6117" fmla="*/ 1304286 w 3773795"/>
                <a:gd name="connsiteY6117" fmla="*/ 634347 h 1451770"/>
                <a:gd name="connsiteX6118" fmla="*/ 1311647 w 3773795"/>
                <a:gd name="connsiteY6118" fmla="*/ 633946 h 1451770"/>
                <a:gd name="connsiteX6119" fmla="*/ 1310876 w 3773795"/>
                <a:gd name="connsiteY6119" fmla="*/ 633040 h 1451770"/>
                <a:gd name="connsiteX6120" fmla="*/ 1309803 w 3773795"/>
                <a:gd name="connsiteY6120" fmla="*/ 632359 h 1451770"/>
                <a:gd name="connsiteX6121" fmla="*/ 1303612 w 3773795"/>
                <a:gd name="connsiteY6121" fmla="*/ 632061 h 1451770"/>
                <a:gd name="connsiteX6122" fmla="*/ 1294815 w 3773795"/>
                <a:gd name="connsiteY6122" fmla="*/ 630579 h 1451770"/>
                <a:gd name="connsiteX6123" fmla="*/ 1282145 w 3773795"/>
                <a:gd name="connsiteY6123" fmla="*/ 627802 h 1451770"/>
                <a:gd name="connsiteX6124" fmla="*/ 1280639 w 3773795"/>
                <a:gd name="connsiteY6124" fmla="*/ 621830 h 1451770"/>
                <a:gd name="connsiteX6125" fmla="*/ 1280988 w 3773795"/>
                <a:gd name="connsiteY6125" fmla="*/ 618109 h 1451770"/>
                <a:gd name="connsiteX6126" fmla="*/ 1283838 w 3773795"/>
                <a:gd name="connsiteY6126" fmla="*/ 611155 h 1451770"/>
                <a:gd name="connsiteX6127" fmla="*/ 1285873 w 3773795"/>
                <a:gd name="connsiteY6127" fmla="*/ 609935 h 1451770"/>
                <a:gd name="connsiteX6128" fmla="*/ 1288337 w 3773795"/>
                <a:gd name="connsiteY6128" fmla="*/ 609464 h 1451770"/>
                <a:gd name="connsiteX6129" fmla="*/ 1291142 w 3773795"/>
                <a:gd name="connsiteY6129" fmla="*/ 608519 h 1451770"/>
                <a:gd name="connsiteX6130" fmla="*/ 1290336 w 3773795"/>
                <a:gd name="connsiteY6130" fmla="*/ 604025 h 1451770"/>
                <a:gd name="connsiteX6131" fmla="*/ 1289190 w 3773795"/>
                <a:gd name="connsiteY6131" fmla="*/ 599994 h 1451770"/>
                <a:gd name="connsiteX6132" fmla="*/ 1286501 w 3773795"/>
                <a:gd name="connsiteY6132" fmla="*/ 594303 h 1451770"/>
                <a:gd name="connsiteX6133" fmla="*/ 1283526 w 3773795"/>
                <a:gd name="connsiteY6133" fmla="*/ 583792 h 1451770"/>
                <a:gd name="connsiteX6134" fmla="*/ 1279449 w 3773795"/>
                <a:gd name="connsiteY6134" fmla="*/ 583711 h 1451770"/>
                <a:gd name="connsiteX6135" fmla="*/ 1276397 w 3773795"/>
                <a:gd name="connsiteY6135" fmla="*/ 581640 h 1451770"/>
                <a:gd name="connsiteX6136" fmla="*/ 1261286 w 3773795"/>
                <a:gd name="connsiteY6136" fmla="*/ 575485 h 1451770"/>
                <a:gd name="connsiteX6137" fmla="*/ 1247047 w 3773795"/>
                <a:gd name="connsiteY6137" fmla="*/ 570910 h 1451770"/>
                <a:gd name="connsiteX6138" fmla="*/ 1237321 w 3773795"/>
                <a:gd name="connsiteY6138" fmla="*/ 570257 h 1451770"/>
                <a:gd name="connsiteX6139" fmla="*/ 1234201 w 3773795"/>
                <a:gd name="connsiteY6139" fmla="*/ 570771 h 1451770"/>
                <a:gd name="connsiteX6140" fmla="*/ 1226097 w 3773795"/>
                <a:gd name="connsiteY6140" fmla="*/ 575527 h 1451770"/>
                <a:gd name="connsiteX6141" fmla="*/ 1220819 w 3773795"/>
                <a:gd name="connsiteY6141" fmla="*/ 576526 h 1451770"/>
                <a:gd name="connsiteX6142" fmla="*/ 1210819 w 3773795"/>
                <a:gd name="connsiteY6142" fmla="*/ 574429 h 1451770"/>
                <a:gd name="connsiteX6143" fmla="*/ 1202302 w 3773795"/>
                <a:gd name="connsiteY6143" fmla="*/ 575591 h 1451770"/>
                <a:gd name="connsiteX6144" fmla="*/ 1199176 w 3773795"/>
                <a:gd name="connsiteY6144" fmla="*/ 574482 h 1451770"/>
                <a:gd name="connsiteX6145" fmla="*/ 1197841 w 3773795"/>
                <a:gd name="connsiteY6145" fmla="*/ 572342 h 1451770"/>
                <a:gd name="connsiteX6146" fmla="*/ 1200389 w 3773795"/>
                <a:gd name="connsiteY6146" fmla="*/ 563776 h 1451770"/>
                <a:gd name="connsiteX6147" fmla="*/ 1199102 w 3773795"/>
                <a:gd name="connsiteY6147" fmla="*/ 560415 h 1451770"/>
                <a:gd name="connsiteX6148" fmla="*/ 1195356 w 3773795"/>
                <a:gd name="connsiteY6148" fmla="*/ 555980 h 1451770"/>
                <a:gd name="connsiteX6149" fmla="*/ 1193075 w 3773795"/>
                <a:gd name="connsiteY6149" fmla="*/ 552440 h 1451770"/>
                <a:gd name="connsiteX6150" fmla="*/ 1193473 w 3773795"/>
                <a:gd name="connsiteY6150" fmla="*/ 548673 h 1451770"/>
                <a:gd name="connsiteX6151" fmla="*/ 1199046 w 3773795"/>
                <a:gd name="connsiteY6151" fmla="*/ 533938 h 1451770"/>
                <a:gd name="connsiteX6152" fmla="*/ 1201417 w 3773795"/>
                <a:gd name="connsiteY6152" fmla="*/ 530078 h 1451770"/>
                <a:gd name="connsiteX6153" fmla="*/ 1207372 w 3773795"/>
                <a:gd name="connsiteY6153" fmla="*/ 523202 h 1451770"/>
                <a:gd name="connsiteX6154" fmla="*/ 1210394 w 3773795"/>
                <a:gd name="connsiteY6154" fmla="*/ 517876 h 1451770"/>
                <a:gd name="connsiteX6155" fmla="*/ 1209677 w 3773795"/>
                <a:gd name="connsiteY6155" fmla="*/ 514876 h 1451770"/>
                <a:gd name="connsiteX6156" fmla="*/ 1196865 w 3773795"/>
                <a:gd name="connsiteY6156" fmla="*/ 498162 h 1451770"/>
                <a:gd name="connsiteX6157" fmla="*/ 1193438 w 3773795"/>
                <a:gd name="connsiteY6157" fmla="*/ 492175 h 1451770"/>
                <a:gd name="connsiteX6158" fmla="*/ 1191905 w 3773795"/>
                <a:gd name="connsiteY6158" fmla="*/ 490267 h 1451770"/>
                <a:gd name="connsiteX6159" fmla="*/ 1188765 w 3773795"/>
                <a:gd name="connsiteY6159" fmla="*/ 487981 h 1451770"/>
                <a:gd name="connsiteX6160" fmla="*/ 1184017 w 3773795"/>
                <a:gd name="connsiteY6160" fmla="*/ 485319 h 1451770"/>
                <a:gd name="connsiteX6161" fmla="*/ 1182596 w 3773795"/>
                <a:gd name="connsiteY6161" fmla="*/ 482886 h 1451770"/>
                <a:gd name="connsiteX6162" fmla="*/ 1195543 w 3773795"/>
                <a:gd name="connsiteY6162" fmla="*/ 466500 h 1451770"/>
                <a:gd name="connsiteX6163" fmla="*/ 1201462 w 3773795"/>
                <a:gd name="connsiteY6163" fmla="*/ 463632 h 1451770"/>
                <a:gd name="connsiteX6164" fmla="*/ 1209683 w 3773795"/>
                <a:gd name="connsiteY6164" fmla="*/ 461858 h 1451770"/>
                <a:gd name="connsiteX6165" fmla="*/ 1213615 w 3773795"/>
                <a:gd name="connsiteY6165" fmla="*/ 460240 h 1451770"/>
                <a:gd name="connsiteX6166" fmla="*/ 1220582 w 3773795"/>
                <a:gd name="connsiteY6166" fmla="*/ 456921 h 1451770"/>
                <a:gd name="connsiteX6167" fmla="*/ 1224740 w 3773795"/>
                <a:gd name="connsiteY6167" fmla="*/ 454132 h 1451770"/>
                <a:gd name="connsiteX6168" fmla="*/ 1226090 w 3773795"/>
                <a:gd name="connsiteY6168" fmla="*/ 451878 h 1451770"/>
                <a:gd name="connsiteX6169" fmla="*/ 1226902 w 3773795"/>
                <a:gd name="connsiteY6169" fmla="*/ 449227 h 1451770"/>
                <a:gd name="connsiteX6170" fmla="*/ 1227060 w 3773795"/>
                <a:gd name="connsiteY6170" fmla="*/ 442677 h 1451770"/>
                <a:gd name="connsiteX6171" fmla="*/ 1226248 w 3773795"/>
                <a:gd name="connsiteY6171" fmla="*/ 437333 h 1451770"/>
                <a:gd name="connsiteX6172" fmla="*/ 1225090 w 3773795"/>
                <a:gd name="connsiteY6172" fmla="*/ 434379 h 1451770"/>
                <a:gd name="connsiteX6173" fmla="*/ 1222633 w 3773795"/>
                <a:gd name="connsiteY6173" fmla="*/ 430582 h 1451770"/>
                <a:gd name="connsiteX6174" fmla="*/ 1220200 w 3773795"/>
                <a:gd name="connsiteY6174" fmla="*/ 426311 h 1451770"/>
                <a:gd name="connsiteX6175" fmla="*/ 1221927 w 3773795"/>
                <a:gd name="connsiteY6175" fmla="*/ 425194 h 1451770"/>
                <a:gd name="connsiteX6176" fmla="*/ 1223635 w 3773795"/>
                <a:gd name="connsiteY6176" fmla="*/ 424548 h 1451770"/>
                <a:gd name="connsiteX6177" fmla="*/ 1228284 w 3773795"/>
                <a:gd name="connsiteY6177" fmla="*/ 424592 h 1451770"/>
                <a:gd name="connsiteX6178" fmla="*/ 1233080 w 3773795"/>
                <a:gd name="connsiteY6178" fmla="*/ 426951 h 1451770"/>
                <a:gd name="connsiteX6179" fmla="*/ 1235415 w 3773795"/>
                <a:gd name="connsiteY6179" fmla="*/ 431633 h 1451770"/>
                <a:gd name="connsiteX6180" fmla="*/ 1238258 w 3773795"/>
                <a:gd name="connsiteY6180" fmla="*/ 435984 h 1451770"/>
                <a:gd name="connsiteX6181" fmla="*/ 1238250 w 3773795"/>
                <a:gd name="connsiteY6181" fmla="*/ 438862 h 1451770"/>
                <a:gd name="connsiteX6182" fmla="*/ 1237991 w 3773795"/>
                <a:gd name="connsiteY6182" fmla="*/ 441153 h 1451770"/>
                <a:gd name="connsiteX6183" fmla="*/ 1239161 w 3773795"/>
                <a:gd name="connsiteY6183" fmla="*/ 444275 h 1451770"/>
                <a:gd name="connsiteX6184" fmla="*/ 1240195 w 3773795"/>
                <a:gd name="connsiteY6184" fmla="*/ 445618 h 1451770"/>
                <a:gd name="connsiteX6185" fmla="*/ 1241307 w 3773795"/>
                <a:gd name="connsiteY6185" fmla="*/ 447853 h 1451770"/>
                <a:gd name="connsiteX6186" fmla="*/ 1240269 w 3773795"/>
                <a:gd name="connsiteY6186" fmla="*/ 449626 h 1451770"/>
                <a:gd name="connsiteX6187" fmla="*/ 1239161 w 3773795"/>
                <a:gd name="connsiteY6187" fmla="*/ 450506 h 1451770"/>
                <a:gd name="connsiteX6188" fmla="*/ 1237079 w 3773795"/>
                <a:gd name="connsiteY6188" fmla="*/ 453056 h 1451770"/>
                <a:gd name="connsiteX6189" fmla="*/ 1233637 w 3773795"/>
                <a:gd name="connsiteY6189" fmla="*/ 460811 h 1451770"/>
                <a:gd name="connsiteX6190" fmla="*/ 1230968 w 3773795"/>
                <a:gd name="connsiteY6190" fmla="*/ 461811 h 1451770"/>
                <a:gd name="connsiteX6191" fmla="*/ 1230385 w 3773795"/>
                <a:gd name="connsiteY6191" fmla="*/ 467803 h 1451770"/>
                <a:gd name="connsiteX6192" fmla="*/ 1236040 w 3773795"/>
                <a:gd name="connsiteY6192" fmla="*/ 474316 h 1451770"/>
                <a:gd name="connsiteX6193" fmla="*/ 1235274 w 3773795"/>
                <a:gd name="connsiteY6193" fmla="*/ 479235 h 1451770"/>
                <a:gd name="connsiteX6194" fmla="*/ 1234138 w 3773795"/>
                <a:gd name="connsiteY6194" fmla="*/ 480856 h 1451770"/>
                <a:gd name="connsiteX6195" fmla="*/ 1231111 w 3773795"/>
                <a:gd name="connsiteY6195" fmla="*/ 483491 h 1451770"/>
                <a:gd name="connsiteX6196" fmla="*/ 1231504 w 3773795"/>
                <a:gd name="connsiteY6196" fmla="*/ 485593 h 1451770"/>
                <a:gd name="connsiteX6197" fmla="*/ 1232255 w 3773795"/>
                <a:gd name="connsiteY6197" fmla="*/ 487087 h 1451770"/>
                <a:gd name="connsiteX6198" fmla="*/ 1241135 w 3773795"/>
                <a:gd name="connsiteY6198" fmla="*/ 490170 h 1451770"/>
                <a:gd name="connsiteX6199" fmla="*/ 1249468 w 3773795"/>
                <a:gd name="connsiteY6199" fmla="*/ 492092 h 1451770"/>
                <a:gd name="connsiteX6200" fmla="*/ 1263432 w 3773795"/>
                <a:gd name="connsiteY6200" fmla="*/ 492762 h 1451770"/>
                <a:gd name="connsiteX6201" fmla="*/ 1267568 w 3773795"/>
                <a:gd name="connsiteY6201" fmla="*/ 495767 h 1451770"/>
                <a:gd name="connsiteX6202" fmla="*/ 1269031 w 3773795"/>
                <a:gd name="connsiteY6202" fmla="*/ 493613 h 1451770"/>
                <a:gd name="connsiteX6203" fmla="*/ 1282176 w 3773795"/>
                <a:gd name="connsiteY6203" fmla="*/ 494145 h 1451770"/>
                <a:gd name="connsiteX6204" fmla="*/ 1292759 w 3773795"/>
                <a:gd name="connsiteY6204" fmla="*/ 501491 h 1451770"/>
                <a:gd name="connsiteX6205" fmla="*/ 1298339 w 3773795"/>
                <a:gd name="connsiteY6205" fmla="*/ 503746 h 1451770"/>
                <a:gd name="connsiteX6206" fmla="*/ 1302876 w 3773795"/>
                <a:gd name="connsiteY6206" fmla="*/ 504496 h 1451770"/>
                <a:gd name="connsiteX6207" fmla="*/ 1312084 w 3773795"/>
                <a:gd name="connsiteY6207" fmla="*/ 503611 h 1451770"/>
                <a:gd name="connsiteX6208" fmla="*/ 1313703 w 3773795"/>
                <a:gd name="connsiteY6208" fmla="*/ 502949 h 1451770"/>
                <a:gd name="connsiteX6209" fmla="*/ 1315217 w 3773795"/>
                <a:gd name="connsiteY6209" fmla="*/ 500858 h 1451770"/>
                <a:gd name="connsiteX6210" fmla="*/ 1310900 w 3773795"/>
                <a:gd name="connsiteY6210" fmla="*/ 501053 h 1451770"/>
                <a:gd name="connsiteX6211" fmla="*/ 1309017 w 3773795"/>
                <a:gd name="connsiteY6211" fmla="*/ 502007 h 1451770"/>
                <a:gd name="connsiteX6212" fmla="*/ 1307257 w 3773795"/>
                <a:gd name="connsiteY6212" fmla="*/ 501909 h 1451770"/>
                <a:gd name="connsiteX6213" fmla="*/ 1304245 w 3773795"/>
                <a:gd name="connsiteY6213" fmla="*/ 501185 h 1451770"/>
                <a:gd name="connsiteX6214" fmla="*/ 1302116 w 3773795"/>
                <a:gd name="connsiteY6214" fmla="*/ 499913 h 1451770"/>
                <a:gd name="connsiteX6215" fmla="*/ 1299796 w 3773795"/>
                <a:gd name="connsiteY6215" fmla="*/ 497418 h 1451770"/>
                <a:gd name="connsiteX6216" fmla="*/ 1295951 w 3773795"/>
                <a:gd name="connsiteY6216" fmla="*/ 490154 h 1451770"/>
                <a:gd name="connsiteX6217" fmla="*/ 1289224 w 3773795"/>
                <a:gd name="connsiteY6217" fmla="*/ 487806 h 1451770"/>
                <a:gd name="connsiteX6218" fmla="*/ 1284763 w 3773795"/>
                <a:gd name="connsiteY6218" fmla="*/ 488761 h 1451770"/>
                <a:gd name="connsiteX6219" fmla="*/ 1279775 w 3773795"/>
                <a:gd name="connsiteY6219" fmla="*/ 488315 h 1451770"/>
                <a:gd name="connsiteX6220" fmla="*/ 1271651 w 3773795"/>
                <a:gd name="connsiteY6220" fmla="*/ 484334 h 1451770"/>
                <a:gd name="connsiteX6221" fmla="*/ 1266289 w 3773795"/>
                <a:gd name="connsiteY6221" fmla="*/ 482818 h 1451770"/>
                <a:gd name="connsiteX6222" fmla="*/ 1256609 w 3773795"/>
                <a:gd name="connsiteY6222" fmla="*/ 478495 h 1451770"/>
                <a:gd name="connsiteX6223" fmla="*/ 1253927 w 3773795"/>
                <a:gd name="connsiteY6223" fmla="*/ 476738 h 1451770"/>
                <a:gd name="connsiteX6224" fmla="*/ 1251795 w 3773795"/>
                <a:gd name="connsiteY6224" fmla="*/ 473160 h 1451770"/>
                <a:gd name="connsiteX6225" fmla="*/ 1249316 w 3773795"/>
                <a:gd name="connsiteY6225" fmla="*/ 467161 h 1451770"/>
                <a:gd name="connsiteX6226" fmla="*/ 1247742 w 3773795"/>
                <a:gd name="connsiteY6226" fmla="*/ 463811 h 1451770"/>
                <a:gd name="connsiteX6227" fmla="*/ 1249768 w 3773795"/>
                <a:gd name="connsiteY6227" fmla="*/ 463144 h 1451770"/>
                <a:gd name="connsiteX6228" fmla="*/ 1256350 w 3773795"/>
                <a:gd name="connsiteY6228" fmla="*/ 459870 h 1451770"/>
                <a:gd name="connsiteX6229" fmla="*/ 1266294 w 3773795"/>
                <a:gd name="connsiteY6229" fmla="*/ 458755 h 1451770"/>
                <a:gd name="connsiteX6230" fmla="*/ 1270493 w 3773795"/>
                <a:gd name="connsiteY6230" fmla="*/ 459944 h 1451770"/>
                <a:gd name="connsiteX6231" fmla="*/ 1281316 w 3773795"/>
                <a:gd name="connsiteY6231" fmla="*/ 466623 h 1451770"/>
                <a:gd name="connsiteX6232" fmla="*/ 1286330 w 3773795"/>
                <a:gd name="connsiteY6232" fmla="*/ 466856 h 1451770"/>
                <a:gd name="connsiteX6233" fmla="*/ 1295383 w 3773795"/>
                <a:gd name="connsiteY6233" fmla="*/ 463948 h 1451770"/>
                <a:gd name="connsiteX6234" fmla="*/ 1296389 w 3773795"/>
                <a:gd name="connsiteY6234" fmla="*/ 462085 h 1451770"/>
                <a:gd name="connsiteX6235" fmla="*/ 1294363 w 3773795"/>
                <a:gd name="connsiteY6235" fmla="*/ 458273 h 1451770"/>
                <a:gd name="connsiteX6236" fmla="*/ 1291612 w 3773795"/>
                <a:gd name="connsiteY6236" fmla="*/ 456316 h 1451770"/>
                <a:gd name="connsiteX6237" fmla="*/ 1286400 w 3773795"/>
                <a:gd name="connsiteY6237" fmla="*/ 455395 h 1451770"/>
                <a:gd name="connsiteX6238" fmla="*/ 1280036 w 3773795"/>
                <a:gd name="connsiteY6238" fmla="*/ 457155 h 1451770"/>
                <a:gd name="connsiteX6239" fmla="*/ 1278222 w 3773795"/>
                <a:gd name="connsiteY6239" fmla="*/ 455665 h 1451770"/>
                <a:gd name="connsiteX6240" fmla="*/ 1278861 w 3773795"/>
                <a:gd name="connsiteY6240" fmla="*/ 453647 h 1451770"/>
                <a:gd name="connsiteX6241" fmla="*/ 1279565 w 3773795"/>
                <a:gd name="connsiteY6241" fmla="*/ 452172 h 1451770"/>
                <a:gd name="connsiteX6242" fmla="*/ 1282964 w 3773795"/>
                <a:gd name="connsiteY6242" fmla="*/ 451787 h 1451770"/>
                <a:gd name="connsiteX6243" fmla="*/ 1285350 w 3773795"/>
                <a:gd name="connsiteY6243" fmla="*/ 450635 h 1451770"/>
                <a:gd name="connsiteX6244" fmla="*/ 1290546 w 3773795"/>
                <a:gd name="connsiteY6244" fmla="*/ 446503 h 1451770"/>
                <a:gd name="connsiteX6245" fmla="*/ 1296233 w 3773795"/>
                <a:gd name="connsiteY6245" fmla="*/ 444476 h 1451770"/>
                <a:gd name="connsiteX6246" fmla="*/ 1301921 w 3773795"/>
                <a:gd name="connsiteY6246" fmla="*/ 443747 h 1451770"/>
                <a:gd name="connsiteX6247" fmla="*/ 1322695 w 3773795"/>
                <a:gd name="connsiteY6247" fmla="*/ 444338 h 1451770"/>
                <a:gd name="connsiteX6248" fmla="*/ 1334455 w 3773795"/>
                <a:gd name="connsiteY6248" fmla="*/ 450890 h 1451770"/>
                <a:gd name="connsiteX6249" fmla="*/ 1345955 w 3773795"/>
                <a:gd name="connsiteY6249" fmla="*/ 453788 h 1451770"/>
                <a:gd name="connsiteX6250" fmla="*/ 1350935 w 3773795"/>
                <a:gd name="connsiteY6250" fmla="*/ 456057 h 1451770"/>
                <a:gd name="connsiteX6251" fmla="*/ 1352334 w 3773795"/>
                <a:gd name="connsiteY6251" fmla="*/ 456435 h 1451770"/>
                <a:gd name="connsiteX6252" fmla="*/ 1353490 w 3773795"/>
                <a:gd name="connsiteY6252" fmla="*/ 457876 h 1451770"/>
                <a:gd name="connsiteX6253" fmla="*/ 1354403 w 3773795"/>
                <a:gd name="connsiteY6253" fmla="*/ 461346 h 1451770"/>
                <a:gd name="connsiteX6254" fmla="*/ 1368891 w 3773795"/>
                <a:gd name="connsiteY6254" fmla="*/ 470565 h 1451770"/>
                <a:gd name="connsiteX6255" fmla="*/ 1372216 w 3773795"/>
                <a:gd name="connsiteY6255" fmla="*/ 471802 h 1451770"/>
                <a:gd name="connsiteX6256" fmla="*/ 1381464 w 3773795"/>
                <a:gd name="connsiteY6256" fmla="*/ 472177 h 1451770"/>
                <a:gd name="connsiteX6257" fmla="*/ 1391799 w 3773795"/>
                <a:gd name="connsiteY6257" fmla="*/ 470053 h 1451770"/>
                <a:gd name="connsiteX6258" fmla="*/ 1396455 w 3773795"/>
                <a:gd name="connsiteY6258" fmla="*/ 469827 h 1451770"/>
                <a:gd name="connsiteX6259" fmla="*/ 1401504 w 3773795"/>
                <a:gd name="connsiteY6259" fmla="*/ 470460 h 1451770"/>
                <a:gd name="connsiteX6260" fmla="*/ 1404168 w 3773795"/>
                <a:gd name="connsiteY6260" fmla="*/ 471616 h 1451770"/>
                <a:gd name="connsiteX6261" fmla="*/ 1406975 w 3773795"/>
                <a:gd name="connsiteY6261" fmla="*/ 473762 h 1451770"/>
                <a:gd name="connsiteX6262" fmla="*/ 1405470 w 3773795"/>
                <a:gd name="connsiteY6262" fmla="*/ 476463 h 1451770"/>
                <a:gd name="connsiteX6263" fmla="*/ 1404147 w 3773795"/>
                <a:gd name="connsiteY6263" fmla="*/ 478088 h 1451770"/>
                <a:gd name="connsiteX6264" fmla="*/ 1401303 w 3773795"/>
                <a:gd name="connsiteY6264" fmla="*/ 482623 h 1451770"/>
                <a:gd name="connsiteX6265" fmla="*/ 1399996 w 3773795"/>
                <a:gd name="connsiteY6265" fmla="*/ 483905 h 1451770"/>
                <a:gd name="connsiteX6266" fmla="*/ 1390603 w 3773795"/>
                <a:gd name="connsiteY6266" fmla="*/ 489075 h 1451770"/>
                <a:gd name="connsiteX6267" fmla="*/ 1386837 w 3773795"/>
                <a:gd name="connsiteY6267" fmla="*/ 490410 h 1451770"/>
                <a:gd name="connsiteX6268" fmla="*/ 1385822 w 3773795"/>
                <a:gd name="connsiteY6268" fmla="*/ 497161 h 1451770"/>
                <a:gd name="connsiteX6269" fmla="*/ 1385321 w 3773795"/>
                <a:gd name="connsiteY6269" fmla="*/ 498668 h 1451770"/>
                <a:gd name="connsiteX6270" fmla="*/ 1384986 w 3773795"/>
                <a:gd name="connsiteY6270" fmla="*/ 501032 h 1451770"/>
                <a:gd name="connsiteX6271" fmla="*/ 1386686 w 3773795"/>
                <a:gd name="connsiteY6271" fmla="*/ 505801 h 1451770"/>
                <a:gd name="connsiteX6272" fmla="*/ 1387126 w 3773795"/>
                <a:gd name="connsiteY6272" fmla="*/ 508702 h 1451770"/>
                <a:gd name="connsiteX6273" fmla="*/ 1385684 w 3773795"/>
                <a:gd name="connsiteY6273" fmla="*/ 512744 h 1451770"/>
                <a:gd name="connsiteX6274" fmla="*/ 1383306 w 3773795"/>
                <a:gd name="connsiteY6274" fmla="*/ 517098 h 1451770"/>
                <a:gd name="connsiteX6275" fmla="*/ 1383732 w 3773795"/>
                <a:gd name="connsiteY6275" fmla="*/ 520565 h 1451770"/>
                <a:gd name="connsiteX6276" fmla="*/ 1384589 w 3773795"/>
                <a:gd name="connsiteY6276" fmla="*/ 525186 h 1451770"/>
                <a:gd name="connsiteX6277" fmla="*/ 1384913 w 3773795"/>
                <a:gd name="connsiteY6277" fmla="*/ 523807 h 1451770"/>
                <a:gd name="connsiteX6278" fmla="*/ 1384816 w 3773795"/>
                <a:gd name="connsiteY6278" fmla="*/ 521706 h 1451770"/>
                <a:gd name="connsiteX6279" fmla="*/ 1385412 w 3773795"/>
                <a:gd name="connsiteY6279" fmla="*/ 519280 h 1451770"/>
                <a:gd name="connsiteX6280" fmla="*/ 1389685 w 3773795"/>
                <a:gd name="connsiteY6280" fmla="*/ 513413 h 1451770"/>
                <a:gd name="connsiteX6281" fmla="*/ 1392799 w 3773795"/>
                <a:gd name="connsiteY6281" fmla="*/ 505378 h 1451770"/>
                <a:gd name="connsiteX6282" fmla="*/ 1396012 w 3773795"/>
                <a:gd name="connsiteY6282" fmla="*/ 503276 h 1451770"/>
                <a:gd name="connsiteX6283" fmla="*/ 1398917 w 3773795"/>
                <a:gd name="connsiteY6283" fmla="*/ 502762 h 1451770"/>
                <a:gd name="connsiteX6284" fmla="*/ 1402035 w 3773795"/>
                <a:gd name="connsiteY6284" fmla="*/ 505158 h 1451770"/>
                <a:gd name="connsiteX6285" fmla="*/ 1402940 w 3773795"/>
                <a:gd name="connsiteY6285" fmla="*/ 508385 h 1451770"/>
                <a:gd name="connsiteX6286" fmla="*/ 1403101 w 3773795"/>
                <a:gd name="connsiteY6286" fmla="*/ 513227 h 1451770"/>
                <a:gd name="connsiteX6287" fmla="*/ 1402478 w 3773795"/>
                <a:gd name="connsiteY6287" fmla="*/ 517803 h 1451770"/>
                <a:gd name="connsiteX6288" fmla="*/ 1400037 w 3773795"/>
                <a:gd name="connsiteY6288" fmla="*/ 524719 h 1451770"/>
                <a:gd name="connsiteX6289" fmla="*/ 1396116 w 3773795"/>
                <a:gd name="connsiteY6289" fmla="*/ 529536 h 1451770"/>
                <a:gd name="connsiteX6290" fmla="*/ 1394786 w 3773795"/>
                <a:gd name="connsiteY6290" fmla="*/ 532269 h 1451770"/>
                <a:gd name="connsiteX6291" fmla="*/ 1396664 w 3773795"/>
                <a:gd name="connsiteY6291" fmla="*/ 534797 h 1451770"/>
                <a:gd name="connsiteX6292" fmla="*/ 1398638 w 3773795"/>
                <a:gd name="connsiteY6292" fmla="*/ 536760 h 1451770"/>
                <a:gd name="connsiteX6293" fmla="*/ 1400949 w 3773795"/>
                <a:gd name="connsiteY6293" fmla="*/ 537404 h 1451770"/>
                <a:gd name="connsiteX6294" fmla="*/ 1403596 w 3773795"/>
                <a:gd name="connsiteY6294" fmla="*/ 537216 h 1451770"/>
                <a:gd name="connsiteX6295" fmla="*/ 1404233 w 3773795"/>
                <a:gd name="connsiteY6295" fmla="*/ 536560 h 1451770"/>
                <a:gd name="connsiteX6296" fmla="*/ 1404730 w 3773795"/>
                <a:gd name="connsiteY6296" fmla="*/ 534672 h 1451770"/>
                <a:gd name="connsiteX6297" fmla="*/ 1403892 w 3773795"/>
                <a:gd name="connsiteY6297" fmla="*/ 532135 h 1451770"/>
                <a:gd name="connsiteX6298" fmla="*/ 1403443 w 3773795"/>
                <a:gd name="connsiteY6298" fmla="*/ 529925 h 1451770"/>
                <a:gd name="connsiteX6299" fmla="*/ 1408299 w 3773795"/>
                <a:gd name="connsiteY6299" fmla="*/ 528149 h 1451770"/>
                <a:gd name="connsiteX6300" fmla="*/ 1412801 w 3773795"/>
                <a:gd name="connsiteY6300" fmla="*/ 527196 h 1451770"/>
                <a:gd name="connsiteX6301" fmla="*/ 1416401 w 3773795"/>
                <a:gd name="connsiteY6301" fmla="*/ 524283 h 1451770"/>
                <a:gd name="connsiteX6302" fmla="*/ 1417299 w 3773795"/>
                <a:gd name="connsiteY6302" fmla="*/ 522365 h 1451770"/>
                <a:gd name="connsiteX6303" fmla="*/ 1418083 w 3773795"/>
                <a:gd name="connsiteY6303" fmla="*/ 519165 h 1451770"/>
                <a:gd name="connsiteX6304" fmla="*/ 1416211 w 3773795"/>
                <a:gd name="connsiteY6304" fmla="*/ 514129 h 1451770"/>
                <a:gd name="connsiteX6305" fmla="*/ 1414611 w 3773795"/>
                <a:gd name="connsiteY6305" fmla="*/ 510368 h 1451770"/>
                <a:gd name="connsiteX6306" fmla="*/ 1409193 w 3773795"/>
                <a:gd name="connsiteY6306" fmla="*/ 501402 h 1451770"/>
                <a:gd name="connsiteX6307" fmla="*/ 1405155 w 3773795"/>
                <a:gd name="connsiteY6307" fmla="*/ 496750 h 1451770"/>
                <a:gd name="connsiteX6308" fmla="*/ 1407692 w 3773795"/>
                <a:gd name="connsiteY6308" fmla="*/ 489765 h 1451770"/>
                <a:gd name="connsiteX6309" fmla="*/ 1411929 w 3773795"/>
                <a:gd name="connsiteY6309" fmla="*/ 481964 h 1451770"/>
                <a:gd name="connsiteX6310" fmla="*/ 1413553 w 3773795"/>
                <a:gd name="connsiteY6310" fmla="*/ 480057 h 1451770"/>
                <a:gd name="connsiteX6311" fmla="*/ 1413983 w 3773795"/>
                <a:gd name="connsiteY6311" fmla="*/ 478856 h 1451770"/>
                <a:gd name="connsiteX6312" fmla="*/ 1414443 w 3773795"/>
                <a:gd name="connsiteY6312" fmla="*/ 476782 h 1451770"/>
                <a:gd name="connsiteX6313" fmla="*/ 1414049 w 3773795"/>
                <a:gd name="connsiteY6313" fmla="*/ 474514 h 1451770"/>
                <a:gd name="connsiteX6314" fmla="*/ 1413626 w 3773795"/>
                <a:gd name="connsiteY6314" fmla="*/ 473116 h 1451770"/>
                <a:gd name="connsiteX6315" fmla="*/ 1409338 w 3773795"/>
                <a:gd name="connsiteY6315" fmla="*/ 467221 h 1451770"/>
                <a:gd name="connsiteX6316" fmla="*/ 1406239 w 3773795"/>
                <a:gd name="connsiteY6316" fmla="*/ 465281 h 1451770"/>
                <a:gd name="connsiteX6317" fmla="*/ 1396395 w 3773795"/>
                <a:gd name="connsiteY6317" fmla="*/ 464123 h 1451770"/>
                <a:gd name="connsiteX6318" fmla="*/ 1393970 w 3773795"/>
                <a:gd name="connsiteY6318" fmla="*/ 463200 h 1451770"/>
                <a:gd name="connsiteX6319" fmla="*/ 1386755 w 3773795"/>
                <a:gd name="connsiteY6319" fmla="*/ 457151 h 1451770"/>
                <a:gd name="connsiteX6320" fmla="*/ 1385904 w 3773795"/>
                <a:gd name="connsiteY6320" fmla="*/ 455774 h 1451770"/>
                <a:gd name="connsiteX6321" fmla="*/ 1384326 w 3773795"/>
                <a:gd name="connsiteY6321" fmla="*/ 451383 h 1451770"/>
                <a:gd name="connsiteX6322" fmla="*/ 1383758 w 3773795"/>
                <a:gd name="connsiteY6322" fmla="*/ 450289 h 1451770"/>
                <a:gd name="connsiteX6323" fmla="*/ 1381769 w 3773795"/>
                <a:gd name="connsiteY6323" fmla="*/ 449132 h 1451770"/>
                <a:gd name="connsiteX6324" fmla="*/ 1375118 w 3773795"/>
                <a:gd name="connsiteY6324" fmla="*/ 446590 h 1451770"/>
                <a:gd name="connsiteX6325" fmla="*/ 1370549 w 3773795"/>
                <a:gd name="connsiteY6325" fmla="*/ 445547 h 1451770"/>
                <a:gd name="connsiteX6326" fmla="*/ 1363837 w 3773795"/>
                <a:gd name="connsiteY6326" fmla="*/ 445250 h 1451770"/>
                <a:gd name="connsiteX6327" fmla="*/ 1359756 w 3773795"/>
                <a:gd name="connsiteY6327" fmla="*/ 443964 h 1451770"/>
                <a:gd name="connsiteX6328" fmla="*/ 1353762 w 3773795"/>
                <a:gd name="connsiteY6328" fmla="*/ 439858 h 1451770"/>
                <a:gd name="connsiteX6329" fmla="*/ 1353114 w 3773795"/>
                <a:gd name="connsiteY6329" fmla="*/ 438536 h 1451770"/>
                <a:gd name="connsiteX6330" fmla="*/ 1351386 w 3773795"/>
                <a:gd name="connsiteY6330" fmla="*/ 433188 h 1451770"/>
                <a:gd name="connsiteX6331" fmla="*/ 1349985 w 3773795"/>
                <a:gd name="connsiteY6331" fmla="*/ 430502 h 1451770"/>
                <a:gd name="connsiteX6332" fmla="*/ 1350408 w 3773795"/>
                <a:gd name="connsiteY6332" fmla="*/ 428523 h 1451770"/>
                <a:gd name="connsiteX6333" fmla="*/ 1352583 w 3773795"/>
                <a:gd name="connsiteY6333" fmla="*/ 424253 h 1451770"/>
                <a:gd name="connsiteX6334" fmla="*/ 1354083 w 3773795"/>
                <a:gd name="connsiteY6334" fmla="*/ 420532 h 1451770"/>
                <a:gd name="connsiteX6335" fmla="*/ 1352222 w 3773795"/>
                <a:gd name="connsiteY6335" fmla="*/ 417322 h 1451770"/>
                <a:gd name="connsiteX6336" fmla="*/ 1349596 w 3773795"/>
                <a:gd name="connsiteY6336" fmla="*/ 416312 h 1451770"/>
                <a:gd name="connsiteX6337" fmla="*/ 1346744 w 3773795"/>
                <a:gd name="connsiteY6337" fmla="*/ 414752 h 1451770"/>
                <a:gd name="connsiteX6338" fmla="*/ 1345545 w 3773795"/>
                <a:gd name="connsiteY6338" fmla="*/ 411826 h 1451770"/>
                <a:gd name="connsiteX6339" fmla="*/ 1344861 w 3773795"/>
                <a:gd name="connsiteY6339" fmla="*/ 408608 h 1451770"/>
                <a:gd name="connsiteX6340" fmla="*/ 1344738 w 3773795"/>
                <a:gd name="connsiteY6340" fmla="*/ 406125 h 1451770"/>
                <a:gd name="connsiteX6341" fmla="*/ 1344275 w 3773795"/>
                <a:gd name="connsiteY6341" fmla="*/ 403269 h 1451770"/>
                <a:gd name="connsiteX6342" fmla="*/ 1345608 w 3773795"/>
                <a:gd name="connsiteY6342" fmla="*/ 400847 h 1451770"/>
                <a:gd name="connsiteX6343" fmla="*/ 1348651 w 3773795"/>
                <a:gd name="connsiteY6343" fmla="*/ 398276 h 1451770"/>
                <a:gd name="connsiteX6344" fmla="*/ 1347899 w 3773795"/>
                <a:gd name="connsiteY6344" fmla="*/ 396528 h 1451770"/>
                <a:gd name="connsiteX6345" fmla="*/ 1348370 w 3773795"/>
                <a:gd name="connsiteY6345" fmla="*/ 394243 h 1451770"/>
                <a:gd name="connsiteX6346" fmla="*/ 1367953 w 3773795"/>
                <a:gd name="connsiteY6346" fmla="*/ 391164 h 1451770"/>
                <a:gd name="connsiteX6347" fmla="*/ 1375651 w 3773795"/>
                <a:gd name="connsiteY6347" fmla="*/ 390375 h 1451770"/>
                <a:gd name="connsiteX6348" fmla="*/ 1413855 w 3773795"/>
                <a:gd name="connsiteY6348" fmla="*/ 390047 h 1451770"/>
                <a:gd name="connsiteX6349" fmla="*/ 1416559 w 3773795"/>
                <a:gd name="connsiteY6349" fmla="*/ 389190 h 1451770"/>
                <a:gd name="connsiteX6350" fmla="*/ 1433151 w 3773795"/>
                <a:gd name="connsiteY6350" fmla="*/ 387666 h 1451770"/>
                <a:gd name="connsiteX6351" fmla="*/ 1440239 w 3773795"/>
                <a:gd name="connsiteY6351" fmla="*/ 385914 h 1451770"/>
                <a:gd name="connsiteX6352" fmla="*/ 1447747 w 3773795"/>
                <a:gd name="connsiteY6352" fmla="*/ 387773 h 1451770"/>
                <a:gd name="connsiteX6353" fmla="*/ 1450470 w 3773795"/>
                <a:gd name="connsiteY6353" fmla="*/ 387687 h 1451770"/>
                <a:gd name="connsiteX6354" fmla="*/ 1455948 w 3773795"/>
                <a:gd name="connsiteY6354" fmla="*/ 387126 h 1451770"/>
                <a:gd name="connsiteX6355" fmla="*/ 1459554 w 3773795"/>
                <a:gd name="connsiteY6355" fmla="*/ 383390 h 1451770"/>
                <a:gd name="connsiteX6356" fmla="*/ 1467689 w 3773795"/>
                <a:gd name="connsiteY6356" fmla="*/ 381869 h 1451770"/>
                <a:gd name="connsiteX6357" fmla="*/ 1481224 w 3773795"/>
                <a:gd name="connsiteY6357" fmla="*/ 380260 h 1451770"/>
                <a:gd name="connsiteX6358" fmla="*/ 1487892 w 3773795"/>
                <a:gd name="connsiteY6358" fmla="*/ 380570 h 1451770"/>
                <a:gd name="connsiteX6359" fmla="*/ 1489403 w 3773795"/>
                <a:gd name="connsiteY6359" fmla="*/ 381705 h 1451770"/>
                <a:gd name="connsiteX6360" fmla="*/ 1490911 w 3773795"/>
                <a:gd name="connsiteY6360" fmla="*/ 383278 h 1451770"/>
                <a:gd name="connsiteX6361" fmla="*/ 1483573 w 3773795"/>
                <a:gd name="connsiteY6361" fmla="*/ 387888 h 1451770"/>
                <a:gd name="connsiteX6362" fmla="*/ 1476238 w 3773795"/>
                <a:gd name="connsiteY6362" fmla="*/ 392048 h 1451770"/>
                <a:gd name="connsiteX6363" fmla="*/ 1470228 w 3773795"/>
                <a:gd name="connsiteY6363" fmla="*/ 393821 h 1451770"/>
                <a:gd name="connsiteX6364" fmla="*/ 1464322 w 3773795"/>
                <a:gd name="connsiteY6364" fmla="*/ 397476 h 1451770"/>
                <a:gd name="connsiteX6365" fmla="*/ 1463735 w 3773795"/>
                <a:gd name="connsiteY6365" fmla="*/ 398919 h 1451770"/>
                <a:gd name="connsiteX6366" fmla="*/ 1463560 w 3773795"/>
                <a:gd name="connsiteY6366" fmla="*/ 399798 h 1451770"/>
                <a:gd name="connsiteX6367" fmla="*/ 1463778 w 3773795"/>
                <a:gd name="connsiteY6367" fmla="*/ 402637 h 1451770"/>
                <a:gd name="connsiteX6368" fmla="*/ 1464125 w 3773795"/>
                <a:gd name="connsiteY6368" fmla="*/ 404539 h 1451770"/>
                <a:gd name="connsiteX6369" fmla="*/ 1470317 w 3773795"/>
                <a:gd name="connsiteY6369" fmla="*/ 406849 h 1451770"/>
                <a:gd name="connsiteX6370" fmla="*/ 1474955 w 3773795"/>
                <a:gd name="connsiteY6370" fmla="*/ 410109 h 1451770"/>
                <a:gd name="connsiteX6371" fmla="*/ 1479520 w 3773795"/>
                <a:gd name="connsiteY6371" fmla="*/ 412451 h 1451770"/>
                <a:gd name="connsiteX6372" fmla="*/ 1483117 w 3773795"/>
                <a:gd name="connsiteY6372" fmla="*/ 413876 h 1451770"/>
                <a:gd name="connsiteX6373" fmla="*/ 1483958 w 3773795"/>
                <a:gd name="connsiteY6373" fmla="*/ 413071 h 1451770"/>
                <a:gd name="connsiteX6374" fmla="*/ 1470837 w 3773795"/>
                <a:gd name="connsiteY6374" fmla="*/ 405399 h 1451770"/>
                <a:gd name="connsiteX6375" fmla="*/ 1467501 w 3773795"/>
                <a:gd name="connsiteY6375" fmla="*/ 403684 h 1451770"/>
                <a:gd name="connsiteX6376" fmla="*/ 1466158 w 3773795"/>
                <a:gd name="connsiteY6376" fmla="*/ 401839 h 1451770"/>
                <a:gd name="connsiteX6377" fmla="*/ 1466797 w 3773795"/>
                <a:gd name="connsiteY6377" fmla="*/ 399024 h 1451770"/>
                <a:gd name="connsiteX6378" fmla="*/ 1468123 w 3773795"/>
                <a:gd name="connsiteY6378" fmla="*/ 397772 h 1451770"/>
                <a:gd name="connsiteX6379" fmla="*/ 1470189 w 3773795"/>
                <a:gd name="connsiteY6379" fmla="*/ 396350 h 1451770"/>
                <a:gd name="connsiteX6380" fmla="*/ 1471576 w 3773795"/>
                <a:gd name="connsiteY6380" fmla="*/ 395687 h 1451770"/>
                <a:gd name="connsiteX6381" fmla="*/ 1476467 w 3773795"/>
                <a:gd name="connsiteY6381" fmla="*/ 394226 h 1451770"/>
                <a:gd name="connsiteX6382" fmla="*/ 1492915 w 3773795"/>
                <a:gd name="connsiteY6382" fmla="*/ 392251 h 1451770"/>
                <a:gd name="connsiteX6383" fmla="*/ 1496769 w 3773795"/>
                <a:gd name="connsiteY6383" fmla="*/ 388410 h 1451770"/>
                <a:gd name="connsiteX6384" fmla="*/ 1498430 w 3773795"/>
                <a:gd name="connsiteY6384" fmla="*/ 386212 h 1451770"/>
                <a:gd name="connsiteX6385" fmla="*/ 1502889 w 3773795"/>
                <a:gd name="connsiteY6385" fmla="*/ 383855 h 1451770"/>
                <a:gd name="connsiteX6386" fmla="*/ 1501386 w 3773795"/>
                <a:gd name="connsiteY6386" fmla="*/ 382921 h 1451770"/>
                <a:gd name="connsiteX6387" fmla="*/ 1497721 w 3773795"/>
                <a:gd name="connsiteY6387" fmla="*/ 382337 h 1451770"/>
                <a:gd name="connsiteX6388" fmla="*/ 1494895 w 3773795"/>
                <a:gd name="connsiteY6388" fmla="*/ 380933 h 1451770"/>
                <a:gd name="connsiteX6389" fmla="*/ 1483560 w 3773795"/>
                <a:gd name="connsiteY6389" fmla="*/ 367247 h 1451770"/>
                <a:gd name="connsiteX6390" fmla="*/ 1480774 w 3773795"/>
                <a:gd name="connsiteY6390" fmla="*/ 365144 h 1451770"/>
                <a:gd name="connsiteX6391" fmla="*/ 1472079 w 3773795"/>
                <a:gd name="connsiteY6391" fmla="*/ 363596 h 1451770"/>
                <a:gd name="connsiteX6392" fmla="*/ 1468177 w 3773795"/>
                <a:gd name="connsiteY6392" fmla="*/ 362003 h 1451770"/>
                <a:gd name="connsiteX6393" fmla="*/ 1472191 w 3773795"/>
                <a:gd name="connsiteY6393" fmla="*/ 357341 h 1451770"/>
                <a:gd name="connsiteX6394" fmla="*/ 1476899 w 3773795"/>
                <a:gd name="connsiteY6394" fmla="*/ 356160 h 1451770"/>
                <a:gd name="connsiteX6395" fmla="*/ 1480053 w 3773795"/>
                <a:gd name="connsiteY6395" fmla="*/ 356416 h 1451770"/>
                <a:gd name="connsiteX6396" fmla="*/ 1482846 w 3773795"/>
                <a:gd name="connsiteY6396" fmla="*/ 357724 h 1451770"/>
                <a:gd name="connsiteX6397" fmla="*/ 1488002 w 3773795"/>
                <a:gd name="connsiteY6397" fmla="*/ 361597 h 1451770"/>
                <a:gd name="connsiteX6398" fmla="*/ 1495337 w 3773795"/>
                <a:gd name="connsiteY6398" fmla="*/ 359920 h 1451770"/>
                <a:gd name="connsiteX6399" fmla="*/ 1492606 w 3773795"/>
                <a:gd name="connsiteY6399" fmla="*/ 358190 h 1451770"/>
                <a:gd name="connsiteX6400" fmla="*/ 1487920 w 3773795"/>
                <a:gd name="connsiteY6400" fmla="*/ 356177 h 1451770"/>
                <a:gd name="connsiteX6401" fmla="*/ 1483627 w 3773795"/>
                <a:gd name="connsiteY6401" fmla="*/ 352999 h 1451770"/>
                <a:gd name="connsiteX6402" fmla="*/ 1477559 w 3773795"/>
                <a:gd name="connsiteY6402" fmla="*/ 350241 h 1451770"/>
                <a:gd name="connsiteX6403" fmla="*/ 1470714 w 3773795"/>
                <a:gd name="connsiteY6403" fmla="*/ 348355 h 1451770"/>
                <a:gd name="connsiteX6404" fmla="*/ 1463525 w 3773795"/>
                <a:gd name="connsiteY6404" fmla="*/ 347629 h 1451770"/>
                <a:gd name="connsiteX6405" fmla="*/ 1465510 w 3773795"/>
                <a:gd name="connsiteY6405" fmla="*/ 343453 h 1451770"/>
                <a:gd name="connsiteX6406" fmla="*/ 1469448 w 3773795"/>
                <a:gd name="connsiteY6406" fmla="*/ 343981 h 1451770"/>
                <a:gd name="connsiteX6407" fmla="*/ 1470790 w 3773795"/>
                <a:gd name="connsiteY6407" fmla="*/ 342698 h 1451770"/>
                <a:gd name="connsiteX6408" fmla="*/ 1472597 w 3773795"/>
                <a:gd name="connsiteY6408" fmla="*/ 340111 h 1451770"/>
                <a:gd name="connsiteX6409" fmla="*/ 1482552 w 3773795"/>
                <a:gd name="connsiteY6409" fmla="*/ 345993 h 1451770"/>
                <a:gd name="connsiteX6410" fmla="*/ 1487227 w 3773795"/>
                <a:gd name="connsiteY6410" fmla="*/ 344436 h 1451770"/>
                <a:gd name="connsiteX6411" fmla="*/ 1491183 w 3773795"/>
                <a:gd name="connsiteY6411" fmla="*/ 341755 h 1451770"/>
                <a:gd name="connsiteX6412" fmla="*/ 1499531 w 3773795"/>
                <a:gd name="connsiteY6412" fmla="*/ 334612 h 1451770"/>
                <a:gd name="connsiteX6413" fmla="*/ 1500598 w 3773795"/>
                <a:gd name="connsiteY6413" fmla="*/ 331416 h 1451770"/>
                <a:gd name="connsiteX6414" fmla="*/ 1496614 w 3773795"/>
                <a:gd name="connsiteY6414" fmla="*/ 329677 h 1451770"/>
                <a:gd name="connsiteX6415" fmla="*/ 1493370 w 3773795"/>
                <a:gd name="connsiteY6415" fmla="*/ 328803 h 1451770"/>
                <a:gd name="connsiteX6416" fmla="*/ 1488911 w 3773795"/>
                <a:gd name="connsiteY6416" fmla="*/ 328987 h 1451770"/>
                <a:gd name="connsiteX6417" fmla="*/ 1488527 w 3773795"/>
                <a:gd name="connsiteY6417" fmla="*/ 327006 h 1451770"/>
                <a:gd name="connsiteX6418" fmla="*/ 1490390 w 3773795"/>
                <a:gd name="connsiteY6418" fmla="*/ 324476 h 1451770"/>
                <a:gd name="connsiteX6419" fmla="*/ 1494036 w 3773795"/>
                <a:gd name="connsiteY6419" fmla="*/ 323502 h 1451770"/>
                <a:gd name="connsiteX6420" fmla="*/ 1505104 w 3773795"/>
                <a:gd name="connsiteY6420" fmla="*/ 326261 h 1451770"/>
                <a:gd name="connsiteX6421" fmla="*/ 1523509 w 3773795"/>
                <a:gd name="connsiteY6421" fmla="*/ 319110 h 1451770"/>
                <a:gd name="connsiteX6422" fmla="*/ 1528581 w 3773795"/>
                <a:gd name="connsiteY6422" fmla="*/ 315601 h 1451770"/>
                <a:gd name="connsiteX6423" fmla="*/ 1541343 w 3773795"/>
                <a:gd name="connsiteY6423" fmla="*/ 311092 h 1451770"/>
                <a:gd name="connsiteX6424" fmla="*/ 1547642 w 3773795"/>
                <a:gd name="connsiteY6424" fmla="*/ 311622 h 1451770"/>
                <a:gd name="connsiteX6425" fmla="*/ 1560685 w 3773795"/>
                <a:gd name="connsiteY6425" fmla="*/ 305673 h 1451770"/>
                <a:gd name="connsiteX6426" fmla="*/ 1578811 w 3773795"/>
                <a:gd name="connsiteY6426" fmla="*/ 303047 h 1451770"/>
                <a:gd name="connsiteX6427" fmla="*/ 1589309 w 3773795"/>
                <a:gd name="connsiteY6427" fmla="*/ 303042 h 1451770"/>
                <a:gd name="connsiteX6428" fmla="*/ 1597401 w 3773795"/>
                <a:gd name="connsiteY6428" fmla="*/ 299713 h 1451770"/>
                <a:gd name="connsiteX6429" fmla="*/ 1609830 w 3773795"/>
                <a:gd name="connsiteY6429" fmla="*/ 298544 h 1451770"/>
                <a:gd name="connsiteX6430" fmla="*/ 1614143 w 3773795"/>
                <a:gd name="connsiteY6430" fmla="*/ 297217 h 1451770"/>
                <a:gd name="connsiteX6431" fmla="*/ 1635089 w 3773795"/>
                <a:gd name="connsiteY6431" fmla="*/ 293833 h 1451770"/>
                <a:gd name="connsiteX6432" fmla="*/ 1646706 w 3773795"/>
                <a:gd name="connsiteY6432" fmla="*/ 291176 h 1451770"/>
                <a:gd name="connsiteX6433" fmla="*/ 1648501 w 3773795"/>
                <a:gd name="connsiteY6433" fmla="*/ 289079 h 1451770"/>
                <a:gd name="connsiteX6434" fmla="*/ 1638123 w 3773795"/>
                <a:gd name="connsiteY6434" fmla="*/ 290783 h 1451770"/>
                <a:gd name="connsiteX6435" fmla="*/ 1635624 w 3773795"/>
                <a:gd name="connsiteY6435" fmla="*/ 289212 h 1451770"/>
                <a:gd name="connsiteX6436" fmla="*/ 1633445 w 3773795"/>
                <a:gd name="connsiteY6436" fmla="*/ 290273 h 1451770"/>
                <a:gd name="connsiteX6437" fmla="*/ 1631910 w 3773795"/>
                <a:gd name="connsiteY6437" fmla="*/ 291702 h 1451770"/>
                <a:gd name="connsiteX6438" fmla="*/ 1626870 w 3773795"/>
                <a:gd name="connsiteY6438" fmla="*/ 289090 h 1451770"/>
                <a:gd name="connsiteX6439" fmla="*/ 1625503 w 3773795"/>
                <a:gd name="connsiteY6439" fmla="*/ 289740 h 1451770"/>
                <a:gd name="connsiteX6440" fmla="*/ 1624449 w 3773795"/>
                <a:gd name="connsiteY6440" fmla="*/ 291178 h 1451770"/>
                <a:gd name="connsiteX6441" fmla="*/ 1622635 w 3773795"/>
                <a:gd name="connsiteY6441" fmla="*/ 291637 h 1451770"/>
                <a:gd name="connsiteX6442" fmla="*/ 1620508 w 3773795"/>
                <a:gd name="connsiteY6442" fmla="*/ 291309 h 1451770"/>
                <a:gd name="connsiteX6443" fmla="*/ 1619804 w 3773795"/>
                <a:gd name="connsiteY6443" fmla="*/ 288161 h 1451770"/>
                <a:gd name="connsiteX6444" fmla="*/ 1622303 w 3773795"/>
                <a:gd name="connsiteY6444" fmla="*/ 283825 h 1451770"/>
                <a:gd name="connsiteX6445" fmla="*/ 1625250 w 3773795"/>
                <a:gd name="connsiteY6445" fmla="*/ 286061 h 1451770"/>
                <a:gd name="connsiteX6446" fmla="*/ 1628664 w 3773795"/>
                <a:gd name="connsiteY6446" fmla="*/ 282750 h 1451770"/>
                <a:gd name="connsiteX6447" fmla="*/ 1630882 w 3773795"/>
                <a:gd name="connsiteY6447" fmla="*/ 282661 h 1451770"/>
                <a:gd name="connsiteX6448" fmla="*/ 1637270 w 3773795"/>
                <a:gd name="connsiteY6448" fmla="*/ 284776 h 1451770"/>
                <a:gd name="connsiteX6449" fmla="*/ 1641569 w 3773795"/>
                <a:gd name="connsiteY6449" fmla="*/ 282634 h 1451770"/>
                <a:gd name="connsiteX6450" fmla="*/ 1647306 w 3773795"/>
                <a:gd name="connsiteY6450" fmla="*/ 281622 h 1451770"/>
                <a:gd name="connsiteX6451" fmla="*/ 1653629 w 3773795"/>
                <a:gd name="connsiteY6451" fmla="*/ 282568 h 1451770"/>
                <a:gd name="connsiteX6452" fmla="*/ 1656249 w 3773795"/>
                <a:gd name="connsiteY6452" fmla="*/ 282332 h 1451770"/>
                <a:gd name="connsiteX6453" fmla="*/ 1657771 w 3773795"/>
                <a:gd name="connsiteY6453" fmla="*/ 280341 h 1451770"/>
                <a:gd name="connsiteX6454" fmla="*/ 1668006 w 3773795"/>
                <a:gd name="connsiteY6454" fmla="*/ 282079 h 1451770"/>
                <a:gd name="connsiteX6455" fmla="*/ 1675100 w 3773795"/>
                <a:gd name="connsiteY6455" fmla="*/ 280894 h 1451770"/>
                <a:gd name="connsiteX6456" fmla="*/ 1679952 w 3773795"/>
                <a:gd name="connsiteY6456" fmla="*/ 280998 h 1451770"/>
                <a:gd name="connsiteX6457" fmla="*/ 1687497 w 3773795"/>
                <a:gd name="connsiteY6457" fmla="*/ 282097 h 1451770"/>
                <a:gd name="connsiteX6458" fmla="*/ 1690936 w 3773795"/>
                <a:gd name="connsiteY6458" fmla="*/ 283512 h 1451770"/>
                <a:gd name="connsiteX6459" fmla="*/ 1688959 w 3773795"/>
                <a:gd name="connsiteY6459" fmla="*/ 286794 h 1451770"/>
                <a:gd name="connsiteX6460" fmla="*/ 1681602 w 3773795"/>
                <a:gd name="connsiteY6460" fmla="*/ 292112 h 1451770"/>
                <a:gd name="connsiteX6461" fmla="*/ 1683603 w 3773795"/>
                <a:gd name="connsiteY6461" fmla="*/ 293010 h 1451770"/>
                <a:gd name="connsiteX6462" fmla="*/ 1687825 w 3773795"/>
                <a:gd name="connsiteY6462" fmla="*/ 290582 h 1451770"/>
                <a:gd name="connsiteX6463" fmla="*/ 1700513 w 3773795"/>
                <a:gd name="connsiteY6463" fmla="*/ 286980 h 1451770"/>
                <a:gd name="connsiteX6464" fmla="*/ 1702548 w 3773795"/>
                <a:gd name="connsiteY6464" fmla="*/ 287690 h 1451770"/>
                <a:gd name="connsiteX6465" fmla="*/ 1701157 w 3773795"/>
                <a:gd name="connsiteY6465" fmla="*/ 290781 h 1451770"/>
                <a:gd name="connsiteX6466" fmla="*/ 1700259 w 3773795"/>
                <a:gd name="connsiteY6466" fmla="*/ 292156 h 1451770"/>
                <a:gd name="connsiteX6467" fmla="*/ 1708709 w 3773795"/>
                <a:gd name="connsiteY6467" fmla="*/ 290355 h 1451770"/>
                <a:gd name="connsiteX6468" fmla="*/ 1715923 w 3773795"/>
                <a:gd name="connsiteY6468" fmla="*/ 286384 h 1451770"/>
                <a:gd name="connsiteX6469" fmla="*/ 1719134 w 3773795"/>
                <a:gd name="connsiteY6469" fmla="*/ 285718 h 1451770"/>
                <a:gd name="connsiteX6470" fmla="*/ 1722419 w 3773795"/>
                <a:gd name="connsiteY6470" fmla="*/ 288128 h 1451770"/>
                <a:gd name="connsiteX6471" fmla="*/ 1725481 w 3773795"/>
                <a:gd name="connsiteY6471" fmla="*/ 285915 h 1451770"/>
                <a:gd name="connsiteX6472" fmla="*/ 1726191 w 3773795"/>
                <a:gd name="connsiteY6472" fmla="*/ 283692 h 1451770"/>
                <a:gd name="connsiteX6473" fmla="*/ 1731687 w 3773795"/>
                <a:gd name="connsiteY6473" fmla="*/ 283209 h 1451770"/>
                <a:gd name="connsiteX6474" fmla="*/ 1733935 w 3773795"/>
                <a:gd name="connsiteY6474" fmla="*/ 281163 h 1451770"/>
                <a:gd name="connsiteX6475" fmla="*/ 1737796 w 3773795"/>
                <a:gd name="connsiteY6475" fmla="*/ 279674 h 1451770"/>
                <a:gd name="connsiteX6476" fmla="*/ 1741054 w 3773795"/>
                <a:gd name="connsiteY6476" fmla="*/ 279029 h 1451770"/>
                <a:gd name="connsiteX6477" fmla="*/ 1748131 w 3773795"/>
                <a:gd name="connsiteY6477" fmla="*/ 276199 h 1451770"/>
                <a:gd name="connsiteX6478" fmla="*/ 1750547 w 3773795"/>
                <a:gd name="connsiteY6478" fmla="*/ 277050 h 1451770"/>
                <a:gd name="connsiteX6479" fmla="*/ 1755265 w 3773795"/>
                <a:gd name="connsiteY6479" fmla="*/ 277800 h 1451770"/>
                <a:gd name="connsiteX6480" fmla="*/ 1759745 w 3773795"/>
                <a:gd name="connsiteY6480" fmla="*/ 279163 h 1451770"/>
                <a:gd name="connsiteX6481" fmla="*/ 1768046 w 3773795"/>
                <a:gd name="connsiteY6481" fmla="*/ 282270 h 1451770"/>
                <a:gd name="connsiteX6482" fmla="*/ 1769217 w 3773795"/>
                <a:gd name="connsiteY6482" fmla="*/ 283497 h 1451770"/>
                <a:gd name="connsiteX6483" fmla="*/ 1770268 w 3773795"/>
                <a:gd name="connsiteY6483" fmla="*/ 283692 h 1451770"/>
                <a:gd name="connsiteX6484" fmla="*/ 1772639 w 3773795"/>
                <a:gd name="connsiteY6484" fmla="*/ 285928 h 1451770"/>
                <a:gd name="connsiteX6485" fmla="*/ 1770845 w 3773795"/>
                <a:gd name="connsiteY6485" fmla="*/ 289210 h 1451770"/>
                <a:gd name="connsiteX6486" fmla="*/ 1768923 w 3773795"/>
                <a:gd name="connsiteY6486" fmla="*/ 293926 h 1451770"/>
                <a:gd name="connsiteX6487" fmla="*/ 1765381 w 3773795"/>
                <a:gd name="connsiteY6487" fmla="*/ 296131 h 1451770"/>
                <a:gd name="connsiteX6488" fmla="*/ 1767560 w 3773795"/>
                <a:gd name="connsiteY6488" fmla="*/ 296339 h 1451770"/>
                <a:gd name="connsiteX6489" fmla="*/ 1769079 w 3773795"/>
                <a:gd name="connsiteY6489" fmla="*/ 295766 h 1451770"/>
                <a:gd name="connsiteX6490" fmla="*/ 1771912 w 3773795"/>
                <a:gd name="connsiteY6490" fmla="*/ 292633 h 1451770"/>
                <a:gd name="connsiteX6491" fmla="*/ 1774430 w 3773795"/>
                <a:gd name="connsiteY6491" fmla="*/ 290390 h 1451770"/>
                <a:gd name="connsiteX6492" fmla="*/ 1773855 w 3773795"/>
                <a:gd name="connsiteY6492" fmla="*/ 281060 h 1451770"/>
                <a:gd name="connsiteX6493" fmla="*/ 1769242 w 3773795"/>
                <a:gd name="connsiteY6493" fmla="*/ 276313 h 1451770"/>
                <a:gd name="connsiteX6494" fmla="*/ 1765790 w 3773795"/>
                <a:gd name="connsiteY6494" fmla="*/ 274720 h 1451770"/>
                <a:gd name="connsiteX6495" fmla="*/ 1757679 w 3773795"/>
                <a:gd name="connsiteY6495" fmla="*/ 269729 h 1451770"/>
                <a:gd name="connsiteX6496" fmla="*/ 1754930 w 3773795"/>
                <a:gd name="connsiteY6496" fmla="*/ 267600 h 1451770"/>
                <a:gd name="connsiteX6497" fmla="*/ 1751307 w 3773795"/>
                <a:gd name="connsiteY6497" fmla="*/ 265314 h 1451770"/>
                <a:gd name="connsiteX6498" fmla="*/ 1752717 w 3773795"/>
                <a:gd name="connsiteY6498" fmla="*/ 263988 h 1451770"/>
                <a:gd name="connsiteX6499" fmla="*/ 1768346 w 3773795"/>
                <a:gd name="connsiteY6499" fmla="*/ 265737 h 1451770"/>
                <a:gd name="connsiteX6500" fmla="*/ 1776295 w 3773795"/>
                <a:gd name="connsiteY6500" fmla="*/ 264891 h 1451770"/>
                <a:gd name="connsiteX6501" fmla="*/ 1784845 w 3773795"/>
                <a:gd name="connsiteY6501" fmla="*/ 265384 h 1451770"/>
                <a:gd name="connsiteX6502" fmla="*/ 1796373 w 3773795"/>
                <a:gd name="connsiteY6502" fmla="*/ 263270 h 1451770"/>
                <a:gd name="connsiteX6503" fmla="*/ 1801171 w 3773795"/>
                <a:gd name="connsiteY6503" fmla="*/ 265471 h 1451770"/>
                <a:gd name="connsiteX6504" fmla="*/ 1806700 w 3773795"/>
                <a:gd name="connsiteY6504" fmla="*/ 265395 h 1451770"/>
                <a:gd name="connsiteX6505" fmla="*/ 1813046 w 3773795"/>
                <a:gd name="connsiteY6505" fmla="*/ 267215 h 1451770"/>
                <a:gd name="connsiteX6506" fmla="*/ 1814948 w 3773795"/>
                <a:gd name="connsiteY6506" fmla="*/ 265093 h 1451770"/>
                <a:gd name="connsiteX6507" fmla="*/ 1804538 w 3773795"/>
                <a:gd name="connsiteY6507" fmla="*/ 262788 h 1451770"/>
                <a:gd name="connsiteX6508" fmla="*/ 1799886 w 3773795"/>
                <a:gd name="connsiteY6508" fmla="*/ 263026 h 1451770"/>
                <a:gd name="connsiteX6509" fmla="*/ 1798237 w 3773795"/>
                <a:gd name="connsiteY6509" fmla="*/ 261821 h 1451770"/>
                <a:gd name="connsiteX6510" fmla="*/ 1799966 w 3773795"/>
                <a:gd name="connsiteY6510" fmla="*/ 259137 h 1451770"/>
                <a:gd name="connsiteX6511" fmla="*/ 1802024 w 3773795"/>
                <a:gd name="connsiteY6511" fmla="*/ 255039 h 1451770"/>
                <a:gd name="connsiteX6512" fmla="*/ 1800010 w 3773795"/>
                <a:gd name="connsiteY6512" fmla="*/ 251467 h 1451770"/>
                <a:gd name="connsiteX6513" fmla="*/ 1798069 w 3773795"/>
                <a:gd name="connsiteY6513" fmla="*/ 249563 h 1451770"/>
                <a:gd name="connsiteX6514" fmla="*/ 1797747 w 3773795"/>
                <a:gd name="connsiteY6514" fmla="*/ 245942 h 1451770"/>
                <a:gd name="connsiteX6515" fmla="*/ 1799606 w 3773795"/>
                <a:gd name="connsiteY6515" fmla="*/ 241773 h 1451770"/>
                <a:gd name="connsiteX6516" fmla="*/ 1803936 w 3773795"/>
                <a:gd name="connsiteY6516" fmla="*/ 240002 h 1451770"/>
                <a:gd name="connsiteX6517" fmla="*/ 1806304 w 3773795"/>
                <a:gd name="connsiteY6517" fmla="*/ 236602 h 1451770"/>
                <a:gd name="connsiteX6518" fmla="*/ 1811275 w 3773795"/>
                <a:gd name="connsiteY6518" fmla="*/ 232097 h 1451770"/>
                <a:gd name="connsiteX6519" fmla="*/ 1835432 w 3773795"/>
                <a:gd name="connsiteY6519" fmla="*/ 217531 h 1451770"/>
                <a:gd name="connsiteX6520" fmla="*/ 1846959 w 3773795"/>
                <a:gd name="connsiteY6520" fmla="*/ 211967 h 1451770"/>
                <a:gd name="connsiteX6521" fmla="*/ 1851377 w 3773795"/>
                <a:gd name="connsiteY6521" fmla="*/ 211277 h 1451770"/>
                <a:gd name="connsiteX6522" fmla="*/ 1856452 w 3773795"/>
                <a:gd name="connsiteY6522" fmla="*/ 211708 h 1451770"/>
                <a:gd name="connsiteX6523" fmla="*/ 1866486 w 3773795"/>
                <a:gd name="connsiteY6523" fmla="*/ 207047 h 1451770"/>
                <a:gd name="connsiteX6524" fmla="*/ 1943740 w 3773795"/>
                <a:gd name="connsiteY6524" fmla="*/ 185164 h 1451770"/>
                <a:gd name="connsiteX6525" fmla="*/ 1945177 w 3773795"/>
                <a:gd name="connsiteY6525" fmla="*/ 185349 h 1451770"/>
                <a:gd name="connsiteX6526" fmla="*/ 1947880 w 3773795"/>
                <a:gd name="connsiteY6526" fmla="*/ 187968 h 1451770"/>
                <a:gd name="connsiteX6527" fmla="*/ 1945906 w 3773795"/>
                <a:gd name="connsiteY6527" fmla="*/ 190282 h 1451770"/>
                <a:gd name="connsiteX6528" fmla="*/ 1943151 w 3773795"/>
                <a:gd name="connsiteY6528" fmla="*/ 191468 h 1451770"/>
                <a:gd name="connsiteX6529" fmla="*/ 1940104 w 3773795"/>
                <a:gd name="connsiteY6529" fmla="*/ 189516 h 1451770"/>
                <a:gd name="connsiteX6530" fmla="*/ 1932538 w 3773795"/>
                <a:gd name="connsiteY6530" fmla="*/ 189656 h 1451770"/>
                <a:gd name="connsiteX6531" fmla="*/ 1919577 w 3773795"/>
                <a:gd name="connsiteY6531" fmla="*/ 187540 h 1451770"/>
                <a:gd name="connsiteX6532" fmla="*/ 1923287 w 3773795"/>
                <a:gd name="connsiteY6532" fmla="*/ 186211 h 1451770"/>
                <a:gd name="connsiteX6533" fmla="*/ 1920491 w 3773795"/>
                <a:gd name="connsiteY6533" fmla="*/ 177923 h 1451770"/>
                <a:gd name="connsiteX6534" fmla="*/ 1924550 w 3773795"/>
                <a:gd name="connsiteY6534" fmla="*/ 178107 h 1451770"/>
                <a:gd name="connsiteX6535" fmla="*/ 1925672 w 3773795"/>
                <a:gd name="connsiteY6535" fmla="*/ 179050 h 1451770"/>
                <a:gd name="connsiteX6536" fmla="*/ 1926301 w 3773795"/>
                <a:gd name="connsiteY6536" fmla="*/ 180130 h 1451770"/>
                <a:gd name="connsiteX6537" fmla="*/ 1926286 w 3773795"/>
                <a:gd name="connsiteY6537" fmla="*/ 181535 h 1451770"/>
                <a:gd name="connsiteX6538" fmla="*/ 1925405 w 3773795"/>
                <a:gd name="connsiteY6538" fmla="*/ 181535 h 1451770"/>
                <a:gd name="connsiteX6539" fmla="*/ 1921549 w 3773795"/>
                <a:gd name="connsiteY6539" fmla="*/ 181694 h 1451770"/>
                <a:gd name="connsiteX6540" fmla="*/ 1920836 w 3773795"/>
                <a:gd name="connsiteY6540" fmla="*/ 182494 h 1451770"/>
                <a:gd name="connsiteX6541" fmla="*/ 1916368 w 3773795"/>
                <a:gd name="connsiteY6541" fmla="*/ 184358 h 1451770"/>
                <a:gd name="connsiteX6542" fmla="*/ 1913730 w 3773795"/>
                <a:gd name="connsiteY6542" fmla="*/ 184721 h 1451770"/>
                <a:gd name="connsiteX6543" fmla="*/ 1910911 w 3773795"/>
                <a:gd name="connsiteY6543" fmla="*/ 183690 h 1451770"/>
                <a:gd name="connsiteX6544" fmla="*/ 1911680 w 3773795"/>
                <a:gd name="connsiteY6544" fmla="*/ 181551 h 1451770"/>
                <a:gd name="connsiteX6545" fmla="*/ 1918141 w 3773795"/>
                <a:gd name="connsiteY6545" fmla="*/ 181169 h 1451770"/>
                <a:gd name="connsiteX6546" fmla="*/ 1830893 w 3773795"/>
                <a:gd name="connsiteY6546" fmla="*/ 124475 h 1451770"/>
                <a:gd name="connsiteX6547" fmla="*/ 1839406 w 3773795"/>
                <a:gd name="connsiteY6547" fmla="*/ 126512 h 1451770"/>
                <a:gd name="connsiteX6548" fmla="*/ 1844972 w 3773795"/>
                <a:gd name="connsiteY6548" fmla="*/ 129514 h 1451770"/>
                <a:gd name="connsiteX6549" fmla="*/ 1846218 w 3773795"/>
                <a:gd name="connsiteY6549" fmla="*/ 131118 h 1451770"/>
                <a:gd name="connsiteX6550" fmla="*/ 1845212 w 3773795"/>
                <a:gd name="connsiteY6550" fmla="*/ 131939 h 1451770"/>
                <a:gd name="connsiteX6551" fmla="*/ 1842718 w 3773795"/>
                <a:gd name="connsiteY6551" fmla="*/ 132499 h 1451770"/>
                <a:gd name="connsiteX6552" fmla="*/ 1841504 w 3773795"/>
                <a:gd name="connsiteY6552" fmla="*/ 133350 h 1451770"/>
                <a:gd name="connsiteX6553" fmla="*/ 1839349 w 3773795"/>
                <a:gd name="connsiteY6553" fmla="*/ 137176 h 1451770"/>
                <a:gd name="connsiteX6554" fmla="*/ 1838431 w 3773795"/>
                <a:gd name="connsiteY6554" fmla="*/ 140640 h 1451770"/>
                <a:gd name="connsiteX6555" fmla="*/ 1831843 w 3773795"/>
                <a:gd name="connsiteY6555" fmla="*/ 151887 h 1451770"/>
                <a:gd name="connsiteX6556" fmla="*/ 1831057 w 3773795"/>
                <a:gd name="connsiteY6556" fmla="*/ 153900 h 1451770"/>
                <a:gd name="connsiteX6557" fmla="*/ 1834927 w 3773795"/>
                <a:gd name="connsiteY6557" fmla="*/ 152150 h 1451770"/>
                <a:gd name="connsiteX6558" fmla="*/ 1838472 w 3773795"/>
                <a:gd name="connsiteY6558" fmla="*/ 148321 h 1451770"/>
                <a:gd name="connsiteX6559" fmla="*/ 1840621 w 3773795"/>
                <a:gd name="connsiteY6559" fmla="*/ 145144 h 1451770"/>
                <a:gd name="connsiteX6560" fmla="*/ 1842956 w 3773795"/>
                <a:gd name="connsiteY6560" fmla="*/ 143112 h 1451770"/>
                <a:gd name="connsiteX6561" fmla="*/ 1845726 w 3773795"/>
                <a:gd name="connsiteY6561" fmla="*/ 143076 h 1451770"/>
                <a:gd name="connsiteX6562" fmla="*/ 1848455 w 3773795"/>
                <a:gd name="connsiteY6562" fmla="*/ 142349 h 1451770"/>
                <a:gd name="connsiteX6563" fmla="*/ 1853636 w 3773795"/>
                <a:gd name="connsiteY6563" fmla="*/ 139653 h 1451770"/>
                <a:gd name="connsiteX6564" fmla="*/ 1858931 w 3773795"/>
                <a:gd name="connsiteY6564" fmla="*/ 138477 h 1451770"/>
                <a:gd name="connsiteX6565" fmla="*/ 1861759 w 3773795"/>
                <a:gd name="connsiteY6565" fmla="*/ 138513 h 1451770"/>
                <a:gd name="connsiteX6566" fmla="*/ 1864521 w 3773795"/>
                <a:gd name="connsiteY6566" fmla="*/ 139794 h 1451770"/>
                <a:gd name="connsiteX6567" fmla="*/ 1866253 w 3773795"/>
                <a:gd name="connsiteY6567" fmla="*/ 142779 h 1451770"/>
                <a:gd name="connsiteX6568" fmla="*/ 1868179 w 3773795"/>
                <a:gd name="connsiteY6568" fmla="*/ 145202 h 1451770"/>
                <a:gd name="connsiteX6569" fmla="*/ 1875102 w 3773795"/>
                <a:gd name="connsiteY6569" fmla="*/ 146972 h 1451770"/>
                <a:gd name="connsiteX6570" fmla="*/ 1876098 w 3773795"/>
                <a:gd name="connsiteY6570" fmla="*/ 147618 h 1451770"/>
                <a:gd name="connsiteX6571" fmla="*/ 1876711 w 3773795"/>
                <a:gd name="connsiteY6571" fmla="*/ 149604 h 1451770"/>
                <a:gd name="connsiteX6572" fmla="*/ 1876160 w 3773795"/>
                <a:gd name="connsiteY6572" fmla="*/ 151723 h 1451770"/>
                <a:gd name="connsiteX6573" fmla="*/ 1880166 w 3773795"/>
                <a:gd name="connsiteY6573" fmla="*/ 153914 h 1451770"/>
                <a:gd name="connsiteX6574" fmla="*/ 1885646 w 3773795"/>
                <a:gd name="connsiteY6574" fmla="*/ 152952 h 1451770"/>
                <a:gd name="connsiteX6575" fmla="*/ 1888600 w 3773795"/>
                <a:gd name="connsiteY6575" fmla="*/ 153517 h 1451770"/>
                <a:gd name="connsiteX6576" fmla="*/ 1891505 w 3773795"/>
                <a:gd name="connsiteY6576" fmla="*/ 154711 h 1451770"/>
                <a:gd name="connsiteX6577" fmla="*/ 1892801 w 3773795"/>
                <a:gd name="connsiteY6577" fmla="*/ 156609 h 1451770"/>
                <a:gd name="connsiteX6578" fmla="*/ 1893939 w 3773795"/>
                <a:gd name="connsiteY6578" fmla="*/ 158894 h 1451770"/>
                <a:gd name="connsiteX6579" fmla="*/ 1895135 w 3773795"/>
                <a:gd name="connsiteY6579" fmla="*/ 162146 h 1451770"/>
                <a:gd name="connsiteX6580" fmla="*/ 1895854 w 3773795"/>
                <a:gd name="connsiteY6580" fmla="*/ 165652 h 1451770"/>
                <a:gd name="connsiteX6581" fmla="*/ 1895189 w 3773795"/>
                <a:gd name="connsiteY6581" fmla="*/ 170207 h 1451770"/>
                <a:gd name="connsiteX6582" fmla="*/ 1884576 w 3773795"/>
                <a:gd name="connsiteY6582" fmla="*/ 177312 h 1451770"/>
                <a:gd name="connsiteX6583" fmla="*/ 1882567 w 3773795"/>
                <a:gd name="connsiteY6583" fmla="*/ 177938 h 1451770"/>
                <a:gd name="connsiteX6584" fmla="*/ 1877651 w 3773795"/>
                <a:gd name="connsiteY6584" fmla="*/ 177481 h 1451770"/>
                <a:gd name="connsiteX6585" fmla="*/ 1872742 w 3773795"/>
                <a:gd name="connsiteY6585" fmla="*/ 178163 h 1451770"/>
                <a:gd name="connsiteX6586" fmla="*/ 1859959 w 3773795"/>
                <a:gd name="connsiteY6586" fmla="*/ 181858 h 1451770"/>
                <a:gd name="connsiteX6587" fmla="*/ 1844122 w 3773795"/>
                <a:gd name="connsiteY6587" fmla="*/ 181974 h 1451770"/>
                <a:gd name="connsiteX6588" fmla="*/ 1839557 w 3773795"/>
                <a:gd name="connsiteY6588" fmla="*/ 185237 h 1451770"/>
                <a:gd name="connsiteX6589" fmla="*/ 1838179 w 3773795"/>
                <a:gd name="connsiteY6589" fmla="*/ 185141 h 1451770"/>
                <a:gd name="connsiteX6590" fmla="*/ 1836825 w 3773795"/>
                <a:gd name="connsiteY6590" fmla="*/ 184574 h 1451770"/>
                <a:gd name="connsiteX6591" fmla="*/ 1835587 w 3773795"/>
                <a:gd name="connsiteY6591" fmla="*/ 183475 h 1451770"/>
                <a:gd name="connsiteX6592" fmla="*/ 1825930 w 3773795"/>
                <a:gd name="connsiteY6592" fmla="*/ 184400 h 1451770"/>
                <a:gd name="connsiteX6593" fmla="*/ 1815138 w 3773795"/>
                <a:gd name="connsiteY6593" fmla="*/ 184928 h 1451770"/>
                <a:gd name="connsiteX6594" fmla="*/ 1804341 w 3773795"/>
                <a:gd name="connsiteY6594" fmla="*/ 185043 h 1451770"/>
                <a:gd name="connsiteX6595" fmla="*/ 1800711 w 3773795"/>
                <a:gd name="connsiteY6595" fmla="*/ 187391 h 1451770"/>
                <a:gd name="connsiteX6596" fmla="*/ 1789683 w 3773795"/>
                <a:gd name="connsiteY6596" fmla="*/ 191958 h 1451770"/>
                <a:gd name="connsiteX6597" fmla="*/ 1779534 w 3773795"/>
                <a:gd name="connsiteY6597" fmla="*/ 195420 h 1451770"/>
                <a:gd name="connsiteX6598" fmla="*/ 1774289 w 3773795"/>
                <a:gd name="connsiteY6598" fmla="*/ 196286 h 1451770"/>
                <a:gd name="connsiteX6599" fmla="*/ 1766667 w 3773795"/>
                <a:gd name="connsiteY6599" fmla="*/ 195369 h 1451770"/>
                <a:gd name="connsiteX6600" fmla="*/ 1764265 w 3773795"/>
                <a:gd name="connsiteY6600" fmla="*/ 194194 h 1451770"/>
                <a:gd name="connsiteX6601" fmla="*/ 1761952 w 3773795"/>
                <a:gd name="connsiteY6601" fmla="*/ 192408 h 1451770"/>
                <a:gd name="connsiteX6602" fmla="*/ 1765304 w 3773795"/>
                <a:gd name="connsiteY6602" fmla="*/ 190216 h 1451770"/>
                <a:gd name="connsiteX6603" fmla="*/ 1767668 w 3773795"/>
                <a:gd name="connsiteY6603" fmla="*/ 185684 h 1451770"/>
                <a:gd name="connsiteX6604" fmla="*/ 1770594 w 3773795"/>
                <a:gd name="connsiteY6604" fmla="*/ 183048 h 1451770"/>
                <a:gd name="connsiteX6605" fmla="*/ 1778135 w 3773795"/>
                <a:gd name="connsiteY6605" fmla="*/ 177978 h 1451770"/>
                <a:gd name="connsiteX6606" fmla="*/ 1778988 w 3773795"/>
                <a:gd name="connsiteY6606" fmla="*/ 175980 h 1451770"/>
                <a:gd name="connsiteX6607" fmla="*/ 1780448 w 3773795"/>
                <a:gd name="connsiteY6607" fmla="*/ 171631 h 1451770"/>
                <a:gd name="connsiteX6608" fmla="*/ 1781320 w 3773795"/>
                <a:gd name="connsiteY6608" fmla="*/ 170011 h 1451770"/>
                <a:gd name="connsiteX6609" fmla="*/ 1782471 w 3773795"/>
                <a:gd name="connsiteY6609" fmla="*/ 168470 h 1451770"/>
                <a:gd name="connsiteX6610" fmla="*/ 1783404 w 3773795"/>
                <a:gd name="connsiteY6610" fmla="*/ 166627 h 1451770"/>
                <a:gd name="connsiteX6611" fmla="*/ 1783525 w 3773795"/>
                <a:gd name="connsiteY6611" fmla="*/ 163830 h 1451770"/>
                <a:gd name="connsiteX6612" fmla="*/ 1783996 w 3773795"/>
                <a:gd name="connsiteY6612" fmla="*/ 161512 h 1451770"/>
                <a:gd name="connsiteX6613" fmla="*/ 1786924 w 3773795"/>
                <a:gd name="connsiteY6613" fmla="*/ 157912 h 1451770"/>
                <a:gd name="connsiteX6614" fmla="*/ 1789118 w 3773795"/>
                <a:gd name="connsiteY6614" fmla="*/ 156225 h 1451770"/>
                <a:gd name="connsiteX6615" fmla="*/ 1791417 w 3773795"/>
                <a:gd name="connsiteY6615" fmla="*/ 155757 h 1451770"/>
                <a:gd name="connsiteX6616" fmla="*/ 1797077 w 3773795"/>
                <a:gd name="connsiteY6616" fmla="*/ 156430 h 1451770"/>
                <a:gd name="connsiteX6617" fmla="*/ 1798850 w 3773795"/>
                <a:gd name="connsiteY6617" fmla="*/ 156192 h 1451770"/>
                <a:gd name="connsiteX6618" fmla="*/ 1797572 w 3773795"/>
                <a:gd name="connsiteY6618" fmla="*/ 155023 h 1451770"/>
                <a:gd name="connsiteX6619" fmla="*/ 1796649 w 3773795"/>
                <a:gd name="connsiteY6619" fmla="*/ 150856 h 1451770"/>
                <a:gd name="connsiteX6620" fmla="*/ 1796833 w 3773795"/>
                <a:gd name="connsiteY6620" fmla="*/ 149483 h 1451770"/>
                <a:gd name="connsiteX6621" fmla="*/ 1797647 w 3773795"/>
                <a:gd name="connsiteY6621" fmla="*/ 146825 h 1451770"/>
                <a:gd name="connsiteX6622" fmla="*/ 1799064 w 3773795"/>
                <a:gd name="connsiteY6622" fmla="*/ 145528 h 1451770"/>
                <a:gd name="connsiteX6623" fmla="*/ 1800510 w 3773795"/>
                <a:gd name="connsiteY6623" fmla="*/ 144706 h 1451770"/>
                <a:gd name="connsiteX6624" fmla="*/ 1801335 w 3773795"/>
                <a:gd name="connsiteY6624" fmla="*/ 141123 h 1451770"/>
                <a:gd name="connsiteX6625" fmla="*/ 1800983 w 3773795"/>
                <a:gd name="connsiteY6625" fmla="*/ 139794 h 1451770"/>
                <a:gd name="connsiteX6626" fmla="*/ 1803119 w 3773795"/>
                <a:gd name="connsiteY6626" fmla="*/ 138138 h 1451770"/>
                <a:gd name="connsiteX6627" fmla="*/ 1804164 w 3773795"/>
                <a:gd name="connsiteY6627" fmla="*/ 135794 h 1451770"/>
                <a:gd name="connsiteX6628" fmla="*/ 1806693 w 3773795"/>
                <a:gd name="connsiteY6628" fmla="*/ 134404 h 1451770"/>
                <a:gd name="connsiteX6629" fmla="*/ 1811837 w 3773795"/>
                <a:gd name="connsiteY6629" fmla="*/ 133326 h 1451770"/>
                <a:gd name="connsiteX6630" fmla="*/ 1812106 w 3773795"/>
                <a:gd name="connsiteY6630" fmla="*/ 130449 h 1451770"/>
                <a:gd name="connsiteX6631" fmla="*/ 1812888 w 3773795"/>
                <a:gd name="connsiteY6631" fmla="*/ 128578 h 1451770"/>
                <a:gd name="connsiteX6632" fmla="*/ 1814054 w 3773795"/>
                <a:gd name="connsiteY6632" fmla="*/ 128037 h 1451770"/>
                <a:gd name="connsiteX6633" fmla="*/ 1816663 w 3773795"/>
                <a:gd name="connsiteY6633" fmla="*/ 127512 h 1451770"/>
                <a:gd name="connsiteX6634" fmla="*/ 1818053 w 3773795"/>
                <a:gd name="connsiteY6634" fmla="*/ 127599 h 1451770"/>
                <a:gd name="connsiteX6635" fmla="*/ 1819997 w 3773795"/>
                <a:gd name="connsiteY6635" fmla="*/ 130500 h 1451770"/>
                <a:gd name="connsiteX6636" fmla="*/ 1822057 w 3773795"/>
                <a:gd name="connsiteY6636" fmla="*/ 132870 h 1451770"/>
                <a:gd name="connsiteX6637" fmla="*/ 1824782 w 3773795"/>
                <a:gd name="connsiteY6637" fmla="*/ 133423 h 1451770"/>
                <a:gd name="connsiteX6638" fmla="*/ 1827496 w 3773795"/>
                <a:gd name="connsiteY6638" fmla="*/ 133246 h 1451770"/>
                <a:gd name="connsiteX6639" fmla="*/ 1825860 w 3773795"/>
                <a:gd name="connsiteY6639" fmla="*/ 130451 h 1451770"/>
                <a:gd name="connsiteX6640" fmla="*/ 1825935 w 3773795"/>
                <a:gd name="connsiteY6640" fmla="*/ 127441 h 1451770"/>
                <a:gd name="connsiteX6641" fmla="*/ 1826918 w 3773795"/>
                <a:gd name="connsiteY6641" fmla="*/ 125481 h 1451770"/>
                <a:gd name="connsiteX6642" fmla="*/ 1828185 w 3773795"/>
                <a:gd name="connsiteY6642" fmla="*/ 124630 h 1451770"/>
                <a:gd name="connsiteX6643" fmla="*/ 1250308 w 3773795"/>
                <a:gd name="connsiteY6643" fmla="*/ 112959 h 1451770"/>
                <a:gd name="connsiteX6644" fmla="*/ 1252530 w 3773795"/>
                <a:gd name="connsiteY6644" fmla="*/ 113627 h 1451770"/>
                <a:gd name="connsiteX6645" fmla="*/ 1255263 w 3773795"/>
                <a:gd name="connsiteY6645" fmla="*/ 115416 h 1451770"/>
                <a:gd name="connsiteX6646" fmla="*/ 1257360 w 3773795"/>
                <a:gd name="connsiteY6646" fmla="*/ 114022 h 1451770"/>
                <a:gd name="connsiteX6647" fmla="*/ 1277101 w 3773795"/>
                <a:gd name="connsiteY6647" fmla="*/ 118327 h 1451770"/>
                <a:gd name="connsiteX6648" fmla="*/ 1281284 w 3773795"/>
                <a:gd name="connsiteY6648" fmla="*/ 119942 h 1451770"/>
                <a:gd name="connsiteX6649" fmla="*/ 1282161 w 3773795"/>
                <a:gd name="connsiteY6649" fmla="*/ 121061 h 1451770"/>
                <a:gd name="connsiteX6650" fmla="*/ 1264939 w 3773795"/>
                <a:gd name="connsiteY6650" fmla="*/ 121678 h 1451770"/>
                <a:gd name="connsiteX6651" fmla="*/ 1261387 w 3773795"/>
                <a:gd name="connsiteY6651" fmla="*/ 121484 h 1451770"/>
                <a:gd name="connsiteX6652" fmla="*/ 1261100 w 3773795"/>
                <a:gd name="connsiteY6652" fmla="*/ 118945 h 1451770"/>
                <a:gd name="connsiteX6653" fmla="*/ 1257144 w 3773795"/>
                <a:gd name="connsiteY6653" fmla="*/ 118894 h 1451770"/>
                <a:gd name="connsiteX6654" fmla="*/ 1250424 w 3773795"/>
                <a:gd name="connsiteY6654" fmla="*/ 117235 h 1451770"/>
                <a:gd name="connsiteX6655" fmla="*/ 1248615 w 3773795"/>
                <a:gd name="connsiteY6655" fmla="*/ 114897 h 1451770"/>
                <a:gd name="connsiteX6656" fmla="*/ 1248166 w 3773795"/>
                <a:gd name="connsiteY6656" fmla="*/ 113944 h 1451770"/>
                <a:gd name="connsiteX6657" fmla="*/ 1779228 w 3773795"/>
                <a:gd name="connsiteY6657" fmla="*/ 111131 h 1451770"/>
                <a:gd name="connsiteX6658" fmla="*/ 1780845 w 3773795"/>
                <a:gd name="connsiteY6658" fmla="*/ 111997 h 1451770"/>
                <a:gd name="connsiteX6659" fmla="*/ 1784356 w 3773795"/>
                <a:gd name="connsiteY6659" fmla="*/ 112669 h 1451770"/>
                <a:gd name="connsiteX6660" fmla="*/ 1780722 w 3773795"/>
                <a:gd name="connsiteY6660" fmla="*/ 115467 h 1451770"/>
                <a:gd name="connsiteX6661" fmla="*/ 1775846 w 3773795"/>
                <a:gd name="connsiteY6661" fmla="*/ 116096 h 1451770"/>
                <a:gd name="connsiteX6662" fmla="*/ 1776440 w 3773795"/>
                <a:gd name="connsiteY6662" fmla="*/ 112610 h 1451770"/>
                <a:gd name="connsiteX6663" fmla="*/ 1776738 w 3773795"/>
                <a:gd name="connsiteY6663" fmla="*/ 111665 h 1451770"/>
                <a:gd name="connsiteX6664" fmla="*/ 1595334 w 3773795"/>
                <a:gd name="connsiteY6664" fmla="*/ 93474 h 1451770"/>
                <a:gd name="connsiteX6665" fmla="*/ 1604654 w 3773795"/>
                <a:gd name="connsiteY6665" fmla="*/ 93820 h 1451770"/>
                <a:gd name="connsiteX6666" fmla="*/ 1613926 w 3773795"/>
                <a:gd name="connsiteY6666" fmla="*/ 96289 h 1451770"/>
                <a:gd name="connsiteX6667" fmla="*/ 1633579 w 3773795"/>
                <a:gd name="connsiteY6667" fmla="*/ 99082 h 1451770"/>
                <a:gd name="connsiteX6668" fmla="*/ 1640690 w 3773795"/>
                <a:gd name="connsiteY6668" fmla="*/ 100923 h 1451770"/>
                <a:gd name="connsiteX6669" fmla="*/ 1636276 w 3773795"/>
                <a:gd name="connsiteY6669" fmla="*/ 105333 h 1451770"/>
                <a:gd name="connsiteX6670" fmla="*/ 1631379 w 3773795"/>
                <a:gd name="connsiteY6670" fmla="*/ 106981 h 1451770"/>
                <a:gd name="connsiteX6671" fmla="*/ 1626360 w 3773795"/>
                <a:gd name="connsiteY6671" fmla="*/ 109301 h 1451770"/>
                <a:gd name="connsiteX6672" fmla="*/ 1621301 w 3773795"/>
                <a:gd name="connsiteY6672" fmla="*/ 110957 h 1451770"/>
                <a:gd name="connsiteX6673" fmla="*/ 1615932 w 3773795"/>
                <a:gd name="connsiteY6673" fmla="*/ 111922 h 1451770"/>
                <a:gd name="connsiteX6674" fmla="*/ 1610562 w 3773795"/>
                <a:gd name="connsiteY6674" fmla="*/ 112407 h 1451770"/>
                <a:gd name="connsiteX6675" fmla="*/ 1604218 w 3773795"/>
                <a:gd name="connsiteY6675" fmla="*/ 111948 h 1451770"/>
                <a:gd name="connsiteX6676" fmla="*/ 1593823 w 3773795"/>
                <a:gd name="connsiteY6676" fmla="*/ 106646 h 1451770"/>
                <a:gd name="connsiteX6677" fmla="*/ 1587027 w 3773795"/>
                <a:gd name="connsiteY6677" fmla="*/ 104392 h 1451770"/>
                <a:gd name="connsiteX6678" fmla="*/ 1581495 w 3773795"/>
                <a:gd name="connsiteY6678" fmla="*/ 100903 h 1451770"/>
                <a:gd name="connsiteX6679" fmla="*/ 1580262 w 3773795"/>
                <a:gd name="connsiteY6679" fmla="*/ 97047 h 1451770"/>
                <a:gd name="connsiteX6680" fmla="*/ 1583777 w 3773795"/>
                <a:gd name="connsiteY6680" fmla="*/ 94564 h 1451770"/>
                <a:gd name="connsiteX6681" fmla="*/ 1588126 w 3773795"/>
                <a:gd name="connsiteY6681" fmla="*/ 93630 h 1451770"/>
                <a:gd name="connsiteX6682" fmla="*/ 692815 w 3773795"/>
                <a:gd name="connsiteY6682" fmla="*/ 91354 h 1451770"/>
                <a:gd name="connsiteX6683" fmla="*/ 699848 w 3773795"/>
                <a:gd name="connsiteY6683" fmla="*/ 93659 h 1451770"/>
                <a:gd name="connsiteX6684" fmla="*/ 699483 w 3773795"/>
                <a:gd name="connsiteY6684" fmla="*/ 95592 h 1451770"/>
                <a:gd name="connsiteX6685" fmla="*/ 699591 w 3773795"/>
                <a:gd name="connsiteY6685" fmla="*/ 96555 h 1451770"/>
                <a:gd name="connsiteX6686" fmla="*/ 701452 w 3773795"/>
                <a:gd name="connsiteY6686" fmla="*/ 97510 h 1451770"/>
                <a:gd name="connsiteX6687" fmla="*/ 703273 w 3773795"/>
                <a:gd name="connsiteY6687" fmla="*/ 98925 h 1451770"/>
                <a:gd name="connsiteX6688" fmla="*/ 703845 w 3773795"/>
                <a:gd name="connsiteY6688" fmla="*/ 99544 h 1451770"/>
                <a:gd name="connsiteX6689" fmla="*/ 703759 w 3773795"/>
                <a:gd name="connsiteY6689" fmla="*/ 100119 h 1451770"/>
                <a:gd name="connsiteX6690" fmla="*/ 695909 w 3773795"/>
                <a:gd name="connsiteY6690" fmla="*/ 99542 h 1451770"/>
                <a:gd name="connsiteX6691" fmla="*/ 682152 w 3773795"/>
                <a:gd name="connsiteY6691" fmla="*/ 99923 h 1451770"/>
                <a:gd name="connsiteX6692" fmla="*/ 674132 w 3773795"/>
                <a:gd name="connsiteY6692" fmla="*/ 97094 h 1451770"/>
                <a:gd name="connsiteX6693" fmla="*/ 682562 w 3773795"/>
                <a:gd name="connsiteY6693" fmla="*/ 94325 h 1451770"/>
                <a:gd name="connsiteX6694" fmla="*/ 687053 w 3773795"/>
                <a:gd name="connsiteY6694" fmla="*/ 93664 h 1451770"/>
                <a:gd name="connsiteX6695" fmla="*/ 883160 w 3773795"/>
                <a:gd name="connsiteY6695" fmla="*/ 90109 h 1451770"/>
                <a:gd name="connsiteX6696" fmla="*/ 888846 w 3773795"/>
                <a:gd name="connsiteY6696" fmla="*/ 91939 h 1451770"/>
                <a:gd name="connsiteX6697" fmla="*/ 891264 w 3773795"/>
                <a:gd name="connsiteY6697" fmla="*/ 96402 h 1451770"/>
                <a:gd name="connsiteX6698" fmla="*/ 886352 w 3773795"/>
                <a:gd name="connsiteY6698" fmla="*/ 98342 h 1451770"/>
                <a:gd name="connsiteX6699" fmla="*/ 878431 w 3773795"/>
                <a:gd name="connsiteY6699" fmla="*/ 99991 h 1451770"/>
                <a:gd name="connsiteX6700" fmla="*/ 875600 w 3773795"/>
                <a:gd name="connsiteY6700" fmla="*/ 99492 h 1451770"/>
                <a:gd name="connsiteX6701" fmla="*/ 874862 w 3773795"/>
                <a:gd name="connsiteY6701" fmla="*/ 98721 h 1451770"/>
                <a:gd name="connsiteX6702" fmla="*/ 873339 w 3773795"/>
                <a:gd name="connsiteY6702" fmla="*/ 97921 h 1451770"/>
                <a:gd name="connsiteX6703" fmla="*/ 869334 w 3773795"/>
                <a:gd name="connsiteY6703" fmla="*/ 96890 h 1451770"/>
                <a:gd name="connsiteX6704" fmla="*/ 869928 w 3773795"/>
                <a:gd name="connsiteY6704" fmla="*/ 93977 h 1451770"/>
                <a:gd name="connsiteX6705" fmla="*/ 871152 w 3773795"/>
                <a:gd name="connsiteY6705" fmla="*/ 93393 h 1451770"/>
                <a:gd name="connsiteX6706" fmla="*/ 1724355 w 3773795"/>
                <a:gd name="connsiteY6706" fmla="*/ 87606 h 1451770"/>
                <a:gd name="connsiteX6707" fmla="*/ 1726295 w 3773795"/>
                <a:gd name="connsiteY6707" fmla="*/ 88114 h 1451770"/>
                <a:gd name="connsiteX6708" fmla="*/ 1731360 w 3773795"/>
                <a:gd name="connsiteY6708" fmla="*/ 91315 h 1451770"/>
                <a:gd name="connsiteX6709" fmla="*/ 1733885 w 3773795"/>
                <a:gd name="connsiteY6709" fmla="*/ 94961 h 1451770"/>
                <a:gd name="connsiteX6710" fmla="*/ 1731430 w 3773795"/>
                <a:gd name="connsiteY6710" fmla="*/ 95924 h 1451770"/>
                <a:gd name="connsiteX6711" fmla="*/ 1729244 w 3773795"/>
                <a:gd name="connsiteY6711" fmla="*/ 98317 h 1451770"/>
                <a:gd name="connsiteX6712" fmla="*/ 1728184 w 3773795"/>
                <a:gd name="connsiteY6712" fmla="*/ 101360 h 1451770"/>
                <a:gd name="connsiteX6713" fmla="*/ 1725243 w 3773795"/>
                <a:gd name="connsiteY6713" fmla="*/ 103642 h 1451770"/>
                <a:gd name="connsiteX6714" fmla="*/ 1724454 w 3773795"/>
                <a:gd name="connsiteY6714" fmla="*/ 107430 h 1451770"/>
                <a:gd name="connsiteX6715" fmla="*/ 1725789 w 3773795"/>
                <a:gd name="connsiteY6715" fmla="*/ 108147 h 1451770"/>
                <a:gd name="connsiteX6716" fmla="*/ 1727400 w 3773795"/>
                <a:gd name="connsiteY6716" fmla="*/ 107106 h 1451770"/>
                <a:gd name="connsiteX6717" fmla="*/ 1730633 w 3773795"/>
                <a:gd name="connsiteY6717" fmla="*/ 103532 h 1451770"/>
                <a:gd name="connsiteX6718" fmla="*/ 1734919 w 3773795"/>
                <a:gd name="connsiteY6718" fmla="*/ 101097 h 1451770"/>
                <a:gd name="connsiteX6719" fmla="*/ 1739533 w 3773795"/>
                <a:gd name="connsiteY6719" fmla="*/ 102452 h 1451770"/>
                <a:gd name="connsiteX6720" fmla="*/ 1741300 w 3773795"/>
                <a:gd name="connsiteY6720" fmla="*/ 101939 h 1451770"/>
                <a:gd name="connsiteX6721" fmla="*/ 1744526 w 3773795"/>
                <a:gd name="connsiteY6721" fmla="*/ 98477 h 1451770"/>
                <a:gd name="connsiteX6722" fmla="*/ 1743926 w 3773795"/>
                <a:gd name="connsiteY6722" fmla="*/ 95653 h 1451770"/>
                <a:gd name="connsiteX6723" fmla="*/ 1745252 w 3773795"/>
                <a:gd name="connsiteY6723" fmla="*/ 93913 h 1451770"/>
                <a:gd name="connsiteX6724" fmla="*/ 1746681 w 3773795"/>
                <a:gd name="connsiteY6724" fmla="*/ 93479 h 1451770"/>
                <a:gd name="connsiteX6725" fmla="*/ 1752640 w 3773795"/>
                <a:gd name="connsiteY6725" fmla="*/ 93822 h 1451770"/>
                <a:gd name="connsiteX6726" fmla="*/ 1762125 w 3773795"/>
                <a:gd name="connsiteY6726" fmla="*/ 95289 h 1451770"/>
                <a:gd name="connsiteX6727" fmla="*/ 1763801 w 3773795"/>
                <a:gd name="connsiteY6727" fmla="*/ 96801 h 1451770"/>
                <a:gd name="connsiteX6728" fmla="*/ 1766064 w 3773795"/>
                <a:gd name="connsiteY6728" fmla="*/ 97618 h 1451770"/>
                <a:gd name="connsiteX6729" fmla="*/ 1767459 w 3773795"/>
                <a:gd name="connsiteY6729" fmla="*/ 99072 h 1451770"/>
                <a:gd name="connsiteX6730" fmla="*/ 1771669 w 3773795"/>
                <a:gd name="connsiteY6730" fmla="*/ 100149 h 1451770"/>
                <a:gd name="connsiteX6731" fmla="*/ 1773700 w 3773795"/>
                <a:gd name="connsiteY6731" fmla="*/ 101242 h 1451770"/>
                <a:gd name="connsiteX6732" fmla="*/ 1776535 w 3773795"/>
                <a:gd name="connsiteY6732" fmla="*/ 103716 h 1451770"/>
                <a:gd name="connsiteX6733" fmla="*/ 1779070 w 3773795"/>
                <a:gd name="connsiteY6733" fmla="*/ 107322 h 1451770"/>
                <a:gd name="connsiteX6734" fmla="*/ 1775854 w 3773795"/>
                <a:gd name="connsiteY6734" fmla="*/ 109264 h 1451770"/>
                <a:gd name="connsiteX6735" fmla="*/ 1774162 w 3773795"/>
                <a:gd name="connsiteY6735" fmla="*/ 112734 h 1451770"/>
                <a:gd name="connsiteX6736" fmla="*/ 1773414 w 3773795"/>
                <a:gd name="connsiteY6736" fmla="*/ 113527 h 1451770"/>
                <a:gd name="connsiteX6737" fmla="*/ 1772888 w 3773795"/>
                <a:gd name="connsiteY6737" fmla="*/ 114765 h 1451770"/>
                <a:gd name="connsiteX6738" fmla="*/ 1772655 w 3773795"/>
                <a:gd name="connsiteY6738" fmla="*/ 117785 h 1451770"/>
                <a:gd name="connsiteX6739" fmla="*/ 1772162 w 3773795"/>
                <a:gd name="connsiteY6739" fmla="*/ 120401 h 1451770"/>
                <a:gd name="connsiteX6740" fmla="*/ 1771551 w 3773795"/>
                <a:gd name="connsiteY6740" fmla="*/ 121562 h 1451770"/>
                <a:gd name="connsiteX6741" fmla="*/ 1771221 w 3773795"/>
                <a:gd name="connsiteY6741" fmla="*/ 122972 h 1451770"/>
                <a:gd name="connsiteX6742" fmla="*/ 1771559 w 3773795"/>
                <a:gd name="connsiteY6742" fmla="*/ 126861 h 1451770"/>
                <a:gd name="connsiteX6743" fmla="*/ 1770655 w 3773795"/>
                <a:gd name="connsiteY6743" fmla="*/ 129920 h 1451770"/>
                <a:gd name="connsiteX6744" fmla="*/ 1767485 w 3773795"/>
                <a:gd name="connsiteY6744" fmla="*/ 132233 h 1451770"/>
                <a:gd name="connsiteX6745" fmla="*/ 1764179 w 3773795"/>
                <a:gd name="connsiteY6745" fmla="*/ 132322 h 1451770"/>
                <a:gd name="connsiteX6746" fmla="*/ 1759299 w 3773795"/>
                <a:gd name="connsiteY6746" fmla="*/ 130763 h 1451770"/>
                <a:gd name="connsiteX6747" fmla="*/ 1757912 w 3773795"/>
                <a:gd name="connsiteY6747" fmla="*/ 130809 h 1451770"/>
                <a:gd name="connsiteX6748" fmla="*/ 1756528 w 3773795"/>
                <a:gd name="connsiteY6748" fmla="*/ 131420 h 1451770"/>
                <a:gd name="connsiteX6749" fmla="*/ 1762622 w 3773795"/>
                <a:gd name="connsiteY6749" fmla="*/ 134671 h 1451770"/>
                <a:gd name="connsiteX6750" fmla="*/ 1767043 w 3773795"/>
                <a:gd name="connsiteY6750" fmla="*/ 139453 h 1451770"/>
                <a:gd name="connsiteX6751" fmla="*/ 1772205 w 3773795"/>
                <a:gd name="connsiteY6751" fmla="*/ 140561 h 1451770"/>
                <a:gd name="connsiteX6752" fmla="*/ 1773617 w 3773795"/>
                <a:gd name="connsiteY6752" fmla="*/ 141142 h 1451770"/>
                <a:gd name="connsiteX6753" fmla="*/ 1775496 w 3773795"/>
                <a:gd name="connsiteY6753" fmla="*/ 145535 h 1451770"/>
                <a:gd name="connsiteX6754" fmla="*/ 1776153 w 3773795"/>
                <a:gd name="connsiteY6754" fmla="*/ 147739 h 1451770"/>
                <a:gd name="connsiteX6755" fmla="*/ 1767563 w 3773795"/>
                <a:gd name="connsiteY6755" fmla="*/ 153056 h 1451770"/>
                <a:gd name="connsiteX6756" fmla="*/ 1765323 w 3773795"/>
                <a:gd name="connsiteY6756" fmla="*/ 153960 h 1451770"/>
                <a:gd name="connsiteX6757" fmla="*/ 1751613 w 3773795"/>
                <a:gd name="connsiteY6757" fmla="*/ 154739 h 1451770"/>
                <a:gd name="connsiteX6758" fmla="*/ 1742583 w 3773795"/>
                <a:gd name="connsiteY6758" fmla="*/ 156225 h 1451770"/>
                <a:gd name="connsiteX6759" fmla="*/ 1739739 w 3773795"/>
                <a:gd name="connsiteY6759" fmla="*/ 155873 h 1451770"/>
                <a:gd name="connsiteX6760" fmla="*/ 1734690 w 3773795"/>
                <a:gd name="connsiteY6760" fmla="*/ 154606 h 1451770"/>
                <a:gd name="connsiteX6761" fmla="*/ 1731395 w 3773795"/>
                <a:gd name="connsiteY6761" fmla="*/ 155132 h 1451770"/>
                <a:gd name="connsiteX6762" fmla="*/ 1726606 w 3773795"/>
                <a:gd name="connsiteY6762" fmla="*/ 154296 h 1451770"/>
                <a:gd name="connsiteX6763" fmla="*/ 1723662 w 3773795"/>
                <a:gd name="connsiteY6763" fmla="*/ 154334 h 1451770"/>
                <a:gd name="connsiteX6764" fmla="*/ 1716867 w 3773795"/>
                <a:gd name="connsiteY6764" fmla="*/ 152310 h 1451770"/>
                <a:gd name="connsiteX6765" fmla="*/ 1709896 w 3773795"/>
                <a:gd name="connsiteY6765" fmla="*/ 149085 h 1451770"/>
                <a:gd name="connsiteX6766" fmla="*/ 1708531 w 3773795"/>
                <a:gd name="connsiteY6766" fmla="*/ 147622 h 1451770"/>
                <a:gd name="connsiteX6767" fmla="*/ 1707130 w 3773795"/>
                <a:gd name="connsiteY6767" fmla="*/ 146586 h 1451770"/>
                <a:gd name="connsiteX6768" fmla="*/ 1698775 w 3773795"/>
                <a:gd name="connsiteY6768" fmla="*/ 145700 h 1451770"/>
                <a:gd name="connsiteX6769" fmla="*/ 1696948 w 3773795"/>
                <a:gd name="connsiteY6769" fmla="*/ 145070 h 1451770"/>
                <a:gd name="connsiteX6770" fmla="*/ 1684768 w 3773795"/>
                <a:gd name="connsiteY6770" fmla="*/ 145779 h 1451770"/>
                <a:gd name="connsiteX6771" fmla="*/ 1682697 w 3773795"/>
                <a:gd name="connsiteY6771" fmla="*/ 145260 h 1451770"/>
                <a:gd name="connsiteX6772" fmla="*/ 1678898 w 3773795"/>
                <a:gd name="connsiteY6772" fmla="*/ 141031 h 1451770"/>
                <a:gd name="connsiteX6773" fmla="*/ 1676816 w 3773795"/>
                <a:gd name="connsiteY6773" fmla="*/ 140971 h 1451770"/>
                <a:gd name="connsiteX6774" fmla="*/ 1670101 w 3773795"/>
                <a:gd name="connsiteY6774" fmla="*/ 143414 h 1451770"/>
                <a:gd name="connsiteX6775" fmla="*/ 1667607 w 3773795"/>
                <a:gd name="connsiteY6775" fmla="*/ 143263 h 1451770"/>
                <a:gd name="connsiteX6776" fmla="*/ 1662534 w 3773795"/>
                <a:gd name="connsiteY6776" fmla="*/ 141595 h 1451770"/>
                <a:gd name="connsiteX6777" fmla="*/ 1659468 w 3773795"/>
                <a:gd name="connsiteY6777" fmla="*/ 139585 h 1451770"/>
                <a:gd name="connsiteX6778" fmla="*/ 1659010 w 3773795"/>
                <a:gd name="connsiteY6778" fmla="*/ 138927 h 1451770"/>
                <a:gd name="connsiteX6779" fmla="*/ 1658747 w 3773795"/>
                <a:gd name="connsiteY6779" fmla="*/ 136389 h 1451770"/>
                <a:gd name="connsiteX6780" fmla="*/ 1655704 w 3773795"/>
                <a:gd name="connsiteY6780" fmla="*/ 135095 h 1451770"/>
                <a:gd name="connsiteX6781" fmla="*/ 1651981 w 3773795"/>
                <a:gd name="connsiteY6781" fmla="*/ 130703 h 1451770"/>
                <a:gd name="connsiteX6782" fmla="*/ 1649881 w 3773795"/>
                <a:gd name="connsiteY6782" fmla="*/ 126006 h 1451770"/>
                <a:gd name="connsiteX6783" fmla="*/ 1639705 w 3773795"/>
                <a:gd name="connsiteY6783" fmla="*/ 123571 h 1451770"/>
                <a:gd name="connsiteX6784" fmla="*/ 1633517 w 3773795"/>
                <a:gd name="connsiteY6784" fmla="*/ 123008 h 1451770"/>
                <a:gd name="connsiteX6785" fmla="*/ 1628952 w 3773795"/>
                <a:gd name="connsiteY6785" fmla="*/ 123224 h 1451770"/>
                <a:gd name="connsiteX6786" fmla="*/ 1624497 w 3773795"/>
                <a:gd name="connsiteY6786" fmla="*/ 121389 h 1451770"/>
                <a:gd name="connsiteX6787" fmla="*/ 1631880 w 3773795"/>
                <a:gd name="connsiteY6787" fmla="*/ 114600 h 1451770"/>
                <a:gd name="connsiteX6788" fmla="*/ 1641667 w 3773795"/>
                <a:gd name="connsiteY6788" fmla="*/ 111099 h 1451770"/>
                <a:gd name="connsiteX6789" fmla="*/ 1645888 w 3773795"/>
                <a:gd name="connsiteY6789" fmla="*/ 108379 h 1451770"/>
                <a:gd name="connsiteX6790" fmla="*/ 1650729 w 3773795"/>
                <a:gd name="connsiteY6790" fmla="*/ 104682 h 1451770"/>
                <a:gd name="connsiteX6791" fmla="*/ 1652722 w 3773795"/>
                <a:gd name="connsiteY6791" fmla="*/ 99040 h 1451770"/>
                <a:gd name="connsiteX6792" fmla="*/ 1660951 w 3773795"/>
                <a:gd name="connsiteY6792" fmla="*/ 95547 h 1451770"/>
                <a:gd name="connsiteX6793" fmla="*/ 1663066 w 3773795"/>
                <a:gd name="connsiteY6793" fmla="*/ 94357 h 1451770"/>
                <a:gd name="connsiteX6794" fmla="*/ 1665979 w 3773795"/>
                <a:gd name="connsiteY6794" fmla="*/ 91606 h 1451770"/>
                <a:gd name="connsiteX6795" fmla="*/ 1666875 w 3773795"/>
                <a:gd name="connsiteY6795" fmla="*/ 91223 h 1451770"/>
                <a:gd name="connsiteX6796" fmla="*/ 1673377 w 3773795"/>
                <a:gd name="connsiteY6796" fmla="*/ 94574 h 1451770"/>
                <a:gd name="connsiteX6797" fmla="*/ 1674629 w 3773795"/>
                <a:gd name="connsiteY6797" fmla="*/ 93987 h 1451770"/>
                <a:gd name="connsiteX6798" fmla="*/ 1675795 w 3773795"/>
                <a:gd name="connsiteY6798" fmla="*/ 92438 h 1451770"/>
                <a:gd name="connsiteX6799" fmla="*/ 1678157 w 3773795"/>
                <a:gd name="connsiteY6799" fmla="*/ 90779 h 1451770"/>
                <a:gd name="connsiteX6800" fmla="*/ 1686123 w 3773795"/>
                <a:gd name="connsiteY6800" fmla="*/ 90556 h 1451770"/>
                <a:gd name="connsiteX6801" fmla="*/ 1692861 w 3773795"/>
                <a:gd name="connsiteY6801" fmla="*/ 91223 h 1451770"/>
                <a:gd name="connsiteX6802" fmla="*/ 1695400 w 3773795"/>
                <a:gd name="connsiteY6802" fmla="*/ 90554 h 1451770"/>
                <a:gd name="connsiteX6803" fmla="*/ 1698479 w 3773795"/>
                <a:gd name="connsiteY6803" fmla="*/ 90843 h 1451770"/>
                <a:gd name="connsiteX6804" fmla="*/ 1714044 w 3773795"/>
                <a:gd name="connsiteY6804" fmla="*/ 88378 h 1451770"/>
                <a:gd name="connsiteX6805" fmla="*/ 669539 w 3773795"/>
                <a:gd name="connsiteY6805" fmla="*/ 84463 h 1451770"/>
                <a:gd name="connsiteX6806" fmla="*/ 677660 w 3773795"/>
                <a:gd name="connsiteY6806" fmla="*/ 85008 h 1451770"/>
                <a:gd name="connsiteX6807" fmla="*/ 678964 w 3773795"/>
                <a:gd name="connsiteY6807" fmla="*/ 86725 h 1451770"/>
                <a:gd name="connsiteX6808" fmla="*/ 679168 w 3773795"/>
                <a:gd name="connsiteY6808" fmla="*/ 87398 h 1451770"/>
                <a:gd name="connsiteX6809" fmla="*/ 673709 w 3773795"/>
                <a:gd name="connsiteY6809" fmla="*/ 90583 h 1451770"/>
                <a:gd name="connsiteX6810" fmla="*/ 673255 w 3773795"/>
                <a:gd name="connsiteY6810" fmla="*/ 92361 h 1451770"/>
                <a:gd name="connsiteX6811" fmla="*/ 671467 w 3773795"/>
                <a:gd name="connsiteY6811" fmla="*/ 93047 h 1451770"/>
                <a:gd name="connsiteX6812" fmla="*/ 663006 w 3773795"/>
                <a:gd name="connsiteY6812" fmla="*/ 89234 h 1451770"/>
                <a:gd name="connsiteX6813" fmla="*/ 662294 w 3773795"/>
                <a:gd name="connsiteY6813" fmla="*/ 88079 h 1451770"/>
                <a:gd name="connsiteX6814" fmla="*/ 787979 w 3773795"/>
                <a:gd name="connsiteY6814" fmla="*/ 79624 h 1451770"/>
                <a:gd name="connsiteX6815" fmla="*/ 790482 w 3773795"/>
                <a:gd name="connsiteY6815" fmla="*/ 80017 h 1451770"/>
                <a:gd name="connsiteX6816" fmla="*/ 792285 w 3773795"/>
                <a:gd name="connsiteY6816" fmla="*/ 80802 h 1451770"/>
                <a:gd name="connsiteX6817" fmla="*/ 793278 w 3773795"/>
                <a:gd name="connsiteY6817" fmla="*/ 82247 h 1451770"/>
                <a:gd name="connsiteX6818" fmla="*/ 786986 w 3773795"/>
                <a:gd name="connsiteY6818" fmla="*/ 84636 h 1451770"/>
                <a:gd name="connsiteX6819" fmla="*/ 783742 w 3773795"/>
                <a:gd name="connsiteY6819" fmla="*/ 84557 h 1451770"/>
                <a:gd name="connsiteX6820" fmla="*/ 782222 w 3773795"/>
                <a:gd name="connsiteY6820" fmla="*/ 83131 h 1451770"/>
                <a:gd name="connsiteX6821" fmla="*/ 784697 w 3773795"/>
                <a:gd name="connsiteY6821" fmla="*/ 81142 h 1451770"/>
                <a:gd name="connsiteX6822" fmla="*/ 825669 w 3773795"/>
                <a:gd name="connsiteY6822" fmla="*/ 77547 h 1451770"/>
                <a:gd name="connsiteX6823" fmla="*/ 828636 w 3773795"/>
                <a:gd name="connsiteY6823" fmla="*/ 78323 h 1451770"/>
                <a:gd name="connsiteX6824" fmla="*/ 829608 w 3773795"/>
                <a:gd name="connsiteY6824" fmla="*/ 80052 h 1451770"/>
                <a:gd name="connsiteX6825" fmla="*/ 829525 w 3773795"/>
                <a:gd name="connsiteY6825" fmla="*/ 86304 h 1451770"/>
                <a:gd name="connsiteX6826" fmla="*/ 828504 w 3773795"/>
                <a:gd name="connsiteY6826" fmla="*/ 89068 h 1451770"/>
                <a:gd name="connsiteX6827" fmla="*/ 828668 w 3773795"/>
                <a:gd name="connsiteY6827" fmla="*/ 91332 h 1451770"/>
                <a:gd name="connsiteX6828" fmla="*/ 826606 w 3773795"/>
                <a:gd name="connsiteY6828" fmla="*/ 92504 h 1451770"/>
                <a:gd name="connsiteX6829" fmla="*/ 809218 w 3773795"/>
                <a:gd name="connsiteY6829" fmla="*/ 92253 h 1451770"/>
                <a:gd name="connsiteX6830" fmla="*/ 800618 w 3773795"/>
                <a:gd name="connsiteY6830" fmla="*/ 91712 h 1451770"/>
                <a:gd name="connsiteX6831" fmla="*/ 798681 w 3773795"/>
                <a:gd name="connsiteY6831" fmla="*/ 90823 h 1451770"/>
                <a:gd name="connsiteX6832" fmla="*/ 803507 w 3773795"/>
                <a:gd name="connsiteY6832" fmla="*/ 87858 h 1451770"/>
                <a:gd name="connsiteX6833" fmla="*/ 805053 w 3773795"/>
                <a:gd name="connsiteY6833" fmla="*/ 85799 h 1451770"/>
                <a:gd name="connsiteX6834" fmla="*/ 804559 w 3773795"/>
                <a:gd name="connsiteY6834" fmla="*/ 79895 h 1451770"/>
                <a:gd name="connsiteX6835" fmla="*/ 805323 w 3773795"/>
                <a:gd name="connsiteY6835" fmla="*/ 78813 h 1451770"/>
                <a:gd name="connsiteX6836" fmla="*/ 819268 w 3773795"/>
                <a:gd name="connsiteY6836" fmla="*/ 79373 h 1451770"/>
                <a:gd name="connsiteX6837" fmla="*/ 820421 w 3773795"/>
                <a:gd name="connsiteY6837" fmla="*/ 77694 h 1451770"/>
                <a:gd name="connsiteX6838" fmla="*/ 742552 w 3773795"/>
                <a:gd name="connsiteY6838" fmla="*/ 75176 h 1451770"/>
                <a:gd name="connsiteX6839" fmla="*/ 745726 w 3773795"/>
                <a:gd name="connsiteY6839" fmla="*/ 75699 h 1451770"/>
                <a:gd name="connsiteX6840" fmla="*/ 746096 w 3773795"/>
                <a:gd name="connsiteY6840" fmla="*/ 77539 h 1451770"/>
                <a:gd name="connsiteX6841" fmla="*/ 749196 w 3773795"/>
                <a:gd name="connsiteY6841" fmla="*/ 79726 h 1451770"/>
                <a:gd name="connsiteX6842" fmla="*/ 757279 w 3773795"/>
                <a:gd name="connsiteY6842" fmla="*/ 82525 h 1451770"/>
                <a:gd name="connsiteX6843" fmla="*/ 755648 w 3773795"/>
                <a:gd name="connsiteY6843" fmla="*/ 84560 h 1451770"/>
                <a:gd name="connsiteX6844" fmla="*/ 752885 w 3773795"/>
                <a:gd name="connsiteY6844" fmla="*/ 84852 h 1451770"/>
                <a:gd name="connsiteX6845" fmla="*/ 749976 w 3773795"/>
                <a:gd name="connsiteY6845" fmla="*/ 86747 h 1451770"/>
                <a:gd name="connsiteX6846" fmla="*/ 735270 w 3773795"/>
                <a:gd name="connsiteY6846" fmla="*/ 87354 h 1451770"/>
                <a:gd name="connsiteX6847" fmla="*/ 730397 w 3773795"/>
                <a:gd name="connsiteY6847" fmla="*/ 87069 h 1451770"/>
                <a:gd name="connsiteX6848" fmla="*/ 729757 w 3773795"/>
                <a:gd name="connsiteY6848" fmla="*/ 86445 h 1451770"/>
                <a:gd name="connsiteX6849" fmla="*/ 728507 w 3773795"/>
                <a:gd name="connsiteY6849" fmla="*/ 85903 h 1451770"/>
                <a:gd name="connsiteX6850" fmla="*/ 723931 w 3773795"/>
                <a:gd name="connsiteY6850" fmla="*/ 85325 h 1451770"/>
                <a:gd name="connsiteX6851" fmla="*/ 721053 w 3773795"/>
                <a:gd name="connsiteY6851" fmla="*/ 82761 h 1451770"/>
                <a:gd name="connsiteX6852" fmla="*/ 722310 w 3773795"/>
                <a:gd name="connsiteY6852" fmla="*/ 82121 h 1451770"/>
                <a:gd name="connsiteX6853" fmla="*/ 729086 w 3773795"/>
                <a:gd name="connsiteY6853" fmla="*/ 81073 h 1451770"/>
                <a:gd name="connsiteX6854" fmla="*/ 731383 w 3773795"/>
                <a:gd name="connsiteY6854" fmla="*/ 79974 h 1451770"/>
                <a:gd name="connsiteX6855" fmla="*/ 732167 w 3773795"/>
                <a:gd name="connsiteY6855" fmla="*/ 78495 h 1451770"/>
                <a:gd name="connsiteX6856" fmla="*/ 735216 w 3773795"/>
                <a:gd name="connsiteY6856" fmla="*/ 75699 h 1451770"/>
                <a:gd name="connsiteX6857" fmla="*/ 828554 w 3773795"/>
                <a:gd name="connsiteY6857" fmla="*/ 71021 h 1451770"/>
                <a:gd name="connsiteX6858" fmla="*/ 838437 w 3773795"/>
                <a:gd name="connsiteY6858" fmla="*/ 71970 h 1451770"/>
                <a:gd name="connsiteX6859" fmla="*/ 859632 w 3773795"/>
                <a:gd name="connsiteY6859" fmla="*/ 72514 h 1451770"/>
                <a:gd name="connsiteX6860" fmla="*/ 870493 w 3773795"/>
                <a:gd name="connsiteY6860" fmla="*/ 75011 h 1451770"/>
                <a:gd name="connsiteX6861" fmla="*/ 873683 w 3773795"/>
                <a:gd name="connsiteY6861" fmla="*/ 76411 h 1451770"/>
                <a:gd name="connsiteX6862" fmla="*/ 876769 w 3773795"/>
                <a:gd name="connsiteY6862" fmla="*/ 78716 h 1451770"/>
                <a:gd name="connsiteX6863" fmla="*/ 857807 w 3773795"/>
                <a:gd name="connsiteY6863" fmla="*/ 79962 h 1451770"/>
                <a:gd name="connsiteX6864" fmla="*/ 855285 w 3773795"/>
                <a:gd name="connsiteY6864" fmla="*/ 81028 h 1451770"/>
                <a:gd name="connsiteX6865" fmla="*/ 855326 w 3773795"/>
                <a:gd name="connsiteY6865" fmla="*/ 83552 h 1451770"/>
                <a:gd name="connsiteX6866" fmla="*/ 854656 w 3773795"/>
                <a:gd name="connsiteY6866" fmla="*/ 85905 h 1451770"/>
                <a:gd name="connsiteX6867" fmla="*/ 852616 w 3773795"/>
                <a:gd name="connsiteY6867" fmla="*/ 86173 h 1451770"/>
                <a:gd name="connsiteX6868" fmla="*/ 848040 w 3773795"/>
                <a:gd name="connsiteY6868" fmla="*/ 89886 h 1451770"/>
                <a:gd name="connsiteX6869" fmla="*/ 844587 w 3773795"/>
                <a:gd name="connsiteY6869" fmla="*/ 90858 h 1451770"/>
                <a:gd name="connsiteX6870" fmla="*/ 835570 w 3773795"/>
                <a:gd name="connsiteY6870" fmla="*/ 89081 h 1451770"/>
                <a:gd name="connsiteX6871" fmla="*/ 834244 w 3773795"/>
                <a:gd name="connsiteY6871" fmla="*/ 88121 h 1451770"/>
                <a:gd name="connsiteX6872" fmla="*/ 833119 w 3773795"/>
                <a:gd name="connsiteY6872" fmla="*/ 86307 h 1451770"/>
                <a:gd name="connsiteX6873" fmla="*/ 831629 w 3773795"/>
                <a:gd name="connsiteY6873" fmla="*/ 79477 h 1451770"/>
                <a:gd name="connsiteX6874" fmla="*/ 831577 w 3773795"/>
                <a:gd name="connsiteY6874" fmla="*/ 77430 h 1451770"/>
                <a:gd name="connsiteX6875" fmla="*/ 831013 w 3773795"/>
                <a:gd name="connsiteY6875" fmla="*/ 76013 h 1451770"/>
                <a:gd name="connsiteX6876" fmla="*/ 828739 w 3773795"/>
                <a:gd name="connsiteY6876" fmla="*/ 73512 h 1451770"/>
                <a:gd name="connsiteX6877" fmla="*/ 827141 w 3773795"/>
                <a:gd name="connsiteY6877" fmla="*/ 72332 h 1451770"/>
                <a:gd name="connsiteX6878" fmla="*/ 757844 w 3773795"/>
                <a:gd name="connsiteY6878" fmla="*/ 65315 h 1451770"/>
                <a:gd name="connsiteX6879" fmla="*/ 764467 w 3773795"/>
                <a:gd name="connsiteY6879" fmla="*/ 66901 h 1451770"/>
                <a:gd name="connsiteX6880" fmla="*/ 765100 w 3773795"/>
                <a:gd name="connsiteY6880" fmla="*/ 67547 h 1451770"/>
                <a:gd name="connsiteX6881" fmla="*/ 769562 w 3773795"/>
                <a:gd name="connsiteY6881" fmla="*/ 68656 h 1451770"/>
                <a:gd name="connsiteX6882" fmla="*/ 770229 w 3773795"/>
                <a:gd name="connsiteY6882" fmla="*/ 70778 h 1451770"/>
                <a:gd name="connsiteX6883" fmla="*/ 769743 w 3773795"/>
                <a:gd name="connsiteY6883" fmla="*/ 72102 h 1451770"/>
                <a:gd name="connsiteX6884" fmla="*/ 766659 w 3773795"/>
                <a:gd name="connsiteY6884" fmla="*/ 74732 h 1451770"/>
                <a:gd name="connsiteX6885" fmla="*/ 756400 w 3773795"/>
                <a:gd name="connsiteY6885" fmla="*/ 71927 h 1451770"/>
                <a:gd name="connsiteX6886" fmla="*/ 757242 w 3773795"/>
                <a:gd name="connsiteY6886" fmla="*/ 70513 h 1451770"/>
                <a:gd name="connsiteX6887" fmla="*/ 758352 w 3773795"/>
                <a:gd name="connsiteY6887" fmla="*/ 69921 h 1451770"/>
                <a:gd name="connsiteX6888" fmla="*/ 758382 w 3773795"/>
                <a:gd name="connsiteY6888" fmla="*/ 68536 h 1451770"/>
                <a:gd name="connsiteX6889" fmla="*/ 757439 w 3773795"/>
                <a:gd name="connsiteY6889" fmla="*/ 67482 h 1451770"/>
                <a:gd name="connsiteX6890" fmla="*/ 615548 w 3773795"/>
                <a:gd name="connsiteY6890" fmla="*/ 52518 h 1451770"/>
                <a:gd name="connsiteX6891" fmla="*/ 625664 w 3773795"/>
                <a:gd name="connsiteY6891" fmla="*/ 54635 h 1451770"/>
                <a:gd name="connsiteX6892" fmla="*/ 633265 w 3773795"/>
                <a:gd name="connsiteY6892" fmla="*/ 54078 h 1451770"/>
                <a:gd name="connsiteX6893" fmla="*/ 635520 w 3773795"/>
                <a:gd name="connsiteY6893" fmla="*/ 54310 h 1451770"/>
                <a:gd name="connsiteX6894" fmla="*/ 637742 w 3773795"/>
                <a:gd name="connsiteY6894" fmla="*/ 54981 h 1451770"/>
                <a:gd name="connsiteX6895" fmla="*/ 639990 w 3773795"/>
                <a:gd name="connsiteY6895" fmla="*/ 56372 h 1451770"/>
                <a:gd name="connsiteX6896" fmla="*/ 643067 w 3773795"/>
                <a:gd name="connsiteY6896" fmla="*/ 59531 h 1451770"/>
                <a:gd name="connsiteX6897" fmla="*/ 643002 w 3773795"/>
                <a:gd name="connsiteY6897" fmla="*/ 63878 h 1451770"/>
                <a:gd name="connsiteX6898" fmla="*/ 641717 w 3773795"/>
                <a:gd name="connsiteY6898" fmla="*/ 64082 h 1451770"/>
                <a:gd name="connsiteX6899" fmla="*/ 628867 w 3773795"/>
                <a:gd name="connsiteY6899" fmla="*/ 62084 h 1451770"/>
                <a:gd name="connsiteX6900" fmla="*/ 622963 w 3773795"/>
                <a:gd name="connsiteY6900" fmla="*/ 57548 h 1451770"/>
                <a:gd name="connsiteX6901" fmla="*/ 621369 w 3773795"/>
                <a:gd name="connsiteY6901" fmla="*/ 57087 h 1451770"/>
                <a:gd name="connsiteX6902" fmla="*/ 619044 w 3773795"/>
                <a:gd name="connsiteY6902" fmla="*/ 58285 h 1451770"/>
                <a:gd name="connsiteX6903" fmla="*/ 617102 w 3773795"/>
                <a:gd name="connsiteY6903" fmla="*/ 61066 h 1451770"/>
                <a:gd name="connsiteX6904" fmla="*/ 614932 w 3773795"/>
                <a:gd name="connsiteY6904" fmla="*/ 61757 h 1451770"/>
                <a:gd name="connsiteX6905" fmla="*/ 612494 w 3773795"/>
                <a:gd name="connsiteY6905" fmla="*/ 65268 h 1451770"/>
                <a:gd name="connsiteX6906" fmla="*/ 610158 w 3773795"/>
                <a:gd name="connsiteY6906" fmla="*/ 64819 h 1451770"/>
                <a:gd name="connsiteX6907" fmla="*/ 608979 w 3773795"/>
                <a:gd name="connsiteY6907" fmla="*/ 65122 h 1451770"/>
                <a:gd name="connsiteX6908" fmla="*/ 606018 w 3773795"/>
                <a:gd name="connsiteY6908" fmla="*/ 67529 h 1451770"/>
                <a:gd name="connsiteX6909" fmla="*/ 598644 w 3773795"/>
                <a:gd name="connsiteY6909" fmla="*/ 67570 h 1451770"/>
                <a:gd name="connsiteX6910" fmla="*/ 597458 w 3773795"/>
                <a:gd name="connsiteY6910" fmla="*/ 68628 h 1451770"/>
                <a:gd name="connsiteX6911" fmla="*/ 595020 w 3773795"/>
                <a:gd name="connsiteY6911" fmla="*/ 71962 h 1451770"/>
                <a:gd name="connsiteX6912" fmla="*/ 592023 w 3773795"/>
                <a:gd name="connsiteY6912" fmla="*/ 72921 h 1451770"/>
                <a:gd name="connsiteX6913" fmla="*/ 586789 w 3773795"/>
                <a:gd name="connsiteY6913" fmla="*/ 73435 h 1451770"/>
                <a:gd name="connsiteX6914" fmla="*/ 584986 w 3773795"/>
                <a:gd name="connsiteY6914" fmla="*/ 71540 h 1451770"/>
                <a:gd name="connsiteX6915" fmla="*/ 584185 w 3773795"/>
                <a:gd name="connsiteY6915" fmla="*/ 68618 h 1451770"/>
                <a:gd name="connsiteX6916" fmla="*/ 582978 w 3773795"/>
                <a:gd name="connsiteY6916" fmla="*/ 67152 h 1451770"/>
                <a:gd name="connsiteX6917" fmla="*/ 575720 w 3773795"/>
                <a:gd name="connsiteY6917" fmla="*/ 68818 h 1451770"/>
                <a:gd name="connsiteX6918" fmla="*/ 570157 w 3773795"/>
                <a:gd name="connsiteY6918" fmla="*/ 67622 h 1451770"/>
                <a:gd name="connsiteX6919" fmla="*/ 564850 w 3773795"/>
                <a:gd name="connsiteY6919" fmla="*/ 65651 h 1451770"/>
                <a:gd name="connsiteX6920" fmla="*/ 559449 w 3773795"/>
                <a:gd name="connsiteY6920" fmla="*/ 65007 h 1451770"/>
                <a:gd name="connsiteX6921" fmla="*/ 564303 w 3773795"/>
                <a:gd name="connsiteY6921" fmla="*/ 62902 h 1451770"/>
                <a:gd name="connsiteX6922" fmla="*/ 590902 w 3773795"/>
                <a:gd name="connsiteY6922" fmla="*/ 58635 h 1451770"/>
                <a:gd name="connsiteX6923" fmla="*/ 601332 w 3773795"/>
                <a:gd name="connsiteY6923" fmla="*/ 57601 h 1451770"/>
                <a:gd name="connsiteX6924" fmla="*/ 606230 w 3773795"/>
                <a:gd name="connsiteY6924" fmla="*/ 54547 h 1451770"/>
                <a:gd name="connsiteX6925" fmla="*/ 613565 w 3773795"/>
                <a:gd name="connsiteY6925" fmla="*/ 52556 h 1451770"/>
                <a:gd name="connsiteX6926" fmla="*/ 928555 w 3773795"/>
                <a:gd name="connsiteY6926" fmla="*/ 50487 h 1451770"/>
                <a:gd name="connsiteX6927" fmla="*/ 934152 w 3773795"/>
                <a:gd name="connsiteY6927" fmla="*/ 50848 h 1451770"/>
                <a:gd name="connsiteX6928" fmla="*/ 939732 w 3773795"/>
                <a:gd name="connsiteY6928" fmla="*/ 51849 h 1451770"/>
                <a:gd name="connsiteX6929" fmla="*/ 941166 w 3773795"/>
                <a:gd name="connsiteY6929" fmla="*/ 53495 h 1451770"/>
                <a:gd name="connsiteX6930" fmla="*/ 942492 w 3773795"/>
                <a:gd name="connsiteY6930" fmla="*/ 55581 h 1451770"/>
                <a:gd name="connsiteX6931" fmla="*/ 941697 w 3773795"/>
                <a:gd name="connsiteY6931" fmla="*/ 58889 h 1451770"/>
                <a:gd name="connsiteX6932" fmla="*/ 939989 w 3773795"/>
                <a:gd name="connsiteY6932" fmla="*/ 61285 h 1451770"/>
                <a:gd name="connsiteX6933" fmla="*/ 939131 w 3773795"/>
                <a:gd name="connsiteY6933" fmla="*/ 64716 h 1451770"/>
                <a:gd name="connsiteX6934" fmla="*/ 932351 w 3773795"/>
                <a:gd name="connsiteY6934" fmla="*/ 65533 h 1451770"/>
                <a:gd name="connsiteX6935" fmla="*/ 930408 w 3773795"/>
                <a:gd name="connsiteY6935" fmla="*/ 66287 h 1451770"/>
                <a:gd name="connsiteX6936" fmla="*/ 928555 w 3773795"/>
                <a:gd name="connsiteY6936" fmla="*/ 68921 h 1451770"/>
                <a:gd name="connsiteX6937" fmla="*/ 921649 w 3773795"/>
                <a:gd name="connsiteY6937" fmla="*/ 70468 h 1451770"/>
                <a:gd name="connsiteX6938" fmla="*/ 916477 w 3773795"/>
                <a:gd name="connsiteY6938" fmla="*/ 74872 h 1451770"/>
                <a:gd name="connsiteX6939" fmla="*/ 909202 w 3773795"/>
                <a:gd name="connsiteY6939" fmla="*/ 74051 h 1451770"/>
                <a:gd name="connsiteX6940" fmla="*/ 899386 w 3773795"/>
                <a:gd name="connsiteY6940" fmla="*/ 70996 h 1451770"/>
                <a:gd name="connsiteX6941" fmla="*/ 891025 w 3773795"/>
                <a:gd name="connsiteY6941" fmla="*/ 73468 h 1451770"/>
                <a:gd name="connsiteX6942" fmla="*/ 885488 w 3773795"/>
                <a:gd name="connsiteY6942" fmla="*/ 74226 h 1451770"/>
                <a:gd name="connsiteX6943" fmla="*/ 878779 w 3773795"/>
                <a:gd name="connsiteY6943" fmla="*/ 70453 h 1451770"/>
                <a:gd name="connsiteX6944" fmla="*/ 877850 w 3773795"/>
                <a:gd name="connsiteY6944" fmla="*/ 69609 h 1451770"/>
                <a:gd name="connsiteX6945" fmla="*/ 877492 w 3773795"/>
                <a:gd name="connsiteY6945" fmla="*/ 66989 h 1451770"/>
                <a:gd name="connsiteX6946" fmla="*/ 877891 w 3773795"/>
                <a:gd name="connsiteY6946" fmla="*/ 64673 h 1451770"/>
                <a:gd name="connsiteX6947" fmla="*/ 879667 w 3773795"/>
                <a:gd name="connsiteY6947" fmla="*/ 59800 h 1451770"/>
                <a:gd name="connsiteX6948" fmla="*/ 882068 w 3773795"/>
                <a:gd name="connsiteY6948" fmla="*/ 57019 h 1451770"/>
                <a:gd name="connsiteX6949" fmla="*/ 883268 w 3773795"/>
                <a:gd name="connsiteY6949" fmla="*/ 56138 h 1451770"/>
                <a:gd name="connsiteX6950" fmla="*/ 884216 w 3773795"/>
                <a:gd name="connsiteY6950" fmla="*/ 54438 h 1451770"/>
                <a:gd name="connsiteX6951" fmla="*/ 886948 w 3773795"/>
                <a:gd name="connsiteY6951" fmla="*/ 53411 h 1451770"/>
                <a:gd name="connsiteX6952" fmla="*/ 895322 w 3773795"/>
                <a:gd name="connsiteY6952" fmla="*/ 52781 h 1451770"/>
                <a:gd name="connsiteX6953" fmla="*/ 898427 w 3773795"/>
                <a:gd name="connsiteY6953" fmla="*/ 53341 h 1451770"/>
                <a:gd name="connsiteX6954" fmla="*/ 899379 w 3773795"/>
                <a:gd name="connsiteY6954" fmla="*/ 55215 h 1451770"/>
                <a:gd name="connsiteX6955" fmla="*/ 903880 w 3773795"/>
                <a:gd name="connsiteY6955" fmla="*/ 55071 h 1451770"/>
                <a:gd name="connsiteX6956" fmla="*/ 911368 w 3773795"/>
                <a:gd name="connsiteY6956" fmla="*/ 53919 h 1451770"/>
                <a:gd name="connsiteX6957" fmla="*/ 922269 w 3773795"/>
                <a:gd name="connsiteY6957" fmla="*/ 52053 h 1451770"/>
                <a:gd name="connsiteX6958" fmla="*/ 678261 w 3773795"/>
                <a:gd name="connsiteY6958" fmla="*/ 48709 h 1451770"/>
                <a:gd name="connsiteX6959" fmla="*/ 681651 w 3773795"/>
                <a:gd name="connsiteY6959" fmla="*/ 49556 h 1451770"/>
                <a:gd name="connsiteX6960" fmla="*/ 689824 w 3773795"/>
                <a:gd name="connsiteY6960" fmla="*/ 49387 h 1451770"/>
                <a:gd name="connsiteX6961" fmla="*/ 692402 w 3773795"/>
                <a:gd name="connsiteY6961" fmla="*/ 50616 h 1451770"/>
                <a:gd name="connsiteX6962" fmla="*/ 704279 w 3773795"/>
                <a:gd name="connsiteY6962" fmla="*/ 58145 h 1451770"/>
                <a:gd name="connsiteX6963" fmla="*/ 707291 w 3773795"/>
                <a:gd name="connsiteY6963" fmla="*/ 58346 h 1451770"/>
                <a:gd name="connsiteX6964" fmla="*/ 709781 w 3773795"/>
                <a:gd name="connsiteY6964" fmla="*/ 61082 h 1451770"/>
                <a:gd name="connsiteX6965" fmla="*/ 697455 w 3773795"/>
                <a:gd name="connsiteY6965" fmla="*/ 65383 h 1451770"/>
                <a:gd name="connsiteX6966" fmla="*/ 693357 w 3773795"/>
                <a:gd name="connsiteY6966" fmla="*/ 68638 h 1451770"/>
                <a:gd name="connsiteX6967" fmla="*/ 678295 w 3773795"/>
                <a:gd name="connsiteY6967" fmla="*/ 69311 h 1451770"/>
                <a:gd name="connsiteX6968" fmla="*/ 668705 w 3773795"/>
                <a:gd name="connsiteY6968" fmla="*/ 70831 h 1451770"/>
                <a:gd name="connsiteX6969" fmla="*/ 666578 w 3773795"/>
                <a:gd name="connsiteY6969" fmla="*/ 72140 h 1451770"/>
                <a:gd name="connsiteX6970" fmla="*/ 667559 w 3773795"/>
                <a:gd name="connsiteY6970" fmla="*/ 74527 h 1451770"/>
                <a:gd name="connsiteX6971" fmla="*/ 662955 w 3773795"/>
                <a:gd name="connsiteY6971" fmla="*/ 77016 h 1451770"/>
                <a:gd name="connsiteX6972" fmla="*/ 647701 w 3773795"/>
                <a:gd name="connsiteY6972" fmla="*/ 77393 h 1451770"/>
                <a:gd name="connsiteX6973" fmla="*/ 645820 w 3773795"/>
                <a:gd name="connsiteY6973" fmla="*/ 78181 h 1451770"/>
                <a:gd name="connsiteX6974" fmla="*/ 642857 w 3773795"/>
                <a:gd name="connsiteY6974" fmla="*/ 80914 h 1451770"/>
                <a:gd name="connsiteX6975" fmla="*/ 643121 w 3773795"/>
                <a:gd name="connsiteY6975" fmla="*/ 81411 h 1451770"/>
                <a:gd name="connsiteX6976" fmla="*/ 648273 w 3773795"/>
                <a:gd name="connsiteY6976" fmla="*/ 82096 h 1451770"/>
                <a:gd name="connsiteX6977" fmla="*/ 649105 w 3773795"/>
                <a:gd name="connsiteY6977" fmla="*/ 82662 h 1451770"/>
                <a:gd name="connsiteX6978" fmla="*/ 649796 w 3773795"/>
                <a:gd name="connsiteY6978" fmla="*/ 83845 h 1451770"/>
                <a:gd name="connsiteX6979" fmla="*/ 650236 w 3773795"/>
                <a:gd name="connsiteY6979" fmla="*/ 85620 h 1451770"/>
                <a:gd name="connsiteX6980" fmla="*/ 649502 w 3773795"/>
                <a:gd name="connsiteY6980" fmla="*/ 87893 h 1451770"/>
                <a:gd name="connsiteX6981" fmla="*/ 647608 w 3773795"/>
                <a:gd name="connsiteY6981" fmla="*/ 88262 h 1451770"/>
                <a:gd name="connsiteX6982" fmla="*/ 645518 w 3773795"/>
                <a:gd name="connsiteY6982" fmla="*/ 87968 h 1451770"/>
                <a:gd name="connsiteX6983" fmla="*/ 640750 w 3773795"/>
                <a:gd name="connsiteY6983" fmla="*/ 86232 h 1451770"/>
                <a:gd name="connsiteX6984" fmla="*/ 640149 w 3773795"/>
                <a:gd name="connsiteY6984" fmla="*/ 86844 h 1451770"/>
                <a:gd name="connsiteX6985" fmla="*/ 639664 w 3773795"/>
                <a:gd name="connsiteY6985" fmla="*/ 88114 h 1451770"/>
                <a:gd name="connsiteX6986" fmla="*/ 638208 w 3773795"/>
                <a:gd name="connsiteY6986" fmla="*/ 90551 h 1451770"/>
                <a:gd name="connsiteX6987" fmla="*/ 636427 w 3773795"/>
                <a:gd name="connsiteY6987" fmla="*/ 91275 h 1451770"/>
                <a:gd name="connsiteX6988" fmla="*/ 631583 w 3773795"/>
                <a:gd name="connsiteY6988" fmla="*/ 89404 h 1451770"/>
                <a:gd name="connsiteX6989" fmla="*/ 630007 w 3773795"/>
                <a:gd name="connsiteY6989" fmla="*/ 89933 h 1451770"/>
                <a:gd name="connsiteX6990" fmla="*/ 628456 w 3773795"/>
                <a:gd name="connsiteY6990" fmla="*/ 91090 h 1451770"/>
                <a:gd name="connsiteX6991" fmla="*/ 626558 w 3773795"/>
                <a:gd name="connsiteY6991" fmla="*/ 91638 h 1451770"/>
                <a:gd name="connsiteX6992" fmla="*/ 622078 w 3773795"/>
                <a:gd name="connsiteY6992" fmla="*/ 91989 h 1451770"/>
                <a:gd name="connsiteX6993" fmla="*/ 619758 w 3773795"/>
                <a:gd name="connsiteY6993" fmla="*/ 90457 h 1451770"/>
                <a:gd name="connsiteX6994" fmla="*/ 621764 w 3773795"/>
                <a:gd name="connsiteY6994" fmla="*/ 88462 h 1451770"/>
                <a:gd name="connsiteX6995" fmla="*/ 627390 w 3773795"/>
                <a:gd name="connsiteY6995" fmla="*/ 85360 h 1451770"/>
                <a:gd name="connsiteX6996" fmla="*/ 625520 w 3773795"/>
                <a:gd name="connsiteY6996" fmla="*/ 84004 h 1451770"/>
                <a:gd name="connsiteX6997" fmla="*/ 619978 w 3773795"/>
                <a:gd name="connsiteY6997" fmla="*/ 83696 h 1451770"/>
                <a:gd name="connsiteX6998" fmla="*/ 615599 w 3773795"/>
                <a:gd name="connsiteY6998" fmla="*/ 84468 h 1451770"/>
                <a:gd name="connsiteX6999" fmla="*/ 613360 w 3773795"/>
                <a:gd name="connsiteY6999" fmla="*/ 86579 h 1451770"/>
                <a:gd name="connsiteX7000" fmla="*/ 611272 w 3773795"/>
                <a:gd name="connsiteY7000" fmla="*/ 87000 h 1451770"/>
                <a:gd name="connsiteX7001" fmla="*/ 605575 w 3773795"/>
                <a:gd name="connsiteY7001" fmla="*/ 86871 h 1451770"/>
                <a:gd name="connsiteX7002" fmla="*/ 602367 w 3773795"/>
                <a:gd name="connsiteY7002" fmla="*/ 84108 h 1451770"/>
                <a:gd name="connsiteX7003" fmla="*/ 599985 w 3773795"/>
                <a:gd name="connsiteY7003" fmla="*/ 83069 h 1451770"/>
                <a:gd name="connsiteX7004" fmla="*/ 597912 w 3773795"/>
                <a:gd name="connsiteY7004" fmla="*/ 80899 h 1451770"/>
                <a:gd name="connsiteX7005" fmla="*/ 614684 w 3773795"/>
                <a:gd name="connsiteY7005" fmla="*/ 73534 h 1451770"/>
                <a:gd name="connsiteX7006" fmla="*/ 620281 w 3773795"/>
                <a:gd name="connsiteY7006" fmla="*/ 70683 h 1451770"/>
                <a:gd name="connsiteX7007" fmla="*/ 625582 w 3773795"/>
                <a:gd name="connsiteY7007" fmla="*/ 69224 h 1451770"/>
                <a:gd name="connsiteX7008" fmla="*/ 632490 w 3773795"/>
                <a:gd name="connsiteY7008" fmla="*/ 68463 h 1451770"/>
                <a:gd name="connsiteX7009" fmla="*/ 634656 w 3773795"/>
                <a:gd name="connsiteY7009" fmla="*/ 67557 h 1451770"/>
                <a:gd name="connsiteX7010" fmla="*/ 636789 w 3773795"/>
                <a:gd name="connsiteY7010" fmla="*/ 67186 h 1451770"/>
                <a:gd name="connsiteX7011" fmla="*/ 638163 w 3773795"/>
                <a:gd name="connsiteY7011" fmla="*/ 67737 h 1451770"/>
                <a:gd name="connsiteX7012" fmla="*/ 641709 w 3773795"/>
                <a:gd name="connsiteY7012" fmla="*/ 70286 h 1451770"/>
                <a:gd name="connsiteX7013" fmla="*/ 651940 w 3773795"/>
                <a:gd name="connsiteY7013" fmla="*/ 69903 h 1451770"/>
                <a:gd name="connsiteX7014" fmla="*/ 654095 w 3773795"/>
                <a:gd name="connsiteY7014" fmla="*/ 67708 h 1451770"/>
                <a:gd name="connsiteX7015" fmla="*/ 654259 w 3773795"/>
                <a:gd name="connsiteY7015" fmla="*/ 62709 h 1451770"/>
                <a:gd name="connsiteX7016" fmla="*/ 653259 w 3773795"/>
                <a:gd name="connsiteY7016" fmla="*/ 59822 h 1451770"/>
                <a:gd name="connsiteX7017" fmla="*/ 655401 w 3773795"/>
                <a:gd name="connsiteY7017" fmla="*/ 54186 h 1451770"/>
                <a:gd name="connsiteX7018" fmla="*/ 661227 w 3773795"/>
                <a:gd name="connsiteY7018" fmla="*/ 51914 h 1451770"/>
                <a:gd name="connsiteX7019" fmla="*/ 674859 w 3773795"/>
                <a:gd name="connsiteY7019" fmla="*/ 48884 h 1451770"/>
                <a:gd name="connsiteX7020" fmla="*/ 1331198 w 3773795"/>
                <a:gd name="connsiteY7020" fmla="*/ 46213 h 1451770"/>
                <a:gd name="connsiteX7021" fmla="*/ 1341656 w 3773795"/>
                <a:gd name="connsiteY7021" fmla="*/ 47540 h 1451770"/>
                <a:gd name="connsiteX7022" fmla="*/ 1344936 w 3773795"/>
                <a:gd name="connsiteY7022" fmla="*/ 48686 h 1451770"/>
                <a:gd name="connsiteX7023" fmla="*/ 1343729 w 3773795"/>
                <a:gd name="connsiteY7023" fmla="*/ 51021 h 1451770"/>
                <a:gd name="connsiteX7024" fmla="*/ 1343099 w 3773795"/>
                <a:gd name="connsiteY7024" fmla="*/ 51781 h 1451770"/>
                <a:gd name="connsiteX7025" fmla="*/ 1336063 w 3773795"/>
                <a:gd name="connsiteY7025" fmla="*/ 52803 h 1451770"/>
                <a:gd name="connsiteX7026" fmla="*/ 1315541 w 3773795"/>
                <a:gd name="connsiteY7026" fmla="*/ 54668 h 1451770"/>
                <a:gd name="connsiteX7027" fmla="*/ 1313513 w 3773795"/>
                <a:gd name="connsiteY7027" fmla="*/ 53492 h 1451770"/>
                <a:gd name="connsiteX7028" fmla="*/ 1312867 w 3773795"/>
                <a:gd name="connsiteY7028" fmla="*/ 52798 h 1451770"/>
                <a:gd name="connsiteX7029" fmla="*/ 1315791 w 3773795"/>
                <a:gd name="connsiteY7029" fmla="*/ 48899 h 1451770"/>
                <a:gd name="connsiteX7030" fmla="*/ 1318168 w 3773795"/>
                <a:gd name="connsiteY7030" fmla="*/ 46993 h 1451770"/>
                <a:gd name="connsiteX7031" fmla="*/ 925458 w 3773795"/>
                <a:gd name="connsiteY7031" fmla="*/ 39528 h 1451770"/>
                <a:gd name="connsiteX7032" fmla="*/ 927890 w 3773795"/>
                <a:gd name="connsiteY7032" fmla="*/ 42321 h 1451770"/>
                <a:gd name="connsiteX7033" fmla="*/ 925780 w 3773795"/>
                <a:gd name="connsiteY7033" fmla="*/ 44362 h 1451770"/>
                <a:gd name="connsiteX7034" fmla="*/ 918458 w 3773795"/>
                <a:gd name="connsiteY7034" fmla="*/ 47512 h 1451770"/>
                <a:gd name="connsiteX7035" fmla="*/ 911513 w 3773795"/>
                <a:gd name="connsiteY7035" fmla="*/ 48583 h 1451770"/>
                <a:gd name="connsiteX7036" fmla="*/ 900332 w 3773795"/>
                <a:gd name="connsiteY7036" fmla="*/ 47243 h 1451770"/>
                <a:gd name="connsiteX7037" fmla="*/ 894519 w 3773795"/>
                <a:gd name="connsiteY7037" fmla="*/ 45733 h 1451770"/>
                <a:gd name="connsiteX7038" fmla="*/ 894963 w 3773795"/>
                <a:gd name="connsiteY7038" fmla="*/ 44978 h 1451770"/>
                <a:gd name="connsiteX7039" fmla="*/ 896495 w 3773795"/>
                <a:gd name="connsiteY7039" fmla="*/ 44070 h 1451770"/>
                <a:gd name="connsiteX7040" fmla="*/ 906203 w 3773795"/>
                <a:gd name="connsiteY7040" fmla="*/ 40375 h 1451770"/>
                <a:gd name="connsiteX7041" fmla="*/ 776457 w 3773795"/>
                <a:gd name="connsiteY7041" fmla="*/ 38902 h 1451770"/>
                <a:gd name="connsiteX7042" fmla="*/ 793079 w 3773795"/>
                <a:gd name="connsiteY7042" fmla="*/ 43902 h 1451770"/>
                <a:gd name="connsiteX7043" fmla="*/ 808545 w 3773795"/>
                <a:gd name="connsiteY7043" fmla="*/ 43420 h 1451770"/>
                <a:gd name="connsiteX7044" fmla="*/ 815226 w 3773795"/>
                <a:gd name="connsiteY7044" fmla="*/ 45026 h 1451770"/>
                <a:gd name="connsiteX7045" fmla="*/ 824898 w 3773795"/>
                <a:gd name="connsiteY7045" fmla="*/ 49453 h 1451770"/>
                <a:gd name="connsiteX7046" fmla="*/ 839450 w 3773795"/>
                <a:gd name="connsiteY7046" fmla="*/ 54272 h 1451770"/>
                <a:gd name="connsiteX7047" fmla="*/ 842244 w 3773795"/>
                <a:gd name="connsiteY7047" fmla="*/ 55689 h 1451770"/>
                <a:gd name="connsiteX7048" fmla="*/ 839729 w 3773795"/>
                <a:gd name="connsiteY7048" fmla="*/ 57588 h 1451770"/>
                <a:gd name="connsiteX7049" fmla="*/ 822799 w 3773795"/>
                <a:gd name="connsiteY7049" fmla="*/ 62318 h 1451770"/>
                <a:gd name="connsiteX7050" fmla="*/ 811760 w 3773795"/>
                <a:gd name="connsiteY7050" fmla="*/ 63899 h 1451770"/>
                <a:gd name="connsiteX7051" fmla="*/ 802205 w 3773795"/>
                <a:gd name="connsiteY7051" fmla="*/ 64127 h 1451770"/>
                <a:gd name="connsiteX7052" fmla="*/ 798426 w 3773795"/>
                <a:gd name="connsiteY7052" fmla="*/ 63670 h 1451770"/>
                <a:gd name="connsiteX7053" fmla="*/ 794626 w 3773795"/>
                <a:gd name="connsiteY7053" fmla="*/ 60275 h 1451770"/>
                <a:gd name="connsiteX7054" fmla="*/ 785262 w 3773795"/>
                <a:gd name="connsiteY7054" fmla="*/ 57772 h 1451770"/>
                <a:gd name="connsiteX7055" fmla="*/ 775333 w 3773795"/>
                <a:gd name="connsiteY7055" fmla="*/ 58454 h 1451770"/>
                <a:gd name="connsiteX7056" fmla="*/ 774342 w 3773795"/>
                <a:gd name="connsiteY7056" fmla="*/ 57085 h 1451770"/>
                <a:gd name="connsiteX7057" fmla="*/ 772340 w 3773795"/>
                <a:gd name="connsiteY7057" fmla="*/ 56168 h 1451770"/>
                <a:gd name="connsiteX7058" fmla="*/ 768875 w 3773795"/>
                <a:gd name="connsiteY7058" fmla="*/ 55963 h 1451770"/>
                <a:gd name="connsiteX7059" fmla="*/ 762031 w 3773795"/>
                <a:gd name="connsiteY7059" fmla="*/ 54587 h 1451770"/>
                <a:gd name="connsiteX7060" fmla="*/ 761563 w 3773795"/>
                <a:gd name="connsiteY7060" fmla="*/ 51571 h 1451770"/>
                <a:gd name="connsiteX7061" fmla="*/ 765878 w 3773795"/>
                <a:gd name="connsiteY7061" fmla="*/ 50024 h 1451770"/>
                <a:gd name="connsiteX7062" fmla="*/ 768681 w 3773795"/>
                <a:gd name="connsiteY7062" fmla="*/ 49923 h 1451770"/>
                <a:gd name="connsiteX7063" fmla="*/ 769775 w 3773795"/>
                <a:gd name="connsiteY7063" fmla="*/ 45634 h 1451770"/>
                <a:gd name="connsiteX7064" fmla="*/ 774578 w 3773795"/>
                <a:gd name="connsiteY7064" fmla="*/ 39047 h 1451770"/>
                <a:gd name="connsiteX7065" fmla="*/ 850102 w 3773795"/>
                <a:gd name="connsiteY7065" fmla="*/ 38772 h 1451770"/>
                <a:gd name="connsiteX7066" fmla="*/ 851271 w 3773795"/>
                <a:gd name="connsiteY7066" fmla="*/ 38991 h 1451770"/>
                <a:gd name="connsiteX7067" fmla="*/ 853207 w 3773795"/>
                <a:gd name="connsiteY7067" fmla="*/ 40016 h 1451770"/>
                <a:gd name="connsiteX7068" fmla="*/ 860232 w 3773795"/>
                <a:gd name="connsiteY7068" fmla="*/ 41724 h 1451770"/>
                <a:gd name="connsiteX7069" fmla="*/ 862769 w 3773795"/>
                <a:gd name="connsiteY7069" fmla="*/ 42770 h 1451770"/>
                <a:gd name="connsiteX7070" fmla="*/ 865846 w 3773795"/>
                <a:gd name="connsiteY7070" fmla="*/ 45404 h 1451770"/>
                <a:gd name="connsiteX7071" fmla="*/ 867036 w 3773795"/>
                <a:gd name="connsiteY7071" fmla="*/ 48380 h 1451770"/>
                <a:gd name="connsiteX7072" fmla="*/ 868964 w 3773795"/>
                <a:gd name="connsiteY7072" fmla="*/ 50242 h 1451770"/>
                <a:gd name="connsiteX7073" fmla="*/ 869584 w 3773795"/>
                <a:gd name="connsiteY7073" fmla="*/ 53654 h 1451770"/>
                <a:gd name="connsiteX7074" fmla="*/ 868023 w 3773795"/>
                <a:gd name="connsiteY7074" fmla="*/ 56354 h 1451770"/>
                <a:gd name="connsiteX7075" fmla="*/ 863201 w 3773795"/>
                <a:gd name="connsiteY7075" fmla="*/ 56944 h 1451770"/>
                <a:gd name="connsiteX7076" fmla="*/ 855324 w 3773795"/>
                <a:gd name="connsiteY7076" fmla="*/ 57102 h 1451770"/>
                <a:gd name="connsiteX7077" fmla="*/ 847634 w 3773795"/>
                <a:gd name="connsiteY7077" fmla="*/ 55634 h 1451770"/>
                <a:gd name="connsiteX7078" fmla="*/ 843475 w 3773795"/>
                <a:gd name="connsiteY7078" fmla="*/ 50687 h 1451770"/>
                <a:gd name="connsiteX7079" fmla="*/ 835854 w 3773795"/>
                <a:gd name="connsiteY7079" fmla="*/ 49336 h 1451770"/>
                <a:gd name="connsiteX7080" fmla="*/ 831560 w 3773795"/>
                <a:gd name="connsiteY7080" fmla="*/ 44047 h 1451770"/>
                <a:gd name="connsiteX7081" fmla="*/ 835967 w 3773795"/>
                <a:gd name="connsiteY7081" fmla="*/ 42504 h 1451770"/>
                <a:gd name="connsiteX7082" fmla="*/ 841406 w 3773795"/>
                <a:gd name="connsiteY7082" fmla="*/ 43296 h 1451770"/>
                <a:gd name="connsiteX7083" fmla="*/ 687941 w 3773795"/>
                <a:gd name="connsiteY7083" fmla="*/ 36050 h 1451770"/>
                <a:gd name="connsiteX7084" fmla="*/ 691538 w 3773795"/>
                <a:gd name="connsiteY7084" fmla="*/ 37081 h 1451770"/>
                <a:gd name="connsiteX7085" fmla="*/ 693033 w 3773795"/>
                <a:gd name="connsiteY7085" fmla="*/ 39309 h 1451770"/>
                <a:gd name="connsiteX7086" fmla="*/ 689552 w 3773795"/>
                <a:gd name="connsiteY7086" fmla="*/ 41201 h 1451770"/>
                <a:gd name="connsiteX7087" fmla="*/ 688777 w 3773795"/>
                <a:gd name="connsiteY7087" fmla="*/ 42471 h 1451770"/>
                <a:gd name="connsiteX7088" fmla="*/ 685732 w 3773795"/>
                <a:gd name="connsiteY7088" fmla="*/ 42791 h 1451770"/>
                <a:gd name="connsiteX7089" fmla="*/ 683568 w 3773795"/>
                <a:gd name="connsiteY7089" fmla="*/ 42567 h 1451770"/>
                <a:gd name="connsiteX7090" fmla="*/ 681219 w 3773795"/>
                <a:gd name="connsiteY7090" fmla="*/ 40548 h 1451770"/>
                <a:gd name="connsiteX7091" fmla="*/ 680457 w 3773795"/>
                <a:gd name="connsiteY7091" fmla="*/ 39591 h 1451770"/>
                <a:gd name="connsiteX7092" fmla="*/ 680258 w 3773795"/>
                <a:gd name="connsiteY7092" fmla="*/ 38561 h 1451770"/>
                <a:gd name="connsiteX7093" fmla="*/ 682391 w 3773795"/>
                <a:gd name="connsiteY7093" fmla="*/ 38367 h 1451770"/>
                <a:gd name="connsiteX7094" fmla="*/ 683298 w 3773795"/>
                <a:gd name="connsiteY7094" fmla="*/ 37428 h 1451770"/>
                <a:gd name="connsiteX7095" fmla="*/ 683644 w 3773795"/>
                <a:gd name="connsiteY7095" fmla="*/ 36699 h 1451770"/>
                <a:gd name="connsiteX7096" fmla="*/ 685197 w 3773795"/>
                <a:gd name="connsiteY7096" fmla="*/ 36113 h 1451770"/>
                <a:gd name="connsiteX7097" fmla="*/ 994403 w 3773795"/>
                <a:gd name="connsiteY7097" fmla="*/ 34596 h 1451770"/>
                <a:gd name="connsiteX7098" fmla="*/ 999415 w 3773795"/>
                <a:gd name="connsiteY7098" fmla="*/ 34660 h 1451770"/>
                <a:gd name="connsiteX7099" fmla="*/ 1004405 w 3773795"/>
                <a:gd name="connsiteY7099" fmla="*/ 36111 h 1451770"/>
                <a:gd name="connsiteX7100" fmla="*/ 1007595 w 3773795"/>
                <a:gd name="connsiteY7100" fmla="*/ 37438 h 1451770"/>
                <a:gd name="connsiteX7101" fmla="*/ 1010642 w 3773795"/>
                <a:gd name="connsiteY7101" fmla="*/ 39919 h 1451770"/>
                <a:gd name="connsiteX7102" fmla="*/ 1012240 w 3773795"/>
                <a:gd name="connsiteY7102" fmla="*/ 41986 h 1451770"/>
                <a:gd name="connsiteX7103" fmla="*/ 1011754 w 3773795"/>
                <a:gd name="connsiteY7103" fmla="*/ 44509 h 1451770"/>
                <a:gd name="connsiteX7104" fmla="*/ 1012019 w 3773795"/>
                <a:gd name="connsiteY7104" fmla="*/ 46595 h 1451770"/>
                <a:gd name="connsiteX7105" fmla="*/ 1013464 w 3773795"/>
                <a:gd name="connsiteY7105" fmla="*/ 48530 h 1451770"/>
                <a:gd name="connsiteX7106" fmla="*/ 1003736 w 3773795"/>
                <a:gd name="connsiteY7106" fmla="*/ 54315 h 1451770"/>
                <a:gd name="connsiteX7107" fmla="*/ 993805 w 3773795"/>
                <a:gd name="connsiteY7107" fmla="*/ 57591 h 1451770"/>
                <a:gd name="connsiteX7108" fmla="*/ 967834 w 3773795"/>
                <a:gd name="connsiteY7108" fmla="*/ 60441 h 1451770"/>
                <a:gd name="connsiteX7109" fmla="*/ 963716 w 3773795"/>
                <a:gd name="connsiteY7109" fmla="*/ 60569 h 1451770"/>
                <a:gd name="connsiteX7110" fmla="*/ 959615 w 3773795"/>
                <a:gd name="connsiteY7110" fmla="*/ 59785 h 1451770"/>
                <a:gd name="connsiteX7111" fmla="*/ 954271 w 3773795"/>
                <a:gd name="connsiteY7111" fmla="*/ 57216 h 1451770"/>
                <a:gd name="connsiteX7112" fmla="*/ 948961 w 3773795"/>
                <a:gd name="connsiteY7112" fmla="*/ 54161 h 1451770"/>
                <a:gd name="connsiteX7113" fmla="*/ 950559 w 3773795"/>
                <a:gd name="connsiteY7113" fmla="*/ 52551 h 1451770"/>
                <a:gd name="connsiteX7114" fmla="*/ 955573 w 3773795"/>
                <a:gd name="connsiteY7114" fmla="*/ 50442 h 1451770"/>
                <a:gd name="connsiteX7115" fmla="*/ 962129 w 3773795"/>
                <a:gd name="connsiteY7115" fmla="*/ 46658 h 1451770"/>
                <a:gd name="connsiteX7116" fmla="*/ 973161 w 3773795"/>
                <a:gd name="connsiteY7116" fmla="*/ 45926 h 1451770"/>
                <a:gd name="connsiteX7117" fmla="*/ 978495 w 3773795"/>
                <a:gd name="connsiteY7117" fmla="*/ 45913 h 1451770"/>
                <a:gd name="connsiteX7118" fmla="*/ 983796 w 3773795"/>
                <a:gd name="connsiteY7118" fmla="*/ 45021 h 1451770"/>
                <a:gd name="connsiteX7119" fmla="*/ 985349 w 3773795"/>
                <a:gd name="connsiteY7119" fmla="*/ 43077 h 1451770"/>
                <a:gd name="connsiteX7120" fmla="*/ 986334 w 3773795"/>
                <a:gd name="connsiteY7120" fmla="*/ 39403 h 1451770"/>
                <a:gd name="connsiteX7121" fmla="*/ 987337 w 3773795"/>
                <a:gd name="connsiteY7121" fmla="*/ 37418 h 1451770"/>
                <a:gd name="connsiteX7122" fmla="*/ 988538 w 3773795"/>
                <a:gd name="connsiteY7122" fmla="*/ 35813 h 1451770"/>
                <a:gd name="connsiteX7123" fmla="*/ 1558141 w 3773795"/>
                <a:gd name="connsiteY7123" fmla="*/ 33800 h 1451770"/>
                <a:gd name="connsiteX7124" fmla="*/ 1581117 w 3773795"/>
                <a:gd name="connsiteY7124" fmla="*/ 34563 h 1451770"/>
                <a:gd name="connsiteX7125" fmla="*/ 1589273 w 3773795"/>
                <a:gd name="connsiteY7125" fmla="*/ 35356 h 1451770"/>
                <a:gd name="connsiteX7126" fmla="*/ 1591249 w 3773795"/>
                <a:gd name="connsiteY7126" fmla="*/ 37586 h 1451770"/>
                <a:gd name="connsiteX7127" fmla="*/ 1583635 w 3773795"/>
                <a:gd name="connsiteY7127" fmla="*/ 41617 h 1451770"/>
                <a:gd name="connsiteX7128" fmla="*/ 1556059 w 3773795"/>
                <a:gd name="connsiteY7128" fmla="*/ 39049 h 1451770"/>
                <a:gd name="connsiteX7129" fmla="*/ 1554814 w 3773795"/>
                <a:gd name="connsiteY7129" fmla="*/ 37194 h 1451770"/>
                <a:gd name="connsiteX7130" fmla="*/ 1554410 w 3773795"/>
                <a:gd name="connsiteY7130" fmla="*/ 36047 h 1451770"/>
                <a:gd name="connsiteX7131" fmla="*/ 1684860 w 3773795"/>
                <a:gd name="connsiteY7131" fmla="*/ 30308 h 1451770"/>
                <a:gd name="connsiteX7132" fmla="*/ 1687099 w 3773795"/>
                <a:gd name="connsiteY7132" fmla="*/ 31348 h 1451770"/>
                <a:gd name="connsiteX7133" fmla="*/ 1688913 w 3773795"/>
                <a:gd name="connsiteY7133" fmla="*/ 33920 h 1451770"/>
                <a:gd name="connsiteX7134" fmla="*/ 1690930 w 3773795"/>
                <a:gd name="connsiteY7134" fmla="*/ 34895 h 1451770"/>
                <a:gd name="connsiteX7135" fmla="*/ 1693401 w 3773795"/>
                <a:gd name="connsiteY7135" fmla="*/ 35356 h 1451770"/>
                <a:gd name="connsiteX7136" fmla="*/ 1699685 w 3773795"/>
                <a:gd name="connsiteY7136" fmla="*/ 39772 h 1451770"/>
                <a:gd name="connsiteX7137" fmla="*/ 1700911 w 3773795"/>
                <a:gd name="connsiteY7137" fmla="*/ 41005 h 1451770"/>
                <a:gd name="connsiteX7138" fmla="*/ 1701719 w 3773795"/>
                <a:gd name="connsiteY7138" fmla="*/ 43372 h 1451770"/>
                <a:gd name="connsiteX7139" fmla="*/ 1704597 w 3773795"/>
                <a:gd name="connsiteY7139" fmla="*/ 45237 h 1451770"/>
                <a:gd name="connsiteX7140" fmla="*/ 1705962 w 3773795"/>
                <a:gd name="connsiteY7140" fmla="*/ 47122 h 1451770"/>
                <a:gd name="connsiteX7141" fmla="*/ 1720527 w 3773795"/>
                <a:gd name="connsiteY7141" fmla="*/ 53129 h 1451770"/>
                <a:gd name="connsiteX7142" fmla="*/ 1726925 w 3773795"/>
                <a:gd name="connsiteY7142" fmla="*/ 53911 h 1451770"/>
                <a:gd name="connsiteX7143" fmla="*/ 1729774 w 3773795"/>
                <a:gd name="connsiteY7143" fmla="*/ 55379 h 1451770"/>
                <a:gd name="connsiteX7144" fmla="*/ 1730615 w 3773795"/>
                <a:gd name="connsiteY7144" fmla="*/ 57185 h 1451770"/>
                <a:gd name="connsiteX7145" fmla="*/ 1730318 w 3773795"/>
                <a:gd name="connsiteY7145" fmla="*/ 60544 h 1451770"/>
                <a:gd name="connsiteX7146" fmla="*/ 1727902 w 3773795"/>
                <a:gd name="connsiteY7146" fmla="*/ 60514 h 1451770"/>
                <a:gd name="connsiteX7147" fmla="*/ 1726094 w 3773795"/>
                <a:gd name="connsiteY7147" fmla="*/ 61574 h 1451770"/>
                <a:gd name="connsiteX7148" fmla="*/ 1716275 w 3773795"/>
                <a:gd name="connsiteY7148" fmla="*/ 62892 h 1451770"/>
                <a:gd name="connsiteX7149" fmla="*/ 1713880 w 3773795"/>
                <a:gd name="connsiteY7149" fmla="*/ 64864 h 1451770"/>
                <a:gd name="connsiteX7150" fmla="*/ 1711941 w 3773795"/>
                <a:gd name="connsiteY7150" fmla="*/ 68891 h 1451770"/>
                <a:gd name="connsiteX7151" fmla="*/ 1712984 w 3773795"/>
                <a:gd name="connsiteY7151" fmla="*/ 69693 h 1451770"/>
                <a:gd name="connsiteX7152" fmla="*/ 1713923 w 3773795"/>
                <a:gd name="connsiteY7152" fmla="*/ 70886 h 1451770"/>
                <a:gd name="connsiteX7153" fmla="*/ 1716912 w 3773795"/>
                <a:gd name="connsiteY7153" fmla="*/ 77708 h 1451770"/>
                <a:gd name="connsiteX7154" fmla="*/ 1717722 w 3773795"/>
                <a:gd name="connsiteY7154" fmla="*/ 78751 h 1451770"/>
                <a:gd name="connsiteX7155" fmla="*/ 1720600 w 3773795"/>
                <a:gd name="connsiteY7155" fmla="*/ 79738 h 1451770"/>
                <a:gd name="connsiteX7156" fmla="*/ 1717979 w 3773795"/>
                <a:gd name="connsiteY7156" fmla="*/ 82302 h 1451770"/>
                <a:gd name="connsiteX7157" fmla="*/ 1715253 w 3773795"/>
                <a:gd name="connsiteY7157" fmla="*/ 83915 h 1451770"/>
                <a:gd name="connsiteX7158" fmla="*/ 1686078 w 3773795"/>
                <a:gd name="connsiteY7158" fmla="*/ 87165 h 1451770"/>
                <a:gd name="connsiteX7159" fmla="*/ 1666301 w 3773795"/>
                <a:gd name="connsiteY7159" fmla="*/ 88512 h 1451770"/>
                <a:gd name="connsiteX7160" fmla="*/ 1659665 w 3773795"/>
                <a:gd name="connsiteY7160" fmla="*/ 89909 h 1451770"/>
                <a:gd name="connsiteX7161" fmla="*/ 1657538 w 3773795"/>
                <a:gd name="connsiteY7161" fmla="*/ 89743 h 1451770"/>
                <a:gd name="connsiteX7162" fmla="*/ 1652305 w 3773795"/>
                <a:gd name="connsiteY7162" fmla="*/ 92275 h 1451770"/>
                <a:gd name="connsiteX7163" fmla="*/ 1642221 w 3773795"/>
                <a:gd name="connsiteY7163" fmla="*/ 95604 h 1451770"/>
                <a:gd name="connsiteX7164" fmla="*/ 1637408 w 3773795"/>
                <a:gd name="connsiteY7164" fmla="*/ 95629 h 1451770"/>
                <a:gd name="connsiteX7165" fmla="*/ 1622983 w 3773795"/>
                <a:gd name="connsiteY7165" fmla="*/ 90957 h 1451770"/>
                <a:gd name="connsiteX7166" fmla="*/ 1605276 w 3773795"/>
                <a:gd name="connsiteY7166" fmla="*/ 87047 h 1451770"/>
                <a:gd name="connsiteX7167" fmla="*/ 1602857 w 3773795"/>
                <a:gd name="connsiteY7167" fmla="*/ 84812 h 1451770"/>
                <a:gd name="connsiteX7168" fmla="*/ 1598423 w 3773795"/>
                <a:gd name="connsiteY7168" fmla="*/ 83495 h 1451770"/>
                <a:gd name="connsiteX7169" fmla="*/ 1592801 w 3773795"/>
                <a:gd name="connsiteY7169" fmla="*/ 82446 h 1451770"/>
                <a:gd name="connsiteX7170" fmla="*/ 1590290 w 3773795"/>
                <a:gd name="connsiteY7170" fmla="*/ 77935 h 1451770"/>
                <a:gd name="connsiteX7171" fmla="*/ 1593916 w 3773795"/>
                <a:gd name="connsiteY7171" fmla="*/ 74877 h 1451770"/>
                <a:gd name="connsiteX7172" fmla="*/ 1598535 w 3773795"/>
                <a:gd name="connsiteY7172" fmla="*/ 71860 h 1451770"/>
                <a:gd name="connsiteX7173" fmla="*/ 1606274 w 3773795"/>
                <a:gd name="connsiteY7173" fmla="*/ 70756 h 1451770"/>
                <a:gd name="connsiteX7174" fmla="*/ 1613598 w 3773795"/>
                <a:gd name="connsiteY7174" fmla="*/ 69009 h 1451770"/>
                <a:gd name="connsiteX7175" fmla="*/ 1619100 w 3773795"/>
                <a:gd name="connsiteY7175" fmla="*/ 64633 h 1451770"/>
                <a:gd name="connsiteX7176" fmla="*/ 1622513 w 3773795"/>
                <a:gd name="connsiteY7176" fmla="*/ 60292 h 1451770"/>
                <a:gd name="connsiteX7177" fmla="*/ 1628736 w 3773795"/>
                <a:gd name="connsiteY7177" fmla="*/ 55742 h 1451770"/>
                <a:gd name="connsiteX7178" fmla="*/ 1617911 w 3773795"/>
                <a:gd name="connsiteY7178" fmla="*/ 56908 h 1451770"/>
                <a:gd name="connsiteX7179" fmla="*/ 1613922 w 3773795"/>
                <a:gd name="connsiteY7179" fmla="*/ 56279 h 1451770"/>
                <a:gd name="connsiteX7180" fmla="*/ 1614311 w 3773795"/>
                <a:gd name="connsiteY7180" fmla="*/ 54774 h 1451770"/>
                <a:gd name="connsiteX7181" fmla="*/ 1616526 w 3773795"/>
                <a:gd name="connsiteY7181" fmla="*/ 51561 h 1451770"/>
                <a:gd name="connsiteX7182" fmla="*/ 1617727 w 3773795"/>
                <a:gd name="connsiteY7182" fmla="*/ 50479 h 1451770"/>
                <a:gd name="connsiteX7183" fmla="*/ 1621575 w 3773795"/>
                <a:gd name="connsiteY7183" fmla="*/ 48783 h 1451770"/>
                <a:gd name="connsiteX7184" fmla="*/ 1624371 w 3773795"/>
                <a:gd name="connsiteY7184" fmla="*/ 45533 h 1451770"/>
                <a:gd name="connsiteX7185" fmla="*/ 1630863 w 3773795"/>
                <a:gd name="connsiteY7185" fmla="*/ 43288 h 1451770"/>
                <a:gd name="connsiteX7186" fmla="*/ 1633929 w 3773795"/>
                <a:gd name="connsiteY7186" fmla="*/ 42897 h 1451770"/>
                <a:gd name="connsiteX7187" fmla="*/ 1637010 w 3773795"/>
                <a:gd name="connsiteY7187" fmla="*/ 42953 h 1451770"/>
                <a:gd name="connsiteX7188" fmla="*/ 1642586 w 3773795"/>
                <a:gd name="connsiteY7188" fmla="*/ 41899 h 1451770"/>
                <a:gd name="connsiteX7189" fmla="*/ 1648142 w 3773795"/>
                <a:gd name="connsiteY7189" fmla="*/ 40283 h 1451770"/>
                <a:gd name="connsiteX7190" fmla="*/ 1653346 w 3773795"/>
                <a:gd name="connsiteY7190" fmla="*/ 39350 h 1451770"/>
                <a:gd name="connsiteX7191" fmla="*/ 1658568 w 3773795"/>
                <a:gd name="connsiteY7191" fmla="*/ 38971 h 1451770"/>
                <a:gd name="connsiteX7192" fmla="*/ 1663571 w 3773795"/>
                <a:gd name="connsiteY7192" fmla="*/ 37680 h 1451770"/>
                <a:gd name="connsiteX7193" fmla="*/ 1668503 w 3773795"/>
                <a:gd name="connsiteY7193" fmla="*/ 35139 h 1451770"/>
                <a:gd name="connsiteX7194" fmla="*/ 1670684 w 3773795"/>
                <a:gd name="connsiteY7194" fmla="*/ 30804 h 1451770"/>
                <a:gd name="connsiteX7195" fmla="*/ 872778 w 3773795"/>
                <a:gd name="connsiteY7195" fmla="*/ 24158 h 1451770"/>
                <a:gd name="connsiteX7196" fmla="*/ 877330 w 3773795"/>
                <a:gd name="connsiteY7196" fmla="*/ 25817 h 1451770"/>
                <a:gd name="connsiteX7197" fmla="*/ 879403 w 3773795"/>
                <a:gd name="connsiteY7197" fmla="*/ 27972 h 1451770"/>
                <a:gd name="connsiteX7198" fmla="*/ 878043 w 3773795"/>
                <a:gd name="connsiteY7198" fmla="*/ 29011 h 1451770"/>
                <a:gd name="connsiteX7199" fmla="*/ 873264 w 3773795"/>
                <a:gd name="connsiteY7199" fmla="*/ 29689 h 1451770"/>
                <a:gd name="connsiteX7200" fmla="*/ 864907 w 3773795"/>
                <a:gd name="connsiteY7200" fmla="*/ 28576 h 1451770"/>
                <a:gd name="connsiteX7201" fmla="*/ 862499 w 3773795"/>
                <a:gd name="connsiteY7201" fmla="*/ 27332 h 1451770"/>
                <a:gd name="connsiteX7202" fmla="*/ 863037 w 3773795"/>
                <a:gd name="connsiteY7202" fmla="*/ 26120 h 1451770"/>
                <a:gd name="connsiteX7203" fmla="*/ 868479 w 3773795"/>
                <a:gd name="connsiteY7203" fmla="*/ 24466 h 1451770"/>
                <a:gd name="connsiteX7204" fmla="*/ 842741 w 3773795"/>
                <a:gd name="connsiteY7204" fmla="*/ 15362 h 1451770"/>
                <a:gd name="connsiteX7205" fmla="*/ 844812 w 3773795"/>
                <a:gd name="connsiteY7205" fmla="*/ 16344 h 1451770"/>
                <a:gd name="connsiteX7206" fmla="*/ 845971 w 3773795"/>
                <a:gd name="connsiteY7206" fmla="*/ 18434 h 1451770"/>
                <a:gd name="connsiteX7207" fmla="*/ 849375 w 3773795"/>
                <a:gd name="connsiteY7207" fmla="*/ 19628 h 1451770"/>
                <a:gd name="connsiteX7208" fmla="*/ 858649 w 3773795"/>
                <a:gd name="connsiteY7208" fmla="*/ 20662 h 1451770"/>
                <a:gd name="connsiteX7209" fmla="*/ 861476 w 3773795"/>
                <a:gd name="connsiteY7209" fmla="*/ 23069 h 1451770"/>
                <a:gd name="connsiteX7210" fmla="*/ 857230 w 3773795"/>
                <a:gd name="connsiteY7210" fmla="*/ 24722 h 1451770"/>
                <a:gd name="connsiteX7211" fmla="*/ 845883 w 3773795"/>
                <a:gd name="connsiteY7211" fmla="*/ 25715 h 1451770"/>
                <a:gd name="connsiteX7212" fmla="*/ 847060 w 3773795"/>
                <a:gd name="connsiteY7212" fmla="*/ 29114 h 1451770"/>
                <a:gd name="connsiteX7213" fmla="*/ 849347 w 3773795"/>
                <a:gd name="connsiteY7213" fmla="*/ 31650 h 1451770"/>
                <a:gd name="connsiteX7214" fmla="*/ 847081 w 3773795"/>
                <a:gd name="connsiteY7214" fmla="*/ 34647 h 1451770"/>
                <a:gd name="connsiteX7215" fmla="*/ 843916 w 3773795"/>
                <a:gd name="connsiteY7215" fmla="*/ 36098 h 1451770"/>
                <a:gd name="connsiteX7216" fmla="*/ 836867 w 3773795"/>
                <a:gd name="connsiteY7216" fmla="*/ 37881 h 1451770"/>
                <a:gd name="connsiteX7217" fmla="*/ 830421 w 3773795"/>
                <a:gd name="connsiteY7217" fmla="*/ 35642 h 1451770"/>
                <a:gd name="connsiteX7218" fmla="*/ 822957 w 3773795"/>
                <a:gd name="connsiteY7218" fmla="*/ 32534 h 1451770"/>
                <a:gd name="connsiteX7219" fmla="*/ 819581 w 3773795"/>
                <a:gd name="connsiteY7219" fmla="*/ 34607 h 1451770"/>
                <a:gd name="connsiteX7220" fmla="*/ 816116 w 3773795"/>
                <a:gd name="connsiteY7220" fmla="*/ 35810 h 1451770"/>
                <a:gd name="connsiteX7221" fmla="*/ 812831 w 3773795"/>
                <a:gd name="connsiteY7221" fmla="*/ 35634 h 1451770"/>
                <a:gd name="connsiteX7222" fmla="*/ 809029 w 3773795"/>
                <a:gd name="connsiteY7222" fmla="*/ 33264 h 1451770"/>
                <a:gd name="connsiteX7223" fmla="*/ 798519 w 3773795"/>
                <a:gd name="connsiteY7223" fmla="*/ 35119 h 1451770"/>
                <a:gd name="connsiteX7224" fmla="*/ 795334 w 3773795"/>
                <a:gd name="connsiteY7224" fmla="*/ 33050 h 1451770"/>
                <a:gd name="connsiteX7225" fmla="*/ 792976 w 3773795"/>
                <a:gd name="connsiteY7225" fmla="*/ 28699 h 1451770"/>
                <a:gd name="connsiteX7226" fmla="*/ 799961 w 3773795"/>
                <a:gd name="connsiteY7226" fmla="*/ 27741 h 1451770"/>
                <a:gd name="connsiteX7227" fmla="*/ 808251 w 3773795"/>
                <a:gd name="connsiteY7227" fmla="*/ 29124 h 1451770"/>
                <a:gd name="connsiteX7228" fmla="*/ 813732 w 3773795"/>
                <a:gd name="connsiteY7228" fmla="*/ 24720 h 1451770"/>
                <a:gd name="connsiteX7229" fmla="*/ 820676 w 3773795"/>
                <a:gd name="connsiteY7229" fmla="*/ 22808 h 1451770"/>
                <a:gd name="connsiteX7230" fmla="*/ 826299 w 3773795"/>
                <a:gd name="connsiteY7230" fmla="*/ 18217 h 1451770"/>
                <a:gd name="connsiteX7231" fmla="*/ 828918 w 3773795"/>
                <a:gd name="connsiteY7231" fmla="*/ 16599 h 1451770"/>
                <a:gd name="connsiteX7232" fmla="*/ 834967 w 3773795"/>
                <a:gd name="connsiteY7232" fmla="*/ 16914 h 1451770"/>
                <a:gd name="connsiteX7233" fmla="*/ 836988 w 3773795"/>
                <a:gd name="connsiteY7233" fmla="*/ 16512 h 1451770"/>
                <a:gd name="connsiteX7234" fmla="*/ 955033 w 3773795"/>
                <a:gd name="connsiteY7234" fmla="*/ 7193 h 1451770"/>
                <a:gd name="connsiteX7235" fmla="*/ 975258 w 3773795"/>
                <a:gd name="connsiteY7235" fmla="*/ 8871 h 1451770"/>
                <a:gd name="connsiteX7236" fmla="*/ 976537 w 3773795"/>
                <a:gd name="connsiteY7236" fmla="*/ 10098 h 1451770"/>
                <a:gd name="connsiteX7237" fmla="*/ 976869 w 3773795"/>
                <a:gd name="connsiteY7237" fmla="*/ 10858 h 1451770"/>
                <a:gd name="connsiteX7238" fmla="*/ 973962 w 3773795"/>
                <a:gd name="connsiteY7238" fmla="*/ 13000 h 1451770"/>
                <a:gd name="connsiteX7239" fmla="*/ 971254 w 3773795"/>
                <a:gd name="connsiteY7239" fmla="*/ 13675 h 1451770"/>
                <a:gd name="connsiteX7240" fmla="*/ 957024 w 3773795"/>
                <a:gd name="connsiteY7240" fmla="*/ 13024 h 1451770"/>
                <a:gd name="connsiteX7241" fmla="*/ 950127 w 3773795"/>
                <a:gd name="connsiteY7241" fmla="*/ 11745 h 1451770"/>
                <a:gd name="connsiteX7242" fmla="*/ 949203 w 3773795"/>
                <a:gd name="connsiteY7242" fmla="*/ 11006 h 1451770"/>
                <a:gd name="connsiteX7243" fmla="*/ 948849 w 3773795"/>
                <a:gd name="connsiteY7243" fmla="*/ 10364 h 1451770"/>
                <a:gd name="connsiteX7244" fmla="*/ 939810 w 3773795"/>
                <a:gd name="connsiteY7244" fmla="*/ 9293 h 1451770"/>
                <a:gd name="connsiteX7245" fmla="*/ 943735 w 3773795"/>
                <a:gd name="connsiteY7245" fmla="*/ 7851 h 1451770"/>
                <a:gd name="connsiteX7246" fmla="*/ 876909 w 3773795"/>
                <a:gd name="connsiteY7246" fmla="*/ 0 h 1451770"/>
                <a:gd name="connsiteX7247" fmla="*/ 880152 w 3773795"/>
                <a:gd name="connsiteY7247" fmla="*/ 1532 h 1451770"/>
                <a:gd name="connsiteX7248" fmla="*/ 879010 w 3773795"/>
                <a:gd name="connsiteY7248" fmla="*/ 3899 h 1451770"/>
                <a:gd name="connsiteX7249" fmla="*/ 879001 w 3773795"/>
                <a:gd name="connsiteY7249" fmla="*/ 5067 h 1451770"/>
                <a:gd name="connsiteX7250" fmla="*/ 855540 w 3773795"/>
                <a:gd name="connsiteY7250" fmla="*/ 7392 h 1451770"/>
                <a:gd name="connsiteX7251" fmla="*/ 848230 w 3773795"/>
                <a:gd name="connsiteY7251" fmla="*/ 8428 h 1451770"/>
                <a:gd name="connsiteX7252" fmla="*/ 847252 w 3773795"/>
                <a:gd name="connsiteY7252" fmla="*/ 7641 h 1451770"/>
                <a:gd name="connsiteX7253" fmla="*/ 847001 w 3773795"/>
                <a:gd name="connsiteY7253" fmla="*/ 7035 h 1451770"/>
                <a:gd name="connsiteX7254" fmla="*/ 847794 w 3773795"/>
                <a:gd name="connsiteY7254" fmla="*/ 5659 h 1451770"/>
                <a:gd name="connsiteX7255" fmla="*/ 848675 w 3773795"/>
                <a:gd name="connsiteY7255" fmla="*/ 3045 h 1451770"/>
                <a:gd name="connsiteX7256" fmla="*/ 851983 w 3773795"/>
                <a:gd name="connsiteY7256" fmla="*/ 1397 h 14517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  <a:cxn ang="0">
                  <a:pos x="connsiteX2223" y="connsiteY2223"/>
                </a:cxn>
                <a:cxn ang="0">
                  <a:pos x="connsiteX2224" y="connsiteY2224"/>
                </a:cxn>
                <a:cxn ang="0">
                  <a:pos x="connsiteX2225" y="connsiteY2225"/>
                </a:cxn>
                <a:cxn ang="0">
                  <a:pos x="connsiteX2226" y="connsiteY2226"/>
                </a:cxn>
                <a:cxn ang="0">
                  <a:pos x="connsiteX2227" y="connsiteY2227"/>
                </a:cxn>
                <a:cxn ang="0">
                  <a:pos x="connsiteX2228" y="connsiteY2228"/>
                </a:cxn>
                <a:cxn ang="0">
                  <a:pos x="connsiteX2229" y="connsiteY2229"/>
                </a:cxn>
                <a:cxn ang="0">
                  <a:pos x="connsiteX2230" y="connsiteY2230"/>
                </a:cxn>
                <a:cxn ang="0">
                  <a:pos x="connsiteX2231" y="connsiteY2231"/>
                </a:cxn>
                <a:cxn ang="0">
                  <a:pos x="connsiteX2232" y="connsiteY2232"/>
                </a:cxn>
                <a:cxn ang="0">
                  <a:pos x="connsiteX2233" y="connsiteY2233"/>
                </a:cxn>
                <a:cxn ang="0">
                  <a:pos x="connsiteX2234" y="connsiteY2234"/>
                </a:cxn>
                <a:cxn ang="0">
                  <a:pos x="connsiteX2235" y="connsiteY2235"/>
                </a:cxn>
                <a:cxn ang="0">
                  <a:pos x="connsiteX2236" y="connsiteY2236"/>
                </a:cxn>
                <a:cxn ang="0">
                  <a:pos x="connsiteX2237" y="connsiteY2237"/>
                </a:cxn>
                <a:cxn ang="0">
                  <a:pos x="connsiteX2238" y="connsiteY2238"/>
                </a:cxn>
                <a:cxn ang="0">
                  <a:pos x="connsiteX2239" y="connsiteY2239"/>
                </a:cxn>
                <a:cxn ang="0">
                  <a:pos x="connsiteX2240" y="connsiteY2240"/>
                </a:cxn>
                <a:cxn ang="0">
                  <a:pos x="connsiteX2241" y="connsiteY2241"/>
                </a:cxn>
                <a:cxn ang="0">
                  <a:pos x="connsiteX2242" y="connsiteY2242"/>
                </a:cxn>
                <a:cxn ang="0">
                  <a:pos x="connsiteX2243" y="connsiteY2243"/>
                </a:cxn>
                <a:cxn ang="0">
                  <a:pos x="connsiteX2244" y="connsiteY2244"/>
                </a:cxn>
                <a:cxn ang="0">
                  <a:pos x="connsiteX2245" y="connsiteY2245"/>
                </a:cxn>
                <a:cxn ang="0">
                  <a:pos x="connsiteX2246" y="connsiteY2246"/>
                </a:cxn>
                <a:cxn ang="0">
                  <a:pos x="connsiteX2247" y="connsiteY2247"/>
                </a:cxn>
                <a:cxn ang="0">
                  <a:pos x="connsiteX2248" y="connsiteY2248"/>
                </a:cxn>
                <a:cxn ang="0">
                  <a:pos x="connsiteX2249" y="connsiteY2249"/>
                </a:cxn>
                <a:cxn ang="0">
                  <a:pos x="connsiteX2250" y="connsiteY2250"/>
                </a:cxn>
                <a:cxn ang="0">
                  <a:pos x="connsiteX2251" y="connsiteY2251"/>
                </a:cxn>
                <a:cxn ang="0">
                  <a:pos x="connsiteX2252" y="connsiteY2252"/>
                </a:cxn>
                <a:cxn ang="0">
                  <a:pos x="connsiteX2253" y="connsiteY2253"/>
                </a:cxn>
                <a:cxn ang="0">
                  <a:pos x="connsiteX2254" y="connsiteY2254"/>
                </a:cxn>
                <a:cxn ang="0">
                  <a:pos x="connsiteX2255" y="connsiteY2255"/>
                </a:cxn>
                <a:cxn ang="0">
                  <a:pos x="connsiteX2256" y="connsiteY2256"/>
                </a:cxn>
                <a:cxn ang="0">
                  <a:pos x="connsiteX2257" y="connsiteY2257"/>
                </a:cxn>
                <a:cxn ang="0">
                  <a:pos x="connsiteX2258" y="connsiteY2258"/>
                </a:cxn>
                <a:cxn ang="0">
                  <a:pos x="connsiteX2259" y="connsiteY2259"/>
                </a:cxn>
                <a:cxn ang="0">
                  <a:pos x="connsiteX2260" y="connsiteY2260"/>
                </a:cxn>
                <a:cxn ang="0">
                  <a:pos x="connsiteX2261" y="connsiteY2261"/>
                </a:cxn>
                <a:cxn ang="0">
                  <a:pos x="connsiteX2262" y="connsiteY2262"/>
                </a:cxn>
                <a:cxn ang="0">
                  <a:pos x="connsiteX2263" y="connsiteY2263"/>
                </a:cxn>
                <a:cxn ang="0">
                  <a:pos x="connsiteX2264" y="connsiteY2264"/>
                </a:cxn>
                <a:cxn ang="0">
                  <a:pos x="connsiteX2265" y="connsiteY2265"/>
                </a:cxn>
                <a:cxn ang="0">
                  <a:pos x="connsiteX2266" y="connsiteY2266"/>
                </a:cxn>
                <a:cxn ang="0">
                  <a:pos x="connsiteX2267" y="connsiteY2267"/>
                </a:cxn>
                <a:cxn ang="0">
                  <a:pos x="connsiteX2268" y="connsiteY2268"/>
                </a:cxn>
                <a:cxn ang="0">
                  <a:pos x="connsiteX2269" y="connsiteY2269"/>
                </a:cxn>
                <a:cxn ang="0">
                  <a:pos x="connsiteX2270" y="connsiteY2270"/>
                </a:cxn>
                <a:cxn ang="0">
                  <a:pos x="connsiteX2271" y="connsiteY2271"/>
                </a:cxn>
                <a:cxn ang="0">
                  <a:pos x="connsiteX2272" y="connsiteY2272"/>
                </a:cxn>
                <a:cxn ang="0">
                  <a:pos x="connsiteX2273" y="connsiteY2273"/>
                </a:cxn>
                <a:cxn ang="0">
                  <a:pos x="connsiteX2274" y="connsiteY2274"/>
                </a:cxn>
                <a:cxn ang="0">
                  <a:pos x="connsiteX2275" y="connsiteY2275"/>
                </a:cxn>
                <a:cxn ang="0">
                  <a:pos x="connsiteX2276" y="connsiteY2276"/>
                </a:cxn>
                <a:cxn ang="0">
                  <a:pos x="connsiteX2277" y="connsiteY2277"/>
                </a:cxn>
                <a:cxn ang="0">
                  <a:pos x="connsiteX2278" y="connsiteY2278"/>
                </a:cxn>
                <a:cxn ang="0">
                  <a:pos x="connsiteX2279" y="connsiteY2279"/>
                </a:cxn>
                <a:cxn ang="0">
                  <a:pos x="connsiteX2280" y="connsiteY2280"/>
                </a:cxn>
                <a:cxn ang="0">
                  <a:pos x="connsiteX2281" y="connsiteY2281"/>
                </a:cxn>
                <a:cxn ang="0">
                  <a:pos x="connsiteX2282" y="connsiteY2282"/>
                </a:cxn>
                <a:cxn ang="0">
                  <a:pos x="connsiteX2283" y="connsiteY2283"/>
                </a:cxn>
                <a:cxn ang="0">
                  <a:pos x="connsiteX2284" y="connsiteY2284"/>
                </a:cxn>
                <a:cxn ang="0">
                  <a:pos x="connsiteX2285" y="connsiteY2285"/>
                </a:cxn>
                <a:cxn ang="0">
                  <a:pos x="connsiteX2286" y="connsiteY2286"/>
                </a:cxn>
                <a:cxn ang="0">
                  <a:pos x="connsiteX2287" y="connsiteY2287"/>
                </a:cxn>
                <a:cxn ang="0">
                  <a:pos x="connsiteX2288" y="connsiteY2288"/>
                </a:cxn>
                <a:cxn ang="0">
                  <a:pos x="connsiteX2289" y="connsiteY2289"/>
                </a:cxn>
                <a:cxn ang="0">
                  <a:pos x="connsiteX2290" y="connsiteY2290"/>
                </a:cxn>
                <a:cxn ang="0">
                  <a:pos x="connsiteX2291" y="connsiteY2291"/>
                </a:cxn>
                <a:cxn ang="0">
                  <a:pos x="connsiteX2292" y="connsiteY2292"/>
                </a:cxn>
                <a:cxn ang="0">
                  <a:pos x="connsiteX2293" y="connsiteY2293"/>
                </a:cxn>
                <a:cxn ang="0">
                  <a:pos x="connsiteX2294" y="connsiteY2294"/>
                </a:cxn>
                <a:cxn ang="0">
                  <a:pos x="connsiteX2295" y="connsiteY2295"/>
                </a:cxn>
                <a:cxn ang="0">
                  <a:pos x="connsiteX2296" y="connsiteY2296"/>
                </a:cxn>
                <a:cxn ang="0">
                  <a:pos x="connsiteX2297" y="connsiteY2297"/>
                </a:cxn>
                <a:cxn ang="0">
                  <a:pos x="connsiteX2298" y="connsiteY2298"/>
                </a:cxn>
                <a:cxn ang="0">
                  <a:pos x="connsiteX2299" y="connsiteY2299"/>
                </a:cxn>
                <a:cxn ang="0">
                  <a:pos x="connsiteX2300" y="connsiteY2300"/>
                </a:cxn>
                <a:cxn ang="0">
                  <a:pos x="connsiteX2301" y="connsiteY2301"/>
                </a:cxn>
                <a:cxn ang="0">
                  <a:pos x="connsiteX2302" y="connsiteY2302"/>
                </a:cxn>
                <a:cxn ang="0">
                  <a:pos x="connsiteX2303" y="connsiteY2303"/>
                </a:cxn>
                <a:cxn ang="0">
                  <a:pos x="connsiteX2304" y="connsiteY2304"/>
                </a:cxn>
                <a:cxn ang="0">
                  <a:pos x="connsiteX2305" y="connsiteY2305"/>
                </a:cxn>
                <a:cxn ang="0">
                  <a:pos x="connsiteX2306" y="connsiteY2306"/>
                </a:cxn>
                <a:cxn ang="0">
                  <a:pos x="connsiteX2307" y="connsiteY2307"/>
                </a:cxn>
                <a:cxn ang="0">
                  <a:pos x="connsiteX2308" y="connsiteY2308"/>
                </a:cxn>
                <a:cxn ang="0">
                  <a:pos x="connsiteX2309" y="connsiteY2309"/>
                </a:cxn>
                <a:cxn ang="0">
                  <a:pos x="connsiteX2310" y="connsiteY2310"/>
                </a:cxn>
                <a:cxn ang="0">
                  <a:pos x="connsiteX2311" y="connsiteY2311"/>
                </a:cxn>
                <a:cxn ang="0">
                  <a:pos x="connsiteX2312" y="connsiteY2312"/>
                </a:cxn>
                <a:cxn ang="0">
                  <a:pos x="connsiteX2313" y="connsiteY2313"/>
                </a:cxn>
                <a:cxn ang="0">
                  <a:pos x="connsiteX2314" y="connsiteY2314"/>
                </a:cxn>
                <a:cxn ang="0">
                  <a:pos x="connsiteX2315" y="connsiteY2315"/>
                </a:cxn>
                <a:cxn ang="0">
                  <a:pos x="connsiteX2316" y="connsiteY2316"/>
                </a:cxn>
                <a:cxn ang="0">
                  <a:pos x="connsiteX2317" y="connsiteY2317"/>
                </a:cxn>
                <a:cxn ang="0">
                  <a:pos x="connsiteX2318" y="connsiteY2318"/>
                </a:cxn>
                <a:cxn ang="0">
                  <a:pos x="connsiteX2319" y="connsiteY2319"/>
                </a:cxn>
                <a:cxn ang="0">
                  <a:pos x="connsiteX2320" y="connsiteY2320"/>
                </a:cxn>
                <a:cxn ang="0">
                  <a:pos x="connsiteX2321" y="connsiteY2321"/>
                </a:cxn>
                <a:cxn ang="0">
                  <a:pos x="connsiteX2322" y="connsiteY2322"/>
                </a:cxn>
                <a:cxn ang="0">
                  <a:pos x="connsiteX2323" y="connsiteY2323"/>
                </a:cxn>
                <a:cxn ang="0">
                  <a:pos x="connsiteX2324" y="connsiteY2324"/>
                </a:cxn>
                <a:cxn ang="0">
                  <a:pos x="connsiteX2325" y="connsiteY2325"/>
                </a:cxn>
                <a:cxn ang="0">
                  <a:pos x="connsiteX2326" y="connsiteY2326"/>
                </a:cxn>
                <a:cxn ang="0">
                  <a:pos x="connsiteX2327" y="connsiteY2327"/>
                </a:cxn>
                <a:cxn ang="0">
                  <a:pos x="connsiteX2328" y="connsiteY2328"/>
                </a:cxn>
                <a:cxn ang="0">
                  <a:pos x="connsiteX2329" y="connsiteY2329"/>
                </a:cxn>
                <a:cxn ang="0">
                  <a:pos x="connsiteX2330" y="connsiteY2330"/>
                </a:cxn>
                <a:cxn ang="0">
                  <a:pos x="connsiteX2331" y="connsiteY2331"/>
                </a:cxn>
                <a:cxn ang="0">
                  <a:pos x="connsiteX2332" y="connsiteY2332"/>
                </a:cxn>
                <a:cxn ang="0">
                  <a:pos x="connsiteX2333" y="connsiteY2333"/>
                </a:cxn>
                <a:cxn ang="0">
                  <a:pos x="connsiteX2334" y="connsiteY2334"/>
                </a:cxn>
                <a:cxn ang="0">
                  <a:pos x="connsiteX2335" y="connsiteY2335"/>
                </a:cxn>
                <a:cxn ang="0">
                  <a:pos x="connsiteX2336" y="connsiteY2336"/>
                </a:cxn>
                <a:cxn ang="0">
                  <a:pos x="connsiteX2337" y="connsiteY2337"/>
                </a:cxn>
                <a:cxn ang="0">
                  <a:pos x="connsiteX2338" y="connsiteY2338"/>
                </a:cxn>
                <a:cxn ang="0">
                  <a:pos x="connsiteX2339" y="connsiteY2339"/>
                </a:cxn>
                <a:cxn ang="0">
                  <a:pos x="connsiteX2340" y="connsiteY2340"/>
                </a:cxn>
                <a:cxn ang="0">
                  <a:pos x="connsiteX2341" y="connsiteY2341"/>
                </a:cxn>
                <a:cxn ang="0">
                  <a:pos x="connsiteX2342" y="connsiteY2342"/>
                </a:cxn>
                <a:cxn ang="0">
                  <a:pos x="connsiteX2343" y="connsiteY2343"/>
                </a:cxn>
                <a:cxn ang="0">
                  <a:pos x="connsiteX2344" y="connsiteY2344"/>
                </a:cxn>
                <a:cxn ang="0">
                  <a:pos x="connsiteX2345" y="connsiteY2345"/>
                </a:cxn>
                <a:cxn ang="0">
                  <a:pos x="connsiteX2346" y="connsiteY2346"/>
                </a:cxn>
                <a:cxn ang="0">
                  <a:pos x="connsiteX2347" y="connsiteY2347"/>
                </a:cxn>
                <a:cxn ang="0">
                  <a:pos x="connsiteX2348" y="connsiteY2348"/>
                </a:cxn>
                <a:cxn ang="0">
                  <a:pos x="connsiteX2349" y="connsiteY2349"/>
                </a:cxn>
                <a:cxn ang="0">
                  <a:pos x="connsiteX2350" y="connsiteY2350"/>
                </a:cxn>
                <a:cxn ang="0">
                  <a:pos x="connsiteX2351" y="connsiteY2351"/>
                </a:cxn>
                <a:cxn ang="0">
                  <a:pos x="connsiteX2352" y="connsiteY2352"/>
                </a:cxn>
                <a:cxn ang="0">
                  <a:pos x="connsiteX2353" y="connsiteY2353"/>
                </a:cxn>
                <a:cxn ang="0">
                  <a:pos x="connsiteX2354" y="connsiteY2354"/>
                </a:cxn>
                <a:cxn ang="0">
                  <a:pos x="connsiteX2355" y="connsiteY2355"/>
                </a:cxn>
                <a:cxn ang="0">
                  <a:pos x="connsiteX2356" y="connsiteY2356"/>
                </a:cxn>
                <a:cxn ang="0">
                  <a:pos x="connsiteX2357" y="connsiteY2357"/>
                </a:cxn>
                <a:cxn ang="0">
                  <a:pos x="connsiteX2358" y="connsiteY2358"/>
                </a:cxn>
                <a:cxn ang="0">
                  <a:pos x="connsiteX2359" y="connsiteY2359"/>
                </a:cxn>
                <a:cxn ang="0">
                  <a:pos x="connsiteX2360" y="connsiteY2360"/>
                </a:cxn>
                <a:cxn ang="0">
                  <a:pos x="connsiteX2361" y="connsiteY2361"/>
                </a:cxn>
                <a:cxn ang="0">
                  <a:pos x="connsiteX2362" y="connsiteY2362"/>
                </a:cxn>
                <a:cxn ang="0">
                  <a:pos x="connsiteX2363" y="connsiteY2363"/>
                </a:cxn>
                <a:cxn ang="0">
                  <a:pos x="connsiteX2364" y="connsiteY2364"/>
                </a:cxn>
                <a:cxn ang="0">
                  <a:pos x="connsiteX2365" y="connsiteY2365"/>
                </a:cxn>
                <a:cxn ang="0">
                  <a:pos x="connsiteX2366" y="connsiteY2366"/>
                </a:cxn>
                <a:cxn ang="0">
                  <a:pos x="connsiteX2367" y="connsiteY2367"/>
                </a:cxn>
                <a:cxn ang="0">
                  <a:pos x="connsiteX2368" y="connsiteY2368"/>
                </a:cxn>
                <a:cxn ang="0">
                  <a:pos x="connsiteX2369" y="connsiteY2369"/>
                </a:cxn>
                <a:cxn ang="0">
                  <a:pos x="connsiteX2370" y="connsiteY2370"/>
                </a:cxn>
                <a:cxn ang="0">
                  <a:pos x="connsiteX2371" y="connsiteY2371"/>
                </a:cxn>
                <a:cxn ang="0">
                  <a:pos x="connsiteX2372" y="connsiteY2372"/>
                </a:cxn>
                <a:cxn ang="0">
                  <a:pos x="connsiteX2373" y="connsiteY2373"/>
                </a:cxn>
                <a:cxn ang="0">
                  <a:pos x="connsiteX2374" y="connsiteY2374"/>
                </a:cxn>
                <a:cxn ang="0">
                  <a:pos x="connsiteX2375" y="connsiteY2375"/>
                </a:cxn>
                <a:cxn ang="0">
                  <a:pos x="connsiteX2376" y="connsiteY2376"/>
                </a:cxn>
                <a:cxn ang="0">
                  <a:pos x="connsiteX2377" y="connsiteY2377"/>
                </a:cxn>
                <a:cxn ang="0">
                  <a:pos x="connsiteX2378" y="connsiteY2378"/>
                </a:cxn>
                <a:cxn ang="0">
                  <a:pos x="connsiteX2379" y="connsiteY2379"/>
                </a:cxn>
                <a:cxn ang="0">
                  <a:pos x="connsiteX2380" y="connsiteY2380"/>
                </a:cxn>
                <a:cxn ang="0">
                  <a:pos x="connsiteX2381" y="connsiteY2381"/>
                </a:cxn>
                <a:cxn ang="0">
                  <a:pos x="connsiteX2382" y="connsiteY2382"/>
                </a:cxn>
                <a:cxn ang="0">
                  <a:pos x="connsiteX2383" y="connsiteY2383"/>
                </a:cxn>
                <a:cxn ang="0">
                  <a:pos x="connsiteX2384" y="connsiteY2384"/>
                </a:cxn>
                <a:cxn ang="0">
                  <a:pos x="connsiteX2385" y="connsiteY2385"/>
                </a:cxn>
                <a:cxn ang="0">
                  <a:pos x="connsiteX2386" y="connsiteY2386"/>
                </a:cxn>
                <a:cxn ang="0">
                  <a:pos x="connsiteX2387" y="connsiteY2387"/>
                </a:cxn>
                <a:cxn ang="0">
                  <a:pos x="connsiteX2388" y="connsiteY2388"/>
                </a:cxn>
                <a:cxn ang="0">
                  <a:pos x="connsiteX2389" y="connsiteY2389"/>
                </a:cxn>
                <a:cxn ang="0">
                  <a:pos x="connsiteX2390" y="connsiteY2390"/>
                </a:cxn>
                <a:cxn ang="0">
                  <a:pos x="connsiteX2391" y="connsiteY2391"/>
                </a:cxn>
                <a:cxn ang="0">
                  <a:pos x="connsiteX2392" y="connsiteY2392"/>
                </a:cxn>
                <a:cxn ang="0">
                  <a:pos x="connsiteX2393" y="connsiteY2393"/>
                </a:cxn>
                <a:cxn ang="0">
                  <a:pos x="connsiteX2394" y="connsiteY2394"/>
                </a:cxn>
                <a:cxn ang="0">
                  <a:pos x="connsiteX2395" y="connsiteY2395"/>
                </a:cxn>
                <a:cxn ang="0">
                  <a:pos x="connsiteX2396" y="connsiteY2396"/>
                </a:cxn>
                <a:cxn ang="0">
                  <a:pos x="connsiteX2397" y="connsiteY2397"/>
                </a:cxn>
                <a:cxn ang="0">
                  <a:pos x="connsiteX2398" y="connsiteY2398"/>
                </a:cxn>
                <a:cxn ang="0">
                  <a:pos x="connsiteX2399" y="connsiteY2399"/>
                </a:cxn>
                <a:cxn ang="0">
                  <a:pos x="connsiteX2400" y="connsiteY2400"/>
                </a:cxn>
                <a:cxn ang="0">
                  <a:pos x="connsiteX2401" y="connsiteY2401"/>
                </a:cxn>
                <a:cxn ang="0">
                  <a:pos x="connsiteX2402" y="connsiteY2402"/>
                </a:cxn>
                <a:cxn ang="0">
                  <a:pos x="connsiteX2403" y="connsiteY2403"/>
                </a:cxn>
                <a:cxn ang="0">
                  <a:pos x="connsiteX2404" y="connsiteY2404"/>
                </a:cxn>
                <a:cxn ang="0">
                  <a:pos x="connsiteX2405" y="connsiteY2405"/>
                </a:cxn>
                <a:cxn ang="0">
                  <a:pos x="connsiteX2406" y="connsiteY2406"/>
                </a:cxn>
                <a:cxn ang="0">
                  <a:pos x="connsiteX2407" y="connsiteY2407"/>
                </a:cxn>
                <a:cxn ang="0">
                  <a:pos x="connsiteX2408" y="connsiteY2408"/>
                </a:cxn>
                <a:cxn ang="0">
                  <a:pos x="connsiteX2409" y="connsiteY2409"/>
                </a:cxn>
                <a:cxn ang="0">
                  <a:pos x="connsiteX2410" y="connsiteY2410"/>
                </a:cxn>
                <a:cxn ang="0">
                  <a:pos x="connsiteX2411" y="connsiteY2411"/>
                </a:cxn>
                <a:cxn ang="0">
                  <a:pos x="connsiteX2412" y="connsiteY2412"/>
                </a:cxn>
                <a:cxn ang="0">
                  <a:pos x="connsiteX2413" y="connsiteY2413"/>
                </a:cxn>
                <a:cxn ang="0">
                  <a:pos x="connsiteX2414" y="connsiteY2414"/>
                </a:cxn>
                <a:cxn ang="0">
                  <a:pos x="connsiteX2415" y="connsiteY2415"/>
                </a:cxn>
                <a:cxn ang="0">
                  <a:pos x="connsiteX2416" y="connsiteY2416"/>
                </a:cxn>
                <a:cxn ang="0">
                  <a:pos x="connsiteX2417" y="connsiteY2417"/>
                </a:cxn>
                <a:cxn ang="0">
                  <a:pos x="connsiteX2418" y="connsiteY2418"/>
                </a:cxn>
                <a:cxn ang="0">
                  <a:pos x="connsiteX2419" y="connsiteY2419"/>
                </a:cxn>
                <a:cxn ang="0">
                  <a:pos x="connsiteX2420" y="connsiteY2420"/>
                </a:cxn>
                <a:cxn ang="0">
                  <a:pos x="connsiteX2421" y="connsiteY2421"/>
                </a:cxn>
                <a:cxn ang="0">
                  <a:pos x="connsiteX2422" y="connsiteY2422"/>
                </a:cxn>
                <a:cxn ang="0">
                  <a:pos x="connsiteX2423" y="connsiteY2423"/>
                </a:cxn>
                <a:cxn ang="0">
                  <a:pos x="connsiteX2424" y="connsiteY2424"/>
                </a:cxn>
                <a:cxn ang="0">
                  <a:pos x="connsiteX2425" y="connsiteY2425"/>
                </a:cxn>
                <a:cxn ang="0">
                  <a:pos x="connsiteX2426" y="connsiteY2426"/>
                </a:cxn>
                <a:cxn ang="0">
                  <a:pos x="connsiteX2427" y="connsiteY2427"/>
                </a:cxn>
                <a:cxn ang="0">
                  <a:pos x="connsiteX2428" y="connsiteY2428"/>
                </a:cxn>
                <a:cxn ang="0">
                  <a:pos x="connsiteX2429" y="connsiteY2429"/>
                </a:cxn>
                <a:cxn ang="0">
                  <a:pos x="connsiteX2430" y="connsiteY2430"/>
                </a:cxn>
                <a:cxn ang="0">
                  <a:pos x="connsiteX2431" y="connsiteY2431"/>
                </a:cxn>
                <a:cxn ang="0">
                  <a:pos x="connsiteX2432" y="connsiteY2432"/>
                </a:cxn>
                <a:cxn ang="0">
                  <a:pos x="connsiteX2433" y="connsiteY2433"/>
                </a:cxn>
                <a:cxn ang="0">
                  <a:pos x="connsiteX2434" y="connsiteY2434"/>
                </a:cxn>
                <a:cxn ang="0">
                  <a:pos x="connsiteX2435" y="connsiteY2435"/>
                </a:cxn>
                <a:cxn ang="0">
                  <a:pos x="connsiteX2436" y="connsiteY2436"/>
                </a:cxn>
                <a:cxn ang="0">
                  <a:pos x="connsiteX2437" y="connsiteY2437"/>
                </a:cxn>
                <a:cxn ang="0">
                  <a:pos x="connsiteX2438" y="connsiteY2438"/>
                </a:cxn>
                <a:cxn ang="0">
                  <a:pos x="connsiteX2439" y="connsiteY2439"/>
                </a:cxn>
                <a:cxn ang="0">
                  <a:pos x="connsiteX2440" y="connsiteY2440"/>
                </a:cxn>
                <a:cxn ang="0">
                  <a:pos x="connsiteX2441" y="connsiteY2441"/>
                </a:cxn>
                <a:cxn ang="0">
                  <a:pos x="connsiteX2442" y="connsiteY2442"/>
                </a:cxn>
                <a:cxn ang="0">
                  <a:pos x="connsiteX2443" y="connsiteY2443"/>
                </a:cxn>
                <a:cxn ang="0">
                  <a:pos x="connsiteX2444" y="connsiteY2444"/>
                </a:cxn>
                <a:cxn ang="0">
                  <a:pos x="connsiteX2445" y="connsiteY2445"/>
                </a:cxn>
                <a:cxn ang="0">
                  <a:pos x="connsiteX2446" y="connsiteY2446"/>
                </a:cxn>
                <a:cxn ang="0">
                  <a:pos x="connsiteX2447" y="connsiteY2447"/>
                </a:cxn>
                <a:cxn ang="0">
                  <a:pos x="connsiteX2448" y="connsiteY2448"/>
                </a:cxn>
                <a:cxn ang="0">
                  <a:pos x="connsiteX2449" y="connsiteY2449"/>
                </a:cxn>
                <a:cxn ang="0">
                  <a:pos x="connsiteX2450" y="connsiteY2450"/>
                </a:cxn>
                <a:cxn ang="0">
                  <a:pos x="connsiteX2451" y="connsiteY2451"/>
                </a:cxn>
                <a:cxn ang="0">
                  <a:pos x="connsiteX2452" y="connsiteY2452"/>
                </a:cxn>
                <a:cxn ang="0">
                  <a:pos x="connsiteX2453" y="connsiteY2453"/>
                </a:cxn>
                <a:cxn ang="0">
                  <a:pos x="connsiteX2454" y="connsiteY2454"/>
                </a:cxn>
                <a:cxn ang="0">
                  <a:pos x="connsiteX2455" y="connsiteY2455"/>
                </a:cxn>
                <a:cxn ang="0">
                  <a:pos x="connsiteX2456" y="connsiteY2456"/>
                </a:cxn>
                <a:cxn ang="0">
                  <a:pos x="connsiteX2457" y="connsiteY2457"/>
                </a:cxn>
                <a:cxn ang="0">
                  <a:pos x="connsiteX2458" y="connsiteY2458"/>
                </a:cxn>
                <a:cxn ang="0">
                  <a:pos x="connsiteX2459" y="connsiteY2459"/>
                </a:cxn>
                <a:cxn ang="0">
                  <a:pos x="connsiteX2460" y="connsiteY2460"/>
                </a:cxn>
                <a:cxn ang="0">
                  <a:pos x="connsiteX2461" y="connsiteY2461"/>
                </a:cxn>
                <a:cxn ang="0">
                  <a:pos x="connsiteX2462" y="connsiteY2462"/>
                </a:cxn>
                <a:cxn ang="0">
                  <a:pos x="connsiteX2463" y="connsiteY2463"/>
                </a:cxn>
                <a:cxn ang="0">
                  <a:pos x="connsiteX2464" y="connsiteY2464"/>
                </a:cxn>
                <a:cxn ang="0">
                  <a:pos x="connsiteX2465" y="connsiteY2465"/>
                </a:cxn>
                <a:cxn ang="0">
                  <a:pos x="connsiteX2466" y="connsiteY2466"/>
                </a:cxn>
                <a:cxn ang="0">
                  <a:pos x="connsiteX2467" y="connsiteY2467"/>
                </a:cxn>
                <a:cxn ang="0">
                  <a:pos x="connsiteX2468" y="connsiteY2468"/>
                </a:cxn>
                <a:cxn ang="0">
                  <a:pos x="connsiteX2469" y="connsiteY2469"/>
                </a:cxn>
                <a:cxn ang="0">
                  <a:pos x="connsiteX2470" y="connsiteY2470"/>
                </a:cxn>
                <a:cxn ang="0">
                  <a:pos x="connsiteX2471" y="connsiteY2471"/>
                </a:cxn>
                <a:cxn ang="0">
                  <a:pos x="connsiteX2472" y="connsiteY2472"/>
                </a:cxn>
                <a:cxn ang="0">
                  <a:pos x="connsiteX2473" y="connsiteY2473"/>
                </a:cxn>
                <a:cxn ang="0">
                  <a:pos x="connsiteX2474" y="connsiteY2474"/>
                </a:cxn>
                <a:cxn ang="0">
                  <a:pos x="connsiteX2475" y="connsiteY2475"/>
                </a:cxn>
                <a:cxn ang="0">
                  <a:pos x="connsiteX2476" y="connsiteY2476"/>
                </a:cxn>
                <a:cxn ang="0">
                  <a:pos x="connsiteX2477" y="connsiteY2477"/>
                </a:cxn>
                <a:cxn ang="0">
                  <a:pos x="connsiteX2478" y="connsiteY2478"/>
                </a:cxn>
                <a:cxn ang="0">
                  <a:pos x="connsiteX2479" y="connsiteY2479"/>
                </a:cxn>
                <a:cxn ang="0">
                  <a:pos x="connsiteX2480" y="connsiteY2480"/>
                </a:cxn>
                <a:cxn ang="0">
                  <a:pos x="connsiteX2481" y="connsiteY2481"/>
                </a:cxn>
                <a:cxn ang="0">
                  <a:pos x="connsiteX2482" y="connsiteY2482"/>
                </a:cxn>
                <a:cxn ang="0">
                  <a:pos x="connsiteX2483" y="connsiteY2483"/>
                </a:cxn>
                <a:cxn ang="0">
                  <a:pos x="connsiteX2484" y="connsiteY2484"/>
                </a:cxn>
                <a:cxn ang="0">
                  <a:pos x="connsiteX2485" y="connsiteY2485"/>
                </a:cxn>
                <a:cxn ang="0">
                  <a:pos x="connsiteX2486" y="connsiteY2486"/>
                </a:cxn>
                <a:cxn ang="0">
                  <a:pos x="connsiteX2487" y="connsiteY2487"/>
                </a:cxn>
                <a:cxn ang="0">
                  <a:pos x="connsiteX2488" y="connsiteY2488"/>
                </a:cxn>
                <a:cxn ang="0">
                  <a:pos x="connsiteX2489" y="connsiteY2489"/>
                </a:cxn>
                <a:cxn ang="0">
                  <a:pos x="connsiteX2490" y="connsiteY2490"/>
                </a:cxn>
                <a:cxn ang="0">
                  <a:pos x="connsiteX2491" y="connsiteY2491"/>
                </a:cxn>
                <a:cxn ang="0">
                  <a:pos x="connsiteX2492" y="connsiteY2492"/>
                </a:cxn>
                <a:cxn ang="0">
                  <a:pos x="connsiteX2493" y="connsiteY2493"/>
                </a:cxn>
                <a:cxn ang="0">
                  <a:pos x="connsiteX2494" y="connsiteY2494"/>
                </a:cxn>
                <a:cxn ang="0">
                  <a:pos x="connsiteX2495" y="connsiteY2495"/>
                </a:cxn>
                <a:cxn ang="0">
                  <a:pos x="connsiteX2496" y="connsiteY2496"/>
                </a:cxn>
                <a:cxn ang="0">
                  <a:pos x="connsiteX2497" y="connsiteY2497"/>
                </a:cxn>
                <a:cxn ang="0">
                  <a:pos x="connsiteX2498" y="connsiteY2498"/>
                </a:cxn>
                <a:cxn ang="0">
                  <a:pos x="connsiteX2499" y="connsiteY2499"/>
                </a:cxn>
                <a:cxn ang="0">
                  <a:pos x="connsiteX2500" y="connsiteY2500"/>
                </a:cxn>
                <a:cxn ang="0">
                  <a:pos x="connsiteX2501" y="connsiteY2501"/>
                </a:cxn>
                <a:cxn ang="0">
                  <a:pos x="connsiteX2502" y="connsiteY2502"/>
                </a:cxn>
                <a:cxn ang="0">
                  <a:pos x="connsiteX2503" y="connsiteY2503"/>
                </a:cxn>
                <a:cxn ang="0">
                  <a:pos x="connsiteX2504" y="connsiteY2504"/>
                </a:cxn>
                <a:cxn ang="0">
                  <a:pos x="connsiteX2505" y="connsiteY2505"/>
                </a:cxn>
                <a:cxn ang="0">
                  <a:pos x="connsiteX2506" y="connsiteY2506"/>
                </a:cxn>
                <a:cxn ang="0">
                  <a:pos x="connsiteX2507" y="connsiteY2507"/>
                </a:cxn>
                <a:cxn ang="0">
                  <a:pos x="connsiteX2508" y="connsiteY2508"/>
                </a:cxn>
                <a:cxn ang="0">
                  <a:pos x="connsiteX2509" y="connsiteY2509"/>
                </a:cxn>
                <a:cxn ang="0">
                  <a:pos x="connsiteX2510" y="connsiteY2510"/>
                </a:cxn>
                <a:cxn ang="0">
                  <a:pos x="connsiteX2511" y="connsiteY2511"/>
                </a:cxn>
                <a:cxn ang="0">
                  <a:pos x="connsiteX2512" y="connsiteY2512"/>
                </a:cxn>
                <a:cxn ang="0">
                  <a:pos x="connsiteX2513" y="connsiteY2513"/>
                </a:cxn>
                <a:cxn ang="0">
                  <a:pos x="connsiteX2514" y="connsiteY2514"/>
                </a:cxn>
                <a:cxn ang="0">
                  <a:pos x="connsiteX2515" y="connsiteY2515"/>
                </a:cxn>
                <a:cxn ang="0">
                  <a:pos x="connsiteX2516" y="connsiteY2516"/>
                </a:cxn>
                <a:cxn ang="0">
                  <a:pos x="connsiteX2517" y="connsiteY2517"/>
                </a:cxn>
                <a:cxn ang="0">
                  <a:pos x="connsiteX2518" y="connsiteY2518"/>
                </a:cxn>
                <a:cxn ang="0">
                  <a:pos x="connsiteX2519" y="connsiteY2519"/>
                </a:cxn>
                <a:cxn ang="0">
                  <a:pos x="connsiteX2520" y="connsiteY2520"/>
                </a:cxn>
                <a:cxn ang="0">
                  <a:pos x="connsiteX2521" y="connsiteY2521"/>
                </a:cxn>
                <a:cxn ang="0">
                  <a:pos x="connsiteX2522" y="connsiteY2522"/>
                </a:cxn>
                <a:cxn ang="0">
                  <a:pos x="connsiteX2523" y="connsiteY2523"/>
                </a:cxn>
                <a:cxn ang="0">
                  <a:pos x="connsiteX2524" y="connsiteY2524"/>
                </a:cxn>
                <a:cxn ang="0">
                  <a:pos x="connsiteX2525" y="connsiteY2525"/>
                </a:cxn>
                <a:cxn ang="0">
                  <a:pos x="connsiteX2526" y="connsiteY2526"/>
                </a:cxn>
                <a:cxn ang="0">
                  <a:pos x="connsiteX2527" y="connsiteY2527"/>
                </a:cxn>
                <a:cxn ang="0">
                  <a:pos x="connsiteX2528" y="connsiteY2528"/>
                </a:cxn>
                <a:cxn ang="0">
                  <a:pos x="connsiteX2529" y="connsiteY2529"/>
                </a:cxn>
                <a:cxn ang="0">
                  <a:pos x="connsiteX2530" y="connsiteY2530"/>
                </a:cxn>
                <a:cxn ang="0">
                  <a:pos x="connsiteX2531" y="connsiteY2531"/>
                </a:cxn>
                <a:cxn ang="0">
                  <a:pos x="connsiteX2532" y="connsiteY2532"/>
                </a:cxn>
                <a:cxn ang="0">
                  <a:pos x="connsiteX2533" y="connsiteY2533"/>
                </a:cxn>
                <a:cxn ang="0">
                  <a:pos x="connsiteX2534" y="connsiteY2534"/>
                </a:cxn>
                <a:cxn ang="0">
                  <a:pos x="connsiteX2535" y="connsiteY2535"/>
                </a:cxn>
                <a:cxn ang="0">
                  <a:pos x="connsiteX2536" y="connsiteY2536"/>
                </a:cxn>
                <a:cxn ang="0">
                  <a:pos x="connsiteX2537" y="connsiteY2537"/>
                </a:cxn>
                <a:cxn ang="0">
                  <a:pos x="connsiteX2538" y="connsiteY2538"/>
                </a:cxn>
                <a:cxn ang="0">
                  <a:pos x="connsiteX2539" y="connsiteY2539"/>
                </a:cxn>
                <a:cxn ang="0">
                  <a:pos x="connsiteX2540" y="connsiteY2540"/>
                </a:cxn>
                <a:cxn ang="0">
                  <a:pos x="connsiteX2541" y="connsiteY2541"/>
                </a:cxn>
                <a:cxn ang="0">
                  <a:pos x="connsiteX2542" y="connsiteY2542"/>
                </a:cxn>
                <a:cxn ang="0">
                  <a:pos x="connsiteX2543" y="connsiteY2543"/>
                </a:cxn>
                <a:cxn ang="0">
                  <a:pos x="connsiteX2544" y="connsiteY2544"/>
                </a:cxn>
                <a:cxn ang="0">
                  <a:pos x="connsiteX2545" y="connsiteY2545"/>
                </a:cxn>
                <a:cxn ang="0">
                  <a:pos x="connsiteX2546" y="connsiteY2546"/>
                </a:cxn>
                <a:cxn ang="0">
                  <a:pos x="connsiteX2547" y="connsiteY2547"/>
                </a:cxn>
                <a:cxn ang="0">
                  <a:pos x="connsiteX2548" y="connsiteY2548"/>
                </a:cxn>
                <a:cxn ang="0">
                  <a:pos x="connsiteX2549" y="connsiteY2549"/>
                </a:cxn>
                <a:cxn ang="0">
                  <a:pos x="connsiteX2550" y="connsiteY2550"/>
                </a:cxn>
                <a:cxn ang="0">
                  <a:pos x="connsiteX2551" y="connsiteY2551"/>
                </a:cxn>
                <a:cxn ang="0">
                  <a:pos x="connsiteX2552" y="connsiteY2552"/>
                </a:cxn>
                <a:cxn ang="0">
                  <a:pos x="connsiteX2553" y="connsiteY2553"/>
                </a:cxn>
                <a:cxn ang="0">
                  <a:pos x="connsiteX2554" y="connsiteY2554"/>
                </a:cxn>
                <a:cxn ang="0">
                  <a:pos x="connsiteX2555" y="connsiteY2555"/>
                </a:cxn>
                <a:cxn ang="0">
                  <a:pos x="connsiteX2556" y="connsiteY2556"/>
                </a:cxn>
                <a:cxn ang="0">
                  <a:pos x="connsiteX2557" y="connsiteY2557"/>
                </a:cxn>
                <a:cxn ang="0">
                  <a:pos x="connsiteX2558" y="connsiteY2558"/>
                </a:cxn>
                <a:cxn ang="0">
                  <a:pos x="connsiteX2559" y="connsiteY2559"/>
                </a:cxn>
                <a:cxn ang="0">
                  <a:pos x="connsiteX2560" y="connsiteY2560"/>
                </a:cxn>
                <a:cxn ang="0">
                  <a:pos x="connsiteX2561" y="connsiteY2561"/>
                </a:cxn>
                <a:cxn ang="0">
                  <a:pos x="connsiteX2562" y="connsiteY2562"/>
                </a:cxn>
                <a:cxn ang="0">
                  <a:pos x="connsiteX2563" y="connsiteY2563"/>
                </a:cxn>
                <a:cxn ang="0">
                  <a:pos x="connsiteX2564" y="connsiteY2564"/>
                </a:cxn>
                <a:cxn ang="0">
                  <a:pos x="connsiteX2565" y="connsiteY2565"/>
                </a:cxn>
                <a:cxn ang="0">
                  <a:pos x="connsiteX2566" y="connsiteY2566"/>
                </a:cxn>
                <a:cxn ang="0">
                  <a:pos x="connsiteX2567" y="connsiteY2567"/>
                </a:cxn>
                <a:cxn ang="0">
                  <a:pos x="connsiteX2568" y="connsiteY2568"/>
                </a:cxn>
                <a:cxn ang="0">
                  <a:pos x="connsiteX2569" y="connsiteY2569"/>
                </a:cxn>
                <a:cxn ang="0">
                  <a:pos x="connsiteX2570" y="connsiteY2570"/>
                </a:cxn>
                <a:cxn ang="0">
                  <a:pos x="connsiteX2571" y="connsiteY2571"/>
                </a:cxn>
                <a:cxn ang="0">
                  <a:pos x="connsiteX2572" y="connsiteY2572"/>
                </a:cxn>
                <a:cxn ang="0">
                  <a:pos x="connsiteX2573" y="connsiteY2573"/>
                </a:cxn>
                <a:cxn ang="0">
                  <a:pos x="connsiteX2574" y="connsiteY2574"/>
                </a:cxn>
                <a:cxn ang="0">
                  <a:pos x="connsiteX2575" y="connsiteY2575"/>
                </a:cxn>
                <a:cxn ang="0">
                  <a:pos x="connsiteX2576" y="connsiteY2576"/>
                </a:cxn>
                <a:cxn ang="0">
                  <a:pos x="connsiteX2577" y="connsiteY2577"/>
                </a:cxn>
                <a:cxn ang="0">
                  <a:pos x="connsiteX2578" y="connsiteY2578"/>
                </a:cxn>
                <a:cxn ang="0">
                  <a:pos x="connsiteX2579" y="connsiteY2579"/>
                </a:cxn>
                <a:cxn ang="0">
                  <a:pos x="connsiteX2580" y="connsiteY2580"/>
                </a:cxn>
                <a:cxn ang="0">
                  <a:pos x="connsiteX2581" y="connsiteY2581"/>
                </a:cxn>
                <a:cxn ang="0">
                  <a:pos x="connsiteX2582" y="connsiteY2582"/>
                </a:cxn>
                <a:cxn ang="0">
                  <a:pos x="connsiteX2583" y="connsiteY2583"/>
                </a:cxn>
                <a:cxn ang="0">
                  <a:pos x="connsiteX2584" y="connsiteY2584"/>
                </a:cxn>
                <a:cxn ang="0">
                  <a:pos x="connsiteX2585" y="connsiteY2585"/>
                </a:cxn>
                <a:cxn ang="0">
                  <a:pos x="connsiteX2586" y="connsiteY2586"/>
                </a:cxn>
                <a:cxn ang="0">
                  <a:pos x="connsiteX2587" y="connsiteY2587"/>
                </a:cxn>
                <a:cxn ang="0">
                  <a:pos x="connsiteX2588" y="connsiteY2588"/>
                </a:cxn>
                <a:cxn ang="0">
                  <a:pos x="connsiteX2589" y="connsiteY2589"/>
                </a:cxn>
                <a:cxn ang="0">
                  <a:pos x="connsiteX2590" y="connsiteY2590"/>
                </a:cxn>
                <a:cxn ang="0">
                  <a:pos x="connsiteX2591" y="connsiteY2591"/>
                </a:cxn>
                <a:cxn ang="0">
                  <a:pos x="connsiteX2592" y="connsiteY2592"/>
                </a:cxn>
                <a:cxn ang="0">
                  <a:pos x="connsiteX2593" y="connsiteY2593"/>
                </a:cxn>
                <a:cxn ang="0">
                  <a:pos x="connsiteX2594" y="connsiteY2594"/>
                </a:cxn>
                <a:cxn ang="0">
                  <a:pos x="connsiteX2595" y="connsiteY2595"/>
                </a:cxn>
                <a:cxn ang="0">
                  <a:pos x="connsiteX2596" y="connsiteY2596"/>
                </a:cxn>
                <a:cxn ang="0">
                  <a:pos x="connsiteX2597" y="connsiteY2597"/>
                </a:cxn>
                <a:cxn ang="0">
                  <a:pos x="connsiteX2598" y="connsiteY2598"/>
                </a:cxn>
                <a:cxn ang="0">
                  <a:pos x="connsiteX2599" y="connsiteY2599"/>
                </a:cxn>
                <a:cxn ang="0">
                  <a:pos x="connsiteX2600" y="connsiteY2600"/>
                </a:cxn>
                <a:cxn ang="0">
                  <a:pos x="connsiteX2601" y="connsiteY2601"/>
                </a:cxn>
                <a:cxn ang="0">
                  <a:pos x="connsiteX2602" y="connsiteY2602"/>
                </a:cxn>
                <a:cxn ang="0">
                  <a:pos x="connsiteX2603" y="connsiteY2603"/>
                </a:cxn>
                <a:cxn ang="0">
                  <a:pos x="connsiteX2604" y="connsiteY2604"/>
                </a:cxn>
                <a:cxn ang="0">
                  <a:pos x="connsiteX2605" y="connsiteY2605"/>
                </a:cxn>
                <a:cxn ang="0">
                  <a:pos x="connsiteX2606" y="connsiteY2606"/>
                </a:cxn>
                <a:cxn ang="0">
                  <a:pos x="connsiteX2607" y="connsiteY2607"/>
                </a:cxn>
                <a:cxn ang="0">
                  <a:pos x="connsiteX2608" y="connsiteY2608"/>
                </a:cxn>
                <a:cxn ang="0">
                  <a:pos x="connsiteX2609" y="connsiteY2609"/>
                </a:cxn>
                <a:cxn ang="0">
                  <a:pos x="connsiteX2610" y="connsiteY2610"/>
                </a:cxn>
                <a:cxn ang="0">
                  <a:pos x="connsiteX2611" y="connsiteY2611"/>
                </a:cxn>
                <a:cxn ang="0">
                  <a:pos x="connsiteX2612" y="connsiteY2612"/>
                </a:cxn>
                <a:cxn ang="0">
                  <a:pos x="connsiteX2613" y="connsiteY2613"/>
                </a:cxn>
                <a:cxn ang="0">
                  <a:pos x="connsiteX2614" y="connsiteY2614"/>
                </a:cxn>
                <a:cxn ang="0">
                  <a:pos x="connsiteX2615" y="connsiteY2615"/>
                </a:cxn>
                <a:cxn ang="0">
                  <a:pos x="connsiteX2616" y="connsiteY2616"/>
                </a:cxn>
                <a:cxn ang="0">
                  <a:pos x="connsiteX2617" y="connsiteY2617"/>
                </a:cxn>
                <a:cxn ang="0">
                  <a:pos x="connsiteX2618" y="connsiteY2618"/>
                </a:cxn>
                <a:cxn ang="0">
                  <a:pos x="connsiteX2619" y="connsiteY2619"/>
                </a:cxn>
                <a:cxn ang="0">
                  <a:pos x="connsiteX2620" y="connsiteY2620"/>
                </a:cxn>
                <a:cxn ang="0">
                  <a:pos x="connsiteX2621" y="connsiteY2621"/>
                </a:cxn>
                <a:cxn ang="0">
                  <a:pos x="connsiteX2622" y="connsiteY2622"/>
                </a:cxn>
                <a:cxn ang="0">
                  <a:pos x="connsiteX2623" y="connsiteY2623"/>
                </a:cxn>
                <a:cxn ang="0">
                  <a:pos x="connsiteX2624" y="connsiteY2624"/>
                </a:cxn>
                <a:cxn ang="0">
                  <a:pos x="connsiteX2625" y="connsiteY2625"/>
                </a:cxn>
                <a:cxn ang="0">
                  <a:pos x="connsiteX2626" y="connsiteY2626"/>
                </a:cxn>
                <a:cxn ang="0">
                  <a:pos x="connsiteX2627" y="connsiteY2627"/>
                </a:cxn>
                <a:cxn ang="0">
                  <a:pos x="connsiteX2628" y="connsiteY2628"/>
                </a:cxn>
                <a:cxn ang="0">
                  <a:pos x="connsiteX2629" y="connsiteY2629"/>
                </a:cxn>
                <a:cxn ang="0">
                  <a:pos x="connsiteX2630" y="connsiteY2630"/>
                </a:cxn>
                <a:cxn ang="0">
                  <a:pos x="connsiteX2631" y="connsiteY2631"/>
                </a:cxn>
                <a:cxn ang="0">
                  <a:pos x="connsiteX2632" y="connsiteY2632"/>
                </a:cxn>
                <a:cxn ang="0">
                  <a:pos x="connsiteX2633" y="connsiteY2633"/>
                </a:cxn>
                <a:cxn ang="0">
                  <a:pos x="connsiteX2634" y="connsiteY2634"/>
                </a:cxn>
                <a:cxn ang="0">
                  <a:pos x="connsiteX2635" y="connsiteY2635"/>
                </a:cxn>
                <a:cxn ang="0">
                  <a:pos x="connsiteX2636" y="connsiteY2636"/>
                </a:cxn>
                <a:cxn ang="0">
                  <a:pos x="connsiteX2637" y="connsiteY2637"/>
                </a:cxn>
                <a:cxn ang="0">
                  <a:pos x="connsiteX2638" y="connsiteY2638"/>
                </a:cxn>
                <a:cxn ang="0">
                  <a:pos x="connsiteX2639" y="connsiteY2639"/>
                </a:cxn>
                <a:cxn ang="0">
                  <a:pos x="connsiteX2640" y="connsiteY2640"/>
                </a:cxn>
                <a:cxn ang="0">
                  <a:pos x="connsiteX2641" y="connsiteY2641"/>
                </a:cxn>
                <a:cxn ang="0">
                  <a:pos x="connsiteX2642" y="connsiteY2642"/>
                </a:cxn>
                <a:cxn ang="0">
                  <a:pos x="connsiteX2643" y="connsiteY2643"/>
                </a:cxn>
                <a:cxn ang="0">
                  <a:pos x="connsiteX2644" y="connsiteY2644"/>
                </a:cxn>
                <a:cxn ang="0">
                  <a:pos x="connsiteX2645" y="connsiteY2645"/>
                </a:cxn>
                <a:cxn ang="0">
                  <a:pos x="connsiteX2646" y="connsiteY2646"/>
                </a:cxn>
                <a:cxn ang="0">
                  <a:pos x="connsiteX2647" y="connsiteY2647"/>
                </a:cxn>
                <a:cxn ang="0">
                  <a:pos x="connsiteX2648" y="connsiteY2648"/>
                </a:cxn>
                <a:cxn ang="0">
                  <a:pos x="connsiteX2649" y="connsiteY2649"/>
                </a:cxn>
                <a:cxn ang="0">
                  <a:pos x="connsiteX2650" y="connsiteY2650"/>
                </a:cxn>
                <a:cxn ang="0">
                  <a:pos x="connsiteX2651" y="connsiteY2651"/>
                </a:cxn>
                <a:cxn ang="0">
                  <a:pos x="connsiteX2652" y="connsiteY2652"/>
                </a:cxn>
                <a:cxn ang="0">
                  <a:pos x="connsiteX2653" y="connsiteY2653"/>
                </a:cxn>
                <a:cxn ang="0">
                  <a:pos x="connsiteX2654" y="connsiteY2654"/>
                </a:cxn>
                <a:cxn ang="0">
                  <a:pos x="connsiteX2655" y="connsiteY2655"/>
                </a:cxn>
                <a:cxn ang="0">
                  <a:pos x="connsiteX2656" y="connsiteY2656"/>
                </a:cxn>
                <a:cxn ang="0">
                  <a:pos x="connsiteX2657" y="connsiteY2657"/>
                </a:cxn>
                <a:cxn ang="0">
                  <a:pos x="connsiteX2658" y="connsiteY2658"/>
                </a:cxn>
                <a:cxn ang="0">
                  <a:pos x="connsiteX2659" y="connsiteY2659"/>
                </a:cxn>
                <a:cxn ang="0">
                  <a:pos x="connsiteX2660" y="connsiteY2660"/>
                </a:cxn>
                <a:cxn ang="0">
                  <a:pos x="connsiteX2661" y="connsiteY2661"/>
                </a:cxn>
                <a:cxn ang="0">
                  <a:pos x="connsiteX2662" y="connsiteY2662"/>
                </a:cxn>
                <a:cxn ang="0">
                  <a:pos x="connsiteX2663" y="connsiteY2663"/>
                </a:cxn>
                <a:cxn ang="0">
                  <a:pos x="connsiteX2664" y="connsiteY2664"/>
                </a:cxn>
                <a:cxn ang="0">
                  <a:pos x="connsiteX2665" y="connsiteY2665"/>
                </a:cxn>
                <a:cxn ang="0">
                  <a:pos x="connsiteX2666" y="connsiteY2666"/>
                </a:cxn>
                <a:cxn ang="0">
                  <a:pos x="connsiteX2667" y="connsiteY2667"/>
                </a:cxn>
                <a:cxn ang="0">
                  <a:pos x="connsiteX2668" y="connsiteY2668"/>
                </a:cxn>
                <a:cxn ang="0">
                  <a:pos x="connsiteX2669" y="connsiteY2669"/>
                </a:cxn>
                <a:cxn ang="0">
                  <a:pos x="connsiteX2670" y="connsiteY2670"/>
                </a:cxn>
                <a:cxn ang="0">
                  <a:pos x="connsiteX2671" y="connsiteY2671"/>
                </a:cxn>
                <a:cxn ang="0">
                  <a:pos x="connsiteX2672" y="connsiteY2672"/>
                </a:cxn>
                <a:cxn ang="0">
                  <a:pos x="connsiteX2673" y="connsiteY2673"/>
                </a:cxn>
                <a:cxn ang="0">
                  <a:pos x="connsiteX2674" y="connsiteY2674"/>
                </a:cxn>
                <a:cxn ang="0">
                  <a:pos x="connsiteX2675" y="connsiteY2675"/>
                </a:cxn>
                <a:cxn ang="0">
                  <a:pos x="connsiteX2676" y="connsiteY2676"/>
                </a:cxn>
                <a:cxn ang="0">
                  <a:pos x="connsiteX2677" y="connsiteY2677"/>
                </a:cxn>
                <a:cxn ang="0">
                  <a:pos x="connsiteX2678" y="connsiteY2678"/>
                </a:cxn>
                <a:cxn ang="0">
                  <a:pos x="connsiteX2679" y="connsiteY2679"/>
                </a:cxn>
                <a:cxn ang="0">
                  <a:pos x="connsiteX2680" y="connsiteY2680"/>
                </a:cxn>
                <a:cxn ang="0">
                  <a:pos x="connsiteX2681" y="connsiteY2681"/>
                </a:cxn>
                <a:cxn ang="0">
                  <a:pos x="connsiteX2682" y="connsiteY2682"/>
                </a:cxn>
                <a:cxn ang="0">
                  <a:pos x="connsiteX2683" y="connsiteY2683"/>
                </a:cxn>
                <a:cxn ang="0">
                  <a:pos x="connsiteX2684" y="connsiteY2684"/>
                </a:cxn>
                <a:cxn ang="0">
                  <a:pos x="connsiteX2685" y="connsiteY2685"/>
                </a:cxn>
                <a:cxn ang="0">
                  <a:pos x="connsiteX2686" y="connsiteY2686"/>
                </a:cxn>
                <a:cxn ang="0">
                  <a:pos x="connsiteX2687" y="connsiteY2687"/>
                </a:cxn>
                <a:cxn ang="0">
                  <a:pos x="connsiteX2688" y="connsiteY2688"/>
                </a:cxn>
                <a:cxn ang="0">
                  <a:pos x="connsiteX2689" y="connsiteY2689"/>
                </a:cxn>
                <a:cxn ang="0">
                  <a:pos x="connsiteX2690" y="connsiteY2690"/>
                </a:cxn>
                <a:cxn ang="0">
                  <a:pos x="connsiteX2691" y="connsiteY2691"/>
                </a:cxn>
                <a:cxn ang="0">
                  <a:pos x="connsiteX2692" y="connsiteY2692"/>
                </a:cxn>
                <a:cxn ang="0">
                  <a:pos x="connsiteX2693" y="connsiteY2693"/>
                </a:cxn>
                <a:cxn ang="0">
                  <a:pos x="connsiteX2694" y="connsiteY2694"/>
                </a:cxn>
                <a:cxn ang="0">
                  <a:pos x="connsiteX2695" y="connsiteY2695"/>
                </a:cxn>
                <a:cxn ang="0">
                  <a:pos x="connsiteX2696" y="connsiteY2696"/>
                </a:cxn>
                <a:cxn ang="0">
                  <a:pos x="connsiteX2697" y="connsiteY2697"/>
                </a:cxn>
                <a:cxn ang="0">
                  <a:pos x="connsiteX2698" y="connsiteY2698"/>
                </a:cxn>
                <a:cxn ang="0">
                  <a:pos x="connsiteX2699" y="connsiteY2699"/>
                </a:cxn>
                <a:cxn ang="0">
                  <a:pos x="connsiteX2700" y="connsiteY2700"/>
                </a:cxn>
                <a:cxn ang="0">
                  <a:pos x="connsiteX2701" y="connsiteY2701"/>
                </a:cxn>
                <a:cxn ang="0">
                  <a:pos x="connsiteX2702" y="connsiteY2702"/>
                </a:cxn>
                <a:cxn ang="0">
                  <a:pos x="connsiteX2703" y="connsiteY2703"/>
                </a:cxn>
                <a:cxn ang="0">
                  <a:pos x="connsiteX2704" y="connsiteY2704"/>
                </a:cxn>
                <a:cxn ang="0">
                  <a:pos x="connsiteX2705" y="connsiteY2705"/>
                </a:cxn>
                <a:cxn ang="0">
                  <a:pos x="connsiteX2706" y="connsiteY2706"/>
                </a:cxn>
                <a:cxn ang="0">
                  <a:pos x="connsiteX2707" y="connsiteY2707"/>
                </a:cxn>
                <a:cxn ang="0">
                  <a:pos x="connsiteX2708" y="connsiteY2708"/>
                </a:cxn>
                <a:cxn ang="0">
                  <a:pos x="connsiteX2709" y="connsiteY2709"/>
                </a:cxn>
                <a:cxn ang="0">
                  <a:pos x="connsiteX2710" y="connsiteY2710"/>
                </a:cxn>
                <a:cxn ang="0">
                  <a:pos x="connsiteX2711" y="connsiteY2711"/>
                </a:cxn>
                <a:cxn ang="0">
                  <a:pos x="connsiteX2712" y="connsiteY2712"/>
                </a:cxn>
                <a:cxn ang="0">
                  <a:pos x="connsiteX2713" y="connsiteY2713"/>
                </a:cxn>
                <a:cxn ang="0">
                  <a:pos x="connsiteX2714" y="connsiteY2714"/>
                </a:cxn>
                <a:cxn ang="0">
                  <a:pos x="connsiteX2715" y="connsiteY2715"/>
                </a:cxn>
                <a:cxn ang="0">
                  <a:pos x="connsiteX2716" y="connsiteY2716"/>
                </a:cxn>
                <a:cxn ang="0">
                  <a:pos x="connsiteX2717" y="connsiteY2717"/>
                </a:cxn>
                <a:cxn ang="0">
                  <a:pos x="connsiteX2718" y="connsiteY2718"/>
                </a:cxn>
                <a:cxn ang="0">
                  <a:pos x="connsiteX2719" y="connsiteY2719"/>
                </a:cxn>
                <a:cxn ang="0">
                  <a:pos x="connsiteX2720" y="connsiteY2720"/>
                </a:cxn>
                <a:cxn ang="0">
                  <a:pos x="connsiteX2721" y="connsiteY2721"/>
                </a:cxn>
                <a:cxn ang="0">
                  <a:pos x="connsiteX2722" y="connsiteY2722"/>
                </a:cxn>
                <a:cxn ang="0">
                  <a:pos x="connsiteX2723" y="connsiteY2723"/>
                </a:cxn>
                <a:cxn ang="0">
                  <a:pos x="connsiteX2724" y="connsiteY2724"/>
                </a:cxn>
                <a:cxn ang="0">
                  <a:pos x="connsiteX2725" y="connsiteY2725"/>
                </a:cxn>
                <a:cxn ang="0">
                  <a:pos x="connsiteX2726" y="connsiteY2726"/>
                </a:cxn>
                <a:cxn ang="0">
                  <a:pos x="connsiteX2727" y="connsiteY2727"/>
                </a:cxn>
                <a:cxn ang="0">
                  <a:pos x="connsiteX2728" y="connsiteY2728"/>
                </a:cxn>
                <a:cxn ang="0">
                  <a:pos x="connsiteX2729" y="connsiteY2729"/>
                </a:cxn>
                <a:cxn ang="0">
                  <a:pos x="connsiteX2730" y="connsiteY2730"/>
                </a:cxn>
                <a:cxn ang="0">
                  <a:pos x="connsiteX2731" y="connsiteY2731"/>
                </a:cxn>
                <a:cxn ang="0">
                  <a:pos x="connsiteX2732" y="connsiteY2732"/>
                </a:cxn>
                <a:cxn ang="0">
                  <a:pos x="connsiteX2733" y="connsiteY2733"/>
                </a:cxn>
                <a:cxn ang="0">
                  <a:pos x="connsiteX2734" y="connsiteY2734"/>
                </a:cxn>
                <a:cxn ang="0">
                  <a:pos x="connsiteX2735" y="connsiteY2735"/>
                </a:cxn>
                <a:cxn ang="0">
                  <a:pos x="connsiteX2736" y="connsiteY2736"/>
                </a:cxn>
                <a:cxn ang="0">
                  <a:pos x="connsiteX2737" y="connsiteY2737"/>
                </a:cxn>
                <a:cxn ang="0">
                  <a:pos x="connsiteX2738" y="connsiteY2738"/>
                </a:cxn>
                <a:cxn ang="0">
                  <a:pos x="connsiteX2739" y="connsiteY2739"/>
                </a:cxn>
                <a:cxn ang="0">
                  <a:pos x="connsiteX2740" y="connsiteY2740"/>
                </a:cxn>
                <a:cxn ang="0">
                  <a:pos x="connsiteX2741" y="connsiteY2741"/>
                </a:cxn>
                <a:cxn ang="0">
                  <a:pos x="connsiteX2742" y="connsiteY2742"/>
                </a:cxn>
                <a:cxn ang="0">
                  <a:pos x="connsiteX2743" y="connsiteY2743"/>
                </a:cxn>
                <a:cxn ang="0">
                  <a:pos x="connsiteX2744" y="connsiteY2744"/>
                </a:cxn>
                <a:cxn ang="0">
                  <a:pos x="connsiteX2745" y="connsiteY2745"/>
                </a:cxn>
                <a:cxn ang="0">
                  <a:pos x="connsiteX2746" y="connsiteY2746"/>
                </a:cxn>
                <a:cxn ang="0">
                  <a:pos x="connsiteX2747" y="connsiteY2747"/>
                </a:cxn>
                <a:cxn ang="0">
                  <a:pos x="connsiteX2748" y="connsiteY2748"/>
                </a:cxn>
                <a:cxn ang="0">
                  <a:pos x="connsiteX2749" y="connsiteY2749"/>
                </a:cxn>
                <a:cxn ang="0">
                  <a:pos x="connsiteX2750" y="connsiteY2750"/>
                </a:cxn>
                <a:cxn ang="0">
                  <a:pos x="connsiteX2751" y="connsiteY2751"/>
                </a:cxn>
                <a:cxn ang="0">
                  <a:pos x="connsiteX2752" y="connsiteY2752"/>
                </a:cxn>
                <a:cxn ang="0">
                  <a:pos x="connsiteX2753" y="connsiteY2753"/>
                </a:cxn>
                <a:cxn ang="0">
                  <a:pos x="connsiteX2754" y="connsiteY2754"/>
                </a:cxn>
                <a:cxn ang="0">
                  <a:pos x="connsiteX2755" y="connsiteY2755"/>
                </a:cxn>
                <a:cxn ang="0">
                  <a:pos x="connsiteX2756" y="connsiteY2756"/>
                </a:cxn>
                <a:cxn ang="0">
                  <a:pos x="connsiteX2757" y="connsiteY2757"/>
                </a:cxn>
                <a:cxn ang="0">
                  <a:pos x="connsiteX2758" y="connsiteY2758"/>
                </a:cxn>
                <a:cxn ang="0">
                  <a:pos x="connsiteX2759" y="connsiteY2759"/>
                </a:cxn>
                <a:cxn ang="0">
                  <a:pos x="connsiteX2760" y="connsiteY2760"/>
                </a:cxn>
                <a:cxn ang="0">
                  <a:pos x="connsiteX2761" y="connsiteY2761"/>
                </a:cxn>
                <a:cxn ang="0">
                  <a:pos x="connsiteX2762" y="connsiteY2762"/>
                </a:cxn>
                <a:cxn ang="0">
                  <a:pos x="connsiteX2763" y="connsiteY2763"/>
                </a:cxn>
                <a:cxn ang="0">
                  <a:pos x="connsiteX2764" y="connsiteY2764"/>
                </a:cxn>
                <a:cxn ang="0">
                  <a:pos x="connsiteX2765" y="connsiteY2765"/>
                </a:cxn>
                <a:cxn ang="0">
                  <a:pos x="connsiteX2766" y="connsiteY2766"/>
                </a:cxn>
                <a:cxn ang="0">
                  <a:pos x="connsiteX2767" y="connsiteY2767"/>
                </a:cxn>
                <a:cxn ang="0">
                  <a:pos x="connsiteX2768" y="connsiteY2768"/>
                </a:cxn>
                <a:cxn ang="0">
                  <a:pos x="connsiteX2769" y="connsiteY2769"/>
                </a:cxn>
                <a:cxn ang="0">
                  <a:pos x="connsiteX2770" y="connsiteY2770"/>
                </a:cxn>
                <a:cxn ang="0">
                  <a:pos x="connsiteX2771" y="connsiteY2771"/>
                </a:cxn>
                <a:cxn ang="0">
                  <a:pos x="connsiteX2772" y="connsiteY2772"/>
                </a:cxn>
                <a:cxn ang="0">
                  <a:pos x="connsiteX2773" y="connsiteY2773"/>
                </a:cxn>
                <a:cxn ang="0">
                  <a:pos x="connsiteX2774" y="connsiteY2774"/>
                </a:cxn>
                <a:cxn ang="0">
                  <a:pos x="connsiteX2775" y="connsiteY2775"/>
                </a:cxn>
                <a:cxn ang="0">
                  <a:pos x="connsiteX2776" y="connsiteY2776"/>
                </a:cxn>
                <a:cxn ang="0">
                  <a:pos x="connsiteX2777" y="connsiteY2777"/>
                </a:cxn>
                <a:cxn ang="0">
                  <a:pos x="connsiteX2778" y="connsiteY2778"/>
                </a:cxn>
                <a:cxn ang="0">
                  <a:pos x="connsiteX2779" y="connsiteY2779"/>
                </a:cxn>
                <a:cxn ang="0">
                  <a:pos x="connsiteX2780" y="connsiteY2780"/>
                </a:cxn>
                <a:cxn ang="0">
                  <a:pos x="connsiteX2781" y="connsiteY2781"/>
                </a:cxn>
                <a:cxn ang="0">
                  <a:pos x="connsiteX2782" y="connsiteY2782"/>
                </a:cxn>
                <a:cxn ang="0">
                  <a:pos x="connsiteX2783" y="connsiteY2783"/>
                </a:cxn>
                <a:cxn ang="0">
                  <a:pos x="connsiteX2784" y="connsiteY2784"/>
                </a:cxn>
                <a:cxn ang="0">
                  <a:pos x="connsiteX2785" y="connsiteY2785"/>
                </a:cxn>
                <a:cxn ang="0">
                  <a:pos x="connsiteX2786" y="connsiteY2786"/>
                </a:cxn>
                <a:cxn ang="0">
                  <a:pos x="connsiteX2787" y="connsiteY2787"/>
                </a:cxn>
                <a:cxn ang="0">
                  <a:pos x="connsiteX2788" y="connsiteY2788"/>
                </a:cxn>
                <a:cxn ang="0">
                  <a:pos x="connsiteX2789" y="connsiteY2789"/>
                </a:cxn>
                <a:cxn ang="0">
                  <a:pos x="connsiteX2790" y="connsiteY2790"/>
                </a:cxn>
                <a:cxn ang="0">
                  <a:pos x="connsiteX2791" y="connsiteY2791"/>
                </a:cxn>
                <a:cxn ang="0">
                  <a:pos x="connsiteX2792" y="connsiteY2792"/>
                </a:cxn>
                <a:cxn ang="0">
                  <a:pos x="connsiteX2793" y="connsiteY2793"/>
                </a:cxn>
                <a:cxn ang="0">
                  <a:pos x="connsiteX2794" y="connsiteY2794"/>
                </a:cxn>
                <a:cxn ang="0">
                  <a:pos x="connsiteX2795" y="connsiteY2795"/>
                </a:cxn>
                <a:cxn ang="0">
                  <a:pos x="connsiteX2796" y="connsiteY2796"/>
                </a:cxn>
                <a:cxn ang="0">
                  <a:pos x="connsiteX2797" y="connsiteY2797"/>
                </a:cxn>
                <a:cxn ang="0">
                  <a:pos x="connsiteX2798" y="connsiteY2798"/>
                </a:cxn>
                <a:cxn ang="0">
                  <a:pos x="connsiteX2799" y="connsiteY2799"/>
                </a:cxn>
                <a:cxn ang="0">
                  <a:pos x="connsiteX2800" y="connsiteY2800"/>
                </a:cxn>
                <a:cxn ang="0">
                  <a:pos x="connsiteX2801" y="connsiteY2801"/>
                </a:cxn>
                <a:cxn ang="0">
                  <a:pos x="connsiteX2802" y="connsiteY2802"/>
                </a:cxn>
                <a:cxn ang="0">
                  <a:pos x="connsiteX2803" y="connsiteY2803"/>
                </a:cxn>
                <a:cxn ang="0">
                  <a:pos x="connsiteX2804" y="connsiteY2804"/>
                </a:cxn>
                <a:cxn ang="0">
                  <a:pos x="connsiteX2805" y="connsiteY2805"/>
                </a:cxn>
                <a:cxn ang="0">
                  <a:pos x="connsiteX2806" y="connsiteY2806"/>
                </a:cxn>
                <a:cxn ang="0">
                  <a:pos x="connsiteX2807" y="connsiteY2807"/>
                </a:cxn>
                <a:cxn ang="0">
                  <a:pos x="connsiteX2808" y="connsiteY2808"/>
                </a:cxn>
                <a:cxn ang="0">
                  <a:pos x="connsiteX2809" y="connsiteY2809"/>
                </a:cxn>
                <a:cxn ang="0">
                  <a:pos x="connsiteX2810" y="connsiteY2810"/>
                </a:cxn>
                <a:cxn ang="0">
                  <a:pos x="connsiteX2811" y="connsiteY2811"/>
                </a:cxn>
                <a:cxn ang="0">
                  <a:pos x="connsiteX2812" y="connsiteY2812"/>
                </a:cxn>
                <a:cxn ang="0">
                  <a:pos x="connsiteX2813" y="connsiteY2813"/>
                </a:cxn>
                <a:cxn ang="0">
                  <a:pos x="connsiteX2814" y="connsiteY2814"/>
                </a:cxn>
                <a:cxn ang="0">
                  <a:pos x="connsiteX2815" y="connsiteY2815"/>
                </a:cxn>
                <a:cxn ang="0">
                  <a:pos x="connsiteX2816" y="connsiteY2816"/>
                </a:cxn>
                <a:cxn ang="0">
                  <a:pos x="connsiteX2817" y="connsiteY2817"/>
                </a:cxn>
                <a:cxn ang="0">
                  <a:pos x="connsiteX2818" y="connsiteY2818"/>
                </a:cxn>
                <a:cxn ang="0">
                  <a:pos x="connsiteX2819" y="connsiteY2819"/>
                </a:cxn>
                <a:cxn ang="0">
                  <a:pos x="connsiteX2820" y="connsiteY2820"/>
                </a:cxn>
                <a:cxn ang="0">
                  <a:pos x="connsiteX2821" y="connsiteY2821"/>
                </a:cxn>
                <a:cxn ang="0">
                  <a:pos x="connsiteX2822" y="connsiteY2822"/>
                </a:cxn>
                <a:cxn ang="0">
                  <a:pos x="connsiteX2823" y="connsiteY2823"/>
                </a:cxn>
                <a:cxn ang="0">
                  <a:pos x="connsiteX2824" y="connsiteY2824"/>
                </a:cxn>
                <a:cxn ang="0">
                  <a:pos x="connsiteX2825" y="connsiteY2825"/>
                </a:cxn>
                <a:cxn ang="0">
                  <a:pos x="connsiteX2826" y="connsiteY2826"/>
                </a:cxn>
                <a:cxn ang="0">
                  <a:pos x="connsiteX2827" y="connsiteY2827"/>
                </a:cxn>
                <a:cxn ang="0">
                  <a:pos x="connsiteX2828" y="connsiteY2828"/>
                </a:cxn>
                <a:cxn ang="0">
                  <a:pos x="connsiteX2829" y="connsiteY2829"/>
                </a:cxn>
                <a:cxn ang="0">
                  <a:pos x="connsiteX2830" y="connsiteY2830"/>
                </a:cxn>
                <a:cxn ang="0">
                  <a:pos x="connsiteX2831" y="connsiteY2831"/>
                </a:cxn>
                <a:cxn ang="0">
                  <a:pos x="connsiteX2832" y="connsiteY2832"/>
                </a:cxn>
                <a:cxn ang="0">
                  <a:pos x="connsiteX2833" y="connsiteY2833"/>
                </a:cxn>
                <a:cxn ang="0">
                  <a:pos x="connsiteX2834" y="connsiteY2834"/>
                </a:cxn>
                <a:cxn ang="0">
                  <a:pos x="connsiteX2835" y="connsiteY2835"/>
                </a:cxn>
                <a:cxn ang="0">
                  <a:pos x="connsiteX2836" y="connsiteY2836"/>
                </a:cxn>
                <a:cxn ang="0">
                  <a:pos x="connsiteX2837" y="connsiteY2837"/>
                </a:cxn>
                <a:cxn ang="0">
                  <a:pos x="connsiteX2838" y="connsiteY2838"/>
                </a:cxn>
                <a:cxn ang="0">
                  <a:pos x="connsiteX2839" y="connsiteY2839"/>
                </a:cxn>
                <a:cxn ang="0">
                  <a:pos x="connsiteX2840" y="connsiteY2840"/>
                </a:cxn>
                <a:cxn ang="0">
                  <a:pos x="connsiteX2841" y="connsiteY2841"/>
                </a:cxn>
                <a:cxn ang="0">
                  <a:pos x="connsiteX2842" y="connsiteY2842"/>
                </a:cxn>
                <a:cxn ang="0">
                  <a:pos x="connsiteX2843" y="connsiteY2843"/>
                </a:cxn>
                <a:cxn ang="0">
                  <a:pos x="connsiteX2844" y="connsiteY2844"/>
                </a:cxn>
                <a:cxn ang="0">
                  <a:pos x="connsiteX2845" y="connsiteY2845"/>
                </a:cxn>
                <a:cxn ang="0">
                  <a:pos x="connsiteX2846" y="connsiteY2846"/>
                </a:cxn>
                <a:cxn ang="0">
                  <a:pos x="connsiteX2847" y="connsiteY2847"/>
                </a:cxn>
                <a:cxn ang="0">
                  <a:pos x="connsiteX2848" y="connsiteY2848"/>
                </a:cxn>
                <a:cxn ang="0">
                  <a:pos x="connsiteX2849" y="connsiteY2849"/>
                </a:cxn>
                <a:cxn ang="0">
                  <a:pos x="connsiteX2850" y="connsiteY2850"/>
                </a:cxn>
                <a:cxn ang="0">
                  <a:pos x="connsiteX2851" y="connsiteY2851"/>
                </a:cxn>
                <a:cxn ang="0">
                  <a:pos x="connsiteX2852" y="connsiteY2852"/>
                </a:cxn>
                <a:cxn ang="0">
                  <a:pos x="connsiteX2853" y="connsiteY2853"/>
                </a:cxn>
                <a:cxn ang="0">
                  <a:pos x="connsiteX2854" y="connsiteY2854"/>
                </a:cxn>
                <a:cxn ang="0">
                  <a:pos x="connsiteX2855" y="connsiteY2855"/>
                </a:cxn>
                <a:cxn ang="0">
                  <a:pos x="connsiteX2856" y="connsiteY2856"/>
                </a:cxn>
                <a:cxn ang="0">
                  <a:pos x="connsiteX2857" y="connsiteY2857"/>
                </a:cxn>
                <a:cxn ang="0">
                  <a:pos x="connsiteX2858" y="connsiteY2858"/>
                </a:cxn>
                <a:cxn ang="0">
                  <a:pos x="connsiteX2859" y="connsiteY2859"/>
                </a:cxn>
                <a:cxn ang="0">
                  <a:pos x="connsiteX2860" y="connsiteY2860"/>
                </a:cxn>
                <a:cxn ang="0">
                  <a:pos x="connsiteX2861" y="connsiteY2861"/>
                </a:cxn>
                <a:cxn ang="0">
                  <a:pos x="connsiteX2862" y="connsiteY2862"/>
                </a:cxn>
                <a:cxn ang="0">
                  <a:pos x="connsiteX2863" y="connsiteY2863"/>
                </a:cxn>
                <a:cxn ang="0">
                  <a:pos x="connsiteX2864" y="connsiteY2864"/>
                </a:cxn>
                <a:cxn ang="0">
                  <a:pos x="connsiteX2865" y="connsiteY2865"/>
                </a:cxn>
                <a:cxn ang="0">
                  <a:pos x="connsiteX2866" y="connsiteY2866"/>
                </a:cxn>
                <a:cxn ang="0">
                  <a:pos x="connsiteX2867" y="connsiteY2867"/>
                </a:cxn>
                <a:cxn ang="0">
                  <a:pos x="connsiteX2868" y="connsiteY2868"/>
                </a:cxn>
                <a:cxn ang="0">
                  <a:pos x="connsiteX2869" y="connsiteY2869"/>
                </a:cxn>
                <a:cxn ang="0">
                  <a:pos x="connsiteX2870" y="connsiteY2870"/>
                </a:cxn>
                <a:cxn ang="0">
                  <a:pos x="connsiteX2871" y="connsiteY2871"/>
                </a:cxn>
                <a:cxn ang="0">
                  <a:pos x="connsiteX2872" y="connsiteY2872"/>
                </a:cxn>
                <a:cxn ang="0">
                  <a:pos x="connsiteX2873" y="connsiteY2873"/>
                </a:cxn>
                <a:cxn ang="0">
                  <a:pos x="connsiteX2874" y="connsiteY2874"/>
                </a:cxn>
                <a:cxn ang="0">
                  <a:pos x="connsiteX2875" y="connsiteY2875"/>
                </a:cxn>
                <a:cxn ang="0">
                  <a:pos x="connsiteX2876" y="connsiteY2876"/>
                </a:cxn>
                <a:cxn ang="0">
                  <a:pos x="connsiteX2877" y="connsiteY2877"/>
                </a:cxn>
                <a:cxn ang="0">
                  <a:pos x="connsiteX2878" y="connsiteY2878"/>
                </a:cxn>
                <a:cxn ang="0">
                  <a:pos x="connsiteX2879" y="connsiteY2879"/>
                </a:cxn>
                <a:cxn ang="0">
                  <a:pos x="connsiteX2880" y="connsiteY2880"/>
                </a:cxn>
                <a:cxn ang="0">
                  <a:pos x="connsiteX2881" y="connsiteY2881"/>
                </a:cxn>
                <a:cxn ang="0">
                  <a:pos x="connsiteX2882" y="connsiteY2882"/>
                </a:cxn>
                <a:cxn ang="0">
                  <a:pos x="connsiteX2883" y="connsiteY2883"/>
                </a:cxn>
                <a:cxn ang="0">
                  <a:pos x="connsiteX2884" y="connsiteY2884"/>
                </a:cxn>
                <a:cxn ang="0">
                  <a:pos x="connsiteX2885" y="connsiteY2885"/>
                </a:cxn>
                <a:cxn ang="0">
                  <a:pos x="connsiteX2886" y="connsiteY2886"/>
                </a:cxn>
                <a:cxn ang="0">
                  <a:pos x="connsiteX2887" y="connsiteY2887"/>
                </a:cxn>
                <a:cxn ang="0">
                  <a:pos x="connsiteX2888" y="connsiteY2888"/>
                </a:cxn>
                <a:cxn ang="0">
                  <a:pos x="connsiteX2889" y="connsiteY2889"/>
                </a:cxn>
                <a:cxn ang="0">
                  <a:pos x="connsiteX2890" y="connsiteY2890"/>
                </a:cxn>
                <a:cxn ang="0">
                  <a:pos x="connsiteX2891" y="connsiteY2891"/>
                </a:cxn>
                <a:cxn ang="0">
                  <a:pos x="connsiteX2892" y="connsiteY2892"/>
                </a:cxn>
                <a:cxn ang="0">
                  <a:pos x="connsiteX2893" y="connsiteY2893"/>
                </a:cxn>
                <a:cxn ang="0">
                  <a:pos x="connsiteX2894" y="connsiteY2894"/>
                </a:cxn>
                <a:cxn ang="0">
                  <a:pos x="connsiteX2895" y="connsiteY2895"/>
                </a:cxn>
                <a:cxn ang="0">
                  <a:pos x="connsiteX2896" y="connsiteY2896"/>
                </a:cxn>
                <a:cxn ang="0">
                  <a:pos x="connsiteX2897" y="connsiteY2897"/>
                </a:cxn>
                <a:cxn ang="0">
                  <a:pos x="connsiteX2898" y="connsiteY2898"/>
                </a:cxn>
                <a:cxn ang="0">
                  <a:pos x="connsiteX2899" y="connsiteY2899"/>
                </a:cxn>
                <a:cxn ang="0">
                  <a:pos x="connsiteX2900" y="connsiteY2900"/>
                </a:cxn>
                <a:cxn ang="0">
                  <a:pos x="connsiteX2901" y="connsiteY2901"/>
                </a:cxn>
                <a:cxn ang="0">
                  <a:pos x="connsiteX2902" y="connsiteY2902"/>
                </a:cxn>
                <a:cxn ang="0">
                  <a:pos x="connsiteX2903" y="connsiteY2903"/>
                </a:cxn>
                <a:cxn ang="0">
                  <a:pos x="connsiteX2904" y="connsiteY2904"/>
                </a:cxn>
                <a:cxn ang="0">
                  <a:pos x="connsiteX2905" y="connsiteY2905"/>
                </a:cxn>
                <a:cxn ang="0">
                  <a:pos x="connsiteX2906" y="connsiteY2906"/>
                </a:cxn>
                <a:cxn ang="0">
                  <a:pos x="connsiteX2907" y="connsiteY2907"/>
                </a:cxn>
                <a:cxn ang="0">
                  <a:pos x="connsiteX2908" y="connsiteY2908"/>
                </a:cxn>
                <a:cxn ang="0">
                  <a:pos x="connsiteX2909" y="connsiteY2909"/>
                </a:cxn>
                <a:cxn ang="0">
                  <a:pos x="connsiteX2910" y="connsiteY2910"/>
                </a:cxn>
                <a:cxn ang="0">
                  <a:pos x="connsiteX2911" y="connsiteY2911"/>
                </a:cxn>
                <a:cxn ang="0">
                  <a:pos x="connsiteX2912" y="connsiteY2912"/>
                </a:cxn>
                <a:cxn ang="0">
                  <a:pos x="connsiteX2913" y="connsiteY2913"/>
                </a:cxn>
                <a:cxn ang="0">
                  <a:pos x="connsiteX2914" y="connsiteY2914"/>
                </a:cxn>
                <a:cxn ang="0">
                  <a:pos x="connsiteX2915" y="connsiteY2915"/>
                </a:cxn>
                <a:cxn ang="0">
                  <a:pos x="connsiteX2916" y="connsiteY2916"/>
                </a:cxn>
                <a:cxn ang="0">
                  <a:pos x="connsiteX2917" y="connsiteY2917"/>
                </a:cxn>
                <a:cxn ang="0">
                  <a:pos x="connsiteX2918" y="connsiteY2918"/>
                </a:cxn>
                <a:cxn ang="0">
                  <a:pos x="connsiteX2919" y="connsiteY2919"/>
                </a:cxn>
                <a:cxn ang="0">
                  <a:pos x="connsiteX2920" y="connsiteY2920"/>
                </a:cxn>
                <a:cxn ang="0">
                  <a:pos x="connsiteX2921" y="connsiteY2921"/>
                </a:cxn>
                <a:cxn ang="0">
                  <a:pos x="connsiteX2922" y="connsiteY2922"/>
                </a:cxn>
                <a:cxn ang="0">
                  <a:pos x="connsiteX2923" y="connsiteY2923"/>
                </a:cxn>
                <a:cxn ang="0">
                  <a:pos x="connsiteX2924" y="connsiteY2924"/>
                </a:cxn>
                <a:cxn ang="0">
                  <a:pos x="connsiteX2925" y="connsiteY2925"/>
                </a:cxn>
                <a:cxn ang="0">
                  <a:pos x="connsiteX2926" y="connsiteY2926"/>
                </a:cxn>
                <a:cxn ang="0">
                  <a:pos x="connsiteX2927" y="connsiteY2927"/>
                </a:cxn>
                <a:cxn ang="0">
                  <a:pos x="connsiteX2928" y="connsiteY2928"/>
                </a:cxn>
                <a:cxn ang="0">
                  <a:pos x="connsiteX2929" y="connsiteY2929"/>
                </a:cxn>
                <a:cxn ang="0">
                  <a:pos x="connsiteX2930" y="connsiteY2930"/>
                </a:cxn>
                <a:cxn ang="0">
                  <a:pos x="connsiteX2931" y="connsiteY2931"/>
                </a:cxn>
                <a:cxn ang="0">
                  <a:pos x="connsiteX2932" y="connsiteY2932"/>
                </a:cxn>
                <a:cxn ang="0">
                  <a:pos x="connsiteX2933" y="connsiteY2933"/>
                </a:cxn>
                <a:cxn ang="0">
                  <a:pos x="connsiteX2934" y="connsiteY2934"/>
                </a:cxn>
                <a:cxn ang="0">
                  <a:pos x="connsiteX2935" y="connsiteY2935"/>
                </a:cxn>
                <a:cxn ang="0">
                  <a:pos x="connsiteX2936" y="connsiteY2936"/>
                </a:cxn>
                <a:cxn ang="0">
                  <a:pos x="connsiteX2937" y="connsiteY2937"/>
                </a:cxn>
                <a:cxn ang="0">
                  <a:pos x="connsiteX2938" y="connsiteY2938"/>
                </a:cxn>
                <a:cxn ang="0">
                  <a:pos x="connsiteX2939" y="connsiteY2939"/>
                </a:cxn>
                <a:cxn ang="0">
                  <a:pos x="connsiteX2940" y="connsiteY2940"/>
                </a:cxn>
                <a:cxn ang="0">
                  <a:pos x="connsiteX2941" y="connsiteY2941"/>
                </a:cxn>
                <a:cxn ang="0">
                  <a:pos x="connsiteX2942" y="connsiteY2942"/>
                </a:cxn>
                <a:cxn ang="0">
                  <a:pos x="connsiteX2943" y="connsiteY2943"/>
                </a:cxn>
                <a:cxn ang="0">
                  <a:pos x="connsiteX2944" y="connsiteY2944"/>
                </a:cxn>
                <a:cxn ang="0">
                  <a:pos x="connsiteX2945" y="connsiteY2945"/>
                </a:cxn>
                <a:cxn ang="0">
                  <a:pos x="connsiteX2946" y="connsiteY2946"/>
                </a:cxn>
                <a:cxn ang="0">
                  <a:pos x="connsiteX2947" y="connsiteY2947"/>
                </a:cxn>
                <a:cxn ang="0">
                  <a:pos x="connsiteX2948" y="connsiteY2948"/>
                </a:cxn>
                <a:cxn ang="0">
                  <a:pos x="connsiteX2949" y="connsiteY2949"/>
                </a:cxn>
                <a:cxn ang="0">
                  <a:pos x="connsiteX2950" y="connsiteY2950"/>
                </a:cxn>
                <a:cxn ang="0">
                  <a:pos x="connsiteX2951" y="connsiteY2951"/>
                </a:cxn>
                <a:cxn ang="0">
                  <a:pos x="connsiteX2952" y="connsiteY2952"/>
                </a:cxn>
                <a:cxn ang="0">
                  <a:pos x="connsiteX2953" y="connsiteY2953"/>
                </a:cxn>
                <a:cxn ang="0">
                  <a:pos x="connsiteX2954" y="connsiteY2954"/>
                </a:cxn>
                <a:cxn ang="0">
                  <a:pos x="connsiteX2955" y="connsiteY2955"/>
                </a:cxn>
                <a:cxn ang="0">
                  <a:pos x="connsiteX2956" y="connsiteY2956"/>
                </a:cxn>
                <a:cxn ang="0">
                  <a:pos x="connsiteX2957" y="connsiteY2957"/>
                </a:cxn>
                <a:cxn ang="0">
                  <a:pos x="connsiteX2958" y="connsiteY2958"/>
                </a:cxn>
                <a:cxn ang="0">
                  <a:pos x="connsiteX2959" y="connsiteY2959"/>
                </a:cxn>
                <a:cxn ang="0">
                  <a:pos x="connsiteX2960" y="connsiteY2960"/>
                </a:cxn>
                <a:cxn ang="0">
                  <a:pos x="connsiteX2961" y="connsiteY2961"/>
                </a:cxn>
                <a:cxn ang="0">
                  <a:pos x="connsiteX2962" y="connsiteY2962"/>
                </a:cxn>
                <a:cxn ang="0">
                  <a:pos x="connsiteX2963" y="connsiteY2963"/>
                </a:cxn>
                <a:cxn ang="0">
                  <a:pos x="connsiteX2964" y="connsiteY2964"/>
                </a:cxn>
                <a:cxn ang="0">
                  <a:pos x="connsiteX2965" y="connsiteY2965"/>
                </a:cxn>
                <a:cxn ang="0">
                  <a:pos x="connsiteX2966" y="connsiteY2966"/>
                </a:cxn>
                <a:cxn ang="0">
                  <a:pos x="connsiteX2967" y="connsiteY2967"/>
                </a:cxn>
                <a:cxn ang="0">
                  <a:pos x="connsiteX2968" y="connsiteY2968"/>
                </a:cxn>
                <a:cxn ang="0">
                  <a:pos x="connsiteX2969" y="connsiteY2969"/>
                </a:cxn>
                <a:cxn ang="0">
                  <a:pos x="connsiteX2970" y="connsiteY2970"/>
                </a:cxn>
                <a:cxn ang="0">
                  <a:pos x="connsiteX2971" y="connsiteY2971"/>
                </a:cxn>
                <a:cxn ang="0">
                  <a:pos x="connsiteX2972" y="connsiteY2972"/>
                </a:cxn>
                <a:cxn ang="0">
                  <a:pos x="connsiteX2973" y="connsiteY2973"/>
                </a:cxn>
                <a:cxn ang="0">
                  <a:pos x="connsiteX2974" y="connsiteY2974"/>
                </a:cxn>
                <a:cxn ang="0">
                  <a:pos x="connsiteX2975" y="connsiteY2975"/>
                </a:cxn>
                <a:cxn ang="0">
                  <a:pos x="connsiteX2976" y="connsiteY2976"/>
                </a:cxn>
                <a:cxn ang="0">
                  <a:pos x="connsiteX2977" y="connsiteY2977"/>
                </a:cxn>
                <a:cxn ang="0">
                  <a:pos x="connsiteX2978" y="connsiteY2978"/>
                </a:cxn>
                <a:cxn ang="0">
                  <a:pos x="connsiteX2979" y="connsiteY2979"/>
                </a:cxn>
                <a:cxn ang="0">
                  <a:pos x="connsiteX2980" y="connsiteY2980"/>
                </a:cxn>
                <a:cxn ang="0">
                  <a:pos x="connsiteX2981" y="connsiteY2981"/>
                </a:cxn>
                <a:cxn ang="0">
                  <a:pos x="connsiteX2982" y="connsiteY2982"/>
                </a:cxn>
                <a:cxn ang="0">
                  <a:pos x="connsiteX2983" y="connsiteY2983"/>
                </a:cxn>
                <a:cxn ang="0">
                  <a:pos x="connsiteX2984" y="connsiteY2984"/>
                </a:cxn>
                <a:cxn ang="0">
                  <a:pos x="connsiteX2985" y="connsiteY2985"/>
                </a:cxn>
                <a:cxn ang="0">
                  <a:pos x="connsiteX2986" y="connsiteY2986"/>
                </a:cxn>
                <a:cxn ang="0">
                  <a:pos x="connsiteX2987" y="connsiteY2987"/>
                </a:cxn>
                <a:cxn ang="0">
                  <a:pos x="connsiteX2988" y="connsiteY2988"/>
                </a:cxn>
                <a:cxn ang="0">
                  <a:pos x="connsiteX2989" y="connsiteY2989"/>
                </a:cxn>
                <a:cxn ang="0">
                  <a:pos x="connsiteX2990" y="connsiteY2990"/>
                </a:cxn>
                <a:cxn ang="0">
                  <a:pos x="connsiteX2991" y="connsiteY2991"/>
                </a:cxn>
                <a:cxn ang="0">
                  <a:pos x="connsiteX2992" y="connsiteY2992"/>
                </a:cxn>
                <a:cxn ang="0">
                  <a:pos x="connsiteX2993" y="connsiteY2993"/>
                </a:cxn>
                <a:cxn ang="0">
                  <a:pos x="connsiteX2994" y="connsiteY2994"/>
                </a:cxn>
                <a:cxn ang="0">
                  <a:pos x="connsiteX2995" y="connsiteY2995"/>
                </a:cxn>
                <a:cxn ang="0">
                  <a:pos x="connsiteX2996" y="connsiteY2996"/>
                </a:cxn>
                <a:cxn ang="0">
                  <a:pos x="connsiteX2997" y="connsiteY2997"/>
                </a:cxn>
                <a:cxn ang="0">
                  <a:pos x="connsiteX2998" y="connsiteY2998"/>
                </a:cxn>
                <a:cxn ang="0">
                  <a:pos x="connsiteX2999" y="connsiteY2999"/>
                </a:cxn>
                <a:cxn ang="0">
                  <a:pos x="connsiteX3000" y="connsiteY3000"/>
                </a:cxn>
                <a:cxn ang="0">
                  <a:pos x="connsiteX3001" y="connsiteY3001"/>
                </a:cxn>
                <a:cxn ang="0">
                  <a:pos x="connsiteX3002" y="connsiteY3002"/>
                </a:cxn>
                <a:cxn ang="0">
                  <a:pos x="connsiteX3003" y="connsiteY3003"/>
                </a:cxn>
                <a:cxn ang="0">
                  <a:pos x="connsiteX3004" y="connsiteY3004"/>
                </a:cxn>
                <a:cxn ang="0">
                  <a:pos x="connsiteX3005" y="connsiteY3005"/>
                </a:cxn>
                <a:cxn ang="0">
                  <a:pos x="connsiteX3006" y="connsiteY3006"/>
                </a:cxn>
                <a:cxn ang="0">
                  <a:pos x="connsiteX3007" y="connsiteY3007"/>
                </a:cxn>
                <a:cxn ang="0">
                  <a:pos x="connsiteX3008" y="connsiteY3008"/>
                </a:cxn>
                <a:cxn ang="0">
                  <a:pos x="connsiteX3009" y="connsiteY3009"/>
                </a:cxn>
                <a:cxn ang="0">
                  <a:pos x="connsiteX3010" y="connsiteY3010"/>
                </a:cxn>
                <a:cxn ang="0">
                  <a:pos x="connsiteX3011" y="connsiteY3011"/>
                </a:cxn>
                <a:cxn ang="0">
                  <a:pos x="connsiteX3012" y="connsiteY3012"/>
                </a:cxn>
                <a:cxn ang="0">
                  <a:pos x="connsiteX3013" y="connsiteY3013"/>
                </a:cxn>
                <a:cxn ang="0">
                  <a:pos x="connsiteX3014" y="connsiteY3014"/>
                </a:cxn>
                <a:cxn ang="0">
                  <a:pos x="connsiteX3015" y="connsiteY3015"/>
                </a:cxn>
                <a:cxn ang="0">
                  <a:pos x="connsiteX3016" y="connsiteY3016"/>
                </a:cxn>
                <a:cxn ang="0">
                  <a:pos x="connsiteX3017" y="connsiteY3017"/>
                </a:cxn>
                <a:cxn ang="0">
                  <a:pos x="connsiteX3018" y="connsiteY3018"/>
                </a:cxn>
                <a:cxn ang="0">
                  <a:pos x="connsiteX3019" y="connsiteY3019"/>
                </a:cxn>
                <a:cxn ang="0">
                  <a:pos x="connsiteX3020" y="connsiteY3020"/>
                </a:cxn>
                <a:cxn ang="0">
                  <a:pos x="connsiteX3021" y="connsiteY3021"/>
                </a:cxn>
                <a:cxn ang="0">
                  <a:pos x="connsiteX3022" y="connsiteY3022"/>
                </a:cxn>
                <a:cxn ang="0">
                  <a:pos x="connsiteX3023" y="connsiteY3023"/>
                </a:cxn>
                <a:cxn ang="0">
                  <a:pos x="connsiteX3024" y="connsiteY3024"/>
                </a:cxn>
                <a:cxn ang="0">
                  <a:pos x="connsiteX3025" y="connsiteY3025"/>
                </a:cxn>
                <a:cxn ang="0">
                  <a:pos x="connsiteX3026" y="connsiteY3026"/>
                </a:cxn>
                <a:cxn ang="0">
                  <a:pos x="connsiteX3027" y="connsiteY3027"/>
                </a:cxn>
                <a:cxn ang="0">
                  <a:pos x="connsiteX3028" y="connsiteY3028"/>
                </a:cxn>
                <a:cxn ang="0">
                  <a:pos x="connsiteX3029" y="connsiteY3029"/>
                </a:cxn>
                <a:cxn ang="0">
                  <a:pos x="connsiteX3030" y="connsiteY3030"/>
                </a:cxn>
                <a:cxn ang="0">
                  <a:pos x="connsiteX3031" y="connsiteY3031"/>
                </a:cxn>
                <a:cxn ang="0">
                  <a:pos x="connsiteX3032" y="connsiteY3032"/>
                </a:cxn>
                <a:cxn ang="0">
                  <a:pos x="connsiteX3033" y="connsiteY3033"/>
                </a:cxn>
                <a:cxn ang="0">
                  <a:pos x="connsiteX3034" y="connsiteY3034"/>
                </a:cxn>
                <a:cxn ang="0">
                  <a:pos x="connsiteX3035" y="connsiteY3035"/>
                </a:cxn>
                <a:cxn ang="0">
                  <a:pos x="connsiteX3036" y="connsiteY3036"/>
                </a:cxn>
                <a:cxn ang="0">
                  <a:pos x="connsiteX3037" y="connsiteY3037"/>
                </a:cxn>
                <a:cxn ang="0">
                  <a:pos x="connsiteX3038" y="connsiteY3038"/>
                </a:cxn>
                <a:cxn ang="0">
                  <a:pos x="connsiteX3039" y="connsiteY3039"/>
                </a:cxn>
                <a:cxn ang="0">
                  <a:pos x="connsiteX3040" y="connsiteY3040"/>
                </a:cxn>
                <a:cxn ang="0">
                  <a:pos x="connsiteX3041" y="connsiteY3041"/>
                </a:cxn>
                <a:cxn ang="0">
                  <a:pos x="connsiteX3042" y="connsiteY3042"/>
                </a:cxn>
                <a:cxn ang="0">
                  <a:pos x="connsiteX3043" y="connsiteY3043"/>
                </a:cxn>
                <a:cxn ang="0">
                  <a:pos x="connsiteX3044" y="connsiteY3044"/>
                </a:cxn>
                <a:cxn ang="0">
                  <a:pos x="connsiteX3045" y="connsiteY3045"/>
                </a:cxn>
                <a:cxn ang="0">
                  <a:pos x="connsiteX3046" y="connsiteY3046"/>
                </a:cxn>
                <a:cxn ang="0">
                  <a:pos x="connsiteX3047" y="connsiteY3047"/>
                </a:cxn>
                <a:cxn ang="0">
                  <a:pos x="connsiteX3048" y="connsiteY3048"/>
                </a:cxn>
                <a:cxn ang="0">
                  <a:pos x="connsiteX3049" y="connsiteY3049"/>
                </a:cxn>
                <a:cxn ang="0">
                  <a:pos x="connsiteX3050" y="connsiteY3050"/>
                </a:cxn>
                <a:cxn ang="0">
                  <a:pos x="connsiteX3051" y="connsiteY3051"/>
                </a:cxn>
                <a:cxn ang="0">
                  <a:pos x="connsiteX3052" y="connsiteY3052"/>
                </a:cxn>
                <a:cxn ang="0">
                  <a:pos x="connsiteX3053" y="connsiteY3053"/>
                </a:cxn>
                <a:cxn ang="0">
                  <a:pos x="connsiteX3054" y="connsiteY3054"/>
                </a:cxn>
                <a:cxn ang="0">
                  <a:pos x="connsiteX3055" y="connsiteY3055"/>
                </a:cxn>
                <a:cxn ang="0">
                  <a:pos x="connsiteX3056" y="connsiteY3056"/>
                </a:cxn>
                <a:cxn ang="0">
                  <a:pos x="connsiteX3057" y="connsiteY3057"/>
                </a:cxn>
                <a:cxn ang="0">
                  <a:pos x="connsiteX3058" y="connsiteY3058"/>
                </a:cxn>
                <a:cxn ang="0">
                  <a:pos x="connsiteX3059" y="connsiteY3059"/>
                </a:cxn>
                <a:cxn ang="0">
                  <a:pos x="connsiteX3060" y="connsiteY3060"/>
                </a:cxn>
                <a:cxn ang="0">
                  <a:pos x="connsiteX3061" y="connsiteY3061"/>
                </a:cxn>
                <a:cxn ang="0">
                  <a:pos x="connsiteX3062" y="connsiteY3062"/>
                </a:cxn>
                <a:cxn ang="0">
                  <a:pos x="connsiteX3063" y="connsiteY3063"/>
                </a:cxn>
                <a:cxn ang="0">
                  <a:pos x="connsiteX3064" y="connsiteY3064"/>
                </a:cxn>
                <a:cxn ang="0">
                  <a:pos x="connsiteX3065" y="connsiteY3065"/>
                </a:cxn>
                <a:cxn ang="0">
                  <a:pos x="connsiteX3066" y="connsiteY3066"/>
                </a:cxn>
                <a:cxn ang="0">
                  <a:pos x="connsiteX3067" y="connsiteY3067"/>
                </a:cxn>
                <a:cxn ang="0">
                  <a:pos x="connsiteX3068" y="connsiteY3068"/>
                </a:cxn>
                <a:cxn ang="0">
                  <a:pos x="connsiteX3069" y="connsiteY3069"/>
                </a:cxn>
                <a:cxn ang="0">
                  <a:pos x="connsiteX3070" y="connsiteY3070"/>
                </a:cxn>
                <a:cxn ang="0">
                  <a:pos x="connsiteX3071" y="connsiteY3071"/>
                </a:cxn>
                <a:cxn ang="0">
                  <a:pos x="connsiteX3072" y="connsiteY3072"/>
                </a:cxn>
                <a:cxn ang="0">
                  <a:pos x="connsiteX3073" y="connsiteY3073"/>
                </a:cxn>
                <a:cxn ang="0">
                  <a:pos x="connsiteX3074" y="connsiteY3074"/>
                </a:cxn>
                <a:cxn ang="0">
                  <a:pos x="connsiteX3075" y="connsiteY3075"/>
                </a:cxn>
                <a:cxn ang="0">
                  <a:pos x="connsiteX3076" y="connsiteY3076"/>
                </a:cxn>
                <a:cxn ang="0">
                  <a:pos x="connsiteX3077" y="connsiteY3077"/>
                </a:cxn>
                <a:cxn ang="0">
                  <a:pos x="connsiteX3078" y="connsiteY3078"/>
                </a:cxn>
                <a:cxn ang="0">
                  <a:pos x="connsiteX3079" y="connsiteY3079"/>
                </a:cxn>
                <a:cxn ang="0">
                  <a:pos x="connsiteX3080" y="connsiteY3080"/>
                </a:cxn>
                <a:cxn ang="0">
                  <a:pos x="connsiteX3081" y="connsiteY3081"/>
                </a:cxn>
                <a:cxn ang="0">
                  <a:pos x="connsiteX3082" y="connsiteY3082"/>
                </a:cxn>
                <a:cxn ang="0">
                  <a:pos x="connsiteX3083" y="connsiteY3083"/>
                </a:cxn>
                <a:cxn ang="0">
                  <a:pos x="connsiteX3084" y="connsiteY3084"/>
                </a:cxn>
                <a:cxn ang="0">
                  <a:pos x="connsiteX3085" y="connsiteY3085"/>
                </a:cxn>
                <a:cxn ang="0">
                  <a:pos x="connsiteX3086" y="connsiteY3086"/>
                </a:cxn>
                <a:cxn ang="0">
                  <a:pos x="connsiteX3087" y="connsiteY3087"/>
                </a:cxn>
                <a:cxn ang="0">
                  <a:pos x="connsiteX3088" y="connsiteY3088"/>
                </a:cxn>
                <a:cxn ang="0">
                  <a:pos x="connsiteX3089" y="connsiteY3089"/>
                </a:cxn>
                <a:cxn ang="0">
                  <a:pos x="connsiteX3090" y="connsiteY3090"/>
                </a:cxn>
                <a:cxn ang="0">
                  <a:pos x="connsiteX3091" y="connsiteY3091"/>
                </a:cxn>
                <a:cxn ang="0">
                  <a:pos x="connsiteX3092" y="connsiteY3092"/>
                </a:cxn>
                <a:cxn ang="0">
                  <a:pos x="connsiteX3093" y="connsiteY3093"/>
                </a:cxn>
                <a:cxn ang="0">
                  <a:pos x="connsiteX3094" y="connsiteY3094"/>
                </a:cxn>
                <a:cxn ang="0">
                  <a:pos x="connsiteX3095" y="connsiteY3095"/>
                </a:cxn>
                <a:cxn ang="0">
                  <a:pos x="connsiteX3096" y="connsiteY3096"/>
                </a:cxn>
                <a:cxn ang="0">
                  <a:pos x="connsiteX3097" y="connsiteY3097"/>
                </a:cxn>
                <a:cxn ang="0">
                  <a:pos x="connsiteX3098" y="connsiteY3098"/>
                </a:cxn>
                <a:cxn ang="0">
                  <a:pos x="connsiteX3099" y="connsiteY3099"/>
                </a:cxn>
                <a:cxn ang="0">
                  <a:pos x="connsiteX3100" y="connsiteY3100"/>
                </a:cxn>
                <a:cxn ang="0">
                  <a:pos x="connsiteX3101" y="connsiteY3101"/>
                </a:cxn>
                <a:cxn ang="0">
                  <a:pos x="connsiteX3102" y="connsiteY3102"/>
                </a:cxn>
                <a:cxn ang="0">
                  <a:pos x="connsiteX3103" y="connsiteY3103"/>
                </a:cxn>
                <a:cxn ang="0">
                  <a:pos x="connsiteX3104" y="connsiteY3104"/>
                </a:cxn>
                <a:cxn ang="0">
                  <a:pos x="connsiteX3105" y="connsiteY3105"/>
                </a:cxn>
                <a:cxn ang="0">
                  <a:pos x="connsiteX3106" y="connsiteY3106"/>
                </a:cxn>
                <a:cxn ang="0">
                  <a:pos x="connsiteX3107" y="connsiteY3107"/>
                </a:cxn>
                <a:cxn ang="0">
                  <a:pos x="connsiteX3108" y="connsiteY3108"/>
                </a:cxn>
                <a:cxn ang="0">
                  <a:pos x="connsiteX3109" y="connsiteY3109"/>
                </a:cxn>
                <a:cxn ang="0">
                  <a:pos x="connsiteX3110" y="connsiteY3110"/>
                </a:cxn>
                <a:cxn ang="0">
                  <a:pos x="connsiteX3111" y="connsiteY3111"/>
                </a:cxn>
                <a:cxn ang="0">
                  <a:pos x="connsiteX3112" y="connsiteY3112"/>
                </a:cxn>
                <a:cxn ang="0">
                  <a:pos x="connsiteX3113" y="connsiteY3113"/>
                </a:cxn>
                <a:cxn ang="0">
                  <a:pos x="connsiteX3114" y="connsiteY3114"/>
                </a:cxn>
                <a:cxn ang="0">
                  <a:pos x="connsiteX3115" y="connsiteY3115"/>
                </a:cxn>
                <a:cxn ang="0">
                  <a:pos x="connsiteX3116" y="connsiteY3116"/>
                </a:cxn>
                <a:cxn ang="0">
                  <a:pos x="connsiteX3117" y="connsiteY3117"/>
                </a:cxn>
                <a:cxn ang="0">
                  <a:pos x="connsiteX3118" y="connsiteY3118"/>
                </a:cxn>
                <a:cxn ang="0">
                  <a:pos x="connsiteX3119" y="connsiteY3119"/>
                </a:cxn>
                <a:cxn ang="0">
                  <a:pos x="connsiteX3120" y="connsiteY3120"/>
                </a:cxn>
                <a:cxn ang="0">
                  <a:pos x="connsiteX3121" y="connsiteY3121"/>
                </a:cxn>
                <a:cxn ang="0">
                  <a:pos x="connsiteX3122" y="connsiteY3122"/>
                </a:cxn>
                <a:cxn ang="0">
                  <a:pos x="connsiteX3123" y="connsiteY3123"/>
                </a:cxn>
                <a:cxn ang="0">
                  <a:pos x="connsiteX3124" y="connsiteY3124"/>
                </a:cxn>
                <a:cxn ang="0">
                  <a:pos x="connsiteX3125" y="connsiteY3125"/>
                </a:cxn>
                <a:cxn ang="0">
                  <a:pos x="connsiteX3126" y="connsiteY3126"/>
                </a:cxn>
                <a:cxn ang="0">
                  <a:pos x="connsiteX3127" y="connsiteY3127"/>
                </a:cxn>
                <a:cxn ang="0">
                  <a:pos x="connsiteX3128" y="connsiteY3128"/>
                </a:cxn>
                <a:cxn ang="0">
                  <a:pos x="connsiteX3129" y="connsiteY3129"/>
                </a:cxn>
                <a:cxn ang="0">
                  <a:pos x="connsiteX3130" y="connsiteY3130"/>
                </a:cxn>
                <a:cxn ang="0">
                  <a:pos x="connsiteX3131" y="connsiteY3131"/>
                </a:cxn>
                <a:cxn ang="0">
                  <a:pos x="connsiteX3132" y="connsiteY3132"/>
                </a:cxn>
                <a:cxn ang="0">
                  <a:pos x="connsiteX3133" y="connsiteY3133"/>
                </a:cxn>
                <a:cxn ang="0">
                  <a:pos x="connsiteX3134" y="connsiteY3134"/>
                </a:cxn>
                <a:cxn ang="0">
                  <a:pos x="connsiteX3135" y="connsiteY3135"/>
                </a:cxn>
                <a:cxn ang="0">
                  <a:pos x="connsiteX3136" y="connsiteY3136"/>
                </a:cxn>
                <a:cxn ang="0">
                  <a:pos x="connsiteX3137" y="connsiteY3137"/>
                </a:cxn>
                <a:cxn ang="0">
                  <a:pos x="connsiteX3138" y="connsiteY3138"/>
                </a:cxn>
                <a:cxn ang="0">
                  <a:pos x="connsiteX3139" y="connsiteY3139"/>
                </a:cxn>
                <a:cxn ang="0">
                  <a:pos x="connsiteX3140" y="connsiteY3140"/>
                </a:cxn>
                <a:cxn ang="0">
                  <a:pos x="connsiteX3141" y="connsiteY3141"/>
                </a:cxn>
                <a:cxn ang="0">
                  <a:pos x="connsiteX3142" y="connsiteY3142"/>
                </a:cxn>
                <a:cxn ang="0">
                  <a:pos x="connsiteX3143" y="connsiteY3143"/>
                </a:cxn>
                <a:cxn ang="0">
                  <a:pos x="connsiteX3144" y="connsiteY3144"/>
                </a:cxn>
                <a:cxn ang="0">
                  <a:pos x="connsiteX3145" y="connsiteY3145"/>
                </a:cxn>
                <a:cxn ang="0">
                  <a:pos x="connsiteX3146" y="connsiteY3146"/>
                </a:cxn>
                <a:cxn ang="0">
                  <a:pos x="connsiteX3147" y="connsiteY3147"/>
                </a:cxn>
                <a:cxn ang="0">
                  <a:pos x="connsiteX3148" y="connsiteY3148"/>
                </a:cxn>
                <a:cxn ang="0">
                  <a:pos x="connsiteX3149" y="connsiteY3149"/>
                </a:cxn>
                <a:cxn ang="0">
                  <a:pos x="connsiteX3150" y="connsiteY3150"/>
                </a:cxn>
                <a:cxn ang="0">
                  <a:pos x="connsiteX3151" y="connsiteY3151"/>
                </a:cxn>
                <a:cxn ang="0">
                  <a:pos x="connsiteX3152" y="connsiteY3152"/>
                </a:cxn>
                <a:cxn ang="0">
                  <a:pos x="connsiteX3153" y="connsiteY3153"/>
                </a:cxn>
                <a:cxn ang="0">
                  <a:pos x="connsiteX3154" y="connsiteY3154"/>
                </a:cxn>
                <a:cxn ang="0">
                  <a:pos x="connsiteX3155" y="connsiteY3155"/>
                </a:cxn>
                <a:cxn ang="0">
                  <a:pos x="connsiteX3156" y="connsiteY3156"/>
                </a:cxn>
                <a:cxn ang="0">
                  <a:pos x="connsiteX3157" y="connsiteY3157"/>
                </a:cxn>
                <a:cxn ang="0">
                  <a:pos x="connsiteX3158" y="connsiteY3158"/>
                </a:cxn>
                <a:cxn ang="0">
                  <a:pos x="connsiteX3159" y="connsiteY3159"/>
                </a:cxn>
                <a:cxn ang="0">
                  <a:pos x="connsiteX3160" y="connsiteY3160"/>
                </a:cxn>
                <a:cxn ang="0">
                  <a:pos x="connsiteX3161" y="connsiteY3161"/>
                </a:cxn>
                <a:cxn ang="0">
                  <a:pos x="connsiteX3162" y="connsiteY3162"/>
                </a:cxn>
                <a:cxn ang="0">
                  <a:pos x="connsiteX3163" y="connsiteY3163"/>
                </a:cxn>
                <a:cxn ang="0">
                  <a:pos x="connsiteX3164" y="connsiteY3164"/>
                </a:cxn>
                <a:cxn ang="0">
                  <a:pos x="connsiteX3165" y="connsiteY3165"/>
                </a:cxn>
                <a:cxn ang="0">
                  <a:pos x="connsiteX3166" y="connsiteY3166"/>
                </a:cxn>
                <a:cxn ang="0">
                  <a:pos x="connsiteX3167" y="connsiteY3167"/>
                </a:cxn>
                <a:cxn ang="0">
                  <a:pos x="connsiteX3168" y="connsiteY3168"/>
                </a:cxn>
                <a:cxn ang="0">
                  <a:pos x="connsiteX3169" y="connsiteY3169"/>
                </a:cxn>
                <a:cxn ang="0">
                  <a:pos x="connsiteX3170" y="connsiteY3170"/>
                </a:cxn>
                <a:cxn ang="0">
                  <a:pos x="connsiteX3171" y="connsiteY3171"/>
                </a:cxn>
                <a:cxn ang="0">
                  <a:pos x="connsiteX3172" y="connsiteY3172"/>
                </a:cxn>
                <a:cxn ang="0">
                  <a:pos x="connsiteX3173" y="connsiteY3173"/>
                </a:cxn>
                <a:cxn ang="0">
                  <a:pos x="connsiteX3174" y="connsiteY3174"/>
                </a:cxn>
                <a:cxn ang="0">
                  <a:pos x="connsiteX3175" y="connsiteY3175"/>
                </a:cxn>
                <a:cxn ang="0">
                  <a:pos x="connsiteX3176" y="connsiteY3176"/>
                </a:cxn>
                <a:cxn ang="0">
                  <a:pos x="connsiteX3177" y="connsiteY3177"/>
                </a:cxn>
                <a:cxn ang="0">
                  <a:pos x="connsiteX3178" y="connsiteY3178"/>
                </a:cxn>
                <a:cxn ang="0">
                  <a:pos x="connsiteX3179" y="connsiteY3179"/>
                </a:cxn>
                <a:cxn ang="0">
                  <a:pos x="connsiteX3180" y="connsiteY3180"/>
                </a:cxn>
                <a:cxn ang="0">
                  <a:pos x="connsiteX3181" y="connsiteY3181"/>
                </a:cxn>
                <a:cxn ang="0">
                  <a:pos x="connsiteX3182" y="connsiteY3182"/>
                </a:cxn>
                <a:cxn ang="0">
                  <a:pos x="connsiteX3183" y="connsiteY3183"/>
                </a:cxn>
                <a:cxn ang="0">
                  <a:pos x="connsiteX3184" y="connsiteY3184"/>
                </a:cxn>
                <a:cxn ang="0">
                  <a:pos x="connsiteX3185" y="connsiteY3185"/>
                </a:cxn>
                <a:cxn ang="0">
                  <a:pos x="connsiteX3186" y="connsiteY3186"/>
                </a:cxn>
                <a:cxn ang="0">
                  <a:pos x="connsiteX3187" y="connsiteY3187"/>
                </a:cxn>
                <a:cxn ang="0">
                  <a:pos x="connsiteX3188" y="connsiteY3188"/>
                </a:cxn>
                <a:cxn ang="0">
                  <a:pos x="connsiteX3189" y="connsiteY3189"/>
                </a:cxn>
                <a:cxn ang="0">
                  <a:pos x="connsiteX3190" y="connsiteY3190"/>
                </a:cxn>
                <a:cxn ang="0">
                  <a:pos x="connsiteX3191" y="connsiteY3191"/>
                </a:cxn>
                <a:cxn ang="0">
                  <a:pos x="connsiteX3192" y="connsiteY3192"/>
                </a:cxn>
                <a:cxn ang="0">
                  <a:pos x="connsiteX3193" y="connsiteY3193"/>
                </a:cxn>
                <a:cxn ang="0">
                  <a:pos x="connsiteX3194" y="connsiteY3194"/>
                </a:cxn>
                <a:cxn ang="0">
                  <a:pos x="connsiteX3195" y="connsiteY3195"/>
                </a:cxn>
                <a:cxn ang="0">
                  <a:pos x="connsiteX3196" y="connsiteY3196"/>
                </a:cxn>
                <a:cxn ang="0">
                  <a:pos x="connsiteX3197" y="connsiteY3197"/>
                </a:cxn>
                <a:cxn ang="0">
                  <a:pos x="connsiteX3198" y="connsiteY3198"/>
                </a:cxn>
                <a:cxn ang="0">
                  <a:pos x="connsiteX3199" y="connsiteY3199"/>
                </a:cxn>
                <a:cxn ang="0">
                  <a:pos x="connsiteX3200" y="connsiteY3200"/>
                </a:cxn>
                <a:cxn ang="0">
                  <a:pos x="connsiteX3201" y="connsiteY3201"/>
                </a:cxn>
                <a:cxn ang="0">
                  <a:pos x="connsiteX3202" y="connsiteY3202"/>
                </a:cxn>
                <a:cxn ang="0">
                  <a:pos x="connsiteX3203" y="connsiteY3203"/>
                </a:cxn>
                <a:cxn ang="0">
                  <a:pos x="connsiteX3204" y="connsiteY3204"/>
                </a:cxn>
                <a:cxn ang="0">
                  <a:pos x="connsiteX3205" y="connsiteY3205"/>
                </a:cxn>
                <a:cxn ang="0">
                  <a:pos x="connsiteX3206" y="connsiteY3206"/>
                </a:cxn>
                <a:cxn ang="0">
                  <a:pos x="connsiteX3207" y="connsiteY3207"/>
                </a:cxn>
                <a:cxn ang="0">
                  <a:pos x="connsiteX3208" y="connsiteY3208"/>
                </a:cxn>
                <a:cxn ang="0">
                  <a:pos x="connsiteX3209" y="connsiteY3209"/>
                </a:cxn>
                <a:cxn ang="0">
                  <a:pos x="connsiteX3210" y="connsiteY3210"/>
                </a:cxn>
                <a:cxn ang="0">
                  <a:pos x="connsiteX3211" y="connsiteY3211"/>
                </a:cxn>
                <a:cxn ang="0">
                  <a:pos x="connsiteX3212" y="connsiteY3212"/>
                </a:cxn>
                <a:cxn ang="0">
                  <a:pos x="connsiteX3213" y="connsiteY3213"/>
                </a:cxn>
                <a:cxn ang="0">
                  <a:pos x="connsiteX3214" y="connsiteY3214"/>
                </a:cxn>
                <a:cxn ang="0">
                  <a:pos x="connsiteX3215" y="connsiteY3215"/>
                </a:cxn>
                <a:cxn ang="0">
                  <a:pos x="connsiteX3216" y="connsiteY3216"/>
                </a:cxn>
                <a:cxn ang="0">
                  <a:pos x="connsiteX3217" y="connsiteY3217"/>
                </a:cxn>
                <a:cxn ang="0">
                  <a:pos x="connsiteX3218" y="connsiteY3218"/>
                </a:cxn>
                <a:cxn ang="0">
                  <a:pos x="connsiteX3219" y="connsiteY3219"/>
                </a:cxn>
                <a:cxn ang="0">
                  <a:pos x="connsiteX3220" y="connsiteY3220"/>
                </a:cxn>
                <a:cxn ang="0">
                  <a:pos x="connsiteX3221" y="connsiteY3221"/>
                </a:cxn>
                <a:cxn ang="0">
                  <a:pos x="connsiteX3222" y="connsiteY3222"/>
                </a:cxn>
                <a:cxn ang="0">
                  <a:pos x="connsiteX3223" y="connsiteY3223"/>
                </a:cxn>
                <a:cxn ang="0">
                  <a:pos x="connsiteX3224" y="connsiteY3224"/>
                </a:cxn>
                <a:cxn ang="0">
                  <a:pos x="connsiteX3225" y="connsiteY3225"/>
                </a:cxn>
                <a:cxn ang="0">
                  <a:pos x="connsiteX3226" y="connsiteY3226"/>
                </a:cxn>
                <a:cxn ang="0">
                  <a:pos x="connsiteX3227" y="connsiteY3227"/>
                </a:cxn>
                <a:cxn ang="0">
                  <a:pos x="connsiteX3228" y="connsiteY3228"/>
                </a:cxn>
                <a:cxn ang="0">
                  <a:pos x="connsiteX3229" y="connsiteY3229"/>
                </a:cxn>
                <a:cxn ang="0">
                  <a:pos x="connsiteX3230" y="connsiteY3230"/>
                </a:cxn>
                <a:cxn ang="0">
                  <a:pos x="connsiteX3231" y="connsiteY3231"/>
                </a:cxn>
                <a:cxn ang="0">
                  <a:pos x="connsiteX3232" y="connsiteY3232"/>
                </a:cxn>
                <a:cxn ang="0">
                  <a:pos x="connsiteX3233" y="connsiteY3233"/>
                </a:cxn>
                <a:cxn ang="0">
                  <a:pos x="connsiteX3234" y="connsiteY3234"/>
                </a:cxn>
                <a:cxn ang="0">
                  <a:pos x="connsiteX3235" y="connsiteY3235"/>
                </a:cxn>
                <a:cxn ang="0">
                  <a:pos x="connsiteX3236" y="connsiteY3236"/>
                </a:cxn>
                <a:cxn ang="0">
                  <a:pos x="connsiteX3237" y="connsiteY3237"/>
                </a:cxn>
                <a:cxn ang="0">
                  <a:pos x="connsiteX3238" y="connsiteY3238"/>
                </a:cxn>
                <a:cxn ang="0">
                  <a:pos x="connsiteX3239" y="connsiteY3239"/>
                </a:cxn>
                <a:cxn ang="0">
                  <a:pos x="connsiteX3240" y="connsiteY3240"/>
                </a:cxn>
                <a:cxn ang="0">
                  <a:pos x="connsiteX3241" y="connsiteY3241"/>
                </a:cxn>
                <a:cxn ang="0">
                  <a:pos x="connsiteX3242" y="connsiteY3242"/>
                </a:cxn>
                <a:cxn ang="0">
                  <a:pos x="connsiteX3243" y="connsiteY3243"/>
                </a:cxn>
                <a:cxn ang="0">
                  <a:pos x="connsiteX3244" y="connsiteY3244"/>
                </a:cxn>
                <a:cxn ang="0">
                  <a:pos x="connsiteX3245" y="connsiteY3245"/>
                </a:cxn>
                <a:cxn ang="0">
                  <a:pos x="connsiteX3246" y="connsiteY3246"/>
                </a:cxn>
                <a:cxn ang="0">
                  <a:pos x="connsiteX3247" y="connsiteY3247"/>
                </a:cxn>
                <a:cxn ang="0">
                  <a:pos x="connsiteX3248" y="connsiteY3248"/>
                </a:cxn>
                <a:cxn ang="0">
                  <a:pos x="connsiteX3249" y="connsiteY3249"/>
                </a:cxn>
                <a:cxn ang="0">
                  <a:pos x="connsiteX3250" y="connsiteY3250"/>
                </a:cxn>
                <a:cxn ang="0">
                  <a:pos x="connsiteX3251" y="connsiteY3251"/>
                </a:cxn>
                <a:cxn ang="0">
                  <a:pos x="connsiteX3252" y="connsiteY3252"/>
                </a:cxn>
                <a:cxn ang="0">
                  <a:pos x="connsiteX3253" y="connsiteY3253"/>
                </a:cxn>
                <a:cxn ang="0">
                  <a:pos x="connsiteX3254" y="connsiteY3254"/>
                </a:cxn>
                <a:cxn ang="0">
                  <a:pos x="connsiteX3255" y="connsiteY3255"/>
                </a:cxn>
                <a:cxn ang="0">
                  <a:pos x="connsiteX3256" y="connsiteY3256"/>
                </a:cxn>
                <a:cxn ang="0">
                  <a:pos x="connsiteX3257" y="connsiteY3257"/>
                </a:cxn>
                <a:cxn ang="0">
                  <a:pos x="connsiteX3258" y="connsiteY3258"/>
                </a:cxn>
                <a:cxn ang="0">
                  <a:pos x="connsiteX3259" y="connsiteY3259"/>
                </a:cxn>
                <a:cxn ang="0">
                  <a:pos x="connsiteX3260" y="connsiteY3260"/>
                </a:cxn>
                <a:cxn ang="0">
                  <a:pos x="connsiteX3261" y="connsiteY3261"/>
                </a:cxn>
                <a:cxn ang="0">
                  <a:pos x="connsiteX3262" y="connsiteY3262"/>
                </a:cxn>
                <a:cxn ang="0">
                  <a:pos x="connsiteX3263" y="connsiteY3263"/>
                </a:cxn>
                <a:cxn ang="0">
                  <a:pos x="connsiteX3264" y="connsiteY3264"/>
                </a:cxn>
                <a:cxn ang="0">
                  <a:pos x="connsiteX3265" y="connsiteY3265"/>
                </a:cxn>
                <a:cxn ang="0">
                  <a:pos x="connsiteX3266" y="connsiteY3266"/>
                </a:cxn>
                <a:cxn ang="0">
                  <a:pos x="connsiteX3267" y="connsiteY3267"/>
                </a:cxn>
                <a:cxn ang="0">
                  <a:pos x="connsiteX3268" y="connsiteY3268"/>
                </a:cxn>
                <a:cxn ang="0">
                  <a:pos x="connsiteX3269" y="connsiteY3269"/>
                </a:cxn>
                <a:cxn ang="0">
                  <a:pos x="connsiteX3270" y="connsiteY3270"/>
                </a:cxn>
                <a:cxn ang="0">
                  <a:pos x="connsiteX3271" y="connsiteY3271"/>
                </a:cxn>
                <a:cxn ang="0">
                  <a:pos x="connsiteX3272" y="connsiteY3272"/>
                </a:cxn>
                <a:cxn ang="0">
                  <a:pos x="connsiteX3273" y="connsiteY3273"/>
                </a:cxn>
                <a:cxn ang="0">
                  <a:pos x="connsiteX3274" y="connsiteY3274"/>
                </a:cxn>
                <a:cxn ang="0">
                  <a:pos x="connsiteX3275" y="connsiteY3275"/>
                </a:cxn>
                <a:cxn ang="0">
                  <a:pos x="connsiteX3276" y="connsiteY3276"/>
                </a:cxn>
                <a:cxn ang="0">
                  <a:pos x="connsiteX3277" y="connsiteY3277"/>
                </a:cxn>
                <a:cxn ang="0">
                  <a:pos x="connsiteX3278" y="connsiteY3278"/>
                </a:cxn>
                <a:cxn ang="0">
                  <a:pos x="connsiteX3279" y="connsiteY3279"/>
                </a:cxn>
                <a:cxn ang="0">
                  <a:pos x="connsiteX3280" y="connsiteY3280"/>
                </a:cxn>
                <a:cxn ang="0">
                  <a:pos x="connsiteX3281" y="connsiteY3281"/>
                </a:cxn>
                <a:cxn ang="0">
                  <a:pos x="connsiteX3282" y="connsiteY3282"/>
                </a:cxn>
                <a:cxn ang="0">
                  <a:pos x="connsiteX3283" y="connsiteY3283"/>
                </a:cxn>
                <a:cxn ang="0">
                  <a:pos x="connsiteX3284" y="connsiteY3284"/>
                </a:cxn>
                <a:cxn ang="0">
                  <a:pos x="connsiteX3285" y="connsiteY3285"/>
                </a:cxn>
                <a:cxn ang="0">
                  <a:pos x="connsiteX3286" y="connsiteY3286"/>
                </a:cxn>
                <a:cxn ang="0">
                  <a:pos x="connsiteX3287" y="connsiteY3287"/>
                </a:cxn>
                <a:cxn ang="0">
                  <a:pos x="connsiteX3288" y="connsiteY3288"/>
                </a:cxn>
                <a:cxn ang="0">
                  <a:pos x="connsiteX3289" y="connsiteY3289"/>
                </a:cxn>
                <a:cxn ang="0">
                  <a:pos x="connsiteX3290" y="connsiteY3290"/>
                </a:cxn>
                <a:cxn ang="0">
                  <a:pos x="connsiteX3291" y="connsiteY3291"/>
                </a:cxn>
                <a:cxn ang="0">
                  <a:pos x="connsiteX3292" y="connsiteY3292"/>
                </a:cxn>
                <a:cxn ang="0">
                  <a:pos x="connsiteX3293" y="connsiteY3293"/>
                </a:cxn>
                <a:cxn ang="0">
                  <a:pos x="connsiteX3294" y="connsiteY3294"/>
                </a:cxn>
                <a:cxn ang="0">
                  <a:pos x="connsiteX3295" y="connsiteY3295"/>
                </a:cxn>
                <a:cxn ang="0">
                  <a:pos x="connsiteX3296" y="connsiteY3296"/>
                </a:cxn>
                <a:cxn ang="0">
                  <a:pos x="connsiteX3297" y="connsiteY3297"/>
                </a:cxn>
                <a:cxn ang="0">
                  <a:pos x="connsiteX3298" y="connsiteY3298"/>
                </a:cxn>
                <a:cxn ang="0">
                  <a:pos x="connsiteX3299" y="connsiteY3299"/>
                </a:cxn>
                <a:cxn ang="0">
                  <a:pos x="connsiteX3300" y="connsiteY3300"/>
                </a:cxn>
                <a:cxn ang="0">
                  <a:pos x="connsiteX3301" y="connsiteY3301"/>
                </a:cxn>
                <a:cxn ang="0">
                  <a:pos x="connsiteX3302" y="connsiteY3302"/>
                </a:cxn>
                <a:cxn ang="0">
                  <a:pos x="connsiteX3303" y="connsiteY3303"/>
                </a:cxn>
                <a:cxn ang="0">
                  <a:pos x="connsiteX3304" y="connsiteY3304"/>
                </a:cxn>
                <a:cxn ang="0">
                  <a:pos x="connsiteX3305" y="connsiteY3305"/>
                </a:cxn>
                <a:cxn ang="0">
                  <a:pos x="connsiteX3306" y="connsiteY3306"/>
                </a:cxn>
                <a:cxn ang="0">
                  <a:pos x="connsiteX3307" y="connsiteY3307"/>
                </a:cxn>
                <a:cxn ang="0">
                  <a:pos x="connsiteX3308" y="connsiteY3308"/>
                </a:cxn>
                <a:cxn ang="0">
                  <a:pos x="connsiteX3309" y="connsiteY3309"/>
                </a:cxn>
                <a:cxn ang="0">
                  <a:pos x="connsiteX3310" y="connsiteY3310"/>
                </a:cxn>
                <a:cxn ang="0">
                  <a:pos x="connsiteX3311" y="connsiteY3311"/>
                </a:cxn>
                <a:cxn ang="0">
                  <a:pos x="connsiteX3312" y="connsiteY3312"/>
                </a:cxn>
                <a:cxn ang="0">
                  <a:pos x="connsiteX3313" y="connsiteY3313"/>
                </a:cxn>
                <a:cxn ang="0">
                  <a:pos x="connsiteX3314" y="connsiteY3314"/>
                </a:cxn>
                <a:cxn ang="0">
                  <a:pos x="connsiteX3315" y="connsiteY3315"/>
                </a:cxn>
                <a:cxn ang="0">
                  <a:pos x="connsiteX3316" y="connsiteY3316"/>
                </a:cxn>
                <a:cxn ang="0">
                  <a:pos x="connsiteX3317" y="connsiteY3317"/>
                </a:cxn>
                <a:cxn ang="0">
                  <a:pos x="connsiteX3318" y="connsiteY3318"/>
                </a:cxn>
                <a:cxn ang="0">
                  <a:pos x="connsiteX3319" y="connsiteY3319"/>
                </a:cxn>
                <a:cxn ang="0">
                  <a:pos x="connsiteX3320" y="connsiteY3320"/>
                </a:cxn>
                <a:cxn ang="0">
                  <a:pos x="connsiteX3321" y="connsiteY3321"/>
                </a:cxn>
                <a:cxn ang="0">
                  <a:pos x="connsiteX3322" y="connsiteY3322"/>
                </a:cxn>
                <a:cxn ang="0">
                  <a:pos x="connsiteX3323" y="connsiteY3323"/>
                </a:cxn>
                <a:cxn ang="0">
                  <a:pos x="connsiteX3324" y="connsiteY3324"/>
                </a:cxn>
                <a:cxn ang="0">
                  <a:pos x="connsiteX3325" y="connsiteY3325"/>
                </a:cxn>
                <a:cxn ang="0">
                  <a:pos x="connsiteX3326" y="connsiteY3326"/>
                </a:cxn>
                <a:cxn ang="0">
                  <a:pos x="connsiteX3327" y="connsiteY3327"/>
                </a:cxn>
                <a:cxn ang="0">
                  <a:pos x="connsiteX3328" y="connsiteY3328"/>
                </a:cxn>
                <a:cxn ang="0">
                  <a:pos x="connsiteX3329" y="connsiteY3329"/>
                </a:cxn>
                <a:cxn ang="0">
                  <a:pos x="connsiteX3330" y="connsiteY3330"/>
                </a:cxn>
                <a:cxn ang="0">
                  <a:pos x="connsiteX3331" y="connsiteY3331"/>
                </a:cxn>
                <a:cxn ang="0">
                  <a:pos x="connsiteX3332" y="connsiteY3332"/>
                </a:cxn>
                <a:cxn ang="0">
                  <a:pos x="connsiteX3333" y="connsiteY3333"/>
                </a:cxn>
                <a:cxn ang="0">
                  <a:pos x="connsiteX3334" y="connsiteY3334"/>
                </a:cxn>
                <a:cxn ang="0">
                  <a:pos x="connsiteX3335" y="connsiteY3335"/>
                </a:cxn>
                <a:cxn ang="0">
                  <a:pos x="connsiteX3336" y="connsiteY3336"/>
                </a:cxn>
                <a:cxn ang="0">
                  <a:pos x="connsiteX3337" y="connsiteY3337"/>
                </a:cxn>
                <a:cxn ang="0">
                  <a:pos x="connsiteX3338" y="connsiteY3338"/>
                </a:cxn>
                <a:cxn ang="0">
                  <a:pos x="connsiteX3339" y="connsiteY3339"/>
                </a:cxn>
                <a:cxn ang="0">
                  <a:pos x="connsiteX3340" y="connsiteY3340"/>
                </a:cxn>
                <a:cxn ang="0">
                  <a:pos x="connsiteX3341" y="connsiteY3341"/>
                </a:cxn>
                <a:cxn ang="0">
                  <a:pos x="connsiteX3342" y="connsiteY3342"/>
                </a:cxn>
                <a:cxn ang="0">
                  <a:pos x="connsiteX3343" y="connsiteY3343"/>
                </a:cxn>
                <a:cxn ang="0">
                  <a:pos x="connsiteX3344" y="connsiteY3344"/>
                </a:cxn>
                <a:cxn ang="0">
                  <a:pos x="connsiteX3345" y="connsiteY3345"/>
                </a:cxn>
                <a:cxn ang="0">
                  <a:pos x="connsiteX3346" y="connsiteY3346"/>
                </a:cxn>
                <a:cxn ang="0">
                  <a:pos x="connsiteX3347" y="connsiteY3347"/>
                </a:cxn>
                <a:cxn ang="0">
                  <a:pos x="connsiteX3348" y="connsiteY3348"/>
                </a:cxn>
                <a:cxn ang="0">
                  <a:pos x="connsiteX3349" y="connsiteY3349"/>
                </a:cxn>
                <a:cxn ang="0">
                  <a:pos x="connsiteX3350" y="connsiteY3350"/>
                </a:cxn>
                <a:cxn ang="0">
                  <a:pos x="connsiteX3351" y="connsiteY3351"/>
                </a:cxn>
                <a:cxn ang="0">
                  <a:pos x="connsiteX3352" y="connsiteY3352"/>
                </a:cxn>
                <a:cxn ang="0">
                  <a:pos x="connsiteX3353" y="connsiteY3353"/>
                </a:cxn>
                <a:cxn ang="0">
                  <a:pos x="connsiteX3354" y="connsiteY3354"/>
                </a:cxn>
                <a:cxn ang="0">
                  <a:pos x="connsiteX3355" y="connsiteY3355"/>
                </a:cxn>
                <a:cxn ang="0">
                  <a:pos x="connsiteX3356" y="connsiteY3356"/>
                </a:cxn>
                <a:cxn ang="0">
                  <a:pos x="connsiteX3357" y="connsiteY3357"/>
                </a:cxn>
                <a:cxn ang="0">
                  <a:pos x="connsiteX3358" y="connsiteY3358"/>
                </a:cxn>
                <a:cxn ang="0">
                  <a:pos x="connsiteX3359" y="connsiteY3359"/>
                </a:cxn>
                <a:cxn ang="0">
                  <a:pos x="connsiteX3360" y="connsiteY3360"/>
                </a:cxn>
                <a:cxn ang="0">
                  <a:pos x="connsiteX3361" y="connsiteY3361"/>
                </a:cxn>
                <a:cxn ang="0">
                  <a:pos x="connsiteX3362" y="connsiteY3362"/>
                </a:cxn>
                <a:cxn ang="0">
                  <a:pos x="connsiteX3363" y="connsiteY3363"/>
                </a:cxn>
                <a:cxn ang="0">
                  <a:pos x="connsiteX3364" y="connsiteY3364"/>
                </a:cxn>
                <a:cxn ang="0">
                  <a:pos x="connsiteX3365" y="connsiteY3365"/>
                </a:cxn>
                <a:cxn ang="0">
                  <a:pos x="connsiteX3366" y="connsiteY3366"/>
                </a:cxn>
                <a:cxn ang="0">
                  <a:pos x="connsiteX3367" y="connsiteY3367"/>
                </a:cxn>
                <a:cxn ang="0">
                  <a:pos x="connsiteX3368" y="connsiteY3368"/>
                </a:cxn>
                <a:cxn ang="0">
                  <a:pos x="connsiteX3369" y="connsiteY3369"/>
                </a:cxn>
                <a:cxn ang="0">
                  <a:pos x="connsiteX3370" y="connsiteY3370"/>
                </a:cxn>
                <a:cxn ang="0">
                  <a:pos x="connsiteX3371" y="connsiteY3371"/>
                </a:cxn>
                <a:cxn ang="0">
                  <a:pos x="connsiteX3372" y="connsiteY3372"/>
                </a:cxn>
                <a:cxn ang="0">
                  <a:pos x="connsiteX3373" y="connsiteY3373"/>
                </a:cxn>
                <a:cxn ang="0">
                  <a:pos x="connsiteX3374" y="connsiteY3374"/>
                </a:cxn>
                <a:cxn ang="0">
                  <a:pos x="connsiteX3375" y="connsiteY3375"/>
                </a:cxn>
                <a:cxn ang="0">
                  <a:pos x="connsiteX3376" y="connsiteY3376"/>
                </a:cxn>
                <a:cxn ang="0">
                  <a:pos x="connsiteX3377" y="connsiteY3377"/>
                </a:cxn>
                <a:cxn ang="0">
                  <a:pos x="connsiteX3378" y="connsiteY3378"/>
                </a:cxn>
                <a:cxn ang="0">
                  <a:pos x="connsiteX3379" y="connsiteY3379"/>
                </a:cxn>
                <a:cxn ang="0">
                  <a:pos x="connsiteX3380" y="connsiteY3380"/>
                </a:cxn>
                <a:cxn ang="0">
                  <a:pos x="connsiteX3381" y="connsiteY3381"/>
                </a:cxn>
                <a:cxn ang="0">
                  <a:pos x="connsiteX3382" y="connsiteY3382"/>
                </a:cxn>
                <a:cxn ang="0">
                  <a:pos x="connsiteX3383" y="connsiteY3383"/>
                </a:cxn>
                <a:cxn ang="0">
                  <a:pos x="connsiteX3384" y="connsiteY3384"/>
                </a:cxn>
                <a:cxn ang="0">
                  <a:pos x="connsiteX3385" y="connsiteY3385"/>
                </a:cxn>
                <a:cxn ang="0">
                  <a:pos x="connsiteX3386" y="connsiteY3386"/>
                </a:cxn>
                <a:cxn ang="0">
                  <a:pos x="connsiteX3387" y="connsiteY3387"/>
                </a:cxn>
                <a:cxn ang="0">
                  <a:pos x="connsiteX3388" y="connsiteY3388"/>
                </a:cxn>
                <a:cxn ang="0">
                  <a:pos x="connsiteX3389" y="connsiteY3389"/>
                </a:cxn>
                <a:cxn ang="0">
                  <a:pos x="connsiteX3390" y="connsiteY3390"/>
                </a:cxn>
                <a:cxn ang="0">
                  <a:pos x="connsiteX3391" y="connsiteY3391"/>
                </a:cxn>
                <a:cxn ang="0">
                  <a:pos x="connsiteX3392" y="connsiteY3392"/>
                </a:cxn>
                <a:cxn ang="0">
                  <a:pos x="connsiteX3393" y="connsiteY3393"/>
                </a:cxn>
                <a:cxn ang="0">
                  <a:pos x="connsiteX3394" y="connsiteY3394"/>
                </a:cxn>
                <a:cxn ang="0">
                  <a:pos x="connsiteX3395" y="connsiteY3395"/>
                </a:cxn>
                <a:cxn ang="0">
                  <a:pos x="connsiteX3396" y="connsiteY3396"/>
                </a:cxn>
                <a:cxn ang="0">
                  <a:pos x="connsiteX3397" y="connsiteY3397"/>
                </a:cxn>
                <a:cxn ang="0">
                  <a:pos x="connsiteX3398" y="connsiteY3398"/>
                </a:cxn>
                <a:cxn ang="0">
                  <a:pos x="connsiteX3399" y="connsiteY3399"/>
                </a:cxn>
                <a:cxn ang="0">
                  <a:pos x="connsiteX3400" y="connsiteY3400"/>
                </a:cxn>
                <a:cxn ang="0">
                  <a:pos x="connsiteX3401" y="connsiteY3401"/>
                </a:cxn>
                <a:cxn ang="0">
                  <a:pos x="connsiteX3402" y="connsiteY3402"/>
                </a:cxn>
                <a:cxn ang="0">
                  <a:pos x="connsiteX3403" y="connsiteY3403"/>
                </a:cxn>
                <a:cxn ang="0">
                  <a:pos x="connsiteX3404" y="connsiteY3404"/>
                </a:cxn>
                <a:cxn ang="0">
                  <a:pos x="connsiteX3405" y="connsiteY3405"/>
                </a:cxn>
                <a:cxn ang="0">
                  <a:pos x="connsiteX3406" y="connsiteY3406"/>
                </a:cxn>
                <a:cxn ang="0">
                  <a:pos x="connsiteX3407" y="connsiteY3407"/>
                </a:cxn>
                <a:cxn ang="0">
                  <a:pos x="connsiteX3408" y="connsiteY3408"/>
                </a:cxn>
                <a:cxn ang="0">
                  <a:pos x="connsiteX3409" y="connsiteY3409"/>
                </a:cxn>
                <a:cxn ang="0">
                  <a:pos x="connsiteX3410" y="connsiteY3410"/>
                </a:cxn>
                <a:cxn ang="0">
                  <a:pos x="connsiteX3411" y="connsiteY3411"/>
                </a:cxn>
                <a:cxn ang="0">
                  <a:pos x="connsiteX3412" y="connsiteY3412"/>
                </a:cxn>
                <a:cxn ang="0">
                  <a:pos x="connsiteX3413" y="connsiteY3413"/>
                </a:cxn>
                <a:cxn ang="0">
                  <a:pos x="connsiteX3414" y="connsiteY3414"/>
                </a:cxn>
                <a:cxn ang="0">
                  <a:pos x="connsiteX3415" y="connsiteY3415"/>
                </a:cxn>
                <a:cxn ang="0">
                  <a:pos x="connsiteX3416" y="connsiteY3416"/>
                </a:cxn>
                <a:cxn ang="0">
                  <a:pos x="connsiteX3417" y="connsiteY3417"/>
                </a:cxn>
                <a:cxn ang="0">
                  <a:pos x="connsiteX3418" y="connsiteY3418"/>
                </a:cxn>
                <a:cxn ang="0">
                  <a:pos x="connsiteX3419" y="connsiteY3419"/>
                </a:cxn>
                <a:cxn ang="0">
                  <a:pos x="connsiteX3420" y="connsiteY3420"/>
                </a:cxn>
                <a:cxn ang="0">
                  <a:pos x="connsiteX3421" y="connsiteY3421"/>
                </a:cxn>
                <a:cxn ang="0">
                  <a:pos x="connsiteX3422" y="connsiteY3422"/>
                </a:cxn>
                <a:cxn ang="0">
                  <a:pos x="connsiteX3423" y="connsiteY3423"/>
                </a:cxn>
                <a:cxn ang="0">
                  <a:pos x="connsiteX3424" y="connsiteY3424"/>
                </a:cxn>
                <a:cxn ang="0">
                  <a:pos x="connsiteX3425" y="connsiteY3425"/>
                </a:cxn>
                <a:cxn ang="0">
                  <a:pos x="connsiteX3426" y="connsiteY3426"/>
                </a:cxn>
                <a:cxn ang="0">
                  <a:pos x="connsiteX3427" y="connsiteY3427"/>
                </a:cxn>
                <a:cxn ang="0">
                  <a:pos x="connsiteX3428" y="connsiteY3428"/>
                </a:cxn>
                <a:cxn ang="0">
                  <a:pos x="connsiteX3429" y="connsiteY3429"/>
                </a:cxn>
                <a:cxn ang="0">
                  <a:pos x="connsiteX3430" y="connsiteY3430"/>
                </a:cxn>
                <a:cxn ang="0">
                  <a:pos x="connsiteX3431" y="connsiteY3431"/>
                </a:cxn>
                <a:cxn ang="0">
                  <a:pos x="connsiteX3432" y="connsiteY3432"/>
                </a:cxn>
                <a:cxn ang="0">
                  <a:pos x="connsiteX3433" y="connsiteY3433"/>
                </a:cxn>
                <a:cxn ang="0">
                  <a:pos x="connsiteX3434" y="connsiteY3434"/>
                </a:cxn>
                <a:cxn ang="0">
                  <a:pos x="connsiteX3435" y="connsiteY3435"/>
                </a:cxn>
                <a:cxn ang="0">
                  <a:pos x="connsiteX3436" y="connsiteY3436"/>
                </a:cxn>
                <a:cxn ang="0">
                  <a:pos x="connsiteX3437" y="connsiteY3437"/>
                </a:cxn>
                <a:cxn ang="0">
                  <a:pos x="connsiteX3438" y="connsiteY3438"/>
                </a:cxn>
                <a:cxn ang="0">
                  <a:pos x="connsiteX3439" y="connsiteY3439"/>
                </a:cxn>
                <a:cxn ang="0">
                  <a:pos x="connsiteX3440" y="connsiteY3440"/>
                </a:cxn>
                <a:cxn ang="0">
                  <a:pos x="connsiteX3441" y="connsiteY3441"/>
                </a:cxn>
                <a:cxn ang="0">
                  <a:pos x="connsiteX3442" y="connsiteY3442"/>
                </a:cxn>
                <a:cxn ang="0">
                  <a:pos x="connsiteX3443" y="connsiteY3443"/>
                </a:cxn>
                <a:cxn ang="0">
                  <a:pos x="connsiteX3444" y="connsiteY3444"/>
                </a:cxn>
                <a:cxn ang="0">
                  <a:pos x="connsiteX3445" y="connsiteY3445"/>
                </a:cxn>
                <a:cxn ang="0">
                  <a:pos x="connsiteX3446" y="connsiteY3446"/>
                </a:cxn>
                <a:cxn ang="0">
                  <a:pos x="connsiteX3447" y="connsiteY3447"/>
                </a:cxn>
                <a:cxn ang="0">
                  <a:pos x="connsiteX3448" y="connsiteY3448"/>
                </a:cxn>
                <a:cxn ang="0">
                  <a:pos x="connsiteX3449" y="connsiteY3449"/>
                </a:cxn>
                <a:cxn ang="0">
                  <a:pos x="connsiteX3450" y="connsiteY3450"/>
                </a:cxn>
                <a:cxn ang="0">
                  <a:pos x="connsiteX3451" y="connsiteY3451"/>
                </a:cxn>
                <a:cxn ang="0">
                  <a:pos x="connsiteX3452" y="connsiteY3452"/>
                </a:cxn>
                <a:cxn ang="0">
                  <a:pos x="connsiteX3453" y="connsiteY3453"/>
                </a:cxn>
                <a:cxn ang="0">
                  <a:pos x="connsiteX3454" y="connsiteY3454"/>
                </a:cxn>
                <a:cxn ang="0">
                  <a:pos x="connsiteX3455" y="connsiteY3455"/>
                </a:cxn>
                <a:cxn ang="0">
                  <a:pos x="connsiteX3456" y="connsiteY3456"/>
                </a:cxn>
                <a:cxn ang="0">
                  <a:pos x="connsiteX3457" y="connsiteY3457"/>
                </a:cxn>
                <a:cxn ang="0">
                  <a:pos x="connsiteX3458" y="connsiteY3458"/>
                </a:cxn>
                <a:cxn ang="0">
                  <a:pos x="connsiteX3459" y="connsiteY3459"/>
                </a:cxn>
                <a:cxn ang="0">
                  <a:pos x="connsiteX3460" y="connsiteY3460"/>
                </a:cxn>
                <a:cxn ang="0">
                  <a:pos x="connsiteX3461" y="connsiteY3461"/>
                </a:cxn>
                <a:cxn ang="0">
                  <a:pos x="connsiteX3462" y="connsiteY3462"/>
                </a:cxn>
                <a:cxn ang="0">
                  <a:pos x="connsiteX3463" y="connsiteY3463"/>
                </a:cxn>
                <a:cxn ang="0">
                  <a:pos x="connsiteX3464" y="connsiteY3464"/>
                </a:cxn>
                <a:cxn ang="0">
                  <a:pos x="connsiteX3465" y="connsiteY3465"/>
                </a:cxn>
                <a:cxn ang="0">
                  <a:pos x="connsiteX3466" y="connsiteY3466"/>
                </a:cxn>
                <a:cxn ang="0">
                  <a:pos x="connsiteX3467" y="connsiteY3467"/>
                </a:cxn>
                <a:cxn ang="0">
                  <a:pos x="connsiteX3468" y="connsiteY3468"/>
                </a:cxn>
                <a:cxn ang="0">
                  <a:pos x="connsiteX3469" y="connsiteY3469"/>
                </a:cxn>
                <a:cxn ang="0">
                  <a:pos x="connsiteX3470" y="connsiteY3470"/>
                </a:cxn>
                <a:cxn ang="0">
                  <a:pos x="connsiteX3471" y="connsiteY3471"/>
                </a:cxn>
                <a:cxn ang="0">
                  <a:pos x="connsiteX3472" y="connsiteY3472"/>
                </a:cxn>
                <a:cxn ang="0">
                  <a:pos x="connsiteX3473" y="connsiteY3473"/>
                </a:cxn>
                <a:cxn ang="0">
                  <a:pos x="connsiteX3474" y="connsiteY3474"/>
                </a:cxn>
                <a:cxn ang="0">
                  <a:pos x="connsiteX3475" y="connsiteY3475"/>
                </a:cxn>
                <a:cxn ang="0">
                  <a:pos x="connsiteX3476" y="connsiteY3476"/>
                </a:cxn>
                <a:cxn ang="0">
                  <a:pos x="connsiteX3477" y="connsiteY3477"/>
                </a:cxn>
                <a:cxn ang="0">
                  <a:pos x="connsiteX3478" y="connsiteY3478"/>
                </a:cxn>
                <a:cxn ang="0">
                  <a:pos x="connsiteX3479" y="connsiteY3479"/>
                </a:cxn>
                <a:cxn ang="0">
                  <a:pos x="connsiteX3480" y="connsiteY3480"/>
                </a:cxn>
                <a:cxn ang="0">
                  <a:pos x="connsiteX3481" y="connsiteY3481"/>
                </a:cxn>
                <a:cxn ang="0">
                  <a:pos x="connsiteX3482" y="connsiteY3482"/>
                </a:cxn>
                <a:cxn ang="0">
                  <a:pos x="connsiteX3483" y="connsiteY3483"/>
                </a:cxn>
                <a:cxn ang="0">
                  <a:pos x="connsiteX3484" y="connsiteY3484"/>
                </a:cxn>
                <a:cxn ang="0">
                  <a:pos x="connsiteX3485" y="connsiteY3485"/>
                </a:cxn>
                <a:cxn ang="0">
                  <a:pos x="connsiteX3486" y="connsiteY3486"/>
                </a:cxn>
                <a:cxn ang="0">
                  <a:pos x="connsiteX3487" y="connsiteY3487"/>
                </a:cxn>
                <a:cxn ang="0">
                  <a:pos x="connsiteX3488" y="connsiteY3488"/>
                </a:cxn>
                <a:cxn ang="0">
                  <a:pos x="connsiteX3489" y="connsiteY3489"/>
                </a:cxn>
                <a:cxn ang="0">
                  <a:pos x="connsiteX3490" y="connsiteY3490"/>
                </a:cxn>
                <a:cxn ang="0">
                  <a:pos x="connsiteX3491" y="connsiteY3491"/>
                </a:cxn>
                <a:cxn ang="0">
                  <a:pos x="connsiteX3492" y="connsiteY3492"/>
                </a:cxn>
                <a:cxn ang="0">
                  <a:pos x="connsiteX3493" y="connsiteY3493"/>
                </a:cxn>
                <a:cxn ang="0">
                  <a:pos x="connsiteX3494" y="connsiteY3494"/>
                </a:cxn>
                <a:cxn ang="0">
                  <a:pos x="connsiteX3495" y="connsiteY3495"/>
                </a:cxn>
                <a:cxn ang="0">
                  <a:pos x="connsiteX3496" y="connsiteY3496"/>
                </a:cxn>
                <a:cxn ang="0">
                  <a:pos x="connsiteX3497" y="connsiteY3497"/>
                </a:cxn>
                <a:cxn ang="0">
                  <a:pos x="connsiteX3498" y="connsiteY3498"/>
                </a:cxn>
                <a:cxn ang="0">
                  <a:pos x="connsiteX3499" y="connsiteY3499"/>
                </a:cxn>
                <a:cxn ang="0">
                  <a:pos x="connsiteX3500" y="connsiteY3500"/>
                </a:cxn>
                <a:cxn ang="0">
                  <a:pos x="connsiteX3501" y="connsiteY3501"/>
                </a:cxn>
                <a:cxn ang="0">
                  <a:pos x="connsiteX3502" y="connsiteY3502"/>
                </a:cxn>
                <a:cxn ang="0">
                  <a:pos x="connsiteX3503" y="connsiteY3503"/>
                </a:cxn>
                <a:cxn ang="0">
                  <a:pos x="connsiteX3504" y="connsiteY3504"/>
                </a:cxn>
                <a:cxn ang="0">
                  <a:pos x="connsiteX3505" y="connsiteY3505"/>
                </a:cxn>
                <a:cxn ang="0">
                  <a:pos x="connsiteX3506" y="connsiteY3506"/>
                </a:cxn>
                <a:cxn ang="0">
                  <a:pos x="connsiteX3507" y="connsiteY3507"/>
                </a:cxn>
                <a:cxn ang="0">
                  <a:pos x="connsiteX3508" y="connsiteY3508"/>
                </a:cxn>
                <a:cxn ang="0">
                  <a:pos x="connsiteX3509" y="connsiteY3509"/>
                </a:cxn>
                <a:cxn ang="0">
                  <a:pos x="connsiteX3510" y="connsiteY3510"/>
                </a:cxn>
                <a:cxn ang="0">
                  <a:pos x="connsiteX3511" y="connsiteY3511"/>
                </a:cxn>
                <a:cxn ang="0">
                  <a:pos x="connsiteX3512" y="connsiteY3512"/>
                </a:cxn>
                <a:cxn ang="0">
                  <a:pos x="connsiteX3513" y="connsiteY3513"/>
                </a:cxn>
                <a:cxn ang="0">
                  <a:pos x="connsiteX3514" y="connsiteY3514"/>
                </a:cxn>
                <a:cxn ang="0">
                  <a:pos x="connsiteX3515" y="connsiteY3515"/>
                </a:cxn>
                <a:cxn ang="0">
                  <a:pos x="connsiteX3516" y="connsiteY3516"/>
                </a:cxn>
                <a:cxn ang="0">
                  <a:pos x="connsiteX3517" y="connsiteY3517"/>
                </a:cxn>
                <a:cxn ang="0">
                  <a:pos x="connsiteX3518" y="connsiteY3518"/>
                </a:cxn>
                <a:cxn ang="0">
                  <a:pos x="connsiteX3519" y="connsiteY3519"/>
                </a:cxn>
                <a:cxn ang="0">
                  <a:pos x="connsiteX3520" y="connsiteY3520"/>
                </a:cxn>
                <a:cxn ang="0">
                  <a:pos x="connsiteX3521" y="connsiteY3521"/>
                </a:cxn>
                <a:cxn ang="0">
                  <a:pos x="connsiteX3522" y="connsiteY3522"/>
                </a:cxn>
                <a:cxn ang="0">
                  <a:pos x="connsiteX3523" y="connsiteY3523"/>
                </a:cxn>
                <a:cxn ang="0">
                  <a:pos x="connsiteX3524" y="connsiteY3524"/>
                </a:cxn>
                <a:cxn ang="0">
                  <a:pos x="connsiteX3525" y="connsiteY3525"/>
                </a:cxn>
                <a:cxn ang="0">
                  <a:pos x="connsiteX3526" y="connsiteY3526"/>
                </a:cxn>
                <a:cxn ang="0">
                  <a:pos x="connsiteX3527" y="connsiteY3527"/>
                </a:cxn>
                <a:cxn ang="0">
                  <a:pos x="connsiteX3528" y="connsiteY3528"/>
                </a:cxn>
                <a:cxn ang="0">
                  <a:pos x="connsiteX3529" y="connsiteY3529"/>
                </a:cxn>
                <a:cxn ang="0">
                  <a:pos x="connsiteX3530" y="connsiteY3530"/>
                </a:cxn>
                <a:cxn ang="0">
                  <a:pos x="connsiteX3531" y="connsiteY3531"/>
                </a:cxn>
                <a:cxn ang="0">
                  <a:pos x="connsiteX3532" y="connsiteY3532"/>
                </a:cxn>
                <a:cxn ang="0">
                  <a:pos x="connsiteX3533" y="connsiteY3533"/>
                </a:cxn>
                <a:cxn ang="0">
                  <a:pos x="connsiteX3534" y="connsiteY3534"/>
                </a:cxn>
                <a:cxn ang="0">
                  <a:pos x="connsiteX3535" y="connsiteY3535"/>
                </a:cxn>
                <a:cxn ang="0">
                  <a:pos x="connsiteX3536" y="connsiteY3536"/>
                </a:cxn>
                <a:cxn ang="0">
                  <a:pos x="connsiteX3537" y="connsiteY3537"/>
                </a:cxn>
                <a:cxn ang="0">
                  <a:pos x="connsiteX3538" y="connsiteY3538"/>
                </a:cxn>
                <a:cxn ang="0">
                  <a:pos x="connsiteX3539" y="connsiteY3539"/>
                </a:cxn>
                <a:cxn ang="0">
                  <a:pos x="connsiteX3540" y="connsiteY3540"/>
                </a:cxn>
                <a:cxn ang="0">
                  <a:pos x="connsiteX3541" y="connsiteY3541"/>
                </a:cxn>
                <a:cxn ang="0">
                  <a:pos x="connsiteX3542" y="connsiteY3542"/>
                </a:cxn>
                <a:cxn ang="0">
                  <a:pos x="connsiteX3543" y="connsiteY3543"/>
                </a:cxn>
                <a:cxn ang="0">
                  <a:pos x="connsiteX3544" y="connsiteY3544"/>
                </a:cxn>
                <a:cxn ang="0">
                  <a:pos x="connsiteX3545" y="connsiteY3545"/>
                </a:cxn>
                <a:cxn ang="0">
                  <a:pos x="connsiteX3546" y="connsiteY3546"/>
                </a:cxn>
                <a:cxn ang="0">
                  <a:pos x="connsiteX3547" y="connsiteY3547"/>
                </a:cxn>
                <a:cxn ang="0">
                  <a:pos x="connsiteX3548" y="connsiteY3548"/>
                </a:cxn>
                <a:cxn ang="0">
                  <a:pos x="connsiteX3549" y="connsiteY3549"/>
                </a:cxn>
                <a:cxn ang="0">
                  <a:pos x="connsiteX3550" y="connsiteY3550"/>
                </a:cxn>
                <a:cxn ang="0">
                  <a:pos x="connsiteX3551" y="connsiteY3551"/>
                </a:cxn>
                <a:cxn ang="0">
                  <a:pos x="connsiteX3552" y="connsiteY3552"/>
                </a:cxn>
                <a:cxn ang="0">
                  <a:pos x="connsiteX3553" y="connsiteY3553"/>
                </a:cxn>
                <a:cxn ang="0">
                  <a:pos x="connsiteX3554" y="connsiteY3554"/>
                </a:cxn>
                <a:cxn ang="0">
                  <a:pos x="connsiteX3555" y="connsiteY3555"/>
                </a:cxn>
                <a:cxn ang="0">
                  <a:pos x="connsiteX3556" y="connsiteY3556"/>
                </a:cxn>
                <a:cxn ang="0">
                  <a:pos x="connsiteX3557" y="connsiteY3557"/>
                </a:cxn>
                <a:cxn ang="0">
                  <a:pos x="connsiteX3558" y="connsiteY3558"/>
                </a:cxn>
                <a:cxn ang="0">
                  <a:pos x="connsiteX3559" y="connsiteY3559"/>
                </a:cxn>
                <a:cxn ang="0">
                  <a:pos x="connsiteX3560" y="connsiteY3560"/>
                </a:cxn>
                <a:cxn ang="0">
                  <a:pos x="connsiteX3561" y="connsiteY3561"/>
                </a:cxn>
                <a:cxn ang="0">
                  <a:pos x="connsiteX3562" y="connsiteY3562"/>
                </a:cxn>
                <a:cxn ang="0">
                  <a:pos x="connsiteX3563" y="connsiteY3563"/>
                </a:cxn>
                <a:cxn ang="0">
                  <a:pos x="connsiteX3564" y="connsiteY3564"/>
                </a:cxn>
                <a:cxn ang="0">
                  <a:pos x="connsiteX3565" y="connsiteY3565"/>
                </a:cxn>
                <a:cxn ang="0">
                  <a:pos x="connsiteX3566" y="connsiteY3566"/>
                </a:cxn>
                <a:cxn ang="0">
                  <a:pos x="connsiteX3567" y="connsiteY3567"/>
                </a:cxn>
                <a:cxn ang="0">
                  <a:pos x="connsiteX3568" y="connsiteY3568"/>
                </a:cxn>
                <a:cxn ang="0">
                  <a:pos x="connsiteX3569" y="connsiteY3569"/>
                </a:cxn>
                <a:cxn ang="0">
                  <a:pos x="connsiteX3570" y="connsiteY3570"/>
                </a:cxn>
                <a:cxn ang="0">
                  <a:pos x="connsiteX3571" y="connsiteY3571"/>
                </a:cxn>
                <a:cxn ang="0">
                  <a:pos x="connsiteX3572" y="connsiteY3572"/>
                </a:cxn>
                <a:cxn ang="0">
                  <a:pos x="connsiteX3573" y="connsiteY3573"/>
                </a:cxn>
                <a:cxn ang="0">
                  <a:pos x="connsiteX3574" y="connsiteY3574"/>
                </a:cxn>
                <a:cxn ang="0">
                  <a:pos x="connsiteX3575" y="connsiteY3575"/>
                </a:cxn>
                <a:cxn ang="0">
                  <a:pos x="connsiteX3576" y="connsiteY3576"/>
                </a:cxn>
                <a:cxn ang="0">
                  <a:pos x="connsiteX3577" y="connsiteY3577"/>
                </a:cxn>
                <a:cxn ang="0">
                  <a:pos x="connsiteX3578" y="connsiteY3578"/>
                </a:cxn>
                <a:cxn ang="0">
                  <a:pos x="connsiteX3579" y="connsiteY3579"/>
                </a:cxn>
                <a:cxn ang="0">
                  <a:pos x="connsiteX3580" y="connsiteY3580"/>
                </a:cxn>
                <a:cxn ang="0">
                  <a:pos x="connsiteX3581" y="connsiteY3581"/>
                </a:cxn>
                <a:cxn ang="0">
                  <a:pos x="connsiteX3582" y="connsiteY3582"/>
                </a:cxn>
                <a:cxn ang="0">
                  <a:pos x="connsiteX3583" y="connsiteY3583"/>
                </a:cxn>
                <a:cxn ang="0">
                  <a:pos x="connsiteX3584" y="connsiteY3584"/>
                </a:cxn>
                <a:cxn ang="0">
                  <a:pos x="connsiteX3585" y="connsiteY3585"/>
                </a:cxn>
                <a:cxn ang="0">
                  <a:pos x="connsiteX3586" y="connsiteY3586"/>
                </a:cxn>
                <a:cxn ang="0">
                  <a:pos x="connsiteX3587" y="connsiteY3587"/>
                </a:cxn>
                <a:cxn ang="0">
                  <a:pos x="connsiteX3588" y="connsiteY3588"/>
                </a:cxn>
                <a:cxn ang="0">
                  <a:pos x="connsiteX3589" y="connsiteY3589"/>
                </a:cxn>
                <a:cxn ang="0">
                  <a:pos x="connsiteX3590" y="connsiteY3590"/>
                </a:cxn>
                <a:cxn ang="0">
                  <a:pos x="connsiteX3591" y="connsiteY3591"/>
                </a:cxn>
                <a:cxn ang="0">
                  <a:pos x="connsiteX3592" y="connsiteY3592"/>
                </a:cxn>
                <a:cxn ang="0">
                  <a:pos x="connsiteX3593" y="connsiteY3593"/>
                </a:cxn>
                <a:cxn ang="0">
                  <a:pos x="connsiteX3594" y="connsiteY3594"/>
                </a:cxn>
                <a:cxn ang="0">
                  <a:pos x="connsiteX3595" y="connsiteY3595"/>
                </a:cxn>
                <a:cxn ang="0">
                  <a:pos x="connsiteX3596" y="connsiteY3596"/>
                </a:cxn>
                <a:cxn ang="0">
                  <a:pos x="connsiteX3597" y="connsiteY3597"/>
                </a:cxn>
                <a:cxn ang="0">
                  <a:pos x="connsiteX3598" y="connsiteY3598"/>
                </a:cxn>
                <a:cxn ang="0">
                  <a:pos x="connsiteX3599" y="connsiteY3599"/>
                </a:cxn>
                <a:cxn ang="0">
                  <a:pos x="connsiteX3600" y="connsiteY3600"/>
                </a:cxn>
                <a:cxn ang="0">
                  <a:pos x="connsiteX3601" y="connsiteY3601"/>
                </a:cxn>
                <a:cxn ang="0">
                  <a:pos x="connsiteX3602" y="connsiteY3602"/>
                </a:cxn>
                <a:cxn ang="0">
                  <a:pos x="connsiteX3603" y="connsiteY3603"/>
                </a:cxn>
                <a:cxn ang="0">
                  <a:pos x="connsiteX3604" y="connsiteY3604"/>
                </a:cxn>
                <a:cxn ang="0">
                  <a:pos x="connsiteX3605" y="connsiteY3605"/>
                </a:cxn>
                <a:cxn ang="0">
                  <a:pos x="connsiteX3606" y="connsiteY3606"/>
                </a:cxn>
                <a:cxn ang="0">
                  <a:pos x="connsiteX3607" y="connsiteY3607"/>
                </a:cxn>
                <a:cxn ang="0">
                  <a:pos x="connsiteX3608" y="connsiteY3608"/>
                </a:cxn>
                <a:cxn ang="0">
                  <a:pos x="connsiteX3609" y="connsiteY3609"/>
                </a:cxn>
                <a:cxn ang="0">
                  <a:pos x="connsiteX3610" y="connsiteY3610"/>
                </a:cxn>
                <a:cxn ang="0">
                  <a:pos x="connsiteX3611" y="connsiteY3611"/>
                </a:cxn>
                <a:cxn ang="0">
                  <a:pos x="connsiteX3612" y="connsiteY3612"/>
                </a:cxn>
                <a:cxn ang="0">
                  <a:pos x="connsiteX3613" y="connsiteY3613"/>
                </a:cxn>
                <a:cxn ang="0">
                  <a:pos x="connsiteX3614" y="connsiteY3614"/>
                </a:cxn>
                <a:cxn ang="0">
                  <a:pos x="connsiteX3615" y="connsiteY3615"/>
                </a:cxn>
                <a:cxn ang="0">
                  <a:pos x="connsiteX3616" y="connsiteY3616"/>
                </a:cxn>
                <a:cxn ang="0">
                  <a:pos x="connsiteX3617" y="connsiteY3617"/>
                </a:cxn>
                <a:cxn ang="0">
                  <a:pos x="connsiteX3618" y="connsiteY3618"/>
                </a:cxn>
                <a:cxn ang="0">
                  <a:pos x="connsiteX3619" y="connsiteY3619"/>
                </a:cxn>
                <a:cxn ang="0">
                  <a:pos x="connsiteX3620" y="connsiteY3620"/>
                </a:cxn>
                <a:cxn ang="0">
                  <a:pos x="connsiteX3621" y="connsiteY3621"/>
                </a:cxn>
                <a:cxn ang="0">
                  <a:pos x="connsiteX3622" y="connsiteY3622"/>
                </a:cxn>
                <a:cxn ang="0">
                  <a:pos x="connsiteX3623" y="connsiteY3623"/>
                </a:cxn>
                <a:cxn ang="0">
                  <a:pos x="connsiteX3624" y="connsiteY3624"/>
                </a:cxn>
                <a:cxn ang="0">
                  <a:pos x="connsiteX3625" y="connsiteY3625"/>
                </a:cxn>
                <a:cxn ang="0">
                  <a:pos x="connsiteX3626" y="connsiteY3626"/>
                </a:cxn>
                <a:cxn ang="0">
                  <a:pos x="connsiteX3627" y="connsiteY3627"/>
                </a:cxn>
                <a:cxn ang="0">
                  <a:pos x="connsiteX3628" y="connsiteY3628"/>
                </a:cxn>
                <a:cxn ang="0">
                  <a:pos x="connsiteX3629" y="connsiteY3629"/>
                </a:cxn>
                <a:cxn ang="0">
                  <a:pos x="connsiteX3630" y="connsiteY3630"/>
                </a:cxn>
                <a:cxn ang="0">
                  <a:pos x="connsiteX3631" y="connsiteY3631"/>
                </a:cxn>
                <a:cxn ang="0">
                  <a:pos x="connsiteX3632" y="connsiteY3632"/>
                </a:cxn>
                <a:cxn ang="0">
                  <a:pos x="connsiteX3633" y="connsiteY3633"/>
                </a:cxn>
                <a:cxn ang="0">
                  <a:pos x="connsiteX3634" y="connsiteY3634"/>
                </a:cxn>
                <a:cxn ang="0">
                  <a:pos x="connsiteX3635" y="connsiteY3635"/>
                </a:cxn>
                <a:cxn ang="0">
                  <a:pos x="connsiteX3636" y="connsiteY3636"/>
                </a:cxn>
                <a:cxn ang="0">
                  <a:pos x="connsiteX3637" y="connsiteY3637"/>
                </a:cxn>
                <a:cxn ang="0">
                  <a:pos x="connsiteX3638" y="connsiteY3638"/>
                </a:cxn>
                <a:cxn ang="0">
                  <a:pos x="connsiteX3639" y="connsiteY3639"/>
                </a:cxn>
                <a:cxn ang="0">
                  <a:pos x="connsiteX3640" y="connsiteY3640"/>
                </a:cxn>
                <a:cxn ang="0">
                  <a:pos x="connsiteX3641" y="connsiteY3641"/>
                </a:cxn>
                <a:cxn ang="0">
                  <a:pos x="connsiteX3642" y="connsiteY3642"/>
                </a:cxn>
                <a:cxn ang="0">
                  <a:pos x="connsiteX3643" y="connsiteY3643"/>
                </a:cxn>
                <a:cxn ang="0">
                  <a:pos x="connsiteX3644" y="connsiteY3644"/>
                </a:cxn>
                <a:cxn ang="0">
                  <a:pos x="connsiteX3645" y="connsiteY3645"/>
                </a:cxn>
                <a:cxn ang="0">
                  <a:pos x="connsiteX3646" y="connsiteY3646"/>
                </a:cxn>
                <a:cxn ang="0">
                  <a:pos x="connsiteX3647" y="connsiteY3647"/>
                </a:cxn>
                <a:cxn ang="0">
                  <a:pos x="connsiteX3648" y="connsiteY3648"/>
                </a:cxn>
                <a:cxn ang="0">
                  <a:pos x="connsiteX3649" y="connsiteY3649"/>
                </a:cxn>
                <a:cxn ang="0">
                  <a:pos x="connsiteX3650" y="connsiteY3650"/>
                </a:cxn>
                <a:cxn ang="0">
                  <a:pos x="connsiteX3651" y="connsiteY3651"/>
                </a:cxn>
                <a:cxn ang="0">
                  <a:pos x="connsiteX3652" y="connsiteY3652"/>
                </a:cxn>
                <a:cxn ang="0">
                  <a:pos x="connsiteX3653" y="connsiteY3653"/>
                </a:cxn>
                <a:cxn ang="0">
                  <a:pos x="connsiteX3654" y="connsiteY3654"/>
                </a:cxn>
                <a:cxn ang="0">
                  <a:pos x="connsiteX3655" y="connsiteY3655"/>
                </a:cxn>
                <a:cxn ang="0">
                  <a:pos x="connsiteX3656" y="connsiteY3656"/>
                </a:cxn>
                <a:cxn ang="0">
                  <a:pos x="connsiteX3657" y="connsiteY3657"/>
                </a:cxn>
                <a:cxn ang="0">
                  <a:pos x="connsiteX3658" y="connsiteY3658"/>
                </a:cxn>
                <a:cxn ang="0">
                  <a:pos x="connsiteX3659" y="connsiteY3659"/>
                </a:cxn>
                <a:cxn ang="0">
                  <a:pos x="connsiteX3660" y="connsiteY3660"/>
                </a:cxn>
                <a:cxn ang="0">
                  <a:pos x="connsiteX3661" y="connsiteY3661"/>
                </a:cxn>
                <a:cxn ang="0">
                  <a:pos x="connsiteX3662" y="connsiteY3662"/>
                </a:cxn>
                <a:cxn ang="0">
                  <a:pos x="connsiteX3663" y="connsiteY3663"/>
                </a:cxn>
                <a:cxn ang="0">
                  <a:pos x="connsiteX3664" y="connsiteY3664"/>
                </a:cxn>
                <a:cxn ang="0">
                  <a:pos x="connsiteX3665" y="connsiteY3665"/>
                </a:cxn>
                <a:cxn ang="0">
                  <a:pos x="connsiteX3666" y="connsiteY3666"/>
                </a:cxn>
                <a:cxn ang="0">
                  <a:pos x="connsiteX3667" y="connsiteY3667"/>
                </a:cxn>
                <a:cxn ang="0">
                  <a:pos x="connsiteX3668" y="connsiteY3668"/>
                </a:cxn>
                <a:cxn ang="0">
                  <a:pos x="connsiteX3669" y="connsiteY3669"/>
                </a:cxn>
                <a:cxn ang="0">
                  <a:pos x="connsiteX3670" y="connsiteY3670"/>
                </a:cxn>
                <a:cxn ang="0">
                  <a:pos x="connsiteX3671" y="connsiteY3671"/>
                </a:cxn>
                <a:cxn ang="0">
                  <a:pos x="connsiteX3672" y="connsiteY3672"/>
                </a:cxn>
                <a:cxn ang="0">
                  <a:pos x="connsiteX3673" y="connsiteY3673"/>
                </a:cxn>
                <a:cxn ang="0">
                  <a:pos x="connsiteX3674" y="connsiteY3674"/>
                </a:cxn>
                <a:cxn ang="0">
                  <a:pos x="connsiteX3675" y="connsiteY3675"/>
                </a:cxn>
                <a:cxn ang="0">
                  <a:pos x="connsiteX3676" y="connsiteY3676"/>
                </a:cxn>
                <a:cxn ang="0">
                  <a:pos x="connsiteX3677" y="connsiteY3677"/>
                </a:cxn>
                <a:cxn ang="0">
                  <a:pos x="connsiteX3678" y="connsiteY3678"/>
                </a:cxn>
                <a:cxn ang="0">
                  <a:pos x="connsiteX3679" y="connsiteY3679"/>
                </a:cxn>
                <a:cxn ang="0">
                  <a:pos x="connsiteX3680" y="connsiteY3680"/>
                </a:cxn>
                <a:cxn ang="0">
                  <a:pos x="connsiteX3681" y="connsiteY3681"/>
                </a:cxn>
                <a:cxn ang="0">
                  <a:pos x="connsiteX3682" y="connsiteY3682"/>
                </a:cxn>
                <a:cxn ang="0">
                  <a:pos x="connsiteX3683" y="connsiteY3683"/>
                </a:cxn>
                <a:cxn ang="0">
                  <a:pos x="connsiteX3684" y="connsiteY3684"/>
                </a:cxn>
                <a:cxn ang="0">
                  <a:pos x="connsiteX3685" y="connsiteY3685"/>
                </a:cxn>
                <a:cxn ang="0">
                  <a:pos x="connsiteX3686" y="connsiteY3686"/>
                </a:cxn>
                <a:cxn ang="0">
                  <a:pos x="connsiteX3687" y="connsiteY3687"/>
                </a:cxn>
                <a:cxn ang="0">
                  <a:pos x="connsiteX3688" y="connsiteY3688"/>
                </a:cxn>
                <a:cxn ang="0">
                  <a:pos x="connsiteX3689" y="connsiteY3689"/>
                </a:cxn>
                <a:cxn ang="0">
                  <a:pos x="connsiteX3690" y="connsiteY3690"/>
                </a:cxn>
                <a:cxn ang="0">
                  <a:pos x="connsiteX3691" y="connsiteY3691"/>
                </a:cxn>
                <a:cxn ang="0">
                  <a:pos x="connsiteX3692" y="connsiteY3692"/>
                </a:cxn>
                <a:cxn ang="0">
                  <a:pos x="connsiteX3693" y="connsiteY3693"/>
                </a:cxn>
                <a:cxn ang="0">
                  <a:pos x="connsiteX3694" y="connsiteY3694"/>
                </a:cxn>
                <a:cxn ang="0">
                  <a:pos x="connsiteX3695" y="connsiteY3695"/>
                </a:cxn>
                <a:cxn ang="0">
                  <a:pos x="connsiteX3696" y="connsiteY3696"/>
                </a:cxn>
                <a:cxn ang="0">
                  <a:pos x="connsiteX3697" y="connsiteY3697"/>
                </a:cxn>
                <a:cxn ang="0">
                  <a:pos x="connsiteX3698" y="connsiteY3698"/>
                </a:cxn>
                <a:cxn ang="0">
                  <a:pos x="connsiteX3699" y="connsiteY3699"/>
                </a:cxn>
                <a:cxn ang="0">
                  <a:pos x="connsiteX3700" y="connsiteY3700"/>
                </a:cxn>
                <a:cxn ang="0">
                  <a:pos x="connsiteX3701" y="connsiteY3701"/>
                </a:cxn>
                <a:cxn ang="0">
                  <a:pos x="connsiteX3702" y="connsiteY3702"/>
                </a:cxn>
                <a:cxn ang="0">
                  <a:pos x="connsiteX3703" y="connsiteY3703"/>
                </a:cxn>
                <a:cxn ang="0">
                  <a:pos x="connsiteX3704" y="connsiteY3704"/>
                </a:cxn>
                <a:cxn ang="0">
                  <a:pos x="connsiteX3705" y="connsiteY3705"/>
                </a:cxn>
                <a:cxn ang="0">
                  <a:pos x="connsiteX3706" y="connsiteY3706"/>
                </a:cxn>
                <a:cxn ang="0">
                  <a:pos x="connsiteX3707" y="connsiteY3707"/>
                </a:cxn>
                <a:cxn ang="0">
                  <a:pos x="connsiteX3708" y="connsiteY3708"/>
                </a:cxn>
                <a:cxn ang="0">
                  <a:pos x="connsiteX3709" y="connsiteY3709"/>
                </a:cxn>
                <a:cxn ang="0">
                  <a:pos x="connsiteX3710" y="connsiteY3710"/>
                </a:cxn>
                <a:cxn ang="0">
                  <a:pos x="connsiteX3711" y="connsiteY3711"/>
                </a:cxn>
                <a:cxn ang="0">
                  <a:pos x="connsiteX3712" y="connsiteY3712"/>
                </a:cxn>
                <a:cxn ang="0">
                  <a:pos x="connsiteX3713" y="connsiteY3713"/>
                </a:cxn>
                <a:cxn ang="0">
                  <a:pos x="connsiteX3714" y="connsiteY3714"/>
                </a:cxn>
                <a:cxn ang="0">
                  <a:pos x="connsiteX3715" y="connsiteY3715"/>
                </a:cxn>
                <a:cxn ang="0">
                  <a:pos x="connsiteX3716" y="connsiteY3716"/>
                </a:cxn>
                <a:cxn ang="0">
                  <a:pos x="connsiteX3717" y="connsiteY3717"/>
                </a:cxn>
                <a:cxn ang="0">
                  <a:pos x="connsiteX3718" y="connsiteY3718"/>
                </a:cxn>
                <a:cxn ang="0">
                  <a:pos x="connsiteX3719" y="connsiteY3719"/>
                </a:cxn>
                <a:cxn ang="0">
                  <a:pos x="connsiteX3720" y="connsiteY3720"/>
                </a:cxn>
                <a:cxn ang="0">
                  <a:pos x="connsiteX3721" y="connsiteY3721"/>
                </a:cxn>
                <a:cxn ang="0">
                  <a:pos x="connsiteX3722" y="connsiteY3722"/>
                </a:cxn>
                <a:cxn ang="0">
                  <a:pos x="connsiteX3723" y="connsiteY3723"/>
                </a:cxn>
                <a:cxn ang="0">
                  <a:pos x="connsiteX3724" y="connsiteY3724"/>
                </a:cxn>
                <a:cxn ang="0">
                  <a:pos x="connsiteX3725" y="connsiteY3725"/>
                </a:cxn>
                <a:cxn ang="0">
                  <a:pos x="connsiteX3726" y="connsiteY3726"/>
                </a:cxn>
                <a:cxn ang="0">
                  <a:pos x="connsiteX3727" y="connsiteY3727"/>
                </a:cxn>
                <a:cxn ang="0">
                  <a:pos x="connsiteX3728" y="connsiteY3728"/>
                </a:cxn>
                <a:cxn ang="0">
                  <a:pos x="connsiteX3729" y="connsiteY3729"/>
                </a:cxn>
                <a:cxn ang="0">
                  <a:pos x="connsiteX3730" y="connsiteY3730"/>
                </a:cxn>
                <a:cxn ang="0">
                  <a:pos x="connsiteX3731" y="connsiteY3731"/>
                </a:cxn>
                <a:cxn ang="0">
                  <a:pos x="connsiteX3732" y="connsiteY3732"/>
                </a:cxn>
                <a:cxn ang="0">
                  <a:pos x="connsiteX3733" y="connsiteY3733"/>
                </a:cxn>
                <a:cxn ang="0">
                  <a:pos x="connsiteX3734" y="connsiteY3734"/>
                </a:cxn>
                <a:cxn ang="0">
                  <a:pos x="connsiteX3735" y="connsiteY3735"/>
                </a:cxn>
                <a:cxn ang="0">
                  <a:pos x="connsiteX3736" y="connsiteY3736"/>
                </a:cxn>
                <a:cxn ang="0">
                  <a:pos x="connsiteX3737" y="connsiteY3737"/>
                </a:cxn>
                <a:cxn ang="0">
                  <a:pos x="connsiteX3738" y="connsiteY3738"/>
                </a:cxn>
                <a:cxn ang="0">
                  <a:pos x="connsiteX3739" y="connsiteY3739"/>
                </a:cxn>
                <a:cxn ang="0">
                  <a:pos x="connsiteX3740" y="connsiteY3740"/>
                </a:cxn>
                <a:cxn ang="0">
                  <a:pos x="connsiteX3741" y="connsiteY3741"/>
                </a:cxn>
                <a:cxn ang="0">
                  <a:pos x="connsiteX3742" y="connsiteY3742"/>
                </a:cxn>
                <a:cxn ang="0">
                  <a:pos x="connsiteX3743" y="connsiteY3743"/>
                </a:cxn>
                <a:cxn ang="0">
                  <a:pos x="connsiteX3744" y="connsiteY3744"/>
                </a:cxn>
                <a:cxn ang="0">
                  <a:pos x="connsiteX3745" y="connsiteY3745"/>
                </a:cxn>
                <a:cxn ang="0">
                  <a:pos x="connsiteX3746" y="connsiteY3746"/>
                </a:cxn>
                <a:cxn ang="0">
                  <a:pos x="connsiteX3747" y="connsiteY3747"/>
                </a:cxn>
                <a:cxn ang="0">
                  <a:pos x="connsiteX3748" y="connsiteY3748"/>
                </a:cxn>
                <a:cxn ang="0">
                  <a:pos x="connsiteX3749" y="connsiteY3749"/>
                </a:cxn>
                <a:cxn ang="0">
                  <a:pos x="connsiteX3750" y="connsiteY3750"/>
                </a:cxn>
                <a:cxn ang="0">
                  <a:pos x="connsiteX3751" y="connsiteY3751"/>
                </a:cxn>
                <a:cxn ang="0">
                  <a:pos x="connsiteX3752" y="connsiteY3752"/>
                </a:cxn>
                <a:cxn ang="0">
                  <a:pos x="connsiteX3753" y="connsiteY3753"/>
                </a:cxn>
                <a:cxn ang="0">
                  <a:pos x="connsiteX3754" y="connsiteY3754"/>
                </a:cxn>
                <a:cxn ang="0">
                  <a:pos x="connsiteX3755" y="connsiteY3755"/>
                </a:cxn>
                <a:cxn ang="0">
                  <a:pos x="connsiteX3756" y="connsiteY3756"/>
                </a:cxn>
                <a:cxn ang="0">
                  <a:pos x="connsiteX3757" y="connsiteY3757"/>
                </a:cxn>
                <a:cxn ang="0">
                  <a:pos x="connsiteX3758" y="connsiteY3758"/>
                </a:cxn>
                <a:cxn ang="0">
                  <a:pos x="connsiteX3759" y="connsiteY3759"/>
                </a:cxn>
                <a:cxn ang="0">
                  <a:pos x="connsiteX3760" y="connsiteY3760"/>
                </a:cxn>
                <a:cxn ang="0">
                  <a:pos x="connsiteX3761" y="connsiteY3761"/>
                </a:cxn>
                <a:cxn ang="0">
                  <a:pos x="connsiteX3762" y="connsiteY3762"/>
                </a:cxn>
                <a:cxn ang="0">
                  <a:pos x="connsiteX3763" y="connsiteY3763"/>
                </a:cxn>
                <a:cxn ang="0">
                  <a:pos x="connsiteX3764" y="connsiteY3764"/>
                </a:cxn>
                <a:cxn ang="0">
                  <a:pos x="connsiteX3765" y="connsiteY3765"/>
                </a:cxn>
                <a:cxn ang="0">
                  <a:pos x="connsiteX3766" y="connsiteY3766"/>
                </a:cxn>
                <a:cxn ang="0">
                  <a:pos x="connsiteX3767" y="connsiteY3767"/>
                </a:cxn>
                <a:cxn ang="0">
                  <a:pos x="connsiteX3768" y="connsiteY3768"/>
                </a:cxn>
                <a:cxn ang="0">
                  <a:pos x="connsiteX3769" y="connsiteY3769"/>
                </a:cxn>
                <a:cxn ang="0">
                  <a:pos x="connsiteX3770" y="connsiteY3770"/>
                </a:cxn>
                <a:cxn ang="0">
                  <a:pos x="connsiteX3771" y="connsiteY3771"/>
                </a:cxn>
                <a:cxn ang="0">
                  <a:pos x="connsiteX3772" y="connsiteY3772"/>
                </a:cxn>
                <a:cxn ang="0">
                  <a:pos x="connsiteX3773" y="connsiteY3773"/>
                </a:cxn>
                <a:cxn ang="0">
                  <a:pos x="connsiteX3774" y="connsiteY3774"/>
                </a:cxn>
                <a:cxn ang="0">
                  <a:pos x="connsiteX3775" y="connsiteY3775"/>
                </a:cxn>
                <a:cxn ang="0">
                  <a:pos x="connsiteX3776" y="connsiteY3776"/>
                </a:cxn>
                <a:cxn ang="0">
                  <a:pos x="connsiteX3777" y="connsiteY3777"/>
                </a:cxn>
                <a:cxn ang="0">
                  <a:pos x="connsiteX3778" y="connsiteY3778"/>
                </a:cxn>
                <a:cxn ang="0">
                  <a:pos x="connsiteX3779" y="connsiteY3779"/>
                </a:cxn>
                <a:cxn ang="0">
                  <a:pos x="connsiteX3780" y="connsiteY3780"/>
                </a:cxn>
                <a:cxn ang="0">
                  <a:pos x="connsiteX3781" y="connsiteY3781"/>
                </a:cxn>
                <a:cxn ang="0">
                  <a:pos x="connsiteX3782" y="connsiteY3782"/>
                </a:cxn>
                <a:cxn ang="0">
                  <a:pos x="connsiteX3783" y="connsiteY3783"/>
                </a:cxn>
                <a:cxn ang="0">
                  <a:pos x="connsiteX3784" y="connsiteY3784"/>
                </a:cxn>
                <a:cxn ang="0">
                  <a:pos x="connsiteX3785" y="connsiteY3785"/>
                </a:cxn>
                <a:cxn ang="0">
                  <a:pos x="connsiteX3786" y="connsiteY3786"/>
                </a:cxn>
                <a:cxn ang="0">
                  <a:pos x="connsiteX3787" y="connsiteY3787"/>
                </a:cxn>
                <a:cxn ang="0">
                  <a:pos x="connsiteX3788" y="connsiteY3788"/>
                </a:cxn>
                <a:cxn ang="0">
                  <a:pos x="connsiteX3789" y="connsiteY3789"/>
                </a:cxn>
                <a:cxn ang="0">
                  <a:pos x="connsiteX3790" y="connsiteY3790"/>
                </a:cxn>
                <a:cxn ang="0">
                  <a:pos x="connsiteX3791" y="connsiteY3791"/>
                </a:cxn>
                <a:cxn ang="0">
                  <a:pos x="connsiteX3792" y="connsiteY3792"/>
                </a:cxn>
                <a:cxn ang="0">
                  <a:pos x="connsiteX3793" y="connsiteY3793"/>
                </a:cxn>
                <a:cxn ang="0">
                  <a:pos x="connsiteX3794" y="connsiteY3794"/>
                </a:cxn>
                <a:cxn ang="0">
                  <a:pos x="connsiteX3795" y="connsiteY3795"/>
                </a:cxn>
                <a:cxn ang="0">
                  <a:pos x="connsiteX3796" y="connsiteY3796"/>
                </a:cxn>
                <a:cxn ang="0">
                  <a:pos x="connsiteX3797" y="connsiteY3797"/>
                </a:cxn>
                <a:cxn ang="0">
                  <a:pos x="connsiteX3798" y="connsiteY3798"/>
                </a:cxn>
                <a:cxn ang="0">
                  <a:pos x="connsiteX3799" y="connsiteY3799"/>
                </a:cxn>
                <a:cxn ang="0">
                  <a:pos x="connsiteX3800" y="connsiteY3800"/>
                </a:cxn>
                <a:cxn ang="0">
                  <a:pos x="connsiteX3801" y="connsiteY3801"/>
                </a:cxn>
                <a:cxn ang="0">
                  <a:pos x="connsiteX3802" y="connsiteY3802"/>
                </a:cxn>
                <a:cxn ang="0">
                  <a:pos x="connsiteX3803" y="connsiteY3803"/>
                </a:cxn>
                <a:cxn ang="0">
                  <a:pos x="connsiteX3804" y="connsiteY3804"/>
                </a:cxn>
                <a:cxn ang="0">
                  <a:pos x="connsiteX3805" y="connsiteY3805"/>
                </a:cxn>
                <a:cxn ang="0">
                  <a:pos x="connsiteX3806" y="connsiteY3806"/>
                </a:cxn>
                <a:cxn ang="0">
                  <a:pos x="connsiteX3807" y="connsiteY3807"/>
                </a:cxn>
                <a:cxn ang="0">
                  <a:pos x="connsiteX3808" y="connsiteY3808"/>
                </a:cxn>
                <a:cxn ang="0">
                  <a:pos x="connsiteX3809" y="connsiteY3809"/>
                </a:cxn>
                <a:cxn ang="0">
                  <a:pos x="connsiteX3810" y="connsiteY3810"/>
                </a:cxn>
                <a:cxn ang="0">
                  <a:pos x="connsiteX3811" y="connsiteY3811"/>
                </a:cxn>
                <a:cxn ang="0">
                  <a:pos x="connsiteX3812" y="connsiteY3812"/>
                </a:cxn>
                <a:cxn ang="0">
                  <a:pos x="connsiteX3813" y="connsiteY3813"/>
                </a:cxn>
                <a:cxn ang="0">
                  <a:pos x="connsiteX3814" y="connsiteY3814"/>
                </a:cxn>
                <a:cxn ang="0">
                  <a:pos x="connsiteX3815" y="connsiteY3815"/>
                </a:cxn>
                <a:cxn ang="0">
                  <a:pos x="connsiteX3816" y="connsiteY3816"/>
                </a:cxn>
                <a:cxn ang="0">
                  <a:pos x="connsiteX3817" y="connsiteY3817"/>
                </a:cxn>
                <a:cxn ang="0">
                  <a:pos x="connsiteX3818" y="connsiteY3818"/>
                </a:cxn>
                <a:cxn ang="0">
                  <a:pos x="connsiteX3819" y="connsiteY3819"/>
                </a:cxn>
                <a:cxn ang="0">
                  <a:pos x="connsiteX3820" y="connsiteY3820"/>
                </a:cxn>
                <a:cxn ang="0">
                  <a:pos x="connsiteX3821" y="connsiteY3821"/>
                </a:cxn>
                <a:cxn ang="0">
                  <a:pos x="connsiteX3822" y="connsiteY3822"/>
                </a:cxn>
                <a:cxn ang="0">
                  <a:pos x="connsiteX3823" y="connsiteY3823"/>
                </a:cxn>
                <a:cxn ang="0">
                  <a:pos x="connsiteX3824" y="connsiteY3824"/>
                </a:cxn>
                <a:cxn ang="0">
                  <a:pos x="connsiteX3825" y="connsiteY3825"/>
                </a:cxn>
                <a:cxn ang="0">
                  <a:pos x="connsiteX3826" y="connsiteY3826"/>
                </a:cxn>
                <a:cxn ang="0">
                  <a:pos x="connsiteX3827" y="connsiteY3827"/>
                </a:cxn>
                <a:cxn ang="0">
                  <a:pos x="connsiteX3828" y="connsiteY3828"/>
                </a:cxn>
                <a:cxn ang="0">
                  <a:pos x="connsiteX3829" y="connsiteY3829"/>
                </a:cxn>
                <a:cxn ang="0">
                  <a:pos x="connsiteX3830" y="connsiteY3830"/>
                </a:cxn>
                <a:cxn ang="0">
                  <a:pos x="connsiteX3831" y="connsiteY3831"/>
                </a:cxn>
                <a:cxn ang="0">
                  <a:pos x="connsiteX3832" y="connsiteY3832"/>
                </a:cxn>
                <a:cxn ang="0">
                  <a:pos x="connsiteX3833" y="connsiteY3833"/>
                </a:cxn>
                <a:cxn ang="0">
                  <a:pos x="connsiteX3834" y="connsiteY3834"/>
                </a:cxn>
                <a:cxn ang="0">
                  <a:pos x="connsiteX3835" y="connsiteY3835"/>
                </a:cxn>
                <a:cxn ang="0">
                  <a:pos x="connsiteX3836" y="connsiteY3836"/>
                </a:cxn>
                <a:cxn ang="0">
                  <a:pos x="connsiteX3837" y="connsiteY3837"/>
                </a:cxn>
                <a:cxn ang="0">
                  <a:pos x="connsiteX3838" y="connsiteY3838"/>
                </a:cxn>
                <a:cxn ang="0">
                  <a:pos x="connsiteX3839" y="connsiteY3839"/>
                </a:cxn>
                <a:cxn ang="0">
                  <a:pos x="connsiteX3840" y="connsiteY3840"/>
                </a:cxn>
                <a:cxn ang="0">
                  <a:pos x="connsiteX3841" y="connsiteY3841"/>
                </a:cxn>
                <a:cxn ang="0">
                  <a:pos x="connsiteX3842" y="connsiteY3842"/>
                </a:cxn>
                <a:cxn ang="0">
                  <a:pos x="connsiteX3843" y="connsiteY3843"/>
                </a:cxn>
                <a:cxn ang="0">
                  <a:pos x="connsiteX3844" y="connsiteY3844"/>
                </a:cxn>
                <a:cxn ang="0">
                  <a:pos x="connsiteX3845" y="connsiteY3845"/>
                </a:cxn>
                <a:cxn ang="0">
                  <a:pos x="connsiteX3846" y="connsiteY3846"/>
                </a:cxn>
                <a:cxn ang="0">
                  <a:pos x="connsiteX3847" y="connsiteY3847"/>
                </a:cxn>
                <a:cxn ang="0">
                  <a:pos x="connsiteX3848" y="connsiteY3848"/>
                </a:cxn>
                <a:cxn ang="0">
                  <a:pos x="connsiteX3849" y="connsiteY3849"/>
                </a:cxn>
                <a:cxn ang="0">
                  <a:pos x="connsiteX3850" y="connsiteY3850"/>
                </a:cxn>
                <a:cxn ang="0">
                  <a:pos x="connsiteX3851" y="connsiteY3851"/>
                </a:cxn>
                <a:cxn ang="0">
                  <a:pos x="connsiteX3852" y="connsiteY3852"/>
                </a:cxn>
                <a:cxn ang="0">
                  <a:pos x="connsiteX3853" y="connsiteY3853"/>
                </a:cxn>
                <a:cxn ang="0">
                  <a:pos x="connsiteX3854" y="connsiteY3854"/>
                </a:cxn>
                <a:cxn ang="0">
                  <a:pos x="connsiteX3855" y="connsiteY3855"/>
                </a:cxn>
                <a:cxn ang="0">
                  <a:pos x="connsiteX3856" y="connsiteY3856"/>
                </a:cxn>
                <a:cxn ang="0">
                  <a:pos x="connsiteX3857" y="connsiteY3857"/>
                </a:cxn>
                <a:cxn ang="0">
                  <a:pos x="connsiteX3858" y="connsiteY3858"/>
                </a:cxn>
                <a:cxn ang="0">
                  <a:pos x="connsiteX3859" y="connsiteY3859"/>
                </a:cxn>
                <a:cxn ang="0">
                  <a:pos x="connsiteX3860" y="connsiteY3860"/>
                </a:cxn>
                <a:cxn ang="0">
                  <a:pos x="connsiteX3861" y="connsiteY3861"/>
                </a:cxn>
                <a:cxn ang="0">
                  <a:pos x="connsiteX3862" y="connsiteY3862"/>
                </a:cxn>
                <a:cxn ang="0">
                  <a:pos x="connsiteX3863" y="connsiteY3863"/>
                </a:cxn>
                <a:cxn ang="0">
                  <a:pos x="connsiteX3864" y="connsiteY3864"/>
                </a:cxn>
                <a:cxn ang="0">
                  <a:pos x="connsiteX3865" y="connsiteY3865"/>
                </a:cxn>
                <a:cxn ang="0">
                  <a:pos x="connsiteX3866" y="connsiteY3866"/>
                </a:cxn>
                <a:cxn ang="0">
                  <a:pos x="connsiteX3867" y="connsiteY3867"/>
                </a:cxn>
                <a:cxn ang="0">
                  <a:pos x="connsiteX3868" y="connsiteY3868"/>
                </a:cxn>
                <a:cxn ang="0">
                  <a:pos x="connsiteX3869" y="connsiteY3869"/>
                </a:cxn>
                <a:cxn ang="0">
                  <a:pos x="connsiteX3870" y="connsiteY3870"/>
                </a:cxn>
                <a:cxn ang="0">
                  <a:pos x="connsiteX3871" y="connsiteY3871"/>
                </a:cxn>
                <a:cxn ang="0">
                  <a:pos x="connsiteX3872" y="connsiteY3872"/>
                </a:cxn>
                <a:cxn ang="0">
                  <a:pos x="connsiteX3873" y="connsiteY3873"/>
                </a:cxn>
                <a:cxn ang="0">
                  <a:pos x="connsiteX3874" y="connsiteY3874"/>
                </a:cxn>
                <a:cxn ang="0">
                  <a:pos x="connsiteX3875" y="connsiteY3875"/>
                </a:cxn>
                <a:cxn ang="0">
                  <a:pos x="connsiteX3876" y="connsiteY3876"/>
                </a:cxn>
                <a:cxn ang="0">
                  <a:pos x="connsiteX3877" y="connsiteY3877"/>
                </a:cxn>
                <a:cxn ang="0">
                  <a:pos x="connsiteX3878" y="connsiteY3878"/>
                </a:cxn>
                <a:cxn ang="0">
                  <a:pos x="connsiteX3879" y="connsiteY3879"/>
                </a:cxn>
                <a:cxn ang="0">
                  <a:pos x="connsiteX3880" y="connsiteY3880"/>
                </a:cxn>
                <a:cxn ang="0">
                  <a:pos x="connsiteX3881" y="connsiteY3881"/>
                </a:cxn>
                <a:cxn ang="0">
                  <a:pos x="connsiteX3882" y="connsiteY3882"/>
                </a:cxn>
                <a:cxn ang="0">
                  <a:pos x="connsiteX3883" y="connsiteY3883"/>
                </a:cxn>
                <a:cxn ang="0">
                  <a:pos x="connsiteX3884" y="connsiteY3884"/>
                </a:cxn>
                <a:cxn ang="0">
                  <a:pos x="connsiteX3885" y="connsiteY3885"/>
                </a:cxn>
                <a:cxn ang="0">
                  <a:pos x="connsiteX3886" y="connsiteY3886"/>
                </a:cxn>
                <a:cxn ang="0">
                  <a:pos x="connsiteX3887" y="connsiteY3887"/>
                </a:cxn>
                <a:cxn ang="0">
                  <a:pos x="connsiteX3888" y="connsiteY3888"/>
                </a:cxn>
                <a:cxn ang="0">
                  <a:pos x="connsiteX3889" y="connsiteY3889"/>
                </a:cxn>
                <a:cxn ang="0">
                  <a:pos x="connsiteX3890" y="connsiteY3890"/>
                </a:cxn>
                <a:cxn ang="0">
                  <a:pos x="connsiteX3891" y="connsiteY3891"/>
                </a:cxn>
                <a:cxn ang="0">
                  <a:pos x="connsiteX3892" y="connsiteY3892"/>
                </a:cxn>
                <a:cxn ang="0">
                  <a:pos x="connsiteX3893" y="connsiteY3893"/>
                </a:cxn>
                <a:cxn ang="0">
                  <a:pos x="connsiteX3894" y="connsiteY3894"/>
                </a:cxn>
                <a:cxn ang="0">
                  <a:pos x="connsiteX3895" y="connsiteY3895"/>
                </a:cxn>
                <a:cxn ang="0">
                  <a:pos x="connsiteX3896" y="connsiteY3896"/>
                </a:cxn>
                <a:cxn ang="0">
                  <a:pos x="connsiteX3897" y="connsiteY3897"/>
                </a:cxn>
                <a:cxn ang="0">
                  <a:pos x="connsiteX3898" y="connsiteY3898"/>
                </a:cxn>
                <a:cxn ang="0">
                  <a:pos x="connsiteX3899" y="connsiteY3899"/>
                </a:cxn>
                <a:cxn ang="0">
                  <a:pos x="connsiteX3900" y="connsiteY3900"/>
                </a:cxn>
                <a:cxn ang="0">
                  <a:pos x="connsiteX3901" y="connsiteY3901"/>
                </a:cxn>
                <a:cxn ang="0">
                  <a:pos x="connsiteX3902" y="connsiteY3902"/>
                </a:cxn>
                <a:cxn ang="0">
                  <a:pos x="connsiteX3903" y="connsiteY3903"/>
                </a:cxn>
                <a:cxn ang="0">
                  <a:pos x="connsiteX3904" y="connsiteY3904"/>
                </a:cxn>
                <a:cxn ang="0">
                  <a:pos x="connsiteX3905" y="connsiteY3905"/>
                </a:cxn>
                <a:cxn ang="0">
                  <a:pos x="connsiteX3906" y="connsiteY3906"/>
                </a:cxn>
                <a:cxn ang="0">
                  <a:pos x="connsiteX3907" y="connsiteY3907"/>
                </a:cxn>
                <a:cxn ang="0">
                  <a:pos x="connsiteX3908" y="connsiteY3908"/>
                </a:cxn>
                <a:cxn ang="0">
                  <a:pos x="connsiteX3909" y="connsiteY3909"/>
                </a:cxn>
                <a:cxn ang="0">
                  <a:pos x="connsiteX3910" y="connsiteY3910"/>
                </a:cxn>
                <a:cxn ang="0">
                  <a:pos x="connsiteX3911" y="connsiteY3911"/>
                </a:cxn>
                <a:cxn ang="0">
                  <a:pos x="connsiteX3912" y="connsiteY3912"/>
                </a:cxn>
                <a:cxn ang="0">
                  <a:pos x="connsiteX3913" y="connsiteY3913"/>
                </a:cxn>
                <a:cxn ang="0">
                  <a:pos x="connsiteX3914" y="connsiteY3914"/>
                </a:cxn>
                <a:cxn ang="0">
                  <a:pos x="connsiteX3915" y="connsiteY3915"/>
                </a:cxn>
                <a:cxn ang="0">
                  <a:pos x="connsiteX3916" y="connsiteY3916"/>
                </a:cxn>
                <a:cxn ang="0">
                  <a:pos x="connsiteX3917" y="connsiteY3917"/>
                </a:cxn>
                <a:cxn ang="0">
                  <a:pos x="connsiteX3918" y="connsiteY3918"/>
                </a:cxn>
                <a:cxn ang="0">
                  <a:pos x="connsiteX3919" y="connsiteY3919"/>
                </a:cxn>
                <a:cxn ang="0">
                  <a:pos x="connsiteX3920" y="connsiteY3920"/>
                </a:cxn>
                <a:cxn ang="0">
                  <a:pos x="connsiteX3921" y="connsiteY3921"/>
                </a:cxn>
                <a:cxn ang="0">
                  <a:pos x="connsiteX3922" y="connsiteY3922"/>
                </a:cxn>
                <a:cxn ang="0">
                  <a:pos x="connsiteX3923" y="connsiteY3923"/>
                </a:cxn>
                <a:cxn ang="0">
                  <a:pos x="connsiteX3924" y="connsiteY3924"/>
                </a:cxn>
                <a:cxn ang="0">
                  <a:pos x="connsiteX3925" y="connsiteY3925"/>
                </a:cxn>
                <a:cxn ang="0">
                  <a:pos x="connsiteX3926" y="connsiteY3926"/>
                </a:cxn>
                <a:cxn ang="0">
                  <a:pos x="connsiteX3927" y="connsiteY3927"/>
                </a:cxn>
                <a:cxn ang="0">
                  <a:pos x="connsiteX3928" y="connsiteY3928"/>
                </a:cxn>
                <a:cxn ang="0">
                  <a:pos x="connsiteX3929" y="connsiteY3929"/>
                </a:cxn>
                <a:cxn ang="0">
                  <a:pos x="connsiteX3930" y="connsiteY3930"/>
                </a:cxn>
                <a:cxn ang="0">
                  <a:pos x="connsiteX3931" y="connsiteY3931"/>
                </a:cxn>
                <a:cxn ang="0">
                  <a:pos x="connsiteX3932" y="connsiteY3932"/>
                </a:cxn>
                <a:cxn ang="0">
                  <a:pos x="connsiteX3933" y="connsiteY3933"/>
                </a:cxn>
                <a:cxn ang="0">
                  <a:pos x="connsiteX3934" y="connsiteY3934"/>
                </a:cxn>
                <a:cxn ang="0">
                  <a:pos x="connsiteX3935" y="connsiteY3935"/>
                </a:cxn>
                <a:cxn ang="0">
                  <a:pos x="connsiteX3936" y="connsiteY3936"/>
                </a:cxn>
                <a:cxn ang="0">
                  <a:pos x="connsiteX3937" y="connsiteY3937"/>
                </a:cxn>
                <a:cxn ang="0">
                  <a:pos x="connsiteX3938" y="connsiteY3938"/>
                </a:cxn>
                <a:cxn ang="0">
                  <a:pos x="connsiteX3939" y="connsiteY3939"/>
                </a:cxn>
                <a:cxn ang="0">
                  <a:pos x="connsiteX3940" y="connsiteY3940"/>
                </a:cxn>
                <a:cxn ang="0">
                  <a:pos x="connsiteX3941" y="connsiteY3941"/>
                </a:cxn>
                <a:cxn ang="0">
                  <a:pos x="connsiteX3942" y="connsiteY3942"/>
                </a:cxn>
                <a:cxn ang="0">
                  <a:pos x="connsiteX3943" y="connsiteY3943"/>
                </a:cxn>
                <a:cxn ang="0">
                  <a:pos x="connsiteX3944" y="connsiteY3944"/>
                </a:cxn>
                <a:cxn ang="0">
                  <a:pos x="connsiteX3945" y="connsiteY3945"/>
                </a:cxn>
                <a:cxn ang="0">
                  <a:pos x="connsiteX3946" y="connsiteY3946"/>
                </a:cxn>
                <a:cxn ang="0">
                  <a:pos x="connsiteX3947" y="connsiteY3947"/>
                </a:cxn>
                <a:cxn ang="0">
                  <a:pos x="connsiteX3948" y="connsiteY3948"/>
                </a:cxn>
                <a:cxn ang="0">
                  <a:pos x="connsiteX3949" y="connsiteY3949"/>
                </a:cxn>
                <a:cxn ang="0">
                  <a:pos x="connsiteX3950" y="connsiteY3950"/>
                </a:cxn>
                <a:cxn ang="0">
                  <a:pos x="connsiteX3951" y="connsiteY3951"/>
                </a:cxn>
                <a:cxn ang="0">
                  <a:pos x="connsiteX3952" y="connsiteY3952"/>
                </a:cxn>
                <a:cxn ang="0">
                  <a:pos x="connsiteX3953" y="connsiteY3953"/>
                </a:cxn>
                <a:cxn ang="0">
                  <a:pos x="connsiteX3954" y="connsiteY3954"/>
                </a:cxn>
                <a:cxn ang="0">
                  <a:pos x="connsiteX3955" y="connsiteY3955"/>
                </a:cxn>
                <a:cxn ang="0">
                  <a:pos x="connsiteX3956" y="connsiteY3956"/>
                </a:cxn>
                <a:cxn ang="0">
                  <a:pos x="connsiteX3957" y="connsiteY3957"/>
                </a:cxn>
                <a:cxn ang="0">
                  <a:pos x="connsiteX3958" y="connsiteY3958"/>
                </a:cxn>
                <a:cxn ang="0">
                  <a:pos x="connsiteX3959" y="connsiteY3959"/>
                </a:cxn>
                <a:cxn ang="0">
                  <a:pos x="connsiteX3960" y="connsiteY3960"/>
                </a:cxn>
                <a:cxn ang="0">
                  <a:pos x="connsiteX3961" y="connsiteY3961"/>
                </a:cxn>
                <a:cxn ang="0">
                  <a:pos x="connsiteX3962" y="connsiteY3962"/>
                </a:cxn>
                <a:cxn ang="0">
                  <a:pos x="connsiteX3963" y="connsiteY3963"/>
                </a:cxn>
                <a:cxn ang="0">
                  <a:pos x="connsiteX3964" y="connsiteY3964"/>
                </a:cxn>
                <a:cxn ang="0">
                  <a:pos x="connsiteX3965" y="connsiteY3965"/>
                </a:cxn>
                <a:cxn ang="0">
                  <a:pos x="connsiteX3966" y="connsiteY3966"/>
                </a:cxn>
                <a:cxn ang="0">
                  <a:pos x="connsiteX3967" y="connsiteY3967"/>
                </a:cxn>
                <a:cxn ang="0">
                  <a:pos x="connsiteX3968" y="connsiteY3968"/>
                </a:cxn>
                <a:cxn ang="0">
                  <a:pos x="connsiteX3969" y="connsiteY3969"/>
                </a:cxn>
                <a:cxn ang="0">
                  <a:pos x="connsiteX3970" y="connsiteY3970"/>
                </a:cxn>
                <a:cxn ang="0">
                  <a:pos x="connsiteX3971" y="connsiteY3971"/>
                </a:cxn>
                <a:cxn ang="0">
                  <a:pos x="connsiteX3972" y="connsiteY3972"/>
                </a:cxn>
                <a:cxn ang="0">
                  <a:pos x="connsiteX3973" y="connsiteY3973"/>
                </a:cxn>
                <a:cxn ang="0">
                  <a:pos x="connsiteX3974" y="connsiteY3974"/>
                </a:cxn>
                <a:cxn ang="0">
                  <a:pos x="connsiteX3975" y="connsiteY3975"/>
                </a:cxn>
                <a:cxn ang="0">
                  <a:pos x="connsiteX3976" y="connsiteY3976"/>
                </a:cxn>
                <a:cxn ang="0">
                  <a:pos x="connsiteX3977" y="connsiteY3977"/>
                </a:cxn>
                <a:cxn ang="0">
                  <a:pos x="connsiteX3978" y="connsiteY3978"/>
                </a:cxn>
                <a:cxn ang="0">
                  <a:pos x="connsiteX3979" y="connsiteY3979"/>
                </a:cxn>
                <a:cxn ang="0">
                  <a:pos x="connsiteX3980" y="connsiteY3980"/>
                </a:cxn>
                <a:cxn ang="0">
                  <a:pos x="connsiteX3981" y="connsiteY3981"/>
                </a:cxn>
                <a:cxn ang="0">
                  <a:pos x="connsiteX3982" y="connsiteY3982"/>
                </a:cxn>
                <a:cxn ang="0">
                  <a:pos x="connsiteX3983" y="connsiteY3983"/>
                </a:cxn>
                <a:cxn ang="0">
                  <a:pos x="connsiteX3984" y="connsiteY3984"/>
                </a:cxn>
                <a:cxn ang="0">
                  <a:pos x="connsiteX3985" y="connsiteY3985"/>
                </a:cxn>
                <a:cxn ang="0">
                  <a:pos x="connsiteX3986" y="connsiteY3986"/>
                </a:cxn>
                <a:cxn ang="0">
                  <a:pos x="connsiteX3987" y="connsiteY3987"/>
                </a:cxn>
                <a:cxn ang="0">
                  <a:pos x="connsiteX3988" y="connsiteY3988"/>
                </a:cxn>
                <a:cxn ang="0">
                  <a:pos x="connsiteX3989" y="connsiteY3989"/>
                </a:cxn>
                <a:cxn ang="0">
                  <a:pos x="connsiteX3990" y="connsiteY3990"/>
                </a:cxn>
                <a:cxn ang="0">
                  <a:pos x="connsiteX3991" y="connsiteY3991"/>
                </a:cxn>
                <a:cxn ang="0">
                  <a:pos x="connsiteX3992" y="connsiteY3992"/>
                </a:cxn>
                <a:cxn ang="0">
                  <a:pos x="connsiteX3993" y="connsiteY3993"/>
                </a:cxn>
                <a:cxn ang="0">
                  <a:pos x="connsiteX3994" y="connsiteY3994"/>
                </a:cxn>
                <a:cxn ang="0">
                  <a:pos x="connsiteX3995" y="connsiteY3995"/>
                </a:cxn>
                <a:cxn ang="0">
                  <a:pos x="connsiteX3996" y="connsiteY3996"/>
                </a:cxn>
                <a:cxn ang="0">
                  <a:pos x="connsiteX3997" y="connsiteY3997"/>
                </a:cxn>
                <a:cxn ang="0">
                  <a:pos x="connsiteX3998" y="connsiteY3998"/>
                </a:cxn>
                <a:cxn ang="0">
                  <a:pos x="connsiteX3999" y="connsiteY3999"/>
                </a:cxn>
                <a:cxn ang="0">
                  <a:pos x="connsiteX4000" y="connsiteY4000"/>
                </a:cxn>
                <a:cxn ang="0">
                  <a:pos x="connsiteX4001" y="connsiteY4001"/>
                </a:cxn>
                <a:cxn ang="0">
                  <a:pos x="connsiteX4002" y="connsiteY4002"/>
                </a:cxn>
                <a:cxn ang="0">
                  <a:pos x="connsiteX4003" y="connsiteY4003"/>
                </a:cxn>
                <a:cxn ang="0">
                  <a:pos x="connsiteX4004" y="connsiteY4004"/>
                </a:cxn>
                <a:cxn ang="0">
                  <a:pos x="connsiteX4005" y="connsiteY4005"/>
                </a:cxn>
                <a:cxn ang="0">
                  <a:pos x="connsiteX4006" y="connsiteY4006"/>
                </a:cxn>
                <a:cxn ang="0">
                  <a:pos x="connsiteX4007" y="connsiteY4007"/>
                </a:cxn>
                <a:cxn ang="0">
                  <a:pos x="connsiteX4008" y="connsiteY4008"/>
                </a:cxn>
                <a:cxn ang="0">
                  <a:pos x="connsiteX4009" y="connsiteY4009"/>
                </a:cxn>
                <a:cxn ang="0">
                  <a:pos x="connsiteX4010" y="connsiteY4010"/>
                </a:cxn>
                <a:cxn ang="0">
                  <a:pos x="connsiteX4011" y="connsiteY4011"/>
                </a:cxn>
                <a:cxn ang="0">
                  <a:pos x="connsiteX4012" y="connsiteY4012"/>
                </a:cxn>
                <a:cxn ang="0">
                  <a:pos x="connsiteX4013" y="connsiteY4013"/>
                </a:cxn>
                <a:cxn ang="0">
                  <a:pos x="connsiteX4014" y="connsiteY4014"/>
                </a:cxn>
                <a:cxn ang="0">
                  <a:pos x="connsiteX4015" y="connsiteY4015"/>
                </a:cxn>
                <a:cxn ang="0">
                  <a:pos x="connsiteX4016" y="connsiteY4016"/>
                </a:cxn>
                <a:cxn ang="0">
                  <a:pos x="connsiteX4017" y="connsiteY4017"/>
                </a:cxn>
                <a:cxn ang="0">
                  <a:pos x="connsiteX4018" y="connsiteY4018"/>
                </a:cxn>
                <a:cxn ang="0">
                  <a:pos x="connsiteX4019" y="connsiteY4019"/>
                </a:cxn>
                <a:cxn ang="0">
                  <a:pos x="connsiteX4020" y="connsiteY4020"/>
                </a:cxn>
                <a:cxn ang="0">
                  <a:pos x="connsiteX4021" y="connsiteY4021"/>
                </a:cxn>
                <a:cxn ang="0">
                  <a:pos x="connsiteX4022" y="connsiteY4022"/>
                </a:cxn>
                <a:cxn ang="0">
                  <a:pos x="connsiteX4023" y="connsiteY4023"/>
                </a:cxn>
                <a:cxn ang="0">
                  <a:pos x="connsiteX4024" y="connsiteY4024"/>
                </a:cxn>
                <a:cxn ang="0">
                  <a:pos x="connsiteX4025" y="connsiteY4025"/>
                </a:cxn>
                <a:cxn ang="0">
                  <a:pos x="connsiteX4026" y="connsiteY4026"/>
                </a:cxn>
                <a:cxn ang="0">
                  <a:pos x="connsiteX4027" y="connsiteY4027"/>
                </a:cxn>
                <a:cxn ang="0">
                  <a:pos x="connsiteX4028" y="connsiteY4028"/>
                </a:cxn>
                <a:cxn ang="0">
                  <a:pos x="connsiteX4029" y="connsiteY4029"/>
                </a:cxn>
                <a:cxn ang="0">
                  <a:pos x="connsiteX4030" y="connsiteY4030"/>
                </a:cxn>
                <a:cxn ang="0">
                  <a:pos x="connsiteX4031" y="connsiteY4031"/>
                </a:cxn>
                <a:cxn ang="0">
                  <a:pos x="connsiteX4032" y="connsiteY4032"/>
                </a:cxn>
                <a:cxn ang="0">
                  <a:pos x="connsiteX4033" y="connsiteY4033"/>
                </a:cxn>
                <a:cxn ang="0">
                  <a:pos x="connsiteX4034" y="connsiteY4034"/>
                </a:cxn>
                <a:cxn ang="0">
                  <a:pos x="connsiteX4035" y="connsiteY4035"/>
                </a:cxn>
                <a:cxn ang="0">
                  <a:pos x="connsiteX4036" y="connsiteY4036"/>
                </a:cxn>
                <a:cxn ang="0">
                  <a:pos x="connsiteX4037" y="connsiteY4037"/>
                </a:cxn>
                <a:cxn ang="0">
                  <a:pos x="connsiteX4038" y="connsiteY4038"/>
                </a:cxn>
                <a:cxn ang="0">
                  <a:pos x="connsiteX4039" y="connsiteY4039"/>
                </a:cxn>
                <a:cxn ang="0">
                  <a:pos x="connsiteX4040" y="connsiteY4040"/>
                </a:cxn>
                <a:cxn ang="0">
                  <a:pos x="connsiteX4041" y="connsiteY4041"/>
                </a:cxn>
                <a:cxn ang="0">
                  <a:pos x="connsiteX4042" y="connsiteY4042"/>
                </a:cxn>
                <a:cxn ang="0">
                  <a:pos x="connsiteX4043" y="connsiteY4043"/>
                </a:cxn>
                <a:cxn ang="0">
                  <a:pos x="connsiteX4044" y="connsiteY4044"/>
                </a:cxn>
                <a:cxn ang="0">
                  <a:pos x="connsiteX4045" y="connsiteY4045"/>
                </a:cxn>
                <a:cxn ang="0">
                  <a:pos x="connsiteX4046" y="connsiteY4046"/>
                </a:cxn>
                <a:cxn ang="0">
                  <a:pos x="connsiteX4047" y="connsiteY4047"/>
                </a:cxn>
                <a:cxn ang="0">
                  <a:pos x="connsiteX4048" y="connsiteY4048"/>
                </a:cxn>
                <a:cxn ang="0">
                  <a:pos x="connsiteX4049" y="connsiteY4049"/>
                </a:cxn>
                <a:cxn ang="0">
                  <a:pos x="connsiteX4050" y="connsiteY4050"/>
                </a:cxn>
                <a:cxn ang="0">
                  <a:pos x="connsiteX4051" y="connsiteY4051"/>
                </a:cxn>
                <a:cxn ang="0">
                  <a:pos x="connsiteX4052" y="connsiteY4052"/>
                </a:cxn>
                <a:cxn ang="0">
                  <a:pos x="connsiteX4053" y="connsiteY4053"/>
                </a:cxn>
                <a:cxn ang="0">
                  <a:pos x="connsiteX4054" y="connsiteY4054"/>
                </a:cxn>
                <a:cxn ang="0">
                  <a:pos x="connsiteX4055" y="connsiteY4055"/>
                </a:cxn>
                <a:cxn ang="0">
                  <a:pos x="connsiteX4056" y="connsiteY4056"/>
                </a:cxn>
                <a:cxn ang="0">
                  <a:pos x="connsiteX4057" y="connsiteY4057"/>
                </a:cxn>
                <a:cxn ang="0">
                  <a:pos x="connsiteX4058" y="connsiteY4058"/>
                </a:cxn>
                <a:cxn ang="0">
                  <a:pos x="connsiteX4059" y="connsiteY4059"/>
                </a:cxn>
                <a:cxn ang="0">
                  <a:pos x="connsiteX4060" y="connsiteY4060"/>
                </a:cxn>
                <a:cxn ang="0">
                  <a:pos x="connsiteX4061" y="connsiteY4061"/>
                </a:cxn>
                <a:cxn ang="0">
                  <a:pos x="connsiteX4062" y="connsiteY4062"/>
                </a:cxn>
                <a:cxn ang="0">
                  <a:pos x="connsiteX4063" y="connsiteY4063"/>
                </a:cxn>
                <a:cxn ang="0">
                  <a:pos x="connsiteX4064" y="connsiteY4064"/>
                </a:cxn>
                <a:cxn ang="0">
                  <a:pos x="connsiteX4065" y="connsiteY4065"/>
                </a:cxn>
                <a:cxn ang="0">
                  <a:pos x="connsiteX4066" y="connsiteY4066"/>
                </a:cxn>
                <a:cxn ang="0">
                  <a:pos x="connsiteX4067" y="connsiteY4067"/>
                </a:cxn>
                <a:cxn ang="0">
                  <a:pos x="connsiteX4068" y="connsiteY4068"/>
                </a:cxn>
                <a:cxn ang="0">
                  <a:pos x="connsiteX4069" y="connsiteY4069"/>
                </a:cxn>
                <a:cxn ang="0">
                  <a:pos x="connsiteX4070" y="connsiteY4070"/>
                </a:cxn>
                <a:cxn ang="0">
                  <a:pos x="connsiteX4071" y="connsiteY4071"/>
                </a:cxn>
                <a:cxn ang="0">
                  <a:pos x="connsiteX4072" y="connsiteY4072"/>
                </a:cxn>
                <a:cxn ang="0">
                  <a:pos x="connsiteX4073" y="connsiteY4073"/>
                </a:cxn>
                <a:cxn ang="0">
                  <a:pos x="connsiteX4074" y="connsiteY4074"/>
                </a:cxn>
                <a:cxn ang="0">
                  <a:pos x="connsiteX4075" y="connsiteY4075"/>
                </a:cxn>
                <a:cxn ang="0">
                  <a:pos x="connsiteX4076" y="connsiteY4076"/>
                </a:cxn>
                <a:cxn ang="0">
                  <a:pos x="connsiteX4077" y="connsiteY4077"/>
                </a:cxn>
                <a:cxn ang="0">
                  <a:pos x="connsiteX4078" y="connsiteY4078"/>
                </a:cxn>
                <a:cxn ang="0">
                  <a:pos x="connsiteX4079" y="connsiteY4079"/>
                </a:cxn>
                <a:cxn ang="0">
                  <a:pos x="connsiteX4080" y="connsiteY4080"/>
                </a:cxn>
                <a:cxn ang="0">
                  <a:pos x="connsiteX4081" y="connsiteY4081"/>
                </a:cxn>
                <a:cxn ang="0">
                  <a:pos x="connsiteX4082" y="connsiteY4082"/>
                </a:cxn>
                <a:cxn ang="0">
                  <a:pos x="connsiteX4083" y="connsiteY4083"/>
                </a:cxn>
                <a:cxn ang="0">
                  <a:pos x="connsiteX4084" y="connsiteY4084"/>
                </a:cxn>
                <a:cxn ang="0">
                  <a:pos x="connsiteX4085" y="connsiteY4085"/>
                </a:cxn>
                <a:cxn ang="0">
                  <a:pos x="connsiteX4086" y="connsiteY4086"/>
                </a:cxn>
                <a:cxn ang="0">
                  <a:pos x="connsiteX4087" y="connsiteY4087"/>
                </a:cxn>
                <a:cxn ang="0">
                  <a:pos x="connsiteX4088" y="connsiteY4088"/>
                </a:cxn>
                <a:cxn ang="0">
                  <a:pos x="connsiteX4089" y="connsiteY4089"/>
                </a:cxn>
                <a:cxn ang="0">
                  <a:pos x="connsiteX4090" y="connsiteY4090"/>
                </a:cxn>
                <a:cxn ang="0">
                  <a:pos x="connsiteX4091" y="connsiteY4091"/>
                </a:cxn>
                <a:cxn ang="0">
                  <a:pos x="connsiteX4092" y="connsiteY4092"/>
                </a:cxn>
                <a:cxn ang="0">
                  <a:pos x="connsiteX4093" y="connsiteY4093"/>
                </a:cxn>
                <a:cxn ang="0">
                  <a:pos x="connsiteX4094" y="connsiteY4094"/>
                </a:cxn>
                <a:cxn ang="0">
                  <a:pos x="connsiteX4095" y="connsiteY4095"/>
                </a:cxn>
                <a:cxn ang="0">
                  <a:pos x="connsiteX4096" y="connsiteY4096"/>
                </a:cxn>
                <a:cxn ang="0">
                  <a:pos x="connsiteX4097" y="connsiteY4097"/>
                </a:cxn>
                <a:cxn ang="0">
                  <a:pos x="connsiteX4098" y="connsiteY4098"/>
                </a:cxn>
                <a:cxn ang="0">
                  <a:pos x="connsiteX4099" y="connsiteY4099"/>
                </a:cxn>
                <a:cxn ang="0">
                  <a:pos x="connsiteX4100" y="connsiteY4100"/>
                </a:cxn>
                <a:cxn ang="0">
                  <a:pos x="connsiteX4101" y="connsiteY4101"/>
                </a:cxn>
                <a:cxn ang="0">
                  <a:pos x="connsiteX4102" y="connsiteY4102"/>
                </a:cxn>
                <a:cxn ang="0">
                  <a:pos x="connsiteX4103" y="connsiteY4103"/>
                </a:cxn>
                <a:cxn ang="0">
                  <a:pos x="connsiteX4104" y="connsiteY4104"/>
                </a:cxn>
                <a:cxn ang="0">
                  <a:pos x="connsiteX4105" y="connsiteY4105"/>
                </a:cxn>
                <a:cxn ang="0">
                  <a:pos x="connsiteX4106" y="connsiteY4106"/>
                </a:cxn>
                <a:cxn ang="0">
                  <a:pos x="connsiteX4107" y="connsiteY4107"/>
                </a:cxn>
                <a:cxn ang="0">
                  <a:pos x="connsiteX4108" y="connsiteY4108"/>
                </a:cxn>
                <a:cxn ang="0">
                  <a:pos x="connsiteX4109" y="connsiteY4109"/>
                </a:cxn>
                <a:cxn ang="0">
                  <a:pos x="connsiteX4110" y="connsiteY4110"/>
                </a:cxn>
                <a:cxn ang="0">
                  <a:pos x="connsiteX4111" y="connsiteY4111"/>
                </a:cxn>
                <a:cxn ang="0">
                  <a:pos x="connsiteX4112" y="connsiteY4112"/>
                </a:cxn>
                <a:cxn ang="0">
                  <a:pos x="connsiteX4113" y="connsiteY4113"/>
                </a:cxn>
                <a:cxn ang="0">
                  <a:pos x="connsiteX4114" y="connsiteY4114"/>
                </a:cxn>
                <a:cxn ang="0">
                  <a:pos x="connsiteX4115" y="connsiteY4115"/>
                </a:cxn>
                <a:cxn ang="0">
                  <a:pos x="connsiteX4116" y="connsiteY4116"/>
                </a:cxn>
                <a:cxn ang="0">
                  <a:pos x="connsiteX4117" y="connsiteY4117"/>
                </a:cxn>
                <a:cxn ang="0">
                  <a:pos x="connsiteX4118" y="connsiteY4118"/>
                </a:cxn>
                <a:cxn ang="0">
                  <a:pos x="connsiteX4119" y="connsiteY4119"/>
                </a:cxn>
                <a:cxn ang="0">
                  <a:pos x="connsiteX4120" y="connsiteY4120"/>
                </a:cxn>
                <a:cxn ang="0">
                  <a:pos x="connsiteX4121" y="connsiteY4121"/>
                </a:cxn>
                <a:cxn ang="0">
                  <a:pos x="connsiteX4122" y="connsiteY4122"/>
                </a:cxn>
                <a:cxn ang="0">
                  <a:pos x="connsiteX4123" y="connsiteY4123"/>
                </a:cxn>
                <a:cxn ang="0">
                  <a:pos x="connsiteX4124" y="connsiteY4124"/>
                </a:cxn>
                <a:cxn ang="0">
                  <a:pos x="connsiteX4125" y="connsiteY4125"/>
                </a:cxn>
                <a:cxn ang="0">
                  <a:pos x="connsiteX4126" y="connsiteY4126"/>
                </a:cxn>
                <a:cxn ang="0">
                  <a:pos x="connsiteX4127" y="connsiteY4127"/>
                </a:cxn>
                <a:cxn ang="0">
                  <a:pos x="connsiteX4128" y="connsiteY4128"/>
                </a:cxn>
                <a:cxn ang="0">
                  <a:pos x="connsiteX4129" y="connsiteY4129"/>
                </a:cxn>
                <a:cxn ang="0">
                  <a:pos x="connsiteX4130" y="connsiteY4130"/>
                </a:cxn>
                <a:cxn ang="0">
                  <a:pos x="connsiteX4131" y="connsiteY4131"/>
                </a:cxn>
                <a:cxn ang="0">
                  <a:pos x="connsiteX4132" y="connsiteY4132"/>
                </a:cxn>
                <a:cxn ang="0">
                  <a:pos x="connsiteX4133" y="connsiteY4133"/>
                </a:cxn>
                <a:cxn ang="0">
                  <a:pos x="connsiteX4134" y="connsiteY4134"/>
                </a:cxn>
                <a:cxn ang="0">
                  <a:pos x="connsiteX4135" y="connsiteY4135"/>
                </a:cxn>
                <a:cxn ang="0">
                  <a:pos x="connsiteX4136" y="connsiteY4136"/>
                </a:cxn>
                <a:cxn ang="0">
                  <a:pos x="connsiteX4137" y="connsiteY4137"/>
                </a:cxn>
                <a:cxn ang="0">
                  <a:pos x="connsiteX4138" y="connsiteY4138"/>
                </a:cxn>
                <a:cxn ang="0">
                  <a:pos x="connsiteX4139" y="connsiteY4139"/>
                </a:cxn>
                <a:cxn ang="0">
                  <a:pos x="connsiteX4140" y="connsiteY4140"/>
                </a:cxn>
                <a:cxn ang="0">
                  <a:pos x="connsiteX4141" y="connsiteY4141"/>
                </a:cxn>
                <a:cxn ang="0">
                  <a:pos x="connsiteX4142" y="connsiteY4142"/>
                </a:cxn>
                <a:cxn ang="0">
                  <a:pos x="connsiteX4143" y="connsiteY4143"/>
                </a:cxn>
                <a:cxn ang="0">
                  <a:pos x="connsiteX4144" y="connsiteY4144"/>
                </a:cxn>
                <a:cxn ang="0">
                  <a:pos x="connsiteX4145" y="connsiteY4145"/>
                </a:cxn>
                <a:cxn ang="0">
                  <a:pos x="connsiteX4146" y="connsiteY4146"/>
                </a:cxn>
                <a:cxn ang="0">
                  <a:pos x="connsiteX4147" y="connsiteY4147"/>
                </a:cxn>
                <a:cxn ang="0">
                  <a:pos x="connsiteX4148" y="connsiteY4148"/>
                </a:cxn>
                <a:cxn ang="0">
                  <a:pos x="connsiteX4149" y="connsiteY4149"/>
                </a:cxn>
                <a:cxn ang="0">
                  <a:pos x="connsiteX4150" y="connsiteY4150"/>
                </a:cxn>
                <a:cxn ang="0">
                  <a:pos x="connsiteX4151" y="connsiteY4151"/>
                </a:cxn>
                <a:cxn ang="0">
                  <a:pos x="connsiteX4152" y="connsiteY4152"/>
                </a:cxn>
                <a:cxn ang="0">
                  <a:pos x="connsiteX4153" y="connsiteY4153"/>
                </a:cxn>
                <a:cxn ang="0">
                  <a:pos x="connsiteX4154" y="connsiteY4154"/>
                </a:cxn>
                <a:cxn ang="0">
                  <a:pos x="connsiteX4155" y="connsiteY4155"/>
                </a:cxn>
                <a:cxn ang="0">
                  <a:pos x="connsiteX4156" y="connsiteY4156"/>
                </a:cxn>
                <a:cxn ang="0">
                  <a:pos x="connsiteX4157" y="connsiteY4157"/>
                </a:cxn>
                <a:cxn ang="0">
                  <a:pos x="connsiteX4158" y="connsiteY4158"/>
                </a:cxn>
                <a:cxn ang="0">
                  <a:pos x="connsiteX4159" y="connsiteY4159"/>
                </a:cxn>
                <a:cxn ang="0">
                  <a:pos x="connsiteX4160" y="connsiteY4160"/>
                </a:cxn>
                <a:cxn ang="0">
                  <a:pos x="connsiteX4161" y="connsiteY4161"/>
                </a:cxn>
                <a:cxn ang="0">
                  <a:pos x="connsiteX4162" y="connsiteY4162"/>
                </a:cxn>
                <a:cxn ang="0">
                  <a:pos x="connsiteX4163" y="connsiteY4163"/>
                </a:cxn>
                <a:cxn ang="0">
                  <a:pos x="connsiteX4164" y="connsiteY4164"/>
                </a:cxn>
                <a:cxn ang="0">
                  <a:pos x="connsiteX4165" y="connsiteY4165"/>
                </a:cxn>
                <a:cxn ang="0">
                  <a:pos x="connsiteX4166" y="connsiteY4166"/>
                </a:cxn>
                <a:cxn ang="0">
                  <a:pos x="connsiteX4167" y="connsiteY4167"/>
                </a:cxn>
                <a:cxn ang="0">
                  <a:pos x="connsiteX4168" y="connsiteY4168"/>
                </a:cxn>
                <a:cxn ang="0">
                  <a:pos x="connsiteX4169" y="connsiteY4169"/>
                </a:cxn>
                <a:cxn ang="0">
                  <a:pos x="connsiteX4170" y="connsiteY4170"/>
                </a:cxn>
                <a:cxn ang="0">
                  <a:pos x="connsiteX4171" y="connsiteY4171"/>
                </a:cxn>
                <a:cxn ang="0">
                  <a:pos x="connsiteX4172" y="connsiteY4172"/>
                </a:cxn>
                <a:cxn ang="0">
                  <a:pos x="connsiteX4173" y="connsiteY4173"/>
                </a:cxn>
                <a:cxn ang="0">
                  <a:pos x="connsiteX4174" y="connsiteY4174"/>
                </a:cxn>
                <a:cxn ang="0">
                  <a:pos x="connsiteX4175" y="connsiteY4175"/>
                </a:cxn>
                <a:cxn ang="0">
                  <a:pos x="connsiteX4176" y="connsiteY4176"/>
                </a:cxn>
                <a:cxn ang="0">
                  <a:pos x="connsiteX4177" y="connsiteY4177"/>
                </a:cxn>
                <a:cxn ang="0">
                  <a:pos x="connsiteX4178" y="connsiteY4178"/>
                </a:cxn>
                <a:cxn ang="0">
                  <a:pos x="connsiteX4179" y="connsiteY4179"/>
                </a:cxn>
                <a:cxn ang="0">
                  <a:pos x="connsiteX4180" y="connsiteY4180"/>
                </a:cxn>
                <a:cxn ang="0">
                  <a:pos x="connsiteX4181" y="connsiteY4181"/>
                </a:cxn>
                <a:cxn ang="0">
                  <a:pos x="connsiteX4182" y="connsiteY4182"/>
                </a:cxn>
                <a:cxn ang="0">
                  <a:pos x="connsiteX4183" y="connsiteY4183"/>
                </a:cxn>
                <a:cxn ang="0">
                  <a:pos x="connsiteX4184" y="connsiteY4184"/>
                </a:cxn>
                <a:cxn ang="0">
                  <a:pos x="connsiteX4185" y="connsiteY4185"/>
                </a:cxn>
                <a:cxn ang="0">
                  <a:pos x="connsiteX4186" y="connsiteY4186"/>
                </a:cxn>
                <a:cxn ang="0">
                  <a:pos x="connsiteX4187" y="connsiteY4187"/>
                </a:cxn>
                <a:cxn ang="0">
                  <a:pos x="connsiteX4188" y="connsiteY4188"/>
                </a:cxn>
                <a:cxn ang="0">
                  <a:pos x="connsiteX4189" y="connsiteY4189"/>
                </a:cxn>
                <a:cxn ang="0">
                  <a:pos x="connsiteX4190" y="connsiteY4190"/>
                </a:cxn>
                <a:cxn ang="0">
                  <a:pos x="connsiteX4191" y="connsiteY4191"/>
                </a:cxn>
                <a:cxn ang="0">
                  <a:pos x="connsiteX4192" y="connsiteY4192"/>
                </a:cxn>
                <a:cxn ang="0">
                  <a:pos x="connsiteX4193" y="connsiteY4193"/>
                </a:cxn>
                <a:cxn ang="0">
                  <a:pos x="connsiteX4194" y="connsiteY4194"/>
                </a:cxn>
                <a:cxn ang="0">
                  <a:pos x="connsiteX4195" y="connsiteY4195"/>
                </a:cxn>
                <a:cxn ang="0">
                  <a:pos x="connsiteX4196" y="connsiteY4196"/>
                </a:cxn>
                <a:cxn ang="0">
                  <a:pos x="connsiteX4197" y="connsiteY4197"/>
                </a:cxn>
                <a:cxn ang="0">
                  <a:pos x="connsiteX4198" y="connsiteY4198"/>
                </a:cxn>
                <a:cxn ang="0">
                  <a:pos x="connsiteX4199" y="connsiteY4199"/>
                </a:cxn>
                <a:cxn ang="0">
                  <a:pos x="connsiteX4200" y="connsiteY4200"/>
                </a:cxn>
                <a:cxn ang="0">
                  <a:pos x="connsiteX4201" y="connsiteY4201"/>
                </a:cxn>
                <a:cxn ang="0">
                  <a:pos x="connsiteX4202" y="connsiteY4202"/>
                </a:cxn>
                <a:cxn ang="0">
                  <a:pos x="connsiteX4203" y="connsiteY4203"/>
                </a:cxn>
                <a:cxn ang="0">
                  <a:pos x="connsiteX4204" y="connsiteY4204"/>
                </a:cxn>
                <a:cxn ang="0">
                  <a:pos x="connsiteX4205" y="connsiteY4205"/>
                </a:cxn>
                <a:cxn ang="0">
                  <a:pos x="connsiteX4206" y="connsiteY4206"/>
                </a:cxn>
                <a:cxn ang="0">
                  <a:pos x="connsiteX4207" y="connsiteY4207"/>
                </a:cxn>
                <a:cxn ang="0">
                  <a:pos x="connsiteX4208" y="connsiteY4208"/>
                </a:cxn>
                <a:cxn ang="0">
                  <a:pos x="connsiteX4209" y="connsiteY4209"/>
                </a:cxn>
                <a:cxn ang="0">
                  <a:pos x="connsiteX4210" y="connsiteY4210"/>
                </a:cxn>
                <a:cxn ang="0">
                  <a:pos x="connsiteX4211" y="connsiteY4211"/>
                </a:cxn>
                <a:cxn ang="0">
                  <a:pos x="connsiteX4212" y="connsiteY4212"/>
                </a:cxn>
                <a:cxn ang="0">
                  <a:pos x="connsiteX4213" y="connsiteY4213"/>
                </a:cxn>
                <a:cxn ang="0">
                  <a:pos x="connsiteX4214" y="connsiteY4214"/>
                </a:cxn>
                <a:cxn ang="0">
                  <a:pos x="connsiteX4215" y="connsiteY4215"/>
                </a:cxn>
                <a:cxn ang="0">
                  <a:pos x="connsiteX4216" y="connsiteY4216"/>
                </a:cxn>
                <a:cxn ang="0">
                  <a:pos x="connsiteX4217" y="connsiteY4217"/>
                </a:cxn>
                <a:cxn ang="0">
                  <a:pos x="connsiteX4218" y="connsiteY4218"/>
                </a:cxn>
                <a:cxn ang="0">
                  <a:pos x="connsiteX4219" y="connsiteY4219"/>
                </a:cxn>
                <a:cxn ang="0">
                  <a:pos x="connsiteX4220" y="connsiteY4220"/>
                </a:cxn>
                <a:cxn ang="0">
                  <a:pos x="connsiteX4221" y="connsiteY4221"/>
                </a:cxn>
                <a:cxn ang="0">
                  <a:pos x="connsiteX4222" y="connsiteY4222"/>
                </a:cxn>
                <a:cxn ang="0">
                  <a:pos x="connsiteX4223" y="connsiteY4223"/>
                </a:cxn>
                <a:cxn ang="0">
                  <a:pos x="connsiteX4224" y="connsiteY4224"/>
                </a:cxn>
                <a:cxn ang="0">
                  <a:pos x="connsiteX4225" y="connsiteY4225"/>
                </a:cxn>
                <a:cxn ang="0">
                  <a:pos x="connsiteX4226" y="connsiteY4226"/>
                </a:cxn>
                <a:cxn ang="0">
                  <a:pos x="connsiteX4227" y="connsiteY4227"/>
                </a:cxn>
                <a:cxn ang="0">
                  <a:pos x="connsiteX4228" y="connsiteY4228"/>
                </a:cxn>
                <a:cxn ang="0">
                  <a:pos x="connsiteX4229" y="connsiteY4229"/>
                </a:cxn>
                <a:cxn ang="0">
                  <a:pos x="connsiteX4230" y="connsiteY4230"/>
                </a:cxn>
                <a:cxn ang="0">
                  <a:pos x="connsiteX4231" y="connsiteY4231"/>
                </a:cxn>
                <a:cxn ang="0">
                  <a:pos x="connsiteX4232" y="connsiteY4232"/>
                </a:cxn>
                <a:cxn ang="0">
                  <a:pos x="connsiteX4233" y="connsiteY4233"/>
                </a:cxn>
                <a:cxn ang="0">
                  <a:pos x="connsiteX4234" y="connsiteY4234"/>
                </a:cxn>
                <a:cxn ang="0">
                  <a:pos x="connsiteX4235" y="connsiteY4235"/>
                </a:cxn>
                <a:cxn ang="0">
                  <a:pos x="connsiteX4236" y="connsiteY4236"/>
                </a:cxn>
                <a:cxn ang="0">
                  <a:pos x="connsiteX4237" y="connsiteY4237"/>
                </a:cxn>
                <a:cxn ang="0">
                  <a:pos x="connsiteX4238" y="connsiteY4238"/>
                </a:cxn>
                <a:cxn ang="0">
                  <a:pos x="connsiteX4239" y="connsiteY4239"/>
                </a:cxn>
                <a:cxn ang="0">
                  <a:pos x="connsiteX4240" y="connsiteY4240"/>
                </a:cxn>
                <a:cxn ang="0">
                  <a:pos x="connsiteX4241" y="connsiteY4241"/>
                </a:cxn>
                <a:cxn ang="0">
                  <a:pos x="connsiteX4242" y="connsiteY4242"/>
                </a:cxn>
                <a:cxn ang="0">
                  <a:pos x="connsiteX4243" y="connsiteY4243"/>
                </a:cxn>
                <a:cxn ang="0">
                  <a:pos x="connsiteX4244" y="connsiteY4244"/>
                </a:cxn>
                <a:cxn ang="0">
                  <a:pos x="connsiteX4245" y="connsiteY4245"/>
                </a:cxn>
                <a:cxn ang="0">
                  <a:pos x="connsiteX4246" y="connsiteY4246"/>
                </a:cxn>
                <a:cxn ang="0">
                  <a:pos x="connsiteX4247" y="connsiteY4247"/>
                </a:cxn>
                <a:cxn ang="0">
                  <a:pos x="connsiteX4248" y="connsiteY4248"/>
                </a:cxn>
                <a:cxn ang="0">
                  <a:pos x="connsiteX4249" y="connsiteY4249"/>
                </a:cxn>
                <a:cxn ang="0">
                  <a:pos x="connsiteX4250" y="connsiteY4250"/>
                </a:cxn>
                <a:cxn ang="0">
                  <a:pos x="connsiteX4251" y="connsiteY4251"/>
                </a:cxn>
                <a:cxn ang="0">
                  <a:pos x="connsiteX4252" y="connsiteY4252"/>
                </a:cxn>
                <a:cxn ang="0">
                  <a:pos x="connsiteX4253" y="connsiteY4253"/>
                </a:cxn>
                <a:cxn ang="0">
                  <a:pos x="connsiteX4254" y="connsiteY4254"/>
                </a:cxn>
                <a:cxn ang="0">
                  <a:pos x="connsiteX4255" y="connsiteY4255"/>
                </a:cxn>
                <a:cxn ang="0">
                  <a:pos x="connsiteX4256" y="connsiteY4256"/>
                </a:cxn>
                <a:cxn ang="0">
                  <a:pos x="connsiteX4257" y="connsiteY4257"/>
                </a:cxn>
                <a:cxn ang="0">
                  <a:pos x="connsiteX4258" y="connsiteY4258"/>
                </a:cxn>
                <a:cxn ang="0">
                  <a:pos x="connsiteX4259" y="connsiteY4259"/>
                </a:cxn>
                <a:cxn ang="0">
                  <a:pos x="connsiteX4260" y="connsiteY4260"/>
                </a:cxn>
                <a:cxn ang="0">
                  <a:pos x="connsiteX4261" y="connsiteY4261"/>
                </a:cxn>
                <a:cxn ang="0">
                  <a:pos x="connsiteX4262" y="connsiteY4262"/>
                </a:cxn>
                <a:cxn ang="0">
                  <a:pos x="connsiteX4263" y="connsiteY4263"/>
                </a:cxn>
                <a:cxn ang="0">
                  <a:pos x="connsiteX4264" y="connsiteY4264"/>
                </a:cxn>
                <a:cxn ang="0">
                  <a:pos x="connsiteX4265" y="connsiteY4265"/>
                </a:cxn>
                <a:cxn ang="0">
                  <a:pos x="connsiteX4266" y="connsiteY4266"/>
                </a:cxn>
                <a:cxn ang="0">
                  <a:pos x="connsiteX4267" y="connsiteY4267"/>
                </a:cxn>
                <a:cxn ang="0">
                  <a:pos x="connsiteX4268" y="connsiteY4268"/>
                </a:cxn>
                <a:cxn ang="0">
                  <a:pos x="connsiteX4269" y="connsiteY4269"/>
                </a:cxn>
                <a:cxn ang="0">
                  <a:pos x="connsiteX4270" y="connsiteY4270"/>
                </a:cxn>
                <a:cxn ang="0">
                  <a:pos x="connsiteX4271" y="connsiteY4271"/>
                </a:cxn>
                <a:cxn ang="0">
                  <a:pos x="connsiteX4272" y="connsiteY4272"/>
                </a:cxn>
                <a:cxn ang="0">
                  <a:pos x="connsiteX4273" y="connsiteY4273"/>
                </a:cxn>
                <a:cxn ang="0">
                  <a:pos x="connsiteX4274" y="connsiteY4274"/>
                </a:cxn>
                <a:cxn ang="0">
                  <a:pos x="connsiteX4275" y="connsiteY4275"/>
                </a:cxn>
                <a:cxn ang="0">
                  <a:pos x="connsiteX4276" y="connsiteY4276"/>
                </a:cxn>
                <a:cxn ang="0">
                  <a:pos x="connsiteX4277" y="connsiteY4277"/>
                </a:cxn>
                <a:cxn ang="0">
                  <a:pos x="connsiteX4278" y="connsiteY4278"/>
                </a:cxn>
                <a:cxn ang="0">
                  <a:pos x="connsiteX4279" y="connsiteY4279"/>
                </a:cxn>
                <a:cxn ang="0">
                  <a:pos x="connsiteX4280" y="connsiteY4280"/>
                </a:cxn>
                <a:cxn ang="0">
                  <a:pos x="connsiteX4281" y="connsiteY4281"/>
                </a:cxn>
                <a:cxn ang="0">
                  <a:pos x="connsiteX4282" y="connsiteY4282"/>
                </a:cxn>
                <a:cxn ang="0">
                  <a:pos x="connsiteX4283" y="connsiteY4283"/>
                </a:cxn>
                <a:cxn ang="0">
                  <a:pos x="connsiteX4284" y="connsiteY4284"/>
                </a:cxn>
                <a:cxn ang="0">
                  <a:pos x="connsiteX4285" y="connsiteY4285"/>
                </a:cxn>
                <a:cxn ang="0">
                  <a:pos x="connsiteX4286" y="connsiteY4286"/>
                </a:cxn>
                <a:cxn ang="0">
                  <a:pos x="connsiteX4287" y="connsiteY4287"/>
                </a:cxn>
                <a:cxn ang="0">
                  <a:pos x="connsiteX4288" y="connsiteY4288"/>
                </a:cxn>
                <a:cxn ang="0">
                  <a:pos x="connsiteX4289" y="connsiteY4289"/>
                </a:cxn>
                <a:cxn ang="0">
                  <a:pos x="connsiteX4290" y="connsiteY4290"/>
                </a:cxn>
                <a:cxn ang="0">
                  <a:pos x="connsiteX4291" y="connsiteY4291"/>
                </a:cxn>
                <a:cxn ang="0">
                  <a:pos x="connsiteX4292" y="connsiteY4292"/>
                </a:cxn>
                <a:cxn ang="0">
                  <a:pos x="connsiteX4293" y="connsiteY4293"/>
                </a:cxn>
                <a:cxn ang="0">
                  <a:pos x="connsiteX4294" y="connsiteY4294"/>
                </a:cxn>
                <a:cxn ang="0">
                  <a:pos x="connsiteX4295" y="connsiteY4295"/>
                </a:cxn>
                <a:cxn ang="0">
                  <a:pos x="connsiteX4296" y="connsiteY4296"/>
                </a:cxn>
                <a:cxn ang="0">
                  <a:pos x="connsiteX4297" y="connsiteY4297"/>
                </a:cxn>
                <a:cxn ang="0">
                  <a:pos x="connsiteX4298" y="connsiteY4298"/>
                </a:cxn>
                <a:cxn ang="0">
                  <a:pos x="connsiteX4299" y="connsiteY4299"/>
                </a:cxn>
                <a:cxn ang="0">
                  <a:pos x="connsiteX4300" y="connsiteY4300"/>
                </a:cxn>
                <a:cxn ang="0">
                  <a:pos x="connsiteX4301" y="connsiteY4301"/>
                </a:cxn>
                <a:cxn ang="0">
                  <a:pos x="connsiteX4302" y="connsiteY4302"/>
                </a:cxn>
                <a:cxn ang="0">
                  <a:pos x="connsiteX4303" y="connsiteY4303"/>
                </a:cxn>
                <a:cxn ang="0">
                  <a:pos x="connsiteX4304" y="connsiteY4304"/>
                </a:cxn>
                <a:cxn ang="0">
                  <a:pos x="connsiteX4305" y="connsiteY4305"/>
                </a:cxn>
                <a:cxn ang="0">
                  <a:pos x="connsiteX4306" y="connsiteY4306"/>
                </a:cxn>
                <a:cxn ang="0">
                  <a:pos x="connsiteX4307" y="connsiteY4307"/>
                </a:cxn>
                <a:cxn ang="0">
                  <a:pos x="connsiteX4308" y="connsiteY4308"/>
                </a:cxn>
                <a:cxn ang="0">
                  <a:pos x="connsiteX4309" y="connsiteY4309"/>
                </a:cxn>
                <a:cxn ang="0">
                  <a:pos x="connsiteX4310" y="connsiteY4310"/>
                </a:cxn>
                <a:cxn ang="0">
                  <a:pos x="connsiteX4311" y="connsiteY4311"/>
                </a:cxn>
                <a:cxn ang="0">
                  <a:pos x="connsiteX4312" y="connsiteY4312"/>
                </a:cxn>
                <a:cxn ang="0">
                  <a:pos x="connsiteX4313" y="connsiteY4313"/>
                </a:cxn>
                <a:cxn ang="0">
                  <a:pos x="connsiteX4314" y="connsiteY4314"/>
                </a:cxn>
                <a:cxn ang="0">
                  <a:pos x="connsiteX4315" y="connsiteY4315"/>
                </a:cxn>
                <a:cxn ang="0">
                  <a:pos x="connsiteX4316" y="connsiteY4316"/>
                </a:cxn>
                <a:cxn ang="0">
                  <a:pos x="connsiteX4317" y="connsiteY4317"/>
                </a:cxn>
                <a:cxn ang="0">
                  <a:pos x="connsiteX4318" y="connsiteY4318"/>
                </a:cxn>
                <a:cxn ang="0">
                  <a:pos x="connsiteX4319" y="connsiteY4319"/>
                </a:cxn>
                <a:cxn ang="0">
                  <a:pos x="connsiteX4320" y="connsiteY4320"/>
                </a:cxn>
                <a:cxn ang="0">
                  <a:pos x="connsiteX4321" y="connsiteY4321"/>
                </a:cxn>
                <a:cxn ang="0">
                  <a:pos x="connsiteX4322" y="connsiteY4322"/>
                </a:cxn>
                <a:cxn ang="0">
                  <a:pos x="connsiteX4323" y="connsiteY4323"/>
                </a:cxn>
                <a:cxn ang="0">
                  <a:pos x="connsiteX4324" y="connsiteY4324"/>
                </a:cxn>
                <a:cxn ang="0">
                  <a:pos x="connsiteX4325" y="connsiteY4325"/>
                </a:cxn>
                <a:cxn ang="0">
                  <a:pos x="connsiteX4326" y="connsiteY4326"/>
                </a:cxn>
                <a:cxn ang="0">
                  <a:pos x="connsiteX4327" y="connsiteY4327"/>
                </a:cxn>
                <a:cxn ang="0">
                  <a:pos x="connsiteX4328" y="connsiteY4328"/>
                </a:cxn>
                <a:cxn ang="0">
                  <a:pos x="connsiteX4329" y="connsiteY4329"/>
                </a:cxn>
                <a:cxn ang="0">
                  <a:pos x="connsiteX4330" y="connsiteY4330"/>
                </a:cxn>
                <a:cxn ang="0">
                  <a:pos x="connsiteX4331" y="connsiteY4331"/>
                </a:cxn>
                <a:cxn ang="0">
                  <a:pos x="connsiteX4332" y="connsiteY4332"/>
                </a:cxn>
                <a:cxn ang="0">
                  <a:pos x="connsiteX4333" y="connsiteY4333"/>
                </a:cxn>
                <a:cxn ang="0">
                  <a:pos x="connsiteX4334" y="connsiteY4334"/>
                </a:cxn>
                <a:cxn ang="0">
                  <a:pos x="connsiteX4335" y="connsiteY4335"/>
                </a:cxn>
                <a:cxn ang="0">
                  <a:pos x="connsiteX4336" y="connsiteY4336"/>
                </a:cxn>
                <a:cxn ang="0">
                  <a:pos x="connsiteX4337" y="connsiteY4337"/>
                </a:cxn>
                <a:cxn ang="0">
                  <a:pos x="connsiteX4338" y="connsiteY4338"/>
                </a:cxn>
                <a:cxn ang="0">
                  <a:pos x="connsiteX4339" y="connsiteY4339"/>
                </a:cxn>
                <a:cxn ang="0">
                  <a:pos x="connsiteX4340" y="connsiteY4340"/>
                </a:cxn>
                <a:cxn ang="0">
                  <a:pos x="connsiteX4341" y="connsiteY4341"/>
                </a:cxn>
                <a:cxn ang="0">
                  <a:pos x="connsiteX4342" y="connsiteY4342"/>
                </a:cxn>
                <a:cxn ang="0">
                  <a:pos x="connsiteX4343" y="connsiteY4343"/>
                </a:cxn>
                <a:cxn ang="0">
                  <a:pos x="connsiteX4344" y="connsiteY4344"/>
                </a:cxn>
                <a:cxn ang="0">
                  <a:pos x="connsiteX4345" y="connsiteY4345"/>
                </a:cxn>
                <a:cxn ang="0">
                  <a:pos x="connsiteX4346" y="connsiteY4346"/>
                </a:cxn>
                <a:cxn ang="0">
                  <a:pos x="connsiteX4347" y="connsiteY4347"/>
                </a:cxn>
                <a:cxn ang="0">
                  <a:pos x="connsiteX4348" y="connsiteY4348"/>
                </a:cxn>
                <a:cxn ang="0">
                  <a:pos x="connsiteX4349" y="connsiteY4349"/>
                </a:cxn>
                <a:cxn ang="0">
                  <a:pos x="connsiteX4350" y="connsiteY4350"/>
                </a:cxn>
                <a:cxn ang="0">
                  <a:pos x="connsiteX4351" y="connsiteY4351"/>
                </a:cxn>
                <a:cxn ang="0">
                  <a:pos x="connsiteX4352" y="connsiteY4352"/>
                </a:cxn>
                <a:cxn ang="0">
                  <a:pos x="connsiteX4353" y="connsiteY4353"/>
                </a:cxn>
                <a:cxn ang="0">
                  <a:pos x="connsiteX4354" y="connsiteY4354"/>
                </a:cxn>
                <a:cxn ang="0">
                  <a:pos x="connsiteX4355" y="connsiteY4355"/>
                </a:cxn>
                <a:cxn ang="0">
                  <a:pos x="connsiteX4356" y="connsiteY4356"/>
                </a:cxn>
                <a:cxn ang="0">
                  <a:pos x="connsiteX4357" y="connsiteY4357"/>
                </a:cxn>
                <a:cxn ang="0">
                  <a:pos x="connsiteX4358" y="connsiteY4358"/>
                </a:cxn>
                <a:cxn ang="0">
                  <a:pos x="connsiteX4359" y="connsiteY4359"/>
                </a:cxn>
                <a:cxn ang="0">
                  <a:pos x="connsiteX4360" y="connsiteY4360"/>
                </a:cxn>
                <a:cxn ang="0">
                  <a:pos x="connsiteX4361" y="connsiteY4361"/>
                </a:cxn>
                <a:cxn ang="0">
                  <a:pos x="connsiteX4362" y="connsiteY4362"/>
                </a:cxn>
                <a:cxn ang="0">
                  <a:pos x="connsiteX4363" y="connsiteY4363"/>
                </a:cxn>
                <a:cxn ang="0">
                  <a:pos x="connsiteX4364" y="connsiteY4364"/>
                </a:cxn>
                <a:cxn ang="0">
                  <a:pos x="connsiteX4365" y="connsiteY4365"/>
                </a:cxn>
                <a:cxn ang="0">
                  <a:pos x="connsiteX4366" y="connsiteY4366"/>
                </a:cxn>
                <a:cxn ang="0">
                  <a:pos x="connsiteX4367" y="connsiteY4367"/>
                </a:cxn>
                <a:cxn ang="0">
                  <a:pos x="connsiteX4368" y="connsiteY4368"/>
                </a:cxn>
                <a:cxn ang="0">
                  <a:pos x="connsiteX4369" y="connsiteY4369"/>
                </a:cxn>
                <a:cxn ang="0">
                  <a:pos x="connsiteX4370" y="connsiteY4370"/>
                </a:cxn>
                <a:cxn ang="0">
                  <a:pos x="connsiteX4371" y="connsiteY4371"/>
                </a:cxn>
                <a:cxn ang="0">
                  <a:pos x="connsiteX4372" y="connsiteY4372"/>
                </a:cxn>
                <a:cxn ang="0">
                  <a:pos x="connsiteX4373" y="connsiteY4373"/>
                </a:cxn>
                <a:cxn ang="0">
                  <a:pos x="connsiteX4374" y="connsiteY4374"/>
                </a:cxn>
                <a:cxn ang="0">
                  <a:pos x="connsiteX4375" y="connsiteY4375"/>
                </a:cxn>
                <a:cxn ang="0">
                  <a:pos x="connsiteX4376" y="connsiteY4376"/>
                </a:cxn>
                <a:cxn ang="0">
                  <a:pos x="connsiteX4377" y="connsiteY4377"/>
                </a:cxn>
                <a:cxn ang="0">
                  <a:pos x="connsiteX4378" y="connsiteY4378"/>
                </a:cxn>
                <a:cxn ang="0">
                  <a:pos x="connsiteX4379" y="connsiteY4379"/>
                </a:cxn>
                <a:cxn ang="0">
                  <a:pos x="connsiteX4380" y="connsiteY4380"/>
                </a:cxn>
                <a:cxn ang="0">
                  <a:pos x="connsiteX4381" y="connsiteY4381"/>
                </a:cxn>
                <a:cxn ang="0">
                  <a:pos x="connsiteX4382" y="connsiteY4382"/>
                </a:cxn>
                <a:cxn ang="0">
                  <a:pos x="connsiteX4383" y="connsiteY4383"/>
                </a:cxn>
                <a:cxn ang="0">
                  <a:pos x="connsiteX4384" y="connsiteY4384"/>
                </a:cxn>
                <a:cxn ang="0">
                  <a:pos x="connsiteX4385" y="connsiteY4385"/>
                </a:cxn>
                <a:cxn ang="0">
                  <a:pos x="connsiteX4386" y="connsiteY4386"/>
                </a:cxn>
                <a:cxn ang="0">
                  <a:pos x="connsiteX4387" y="connsiteY4387"/>
                </a:cxn>
                <a:cxn ang="0">
                  <a:pos x="connsiteX4388" y="connsiteY4388"/>
                </a:cxn>
                <a:cxn ang="0">
                  <a:pos x="connsiteX4389" y="connsiteY4389"/>
                </a:cxn>
                <a:cxn ang="0">
                  <a:pos x="connsiteX4390" y="connsiteY4390"/>
                </a:cxn>
                <a:cxn ang="0">
                  <a:pos x="connsiteX4391" y="connsiteY4391"/>
                </a:cxn>
                <a:cxn ang="0">
                  <a:pos x="connsiteX4392" y="connsiteY4392"/>
                </a:cxn>
                <a:cxn ang="0">
                  <a:pos x="connsiteX4393" y="connsiteY4393"/>
                </a:cxn>
                <a:cxn ang="0">
                  <a:pos x="connsiteX4394" y="connsiteY4394"/>
                </a:cxn>
                <a:cxn ang="0">
                  <a:pos x="connsiteX4395" y="connsiteY4395"/>
                </a:cxn>
                <a:cxn ang="0">
                  <a:pos x="connsiteX4396" y="connsiteY4396"/>
                </a:cxn>
                <a:cxn ang="0">
                  <a:pos x="connsiteX4397" y="connsiteY4397"/>
                </a:cxn>
                <a:cxn ang="0">
                  <a:pos x="connsiteX4398" y="connsiteY4398"/>
                </a:cxn>
                <a:cxn ang="0">
                  <a:pos x="connsiteX4399" y="connsiteY4399"/>
                </a:cxn>
                <a:cxn ang="0">
                  <a:pos x="connsiteX4400" y="connsiteY4400"/>
                </a:cxn>
                <a:cxn ang="0">
                  <a:pos x="connsiteX4401" y="connsiteY4401"/>
                </a:cxn>
                <a:cxn ang="0">
                  <a:pos x="connsiteX4402" y="connsiteY4402"/>
                </a:cxn>
                <a:cxn ang="0">
                  <a:pos x="connsiteX4403" y="connsiteY4403"/>
                </a:cxn>
                <a:cxn ang="0">
                  <a:pos x="connsiteX4404" y="connsiteY4404"/>
                </a:cxn>
                <a:cxn ang="0">
                  <a:pos x="connsiteX4405" y="connsiteY4405"/>
                </a:cxn>
                <a:cxn ang="0">
                  <a:pos x="connsiteX4406" y="connsiteY4406"/>
                </a:cxn>
                <a:cxn ang="0">
                  <a:pos x="connsiteX4407" y="connsiteY4407"/>
                </a:cxn>
                <a:cxn ang="0">
                  <a:pos x="connsiteX4408" y="connsiteY4408"/>
                </a:cxn>
                <a:cxn ang="0">
                  <a:pos x="connsiteX4409" y="connsiteY4409"/>
                </a:cxn>
                <a:cxn ang="0">
                  <a:pos x="connsiteX4410" y="connsiteY4410"/>
                </a:cxn>
                <a:cxn ang="0">
                  <a:pos x="connsiteX4411" y="connsiteY4411"/>
                </a:cxn>
                <a:cxn ang="0">
                  <a:pos x="connsiteX4412" y="connsiteY4412"/>
                </a:cxn>
                <a:cxn ang="0">
                  <a:pos x="connsiteX4413" y="connsiteY4413"/>
                </a:cxn>
                <a:cxn ang="0">
                  <a:pos x="connsiteX4414" y="connsiteY4414"/>
                </a:cxn>
                <a:cxn ang="0">
                  <a:pos x="connsiteX4415" y="connsiteY4415"/>
                </a:cxn>
                <a:cxn ang="0">
                  <a:pos x="connsiteX4416" y="connsiteY4416"/>
                </a:cxn>
                <a:cxn ang="0">
                  <a:pos x="connsiteX4417" y="connsiteY4417"/>
                </a:cxn>
                <a:cxn ang="0">
                  <a:pos x="connsiteX4418" y="connsiteY4418"/>
                </a:cxn>
                <a:cxn ang="0">
                  <a:pos x="connsiteX4419" y="connsiteY4419"/>
                </a:cxn>
                <a:cxn ang="0">
                  <a:pos x="connsiteX4420" y="connsiteY4420"/>
                </a:cxn>
                <a:cxn ang="0">
                  <a:pos x="connsiteX4421" y="connsiteY4421"/>
                </a:cxn>
                <a:cxn ang="0">
                  <a:pos x="connsiteX4422" y="connsiteY4422"/>
                </a:cxn>
                <a:cxn ang="0">
                  <a:pos x="connsiteX4423" y="connsiteY4423"/>
                </a:cxn>
                <a:cxn ang="0">
                  <a:pos x="connsiteX4424" y="connsiteY4424"/>
                </a:cxn>
                <a:cxn ang="0">
                  <a:pos x="connsiteX4425" y="connsiteY4425"/>
                </a:cxn>
                <a:cxn ang="0">
                  <a:pos x="connsiteX4426" y="connsiteY4426"/>
                </a:cxn>
                <a:cxn ang="0">
                  <a:pos x="connsiteX4427" y="connsiteY4427"/>
                </a:cxn>
                <a:cxn ang="0">
                  <a:pos x="connsiteX4428" y="connsiteY4428"/>
                </a:cxn>
                <a:cxn ang="0">
                  <a:pos x="connsiteX4429" y="connsiteY4429"/>
                </a:cxn>
                <a:cxn ang="0">
                  <a:pos x="connsiteX4430" y="connsiteY4430"/>
                </a:cxn>
                <a:cxn ang="0">
                  <a:pos x="connsiteX4431" y="connsiteY4431"/>
                </a:cxn>
                <a:cxn ang="0">
                  <a:pos x="connsiteX4432" y="connsiteY4432"/>
                </a:cxn>
                <a:cxn ang="0">
                  <a:pos x="connsiteX4433" y="connsiteY4433"/>
                </a:cxn>
                <a:cxn ang="0">
                  <a:pos x="connsiteX4434" y="connsiteY4434"/>
                </a:cxn>
                <a:cxn ang="0">
                  <a:pos x="connsiteX4435" y="connsiteY4435"/>
                </a:cxn>
                <a:cxn ang="0">
                  <a:pos x="connsiteX4436" y="connsiteY4436"/>
                </a:cxn>
                <a:cxn ang="0">
                  <a:pos x="connsiteX4437" y="connsiteY4437"/>
                </a:cxn>
                <a:cxn ang="0">
                  <a:pos x="connsiteX4438" y="connsiteY4438"/>
                </a:cxn>
                <a:cxn ang="0">
                  <a:pos x="connsiteX4439" y="connsiteY4439"/>
                </a:cxn>
                <a:cxn ang="0">
                  <a:pos x="connsiteX4440" y="connsiteY4440"/>
                </a:cxn>
                <a:cxn ang="0">
                  <a:pos x="connsiteX4441" y="connsiteY4441"/>
                </a:cxn>
                <a:cxn ang="0">
                  <a:pos x="connsiteX4442" y="connsiteY4442"/>
                </a:cxn>
                <a:cxn ang="0">
                  <a:pos x="connsiteX4443" y="connsiteY4443"/>
                </a:cxn>
                <a:cxn ang="0">
                  <a:pos x="connsiteX4444" y="connsiteY4444"/>
                </a:cxn>
                <a:cxn ang="0">
                  <a:pos x="connsiteX4445" y="connsiteY4445"/>
                </a:cxn>
                <a:cxn ang="0">
                  <a:pos x="connsiteX4446" y="connsiteY4446"/>
                </a:cxn>
                <a:cxn ang="0">
                  <a:pos x="connsiteX4447" y="connsiteY4447"/>
                </a:cxn>
                <a:cxn ang="0">
                  <a:pos x="connsiteX4448" y="connsiteY4448"/>
                </a:cxn>
                <a:cxn ang="0">
                  <a:pos x="connsiteX4449" y="connsiteY4449"/>
                </a:cxn>
                <a:cxn ang="0">
                  <a:pos x="connsiteX4450" y="connsiteY4450"/>
                </a:cxn>
                <a:cxn ang="0">
                  <a:pos x="connsiteX4451" y="connsiteY4451"/>
                </a:cxn>
                <a:cxn ang="0">
                  <a:pos x="connsiteX4452" y="connsiteY4452"/>
                </a:cxn>
                <a:cxn ang="0">
                  <a:pos x="connsiteX4453" y="connsiteY4453"/>
                </a:cxn>
                <a:cxn ang="0">
                  <a:pos x="connsiteX4454" y="connsiteY4454"/>
                </a:cxn>
                <a:cxn ang="0">
                  <a:pos x="connsiteX4455" y="connsiteY4455"/>
                </a:cxn>
                <a:cxn ang="0">
                  <a:pos x="connsiteX4456" y="connsiteY4456"/>
                </a:cxn>
                <a:cxn ang="0">
                  <a:pos x="connsiteX4457" y="connsiteY4457"/>
                </a:cxn>
                <a:cxn ang="0">
                  <a:pos x="connsiteX4458" y="connsiteY4458"/>
                </a:cxn>
                <a:cxn ang="0">
                  <a:pos x="connsiteX4459" y="connsiteY4459"/>
                </a:cxn>
                <a:cxn ang="0">
                  <a:pos x="connsiteX4460" y="connsiteY4460"/>
                </a:cxn>
                <a:cxn ang="0">
                  <a:pos x="connsiteX4461" y="connsiteY4461"/>
                </a:cxn>
                <a:cxn ang="0">
                  <a:pos x="connsiteX4462" y="connsiteY4462"/>
                </a:cxn>
                <a:cxn ang="0">
                  <a:pos x="connsiteX4463" y="connsiteY4463"/>
                </a:cxn>
                <a:cxn ang="0">
                  <a:pos x="connsiteX4464" y="connsiteY4464"/>
                </a:cxn>
                <a:cxn ang="0">
                  <a:pos x="connsiteX4465" y="connsiteY4465"/>
                </a:cxn>
                <a:cxn ang="0">
                  <a:pos x="connsiteX4466" y="connsiteY4466"/>
                </a:cxn>
                <a:cxn ang="0">
                  <a:pos x="connsiteX4467" y="connsiteY4467"/>
                </a:cxn>
                <a:cxn ang="0">
                  <a:pos x="connsiteX4468" y="connsiteY4468"/>
                </a:cxn>
                <a:cxn ang="0">
                  <a:pos x="connsiteX4469" y="connsiteY4469"/>
                </a:cxn>
                <a:cxn ang="0">
                  <a:pos x="connsiteX4470" y="connsiteY4470"/>
                </a:cxn>
                <a:cxn ang="0">
                  <a:pos x="connsiteX4471" y="connsiteY4471"/>
                </a:cxn>
                <a:cxn ang="0">
                  <a:pos x="connsiteX4472" y="connsiteY4472"/>
                </a:cxn>
                <a:cxn ang="0">
                  <a:pos x="connsiteX4473" y="connsiteY4473"/>
                </a:cxn>
                <a:cxn ang="0">
                  <a:pos x="connsiteX4474" y="connsiteY4474"/>
                </a:cxn>
                <a:cxn ang="0">
                  <a:pos x="connsiteX4475" y="connsiteY4475"/>
                </a:cxn>
                <a:cxn ang="0">
                  <a:pos x="connsiteX4476" y="connsiteY4476"/>
                </a:cxn>
                <a:cxn ang="0">
                  <a:pos x="connsiteX4477" y="connsiteY4477"/>
                </a:cxn>
                <a:cxn ang="0">
                  <a:pos x="connsiteX4478" y="connsiteY4478"/>
                </a:cxn>
                <a:cxn ang="0">
                  <a:pos x="connsiteX4479" y="connsiteY4479"/>
                </a:cxn>
                <a:cxn ang="0">
                  <a:pos x="connsiteX4480" y="connsiteY4480"/>
                </a:cxn>
                <a:cxn ang="0">
                  <a:pos x="connsiteX4481" y="connsiteY4481"/>
                </a:cxn>
                <a:cxn ang="0">
                  <a:pos x="connsiteX4482" y="connsiteY4482"/>
                </a:cxn>
                <a:cxn ang="0">
                  <a:pos x="connsiteX4483" y="connsiteY4483"/>
                </a:cxn>
                <a:cxn ang="0">
                  <a:pos x="connsiteX4484" y="connsiteY4484"/>
                </a:cxn>
                <a:cxn ang="0">
                  <a:pos x="connsiteX4485" y="connsiteY4485"/>
                </a:cxn>
                <a:cxn ang="0">
                  <a:pos x="connsiteX4486" y="connsiteY4486"/>
                </a:cxn>
                <a:cxn ang="0">
                  <a:pos x="connsiteX4487" y="connsiteY4487"/>
                </a:cxn>
                <a:cxn ang="0">
                  <a:pos x="connsiteX4488" y="connsiteY4488"/>
                </a:cxn>
                <a:cxn ang="0">
                  <a:pos x="connsiteX4489" y="connsiteY4489"/>
                </a:cxn>
                <a:cxn ang="0">
                  <a:pos x="connsiteX4490" y="connsiteY4490"/>
                </a:cxn>
                <a:cxn ang="0">
                  <a:pos x="connsiteX4491" y="connsiteY4491"/>
                </a:cxn>
                <a:cxn ang="0">
                  <a:pos x="connsiteX4492" y="connsiteY4492"/>
                </a:cxn>
                <a:cxn ang="0">
                  <a:pos x="connsiteX4493" y="connsiteY4493"/>
                </a:cxn>
                <a:cxn ang="0">
                  <a:pos x="connsiteX4494" y="connsiteY4494"/>
                </a:cxn>
                <a:cxn ang="0">
                  <a:pos x="connsiteX4495" y="connsiteY4495"/>
                </a:cxn>
                <a:cxn ang="0">
                  <a:pos x="connsiteX4496" y="connsiteY4496"/>
                </a:cxn>
                <a:cxn ang="0">
                  <a:pos x="connsiteX4497" y="connsiteY4497"/>
                </a:cxn>
                <a:cxn ang="0">
                  <a:pos x="connsiteX4498" y="connsiteY4498"/>
                </a:cxn>
                <a:cxn ang="0">
                  <a:pos x="connsiteX4499" y="connsiteY4499"/>
                </a:cxn>
                <a:cxn ang="0">
                  <a:pos x="connsiteX4500" y="connsiteY4500"/>
                </a:cxn>
                <a:cxn ang="0">
                  <a:pos x="connsiteX4501" y="connsiteY4501"/>
                </a:cxn>
                <a:cxn ang="0">
                  <a:pos x="connsiteX4502" y="connsiteY4502"/>
                </a:cxn>
                <a:cxn ang="0">
                  <a:pos x="connsiteX4503" y="connsiteY4503"/>
                </a:cxn>
                <a:cxn ang="0">
                  <a:pos x="connsiteX4504" y="connsiteY4504"/>
                </a:cxn>
                <a:cxn ang="0">
                  <a:pos x="connsiteX4505" y="connsiteY4505"/>
                </a:cxn>
                <a:cxn ang="0">
                  <a:pos x="connsiteX4506" y="connsiteY4506"/>
                </a:cxn>
                <a:cxn ang="0">
                  <a:pos x="connsiteX4507" y="connsiteY4507"/>
                </a:cxn>
                <a:cxn ang="0">
                  <a:pos x="connsiteX4508" y="connsiteY4508"/>
                </a:cxn>
                <a:cxn ang="0">
                  <a:pos x="connsiteX4509" y="connsiteY4509"/>
                </a:cxn>
                <a:cxn ang="0">
                  <a:pos x="connsiteX4510" y="connsiteY4510"/>
                </a:cxn>
                <a:cxn ang="0">
                  <a:pos x="connsiteX4511" y="connsiteY4511"/>
                </a:cxn>
                <a:cxn ang="0">
                  <a:pos x="connsiteX4512" y="connsiteY4512"/>
                </a:cxn>
                <a:cxn ang="0">
                  <a:pos x="connsiteX4513" y="connsiteY4513"/>
                </a:cxn>
                <a:cxn ang="0">
                  <a:pos x="connsiteX4514" y="connsiteY4514"/>
                </a:cxn>
                <a:cxn ang="0">
                  <a:pos x="connsiteX4515" y="connsiteY4515"/>
                </a:cxn>
                <a:cxn ang="0">
                  <a:pos x="connsiteX4516" y="connsiteY4516"/>
                </a:cxn>
                <a:cxn ang="0">
                  <a:pos x="connsiteX4517" y="connsiteY4517"/>
                </a:cxn>
                <a:cxn ang="0">
                  <a:pos x="connsiteX4518" y="connsiteY4518"/>
                </a:cxn>
                <a:cxn ang="0">
                  <a:pos x="connsiteX4519" y="connsiteY4519"/>
                </a:cxn>
                <a:cxn ang="0">
                  <a:pos x="connsiteX4520" y="connsiteY4520"/>
                </a:cxn>
                <a:cxn ang="0">
                  <a:pos x="connsiteX4521" y="connsiteY4521"/>
                </a:cxn>
                <a:cxn ang="0">
                  <a:pos x="connsiteX4522" y="connsiteY4522"/>
                </a:cxn>
                <a:cxn ang="0">
                  <a:pos x="connsiteX4523" y="connsiteY4523"/>
                </a:cxn>
                <a:cxn ang="0">
                  <a:pos x="connsiteX4524" y="connsiteY4524"/>
                </a:cxn>
                <a:cxn ang="0">
                  <a:pos x="connsiteX4525" y="connsiteY4525"/>
                </a:cxn>
                <a:cxn ang="0">
                  <a:pos x="connsiteX4526" y="connsiteY4526"/>
                </a:cxn>
                <a:cxn ang="0">
                  <a:pos x="connsiteX4527" y="connsiteY4527"/>
                </a:cxn>
                <a:cxn ang="0">
                  <a:pos x="connsiteX4528" y="connsiteY4528"/>
                </a:cxn>
                <a:cxn ang="0">
                  <a:pos x="connsiteX4529" y="connsiteY4529"/>
                </a:cxn>
                <a:cxn ang="0">
                  <a:pos x="connsiteX4530" y="connsiteY4530"/>
                </a:cxn>
                <a:cxn ang="0">
                  <a:pos x="connsiteX4531" y="connsiteY4531"/>
                </a:cxn>
                <a:cxn ang="0">
                  <a:pos x="connsiteX4532" y="connsiteY4532"/>
                </a:cxn>
                <a:cxn ang="0">
                  <a:pos x="connsiteX4533" y="connsiteY4533"/>
                </a:cxn>
                <a:cxn ang="0">
                  <a:pos x="connsiteX4534" y="connsiteY4534"/>
                </a:cxn>
                <a:cxn ang="0">
                  <a:pos x="connsiteX4535" y="connsiteY4535"/>
                </a:cxn>
                <a:cxn ang="0">
                  <a:pos x="connsiteX4536" y="connsiteY4536"/>
                </a:cxn>
                <a:cxn ang="0">
                  <a:pos x="connsiteX4537" y="connsiteY4537"/>
                </a:cxn>
                <a:cxn ang="0">
                  <a:pos x="connsiteX4538" y="connsiteY4538"/>
                </a:cxn>
                <a:cxn ang="0">
                  <a:pos x="connsiteX4539" y="connsiteY4539"/>
                </a:cxn>
                <a:cxn ang="0">
                  <a:pos x="connsiteX4540" y="connsiteY4540"/>
                </a:cxn>
                <a:cxn ang="0">
                  <a:pos x="connsiteX4541" y="connsiteY4541"/>
                </a:cxn>
                <a:cxn ang="0">
                  <a:pos x="connsiteX4542" y="connsiteY4542"/>
                </a:cxn>
                <a:cxn ang="0">
                  <a:pos x="connsiteX4543" y="connsiteY4543"/>
                </a:cxn>
                <a:cxn ang="0">
                  <a:pos x="connsiteX4544" y="connsiteY4544"/>
                </a:cxn>
                <a:cxn ang="0">
                  <a:pos x="connsiteX4545" y="connsiteY4545"/>
                </a:cxn>
                <a:cxn ang="0">
                  <a:pos x="connsiteX4546" y="connsiteY4546"/>
                </a:cxn>
                <a:cxn ang="0">
                  <a:pos x="connsiteX4547" y="connsiteY4547"/>
                </a:cxn>
                <a:cxn ang="0">
                  <a:pos x="connsiteX4548" y="connsiteY4548"/>
                </a:cxn>
                <a:cxn ang="0">
                  <a:pos x="connsiteX4549" y="connsiteY4549"/>
                </a:cxn>
                <a:cxn ang="0">
                  <a:pos x="connsiteX4550" y="connsiteY4550"/>
                </a:cxn>
                <a:cxn ang="0">
                  <a:pos x="connsiteX4551" y="connsiteY4551"/>
                </a:cxn>
                <a:cxn ang="0">
                  <a:pos x="connsiteX4552" y="connsiteY4552"/>
                </a:cxn>
                <a:cxn ang="0">
                  <a:pos x="connsiteX4553" y="connsiteY4553"/>
                </a:cxn>
                <a:cxn ang="0">
                  <a:pos x="connsiteX4554" y="connsiteY4554"/>
                </a:cxn>
                <a:cxn ang="0">
                  <a:pos x="connsiteX4555" y="connsiteY4555"/>
                </a:cxn>
                <a:cxn ang="0">
                  <a:pos x="connsiteX4556" y="connsiteY4556"/>
                </a:cxn>
                <a:cxn ang="0">
                  <a:pos x="connsiteX4557" y="connsiteY4557"/>
                </a:cxn>
                <a:cxn ang="0">
                  <a:pos x="connsiteX4558" y="connsiteY4558"/>
                </a:cxn>
                <a:cxn ang="0">
                  <a:pos x="connsiteX4559" y="connsiteY4559"/>
                </a:cxn>
                <a:cxn ang="0">
                  <a:pos x="connsiteX4560" y="connsiteY4560"/>
                </a:cxn>
                <a:cxn ang="0">
                  <a:pos x="connsiteX4561" y="connsiteY4561"/>
                </a:cxn>
                <a:cxn ang="0">
                  <a:pos x="connsiteX4562" y="connsiteY4562"/>
                </a:cxn>
                <a:cxn ang="0">
                  <a:pos x="connsiteX4563" y="connsiteY4563"/>
                </a:cxn>
                <a:cxn ang="0">
                  <a:pos x="connsiteX4564" y="connsiteY4564"/>
                </a:cxn>
                <a:cxn ang="0">
                  <a:pos x="connsiteX4565" y="connsiteY4565"/>
                </a:cxn>
                <a:cxn ang="0">
                  <a:pos x="connsiteX4566" y="connsiteY4566"/>
                </a:cxn>
                <a:cxn ang="0">
                  <a:pos x="connsiteX4567" y="connsiteY4567"/>
                </a:cxn>
                <a:cxn ang="0">
                  <a:pos x="connsiteX4568" y="connsiteY4568"/>
                </a:cxn>
                <a:cxn ang="0">
                  <a:pos x="connsiteX4569" y="connsiteY4569"/>
                </a:cxn>
                <a:cxn ang="0">
                  <a:pos x="connsiteX4570" y="connsiteY4570"/>
                </a:cxn>
                <a:cxn ang="0">
                  <a:pos x="connsiteX4571" y="connsiteY4571"/>
                </a:cxn>
                <a:cxn ang="0">
                  <a:pos x="connsiteX4572" y="connsiteY4572"/>
                </a:cxn>
                <a:cxn ang="0">
                  <a:pos x="connsiteX4573" y="connsiteY4573"/>
                </a:cxn>
                <a:cxn ang="0">
                  <a:pos x="connsiteX4574" y="connsiteY4574"/>
                </a:cxn>
                <a:cxn ang="0">
                  <a:pos x="connsiteX4575" y="connsiteY4575"/>
                </a:cxn>
                <a:cxn ang="0">
                  <a:pos x="connsiteX4576" y="connsiteY4576"/>
                </a:cxn>
                <a:cxn ang="0">
                  <a:pos x="connsiteX4577" y="connsiteY4577"/>
                </a:cxn>
                <a:cxn ang="0">
                  <a:pos x="connsiteX4578" y="connsiteY4578"/>
                </a:cxn>
                <a:cxn ang="0">
                  <a:pos x="connsiteX4579" y="connsiteY4579"/>
                </a:cxn>
                <a:cxn ang="0">
                  <a:pos x="connsiteX4580" y="connsiteY4580"/>
                </a:cxn>
                <a:cxn ang="0">
                  <a:pos x="connsiteX4581" y="connsiteY4581"/>
                </a:cxn>
                <a:cxn ang="0">
                  <a:pos x="connsiteX4582" y="connsiteY4582"/>
                </a:cxn>
                <a:cxn ang="0">
                  <a:pos x="connsiteX4583" y="connsiteY4583"/>
                </a:cxn>
                <a:cxn ang="0">
                  <a:pos x="connsiteX4584" y="connsiteY4584"/>
                </a:cxn>
                <a:cxn ang="0">
                  <a:pos x="connsiteX4585" y="connsiteY4585"/>
                </a:cxn>
                <a:cxn ang="0">
                  <a:pos x="connsiteX4586" y="connsiteY4586"/>
                </a:cxn>
                <a:cxn ang="0">
                  <a:pos x="connsiteX4587" y="connsiteY4587"/>
                </a:cxn>
                <a:cxn ang="0">
                  <a:pos x="connsiteX4588" y="connsiteY4588"/>
                </a:cxn>
                <a:cxn ang="0">
                  <a:pos x="connsiteX4589" y="connsiteY4589"/>
                </a:cxn>
                <a:cxn ang="0">
                  <a:pos x="connsiteX4590" y="connsiteY4590"/>
                </a:cxn>
                <a:cxn ang="0">
                  <a:pos x="connsiteX4591" y="connsiteY4591"/>
                </a:cxn>
                <a:cxn ang="0">
                  <a:pos x="connsiteX4592" y="connsiteY4592"/>
                </a:cxn>
                <a:cxn ang="0">
                  <a:pos x="connsiteX4593" y="connsiteY4593"/>
                </a:cxn>
                <a:cxn ang="0">
                  <a:pos x="connsiteX4594" y="connsiteY4594"/>
                </a:cxn>
                <a:cxn ang="0">
                  <a:pos x="connsiteX4595" y="connsiteY4595"/>
                </a:cxn>
                <a:cxn ang="0">
                  <a:pos x="connsiteX4596" y="connsiteY4596"/>
                </a:cxn>
                <a:cxn ang="0">
                  <a:pos x="connsiteX4597" y="connsiteY4597"/>
                </a:cxn>
                <a:cxn ang="0">
                  <a:pos x="connsiteX4598" y="connsiteY4598"/>
                </a:cxn>
                <a:cxn ang="0">
                  <a:pos x="connsiteX4599" y="connsiteY4599"/>
                </a:cxn>
                <a:cxn ang="0">
                  <a:pos x="connsiteX4600" y="connsiteY4600"/>
                </a:cxn>
                <a:cxn ang="0">
                  <a:pos x="connsiteX4601" y="connsiteY4601"/>
                </a:cxn>
                <a:cxn ang="0">
                  <a:pos x="connsiteX4602" y="connsiteY4602"/>
                </a:cxn>
                <a:cxn ang="0">
                  <a:pos x="connsiteX4603" y="connsiteY4603"/>
                </a:cxn>
                <a:cxn ang="0">
                  <a:pos x="connsiteX4604" y="connsiteY4604"/>
                </a:cxn>
                <a:cxn ang="0">
                  <a:pos x="connsiteX4605" y="connsiteY4605"/>
                </a:cxn>
                <a:cxn ang="0">
                  <a:pos x="connsiteX4606" y="connsiteY4606"/>
                </a:cxn>
                <a:cxn ang="0">
                  <a:pos x="connsiteX4607" y="connsiteY4607"/>
                </a:cxn>
                <a:cxn ang="0">
                  <a:pos x="connsiteX4608" y="connsiteY4608"/>
                </a:cxn>
                <a:cxn ang="0">
                  <a:pos x="connsiteX4609" y="connsiteY4609"/>
                </a:cxn>
                <a:cxn ang="0">
                  <a:pos x="connsiteX4610" y="connsiteY4610"/>
                </a:cxn>
                <a:cxn ang="0">
                  <a:pos x="connsiteX4611" y="connsiteY4611"/>
                </a:cxn>
                <a:cxn ang="0">
                  <a:pos x="connsiteX4612" y="connsiteY4612"/>
                </a:cxn>
                <a:cxn ang="0">
                  <a:pos x="connsiteX4613" y="connsiteY4613"/>
                </a:cxn>
                <a:cxn ang="0">
                  <a:pos x="connsiteX4614" y="connsiteY4614"/>
                </a:cxn>
                <a:cxn ang="0">
                  <a:pos x="connsiteX4615" y="connsiteY4615"/>
                </a:cxn>
                <a:cxn ang="0">
                  <a:pos x="connsiteX4616" y="connsiteY4616"/>
                </a:cxn>
                <a:cxn ang="0">
                  <a:pos x="connsiteX4617" y="connsiteY4617"/>
                </a:cxn>
                <a:cxn ang="0">
                  <a:pos x="connsiteX4618" y="connsiteY4618"/>
                </a:cxn>
                <a:cxn ang="0">
                  <a:pos x="connsiteX4619" y="connsiteY4619"/>
                </a:cxn>
                <a:cxn ang="0">
                  <a:pos x="connsiteX4620" y="connsiteY4620"/>
                </a:cxn>
                <a:cxn ang="0">
                  <a:pos x="connsiteX4621" y="connsiteY4621"/>
                </a:cxn>
                <a:cxn ang="0">
                  <a:pos x="connsiteX4622" y="connsiteY4622"/>
                </a:cxn>
                <a:cxn ang="0">
                  <a:pos x="connsiteX4623" y="connsiteY4623"/>
                </a:cxn>
                <a:cxn ang="0">
                  <a:pos x="connsiteX4624" y="connsiteY4624"/>
                </a:cxn>
                <a:cxn ang="0">
                  <a:pos x="connsiteX4625" y="connsiteY4625"/>
                </a:cxn>
                <a:cxn ang="0">
                  <a:pos x="connsiteX4626" y="connsiteY4626"/>
                </a:cxn>
                <a:cxn ang="0">
                  <a:pos x="connsiteX4627" y="connsiteY4627"/>
                </a:cxn>
                <a:cxn ang="0">
                  <a:pos x="connsiteX4628" y="connsiteY4628"/>
                </a:cxn>
                <a:cxn ang="0">
                  <a:pos x="connsiteX4629" y="connsiteY4629"/>
                </a:cxn>
                <a:cxn ang="0">
                  <a:pos x="connsiteX4630" y="connsiteY4630"/>
                </a:cxn>
                <a:cxn ang="0">
                  <a:pos x="connsiteX4631" y="connsiteY4631"/>
                </a:cxn>
                <a:cxn ang="0">
                  <a:pos x="connsiteX4632" y="connsiteY4632"/>
                </a:cxn>
                <a:cxn ang="0">
                  <a:pos x="connsiteX4633" y="connsiteY4633"/>
                </a:cxn>
                <a:cxn ang="0">
                  <a:pos x="connsiteX4634" y="connsiteY4634"/>
                </a:cxn>
                <a:cxn ang="0">
                  <a:pos x="connsiteX4635" y="connsiteY4635"/>
                </a:cxn>
                <a:cxn ang="0">
                  <a:pos x="connsiteX4636" y="connsiteY4636"/>
                </a:cxn>
                <a:cxn ang="0">
                  <a:pos x="connsiteX4637" y="connsiteY4637"/>
                </a:cxn>
                <a:cxn ang="0">
                  <a:pos x="connsiteX4638" y="connsiteY4638"/>
                </a:cxn>
                <a:cxn ang="0">
                  <a:pos x="connsiteX4639" y="connsiteY4639"/>
                </a:cxn>
                <a:cxn ang="0">
                  <a:pos x="connsiteX4640" y="connsiteY4640"/>
                </a:cxn>
                <a:cxn ang="0">
                  <a:pos x="connsiteX4641" y="connsiteY4641"/>
                </a:cxn>
                <a:cxn ang="0">
                  <a:pos x="connsiteX4642" y="connsiteY4642"/>
                </a:cxn>
                <a:cxn ang="0">
                  <a:pos x="connsiteX4643" y="connsiteY4643"/>
                </a:cxn>
                <a:cxn ang="0">
                  <a:pos x="connsiteX4644" y="connsiteY4644"/>
                </a:cxn>
                <a:cxn ang="0">
                  <a:pos x="connsiteX4645" y="connsiteY4645"/>
                </a:cxn>
                <a:cxn ang="0">
                  <a:pos x="connsiteX4646" y="connsiteY4646"/>
                </a:cxn>
                <a:cxn ang="0">
                  <a:pos x="connsiteX4647" y="connsiteY4647"/>
                </a:cxn>
                <a:cxn ang="0">
                  <a:pos x="connsiteX4648" y="connsiteY4648"/>
                </a:cxn>
                <a:cxn ang="0">
                  <a:pos x="connsiteX4649" y="connsiteY4649"/>
                </a:cxn>
                <a:cxn ang="0">
                  <a:pos x="connsiteX4650" y="connsiteY4650"/>
                </a:cxn>
                <a:cxn ang="0">
                  <a:pos x="connsiteX4651" y="connsiteY4651"/>
                </a:cxn>
                <a:cxn ang="0">
                  <a:pos x="connsiteX4652" y="connsiteY4652"/>
                </a:cxn>
                <a:cxn ang="0">
                  <a:pos x="connsiteX4653" y="connsiteY4653"/>
                </a:cxn>
                <a:cxn ang="0">
                  <a:pos x="connsiteX4654" y="connsiteY4654"/>
                </a:cxn>
                <a:cxn ang="0">
                  <a:pos x="connsiteX4655" y="connsiteY4655"/>
                </a:cxn>
                <a:cxn ang="0">
                  <a:pos x="connsiteX4656" y="connsiteY4656"/>
                </a:cxn>
                <a:cxn ang="0">
                  <a:pos x="connsiteX4657" y="connsiteY4657"/>
                </a:cxn>
                <a:cxn ang="0">
                  <a:pos x="connsiteX4658" y="connsiteY4658"/>
                </a:cxn>
                <a:cxn ang="0">
                  <a:pos x="connsiteX4659" y="connsiteY4659"/>
                </a:cxn>
                <a:cxn ang="0">
                  <a:pos x="connsiteX4660" y="connsiteY4660"/>
                </a:cxn>
                <a:cxn ang="0">
                  <a:pos x="connsiteX4661" y="connsiteY4661"/>
                </a:cxn>
                <a:cxn ang="0">
                  <a:pos x="connsiteX4662" y="connsiteY4662"/>
                </a:cxn>
                <a:cxn ang="0">
                  <a:pos x="connsiteX4663" y="connsiteY4663"/>
                </a:cxn>
                <a:cxn ang="0">
                  <a:pos x="connsiteX4664" y="connsiteY4664"/>
                </a:cxn>
                <a:cxn ang="0">
                  <a:pos x="connsiteX4665" y="connsiteY4665"/>
                </a:cxn>
                <a:cxn ang="0">
                  <a:pos x="connsiteX4666" y="connsiteY4666"/>
                </a:cxn>
                <a:cxn ang="0">
                  <a:pos x="connsiteX4667" y="connsiteY4667"/>
                </a:cxn>
                <a:cxn ang="0">
                  <a:pos x="connsiteX4668" y="connsiteY4668"/>
                </a:cxn>
                <a:cxn ang="0">
                  <a:pos x="connsiteX4669" y="connsiteY4669"/>
                </a:cxn>
                <a:cxn ang="0">
                  <a:pos x="connsiteX4670" y="connsiteY4670"/>
                </a:cxn>
                <a:cxn ang="0">
                  <a:pos x="connsiteX4671" y="connsiteY4671"/>
                </a:cxn>
                <a:cxn ang="0">
                  <a:pos x="connsiteX4672" y="connsiteY4672"/>
                </a:cxn>
                <a:cxn ang="0">
                  <a:pos x="connsiteX4673" y="connsiteY4673"/>
                </a:cxn>
                <a:cxn ang="0">
                  <a:pos x="connsiteX4674" y="connsiteY4674"/>
                </a:cxn>
                <a:cxn ang="0">
                  <a:pos x="connsiteX4675" y="connsiteY4675"/>
                </a:cxn>
                <a:cxn ang="0">
                  <a:pos x="connsiteX4676" y="connsiteY4676"/>
                </a:cxn>
                <a:cxn ang="0">
                  <a:pos x="connsiteX4677" y="connsiteY4677"/>
                </a:cxn>
                <a:cxn ang="0">
                  <a:pos x="connsiteX4678" y="connsiteY4678"/>
                </a:cxn>
                <a:cxn ang="0">
                  <a:pos x="connsiteX4679" y="connsiteY4679"/>
                </a:cxn>
                <a:cxn ang="0">
                  <a:pos x="connsiteX4680" y="connsiteY4680"/>
                </a:cxn>
                <a:cxn ang="0">
                  <a:pos x="connsiteX4681" y="connsiteY4681"/>
                </a:cxn>
                <a:cxn ang="0">
                  <a:pos x="connsiteX4682" y="connsiteY4682"/>
                </a:cxn>
                <a:cxn ang="0">
                  <a:pos x="connsiteX4683" y="connsiteY4683"/>
                </a:cxn>
                <a:cxn ang="0">
                  <a:pos x="connsiteX4684" y="connsiteY4684"/>
                </a:cxn>
                <a:cxn ang="0">
                  <a:pos x="connsiteX4685" y="connsiteY4685"/>
                </a:cxn>
                <a:cxn ang="0">
                  <a:pos x="connsiteX4686" y="connsiteY4686"/>
                </a:cxn>
                <a:cxn ang="0">
                  <a:pos x="connsiteX4687" y="connsiteY4687"/>
                </a:cxn>
                <a:cxn ang="0">
                  <a:pos x="connsiteX4688" y="connsiteY4688"/>
                </a:cxn>
                <a:cxn ang="0">
                  <a:pos x="connsiteX4689" y="connsiteY4689"/>
                </a:cxn>
                <a:cxn ang="0">
                  <a:pos x="connsiteX4690" y="connsiteY4690"/>
                </a:cxn>
                <a:cxn ang="0">
                  <a:pos x="connsiteX4691" y="connsiteY4691"/>
                </a:cxn>
                <a:cxn ang="0">
                  <a:pos x="connsiteX4692" y="connsiteY4692"/>
                </a:cxn>
                <a:cxn ang="0">
                  <a:pos x="connsiteX4693" y="connsiteY4693"/>
                </a:cxn>
                <a:cxn ang="0">
                  <a:pos x="connsiteX4694" y="connsiteY4694"/>
                </a:cxn>
                <a:cxn ang="0">
                  <a:pos x="connsiteX4695" y="connsiteY4695"/>
                </a:cxn>
                <a:cxn ang="0">
                  <a:pos x="connsiteX4696" y="connsiteY4696"/>
                </a:cxn>
                <a:cxn ang="0">
                  <a:pos x="connsiteX4697" y="connsiteY4697"/>
                </a:cxn>
                <a:cxn ang="0">
                  <a:pos x="connsiteX4698" y="connsiteY4698"/>
                </a:cxn>
                <a:cxn ang="0">
                  <a:pos x="connsiteX4699" y="connsiteY4699"/>
                </a:cxn>
                <a:cxn ang="0">
                  <a:pos x="connsiteX4700" y="connsiteY4700"/>
                </a:cxn>
                <a:cxn ang="0">
                  <a:pos x="connsiteX4701" y="connsiteY4701"/>
                </a:cxn>
                <a:cxn ang="0">
                  <a:pos x="connsiteX4702" y="connsiteY4702"/>
                </a:cxn>
                <a:cxn ang="0">
                  <a:pos x="connsiteX4703" y="connsiteY4703"/>
                </a:cxn>
                <a:cxn ang="0">
                  <a:pos x="connsiteX4704" y="connsiteY4704"/>
                </a:cxn>
                <a:cxn ang="0">
                  <a:pos x="connsiteX4705" y="connsiteY4705"/>
                </a:cxn>
                <a:cxn ang="0">
                  <a:pos x="connsiteX4706" y="connsiteY4706"/>
                </a:cxn>
                <a:cxn ang="0">
                  <a:pos x="connsiteX4707" y="connsiteY4707"/>
                </a:cxn>
                <a:cxn ang="0">
                  <a:pos x="connsiteX4708" y="connsiteY4708"/>
                </a:cxn>
                <a:cxn ang="0">
                  <a:pos x="connsiteX4709" y="connsiteY4709"/>
                </a:cxn>
                <a:cxn ang="0">
                  <a:pos x="connsiteX4710" y="connsiteY4710"/>
                </a:cxn>
                <a:cxn ang="0">
                  <a:pos x="connsiteX4711" y="connsiteY4711"/>
                </a:cxn>
                <a:cxn ang="0">
                  <a:pos x="connsiteX4712" y="connsiteY4712"/>
                </a:cxn>
                <a:cxn ang="0">
                  <a:pos x="connsiteX4713" y="connsiteY4713"/>
                </a:cxn>
                <a:cxn ang="0">
                  <a:pos x="connsiteX4714" y="connsiteY4714"/>
                </a:cxn>
                <a:cxn ang="0">
                  <a:pos x="connsiteX4715" y="connsiteY4715"/>
                </a:cxn>
                <a:cxn ang="0">
                  <a:pos x="connsiteX4716" y="connsiteY4716"/>
                </a:cxn>
                <a:cxn ang="0">
                  <a:pos x="connsiteX4717" y="connsiteY4717"/>
                </a:cxn>
                <a:cxn ang="0">
                  <a:pos x="connsiteX4718" y="connsiteY4718"/>
                </a:cxn>
                <a:cxn ang="0">
                  <a:pos x="connsiteX4719" y="connsiteY4719"/>
                </a:cxn>
                <a:cxn ang="0">
                  <a:pos x="connsiteX4720" y="connsiteY4720"/>
                </a:cxn>
                <a:cxn ang="0">
                  <a:pos x="connsiteX4721" y="connsiteY4721"/>
                </a:cxn>
                <a:cxn ang="0">
                  <a:pos x="connsiteX4722" y="connsiteY4722"/>
                </a:cxn>
                <a:cxn ang="0">
                  <a:pos x="connsiteX4723" y="connsiteY4723"/>
                </a:cxn>
                <a:cxn ang="0">
                  <a:pos x="connsiteX4724" y="connsiteY4724"/>
                </a:cxn>
                <a:cxn ang="0">
                  <a:pos x="connsiteX4725" y="connsiteY4725"/>
                </a:cxn>
                <a:cxn ang="0">
                  <a:pos x="connsiteX4726" y="connsiteY4726"/>
                </a:cxn>
                <a:cxn ang="0">
                  <a:pos x="connsiteX4727" y="connsiteY4727"/>
                </a:cxn>
                <a:cxn ang="0">
                  <a:pos x="connsiteX4728" y="connsiteY4728"/>
                </a:cxn>
                <a:cxn ang="0">
                  <a:pos x="connsiteX4729" y="connsiteY4729"/>
                </a:cxn>
                <a:cxn ang="0">
                  <a:pos x="connsiteX4730" y="connsiteY4730"/>
                </a:cxn>
                <a:cxn ang="0">
                  <a:pos x="connsiteX4731" y="connsiteY4731"/>
                </a:cxn>
                <a:cxn ang="0">
                  <a:pos x="connsiteX4732" y="connsiteY4732"/>
                </a:cxn>
                <a:cxn ang="0">
                  <a:pos x="connsiteX4733" y="connsiteY4733"/>
                </a:cxn>
                <a:cxn ang="0">
                  <a:pos x="connsiteX4734" y="connsiteY4734"/>
                </a:cxn>
                <a:cxn ang="0">
                  <a:pos x="connsiteX4735" y="connsiteY4735"/>
                </a:cxn>
                <a:cxn ang="0">
                  <a:pos x="connsiteX4736" y="connsiteY4736"/>
                </a:cxn>
                <a:cxn ang="0">
                  <a:pos x="connsiteX4737" y="connsiteY4737"/>
                </a:cxn>
                <a:cxn ang="0">
                  <a:pos x="connsiteX4738" y="connsiteY4738"/>
                </a:cxn>
                <a:cxn ang="0">
                  <a:pos x="connsiteX4739" y="connsiteY4739"/>
                </a:cxn>
                <a:cxn ang="0">
                  <a:pos x="connsiteX4740" y="connsiteY4740"/>
                </a:cxn>
                <a:cxn ang="0">
                  <a:pos x="connsiteX4741" y="connsiteY4741"/>
                </a:cxn>
                <a:cxn ang="0">
                  <a:pos x="connsiteX4742" y="connsiteY4742"/>
                </a:cxn>
                <a:cxn ang="0">
                  <a:pos x="connsiteX4743" y="connsiteY4743"/>
                </a:cxn>
                <a:cxn ang="0">
                  <a:pos x="connsiteX4744" y="connsiteY4744"/>
                </a:cxn>
                <a:cxn ang="0">
                  <a:pos x="connsiteX4745" y="connsiteY4745"/>
                </a:cxn>
                <a:cxn ang="0">
                  <a:pos x="connsiteX4746" y="connsiteY4746"/>
                </a:cxn>
                <a:cxn ang="0">
                  <a:pos x="connsiteX4747" y="connsiteY4747"/>
                </a:cxn>
                <a:cxn ang="0">
                  <a:pos x="connsiteX4748" y="connsiteY4748"/>
                </a:cxn>
                <a:cxn ang="0">
                  <a:pos x="connsiteX4749" y="connsiteY4749"/>
                </a:cxn>
                <a:cxn ang="0">
                  <a:pos x="connsiteX4750" y="connsiteY4750"/>
                </a:cxn>
                <a:cxn ang="0">
                  <a:pos x="connsiteX4751" y="connsiteY4751"/>
                </a:cxn>
                <a:cxn ang="0">
                  <a:pos x="connsiteX4752" y="connsiteY4752"/>
                </a:cxn>
                <a:cxn ang="0">
                  <a:pos x="connsiteX4753" y="connsiteY4753"/>
                </a:cxn>
                <a:cxn ang="0">
                  <a:pos x="connsiteX4754" y="connsiteY4754"/>
                </a:cxn>
                <a:cxn ang="0">
                  <a:pos x="connsiteX4755" y="connsiteY4755"/>
                </a:cxn>
                <a:cxn ang="0">
                  <a:pos x="connsiteX4756" y="connsiteY4756"/>
                </a:cxn>
                <a:cxn ang="0">
                  <a:pos x="connsiteX4757" y="connsiteY4757"/>
                </a:cxn>
                <a:cxn ang="0">
                  <a:pos x="connsiteX4758" y="connsiteY4758"/>
                </a:cxn>
                <a:cxn ang="0">
                  <a:pos x="connsiteX4759" y="connsiteY4759"/>
                </a:cxn>
                <a:cxn ang="0">
                  <a:pos x="connsiteX4760" y="connsiteY4760"/>
                </a:cxn>
                <a:cxn ang="0">
                  <a:pos x="connsiteX4761" y="connsiteY4761"/>
                </a:cxn>
                <a:cxn ang="0">
                  <a:pos x="connsiteX4762" y="connsiteY4762"/>
                </a:cxn>
                <a:cxn ang="0">
                  <a:pos x="connsiteX4763" y="connsiteY4763"/>
                </a:cxn>
                <a:cxn ang="0">
                  <a:pos x="connsiteX4764" y="connsiteY4764"/>
                </a:cxn>
                <a:cxn ang="0">
                  <a:pos x="connsiteX4765" y="connsiteY4765"/>
                </a:cxn>
                <a:cxn ang="0">
                  <a:pos x="connsiteX4766" y="connsiteY4766"/>
                </a:cxn>
                <a:cxn ang="0">
                  <a:pos x="connsiteX4767" y="connsiteY4767"/>
                </a:cxn>
                <a:cxn ang="0">
                  <a:pos x="connsiteX4768" y="connsiteY4768"/>
                </a:cxn>
                <a:cxn ang="0">
                  <a:pos x="connsiteX4769" y="connsiteY4769"/>
                </a:cxn>
                <a:cxn ang="0">
                  <a:pos x="connsiteX4770" y="connsiteY4770"/>
                </a:cxn>
                <a:cxn ang="0">
                  <a:pos x="connsiteX4771" y="connsiteY4771"/>
                </a:cxn>
                <a:cxn ang="0">
                  <a:pos x="connsiteX4772" y="connsiteY4772"/>
                </a:cxn>
                <a:cxn ang="0">
                  <a:pos x="connsiteX4773" y="connsiteY4773"/>
                </a:cxn>
                <a:cxn ang="0">
                  <a:pos x="connsiteX4774" y="connsiteY4774"/>
                </a:cxn>
                <a:cxn ang="0">
                  <a:pos x="connsiteX4775" y="connsiteY4775"/>
                </a:cxn>
                <a:cxn ang="0">
                  <a:pos x="connsiteX4776" y="connsiteY4776"/>
                </a:cxn>
                <a:cxn ang="0">
                  <a:pos x="connsiteX4777" y="connsiteY4777"/>
                </a:cxn>
                <a:cxn ang="0">
                  <a:pos x="connsiteX4778" y="connsiteY4778"/>
                </a:cxn>
                <a:cxn ang="0">
                  <a:pos x="connsiteX4779" y="connsiteY4779"/>
                </a:cxn>
                <a:cxn ang="0">
                  <a:pos x="connsiteX4780" y="connsiteY4780"/>
                </a:cxn>
                <a:cxn ang="0">
                  <a:pos x="connsiteX4781" y="connsiteY4781"/>
                </a:cxn>
                <a:cxn ang="0">
                  <a:pos x="connsiteX4782" y="connsiteY4782"/>
                </a:cxn>
                <a:cxn ang="0">
                  <a:pos x="connsiteX4783" y="connsiteY4783"/>
                </a:cxn>
                <a:cxn ang="0">
                  <a:pos x="connsiteX4784" y="connsiteY4784"/>
                </a:cxn>
                <a:cxn ang="0">
                  <a:pos x="connsiteX4785" y="connsiteY4785"/>
                </a:cxn>
                <a:cxn ang="0">
                  <a:pos x="connsiteX4786" y="connsiteY4786"/>
                </a:cxn>
                <a:cxn ang="0">
                  <a:pos x="connsiteX4787" y="connsiteY4787"/>
                </a:cxn>
                <a:cxn ang="0">
                  <a:pos x="connsiteX4788" y="connsiteY4788"/>
                </a:cxn>
                <a:cxn ang="0">
                  <a:pos x="connsiteX4789" y="connsiteY4789"/>
                </a:cxn>
                <a:cxn ang="0">
                  <a:pos x="connsiteX4790" y="connsiteY4790"/>
                </a:cxn>
                <a:cxn ang="0">
                  <a:pos x="connsiteX4791" y="connsiteY4791"/>
                </a:cxn>
                <a:cxn ang="0">
                  <a:pos x="connsiteX4792" y="connsiteY4792"/>
                </a:cxn>
                <a:cxn ang="0">
                  <a:pos x="connsiteX4793" y="connsiteY4793"/>
                </a:cxn>
                <a:cxn ang="0">
                  <a:pos x="connsiteX4794" y="connsiteY4794"/>
                </a:cxn>
                <a:cxn ang="0">
                  <a:pos x="connsiteX4795" y="connsiteY4795"/>
                </a:cxn>
                <a:cxn ang="0">
                  <a:pos x="connsiteX4796" y="connsiteY4796"/>
                </a:cxn>
                <a:cxn ang="0">
                  <a:pos x="connsiteX4797" y="connsiteY4797"/>
                </a:cxn>
                <a:cxn ang="0">
                  <a:pos x="connsiteX4798" y="connsiteY4798"/>
                </a:cxn>
                <a:cxn ang="0">
                  <a:pos x="connsiteX4799" y="connsiteY4799"/>
                </a:cxn>
                <a:cxn ang="0">
                  <a:pos x="connsiteX4800" y="connsiteY4800"/>
                </a:cxn>
                <a:cxn ang="0">
                  <a:pos x="connsiteX4801" y="connsiteY4801"/>
                </a:cxn>
                <a:cxn ang="0">
                  <a:pos x="connsiteX4802" y="connsiteY4802"/>
                </a:cxn>
                <a:cxn ang="0">
                  <a:pos x="connsiteX4803" y="connsiteY4803"/>
                </a:cxn>
                <a:cxn ang="0">
                  <a:pos x="connsiteX4804" y="connsiteY4804"/>
                </a:cxn>
                <a:cxn ang="0">
                  <a:pos x="connsiteX4805" y="connsiteY4805"/>
                </a:cxn>
                <a:cxn ang="0">
                  <a:pos x="connsiteX4806" y="connsiteY4806"/>
                </a:cxn>
                <a:cxn ang="0">
                  <a:pos x="connsiteX4807" y="connsiteY4807"/>
                </a:cxn>
                <a:cxn ang="0">
                  <a:pos x="connsiteX4808" y="connsiteY4808"/>
                </a:cxn>
                <a:cxn ang="0">
                  <a:pos x="connsiteX4809" y="connsiteY4809"/>
                </a:cxn>
                <a:cxn ang="0">
                  <a:pos x="connsiteX4810" y="connsiteY4810"/>
                </a:cxn>
                <a:cxn ang="0">
                  <a:pos x="connsiteX4811" y="connsiteY4811"/>
                </a:cxn>
                <a:cxn ang="0">
                  <a:pos x="connsiteX4812" y="connsiteY4812"/>
                </a:cxn>
                <a:cxn ang="0">
                  <a:pos x="connsiteX4813" y="connsiteY4813"/>
                </a:cxn>
                <a:cxn ang="0">
                  <a:pos x="connsiteX4814" y="connsiteY4814"/>
                </a:cxn>
                <a:cxn ang="0">
                  <a:pos x="connsiteX4815" y="connsiteY4815"/>
                </a:cxn>
                <a:cxn ang="0">
                  <a:pos x="connsiteX4816" y="connsiteY4816"/>
                </a:cxn>
                <a:cxn ang="0">
                  <a:pos x="connsiteX4817" y="connsiteY4817"/>
                </a:cxn>
                <a:cxn ang="0">
                  <a:pos x="connsiteX4818" y="connsiteY4818"/>
                </a:cxn>
                <a:cxn ang="0">
                  <a:pos x="connsiteX4819" y="connsiteY4819"/>
                </a:cxn>
                <a:cxn ang="0">
                  <a:pos x="connsiteX4820" y="connsiteY4820"/>
                </a:cxn>
                <a:cxn ang="0">
                  <a:pos x="connsiteX4821" y="connsiteY4821"/>
                </a:cxn>
                <a:cxn ang="0">
                  <a:pos x="connsiteX4822" y="connsiteY4822"/>
                </a:cxn>
                <a:cxn ang="0">
                  <a:pos x="connsiteX4823" y="connsiteY4823"/>
                </a:cxn>
                <a:cxn ang="0">
                  <a:pos x="connsiteX4824" y="connsiteY4824"/>
                </a:cxn>
                <a:cxn ang="0">
                  <a:pos x="connsiteX4825" y="connsiteY4825"/>
                </a:cxn>
                <a:cxn ang="0">
                  <a:pos x="connsiteX4826" y="connsiteY4826"/>
                </a:cxn>
                <a:cxn ang="0">
                  <a:pos x="connsiteX4827" y="connsiteY4827"/>
                </a:cxn>
                <a:cxn ang="0">
                  <a:pos x="connsiteX4828" y="connsiteY4828"/>
                </a:cxn>
                <a:cxn ang="0">
                  <a:pos x="connsiteX4829" y="connsiteY4829"/>
                </a:cxn>
                <a:cxn ang="0">
                  <a:pos x="connsiteX4830" y="connsiteY4830"/>
                </a:cxn>
                <a:cxn ang="0">
                  <a:pos x="connsiteX4831" y="connsiteY4831"/>
                </a:cxn>
                <a:cxn ang="0">
                  <a:pos x="connsiteX4832" y="connsiteY4832"/>
                </a:cxn>
                <a:cxn ang="0">
                  <a:pos x="connsiteX4833" y="connsiteY4833"/>
                </a:cxn>
                <a:cxn ang="0">
                  <a:pos x="connsiteX4834" y="connsiteY4834"/>
                </a:cxn>
                <a:cxn ang="0">
                  <a:pos x="connsiteX4835" y="connsiteY4835"/>
                </a:cxn>
                <a:cxn ang="0">
                  <a:pos x="connsiteX4836" y="connsiteY4836"/>
                </a:cxn>
                <a:cxn ang="0">
                  <a:pos x="connsiteX4837" y="connsiteY4837"/>
                </a:cxn>
                <a:cxn ang="0">
                  <a:pos x="connsiteX4838" y="connsiteY4838"/>
                </a:cxn>
                <a:cxn ang="0">
                  <a:pos x="connsiteX4839" y="connsiteY4839"/>
                </a:cxn>
                <a:cxn ang="0">
                  <a:pos x="connsiteX4840" y="connsiteY4840"/>
                </a:cxn>
                <a:cxn ang="0">
                  <a:pos x="connsiteX4841" y="connsiteY4841"/>
                </a:cxn>
                <a:cxn ang="0">
                  <a:pos x="connsiteX4842" y="connsiteY4842"/>
                </a:cxn>
                <a:cxn ang="0">
                  <a:pos x="connsiteX4843" y="connsiteY4843"/>
                </a:cxn>
                <a:cxn ang="0">
                  <a:pos x="connsiteX4844" y="connsiteY4844"/>
                </a:cxn>
                <a:cxn ang="0">
                  <a:pos x="connsiteX4845" y="connsiteY4845"/>
                </a:cxn>
                <a:cxn ang="0">
                  <a:pos x="connsiteX4846" y="connsiteY4846"/>
                </a:cxn>
                <a:cxn ang="0">
                  <a:pos x="connsiteX4847" y="connsiteY4847"/>
                </a:cxn>
                <a:cxn ang="0">
                  <a:pos x="connsiteX4848" y="connsiteY4848"/>
                </a:cxn>
                <a:cxn ang="0">
                  <a:pos x="connsiteX4849" y="connsiteY4849"/>
                </a:cxn>
                <a:cxn ang="0">
                  <a:pos x="connsiteX4850" y="connsiteY4850"/>
                </a:cxn>
                <a:cxn ang="0">
                  <a:pos x="connsiteX4851" y="connsiteY4851"/>
                </a:cxn>
                <a:cxn ang="0">
                  <a:pos x="connsiteX4852" y="connsiteY4852"/>
                </a:cxn>
                <a:cxn ang="0">
                  <a:pos x="connsiteX4853" y="connsiteY4853"/>
                </a:cxn>
                <a:cxn ang="0">
                  <a:pos x="connsiteX4854" y="connsiteY4854"/>
                </a:cxn>
                <a:cxn ang="0">
                  <a:pos x="connsiteX4855" y="connsiteY4855"/>
                </a:cxn>
                <a:cxn ang="0">
                  <a:pos x="connsiteX4856" y="connsiteY4856"/>
                </a:cxn>
                <a:cxn ang="0">
                  <a:pos x="connsiteX4857" y="connsiteY4857"/>
                </a:cxn>
                <a:cxn ang="0">
                  <a:pos x="connsiteX4858" y="connsiteY4858"/>
                </a:cxn>
                <a:cxn ang="0">
                  <a:pos x="connsiteX4859" y="connsiteY4859"/>
                </a:cxn>
                <a:cxn ang="0">
                  <a:pos x="connsiteX4860" y="connsiteY4860"/>
                </a:cxn>
                <a:cxn ang="0">
                  <a:pos x="connsiteX4861" y="connsiteY4861"/>
                </a:cxn>
                <a:cxn ang="0">
                  <a:pos x="connsiteX4862" y="connsiteY4862"/>
                </a:cxn>
                <a:cxn ang="0">
                  <a:pos x="connsiteX4863" y="connsiteY4863"/>
                </a:cxn>
                <a:cxn ang="0">
                  <a:pos x="connsiteX4864" y="connsiteY4864"/>
                </a:cxn>
                <a:cxn ang="0">
                  <a:pos x="connsiteX4865" y="connsiteY4865"/>
                </a:cxn>
                <a:cxn ang="0">
                  <a:pos x="connsiteX4866" y="connsiteY4866"/>
                </a:cxn>
                <a:cxn ang="0">
                  <a:pos x="connsiteX4867" y="connsiteY4867"/>
                </a:cxn>
                <a:cxn ang="0">
                  <a:pos x="connsiteX4868" y="connsiteY4868"/>
                </a:cxn>
                <a:cxn ang="0">
                  <a:pos x="connsiteX4869" y="connsiteY4869"/>
                </a:cxn>
                <a:cxn ang="0">
                  <a:pos x="connsiteX4870" y="connsiteY4870"/>
                </a:cxn>
                <a:cxn ang="0">
                  <a:pos x="connsiteX4871" y="connsiteY4871"/>
                </a:cxn>
                <a:cxn ang="0">
                  <a:pos x="connsiteX4872" y="connsiteY4872"/>
                </a:cxn>
                <a:cxn ang="0">
                  <a:pos x="connsiteX4873" y="connsiteY4873"/>
                </a:cxn>
                <a:cxn ang="0">
                  <a:pos x="connsiteX4874" y="connsiteY4874"/>
                </a:cxn>
                <a:cxn ang="0">
                  <a:pos x="connsiteX4875" y="connsiteY4875"/>
                </a:cxn>
                <a:cxn ang="0">
                  <a:pos x="connsiteX4876" y="connsiteY4876"/>
                </a:cxn>
                <a:cxn ang="0">
                  <a:pos x="connsiteX4877" y="connsiteY4877"/>
                </a:cxn>
                <a:cxn ang="0">
                  <a:pos x="connsiteX4878" y="connsiteY4878"/>
                </a:cxn>
                <a:cxn ang="0">
                  <a:pos x="connsiteX4879" y="connsiteY4879"/>
                </a:cxn>
                <a:cxn ang="0">
                  <a:pos x="connsiteX4880" y="connsiteY4880"/>
                </a:cxn>
                <a:cxn ang="0">
                  <a:pos x="connsiteX4881" y="connsiteY4881"/>
                </a:cxn>
                <a:cxn ang="0">
                  <a:pos x="connsiteX4882" y="connsiteY4882"/>
                </a:cxn>
                <a:cxn ang="0">
                  <a:pos x="connsiteX4883" y="connsiteY4883"/>
                </a:cxn>
                <a:cxn ang="0">
                  <a:pos x="connsiteX4884" y="connsiteY4884"/>
                </a:cxn>
                <a:cxn ang="0">
                  <a:pos x="connsiteX4885" y="connsiteY4885"/>
                </a:cxn>
                <a:cxn ang="0">
                  <a:pos x="connsiteX4886" y="connsiteY4886"/>
                </a:cxn>
                <a:cxn ang="0">
                  <a:pos x="connsiteX4887" y="connsiteY4887"/>
                </a:cxn>
                <a:cxn ang="0">
                  <a:pos x="connsiteX4888" y="connsiteY4888"/>
                </a:cxn>
                <a:cxn ang="0">
                  <a:pos x="connsiteX4889" y="connsiteY4889"/>
                </a:cxn>
                <a:cxn ang="0">
                  <a:pos x="connsiteX4890" y="connsiteY4890"/>
                </a:cxn>
                <a:cxn ang="0">
                  <a:pos x="connsiteX4891" y="connsiteY4891"/>
                </a:cxn>
                <a:cxn ang="0">
                  <a:pos x="connsiteX4892" y="connsiteY4892"/>
                </a:cxn>
                <a:cxn ang="0">
                  <a:pos x="connsiteX4893" y="connsiteY4893"/>
                </a:cxn>
                <a:cxn ang="0">
                  <a:pos x="connsiteX4894" y="connsiteY4894"/>
                </a:cxn>
                <a:cxn ang="0">
                  <a:pos x="connsiteX4895" y="connsiteY4895"/>
                </a:cxn>
                <a:cxn ang="0">
                  <a:pos x="connsiteX4896" y="connsiteY4896"/>
                </a:cxn>
                <a:cxn ang="0">
                  <a:pos x="connsiteX4897" y="connsiteY4897"/>
                </a:cxn>
                <a:cxn ang="0">
                  <a:pos x="connsiteX4898" y="connsiteY4898"/>
                </a:cxn>
                <a:cxn ang="0">
                  <a:pos x="connsiteX4899" y="connsiteY4899"/>
                </a:cxn>
                <a:cxn ang="0">
                  <a:pos x="connsiteX4900" y="connsiteY4900"/>
                </a:cxn>
                <a:cxn ang="0">
                  <a:pos x="connsiteX4901" y="connsiteY4901"/>
                </a:cxn>
                <a:cxn ang="0">
                  <a:pos x="connsiteX4902" y="connsiteY4902"/>
                </a:cxn>
                <a:cxn ang="0">
                  <a:pos x="connsiteX4903" y="connsiteY4903"/>
                </a:cxn>
                <a:cxn ang="0">
                  <a:pos x="connsiteX4904" y="connsiteY4904"/>
                </a:cxn>
                <a:cxn ang="0">
                  <a:pos x="connsiteX4905" y="connsiteY4905"/>
                </a:cxn>
                <a:cxn ang="0">
                  <a:pos x="connsiteX4906" y="connsiteY4906"/>
                </a:cxn>
                <a:cxn ang="0">
                  <a:pos x="connsiteX4907" y="connsiteY4907"/>
                </a:cxn>
                <a:cxn ang="0">
                  <a:pos x="connsiteX4908" y="connsiteY4908"/>
                </a:cxn>
                <a:cxn ang="0">
                  <a:pos x="connsiteX4909" y="connsiteY4909"/>
                </a:cxn>
                <a:cxn ang="0">
                  <a:pos x="connsiteX4910" y="connsiteY4910"/>
                </a:cxn>
                <a:cxn ang="0">
                  <a:pos x="connsiteX4911" y="connsiteY4911"/>
                </a:cxn>
                <a:cxn ang="0">
                  <a:pos x="connsiteX4912" y="connsiteY4912"/>
                </a:cxn>
                <a:cxn ang="0">
                  <a:pos x="connsiteX4913" y="connsiteY4913"/>
                </a:cxn>
                <a:cxn ang="0">
                  <a:pos x="connsiteX4914" y="connsiteY4914"/>
                </a:cxn>
                <a:cxn ang="0">
                  <a:pos x="connsiteX4915" y="connsiteY4915"/>
                </a:cxn>
                <a:cxn ang="0">
                  <a:pos x="connsiteX4916" y="connsiteY4916"/>
                </a:cxn>
                <a:cxn ang="0">
                  <a:pos x="connsiteX4917" y="connsiteY4917"/>
                </a:cxn>
                <a:cxn ang="0">
                  <a:pos x="connsiteX4918" y="connsiteY4918"/>
                </a:cxn>
                <a:cxn ang="0">
                  <a:pos x="connsiteX4919" y="connsiteY4919"/>
                </a:cxn>
                <a:cxn ang="0">
                  <a:pos x="connsiteX4920" y="connsiteY4920"/>
                </a:cxn>
                <a:cxn ang="0">
                  <a:pos x="connsiteX4921" y="connsiteY4921"/>
                </a:cxn>
                <a:cxn ang="0">
                  <a:pos x="connsiteX4922" y="connsiteY4922"/>
                </a:cxn>
                <a:cxn ang="0">
                  <a:pos x="connsiteX4923" y="connsiteY4923"/>
                </a:cxn>
                <a:cxn ang="0">
                  <a:pos x="connsiteX4924" y="connsiteY4924"/>
                </a:cxn>
                <a:cxn ang="0">
                  <a:pos x="connsiteX4925" y="connsiteY4925"/>
                </a:cxn>
                <a:cxn ang="0">
                  <a:pos x="connsiteX4926" y="connsiteY4926"/>
                </a:cxn>
                <a:cxn ang="0">
                  <a:pos x="connsiteX4927" y="connsiteY4927"/>
                </a:cxn>
                <a:cxn ang="0">
                  <a:pos x="connsiteX4928" y="connsiteY4928"/>
                </a:cxn>
                <a:cxn ang="0">
                  <a:pos x="connsiteX4929" y="connsiteY4929"/>
                </a:cxn>
                <a:cxn ang="0">
                  <a:pos x="connsiteX4930" y="connsiteY4930"/>
                </a:cxn>
                <a:cxn ang="0">
                  <a:pos x="connsiteX4931" y="connsiteY4931"/>
                </a:cxn>
                <a:cxn ang="0">
                  <a:pos x="connsiteX4932" y="connsiteY4932"/>
                </a:cxn>
                <a:cxn ang="0">
                  <a:pos x="connsiteX4933" y="connsiteY4933"/>
                </a:cxn>
                <a:cxn ang="0">
                  <a:pos x="connsiteX4934" y="connsiteY4934"/>
                </a:cxn>
                <a:cxn ang="0">
                  <a:pos x="connsiteX4935" y="connsiteY4935"/>
                </a:cxn>
                <a:cxn ang="0">
                  <a:pos x="connsiteX4936" y="connsiteY4936"/>
                </a:cxn>
                <a:cxn ang="0">
                  <a:pos x="connsiteX4937" y="connsiteY4937"/>
                </a:cxn>
                <a:cxn ang="0">
                  <a:pos x="connsiteX4938" y="connsiteY4938"/>
                </a:cxn>
                <a:cxn ang="0">
                  <a:pos x="connsiteX4939" y="connsiteY4939"/>
                </a:cxn>
                <a:cxn ang="0">
                  <a:pos x="connsiteX4940" y="connsiteY4940"/>
                </a:cxn>
                <a:cxn ang="0">
                  <a:pos x="connsiteX4941" y="connsiteY4941"/>
                </a:cxn>
                <a:cxn ang="0">
                  <a:pos x="connsiteX4942" y="connsiteY4942"/>
                </a:cxn>
                <a:cxn ang="0">
                  <a:pos x="connsiteX4943" y="connsiteY4943"/>
                </a:cxn>
                <a:cxn ang="0">
                  <a:pos x="connsiteX4944" y="connsiteY4944"/>
                </a:cxn>
                <a:cxn ang="0">
                  <a:pos x="connsiteX4945" y="connsiteY4945"/>
                </a:cxn>
                <a:cxn ang="0">
                  <a:pos x="connsiteX4946" y="connsiteY4946"/>
                </a:cxn>
                <a:cxn ang="0">
                  <a:pos x="connsiteX4947" y="connsiteY4947"/>
                </a:cxn>
                <a:cxn ang="0">
                  <a:pos x="connsiteX4948" y="connsiteY4948"/>
                </a:cxn>
                <a:cxn ang="0">
                  <a:pos x="connsiteX4949" y="connsiteY4949"/>
                </a:cxn>
                <a:cxn ang="0">
                  <a:pos x="connsiteX4950" y="connsiteY4950"/>
                </a:cxn>
                <a:cxn ang="0">
                  <a:pos x="connsiteX4951" y="connsiteY4951"/>
                </a:cxn>
                <a:cxn ang="0">
                  <a:pos x="connsiteX4952" y="connsiteY4952"/>
                </a:cxn>
                <a:cxn ang="0">
                  <a:pos x="connsiteX4953" y="connsiteY4953"/>
                </a:cxn>
                <a:cxn ang="0">
                  <a:pos x="connsiteX4954" y="connsiteY4954"/>
                </a:cxn>
                <a:cxn ang="0">
                  <a:pos x="connsiteX4955" y="connsiteY4955"/>
                </a:cxn>
                <a:cxn ang="0">
                  <a:pos x="connsiteX4956" y="connsiteY4956"/>
                </a:cxn>
                <a:cxn ang="0">
                  <a:pos x="connsiteX4957" y="connsiteY4957"/>
                </a:cxn>
                <a:cxn ang="0">
                  <a:pos x="connsiteX4958" y="connsiteY4958"/>
                </a:cxn>
                <a:cxn ang="0">
                  <a:pos x="connsiteX4959" y="connsiteY4959"/>
                </a:cxn>
                <a:cxn ang="0">
                  <a:pos x="connsiteX4960" y="connsiteY4960"/>
                </a:cxn>
                <a:cxn ang="0">
                  <a:pos x="connsiteX4961" y="connsiteY4961"/>
                </a:cxn>
                <a:cxn ang="0">
                  <a:pos x="connsiteX4962" y="connsiteY4962"/>
                </a:cxn>
                <a:cxn ang="0">
                  <a:pos x="connsiteX4963" y="connsiteY4963"/>
                </a:cxn>
                <a:cxn ang="0">
                  <a:pos x="connsiteX4964" y="connsiteY4964"/>
                </a:cxn>
                <a:cxn ang="0">
                  <a:pos x="connsiteX4965" y="connsiteY4965"/>
                </a:cxn>
                <a:cxn ang="0">
                  <a:pos x="connsiteX4966" y="connsiteY4966"/>
                </a:cxn>
                <a:cxn ang="0">
                  <a:pos x="connsiteX4967" y="connsiteY4967"/>
                </a:cxn>
                <a:cxn ang="0">
                  <a:pos x="connsiteX4968" y="connsiteY4968"/>
                </a:cxn>
                <a:cxn ang="0">
                  <a:pos x="connsiteX4969" y="connsiteY4969"/>
                </a:cxn>
                <a:cxn ang="0">
                  <a:pos x="connsiteX4970" y="connsiteY4970"/>
                </a:cxn>
                <a:cxn ang="0">
                  <a:pos x="connsiteX4971" y="connsiteY4971"/>
                </a:cxn>
                <a:cxn ang="0">
                  <a:pos x="connsiteX4972" y="connsiteY4972"/>
                </a:cxn>
                <a:cxn ang="0">
                  <a:pos x="connsiteX4973" y="connsiteY4973"/>
                </a:cxn>
                <a:cxn ang="0">
                  <a:pos x="connsiteX4974" y="connsiteY4974"/>
                </a:cxn>
                <a:cxn ang="0">
                  <a:pos x="connsiteX4975" y="connsiteY4975"/>
                </a:cxn>
                <a:cxn ang="0">
                  <a:pos x="connsiteX4976" y="connsiteY4976"/>
                </a:cxn>
                <a:cxn ang="0">
                  <a:pos x="connsiteX4977" y="connsiteY4977"/>
                </a:cxn>
                <a:cxn ang="0">
                  <a:pos x="connsiteX4978" y="connsiteY4978"/>
                </a:cxn>
                <a:cxn ang="0">
                  <a:pos x="connsiteX4979" y="connsiteY4979"/>
                </a:cxn>
                <a:cxn ang="0">
                  <a:pos x="connsiteX4980" y="connsiteY4980"/>
                </a:cxn>
                <a:cxn ang="0">
                  <a:pos x="connsiteX4981" y="connsiteY4981"/>
                </a:cxn>
                <a:cxn ang="0">
                  <a:pos x="connsiteX4982" y="connsiteY4982"/>
                </a:cxn>
                <a:cxn ang="0">
                  <a:pos x="connsiteX4983" y="connsiteY4983"/>
                </a:cxn>
                <a:cxn ang="0">
                  <a:pos x="connsiteX4984" y="connsiteY4984"/>
                </a:cxn>
                <a:cxn ang="0">
                  <a:pos x="connsiteX4985" y="connsiteY4985"/>
                </a:cxn>
                <a:cxn ang="0">
                  <a:pos x="connsiteX4986" y="connsiteY4986"/>
                </a:cxn>
                <a:cxn ang="0">
                  <a:pos x="connsiteX4987" y="connsiteY4987"/>
                </a:cxn>
                <a:cxn ang="0">
                  <a:pos x="connsiteX4988" y="connsiteY4988"/>
                </a:cxn>
                <a:cxn ang="0">
                  <a:pos x="connsiteX4989" y="connsiteY4989"/>
                </a:cxn>
                <a:cxn ang="0">
                  <a:pos x="connsiteX4990" y="connsiteY4990"/>
                </a:cxn>
                <a:cxn ang="0">
                  <a:pos x="connsiteX4991" y="connsiteY4991"/>
                </a:cxn>
                <a:cxn ang="0">
                  <a:pos x="connsiteX4992" y="connsiteY4992"/>
                </a:cxn>
                <a:cxn ang="0">
                  <a:pos x="connsiteX4993" y="connsiteY4993"/>
                </a:cxn>
                <a:cxn ang="0">
                  <a:pos x="connsiteX4994" y="connsiteY4994"/>
                </a:cxn>
                <a:cxn ang="0">
                  <a:pos x="connsiteX4995" y="connsiteY4995"/>
                </a:cxn>
                <a:cxn ang="0">
                  <a:pos x="connsiteX4996" y="connsiteY4996"/>
                </a:cxn>
                <a:cxn ang="0">
                  <a:pos x="connsiteX4997" y="connsiteY4997"/>
                </a:cxn>
                <a:cxn ang="0">
                  <a:pos x="connsiteX4998" y="connsiteY4998"/>
                </a:cxn>
                <a:cxn ang="0">
                  <a:pos x="connsiteX4999" y="connsiteY4999"/>
                </a:cxn>
                <a:cxn ang="0">
                  <a:pos x="connsiteX5000" y="connsiteY5000"/>
                </a:cxn>
                <a:cxn ang="0">
                  <a:pos x="connsiteX5001" y="connsiteY5001"/>
                </a:cxn>
                <a:cxn ang="0">
                  <a:pos x="connsiteX5002" y="connsiteY5002"/>
                </a:cxn>
                <a:cxn ang="0">
                  <a:pos x="connsiteX5003" y="connsiteY5003"/>
                </a:cxn>
                <a:cxn ang="0">
                  <a:pos x="connsiteX5004" y="connsiteY5004"/>
                </a:cxn>
                <a:cxn ang="0">
                  <a:pos x="connsiteX5005" y="connsiteY5005"/>
                </a:cxn>
                <a:cxn ang="0">
                  <a:pos x="connsiteX5006" y="connsiteY5006"/>
                </a:cxn>
                <a:cxn ang="0">
                  <a:pos x="connsiteX5007" y="connsiteY5007"/>
                </a:cxn>
                <a:cxn ang="0">
                  <a:pos x="connsiteX5008" y="connsiteY5008"/>
                </a:cxn>
                <a:cxn ang="0">
                  <a:pos x="connsiteX5009" y="connsiteY5009"/>
                </a:cxn>
                <a:cxn ang="0">
                  <a:pos x="connsiteX5010" y="connsiteY5010"/>
                </a:cxn>
                <a:cxn ang="0">
                  <a:pos x="connsiteX5011" y="connsiteY5011"/>
                </a:cxn>
                <a:cxn ang="0">
                  <a:pos x="connsiteX5012" y="connsiteY5012"/>
                </a:cxn>
                <a:cxn ang="0">
                  <a:pos x="connsiteX5013" y="connsiteY5013"/>
                </a:cxn>
                <a:cxn ang="0">
                  <a:pos x="connsiteX5014" y="connsiteY5014"/>
                </a:cxn>
                <a:cxn ang="0">
                  <a:pos x="connsiteX5015" y="connsiteY5015"/>
                </a:cxn>
                <a:cxn ang="0">
                  <a:pos x="connsiteX5016" y="connsiteY5016"/>
                </a:cxn>
                <a:cxn ang="0">
                  <a:pos x="connsiteX5017" y="connsiteY5017"/>
                </a:cxn>
                <a:cxn ang="0">
                  <a:pos x="connsiteX5018" y="connsiteY5018"/>
                </a:cxn>
                <a:cxn ang="0">
                  <a:pos x="connsiteX5019" y="connsiteY5019"/>
                </a:cxn>
                <a:cxn ang="0">
                  <a:pos x="connsiteX5020" y="connsiteY5020"/>
                </a:cxn>
                <a:cxn ang="0">
                  <a:pos x="connsiteX5021" y="connsiteY5021"/>
                </a:cxn>
                <a:cxn ang="0">
                  <a:pos x="connsiteX5022" y="connsiteY5022"/>
                </a:cxn>
                <a:cxn ang="0">
                  <a:pos x="connsiteX5023" y="connsiteY5023"/>
                </a:cxn>
                <a:cxn ang="0">
                  <a:pos x="connsiteX5024" y="connsiteY5024"/>
                </a:cxn>
                <a:cxn ang="0">
                  <a:pos x="connsiteX5025" y="connsiteY5025"/>
                </a:cxn>
                <a:cxn ang="0">
                  <a:pos x="connsiteX5026" y="connsiteY5026"/>
                </a:cxn>
                <a:cxn ang="0">
                  <a:pos x="connsiteX5027" y="connsiteY5027"/>
                </a:cxn>
                <a:cxn ang="0">
                  <a:pos x="connsiteX5028" y="connsiteY5028"/>
                </a:cxn>
                <a:cxn ang="0">
                  <a:pos x="connsiteX5029" y="connsiteY5029"/>
                </a:cxn>
                <a:cxn ang="0">
                  <a:pos x="connsiteX5030" y="connsiteY5030"/>
                </a:cxn>
                <a:cxn ang="0">
                  <a:pos x="connsiteX5031" y="connsiteY5031"/>
                </a:cxn>
                <a:cxn ang="0">
                  <a:pos x="connsiteX5032" y="connsiteY5032"/>
                </a:cxn>
                <a:cxn ang="0">
                  <a:pos x="connsiteX5033" y="connsiteY5033"/>
                </a:cxn>
                <a:cxn ang="0">
                  <a:pos x="connsiteX5034" y="connsiteY5034"/>
                </a:cxn>
                <a:cxn ang="0">
                  <a:pos x="connsiteX5035" y="connsiteY5035"/>
                </a:cxn>
                <a:cxn ang="0">
                  <a:pos x="connsiteX5036" y="connsiteY5036"/>
                </a:cxn>
                <a:cxn ang="0">
                  <a:pos x="connsiteX5037" y="connsiteY5037"/>
                </a:cxn>
                <a:cxn ang="0">
                  <a:pos x="connsiteX5038" y="connsiteY5038"/>
                </a:cxn>
                <a:cxn ang="0">
                  <a:pos x="connsiteX5039" y="connsiteY5039"/>
                </a:cxn>
                <a:cxn ang="0">
                  <a:pos x="connsiteX5040" y="connsiteY5040"/>
                </a:cxn>
                <a:cxn ang="0">
                  <a:pos x="connsiteX5041" y="connsiteY5041"/>
                </a:cxn>
                <a:cxn ang="0">
                  <a:pos x="connsiteX5042" y="connsiteY5042"/>
                </a:cxn>
                <a:cxn ang="0">
                  <a:pos x="connsiteX5043" y="connsiteY5043"/>
                </a:cxn>
                <a:cxn ang="0">
                  <a:pos x="connsiteX5044" y="connsiteY5044"/>
                </a:cxn>
                <a:cxn ang="0">
                  <a:pos x="connsiteX5045" y="connsiteY5045"/>
                </a:cxn>
                <a:cxn ang="0">
                  <a:pos x="connsiteX5046" y="connsiteY5046"/>
                </a:cxn>
                <a:cxn ang="0">
                  <a:pos x="connsiteX5047" y="connsiteY5047"/>
                </a:cxn>
                <a:cxn ang="0">
                  <a:pos x="connsiteX5048" y="connsiteY5048"/>
                </a:cxn>
                <a:cxn ang="0">
                  <a:pos x="connsiteX5049" y="connsiteY5049"/>
                </a:cxn>
                <a:cxn ang="0">
                  <a:pos x="connsiteX5050" y="connsiteY5050"/>
                </a:cxn>
                <a:cxn ang="0">
                  <a:pos x="connsiteX5051" y="connsiteY5051"/>
                </a:cxn>
                <a:cxn ang="0">
                  <a:pos x="connsiteX5052" y="connsiteY5052"/>
                </a:cxn>
                <a:cxn ang="0">
                  <a:pos x="connsiteX5053" y="connsiteY5053"/>
                </a:cxn>
                <a:cxn ang="0">
                  <a:pos x="connsiteX5054" y="connsiteY5054"/>
                </a:cxn>
                <a:cxn ang="0">
                  <a:pos x="connsiteX5055" y="connsiteY5055"/>
                </a:cxn>
                <a:cxn ang="0">
                  <a:pos x="connsiteX5056" y="connsiteY5056"/>
                </a:cxn>
                <a:cxn ang="0">
                  <a:pos x="connsiteX5057" y="connsiteY5057"/>
                </a:cxn>
                <a:cxn ang="0">
                  <a:pos x="connsiteX5058" y="connsiteY5058"/>
                </a:cxn>
                <a:cxn ang="0">
                  <a:pos x="connsiteX5059" y="connsiteY5059"/>
                </a:cxn>
                <a:cxn ang="0">
                  <a:pos x="connsiteX5060" y="connsiteY5060"/>
                </a:cxn>
                <a:cxn ang="0">
                  <a:pos x="connsiteX5061" y="connsiteY5061"/>
                </a:cxn>
                <a:cxn ang="0">
                  <a:pos x="connsiteX5062" y="connsiteY5062"/>
                </a:cxn>
                <a:cxn ang="0">
                  <a:pos x="connsiteX5063" y="connsiteY5063"/>
                </a:cxn>
                <a:cxn ang="0">
                  <a:pos x="connsiteX5064" y="connsiteY5064"/>
                </a:cxn>
                <a:cxn ang="0">
                  <a:pos x="connsiteX5065" y="connsiteY5065"/>
                </a:cxn>
                <a:cxn ang="0">
                  <a:pos x="connsiteX5066" y="connsiteY5066"/>
                </a:cxn>
                <a:cxn ang="0">
                  <a:pos x="connsiteX5067" y="connsiteY5067"/>
                </a:cxn>
                <a:cxn ang="0">
                  <a:pos x="connsiteX5068" y="connsiteY5068"/>
                </a:cxn>
                <a:cxn ang="0">
                  <a:pos x="connsiteX5069" y="connsiteY5069"/>
                </a:cxn>
                <a:cxn ang="0">
                  <a:pos x="connsiteX5070" y="connsiteY5070"/>
                </a:cxn>
                <a:cxn ang="0">
                  <a:pos x="connsiteX5071" y="connsiteY5071"/>
                </a:cxn>
                <a:cxn ang="0">
                  <a:pos x="connsiteX5072" y="connsiteY5072"/>
                </a:cxn>
                <a:cxn ang="0">
                  <a:pos x="connsiteX5073" y="connsiteY5073"/>
                </a:cxn>
                <a:cxn ang="0">
                  <a:pos x="connsiteX5074" y="connsiteY5074"/>
                </a:cxn>
                <a:cxn ang="0">
                  <a:pos x="connsiteX5075" y="connsiteY5075"/>
                </a:cxn>
                <a:cxn ang="0">
                  <a:pos x="connsiteX5076" y="connsiteY5076"/>
                </a:cxn>
                <a:cxn ang="0">
                  <a:pos x="connsiteX5077" y="connsiteY5077"/>
                </a:cxn>
                <a:cxn ang="0">
                  <a:pos x="connsiteX5078" y="connsiteY5078"/>
                </a:cxn>
                <a:cxn ang="0">
                  <a:pos x="connsiteX5079" y="connsiteY5079"/>
                </a:cxn>
                <a:cxn ang="0">
                  <a:pos x="connsiteX5080" y="connsiteY5080"/>
                </a:cxn>
                <a:cxn ang="0">
                  <a:pos x="connsiteX5081" y="connsiteY5081"/>
                </a:cxn>
                <a:cxn ang="0">
                  <a:pos x="connsiteX5082" y="connsiteY5082"/>
                </a:cxn>
                <a:cxn ang="0">
                  <a:pos x="connsiteX5083" y="connsiteY5083"/>
                </a:cxn>
                <a:cxn ang="0">
                  <a:pos x="connsiteX5084" y="connsiteY5084"/>
                </a:cxn>
                <a:cxn ang="0">
                  <a:pos x="connsiteX5085" y="connsiteY5085"/>
                </a:cxn>
                <a:cxn ang="0">
                  <a:pos x="connsiteX5086" y="connsiteY5086"/>
                </a:cxn>
                <a:cxn ang="0">
                  <a:pos x="connsiteX5087" y="connsiteY5087"/>
                </a:cxn>
                <a:cxn ang="0">
                  <a:pos x="connsiteX5088" y="connsiteY5088"/>
                </a:cxn>
                <a:cxn ang="0">
                  <a:pos x="connsiteX5089" y="connsiteY5089"/>
                </a:cxn>
                <a:cxn ang="0">
                  <a:pos x="connsiteX5090" y="connsiteY5090"/>
                </a:cxn>
                <a:cxn ang="0">
                  <a:pos x="connsiteX5091" y="connsiteY5091"/>
                </a:cxn>
                <a:cxn ang="0">
                  <a:pos x="connsiteX5092" y="connsiteY5092"/>
                </a:cxn>
                <a:cxn ang="0">
                  <a:pos x="connsiteX5093" y="connsiteY5093"/>
                </a:cxn>
                <a:cxn ang="0">
                  <a:pos x="connsiteX5094" y="connsiteY5094"/>
                </a:cxn>
                <a:cxn ang="0">
                  <a:pos x="connsiteX5095" y="connsiteY5095"/>
                </a:cxn>
                <a:cxn ang="0">
                  <a:pos x="connsiteX5096" y="connsiteY5096"/>
                </a:cxn>
                <a:cxn ang="0">
                  <a:pos x="connsiteX5097" y="connsiteY5097"/>
                </a:cxn>
                <a:cxn ang="0">
                  <a:pos x="connsiteX5098" y="connsiteY5098"/>
                </a:cxn>
                <a:cxn ang="0">
                  <a:pos x="connsiteX5099" y="connsiteY5099"/>
                </a:cxn>
                <a:cxn ang="0">
                  <a:pos x="connsiteX5100" y="connsiteY5100"/>
                </a:cxn>
                <a:cxn ang="0">
                  <a:pos x="connsiteX5101" y="connsiteY5101"/>
                </a:cxn>
                <a:cxn ang="0">
                  <a:pos x="connsiteX5102" y="connsiteY5102"/>
                </a:cxn>
                <a:cxn ang="0">
                  <a:pos x="connsiteX5103" y="connsiteY5103"/>
                </a:cxn>
                <a:cxn ang="0">
                  <a:pos x="connsiteX5104" y="connsiteY5104"/>
                </a:cxn>
                <a:cxn ang="0">
                  <a:pos x="connsiteX5105" y="connsiteY5105"/>
                </a:cxn>
                <a:cxn ang="0">
                  <a:pos x="connsiteX5106" y="connsiteY5106"/>
                </a:cxn>
                <a:cxn ang="0">
                  <a:pos x="connsiteX5107" y="connsiteY5107"/>
                </a:cxn>
                <a:cxn ang="0">
                  <a:pos x="connsiteX5108" y="connsiteY5108"/>
                </a:cxn>
                <a:cxn ang="0">
                  <a:pos x="connsiteX5109" y="connsiteY5109"/>
                </a:cxn>
                <a:cxn ang="0">
                  <a:pos x="connsiteX5110" y="connsiteY5110"/>
                </a:cxn>
                <a:cxn ang="0">
                  <a:pos x="connsiteX5111" y="connsiteY5111"/>
                </a:cxn>
                <a:cxn ang="0">
                  <a:pos x="connsiteX5112" y="connsiteY5112"/>
                </a:cxn>
                <a:cxn ang="0">
                  <a:pos x="connsiteX5113" y="connsiteY5113"/>
                </a:cxn>
                <a:cxn ang="0">
                  <a:pos x="connsiteX5114" y="connsiteY5114"/>
                </a:cxn>
                <a:cxn ang="0">
                  <a:pos x="connsiteX5115" y="connsiteY5115"/>
                </a:cxn>
                <a:cxn ang="0">
                  <a:pos x="connsiteX5116" y="connsiteY5116"/>
                </a:cxn>
                <a:cxn ang="0">
                  <a:pos x="connsiteX5117" y="connsiteY5117"/>
                </a:cxn>
                <a:cxn ang="0">
                  <a:pos x="connsiteX5118" y="connsiteY5118"/>
                </a:cxn>
                <a:cxn ang="0">
                  <a:pos x="connsiteX5119" y="connsiteY5119"/>
                </a:cxn>
                <a:cxn ang="0">
                  <a:pos x="connsiteX5120" y="connsiteY5120"/>
                </a:cxn>
                <a:cxn ang="0">
                  <a:pos x="connsiteX5121" y="connsiteY5121"/>
                </a:cxn>
                <a:cxn ang="0">
                  <a:pos x="connsiteX5122" y="connsiteY5122"/>
                </a:cxn>
                <a:cxn ang="0">
                  <a:pos x="connsiteX5123" y="connsiteY5123"/>
                </a:cxn>
                <a:cxn ang="0">
                  <a:pos x="connsiteX5124" y="connsiteY5124"/>
                </a:cxn>
                <a:cxn ang="0">
                  <a:pos x="connsiteX5125" y="connsiteY5125"/>
                </a:cxn>
                <a:cxn ang="0">
                  <a:pos x="connsiteX5126" y="connsiteY5126"/>
                </a:cxn>
                <a:cxn ang="0">
                  <a:pos x="connsiteX5127" y="connsiteY5127"/>
                </a:cxn>
                <a:cxn ang="0">
                  <a:pos x="connsiteX5128" y="connsiteY5128"/>
                </a:cxn>
                <a:cxn ang="0">
                  <a:pos x="connsiteX5129" y="connsiteY5129"/>
                </a:cxn>
                <a:cxn ang="0">
                  <a:pos x="connsiteX5130" y="connsiteY5130"/>
                </a:cxn>
                <a:cxn ang="0">
                  <a:pos x="connsiteX5131" y="connsiteY5131"/>
                </a:cxn>
                <a:cxn ang="0">
                  <a:pos x="connsiteX5132" y="connsiteY5132"/>
                </a:cxn>
                <a:cxn ang="0">
                  <a:pos x="connsiteX5133" y="connsiteY5133"/>
                </a:cxn>
                <a:cxn ang="0">
                  <a:pos x="connsiteX5134" y="connsiteY5134"/>
                </a:cxn>
                <a:cxn ang="0">
                  <a:pos x="connsiteX5135" y="connsiteY5135"/>
                </a:cxn>
                <a:cxn ang="0">
                  <a:pos x="connsiteX5136" y="connsiteY5136"/>
                </a:cxn>
                <a:cxn ang="0">
                  <a:pos x="connsiteX5137" y="connsiteY5137"/>
                </a:cxn>
                <a:cxn ang="0">
                  <a:pos x="connsiteX5138" y="connsiteY5138"/>
                </a:cxn>
                <a:cxn ang="0">
                  <a:pos x="connsiteX5139" y="connsiteY5139"/>
                </a:cxn>
                <a:cxn ang="0">
                  <a:pos x="connsiteX5140" y="connsiteY5140"/>
                </a:cxn>
                <a:cxn ang="0">
                  <a:pos x="connsiteX5141" y="connsiteY5141"/>
                </a:cxn>
                <a:cxn ang="0">
                  <a:pos x="connsiteX5142" y="connsiteY5142"/>
                </a:cxn>
                <a:cxn ang="0">
                  <a:pos x="connsiteX5143" y="connsiteY5143"/>
                </a:cxn>
                <a:cxn ang="0">
                  <a:pos x="connsiteX5144" y="connsiteY5144"/>
                </a:cxn>
                <a:cxn ang="0">
                  <a:pos x="connsiteX5145" y="connsiteY5145"/>
                </a:cxn>
                <a:cxn ang="0">
                  <a:pos x="connsiteX5146" y="connsiteY5146"/>
                </a:cxn>
                <a:cxn ang="0">
                  <a:pos x="connsiteX5147" y="connsiteY5147"/>
                </a:cxn>
                <a:cxn ang="0">
                  <a:pos x="connsiteX5148" y="connsiteY5148"/>
                </a:cxn>
                <a:cxn ang="0">
                  <a:pos x="connsiteX5149" y="connsiteY5149"/>
                </a:cxn>
                <a:cxn ang="0">
                  <a:pos x="connsiteX5150" y="connsiteY5150"/>
                </a:cxn>
                <a:cxn ang="0">
                  <a:pos x="connsiteX5151" y="connsiteY5151"/>
                </a:cxn>
                <a:cxn ang="0">
                  <a:pos x="connsiteX5152" y="connsiteY5152"/>
                </a:cxn>
                <a:cxn ang="0">
                  <a:pos x="connsiteX5153" y="connsiteY5153"/>
                </a:cxn>
                <a:cxn ang="0">
                  <a:pos x="connsiteX5154" y="connsiteY5154"/>
                </a:cxn>
                <a:cxn ang="0">
                  <a:pos x="connsiteX5155" y="connsiteY5155"/>
                </a:cxn>
                <a:cxn ang="0">
                  <a:pos x="connsiteX5156" y="connsiteY5156"/>
                </a:cxn>
                <a:cxn ang="0">
                  <a:pos x="connsiteX5157" y="connsiteY5157"/>
                </a:cxn>
                <a:cxn ang="0">
                  <a:pos x="connsiteX5158" y="connsiteY5158"/>
                </a:cxn>
                <a:cxn ang="0">
                  <a:pos x="connsiteX5159" y="connsiteY5159"/>
                </a:cxn>
                <a:cxn ang="0">
                  <a:pos x="connsiteX5160" y="connsiteY5160"/>
                </a:cxn>
                <a:cxn ang="0">
                  <a:pos x="connsiteX5161" y="connsiteY5161"/>
                </a:cxn>
                <a:cxn ang="0">
                  <a:pos x="connsiteX5162" y="connsiteY5162"/>
                </a:cxn>
                <a:cxn ang="0">
                  <a:pos x="connsiteX5163" y="connsiteY5163"/>
                </a:cxn>
                <a:cxn ang="0">
                  <a:pos x="connsiteX5164" y="connsiteY5164"/>
                </a:cxn>
                <a:cxn ang="0">
                  <a:pos x="connsiteX5165" y="connsiteY5165"/>
                </a:cxn>
                <a:cxn ang="0">
                  <a:pos x="connsiteX5166" y="connsiteY5166"/>
                </a:cxn>
                <a:cxn ang="0">
                  <a:pos x="connsiteX5167" y="connsiteY5167"/>
                </a:cxn>
                <a:cxn ang="0">
                  <a:pos x="connsiteX5168" y="connsiteY5168"/>
                </a:cxn>
                <a:cxn ang="0">
                  <a:pos x="connsiteX5169" y="connsiteY5169"/>
                </a:cxn>
                <a:cxn ang="0">
                  <a:pos x="connsiteX5170" y="connsiteY5170"/>
                </a:cxn>
                <a:cxn ang="0">
                  <a:pos x="connsiteX5171" y="connsiteY5171"/>
                </a:cxn>
                <a:cxn ang="0">
                  <a:pos x="connsiteX5172" y="connsiteY5172"/>
                </a:cxn>
                <a:cxn ang="0">
                  <a:pos x="connsiteX5173" y="connsiteY5173"/>
                </a:cxn>
                <a:cxn ang="0">
                  <a:pos x="connsiteX5174" y="connsiteY5174"/>
                </a:cxn>
                <a:cxn ang="0">
                  <a:pos x="connsiteX5175" y="connsiteY5175"/>
                </a:cxn>
                <a:cxn ang="0">
                  <a:pos x="connsiteX5176" y="connsiteY5176"/>
                </a:cxn>
                <a:cxn ang="0">
                  <a:pos x="connsiteX5177" y="connsiteY5177"/>
                </a:cxn>
                <a:cxn ang="0">
                  <a:pos x="connsiteX5178" y="connsiteY5178"/>
                </a:cxn>
                <a:cxn ang="0">
                  <a:pos x="connsiteX5179" y="connsiteY5179"/>
                </a:cxn>
                <a:cxn ang="0">
                  <a:pos x="connsiteX5180" y="connsiteY5180"/>
                </a:cxn>
                <a:cxn ang="0">
                  <a:pos x="connsiteX5181" y="connsiteY5181"/>
                </a:cxn>
                <a:cxn ang="0">
                  <a:pos x="connsiteX5182" y="connsiteY5182"/>
                </a:cxn>
                <a:cxn ang="0">
                  <a:pos x="connsiteX5183" y="connsiteY5183"/>
                </a:cxn>
                <a:cxn ang="0">
                  <a:pos x="connsiteX5184" y="connsiteY5184"/>
                </a:cxn>
                <a:cxn ang="0">
                  <a:pos x="connsiteX5185" y="connsiteY5185"/>
                </a:cxn>
                <a:cxn ang="0">
                  <a:pos x="connsiteX5186" y="connsiteY5186"/>
                </a:cxn>
                <a:cxn ang="0">
                  <a:pos x="connsiteX5187" y="connsiteY5187"/>
                </a:cxn>
                <a:cxn ang="0">
                  <a:pos x="connsiteX5188" y="connsiteY5188"/>
                </a:cxn>
                <a:cxn ang="0">
                  <a:pos x="connsiteX5189" y="connsiteY5189"/>
                </a:cxn>
                <a:cxn ang="0">
                  <a:pos x="connsiteX5190" y="connsiteY5190"/>
                </a:cxn>
                <a:cxn ang="0">
                  <a:pos x="connsiteX5191" y="connsiteY5191"/>
                </a:cxn>
                <a:cxn ang="0">
                  <a:pos x="connsiteX5192" y="connsiteY5192"/>
                </a:cxn>
                <a:cxn ang="0">
                  <a:pos x="connsiteX5193" y="connsiteY5193"/>
                </a:cxn>
                <a:cxn ang="0">
                  <a:pos x="connsiteX5194" y="connsiteY5194"/>
                </a:cxn>
                <a:cxn ang="0">
                  <a:pos x="connsiteX5195" y="connsiteY5195"/>
                </a:cxn>
                <a:cxn ang="0">
                  <a:pos x="connsiteX5196" y="connsiteY5196"/>
                </a:cxn>
                <a:cxn ang="0">
                  <a:pos x="connsiteX5197" y="connsiteY5197"/>
                </a:cxn>
                <a:cxn ang="0">
                  <a:pos x="connsiteX5198" y="connsiteY5198"/>
                </a:cxn>
                <a:cxn ang="0">
                  <a:pos x="connsiteX5199" y="connsiteY5199"/>
                </a:cxn>
                <a:cxn ang="0">
                  <a:pos x="connsiteX5200" y="connsiteY5200"/>
                </a:cxn>
                <a:cxn ang="0">
                  <a:pos x="connsiteX5201" y="connsiteY5201"/>
                </a:cxn>
                <a:cxn ang="0">
                  <a:pos x="connsiteX5202" y="connsiteY5202"/>
                </a:cxn>
                <a:cxn ang="0">
                  <a:pos x="connsiteX5203" y="connsiteY5203"/>
                </a:cxn>
                <a:cxn ang="0">
                  <a:pos x="connsiteX5204" y="connsiteY5204"/>
                </a:cxn>
                <a:cxn ang="0">
                  <a:pos x="connsiteX5205" y="connsiteY5205"/>
                </a:cxn>
                <a:cxn ang="0">
                  <a:pos x="connsiteX5206" y="connsiteY5206"/>
                </a:cxn>
                <a:cxn ang="0">
                  <a:pos x="connsiteX5207" y="connsiteY5207"/>
                </a:cxn>
                <a:cxn ang="0">
                  <a:pos x="connsiteX5208" y="connsiteY5208"/>
                </a:cxn>
                <a:cxn ang="0">
                  <a:pos x="connsiteX5209" y="connsiteY5209"/>
                </a:cxn>
                <a:cxn ang="0">
                  <a:pos x="connsiteX5210" y="connsiteY5210"/>
                </a:cxn>
                <a:cxn ang="0">
                  <a:pos x="connsiteX5211" y="connsiteY5211"/>
                </a:cxn>
                <a:cxn ang="0">
                  <a:pos x="connsiteX5212" y="connsiteY5212"/>
                </a:cxn>
                <a:cxn ang="0">
                  <a:pos x="connsiteX5213" y="connsiteY5213"/>
                </a:cxn>
                <a:cxn ang="0">
                  <a:pos x="connsiteX5214" y="connsiteY5214"/>
                </a:cxn>
                <a:cxn ang="0">
                  <a:pos x="connsiteX5215" y="connsiteY5215"/>
                </a:cxn>
                <a:cxn ang="0">
                  <a:pos x="connsiteX5216" y="connsiteY5216"/>
                </a:cxn>
                <a:cxn ang="0">
                  <a:pos x="connsiteX5217" y="connsiteY5217"/>
                </a:cxn>
                <a:cxn ang="0">
                  <a:pos x="connsiteX5218" y="connsiteY5218"/>
                </a:cxn>
                <a:cxn ang="0">
                  <a:pos x="connsiteX5219" y="connsiteY5219"/>
                </a:cxn>
                <a:cxn ang="0">
                  <a:pos x="connsiteX5220" y="connsiteY5220"/>
                </a:cxn>
                <a:cxn ang="0">
                  <a:pos x="connsiteX5221" y="connsiteY5221"/>
                </a:cxn>
                <a:cxn ang="0">
                  <a:pos x="connsiteX5222" y="connsiteY5222"/>
                </a:cxn>
                <a:cxn ang="0">
                  <a:pos x="connsiteX5223" y="connsiteY5223"/>
                </a:cxn>
                <a:cxn ang="0">
                  <a:pos x="connsiteX5224" y="connsiteY5224"/>
                </a:cxn>
                <a:cxn ang="0">
                  <a:pos x="connsiteX5225" y="connsiteY5225"/>
                </a:cxn>
                <a:cxn ang="0">
                  <a:pos x="connsiteX5226" y="connsiteY5226"/>
                </a:cxn>
                <a:cxn ang="0">
                  <a:pos x="connsiteX5227" y="connsiteY5227"/>
                </a:cxn>
                <a:cxn ang="0">
                  <a:pos x="connsiteX5228" y="connsiteY5228"/>
                </a:cxn>
                <a:cxn ang="0">
                  <a:pos x="connsiteX5229" y="connsiteY5229"/>
                </a:cxn>
                <a:cxn ang="0">
                  <a:pos x="connsiteX5230" y="connsiteY5230"/>
                </a:cxn>
                <a:cxn ang="0">
                  <a:pos x="connsiteX5231" y="connsiteY5231"/>
                </a:cxn>
                <a:cxn ang="0">
                  <a:pos x="connsiteX5232" y="connsiteY5232"/>
                </a:cxn>
                <a:cxn ang="0">
                  <a:pos x="connsiteX5233" y="connsiteY5233"/>
                </a:cxn>
                <a:cxn ang="0">
                  <a:pos x="connsiteX5234" y="connsiteY5234"/>
                </a:cxn>
                <a:cxn ang="0">
                  <a:pos x="connsiteX5235" y="connsiteY5235"/>
                </a:cxn>
                <a:cxn ang="0">
                  <a:pos x="connsiteX5236" y="connsiteY5236"/>
                </a:cxn>
                <a:cxn ang="0">
                  <a:pos x="connsiteX5237" y="connsiteY5237"/>
                </a:cxn>
                <a:cxn ang="0">
                  <a:pos x="connsiteX5238" y="connsiteY5238"/>
                </a:cxn>
                <a:cxn ang="0">
                  <a:pos x="connsiteX5239" y="connsiteY5239"/>
                </a:cxn>
                <a:cxn ang="0">
                  <a:pos x="connsiteX5240" y="connsiteY5240"/>
                </a:cxn>
                <a:cxn ang="0">
                  <a:pos x="connsiteX5241" y="connsiteY5241"/>
                </a:cxn>
                <a:cxn ang="0">
                  <a:pos x="connsiteX5242" y="connsiteY5242"/>
                </a:cxn>
                <a:cxn ang="0">
                  <a:pos x="connsiteX5243" y="connsiteY5243"/>
                </a:cxn>
                <a:cxn ang="0">
                  <a:pos x="connsiteX5244" y="connsiteY5244"/>
                </a:cxn>
                <a:cxn ang="0">
                  <a:pos x="connsiteX5245" y="connsiteY5245"/>
                </a:cxn>
                <a:cxn ang="0">
                  <a:pos x="connsiteX5246" y="connsiteY5246"/>
                </a:cxn>
                <a:cxn ang="0">
                  <a:pos x="connsiteX5247" y="connsiteY5247"/>
                </a:cxn>
                <a:cxn ang="0">
                  <a:pos x="connsiteX5248" y="connsiteY5248"/>
                </a:cxn>
                <a:cxn ang="0">
                  <a:pos x="connsiteX5249" y="connsiteY5249"/>
                </a:cxn>
                <a:cxn ang="0">
                  <a:pos x="connsiteX5250" y="connsiteY5250"/>
                </a:cxn>
                <a:cxn ang="0">
                  <a:pos x="connsiteX5251" y="connsiteY5251"/>
                </a:cxn>
                <a:cxn ang="0">
                  <a:pos x="connsiteX5252" y="connsiteY5252"/>
                </a:cxn>
                <a:cxn ang="0">
                  <a:pos x="connsiteX5253" y="connsiteY5253"/>
                </a:cxn>
                <a:cxn ang="0">
                  <a:pos x="connsiteX5254" y="connsiteY5254"/>
                </a:cxn>
                <a:cxn ang="0">
                  <a:pos x="connsiteX5255" y="connsiteY5255"/>
                </a:cxn>
                <a:cxn ang="0">
                  <a:pos x="connsiteX5256" y="connsiteY5256"/>
                </a:cxn>
                <a:cxn ang="0">
                  <a:pos x="connsiteX5257" y="connsiteY5257"/>
                </a:cxn>
                <a:cxn ang="0">
                  <a:pos x="connsiteX5258" y="connsiteY5258"/>
                </a:cxn>
                <a:cxn ang="0">
                  <a:pos x="connsiteX5259" y="connsiteY5259"/>
                </a:cxn>
                <a:cxn ang="0">
                  <a:pos x="connsiteX5260" y="connsiteY5260"/>
                </a:cxn>
                <a:cxn ang="0">
                  <a:pos x="connsiteX5261" y="connsiteY5261"/>
                </a:cxn>
                <a:cxn ang="0">
                  <a:pos x="connsiteX5262" y="connsiteY5262"/>
                </a:cxn>
                <a:cxn ang="0">
                  <a:pos x="connsiteX5263" y="connsiteY5263"/>
                </a:cxn>
                <a:cxn ang="0">
                  <a:pos x="connsiteX5264" y="connsiteY5264"/>
                </a:cxn>
                <a:cxn ang="0">
                  <a:pos x="connsiteX5265" y="connsiteY5265"/>
                </a:cxn>
                <a:cxn ang="0">
                  <a:pos x="connsiteX5266" y="connsiteY5266"/>
                </a:cxn>
                <a:cxn ang="0">
                  <a:pos x="connsiteX5267" y="connsiteY5267"/>
                </a:cxn>
                <a:cxn ang="0">
                  <a:pos x="connsiteX5268" y="connsiteY5268"/>
                </a:cxn>
                <a:cxn ang="0">
                  <a:pos x="connsiteX5269" y="connsiteY5269"/>
                </a:cxn>
                <a:cxn ang="0">
                  <a:pos x="connsiteX5270" y="connsiteY5270"/>
                </a:cxn>
                <a:cxn ang="0">
                  <a:pos x="connsiteX5271" y="connsiteY5271"/>
                </a:cxn>
                <a:cxn ang="0">
                  <a:pos x="connsiteX5272" y="connsiteY5272"/>
                </a:cxn>
                <a:cxn ang="0">
                  <a:pos x="connsiteX5273" y="connsiteY5273"/>
                </a:cxn>
                <a:cxn ang="0">
                  <a:pos x="connsiteX5274" y="connsiteY5274"/>
                </a:cxn>
                <a:cxn ang="0">
                  <a:pos x="connsiteX5275" y="connsiteY5275"/>
                </a:cxn>
                <a:cxn ang="0">
                  <a:pos x="connsiteX5276" y="connsiteY5276"/>
                </a:cxn>
                <a:cxn ang="0">
                  <a:pos x="connsiteX5277" y="connsiteY5277"/>
                </a:cxn>
                <a:cxn ang="0">
                  <a:pos x="connsiteX5278" y="connsiteY5278"/>
                </a:cxn>
                <a:cxn ang="0">
                  <a:pos x="connsiteX5279" y="connsiteY5279"/>
                </a:cxn>
                <a:cxn ang="0">
                  <a:pos x="connsiteX5280" y="connsiteY5280"/>
                </a:cxn>
                <a:cxn ang="0">
                  <a:pos x="connsiteX5281" y="connsiteY5281"/>
                </a:cxn>
                <a:cxn ang="0">
                  <a:pos x="connsiteX5282" y="connsiteY5282"/>
                </a:cxn>
                <a:cxn ang="0">
                  <a:pos x="connsiteX5283" y="connsiteY5283"/>
                </a:cxn>
                <a:cxn ang="0">
                  <a:pos x="connsiteX5284" y="connsiteY5284"/>
                </a:cxn>
                <a:cxn ang="0">
                  <a:pos x="connsiteX5285" y="connsiteY5285"/>
                </a:cxn>
                <a:cxn ang="0">
                  <a:pos x="connsiteX5286" y="connsiteY5286"/>
                </a:cxn>
                <a:cxn ang="0">
                  <a:pos x="connsiteX5287" y="connsiteY5287"/>
                </a:cxn>
                <a:cxn ang="0">
                  <a:pos x="connsiteX5288" y="connsiteY5288"/>
                </a:cxn>
                <a:cxn ang="0">
                  <a:pos x="connsiteX5289" y="connsiteY5289"/>
                </a:cxn>
                <a:cxn ang="0">
                  <a:pos x="connsiteX5290" y="connsiteY5290"/>
                </a:cxn>
                <a:cxn ang="0">
                  <a:pos x="connsiteX5291" y="connsiteY5291"/>
                </a:cxn>
                <a:cxn ang="0">
                  <a:pos x="connsiteX5292" y="connsiteY5292"/>
                </a:cxn>
                <a:cxn ang="0">
                  <a:pos x="connsiteX5293" y="connsiteY5293"/>
                </a:cxn>
                <a:cxn ang="0">
                  <a:pos x="connsiteX5294" y="connsiteY5294"/>
                </a:cxn>
                <a:cxn ang="0">
                  <a:pos x="connsiteX5295" y="connsiteY5295"/>
                </a:cxn>
                <a:cxn ang="0">
                  <a:pos x="connsiteX5296" y="connsiteY5296"/>
                </a:cxn>
                <a:cxn ang="0">
                  <a:pos x="connsiteX5297" y="connsiteY5297"/>
                </a:cxn>
                <a:cxn ang="0">
                  <a:pos x="connsiteX5298" y="connsiteY5298"/>
                </a:cxn>
                <a:cxn ang="0">
                  <a:pos x="connsiteX5299" y="connsiteY5299"/>
                </a:cxn>
                <a:cxn ang="0">
                  <a:pos x="connsiteX5300" y="connsiteY5300"/>
                </a:cxn>
                <a:cxn ang="0">
                  <a:pos x="connsiteX5301" y="connsiteY5301"/>
                </a:cxn>
                <a:cxn ang="0">
                  <a:pos x="connsiteX5302" y="connsiteY5302"/>
                </a:cxn>
                <a:cxn ang="0">
                  <a:pos x="connsiteX5303" y="connsiteY5303"/>
                </a:cxn>
                <a:cxn ang="0">
                  <a:pos x="connsiteX5304" y="connsiteY5304"/>
                </a:cxn>
                <a:cxn ang="0">
                  <a:pos x="connsiteX5305" y="connsiteY5305"/>
                </a:cxn>
                <a:cxn ang="0">
                  <a:pos x="connsiteX5306" y="connsiteY5306"/>
                </a:cxn>
                <a:cxn ang="0">
                  <a:pos x="connsiteX5307" y="connsiteY5307"/>
                </a:cxn>
                <a:cxn ang="0">
                  <a:pos x="connsiteX5308" y="connsiteY5308"/>
                </a:cxn>
                <a:cxn ang="0">
                  <a:pos x="connsiteX5309" y="connsiteY5309"/>
                </a:cxn>
                <a:cxn ang="0">
                  <a:pos x="connsiteX5310" y="connsiteY5310"/>
                </a:cxn>
                <a:cxn ang="0">
                  <a:pos x="connsiteX5311" y="connsiteY5311"/>
                </a:cxn>
                <a:cxn ang="0">
                  <a:pos x="connsiteX5312" y="connsiteY5312"/>
                </a:cxn>
                <a:cxn ang="0">
                  <a:pos x="connsiteX5313" y="connsiteY5313"/>
                </a:cxn>
                <a:cxn ang="0">
                  <a:pos x="connsiteX5314" y="connsiteY5314"/>
                </a:cxn>
                <a:cxn ang="0">
                  <a:pos x="connsiteX5315" y="connsiteY5315"/>
                </a:cxn>
                <a:cxn ang="0">
                  <a:pos x="connsiteX5316" y="connsiteY5316"/>
                </a:cxn>
                <a:cxn ang="0">
                  <a:pos x="connsiteX5317" y="connsiteY5317"/>
                </a:cxn>
                <a:cxn ang="0">
                  <a:pos x="connsiteX5318" y="connsiteY5318"/>
                </a:cxn>
                <a:cxn ang="0">
                  <a:pos x="connsiteX5319" y="connsiteY5319"/>
                </a:cxn>
                <a:cxn ang="0">
                  <a:pos x="connsiteX5320" y="connsiteY5320"/>
                </a:cxn>
                <a:cxn ang="0">
                  <a:pos x="connsiteX5321" y="connsiteY5321"/>
                </a:cxn>
                <a:cxn ang="0">
                  <a:pos x="connsiteX5322" y="connsiteY5322"/>
                </a:cxn>
                <a:cxn ang="0">
                  <a:pos x="connsiteX5323" y="connsiteY5323"/>
                </a:cxn>
                <a:cxn ang="0">
                  <a:pos x="connsiteX5324" y="connsiteY5324"/>
                </a:cxn>
                <a:cxn ang="0">
                  <a:pos x="connsiteX5325" y="connsiteY5325"/>
                </a:cxn>
                <a:cxn ang="0">
                  <a:pos x="connsiteX5326" y="connsiteY5326"/>
                </a:cxn>
                <a:cxn ang="0">
                  <a:pos x="connsiteX5327" y="connsiteY5327"/>
                </a:cxn>
                <a:cxn ang="0">
                  <a:pos x="connsiteX5328" y="connsiteY5328"/>
                </a:cxn>
                <a:cxn ang="0">
                  <a:pos x="connsiteX5329" y="connsiteY5329"/>
                </a:cxn>
                <a:cxn ang="0">
                  <a:pos x="connsiteX5330" y="connsiteY5330"/>
                </a:cxn>
                <a:cxn ang="0">
                  <a:pos x="connsiteX5331" y="connsiteY5331"/>
                </a:cxn>
                <a:cxn ang="0">
                  <a:pos x="connsiteX5332" y="connsiteY5332"/>
                </a:cxn>
                <a:cxn ang="0">
                  <a:pos x="connsiteX5333" y="connsiteY5333"/>
                </a:cxn>
                <a:cxn ang="0">
                  <a:pos x="connsiteX5334" y="connsiteY5334"/>
                </a:cxn>
                <a:cxn ang="0">
                  <a:pos x="connsiteX5335" y="connsiteY5335"/>
                </a:cxn>
                <a:cxn ang="0">
                  <a:pos x="connsiteX5336" y="connsiteY5336"/>
                </a:cxn>
                <a:cxn ang="0">
                  <a:pos x="connsiteX5337" y="connsiteY5337"/>
                </a:cxn>
                <a:cxn ang="0">
                  <a:pos x="connsiteX5338" y="connsiteY5338"/>
                </a:cxn>
                <a:cxn ang="0">
                  <a:pos x="connsiteX5339" y="connsiteY5339"/>
                </a:cxn>
                <a:cxn ang="0">
                  <a:pos x="connsiteX5340" y="connsiteY5340"/>
                </a:cxn>
                <a:cxn ang="0">
                  <a:pos x="connsiteX5341" y="connsiteY5341"/>
                </a:cxn>
                <a:cxn ang="0">
                  <a:pos x="connsiteX5342" y="connsiteY5342"/>
                </a:cxn>
                <a:cxn ang="0">
                  <a:pos x="connsiteX5343" y="connsiteY5343"/>
                </a:cxn>
                <a:cxn ang="0">
                  <a:pos x="connsiteX5344" y="connsiteY5344"/>
                </a:cxn>
                <a:cxn ang="0">
                  <a:pos x="connsiteX5345" y="connsiteY5345"/>
                </a:cxn>
                <a:cxn ang="0">
                  <a:pos x="connsiteX5346" y="connsiteY5346"/>
                </a:cxn>
                <a:cxn ang="0">
                  <a:pos x="connsiteX5347" y="connsiteY5347"/>
                </a:cxn>
                <a:cxn ang="0">
                  <a:pos x="connsiteX5348" y="connsiteY5348"/>
                </a:cxn>
                <a:cxn ang="0">
                  <a:pos x="connsiteX5349" y="connsiteY5349"/>
                </a:cxn>
                <a:cxn ang="0">
                  <a:pos x="connsiteX5350" y="connsiteY5350"/>
                </a:cxn>
                <a:cxn ang="0">
                  <a:pos x="connsiteX5351" y="connsiteY5351"/>
                </a:cxn>
                <a:cxn ang="0">
                  <a:pos x="connsiteX5352" y="connsiteY5352"/>
                </a:cxn>
                <a:cxn ang="0">
                  <a:pos x="connsiteX5353" y="connsiteY5353"/>
                </a:cxn>
                <a:cxn ang="0">
                  <a:pos x="connsiteX5354" y="connsiteY5354"/>
                </a:cxn>
                <a:cxn ang="0">
                  <a:pos x="connsiteX5355" y="connsiteY5355"/>
                </a:cxn>
                <a:cxn ang="0">
                  <a:pos x="connsiteX5356" y="connsiteY5356"/>
                </a:cxn>
                <a:cxn ang="0">
                  <a:pos x="connsiteX5357" y="connsiteY5357"/>
                </a:cxn>
                <a:cxn ang="0">
                  <a:pos x="connsiteX5358" y="connsiteY5358"/>
                </a:cxn>
                <a:cxn ang="0">
                  <a:pos x="connsiteX5359" y="connsiteY5359"/>
                </a:cxn>
                <a:cxn ang="0">
                  <a:pos x="connsiteX5360" y="connsiteY5360"/>
                </a:cxn>
                <a:cxn ang="0">
                  <a:pos x="connsiteX5361" y="connsiteY5361"/>
                </a:cxn>
                <a:cxn ang="0">
                  <a:pos x="connsiteX5362" y="connsiteY5362"/>
                </a:cxn>
                <a:cxn ang="0">
                  <a:pos x="connsiteX5363" y="connsiteY5363"/>
                </a:cxn>
                <a:cxn ang="0">
                  <a:pos x="connsiteX5364" y="connsiteY5364"/>
                </a:cxn>
                <a:cxn ang="0">
                  <a:pos x="connsiteX5365" y="connsiteY5365"/>
                </a:cxn>
                <a:cxn ang="0">
                  <a:pos x="connsiteX5366" y="connsiteY5366"/>
                </a:cxn>
                <a:cxn ang="0">
                  <a:pos x="connsiteX5367" y="connsiteY5367"/>
                </a:cxn>
                <a:cxn ang="0">
                  <a:pos x="connsiteX5368" y="connsiteY5368"/>
                </a:cxn>
                <a:cxn ang="0">
                  <a:pos x="connsiteX5369" y="connsiteY5369"/>
                </a:cxn>
                <a:cxn ang="0">
                  <a:pos x="connsiteX5370" y="connsiteY5370"/>
                </a:cxn>
                <a:cxn ang="0">
                  <a:pos x="connsiteX5371" y="connsiteY5371"/>
                </a:cxn>
                <a:cxn ang="0">
                  <a:pos x="connsiteX5372" y="connsiteY5372"/>
                </a:cxn>
                <a:cxn ang="0">
                  <a:pos x="connsiteX5373" y="connsiteY5373"/>
                </a:cxn>
                <a:cxn ang="0">
                  <a:pos x="connsiteX5374" y="connsiteY5374"/>
                </a:cxn>
                <a:cxn ang="0">
                  <a:pos x="connsiteX5375" y="connsiteY5375"/>
                </a:cxn>
                <a:cxn ang="0">
                  <a:pos x="connsiteX5376" y="connsiteY5376"/>
                </a:cxn>
                <a:cxn ang="0">
                  <a:pos x="connsiteX5377" y="connsiteY5377"/>
                </a:cxn>
                <a:cxn ang="0">
                  <a:pos x="connsiteX5378" y="connsiteY5378"/>
                </a:cxn>
                <a:cxn ang="0">
                  <a:pos x="connsiteX5379" y="connsiteY5379"/>
                </a:cxn>
                <a:cxn ang="0">
                  <a:pos x="connsiteX5380" y="connsiteY5380"/>
                </a:cxn>
                <a:cxn ang="0">
                  <a:pos x="connsiteX5381" y="connsiteY5381"/>
                </a:cxn>
                <a:cxn ang="0">
                  <a:pos x="connsiteX5382" y="connsiteY5382"/>
                </a:cxn>
                <a:cxn ang="0">
                  <a:pos x="connsiteX5383" y="connsiteY5383"/>
                </a:cxn>
                <a:cxn ang="0">
                  <a:pos x="connsiteX5384" y="connsiteY5384"/>
                </a:cxn>
                <a:cxn ang="0">
                  <a:pos x="connsiteX5385" y="connsiteY5385"/>
                </a:cxn>
                <a:cxn ang="0">
                  <a:pos x="connsiteX5386" y="connsiteY5386"/>
                </a:cxn>
                <a:cxn ang="0">
                  <a:pos x="connsiteX5387" y="connsiteY5387"/>
                </a:cxn>
                <a:cxn ang="0">
                  <a:pos x="connsiteX5388" y="connsiteY5388"/>
                </a:cxn>
                <a:cxn ang="0">
                  <a:pos x="connsiteX5389" y="connsiteY5389"/>
                </a:cxn>
                <a:cxn ang="0">
                  <a:pos x="connsiteX5390" y="connsiteY5390"/>
                </a:cxn>
                <a:cxn ang="0">
                  <a:pos x="connsiteX5391" y="connsiteY5391"/>
                </a:cxn>
                <a:cxn ang="0">
                  <a:pos x="connsiteX5392" y="connsiteY5392"/>
                </a:cxn>
                <a:cxn ang="0">
                  <a:pos x="connsiteX5393" y="connsiteY5393"/>
                </a:cxn>
                <a:cxn ang="0">
                  <a:pos x="connsiteX5394" y="connsiteY5394"/>
                </a:cxn>
                <a:cxn ang="0">
                  <a:pos x="connsiteX5395" y="connsiteY5395"/>
                </a:cxn>
                <a:cxn ang="0">
                  <a:pos x="connsiteX5396" y="connsiteY5396"/>
                </a:cxn>
                <a:cxn ang="0">
                  <a:pos x="connsiteX5397" y="connsiteY5397"/>
                </a:cxn>
                <a:cxn ang="0">
                  <a:pos x="connsiteX5398" y="connsiteY5398"/>
                </a:cxn>
                <a:cxn ang="0">
                  <a:pos x="connsiteX5399" y="connsiteY5399"/>
                </a:cxn>
                <a:cxn ang="0">
                  <a:pos x="connsiteX5400" y="connsiteY5400"/>
                </a:cxn>
                <a:cxn ang="0">
                  <a:pos x="connsiteX5401" y="connsiteY5401"/>
                </a:cxn>
                <a:cxn ang="0">
                  <a:pos x="connsiteX5402" y="connsiteY5402"/>
                </a:cxn>
                <a:cxn ang="0">
                  <a:pos x="connsiteX5403" y="connsiteY5403"/>
                </a:cxn>
                <a:cxn ang="0">
                  <a:pos x="connsiteX5404" y="connsiteY5404"/>
                </a:cxn>
                <a:cxn ang="0">
                  <a:pos x="connsiteX5405" y="connsiteY5405"/>
                </a:cxn>
                <a:cxn ang="0">
                  <a:pos x="connsiteX5406" y="connsiteY5406"/>
                </a:cxn>
                <a:cxn ang="0">
                  <a:pos x="connsiteX5407" y="connsiteY5407"/>
                </a:cxn>
                <a:cxn ang="0">
                  <a:pos x="connsiteX5408" y="connsiteY5408"/>
                </a:cxn>
                <a:cxn ang="0">
                  <a:pos x="connsiteX5409" y="connsiteY5409"/>
                </a:cxn>
                <a:cxn ang="0">
                  <a:pos x="connsiteX5410" y="connsiteY5410"/>
                </a:cxn>
                <a:cxn ang="0">
                  <a:pos x="connsiteX5411" y="connsiteY5411"/>
                </a:cxn>
                <a:cxn ang="0">
                  <a:pos x="connsiteX5412" y="connsiteY5412"/>
                </a:cxn>
                <a:cxn ang="0">
                  <a:pos x="connsiteX5413" y="connsiteY5413"/>
                </a:cxn>
                <a:cxn ang="0">
                  <a:pos x="connsiteX5414" y="connsiteY5414"/>
                </a:cxn>
                <a:cxn ang="0">
                  <a:pos x="connsiteX5415" y="connsiteY5415"/>
                </a:cxn>
                <a:cxn ang="0">
                  <a:pos x="connsiteX5416" y="connsiteY5416"/>
                </a:cxn>
                <a:cxn ang="0">
                  <a:pos x="connsiteX5417" y="connsiteY5417"/>
                </a:cxn>
                <a:cxn ang="0">
                  <a:pos x="connsiteX5418" y="connsiteY5418"/>
                </a:cxn>
                <a:cxn ang="0">
                  <a:pos x="connsiteX5419" y="connsiteY5419"/>
                </a:cxn>
                <a:cxn ang="0">
                  <a:pos x="connsiteX5420" y="connsiteY5420"/>
                </a:cxn>
                <a:cxn ang="0">
                  <a:pos x="connsiteX5421" y="connsiteY5421"/>
                </a:cxn>
                <a:cxn ang="0">
                  <a:pos x="connsiteX5422" y="connsiteY5422"/>
                </a:cxn>
                <a:cxn ang="0">
                  <a:pos x="connsiteX5423" y="connsiteY5423"/>
                </a:cxn>
                <a:cxn ang="0">
                  <a:pos x="connsiteX5424" y="connsiteY5424"/>
                </a:cxn>
                <a:cxn ang="0">
                  <a:pos x="connsiteX5425" y="connsiteY5425"/>
                </a:cxn>
                <a:cxn ang="0">
                  <a:pos x="connsiteX5426" y="connsiteY5426"/>
                </a:cxn>
                <a:cxn ang="0">
                  <a:pos x="connsiteX5427" y="connsiteY5427"/>
                </a:cxn>
                <a:cxn ang="0">
                  <a:pos x="connsiteX5428" y="connsiteY5428"/>
                </a:cxn>
                <a:cxn ang="0">
                  <a:pos x="connsiteX5429" y="connsiteY5429"/>
                </a:cxn>
                <a:cxn ang="0">
                  <a:pos x="connsiteX5430" y="connsiteY5430"/>
                </a:cxn>
                <a:cxn ang="0">
                  <a:pos x="connsiteX5431" y="connsiteY5431"/>
                </a:cxn>
                <a:cxn ang="0">
                  <a:pos x="connsiteX5432" y="connsiteY5432"/>
                </a:cxn>
                <a:cxn ang="0">
                  <a:pos x="connsiteX5433" y="connsiteY5433"/>
                </a:cxn>
                <a:cxn ang="0">
                  <a:pos x="connsiteX5434" y="connsiteY5434"/>
                </a:cxn>
                <a:cxn ang="0">
                  <a:pos x="connsiteX5435" y="connsiteY5435"/>
                </a:cxn>
                <a:cxn ang="0">
                  <a:pos x="connsiteX5436" y="connsiteY5436"/>
                </a:cxn>
                <a:cxn ang="0">
                  <a:pos x="connsiteX5437" y="connsiteY5437"/>
                </a:cxn>
                <a:cxn ang="0">
                  <a:pos x="connsiteX5438" y="connsiteY5438"/>
                </a:cxn>
                <a:cxn ang="0">
                  <a:pos x="connsiteX5439" y="connsiteY5439"/>
                </a:cxn>
                <a:cxn ang="0">
                  <a:pos x="connsiteX5440" y="connsiteY5440"/>
                </a:cxn>
                <a:cxn ang="0">
                  <a:pos x="connsiteX5441" y="connsiteY5441"/>
                </a:cxn>
                <a:cxn ang="0">
                  <a:pos x="connsiteX5442" y="connsiteY5442"/>
                </a:cxn>
                <a:cxn ang="0">
                  <a:pos x="connsiteX5443" y="connsiteY5443"/>
                </a:cxn>
                <a:cxn ang="0">
                  <a:pos x="connsiteX5444" y="connsiteY5444"/>
                </a:cxn>
                <a:cxn ang="0">
                  <a:pos x="connsiteX5445" y="connsiteY5445"/>
                </a:cxn>
                <a:cxn ang="0">
                  <a:pos x="connsiteX5446" y="connsiteY5446"/>
                </a:cxn>
                <a:cxn ang="0">
                  <a:pos x="connsiteX5447" y="connsiteY5447"/>
                </a:cxn>
                <a:cxn ang="0">
                  <a:pos x="connsiteX5448" y="connsiteY5448"/>
                </a:cxn>
                <a:cxn ang="0">
                  <a:pos x="connsiteX5449" y="connsiteY5449"/>
                </a:cxn>
                <a:cxn ang="0">
                  <a:pos x="connsiteX5450" y="connsiteY5450"/>
                </a:cxn>
                <a:cxn ang="0">
                  <a:pos x="connsiteX5451" y="connsiteY5451"/>
                </a:cxn>
                <a:cxn ang="0">
                  <a:pos x="connsiteX5452" y="connsiteY5452"/>
                </a:cxn>
                <a:cxn ang="0">
                  <a:pos x="connsiteX5453" y="connsiteY5453"/>
                </a:cxn>
                <a:cxn ang="0">
                  <a:pos x="connsiteX5454" y="connsiteY5454"/>
                </a:cxn>
                <a:cxn ang="0">
                  <a:pos x="connsiteX5455" y="connsiteY5455"/>
                </a:cxn>
                <a:cxn ang="0">
                  <a:pos x="connsiteX5456" y="connsiteY5456"/>
                </a:cxn>
                <a:cxn ang="0">
                  <a:pos x="connsiteX5457" y="connsiteY5457"/>
                </a:cxn>
                <a:cxn ang="0">
                  <a:pos x="connsiteX5458" y="connsiteY5458"/>
                </a:cxn>
                <a:cxn ang="0">
                  <a:pos x="connsiteX5459" y="connsiteY5459"/>
                </a:cxn>
                <a:cxn ang="0">
                  <a:pos x="connsiteX5460" y="connsiteY5460"/>
                </a:cxn>
                <a:cxn ang="0">
                  <a:pos x="connsiteX5461" y="connsiteY5461"/>
                </a:cxn>
                <a:cxn ang="0">
                  <a:pos x="connsiteX5462" y="connsiteY5462"/>
                </a:cxn>
                <a:cxn ang="0">
                  <a:pos x="connsiteX5463" y="connsiteY5463"/>
                </a:cxn>
                <a:cxn ang="0">
                  <a:pos x="connsiteX5464" y="connsiteY5464"/>
                </a:cxn>
                <a:cxn ang="0">
                  <a:pos x="connsiteX5465" y="connsiteY5465"/>
                </a:cxn>
                <a:cxn ang="0">
                  <a:pos x="connsiteX5466" y="connsiteY5466"/>
                </a:cxn>
                <a:cxn ang="0">
                  <a:pos x="connsiteX5467" y="connsiteY5467"/>
                </a:cxn>
                <a:cxn ang="0">
                  <a:pos x="connsiteX5468" y="connsiteY5468"/>
                </a:cxn>
                <a:cxn ang="0">
                  <a:pos x="connsiteX5469" y="connsiteY5469"/>
                </a:cxn>
                <a:cxn ang="0">
                  <a:pos x="connsiteX5470" y="connsiteY5470"/>
                </a:cxn>
                <a:cxn ang="0">
                  <a:pos x="connsiteX5471" y="connsiteY5471"/>
                </a:cxn>
                <a:cxn ang="0">
                  <a:pos x="connsiteX5472" y="connsiteY5472"/>
                </a:cxn>
                <a:cxn ang="0">
                  <a:pos x="connsiteX5473" y="connsiteY5473"/>
                </a:cxn>
                <a:cxn ang="0">
                  <a:pos x="connsiteX5474" y="connsiteY5474"/>
                </a:cxn>
                <a:cxn ang="0">
                  <a:pos x="connsiteX5475" y="connsiteY5475"/>
                </a:cxn>
                <a:cxn ang="0">
                  <a:pos x="connsiteX5476" y="connsiteY5476"/>
                </a:cxn>
                <a:cxn ang="0">
                  <a:pos x="connsiteX5477" y="connsiteY5477"/>
                </a:cxn>
                <a:cxn ang="0">
                  <a:pos x="connsiteX5478" y="connsiteY5478"/>
                </a:cxn>
                <a:cxn ang="0">
                  <a:pos x="connsiteX5479" y="connsiteY5479"/>
                </a:cxn>
                <a:cxn ang="0">
                  <a:pos x="connsiteX5480" y="connsiteY5480"/>
                </a:cxn>
                <a:cxn ang="0">
                  <a:pos x="connsiteX5481" y="connsiteY5481"/>
                </a:cxn>
                <a:cxn ang="0">
                  <a:pos x="connsiteX5482" y="connsiteY5482"/>
                </a:cxn>
                <a:cxn ang="0">
                  <a:pos x="connsiteX5483" y="connsiteY5483"/>
                </a:cxn>
                <a:cxn ang="0">
                  <a:pos x="connsiteX5484" y="connsiteY5484"/>
                </a:cxn>
                <a:cxn ang="0">
                  <a:pos x="connsiteX5485" y="connsiteY5485"/>
                </a:cxn>
                <a:cxn ang="0">
                  <a:pos x="connsiteX5486" y="connsiteY5486"/>
                </a:cxn>
                <a:cxn ang="0">
                  <a:pos x="connsiteX5487" y="connsiteY5487"/>
                </a:cxn>
                <a:cxn ang="0">
                  <a:pos x="connsiteX5488" y="connsiteY5488"/>
                </a:cxn>
                <a:cxn ang="0">
                  <a:pos x="connsiteX5489" y="connsiteY5489"/>
                </a:cxn>
                <a:cxn ang="0">
                  <a:pos x="connsiteX5490" y="connsiteY5490"/>
                </a:cxn>
                <a:cxn ang="0">
                  <a:pos x="connsiteX5491" y="connsiteY5491"/>
                </a:cxn>
                <a:cxn ang="0">
                  <a:pos x="connsiteX5492" y="connsiteY5492"/>
                </a:cxn>
                <a:cxn ang="0">
                  <a:pos x="connsiteX5493" y="connsiteY5493"/>
                </a:cxn>
                <a:cxn ang="0">
                  <a:pos x="connsiteX5494" y="connsiteY5494"/>
                </a:cxn>
                <a:cxn ang="0">
                  <a:pos x="connsiteX5495" y="connsiteY5495"/>
                </a:cxn>
                <a:cxn ang="0">
                  <a:pos x="connsiteX5496" y="connsiteY5496"/>
                </a:cxn>
                <a:cxn ang="0">
                  <a:pos x="connsiteX5497" y="connsiteY5497"/>
                </a:cxn>
                <a:cxn ang="0">
                  <a:pos x="connsiteX5498" y="connsiteY5498"/>
                </a:cxn>
                <a:cxn ang="0">
                  <a:pos x="connsiteX5499" y="connsiteY5499"/>
                </a:cxn>
                <a:cxn ang="0">
                  <a:pos x="connsiteX5500" y="connsiteY5500"/>
                </a:cxn>
                <a:cxn ang="0">
                  <a:pos x="connsiteX5501" y="connsiteY5501"/>
                </a:cxn>
                <a:cxn ang="0">
                  <a:pos x="connsiteX5502" y="connsiteY5502"/>
                </a:cxn>
                <a:cxn ang="0">
                  <a:pos x="connsiteX5503" y="connsiteY5503"/>
                </a:cxn>
                <a:cxn ang="0">
                  <a:pos x="connsiteX5504" y="connsiteY5504"/>
                </a:cxn>
                <a:cxn ang="0">
                  <a:pos x="connsiteX5505" y="connsiteY5505"/>
                </a:cxn>
                <a:cxn ang="0">
                  <a:pos x="connsiteX5506" y="connsiteY5506"/>
                </a:cxn>
                <a:cxn ang="0">
                  <a:pos x="connsiteX5507" y="connsiteY5507"/>
                </a:cxn>
                <a:cxn ang="0">
                  <a:pos x="connsiteX5508" y="connsiteY5508"/>
                </a:cxn>
                <a:cxn ang="0">
                  <a:pos x="connsiteX5509" y="connsiteY5509"/>
                </a:cxn>
                <a:cxn ang="0">
                  <a:pos x="connsiteX5510" y="connsiteY5510"/>
                </a:cxn>
                <a:cxn ang="0">
                  <a:pos x="connsiteX5511" y="connsiteY5511"/>
                </a:cxn>
                <a:cxn ang="0">
                  <a:pos x="connsiteX5512" y="connsiteY5512"/>
                </a:cxn>
                <a:cxn ang="0">
                  <a:pos x="connsiteX5513" y="connsiteY5513"/>
                </a:cxn>
                <a:cxn ang="0">
                  <a:pos x="connsiteX5514" y="connsiteY5514"/>
                </a:cxn>
                <a:cxn ang="0">
                  <a:pos x="connsiteX5515" y="connsiteY5515"/>
                </a:cxn>
                <a:cxn ang="0">
                  <a:pos x="connsiteX5516" y="connsiteY5516"/>
                </a:cxn>
                <a:cxn ang="0">
                  <a:pos x="connsiteX5517" y="connsiteY5517"/>
                </a:cxn>
                <a:cxn ang="0">
                  <a:pos x="connsiteX5518" y="connsiteY5518"/>
                </a:cxn>
                <a:cxn ang="0">
                  <a:pos x="connsiteX5519" y="connsiteY5519"/>
                </a:cxn>
                <a:cxn ang="0">
                  <a:pos x="connsiteX5520" y="connsiteY5520"/>
                </a:cxn>
                <a:cxn ang="0">
                  <a:pos x="connsiteX5521" y="connsiteY5521"/>
                </a:cxn>
                <a:cxn ang="0">
                  <a:pos x="connsiteX5522" y="connsiteY5522"/>
                </a:cxn>
                <a:cxn ang="0">
                  <a:pos x="connsiteX5523" y="connsiteY5523"/>
                </a:cxn>
                <a:cxn ang="0">
                  <a:pos x="connsiteX5524" y="connsiteY5524"/>
                </a:cxn>
                <a:cxn ang="0">
                  <a:pos x="connsiteX5525" y="connsiteY5525"/>
                </a:cxn>
                <a:cxn ang="0">
                  <a:pos x="connsiteX5526" y="connsiteY5526"/>
                </a:cxn>
                <a:cxn ang="0">
                  <a:pos x="connsiteX5527" y="connsiteY5527"/>
                </a:cxn>
                <a:cxn ang="0">
                  <a:pos x="connsiteX5528" y="connsiteY5528"/>
                </a:cxn>
                <a:cxn ang="0">
                  <a:pos x="connsiteX5529" y="connsiteY5529"/>
                </a:cxn>
                <a:cxn ang="0">
                  <a:pos x="connsiteX5530" y="connsiteY5530"/>
                </a:cxn>
                <a:cxn ang="0">
                  <a:pos x="connsiteX5531" y="connsiteY5531"/>
                </a:cxn>
                <a:cxn ang="0">
                  <a:pos x="connsiteX5532" y="connsiteY5532"/>
                </a:cxn>
                <a:cxn ang="0">
                  <a:pos x="connsiteX5533" y="connsiteY5533"/>
                </a:cxn>
                <a:cxn ang="0">
                  <a:pos x="connsiteX5534" y="connsiteY5534"/>
                </a:cxn>
                <a:cxn ang="0">
                  <a:pos x="connsiteX5535" y="connsiteY5535"/>
                </a:cxn>
                <a:cxn ang="0">
                  <a:pos x="connsiteX5536" y="connsiteY5536"/>
                </a:cxn>
                <a:cxn ang="0">
                  <a:pos x="connsiteX5537" y="connsiteY5537"/>
                </a:cxn>
                <a:cxn ang="0">
                  <a:pos x="connsiteX5538" y="connsiteY5538"/>
                </a:cxn>
                <a:cxn ang="0">
                  <a:pos x="connsiteX5539" y="connsiteY5539"/>
                </a:cxn>
                <a:cxn ang="0">
                  <a:pos x="connsiteX5540" y="connsiteY5540"/>
                </a:cxn>
                <a:cxn ang="0">
                  <a:pos x="connsiteX5541" y="connsiteY5541"/>
                </a:cxn>
                <a:cxn ang="0">
                  <a:pos x="connsiteX5542" y="connsiteY5542"/>
                </a:cxn>
                <a:cxn ang="0">
                  <a:pos x="connsiteX5543" y="connsiteY5543"/>
                </a:cxn>
                <a:cxn ang="0">
                  <a:pos x="connsiteX5544" y="connsiteY5544"/>
                </a:cxn>
                <a:cxn ang="0">
                  <a:pos x="connsiteX5545" y="connsiteY5545"/>
                </a:cxn>
                <a:cxn ang="0">
                  <a:pos x="connsiteX5546" y="connsiteY5546"/>
                </a:cxn>
                <a:cxn ang="0">
                  <a:pos x="connsiteX5547" y="connsiteY5547"/>
                </a:cxn>
                <a:cxn ang="0">
                  <a:pos x="connsiteX5548" y="connsiteY5548"/>
                </a:cxn>
                <a:cxn ang="0">
                  <a:pos x="connsiteX5549" y="connsiteY5549"/>
                </a:cxn>
                <a:cxn ang="0">
                  <a:pos x="connsiteX5550" y="connsiteY5550"/>
                </a:cxn>
                <a:cxn ang="0">
                  <a:pos x="connsiteX5551" y="connsiteY5551"/>
                </a:cxn>
                <a:cxn ang="0">
                  <a:pos x="connsiteX5552" y="connsiteY5552"/>
                </a:cxn>
                <a:cxn ang="0">
                  <a:pos x="connsiteX5553" y="connsiteY5553"/>
                </a:cxn>
                <a:cxn ang="0">
                  <a:pos x="connsiteX5554" y="connsiteY5554"/>
                </a:cxn>
                <a:cxn ang="0">
                  <a:pos x="connsiteX5555" y="connsiteY5555"/>
                </a:cxn>
                <a:cxn ang="0">
                  <a:pos x="connsiteX5556" y="connsiteY5556"/>
                </a:cxn>
                <a:cxn ang="0">
                  <a:pos x="connsiteX5557" y="connsiteY5557"/>
                </a:cxn>
                <a:cxn ang="0">
                  <a:pos x="connsiteX5558" y="connsiteY5558"/>
                </a:cxn>
                <a:cxn ang="0">
                  <a:pos x="connsiteX5559" y="connsiteY5559"/>
                </a:cxn>
                <a:cxn ang="0">
                  <a:pos x="connsiteX5560" y="connsiteY5560"/>
                </a:cxn>
                <a:cxn ang="0">
                  <a:pos x="connsiteX5561" y="connsiteY5561"/>
                </a:cxn>
                <a:cxn ang="0">
                  <a:pos x="connsiteX5562" y="connsiteY5562"/>
                </a:cxn>
                <a:cxn ang="0">
                  <a:pos x="connsiteX5563" y="connsiteY5563"/>
                </a:cxn>
                <a:cxn ang="0">
                  <a:pos x="connsiteX5564" y="connsiteY5564"/>
                </a:cxn>
                <a:cxn ang="0">
                  <a:pos x="connsiteX5565" y="connsiteY5565"/>
                </a:cxn>
                <a:cxn ang="0">
                  <a:pos x="connsiteX5566" y="connsiteY5566"/>
                </a:cxn>
                <a:cxn ang="0">
                  <a:pos x="connsiteX5567" y="connsiteY5567"/>
                </a:cxn>
                <a:cxn ang="0">
                  <a:pos x="connsiteX5568" y="connsiteY5568"/>
                </a:cxn>
                <a:cxn ang="0">
                  <a:pos x="connsiteX5569" y="connsiteY5569"/>
                </a:cxn>
                <a:cxn ang="0">
                  <a:pos x="connsiteX5570" y="connsiteY5570"/>
                </a:cxn>
                <a:cxn ang="0">
                  <a:pos x="connsiteX5571" y="connsiteY5571"/>
                </a:cxn>
                <a:cxn ang="0">
                  <a:pos x="connsiteX5572" y="connsiteY5572"/>
                </a:cxn>
                <a:cxn ang="0">
                  <a:pos x="connsiteX5573" y="connsiteY5573"/>
                </a:cxn>
                <a:cxn ang="0">
                  <a:pos x="connsiteX5574" y="connsiteY5574"/>
                </a:cxn>
                <a:cxn ang="0">
                  <a:pos x="connsiteX5575" y="connsiteY5575"/>
                </a:cxn>
                <a:cxn ang="0">
                  <a:pos x="connsiteX5576" y="connsiteY5576"/>
                </a:cxn>
                <a:cxn ang="0">
                  <a:pos x="connsiteX5577" y="connsiteY5577"/>
                </a:cxn>
                <a:cxn ang="0">
                  <a:pos x="connsiteX5578" y="connsiteY5578"/>
                </a:cxn>
                <a:cxn ang="0">
                  <a:pos x="connsiteX5579" y="connsiteY5579"/>
                </a:cxn>
                <a:cxn ang="0">
                  <a:pos x="connsiteX5580" y="connsiteY5580"/>
                </a:cxn>
                <a:cxn ang="0">
                  <a:pos x="connsiteX5581" y="connsiteY5581"/>
                </a:cxn>
                <a:cxn ang="0">
                  <a:pos x="connsiteX5582" y="connsiteY5582"/>
                </a:cxn>
                <a:cxn ang="0">
                  <a:pos x="connsiteX5583" y="connsiteY5583"/>
                </a:cxn>
                <a:cxn ang="0">
                  <a:pos x="connsiteX5584" y="connsiteY5584"/>
                </a:cxn>
                <a:cxn ang="0">
                  <a:pos x="connsiteX5585" y="connsiteY5585"/>
                </a:cxn>
                <a:cxn ang="0">
                  <a:pos x="connsiteX5586" y="connsiteY5586"/>
                </a:cxn>
                <a:cxn ang="0">
                  <a:pos x="connsiteX5587" y="connsiteY5587"/>
                </a:cxn>
                <a:cxn ang="0">
                  <a:pos x="connsiteX5588" y="connsiteY5588"/>
                </a:cxn>
                <a:cxn ang="0">
                  <a:pos x="connsiteX5589" y="connsiteY5589"/>
                </a:cxn>
                <a:cxn ang="0">
                  <a:pos x="connsiteX5590" y="connsiteY5590"/>
                </a:cxn>
                <a:cxn ang="0">
                  <a:pos x="connsiteX5591" y="connsiteY5591"/>
                </a:cxn>
                <a:cxn ang="0">
                  <a:pos x="connsiteX5592" y="connsiteY5592"/>
                </a:cxn>
                <a:cxn ang="0">
                  <a:pos x="connsiteX5593" y="connsiteY5593"/>
                </a:cxn>
                <a:cxn ang="0">
                  <a:pos x="connsiteX5594" y="connsiteY5594"/>
                </a:cxn>
                <a:cxn ang="0">
                  <a:pos x="connsiteX5595" y="connsiteY5595"/>
                </a:cxn>
                <a:cxn ang="0">
                  <a:pos x="connsiteX5596" y="connsiteY5596"/>
                </a:cxn>
                <a:cxn ang="0">
                  <a:pos x="connsiteX5597" y="connsiteY5597"/>
                </a:cxn>
                <a:cxn ang="0">
                  <a:pos x="connsiteX5598" y="connsiteY5598"/>
                </a:cxn>
                <a:cxn ang="0">
                  <a:pos x="connsiteX5599" y="connsiteY5599"/>
                </a:cxn>
                <a:cxn ang="0">
                  <a:pos x="connsiteX5600" y="connsiteY5600"/>
                </a:cxn>
                <a:cxn ang="0">
                  <a:pos x="connsiteX5601" y="connsiteY5601"/>
                </a:cxn>
                <a:cxn ang="0">
                  <a:pos x="connsiteX5602" y="connsiteY5602"/>
                </a:cxn>
                <a:cxn ang="0">
                  <a:pos x="connsiteX5603" y="connsiteY5603"/>
                </a:cxn>
                <a:cxn ang="0">
                  <a:pos x="connsiteX5604" y="connsiteY5604"/>
                </a:cxn>
                <a:cxn ang="0">
                  <a:pos x="connsiteX5605" y="connsiteY5605"/>
                </a:cxn>
                <a:cxn ang="0">
                  <a:pos x="connsiteX5606" y="connsiteY5606"/>
                </a:cxn>
                <a:cxn ang="0">
                  <a:pos x="connsiteX5607" y="connsiteY5607"/>
                </a:cxn>
                <a:cxn ang="0">
                  <a:pos x="connsiteX5608" y="connsiteY5608"/>
                </a:cxn>
                <a:cxn ang="0">
                  <a:pos x="connsiteX5609" y="connsiteY5609"/>
                </a:cxn>
                <a:cxn ang="0">
                  <a:pos x="connsiteX5610" y="connsiteY5610"/>
                </a:cxn>
                <a:cxn ang="0">
                  <a:pos x="connsiteX5611" y="connsiteY5611"/>
                </a:cxn>
                <a:cxn ang="0">
                  <a:pos x="connsiteX5612" y="connsiteY5612"/>
                </a:cxn>
                <a:cxn ang="0">
                  <a:pos x="connsiteX5613" y="connsiteY5613"/>
                </a:cxn>
                <a:cxn ang="0">
                  <a:pos x="connsiteX5614" y="connsiteY5614"/>
                </a:cxn>
                <a:cxn ang="0">
                  <a:pos x="connsiteX5615" y="connsiteY5615"/>
                </a:cxn>
                <a:cxn ang="0">
                  <a:pos x="connsiteX5616" y="connsiteY5616"/>
                </a:cxn>
                <a:cxn ang="0">
                  <a:pos x="connsiteX5617" y="connsiteY5617"/>
                </a:cxn>
                <a:cxn ang="0">
                  <a:pos x="connsiteX5618" y="connsiteY5618"/>
                </a:cxn>
                <a:cxn ang="0">
                  <a:pos x="connsiteX5619" y="connsiteY5619"/>
                </a:cxn>
                <a:cxn ang="0">
                  <a:pos x="connsiteX5620" y="connsiteY5620"/>
                </a:cxn>
                <a:cxn ang="0">
                  <a:pos x="connsiteX5621" y="connsiteY5621"/>
                </a:cxn>
                <a:cxn ang="0">
                  <a:pos x="connsiteX5622" y="connsiteY5622"/>
                </a:cxn>
                <a:cxn ang="0">
                  <a:pos x="connsiteX5623" y="connsiteY5623"/>
                </a:cxn>
                <a:cxn ang="0">
                  <a:pos x="connsiteX5624" y="connsiteY5624"/>
                </a:cxn>
                <a:cxn ang="0">
                  <a:pos x="connsiteX5625" y="connsiteY5625"/>
                </a:cxn>
                <a:cxn ang="0">
                  <a:pos x="connsiteX5626" y="connsiteY5626"/>
                </a:cxn>
                <a:cxn ang="0">
                  <a:pos x="connsiteX5627" y="connsiteY5627"/>
                </a:cxn>
                <a:cxn ang="0">
                  <a:pos x="connsiteX5628" y="connsiteY5628"/>
                </a:cxn>
                <a:cxn ang="0">
                  <a:pos x="connsiteX5629" y="connsiteY5629"/>
                </a:cxn>
                <a:cxn ang="0">
                  <a:pos x="connsiteX5630" y="connsiteY5630"/>
                </a:cxn>
                <a:cxn ang="0">
                  <a:pos x="connsiteX5631" y="connsiteY5631"/>
                </a:cxn>
                <a:cxn ang="0">
                  <a:pos x="connsiteX5632" y="connsiteY5632"/>
                </a:cxn>
                <a:cxn ang="0">
                  <a:pos x="connsiteX5633" y="connsiteY5633"/>
                </a:cxn>
                <a:cxn ang="0">
                  <a:pos x="connsiteX5634" y="connsiteY5634"/>
                </a:cxn>
                <a:cxn ang="0">
                  <a:pos x="connsiteX5635" y="connsiteY5635"/>
                </a:cxn>
                <a:cxn ang="0">
                  <a:pos x="connsiteX5636" y="connsiteY5636"/>
                </a:cxn>
                <a:cxn ang="0">
                  <a:pos x="connsiteX5637" y="connsiteY5637"/>
                </a:cxn>
                <a:cxn ang="0">
                  <a:pos x="connsiteX5638" y="connsiteY5638"/>
                </a:cxn>
                <a:cxn ang="0">
                  <a:pos x="connsiteX5639" y="connsiteY5639"/>
                </a:cxn>
                <a:cxn ang="0">
                  <a:pos x="connsiteX5640" y="connsiteY5640"/>
                </a:cxn>
                <a:cxn ang="0">
                  <a:pos x="connsiteX5641" y="connsiteY5641"/>
                </a:cxn>
                <a:cxn ang="0">
                  <a:pos x="connsiteX5642" y="connsiteY5642"/>
                </a:cxn>
                <a:cxn ang="0">
                  <a:pos x="connsiteX5643" y="connsiteY5643"/>
                </a:cxn>
                <a:cxn ang="0">
                  <a:pos x="connsiteX5644" y="connsiteY5644"/>
                </a:cxn>
                <a:cxn ang="0">
                  <a:pos x="connsiteX5645" y="connsiteY5645"/>
                </a:cxn>
                <a:cxn ang="0">
                  <a:pos x="connsiteX5646" y="connsiteY5646"/>
                </a:cxn>
                <a:cxn ang="0">
                  <a:pos x="connsiteX5647" y="connsiteY5647"/>
                </a:cxn>
                <a:cxn ang="0">
                  <a:pos x="connsiteX5648" y="connsiteY5648"/>
                </a:cxn>
                <a:cxn ang="0">
                  <a:pos x="connsiteX5649" y="connsiteY5649"/>
                </a:cxn>
                <a:cxn ang="0">
                  <a:pos x="connsiteX5650" y="connsiteY5650"/>
                </a:cxn>
                <a:cxn ang="0">
                  <a:pos x="connsiteX5651" y="connsiteY5651"/>
                </a:cxn>
                <a:cxn ang="0">
                  <a:pos x="connsiteX5652" y="connsiteY5652"/>
                </a:cxn>
                <a:cxn ang="0">
                  <a:pos x="connsiteX5653" y="connsiteY5653"/>
                </a:cxn>
                <a:cxn ang="0">
                  <a:pos x="connsiteX5654" y="connsiteY5654"/>
                </a:cxn>
                <a:cxn ang="0">
                  <a:pos x="connsiteX5655" y="connsiteY5655"/>
                </a:cxn>
                <a:cxn ang="0">
                  <a:pos x="connsiteX5656" y="connsiteY5656"/>
                </a:cxn>
                <a:cxn ang="0">
                  <a:pos x="connsiteX5657" y="connsiteY5657"/>
                </a:cxn>
                <a:cxn ang="0">
                  <a:pos x="connsiteX5658" y="connsiteY5658"/>
                </a:cxn>
                <a:cxn ang="0">
                  <a:pos x="connsiteX5659" y="connsiteY5659"/>
                </a:cxn>
                <a:cxn ang="0">
                  <a:pos x="connsiteX5660" y="connsiteY5660"/>
                </a:cxn>
                <a:cxn ang="0">
                  <a:pos x="connsiteX5661" y="connsiteY5661"/>
                </a:cxn>
                <a:cxn ang="0">
                  <a:pos x="connsiteX5662" y="connsiteY5662"/>
                </a:cxn>
                <a:cxn ang="0">
                  <a:pos x="connsiteX5663" y="connsiteY5663"/>
                </a:cxn>
                <a:cxn ang="0">
                  <a:pos x="connsiteX5664" y="connsiteY5664"/>
                </a:cxn>
                <a:cxn ang="0">
                  <a:pos x="connsiteX5665" y="connsiteY5665"/>
                </a:cxn>
                <a:cxn ang="0">
                  <a:pos x="connsiteX5666" y="connsiteY5666"/>
                </a:cxn>
                <a:cxn ang="0">
                  <a:pos x="connsiteX5667" y="connsiteY5667"/>
                </a:cxn>
                <a:cxn ang="0">
                  <a:pos x="connsiteX5668" y="connsiteY5668"/>
                </a:cxn>
                <a:cxn ang="0">
                  <a:pos x="connsiteX5669" y="connsiteY5669"/>
                </a:cxn>
                <a:cxn ang="0">
                  <a:pos x="connsiteX5670" y="connsiteY5670"/>
                </a:cxn>
                <a:cxn ang="0">
                  <a:pos x="connsiteX5671" y="connsiteY5671"/>
                </a:cxn>
                <a:cxn ang="0">
                  <a:pos x="connsiteX5672" y="connsiteY5672"/>
                </a:cxn>
                <a:cxn ang="0">
                  <a:pos x="connsiteX5673" y="connsiteY5673"/>
                </a:cxn>
                <a:cxn ang="0">
                  <a:pos x="connsiteX5674" y="connsiteY5674"/>
                </a:cxn>
                <a:cxn ang="0">
                  <a:pos x="connsiteX5675" y="connsiteY5675"/>
                </a:cxn>
                <a:cxn ang="0">
                  <a:pos x="connsiteX5676" y="connsiteY5676"/>
                </a:cxn>
                <a:cxn ang="0">
                  <a:pos x="connsiteX5677" y="connsiteY5677"/>
                </a:cxn>
                <a:cxn ang="0">
                  <a:pos x="connsiteX5678" y="connsiteY5678"/>
                </a:cxn>
                <a:cxn ang="0">
                  <a:pos x="connsiteX5679" y="connsiteY5679"/>
                </a:cxn>
                <a:cxn ang="0">
                  <a:pos x="connsiteX5680" y="connsiteY5680"/>
                </a:cxn>
                <a:cxn ang="0">
                  <a:pos x="connsiteX5681" y="connsiteY5681"/>
                </a:cxn>
                <a:cxn ang="0">
                  <a:pos x="connsiteX5682" y="connsiteY5682"/>
                </a:cxn>
                <a:cxn ang="0">
                  <a:pos x="connsiteX5683" y="connsiteY5683"/>
                </a:cxn>
                <a:cxn ang="0">
                  <a:pos x="connsiteX5684" y="connsiteY5684"/>
                </a:cxn>
                <a:cxn ang="0">
                  <a:pos x="connsiteX5685" y="connsiteY5685"/>
                </a:cxn>
                <a:cxn ang="0">
                  <a:pos x="connsiteX5686" y="connsiteY5686"/>
                </a:cxn>
                <a:cxn ang="0">
                  <a:pos x="connsiteX5687" y="connsiteY5687"/>
                </a:cxn>
                <a:cxn ang="0">
                  <a:pos x="connsiteX5688" y="connsiteY5688"/>
                </a:cxn>
                <a:cxn ang="0">
                  <a:pos x="connsiteX5689" y="connsiteY5689"/>
                </a:cxn>
                <a:cxn ang="0">
                  <a:pos x="connsiteX5690" y="connsiteY5690"/>
                </a:cxn>
                <a:cxn ang="0">
                  <a:pos x="connsiteX5691" y="connsiteY5691"/>
                </a:cxn>
                <a:cxn ang="0">
                  <a:pos x="connsiteX5692" y="connsiteY5692"/>
                </a:cxn>
                <a:cxn ang="0">
                  <a:pos x="connsiteX5693" y="connsiteY5693"/>
                </a:cxn>
                <a:cxn ang="0">
                  <a:pos x="connsiteX5694" y="connsiteY5694"/>
                </a:cxn>
                <a:cxn ang="0">
                  <a:pos x="connsiteX5695" y="connsiteY5695"/>
                </a:cxn>
                <a:cxn ang="0">
                  <a:pos x="connsiteX5696" y="connsiteY5696"/>
                </a:cxn>
                <a:cxn ang="0">
                  <a:pos x="connsiteX5697" y="connsiteY5697"/>
                </a:cxn>
                <a:cxn ang="0">
                  <a:pos x="connsiteX5698" y="connsiteY5698"/>
                </a:cxn>
                <a:cxn ang="0">
                  <a:pos x="connsiteX5699" y="connsiteY5699"/>
                </a:cxn>
                <a:cxn ang="0">
                  <a:pos x="connsiteX5700" y="connsiteY5700"/>
                </a:cxn>
                <a:cxn ang="0">
                  <a:pos x="connsiteX5701" y="connsiteY5701"/>
                </a:cxn>
                <a:cxn ang="0">
                  <a:pos x="connsiteX5702" y="connsiteY5702"/>
                </a:cxn>
                <a:cxn ang="0">
                  <a:pos x="connsiteX5703" y="connsiteY5703"/>
                </a:cxn>
                <a:cxn ang="0">
                  <a:pos x="connsiteX5704" y="connsiteY5704"/>
                </a:cxn>
                <a:cxn ang="0">
                  <a:pos x="connsiteX5705" y="connsiteY5705"/>
                </a:cxn>
                <a:cxn ang="0">
                  <a:pos x="connsiteX5706" y="connsiteY5706"/>
                </a:cxn>
                <a:cxn ang="0">
                  <a:pos x="connsiteX5707" y="connsiteY5707"/>
                </a:cxn>
                <a:cxn ang="0">
                  <a:pos x="connsiteX5708" y="connsiteY5708"/>
                </a:cxn>
                <a:cxn ang="0">
                  <a:pos x="connsiteX5709" y="connsiteY5709"/>
                </a:cxn>
                <a:cxn ang="0">
                  <a:pos x="connsiteX5710" y="connsiteY5710"/>
                </a:cxn>
                <a:cxn ang="0">
                  <a:pos x="connsiteX5711" y="connsiteY5711"/>
                </a:cxn>
                <a:cxn ang="0">
                  <a:pos x="connsiteX5712" y="connsiteY5712"/>
                </a:cxn>
                <a:cxn ang="0">
                  <a:pos x="connsiteX5713" y="connsiteY5713"/>
                </a:cxn>
                <a:cxn ang="0">
                  <a:pos x="connsiteX5714" y="connsiteY5714"/>
                </a:cxn>
                <a:cxn ang="0">
                  <a:pos x="connsiteX5715" y="connsiteY5715"/>
                </a:cxn>
                <a:cxn ang="0">
                  <a:pos x="connsiteX5716" y="connsiteY5716"/>
                </a:cxn>
                <a:cxn ang="0">
                  <a:pos x="connsiteX5717" y="connsiteY5717"/>
                </a:cxn>
                <a:cxn ang="0">
                  <a:pos x="connsiteX5718" y="connsiteY5718"/>
                </a:cxn>
                <a:cxn ang="0">
                  <a:pos x="connsiteX5719" y="connsiteY5719"/>
                </a:cxn>
                <a:cxn ang="0">
                  <a:pos x="connsiteX5720" y="connsiteY5720"/>
                </a:cxn>
                <a:cxn ang="0">
                  <a:pos x="connsiteX5721" y="connsiteY5721"/>
                </a:cxn>
                <a:cxn ang="0">
                  <a:pos x="connsiteX5722" y="connsiteY5722"/>
                </a:cxn>
                <a:cxn ang="0">
                  <a:pos x="connsiteX5723" y="connsiteY5723"/>
                </a:cxn>
                <a:cxn ang="0">
                  <a:pos x="connsiteX5724" y="connsiteY5724"/>
                </a:cxn>
                <a:cxn ang="0">
                  <a:pos x="connsiteX5725" y="connsiteY5725"/>
                </a:cxn>
                <a:cxn ang="0">
                  <a:pos x="connsiteX5726" y="connsiteY5726"/>
                </a:cxn>
                <a:cxn ang="0">
                  <a:pos x="connsiteX5727" y="connsiteY5727"/>
                </a:cxn>
                <a:cxn ang="0">
                  <a:pos x="connsiteX5728" y="connsiteY5728"/>
                </a:cxn>
                <a:cxn ang="0">
                  <a:pos x="connsiteX5729" y="connsiteY5729"/>
                </a:cxn>
                <a:cxn ang="0">
                  <a:pos x="connsiteX5730" y="connsiteY5730"/>
                </a:cxn>
                <a:cxn ang="0">
                  <a:pos x="connsiteX5731" y="connsiteY5731"/>
                </a:cxn>
                <a:cxn ang="0">
                  <a:pos x="connsiteX5732" y="connsiteY5732"/>
                </a:cxn>
                <a:cxn ang="0">
                  <a:pos x="connsiteX5733" y="connsiteY5733"/>
                </a:cxn>
                <a:cxn ang="0">
                  <a:pos x="connsiteX5734" y="connsiteY5734"/>
                </a:cxn>
                <a:cxn ang="0">
                  <a:pos x="connsiteX5735" y="connsiteY5735"/>
                </a:cxn>
                <a:cxn ang="0">
                  <a:pos x="connsiteX5736" y="connsiteY5736"/>
                </a:cxn>
                <a:cxn ang="0">
                  <a:pos x="connsiteX5737" y="connsiteY5737"/>
                </a:cxn>
                <a:cxn ang="0">
                  <a:pos x="connsiteX5738" y="connsiteY5738"/>
                </a:cxn>
                <a:cxn ang="0">
                  <a:pos x="connsiteX5739" y="connsiteY5739"/>
                </a:cxn>
                <a:cxn ang="0">
                  <a:pos x="connsiteX5740" y="connsiteY5740"/>
                </a:cxn>
                <a:cxn ang="0">
                  <a:pos x="connsiteX5741" y="connsiteY5741"/>
                </a:cxn>
                <a:cxn ang="0">
                  <a:pos x="connsiteX5742" y="connsiteY5742"/>
                </a:cxn>
                <a:cxn ang="0">
                  <a:pos x="connsiteX5743" y="connsiteY5743"/>
                </a:cxn>
                <a:cxn ang="0">
                  <a:pos x="connsiteX5744" y="connsiteY5744"/>
                </a:cxn>
                <a:cxn ang="0">
                  <a:pos x="connsiteX5745" y="connsiteY5745"/>
                </a:cxn>
                <a:cxn ang="0">
                  <a:pos x="connsiteX5746" y="connsiteY5746"/>
                </a:cxn>
                <a:cxn ang="0">
                  <a:pos x="connsiteX5747" y="connsiteY5747"/>
                </a:cxn>
                <a:cxn ang="0">
                  <a:pos x="connsiteX5748" y="connsiteY5748"/>
                </a:cxn>
                <a:cxn ang="0">
                  <a:pos x="connsiteX5749" y="connsiteY5749"/>
                </a:cxn>
                <a:cxn ang="0">
                  <a:pos x="connsiteX5750" y="connsiteY5750"/>
                </a:cxn>
                <a:cxn ang="0">
                  <a:pos x="connsiteX5751" y="connsiteY5751"/>
                </a:cxn>
                <a:cxn ang="0">
                  <a:pos x="connsiteX5752" y="connsiteY5752"/>
                </a:cxn>
                <a:cxn ang="0">
                  <a:pos x="connsiteX5753" y="connsiteY5753"/>
                </a:cxn>
                <a:cxn ang="0">
                  <a:pos x="connsiteX5754" y="connsiteY5754"/>
                </a:cxn>
                <a:cxn ang="0">
                  <a:pos x="connsiteX5755" y="connsiteY5755"/>
                </a:cxn>
                <a:cxn ang="0">
                  <a:pos x="connsiteX5756" y="connsiteY5756"/>
                </a:cxn>
                <a:cxn ang="0">
                  <a:pos x="connsiteX5757" y="connsiteY5757"/>
                </a:cxn>
                <a:cxn ang="0">
                  <a:pos x="connsiteX5758" y="connsiteY5758"/>
                </a:cxn>
                <a:cxn ang="0">
                  <a:pos x="connsiteX5759" y="connsiteY5759"/>
                </a:cxn>
                <a:cxn ang="0">
                  <a:pos x="connsiteX5760" y="connsiteY5760"/>
                </a:cxn>
                <a:cxn ang="0">
                  <a:pos x="connsiteX5761" y="connsiteY5761"/>
                </a:cxn>
                <a:cxn ang="0">
                  <a:pos x="connsiteX5762" y="connsiteY5762"/>
                </a:cxn>
                <a:cxn ang="0">
                  <a:pos x="connsiteX5763" y="connsiteY5763"/>
                </a:cxn>
                <a:cxn ang="0">
                  <a:pos x="connsiteX5764" y="connsiteY5764"/>
                </a:cxn>
                <a:cxn ang="0">
                  <a:pos x="connsiteX5765" y="connsiteY5765"/>
                </a:cxn>
                <a:cxn ang="0">
                  <a:pos x="connsiteX5766" y="connsiteY5766"/>
                </a:cxn>
                <a:cxn ang="0">
                  <a:pos x="connsiteX5767" y="connsiteY5767"/>
                </a:cxn>
                <a:cxn ang="0">
                  <a:pos x="connsiteX5768" y="connsiteY5768"/>
                </a:cxn>
                <a:cxn ang="0">
                  <a:pos x="connsiteX5769" y="connsiteY5769"/>
                </a:cxn>
                <a:cxn ang="0">
                  <a:pos x="connsiteX5770" y="connsiteY5770"/>
                </a:cxn>
                <a:cxn ang="0">
                  <a:pos x="connsiteX5771" y="connsiteY5771"/>
                </a:cxn>
                <a:cxn ang="0">
                  <a:pos x="connsiteX5772" y="connsiteY5772"/>
                </a:cxn>
                <a:cxn ang="0">
                  <a:pos x="connsiteX5773" y="connsiteY5773"/>
                </a:cxn>
                <a:cxn ang="0">
                  <a:pos x="connsiteX5774" y="connsiteY5774"/>
                </a:cxn>
                <a:cxn ang="0">
                  <a:pos x="connsiteX5775" y="connsiteY5775"/>
                </a:cxn>
                <a:cxn ang="0">
                  <a:pos x="connsiteX5776" y="connsiteY5776"/>
                </a:cxn>
                <a:cxn ang="0">
                  <a:pos x="connsiteX5777" y="connsiteY5777"/>
                </a:cxn>
                <a:cxn ang="0">
                  <a:pos x="connsiteX5778" y="connsiteY5778"/>
                </a:cxn>
                <a:cxn ang="0">
                  <a:pos x="connsiteX5779" y="connsiteY5779"/>
                </a:cxn>
                <a:cxn ang="0">
                  <a:pos x="connsiteX5780" y="connsiteY5780"/>
                </a:cxn>
                <a:cxn ang="0">
                  <a:pos x="connsiteX5781" y="connsiteY5781"/>
                </a:cxn>
                <a:cxn ang="0">
                  <a:pos x="connsiteX5782" y="connsiteY5782"/>
                </a:cxn>
                <a:cxn ang="0">
                  <a:pos x="connsiteX5783" y="connsiteY5783"/>
                </a:cxn>
                <a:cxn ang="0">
                  <a:pos x="connsiteX5784" y="connsiteY5784"/>
                </a:cxn>
                <a:cxn ang="0">
                  <a:pos x="connsiteX5785" y="connsiteY5785"/>
                </a:cxn>
                <a:cxn ang="0">
                  <a:pos x="connsiteX5786" y="connsiteY5786"/>
                </a:cxn>
                <a:cxn ang="0">
                  <a:pos x="connsiteX5787" y="connsiteY5787"/>
                </a:cxn>
                <a:cxn ang="0">
                  <a:pos x="connsiteX5788" y="connsiteY5788"/>
                </a:cxn>
                <a:cxn ang="0">
                  <a:pos x="connsiteX5789" y="connsiteY5789"/>
                </a:cxn>
                <a:cxn ang="0">
                  <a:pos x="connsiteX5790" y="connsiteY5790"/>
                </a:cxn>
                <a:cxn ang="0">
                  <a:pos x="connsiteX5791" y="connsiteY5791"/>
                </a:cxn>
                <a:cxn ang="0">
                  <a:pos x="connsiteX5792" y="connsiteY5792"/>
                </a:cxn>
                <a:cxn ang="0">
                  <a:pos x="connsiteX5793" y="connsiteY5793"/>
                </a:cxn>
                <a:cxn ang="0">
                  <a:pos x="connsiteX5794" y="connsiteY5794"/>
                </a:cxn>
                <a:cxn ang="0">
                  <a:pos x="connsiteX5795" y="connsiteY5795"/>
                </a:cxn>
                <a:cxn ang="0">
                  <a:pos x="connsiteX5796" y="connsiteY5796"/>
                </a:cxn>
                <a:cxn ang="0">
                  <a:pos x="connsiteX5797" y="connsiteY5797"/>
                </a:cxn>
                <a:cxn ang="0">
                  <a:pos x="connsiteX5798" y="connsiteY5798"/>
                </a:cxn>
                <a:cxn ang="0">
                  <a:pos x="connsiteX5799" y="connsiteY5799"/>
                </a:cxn>
                <a:cxn ang="0">
                  <a:pos x="connsiteX5800" y="connsiteY5800"/>
                </a:cxn>
                <a:cxn ang="0">
                  <a:pos x="connsiteX5801" y="connsiteY5801"/>
                </a:cxn>
                <a:cxn ang="0">
                  <a:pos x="connsiteX5802" y="connsiteY5802"/>
                </a:cxn>
                <a:cxn ang="0">
                  <a:pos x="connsiteX5803" y="connsiteY5803"/>
                </a:cxn>
                <a:cxn ang="0">
                  <a:pos x="connsiteX5804" y="connsiteY5804"/>
                </a:cxn>
                <a:cxn ang="0">
                  <a:pos x="connsiteX5805" y="connsiteY5805"/>
                </a:cxn>
                <a:cxn ang="0">
                  <a:pos x="connsiteX5806" y="connsiteY5806"/>
                </a:cxn>
                <a:cxn ang="0">
                  <a:pos x="connsiteX5807" y="connsiteY5807"/>
                </a:cxn>
                <a:cxn ang="0">
                  <a:pos x="connsiteX5808" y="connsiteY5808"/>
                </a:cxn>
                <a:cxn ang="0">
                  <a:pos x="connsiteX5809" y="connsiteY5809"/>
                </a:cxn>
                <a:cxn ang="0">
                  <a:pos x="connsiteX5810" y="connsiteY5810"/>
                </a:cxn>
                <a:cxn ang="0">
                  <a:pos x="connsiteX5811" y="connsiteY5811"/>
                </a:cxn>
                <a:cxn ang="0">
                  <a:pos x="connsiteX5812" y="connsiteY5812"/>
                </a:cxn>
                <a:cxn ang="0">
                  <a:pos x="connsiteX5813" y="connsiteY5813"/>
                </a:cxn>
                <a:cxn ang="0">
                  <a:pos x="connsiteX5814" y="connsiteY5814"/>
                </a:cxn>
                <a:cxn ang="0">
                  <a:pos x="connsiteX5815" y="connsiteY5815"/>
                </a:cxn>
                <a:cxn ang="0">
                  <a:pos x="connsiteX5816" y="connsiteY5816"/>
                </a:cxn>
                <a:cxn ang="0">
                  <a:pos x="connsiteX5817" y="connsiteY5817"/>
                </a:cxn>
                <a:cxn ang="0">
                  <a:pos x="connsiteX5818" y="connsiteY5818"/>
                </a:cxn>
                <a:cxn ang="0">
                  <a:pos x="connsiteX5819" y="connsiteY5819"/>
                </a:cxn>
                <a:cxn ang="0">
                  <a:pos x="connsiteX5820" y="connsiteY5820"/>
                </a:cxn>
                <a:cxn ang="0">
                  <a:pos x="connsiteX5821" y="connsiteY5821"/>
                </a:cxn>
                <a:cxn ang="0">
                  <a:pos x="connsiteX5822" y="connsiteY5822"/>
                </a:cxn>
                <a:cxn ang="0">
                  <a:pos x="connsiteX5823" y="connsiteY5823"/>
                </a:cxn>
                <a:cxn ang="0">
                  <a:pos x="connsiteX5824" y="connsiteY5824"/>
                </a:cxn>
                <a:cxn ang="0">
                  <a:pos x="connsiteX5825" y="connsiteY5825"/>
                </a:cxn>
                <a:cxn ang="0">
                  <a:pos x="connsiteX5826" y="connsiteY5826"/>
                </a:cxn>
                <a:cxn ang="0">
                  <a:pos x="connsiteX5827" y="connsiteY5827"/>
                </a:cxn>
                <a:cxn ang="0">
                  <a:pos x="connsiteX5828" y="connsiteY5828"/>
                </a:cxn>
                <a:cxn ang="0">
                  <a:pos x="connsiteX5829" y="connsiteY5829"/>
                </a:cxn>
                <a:cxn ang="0">
                  <a:pos x="connsiteX5830" y="connsiteY5830"/>
                </a:cxn>
                <a:cxn ang="0">
                  <a:pos x="connsiteX5831" y="connsiteY5831"/>
                </a:cxn>
                <a:cxn ang="0">
                  <a:pos x="connsiteX5832" y="connsiteY5832"/>
                </a:cxn>
                <a:cxn ang="0">
                  <a:pos x="connsiteX5833" y="connsiteY5833"/>
                </a:cxn>
                <a:cxn ang="0">
                  <a:pos x="connsiteX5834" y="connsiteY5834"/>
                </a:cxn>
                <a:cxn ang="0">
                  <a:pos x="connsiteX5835" y="connsiteY5835"/>
                </a:cxn>
                <a:cxn ang="0">
                  <a:pos x="connsiteX5836" y="connsiteY5836"/>
                </a:cxn>
                <a:cxn ang="0">
                  <a:pos x="connsiteX5837" y="connsiteY5837"/>
                </a:cxn>
                <a:cxn ang="0">
                  <a:pos x="connsiteX5838" y="connsiteY5838"/>
                </a:cxn>
                <a:cxn ang="0">
                  <a:pos x="connsiteX5839" y="connsiteY5839"/>
                </a:cxn>
                <a:cxn ang="0">
                  <a:pos x="connsiteX5840" y="connsiteY5840"/>
                </a:cxn>
                <a:cxn ang="0">
                  <a:pos x="connsiteX5841" y="connsiteY5841"/>
                </a:cxn>
                <a:cxn ang="0">
                  <a:pos x="connsiteX5842" y="connsiteY5842"/>
                </a:cxn>
                <a:cxn ang="0">
                  <a:pos x="connsiteX5843" y="connsiteY5843"/>
                </a:cxn>
                <a:cxn ang="0">
                  <a:pos x="connsiteX5844" y="connsiteY5844"/>
                </a:cxn>
                <a:cxn ang="0">
                  <a:pos x="connsiteX5845" y="connsiteY5845"/>
                </a:cxn>
                <a:cxn ang="0">
                  <a:pos x="connsiteX5846" y="connsiteY5846"/>
                </a:cxn>
                <a:cxn ang="0">
                  <a:pos x="connsiteX5847" y="connsiteY5847"/>
                </a:cxn>
                <a:cxn ang="0">
                  <a:pos x="connsiteX5848" y="connsiteY5848"/>
                </a:cxn>
                <a:cxn ang="0">
                  <a:pos x="connsiteX5849" y="connsiteY5849"/>
                </a:cxn>
                <a:cxn ang="0">
                  <a:pos x="connsiteX5850" y="connsiteY5850"/>
                </a:cxn>
                <a:cxn ang="0">
                  <a:pos x="connsiteX5851" y="connsiteY5851"/>
                </a:cxn>
                <a:cxn ang="0">
                  <a:pos x="connsiteX5852" y="connsiteY5852"/>
                </a:cxn>
                <a:cxn ang="0">
                  <a:pos x="connsiteX5853" y="connsiteY5853"/>
                </a:cxn>
                <a:cxn ang="0">
                  <a:pos x="connsiteX5854" y="connsiteY5854"/>
                </a:cxn>
                <a:cxn ang="0">
                  <a:pos x="connsiteX5855" y="connsiteY5855"/>
                </a:cxn>
                <a:cxn ang="0">
                  <a:pos x="connsiteX5856" y="connsiteY5856"/>
                </a:cxn>
                <a:cxn ang="0">
                  <a:pos x="connsiteX5857" y="connsiteY5857"/>
                </a:cxn>
                <a:cxn ang="0">
                  <a:pos x="connsiteX5858" y="connsiteY5858"/>
                </a:cxn>
                <a:cxn ang="0">
                  <a:pos x="connsiteX5859" y="connsiteY5859"/>
                </a:cxn>
                <a:cxn ang="0">
                  <a:pos x="connsiteX5860" y="connsiteY5860"/>
                </a:cxn>
                <a:cxn ang="0">
                  <a:pos x="connsiteX5861" y="connsiteY5861"/>
                </a:cxn>
                <a:cxn ang="0">
                  <a:pos x="connsiteX5862" y="connsiteY5862"/>
                </a:cxn>
                <a:cxn ang="0">
                  <a:pos x="connsiteX5863" y="connsiteY5863"/>
                </a:cxn>
                <a:cxn ang="0">
                  <a:pos x="connsiteX5864" y="connsiteY5864"/>
                </a:cxn>
                <a:cxn ang="0">
                  <a:pos x="connsiteX5865" y="connsiteY5865"/>
                </a:cxn>
                <a:cxn ang="0">
                  <a:pos x="connsiteX5866" y="connsiteY5866"/>
                </a:cxn>
                <a:cxn ang="0">
                  <a:pos x="connsiteX5867" y="connsiteY5867"/>
                </a:cxn>
                <a:cxn ang="0">
                  <a:pos x="connsiteX5868" y="connsiteY5868"/>
                </a:cxn>
                <a:cxn ang="0">
                  <a:pos x="connsiteX5869" y="connsiteY5869"/>
                </a:cxn>
                <a:cxn ang="0">
                  <a:pos x="connsiteX5870" y="connsiteY5870"/>
                </a:cxn>
                <a:cxn ang="0">
                  <a:pos x="connsiteX5871" y="connsiteY5871"/>
                </a:cxn>
                <a:cxn ang="0">
                  <a:pos x="connsiteX5872" y="connsiteY5872"/>
                </a:cxn>
                <a:cxn ang="0">
                  <a:pos x="connsiteX5873" y="connsiteY5873"/>
                </a:cxn>
                <a:cxn ang="0">
                  <a:pos x="connsiteX5874" y="connsiteY5874"/>
                </a:cxn>
                <a:cxn ang="0">
                  <a:pos x="connsiteX5875" y="connsiteY5875"/>
                </a:cxn>
                <a:cxn ang="0">
                  <a:pos x="connsiteX5876" y="connsiteY5876"/>
                </a:cxn>
                <a:cxn ang="0">
                  <a:pos x="connsiteX5877" y="connsiteY5877"/>
                </a:cxn>
                <a:cxn ang="0">
                  <a:pos x="connsiteX5878" y="connsiteY5878"/>
                </a:cxn>
                <a:cxn ang="0">
                  <a:pos x="connsiteX5879" y="connsiteY5879"/>
                </a:cxn>
                <a:cxn ang="0">
                  <a:pos x="connsiteX5880" y="connsiteY5880"/>
                </a:cxn>
                <a:cxn ang="0">
                  <a:pos x="connsiteX5881" y="connsiteY5881"/>
                </a:cxn>
                <a:cxn ang="0">
                  <a:pos x="connsiteX5882" y="connsiteY5882"/>
                </a:cxn>
                <a:cxn ang="0">
                  <a:pos x="connsiteX5883" y="connsiteY5883"/>
                </a:cxn>
                <a:cxn ang="0">
                  <a:pos x="connsiteX5884" y="connsiteY5884"/>
                </a:cxn>
                <a:cxn ang="0">
                  <a:pos x="connsiteX5885" y="connsiteY5885"/>
                </a:cxn>
                <a:cxn ang="0">
                  <a:pos x="connsiteX5886" y="connsiteY5886"/>
                </a:cxn>
                <a:cxn ang="0">
                  <a:pos x="connsiteX5887" y="connsiteY5887"/>
                </a:cxn>
                <a:cxn ang="0">
                  <a:pos x="connsiteX5888" y="connsiteY5888"/>
                </a:cxn>
                <a:cxn ang="0">
                  <a:pos x="connsiteX5889" y="connsiteY5889"/>
                </a:cxn>
                <a:cxn ang="0">
                  <a:pos x="connsiteX5890" y="connsiteY5890"/>
                </a:cxn>
                <a:cxn ang="0">
                  <a:pos x="connsiteX5891" y="connsiteY5891"/>
                </a:cxn>
                <a:cxn ang="0">
                  <a:pos x="connsiteX5892" y="connsiteY5892"/>
                </a:cxn>
                <a:cxn ang="0">
                  <a:pos x="connsiteX5893" y="connsiteY5893"/>
                </a:cxn>
                <a:cxn ang="0">
                  <a:pos x="connsiteX5894" y="connsiteY5894"/>
                </a:cxn>
                <a:cxn ang="0">
                  <a:pos x="connsiteX5895" y="connsiteY5895"/>
                </a:cxn>
                <a:cxn ang="0">
                  <a:pos x="connsiteX5896" y="connsiteY5896"/>
                </a:cxn>
                <a:cxn ang="0">
                  <a:pos x="connsiteX5897" y="connsiteY5897"/>
                </a:cxn>
                <a:cxn ang="0">
                  <a:pos x="connsiteX5898" y="connsiteY5898"/>
                </a:cxn>
                <a:cxn ang="0">
                  <a:pos x="connsiteX5899" y="connsiteY5899"/>
                </a:cxn>
                <a:cxn ang="0">
                  <a:pos x="connsiteX5900" y="connsiteY5900"/>
                </a:cxn>
                <a:cxn ang="0">
                  <a:pos x="connsiteX5901" y="connsiteY5901"/>
                </a:cxn>
                <a:cxn ang="0">
                  <a:pos x="connsiteX5902" y="connsiteY5902"/>
                </a:cxn>
                <a:cxn ang="0">
                  <a:pos x="connsiteX5903" y="connsiteY5903"/>
                </a:cxn>
                <a:cxn ang="0">
                  <a:pos x="connsiteX5904" y="connsiteY5904"/>
                </a:cxn>
                <a:cxn ang="0">
                  <a:pos x="connsiteX5905" y="connsiteY5905"/>
                </a:cxn>
                <a:cxn ang="0">
                  <a:pos x="connsiteX5906" y="connsiteY5906"/>
                </a:cxn>
                <a:cxn ang="0">
                  <a:pos x="connsiteX5907" y="connsiteY5907"/>
                </a:cxn>
                <a:cxn ang="0">
                  <a:pos x="connsiteX5908" y="connsiteY5908"/>
                </a:cxn>
                <a:cxn ang="0">
                  <a:pos x="connsiteX5909" y="connsiteY5909"/>
                </a:cxn>
                <a:cxn ang="0">
                  <a:pos x="connsiteX5910" y="connsiteY5910"/>
                </a:cxn>
                <a:cxn ang="0">
                  <a:pos x="connsiteX5911" y="connsiteY5911"/>
                </a:cxn>
                <a:cxn ang="0">
                  <a:pos x="connsiteX5912" y="connsiteY5912"/>
                </a:cxn>
                <a:cxn ang="0">
                  <a:pos x="connsiteX5913" y="connsiteY5913"/>
                </a:cxn>
                <a:cxn ang="0">
                  <a:pos x="connsiteX5914" y="connsiteY5914"/>
                </a:cxn>
                <a:cxn ang="0">
                  <a:pos x="connsiteX5915" y="connsiteY5915"/>
                </a:cxn>
                <a:cxn ang="0">
                  <a:pos x="connsiteX5916" y="connsiteY5916"/>
                </a:cxn>
                <a:cxn ang="0">
                  <a:pos x="connsiteX5917" y="connsiteY5917"/>
                </a:cxn>
                <a:cxn ang="0">
                  <a:pos x="connsiteX5918" y="connsiteY5918"/>
                </a:cxn>
                <a:cxn ang="0">
                  <a:pos x="connsiteX5919" y="connsiteY5919"/>
                </a:cxn>
                <a:cxn ang="0">
                  <a:pos x="connsiteX5920" y="connsiteY5920"/>
                </a:cxn>
                <a:cxn ang="0">
                  <a:pos x="connsiteX5921" y="connsiteY5921"/>
                </a:cxn>
                <a:cxn ang="0">
                  <a:pos x="connsiteX5922" y="connsiteY5922"/>
                </a:cxn>
                <a:cxn ang="0">
                  <a:pos x="connsiteX5923" y="connsiteY5923"/>
                </a:cxn>
                <a:cxn ang="0">
                  <a:pos x="connsiteX5924" y="connsiteY5924"/>
                </a:cxn>
                <a:cxn ang="0">
                  <a:pos x="connsiteX5925" y="connsiteY5925"/>
                </a:cxn>
                <a:cxn ang="0">
                  <a:pos x="connsiteX5926" y="connsiteY5926"/>
                </a:cxn>
                <a:cxn ang="0">
                  <a:pos x="connsiteX5927" y="connsiteY5927"/>
                </a:cxn>
                <a:cxn ang="0">
                  <a:pos x="connsiteX5928" y="connsiteY5928"/>
                </a:cxn>
                <a:cxn ang="0">
                  <a:pos x="connsiteX5929" y="connsiteY5929"/>
                </a:cxn>
                <a:cxn ang="0">
                  <a:pos x="connsiteX5930" y="connsiteY5930"/>
                </a:cxn>
                <a:cxn ang="0">
                  <a:pos x="connsiteX5931" y="connsiteY5931"/>
                </a:cxn>
                <a:cxn ang="0">
                  <a:pos x="connsiteX5932" y="connsiteY5932"/>
                </a:cxn>
                <a:cxn ang="0">
                  <a:pos x="connsiteX5933" y="connsiteY5933"/>
                </a:cxn>
                <a:cxn ang="0">
                  <a:pos x="connsiteX5934" y="connsiteY5934"/>
                </a:cxn>
                <a:cxn ang="0">
                  <a:pos x="connsiteX5935" y="connsiteY5935"/>
                </a:cxn>
                <a:cxn ang="0">
                  <a:pos x="connsiteX5936" y="connsiteY5936"/>
                </a:cxn>
                <a:cxn ang="0">
                  <a:pos x="connsiteX5937" y="connsiteY5937"/>
                </a:cxn>
                <a:cxn ang="0">
                  <a:pos x="connsiteX5938" y="connsiteY5938"/>
                </a:cxn>
                <a:cxn ang="0">
                  <a:pos x="connsiteX5939" y="connsiteY5939"/>
                </a:cxn>
                <a:cxn ang="0">
                  <a:pos x="connsiteX5940" y="connsiteY5940"/>
                </a:cxn>
                <a:cxn ang="0">
                  <a:pos x="connsiteX5941" y="connsiteY5941"/>
                </a:cxn>
                <a:cxn ang="0">
                  <a:pos x="connsiteX5942" y="connsiteY5942"/>
                </a:cxn>
                <a:cxn ang="0">
                  <a:pos x="connsiteX5943" y="connsiteY5943"/>
                </a:cxn>
                <a:cxn ang="0">
                  <a:pos x="connsiteX5944" y="connsiteY5944"/>
                </a:cxn>
                <a:cxn ang="0">
                  <a:pos x="connsiteX5945" y="connsiteY5945"/>
                </a:cxn>
                <a:cxn ang="0">
                  <a:pos x="connsiteX5946" y="connsiteY5946"/>
                </a:cxn>
                <a:cxn ang="0">
                  <a:pos x="connsiteX5947" y="connsiteY5947"/>
                </a:cxn>
                <a:cxn ang="0">
                  <a:pos x="connsiteX5948" y="connsiteY5948"/>
                </a:cxn>
                <a:cxn ang="0">
                  <a:pos x="connsiteX5949" y="connsiteY5949"/>
                </a:cxn>
                <a:cxn ang="0">
                  <a:pos x="connsiteX5950" y="connsiteY5950"/>
                </a:cxn>
                <a:cxn ang="0">
                  <a:pos x="connsiteX5951" y="connsiteY5951"/>
                </a:cxn>
                <a:cxn ang="0">
                  <a:pos x="connsiteX5952" y="connsiteY5952"/>
                </a:cxn>
                <a:cxn ang="0">
                  <a:pos x="connsiteX5953" y="connsiteY5953"/>
                </a:cxn>
                <a:cxn ang="0">
                  <a:pos x="connsiteX5954" y="connsiteY5954"/>
                </a:cxn>
                <a:cxn ang="0">
                  <a:pos x="connsiteX5955" y="connsiteY5955"/>
                </a:cxn>
                <a:cxn ang="0">
                  <a:pos x="connsiteX5956" y="connsiteY5956"/>
                </a:cxn>
                <a:cxn ang="0">
                  <a:pos x="connsiteX5957" y="connsiteY5957"/>
                </a:cxn>
                <a:cxn ang="0">
                  <a:pos x="connsiteX5958" y="connsiteY5958"/>
                </a:cxn>
                <a:cxn ang="0">
                  <a:pos x="connsiteX5959" y="connsiteY5959"/>
                </a:cxn>
                <a:cxn ang="0">
                  <a:pos x="connsiteX5960" y="connsiteY5960"/>
                </a:cxn>
                <a:cxn ang="0">
                  <a:pos x="connsiteX5961" y="connsiteY5961"/>
                </a:cxn>
                <a:cxn ang="0">
                  <a:pos x="connsiteX5962" y="connsiteY5962"/>
                </a:cxn>
                <a:cxn ang="0">
                  <a:pos x="connsiteX5963" y="connsiteY5963"/>
                </a:cxn>
                <a:cxn ang="0">
                  <a:pos x="connsiteX5964" y="connsiteY5964"/>
                </a:cxn>
                <a:cxn ang="0">
                  <a:pos x="connsiteX5965" y="connsiteY5965"/>
                </a:cxn>
                <a:cxn ang="0">
                  <a:pos x="connsiteX5966" y="connsiteY5966"/>
                </a:cxn>
                <a:cxn ang="0">
                  <a:pos x="connsiteX5967" y="connsiteY5967"/>
                </a:cxn>
                <a:cxn ang="0">
                  <a:pos x="connsiteX5968" y="connsiteY5968"/>
                </a:cxn>
                <a:cxn ang="0">
                  <a:pos x="connsiteX5969" y="connsiteY5969"/>
                </a:cxn>
                <a:cxn ang="0">
                  <a:pos x="connsiteX5970" y="connsiteY5970"/>
                </a:cxn>
                <a:cxn ang="0">
                  <a:pos x="connsiteX5971" y="connsiteY5971"/>
                </a:cxn>
                <a:cxn ang="0">
                  <a:pos x="connsiteX5972" y="connsiteY5972"/>
                </a:cxn>
                <a:cxn ang="0">
                  <a:pos x="connsiteX5973" y="connsiteY5973"/>
                </a:cxn>
                <a:cxn ang="0">
                  <a:pos x="connsiteX5974" y="connsiteY5974"/>
                </a:cxn>
                <a:cxn ang="0">
                  <a:pos x="connsiteX5975" y="connsiteY5975"/>
                </a:cxn>
                <a:cxn ang="0">
                  <a:pos x="connsiteX5976" y="connsiteY5976"/>
                </a:cxn>
                <a:cxn ang="0">
                  <a:pos x="connsiteX5977" y="connsiteY5977"/>
                </a:cxn>
                <a:cxn ang="0">
                  <a:pos x="connsiteX5978" y="connsiteY5978"/>
                </a:cxn>
                <a:cxn ang="0">
                  <a:pos x="connsiteX5979" y="connsiteY5979"/>
                </a:cxn>
                <a:cxn ang="0">
                  <a:pos x="connsiteX5980" y="connsiteY5980"/>
                </a:cxn>
                <a:cxn ang="0">
                  <a:pos x="connsiteX5981" y="connsiteY5981"/>
                </a:cxn>
                <a:cxn ang="0">
                  <a:pos x="connsiteX5982" y="connsiteY5982"/>
                </a:cxn>
                <a:cxn ang="0">
                  <a:pos x="connsiteX5983" y="connsiteY5983"/>
                </a:cxn>
                <a:cxn ang="0">
                  <a:pos x="connsiteX5984" y="connsiteY5984"/>
                </a:cxn>
                <a:cxn ang="0">
                  <a:pos x="connsiteX5985" y="connsiteY5985"/>
                </a:cxn>
                <a:cxn ang="0">
                  <a:pos x="connsiteX5986" y="connsiteY5986"/>
                </a:cxn>
                <a:cxn ang="0">
                  <a:pos x="connsiteX5987" y="connsiteY5987"/>
                </a:cxn>
                <a:cxn ang="0">
                  <a:pos x="connsiteX5988" y="connsiteY5988"/>
                </a:cxn>
                <a:cxn ang="0">
                  <a:pos x="connsiteX5989" y="connsiteY5989"/>
                </a:cxn>
                <a:cxn ang="0">
                  <a:pos x="connsiteX5990" y="connsiteY5990"/>
                </a:cxn>
                <a:cxn ang="0">
                  <a:pos x="connsiteX5991" y="connsiteY5991"/>
                </a:cxn>
                <a:cxn ang="0">
                  <a:pos x="connsiteX5992" y="connsiteY5992"/>
                </a:cxn>
                <a:cxn ang="0">
                  <a:pos x="connsiteX5993" y="connsiteY5993"/>
                </a:cxn>
                <a:cxn ang="0">
                  <a:pos x="connsiteX5994" y="connsiteY5994"/>
                </a:cxn>
                <a:cxn ang="0">
                  <a:pos x="connsiteX5995" y="connsiteY5995"/>
                </a:cxn>
                <a:cxn ang="0">
                  <a:pos x="connsiteX5996" y="connsiteY5996"/>
                </a:cxn>
                <a:cxn ang="0">
                  <a:pos x="connsiteX5997" y="connsiteY5997"/>
                </a:cxn>
                <a:cxn ang="0">
                  <a:pos x="connsiteX5998" y="connsiteY5998"/>
                </a:cxn>
                <a:cxn ang="0">
                  <a:pos x="connsiteX5999" y="connsiteY5999"/>
                </a:cxn>
                <a:cxn ang="0">
                  <a:pos x="connsiteX6000" y="connsiteY6000"/>
                </a:cxn>
                <a:cxn ang="0">
                  <a:pos x="connsiteX6001" y="connsiteY6001"/>
                </a:cxn>
                <a:cxn ang="0">
                  <a:pos x="connsiteX6002" y="connsiteY6002"/>
                </a:cxn>
                <a:cxn ang="0">
                  <a:pos x="connsiteX6003" y="connsiteY6003"/>
                </a:cxn>
                <a:cxn ang="0">
                  <a:pos x="connsiteX6004" y="connsiteY6004"/>
                </a:cxn>
                <a:cxn ang="0">
                  <a:pos x="connsiteX6005" y="connsiteY6005"/>
                </a:cxn>
                <a:cxn ang="0">
                  <a:pos x="connsiteX6006" y="connsiteY6006"/>
                </a:cxn>
                <a:cxn ang="0">
                  <a:pos x="connsiteX6007" y="connsiteY6007"/>
                </a:cxn>
                <a:cxn ang="0">
                  <a:pos x="connsiteX6008" y="connsiteY6008"/>
                </a:cxn>
                <a:cxn ang="0">
                  <a:pos x="connsiteX6009" y="connsiteY6009"/>
                </a:cxn>
                <a:cxn ang="0">
                  <a:pos x="connsiteX6010" y="connsiteY6010"/>
                </a:cxn>
                <a:cxn ang="0">
                  <a:pos x="connsiteX6011" y="connsiteY6011"/>
                </a:cxn>
                <a:cxn ang="0">
                  <a:pos x="connsiteX6012" y="connsiteY6012"/>
                </a:cxn>
                <a:cxn ang="0">
                  <a:pos x="connsiteX6013" y="connsiteY6013"/>
                </a:cxn>
                <a:cxn ang="0">
                  <a:pos x="connsiteX6014" y="connsiteY6014"/>
                </a:cxn>
                <a:cxn ang="0">
                  <a:pos x="connsiteX6015" y="connsiteY6015"/>
                </a:cxn>
                <a:cxn ang="0">
                  <a:pos x="connsiteX6016" y="connsiteY6016"/>
                </a:cxn>
                <a:cxn ang="0">
                  <a:pos x="connsiteX6017" y="connsiteY6017"/>
                </a:cxn>
                <a:cxn ang="0">
                  <a:pos x="connsiteX6018" y="connsiteY6018"/>
                </a:cxn>
                <a:cxn ang="0">
                  <a:pos x="connsiteX6019" y="connsiteY6019"/>
                </a:cxn>
                <a:cxn ang="0">
                  <a:pos x="connsiteX6020" y="connsiteY6020"/>
                </a:cxn>
                <a:cxn ang="0">
                  <a:pos x="connsiteX6021" y="connsiteY6021"/>
                </a:cxn>
                <a:cxn ang="0">
                  <a:pos x="connsiteX6022" y="connsiteY6022"/>
                </a:cxn>
                <a:cxn ang="0">
                  <a:pos x="connsiteX6023" y="connsiteY6023"/>
                </a:cxn>
                <a:cxn ang="0">
                  <a:pos x="connsiteX6024" y="connsiteY6024"/>
                </a:cxn>
                <a:cxn ang="0">
                  <a:pos x="connsiteX6025" y="connsiteY6025"/>
                </a:cxn>
                <a:cxn ang="0">
                  <a:pos x="connsiteX6026" y="connsiteY6026"/>
                </a:cxn>
                <a:cxn ang="0">
                  <a:pos x="connsiteX6027" y="connsiteY6027"/>
                </a:cxn>
                <a:cxn ang="0">
                  <a:pos x="connsiteX6028" y="connsiteY6028"/>
                </a:cxn>
                <a:cxn ang="0">
                  <a:pos x="connsiteX6029" y="connsiteY6029"/>
                </a:cxn>
                <a:cxn ang="0">
                  <a:pos x="connsiteX6030" y="connsiteY6030"/>
                </a:cxn>
                <a:cxn ang="0">
                  <a:pos x="connsiteX6031" y="connsiteY6031"/>
                </a:cxn>
                <a:cxn ang="0">
                  <a:pos x="connsiteX6032" y="connsiteY6032"/>
                </a:cxn>
                <a:cxn ang="0">
                  <a:pos x="connsiteX6033" y="connsiteY6033"/>
                </a:cxn>
                <a:cxn ang="0">
                  <a:pos x="connsiteX6034" y="connsiteY6034"/>
                </a:cxn>
                <a:cxn ang="0">
                  <a:pos x="connsiteX6035" y="connsiteY6035"/>
                </a:cxn>
                <a:cxn ang="0">
                  <a:pos x="connsiteX6036" y="connsiteY6036"/>
                </a:cxn>
                <a:cxn ang="0">
                  <a:pos x="connsiteX6037" y="connsiteY6037"/>
                </a:cxn>
                <a:cxn ang="0">
                  <a:pos x="connsiteX6038" y="connsiteY6038"/>
                </a:cxn>
                <a:cxn ang="0">
                  <a:pos x="connsiteX6039" y="connsiteY6039"/>
                </a:cxn>
                <a:cxn ang="0">
                  <a:pos x="connsiteX6040" y="connsiteY6040"/>
                </a:cxn>
                <a:cxn ang="0">
                  <a:pos x="connsiteX6041" y="connsiteY6041"/>
                </a:cxn>
                <a:cxn ang="0">
                  <a:pos x="connsiteX6042" y="connsiteY6042"/>
                </a:cxn>
                <a:cxn ang="0">
                  <a:pos x="connsiteX6043" y="connsiteY6043"/>
                </a:cxn>
                <a:cxn ang="0">
                  <a:pos x="connsiteX6044" y="connsiteY6044"/>
                </a:cxn>
                <a:cxn ang="0">
                  <a:pos x="connsiteX6045" y="connsiteY6045"/>
                </a:cxn>
                <a:cxn ang="0">
                  <a:pos x="connsiteX6046" y="connsiteY6046"/>
                </a:cxn>
                <a:cxn ang="0">
                  <a:pos x="connsiteX6047" y="connsiteY6047"/>
                </a:cxn>
                <a:cxn ang="0">
                  <a:pos x="connsiteX6048" y="connsiteY6048"/>
                </a:cxn>
                <a:cxn ang="0">
                  <a:pos x="connsiteX6049" y="connsiteY6049"/>
                </a:cxn>
                <a:cxn ang="0">
                  <a:pos x="connsiteX6050" y="connsiteY6050"/>
                </a:cxn>
                <a:cxn ang="0">
                  <a:pos x="connsiteX6051" y="connsiteY6051"/>
                </a:cxn>
                <a:cxn ang="0">
                  <a:pos x="connsiteX6052" y="connsiteY6052"/>
                </a:cxn>
                <a:cxn ang="0">
                  <a:pos x="connsiteX6053" y="connsiteY6053"/>
                </a:cxn>
                <a:cxn ang="0">
                  <a:pos x="connsiteX6054" y="connsiteY6054"/>
                </a:cxn>
                <a:cxn ang="0">
                  <a:pos x="connsiteX6055" y="connsiteY6055"/>
                </a:cxn>
                <a:cxn ang="0">
                  <a:pos x="connsiteX6056" y="connsiteY6056"/>
                </a:cxn>
                <a:cxn ang="0">
                  <a:pos x="connsiteX6057" y="connsiteY6057"/>
                </a:cxn>
                <a:cxn ang="0">
                  <a:pos x="connsiteX6058" y="connsiteY6058"/>
                </a:cxn>
                <a:cxn ang="0">
                  <a:pos x="connsiteX6059" y="connsiteY6059"/>
                </a:cxn>
                <a:cxn ang="0">
                  <a:pos x="connsiteX6060" y="connsiteY6060"/>
                </a:cxn>
                <a:cxn ang="0">
                  <a:pos x="connsiteX6061" y="connsiteY6061"/>
                </a:cxn>
                <a:cxn ang="0">
                  <a:pos x="connsiteX6062" y="connsiteY6062"/>
                </a:cxn>
                <a:cxn ang="0">
                  <a:pos x="connsiteX6063" y="connsiteY6063"/>
                </a:cxn>
                <a:cxn ang="0">
                  <a:pos x="connsiteX6064" y="connsiteY6064"/>
                </a:cxn>
                <a:cxn ang="0">
                  <a:pos x="connsiteX6065" y="connsiteY6065"/>
                </a:cxn>
                <a:cxn ang="0">
                  <a:pos x="connsiteX6066" y="connsiteY6066"/>
                </a:cxn>
                <a:cxn ang="0">
                  <a:pos x="connsiteX6067" y="connsiteY6067"/>
                </a:cxn>
                <a:cxn ang="0">
                  <a:pos x="connsiteX6068" y="connsiteY6068"/>
                </a:cxn>
                <a:cxn ang="0">
                  <a:pos x="connsiteX6069" y="connsiteY6069"/>
                </a:cxn>
                <a:cxn ang="0">
                  <a:pos x="connsiteX6070" y="connsiteY6070"/>
                </a:cxn>
                <a:cxn ang="0">
                  <a:pos x="connsiteX6071" y="connsiteY6071"/>
                </a:cxn>
                <a:cxn ang="0">
                  <a:pos x="connsiteX6072" y="connsiteY6072"/>
                </a:cxn>
                <a:cxn ang="0">
                  <a:pos x="connsiteX6073" y="connsiteY6073"/>
                </a:cxn>
                <a:cxn ang="0">
                  <a:pos x="connsiteX6074" y="connsiteY6074"/>
                </a:cxn>
                <a:cxn ang="0">
                  <a:pos x="connsiteX6075" y="connsiteY6075"/>
                </a:cxn>
                <a:cxn ang="0">
                  <a:pos x="connsiteX6076" y="connsiteY6076"/>
                </a:cxn>
                <a:cxn ang="0">
                  <a:pos x="connsiteX6077" y="connsiteY6077"/>
                </a:cxn>
                <a:cxn ang="0">
                  <a:pos x="connsiteX6078" y="connsiteY6078"/>
                </a:cxn>
                <a:cxn ang="0">
                  <a:pos x="connsiteX6079" y="connsiteY6079"/>
                </a:cxn>
                <a:cxn ang="0">
                  <a:pos x="connsiteX6080" y="connsiteY6080"/>
                </a:cxn>
                <a:cxn ang="0">
                  <a:pos x="connsiteX6081" y="connsiteY6081"/>
                </a:cxn>
                <a:cxn ang="0">
                  <a:pos x="connsiteX6082" y="connsiteY6082"/>
                </a:cxn>
                <a:cxn ang="0">
                  <a:pos x="connsiteX6083" y="connsiteY6083"/>
                </a:cxn>
                <a:cxn ang="0">
                  <a:pos x="connsiteX6084" y="connsiteY6084"/>
                </a:cxn>
                <a:cxn ang="0">
                  <a:pos x="connsiteX6085" y="connsiteY6085"/>
                </a:cxn>
                <a:cxn ang="0">
                  <a:pos x="connsiteX6086" y="connsiteY6086"/>
                </a:cxn>
                <a:cxn ang="0">
                  <a:pos x="connsiteX6087" y="connsiteY6087"/>
                </a:cxn>
                <a:cxn ang="0">
                  <a:pos x="connsiteX6088" y="connsiteY6088"/>
                </a:cxn>
                <a:cxn ang="0">
                  <a:pos x="connsiteX6089" y="connsiteY6089"/>
                </a:cxn>
                <a:cxn ang="0">
                  <a:pos x="connsiteX6090" y="connsiteY6090"/>
                </a:cxn>
                <a:cxn ang="0">
                  <a:pos x="connsiteX6091" y="connsiteY6091"/>
                </a:cxn>
                <a:cxn ang="0">
                  <a:pos x="connsiteX6092" y="connsiteY6092"/>
                </a:cxn>
                <a:cxn ang="0">
                  <a:pos x="connsiteX6093" y="connsiteY6093"/>
                </a:cxn>
                <a:cxn ang="0">
                  <a:pos x="connsiteX6094" y="connsiteY6094"/>
                </a:cxn>
                <a:cxn ang="0">
                  <a:pos x="connsiteX6095" y="connsiteY6095"/>
                </a:cxn>
                <a:cxn ang="0">
                  <a:pos x="connsiteX6096" y="connsiteY6096"/>
                </a:cxn>
                <a:cxn ang="0">
                  <a:pos x="connsiteX6097" y="connsiteY6097"/>
                </a:cxn>
                <a:cxn ang="0">
                  <a:pos x="connsiteX6098" y="connsiteY6098"/>
                </a:cxn>
                <a:cxn ang="0">
                  <a:pos x="connsiteX6099" y="connsiteY6099"/>
                </a:cxn>
                <a:cxn ang="0">
                  <a:pos x="connsiteX6100" y="connsiteY6100"/>
                </a:cxn>
                <a:cxn ang="0">
                  <a:pos x="connsiteX6101" y="connsiteY6101"/>
                </a:cxn>
                <a:cxn ang="0">
                  <a:pos x="connsiteX6102" y="connsiteY6102"/>
                </a:cxn>
                <a:cxn ang="0">
                  <a:pos x="connsiteX6103" y="connsiteY6103"/>
                </a:cxn>
                <a:cxn ang="0">
                  <a:pos x="connsiteX6104" y="connsiteY6104"/>
                </a:cxn>
                <a:cxn ang="0">
                  <a:pos x="connsiteX6105" y="connsiteY6105"/>
                </a:cxn>
                <a:cxn ang="0">
                  <a:pos x="connsiteX6106" y="connsiteY6106"/>
                </a:cxn>
                <a:cxn ang="0">
                  <a:pos x="connsiteX6107" y="connsiteY6107"/>
                </a:cxn>
                <a:cxn ang="0">
                  <a:pos x="connsiteX6108" y="connsiteY6108"/>
                </a:cxn>
                <a:cxn ang="0">
                  <a:pos x="connsiteX6109" y="connsiteY6109"/>
                </a:cxn>
                <a:cxn ang="0">
                  <a:pos x="connsiteX6110" y="connsiteY6110"/>
                </a:cxn>
                <a:cxn ang="0">
                  <a:pos x="connsiteX6111" y="connsiteY6111"/>
                </a:cxn>
                <a:cxn ang="0">
                  <a:pos x="connsiteX6112" y="connsiteY6112"/>
                </a:cxn>
                <a:cxn ang="0">
                  <a:pos x="connsiteX6113" y="connsiteY6113"/>
                </a:cxn>
                <a:cxn ang="0">
                  <a:pos x="connsiteX6114" y="connsiteY6114"/>
                </a:cxn>
                <a:cxn ang="0">
                  <a:pos x="connsiteX6115" y="connsiteY6115"/>
                </a:cxn>
                <a:cxn ang="0">
                  <a:pos x="connsiteX6116" y="connsiteY6116"/>
                </a:cxn>
                <a:cxn ang="0">
                  <a:pos x="connsiteX6117" y="connsiteY6117"/>
                </a:cxn>
                <a:cxn ang="0">
                  <a:pos x="connsiteX6118" y="connsiteY6118"/>
                </a:cxn>
                <a:cxn ang="0">
                  <a:pos x="connsiteX6119" y="connsiteY6119"/>
                </a:cxn>
                <a:cxn ang="0">
                  <a:pos x="connsiteX6120" y="connsiteY6120"/>
                </a:cxn>
                <a:cxn ang="0">
                  <a:pos x="connsiteX6121" y="connsiteY6121"/>
                </a:cxn>
                <a:cxn ang="0">
                  <a:pos x="connsiteX6122" y="connsiteY6122"/>
                </a:cxn>
                <a:cxn ang="0">
                  <a:pos x="connsiteX6123" y="connsiteY6123"/>
                </a:cxn>
                <a:cxn ang="0">
                  <a:pos x="connsiteX6124" y="connsiteY6124"/>
                </a:cxn>
                <a:cxn ang="0">
                  <a:pos x="connsiteX6125" y="connsiteY6125"/>
                </a:cxn>
                <a:cxn ang="0">
                  <a:pos x="connsiteX6126" y="connsiteY6126"/>
                </a:cxn>
                <a:cxn ang="0">
                  <a:pos x="connsiteX6127" y="connsiteY6127"/>
                </a:cxn>
                <a:cxn ang="0">
                  <a:pos x="connsiteX6128" y="connsiteY6128"/>
                </a:cxn>
                <a:cxn ang="0">
                  <a:pos x="connsiteX6129" y="connsiteY6129"/>
                </a:cxn>
                <a:cxn ang="0">
                  <a:pos x="connsiteX6130" y="connsiteY6130"/>
                </a:cxn>
                <a:cxn ang="0">
                  <a:pos x="connsiteX6131" y="connsiteY6131"/>
                </a:cxn>
                <a:cxn ang="0">
                  <a:pos x="connsiteX6132" y="connsiteY6132"/>
                </a:cxn>
                <a:cxn ang="0">
                  <a:pos x="connsiteX6133" y="connsiteY6133"/>
                </a:cxn>
                <a:cxn ang="0">
                  <a:pos x="connsiteX6134" y="connsiteY6134"/>
                </a:cxn>
                <a:cxn ang="0">
                  <a:pos x="connsiteX6135" y="connsiteY6135"/>
                </a:cxn>
                <a:cxn ang="0">
                  <a:pos x="connsiteX6136" y="connsiteY6136"/>
                </a:cxn>
                <a:cxn ang="0">
                  <a:pos x="connsiteX6137" y="connsiteY6137"/>
                </a:cxn>
                <a:cxn ang="0">
                  <a:pos x="connsiteX6138" y="connsiteY6138"/>
                </a:cxn>
                <a:cxn ang="0">
                  <a:pos x="connsiteX6139" y="connsiteY6139"/>
                </a:cxn>
                <a:cxn ang="0">
                  <a:pos x="connsiteX6140" y="connsiteY6140"/>
                </a:cxn>
                <a:cxn ang="0">
                  <a:pos x="connsiteX6141" y="connsiteY6141"/>
                </a:cxn>
                <a:cxn ang="0">
                  <a:pos x="connsiteX6142" y="connsiteY6142"/>
                </a:cxn>
                <a:cxn ang="0">
                  <a:pos x="connsiteX6143" y="connsiteY6143"/>
                </a:cxn>
                <a:cxn ang="0">
                  <a:pos x="connsiteX6144" y="connsiteY6144"/>
                </a:cxn>
                <a:cxn ang="0">
                  <a:pos x="connsiteX6145" y="connsiteY6145"/>
                </a:cxn>
                <a:cxn ang="0">
                  <a:pos x="connsiteX6146" y="connsiteY6146"/>
                </a:cxn>
                <a:cxn ang="0">
                  <a:pos x="connsiteX6147" y="connsiteY6147"/>
                </a:cxn>
                <a:cxn ang="0">
                  <a:pos x="connsiteX6148" y="connsiteY6148"/>
                </a:cxn>
                <a:cxn ang="0">
                  <a:pos x="connsiteX6149" y="connsiteY6149"/>
                </a:cxn>
                <a:cxn ang="0">
                  <a:pos x="connsiteX6150" y="connsiteY6150"/>
                </a:cxn>
                <a:cxn ang="0">
                  <a:pos x="connsiteX6151" y="connsiteY6151"/>
                </a:cxn>
                <a:cxn ang="0">
                  <a:pos x="connsiteX6152" y="connsiteY6152"/>
                </a:cxn>
                <a:cxn ang="0">
                  <a:pos x="connsiteX6153" y="connsiteY6153"/>
                </a:cxn>
                <a:cxn ang="0">
                  <a:pos x="connsiteX6154" y="connsiteY6154"/>
                </a:cxn>
                <a:cxn ang="0">
                  <a:pos x="connsiteX6155" y="connsiteY6155"/>
                </a:cxn>
                <a:cxn ang="0">
                  <a:pos x="connsiteX6156" y="connsiteY6156"/>
                </a:cxn>
                <a:cxn ang="0">
                  <a:pos x="connsiteX6157" y="connsiteY6157"/>
                </a:cxn>
                <a:cxn ang="0">
                  <a:pos x="connsiteX6158" y="connsiteY6158"/>
                </a:cxn>
                <a:cxn ang="0">
                  <a:pos x="connsiteX6159" y="connsiteY6159"/>
                </a:cxn>
                <a:cxn ang="0">
                  <a:pos x="connsiteX6160" y="connsiteY6160"/>
                </a:cxn>
                <a:cxn ang="0">
                  <a:pos x="connsiteX6161" y="connsiteY6161"/>
                </a:cxn>
                <a:cxn ang="0">
                  <a:pos x="connsiteX6162" y="connsiteY6162"/>
                </a:cxn>
                <a:cxn ang="0">
                  <a:pos x="connsiteX6163" y="connsiteY6163"/>
                </a:cxn>
                <a:cxn ang="0">
                  <a:pos x="connsiteX6164" y="connsiteY6164"/>
                </a:cxn>
                <a:cxn ang="0">
                  <a:pos x="connsiteX6165" y="connsiteY6165"/>
                </a:cxn>
                <a:cxn ang="0">
                  <a:pos x="connsiteX6166" y="connsiteY6166"/>
                </a:cxn>
                <a:cxn ang="0">
                  <a:pos x="connsiteX6167" y="connsiteY6167"/>
                </a:cxn>
                <a:cxn ang="0">
                  <a:pos x="connsiteX6168" y="connsiteY6168"/>
                </a:cxn>
                <a:cxn ang="0">
                  <a:pos x="connsiteX6169" y="connsiteY6169"/>
                </a:cxn>
                <a:cxn ang="0">
                  <a:pos x="connsiteX6170" y="connsiteY6170"/>
                </a:cxn>
                <a:cxn ang="0">
                  <a:pos x="connsiteX6171" y="connsiteY6171"/>
                </a:cxn>
                <a:cxn ang="0">
                  <a:pos x="connsiteX6172" y="connsiteY6172"/>
                </a:cxn>
                <a:cxn ang="0">
                  <a:pos x="connsiteX6173" y="connsiteY6173"/>
                </a:cxn>
                <a:cxn ang="0">
                  <a:pos x="connsiteX6174" y="connsiteY6174"/>
                </a:cxn>
                <a:cxn ang="0">
                  <a:pos x="connsiteX6175" y="connsiteY6175"/>
                </a:cxn>
                <a:cxn ang="0">
                  <a:pos x="connsiteX6176" y="connsiteY6176"/>
                </a:cxn>
                <a:cxn ang="0">
                  <a:pos x="connsiteX6177" y="connsiteY6177"/>
                </a:cxn>
                <a:cxn ang="0">
                  <a:pos x="connsiteX6178" y="connsiteY6178"/>
                </a:cxn>
                <a:cxn ang="0">
                  <a:pos x="connsiteX6179" y="connsiteY6179"/>
                </a:cxn>
                <a:cxn ang="0">
                  <a:pos x="connsiteX6180" y="connsiteY6180"/>
                </a:cxn>
                <a:cxn ang="0">
                  <a:pos x="connsiteX6181" y="connsiteY6181"/>
                </a:cxn>
                <a:cxn ang="0">
                  <a:pos x="connsiteX6182" y="connsiteY6182"/>
                </a:cxn>
                <a:cxn ang="0">
                  <a:pos x="connsiteX6183" y="connsiteY6183"/>
                </a:cxn>
                <a:cxn ang="0">
                  <a:pos x="connsiteX6184" y="connsiteY6184"/>
                </a:cxn>
                <a:cxn ang="0">
                  <a:pos x="connsiteX6185" y="connsiteY6185"/>
                </a:cxn>
                <a:cxn ang="0">
                  <a:pos x="connsiteX6186" y="connsiteY6186"/>
                </a:cxn>
                <a:cxn ang="0">
                  <a:pos x="connsiteX6187" y="connsiteY6187"/>
                </a:cxn>
                <a:cxn ang="0">
                  <a:pos x="connsiteX6188" y="connsiteY6188"/>
                </a:cxn>
                <a:cxn ang="0">
                  <a:pos x="connsiteX6189" y="connsiteY6189"/>
                </a:cxn>
                <a:cxn ang="0">
                  <a:pos x="connsiteX6190" y="connsiteY6190"/>
                </a:cxn>
                <a:cxn ang="0">
                  <a:pos x="connsiteX6191" y="connsiteY6191"/>
                </a:cxn>
                <a:cxn ang="0">
                  <a:pos x="connsiteX6192" y="connsiteY6192"/>
                </a:cxn>
                <a:cxn ang="0">
                  <a:pos x="connsiteX6193" y="connsiteY6193"/>
                </a:cxn>
                <a:cxn ang="0">
                  <a:pos x="connsiteX6194" y="connsiteY6194"/>
                </a:cxn>
                <a:cxn ang="0">
                  <a:pos x="connsiteX6195" y="connsiteY6195"/>
                </a:cxn>
                <a:cxn ang="0">
                  <a:pos x="connsiteX6196" y="connsiteY6196"/>
                </a:cxn>
                <a:cxn ang="0">
                  <a:pos x="connsiteX6197" y="connsiteY6197"/>
                </a:cxn>
                <a:cxn ang="0">
                  <a:pos x="connsiteX6198" y="connsiteY6198"/>
                </a:cxn>
                <a:cxn ang="0">
                  <a:pos x="connsiteX6199" y="connsiteY6199"/>
                </a:cxn>
                <a:cxn ang="0">
                  <a:pos x="connsiteX6200" y="connsiteY6200"/>
                </a:cxn>
                <a:cxn ang="0">
                  <a:pos x="connsiteX6201" y="connsiteY6201"/>
                </a:cxn>
                <a:cxn ang="0">
                  <a:pos x="connsiteX6202" y="connsiteY6202"/>
                </a:cxn>
                <a:cxn ang="0">
                  <a:pos x="connsiteX6203" y="connsiteY6203"/>
                </a:cxn>
                <a:cxn ang="0">
                  <a:pos x="connsiteX6204" y="connsiteY6204"/>
                </a:cxn>
                <a:cxn ang="0">
                  <a:pos x="connsiteX6205" y="connsiteY6205"/>
                </a:cxn>
                <a:cxn ang="0">
                  <a:pos x="connsiteX6206" y="connsiteY6206"/>
                </a:cxn>
                <a:cxn ang="0">
                  <a:pos x="connsiteX6207" y="connsiteY6207"/>
                </a:cxn>
                <a:cxn ang="0">
                  <a:pos x="connsiteX6208" y="connsiteY6208"/>
                </a:cxn>
                <a:cxn ang="0">
                  <a:pos x="connsiteX6209" y="connsiteY6209"/>
                </a:cxn>
                <a:cxn ang="0">
                  <a:pos x="connsiteX6210" y="connsiteY6210"/>
                </a:cxn>
                <a:cxn ang="0">
                  <a:pos x="connsiteX6211" y="connsiteY6211"/>
                </a:cxn>
                <a:cxn ang="0">
                  <a:pos x="connsiteX6212" y="connsiteY6212"/>
                </a:cxn>
                <a:cxn ang="0">
                  <a:pos x="connsiteX6213" y="connsiteY6213"/>
                </a:cxn>
                <a:cxn ang="0">
                  <a:pos x="connsiteX6214" y="connsiteY6214"/>
                </a:cxn>
                <a:cxn ang="0">
                  <a:pos x="connsiteX6215" y="connsiteY6215"/>
                </a:cxn>
                <a:cxn ang="0">
                  <a:pos x="connsiteX6216" y="connsiteY6216"/>
                </a:cxn>
                <a:cxn ang="0">
                  <a:pos x="connsiteX6217" y="connsiteY6217"/>
                </a:cxn>
                <a:cxn ang="0">
                  <a:pos x="connsiteX6218" y="connsiteY6218"/>
                </a:cxn>
                <a:cxn ang="0">
                  <a:pos x="connsiteX6219" y="connsiteY6219"/>
                </a:cxn>
                <a:cxn ang="0">
                  <a:pos x="connsiteX6220" y="connsiteY6220"/>
                </a:cxn>
                <a:cxn ang="0">
                  <a:pos x="connsiteX6221" y="connsiteY6221"/>
                </a:cxn>
                <a:cxn ang="0">
                  <a:pos x="connsiteX6222" y="connsiteY6222"/>
                </a:cxn>
                <a:cxn ang="0">
                  <a:pos x="connsiteX6223" y="connsiteY6223"/>
                </a:cxn>
                <a:cxn ang="0">
                  <a:pos x="connsiteX6224" y="connsiteY6224"/>
                </a:cxn>
                <a:cxn ang="0">
                  <a:pos x="connsiteX6225" y="connsiteY6225"/>
                </a:cxn>
                <a:cxn ang="0">
                  <a:pos x="connsiteX6226" y="connsiteY6226"/>
                </a:cxn>
                <a:cxn ang="0">
                  <a:pos x="connsiteX6227" y="connsiteY6227"/>
                </a:cxn>
                <a:cxn ang="0">
                  <a:pos x="connsiteX6228" y="connsiteY6228"/>
                </a:cxn>
                <a:cxn ang="0">
                  <a:pos x="connsiteX6229" y="connsiteY6229"/>
                </a:cxn>
                <a:cxn ang="0">
                  <a:pos x="connsiteX6230" y="connsiteY6230"/>
                </a:cxn>
                <a:cxn ang="0">
                  <a:pos x="connsiteX6231" y="connsiteY6231"/>
                </a:cxn>
                <a:cxn ang="0">
                  <a:pos x="connsiteX6232" y="connsiteY6232"/>
                </a:cxn>
                <a:cxn ang="0">
                  <a:pos x="connsiteX6233" y="connsiteY6233"/>
                </a:cxn>
                <a:cxn ang="0">
                  <a:pos x="connsiteX6234" y="connsiteY6234"/>
                </a:cxn>
                <a:cxn ang="0">
                  <a:pos x="connsiteX6235" y="connsiteY6235"/>
                </a:cxn>
                <a:cxn ang="0">
                  <a:pos x="connsiteX6236" y="connsiteY6236"/>
                </a:cxn>
                <a:cxn ang="0">
                  <a:pos x="connsiteX6237" y="connsiteY6237"/>
                </a:cxn>
                <a:cxn ang="0">
                  <a:pos x="connsiteX6238" y="connsiteY6238"/>
                </a:cxn>
                <a:cxn ang="0">
                  <a:pos x="connsiteX6239" y="connsiteY6239"/>
                </a:cxn>
                <a:cxn ang="0">
                  <a:pos x="connsiteX6240" y="connsiteY6240"/>
                </a:cxn>
                <a:cxn ang="0">
                  <a:pos x="connsiteX6241" y="connsiteY6241"/>
                </a:cxn>
                <a:cxn ang="0">
                  <a:pos x="connsiteX6242" y="connsiteY6242"/>
                </a:cxn>
                <a:cxn ang="0">
                  <a:pos x="connsiteX6243" y="connsiteY6243"/>
                </a:cxn>
                <a:cxn ang="0">
                  <a:pos x="connsiteX6244" y="connsiteY6244"/>
                </a:cxn>
                <a:cxn ang="0">
                  <a:pos x="connsiteX6245" y="connsiteY6245"/>
                </a:cxn>
                <a:cxn ang="0">
                  <a:pos x="connsiteX6246" y="connsiteY6246"/>
                </a:cxn>
                <a:cxn ang="0">
                  <a:pos x="connsiteX6247" y="connsiteY6247"/>
                </a:cxn>
                <a:cxn ang="0">
                  <a:pos x="connsiteX6248" y="connsiteY6248"/>
                </a:cxn>
                <a:cxn ang="0">
                  <a:pos x="connsiteX6249" y="connsiteY6249"/>
                </a:cxn>
                <a:cxn ang="0">
                  <a:pos x="connsiteX6250" y="connsiteY6250"/>
                </a:cxn>
                <a:cxn ang="0">
                  <a:pos x="connsiteX6251" y="connsiteY6251"/>
                </a:cxn>
                <a:cxn ang="0">
                  <a:pos x="connsiteX6252" y="connsiteY6252"/>
                </a:cxn>
                <a:cxn ang="0">
                  <a:pos x="connsiteX6253" y="connsiteY6253"/>
                </a:cxn>
                <a:cxn ang="0">
                  <a:pos x="connsiteX6254" y="connsiteY6254"/>
                </a:cxn>
                <a:cxn ang="0">
                  <a:pos x="connsiteX6255" y="connsiteY6255"/>
                </a:cxn>
                <a:cxn ang="0">
                  <a:pos x="connsiteX6256" y="connsiteY6256"/>
                </a:cxn>
                <a:cxn ang="0">
                  <a:pos x="connsiteX6257" y="connsiteY6257"/>
                </a:cxn>
                <a:cxn ang="0">
                  <a:pos x="connsiteX6258" y="connsiteY6258"/>
                </a:cxn>
                <a:cxn ang="0">
                  <a:pos x="connsiteX6259" y="connsiteY6259"/>
                </a:cxn>
                <a:cxn ang="0">
                  <a:pos x="connsiteX6260" y="connsiteY6260"/>
                </a:cxn>
                <a:cxn ang="0">
                  <a:pos x="connsiteX6261" y="connsiteY6261"/>
                </a:cxn>
                <a:cxn ang="0">
                  <a:pos x="connsiteX6262" y="connsiteY6262"/>
                </a:cxn>
                <a:cxn ang="0">
                  <a:pos x="connsiteX6263" y="connsiteY6263"/>
                </a:cxn>
                <a:cxn ang="0">
                  <a:pos x="connsiteX6264" y="connsiteY6264"/>
                </a:cxn>
                <a:cxn ang="0">
                  <a:pos x="connsiteX6265" y="connsiteY6265"/>
                </a:cxn>
                <a:cxn ang="0">
                  <a:pos x="connsiteX6266" y="connsiteY6266"/>
                </a:cxn>
                <a:cxn ang="0">
                  <a:pos x="connsiteX6267" y="connsiteY6267"/>
                </a:cxn>
                <a:cxn ang="0">
                  <a:pos x="connsiteX6268" y="connsiteY6268"/>
                </a:cxn>
                <a:cxn ang="0">
                  <a:pos x="connsiteX6269" y="connsiteY6269"/>
                </a:cxn>
                <a:cxn ang="0">
                  <a:pos x="connsiteX6270" y="connsiteY6270"/>
                </a:cxn>
                <a:cxn ang="0">
                  <a:pos x="connsiteX6271" y="connsiteY6271"/>
                </a:cxn>
                <a:cxn ang="0">
                  <a:pos x="connsiteX6272" y="connsiteY6272"/>
                </a:cxn>
                <a:cxn ang="0">
                  <a:pos x="connsiteX6273" y="connsiteY6273"/>
                </a:cxn>
                <a:cxn ang="0">
                  <a:pos x="connsiteX6274" y="connsiteY6274"/>
                </a:cxn>
                <a:cxn ang="0">
                  <a:pos x="connsiteX6275" y="connsiteY6275"/>
                </a:cxn>
                <a:cxn ang="0">
                  <a:pos x="connsiteX6276" y="connsiteY6276"/>
                </a:cxn>
                <a:cxn ang="0">
                  <a:pos x="connsiteX6277" y="connsiteY6277"/>
                </a:cxn>
                <a:cxn ang="0">
                  <a:pos x="connsiteX6278" y="connsiteY6278"/>
                </a:cxn>
                <a:cxn ang="0">
                  <a:pos x="connsiteX6279" y="connsiteY6279"/>
                </a:cxn>
                <a:cxn ang="0">
                  <a:pos x="connsiteX6280" y="connsiteY6280"/>
                </a:cxn>
                <a:cxn ang="0">
                  <a:pos x="connsiteX6281" y="connsiteY6281"/>
                </a:cxn>
                <a:cxn ang="0">
                  <a:pos x="connsiteX6282" y="connsiteY6282"/>
                </a:cxn>
                <a:cxn ang="0">
                  <a:pos x="connsiteX6283" y="connsiteY6283"/>
                </a:cxn>
                <a:cxn ang="0">
                  <a:pos x="connsiteX6284" y="connsiteY6284"/>
                </a:cxn>
                <a:cxn ang="0">
                  <a:pos x="connsiteX6285" y="connsiteY6285"/>
                </a:cxn>
                <a:cxn ang="0">
                  <a:pos x="connsiteX6286" y="connsiteY6286"/>
                </a:cxn>
                <a:cxn ang="0">
                  <a:pos x="connsiteX6287" y="connsiteY6287"/>
                </a:cxn>
                <a:cxn ang="0">
                  <a:pos x="connsiteX6288" y="connsiteY6288"/>
                </a:cxn>
                <a:cxn ang="0">
                  <a:pos x="connsiteX6289" y="connsiteY6289"/>
                </a:cxn>
                <a:cxn ang="0">
                  <a:pos x="connsiteX6290" y="connsiteY6290"/>
                </a:cxn>
                <a:cxn ang="0">
                  <a:pos x="connsiteX6291" y="connsiteY6291"/>
                </a:cxn>
                <a:cxn ang="0">
                  <a:pos x="connsiteX6292" y="connsiteY6292"/>
                </a:cxn>
                <a:cxn ang="0">
                  <a:pos x="connsiteX6293" y="connsiteY6293"/>
                </a:cxn>
                <a:cxn ang="0">
                  <a:pos x="connsiteX6294" y="connsiteY6294"/>
                </a:cxn>
                <a:cxn ang="0">
                  <a:pos x="connsiteX6295" y="connsiteY6295"/>
                </a:cxn>
                <a:cxn ang="0">
                  <a:pos x="connsiteX6296" y="connsiteY6296"/>
                </a:cxn>
                <a:cxn ang="0">
                  <a:pos x="connsiteX6297" y="connsiteY6297"/>
                </a:cxn>
                <a:cxn ang="0">
                  <a:pos x="connsiteX6298" y="connsiteY6298"/>
                </a:cxn>
                <a:cxn ang="0">
                  <a:pos x="connsiteX6299" y="connsiteY6299"/>
                </a:cxn>
                <a:cxn ang="0">
                  <a:pos x="connsiteX6300" y="connsiteY6300"/>
                </a:cxn>
                <a:cxn ang="0">
                  <a:pos x="connsiteX6301" y="connsiteY6301"/>
                </a:cxn>
                <a:cxn ang="0">
                  <a:pos x="connsiteX6302" y="connsiteY6302"/>
                </a:cxn>
                <a:cxn ang="0">
                  <a:pos x="connsiteX6303" y="connsiteY6303"/>
                </a:cxn>
                <a:cxn ang="0">
                  <a:pos x="connsiteX6304" y="connsiteY6304"/>
                </a:cxn>
                <a:cxn ang="0">
                  <a:pos x="connsiteX6305" y="connsiteY6305"/>
                </a:cxn>
                <a:cxn ang="0">
                  <a:pos x="connsiteX6306" y="connsiteY6306"/>
                </a:cxn>
                <a:cxn ang="0">
                  <a:pos x="connsiteX6307" y="connsiteY6307"/>
                </a:cxn>
                <a:cxn ang="0">
                  <a:pos x="connsiteX6308" y="connsiteY6308"/>
                </a:cxn>
                <a:cxn ang="0">
                  <a:pos x="connsiteX6309" y="connsiteY6309"/>
                </a:cxn>
                <a:cxn ang="0">
                  <a:pos x="connsiteX6310" y="connsiteY6310"/>
                </a:cxn>
                <a:cxn ang="0">
                  <a:pos x="connsiteX6311" y="connsiteY6311"/>
                </a:cxn>
                <a:cxn ang="0">
                  <a:pos x="connsiteX6312" y="connsiteY6312"/>
                </a:cxn>
                <a:cxn ang="0">
                  <a:pos x="connsiteX6313" y="connsiteY6313"/>
                </a:cxn>
                <a:cxn ang="0">
                  <a:pos x="connsiteX6314" y="connsiteY6314"/>
                </a:cxn>
                <a:cxn ang="0">
                  <a:pos x="connsiteX6315" y="connsiteY6315"/>
                </a:cxn>
                <a:cxn ang="0">
                  <a:pos x="connsiteX6316" y="connsiteY6316"/>
                </a:cxn>
                <a:cxn ang="0">
                  <a:pos x="connsiteX6317" y="connsiteY6317"/>
                </a:cxn>
                <a:cxn ang="0">
                  <a:pos x="connsiteX6318" y="connsiteY6318"/>
                </a:cxn>
                <a:cxn ang="0">
                  <a:pos x="connsiteX6319" y="connsiteY6319"/>
                </a:cxn>
                <a:cxn ang="0">
                  <a:pos x="connsiteX6320" y="connsiteY6320"/>
                </a:cxn>
                <a:cxn ang="0">
                  <a:pos x="connsiteX6321" y="connsiteY6321"/>
                </a:cxn>
                <a:cxn ang="0">
                  <a:pos x="connsiteX6322" y="connsiteY6322"/>
                </a:cxn>
                <a:cxn ang="0">
                  <a:pos x="connsiteX6323" y="connsiteY6323"/>
                </a:cxn>
                <a:cxn ang="0">
                  <a:pos x="connsiteX6324" y="connsiteY6324"/>
                </a:cxn>
                <a:cxn ang="0">
                  <a:pos x="connsiteX6325" y="connsiteY6325"/>
                </a:cxn>
                <a:cxn ang="0">
                  <a:pos x="connsiteX6326" y="connsiteY6326"/>
                </a:cxn>
                <a:cxn ang="0">
                  <a:pos x="connsiteX6327" y="connsiteY6327"/>
                </a:cxn>
                <a:cxn ang="0">
                  <a:pos x="connsiteX6328" y="connsiteY6328"/>
                </a:cxn>
                <a:cxn ang="0">
                  <a:pos x="connsiteX6329" y="connsiteY6329"/>
                </a:cxn>
                <a:cxn ang="0">
                  <a:pos x="connsiteX6330" y="connsiteY6330"/>
                </a:cxn>
                <a:cxn ang="0">
                  <a:pos x="connsiteX6331" y="connsiteY6331"/>
                </a:cxn>
                <a:cxn ang="0">
                  <a:pos x="connsiteX6332" y="connsiteY6332"/>
                </a:cxn>
                <a:cxn ang="0">
                  <a:pos x="connsiteX6333" y="connsiteY6333"/>
                </a:cxn>
                <a:cxn ang="0">
                  <a:pos x="connsiteX6334" y="connsiteY6334"/>
                </a:cxn>
                <a:cxn ang="0">
                  <a:pos x="connsiteX6335" y="connsiteY6335"/>
                </a:cxn>
                <a:cxn ang="0">
                  <a:pos x="connsiteX6336" y="connsiteY6336"/>
                </a:cxn>
                <a:cxn ang="0">
                  <a:pos x="connsiteX6337" y="connsiteY6337"/>
                </a:cxn>
                <a:cxn ang="0">
                  <a:pos x="connsiteX6338" y="connsiteY6338"/>
                </a:cxn>
                <a:cxn ang="0">
                  <a:pos x="connsiteX6339" y="connsiteY6339"/>
                </a:cxn>
                <a:cxn ang="0">
                  <a:pos x="connsiteX6340" y="connsiteY6340"/>
                </a:cxn>
                <a:cxn ang="0">
                  <a:pos x="connsiteX6341" y="connsiteY6341"/>
                </a:cxn>
                <a:cxn ang="0">
                  <a:pos x="connsiteX6342" y="connsiteY6342"/>
                </a:cxn>
                <a:cxn ang="0">
                  <a:pos x="connsiteX6343" y="connsiteY6343"/>
                </a:cxn>
                <a:cxn ang="0">
                  <a:pos x="connsiteX6344" y="connsiteY6344"/>
                </a:cxn>
                <a:cxn ang="0">
                  <a:pos x="connsiteX6345" y="connsiteY6345"/>
                </a:cxn>
                <a:cxn ang="0">
                  <a:pos x="connsiteX6346" y="connsiteY6346"/>
                </a:cxn>
                <a:cxn ang="0">
                  <a:pos x="connsiteX6347" y="connsiteY6347"/>
                </a:cxn>
                <a:cxn ang="0">
                  <a:pos x="connsiteX6348" y="connsiteY6348"/>
                </a:cxn>
                <a:cxn ang="0">
                  <a:pos x="connsiteX6349" y="connsiteY6349"/>
                </a:cxn>
                <a:cxn ang="0">
                  <a:pos x="connsiteX6350" y="connsiteY6350"/>
                </a:cxn>
                <a:cxn ang="0">
                  <a:pos x="connsiteX6351" y="connsiteY6351"/>
                </a:cxn>
                <a:cxn ang="0">
                  <a:pos x="connsiteX6352" y="connsiteY6352"/>
                </a:cxn>
                <a:cxn ang="0">
                  <a:pos x="connsiteX6353" y="connsiteY6353"/>
                </a:cxn>
                <a:cxn ang="0">
                  <a:pos x="connsiteX6354" y="connsiteY6354"/>
                </a:cxn>
                <a:cxn ang="0">
                  <a:pos x="connsiteX6355" y="connsiteY6355"/>
                </a:cxn>
                <a:cxn ang="0">
                  <a:pos x="connsiteX6356" y="connsiteY6356"/>
                </a:cxn>
                <a:cxn ang="0">
                  <a:pos x="connsiteX6357" y="connsiteY6357"/>
                </a:cxn>
                <a:cxn ang="0">
                  <a:pos x="connsiteX6358" y="connsiteY6358"/>
                </a:cxn>
                <a:cxn ang="0">
                  <a:pos x="connsiteX6359" y="connsiteY6359"/>
                </a:cxn>
                <a:cxn ang="0">
                  <a:pos x="connsiteX6360" y="connsiteY6360"/>
                </a:cxn>
                <a:cxn ang="0">
                  <a:pos x="connsiteX6361" y="connsiteY6361"/>
                </a:cxn>
                <a:cxn ang="0">
                  <a:pos x="connsiteX6362" y="connsiteY6362"/>
                </a:cxn>
                <a:cxn ang="0">
                  <a:pos x="connsiteX6363" y="connsiteY6363"/>
                </a:cxn>
                <a:cxn ang="0">
                  <a:pos x="connsiteX6364" y="connsiteY6364"/>
                </a:cxn>
                <a:cxn ang="0">
                  <a:pos x="connsiteX6365" y="connsiteY6365"/>
                </a:cxn>
                <a:cxn ang="0">
                  <a:pos x="connsiteX6366" y="connsiteY6366"/>
                </a:cxn>
                <a:cxn ang="0">
                  <a:pos x="connsiteX6367" y="connsiteY6367"/>
                </a:cxn>
                <a:cxn ang="0">
                  <a:pos x="connsiteX6368" y="connsiteY6368"/>
                </a:cxn>
                <a:cxn ang="0">
                  <a:pos x="connsiteX6369" y="connsiteY6369"/>
                </a:cxn>
                <a:cxn ang="0">
                  <a:pos x="connsiteX6370" y="connsiteY6370"/>
                </a:cxn>
                <a:cxn ang="0">
                  <a:pos x="connsiteX6371" y="connsiteY6371"/>
                </a:cxn>
                <a:cxn ang="0">
                  <a:pos x="connsiteX6372" y="connsiteY6372"/>
                </a:cxn>
                <a:cxn ang="0">
                  <a:pos x="connsiteX6373" y="connsiteY6373"/>
                </a:cxn>
                <a:cxn ang="0">
                  <a:pos x="connsiteX6374" y="connsiteY6374"/>
                </a:cxn>
                <a:cxn ang="0">
                  <a:pos x="connsiteX6375" y="connsiteY6375"/>
                </a:cxn>
                <a:cxn ang="0">
                  <a:pos x="connsiteX6376" y="connsiteY6376"/>
                </a:cxn>
                <a:cxn ang="0">
                  <a:pos x="connsiteX6377" y="connsiteY6377"/>
                </a:cxn>
                <a:cxn ang="0">
                  <a:pos x="connsiteX6378" y="connsiteY6378"/>
                </a:cxn>
                <a:cxn ang="0">
                  <a:pos x="connsiteX6379" y="connsiteY6379"/>
                </a:cxn>
                <a:cxn ang="0">
                  <a:pos x="connsiteX6380" y="connsiteY6380"/>
                </a:cxn>
                <a:cxn ang="0">
                  <a:pos x="connsiteX6381" y="connsiteY6381"/>
                </a:cxn>
                <a:cxn ang="0">
                  <a:pos x="connsiteX6382" y="connsiteY6382"/>
                </a:cxn>
                <a:cxn ang="0">
                  <a:pos x="connsiteX6383" y="connsiteY6383"/>
                </a:cxn>
                <a:cxn ang="0">
                  <a:pos x="connsiteX6384" y="connsiteY6384"/>
                </a:cxn>
                <a:cxn ang="0">
                  <a:pos x="connsiteX6385" y="connsiteY6385"/>
                </a:cxn>
                <a:cxn ang="0">
                  <a:pos x="connsiteX6386" y="connsiteY6386"/>
                </a:cxn>
                <a:cxn ang="0">
                  <a:pos x="connsiteX6387" y="connsiteY6387"/>
                </a:cxn>
                <a:cxn ang="0">
                  <a:pos x="connsiteX6388" y="connsiteY6388"/>
                </a:cxn>
                <a:cxn ang="0">
                  <a:pos x="connsiteX6389" y="connsiteY6389"/>
                </a:cxn>
                <a:cxn ang="0">
                  <a:pos x="connsiteX6390" y="connsiteY6390"/>
                </a:cxn>
                <a:cxn ang="0">
                  <a:pos x="connsiteX6391" y="connsiteY6391"/>
                </a:cxn>
                <a:cxn ang="0">
                  <a:pos x="connsiteX6392" y="connsiteY6392"/>
                </a:cxn>
                <a:cxn ang="0">
                  <a:pos x="connsiteX6393" y="connsiteY6393"/>
                </a:cxn>
                <a:cxn ang="0">
                  <a:pos x="connsiteX6394" y="connsiteY6394"/>
                </a:cxn>
                <a:cxn ang="0">
                  <a:pos x="connsiteX6395" y="connsiteY6395"/>
                </a:cxn>
                <a:cxn ang="0">
                  <a:pos x="connsiteX6396" y="connsiteY6396"/>
                </a:cxn>
                <a:cxn ang="0">
                  <a:pos x="connsiteX6397" y="connsiteY6397"/>
                </a:cxn>
                <a:cxn ang="0">
                  <a:pos x="connsiteX6398" y="connsiteY6398"/>
                </a:cxn>
                <a:cxn ang="0">
                  <a:pos x="connsiteX6399" y="connsiteY6399"/>
                </a:cxn>
                <a:cxn ang="0">
                  <a:pos x="connsiteX6400" y="connsiteY6400"/>
                </a:cxn>
                <a:cxn ang="0">
                  <a:pos x="connsiteX6401" y="connsiteY6401"/>
                </a:cxn>
                <a:cxn ang="0">
                  <a:pos x="connsiteX6402" y="connsiteY6402"/>
                </a:cxn>
                <a:cxn ang="0">
                  <a:pos x="connsiteX6403" y="connsiteY6403"/>
                </a:cxn>
                <a:cxn ang="0">
                  <a:pos x="connsiteX6404" y="connsiteY6404"/>
                </a:cxn>
                <a:cxn ang="0">
                  <a:pos x="connsiteX6405" y="connsiteY6405"/>
                </a:cxn>
                <a:cxn ang="0">
                  <a:pos x="connsiteX6406" y="connsiteY6406"/>
                </a:cxn>
                <a:cxn ang="0">
                  <a:pos x="connsiteX6407" y="connsiteY6407"/>
                </a:cxn>
                <a:cxn ang="0">
                  <a:pos x="connsiteX6408" y="connsiteY6408"/>
                </a:cxn>
                <a:cxn ang="0">
                  <a:pos x="connsiteX6409" y="connsiteY6409"/>
                </a:cxn>
                <a:cxn ang="0">
                  <a:pos x="connsiteX6410" y="connsiteY6410"/>
                </a:cxn>
                <a:cxn ang="0">
                  <a:pos x="connsiteX6411" y="connsiteY6411"/>
                </a:cxn>
                <a:cxn ang="0">
                  <a:pos x="connsiteX6412" y="connsiteY6412"/>
                </a:cxn>
                <a:cxn ang="0">
                  <a:pos x="connsiteX6413" y="connsiteY6413"/>
                </a:cxn>
                <a:cxn ang="0">
                  <a:pos x="connsiteX6414" y="connsiteY6414"/>
                </a:cxn>
                <a:cxn ang="0">
                  <a:pos x="connsiteX6415" y="connsiteY6415"/>
                </a:cxn>
                <a:cxn ang="0">
                  <a:pos x="connsiteX6416" y="connsiteY6416"/>
                </a:cxn>
                <a:cxn ang="0">
                  <a:pos x="connsiteX6417" y="connsiteY6417"/>
                </a:cxn>
                <a:cxn ang="0">
                  <a:pos x="connsiteX6418" y="connsiteY6418"/>
                </a:cxn>
                <a:cxn ang="0">
                  <a:pos x="connsiteX6419" y="connsiteY6419"/>
                </a:cxn>
                <a:cxn ang="0">
                  <a:pos x="connsiteX6420" y="connsiteY6420"/>
                </a:cxn>
                <a:cxn ang="0">
                  <a:pos x="connsiteX6421" y="connsiteY6421"/>
                </a:cxn>
                <a:cxn ang="0">
                  <a:pos x="connsiteX6422" y="connsiteY6422"/>
                </a:cxn>
                <a:cxn ang="0">
                  <a:pos x="connsiteX6423" y="connsiteY6423"/>
                </a:cxn>
                <a:cxn ang="0">
                  <a:pos x="connsiteX6424" y="connsiteY6424"/>
                </a:cxn>
                <a:cxn ang="0">
                  <a:pos x="connsiteX6425" y="connsiteY6425"/>
                </a:cxn>
                <a:cxn ang="0">
                  <a:pos x="connsiteX6426" y="connsiteY6426"/>
                </a:cxn>
                <a:cxn ang="0">
                  <a:pos x="connsiteX6427" y="connsiteY6427"/>
                </a:cxn>
                <a:cxn ang="0">
                  <a:pos x="connsiteX6428" y="connsiteY6428"/>
                </a:cxn>
                <a:cxn ang="0">
                  <a:pos x="connsiteX6429" y="connsiteY6429"/>
                </a:cxn>
                <a:cxn ang="0">
                  <a:pos x="connsiteX6430" y="connsiteY6430"/>
                </a:cxn>
                <a:cxn ang="0">
                  <a:pos x="connsiteX6431" y="connsiteY6431"/>
                </a:cxn>
                <a:cxn ang="0">
                  <a:pos x="connsiteX6432" y="connsiteY6432"/>
                </a:cxn>
                <a:cxn ang="0">
                  <a:pos x="connsiteX6433" y="connsiteY6433"/>
                </a:cxn>
                <a:cxn ang="0">
                  <a:pos x="connsiteX6434" y="connsiteY6434"/>
                </a:cxn>
                <a:cxn ang="0">
                  <a:pos x="connsiteX6435" y="connsiteY6435"/>
                </a:cxn>
                <a:cxn ang="0">
                  <a:pos x="connsiteX6436" y="connsiteY6436"/>
                </a:cxn>
                <a:cxn ang="0">
                  <a:pos x="connsiteX6437" y="connsiteY6437"/>
                </a:cxn>
                <a:cxn ang="0">
                  <a:pos x="connsiteX6438" y="connsiteY6438"/>
                </a:cxn>
                <a:cxn ang="0">
                  <a:pos x="connsiteX6439" y="connsiteY6439"/>
                </a:cxn>
                <a:cxn ang="0">
                  <a:pos x="connsiteX6440" y="connsiteY6440"/>
                </a:cxn>
                <a:cxn ang="0">
                  <a:pos x="connsiteX6441" y="connsiteY6441"/>
                </a:cxn>
                <a:cxn ang="0">
                  <a:pos x="connsiteX6442" y="connsiteY6442"/>
                </a:cxn>
                <a:cxn ang="0">
                  <a:pos x="connsiteX6443" y="connsiteY6443"/>
                </a:cxn>
                <a:cxn ang="0">
                  <a:pos x="connsiteX6444" y="connsiteY6444"/>
                </a:cxn>
                <a:cxn ang="0">
                  <a:pos x="connsiteX6445" y="connsiteY6445"/>
                </a:cxn>
                <a:cxn ang="0">
                  <a:pos x="connsiteX6446" y="connsiteY6446"/>
                </a:cxn>
                <a:cxn ang="0">
                  <a:pos x="connsiteX6447" y="connsiteY6447"/>
                </a:cxn>
                <a:cxn ang="0">
                  <a:pos x="connsiteX6448" y="connsiteY6448"/>
                </a:cxn>
                <a:cxn ang="0">
                  <a:pos x="connsiteX6449" y="connsiteY6449"/>
                </a:cxn>
                <a:cxn ang="0">
                  <a:pos x="connsiteX6450" y="connsiteY6450"/>
                </a:cxn>
                <a:cxn ang="0">
                  <a:pos x="connsiteX6451" y="connsiteY6451"/>
                </a:cxn>
                <a:cxn ang="0">
                  <a:pos x="connsiteX6452" y="connsiteY6452"/>
                </a:cxn>
                <a:cxn ang="0">
                  <a:pos x="connsiteX6453" y="connsiteY6453"/>
                </a:cxn>
                <a:cxn ang="0">
                  <a:pos x="connsiteX6454" y="connsiteY6454"/>
                </a:cxn>
                <a:cxn ang="0">
                  <a:pos x="connsiteX6455" y="connsiteY6455"/>
                </a:cxn>
                <a:cxn ang="0">
                  <a:pos x="connsiteX6456" y="connsiteY6456"/>
                </a:cxn>
                <a:cxn ang="0">
                  <a:pos x="connsiteX6457" y="connsiteY6457"/>
                </a:cxn>
                <a:cxn ang="0">
                  <a:pos x="connsiteX6458" y="connsiteY6458"/>
                </a:cxn>
                <a:cxn ang="0">
                  <a:pos x="connsiteX6459" y="connsiteY6459"/>
                </a:cxn>
                <a:cxn ang="0">
                  <a:pos x="connsiteX6460" y="connsiteY6460"/>
                </a:cxn>
                <a:cxn ang="0">
                  <a:pos x="connsiteX6461" y="connsiteY6461"/>
                </a:cxn>
                <a:cxn ang="0">
                  <a:pos x="connsiteX6462" y="connsiteY6462"/>
                </a:cxn>
                <a:cxn ang="0">
                  <a:pos x="connsiteX6463" y="connsiteY6463"/>
                </a:cxn>
                <a:cxn ang="0">
                  <a:pos x="connsiteX6464" y="connsiteY6464"/>
                </a:cxn>
                <a:cxn ang="0">
                  <a:pos x="connsiteX6465" y="connsiteY6465"/>
                </a:cxn>
                <a:cxn ang="0">
                  <a:pos x="connsiteX6466" y="connsiteY6466"/>
                </a:cxn>
                <a:cxn ang="0">
                  <a:pos x="connsiteX6467" y="connsiteY6467"/>
                </a:cxn>
                <a:cxn ang="0">
                  <a:pos x="connsiteX6468" y="connsiteY6468"/>
                </a:cxn>
                <a:cxn ang="0">
                  <a:pos x="connsiteX6469" y="connsiteY6469"/>
                </a:cxn>
                <a:cxn ang="0">
                  <a:pos x="connsiteX6470" y="connsiteY6470"/>
                </a:cxn>
                <a:cxn ang="0">
                  <a:pos x="connsiteX6471" y="connsiteY6471"/>
                </a:cxn>
                <a:cxn ang="0">
                  <a:pos x="connsiteX6472" y="connsiteY6472"/>
                </a:cxn>
                <a:cxn ang="0">
                  <a:pos x="connsiteX6473" y="connsiteY6473"/>
                </a:cxn>
                <a:cxn ang="0">
                  <a:pos x="connsiteX6474" y="connsiteY6474"/>
                </a:cxn>
                <a:cxn ang="0">
                  <a:pos x="connsiteX6475" y="connsiteY6475"/>
                </a:cxn>
                <a:cxn ang="0">
                  <a:pos x="connsiteX6476" y="connsiteY6476"/>
                </a:cxn>
                <a:cxn ang="0">
                  <a:pos x="connsiteX6477" y="connsiteY6477"/>
                </a:cxn>
                <a:cxn ang="0">
                  <a:pos x="connsiteX6478" y="connsiteY6478"/>
                </a:cxn>
                <a:cxn ang="0">
                  <a:pos x="connsiteX6479" y="connsiteY6479"/>
                </a:cxn>
                <a:cxn ang="0">
                  <a:pos x="connsiteX6480" y="connsiteY6480"/>
                </a:cxn>
                <a:cxn ang="0">
                  <a:pos x="connsiteX6481" y="connsiteY6481"/>
                </a:cxn>
                <a:cxn ang="0">
                  <a:pos x="connsiteX6482" y="connsiteY6482"/>
                </a:cxn>
                <a:cxn ang="0">
                  <a:pos x="connsiteX6483" y="connsiteY6483"/>
                </a:cxn>
                <a:cxn ang="0">
                  <a:pos x="connsiteX6484" y="connsiteY6484"/>
                </a:cxn>
                <a:cxn ang="0">
                  <a:pos x="connsiteX6485" y="connsiteY6485"/>
                </a:cxn>
                <a:cxn ang="0">
                  <a:pos x="connsiteX6486" y="connsiteY6486"/>
                </a:cxn>
                <a:cxn ang="0">
                  <a:pos x="connsiteX6487" y="connsiteY6487"/>
                </a:cxn>
                <a:cxn ang="0">
                  <a:pos x="connsiteX6488" y="connsiteY6488"/>
                </a:cxn>
                <a:cxn ang="0">
                  <a:pos x="connsiteX6489" y="connsiteY6489"/>
                </a:cxn>
                <a:cxn ang="0">
                  <a:pos x="connsiteX6490" y="connsiteY6490"/>
                </a:cxn>
                <a:cxn ang="0">
                  <a:pos x="connsiteX6491" y="connsiteY6491"/>
                </a:cxn>
                <a:cxn ang="0">
                  <a:pos x="connsiteX6492" y="connsiteY6492"/>
                </a:cxn>
                <a:cxn ang="0">
                  <a:pos x="connsiteX6493" y="connsiteY6493"/>
                </a:cxn>
                <a:cxn ang="0">
                  <a:pos x="connsiteX6494" y="connsiteY6494"/>
                </a:cxn>
                <a:cxn ang="0">
                  <a:pos x="connsiteX6495" y="connsiteY6495"/>
                </a:cxn>
                <a:cxn ang="0">
                  <a:pos x="connsiteX6496" y="connsiteY6496"/>
                </a:cxn>
                <a:cxn ang="0">
                  <a:pos x="connsiteX6497" y="connsiteY6497"/>
                </a:cxn>
                <a:cxn ang="0">
                  <a:pos x="connsiteX6498" y="connsiteY6498"/>
                </a:cxn>
                <a:cxn ang="0">
                  <a:pos x="connsiteX6499" y="connsiteY6499"/>
                </a:cxn>
                <a:cxn ang="0">
                  <a:pos x="connsiteX6500" y="connsiteY6500"/>
                </a:cxn>
                <a:cxn ang="0">
                  <a:pos x="connsiteX6501" y="connsiteY6501"/>
                </a:cxn>
                <a:cxn ang="0">
                  <a:pos x="connsiteX6502" y="connsiteY6502"/>
                </a:cxn>
                <a:cxn ang="0">
                  <a:pos x="connsiteX6503" y="connsiteY6503"/>
                </a:cxn>
                <a:cxn ang="0">
                  <a:pos x="connsiteX6504" y="connsiteY6504"/>
                </a:cxn>
                <a:cxn ang="0">
                  <a:pos x="connsiteX6505" y="connsiteY6505"/>
                </a:cxn>
                <a:cxn ang="0">
                  <a:pos x="connsiteX6506" y="connsiteY6506"/>
                </a:cxn>
                <a:cxn ang="0">
                  <a:pos x="connsiteX6507" y="connsiteY6507"/>
                </a:cxn>
                <a:cxn ang="0">
                  <a:pos x="connsiteX6508" y="connsiteY6508"/>
                </a:cxn>
                <a:cxn ang="0">
                  <a:pos x="connsiteX6509" y="connsiteY6509"/>
                </a:cxn>
                <a:cxn ang="0">
                  <a:pos x="connsiteX6510" y="connsiteY6510"/>
                </a:cxn>
                <a:cxn ang="0">
                  <a:pos x="connsiteX6511" y="connsiteY6511"/>
                </a:cxn>
                <a:cxn ang="0">
                  <a:pos x="connsiteX6512" y="connsiteY6512"/>
                </a:cxn>
                <a:cxn ang="0">
                  <a:pos x="connsiteX6513" y="connsiteY6513"/>
                </a:cxn>
                <a:cxn ang="0">
                  <a:pos x="connsiteX6514" y="connsiteY6514"/>
                </a:cxn>
                <a:cxn ang="0">
                  <a:pos x="connsiteX6515" y="connsiteY6515"/>
                </a:cxn>
                <a:cxn ang="0">
                  <a:pos x="connsiteX6516" y="connsiteY6516"/>
                </a:cxn>
                <a:cxn ang="0">
                  <a:pos x="connsiteX6517" y="connsiteY6517"/>
                </a:cxn>
                <a:cxn ang="0">
                  <a:pos x="connsiteX6518" y="connsiteY6518"/>
                </a:cxn>
                <a:cxn ang="0">
                  <a:pos x="connsiteX6519" y="connsiteY6519"/>
                </a:cxn>
                <a:cxn ang="0">
                  <a:pos x="connsiteX6520" y="connsiteY6520"/>
                </a:cxn>
                <a:cxn ang="0">
                  <a:pos x="connsiteX6521" y="connsiteY6521"/>
                </a:cxn>
                <a:cxn ang="0">
                  <a:pos x="connsiteX6522" y="connsiteY6522"/>
                </a:cxn>
                <a:cxn ang="0">
                  <a:pos x="connsiteX6523" y="connsiteY6523"/>
                </a:cxn>
                <a:cxn ang="0">
                  <a:pos x="connsiteX6524" y="connsiteY6524"/>
                </a:cxn>
                <a:cxn ang="0">
                  <a:pos x="connsiteX6525" y="connsiteY6525"/>
                </a:cxn>
                <a:cxn ang="0">
                  <a:pos x="connsiteX6526" y="connsiteY6526"/>
                </a:cxn>
                <a:cxn ang="0">
                  <a:pos x="connsiteX6527" y="connsiteY6527"/>
                </a:cxn>
                <a:cxn ang="0">
                  <a:pos x="connsiteX6528" y="connsiteY6528"/>
                </a:cxn>
                <a:cxn ang="0">
                  <a:pos x="connsiteX6529" y="connsiteY6529"/>
                </a:cxn>
                <a:cxn ang="0">
                  <a:pos x="connsiteX6530" y="connsiteY6530"/>
                </a:cxn>
                <a:cxn ang="0">
                  <a:pos x="connsiteX6531" y="connsiteY6531"/>
                </a:cxn>
                <a:cxn ang="0">
                  <a:pos x="connsiteX6532" y="connsiteY6532"/>
                </a:cxn>
                <a:cxn ang="0">
                  <a:pos x="connsiteX6533" y="connsiteY6533"/>
                </a:cxn>
                <a:cxn ang="0">
                  <a:pos x="connsiteX6534" y="connsiteY6534"/>
                </a:cxn>
                <a:cxn ang="0">
                  <a:pos x="connsiteX6535" y="connsiteY6535"/>
                </a:cxn>
                <a:cxn ang="0">
                  <a:pos x="connsiteX6536" y="connsiteY6536"/>
                </a:cxn>
                <a:cxn ang="0">
                  <a:pos x="connsiteX6537" y="connsiteY6537"/>
                </a:cxn>
                <a:cxn ang="0">
                  <a:pos x="connsiteX6538" y="connsiteY6538"/>
                </a:cxn>
                <a:cxn ang="0">
                  <a:pos x="connsiteX6539" y="connsiteY6539"/>
                </a:cxn>
                <a:cxn ang="0">
                  <a:pos x="connsiteX6540" y="connsiteY6540"/>
                </a:cxn>
                <a:cxn ang="0">
                  <a:pos x="connsiteX6541" y="connsiteY6541"/>
                </a:cxn>
                <a:cxn ang="0">
                  <a:pos x="connsiteX6542" y="connsiteY6542"/>
                </a:cxn>
                <a:cxn ang="0">
                  <a:pos x="connsiteX6543" y="connsiteY6543"/>
                </a:cxn>
                <a:cxn ang="0">
                  <a:pos x="connsiteX6544" y="connsiteY6544"/>
                </a:cxn>
                <a:cxn ang="0">
                  <a:pos x="connsiteX6545" y="connsiteY6545"/>
                </a:cxn>
                <a:cxn ang="0">
                  <a:pos x="connsiteX6546" y="connsiteY6546"/>
                </a:cxn>
                <a:cxn ang="0">
                  <a:pos x="connsiteX6547" y="connsiteY6547"/>
                </a:cxn>
                <a:cxn ang="0">
                  <a:pos x="connsiteX6548" y="connsiteY6548"/>
                </a:cxn>
                <a:cxn ang="0">
                  <a:pos x="connsiteX6549" y="connsiteY6549"/>
                </a:cxn>
                <a:cxn ang="0">
                  <a:pos x="connsiteX6550" y="connsiteY6550"/>
                </a:cxn>
                <a:cxn ang="0">
                  <a:pos x="connsiteX6551" y="connsiteY6551"/>
                </a:cxn>
                <a:cxn ang="0">
                  <a:pos x="connsiteX6552" y="connsiteY6552"/>
                </a:cxn>
                <a:cxn ang="0">
                  <a:pos x="connsiteX6553" y="connsiteY6553"/>
                </a:cxn>
                <a:cxn ang="0">
                  <a:pos x="connsiteX6554" y="connsiteY6554"/>
                </a:cxn>
                <a:cxn ang="0">
                  <a:pos x="connsiteX6555" y="connsiteY6555"/>
                </a:cxn>
                <a:cxn ang="0">
                  <a:pos x="connsiteX6556" y="connsiteY6556"/>
                </a:cxn>
                <a:cxn ang="0">
                  <a:pos x="connsiteX6557" y="connsiteY6557"/>
                </a:cxn>
                <a:cxn ang="0">
                  <a:pos x="connsiteX6558" y="connsiteY6558"/>
                </a:cxn>
                <a:cxn ang="0">
                  <a:pos x="connsiteX6559" y="connsiteY6559"/>
                </a:cxn>
                <a:cxn ang="0">
                  <a:pos x="connsiteX6560" y="connsiteY6560"/>
                </a:cxn>
                <a:cxn ang="0">
                  <a:pos x="connsiteX6561" y="connsiteY6561"/>
                </a:cxn>
                <a:cxn ang="0">
                  <a:pos x="connsiteX6562" y="connsiteY6562"/>
                </a:cxn>
                <a:cxn ang="0">
                  <a:pos x="connsiteX6563" y="connsiteY6563"/>
                </a:cxn>
                <a:cxn ang="0">
                  <a:pos x="connsiteX6564" y="connsiteY6564"/>
                </a:cxn>
                <a:cxn ang="0">
                  <a:pos x="connsiteX6565" y="connsiteY6565"/>
                </a:cxn>
                <a:cxn ang="0">
                  <a:pos x="connsiteX6566" y="connsiteY6566"/>
                </a:cxn>
                <a:cxn ang="0">
                  <a:pos x="connsiteX6567" y="connsiteY6567"/>
                </a:cxn>
                <a:cxn ang="0">
                  <a:pos x="connsiteX6568" y="connsiteY6568"/>
                </a:cxn>
                <a:cxn ang="0">
                  <a:pos x="connsiteX6569" y="connsiteY6569"/>
                </a:cxn>
                <a:cxn ang="0">
                  <a:pos x="connsiteX6570" y="connsiteY6570"/>
                </a:cxn>
                <a:cxn ang="0">
                  <a:pos x="connsiteX6571" y="connsiteY6571"/>
                </a:cxn>
                <a:cxn ang="0">
                  <a:pos x="connsiteX6572" y="connsiteY6572"/>
                </a:cxn>
                <a:cxn ang="0">
                  <a:pos x="connsiteX6573" y="connsiteY6573"/>
                </a:cxn>
                <a:cxn ang="0">
                  <a:pos x="connsiteX6574" y="connsiteY6574"/>
                </a:cxn>
                <a:cxn ang="0">
                  <a:pos x="connsiteX6575" y="connsiteY6575"/>
                </a:cxn>
                <a:cxn ang="0">
                  <a:pos x="connsiteX6576" y="connsiteY6576"/>
                </a:cxn>
                <a:cxn ang="0">
                  <a:pos x="connsiteX6577" y="connsiteY6577"/>
                </a:cxn>
                <a:cxn ang="0">
                  <a:pos x="connsiteX6578" y="connsiteY6578"/>
                </a:cxn>
                <a:cxn ang="0">
                  <a:pos x="connsiteX6579" y="connsiteY6579"/>
                </a:cxn>
                <a:cxn ang="0">
                  <a:pos x="connsiteX6580" y="connsiteY6580"/>
                </a:cxn>
                <a:cxn ang="0">
                  <a:pos x="connsiteX6581" y="connsiteY6581"/>
                </a:cxn>
                <a:cxn ang="0">
                  <a:pos x="connsiteX6582" y="connsiteY6582"/>
                </a:cxn>
                <a:cxn ang="0">
                  <a:pos x="connsiteX6583" y="connsiteY6583"/>
                </a:cxn>
                <a:cxn ang="0">
                  <a:pos x="connsiteX6584" y="connsiteY6584"/>
                </a:cxn>
                <a:cxn ang="0">
                  <a:pos x="connsiteX6585" y="connsiteY6585"/>
                </a:cxn>
                <a:cxn ang="0">
                  <a:pos x="connsiteX6586" y="connsiteY6586"/>
                </a:cxn>
                <a:cxn ang="0">
                  <a:pos x="connsiteX6587" y="connsiteY6587"/>
                </a:cxn>
                <a:cxn ang="0">
                  <a:pos x="connsiteX6588" y="connsiteY6588"/>
                </a:cxn>
                <a:cxn ang="0">
                  <a:pos x="connsiteX6589" y="connsiteY6589"/>
                </a:cxn>
                <a:cxn ang="0">
                  <a:pos x="connsiteX6590" y="connsiteY6590"/>
                </a:cxn>
                <a:cxn ang="0">
                  <a:pos x="connsiteX6591" y="connsiteY6591"/>
                </a:cxn>
                <a:cxn ang="0">
                  <a:pos x="connsiteX6592" y="connsiteY6592"/>
                </a:cxn>
                <a:cxn ang="0">
                  <a:pos x="connsiteX6593" y="connsiteY6593"/>
                </a:cxn>
                <a:cxn ang="0">
                  <a:pos x="connsiteX6594" y="connsiteY6594"/>
                </a:cxn>
                <a:cxn ang="0">
                  <a:pos x="connsiteX6595" y="connsiteY6595"/>
                </a:cxn>
                <a:cxn ang="0">
                  <a:pos x="connsiteX6596" y="connsiteY6596"/>
                </a:cxn>
                <a:cxn ang="0">
                  <a:pos x="connsiteX6597" y="connsiteY6597"/>
                </a:cxn>
                <a:cxn ang="0">
                  <a:pos x="connsiteX6598" y="connsiteY6598"/>
                </a:cxn>
                <a:cxn ang="0">
                  <a:pos x="connsiteX6599" y="connsiteY6599"/>
                </a:cxn>
                <a:cxn ang="0">
                  <a:pos x="connsiteX6600" y="connsiteY6600"/>
                </a:cxn>
                <a:cxn ang="0">
                  <a:pos x="connsiteX6601" y="connsiteY6601"/>
                </a:cxn>
                <a:cxn ang="0">
                  <a:pos x="connsiteX6602" y="connsiteY6602"/>
                </a:cxn>
                <a:cxn ang="0">
                  <a:pos x="connsiteX6603" y="connsiteY6603"/>
                </a:cxn>
                <a:cxn ang="0">
                  <a:pos x="connsiteX6604" y="connsiteY6604"/>
                </a:cxn>
                <a:cxn ang="0">
                  <a:pos x="connsiteX6605" y="connsiteY6605"/>
                </a:cxn>
                <a:cxn ang="0">
                  <a:pos x="connsiteX6606" y="connsiteY6606"/>
                </a:cxn>
                <a:cxn ang="0">
                  <a:pos x="connsiteX6607" y="connsiteY6607"/>
                </a:cxn>
                <a:cxn ang="0">
                  <a:pos x="connsiteX6608" y="connsiteY6608"/>
                </a:cxn>
                <a:cxn ang="0">
                  <a:pos x="connsiteX6609" y="connsiteY6609"/>
                </a:cxn>
                <a:cxn ang="0">
                  <a:pos x="connsiteX6610" y="connsiteY6610"/>
                </a:cxn>
                <a:cxn ang="0">
                  <a:pos x="connsiteX6611" y="connsiteY6611"/>
                </a:cxn>
                <a:cxn ang="0">
                  <a:pos x="connsiteX6612" y="connsiteY6612"/>
                </a:cxn>
                <a:cxn ang="0">
                  <a:pos x="connsiteX6613" y="connsiteY6613"/>
                </a:cxn>
                <a:cxn ang="0">
                  <a:pos x="connsiteX6614" y="connsiteY6614"/>
                </a:cxn>
                <a:cxn ang="0">
                  <a:pos x="connsiteX6615" y="connsiteY6615"/>
                </a:cxn>
                <a:cxn ang="0">
                  <a:pos x="connsiteX6616" y="connsiteY6616"/>
                </a:cxn>
                <a:cxn ang="0">
                  <a:pos x="connsiteX6617" y="connsiteY6617"/>
                </a:cxn>
                <a:cxn ang="0">
                  <a:pos x="connsiteX6618" y="connsiteY6618"/>
                </a:cxn>
                <a:cxn ang="0">
                  <a:pos x="connsiteX6619" y="connsiteY6619"/>
                </a:cxn>
                <a:cxn ang="0">
                  <a:pos x="connsiteX6620" y="connsiteY6620"/>
                </a:cxn>
                <a:cxn ang="0">
                  <a:pos x="connsiteX6621" y="connsiteY6621"/>
                </a:cxn>
                <a:cxn ang="0">
                  <a:pos x="connsiteX6622" y="connsiteY6622"/>
                </a:cxn>
                <a:cxn ang="0">
                  <a:pos x="connsiteX6623" y="connsiteY6623"/>
                </a:cxn>
                <a:cxn ang="0">
                  <a:pos x="connsiteX6624" y="connsiteY6624"/>
                </a:cxn>
                <a:cxn ang="0">
                  <a:pos x="connsiteX6625" y="connsiteY6625"/>
                </a:cxn>
                <a:cxn ang="0">
                  <a:pos x="connsiteX6626" y="connsiteY6626"/>
                </a:cxn>
                <a:cxn ang="0">
                  <a:pos x="connsiteX6627" y="connsiteY6627"/>
                </a:cxn>
                <a:cxn ang="0">
                  <a:pos x="connsiteX6628" y="connsiteY6628"/>
                </a:cxn>
                <a:cxn ang="0">
                  <a:pos x="connsiteX6629" y="connsiteY6629"/>
                </a:cxn>
                <a:cxn ang="0">
                  <a:pos x="connsiteX6630" y="connsiteY6630"/>
                </a:cxn>
                <a:cxn ang="0">
                  <a:pos x="connsiteX6631" y="connsiteY6631"/>
                </a:cxn>
                <a:cxn ang="0">
                  <a:pos x="connsiteX6632" y="connsiteY6632"/>
                </a:cxn>
                <a:cxn ang="0">
                  <a:pos x="connsiteX6633" y="connsiteY6633"/>
                </a:cxn>
                <a:cxn ang="0">
                  <a:pos x="connsiteX6634" y="connsiteY6634"/>
                </a:cxn>
                <a:cxn ang="0">
                  <a:pos x="connsiteX6635" y="connsiteY6635"/>
                </a:cxn>
                <a:cxn ang="0">
                  <a:pos x="connsiteX6636" y="connsiteY6636"/>
                </a:cxn>
                <a:cxn ang="0">
                  <a:pos x="connsiteX6637" y="connsiteY6637"/>
                </a:cxn>
                <a:cxn ang="0">
                  <a:pos x="connsiteX6638" y="connsiteY6638"/>
                </a:cxn>
                <a:cxn ang="0">
                  <a:pos x="connsiteX6639" y="connsiteY6639"/>
                </a:cxn>
                <a:cxn ang="0">
                  <a:pos x="connsiteX6640" y="connsiteY6640"/>
                </a:cxn>
                <a:cxn ang="0">
                  <a:pos x="connsiteX6641" y="connsiteY6641"/>
                </a:cxn>
                <a:cxn ang="0">
                  <a:pos x="connsiteX6642" y="connsiteY6642"/>
                </a:cxn>
                <a:cxn ang="0">
                  <a:pos x="connsiteX6643" y="connsiteY6643"/>
                </a:cxn>
                <a:cxn ang="0">
                  <a:pos x="connsiteX6644" y="connsiteY6644"/>
                </a:cxn>
                <a:cxn ang="0">
                  <a:pos x="connsiteX6645" y="connsiteY6645"/>
                </a:cxn>
                <a:cxn ang="0">
                  <a:pos x="connsiteX6646" y="connsiteY6646"/>
                </a:cxn>
                <a:cxn ang="0">
                  <a:pos x="connsiteX6647" y="connsiteY6647"/>
                </a:cxn>
                <a:cxn ang="0">
                  <a:pos x="connsiteX6648" y="connsiteY6648"/>
                </a:cxn>
                <a:cxn ang="0">
                  <a:pos x="connsiteX6649" y="connsiteY6649"/>
                </a:cxn>
                <a:cxn ang="0">
                  <a:pos x="connsiteX6650" y="connsiteY6650"/>
                </a:cxn>
                <a:cxn ang="0">
                  <a:pos x="connsiteX6651" y="connsiteY6651"/>
                </a:cxn>
                <a:cxn ang="0">
                  <a:pos x="connsiteX6652" y="connsiteY6652"/>
                </a:cxn>
                <a:cxn ang="0">
                  <a:pos x="connsiteX6653" y="connsiteY6653"/>
                </a:cxn>
                <a:cxn ang="0">
                  <a:pos x="connsiteX6654" y="connsiteY6654"/>
                </a:cxn>
                <a:cxn ang="0">
                  <a:pos x="connsiteX6655" y="connsiteY6655"/>
                </a:cxn>
                <a:cxn ang="0">
                  <a:pos x="connsiteX6656" y="connsiteY6656"/>
                </a:cxn>
                <a:cxn ang="0">
                  <a:pos x="connsiteX6657" y="connsiteY6657"/>
                </a:cxn>
                <a:cxn ang="0">
                  <a:pos x="connsiteX6658" y="connsiteY6658"/>
                </a:cxn>
                <a:cxn ang="0">
                  <a:pos x="connsiteX6659" y="connsiteY6659"/>
                </a:cxn>
                <a:cxn ang="0">
                  <a:pos x="connsiteX6660" y="connsiteY6660"/>
                </a:cxn>
                <a:cxn ang="0">
                  <a:pos x="connsiteX6661" y="connsiteY6661"/>
                </a:cxn>
                <a:cxn ang="0">
                  <a:pos x="connsiteX6662" y="connsiteY6662"/>
                </a:cxn>
                <a:cxn ang="0">
                  <a:pos x="connsiteX6663" y="connsiteY6663"/>
                </a:cxn>
                <a:cxn ang="0">
                  <a:pos x="connsiteX6664" y="connsiteY6664"/>
                </a:cxn>
                <a:cxn ang="0">
                  <a:pos x="connsiteX6665" y="connsiteY6665"/>
                </a:cxn>
                <a:cxn ang="0">
                  <a:pos x="connsiteX6666" y="connsiteY6666"/>
                </a:cxn>
                <a:cxn ang="0">
                  <a:pos x="connsiteX6667" y="connsiteY6667"/>
                </a:cxn>
                <a:cxn ang="0">
                  <a:pos x="connsiteX6668" y="connsiteY6668"/>
                </a:cxn>
                <a:cxn ang="0">
                  <a:pos x="connsiteX6669" y="connsiteY6669"/>
                </a:cxn>
                <a:cxn ang="0">
                  <a:pos x="connsiteX6670" y="connsiteY6670"/>
                </a:cxn>
                <a:cxn ang="0">
                  <a:pos x="connsiteX6671" y="connsiteY6671"/>
                </a:cxn>
                <a:cxn ang="0">
                  <a:pos x="connsiteX6672" y="connsiteY6672"/>
                </a:cxn>
                <a:cxn ang="0">
                  <a:pos x="connsiteX6673" y="connsiteY6673"/>
                </a:cxn>
                <a:cxn ang="0">
                  <a:pos x="connsiteX6674" y="connsiteY6674"/>
                </a:cxn>
                <a:cxn ang="0">
                  <a:pos x="connsiteX6675" y="connsiteY6675"/>
                </a:cxn>
                <a:cxn ang="0">
                  <a:pos x="connsiteX6676" y="connsiteY6676"/>
                </a:cxn>
                <a:cxn ang="0">
                  <a:pos x="connsiteX6677" y="connsiteY6677"/>
                </a:cxn>
                <a:cxn ang="0">
                  <a:pos x="connsiteX6678" y="connsiteY6678"/>
                </a:cxn>
                <a:cxn ang="0">
                  <a:pos x="connsiteX6679" y="connsiteY6679"/>
                </a:cxn>
                <a:cxn ang="0">
                  <a:pos x="connsiteX6680" y="connsiteY6680"/>
                </a:cxn>
                <a:cxn ang="0">
                  <a:pos x="connsiteX6681" y="connsiteY6681"/>
                </a:cxn>
                <a:cxn ang="0">
                  <a:pos x="connsiteX6682" y="connsiteY6682"/>
                </a:cxn>
                <a:cxn ang="0">
                  <a:pos x="connsiteX6683" y="connsiteY6683"/>
                </a:cxn>
                <a:cxn ang="0">
                  <a:pos x="connsiteX6684" y="connsiteY6684"/>
                </a:cxn>
                <a:cxn ang="0">
                  <a:pos x="connsiteX6685" y="connsiteY6685"/>
                </a:cxn>
                <a:cxn ang="0">
                  <a:pos x="connsiteX6686" y="connsiteY6686"/>
                </a:cxn>
                <a:cxn ang="0">
                  <a:pos x="connsiteX6687" y="connsiteY6687"/>
                </a:cxn>
                <a:cxn ang="0">
                  <a:pos x="connsiteX6688" y="connsiteY6688"/>
                </a:cxn>
                <a:cxn ang="0">
                  <a:pos x="connsiteX6689" y="connsiteY6689"/>
                </a:cxn>
                <a:cxn ang="0">
                  <a:pos x="connsiteX6690" y="connsiteY6690"/>
                </a:cxn>
                <a:cxn ang="0">
                  <a:pos x="connsiteX6691" y="connsiteY6691"/>
                </a:cxn>
                <a:cxn ang="0">
                  <a:pos x="connsiteX6692" y="connsiteY6692"/>
                </a:cxn>
                <a:cxn ang="0">
                  <a:pos x="connsiteX6693" y="connsiteY6693"/>
                </a:cxn>
                <a:cxn ang="0">
                  <a:pos x="connsiteX6694" y="connsiteY6694"/>
                </a:cxn>
                <a:cxn ang="0">
                  <a:pos x="connsiteX6695" y="connsiteY6695"/>
                </a:cxn>
                <a:cxn ang="0">
                  <a:pos x="connsiteX6696" y="connsiteY6696"/>
                </a:cxn>
                <a:cxn ang="0">
                  <a:pos x="connsiteX6697" y="connsiteY6697"/>
                </a:cxn>
                <a:cxn ang="0">
                  <a:pos x="connsiteX6698" y="connsiteY6698"/>
                </a:cxn>
                <a:cxn ang="0">
                  <a:pos x="connsiteX6699" y="connsiteY6699"/>
                </a:cxn>
                <a:cxn ang="0">
                  <a:pos x="connsiteX6700" y="connsiteY6700"/>
                </a:cxn>
                <a:cxn ang="0">
                  <a:pos x="connsiteX6701" y="connsiteY6701"/>
                </a:cxn>
                <a:cxn ang="0">
                  <a:pos x="connsiteX6702" y="connsiteY6702"/>
                </a:cxn>
                <a:cxn ang="0">
                  <a:pos x="connsiteX6703" y="connsiteY6703"/>
                </a:cxn>
                <a:cxn ang="0">
                  <a:pos x="connsiteX6704" y="connsiteY6704"/>
                </a:cxn>
                <a:cxn ang="0">
                  <a:pos x="connsiteX6705" y="connsiteY6705"/>
                </a:cxn>
                <a:cxn ang="0">
                  <a:pos x="connsiteX6706" y="connsiteY6706"/>
                </a:cxn>
                <a:cxn ang="0">
                  <a:pos x="connsiteX6707" y="connsiteY6707"/>
                </a:cxn>
                <a:cxn ang="0">
                  <a:pos x="connsiteX6708" y="connsiteY6708"/>
                </a:cxn>
                <a:cxn ang="0">
                  <a:pos x="connsiteX6709" y="connsiteY6709"/>
                </a:cxn>
                <a:cxn ang="0">
                  <a:pos x="connsiteX6710" y="connsiteY6710"/>
                </a:cxn>
                <a:cxn ang="0">
                  <a:pos x="connsiteX6711" y="connsiteY6711"/>
                </a:cxn>
                <a:cxn ang="0">
                  <a:pos x="connsiteX6712" y="connsiteY6712"/>
                </a:cxn>
                <a:cxn ang="0">
                  <a:pos x="connsiteX6713" y="connsiteY6713"/>
                </a:cxn>
                <a:cxn ang="0">
                  <a:pos x="connsiteX6714" y="connsiteY6714"/>
                </a:cxn>
                <a:cxn ang="0">
                  <a:pos x="connsiteX6715" y="connsiteY6715"/>
                </a:cxn>
                <a:cxn ang="0">
                  <a:pos x="connsiteX6716" y="connsiteY6716"/>
                </a:cxn>
                <a:cxn ang="0">
                  <a:pos x="connsiteX6717" y="connsiteY6717"/>
                </a:cxn>
                <a:cxn ang="0">
                  <a:pos x="connsiteX6718" y="connsiteY6718"/>
                </a:cxn>
                <a:cxn ang="0">
                  <a:pos x="connsiteX6719" y="connsiteY6719"/>
                </a:cxn>
                <a:cxn ang="0">
                  <a:pos x="connsiteX6720" y="connsiteY6720"/>
                </a:cxn>
                <a:cxn ang="0">
                  <a:pos x="connsiteX6721" y="connsiteY6721"/>
                </a:cxn>
                <a:cxn ang="0">
                  <a:pos x="connsiteX6722" y="connsiteY6722"/>
                </a:cxn>
                <a:cxn ang="0">
                  <a:pos x="connsiteX6723" y="connsiteY6723"/>
                </a:cxn>
                <a:cxn ang="0">
                  <a:pos x="connsiteX6724" y="connsiteY6724"/>
                </a:cxn>
                <a:cxn ang="0">
                  <a:pos x="connsiteX6725" y="connsiteY6725"/>
                </a:cxn>
                <a:cxn ang="0">
                  <a:pos x="connsiteX6726" y="connsiteY6726"/>
                </a:cxn>
                <a:cxn ang="0">
                  <a:pos x="connsiteX6727" y="connsiteY6727"/>
                </a:cxn>
                <a:cxn ang="0">
                  <a:pos x="connsiteX6728" y="connsiteY6728"/>
                </a:cxn>
                <a:cxn ang="0">
                  <a:pos x="connsiteX6729" y="connsiteY6729"/>
                </a:cxn>
                <a:cxn ang="0">
                  <a:pos x="connsiteX6730" y="connsiteY6730"/>
                </a:cxn>
                <a:cxn ang="0">
                  <a:pos x="connsiteX6731" y="connsiteY6731"/>
                </a:cxn>
                <a:cxn ang="0">
                  <a:pos x="connsiteX6732" y="connsiteY6732"/>
                </a:cxn>
                <a:cxn ang="0">
                  <a:pos x="connsiteX6733" y="connsiteY6733"/>
                </a:cxn>
                <a:cxn ang="0">
                  <a:pos x="connsiteX6734" y="connsiteY6734"/>
                </a:cxn>
                <a:cxn ang="0">
                  <a:pos x="connsiteX6735" y="connsiteY6735"/>
                </a:cxn>
                <a:cxn ang="0">
                  <a:pos x="connsiteX6736" y="connsiteY6736"/>
                </a:cxn>
                <a:cxn ang="0">
                  <a:pos x="connsiteX6737" y="connsiteY6737"/>
                </a:cxn>
                <a:cxn ang="0">
                  <a:pos x="connsiteX6738" y="connsiteY6738"/>
                </a:cxn>
                <a:cxn ang="0">
                  <a:pos x="connsiteX6739" y="connsiteY6739"/>
                </a:cxn>
                <a:cxn ang="0">
                  <a:pos x="connsiteX6740" y="connsiteY6740"/>
                </a:cxn>
                <a:cxn ang="0">
                  <a:pos x="connsiteX6741" y="connsiteY6741"/>
                </a:cxn>
                <a:cxn ang="0">
                  <a:pos x="connsiteX6742" y="connsiteY6742"/>
                </a:cxn>
                <a:cxn ang="0">
                  <a:pos x="connsiteX6743" y="connsiteY6743"/>
                </a:cxn>
                <a:cxn ang="0">
                  <a:pos x="connsiteX6744" y="connsiteY6744"/>
                </a:cxn>
                <a:cxn ang="0">
                  <a:pos x="connsiteX6745" y="connsiteY6745"/>
                </a:cxn>
                <a:cxn ang="0">
                  <a:pos x="connsiteX6746" y="connsiteY6746"/>
                </a:cxn>
                <a:cxn ang="0">
                  <a:pos x="connsiteX6747" y="connsiteY6747"/>
                </a:cxn>
                <a:cxn ang="0">
                  <a:pos x="connsiteX6748" y="connsiteY6748"/>
                </a:cxn>
                <a:cxn ang="0">
                  <a:pos x="connsiteX6749" y="connsiteY6749"/>
                </a:cxn>
                <a:cxn ang="0">
                  <a:pos x="connsiteX6750" y="connsiteY6750"/>
                </a:cxn>
                <a:cxn ang="0">
                  <a:pos x="connsiteX6751" y="connsiteY6751"/>
                </a:cxn>
                <a:cxn ang="0">
                  <a:pos x="connsiteX6752" y="connsiteY6752"/>
                </a:cxn>
                <a:cxn ang="0">
                  <a:pos x="connsiteX6753" y="connsiteY6753"/>
                </a:cxn>
                <a:cxn ang="0">
                  <a:pos x="connsiteX6754" y="connsiteY6754"/>
                </a:cxn>
                <a:cxn ang="0">
                  <a:pos x="connsiteX6755" y="connsiteY6755"/>
                </a:cxn>
                <a:cxn ang="0">
                  <a:pos x="connsiteX6756" y="connsiteY6756"/>
                </a:cxn>
                <a:cxn ang="0">
                  <a:pos x="connsiteX6757" y="connsiteY6757"/>
                </a:cxn>
                <a:cxn ang="0">
                  <a:pos x="connsiteX6758" y="connsiteY6758"/>
                </a:cxn>
                <a:cxn ang="0">
                  <a:pos x="connsiteX6759" y="connsiteY6759"/>
                </a:cxn>
                <a:cxn ang="0">
                  <a:pos x="connsiteX6760" y="connsiteY6760"/>
                </a:cxn>
                <a:cxn ang="0">
                  <a:pos x="connsiteX6761" y="connsiteY6761"/>
                </a:cxn>
                <a:cxn ang="0">
                  <a:pos x="connsiteX6762" y="connsiteY6762"/>
                </a:cxn>
                <a:cxn ang="0">
                  <a:pos x="connsiteX6763" y="connsiteY6763"/>
                </a:cxn>
                <a:cxn ang="0">
                  <a:pos x="connsiteX6764" y="connsiteY6764"/>
                </a:cxn>
                <a:cxn ang="0">
                  <a:pos x="connsiteX6765" y="connsiteY6765"/>
                </a:cxn>
                <a:cxn ang="0">
                  <a:pos x="connsiteX6766" y="connsiteY6766"/>
                </a:cxn>
                <a:cxn ang="0">
                  <a:pos x="connsiteX6767" y="connsiteY6767"/>
                </a:cxn>
                <a:cxn ang="0">
                  <a:pos x="connsiteX6768" y="connsiteY6768"/>
                </a:cxn>
                <a:cxn ang="0">
                  <a:pos x="connsiteX6769" y="connsiteY6769"/>
                </a:cxn>
                <a:cxn ang="0">
                  <a:pos x="connsiteX6770" y="connsiteY6770"/>
                </a:cxn>
                <a:cxn ang="0">
                  <a:pos x="connsiteX6771" y="connsiteY6771"/>
                </a:cxn>
                <a:cxn ang="0">
                  <a:pos x="connsiteX6772" y="connsiteY6772"/>
                </a:cxn>
                <a:cxn ang="0">
                  <a:pos x="connsiteX6773" y="connsiteY6773"/>
                </a:cxn>
                <a:cxn ang="0">
                  <a:pos x="connsiteX6774" y="connsiteY6774"/>
                </a:cxn>
                <a:cxn ang="0">
                  <a:pos x="connsiteX6775" y="connsiteY6775"/>
                </a:cxn>
                <a:cxn ang="0">
                  <a:pos x="connsiteX6776" y="connsiteY6776"/>
                </a:cxn>
                <a:cxn ang="0">
                  <a:pos x="connsiteX6777" y="connsiteY6777"/>
                </a:cxn>
                <a:cxn ang="0">
                  <a:pos x="connsiteX6778" y="connsiteY6778"/>
                </a:cxn>
                <a:cxn ang="0">
                  <a:pos x="connsiteX6779" y="connsiteY6779"/>
                </a:cxn>
                <a:cxn ang="0">
                  <a:pos x="connsiteX6780" y="connsiteY6780"/>
                </a:cxn>
                <a:cxn ang="0">
                  <a:pos x="connsiteX6781" y="connsiteY6781"/>
                </a:cxn>
                <a:cxn ang="0">
                  <a:pos x="connsiteX6782" y="connsiteY6782"/>
                </a:cxn>
                <a:cxn ang="0">
                  <a:pos x="connsiteX6783" y="connsiteY6783"/>
                </a:cxn>
                <a:cxn ang="0">
                  <a:pos x="connsiteX6784" y="connsiteY6784"/>
                </a:cxn>
                <a:cxn ang="0">
                  <a:pos x="connsiteX6785" y="connsiteY6785"/>
                </a:cxn>
                <a:cxn ang="0">
                  <a:pos x="connsiteX6786" y="connsiteY6786"/>
                </a:cxn>
                <a:cxn ang="0">
                  <a:pos x="connsiteX6787" y="connsiteY6787"/>
                </a:cxn>
                <a:cxn ang="0">
                  <a:pos x="connsiteX6788" y="connsiteY6788"/>
                </a:cxn>
                <a:cxn ang="0">
                  <a:pos x="connsiteX6789" y="connsiteY6789"/>
                </a:cxn>
                <a:cxn ang="0">
                  <a:pos x="connsiteX6790" y="connsiteY6790"/>
                </a:cxn>
                <a:cxn ang="0">
                  <a:pos x="connsiteX6791" y="connsiteY6791"/>
                </a:cxn>
                <a:cxn ang="0">
                  <a:pos x="connsiteX6792" y="connsiteY6792"/>
                </a:cxn>
                <a:cxn ang="0">
                  <a:pos x="connsiteX6793" y="connsiteY6793"/>
                </a:cxn>
                <a:cxn ang="0">
                  <a:pos x="connsiteX6794" y="connsiteY6794"/>
                </a:cxn>
                <a:cxn ang="0">
                  <a:pos x="connsiteX6795" y="connsiteY6795"/>
                </a:cxn>
                <a:cxn ang="0">
                  <a:pos x="connsiteX6796" y="connsiteY6796"/>
                </a:cxn>
                <a:cxn ang="0">
                  <a:pos x="connsiteX6797" y="connsiteY6797"/>
                </a:cxn>
                <a:cxn ang="0">
                  <a:pos x="connsiteX6798" y="connsiteY6798"/>
                </a:cxn>
                <a:cxn ang="0">
                  <a:pos x="connsiteX6799" y="connsiteY6799"/>
                </a:cxn>
                <a:cxn ang="0">
                  <a:pos x="connsiteX6800" y="connsiteY6800"/>
                </a:cxn>
                <a:cxn ang="0">
                  <a:pos x="connsiteX6801" y="connsiteY6801"/>
                </a:cxn>
                <a:cxn ang="0">
                  <a:pos x="connsiteX6802" y="connsiteY6802"/>
                </a:cxn>
                <a:cxn ang="0">
                  <a:pos x="connsiteX6803" y="connsiteY6803"/>
                </a:cxn>
                <a:cxn ang="0">
                  <a:pos x="connsiteX6804" y="connsiteY6804"/>
                </a:cxn>
                <a:cxn ang="0">
                  <a:pos x="connsiteX6805" y="connsiteY6805"/>
                </a:cxn>
                <a:cxn ang="0">
                  <a:pos x="connsiteX6806" y="connsiteY6806"/>
                </a:cxn>
                <a:cxn ang="0">
                  <a:pos x="connsiteX6807" y="connsiteY6807"/>
                </a:cxn>
                <a:cxn ang="0">
                  <a:pos x="connsiteX6808" y="connsiteY6808"/>
                </a:cxn>
                <a:cxn ang="0">
                  <a:pos x="connsiteX6809" y="connsiteY6809"/>
                </a:cxn>
                <a:cxn ang="0">
                  <a:pos x="connsiteX6810" y="connsiteY6810"/>
                </a:cxn>
                <a:cxn ang="0">
                  <a:pos x="connsiteX6811" y="connsiteY6811"/>
                </a:cxn>
                <a:cxn ang="0">
                  <a:pos x="connsiteX6812" y="connsiteY6812"/>
                </a:cxn>
                <a:cxn ang="0">
                  <a:pos x="connsiteX6813" y="connsiteY6813"/>
                </a:cxn>
                <a:cxn ang="0">
                  <a:pos x="connsiteX6814" y="connsiteY6814"/>
                </a:cxn>
                <a:cxn ang="0">
                  <a:pos x="connsiteX6815" y="connsiteY6815"/>
                </a:cxn>
                <a:cxn ang="0">
                  <a:pos x="connsiteX6816" y="connsiteY6816"/>
                </a:cxn>
                <a:cxn ang="0">
                  <a:pos x="connsiteX6817" y="connsiteY6817"/>
                </a:cxn>
                <a:cxn ang="0">
                  <a:pos x="connsiteX6818" y="connsiteY6818"/>
                </a:cxn>
                <a:cxn ang="0">
                  <a:pos x="connsiteX6819" y="connsiteY6819"/>
                </a:cxn>
                <a:cxn ang="0">
                  <a:pos x="connsiteX6820" y="connsiteY6820"/>
                </a:cxn>
                <a:cxn ang="0">
                  <a:pos x="connsiteX6821" y="connsiteY6821"/>
                </a:cxn>
                <a:cxn ang="0">
                  <a:pos x="connsiteX6822" y="connsiteY6822"/>
                </a:cxn>
                <a:cxn ang="0">
                  <a:pos x="connsiteX6823" y="connsiteY6823"/>
                </a:cxn>
                <a:cxn ang="0">
                  <a:pos x="connsiteX6824" y="connsiteY6824"/>
                </a:cxn>
                <a:cxn ang="0">
                  <a:pos x="connsiteX6825" y="connsiteY6825"/>
                </a:cxn>
                <a:cxn ang="0">
                  <a:pos x="connsiteX6826" y="connsiteY6826"/>
                </a:cxn>
                <a:cxn ang="0">
                  <a:pos x="connsiteX6827" y="connsiteY6827"/>
                </a:cxn>
                <a:cxn ang="0">
                  <a:pos x="connsiteX6828" y="connsiteY6828"/>
                </a:cxn>
                <a:cxn ang="0">
                  <a:pos x="connsiteX6829" y="connsiteY6829"/>
                </a:cxn>
                <a:cxn ang="0">
                  <a:pos x="connsiteX6830" y="connsiteY6830"/>
                </a:cxn>
                <a:cxn ang="0">
                  <a:pos x="connsiteX6831" y="connsiteY6831"/>
                </a:cxn>
                <a:cxn ang="0">
                  <a:pos x="connsiteX6832" y="connsiteY6832"/>
                </a:cxn>
                <a:cxn ang="0">
                  <a:pos x="connsiteX6833" y="connsiteY6833"/>
                </a:cxn>
                <a:cxn ang="0">
                  <a:pos x="connsiteX6834" y="connsiteY6834"/>
                </a:cxn>
                <a:cxn ang="0">
                  <a:pos x="connsiteX6835" y="connsiteY6835"/>
                </a:cxn>
                <a:cxn ang="0">
                  <a:pos x="connsiteX6836" y="connsiteY6836"/>
                </a:cxn>
                <a:cxn ang="0">
                  <a:pos x="connsiteX6837" y="connsiteY6837"/>
                </a:cxn>
                <a:cxn ang="0">
                  <a:pos x="connsiteX6838" y="connsiteY6838"/>
                </a:cxn>
                <a:cxn ang="0">
                  <a:pos x="connsiteX6839" y="connsiteY6839"/>
                </a:cxn>
                <a:cxn ang="0">
                  <a:pos x="connsiteX6840" y="connsiteY6840"/>
                </a:cxn>
                <a:cxn ang="0">
                  <a:pos x="connsiteX6841" y="connsiteY6841"/>
                </a:cxn>
                <a:cxn ang="0">
                  <a:pos x="connsiteX6842" y="connsiteY6842"/>
                </a:cxn>
                <a:cxn ang="0">
                  <a:pos x="connsiteX6843" y="connsiteY6843"/>
                </a:cxn>
                <a:cxn ang="0">
                  <a:pos x="connsiteX6844" y="connsiteY6844"/>
                </a:cxn>
                <a:cxn ang="0">
                  <a:pos x="connsiteX6845" y="connsiteY6845"/>
                </a:cxn>
                <a:cxn ang="0">
                  <a:pos x="connsiteX6846" y="connsiteY6846"/>
                </a:cxn>
                <a:cxn ang="0">
                  <a:pos x="connsiteX6847" y="connsiteY6847"/>
                </a:cxn>
                <a:cxn ang="0">
                  <a:pos x="connsiteX6848" y="connsiteY6848"/>
                </a:cxn>
                <a:cxn ang="0">
                  <a:pos x="connsiteX6849" y="connsiteY6849"/>
                </a:cxn>
                <a:cxn ang="0">
                  <a:pos x="connsiteX6850" y="connsiteY6850"/>
                </a:cxn>
                <a:cxn ang="0">
                  <a:pos x="connsiteX6851" y="connsiteY6851"/>
                </a:cxn>
                <a:cxn ang="0">
                  <a:pos x="connsiteX6852" y="connsiteY6852"/>
                </a:cxn>
                <a:cxn ang="0">
                  <a:pos x="connsiteX6853" y="connsiteY6853"/>
                </a:cxn>
                <a:cxn ang="0">
                  <a:pos x="connsiteX6854" y="connsiteY6854"/>
                </a:cxn>
                <a:cxn ang="0">
                  <a:pos x="connsiteX6855" y="connsiteY6855"/>
                </a:cxn>
                <a:cxn ang="0">
                  <a:pos x="connsiteX6856" y="connsiteY6856"/>
                </a:cxn>
                <a:cxn ang="0">
                  <a:pos x="connsiteX6857" y="connsiteY6857"/>
                </a:cxn>
                <a:cxn ang="0">
                  <a:pos x="connsiteX6858" y="connsiteY6858"/>
                </a:cxn>
                <a:cxn ang="0">
                  <a:pos x="connsiteX6859" y="connsiteY6859"/>
                </a:cxn>
                <a:cxn ang="0">
                  <a:pos x="connsiteX6860" y="connsiteY6860"/>
                </a:cxn>
                <a:cxn ang="0">
                  <a:pos x="connsiteX6861" y="connsiteY6861"/>
                </a:cxn>
                <a:cxn ang="0">
                  <a:pos x="connsiteX6862" y="connsiteY6862"/>
                </a:cxn>
                <a:cxn ang="0">
                  <a:pos x="connsiteX6863" y="connsiteY6863"/>
                </a:cxn>
                <a:cxn ang="0">
                  <a:pos x="connsiteX6864" y="connsiteY6864"/>
                </a:cxn>
                <a:cxn ang="0">
                  <a:pos x="connsiteX6865" y="connsiteY6865"/>
                </a:cxn>
                <a:cxn ang="0">
                  <a:pos x="connsiteX6866" y="connsiteY6866"/>
                </a:cxn>
                <a:cxn ang="0">
                  <a:pos x="connsiteX6867" y="connsiteY6867"/>
                </a:cxn>
                <a:cxn ang="0">
                  <a:pos x="connsiteX6868" y="connsiteY6868"/>
                </a:cxn>
                <a:cxn ang="0">
                  <a:pos x="connsiteX6869" y="connsiteY6869"/>
                </a:cxn>
                <a:cxn ang="0">
                  <a:pos x="connsiteX6870" y="connsiteY6870"/>
                </a:cxn>
                <a:cxn ang="0">
                  <a:pos x="connsiteX6871" y="connsiteY6871"/>
                </a:cxn>
                <a:cxn ang="0">
                  <a:pos x="connsiteX6872" y="connsiteY6872"/>
                </a:cxn>
                <a:cxn ang="0">
                  <a:pos x="connsiteX6873" y="connsiteY6873"/>
                </a:cxn>
                <a:cxn ang="0">
                  <a:pos x="connsiteX6874" y="connsiteY6874"/>
                </a:cxn>
                <a:cxn ang="0">
                  <a:pos x="connsiteX6875" y="connsiteY6875"/>
                </a:cxn>
                <a:cxn ang="0">
                  <a:pos x="connsiteX6876" y="connsiteY6876"/>
                </a:cxn>
                <a:cxn ang="0">
                  <a:pos x="connsiteX6877" y="connsiteY6877"/>
                </a:cxn>
                <a:cxn ang="0">
                  <a:pos x="connsiteX6878" y="connsiteY6878"/>
                </a:cxn>
                <a:cxn ang="0">
                  <a:pos x="connsiteX6879" y="connsiteY6879"/>
                </a:cxn>
                <a:cxn ang="0">
                  <a:pos x="connsiteX6880" y="connsiteY6880"/>
                </a:cxn>
                <a:cxn ang="0">
                  <a:pos x="connsiteX6881" y="connsiteY6881"/>
                </a:cxn>
                <a:cxn ang="0">
                  <a:pos x="connsiteX6882" y="connsiteY6882"/>
                </a:cxn>
                <a:cxn ang="0">
                  <a:pos x="connsiteX6883" y="connsiteY6883"/>
                </a:cxn>
                <a:cxn ang="0">
                  <a:pos x="connsiteX6884" y="connsiteY6884"/>
                </a:cxn>
                <a:cxn ang="0">
                  <a:pos x="connsiteX6885" y="connsiteY6885"/>
                </a:cxn>
                <a:cxn ang="0">
                  <a:pos x="connsiteX6886" y="connsiteY6886"/>
                </a:cxn>
                <a:cxn ang="0">
                  <a:pos x="connsiteX6887" y="connsiteY6887"/>
                </a:cxn>
                <a:cxn ang="0">
                  <a:pos x="connsiteX6888" y="connsiteY6888"/>
                </a:cxn>
                <a:cxn ang="0">
                  <a:pos x="connsiteX6889" y="connsiteY6889"/>
                </a:cxn>
                <a:cxn ang="0">
                  <a:pos x="connsiteX6890" y="connsiteY6890"/>
                </a:cxn>
                <a:cxn ang="0">
                  <a:pos x="connsiteX6891" y="connsiteY6891"/>
                </a:cxn>
                <a:cxn ang="0">
                  <a:pos x="connsiteX6892" y="connsiteY6892"/>
                </a:cxn>
                <a:cxn ang="0">
                  <a:pos x="connsiteX6893" y="connsiteY6893"/>
                </a:cxn>
                <a:cxn ang="0">
                  <a:pos x="connsiteX6894" y="connsiteY6894"/>
                </a:cxn>
                <a:cxn ang="0">
                  <a:pos x="connsiteX6895" y="connsiteY6895"/>
                </a:cxn>
                <a:cxn ang="0">
                  <a:pos x="connsiteX6896" y="connsiteY6896"/>
                </a:cxn>
                <a:cxn ang="0">
                  <a:pos x="connsiteX6897" y="connsiteY6897"/>
                </a:cxn>
                <a:cxn ang="0">
                  <a:pos x="connsiteX6898" y="connsiteY6898"/>
                </a:cxn>
                <a:cxn ang="0">
                  <a:pos x="connsiteX6899" y="connsiteY6899"/>
                </a:cxn>
                <a:cxn ang="0">
                  <a:pos x="connsiteX6900" y="connsiteY6900"/>
                </a:cxn>
                <a:cxn ang="0">
                  <a:pos x="connsiteX6901" y="connsiteY6901"/>
                </a:cxn>
                <a:cxn ang="0">
                  <a:pos x="connsiteX6902" y="connsiteY6902"/>
                </a:cxn>
                <a:cxn ang="0">
                  <a:pos x="connsiteX6903" y="connsiteY6903"/>
                </a:cxn>
                <a:cxn ang="0">
                  <a:pos x="connsiteX6904" y="connsiteY6904"/>
                </a:cxn>
                <a:cxn ang="0">
                  <a:pos x="connsiteX6905" y="connsiteY6905"/>
                </a:cxn>
                <a:cxn ang="0">
                  <a:pos x="connsiteX6906" y="connsiteY6906"/>
                </a:cxn>
                <a:cxn ang="0">
                  <a:pos x="connsiteX6907" y="connsiteY6907"/>
                </a:cxn>
                <a:cxn ang="0">
                  <a:pos x="connsiteX6908" y="connsiteY6908"/>
                </a:cxn>
                <a:cxn ang="0">
                  <a:pos x="connsiteX6909" y="connsiteY6909"/>
                </a:cxn>
                <a:cxn ang="0">
                  <a:pos x="connsiteX6910" y="connsiteY6910"/>
                </a:cxn>
                <a:cxn ang="0">
                  <a:pos x="connsiteX6911" y="connsiteY6911"/>
                </a:cxn>
                <a:cxn ang="0">
                  <a:pos x="connsiteX6912" y="connsiteY6912"/>
                </a:cxn>
                <a:cxn ang="0">
                  <a:pos x="connsiteX6913" y="connsiteY6913"/>
                </a:cxn>
                <a:cxn ang="0">
                  <a:pos x="connsiteX6914" y="connsiteY6914"/>
                </a:cxn>
                <a:cxn ang="0">
                  <a:pos x="connsiteX6915" y="connsiteY6915"/>
                </a:cxn>
                <a:cxn ang="0">
                  <a:pos x="connsiteX6916" y="connsiteY6916"/>
                </a:cxn>
                <a:cxn ang="0">
                  <a:pos x="connsiteX6917" y="connsiteY6917"/>
                </a:cxn>
                <a:cxn ang="0">
                  <a:pos x="connsiteX6918" y="connsiteY6918"/>
                </a:cxn>
                <a:cxn ang="0">
                  <a:pos x="connsiteX6919" y="connsiteY6919"/>
                </a:cxn>
                <a:cxn ang="0">
                  <a:pos x="connsiteX6920" y="connsiteY6920"/>
                </a:cxn>
                <a:cxn ang="0">
                  <a:pos x="connsiteX6921" y="connsiteY6921"/>
                </a:cxn>
                <a:cxn ang="0">
                  <a:pos x="connsiteX6922" y="connsiteY6922"/>
                </a:cxn>
                <a:cxn ang="0">
                  <a:pos x="connsiteX6923" y="connsiteY6923"/>
                </a:cxn>
                <a:cxn ang="0">
                  <a:pos x="connsiteX6924" y="connsiteY6924"/>
                </a:cxn>
                <a:cxn ang="0">
                  <a:pos x="connsiteX6925" y="connsiteY6925"/>
                </a:cxn>
                <a:cxn ang="0">
                  <a:pos x="connsiteX6926" y="connsiteY6926"/>
                </a:cxn>
                <a:cxn ang="0">
                  <a:pos x="connsiteX6927" y="connsiteY6927"/>
                </a:cxn>
                <a:cxn ang="0">
                  <a:pos x="connsiteX6928" y="connsiteY6928"/>
                </a:cxn>
                <a:cxn ang="0">
                  <a:pos x="connsiteX6929" y="connsiteY6929"/>
                </a:cxn>
                <a:cxn ang="0">
                  <a:pos x="connsiteX6930" y="connsiteY6930"/>
                </a:cxn>
                <a:cxn ang="0">
                  <a:pos x="connsiteX6931" y="connsiteY6931"/>
                </a:cxn>
                <a:cxn ang="0">
                  <a:pos x="connsiteX6932" y="connsiteY6932"/>
                </a:cxn>
                <a:cxn ang="0">
                  <a:pos x="connsiteX6933" y="connsiteY6933"/>
                </a:cxn>
                <a:cxn ang="0">
                  <a:pos x="connsiteX6934" y="connsiteY6934"/>
                </a:cxn>
                <a:cxn ang="0">
                  <a:pos x="connsiteX6935" y="connsiteY6935"/>
                </a:cxn>
                <a:cxn ang="0">
                  <a:pos x="connsiteX6936" y="connsiteY6936"/>
                </a:cxn>
                <a:cxn ang="0">
                  <a:pos x="connsiteX6937" y="connsiteY6937"/>
                </a:cxn>
                <a:cxn ang="0">
                  <a:pos x="connsiteX6938" y="connsiteY6938"/>
                </a:cxn>
                <a:cxn ang="0">
                  <a:pos x="connsiteX6939" y="connsiteY6939"/>
                </a:cxn>
                <a:cxn ang="0">
                  <a:pos x="connsiteX6940" y="connsiteY6940"/>
                </a:cxn>
                <a:cxn ang="0">
                  <a:pos x="connsiteX6941" y="connsiteY6941"/>
                </a:cxn>
                <a:cxn ang="0">
                  <a:pos x="connsiteX6942" y="connsiteY6942"/>
                </a:cxn>
                <a:cxn ang="0">
                  <a:pos x="connsiteX6943" y="connsiteY6943"/>
                </a:cxn>
                <a:cxn ang="0">
                  <a:pos x="connsiteX6944" y="connsiteY6944"/>
                </a:cxn>
                <a:cxn ang="0">
                  <a:pos x="connsiteX6945" y="connsiteY6945"/>
                </a:cxn>
                <a:cxn ang="0">
                  <a:pos x="connsiteX6946" y="connsiteY6946"/>
                </a:cxn>
                <a:cxn ang="0">
                  <a:pos x="connsiteX6947" y="connsiteY6947"/>
                </a:cxn>
                <a:cxn ang="0">
                  <a:pos x="connsiteX6948" y="connsiteY6948"/>
                </a:cxn>
                <a:cxn ang="0">
                  <a:pos x="connsiteX6949" y="connsiteY6949"/>
                </a:cxn>
                <a:cxn ang="0">
                  <a:pos x="connsiteX6950" y="connsiteY6950"/>
                </a:cxn>
                <a:cxn ang="0">
                  <a:pos x="connsiteX6951" y="connsiteY6951"/>
                </a:cxn>
                <a:cxn ang="0">
                  <a:pos x="connsiteX6952" y="connsiteY6952"/>
                </a:cxn>
                <a:cxn ang="0">
                  <a:pos x="connsiteX6953" y="connsiteY6953"/>
                </a:cxn>
                <a:cxn ang="0">
                  <a:pos x="connsiteX6954" y="connsiteY6954"/>
                </a:cxn>
                <a:cxn ang="0">
                  <a:pos x="connsiteX6955" y="connsiteY6955"/>
                </a:cxn>
                <a:cxn ang="0">
                  <a:pos x="connsiteX6956" y="connsiteY6956"/>
                </a:cxn>
                <a:cxn ang="0">
                  <a:pos x="connsiteX6957" y="connsiteY6957"/>
                </a:cxn>
                <a:cxn ang="0">
                  <a:pos x="connsiteX6958" y="connsiteY6958"/>
                </a:cxn>
                <a:cxn ang="0">
                  <a:pos x="connsiteX6959" y="connsiteY6959"/>
                </a:cxn>
                <a:cxn ang="0">
                  <a:pos x="connsiteX6960" y="connsiteY6960"/>
                </a:cxn>
                <a:cxn ang="0">
                  <a:pos x="connsiteX6961" y="connsiteY6961"/>
                </a:cxn>
                <a:cxn ang="0">
                  <a:pos x="connsiteX6962" y="connsiteY6962"/>
                </a:cxn>
                <a:cxn ang="0">
                  <a:pos x="connsiteX6963" y="connsiteY6963"/>
                </a:cxn>
                <a:cxn ang="0">
                  <a:pos x="connsiteX6964" y="connsiteY6964"/>
                </a:cxn>
                <a:cxn ang="0">
                  <a:pos x="connsiteX6965" y="connsiteY6965"/>
                </a:cxn>
                <a:cxn ang="0">
                  <a:pos x="connsiteX6966" y="connsiteY6966"/>
                </a:cxn>
                <a:cxn ang="0">
                  <a:pos x="connsiteX6967" y="connsiteY6967"/>
                </a:cxn>
                <a:cxn ang="0">
                  <a:pos x="connsiteX6968" y="connsiteY6968"/>
                </a:cxn>
                <a:cxn ang="0">
                  <a:pos x="connsiteX6969" y="connsiteY6969"/>
                </a:cxn>
                <a:cxn ang="0">
                  <a:pos x="connsiteX6970" y="connsiteY6970"/>
                </a:cxn>
                <a:cxn ang="0">
                  <a:pos x="connsiteX6971" y="connsiteY6971"/>
                </a:cxn>
                <a:cxn ang="0">
                  <a:pos x="connsiteX6972" y="connsiteY6972"/>
                </a:cxn>
                <a:cxn ang="0">
                  <a:pos x="connsiteX6973" y="connsiteY6973"/>
                </a:cxn>
                <a:cxn ang="0">
                  <a:pos x="connsiteX6974" y="connsiteY6974"/>
                </a:cxn>
                <a:cxn ang="0">
                  <a:pos x="connsiteX6975" y="connsiteY6975"/>
                </a:cxn>
                <a:cxn ang="0">
                  <a:pos x="connsiteX6976" y="connsiteY6976"/>
                </a:cxn>
                <a:cxn ang="0">
                  <a:pos x="connsiteX6977" y="connsiteY6977"/>
                </a:cxn>
                <a:cxn ang="0">
                  <a:pos x="connsiteX6978" y="connsiteY6978"/>
                </a:cxn>
                <a:cxn ang="0">
                  <a:pos x="connsiteX6979" y="connsiteY6979"/>
                </a:cxn>
                <a:cxn ang="0">
                  <a:pos x="connsiteX6980" y="connsiteY6980"/>
                </a:cxn>
                <a:cxn ang="0">
                  <a:pos x="connsiteX6981" y="connsiteY6981"/>
                </a:cxn>
                <a:cxn ang="0">
                  <a:pos x="connsiteX6982" y="connsiteY6982"/>
                </a:cxn>
                <a:cxn ang="0">
                  <a:pos x="connsiteX6983" y="connsiteY6983"/>
                </a:cxn>
                <a:cxn ang="0">
                  <a:pos x="connsiteX6984" y="connsiteY6984"/>
                </a:cxn>
                <a:cxn ang="0">
                  <a:pos x="connsiteX6985" y="connsiteY6985"/>
                </a:cxn>
                <a:cxn ang="0">
                  <a:pos x="connsiteX6986" y="connsiteY6986"/>
                </a:cxn>
                <a:cxn ang="0">
                  <a:pos x="connsiteX6987" y="connsiteY6987"/>
                </a:cxn>
                <a:cxn ang="0">
                  <a:pos x="connsiteX6988" y="connsiteY6988"/>
                </a:cxn>
                <a:cxn ang="0">
                  <a:pos x="connsiteX6989" y="connsiteY6989"/>
                </a:cxn>
                <a:cxn ang="0">
                  <a:pos x="connsiteX6990" y="connsiteY6990"/>
                </a:cxn>
                <a:cxn ang="0">
                  <a:pos x="connsiteX6991" y="connsiteY6991"/>
                </a:cxn>
                <a:cxn ang="0">
                  <a:pos x="connsiteX6992" y="connsiteY6992"/>
                </a:cxn>
                <a:cxn ang="0">
                  <a:pos x="connsiteX6993" y="connsiteY6993"/>
                </a:cxn>
                <a:cxn ang="0">
                  <a:pos x="connsiteX6994" y="connsiteY6994"/>
                </a:cxn>
                <a:cxn ang="0">
                  <a:pos x="connsiteX6995" y="connsiteY6995"/>
                </a:cxn>
                <a:cxn ang="0">
                  <a:pos x="connsiteX6996" y="connsiteY6996"/>
                </a:cxn>
                <a:cxn ang="0">
                  <a:pos x="connsiteX6997" y="connsiteY6997"/>
                </a:cxn>
                <a:cxn ang="0">
                  <a:pos x="connsiteX6998" y="connsiteY6998"/>
                </a:cxn>
                <a:cxn ang="0">
                  <a:pos x="connsiteX6999" y="connsiteY6999"/>
                </a:cxn>
                <a:cxn ang="0">
                  <a:pos x="connsiteX7000" y="connsiteY7000"/>
                </a:cxn>
                <a:cxn ang="0">
                  <a:pos x="connsiteX7001" y="connsiteY7001"/>
                </a:cxn>
                <a:cxn ang="0">
                  <a:pos x="connsiteX7002" y="connsiteY7002"/>
                </a:cxn>
                <a:cxn ang="0">
                  <a:pos x="connsiteX7003" y="connsiteY7003"/>
                </a:cxn>
                <a:cxn ang="0">
                  <a:pos x="connsiteX7004" y="connsiteY7004"/>
                </a:cxn>
                <a:cxn ang="0">
                  <a:pos x="connsiteX7005" y="connsiteY7005"/>
                </a:cxn>
                <a:cxn ang="0">
                  <a:pos x="connsiteX7006" y="connsiteY7006"/>
                </a:cxn>
                <a:cxn ang="0">
                  <a:pos x="connsiteX7007" y="connsiteY7007"/>
                </a:cxn>
                <a:cxn ang="0">
                  <a:pos x="connsiteX7008" y="connsiteY7008"/>
                </a:cxn>
                <a:cxn ang="0">
                  <a:pos x="connsiteX7009" y="connsiteY7009"/>
                </a:cxn>
                <a:cxn ang="0">
                  <a:pos x="connsiteX7010" y="connsiteY7010"/>
                </a:cxn>
                <a:cxn ang="0">
                  <a:pos x="connsiteX7011" y="connsiteY7011"/>
                </a:cxn>
                <a:cxn ang="0">
                  <a:pos x="connsiteX7012" y="connsiteY7012"/>
                </a:cxn>
                <a:cxn ang="0">
                  <a:pos x="connsiteX7013" y="connsiteY7013"/>
                </a:cxn>
                <a:cxn ang="0">
                  <a:pos x="connsiteX7014" y="connsiteY7014"/>
                </a:cxn>
                <a:cxn ang="0">
                  <a:pos x="connsiteX7015" y="connsiteY7015"/>
                </a:cxn>
                <a:cxn ang="0">
                  <a:pos x="connsiteX7016" y="connsiteY7016"/>
                </a:cxn>
                <a:cxn ang="0">
                  <a:pos x="connsiteX7017" y="connsiteY7017"/>
                </a:cxn>
                <a:cxn ang="0">
                  <a:pos x="connsiteX7018" y="connsiteY7018"/>
                </a:cxn>
                <a:cxn ang="0">
                  <a:pos x="connsiteX7019" y="connsiteY7019"/>
                </a:cxn>
                <a:cxn ang="0">
                  <a:pos x="connsiteX7020" y="connsiteY7020"/>
                </a:cxn>
                <a:cxn ang="0">
                  <a:pos x="connsiteX7021" y="connsiteY7021"/>
                </a:cxn>
                <a:cxn ang="0">
                  <a:pos x="connsiteX7022" y="connsiteY7022"/>
                </a:cxn>
                <a:cxn ang="0">
                  <a:pos x="connsiteX7023" y="connsiteY7023"/>
                </a:cxn>
                <a:cxn ang="0">
                  <a:pos x="connsiteX7024" y="connsiteY7024"/>
                </a:cxn>
                <a:cxn ang="0">
                  <a:pos x="connsiteX7025" y="connsiteY7025"/>
                </a:cxn>
                <a:cxn ang="0">
                  <a:pos x="connsiteX7026" y="connsiteY7026"/>
                </a:cxn>
                <a:cxn ang="0">
                  <a:pos x="connsiteX7027" y="connsiteY7027"/>
                </a:cxn>
                <a:cxn ang="0">
                  <a:pos x="connsiteX7028" y="connsiteY7028"/>
                </a:cxn>
                <a:cxn ang="0">
                  <a:pos x="connsiteX7029" y="connsiteY7029"/>
                </a:cxn>
                <a:cxn ang="0">
                  <a:pos x="connsiteX7030" y="connsiteY7030"/>
                </a:cxn>
                <a:cxn ang="0">
                  <a:pos x="connsiteX7031" y="connsiteY7031"/>
                </a:cxn>
                <a:cxn ang="0">
                  <a:pos x="connsiteX7032" y="connsiteY7032"/>
                </a:cxn>
                <a:cxn ang="0">
                  <a:pos x="connsiteX7033" y="connsiteY7033"/>
                </a:cxn>
                <a:cxn ang="0">
                  <a:pos x="connsiteX7034" y="connsiteY7034"/>
                </a:cxn>
                <a:cxn ang="0">
                  <a:pos x="connsiteX7035" y="connsiteY7035"/>
                </a:cxn>
                <a:cxn ang="0">
                  <a:pos x="connsiteX7036" y="connsiteY7036"/>
                </a:cxn>
                <a:cxn ang="0">
                  <a:pos x="connsiteX7037" y="connsiteY7037"/>
                </a:cxn>
                <a:cxn ang="0">
                  <a:pos x="connsiteX7038" y="connsiteY7038"/>
                </a:cxn>
                <a:cxn ang="0">
                  <a:pos x="connsiteX7039" y="connsiteY7039"/>
                </a:cxn>
                <a:cxn ang="0">
                  <a:pos x="connsiteX7040" y="connsiteY7040"/>
                </a:cxn>
                <a:cxn ang="0">
                  <a:pos x="connsiteX7041" y="connsiteY7041"/>
                </a:cxn>
                <a:cxn ang="0">
                  <a:pos x="connsiteX7042" y="connsiteY7042"/>
                </a:cxn>
                <a:cxn ang="0">
                  <a:pos x="connsiteX7043" y="connsiteY7043"/>
                </a:cxn>
                <a:cxn ang="0">
                  <a:pos x="connsiteX7044" y="connsiteY7044"/>
                </a:cxn>
                <a:cxn ang="0">
                  <a:pos x="connsiteX7045" y="connsiteY7045"/>
                </a:cxn>
                <a:cxn ang="0">
                  <a:pos x="connsiteX7046" y="connsiteY7046"/>
                </a:cxn>
                <a:cxn ang="0">
                  <a:pos x="connsiteX7047" y="connsiteY7047"/>
                </a:cxn>
                <a:cxn ang="0">
                  <a:pos x="connsiteX7048" y="connsiteY7048"/>
                </a:cxn>
                <a:cxn ang="0">
                  <a:pos x="connsiteX7049" y="connsiteY7049"/>
                </a:cxn>
                <a:cxn ang="0">
                  <a:pos x="connsiteX7050" y="connsiteY7050"/>
                </a:cxn>
                <a:cxn ang="0">
                  <a:pos x="connsiteX7051" y="connsiteY7051"/>
                </a:cxn>
                <a:cxn ang="0">
                  <a:pos x="connsiteX7052" y="connsiteY7052"/>
                </a:cxn>
                <a:cxn ang="0">
                  <a:pos x="connsiteX7053" y="connsiteY7053"/>
                </a:cxn>
                <a:cxn ang="0">
                  <a:pos x="connsiteX7054" y="connsiteY7054"/>
                </a:cxn>
                <a:cxn ang="0">
                  <a:pos x="connsiteX7055" y="connsiteY7055"/>
                </a:cxn>
                <a:cxn ang="0">
                  <a:pos x="connsiteX7056" y="connsiteY7056"/>
                </a:cxn>
                <a:cxn ang="0">
                  <a:pos x="connsiteX7057" y="connsiteY7057"/>
                </a:cxn>
                <a:cxn ang="0">
                  <a:pos x="connsiteX7058" y="connsiteY7058"/>
                </a:cxn>
                <a:cxn ang="0">
                  <a:pos x="connsiteX7059" y="connsiteY7059"/>
                </a:cxn>
                <a:cxn ang="0">
                  <a:pos x="connsiteX7060" y="connsiteY7060"/>
                </a:cxn>
                <a:cxn ang="0">
                  <a:pos x="connsiteX7061" y="connsiteY7061"/>
                </a:cxn>
                <a:cxn ang="0">
                  <a:pos x="connsiteX7062" y="connsiteY7062"/>
                </a:cxn>
                <a:cxn ang="0">
                  <a:pos x="connsiteX7063" y="connsiteY7063"/>
                </a:cxn>
                <a:cxn ang="0">
                  <a:pos x="connsiteX7064" y="connsiteY7064"/>
                </a:cxn>
                <a:cxn ang="0">
                  <a:pos x="connsiteX7065" y="connsiteY7065"/>
                </a:cxn>
                <a:cxn ang="0">
                  <a:pos x="connsiteX7066" y="connsiteY7066"/>
                </a:cxn>
                <a:cxn ang="0">
                  <a:pos x="connsiteX7067" y="connsiteY7067"/>
                </a:cxn>
                <a:cxn ang="0">
                  <a:pos x="connsiteX7068" y="connsiteY7068"/>
                </a:cxn>
                <a:cxn ang="0">
                  <a:pos x="connsiteX7069" y="connsiteY7069"/>
                </a:cxn>
                <a:cxn ang="0">
                  <a:pos x="connsiteX7070" y="connsiteY7070"/>
                </a:cxn>
                <a:cxn ang="0">
                  <a:pos x="connsiteX7071" y="connsiteY7071"/>
                </a:cxn>
                <a:cxn ang="0">
                  <a:pos x="connsiteX7072" y="connsiteY7072"/>
                </a:cxn>
                <a:cxn ang="0">
                  <a:pos x="connsiteX7073" y="connsiteY7073"/>
                </a:cxn>
                <a:cxn ang="0">
                  <a:pos x="connsiteX7074" y="connsiteY7074"/>
                </a:cxn>
                <a:cxn ang="0">
                  <a:pos x="connsiteX7075" y="connsiteY7075"/>
                </a:cxn>
                <a:cxn ang="0">
                  <a:pos x="connsiteX7076" y="connsiteY7076"/>
                </a:cxn>
                <a:cxn ang="0">
                  <a:pos x="connsiteX7077" y="connsiteY7077"/>
                </a:cxn>
                <a:cxn ang="0">
                  <a:pos x="connsiteX7078" y="connsiteY7078"/>
                </a:cxn>
                <a:cxn ang="0">
                  <a:pos x="connsiteX7079" y="connsiteY7079"/>
                </a:cxn>
                <a:cxn ang="0">
                  <a:pos x="connsiteX7080" y="connsiteY7080"/>
                </a:cxn>
                <a:cxn ang="0">
                  <a:pos x="connsiteX7081" y="connsiteY7081"/>
                </a:cxn>
                <a:cxn ang="0">
                  <a:pos x="connsiteX7082" y="connsiteY7082"/>
                </a:cxn>
                <a:cxn ang="0">
                  <a:pos x="connsiteX7083" y="connsiteY7083"/>
                </a:cxn>
                <a:cxn ang="0">
                  <a:pos x="connsiteX7084" y="connsiteY7084"/>
                </a:cxn>
                <a:cxn ang="0">
                  <a:pos x="connsiteX7085" y="connsiteY7085"/>
                </a:cxn>
                <a:cxn ang="0">
                  <a:pos x="connsiteX7086" y="connsiteY7086"/>
                </a:cxn>
                <a:cxn ang="0">
                  <a:pos x="connsiteX7087" y="connsiteY7087"/>
                </a:cxn>
                <a:cxn ang="0">
                  <a:pos x="connsiteX7088" y="connsiteY7088"/>
                </a:cxn>
                <a:cxn ang="0">
                  <a:pos x="connsiteX7089" y="connsiteY7089"/>
                </a:cxn>
                <a:cxn ang="0">
                  <a:pos x="connsiteX7090" y="connsiteY7090"/>
                </a:cxn>
                <a:cxn ang="0">
                  <a:pos x="connsiteX7091" y="connsiteY7091"/>
                </a:cxn>
                <a:cxn ang="0">
                  <a:pos x="connsiteX7092" y="connsiteY7092"/>
                </a:cxn>
                <a:cxn ang="0">
                  <a:pos x="connsiteX7093" y="connsiteY7093"/>
                </a:cxn>
                <a:cxn ang="0">
                  <a:pos x="connsiteX7094" y="connsiteY7094"/>
                </a:cxn>
                <a:cxn ang="0">
                  <a:pos x="connsiteX7095" y="connsiteY7095"/>
                </a:cxn>
                <a:cxn ang="0">
                  <a:pos x="connsiteX7096" y="connsiteY7096"/>
                </a:cxn>
                <a:cxn ang="0">
                  <a:pos x="connsiteX7097" y="connsiteY7097"/>
                </a:cxn>
                <a:cxn ang="0">
                  <a:pos x="connsiteX7098" y="connsiteY7098"/>
                </a:cxn>
                <a:cxn ang="0">
                  <a:pos x="connsiteX7099" y="connsiteY7099"/>
                </a:cxn>
                <a:cxn ang="0">
                  <a:pos x="connsiteX7100" y="connsiteY7100"/>
                </a:cxn>
                <a:cxn ang="0">
                  <a:pos x="connsiteX7101" y="connsiteY7101"/>
                </a:cxn>
                <a:cxn ang="0">
                  <a:pos x="connsiteX7102" y="connsiteY7102"/>
                </a:cxn>
                <a:cxn ang="0">
                  <a:pos x="connsiteX7103" y="connsiteY7103"/>
                </a:cxn>
                <a:cxn ang="0">
                  <a:pos x="connsiteX7104" y="connsiteY7104"/>
                </a:cxn>
                <a:cxn ang="0">
                  <a:pos x="connsiteX7105" y="connsiteY7105"/>
                </a:cxn>
                <a:cxn ang="0">
                  <a:pos x="connsiteX7106" y="connsiteY7106"/>
                </a:cxn>
                <a:cxn ang="0">
                  <a:pos x="connsiteX7107" y="connsiteY7107"/>
                </a:cxn>
                <a:cxn ang="0">
                  <a:pos x="connsiteX7108" y="connsiteY7108"/>
                </a:cxn>
                <a:cxn ang="0">
                  <a:pos x="connsiteX7109" y="connsiteY7109"/>
                </a:cxn>
                <a:cxn ang="0">
                  <a:pos x="connsiteX7110" y="connsiteY7110"/>
                </a:cxn>
                <a:cxn ang="0">
                  <a:pos x="connsiteX7111" y="connsiteY7111"/>
                </a:cxn>
                <a:cxn ang="0">
                  <a:pos x="connsiteX7112" y="connsiteY7112"/>
                </a:cxn>
                <a:cxn ang="0">
                  <a:pos x="connsiteX7113" y="connsiteY7113"/>
                </a:cxn>
                <a:cxn ang="0">
                  <a:pos x="connsiteX7114" y="connsiteY7114"/>
                </a:cxn>
                <a:cxn ang="0">
                  <a:pos x="connsiteX7115" y="connsiteY7115"/>
                </a:cxn>
                <a:cxn ang="0">
                  <a:pos x="connsiteX7116" y="connsiteY7116"/>
                </a:cxn>
                <a:cxn ang="0">
                  <a:pos x="connsiteX7117" y="connsiteY7117"/>
                </a:cxn>
                <a:cxn ang="0">
                  <a:pos x="connsiteX7118" y="connsiteY7118"/>
                </a:cxn>
                <a:cxn ang="0">
                  <a:pos x="connsiteX7119" y="connsiteY7119"/>
                </a:cxn>
                <a:cxn ang="0">
                  <a:pos x="connsiteX7120" y="connsiteY7120"/>
                </a:cxn>
                <a:cxn ang="0">
                  <a:pos x="connsiteX7121" y="connsiteY7121"/>
                </a:cxn>
                <a:cxn ang="0">
                  <a:pos x="connsiteX7122" y="connsiteY7122"/>
                </a:cxn>
                <a:cxn ang="0">
                  <a:pos x="connsiteX7123" y="connsiteY7123"/>
                </a:cxn>
                <a:cxn ang="0">
                  <a:pos x="connsiteX7124" y="connsiteY7124"/>
                </a:cxn>
                <a:cxn ang="0">
                  <a:pos x="connsiteX7125" y="connsiteY7125"/>
                </a:cxn>
                <a:cxn ang="0">
                  <a:pos x="connsiteX7126" y="connsiteY7126"/>
                </a:cxn>
                <a:cxn ang="0">
                  <a:pos x="connsiteX7127" y="connsiteY7127"/>
                </a:cxn>
                <a:cxn ang="0">
                  <a:pos x="connsiteX7128" y="connsiteY7128"/>
                </a:cxn>
                <a:cxn ang="0">
                  <a:pos x="connsiteX7129" y="connsiteY7129"/>
                </a:cxn>
                <a:cxn ang="0">
                  <a:pos x="connsiteX7130" y="connsiteY7130"/>
                </a:cxn>
                <a:cxn ang="0">
                  <a:pos x="connsiteX7131" y="connsiteY7131"/>
                </a:cxn>
                <a:cxn ang="0">
                  <a:pos x="connsiteX7132" y="connsiteY7132"/>
                </a:cxn>
                <a:cxn ang="0">
                  <a:pos x="connsiteX7133" y="connsiteY7133"/>
                </a:cxn>
                <a:cxn ang="0">
                  <a:pos x="connsiteX7134" y="connsiteY7134"/>
                </a:cxn>
                <a:cxn ang="0">
                  <a:pos x="connsiteX7135" y="connsiteY7135"/>
                </a:cxn>
                <a:cxn ang="0">
                  <a:pos x="connsiteX7136" y="connsiteY7136"/>
                </a:cxn>
                <a:cxn ang="0">
                  <a:pos x="connsiteX7137" y="connsiteY7137"/>
                </a:cxn>
                <a:cxn ang="0">
                  <a:pos x="connsiteX7138" y="connsiteY7138"/>
                </a:cxn>
                <a:cxn ang="0">
                  <a:pos x="connsiteX7139" y="connsiteY7139"/>
                </a:cxn>
                <a:cxn ang="0">
                  <a:pos x="connsiteX7140" y="connsiteY7140"/>
                </a:cxn>
                <a:cxn ang="0">
                  <a:pos x="connsiteX7141" y="connsiteY7141"/>
                </a:cxn>
                <a:cxn ang="0">
                  <a:pos x="connsiteX7142" y="connsiteY7142"/>
                </a:cxn>
                <a:cxn ang="0">
                  <a:pos x="connsiteX7143" y="connsiteY7143"/>
                </a:cxn>
                <a:cxn ang="0">
                  <a:pos x="connsiteX7144" y="connsiteY7144"/>
                </a:cxn>
                <a:cxn ang="0">
                  <a:pos x="connsiteX7145" y="connsiteY7145"/>
                </a:cxn>
                <a:cxn ang="0">
                  <a:pos x="connsiteX7146" y="connsiteY7146"/>
                </a:cxn>
                <a:cxn ang="0">
                  <a:pos x="connsiteX7147" y="connsiteY7147"/>
                </a:cxn>
                <a:cxn ang="0">
                  <a:pos x="connsiteX7148" y="connsiteY7148"/>
                </a:cxn>
                <a:cxn ang="0">
                  <a:pos x="connsiteX7149" y="connsiteY7149"/>
                </a:cxn>
                <a:cxn ang="0">
                  <a:pos x="connsiteX7150" y="connsiteY7150"/>
                </a:cxn>
                <a:cxn ang="0">
                  <a:pos x="connsiteX7151" y="connsiteY7151"/>
                </a:cxn>
                <a:cxn ang="0">
                  <a:pos x="connsiteX7152" y="connsiteY7152"/>
                </a:cxn>
                <a:cxn ang="0">
                  <a:pos x="connsiteX7153" y="connsiteY7153"/>
                </a:cxn>
                <a:cxn ang="0">
                  <a:pos x="connsiteX7154" y="connsiteY7154"/>
                </a:cxn>
                <a:cxn ang="0">
                  <a:pos x="connsiteX7155" y="connsiteY7155"/>
                </a:cxn>
                <a:cxn ang="0">
                  <a:pos x="connsiteX7156" y="connsiteY7156"/>
                </a:cxn>
                <a:cxn ang="0">
                  <a:pos x="connsiteX7157" y="connsiteY7157"/>
                </a:cxn>
                <a:cxn ang="0">
                  <a:pos x="connsiteX7158" y="connsiteY7158"/>
                </a:cxn>
                <a:cxn ang="0">
                  <a:pos x="connsiteX7159" y="connsiteY7159"/>
                </a:cxn>
                <a:cxn ang="0">
                  <a:pos x="connsiteX7160" y="connsiteY7160"/>
                </a:cxn>
                <a:cxn ang="0">
                  <a:pos x="connsiteX7161" y="connsiteY7161"/>
                </a:cxn>
                <a:cxn ang="0">
                  <a:pos x="connsiteX7162" y="connsiteY7162"/>
                </a:cxn>
                <a:cxn ang="0">
                  <a:pos x="connsiteX7163" y="connsiteY7163"/>
                </a:cxn>
                <a:cxn ang="0">
                  <a:pos x="connsiteX7164" y="connsiteY7164"/>
                </a:cxn>
                <a:cxn ang="0">
                  <a:pos x="connsiteX7165" y="connsiteY7165"/>
                </a:cxn>
                <a:cxn ang="0">
                  <a:pos x="connsiteX7166" y="connsiteY7166"/>
                </a:cxn>
                <a:cxn ang="0">
                  <a:pos x="connsiteX7167" y="connsiteY7167"/>
                </a:cxn>
                <a:cxn ang="0">
                  <a:pos x="connsiteX7168" y="connsiteY7168"/>
                </a:cxn>
                <a:cxn ang="0">
                  <a:pos x="connsiteX7169" y="connsiteY7169"/>
                </a:cxn>
                <a:cxn ang="0">
                  <a:pos x="connsiteX7170" y="connsiteY7170"/>
                </a:cxn>
                <a:cxn ang="0">
                  <a:pos x="connsiteX7171" y="connsiteY7171"/>
                </a:cxn>
                <a:cxn ang="0">
                  <a:pos x="connsiteX7172" y="connsiteY7172"/>
                </a:cxn>
                <a:cxn ang="0">
                  <a:pos x="connsiteX7173" y="connsiteY7173"/>
                </a:cxn>
                <a:cxn ang="0">
                  <a:pos x="connsiteX7174" y="connsiteY7174"/>
                </a:cxn>
                <a:cxn ang="0">
                  <a:pos x="connsiteX7175" y="connsiteY7175"/>
                </a:cxn>
                <a:cxn ang="0">
                  <a:pos x="connsiteX7176" y="connsiteY7176"/>
                </a:cxn>
                <a:cxn ang="0">
                  <a:pos x="connsiteX7177" y="connsiteY7177"/>
                </a:cxn>
                <a:cxn ang="0">
                  <a:pos x="connsiteX7178" y="connsiteY7178"/>
                </a:cxn>
                <a:cxn ang="0">
                  <a:pos x="connsiteX7179" y="connsiteY7179"/>
                </a:cxn>
                <a:cxn ang="0">
                  <a:pos x="connsiteX7180" y="connsiteY7180"/>
                </a:cxn>
                <a:cxn ang="0">
                  <a:pos x="connsiteX7181" y="connsiteY7181"/>
                </a:cxn>
                <a:cxn ang="0">
                  <a:pos x="connsiteX7182" y="connsiteY7182"/>
                </a:cxn>
                <a:cxn ang="0">
                  <a:pos x="connsiteX7183" y="connsiteY7183"/>
                </a:cxn>
                <a:cxn ang="0">
                  <a:pos x="connsiteX7184" y="connsiteY7184"/>
                </a:cxn>
                <a:cxn ang="0">
                  <a:pos x="connsiteX7185" y="connsiteY7185"/>
                </a:cxn>
                <a:cxn ang="0">
                  <a:pos x="connsiteX7186" y="connsiteY7186"/>
                </a:cxn>
                <a:cxn ang="0">
                  <a:pos x="connsiteX7187" y="connsiteY7187"/>
                </a:cxn>
                <a:cxn ang="0">
                  <a:pos x="connsiteX7188" y="connsiteY7188"/>
                </a:cxn>
                <a:cxn ang="0">
                  <a:pos x="connsiteX7189" y="connsiteY7189"/>
                </a:cxn>
                <a:cxn ang="0">
                  <a:pos x="connsiteX7190" y="connsiteY7190"/>
                </a:cxn>
                <a:cxn ang="0">
                  <a:pos x="connsiteX7191" y="connsiteY7191"/>
                </a:cxn>
                <a:cxn ang="0">
                  <a:pos x="connsiteX7192" y="connsiteY7192"/>
                </a:cxn>
                <a:cxn ang="0">
                  <a:pos x="connsiteX7193" y="connsiteY7193"/>
                </a:cxn>
                <a:cxn ang="0">
                  <a:pos x="connsiteX7194" y="connsiteY7194"/>
                </a:cxn>
                <a:cxn ang="0">
                  <a:pos x="connsiteX7195" y="connsiteY7195"/>
                </a:cxn>
                <a:cxn ang="0">
                  <a:pos x="connsiteX7196" y="connsiteY7196"/>
                </a:cxn>
                <a:cxn ang="0">
                  <a:pos x="connsiteX7197" y="connsiteY7197"/>
                </a:cxn>
                <a:cxn ang="0">
                  <a:pos x="connsiteX7198" y="connsiteY7198"/>
                </a:cxn>
                <a:cxn ang="0">
                  <a:pos x="connsiteX7199" y="connsiteY7199"/>
                </a:cxn>
                <a:cxn ang="0">
                  <a:pos x="connsiteX7200" y="connsiteY7200"/>
                </a:cxn>
                <a:cxn ang="0">
                  <a:pos x="connsiteX7201" y="connsiteY7201"/>
                </a:cxn>
                <a:cxn ang="0">
                  <a:pos x="connsiteX7202" y="connsiteY7202"/>
                </a:cxn>
                <a:cxn ang="0">
                  <a:pos x="connsiteX7203" y="connsiteY7203"/>
                </a:cxn>
                <a:cxn ang="0">
                  <a:pos x="connsiteX7204" y="connsiteY7204"/>
                </a:cxn>
                <a:cxn ang="0">
                  <a:pos x="connsiteX7205" y="connsiteY7205"/>
                </a:cxn>
                <a:cxn ang="0">
                  <a:pos x="connsiteX7206" y="connsiteY7206"/>
                </a:cxn>
                <a:cxn ang="0">
                  <a:pos x="connsiteX7207" y="connsiteY7207"/>
                </a:cxn>
                <a:cxn ang="0">
                  <a:pos x="connsiteX7208" y="connsiteY7208"/>
                </a:cxn>
                <a:cxn ang="0">
                  <a:pos x="connsiteX7209" y="connsiteY7209"/>
                </a:cxn>
                <a:cxn ang="0">
                  <a:pos x="connsiteX7210" y="connsiteY7210"/>
                </a:cxn>
                <a:cxn ang="0">
                  <a:pos x="connsiteX7211" y="connsiteY7211"/>
                </a:cxn>
                <a:cxn ang="0">
                  <a:pos x="connsiteX7212" y="connsiteY7212"/>
                </a:cxn>
                <a:cxn ang="0">
                  <a:pos x="connsiteX7213" y="connsiteY7213"/>
                </a:cxn>
                <a:cxn ang="0">
                  <a:pos x="connsiteX7214" y="connsiteY7214"/>
                </a:cxn>
                <a:cxn ang="0">
                  <a:pos x="connsiteX7215" y="connsiteY7215"/>
                </a:cxn>
                <a:cxn ang="0">
                  <a:pos x="connsiteX7216" y="connsiteY7216"/>
                </a:cxn>
                <a:cxn ang="0">
                  <a:pos x="connsiteX7217" y="connsiteY7217"/>
                </a:cxn>
                <a:cxn ang="0">
                  <a:pos x="connsiteX7218" y="connsiteY7218"/>
                </a:cxn>
                <a:cxn ang="0">
                  <a:pos x="connsiteX7219" y="connsiteY7219"/>
                </a:cxn>
                <a:cxn ang="0">
                  <a:pos x="connsiteX7220" y="connsiteY7220"/>
                </a:cxn>
                <a:cxn ang="0">
                  <a:pos x="connsiteX7221" y="connsiteY7221"/>
                </a:cxn>
                <a:cxn ang="0">
                  <a:pos x="connsiteX7222" y="connsiteY7222"/>
                </a:cxn>
                <a:cxn ang="0">
                  <a:pos x="connsiteX7223" y="connsiteY7223"/>
                </a:cxn>
                <a:cxn ang="0">
                  <a:pos x="connsiteX7224" y="connsiteY7224"/>
                </a:cxn>
                <a:cxn ang="0">
                  <a:pos x="connsiteX7225" y="connsiteY7225"/>
                </a:cxn>
                <a:cxn ang="0">
                  <a:pos x="connsiteX7226" y="connsiteY7226"/>
                </a:cxn>
                <a:cxn ang="0">
                  <a:pos x="connsiteX7227" y="connsiteY7227"/>
                </a:cxn>
                <a:cxn ang="0">
                  <a:pos x="connsiteX7228" y="connsiteY7228"/>
                </a:cxn>
                <a:cxn ang="0">
                  <a:pos x="connsiteX7229" y="connsiteY7229"/>
                </a:cxn>
                <a:cxn ang="0">
                  <a:pos x="connsiteX7230" y="connsiteY7230"/>
                </a:cxn>
                <a:cxn ang="0">
                  <a:pos x="connsiteX7231" y="connsiteY7231"/>
                </a:cxn>
                <a:cxn ang="0">
                  <a:pos x="connsiteX7232" y="connsiteY7232"/>
                </a:cxn>
                <a:cxn ang="0">
                  <a:pos x="connsiteX7233" y="connsiteY7233"/>
                </a:cxn>
                <a:cxn ang="0">
                  <a:pos x="connsiteX7234" y="connsiteY7234"/>
                </a:cxn>
                <a:cxn ang="0">
                  <a:pos x="connsiteX7235" y="connsiteY7235"/>
                </a:cxn>
                <a:cxn ang="0">
                  <a:pos x="connsiteX7236" y="connsiteY7236"/>
                </a:cxn>
                <a:cxn ang="0">
                  <a:pos x="connsiteX7237" y="connsiteY7237"/>
                </a:cxn>
                <a:cxn ang="0">
                  <a:pos x="connsiteX7238" y="connsiteY7238"/>
                </a:cxn>
                <a:cxn ang="0">
                  <a:pos x="connsiteX7239" y="connsiteY7239"/>
                </a:cxn>
                <a:cxn ang="0">
                  <a:pos x="connsiteX7240" y="connsiteY7240"/>
                </a:cxn>
                <a:cxn ang="0">
                  <a:pos x="connsiteX7241" y="connsiteY7241"/>
                </a:cxn>
                <a:cxn ang="0">
                  <a:pos x="connsiteX7242" y="connsiteY7242"/>
                </a:cxn>
                <a:cxn ang="0">
                  <a:pos x="connsiteX7243" y="connsiteY7243"/>
                </a:cxn>
                <a:cxn ang="0">
                  <a:pos x="connsiteX7244" y="connsiteY7244"/>
                </a:cxn>
                <a:cxn ang="0">
                  <a:pos x="connsiteX7245" y="connsiteY7245"/>
                </a:cxn>
                <a:cxn ang="0">
                  <a:pos x="connsiteX7246" y="connsiteY7246"/>
                </a:cxn>
                <a:cxn ang="0">
                  <a:pos x="connsiteX7247" y="connsiteY7247"/>
                </a:cxn>
                <a:cxn ang="0">
                  <a:pos x="connsiteX7248" y="connsiteY7248"/>
                </a:cxn>
                <a:cxn ang="0">
                  <a:pos x="connsiteX7249" y="connsiteY7249"/>
                </a:cxn>
                <a:cxn ang="0">
                  <a:pos x="connsiteX7250" y="connsiteY7250"/>
                </a:cxn>
                <a:cxn ang="0">
                  <a:pos x="connsiteX7251" y="connsiteY7251"/>
                </a:cxn>
                <a:cxn ang="0">
                  <a:pos x="connsiteX7252" y="connsiteY7252"/>
                </a:cxn>
                <a:cxn ang="0">
                  <a:pos x="connsiteX7253" y="connsiteY7253"/>
                </a:cxn>
                <a:cxn ang="0">
                  <a:pos x="connsiteX7254" y="connsiteY7254"/>
                </a:cxn>
                <a:cxn ang="0">
                  <a:pos x="connsiteX7255" y="connsiteY7255"/>
                </a:cxn>
                <a:cxn ang="0">
                  <a:pos x="connsiteX7256" y="connsiteY7256"/>
                </a:cxn>
              </a:cxnLst>
              <a:rect l="l" t="t" r="r" b="b"/>
              <a:pathLst>
                <a:path w="3773795" h="1451770">
                  <a:moveTo>
                    <a:pt x="2796832" y="1391858"/>
                  </a:moveTo>
                  <a:lnTo>
                    <a:pt x="2797101" y="1392096"/>
                  </a:lnTo>
                  <a:lnTo>
                    <a:pt x="2796782" y="1392392"/>
                  </a:lnTo>
                  <a:lnTo>
                    <a:pt x="2796419" y="1392600"/>
                  </a:lnTo>
                  <a:lnTo>
                    <a:pt x="2795881" y="1392927"/>
                  </a:lnTo>
                  <a:lnTo>
                    <a:pt x="2795588" y="1392986"/>
                  </a:lnTo>
                  <a:lnTo>
                    <a:pt x="2795493" y="1392630"/>
                  </a:lnTo>
                  <a:lnTo>
                    <a:pt x="2795955" y="1392274"/>
                  </a:lnTo>
                  <a:close/>
                  <a:moveTo>
                    <a:pt x="2792254" y="1391576"/>
                  </a:moveTo>
                  <a:lnTo>
                    <a:pt x="2792564" y="1391710"/>
                  </a:lnTo>
                  <a:lnTo>
                    <a:pt x="2792968" y="1391688"/>
                  </a:lnTo>
                  <a:lnTo>
                    <a:pt x="2793351" y="1391643"/>
                  </a:lnTo>
                  <a:lnTo>
                    <a:pt x="2793571" y="1391955"/>
                  </a:lnTo>
                  <a:lnTo>
                    <a:pt x="2793625" y="1392466"/>
                  </a:lnTo>
                  <a:lnTo>
                    <a:pt x="2793351" y="1392488"/>
                  </a:lnTo>
                  <a:lnTo>
                    <a:pt x="2792822" y="1392577"/>
                  </a:lnTo>
                  <a:lnTo>
                    <a:pt x="2792528" y="1392644"/>
                  </a:lnTo>
                  <a:lnTo>
                    <a:pt x="2792364" y="1392288"/>
                  </a:lnTo>
                  <a:lnTo>
                    <a:pt x="2792254" y="1391999"/>
                  </a:lnTo>
                  <a:lnTo>
                    <a:pt x="2791979" y="1391820"/>
                  </a:lnTo>
                  <a:lnTo>
                    <a:pt x="2791979" y="1391620"/>
                  </a:lnTo>
                  <a:close/>
                  <a:moveTo>
                    <a:pt x="2801731" y="1386394"/>
                  </a:moveTo>
                  <a:lnTo>
                    <a:pt x="2802243" y="1386512"/>
                  </a:lnTo>
                  <a:lnTo>
                    <a:pt x="2802608" y="1386602"/>
                  </a:lnTo>
                  <a:lnTo>
                    <a:pt x="2802807" y="1387108"/>
                  </a:lnTo>
                  <a:lnTo>
                    <a:pt x="2802221" y="1387255"/>
                  </a:lnTo>
                  <a:lnTo>
                    <a:pt x="2801245" y="1387108"/>
                  </a:lnTo>
                  <a:lnTo>
                    <a:pt x="2800928" y="1386988"/>
                  </a:lnTo>
                  <a:lnTo>
                    <a:pt x="2801146" y="1386751"/>
                  </a:lnTo>
                  <a:close/>
                  <a:moveTo>
                    <a:pt x="2813107" y="1380761"/>
                  </a:moveTo>
                  <a:lnTo>
                    <a:pt x="2814422" y="1381609"/>
                  </a:lnTo>
                  <a:lnTo>
                    <a:pt x="2814752" y="1382284"/>
                  </a:lnTo>
                  <a:lnTo>
                    <a:pt x="2810660" y="1383913"/>
                  </a:lnTo>
                  <a:lnTo>
                    <a:pt x="2809976" y="1384654"/>
                  </a:lnTo>
                  <a:lnTo>
                    <a:pt x="2808331" y="1384003"/>
                  </a:lnTo>
                  <a:lnTo>
                    <a:pt x="2808439" y="1382476"/>
                  </a:lnTo>
                  <a:lnTo>
                    <a:pt x="2808626" y="1382045"/>
                  </a:lnTo>
                  <a:close/>
                  <a:moveTo>
                    <a:pt x="2797352" y="1363421"/>
                  </a:moveTo>
                  <a:lnTo>
                    <a:pt x="2799464" y="1363489"/>
                  </a:lnTo>
                  <a:lnTo>
                    <a:pt x="2802744" y="1365475"/>
                  </a:lnTo>
                  <a:lnTo>
                    <a:pt x="2807428" y="1365045"/>
                  </a:lnTo>
                  <a:lnTo>
                    <a:pt x="2806288" y="1366832"/>
                  </a:lnTo>
                  <a:lnTo>
                    <a:pt x="2804526" y="1366804"/>
                  </a:lnTo>
                  <a:lnTo>
                    <a:pt x="2801423" y="1369376"/>
                  </a:lnTo>
                  <a:lnTo>
                    <a:pt x="2798697" y="1369710"/>
                  </a:lnTo>
                  <a:lnTo>
                    <a:pt x="2797356" y="1370326"/>
                  </a:lnTo>
                  <a:lnTo>
                    <a:pt x="2792973" y="1374181"/>
                  </a:lnTo>
                  <a:lnTo>
                    <a:pt x="2792381" y="1375697"/>
                  </a:lnTo>
                  <a:lnTo>
                    <a:pt x="2789721" y="1378593"/>
                  </a:lnTo>
                  <a:lnTo>
                    <a:pt x="2785737" y="1381177"/>
                  </a:lnTo>
                  <a:lnTo>
                    <a:pt x="2785053" y="1386050"/>
                  </a:lnTo>
                  <a:lnTo>
                    <a:pt x="2782474" y="1384095"/>
                  </a:lnTo>
                  <a:lnTo>
                    <a:pt x="2782184" y="1382116"/>
                  </a:lnTo>
                  <a:lnTo>
                    <a:pt x="2782970" y="1380480"/>
                  </a:lnTo>
                  <a:lnTo>
                    <a:pt x="2787494" y="1377014"/>
                  </a:lnTo>
                  <a:lnTo>
                    <a:pt x="2789308" y="1375053"/>
                  </a:lnTo>
                  <a:lnTo>
                    <a:pt x="2789862" y="1373496"/>
                  </a:lnTo>
                  <a:lnTo>
                    <a:pt x="2791599" y="1371761"/>
                  </a:lnTo>
                  <a:lnTo>
                    <a:pt x="2792446" y="1370254"/>
                  </a:lnTo>
                  <a:lnTo>
                    <a:pt x="2793556" y="1369601"/>
                  </a:lnTo>
                  <a:close/>
                  <a:moveTo>
                    <a:pt x="2856182" y="1335366"/>
                  </a:moveTo>
                  <a:lnTo>
                    <a:pt x="2857057" y="1335818"/>
                  </a:lnTo>
                  <a:lnTo>
                    <a:pt x="2857366" y="1336475"/>
                  </a:lnTo>
                  <a:lnTo>
                    <a:pt x="2857349" y="1337304"/>
                  </a:lnTo>
                  <a:lnTo>
                    <a:pt x="2856854" y="1338468"/>
                  </a:lnTo>
                  <a:lnTo>
                    <a:pt x="2857608" y="1339862"/>
                  </a:lnTo>
                  <a:lnTo>
                    <a:pt x="2856582" y="1340924"/>
                  </a:lnTo>
                  <a:lnTo>
                    <a:pt x="2852354" y="1341098"/>
                  </a:lnTo>
                  <a:lnTo>
                    <a:pt x="2848266" y="1343030"/>
                  </a:lnTo>
                  <a:lnTo>
                    <a:pt x="2844898" y="1343861"/>
                  </a:lnTo>
                  <a:lnTo>
                    <a:pt x="2839214" y="1347875"/>
                  </a:lnTo>
                  <a:lnTo>
                    <a:pt x="2837190" y="1350057"/>
                  </a:lnTo>
                  <a:lnTo>
                    <a:pt x="2834323" y="1350925"/>
                  </a:lnTo>
                  <a:lnTo>
                    <a:pt x="2831530" y="1350418"/>
                  </a:lnTo>
                  <a:lnTo>
                    <a:pt x="2830737" y="1351304"/>
                  </a:lnTo>
                  <a:lnTo>
                    <a:pt x="2830464" y="1352892"/>
                  </a:lnTo>
                  <a:lnTo>
                    <a:pt x="2829436" y="1354285"/>
                  </a:lnTo>
                  <a:lnTo>
                    <a:pt x="2823843" y="1358590"/>
                  </a:lnTo>
                  <a:lnTo>
                    <a:pt x="2821572" y="1361968"/>
                  </a:lnTo>
                  <a:lnTo>
                    <a:pt x="2819162" y="1362576"/>
                  </a:lnTo>
                  <a:lnTo>
                    <a:pt x="2814718" y="1366027"/>
                  </a:lnTo>
                  <a:lnTo>
                    <a:pt x="2815515" y="1363070"/>
                  </a:lnTo>
                  <a:lnTo>
                    <a:pt x="2816415" y="1361637"/>
                  </a:lnTo>
                  <a:lnTo>
                    <a:pt x="2820102" y="1358980"/>
                  </a:lnTo>
                  <a:lnTo>
                    <a:pt x="2820408" y="1356176"/>
                  </a:lnTo>
                  <a:lnTo>
                    <a:pt x="2822438" y="1353726"/>
                  </a:lnTo>
                  <a:lnTo>
                    <a:pt x="2826503" y="1351291"/>
                  </a:lnTo>
                  <a:lnTo>
                    <a:pt x="2829320" y="1348087"/>
                  </a:lnTo>
                  <a:lnTo>
                    <a:pt x="2831533" y="1347250"/>
                  </a:lnTo>
                  <a:lnTo>
                    <a:pt x="2833999" y="1344576"/>
                  </a:lnTo>
                  <a:lnTo>
                    <a:pt x="2836566" y="1343620"/>
                  </a:lnTo>
                  <a:lnTo>
                    <a:pt x="2836281" y="1341574"/>
                  </a:lnTo>
                  <a:lnTo>
                    <a:pt x="2837418" y="1339297"/>
                  </a:lnTo>
                  <a:lnTo>
                    <a:pt x="2838314" y="1339450"/>
                  </a:lnTo>
                  <a:lnTo>
                    <a:pt x="2840337" y="1342620"/>
                  </a:lnTo>
                  <a:lnTo>
                    <a:pt x="2841974" y="1342727"/>
                  </a:lnTo>
                  <a:lnTo>
                    <a:pt x="2846267" y="1342064"/>
                  </a:lnTo>
                  <a:lnTo>
                    <a:pt x="2852637" y="1336514"/>
                  </a:lnTo>
                  <a:lnTo>
                    <a:pt x="2854723" y="1335525"/>
                  </a:lnTo>
                  <a:close/>
                  <a:moveTo>
                    <a:pt x="626718" y="1332050"/>
                  </a:moveTo>
                  <a:lnTo>
                    <a:pt x="627601" y="1334608"/>
                  </a:lnTo>
                  <a:lnTo>
                    <a:pt x="627511" y="1336416"/>
                  </a:lnTo>
                  <a:lnTo>
                    <a:pt x="627171" y="1336918"/>
                  </a:lnTo>
                  <a:lnTo>
                    <a:pt x="626124" y="1334388"/>
                  </a:lnTo>
                  <a:lnTo>
                    <a:pt x="626064" y="1332845"/>
                  </a:lnTo>
                  <a:close/>
                  <a:moveTo>
                    <a:pt x="2891031" y="1316421"/>
                  </a:moveTo>
                  <a:lnTo>
                    <a:pt x="2895553" y="1316556"/>
                  </a:lnTo>
                  <a:lnTo>
                    <a:pt x="2888508" y="1321982"/>
                  </a:lnTo>
                  <a:lnTo>
                    <a:pt x="2887634" y="1324165"/>
                  </a:lnTo>
                  <a:lnTo>
                    <a:pt x="2884574" y="1326478"/>
                  </a:lnTo>
                  <a:lnTo>
                    <a:pt x="2882306" y="1327220"/>
                  </a:lnTo>
                  <a:lnTo>
                    <a:pt x="2880743" y="1328303"/>
                  </a:lnTo>
                  <a:lnTo>
                    <a:pt x="2876416" y="1332188"/>
                  </a:lnTo>
                  <a:lnTo>
                    <a:pt x="2873125" y="1333582"/>
                  </a:lnTo>
                  <a:lnTo>
                    <a:pt x="2871095" y="1333527"/>
                  </a:lnTo>
                  <a:lnTo>
                    <a:pt x="2875935" y="1326742"/>
                  </a:lnTo>
                  <a:lnTo>
                    <a:pt x="2878817" y="1325741"/>
                  </a:lnTo>
                  <a:lnTo>
                    <a:pt x="2882488" y="1321716"/>
                  </a:lnTo>
                  <a:lnTo>
                    <a:pt x="2890149" y="1316783"/>
                  </a:lnTo>
                  <a:close/>
                  <a:moveTo>
                    <a:pt x="2932735" y="1290555"/>
                  </a:moveTo>
                  <a:lnTo>
                    <a:pt x="2933933" y="1290589"/>
                  </a:lnTo>
                  <a:lnTo>
                    <a:pt x="2927591" y="1297429"/>
                  </a:lnTo>
                  <a:lnTo>
                    <a:pt x="2923469" y="1300495"/>
                  </a:lnTo>
                  <a:lnTo>
                    <a:pt x="2922109" y="1300461"/>
                  </a:lnTo>
                  <a:lnTo>
                    <a:pt x="2921430" y="1299334"/>
                  </a:lnTo>
                  <a:lnTo>
                    <a:pt x="2921251" y="1298668"/>
                  </a:lnTo>
                  <a:lnTo>
                    <a:pt x="2924546" y="1298214"/>
                  </a:lnTo>
                  <a:lnTo>
                    <a:pt x="2928427" y="1294142"/>
                  </a:lnTo>
                  <a:lnTo>
                    <a:pt x="2931213" y="1291476"/>
                  </a:lnTo>
                  <a:close/>
                  <a:moveTo>
                    <a:pt x="2951409" y="1271890"/>
                  </a:moveTo>
                  <a:lnTo>
                    <a:pt x="2951893" y="1273179"/>
                  </a:lnTo>
                  <a:lnTo>
                    <a:pt x="2950848" y="1274778"/>
                  </a:lnTo>
                  <a:lnTo>
                    <a:pt x="2949749" y="1274571"/>
                  </a:lnTo>
                  <a:lnTo>
                    <a:pt x="2949311" y="1274164"/>
                  </a:lnTo>
                  <a:lnTo>
                    <a:pt x="2950744" y="1272220"/>
                  </a:lnTo>
                  <a:close/>
                  <a:moveTo>
                    <a:pt x="2976171" y="1240837"/>
                  </a:moveTo>
                  <a:lnTo>
                    <a:pt x="2976821" y="1241203"/>
                  </a:lnTo>
                  <a:lnTo>
                    <a:pt x="2976296" y="1242198"/>
                  </a:lnTo>
                  <a:lnTo>
                    <a:pt x="2973567" y="1244103"/>
                  </a:lnTo>
                  <a:lnTo>
                    <a:pt x="2972720" y="1245569"/>
                  </a:lnTo>
                  <a:lnTo>
                    <a:pt x="2971785" y="1245086"/>
                  </a:lnTo>
                  <a:lnTo>
                    <a:pt x="2971599" y="1244609"/>
                  </a:lnTo>
                  <a:lnTo>
                    <a:pt x="2973798" y="1242911"/>
                  </a:lnTo>
                  <a:lnTo>
                    <a:pt x="2974564" y="1240851"/>
                  </a:lnTo>
                  <a:close/>
                  <a:moveTo>
                    <a:pt x="2990011" y="1219598"/>
                  </a:moveTo>
                  <a:lnTo>
                    <a:pt x="2991662" y="1220074"/>
                  </a:lnTo>
                  <a:lnTo>
                    <a:pt x="2991301" y="1221911"/>
                  </a:lnTo>
                  <a:lnTo>
                    <a:pt x="2989511" y="1224729"/>
                  </a:lnTo>
                  <a:lnTo>
                    <a:pt x="2990121" y="1228179"/>
                  </a:lnTo>
                  <a:lnTo>
                    <a:pt x="2989691" y="1229207"/>
                  </a:lnTo>
                  <a:lnTo>
                    <a:pt x="2987577" y="1230476"/>
                  </a:lnTo>
                  <a:lnTo>
                    <a:pt x="2985279" y="1229721"/>
                  </a:lnTo>
                  <a:lnTo>
                    <a:pt x="2985325" y="1227242"/>
                  </a:lnTo>
                  <a:close/>
                  <a:moveTo>
                    <a:pt x="3018137" y="1187045"/>
                  </a:moveTo>
                  <a:lnTo>
                    <a:pt x="3018711" y="1189974"/>
                  </a:lnTo>
                  <a:lnTo>
                    <a:pt x="3018218" y="1193230"/>
                  </a:lnTo>
                  <a:lnTo>
                    <a:pt x="3016976" y="1196352"/>
                  </a:lnTo>
                  <a:lnTo>
                    <a:pt x="3014249" y="1200689"/>
                  </a:lnTo>
                  <a:lnTo>
                    <a:pt x="3011404" y="1203588"/>
                  </a:lnTo>
                  <a:lnTo>
                    <a:pt x="3007316" y="1204306"/>
                  </a:lnTo>
                  <a:lnTo>
                    <a:pt x="3005301" y="1205221"/>
                  </a:lnTo>
                  <a:lnTo>
                    <a:pt x="3003809" y="1207181"/>
                  </a:lnTo>
                  <a:lnTo>
                    <a:pt x="3002665" y="1208236"/>
                  </a:lnTo>
                  <a:lnTo>
                    <a:pt x="3000265" y="1207661"/>
                  </a:lnTo>
                  <a:lnTo>
                    <a:pt x="2999257" y="1206694"/>
                  </a:lnTo>
                  <a:lnTo>
                    <a:pt x="2999257" y="1203277"/>
                  </a:lnTo>
                  <a:lnTo>
                    <a:pt x="2998196" y="1201779"/>
                  </a:lnTo>
                  <a:lnTo>
                    <a:pt x="2998711" y="1200815"/>
                  </a:lnTo>
                  <a:lnTo>
                    <a:pt x="3001108" y="1200947"/>
                  </a:lnTo>
                  <a:lnTo>
                    <a:pt x="3003476" y="1198754"/>
                  </a:lnTo>
                  <a:lnTo>
                    <a:pt x="3008923" y="1197833"/>
                  </a:lnTo>
                  <a:lnTo>
                    <a:pt x="3010969" y="1195462"/>
                  </a:lnTo>
                  <a:lnTo>
                    <a:pt x="3013446" y="1189600"/>
                  </a:lnTo>
                  <a:lnTo>
                    <a:pt x="3016031" y="1187480"/>
                  </a:lnTo>
                  <a:close/>
                  <a:moveTo>
                    <a:pt x="3024319" y="1184415"/>
                  </a:moveTo>
                  <a:lnTo>
                    <a:pt x="3026074" y="1184489"/>
                  </a:lnTo>
                  <a:lnTo>
                    <a:pt x="3026774" y="1184973"/>
                  </a:lnTo>
                  <a:lnTo>
                    <a:pt x="3026677" y="1187647"/>
                  </a:lnTo>
                  <a:lnTo>
                    <a:pt x="3024951" y="1190371"/>
                  </a:lnTo>
                  <a:lnTo>
                    <a:pt x="3024074" y="1191064"/>
                  </a:lnTo>
                  <a:lnTo>
                    <a:pt x="3023198" y="1190911"/>
                  </a:lnTo>
                  <a:lnTo>
                    <a:pt x="3020334" y="1189075"/>
                  </a:lnTo>
                  <a:lnTo>
                    <a:pt x="3019709" y="1188210"/>
                  </a:lnTo>
                  <a:lnTo>
                    <a:pt x="3020706" y="1186671"/>
                  </a:lnTo>
                  <a:close/>
                  <a:moveTo>
                    <a:pt x="3006454" y="1182304"/>
                  </a:moveTo>
                  <a:lnTo>
                    <a:pt x="3008026" y="1183004"/>
                  </a:lnTo>
                  <a:lnTo>
                    <a:pt x="3008335" y="1184903"/>
                  </a:lnTo>
                  <a:lnTo>
                    <a:pt x="3008140" y="1185587"/>
                  </a:lnTo>
                  <a:lnTo>
                    <a:pt x="3006121" y="1185917"/>
                  </a:lnTo>
                  <a:lnTo>
                    <a:pt x="3005221" y="1185138"/>
                  </a:lnTo>
                  <a:lnTo>
                    <a:pt x="3004573" y="1184196"/>
                  </a:lnTo>
                  <a:lnTo>
                    <a:pt x="3004217" y="1182914"/>
                  </a:lnTo>
                  <a:close/>
                  <a:moveTo>
                    <a:pt x="2721743" y="1078452"/>
                  </a:moveTo>
                  <a:lnTo>
                    <a:pt x="2723252" y="1079128"/>
                  </a:lnTo>
                  <a:lnTo>
                    <a:pt x="2728010" y="1086829"/>
                  </a:lnTo>
                  <a:lnTo>
                    <a:pt x="2728226" y="1088508"/>
                  </a:lnTo>
                  <a:lnTo>
                    <a:pt x="2727809" y="1090235"/>
                  </a:lnTo>
                  <a:lnTo>
                    <a:pt x="2726913" y="1092455"/>
                  </a:lnTo>
                  <a:lnTo>
                    <a:pt x="2726578" y="1094796"/>
                  </a:lnTo>
                  <a:lnTo>
                    <a:pt x="2727131" y="1096837"/>
                  </a:lnTo>
                  <a:lnTo>
                    <a:pt x="2726723" y="1097342"/>
                  </a:lnTo>
                  <a:lnTo>
                    <a:pt x="2730649" y="1106568"/>
                  </a:lnTo>
                  <a:lnTo>
                    <a:pt x="2733482" y="1112365"/>
                  </a:lnTo>
                  <a:lnTo>
                    <a:pt x="2734285" y="1114731"/>
                  </a:lnTo>
                  <a:lnTo>
                    <a:pt x="2734903" y="1117219"/>
                  </a:lnTo>
                  <a:lnTo>
                    <a:pt x="2735717" y="1122351"/>
                  </a:lnTo>
                  <a:lnTo>
                    <a:pt x="2735892" y="1130211"/>
                  </a:lnTo>
                  <a:lnTo>
                    <a:pt x="2735693" y="1132789"/>
                  </a:lnTo>
                  <a:lnTo>
                    <a:pt x="2735063" y="1135303"/>
                  </a:lnTo>
                  <a:lnTo>
                    <a:pt x="2734380" y="1136806"/>
                  </a:lnTo>
                  <a:lnTo>
                    <a:pt x="2732981" y="1137869"/>
                  </a:lnTo>
                  <a:lnTo>
                    <a:pt x="2732346" y="1140649"/>
                  </a:lnTo>
                  <a:lnTo>
                    <a:pt x="2731977" y="1148524"/>
                  </a:lnTo>
                  <a:lnTo>
                    <a:pt x="2732752" y="1152643"/>
                  </a:lnTo>
                  <a:lnTo>
                    <a:pt x="2734077" y="1155495"/>
                  </a:lnTo>
                  <a:lnTo>
                    <a:pt x="2735054" y="1158550"/>
                  </a:lnTo>
                  <a:lnTo>
                    <a:pt x="2735159" y="1161848"/>
                  </a:lnTo>
                  <a:lnTo>
                    <a:pt x="2735624" y="1163293"/>
                  </a:lnTo>
                  <a:lnTo>
                    <a:pt x="2737775" y="1165135"/>
                  </a:lnTo>
                  <a:lnTo>
                    <a:pt x="2738608" y="1166579"/>
                  </a:lnTo>
                  <a:lnTo>
                    <a:pt x="2738872" y="1168622"/>
                  </a:lnTo>
                  <a:lnTo>
                    <a:pt x="2738995" y="1171635"/>
                  </a:lnTo>
                  <a:lnTo>
                    <a:pt x="2739344" y="1172284"/>
                  </a:lnTo>
                  <a:lnTo>
                    <a:pt x="2740349" y="1173186"/>
                  </a:lnTo>
                  <a:lnTo>
                    <a:pt x="2744812" y="1194757"/>
                  </a:lnTo>
                  <a:lnTo>
                    <a:pt x="2746580" y="1201256"/>
                  </a:lnTo>
                  <a:lnTo>
                    <a:pt x="2751709" y="1212435"/>
                  </a:lnTo>
                  <a:lnTo>
                    <a:pt x="2753774" y="1219179"/>
                  </a:lnTo>
                  <a:lnTo>
                    <a:pt x="2755063" y="1222390"/>
                  </a:lnTo>
                  <a:lnTo>
                    <a:pt x="2755955" y="1225768"/>
                  </a:lnTo>
                  <a:lnTo>
                    <a:pt x="2756665" y="1229227"/>
                  </a:lnTo>
                  <a:lnTo>
                    <a:pt x="2758194" y="1232969"/>
                  </a:lnTo>
                  <a:lnTo>
                    <a:pt x="2760195" y="1236668"/>
                  </a:lnTo>
                  <a:lnTo>
                    <a:pt x="2764068" y="1239956"/>
                  </a:lnTo>
                  <a:lnTo>
                    <a:pt x="2765808" y="1241797"/>
                  </a:lnTo>
                  <a:lnTo>
                    <a:pt x="2766274" y="1243270"/>
                  </a:lnTo>
                  <a:lnTo>
                    <a:pt x="2766432" y="1248369"/>
                  </a:lnTo>
                  <a:lnTo>
                    <a:pt x="2765523" y="1247281"/>
                  </a:lnTo>
                  <a:lnTo>
                    <a:pt x="2764381" y="1243404"/>
                  </a:lnTo>
                  <a:lnTo>
                    <a:pt x="2762508" y="1241161"/>
                  </a:lnTo>
                  <a:lnTo>
                    <a:pt x="2759755" y="1238514"/>
                  </a:lnTo>
                  <a:lnTo>
                    <a:pt x="2756924" y="1236134"/>
                  </a:lnTo>
                  <a:lnTo>
                    <a:pt x="2753423" y="1232168"/>
                  </a:lnTo>
                  <a:lnTo>
                    <a:pt x="2751727" y="1231006"/>
                  </a:lnTo>
                  <a:lnTo>
                    <a:pt x="2749936" y="1230229"/>
                  </a:lnTo>
                  <a:lnTo>
                    <a:pt x="2746649" y="1229305"/>
                  </a:lnTo>
                  <a:lnTo>
                    <a:pt x="2744730" y="1229207"/>
                  </a:lnTo>
                  <a:lnTo>
                    <a:pt x="2736989" y="1229818"/>
                  </a:lnTo>
                  <a:lnTo>
                    <a:pt x="2733763" y="1230615"/>
                  </a:lnTo>
                  <a:lnTo>
                    <a:pt x="2730858" y="1232446"/>
                  </a:lnTo>
                  <a:lnTo>
                    <a:pt x="2729130" y="1235116"/>
                  </a:lnTo>
                  <a:lnTo>
                    <a:pt x="2727910" y="1240471"/>
                  </a:lnTo>
                  <a:lnTo>
                    <a:pt x="2720819" y="1259524"/>
                  </a:lnTo>
                  <a:lnTo>
                    <a:pt x="2719122" y="1264462"/>
                  </a:lnTo>
                  <a:lnTo>
                    <a:pt x="2718495" y="1269744"/>
                  </a:lnTo>
                  <a:lnTo>
                    <a:pt x="2718740" y="1273884"/>
                  </a:lnTo>
                  <a:lnTo>
                    <a:pt x="2719228" y="1275400"/>
                  </a:lnTo>
                  <a:lnTo>
                    <a:pt x="2721242" y="1279532"/>
                  </a:lnTo>
                  <a:lnTo>
                    <a:pt x="2722907" y="1281904"/>
                  </a:lnTo>
                  <a:lnTo>
                    <a:pt x="2724131" y="1282919"/>
                  </a:lnTo>
                  <a:lnTo>
                    <a:pt x="2725529" y="1283603"/>
                  </a:lnTo>
                  <a:lnTo>
                    <a:pt x="2726447" y="1284441"/>
                  </a:lnTo>
                  <a:lnTo>
                    <a:pt x="2727217" y="1285537"/>
                  </a:lnTo>
                  <a:lnTo>
                    <a:pt x="2728660" y="1288337"/>
                  </a:lnTo>
                  <a:lnTo>
                    <a:pt x="2730511" y="1294538"/>
                  </a:lnTo>
                  <a:lnTo>
                    <a:pt x="2732471" y="1298909"/>
                  </a:lnTo>
                  <a:lnTo>
                    <a:pt x="2733350" y="1300279"/>
                  </a:lnTo>
                  <a:lnTo>
                    <a:pt x="2735583" y="1299931"/>
                  </a:lnTo>
                  <a:lnTo>
                    <a:pt x="2737036" y="1299978"/>
                  </a:lnTo>
                  <a:lnTo>
                    <a:pt x="2738427" y="1300359"/>
                  </a:lnTo>
                  <a:lnTo>
                    <a:pt x="2739275" y="1301471"/>
                  </a:lnTo>
                  <a:lnTo>
                    <a:pt x="2740485" y="1306392"/>
                  </a:lnTo>
                  <a:lnTo>
                    <a:pt x="2741333" y="1311084"/>
                  </a:lnTo>
                  <a:lnTo>
                    <a:pt x="2741376" y="1312342"/>
                  </a:lnTo>
                  <a:lnTo>
                    <a:pt x="2739782" y="1315958"/>
                  </a:lnTo>
                  <a:lnTo>
                    <a:pt x="2739386" y="1317495"/>
                  </a:lnTo>
                  <a:lnTo>
                    <a:pt x="2739202" y="1319121"/>
                  </a:lnTo>
                  <a:lnTo>
                    <a:pt x="2738785" y="1320402"/>
                  </a:lnTo>
                  <a:lnTo>
                    <a:pt x="2738081" y="1321530"/>
                  </a:lnTo>
                  <a:lnTo>
                    <a:pt x="2737794" y="1316183"/>
                  </a:lnTo>
                  <a:lnTo>
                    <a:pt x="2736725" y="1312403"/>
                  </a:lnTo>
                  <a:lnTo>
                    <a:pt x="2736324" y="1309138"/>
                  </a:lnTo>
                  <a:lnTo>
                    <a:pt x="2734780" y="1306840"/>
                  </a:lnTo>
                  <a:lnTo>
                    <a:pt x="2729595" y="1305905"/>
                  </a:lnTo>
                  <a:lnTo>
                    <a:pt x="2724762" y="1305554"/>
                  </a:lnTo>
                  <a:lnTo>
                    <a:pt x="2724015" y="1305138"/>
                  </a:lnTo>
                  <a:lnTo>
                    <a:pt x="2722950" y="1303736"/>
                  </a:lnTo>
                  <a:lnTo>
                    <a:pt x="2721724" y="1302618"/>
                  </a:lnTo>
                  <a:lnTo>
                    <a:pt x="2720482" y="1302469"/>
                  </a:lnTo>
                  <a:lnTo>
                    <a:pt x="2719206" y="1302898"/>
                  </a:lnTo>
                  <a:lnTo>
                    <a:pt x="2717012" y="1304470"/>
                  </a:lnTo>
                  <a:lnTo>
                    <a:pt x="2715413" y="1306959"/>
                  </a:lnTo>
                  <a:lnTo>
                    <a:pt x="2714164" y="1309624"/>
                  </a:lnTo>
                  <a:lnTo>
                    <a:pt x="2713147" y="1312429"/>
                  </a:lnTo>
                  <a:lnTo>
                    <a:pt x="2711037" y="1319866"/>
                  </a:lnTo>
                  <a:lnTo>
                    <a:pt x="2709735" y="1322342"/>
                  </a:lnTo>
                  <a:lnTo>
                    <a:pt x="2708130" y="1324611"/>
                  </a:lnTo>
                  <a:lnTo>
                    <a:pt x="2706770" y="1323381"/>
                  </a:lnTo>
                  <a:lnTo>
                    <a:pt x="2705576" y="1321949"/>
                  </a:lnTo>
                  <a:lnTo>
                    <a:pt x="2704876" y="1319883"/>
                  </a:lnTo>
                  <a:lnTo>
                    <a:pt x="2704574" y="1317602"/>
                  </a:lnTo>
                  <a:lnTo>
                    <a:pt x="2702674" y="1309836"/>
                  </a:lnTo>
                  <a:lnTo>
                    <a:pt x="2703473" y="1303081"/>
                  </a:lnTo>
                  <a:lnTo>
                    <a:pt x="2706668" y="1293714"/>
                  </a:lnTo>
                  <a:lnTo>
                    <a:pt x="2707280" y="1290642"/>
                  </a:lnTo>
                  <a:lnTo>
                    <a:pt x="2706798" y="1287723"/>
                  </a:lnTo>
                  <a:lnTo>
                    <a:pt x="2706075" y="1284838"/>
                  </a:lnTo>
                  <a:lnTo>
                    <a:pt x="2705595" y="1279339"/>
                  </a:lnTo>
                  <a:lnTo>
                    <a:pt x="2705630" y="1278113"/>
                  </a:lnTo>
                  <a:lnTo>
                    <a:pt x="2706770" y="1274932"/>
                  </a:lnTo>
                  <a:lnTo>
                    <a:pt x="2708105" y="1271901"/>
                  </a:lnTo>
                  <a:lnTo>
                    <a:pt x="2709724" y="1269259"/>
                  </a:lnTo>
                  <a:lnTo>
                    <a:pt x="2710443" y="1266122"/>
                  </a:lnTo>
                  <a:lnTo>
                    <a:pt x="2709418" y="1258301"/>
                  </a:lnTo>
                  <a:lnTo>
                    <a:pt x="2707060" y="1253002"/>
                  </a:lnTo>
                  <a:lnTo>
                    <a:pt x="2704153" y="1247959"/>
                  </a:lnTo>
                  <a:lnTo>
                    <a:pt x="2703617" y="1246616"/>
                  </a:lnTo>
                  <a:lnTo>
                    <a:pt x="2703468" y="1245246"/>
                  </a:lnTo>
                  <a:lnTo>
                    <a:pt x="2705973" y="1238920"/>
                  </a:lnTo>
                  <a:lnTo>
                    <a:pt x="2706870" y="1235886"/>
                  </a:lnTo>
                  <a:lnTo>
                    <a:pt x="2707895" y="1229206"/>
                  </a:lnTo>
                  <a:lnTo>
                    <a:pt x="2708828" y="1225549"/>
                  </a:lnTo>
                  <a:lnTo>
                    <a:pt x="2709571" y="1221833"/>
                  </a:lnTo>
                  <a:lnTo>
                    <a:pt x="2709811" y="1203163"/>
                  </a:lnTo>
                  <a:lnTo>
                    <a:pt x="2709588" y="1200402"/>
                  </a:lnTo>
                  <a:lnTo>
                    <a:pt x="2707997" y="1194517"/>
                  </a:lnTo>
                  <a:lnTo>
                    <a:pt x="2707884" y="1191161"/>
                  </a:lnTo>
                  <a:lnTo>
                    <a:pt x="2708647" y="1186911"/>
                  </a:lnTo>
                  <a:lnTo>
                    <a:pt x="2709681" y="1183596"/>
                  </a:lnTo>
                  <a:lnTo>
                    <a:pt x="2711022" y="1180435"/>
                  </a:lnTo>
                  <a:lnTo>
                    <a:pt x="2710996" y="1173881"/>
                  </a:lnTo>
                  <a:lnTo>
                    <a:pt x="2708431" y="1167815"/>
                  </a:lnTo>
                  <a:lnTo>
                    <a:pt x="2706557" y="1165138"/>
                  </a:lnTo>
                  <a:lnTo>
                    <a:pt x="2703616" y="1161917"/>
                  </a:lnTo>
                  <a:lnTo>
                    <a:pt x="2701381" y="1160145"/>
                  </a:lnTo>
                  <a:lnTo>
                    <a:pt x="2700286" y="1158786"/>
                  </a:lnTo>
                  <a:lnTo>
                    <a:pt x="2701381" y="1158330"/>
                  </a:lnTo>
                  <a:lnTo>
                    <a:pt x="2702182" y="1157227"/>
                  </a:lnTo>
                  <a:lnTo>
                    <a:pt x="2700255" y="1155528"/>
                  </a:lnTo>
                  <a:lnTo>
                    <a:pt x="2699093" y="1152972"/>
                  </a:lnTo>
                  <a:lnTo>
                    <a:pt x="2698925" y="1142917"/>
                  </a:lnTo>
                  <a:lnTo>
                    <a:pt x="2699403" y="1140359"/>
                  </a:lnTo>
                  <a:lnTo>
                    <a:pt x="2700843" y="1137514"/>
                  </a:lnTo>
                  <a:lnTo>
                    <a:pt x="2702075" y="1134515"/>
                  </a:lnTo>
                  <a:lnTo>
                    <a:pt x="2703230" y="1127422"/>
                  </a:lnTo>
                  <a:lnTo>
                    <a:pt x="2703630" y="1120081"/>
                  </a:lnTo>
                  <a:lnTo>
                    <a:pt x="2702861" y="1117096"/>
                  </a:lnTo>
                  <a:lnTo>
                    <a:pt x="2702523" y="1111058"/>
                  </a:lnTo>
                  <a:lnTo>
                    <a:pt x="2703162" y="1109556"/>
                  </a:lnTo>
                  <a:lnTo>
                    <a:pt x="2705639" y="1107540"/>
                  </a:lnTo>
                  <a:lnTo>
                    <a:pt x="2709565" y="1106359"/>
                  </a:lnTo>
                  <a:lnTo>
                    <a:pt x="2710402" y="1106708"/>
                  </a:lnTo>
                  <a:lnTo>
                    <a:pt x="2713477" y="1109074"/>
                  </a:lnTo>
                  <a:lnTo>
                    <a:pt x="2714617" y="1109162"/>
                  </a:lnTo>
                  <a:lnTo>
                    <a:pt x="2715801" y="1108915"/>
                  </a:lnTo>
                  <a:lnTo>
                    <a:pt x="2718060" y="1107809"/>
                  </a:lnTo>
                  <a:lnTo>
                    <a:pt x="2719327" y="1105118"/>
                  </a:lnTo>
                  <a:lnTo>
                    <a:pt x="2717684" y="1103585"/>
                  </a:lnTo>
                  <a:lnTo>
                    <a:pt x="2718643" y="1101622"/>
                  </a:lnTo>
                  <a:lnTo>
                    <a:pt x="2721452" y="1100966"/>
                  </a:lnTo>
                  <a:lnTo>
                    <a:pt x="2721657" y="1099279"/>
                  </a:lnTo>
                  <a:lnTo>
                    <a:pt x="2720640" y="1099080"/>
                  </a:lnTo>
                  <a:lnTo>
                    <a:pt x="2721528" y="1096683"/>
                  </a:lnTo>
                  <a:lnTo>
                    <a:pt x="2722035" y="1094271"/>
                  </a:lnTo>
                  <a:lnTo>
                    <a:pt x="2721244" y="1092067"/>
                  </a:lnTo>
                  <a:lnTo>
                    <a:pt x="2716742" y="1086599"/>
                  </a:lnTo>
                  <a:lnTo>
                    <a:pt x="2713831" y="1082578"/>
                  </a:lnTo>
                  <a:lnTo>
                    <a:pt x="2718623" y="1082632"/>
                  </a:lnTo>
                  <a:lnTo>
                    <a:pt x="2720038" y="1081881"/>
                  </a:lnTo>
                  <a:lnTo>
                    <a:pt x="2721156" y="1080218"/>
                  </a:lnTo>
                  <a:close/>
                  <a:moveTo>
                    <a:pt x="3270542" y="1064968"/>
                  </a:moveTo>
                  <a:lnTo>
                    <a:pt x="3272329" y="1066783"/>
                  </a:lnTo>
                  <a:lnTo>
                    <a:pt x="3274941" y="1067628"/>
                  </a:lnTo>
                  <a:lnTo>
                    <a:pt x="3278744" y="1070069"/>
                  </a:lnTo>
                  <a:lnTo>
                    <a:pt x="3282204" y="1073907"/>
                  </a:lnTo>
                  <a:lnTo>
                    <a:pt x="3283138" y="1075503"/>
                  </a:lnTo>
                  <a:lnTo>
                    <a:pt x="3274205" y="1069849"/>
                  </a:lnTo>
                  <a:lnTo>
                    <a:pt x="3270020" y="1066868"/>
                  </a:lnTo>
                  <a:lnTo>
                    <a:pt x="3268990" y="1065001"/>
                  </a:lnTo>
                  <a:close/>
                  <a:moveTo>
                    <a:pt x="2599314" y="1057258"/>
                  </a:moveTo>
                  <a:lnTo>
                    <a:pt x="2599814" y="1057484"/>
                  </a:lnTo>
                  <a:lnTo>
                    <a:pt x="2597086" y="1062824"/>
                  </a:lnTo>
                  <a:lnTo>
                    <a:pt x="2595188" y="1062910"/>
                  </a:lnTo>
                  <a:lnTo>
                    <a:pt x="2593714" y="1061783"/>
                  </a:lnTo>
                  <a:lnTo>
                    <a:pt x="2590671" y="1062232"/>
                  </a:lnTo>
                  <a:lnTo>
                    <a:pt x="2589554" y="1061921"/>
                  </a:lnTo>
                  <a:lnTo>
                    <a:pt x="2591338" y="1060286"/>
                  </a:lnTo>
                  <a:lnTo>
                    <a:pt x="2595769" y="1057722"/>
                  </a:lnTo>
                  <a:lnTo>
                    <a:pt x="2597579" y="1057752"/>
                  </a:lnTo>
                  <a:close/>
                  <a:moveTo>
                    <a:pt x="2608631" y="1054510"/>
                  </a:moveTo>
                  <a:lnTo>
                    <a:pt x="2615996" y="1057188"/>
                  </a:lnTo>
                  <a:lnTo>
                    <a:pt x="2616661" y="1057725"/>
                  </a:lnTo>
                  <a:lnTo>
                    <a:pt x="2618667" y="1058934"/>
                  </a:lnTo>
                  <a:lnTo>
                    <a:pt x="2621781" y="1058727"/>
                  </a:lnTo>
                  <a:lnTo>
                    <a:pt x="2622535" y="1059543"/>
                  </a:lnTo>
                  <a:lnTo>
                    <a:pt x="2620110" y="1060853"/>
                  </a:lnTo>
                  <a:lnTo>
                    <a:pt x="2618343" y="1063619"/>
                  </a:lnTo>
                  <a:lnTo>
                    <a:pt x="2617782" y="1066079"/>
                  </a:lnTo>
                  <a:lnTo>
                    <a:pt x="2617080" y="1067051"/>
                  </a:lnTo>
                  <a:lnTo>
                    <a:pt x="2615104" y="1068260"/>
                  </a:lnTo>
                  <a:lnTo>
                    <a:pt x="2613338" y="1069872"/>
                  </a:lnTo>
                  <a:lnTo>
                    <a:pt x="2611817" y="1070903"/>
                  </a:lnTo>
                  <a:lnTo>
                    <a:pt x="2610483" y="1071207"/>
                  </a:lnTo>
                  <a:lnTo>
                    <a:pt x="2607486" y="1065922"/>
                  </a:lnTo>
                  <a:lnTo>
                    <a:pt x="2606095" y="1064463"/>
                  </a:lnTo>
                  <a:lnTo>
                    <a:pt x="2601969" y="1066947"/>
                  </a:lnTo>
                  <a:lnTo>
                    <a:pt x="2601014" y="1067003"/>
                  </a:lnTo>
                  <a:lnTo>
                    <a:pt x="2601949" y="1063922"/>
                  </a:lnTo>
                  <a:lnTo>
                    <a:pt x="2604364" y="1060553"/>
                  </a:lnTo>
                  <a:lnTo>
                    <a:pt x="2605495" y="1060082"/>
                  </a:lnTo>
                  <a:lnTo>
                    <a:pt x="2607886" y="1055555"/>
                  </a:lnTo>
                  <a:close/>
                  <a:moveTo>
                    <a:pt x="28644" y="1051745"/>
                  </a:moveTo>
                  <a:lnTo>
                    <a:pt x="29927" y="1051984"/>
                  </a:lnTo>
                  <a:lnTo>
                    <a:pt x="27750" y="1054922"/>
                  </a:lnTo>
                  <a:lnTo>
                    <a:pt x="21900" y="1061116"/>
                  </a:lnTo>
                  <a:lnTo>
                    <a:pt x="23733" y="1061937"/>
                  </a:lnTo>
                  <a:lnTo>
                    <a:pt x="25862" y="1062202"/>
                  </a:lnTo>
                  <a:lnTo>
                    <a:pt x="28372" y="1063355"/>
                  </a:lnTo>
                  <a:lnTo>
                    <a:pt x="30769" y="1063563"/>
                  </a:lnTo>
                  <a:lnTo>
                    <a:pt x="35036" y="1062565"/>
                  </a:lnTo>
                  <a:lnTo>
                    <a:pt x="35787" y="1057259"/>
                  </a:lnTo>
                  <a:lnTo>
                    <a:pt x="36072" y="1052441"/>
                  </a:lnTo>
                  <a:lnTo>
                    <a:pt x="37439" y="1052430"/>
                  </a:lnTo>
                  <a:lnTo>
                    <a:pt x="39467" y="1052089"/>
                  </a:lnTo>
                  <a:lnTo>
                    <a:pt x="40745" y="1053356"/>
                  </a:lnTo>
                  <a:lnTo>
                    <a:pt x="43125" y="1054562"/>
                  </a:lnTo>
                  <a:lnTo>
                    <a:pt x="45955" y="1055640"/>
                  </a:lnTo>
                  <a:lnTo>
                    <a:pt x="50184" y="1057476"/>
                  </a:lnTo>
                  <a:lnTo>
                    <a:pt x="54572" y="1058616"/>
                  </a:lnTo>
                  <a:lnTo>
                    <a:pt x="56020" y="1058748"/>
                  </a:lnTo>
                  <a:lnTo>
                    <a:pt x="60631" y="1058598"/>
                  </a:lnTo>
                  <a:lnTo>
                    <a:pt x="65515" y="1058756"/>
                  </a:lnTo>
                  <a:lnTo>
                    <a:pt x="66846" y="1061475"/>
                  </a:lnTo>
                  <a:lnTo>
                    <a:pt x="69257" y="1062760"/>
                  </a:lnTo>
                  <a:lnTo>
                    <a:pt x="71207" y="1064527"/>
                  </a:lnTo>
                  <a:lnTo>
                    <a:pt x="71352" y="1065534"/>
                  </a:lnTo>
                  <a:lnTo>
                    <a:pt x="68664" y="1071839"/>
                  </a:lnTo>
                  <a:lnTo>
                    <a:pt x="68107" y="1073970"/>
                  </a:lnTo>
                  <a:lnTo>
                    <a:pt x="68005" y="1076105"/>
                  </a:lnTo>
                  <a:lnTo>
                    <a:pt x="68988" y="1078772"/>
                  </a:lnTo>
                  <a:lnTo>
                    <a:pt x="69914" y="1080261"/>
                  </a:lnTo>
                  <a:lnTo>
                    <a:pt x="69154" y="1080465"/>
                  </a:lnTo>
                  <a:lnTo>
                    <a:pt x="56696" y="1080167"/>
                  </a:lnTo>
                  <a:lnTo>
                    <a:pt x="44883" y="1079661"/>
                  </a:lnTo>
                  <a:lnTo>
                    <a:pt x="33967" y="1079194"/>
                  </a:lnTo>
                  <a:lnTo>
                    <a:pt x="23446" y="1078741"/>
                  </a:lnTo>
                  <a:lnTo>
                    <a:pt x="13351" y="1078311"/>
                  </a:lnTo>
                  <a:lnTo>
                    <a:pt x="7074" y="1077907"/>
                  </a:lnTo>
                  <a:lnTo>
                    <a:pt x="881" y="1077508"/>
                  </a:lnTo>
                  <a:lnTo>
                    <a:pt x="0" y="1077139"/>
                  </a:lnTo>
                  <a:lnTo>
                    <a:pt x="3407" y="1074523"/>
                  </a:lnTo>
                  <a:lnTo>
                    <a:pt x="5627" y="1071802"/>
                  </a:lnTo>
                  <a:lnTo>
                    <a:pt x="7512" y="1068246"/>
                  </a:lnTo>
                  <a:lnTo>
                    <a:pt x="7713" y="1065780"/>
                  </a:lnTo>
                  <a:lnTo>
                    <a:pt x="8184" y="1062995"/>
                  </a:lnTo>
                  <a:lnTo>
                    <a:pt x="11127" y="1061911"/>
                  </a:lnTo>
                  <a:lnTo>
                    <a:pt x="17519" y="1062072"/>
                  </a:lnTo>
                  <a:lnTo>
                    <a:pt x="20252" y="1060732"/>
                  </a:lnTo>
                  <a:lnTo>
                    <a:pt x="23759" y="1057417"/>
                  </a:lnTo>
                  <a:lnTo>
                    <a:pt x="27448" y="1053430"/>
                  </a:lnTo>
                  <a:close/>
                  <a:moveTo>
                    <a:pt x="3235595" y="1049745"/>
                  </a:moveTo>
                  <a:lnTo>
                    <a:pt x="3241801" y="1050593"/>
                  </a:lnTo>
                  <a:lnTo>
                    <a:pt x="3243214" y="1050964"/>
                  </a:lnTo>
                  <a:lnTo>
                    <a:pt x="3242201" y="1053113"/>
                  </a:lnTo>
                  <a:lnTo>
                    <a:pt x="3242601" y="1055483"/>
                  </a:lnTo>
                  <a:lnTo>
                    <a:pt x="3246055" y="1060401"/>
                  </a:lnTo>
                  <a:lnTo>
                    <a:pt x="3247718" y="1062113"/>
                  </a:lnTo>
                  <a:lnTo>
                    <a:pt x="3249882" y="1063409"/>
                  </a:lnTo>
                  <a:lnTo>
                    <a:pt x="3251495" y="1065516"/>
                  </a:lnTo>
                  <a:lnTo>
                    <a:pt x="3251380" y="1069958"/>
                  </a:lnTo>
                  <a:lnTo>
                    <a:pt x="3248642" y="1067706"/>
                  </a:lnTo>
                  <a:lnTo>
                    <a:pt x="3247368" y="1065890"/>
                  </a:lnTo>
                  <a:lnTo>
                    <a:pt x="3245556" y="1065546"/>
                  </a:lnTo>
                  <a:lnTo>
                    <a:pt x="3244297" y="1064734"/>
                  </a:lnTo>
                  <a:lnTo>
                    <a:pt x="3242199" y="1062525"/>
                  </a:lnTo>
                  <a:lnTo>
                    <a:pt x="3239763" y="1059640"/>
                  </a:lnTo>
                  <a:lnTo>
                    <a:pt x="3238936" y="1058219"/>
                  </a:lnTo>
                  <a:lnTo>
                    <a:pt x="3238581" y="1056399"/>
                  </a:lnTo>
                  <a:lnTo>
                    <a:pt x="3236937" y="1054711"/>
                  </a:lnTo>
                  <a:lnTo>
                    <a:pt x="3231611" y="1051502"/>
                  </a:lnTo>
                  <a:lnTo>
                    <a:pt x="3233367" y="1051119"/>
                  </a:lnTo>
                  <a:close/>
                  <a:moveTo>
                    <a:pt x="2898053" y="928889"/>
                  </a:moveTo>
                  <a:lnTo>
                    <a:pt x="2899080" y="930119"/>
                  </a:lnTo>
                  <a:lnTo>
                    <a:pt x="2899414" y="931007"/>
                  </a:lnTo>
                  <a:lnTo>
                    <a:pt x="2896367" y="933497"/>
                  </a:lnTo>
                  <a:lnTo>
                    <a:pt x="2894624" y="933866"/>
                  </a:lnTo>
                  <a:lnTo>
                    <a:pt x="2893754" y="932976"/>
                  </a:lnTo>
                  <a:lnTo>
                    <a:pt x="2893719" y="932348"/>
                  </a:lnTo>
                  <a:lnTo>
                    <a:pt x="2896422" y="930941"/>
                  </a:lnTo>
                  <a:close/>
                  <a:moveTo>
                    <a:pt x="3204332" y="926715"/>
                  </a:moveTo>
                  <a:lnTo>
                    <a:pt x="3205554" y="926899"/>
                  </a:lnTo>
                  <a:lnTo>
                    <a:pt x="3206807" y="930453"/>
                  </a:lnTo>
                  <a:lnTo>
                    <a:pt x="3207521" y="935059"/>
                  </a:lnTo>
                  <a:lnTo>
                    <a:pt x="3206506" y="937828"/>
                  </a:lnTo>
                  <a:lnTo>
                    <a:pt x="3199056" y="939371"/>
                  </a:lnTo>
                  <a:lnTo>
                    <a:pt x="3192008" y="942431"/>
                  </a:lnTo>
                  <a:lnTo>
                    <a:pt x="3184823" y="946977"/>
                  </a:lnTo>
                  <a:lnTo>
                    <a:pt x="3181202" y="950016"/>
                  </a:lnTo>
                  <a:lnTo>
                    <a:pt x="3180669" y="949522"/>
                  </a:lnTo>
                  <a:lnTo>
                    <a:pt x="3180328" y="948828"/>
                  </a:lnTo>
                  <a:lnTo>
                    <a:pt x="3180226" y="947767"/>
                  </a:lnTo>
                  <a:lnTo>
                    <a:pt x="3183532" y="945764"/>
                  </a:lnTo>
                  <a:lnTo>
                    <a:pt x="3186845" y="940654"/>
                  </a:lnTo>
                  <a:lnTo>
                    <a:pt x="3188126" y="936393"/>
                  </a:lnTo>
                  <a:lnTo>
                    <a:pt x="3187730" y="935007"/>
                  </a:lnTo>
                  <a:lnTo>
                    <a:pt x="3187605" y="933618"/>
                  </a:lnTo>
                  <a:lnTo>
                    <a:pt x="3197361" y="930975"/>
                  </a:lnTo>
                  <a:close/>
                  <a:moveTo>
                    <a:pt x="356551" y="722070"/>
                  </a:moveTo>
                  <a:lnTo>
                    <a:pt x="358475" y="722628"/>
                  </a:lnTo>
                  <a:lnTo>
                    <a:pt x="359190" y="724047"/>
                  </a:lnTo>
                  <a:lnTo>
                    <a:pt x="359410" y="726377"/>
                  </a:lnTo>
                  <a:lnTo>
                    <a:pt x="358723" y="727868"/>
                  </a:lnTo>
                  <a:lnTo>
                    <a:pt x="359054" y="729125"/>
                  </a:lnTo>
                  <a:lnTo>
                    <a:pt x="357648" y="730016"/>
                  </a:lnTo>
                  <a:lnTo>
                    <a:pt x="355467" y="727108"/>
                  </a:lnTo>
                  <a:lnTo>
                    <a:pt x="354169" y="727066"/>
                  </a:lnTo>
                  <a:lnTo>
                    <a:pt x="352780" y="725813"/>
                  </a:lnTo>
                  <a:lnTo>
                    <a:pt x="352124" y="723745"/>
                  </a:lnTo>
                  <a:lnTo>
                    <a:pt x="353381" y="723168"/>
                  </a:lnTo>
                  <a:lnTo>
                    <a:pt x="353889" y="723527"/>
                  </a:lnTo>
                  <a:close/>
                  <a:moveTo>
                    <a:pt x="1103357" y="665275"/>
                  </a:moveTo>
                  <a:lnTo>
                    <a:pt x="1105871" y="665722"/>
                  </a:lnTo>
                  <a:lnTo>
                    <a:pt x="1109939" y="665816"/>
                  </a:lnTo>
                  <a:lnTo>
                    <a:pt x="1112530" y="666736"/>
                  </a:lnTo>
                  <a:lnTo>
                    <a:pt x="1116048" y="667320"/>
                  </a:lnTo>
                  <a:lnTo>
                    <a:pt x="1115627" y="669864"/>
                  </a:lnTo>
                  <a:lnTo>
                    <a:pt x="1115618" y="670890"/>
                  </a:lnTo>
                  <a:lnTo>
                    <a:pt x="1116787" y="672013"/>
                  </a:lnTo>
                  <a:lnTo>
                    <a:pt x="1115661" y="673916"/>
                  </a:lnTo>
                  <a:lnTo>
                    <a:pt x="1114811" y="674484"/>
                  </a:lnTo>
                  <a:lnTo>
                    <a:pt x="1110919" y="674943"/>
                  </a:lnTo>
                  <a:lnTo>
                    <a:pt x="1106644" y="672152"/>
                  </a:lnTo>
                  <a:lnTo>
                    <a:pt x="1102619" y="666577"/>
                  </a:lnTo>
                  <a:close/>
                  <a:moveTo>
                    <a:pt x="507319" y="663626"/>
                  </a:moveTo>
                  <a:lnTo>
                    <a:pt x="509176" y="664119"/>
                  </a:lnTo>
                  <a:lnTo>
                    <a:pt x="510487" y="665860"/>
                  </a:lnTo>
                  <a:lnTo>
                    <a:pt x="510994" y="667105"/>
                  </a:lnTo>
                  <a:lnTo>
                    <a:pt x="510152" y="667609"/>
                  </a:lnTo>
                  <a:lnTo>
                    <a:pt x="505769" y="665869"/>
                  </a:lnTo>
                  <a:lnTo>
                    <a:pt x="505387" y="664559"/>
                  </a:lnTo>
                  <a:lnTo>
                    <a:pt x="505574" y="663996"/>
                  </a:lnTo>
                  <a:close/>
                  <a:moveTo>
                    <a:pt x="654978" y="560128"/>
                  </a:moveTo>
                  <a:lnTo>
                    <a:pt x="672028" y="568012"/>
                  </a:lnTo>
                  <a:lnTo>
                    <a:pt x="675810" y="570052"/>
                  </a:lnTo>
                  <a:lnTo>
                    <a:pt x="677975" y="572834"/>
                  </a:lnTo>
                  <a:lnTo>
                    <a:pt x="678368" y="576592"/>
                  </a:lnTo>
                  <a:lnTo>
                    <a:pt x="676989" y="578147"/>
                  </a:lnTo>
                  <a:lnTo>
                    <a:pt x="675747" y="578583"/>
                  </a:lnTo>
                  <a:lnTo>
                    <a:pt x="675227" y="576232"/>
                  </a:lnTo>
                  <a:lnTo>
                    <a:pt x="674188" y="575169"/>
                  </a:lnTo>
                  <a:lnTo>
                    <a:pt x="670359" y="577973"/>
                  </a:lnTo>
                  <a:lnTo>
                    <a:pt x="668569" y="581054"/>
                  </a:lnTo>
                  <a:lnTo>
                    <a:pt x="663847" y="585466"/>
                  </a:lnTo>
                  <a:lnTo>
                    <a:pt x="653989" y="588604"/>
                  </a:lnTo>
                  <a:lnTo>
                    <a:pt x="648016" y="589968"/>
                  </a:lnTo>
                  <a:lnTo>
                    <a:pt x="642635" y="590350"/>
                  </a:lnTo>
                  <a:lnTo>
                    <a:pt x="637595" y="587583"/>
                  </a:lnTo>
                  <a:lnTo>
                    <a:pt x="634872" y="582270"/>
                  </a:lnTo>
                  <a:lnTo>
                    <a:pt x="634397" y="580649"/>
                  </a:lnTo>
                  <a:lnTo>
                    <a:pt x="634051" y="578475"/>
                  </a:lnTo>
                  <a:lnTo>
                    <a:pt x="634084" y="576291"/>
                  </a:lnTo>
                  <a:lnTo>
                    <a:pt x="634438" y="572901"/>
                  </a:lnTo>
                  <a:lnTo>
                    <a:pt x="634961" y="569578"/>
                  </a:lnTo>
                  <a:lnTo>
                    <a:pt x="637038" y="566599"/>
                  </a:lnTo>
                  <a:lnTo>
                    <a:pt x="641847" y="563070"/>
                  </a:lnTo>
                  <a:lnTo>
                    <a:pt x="646569" y="560774"/>
                  </a:lnTo>
                  <a:lnTo>
                    <a:pt x="648966" y="560205"/>
                  </a:lnTo>
                  <a:close/>
                  <a:moveTo>
                    <a:pt x="1052795" y="557615"/>
                  </a:moveTo>
                  <a:lnTo>
                    <a:pt x="1055289" y="557743"/>
                  </a:lnTo>
                  <a:lnTo>
                    <a:pt x="1055643" y="559400"/>
                  </a:lnTo>
                  <a:lnTo>
                    <a:pt x="1053853" y="562816"/>
                  </a:lnTo>
                  <a:lnTo>
                    <a:pt x="1050180" y="562635"/>
                  </a:lnTo>
                  <a:lnTo>
                    <a:pt x="1049062" y="561858"/>
                  </a:lnTo>
                  <a:lnTo>
                    <a:pt x="1048589" y="561225"/>
                  </a:lnTo>
                  <a:close/>
                  <a:moveTo>
                    <a:pt x="3137726" y="555102"/>
                  </a:moveTo>
                  <a:lnTo>
                    <a:pt x="3138069" y="555315"/>
                  </a:lnTo>
                  <a:lnTo>
                    <a:pt x="3140215" y="556947"/>
                  </a:lnTo>
                  <a:lnTo>
                    <a:pt x="3140027" y="560532"/>
                  </a:lnTo>
                  <a:lnTo>
                    <a:pt x="3138502" y="563051"/>
                  </a:lnTo>
                  <a:lnTo>
                    <a:pt x="3134834" y="563944"/>
                  </a:lnTo>
                  <a:lnTo>
                    <a:pt x="3134313" y="565675"/>
                  </a:lnTo>
                  <a:lnTo>
                    <a:pt x="3134795" y="568660"/>
                  </a:lnTo>
                  <a:lnTo>
                    <a:pt x="3134903" y="572490"/>
                  </a:lnTo>
                  <a:lnTo>
                    <a:pt x="3135272" y="575910"/>
                  </a:lnTo>
                  <a:lnTo>
                    <a:pt x="3137494" y="579418"/>
                  </a:lnTo>
                  <a:lnTo>
                    <a:pt x="3137987" y="581217"/>
                  </a:lnTo>
                  <a:lnTo>
                    <a:pt x="3137760" y="582842"/>
                  </a:lnTo>
                  <a:lnTo>
                    <a:pt x="3136883" y="583871"/>
                  </a:lnTo>
                  <a:lnTo>
                    <a:pt x="3135896" y="583922"/>
                  </a:lnTo>
                  <a:lnTo>
                    <a:pt x="3136643" y="581355"/>
                  </a:lnTo>
                  <a:lnTo>
                    <a:pt x="3136751" y="580209"/>
                  </a:lnTo>
                  <a:lnTo>
                    <a:pt x="3134605" y="578316"/>
                  </a:lnTo>
                  <a:lnTo>
                    <a:pt x="3130590" y="576875"/>
                  </a:lnTo>
                  <a:lnTo>
                    <a:pt x="3129573" y="575762"/>
                  </a:lnTo>
                  <a:lnTo>
                    <a:pt x="3129330" y="572390"/>
                  </a:lnTo>
                  <a:lnTo>
                    <a:pt x="3130193" y="567070"/>
                  </a:lnTo>
                  <a:lnTo>
                    <a:pt x="3128386" y="564257"/>
                  </a:lnTo>
                  <a:lnTo>
                    <a:pt x="3129004" y="561749"/>
                  </a:lnTo>
                  <a:lnTo>
                    <a:pt x="3133704" y="558966"/>
                  </a:lnTo>
                  <a:lnTo>
                    <a:pt x="3135616" y="556819"/>
                  </a:lnTo>
                  <a:close/>
                  <a:moveTo>
                    <a:pt x="3289254" y="540278"/>
                  </a:moveTo>
                  <a:lnTo>
                    <a:pt x="3311739" y="545534"/>
                  </a:lnTo>
                  <a:lnTo>
                    <a:pt x="3312754" y="546581"/>
                  </a:lnTo>
                  <a:lnTo>
                    <a:pt x="3313040" y="547523"/>
                  </a:lnTo>
                  <a:lnTo>
                    <a:pt x="3312699" y="549609"/>
                  </a:lnTo>
                  <a:lnTo>
                    <a:pt x="3310803" y="549988"/>
                  </a:lnTo>
                  <a:lnTo>
                    <a:pt x="3310066" y="551358"/>
                  </a:lnTo>
                  <a:lnTo>
                    <a:pt x="3309276" y="555524"/>
                  </a:lnTo>
                  <a:lnTo>
                    <a:pt x="3308887" y="556606"/>
                  </a:lnTo>
                  <a:lnTo>
                    <a:pt x="3307891" y="557416"/>
                  </a:lnTo>
                  <a:lnTo>
                    <a:pt x="3301588" y="557770"/>
                  </a:lnTo>
                  <a:lnTo>
                    <a:pt x="3289036" y="554125"/>
                  </a:lnTo>
                  <a:lnTo>
                    <a:pt x="3284531" y="552200"/>
                  </a:lnTo>
                  <a:lnTo>
                    <a:pt x="3281177" y="549742"/>
                  </a:lnTo>
                  <a:lnTo>
                    <a:pt x="3277388" y="548017"/>
                  </a:lnTo>
                  <a:lnTo>
                    <a:pt x="3276671" y="547338"/>
                  </a:lnTo>
                  <a:lnTo>
                    <a:pt x="3277226" y="545911"/>
                  </a:lnTo>
                  <a:lnTo>
                    <a:pt x="3278349" y="544806"/>
                  </a:lnTo>
                  <a:lnTo>
                    <a:pt x="3282657" y="541890"/>
                  </a:lnTo>
                  <a:lnTo>
                    <a:pt x="3285680" y="540566"/>
                  </a:lnTo>
                  <a:close/>
                  <a:moveTo>
                    <a:pt x="871236" y="522414"/>
                  </a:moveTo>
                  <a:lnTo>
                    <a:pt x="872182" y="522601"/>
                  </a:lnTo>
                  <a:lnTo>
                    <a:pt x="873072" y="523535"/>
                  </a:lnTo>
                  <a:lnTo>
                    <a:pt x="877971" y="526543"/>
                  </a:lnTo>
                  <a:lnTo>
                    <a:pt x="880539" y="528563"/>
                  </a:lnTo>
                  <a:lnTo>
                    <a:pt x="882819" y="531027"/>
                  </a:lnTo>
                  <a:lnTo>
                    <a:pt x="885190" y="533091"/>
                  </a:lnTo>
                  <a:lnTo>
                    <a:pt x="892256" y="536609"/>
                  </a:lnTo>
                  <a:lnTo>
                    <a:pt x="897041" y="539994"/>
                  </a:lnTo>
                  <a:lnTo>
                    <a:pt x="901912" y="542384"/>
                  </a:lnTo>
                  <a:lnTo>
                    <a:pt x="903193" y="543472"/>
                  </a:lnTo>
                  <a:lnTo>
                    <a:pt x="903860" y="545420"/>
                  </a:lnTo>
                  <a:lnTo>
                    <a:pt x="903784" y="549038"/>
                  </a:lnTo>
                  <a:lnTo>
                    <a:pt x="902966" y="551705"/>
                  </a:lnTo>
                  <a:lnTo>
                    <a:pt x="900466" y="552123"/>
                  </a:lnTo>
                  <a:lnTo>
                    <a:pt x="898006" y="553208"/>
                  </a:lnTo>
                  <a:lnTo>
                    <a:pt x="893811" y="552054"/>
                  </a:lnTo>
                  <a:lnTo>
                    <a:pt x="891452" y="552843"/>
                  </a:lnTo>
                  <a:lnTo>
                    <a:pt x="889092" y="552895"/>
                  </a:lnTo>
                  <a:lnTo>
                    <a:pt x="887142" y="552480"/>
                  </a:lnTo>
                  <a:lnTo>
                    <a:pt x="885205" y="551897"/>
                  </a:lnTo>
                  <a:lnTo>
                    <a:pt x="883905" y="551206"/>
                  </a:lnTo>
                  <a:lnTo>
                    <a:pt x="883972" y="549150"/>
                  </a:lnTo>
                  <a:lnTo>
                    <a:pt x="882234" y="546181"/>
                  </a:lnTo>
                  <a:lnTo>
                    <a:pt x="879556" y="545226"/>
                  </a:lnTo>
                  <a:lnTo>
                    <a:pt x="877053" y="544910"/>
                  </a:lnTo>
                  <a:lnTo>
                    <a:pt x="874309" y="543983"/>
                  </a:lnTo>
                  <a:lnTo>
                    <a:pt x="872944" y="544422"/>
                  </a:lnTo>
                  <a:lnTo>
                    <a:pt x="871208" y="545507"/>
                  </a:lnTo>
                  <a:lnTo>
                    <a:pt x="870074" y="545133"/>
                  </a:lnTo>
                  <a:lnTo>
                    <a:pt x="864045" y="538879"/>
                  </a:lnTo>
                  <a:lnTo>
                    <a:pt x="863030" y="537414"/>
                  </a:lnTo>
                  <a:lnTo>
                    <a:pt x="862398" y="535782"/>
                  </a:lnTo>
                  <a:lnTo>
                    <a:pt x="861568" y="534733"/>
                  </a:lnTo>
                  <a:lnTo>
                    <a:pt x="859467" y="530317"/>
                  </a:lnTo>
                  <a:lnTo>
                    <a:pt x="860504" y="528269"/>
                  </a:lnTo>
                  <a:lnTo>
                    <a:pt x="862614" y="526974"/>
                  </a:lnTo>
                  <a:lnTo>
                    <a:pt x="864000" y="526626"/>
                  </a:lnTo>
                  <a:lnTo>
                    <a:pt x="866570" y="523700"/>
                  </a:lnTo>
                  <a:close/>
                  <a:moveTo>
                    <a:pt x="1035639" y="510097"/>
                  </a:moveTo>
                  <a:lnTo>
                    <a:pt x="1036140" y="510231"/>
                  </a:lnTo>
                  <a:lnTo>
                    <a:pt x="1036026" y="513064"/>
                  </a:lnTo>
                  <a:lnTo>
                    <a:pt x="1038308" y="519355"/>
                  </a:lnTo>
                  <a:lnTo>
                    <a:pt x="1038476" y="520965"/>
                  </a:lnTo>
                  <a:lnTo>
                    <a:pt x="1037310" y="520428"/>
                  </a:lnTo>
                  <a:lnTo>
                    <a:pt x="1035824" y="518583"/>
                  </a:lnTo>
                  <a:lnTo>
                    <a:pt x="1034917" y="516392"/>
                  </a:lnTo>
                  <a:lnTo>
                    <a:pt x="1034635" y="511920"/>
                  </a:lnTo>
                  <a:lnTo>
                    <a:pt x="1035151" y="510721"/>
                  </a:lnTo>
                  <a:close/>
                  <a:moveTo>
                    <a:pt x="3114361" y="503601"/>
                  </a:moveTo>
                  <a:lnTo>
                    <a:pt x="3116954" y="504014"/>
                  </a:lnTo>
                  <a:lnTo>
                    <a:pt x="3118703" y="505636"/>
                  </a:lnTo>
                  <a:lnTo>
                    <a:pt x="3120341" y="508085"/>
                  </a:lnTo>
                  <a:lnTo>
                    <a:pt x="3118845" y="508762"/>
                  </a:lnTo>
                  <a:lnTo>
                    <a:pt x="3115604" y="508205"/>
                  </a:lnTo>
                  <a:lnTo>
                    <a:pt x="3114104" y="506945"/>
                  </a:lnTo>
                  <a:lnTo>
                    <a:pt x="3114181" y="504060"/>
                  </a:lnTo>
                  <a:close/>
                  <a:moveTo>
                    <a:pt x="732526" y="484565"/>
                  </a:moveTo>
                  <a:lnTo>
                    <a:pt x="733510" y="484724"/>
                  </a:lnTo>
                  <a:lnTo>
                    <a:pt x="736309" y="486142"/>
                  </a:lnTo>
                  <a:lnTo>
                    <a:pt x="738317" y="489140"/>
                  </a:lnTo>
                  <a:lnTo>
                    <a:pt x="740084" y="491306"/>
                  </a:lnTo>
                  <a:lnTo>
                    <a:pt x="741574" y="491145"/>
                  </a:lnTo>
                  <a:lnTo>
                    <a:pt x="742705" y="492225"/>
                  </a:lnTo>
                  <a:lnTo>
                    <a:pt x="742984" y="494478"/>
                  </a:lnTo>
                  <a:lnTo>
                    <a:pt x="740027" y="498310"/>
                  </a:lnTo>
                  <a:lnTo>
                    <a:pt x="739511" y="499688"/>
                  </a:lnTo>
                  <a:lnTo>
                    <a:pt x="740785" y="500968"/>
                  </a:lnTo>
                  <a:lnTo>
                    <a:pt x="741122" y="501664"/>
                  </a:lnTo>
                  <a:lnTo>
                    <a:pt x="738948" y="502202"/>
                  </a:lnTo>
                  <a:lnTo>
                    <a:pt x="738546" y="500469"/>
                  </a:lnTo>
                  <a:lnTo>
                    <a:pt x="737333" y="498772"/>
                  </a:lnTo>
                  <a:lnTo>
                    <a:pt x="734806" y="497469"/>
                  </a:lnTo>
                  <a:lnTo>
                    <a:pt x="733780" y="496291"/>
                  </a:lnTo>
                  <a:lnTo>
                    <a:pt x="732662" y="493629"/>
                  </a:lnTo>
                  <a:lnTo>
                    <a:pt x="728421" y="490798"/>
                  </a:lnTo>
                  <a:lnTo>
                    <a:pt x="725743" y="491252"/>
                  </a:lnTo>
                  <a:lnTo>
                    <a:pt x="722735" y="489989"/>
                  </a:lnTo>
                  <a:lnTo>
                    <a:pt x="721854" y="489398"/>
                  </a:lnTo>
                  <a:lnTo>
                    <a:pt x="721638" y="487767"/>
                  </a:lnTo>
                  <a:lnTo>
                    <a:pt x="722893" y="486474"/>
                  </a:lnTo>
                  <a:lnTo>
                    <a:pt x="727669" y="485325"/>
                  </a:lnTo>
                  <a:lnTo>
                    <a:pt x="729986" y="485394"/>
                  </a:lnTo>
                  <a:lnTo>
                    <a:pt x="732470" y="486543"/>
                  </a:lnTo>
                  <a:lnTo>
                    <a:pt x="732262" y="485132"/>
                  </a:lnTo>
                  <a:close/>
                  <a:moveTo>
                    <a:pt x="2613925" y="477048"/>
                  </a:moveTo>
                  <a:lnTo>
                    <a:pt x="2614828" y="477245"/>
                  </a:lnTo>
                  <a:lnTo>
                    <a:pt x="2616512" y="478892"/>
                  </a:lnTo>
                  <a:lnTo>
                    <a:pt x="2617088" y="480326"/>
                  </a:lnTo>
                  <a:lnTo>
                    <a:pt x="2611604" y="483770"/>
                  </a:lnTo>
                  <a:lnTo>
                    <a:pt x="2609417" y="483333"/>
                  </a:lnTo>
                  <a:lnTo>
                    <a:pt x="2607181" y="481675"/>
                  </a:lnTo>
                  <a:lnTo>
                    <a:pt x="2605987" y="481312"/>
                  </a:lnTo>
                  <a:lnTo>
                    <a:pt x="2604781" y="481565"/>
                  </a:lnTo>
                  <a:lnTo>
                    <a:pt x="2603476" y="482248"/>
                  </a:lnTo>
                  <a:lnTo>
                    <a:pt x="2601736" y="482438"/>
                  </a:lnTo>
                  <a:lnTo>
                    <a:pt x="2597604" y="480549"/>
                  </a:lnTo>
                  <a:lnTo>
                    <a:pt x="2597280" y="479418"/>
                  </a:lnTo>
                  <a:lnTo>
                    <a:pt x="2597673" y="478894"/>
                  </a:lnTo>
                  <a:lnTo>
                    <a:pt x="2598727" y="478345"/>
                  </a:lnTo>
                  <a:lnTo>
                    <a:pt x="2599582" y="478305"/>
                  </a:lnTo>
                  <a:lnTo>
                    <a:pt x="2602096" y="477373"/>
                  </a:lnTo>
                  <a:close/>
                  <a:moveTo>
                    <a:pt x="3566330" y="476708"/>
                  </a:moveTo>
                  <a:lnTo>
                    <a:pt x="3568929" y="476830"/>
                  </a:lnTo>
                  <a:lnTo>
                    <a:pt x="3571529" y="477491"/>
                  </a:lnTo>
                  <a:lnTo>
                    <a:pt x="3581202" y="478958"/>
                  </a:lnTo>
                  <a:lnTo>
                    <a:pt x="3583091" y="479447"/>
                  </a:lnTo>
                  <a:lnTo>
                    <a:pt x="3586162" y="481388"/>
                  </a:lnTo>
                  <a:lnTo>
                    <a:pt x="3587948" y="482047"/>
                  </a:lnTo>
                  <a:lnTo>
                    <a:pt x="3589657" y="483184"/>
                  </a:lnTo>
                  <a:lnTo>
                    <a:pt x="3591466" y="485102"/>
                  </a:lnTo>
                  <a:lnTo>
                    <a:pt x="3594956" y="487159"/>
                  </a:lnTo>
                  <a:lnTo>
                    <a:pt x="3600104" y="489529"/>
                  </a:lnTo>
                  <a:lnTo>
                    <a:pt x="3601254" y="490285"/>
                  </a:lnTo>
                  <a:lnTo>
                    <a:pt x="3601999" y="492069"/>
                  </a:lnTo>
                  <a:lnTo>
                    <a:pt x="3601444" y="494187"/>
                  </a:lnTo>
                  <a:lnTo>
                    <a:pt x="3594850" y="498208"/>
                  </a:lnTo>
                  <a:lnTo>
                    <a:pt x="3589523" y="499244"/>
                  </a:lnTo>
                  <a:lnTo>
                    <a:pt x="3579234" y="500341"/>
                  </a:lnTo>
                  <a:lnTo>
                    <a:pt x="3565328" y="503367"/>
                  </a:lnTo>
                  <a:lnTo>
                    <a:pt x="3559605" y="504207"/>
                  </a:lnTo>
                  <a:lnTo>
                    <a:pt x="3557593" y="504028"/>
                  </a:lnTo>
                  <a:lnTo>
                    <a:pt x="3552566" y="502082"/>
                  </a:lnTo>
                  <a:lnTo>
                    <a:pt x="3546685" y="501221"/>
                  </a:lnTo>
                  <a:lnTo>
                    <a:pt x="3544061" y="501920"/>
                  </a:lnTo>
                  <a:lnTo>
                    <a:pt x="3538894" y="505016"/>
                  </a:lnTo>
                  <a:lnTo>
                    <a:pt x="3527946" y="505768"/>
                  </a:lnTo>
                  <a:lnTo>
                    <a:pt x="3521511" y="507936"/>
                  </a:lnTo>
                  <a:lnTo>
                    <a:pt x="3519986" y="508111"/>
                  </a:lnTo>
                  <a:lnTo>
                    <a:pt x="3516795" y="500915"/>
                  </a:lnTo>
                  <a:lnTo>
                    <a:pt x="3516354" y="499025"/>
                  </a:lnTo>
                  <a:lnTo>
                    <a:pt x="3517583" y="496667"/>
                  </a:lnTo>
                  <a:lnTo>
                    <a:pt x="3520792" y="493742"/>
                  </a:lnTo>
                  <a:lnTo>
                    <a:pt x="3522165" y="491583"/>
                  </a:lnTo>
                  <a:lnTo>
                    <a:pt x="3529771" y="487789"/>
                  </a:lnTo>
                  <a:lnTo>
                    <a:pt x="3536683" y="482774"/>
                  </a:lnTo>
                  <a:lnTo>
                    <a:pt x="3540403" y="482017"/>
                  </a:lnTo>
                  <a:lnTo>
                    <a:pt x="3544174" y="479686"/>
                  </a:lnTo>
                  <a:lnTo>
                    <a:pt x="3546685" y="479098"/>
                  </a:lnTo>
                  <a:lnTo>
                    <a:pt x="3550115" y="478557"/>
                  </a:lnTo>
                  <a:lnTo>
                    <a:pt x="3553517" y="477453"/>
                  </a:lnTo>
                  <a:lnTo>
                    <a:pt x="3556716" y="477271"/>
                  </a:lnTo>
                  <a:lnTo>
                    <a:pt x="3559907" y="477916"/>
                  </a:lnTo>
                  <a:lnTo>
                    <a:pt x="3563125" y="477711"/>
                  </a:lnTo>
                  <a:close/>
                  <a:moveTo>
                    <a:pt x="1285689" y="433887"/>
                  </a:moveTo>
                  <a:lnTo>
                    <a:pt x="1297421" y="437147"/>
                  </a:lnTo>
                  <a:lnTo>
                    <a:pt x="1299054" y="439190"/>
                  </a:lnTo>
                  <a:lnTo>
                    <a:pt x="1299323" y="440103"/>
                  </a:lnTo>
                  <a:lnTo>
                    <a:pt x="1294666" y="442830"/>
                  </a:lnTo>
                  <a:lnTo>
                    <a:pt x="1291409" y="443851"/>
                  </a:lnTo>
                  <a:lnTo>
                    <a:pt x="1286404" y="447341"/>
                  </a:lnTo>
                  <a:lnTo>
                    <a:pt x="1283124" y="448059"/>
                  </a:lnTo>
                  <a:lnTo>
                    <a:pt x="1272357" y="448449"/>
                  </a:lnTo>
                  <a:lnTo>
                    <a:pt x="1267058" y="447794"/>
                  </a:lnTo>
                  <a:lnTo>
                    <a:pt x="1266287" y="446988"/>
                  </a:lnTo>
                  <a:lnTo>
                    <a:pt x="1266995" y="444970"/>
                  </a:lnTo>
                  <a:lnTo>
                    <a:pt x="1272444" y="441904"/>
                  </a:lnTo>
                  <a:lnTo>
                    <a:pt x="1274897" y="439948"/>
                  </a:lnTo>
                  <a:lnTo>
                    <a:pt x="1277492" y="436643"/>
                  </a:lnTo>
                  <a:lnTo>
                    <a:pt x="1281934" y="433901"/>
                  </a:lnTo>
                  <a:close/>
                  <a:moveTo>
                    <a:pt x="1316994" y="414403"/>
                  </a:moveTo>
                  <a:lnTo>
                    <a:pt x="1321246" y="416758"/>
                  </a:lnTo>
                  <a:lnTo>
                    <a:pt x="1322483" y="419101"/>
                  </a:lnTo>
                  <a:lnTo>
                    <a:pt x="1325331" y="421818"/>
                  </a:lnTo>
                  <a:lnTo>
                    <a:pt x="1325256" y="428097"/>
                  </a:lnTo>
                  <a:lnTo>
                    <a:pt x="1324450" y="430086"/>
                  </a:lnTo>
                  <a:lnTo>
                    <a:pt x="1322885" y="430557"/>
                  </a:lnTo>
                  <a:lnTo>
                    <a:pt x="1310721" y="428841"/>
                  </a:lnTo>
                  <a:lnTo>
                    <a:pt x="1306512" y="426665"/>
                  </a:lnTo>
                  <a:lnTo>
                    <a:pt x="1305251" y="424677"/>
                  </a:lnTo>
                  <a:lnTo>
                    <a:pt x="1305773" y="422928"/>
                  </a:lnTo>
                  <a:close/>
                  <a:moveTo>
                    <a:pt x="1211840" y="412874"/>
                  </a:moveTo>
                  <a:lnTo>
                    <a:pt x="1216066" y="413242"/>
                  </a:lnTo>
                  <a:lnTo>
                    <a:pt x="1218839" y="413818"/>
                  </a:lnTo>
                  <a:lnTo>
                    <a:pt x="1224063" y="415749"/>
                  </a:lnTo>
                  <a:lnTo>
                    <a:pt x="1219221" y="417007"/>
                  </a:lnTo>
                  <a:lnTo>
                    <a:pt x="1217113" y="419694"/>
                  </a:lnTo>
                  <a:lnTo>
                    <a:pt x="1217399" y="421369"/>
                  </a:lnTo>
                  <a:lnTo>
                    <a:pt x="1218217" y="422279"/>
                  </a:lnTo>
                  <a:lnTo>
                    <a:pt x="1217407" y="423721"/>
                  </a:lnTo>
                  <a:lnTo>
                    <a:pt x="1216917" y="424128"/>
                  </a:lnTo>
                  <a:lnTo>
                    <a:pt x="1215805" y="423397"/>
                  </a:lnTo>
                  <a:lnTo>
                    <a:pt x="1212415" y="422280"/>
                  </a:lnTo>
                  <a:lnTo>
                    <a:pt x="1206796" y="419428"/>
                  </a:lnTo>
                  <a:lnTo>
                    <a:pt x="1205017" y="417479"/>
                  </a:lnTo>
                  <a:lnTo>
                    <a:pt x="1205950" y="415248"/>
                  </a:lnTo>
                  <a:lnTo>
                    <a:pt x="1207191" y="413779"/>
                  </a:lnTo>
                  <a:close/>
                  <a:moveTo>
                    <a:pt x="2219172" y="411299"/>
                  </a:moveTo>
                  <a:lnTo>
                    <a:pt x="2221695" y="411762"/>
                  </a:lnTo>
                  <a:lnTo>
                    <a:pt x="2225195" y="413856"/>
                  </a:lnTo>
                  <a:lnTo>
                    <a:pt x="2225737" y="414593"/>
                  </a:lnTo>
                  <a:lnTo>
                    <a:pt x="2220134" y="416494"/>
                  </a:lnTo>
                  <a:lnTo>
                    <a:pt x="2215361" y="416471"/>
                  </a:lnTo>
                  <a:lnTo>
                    <a:pt x="2212007" y="413135"/>
                  </a:lnTo>
                  <a:lnTo>
                    <a:pt x="2214694" y="411816"/>
                  </a:lnTo>
                  <a:close/>
                  <a:moveTo>
                    <a:pt x="778335" y="401957"/>
                  </a:moveTo>
                  <a:lnTo>
                    <a:pt x="781358" y="402144"/>
                  </a:lnTo>
                  <a:lnTo>
                    <a:pt x="785355" y="403269"/>
                  </a:lnTo>
                  <a:lnTo>
                    <a:pt x="789743" y="405332"/>
                  </a:lnTo>
                  <a:lnTo>
                    <a:pt x="800080" y="407019"/>
                  </a:lnTo>
                  <a:lnTo>
                    <a:pt x="807828" y="407547"/>
                  </a:lnTo>
                  <a:lnTo>
                    <a:pt x="812533" y="408846"/>
                  </a:lnTo>
                  <a:lnTo>
                    <a:pt x="814282" y="409879"/>
                  </a:lnTo>
                  <a:lnTo>
                    <a:pt x="813572" y="412506"/>
                  </a:lnTo>
                  <a:lnTo>
                    <a:pt x="812183" y="413585"/>
                  </a:lnTo>
                  <a:lnTo>
                    <a:pt x="808962" y="416995"/>
                  </a:lnTo>
                  <a:lnTo>
                    <a:pt x="808476" y="419097"/>
                  </a:lnTo>
                  <a:lnTo>
                    <a:pt x="809048" y="422394"/>
                  </a:lnTo>
                  <a:lnTo>
                    <a:pt x="808553" y="424787"/>
                  </a:lnTo>
                  <a:lnTo>
                    <a:pt x="807474" y="426532"/>
                  </a:lnTo>
                  <a:lnTo>
                    <a:pt x="806636" y="427254"/>
                  </a:lnTo>
                  <a:lnTo>
                    <a:pt x="800797" y="427250"/>
                  </a:lnTo>
                  <a:lnTo>
                    <a:pt x="798668" y="428220"/>
                  </a:lnTo>
                  <a:lnTo>
                    <a:pt x="798558" y="430102"/>
                  </a:lnTo>
                  <a:lnTo>
                    <a:pt x="798171" y="432190"/>
                  </a:lnTo>
                  <a:lnTo>
                    <a:pt x="796301" y="435231"/>
                  </a:lnTo>
                  <a:lnTo>
                    <a:pt x="792429" y="436221"/>
                  </a:lnTo>
                  <a:lnTo>
                    <a:pt x="791589" y="437321"/>
                  </a:lnTo>
                  <a:lnTo>
                    <a:pt x="791889" y="439314"/>
                  </a:lnTo>
                  <a:lnTo>
                    <a:pt x="790542" y="440826"/>
                  </a:lnTo>
                  <a:lnTo>
                    <a:pt x="790622" y="443176"/>
                  </a:lnTo>
                  <a:lnTo>
                    <a:pt x="791304" y="444460"/>
                  </a:lnTo>
                  <a:lnTo>
                    <a:pt x="791496" y="447130"/>
                  </a:lnTo>
                  <a:lnTo>
                    <a:pt x="794127" y="450990"/>
                  </a:lnTo>
                  <a:lnTo>
                    <a:pt x="793615" y="452578"/>
                  </a:lnTo>
                  <a:lnTo>
                    <a:pt x="791589" y="455701"/>
                  </a:lnTo>
                  <a:lnTo>
                    <a:pt x="790963" y="459503"/>
                  </a:lnTo>
                  <a:lnTo>
                    <a:pt x="789257" y="462784"/>
                  </a:lnTo>
                  <a:lnTo>
                    <a:pt x="793088" y="465506"/>
                  </a:lnTo>
                  <a:lnTo>
                    <a:pt x="794759" y="469037"/>
                  </a:lnTo>
                  <a:lnTo>
                    <a:pt x="796241" y="472871"/>
                  </a:lnTo>
                  <a:lnTo>
                    <a:pt x="800788" y="480330"/>
                  </a:lnTo>
                  <a:lnTo>
                    <a:pt x="805738" y="486931"/>
                  </a:lnTo>
                  <a:lnTo>
                    <a:pt x="814831" y="496598"/>
                  </a:lnTo>
                  <a:lnTo>
                    <a:pt x="824569" y="503884"/>
                  </a:lnTo>
                  <a:lnTo>
                    <a:pt x="828346" y="505939"/>
                  </a:lnTo>
                  <a:lnTo>
                    <a:pt x="837588" y="509308"/>
                  </a:lnTo>
                  <a:lnTo>
                    <a:pt x="839200" y="510372"/>
                  </a:lnTo>
                  <a:lnTo>
                    <a:pt x="840724" y="511859"/>
                  </a:lnTo>
                  <a:lnTo>
                    <a:pt x="836783" y="514578"/>
                  </a:lnTo>
                  <a:lnTo>
                    <a:pt x="832726" y="515580"/>
                  </a:lnTo>
                  <a:lnTo>
                    <a:pt x="832356" y="516818"/>
                  </a:lnTo>
                  <a:lnTo>
                    <a:pt x="830121" y="517459"/>
                  </a:lnTo>
                  <a:lnTo>
                    <a:pt x="819130" y="515159"/>
                  </a:lnTo>
                  <a:lnTo>
                    <a:pt x="818530" y="514805"/>
                  </a:lnTo>
                  <a:lnTo>
                    <a:pt x="817358" y="513117"/>
                  </a:lnTo>
                  <a:lnTo>
                    <a:pt x="816061" y="511859"/>
                  </a:lnTo>
                  <a:lnTo>
                    <a:pt x="813313" y="511645"/>
                  </a:lnTo>
                  <a:lnTo>
                    <a:pt x="810534" y="512423"/>
                  </a:lnTo>
                  <a:lnTo>
                    <a:pt x="812186" y="513949"/>
                  </a:lnTo>
                  <a:lnTo>
                    <a:pt x="814008" y="514421"/>
                  </a:lnTo>
                  <a:lnTo>
                    <a:pt x="817196" y="517282"/>
                  </a:lnTo>
                  <a:lnTo>
                    <a:pt x="815833" y="518368"/>
                  </a:lnTo>
                  <a:lnTo>
                    <a:pt x="814393" y="518505"/>
                  </a:lnTo>
                  <a:lnTo>
                    <a:pt x="807934" y="514705"/>
                  </a:lnTo>
                  <a:lnTo>
                    <a:pt x="807321" y="515175"/>
                  </a:lnTo>
                  <a:lnTo>
                    <a:pt x="806709" y="516288"/>
                  </a:lnTo>
                  <a:lnTo>
                    <a:pt x="803492" y="515050"/>
                  </a:lnTo>
                  <a:lnTo>
                    <a:pt x="802732" y="515969"/>
                  </a:lnTo>
                  <a:lnTo>
                    <a:pt x="800292" y="516400"/>
                  </a:lnTo>
                  <a:lnTo>
                    <a:pt x="798299" y="515345"/>
                  </a:lnTo>
                  <a:lnTo>
                    <a:pt x="798292" y="514008"/>
                  </a:lnTo>
                  <a:lnTo>
                    <a:pt x="797869" y="513329"/>
                  </a:lnTo>
                  <a:lnTo>
                    <a:pt x="787910" y="514378"/>
                  </a:lnTo>
                  <a:lnTo>
                    <a:pt x="783813" y="514349"/>
                  </a:lnTo>
                  <a:lnTo>
                    <a:pt x="779732" y="513893"/>
                  </a:lnTo>
                  <a:lnTo>
                    <a:pt x="774824" y="511335"/>
                  </a:lnTo>
                  <a:lnTo>
                    <a:pt x="774007" y="512484"/>
                  </a:lnTo>
                  <a:lnTo>
                    <a:pt x="773852" y="513814"/>
                  </a:lnTo>
                  <a:lnTo>
                    <a:pt x="771999" y="513283"/>
                  </a:lnTo>
                  <a:lnTo>
                    <a:pt x="767914" y="511222"/>
                  </a:lnTo>
                  <a:lnTo>
                    <a:pt x="764968" y="510409"/>
                  </a:lnTo>
                  <a:lnTo>
                    <a:pt x="754420" y="508417"/>
                  </a:lnTo>
                  <a:lnTo>
                    <a:pt x="746929" y="506039"/>
                  </a:lnTo>
                  <a:lnTo>
                    <a:pt x="748790" y="504949"/>
                  </a:lnTo>
                  <a:lnTo>
                    <a:pt x="752014" y="504382"/>
                  </a:lnTo>
                  <a:lnTo>
                    <a:pt x="752060" y="502923"/>
                  </a:lnTo>
                  <a:lnTo>
                    <a:pt x="751550" y="500911"/>
                  </a:lnTo>
                  <a:lnTo>
                    <a:pt x="751444" y="498826"/>
                  </a:lnTo>
                  <a:lnTo>
                    <a:pt x="753273" y="497426"/>
                  </a:lnTo>
                  <a:lnTo>
                    <a:pt x="757398" y="498093"/>
                  </a:lnTo>
                  <a:lnTo>
                    <a:pt x="756895" y="495815"/>
                  </a:lnTo>
                  <a:lnTo>
                    <a:pt x="758840" y="495374"/>
                  </a:lnTo>
                  <a:lnTo>
                    <a:pt x="762636" y="496685"/>
                  </a:lnTo>
                  <a:lnTo>
                    <a:pt x="764001" y="495864"/>
                  </a:lnTo>
                  <a:lnTo>
                    <a:pt x="758041" y="492996"/>
                  </a:lnTo>
                  <a:lnTo>
                    <a:pt x="751511" y="488920"/>
                  </a:lnTo>
                  <a:lnTo>
                    <a:pt x="752205" y="487453"/>
                  </a:lnTo>
                  <a:lnTo>
                    <a:pt x="749840" y="487056"/>
                  </a:lnTo>
                  <a:lnTo>
                    <a:pt x="747512" y="487153"/>
                  </a:lnTo>
                  <a:lnTo>
                    <a:pt x="745501" y="484750"/>
                  </a:lnTo>
                  <a:lnTo>
                    <a:pt x="745799" y="481567"/>
                  </a:lnTo>
                  <a:lnTo>
                    <a:pt x="747549" y="479409"/>
                  </a:lnTo>
                  <a:lnTo>
                    <a:pt x="746493" y="478938"/>
                  </a:lnTo>
                  <a:lnTo>
                    <a:pt x="736434" y="480842"/>
                  </a:lnTo>
                  <a:lnTo>
                    <a:pt x="731343" y="480408"/>
                  </a:lnTo>
                  <a:lnTo>
                    <a:pt x="725596" y="479133"/>
                  </a:lnTo>
                  <a:lnTo>
                    <a:pt x="720315" y="481037"/>
                  </a:lnTo>
                  <a:lnTo>
                    <a:pt x="714961" y="481671"/>
                  </a:lnTo>
                  <a:lnTo>
                    <a:pt x="712191" y="480993"/>
                  </a:lnTo>
                  <a:lnTo>
                    <a:pt x="709515" y="479612"/>
                  </a:lnTo>
                  <a:lnTo>
                    <a:pt x="707278" y="477732"/>
                  </a:lnTo>
                  <a:lnTo>
                    <a:pt x="705529" y="474584"/>
                  </a:lnTo>
                  <a:lnTo>
                    <a:pt x="703923" y="469305"/>
                  </a:lnTo>
                  <a:lnTo>
                    <a:pt x="703700" y="467303"/>
                  </a:lnTo>
                  <a:lnTo>
                    <a:pt x="704031" y="462824"/>
                  </a:lnTo>
                  <a:lnTo>
                    <a:pt x="704886" y="460952"/>
                  </a:lnTo>
                  <a:lnTo>
                    <a:pt x="707103" y="457178"/>
                  </a:lnTo>
                  <a:lnTo>
                    <a:pt x="708665" y="456012"/>
                  </a:lnTo>
                  <a:lnTo>
                    <a:pt x="712033" y="454243"/>
                  </a:lnTo>
                  <a:lnTo>
                    <a:pt x="713802" y="453784"/>
                  </a:lnTo>
                  <a:lnTo>
                    <a:pt x="717853" y="454698"/>
                  </a:lnTo>
                  <a:lnTo>
                    <a:pt x="721908" y="454756"/>
                  </a:lnTo>
                  <a:lnTo>
                    <a:pt x="723683" y="453754"/>
                  </a:lnTo>
                  <a:lnTo>
                    <a:pt x="725329" y="451982"/>
                  </a:lnTo>
                  <a:lnTo>
                    <a:pt x="726549" y="449675"/>
                  </a:lnTo>
                  <a:lnTo>
                    <a:pt x="729295" y="448359"/>
                  </a:lnTo>
                  <a:lnTo>
                    <a:pt x="730090" y="447656"/>
                  </a:lnTo>
                  <a:lnTo>
                    <a:pt x="730971" y="446164"/>
                  </a:lnTo>
                  <a:lnTo>
                    <a:pt x="731941" y="443914"/>
                  </a:lnTo>
                  <a:lnTo>
                    <a:pt x="732120" y="441998"/>
                  </a:lnTo>
                  <a:lnTo>
                    <a:pt x="732891" y="440081"/>
                  </a:lnTo>
                  <a:lnTo>
                    <a:pt x="735432" y="437288"/>
                  </a:lnTo>
                  <a:lnTo>
                    <a:pt x="734539" y="435557"/>
                  </a:lnTo>
                  <a:lnTo>
                    <a:pt x="734888" y="434385"/>
                  </a:lnTo>
                  <a:lnTo>
                    <a:pt x="736603" y="432309"/>
                  </a:lnTo>
                  <a:lnTo>
                    <a:pt x="731440" y="431746"/>
                  </a:lnTo>
                  <a:lnTo>
                    <a:pt x="729712" y="430835"/>
                  </a:lnTo>
                  <a:lnTo>
                    <a:pt x="728021" y="429439"/>
                  </a:lnTo>
                  <a:lnTo>
                    <a:pt x="728509" y="428130"/>
                  </a:lnTo>
                  <a:lnTo>
                    <a:pt x="729144" y="427172"/>
                  </a:lnTo>
                  <a:lnTo>
                    <a:pt x="734294" y="423645"/>
                  </a:lnTo>
                  <a:lnTo>
                    <a:pt x="736527" y="422606"/>
                  </a:lnTo>
                  <a:lnTo>
                    <a:pt x="738982" y="422032"/>
                  </a:lnTo>
                  <a:lnTo>
                    <a:pt x="741431" y="422046"/>
                  </a:lnTo>
                  <a:lnTo>
                    <a:pt x="744053" y="422445"/>
                  </a:lnTo>
                  <a:lnTo>
                    <a:pt x="746625" y="421898"/>
                  </a:lnTo>
                  <a:lnTo>
                    <a:pt x="743914" y="419521"/>
                  </a:lnTo>
                  <a:lnTo>
                    <a:pt x="743690" y="417916"/>
                  </a:lnTo>
                  <a:lnTo>
                    <a:pt x="742625" y="413994"/>
                  </a:lnTo>
                  <a:lnTo>
                    <a:pt x="742824" y="412151"/>
                  </a:lnTo>
                  <a:lnTo>
                    <a:pt x="744001" y="410651"/>
                  </a:lnTo>
                  <a:lnTo>
                    <a:pt x="746354" y="408887"/>
                  </a:lnTo>
                  <a:lnTo>
                    <a:pt x="749773" y="408301"/>
                  </a:lnTo>
                  <a:lnTo>
                    <a:pt x="752459" y="407373"/>
                  </a:lnTo>
                  <a:lnTo>
                    <a:pt x="755102" y="405971"/>
                  </a:lnTo>
                  <a:lnTo>
                    <a:pt x="757588" y="405729"/>
                  </a:lnTo>
                  <a:lnTo>
                    <a:pt x="762571" y="406684"/>
                  </a:lnTo>
                  <a:lnTo>
                    <a:pt x="765033" y="406477"/>
                  </a:lnTo>
                  <a:lnTo>
                    <a:pt x="767804" y="405708"/>
                  </a:lnTo>
                  <a:lnTo>
                    <a:pt x="775509" y="402707"/>
                  </a:lnTo>
                  <a:close/>
                  <a:moveTo>
                    <a:pt x="1135143" y="396553"/>
                  </a:moveTo>
                  <a:lnTo>
                    <a:pt x="1136979" y="396988"/>
                  </a:lnTo>
                  <a:lnTo>
                    <a:pt x="1139587" y="398107"/>
                  </a:lnTo>
                  <a:lnTo>
                    <a:pt x="1141587" y="399396"/>
                  </a:lnTo>
                  <a:lnTo>
                    <a:pt x="1144230" y="402614"/>
                  </a:lnTo>
                  <a:lnTo>
                    <a:pt x="1146303" y="403896"/>
                  </a:lnTo>
                  <a:lnTo>
                    <a:pt x="1149501" y="406400"/>
                  </a:lnTo>
                  <a:lnTo>
                    <a:pt x="1150406" y="408877"/>
                  </a:lnTo>
                  <a:lnTo>
                    <a:pt x="1150311" y="411032"/>
                  </a:lnTo>
                  <a:lnTo>
                    <a:pt x="1144329" y="411520"/>
                  </a:lnTo>
                  <a:lnTo>
                    <a:pt x="1133960" y="413333"/>
                  </a:lnTo>
                  <a:lnTo>
                    <a:pt x="1129255" y="414374"/>
                  </a:lnTo>
                  <a:lnTo>
                    <a:pt x="1122764" y="416357"/>
                  </a:lnTo>
                  <a:lnTo>
                    <a:pt x="1120950" y="416510"/>
                  </a:lnTo>
                  <a:lnTo>
                    <a:pt x="1116976" y="416011"/>
                  </a:lnTo>
                  <a:lnTo>
                    <a:pt x="1115253" y="416820"/>
                  </a:lnTo>
                  <a:lnTo>
                    <a:pt x="1112586" y="414818"/>
                  </a:lnTo>
                  <a:lnTo>
                    <a:pt x="1112813" y="413038"/>
                  </a:lnTo>
                  <a:lnTo>
                    <a:pt x="1114035" y="411233"/>
                  </a:lnTo>
                  <a:lnTo>
                    <a:pt x="1114767" y="408898"/>
                  </a:lnTo>
                  <a:lnTo>
                    <a:pt x="1114262" y="403160"/>
                  </a:lnTo>
                  <a:lnTo>
                    <a:pt x="1117661" y="399525"/>
                  </a:lnTo>
                  <a:lnTo>
                    <a:pt x="1122092" y="398122"/>
                  </a:lnTo>
                  <a:close/>
                  <a:moveTo>
                    <a:pt x="1252569" y="394807"/>
                  </a:moveTo>
                  <a:lnTo>
                    <a:pt x="1263743" y="399480"/>
                  </a:lnTo>
                  <a:lnTo>
                    <a:pt x="1261606" y="399748"/>
                  </a:lnTo>
                  <a:lnTo>
                    <a:pt x="1252210" y="398182"/>
                  </a:lnTo>
                  <a:lnTo>
                    <a:pt x="1248863" y="396165"/>
                  </a:lnTo>
                  <a:lnTo>
                    <a:pt x="1250111" y="394848"/>
                  </a:lnTo>
                  <a:close/>
                  <a:moveTo>
                    <a:pt x="1245481" y="394022"/>
                  </a:moveTo>
                  <a:lnTo>
                    <a:pt x="1247898" y="394608"/>
                  </a:lnTo>
                  <a:lnTo>
                    <a:pt x="1248166" y="395063"/>
                  </a:lnTo>
                  <a:lnTo>
                    <a:pt x="1244836" y="397958"/>
                  </a:lnTo>
                  <a:lnTo>
                    <a:pt x="1243203" y="398911"/>
                  </a:lnTo>
                  <a:lnTo>
                    <a:pt x="1236051" y="399017"/>
                  </a:lnTo>
                  <a:lnTo>
                    <a:pt x="1232527" y="400056"/>
                  </a:lnTo>
                  <a:lnTo>
                    <a:pt x="1233205" y="398132"/>
                  </a:lnTo>
                  <a:lnTo>
                    <a:pt x="1237511" y="395432"/>
                  </a:lnTo>
                  <a:close/>
                  <a:moveTo>
                    <a:pt x="2704917" y="379370"/>
                  </a:moveTo>
                  <a:lnTo>
                    <a:pt x="2710512" y="380191"/>
                  </a:lnTo>
                  <a:lnTo>
                    <a:pt x="2716045" y="382100"/>
                  </a:lnTo>
                  <a:lnTo>
                    <a:pt x="2720558" y="384185"/>
                  </a:lnTo>
                  <a:lnTo>
                    <a:pt x="2736138" y="394231"/>
                  </a:lnTo>
                  <a:lnTo>
                    <a:pt x="2737619" y="396277"/>
                  </a:lnTo>
                  <a:lnTo>
                    <a:pt x="2738796" y="398922"/>
                  </a:lnTo>
                  <a:lnTo>
                    <a:pt x="2739400" y="407959"/>
                  </a:lnTo>
                  <a:lnTo>
                    <a:pt x="2738520" y="408602"/>
                  </a:lnTo>
                  <a:lnTo>
                    <a:pt x="2732810" y="409049"/>
                  </a:lnTo>
                  <a:lnTo>
                    <a:pt x="2725034" y="408028"/>
                  </a:lnTo>
                  <a:lnTo>
                    <a:pt x="2719403" y="407667"/>
                  </a:lnTo>
                  <a:lnTo>
                    <a:pt x="2713991" y="407686"/>
                  </a:lnTo>
                  <a:lnTo>
                    <a:pt x="2709219" y="406463"/>
                  </a:lnTo>
                  <a:lnTo>
                    <a:pt x="2697507" y="405224"/>
                  </a:lnTo>
                  <a:lnTo>
                    <a:pt x="2688353" y="401891"/>
                  </a:lnTo>
                  <a:lnTo>
                    <a:pt x="2678873" y="399469"/>
                  </a:lnTo>
                  <a:lnTo>
                    <a:pt x="2676856" y="399215"/>
                  </a:lnTo>
                  <a:lnTo>
                    <a:pt x="2670879" y="399925"/>
                  </a:lnTo>
                  <a:lnTo>
                    <a:pt x="2662796" y="403073"/>
                  </a:lnTo>
                  <a:lnTo>
                    <a:pt x="2660545" y="403337"/>
                  </a:lnTo>
                  <a:lnTo>
                    <a:pt x="2657459" y="403337"/>
                  </a:lnTo>
                  <a:lnTo>
                    <a:pt x="2655247" y="400335"/>
                  </a:lnTo>
                  <a:lnTo>
                    <a:pt x="2660434" y="399361"/>
                  </a:lnTo>
                  <a:lnTo>
                    <a:pt x="2665632" y="398980"/>
                  </a:lnTo>
                  <a:lnTo>
                    <a:pt x="2670618" y="397893"/>
                  </a:lnTo>
                  <a:lnTo>
                    <a:pt x="2675325" y="394410"/>
                  </a:lnTo>
                  <a:lnTo>
                    <a:pt x="2677623" y="391646"/>
                  </a:lnTo>
                  <a:lnTo>
                    <a:pt x="2681743" y="385283"/>
                  </a:lnTo>
                  <a:lnTo>
                    <a:pt x="2683950" y="382961"/>
                  </a:lnTo>
                  <a:lnTo>
                    <a:pt x="2686186" y="381484"/>
                  </a:lnTo>
                  <a:lnTo>
                    <a:pt x="2688513" y="381028"/>
                  </a:lnTo>
                  <a:lnTo>
                    <a:pt x="2691209" y="381226"/>
                  </a:lnTo>
                  <a:lnTo>
                    <a:pt x="2699392" y="379833"/>
                  </a:lnTo>
                  <a:close/>
                  <a:moveTo>
                    <a:pt x="2317908" y="378160"/>
                  </a:moveTo>
                  <a:lnTo>
                    <a:pt x="2320517" y="378556"/>
                  </a:lnTo>
                  <a:lnTo>
                    <a:pt x="2322490" y="379997"/>
                  </a:lnTo>
                  <a:lnTo>
                    <a:pt x="2322844" y="380529"/>
                  </a:lnTo>
                  <a:lnTo>
                    <a:pt x="2320413" y="382163"/>
                  </a:lnTo>
                  <a:lnTo>
                    <a:pt x="2319059" y="382257"/>
                  </a:lnTo>
                  <a:lnTo>
                    <a:pt x="2316509" y="381108"/>
                  </a:lnTo>
                  <a:lnTo>
                    <a:pt x="2315831" y="379570"/>
                  </a:lnTo>
                  <a:lnTo>
                    <a:pt x="2315848" y="378792"/>
                  </a:lnTo>
                  <a:close/>
                  <a:moveTo>
                    <a:pt x="1405122" y="369142"/>
                  </a:moveTo>
                  <a:lnTo>
                    <a:pt x="1413164" y="370409"/>
                  </a:lnTo>
                  <a:lnTo>
                    <a:pt x="1415483" y="371834"/>
                  </a:lnTo>
                  <a:lnTo>
                    <a:pt x="1413950" y="372598"/>
                  </a:lnTo>
                  <a:lnTo>
                    <a:pt x="1412773" y="373608"/>
                  </a:lnTo>
                  <a:lnTo>
                    <a:pt x="1411760" y="373468"/>
                  </a:lnTo>
                  <a:lnTo>
                    <a:pt x="1410890" y="373992"/>
                  </a:lnTo>
                  <a:lnTo>
                    <a:pt x="1405326" y="372444"/>
                  </a:lnTo>
                  <a:lnTo>
                    <a:pt x="1397781" y="371741"/>
                  </a:lnTo>
                  <a:lnTo>
                    <a:pt x="1399664" y="370126"/>
                  </a:lnTo>
                  <a:close/>
                  <a:moveTo>
                    <a:pt x="1391320" y="368717"/>
                  </a:moveTo>
                  <a:lnTo>
                    <a:pt x="1393209" y="369275"/>
                  </a:lnTo>
                  <a:lnTo>
                    <a:pt x="1394933" y="370891"/>
                  </a:lnTo>
                  <a:lnTo>
                    <a:pt x="1395397" y="371773"/>
                  </a:lnTo>
                  <a:lnTo>
                    <a:pt x="1393248" y="373262"/>
                  </a:lnTo>
                  <a:lnTo>
                    <a:pt x="1390271" y="372425"/>
                  </a:lnTo>
                  <a:lnTo>
                    <a:pt x="1388135" y="371411"/>
                  </a:lnTo>
                  <a:lnTo>
                    <a:pt x="1386982" y="370031"/>
                  </a:lnTo>
                  <a:lnTo>
                    <a:pt x="1388154" y="369243"/>
                  </a:lnTo>
                  <a:close/>
                  <a:moveTo>
                    <a:pt x="2560197" y="364726"/>
                  </a:moveTo>
                  <a:lnTo>
                    <a:pt x="2565533" y="366179"/>
                  </a:lnTo>
                  <a:lnTo>
                    <a:pt x="2574566" y="371796"/>
                  </a:lnTo>
                  <a:lnTo>
                    <a:pt x="2579483" y="376350"/>
                  </a:lnTo>
                  <a:lnTo>
                    <a:pt x="2578119" y="379427"/>
                  </a:lnTo>
                  <a:lnTo>
                    <a:pt x="2576442" y="380660"/>
                  </a:lnTo>
                  <a:lnTo>
                    <a:pt x="2574890" y="378760"/>
                  </a:lnTo>
                  <a:lnTo>
                    <a:pt x="2567440" y="373128"/>
                  </a:lnTo>
                  <a:lnTo>
                    <a:pt x="2565646" y="370449"/>
                  </a:lnTo>
                  <a:lnTo>
                    <a:pt x="2561560" y="367925"/>
                  </a:lnTo>
                  <a:lnTo>
                    <a:pt x="2560538" y="366970"/>
                  </a:lnTo>
                  <a:close/>
                  <a:moveTo>
                    <a:pt x="2680978" y="363840"/>
                  </a:moveTo>
                  <a:lnTo>
                    <a:pt x="2683082" y="364237"/>
                  </a:lnTo>
                  <a:lnTo>
                    <a:pt x="2685166" y="365189"/>
                  </a:lnTo>
                  <a:lnTo>
                    <a:pt x="2686070" y="366639"/>
                  </a:lnTo>
                  <a:lnTo>
                    <a:pt x="2686468" y="368439"/>
                  </a:lnTo>
                  <a:lnTo>
                    <a:pt x="2685349" y="373523"/>
                  </a:lnTo>
                  <a:lnTo>
                    <a:pt x="2684539" y="375724"/>
                  </a:lnTo>
                  <a:lnTo>
                    <a:pt x="2673417" y="379210"/>
                  </a:lnTo>
                  <a:lnTo>
                    <a:pt x="2671255" y="379080"/>
                  </a:lnTo>
                  <a:lnTo>
                    <a:pt x="2666251" y="375502"/>
                  </a:lnTo>
                  <a:lnTo>
                    <a:pt x="2664446" y="367725"/>
                  </a:lnTo>
                  <a:lnTo>
                    <a:pt x="2666481" y="365450"/>
                  </a:lnTo>
                  <a:lnTo>
                    <a:pt x="2668841" y="364559"/>
                  </a:lnTo>
                  <a:lnTo>
                    <a:pt x="2671209" y="364158"/>
                  </a:lnTo>
                  <a:close/>
                  <a:moveTo>
                    <a:pt x="1443223" y="353303"/>
                  </a:moveTo>
                  <a:lnTo>
                    <a:pt x="1440705" y="355753"/>
                  </a:lnTo>
                  <a:lnTo>
                    <a:pt x="1439632" y="358354"/>
                  </a:lnTo>
                  <a:lnTo>
                    <a:pt x="1433406" y="357023"/>
                  </a:lnTo>
                  <a:lnTo>
                    <a:pt x="1432534" y="355971"/>
                  </a:lnTo>
                  <a:lnTo>
                    <a:pt x="1435870" y="354399"/>
                  </a:lnTo>
                  <a:lnTo>
                    <a:pt x="1438956" y="353441"/>
                  </a:lnTo>
                  <a:close/>
                  <a:moveTo>
                    <a:pt x="2044929" y="351840"/>
                  </a:moveTo>
                  <a:lnTo>
                    <a:pt x="2064107" y="354873"/>
                  </a:lnTo>
                  <a:lnTo>
                    <a:pt x="2071503" y="356557"/>
                  </a:lnTo>
                  <a:lnTo>
                    <a:pt x="2073735" y="358327"/>
                  </a:lnTo>
                  <a:lnTo>
                    <a:pt x="2072982" y="360394"/>
                  </a:lnTo>
                  <a:lnTo>
                    <a:pt x="2071790" y="361954"/>
                  </a:lnTo>
                  <a:lnTo>
                    <a:pt x="2070898" y="363887"/>
                  </a:lnTo>
                  <a:lnTo>
                    <a:pt x="2069380" y="365338"/>
                  </a:lnTo>
                  <a:lnTo>
                    <a:pt x="2064679" y="367181"/>
                  </a:lnTo>
                  <a:lnTo>
                    <a:pt x="2061001" y="371251"/>
                  </a:lnTo>
                  <a:lnTo>
                    <a:pt x="2060363" y="371591"/>
                  </a:lnTo>
                  <a:lnTo>
                    <a:pt x="2047391" y="369375"/>
                  </a:lnTo>
                  <a:lnTo>
                    <a:pt x="2045384" y="368638"/>
                  </a:lnTo>
                  <a:lnTo>
                    <a:pt x="2041118" y="366209"/>
                  </a:lnTo>
                  <a:lnTo>
                    <a:pt x="2035167" y="363876"/>
                  </a:lnTo>
                  <a:lnTo>
                    <a:pt x="2032081" y="360390"/>
                  </a:lnTo>
                  <a:lnTo>
                    <a:pt x="2033556" y="359727"/>
                  </a:lnTo>
                  <a:lnTo>
                    <a:pt x="2035046" y="359465"/>
                  </a:lnTo>
                  <a:lnTo>
                    <a:pt x="2040403" y="359922"/>
                  </a:lnTo>
                  <a:lnTo>
                    <a:pt x="2041938" y="358835"/>
                  </a:lnTo>
                  <a:lnTo>
                    <a:pt x="2042682" y="355890"/>
                  </a:lnTo>
                  <a:lnTo>
                    <a:pt x="2042826" y="354145"/>
                  </a:lnTo>
                  <a:lnTo>
                    <a:pt x="2043230" y="352812"/>
                  </a:lnTo>
                  <a:close/>
                  <a:moveTo>
                    <a:pt x="1481535" y="332319"/>
                  </a:moveTo>
                  <a:lnTo>
                    <a:pt x="1482588" y="332828"/>
                  </a:lnTo>
                  <a:lnTo>
                    <a:pt x="1484445" y="333637"/>
                  </a:lnTo>
                  <a:lnTo>
                    <a:pt x="1490271" y="332358"/>
                  </a:lnTo>
                  <a:lnTo>
                    <a:pt x="1491412" y="332772"/>
                  </a:lnTo>
                  <a:lnTo>
                    <a:pt x="1493007" y="334657"/>
                  </a:lnTo>
                  <a:lnTo>
                    <a:pt x="1490518" y="338098"/>
                  </a:lnTo>
                  <a:lnTo>
                    <a:pt x="1488648" y="339471"/>
                  </a:lnTo>
                  <a:lnTo>
                    <a:pt x="1483448" y="338699"/>
                  </a:lnTo>
                  <a:lnTo>
                    <a:pt x="1476782" y="338584"/>
                  </a:lnTo>
                  <a:lnTo>
                    <a:pt x="1473864" y="336705"/>
                  </a:lnTo>
                  <a:lnTo>
                    <a:pt x="1475458" y="334699"/>
                  </a:lnTo>
                  <a:lnTo>
                    <a:pt x="1479302" y="333506"/>
                  </a:lnTo>
                  <a:close/>
                  <a:moveTo>
                    <a:pt x="1383361" y="309055"/>
                  </a:moveTo>
                  <a:lnTo>
                    <a:pt x="1383509" y="313360"/>
                  </a:lnTo>
                  <a:lnTo>
                    <a:pt x="1384315" y="314808"/>
                  </a:lnTo>
                  <a:lnTo>
                    <a:pt x="1384598" y="316433"/>
                  </a:lnTo>
                  <a:lnTo>
                    <a:pt x="1383663" y="316949"/>
                  </a:lnTo>
                  <a:lnTo>
                    <a:pt x="1380806" y="316860"/>
                  </a:lnTo>
                  <a:lnTo>
                    <a:pt x="1379223" y="321040"/>
                  </a:lnTo>
                  <a:lnTo>
                    <a:pt x="1377599" y="320342"/>
                  </a:lnTo>
                  <a:lnTo>
                    <a:pt x="1376614" y="317950"/>
                  </a:lnTo>
                  <a:lnTo>
                    <a:pt x="1373013" y="319553"/>
                  </a:lnTo>
                  <a:lnTo>
                    <a:pt x="1372065" y="319179"/>
                  </a:lnTo>
                  <a:lnTo>
                    <a:pt x="1370395" y="317306"/>
                  </a:lnTo>
                  <a:lnTo>
                    <a:pt x="1369353" y="316923"/>
                  </a:lnTo>
                  <a:lnTo>
                    <a:pt x="1368655" y="315657"/>
                  </a:lnTo>
                  <a:lnTo>
                    <a:pt x="1373332" y="311928"/>
                  </a:lnTo>
                  <a:lnTo>
                    <a:pt x="1376209" y="313911"/>
                  </a:lnTo>
                  <a:lnTo>
                    <a:pt x="1378074" y="313781"/>
                  </a:lnTo>
                  <a:lnTo>
                    <a:pt x="1377703" y="311544"/>
                  </a:lnTo>
                  <a:lnTo>
                    <a:pt x="1377770" y="309857"/>
                  </a:lnTo>
                  <a:lnTo>
                    <a:pt x="1380182" y="309151"/>
                  </a:lnTo>
                  <a:close/>
                  <a:moveTo>
                    <a:pt x="2806758" y="306089"/>
                  </a:moveTo>
                  <a:lnTo>
                    <a:pt x="2811479" y="309286"/>
                  </a:lnTo>
                  <a:lnTo>
                    <a:pt x="2811418" y="312945"/>
                  </a:lnTo>
                  <a:lnTo>
                    <a:pt x="2812457" y="315531"/>
                  </a:lnTo>
                  <a:lnTo>
                    <a:pt x="2818319" y="315819"/>
                  </a:lnTo>
                  <a:lnTo>
                    <a:pt x="2826793" y="312528"/>
                  </a:lnTo>
                  <a:lnTo>
                    <a:pt x="2827975" y="312415"/>
                  </a:lnTo>
                  <a:lnTo>
                    <a:pt x="2848659" y="313621"/>
                  </a:lnTo>
                  <a:lnTo>
                    <a:pt x="2850350" y="314786"/>
                  </a:lnTo>
                  <a:lnTo>
                    <a:pt x="2850570" y="317060"/>
                  </a:lnTo>
                  <a:lnTo>
                    <a:pt x="2849914" y="318268"/>
                  </a:lnTo>
                  <a:lnTo>
                    <a:pt x="2849601" y="319914"/>
                  </a:lnTo>
                  <a:lnTo>
                    <a:pt x="2852147" y="321518"/>
                  </a:lnTo>
                  <a:lnTo>
                    <a:pt x="2858826" y="321885"/>
                  </a:lnTo>
                  <a:lnTo>
                    <a:pt x="2863049" y="320375"/>
                  </a:lnTo>
                  <a:lnTo>
                    <a:pt x="2875479" y="321153"/>
                  </a:lnTo>
                  <a:lnTo>
                    <a:pt x="2885619" y="322280"/>
                  </a:lnTo>
                  <a:lnTo>
                    <a:pt x="2889528" y="324733"/>
                  </a:lnTo>
                  <a:lnTo>
                    <a:pt x="2892547" y="326051"/>
                  </a:lnTo>
                  <a:lnTo>
                    <a:pt x="2895054" y="327580"/>
                  </a:lnTo>
                  <a:lnTo>
                    <a:pt x="2896874" y="326679"/>
                  </a:lnTo>
                  <a:lnTo>
                    <a:pt x="2898587" y="325120"/>
                  </a:lnTo>
                  <a:lnTo>
                    <a:pt x="2900059" y="324805"/>
                  </a:lnTo>
                  <a:lnTo>
                    <a:pt x="2901506" y="325065"/>
                  </a:lnTo>
                  <a:lnTo>
                    <a:pt x="2897612" y="334451"/>
                  </a:lnTo>
                  <a:lnTo>
                    <a:pt x="2896153" y="335583"/>
                  </a:lnTo>
                  <a:lnTo>
                    <a:pt x="2890646" y="337883"/>
                  </a:lnTo>
                  <a:lnTo>
                    <a:pt x="2879741" y="341031"/>
                  </a:lnTo>
                  <a:lnTo>
                    <a:pt x="2874408" y="342030"/>
                  </a:lnTo>
                  <a:lnTo>
                    <a:pt x="2862320" y="342037"/>
                  </a:lnTo>
                  <a:lnTo>
                    <a:pt x="2845662" y="340806"/>
                  </a:lnTo>
                  <a:lnTo>
                    <a:pt x="2841140" y="339694"/>
                  </a:lnTo>
                  <a:lnTo>
                    <a:pt x="2838476" y="338300"/>
                  </a:lnTo>
                  <a:lnTo>
                    <a:pt x="2833369" y="335007"/>
                  </a:lnTo>
                  <a:lnTo>
                    <a:pt x="2830847" y="333816"/>
                  </a:lnTo>
                  <a:lnTo>
                    <a:pt x="2822669" y="332697"/>
                  </a:lnTo>
                  <a:lnTo>
                    <a:pt x="2820171" y="332071"/>
                  </a:lnTo>
                  <a:lnTo>
                    <a:pt x="2815324" y="329235"/>
                  </a:lnTo>
                  <a:lnTo>
                    <a:pt x="2810425" y="326943"/>
                  </a:lnTo>
                  <a:lnTo>
                    <a:pt x="2798158" y="323211"/>
                  </a:lnTo>
                  <a:lnTo>
                    <a:pt x="2798989" y="318884"/>
                  </a:lnTo>
                  <a:lnTo>
                    <a:pt x="2800569" y="314504"/>
                  </a:lnTo>
                  <a:lnTo>
                    <a:pt x="2802457" y="310609"/>
                  </a:lnTo>
                  <a:lnTo>
                    <a:pt x="2804569" y="307147"/>
                  </a:lnTo>
                  <a:close/>
                  <a:moveTo>
                    <a:pt x="2567088" y="294232"/>
                  </a:moveTo>
                  <a:lnTo>
                    <a:pt x="2569070" y="296343"/>
                  </a:lnTo>
                  <a:lnTo>
                    <a:pt x="2570418" y="299463"/>
                  </a:lnTo>
                  <a:lnTo>
                    <a:pt x="2571647" y="301032"/>
                  </a:lnTo>
                  <a:lnTo>
                    <a:pt x="2576568" y="304124"/>
                  </a:lnTo>
                  <a:lnTo>
                    <a:pt x="2577488" y="305022"/>
                  </a:lnTo>
                  <a:lnTo>
                    <a:pt x="2573385" y="308772"/>
                  </a:lnTo>
                  <a:lnTo>
                    <a:pt x="2572981" y="310375"/>
                  </a:lnTo>
                  <a:lnTo>
                    <a:pt x="2574206" y="312511"/>
                  </a:lnTo>
                  <a:lnTo>
                    <a:pt x="2572617" y="313798"/>
                  </a:lnTo>
                  <a:lnTo>
                    <a:pt x="2568133" y="315030"/>
                  </a:lnTo>
                  <a:lnTo>
                    <a:pt x="2561634" y="314692"/>
                  </a:lnTo>
                  <a:lnTo>
                    <a:pt x="2562100" y="311399"/>
                  </a:lnTo>
                  <a:lnTo>
                    <a:pt x="2563214" y="309940"/>
                  </a:lnTo>
                  <a:lnTo>
                    <a:pt x="2564745" y="306328"/>
                  </a:lnTo>
                  <a:lnTo>
                    <a:pt x="2564050" y="303635"/>
                  </a:lnTo>
                  <a:lnTo>
                    <a:pt x="2564430" y="300331"/>
                  </a:lnTo>
                  <a:lnTo>
                    <a:pt x="2565213" y="297793"/>
                  </a:lnTo>
                  <a:close/>
                  <a:moveTo>
                    <a:pt x="2945223" y="278380"/>
                  </a:moveTo>
                  <a:lnTo>
                    <a:pt x="2946011" y="278821"/>
                  </a:lnTo>
                  <a:lnTo>
                    <a:pt x="2946646" y="279810"/>
                  </a:lnTo>
                  <a:lnTo>
                    <a:pt x="2947136" y="281706"/>
                  </a:lnTo>
                  <a:lnTo>
                    <a:pt x="2944933" y="283340"/>
                  </a:lnTo>
                  <a:lnTo>
                    <a:pt x="2939897" y="280712"/>
                  </a:lnTo>
                  <a:lnTo>
                    <a:pt x="2941759" y="279292"/>
                  </a:lnTo>
                  <a:close/>
                  <a:moveTo>
                    <a:pt x="2635975" y="278158"/>
                  </a:moveTo>
                  <a:lnTo>
                    <a:pt x="2638309" y="278293"/>
                  </a:lnTo>
                  <a:lnTo>
                    <a:pt x="2640477" y="279961"/>
                  </a:lnTo>
                  <a:lnTo>
                    <a:pt x="2642502" y="282314"/>
                  </a:lnTo>
                  <a:lnTo>
                    <a:pt x="2644761" y="283570"/>
                  </a:lnTo>
                  <a:lnTo>
                    <a:pt x="2651775" y="286623"/>
                  </a:lnTo>
                  <a:lnTo>
                    <a:pt x="2656525" y="289358"/>
                  </a:lnTo>
                  <a:lnTo>
                    <a:pt x="2663279" y="294968"/>
                  </a:lnTo>
                  <a:lnTo>
                    <a:pt x="2665564" y="295832"/>
                  </a:lnTo>
                  <a:lnTo>
                    <a:pt x="2668268" y="295264"/>
                  </a:lnTo>
                  <a:lnTo>
                    <a:pt x="2670804" y="296462"/>
                  </a:lnTo>
                  <a:lnTo>
                    <a:pt x="2673175" y="301238"/>
                  </a:lnTo>
                  <a:lnTo>
                    <a:pt x="2674289" y="302434"/>
                  </a:lnTo>
                  <a:lnTo>
                    <a:pt x="2675515" y="303299"/>
                  </a:lnTo>
                  <a:lnTo>
                    <a:pt x="2676722" y="303740"/>
                  </a:lnTo>
                  <a:lnTo>
                    <a:pt x="2680242" y="303893"/>
                  </a:lnTo>
                  <a:lnTo>
                    <a:pt x="2681863" y="302937"/>
                  </a:lnTo>
                  <a:lnTo>
                    <a:pt x="2683077" y="300757"/>
                  </a:lnTo>
                  <a:lnTo>
                    <a:pt x="2682995" y="298550"/>
                  </a:lnTo>
                  <a:lnTo>
                    <a:pt x="2682688" y="296323"/>
                  </a:lnTo>
                  <a:lnTo>
                    <a:pt x="2682671" y="293258"/>
                  </a:lnTo>
                  <a:lnTo>
                    <a:pt x="2683213" y="290522"/>
                  </a:lnTo>
                  <a:lnTo>
                    <a:pt x="2683989" y="288841"/>
                  </a:lnTo>
                  <a:lnTo>
                    <a:pt x="2685034" y="287732"/>
                  </a:lnTo>
                  <a:lnTo>
                    <a:pt x="2690931" y="284340"/>
                  </a:lnTo>
                  <a:lnTo>
                    <a:pt x="2695046" y="281005"/>
                  </a:lnTo>
                  <a:lnTo>
                    <a:pt x="2700726" y="282328"/>
                  </a:lnTo>
                  <a:lnTo>
                    <a:pt x="2706457" y="285257"/>
                  </a:lnTo>
                  <a:lnTo>
                    <a:pt x="2716604" y="291596"/>
                  </a:lnTo>
                  <a:lnTo>
                    <a:pt x="2721229" y="293412"/>
                  </a:lnTo>
                  <a:lnTo>
                    <a:pt x="2726917" y="295061"/>
                  </a:lnTo>
                  <a:lnTo>
                    <a:pt x="2732631" y="295660"/>
                  </a:lnTo>
                  <a:lnTo>
                    <a:pt x="2735417" y="295268"/>
                  </a:lnTo>
                  <a:lnTo>
                    <a:pt x="2740919" y="293549"/>
                  </a:lnTo>
                  <a:lnTo>
                    <a:pt x="2743702" y="293401"/>
                  </a:lnTo>
                  <a:lnTo>
                    <a:pt x="2778406" y="305919"/>
                  </a:lnTo>
                  <a:lnTo>
                    <a:pt x="2779611" y="306884"/>
                  </a:lnTo>
                  <a:lnTo>
                    <a:pt x="2780720" y="308390"/>
                  </a:lnTo>
                  <a:lnTo>
                    <a:pt x="2773280" y="310213"/>
                  </a:lnTo>
                  <a:lnTo>
                    <a:pt x="2768408" y="313508"/>
                  </a:lnTo>
                  <a:lnTo>
                    <a:pt x="2766720" y="315762"/>
                  </a:lnTo>
                  <a:lnTo>
                    <a:pt x="2768654" y="317594"/>
                  </a:lnTo>
                  <a:lnTo>
                    <a:pt x="2770185" y="320069"/>
                  </a:lnTo>
                  <a:lnTo>
                    <a:pt x="2759666" y="327472"/>
                  </a:lnTo>
                  <a:lnTo>
                    <a:pt x="2755426" y="329382"/>
                  </a:lnTo>
                  <a:lnTo>
                    <a:pt x="2751085" y="330024"/>
                  </a:lnTo>
                  <a:lnTo>
                    <a:pt x="2742377" y="328283"/>
                  </a:lnTo>
                  <a:lnTo>
                    <a:pt x="2737295" y="328333"/>
                  </a:lnTo>
                  <a:lnTo>
                    <a:pt x="2732303" y="326824"/>
                  </a:lnTo>
                  <a:lnTo>
                    <a:pt x="2726813" y="322360"/>
                  </a:lnTo>
                  <a:lnTo>
                    <a:pt x="2724559" y="320119"/>
                  </a:lnTo>
                  <a:lnTo>
                    <a:pt x="2722556" y="317008"/>
                  </a:lnTo>
                  <a:lnTo>
                    <a:pt x="2721894" y="312041"/>
                  </a:lnTo>
                  <a:lnTo>
                    <a:pt x="2722666" y="307758"/>
                  </a:lnTo>
                  <a:lnTo>
                    <a:pt x="2725609" y="306538"/>
                  </a:lnTo>
                  <a:lnTo>
                    <a:pt x="2728228" y="303779"/>
                  </a:lnTo>
                  <a:lnTo>
                    <a:pt x="2728591" y="302583"/>
                  </a:lnTo>
                  <a:lnTo>
                    <a:pt x="2727250" y="300181"/>
                  </a:lnTo>
                  <a:lnTo>
                    <a:pt x="2718621" y="299838"/>
                  </a:lnTo>
                  <a:lnTo>
                    <a:pt x="2713233" y="301152"/>
                  </a:lnTo>
                  <a:lnTo>
                    <a:pt x="2708332" y="302549"/>
                  </a:lnTo>
                  <a:lnTo>
                    <a:pt x="2709765" y="311653"/>
                  </a:lnTo>
                  <a:lnTo>
                    <a:pt x="2710821" y="314553"/>
                  </a:lnTo>
                  <a:lnTo>
                    <a:pt x="2712279" y="316629"/>
                  </a:lnTo>
                  <a:lnTo>
                    <a:pt x="2720063" y="326099"/>
                  </a:lnTo>
                  <a:lnTo>
                    <a:pt x="2721836" y="327437"/>
                  </a:lnTo>
                  <a:lnTo>
                    <a:pt x="2726982" y="329240"/>
                  </a:lnTo>
                  <a:lnTo>
                    <a:pt x="2731366" y="333314"/>
                  </a:lnTo>
                  <a:lnTo>
                    <a:pt x="2723633" y="337840"/>
                  </a:lnTo>
                  <a:lnTo>
                    <a:pt x="2720268" y="339178"/>
                  </a:lnTo>
                  <a:lnTo>
                    <a:pt x="2716878" y="339926"/>
                  </a:lnTo>
                  <a:lnTo>
                    <a:pt x="2714792" y="339567"/>
                  </a:lnTo>
                  <a:lnTo>
                    <a:pt x="2712779" y="338627"/>
                  </a:lnTo>
                  <a:lnTo>
                    <a:pt x="2710497" y="336435"/>
                  </a:lnTo>
                  <a:lnTo>
                    <a:pt x="2708636" y="334168"/>
                  </a:lnTo>
                  <a:lnTo>
                    <a:pt x="2706144" y="332388"/>
                  </a:lnTo>
                  <a:lnTo>
                    <a:pt x="2700862" y="332772"/>
                  </a:lnTo>
                  <a:lnTo>
                    <a:pt x="2696032" y="334336"/>
                  </a:lnTo>
                  <a:lnTo>
                    <a:pt x="2691178" y="335395"/>
                  </a:lnTo>
                  <a:lnTo>
                    <a:pt x="2676811" y="337220"/>
                  </a:lnTo>
                  <a:lnTo>
                    <a:pt x="2672458" y="338356"/>
                  </a:lnTo>
                  <a:lnTo>
                    <a:pt x="2668123" y="338759"/>
                  </a:lnTo>
                  <a:lnTo>
                    <a:pt x="2662445" y="336649"/>
                  </a:lnTo>
                  <a:lnTo>
                    <a:pt x="2656854" y="333603"/>
                  </a:lnTo>
                  <a:lnTo>
                    <a:pt x="2655152" y="333590"/>
                  </a:lnTo>
                  <a:lnTo>
                    <a:pt x="2653485" y="334406"/>
                  </a:lnTo>
                  <a:lnTo>
                    <a:pt x="2652207" y="336240"/>
                  </a:lnTo>
                  <a:lnTo>
                    <a:pt x="2651416" y="339161"/>
                  </a:lnTo>
                  <a:lnTo>
                    <a:pt x="2649599" y="343058"/>
                  </a:lnTo>
                  <a:lnTo>
                    <a:pt x="2647288" y="345800"/>
                  </a:lnTo>
                  <a:lnTo>
                    <a:pt x="2644850" y="346991"/>
                  </a:lnTo>
                  <a:lnTo>
                    <a:pt x="2642280" y="347128"/>
                  </a:lnTo>
                  <a:lnTo>
                    <a:pt x="2639685" y="346376"/>
                  </a:lnTo>
                  <a:lnTo>
                    <a:pt x="2637117" y="345180"/>
                  </a:lnTo>
                  <a:lnTo>
                    <a:pt x="2620017" y="340937"/>
                  </a:lnTo>
                  <a:lnTo>
                    <a:pt x="2618007" y="339636"/>
                  </a:lnTo>
                  <a:lnTo>
                    <a:pt x="2616098" y="337704"/>
                  </a:lnTo>
                  <a:lnTo>
                    <a:pt x="2610967" y="331623"/>
                  </a:lnTo>
                  <a:lnTo>
                    <a:pt x="2608425" y="330206"/>
                  </a:lnTo>
                  <a:lnTo>
                    <a:pt x="2605748" y="329603"/>
                  </a:lnTo>
                  <a:lnTo>
                    <a:pt x="2600684" y="326521"/>
                  </a:lnTo>
                  <a:lnTo>
                    <a:pt x="2596003" y="321579"/>
                  </a:lnTo>
                  <a:lnTo>
                    <a:pt x="2595031" y="320005"/>
                  </a:lnTo>
                  <a:lnTo>
                    <a:pt x="2594707" y="317548"/>
                  </a:lnTo>
                  <a:lnTo>
                    <a:pt x="2595476" y="315773"/>
                  </a:lnTo>
                  <a:lnTo>
                    <a:pt x="2599535" y="316610"/>
                  </a:lnTo>
                  <a:lnTo>
                    <a:pt x="2602271" y="316518"/>
                  </a:lnTo>
                  <a:lnTo>
                    <a:pt x="2600623" y="307317"/>
                  </a:lnTo>
                  <a:lnTo>
                    <a:pt x="2601809" y="298554"/>
                  </a:lnTo>
                  <a:lnTo>
                    <a:pt x="2603791" y="297102"/>
                  </a:lnTo>
                  <a:lnTo>
                    <a:pt x="2611487" y="298097"/>
                  </a:lnTo>
                  <a:lnTo>
                    <a:pt x="2608989" y="295220"/>
                  </a:lnTo>
                  <a:lnTo>
                    <a:pt x="2606946" y="291322"/>
                  </a:lnTo>
                  <a:lnTo>
                    <a:pt x="2608259" y="289260"/>
                  </a:lnTo>
                  <a:lnTo>
                    <a:pt x="2609693" y="287768"/>
                  </a:lnTo>
                  <a:lnTo>
                    <a:pt x="2612988" y="286522"/>
                  </a:lnTo>
                  <a:lnTo>
                    <a:pt x="2617469" y="285972"/>
                  </a:lnTo>
                  <a:lnTo>
                    <a:pt x="2618832" y="285089"/>
                  </a:lnTo>
                  <a:lnTo>
                    <a:pt x="2620099" y="283579"/>
                  </a:lnTo>
                  <a:lnTo>
                    <a:pt x="2622567" y="282015"/>
                  </a:lnTo>
                  <a:lnTo>
                    <a:pt x="2627499" y="281327"/>
                  </a:lnTo>
                  <a:close/>
                  <a:moveTo>
                    <a:pt x="1695253" y="273338"/>
                  </a:moveTo>
                  <a:lnTo>
                    <a:pt x="1701040" y="274582"/>
                  </a:lnTo>
                  <a:lnTo>
                    <a:pt x="1702843" y="275235"/>
                  </a:lnTo>
                  <a:lnTo>
                    <a:pt x="1702306" y="277177"/>
                  </a:lnTo>
                  <a:lnTo>
                    <a:pt x="1700030" y="276607"/>
                  </a:lnTo>
                  <a:lnTo>
                    <a:pt x="1697024" y="277591"/>
                  </a:lnTo>
                  <a:lnTo>
                    <a:pt x="1697083" y="279170"/>
                  </a:lnTo>
                  <a:lnTo>
                    <a:pt x="1695914" y="281706"/>
                  </a:lnTo>
                  <a:lnTo>
                    <a:pt x="1691673" y="280172"/>
                  </a:lnTo>
                  <a:lnTo>
                    <a:pt x="1685830" y="279954"/>
                  </a:lnTo>
                  <a:lnTo>
                    <a:pt x="1682161" y="278434"/>
                  </a:lnTo>
                  <a:lnTo>
                    <a:pt x="1674035" y="277473"/>
                  </a:lnTo>
                  <a:lnTo>
                    <a:pt x="1674277" y="275335"/>
                  </a:lnTo>
                  <a:lnTo>
                    <a:pt x="1675555" y="274083"/>
                  </a:lnTo>
                  <a:lnTo>
                    <a:pt x="1680300" y="275883"/>
                  </a:lnTo>
                  <a:lnTo>
                    <a:pt x="1684541" y="273862"/>
                  </a:lnTo>
                  <a:lnTo>
                    <a:pt x="1692606" y="274868"/>
                  </a:lnTo>
                  <a:close/>
                  <a:moveTo>
                    <a:pt x="1708680" y="271060"/>
                  </a:moveTo>
                  <a:lnTo>
                    <a:pt x="1711164" y="271600"/>
                  </a:lnTo>
                  <a:lnTo>
                    <a:pt x="1712382" y="272881"/>
                  </a:lnTo>
                  <a:lnTo>
                    <a:pt x="1712552" y="273465"/>
                  </a:lnTo>
                  <a:lnTo>
                    <a:pt x="1710810" y="276480"/>
                  </a:lnTo>
                  <a:lnTo>
                    <a:pt x="1708149" y="278182"/>
                  </a:lnTo>
                  <a:lnTo>
                    <a:pt x="1706910" y="278671"/>
                  </a:lnTo>
                  <a:lnTo>
                    <a:pt x="1705951" y="278338"/>
                  </a:lnTo>
                  <a:lnTo>
                    <a:pt x="1705616" y="277829"/>
                  </a:lnTo>
                  <a:lnTo>
                    <a:pt x="1705635" y="275507"/>
                  </a:lnTo>
                  <a:lnTo>
                    <a:pt x="1707685" y="272479"/>
                  </a:lnTo>
                  <a:lnTo>
                    <a:pt x="1707737" y="271535"/>
                  </a:lnTo>
                  <a:close/>
                  <a:moveTo>
                    <a:pt x="2051776" y="257815"/>
                  </a:moveTo>
                  <a:lnTo>
                    <a:pt x="2053631" y="258869"/>
                  </a:lnTo>
                  <a:lnTo>
                    <a:pt x="2057048" y="261994"/>
                  </a:lnTo>
                  <a:lnTo>
                    <a:pt x="2057674" y="263988"/>
                  </a:lnTo>
                  <a:lnTo>
                    <a:pt x="2056642" y="264460"/>
                  </a:lnTo>
                  <a:lnTo>
                    <a:pt x="2056030" y="265209"/>
                  </a:lnTo>
                  <a:lnTo>
                    <a:pt x="2055771" y="266611"/>
                  </a:lnTo>
                  <a:lnTo>
                    <a:pt x="2054817" y="266718"/>
                  </a:lnTo>
                  <a:lnTo>
                    <a:pt x="2051792" y="265171"/>
                  </a:lnTo>
                  <a:lnTo>
                    <a:pt x="2049626" y="262683"/>
                  </a:lnTo>
                  <a:lnTo>
                    <a:pt x="2046463" y="262162"/>
                  </a:lnTo>
                  <a:lnTo>
                    <a:pt x="2043122" y="259694"/>
                  </a:lnTo>
                  <a:lnTo>
                    <a:pt x="2042375" y="258626"/>
                  </a:lnTo>
                  <a:lnTo>
                    <a:pt x="2043308" y="258319"/>
                  </a:lnTo>
                  <a:lnTo>
                    <a:pt x="2049285" y="258986"/>
                  </a:lnTo>
                  <a:close/>
                  <a:moveTo>
                    <a:pt x="1719818" y="254915"/>
                  </a:moveTo>
                  <a:lnTo>
                    <a:pt x="1724390" y="259860"/>
                  </a:lnTo>
                  <a:lnTo>
                    <a:pt x="1723216" y="260547"/>
                  </a:lnTo>
                  <a:lnTo>
                    <a:pt x="1720897" y="260258"/>
                  </a:lnTo>
                  <a:lnTo>
                    <a:pt x="1718935" y="258503"/>
                  </a:lnTo>
                  <a:lnTo>
                    <a:pt x="1718242" y="255703"/>
                  </a:lnTo>
                  <a:close/>
                  <a:moveTo>
                    <a:pt x="2870197" y="251433"/>
                  </a:moveTo>
                  <a:lnTo>
                    <a:pt x="2867144" y="253044"/>
                  </a:lnTo>
                  <a:lnTo>
                    <a:pt x="2865738" y="256284"/>
                  </a:lnTo>
                  <a:lnTo>
                    <a:pt x="2864531" y="257072"/>
                  </a:lnTo>
                  <a:lnTo>
                    <a:pt x="2847912" y="257610"/>
                  </a:lnTo>
                  <a:lnTo>
                    <a:pt x="2849007" y="256287"/>
                  </a:lnTo>
                  <a:lnTo>
                    <a:pt x="2855010" y="253073"/>
                  </a:lnTo>
                  <a:close/>
                  <a:moveTo>
                    <a:pt x="1062430" y="240792"/>
                  </a:moveTo>
                  <a:lnTo>
                    <a:pt x="1070511" y="241766"/>
                  </a:lnTo>
                  <a:lnTo>
                    <a:pt x="1080869" y="244410"/>
                  </a:lnTo>
                  <a:lnTo>
                    <a:pt x="1085588" y="247334"/>
                  </a:lnTo>
                  <a:lnTo>
                    <a:pt x="1089440" y="251085"/>
                  </a:lnTo>
                  <a:lnTo>
                    <a:pt x="1090289" y="252428"/>
                  </a:lnTo>
                  <a:lnTo>
                    <a:pt x="1090951" y="254870"/>
                  </a:lnTo>
                  <a:lnTo>
                    <a:pt x="1089820" y="257081"/>
                  </a:lnTo>
                  <a:lnTo>
                    <a:pt x="1089101" y="259348"/>
                  </a:lnTo>
                  <a:lnTo>
                    <a:pt x="1090025" y="261075"/>
                  </a:lnTo>
                  <a:lnTo>
                    <a:pt x="1082480" y="266747"/>
                  </a:lnTo>
                  <a:lnTo>
                    <a:pt x="1075046" y="272968"/>
                  </a:lnTo>
                  <a:lnTo>
                    <a:pt x="1073786" y="274275"/>
                  </a:lnTo>
                  <a:lnTo>
                    <a:pt x="1064940" y="276431"/>
                  </a:lnTo>
                  <a:lnTo>
                    <a:pt x="1056093" y="279908"/>
                  </a:lnTo>
                  <a:lnTo>
                    <a:pt x="1050823" y="282323"/>
                  </a:lnTo>
                  <a:lnTo>
                    <a:pt x="1045654" y="283954"/>
                  </a:lnTo>
                  <a:lnTo>
                    <a:pt x="1040442" y="285100"/>
                  </a:lnTo>
                  <a:lnTo>
                    <a:pt x="1032149" y="287971"/>
                  </a:lnTo>
                  <a:lnTo>
                    <a:pt x="1017483" y="291549"/>
                  </a:lnTo>
                  <a:lnTo>
                    <a:pt x="1008249" y="294494"/>
                  </a:lnTo>
                  <a:lnTo>
                    <a:pt x="998143" y="296805"/>
                  </a:lnTo>
                  <a:lnTo>
                    <a:pt x="987487" y="299893"/>
                  </a:lnTo>
                  <a:lnTo>
                    <a:pt x="976800" y="302011"/>
                  </a:lnTo>
                  <a:lnTo>
                    <a:pt x="974150" y="302184"/>
                  </a:lnTo>
                  <a:lnTo>
                    <a:pt x="966571" y="305134"/>
                  </a:lnTo>
                  <a:lnTo>
                    <a:pt x="960585" y="306361"/>
                  </a:lnTo>
                  <a:lnTo>
                    <a:pt x="938918" y="312987"/>
                  </a:lnTo>
                  <a:lnTo>
                    <a:pt x="928969" y="317811"/>
                  </a:lnTo>
                  <a:lnTo>
                    <a:pt x="926102" y="318203"/>
                  </a:lnTo>
                  <a:lnTo>
                    <a:pt x="923215" y="318024"/>
                  </a:lnTo>
                  <a:lnTo>
                    <a:pt x="920846" y="319532"/>
                  </a:lnTo>
                  <a:lnTo>
                    <a:pt x="918600" y="322132"/>
                  </a:lnTo>
                  <a:lnTo>
                    <a:pt x="913921" y="324749"/>
                  </a:lnTo>
                  <a:lnTo>
                    <a:pt x="911567" y="327093"/>
                  </a:lnTo>
                  <a:lnTo>
                    <a:pt x="909136" y="328965"/>
                  </a:lnTo>
                  <a:lnTo>
                    <a:pt x="907723" y="329566"/>
                  </a:lnTo>
                  <a:lnTo>
                    <a:pt x="905035" y="329378"/>
                  </a:lnTo>
                  <a:lnTo>
                    <a:pt x="903748" y="329579"/>
                  </a:lnTo>
                  <a:lnTo>
                    <a:pt x="899354" y="331667"/>
                  </a:lnTo>
                  <a:lnTo>
                    <a:pt x="898563" y="333295"/>
                  </a:lnTo>
                  <a:lnTo>
                    <a:pt x="903290" y="334382"/>
                  </a:lnTo>
                  <a:lnTo>
                    <a:pt x="904318" y="336214"/>
                  </a:lnTo>
                  <a:lnTo>
                    <a:pt x="902943" y="337506"/>
                  </a:lnTo>
                  <a:lnTo>
                    <a:pt x="899883" y="339195"/>
                  </a:lnTo>
                  <a:lnTo>
                    <a:pt x="898151" y="340975"/>
                  </a:lnTo>
                  <a:lnTo>
                    <a:pt x="895002" y="342766"/>
                  </a:lnTo>
                  <a:lnTo>
                    <a:pt x="892841" y="343260"/>
                  </a:lnTo>
                  <a:lnTo>
                    <a:pt x="887643" y="343205"/>
                  </a:lnTo>
                  <a:lnTo>
                    <a:pt x="887364" y="345420"/>
                  </a:lnTo>
                  <a:lnTo>
                    <a:pt x="888179" y="346781"/>
                  </a:lnTo>
                  <a:lnTo>
                    <a:pt x="887764" y="347984"/>
                  </a:lnTo>
                  <a:lnTo>
                    <a:pt x="886023" y="349161"/>
                  </a:lnTo>
                  <a:lnTo>
                    <a:pt x="884298" y="349005"/>
                  </a:lnTo>
                  <a:lnTo>
                    <a:pt x="876429" y="345529"/>
                  </a:lnTo>
                  <a:lnTo>
                    <a:pt x="875145" y="346723"/>
                  </a:lnTo>
                  <a:lnTo>
                    <a:pt x="874592" y="349131"/>
                  </a:lnTo>
                  <a:lnTo>
                    <a:pt x="874350" y="351712"/>
                  </a:lnTo>
                  <a:lnTo>
                    <a:pt x="873353" y="353652"/>
                  </a:lnTo>
                  <a:lnTo>
                    <a:pt x="872013" y="354612"/>
                  </a:lnTo>
                  <a:lnTo>
                    <a:pt x="869532" y="355611"/>
                  </a:lnTo>
                  <a:lnTo>
                    <a:pt x="860830" y="354028"/>
                  </a:lnTo>
                  <a:lnTo>
                    <a:pt x="860111" y="355544"/>
                  </a:lnTo>
                  <a:lnTo>
                    <a:pt x="861435" y="357394"/>
                  </a:lnTo>
                  <a:lnTo>
                    <a:pt x="863285" y="361480"/>
                  </a:lnTo>
                  <a:lnTo>
                    <a:pt x="863713" y="363167"/>
                  </a:lnTo>
                  <a:lnTo>
                    <a:pt x="862670" y="365855"/>
                  </a:lnTo>
                  <a:lnTo>
                    <a:pt x="858768" y="370128"/>
                  </a:lnTo>
                  <a:lnTo>
                    <a:pt x="843864" y="375104"/>
                  </a:lnTo>
                  <a:lnTo>
                    <a:pt x="844108" y="376827"/>
                  </a:lnTo>
                  <a:lnTo>
                    <a:pt x="845766" y="380107"/>
                  </a:lnTo>
                  <a:lnTo>
                    <a:pt x="846183" y="382148"/>
                  </a:lnTo>
                  <a:lnTo>
                    <a:pt x="845578" y="384099"/>
                  </a:lnTo>
                  <a:lnTo>
                    <a:pt x="843611" y="385641"/>
                  </a:lnTo>
                  <a:lnTo>
                    <a:pt x="841432" y="385685"/>
                  </a:lnTo>
                  <a:lnTo>
                    <a:pt x="840244" y="385371"/>
                  </a:lnTo>
                  <a:lnTo>
                    <a:pt x="836813" y="383215"/>
                  </a:lnTo>
                  <a:lnTo>
                    <a:pt x="833818" y="382682"/>
                  </a:lnTo>
                  <a:lnTo>
                    <a:pt x="833328" y="383692"/>
                  </a:lnTo>
                  <a:lnTo>
                    <a:pt x="837161" y="386635"/>
                  </a:lnTo>
                  <a:lnTo>
                    <a:pt x="838893" y="390402"/>
                  </a:lnTo>
                  <a:lnTo>
                    <a:pt x="837062" y="392453"/>
                  </a:lnTo>
                  <a:lnTo>
                    <a:pt x="829866" y="396980"/>
                  </a:lnTo>
                  <a:lnTo>
                    <a:pt x="826096" y="402855"/>
                  </a:lnTo>
                  <a:lnTo>
                    <a:pt x="818806" y="405502"/>
                  </a:lnTo>
                  <a:lnTo>
                    <a:pt x="814300" y="405803"/>
                  </a:lnTo>
                  <a:lnTo>
                    <a:pt x="809832" y="405085"/>
                  </a:lnTo>
                  <a:lnTo>
                    <a:pt x="805547" y="403734"/>
                  </a:lnTo>
                  <a:lnTo>
                    <a:pt x="794815" y="403269"/>
                  </a:lnTo>
                  <a:lnTo>
                    <a:pt x="788866" y="401770"/>
                  </a:lnTo>
                  <a:lnTo>
                    <a:pt x="782822" y="399136"/>
                  </a:lnTo>
                  <a:lnTo>
                    <a:pt x="777556" y="399325"/>
                  </a:lnTo>
                  <a:lnTo>
                    <a:pt x="773070" y="400643"/>
                  </a:lnTo>
                  <a:lnTo>
                    <a:pt x="767190" y="403518"/>
                  </a:lnTo>
                  <a:lnTo>
                    <a:pt x="763468" y="397978"/>
                  </a:lnTo>
                  <a:lnTo>
                    <a:pt x="765083" y="395372"/>
                  </a:lnTo>
                  <a:lnTo>
                    <a:pt x="756992" y="388734"/>
                  </a:lnTo>
                  <a:lnTo>
                    <a:pt x="755316" y="385771"/>
                  </a:lnTo>
                  <a:lnTo>
                    <a:pt x="757272" y="384294"/>
                  </a:lnTo>
                  <a:lnTo>
                    <a:pt x="759751" y="383358"/>
                  </a:lnTo>
                  <a:lnTo>
                    <a:pt x="764407" y="380628"/>
                  </a:lnTo>
                  <a:lnTo>
                    <a:pt x="769102" y="378478"/>
                  </a:lnTo>
                  <a:lnTo>
                    <a:pt x="773951" y="377802"/>
                  </a:lnTo>
                  <a:lnTo>
                    <a:pt x="774770" y="377446"/>
                  </a:lnTo>
                  <a:lnTo>
                    <a:pt x="776776" y="374233"/>
                  </a:lnTo>
                  <a:lnTo>
                    <a:pt x="778940" y="371561"/>
                  </a:lnTo>
                  <a:lnTo>
                    <a:pt x="780909" y="370117"/>
                  </a:lnTo>
                  <a:lnTo>
                    <a:pt x="783176" y="367624"/>
                  </a:lnTo>
                  <a:lnTo>
                    <a:pt x="790210" y="357490"/>
                  </a:lnTo>
                  <a:lnTo>
                    <a:pt x="791879" y="356770"/>
                  </a:lnTo>
                  <a:lnTo>
                    <a:pt x="806515" y="354798"/>
                  </a:lnTo>
                  <a:lnTo>
                    <a:pt x="807815" y="354152"/>
                  </a:lnTo>
                  <a:lnTo>
                    <a:pt x="803622" y="352136"/>
                  </a:lnTo>
                  <a:lnTo>
                    <a:pt x="799294" y="352179"/>
                  </a:lnTo>
                  <a:lnTo>
                    <a:pt x="797299" y="351528"/>
                  </a:lnTo>
                  <a:lnTo>
                    <a:pt x="796167" y="350021"/>
                  </a:lnTo>
                  <a:lnTo>
                    <a:pt x="795545" y="348393"/>
                  </a:lnTo>
                  <a:lnTo>
                    <a:pt x="797258" y="347139"/>
                  </a:lnTo>
                  <a:lnTo>
                    <a:pt x="802874" y="340997"/>
                  </a:lnTo>
                  <a:lnTo>
                    <a:pt x="809601" y="336529"/>
                  </a:lnTo>
                  <a:lnTo>
                    <a:pt x="815811" y="333899"/>
                  </a:lnTo>
                  <a:lnTo>
                    <a:pt x="814258" y="333198"/>
                  </a:lnTo>
                  <a:lnTo>
                    <a:pt x="812302" y="331406"/>
                  </a:lnTo>
                  <a:lnTo>
                    <a:pt x="804740" y="331852"/>
                  </a:lnTo>
                  <a:lnTo>
                    <a:pt x="801758" y="329402"/>
                  </a:lnTo>
                  <a:lnTo>
                    <a:pt x="800829" y="327989"/>
                  </a:lnTo>
                  <a:lnTo>
                    <a:pt x="800583" y="326469"/>
                  </a:lnTo>
                  <a:lnTo>
                    <a:pt x="803030" y="324541"/>
                  </a:lnTo>
                  <a:lnTo>
                    <a:pt x="805569" y="323391"/>
                  </a:lnTo>
                  <a:lnTo>
                    <a:pt x="808370" y="323732"/>
                  </a:lnTo>
                  <a:lnTo>
                    <a:pt x="811166" y="324721"/>
                  </a:lnTo>
                  <a:lnTo>
                    <a:pt x="813386" y="325880"/>
                  </a:lnTo>
                  <a:lnTo>
                    <a:pt x="815513" y="327747"/>
                  </a:lnTo>
                  <a:lnTo>
                    <a:pt x="817394" y="327673"/>
                  </a:lnTo>
                  <a:lnTo>
                    <a:pt x="824159" y="321162"/>
                  </a:lnTo>
                  <a:lnTo>
                    <a:pt x="823121" y="319677"/>
                  </a:lnTo>
                  <a:lnTo>
                    <a:pt x="822682" y="317420"/>
                  </a:lnTo>
                  <a:lnTo>
                    <a:pt x="823456" y="316394"/>
                  </a:lnTo>
                  <a:lnTo>
                    <a:pt x="826662" y="315337"/>
                  </a:lnTo>
                  <a:lnTo>
                    <a:pt x="828830" y="314947"/>
                  </a:lnTo>
                  <a:lnTo>
                    <a:pt x="833568" y="315420"/>
                  </a:lnTo>
                  <a:lnTo>
                    <a:pt x="840313" y="316847"/>
                  </a:lnTo>
                  <a:lnTo>
                    <a:pt x="840860" y="316169"/>
                  </a:lnTo>
                  <a:lnTo>
                    <a:pt x="842555" y="311790"/>
                  </a:lnTo>
                  <a:lnTo>
                    <a:pt x="844218" y="309455"/>
                  </a:lnTo>
                  <a:lnTo>
                    <a:pt x="851078" y="305607"/>
                  </a:lnTo>
                  <a:lnTo>
                    <a:pt x="850612" y="304419"/>
                  </a:lnTo>
                  <a:lnTo>
                    <a:pt x="850297" y="302439"/>
                  </a:lnTo>
                  <a:lnTo>
                    <a:pt x="858258" y="299889"/>
                  </a:lnTo>
                  <a:lnTo>
                    <a:pt x="863441" y="297320"/>
                  </a:lnTo>
                  <a:lnTo>
                    <a:pt x="868494" y="293802"/>
                  </a:lnTo>
                  <a:lnTo>
                    <a:pt x="871003" y="293037"/>
                  </a:lnTo>
                  <a:lnTo>
                    <a:pt x="873562" y="292946"/>
                  </a:lnTo>
                  <a:lnTo>
                    <a:pt x="878783" y="291441"/>
                  </a:lnTo>
                  <a:lnTo>
                    <a:pt x="888410" y="289685"/>
                  </a:lnTo>
                  <a:lnTo>
                    <a:pt x="894031" y="287964"/>
                  </a:lnTo>
                  <a:lnTo>
                    <a:pt x="895845" y="284213"/>
                  </a:lnTo>
                  <a:lnTo>
                    <a:pt x="899408" y="282865"/>
                  </a:lnTo>
                  <a:lnTo>
                    <a:pt x="906635" y="282301"/>
                  </a:lnTo>
                  <a:lnTo>
                    <a:pt x="909386" y="282510"/>
                  </a:lnTo>
                  <a:lnTo>
                    <a:pt x="910947" y="284111"/>
                  </a:lnTo>
                  <a:lnTo>
                    <a:pt x="914065" y="283998"/>
                  </a:lnTo>
                  <a:lnTo>
                    <a:pt x="915294" y="283182"/>
                  </a:lnTo>
                  <a:lnTo>
                    <a:pt x="916536" y="281791"/>
                  </a:lnTo>
                  <a:lnTo>
                    <a:pt x="916160" y="279554"/>
                  </a:lnTo>
                  <a:lnTo>
                    <a:pt x="916104" y="276643"/>
                  </a:lnTo>
                  <a:lnTo>
                    <a:pt x="918814" y="274792"/>
                  </a:lnTo>
                  <a:lnTo>
                    <a:pt x="919803" y="274404"/>
                  </a:lnTo>
                  <a:lnTo>
                    <a:pt x="927935" y="273653"/>
                  </a:lnTo>
                  <a:lnTo>
                    <a:pt x="932748" y="273994"/>
                  </a:lnTo>
                  <a:lnTo>
                    <a:pt x="942703" y="276248"/>
                  </a:lnTo>
                  <a:lnTo>
                    <a:pt x="947873" y="276756"/>
                  </a:lnTo>
                  <a:lnTo>
                    <a:pt x="954748" y="276084"/>
                  </a:lnTo>
                  <a:lnTo>
                    <a:pt x="958937" y="276473"/>
                  </a:lnTo>
                  <a:lnTo>
                    <a:pt x="971203" y="273148"/>
                  </a:lnTo>
                  <a:lnTo>
                    <a:pt x="991929" y="270010"/>
                  </a:lnTo>
                  <a:lnTo>
                    <a:pt x="997327" y="267819"/>
                  </a:lnTo>
                  <a:lnTo>
                    <a:pt x="1002687" y="265146"/>
                  </a:lnTo>
                  <a:lnTo>
                    <a:pt x="1005403" y="264577"/>
                  </a:lnTo>
                  <a:lnTo>
                    <a:pt x="1008152" y="264443"/>
                  </a:lnTo>
                  <a:lnTo>
                    <a:pt x="1010642" y="263604"/>
                  </a:lnTo>
                  <a:lnTo>
                    <a:pt x="1015477" y="261311"/>
                  </a:lnTo>
                  <a:lnTo>
                    <a:pt x="1017876" y="260813"/>
                  </a:lnTo>
                  <a:lnTo>
                    <a:pt x="1020491" y="260783"/>
                  </a:lnTo>
                  <a:lnTo>
                    <a:pt x="1022872" y="259218"/>
                  </a:lnTo>
                  <a:lnTo>
                    <a:pt x="1024995" y="255780"/>
                  </a:lnTo>
                  <a:lnTo>
                    <a:pt x="1027297" y="253096"/>
                  </a:lnTo>
                  <a:lnTo>
                    <a:pt x="1033538" y="249631"/>
                  </a:lnTo>
                  <a:lnTo>
                    <a:pt x="1044231" y="244868"/>
                  </a:lnTo>
                  <a:lnTo>
                    <a:pt x="1053847" y="243014"/>
                  </a:lnTo>
                  <a:lnTo>
                    <a:pt x="1059845" y="240969"/>
                  </a:lnTo>
                  <a:close/>
                  <a:moveTo>
                    <a:pt x="1700952" y="231750"/>
                  </a:moveTo>
                  <a:lnTo>
                    <a:pt x="1701693" y="234154"/>
                  </a:lnTo>
                  <a:lnTo>
                    <a:pt x="1701680" y="235295"/>
                  </a:lnTo>
                  <a:lnTo>
                    <a:pt x="1698650" y="238017"/>
                  </a:lnTo>
                  <a:lnTo>
                    <a:pt x="1695579" y="240090"/>
                  </a:lnTo>
                  <a:lnTo>
                    <a:pt x="1694873" y="240992"/>
                  </a:lnTo>
                  <a:lnTo>
                    <a:pt x="1693908" y="241695"/>
                  </a:lnTo>
                  <a:lnTo>
                    <a:pt x="1691289" y="241212"/>
                  </a:lnTo>
                  <a:lnTo>
                    <a:pt x="1686054" y="242494"/>
                  </a:lnTo>
                  <a:lnTo>
                    <a:pt x="1684089" y="241766"/>
                  </a:lnTo>
                  <a:lnTo>
                    <a:pt x="1682211" y="240338"/>
                  </a:lnTo>
                  <a:lnTo>
                    <a:pt x="1675206" y="240795"/>
                  </a:lnTo>
                  <a:lnTo>
                    <a:pt x="1673133" y="240454"/>
                  </a:lnTo>
                  <a:lnTo>
                    <a:pt x="1676458" y="238702"/>
                  </a:lnTo>
                  <a:lnTo>
                    <a:pt x="1686041" y="236789"/>
                  </a:lnTo>
                  <a:close/>
                  <a:moveTo>
                    <a:pt x="1548109" y="226811"/>
                  </a:moveTo>
                  <a:lnTo>
                    <a:pt x="1549510" y="228250"/>
                  </a:lnTo>
                  <a:lnTo>
                    <a:pt x="1549205" y="229459"/>
                  </a:lnTo>
                  <a:lnTo>
                    <a:pt x="1545855" y="232530"/>
                  </a:lnTo>
                  <a:lnTo>
                    <a:pt x="1541106" y="232756"/>
                  </a:lnTo>
                  <a:lnTo>
                    <a:pt x="1538447" y="231544"/>
                  </a:lnTo>
                  <a:lnTo>
                    <a:pt x="1537616" y="230755"/>
                  </a:lnTo>
                  <a:lnTo>
                    <a:pt x="1538916" y="228641"/>
                  </a:lnTo>
                  <a:lnTo>
                    <a:pt x="1540708" y="227260"/>
                  </a:lnTo>
                  <a:close/>
                  <a:moveTo>
                    <a:pt x="1943257" y="225119"/>
                  </a:moveTo>
                  <a:lnTo>
                    <a:pt x="1945628" y="225921"/>
                  </a:lnTo>
                  <a:lnTo>
                    <a:pt x="1946416" y="226406"/>
                  </a:lnTo>
                  <a:lnTo>
                    <a:pt x="1947195" y="227338"/>
                  </a:lnTo>
                  <a:lnTo>
                    <a:pt x="1947526" y="228815"/>
                  </a:lnTo>
                  <a:lnTo>
                    <a:pt x="1941672" y="230013"/>
                  </a:lnTo>
                  <a:lnTo>
                    <a:pt x="1939184" y="230068"/>
                  </a:lnTo>
                  <a:lnTo>
                    <a:pt x="1938461" y="227843"/>
                  </a:lnTo>
                  <a:lnTo>
                    <a:pt x="1940603" y="225142"/>
                  </a:lnTo>
                  <a:close/>
                  <a:moveTo>
                    <a:pt x="1870252" y="207045"/>
                  </a:moveTo>
                  <a:lnTo>
                    <a:pt x="1884170" y="210755"/>
                  </a:lnTo>
                  <a:lnTo>
                    <a:pt x="1887508" y="213466"/>
                  </a:lnTo>
                  <a:lnTo>
                    <a:pt x="1895109" y="215614"/>
                  </a:lnTo>
                  <a:lnTo>
                    <a:pt x="1903981" y="216744"/>
                  </a:lnTo>
                  <a:lnTo>
                    <a:pt x="1908056" y="218457"/>
                  </a:lnTo>
                  <a:lnTo>
                    <a:pt x="1910021" y="220399"/>
                  </a:lnTo>
                  <a:lnTo>
                    <a:pt x="1911706" y="223082"/>
                  </a:lnTo>
                  <a:lnTo>
                    <a:pt x="1904511" y="224890"/>
                  </a:lnTo>
                  <a:lnTo>
                    <a:pt x="1896780" y="230239"/>
                  </a:lnTo>
                  <a:lnTo>
                    <a:pt x="1886329" y="233190"/>
                  </a:lnTo>
                  <a:lnTo>
                    <a:pt x="1873321" y="235152"/>
                  </a:lnTo>
                  <a:lnTo>
                    <a:pt x="1870641" y="236591"/>
                  </a:lnTo>
                  <a:lnTo>
                    <a:pt x="1895357" y="237032"/>
                  </a:lnTo>
                  <a:lnTo>
                    <a:pt x="1902559" y="236643"/>
                  </a:lnTo>
                  <a:lnTo>
                    <a:pt x="1904021" y="241262"/>
                  </a:lnTo>
                  <a:lnTo>
                    <a:pt x="1906457" y="241446"/>
                  </a:lnTo>
                  <a:lnTo>
                    <a:pt x="1913604" y="239222"/>
                  </a:lnTo>
                  <a:lnTo>
                    <a:pt x="1917878" y="239104"/>
                  </a:lnTo>
                  <a:lnTo>
                    <a:pt x="1925979" y="240690"/>
                  </a:lnTo>
                  <a:lnTo>
                    <a:pt x="1927718" y="239852"/>
                  </a:lnTo>
                  <a:lnTo>
                    <a:pt x="1931209" y="239731"/>
                  </a:lnTo>
                  <a:lnTo>
                    <a:pt x="1938668" y="241750"/>
                  </a:lnTo>
                  <a:lnTo>
                    <a:pt x="1942004" y="244741"/>
                  </a:lnTo>
                  <a:lnTo>
                    <a:pt x="1936707" y="249586"/>
                  </a:lnTo>
                  <a:lnTo>
                    <a:pt x="1931195" y="253817"/>
                  </a:lnTo>
                  <a:lnTo>
                    <a:pt x="1924514" y="261055"/>
                  </a:lnTo>
                  <a:lnTo>
                    <a:pt x="1922451" y="260462"/>
                  </a:lnTo>
                  <a:lnTo>
                    <a:pt x="1918895" y="260316"/>
                  </a:lnTo>
                  <a:lnTo>
                    <a:pt x="1919534" y="263864"/>
                  </a:lnTo>
                  <a:lnTo>
                    <a:pt x="1925496" y="263752"/>
                  </a:lnTo>
                  <a:lnTo>
                    <a:pt x="1928640" y="265341"/>
                  </a:lnTo>
                  <a:lnTo>
                    <a:pt x="1935988" y="263322"/>
                  </a:lnTo>
                  <a:lnTo>
                    <a:pt x="1946304" y="263963"/>
                  </a:lnTo>
                  <a:lnTo>
                    <a:pt x="1948469" y="263402"/>
                  </a:lnTo>
                  <a:lnTo>
                    <a:pt x="1952451" y="261226"/>
                  </a:lnTo>
                  <a:lnTo>
                    <a:pt x="1953505" y="257038"/>
                  </a:lnTo>
                  <a:lnTo>
                    <a:pt x="1955230" y="254372"/>
                  </a:lnTo>
                  <a:lnTo>
                    <a:pt x="1958629" y="253477"/>
                  </a:lnTo>
                  <a:lnTo>
                    <a:pt x="1962397" y="254323"/>
                  </a:lnTo>
                  <a:lnTo>
                    <a:pt x="1968729" y="254295"/>
                  </a:lnTo>
                  <a:lnTo>
                    <a:pt x="1984892" y="252951"/>
                  </a:lnTo>
                  <a:lnTo>
                    <a:pt x="1998421" y="254676"/>
                  </a:lnTo>
                  <a:lnTo>
                    <a:pt x="2009263" y="252527"/>
                  </a:lnTo>
                  <a:lnTo>
                    <a:pt x="2023489" y="254160"/>
                  </a:lnTo>
                  <a:lnTo>
                    <a:pt x="2029628" y="255839"/>
                  </a:lnTo>
                  <a:lnTo>
                    <a:pt x="2034229" y="258804"/>
                  </a:lnTo>
                  <a:lnTo>
                    <a:pt x="2038332" y="259667"/>
                  </a:lnTo>
                  <a:lnTo>
                    <a:pt x="2041706" y="261973"/>
                  </a:lnTo>
                  <a:lnTo>
                    <a:pt x="2045139" y="265330"/>
                  </a:lnTo>
                  <a:lnTo>
                    <a:pt x="2043433" y="268070"/>
                  </a:lnTo>
                  <a:lnTo>
                    <a:pt x="2041794" y="269905"/>
                  </a:lnTo>
                  <a:lnTo>
                    <a:pt x="2046219" y="267913"/>
                  </a:lnTo>
                  <a:lnTo>
                    <a:pt x="2049630" y="267423"/>
                  </a:lnTo>
                  <a:lnTo>
                    <a:pt x="2052200" y="268631"/>
                  </a:lnTo>
                  <a:lnTo>
                    <a:pt x="2056761" y="269764"/>
                  </a:lnTo>
                  <a:lnTo>
                    <a:pt x="2058190" y="277286"/>
                  </a:lnTo>
                  <a:lnTo>
                    <a:pt x="2059481" y="278741"/>
                  </a:lnTo>
                  <a:lnTo>
                    <a:pt x="2060716" y="281347"/>
                  </a:lnTo>
                  <a:lnTo>
                    <a:pt x="2059024" y="283730"/>
                  </a:lnTo>
                  <a:lnTo>
                    <a:pt x="2057572" y="284803"/>
                  </a:lnTo>
                  <a:lnTo>
                    <a:pt x="2061170" y="284575"/>
                  </a:lnTo>
                  <a:lnTo>
                    <a:pt x="2066206" y="282053"/>
                  </a:lnTo>
                  <a:lnTo>
                    <a:pt x="2067253" y="281198"/>
                  </a:lnTo>
                  <a:lnTo>
                    <a:pt x="2068499" y="279305"/>
                  </a:lnTo>
                  <a:lnTo>
                    <a:pt x="2066634" y="277450"/>
                  </a:lnTo>
                  <a:lnTo>
                    <a:pt x="2064908" y="276333"/>
                  </a:lnTo>
                  <a:lnTo>
                    <a:pt x="2067076" y="275496"/>
                  </a:lnTo>
                  <a:lnTo>
                    <a:pt x="2071202" y="275790"/>
                  </a:lnTo>
                  <a:lnTo>
                    <a:pt x="2073256" y="279107"/>
                  </a:lnTo>
                  <a:lnTo>
                    <a:pt x="2074632" y="282144"/>
                  </a:lnTo>
                  <a:lnTo>
                    <a:pt x="2077641" y="292136"/>
                  </a:lnTo>
                  <a:lnTo>
                    <a:pt x="2084129" y="290796"/>
                  </a:lnTo>
                  <a:lnTo>
                    <a:pt x="2084433" y="293747"/>
                  </a:lnTo>
                  <a:lnTo>
                    <a:pt x="2081730" y="300563"/>
                  </a:lnTo>
                  <a:lnTo>
                    <a:pt x="2078881" y="305601"/>
                  </a:lnTo>
                  <a:lnTo>
                    <a:pt x="2077724" y="306689"/>
                  </a:lnTo>
                  <a:lnTo>
                    <a:pt x="2075918" y="306888"/>
                  </a:lnTo>
                  <a:lnTo>
                    <a:pt x="2076610" y="304290"/>
                  </a:lnTo>
                  <a:lnTo>
                    <a:pt x="2075545" y="302726"/>
                  </a:lnTo>
                  <a:lnTo>
                    <a:pt x="2073832" y="301774"/>
                  </a:lnTo>
                  <a:lnTo>
                    <a:pt x="2067968" y="300838"/>
                  </a:lnTo>
                  <a:lnTo>
                    <a:pt x="2056974" y="294677"/>
                  </a:lnTo>
                  <a:lnTo>
                    <a:pt x="2054044" y="294023"/>
                  </a:lnTo>
                  <a:lnTo>
                    <a:pt x="2053369" y="294305"/>
                  </a:lnTo>
                  <a:lnTo>
                    <a:pt x="2053079" y="294913"/>
                  </a:lnTo>
                  <a:lnTo>
                    <a:pt x="2059194" y="299084"/>
                  </a:lnTo>
                  <a:lnTo>
                    <a:pt x="2064193" y="306532"/>
                  </a:lnTo>
                  <a:lnTo>
                    <a:pt x="2068745" y="304352"/>
                  </a:lnTo>
                  <a:lnTo>
                    <a:pt x="2070546" y="304759"/>
                  </a:lnTo>
                  <a:lnTo>
                    <a:pt x="2073051" y="308219"/>
                  </a:lnTo>
                  <a:lnTo>
                    <a:pt x="2077531" y="309663"/>
                  </a:lnTo>
                  <a:lnTo>
                    <a:pt x="2081230" y="311963"/>
                  </a:lnTo>
                  <a:lnTo>
                    <a:pt x="2078741" y="318999"/>
                  </a:lnTo>
                  <a:lnTo>
                    <a:pt x="2063513" y="331336"/>
                  </a:lnTo>
                  <a:lnTo>
                    <a:pt x="2047307" y="338483"/>
                  </a:lnTo>
                  <a:lnTo>
                    <a:pt x="2040148" y="343462"/>
                  </a:lnTo>
                  <a:lnTo>
                    <a:pt x="2027562" y="347044"/>
                  </a:lnTo>
                  <a:lnTo>
                    <a:pt x="2018578" y="351878"/>
                  </a:lnTo>
                  <a:lnTo>
                    <a:pt x="2007097" y="355463"/>
                  </a:lnTo>
                  <a:lnTo>
                    <a:pt x="2003832" y="359276"/>
                  </a:lnTo>
                  <a:lnTo>
                    <a:pt x="1995306" y="361744"/>
                  </a:lnTo>
                  <a:lnTo>
                    <a:pt x="1995883" y="363001"/>
                  </a:lnTo>
                  <a:lnTo>
                    <a:pt x="1996877" y="364381"/>
                  </a:lnTo>
                  <a:lnTo>
                    <a:pt x="1995827" y="366658"/>
                  </a:lnTo>
                  <a:lnTo>
                    <a:pt x="1994642" y="368380"/>
                  </a:lnTo>
                  <a:lnTo>
                    <a:pt x="1988021" y="371861"/>
                  </a:lnTo>
                  <a:lnTo>
                    <a:pt x="1978383" y="374304"/>
                  </a:lnTo>
                  <a:lnTo>
                    <a:pt x="1959025" y="388864"/>
                  </a:lnTo>
                  <a:lnTo>
                    <a:pt x="1949426" y="391824"/>
                  </a:lnTo>
                  <a:lnTo>
                    <a:pt x="1938495" y="391993"/>
                  </a:lnTo>
                  <a:lnTo>
                    <a:pt x="1936193" y="393347"/>
                  </a:lnTo>
                  <a:lnTo>
                    <a:pt x="1927951" y="402425"/>
                  </a:lnTo>
                  <a:lnTo>
                    <a:pt x="1925412" y="404382"/>
                  </a:lnTo>
                  <a:lnTo>
                    <a:pt x="1914561" y="405345"/>
                  </a:lnTo>
                  <a:lnTo>
                    <a:pt x="1903250" y="420106"/>
                  </a:lnTo>
                  <a:lnTo>
                    <a:pt x="1896962" y="425085"/>
                  </a:lnTo>
                  <a:lnTo>
                    <a:pt x="1891460" y="427773"/>
                  </a:lnTo>
                  <a:lnTo>
                    <a:pt x="1897182" y="427232"/>
                  </a:lnTo>
                  <a:lnTo>
                    <a:pt x="1903937" y="425268"/>
                  </a:lnTo>
                  <a:lnTo>
                    <a:pt x="1911863" y="420503"/>
                  </a:lnTo>
                  <a:lnTo>
                    <a:pt x="1913917" y="418304"/>
                  </a:lnTo>
                  <a:lnTo>
                    <a:pt x="1915006" y="415831"/>
                  </a:lnTo>
                  <a:lnTo>
                    <a:pt x="1917355" y="413893"/>
                  </a:lnTo>
                  <a:lnTo>
                    <a:pt x="1920956" y="412496"/>
                  </a:lnTo>
                  <a:lnTo>
                    <a:pt x="1934906" y="410891"/>
                  </a:lnTo>
                  <a:lnTo>
                    <a:pt x="1940654" y="411491"/>
                  </a:lnTo>
                  <a:lnTo>
                    <a:pt x="1949093" y="411067"/>
                  </a:lnTo>
                  <a:lnTo>
                    <a:pt x="1954641" y="408419"/>
                  </a:lnTo>
                  <a:lnTo>
                    <a:pt x="1957951" y="407472"/>
                  </a:lnTo>
                  <a:lnTo>
                    <a:pt x="1960923" y="407135"/>
                  </a:lnTo>
                  <a:lnTo>
                    <a:pt x="1962385" y="405251"/>
                  </a:lnTo>
                  <a:lnTo>
                    <a:pt x="1967336" y="404875"/>
                  </a:lnTo>
                  <a:lnTo>
                    <a:pt x="1978714" y="402350"/>
                  </a:lnTo>
                  <a:lnTo>
                    <a:pt x="1980388" y="401448"/>
                  </a:lnTo>
                  <a:lnTo>
                    <a:pt x="1984046" y="397703"/>
                  </a:lnTo>
                  <a:lnTo>
                    <a:pt x="1990813" y="399130"/>
                  </a:lnTo>
                  <a:lnTo>
                    <a:pt x="1995637" y="398343"/>
                  </a:lnTo>
                  <a:lnTo>
                    <a:pt x="2008317" y="391657"/>
                  </a:lnTo>
                  <a:lnTo>
                    <a:pt x="2015937" y="389075"/>
                  </a:lnTo>
                  <a:lnTo>
                    <a:pt x="2018034" y="387293"/>
                  </a:lnTo>
                  <a:lnTo>
                    <a:pt x="2016510" y="386046"/>
                  </a:lnTo>
                  <a:lnTo>
                    <a:pt x="2014810" y="385180"/>
                  </a:lnTo>
                  <a:lnTo>
                    <a:pt x="2007423" y="387494"/>
                  </a:lnTo>
                  <a:lnTo>
                    <a:pt x="2000854" y="388244"/>
                  </a:lnTo>
                  <a:lnTo>
                    <a:pt x="1993370" y="387643"/>
                  </a:lnTo>
                  <a:lnTo>
                    <a:pt x="1992353" y="386734"/>
                  </a:lnTo>
                  <a:lnTo>
                    <a:pt x="1991444" y="384307"/>
                  </a:lnTo>
                  <a:lnTo>
                    <a:pt x="1993843" y="380822"/>
                  </a:lnTo>
                  <a:lnTo>
                    <a:pt x="1995943" y="378695"/>
                  </a:lnTo>
                  <a:lnTo>
                    <a:pt x="2000692" y="375943"/>
                  </a:lnTo>
                  <a:lnTo>
                    <a:pt x="2004618" y="374948"/>
                  </a:lnTo>
                  <a:lnTo>
                    <a:pt x="2019183" y="377949"/>
                  </a:lnTo>
                  <a:lnTo>
                    <a:pt x="2022193" y="378318"/>
                  </a:lnTo>
                  <a:lnTo>
                    <a:pt x="2023843" y="373418"/>
                  </a:lnTo>
                  <a:lnTo>
                    <a:pt x="2028499" y="373654"/>
                  </a:lnTo>
                  <a:lnTo>
                    <a:pt x="2033124" y="374469"/>
                  </a:lnTo>
                  <a:lnTo>
                    <a:pt x="2031120" y="375492"/>
                  </a:lnTo>
                  <a:lnTo>
                    <a:pt x="2025993" y="377058"/>
                  </a:lnTo>
                  <a:lnTo>
                    <a:pt x="2027572" y="380666"/>
                  </a:lnTo>
                  <a:lnTo>
                    <a:pt x="2029803" y="383125"/>
                  </a:lnTo>
                  <a:lnTo>
                    <a:pt x="2038721" y="386669"/>
                  </a:lnTo>
                  <a:lnTo>
                    <a:pt x="2046318" y="388227"/>
                  </a:lnTo>
                  <a:lnTo>
                    <a:pt x="2051907" y="388133"/>
                  </a:lnTo>
                  <a:lnTo>
                    <a:pt x="2060649" y="386633"/>
                  </a:lnTo>
                  <a:lnTo>
                    <a:pt x="2061988" y="385557"/>
                  </a:lnTo>
                  <a:lnTo>
                    <a:pt x="2063839" y="382785"/>
                  </a:lnTo>
                  <a:lnTo>
                    <a:pt x="2061546" y="377338"/>
                  </a:lnTo>
                  <a:lnTo>
                    <a:pt x="2063735" y="378044"/>
                  </a:lnTo>
                  <a:lnTo>
                    <a:pt x="2065899" y="379417"/>
                  </a:lnTo>
                  <a:lnTo>
                    <a:pt x="2069188" y="382709"/>
                  </a:lnTo>
                  <a:lnTo>
                    <a:pt x="2072401" y="388292"/>
                  </a:lnTo>
                  <a:lnTo>
                    <a:pt x="2074377" y="390856"/>
                  </a:lnTo>
                  <a:lnTo>
                    <a:pt x="2073232" y="393631"/>
                  </a:lnTo>
                  <a:lnTo>
                    <a:pt x="2068644" y="398892"/>
                  </a:lnTo>
                  <a:lnTo>
                    <a:pt x="2071298" y="401793"/>
                  </a:lnTo>
                  <a:lnTo>
                    <a:pt x="2076029" y="403725"/>
                  </a:lnTo>
                  <a:lnTo>
                    <a:pt x="2075955" y="412254"/>
                  </a:lnTo>
                  <a:lnTo>
                    <a:pt x="2075668" y="416368"/>
                  </a:lnTo>
                  <a:lnTo>
                    <a:pt x="2073340" y="420839"/>
                  </a:lnTo>
                  <a:lnTo>
                    <a:pt x="2070643" y="422721"/>
                  </a:lnTo>
                  <a:lnTo>
                    <a:pt x="2068000" y="425520"/>
                  </a:lnTo>
                  <a:lnTo>
                    <a:pt x="2068671" y="428091"/>
                  </a:lnTo>
                  <a:lnTo>
                    <a:pt x="2069289" y="429740"/>
                  </a:lnTo>
                  <a:lnTo>
                    <a:pt x="2072077" y="432791"/>
                  </a:lnTo>
                  <a:lnTo>
                    <a:pt x="2079868" y="433748"/>
                  </a:lnTo>
                  <a:lnTo>
                    <a:pt x="2080916" y="432926"/>
                  </a:lnTo>
                  <a:lnTo>
                    <a:pt x="2079106" y="431965"/>
                  </a:lnTo>
                  <a:lnTo>
                    <a:pt x="2073828" y="430543"/>
                  </a:lnTo>
                  <a:lnTo>
                    <a:pt x="2071766" y="429375"/>
                  </a:lnTo>
                  <a:lnTo>
                    <a:pt x="2069940" y="426563"/>
                  </a:lnTo>
                  <a:lnTo>
                    <a:pt x="2072062" y="423516"/>
                  </a:lnTo>
                  <a:lnTo>
                    <a:pt x="2074405" y="421248"/>
                  </a:lnTo>
                  <a:lnTo>
                    <a:pt x="2077176" y="416094"/>
                  </a:lnTo>
                  <a:lnTo>
                    <a:pt x="2078031" y="412376"/>
                  </a:lnTo>
                  <a:lnTo>
                    <a:pt x="2077531" y="408546"/>
                  </a:lnTo>
                  <a:lnTo>
                    <a:pt x="2079306" y="406807"/>
                  </a:lnTo>
                  <a:lnTo>
                    <a:pt x="2082095" y="404921"/>
                  </a:lnTo>
                  <a:lnTo>
                    <a:pt x="2083511" y="404556"/>
                  </a:lnTo>
                  <a:lnTo>
                    <a:pt x="2084770" y="403738"/>
                  </a:lnTo>
                  <a:lnTo>
                    <a:pt x="2082755" y="402818"/>
                  </a:lnTo>
                  <a:lnTo>
                    <a:pt x="2080902" y="402344"/>
                  </a:lnTo>
                  <a:lnTo>
                    <a:pt x="2077102" y="399998"/>
                  </a:lnTo>
                  <a:lnTo>
                    <a:pt x="2076459" y="396955"/>
                  </a:lnTo>
                  <a:lnTo>
                    <a:pt x="2084122" y="395741"/>
                  </a:lnTo>
                  <a:lnTo>
                    <a:pt x="2088624" y="393550"/>
                  </a:lnTo>
                  <a:lnTo>
                    <a:pt x="2105330" y="392587"/>
                  </a:lnTo>
                  <a:lnTo>
                    <a:pt x="2116865" y="388500"/>
                  </a:lnTo>
                  <a:lnTo>
                    <a:pt x="2142466" y="389637"/>
                  </a:lnTo>
                  <a:lnTo>
                    <a:pt x="2160446" y="392930"/>
                  </a:lnTo>
                  <a:lnTo>
                    <a:pt x="2185689" y="393330"/>
                  </a:lnTo>
                  <a:lnTo>
                    <a:pt x="2194992" y="395550"/>
                  </a:lnTo>
                  <a:lnTo>
                    <a:pt x="2195883" y="396384"/>
                  </a:lnTo>
                  <a:lnTo>
                    <a:pt x="2196440" y="397970"/>
                  </a:lnTo>
                  <a:lnTo>
                    <a:pt x="2192417" y="398682"/>
                  </a:lnTo>
                  <a:lnTo>
                    <a:pt x="2185840" y="398687"/>
                  </a:lnTo>
                  <a:lnTo>
                    <a:pt x="2184061" y="402826"/>
                  </a:lnTo>
                  <a:lnTo>
                    <a:pt x="2185248" y="407955"/>
                  </a:lnTo>
                  <a:lnTo>
                    <a:pt x="2196970" y="413432"/>
                  </a:lnTo>
                  <a:lnTo>
                    <a:pt x="2207251" y="415687"/>
                  </a:lnTo>
                  <a:lnTo>
                    <a:pt x="2214439" y="419270"/>
                  </a:lnTo>
                  <a:lnTo>
                    <a:pt x="2218227" y="419597"/>
                  </a:lnTo>
                  <a:lnTo>
                    <a:pt x="2233180" y="419186"/>
                  </a:lnTo>
                  <a:lnTo>
                    <a:pt x="2242008" y="421056"/>
                  </a:lnTo>
                  <a:lnTo>
                    <a:pt x="2249905" y="419618"/>
                  </a:lnTo>
                  <a:lnTo>
                    <a:pt x="2258607" y="419667"/>
                  </a:lnTo>
                  <a:lnTo>
                    <a:pt x="2261663" y="420038"/>
                  </a:lnTo>
                  <a:lnTo>
                    <a:pt x="2264841" y="422721"/>
                  </a:lnTo>
                  <a:lnTo>
                    <a:pt x="2269935" y="423421"/>
                  </a:lnTo>
                  <a:lnTo>
                    <a:pt x="2276068" y="423539"/>
                  </a:lnTo>
                  <a:lnTo>
                    <a:pt x="2279486" y="422990"/>
                  </a:lnTo>
                  <a:lnTo>
                    <a:pt x="2280810" y="422330"/>
                  </a:lnTo>
                  <a:lnTo>
                    <a:pt x="2280344" y="421285"/>
                  </a:lnTo>
                  <a:lnTo>
                    <a:pt x="2275282" y="419626"/>
                  </a:lnTo>
                  <a:lnTo>
                    <a:pt x="2275830" y="417683"/>
                  </a:lnTo>
                  <a:lnTo>
                    <a:pt x="2277787" y="417209"/>
                  </a:lnTo>
                  <a:lnTo>
                    <a:pt x="2286280" y="419880"/>
                  </a:lnTo>
                  <a:lnTo>
                    <a:pt x="2289840" y="420291"/>
                  </a:lnTo>
                  <a:lnTo>
                    <a:pt x="2292954" y="418312"/>
                  </a:lnTo>
                  <a:lnTo>
                    <a:pt x="2295241" y="414770"/>
                  </a:lnTo>
                  <a:lnTo>
                    <a:pt x="2296502" y="412293"/>
                  </a:lnTo>
                  <a:lnTo>
                    <a:pt x="2297834" y="411078"/>
                  </a:lnTo>
                  <a:lnTo>
                    <a:pt x="2298953" y="410889"/>
                  </a:lnTo>
                  <a:lnTo>
                    <a:pt x="2300054" y="410215"/>
                  </a:lnTo>
                  <a:lnTo>
                    <a:pt x="2297372" y="407315"/>
                  </a:lnTo>
                  <a:lnTo>
                    <a:pt x="2294783" y="403674"/>
                  </a:lnTo>
                  <a:lnTo>
                    <a:pt x="2294150" y="401325"/>
                  </a:lnTo>
                  <a:lnTo>
                    <a:pt x="2293429" y="400119"/>
                  </a:lnTo>
                  <a:lnTo>
                    <a:pt x="2293041" y="395762"/>
                  </a:lnTo>
                  <a:lnTo>
                    <a:pt x="2295498" y="391316"/>
                  </a:lnTo>
                  <a:lnTo>
                    <a:pt x="2297154" y="390053"/>
                  </a:lnTo>
                  <a:lnTo>
                    <a:pt x="2303915" y="391749"/>
                  </a:lnTo>
                  <a:lnTo>
                    <a:pt x="2306945" y="389069"/>
                  </a:lnTo>
                  <a:lnTo>
                    <a:pt x="2308827" y="388083"/>
                  </a:lnTo>
                  <a:lnTo>
                    <a:pt x="2316988" y="386258"/>
                  </a:lnTo>
                  <a:lnTo>
                    <a:pt x="2320374" y="386411"/>
                  </a:lnTo>
                  <a:lnTo>
                    <a:pt x="2326014" y="388106"/>
                  </a:lnTo>
                  <a:lnTo>
                    <a:pt x="2344164" y="396288"/>
                  </a:lnTo>
                  <a:lnTo>
                    <a:pt x="2343754" y="399411"/>
                  </a:lnTo>
                  <a:lnTo>
                    <a:pt x="2348085" y="398513"/>
                  </a:lnTo>
                  <a:lnTo>
                    <a:pt x="2350152" y="397249"/>
                  </a:lnTo>
                  <a:lnTo>
                    <a:pt x="2355006" y="396421"/>
                  </a:lnTo>
                  <a:lnTo>
                    <a:pt x="2358258" y="395109"/>
                  </a:lnTo>
                  <a:lnTo>
                    <a:pt x="2359176" y="395602"/>
                  </a:lnTo>
                  <a:lnTo>
                    <a:pt x="2360258" y="396898"/>
                  </a:lnTo>
                  <a:lnTo>
                    <a:pt x="2359461" y="398718"/>
                  </a:lnTo>
                  <a:lnTo>
                    <a:pt x="2358324" y="400589"/>
                  </a:lnTo>
                  <a:lnTo>
                    <a:pt x="2359098" y="401679"/>
                  </a:lnTo>
                  <a:lnTo>
                    <a:pt x="2360048" y="401909"/>
                  </a:lnTo>
                  <a:lnTo>
                    <a:pt x="2364849" y="404201"/>
                  </a:lnTo>
                  <a:lnTo>
                    <a:pt x="2371172" y="399975"/>
                  </a:lnTo>
                  <a:lnTo>
                    <a:pt x="2373752" y="395962"/>
                  </a:lnTo>
                  <a:lnTo>
                    <a:pt x="2375436" y="395140"/>
                  </a:lnTo>
                  <a:lnTo>
                    <a:pt x="2391113" y="397955"/>
                  </a:lnTo>
                  <a:lnTo>
                    <a:pt x="2395862" y="399490"/>
                  </a:lnTo>
                  <a:lnTo>
                    <a:pt x="2396786" y="400339"/>
                  </a:lnTo>
                  <a:lnTo>
                    <a:pt x="2397423" y="401824"/>
                  </a:lnTo>
                  <a:lnTo>
                    <a:pt x="2399988" y="403457"/>
                  </a:lnTo>
                  <a:lnTo>
                    <a:pt x="2403078" y="404386"/>
                  </a:lnTo>
                  <a:lnTo>
                    <a:pt x="2402696" y="405654"/>
                  </a:lnTo>
                  <a:lnTo>
                    <a:pt x="2402556" y="407066"/>
                  </a:lnTo>
                  <a:lnTo>
                    <a:pt x="2409835" y="407282"/>
                  </a:lnTo>
                  <a:lnTo>
                    <a:pt x="2413008" y="408513"/>
                  </a:lnTo>
                  <a:lnTo>
                    <a:pt x="2416505" y="410343"/>
                  </a:lnTo>
                  <a:lnTo>
                    <a:pt x="2416129" y="412498"/>
                  </a:lnTo>
                  <a:lnTo>
                    <a:pt x="2417052" y="413715"/>
                  </a:lnTo>
                  <a:lnTo>
                    <a:pt x="2420276" y="413845"/>
                  </a:lnTo>
                  <a:lnTo>
                    <a:pt x="2421192" y="413641"/>
                  </a:lnTo>
                  <a:lnTo>
                    <a:pt x="2420155" y="416471"/>
                  </a:lnTo>
                  <a:lnTo>
                    <a:pt x="2415728" y="419544"/>
                  </a:lnTo>
                  <a:lnTo>
                    <a:pt x="2413113" y="420781"/>
                  </a:lnTo>
                  <a:lnTo>
                    <a:pt x="2410101" y="422807"/>
                  </a:lnTo>
                  <a:lnTo>
                    <a:pt x="2411759" y="423198"/>
                  </a:lnTo>
                  <a:lnTo>
                    <a:pt x="2419349" y="423763"/>
                  </a:lnTo>
                  <a:lnTo>
                    <a:pt x="2424033" y="427828"/>
                  </a:lnTo>
                  <a:lnTo>
                    <a:pt x="2424504" y="430788"/>
                  </a:lnTo>
                  <a:lnTo>
                    <a:pt x="2421567" y="431971"/>
                  </a:lnTo>
                  <a:lnTo>
                    <a:pt x="2414884" y="435782"/>
                  </a:lnTo>
                  <a:lnTo>
                    <a:pt x="2410861" y="437276"/>
                  </a:lnTo>
                  <a:lnTo>
                    <a:pt x="2408099" y="437394"/>
                  </a:lnTo>
                  <a:lnTo>
                    <a:pt x="2406104" y="437902"/>
                  </a:lnTo>
                  <a:lnTo>
                    <a:pt x="2409003" y="439543"/>
                  </a:lnTo>
                  <a:lnTo>
                    <a:pt x="2421546" y="439964"/>
                  </a:lnTo>
                  <a:lnTo>
                    <a:pt x="2425188" y="441967"/>
                  </a:lnTo>
                  <a:lnTo>
                    <a:pt x="2428071" y="447053"/>
                  </a:lnTo>
                  <a:lnTo>
                    <a:pt x="2428047" y="453242"/>
                  </a:lnTo>
                  <a:lnTo>
                    <a:pt x="2425236" y="456316"/>
                  </a:lnTo>
                  <a:lnTo>
                    <a:pt x="2417529" y="456834"/>
                  </a:lnTo>
                  <a:lnTo>
                    <a:pt x="2407362" y="449957"/>
                  </a:lnTo>
                  <a:lnTo>
                    <a:pt x="2401211" y="447297"/>
                  </a:lnTo>
                  <a:lnTo>
                    <a:pt x="2392508" y="442120"/>
                  </a:lnTo>
                  <a:lnTo>
                    <a:pt x="2390798" y="442988"/>
                  </a:lnTo>
                  <a:lnTo>
                    <a:pt x="2393349" y="447354"/>
                  </a:lnTo>
                  <a:lnTo>
                    <a:pt x="2397443" y="449772"/>
                  </a:lnTo>
                  <a:lnTo>
                    <a:pt x="2404789" y="456469"/>
                  </a:lnTo>
                  <a:lnTo>
                    <a:pt x="2417008" y="470188"/>
                  </a:lnTo>
                  <a:lnTo>
                    <a:pt x="2419855" y="469075"/>
                  </a:lnTo>
                  <a:lnTo>
                    <a:pt x="2421546" y="467342"/>
                  </a:lnTo>
                  <a:lnTo>
                    <a:pt x="2422377" y="465118"/>
                  </a:lnTo>
                  <a:lnTo>
                    <a:pt x="2421656" y="462047"/>
                  </a:lnTo>
                  <a:lnTo>
                    <a:pt x="2423616" y="463542"/>
                  </a:lnTo>
                  <a:lnTo>
                    <a:pt x="2425419" y="466289"/>
                  </a:lnTo>
                  <a:lnTo>
                    <a:pt x="2429157" y="470845"/>
                  </a:lnTo>
                  <a:lnTo>
                    <a:pt x="2424145" y="470619"/>
                  </a:lnTo>
                  <a:lnTo>
                    <a:pt x="2417840" y="472147"/>
                  </a:lnTo>
                  <a:lnTo>
                    <a:pt x="2415501" y="473954"/>
                  </a:lnTo>
                  <a:lnTo>
                    <a:pt x="2417257" y="476480"/>
                  </a:lnTo>
                  <a:lnTo>
                    <a:pt x="2421937" y="476844"/>
                  </a:lnTo>
                  <a:lnTo>
                    <a:pt x="2423932" y="480278"/>
                  </a:lnTo>
                  <a:lnTo>
                    <a:pt x="2427588" y="484517"/>
                  </a:lnTo>
                  <a:lnTo>
                    <a:pt x="2435815" y="496106"/>
                  </a:lnTo>
                  <a:lnTo>
                    <a:pt x="2441653" y="498297"/>
                  </a:lnTo>
                  <a:lnTo>
                    <a:pt x="2447299" y="503065"/>
                  </a:lnTo>
                  <a:lnTo>
                    <a:pt x="2452956" y="505274"/>
                  </a:lnTo>
                  <a:lnTo>
                    <a:pt x="2455860" y="505443"/>
                  </a:lnTo>
                  <a:lnTo>
                    <a:pt x="2457821" y="502458"/>
                  </a:lnTo>
                  <a:lnTo>
                    <a:pt x="2459475" y="503526"/>
                  </a:lnTo>
                  <a:lnTo>
                    <a:pt x="2460937" y="508855"/>
                  </a:lnTo>
                  <a:lnTo>
                    <a:pt x="2463668" y="511165"/>
                  </a:lnTo>
                  <a:lnTo>
                    <a:pt x="2466673" y="511321"/>
                  </a:lnTo>
                  <a:lnTo>
                    <a:pt x="2469123" y="510384"/>
                  </a:lnTo>
                  <a:lnTo>
                    <a:pt x="2472751" y="507861"/>
                  </a:lnTo>
                  <a:lnTo>
                    <a:pt x="2475619" y="504931"/>
                  </a:lnTo>
                  <a:lnTo>
                    <a:pt x="2480197" y="496839"/>
                  </a:lnTo>
                  <a:lnTo>
                    <a:pt x="2483235" y="492738"/>
                  </a:lnTo>
                  <a:lnTo>
                    <a:pt x="2486086" y="491058"/>
                  </a:lnTo>
                  <a:lnTo>
                    <a:pt x="2485100" y="489061"/>
                  </a:lnTo>
                  <a:lnTo>
                    <a:pt x="2485386" y="486744"/>
                  </a:lnTo>
                  <a:lnTo>
                    <a:pt x="2487489" y="481292"/>
                  </a:lnTo>
                  <a:lnTo>
                    <a:pt x="2490337" y="474802"/>
                  </a:lnTo>
                  <a:lnTo>
                    <a:pt x="2492507" y="471382"/>
                  </a:lnTo>
                  <a:lnTo>
                    <a:pt x="2497738" y="464433"/>
                  </a:lnTo>
                  <a:lnTo>
                    <a:pt x="2499763" y="463170"/>
                  </a:lnTo>
                  <a:lnTo>
                    <a:pt x="2501132" y="465414"/>
                  </a:lnTo>
                  <a:lnTo>
                    <a:pt x="2502298" y="468405"/>
                  </a:lnTo>
                  <a:lnTo>
                    <a:pt x="2503074" y="469685"/>
                  </a:lnTo>
                  <a:lnTo>
                    <a:pt x="2503862" y="470194"/>
                  </a:lnTo>
                  <a:lnTo>
                    <a:pt x="2510310" y="476279"/>
                  </a:lnTo>
                  <a:lnTo>
                    <a:pt x="2516839" y="481007"/>
                  </a:lnTo>
                  <a:lnTo>
                    <a:pt x="2522648" y="483322"/>
                  </a:lnTo>
                  <a:lnTo>
                    <a:pt x="2531801" y="485573"/>
                  </a:lnTo>
                  <a:lnTo>
                    <a:pt x="2545066" y="485253"/>
                  </a:lnTo>
                  <a:lnTo>
                    <a:pt x="2547524" y="482247"/>
                  </a:lnTo>
                  <a:lnTo>
                    <a:pt x="2552135" y="480025"/>
                  </a:lnTo>
                  <a:lnTo>
                    <a:pt x="2559586" y="478862"/>
                  </a:lnTo>
                  <a:lnTo>
                    <a:pt x="2564005" y="476129"/>
                  </a:lnTo>
                  <a:lnTo>
                    <a:pt x="2571204" y="475301"/>
                  </a:lnTo>
                  <a:lnTo>
                    <a:pt x="2575750" y="475751"/>
                  </a:lnTo>
                  <a:lnTo>
                    <a:pt x="2582733" y="477748"/>
                  </a:lnTo>
                  <a:lnTo>
                    <a:pt x="2598425" y="484078"/>
                  </a:lnTo>
                  <a:lnTo>
                    <a:pt x="2602839" y="486368"/>
                  </a:lnTo>
                  <a:lnTo>
                    <a:pt x="2605095" y="488825"/>
                  </a:lnTo>
                  <a:lnTo>
                    <a:pt x="2610250" y="492514"/>
                  </a:lnTo>
                  <a:lnTo>
                    <a:pt x="2613506" y="494308"/>
                  </a:lnTo>
                  <a:lnTo>
                    <a:pt x="2616642" y="495544"/>
                  </a:lnTo>
                  <a:lnTo>
                    <a:pt x="2617793" y="495166"/>
                  </a:lnTo>
                  <a:lnTo>
                    <a:pt x="2617395" y="494116"/>
                  </a:lnTo>
                  <a:lnTo>
                    <a:pt x="2615808" y="493086"/>
                  </a:lnTo>
                  <a:lnTo>
                    <a:pt x="2614527" y="491757"/>
                  </a:lnTo>
                  <a:lnTo>
                    <a:pt x="2618257" y="490376"/>
                  </a:lnTo>
                  <a:lnTo>
                    <a:pt x="2618695" y="489360"/>
                  </a:lnTo>
                  <a:lnTo>
                    <a:pt x="2619980" y="488483"/>
                  </a:lnTo>
                  <a:lnTo>
                    <a:pt x="2624921" y="487747"/>
                  </a:lnTo>
                  <a:lnTo>
                    <a:pt x="2620125" y="486402"/>
                  </a:lnTo>
                  <a:lnTo>
                    <a:pt x="2618467" y="486205"/>
                  </a:lnTo>
                  <a:lnTo>
                    <a:pt x="2616171" y="485365"/>
                  </a:lnTo>
                  <a:lnTo>
                    <a:pt x="2616370" y="483503"/>
                  </a:lnTo>
                  <a:lnTo>
                    <a:pt x="2617881" y="482127"/>
                  </a:lnTo>
                  <a:lnTo>
                    <a:pt x="2619045" y="479578"/>
                  </a:lnTo>
                  <a:lnTo>
                    <a:pt x="2620596" y="477936"/>
                  </a:lnTo>
                  <a:lnTo>
                    <a:pt x="2623155" y="476702"/>
                  </a:lnTo>
                  <a:lnTo>
                    <a:pt x="2625010" y="476437"/>
                  </a:lnTo>
                  <a:lnTo>
                    <a:pt x="2629589" y="478076"/>
                  </a:lnTo>
                  <a:lnTo>
                    <a:pt x="2632791" y="475128"/>
                  </a:lnTo>
                  <a:lnTo>
                    <a:pt x="2635228" y="475365"/>
                  </a:lnTo>
                  <a:lnTo>
                    <a:pt x="2640196" y="478349"/>
                  </a:lnTo>
                  <a:lnTo>
                    <a:pt x="2644718" y="482891"/>
                  </a:lnTo>
                  <a:lnTo>
                    <a:pt x="2647169" y="482894"/>
                  </a:lnTo>
                  <a:lnTo>
                    <a:pt x="2654066" y="481077"/>
                  </a:lnTo>
                  <a:lnTo>
                    <a:pt x="2661851" y="480986"/>
                  </a:lnTo>
                  <a:lnTo>
                    <a:pt x="2660846" y="478283"/>
                  </a:lnTo>
                  <a:lnTo>
                    <a:pt x="2655459" y="472439"/>
                  </a:lnTo>
                  <a:lnTo>
                    <a:pt x="2656074" y="464859"/>
                  </a:lnTo>
                  <a:lnTo>
                    <a:pt x="2652302" y="463140"/>
                  </a:lnTo>
                  <a:lnTo>
                    <a:pt x="2648033" y="462123"/>
                  </a:lnTo>
                  <a:lnTo>
                    <a:pt x="2654245" y="460186"/>
                  </a:lnTo>
                  <a:lnTo>
                    <a:pt x="2658819" y="453976"/>
                  </a:lnTo>
                  <a:lnTo>
                    <a:pt x="2662512" y="453416"/>
                  </a:lnTo>
                  <a:lnTo>
                    <a:pt x="2666350" y="452206"/>
                  </a:lnTo>
                  <a:lnTo>
                    <a:pt x="2665171" y="451447"/>
                  </a:lnTo>
                  <a:lnTo>
                    <a:pt x="2653731" y="450781"/>
                  </a:lnTo>
                  <a:lnTo>
                    <a:pt x="2651261" y="451528"/>
                  </a:lnTo>
                  <a:lnTo>
                    <a:pt x="2649607" y="453359"/>
                  </a:lnTo>
                  <a:lnTo>
                    <a:pt x="2643988" y="453359"/>
                  </a:lnTo>
                  <a:lnTo>
                    <a:pt x="2643295" y="449175"/>
                  </a:lnTo>
                  <a:lnTo>
                    <a:pt x="2643202" y="446461"/>
                  </a:lnTo>
                  <a:lnTo>
                    <a:pt x="2650562" y="440767"/>
                  </a:lnTo>
                  <a:lnTo>
                    <a:pt x="2653381" y="439532"/>
                  </a:lnTo>
                  <a:lnTo>
                    <a:pt x="2672164" y="439657"/>
                  </a:lnTo>
                  <a:lnTo>
                    <a:pt x="2677792" y="438579"/>
                  </a:lnTo>
                  <a:lnTo>
                    <a:pt x="2686066" y="435739"/>
                  </a:lnTo>
                  <a:lnTo>
                    <a:pt x="2683941" y="433936"/>
                  </a:lnTo>
                  <a:lnTo>
                    <a:pt x="2683712" y="430293"/>
                  </a:lnTo>
                  <a:lnTo>
                    <a:pt x="2676625" y="425010"/>
                  </a:lnTo>
                  <a:lnTo>
                    <a:pt x="2677148" y="423798"/>
                  </a:lnTo>
                  <a:lnTo>
                    <a:pt x="2677858" y="423023"/>
                  </a:lnTo>
                  <a:lnTo>
                    <a:pt x="2680071" y="422984"/>
                  </a:lnTo>
                  <a:lnTo>
                    <a:pt x="2691162" y="424383"/>
                  </a:lnTo>
                  <a:lnTo>
                    <a:pt x="2695774" y="427285"/>
                  </a:lnTo>
                  <a:lnTo>
                    <a:pt x="2707783" y="430133"/>
                  </a:lnTo>
                  <a:lnTo>
                    <a:pt x="2739943" y="431079"/>
                  </a:lnTo>
                  <a:lnTo>
                    <a:pt x="2743594" y="432128"/>
                  </a:lnTo>
                  <a:lnTo>
                    <a:pt x="2757369" y="433392"/>
                  </a:lnTo>
                  <a:lnTo>
                    <a:pt x="2763223" y="434778"/>
                  </a:lnTo>
                  <a:lnTo>
                    <a:pt x="2777169" y="436437"/>
                  </a:lnTo>
                  <a:lnTo>
                    <a:pt x="2783502" y="437612"/>
                  </a:lnTo>
                  <a:lnTo>
                    <a:pt x="2788552" y="439480"/>
                  </a:lnTo>
                  <a:lnTo>
                    <a:pt x="2796715" y="440563"/>
                  </a:lnTo>
                  <a:lnTo>
                    <a:pt x="2800466" y="441778"/>
                  </a:lnTo>
                  <a:lnTo>
                    <a:pt x="2800065" y="445630"/>
                  </a:lnTo>
                  <a:lnTo>
                    <a:pt x="2783089" y="445116"/>
                  </a:lnTo>
                  <a:lnTo>
                    <a:pt x="2777468" y="443842"/>
                  </a:lnTo>
                  <a:lnTo>
                    <a:pt x="2770494" y="443694"/>
                  </a:lnTo>
                  <a:lnTo>
                    <a:pt x="2767816" y="444275"/>
                  </a:lnTo>
                  <a:lnTo>
                    <a:pt x="2763642" y="447467"/>
                  </a:lnTo>
                  <a:lnTo>
                    <a:pt x="2758630" y="449136"/>
                  </a:lnTo>
                  <a:lnTo>
                    <a:pt x="2754391" y="449408"/>
                  </a:lnTo>
                  <a:lnTo>
                    <a:pt x="2757171" y="452151"/>
                  </a:lnTo>
                  <a:lnTo>
                    <a:pt x="2761057" y="452892"/>
                  </a:lnTo>
                  <a:lnTo>
                    <a:pt x="2773627" y="449363"/>
                  </a:lnTo>
                  <a:lnTo>
                    <a:pt x="2808011" y="447595"/>
                  </a:lnTo>
                  <a:lnTo>
                    <a:pt x="2813266" y="447887"/>
                  </a:lnTo>
                  <a:lnTo>
                    <a:pt x="2812718" y="450330"/>
                  </a:lnTo>
                  <a:lnTo>
                    <a:pt x="2808123" y="455013"/>
                  </a:lnTo>
                  <a:lnTo>
                    <a:pt x="2803754" y="458652"/>
                  </a:lnTo>
                  <a:lnTo>
                    <a:pt x="2797378" y="462387"/>
                  </a:lnTo>
                  <a:lnTo>
                    <a:pt x="2795002" y="462367"/>
                  </a:lnTo>
                  <a:lnTo>
                    <a:pt x="2799965" y="454435"/>
                  </a:lnTo>
                  <a:lnTo>
                    <a:pt x="2797909" y="454063"/>
                  </a:lnTo>
                  <a:lnTo>
                    <a:pt x="2796011" y="454237"/>
                  </a:lnTo>
                  <a:lnTo>
                    <a:pt x="2790437" y="450939"/>
                  </a:lnTo>
                  <a:lnTo>
                    <a:pt x="2789535" y="450773"/>
                  </a:lnTo>
                  <a:lnTo>
                    <a:pt x="2788453" y="451583"/>
                  </a:lnTo>
                  <a:lnTo>
                    <a:pt x="2788464" y="452775"/>
                  </a:lnTo>
                  <a:lnTo>
                    <a:pt x="2787445" y="457351"/>
                  </a:lnTo>
                  <a:lnTo>
                    <a:pt x="2789494" y="459265"/>
                  </a:lnTo>
                  <a:lnTo>
                    <a:pt x="2789494" y="462538"/>
                  </a:lnTo>
                  <a:lnTo>
                    <a:pt x="2781766" y="464646"/>
                  </a:lnTo>
                  <a:lnTo>
                    <a:pt x="2778758" y="464461"/>
                  </a:lnTo>
                  <a:lnTo>
                    <a:pt x="2775542" y="463122"/>
                  </a:lnTo>
                  <a:lnTo>
                    <a:pt x="2774176" y="463166"/>
                  </a:lnTo>
                  <a:lnTo>
                    <a:pt x="2773797" y="464198"/>
                  </a:lnTo>
                  <a:lnTo>
                    <a:pt x="2774480" y="466107"/>
                  </a:lnTo>
                  <a:lnTo>
                    <a:pt x="2774391" y="467085"/>
                  </a:lnTo>
                  <a:lnTo>
                    <a:pt x="2773156" y="468612"/>
                  </a:lnTo>
                  <a:lnTo>
                    <a:pt x="2772532" y="470268"/>
                  </a:lnTo>
                  <a:lnTo>
                    <a:pt x="2774432" y="472155"/>
                  </a:lnTo>
                  <a:lnTo>
                    <a:pt x="2776931" y="472629"/>
                  </a:lnTo>
                  <a:lnTo>
                    <a:pt x="2790557" y="470551"/>
                  </a:lnTo>
                  <a:lnTo>
                    <a:pt x="2796493" y="468010"/>
                  </a:lnTo>
                  <a:lnTo>
                    <a:pt x="2803010" y="463331"/>
                  </a:lnTo>
                  <a:lnTo>
                    <a:pt x="2814658" y="451949"/>
                  </a:lnTo>
                  <a:lnTo>
                    <a:pt x="2819795" y="448027"/>
                  </a:lnTo>
                  <a:lnTo>
                    <a:pt x="2822774" y="446538"/>
                  </a:lnTo>
                  <a:lnTo>
                    <a:pt x="2826582" y="445996"/>
                  </a:lnTo>
                  <a:lnTo>
                    <a:pt x="2847987" y="447199"/>
                  </a:lnTo>
                  <a:lnTo>
                    <a:pt x="2860432" y="449675"/>
                  </a:lnTo>
                  <a:lnTo>
                    <a:pt x="2872300" y="453325"/>
                  </a:lnTo>
                  <a:lnTo>
                    <a:pt x="2878151" y="456348"/>
                  </a:lnTo>
                  <a:lnTo>
                    <a:pt x="2882505" y="460440"/>
                  </a:lnTo>
                  <a:lnTo>
                    <a:pt x="2883281" y="462160"/>
                  </a:lnTo>
                  <a:lnTo>
                    <a:pt x="2883695" y="464419"/>
                  </a:lnTo>
                  <a:lnTo>
                    <a:pt x="2880692" y="466585"/>
                  </a:lnTo>
                  <a:lnTo>
                    <a:pt x="2867394" y="467303"/>
                  </a:lnTo>
                  <a:lnTo>
                    <a:pt x="2862287" y="468527"/>
                  </a:lnTo>
                  <a:lnTo>
                    <a:pt x="2860443" y="469881"/>
                  </a:lnTo>
                  <a:lnTo>
                    <a:pt x="2860212" y="470647"/>
                  </a:lnTo>
                  <a:lnTo>
                    <a:pt x="2859515" y="471857"/>
                  </a:lnTo>
                  <a:lnTo>
                    <a:pt x="2860506" y="472848"/>
                  </a:lnTo>
                  <a:lnTo>
                    <a:pt x="2866469" y="472951"/>
                  </a:lnTo>
                  <a:lnTo>
                    <a:pt x="2872222" y="473932"/>
                  </a:lnTo>
                  <a:lnTo>
                    <a:pt x="2880162" y="476492"/>
                  </a:lnTo>
                  <a:lnTo>
                    <a:pt x="2881391" y="477341"/>
                  </a:lnTo>
                  <a:lnTo>
                    <a:pt x="2883907" y="479767"/>
                  </a:lnTo>
                  <a:lnTo>
                    <a:pt x="2884667" y="480196"/>
                  </a:lnTo>
                  <a:lnTo>
                    <a:pt x="2896584" y="479817"/>
                  </a:lnTo>
                  <a:lnTo>
                    <a:pt x="2897360" y="480684"/>
                  </a:lnTo>
                  <a:lnTo>
                    <a:pt x="2898087" y="482466"/>
                  </a:lnTo>
                  <a:lnTo>
                    <a:pt x="2894933" y="485293"/>
                  </a:lnTo>
                  <a:lnTo>
                    <a:pt x="2891830" y="487207"/>
                  </a:lnTo>
                  <a:lnTo>
                    <a:pt x="2885481" y="491767"/>
                  </a:lnTo>
                  <a:lnTo>
                    <a:pt x="2888694" y="490118"/>
                  </a:lnTo>
                  <a:lnTo>
                    <a:pt x="2901490" y="486227"/>
                  </a:lnTo>
                  <a:lnTo>
                    <a:pt x="2904721" y="485512"/>
                  </a:lnTo>
                  <a:lnTo>
                    <a:pt x="2908647" y="485786"/>
                  </a:lnTo>
                  <a:lnTo>
                    <a:pt x="2918313" y="489315"/>
                  </a:lnTo>
                  <a:lnTo>
                    <a:pt x="2922234" y="492122"/>
                  </a:lnTo>
                  <a:lnTo>
                    <a:pt x="2929597" y="499998"/>
                  </a:lnTo>
                  <a:lnTo>
                    <a:pt x="2927542" y="500838"/>
                  </a:lnTo>
                  <a:lnTo>
                    <a:pt x="2922284" y="501647"/>
                  </a:lnTo>
                  <a:lnTo>
                    <a:pt x="2938797" y="507611"/>
                  </a:lnTo>
                  <a:lnTo>
                    <a:pt x="2945199" y="507564"/>
                  </a:lnTo>
                  <a:lnTo>
                    <a:pt x="2959844" y="505834"/>
                  </a:lnTo>
                  <a:lnTo>
                    <a:pt x="2967218" y="505779"/>
                  </a:lnTo>
                  <a:lnTo>
                    <a:pt x="2980924" y="501970"/>
                  </a:lnTo>
                  <a:lnTo>
                    <a:pt x="2994534" y="499556"/>
                  </a:lnTo>
                  <a:lnTo>
                    <a:pt x="3007059" y="499379"/>
                  </a:lnTo>
                  <a:lnTo>
                    <a:pt x="3013677" y="497078"/>
                  </a:lnTo>
                  <a:lnTo>
                    <a:pt x="3031131" y="497149"/>
                  </a:lnTo>
                  <a:lnTo>
                    <a:pt x="3047998" y="497927"/>
                  </a:lnTo>
                  <a:lnTo>
                    <a:pt x="3061037" y="499352"/>
                  </a:lnTo>
                  <a:lnTo>
                    <a:pt x="3075745" y="503561"/>
                  </a:lnTo>
                  <a:lnTo>
                    <a:pt x="3090085" y="509371"/>
                  </a:lnTo>
                  <a:lnTo>
                    <a:pt x="3098426" y="515034"/>
                  </a:lnTo>
                  <a:lnTo>
                    <a:pt x="3100124" y="516826"/>
                  </a:lnTo>
                  <a:lnTo>
                    <a:pt x="3102493" y="520779"/>
                  </a:lnTo>
                  <a:lnTo>
                    <a:pt x="3103527" y="524072"/>
                  </a:lnTo>
                  <a:lnTo>
                    <a:pt x="3104585" y="528613"/>
                  </a:lnTo>
                  <a:lnTo>
                    <a:pt x="3104076" y="532124"/>
                  </a:lnTo>
                  <a:lnTo>
                    <a:pt x="3102002" y="534609"/>
                  </a:lnTo>
                  <a:lnTo>
                    <a:pt x="3100715" y="537675"/>
                  </a:lnTo>
                  <a:lnTo>
                    <a:pt x="3100886" y="541294"/>
                  </a:lnTo>
                  <a:lnTo>
                    <a:pt x="3098459" y="546023"/>
                  </a:lnTo>
                  <a:lnTo>
                    <a:pt x="3100739" y="549383"/>
                  </a:lnTo>
                  <a:lnTo>
                    <a:pt x="3107077" y="551554"/>
                  </a:lnTo>
                  <a:lnTo>
                    <a:pt x="3120794" y="554485"/>
                  </a:lnTo>
                  <a:lnTo>
                    <a:pt x="3124581" y="556401"/>
                  </a:lnTo>
                  <a:lnTo>
                    <a:pt x="3124983" y="562190"/>
                  </a:lnTo>
                  <a:lnTo>
                    <a:pt x="3126157" y="567036"/>
                  </a:lnTo>
                  <a:lnTo>
                    <a:pt x="3127341" y="576230"/>
                  </a:lnTo>
                  <a:lnTo>
                    <a:pt x="3129669" y="578532"/>
                  </a:lnTo>
                  <a:lnTo>
                    <a:pt x="3133406" y="580725"/>
                  </a:lnTo>
                  <a:lnTo>
                    <a:pt x="3134087" y="583709"/>
                  </a:lnTo>
                  <a:lnTo>
                    <a:pt x="3129407" y="593403"/>
                  </a:lnTo>
                  <a:lnTo>
                    <a:pt x="3126481" y="595185"/>
                  </a:lnTo>
                  <a:lnTo>
                    <a:pt x="3123371" y="597843"/>
                  </a:lnTo>
                  <a:lnTo>
                    <a:pt x="3128866" y="596915"/>
                  </a:lnTo>
                  <a:lnTo>
                    <a:pt x="3131645" y="593401"/>
                  </a:lnTo>
                  <a:lnTo>
                    <a:pt x="3134629" y="586884"/>
                  </a:lnTo>
                  <a:lnTo>
                    <a:pt x="3137507" y="585847"/>
                  </a:lnTo>
                  <a:lnTo>
                    <a:pt x="3139062" y="583709"/>
                  </a:lnTo>
                  <a:lnTo>
                    <a:pt x="3139062" y="577559"/>
                  </a:lnTo>
                  <a:lnTo>
                    <a:pt x="3137170" y="572208"/>
                  </a:lnTo>
                  <a:lnTo>
                    <a:pt x="3137170" y="568376"/>
                  </a:lnTo>
                  <a:lnTo>
                    <a:pt x="3138427" y="565277"/>
                  </a:lnTo>
                  <a:lnTo>
                    <a:pt x="3147453" y="558801"/>
                  </a:lnTo>
                  <a:lnTo>
                    <a:pt x="3152338" y="556196"/>
                  </a:lnTo>
                  <a:lnTo>
                    <a:pt x="3156974" y="554725"/>
                  </a:lnTo>
                  <a:lnTo>
                    <a:pt x="3169555" y="553402"/>
                  </a:lnTo>
                  <a:lnTo>
                    <a:pt x="3175232" y="552145"/>
                  </a:lnTo>
                  <a:lnTo>
                    <a:pt x="3181792" y="552989"/>
                  </a:lnTo>
                  <a:lnTo>
                    <a:pt x="3186375" y="552653"/>
                  </a:lnTo>
                  <a:lnTo>
                    <a:pt x="3191697" y="551342"/>
                  </a:lnTo>
                  <a:lnTo>
                    <a:pt x="3196420" y="551966"/>
                  </a:lnTo>
                  <a:lnTo>
                    <a:pt x="3204241" y="556292"/>
                  </a:lnTo>
                  <a:lnTo>
                    <a:pt x="3231824" y="557261"/>
                  </a:lnTo>
                  <a:lnTo>
                    <a:pt x="3236683" y="558767"/>
                  </a:lnTo>
                  <a:lnTo>
                    <a:pt x="3255254" y="560585"/>
                  </a:lnTo>
                  <a:lnTo>
                    <a:pt x="3256671" y="560572"/>
                  </a:lnTo>
                  <a:lnTo>
                    <a:pt x="3260845" y="558436"/>
                  </a:lnTo>
                  <a:lnTo>
                    <a:pt x="3273117" y="551138"/>
                  </a:lnTo>
                  <a:lnTo>
                    <a:pt x="3278174" y="551615"/>
                  </a:lnTo>
                  <a:lnTo>
                    <a:pt x="3280236" y="552757"/>
                  </a:lnTo>
                  <a:lnTo>
                    <a:pt x="3282393" y="555645"/>
                  </a:lnTo>
                  <a:lnTo>
                    <a:pt x="3284656" y="557537"/>
                  </a:lnTo>
                  <a:lnTo>
                    <a:pt x="3286425" y="562640"/>
                  </a:lnTo>
                  <a:lnTo>
                    <a:pt x="3288040" y="569491"/>
                  </a:lnTo>
                  <a:lnTo>
                    <a:pt x="3290695" y="570736"/>
                  </a:lnTo>
                  <a:lnTo>
                    <a:pt x="3294333" y="571170"/>
                  </a:lnTo>
                  <a:lnTo>
                    <a:pt x="3302262" y="573700"/>
                  </a:lnTo>
                  <a:lnTo>
                    <a:pt x="3310320" y="576954"/>
                  </a:lnTo>
                  <a:lnTo>
                    <a:pt x="3312620" y="583150"/>
                  </a:lnTo>
                  <a:lnTo>
                    <a:pt x="3316937" y="588311"/>
                  </a:lnTo>
                  <a:lnTo>
                    <a:pt x="3327015" y="587823"/>
                  </a:lnTo>
                  <a:lnTo>
                    <a:pt x="3337451" y="586792"/>
                  </a:lnTo>
                  <a:lnTo>
                    <a:pt x="3347575" y="578282"/>
                  </a:lnTo>
                  <a:lnTo>
                    <a:pt x="3347602" y="574812"/>
                  </a:lnTo>
                  <a:lnTo>
                    <a:pt x="3345106" y="569797"/>
                  </a:lnTo>
                  <a:lnTo>
                    <a:pt x="3341355" y="564938"/>
                  </a:lnTo>
                  <a:lnTo>
                    <a:pt x="3338438" y="557303"/>
                  </a:lnTo>
                  <a:lnTo>
                    <a:pt x="3329122" y="555608"/>
                  </a:lnTo>
                  <a:lnTo>
                    <a:pt x="3330012" y="553384"/>
                  </a:lnTo>
                  <a:lnTo>
                    <a:pt x="3333514" y="550720"/>
                  </a:lnTo>
                  <a:lnTo>
                    <a:pt x="3336689" y="546562"/>
                  </a:lnTo>
                  <a:lnTo>
                    <a:pt x="3337181" y="543353"/>
                  </a:lnTo>
                  <a:lnTo>
                    <a:pt x="3336328" y="536640"/>
                  </a:lnTo>
                  <a:lnTo>
                    <a:pt x="3344756" y="537096"/>
                  </a:lnTo>
                  <a:lnTo>
                    <a:pt x="3353130" y="537885"/>
                  </a:lnTo>
                  <a:lnTo>
                    <a:pt x="3369135" y="540884"/>
                  </a:lnTo>
                  <a:lnTo>
                    <a:pt x="3382161" y="542149"/>
                  </a:lnTo>
                  <a:lnTo>
                    <a:pt x="3389009" y="544068"/>
                  </a:lnTo>
                  <a:lnTo>
                    <a:pt x="3393146" y="546231"/>
                  </a:lnTo>
                  <a:lnTo>
                    <a:pt x="3398034" y="547852"/>
                  </a:lnTo>
                  <a:lnTo>
                    <a:pt x="3399713" y="543900"/>
                  </a:lnTo>
                  <a:lnTo>
                    <a:pt x="3401600" y="543000"/>
                  </a:lnTo>
                  <a:lnTo>
                    <a:pt x="3408117" y="545199"/>
                  </a:lnTo>
                  <a:lnTo>
                    <a:pt x="3412864" y="545869"/>
                  </a:lnTo>
                  <a:lnTo>
                    <a:pt x="3421076" y="545573"/>
                  </a:lnTo>
                  <a:lnTo>
                    <a:pt x="3431382" y="546597"/>
                  </a:lnTo>
                  <a:lnTo>
                    <a:pt x="3442660" y="546424"/>
                  </a:lnTo>
                  <a:lnTo>
                    <a:pt x="3452734" y="544684"/>
                  </a:lnTo>
                  <a:lnTo>
                    <a:pt x="3456500" y="545033"/>
                  </a:lnTo>
                  <a:lnTo>
                    <a:pt x="3460614" y="546414"/>
                  </a:lnTo>
                  <a:lnTo>
                    <a:pt x="3467312" y="550030"/>
                  </a:lnTo>
                  <a:lnTo>
                    <a:pt x="3478677" y="554845"/>
                  </a:lnTo>
                  <a:lnTo>
                    <a:pt x="3489072" y="556195"/>
                  </a:lnTo>
                  <a:lnTo>
                    <a:pt x="3500994" y="560740"/>
                  </a:lnTo>
                  <a:lnTo>
                    <a:pt x="3512252" y="562407"/>
                  </a:lnTo>
                  <a:lnTo>
                    <a:pt x="3521219" y="564978"/>
                  </a:lnTo>
                  <a:lnTo>
                    <a:pt x="3522515" y="565957"/>
                  </a:lnTo>
                  <a:lnTo>
                    <a:pt x="3522914" y="567367"/>
                  </a:lnTo>
                  <a:lnTo>
                    <a:pt x="3523483" y="568544"/>
                  </a:lnTo>
                  <a:lnTo>
                    <a:pt x="3530602" y="569951"/>
                  </a:lnTo>
                  <a:lnTo>
                    <a:pt x="3543771" y="579547"/>
                  </a:lnTo>
                  <a:lnTo>
                    <a:pt x="3546685" y="580680"/>
                  </a:lnTo>
                  <a:lnTo>
                    <a:pt x="3546686" y="580680"/>
                  </a:lnTo>
                  <a:lnTo>
                    <a:pt x="3551140" y="582345"/>
                  </a:lnTo>
                  <a:lnTo>
                    <a:pt x="3555631" y="583658"/>
                  </a:lnTo>
                  <a:lnTo>
                    <a:pt x="3557421" y="583246"/>
                  </a:lnTo>
                  <a:lnTo>
                    <a:pt x="3558385" y="583430"/>
                  </a:lnTo>
                  <a:lnTo>
                    <a:pt x="3560926" y="585726"/>
                  </a:lnTo>
                  <a:lnTo>
                    <a:pt x="3562621" y="586799"/>
                  </a:lnTo>
                  <a:lnTo>
                    <a:pt x="3571586" y="589542"/>
                  </a:lnTo>
                  <a:lnTo>
                    <a:pt x="3575667" y="592584"/>
                  </a:lnTo>
                  <a:lnTo>
                    <a:pt x="3579001" y="596026"/>
                  </a:lnTo>
                  <a:lnTo>
                    <a:pt x="3577340" y="595356"/>
                  </a:lnTo>
                  <a:lnTo>
                    <a:pt x="3574293" y="593150"/>
                  </a:lnTo>
                  <a:lnTo>
                    <a:pt x="3574623" y="595743"/>
                  </a:lnTo>
                  <a:lnTo>
                    <a:pt x="3575593" y="597549"/>
                  </a:lnTo>
                  <a:lnTo>
                    <a:pt x="3580430" y="599247"/>
                  </a:lnTo>
                  <a:lnTo>
                    <a:pt x="3585504" y="600593"/>
                  </a:lnTo>
                  <a:lnTo>
                    <a:pt x="3588754" y="602197"/>
                  </a:lnTo>
                  <a:lnTo>
                    <a:pt x="3589833" y="603590"/>
                  </a:lnTo>
                  <a:lnTo>
                    <a:pt x="3590496" y="606102"/>
                  </a:lnTo>
                  <a:lnTo>
                    <a:pt x="3589675" y="608312"/>
                  </a:lnTo>
                  <a:lnTo>
                    <a:pt x="3592625" y="607486"/>
                  </a:lnTo>
                  <a:lnTo>
                    <a:pt x="3595403" y="605519"/>
                  </a:lnTo>
                  <a:lnTo>
                    <a:pt x="3593964" y="603980"/>
                  </a:lnTo>
                  <a:lnTo>
                    <a:pt x="3584618" y="598602"/>
                  </a:lnTo>
                  <a:lnTo>
                    <a:pt x="3582660" y="596793"/>
                  </a:lnTo>
                  <a:lnTo>
                    <a:pt x="3585384" y="597725"/>
                  </a:lnTo>
                  <a:lnTo>
                    <a:pt x="3597915" y="604570"/>
                  </a:lnTo>
                  <a:lnTo>
                    <a:pt x="3601362" y="607186"/>
                  </a:lnTo>
                  <a:lnTo>
                    <a:pt x="3599904" y="607691"/>
                  </a:lnTo>
                  <a:lnTo>
                    <a:pt x="3598883" y="609216"/>
                  </a:lnTo>
                  <a:lnTo>
                    <a:pt x="3599993" y="609865"/>
                  </a:lnTo>
                  <a:lnTo>
                    <a:pt x="3601503" y="609382"/>
                  </a:lnTo>
                  <a:lnTo>
                    <a:pt x="3604010" y="609065"/>
                  </a:lnTo>
                  <a:lnTo>
                    <a:pt x="3606445" y="609930"/>
                  </a:lnTo>
                  <a:lnTo>
                    <a:pt x="3609222" y="611755"/>
                  </a:lnTo>
                  <a:lnTo>
                    <a:pt x="3615072" y="613870"/>
                  </a:lnTo>
                  <a:lnTo>
                    <a:pt x="3649612" y="630590"/>
                  </a:lnTo>
                  <a:lnTo>
                    <a:pt x="3650394" y="633458"/>
                  </a:lnTo>
                  <a:lnTo>
                    <a:pt x="3651366" y="634798"/>
                  </a:lnTo>
                  <a:lnTo>
                    <a:pt x="3651948" y="636507"/>
                  </a:lnTo>
                  <a:lnTo>
                    <a:pt x="3652104" y="639306"/>
                  </a:lnTo>
                  <a:lnTo>
                    <a:pt x="3648959" y="642659"/>
                  </a:lnTo>
                  <a:lnTo>
                    <a:pt x="3653817" y="642359"/>
                  </a:lnTo>
                  <a:lnTo>
                    <a:pt x="3654530" y="641925"/>
                  </a:lnTo>
                  <a:lnTo>
                    <a:pt x="3655794" y="640555"/>
                  </a:lnTo>
                  <a:lnTo>
                    <a:pt x="3657186" y="639651"/>
                  </a:lnTo>
                  <a:lnTo>
                    <a:pt x="3659057" y="640775"/>
                  </a:lnTo>
                  <a:lnTo>
                    <a:pt x="3660566" y="642978"/>
                  </a:lnTo>
                  <a:lnTo>
                    <a:pt x="3660122" y="645990"/>
                  </a:lnTo>
                  <a:lnTo>
                    <a:pt x="3658784" y="648425"/>
                  </a:lnTo>
                  <a:lnTo>
                    <a:pt x="3658613" y="652552"/>
                  </a:lnTo>
                  <a:lnTo>
                    <a:pt x="3659787" y="656012"/>
                  </a:lnTo>
                  <a:lnTo>
                    <a:pt x="3661033" y="657460"/>
                  </a:lnTo>
                  <a:lnTo>
                    <a:pt x="3662029" y="659119"/>
                  </a:lnTo>
                  <a:lnTo>
                    <a:pt x="3662304" y="664041"/>
                  </a:lnTo>
                  <a:lnTo>
                    <a:pt x="3660118" y="666245"/>
                  </a:lnTo>
                  <a:lnTo>
                    <a:pt x="3658906" y="670014"/>
                  </a:lnTo>
                  <a:lnTo>
                    <a:pt x="3660247" y="670384"/>
                  </a:lnTo>
                  <a:lnTo>
                    <a:pt x="3664440" y="670744"/>
                  </a:lnTo>
                  <a:lnTo>
                    <a:pt x="3665815" y="671410"/>
                  </a:lnTo>
                  <a:lnTo>
                    <a:pt x="3668219" y="673164"/>
                  </a:lnTo>
                  <a:lnTo>
                    <a:pt x="3668794" y="674853"/>
                  </a:lnTo>
                  <a:lnTo>
                    <a:pt x="3669323" y="677151"/>
                  </a:lnTo>
                  <a:lnTo>
                    <a:pt x="3670099" y="679285"/>
                  </a:lnTo>
                  <a:lnTo>
                    <a:pt x="3670643" y="680306"/>
                  </a:lnTo>
                  <a:lnTo>
                    <a:pt x="3671264" y="680155"/>
                  </a:lnTo>
                  <a:lnTo>
                    <a:pt x="3673675" y="677204"/>
                  </a:lnTo>
                  <a:lnTo>
                    <a:pt x="3674802" y="676323"/>
                  </a:lnTo>
                  <a:lnTo>
                    <a:pt x="3677483" y="675557"/>
                  </a:lnTo>
                  <a:lnTo>
                    <a:pt x="3678965" y="678897"/>
                  </a:lnTo>
                  <a:lnTo>
                    <a:pt x="3677920" y="684521"/>
                  </a:lnTo>
                  <a:lnTo>
                    <a:pt x="3678795" y="684518"/>
                  </a:lnTo>
                  <a:lnTo>
                    <a:pt x="3679479" y="683926"/>
                  </a:lnTo>
                  <a:lnTo>
                    <a:pt x="3680342" y="682420"/>
                  </a:lnTo>
                  <a:lnTo>
                    <a:pt x="3681570" y="681548"/>
                  </a:lnTo>
                  <a:lnTo>
                    <a:pt x="3683071" y="679503"/>
                  </a:lnTo>
                  <a:lnTo>
                    <a:pt x="3684356" y="676975"/>
                  </a:lnTo>
                  <a:lnTo>
                    <a:pt x="3682840" y="674997"/>
                  </a:lnTo>
                  <a:lnTo>
                    <a:pt x="3681106" y="673761"/>
                  </a:lnTo>
                  <a:lnTo>
                    <a:pt x="3677105" y="673064"/>
                  </a:lnTo>
                  <a:lnTo>
                    <a:pt x="3675016" y="671583"/>
                  </a:lnTo>
                  <a:lnTo>
                    <a:pt x="3674236" y="669691"/>
                  </a:lnTo>
                  <a:lnTo>
                    <a:pt x="3676271" y="668922"/>
                  </a:lnTo>
                  <a:lnTo>
                    <a:pt x="3678017" y="667546"/>
                  </a:lnTo>
                  <a:lnTo>
                    <a:pt x="3679235" y="664253"/>
                  </a:lnTo>
                  <a:lnTo>
                    <a:pt x="3678941" y="662442"/>
                  </a:lnTo>
                  <a:lnTo>
                    <a:pt x="3678451" y="660655"/>
                  </a:lnTo>
                  <a:lnTo>
                    <a:pt x="3677446" y="658149"/>
                  </a:lnTo>
                  <a:lnTo>
                    <a:pt x="3675945" y="656691"/>
                  </a:lnTo>
                  <a:lnTo>
                    <a:pt x="3673088" y="655963"/>
                  </a:lnTo>
                  <a:lnTo>
                    <a:pt x="3671798" y="654539"/>
                  </a:lnTo>
                  <a:lnTo>
                    <a:pt x="3669830" y="654618"/>
                  </a:lnTo>
                  <a:lnTo>
                    <a:pt x="3667882" y="654192"/>
                  </a:lnTo>
                  <a:lnTo>
                    <a:pt x="3667096" y="653671"/>
                  </a:lnTo>
                  <a:lnTo>
                    <a:pt x="3667194" y="652641"/>
                  </a:lnTo>
                  <a:lnTo>
                    <a:pt x="3669461" y="652175"/>
                  </a:lnTo>
                  <a:lnTo>
                    <a:pt x="3681922" y="652051"/>
                  </a:lnTo>
                  <a:lnTo>
                    <a:pt x="3686440" y="650619"/>
                  </a:lnTo>
                  <a:lnTo>
                    <a:pt x="3688499" y="651068"/>
                  </a:lnTo>
                  <a:lnTo>
                    <a:pt x="3690546" y="652098"/>
                  </a:lnTo>
                  <a:lnTo>
                    <a:pt x="3697980" y="653445"/>
                  </a:lnTo>
                  <a:lnTo>
                    <a:pt x="3697763" y="654073"/>
                  </a:lnTo>
                  <a:lnTo>
                    <a:pt x="3696513" y="654712"/>
                  </a:lnTo>
                  <a:lnTo>
                    <a:pt x="3694316" y="657703"/>
                  </a:lnTo>
                  <a:lnTo>
                    <a:pt x="3693884" y="659401"/>
                  </a:lnTo>
                  <a:lnTo>
                    <a:pt x="3693789" y="661552"/>
                  </a:lnTo>
                  <a:lnTo>
                    <a:pt x="3695744" y="661971"/>
                  </a:lnTo>
                  <a:lnTo>
                    <a:pt x="3697591" y="661060"/>
                  </a:lnTo>
                  <a:lnTo>
                    <a:pt x="3696690" y="659326"/>
                  </a:lnTo>
                  <a:lnTo>
                    <a:pt x="3696422" y="657193"/>
                  </a:lnTo>
                  <a:lnTo>
                    <a:pt x="3697202" y="656259"/>
                  </a:lnTo>
                  <a:lnTo>
                    <a:pt x="3698223" y="656059"/>
                  </a:lnTo>
                  <a:lnTo>
                    <a:pt x="3700176" y="657665"/>
                  </a:lnTo>
                  <a:lnTo>
                    <a:pt x="3702297" y="658176"/>
                  </a:lnTo>
                  <a:lnTo>
                    <a:pt x="3709417" y="658814"/>
                  </a:lnTo>
                  <a:lnTo>
                    <a:pt x="3711434" y="658608"/>
                  </a:lnTo>
                  <a:lnTo>
                    <a:pt x="3712081" y="657791"/>
                  </a:lnTo>
                  <a:lnTo>
                    <a:pt x="3710691" y="656847"/>
                  </a:lnTo>
                  <a:lnTo>
                    <a:pt x="3701428" y="654754"/>
                  </a:lnTo>
                  <a:lnTo>
                    <a:pt x="3701304" y="653602"/>
                  </a:lnTo>
                  <a:lnTo>
                    <a:pt x="3709849" y="655022"/>
                  </a:lnTo>
                  <a:lnTo>
                    <a:pt x="3713691" y="656329"/>
                  </a:lnTo>
                  <a:lnTo>
                    <a:pt x="3717524" y="657303"/>
                  </a:lnTo>
                  <a:lnTo>
                    <a:pt x="3722885" y="657016"/>
                  </a:lnTo>
                  <a:lnTo>
                    <a:pt x="3728103" y="658563"/>
                  </a:lnTo>
                  <a:lnTo>
                    <a:pt x="3733099" y="662765"/>
                  </a:lnTo>
                  <a:lnTo>
                    <a:pt x="3737722" y="668029"/>
                  </a:lnTo>
                  <a:lnTo>
                    <a:pt x="3742393" y="671139"/>
                  </a:lnTo>
                  <a:lnTo>
                    <a:pt x="3747315" y="673467"/>
                  </a:lnTo>
                  <a:lnTo>
                    <a:pt x="3755519" y="679828"/>
                  </a:lnTo>
                  <a:lnTo>
                    <a:pt x="3756540" y="680328"/>
                  </a:lnTo>
                  <a:lnTo>
                    <a:pt x="3757345" y="681188"/>
                  </a:lnTo>
                  <a:lnTo>
                    <a:pt x="3755803" y="682262"/>
                  </a:lnTo>
                  <a:lnTo>
                    <a:pt x="3754441" y="683811"/>
                  </a:lnTo>
                  <a:lnTo>
                    <a:pt x="3757120" y="682740"/>
                  </a:lnTo>
                  <a:lnTo>
                    <a:pt x="3759820" y="682011"/>
                  </a:lnTo>
                  <a:lnTo>
                    <a:pt x="3761146" y="682153"/>
                  </a:lnTo>
                  <a:lnTo>
                    <a:pt x="3762345" y="682968"/>
                  </a:lnTo>
                  <a:lnTo>
                    <a:pt x="3763127" y="684270"/>
                  </a:lnTo>
                  <a:lnTo>
                    <a:pt x="3763562" y="685561"/>
                  </a:lnTo>
                  <a:lnTo>
                    <a:pt x="3762412" y="686735"/>
                  </a:lnTo>
                  <a:lnTo>
                    <a:pt x="3770264" y="686948"/>
                  </a:lnTo>
                  <a:lnTo>
                    <a:pt x="3772718" y="687695"/>
                  </a:lnTo>
                  <a:lnTo>
                    <a:pt x="3773795" y="690810"/>
                  </a:lnTo>
                  <a:lnTo>
                    <a:pt x="3771527" y="692976"/>
                  </a:lnTo>
                  <a:lnTo>
                    <a:pt x="3770201" y="692713"/>
                  </a:lnTo>
                  <a:lnTo>
                    <a:pt x="3768927" y="691802"/>
                  </a:lnTo>
                  <a:lnTo>
                    <a:pt x="3767722" y="691711"/>
                  </a:lnTo>
                  <a:lnTo>
                    <a:pt x="3764280" y="692641"/>
                  </a:lnTo>
                  <a:lnTo>
                    <a:pt x="3758939" y="695549"/>
                  </a:lnTo>
                  <a:lnTo>
                    <a:pt x="3755851" y="697852"/>
                  </a:lnTo>
                  <a:lnTo>
                    <a:pt x="3755356" y="699378"/>
                  </a:lnTo>
                  <a:lnTo>
                    <a:pt x="3755834" y="703505"/>
                  </a:lnTo>
                  <a:lnTo>
                    <a:pt x="3755401" y="705469"/>
                  </a:lnTo>
                  <a:lnTo>
                    <a:pt x="3753073" y="706730"/>
                  </a:lnTo>
                  <a:lnTo>
                    <a:pt x="3747974" y="705964"/>
                  </a:lnTo>
                  <a:lnTo>
                    <a:pt x="3745661" y="705154"/>
                  </a:lnTo>
                  <a:lnTo>
                    <a:pt x="3743063" y="704059"/>
                  </a:lnTo>
                  <a:lnTo>
                    <a:pt x="3740563" y="702537"/>
                  </a:lnTo>
                  <a:lnTo>
                    <a:pt x="3737360" y="700093"/>
                  </a:lnTo>
                  <a:lnTo>
                    <a:pt x="3736373" y="699860"/>
                  </a:lnTo>
                  <a:lnTo>
                    <a:pt x="3735718" y="700447"/>
                  </a:lnTo>
                  <a:lnTo>
                    <a:pt x="3736811" y="701995"/>
                  </a:lnTo>
                  <a:lnTo>
                    <a:pt x="3738989" y="703933"/>
                  </a:lnTo>
                  <a:lnTo>
                    <a:pt x="3742721" y="706492"/>
                  </a:lnTo>
                  <a:lnTo>
                    <a:pt x="3744494" y="709328"/>
                  </a:lnTo>
                  <a:lnTo>
                    <a:pt x="3743353" y="710739"/>
                  </a:lnTo>
                  <a:lnTo>
                    <a:pt x="3741935" y="711063"/>
                  </a:lnTo>
                  <a:lnTo>
                    <a:pt x="3740917" y="711038"/>
                  </a:lnTo>
                  <a:lnTo>
                    <a:pt x="3737650" y="710153"/>
                  </a:lnTo>
                  <a:lnTo>
                    <a:pt x="3735384" y="709939"/>
                  </a:lnTo>
                  <a:lnTo>
                    <a:pt x="3728217" y="710761"/>
                  </a:lnTo>
                  <a:lnTo>
                    <a:pt x="3725635" y="711286"/>
                  </a:lnTo>
                  <a:lnTo>
                    <a:pt x="3724750" y="710851"/>
                  </a:lnTo>
                  <a:lnTo>
                    <a:pt x="3724529" y="709613"/>
                  </a:lnTo>
                  <a:lnTo>
                    <a:pt x="3720674" y="708712"/>
                  </a:lnTo>
                  <a:lnTo>
                    <a:pt x="3718410" y="708584"/>
                  </a:lnTo>
                  <a:lnTo>
                    <a:pt x="3717340" y="708154"/>
                  </a:lnTo>
                  <a:lnTo>
                    <a:pt x="3716456" y="706875"/>
                  </a:lnTo>
                  <a:lnTo>
                    <a:pt x="3713948" y="704982"/>
                  </a:lnTo>
                  <a:lnTo>
                    <a:pt x="3710144" y="704240"/>
                  </a:lnTo>
                  <a:lnTo>
                    <a:pt x="3707679" y="704153"/>
                  </a:lnTo>
                  <a:lnTo>
                    <a:pt x="3706261" y="704567"/>
                  </a:lnTo>
                  <a:lnTo>
                    <a:pt x="3711275" y="707076"/>
                  </a:lnTo>
                  <a:lnTo>
                    <a:pt x="3715755" y="711284"/>
                  </a:lnTo>
                  <a:lnTo>
                    <a:pt x="3714914" y="712061"/>
                  </a:lnTo>
                  <a:lnTo>
                    <a:pt x="3714344" y="712966"/>
                  </a:lnTo>
                  <a:lnTo>
                    <a:pt x="3716822" y="713030"/>
                  </a:lnTo>
                  <a:lnTo>
                    <a:pt x="3718434" y="712744"/>
                  </a:lnTo>
                  <a:lnTo>
                    <a:pt x="3718903" y="713848"/>
                  </a:lnTo>
                  <a:lnTo>
                    <a:pt x="3717614" y="718276"/>
                  </a:lnTo>
                  <a:lnTo>
                    <a:pt x="3716743" y="719254"/>
                  </a:lnTo>
                  <a:lnTo>
                    <a:pt x="3708946" y="720232"/>
                  </a:lnTo>
                  <a:lnTo>
                    <a:pt x="3710908" y="720964"/>
                  </a:lnTo>
                  <a:lnTo>
                    <a:pt x="3712921" y="721193"/>
                  </a:lnTo>
                  <a:lnTo>
                    <a:pt x="3715208" y="721019"/>
                  </a:lnTo>
                  <a:lnTo>
                    <a:pt x="3717257" y="721776"/>
                  </a:lnTo>
                  <a:lnTo>
                    <a:pt x="3718636" y="724550"/>
                  </a:lnTo>
                  <a:lnTo>
                    <a:pt x="3718868" y="727448"/>
                  </a:lnTo>
                  <a:lnTo>
                    <a:pt x="3716852" y="729101"/>
                  </a:lnTo>
                  <a:lnTo>
                    <a:pt x="3714765" y="730444"/>
                  </a:lnTo>
                  <a:lnTo>
                    <a:pt x="3710474" y="732481"/>
                  </a:lnTo>
                  <a:lnTo>
                    <a:pt x="3706058" y="733379"/>
                  </a:lnTo>
                  <a:lnTo>
                    <a:pt x="3703739" y="733154"/>
                  </a:lnTo>
                  <a:lnTo>
                    <a:pt x="3701489" y="733605"/>
                  </a:lnTo>
                  <a:lnTo>
                    <a:pt x="3700006" y="734660"/>
                  </a:lnTo>
                  <a:lnTo>
                    <a:pt x="3699573" y="735728"/>
                  </a:lnTo>
                  <a:lnTo>
                    <a:pt x="3701513" y="735020"/>
                  </a:lnTo>
                  <a:lnTo>
                    <a:pt x="3703750" y="735415"/>
                  </a:lnTo>
                  <a:lnTo>
                    <a:pt x="3705868" y="736687"/>
                  </a:lnTo>
                  <a:lnTo>
                    <a:pt x="3705637" y="737737"/>
                  </a:lnTo>
                  <a:lnTo>
                    <a:pt x="3703624" y="738881"/>
                  </a:lnTo>
                  <a:lnTo>
                    <a:pt x="3703149" y="739748"/>
                  </a:lnTo>
                  <a:lnTo>
                    <a:pt x="3703923" y="741209"/>
                  </a:lnTo>
                  <a:lnTo>
                    <a:pt x="3703662" y="742464"/>
                  </a:lnTo>
                  <a:lnTo>
                    <a:pt x="3704695" y="743140"/>
                  </a:lnTo>
                  <a:lnTo>
                    <a:pt x="3707067" y="743377"/>
                  </a:lnTo>
                  <a:lnTo>
                    <a:pt x="3709958" y="744282"/>
                  </a:lnTo>
                  <a:lnTo>
                    <a:pt x="3712804" y="745483"/>
                  </a:lnTo>
                  <a:lnTo>
                    <a:pt x="3713928" y="746511"/>
                  </a:lnTo>
                  <a:lnTo>
                    <a:pt x="3714873" y="747958"/>
                  </a:lnTo>
                  <a:lnTo>
                    <a:pt x="3715207" y="749492"/>
                  </a:lnTo>
                  <a:lnTo>
                    <a:pt x="3714704" y="750119"/>
                  </a:lnTo>
                  <a:lnTo>
                    <a:pt x="3708221" y="750362"/>
                  </a:lnTo>
                  <a:lnTo>
                    <a:pt x="3707237" y="750178"/>
                  </a:lnTo>
                  <a:lnTo>
                    <a:pt x="3706866" y="748481"/>
                  </a:lnTo>
                  <a:lnTo>
                    <a:pt x="3706080" y="747095"/>
                  </a:lnTo>
                  <a:lnTo>
                    <a:pt x="3703611" y="746128"/>
                  </a:lnTo>
                  <a:lnTo>
                    <a:pt x="3702597" y="746794"/>
                  </a:lnTo>
                  <a:lnTo>
                    <a:pt x="3703331" y="751699"/>
                  </a:lnTo>
                  <a:lnTo>
                    <a:pt x="3702353" y="753182"/>
                  </a:lnTo>
                  <a:lnTo>
                    <a:pt x="3701268" y="754254"/>
                  </a:lnTo>
                  <a:lnTo>
                    <a:pt x="3697988" y="754882"/>
                  </a:lnTo>
                  <a:lnTo>
                    <a:pt x="3695378" y="754531"/>
                  </a:lnTo>
                  <a:lnTo>
                    <a:pt x="3693162" y="752216"/>
                  </a:lnTo>
                  <a:lnTo>
                    <a:pt x="3693166" y="750244"/>
                  </a:lnTo>
                  <a:lnTo>
                    <a:pt x="3694632" y="749096"/>
                  </a:lnTo>
                  <a:lnTo>
                    <a:pt x="3694630" y="747503"/>
                  </a:lnTo>
                  <a:lnTo>
                    <a:pt x="3694228" y="745648"/>
                  </a:lnTo>
                  <a:lnTo>
                    <a:pt x="3692720" y="747804"/>
                  </a:lnTo>
                  <a:lnTo>
                    <a:pt x="3690968" y="749596"/>
                  </a:lnTo>
                  <a:lnTo>
                    <a:pt x="3688123" y="751840"/>
                  </a:lnTo>
                  <a:lnTo>
                    <a:pt x="3686744" y="752129"/>
                  </a:lnTo>
                  <a:lnTo>
                    <a:pt x="3685334" y="751874"/>
                  </a:lnTo>
                  <a:lnTo>
                    <a:pt x="3681616" y="750268"/>
                  </a:lnTo>
                  <a:lnTo>
                    <a:pt x="3679327" y="748872"/>
                  </a:lnTo>
                  <a:lnTo>
                    <a:pt x="3674828" y="744286"/>
                  </a:lnTo>
                  <a:lnTo>
                    <a:pt x="3672325" y="742150"/>
                  </a:lnTo>
                  <a:lnTo>
                    <a:pt x="3666741" y="739289"/>
                  </a:lnTo>
                  <a:lnTo>
                    <a:pt x="3660994" y="737208"/>
                  </a:lnTo>
                  <a:lnTo>
                    <a:pt x="3656448" y="735859"/>
                  </a:lnTo>
                  <a:lnTo>
                    <a:pt x="3654020" y="736016"/>
                  </a:lnTo>
                  <a:lnTo>
                    <a:pt x="3651586" y="736564"/>
                  </a:lnTo>
                  <a:lnTo>
                    <a:pt x="3648509" y="736263"/>
                  </a:lnTo>
                  <a:lnTo>
                    <a:pt x="3647469" y="735751"/>
                  </a:lnTo>
                  <a:lnTo>
                    <a:pt x="3646560" y="734609"/>
                  </a:lnTo>
                  <a:lnTo>
                    <a:pt x="3645733" y="733946"/>
                  </a:lnTo>
                  <a:lnTo>
                    <a:pt x="3641416" y="731113"/>
                  </a:lnTo>
                  <a:lnTo>
                    <a:pt x="3638365" y="728789"/>
                  </a:lnTo>
                  <a:lnTo>
                    <a:pt x="3638241" y="727231"/>
                  </a:lnTo>
                  <a:lnTo>
                    <a:pt x="3638887" y="725385"/>
                  </a:lnTo>
                  <a:lnTo>
                    <a:pt x="3638314" y="720799"/>
                  </a:lnTo>
                  <a:lnTo>
                    <a:pt x="3636837" y="716478"/>
                  </a:lnTo>
                  <a:lnTo>
                    <a:pt x="3633071" y="712188"/>
                  </a:lnTo>
                  <a:lnTo>
                    <a:pt x="3623028" y="709415"/>
                  </a:lnTo>
                  <a:lnTo>
                    <a:pt x="3614743" y="707462"/>
                  </a:lnTo>
                  <a:lnTo>
                    <a:pt x="3611778" y="707017"/>
                  </a:lnTo>
                  <a:lnTo>
                    <a:pt x="3609146" y="707452"/>
                  </a:lnTo>
                  <a:lnTo>
                    <a:pt x="3602214" y="711005"/>
                  </a:lnTo>
                  <a:lnTo>
                    <a:pt x="3597573" y="711512"/>
                  </a:lnTo>
                  <a:lnTo>
                    <a:pt x="3584049" y="711688"/>
                  </a:lnTo>
                  <a:lnTo>
                    <a:pt x="3581788" y="711300"/>
                  </a:lnTo>
                  <a:lnTo>
                    <a:pt x="3579751" y="709790"/>
                  </a:lnTo>
                  <a:lnTo>
                    <a:pt x="3579280" y="707765"/>
                  </a:lnTo>
                  <a:lnTo>
                    <a:pt x="3579868" y="704000"/>
                  </a:lnTo>
                  <a:lnTo>
                    <a:pt x="3579801" y="702407"/>
                  </a:lnTo>
                  <a:lnTo>
                    <a:pt x="3579273" y="701868"/>
                  </a:lnTo>
                  <a:lnTo>
                    <a:pt x="3578558" y="701913"/>
                  </a:lnTo>
                  <a:lnTo>
                    <a:pt x="3575892" y="700406"/>
                  </a:lnTo>
                  <a:lnTo>
                    <a:pt x="3573417" y="697877"/>
                  </a:lnTo>
                  <a:lnTo>
                    <a:pt x="3571465" y="695258"/>
                  </a:lnTo>
                  <a:lnTo>
                    <a:pt x="3570144" y="691738"/>
                  </a:lnTo>
                  <a:lnTo>
                    <a:pt x="3571932" y="691562"/>
                  </a:lnTo>
                  <a:lnTo>
                    <a:pt x="3574397" y="692436"/>
                  </a:lnTo>
                  <a:lnTo>
                    <a:pt x="3574755" y="691573"/>
                  </a:lnTo>
                  <a:lnTo>
                    <a:pt x="3575568" y="688388"/>
                  </a:lnTo>
                  <a:lnTo>
                    <a:pt x="3577282" y="686855"/>
                  </a:lnTo>
                  <a:lnTo>
                    <a:pt x="3577940" y="685665"/>
                  </a:lnTo>
                  <a:lnTo>
                    <a:pt x="3579099" y="681325"/>
                  </a:lnTo>
                  <a:lnTo>
                    <a:pt x="3579266" y="678195"/>
                  </a:lnTo>
                  <a:lnTo>
                    <a:pt x="3577293" y="679903"/>
                  </a:lnTo>
                  <a:lnTo>
                    <a:pt x="3574264" y="684240"/>
                  </a:lnTo>
                  <a:lnTo>
                    <a:pt x="3572759" y="685510"/>
                  </a:lnTo>
                  <a:lnTo>
                    <a:pt x="3571713" y="686083"/>
                  </a:lnTo>
                  <a:lnTo>
                    <a:pt x="3570665" y="686345"/>
                  </a:lnTo>
                  <a:lnTo>
                    <a:pt x="3568219" y="685479"/>
                  </a:lnTo>
                  <a:lnTo>
                    <a:pt x="3566474" y="684435"/>
                  </a:lnTo>
                  <a:lnTo>
                    <a:pt x="3566434" y="680238"/>
                  </a:lnTo>
                  <a:lnTo>
                    <a:pt x="3565626" y="679172"/>
                  </a:lnTo>
                  <a:lnTo>
                    <a:pt x="3564853" y="679972"/>
                  </a:lnTo>
                  <a:lnTo>
                    <a:pt x="3564537" y="681472"/>
                  </a:lnTo>
                  <a:lnTo>
                    <a:pt x="3562314" y="681747"/>
                  </a:lnTo>
                  <a:lnTo>
                    <a:pt x="3561276" y="682393"/>
                  </a:lnTo>
                  <a:lnTo>
                    <a:pt x="3561805" y="684880"/>
                  </a:lnTo>
                  <a:lnTo>
                    <a:pt x="3561562" y="686981"/>
                  </a:lnTo>
                  <a:lnTo>
                    <a:pt x="3559451" y="687770"/>
                  </a:lnTo>
                  <a:lnTo>
                    <a:pt x="3555172" y="688254"/>
                  </a:lnTo>
                  <a:lnTo>
                    <a:pt x="3553688" y="686190"/>
                  </a:lnTo>
                  <a:lnTo>
                    <a:pt x="3552415" y="689064"/>
                  </a:lnTo>
                  <a:lnTo>
                    <a:pt x="3551469" y="692279"/>
                  </a:lnTo>
                  <a:lnTo>
                    <a:pt x="3551335" y="696558"/>
                  </a:lnTo>
                  <a:lnTo>
                    <a:pt x="3552692" y="700099"/>
                  </a:lnTo>
                  <a:lnTo>
                    <a:pt x="3554631" y="701783"/>
                  </a:lnTo>
                  <a:lnTo>
                    <a:pt x="3558867" y="704320"/>
                  </a:lnTo>
                  <a:lnTo>
                    <a:pt x="3560705" y="706109"/>
                  </a:lnTo>
                  <a:lnTo>
                    <a:pt x="3561182" y="708411"/>
                  </a:lnTo>
                  <a:lnTo>
                    <a:pt x="3561011" y="710532"/>
                  </a:lnTo>
                  <a:lnTo>
                    <a:pt x="3558810" y="713120"/>
                  </a:lnTo>
                  <a:lnTo>
                    <a:pt x="3557314" y="715257"/>
                  </a:lnTo>
                  <a:lnTo>
                    <a:pt x="3554752" y="720390"/>
                  </a:lnTo>
                  <a:lnTo>
                    <a:pt x="3553217" y="722443"/>
                  </a:lnTo>
                  <a:lnTo>
                    <a:pt x="3546685" y="726762"/>
                  </a:lnTo>
                  <a:lnTo>
                    <a:pt x="3542868" y="727950"/>
                  </a:lnTo>
                  <a:lnTo>
                    <a:pt x="3538975" y="732015"/>
                  </a:lnTo>
                  <a:lnTo>
                    <a:pt x="3534484" y="735560"/>
                  </a:lnTo>
                  <a:lnTo>
                    <a:pt x="3527889" y="737007"/>
                  </a:lnTo>
                  <a:lnTo>
                    <a:pt x="3517905" y="742384"/>
                  </a:lnTo>
                  <a:lnTo>
                    <a:pt x="3513948" y="743387"/>
                  </a:lnTo>
                  <a:lnTo>
                    <a:pt x="3508770" y="740915"/>
                  </a:lnTo>
                  <a:lnTo>
                    <a:pt x="3496902" y="739315"/>
                  </a:lnTo>
                  <a:lnTo>
                    <a:pt x="3493210" y="737140"/>
                  </a:lnTo>
                  <a:lnTo>
                    <a:pt x="3487800" y="731642"/>
                  </a:lnTo>
                  <a:lnTo>
                    <a:pt x="3485917" y="730844"/>
                  </a:lnTo>
                  <a:lnTo>
                    <a:pt x="3484311" y="728671"/>
                  </a:lnTo>
                  <a:lnTo>
                    <a:pt x="3477714" y="726233"/>
                  </a:lnTo>
                  <a:lnTo>
                    <a:pt x="3472052" y="727827"/>
                  </a:lnTo>
                  <a:lnTo>
                    <a:pt x="3467371" y="726618"/>
                  </a:lnTo>
                  <a:lnTo>
                    <a:pt x="3465777" y="727478"/>
                  </a:lnTo>
                  <a:lnTo>
                    <a:pt x="3468234" y="728271"/>
                  </a:lnTo>
                  <a:lnTo>
                    <a:pt x="3472510" y="728920"/>
                  </a:lnTo>
                  <a:lnTo>
                    <a:pt x="3479023" y="728603"/>
                  </a:lnTo>
                  <a:lnTo>
                    <a:pt x="3481174" y="729190"/>
                  </a:lnTo>
                  <a:lnTo>
                    <a:pt x="3483078" y="731080"/>
                  </a:lnTo>
                  <a:lnTo>
                    <a:pt x="3485276" y="734140"/>
                  </a:lnTo>
                  <a:lnTo>
                    <a:pt x="3483626" y="736176"/>
                  </a:lnTo>
                  <a:lnTo>
                    <a:pt x="3481869" y="736826"/>
                  </a:lnTo>
                  <a:lnTo>
                    <a:pt x="3476613" y="734586"/>
                  </a:lnTo>
                  <a:lnTo>
                    <a:pt x="3470545" y="734917"/>
                  </a:lnTo>
                  <a:lnTo>
                    <a:pt x="3467733" y="734373"/>
                  </a:lnTo>
                  <a:lnTo>
                    <a:pt x="3459588" y="730582"/>
                  </a:lnTo>
                  <a:lnTo>
                    <a:pt x="3453398" y="734772"/>
                  </a:lnTo>
                  <a:lnTo>
                    <a:pt x="3444891" y="736932"/>
                  </a:lnTo>
                  <a:lnTo>
                    <a:pt x="3438286" y="737177"/>
                  </a:lnTo>
                  <a:lnTo>
                    <a:pt x="3426148" y="740500"/>
                  </a:lnTo>
                  <a:lnTo>
                    <a:pt x="3429460" y="740587"/>
                  </a:lnTo>
                  <a:lnTo>
                    <a:pt x="3438271" y="738258"/>
                  </a:lnTo>
                  <a:lnTo>
                    <a:pt x="3443436" y="738258"/>
                  </a:lnTo>
                  <a:lnTo>
                    <a:pt x="3451115" y="736976"/>
                  </a:lnTo>
                  <a:lnTo>
                    <a:pt x="3455110" y="735443"/>
                  </a:lnTo>
                  <a:lnTo>
                    <a:pt x="3457040" y="734014"/>
                  </a:lnTo>
                  <a:lnTo>
                    <a:pt x="3459487" y="732597"/>
                  </a:lnTo>
                  <a:lnTo>
                    <a:pt x="3461979" y="733313"/>
                  </a:lnTo>
                  <a:lnTo>
                    <a:pt x="3463698" y="734808"/>
                  </a:lnTo>
                  <a:lnTo>
                    <a:pt x="3464889" y="736927"/>
                  </a:lnTo>
                  <a:lnTo>
                    <a:pt x="3465997" y="739741"/>
                  </a:lnTo>
                  <a:lnTo>
                    <a:pt x="3464499" y="741216"/>
                  </a:lnTo>
                  <a:lnTo>
                    <a:pt x="3463089" y="741997"/>
                  </a:lnTo>
                  <a:lnTo>
                    <a:pt x="3461352" y="743999"/>
                  </a:lnTo>
                  <a:lnTo>
                    <a:pt x="3469461" y="740552"/>
                  </a:lnTo>
                  <a:lnTo>
                    <a:pt x="3474400" y="742607"/>
                  </a:lnTo>
                  <a:lnTo>
                    <a:pt x="3476874" y="742288"/>
                  </a:lnTo>
                  <a:lnTo>
                    <a:pt x="3481450" y="739237"/>
                  </a:lnTo>
                  <a:lnTo>
                    <a:pt x="3488917" y="737278"/>
                  </a:lnTo>
                  <a:lnTo>
                    <a:pt x="3489800" y="737658"/>
                  </a:lnTo>
                  <a:lnTo>
                    <a:pt x="3490679" y="738609"/>
                  </a:lnTo>
                  <a:lnTo>
                    <a:pt x="3489411" y="744463"/>
                  </a:lnTo>
                  <a:lnTo>
                    <a:pt x="3489921" y="749032"/>
                  </a:lnTo>
                  <a:lnTo>
                    <a:pt x="3495550" y="753996"/>
                  </a:lnTo>
                  <a:lnTo>
                    <a:pt x="3501429" y="756920"/>
                  </a:lnTo>
                  <a:lnTo>
                    <a:pt x="3503450" y="757015"/>
                  </a:lnTo>
                  <a:lnTo>
                    <a:pt x="3505348" y="756459"/>
                  </a:lnTo>
                  <a:lnTo>
                    <a:pt x="3506086" y="753842"/>
                  </a:lnTo>
                  <a:lnTo>
                    <a:pt x="3507536" y="751878"/>
                  </a:lnTo>
                  <a:lnTo>
                    <a:pt x="3509381" y="753653"/>
                  </a:lnTo>
                  <a:lnTo>
                    <a:pt x="3510895" y="755551"/>
                  </a:lnTo>
                  <a:lnTo>
                    <a:pt x="3513011" y="760260"/>
                  </a:lnTo>
                  <a:lnTo>
                    <a:pt x="3512960" y="761635"/>
                  </a:lnTo>
                  <a:lnTo>
                    <a:pt x="3512441" y="764377"/>
                  </a:lnTo>
                  <a:lnTo>
                    <a:pt x="3514313" y="765638"/>
                  </a:lnTo>
                  <a:lnTo>
                    <a:pt x="3516840" y="766003"/>
                  </a:lnTo>
                  <a:lnTo>
                    <a:pt x="3517773" y="770334"/>
                  </a:lnTo>
                  <a:lnTo>
                    <a:pt x="3518635" y="776492"/>
                  </a:lnTo>
                  <a:lnTo>
                    <a:pt x="3517527" y="777066"/>
                  </a:lnTo>
                  <a:lnTo>
                    <a:pt x="3516302" y="777066"/>
                  </a:lnTo>
                  <a:lnTo>
                    <a:pt x="3512200" y="778650"/>
                  </a:lnTo>
                  <a:lnTo>
                    <a:pt x="3512767" y="779753"/>
                  </a:lnTo>
                  <a:lnTo>
                    <a:pt x="3516916" y="780364"/>
                  </a:lnTo>
                  <a:lnTo>
                    <a:pt x="3518081" y="781593"/>
                  </a:lnTo>
                  <a:lnTo>
                    <a:pt x="3517250" y="784447"/>
                  </a:lnTo>
                  <a:lnTo>
                    <a:pt x="3517468" y="785762"/>
                  </a:lnTo>
                  <a:lnTo>
                    <a:pt x="3518913" y="786025"/>
                  </a:lnTo>
                  <a:lnTo>
                    <a:pt x="3519857" y="784360"/>
                  </a:lnTo>
                  <a:lnTo>
                    <a:pt x="3519606" y="781988"/>
                  </a:lnTo>
                  <a:lnTo>
                    <a:pt x="3519995" y="780935"/>
                  </a:lnTo>
                  <a:lnTo>
                    <a:pt x="3522772" y="785833"/>
                  </a:lnTo>
                  <a:lnTo>
                    <a:pt x="3522836" y="787761"/>
                  </a:lnTo>
                  <a:lnTo>
                    <a:pt x="3525195" y="789944"/>
                  </a:lnTo>
                  <a:lnTo>
                    <a:pt x="3531921" y="793157"/>
                  </a:lnTo>
                  <a:lnTo>
                    <a:pt x="3533165" y="794652"/>
                  </a:lnTo>
                  <a:lnTo>
                    <a:pt x="3533530" y="797067"/>
                  </a:lnTo>
                  <a:lnTo>
                    <a:pt x="3531848" y="797755"/>
                  </a:lnTo>
                  <a:lnTo>
                    <a:pt x="3530312" y="799477"/>
                  </a:lnTo>
                  <a:lnTo>
                    <a:pt x="3531254" y="801851"/>
                  </a:lnTo>
                  <a:lnTo>
                    <a:pt x="3532998" y="803796"/>
                  </a:lnTo>
                  <a:lnTo>
                    <a:pt x="3535871" y="804519"/>
                  </a:lnTo>
                  <a:lnTo>
                    <a:pt x="3537188" y="807608"/>
                  </a:lnTo>
                  <a:lnTo>
                    <a:pt x="3537188" y="810577"/>
                  </a:lnTo>
                  <a:lnTo>
                    <a:pt x="3535126" y="813143"/>
                  </a:lnTo>
                  <a:lnTo>
                    <a:pt x="3530956" y="816681"/>
                  </a:lnTo>
                  <a:lnTo>
                    <a:pt x="3528485" y="818097"/>
                  </a:lnTo>
                  <a:lnTo>
                    <a:pt x="3527534" y="820597"/>
                  </a:lnTo>
                  <a:lnTo>
                    <a:pt x="3527242" y="823208"/>
                  </a:lnTo>
                  <a:lnTo>
                    <a:pt x="3525559" y="823094"/>
                  </a:lnTo>
                  <a:lnTo>
                    <a:pt x="3523774" y="822010"/>
                  </a:lnTo>
                  <a:lnTo>
                    <a:pt x="3502886" y="815421"/>
                  </a:lnTo>
                  <a:lnTo>
                    <a:pt x="3495011" y="814187"/>
                  </a:lnTo>
                  <a:lnTo>
                    <a:pt x="3488116" y="814027"/>
                  </a:lnTo>
                  <a:lnTo>
                    <a:pt x="3486818" y="813628"/>
                  </a:lnTo>
                  <a:lnTo>
                    <a:pt x="3486891" y="812061"/>
                  </a:lnTo>
                  <a:lnTo>
                    <a:pt x="3487332" y="810655"/>
                  </a:lnTo>
                  <a:lnTo>
                    <a:pt x="3488301" y="808870"/>
                  </a:lnTo>
                  <a:lnTo>
                    <a:pt x="3487844" y="807336"/>
                  </a:lnTo>
                  <a:lnTo>
                    <a:pt x="3486945" y="807237"/>
                  </a:lnTo>
                  <a:lnTo>
                    <a:pt x="3486069" y="808404"/>
                  </a:lnTo>
                  <a:lnTo>
                    <a:pt x="3484166" y="808407"/>
                  </a:lnTo>
                  <a:lnTo>
                    <a:pt x="3482366" y="807053"/>
                  </a:lnTo>
                  <a:lnTo>
                    <a:pt x="3480869" y="807478"/>
                  </a:lnTo>
                  <a:lnTo>
                    <a:pt x="3480128" y="809379"/>
                  </a:lnTo>
                  <a:lnTo>
                    <a:pt x="3479540" y="810378"/>
                  </a:lnTo>
                  <a:lnTo>
                    <a:pt x="3479569" y="811573"/>
                  </a:lnTo>
                  <a:lnTo>
                    <a:pt x="3480526" y="812679"/>
                  </a:lnTo>
                  <a:lnTo>
                    <a:pt x="3484542" y="813884"/>
                  </a:lnTo>
                  <a:lnTo>
                    <a:pt x="3483875" y="814938"/>
                  </a:lnTo>
                  <a:lnTo>
                    <a:pt x="3478302" y="815796"/>
                  </a:lnTo>
                  <a:lnTo>
                    <a:pt x="3473771" y="816839"/>
                  </a:lnTo>
                  <a:lnTo>
                    <a:pt x="3467889" y="820102"/>
                  </a:lnTo>
                  <a:lnTo>
                    <a:pt x="3465499" y="822327"/>
                  </a:lnTo>
                  <a:lnTo>
                    <a:pt x="3449698" y="827867"/>
                  </a:lnTo>
                  <a:lnTo>
                    <a:pt x="3445897" y="829797"/>
                  </a:lnTo>
                  <a:lnTo>
                    <a:pt x="3444213" y="830023"/>
                  </a:lnTo>
                  <a:lnTo>
                    <a:pt x="3442047" y="830670"/>
                  </a:lnTo>
                  <a:lnTo>
                    <a:pt x="3440378" y="832992"/>
                  </a:lnTo>
                  <a:lnTo>
                    <a:pt x="3431648" y="836251"/>
                  </a:lnTo>
                  <a:lnTo>
                    <a:pt x="3429823" y="835943"/>
                  </a:lnTo>
                  <a:lnTo>
                    <a:pt x="3427513" y="838678"/>
                  </a:lnTo>
                  <a:lnTo>
                    <a:pt x="3425386" y="840175"/>
                  </a:lnTo>
                  <a:lnTo>
                    <a:pt x="3420313" y="840383"/>
                  </a:lnTo>
                  <a:lnTo>
                    <a:pt x="3417083" y="841143"/>
                  </a:lnTo>
                  <a:lnTo>
                    <a:pt x="3410084" y="845076"/>
                  </a:lnTo>
                  <a:lnTo>
                    <a:pt x="3405686" y="843831"/>
                  </a:lnTo>
                  <a:lnTo>
                    <a:pt x="3400540" y="849235"/>
                  </a:lnTo>
                  <a:lnTo>
                    <a:pt x="3394815" y="854313"/>
                  </a:lnTo>
                  <a:lnTo>
                    <a:pt x="3393107" y="854328"/>
                  </a:lnTo>
                  <a:lnTo>
                    <a:pt x="3388728" y="852198"/>
                  </a:lnTo>
                  <a:lnTo>
                    <a:pt x="3387629" y="853316"/>
                  </a:lnTo>
                  <a:lnTo>
                    <a:pt x="3388316" y="855362"/>
                  </a:lnTo>
                  <a:lnTo>
                    <a:pt x="3389866" y="857521"/>
                  </a:lnTo>
                  <a:lnTo>
                    <a:pt x="3388976" y="858147"/>
                  </a:lnTo>
                  <a:lnTo>
                    <a:pt x="3387236" y="857552"/>
                  </a:lnTo>
                  <a:lnTo>
                    <a:pt x="3385945" y="857427"/>
                  </a:lnTo>
                  <a:lnTo>
                    <a:pt x="3385046" y="858076"/>
                  </a:lnTo>
                  <a:lnTo>
                    <a:pt x="3385200" y="859622"/>
                  </a:lnTo>
                  <a:lnTo>
                    <a:pt x="3382718" y="861606"/>
                  </a:lnTo>
                  <a:lnTo>
                    <a:pt x="3380779" y="861758"/>
                  </a:lnTo>
                  <a:lnTo>
                    <a:pt x="3378547" y="862382"/>
                  </a:lnTo>
                  <a:lnTo>
                    <a:pt x="3377802" y="864090"/>
                  </a:lnTo>
                  <a:lnTo>
                    <a:pt x="3378473" y="865934"/>
                  </a:lnTo>
                  <a:lnTo>
                    <a:pt x="3374504" y="868080"/>
                  </a:lnTo>
                  <a:lnTo>
                    <a:pt x="3371276" y="870837"/>
                  </a:lnTo>
                  <a:lnTo>
                    <a:pt x="3369736" y="871339"/>
                  </a:lnTo>
                  <a:lnTo>
                    <a:pt x="3367974" y="872565"/>
                  </a:lnTo>
                  <a:lnTo>
                    <a:pt x="3366041" y="873461"/>
                  </a:lnTo>
                  <a:lnTo>
                    <a:pt x="3363806" y="873268"/>
                  </a:lnTo>
                  <a:lnTo>
                    <a:pt x="3358505" y="877195"/>
                  </a:lnTo>
                  <a:lnTo>
                    <a:pt x="3346555" y="883962"/>
                  </a:lnTo>
                  <a:lnTo>
                    <a:pt x="3343239" y="884844"/>
                  </a:lnTo>
                  <a:lnTo>
                    <a:pt x="3339013" y="886893"/>
                  </a:lnTo>
                  <a:lnTo>
                    <a:pt x="3338605" y="888264"/>
                  </a:lnTo>
                  <a:lnTo>
                    <a:pt x="3338578" y="889953"/>
                  </a:lnTo>
                  <a:lnTo>
                    <a:pt x="3336892" y="892721"/>
                  </a:lnTo>
                  <a:lnTo>
                    <a:pt x="3334927" y="899734"/>
                  </a:lnTo>
                  <a:lnTo>
                    <a:pt x="3334331" y="900991"/>
                  </a:lnTo>
                  <a:lnTo>
                    <a:pt x="3333324" y="902453"/>
                  </a:lnTo>
                  <a:lnTo>
                    <a:pt x="3328971" y="901774"/>
                  </a:lnTo>
                  <a:lnTo>
                    <a:pt x="3325179" y="899096"/>
                  </a:lnTo>
                  <a:lnTo>
                    <a:pt x="3323955" y="897866"/>
                  </a:lnTo>
                  <a:lnTo>
                    <a:pt x="3323299" y="896423"/>
                  </a:lnTo>
                  <a:lnTo>
                    <a:pt x="3323065" y="894101"/>
                  </a:lnTo>
                  <a:lnTo>
                    <a:pt x="3322342" y="893028"/>
                  </a:lnTo>
                  <a:lnTo>
                    <a:pt x="3321467" y="892526"/>
                  </a:lnTo>
                  <a:lnTo>
                    <a:pt x="3317125" y="886789"/>
                  </a:lnTo>
                  <a:lnTo>
                    <a:pt x="3309548" y="882839"/>
                  </a:lnTo>
                  <a:lnTo>
                    <a:pt x="3308466" y="881529"/>
                  </a:lnTo>
                  <a:lnTo>
                    <a:pt x="3298770" y="882600"/>
                  </a:lnTo>
                  <a:lnTo>
                    <a:pt x="3296162" y="882631"/>
                  </a:lnTo>
                  <a:lnTo>
                    <a:pt x="3291574" y="881652"/>
                  </a:lnTo>
                  <a:lnTo>
                    <a:pt x="3284380" y="882263"/>
                  </a:lnTo>
                  <a:lnTo>
                    <a:pt x="3275723" y="884416"/>
                  </a:lnTo>
                  <a:lnTo>
                    <a:pt x="3273071" y="885761"/>
                  </a:lnTo>
                  <a:lnTo>
                    <a:pt x="3264242" y="887845"/>
                  </a:lnTo>
                  <a:lnTo>
                    <a:pt x="3258433" y="891144"/>
                  </a:lnTo>
                  <a:lnTo>
                    <a:pt x="3247122" y="903064"/>
                  </a:lnTo>
                  <a:lnTo>
                    <a:pt x="3244452" y="905526"/>
                  </a:lnTo>
                  <a:lnTo>
                    <a:pt x="3243153" y="906059"/>
                  </a:lnTo>
                  <a:lnTo>
                    <a:pt x="3241239" y="906283"/>
                  </a:lnTo>
                  <a:lnTo>
                    <a:pt x="3240408" y="903888"/>
                  </a:lnTo>
                  <a:lnTo>
                    <a:pt x="3240123" y="901997"/>
                  </a:lnTo>
                  <a:lnTo>
                    <a:pt x="3240839" y="898377"/>
                  </a:lnTo>
                  <a:lnTo>
                    <a:pt x="3242197" y="895413"/>
                  </a:lnTo>
                  <a:lnTo>
                    <a:pt x="3243583" y="889846"/>
                  </a:lnTo>
                  <a:lnTo>
                    <a:pt x="3243928" y="887580"/>
                  </a:lnTo>
                  <a:lnTo>
                    <a:pt x="3244902" y="885232"/>
                  </a:lnTo>
                  <a:lnTo>
                    <a:pt x="3241099" y="885380"/>
                  </a:lnTo>
                  <a:lnTo>
                    <a:pt x="3235833" y="889488"/>
                  </a:lnTo>
                  <a:lnTo>
                    <a:pt x="3227894" y="893485"/>
                  </a:lnTo>
                  <a:lnTo>
                    <a:pt x="3224198" y="894523"/>
                  </a:lnTo>
                  <a:lnTo>
                    <a:pt x="3221310" y="896851"/>
                  </a:lnTo>
                  <a:lnTo>
                    <a:pt x="3219262" y="897187"/>
                  </a:lnTo>
                  <a:lnTo>
                    <a:pt x="3216873" y="898054"/>
                  </a:lnTo>
                  <a:lnTo>
                    <a:pt x="3216632" y="903111"/>
                  </a:lnTo>
                  <a:lnTo>
                    <a:pt x="3215422" y="905911"/>
                  </a:lnTo>
                  <a:lnTo>
                    <a:pt x="3213979" y="906476"/>
                  </a:lnTo>
                  <a:lnTo>
                    <a:pt x="3211782" y="906563"/>
                  </a:lnTo>
                  <a:lnTo>
                    <a:pt x="3210125" y="905467"/>
                  </a:lnTo>
                  <a:lnTo>
                    <a:pt x="3207700" y="901398"/>
                  </a:lnTo>
                  <a:lnTo>
                    <a:pt x="3204507" y="899288"/>
                  </a:lnTo>
                  <a:lnTo>
                    <a:pt x="3202621" y="898910"/>
                  </a:lnTo>
                  <a:lnTo>
                    <a:pt x="3201224" y="899395"/>
                  </a:lnTo>
                  <a:lnTo>
                    <a:pt x="3198454" y="902181"/>
                  </a:lnTo>
                  <a:lnTo>
                    <a:pt x="3195396" y="904697"/>
                  </a:lnTo>
                  <a:lnTo>
                    <a:pt x="3195878" y="901830"/>
                  </a:lnTo>
                  <a:lnTo>
                    <a:pt x="3193280" y="900741"/>
                  </a:lnTo>
                  <a:lnTo>
                    <a:pt x="3190965" y="900089"/>
                  </a:lnTo>
                  <a:lnTo>
                    <a:pt x="3188028" y="899955"/>
                  </a:lnTo>
                  <a:lnTo>
                    <a:pt x="3187227" y="900388"/>
                  </a:lnTo>
                  <a:lnTo>
                    <a:pt x="3186037" y="902027"/>
                  </a:lnTo>
                  <a:lnTo>
                    <a:pt x="3183479" y="904152"/>
                  </a:lnTo>
                  <a:lnTo>
                    <a:pt x="3181697" y="905053"/>
                  </a:lnTo>
                  <a:lnTo>
                    <a:pt x="3179844" y="906761"/>
                  </a:lnTo>
                  <a:lnTo>
                    <a:pt x="3178846" y="908524"/>
                  </a:lnTo>
                  <a:lnTo>
                    <a:pt x="3177881" y="911027"/>
                  </a:lnTo>
                  <a:lnTo>
                    <a:pt x="3176728" y="917117"/>
                  </a:lnTo>
                  <a:lnTo>
                    <a:pt x="3176812" y="924237"/>
                  </a:lnTo>
                  <a:lnTo>
                    <a:pt x="3172655" y="929827"/>
                  </a:lnTo>
                  <a:lnTo>
                    <a:pt x="3171004" y="929276"/>
                  </a:lnTo>
                  <a:lnTo>
                    <a:pt x="3170224" y="929642"/>
                  </a:lnTo>
                  <a:lnTo>
                    <a:pt x="3169453" y="930384"/>
                  </a:lnTo>
                  <a:lnTo>
                    <a:pt x="3170874" y="933451"/>
                  </a:lnTo>
                  <a:lnTo>
                    <a:pt x="3170112" y="934548"/>
                  </a:lnTo>
                  <a:lnTo>
                    <a:pt x="3169332" y="935280"/>
                  </a:lnTo>
                  <a:lnTo>
                    <a:pt x="3167401" y="936083"/>
                  </a:lnTo>
                  <a:lnTo>
                    <a:pt x="3162893" y="940610"/>
                  </a:lnTo>
                  <a:lnTo>
                    <a:pt x="3158685" y="943571"/>
                  </a:lnTo>
                  <a:lnTo>
                    <a:pt x="3151798" y="952017"/>
                  </a:lnTo>
                  <a:lnTo>
                    <a:pt x="3149756" y="957644"/>
                  </a:lnTo>
                  <a:lnTo>
                    <a:pt x="3147784" y="963943"/>
                  </a:lnTo>
                  <a:lnTo>
                    <a:pt x="3148710" y="967021"/>
                  </a:lnTo>
                  <a:lnTo>
                    <a:pt x="3149543" y="969030"/>
                  </a:lnTo>
                  <a:lnTo>
                    <a:pt x="3150833" y="970426"/>
                  </a:lnTo>
                  <a:lnTo>
                    <a:pt x="3153033" y="971882"/>
                  </a:lnTo>
                  <a:lnTo>
                    <a:pt x="3157765" y="973505"/>
                  </a:lnTo>
                  <a:lnTo>
                    <a:pt x="3157339" y="974571"/>
                  </a:lnTo>
                  <a:lnTo>
                    <a:pt x="3157322" y="975458"/>
                  </a:lnTo>
                  <a:lnTo>
                    <a:pt x="3158993" y="973894"/>
                  </a:lnTo>
                  <a:lnTo>
                    <a:pt x="3160209" y="969483"/>
                  </a:lnTo>
                  <a:lnTo>
                    <a:pt x="3163135" y="968069"/>
                  </a:lnTo>
                  <a:lnTo>
                    <a:pt x="3164551" y="968138"/>
                  </a:lnTo>
                  <a:lnTo>
                    <a:pt x="3173986" y="971621"/>
                  </a:lnTo>
                  <a:lnTo>
                    <a:pt x="3175771" y="973121"/>
                  </a:lnTo>
                  <a:lnTo>
                    <a:pt x="3175509" y="976429"/>
                  </a:lnTo>
                  <a:lnTo>
                    <a:pt x="3174933" y="978006"/>
                  </a:lnTo>
                  <a:lnTo>
                    <a:pt x="3173185" y="980319"/>
                  </a:lnTo>
                  <a:lnTo>
                    <a:pt x="3169829" y="983100"/>
                  </a:lnTo>
                  <a:lnTo>
                    <a:pt x="3165899" y="986912"/>
                  </a:lnTo>
                  <a:lnTo>
                    <a:pt x="3165523" y="989246"/>
                  </a:lnTo>
                  <a:lnTo>
                    <a:pt x="3165506" y="990520"/>
                  </a:lnTo>
                  <a:lnTo>
                    <a:pt x="3166535" y="994992"/>
                  </a:lnTo>
                  <a:lnTo>
                    <a:pt x="3166685" y="997503"/>
                  </a:lnTo>
                  <a:lnTo>
                    <a:pt x="3166160" y="1002177"/>
                  </a:lnTo>
                  <a:lnTo>
                    <a:pt x="3166415" y="1004193"/>
                  </a:lnTo>
                  <a:lnTo>
                    <a:pt x="3167460" y="1005914"/>
                  </a:lnTo>
                  <a:lnTo>
                    <a:pt x="3169056" y="1006991"/>
                  </a:lnTo>
                  <a:lnTo>
                    <a:pt x="3171805" y="1006403"/>
                  </a:lnTo>
                  <a:lnTo>
                    <a:pt x="3174437" y="1006902"/>
                  </a:lnTo>
                  <a:lnTo>
                    <a:pt x="3176452" y="1008080"/>
                  </a:lnTo>
                  <a:lnTo>
                    <a:pt x="3176158" y="1011962"/>
                  </a:lnTo>
                  <a:lnTo>
                    <a:pt x="3177281" y="1015629"/>
                  </a:lnTo>
                  <a:lnTo>
                    <a:pt x="3178198" y="1022367"/>
                  </a:lnTo>
                  <a:lnTo>
                    <a:pt x="3176557" y="1024204"/>
                  </a:lnTo>
                  <a:lnTo>
                    <a:pt x="3174964" y="1025351"/>
                  </a:lnTo>
                  <a:lnTo>
                    <a:pt x="3171827" y="1028232"/>
                  </a:lnTo>
                  <a:lnTo>
                    <a:pt x="3170153" y="1028571"/>
                  </a:lnTo>
                  <a:lnTo>
                    <a:pt x="3167249" y="1027579"/>
                  </a:lnTo>
                  <a:lnTo>
                    <a:pt x="3162556" y="1022374"/>
                  </a:lnTo>
                  <a:lnTo>
                    <a:pt x="3164437" y="1019290"/>
                  </a:lnTo>
                  <a:lnTo>
                    <a:pt x="3168419" y="1017141"/>
                  </a:lnTo>
                  <a:lnTo>
                    <a:pt x="3170231" y="1015588"/>
                  </a:lnTo>
                  <a:lnTo>
                    <a:pt x="3171627" y="1013302"/>
                  </a:lnTo>
                  <a:lnTo>
                    <a:pt x="3169544" y="1013736"/>
                  </a:lnTo>
                  <a:lnTo>
                    <a:pt x="3168073" y="1014730"/>
                  </a:lnTo>
                  <a:lnTo>
                    <a:pt x="3163515" y="1014300"/>
                  </a:lnTo>
                  <a:lnTo>
                    <a:pt x="3161692" y="1015403"/>
                  </a:lnTo>
                  <a:lnTo>
                    <a:pt x="3159473" y="1017152"/>
                  </a:lnTo>
                  <a:lnTo>
                    <a:pt x="3160347" y="1021486"/>
                  </a:lnTo>
                  <a:lnTo>
                    <a:pt x="3158864" y="1022274"/>
                  </a:lnTo>
                  <a:lnTo>
                    <a:pt x="3156054" y="1023766"/>
                  </a:lnTo>
                  <a:lnTo>
                    <a:pt x="3151897" y="1025624"/>
                  </a:lnTo>
                  <a:lnTo>
                    <a:pt x="3150546" y="1026829"/>
                  </a:lnTo>
                  <a:lnTo>
                    <a:pt x="3146987" y="1034593"/>
                  </a:lnTo>
                  <a:lnTo>
                    <a:pt x="3143704" y="1040355"/>
                  </a:lnTo>
                  <a:lnTo>
                    <a:pt x="3142562" y="1045272"/>
                  </a:lnTo>
                  <a:lnTo>
                    <a:pt x="3142683" y="1049542"/>
                  </a:lnTo>
                  <a:lnTo>
                    <a:pt x="3143912" y="1054254"/>
                  </a:lnTo>
                  <a:lnTo>
                    <a:pt x="3144780" y="1056300"/>
                  </a:lnTo>
                  <a:lnTo>
                    <a:pt x="3148581" y="1060636"/>
                  </a:lnTo>
                  <a:lnTo>
                    <a:pt x="3150442" y="1064072"/>
                  </a:lnTo>
                  <a:lnTo>
                    <a:pt x="3151002" y="1068180"/>
                  </a:lnTo>
                  <a:lnTo>
                    <a:pt x="3147935" y="1070124"/>
                  </a:lnTo>
                  <a:lnTo>
                    <a:pt x="3142601" y="1074886"/>
                  </a:lnTo>
                  <a:lnTo>
                    <a:pt x="3140370" y="1075396"/>
                  </a:lnTo>
                  <a:lnTo>
                    <a:pt x="3133057" y="1075265"/>
                  </a:lnTo>
                  <a:lnTo>
                    <a:pt x="3129427" y="1072891"/>
                  </a:lnTo>
                  <a:lnTo>
                    <a:pt x="3125129" y="1073498"/>
                  </a:lnTo>
                  <a:lnTo>
                    <a:pt x="3121527" y="1074629"/>
                  </a:lnTo>
                  <a:lnTo>
                    <a:pt x="3115879" y="1078003"/>
                  </a:lnTo>
                  <a:lnTo>
                    <a:pt x="3110830" y="1082350"/>
                  </a:lnTo>
                  <a:lnTo>
                    <a:pt x="3106088" y="1085364"/>
                  </a:lnTo>
                  <a:lnTo>
                    <a:pt x="3104667" y="1087136"/>
                  </a:lnTo>
                  <a:lnTo>
                    <a:pt x="3102713" y="1090854"/>
                  </a:lnTo>
                  <a:lnTo>
                    <a:pt x="3100988" y="1097663"/>
                  </a:lnTo>
                  <a:lnTo>
                    <a:pt x="3101587" y="1101017"/>
                  </a:lnTo>
                  <a:lnTo>
                    <a:pt x="3102547" y="1102582"/>
                  </a:lnTo>
                  <a:lnTo>
                    <a:pt x="3103466" y="1104653"/>
                  </a:lnTo>
                  <a:lnTo>
                    <a:pt x="3102212" y="1107802"/>
                  </a:lnTo>
                  <a:lnTo>
                    <a:pt x="3102180" y="1109817"/>
                  </a:lnTo>
                  <a:lnTo>
                    <a:pt x="3104490" y="1113000"/>
                  </a:lnTo>
                  <a:lnTo>
                    <a:pt x="3104998" y="1117363"/>
                  </a:lnTo>
                  <a:lnTo>
                    <a:pt x="3103281" y="1117498"/>
                  </a:lnTo>
                  <a:lnTo>
                    <a:pt x="3099391" y="1114359"/>
                  </a:lnTo>
                  <a:lnTo>
                    <a:pt x="3095287" y="1114118"/>
                  </a:lnTo>
                  <a:lnTo>
                    <a:pt x="3085341" y="1117736"/>
                  </a:lnTo>
                  <a:lnTo>
                    <a:pt x="3081270" y="1119822"/>
                  </a:lnTo>
                  <a:lnTo>
                    <a:pt x="3076701" y="1123972"/>
                  </a:lnTo>
                  <a:lnTo>
                    <a:pt x="3075336" y="1123180"/>
                  </a:lnTo>
                  <a:lnTo>
                    <a:pt x="3074360" y="1120803"/>
                  </a:lnTo>
                  <a:lnTo>
                    <a:pt x="3072704" y="1119749"/>
                  </a:lnTo>
                  <a:lnTo>
                    <a:pt x="3070658" y="1120277"/>
                  </a:lnTo>
                  <a:lnTo>
                    <a:pt x="3069779" y="1122521"/>
                  </a:lnTo>
                  <a:lnTo>
                    <a:pt x="3072605" y="1123576"/>
                  </a:lnTo>
                  <a:lnTo>
                    <a:pt x="3073680" y="1125027"/>
                  </a:lnTo>
                  <a:lnTo>
                    <a:pt x="3072020" y="1130558"/>
                  </a:lnTo>
                  <a:lnTo>
                    <a:pt x="3070849" y="1132399"/>
                  </a:lnTo>
                  <a:lnTo>
                    <a:pt x="3071283" y="1137352"/>
                  </a:lnTo>
                  <a:lnTo>
                    <a:pt x="3071123" y="1139645"/>
                  </a:lnTo>
                  <a:lnTo>
                    <a:pt x="3070467" y="1141967"/>
                  </a:lnTo>
                  <a:lnTo>
                    <a:pt x="3067552" y="1148313"/>
                  </a:lnTo>
                  <a:lnTo>
                    <a:pt x="3062508" y="1156625"/>
                  </a:lnTo>
                  <a:lnTo>
                    <a:pt x="3056310" y="1162644"/>
                  </a:lnTo>
                  <a:lnTo>
                    <a:pt x="3052013" y="1164725"/>
                  </a:lnTo>
                  <a:lnTo>
                    <a:pt x="3049847" y="1166332"/>
                  </a:lnTo>
                  <a:lnTo>
                    <a:pt x="3048938" y="1168416"/>
                  </a:lnTo>
                  <a:lnTo>
                    <a:pt x="3042579" y="1174168"/>
                  </a:lnTo>
                  <a:lnTo>
                    <a:pt x="3034733" y="1180198"/>
                  </a:lnTo>
                  <a:lnTo>
                    <a:pt x="3032529" y="1181288"/>
                  </a:lnTo>
                  <a:lnTo>
                    <a:pt x="3032010" y="1179015"/>
                  </a:lnTo>
                  <a:lnTo>
                    <a:pt x="3031771" y="1176762"/>
                  </a:lnTo>
                  <a:lnTo>
                    <a:pt x="3030827" y="1173755"/>
                  </a:lnTo>
                  <a:lnTo>
                    <a:pt x="3028011" y="1171271"/>
                  </a:lnTo>
                  <a:lnTo>
                    <a:pt x="3027519" y="1169257"/>
                  </a:lnTo>
                  <a:lnTo>
                    <a:pt x="3027059" y="1166473"/>
                  </a:lnTo>
                  <a:lnTo>
                    <a:pt x="3026825" y="1153572"/>
                  </a:lnTo>
                  <a:lnTo>
                    <a:pt x="3024338" y="1140138"/>
                  </a:lnTo>
                  <a:lnTo>
                    <a:pt x="3024060" y="1135892"/>
                  </a:lnTo>
                  <a:lnTo>
                    <a:pt x="3021049" y="1132411"/>
                  </a:lnTo>
                  <a:lnTo>
                    <a:pt x="3019408" y="1128802"/>
                  </a:lnTo>
                  <a:lnTo>
                    <a:pt x="3018434" y="1125251"/>
                  </a:lnTo>
                  <a:lnTo>
                    <a:pt x="3018179" y="1121052"/>
                  </a:lnTo>
                  <a:lnTo>
                    <a:pt x="3014893" y="1098853"/>
                  </a:lnTo>
                  <a:lnTo>
                    <a:pt x="3013890" y="1093288"/>
                  </a:lnTo>
                  <a:lnTo>
                    <a:pt x="3009503" y="1075236"/>
                  </a:lnTo>
                  <a:lnTo>
                    <a:pt x="3007599" y="1064734"/>
                  </a:lnTo>
                  <a:lnTo>
                    <a:pt x="3006351" y="1054445"/>
                  </a:lnTo>
                  <a:lnTo>
                    <a:pt x="3006151" y="1049837"/>
                  </a:lnTo>
                  <a:lnTo>
                    <a:pt x="3008110" y="1036049"/>
                  </a:lnTo>
                  <a:lnTo>
                    <a:pt x="3009727" y="1027373"/>
                  </a:lnTo>
                  <a:lnTo>
                    <a:pt x="3015607" y="1007854"/>
                  </a:lnTo>
                  <a:lnTo>
                    <a:pt x="3016555" y="1006067"/>
                  </a:lnTo>
                  <a:lnTo>
                    <a:pt x="3017486" y="1005134"/>
                  </a:lnTo>
                  <a:lnTo>
                    <a:pt x="3027698" y="997573"/>
                  </a:lnTo>
                  <a:lnTo>
                    <a:pt x="3032101" y="993426"/>
                  </a:lnTo>
                  <a:lnTo>
                    <a:pt x="3034764" y="989053"/>
                  </a:lnTo>
                  <a:lnTo>
                    <a:pt x="3037592" y="983456"/>
                  </a:lnTo>
                  <a:lnTo>
                    <a:pt x="3037301" y="980443"/>
                  </a:lnTo>
                  <a:lnTo>
                    <a:pt x="3036962" y="978696"/>
                  </a:lnTo>
                  <a:lnTo>
                    <a:pt x="3035893" y="976746"/>
                  </a:lnTo>
                  <a:lnTo>
                    <a:pt x="3033498" y="974477"/>
                  </a:lnTo>
                  <a:lnTo>
                    <a:pt x="3034345" y="973465"/>
                  </a:lnTo>
                  <a:lnTo>
                    <a:pt x="3035275" y="972697"/>
                  </a:lnTo>
                  <a:lnTo>
                    <a:pt x="3037791" y="971849"/>
                  </a:lnTo>
                  <a:lnTo>
                    <a:pt x="3042900" y="973555"/>
                  </a:lnTo>
                  <a:lnTo>
                    <a:pt x="3048066" y="972837"/>
                  </a:lnTo>
                  <a:lnTo>
                    <a:pt x="3052842" y="965776"/>
                  </a:lnTo>
                  <a:lnTo>
                    <a:pt x="3059657" y="966861"/>
                  </a:lnTo>
                  <a:lnTo>
                    <a:pt x="3064872" y="965599"/>
                  </a:lnTo>
                  <a:lnTo>
                    <a:pt x="3066304" y="966122"/>
                  </a:lnTo>
                  <a:lnTo>
                    <a:pt x="3067318" y="963733"/>
                  </a:lnTo>
                  <a:lnTo>
                    <a:pt x="3070156" y="961183"/>
                  </a:lnTo>
                  <a:lnTo>
                    <a:pt x="3075410" y="957370"/>
                  </a:lnTo>
                  <a:lnTo>
                    <a:pt x="3083147" y="952775"/>
                  </a:lnTo>
                  <a:lnTo>
                    <a:pt x="3086988" y="949691"/>
                  </a:lnTo>
                  <a:lnTo>
                    <a:pt x="3089150" y="946745"/>
                  </a:lnTo>
                  <a:lnTo>
                    <a:pt x="3092339" y="943980"/>
                  </a:lnTo>
                  <a:lnTo>
                    <a:pt x="3095410" y="940488"/>
                  </a:lnTo>
                  <a:lnTo>
                    <a:pt x="3101067" y="929966"/>
                  </a:lnTo>
                  <a:lnTo>
                    <a:pt x="3112191" y="921245"/>
                  </a:lnTo>
                  <a:lnTo>
                    <a:pt x="3116548" y="916220"/>
                  </a:lnTo>
                  <a:lnTo>
                    <a:pt x="3120174" y="914437"/>
                  </a:lnTo>
                  <a:lnTo>
                    <a:pt x="3123354" y="913610"/>
                  </a:lnTo>
                  <a:lnTo>
                    <a:pt x="3131397" y="906410"/>
                  </a:lnTo>
                  <a:lnTo>
                    <a:pt x="3136490" y="900410"/>
                  </a:lnTo>
                  <a:lnTo>
                    <a:pt x="3143217" y="896276"/>
                  </a:lnTo>
                  <a:lnTo>
                    <a:pt x="3145262" y="893626"/>
                  </a:lnTo>
                  <a:lnTo>
                    <a:pt x="3148747" y="887384"/>
                  </a:lnTo>
                  <a:lnTo>
                    <a:pt x="3150174" y="885845"/>
                  </a:lnTo>
                  <a:lnTo>
                    <a:pt x="3154556" y="883503"/>
                  </a:lnTo>
                  <a:lnTo>
                    <a:pt x="3164437" y="879409"/>
                  </a:lnTo>
                  <a:lnTo>
                    <a:pt x="3170186" y="875283"/>
                  </a:lnTo>
                  <a:lnTo>
                    <a:pt x="3178570" y="874697"/>
                  </a:lnTo>
                  <a:lnTo>
                    <a:pt x="3181092" y="873046"/>
                  </a:lnTo>
                  <a:lnTo>
                    <a:pt x="3183718" y="872128"/>
                  </a:lnTo>
                  <a:lnTo>
                    <a:pt x="3186478" y="870799"/>
                  </a:lnTo>
                  <a:lnTo>
                    <a:pt x="3183018" y="867147"/>
                  </a:lnTo>
                  <a:lnTo>
                    <a:pt x="3183809" y="865174"/>
                  </a:lnTo>
                  <a:lnTo>
                    <a:pt x="3184480" y="864268"/>
                  </a:lnTo>
                  <a:lnTo>
                    <a:pt x="3190533" y="859920"/>
                  </a:lnTo>
                  <a:lnTo>
                    <a:pt x="3193012" y="856435"/>
                  </a:lnTo>
                  <a:lnTo>
                    <a:pt x="3192716" y="854935"/>
                  </a:lnTo>
                  <a:lnTo>
                    <a:pt x="3192289" y="853866"/>
                  </a:lnTo>
                  <a:lnTo>
                    <a:pt x="3188566" y="852463"/>
                  </a:lnTo>
                  <a:lnTo>
                    <a:pt x="3189289" y="849184"/>
                  </a:lnTo>
                  <a:lnTo>
                    <a:pt x="3190298" y="846408"/>
                  </a:lnTo>
                  <a:lnTo>
                    <a:pt x="3193323" y="844014"/>
                  </a:lnTo>
                  <a:lnTo>
                    <a:pt x="3194394" y="838465"/>
                  </a:lnTo>
                  <a:lnTo>
                    <a:pt x="3194532" y="832630"/>
                  </a:lnTo>
                  <a:lnTo>
                    <a:pt x="3197473" y="824172"/>
                  </a:lnTo>
                  <a:lnTo>
                    <a:pt x="3199249" y="822307"/>
                  </a:lnTo>
                  <a:lnTo>
                    <a:pt x="3206121" y="818050"/>
                  </a:lnTo>
                  <a:lnTo>
                    <a:pt x="3207721" y="817939"/>
                  </a:lnTo>
                  <a:lnTo>
                    <a:pt x="3212520" y="819379"/>
                  </a:lnTo>
                  <a:lnTo>
                    <a:pt x="3217748" y="820079"/>
                  </a:lnTo>
                  <a:lnTo>
                    <a:pt x="3219605" y="821368"/>
                  </a:lnTo>
                  <a:lnTo>
                    <a:pt x="3219993" y="820277"/>
                  </a:lnTo>
                  <a:lnTo>
                    <a:pt x="3219732" y="818819"/>
                  </a:lnTo>
                  <a:lnTo>
                    <a:pt x="3221203" y="818310"/>
                  </a:lnTo>
                  <a:lnTo>
                    <a:pt x="3224233" y="818857"/>
                  </a:lnTo>
                  <a:lnTo>
                    <a:pt x="3223772" y="817247"/>
                  </a:lnTo>
                  <a:lnTo>
                    <a:pt x="3215977" y="816453"/>
                  </a:lnTo>
                  <a:lnTo>
                    <a:pt x="3210413" y="814590"/>
                  </a:lnTo>
                  <a:lnTo>
                    <a:pt x="3205428" y="810992"/>
                  </a:lnTo>
                  <a:lnTo>
                    <a:pt x="3202142" y="809986"/>
                  </a:lnTo>
                  <a:lnTo>
                    <a:pt x="3198544" y="810264"/>
                  </a:lnTo>
                  <a:lnTo>
                    <a:pt x="3178115" y="815285"/>
                  </a:lnTo>
                  <a:lnTo>
                    <a:pt x="3177128" y="816644"/>
                  </a:lnTo>
                  <a:lnTo>
                    <a:pt x="3176179" y="818572"/>
                  </a:lnTo>
                  <a:lnTo>
                    <a:pt x="3177460" y="821402"/>
                  </a:lnTo>
                  <a:lnTo>
                    <a:pt x="3176484" y="822640"/>
                  </a:lnTo>
                  <a:lnTo>
                    <a:pt x="3175495" y="823446"/>
                  </a:lnTo>
                  <a:lnTo>
                    <a:pt x="3174394" y="825292"/>
                  </a:lnTo>
                  <a:lnTo>
                    <a:pt x="3173399" y="828942"/>
                  </a:lnTo>
                  <a:lnTo>
                    <a:pt x="3173677" y="832463"/>
                  </a:lnTo>
                  <a:lnTo>
                    <a:pt x="3171170" y="837880"/>
                  </a:lnTo>
                  <a:lnTo>
                    <a:pt x="3170984" y="841268"/>
                  </a:lnTo>
                  <a:lnTo>
                    <a:pt x="3175370" y="843135"/>
                  </a:lnTo>
                  <a:lnTo>
                    <a:pt x="3176480" y="844395"/>
                  </a:lnTo>
                  <a:lnTo>
                    <a:pt x="3175154" y="846251"/>
                  </a:lnTo>
                  <a:lnTo>
                    <a:pt x="3173850" y="847382"/>
                  </a:lnTo>
                  <a:lnTo>
                    <a:pt x="3172664" y="848767"/>
                  </a:lnTo>
                  <a:lnTo>
                    <a:pt x="3171824" y="849326"/>
                  </a:lnTo>
                  <a:lnTo>
                    <a:pt x="3170645" y="849660"/>
                  </a:lnTo>
                  <a:lnTo>
                    <a:pt x="3169047" y="847847"/>
                  </a:lnTo>
                  <a:lnTo>
                    <a:pt x="3167594" y="844206"/>
                  </a:lnTo>
                  <a:lnTo>
                    <a:pt x="3165303" y="843994"/>
                  </a:lnTo>
                  <a:lnTo>
                    <a:pt x="3164540" y="844542"/>
                  </a:lnTo>
                  <a:lnTo>
                    <a:pt x="3164124" y="845986"/>
                  </a:lnTo>
                  <a:lnTo>
                    <a:pt x="3162103" y="846072"/>
                  </a:lnTo>
                  <a:lnTo>
                    <a:pt x="3159865" y="845391"/>
                  </a:lnTo>
                  <a:lnTo>
                    <a:pt x="3157348" y="845663"/>
                  </a:lnTo>
                  <a:lnTo>
                    <a:pt x="3152832" y="849779"/>
                  </a:lnTo>
                  <a:lnTo>
                    <a:pt x="3127375" y="869254"/>
                  </a:lnTo>
                  <a:lnTo>
                    <a:pt x="3124676" y="871608"/>
                  </a:lnTo>
                  <a:lnTo>
                    <a:pt x="3121394" y="876273"/>
                  </a:lnTo>
                  <a:lnTo>
                    <a:pt x="3115101" y="876723"/>
                  </a:lnTo>
                  <a:lnTo>
                    <a:pt x="3112584" y="877770"/>
                  </a:lnTo>
                  <a:lnTo>
                    <a:pt x="3110795" y="879156"/>
                  </a:lnTo>
                  <a:lnTo>
                    <a:pt x="3108282" y="880111"/>
                  </a:lnTo>
                  <a:lnTo>
                    <a:pt x="3108364" y="878365"/>
                  </a:lnTo>
                  <a:lnTo>
                    <a:pt x="3108889" y="877065"/>
                  </a:lnTo>
                  <a:lnTo>
                    <a:pt x="3109435" y="873656"/>
                  </a:lnTo>
                  <a:lnTo>
                    <a:pt x="3112821" y="867152"/>
                  </a:lnTo>
                  <a:lnTo>
                    <a:pt x="3110661" y="866504"/>
                  </a:lnTo>
                  <a:lnTo>
                    <a:pt x="3108517" y="866408"/>
                  </a:lnTo>
                  <a:lnTo>
                    <a:pt x="3104531" y="867759"/>
                  </a:lnTo>
                  <a:lnTo>
                    <a:pt x="3101858" y="869907"/>
                  </a:lnTo>
                  <a:lnTo>
                    <a:pt x="3099809" y="869463"/>
                  </a:lnTo>
                  <a:lnTo>
                    <a:pt x="3100784" y="867539"/>
                  </a:lnTo>
                  <a:lnTo>
                    <a:pt x="3103320" y="863686"/>
                  </a:lnTo>
                  <a:lnTo>
                    <a:pt x="3102541" y="860122"/>
                  </a:lnTo>
                  <a:lnTo>
                    <a:pt x="3101858" y="858190"/>
                  </a:lnTo>
                  <a:lnTo>
                    <a:pt x="3102914" y="857106"/>
                  </a:lnTo>
                  <a:lnTo>
                    <a:pt x="3108040" y="849887"/>
                  </a:lnTo>
                  <a:lnTo>
                    <a:pt x="3109902" y="846155"/>
                  </a:lnTo>
                  <a:lnTo>
                    <a:pt x="3111461" y="841205"/>
                  </a:lnTo>
                  <a:lnTo>
                    <a:pt x="3111551" y="839667"/>
                  </a:lnTo>
                  <a:lnTo>
                    <a:pt x="3111284" y="837767"/>
                  </a:lnTo>
                  <a:lnTo>
                    <a:pt x="3109701" y="837444"/>
                  </a:lnTo>
                  <a:lnTo>
                    <a:pt x="3108479" y="837479"/>
                  </a:lnTo>
                  <a:lnTo>
                    <a:pt x="3098299" y="842393"/>
                  </a:lnTo>
                  <a:lnTo>
                    <a:pt x="3094544" y="843715"/>
                  </a:lnTo>
                  <a:lnTo>
                    <a:pt x="3093305" y="841610"/>
                  </a:lnTo>
                  <a:lnTo>
                    <a:pt x="3091685" y="840705"/>
                  </a:lnTo>
                  <a:lnTo>
                    <a:pt x="3088854" y="837093"/>
                  </a:lnTo>
                  <a:lnTo>
                    <a:pt x="3086516" y="836574"/>
                  </a:lnTo>
                  <a:lnTo>
                    <a:pt x="3084026" y="836817"/>
                  </a:lnTo>
                  <a:lnTo>
                    <a:pt x="3078445" y="839270"/>
                  </a:lnTo>
                  <a:lnTo>
                    <a:pt x="3072317" y="840609"/>
                  </a:lnTo>
                  <a:lnTo>
                    <a:pt x="3067597" y="840105"/>
                  </a:lnTo>
                  <a:lnTo>
                    <a:pt x="3063570" y="842174"/>
                  </a:lnTo>
                  <a:lnTo>
                    <a:pt x="3061769" y="842556"/>
                  </a:lnTo>
                  <a:lnTo>
                    <a:pt x="3055781" y="841140"/>
                  </a:lnTo>
                  <a:lnTo>
                    <a:pt x="3048485" y="841015"/>
                  </a:lnTo>
                  <a:lnTo>
                    <a:pt x="3046303" y="842778"/>
                  </a:lnTo>
                  <a:lnTo>
                    <a:pt x="3039968" y="845202"/>
                  </a:lnTo>
                  <a:lnTo>
                    <a:pt x="3035714" y="848949"/>
                  </a:lnTo>
                  <a:lnTo>
                    <a:pt x="3033476" y="850152"/>
                  </a:lnTo>
                  <a:lnTo>
                    <a:pt x="3031036" y="851812"/>
                  </a:lnTo>
                  <a:lnTo>
                    <a:pt x="3029917" y="858842"/>
                  </a:lnTo>
                  <a:lnTo>
                    <a:pt x="3026666" y="861081"/>
                  </a:lnTo>
                  <a:lnTo>
                    <a:pt x="3023604" y="862796"/>
                  </a:lnTo>
                  <a:lnTo>
                    <a:pt x="3017231" y="868156"/>
                  </a:lnTo>
                  <a:lnTo>
                    <a:pt x="3012751" y="875476"/>
                  </a:lnTo>
                  <a:lnTo>
                    <a:pt x="3009717" y="878644"/>
                  </a:lnTo>
                  <a:lnTo>
                    <a:pt x="3003342" y="883066"/>
                  </a:lnTo>
                  <a:lnTo>
                    <a:pt x="2993236" y="888830"/>
                  </a:lnTo>
                  <a:lnTo>
                    <a:pt x="2984556" y="898172"/>
                  </a:lnTo>
                  <a:lnTo>
                    <a:pt x="2981515" y="905151"/>
                  </a:lnTo>
                  <a:lnTo>
                    <a:pt x="2980390" y="905383"/>
                  </a:lnTo>
                  <a:lnTo>
                    <a:pt x="2978250" y="906814"/>
                  </a:lnTo>
                  <a:lnTo>
                    <a:pt x="2977665" y="910206"/>
                  </a:lnTo>
                  <a:lnTo>
                    <a:pt x="2977714" y="912573"/>
                  </a:lnTo>
                  <a:lnTo>
                    <a:pt x="2976396" y="914481"/>
                  </a:lnTo>
                  <a:lnTo>
                    <a:pt x="2975083" y="916838"/>
                  </a:lnTo>
                  <a:lnTo>
                    <a:pt x="2976477" y="918318"/>
                  </a:lnTo>
                  <a:lnTo>
                    <a:pt x="2977788" y="918589"/>
                  </a:lnTo>
                  <a:lnTo>
                    <a:pt x="2979678" y="918382"/>
                  </a:lnTo>
                  <a:lnTo>
                    <a:pt x="2984651" y="916458"/>
                  </a:lnTo>
                  <a:lnTo>
                    <a:pt x="2993247" y="919425"/>
                  </a:lnTo>
                  <a:lnTo>
                    <a:pt x="2997568" y="922355"/>
                  </a:lnTo>
                  <a:lnTo>
                    <a:pt x="2997266" y="925296"/>
                  </a:lnTo>
                  <a:lnTo>
                    <a:pt x="2997430" y="927911"/>
                  </a:lnTo>
                  <a:lnTo>
                    <a:pt x="2994251" y="927732"/>
                  </a:lnTo>
                  <a:lnTo>
                    <a:pt x="2989984" y="927995"/>
                  </a:lnTo>
                  <a:lnTo>
                    <a:pt x="2987326" y="929504"/>
                  </a:lnTo>
                  <a:lnTo>
                    <a:pt x="2981898" y="927048"/>
                  </a:lnTo>
                  <a:lnTo>
                    <a:pt x="2980084" y="927986"/>
                  </a:lnTo>
                  <a:lnTo>
                    <a:pt x="2977225" y="930571"/>
                  </a:lnTo>
                  <a:lnTo>
                    <a:pt x="2972012" y="931648"/>
                  </a:lnTo>
                  <a:lnTo>
                    <a:pt x="2969375" y="930389"/>
                  </a:lnTo>
                  <a:lnTo>
                    <a:pt x="2965031" y="926781"/>
                  </a:lnTo>
                  <a:lnTo>
                    <a:pt x="2957644" y="927106"/>
                  </a:lnTo>
                  <a:lnTo>
                    <a:pt x="2955693" y="931134"/>
                  </a:lnTo>
                  <a:lnTo>
                    <a:pt x="2953994" y="931032"/>
                  </a:lnTo>
                  <a:lnTo>
                    <a:pt x="2951376" y="931441"/>
                  </a:lnTo>
                  <a:lnTo>
                    <a:pt x="2947053" y="936090"/>
                  </a:lnTo>
                  <a:lnTo>
                    <a:pt x="2945631" y="936506"/>
                  </a:lnTo>
                  <a:lnTo>
                    <a:pt x="2940273" y="935601"/>
                  </a:lnTo>
                  <a:lnTo>
                    <a:pt x="2936406" y="933248"/>
                  </a:lnTo>
                  <a:lnTo>
                    <a:pt x="2934613" y="933106"/>
                  </a:lnTo>
                  <a:lnTo>
                    <a:pt x="2931199" y="934205"/>
                  </a:lnTo>
                  <a:lnTo>
                    <a:pt x="2929489" y="937020"/>
                  </a:lnTo>
                  <a:lnTo>
                    <a:pt x="2921014" y="938442"/>
                  </a:lnTo>
                  <a:lnTo>
                    <a:pt x="2912659" y="938169"/>
                  </a:lnTo>
                  <a:lnTo>
                    <a:pt x="2908111" y="931420"/>
                  </a:lnTo>
                  <a:lnTo>
                    <a:pt x="2916600" y="928763"/>
                  </a:lnTo>
                  <a:lnTo>
                    <a:pt x="2921653" y="929329"/>
                  </a:lnTo>
                  <a:lnTo>
                    <a:pt x="2927325" y="928892"/>
                  </a:lnTo>
                  <a:lnTo>
                    <a:pt x="2933309" y="926819"/>
                  </a:lnTo>
                  <a:lnTo>
                    <a:pt x="2931294" y="925044"/>
                  </a:lnTo>
                  <a:lnTo>
                    <a:pt x="2929856" y="924630"/>
                  </a:lnTo>
                  <a:lnTo>
                    <a:pt x="2926272" y="924842"/>
                  </a:lnTo>
                  <a:lnTo>
                    <a:pt x="2923081" y="923562"/>
                  </a:lnTo>
                  <a:lnTo>
                    <a:pt x="2916175" y="916982"/>
                  </a:lnTo>
                  <a:lnTo>
                    <a:pt x="2913134" y="915768"/>
                  </a:lnTo>
                  <a:lnTo>
                    <a:pt x="2909200" y="915042"/>
                  </a:lnTo>
                  <a:lnTo>
                    <a:pt x="2906177" y="914963"/>
                  </a:lnTo>
                  <a:lnTo>
                    <a:pt x="2905048" y="915433"/>
                  </a:lnTo>
                  <a:lnTo>
                    <a:pt x="2903486" y="917018"/>
                  </a:lnTo>
                  <a:lnTo>
                    <a:pt x="2902410" y="918579"/>
                  </a:lnTo>
                  <a:lnTo>
                    <a:pt x="2901530" y="919061"/>
                  </a:lnTo>
                  <a:lnTo>
                    <a:pt x="2899452" y="918785"/>
                  </a:lnTo>
                  <a:lnTo>
                    <a:pt x="2896926" y="917559"/>
                  </a:lnTo>
                  <a:lnTo>
                    <a:pt x="2894015" y="917958"/>
                  </a:lnTo>
                  <a:lnTo>
                    <a:pt x="2895259" y="916955"/>
                  </a:lnTo>
                  <a:lnTo>
                    <a:pt x="2898077" y="915925"/>
                  </a:lnTo>
                  <a:lnTo>
                    <a:pt x="2893432" y="914797"/>
                  </a:lnTo>
                  <a:lnTo>
                    <a:pt x="2890521" y="913215"/>
                  </a:lnTo>
                  <a:lnTo>
                    <a:pt x="2887801" y="912807"/>
                  </a:lnTo>
                  <a:lnTo>
                    <a:pt x="2875418" y="908888"/>
                  </a:lnTo>
                  <a:lnTo>
                    <a:pt x="2870596" y="909198"/>
                  </a:lnTo>
                  <a:lnTo>
                    <a:pt x="2867632" y="910268"/>
                  </a:lnTo>
                  <a:lnTo>
                    <a:pt x="2862652" y="913489"/>
                  </a:lnTo>
                  <a:lnTo>
                    <a:pt x="2864034" y="915845"/>
                  </a:lnTo>
                  <a:lnTo>
                    <a:pt x="2865088" y="916896"/>
                  </a:lnTo>
                  <a:lnTo>
                    <a:pt x="2865742" y="918161"/>
                  </a:lnTo>
                  <a:lnTo>
                    <a:pt x="2864151" y="918412"/>
                  </a:lnTo>
                  <a:lnTo>
                    <a:pt x="2859551" y="918593"/>
                  </a:lnTo>
                  <a:lnTo>
                    <a:pt x="2856723" y="916713"/>
                  </a:lnTo>
                  <a:lnTo>
                    <a:pt x="2854772" y="919461"/>
                  </a:lnTo>
                  <a:lnTo>
                    <a:pt x="2855552" y="921917"/>
                  </a:lnTo>
                  <a:lnTo>
                    <a:pt x="2858770" y="921050"/>
                  </a:lnTo>
                  <a:lnTo>
                    <a:pt x="2860428" y="922060"/>
                  </a:lnTo>
                  <a:lnTo>
                    <a:pt x="2859309" y="924887"/>
                  </a:lnTo>
                  <a:lnTo>
                    <a:pt x="2855165" y="925698"/>
                  </a:lnTo>
                  <a:lnTo>
                    <a:pt x="2849959" y="925554"/>
                  </a:lnTo>
                  <a:lnTo>
                    <a:pt x="2844789" y="920585"/>
                  </a:lnTo>
                  <a:lnTo>
                    <a:pt x="2836325" y="921442"/>
                  </a:lnTo>
                  <a:lnTo>
                    <a:pt x="2832196" y="924627"/>
                  </a:lnTo>
                  <a:lnTo>
                    <a:pt x="2828361" y="925350"/>
                  </a:lnTo>
                  <a:lnTo>
                    <a:pt x="2817871" y="922172"/>
                  </a:lnTo>
                  <a:lnTo>
                    <a:pt x="2812645" y="921936"/>
                  </a:lnTo>
                  <a:lnTo>
                    <a:pt x="2806752" y="919184"/>
                  </a:lnTo>
                  <a:lnTo>
                    <a:pt x="2804699" y="920052"/>
                  </a:lnTo>
                  <a:lnTo>
                    <a:pt x="2800919" y="926887"/>
                  </a:lnTo>
                  <a:lnTo>
                    <a:pt x="2795968" y="928550"/>
                  </a:lnTo>
                  <a:lnTo>
                    <a:pt x="2793361" y="927641"/>
                  </a:lnTo>
                  <a:lnTo>
                    <a:pt x="2791094" y="923330"/>
                  </a:lnTo>
                  <a:lnTo>
                    <a:pt x="2789488" y="921910"/>
                  </a:lnTo>
                  <a:lnTo>
                    <a:pt x="2785025" y="920607"/>
                  </a:lnTo>
                  <a:lnTo>
                    <a:pt x="2761338" y="921827"/>
                  </a:lnTo>
                  <a:lnTo>
                    <a:pt x="2753378" y="920779"/>
                  </a:lnTo>
                  <a:lnTo>
                    <a:pt x="2747746" y="920678"/>
                  </a:lnTo>
                  <a:lnTo>
                    <a:pt x="2740120" y="922895"/>
                  </a:lnTo>
                  <a:lnTo>
                    <a:pt x="2732787" y="922028"/>
                  </a:lnTo>
                  <a:lnTo>
                    <a:pt x="2719256" y="926278"/>
                  </a:lnTo>
                  <a:lnTo>
                    <a:pt x="2713730" y="929134"/>
                  </a:lnTo>
                  <a:lnTo>
                    <a:pt x="2706986" y="934119"/>
                  </a:lnTo>
                  <a:lnTo>
                    <a:pt x="2701000" y="942382"/>
                  </a:lnTo>
                  <a:lnTo>
                    <a:pt x="2697645" y="945500"/>
                  </a:lnTo>
                  <a:lnTo>
                    <a:pt x="2691987" y="949412"/>
                  </a:lnTo>
                  <a:lnTo>
                    <a:pt x="2684041" y="953003"/>
                  </a:lnTo>
                  <a:lnTo>
                    <a:pt x="2679674" y="956658"/>
                  </a:lnTo>
                  <a:lnTo>
                    <a:pt x="2677347" y="959597"/>
                  </a:lnTo>
                  <a:lnTo>
                    <a:pt x="2673149" y="970721"/>
                  </a:lnTo>
                  <a:lnTo>
                    <a:pt x="2672082" y="972377"/>
                  </a:lnTo>
                  <a:lnTo>
                    <a:pt x="2662252" y="976407"/>
                  </a:lnTo>
                  <a:lnTo>
                    <a:pt x="2659139" y="980814"/>
                  </a:lnTo>
                  <a:lnTo>
                    <a:pt x="2657852" y="981933"/>
                  </a:lnTo>
                  <a:lnTo>
                    <a:pt x="2653781" y="983793"/>
                  </a:lnTo>
                  <a:lnTo>
                    <a:pt x="2651291" y="986890"/>
                  </a:lnTo>
                  <a:lnTo>
                    <a:pt x="2649903" y="987799"/>
                  </a:lnTo>
                  <a:lnTo>
                    <a:pt x="2644105" y="989962"/>
                  </a:lnTo>
                  <a:lnTo>
                    <a:pt x="2639330" y="995456"/>
                  </a:lnTo>
                  <a:lnTo>
                    <a:pt x="2632617" y="999332"/>
                  </a:lnTo>
                  <a:lnTo>
                    <a:pt x="2622792" y="1009937"/>
                  </a:lnTo>
                  <a:lnTo>
                    <a:pt x="2621959" y="1011209"/>
                  </a:lnTo>
                  <a:lnTo>
                    <a:pt x="2621086" y="1014030"/>
                  </a:lnTo>
                  <a:lnTo>
                    <a:pt x="2619608" y="1016087"/>
                  </a:lnTo>
                  <a:lnTo>
                    <a:pt x="2611155" y="1025278"/>
                  </a:lnTo>
                  <a:lnTo>
                    <a:pt x="2608533" y="1026128"/>
                  </a:lnTo>
                  <a:lnTo>
                    <a:pt x="2604357" y="1030411"/>
                  </a:lnTo>
                  <a:lnTo>
                    <a:pt x="2600062" y="1032979"/>
                  </a:lnTo>
                  <a:lnTo>
                    <a:pt x="2596132" y="1035995"/>
                  </a:lnTo>
                  <a:lnTo>
                    <a:pt x="2591299" y="1039134"/>
                  </a:lnTo>
                  <a:lnTo>
                    <a:pt x="2583929" y="1042777"/>
                  </a:lnTo>
                  <a:lnTo>
                    <a:pt x="2581517" y="1044842"/>
                  </a:lnTo>
                  <a:lnTo>
                    <a:pt x="2577626" y="1049720"/>
                  </a:lnTo>
                  <a:lnTo>
                    <a:pt x="2568241" y="1055631"/>
                  </a:lnTo>
                  <a:lnTo>
                    <a:pt x="2563594" y="1057074"/>
                  </a:lnTo>
                  <a:lnTo>
                    <a:pt x="2557444" y="1062316"/>
                  </a:lnTo>
                  <a:lnTo>
                    <a:pt x="2556831" y="1063547"/>
                  </a:lnTo>
                  <a:lnTo>
                    <a:pt x="2556317" y="1065462"/>
                  </a:lnTo>
                  <a:lnTo>
                    <a:pt x="2557339" y="1068813"/>
                  </a:lnTo>
                  <a:lnTo>
                    <a:pt x="2558835" y="1069550"/>
                  </a:lnTo>
                  <a:lnTo>
                    <a:pt x="2561320" y="1070008"/>
                  </a:lnTo>
                  <a:lnTo>
                    <a:pt x="2570470" y="1073328"/>
                  </a:lnTo>
                  <a:lnTo>
                    <a:pt x="2579015" y="1072407"/>
                  </a:lnTo>
                  <a:lnTo>
                    <a:pt x="2586583" y="1072420"/>
                  </a:lnTo>
                  <a:lnTo>
                    <a:pt x="2589552" y="1072093"/>
                  </a:lnTo>
                  <a:lnTo>
                    <a:pt x="2591381" y="1072195"/>
                  </a:lnTo>
                  <a:lnTo>
                    <a:pt x="2591967" y="1074014"/>
                  </a:lnTo>
                  <a:lnTo>
                    <a:pt x="2591893" y="1077347"/>
                  </a:lnTo>
                  <a:lnTo>
                    <a:pt x="2590788" y="1080367"/>
                  </a:lnTo>
                  <a:lnTo>
                    <a:pt x="2589881" y="1089269"/>
                  </a:lnTo>
                  <a:lnTo>
                    <a:pt x="2588855" y="1093192"/>
                  </a:lnTo>
                  <a:lnTo>
                    <a:pt x="2589647" y="1097044"/>
                  </a:lnTo>
                  <a:lnTo>
                    <a:pt x="2591500" y="1097713"/>
                  </a:lnTo>
                  <a:lnTo>
                    <a:pt x="2593353" y="1095977"/>
                  </a:lnTo>
                  <a:lnTo>
                    <a:pt x="2596279" y="1095711"/>
                  </a:lnTo>
                  <a:lnTo>
                    <a:pt x="2599300" y="1096512"/>
                  </a:lnTo>
                  <a:lnTo>
                    <a:pt x="2601569" y="1090343"/>
                  </a:lnTo>
                  <a:lnTo>
                    <a:pt x="2599678" y="1089383"/>
                  </a:lnTo>
                  <a:lnTo>
                    <a:pt x="2597991" y="1087206"/>
                  </a:lnTo>
                  <a:lnTo>
                    <a:pt x="2598996" y="1085575"/>
                  </a:lnTo>
                  <a:lnTo>
                    <a:pt x="2604216" y="1082529"/>
                  </a:lnTo>
                  <a:lnTo>
                    <a:pt x="2607475" y="1082259"/>
                  </a:lnTo>
                  <a:lnTo>
                    <a:pt x="2610591" y="1082500"/>
                  </a:lnTo>
                  <a:lnTo>
                    <a:pt x="2607211" y="1086360"/>
                  </a:lnTo>
                  <a:lnTo>
                    <a:pt x="2605843" y="1087148"/>
                  </a:lnTo>
                  <a:lnTo>
                    <a:pt x="2604784" y="1087359"/>
                  </a:lnTo>
                  <a:lnTo>
                    <a:pt x="2603366" y="1088057"/>
                  </a:lnTo>
                  <a:lnTo>
                    <a:pt x="2606400" y="1090272"/>
                  </a:lnTo>
                  <a:lnTo>
                    <a:pt x="2609635" y="1092005"/>
                  </a:lnTo>
                  <a:lnTo>
                    <a:pt x="2614323" y="1092724"/>
                  </a:lnTo>
                  <a:lnTo>
                    <a:pt x="2613248" y="1094040"/>
                  </a:lnTo>
                  <a:lnTo>
                    <a:pt x="2610123" y="1095176"/>
                  </a:lnTo>
                  <a:lnTo>
                    <a:pt x="2607296" y="1099977"/>
                  </a:lnTo>
                  <a:lnTo>
                    <a:pt x="2602800" y="1102257"/>
                  </a:lnTo>
                  <a:lnTo>
                    <a:pt x="2600761" y="1103838"/>
                  </a:lnTo>
                  <a:lnTo>
                    <a:pt x="2601474" y="1104835"/>
                  </a:lnTo>
                  <a:lnTo>
                    <a:pt x="2603124" y="1105052"/>
                  </a:lnTo>
                  <a:lnTo>
                    <a:pt x="2612187" y="1104408"/>
                  </a:lnTo>
                  <a:lnTo>
                    <a:pt x="2616881" y="1103103"/>
                  </a:lnTo>
                  <a:lnTo>
                    <a:pt x="2623569" y="1099393"/>
                  </a:lnTo>
                  <a:lnTo>
                    <a:pt x="2626354" y="1093859"/>
                  </a:lnTo>
                  <a:lnTo>
                    <a:pt x="2628890" y="1092332"/>
                  </a:lnTo>
                  <a:lnTo>
                    <a:pt x="2629650" y="1092326"/>
                  </a:lnTo>
                  <a:lnTo>
                    <a:pt x="2630539" y="1092711"/>
                  </a:lnTo>
                  <a:lnTo>
                    <a:pt x="2630561" y="1096599"/>
                  </a:lnTo>
                  <a:lnTo>
                    <a:pt x="2626976" y="1100972"/>
                  </a:lnTo>
                  <a:lnTo>
                    <a:pt x="2624438" y="1103439"/>
                  </a:lnTo>
                  <a:lnTo>
                    <a:pt x="2623498" y="1105502"/>
                  </a:lnTo>
                  <a:lnTo>
                    <a:pt x="2625059" y="1105536"/>
                  </a:lnTo>
                  <a:lnTo>
                    <a:pt x="2627942" y="1105111"/>
                  </a:lnTo>
                  <a:lnTo>
                    <a:pt x="2629274" y="1104115"/>
                  </a:lnTo>
                  <a:lnTo>
                    <a:pt x="2632587" y="1098838"/>
                  </a:lnTo>
                  <a:lnTo>
                    <a:pt x="2633442" y="1095057"/>
                  </a:lnTo>
                  <a:lnTo>
                    <a:pt x="2633934" y="1089782"/>
                  </a:lnTo>
                  <a:lnTo>
                    <a:pt x="2633558" y="1086626"/>
                  </a:lnTo>
                  <a:lnTo>
                    <a:pt x="2633807" y="1084345"/>
                  </a:lnTo>
                  <a:lnTo>
                    <a:pt x="2632509" y="1082042"/>
                  </a:lnTo>
                  <a:lnTo>
                    <a:pt x="2633359" y="1081381"/>
                  </a:lnTo>
                  <a:lnTo>
                    <a:pt x="2642412" y="1084492"/>
                  </a:lnTo>
                  <a:lnTo>
                    <a:pt x="2647158" y="1085248"/>
                  </a:lnTo>
                  <a:lnTo>
                    <a:pt x="2655731" y="1082687"/>
                  </a:lnTo>
                  <a:lnTo>
                    <a:pt x="2657679" y="1083317"/>
                  </a:lnTo>
                  <a:lnTo>
                    <a:pt x="2659070" y="1084873"/>
                  </a:lnTo>
                  <a:lnTo>
                    <a:pt x="2666152" y="1089545"/>
                  </a:lnTo>
                  <a:lnTo>
                    <a:pt x="2667545" y="1091078"/>
                  </a:lnTo>
                  <a:lnTo>
                    <a:pt x="2669875" y="1096787"/>
                  </a:lnTo>
                  <a:lnTo>
                    <a:pt x="2677405" y="1103318"/>
                  </a:lnTo>
                  <a:lnTo>
                    <a:pt x="2684438" y="1106390"/>
                  </a:lnTo>
                  <a:lnTo>
                    <a:pt x="2684645" y="1107605"/>
                  </a:lnTo>
                  <a:lnTo>
                    <a:pt x="2689126" y="1111210"/>
                  </a:lnTo>
                  <a:lnTo>
                    <a:pt x="2692577" y="1112463"/>
                  </a:lnTo>
                  <a:lnTo>
                    <a:pt x="2693203" y="1115731"/>
                  </a:lnTo>
                  <a:lnTo>
                    <a:pt x="2691564" y="1118332"/>
                  </a:lnTo>
                  <a:lnTo>
                    <a:pt x="2688320" y="1120789"/>
                  </a:lnTo>
                  <a:lnTo>
                    <a:pt x="2681821" y="1118505"/>
                  </a:lnTo>
                  <a:lnTo>
                    <a:pt x="2680767" y="1118613"/>
                  </a:lnTo>
                  <a:lnTo>
                    <a:pt x="2681538" y="1120053"/>
                  </a:lnTo>
                  <a:lnTo>
                    <a:pt x="2686232" y="1124312"/>
                  </a:lnTo>
                  <a:lnTo>
                    <a:pt x="2689970" y="1126028"/>
                  </a:lnTo>
                  <a:lnTo>
                    <a:pt x="2690192" y="1131626"/>
                  </a:lnTo>
                  <a:lnTo>
                    <a:pt x="2689730" y="1134678"/>
                  </a:lnTo>
                  <a:lnTo>
                    <a:pt x="2687241" y="1138083"/>
                  </a:lnTo>
                  <a:lnTo>
                    <a:pt x="2688068" y="1140083"/>
                  </a:lnTo>
                  <a:lnTo>
                    <a:pt x="2691602" y="1142971"/>
                  </a:lnTo>
                  <a:lnTo>
                    <a:pt x="2693359" y="1144063"/>
                  </a:lnTo>
                  <a:lnTo>
                    <a:pt x="2695043" y="1145717"/>
                  </a:lnTo>
                  <a:lnTo>
                    <a:pt x="2692838" y="1149309"/>
                  </a:lnTo>
                  <a:lnTo>
                    <a:pt x="2692426" y="1153347"/>
                  </a:lnTo>
                  <a:lnTo>
                    <a:pt x="2690027" y="1155117"/>
                  </a:lnTo>
                  <a:lnTo>
                    <a:pt x="2687174" y="1159038"/>
                  </a:lnTo>
                  <a:lnTo>
                    <a:pt x="2682822" y="1162214"/>
                  </a:lnTo>
                  <a:lnTo>
                    <a:pt x="2680743" y="1168262"/>
                  </a:lnTo>
                  <a:lnTo>
                    <a:pt x="2677407" y="1173596"/>
                  </a:lnTo>
                  <a:lnTo>
                    <a:pt x="2677031" y="1178891"/>
                  </a:lnTo>
                  <a:lnTo>
                    <a:pt x="2676476" y="1180777"/>
                  </a:lnTo>
                  <a:lnTo>
                    <a:pt x="2673719" y="1186220"/>
                  </a:lnTo>
                  <a:lnTo>
                    <a:pt x="2672734" y="1193616"/>
                  </a:lnTo>
                  <a:lnTo>
                    <a:pt x="2674040" y="1205650"/>
                  </a:lnTo>
                  <a:lnTo>
                    <a:pt x="2674672" y="1206346"/>
                  </a:lnTo>
                  <a:lnTo>
                    <a:pt x="2676010" y="1207047"/>
                  </a:lnTo>
                  <a:lnTo>
                    <a:pt x="2675762" y="1207876"/>
                  </a:lnTo>
                  <a:lnTo>
                    <a:pt x="2675127" y="1208464"/>
                  </a:lnTo>
                  <a:lnTo>
                    <a:pt x="2672431" y="1211981"/>
                  </a:lnTo>
                  <a:lnTo>
                    <a:pt x="2672473" y="1214457"/>
                  </a:lnTo>
                  <a:lnTo>
                    <a:pt x="2673507" y="1216297"/>
                  </a:lnTo>
                  <a:lnTo>
                    <a:pt x="2673636" y="1221057"/>
                  </a:lnTo>
                  <a:lnTo>
                    <a:pt x="2671732" y="1228649"/>
                  </a:lnTo>
                  <a:lnTo>
                    <a:pt x="2671026" y="1229843"/>
                  </a:lnTo>
                  <a:lnTo>
                    <a:pt x="2670257" y="1231816"/>
                  </a:lnTo>
                  <a:lnTo>
                    <a:pt x="2669910" y="1233580"/>
                  </a:lnTo>
                  <a:lnTo>
                    <a:pt x="2669400" y="1234699"/>
                  </a:lnTo>
                  <a:lnTo>
                    <a:pt x="2669033" y="1236587"/>
                  </a:lnTo>
                  <a:lnTo>
                    <a:pt x="2669579" y="1238273"/>
                  </a:lnTo>
                  <a:lnTo>
                    <a:pt x="2670566" y="1239150"/>
                  </a:lnTo>
                  <a:lnTo>
                    <a:pt x="2667158" y="1244599"/>
                  </a:lnTo>
                  <a:lnTo>
                    <a:pt x="2665973" y="1251680"/>
                  </a:lnTo>
                  <a:lnTo>
                    <a:pt x="2664706" y="1254546"/>
                  </a:lnTo>
                  <a:lnTo>
                    <a:pt x="2662166" y="1257347"/>
                  </a:lnTo>
                  <a:lnTo>
                    <a:pt x="2656910" y="1261399"/>
                  </a:lnTo>
                  <a:lnTo>
                    <a:pt x="2655043" y="1263962"/>
                  </a:lnTo>
                  <a:lnTo>
                    <a:pt x="2651598" y="1267196"/>
                  </a:lnTo>
                  <a:lnTo>
                    <a:pt x="2648328" y="1269676"/>
                  </a:lnTo>
                  <a:lnTo>
                    <a:pt x="2643781" y="1276781"/>
                  </a:lnTo>
                  <a:lnTo>
                    <a:pt x="2640119" y="1283841"/>
                  </a:lnTo>
                  <a:lnTo>
                    <a:pt x="2630952" y="1292963"/>
                  </a:lnTo>
                  <a:lnTo>
                    <a:pt x="2629689" y="1295224"/>
                  </a:lnTo>
                  <a:lnTo>
                    <a:pt x="2629043" y="1297633"/>
                  </a:lnTo>
                  <a:lnTo>
                    <a:pt x="2626640" y="1301666"/>
                  </a:lnTo>
                  <a:lnTo>
                    <a:pt x="2625426" y="1307273"/>
                  </a:lnTo>
                  <a:lnTo>
                    <a:pt x="2622624" y="1309506"/>
                  </a:lnTo>
                  <a:lnTo>
                    <a:pt x="2620328" y="1315388"/>
                  </a:lnTo>
                  <a:lnTo>
                    <a:pt x="2612872" y="1324295"/>
                  </a:lnTo>
                  <a:lnTo>
                    <a:pt x="2611021" y="1327333"/>
                  </a:lnTo>
                  <a:lnTo>
                    <a:pt x="2605266" y="1332244"/>
                  </a:lnTo>
                  <a:lnTo>
                    <a:pt x="2599114" y="1339017"/>
                  </a:lnTo>
                  <a:lnTo>
                    <a:pt x="2591519" y="1345112"/>
                  </a:lnTo>
                  <a:lnTo>
                    <a:pt x="2590054" y="1347606"/>
                  </a:lnTo>
                  <a:lnTo>
                    <a:pt x="2587110" y="1350390"/>
                  </a:lnTo>
                  <a:lnTo>
                    <a:pt x="2583934" y="1354651"/>
                  </a:lnTo>
                  <a:lnTo>
                    <a:pt x="2579306" y="1358886"/>
                  </a:lnTo>
                  <a:lnTo>
                    <a:pt x="2578367" y="1361739"/>
                  </a:lnTo>
                  <a:lnTo>
                    <a:pt x="2576899" y="1363721"/>
                  </a:lnTo>
                  <a:lnTo>
                    <a:pt x="2573465" y="1365061"/>
                  </a:lnTo>
                  <a:lnTo>
                    <a:pt x="2570980" y="1366863"/>
                  </a:lnTo>
                  <a:lnTo>
                    <a:pt x="2563430" y="1377761"/>
                  </a:lnTo>
                  <a:lnTo>
                    <a:pt x="2562454" y="1379725"/>
                  </a:lnTo>
                  <a:lnTo>
                    <a:pt x="2562329" y="1381450"/>
                  </a:lnTo>
                  <a:lnTo>
                    <a:pt x="2557393" y="1385510"/>
                  </a:lnTo>
                  <a:lnTo>
                    <a:pt x="2554538" y="1389793"/>
                  </a:lnTo>
                  <a:lnTo>
                    <a:pt x="2549804" y="1392463"/>
                  </a:lnTo>
                  <a:lnTo>
                    <a:pt x="2544825" y="1396120"/>
                  </a:lnTo>
                  <a:lnTo>
                    <a:pt x="2532987" y="1402788"/>
                  </a:lnTo>
                  <a:lnTo>
                    <a:pt x="2529759" y="1405325"/>
                  </a:lnTo>
                  <a:lnTo>
                    <a:pt x="2523102" y="1408472"/>
                  </a:lnTo>
                  <a:lnTo>
                    <a:pt x="2520389" y="1408518"/>
                  </a:lnTo>
                  <a:lnTo>
                    <a:pt x="2514702" y="1410239"/>
                  </a:lnTo>
                  <a:lnTo>
                    <a:pt x="2510953" y="1412027"/>
                  </a:lnTo>
                  <a:lnTo>
                    <a:pt x="2508728" y="1411337"/>
                  </a:lnTo>
                  <a:lnTo>
                    <a:pt x="2507340" y="1409058"/>
                  </a:lnTo>
                  <a:lnTo>
                    <a:pt x="2505733" y="1409131"/>
                  </a:lnTo>
                  <a:lnTo>
                    <a:pt x="2504399" y="1409440"/>
                  </a:lnTo>
                  <a:lnTo>
                    <a:pt x="2500981" y="1407244"/>
                  </a:lnTo>
                  <a:lnTo>
                    <a:pt x="2498051" y="1407357"/>
                  </a:lnTo>
                  <a:lnTo>
                    <a:pt x="2495948" y="1406335"/>
                  </a:lnTo>
                  <a:lnTo>
                    <a:pt x="2492021" y="1407044"/>
                  </a:lnTo>
                  <a:lnTo>
                    <a:pt x="2492698" y="1397514"/>
                  </a:lnTo>
                  <a:lnTo>
                    <a:pt x="2492149" y="1395503"/>
                  </a:lnTo>
                  <a:lnTo>
                    <a:pt x="2490460" y="1397343"/>
                  </a:lnTo>
                  <a:lnTo>
                    <a:pt x="2485938" y="1400728"/>
                  </a:lnTo>
                  <a:lnTo>
                    <a:pt x="2484138" y="1401360"/>
                  </a:lnTo>
                  <a:lnTo>
                    <a:pt x="2482354" y="1401366"/>
                  </a:lnTo>
                  <a:lnTo>
                    <a:pt x="2483055" y="1399338"/>
                  </a:lnTo>
                  <a:lnTo>
                    <a:pt x="2485593" y="1396403"/>
                  </a:lnTo>
                  <a:lnTo>
                    <a:pt x="2484779" y="1395973"/>
                  </a:lnTo>
                  <a:lnTo>
                    <a:pt x="2483954" y="1395814"/>
                  </a:lnTo>
                  <a:lnTo>
                    <a:pt x="2480765" y="1397069"/>
                  </a:lnTo>
                  <a:lnTo>
                    <a:pt x="2479158" y="1398482"/>
                  </a:lnTo>
                  <a:lnTo>
                    <a:pt x="2474610" y="1404014"/>
                  </a:lnTo>
                  <a:lnTo>
                    <a:pt x="2471887" y="1408676"/>
                  </a:lnTo>
                  <a:lnTo>
                    <a:pt x="2469659" y="1410018"/>
                  </a:lnTo>
                  <a:lnTo>
                    <a:pt x="2468616" y="1412015"/>
                  </a:lnTo>
                  <a:lnTo>
                    <a:pt x="2466691" y="1413922"/>
                  </a:lnTo>
                  <a:lnTo>
                    <a:pt x="2463740" y="1413411"/>
                  </a:lnTo>
                  <a:lnTo>
                    <a:pt x="2461991" y="1413711"/>
                  </a:lnTo>
                  <a:lnTo>
                    <a:pt x="2457800" y="1412660"/>
                  </a:lnTo>
                  <a:lnTo>
                    <a:pt x="2456766" y="1413111"/>
                  </a:lnTo>
                  <a:lnTo>
                    <a:pt x="2459525" y="1416673"/>
                  </a:lnTo>
                  <a:lnTo>
                    <a:pt x="2457219" y="1421928"/>
                  </a:lnTo>
                  <a:lnTo>
                    <a:pt x="2456277" y="1422547"/>
                  </a:lnTo>
                  <a:lnTo>
                    <a:pt x="2455629" y="1421875"/>
                  </a:lnTo>
                  <a:lnTo>
                    <a:pt x="2455487" y="1420684"/>
                  </a:lnTo>
                  <a:lnTo>
                    <a:pt x="2454744" y="1419535"/>
                  </a:lnTo>
                  <a:lnTo>
                    <a:pt x="2453332" y="1417960"/>
                  </a:lnTo>
                  <a:lnTo>
                    <a:pt x="2452732" y="1416341"/>
                  </a:lnTo>
                  <a:lnTo>
                    <a:pt x="2454003" y="1415489"/>
                  </a:lnTo>
                  <a:lnTo>
                    <a:pt x="2453829" y="1413997"/>
                  </a:lnTo>
                  <a:lnTo>
                    <a:pt x="2452591" y="1412632"/>
                  </a:lnTo>
                  <a:lnTo>
                    <a:pt x="2450792" y="1412332"/>
                  </a:lnTo>
                  <a:lnTo>
                    <a:pt x="2450364" y="1411950"/>
                  </a:lnTo>
                  <a:lnTo>
                    <a:pt x="2450472" y="1411223"/>
                  </a:lnTo>
                  <a:lnTo>
                    <a:pt x="2451090" y="1410465"/>
                  </a:lnTo>
                  <a:lnTo>
                    <a:pt x="2451980" y="1409831"/>
                  </a:lnTo>
                  <a:lnTo>
                    <a:pt x="2453843" y="1408962"/>
                  </a:lnTo>
                  <a:lnTo>
                    <a:pt x="2457055" y="1408314"/>
                  </a:lnTo>
                  <a:lnTo>
                    <a:pt x="2458842" y="1407752"/>
                  </a:lnTo>
                  <a:lnTo>
                    <a:pt x="2460285" y="1407578"/>
                  </a:lnTo>
                  <a:lnTo>
                    <a:pt x="2461928" y="1407888"/>
                  </a:lnTo>
                  <a:lnTo>
                    <a:pt x="2463315" y="1407049"/>
                  </a:lnTo>
                  <a:lnTo>
                    <a:pt x="2464708" y="1406536"/>
                  </a:lnTo>
                  <a:lnTo>
                    <a:pt x="2465038" y="1405089"/>
                  </a:lnTo>
                  <a:lnTo>
                    <a:pt x="2465096" y="1402897"/>
                  </a:lnTo>
                  <a:lnTo>
                    <a:pt x="2465601" y="1402244"/>
                  </a:lnTo>
                  <a:lnTo>
                    <a:pt x="2466189" y="1401301"/>
                  </a:lnTo>
                  <a:lnTo>
                    <a:pt x="2467074" y="1400105"/>
                  </a:lnTo>
                  <a:lnTo>
                    <a:pt x="2467877" y="1397002"/>
                  </a:lnTo>
                  <a:lnTo>
                    <a:pt x="2468484" y="1394855"/>
                  </a:lnTo>
                  <a:lnTo>
                    <a:pt x="2468882" y="1393768"/>
                  </a:lnTo>
                  <a:lnTo>
                    <a:pt x="2468980" y="1392288"/>
                  </a:lnTo>
                  <a:lnTo>
                    <a:pt x="2468586" y="1391320"/>
                  </a:lnTo>
                  <a:lnTo>
                    <a:pt x="2467817" y="1390744"/>
                  </a:lnTo>
                  <a:lnTo>
                    <a:pt x="2467225" y="1390336"/>
                  </a:lnTo>
                  <a:lnTo>
                    <a:pt x="2467173" y="1388679"/>
                  </a:lnTo>
                  <a:lnTo>
                    <a:pt x="2467251" y="1386420"/>
                  </a:lnTo>
                  <a:lnTo>
                    <a:pt x="2467044" y="1384967"/>
                  </a:lnTo>
                  <a:lnTo>
                    <a:pt x="2467908" y="1376910"/>
                  </a:lnTo>
                  <a:lnTo>
                    <a:pt x="2468836" y="1375051"/>
                  </a:lnTo>
                  <a:lnTo>
                    <a:pt x="2465973" y="1364263"/>
                  </a:lnTo>
                  <a:lnTo>
                    <a:pt x="2465113" y="1360823"/>
                  </a:lnTo>
                  <a:lnTo>
                    <a:pt x="2464533" y="1359080"/>
                  </a:lnTo>
                  <a:lnTo>
                    <a:pt x="2463278" y="1356530"/>
                  </a:lnTo>
                  <a:lnTo>
                    <a:pt x="2462479" y="1355256"/>
                  </a:lnTo>
                  <a:lnTo>
                    <a:pt x="2462785" y="1354045"/>
                  </a:lnTo>
                  <a:lnTo>
                    <a:pt x="2463921" y="1352830"/>
                  </a:lnTo>
                  <a:lnTo>
                    <a:pt x="2465012" y="1352252"/>
                  </a:lnTo>
                  <a:lnTo>
                    <a:pt x="2468232" y="1351975"/>
                  </a:lnTo>
                  <a:lnTo>
                    <a:pt x="2469123" y="1351539"/>
                  </a:lnTo>
                  <a:lnTo>
                    <a:pt x="2473072" y="1350230"/>
                  </a:lnTo>
                  <a:lnTo>
                    <a:pt x="2473972" y="1349435"/>
                  </a:lnTo>
                  <a:lnTo>
                    <a:pt x="2475988" y="1347507"/>
                  </a:lnTo>
                  <a:lnTo>
                    <a:pt x="2476767" y="1346059"/>
                  </a:lnTo>
                  <a:lnTo>
                    <a:pt x="2477653" y="1344175"/>
                  </a:lnTo>
                  <a:lnTo>
                    <a:pt x="2479601" y="1343154"/>
                  </a:lnTo>
                  <a:lnTo>
                    <a:pt x="2480769" y="1341437"/>
                  </a:lnTo>
                  <a:lnTo>
                    <a:pt x="2482028" y="1340845"/>
                  </a:lnTo>
                  <a:lnTo>
                    <a:pt x="2483297" y="1342302"/>
                  </a:lnTo>
                  <a:lnTo>
                    <a:pt x="2484807" y="1343117"/>
                  </a:lnTo>
                  <a:lnTo>
                    <a:pt x="2486793" y="1343611"/>
                  </a:lnTo>
                  <a:lnTo>
                    <a:pt x="2489313" y="1344232"/>
                  </a:lnTo>
                  <a:lnTo>
                    <a:pt x="2493330" y="1345418"/>
                  </a:lnTo>
                  <a:lnTo>
                    <a:pt x="2497444" y="1346435"/>
                  </a:lnTo>
                  <a:lnTo>
                    <a:pt x="2500022" y="1347232"/>
                  </a:lnTo>
                  <a:lnTo>
                    <a:pt x="2501294" y="1347591"/>
                  </a:lnTo>
                  <a:lnTo>
                    <a:pt x="2503848" y="1348122"/>
                  </a:lnTo>
                  <a:lnTo>
                    <a:pt x="2504956" y="1348535"/>
                  </a:lnTo>
                  <a:lnTo>
                    <a:pt x="2506001" y="1348976"/>
                  </a:lnTo>
                  <a:lnTo>
                    <a:pt x="2507675" y="1347755"/>
                  </a:lnTo>
                  <a:lnTo>
                    <a:pt x="2509925" y="1346219"/>
                  </a:lnTo>
                  <a:lnTo>
                    <a:pt x="2509558" y="1343761"/>
                  </a:lnTo>
                  <a:lnTo>
                    <a:pt x="2509923" y="1340994"/>
                  </a:lnTo>
                  <a:lnTo>
                    <a:pt x="2511530" y="1336235"/>
                  </a:lnTo>
                  <a:lnTo>
                    <a:pt x="2513320" y="1334849"/>
                  </a:lnTo>
                  <a:lnTo>
                    <a:pt x="2514261" y="1334634"/>
                  </a:lnTo>
                  <a:lnTo>
                    <a:pt x="2515276" y="1334109"/>
                  </a:lnTo>
                  <a:lnTo>
                    <a:pt x="2517066" y="1333216"/>
                  </a:lnTo>
                  <a:lnTo>
                    <a:pt x="2517711" y="1331935"/>
                  </a:lnTo>
                  <a:lnTo>
                    <a:pt x="2517347" y="1330453"/>
                  </a:lnTo>
                  <a:lnTo>
                    <a:pt x="2517936" y="1329005"/>
                  </a:lnTo>
                  <a:lnTo>
                    <a:pt x="2518132" y="1327551"/>
                  </a:lnTo>
                  <a:lnTo>
                    <a:pt x="2518761" y="1325666"/>
                  </a:lnTo>
                  <a:lnTo>
                    <a:pt x="2519604" y="1325142"/>
                  </a:lnTo>
                  <a:lnTo>
                    <a:pt x="2520860" y="1324521"/>
                  </a:lnTo>
                  <a:lnTo>
                    <a:pt x="2521741" y="1323558"/>
                  </a:lnTo>
                  <a:lnTo>
                    <a:pt x="2522579" y="1322075"/>
                  </a:lnTo>
                  <a:lnTo>
                    <a:pt x="2523141" y="1320398"/>
                  </a:lnTo>
                  <a:lnTo>
                    <a:pt x="2522909" y="1318459"/>
                  </a:lnTo>
                  <a:lnTo>
                    <a:pt x="2524004" y="1317182"/>
                  </a:lnTo>
                  <a:lnTo>
                    <a:pt x="2525830" y="1316121"/>
                  </a:lnTo>
                  <a:lnTo>
                    <a:pt x="2526461" y="1315471"/>
                  </a:lnTo>
                  <a:lnTo>
                    <a:pt x="2526759" y="1313772"/>
                  </a:lnTo>
                  <a:lnTo>
                    <a:pt x="2526881" y="1313025"/>
                  </a:lnTo>
                  <a:lnTo>
                    <a:pt x="2527378" y="1312169"/>
                  </a:lnTo>
                  <a:lnTo>
                    <a:pt x="2527023" y="1310405"/>
                  </a:lnTo>
                  <a:lnTo>
                    <a:pt x="2526578" y="1308502"/>
                  </a:lnTo>
                  <a:lnTo>
                    <a:pt x="2528588" y="1305304"/>
                  </a:lnTo>
                  <a:lnTo>
                    <a:pt x="2530029" y="1302553"/>
                  </a:lnTo>
                  <a:lnTo>
                    <a:pt x="2530380" y="1298516"/>
                  </a:lnTo>
                  <a:lnTo>
                    <a:pt x="2530545" y="1297852"/>
                  </a:lnTo>
                  <a:lnTo>
                    <a:pt x="2531106" y="1295934"/>
                  </a:lnTo>
                  <a:lnTo>
                    <a:pt x="2531439" y="1295171"/>
                  </a:lnTo>
                  <a:lnTo>
                    <a:pt x="2532556" y="1292634"/>
                  </a:lnTo>
                  <a:lnTo>
                    <a:pt x="2533998" y="1290983"/>
                  </a:lnTo>
                  <a:lnTo>
                    <a:pt x="2533713" y="1289134"/>
                  </a:lnTo>
                  <a:lnTo>
                    <a:pt x="2533131" y="1287329"/>
                  </a:lnTo>
                  <a:lnTo>
                    <a:pt x="2533235" y="1286113"/>
                  </a:lnTo>
                  <a:lnTo>
                    <a:pt x="2534507" y="1284700"/>
                  </a:lnTo>
                  <a:lnTo>
                    <a:pt x="2535279" y="1283996"/>
                  </a:lnTo>
                  <a:lnTo>
                    <a:pt x="2535958" y="1282992"/>
                  </a:lnTo>
                  <a:lnTo>
                    <a:pt x="2537034" y="1282546"/>
                  </a:lnTo>
                  <a:lnTo>
                    <a:pt x="2537986" y="1282301"/>
                  </a:lnTo>
                  <a:lnTo>
                    <a:pt x="2540219" y="1282045"/>
                  </a:lnTo>
                  <a:lnTo>
                    <a:pt x="2541510" y="1280985"/>
                  </a:lnTo>
                  <a:lnTo>
                    <a:pt x="2542711" y="1279898"/>
                  </a:lnTo>
                  <a:lnTo>
                    <a:pt x="2544914" y="1277062"/>
                  </a:lnTo>
                  <a:lnTo>
                    <a:pt x="2545628" y="1275387"/>
                  </a:lnTo>
                  <a:lnTo>
                    <a:pt x="2546164" y="1274516"/>
                  </a:lnTo>
                  <a:lnTo>
                    <a:pt x="2544976" y="1272096"/>
                  </a:lnTo>
                  <a:lnTo>
                    <a:pt x="2543908" y="1270044"/>
                  </a:lnTo>
                  <a:lnTo>
                    <a:pt x="2542603" y="1267199"/>
                  </a:lnTo>
                  <a:lnTo>
                    <a:pt x="2542043" y="1265864"/>
                  </a:lnTo>
                  <a:lnTo>
                    <a:pt x="2542914" y="1264159"/>
                  </a:lnTo>
                  <a:lnTo>
                    <a:pt x="2543840" y="1263106"/>
                  </a:lnTo>
                  <a:lnTo>
                    <a:pt x="2544328" y="1262169"/>
                  </a:lnTo>
                  <a:lnTo>
                    <a:pt x="2544583" y="1260554"/>
                  </a:lnTo>
                  <a:lnTo>
                    <a:pt x="2544238" y="1259325"/>
                  </a:lnTo>
                  <a:lnTo>
                    <a:pt x="2541989" y="1257405"/>
                  </a:lnTo>
                  <a:lnTo>
                    <a:pt x="2539614" y="1256454"/>
                  </a:lnTo>
                  <a:lnTo>
                    <a:pt x="2536934" y="1256071"/>
                  </a:lnTo>
                  <a:lnTo>
                    <a:pt x="2536015" y="1255941"/>
                  </a:lnTo>
                  <a:lnTo>
                    <a:pt x="2534079" y="1256324"/>
                  </a:lnTo>
                  <a:lnTo>
                    <a:pt x="2526038" y="1258764"/>
                  </a:lnTo>
                  <a:lnTo>
                    <a:pt x="2522270" y="1260632"/>
                  </a:lnTo>
                  <a:lnTo>
                    <a:pt x="2520091" y="1262743"/>
                  </a:lnTo>
                  <a:lnTo>
                    <a:pt x="2517772" y="1263756"/>
                  </a:lnTo>
                  <a:lnTo>
                    <a:pt x="2514075" y="1263633"/>
                  </a:lnTo>
                  <a:lnTo>
                    <a:pt x="2510601" y="1263516"/>
                  </a:lnTo>
                  <a:lnTo>
                    <a:pt x="2507860" y="1264681"/>
                  </a:lnTo>
                  <a:lnTo>
                    <a:pt x="2504699" y="1267089"/>
                  </a:lnTo>
                  <a:lnTo>
                    <a:pt x="2502393" y="1268189"/>
                  </a:lnTo>
                  <a:lnTo>
                    <a:pt x="2500942" y="1267987"/>
                  </a:lnTo>
                  <a:lnTo>
                    <a:pt x="2499387" y="1269598"/>
                  </a:lnTo>
                  <a:lnTo>
                    <a:pt x="2497729" y="1273023"/>
                  </a:lnTo>
                  <a:lnTo>
                    <a:pt x="2495835" y="1274528"/>
                  </a:lnTo>
                  <a:lnTo>
                    <a:pt x="2493710" y="1274120"/>
                  </a:lnTo>
                  <a:lnTo>
                    <a:pt x="2488616" y="1274444"/>
                  </a:lnTo>
                  <a:lnTo>
                    <a:pt x="2480555" y="1275498"/>
                  </a:lnTo>
                  <a:lnTo>
                    <a:pt x="2475502" y="1275455"/>
                  </a:lnTo>
                  <a:lnTo>
                    <a:pt x="2473457" y="1274314"/>
                  </a:lnTo>
                  <a:lnTo>
                    <a:pt x="2470252" y="1274167"/>
                  </a:lnTo>
                  <a:lnTo>
                    <a:pt x="2465887" y="1275016"/>
                  </a:lnTo>
                  <a:lnTo>
                    <a:pt x="2463252" y="1275190"/>
                  </a:lnTo>
                  <a:lnTo>
                    <a:pt x="2462349" y="1274687"/>
                  </a:lnTo>
                  <a:lnTo>
                    <a:pt x="2461706" y="1273267"/>
                  </a:lnTo>
                  <a:lnTo>
                    <a:pt x="2461322" y="1270927"/>
                  </a:lnTo>
                  <a:lnTo>
                    <a:pt x="2459844" y="1268489"/>
                  </a:lnTo>
                  <a:lnTo>
                    <a:pt x="2457280" y="1265956"/>
                  </a:lnTo>
                  <a:lnTo>
                    <a:pt x="2456826" y="1262895"/>
                  </a:lnTo>
                  <a:lnTo>
                    <a:pt x="2458486" y="1259306"/>
                  </a:lnTo>
                  <a:lnTo>
                    <a:pt x="2458864" y="1256845"/>
                  </a:lnTo>
                  <a:lnTo>
                    <a:pt x="2457962" y="1255516"/>
                  </a:lnTo>
                  <a:lnTo>
                    <a:pt x="2457594" y="1254327"/>
                  </a:lnTo>
                  <a:lnTo>
                    <a:pt x="2455656" y="1252823"/>
                  </a:lnTo>
                  <a:lnTo>
                    <a:pt x="2454286" y="1250233"/>
                  </a:lnTo>
                  <a:lnTo>
                    <a:pt x="2453288" y="1249443"/>
                  </a:lnTo>
                  <a:lnTo>
                    <a:pt x="2453587" y="1247236"/>
                  </a:lnTo>
                  <a:lnTo>
                    <a:pt x="2454727" y="1244589"/>
                  </a:lnTo>
                  <a:lnTo>
                    <a:pt x="2453311" y="1242084"/>
                  </a:lnTo>
                  <a:lnTo>
                    <a:pt x="2448935" y="1241936"/>
                  </a:lnTo>
                  <a:lnTo>
                    <a:pt x="2445414" y="1241215"/>
                  </a:lnTo>
                  <a:lnTo>
                    <a:pt x="2441900" y="1238917"/>
                  </a:lnTo>
                  <a:lnTo>
                    <a:pt x="2436492" y="1232445"/>
                  </a:lnTo>
                  <a:lnTo>
                    <a:pt x="2433807" y="1230166"/>
                  </a:lnTo>
                  <a:lnTo>
                    <a:pt x="2432045" y="1229933"/>
                  </a:lnTo>
                  <a:lnTo>
                    <a:pt x="2430768" y="1228880"/>
                  </a:lnTo>
                  <a:lnTo>
                    <a:pt x="2429982" y="1227007"/>
                  </a:lnTo>
                  <a:lnTo>
                    <a:pt x="2428712" y="1226988"/>
                  </a:lnTo>
                  <a:lnTo>
                    <a:pt x="2427473" y="1226988"/>
                  </a:lnTo>
                  <a:lnTo>
                    <a:pt x="2426709" y="1227765"/>
                  </a:lnTo>
                  <a:lnTo>
                    <a:pt x="2425819" y="1228008"/>
                  </a:lnTo>
                  <a:lnTo>
                    <a:pt x="2424461" y="1227298"/>
                  </a:lnTo>
                  <a:lnTo>
                    <a:pt x="2423061" y="1227219"/>
                  </a:lnTo>
                  <a:lnTo>
                    <a:pt x="2421624" y="1227773"/>
                  </a:lnTo>
                  <a:lnTo>
                    <a:pt x="2420407" y="1227412"/>
                  </a:lnTo>
                  <a:lnTo>
                    <a:pt x="2419416" y="1226134"/>
                  </a:lnTo>
                  <a:lnTo>
                    <a:pt x="2417602" y="1225283"/>
                  </a:lnTo>
                  <a:lnTo>
                    <a:pt x="2414972" y="1224857"/>
                  </a:lnTo>
                  <a:lnTo>
                    <a:pt x="2413888" y="1223969"/>
                  </a:lnTo>
                  <a:lnTo>
                    <a:pt x="2414346" y="1222617"/>
                  </a:lnTo>
                  <a:lnTo>
                    <a:pt x="2413860" y="1221608"/>
                  </a:lnTo>
                  <a:lnTo>
                    <a:pt x="2412423" y="1220942"/>
                  </a:lnTo>
                  <a:lnTo>
                    <a:pt x="2408503" y="1221112"/>
                  </a:lnTo>
                  <a:lnTo>
                    <a:pt x="2402098" y="1222116"/>
                  </a:lnTo>
                  <a:lnTo>
                    <a:pt x="2396847" y="1221848"/>
                  </a:lnTo>
                  <a:lnTo>
                    <a:pt x="2392748" y="1220311"/>
                  </a:lnTo>
                  <a:lnTo>
                    <a:pt x="2390468" y="1218890"/>
                  </a:lnTo>
                  <a:lnTo>
                    <a:pt x="2390004" y="1217590"/>
                  </a:lnTo>
                  <a:lnTo>
                    <a:pt x="2388822" y="1216339"/>
                  </a:lnTo>
                  <a:lnTo>
                    <a:pt x="2386922" y="1215142"/>
                  </a:lnTo>
                  <a:lnTo>
                    <a:pt x="2385853" y="1213078"/>
                  </a:lnTo>
                  <a:lnTo>
                    <a:pt x="2385617" y="1210147"/>
                  </a:lnTo>
                  <a:lnTo>
                    <a:pt x="2386071" y="1207357"/>
                  </a:lnTo>
                  <a:lnTo>
                    <a:pt x="2387795" y="1203387"/>
                  </a:lnTo>
                  <a:lnTo>
                    <a:pt x="2383484" y="1200793"/>
                  </a:lnTo>
                  <a:lnTo>
                    <a:pt x="2382199" y="1199299"/>
                  </a:lnTo>
                  <a:lnTo>
                    <a:pt x="2382508" y="1198039"/>
                  </a:lnTo>
                  <a:lnTo>
                    <a:pt x="2382279" y="1197040"/>
                  </a:lnTo>
                  <a:lnTo>
                    <a:pt x="2381510" y="1196301"/>
                  </a:lnTo>
                  <a:lnTo>
                    <a:pt x="2381559" y="1195121"/>
                  </a:lnTo>
                  <a:lnTo>
                    <a:pt x="2382420" y="1193497"/>
                  </a:lnTo>
                  <a:lnTo>
                    <a:pt x="2382414" y="1191426"/>
                  </a:lnTo>
                  <a:lnTo>
                    <a:pt x="2381532" y="1188906"/>
                  </a:lnTo>
                  <a:lnTo>
                    <a:pt x="2379127" y="1185367"/>
                  </a:lnTo>
                  <a:lnTo>
                    <a:pt x="2375195" y="1180803"/>
                  </a:lnTo>
                  <a:lnTo>
                    <a:pt x="2373080" y="1177463"/>
                  </a:lnTo>
                  <a:lnTo>
                    <a:pt x="2372787" y="1175352"/>
                  </a:lnTo>
                  <a:lnTo>
                    <a:pt x="2372260" y="1173659"/>
                  </a:lnTo>
                  <a:lnTo>
                    <a:pt x="2371524" y="1172744"/>
                  </a:lnTo>
                  <a:lnTo>
                    <a:pt x="2371068" y="1171175"/>
                  </a:lnTo>
                  <a:lnTo>
                    <a:pt x="2371377" y="1169436"/>
                  </a:lnTo>
                  <a:lnTo>
                    <a:pt x="2370925" y="1168318"/>
                  </a:lnTo>
                  <a:lnTo>
                    <a:pt x="2370359" y="1167267"/>
                  </a:lnTo>
                  <a:lnTo>
                    <a:pt x="2370441" y="1165575"/>
                  </a:lnTo>
                  <a:lnTo>
                    <a:pt x="2369757" y="1164416"/>
                  </a:lnTo>
                  <a:lnTo>
                    <a:pt x="2368313" y="1163792"/>
                  </a:lnTo>
                  <a:lnTo>
                    <a:pt x="2367859" y="1162509"/>
                  </a:lnTo>
                  <a:lnTo>
                    <a:pt x="2368127" y="1159767"/>
                  </a:lnTo>
                  <a:lnTo>
                    <a:pt x="2367086" y="1157460"/>
                  </a:lnTo>
                  <a:lnTo>
                    <a:pt x="2363920" y="1153194"/>
                  </a:lnTo>
                  <a:lnTo>
                    <a:pt x="2362981" y="1150076"/>
                  </a:lnTo>
                  <a:lnTo>
                    <a:pt x="2362705" y="1147259"/>
                  </a:lnTo>
                  <a:lnTo>
                    <a:pt x="2361361" y="1145881"/>
                  </a:lnTo>
                  <a:lnTo>
                    <a:pt x="2361288" y="1144651"/>
                  </a:lnTo>
                  <a:lnTo>
                    <a:pt x="2361111" y="1142514"/>
                  </a:lnTo>
                  <a:lnTo>
                    <a:pt x="2360288" y="1141929"/>
                  </a:lnTo>
                  <a:lnTo>
                    <a:pt x="2359800" y="1141175"/>
                  </a:lnTo>
                  <a:lnTo>
                    <a:pt x="2360186" y="1140273"/>
                  </a:lnTo>
                  <a:lnTo>
                    <a:pt x="2359550" y="1139152"/>
                  </a:lnTo>
                  <a:lnTo>
                    <a:pt x="2357885" y="1137812"/>
                  </a:lnTo>
                  <a:lnTo>
                    <a:pt x="2357118" y="1136652"/>
                  </a:lnTo>
                  <a:lnTo>
                    <a:pt x="2356931" y="1135601"/>
                  </a:lnTo>
                  <a:lnTo>
                    <a:pt x="2356094" y="1134783"/>
                  </a:lnTo>
                  <a:lnTo>
                    <a:pt x="2353646" y="1133988"/>
                  </a:lnTo>
                  <a:lnTo>
                    <a:pt x="2352985" y="1132889"/>
                  </a:lnTo>
                  <a:lnTo>
                    <a:pt x="2353145" y="1131912"/>
                  </a:lnTo>
                  <a:lnTo>
                    <a:pt x="2353672" y="1131003"/>
                  </a:lnTo>
                  <a:lnTo>
                    <a:pt x="2353961" y="1130451"/>
                  </a:lnTo>
                  <a:lnTo>
                    <a:pt x="2353870" y="1129739"/>
                  </a:lnTo>
                  <a:lnTo>
                    <a:pt x="2353695" y="1129035"/>
                  </a:lnTo>
                  <a:lnTo>
                    <a:pt x="2352726" y="1128187"/>
                  </a:lnTo>
                  <a:lnTo>
                    <a:pt x="2351339" y="1127207"/>
                  </a:lnTo>
                  <a:lnTo>
                    <a:pt x="2349798" y="1125090"/>
                  </a:lnTo>
                  <a:lnTo>
                    <a:pt x="2347828" y="1124516"/>
                  </a:lnTo>
                  <a:lnTo>
                    <a:pt x="2346620" y="1124516"/>
                  </a:lnTo>
                  <a:lnTo>
                    <a:pt x="2345572" y="1123317"/>
                  </a:lnTo>
                  <a:lnTo>
                    <a:pt x="2345894" y="1122555"/>
                  </a:lnTo>
                  <a:lnTo>
                    <a:pt x="2345813" y="1121135"/>
                  </a:lnTo>
                  <a:lnTo>
                    <a:pt x="2344870" y="1119980"/>
                  </a:lnTo>
                  <a:lnTo>
                    <a:pt x="2343697" y="1119525"/>
                  </a:lnTo>
                  <a:lnTo>
                    <a:pt x="2342592" y="1119820"/>
                  </a:lnTo>
                  <a:lnTo>
                    <a:pt x="2339860" y="1118738"/>
                  </a:lnTo>
                  <a:lnTo>
                    <a:pt x="2335507" y="1116276"/>
                  </a:lnTo>
                  <a:lnTo>
                    <a:pt x="2332177" y="1115140"/>
                  </a:lnTo>
                  <a:lnTo>
                    <a:pt x="2329876" y="1115331"/>
                  </a:lnTo>
                  <a:lnTo>
                    <a:pt x="2328454" y="1116071"/>
                  </a:lnTo>
                  <a:lnTo>
                    <a:pt x="2327912" y="1117358"/>
                  </a:lnTo>
                  <a:lnTo>
                    <a:pt x="2326368" y="1117235"/>
                  </a:lnTo>
                  <a:lnTo>
                    <a:pt x="2322555" y="1114930"/>
                  </a:lnTo>
                  <a:lnTo>
                    <a:pt x="2318709" y="1114360"/>
                  </a:lnTo>
                  <a:lnTo>
                    <a:pt x="2316569" y="1113119"/>
                  </a:lnTo>
                  <a:lnTo>
                    <a:pt x="2314850" y="1111017"/>
                  </a:lnTo>
                  <a:lnTo>
                    <a:pt x="2313270" y="1110137"/>
                  </a:lnTo>
                  <a:lnTo>
                    <a:pt x="2311819" y="1110481"/>
                  </a:lnTo>
                  <a:lnTo>
                    <a:pt x="2308290" y="1109069"/>
                  </a:lnTo>
                  <a:lnTo>
                    <a:pt x="2302678" y="1105895"/>
                  </a:lnTo>
                  <a:lnTo>
                    <a:pt x="2299734" y="1104824"/>
                  </a:lnTo>
                  <a:lnTo>
                    <a:pt x="2298672" y="1105423"/>
                  </a:lnTo>
                  <a:lnTo>
                    <a:pt x="2298119" y="1105429"/>
                  </a:lnTo>
                  <a:lnTo>
                    <a:pt x="2297117" y="1105339"/>
                  </a:lnTo>
                  <a:lnTo>
                    <a:pt x="2295671" y="1105299"/>
                  </a:lnTo>
                  <a:lnTo>
                    <a:pt x="2293140" y="1104550"/>
                  </a:lnTo>
                  <a:lnTo>
                    <a:pt x="2289702" y="1104883"/>
                  </a:lnTo>
                  <a:lnTo>
                    <a:pt x="2285357" y="1106296"/>
                  </a:lnTo>
                  <a:lnTo>
                    <a:pt x="2280650" y="1107175"/>
                  </a:lnTo>
                  <a:lnTo>
                    <a:pt x="2275588" y="1107523"/>
                  </a:lnTo>
                  <a:lnTo>
                    <a:pt x="2272589" y="1107356"/>
                  </a:lnTo>
                  <a:lnTo>
                    <a:pt x="2271651" y="1106678"/>
                  </a:lnTo>
                  <a:lnTo>
                    <a:pt x="2266148" y="1107689"/>
                  </a:lnTo>
                  <a:lnTo>
                    <a:pt x="2258520" y="1109732"/>
                  </a:lnTo>
                  <a:lnTo>
                    <a:pt x="2251036" y="1111734"/>
                  </a:lnTo>
                  <a:lnTo>
                    <a:pt x="2241748" y="1112710"/>
                  </a:lnTo>
                  <a:lnTo>
                    <a:pt x="2235527" y="1116096"/>
                  </a:lnTo>
                  <a:lnTo>
                    <a:pt x="2229274" y="1122202"/>
                  </a:lnTo>
                  <a:lnTo>
                    <a:pt x="2224782" y="1126036"/>
                  </a:lnTo>
                  <a:lnTo>
                    <a:pt x="2222049" y="1127609"/>
                  </a:lnTo>
                  <a:lnTo>
                    <a:pt x="2220939" y="1129669"/>
                  </a:lnTo>
                  <a:lnTo>
                    <a:pt x="2221453" y="1132213"/>
                  </a:lnTo>
                  <a:lnTo>
                    <a:pt x="2223778" y="1133119"/>
                  </a:lnTo>
                  <a:lnTo>
                    <a:pt x="2227920" y="1132389"/>
                  </a:lnTo>
                  <a:lnTo>
                    <a:pt x="2231481" y="1132745"/>
                  </a:lnTo>
                  <a:lnTo>
                    <a:pt x="2234468" y="1134187"/>
                  </a:lnTo>
                  <a:lnTo>
                    <a:pt x="2235419" y="1136361"/>
                  </a:lnTo>
                  <a:lnTo>
                    <a:pt x="2234340" y="1139266"/>
                  </a:lnTo>
                  <a:lnTo>
                    <a:pt x="2234672" y="1142117"/>
                  </a:lnTo>
                  <a:lnTo>
                    <a:pt x="2236422" y="1144918"/>
                  </a:lnTo>
                  <a:lnTo>
                    <a:pt x="2236538" y="1148146"/>
                  </a:lnTo>
                  <a:lnTo>
                    <a:pt x="2235026" y="1151799"/>
                  </a:lnTo>
                  <a:lnTo>
                    <a:pt x="2231248" y="1155476"/>
                  </a:lnTo>
                  <a:lnTo>
                    <a:pt x="2225199" y="1159178"/>
                  </a:lnTo>
                  <a:lnTo>
                    <a:pt x="2221437" y="1162780"/>
                  </a:lnTo>
                  <a:lnTo>
                    <a:pt x="2219229" y="1168029"/>
                  </a:lnTo>
                  <a:lnTo>
                    <a:pt x="2215828" y="1172578"/>
                  </a:lnTo>
                  <a:lnTo>
                    <a:pt x="2214577" y="1175142"/>
                  </a:lnTo>
                  <a:lnTo>
                    <a:pt x="2214342" y="1177242"/>
                  </a:lnTo>
                  <a:lnTo>
                    <a:pt x="2212992" y="1179510"/>
                  </a:lnTo>
                  <a:lnTo>
                    <a:pt x="2210526" y="1181945"/>
                  </a:lnTo>
                  <a:lnTo>
                    <a:pt x="2209174" y="1184385"/>
                  </a:lnTo>
                  <a:lnTo>
                    <a:pt x="2208941" y="1186830"/>
                  </a:lnTo>
                  <a:lnTo>
                    <a:pt x="2207702" y="1189056"/>
                  </a:lnTo>
                  <a:lnTo>
                    <a:pt x="2205454" y="1191061"/>
                  </a:lnTo>
                  <a:lnTo>
                    <a:pt x="2204052" y="1193181"/>
                  </a:lnTo>
                  <a:lnTo>
                    <a:pt x="2203504" y="1195411"/>
                  </a:lnTo>
                  <a:lnTo>
                    <a:pt x="2202638" y="1196911"/>
                  </a:lnTo>
                  <a:lnTo>
                    <a:pt x="2201466" y="1197680"/>
                  </a:lnTo>
                  <a:lnTo>
                    <a:pt x="2202090" y="1198439"/>
                  </a:lnTo>
                  <a:lnTo>
                    <a:pt x="2204514" y="1199190"/>
                  </a:lnTo>
                  <a:lnTo>
                    <a:pt x="2205503" y="1201362"/>
                  </a:lnTo>
                  <a:lnTo>
                    <a:pt x="2205056" y="1204951"/>
                  </a:lnTo>
                  <a:lnTo>
                    <a:pt x="2203593" y="1207510"/>
                  </a:lnTo>
                  <a:lnTo>
                    <a:pt x="2201107" y="1209041"/>
                  </a:lnTo>
                  <a:lnTo>
                    <a:pt x="2197393" y="1210037"/>
                  </a:lnTo>
                  <a:lnTo>
                    <a:pt x="2192450" y="1210500"/>
                  </a:lnTo>
                  <a:lnTo>
                    <a:pt x="2185719" y="1213912"/>
                  </a:lnTo>
                  <a:lnTo>
                    <a:pt x="2179861" y="1218280"/>
                  </a:lnTo>
                  <a:lnTo>
                    <a:pt x="2172936" y="1223431"/>
                  </a:lnTo>
                  <a:lnTo>
                    <a:pt x="2171590" y="1223430"/>
                  </a:lnTo>
                  <a:lnTo>
                    <a:pt x="2169066" y="1222789"/>
                  </a:lnTo>
                  <a:lnTo>
                    <a:pt x="2164173" y="1220676"/>
                  </a:lnTo>
                  <a:lnTo>
                    <a:pt x="2159053" y="1220232"/>
                  </a:lnTo>
                  <a:lnTo>
                    <a:pt x="2154101" y="1218274"/>
                  </a:lnTo>
                  <a:lnTo>
                    <a:pt x="2151166" y="1216984"/>
                  </a:lnTo>
                  <a:lnTo>
                    <a:pt x="2146619" y="1214509"/>
                  </a:lnTo>
                  <a:lnTo>
                    <a:pt x="2145475" y="1212974"/>
                  </a:lnTo>
                  <a:lnTo>
                    <a:pt x="2143697" y="1211726"/>
                  </a:lnTo>
                  <a:lnTo>
                    <a:pt x="2139275" y="1210060"/>
                  </a:lnTo>
                  <a:lnTo>
                    <a:pt x="2136304" y="1209160"/>
                  </a:lnTo>
                  <a:lnTo>
                    <a:pt x="2134485" y="1209116"/>
                  </a:lnTo>
                  <a:lnTo>
                    <a:pt x="2129873" y="1210808"/>
                  </a:lnTo>
                  <a:lnTo>
                    <a:pt x="2126982" y="1212142"/>
                  </a:lnTo>
                  <a:lnTo>
                    <a:pt x="2125270" y="1212871"/>
                  </a:lnTo>
                  <a:lnTo>
                    <a:pt x="2122399" y="1212715"/>
                  </a:lnTo>
                  <a:lnTo>
                    <a:pt x="2118889" y="1212413"/>
                  </a:lnTo>
                  <a:lnTo>
                    <a:pt x="2117469" y="1211973"/>
                  </a:lnTo>
                  <a:lnTo>
                    <a:pt x="2115468" y="1210902"/>
                  </a:lnTo>
                  <a:lnTo>
                    <a:pt x="2111566" y="1207711"/>
                  </a:lnTo>
                  <a:lnTo>
                    <a:pt x="2109471" y="1205424"/>
                  </a:lnTo>
                  <a:lnTo>
                    <a:pt x="2106735" y="1204138"/>
                  </a:lnTo>
                  <a:lnTo>
                    <a:pt x="2103718" y="1202672"/>
                  </a:lnTo>
                  <a:lnTo>
                    <a:pt x="2102209" y="1202325"/>
                  </a:lnTo>
                  <a:lnTo>
                    <a:pt x="2099535" y="1202448"/>
                  </a:lnTo>
                  <a:lnTo>
                    <a:pt x="2095828" y="1202042"/>
                  </a:lnTo>
                  <a:lnTo>
                    <a:pt x="2093854" y="1201494"/>
                  </a:lnTo>
                  <a:lnTo>
                    <a:pt x="2092189" y="1201990"/>
                  </a:lnTo>
                  <a:lnTo>
                    <a:pt x="2088849" y="1203510"/>
                  </a:lnTo>
                  <a:lnTo>
                    <a:pt x="2084657" y="1206507"/>
                  </a:lnTo>
                  <a:lnTo>
                    <a:pt x="2081369" y="1207651"/>
                  </a:lnTo>
                  <a:lnTo>
                    <a:pt x="2077871" y="1209224"/>
                  </a:lnTo>
                  <a:lnTo>
                    <a:pt x="2075025" y="1211112"/>
                  </a:lnTo>
                  <a:lnTo>
                    <a:pt x="2072229" y="1213052"/>
                  </a:lnTo>
                  <a:lnTo>
                    <a:pt x="2068803" y="1215275"/>
                  </a:lnTo>
                  <a:lnTo>
                    <a:pt x="2067210" y="1218287"/>
                  </a:lnTo>
                  <a:lnTo>
                    <a:pt x="2066402" y="1220479"/>
                  </a:lnTo>
                  <a:lnTo>
                    <a:pt x="2063290" y="1221830"/>
                  </a:lnTo>
                  <a:lnTo>
                    <a:pt x="2060894" y="1223141"/>
                  </a:lnTo>
                  <a:lnTo>
                    <a:pt x="2058481" y="1223609"/>
                  </a:lnTo>
                  <a:lnTo>
                    <a:pt x="2054005" y="1222890"/>
                  </a:lnTo>
                  <a:lnTo>
                    <a:pt x="2051358" y="1223399"/>
                  </a:lnTo>
                  <a:lnTo>
                    <a:pt x="2044823" y="1225992"/>
                  </a:lnTo>
                  <a:lnTo>
                    <a:pt x="2041613" y="1226227"/>
                  </a:lnTo>
                  <a:lnTo>
                    <a:pt x="2039377" y="1226583"/>
                  </a:lnTo>
                  <a:lnTo>
                    <a:pt x="2037214" y="1226750"/>
                  </a:lnTo>
                  <a:lnTo>
                    <a:pt x="2033660" y="1227362"/>
                  </a:lnTo>
                  <a:lnTo>
                    <a:pt x="2032269" y="1227805"/>
                  </a:lnTo>
                  <a:lnTo>
                    <a:pt x="2030442" y="1228330"/>
                  </a:lnTo>
                  <a:lnTo>
                    <a:pt x="2028393" y="1227951"/>
                  </a:lnTo>
                  <a:lnTo>
                    <a:pt x="2025465" y="1229428"/>
                  </a:lnTo>
                  <a:lnTo>
                    <a:pt x="2017144" y="1233380"/>
                  </a:lnTo>
                  <a:lnTo>
                    <a:pt x="2014531" y="1234043"/>
                  </a:lnTo>
                  <a:lnTo>
                    <a:pt x="2012791" y="1234196"/>
                  </a:lnTo>
                  <a:lnTo>
                    <a:pt x="2010547" y="1232783"/>
                  </a:lnTo>
                  <a:lnTo>
                    <a:pt x="2008298" y="1231841"/>
                  </a:lnTo>
                  <a:lnTo>
                    <a:pt x="2005943" y="1231959"/>
                  </a:lnTo>
                  <a:lnTo>
                    <a:pt x="2003258" y="1233258"/>
                  </a:lnTo>
                  <a:lnTo>
                    <a:pt x="1998716" y="1232252"/>
                  </a:lnTo>
                  <a:lnTo>
                    <a:pt x="1993318" y="1231288"/>
                  </a:lnTo>
                  <a:lnTo>
                    <a:pt x="1988416" y="1230413"/>
                  </a:lnTo>
                  <a:lnTo>
                    <a:pt x="1986758" y="1229656"/>
                  </a:lnTo>
                  <a:lnTo>
                    <a:pt x="1981960" y="1228551"/>
                  </a:lnTo>
                  <a:lnTo>
                    <a:pt x="1974955" y="1228539"/>
                  </a:lnTo>
                  <a:lnTo>
                    <a:pt x="1970822" y="1228530"/>
                  </a:lnTo>
                  <a:lnTo>
                    <a:pt x="1968182" y="1228898"/>
                  </a:lnTo>
                  <a:lnTo>
                    <a:pt x="1966165" y="1228362"/>
                  </a:lnTo>
                  <a:lnTo>
                    <a:pt x="1963611" y="1226789"/>
                  </a:lnTo>
                  <a:lnTo>
                    <a:pt x="1959325" y="1223106"/>
                  </a:lnTo>
                  <a:lnTo>
                    <a:pt x="1956781" y="1222020"/>
                  </a:lnTo>
                  <a:lnTo>
                    <a:pt x="1955361" y="1221119"/>
                  </a:lnTo>
                  <a:lnTo>
                    <a:pt x="1954824" y="1219599"/>
                  </a:lnTo>
                  <a:lnTo>
                    <a:pt x="1953848" y="1219409"/>
                  </a:lnTo>
                  <a:lnTo>
                    <a:pt x="1953213" y="1218330"/>
                  </a:lnTo>
                  <a:lnTo>
                    <a:pt x="1953259" y="1216900"/>
                  </a:lnTo>
                  <a:lnTo>
                    <a:pt x="1953172" y="1213781"/>
                  </a:lnTo>
                  <a:lnTo>
                    <a:pt x="1953460" y="1211600"/>
                  </a:lnTo>
                  <a:lnTo>
                    <a:pt x="1952769" y="1210933"/>
                  </a:lnTo>
                  <a:lnTo>
                    <a:pt x="1949899" y="1210581"/>
                  </a:lnTo>
                  <a:lnTo>
                    <a:pt x="1946453" y="1209915"/>
                  </a:lnTo>
                  <a:lnTo>
                    <a:pt x="1940175" y="1209812"/>
                  </a:lnTo>
                  <a:lnTo>
                    <a:pt x="1937659" y="1209733"/>
                  </a:lnTo>
                  <a:lnTo>
                    <a:pt x="1935664" y="1208474"/>
                  </a:lnTo>
                  <a:lnTo>
                    <a:pt x="1933391" y="1206930"/>
                  </a:lnTo>
                  <a:lnTo>
                    <a:pt x="1931203" y="1203744"/>
                  </a:lnTo>
                  <a:lnTo>
                    <a:pt x="1929266" y="1202250"/>
                  </a:lnTo>
                  <a:lnTo>
                    <a:pt x="1926113" y="1200387"/>
                  </a:lnTo>
                  <a:lnTo>
                    <a:pt x="1923090" y="1199918"/>
                  </a:lnTo>
                  <a:lnTo>
                    <a:pt x="1918536" y="1200243"/>
                  </a:lnTo>
                  <a:lnTo>
                    <a:pt x="1915206" y="1200620"/>
                  </a:lnTo>
                  <a:lnTo>
                    <a:pt x="1912214" y="1199809"/>
                  </a:lnTo>
                  <a:lnTo>
                    <a:pt x="1910311" y="1198784"/>
                  </a:lnTo>
                  <a:lnTo>
                    <a:pt x="1907629" y="1197698"/>
                  </a:lnTo>
                  <a:lnTo>
                    <a:pt x="1903591" y="1197443"/>
                  </a:lnTo>
                  <a:lnTo>
                    <a:pt x="1900253" y="1196657"/>
                  </a:lnTo>
                  <a:lnTo>
                    <a:pt x="1896759" y="1195715"/>
                  </a:lnTo>
                  <a:lnTo>
                    <a:pt x="1894174" y="1196099"/>
                  </a:lnTo>
                  <a:lnTo>
                    <a:pt x="1892388" y="1196996"/>
                  </a:lnTo>
                  <a:lnTo>
                    <a:pt x="1890371" y="1198146"/>
                  </a:lnTo>
                  <a:lnTo>
                    <a:pt x="1887767" y="1198350"/>
                  </a:lnTo>
                  <a:lnTo>
                    <a:pt x="1881319" y="1199540"/>
                  </a:lnTo>
                  <a:lnTo>
                    <a:pt x="1879352" y="1200254"/>
                  </a:lnTo>
                  <a:lnTo>
                    <a:pt x="1876475" y="1200574"/>
                  </a:lnTo>
                  <a:lnTo>
                    <a:pt x="1873990" y="1201468"/>
                  </a:lnTo>
                  <a:lnTo>
                    <a:pt x="1871913" y="1203229"/>
                  </a:lnTo>
                  <a:lnTo>
                    <a:pt x="1870138" y="1204532"/>
                  </a:lnTo>
                  <a:lnTo>
                    <a:pt x="1867905" y="1204971"/>
                  </a:lnTo>
                  <a:lnTo>
                    <a:pt x="1865247" y="1204883"/>
                  </a:lnTo>
                  <a:lnTo>
                    <a:pt x="1862984" y="1204463"/>
                  </a:lnTo>
                  <a:lnTo>
                    <a:pt x="1861800" y="1204339"/>
                  </a:lnTo>
                  <a:lnTo>
                    <a:pt x="1860045" y="1204982"/>
                  </a:lnTo>
                  <a:lnTo>
                    <a:pt x="1858047" y="1205424"/>
                  </a:lnTo>
                  <a:lnTo>
                    <a:pt x="1855026" y="1204662"/>
                  </a:lnTo>
                  <a:lnTo>
                    <a:pt x="1853366" y="1204022"/>
                  </a:lnTo>
                  <a:lnTo>
                    <a:pt x="1850783" y="1203639"/>
                  </a:lnTo>
                  <a:lnTo>
                    <a:pt x="1849222" y="1201788"/>
                  </a:lnTo>
                  <a:lnTo>
                    <a:pt x="1847628" y="1201021"/>
                  </a:lnTo>
                  <a:lnTo>
                    <a:pt x="1844925" y="1200734"/>
                  </a:lnTo>
                  <a:lnTo>
                    <a:pt x="1840949" y="1199789"/>
                  </a:lnTo>
                  <a:lnTo>
                    <a:pt x="1838865" y="1198824"/>
                  </a:lnTo>
                  <a:lnTo>
                    <a:pt x="1837049" y="1198226"/>
                  </a:lnTo>
                  <a:lnTo>
                    <a:pt x="1834020" y="1196075"/>
                  </a:lnTo>
                  <a:lnTo>
                    <a:pt x="1832321" y="1194206"/>
                  </a:lnTo>
                  <a:lnTo>
                    <a:pt x="1830936" y="1193901"/>
                  </a:lnTo>
                  <a:lnTo>
                    <a:pt x="1829379" y="1193667"/>
                  </a:lnTo>
                  <a:lnTo>
                    <a:pt x="1828317" y="1192480"/>
                  </a:lnTo>
                  <a:lnTo>
                    <a:pt x="1828259" y="1191039"/>
                  </a:lnTo>
                  <a:lnTo>
                    <a:pt x="1828647" y="1190141"/>
                  </a:lnTo>
                  <a:lnTo>
                    <a:pt x="1828941" y="1188601"/>
                  </a:lnTo>
                  <a:lnTo>
                    <a:pt x="1828056" y="1187138"/>
                  </a:lnTo>
                  <a:lnTo>
                    <a:pt x="1827138" y="1186482"/>
                  </a:lnTo>
                  <a:lnTo>
                    <a:pt x="1826696" y="1185367"/>
                  </a:lnTo>
                  <a:lnTo>
                    <a:pt x="1826941" y="1183267"/>
                  </a:lnTo>
                  <a:lnTo>
                    <a:pt x="1826589" y="1181141"/>
                  </a:lnTo>
                  <a:lnTo>
                    <a:pt x="1826242" y="1178910"/>
                  </a:lnTo>
                  <a:lnTo>
                    <a:pt x="1825300" y="1177248"/>
                  </a:lnTo>
                  <a:lnTo>
                    <a:pt x="1825089" y="1174071"/>
                  </a:lnTo>
                  <a:lnTo>
                    <a:pt x="1825479" y="1172759"/>
                  </a:lnTo>
                  <a:lnTo>
                    <a:pt x="1825382" y="1171208"/>
                  </a:lnTo>
                  <a:lnTo>
                    <a:pt x="1824407" y="1170044"/>
                  </a:lnTo>
                  <a:lnTo>
                    <a:pt x="1821480" y="1169200"/>
                  </a:lnTo>
                  <a:lnTo>
                    <a:pt x="1817987" y="1168060"/>
                  </a:lnTo>
                  <a:lnTo>
                    <a:pt x="1812452" y="1166705"/>
                  </a:lnTo>
                  <a:lnTo>
                    <a:pt x="1810096" y="1166579"/>
                  </a:lnTo>
                  <a:lnTo>
                    <a:pt x="1808259" y="1167133"/>
                  </a:lnTo>
                  <a:lnTo>
                    <a:pt x="1806561" y="1166483"/>
                  </a:lnTo>
                  <a:lnTo>
                    <a:pt x="1804764" y="1165351"/>
                  </a:lnTo>
                  <a:lnTo>
                    <a:pt x="1801716" y="1164182"/>
                  </a:lnTo>
                  <a:lnTo>
                    <a:pt x="1797697" y="1162675"/>
                  </a:lnTo>
                  <a:lnTo>
                    <a:pt x="1793432" y="1160988"/>
                  </a:lnTo>
                  <a:lnTo>
                    <a:pt x="1789573" y="1159459"/>
                  </a:lnTo>
                  <a:lnTo>
                    <a:pt x="1788085" y="1159088"/>
                  </a:lnTo>
                  <a:lnTo>
                    <a:pt x="1782810" y="1158977"/>
                  </a:lnTo>
                  <a:lnTo>
                    <a:pt x="1778481" y="1158763"/>
                  </a:lnTo>
                  <a:lnTo>
                    <a:pt x="1775984" y="1158220"/>
                  </a:lnTo>
                  <a:lnTo>
                    <a:pt x="1773026" y="1156096"/>
                  </a:lnTo>
                  <a:lnTo>
                    <a:pt x="1771508" y="1154794"/>
                  </a:lnTo>
                  <a:lnTo>
                    <a:pt x="1769156" y="1154178"/>
                  </a:lnTo>
                  <a:lnTo>
                    <a:pt x="1767375" y="1153960"/>
                  </a:lnTo>
                  <a:lnTo>
                    <a:pt x="1764604" y="1153262"/>
                  </a:lnTo>
                  <a:lnTo>
                    <a:pt x="1759500" y="1151035"/>
                  </a:lnTo>
                  <a:lnTo>
                    <a:pt x="1757625" y="1149971"/>
                  </a:lnTo>
                  <a:lnTo>
                    <a:pt x="1756362" y="1149955"/>
                  </a:lnTo>
                  <a:lnTo>
                    <a:pt x="1754677" y="1147993"/>
                  </a:lnTo>
                  <a:lnTo>
                    <a:pt x="1753242" y="1147531"/>
                  </a:lnTo>
                  <a:lnTo>
                    <a:pt x="1752257" y="1148929"/>
                  </a:lnTo>
                  <a:lnTo>
                    <a:pt x="1751237" y="1152259"/>
                  </a:lnTo>
                  <a:lnTo>
                    <a:pt x="1750300" y="1153807"/>
                  </a:lnTo>
                  <a:lnTo>
                    <a:pt x="1747655" y="1156874"/>
                  </a:lnTo>
                  <a:lnTo>
                    <a:pt x="1741291" y="1159337"/>
                  </a:lnTo>
                  <a:lnTo>
                    <a:pt x="1740195" y="1160614"/>
                  </a:lnTo>
                  <a:lnTo>
                    <a:pt x="1739614" y="1161783"/>
                  </a:lnTo>
                  <a:lnTo>
                    <a:pt x="1738744" y="1163435"/>
                  </a:lnTo>
                  <a:lnTo>
                    <a:pt x="1738355" y="1165576"/>
                  </a:lnTo>
                  <a:lnTo>
                    <a:pt x="1737575" y="1166160"/>
                  </a:lnTo>
                  <a:lnTo>
                    <a:pt x="1735772" y="1166225"/>
                  </a:lnTo>
                  <a:lnTo>
                    <a:pt x="1734323" y="1167212"/>
                  </a:lnTo>
                  <a:lnTo>
                    <a:pt x="1733252" y="1169352"/>
                  </a:lnTo>
                  <a:lnTo>
                    <a:pt x="1732318" y="1170191"/>
                  </a:lnTo>
                  <a:lnTo>
                    <a:pt x="1731794" y="1172184"/>
                  </a:lnTo>
                  <a:lnTo>
                    <a:pt x="1731885" y="1173056"/>
                  </a:lnTo>
                  <a:lnTo>
                    <a:pt x="1731676" y="1174018"/>
                  </a:lnTo>
                  <a:lnTo>
                    <a:pt x="1731521" y="1175561"/>
                  </a:lnTo>
                  <a:lnTo>
                    <a:pt x="1729860" y="1178881"/>
                  </a:lnTo>
                  <a:lnTo>
                    <a:pt x="1729629" y="1180821"/>
                  </a:lnTo>
                  <a:lnTo>
                    <a:pt x="1730311" y="1182045"/>
                  </a:lnTo>
                  <a:lnTo>
                    <a:pt x="1731719" y="1183685"/>
                  </a:lnTo>
                  <a:lnTo>
                    <a:pt x="1732456" y="1184617"/>
                  </a:lnTo>
                  <a:lnTo>
                    <a:pt x="1732700" y="1185711"/>
                  </a:lnTo>
                  <a:lnTo>
                    <a:pt x="1732649" y="1187125"/>
                  </a:lnTo>
                  <a:lnTo>
                    <a:pt x="1733517" y="1189078"/>
                  </a:lnTo>
                  <a:lnTo>
                    <a:pt x="1734151" y="1190749"/>
                  </a:lnTo>
                  <a:lnTo>
                    <a:pt x="1735237" y="1191936"/>
                  </a:lnTo>
                  <a:lnTo>
                    <a:pt x="1736699" y="1192961"/>
                  </a:lnTo>
                  <a:lnTo>
                    <a:pt x="1738368" y="1193291"/>
                  </a:lnTo>
                  <a:lnTo>
                    <a:pt x="1739672" y="1193986"/>
                  </a:lnTo>
                  <a:lnTo>
                    <a:pt x="1739964" y="1195331"/>
                  </a:lnTo>
                  <a:lnTo>
                    <a:pt x="1739625" y="1197187"/>
                  </a:lnTo>
                  <a:lnTo>
                    <a:pt x="1739026" y="1200682"/>
                  </a:lnTo>
                  <a:lnTo>
                    <a:pt x="1737914" y="1202846"/>
                  </a:lnTo>
                  <a:lnTo>
                    <a:pt x="1737254" y="1204210"/>
                  </a:lnTo>
                  <a:lnTo>
                    <a:pt x="1736189" y="1206349"/>
                  </a:lnTo>
                  <a:lnTo>
                    <a:pt x="1735779" y="1207180"/>
                  </a:lnTo>
                  <a:lnTo>
                    <a:pt x="1733578" y="1209016"/>
                  </a:lnTo>
                  <a:lnTo>
                    <a:pt x="1732090" y="1209520"/>
                  </a:lnTo>
                  <a:lnTo>
                    <a:pt x="1730261" y="1210963"/>
                  </a:lnTo>
                  <a:lnTo>
                    <a:pt x="1728750" y="1211028"/>
                  </a:lnTo>
                  <a:lnTo>
                    <a:pt x="1727316" y="1211025"/>
                  </a:lnTo>
                  <a:lnTo>
                    <a:pt x="1725775" y="1211343"/>
                  </a:lnTo>
                  <a:lnTo>
                    <a:pt x="1724412" y="1211981"/>
                  </a:lnTo>
                  <a:lnTo>
                    <a:pt x="1723338" y="1213951"/>
                  </a:lnTo>
                  <a:lnTo>
                    <a:pt x="1720631" y="1215970"/>
                  </a:lnTo>
                  <a:lnTo>
                    <a:pt x="1719335" y="1216879"/>
                  </a:lnTo>
                  <a:lnTo>
                    <a:pt x="1715992" y="1217185"/>
                  </a:lnTo>
                  <a:lnTo>
                    <a:pt x="1714407" y="1216296"/>
                  </a:lnTo>
                  <a:lnTo>
                    <a:pt x="1713539" y="1215049"/>
                  </a:lnTo>
                  <a:lnTo>
                    <a:pt x="1712466" y="1214333"/>
                  </a:lnTo>
                  <a:lnTo>
                    <a:pt x="1711065" y="1212808"/>
                  </a:lnTo>
                  <a:lnTo>
                    <a:pt x="1705005" y="1211979"/>
                  </a:lnTo>
                  <a:lnTo>
                    <a:pt x="1703425" y="1212374"/>
                  </a:lnTo>
                  <a:lnTo>
                    <a:pt x="1702500" y="1212934"/>
                  </a:lnTo>
                  <a:lnTo>
                    <a:pt x="1701280" y="1212528"/>
                  </a:lnTo>
                  <a:lnTo>
                    <a:pt x="1700451" y="1211773"/>
                  </a:lnTo>
                  <a:lnTo>
                    <a:pt x="1699581" y="1211980"/>
                  </a:lnTo>
                  <a:lnTo>
                    <a:pt x="1697696" y="1212426"/>
                  </a:lnTo>
                  <a:lnTo>
                    <a:pt x="1696234" y="1212280"/>
                  </a:lnTo>
                  <a:lnTo>
                    <a:pt x="1694346" y="1210752"/>
                  </a:lnTo>
                  <a:lnTo>
                    <a:pt x="1691738" y="1209933"/>
                  </a:lnTo>
                  <a:lnTo>
                    <a:pt x="1690717" y="1209464"/>
                  </a:lnTo>
                  <a:lnTo>
                    <a:pt x="1689678" y="1209463"/>
                  </a:lnTo>
                  <a:lnTo>
                    <a:pt x="1689036" y="1210190"/>
                  </a:lnTo>
                  <a:lnTo>
                    <a:pt x="1687847" y="1210581"/>
                  </a:lnTo>
                  <a:lnTo>
                    <a:pt x="1687044" y="1209699"/>
                  </a:lnTo>
                  <a:lnTo>
                    <a:pt x="1685994" y="1209054"/>
                  </a:lnTo>
                  <a:lnTo>
                    <a:pt x="1684610" y="1209066"/>
                  </a:lnTo>
                  <a:lnTo>
                    <a:pt x="1682807" y="1210408"/>
                  </a:lnTo>
                  <a:lnTo>
                    <a:pt x="1679698" y="1211048"/>
                  </a:lnTo>
                  <a:lnTo>
                    <a:pt x="1678712" y="1211988"/>
                  </a:lnTo>
                  <a:lnTo>
                    <a:pt x="1676925" y="1211864"/>
                  </a:lnTo>
                  <a:lnTo>
                    <a:pt x="1675683" y="1211124"/>
                  </a:lnTo>
                  <a:lnTo>
                    <a:pt x="1674441" y="1211039"/>
                  </a:lnTo>
                  <a:lnTo>
                    <a:pt x="1670831" y="1211048"/>
                  </a:lnTo>
                  <a:lnTo>
                    <a:pt x="1669619" y="1211290"/>
                  </a:lnTo>
                  <a:lnTo>
                    <a:pt x="1668136" y="1210536"/>
                  </a:lnTo>
                  <a:lnTo>
                    <a:pt x="1667441" y="1209189"/>
                  </a:lnTo>
                  <a:lnTo>
                    <a:pt x="1665614" y="1208164"/>
                  </a:lnTo>
                  <a:lnTo>
                    <a:pt x="1662981" y="1208036"/>
                  </a:lnTo>
                  <a:lnTo>
                    <a:pt x="1660921" y="1208178"/>
                  </a:lnTo>
                  <a:lnTo>
                    <a:pt x="1659980" y="1208617"/>
                  </a:lnTo>
                  <a:lnTo>
                    <a:pt x="1658637" y="1208742"/>
                  </a:lnTo>
                  <a:lnTo>
                    <a:pt x="1657529" y="1206888"/>
                  </a:lnTo>
                  <a:lnTo>
                    <a:pt x="1656030" y="1205591"/>
                  </a:lnTo>
                  <a:lnTo>
                    <a:pt x="1655182" y="1204639"/>
                  </a:lnTo>
                  <a:lnTo>
                    <a:pt x="1653893" y="1204237"/>
                  </a:lnTo>
                  <a:lnTo>
                    <a:pt x="1652887" y="1203016"/>
                  </a:lnTo>
                  <a:lnTo>
                    <a:pt x="1652714" y="1200653"/>
                  </a:lnTo>
                  <a:lnTo>
                    <a:pt x="1652105" y="1197712"/>
                  </a:lnTo>
                  <a:lnTo>
                    <a:pt x="1651390" y="1194622"/>
                  </a:lnTo>
                  <a:lnTo>
                    <a:pt x="1650595" y="1193314"/>
                  </a:lnTo>
                  <a:lnTo>
                    <a:pt x="1646719" y="1192836"/>
                  </a:lnTo>
                  <a:lnTo>
                    <a:pt x="1644819" y="1192952"/>
                  </a:lnTo>
                  <a:lnTo>
                    <a:pt x="1640519" y="1192697"/>
                  </a:lnTo>
                  <a:lnTo>
                    <a:pt x="1637570" y="1192521"/>
                  </a:lnTo>
                  <a:lnTo>
                    <a:pt x="1636764" y="1192467"/>
                  </a:lnTo>
                  <a:lnTo>
                    <a:pt x="1634011" y="1192120"/>
                  </a:lnTo>
                  <a:lnTo>
                    <a:pt x="1631485" y="1191800"/>
                  </a:lnTo>
                  <a:lnTo>
                    <a:pt x="1628913" y="1191594"/>
                  </a:lnTo>
                  <a:lnTo>
                    <a:pt x="1627853" y="1191857"/>
                  </a:lnTo>
                  <a:lnTo>
                    <a:pt x="1625212" y="1191933"/>
                  </a:lnTo>
                  <a:lnTo>
                    <a:pt x="1623149" y="1190461"/>
                  </a:lnTo>
                  <a:lnTo>
                    <a:pt x="1622283" y="1188774"/>
                  </a:lnTo>
                  <a:lnTo>
                    <a:pt x="1622126" y="1187830"/>
                  </a:lnTo>
                  <a:lnTo>
                    <a:pt x="1621634" y="1186860"/>
                  </a:lnTo>
                  <a:lnTo>
                    <a:pt x="1619757" y="1186543"/>
                  </a:lnTo>
                  <a:lnTo>
                    <a:pt x="1618051" y="1186847"/>
                  </a:lnTo>
                  <a:lnTo>
                    <a:pt x="1617152" y="1188820"/>
                  </a:lnTo>
                  <a:lnTo>
                    <a:pt x="1615885" y="1189627"/>
                  </a:lnTo>
                  <a:lnTo>
                    <a:pt x="1614676" y="1189479"/>
                  </a:lnTo>
                  <a:lnTo>
                    <a:pt x="1613620" y="1188397"/>
                  </a:lnTo>
                  <a:lnTo>
                    <a:pt x="1611575" y="1187243"/>
                  </a:lnTo>
                  <a:lnTo>
                    <a:pt x="1610247" y="1186136"/>
                  </a:lnTo>
                  <a:lnTo>
                    <a:pt x="1608664" y="1184355"/>
                  </a:lnTo>
                  <a:lnTo>
                    <a:pt x="1607360" y="1184774"/>
                  </a:lnTo>
                  <a:lnTo>
                    <a:pt x="1606989" y="1185870"/>
                  </a:lnTo>
                  <a:lnTo>
                    <a:pt x="1606686" y="1186948"/>
                  </a:lnTo>
                  <a:lnTo>
                    <a:pt x="1605073" y="1189121"/>
                  </a:lnTo>
                  <a:lnTo>
                    <a:pt x="1603119" y="1189371"/>
                  </a:lnTo>
                  <a:lnTo>
                    <a:pt x="1599858" y="1189207"/>
                  </a:lnTo>
                  <a:lnTo>
                    <a:pt x="1596492" y="1189324"/>
                  </a:lnTo>
                  <a:lnTo>
                    <a:pt x="1594326" y="1190141"/>
                  </a:lnTo>
                  <a:lnTo>
                    <a:pt x="1592730" y="1191607"/>
                  </a:lnTo>
                  <a:lnTo>
                    <a:pt x="1591905" y="1192758"/>
                  </a:lnTo>
                  <a:lnTo>
                    <a:pt x="1590243" y="1193151"/>
                  </a:lnTo>
                  <a:lnTo>
                    <a:pt x="1588580" y="1194308"/>
                  </a:lnTo>
                  <a:lnTo>
                    <a:pt x="1587885" y="1195881"/>
                  </a:lnTo>
                  <a:lnTo>
                    <a:pt x="1586244" y="1195821"/>
                  </a:lnTo>
                  <a:lnTo>
                    <a:pt x="1585354" y="1196015"/>
                  </a:lnTo>
                  <a:lnTo>
                    <a:pt x="1583876" y="1196334"/>
                  </a:lnTo>
                  <a:lnTo>
                    <a:pt x="1580095" y="1197198"/>
                  </a:lnTo>
                  <a:lnTo>
                    <a:pt x="1579184" y="1197405"/>
                  </a:lnTo>
                  <a:lnTo>
                    <a:pt x="1576876" y="1198893"/>
                  </a:lnTo>
                  <a:lnTo>
                    <a:pt x="1575127" y="1200065"/>
                  </a:lnTo>
                  <a:lnTo>
                    <a:pt x="1573416" y="1200580"/>
                  </a:lnTo>
                  <a:lnTo>
                    <a:pt x="1572391" y="1201928"/>
                  </a:lnTo>
                  <a:lnTo>
                    <a:pt x="1571080" y="1203000"/>
                  </a:lnTo>
                  <a:lnTo>
                    <a:pt x="1568024" y="1203262"/>
                  </a:lnTo>
                  <a:lnTo>
                    <a:pt x="1564663" y="1204605"/>
                  </a:lnTo>
                  <a:lnTo>
                    <a:pt x="1563479" y="1205060"/>
                  </a:lnTo>
                  <a:lnTo>
                    <a:pt x="1561559" y="1206056"/>
                  </a:lnTo>
                  <a:lnTo>
                    <a:pt x="1558889" y="1206443"/>
                  </a:lnTo>
                  <a:lnTo>
                    <a:pt x="1557782" y="1206720"/>
                  </a:lnTo>
                  <a:lnTo>
                    <a:pt x="1556705" y="1207427"/>
                  </a:lnTo>
                  <a:lnTo>
                    <a:pt x="1556094" y="1209880"/>
                  </a:lnTo>
                  <a:lnTo>
                    <a:pt x="1553898" y="1210769"/>
                  </a:lnTo>
                  <a:lnTo>
                    <a:pt x="1550939" y="1210925"/>
                  </a:lnTo>
                  <a:lnTo>
                    <a:pt x="1548719" y="1212225"/>
                  </a:lnTo>
                  <a:lnTo>
                    <a:pt x="1548508" y="1214523"/>
                  </a:lnTo>
                  <a:lnTo>
                    <a:pt x="1549288" y="1216619"/>
                  </a:lnTo>
                  <a:lnTo>
                    <a:pt x="1548947" y="1217569"/>
                  </a:lnTo>
                  <a:lnTo>
                    <a:pt x="1547290" y="1218080"/>
                  </a:lnTo>
                  <a:lnTo>
                    <a:pt x="1544986" y="1219206"/>
                  </a:lnTo>
                  <a:lnTo>
                    <a:pt x="1543231" y="1220615"/>
                  </a:lnTo>
                  <a:lnTo>
                    <a:pt x="1541099" y="1220627"/>
                  </a:lnTo>
                  <a:lnTo>
                    <a:pt x="1539877" y="1220169"/>
                  </a:lnTo>
                  <a:lnTo>
                    <a:pt x="1538970" y="1221070"/>
                  </a:lnTo>
                  <a:lnTo>
                    <a:pt x="1538463" y="1222893"/>
                  </a:lnTo>
                  <a:lnTo>
                    <a:pt x="1536904" y="1223779"/>
                  </a:lnTo>
                  <a:lnTo>
                    <a:pt x="1534668" y="1224599"/>
                  </a:lnTo>
                  <a:lnTo>
                    <a:pt x="1533833" y="1224285"/>
                  </a:lnTo>
                  <a:lnTo>
                    <a:pt x="1533276" y="1223598"/>
                  </a:lnTo>
                  <a:lnTo>
                    <a:pt x="1532276" y="1222678"/>
                  </a:lnTo>
                  <a:lnTo>
                    <a:pt x="1531472" y="1223025"/>
                  </a:lnTo>
                  <a:lnTo>
                    <a:pt x="1531395" y="1224347"/>
                  </a:lnTo>
                  <a:lnTo>
                    <a:pt x="1530760" y="1225297"/>
                  </a:lnTo>
                  <a:lnTo>
                    <a:pt x="1528907" y="1225360"/>
                  </a:lnTo>
                  <a:lnTo>
                    <a:pt x="1527467" y="1224835"/>
                  </a:lnTo>
                  <a:lnTo>
                    <a:pt x="1526372" y="1224216"/>
                  </a:lnTo>
                  <a:lnTo>
                    <a:pt x="1524407" y="1224318"/>
                  </a:lnTo>
                  <a:lnTo>
                    <a:pt x="1522375" y="1224601"/>
                  </a:lnTo>
                  <a:lnTo>
                    <a:pt x="1521069" y="1224310"/>
                  </a:lnTo>
                  <a:lnTo>
                    <a:pt x="1519840" y="1224605"/>
                  </a:lnTo>
                  <a:lnTo>
                    <a:pt x="1516629" y="1225204"/>
                  </a:lnTo>
                  <a:lnTo>
                    <a:pt x="1515368" y="1227217"/>
                  </a:lnTo>
                  <a:lnTo>
                    <a:pt x="1515340" y="1229596"/>
                  </a:lnTo>
                  <a:lnTo>
                    <a:pt x="1514930" y="1230802"/>
                  </a:lnTo>
                  <a:lnTo>
                    <a:pt x="1513001" y="1231847"/>
                  </a:lnTo>
                  <a:lnTo>
                    <a:pt x="1512107" y="1232787"/>
                  </a:lnTo>
                  <a:lnTo>
                    <a:pt x="1510928" y="1233426"/>
                  </a:lnTo>
                  <a:lnTo>
                    <a:pt x="1508352" y="1233496"/>
                  </a:lnTo>
                  <a:lnTo>
                    <a:pt x="1508263" y="1233490"/>
                  </a:lnTo>
                  <a:lnTo>
                    <a:pt x="1507119" y="1233390"/>
                  </a:lnTo>
                  <a:lnTo>
                    <a:pt x="1505038" y="1233922"/>
                  </a:lnTo>
                  <a:lnTo>
                    <a:pt x="1503008" y="1234346"/>
                  </a:lnTo>
                  <a:lnTo>
                    <a:pt x="1501665" y="1234630"/>
                  </a:lnTo>
                  <a:lnTo>
                    <a:pt x="1500788" y="1235515"/>
                  </a:lnTo>
                  <a:lnTo>
                    <a:pt x="1499473" y="1235939"/>
                  </a:lnTo>
                  <a:lnTo>
                    <a:pt x="1497398" y="1235677"/>
                  </a:lnTo>
                  <a:lnTo>
                    <a:pt x="1496823" y="1233909"/>
                  </a:lnTo>
                  <a:lnTo>
                    <a:pt x="1495426" y="1231950"/>
                  </a:lnTo>
                  <a:lnTo>
                    <a:pt x="1493532" y="1231274"/>
                  </a:lnTo>
                  <a:lnTo>
                    <a:pt x="1491820" y="1230851"/>
                  </a:lnTo>
                  <a:lnTo>
                    <a:pt x="1490280" y="1229914"/>
                  </a:lnTo>
                  <a:lnTo>
                    <a:pt x="1489218" y="1228919"/>
                  </a:lnTo>
                  <a:lnTo>
                    <a:pt x="1486104" y="1224165"/>
                  </a:lnTo>
                  <a:lnTo>
                    <a:pt x="1483942" y="1222136"/>
                  </a:lnTo>
                  <a:lnTo>
                    <a:pt x="1481999" y="1222018"/>
                  </a:lnTo>
                  <a:lnTo>
                    <a:pt x="1481729" y="1220667"/>
                  </a:lnTo>
                  <a:lnTo>
                    <a:pt x="1482858" y="1219317"/>
                  </a:lnTo>
                  <a:lnTo>
                    <a:pt x="1484303" y="1218200"/>
                  </a:lnTo>
                  <a:lnTo>
                    <a:pt x="1484260" y="1216671"/>
                  </a:lnTo>
                  <a:lnTo>
                    <a:pt x="1483083" y="1215848"/>
                  </a:lnTo>
                  <a:lnTo>
                    <a:pt x="1481638" y="1216082"/>
                  </a:lnTo>
                  <a:lnTo>
                    <a:pt x="1479695" y="1217849"/>
                  </a:lnTo>
                  <a:lnTo>
                    <a:pt x="1477389" y="1219841"/>
                  </a:lnTo>
                  <a:lnTo>
                    <a:pt x="1474612" y="1221306"/>
                  </a:lnTo>
                  <a:lnTo>
                    <a:pt x="1473502" y="1222488"/>
                  </a:lnTo>
                  <a:lnTo>
                    <a:pt x="1472146" y="1223838"/>
                  </a:lnTo>
                  <a:lnTo>
                    <a:pt x="1470202" y="1223661"/>
                  </a:lnTo>
                  <a:lnTo>
                    <a:pt x="1468801" y="1223720"/>
                  </a:lnTo>
                  <a:lnTo>
                    <a:pt x="1467581" y="1223838"/>
                  </a:lnTo>
                  <a:lnTo>
                    <a:pt x="1466678" y="1222370"/>
                  </a:lnTo>
                  <a:lnTo>
                    <a:pt x="1465504" y="1222195"/>
                  </a:lnTo>
                  <a:lnTo>
                    <a:pt x="1457056" y="1220792"/>
                  </a:lnTo>
                  <a:lnTo>
                    <a:pt x="1454251" y="1220259"/>
                  </a:lnTo>
                  <a:lnTo>
                    <a:pt x="1452489" y="1220962"/>
                  </a:lnTo>
                  <a:lnTo>
                    <a:pt x="1451178" y="1220492"/>
                  </a:lnTo>
                  <a:lnTo>
                    <a:pt x="1450682" y="1219083"/>
                  </a:lnTo>
                  <a:lnTo>
                    <a:pt x="1449053" y="1216612"/>
                  </a:lnTo>
                  <a:lnTo>
                    <a:pt x="1447725" y="1214570"/>
                  </a:lnTo>
                  <a:lnTo>
                    <a:pt x="1446052" y="1212481"/>
                  </a:lnTo>
                  <a:lnTo>
                    <a:pt x="1445486" y="1210839"/>
                  </a:lnTo>
                  <a:lnTo>
                    <a:pt x="1446028" y="1209130"/>
                  </a:lnTo>
                  <a:lnTo>
                    <a:pt x="1445801" y="1207654"/>
                  </a:lnTo>
                  <a:lnTo>
                    <a:pt x="1444355" y="1206886"/>
                  </a:lnTo>
                  <a:lnTo>
                    <a:pt x="1442474" y="1206790"/>
                  </a:lnTo>
                  <a:lnTo>
                    <a:pt x="1437351" y="1203578"/>
                  </a:lnTo>
                  <a:lnTo>
                    <a:pt x="1434957" y="1203105"/>
                  </a:lnTo>
                  <a:lnTo>
                    <a:pt x="1432789" y="1202514"/>
                  </a:lnTo>
                  <a:lnTo>
                    <a:pt x="1431070" y="1202514"/>
                  </a:lnTo>
                  <a:lnTo>
                    <a:pt x="1429623" y="1201093"/>
                  </a:lnTo>
                  <a:lnTo>
                    <a:pt x="1428224" y="1196767"/>
                  </a:lnTo>
                  <a:lnTo>
                    <a:pt x="1427814" y="1194355"/>
                  </a:lnTo>
                  <a:lnTo>
                    <a:pt x="1426118" y="1191909"/>
                  </a:lnTo>
                  <a:lnTo>
                    <a:pt x="1423974" y="1189811"/>
                  </a:lnTo>
                  <a:lnTo>
                    <a:pt x="1422709" y="1186964"/>
                  </a:lnTo>
                  <a:lnTo>
                    <a:pt x="1420821" y="1185701"/>
                  </a:lnTo>
                  <a:lnTo>
                    <a:pt x="1417682" y="1183685"/>
                  </a:lnTo>
                  <a:lnTo>
                    <a:pt x="1414667" y="1182267"/>
                  </a:lnTo>
                  <a:lnTo>
                    <a:pt x="1409711" y="1180549"/>
                  </a:lnTo>
                  <a:lnTo>
                    <a:pt x="1407863" y="1180549"/>
                  </a:lnTo>
                  <a:lnTo>
                    <a:pt x="1405354" y="1180706"/>
                  </a:lnTo>
                  <a:lnTo>
                    <a:pt x="1403862" y="1181541"/>
                  </a:lnTo>
                  <a:lnTo>
                    <a:pt x="1402236" y="1183390"/>
                  </a:lnTo>
                  <a:lnTo>
                    <a:pt x="1400020" y="1183511"/>
                  </a:lnTo>
                  <a:lnTo>
                    <a:pt x="1396522" y="1183504"/>
                  </a:lnTo>
                  <a:lnTo>
                    <a:pt x="1395587" y="1184200"/>
                  </a:lnTo>
                  <a:lnTo>
                    <a:pt x="1395021" y="1185459"/>
                  </a:lnTo>
                  <a:lnTo>
                    <a:pt x="1393224" y="1187056"/>
                  </a:lnTo>
                  <a:lnTo>
                    <a:pt x="1390620" y="1188335"/>
                  </a:lnTo>
                  <a:lnTo>
                    <a:pt x="1386915" y="1187918"/>
                  </a:lnTo>
                  <a:lnTo>
                    <a:pt x="1384384" y="1188572"/>
                  </a:lnTo>
                  <a:lnTo>
                    <a:pt x="1381866" y="1188822"/>
                  </a:lnTo>
                  <a:lnTo>
                    <a:pt x="1378232" y="1187206"/>
                  </a:lnTo>
                  <a:lnTo>
                    <a:pt x="1374215" y="1187263"/>
                  </a:lnTo>
                  <a:lnTo>
                    <a:pt x="1371602" y="1187999"/>
                  </a:lnTo>
                  <a:lnTo>
                    <a:pt x="1367888" y="1187978"/>
                  </a:lnTo>
                  <a:lnTo>
                    <a:pt x="1367126" y="1187067"/>
                  </a:lnTo>
                  <a:lnTo>
                    <a:pt x="1367571" y="1185535"/>
                  </a:lnTo>
                  <a:lnTo>
                    <a:pt x="1367264" y="1184154"/>
                  </a:lnTo>
                  <a:lnTo>
                    <a:pt x="1366655" y="1183025"/>
                  </a:lnTo>
                  <a:lnTo>
                    <a:pt x="1366172" y="1181661"/>
                  </a:lnTo>
                  <a:lnTo>
                    <a:pt x="1364643" y="1181372"/>
                  </a:lnTo>
                  <a:lnTo>
                    <a:pt x="1360341" y="1181959"/>
                  </a:lnTo>
                  <a:lnTo>
                    <a:pt x="1359167" y="1181303"/>
                  </a:lnTo>
                  <a:lnTo>
                    <a:pt x="1359300" y="1179954"/>
                  </a:lnTo>
                  <a:lnTo>
                    <a:pt x="1360071" y="1178276"/>
                  </a:lnTo>
                  <a:lnTo>
                    <a:pt x="1360704" y="1176105"/>
                  </a:lnTo>
                  <a:lnTo>
                    <a:pt x="1360400" y="1174803"/>
                  </a:lnTo>
                  <a:lnTo>
                    <a:pt x="1358178" y="1174960"/>
                  </a:lnTo>
                  <a:lnTo>
                    <a:pt x="1356826" y="1174840"/>
                  </a:lnTo>
                  <a:lnTo>
                    <a:pt x="1356129" y="1173289"/>
                  </a:lnTo>
                  <a:lnTo>
                    <a:pt x="1354874" y="1172156"/>
                  </a:lnTo>
                  <a:lnTo>
                    <a:pt x="1353453" y="1172095"/>
                  </a:lnTo>
                  <a:lnTo>
                    <a:pt x="1351732" y="1171805"/>
                  </a:lnTo>
                  <a:lnTo>
                    <a:pt x="1349858" y="1172276"/>
                  </a:lnTo>
                  <a:lnTo>
                    <a:pt x="1348862" y="1173832"/>
                  </a:lnTo>
                  <a:lnTo>
                    <a:pt x="1347651" y="1174055"/>
                  </a:lnTo>
                  <a:lnTo>
                    <a:pt x="1346331" y="1174490"/>
                  </a:lnTo>
                  <a:lnTo>
                    <a:pt x="1345381" y="1175029"/>
                  </a:lnTo>
                  <a:lnTo>
                    <a:pt x="1344794" y="1176404"/>
                  </a:lnTo>
                  <a:lnTo>
                    <a:pt x="1345061" y="1177683"/>
                  </a:lnTo>
                  <a:lnTo>
                    <a:pt x="1345474" y="1180460"/>
                  </a:lnTo>
                  <a:lnTo>
                    <a:pt x="1344841" y="1181959"/>
                  </a:lnTo>
                  <a:lnTo>
                    <a:pt x="1343107" y="1182753"/>
                  </a:lnTo>
                  <a:lnTo>
                    <a:pt x="1341453" y="1182592"/>
                  </a:lnTo>
                  <a:lnTo>
                    <a:pt x="1340343" y="1182967"/>
                  </a:lnTo>
                  <a:lnTo>
                    <a:pt x="1338287" y="1184525"/>
                  </a:lnTo>
                  <a:lnTo>
                    <a:pt x="1337383" y="1185060"/>
                  </a:lnTo>
                  <a:lnTo>
                    <a:pt x="1337067" y="1186014"/>
                  </a:lnTo>
                  <a:lnTo>
                    <a:pt x="1336931" y="1187443"/>
                  </a:lnTo>
                  <a:lnTo>
                    <a:pt x="1335169" y="1186967"/>
                  </a:lnTo>
                  <a:lnTo>
                    <a:pt x="1332371" y="1181691"/>
                  </a:lnTo>
                  <a:lnTo>
                    <a:pt x="1329203" y="1175712"/>
                  </a:lnTo>
                  <a:lnTo>
                    <a:pt x="1325618" y="1169324"/>
                  </a:lnTo>
                  <a:lnTo>
                    <a:pt x="1323729" y="1165943"/>
                  </a:lnTo>
                  <a:lnTo>
                    <a:pt x="1316650" y="1154898"/>
                  </a:lnTo>
                  <a:lnTo>
                    <a:pt x="1313187" y="1149599"/>
                  </a:lnTo>
                  <a:lnTo>
                    <a:pt x="1307203" y="1140421"/>
                  </a:lnTo>
                  <a:lnTo>
                    <a:pt x="1301764" y="1132048"/>
                  </a:lnTo>
                  <a:lnTo>
                    <a:pt x="1295629" y="1123351"/>
                  </a:lnTo>
                  <a:lnTo>
                    <a:pt x="1291990" y="1118401"/>
                  </a:lnTo>
                  <a:lnTo>
                    <a:pt x="1288153" y="1113172"/>
                  </a:lnTo>
                  <a:lnTo>
                    <a:pt x="1286814" y="1111722"/>
                  </a:lnTo>
                  <a:lnTo>
                    <a:pt x="1284713" y="1109866"/>
                  </a:lnTo>
                  <a:lnTo>
                    <a:pt x="1279513" y="1106263"/>
                  </a:lnTo>
                  <a:lnTo>
                    <a:pt x="1272066" y="1101094"/>
                  </a:lnTo>
                  <a:lnTo>
                    <a:pt x="1265173" y="1096482"/>
                  </a:lnTo>
                  <a:lnTo>
                    <a:pt x="1259755" y="1092852"/>
                  </a:lnTo>
                  <a:lnTo>
                    <a:pt x="1258371" y="1091315"/>
                  </a:lnTo>
                  <a:lnTo>
                    <a:pt x="1257745" y="1090425"/>
                  </a:lnTo>
                  <a:lnTo>
                    <a:pt x="1257166" y="1089432"/>
                  </a:lnTo>
                  <a:lnTo>
                    <a:pt x="1256358" y="1087663"/>
                  </a:lnTo>
                  <a:lnTo>
                    <a:pt x="1256350" y="1086509"/>
                  </a:lnTo>
                  <a:lnTo>
                    <a:pt x="1261500" y="1086699"/>
                  </a:lnTo>
                  <a:lnTo>
                    <a:pt x="1262571" y="1085567"/>
                  </a:lnTo>
                  <a:lnTo>
                    <a:pt x="1264471" y="1081325"/>
                  </a:lnTo>
                  <a:lnTo>
                    <a:pt x="1265540" y="1077651"/>
                  </a:lnTo>
                  <a:lnTo>
                    <a:pt x="1263817" y="1077819"/>
                  </a:lnTo>
                  <a:lnTo>
                    <a:pt x="1260636" y="1079337"/>
                  </a:lnTo>
                  <a:lnTo>
                    <a:pt x="1258947" y="1080435"/>
                  </a:lnTo>
                  <a:lnTo>
                    <a:pt x="1258003" y="1080904"/>
                  </a:lnTo>
                  <a:lnTo>
                    <a:pt x="1252920" y="1081627"/>
                  </a:lnTo>
                  <a:lnTo>
                    <a:pt x="1250133" y="1083253"/>
                  </a:lnTo>
                  <a:lnTo>
                    <a:pt x="1244386" y="1086008"/>
                  </a:lnTo>
                  <a:lnTo>
                    <a:pt x="1240234" y="1087624"/>
                  </a:lnTo>
                  <a:lnTo>
                    <a:pt x="1239437" y="1087891"/>
                  </a:lnTo>
                  <a:lnTo>
                    <a:pt x="1234581" y="1088388"/>
                  </a:lnTo>
                  <a:lnTo>
                    <a:pt x="1233717" y="1089030"/>
                  </a:lnTo>
                  <a:lnTo>
                    <a:pt x="1233589" y="1090450"/>
                  </a:lnTo>
                  <a:lnTo>
                    <a:pt x="1233251" y="1092016"/>
                  </a:lnTo>
                  <a:lnTo>
                    <a:pt x="1229783" y="1094328"/>
                  </a:lnTo>
                  <a:lnTo>
                    <a:pt x="1226066" y="1096360"/>
                  </a:lnTo>
                  <a:lnTo>
                    <a:pt x="1224669" y="1096586"/>
                  </a:lnTo>
                  <a:lnTo>
                    <a:pt x="1222411" y="1096138"/>
                  </a:lnTo>
                  <a:lnTo>
                    <a:pt x="1221247" y="1096391"/>
                  </a:lnTo>
                  <a:lnTo>
                    <a:pt x="1217870" y="1098547"/>
                  </a:lnTo>
                  <a:lnTo>
                    <a:pt x="1212795" y="1101784"/>
                  </a:lnTo>
                  <a:lnTo>
                    <a:pt x="1212319" y="1103099"/>
                  </a:lnTo>
                  <a:lnTo>
                    <a:pt x="1212294" y="1104697"/>
                  </a:lnTo>
                  <a:lnTo>
                    <a:pt x="1211706" y="1106093"/>
                  </a:lnTo>
                  <a:lnTo>
                    <a:pt x="1210575" y="1106599"/>
                  </a:lnTo>
                  <a:lnTo>
                    <a:pt x="1208934" y="1105390"/>
                  </a:lnTo>
                  <a:lnTo>
                    <a:pt x="1207444" y="1103921"/>
                  </a:lnTo>
                  <a:lnTo>
                    <a:pt x="1204319" y="1102866"/>
                  </a:lnTo>
                  <a:lnTo>
                    <a:pt x="1199683" y="1102615"/>
                  </a:lnTo>
                  <a:lnTo>
                    <a:pt x="1196856" y="1103127"/>
                  </a:lnTo>
                  <a:lnTo>
                    <a:pt x="1194907" y="1103927"/>
                  </a:lnTo>
                  <a:lnTo>
                    <a:pt x="1191080" y="1107164"/>
                  </a:lnTo>
                  <a:lnTo>
                    <a:pt x="1189688" y="1107806"/>
                  </a:lnTo>
                  <a:lnTo>
                    <a:pt x="1188912" y="1107600"/>
                  </a:lnTo>
                  <a:lnTo>
                    <a:pt x="1188692" y="1106039"/>
                  </a:lnTo>
                  <a:lnTo>
                    <a:pt x="1187917" y="1104925"/>
                  </a:lnTo>
                  <a:lnTo>
                    <a:pt x="1187007" y="1103260"/>
                  </a:lnTo>
                  <a:lnTo>
                    <a:pt x="1187448" y="1099973"/>
                  </a:lnTo>
                  <a:lnTo>
                    <a:pt x="1189521" y="1096821"/>
                  </a:lnTo>
                  <a:lnTo>
                    <a:pt x="1192944" y="1095100"/>
                  </a:lnTo>
                  <a:lnTo>
                    <a:pt x="1195701" y="1093248"/>
                  </a:lnTo>
                  <a:lnTo>
                    <a:pt x="1196511" y="1091224"/>
                  </a:lnTo>
                  <a:lnTo>
                    <a:pt x="1196442" y="1089823"/>
                  </a:lnTo>
                  <a:lnTo>
                    <a:pt x="1195425" y="1089183"/>
                  </a:lnTo>
                  <a:lnTo>
                    <a:pt x="1194353" y="1089064"/>
                  </a:lnTo>
                  <a:lnTo>
                    <a:pt x="1193734" y="1089745"/>
                  </a:lnTo>
                  <a:lnTo>
                    <a:pt x="1191870" y="1091130"/>
                  </a:lnTo>
                  <a:lnTo>
                    <a:pt x="1189107" y="1092236"/>
                  </a:lnTo>
                  <a:lnTo>
                    <a:pt x="1186804" y="1092455"/>
                  </a:lnTo>
                  <a:lnTo>
                    <a:pt x="1185772" y="1092388"/>
                  </a:lnTo>
                  <a:lnTo>
                    <a:pt x="1183328" y="1091693"/>
                  </a:lnTo>
                  <a:lnTo>
                    <a:pt x="1178789" y="1087851"/>
                  </a:lnTo>
                  <a:lnTo>
                    <a:pt x="1174962" y="1087329"/>
                  </a:lnTo>
                  <a:lnTo>
                    <a:pt x="1172337" y="1087031"/>
                  </a:lnTo>
                  <a:lnTo>
                    <a:pt x="1171462" y="1087418"/>
                  </a:lnTo>
                  <a:lnTo>
                    <a:pt x="1171054" y="1088364"/>
                  </a:lnTo>
                  <a:lnTo>
                    <a:pt x="1171304" y="1089395"/>
                  </a:lnTo>
                  <a:lnTo>
                    <a:pt x="1171827" y="1090410"/>
                  </a:lnTo>
                  <a:lnTo>
                    <a:pt x="1171533" y="1091232"/>
                  </a:lnTo>
                  <a:lnTo>
                    <a:pt x="1170302" y="1091844"/>
                  </a:lnTo>
                  <a:lnTo>
                    <a:pt x="1168456" y="1092872"/>
                  </a:lnTo>
                  <a:lnTo>
                    <a:pt x="1167517" y="1092187"/>
                  </a:lnTo>
                  <a:lnTo>
                    <a:pt x="1167046" y="1089481"/>
                  </a:lnTo>
                  <a:lnTo>
                    <a:pt x="1167141" y="1087374"/>
                  </a:lnTo>
                  <a:lnTo>
                    <a:pt x="1165863" y="1085599"/>
                  </a:lnTo>
                  <a:lnTo>
                    <a:pt x="1164528" y="1082840"/>
                  </a:lnTo>
                  <a:lnTo>
                    <a:pt x="1162691" y="1081210"/>
                  </a:lnTo>
                  <a:lnTo>
                    <a:pt x="1160907" y="1081734"/>
                  </a:lnTo>
                  <a:lnTo>
                    <a:pt x="1160028" y="1084072"/>
                  </a:lnTo>
                  <a:lnTo>
                    <a:pt x="1158676" y="1084862"/>
                  </a:lnTo>
                  <a:lnTo>
                    <a:pt x="1156087" y="1084381"/>
                  </a:lnTo>
                  <a:lnTo>
                    <a:pt x="1151438" y="1085703"/>
                  </a:lnTo>
                  <a:lnTo>
                    <a:pt x="1143904" y="1086301"/>
                  </a:lnTo>
                  <a:lnTo>
                    <a:pt x="1138525" y="1084663"/>
                  </a:lnTo>
                  <a:lnTo>
                    <a:pt x="1137631" y="1083194"/>
                  </a:lnTo>
                  <a:lnTo>
                    <a:pt x="1139829" y="1080040"/>
                  </a:lnTo>
                  <a:lnTo>
                    <a:pt x="1139998" y="1077253"/>
                  </a:lnTo>
                  <a:lnTo>
                    <a:pt x="1139985" y="1074713"/>
                  </a:lnTo>
                  <a:lnTo>
                    <a:pt x="1140568" y="1072858"/>
                  </a:lnTo>
                  <a:lnTo>
                    <a:pt x="1139257" y="1069317"/>
                  </a:lnTo>
                  <a:lnTo>
                    <a:pt x="1136283" y="1062096"/>
                  </a:lnTo>
                  <a:lnTo>
                    <a:pt x="1134478" y="1056637"/>
                  </a:lnTo>
                  <a:lnTo>
                    <a:pt x="1131829" y="1052533"/>
                  </a:lnTo>
                  <a:lnTo>
                    <a:pt x="1130673" y="1051174"/>
                  </a:lnTo>
                  <a:lnTo>
                    <a:pt x="1125107" y="1051877"/>
                  </a:lnTo>
                  <a:lnTo>
                    <a:pt x="1123578" y="1052778"/>
                  </a:lnTo>
                  <a:lnTo>
                    <a:pt x="1122567" y="1054040"/>
                  </a:lnTo>
                  <a:lnTo>
                    <a:pt x="1120839" y="1054923"/>
                  </a:lnTo>
                  <a:lnTo>
                    <a:pt x="1118386" y="1055575"/>
                  </a:lnTo>
                  <a:lnTo>
                    <a:pt x="1116285" y="1055134"/>
                  </a:lnTo>
                  <a:lnTo>
                    <a:pt x="1113949" y="1054447"/>
                  </a:lnTo>
                  <a:lnTo>
                    <a:pt x="1111483" y="1053010"/>
                  </a:lnTo>
                  <a:lnTo>
                    <a:pt x="1108609" y="1051106"/>
                  </a:lnTo>
                  <a:lnTo>
                    <a:pt x="1103148" y="1049577"/>
                  </a:lnTo>
                  <a:lnTo>
                    <a:pt x="1097702" y="1049095"/>
                  </a:lnTo>
                  <a:lnTo>
                    <a:pt x="1091738" y="1048566"/>
                  </a:lnTo>
                  <a:lnTo>
                    <a:pt x="1088768" y="1049532"/>
                  </a:lnTo>
                  <a:lnTo>
                    <a:pt x="1085892" y="1051071"/>
                  </a:lnTo>
                  <a:lnTo>
                    <a:pt x="1081733" y="1054269"/>
                  </a:lnTo>
                  <a:lnTo>
                    <a:pt x="1079824" y="1054589"/>
                  </a:lnTo>
                  <a:lnTo>
                    <a:pt x="1076805" y="1054833"/>
                  </a:lnTo>
                  <a:lnTo>
                    <a:pt x="1074689" y="1055621"/>
                  </a:lnTo>
                  <a:lnTo>
                    <a:pt x="1075110" y="1057029"/>
                  </a:lnTo>
                  <a:lnTo>
                    <a:pt x="1075525" y="1058962"/>
                  </a:lnTo>
                  <a:lnTo>
                    <a:pt x="1074758" y="1060481"/>
                  </a:lnTo>
                  <a:lnTo>
                    <a:pt x="1073575" y="1061290"/>
                  </a:lnTo>
                  <a:lnTo>
                    <a:pt x="1071761" y="1061816"/>
                  </a:lnTo>
                  <a:lnTo>
                    <a:pt x="1068800" y="1061996"/>
                  </a:lnTo>
                  <a:lnTo>
                    <a:pt x="1066367" y="1062308"/>
                  </a:lnTo>
                  <a:lnTo>
                    <a:pt x="1063348" y="1064493"/>
                  </a:lnTo>
                  <a:lnTo>
                    <a:pt x="1058733" y="1065043"/>
                  </a:lnTo>
                  <a:lnTo>
                    <a:pt x="1053706" y="1065830"/>
                  </a:lnTo>
                  <a:lnTo>
                    <a:pt x="1050191" y="1067076"/>
                  </a:lnTo>
                  <a:lnTo>
                    <a:pt x="1042588" y="1068617"/>
                  </a:lnTo>
                  <a:lnTo>
                    <a:pt x="1038185" y="1069305"/>
                  </a:lnTo>
                  <a:lnTo>
                    <a:pt x="1030828" y="1070776"/>
                  </a:lnTo>
                  <a:lnTo>
                    <a:pt x="1024902" y="1071016"/>
                  </a:lnTo>
                  <a:lnTo>
                    <a:pt x="1024008" y="1069982"/>
                  </a:lnTo>
                  <a:lnTo>
                    <a:pt x="1019443" y="1072265"/>
                  </a:lnTo>
                  <a:lnTo>
                    <a:pt x="1014339" y="1072125"/>
                  </a:lnTo>
                  <a:lnTo>
                    <a:pt x="1013397" y="1073041"/>
                  </a:lnTo>
                  <a:lnTo>
                    <a:pt x="1012153" y="1073923"/>
                  </a:lnTo>
                  <a:lnTo>
                    <a:pt x="1010778" y="1074317"/>
                  </a:lnTo>
                  <a:lnTo>
                    <a:pt x="1009042" y="1075402"/>
                  </a:lnTo>
                  <a:lnTo>
                    <a:pt x="1008042" y="1077690"/>
                  </a:lnTo>
                  <a:lnTo>
                    <a:pt x="1007282" y="1080029"/>
                  </a:lnTo>
                  <a:lnTo>
                    <a:pt x="1005746" y="1080767"/>
                  </a:lnTo>
                  <a:lnTo>
                    <a:pt x="1003691" y="1079896"/>
                  </a:lnTo>
                  <a:lnTo>
                    <a:pt x="1002173" y="1079047"/>
                  </a:lnTo>
                  <a:lnTo>
                    <a:pt x="999575" y="1079903"/>
                  </a:lnTo>
                  <a:lnTo>
                    <a:pt x="996051" y="1080400"/>
                  </a:lnTo>
                  <a:lnTo>
                    <a:pt x="993291" y="1080097"/>
                  </a:lnTo>
                  <a:lnTo>
                    <a:pt x="991879" y="1079426"/>
                  </a:lnTo>
                  <a:lnTo>
                    <a:pt x="986089" y="1080547"/>
                  </a:lnTo>
                  <a:lnTo>
                    <a:pt x="983071" y="1081902"/>
                  </a:lnTo>
                  <a:lnTo>
                    <a:pt x="982507" y="1082608"/>
                  </a:lnTo>
                  <a:lnTo>
                    <a:pt x="981766" y="1082993"/>
                  </a:lnTo>
                  <a:lnTo>
                    <a:pt x="978298" y="1083925"/>
                  </a:lnTo>
                  <a:lnTo>
                    <a:pt x="975515" y="1083665"/>
                  </a:lnTo>
                  <a:lnTo>
                    <a:pt x="975077" y="1083720"/>
                  </a:lnTo>
                  <a:lnTo>
                    <a:pt x="972438" y="1084368"/>
                  </a:lnTo>
                  <a:lnTo>
                    <a:pt x="968715" y="1085545"/>
                  </a:lnTo>
                  <a:lnTo>
                    <a:pt x="966040" y="1085933"/>
                  </a:lnTo>
                  <a:lnTo>
                    <a:pt x="963798" y="1085915"/>
                  </a:lnTo>
                  <a:lnTo>
                    <a:pt x="962366" y="1086881"/>
                  </a:lnTo>
                  <a:lnTo>
                    <a:pt x="961203" y="1087915"/>
                  </a:lnTo>
                  <a:lnTo>
                    <a:pt x="951447" y="1089007"/>
                  </a:lnTo>
                  <a:lnTo>
                    <a:pt x="950464" y="1089761"/>
                  </a:lnTo>
                  <a:lnTo>
                    <a:pt x="948490" y="1090709"/>
                  </a:lnTo>
                  <a:lnTo>
                    <a:pt x="938345" y="1091029"/>
                  </a:lnTo>
                  <a:lnTo>
                    <a:pt x="937508" y="1091718"/>
                  </a:lnTo>
                  <a:lnTo>
                    <a:pt x="937139" y="1092492"/>
                  </a:lnTo>
                  <a:lnTo>
                    <a:pt x="935879" y="1092732"/>
                  </a:lnTo>
                  <a:lnTo>
                    <a:pt x="928570" y="1091263"/>
                  </a:lnTo>
                  <a:lnTo>
                    <a:pt x="922722" y="1089614"/>
                  </a:lnTo>
                  <a:lnTo>
                    <a:pt x="920453" y="1090518"/>
                  </a:lnTo>
                  <a:lnTo>
                    <a:pt x="918522" y="1092206"/>
                  </a:lnTo>
                  <a:lnTo>
                    <a:pt x="917846" y="1094672"/>
                  </a:lnTo>
                  <a:lnTo>
                    <a:pt x="917846" y="1096775"/>
                  </a:lnTo>
                  <a:lnTo>
                    <a:pt x="917846" y="1098575"/>
                  </a:lnTo>
                  <a:lnTo>
                    <a:pt x="916970" y="1099876"/>
                  </a:lnTo>
                  <a:lnTo>
                    <a:pt x="915024" y="1101478"/>
                  </a:lnTo>
                  <a:lnTo>
                    <a:pt x="914890" y="1102555"/>
                  </a:lnTo>
                  <a:lnTo>
                    <a:pt x="917523" y="1103721"/>
                  </a:lnTo>
                  <a:lnTo>
                    <a:pt x="920826" y="1104690"/>
                  </a:lnTo>
                  <a:lnTo>
                    <a:pt x="922776" y="1104261"/>
                  </a:lnTo>
                  <a:lnTo>
                    <a:pt x="924409" y="1103601"/>
                  </a:lnTo>
                  <a:lnTo>
                    <a:pt x="925828" y="1103806"/>
                  </a:lnTo>
                  <a:lnTo>
                    <a:pt x="926823" y="1104584"/>
                  </a:lnTo>
                  <a:lnTo>
                    <a:pt x="927173" y="1105524"/>
                  </a:lnTo>
                  <a:lnTo>
                    <a:pt x="926987" y="1106179"/>
                  </a:lnTo>
                  <a:lnTo>
                    <a:pt x="926368" y="1106688"/>
                  </a:lnTo>
                  <a:lnTo>
                    <a:pt x="924210" y="1107558"/>
                  </a:lnTo>
                  <a:lnTo>
                    <a:pt x="922234" y="1107259"/>
                  </a:lnTo>
                  <a:lnTo>
                    <a:pt x="920405" y="1107856"/>
                  </a:lnTo>
                  <a:lnTo>
                    <a:pt x="919455" y="1109052"/>
                  </a:lnTo>
                  <a:lnTo>
                    <a:pt x="918944" y="1111141"/>
                  </a:lnTo>
                  <a:lnTo>
                    <a:pt x="919749" y="1112632"/>
                  </a:lnTo>
                  <a:lnTo>
                    <a:pt x="922219" y="1112991"/>
                  </a:lnTo>
                  <a:lnTo>
                    <a:pt x="925002" y="1114067"/>
                  </a:lnTo>
                  <a:lnTo>
                    <a:pt x="928084" y="1114576"/>
                  </a:lnTo>
                  <a:lnTo>
                    <a:pt x="929935" y="1114395"/>
                  </a:lnTo>
                  <a:lnTo>
                    <a:pt x="932286" y="1116032"/>
                  </a:lnTo>
                  <a:lnTo>
                    <a:pt x="937780" y="1118014"/>
                  </a:lnTo>
                  <a:lnTo>
                    <a:pt x="939248" y="1119526"/>
                  </a:lnTo>
                  <a:lnTo>
                    <a:pt x="939285" y="1121084"/>
                  </a:lnTo>
                  <a:lnTo>
                    <a:pt x="938276" y="1122261"/>
                  </a:lnTo>
                  <a:lnTo>
                    <a:pt x="936886" y="1122930"/>
                  </a:lnTo>
                  <a:lnTo>
                    <a:pt x="934992" y="1122566"/>
                  </a:lnTo>
                  <a:lnTo>
                    <a:pt x="931250" y="1122163"/>
                  </a:lnTo>
                  <a:lnTo>
                    <a:pt x="927143" y="1121890"/>
                  </a:lnTo>
                  <a:lnTo>
                    <a:pt x="924206" y="1121366"/>
                  </a:lnTo>
                  <a:lnTo>
                    <a:pt x="919919" y="1121574"/>
                  </a:lnTo>
                  <a:lnTo>
                    <a:pt x="916393" y="1122071"/>
                  </a:lnTo>
                  <a:lnTo>
                    <a:pt x="915488" y="1123241"/>
                  </a:lnTo>
                  <a:lnTo>
                    <a:pt x="914121" y="1125430"/>
                  </a:lnTo>
                  <a:lnTo>
                    <a:pt x="912983" y="1126647"/>
                  </a:lnTo>
                  <a:lnTo>
                    <a:pt x="910973" y="1128878"/>
                  </a:lnTo>
                  <a:lnTo>
                    <a:pt x="910356" y="1130935"/>
                  </a:lnTo>
                  <a:lnTo>
                    <a:pt x="911392" y="1134092"/>
                  </a:lnTo>
                  <a:lnTo>
                    <a:pt x="914890" y="1139300"/>
                  </a:lnTo>
                  <a:lnTo>
                    <a:pt x="915223" y="1141020"/>
                  </a:lnTo>
                  <a:lnTo>
                    <a:pt x="913964" y="1142691"/>
                  </a:lnTo>
                  <a:lnTo>
                    <a:pt x="911550" y="1144090"/>
                  </a:lnTo>
                  <a:lnTo>
                    <a:pt x="908054" y="1146538"/>
                  </a:lnTo>
                  <a:lnTo>
                    <a:pt x="904272" y="1146671"/>
                  </a:lnTo>
                  <a:lnTo>
                    <a:pt x="902640" y="1147285"/>
                  </a:lnTo>
                  <a:lnTo>
                    <a:pt x="898399" y="1150277"/>
                  </a:lnTo>
                  <a:lnTo>
                    <a:pt x="894681" y="1151698"/>
                  </a:lnTo>
                  <a:lnTo>
                    <a:pt x="893901" y="1152975"/>
                  </a:lnTo>
                  <a:lnTo>
                    <a:pt x="894724" y="1154234"/>
                  </a:lnTo>
                  <a:lnTo>
                    <a:pt x="899431" y="1155887"/>
                  </a:lnTo>
                  <a:lnTo>
                    <a:pt x="901800" y="1157705"/>
                  </a:lnTo>
                  <a:lnTo>
                    <a:pt x="902483" y="1159741"/>
                  </a:lnTo>
                  <a:lnTo>
                    <a:pt x="903508" y="1161294"/>
                  </a:lnTo>
                  <a:lnTo>
                    <a:pt x="907171" y="1162302"/>
                  </a:lnTo>
                  <a:lnTo>
                    <a:pt x="914759" y="1164652"/>
                  </a:lnTo>
                  <a:lnTo>
                    <a:pt x="915197" y="1164897"/>
                  </a:lnTo>
                  <a:lnTo>
                    <a:pt x="915672" y="1165965"/>
                  </a:lnTo>
                  <a:lnTo>
                    <a:pt x="923372" y="1167448"/>
                  </a:lnTo>
                  <a:lnTo>
                    <a:pt x="924439" y="1168245"/>
                  </a:lnTo>
                  <a:lnTo>
                    <a:pt x="927609" y="1170890"/>
                  </a:lnTo>
                  <a:lnTo>
                    <a:pt x="928281" y="1173672"/>
                  </a:lnTo>
                  <a:lnTo>
                    <a:pt x="926670" y="1176385"/>
                  </a:lnTo>
                  <a:lnTo>
                    <a:pt x="925626" y="1180676"/>
                  </a:lnTo>
                  <a:lnTo>
                    <a:pt x="923955" y="1184446"/>
                  </a:lnTo>
                  <a:lnTo>
                    <a:pt x="920360" y="1186960"/>
                  </a:lnTo>
                  <a:lnTo>
                    <a:pt x="914068" y="1189269"/>
                  </a:lnTo>
                  <a:lnTo>
                    <a:pt x="907339" y="1190194"/>
                  </a:lnTo>
                  <a:lnTo>
                    <a:pt x="904475" y="1190035"/>
                  </a:lnTo>
                  <a:lnTo>
                    <a:pt x="902625" y="1189745"/>
                  </a:lnTo>
                  <a:lnTo>
                    <a:pt x="899602" y="1189017"/>
                  </a:lnTo>
                  <a:lnTo>
                    <a:pt x="897360" y="1187106"/>
                  </a:lnTo>
                  <a:lnTo>
                    <a:pt x="895710" y="1185229"/>
                  </a:lnTo>
                  <a:lnTo>
                    <a:pt x="894527" y="1184760"/>
                  </a:lnTo>
                  <a:lnTo>
                    <a:pt x="893348" y="1185069"/>
                  </a:lnTo>
                  <a:lnTo>
                    <a:pt x="892241" y="1186247"/>
                  </a:lnTo>
                  <a:lnTo>
                    <a:pt x="890751" y="1189424"/>
                  </a:lnTo>
                  <a:lnTo>
                    <a:pt x="889083" y="1192569"/>
                  </a:lnTo>
                  <a:lnTo>
                    <a:pt x="887730" y="1193676"/>
                  </a:lnTo>
                  <a:lnTo>
                    <a:pt x="882685" y="1195159"/>
                  </a:lnTo>
                  <a:lnTo>
                    <a:pt x="882128" y="1194630"/>
                  </a:lnTo>
                  <a:lnTo>
                    <a:pt x="882705" y="1192546"/>
                  </a:lnTo>
                  <a:lnTo>
                    <a:pt x="882068" y="1191922"/>
                  </a:lnTo>
                  <a:lnTo>
                    <a:pt x="881122" y="1191453"/>
                  </a:lnTo>
                  <a:lnTo>
                    <a:pt x="874899" y="1190654"/>
                  </a:lnTo>
                  <a:lnTo>
                    <a:pt x="872543" y="1190063"/>
                  </a:lnTo>
                  <a:lnTo>
                    <a:pt x="870785" y="1189833"/>
                  </a:lnTo>
                  <a:lnTo>
                    <a:pt x="868548" y="1189300"/>
                  </a:lnTo>
                  <a:lnTo>
                    <a:pt x="867008" y="1188055"/>
                  </a:lnTo>
                  <a:lnTo>
                    <a:pt x="863702" y="1184234"/>
                  </a:lnTo>
                  <a:lnTo>
                    <a:pt x="861113" y="1181236"/>
                  </a:lnTo>
                  <a:lnTo>
                    <a:pt x="856950" y="1178526"/>
                  </a:lnTo>
                  <a:lnTo>
                    <a:pt x="853175" y="1178002"/>
                  </a:lnTo>
                  <a:lnTo>
                    <a:pt x="852870" y="1178279"/>
                  </a:lnTo>
                  <a:lnTo>
                    <a:pt x="850005" y="1178379"/>
                  </a:lnTo>
                  <a:lnTo>
                    <a:pt x="845445" y="1177712"/>
                  </a:lnTo>
                  <a:lnTo>
                    <a:pt x="845224" y="1177789"/>
                  </a:lnTo>
                  <a:lnTo>
                    <a:pt x="843807" y="1179021"/>
                  </a:lnTo>
                  <a:lnTo>
                    <a:pt x="842749" y="1180947"/>
                  </a:lnTo>
                  <a:lnTo>
                    <a:pt x="841353" y="1182576"/>
                  </a:lnTo>
                  <a:lnTo>
                    <a:pt x="839230" y="1183439"/>
                  </a:lnTo>
                  <a:lnTo>
                    <a:pt x="836673" y="1183635"/>
                  </a:lnTo>
                  <a:lnTo>
                    <a:pt x="833805" y="1181952"/>
                  </a:lnTo>
                  <a:lnTo>
                    <a:pt x="830854" y="1179338"/>
                  </a:lnTo>
                  <a:lnTo>
                    <a:pt x="827155" y="1178486"/>
                  </a:lnTo>
                  <a:lnTo>
                    <a:pt x="823570" y="1179059"/>
                  </a:lnTo>
                  <a:lnTo>
                    <a:pt x="822259" y="1179468"/>
                  </a:lnTo>
                  <a:lnTo>
                    <a:pt x="818497" y="1180950"/>
                  </a:lnTo>
                  <a:lnTo>
                    <a:pt x="817318" y="1180259"/>
                  </a:lnTo>
                  <a:lnTo>
                    <a:pt x="815649" y="1179820"/>
                  </a:lnTo>
                  <a:lnTo>
                    <a:pt x="811983" y="1182257"/>
                  </a:lnTo>
                  <a:lnTo>
                    <a:pt x="807966" y="1184925"/>
                  </a:lnTo>
                  <a:lnTo>
                    <a:pt x="807094" y="1186917"/>
                  </a:lnTo>
                  <a:lnTo>
                    <a:pt x="805882" y="1188744"/>
                  </a:lnTo>
                  <a:lnTo>
                    <a:pt x="803218" y="1190483"/>
                  </a:lnTo>
                  <a:lnTo>
                    <a:pt x="800309" y="1191987"/>
                  </a:lnTo>
                  <a:lnTo>
                    <a:pt x="797845" y="1192545"/>
                  </a:lnTo>
                  <a:lnTo>
                    <a:pt x="794662" y="1191994"/>
                  </a:lnTo>
                  <a:lnTo>
                    <a:pt x="790656" y="1190148"/>
                  </a:lnTo>
                  <a:lnTo>
                    <a:pt x="786988" y="1187836"/>
                  </a:lnTo>
                  <a:lnTo>
                    <a:pt x="782999" y="1184191"/>
                  </a:lnTo>
                  <a:lnTo>
                    <a:pt x="779752" y="1182103"/>
                  </a:lnTo>
                  <a:lnTo>
                    <a:pt x="776638" y="1180446"/>
                  </a:lnTo>
                  <a:lnTo>
                    <a:pt x="774746" y="1180052"/>
                  </a:lnTo>
                  <a:lnTo>
                    <a:pt x="773228" y="1180676"/>
                  </a:lnTo>
                  <a:lnTo>
                    <a:pt x="772634" y="1181966"/>
                  </a:lnTo>
                  <a:lnTo>
                    <a:pt x="773066" y="1182981"/>
                  </a:lnTo>
                  <a:lnTo>
                    <a:pt x="773964" y="1183897"/>
                  </a:lnTo>
                  <a:lnTo>
                    <a:pt x="774664" y="1186778"/>
                  </a:lnTo>
                  <a:lnTo>
                    <a:pt x="774932" y="1190297"/>
                  </a:lnTo>
                  <a:lnTo>
                    <a:pt x="774625" y="1192291"/>
                  </a:lnTo>
                  <a:lnTo>
                    <a:pt x="773742" y="1193480"/>
                  </a:lnTo>
                  <a:lnTo>
                    <a:pt x="772837" y="1193913"/>
                  </a:lnTo>
                  <a:lnTo>
                    <a:pt x="771999" y="1193757"/>
                  </a:lnTo>
                  <a:lnTo>
                    <a:pt x="770984" y="1192518"/>
                  </a:lnTo>
                  <a:lnTo>
                    <a:pt x="770363" y="1189897"/>
                  </a:lnTo>
                  <a:lnTo>
                    <a:pt x="769879" y="1186799"/>
                  </a:lnTo>
                  <a:lnTo>
                    <a:pt x="767145" y="1182900"/>
                  </a:lnTo>
                  <a:lnTo>
                    <a:pt x="764785" y="1180516"/>
                  </a:lnTo>
                  <a:lnTo>
                    <a:pt x="763649" y="1179199"/>
                  </a:lnTo>
                  <a:lnTo>
                    <a:pt x="761477" y="1177024"/>
                  </a:lnTo>
                  <a:lnTo>
                    <a:pt x="759604" y="1175678"/>
                  </a:lnTo>
                  <a:lnTo>
                    <a:pt x="755616" y="1174140"/>
                  </a:lnTo>
                  <a:lnTo>
                    <a:pt x="753662" y="1173024"/>
                  </a:lnTo>
                  <a:lnTo>
                    <a:pt x="750269" y="1168691"/>
                  </a:lnTo>
                  <a:lnTo>
                    <a:pt x="748367" y="1167371"/>
                  </a:lnTo>
                  <a:lnTo>
                    <a:pt x="745923" y="1166259"/>
                  </a:lnTo>
                  <a:lnTo>
                    <a:pt x="743914" y="1165929"/>
                  </a:lnTo>
                  <a:lnTo>
                    <a:pt x="743474" y="1166183"/>
                  </a:lnTo>
                  <a:lnTo>
                    <a:pt x="739296" y="1166807"/>
                  </a:lnTo>
                  <a:lnTo>
                    <a:pt x="736294" y="1166712"/>
                  </a:lnTo>
                  <a:lnTo>
                    <a:pt x="734478" y="1165900"/>
                  </a:lnTo>
                  <a:lnTo>
                    <a:pt x="732588" y="1165803"/>
                  </a:lnTo>
                  <a:lnTo>
                    <a:pt x="732435" y="1165796"/>
                  </a:lnTo>
                  <a:lnTo>
                    <a:pt x="730379" y="1166342"/>
                  </a:lnTo>
                  <a:lnTo>
                    <a:pt x="729995" y="1166306"/>
                  </a:lnTo>
                  <a:lnTo>
                    <a:pt x="728965" y="1166281"/>
                  </a:lnTo>
                  <a:lnTo>
                    <a:pt x="727306" y="1165384"/>
                  </a:lnTo>
                  <a:lnTo>
                    <a:pt x="725689" y="1162970"/>
                  </a:lnTo>
                  <a:lnTo>
                    <a:pt x="723655" y="1160407"/>
                  </a:lnTo>
                  <a:lnTo>
                    <a:pt x="721180" y="1159580"/>
                  </a:lnTo>
                  <a:lnTo>
                    <a:pt x="716492" y="1160660"/>
                  </a:lnTo>
                  <a:lnTo>
                    <a:pt x="711368" y="1164146"/>
                  </a:lnTo>
                  <a:lnTo>
                    <a:pt x="707691" y="1166212"/>
                  </a:lnTo>
                  <a:lnTo>
                    <a:pt x="704692" y="1166269"/>
                  </a:lnTo>
                  <a:lnTo>
                    <a:pt x="702979" y="1166585"/>
                  </a:lnTo>
                  <a:lnTo>
                    <a:pt x="701841" y="1166466"/>
                  </a:lnTo>
                  <a:lnTo>
                    <a:pt x="700880" y="1165817"/>
                  </a:lnTo>
                  <a:lnTo>
                    <a:pt x="700651" y="1164560"/>
                  </a:lnTo>
                  <a:lnTo>
                    <a:pt x="700191" y="1162963"/>
                  </a:lnTo>
                  <a:lnTo>
                    <a:pt x="697837" y="1161404"/>
                  </a:lnTo>
                  <a:lnTo>
                    <a:pt x="694618" y="1160397"/>
                  </a:lnTo>
                  <a:lnTo>
                    <a:pt x="691623" y="1159291"/>
                  </a:lnTo>
                  <a:lnTo>
                    <a:pt x="689666" y="1158996"/>
                  </a:lnTo>
                  <a:lnTo>
                    <a:pt x="688831" y="1160588"/>
                  </a:lnTo>
                  <a:lnTo>
                    <a:pt x="686350" y="1163119"/>
                  </a:lnTo>
                  <a:lnTo>
                    <a:pt x="683527" y="1165576"/>
                  </a:lnTo>
                  <a:lnTo>
                    <a:pt x="679932" y="1169566"/>
                  </a:lnTo>
                  <a:lnTo>
                    <a:pt x="678949" y="1170979"/>
                  </a:lnTo>
                  <a:lnTo>
                    <a:pt x="677570" y="1171919"/>
                  </a:lnTo>
                  <a:lnTo>
                    <a:pt x="674430" y="1172943"/>
                  </a:lnTo>
                  <a:lnTo>
                    <a:pt x="670614" y="1174624"/>
                  </a:lnTo>
                  <a:lnTo>
                    <a:pt x="668181" y="1176535"/>
                  </a:lnTo>
                  <a:lnTo>
                    <a:pt x="664732" y="1177401"/>
                  </a:lnTo>
                  <a:lnTo>
                    <a:pt x="661011" y="1177947"/>
                  </a:lnTo>
                  <a:lnTo>
                    <a:pt x="659387" y="1179602"/>
                  </a:lnTo>
                  <a:lnTo>
                    <a:pt x="658390" y="1182298"/>
                  </a:lnTo>
                  <a:lnTo>
                    <a:pt x="657150" y="1184718"/>
                  </a:lnTo>
                  <a:lnTo>
                    <a:pt x="651296" y="1188379"/>
                  </a:lnTo>
                  <a:lnTo>
                    <a:pt x="648091" y="1190750"/>
                  </a:lnTo>
                  <a:lnTo>
                    <a:pt x="645762" y="1192008"/>
                  </a:lnTo>
                  <a:lnTo>
                    <a:pt x="644134" y="1191847"/>
                  </a:lnTo>
                  <a:lnTo>
                    <a:pt x="642374" y="1191469"/>
                  </a:lnTo>
                  <a:lnTo>
                    <a:pt x="641709" y="1191678"/>
                  </a:lnTo>
                  <a:lnTo>
                    <a:pt x="642613" y="1193490"/>
                  </a:lnTo>
                  <a:lnTo>
                    <a:pt x="643375" y="1199195"/>
                  </a:lnTo>
                  <a:lnTo>
                    <a:pt x="644457" y="1202824"/>
                  </a:lnTo>
                  <a:lnTo>
                    <a:pt x="645239" y="1204907"/>
                  </a:lnTo>
                  <a:lnTo>
                    <a:pt x="645973" y="1206543"/>
                  </a:lnTo>
                  <a:lnTo>
                    <a:pt x="646533" y="1209048"/>
                  </a:lnTo>
                  <a:lnTo>
                    <a:pt x="645803" y="1210512"/>
                  </a:lnTo>
                  <a:lnTo>
                    <a:pt x="644669" y="1211495"/>
                  </a:lnTo>
                  <a:lnTo>
                    <a:pt x="641154" y="1213041"/>
                  </a:lnTo>
                  <a:lnTo>
                    <a:pt x="637489" y="1214372"/>
                  </a:lnTo>
                  <a:lnTo>
                    <a:pt x="635293" y="1213515"/>
                  </a:lnTo>
                  <a:lnTo>
                    <a:pt x="632857" y="1211391"/>
                  </a:lnTo>
                  <a:lnTo>
                    <a:pt x="631896" y="1210293"/>
                  </a:lnTo>
                  <a:lnTo>
                    <a:pt x="629229" y="1206724"/>
                  </a:lnTo>
                  <a:lnTo>
                    <a:pt x="624561" y="1201264"/>
                  </a:lnTo>
                  <a:lnTo>
                    <a:pt x="621380" y="1198493"/>
                  </a:lnTo>
                  <a:lnTo>
                    <a:pt x="619033" y="1197460"/>
                  </a:lnTo>
                  <a:lnTo>
                    <a:pt x="616910" y="1197775"/>
                  </a:lnTo>
                  <a:lnTo>
                    <a:pt x="615265" y="1199073"/>
                  </a:lnTo>
                  <a:lnTo>
                    <a:pt x="614096" y="1200228"/>
                  </a:lnTo>
                  <a:lnTo>
                    <a:pt x="612993" y="1201519"/>
                  </a:lnTo>
                  <a:lnTo>
                    <a:pt x="612291" y="1203142"/>
                  </a:lnTo>
                  <a:lnTo>
                    <a:pt x="612356" y="1205376"/>
                  </a:lnTo>
                  <a:lnTo>
                    <a:pt x="612302" y="1207738"/>
                  </a:lnTo>
                  <a:lnTo>
                    <a:pt x="611265" y="1209402"/>
                  </a:lnTo>
                  <a:lnTo>
                    <a:pt x="608640" y="1211186"/>
                  </a:lnTo>
                  <a:lnTo>
                    <a:pt x="605597" y="1213674"/>
                  </a:lnTo>
                  <a:lnTo>
                    <a:pt x="603332" y="1218159"/>
                  </a:lnTo>
                  <a:lnTo>
                    <a:pt x="601864" y="1223754"/>
                  </a:lnTo>
                  <a:lnTo>
                    <a:pt x="601397" y="1227629"/>
                  </a:lnTo>
                  <a:lnTo>
                    <a:pt x="602522" y="1229440"/>
                  </a:lnTo>
                  <a:lnTo>
                    <a:pt x="604744" y="1230908"/>
                  </a:lnTo>
                  <a:lnTo>
                    <a:pt x="606176" y="1232415"/>
                  </a:lnTo>
                  <a:lnTo>
                    <a:pt x="606467" y="1233834"/>
                  </a:lnTo>
                  <a:lnTo>
                    <a:pt x="606089" y="1235318"/>
                  </a:lnTo>
                  <a:lnTo>
                    <a:pt x="604939" y="1237032"/>
                  </a:lnTo>
                  <a:lnTo>
                    <a:pt x="602522" y="1238992"/>
                  </a:lnTo>
                  <a:lnTo>
                    <a:pt x="599199" y="1243668"/>
                  </a:lnTo>
                  <a:lnTo>
                    <a:pt x="597132" y="1250255"/>
                  </a:lnTo>
                  <a:lnTo>
                    <a:pt x="598277" y="1254841"/>
                  </a:lnTo>
                  <a:lnTo>
                    <a:pt x="602526" y="1257353"/>
                  </a:lnTo>
                  <a:lnTo>
                    <a:pt x="605869" y="1258460"/>
                  </a:lnTo>
                  <a:lnTo>
                    <a:pt x="607204" y="1259932"/>
                  </a:lnTo>
                  <a:lnTo>
                    <a:pt x="608406" y="1262913"/>
                  </a:lnTo>
                  <a:lnTo>
                    <a:pt x="608240" y="1265932"/>
                  </a:lnTo>
                  <a:lnTo>
                    <a:pt x="607837" y="1267974"/>
                  </a:lnTo>
                  <a:lnTo>
                    <a:pt x="608666" y="1269974"/>
                  </a:lnTo>
                  <a:lnTo>
                    <a:pt x="610242" y="1272348"/>
                  </a:lnTo>
                  <a:lnTo>
                    <a:pt x="612239" y="1273799"/>
                  </a:lnTo>
                  <a:lnTo>
                    <a:pt x="614339" y="1273018"/>
                  </a:lnTo>
                  <a:lnTo>
                    <a:pt x="616431" y="1272026"/>
                  </a:lnTo>
                  <a:lnTo>
                    <a:pt x="619046" y="1272418"/>
                  </a:lnTo>
                  <a:lnTo>
                    <a:pt x="626442" y="1273242"/>
                  </a:lnTo>
                  <a:lnTo>
                    <a:pt x="630318" y="1273672"/>
                  </a:lnTo>
                  <a:lnTo>
                    <a:pt x="631579" y="1274702"/>
                  </a:lnTo>
                  <a:lnTo>
                    <a:pt x="633982" y="1278043"/>
                  </a:lnTo>
                  <a:lnTo>
                    <a:pt x="637020" y="1281788"/>
                  </a:lnTo>
                  <a:lnTo>
                    <a:pt x="640104" y="1285586"/>
                  </a:lnTo>
                  <a:lnTo>
                    <a:pt x="641169" y="1287229"/>
                  </a:lnTo>
                  <a:lnTo>
                    <a:pt x="643682" y="1291755"/>
                  </a:lnTo>
                  <a:lnTo>
                    <a:pt x="646280" y="1295818"/>
                  </a:lnTo>
                  <a:lnTo>
                    <a:pt x="649100" y="1300843"/>
                  </a:lnTo>
                  <a:lnTo>
                    <a:pt x="648899" y="1302202"/>
                  </a:lnTo>
                  <a:lnTo>
                    <a:pt x="647424" y="1302769"/>
                  </a:lnTo>
                  <a:lnTo>
                    <a:pt x="645053" y="1302632"/>
                  </a:lnTo>
                  <a:lnTo>
                    <a:pt x="643222" y="1301895"/>
                  </a:lnTo>
                  <a:lnTo>
                    <a:pt x="642195" y="1301286"/>
                  </a:lnTo>
                  <a:lnTo>
                    <a:pt x="641270" y="1301085"/>
                  </a:lnTo>
                  <a:lnTo>
                    <a:pt x="640234" y="1301330"/>
                  </a:lnTo>
                  <a:lnTo>
                    <a:pt x="639352" y="1301965"/>
                  </a:lnTo>
                  <a:lnTo>
                    <a:pt x="638994" y="1302958"/>
                  </a:lnTo>
                  <a:lnTo>
                    <a:pt x="639145" y="1304311"/>
                  </a:lnTo>
                  <a:lnTo>
                    <a:pt x="639854" y="1305544"/>
                  </a:lnTo>
                  <a:lnTo>
                    <a:pt x="640845" y="1306337"/>
                  </a:lnTo>
                  <a:lnTo>
                    <a:pt x="641378" y="1306632"/>
                  </a:lnTo>
                  <a:lnTo>
                    <a:pt x="645008" y="1308257"/>
                  </a:lnTo>
                  <a:lnTo>
                    <a:pt x="649091" y="1310083"/>
                  </a:lnTo>
                  <a:lnTo>
                    <a:pt x="654073" y="1312671"/>
                  </a:lnTo>
                  <a:lnTo>
                    <a:pt x="655133" y="1312994"/>
                  </a:lnTo>
                  <a:lnTo>
                    <a:pt x="655436" y="1314257"/>
                  </a:lnTo>
                  <a:lnTo>
                    <a:pt x="652773" y="1314530"/>
                  </a:lnTo>
                  <a:lnTo>
                    <a:pt x="652445" y="1316005"/>
                  </a:lnTo>
                  <a:lnTo>
                    <a:pt x="651758" y="1317091"/>
                  </a:lnTo>
                  <a:lnTo>
                    <a:pt x="645796" y="1319545"/>
                  </a:lnTo>
                  <a:lnTo>
                    <a:pt x="644306" y="1319538"/>
                  </a:lnTo>
                  <a:lnTo>
                    <a:pt x="643004" y="1319940"/>
                  </a:lnTo>
                  <a:lnTo>
                    <a:pt x="643084" y="1321527"/>
                  </a:lnTo>
                  <a:lnTo>
                    <a:pt x="643440" y="1322978"/>
                  </a:lnTo>
                  <a:lnTo>
                    <a:pt x="644462" y="1324515"/>
                  </a:lnTo>
                  <a:lnTo>
                    <a:pt x="644019" y="1325169"/>
                  </a:lnTo>
                  <a:lnTo>
                    <a:pt x="643136" y="1325388"/>
                  </a:lnTo>
                  <a:lnTo>
                    <a:pt x="641981" y="1324923"/>
                  </a:lnTo>
                  <a:lnTo>
                    <a:pt x="640912" y="1324120"/>
                  </a:lnTo>
                  <a:lnTo>
                    <a:pt x="639767" y="1323919"/>
                  </a:lnTo>
                  <a:lnTo>
                    <a:pt x="638655" y="1324120"/>
                  </a:lnTo>
                  <a:lnTo>
                    <a:pt x="633583" y="1328451"/>
                  </a:lnTo>
                  <a:lnTo>
                    <a:pt x="631406" y="1329574"/>
                  </a:lnTo>
                  <a:lnTo>
                    <a:pt x="629055" y="1330015"/>
                  </a:lnTo>
                  <a:lnTo>
                    <a:pt x="624131" y="1331610"/>
                  </a:lnTo>
                  <a:lnTo>
                    <a:pt x="622667" y="1331530"/>
                  </a:lnTo>
                  <a:lnTo>
                    <a:pt x="621276" y="1330973"/>
                  </a:lnTo>
                  <a:lnTo>
                    <a:pt x="620143" y="1331783"/>
                  </a:lnTo>
                  <a:lnTo>
                    <a:pt x="619778" y="1333783"/>
                  </a:lnTo>
                  <a:lnTo>
                    <a:pt x="618467" y="1332402"/>
                  </a:lnTo>
                  <a:lnTo>
                    <a:pt x="617016" y="1331304"/>
                  </a:lnTo>
                  <a:lnTo>
                    <a:pt x="616374" y="1330934"/>
                  </a:lnTo>
                  <a:lnTo>
                    <a:pt x="616018" y="1331152"/>
                  </a:lnTo>
                  <a:lnTo>
                    <a:pt x="617366" y="1333297"/>
                  </a:lnTo>
                  <a:lnTo>
                    <a:pt x="617483" y="1335263"/>
                  </a:lnTo>
                  <a:lnTo>
                    <a:pt x="617152" y="1336342"/>
                  </a:lnTo>
                  <a:lnTo>
                    <a:pt x="616580" y="1337327"/>
                  </a:lnTo>
                  <a:lnTo>
                    <a:pt x="615824" y="1337932"/>
                  </a:lnTo>
                  <a:lnTo>
                    <a:pt x="614908" y="1338261"/>
                  </a:lnTo>
                  <a:lnTo>
                    <a:pt x="614423" y="1341725"/>
                  </a:lnTo>
                  <a:lnTo>
                    <a:pt x="613542" y="1343837"/>
                  </a:lnTo>
                  <a:lnTo>
                    <a:pt x="612324" y="1345706"/>
                  </a:lnTo>
                  <a:lnTo>
                    <a:pt x="610672" y="1349130"/>
                  </a:lnTo>
                  <a:lnTo>
                    <a:pt x="609346" y="1350624"/>
                  </a:lnTo>
                  <a:lnTo>
                    <a:pt x="608311" y="1352363"/>
                  </a:lnTo>
                  <a:lnTo>
                    <a:pt x="607627" y="1354791"/>
                  </a:lnTo>
                  <a:lnTo>
                    <a:pt x="606642" y="1354221"/>
                  </a:lnTo>
                  <a:lnTo>
                    <a:pt x="605839" y="1353179"/>
                  </a:lnTo>
                  <a:lnTo>
                    <a:pt x="605413" y="1354557"/>
                  </a:lnTo>
                  <a:lnTo>
                    <a:pt x="604833" y="1355730"/>
                  </a:lnTo>
                  <a:lnTo>
                    <a:pt x="602263" y="1357483"/>
                  </a:lnTo>
                  <a:lnTo>
                    <a:pt x="600363" y="1359165"/>
                  </a:lnTo>
                  <a:lnTo>
                    <a:pt x="599497" y="1361775"/>
                  </a:lnTo>
                  <a:lnTo>
                    <a:pt x="599300" y="1363335"/>
                  </a:lnTo>
                  <a:lnTo>
                    <a:pt x="599603" y="1364740"/>
                  </a:lnTo>
                  <a:lnTo>
                    <a:pt x="600313" y="1365583"/>
                  </a:lnTo>
                  <a:lnTo>
                    <a:pt x="603910" y="1366493"/>
                  </a:lnTo>
                  <a:lnTo>
                    <a:pt x="606297" y="1367685"/>
                  </a:lnTo>
                  <a:lnTo>
                    <a:pt x="608487" y="1369899"/>
                  </a:lnTo>
                  <a:lnTo>
                    <a:pt x="610857" y="1371778"/>
                  </a:lnTo>
                  <a:lnTo>
                    <a:pt x="612563" y="1374197"/>
                  </a:lnTo>
                  <a:lnTo>
                    <a:pt x="613768" y="1377169"/>
                  </a:lnTo>
                  <a:lnTo>
                    <a:pt x="615265" y="1382939"/>
                  </a:lnTo>
                  <a:lnTo>
                    <a:pt x="616007" y="1389004"/>
                  </a:lnTo>
                  <a:lnTo>
                    <a:pt x="618215" y="1381459"/>
                  </a:lnTo>
                  <a:lnTo>
                    <a:pt x="620069" y="1380110"/>
                  </a:lnTo>
                  <a:lnTo>
                    <a:pt x="619657" y="1382235"/>
                  </a:lnTo>
                  <a:lnTo>
                    <a:pt x="618333" y="1385501"/>
                  </a:lnTo>
                  <a:lnTo>
                    <a:pt x="617029" y="1390224"/>
                  </a:lnTo>
                  <a:lnTo>
                    <a:pt x="616606" y="1393670"/>
                  </a:lnTo>
                  <a:lnTo>
                    <a:pt x="617087" y="1396653"/>
                  </a:lnTo>
                  <a:lnTo>
                    <a:pt x="617115" y="1398050"/>
                  </a:lnTo>
                  <a:lnTo>
                    <a:pt x="616016" y="1402978"/>
                  </a:lnTo>
                  <a:lnTo>
                    <a:pt x="616584" y="1403924"/>
                  </a:lnTo>
                  <a:lnTo>
                    <a:pt x="617472" y="1404798"/>
                  </a:lnTo>
                  <a:lnTo>
                    <a:pt x="619813" y="1406504"/>
                  </a:lnTo>
                  <a:lnTo>
                    <a:pt x="621454" y="1408980"/>
                  </a:lnTo>
                  <a:lnTo>
                    <a:pt x="621866" y="1412461"/>
                  </a:lnTo>
                  <a:lnTo>
                    <a:pt x="622795" y="1413421"/>
                  </a:lnTo>
                  <a:lnTo>
                    <a:pt x="623958" y="1414257"/>
                  </a:lnTo>
                  <a:lnTo>
                    <a:pt x="629659" y="1421185"/>
                  </a:lnTo>
                  <a:lnTo>
                    <a:pt x="632942" y="1425782"/>
                  </a:lnTo>
                  <a:lnTo>
                    <a:pt x="634587" y="1428460"/>
                  </a:lnTo>
                  <a:lnTo>
                    <a:pt x="636373" y="1431827"/>
                  </a:lnTo>
                  <a:lnTo>
                    <a:pt x="637314" y="1432608"/>
                  </a:lnTo>
                  <a:lnTo>
                    <a:pt x="638429" y="1433108"/>
                  </a:lnTo>
                  <a:lnTo>
                    <a:pt x="640553" y="1434716"/>
                  </a:lnTo>
                  <a:lnTo>
                    <a:pt x="639355" y="1436442"/>
                  </a:lnTo>
                  <a:lnTo>
                    <a:pt x="637409" y="1439514"/>
                  </a:lnTo>
                  <a:lnTo>
                    <a:pt x="636541" y="1441140"/>
                  </a:lnTo>
                  <a:lnTo>
                    <a:pt x="634479" y="1442644"/>
                  </a:lnTo>
                  <a:lnTo>
                    <a:pt x="631032" y="1444236"/>
                  </a:lnTo>
                  <a:lnTo>
                    <a:pt x="629126" y="1444925"/>
                  </a:lnTo>
                  <a:lnTo>
                    <a:pt x="627083" y="1448217"/>
                  </a:lnTo>
                  <a:lnTo>
                    <a:pt x="624816" y="1451415"/>
                  </a:lnTo>
                  <a:lnTo>
                    <a:pt x="623265" y="1451770"/>
                  </a:lnTo>
                  <a:lnTo>
                    <a:pt x="618860" y="1451273"/>
                  </a:lnTo>
                  <a:lnTo>
                    <a:pt x="617286" y="1450985"/>
                  </a:lnTo>
                  <a:lnTo>
                    <a:pt x="612799" y="1449577"/>
                  </a:lnTo>
                  <a:lnTo>
                    <a:pt x="611548" y="1448716"/>
                  </a:lnTo>
                  <a:lnTo>
                    <a:pt x="610313" y="1445006"/>
                  </a:lnTo>
                  <a:lnTo>
                    <a:pt x="608927" y="1443409"/>
                  </a:lnTo>
                  <a:lnTo>
                    <a:pt x="607189" y="1442388"/>
                  </a:lnTo>
                  <a:lnTo>
                    <a:pt x="605999" y="1441520"/>
                  </a:lnTo>
                  <a:lnTo>
                    <a:pt x="605504" y="1440624"/>
                  </a:lnTo>
                  <a:lnTo>
                    <a:pt x="604245" y="1439327"/>
                  </a:lnTo>
                  <a:lnTo>
                    <a:pt x="601918" y="1437394"/>
                  </a:lnTo>
                  <a:lnTo>
                    <a:pt x="600231" y="1435561"/>
                  </a:lnTo>
                  <a:lnTo>
                    <a:pt x="598927" y="1435064"/>
                  </a:lnTo>
                  <a:lnTo>
                    <a:pt x="597283" y="1435711"/>
                  </a:lnTo>
                  <a:lnTo>
                    <a:pt x="596295" y="1435892"/>
                  </a:lnTo>
                  <a:lnTo>
                    <a:pt x="595871" y="1435569"/>
                  </a:lnTo>
                  <a:lnTo>
                    <a:pt x="595552" y="1434028"/>
                  </a:lnTo>
                  <a:lnTo>
                    <a:pt x="593168" y="1433483"/>
                  </a:lnTo>
                  <a:lnTo>
                    <a:pt x="592762" y="1433121"/>
                  </a:lnTo>
                  <a:lnTo>
                    <a:pt x="589583" y="1431643"/>
                  </a:lnTo>
                  <a:lnTo>
                    <a:pt x="588365" y="1430859"/>
                  </a:lnTo>
                  <a:lnTo>
                    <a:pt x="587195" y="1430801"/>
                  </a:lnTo>
                  <a:lnTo>
                    <a:pt x="584733" y="1430358"/>
                  </a:lnTo>
                  <a:lnTo>
                    <a:pt x="582645" y="1429650"/>
                  </a:lnTo>
                  <a:lnTo>
                    <a:pt x="581680" y="1428713"/>
                  </a:lnTo>
                  <a:lnTo>
                    <a:pt x="580257" y="1427669"/>
                  </a:lnTo>
                  <a:lnTo>
                    <a:pt x="577616" y="1426369"/>
                  </a:lnTo>
                  <a:lnTo>
                    <a:pt x="575670" y="1425141"/>
                  </a:lnTo>
                  <a:lnTo>
                    <a:pt x="575575" y="1424352"/>
                  </a:lnTo>
                  <a:lnTo>
                    <a:pt x="576771" y="1421087"/>
                  </a:lnTo>
                  <a:lnTo>
                    <a:pt x="577637" y="1417951"/>
                  </a:lnTo>
                  <a:lnTo>
                    <a:pt x="577145" y="1417336"/>
                  </a:lnTo>
                  <a:lnTo>
                    <a:pt x="576046" y="1416814"/>
                  </a:lnTo>
                  <a:lnTo>
                    <a:pt x="573997" y="1416332"/>
                  </a:lnTo>
                  <a:lnTo>
                    <a:pt x="569151" y="1416491"/>
                  </a:lnTo>
                  <a:lnTo>
                    <a:pt x="566154" y="1413329"/>
                  </a:lnTo>
                  <a:lnTo>
                    <a:pt x="565093" y="1412614"/>
                  </a:lnTo>
                  <a:lnTo>
                    <a:pt x="563133" y="1412103"/>
                  </a:lnTo>
                  <a:lnTo>
                    <a:pt x="560298" y="1411137"/>
                  </a:lnTo>
                  <a:lnTo>
                    <a:pt x="558697" y="1410439"/>
                  </a:lnTo>
                  <a:lnTo>
                    <a:pt x="558244" y="1410695"/>
                  </a:lnTo>
                  <a:lnTo>
                    <a:pt x="556489" y="1414168"/>
                  </a:lnTo>
                  <a:lnTo>
                    <a:pt x="554735" y="1411689"/>
                  </a:lnTo>
                  <a:lnTo>
                    <a:pt x="553686" y="1411018"/>
                  </a:lnTo>
                  <a:lnTo>
                    <a:pt x="552185" y="1410650"/>
                  </a:lnTo>
                  <a:lnTo>
                    <a:pt x="550623" y="1410646"/>
                  </a:lnTo>
                  <a:lnTo>
                    <a:pt x="546724" y="1411852"/>
                  </a:lnTo>
                  <a:lnTo>
                    <a:pt x="543854" y="1413185"/>
                  </a:lnTo>
                  <a:lnTo>
                    <a:pt x="541710" y="1414180"/>
                  </a:lnTo>
                  <a:lnTo>
                    <a:pt x="539542" y="1414734"/>
                  </a:lnTo>
                  <a:lnTo>
                    <a:pt x="538496" y="1415510"/>
                  </a:lnTo>
                  <a:lnTo>
                    <a:pt x="535590" y="1415377"/>
                  </a:lnTo>
                  <a:lnTo>
                    <a:pt x="534128" y="1414781"/>
                  </a:lnTo>
                  <a:lnTo>
                    <a:pt x="533653" y="1414163"/>
                  </a:lnTo>
                  <a:lnTo>
                    <a:pt x="533908" y="1413081"/>
                  </a:lnTo>
                  <a:lnTo>
                    <a:pt x="534914" y="1411867"/>
                  </a:lnTo>
                  <a:lnTo>
                    <a:pt x="534987" y="1411203"/>
                  </a:lnTo>
                  <a:lnTo>
                    <a:pt x="534631" y="1410689"/>
                  </a:lnTo>
                  <a:lnTo>
                    <a:pt x="531103" y="1409066"/>
                  </a:lnTo>
                  <a:lnTo>
                    <a:pt x="529660" y="1408083"/>
                  </a:lnTo>
                  <a:lnTo>
                    <a:pt x="525020" y="1406685"/>
                  </a:lnTo>
                  <a:lnTo>
                    <a:pt x="519297" y="1404211"/>
                  </a:lnTo>
                  <a:lnTo>
                    <a:pt x="517330" y="1402587"/>
                  </a:lnTo>
                  <a:lnTo>
                    <a:pt x="517140" y="1401464"/>
                  </a:lnTo>
                  <a:lnTo>
                    <a:pt x="514894" y="1400361"/>
                  </a:lnTo>
                  <a:lnTo>
                    <a:pt x="512033" y="1399370"/>
                  </a:lnTo>
                  <a:lnTo>
                    <a:pt x="509813" y="1399651"/>
                  </a:lnTo>
                  <a:lnTo>
                    <a:pt x="507730" y="1399758"/>
                  </a:lnTo>
                  <a:lnTo>
                    <a:pt x="504480" y="1397903"/>
                  </a:lnTo>
                  <a:lnTo>
                    <a:pt x="501398" y="1397799"/>
                  </a:lnTo>
                  <a:lnTo>
                    <a:pt x="497917" y="1398356"/>
                  </a:lnTo>
                  <a:lnTo>
                    <a:pt x="497155" y="1398577"/>
                  </a:lnTo>
                  <a:lnTo>
                    <a:pt x="496319" y="1398818"/>
                  </a:lnTo>
                  <a:lnTo>
                    <a:pt x="485939" y="1398036"/>
                  </a:lnTo>
                  <a:lnTo>
                    <a:pt x="483290" y="1396503"/>
                  </a:lnTo>
                  <a:lnTo>
                    <a:pt x="481022" y="1394969"/>
                  </a:lnTo>
                  <a:lnTo>
                    <a:pt x="474939" y="1393865"/>
                  </a:lnTo>
                  <a:lnTo>
                    <a:pt x="471819" y="1392692"/>
                  </a:lnTo>
                  <a:lnTo>
                    <a:pt x="468716" y="1391027"/>
                  </a:lnTo>
                  <a:lnTo>
                    <a:pt x="465319" y="1389574"/>
                  </a:lnTo>
                  <a:lnTo>
                    <a:pt x="462464" y="1390163"/>
                  </a:lnTo>
                  <a:lnTo>
                    <a:pt x="458558" y="1389335"/>
                  </a:lnTo>
                  <a:lnTo>
                    <a:pt x="454311" y="1388607"/>
                  </a:lnTo>
                  <a:lnTo>
                    <a:pt x="452860" y="1389055"/>
                  </a:lnTo>
                  <a:lnTo>
                    <a:pt x="451514" y="1390894"/>
                  </a:lnTo>
                  <a:lnTo>
                    <a:pt x="450510" y="1392644"/>
                  </a:lnTo>
                  <a:lnTo>
                    <a:pt x="448195" y="1391219"/>
                  </a:lnTo>
                  <a:lnTo>
                    <a:pt x="440303" y="1384343"/>
                  </a:lnTo>
                  <a:lnTo>
                    <a:pt x="436161" y="1379768"/>
                  </a:lnTo>
                  <a:lnTo>
                    <a:pt x="422626" y="1369182"/>
                  </a:lnTo>
                  <a:lnTo>
                    <a:pt x="420825" y="1368370"/>
                  </a:lnTo>
                  <a:lnTo>
                    <a:pt x="413660" y="1366838"/>
                  </a:lnTo>
                  <a:lnTo>
                    <a:pt x="410773" y="1365609"/>
                  </a:lnTo>
                  <a:lnTo>
                    <a:pt x="403481" y="1358013"/>
                  </a:lnTo>
                  <a:lnTo>
                    <a:pt x="400240" y="1359033"/>
                  </a:lnTo>
                  <a:lnTo>
                    <a:pt x="397311" y="1358775"/>
                  </a:lnTo>
                  <a:lnTo>
                    <a:pt x="395601" y="1358110"/>
                  </a:lnTo>
                  <a:lnTo>
                    <a:pt x="393748" y="1357018"/>
                  </a:lnTo>
                  <a:lnTo>
                    <a:pt x="392444" y="1355572"/>
                  </a:lnTo>
                  <a:lnTo>
                    <a:pt x="390935" y="1352388"/>
                  </a:lnTo>
                  <a:lnTo>
                    <a:pt x="389181" y="1350560"/>
                  </a:lnTo>
                  <a:lnTo>
                    <a:pt x="383424" y="1347891"/>
                  </a:lnTo>
                  <a:lnTo>
                    <a:pt x="376931" y="1346335"/>
                  </a:lnTo>
                  <a:lnTo>
                    <a:pt x="376419" y="1345655"/>
                  </a:lnTo>
                  <a:lnTo>
                    <a:pt x="376231" y="1344719"/>
                  </a:lnTo>
                  <a:lnTo>
                    <a:pt x="381846" y="1342904"/>
                  </a:lnTo>
                  <a:lnTo>
                    <a:pt x="383353" y="1341864"/>
                  </a:lnTo>
                  <a:lnTo>
                    <a:pt x="380474" y="1340484"/>
                  </a:lnTo>
                  <a:lnTo>
                    <a:pt x="379382" y="1340256"/>
                  </a:lnTo>
                  <a:lnTo>
                    <a:pt x="378471" y="1339610"/>
                  </a:lnTo>
                  <a:lnTo>
                    <a:pt x="380092" y="1338572"/>
                  </a:lnTo>
                  <a:lnTo>
                    <a:pt x="381688" y="1338096"/>
                  </a:lnTo>
                  <a:lnTo>
                    <a:pt x="384163" y="1339289"/>
                  </a:lnTo>
                  <a:lnTo>
                    <a:pt x="386942" y="1341503"/>
                  </a:lnTo>
                  <a:lnTo>
                    <a:pt x="389375" y="1342341"/>
                  </a:lnTo>
                  <a:lnTo>
                    <a:pt x="390496" y="1341282"/>
                  </a:lnTo>
                  <a:lnTo>
                    <a:pt x="398963" y="1339464"/>
                  </a:lnTo>
                  <a:lnTo>
                    <a:pt x="399533" y="1338023"/>
                  </a:lnTo>
                  <a:lnTo>
                    <a:pt x="399510" y="1336412"/>
                  </a:lnTo>
                  <a:lnTo>
                    <a:pt x="398680" y="1336469"/>
                  </a:lnTo>
                  <a:lnTo>
                    <a:pt x="398140" y="1336106"/>
                  </a:lnTo>
                  <a:lnTo>
                    <a:pt x="398195" y="1334315"/>
                  </a:lnTo>
                  <a:lnTo>
                    <a:pt x="399451" y="1331857"/>
                  </a:lnTo>
                  <a:lnTo>
                    <a:pt x="403248" y="1327851"/>
                  </a:lnTo>
                  <a:lnTo>
                    <a:pt x="405286" y="1322274"/>
                  </a:lnTo>
                  <a:lnTo>
                    <a:pt x="407081" y="1321002"/>
                  </a:lnTo>
                  <a:lnTo>
                    <a:pt x="408398" y="1321850"/>
                  </a:lnTo>
                  <a:lnTo>
                    <a:pt x="408307" y="1323153"/>
                  </a:lnTo>
                  <a:lnTo>
                    <a:pt x="408525" y="1324121"/>
                  </a:lnTo>
                  <a:lnTo>
                    <a:pt x="409702" y="1322243"/>
                  </a:lnTo>
                  <a:lnTo>
                    <a:pt x="410825" y="1319702"/>
                  </a:lnTo>
                  <a:lnTo>
                    <a:pt x="413660" y="1319687"/>
                  </a:lnTo>
                  <a:lnTo>
                    <a:pt x="415618" y="1320111"/>
                  </a:lnTo>
                  <a:lnTo>
                    <a:pt x="417651" y="1319820"/>
                  </a:lnTo>
                  <a:lnTo>
                    <a:pt x="413736" y="1315632"/>
                  </a:lnTo>
                  <a:lnTo>
                    <a:pt x="408484" y="1311409"/>
                  </a:lnTo>
                  <a:lnTo>
                    <a:pt x="406269" y="1311727"/>
                  </a:lnTo>
                  <a:lnTo>
                    <a:pt x="404861" y="1311072"/>
                  </a:lnTo>
                  <a:lnTo>
                    <a:pt x="402555" y="1307587"/>
                  </a:lnTo>
                  <a:lnTo>
                    <a:pt x="401602" y="1304696"/>
                  </a:lnTo>
                  <a:lnTo>
                    <a:pt x="403833" y="1304761"/>
                  </a:lnTo>
                  <a:lnTo>
                    <a:pt x="406057" y="1305199"/>
                  </a:lnTo>
                  <a:lnTo>
                    <a:pt x="410292" y="1303179"/>
                  </a:lnTo>
                  <a:lnTo>
                    <a:pt x="411850" y="1302884"/>
                  </a:lnTo>
                  <a:lnTo>
                    <a:pt x="414360" y="1303523"/>
                  </a:lnTo>
                  <a:lnTo>
                    <a:pt x="417843" y="1303930"/>
                  </a:lnTo>
                  <a:lnTo>
                    <a:pt x="417556" y="1302024"/>
                  </a:lnTo>
                  <a:lnTo>
                    <a:pt x="416465" y="1299772"/>
                  </a:lnTo>
                  <a:lnTo>
                    <a:pt x="420713" y="1298101"/>
                  </a:lnTo>
                  <a:lnTo>
                    <a:pt x="424479" y="1297178"/>
                  </a:lnTo>
                  <a:lnTo>
                    <a:pt x="431680" y="1293906"/>
                  </a:lnTo>
                  <a:lnTo>
                    <a:pt x="434863" y="1293328"/>
                  </a:lnTo>
                  <a:lnTo>
                    <a:pt x="435269" y="1292581"/>
                  </a:lnTo>
                  <a:lnTo>
                    <a:pt x="435366" y="1291607"/>
                  </a:lnTo>
                  <a:lnTo>
                    <a:pt x="434284" y="1288986"/>
                  </a:lnTo>
                  <a:lnTo>
                    <a:pt x="433205" y="1287046"/>
                  </a:lnTo>
                  <a:lnTo>
                    <a:pt x="429402" y="1286952"/>
                  </a:lnTo>
                  <a:lnTo>
                    <a:pt x="427292" y="1289653"/>
                  </a:lnTo>
                  <a:lnTo>
                    <a:pt x="421540" y="1290540"/>
                  </a:lnTo>
                  <a:lnTo>
                    <a:pt x="418981" y="1290361"/>
                  </a:lnTo>
                  <a:lnTo>
                    <a:pt x="421013" y="1288631"/>
                  </a:lnTo>
                  <a:lnTo>
                    <a:pt x="423040" y="1287970"/>
                  </a:lnTo>
                  <a:lnTo>
                    <a:pt x="423613" y="1287249"/>
                  </a:lnTo>
                  <a:lnTo>
                    <a:pt x="419529" y="1287878"/>
                  </a:lnTo>
                  <a:lnTo>
                    <a:pt x="417484" y="1289657"/>
                  </a:lnTo>
                  <a:lnTo>
                    <a:pt x="411505" y="1292007"/>
                  </a:lnTo>
                  <a:lnTo>
                    <a:pt x="411317" y="1290773"/>
                  </a:lnTo>
                  <a:lnTo>
                    <a:pt x="411218" y="1289665"/>
                  </a:lnTo>
                  <a:lnTo>
                    <a:pt x="411656" y="1288616"/>
                  </a:lnTo>
                  <a:lnTo>
                    <a:pt x="412632" y="1287938"/>
                  </a:lnTo>
                  <a:lnTo>
                    <a:pt x="412973" y="1287321"/>
                  </a:lnTo>
                  <a:lnTo>
                    <a:pt x="412973" y="1286827"/>
                  </a:lnTo>
                  <a:lnTo>
                    <a:pt x="412095" y="1286518"/>
                  </a:lnTo>
                  <a:lnTo>
                    <a:pt x="411364" y="1286271"/>
                  </a:lnTo>
                  <a:lnTo>
                    <a:pt x="411218" y="1285592"/>
                  </a:lnTo>
                  <a:lnTo>
                    <a:pt x="411462" y="1284976"/>
                  </a:lnTo>
                  <a:lnTo>
                    <a:pt x="412144" y="1284110"/>
                  </a:lnTo>
                  <a:lnTo>
                    <a:pt x="412438" y="1283122"/>
                  </a:lnTo>
                  <a:lnTo>
                    <a:pt x="412488" y="1281142"/>
                  </a:lnTo>
                  <a:lnTo>
                    <a:pt x="413120" y="1278907"/>
                  </a:lnTo>
                  <a:lnTo>
                    <a:pt x="414921" y="1277481"/>
                  </a:lnTo>
                  <a:lnTo>
                    <a:pt x="418063" y="1277131"/>
                  </a:lnTo>
                  <a:lnTo>
                    <a:pt x="420931" y="1275908"/>
                  </a:lnTo>
                  <a:lnTo>
                    <a:pt x="422663" y="1274553"/>
                  </a:lnTo>
                  <a:lnTo>
                    <a:pt x="424947" y="1271094"/>
                  </a:lnTo>
                  <a:lnTo>
                    <a:pt x="426672" y="1270584"/>
                  </a:lnTo>
                  <a:lnTo>
                    <a:pt x="430156" y="1270771"/>
                  </a:lnTo>
                  <a:lnTo>
                    <a:pt x="432382" y="1271083"/>
                  </a:lnTo>
                  <a:lnTo>
                    <a:pt x="437523" y="1271186"/>
                  </a:lnTo>
                  <a:lnTo>
                    <a:pt x="443438" y="1270976"/>
                  </a:lnTo>
                  <a:lnTo>
                    <a:pt x="445150" y="1270874"/>
                  </a:lnTo>
                  <a:lnTo>
                    <a:pt x="446096" y="1269670"/>
                  </a:lnTo>
                  <a:lnTo>
                    <a:pt x="446031" y="1267502"/>
                  </a:lnTo>
                  <a:lnTo>
                    <a:pt x="446876" y="1265503"/>
                  </a:lnTo>
                  <a:lnTo>
                    <a:pt x="448448" y="1261744"/>
                  </a:lnTo>
                  <a:lnTo>
                    <a:pt x="450128" y="1259777"/>
                  </a:lnTo>
                  <a:lnTo>
                    <a:pt x="450059" y="1258901"/>
                  </a:lnTo>
                  <a:lnTo>
                    <a:pt x="449180" y="1258532"/>
                  </a:lnTo>
                  <a:lnTo>
                    <a:pt x="448033" y="1258348"/>
                  </a:lnTo>
                  <a:lnTo>
                    <a:pt x="447617" y="1257942"/>
                  </a:lnTo>
                  <a:lnTo>
                    <a:pt x="447670" y="1257116"/>
                  </a:lnTo>
                  <a:lnTo>
                    <a:pt x="448554" y="1256309"/>
                  </a:lnTo>
                  <a:lnTo>
                    <a:pt x="448394" y="1254647"/>
                  </a:lnTo>
                  <a:lnTo>
                    <a:pt x="447839" y="1252800"/>
                  </a:lnTo>
                  <a:lnTo>
                    <a:pt x="447355" y="1251138"/>
                  </a:lnTo>
                  <a:lnTo>
                    <a:pt x="445803" y="1250312"/>
                  </a:lnTo>
                  <a:lnTo>
                    <a:pt x="443133" y="1249763"/>
                  </a:lnTo>
                  <a:lnTo>
                    <a:pt x="443702" y="1247739"/>
                  </a:lnTo>
                  <a:lnTo>
                    <a:pt x="444457" y="1245552"/>
                  </a:lnTo>
                  <a:lnTo>
                    <a:pt x="445591" y="1244336"/>
                  </a:lnTo>
                  <a:lnTo>
                    <a:pt x="446409" y="1243606"/>
                  </a:lnTo>
                  <a:lnTo>
                    <a:pt x="448869" y="1244004"/>
                  </a:lnTo>
                  <a:lnTo>
                    <a:pt x="450646" y="1243616"/>
                  </a:lnTo>
                  <a:lnTo>
                    <a:pt x="451069" y="1243197"/>
                  </a:lnTo>
                  <a:lnTo>
                    <a:pt x="450750" y="1242362"/>
                  </a:lnTo>
                  <a:lnTo>
                    <a:pt x="447977" y="1241605"/>
                  </a:lnTo>
                  <a:lnTo>
                    <a:pt x="445535" y="1240565"/>
                  </a:lnTo>
                  <a:lnTo>
                    <a:pt x="444481" y="1239279"/>
                  </a:lnTo>
                  <a:lnTo>
                    <a:pt x="444058" y="1237900"/>
                  </a:lnTo>
                  <a:lnTo>
                    <a:pt x="445671" y="1237082"/>
                  </a:lnTo>
                  <a:lnTo>
                    <a:pt x="448551" y="1236297"/>
                  </a:lnTo>
                  <a:lnTo>
                    <a:pt x="450467" y="1234418"/>
                  </a:lnTo>
                  <a:lnTo>
                    <a:pt x="452538" y="1232404"/>
                  </a:lnTo>
                  <a:lnTo>
                    <a:pt x="453395" y="1230937"/>
                  </a:lnTo>
                  <a:lnTo>
                    <a:pt x="453827" y="1229344"/>
                  </a:lnTo>
                  <a:lnTo>
                    <a:pt x="453779" y="1227579"/>
                  </a:lnTo>
                  <a:lnTo>
                    <a:pt x="452268" y="1225782"/>
                  </a:lnTo>
                  <a:lnTo>
                    <a:pt x="452268" y="1223902"/>
                  </a:lnTo>
                  <a:lnTo>
                    <a:pt x="453088" y="1222593"/>
                  </a:lnTo>
                  <a:lnTo>
                    <a:pt x="452773" y="1221611"/>
                  </a:lnTo>
                  <a:lnTo>
                    <a:pt x="451667" y="1221041"/>
                  </a:lnTo>
                  <a:lnTo>
                    <a:pt x="450072" y="1221212"/>
                  </a:lnTo>
                  <a:lnTo>
                    <a:pt x="448266" y="1221875"/>
                  </a:lnTo>
                  <a:lnTo>
                    <a:pt x="446137" y="1221750"/>
                  </a:lnTo>
                  <a:lnTo>
                    <a:pt x="442732" y="1219490"/>
                  </a:lnTo>
                  <a:lnTo>
                    <a:pt x="439110" y="1217265"/>
                  </a:lnTo>
                  <a:lnTo>
                    <a:pt x="437025" y="1217190"/>
                  </a:lnTo>
                  <a:lnTo>
                    <a:pt x="435576" y="1216862"/>
                  </a:lnTo>
                  <a:lnTo>
                    <a:pt x="434317" y="1215714"/>
                  </a:lnTo>
                  <a:lnTo>
                    <a:pt x="433561" y="1214237"/>
                  </a:lnTo>
                  <a:lnTo>
                    <a:pt x="432743" y="1213582"/>
                  </a:lnTo>
                  <a:lnTo>
                    <a:pt x="431419" y="1213991"/>
                  </a:lnTo>
                  <a:lnTo>
                    <a:pt x="429490" y="1214663"/>
                  </a:lnTo>
                  <a:lnTo>
                    <a:pt x="427072" y="1214482"/>
                  </a:lnTo>
                  <a:lnTo>
                    <a:pt x="423939" y="1212764"/>
                  </a:lnTo>
                  <a:lnTo>
                    <a:pt x="421088" y="1210787"/>
                  </a:lnTo>
                  <a:lnTo>
                    <a:pt x="418970" y="1210738"/>
                  </a:lnTo>
                  <a:lnTo>
                    <a:pt x="416742" y="1210464"/>
                  </a:lnTo>
                  <a:lnTo>
                    <a:pt x="412483" y="1207916"/>
                  </a:lnTo>
                  <a:lnTo>
                    <a:pt x="411380" y="1207941"/>
                  </a:lnTo>
                  <a:lnTo>
                    <a:pt x="410691" y="1208694"/>
                  </a:lnTo>
                  <a:lnTo>
                    <a:pt x="410363" y="1210739"/>
                  </a:lnTo>
                  <a:lnTo>
                    <a:pt x="410011" y="1211176"/>
                  </a:lnTo>
                  <a:lnTo>
                    <a:pt x="409253" y="1211510"/>
                  </a:lnTo>
                  <a:lnTo>
                    <a:pt x="407802" y="1211735"/>
                  </a:lnTo>
                  <a:lnTo>
                    <a:pt x="405666" y="1210460"/>
                  </a:lnTo>
                  <a:lnTo>
                    <a:pt x="400224" y="1206277"/>
                  </a:lnTo>
                  <a:lnTo>
                    <a:pt x="398033" y="1203215"/>
                  </a:lnTo>
                  <a:lnTo>
                    <a:pt x="397530" y="1200989"/>
                  </a:lnTo>
                  <a:lnTo>
                    <a:pt x="395739" y="1199573"/>
                  </a:lnTo>
                  <a:lnTo>
                    <a:pt x="394003" y="1197521"/>
                  </a:lnTo>
                  <a:lnTo>
                    <a:pt x="392241" y="1197343"/>
                  </a:lnTo>
                  <a:lnTo>
                    <a:pt x="390289" y="1198000"/>
                  </a:lnTo>
                  <a:lnTo>
                    <a:pt x="388436" y="1198988"/>
                  </a:lnTo>
                  <a:lnTo>
                    <a:pt x="387555" y="1199260"/>
                  </a:lnTo>
                  <a:lnTo>
                    <a:pt x="384398" y="1199606"/>
                  </a:lnTo>
                  <a:lnTo>
                    <a:pt x="379326" y="1200989"/>
                  </a:lnTo>
                  <a:lnTo>
                    <a:pt x="377939" y="1202309"/>
                  </a:lnTo>
                  <a:lnTo>
                    <a:pt x="376238" y="1203380"/>
                  </a:lnTo>
                  <a:lnTo>
                    <a:pt x="374916" y="1202638"/>
                  </a:lnTo>
                  <a:lnTo>
                    <a:pt x="373593" y="1201318"/>
                  </a:lnTo>
                  <a:lnTo>
                    <a:pt x="370697" y="1200844"/>
                  </a:lnTo>
                  <a:lnTo>
                    <a:pt x="369309" y="1201318"/>
                  </a:lnTo>
                  <a:lnTo>
                    <a:pt x="367922" y="1200411"/>
                  </a:lnTo>
                  <a:lnTo>
                    <a:pt x="366730" y="1198787"/>
                  </a:lnTo>
                  <a:lnTo>
                    <a:pt x="365115" y="1197606"/>
                  </a:lnTo>
                  <a:lnTo>
                    <a:pt x="362714" y="1197283"/>
                  </a:lnTo>
                  <a:lnTo>
                    <a:pt x="360114" y="1196778"/>
                  </a:lnTo>
                  <a:lnTo>
                    <a:pt x="358034" y="1197687"/>
                  </a:lnTo>
                  <a:lnTo>
                    <a:pt x="355326" y="1199420"/>
                  </a:lnTo>
                  <a:lnTo>
                    <a:pt x="353500" y="1198760"/>
                  </a:lnTo>
                  <a:lnTo>
                    <a:pt x="352491" y="1196694"/>
                  </a:lnTo>
                  <a:lnTo>
                    <a:pt x="351230" y="1196116"/>
                  </a:lnTo>
                  <a:lnTo>
                    <a:pt x="349531" y="1193799"/>
                  </a:lnTo>
                  <a:lnTo>
                    <a:pt x="349090" y="1191729"/>
                  </a:lnTo>
                  <a:lnTo>
                    <a:pt x="349531" y="1190819"/>
                  </a:lnTo>
                  <a:lnTo>
                    <a:pt x="350161" y="1189659"/>
                  </a:lnTo>
                  <a:lnTo>
                    <a:pt x="350161" y="1188332"/>
                  </a:lnTo>
                  <a:lnTo>
                    <a:pt x="349658" y="1187170"/>
                  </a:lnTo>
                  <a:lnTo>
                    <a:pt x="348902" y="1186257"/>
                  </a:lnTo>
                  <a:lnTo>
                    <a:pt x="348082" y="1183184"/>
                  </a:lnTo>
                  <a:lnTo>
                    <a:pt x="347389" y="1181853"/>
                  </a:lnTo>
                  <a:lnTo>
                    <a:pt x="347263" y="1180773"/>
                  </a:lnTo>
                  <a:lnTo>
                    <a:pt x="347831" y="1179773"/>
                  </a:lnTo>
                  <a:lnTo>
                    <a:pt x="347326" y="1179108"/>
                  </a:lnTo>
                  <a:lnTo>
                    <a:pt x="346380" y="1179024"/>
                  </a:lnTo>
                  <a:lnTo>
                    <a:pt x="344808" y="1179108"/>
                  </a:lnTo>
                  <a:lnTo>
                    <a:pt x="343925" y="1178608"/>
                  </a:lnTo>
                  <a:lnTo>
                    <a:pt x="342979" y="1176858"/>
                  </a:lnTo>
                  <a:lnTo>
                    <a:pt x="342476" y="1175108"/>
                  </a:lnTo>
                  <a:lnTo>
                    <a:pt x="341845" y="1174441"/>
                  </a:lnTo>
                  <a:lnTo>
                    <a:pt x="340213" y="1174490"/>
                  </a:lnTo>
                  <a:lnTo>
                    <a:pt x="337522" y="1174857"/>
                  </a:lnTo>
                  <a:lnTo>
                    <a:pt x="335130" y="1175439"/>
                  </a:lnTo>
                  <a:lnTo>
                    <a:pt x="334067" y="1175355"/>
                  </a:lnTo>
                  <a:lnTo>
                    <a:pt x="331955" y="1174450"/>
                  </a:lnTo>
                  <a:lnTo>
                    <a:pt x="329174" y="1173456"/>
                  </a:lnTo>
                  <a:lnTo>
                    <a:pt x="323495" y="1173259"/>
                  </a:lnTo>
                  <a:lnTo>
                    <a:pt x="323046" y="1172920"/>
                  </a:lnTo>
                  <a:lnTo>
                    <a:pt x="323368" y="1172290"/>
                  </a:lnTo>
                  <a:lnTo>
                    <a:pt x="324523" y="1171269"/>
                  </a:lnTo>
                  <a:lnTo>
                    <a:pt x="324398" y="1170433"/>
                  </a:lnTo>
                  <a:lnTo>
                    <a:pt x="323400" y="1169757"/>
                  </a:lnTo>
                  <a:lnTo>
                    <a:pt x="322884" y="1168093"/>
                  </a:lnTo>
                  <a:lnTo>
                    <a:pt x="322944" y="1166209"/>
                  </a:lnTo>
                  <a:lnTo>
                    <a:pt x="322759" y="1164159"/>
                  </a:lnTo>
                  <a:lnTo>
                    <a:pt x="321562" y="1162566"/>
                  </a:lnTo>
                  <a:lnTo>
                    <a:pt x="320869" y="1161477"/>
                  </a:lnTo>
                  <a:lnTo>
                    <a:pt x="320994" y="1160470"/>
                  </a:lnTo>
                  <a:lnTo>
                    <a:pt x="323605" y="1160085"/>
                  </a:lnTo>
                  <a:lnTo>
                    <a:pt x="326704" y="1159370"/>
                  </a:lnTo>
                  <a:lnTo>
                    <a:pt x="327222" y="1158633"/>
                  </a:lnTo>
                  <a:lnTo>
                    <a:pt x="327114" y="1157486"/>
                  </a:lnTo>
                  <a:lnTo>
                    <a:pt x="320817" y="1151604"/>
                  </a:lnTo>
                  <a:lnTo>
                    <a:pt x="318656" y="1146386"/>
                  </a:lnTo>
                  <a:lnTo>
                    <a:pt x="316594" y="1143554"/>
                  </a:lnTo>
                  <a:lnTo>
                    <a:pt x="314311" y="1141650"/>
                  </a:lnTo>
                  <a:lnTo>
                    <a:pt x="312463" y="1140785"/>
                  </a:lnTo>
                  <a:lnTo>
                    <a:pt x="309768" y="1141146"/>
                  </a:lnTo>
                  <a:lnTo>
                    <a:pt x="306196" y="1141111"/>
                  </a:lnTo>
                  <a:lnTo>
                    <a:pt x="302553" y="1140524"/>
                  </a:lnTo>
                  <a:lnTo>
                    <a:pt x="299487" y="1140914"/>
                  </a:lnTo>
                  <a:lnTo>
                    <a:pt x="293987" y="1143410"/>
                  </a:lnTo>
                  <a:lnTo>
                    <a:pt x="291925" y="1143520"/>
                  </a:lnTo>
                  <a:lnTo>
                    <a:pt x="288364" y="1142735"/>
                  </a:lnTo>
                  <a:lnTo>
                    <a:pt x="285324" y="1141861"/>
                  </a:lnTo>
                  <a:lnTo>
                    <a:pt x="283721" y="1141900"/>
                  </a:lnTo>
                  <a:lnTo>
                    <a:pt x="282745" y="1142268"/>
                  </a:lnTo>
                  <a:lnTo>
                    <a:pt x="282119" y="1142942"/>
                  </a:lnTo>
                  <a:lnTo>
                    <a:pt x="280346" y="1147628"/>
                  </a:lnTo>
                  <a:lnTo>
                    <a:pt x="278887" y="1148548"/>
                  </a:lnTo>
                  <a:lnTo>
                    <a:pt x="276796" y="1149505"/>
                  </a:lnTo>
                  <a:lnTo>
                    <a:pt x="275012" y="1149670"/>
                  </a:lnTo>
                  <a:lnTo>
                    <a:pt x="273514" y="1149622"/>
                  </a:lnTo>
                  <a:lnTo>
                    <a:pt x="271342" y="1148904"/>
                  </a:lnTo>
                  <a:lnTo>
                    <a:pt x="269281" y="1148060"/>
                  </a:lnTo>
                  <a:lnTo>
                    <a:pt x="268860" y="1148011"/>
                  </a:lnTo>
                  <a:lnTo>
                    <a:pt x="268755" y="1147278"/>
                  </a:lnTo>
                  <a:lnTo>
                    <a:pt x="267252" y="1144468"/>
                  </a:lnTo>
                  <a:lnTo>
                    <a:pt x="266351" y="1143236"/>
                  </a:lnTo>
                  <a:lnTo>
                    <a:pt x="265282" y="1142565"/>
                  </a:lnTo>
                  <a:lnTo>
                    <a:pt x="264747" y="1141749"/>
                  </a:lnTo>
                  <a:lnTo>
                    <a:pt x="264730" y="1138371"/>
                  </a:lnTo>
                  <a:lnTo>
                    <a:pt x="264928" y="1135204"/>
                  </a:lnTo>
                  <a:lnTo>
                    <a:pt x="265600" y="1134796"/>
                  </a:lnTo>
                  <a:lnTo>
                    <a:pt x="263615" y="1132210"/>
                  </a:lnTo>
                  <a:lnTo>
                    <a:pt x="263466" y="1130250"/>
                  </a:lnTo>
                  <a:lnTo>
                    <a:pt x="264440" y="1129274"/>
                  </a:lnTo>
                  <a:lnTo>
                    <a:pt x="264470" y="1128445"/>
                  </a:lnTo>
                  <a:lnTo>
                    <a:pt x="263814" y="1127280"/>
                  </a:lnTo>
                  <a:lnTo>
                    <a:pt x="261771" y="1125380"/>
                  </a:lnTo>
                  <a:lnTo>
                    <a:pt x="259787" y="1123238"/>
                  </a:lnTo>
                  <a:lnTo>
                    <a:pt x="258506" y="1121552"/>
                  </a:lnTo>
                  <a:lnTo>
                    <a:pt x="257703" y="1120746"/>
                  </a:lnTo>
                  <a:lnTo>
                    <a:pt x="258679" y="1119422"/>
                  </a:lnTo>
                  <a:lnTo>
                    <a:pt x="260042" y="1117081"/>
                  </a:lnTo>
                  <a:lnTo>
                    <a:pt x="260568" y="1115706"/>
                  </a:lnTo>
                  <a:lnTo>
                    <a:pt x="261221" y="1115369"/>
                  </a:lnTo>
                  <a:lnTo>
                    <a:pt x="264429" y="1115175"/>
                  </a:lnTo>
                  <a:lnTo>
                    <a:pt x="266757" y="1115222"/>
                  </a:lnTo>
                  <a:lnTo>
                    <a:pt x="268508" y="1115725"/>
                  </a:lnTo>
                  <a:lnTo>
                    <a:pt x="269171" y="1116844"/>
                  </a:lnTo>
                  <a:lnTo>
                    <a:pt x="270769" y="1118064"/>
                  </a:lnTo>
                  <a:lnTo>
                    <a:pt x="275319" y="1118566"/>
                  </a:lnTo>
                  <a:lnTo>
                    <a:pt x="277232" y="1118515"/>
                  </a:lnTo>
                  <a:lnTo>
                    <a:pt x="279636" y="1117399"/>
                  </a:lnTo>
                  <a:lnTo>
                    <a:pt x="283518" y="1114932"/>
                  </a:lnTo>
                  <a:lnTo>
                    <a:pt x="284471" y="1113138"/>
                  </a:lnTo>
                  <a:lnTo>
                    <a:pt x="286874" y="1111873"/>
                  </a:lnTo>
                  <a:lnTo>
                    <a:pt x="288342" y="1111377"/>
                  </a:lnTo>
                  <a:lnTo>
                    <a:pt x="289666" y="1111154"/>
                  </a:lnTo>
                  <a:lnTo>
                    <a:pt x="289798" y="1110098"/>
                  </a:lnTo>
                  <a:lnTo>
                    <a:pt x="289713" y="1108653"/>
                  </a:lnTo>
                  <a:lnTo>
                    <a:pt x="289256" y="1107789"/>
                  </a:lnTo>
                  <a:lnTo>
                    <a:pt x="284477" y="1104810"/>
                  </a:lnTo>
                  <a:lnTo>
                    <a:pt x="283875" y="1103837"/>
                  </a:lnTo>
                  <a:lnTo>
                    <a:pt x="283494" y="1102689"/>
                  </a:lnTo>
                  <a:lnTo>
                    <a:pt x="284064" y="1101601"/>
                  </a:lnTo>
                  <a:lnTo>
                    <a:pt x="284047" y="1100405"/>
                  </a:lnTo>
                  <a:lnTo>
                    <a:pt x="278524" y="1097735"/>
                  </a:lnTo>
                  <a:lnTo>
                    <a:pt x="273920" y="1097262"/>
                  </a:lnTo>
                  <a:lnTo>
                    <a:pt x="270130" y="1097412"/>
                  </a:lnTo>
                  <a:lnTo>
                    <a:pt x="268657" y="1096852"/>
                  </a:lnTo>
                  <a:lnTo>
                    <a:pt x="269294" y="1095504"/>
                  </a:lnTo>
                  <a:lnTo>
                    <a:pt x="270229" y="1093080"/>
                  </a:lnTo>
                  <a:lnTo>
                    <a:pt x="270506" y="1091085"/>
                  </a:lnTo>
                  <a:lnTo>
                    <a:pt x="270244" y="1090177"/>
                  </a:lnTo>
                  <a:lnTo>
                    <a:pt x="269493" y="1089413"/>
                  </a:lnTo>
                  <a:lnTo>
                    <a:pt x="265876" y="1087734"/>
                  </a:lnTo>
                  <a:lnTo>
                    <a:pt x="260905" y="1085158"/>
                  </a:lnTo>
                  <a:lnTo>
                    <a:pt x="258595" y="1082244"/>
                  </a:lnTo>
                  <a:lnTo>
                    <a:pt x="257409" y="1079198"/>
                  </a:lnTo>
                  <a:lnTo>
                    <a:pt x="256066" y="1077328"/>
                  </a:lnTo>
                  <a:lnTo>
                    <a:pt x="253635" y="1076143"/>
                  </a:lnTo>
                  <a:lnTo>
                    <a:pt x="253792" y="1075370"/>
                  </a:lnTo>
                  <a:lnTo>
                    <a:pt x="255405" y="1072502"/>
                  </a:lnTo>
                  <a:lnTo>
                    <a:pt x="255345" y="1072062"/>
                  </a:lnTo>
                  <a:lnTo>
                    <a:pt x="254662" y="1071354"/>
                  </a:lnTo>
                  <a:lnTo>
                    <a:pt x="251630" y="1069903"/>
                  </a:lnTo>
                  <a:lnTo>
                    <a:pt x="247532" y="1067227"/>
                  </a:lnTo>
                  <a:lnTo>
                    <a:pt x="247359" y="1066529"/>
                  </a:lnTo>
                  <a:lnTo>
                    <a:pt x="247657" y="1064845"/>
                  </a:lnTo>
                  <a:lnTo>
                    <a:pt x="248219" y="1063186"/>
                  </a:lnTo>
                  <a:lnTo>
                    <a:pt x="249035" y="1062395"/>
                  </a:lnTo>
                  <a:lnTo>
                    <a:pt x="251488" y="1059022"/>
                  </a:lnTo>
                  <a:lnTo>
                    <a:pt x="251488" y="1057874"/>
                  </a:lnTo>
                  <a:lnTo>
                    <a:pt x="251071" y="1056341"/>
                  </a:lnTo>
                  <a:lnTo>
                    <a:pt x="249270" y="1053695"/>
                  </a:lnTo>
                  <a:lnTo>
                    <a:pt x="247878" y="1051991"/>
                  </a:lnTo>
                  <a:lnTo>
                    <a:pt x="247791" y="1051118"/>
                  </a:lnTo>
                  <a:lnTo>
                    <a:pt x="248022" y="1050399"/>
                  </a:lnTo>
                  <a:lnTo>
                    <a:pt x="248925" y="1049469"/>
                  </a:lnTo>
                  <a:lnTo>
                    <a:pt x="249782" y="1048325"/>
                  </a:lnTo>
                  <a:lnTo>
                    <a:pt x="249963" y="1044368"/>
                  </a:lnTo>
                  <a:lnTo>
                    <a:pt x="249920" y="1042984"/>
                  </a:lnTo>
                  <a:lnTo>
                    <a:pt x="249376" y="1042167"/>
                  </a:lnTo>
                  <a:lnTo>
                    <a:pt x="248795" y="1041822"/>
                  </a:lnTo>
                  <a:lnTo>
                    <a:pt x="247575" y="1042020"/>
                  </a:lnTo>
                  <a:lnTo>
                    <a:pt x="245826" y="1041370"/>
                  </a:lnTo>
                  <a:lnTo>
                    <a:pt x="244513" y="1040336"/>
                  </a:lnTo>
                  <a:lnTo>
                    <a:pt x="243701" y="1040001"/>
                  </a:lnTo>
                  <a:lnTo>
                    <a:pt x="242842" y="1038945"/>
                  </a:lnTo>
                  <a:lnTo>
                    <a:pt x="240380" y="1036818"/>
                  </a:lnTo>
                  <a:lnTo>
                    <a:pt x="239957" y="1036258"/>
                  </a:lnTo>
                  <a:lnTo>
                    <a:pt x="235033" y="1034443"/>
                  </a:lnTo>
                  <a:lnTo>
                    <a:pt x="230812" y="1034716"/>
                  </a:lnTo>
                  <a:lnTo>
                    <a:pt x="228476" y="1034441"/>
                  </a:lnTo>
                  <a:lnTo>
                    <a:pt x="227251" y="1034844"/>
                  </a:lnTo>
                  <a:lnTo>
                    <a:pt x="225975" y="1036000"/>
                  </a:lnTo>
                  <a:lnTo>
                    <a:pt x="224211" y="1036768"/>
                  </a:lnTo>
                  <a:lnTo>
                    <a:pt x="222893" y="1036789"/>
                  </a:lnTo>
                  <a:lnTo>
                    <a:pt x="221688" y="1037365"/>
                  </a:lnTo>
                  <a:lnTo>
                    <a:pt x="218419" y="1039433"/>
                  </a:lnTo>
                  <a:lnTo>
                    <a:pt x="216888" y="1038183"/>
                  </a:lnTo>
                  <a:lnTo>
                    <a:pt x="215571" y="1036334"/>
                  </a:lnTo>
                  <a:lnTo>
                    <a:pt x="216007" y="1034769"/>
                  </a:lnTo>
                  <a:lnTo>
                    <a:pt x="216556" y="1033328"/>
                  </a:lnTo>
                  <a:lnTo>
                    <a:pt x="216515" y="1032359"/>
                  </a:lnTo>
                  <a:lnTo>
                    <a:pt x="216048" y="1031533"/>
                  </a:lnTo>
                  <a:lnTo>
                    <a:pt x="214014" y="1030625"/>
                  </a:lnTo>
                  <a:lnTo>
                    <a:pt x="209689" y="1028966"/>
                  </a:lnTo>
                  <a:lnTo>
                    <a:pt x="208458" y="1028946"/>
                  </a:lnTo>
                  <a:lnTo>
                    <a:pt x="206594" y="1029559"/>
                  </a:lnTo>
                  <a:lnTo>
                    <a:pt x="203217" y="1031413"/>
                  </a:lnTo>
                  <a:lnTo>
                    <a:pt x="202025" y="1031015"/>
                  </a:lnTo>
                  <a:lnTo>
                    <a:pt x="200920" y="1029542"/>
                  </a:lnTo>
                  <a:lnTo>
                    <a:pt x="199728" y="1027699"/>
                  </a:lnTo>
                  <a:lnTo>
                    <a:pt x="198115" y="1026756"/>
                  </a:lnTo>
                  <a:lnTo>
                    <a:pt x="194644" y="1026849"/>
                  </a:lnTo>
                  <a:lnTo>
                    <a:pt x="194314" y="1026920"/>
                  </a:lnTo>
                  <a:lnTo>
                    <a:pt x="192638" y="1027987"/>
                  </a:lnTo>
                  <a:lnTo>
                    <a:pt x="191930" y="1027881"/>
                  </a:lnTo>
                  <a:lnTo>
                    <a:pt x="188916" y="1025166"/>
                  </a:lnTo>
                  <a:lnTo>
                    <a:pt x="189477" y="1023685"/>
                  </a:lnTo>
                  <a:lnTo>
                    <a:pt x="190112" y="1021495"/>
                  </a:lnTo>
                  <a:lnTo>
                    <a:pt x="189883" y="1019769"/>
                  </a:lnTo>
                  <a:lnTo>
                    <a:pt x="189386" y="1017536"/>
                  </a:lnTo>
                  <a:lnTo>
                    <a:pt x="188095" y="1013653"/>
                  </a:lnTo>
                  <a:lnTo>
                    <a:pt x="187924" y="1012554"/>
                  </a:lnTo>
                  <a:lnTo>
                    <a:pt x="185810" y="1010853"/>
                  </a:lnTo>
                  <a:lnTo>
                    <a:pt x="185458" y="1009424"/>
                  </a:lnTo>
                  <a:lnTo>
                    <a:pt x="184348" y="1007587"/>
                  </a:lnTo>
                  <a:lnTo>
                    <a:pt x="183258" y="1006411"/>
                  </a:lnTo>
                  <a:lnTo>
                    <a:pt x="183025" y="1003793"/>
                  </a:lnTo>
                  <a:lnTo>
                    <a:pt x="182297" y="1002871"/>
                  </a:lnTo>
                  <a:lnTo>
                    <a:pt x="181356" y="1002439"/>
                  </a:lnTo>
                  <a:lnTo>
                    <a:pt x="178030" y="1003192"/>
                  </a:lnTo>
                  <a:lnTo>
                    <a:pt x="177672" y="1003115"/>
                  </a:lnTo>
                  <a:lnTo>
                    <a:pt x="179257" y="998936"/>
                  </a:lnTo>
                  <a:lnTo>
                    <a:pt x="179395" y="996515"/>
                  </a:lnTo>
                  <a:lnTo>
                    <a:pt x="180399" y="993969"/>
                  </a:lnTo>
                  <a:lnTo>
                    <a:pt x="181543" y="992962"/>
                  </a:lnTo>
                  <a:lnTo>
                    <a:pt x="181891" y="992088"/>
                  </a:lnTo>
                  <a:lnTo>
                    <a:pt x="182068" y="990400"/>
                  </a:lnTo>
                  <a:lnTo>
                    <a:pt x="181854" y="988953"/>
                  </a:lnTo>
                  <a:lnTo>
                    <a:pt x="181153" y="988203"/>
                  </a:lnTo>
                  <a:lnTo>
                    <a:pt x="178408" y="986578"/>
                  </a:lnTo>
                  <a:lnTo>
                    <a:pt x="175443" y="984618"/>
                  </a:lnTo>
                  <a:lnTo>
                    <a:pt x="174834" y="982125"/>
                  </a:lnTo>
                  <a:lnTo>
                    <a:pt x="173918" y="981619"/>
                  </a:lnTo>
                  <a:lnTo>
                    <a:pt x="171314" y="981489"/>
                  </a:lnTo>
                  <a:lnTo>
                    <a:pt x="171366" y="980783"/>
                  </a:lnTo>
                  <a:lnTo>
                    <a:pt x="171753" y="978798"/>
                  </a:lnTo>
                  <a:lnTo>
                    <a:pt x="172377" y="977068"/>
                  </a:lnTo>
                  <a:lnTo>
                    <a:pt x="174411" y="975212"/>
                  </a:lnTo>
                  <a:lnTo>
                    <a:pt x="174914" y="973958"/>
                  </a:lnTo>
                  <a:lnTo>
                    <a:pt x="175519" y="972832"/>
                  </a:lnTo>
                  <a:lnTo>
                    <a:pt x="180179" y="971502"/>
                  </a:lnTo>
                  <a:lnTo>
                    <a:pt x="180712" y="970999"/>
                  </a:lnTo>
                  <a:lnTo>
                    <a:pt x="180747" y="970552"/>
                  </a:lnTo>
                  <a:lnTo>
                    <a:pt x="180530" y="970122"/>
                  </a:lnTo>
                  <a:lnTo>
                    <a:pt x="179496" y="969439"/>
                  </a:lnTo>
                  <a:lnTo>
                    <a:pt x="178423" y="968506"/>
                  </a:lnTo>
                  <a:lnTo>
                    <a:pt x="177775" y="965964"/>
                  </a:lnTo>
                  <a:lnTo>
                    <a:pt x="176160" y="961978"/>
                  </a:lnTo>
                  <a:lnTo>
                    <a:pt x="174642" y="959302"/>
                  </a:lnTo>
                  <a:lnTo>
                    <a:pt x="174318" y="957734"/>
                  </a:lnTo>
                  <a:lnTo>
                    <a:pt x="174711" y="955923"/>
                  </a:lnTo>
                  <a:lnTo>
                    <a:pt x="175253" y="954144"/>
                  </a:lnTo>
                  <a:lnTo>
                    <a:pt x="175281" y="952410"/>
                  </a:lnTo>
                  <a:lnTo>
                    <a:pt x="172975" y="942778"/>
                  </a:lnTo>
                  <a:lnTo>
                    <a:pt x="173132" y="941020"/>
                  </a:lnTo>
                  <a:lnTo>
                    <a:pt x="173802" y="939266"/>
                  </a:lnTo>
                  <a:lnTo>
                    <a:pt x="174877" y="937805"/>
                  </a:lnTo>
                  <a:lnTo>
                    <a:pt x="177281" y="935898"/>
                  </a:lnTo>
                  <a:lnTo>
                    <a:pt x="180284" y="932415"/>
                  </a:lnTo>
                  <a:lnTo>
                    <a:pt x="182316" y="927828"/>
                  </a:lnTo>
                  <a:lnTo>
                    <a:pt x="183381" y="925053"/>
                  </a:lnTo>
                  <a:lnTo>
                    <a:pt x="184277" y="924420"/>
                  </a:lnTo>
                  <a:lnTo>
                    <a:pt x="186007" y="924266"/>
                  </a:lnTo>
                  <a:lnTo>
                    <a:pt x="186663" y="923412"/>
                  </a:lnTo>
                  <a:lnTo>
                    <a:pt x="187000" y="922907"/>
                  </a:lnTo>
                  <a:lnTo>
                    <a:pt x="188482" y="922439"/>
                  </a:lnTo>
                  <a:lnTo>
                    <a:pt x="188985" y="921888"/>
                  </a:lnTo>
                  <a:lnTo>
                    <a:pt x="188585" y="920950"/>
                  </a:lnTo>
                  <a:lnTo>
                    <a:pt x="187099" y="919309"/>
                  </a:lnTo>
                  <a:lnTo>
                    <a:pt x="185920" y="918289"/>
                  </a:lnTo>
                  <a:lnTo>
                    <a:pt x="187058" y="916002"/>
                  </a:lnTo>
                  <a:lnTo>
                    <a:pt x="186668" y="912942"/>
                  </a:lnTo>
                  <a:lnTo>
                    <a:pt x="185953" y="910391"/>
                  </a:lnTo>
                  <a:lnTo>
                    <a:pt x="186927" y="908521"/>
                  </a:lnTo>
                  <a:lnTo>
                    <a:pt x="188544" y="908357"/>
                  </a:lnTo>
                  <a:lnTo>
                    <a:pt x="190343" y="910394"/>
                  </a:lnTo>
                  <a:lnTo>
                    <a:pt x="193042" y="911451"/>
                  </a:lnTo>
                  <a:lnTo>
                    <a:pt x="195014" y="910084"/>
                  </a:lnTo>
                  <a:lnTo>
                    <a:pt x="195681" y="907443"/>
                  </a:lnTo>
                  <a:lnTo>
                    <a:pt x="197102" y="906280"/>
                  </a:lnTo>
                  <a:lnTo>
                    <a:pt x="198998" y="907318"/>
                  </a:lnTo>
                  <a:lnTo>
                    <a:pt x="202176" y="907693"/>
                  </a:lnTo>
                  <a:lnTo>
                    <a:pt x="204813" y="907521"/>
                  </a:lnTo>
                  <a:lnTo>
                    <a:pt x="206590" y="906966"/>
                  </a:lnTo>
                  <a:lnTo>
                    <a:pt x="207348" y="906107"/>
                  </a:lnTo>
                  <a:lnTo>
                    <a:pt x="208052" y="904565"/>
                  </a:lnTo>
                  <a:lnTo>
                    <a:pt x="209505" y="902603"/>
                  </a:lnTo>
                  <a:lnTo>
                    <a:pt x="211013" y="901322"/>
                  </a:lnTo>
                  <a:lnTo>
                    <a:pt x="222565" y="902779"/>
                  </a:lnTo>
                  <a:lnTo>
                    <a:pt x="232578" y="905488"/>
                  </a:lnTo>
                  <a:lnTo>
                    <a:pt x="233336" y="904474"/>
                  </a:lnTo>
                  <a:lnTo>
                    <a:pt x="233686" y="902730"/>
                  </a:lnTo>
                  <a:lnTo>
                    <a:pt x="231194" y="901229"/>
                  </a:lnTo>
                  <a:lnTo>
                    <a:pt x="229354" y="900443"/>
                  </a:lnTo>
                  <a:lnTo>
                    <a:pt x="227044" y="897317"/>
                  </a:lnTo>
                  <a:lnTo>
                    <a:pt x="223703" y="894850"/>
                  </a:lnTo>
                  <a:lnTo>
                    <a:pt x="220346" y="894633"/>
                  </a:lnTo>
                  <a:lnTo>
                    <a:pt x="215947" y="895492"/>
                  </a:lnTo>
                  <a:lnTo>
                    <a:pt x="209285" y="894978"/>
                  </a:lnTo>
                  <a:lnTo>
                    <a:pt x="203614" y="890330"/>
                  </a:lnTo>
                  <a:lnTo>
                    <a:pt x="199866" y="888876"/>
                  </a:lnTo>
                  <a:lnTo>
                    <a:pt x="197193" y="885294"/>
                  </a:lnTo>
                  <a:lnTo>
                    <a:pt x="196514" y="883390"/>
                  </a:lnTo>
                  <a:lnTo>
                    <a:pt x="199408" y="885006"/>
                  </a:lnTo>
                  <a:lnTo>
                    <a:pt x="199803" y="883298"/>
                  </a:lnTo>
                  <a:lnTo>
                    <a:pt x="200030" y="881027"/>
                  </a:lnTo>
                  <a:lnTo>
                    <a:pt x="198421" y="879640"/>
                  </a:lnTo>
                  <a:lnTo>
                    <a:pt x="196983" y="878814"/>
                  </a:lnTo>
                  <a:lnTo>
                    <a:pt x="189609" y="882361"/>
                  </a:lnTo>
                  <a:lnTo>
                    <a:pt x="181170" y="883523"/>
                  </a:lnTo>
                  <a:lnTo>
                    <a:pt x="189004" y="876523"/>
                  </a:lnTo>
                  <a:lnTo>
                    <a:pt x="194653" y="871466"/>
                  </a:lnTo>
                  <a:lnTo>
                    <a:pt x="195707" y="870704"/>
                  </a:lnTo>
                  <a:lnTo>
                    <a:pt x="198207" y="869344"/>
                  </a:lnTo>
                  <a:lnTo>
                    <a:pt x="200302" y="867913"/>
                  </a:lnTo>
                  <a:lnTo>
                    <a:pt x="201986" y="866035"/>
                  </a:lnTo>
                  <a:lnTo>
                    <a:pt x="207601" y="862326"/>
                  </a:lnTo>
                  <a:lnTo>
                    <a:pt x="213321" y="858325"/>
                  </a:lnTo>
                  <a:lnTo>
                    <a:pt x="218644" y="853042"/>
                  </a:lnTo>
                  <a:lnTo>
                    <a:pt x="220568" y="851377"/>
                  </a:lnTo>
                  <a:lnTo>
                    <a:pt x="223017" y="849595"/>
                  </a:lnTo>
                  <a:lnTo>
                    <a:pt x="228391" y="843984"/>
                  </a:lnTo>
                  <a:lnTo>
                    <a:pt x="230089" y="842428"/>
                  </a:lnTo>
                  <a:lnTo>
                    <a:pt x="236645" y="835366"/>
                  </a:lnTo>
                  <a:lnTo>
                    <a:pt x="240475" y="831838"/>
                  </a:lnTo>
                  <a:lnTo>
                    <a:pt x="242376" y="829809"/>
                  </a:lnTo>
                  <a:lnTo>
                    <a:pt x="250560" y="823091"/>
                  </a:lnTo>
                  <a:lnTo>
                    <a:pt x="256109" y="817677"/>
                  </a:lnTo>
                  <a:lnTo>
                    <a:pt x="258297" y="814703"/>
                  </a:lnTo>
                  <a:lnTo>
                    <a:pt x="260436" y="810434"/>
                  </a:lnTo>
                  <a:lnTo>
                    <a:pt x="261650" y="807517"/>
                  </a:lnTo>
                  <a:lnTo>
                    <a:pt x="263788" y="803737"/>
                  </a:lnTo>
                  <a:lnTo>
                    <a:pt x="263844" y="802482"/>
                  </a:lnTo>
                  <a:lnTo>
                    <a:pt x="263242" y="801314"/>
                  </a:lnTo>
                  <a:lnTo>
                    <a:pt x="261644" y="799498"/>
                  </a:lnTo>
                  <a:lnTo>
                    <a:pt x="259426" y="797403"/>
                  </a:lnTo>
                  <a:lnTo>
                    <a:pt x="257452" y="794837"/>
                  </a:lnTo>
                  <a:lnTo>
                    <a:pt x="255980" y="792526"/>
                  </a:lnTo>
                  <a:lnTo>
                    <a:pt x="251423" y="789310"/>
                  </a:lnTo>
                  <a:lnTo>
                    <a:pt x="244358" y="785232"/>
                  </a:lnTo>
                  <a:lnTo>
                    <a:pt x="239123" y="782205"/>
                  </a:lnTo>
                  <a:lnTo>
                    <a:pt x="231093" y="775723"/>
                  </a:lnTo>
                  <a:lnTo>
                    <a:pt x="229681" y="774103"/>
                  </a:lnTo>
                  <a:lnTo>
                    <a:pt x="229959" y="773676"/>
                  </a:lnTo>
                  <a:lnTo>
                    <a:pt x="234518" y="771707"/>
                  </a:lnTo>
                  <a:lnTo>
                    <a:pt x="239052" y="766630"/>
                  </a:lnTo>
                  <a:lnTo>
                    <a:pt x="241011" y="764051"/>
                  </a:lnTo>
                  <a:lnTo>
                    <a:pt x="241501" y="762049"/>
                  </a:lnTo>
                  <a:lnTo>
                    <a:pt x="241542" y="759792"/>
                  </a:lnTo>
                  <a:lnTo>
                    <a:pt x="241229" y="757708"/>
                  </a:lnTo>
                  <a:lnTo>
                    <a:pt x="240657" y="756414"/>
                  </a:lnTo>
                  <a:lnTo>
                    <a:pt x="238506" y="754787"/>
                  </a:lnTo>
                  <a:lnTo>
                    <a:pt x="232259" y="751817"/>
                  </a:lnTo>
                  <a:lnTo>
                    <a:pt x="230794" y="749072"/>
                  </a:lnTo>
                  <a:lnTo>
                    <a:pt x="229572" y="746192"/>
                  </a:lnTo>
                  <a:lnTo>
                    <a:pt x="229549" y="745001"/>
                  </a:lnTo>
                  <a:lnTo>
                    <a:pt x="232524" y="741901"/>
                  </a:lnTo>
                  <a:lnTo>
                    <a:pt x="232658" y="740350"/>
                  </a:lnTo>
                  <a:lnTo>
                    <a:pt x="232306" y="738760"/>
                  </a:lnTo>
                  <a:lnTo>
                    <a:pt x="231479" y="737599"/>
                  </a:lnTo>
                  <a:lnTo>
                    <a:pt x="225075" y="736195"/>
                  </a:lnTo>
                  <a:lnTo>
                    <a:pt x="223271" y="734711"/>
                  </a:lnTo>
                  <a:lnTo>
                    <a:pt x="221853" y="732345"/>
                  </a:lnTo>
                  <a:lnTo>
                    <a:pt x="221116" y="730312"/>
                  </a:lnTo>
                  <a:lnTo>
                    <a:pt x="221043" y="729108"/>
                  </a:lnTo>
                  <a:lnTo>
                    <a:pt x="221520" y="727759"/>
                  </a:lnTo>
                  <a:lnTo>
                    <a:pt x="223677" y="726291"/>
                  </a:lnTo>
                  <a:lnTo>
                    <a:pt x="225685" y="725299"/>
                  </a:lnTo>
                  <a:lnTo>
                    <a:pt x="226042" y="723961"/>
                  </a:lnTo>
                  <a:lnTo>
                    <a:pt x="226025" y="722512"/>
                  </a:lnTo>
                  <a:lnTo>
                    <a:pt x="225679" y="721811"/>
                  </a:lnTo>
                  <a:lnTo>
                    <a:pt x="221680" y="721121"/>
                  </a:lnTo>
                  <a:lnTo>
                    <a:pt x="221298" y="720729"/>
                  </a:lnTo>
                  <a:lnTo>
                    <a:pt x="221200" y="720227"/>
                  </a:lnTo>
                  <a:lnTo>
                    <a:pt x="221404" y="719626"/>
                  </a:lnTo>
                  <a:lnTo>
                    <a:pt x="223563" y="717039"/>
                  </a:lnTo>
                  <a:lnTo>
                    <a:pt x="223854" y="712102"/>
                  </a:lnTo>
                  <a:lnTo>
                    <a:pt x="225876" y="708646"/>
                  </a:lnTo>
                  <a:lnTo>
                    <a:pt x="223587" y="706620"/>
                  </a:lnTo>
                  <a:lnTo>
                    <a:pt x="223764" y="706263"/>
                  </a:lnTo>
                  <a:lnTo>
                    <a:pt x="227273" y="705201"/>
                  </a:lnTo>
                  <a:lnTo>
                    <a:pt x="230510" y="704943"/>
                  </a:lnTo>
                  <a:lnTo>
                    <a:pt x="231976" y="704544"/>
                  </a:lnTo>
                  <a:lnTo>
                    <a:pt x="232140" y="702922"/>
                  </a:lnTo>
                  <a:lnTo>
                    <a:pt x="231803" y="700728"/>
                  </a:lnTo>
                  <a:lnTo>
                    <a:pt x="228467" y="692097"/>
                  </a:lnTo>
                  <a:lnTo>
                    <a:pt x="227733" y="689603"/>
                  </a:lnTo>
                  <a:lnTo>
                    <a:pt x="225523" y="686450"/>
                  </a:lnTo>
                  <a:lnTo>
                    <a:pt x="223693" y="684328"/>
                  </a:lnTo>
                  <a:lnTo>
                    <a:pt x="222591" y="682812"/>
                  </a:lnTo>
                  <a:lnTo>
                    <a:pt x="220818" y="679842"/>
                  </a:lnTo>
                  <a:lnTo>
                    <a:pt x="219792" y="676790"/>
                  </a:lnTo>
                  <a:lnTo>
                    <a:pt x="218024" y="673377"/>
                  </a:lnTo>
                  <a:lnTo>
                    <a:pt x="215964" y="670240"/>
                  </a:lnTo>
                  <a:lnTo>
                    <a:pt x="214241" y="667334"/>
                  </a:lnTo>
                  <a:lnTo>
                    <a:pt x="209814" y="661632"/>
                  </a:lnTo>
                  <a:lnTo>
                    <a:pt x="209220" y="660051"/>
                  </a:lnTo>
                  <a:lnTo>
                    <a:pt x="209283" y="658620"/>
                  </a:lnTo>
                  <a:lnTo>
                    <a:pt x="209680" y="657104"/>
                  </a:lnTo>
                  <a:lnTo>
                    <a:pt x="213137" y="652419"/>
                  </a:lnTo>
                  <a:lnTo>
                    <a:pt x="216329" y="648502"/>
                  </a:lnTo>
                  <a:lnTo>
                    <a:pt x="220410" y="643897"/>
                  </a:lnTo>
                  <a:lnTo>
                    <a:pt x="224353" y="640067"/>
                  </a:lnTo>
                  <a:lnTo>
                    <a:pt x="228568" y="635515"/>
                  </a:lnTo>
                  <a:lnTo>
                    <a:pt x="229605" y="630961"/>
                  </a:lnTo>
                  <a:lnTo>
                    <a:pt x="229409" y="630194"/>
                  </a:lnTo>
                  <a:lnTo>
                    <a:pt x="225923" y="627722"/>
                  </a:lnTo>
                  <a:lnTo>
                    <a:pt x="219348" y="621092"/>
                  </a:lnTo>
                  <a:lnTo>
                    <a:pt x="215359" y="616049"/>
                  </a:lnTo>
                  <a:lnTo>
                    <a:pt x="209149" y="613914"/>
                  </a:lnTo>
                  <a:lnTo>
                    <a:pt x="200794" y="611177"/>
                  </a:lnTo>
                  <a:lnTo>
                    <a:pt x="198030" y="605008"/>
                  </a:lnTo>
                  <a:lnTo>
                    <a:pt x="196052" y="599760"/>
                  </a:lnTo>
                  <a:lnTo>
                    <a:pt x="196242" y="597870"/>
                  </a:lnTo>
                  <a:lnTo>
                    <a:pt x="202273" y="588874"/>
                  </a:lnTo>
                  <a:lnTo>
                    <a:pt x="202839" y="587239"/>
                  </a:lnTo>
                  <a:lnTo>
                    <a:pt x="202733" y="586226"/>
                  </a:lnTo>
                  <a:lnTo>
                    <a:pt x="202114" y="585592"/>
                  </a:lnTo>
                  <a:lnTo>
                    <a:pt x="201254" y="585242"/>
                  </a:lnTo>
                  <a:lnTo>
                    <a:pt x="195672" y="584981"/>
                  </a:lnTo>
                  <a:lnTo>
                    <a:pt x="194800" y="583748"/>
                  </a:lnTo>
                  <a:lnTo>
                    <a:pt x="198160" y="582817"/>
                  </a:lnTo>
                  <a:lnTo>
                    <a:pt x="200950" y="581547"/>
                  </a:lnTo>
                  <a:lnTo>
                    <a:pt x="205521" y="579664"/>
                  </a:lnTo>
                  <a:lnTo>
                    <a:pt x="207001" y="579187"/>
                  </a:lnTo>
                  <a:lnTo>
                    <a:pt x="210378" y="578102"/>
                  </a:lnTo>
                  <a:lnTo>
                    <a:pt x="211535" y="577265"/>
                  </a:lnTo>
                  <a:lnTo>
                    <a:pt x="212399" y="576276"/>
                  </a:lnTo>
                  <a:lnTo>
                    <a:pt x="215562" y="569525"/>
                  </a:lnTo>
                  <a:lnTo>
                    <a:pt x="216342" y="568452"/>
                  </a:lnTo>
                  <a:lnTo>
                    <a:pt x="226169" y="566022"/>
                  </a:lnTo>
                  <a:lnTo>
                    <a:pt x="229737" y="564772"/>
                  </a:lnTo>
                  <a:lnTo>
                    <a:pt x="231799" y="563194"/>
                  </a:lnTo>
                  <a:lnTo>
                    <a:pt x="232784" y="561966"/>
                  </a:lnTo>
                  <a:lnTo>
                    <a:pt x="233490" y="560505"/>
                  </a:lnTo>
                  <a:lnTo>
                    <a:pt x="233997" y="558893"/>
                  </a:lnTo>
                  <a:lnTo>
                    <a:pt x="234213" y="557412"/>
                  </a:lnTo>
                  <a:lnTo>
                    <a:pt x="233401" y="555478"/>
                  </a:lnTo>
                  <a:lnTo>
                    <a:pt x="233852" y="555244"/>
                  </a:lnTo>
                  <a:lnTo>
                    <a:pt x="234900" y="555325"/>
                  </a:lnTo>
                  <a:lnTo>
                    <a:pt x="238264" y="557250"/>
                  </a:lnTo>
                  <a:lnTo>
                    <a:pt x="243477" y="559293"/>
                  </a:lnTo>
                  <a:lnTo>
                    <a:pt x="247312" y="559452"/>
                  </a:lnTo>
                  <a:lnTo>
                    <a:pt x="248901" y="559063"/>
                  </a:lnTo>
                  <a:lnTo>
                    <a:pt x="249696" y="558170"/>
                  </a:lnTo>
                  <a:lnTo>
                    <a:pt x="250266" y="556422"/>
                  </a:lnTo>
                  <a:lnTo>
                    <a:pt x="250303" y="554619"/>
                  </a:lnTo>
                  <a:lnTo>
                    <a:pt x="249100" y="549442"/>
                  </a:lnTo>
                  <a:lnTo>
                    <a:pt x="253075" y="550001"/>
                  </a:lnTo>
                  <a:lnTo>
                    <a:pt x="261991" y="553133"/>
                  </a:lnTo>
                  <a:lnTo>
                    <a:pt x="264075" y="552845"/>
                  </a:lnTo>
                  <a:lnTo>
                    <a:pt x="266712" y="551899"/>
                  </a:lnTo>
                  <a:lnTo>
                    <a:pt x="269417" y="548169"/>
                  </a:lnTo>
                  <a:lnTo>
                    <a:pt x="271426" y="547530"/>
                  </a:lnTo>
                  <a:lnTo>
                    <a:pt x="274047" y="548400"/>
                  </a:lnTo>
                  <a:lnTo>
                    <a:pt x="274769" y="547399"/>
                  </a:lnTo>
                  <a:lnTo>
                    <a:pt x="273414" y="544299"/>
                  </a:lnTo>
                  <a:lnTo>
                    <a:pt x="273751" y="542729"/>
                  </a:lnTo>
                  <a:lnTo>
                    <a:pt x="282752" y="546083"/>
                  </a:lnTo>
                  <a:lnTo>
                    <a:pt x="286595" y="548534"/>
                  </a:lnTo>
                  <a:lnTo>
                    <a:pt x="294915" y="550685"/>
                  </a:lnTo>
                  <a:lnTo>
                    <a:pt x="296377" y="551855"/>
                  </a:lnTo>
                  <a:lnTo>
                    <a:pt x="296483" y="553883"/>
                  </a:lnTo>
                  <a:lnTo>
                    <a:pt x="296086" y="555623"/>
                  </a:lnTo>
                  <a:lnTo>
                    <a:pt x="294326" y="556583"/>
                  </a:lnTo>
                  <a:lnTo>
                    <a:pt x="290771" y="556426"/>
                  </a:lnTo>
                  <a:lnTo>
                    <a:pt x="278001" y="553745"/>
                  </a:lnTo>
                  <a:lnTo>
                    <a:pt x="276116" y="555373"/>
                  </a:lnTo>
                  <a:lnTo>
                    <a:pt x="277660" y="556782"/>
                  </a:lnTo>
                  <a:lnTo>
                    <a:pt x="281402" y="558444"/>
                  </a:lnTo>
                  <a:lnTo>
                    <a:pt x="282445" y="561386"/>
                  </a:lnTo>
                  <a:lnTo>
                    <a:pt x="288174" y="560981"/>
                  </a:lnTo>
                  <a:lnTo>
                    <a:pt x="293635" y="562100"/>
                  </a:lnTo>
                  <a:lnTo>
                    <a:pt x="296200" y="561737"/>
                  </a:lnTo>
                  <a:lnTo>
                    <a:pt x="296669" y="562696"/>
                  </a:lnTo>
                  <a:lnTo>
                    <a:pt x="294913" y="565128"/>
                  </a:lnTo>
                  <a:lnTo>
                    <a:pt x="295738" y="565753"/>
                  </a:lnTo>
                  <a:lnTo>
                    <a:pt x="301862" y="563394"/>
                  </a:lnTo>
                  <a:lnTo>
                    <a:pt x="304715" y="562747"/>
                  </a:lnTo>
                  <a:lnTo>
                    <a:pt x="306250" y="563377"/>
                  </a:lnTo>
                  <a:lnTo>
                    <a:pt x="306457" y="565330"/>
                  </a:lnTo>
                  <a:lnTo>
                    <a:pt x="305447" y="567784"/>
                  </a:lnTo>
                  <a:lnTo>
                    <a:pt x="305337" y="569649"/>
                  </a:lnTo>
                  <a:lnTo>
                    <a:pt x="303452" y="574146"/>
                  </a:lnTo>
                  <a:lnTo>
                    <a:pt x="300547" y="575506"/>
                  </a:lnTo>
                  <a:lnTo>
                    <a:pt x="299327" y="577375"/>
                  </a:lnTo>
                  <a:lnTo>
                    <a:pt x="303577" y="576230"/>
                  </a:lnTo>
                  <a:lnTo>
                    <a:pt x="305838" y="574981"/>
                  </a:lnTo>
                  <a:lnTo>
                    <a:pt x="310070" y="568802"/>
                  </a:lnTo>
                  <a:lnTo>
                    <a:pt x="311338" y="567980"/>
                  </a:lnTo>
                  <a:lnTo>
                    <a:pt x="323389" y="567868"/>
                  </a:lnTo>
                  <a:lnTo>
                    <a:pt x="326117" y="568266"/>
                  </a:lnTo>
                  <a:lnTo>
                    <a:pt x="337421" y="571181"/>
                  </a:lnTo>
                  <a:lnTo>
                    <a:pt x="340640" y="571448"/>
                  </a:lnTo>
                  <a:lnTo>
                    <a:pt x="344318" y="571075"/>
                  </a:lnTo>
                  <a:lnTo>
                    <a:pt x="345586" y="569721"/>
                  </a:lnTo>
                  <a:lnTo>
                    <a:pt x="346838" y="569337"/>
                  </a:lnTo>
                  <a:lnTo>
                    <a:pt x="359399" y="572595"/>
                  </a:lnTo>
                  <a:lnTo>
                    <a:pt x="376212" y="579904"/>
                  </a:lnTo>
                  <a:lnTo>
                    <a:pt x="400807" y="591930"/>
                  </a:lnTo>
                  <a:lnTo>
                    <a:pt x="414673" y="602567"/>
                  </a:lnTo>
                  <a:lnTo>
                    <a:pt x="416277" y="604845"/>
                  </a:lnTo>
                  <a:lnTo>
                    <a:pt x="421289" y="606135"/>
                  </a:lnTo>
                  <a:lnTo>
                    <a:pt x="422367" y="605262"/>
                  </a:lnTo>
                  <a:lnTo>
                    <a:pt x="425152" y="606019"/>
                  </a:lnTo>
                  <a:lnTo>
                    <a:pt x="441458" y="615674"/>
                  </a:lnTo>
                  <a:lnTo>
                    <a:pt x="447083" y="616173"/>
                  </a:lnTo>
                  <a:lnTo>
                    <a:pt x="446340" y="614135"/>
                  </a:lnTo>
                  <a:lnTo>
                    <a:pt x="445379" y="612229"/>
                  </a:lnTo>
                  <a:lnTo>
                    <a:pt x="446772" y="612662"/>
                  </a:lnTo>
                  <a:lnTo>
                    <a:pt x="448681" y="614046"/>
                  </a:lnTo>
                  <a:lnTo>
                    <a:pt x="451780" y="617816"/>
                  </a:lnTo>
                  <a:lnTo>
                    <a:pt x="455559" y="620606"/>
                  </a:lnTo>
                  <a:lnTo>
                    <a:pt x="459407" y="624776"/>
                  </a:lnTo>
                  <a:lnTo>
                    <a:pt x="462616" y="626372"/>
                  </a:lnTo>
                  <a:lnTo>
                    <a:pt x="465507" y="626963"/>
                  </a:lnTo>
                  <a:lnTo>
                    <a:pt x="467934" y="628137"/>
                  </a:lnTo>
                  <a:lnTo>
                    <a:pt x="472359" y="629254"/>
                  </a:lnTo>
                  <a:lnTo>
                    <a:pt x="474449" y="639399"/>
                  </a:lnTo>
                  <a:lnTo>
                    <a:pt x="476062" y="641584"/>
                  </a:lnTo>
                  <a:lnTo>
                    <a:pt x="476062" y="646049"/>
                  </a:lnTo>
                  <a:lnTo>
                    <a:pt x="478889" y="647864"/>
                  </a:lnTo>
                  <a:lnTo>
                    <a:pt x="481035" y="648193"/>
                  </a:lnTo>
                  <a:lnTo>
                    <a:pt x="480936" y="651491"/>
                  </a:lnTo>
                  <a:lnTo>
                    <a:pt x="479195" y="659212"/>
                  </a:lnTo>
                  <a:lnTo>
                    <a:pt x="477280" y="662488"/>
                  </a:lnTo>
                  <a:lnTo>
                    <a:pt x="462523" y="676534"/>
                  </a:lnTo>
                  <a:lnTo>
                    <a:pt x="453274" y="681936"/>
                  </a:lnTo>
                  <a:lnTo>
                    <a:pt x="435269" y="688101"/>
                  </a:lnTo>
                  <a:lnTo>
                    <a:pt x="421224" y="690409"/>
                  </a:lnTo>
                  <a:lnTo>
                    <a:pt x="415556" y="690577"/>
                  </a:lnTo>
                  <a:lnTo>
                    <a:pt x="404569" y="689437"/>
                  </a:lnTo>
                  <a:lnTo>
                    <a:pt x="398544" y="688191"/>
                  </a:lnTo>
                  <a:lnTo>
                    <a:pt x="391172" y="684688"/>
                  </a:lnTo>
                  <a:lnTo>
                    <a:pt x="384292" y="682943"/>
                  </a:lnTo>
                  <a:lnTo>
                    <a:pt x="379566" y="682171"/>
                  </a:lnTo>
                  <a:lnTo>
                    <a:pt x="370798" y="681849"/>
                  </a:lnTo>
                  <a:lnTo>
                    <a:pt x="351783" y="678407"/>
                  </a:lnTo>
                  <a:lnTo>
                    <a:pt x="348477" y="677196"/>
                  </a:lnTo>
                  <a:lnTo>
                    <a:pt x="336550" y="670458"/>
                  </a:lnTo>
                  <a:lnTo>
                    <a:pt x="331811" y="672363"/>
                  </a:lnTo>
                  <a:lnTo>
                    <a:pt x="328988" y="672706"/>
                  </a:lnTo>
                  <a:lnTo>
                    <a:pt x="327075" y="670382"/>
                  </a:lnTo>
                  <a:lnTo>
                    <a:pt x="327844" y="669768"/>
                  </a:lnTo>
                  <a:lnTo>
                    <a:pt x="328302" y="668975"/>
                  </a:lnTo>
                  <a:lnTo>
                    <a:pt x="321547" y="667047"/>
                  </a:lnTo>
                  <a:lnTo>
                    <a:pt x="315965" y="666918"/>
                  </a:lnTo>
                  <a:lnTo>
                    <a:pt x="313000" y="665279"/>
                  </a:lnTo>
                  <a:lnTo>
                    <a:pt x="309370" y="664030"/>
                  </a:lnTo>
                  <a:lnTo>
                    <a:pt x="307768" y="664782"/>
                  </a:lnTo>
                  <a:lnTo>
                    <a:pt x="306863" y="664775"/>
                  </a:lnTo>
                  <a:lnTo>
                    <a:pt x="299526" y="661827"/>
                  </a:lnTo>
                  <a:lnTo>
                    <a:pt x="296248" y="659435"/>
                  </a:lnTo>
                  <a:lnTo>
                    <a:pt x="292834" y="655219"/>
                  </a:lnTo>
                  <a:lnTo>
                    <a:pt x="293667" y="653742"/>
                  </a:lnTo>
                  <a:lnTo>
                    <a:pt x="294667" y="652784"/>
                  </a:lnTo>
                  <a:lnTo>
                    <a:pt x="282935" y="650323"/>
                  </a:lnTo>
                  <a:lnTo>
                    <a:pt x="271778" y="649997"/>
                  </a:lnTo>
                  <a:lnTo>
                    <a:pt x="273717" y="651177"/>
                  </a:lnTo>
                  <a:lnTo>
                    <a:pt x="278549" y="651797"/>
                  </a:lnTo>
                  <a:lnTo>
                    <a:pt x="281624" y="653491"/>
                  </a:lnTo>
                  <a:lnTo>
                    <a:pt x="285170" y="655877"/>
                  </a:lnTo>
                  <a:lnTo>
                    <a:pt x="284345" y="659137"/>
                  </a:lnTo>
                  <a:lnTo>
                    <a:pt x="289271" y="662362"/>
                  </a:lnTo>
                  <a:lnTo>
                    <a:pt x="293050" y="665429"/>
                  </a:lnTo>
                  <a:lnTo>
                    <a:pt x="293162" y="666375"/>
                  </a:lnTo>
                  <a:lnTo>
                    <a:pt x="294628" y="667016"/>
                  </a:lnTo>
                  <a:lnTo>
                    <a:pt x="300197" y="667912"/>
                  </a:lnTo>
                  <a:lnTo>
                    <a:pt x="301167" y="670727"/>
                  </a:lnTo>
                  <a:lnTo>
                    <a:pt x="300249" y="671836"/>
                  </a:lnTo>
                  <a:lnTo>
                    <a:pt x="301012" y="673397"/>
                  </a:lnTo>
                  <a:lnTo>
                    <a:pt x="305166" y="675145"/>
                  </a:lnTo>
                  <a:lnTo>
                    <a:pt x="307651" y="675621"/>
                  </a:lnTo>
                  <a:lnTo>
                    <a:pt x="310709" y="676681"/>
                  </a:lnTo>
                  <a:lnTo>
                    <a:pt x="309323" y="678821"/>
                  </a:lnTo>
                  <a:lnTo>
                    <a:pt x="306751" y="680209"/>
                  </a:lnTo>
                  <a:lnTo>
                    <a:pt x="304177" y="680847"/>
                  </a:lnTo>
                  <a:lnTo>
                    <a:pt x="305399" y="681359"/>
                  </a:lnTo>
                  <a:lnTo>
                    <a:pt x="308735" y="681161"/>
                  </a:lnTo>
                  <a:lnTo>
                    <a:pt x="320809" y="684681"/>
                  </a:lnTo>
                  <a:lnTo>
                    <a:pt x="327157" y="688234"/>
                  </a:lnTo>
                  <a:lnTo>
                    <a:pt x="333614" y="694696"/>
                  </a:lnTo>
                  <a:lnTo>
                    <a:pt x="335704" y="697884"/>
                  </a:lnTo>
                  <a:lnTo>
                    <a:pt x="335855" y="699641"/>
                  </a:lnTo>
                  <a:lnTo>
                    <a:pt x="335497" y="701393"/>
                  </a:lnTo>
                  <a:lnTo>
                    <a:pt x="334564" y="703285"/>
                  </a:lnTo>
                  <a:lnTo>
                    <a:pt x="334139" y="705184"/>
                  </a:lnTo>
                  <a:lnTo>
                    <a:pt x="331932" y="710780"/>
                  </a:lnTo>
                  <a:lnTo>
                    <a:pt x="330349" y="712708"/>
                  </a:lnTo>
                  <a:lnTo>
                    <a:pt x="327304" y="714914"/>
                  </a:lnTo>
                  <a:lnTo>
                    <a:pt x="330167" y="719171"/>
                  </a:lnTo>
                  <a:lnTo>
                    <a:pt x="333156" y="723131"/>
                  </a:lnTo>
                  <a:lnTo>
                    <a:pt x="336084" y="729681"/>
                  </a:lnTo>
                  <a:lnTo>
                    <a:pt x="336607" y="732311"/>
                  </a:lnTo>
                  <a:lnTo>
                    <a:pt x="336728" y="736342"/>
                  </a:lnTo>
                  <a:lnTo>
                    <a:pt x="339373" y="737924"/>
                  </a:lnTo>
                  <a:lnTo>
                    <a:pt x="338339" y="738542"/>
                  </a:lnTo>
                  <a:lnTo>
                    <a:pt x="337296" y="739685"/>
                  </a:lnTo>
                  <a:lnTo>
                    <a:pt x="337544" y="744919"/>
                  </a:lnTo>
                  <a:lnTo>
                    <a:pt x="341211" y="749183"/>
                  </a:lnTo>
                  <a:lnTo>
                    <a:pt x="346711" y="751944"/>
                  </a:lnTo>
                  <a:lnTo>
                    <a:pt x="349982" y="752504"/>
                  </a:lnTo>
                  <a:lnTo>
                    <a:pt x="354737" y="751384"/>
                  </a:lnTo>
                  <a:lnTo>
                    <a:pt x="358164" y="752909"/>
                  </a:lnTo>
                  <a:lnTo>
                    <a:pt x="365780" y="758097"/>
                  </a:lnTo>
                  <a:lnTo>
                    <a:pt x="369218" y="763565"/>
                  </a:lnTo>
                  <a:lnTo>
                    <a:pt x="370611" y="764678"/>
                  </a:lnTo>
                  <a:lnTo>
                    <a:pt x="378324" y="766716"/>
                  </a:lnTo>
                  <a:lnTo>
                    <a:pt x="384105" y="767968"/>
                  </a:lnTo>
                  <a:lnTo>
                    <a:pt x="392895" y="771235"/>
                  </a:lnTo>
                  <a:lnTo>
                    <a:pt x="394431" y="771353"/>
                  </a:lnTo>
                  <a:lnTo>
                    <a:pt x="398702" y="768536"/>
                  </a:lnTo>
                  <a:lnTo>
                    <a:pt x="406057" y="766573"/>
                  </a:lnTo>
                  <a:lnTo>
                    <a:pt x="408331" y="763866"/>
                  </a:lnTo>
                  <a:lnTo>
                    <a:pt x="408141" y="761564"/>
                  </a:lnTo>
                  <a:lnTo>
                    <a:pt x="406260" y="757459"/>
                  </a:lnTo>
                  <a:lnTo>
                    <a:pt x="405742" y="753450"/>
                  </a:lnTo>
                  <a:lnTo>
                    <a:pt x="403306" y="751810"/>
                  </a:lnTo>
                  <a:lnTo>
                    <a:pt x="401030" y="750721"/>
                  </a:lnTo>
                  <a:lnTo>
                    <a:pt x="394152" y="751552"/>
                  </a:lnTo>
                  <a:lnTo>
                    <a:pt x="391056" y="751397"/>
                  </a:lnTo>
                  <a:lnTo>
                    <a:pt x="388715" y="750311"/>
                  </a:lnTo>
                  <a:lnTo>
                    <a:pt x="385547" y="747442"/>
                  </a:lnTo>
                  <a:lnTo>
                    <a:pt x="379552" y="740451"/>
                  </a:lnTo>
                  <a:lnTo>
                    <a:pt x="376344" y="738118"/>
                  </a:lnTo>
                  <a:lnTo>
                    <a:pt x="375338" y="736672"/>
                  </a:lnTo>
                  <a:lnTo>
                    <a:pt x="374221" y="734653"/>
                  </a:lnTo>
                  <a:lnTo>
                    <a:pt x="374361" y="731381"/>
                  </a:lnTo>
                  <a:lnTo>
                    <a:pt x="376979" y="731495"/>
                  </a:lnTo>
                  <a:lnTo>
                    <a:pt x="379920" y="729639"/>
                  </a:lnTo>
                  <a:lnTo>
                    <a:pt x="382062" y="722978"/>
                  </a:lnTo>
                  <a:lnTo>
                    <a:pt x="385763" y="722130"/>
                  </a:lnTo>
                  <a:lnTo>
                    <a:pt x="387767" y="722188"/>
                  </a:lnTo>
                  <a:lnTo>
                    <a:pt x="396331" y="725286"/>
                  </a:lnTo>
                  <a:lnTo>
                    <a:pt x="406972" y="733528"/>
                  </a:lnTo>
                  <a:lnTo>
                    <a:pt x="409324" y="734394"/>
                  </a:lnTo>
                  <a:lnTo>
                    <a:pt x="411812" y="734515"/>
                  </a:lnTo>
                  <a:lnTo>
                    <a:pt x="415878" y="734305"/>
                  </a:lnTo>
                  <a:lnTo>
                    <a:pt x="416539" y="735377"/>
                  </a:lnTo>
                  <a:lnTo>
                    <a:pt x="418726" y="736661"/>
                  </a:lnTo>
                  <a:lnTo>
                    <a:pt x="420322" y="736826"/>
                  </a:lnTo>
                  <a:lnTo>
                    <a:pt x="430061" y="739427"/>
                  </a:lnTo>
                  <a:lnTo>
                    <a:pt x="441423" y="744543"/>
                  </a:lnTo>
                  <a:lnTo>
                    <a:pt x="445638" y="744312"/>
                  </a:lnTo>
                  <a:lnTo>
                    <a:pt x="447297" y="741481"/>
                  </a:lnTo>
                  <a:lnTo>
                    <a:pt x="447642" y="740262"/>
                  </a:lnTo>
                  <a:lnTo>
                    <a:pt x="452268" y="737395"/>
                  </a:lnTo>
                  <a:lnTo>
                    <a:pt x="455494" y="736920"/>
                  </a:lnTo>
                  <a:lnTo>
                    <a:pt x="460007" y="737963"/>
                  </a:lnTo>
                  <a:lnTo>
                    <a:pt x="460828" y="737110"/>
                  </a:lnTo>
                  <a:lnTo>
                    <a:pt x="459290" y="732900"/>
                  </a:lnTo>
                  <a:lnTo>
                    <a:pt x="457209" y="729247"/>
                  </a:lnTo>
                  <a:lnTo>
                    <a:pt x="454144" y="726904"/>
                  </a:lnTo>
                  <a:lnTo>
                    <a:pt x="448701" y="720006"/>
                  </a:lnTo>
                  <a:lnTo>
                    <a:pt x="446524" y="716573"/>
                  </a:lnTo>
                  <a:lnTo>
                    <a:pt x="445442" y="713025"/>
                  </a:lnTo>
                  <a:lnTo>
                    <a:pt x="446150" y="709881"/>
                  </a:lnTo>
                  <a:lnTo>
                    <a:pt x="446932" y="707586"/>
                  </a:lnTo>
                  <a:lnTo>
                    <a:pt x="458238" y="701996"/>
                  </a:lnTo>
                  <a:lnTo>
                    <a:pt x="462328" y="698641"/>
                  </a:lnTo>
                  <a:lnTo>
                    <a:pt x="466282" y="694273"/>
                  </a:lnTo>
                  <a:lnTo>
                    <a:pt x="468113" y="693379"/>
                  </a:lnTo>
                  <a:lnTo>
                    <a:pt x="474783" y="692164"/>
                  </a:lnTo>
                  <a:lnTo>
                    <a:pt x="483622" y="688417"/>
                  </a:lnTo>
                  <a:lnTo>
                    <a:pt x="490368" y="683429"/>
                  </a:lnTo>
                  <a:lnTo>
                    <a:pt x="497062" y="675822"/>
                  </a:lnTo>
                  <a:lnTo>
                    <a:pt x="499869" y="673838"/>
                  </a:lnTo>
                  <a:lnTo>
                    <a:pt x="502150" y="674020"/>
                  </a:lnTo>
                  <a:lnTo>
                    <a:pt x="505181" y="675213"/>
                  </a:lnTo>
                  <a:lnTo>
                    <a:pt x="508528" y="677423"/>
                  </a:lnTo>
                  <a:lnTo>
                    <a:pt x="513048" y="677835"/>
                  </a:lnTo>
                  <a:lnTo>
                    <a:pt x="517458" y="677481"/>
                  </a:lnTo>
                  <a:lnTo>
                    <a:pt x="522482" y="677681"/>
                  </a:lnTo>
                  <a:lnTo>
                    <a:pt x="529507" y="681150"/>
                  </a:lnTo>
                  <a:lnTo>
                    <a:pt x="530666" y="682257"/>
                  </a:lnTo>
                  <a:lnTo>
                    <a:pt x="531768" y="683736"/>
                  </a:lnTo>
                  <a:lnTo>
                    <a:pt x="529496" y="686585"/>
                  </a:lnTo>
                  <a:lnTo>
                    <a:pt x="529308" y="688418"/>
                  </a:lnTo>
                  <a:lnTo>
                    <a:pt x="531122" y="687563"/>
                  </a:lnTo>
                  <a:lnTo>
                    <a:pt x="533623" y="687134"/>
                  </a:lnTo>
                  <a:lnTo>
                    <a:pt x="535983" y="687722"/>
                  </a:lnTo>
                  <a:lnTo>
                    <a:pt x="538203" y="689324"/>
                  </a:lnTo>
                  <a:lnTo>
                    <a:pt x="539807" y="691115"/>
                  </a:lnTo>
                  <a:lnTo>
                    <a:pt x="541746" y="692622"/>
                  </a:lnTo>
                  <a:lnTo>
                    <a:pt x="542366" y="690574"/>
                  </a:lnTo>
                  <a:lnTo>
                    <a:pt x="542651" y="688808"/>
                  </a:lnTo>
                  <a:lnTo>
                    <a:pt x="541586" y="684321"/>
                  </a:lnTo>
                  <a:lnTo>
                    <a:pt x="544318" y="677992"/>
                  </a:lnTo>
                  <a:lnTo>
                    <a:pt x="546434" y="675240"/>
                  </a:lnTo>
                  <a:lnTo>
                    <a:pt x="550243" y="668214"/>
                  </a:lnTo>
                  <a:lnTo>
                    <a:pt x="549103" y="663659"/>
                  </a:lnTo>
                  <a:lnTo>
                    <a:pt x="548930" y="658340"/>
                  </a:lnTo>
                  <a:lnTo>
                    <a:pt x="548369" y="655865"/>
                  </a:lnTo>
                  <a:lnTo>
                    <a:pt x="545890" y="652304"/>
                  </a:lnTo>
                  <a:lnTo>
                    <a:pt x="541083" y="649776"/>
                  </a:lnTo>
                  <a:lnTo>
                    <a:pt x="536240" y="648980"/>
                  </a:lnTo>
                  <a:lnTo>
                    <a:pt x="534627" y="646515"/>
                  </a:lnTo>
                  <a:lnTo>
                    <a:pt x="534920" y="643701"/>
                  </a:lnTo>
                  <a:lnTo>
                    <a:pt x="536261" y="639583"/>
                  </a:lnTo>
                  <a:lnTo>
                    <a:pt x="540243" y="630871"/>
                  </a:lnTo>
                  <a:lnTo>
                    <a:pt x="544422" y="618567"/>
                  </a:lnTo>
                  <a:lnTo>
                    <a:pt x="544558" y="615692"/>
                  </a:lnTo>
                  <a:lnTo>
                    <a:pt x="544167" y="614119"/>
                  </a:lnTo>
                  <a:lnTo>
                    <a:pt x="544445" y="612525"/>
                  </a:lnTo>
                  <a:lnTo>
                    <a:pt x="543964" y="608737"/>
                  </a:lnTo>
                  <a:lnTo>
                    <a:pt x="543178" y="605936"/>
                  </a:lnTo>
                  <a:lnTo>
                    <a:pt x="526259" y="595146"/>
                  </a:lnTo>
                  <a:lnTo>
                    <a:pt x="525242" y="594098"/>
                  </a:lnTo>
                  <a:lnTo>
                    <a:pt x="524694" y="592652"/>
                  </a:lnTo>
                  <a:lnTo>
                    <a:pt x="526464" y="592330"/>
                  </a:lnTo>
                  <a:lnTo>
                    <a:pt x="527762" y="592404"/>
                  </a:lnTo>
                  <a:lnTo>
                    <a:pt x="540500" y="597440"/>
                  </a:lnTo>
                  <a:lnTo>
                    <a:pt x="543314" y="597712"/>
                  </a:lnTo>
                  <a:lnTo>
                    <a:pt x="563277" y="596313"/>
                  </a:lnTo>
                  <a:lnTo>
                    <a:pt x="573036" y="597528"/>
                  </a:lnTo>
                  <a:lnTo>
                    <a:pt x="581274" y="600093"/>
                  </a:lnTo>
                  <a:lnTo>
                    <a:pt x="587165" y="607301"/>
                  </a:lnTo>
                  <a:lnTo>
                    <a:pt x="593163" y="613881"/>
                  </a:lnTo>
                  <a:lnTo>
                    <a:pt x="598778" y="619522"/>
                  </a:lnTo>
                  <a:lnTo>
                    <a:pt x="598929" y="624134"/>
                  </a:lnTo>
                  <a:lnTo>
                    <a:pt x="593146" y="625086"/>
                  </a:lnTo>
                  <a:lnTo>
                    <a:pt x="587515" y="625295"/>
                  </a:lnTo>
                  <a:lnTo>
                    <a:pt x="573241" y="627587"/>
                  </a:lnTo>
                  <a:lnTo>
                    <a:pt x="569823" y="630183"/>
                  </a:lnTo>
                  <a:lnTo>
                    <a:pt x="560211" y="638150"/>
                  </a:lnTo>
                  <a:lnTo>
                    <a:pt x="559386" y="640566"/>
                  </a:lnTo>
                  <a:lnTo>
                    <a:pt x="560211" y="642907"/>
                  </a:lnTo>
                  <a:lnTo>
                    <a:pt x="564621" y="645383"/>
                  </a:lnTo>
                  <a:lnTo>
                    <a:pt x="573982" y="649093"/>
                  </a:lnTo>
                  <a:lnTo>
                    <a:pt x="578190" y="656425"/>
                  </a:lnTo>
                  <a:lnTo>
                    <a:pt x="581127" y="660076"/>
                  </a:lnTo>
                  <a:lnTo>
                    <a:pt x="583353" y="661486"/>
                  </a:lnTo>
                  <a:lnTo>
                    <a:pt x="585519" y="661844"/>
                  </a:lnTo>
                  <a:lnTo>
                    <a:pt x="590246" y="661869"/>
                  </a:lnTo>
                  <a:lnTo>
                    <a:pt x="593580" y="662754"/>
                  </a:lnTo>
                  <a:lnTo>
                    <a:pt x="594550" y="663452"/>
                  </a:lnTo>
                  <a:lnTo>
                    <a:pt x="595876" y="662754"/>
                  </a:lnTo>
                  <a:lnTo>
                    <a:pt x="598938" y="662511"/>
                  </a:lnTo>
                  <a:lnTo>
                    <a:pt x="616752" y="658634"/>
                  </a:lnTo>
                  <a:lnTo>
                    <a:pt x="620277" y="656918"/>
                  </a:lnTo>
                  <a:lnTo>
                    <a:pt x="621454" y="654343"/>
                  </a:lnTo>
                  <a:lnTo>
                    <a:pt x="622758" y="645724"/>
                  </a:lnTo>
                  <a:lnTo>
                    <a:pt x="624332" y="642722"/>
                  </a:lnTo>
                  <a:lnTo>
                    <a:pt x="625856" y="639005"/>
                  </a:lnTo>
                  <a:lnTo>
                    <a:pt x="625291" y="636724"/>
                  </a:lnTo>
                  <a:lnTo>
                    <a:pt x="625116" y="634132"/>
                  </a:lnTo>
                  <a:lnTo>
                    <a:pt x="634049" y="631635"/>
                  </a:lnTo>
                  <a:lnTo>
                    <a:pt x="642343" y="629941"/>
                  </a:lnTo>
                  <a:lnTo>
                    <a:pt x="646310" y="630461"/>
                  </a:lnTo>
                  <a:lnTo>
                    <a:pt x="647299" y="628579"/>
                  </a:lnTo>
                  <a:lnTo>
                    <a:pt x="644751" y="624961"/>
                  </a:lnTo>
                  <a:lnTo>
                    <a:pt x="643270" y="623172"/>
                  </a:lnTo>
                  <a:lnTo>
                    <a:pt x="644565" y="622349"/>
                  </a:lnTo>
                  <a:lnTo>
                    <a:pt x="646474" y="623342"/>
                  </a:lnTo>
                  <a:lnTo>
                    <a:pt x="648979" y="623946"/>
                  </a:lnTo>
                  <a:lnTo>
                    <a:pt x="653432" y="623317"/>
                  </a:lnTo>
                  <a:lnTo>
                    <a:pt x="670591" y="615924"/>
                  </a:lnTo>
                  <a:lnTo>
                    <a:pt x="677267" y="611729"/>
                  </a:lnTo>
                  <a:lnTo>
                    <a:pt x="681266" y="610088"/>
                  </a:lnTo>
                  <a:lnTo>
                    <a:pt x="687576" y="606294"/>
                  </a:lnTo>
                  <a:lnTo>
                    <a:pt x="690660" y="605062"/>
                  </a:lnTo>
                  <a:lnTo>
                    <a:pt x="695959" y="604550"/>
                  </a:lnTo>
                  <a:lnTo>
                    <a:pt x="701655" y="603053"/>
                  </a:lnTo>
                  <a:lnTo>
                    <a:pt x="707859" y="600222"/>
                  </a:lnTo>
                  <a:lnTo>
                    <a:pt x="716218" y="597826"/>
                  </a:lnTo>
                  <a:lnTo>
                    <a:pt x="717566" y="597729"/>
                  </a:lnTo>
                  <a:lnTo>
                    <a:pt x="719183" y="598085"/>
                  </a:lnTo>
                  <a:lnTo>
                    <a:pt x="722644" y="600872"/>
                  </a:lnTo>
                  <a:lnTo>
                    <a:pt x="721364" y="602434"/>
                  </a:lnTo>
                  <a:lnTo>
                    <a:pt x="720392" y="604131"/>
                  </a:lnTo>
                  <a:lnTo>
                    <a:pt x="722066" y="605024"/>
                  </a:lnTo>
                  <a:lnTo>
                    <a:pt x="723461" y="605454"/>
                  </a:lnTo>
                  <a:lnTo>
                    <a:pt x="725106" y="604994"/>
                  </a:lnTo>
                  <a:lnTo>
                    <a:pt x="726838" y="603831"/>
                  </a:lnTo>
                  <a:lnTo>
                    <a:pt x="731144" y="602122"/>
                  </a:lnTo>
                  <a:lnTo>
                    <a:pt x="732314" y="599927"/>
                  </a:lnTo>
                  <a:lnTo>
                    <a:pt x="730656" y="599078"/>
                  </a:lnTo>
                  <a:lnTo>
                    <a:pt x="728499" y="595765"/>
                  </a:lnTo>
                  <a:lnTo>
                    <a:pt x="725955" y="595082"/>
                  </a:lnTo>
                  <a:lnTo>
                    <a:pt x="723942" y="595161"/>
                  </a:lnTo>
                  <a:lnTo>
                    <a:pt x="731450" y="590425"/>
                  </a:lnTo>
                  <a:lnTo>
                    <a:pt x="747577" y="583424"/>
                  </a:lnTo>
                  <a:lnTo>
                    <a:pt x="756180" y="580198"/>
                  </a:lnTo>
                  <a:lnTo>
                    <a:pt x="764668" y="579910"/>
                  </a:lnTo>
                  <a:lnTo>
                    <a:pt x="771421" y="580336"/>
                  </a:lnTo>
                  <a:lnTo>
                    <a:pt x="768879" y="581404"/>
                  </a:lnTo>
                  <a:lnTo>
                    <a:pt x="757782" y="582880"/>
                  </a:lnTo>
                  <a:lnTo>
                    <a:pt x="756085" y="583620"/>
                  </a:lnTo>
                  <a:lnTo>
                    <a:pt x="756098" y="584502"/>
                  </a:lnTo>
                  <a:lnTo>
                    <a:pt x="758780" y="585021"/>
                  </a:lnTo>
                  <a:lnTo>
                    <a:pt x="759909" y="586062"/>
                  </a:lnTo>
                  <a:lnTo>
                    <a:pt x="758996" y="587314"/>
                  </a:lnTo>
                  <a:lnTo>
                    <a:pt x="758153" y="587714"/>
                  </a:lnTo>
                  <a:lnTo>
                    <a:pt x="756886" y="591283"/>
                  </a:lnTo>
                  <a:lnTo>
                    <a:pt x="755228" y="594168"/>
                  </a:lnTo>
                  <a:lnTo>
                    <a:pt x="758739" y="597896"/>
                  </a:lnTo>
                  <a:lnTo>
                    <a:pt x="759030" y="601785"/>
                  </a:lnTo>
                  <a:lnTo>
                    <a:pt x="756789" y="603810"/>
                  </a:lnTo>
                  <a:lnTo>
                    <a:pt x="753705" y="603049"/>
                  </a:lnTo>
                  <a:lnTo>
                    <a:pt x="750978" y="604406"/>
                  </a:lnTo>
                  <a:lnTo>
                    <a:pt x="746022" y="605319"/>
                  </a:lnTo>
                  <a:lnTo>
                    <a:pt x="744934" y="606525"/>
                  </a:lnTo>
                  <a:lnTo>
                    <a:pt x="744208" y="608213"/>
                  </a:lnTo>
                  <a:lnTo>
                    <a:pt x="747361" y="608620"/>
                  </a:lnTo>
                  <a:lnTo>
                    <a:pt x="749838" y="608512"/>
                  </a:lnTo>
                  <a:lnTo>
                    <a:pt x="758650" y="609598"/>
                  </a:lnTo>
                  <a:lnTo>
                    <a:pt x="759849" y="609746"/>
                  </a:lnTo>
                  <a:lnTo>
                    <a:pt x="762753" y="608536"/>
                  </a:lnTo>
                  <a:lnTo>
                    <a:pt x="765709" y="608258"/>
                  </a:lnTo>
                  <a:lnTo>
                    <a:pt x="769270" y="607922"/>
                  </a:lnTo>
                  <a:lnTo>
                    <a:pt x="771088" y="607195"/>
                  </a:lnTo>
                  <a:lnTo>
                    <a:pt x="772969" y="608001"/>
                  </a:lnTo>
                  <a:lnTo>
                    <a:pt x="776435" y="611392"/>
                  </a:lnTo>
                  <a:lnTo>
                    <a:pt x="779605" y="610718"/>
                  </a:lnTo>
                  <a:lnTo>
                    <a:pt x="780969" y="604148"/>
                  </a:lnTo>
                  <a:lnTo>
                    <a:pt x="786007" y="600080"/>
                  </a:lnTo>
                  <a:lnTo>
                    <a:pt x="791915" y="596711"/>
                  </a:lnTo>
                  <a:lnTo>
                    <a:pt x="797603" y="596401"/>
                  </a:lnTo>
                  <a:lnTo>
                    <a:pt x="803116" y="594040"/>
                  </a:lnTo>
                  <a:lnTo>
                    <a:pt x="805749" y="593595"/>
                  </a:lnTo>
                  <a:lnTo>
                    <a:pt x="810879" y="594549"/>
                  </a:lnTo>
                  <a:lnTo>
                    <a:pt x="818497" y="594742"/>
                  </a:lnTo>
                  <a:lnTo>
                    <a:pt x="824892" y="596754"/>
                  </a:lnTo>
                  <a:lnTo>
                    <a:pt x="829700" y="597242"/>
                  </a:lnTo>
                  <a:lnTo>
                    <a:pt x="836721" y="593878"/>
                  </a:lnTo>
                  <a:lnTo>
                    <a:pt x="852834" y="584305"/>
                  </a:lnTo>
                  <a:lnTo>
                    <a:pt x="854248" y="586462"/>
                  </a:lnTo>
                  <a:lnTo>
                    <a:pt x="856833" y="583282"/>
                  </a:lnTo>
                  <a:lnTo>
                    <a:pt x="869327" y="579891"/>
                  </a:lnTo>
                  <a:lnTo>
                    <a:pt x="872387" y="579804"/>
                  </a:lnTo>
                  <a:lnTo>
                    <a:pt x="872443" y="581101"/>
                  </a:lnTo>
                  <a:lnTo>
                    <a:pt x="873555" y="584053"/>
                  </a:lnTo>
                  <a:lnTo>
                    <a:pt x="875993" y="585857"/>
                  </a:lnTo>
                  <a:lnTo>
                    <a:pt x="879312" y="590148"/>
                  </a:lnTo>
                  <a:lnTo>
                    <a:pt x="877717" y="591302"/>
                  </a:lnTo>
                  <a:lnTo>
                    <a:pt x="876041" y="591962"/>
                  </a:lnTo>
                  <a:lnTo>
                    <a:pt x="873603" y="594847"/>
                  </a:lnTo>
                  <a:lnTo>
                    <a:pt x="873309" y="601448"/>
                  </a:lnTo>
                  <a:lnTo>
                    <a:pt x="877991" y="603135"/>
                  </a:lnTo>
                  <a:lnTo>
                    <a:pt x="884482" y="605017"/>
                  </a:lnTo>
                  <a:lnTo>
                    <a:pt x="887166" y="604998"/>
                  </a:lnTo>
                  <a:lnTo>
                    <a:pt x="889418" y="603900"/>
                  </a:lnTo>
                  <a:lnTo>
                    <a:pt x="890109" y="603298"/>
                  </a:lnTo>
                  <a:lnTo>
                    <a:pt x="890962" y="602307"/>
                  </a:lnTo>
                  <a:lnTo>
                    <a:pt x="891526" y="600414"/>
                  </a:lnTo>
                  <a:lnTo>
                    <a:pt x="891936" y="598912"/>
                  </a:lnTo>
                  <a:lnTo>
                    <a:pt x="890250" y="595285"/>
                  </a:lnTo>
                  <a:lnTo>
                    <a:pt x="890932" y="591383"/>
                  </a:lnTo>
                  <a:lnTo>
                    <a:pt x="896775" y="591646"/>
                  </a:lnTo>
                  <a:lnTo>
                    <a:pt x="904048" y="590511"/>
                  </a:lnTo>
                  <a:lnTo>
                    <a:pt x="907332" y="588273"/>
                  </a:lnTo>
                  <a:lnTo>
                    <a:pt x="911256" y="584094"/>
                  </a:lnTo>
                  <a:lnTo>
                    <a:pt x="913875" y="580551"/>
                  </a:lnTo>
                  <a:lnTo>
                    <a:pt x="912217" y="574392"/>
                  </a:lnTo>
                  <a:lnTo>
                    <a:pt x="907926" y="575762"/>
                  </a:lnTo>
                  <a:lnTo>
                    <a:pt x="900690" y="562249"/>
                  </a:lnTo>
                  <a:lnTo>
                    <a:pt x="897004" y="557006"/>
                  </a:lnTo>
                  <a:lnTo>
                    <a:pt x="899345" y="554585"/>
                  </a:lnTo>
                  <a:lnTo>
                    <a:pt x="905585" y="553025"/>
                  </a:lnTo>
                  <a:lnTo>
                    <a:pt x="911208" y="547957"/>
                  </a:lnTo>
                  <a:lnTo>
                    <a:pt x="913333" y="546934"/>
                  </a:lnTo>
                  <a:lnTo>
                    <a:pt x="915696" y="546763"/>
                  </a:lnTo>
                  <a:lnTo>
                    <a:pt x="932382" y="550245"/>
                  </a:lnTo>
                  <a:lnTo>
                    <a:pt x="951414" y="551029"/>
                  </a:lnTo>
                  <a:lnTo>
                    <a:pt x="967560" y="553695"/>
                  </a:lnTo>
                  <a:lnTo>
                    <a:pt x="985891" y="559211"/>
                  </a:lnTo>
                  <a:lnTo>
                    <a:pt x="994775" y="563085"/>
                  </a:lnTo>
                  <a:lnTo>
                    <a:pt x="1002211" y="567390"/>
                  </a:lnTo>
                  <a:lnTo>
                    <a:pt x="1001499" y="570413"/>
                  </a:lnTo>
                  <a:lnTo>
                    <a:pt x="1004490" y="569556"/>
                  </a:lnTo>
                  <a:lnTo>
                    <a:pt x="1011017" y="572221"/>
                  </a:lnTo>
                  <a:lnTo>
                    <a:pt x="1015466" y="573307"/>
                  </a:lnTo>
                  <a:lnTo>
                    <a:pt x="1020061" y="574905"/>
                  </a:lnTo>
                  <a:lnTo>
                    <a:pt x="1021762" y="577053"/>
                  </a:lnTo>
                  <a:lnTo>
                    <a:pt x="1027779" y="578630"/>
                  </a:lnTo>
                  <a:lnTo>
                    <a:pt x="1033989" y="581536"/>
                  </a:lnTo>
                  <a:lnTo>
                    <a:pt x="1035105" y="582058"/>
                  </a:lnTo>
                  <a:lnTo>
                    <a:pt x="1042631" y="584219"/>
                  </a:lnTo>
                  <a:lnTo>
                    <a:pt x="1048071" y="584930"/>
                  </a:lnTo>
                  <a:lnTo>
                    <a:pt x="1051316" y="589548"/>
                  </a:lnTo>
                  <a:lnTo>
                    <a:pt x="1062160" y="596270"/>
                  </a:lnTo>
                  <a:lnTo>
                    <a:pt x="1064175" y="598790"/>
                  </a:lnTo>
                  <a:lnTo>
                    <a:pt x="1073599" y="603006"/>
                  </a:lnTo>
                  <a:lnTo>
                    <a:pt x="1078336" y="606426"/>
                  </a:lnTo>
                  <a:lnTo>
                    <a:pt x="1081277" y="605120"/>
                  </a:lnTo>
                  <a:lnTo>
                    <a:pt x="1088470" y="596726"/>
                  </a:lnTo>
                  <a:lnTo>
                    <a:pt x="1092778" y="587078"/>
                  </a:lnTo>
                  <a:lnTo>
                    <a:pt x="1095348" y="581950"/>
                  </a:lnTo>
                  <a:lnTo>
                    <a:pt x="1090569" y="581735"/>
                  </a:lnTo>
                  <a:lnTo>
                    <a:pt x="1086998" y="583237"/>
                  </a:lnTo>
                  <a:lnTo>
                    <a:pt x="1084713" y="582850"/>
                  </a:lnTo>
                  <a:lnTo>
                    <a:pt x="1082131" y="581313"/>
                  </a:lnTo>
                  <a:lnTo>
                    <a:pt x="1077980" y="577418"/>
                  </a:lnTo>
                  <a:lnTo>
                    <a:pt x="1072724" y="570864"/>
                  </a:lnTo>
                  <a:lnTo>
                    <a:pt x="1071744" y="563665"/>
                  </a:lnTo>
                  <a:lnTo>
                    <a:pt x="1070258" y="561350"/>
                  </a:lnTo>
                  <a:lnTo>
                    <a:pt x="1065138" y="559394"/>
                  </a:lnTo>
                  <a:lnTo>
                    <a:pt x="1061817" y="557261"/>
                  </a:lnTo>
                  <a:lnTo>
                    <a:pt x="1049441" y="552972"/>
                  </a:lnTo>
                  <a:lnTo>
                    <a:pt x="1047222" y="554470"/>
                  </a:lnTo>
                  <a:lnTo>
                    <a:pt x="1046561" y="556780"/>
                  </a:lnTo>
                  <a:lnTo>
                    <a:pt x="1045732" y="558461"/>
                  </a:lnTo>
                  <a:lnTo>
                    <a:pt x="1044484" y="556290"/>
                  </a:lnTo>
                  <a:lnTo>
                    <a:pt x="1043682" y="554326"/>
                  </a:lnTo>
                  <a:lnTo>
                    <a:pt x="1043659" y="551146"/>
                  </a:lnTo>
                  <a:lnTo>
                    <a:pt x="1044306" y="547128"/>
                  </a:lnTo>
                  <a:lnTo>
                    <a:pt x="1046388" y="540334"/>
                  </a:lnTo>
                  <a:lnTo>
                    <a:pt x="1049543" y="540676"/>
                  </a:lnTo>
                  <a:lnTo>
                    <a:pt x="1051210" y="539687"/>
                  </a:lnTo>
                  <a:lnTo>
                    <a:pt x="1053307" y="536620"/>
                  </a:lnTo>
                  <a:lnTo>
                    <a:pt x="1052383" y="534099"/>
                  </a:lnTo>
                  <a:lnTo>
                    <a:pt x="1051256" y="532182"/>
                  </a:lnTo>
                  <a:lnTo>
                    <a:pt x="1051484" y="529192"/>
                  </a:lnTo>
                  <a:lnTo>
                    <a:pt x="1053475" y="521020"/>
                  </a:lnTo>
                  <a:lnTo>
                    <a:pt x="1054313" y="511460"/>
                  </a:lnTo>
                  <a:lnTo>
                    <a:pt x="1052694" y="509061"/>
                  </a:lnTo>
                  <a:lnTo>
                    <a:pt x="1051186" y="507488"/>
                  </a:lnTo>
                  <a:lnTo>
                    <a:pt x="1044091" y="509104"/>
                  </a:lnTo>
                  <a:lnTo>
                    <a:pt x="1041433" y="508254"/>
                  </a:lnTo>
                  <a:lnTo>
                    <a:pt x="1040834" y="506395"/>
                  </a:lnTo>
                  <a:lnTo>
                    <a:pt x="1040633" y="504949"/>
                  </a:lnTo>
                  <a:lnTo>
                    <a:pt x="1042683" y="502458"/>
                  </a:lnTo>
                  <a:lnTo>
                    <a:pt x="1044635" y="498364"/>
                  </a:lnTo>
                  <a:lnTo>
                    <a:pt x="1041219" y="499254"/>
                  </a:lnTo>
                  <a:lnTo>
                    <a:pt x="1040048" y="497649"/>
                  </a:lnTo>
                  <a:lnTo>
                    <a:pt x="1042888" y="495281"/>
                  </a:lnTo>
                  <a:lnTo>
                    <a:pt x="1046194" y="489501"/>
                  </a:lnTo>
                  <a:lnTo>
                    <a:pt x="1054080" y="486839"/>
                  </a:lnTo>
                  <a:lnTo>
                    <a:pt x="1059997" y="484227"/>
                  </a:lnTo>
                  <a:lnTo>
                    <a:pt x="1069230" y="478663"/>
                  </a:lnTo>
                  <a:lnTo>
                    <a:pt x="1076082" y="473162"/>
                  </a:lnTo>
                  <a:lnTo>
                    <a:pt x="1080509" y="466189"/>
                  </a:lnTo>
                  <a:lnTo>
                    <a:pt x="1083560" y="459592"/>
                  </a:lnTo>
                  <a:lnTo>
                    <a:pt x="1088475" y="443889"/>
                  </a:lnTo>
                  <a:lnTo>
                    <a:pt x="1093104" y="432265"/>
                  </a:lnTo>
                  <a:lnTo>
                    <a:pt x="1100895" y="420264"/>
                  </a:lnTo>
                  <a:lnTo>
                    <a:pt x="1105769" y="419150"/>
                  </a:lnTo>
                  <a:lnTo>
                    <a:pt x="1107594" y="419336"/>
                  </a:lnTo>
                  <a:lnTo>
                    <a:pt x="1107918" y="420227"/>
                  </a:lnTo>
                  <a:lnTo>
                    <a:pt x="1106808" y="421262"/>
                  </a:lnTo>
                  <a:lnTo>
                    <a:pt x="1106505" y="422706"/>
                  </a:lnTo>
                  <a:lnTo>
                    <a:pt x="1108566" y="423236"/>
                  </a:lnTo>
                  <a:lnTo>
                    <a:pt x="1111865" y="423337"/>
                  </a:lnTo>
                  <a:lnTo>
                    <a:pt x="1118160" y="422554"/>
                  </a:lnTo>
                  <a:lnTo>
                    <a:pt x="1128844" y="423008"/>
                  </a:lnTo>
                  <a:lnTo>
                    <a:pt x="1147525" y="422028"/>
                  </a:lnTo>
                  <a:lnTo>
                    <a:pt x="1150108" y="422515"/>
                  </a:lnTo>
                  <a:lnTo>
                    <a:pt x="1157020" y="425982"/>
                  </a:lnTo>
                  <a:lnTo>
                    <a:pt x="1160810" y="425590"/>
                  </a:lnTo>
                  <a:lnTo>
                    <a:pt x="1168448" y="427215"/>
                  </a:lnTo>
                  <a:lnTo>
                    <a:pt x="1172591" y="429140"/>
                  </a:lnTo>
                  <a:lnTo>
                    <a:pt x="1176534" y="431365"/>
                  </a:lnTo>
                  <a:lnTo>
                    <a:pt x="1175988" y="440081"/>
                  </a:lnTo>
                  <a:lnTo>
                    <a:pt x="1175226" y="445902"/>
                  </a:lnTo>
                  <a:lnTo>
                    <a:pt x="1172384" y="456836"/>
                  </a:lnTo>
                  <a:lnTo>
                    <a:pt x="1171272" y="459600"/>
                  </a:lnTo>
                  <a:lnTo>
                    <a:pt x="1166869" y="467464"/>
                  </a:lnTo>
                  <a:lnTo>
                    <a:pt x="1164757" y="472641"/>
                  </a:lnTo>
                  <a:lnTo>
                    <a:pt x="1161445" y="476177"/>
                  </a:lnTo>
                  <a:lnTo>
                    <a:pt x="1156631" y="478680"/>
                  </a:lnTo>
                  <a:lnTo>
                    <a:pt x="1156020" y="480174"/>
                  </a:lnTo>
                  <a:lnTo>
                    <a:pt x="1155642" y="482378"/>
                  </a:lnTo>
                  <a:lnTo>
                    <a:pt x="1160330" y="488513"/>
                  </a:lnTo>
                  <a:lnTo>
                    <a:pt x="1171432" y="494826"/>
                  </a:lnTo>
                  <a:lnTo>
                    <a:pt x="1174155" y="502423"/>
                  </a:lnTo>
                  <a:lnTo>
                    <a:pt x="1174755" y="508079"/>
                  </a:lnTo>
                  <a:lnTo>
                    <a:pt x="1174055" y="522728"/>
                  </a:lnTo>
                  <a:lnTo>
                    <a:pt x="1173023" y="524879"/>
                  </a:lnTo>
                  <a:lnTo>
                    <a:pt x="1171002" y="527185"/>
                  </a:lnTo>
                  <a:lnTo>
                    <a:pt x="1168957" y="529995"/>
                  </a:lnTo>
                  <a:lnTo>
                    <a:pt x="1170289" y="534064"/>
                  </a:lnTo>
                  <a:lnTo>
                    <a:pt x="1171831" y="549058"/>
                  </a:lnTo>
                  <a:lnTo>
                    <a:pt x="1172190" y="561193"/>
                  </a:lnTo>
                  <a:lnTo>
                    <a:pt x="1170901" y="565321"/>
                  </a:lnTo>
                  <a:lnTo>
                    <a:pt x="1170231" y="574053"/>
                  </a:lnTo>
                  <a:lnTo>
                    <a:pt x="1170238" y="576916"/>
                  </a:lnTo>
                  <a:lnTo>
                    <a:pt x="1171330" y="581251"/>
                  </a:lnTo>
                  <a:lnTo>
                    <a:pt x="1173576" y="584881"/>
                  </a:lnTo>
                  <a:lnTo>
                    <a:pt x="1176530" y="587184"/>
                  </a:lnTo>
                  <a:lnTo>
                    <a:pt x="1184906" y="591366"/>
                  </a:lnTo>
                  <a:lnTo>
                    <a:pt x="1192807" y="596454"/>
                  </a:lnTo>
                  <a:lnTo>
                    <a:pt x="1193369" y="598063"/>
                  </a:lnTo>
                  <a:lnTo>
                    <a:pt x="1193773" y="600009"/>
                  </a:lnTo>
                  <a:lnTo>
                    <a:pt x="1190977" y="601969"/>
                  </a:lnTo>
                  <a:lnTo>
                    <a:pt x="1186580" y="607182"/>
                  </a:lnTo>
                  <a:lnTo>
                    <a:pt x="1183773" y="611499"/>
                  </a:lnTo>
                  <a:lnTo>
                    <a:pt x="1183550" y="614944"/>
                  </a:lnTo>
                  <a:lnTo>
                    <a:pt x="1184516" y="619424"/>
                  </a:lnTo>
                  <a:lnTo>
                    <a:pt x="1184053" y="623520"/>
                  </a:lnTo>
                  <a:lnTo>
                    <a:pt x="1182166" y="627233"/>
                  </a:lnTo>
                  <a:lnTo>
                    <a:pt x="1179555" y="629905"/>
                  </a:lnTo>
                  <a:lnTo>
                    <a:pt x="1171719" y="634027"/>
                  </a:lnTo>
                  <a:lnTo>
                    <a:pt x="1155204" y="655737"/>
                  </a:lnTo>
                  <a:lnTo>
                    <a:pt x="1151239" y="658267"/>
                  </a:lnTo>
                  <a:lnTo>
                    <a:pt x="1144541" y="657454"/>
                  </a:lnTo>
                  <a:lnTo>
                    <a:pt x="1146392" y="660527"/>
                  </a:lnTo>
                  <a:lnTo>
                    <a:pt x="1148652" y="664927"/>
                  </a:lnTo>
                  <a:lnTo>
                    <a:pt x="1148395" y="667794"/>
                  </a:lnTo>
                  <a:lnTo>
                    <a:pt x="1144027" y="667660"/>
                  </a:lnTo>
                  <a:lnTo>
                    <a:pt x="1137916" y="670704"/>
                  </a:lnTo>
                  <a:lnTo>
                    <a:pt x="1135126" y="672787"/>
                  </a:lnTo>
                  <a:lnTo>
                    <a:pt x="1130382" y="673847"/>
                  </a:lnTo>
                  <a:lnTo>
                    <a:pt x="1126767" y="672767"/>
                  </a:lnTo>
                  <a:lnTo>
                    <a:pt x="1122818" y="670778"/>
                  </a:lnTo>
                  <a:lnTo>
                    <a:pt x="1123394" y="669109"/>
                  </a:lnTo>
                  <a:lnTo>
                    <a:pt x="1124139" y="668344"/>
                  </a:lnTo>
                  <a:lnTo>
                    <a:pt x="1126912" y="667135"/>
                  </a:lnTo>
                  <a:lnTo>
                    <a:pt x="1129626" y="665488"/>
                  </a:lnTo>
                  <a:lnTo>
                    <a:pt x="1128300" y="665159"/>
                  </a:lnTo>
                  <a:lnTo>
                    <a:pt x="1127158" y="665175"/>
                  </a:lnTo>
                  <a:lnTo>
                    <a:pt x="1124169" y="667268"/>
                  </a:lnTo>
                  <a:lnTo>
                    <a:pt x="1120619" y="667695"/>
                  </a:lnTo>
                  <a:lnTo>
                    <a:pt x="1116426" y="665153"/>
                  </a:lnTo>
                  <a:lnTo>
                    <a:pt x="1113217" y="662346"/>
                  </a:lnTo>
                  <a:lnTo>
                    <a:pt x="1111636" y="661771"/>
                  </a:lnTo>
                  <a:lnTo>
                    <a:pt x="1108613" y="662917"/>
                  </a:lnTo>
                  <a:lnTo>
                    <a:pt x="1097056" y="662397"/>
                  </a:lnTo>
                  <a:lnTo>
                    <a:pt x="1093981" y="662869"/>
                  </a:lnTo>
                  <a:lnTo>
                    <a:pt x="1092538" y="663893"/>
                  </a:lnTo>
                  <a:lnTo>
                    <a:pt x="1093372" y="664708"/>
                  </a:lnTo>
                  <a:lnTo>
                    <a:pt x="1094255" y="666294"/>
                  </a:lnTo>
                  <a:lnTo>
                    <a:pt x="1095423" y="669363"/>
                  </a:lnTo>
                  <a:lnTo>
                    <a:pt x="1096538" y="671659"/>
                  </a:lnTo>
                  <a:lnTo>
                    <a:pt x="1101351" y="674168"/>
                  </a:lnTo>
                  <a:lnTo>
                    <a:pt x="1107741" y="675134"/>
                  </a:lnTo>
                  <a:lnTo>
                    <a:pt x="1113964" y="678201"/>
                  </a:lnTo>
                  <a:lnTo>
                    <a:pt x="1121859" y="680374"/>
                  </a:lnTo>
                  <a:lnTo>
                    <a:pt x="1139682" y="679481"/>
                  </a:lnTo>
                  <a:lnTo>
                    <a:pt x="1144381" y="679747"/>
                  </a:lnTo>
                  <a:lnTo>
                    <a:pt x="1148972" y="680693"/>
                  </a:lnTo>
                  <a:lnTo>
                    <a:pt x="1156741" y="683892"/>
                  </a:lnTo>
                  <a:lnTo>
                    <a:pt x="1160071" y="683650"/>
                  </a:lnTo>
                  <a:lnTo>
                    <a:pt x="1165688" y="680752"/>
                  </a:lnTo>
                  <a:lnTo>
                    <a:pt x="1167068" y="674323"/>
                  </a:lnTo>
                  <a:lnTo>
                    <a:pt x="1167806" y="672319"/>
                  </a:lnTo>
                  <a:lnTo>
                    <a:pt x="1188243" y="663206"/>
                  </a:lnTo>
                  <a:lnTo>
                    <a:pt x="1192045" y="661191"/>
                  </a:lnTo>
                  <a:lnTo>
                    <a:pt x="1198204" y="656196"/>
                  </a:lnTo>
                  <a:lnTo>
                    <a:pt x="1200221" y="652853"/>
                  </a:lnTo>
                  <a:lnTo>
                    <a:pt x="1202497" y="643773"/>
                  </a:lnTo>
                  <a:lnTo>
                    <a:pt x="1204449" y="640530"/>
                  </a:lnTo>
                  <a:lnTo>
                    <a:pt x="1217751" y="629966"/>
                  </a:lnTo>
                  <a:lnTo>
                    <a:pt x="1219817" y="627255"/>
                  </a:lnTo>
                  <a:lnTo>
                    <a:pt x="1220210" y="622290"/>
                  </a:lnTo>
                  <a:lnTo>
                    <a:pt x="1220009" y="618934"/>
                  </a:lnTo>
                  <a:lnTo>
                    <a:pt x="1219223" y="615605"/>
                  </a:lnTo>
                  <a:lnTo>
                    <a:pt x="1216785" y="610090"/>
                  </a:lnTo>
                  <a:lnTo>
                    <a:pt x="1214105" y="606853"/>
                  </a:lnTo>
                  <a:lnTo>
                    <a:pt x="1211456" y="602357"/>
                  </a:lnTo>
                  <a:lnTo>
                    <a:pt x="1213436" y="593210"/>
                  </a:lnTo>
                  <a:lnTo>
                    <a:pt x="1215617" y="589653"/>
                  </a:lnTo>
                  <a:lnTo>
                    <a:pt x="1227669" y="585389"/>
                  </a:lnTo>
                  <a:lnTo>
                    <a:pt x="1237950" y="583864"/>
                  </a:lnTo>
                  <a:lnTo>
                    <a:pt x="1249403" y="580979"/>
                  </a:lnTo>
                  <a:lnTo>
                    <a:pt x="1254013" y="580368"/>
                  </a:lnTo>
                  <a:lnTo>
                    <a:pt x="1257179" y="580880"/>
                  </a:lnTo>
                  <a:lnTo>
                    <a:pt x="1260420" y="584002"/>
                  </a:lnTo>
                  <a:lnTo>
                    <a:pt x="1263279" y="588663"/>
                  </a:lnTo>
                  <a:lnTo>
                    <a:pt x="1271608" y="595621"/>
                  </a:lnTo>
                  <a:lnTo>
                    <a:pt x="1274411" y="600481"/>
                  </a:lnTo>
                  <a:lnTo>
                    <a:pt x="1274909" y="606376"/>
                  </a:lnTo>
                  <a:lnTo>
                    <a:pt x="1274631" y="620639"/>
                  </a:lnTo>
                  <a:lnTo>
                    <a:pt x="1272994" y="626795"/>
                  </a:lnTo>
                  <a:lnTo>
                    <a:pt x="1276326" y="628416"/>
                  </a:lnTo>
                  <a:lnTo>
                    <a:pt x="1277885" y="629812"/>
                  </a:lnTo>
                  <a:lnTo>
                    <a:pt x="1281945" y="631878"/>
                  </a:lnTo>
                  <a:lnTo>
                    <a:pt x="1284065" y="633927"/>
                  </a:lnTo>
                  <a:lnTo>
                    <a:pt x="1286199" y="634656"/>
                  </a:lnTo>
                  <a:lnTo>
                    <a:pt x="1290930" y="635073"/>
                  </a:lnTo>
                  <a:lnTo>
                    <a:pt x="1304286" y="634347"/>
                  </a:lnTo>
                  <a:lnTo>
                    <a:pt x="1311647" y="633946"/>
                  </a:lnTo>
                  <a:lnTo>
                    <a:pt x="1310876" y="633040"/>
                  </a:lnTo>
                  <a:lnTo>
                    <a:pt x="1309803" y="632359"/>
                  </a:lnTo>
                  <a:lnTo>
                    <a:pt x="1303612" y="632061"/>
                  </a:lnTo>
                  <a:lnTo>
                    <a:pt x="1294815" y="630579"/>
                  </a:lnTo>
                  <a:lnTo>
                    <a:pt x="1282145" y="627802"/>
                  </a:lnTo>
                  <a:lnTo>
                    <a:pt x="1280639" y="621830"/>
                  </a:lnTo>
                  <a:lnTo>
                    <a:pt x="1280988" y="618109"/>
                  </a:lnTo>
                  <a:lnTo>
                    <a:pt x="1283838" y="611155"/>
                  </a:lnTo>
                  <a:lnTo>
                    <a:pt x="1285873" y="609935"/>
                  </a:lnTo>
                  <a:lnTo>
                    <a:pt x="1288337" y="609464"/>
                  </a:lnTo>
                  <a:lnTo>
                    <a:pt x="1291142" y="608519"/>
                  </a:lnTo>
                  <a:lnTo>
                    <a:pt x="1290336" y="604025"/>
                  </a:lnTo>
                  <a:lnTo>
                    <a:pt x="1289190" y="599994"/>
                  </a:lnTo>
                  <a:lnTo>
                    <a:pt x="1286501" y="594303"/>
                  </a:lnTo>
                  <a:lnTo>
                    <a:pt x="1283526" y="583792"/>
                  </a:lnTo>
                  <a:lnTo>
                    <a:pt x="1279449" y="583711"/>
                  </a:lnTo>
                  <a:lnTo>
                    <a:pt x="1276397" y="581640"/>
                  </a:lnTo>
                  <a:lnTo>
                    <a:pt x="1261286" y="575485"/>
                  </a:lnTo>
                  <a:lnTo>
                    <a:pt x="1247047" y="570910"/>
                  </a:lnTo>
                  <a:lnTo>
                    <a:pt x="1237321" y="570257"/>
                  </a:lnTo>
                  <a:lnTo>
                    <a:pt x="1234201" y="570771"/>
                  </a:lnTo>
                  <a:lnTo>
                    <a:pt x="1226097" y="575527"/>
                  </a:lnTo>
                  <a:lnTo>
                    <a:pt x="1220819" y="576526"/>
                  </a:lnTo>
                  <a:lnTo>
                    <a:pt x="1210819" y="574429"/>
                  </a:lnTo>
                  <a:lnTo>
                    <a:pt x="1202302" y="575591"/>
                  </a:lnTo>
                  <a:lnTo>
                    <a:pt x="1199176" y="574482"/>
                  </a:lnTo>
                  <a:lnTo>
                    <a:pt x="1197841" y="572342"/>
                  </a:lnTo>
                  <a:lnTo>
                    <a:pt x="1200389" y="563776"/>
                  </a:lnTo>
                  <a:lnTo>
                    <a:pt x="1199102" y="560415"/>
                  </a:lnTo>
                  <a:lnTo>
                    <a:pt x="1195356" y="555980"/>
                  </a:lnTo>
                  <a:lnTo>
                    <a:pt x="1193075" y="552440"/>
                  </a:lnTo>
                  <a:lnTo>
                    <a:pt x="1193473" y="548673"/>
                  </a:lnTo>
                  <a:lnTo>
                    <a:pt x="1199046" y="533938"/>
                  </a:lnTo>
                  <a:lnTo>
                    <a:pt x="1201417" y="530078"/>
                  </a:lnTo>
                  <a:lnTo>
                    <a:pt x="1207372" y="523202"/>
                  </a:lnTo>
                  <a:lnTo>
                    <a:pt x="1210394" y="517876"/>
                  </a:lnTo>
                  <a:lnTo>
                    <a:pt x="1209677" y="514876"/>
                  </a:lnTo>
                  <a:lnTo>
                    <a:pt x="1196865" y="498162"/>
                  </a:lnTo>
                  <a:lnTo>
                    <a:pt x="1193438" y="492175"/>
                  </a:lnTo>
                  <a:lnTo>
                    <a:pt x="1191905" y="490267"/>
                  </a:lnTo>
                  <a:lnTo>
                    <a:pt x="1188765" y="487981"/>
                  </a:lnTo>
                  <a:lnTo>
                    <a:pt x="1184017" y="485319"/>
                  </a:lnTo>
                  <a:lnTo>
                    <a:pt x="1182596" y="482886"/>
                  </a:lnTo>
                  <a:lnTo>
                    <a:pt x="1195543" y="466500"/>
                  </a:lnTo>
                  <a:lnTo>
                    <a:pt x="1201462" y="463632"/>
                  </a:lnTo>
                  <a:lnTo>
                    <a:pt x="1209683" y="461858"/>
                  </a:lnTo>
                  <a:lnTo>
                    <a:pt x="1213615" y="460240"/>
                  </a:lnTo>
                  <a:lnTo>
                    <a:pt x="1220582" y="456921"/>
                  </a:lnTo>
                  <a:lnTo>
                    <a:pt x="1224740" y="454132"/>
                  </a:lnTo>
                  <a:lnTo>
                    <a:pt x="1226090" y="451878"/>
                  </a:lnTo>
                  <a:lnTo>
                    <a:pt x="1226902" y="449227"/>
                  </a:lnTo>
                  <a:lnTo>
                    <a:pt x="1227060" y="442677"/>
                  </a:lnTo>
                  <a:lnTo>
                    <a:pt x="1226248" y="437333"/>
                  </a:lnTo>
                  <a:lnTo>
                    <a:pt x="1225090" y="434379"/>
                  </a:lnTo>
                  <a:lnTo>
                    <a:pt x="1222633" y="430582"/>
                  </a:lnTo>
                  <a:lnTo>
                    <a:pt x="1220200" y="426311"/>
                  </a:lnTo>
                  <a:lnTo>
                    <a:pt x="1221927" y="425194"/>
                  </a:lnTo>
                  <a:lnTo>
                    <a:pt x="1223635" y="424548"/>
                  </a:lnTo>
                  <a:lnTo>
                    <a:pt x="1228284" y="424592"/>
                  </a:lnTo>
                  <a:lnTo>
                    <a:pt x="1233080" y="426951"/>
                  </a:lnTo>
                  <a:lnTo>
                    <a:pt x="1235415" y="431633"/>
                  </a:lnTo>
                  <a:lnTo>
                    <a:pt x="1238258" y="435984"/>
                  </a:lnTo>
                  <a:lnTo>
                    <a:pt x="1238250" y="438862"/>
                  </a:lnTo>
                  <a:lnTo>
                    <a:pt x="1237991" y="441153"/>
                  </a:lnTo>
                  <a:lnTo>
                    <a:pt x="1239161" y="444275"/>
                  </a:lnTo>
                  <a:lnTo>
                    <a:pt x="1240195" y="445618"/>
                  </a:lnTo>
                  <a:lnTo>
                    <a:pt x="1241307" y="447853"/>
                  </a:lnTo>
                  <a:lnTo>
                    <a:pt x="1240269" y="449626"/>
                  </a:lnTo>
                  <a:lnTo>
                    <a:pt x="1239161" y="450506"/>
                  </a:lnTo>
                  <a:lnTo>
                    <a:pt x="1237079" y="453056"/>
                  </a:lnTo>
                  <a:lnTo>
                    <a:pt x="1233637" y="460811"/>
                  </a:lnTo>
                  <a:lnTo>
                    <a:pt x="1230968" y="461811"/>
                  </a:lnTo>
                  <a:lnTo>
                    <a:pt x="1230385" y="467803"/>
                  </a:lnTo>
                  <a:lnTo>
                    <a:pt x="1236040" y="474316"/>
                  </a:lnTo>
                  <a:lnTo>
                    <a:pt x="1235274" y="479235"/>
                  </a:lnTo>
                  <a:lnTo>
                    <a:pt x="1234138" y="480856"/>
                  </a:lnTo>
                  <a:lnTo>
                    <a:pt x="1231111" y="483491"/>
                  </a:lnTo>
                  <a:lnTo>
                    <a:pt x="1231504" y="485593"/>
                  </a:lnTo>
                  <a:lnTo>
                    <a:pt x="1232255" y="487087"/>
                  </a:lnTo>
                  <a:lnTo>
                    <a:pt x="1241135" y="490170"/>
                  </a:lnTo>
                  <a:lnTo>
                    <a:pt x="1249468" y="492092"/>
                  </a:lnTo>
                  <a:lnTo>
                    <a:pt x="1263432" y="492762"/>
                  </a:lnTo>
                  <a:lnTo>
                    <a:pt x="1267568" y="495767"/>
                  </a:lnTo>
                  <a:lnTo>
                    <a:pt x="1269031" y="493613"/>
                  </a:lnTo>
                  <a:lnTo>
                    <a:pt x="1282176" y="494145"/>
                  </a:lnTo>
                  <a:lnTo>
                    <a:pt x="1292759" y="501491"/>
                  </a:lnTo>
                  <a:lnTo>
                    <a:pt x="1298339" y="503746"/>
                  </a:lnTo>
                  <a:lnTo>
                    <a:pt x="1302876" y="504496"/>
                  </a:lnTo>
                  <a:lnTo>
                    <a:pt x="1312084" y="503611"/>
                  </a:lnTo>
                  <a:lnTo>
                    <a:pt x="1313703" y="502949"/>
                  </a:lnTo>
                  <a:lnTo>
                    <a:pt x="1315217" y="500858"/>
                  </a:lnTo>
                  <a:lnTo>
                    <a:pt x="1310900" y="501053"/>
                  </a:lnTo>
                  <a:lnTo>
                    <a:pt x="1309017" y="502007"/>
                  </a:lnTo>
                  <a:lnTo>
                    <a:pt x="1307257" y="501909"/>
                  </a:lnTo>
                  <a:lnTo>
                    <a:pt x="1304245" y="501185"/>
                  </a:lnTo>
                  <a:lnTo>
                    <a:pt x="1302116" y="499913"/>
                  </a:lnTo>
                  <a:lnTo>
                    <a:pt x="1299796" y="497418"/>
                  </a:lnTo>
                  <a:lnTo>
                    <a:pt x="1295951" y="490154"/>
                  </a:lnTo>
                  <a:lnTo>
                    <a:pt x="1289224" y="487806"/>
                  </a:lnTo>
                  <a:lnTo>
                    <a:pt x="1284763" y="488761"/>
                  </a:lnTo>
                  <a:lnTo>
                    <a:pt x="1279775" y="488315"/>
                  </a:lnTo>
                  <a:lnTo>
                    <a:pt x="1271651" y="484334"/>
                  </a:lnTo>
                  <a:lnTo>
                    <a:pt x="1266289" y="482818"/>
                  </a:lnTo>
                  <a:lnTo>
                    <a:pt x="1256609" y="478495"/>
                  </a:lnTo>
                  <a:lnTo>
                    <a:pt x="1253927" y="476738"/>
                  </a:lnTo>
                  <a:lnTo>
                    <a:pt x="1251795" y="473160"/>
                  </a:lnTo>
                  <a:lnTo>
                    <a:pt x="1249316" y="467161"/>
                  </a:lnTo>
                  <a:lnTo>
                    <a:pt x="1247742" y="463811"/>
                  </a:lnTo>
                  <a:lnTo>
                    <a:pt x="1249768" y="463144"/>
                  </a:lnTo>
                  <a:lnTo>
                    <a:pt x="1256350" y="459870"/>
                  </a:lnTo>
                  <a:lnTo>
                    <a:pt x="1266294" y="458755"/>
                  </a:lnTo>
                  <a:lnTo>
                    <a:pt x="1270493" y="459944"/>
                  </a:lnTo>
                  <a:lnTo>
                    <a:pt x="1281316" y="466623"/>
                  </a:lnTo>
                  <a:lnTo>
                    <a:pt x="1286330" y="466856"/>
                  </a:lnTo>
                  <a:lnTo>
                    <a:pt x="1295383" y="463948"/>
                  </a:lnTo>
                  <a:lnTo>
                    <a:pt x="1296389" y="462085"/>
                  </a:lnTo>
                  <a:lnTo>
                    <a:pt x="1294363" y="458273"/>
                  </a:lnTo>
                  <a:lnTo>
                    <a:pt x="1291612" y="456316"/>
                  </a:lnTo>
                  <a:lnTo>
                    <a:pt x="1286400" y="455395"/>
                  </a:lnTo>
                  <a:lnTo>
                    <a:pt x="1280036" y="457155"/>
                  </a:lnTo>
                  <a:lnTo>
                    <a:pt x="1278222" y="455665"/>
                  </a:lnTo>
                  <a:lnTo>
                    <a:pt x="1278861" y="453647"/>
                  </a:lnTo>
                  <a:lnTo>
                    <a:pt x="1279565" y="452172"/>
                  </a:lnTo>
                  <a:lnTo>
                    <a:pt x="1282964" y="451787"/>
                  </a:lnTo>
                  <a:lnTo>
                    <a:pt x="1285350" y="450635"/>
                  </a:lnTo>
                  <a:lnTo>
                    <a:pt x="1290546" y="446503"/>
                  </a:lnTo>
                  <a:lnTo>
                    <a:pt x="1296233" y="444476"/>
                  </a:lnTo>
                  <a:lnTo>
                    <a:pt x="1301921" y="443747"/>
                  </a:lnTo>
                  <a:lnTo>
                    <a:pt x="1322695" y="444338"/>
                  </a:lnTo>
                  <a:lnTo>
                    <a:pt x="1334455" y="450890"/>
                  </a:lnTo>
                  <a:lnTo>
                    <a:pt x="1345955" y="453788"/>
                  </a:lnTo>
                  <a:lnTo>
                    <a:pt x="1350935" y="456057"/>
                  </a:lnTo>
                  <a:lnTo>
                    <a:pt x="1352334" y="456435"/>
                  </a:lnTo>
                  <a:lnTo>
                    <a:pt x="1353490" y="457876"/>
                  </a:lnTo>
                  <a:lnTo>
                    <a:pt x="1354403" y="461346"/>
                  </a:lnTo>
                  <a:lnTo>
                    <a:pt x="1368891" y="470565"/>
                  </a:lnTo>
                  <a:lnTo>
                    <a:pt x="1372216" y="471802"/>
                  </a:lnTo>
                  <a:lnTo>
                    <a:pt x="1381464" y="472177"/>
                  </a:lnTo>
                  <a:lnTo>
                    <a:pt x="1391799" y="470053"/>
                  </a:lnTo>
                  <a:lnTo>
                    <a:pt x="1396455" y="469827"/>
                  </a:lnTo>
                  <a:lnTo>
                    <a:pt x="1401504" y="470460"/>
                  </a:lnTo>
                  <a:lnTo>
                    <a:pt x="1404168" y="471616"/>
                  </a:lnTo>
                  <a:lnTo>
                    <a:pt x="1406975" y="473762"/>
                  </a:lnTo>
                  <a:lnTo>
                    <a:pt x="1405470" y="476463"/>
                  </a:lnTo>
                  <a:lnTo>
                    <a:pt x="1404147" y="478088"/>
                  </a:lnTo>
                  <a:lnTo>
                    <a:pt x="1401303" y="482623"/>
                  </a:lnTo>
                  <a:lnTo>
                    <a:pt x="1399996" y="483905"/>
                  </a:lnTo>
                  <a:lnTo>
                    <a:pt x="1390603" y="489075"/>
                  </a:lnTo>
                  <a:lnTo>
                    <a:pt x="1386837" y="490410"/>
                  </a:lnTo>
                  <a:lnTo>
                    <a:pt x="1385822" y="497161"/>
                  </a:lnTo>
                  <a:lnTo>
                    <a:pt x="1385321" y="498668"/>
                  </a:lnTo>
                  <a:lnTo>
                    <a:pt x="1384986" y="501032"/>
                  </a:lnTo>
                  <a:lnTo>
                    <a:pt x="1386686" y="505801"/>
                  </a:lnTo>
                  <a:lnTo>
                    <a:pt x="1387126" y="508702"/>
                  </a:lnTo>
                  <a:lnTo>
                    <a:pt x="1385684" y="512744"/>
                  </a:lnTo>
                  <a:lnTo>
                    <a:pt x="1383306" y="517098"/>
                  </a:lnTo>
                  <a:lnTo>
                    <a:pt x="1383732" y="520565"/>
                  </a:lnTo>
                  <a:lnTo>
                    <a:pt x="1384589" y="525186"/>
                  </a:lnTo>
                  <a:lnTo>
                    <a:pt x="1384913" y="523807"/>
                  </a:lnTo>
                  <a:lnTo>
                    <a:pt x="1384816" y="521706"/>
                  </a:lnTo>
                  <a:lnTo>
                    <a:pt x="1385412" y="519280"/>
                  </a:lnTo>
                  <a:lnTo>
                    <a:pt x="1389685" y="513413"/>
                  </a:lnTo>
                  <a:lnTo>
                    <a:pt x="1392799" y="505378"/>
                  </a:lnTo>
                  <a:lnTo>
                    <a:pt x="1396012" y="503276"/>
                  </a:lnTo>
                  <a:lnTo>
                    <a:pt x="1398917" y="502762"/>
                  </a:lnTo>
                  <a:lnTo>
                    <a:pt x="1402035" y="505158"/>
                  </a:lnTo>
                  <a:lnTo>
                    <a:pt x="1402940" y="508385"/>
                  </a:lnTo>
                  <a:lnTo>
                    <a:pt x="1403101" y="513227"/>
                  </a:lnTo>
                  <a:lnTo>
                    <a:pt x="1402478" y="517803"/>
                  </a:lnTo>
                  <a:lnTo>
                    <a:pt x="1400037" y="524719"/>
                  </a:lnTo>
                  <a:lnTo>
                    <a:pt x="1396116" y="529536"/>
                  </a:lnTo>
                  <a:lnTo>
                    <a:pt x="1394786" y="532269"/>
                  </a:lnTo>
                  <a:lnTo>
                    <a:pt x="1396664" y="534797"/>
                  </a:lnTo>
                  <a:lnTo>
                    <a:pt x="1398638" y="536760"/>
                  </a:lnTo>
                  <a:lnTo>
                    <a:pt x="1400949" y="537404"/>
                  </a:lnTo>
                  <a:lnTo>
                    <a:pt x="1403596" y="537216"/>
                  </a:lnTo>
                  <a:lnTo>
                    <a:pt x="1404233" y="536560"/>
                  </a:lnTo>
                  <a:lnTo>
                    <a:pt x="1404730" y="534672"/>
                  </a:lnTo>
                  <a:lnTo>
                    <a:pt x="1403892" y="532135"/>
                  </a:lnTo>
                  <a:lnTo>
                    <a:pt x="1403443" y="529925"/>
                  </a:lnTo>
                  <a:lnTo>
                    <a:pt x="1408299" y="528149"/>
                  </a:lnTo>
                  <a:lnTo>
                    <a:pt x="1412801" y="527196"/>
                  </a:lnTo>
                  <a:lnTo>
                    <a:pt x="1416401" y="524283"/>
                  </a:lnTo>
                  <a:lnTo>
                    <a:pt x="1417299" y="522365"/>
                  </a:lnTo>
                  <a:lnTo>
                    <a:pt x="1418083" y="519165"/>
                  </a:lnTo>
                  <a:lnTo>
                    <a:pt x="1416211" y="514129"/>
                  </a:lnTo>
                  <a:lnTo>
                    <a:pt x="1414611" y="510368"/>
                  </a:lnTo>
                  <a:lnTo>
                    <a:pt x="1409193" y="501402"/>
                  </a:lnTo>
                  <a:lnTo>
                    <a:pt x="1405155" y="496750"/>
                  </a:lnTo>
                  <a:lnTo>
                    <a:pt x="1407692" y="489765"/>
                  </a:lnTo>
                  <a:lnTo>
                    <a:pt x="1411929" y="481964"/>
                  </a:lnTo>
                  <a:lnTo>
                    <a:pt x="1413553" y="480057"/>
                  </a:lnTo>
                  <a:lnTo>
                    <a:pt x="1413983" y="478856"/>
                  </a:lnTo>
                  <a:lnTo>
                    <a:pt x="1414443" y="476782"/>
                  </a:lnTo>
                  <a:lnTo>
                    <a:pt x="1414049" y="474514"/>
                  </a:lnTo>
                  <a:lnTo>
                    <a:pt x="1413626" y="473116"/>
                  </a:lnTo>
                  <a:lnTo>
                    <a:pt x="1409338" y="467221"/>
                  </a:lnTo>
                  <a:lnTo>
                    <a:pt x="1406239" y="465281"/>
                  </a:lnTo>
                  <a:lnTo>
                    <a:pt x="1396395" y="464123"/>
                  </a:lnTo>
                  <a:lnTo>
                    <a:pt x="1393970" y="463200"/>
                  </a:lnTo>
                  <a:lnTo>
                    <a:pt x="1386755" y="457151"/>
                  </a:lnTo>
                  <a:lnTo>
                    <a:pt x="1385904" y="455774"/>
                  </a:lnTo>
                  <a:lnTo>
                    <a:pt x="1384326" y="451383"/>
                  </a:lnTo>
                  <a:lnTo>
                    <a:pt x="1383758" y="450289"/>
                  </a:lnTo>
                  <a:lnTo>
                    <a:pt x="1381769" y="449132"/>
                  </a:lnTo>
                  <a:lnTo>
                    <a:pt x="1375118" y="446590"/>
                  </a:lnTo>
                  <a:lnTo>
                    <a:pt x="1370549" y="445547"/>
                  </a:lnTo>
                  <a:lnTo>
                    <a:pt x="1363837" y="445250"/>
                  </a:lnTo>
                  <a:lnTo>
                    <a:pt x="1359756" y="443964"/>
                  </a:lnTo>
                  <a:lnTo>
                    <a:pt x="1353762" y="439858"/>
                  </a:lnTo>
                  <a:lnTo>
                    <a:pt x="1353114" y="438536"/>
                  </a:lnTo>
                  <a:lnTo>
                    <a:pt x="1351386" y="433188"/>
                  </a:lnTo>
                  <a:lnTo>
                    <a:pt x="1349985" y="430502"/>
                  </a:lnTo>
                  <a:lnTo>
                    <a:pt x="1350408" y="428523"/>
                  </a:lnTo>
                  <a:lnTo>
                    <a:pt x="1352583" y="424253"/>
                  </a:lnTo>
                  <a:lnTo>
                    <a:pt x="1354083" y="420532"/>
                  </a:lnTo>
                  <a:lnTo>
                    <a:pt x="1352222" y="417322"/>
                  </a:lnTo>
                  <a:lnTo>
                    <a:pt x="1349596" y="416312"/>
                  </a:lnTo>
                  <a:lnTo>
                    <a:pt x="1346744" y="414752"/>
                  </a:lnTo>
                  <a:lnTo>
                    <a:pt x="1345545" y="411826"/>
                  </a:lnTo>
                  <a:lnTo>
                    <a:pt x="1344861" y="408608"/>
                  </a:lnTo>
                  <a:lnTo>
                    <a:pt x="1344738" y="406125"/>
                  </a:lnTo>
                  <a:lnTo>
                    <a:pt x="1344275" y="403269"/>
                  </a:lnTo>
                  <a:lnTo>
                    <a:pt x="1345608" y="400847"/>
                  </a:lnTo>
                  <a:lnTo>
                    <a:pt x="1348651" y="398276"/>
                  </a:lnTo>
                  <a:lnTo>
                    <a:pt x="1347899" y="396528"/>
                  </a:lnTo>
                  <a:lnTo>
                    <a:pt x="1348370" y="394243"/>
                  </a:lnTo>
                  <a:lnTo>
                    <a:pt x="1367953" y="391164"/>
                  </a:lnTo>
                  <a:lnTo>
                    <a:pt x="1375651" y="390375"/>
                  </a:lnTo>
                  <a:lnTo>
                    <a:pt x="1413855" y="390047"/>
                  </a:lnTo>
                  <a:lnTo>
                    <a:pt x="1416559" y="389190"/>
                  </a:lnTo>
                  <a:lnTo>
                    <a:pt x="1433151" y="387666"/>
                  </a:lnTo>
                  <a:lnTo>
                    <a:pt x="1440239" y="385914"/>
                  </a:lnTo>
                  <a:lnTo>
                    <a:pt x="1447747" y="387773"/>
                  </a:lnTo>
                  <a:lnTo>
                    <a:pt x="1450470" y="387687"/>
                  </a:lnTo>
                  <a:lnTo>
                    <a:pt x="1455948" y="387126"/>
                  </a:lnTo>
                  <a:lnTo>
                    <a:pt x="1459554" y="383390"/>
                  </a:lnTo>
                  <a:lnTo>
                    <a:pt x="1467689" y="381869"/>
                  </a:lnTo>
                  <a:lnTo>
                    <a:pt x="1481224" y="380260"/>
                  </a:lnTo>
                  <a:lnTo>
                    <a:pt x="1487892" y="380570"/>
                  </a:lnTo>
                  <a:lnTo>
                    <a:pt x="1489403" y="381705"/>
                  </a:lnTo>
                  <a:lnTo>
                    <a:pt x="1490911" y="383278"/>
                  </a:lnTo>
                  <a:lnTo>
                    <a:pt x="1483573" y="387888"/>
                  </a:lnTo>
                  <a:lnTo>
                    <a:pt x="1476238" y="392048"/>
                  </a:lnTo>
                  <a:lnTo>
                    <a:pt x="1470228" y="393821"/>
                  </a:lnTo>
                  <a:lnTo>
                    <a:pt x="1464322" y="397476"/>
                  </a:lnTo>
                  <a:lnTo>
                    <a:pt x="1463735" y="398919"/>
                  </a:lnTo>
                  <a:lnTo>
                    <a:pt x="1463560" y="399798"/>
                  </a:lnTo>
                  <a:lnTo>
                    <a:pt x="1463778" y="402637"/>
                  </a:lnTo>
                  <a:lnTo>
                    <a:pt x="1464125" y="404539"/>
                  </a:lnTo>
                  <a:lnTo>
                    <a:pt x="1470317" y="406849"/>
                  </a:lnTo>
                  <a:lnTo>
                    <a:pt x="1474955" y="410109"/>
                  </a:lnTo>
                  <a:lnTo>
                    <a:pt x="1479520" y="412451"/>
                  </a:lnTo>
                  <a:lnTo>
                    <a:pt x="1483117" y="413876"/>
                  </a:lnTo>
                  <a:lnTo>
                    <a:pt x="1483958" y="413071"/>
                  </a:lnTo>
                  <a:lnTo>
                    <a:pt x="1470837" y="405399"/>
                  </a:lnTo>
                  <a:lnTo>
                    <a:pt x="1467501" y="403684"/>
                  </a:lnTo>
                  <a:lnTo>
                    <a:pt x="1466158" y="401839"/>
                  </a:lnTo>
                  <a:lnTo>
                    <a:pt x="1466797" y="399024"/>
                  </a:lnTo>
                  <a:lnTo>
                    <a:pt x="1468123" y="397772"/>
                  </a:lnTo>
                  <a:lnTo>
                    <a:pt x="1470189" y="396350"/>
                  </a:lnTo>
                  <a:lnTo>
                    <a:pt x="1471576" y="395687"/>
                  </a:lnTo>
                  <a:lnTo>
                    <a:pt x="1476467" y="394226"/>
                  </a:lnTo>
                  <a:lnTo>
                    <a:pt x="1492915" y="392251"/>
                  </a:lnTo>
                  <a:lnTo>
                    <a:pt x="1496769" y="388410"/>
                  </a:lnTo>
                  <a:lnTo>
                    <a:pt x="1498430" y="386212"/>
                  </a:lnTo>
                  <a:lnTo>
                    <a:pt x="1502889" y="383855"/>
                  </a:lnTo>
                  <a:lnTo>
                    <a:pt x="1501386" y="382921"/>
                  </a:lnTo>
                  <a:lnTo>
                    <a:pt x="1497721" y="382337"/>
                  </a:lnTo>
                  <a:lnTo>
                    <a:pt x="1494895" y="380933"/>
                  </a:lnTo>
                  <a:lnTo>
                    <a:pt x="1483560" y="367247"/>
                  </a:lnTo>
                  <a:lnTo>
                    <a:pt x="1480774" y="365144"/>
                  </a:lnTo>
                  <a:lnTo>
                    <a:pt x="1472079" y="363596"/>
                  </a:lnTo>
                  <a:lnTo>
                    <a:pt x="1468177" y="362003"/>
                  </a:lnTo>
                  <a:lnTo>
                    <a:pt x="1472191" y="357341"/>
                  </a:lnTo>
                  <a:lnTo>
                    <a:pt x="1476899" y="356160"/>
                  </a:lnTo>
                  <a:lnTo>
                    <a:pt x="1480053" y="356416"/>
                  </a:lnTo>
                  <a:lnTo>
                    <a:pt x="1482846" y="357724"/>
                  </a:lnTo>
                  <a:lnTo>
                    <a:pt x="1488002" y="361597"/>
                  </a:lnTo>
                  <a:lnTo>
                    <a:pt x="1495337" y="359920"/>
                  </a:lnTo>
                  <a:lnTo>
                    <a:pt x="1492606" y="358190"/>
                  </a:lnTo>
                  <a:lnTo>
                    <a:pt x="1487920" y="356177"/>
                  </a:lnTo>
                  <a:lnTo>
                    <a:pt x="1483627" y="352999"/>
                  </a:lnTo>
                  <a:lnTo>
                    <a:pt x="1477559" y="350241"/>
                  </a:lnTo>
                  <a:lnTo>
                    <a:pt x="1470714" y="348355"/>
                  </a:lnTo>
                  <a:lnTo>
                    <a:pt x="1463525" y="347629"/>
                  </a:lnTo>
                  <a:lnTo>
                    <a:pt x="1465510" y="343453"/>
                  </a:lnTo>
                  <a:lnTo>
                    <a:pt x="1469448" y="343981"/>
                  </a:lnTo>
                  <a:lnTo>
                    <a:pt x="1470790" y="342698"/>
                  </a:lnTo>
                  <a:lnTo>
                    <a:pt x="1472597" y="340111"/>
                  </a:lnTo>
                  <a:lnTo>
                    <a:pt x="1482552" y="345993"/>
                  </a:lnTo>
                  <a:lnTo>
                    <a:pt x="1487227" y="344436"/>
                  </a:lnTo>
                  <a:lnTo>
                    <a:pt x="1491183" y="341755"/>
                  </a:lnTo>
                  <a:lnTo>
                    <a:pt x="1499531" y="334612"/>
                  </a:lnTo>
                  <a:lnTo>
                    <a:pt x="1500598" y="331416"/>
                  </a:lnTo>
                  <a:lnTo>
                    <a:pt x="1496614" y="329677"/>
                  </a:lnTo>
                  <a:lnTo>
                    <a:pt x="1493370" y="328803"/>
                  </a:lnTo>
                  <a:lnTo>
                    <a:pt x="1488911" y="328987"/>
                  </a:lnTo>
                  <a:lnTo>
                    <a:pt x="1488527" y="327006"/>
                  </a:lnTo>
                  <a:lnTo>
                    <a:pt x="1490390" y="324476"/>
                  </a:lnTo>
                  <a:lnTo>
                    <a:pt x="1494036" y="323502"/>
                  </a:lnTo>
                  <a:lnTo>
                    <a:pt x="1505104" y="326261"/>
                  </a:lnTo>
                  <a:lnTo>
                    <a:pt x="1523509" y="319110"/>
                  </a:lnTo>
                  <a:lnTo>
                    <a:pt x="1528581" y="315601"/>
                  </a:lnTo>
                  <a:lnTo>
                    <a:pt x="1541343" y="311092"/>
                  </a:lnTo>
                  <a:lnTo>
                    <a:pt x="1547642" y="311622"/>
                  </a:lnTo>
                  <a:lnTo>
                    <a:pt x="1560685" y="305673"/>
                  </a:lnTo>
                  <a:lnTo>
                    <a:pt x="1578811" y="303047"/>
                  </a:lnTo>
                  <a:lnTo>
                    <a:pt x="1589309" y="303042"/>
                  </a:lnTo>
                  <a:lnTo>
                    <a:pt x="1597401" y="299713"/>
                  </a:lnTo>
                  <a:lnTo>
                    <a:pt x="1609830" y="298544"/>
                  </a:lnTo>
                  <a:lnTo>
                    <a:pt x="1614143" y="297217"/>
                  </a:lnTo>
                  <a:lnTo>
                    <a:pt x="1635089" y="293833"/>
                  </a:lnTo>
                  <a:lnTo>
                    <a:pt x="1646706" y="291176"/>
                  </a:lnTo>
                  <a:lnTo>
                    <a:pt x="1648501" y="289079"/>
                  </a:lnTo>
                  <a:lnTo>
                    <a:pt x="1638123" y="290783"/>
                  </a:lnTo>
                  <a:lnTo>
                    <a:pt x="1635624" y="289212"/>
                  </a:lnTo>
                  <a:lnTo>
                    <a:pt x="1633445" y="290273"/>
                  </a:lnTo>
                  <a:lnTo>
                    <a:pt x="1631910" y="291702"/>
                  </a:lnTo>
                  <a:lnTo>
                    <a:pt x="1626870" y="289090"/>
                  </a:lnTo>
                  <a:lnTo>
                    <a:pt x="1625503" y="289740"/>
                  </a:lnTo>
                  <a:lnTo>
                    <a:pt x="1624449" y="291178"/>
                  </a:lnTo>
                  <a:lnTo>
                    <a:pt x="1622635" y="291637"/>
                  </a:lnTo>
                  <a:lnTo>
                    <a:pt x="1620508" y="291309"/>
                  </a:lnTo>
                  <a:lnTo>
                    <a:pt x="1619804" y="288161"/>
                  </a:lnTo>
                  <a:lnTo>
                    <a:pt x="1622303" y="283825"/>
                  </a:lnTo>
                  <a:lnTo>
                    <a:pt x="1625250" y="286061"/>
                  </a:lnTo>
                  <a:lnTo>
                    <a:pt x="1628664" y="282750"/>
                  </a:lnTo>
                  <a:lnTo>
                    <a:pt x="1630882" y="282661"/>
                  </a:lnTo>
                  <a:lnTo>
                    <a:pt x="1637270" y="284776"/>
                  </a:lnTo>
                  <a:lnTo>
                    <a:pt x="1641569" y="282634"/>
                  </a:lnTo>
                  <a:lnTo>
                    <a:pt x="1647306" y="281622"/>
                  </a:lnTo>
                  <a:lnTo>
                    <a:pt x="1653629" y="282568"/>
                  </a:lnTo>
                  <a:lnTo>
                    <a:pt x="1656249" y="282332"/>
                  </a:lnTo>
                  <a:lnTo>
                    <a:pt x="1657771" y="280341"/>
                  </a:lnTo>
                  <a:lnTo>
                    <a:pt x="1668006" y="282079"/>
                  </a:lnTo>
                  <a:lnTo>
                    <a:pt x="1675100" y="280894"/>
                  </a:lnTo>
                  <a:lnTo>
                    <a:pt x="1679952" y="280998"/>
                  </a:lnTo>
                  <a:lnTo>
                    <a:pt x="1687497" y="282097"/>
                  </a:lnTo>
                  <a:lnTo>
                    <a:pt x="1690936" y="283512"/>
                  </a:lnTo>
                  <a:lnTo>
                    <a:pt x="1688959" y="286794"/>
                  </a:lnTo>
                  <a:lnTo>
                    <a:pt x="1681602" y="292112"/>
                  </a:lnTo>
                  <a:lnTo>
                    <a:pt x="1683603" y="293010"/>
                  </a:lnTo>
                  <a:lnTo>
                    <a:pt x="1687825" y="290582"/>
                  </a:lnTo>
                  <a:lnTo>
                    <a:pt x="1700513" y="286980"/>
                  </a:lnTo>
                  <a:lnTo>
                    <a:pt x="1702548" y="287690"/>
                  </a:lnTo>
                  <a:lnTo>
                    <a:pt x="1701157" y="290781"/>
                  </a:lnTo>
                  <a:lnTo>
                    <a:pt x="1700259" y="292156"/>
                  </a:lnTo>
                  <a:lnTo>
                    <a:pt x="1708709" y="290355"/>
                  </a:lnTo>
                  <a:lnTo>
                    <a:pt x="1715923" y="286384"/>
                  </a:lnTo>
                  <a:lnTo>
                    <a:pt x="1719134" y="285718"/>
                  </a:lnTo>
                  <a:lnTo>
                    <a:pt x="1722419" y="288128"/>
                  </a:lnTo>
                  <a:lnTo>
                    <a:pt x="1725481" y="285915"/>
                  </a:lnTo>
                  <a:lnTo>
                    <a:pt x="1726191" y="283692"/>
                  </a:lnTo>
                  <a:lnTo>
                    <a:pt x="1731687" y="283209"/>
                  </a:lnTo>
                  <a:lnTo>
                    <a:pt x="1733935" y="281163"/>
                  </a:lnTo>
                  <a:lnTo>
                    <a:pt x="1737796" y="279674"/>
                  </a:lnTo>
                  <a:lnTo>
                    <a:pt x="1741054" y="279029"/>
                  </a:lnTo>
                  <a:lnTo>
                    <a:pt x="1748131" y="276199"/>
                  </a:lnTo>
                  <a:lnTo>
                    <a:pt x="1750547" y="277050"/>
                  </a:lnTo>
                  <a:lnTo>
                    <a:pt x="1755265" y="277800"/>
                  </a:lnTo>
                  <a:lnTo>
                    <a:pt x="1759745" y="279163"/>
                  </a:lnTo>
                  <a:lnTo>
                    <a:pt x="1768046" y="282270"/>
                  </a:lnTo>
                  <a:lnTo>
                    <a:pt x="1769217" y="283497"/>
                  </a:lnTo>
                  <a:lnTo>
                    <a:pt x="1770268" y="283692"/>
                  </a:lnTo>
                  <a:lnTo>
                    <a:pt x="1772639" y="285928"/>
                  </a:lnTo>
                  <a:lnTo>
                    <a:pt x="1770845" y="289210"/>
                  </a:lnTo>
                  <a:lnTo>
                    <a:pt x="1768923" y="293926"/>
                  </a:lnTo>
                  <a:lnTo>
                    <a:pt x="1765381" y="296131"/>
                  </a:lnTo>
                  <a:lnTo>
                    <a:pt x="1767560" y="296339"/>
                  </a:lnTo>
                  <a:lnTo>
                    <a:pt x="1769079" y="295766"/>
                  </a:lnTo>
                  <a:lnTo>
                    <a:pt x="1771912" y="292633"/>
                  </a:lnTo>
                  <a:lnTo>
                    <a:pt x="1774430" y="290390"/>
                  </a:lnTo>
                  <a:lnTo>
                    <a:pt x="1773855" y="281060"/>
                  </a:lnTo>
                  <a:lnTo>
                    <a:pt x="1769242" y="276313"/>
                  </a:lnTo>
                  <a:lnTo>
                    <a:pt x="1765790" y="274720"/>
                  </a:lnTo>
                  <a:lnTo>
                    <a:pt x="1757679" y="269729"/>
                  </a:lnTo>
                  <a:lnTo>
                    <a:pt x="1754930" y="267600"/>
                  </a:lnTo>
                  <a:lnTo>
                    <a:pt x="1751307" y="265314"/>
                  </a:lnTo>
                  <a:lnTo>
                    <a:pt x="1752717" y="263988"/>
                  </a:lnTo>
                  <a:lnTo>
                    <a:pt x="1768346" y="265737"/>
                  </a:lnTo>
                  <a:lnTo>
                    <a:pt x="1776295" y="264891"/>
                  </a:lnTo>
                  <a:lnTo>
                    <a:pt x="1784845" y="265384"/>
                  </a:lnTo>
                  <a:lnTo>
                    <a:pt x="1796373" y="263270"/>
                  </a:lnTo>
                  <a:lnTo>
                    <a:pt x="1801171" y="265471"/>
                  </a:lnTo>
                  <a:lnTo>
                    <a:pt x="1806700" y="265395"/>
                  </a:lnTo>
                  <a:lnTo>
                    <a:pt x="1813046" y="267215"/>
                  </a:lnTo>
                  <a:lnTo>
                    <a:pt x="1814948" y="265093"/>
                  </a:lnTo>
                  <a:lnTo>
                    <a:pt x="1804538" y="262788"/>
                  </a:lnTo>
                  <a:lnTo>
                    <a:pt x="1799886" y="263026"/>
                  </a:lnTo>
                  <a:lnTo>
                    <a:pt x="1798237" y="261821"/>
                  </a:lnTo>
                  <a:lnTo>
                    <a:pt x="1799966" y="259137"/>
                  </a:lnTo>
                  <a:lnTo>
                    <a:pt x="1802024" y="255039"/>
                  </a:lnTo>
                  <a:lnTo>
                    <a:pt x="1800010" y="251467"/>
                  </a:lnTo>
                  <a:lnTo>
                    <a:pt x="1798069" y="249563"/>
                  </a:lnTo>
                  <a:lnTo>
                    <a:pt x="1797747" y="245942"/>
                  </a:lnTo>
                  <a:lnTo>
                    <a:pt x="1799606" y="241773"/>
                  </a:lnTo>
                  <a:lnTo>
                    <a:pt x="1803936" y="240002"/>
                  </a:lnTo>
                  <a:lnTo>
                    <a:pt x="1806304" y="236602"/>
                  </a:lnTo>
                  <a:lnTo>
                    <a:pt x="1811275" y="232097"/>
                  </a:lnTo>
                  <a:lnTo>
                    <a:pt x="1835432" y="217531"/>
                  </a:lnTo>
                  <a:lnTo>
                    <a:pt x="1846959" y="211967"/>
                  </a:lnTo>
                  <a:lnTo>
                    <a:pt x="1851377" y="211277"/>
                  </a:lnTo>
                  <a:lnTo>
                    <a:pt x="1856452" y="211708"/>
                  </a:lnTo>
                  <a:lnTo>
                    <a:pt x="1866486" y="207047"/>
                  </a:lnTo>
                  <a:close/>
                  <a:moveTo>
                    <a:pt x="1943740" y="185164"/>
                  </a:moveTo>
                  <a:lnTo>
                    <a:pt x="1945177" y="185349"/>
                  </a:lnTo>
                  <a:lnTo>
                    <a:pt x="1947880" y="187968"/>
                  </a:lnTo>
                  <a:lnTo>
                    <a:pt x="1945906" y="190282"/>
                  </a:lnTo>
                  <a:lnTo>
                    <a:pt x="1943151" y="191468"/>
                  </a:lnTo>
                  <a:lnTo>
                    <a:pt x="1940104" y="189516"/>
                  </a:lnTo>
                  <a:lnTo>
                    <a:pt x="1932538" y="189656"/>
                  </a:lnTo>
                  <a:lnTo>
                    <a:pt x="1919577" y="187540"/>
                  </a:lnTo>
                  <a:lnTo>
                    <a:pt x="1923287" y="186211"/>
                  </a:lnTo>
                  <a:close/>
                  <a:moveTo>
                    <a:pt x="1920491" y="177923"/>
                  </a:moveTo>
                  <a:lnTo>
                    <a:pt x="1924550" y="178107"/>
                  </a:lnTo>
                  <a:lnTo>
                    <a:pt x="1925672" y="179050"/>
                  </a:lnTo>
                  <a:lnTo>
                    <a:pt x="1926301" y="180130"/>
                  </a:lnTo>
                  <a:lnTo>
                    <a:pt x="1926286" y="181535"/>
                  </a:lnTo>
                  <a:lnTo>
                    <a:pt x="1925405" y="181535"/>
                  </a:lnTo>
                  <a:lnTo>
                    <a:pt x="1921549" y="181694"/>
                  </a:lnTo>
                  <a:lnTo>
                    <a:pt x="1920836" y="182494"/>
                  </a:lnTo>
                  <a:lnTo>
                    <a:pt x="1916368" y="184358"/>
                  </a:lnTo>
                  <a:lnTo>
                    <a:pt x="1913730" y="184721"/>
                  </a:lnTo>
                  <a:lnTo>
                    <a:pt x="1910911" y="183690"/>
                  </a:lnTo>
                  <a:lnTo>
                    <a:pt x="1911680" y="181551"/>
                  </a:lnTo>
                  <a:lnTo>
                    <a:pt x="1918141" y="181169"/>
                  </a:lnTo>
                  <a:close/>
                  <a:moveTo>
                    <a:pt x="1830893" y="124475"/>
                  </a:moveTo>
                  <a:lnTo>
                    <a:pt x="1839406" y="126512"/>
                  </a:lnTo>
                  <a:lnTo>
                    <a:pt x="1844972" y="129514"/>
                  </a:lnTo>
                  <a:lnTo>
                    <a:pt x="1846218" y="131118"/>
                  </a:lnTo>
                  <a:lnTo>
                    <a:pt x="1845212" y="131939"/>
                  </a:lnTo>
                  <a:lnTo>
                    <a:pt x="1842718" y="132499"/>
                  </a:lnTo>
                  <a:lnTo>
                    <a:pt x="1841504" y="133350"/>
                  </a:lnTo>
                  <a:lnTo>
                    <a:pt x="1839349" y="137176"/>
                  </a:lnTo>
                  <a:lnTo>
                    <a:pt x="1838431" y="140640"/>
                  </a:lnTo>
                  <a:lnTo>
                    <a:pt x="1831843" y="151887"/>
                  </a:lnTo>
                  <a:lnTo>
                    <a:pt x="1831057" y="153900"/>
                  </a:lnTo>
                  <a:lnTo>
                    <a:pt x="1834927" y="152150"/>
                  </a:lnTo>
                  <a:lnTo>
                    <a:pt x="1838472" y="148321"/>
                  </a:lnTo>
                  <a:lnTo>
                    <a:pt x="1840621" y="145144"/>
                  </a:lnTo>
                  <a:lnTo>
                    <a:pt x="1842956" y="143112"/>
                  </a:lnTo>
                  <a:lnTo>
                    <a:pt x="1845726" y="143076"/>
                  </a:lnTo>
                  <a:lnTo>
                    <a:pt x="1848455" y="142349"/>
                  </a:lnTo>
                  <a:lnTo>
                    <a:pt x="1853636" y="139653"/>
                  </a:lnTo>
                  <a:lnTo>
                    <a:pt x="1858931" y="138477"/>
                  </a:lnTo>
                  <a:lnTo>
                    <a:pt x="1861759" y="138513"/>
                  </a:lnTo>
                  <a:lnTo>
                    <a:pt x="1864521" y="139794"/>
                  </a:lnTo>
                  <a:lnTo>
                    <a:pt x="1866253" y="142779"/>
                  </a:lnTo>
                  <a:lnTo>
                    <a:pt x="1868179" y="145202"/>
                  </a:lnTo>
                  <a:lnTo>
                    <a:pt x="1875102" y="146972"/>
                  </a:lnTo>
                  <a:lnTo>
                    <a:pt x="1876098" y="147618"/>
                  </a:lnTo>
                  <a:lnTo>
                    <a:pt x="1876711" y="149604"/>
                  </a:lnTo>
                  <a:lnTo>
                    <a:pt x="1876160" y="151723"/>
                  </a:lnTo>
                  <a:lnTo>
                    <a:pt x="1880166" y="153914"/>
                  </a:lnTo>
                  <a:lnTo>
                    <a:pt x="1885646" y="152952"/>
                  </a:lnTo>
                  <a:lnTo>
                    <a:pt x="1888600" y="153517"/>
                  </a:lnTo>
                  <a:lnTo>
                    <a:pt x="1891505" y="154711"/>
                  </a:lnTo>
                  <a:lnTo>
                    <a:pt x="1892801" y="156609"/>
                  </a:lnTo>
                  <a:lnTo>
                    <a:pt x="1893939" y="158894"/>
                  </a:lnTo>
                  <a:lnTo>
                    <a:pt x="1895135" y="162146"/>
                  </a:lnTo>
                  <a:lnTo>
                    <a:pt x="1895854" y="165652"/>
                  </a:lnTo>
                  <a:lnTo>
                    <a:pt x="1895189" y="170207"/>
                  </a:lnTo>
                  <a:lnTo>
                    <a:pt x="1884576" y="177312"/>
                  </a:lnTo>
                  <a:lnTo>
                    <a:pt x="1882567" y="177938"/>
                  </a:lnTo>
                  <a:lnTo>
                    <a:pt x="1877651" y="177481"/>
                  </a:lnTo>
                  <a:lnTo>
                    <a:pt x="1872742" y="178163"/>
                  </a:lnTo>
                  <a:lnTo>
                    <a:pt x="1859959" y="181858"/>
                  </a:lnTo>
                  <a:lnTo>
                    <a:pt x="1844122" y="181974"/>
                  </a:lnTo>
                  <a:lnTo>
                    <a:pt x="1839557" y="185237"/>
                  </a:lnTo>
                  <a:lnTo>
                    <a:pt x="1838179" y="185141"/>
                  </a:lnTo>
                  <a:lnTo>
                    <a:pt x="1836825" y="184574"/>
                  </a:lnTo>
                  <a:lnTo>
                    <a:pt x="1835587" y="183475"/>
                  </a:lnTo>
                  <a:lnTo>
                    <a:pt x="1825930" y="184400"/>
                  </a:lnTo>
                  <a:lnTo>
                    <a:pt x="1815138" y="184928"/>
                  </a:lnTo>
                  <a:lnTo>
                    <a:pt x="1804341" y="185043"/>
                  </a:lnTo>
                  <a:lnTo>
                    <a:pt x="1800711" y="187391"/>
                  </a:lnTo>
                  <a:lnTo>
                    <a:pt x="1789683" y="191958"/>
                  </a:lnTo>
                  <a:lnTo>
                    <a:pt x="1779534" y="195420"/>
                  </a:lnTo>
                  <a:lnTo>
                    <a:pt x="1774289" y="196286"/>
                  </a:lnTo>
                  <a:lnTo>
                    <a:pt x="1766667" y="195369"/>
                  </a:lnTo>
                  <a:lnTo>
                    <a:pt x="1764265" y="194194"/>
                  </a:lnTo>
                  <a:lnTo>
                    <a:pt x="1761952" y="192408"/>
                  </a:lnTo>
                  <a:lnTo>
                    <a:pt x="1765304" y="190216"/>
                  </a:lnTo>
                  <a:lnTo>
                    <a:pt x="1767668" y="185684"/>
                  </a:lnTo>
                  <a:lnTo>
                    <a:pt x="1770594" y="183048"/>
                  </a:lnTo>
                  <a:lnTo>
                    <a:pt x="1778135" y="177978"/>
                  </a:lnTo>
                  <a:lnTo>
                    <a:pt x="1778988" y="175980"/>
                  </a:lnTo>
                  <a:lnTo>
                    <a:pt x="1780448" y="171631"/>
                  </a:lnTo>
                  <a:lnTo>
                    <a:pt x="1781320" y="170011"/>
                  </a:lnTo>
                  <a:lnTo>
                    <a:pt x="1782471" y="168470"/>
                  </a:lnTo>
                  <a:lnTo>
                    <a:pt x="1783404" y="166627"/>
                  </a:lnTo>
                  <a:lnTo>
                    <a:pt x="1783525" y="163830"/>
                  </a:lnTo>
                  <a:lnTo>
                    <a:pt x="1783996" y="161512"/>
                  </a:lnTo>
                  <a:lnTo>
                    <a:pt x="1786924" y="157912"/>
                  </a:lnTo>
                  <a:lnTo>
                    <a:pt x="1789118" y="156225"/>
                  </a:lnTo>
                  <a:lnTo>
                    <a:pt x="1791417" y="155757"/>
                  </a:lnTo>
                  <a:lnTo>
                    <a:pt x="1797077" y="156430"/>
                  </a:lnTo>
                  <a:lnTo>
                    <a:pt x="1798850" y="156192"/>
                  </a:lnTo>
                  <a:lnTo>
                    <a:pt x="1797572" y="155023"/>
                  </a:lnTo>
                  <a:lnTo>
                    <a:pt x="1796649" y="150856"/>
                  </a:lnTo>
                  <a:lnTo>
                    <a:pt x="1796833" y="149483"/>
                  </a:lnTo>
                  <a:lnTo>
                    <a:pt x="1797647" y="146825"/>
                  </a:lnTo>
                  <a:lnTo>
                    <a:pt x="1799064" y="145528"/>
                  </a:lnTo>
                  <a:lnTo>
                    <a:pt x="1800510" y="144706"/>
                  </a:lnTo>
                  <a:lnTo>
                    <a:pt x="1801335" y="141123"/>
                  </a:lnTo>
                  <a:lnTo>
                    <a:pt x="1800983" y="139794"/>
                  </a:lnTo>
                  <a:lnTo>
                    <a:pt x="1803119" y="138138"/>
                  </a:lnTo>
                  <a:lnTo>
                    <a:pt x="1804164" y="135794"/>
                  </a:lnTo>
                  <a:lnTo>
                    <a:pt x="1806693" y="134404"/>
                  </a:lnTo>
                  <a:lnTo>
                    <a:pt x="1811837" y="133326"/>
                  </a:lnTo>
                  <a:lnTo>
                    <a:pt x="1812106" y="130449"/>
                  </a:lnTo>
                  <a:lnTo>
                    <a:pt x="1812888" y="128578"/>
                  </a:lnTo>
                  <a:lnTo>
                    <a:pt x="1814054" y="128037"/>
                  </a:lnTo>
                  <a:lnTo>
                    <a:pt x="1816663" y="127512"/>
                  </a:lnTo>
                  <a:lnTo>
                    <a:pt x="1818053" y="127599"/>
                  </a:lnTo>
                  <a:lnTo>
                    <a:pt x="1819997" y="130500"/>
                  </a:lnTo>
                  <a:lnTo>
                    <a:pt x="1822057" y="132870"/>
                  </a:lnTo>
                  <a:lnTo>
                    <a:pt x="1824782" y="133423"/>
                  </a:lnTo>
                  <a:lnTo>
                    <a:pt x="1827496" y="133246"/>
                  </a:lnTo>
                  <a:lnTo>
                    <a:pt x="1825860" y="130451"/>
                  </a:lnTo>
                  <a:lnTo>
                    <a:pt x="1825935" y="127441"/>
                  </a:lnTo>
                  <a:lnTo>
                    <a:pt x="1826918" y="125481"/>
                  </a:lnTo>
                  <a:lnTo>
                    <a:pt x="1828185" y="124630"/>
                  </a:lnTo>
                  <a:close/>
                  <a:moveTo>
                    <a:pt x="1250308" y="112959"/>
                  </a:moveTo>
                  <a:lnTo>
                    <a:pt x="1252530" y="113627"/>
                  </a:lnTo>
                  <a:lnTo>
                    <a:pt x="1255263" y="115416"/>
                  </a:lnTo>
                  <a:lnTo>
                    <a:pt x="1257360" y="114022"/>
                  </a:lnTo>
                  <a:lnTo>
                    <a:pt x="1277101" y="118327"/>
                  </a:lnTo>
                  <a:lnTo>
                    <a:pt x="1281284" y="119942"/>
                  </a:lnTo>
                  <a:lnTo>
                    <a:pt x="1282161" y="121061"/>
                  </a:lnTo>
                  <a:lnTo>
                    <a:pt x="1264939" y="121678"/>
                  </a:lnTo>
                  <a:lnTo>
                    <a:pt x="1261387" y="121484"/>
                  </a:lnTo>
                  <a:lnTo>
                    <a:pt x="1261100" y="118945"/>
                  </a:lnTo>
                  <a:lnTo>
                    <a:pt x="1257144" y="118894"/>
                  </a:lnTo>
                  <a:lnTo>
                    <a:pt x="1250424" y="117235"/>
                  </a:lnTo>
                  <a:lnTo>
                    <a:pt x="1248615" y="114897"/>
                  </a:lnTo>
                  <a:lnTo>
                    <a:pt x="1248166" y="113944"/>
                  </a:lnTo>
                  <a:close/>
                  <a:moveTo>
                    <a:pt x="1779228" y="111131"/>
                  </a:moveTo>
                  <a:lnTo>
                    <a:pt x="1780845" y="111997"/>
                  </a:lnTo>
                  <a:lnTo>
                    <a:pt x="1784356" y="112669"/>
                  </a:lnTo>
                  <a:lnTo>
                    <a:pt x="1780722" y="115467"/>
                  </a:lnTo>
                  <a:lnTo>
                    <a:pt x="1775846" y="116096"/>
                  </a:lnTo>
                  <a:lnTo>
                    <a:pt x="1776440" y="112610"/>
                  </a:lnTo>
                  <a:lnTo>
                    <a:pt x="1776738" y="111665"/>
                  </a:lnTo>
                  <a:close/>
                  <a:moveTo>
                    <a:pt x="1595334" y="93474"/>
                  </a:moveTo>
                  <a:lnTo>
                    <a:pt x="1604654" y="93820"/>
                  </a:lnTo>
                  <a:lnTo>
                    <a:pt x="1613926" y="96289"/>
                  </a:lnTo>
                  <a:lnTo>
                    <a:pt x="1633579" y="99082"/>
                  </a:lnTo>
                  <a:lnTo>
                    <a:pt x="1640690" y="100923"/>
                  </a:lnTo>
                  <a:lnTo>
                    <a:pt x="1636276" y="105333"/>
                  </a:lnTo>
                  <a:lnTo>
                    <a:pt x="1631379" y="106981"/>
                  </a:lnTo>
                  <a:lnTo>
                    <a:pt x="1626360" y="109301"/>
                  </a:lnTo>
                  <a:lnTo>
                    <a:pt x="1621301" y="110957"/>
                  </a:lnTo>
                  <a:lnTo>
                    <a:pt x="1615932" y="111922"/>
                  </a:lnTo>
                  <a:lnTo>
                    <a:pt x="1610562" y="112407"/>
                  </a:lnTo>
                  <a:lnTo>
                    <a:pt x="1604218" y="111948"/>
                  </a:lnTo>
                  <a:lnTo>
                    <a:pt x="1593823" y="106646"/>
                  </a:lnTo>
                  <a:lnTo>
                    <a:pt x="1587027" y="104392"/>
                  </a:lnTo>
                  <a:lnTo>
                    <a:pt x="1581495" y="100903"/>
                  </a:lnTo>
                  <a:lnTo>
                    <a:pt x="1580262" y="97047"/>
                  </a:lnTo>
                  <a:lnTo>
                    <a:pt x="1583777" y="94564"/>
                  </a:lnTo>
                  <a:lnTo>
                    <a:pt x="1588126" y="93630"/>
                  </a:lnTo>
                  <a:close/>
                  <a:moveTo>
                    <a:pt x="692815" y="91354"/>
                  </a:moveTo>
                  <a:lnTo>
                    <a:pt x="699848" y="93659"/>
                  </a:lnTo>
                  <a:lnTo>
                    <a:pt x="699483" y="95592"/>
                  </a:lnTo>
                  <a:lnTo>
                    <a:pt x="699591" y="96555"/>
                  </a:lnTo>
                  <a:lnTo>
                    <a:pt x="701452" y="97510"/>
                  </a:lnTo>
                  <a:lnTo>
                    <a:pt x="703273" y="98925"/>
                  </a:lnTo>
                  <a:lnTo>
                    <a:pt x="703845" y="99544"/>
                  </a:lnTo>
                  <a:lnTo>
                    <a:pt x="703759" y="100119"/>
                  </a:lnTo>
                  <a:lnTo>
                    <a:pt x="695909" y="99542"/>
                  </a:lnTo>
                  <a:lnTo>
                    <a:pt x="682152" y="99923"/>
                  </a:lnTo>
                  <a:lnTo>
                    <a:pt x="674132" y="97094"/>
                  </a:lnTo>
                  <a:lnTo>
                    <a:pt x="682562" y="94325"/>
                  </a:lnTo>
                  <a:lnTo>
                    <a:pt x="687053" y="93664"/>
                  </a:lnTo>
                  <a:close/>
                  <a:moveTo>
                    <a:pt x="883160" y="90109"/>
                  </a:moveTo>
                  <a:lnTo>
                    <a:pt x="888846" y="91939"/>
                  </a:lnTo>
                  <a:lnTo>
                    <a:pt x="891264" y="96402"/>
                  </a:lnTo>
                  <a:lnTo>
                    <a:pt x="886352" y="98342"/>
                  </a:lnTo>
                  <a:lnTo>
                    <a:pt x="878431" y="99991"/>
                  </a:lnTo>
                  <a:lnTo>
                    <a:pt x="875600" y="99492"/>
                  </a:lnTo>
                  <a:lnTo>
                    <a:pt x="874862" y="98721"/>
                  </a:lnTo>
                  <a:lnTo>
                    <a:pt x="873339" y="97921"/>
                  </a:lnTo>
                  <a:lnTo>
                    <a:pt x="869334" y="96890"/>
                  </a:lnTo>
                  <a:lnTo>
                    <a:pt x="869928" y="93977"/>
                  </a:lnTo>
                  <a:lnTo>
                    <a:pt x="871152" y="93393"/>
                  </a:lnTo>
                  <a:close/>
                  <a:moveTo>
                    <a:pt x="1724355" y="87606"/>
                  </a:moveTo>
                  <a:lnTo>
                    <a:pt x="1726295" y="88114"/>
                  </a:lnTo>
                  <a:lnTo>
                    <a:pt x="1731360" y="91315"/>
                  </a:lnTo>
                  <a:lnTo>
                    <a:pt x="1733885" y="94961"/>
                  </a:lnTo>
                  <a:lnTo>
                    <a:pt x="1731430" y="95924"/>
                  </a:lnTo>
                  <a:lnTo>
                    <a:pt x="1729244" y="98317"/>
                  </a:lnTo>
                  <a:lnTo>
                    <a:pt x="1728184" y="101360"/>
                  </a:lnTo>
                  <a:lnTo>
                    <a:pt x="1725243" y="103642"/>
                  </a:lnTo>
                  <a:lnTo>
                    <a:pt x="1724454" y="107430"/>
                  </a:lnTo>
                  <a:lnTo>
                    <a:pt x="1725789" y="108147"/>
                  </a:lnTo>
                  <a:lnTo>
                    <a:pt x="1727400" y="107106"/>
                  </a:lnTo>
                  <a:lnTo>
                    <a:pt x="1730633" y="103532"/>
                  </a:lnTo>
                  <a:lnTo>
                    <a:pt x="1734919" y="101097"/>
                  </a:lnTo>
                  <a:lnTo>
                    <a:pt x="1739533" y="102452"/>
                  </a:lnTo>
                  <a:lnTo>
                    <a:pt x="1741300" y="101939"/>
                  </a:lnTo>
                  <a:lnTo>
                    <a:pt x="1744526" y="98477"/>
                  </a:lnTo>
                  <a:lnTo>
                    <a:pt x="1743926" y="95653"/>
                  </a:lnTo>
                  <a:lnTo>
                    <a:pt x="1745252" y="93913"/>
                  </a:lnTo>
                  <a:lnTo>
                    <a:pt x="1746681" y="93479"/>
                  </a:lnTo>
                  <a:lnTo>
                    <a:pt x="1752640" y="93822"/>
                  </a:lnTo>
                  <a:lnTo>
                    <a:pt x="1762125" y="95289"/>
                  </a:lnTo>
                  <a:lnTo>
                    <a:pt x="1763801" y="96801"/>
                  </a:lnTo>
                  <a:lnTo>
                    <a:pt x="1766064" y="97618"/>
                  </a:lnTo>
                  <a:lnTo>
                    <a:pt x="1767459" y="99072"/>
                  </a:lnTo>
                  <a:lnTo>
                    <a:pt x="1771669" y="100149"/>
                  </a:lnTo>
                  <a:lnTo>
                    <a:pt x="1773700" y="101242"/>
                  </a:lnTo>
                  <a:lnTo>
                    <a:pt x="1776535" y="103716"/>
                  </a:lnTo>
                  <a:lnTo>
                    <a:pt x="1779070" y="107322"/>
                  </a:lnTo>
                  <a:lnTo>
                    <a:pt x="1775854" y="109264"/>
                  </a:lnTo>
                  <a:lnTo>
                    <a:pt x="1774162" y="112734"/>
                  </a:lnTo>
                  <a:lnTo>
                    <a:pt x="1773414" y="113527"/>
                  </a:lnTo>
                  <a:lnTo>
                    <a:pt x="1772888" y="114765"/>
                  </a:lnTo>
                  <a:lnTo>
                    <a:pt x="1772655" y="117785"/>
                  </a:lnTo>
                  <a:lnTo>
                    <a:pt x="1772162" y="120401"/>
                  </a:lnTo>
                  <a:lnTo>
                    <a:pt x="1771551" y="121562"/>
                  </a:lnTo>
                  <a:lnTo>
                    <a:pt x="1771221" y="122972"/>
                  </a:lnTo>
                  <a:lnTo>
                    <a:pt x="1771559" y="126861"/>
                  </a:lnTo>
                  <a:lnTo>
                    <a:pt x="1770655" y="129920"/>
                  </a:lnTo>
                  <a:lnTo>
                    <a:pt x="1767485" y="132233"/>
                  </a:lnTo>
                  <a:lnTo>
                    <a:pt x="1764179" y="132322"/>
                  </a:lnTo>
                  <a:lnTo>
                    <a:pt x="1759299" y="130763"/>
                  </a:lnTo>
                  <a:lnTo>
                    <a:pt x="1757912" y="130809"/>
                  </a:lnTo>
                  <a:lnTo>
                    <a:pt x="1756528" y="131420"/>
                  </a:lnTo>
                  <a:lnTo>
                    <a:pt x="1762622" y="134671"/>
                  </a:lnTo>
                  <a:lnTo>
                    <a:pt x="1767043" y="139453"/>
                  </a:lnTo>
                  <a:lnTo>
                    <a:pt x="1772205" y="140561"/>
                  </a:lnTo>
                  <a:lnTo>
                    <a:pt x="1773617" y="141142"/>
                  </a:lnTo>
                  <a:lnTo>
                    <a:pt x="1775496" y="145535"/>
                  </a:lnTo>
                  <a:lnTo>
                    <a:pt x="1776153" y="147739"/>
                  </a:lnTo>
                  <a:lnTo>
                    <a:pt x="1767563" y="153056"/>
                  </a:lnTo>
                  <a:lnTo>
                    <a:pt x="1765323" y="153960"/>
                  </a:lnTo>
                  <a:lnTo>
                    <a:pt x="1751613" y="154739"/>
                  </a:lnTo>
                  <a:lnTo>
                    <a:pt x="1742583" y="156225"/>
                  </a:lnTo>
                  <a:lnTo>
                    <a:pt x="1739739" y="155873"/>
                  </a:lnTo>
                  <a:lnTo>
                    <a:pt x="1734690" y="154606"/>
                  </a:lnTo>
                  <a:lnTo>
                    <a:pt x="1731395" y="155132"/>
                  </a:lnTo>
                  <a:lnTo>
                    <a:pt x="1726606" y="154296"/>
                  </a:lnTo>
                  <a:lnTo>
                    <a:pt x="1723662" y="154334"/>
                  </a:lnTo>
                  <a:lnTo>
                    <a:pt x="1716867" y="152310"/>
                  </a:lnTo>
                  <a:lnTo>
                    <a:pt x="1709896" y="149085"/>
                  </a:lnTo>
                  <a:lnTo>
                    <a:pt x="1708531" y="147622"/>
                  </a:lnTo>
                  <a:lnTo>
                    <a:pt x="1707130" y="146586"/>
                  </a:lnTo>
                  <a:lnTo>
                    <a:pt x="1698775" y="145700"/>
                  </a:lnTo>
                  <a:lnTo>
                    <a:pt x="1696948" y="145070"/>
                  </a:lnTo>
                  <a:lnTo>
                    <a:pt x="1684768" y="145779"/>
                  </a:lnTo>
                  <a:lnTo>
                    <a:pt x="1682697" y="145260"/>
                  </a:lnTo>
                  <a:lnTo>
                    <a:pt x="1678898" y="141031"/>
                  </a:lnTo>
                  <a:lnTo>
                    <a:pt x="1676816" y="140971"/>
                  </a:lnTo>
                  <a:lnTo>
                    <a:pt x="1670101" y="143414"/>
                  </a:lnTo>
                  <a:lnTo>
                    <a:pt x="1667607" y="143263"/>
                  </a:lnTo>
                  <a:lnTo>
                    <a:pt x="1662534" y="141595"/>
                  </a:lnTo>
                  <a:lnTo>
                    <a:pt x="1659468" y="139585"/>
                  </a:lnTo>
                  <a:lnTo>
                    <a:pt x="1659010" y="138927"/>
                  </a:lnTo>
                  <a:lnTo>
                    <a:pt x="1658747" y="136389"/>
                  </a:lnTo>
                  <a:lnTo>
                    <a:pt x="1655704" y="135095"/>
                  </a:lnTo>
                  <a:lnTo>
                    <a:pt x="1651981" y="130703"/>
                  </a:lnTo>
                  <a:lnTo>
                    <a:pt x="1649881" y="126006"/>
                  </a:lnTo>
                  <a:lnTo>
                    <a:pt x="1639705" y="123571"/>
                  </a:lnTo>
                  <a:lnTo>
                    <a:pt x="1633517" y="123008"/>
                  </a:lnTo>
                  <a:lnTo>
                    <a:pt x="1628952" y="123224"/>
                  </a:lnTo>
                  <a:lnTo>
                    <a:pt x="1624497" y="121389"/>
                  </a:lnTo>
                  <a:lnTo>
                    <a:pt x="1631880" y="114600"/>
                  </a:lnTo>
                  <a:lnTo>
                    <a:pt x="1641667" y="111099"/>
                  </a:lnTo>
                  <a:lnTo>
                    <a:pt x="1645888" y="108379"/>
                  </a:lnTo>
                  <a:lnTo>
                    <a:pt x="1650729" y="104682"/>
                  </a:lnTo>
                  <a:lnTo>
                    <a:pt x="1652722" y="99040"/>
                  </a:lnTo>
                  <a:lnTo>
                    <a:pt x="1660951" y="95547"/>
                  </a:lnTo>
                  <a:lnTo>
                    <a:pt x="1663066" y="94357"/>
                  </a:lnTo>
                  <a:lnTo>
                    <a:pt x="1665979" y="91606"/>
                  </a:lnTo>
                  <a:lnTo>
                    <a:pt x="1666875" y="91223"/>
                  </a:lnTo>
                  <a:lnTo>
                    <a:pt x="1673377" y="94574"/>
                  </a:lnTo>
                  <a:lnTo>
                    <a:pt x="1674629" y="93987"/>
                  </a:lnTo>
                  <a:lnTo>
                    <a:pt x="1675795" y="92438"/>
                  </a:lnTo>
                  <a:lnTo>
                    <a:pt x="1678157" y="90779"/>
                  </a:lnTo>
                  <a:lnTo>
                    <a:pt x="1686123" y="90556"/>
                  </a:lnTo>
                  <a:lnTo>
                    <a:pt x="1692861" y="91223"/>
                  </a:lnTo>
                  <a:lnTo>
                    <a:pt x="1695400" y="90554"/>
                  </a:lnTo>
                  <a:lnTo>
                    <a:pt x="1698479" y="90843"/>
                  </a:lnTo>
                  <a:lnTo>
                    <a:pt x="1714044" y="88378"/>
                  </a:lnTo>
                  <a:close/>
                  <a:moveTo>
                    <a:pt x="669539" y="84463"/>
                  </a:moveTo>
                  <a:lnTo>
                    <a:pt x="677660" y="85008"/>
                  </a:lnTo>
                  <a:lnTo>
                    <a:pt x="678964" y="86725"/>
                  </a:lnTo>
                  <a:lnTo>
                    <a:pt x="679168" y="87398"/>
                  </a:lnTo>
                  <a:lnTo>
                    <a:pt x="673709" y="90583"/>
                  </a:lnTo>
                  <a:lnTo>
                    <a:pt x="673255" y="92361"/>
                  </a:lnTo>
                  <a:lnTo>
                    <a:pt x="671467" y="93047"/>
                  </a:lnTo>
                  <a:lnTo>
                    <a:pt x="663006" y="89234"/>
                  </a:lnTo>
                  <a:lnTo>
                    <a:pt x="662294" y="88079"/>
                  </a:lnTo>
                  <a:close/>
                  <a:moveTo>
                    <a:pt x="787979" y="79624"/>
                  </a:moveTo>
                  <a:lnTo>
                    <a:pt x="790482" y="80017"/>
                  </a:lnTo>
                  <a:lnTo>
                    <a:pt x="792285" y="80802"/>
                  </a:lnTo>
                  <a:lnTo>
                    <a:pt x="793278" y="82247"/>
                  </a:lnTo>
                  <a:lnTo>
                    <a:pt x="786986" y="84636"/>
                  </a:lnTo>
                  <a:lnTo>
                    <a:pt x="783742" y="84557"/>
                  </a:lnTo>
                  <a:lnTo>
                    <a:pt x="782222" y="83131"/>
                  </a:lnTo>
                  <a:lnTo>
                    <a:pt x="784697" y="81142"/>
                  </a:lnTo>
                  <a:close/>
                  <a:moveTo>
                    <a:pt x="825669" y="77547"/>
                  </a:moveTo>
                  <a:lnTo>
                    <a:pt x="828636" y="78323"/>
                  </a:lnTo>
                  <a:lnTo>
                    <a:pt x="829608" y="80052"/>
                  </a:lnTo>
                  <a:lnTo>
                    <a:pt x="829525" y="86304"/>
                  </a:lnTo>
                  <a:lnTo>
                    <a:pt x="828504" y="89068"/>
                  </a:lnTo>
                  <a:lnTo>
                    <a:pt x="828668" y="91332"/>
                  </a:lnTo>
                  <a:lnTo>
                    <a:pt x="826606" y="92504"/>
                  </a:lnTo>
                  <a:lnTo>
                    <a:pt x="809218" y="92253"/>
                  </a:lnTo>
                  <a:lnTo>
                    <a:pt x="800618" y="91712"/>
                  </a:lnTo>
                  <a:lnTo>
                    <a:pt x="798681" y="90823"/>
                  </a:lnTo>
                  <a:lnTo>
                    <a:pt x="803507" y="87858"/>
                  </a:lnTo>
                  <a:lnTo>
                    <a:pt x="805053" y="85799"/>
                  </a:lnTo>
                  <a:lnTo>
                    <a:pt x="804559" y="79895"/>
                  </a:lnTo>
                  <a:lnTo>
                    <a:pt x="805323" y="78813"/>
                  </a:lnTo>
                  <a:lnTo>
                    <a:pt x="819268" y="79373"/>
                  </a:lnTo>
                  <a:lnTo>
                    <a:pt x="820421" y="77694"/>
                  </a:lnTo>
                  <a:close/>
                  <a:moveTo>
                    <a:pt x="742552" y="75176"/>
                  </a:moveTo>
                  <a:lnTo>
                    <a:pt x="745726" y="75699"/>
                  </a:lnTo>
                  <a:lnTo>
                    <a:pt x="746096" y="77539"/>
                  </a:lnTo>
                  <a:lnTo>
                    <a:pt x="749196" y="79726"/>
                  </a:lnTo>
                  <a:lnTo>
                    <a:pt x="757279" y="82525"/>
                  </a:lnTo>
                  <a:lnTo>
                    <a:pt x="755648" y="84560"/>
                  </a:lnTo>
                  <a:lnTo>
                    <a:pt x="752885" y="84852"/>
                  </a:lnTo>
                  <a:lnTo>
                    <a:pt x="749976" y="86747"/>
                  </a:lnTo>
                  <a:lnTo>
                    <a:pt x="735270" y="87354"/>
                  </a:lnTo>
                  <a:lnTo>
                    <a:pt x="730397" y="87069"/>
                  </a:lnTo>
                  <a:lnTo>
                    <a:pt x="729757" y="86445"/>
                  </a:lnTo>
                  <a:lnTo>
                    <a:pt x="728507" y="85903"/>
                  </a:lnTo>
                  <a:lnTo>
                    <a:pt x="723931" y="85325"/>
                  </a:lnTo>
                  <a:lnTo>
                    <a:pt x="721053" y="82761"/>
                  </a:lnTo>
                  <a:lnTo>
                    <a:pt x="722310" y="82121"/>
                  </a:lnTo>
                  <a:lnTo>
                    <a:pt x="729086" y="81073"/>
                  </a:lnTo>
                  <a:lnTo>
                    <a:pt x="731383" y="79974"/>
                  </a:lnTo>
                  <a:lnTo>
                    <a:pt x="732167" y="78495"/>
                  </a:lnTo>
                  <a:lnTo>
                    <a:pt x="735216" y="75699"/>
                  </a:lnTo>
                  <a:close/>
                  <a:moveTo>
                    <a:pt x="828554" y="71021"/>
                  </a:moveTo>
                  <a:lnTo>
                    <a:pt x="838437" y="71970"/>
                  </a:lnTo>
                  <a:lnTo>
                    <a:pt x="859632" y="72514"/>
                  </a:lnTo>
                  <a:lnTo>
                    <a:pt x="870493" y="75011"/>
                  </a:lnTo>
                  <a:lnTo>
                    <a:pt x="873683" y="76411"/>
                  </a:lnTo>
                  <a:lnTo>
                    <a:pt x="876769" y="78716"/>
                  </a:lnTo>
                  <a:lnTo>
                    <a:pt x="857807" y="79962"/>
                  </a:lnTo>
                  <a:lnTo>
                    <a:pt x="855285" y="81028"/>
                  </a:lnTo>
                  <a:lnTo>
                    <a:pt x="855326" y="83552"/>
                  </a:lnTo>
                  <a:lnTo>
                    <a:pt x="854656" y="85905"/>
                  </a:lnTo>
                  <a:lnTo>
                    <a:pt x="852616" y="86173"/>
                  </a:lnTo>
                  <a:lnTo>
                    <a:pt x="848040" y="89886"/>
                  </a:lnTo>
                  <a:lnTo>
                    <a:pt x="844587" y="90858"/>
                  </a:lnTo>
                  <a:lnTo>
                    <a:pt x="835570" y="89081"/>
                  </a:lnTo>
                  <a:lnTo>
                    <a:pt x="834244" y="88121"/>
                  </a:lnTo>
                  <a:lnTo>
                    <a:pt x="833119" y="86307"/>
                  </a:lnTo>
                  <a:lnTo>
                    <a:pt x="831629" y="79477"/>
                  </a:lnTo>
                  <a:lnTo>
                    <a:pt x="831577" y="77430"/>
                  </a:lnTo>
                  <a:lnTo>
                    <a:pt x="831013" y="76013"/>
                  </a:lnTo>
                  <a:lnTo>
                    <a:pt x="828739" y="73512"/>
                  </a:lnTo>
                  <a:lnTo>
                    <a:pt x="827141" y="72332"/>
                  </a:lnTo>
                  <a:close/>
                  <a:moveTo>
                    <a:pt x="757844" y="65315"/>
                  </a:moveTo>
                  <a:lnTo>
                    <a:pt x="764467" y="66901"/>
                  </a:lnTo>
                  <a:lnTo>
                    <a:pt x="765100" y="67547"/>
                  </a:lnTo>
                  <a:lnTo>
                    <a:pt x="769562" y="68656"/>
                  </a:lnTo>
                  <a:lnTo>
                    <a:pt x="770229" y="70778"/>
                  </a:lnTo>
                  <a:lnTo>
                    <a:pt x="769743" y="72102"/>
                  </a:lnTo>
                  <a:lnTo>
                    <a:pt x="766659" y="74732"/>
                  </a:lnTo>
                  <a:lnTo>
                    <a:pt x="756400" y="71927"/>
                  </a:lnTo>
                  <a:lnTo>
                    <a:pt x="757242" y="70513"/>
                  </a:lnTo>
                  <a:lnTo>
                    <a:pt x="758352" y="69921"/>
                  </a:lnTo>
                  <a:lnTo>
                    <a:pt x="758382" y="68536"/>
                  </a:lnTo>
                  <a:lnTo>
                    <a:pt x="757439" y="67482"/>
                  </a:lnTo>
                  <a:close/>
                  <a:moveTo>
                    <a:pt x="615548" y="52518"/>
                  </a:moveTo>
                  <a:lnTo>
                    <a:pt x="625664" y="54635"/>
                  </a:lnTo>
                  <a:lnTo>
                    <a:pt x="633265" y="54078"/>
                  </a:lnTo>
                  <a:lnTo>
                    <a:pt x="635520" y="54310"/>
                  </a:lnTo>
                  <a:lnTo>
                    <a:pt x="637742" y="54981"/>
                  </a:lnTo>
                  <a:lnTo>
                    <a:pt x="639990" y="56372"/>
                  </a:lnTo>
                  <a:lnTo>
                    <a:pt x="643067" y="59531"/>
                  </a:lnTo>
                  <a:lnTo>
                    <a:pt x="643002" y="63878"/>
                  </a:lnTo>
                  <a:lnTo>
                    <a:pt x="641717" y="64082"/>
                  </a:lnTo>
                  <a:lnTo>
                    <a:pt x="628867" y="62084"/>
                  </a:lnTo>
                  <a:lnTo>
                    <a:pt x="622963" y="57548"/>
                  </a:lnTo>
                  <a:lnTo>
                    <a:pt x="621369" y="57087"/>
                  </a:lnTo>
                  <a:lnTo>
                    <a:pt x="619044" y="58285"/>
                  </a:lnTo>
                  <a:lnTo>
                    <a:pt x="617102" y="61066"/>
                  </a:lnTo>
                  <a:lnTo>
                    <a:pt x="614932" y="61757"/>
                  </a:lnTo>
                  <a:lnTo>
                    <a:pt x="612494" y="65268"/>
                  </a:lnTo>
                  <a:lnTo>
                    <a:pt x="610158" y="64819"/>
                  </a:lnTo>
                  <a:lnTo>
                    <a:pt x="608979" y="65122"/>
                  </a:lnTo>
                  <a:lnTo>
                    <a:pt x="606018" y="67529"/>
                  </a:lnTo>
                  <a:lnTo>
                    <a:pt x="598644" y="67570"/>
                  </a:lnTo>
                  <a:lnTo>
                    <a:pt x="597458" y="68628"/>
                  </a:lnTo>
                  <a:lnTo>
                    <a:pt x="595020" y="71962"/>
                  </a:lnTo>
                  <a:lnTo>
                    <a:pt x="592023" y="72921"/>
                  </a:lnTo>
                  <a:lnTo>
                    <a:pt x="586789" y="73435"/>
                  </a:lnTo>
                  <a:lnTo>
                    <a:pt x="584986" y="71540"/>
                  </a:lnTo>
                  <a:lnTo>
                    <a:pt x="584185" y="68618"/>
                  </a:lnTo>
                  <a:lnTo>
                    <a:pt x="582978" y="67152"/>
                  </a:lnTo>
                  <a:lnTo>
                    <a:pt x="575720" y="68818"/>
                  </a:lnTo>
                  <a:lnTo>
                    <a:pt x="570157" y="67622"/>
                  </a:lnTo>
                  <a:lnTo>
                    <a:pt x="564850" y="65651"/>
                  </a:lnTo>
                  <a:lnTo>
                    <a:pt x="559449" y="65007"/>
                  </a:lnTo>
                  <a:lnTo>
                    <a:pt x="564303" y="62902"/>
                  </a:lnTo>
                  <a:lnTo>
                    <a:pt x="590902" y="58635"/>
                  </a:lnTo>
                  <a:lnTo>
                    <a:pt x="601332" y="57601"/>
                  </a:lnTo>
                  <a:lnTo>
                    <a:pt x="606230" y="54547"/>
                  </a:lnTo>
                  <a:lnTo>
                    <a:pt x="613565" y="52556"/>
                  </a:lnTo>
                  <a:close/>
                  <a:moveTo>
                    <a:pt x="928555" y="50487"/>
                  </a:moveTo>
                  <a:lnTo>
                    <a:pt x="934152" y="50848"/>
                  </a:lnTo>
                  <a:lnTo>
                    <a:pt x="939732" y="51849"/>
                  </a:lnTo>
                  <a:lnTo>
                    <a:pt x="941166" y="53495"/>
                  </a:lnTo>
                  <a:lnTo>
                    <a:pt x="942492" y="55581"/>
                  </a:lnTo>
                  <a:lnTo>
                    <a:pt x="941697" y="58889"/>
                  </a:lnTo>
                  <a:lnTo>
                    <a:pt x="939989" y="61285"/>
                  </a:lnTo>
                  <a:lnTo>
                    <a:pt x="939131" y="64716"/>
                  </a:lnTo>
                  <a:lnTo>
                    <a:pt x="932351" y="65533"/>
                  </a:lnTo>
                  <a:lnTo>
                    <a:pt x="930408" y="66287"/>
                  </a:lnTo>
                  <a:lnTo>
                    <a:pt x="928555" y="68921"/>
                  </a:lnTo>
                  <a:lnTo>
                    <a:pt x="921649" y="70468"/>
                  </a:lnTo>
                  <a:lnTo>
                    <a:pt x="916477" y="74872"/>
                  </a:lnTo>
                  <a:lnTo>
                    <a:pt x="909202" y="74051"/>
                  </a:lnTo>
                  <a:lnTo>
                    <a:pt x="899386" y="70996"/>
                  </a:lnTo>
                  <a:lnTo>
                    <a:pt x="891025" y="73468"/>
                  </a:lnTo>
                  <a:lnTo>
                    <a:pt x="885488" y="74226"/>
                  </a:lnTo>
                  <a:lnTo>
                    <a:pt x="878779" y="70453"/>
                  </a:lnTo>
                  <a:lnTo>
                    <a:pt x="877850" y="69609"/>
                  </a:lnTo>
                  <a:lnTo>
                    <a:pt x="877492" y="66989"/>
                  </a:lnTo>
                  <a:lnTo>
                    <a:pt x="877891" y="64673"/>
                  </a:lnTo>
                  <a:lnTo>
                    <a:pt x="879667" y="59800"/>
                  </a:lnTo>
                  <a:lnTo>
                    <a:pt x="882068" y="57019"/>
                  </a:lnTo>
                  <a:lnTo>
                    <a:pt x="883268" y="56138"/>
                  </a:lnTo>
                  <a:lnTo>
                    <a:pt x="884216" y="54438"/>
                  </a:lnTo>
                  <a:lnTo>
                    <a:pt x="886948" y="53411"/>
                  </a:lnTo>
                  <a:lnTo>
                    <a:pt x="895322" y="52781"/>
                  </a:lnTo>
                  <a:lnTo>
                    <a:pt x="898427" y="53341"/>
                  </a:lnTo>
                  <a:lnTo>
                    <a:pt x="899379" y="55215"/>
                  </a:lnTo>
                  <a:lnTo>
                    <a:pt x="903880" y="55071"/>
                  </a:lnTo>
                  <a:lnTo>
                    <a:pt x="911368" y="53919"/>
                  </a:lnTo>
                  <a:lnTo>
                    <a:pt x="922269" y="52053"/>
                  </a:lnTo>
                  <a:close/>
                  <a:moveTo>
                    <a:pt x="678261" y="48709"/>
                  </a:moveTo>
                  <a:lnTo>
                    <a:pt x="681651" y="49556"/>
                  </a:lnTo>
                  <a:lnTo>
                    <a:pt x="689824" y="49387"/>
                  </a:lnTo>
                  <a:lnTo>
                    <a:pt x="692402" y="50616"/>
                  </a:lnTo>
                  <a:lnTo>
                    <a:pt x="704279" y="58145"/>
                  </a:lnTo>
                  <a:lnTo>
                    <a:pt x="707291" y="58346"/>
                  </a:lnTo>
                  <a:lnTo>
                    <a:pt x="709781" y="61082"/>
                  </a:lnTo>
                  <a:lnTo>
                    <a:pt x="697455" y="65383"/>
                  </a:lnTo>
                  <a:lnTo>
                    <a:pt x="693357" y="68638"/>
                  </a:lnTo>
                  <a:lnTo>
                    <a:pt x="678295" y="69311"/>
                  </a:lnTo>
                  <a:lnTo>
                    <a:pt x="668705" y="70831"/>
                  </a:lnTo>
                  <a:lnTo>
                    <a:pt x="666578" y="72140"/>
                  </a:lnTo>
                  <a:lnTo>
                    <a:pt x="667559" y="74527"/>
                  </a:lnTo>
                  <a:lnTo>
                    <a:pt x="662955" y="77016"/>
                  </a:lnTo>
                  <a:lnTo>
                    <a:pt x="647701" y="77393"/>
                  </a:lnTo>
                  <a:lnTo>
                    <a:pt x="645820" y="78181"/>
                  </a:lnTo>
                  <a:lnTo>
                    <a:pt x="642857" y="80914"/>
                  </a:lnTo>
                  <a:lnTo>
                    <a:pt x="643121" y="81411"/>
                  </a:lnTo>
                  <a:lnTo>
                    <a:pt x="648273" y="82096"/>
                  </a:lnTo>
                  <a:lnTo>
                    <a:pt x="649105" y="82662"/>
                  </a:lnTo>
                  <a:lnTo>
                    <a:pt x="649796" y="83845"/>
                  </a:lnTo>
                  <a:lnTo>
                    <a:pt x="650236" y="85620"/>
                  </a:lnTo>
                  <a:lnTo>
                    <a:pt x="649502" y="87893"/>
                  </a:lnTo>
                  <a:lnTo>
                    <a:pt x="647608" y="88262"/>
                  </a:lnTo>
                  <a:lnTo>
                    <a:pt x="645518" y="87968"/>
                  </a:lnTo>
                  <a:lnTo>
                    <a:pt x="640750" y="86232"/>
                  </a:lnTo>
                  <a:lnTo>
                    <a:pt x="640149" y="86844"/>
                  </a:lnTo>
                  <a:lnTo>
                    <a:pt x="639664" y="88114"/>
                  </a:lnTo>
                  <a:lnTo>
                    <a:pt x="638208" y="90551"/>
                  </a:lnTo>
                  <a:lnTo>
                    <a:pt x="636427" y="91275"/>
                  </a:lnTo>
                  <a:lnTo>
                    <a:pt x="631583" y="89404"/>
                  </a:lnTo>
                  <a:lnTo>
                    <a:pt x="630007" y="89933"/>
                  </a:lnTo>
                  <a:lnTo>
                    <a:pt x="628456" y="91090"/>
                  </a:lnTo>
                  <a:lnTo>
                    <a:pt x="626558" y="91638"/>
                  </a:lnTo>
                  <a:lnTo>
                    <a:pt x="622078" y="91989"/>
                  </a:lnTo>
                  <a:lnTo>
                    <a:pt x="619758" y="90457"/>
                  </a:lnTo>
                  <a:lnTo>
                    <a:pt x="621764" y="88462"/>
                  </a:lnTo>
                  <a:lnTo>
                    <a:pt x="627390" y="85360"/>
                  </a:lnTo>
                  <a:lnTo>
                    <a:pt x="625520" y="84004"/>
                  </a:lnTo>
                  <a:lnTo>
                    <a:pt x="619978" y="83696"/>
                  </a:lnTo>
                  <a:lnTo>
                    <a:pt x="615599" y="84468"/>
                  </a:lnTo>
                  <a:lnTo>
                    <a:pt x="613360" y="86579"/>
                  </a:lnTo>
                  <a:lnTo>
                    <a:pt x="611272" y="87000"/>
                  </a:lnTo>
                  <a:lnTo>
                    <a:pt x="605575" y="86871"/>
                  </a:lnTo>
                  <a:lnTo>
                    <a:pt x="602367" y="84108"/>
                  </a:lnTo>
                  <a:lnTo>
                    <a:pt x="599985" y="83069"/>
                  </a:lnTo>
                  <a:lnTo>
                    <a:pt x="597912" y="80899"/>
                  </a:lnTo>
                  <a:lnTo>
                    <a:pt x="614684" y="73534"/>
                  </a:lnTo>
                  <a:lnTo>
                    <a:pt x="620281" y="70683"/>
                  </a:lnTo>
                  <a:lnTo>
                    <a:pt x="625582" y="69224"/>
                  </a:lnTo>
                  <a:lnTo>
                    <a:pt x="632490" y="68463"/>
                  </a:lnTo>
                  <a:lnTo>
                    <a:pt x="634656" y="67557"/>
                  </a:lnTo>
                  <a:lnTo>
                    <a:pt x="636789" y="67186"/>
                  </a:lnTo>
                  <a:lnTo>
                    <a:pt x="638163" y="67737"/>
                  </a:lnTo>
                  <a:lnTo>
                    <a:pt x="641709" y="70286"/>
                  </a:lnTo>
                  <a:lnTo>
                    <a:pt x="651940" y="69903"/>
                  </a:lnTo>
                  <a:lnTo>
                    <a:pt x="654095" y="67708"/>
                  </a:lnTo>
                  <a:lnTo>
                    <a:pt x="654259" y="62709"/>
                  </a:lnTo>
                  <a:lnTo>
                    <a:pt x="653259" y="59822"/>
                  </a:lnTo>
                  <a:lnTo>
                    <a:pt x="655401" y="54186"/>
                  </a:lnTo>
                  <a:lnTo>
                    <a:pt x="661227" y="51914"/>
                  </a:lnTo>
                  <a:lnTo>
                    <a:pt x="674859" y="48884"/>
                  </a:lnTo>
                  <a:close/>
                  <a:moveTo>
                    <a:pt x="1331198" y="46213"/>
                  </a:moveTo>
                  <a:lnTo>
                    <a:pt x="1341656" y="47540"/>
                  </a:lnTo>
                  <a:lnTo>
                    <a:pt x="1344936" y="48686"/>
                  </a:lnTo>
                  <a:lnTo>
                    <a:pt x="1343729" y="51021"/>
                  </a:lnTo>
                  <a:lnTo>
                    <a:pt x="1343099" y="51781"/>
                  </a:lnTo>
                  <a:lnTo>
                    <a:pt x="1336063" y="52803"/>
                  </a:lnTo>
                  <a:lnTo>
                    <a:pt x="1315541" y="54668"/>
                  </a:lnTo>
                  <a:lnTo>
                    <a:pt x="1313513" y="53492"/>
                  </a:lnTo>
                  <a:lnTo>
                    <a:pt x="1312867" y="52798"/>
                  </a:lnTo>
                  <a:lnTo>
                    <a:pt x="1315791" y="48899"/>
                  </a:lnTo>
                  <a:lnTo>
                    <a:pt x="1318168" y="46993"/>
                  </a:lnTo>
                  <a:close/>
                  <a:moveTo>
                    <a:pt x="925458" y="39528"/>
                  </a:moveTo>
                  <a:lnTo>
                    <a:pt x="927890" y="42321"/>
                  </a:lnTo>
                  <a:lnTo>
                    <a:pt x="925780" y="44362"/>
                  </a:lnTo>
                  <a:lnTo>
                    <a:pt x="918458" y="47512"/>
                  </a:lnTo>
                  <a:lnTo>
                    <a:pt x="911513" y="48583"/>
                  </a:lnTo>
                  <a:lnTo>
                    <a:pt x="900332" y="47243"/>
                  </a:lnTo>
                  <a:lnTo>
                    <a:pt x="894519" y="45733"/>
                  </a:lnTo>
                  <a:lnTo>
                    <a:pt x="894963" y="44978"/>
                  </a:lnTo>
                  <a:lnTo>
                    <a:pt x="896495" y="44070"/>
                  </a:lnTo>
                  <a:lnTo>
                    <a:pt x="906203" y="40375"/>
                  </a:lnTo>
                  <a:close/>
                  <a:moveTo>
                    <a:pt x="776457" y="38902"/>
                  </a:moveTo>
                  <a:lnTo>
                    <a:pt x="793079" y="43902"/>
                  </a:lnTo>
                  <a:lnTo>
                    <a:pt x="808545" y="43420"/>
                  </a:lnTo>
                  <a:lnTo>
                    <a:pt x="815226" y="45026"/>
                  </a:lnTo>
                  <a:lnTo>
                    <a:pt x="824898" y="49453"/>
                  </a:lnTo>
                  <a:lnTo>
                    <a:pt x="839450" y="54272"/>
                  </a:lnTo>
                  <a:lnTo>
                    <a:pt x="842244" y="55689"/>
                  </a:lnTo>
                  <a:lnTo>
                    <a:pt x="839729" y="57588"/>
                  </a:lnTo>
                  <a:lnTo>
                    <a:pt x="822799" y="62318"/>
                  </a:lnTo>
                  <a:lnTo>
                    <a:pt x="811760" y="63899"/>
                  </a:lnTo>
                  <a:lnTo>
                    <a:pt x="802205" y="64127"/>
                  </a:lnTo>
                  <a:lnTo>
                    <a:pt x="798426" y="63670"/>
                  </a:lnTo>
                  <a:lnTo>
                    <a:pt x="794626" y="60275"/>
                  </a:lnTo>
                  <a:lnTo>
                    <a:pt x="785262" y="57772"/>
                  </a:lnTo>
                  <a:lnTo>
                    <a:pt x="775333" y="58454"/>
                  </a:lnTo>
                  <a:lnTo>
                    <a:pt x="774342" y="57085"/>
                  </a:lnTo>
                  <a:lnTo>
                    <a:pt x="772340" y="56168"/>
                  </a:lnTo>
                  <a:lnTo>
                    <a:pt x="768875" y="55963"/>
                  </a:lnTo>
                  <a:lnTo>
                    <a:pt x="762031" y="54587"/>
                  </a:lnTo>
                  <a:lnTo>
                    <a:pt x="761563" y="51571"/>
                  </a:lnTo>
                  <a:lnTo>
                    <a:pt x="765878" y="50024"/>
                  </a:lnTo>
                  <a:lnTo>
                    <a:pt x="768681" y="49923"/>
                  </a:lnTo>
                  <a:lnTo>
                    <a:pt x="769775" y="45634"/>
                  </a:lnTo>
                  <a:lnTo>
                    <a:pt x="774578" y="39047"/>
                  </a:lnTo>
                  <a:close/>
                  <a:moveTo>
                    <a:pt x="850102" y="38772"/>
                  </a:moveTo>
                  <a:lnTo>
                    <a:pt x="851271" y="38991"/>
                  </a:lnTo>
                  <a:lnTo>
                    <a:pt x="853207" y="40016"/>
                  </a:lnTo>
                  <a:lnTo>
                    <a:pt x="860232" y="41724"/>
                  </a:lnTo>
                  <a:lnTo>
                    <a:pt x="862769" y="42770"/>
                  </a:lnTo>
                  <a:lnTo>
                    <a:pt x="865846" y="45404"/>
                  </a:lnTo>
                  <a:lnTo>
                    <a:pt x="867036" y="48380"/>
                  </a:lnTo>
                  <a:lnTo>
                    <a:pt x="868964" y="50242"/>
                  </a:lnTo>
                  <a:lnTo>
                    <a:pt x="869584" y="53654"/>
                  </a:lnTo>
                  <a:lnTo>
                    <a:pt x="868023" y="56354"/>
                  </a:lnTo>
                  <a:lnTo>
                    <a:pt x="863201" y="56944"/>
                  </a:lnTo>
                  <a:lnTo>
                    <a:pt x="855324" y="57102"/>
                  </a:lnTo>
                  <a:lnTo>
                    <a:pt x="847634" y="55634"/>
                  </a:lnTo>
                  <a:lnTo>
                    <a:pt x="843475" y="50687"/>
                  </a:lnTo>
                  <a:lnTo>
                    <a:pt x="835854" y="49336"/>
                  </a:lnTo>
                  <a:lnTo>
                    <a:pt x="831560" y="44047"/>
                  </a:lnTo>
                  <a:lnTo>
                    <a:pt x="835967" y="42504"/>
                  </a:lnTo>
                  <a:lnTo>
                    <a:pt x="841406" y="43296"/>
                  </a:lnTo>
                  <a:close/>
                  <a:moveTo>
                    <a:pt x="687941" y="36050"/>
                  </a:moveTo>
                  <a:lnTo>
                    <a:pt x="691538" y="37081"/>
                  </a:lnTo>
                  <a:lnTo>
                    <a:pt x="693033" y="39309"/>
                  </a:lnTo>
                  <a:lnTo>
                    <a:pt x="689552" y="41201"/>
                  </a:lnTo>
                  <a:lnTo>
                    <a:pt x="688777" y="42471"/>
                  </a:lnTo>
                  <a:lnTo>
                    <a:pt x="685732" y="42791"/>
                  </a:lnTo>
                  <a:lnTo>
                    <a:pt x="683568" y="42567"/>
                  </a:lnTo>
                  <a:lnTo>
                    <a:pt x="681219" y="40548"/>
                  </a:lnTo>
                  <a:lnTo>
                    <a:pt x="680457" y="39591"/>
                  </a:lnTo>
                  <a:lnTo>
                    <a:pt x="680258" y="38561"/>
                  </a:lnTo>
                  <a:lnTo>
                    <a:pt x="682391" y="38367"/>
                  </a:lnTo>
                  <a:lnTo>
                    <a:pt x="683298" y="37428"/>
                  </a:lnTo>
                  <a:lnTo>
                    <a:pt x="683644" y="36699"/>
                  </a:lnTo>
                  <a:lnTo>
                    <a:pt x="685197" y="36113"/>
                  </a:lnTo>
                  <a:close/>
                  <a:moveTo>
                    <a:pt x="994403" y="34596"/>
                  </a:moveTo>
                  <a:lnTo>
                    <a:pt x="999415" y="34660"/>
                  </a:lnTo>
                  <a:lnTo>
                    <a:pt x="1004405" y="36111"/>
                  </a:lnTo>
                  <a:lnTo>
                    <a:pt x="1007595" y="37438"/>
                  </a:lnTo>
                  <a:lnTo>
                    <a:pt x="1010642" y="39919"/>
                  </a:lnTo>
                  <a:lnTo>
                    <a:pt x="1012240" y="41986"/>
                  </a:lnTo>
                  <a:lnTo>
                    <a:pt x="1011754" y="44509"/>
                  </a:lnTo>
                  <a:lnTo>
                    <a:pt x="1012019" y="46595"/>
                  </a:lnTo>
                  <a:lnTo>
                    <a:pt x="1013464" y="48530"/>
                  </a:lnTo>
                  <a:lnTo>
                    <a:pt x="1003736" y="54315"/>
                  </a:lnTo>
                  <a:lnTo>
                    <a:pt x="993805" y="57591"/>
                  </a:lnTo>
                  <a:lnTo>
                    <a:pt x="967834" y="60441"/>
                  </a:lnTo>
                  <a:lnTo>
                    <a:pt x="963716" y="60569"/>
                  </a:lnTo>
                  <a:lnTo>
                    <a:pt x="959615" y="59785"/>
                  </a:lnTo>
                  <a:lnTo>
                    <a:pt x="954271" y="57216"/>
                  </a:lnTo>
                  <a:lnTo>
                    <a:pt x="948961" y="54161"/>
                  </a:lnTo>
                  <a:lnTo>
                    <a:pt x="950559" y="52551"/>
                  </a:lnTo>
                  <a:lnTo>
                    <a:pt x="955573" y="50442"/>
                  </a:lnTo>
                  <a:lnTo>
                    <a:pt x="962129" y="46658"/>
                  </a:lnTo>
                  <a:lnTo>
                    <a:pt x="973161" y="45926"/>
                  </a:lnTo>
                  <a:lnTo>
                    <a:pt x="978495" y="45913"/>
                  </a:lnTo>
                  <a:lnTo>
                    <a:pt x="983796" y="45021"/>
                  </a:lnTo>
                  <a:lnTo>
                    <a:pt x="985349" y="43077"/>
                  </a:lnTo>
                  <a:lnTo>
                    <a:pt x="986334" y="39403"/>
                  </a:lnTo>
                  <a:lnTo>
                    <a:pt x="987337" y="37418"/>
                  </a:lnTo>
                  <a:lnTo>
                    <a:pt x="988538" y="35813"/>
                  </a:lnTo>
                  <a:close/>
                  <a:moveTo>
                    <a:pt x="1558141" y="33800"/>
                  </a:moveTo>
                  <a:lnTo>
                    <a:pt x="1581117" y="34563"/>
                  </a:lnTo>
                  <a:lnTo>
                    <a:pt x="1589273" y="35356"/>
                  </a:lnTo>
                  <a:lnTo>
                    <a:pt x="1591249" y="37586"/>
                  </a:lnTo>
                  <a:lnTo>
                    <a:pt x="1583635" y="41617"/>
                  </a:lnTo>
                  <a:lnTo>
                    <a:pt x="1556059" y="39049"/>
                  </a:lnTo>
                  <a:lnTo>
                    <a:pt x="1554814" y="37194"/>
                  </a:lnTo>
                  <a:lnTo>
                    <a:pt x="1554410" y="36047"/>
                  </a:lnTo>
                  <a:close/>
                  <a:moveTo>
                    <a:pt x="1684860" y="30308"/>
                  </a:moveTo>
                  <a:lnTo>
                    <a:pt x="1687099" y="31348"/>
                  </a:lnTo>
                  <a:lnTo>
                    <a:pt x="1688913" y="33920"/>
                  </a:lnTo>
                  <a:lnTo>
                    <a:pt x="1690930" y="34895"/>
                  </a:lnTo>
                  <a:lnTo>
                    <a:pt x="1693401" y="35356"/>
                  </a:lnTo>
                  <a:lnTo>
                    <a:pt x="1699685" y="39772"/>
                  </a:lnTo>
                  <a:lnTo>
                    <a:pt x="1700911" y="41005"/>
                  </a:lnTo>
                  <a:lnTo>
                    <a:pt x="1701719" y="43372"/>
                  </a:lnTo>
                  <a:lnTo>
                    <a:pt x="1704597" y="45237"/>
                  </a:lnTo>
                  <a:lnTo>
                    <a:pt x="1705962" y="47122"/>
                  </a:lnTo>
                  <a:lnTo>
                    <a:pt x="1720527" y="53129"/>
                  </a:lnTo>
                  <a:lnTo>
                    <a:pt x="1726925" y="53911"/>
                  </a:lnTo>
                  <a:lnTo>
                    <a:pt x="1729774" y="55379"/>
                  </a:lnTo>
                  <a:lnTo>
                    <a:pt x="1730615" y="57185"/>
                  </a:lnTo>
                  <a:lnTo>
                    <a:pt x="1730318" y="60544"/>
                  </a:lnTo>
                  <a:lnTo>
                    <a:pt x="1727902" y="60514"/>
                  </a:lnTo>
                  <a:lnTo>
                    <a:pt x="1726094" y="61574"/>
                  </a:lnTo>
                  <a:lnTo>
                    <a:pt x="1716275" y="62892"/>
                  </a:lnTo>
                  <a:lnTo>
                    <a:pt x="1713880" y="64864"/>
                  </a:lnTo>
                  <a:lnTo>
                    <a:pt x="1711941" y="68891"/>
                  </a:lnTo>
                  <a:lnTo>
                    <a:pt x="1712984" y="69693"/>
                  </a:lnTo>
                  <a:lnTo>
                    <a:pt x="1713923" y="70886"/>
                  </a:lnTo>
                  <a:lnTo>
                    <a:pt x="1716912" y="77708"/>
                  </a:lnTo>
                  <a:lnTo>
                    <a:pt x="1717722" y="78751"/>
                  </a:lnTo>
                  <a:lnTo>
                    <a:pt x="1720600" y="79738"/>
                  </a:lnTo>
                  <a:lnTo>
                    <a:pt x="1717979" y="82302"/>
                  </a:lnTo>
                  <a:lnTo>
                    <a:pt x="1715253" y="83915"/>
                  </a:lnTo>
                  <a:lnTo>
                    <a:pt x="1686078" y="87165"/>
                  </a:lnTo>
                  <a:lnTo>
                    <a:pt x="1666301" y="88512"/>
                  </a:lnTo>
                  <a:lnTo>
                    <a:pt x="1659665" y="89909"/>
                  </a:lnTo>
                  <a:lnTo>
                    <a:pt x="1657538" y="89743"/>
                  </a:lnTo>
                  <a:lnTo>
                    <a:pt x="1652305" y="92275"/>
                  </a:lnTo>
                  <a:lnTo>
                    <a:pt x="1642221" y="95604"/>
                  </a:lnTo>
                  <a:lnTo>
                    <a:pt x="1637408" y="95629"/>
                  </a:lnTo>
                  <a:lnTo>
                    <a:pt x="1622983" y="90957"/>
                  </a:lnTo>
                  <a:lnTo>
                    <a:pt x="1605276" y="87047"/>
                  </a:lnTo>
                  <a:lnTo>
                    <a:pt x="1602857" y="84812"/>
                  </a:lnTo>
                  <a:lnTo>
                    <a:pt x="1598423" y="83495"/>
                  </a:lnTo>
                  <a:lnTo>
                    <a:pt x="1592801" y="82446"/>
                  </a:lnTo>
                  <a:lnTo>
                    <a:pt x="1590290" y="77935"/>
                  </a:lnTo>
                  <a:lnTo>
                    <a:pt x="1593916" y="74877"/>
                  </a:lnTo>
                  <a:lnTo>
                    <a:pt x="1598535" y="71860"/>
                  </a:lnTo>
                  <a:lnTo>
                    <a:pt x="1606274" y="70756"/>
                  </a:lnTo>
                  <a:lnTo>
                    <a:pt x="1613598" y="69009"/>
                  </a:lnTo>
                  <a:lnTo>
                    <a:pt x="1619100" y="64633"/>
                  </a:lnTo>
                  <a:lnTo>
                    <a:pt x="1622513" y="60292"/>
                  </a:lnTo>
                  <a:lnTo>
                    <a:pt x="1628736" y="55742"/>
                  </a:lnTo>
                  <a:lnTo>
                    <a:pt x="1617911" y="56908"/>
                  </a:lnTo>
                  <a:lnTo>
                    <a:pt x="1613922" y="56279"/>
                  </a:lnTo>
                  <a:lnTo>
                    <a:pt x="1614311" y="54774"/>
                  </a:lnTo>
                  <a:lnTo>
                    <a:pt x="1616526" y="51561"/>
                  </a:lnTo>
                  <a:lnTo>
                    <a:pt x="1617727" y="50479"/>
                  </a:lnTo>
                  <a:lnTo>
                    <a:pt x="1621575" y="48783"/>
                  </a:lnTo>
                  <a:lnTo>
                    <a:pt x="1624371" y="45533"/>
                  </a:lnTo>
                  <a:lnTo>
                    <a:pt x="1630863" y="43288"/>
                  </a:lnTo>
                  <a:lnTo>
                    <a:pt x="1633929" y="42897"/>
                  </a:lnTo>
                  <a:lnTo>
                    <a:pt x="1637010" y="42953"/>
                  </a:lnTo>
                  <a:lnTo>
                    <a:pt x="1642586" y="41899"/>
                  </a:lnTo>
                  <a:lnTo>
                    <a:pt x="1648142" y="40283"/>
                  </a:lnTo>
                  <a:lnTo>
                    <a:pt x="1653346" y="39350"/>
                  </a:lnTo>
                  <a:lnTo>
                    <a:pt x="1658568" y="38971"/>
                  </a:lnTo>
                  <a:lnTo>
                    <a:pt x="1663571" y="37680"/>
                  </a:lnTo>
                  <a:lnTo>
                    <a:pt x="1668503" y="35139"/>
                  </a:lnTo>
                  <a:lnTo>
                    <a:pt x="1670684" y="30804"/>
                  </a:lnTo>
                  <a:close/>
                  <a:moveTo>
                    <a:pt x="872778" y="24158"/>
                  </a:moveTo>
                  <a:lnTo>
                    <a:pt x="877330" y="25817"/>
                  </a:lnTo>
                  <a:lnTo>
                    <a:pt x="879403" y="27972"/>
                  </a:lnTo>
                  <a:lnTo>
                    <a:pt x="878043" y="29011"/>
                  </a:lnTo>
                  <a:lnTo>
                    <a:pt x="873264" y="29689"/>
                  </a:lnTo>
                  <a:lnTo>
                    <a:pt x="864907" y="28576"/>
                  </a:lnTo>
                  <a:lnTo>
                    <a:pt x="862499" y="27332"/>
                  </a:lnTo>
                  <a:lnTo>
                    <a:pt x="863037" y="26120"/>
                  </a:lnTo>
                  <a:lnTo>
                    <a:pt x="868479" y="24466"/>
                  </a:lnTo>
                  <a:close/>
                  <a:moveTo>
                    <a:pt x="842741" y="15362"/>
                  </a:moveTo>
                  <a:lnTo>
                    <a:pt x="844812" y="16344"/>
                  </a:lnTo>
                  <a:lnTo>
                    <a:pt x="845971" y="18434"/>
                  </a:lnTo>
                  <a:lnTo>
                    <a:pt x="849375" y="19628"/>
                  </a:lnTo>
                  <a:lnTo>
                    <a:pt x="858649" y="20662"/>
                  </a:lnTo>
                  <a:lnTo>
                    <a:pt x="861476" y="23069"/>
                  </a:lnTo>
                  <a:lnTo>
                    <a:pt x="857230" y="24722"/>
                  </a:lnTo>
                  <a:lnTo>
                    <a:pt x="845883" y="25715"/>
                  </a:lnTo>
                  <a:lnTo>
                    <a:pt x="847060" y="29114"/>
                  </a:lnTo>
                  <a:lnTo>
                    <a:pt x="849347" y="31650"/>
                  </a:lnTo>
                  <a:lnTo>
                    <a:pt x="847081" y="34647"/>
                  </a:lnTo>
                  <a:lnTo>
                    <a:pt x="843916" y="36098"/>
                  </a:lnTo>
                  <a:lnTo>
                    <a:pt x="836867" y="37881"/>
                  </a:lnTo>
                  <a:lnTo>
                    <a:pt x="830421" y="35642"/>
                  </a:lnTo>
                  <a:lnTo>
                    <a:pt x="822957" y="32534"/>
                  </a:lnTo>
                  <a:lnTo>
                    <a:pt x="819581" y="34607"/>
                  </a:lnTo>
                  <a:lnTo>
                    <a:pt x="816116" y="35810"/>
                  </a:lnTo>
                  <a:lnTo>
                    <a:pt x="812831" y="35634"/>
                  </a:lnTo>
                  <a:lnTo>
                    <a:pt x="809029" y="33264"/>
                  </a:lnTo>
                  <a:lnTo>
                    <a:pt x="798519" y="35119"/>
                  </a:lnTo>
                  <a:lnTo>
                    <a:pt x="795334" y="33050"/>
                  </a:lnTo>
                  <a:lnTo>
                    <a:pt x="792976" y="28699"/>
                  </a:lnTo>
                  <a:lnTo>
                    <a:pt x="799961" y="27741"/>
                  </a:lnTo>
                  <a:lnTo>
                    <a:pt x="808251" y="29124"/>
                  </a:lnTo>
                  <a:lnTo>
                    <a:pt x="813732" y="24720"/>
                  </a:lnTo>
                  <a:lnTo>
                    <a:pt x="820676" y="22808"/>
                  </a:lnTo>
                  <a:lnTo>
                    <a:pt x="826299" y="18217"/>
                  </a:lnTo>
                  <a:lnTo>
                    <a:pt x="828918" y="16599"/>
                  </a:lnTo>
                  <a:lnTo>
                    <a:pt x="834967" y="16914"/>
                  </a:lnTo>
                  <a:lnTo>
                    <a:pt x="836988" y="16512"/>
                  </a:lnTo>
                  <a:close/>
                  <a:moveTo>
                    <a:pt x="955033" y="7193"/>
                  </a:moveTo>
                  <a:lnTo>
                    <a:pt x="975258" y="8871"/>
                  </a:lnTo>
                  <a:lnTo>
                    <a:pt x="976537" y="10098"/>
                  </a:lnTo>
                  <a:lnTo>
                    <a:pt x="976869" y="10858"/>
                  </a:lnTo>
                  <a:lnTo>
                    <a:pt x="973962" y="13000"/>
                  </a:lnTo>
                  <a:lnTo>
                    <a:pt x="971254" y="13675"/>
                  </a:lnTo>
                  <a:lnTo>
                    <a:pt x="957024" y="13024"/>
                  </a:lnTo>
                  <a:lnTo>
                    <a:pt x="950127" y="11745"/>
                  </a:lnTo>
                  <a:lnTo>
                    <a:pt x="949203" y="11006"/>
                  </a:lnTo>
                  <a:lnTo>
                    <a:pt x="948849" y="10364"/>
                  </a:lnTo>
                  <a:lnTo>
                    <a:pt x="939810" y="9293"/>
                  </a:lnTo>
                  <a:lnTo>
                    <a:pt x="943735" y="7851"/>
                  </a:lnTo>
                  <a:close/>
                  <a:moveTo>
                    <a:pt x="876909" y="0"/>
                  </a:moveTo>
                  <a:lnTo>
                    <a:pt x="880152" y="1532"/>
                  </a:lnTo>
                  <a:lnTo>
                    <a:pt x="879010" y="3899"/>
                  </a:lnTo>
                  <a:lnTo>
                    <a:pt x="879001" y="5067"/>
                  </a:lnTo>
                  <a:lnTo>
                    <a:pt x="855540" y="7392"/>
                  </a:lnTo>
                  <a:lnTo>
                    <a:pt x="848230" y="8428"/>
                  </a:lnTo>
                  <a:lnTo>
                    <a:pt x="847252" y="7641"/>
                  </a:lnTo>
                  <a:lnTo>
                    <a:pt x="847001" y="7035"/>
                  </a:lnTo>
                  <a:lnTo>
                    <a:pt x="847794" y="5659"/>
                  </a:lnTo>
                  <a:lnTo>
                    <a:pt x="848675" y="3045"/>
                  </a:lnTo>
                  <a:lnTo>
                    <a:pt x="851983" y="1397"/>
                  </a:lnTo>
                  <a:close/>
                </a:path>
              </a:pathLst>
            </a:custGeom>
            <a:solidFill>
              <a:srgbClr val="A3BA1E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31" name="ee4p_AL_1_82333">
              <a:extLst>
                <a:ext uri="{FF2B5EF4-FFF2-40B4-BE49-F238E27FC236}">
                  <a16:creationId xmlns:a16="http://schemas.microsoft.com/office/drawing/2014/main" id="{23A86B5C-4425-614E-0F72-A22D7FD6C450}"/>
                </a:ext>
              </a:extLst>
            </p:cNvPr>
            <p:cNvSpPr>
              <a:spLocks noChangeAspect="1"/>
            </p:cNvSpPr>
            <p:nvPr>
              <p:custDataLst>
                <p:tags r:id="rId59"/>
              </p:custDataLst>
            </p:nvPr>
          </p:nvSpPr>
          <p:spPr>
            <a:xfrm>
              <a:off x="7050112" y="3380220"/>
              <a:ext cx="48609" cy="101771"/>
            </a:xfrm>
            <a:custGeom>
              <a:avLst/>
              <a:gdLst/>
              <a:ahLst/>
              <a:cxnLst/>
              <a:rect l="0" t="0" r="0" b="0"/>
              <a:pathLst>
                <a:path w="38706" h="78890">
                  <a:moveTo>
                    <a:pt x="17320" y="2687"/>
                  </a:moveTo>
                  <a:lnTo>
                    <a:pt x="18195" y="3291"/>
                  </a:lnTo>
                  <a:lnTo>
                    <a:pt x="20013" y="5925"/>
                  </a:lnTo>
                  <a:lnTo>
                    <a:pt x="21225" y="8240"/>
                  </a:lnTo>
                  <a:lnTo>
                    <a:pt x="23606" y="9044"/>
                  </a:lnTo>
                  <a:lnTo>
                    <a:pt x="24935" y="9945"/>
                  </a:lnTo>
                  <a:lnTo>
                    <a:pt x="26640" y="11317"/>
                  </a:lnTo>
                  <a:lnTo>
                    <a:pt x="27467" y="12697"/>
                  </a:lnTo>
                  <a:lnTo>
                    <a:pt x="28629" y="16906"/>
                  </a:lnTo>
                  <a:lnTo>
                    <a:pt x="28763" y="19445"/>
                  </a:lnTo>
                  <a:lnTo>
                    <a:pt x="28426" y="20605"/>
                  </a:lnTo>
                  <a:lnTo>
                    <a:pt x="28137" y="20905"/>
                  </a:lnTo>
                  <a:lnTo>
                    <a:pt x="27077" y="25035"/>
                  </a:lnTo>
                  <a:lnTo>
                    <a:pt x="27330" y="27137"/>
                  </a:lnTo>
                  <a:lnTo>
                    <a:pt x="27321" y="28520"/>
                  </a:lnTo>
                  <a:lnTo>
                    <a:pt x="26423" y="29066"/>
                  </a:lnTo>
                  <a:lnTo>
                    <a:pt x="25827" y="29934"/>
                  </a:lnTo>
                  <a:lnTo>
                    <a:pt x="26794" y="33365"/>
                  </a:lnTo>
                  <a:lnTo>
                    <a:pt x="26675" y="34825"/>
                  </a:lnTo>
                  <a:lnTo>
                    <a:pt x="26718" y="36499"/>
                  </a:lnTo>
                  <a:lnTo>
                    <a:pt x="28463" y="40315"/>
                  </a:lnTo>
                  <a:lnTo>
                    <a:pt x="29493" y="41494"/>
                  </a:lnTo>
                  <a:lnTo>
                    <a:pt x="30413" y="42057"/>
                  </a:lnTo>
                  <a:lnTo>
                    <a:pt x="31590" y="45563"/>
                  </a:lnTo>
                  <a:lnTo>
                    <a:pt x="32287" y="46170"/>
                  </a:lnTo>
                  <a:lnTo>
                    <a:pt x="35148" y="45838"/>
                  </a:lnTo>
                  <a:lnTo>
                    <a:pt x="36548" y="46227"/>
                  </a:lnTo>
                  <a:lnTo>
                    <a:pt x="37103" y="47057"/>
                  </a:lnTo>
                  <a:lnTo>
                    <a:pt x="37228" y="47625"/>
                  </a:lnTo>
                  <a:lnTo>
                    <a:pt x="37040" y="49585"/>
                  </a:lnTo>
                  <a:lnTo>
                    <a:pt x="37751" y="51094"/>
                  </a:lnTo>
                  <a:lnTo>
                    <a:pt x="38705" y="52646"/>
                  </a:lnTo>
                  <a:lnTo>
                    <a:pt x="38701" y="53594"/>
                  </a:lnTo>
                  <a:lnTo>
                    <a:pt x="38061" y="55143"/>
                  </a:lnTo>
                  <a:lnTo>
                    <a:pt x="36917" y="56950"/>
                  </a:lnTo>
                  <a:lnTo>
                    <a:pt x="35401" y="57643"/>
                  </a:lnTo>
                  <a:lnTo>
                    <a:pt x="33730" y="58231"/>
                  </a:lnTo>
                  <a:lnTo>
                    <a:pt x="32933" y="59633"/>
                  </a:lnTo>
                  <a:lnTo>
                    <a:pt x="32527" y="61123"/>
                  </a:lnTo>
                  <a:lnTo>
                    <a:pt x="31780" y="62228"/>
                  </a:lnTo>
                  <a:lnTo>
                    <a:pt x="31318" y="63438"/>
                  </a:lnTo>
                  <a:lnTo>
                    <a:pt x="30610" y="65909"/>
                  </a:lnTo>
                  <a:lnTo>
                    <a:pt x="30443" y="66807"/>
                  </a:lnTo>
                  <a:lnTo>
                    <a:pt x="29312" y="67713"/>
                  </a:lnTo>
                  <a:lnTo>
                    <a:pt x="27561" y="68082"/>
                  </a:lnTo>
                  <a:lnTo>
                    <a:pt x="25990" y="68159"/>
                  </a:lnTo>
                  <a:lnTo>
                    <a:pt x="24928" y="68579"/>
                  </a:lnTo>
                  <a:lnTo>
                    <a:pt x="24391" y="69421"/>
                  </a:lnTo>
                  <a:lnTo>
                    <a:pt x="23391" y="70102"/>
                  </a:lnTo>
                  <a:lnTo>
                    <a:pt x="22786" y="70405"/>
                  </a:lnTo>
                  <a:lnTo>
                    <a:pt x="22790" y="71152"/>
                  </a:lnTo>
                  <a:lnTo>
                    <a:pt x="23518" y="72719"/>
                  </a:lnTo>
                  <a:lnTo>
                    <a:pt x="24345" y="73991"/>
                  </a:lnTo>
                  <a:lnTo>
                    <a:pt x="24362" y="75011"/>
                  </a:lnTo>
                  <a:lnTo>
                    <a:pt x="23956" y="75294"/>
                  </a:lnTo>
                  <a:lnTo>
                    <a:pt x="22676" y="75166"/>
                  </a:lnTo>
                  <a:lnTo>
                    <a:pt x="22404" y="75542"/>
                  </a:lnTo>
                  <a:lnTo>
                    <a:pt x="22265" y="76677"/>
                  </a:lnTo>
                  <a:lnTo>
                    <a:pt x="21922" y="77650"/>
                  </a:lnTo>
                  <a:lnTo>
                    <a:pt x="21395" y="78243"/>
                  </a:lnTo>
                  <a:lnTo>
                    <a:pt x="20480" y="78889"/>
                  </a:lnTo>
                  <a:lnTo>
                    <a:pt x="18804" y="78679"/>
                  </a:lnTo>
                  <a:lnTo>
                    <a:pt x="17228" y="77704"/>
                  </a:lnTo>
                  <a:lnTo>
                    <a:pt x="16405" y="77403"/>
                  </a:lnTo>
                  <a:lnTo>
                    <a:pt x="15934" y="77436"/>
                  </a:lnTo>
                  <a:lnTo>
                    <a:pt x="15809" y="75052"/>
                  </a:lnTo>
                  <a:lnTo>
                    <a:pt x="15129" y="73197"/>
                  </a:lnTo>
                  <a:lnTo>
                    <a:pt x="12630" y="68733"/>
                  </a:lnTo>
                  <a:lnTo>
                    <a:pt x="4509" y="64389"/>
                  </a:lnTo>
                  <a:lnTo>
                    <a:pt x="2598" y="62432"/>
                  </a:lnTo>
                  <a:lnTo>
                    <a:pt x="1758" y="60789"/>
                  </a:lnTo>
                  <a:lnTo>
                    <a:pt x="920" y="59236"/>
                  </a:lnTo>
                  <a:lnTo>
                    <a:pt x="1723" y="59192"/>
                  </a:lnTo>
                  <a:lnTo>
                    <a:pt x="2518" y="59586"/>
                  </a:lnTo>
                  <a:lnTo>
                    <a:pt x="3535" y="60057"/>
                  </a:lnTo>
                  <a:lnTo>
                    <a:pt x="3948" y="59280"/>
                  </a:lnTo>
                  <a:lnTo>
                    <a:pt x="3507" y="57582"/>
                  </a:lnTo>
                  <a:lnTo>
                    <a:pt x="1414" y="53604"/>
                  </a:lnTo>
                  <a:lnTo>
                    <a:pt x="1257" y="52510"/>
                  </a:lnTo>
                  <a:lnTo>
                    <a:pt x="2283" y="49180"/>
                  </a:lnTo>
                  <a:lnTo>
                    <a:pt x="3993" y="45434"/>
                  </a:lnTo>
                  <a:lnTo>
                    <a:pt x="3879" y="40888"/>
                  </a:lnTo>
                  <a:lnTo>
                    <a:pt x="4410" y="37455"/>
                  </a:lnTo>
                  <a:lnTo>
                    <a:pt x="3820" y="35223"/>
                  </a:lnTo>
                  <a:lnTo>
                    <a:pt x="3537" y="32484"/>
                  </a:lnTo>
                  <a:lnTo>
                    <a:pt x="4792" y="28839"/>
                  </a:lnTo>
                  <a:lnTo>
                    <a:pt x="5863" y="27937"/>
                  </a:lnTo>
                  <a:lnTo>
                    <a:pt x="6524" y="26783"/>
                  </a:lnTo>
                  <a:lnTo>
                    <a:pt x="6565" y="22889"/>
                  </a:lnTo>
                  <a:lnTo>
                    <a:pt x="4148" y="21070"/>
                  </a:lnTo>
                  <a:lnTo>
                    <a:pt x="1365" y="20727"/>
                  </a:lnTo>
                  <a:lnTo>
                    <a:pt x="1434" y="19407"/>
                  </a:lnTo>
                  <a:lnTo>
                    <a:pt x="1780" y="17313"/>
                  </a:lnTo>
                  <a:lnTo>
                    <a:pt x="1581" y="16615"/>
                  </a:lnTo>
                  <a:lnTo>
                    <a:pt x="1786" y="15418"/>
                  </a:lnTo>
                  <a:lnTo>
                    <a:pt x="1110" y="13819"/>
                  </a:lnTo>
                  <a:lnTo>
                    <a:pt x="0" y="12669"/>
                  </a:lnTo>
                  <a:lnTo>
                    <a:pt x="1069" y="10628"/>
                  </a:lnTo>
                  <a:lnTo>
                    <a:pt x="2630" y="8162"/>
                  </a:lnTo>
                  <a:lnTo>
                    <a:pt x="4079" y="6205"/>
                  </a:lnTo>
                  <a:lnTo>
                    <a:pt x="5835" y="4163"/>
                  </a:lnTo>
                  <a:lnTo>
                    <a:pt x="7005" y="2203"/>
                  </a:lnTo>
                  <a:lnTo>
                    <a:pt x="8266" y="517"/>
                  </a:lnTo>
                  <a:lnTo>
                    <a:pt x="9348" y="0"/>
                  </a:lnTo>
                  <a:lnTo>
                    <a:pt x="9888" y="358"/>
                  </a:lnTo>
                  <a:lnTo>
                    <a:pt x="10173" y="1095"/>
                  </a:lnTo>
                  <a:lnTo>
                    <a:pt x="10108" y="3278"/>
                  </a:lnTo>
                  <a:lnTo>
                    <a:pt x="10477" y="4030"/>
                  </a:lnTo>
                  <a:lnTo>
                    <a:pt x="11225" y="4584"/>
                  </a:lnTo>
                  <a:lnTo>
                    <a:pt x="12805" y="4313"/>
                  </a:lnTo>
                  <a:lnTo>
                    <a:pt x="14559" y="3770"/>
                  </a:lnTo>
                  <a:lnTo>
                    <a:pt x="16917" y="2617"/>
                  </a:lnTo>
                  <a:close/>
                </a:path>
              </a:pathLst>
            </a:custGeom>
            <a:solidFill>
              <a:srgbClr val="A3BA1E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32" name="ee4p_AD_1_82333">
              <a:extLst>
                <a:ext uri="{FF2B5EF4-FFF2-40B4-BE49-F238E27FC236}">
                  <a16:creationId xmlns:a16="http://schemas.microsoft.com/office/drawing/2014/main" id="{42AC6718-1F41-D313-00B3-19F034B35146}"/>
                </a:ext>
              </a:extLst>
            </p:cNvPr>
            <p:cNvSpPr>
              <a:spLocks noChangeAspect="1"/>
            </p:cNvSpPr>
            <p:nvPr>
              <p:custDataLst>
                <p:tags r:id="rId60"/>
              </p:custDataLst>
            </p:nvPr>
          </p:nvSpPr>
          <p:spPr>
            <a:xfrm>
              <a:off x="6553990" y="3380399"/>
              <a:ext cx="9037" cy="7170"/>
            </a:xfrm>
            <a:custGeom>
              <a:avLst/>
              <a:gdLst/>
              <a:ahLst/>
              <a:cxnLst/>
              <a:rect l="0" t="0" r="0" b="0"/>
              <a:pathLst>
                <a:path w="7196" h="5558">
                  <a:moveTo>
                    <a:pt x="6440" y="3721"/>
                  </a:moveTo>
                  <a:lnTo>
                    <a:pt x="5830" y="3898"/>
                  </a:lnTo>
                  <a:lnTo>
                    <a:pt x="3794" y="4984"/>
                  </a:lnTo>
                  <a:lnTo>
                    <a:pt x="2637" y="5364"/>
                  </a:lnTo>
                  <a:lnTo>
                    <a:pt x="1579" y="5557"/>
                  </a:lnTo>
                  <a:lnTo>
                    <a:pt x="752" y="5477"/>
                  </a:lnTo>
                  <a:lnTo>
                    <a:pt x="294" y="4841"/>
                  </a:lnTo>
                  <a:lnTo>
                    <a:pt x="342" y="3867"/>
                  </a:lnTo>
                  <a:lnTo>
                    <a:pt x="158" y="2988"/>
                  </a:lnTo>
                  <a:lnTo>
                    <a:pt x="0" y="2519"/>
                  </a:lnTo>
                  <a:lnTo>
                    <a:pt x="298" y="1250"/>
                  </a:lnTo>
                  <a:lnTo>
                    <a:pt x="974" y="562"/>
                  </a:lnTo>
                  <a:lnTo>
                    <a:pt x="1914" y="0"/>
                  </a:lnTo>
                  <a:lnTo>
                    <a:pt x="3391" y="206"/>
                  </a:lnTo>
                  <a:lnTo>
                    <a:pt x="6524" y="1023"/>
                  </a:lnTo>
                  <a:lnTo>
                    <a:pt x="7178" y="1784"/>
                  </a:lnTo>
                  <a:lnTo>
                    <a:pt x="7195" y="2296"/>
                  </a:lnTo>
                  <a:lnTo>
                    <a:pt x="6614" y="3126"/>
                  </a:lnTo>
                  <a:close/>
                </a:path>
              </a:pathLst>
            </a:custGeom>
            <a:solidFill>
              <a:srgbClr val="A3BA1E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33" name="ee4p_AT_1_82333">
              <a:extLst>
                <a:ext uri="{FF2B5EF4-FFF2-40B4-BE49-F238E27FC236}">
                  <a16:creationId xmlns:a16="http://schemas.microsoft.com/office/drawing/2014/main" id="{48F7C1B0-DF40-A38D-64C6-35B4F5D9E055}"/>
                </a:ext>
              </a:extLst>
            </p:cNvPr>
            <p:cNvSpPr>
              <a:spLocks noChangeAspect="1"/>
            </p:cNvSpPr>
            <p:nvPr>
              <p:custDataLst>
                <p:tags r:id="rId61"/>
              </p:custDataLst>
            </p:nvPr>
          </p:nvSpPr>
          <p:spPr>
            <a:xfrm>
              <a:off x="6779176" y="3154150"/>
              <a:ext cx="211696" cy="94388"/>
            </a:xfrm>
            <a:custGeom>
              <a:avLst/>
              <a:gdLst/>
              <a:ahLst/>
              <a:cxnLst/>
              <a:rect l="0" t="0" r="0" b="0"/>
              <a:pathLst>
                <a:path w="168569" h="73167">
                  <a:moveTo>
                    <a:pt x="164274" y="11453"/>
                  </a:moveTo>
                  <a:lnTo>
                    <a:pt x="164178" y="11744"/>
                  </a:lnTo>
                  <a:lnTo>
                    <a:pt x="164057" y="12813"/>
                  </a:lnTo>
                  <a:lnTo>
                    <a:pt x="163198" y="14159"/>
                  </a:lnTo>
                  <a:lnTo>
                    <a:pt x="162274" y="15920"/>
                  </a:lnTo>
                  <a:lnTo>
                    <a:pt x="162334" y="17465"/>
                  </a:lnTo>
                  <a:lnTo>
                    <a:pt x="164705" y="22810"/>
                  </a:lnTo>
                  <a:lnTo>
                    <a:pt x="166811" y="26055"/>
                  </a:lnTo>
                  <a:lnTo>
                    <a:pt x="167210" y="27289"/>
                  </a:lnTo>
                  <a:lnTo>
                    <a:pt x="168568" y="28237"/>
                  </a:lnTo>
                  <a:lnTo>
                    <a:pt x="167279" y="29431"/>
                  </a:lnTo>
                  <a:lnTo>
                    <a:pt x="167029" y="31200"/>
                  </a:lnTo>
                  <a:lnTo>
                    <a:pt x="166193" y="31987"/>
                  </a:lnTo>
                  <a:lnTo>
                    <a:pt x="165975" y="32997"/>
                  </a:lnTo>
                  <a:lnTo>
                    <a:pt x="166325" y="33914"/>
                  </a:lnTo>
                  <a:lnTo>
                    <a:pt x="166318" y="35062"/>
                  </a:lnTo>
                  <a:lnTo>
                    <a:pt x="166783" y="36643"/>
                  </a:lnTo>
                  <a:lnTo>
                    <a:pt x="164722" y="36987"/>
                  </a:lnTo>
                  <a:lnTo>
                    <a:pt x="162274" y="36933"/>
                  </a:lnTo>
                  <a:lnTo>
                    <a:pt x="161397" y="37025"/>
                  </a:lnTo>
                  <a:lnTo>
                    <a:pt x="160576" y="37456"/>
                  </a:lnTo>
                  <a:lnTo>
                    <a:pt x="159728" y="37242"/>
                  </a:lnTo>
                  <a:lnTo>
                    <a:pt x="157515" y="35758"/>
                  </a:lnTo>
                  <a:lnTo>
                    <a:pt x="156264" y="35434"/>
                  </a:lnTo>
                  <a:lnTo>
                    <a:pt x="155381" y="35524"/>
                  </a:lnTo>
                  <a:lnTo>
                    <a:pt x="154720" y="36168"/>
                  </a:lnTo>
                  <a:lnTo>
                    <a:pt x="153582" y="36994"/>
                  </a:lnTo>
                  <a:lnTo>
                    <a:pt x="152513" y="37574"/>
                  </a:lnTo>
                  <a:lnTo>
                    <a:pt x="152753" y="38084"/>
                  </a:lnTo>
                  <a:lnTo>
                    <a:pt x="157344" y="39417"/>
                  </a:lnTo>
                  <a:lnTo>
                    <a:pt x="158158" y="41463"/>
                  </a:lnTo>
                  <a:lnTo>
                    <a:pt x="157275" y="43130"/>
                  </a:lnTo>
                  <a:lnTo>
                    <a:pt x="156975" y="43945"/>
                  </a:lnTo>
                  <a:lnTo>
                    <a:pt x="155899" y="44587"/>
                  </a:lnTo>
                  <a:lnTo>
                    <a:pt x="154580" y="45151"/>
                  </a:lnTo>
                  <a:lnTo>
                    <a:pt x="152991" y="45292"/>
                  </a:lnTo>
                  <a:lnTo>
                    <a:pt x="152803" y="46191"/>
                  </a:lnTo>
                  <a:lnTo>
                    <a:pt x="153427" y="48832"/>
                  </a:lnTo>
                  <a:lnTo>
                    <a:pt x="152922" y="49403"/>
                  </a:lnTo>
                  <a:lnTo>
                    <a:pt x="152416" y="50223"/>
                  </a:lnTo>
                  <a:lnTo>
                    <a:pt x="152891" y="52391"/>
                  </a:lnTo>
                  <a:lnTo>
                    <a:pt x="153874" y="52545"/>
                  </a:lnTo>
                  <a:lnTo>
                    <a:pt x="154092" y="53041"/>
                  </a:lnTo>
                  <a:lnTo>
                    <a:pt x="153917" y="53918"/>
                  </a:lnTo>
                  <a:lnTo>
                    <a:pt x="153744" y="54851"/>
                  </a:lnTo>
                  <a:lnTo>
                    <a:pt x="153397" y="55839"/>
                  </a:lnTo>
                  <a:lnTo>
                    <a:pt x="153224" y="56277"/>
                  </a:lnTo>
                  <a:lnTo>
                    <a:pt x="152572" y="56551"/>
                  </a:lnTo>
                  <a:lnTo>
                    <a:pt x="150535" y="56405"/>
                  </a:lnTo>
                  <a:lnTo>
                    <a:pt x="148782" y="57250"/>
                  </a:lnTo>
                  <a:lnTo>
                    <a:pt x="145256" y="60279"/>
                  </a:lnTo>
                  <a:lnTo>
                    <a:pt x="144021" y="60793"/>
                  </a:lnTo>
                  <a:lnTo>
                    <a:pt x="142686" y="62004"/>
                  </a:lnTo>
                  <a:lnTo>
                    <a:pt x="142766" y="64663"/>
                  </a:lnTo>
                  <a:lnTo>
                    <a:pt x="142585" y="64903"/>
                  </a:lnTo>
                  <a:lnTo>
                    <a:pt x="142261" y="65448"/>
                  </a:lnTo>
                  <a:lnTo>
                    <a:pt x="138043" y="64512"/>
                  </a:lnTo>
                  <a:lnTo>
                    <a:pt x="137896" y="64527"/>
                  </a:lnTo>
                  <a:lnTo>
                    <a:pt x="135074" y="64869"/>
                  </a:lnTo>
                  <a:lnTo>
                    <a:pt x="133144" y="66087"/>
                  </a:lnTo>
                  <a:lnTo>
                    <a:pt x="130798" y="66782"/>
                  </a:lnTo>
                  <a:lnTo>
                    <a:pt x="125884" y="66412"/>
                  </a:lnTo>
                  <a:lnTo>
                    <a:pt x="121101" y="66884"/>
                  </a:lnTo>
                  <a:lnTo>
                    <a:pt x="119967" y="67238"/>
                  </a:lnTo>
                  <a:lnTo>
                    <a:pt x="118726" y="67442"/>
                  </a:lnTo>
                  <a:lnTo>
                    <a:pt x="117562" y="68149"/>
                  </a:lnTo>
                  <a:lnTo>
                    <a:pt x="116897" y="69146"/>
                  </a:lnTo>
                  <a:lnTo>
                    <a:pt x="115707" y="70408"/>
                  </a:lnTo>
                  <a:lnTo>
                    <a:pt x="114014" y="71399"/>
                  </a:lnTo>
                  <a:lnTo>
                    <a:pt x="112174" y="72157"/>
                  </a:lnTo>
                  <a:lnTo>
                    <a:pt x="111736" y="72799"/>
                  </a:lnTo>
                  <a:lnTo>
                    <a:pt x="111131" y="73166"/>
                  </a:lnTo>
                  <a:lnTo>
                    <a:pt x="110107" y="72686"/>
                  </a:lnTo>
                  <a:lnTo>
                    <a:pt x="109276" y="72711"/>
                  </a:lnTo>
                  <a:lnTo>
                    <a:pt x="108259" y="72384"/>
                  </a:lnTo>
                  <a:lnTo>
                    <a:pt x="104884" y="72029"/>
                  </a:lnTo>
                  <a:lnTo>
                    <a:pt x="101174" y="71441"/>
                  </a:lnTo>
                  <a:lnTo>
                    <a:pt x="99408" y="70878"/>
                  </a:lnTo>
                  <a:lnTo>
                    <a:pt x="97399" y="70434"/>
                  </a:lnTo>
                  <a:lnTo>
                    <a:pt x="95244" y="70072"/>
                  </a:lnTo>
                  <a:lnTo>
                    <a:pt x="93312" y="69987"/>
                  </a:lnTo>
                  <a:lnTo>
                    <a:pt x="92340" y="69821"/>
                  </a:lnTo>
                  <a:lnTo>
                    <a:pt x="87697" y="68841"/>
                  </a:lnTo>
                  <a:lnTo>
                    <a:pt x="84635" y="68775"/>
                  </a:lnTo>
                  <a:lnTo>
                    <a:pt x="80593" y="68366"/>
                  </a:lnTo>
                  <a:lnTo>
                    <a:pt x="72562" y="66887"/>
                  </a:lnTo>
                  <a:lnTo>
                    <a:pt x="70223" y="66287"/>
                  </a:lnTo>
                  <a:lnTo>
                    <a:pt x="67986" y="66102"/>
                  </a:lnTo>
                  <a:lnTo>
                    <a:pt x="65345" y="65590"/>
                  </a:lnTo>
                  <a:lnTo>
                    <a:pt x="63335" y="64752"/>
                  </a:lnTo>
                  <a:lnTo>
                    <a:pt x="62048" y="63161"/>
                  </a:lnTo>
                  <a:lnTo>
                    <a:pt x="60675" y="61043"/>
                  </a:lnTo>
                  <a:lnTo>
                    <a:pt x="58157" y="58273"/>
                  </a:lnTo>
                  <a:lnTo>
                    <a:pt x="57641" y="56892"/>
                  </a:lnTo>
                  <a:lnTo>
                    <a:pt x="58409" y="55680"/>
                  </a:lnTo>
                  <a:lnTo>
                    <a:pt x="59200" y="54766"/>
                  </a:lnTo>
                  <a:lnTo>
                    <a:pt x="59109" y="54372"/>
                  </a:lnTo>
                  <a:lnTo>
                    <a:pt x="58496" y="54173"/>
                  </a:lnTo>
                  <a:lnTo>
                    <a:pt x="54076" y="55358"/>
                  </a:lnTo>
                  <a:lnTo>
                    <a:pt x="49789" y="56855"/>
                  </a:lnTo>
                  <a:lnTo>
                    <a:pt x="48103" y="56894"/>
                  </a:lnTo>
                  <a:lnTo>
                    <a:pt x="46468" y="56562"/>
                  </a:lnTo>
                  <a:lnTo>
                    <a:pt x="44302" y="56539"/>
                  </a:lnTo>
                  <a:lnTo>
                    <a:pt x="42216" y="56939"/>
                  </a:lnTo>
                  <a:lnTo>
                    <a:pt x="38042" y="57145"/>
                  </a:lnTo>
                  <a:lnTo>
                    <a:pt x="35598" y="58247"/>
                  </a:lnTo>
                  <a:lnTo>
                    <a:pt x="34041" y="60395"/>
                  </a:lnTo>
                  <a:lnTo>
                    <a:pt x="33192" y="62127"/>
                  </a:lnTo>
                  <a:lnTo>
                    <a:pt x="32488" y="62683"/>
                  </a:lnTo>
                  <a:lnTo>
                    <a:pt x="31031" y="62892"/>
                  </a:lnTo>
                  <a:lnTo>
                    <a:pt x="28854" y="62732"/>
                  </a:lnTo>
                  <a:lnTo>
                    <a:pt x="27325" y="62229"/>
                  </a:lnTo>
                  <a:lnTo>
                    <a:pt x="25766" y="60750"/>
                  </a:lnTo>
                  <a:lnTo>
                    <a:pt x="23345" y="60546"/>
                  </a:lnTo>
                  <a:lnTo>
                    <a:pt x="21126" y="60507"/>
                  </a:lnTo>
                  <a:lnTo>
                    <a:pt x="20538" y="60233"/>
                  </a:lnTo>
                  <a:lnTo>
                    <a:pt x="20577" y="59272"/>
                  </a:lnTo>
                  <a:lnTo>
                    <a:pt x="19700" y="57459"/>
                  </a:lnTo>
                  <a:lnTo>
                    <a:pt x="18251" y="56892"/>
                  </a:lnTo>
                  <a:lnTo>
                    <a:pt x="14501" y="60305"/>
                  </a:lnTo>
                  <a:lnTo>
                    <a:pt x="13477" y="60607"/>
                  </a:lnTo>
                  <a:lnTo>
                    <a:pt x="10456" y="59664"/>
                  </a:lnTo>
                  <a:lnTo>
                    <a:pt x="7821" y="58205"/>
                  </a:lnTo>
                  <a:lnTo>
                    <a:pt x="7532" y="57137"/>
                  </a:lnTo>
                  <a:lnTo>
                    <a:pt x="7104" y="56261"/>
                  </a:lnTo>
                  <a:lnTo>
                    <a:pt x="4887" y="55431"/>
                  </a:lnTo>
                  <a:lnTo>
                    <a:pt x="2121" y="54862"/>
                  </a:lnTo>
                  <a:lnTo>
                    <a:pt x="1244" y="54865"/>
                  </a:lnTo>
                  <a:lnTo>
                    <a:pt x="1585" y="54349"/>
                  </a:lnTo>
                  <a:lnTo>
                    <a:pt x="1913" y="53475"/>
                  </a:lnTo>
                  <a:lnTo>
                    <a:pt x="1706" y="52778"/>
                  </a:lnTo>
                  <a:lnTo>
                    <a:pt x="1058" y="52056"/>
                  </a:lnTo>
                  <a:lnTo>
                    <a:pt x="702" y="51284"/>
                  </a:lnTo>
                  <a:lnTo>
                    <a:pt x="598" y="50535"/>
                  </a:lnTo>
                  <a:lnTo>
                    <a:pt x="402" y="49924"/>
                  </a:lnTo>
                  <a:lnTo>
                    <a:pt x="283" y="49350"/>
                  </a:lnTo>
                  <a:lnTo>
                    <a:pt x="78" y="48899"/>
                  </a:lnTo>
                  <a:lnTo>
                    <a:pt x="1881" y="45509"/>
                  </a:lnTo>
                  <a:lnTo>
                    <a:pt x="2252" y="43399"/>
                  </a:lnTo>
                  <a:lnTo>
                    <a:pt x="672" y="42162"/>
                  </a:lnTo>
                  <a:lnTo>
                    <a:pt x="0" y="41794"/>
                  </a:lnTo>
                  <a:lnTo>
                    <a:pt x="551" y="41519"/>
                  </a:lnTo>
                  <a:lnTo>
                    <a:pt x="2799" y="41748"/>
                  </a:lnTo>
                  <a:lnTo>
                    <a:pt x="4226" y="41048"/>
                  </a:lnTo>
                  <a:lnTo>
                    <a:pt x="4973" y="40354"/>
                  </a:lnTo>
                  <a:lnTo>
                    <a:pt x="6968" y="41006"/>
                  </a:lnTo>
                  <a:lnTo>
                    <a:pt x="9897" y="42325"/>
                  </a:lnTo>
                  <a:lnTo>
                    <a:pt x="11279" y="43215"/>
                  </a:lnTo>
                  <a:lnTo>
                    <a:pt x="11849" y="43903"/>
                  </a:lnTo>
                  <a:lnTo>
                    <a:pt x="12166" y="44479"/>
                  </a:lnTo>
                  <a:lnTo>
                    <a:pt x="11991" y="45465"/>
                  </a:lnTo>
                  <a:lnTo>
                    <a:pt x="12658" y="45851"/>
                  </a:lnTo>
                  <a:lnTo>
                    <a:pt x="14036" y="46000"/>
                  </a:lnTo>
                  <a:lnTo>
                    <a:pt x="14954" y="46304"/>
                  </a:lnTo>
                  <a:lnTo>
                    <a:pt x="14632" y="47599"/>
                  </a:lnTo>
                  <a:lnTo>
                    <a:pt x="14572" y="48673"/>
                  </a:lnTo>
                  <a:lnTo>
                    <a:pt x="15846" y="48524"/>
                  </a:lnTo>
                  <a:lnTo>
                    <a:pt x="17441" y="47704"/>
                  </a:lnTo>
                  <a:lnTo>
                    <a:pt x="18687" y="46230"/>
                  </a:lnTo>
                  <a:lnTo>
                    <a:pt x="19456" y="44802"/>
                  </a:lnTo>
                  <a:lnTo>
                    <a:pt x="20042" y="41321"/>
                  </a:lnTo>
                  <a:lnTo>
                    <a:pt x="20242" y="41027"/>
                  </a:lnTo>
                  <a:lnTo>
                    <a:pt x="21201" y="41301"/>
                  </a:lnTo>
                  <a:lnTo>
                    <a:pt x="25090" y="41149"/>
                  </a:lnTo>
                  <a:lnTo>
                    <a:pt x="26923" y="41797"/>
                  </a:lnTo>
                  <a:lnTo>
                    <a:pt x="29830" y="41907"/>
                  </a:lnTo>
                  <a:lnTo>
                    <a:pt x="29776" y="42452"/>
                  </a:lnTo>
                  <a:lnTo>
                    <a:pt x="30292" y="43303"/>
                  </a:lnTo>
                  <a:lnTo>
                    <a:pt x="31579" y="44530"/>
                  </a:lnTo>
                  <a:lnTo>
                    <a:pt x="32214" y="45331"/>
                  </a:lnTo>
                  <a:lnTo>
                    <a:pt x="33566" y="45471"/>
                  </a:lnTo>
                  <a:lnTo>
                    <a:pt x="35645" y="45030"/>
                  </a:lnTo>
                  <a:lnTo>
                    <a:pt x="36865" y="44572"/>
                  </a:lnTo>
                  <a:lnTo>
                    <a:pt x="37323" y="44897"/>
                  </a:lnTo>
                  <a:lnTo>
                    <a:pt x="39225" y="44580"/>
                  </a:lnTo>
                  <a:lnTo>
                    <a:pt x="40910" y="43589"/>
                  </a:lnTo>
                  <a:lnTo>
                    <a:pt x="41326" y="42834"/>
                  </a:lnTo>
                  <a:lnTo>
                    <a:pt x="43028" y="42303"/>
                  </a:lnTo>
                  <a:lnTo>
                    <a:pt x="45328" y="41078"/>
                  </a:lnTo>
                  <a:lnTo>
                    <a:pt x="48487" y="40130"/>
                  </a:lnTo>
                  <a:lnTo>
                    <a:pt x="58854" y="39118"/>
                  </a:lnTo>
                  <a:lnTo>
                    <a:pt x="59256" y="38353"/>
                  </a:lnTo>
                  <a:lnTo>
                    <a:pt x="59102" y="36600"/>
                  </a:lnTo>
                  <a:lnTo>
                    <a:pt x="59377" y="36342"/>
                  </a:lnTo>
                  <a:lnTo>
                    <a:pt x="60683" y="36779"/>
                  </a:lnTo>
                  <a:lnTo>
                    <a:pt x="62780" y="37188"/>
                  </a:lnTo>
                  <a:lnTo>
                    <a:pt x="64385" y="37808"/>
                  </a:lnTo>
                  <a:lnTo>
                    <a:pt x="65428" y="38618"/>
                  </a:lnTo>
                  <a:lnTo>
                    <a:pt x="66393" y="38651"/>
                  </a:lnTo>
                  <a:lnTo>
                    <a:pt x="67889" y="38084"/>
                  </a:lnTo>
                  <a:lnTo>
                    <a:pt x="69915" y="37718"/>
                  </a:lnTo>
                  <a:lnTo>
                    <a:pt x="71806" y="38559"/>
                  </a:lnTo>
                  <a:lnTo>
                    <a:pt x="72355" y="39469"/>
                  </a:lnTo>
                  <a:lnTo>
                    <a:pt x="72022" y="39935"/>
                  </a:lnTo>
                  <a:lnTo>
                    <a:pt x="72059" y="40673"/>
                  </a:lnTo>
                  <a:lnTo>
                    <a:pt x="72646" y="41290"/>
                  </a:lnTo>
                  <a:lnTo>
                    <a:pt x="74184" y="42293"/>
                  </a:lnTo>
                  <a:lnTo>
                    <a:pt x="76155" y="43156"/>
                  </a:lnTo>
                  <a:lnTo>
                    <a:pt x="77179" y="43089"/>
                  </a:lnTo>
                  <a:lnTo>
                    <a:pt x="77559" y="42249"/>
                  </a:lnTo>
                  <a:lnTo>
                    <a:pt x="77922" y="40252"/>
                  </a:lnTo>
                  <a:lnTo>
                    <a:pt x="78058" y="38117"/>
                  </a:lnTo>
                  <a:lnTo>
                    <a:pt x="77604" y="36891"/>
                  </a:lnTo>
                  <a:lnTo>
                    <a:pt x="76542" y="36591"/>
                  </a:lnTo>
                  <a:lnTo>
                    <a:pt x="75272" y="36494"/>
                  </a:lnTo>
                  <a:lnTo>
                    <a:pt x="74598" y="36241"/>
                  </a:lnTo>
                  <a:lnTo>
                    <a:pt x="74834" y="35567"/>
                  </a:lnTo>
                  <a:lnTo>
                    <a:pt x="75849" y="33823"/>
                  </a:lnTo>
                  <a:lnTo>
                    <a:pt x="75834" y="31489"/>
                  </a:lnTo>
                  <a:lnTo>
                    <a:pt x="73542" y="28834"/>
                  </a:lnTo>
                  <a:lnTo>
                    <a:pt x="71556" y="26261"/>
                  </a:lnTo>
                  <a:lnTo>
                    <a:pt x="71562" y="25385"/>
                  </a:lnTo>
                  <a:lnTo>
                    <a:pt x="72754" y="23863"/>
                  </a:lnTo>
                  <a:lnTo>
                    <a:pt x="74594" y="22651"/>
                  </a:lnTo>
                  <a:lnTo>
                    <a:pt x="78678" y="20632"/>
                  </a:lnTo>
                  <a:lnTo>
                    <a:pt x="79967" y="20211"/>
                  </a:lnTo>
                  <a:lnTo>
                    <a:pt x="81621" y="19873"/>
                  </a:lnTo>
                  <a:lnTo>
                    <a:pt x="84000" y="19042"/>
                  </a:lnTo>
                  <a:lnTo>
                    <a:pt x="85145" y="18188"/>
                  </a:lnTo>
                  <a:lnTo>
                    <a:pt x="85914" y="17260"/>
                  </a:lnTo>
                  <a:lnTo>
                    <a:pt x="87030" y="12426"/>
                  </a:lnTo>
                  <a:lnTo>
                    <a:pt x="87291" y="12220"/>
                  </a:lnTo>
                  <a:lnTo>
                    <a:pt x="87622" y="11935"/>
                  </a:lnTo>
                  <a:lnTo>
                    <a:pt x="91792" y="13604"/>
                  </a:lnTo>
                  <a:lnTo>
                    <a:pt x="92167" y="13328"/>
                  </a:lnTo>
                  <a:lnTo>
                    <a:pt x="92869" y="13056"/>
                  </a:lnTo>
                  <a:lnTo>
                    <a:pt x="94227" y="11776"/>
                  </a:lnTo>
                  <a:lnTo>
                    <a:pt x="94525" y="10803"/>
                  </a:lnTo>
                  <a:lnTo>
                    <a:pt x="94495" y="8963"/>
                  </a:lnTo>
                  <a:lnTo>
                    <a:pt x="94616" y="7226"/>
                  </a:lnTo>
                  <a:lnTo>
                    <a:pt x="94877" y="6673"/>
                  </a:lnTo>
                  <a:lnTo>
                    <a:pt x="95506" y="6874"/>
                  </a:lnTo>
                  <a:lnTo>
                    <a:pt x="97300" y="7780"/>
                  </a:lnTo>
                  <a:lnTo>
                    <a:pt x="98725" y="8792"/>
                  </a:lnTo>
                  <a:lnTo>
                    <a:pt x="100060" y="11349"/>
                  </a:lnTo>
                  <a:lnTo>
                    <a:pt x="103171" y="12028"/>
                  </a:lnTo>
                  <a:lnTo>
                    <a:pt x="107101" y="12095"/>
                  </a:lnTo>
                  <a:lnTo>
                    <a:pt x="108505" y="10957"/>
                  </a:lnTo>
                  <a:lnTo>
                    <a:pt x="109779" y="10694"/>
                  </a:lnTo>
                  <a:lnTo>
                    <a:pt x="111222" y="11041"/>
                  </a:lnTo>
                  <a:lnTo>
                    <a:pt x="114260" y="11441"/>
                  </a:lnTo>
                  <a:lnTo>
                    <a:pt x="114599" y="9376"/>
                  </a:lnTo>
                  <a:lnTo>
                    <a:pt x="116352" y="7230"/>
                  </a:lnTo>
                  <a:lnTo>
                    <a:pt x="117147" y="6472"/>
                  </a:lnTo>
                  <a:lnTo>
                    <a:pt x="119373" y="6546"/>
                  </a:lnTo>
                  <a:lnTo>
                    <a:pt x="119922" y="4942"/>
                  </a:lnTo>
                  <a:lnTo>
                    <a:pt x="120470" y="490"/>
                  </a:lnTo>
                  <a:lnTo>
                    <a:pt x="120941" y="0"/>
                  </a:lnTo>
                  <a:lnTo>
                    <a:pt x="122563" y="93"/>
                  </a:lnTo>
                  <a:lnTo>
                    <a:pt x="124176" y="906"/>
                  </a:lnTo>
                  <a:lnTo>
                    <a:pt x="124662" y="1564"/>
                  </a:lnTo>
                  <a:lnTo>
                    <a:pt x="125500" y="1511"/>
                  </a:lnTo>
                  <a:lnTo>
                    <a:pt x="126674" y="1063"/>
                  </a:lnTo>
                  <a:lnTo>
                    <a:pt x="127961" y="773"/>
                  </a:lnTo>
                  <a:lnTo>
                    <a:pt x="129995" y="1248"/>
                  </a:lnTo>
                  <a:lnTo>
                    <a:pt x="134340" y="3272"/>
                  </a:lnTo>
                  <a:lnTo>
                    <a:pt x="136581" y="4010"/>
                  </a:lnTo>
                  <a:lnTo>
                    <a:pt x="138002" y="3869"/>
                  </a:lnTo>
                  <a:lnTo>
                    <a:pt x="139332" y="3896"/>
                  </a:lnTo>
                  <a:lnTo>
                    <a:pt x="144463" y="7019"/>
                  </a:lnTo>
                  <a:lnTo>
                    <a:pt x="148048" y="7456"/>
                  </a:lnTo>
                  <a:lnTo>
                    <a:pt x="151319" y="7469"/>
                  </a:lnTo>
                  <a:lnTo>
                    <a:pt x="152371" y="6527"/>
                  </a:lnTo>
                  <a:lnTo>
                    <a:pt x="153766" y="5729"/>
                  </a:lnTo>
                  <a:lnTo>
                    <a:pt x="155217" y="5839"/>
                  </a:lnTo>
                  <a:lnTo>
                    <a:pt x="156486" y="6248"/>
                  </a:lnTo>
                  <a:lnTo>
                    <a:pt x="158957" y="7604"/>
                  </a:lnTo>
                  <a:lnTo>
                    <a:pt x="160101" y="7951"/>
                  </a:lnTo>
                  <a:lnTo>
                    <a:pt x="161622" y="8170"/>
                  </a:lnTo>
                  <a:lnTo>
                    <a:pt x="162738" y="8472"/>
                  </a:lnTo>
                  <a:lnTo>
                    <a:pt x="163725" y="10826"/>
                  </a:lnTo>
                  <a:close/>
                </a:path>
              </a:pathLst>
            </a:custGeom>
            <a:solidFill>
              <a:srgbClr val="A3BA1E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34" name="ee4p_BE_1_82333">
              <a:extLst>
                <a:ext uri="{FF2B5EF4-FFF2-40B4-BE49-F238E27FC236}">
                  <a16:creationId xmlns:a16="http://schemas.microsoft.com/office/drawing/2014/main" id="{8F22C1DF-06E4-35B2-C3FC-7C9A36B600A7}"/>
                </a:ext>
              </a:extLst>
            </p:cNvPr>
            <p:cNvSpPr>
              <a:spLocks noChangeAspect="1"/>
            </p:cNvSpPr>
            <p:nvPr>
              <p:custDataLst>
                <p:tags r:id="rId62"/>
              </p:custDataLst>
            </p:nvPr>
          </p:nvSpPr>
          <p:spPr>
            <a:xfrm>
              <a:off x="6584815" y="3061149"/>
              <a:ext cx="106624" cy="74184"/>
            </a:xfrm>
            <a:custGeom>
              <a:avLst/>
              <a:gdLst/>
              <a:ahLst/>
              <a:cxnLst/>
              <a:rect l="0" t="0" r="0" b="0"/>
              <a:pathLst>
                <a:path w="84902" h="57505">
                  <a:moveTo>
                    <a:pt x="50661" y="1713"/>
                  </a:moveTo>
                  <a:lnTo>
                    <a:pt x="50765" y="2322"/>
                  </a:lnTo>
                  <a:lnTo>
                    <a:pt x="51370" y="2580"/>
                  </a:lnTo>
                  <a:lnTo>
                    <a:pt x="53490" y="2448"/>
                  </a:lnTo>
                  <a:lnTo>
                    <a:pt x="54566" y="1344"/>
                  </a:lnTo>
                  <a:lnTo>
                    <a:pt x="55414" y="647"/>
                  </a:lnTo>
                  <a:lnTo>
                    <a:pt x="56045" y="1116"/>
                  </a:lnTo>
                  <a:lnTo>
                    <a:pt x="56353" y="2475"/>
                  </a:lnTo>
                  <a:lnTo>
                    <a:pt x="56939" y="4246"/>
                  </a:lnTo>
                  <a:lnTo>
                    <a:pt x="59465" y="6226"/>
                  </a:lnTo>
                  <a:lnTo>
                    <a:pt x="61603" y="6790"/>
                  </a:lnTo>
                  <a:lnTo>
                    <a:pt x="64233" y="6401"/>
                  </a:lnTo>
                  <a:lnTo>
                    <a:pt x="65274" y="6048"/>
                  </a:lnTo>
                  <a:lnTo>
                    <a:pt x="65980" y="6342"/>
                  </a:lnTo>
                  <a:lnTo>
                    <a:pt x="66680" y="7388"/>
                  </a:lnTo>
                  <a:lnTo>
                    <a:pt x="68191" y="8585"/>
                  </a:lnTo>
                  <a:lnTo>
                    <a:pt x="71365" y="9433"/>
                  </a:lnTo>
                  <a:lnTo>
                    <a:pt x="72342" y="9913"/>
                  </a:lnTo>
                  <a:lnTo>
                    <a:pt x="73019" y="10716"/>
                  </a:lnTo>
                  <a:lnTo>
                    <a:pt x="72823" y="11863"/>
                  </a:lnTo>
                  <a:lnTo>
                    <a:pt x="71309" y="14717"/>
                  </a:lnTo>
                  <a:lnTo>
                    <a:pt x="71111" y="15559"/>
                  </a:lnTo>
                  <a:lnTo>
                    <a:pt x="71314" y="15842"/>
                  </a:lnTo>
                  <a:lnTo>
                    <a:pt x="71018" y="16370"/>
                  </a:lnTo>
                  <a:lnTo>
                    <a:pt x="69048" y="18281"/>
                  </a:lnTo>
                  <a:lnTo>
                    <a:pt x="68869" y="18953"/>
                  </a:lnTo>
                  <a:lnTo>
                    <a:pt x="69525" y="20050"/>
                  </a:lnTo>
                  <a:lnTo>
                    <a:pt x="70065" y="20959"/>
                  </a:lnTo>
                  <a:lnTo>
                    <a:pt x="70087" y="20776"/>
                  </a:lnTo>
                  <a:lnTo>
                    <a:pt x="73104" y="19957"/>
                  </a:lnTo>
                  <a:lnTo>
                    <a:pt x="74464" y="21606"/>
                  </a:lnTo>
                  <a:lnTo>
                    <a:pt x="76708" y="21667"/>
                  </a:lnTo>
                  <a:lnTo>
                    <a:pt x="76973" y="22198"/>
                  </a:lnTo>
                  <a:lnTo>
                    <a:pt x="79483" y="23740"/>
                  </a:lnTo>
                  <a:lnTo>
                    <a:pt x="80258" y="24961"/>
                  </a:lnTo>
                  <a:lnTo>
                    <a:pt x="82059" y="26141"/>
                  </a:lnTo>
                  <a:lnTo>
                    <a:pt x="80567" y="27633"/>
                  </a:lnTo>
                  <a:lnTo>
                    <a:pt x="80793" y="28296"/>
                  </a:lnTo>
                  <a:lnTo>
                    <a:pt x="81331" y="28975"/>
                  </a:lnTo>
                  <a:lnTo>
                    <a:pt x="83363" y="29371"/>
                  </a:lnTo>
                  <a:lnTo>
                    <a:pt x="84380" y="30350"/>
                  </a:lnTo>
                  <a:lnTo>
                    <a:pt x="84440" y="31845"/>
                  </a:lnTo>
                  <a:lnTo>
                    <a:pt x="84901" y="34282"/>
                  </a:lnTo>
                  <a:lnTo>
                    <a:pt x="80714" y="36700"/>
                  </a:lnTo>
                  <a:lnTo>
                    <a:pt x="79524" y="39399"/>
                  </a:lnTo>
                  <a:lnTo>
                    <a:pt x="79418" y="39930"/>
                  </a:lnTo>
                  <a:lnTo>
                    <a:pt x="79275" y="39850"/>
                  </a:lnTo>
                  <a:lnTo>
                    <a:pt x="78811" y="38959"/>
                  </a:lnTo>
                  <a:lnTo>
                    <a:pt x="78053" y="38967"/>
                  </a:lnTo>
                  <a:lnTo>
                    <a:pt x="76317" y="38595"/>
                  </a:lnTo>
                  <a:lnTo>
                    <a:pt x="73898" y="41034"/>
                  </a:lnTo>
                  <a:lnTo>
                    <a:pt x="72804" y="43059"/>
                  </a:lnTo>
                  <a:lnTo>
                    <a:pt x="72156" y="44544"/>
                  </a:lnTo>
                  <a:lnTo>
                    <a:pt x="71182" y="45744"/>
                  </a:lnTo>
                  <a:lnTo>
                    <a:pt x="70987" y="47012"/>
                  </a:lnTo>
                  <a:lnTo>
                    <a:pt x="71111" y="47544"/>
                  </a:lnTo>
                  <a:lnTo>
                    <a:pt x="70778" y="48231"/>
                  </a:lnTo>
                  <a:lnTo>
                    <a:pt x="70761" y="48953"/>
                  </a:lnTo>
                  <a:lnTo>
                    <a:pt x="72154" y="50375"/>
                  </a:lnTo>
                  <a:lnTo>
                    <a:pt x="72501" y="51144"/>
                  </a:lnTo>
                  <a:lnTo>
                    <a:pt x="74197" y="53658"/>
                  </a:lnTo>
                  <a:lnTo>
                    <a:pt x="73669" y="54575"/>
                  </a:lnTo>
                  <a:lnTo>
                    <a:pt x="73250" y="55567"/>
                  </a:lnTo>
                  <a:lnTo>
                    <a:pt x="72761" y="56271"/>
                  </a:lnTo>
                  <a:lnTo>
                    <a:pt x="72192" y="56717"/>
                  </a:lnTo>
                  <a:lnTo>
                    <a:pt x="70439" y="56690"/>
                  </a:lnTo>
                  <a:lnTo>
                    <a:pt x="68219" y="57006"/>
                  </a:lnTo>
                  <a:lnTo>
                    <a:pt x="66723" y="57499"/>
                  </a:lnTo>
                  <a:lnTo>
                    <a:pt x="65947" y="57504"/>
                  </a:lnTo>
                  <a:lnTo>
                    <a:pt x="64341" y="56252"/>
                  </a:lnTo>
                  <a:lnTo>
                    <a:pt x="62546" y="54375"/>
                  </a:lnTo>
                  <a:lnTo>
                    <a:pt x="61406" y="53479"/>
                  </a:lnTo>
                  <a:lnTo>
                    <a:pt x="60895" y="52705"/>
                  </a:lnTo>
                  <a:lnTo>
                    <a:pt x="59485" y="52379"/>
                  </a:lnTo>
                  <a:lnTo>
                    <a:pt x="57474" y="51452"/>
                  </a:lnTo>
                  <a:lnTo>
                    <a:pt x="56079" y="50443"/>
                  </a:lnTo>
                  <a:lnTo>
                    <a:pt x="54883" y="49815"/>
                  </a:lnTo>
                  <a:lnTo>
                    <a:pt x="53194" y="49501"/>
                  </a:lnTo>
                  <a:lnTo>
                    <a:pt x="51801" y="49533"/>
                  </a:lnTo>
                  <a:lnTo>
                    <a:pt x="51393" y="47834"/>
                  </a:lnTo>
                  <a:lnTo>
                    <a:pt x="51225" y="45892"/>
                  </a:lnTo>
                  <a:lnTo>
                    <a:pt x="50087" y="44592"/>
                  </a:lnTo>
                  <a:lnTo>
                    <a:pt x="51646" y="39500"/>
                  </a:lnTo>
                  <a:lnTo>
                    <a:pt x="50720" y="39000"/>
                  </a:lnTo>
                  <a:lnTo>
                    <a:pt x="49707" y="39408"/>
                  </a:lnTo>
                  <a:lnTo>
                    <a:pt x="48243" y="40622"/>
                  </a:lnTo>
                  <a:lnTo>
                    <a:pt x="47545" y="42072"/>
                  </a:lnTo>
                  <a:lnTo>
                    <a:pt x="47126" y="43355"/>
                  </a:lnTo>
                  <a:lnTo>
                    <a:pt x="44669" y="44572"/>
                  </a:lnTo>
                  <a:lnTo>
                    <a:pt x="40771" y="45013"/>
                  </a:lnTo>
                  <a:lnTo>
                    <a:pt x="36511" y="44572"/>
                  </a:lnTo>
                  <a:lnTo>
                    <a:pt x="35919" y="44245"/>
                  </a:lnTo>
                  <a:lnTo>
                    <a:pt x="35647" y="43873"/>
                  </a:lnTo>
                  <a:lnTo>
                    <a:pt x="35643" y="43425"/>
                  </a:lnTo>
                  <a:lnTo>
                    <a:pt x="35941" y="42736"/>
                  </a:lnTo>
                  <a:lnTo>
                    <a:pt x="36684" y="41900"/>
                  </a:lnTo>
                  <a:lnTo>
                    <a:pt x="36867" y="40706"/>
                  </a:lnTo>
                  <a:lnTo>
                    <a:pt x="36105" y="39673"/>
                  </a:lnTo>
                  <a:lnTo>
                    <a:pt x="35608" y="39271"/>
                  </a:lnTo>
                  <a:lnTo>
                    <a:pt x="35805" y="38270"/>
                  </a:lnTo>
                  <a:lnTo>
                    <a:pt x="36368" y="37015"/>
                  </a:lnTo>
                  <a:lnTo>
                    <a:pt x="36478" y="36300"/>
                  </a:lnTo>
                  <a:lnTo>
                    <a:pt x="33594" y="34132"/>
                  </a:lnTo>
                  <a:lnTo>
                    <a:pt x="31505" y="33709"/>
                  </a:lnTo>
                  <a:lnTo>
                    <a:pt x="29480" y="33633"/>
                  </a:lnTo>
                  <a:lnTo>
                    <a:pt x="27942" y="33389"/>
                  </a:lnTo>
                  <a:lnTo>
                    <a:pt x="27046" y="33490"/>
                  </a:lnTo>
                  <a:lnTo>
                    <a:pt x="26401" y="34122"/>
                  </a:lnTo>
                  <a:lnTo>
                    <a:pt x="25748" y="34575"/>
                  </a:lnTo>
                  <a:lnTo>
                    <a:pt x="25260" y="34032"/>
                  </a:lnTo>
                  <a:lnTo>
                    <a:pt x="24364" y="30189"/>
                  </a:lnTo>
                  <a:lnTo>
                    <a:pt x="23671" y="29608"/>
                  </a:lnTo>
                  <a:lnTo>
                    <a:pt x="21052" y="28966"/>
                  </a:lnTo>
                  <a:lnTo>
                    <a:pt x="17497" y="28736"/>
                  </a:lnTo>
                  <a:lnTo>
                    <a:pt x="16549" y="28034"/>
                  </a:lnTo>
                  <a:lnTo>
                    <a:pt x="16029" y="26302"/>
                  </a:lnTo>
                  <a:lnTo>
                    <a:pt x="15701" y="24214"/>
                  </a:lnTo>
                  <a:lnTo>
                    <a:pt x="14530" y="22213"/>
                  </a:lnTo>
                  <a:lnTo>
                    <a:pt x="13930" y="21712"/>
                  </a:lnTo>
                  <a:lnTo>
                    <a:pt x="12868" y="20823"/>
                  </a:lnTo>
                  <a:lnTo>
                    <a:pt x="11010" y="21188"/>
                  </a:lnTo>
                  <a:lnTo>
                    <a:pt x="8780" y="22348"/>
                  </a:lnTo>
                  <a:lnTo>
                    <a:pt x="7463" y="22670"/>
                  </a:lnTo>
                  <a:lnTo>
                    <a:pt x="6962" y="22793"/>
                  </a:lnTo>
                  <a:lnTo>
                    <a:pt x="5184" y="21662"/>
                  </a:lnTo>
                  <a:lnTo>
                    <a:pt x="3189" y="19891"/>
                  </a:lnTo>
                  <a:lnTo>
                    <a:pt x="1589" y="18010"/>
                  </a:lnTo>
                  <a:lnTo>
                    <a:pt x="1203" y="16965"/>
                  </a:lnTo>
                  <a:lnTo>
                    <a:pt x="1693" y="15695"/>
                  </a:lnTo>
                  <a:lnTo>
                    <a:pt x="1103" y="14722"/>
                  </a:lnTo>
                  <a:lnTo>
                    <a:pt x="246" y="12942"/>
                  </a:lnTo>
                  <a:lnTo>
                    <a:pt x="0" y="11550"/>
                  </a:lnTo>
                  <a:lnTo>
                    <a:pt x="9624" y="6623"/>
                  </a:lnTo>
                  <a:lnTo>
                    <a:pt x="15485" y="4096"/>
                  </a:lnTo>
                  <a:lnTo>
                    <a:pt x="18247" y="3331"/>
                  </a:lnTo>
                  <a:lnTo>
                    <a:pt x="18910" y="5870"/>
                  </a:lnTo>
                  <a:lnTo>
                    <a:pt x="19413" y="6676"/>
                  </a:lnTo>
                  <a:lnTo>
                    <a:pt x="20069" y="7199"/>
                  </a:lnTo>
                  <a:lnTo>
                    <a:pt x="20942" y="7302"/>
                  </a:lnTo>
                  <a:lnTo>
                    <a:pt x="21939" y="6676"/>
                  </a:lnTo>
                  <a:lnTo>
                    <a:pt x="23336" y="6015"/>
                  </a:lnTo>
                  <a:lnTo>
                    <a:pt x="25582" y="6322"/>
                  </a:lnTo>
                  <a:lnTo>
                    <a:pt x="27215" y="6933"/>
                  </a:lnTo>
                  <a:lnTo>
                    <a:pt x="27795" y="7567"/>
                  </a:lnTo>
                  <a:lnTo>
                    <a:pt x="28875" y="8171"/>
                  </a:lnTo>
                  <a:lnTo>
                    <a:pt x="30452" y="8315"/>
                  </a:lnTo>
                  <a:lnTo>
                    <a:pt x="33503" y="7161"/>
                  </a:lnTo>
                  <a:lnTo>
                    <a:pt x="36433" y="5402"/>
                  </a:lnTo>
                  <a:lnTo>
                    <a:pt x="37293" y="4180"/>
                  </a:lnTo>
                  <a:lnTo>
                    <a:pt x="37619" y="3073"/>
                  </a:lnTo>
                  <a:lnTo>
                    <a:pt x="39351" y="3805"/>
                  </a:lnTo>
                  <a:lnTo>
                    <a:pt x="40881" y="3967"/>
                  </a:lnTo>
                  <a:lnTo>
                    <a:pt x="41551" y="3642"/>
                  </a:lnTo>
                  <a:lnTo>
                    <a:pt x="41125" y="1866"/>
                  </a:lnTo>
                  <a:lnTo>
                    <a:pt x="42367" y="920"/>
                  </a:lnTo>
                  <a:lnTo>
                    <a:pt x="43749" y="482"/>
                  </a:lnTo>
                  <a:lnTo>
                    <a:pt x="44373" y="1250"/>
                  </a:lnTo>
                  <a:lnTo>
                    <a:pt x="45636" y="2033"/>
                  </a:lnTo>
                  <a:lnTo>
                    <a:pt x="46636" y="2038"/>
                  </a:lnTo>
                  <a:lnTo>
                    <a:pt x="49327" y="0"/>
                  </a:lnTo>
                  <a:lnTo>
                    <a:pt x="49957" y="403"/>
                  </a:lnTo>
                  <a:lnTo>
                    <a:pt x="50540" y="1128"/>
                  </a:lnTo>
                  <a:close/>
                </a:path>
              </a:pathLst>
            </a:custGeom>
            <a:solidFill>
              <a:srgbClr val="A3BA1E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35" name="ee4p_BG_1_82333">
              <a:extLst>
                <a:ext uri="{FF2B5EF4-FFF2-40B4-BE49-F238E27FC236}">
                  <a16:creationId xmlns:a16="http://schemas.microsoft.com/office/drawing/2014/main" id="{7E4D5D79-5388-77C8-6C15-9756CC566E48}"/>
                </a:ext>
              </a:extLst>
            </p:cNvPr>
            <p:cNvSpPr>
              <a:spLocks noChangeAspect="1"/>
            </p:cNvSpPr>
            <p:nvPr>
              <p:custDataLst>
                <p:tags r:id="rId63"/>
              </p:custDataLst>
            </p:nvPr>
          </p:nvSpPr>
          <p:spPr>
            <a:xfrm>
              <a:off x="7135180" y="3325019"/>
              <a:ext cx="173319" cy="103277"/>
            </a:xfrm>
            <a:custGeom>
              <a:avLst/>
              <a:gdLst/>
              <a:ahLst/>
              <a:cxnLst/>
              <a:rect l="0" t="0" r="0" b="0"/>
              <a:pathLst>
                <a:path w="138010" h="80057">
                  <a:moveTo>
                    <a:pt x="138009" y="13408"/>
                  </a:moveTo>
                  <a:lnTo>
                    <a:pt x="137488" y="19904"/>
                  </a:lnTo>
                  <a:lnTo>
                    <a:pt x="135357" y="22918"/>
                  </a:lnTo>
                  <a:lnTo>
                    <a:pt x="132133" y="21908"/>
                  </a:lnTo>
                  <a:lnTo>
                    <a:pt x="128021" y="22749"/>
                  </a:lnTo>
                  <a:lnTo>
                    <a:pt x="125843" y="26172"/>
                  </a:lnTo>
                  <a:lnTo>
                    <a:pt x="124607" y="27186"/>
                  </a:lnTo>
                  <a:lnTo>
                    <a:pt x="123493" y="28378"/>
                  </a:lnTo>
                  <a:lnTo>
                    <a:pt x="122776" y="32816"/>
                  </a:lnTo>
                  <a:lnTo>
                    <a:pt x="122608" y="40070"/>
                  </a:lnTo>
                  <a:lnTo>
                    <a:pt x="121049" y="40954"/>
                  </a:lnTo>
                  <a:lnTo>
                    <a:pt x="119619" y="41224"/>
                  </a:lnTo>
                  <a:lnTo>
                    <a:pt x="113672" y="47590"/>
                  </a:lnTo>
                  <a:lnTo>
                    <a:pt x="117095" y="49378"/>
                  </a:lnTo>
                  <a:lnTo>
                    <a:pt x="118613" y="50738"/>
                  </a:lnTo>
                  <a:lnTo>
                    <a:pt x="121115" y="54516"/>
                  </a:lnTo>
                  <a:lnTo>
                    <a:pt x="124683" y="58784"/>
                  </a:lnTo>
                  <a:lnTo>
                    <a:pt x="125385" y="60865"/>
                  </a:lnTo>
                  <a:lnTo>
                    <a:pt x="122394" y="60399"/>
                  </a:lnTo>
                  <a:lnTo>
                    <a:pt x="121349" y="60540"/>
                  </a:lnTo>
                  <a:lnTo>
                    <a:pt x="120679" y="61197"/>
                  </a:lnTo>
                  <a:lnTo>
                    <a:pt x="119291" y="61064"/>
                  </a:lnTo>
                  <a:lnTo>
                    <a:pt x="117572" y="61070"/>
                  </a:lnTo>
                  <a:lnTo>
                    <a:pt x="115775" y="61824"/>
                  </a:lnTo>
                  <a:lnTo>
                    <a:pt x="114780" y="62145"/>
                  </a:lnTo>
                  <a:lnTo>
                    <a:pt x="113452" y="61453"/>
                  </a:lnTo>
                  <a:lnTo>
                    <a:pt x="110977" y="59378"/>
                  </a:lnTo>
                  <a:lnTo>
                    <a:pt x="109474" y="57931"/>
                  </a:lnTo>
                  <a:lnTo>
                    <a:pt x="108356" y="57566"/>
                  </a:lnTo>
                  <a:lnTo>
                    <a:pt x="107229" y="57996"/>
                  </a:lnTo>
                  <a:lnTo>
                    <a:pt x="103212" y="58486"/>
                  </a:lnTo>
                  <a:lnTo>
                    <a:pt x="102262" y="59330"/>
                  </a:lnTo>
                  <a:lnTo>
                    <a:pt x="100407" y="60260"/>
                  </a:lnTo>
                  <a:lnTo>
                    <a:pt x="98539" y="60703"/>
                  </a:lnTo>
                  <a:lnTo>
                    <a:pt x="95860" y="61017"/>
                  </a:lnTo>
                  <a:lnTo>
                    <a:pt x="94447" y="60975"/>
                  </a:lnTo>
                  <a:lnTo>
                    <a:pt x="93659" y="61425"/>
                  </a:lnTo>
                  <a:lnTo>
                    <a:pt x="92996" y="62784"/>
                  </a:lnTo>
                  <a:lnTo>
                    <a:pt x="92545" y="64111"/>
                  </a:lnTo>
                  <a:lnTo>
                    <a:pt x="92150" y="64649"/>
                  </a:lnTo>
                  <a:lnTo>
                    <a:pt x="88809" y="65306"/>
                  </a:lnTo>
                  <a:lnTo>
                    <a:pt x="88077" y="66068"/>
                  </a:lnTo>
                  <a:lnTo>
                    <a:pt x="87872" y="66813"/>
                  </a:lnTo>
                  <a:lnTo>
                    <a:pt x="87936" y="67558"/>
                  </a:lnTo>
                  <a:lnTo>
                    <a:pt x="85276" y="66837"/>
                  </a:lnTo>
                  <a:lnTo>
                    <a:pt x="83216" y="67316"/>
                  </a:lnTo>
                  <a:lnTo>
                    <a:pt x="82732" y="67887"/>
                  </a:lnTo>
                  <a:lnTo>
                    <a:pt x="82301" y="68705"/>
                  </a:lnTo>
                  <a:lnTo>
                    <a:pt x="82543" y="69580"/>
                  </a:lnTo>
                  <a:lnTo>
                    <a:pt x="83300" y="70426"/>
                  </a:lnTo>
                  <a:lnTo>
                    <a:pt x="84015" y="72718"/>
                  </a:lnTo>
                  <a:lnTo>
                    <a:pt x="84272" y="75007"/>
                  </a:lnTo>
                  <a:lnTo>
                    <a:pt x="83834" y="76304"/>
                  </a:lnTo>
                  <a:lnTo>
                    <a:pt x="82309" y="77230"/>
                  </a:lnTo>
                  <a:lnTo>
                    <a:pt x="79146" y="78253"/>
                  </a:lnTo>
                  <a:lnTo>
                    <a:pt x="76086" y="77764"/>
                  </a:lnTo>
                  <a:lnTo>
                    <a:pt x="74736" y="78170"/>
                  </a:lnTo>
                  <a:lnTo>
                    <a:pt x="72471" y="78300"/>
                  </a:lnTo>
                  <a:lnTo>
                    <a:pt x="70383" y="78572"/>
                  </a:lnTo>
                  <a:lnTo>
                    <a:pt x="67174" y="79507"/>
                  </a:lnTo>
                  <a:lnTo>
                    <a:pt x="64283" y="80056"/>
                  </a:lnTo>
                  <a:lnTo>
                    <a:pt x="61678" y="78151"/>
                  </a:lnTo>
                  <a:lnTo>
                    <a:pt x="58586" y="76852"/>
                  </a:lnTo>
                  <a:lnTo>
                    <a:pt x="55343" y="76080"/>
                  </a:lnTo>
                  <a:lnTo>
                    <a:pt x="54214" y="76643"/>
                  </a:lnTo>
                  <a:lnTo>
                    <a:pt x="53725" y="77087"/>
                  </a:lnTo>
                  <a:lnTo>
                    <a:pt x="51013" y="75401"/>
                  </a:lnTo>
                  <a:lnTo>
                    <a:pt x="49795" y="74800"/>
                  </a:lnTo>
                  <a:lnTo>
                    <a:pt x="49206" y="74148"/>
                  </a:lnTo>
                  <a:lnTo>
                    <a:pt x="48076" y="71898"/>
                  </a:lnTo>
                  <a:lnTo>
                    <a:pt x="47405" y="71827"/>
                  </a:lnTo>
                  <a:lnTo>
                    <a:pt x="45168" y="72665"/>
                  </a:lnTo>
                  <a:lnTo>
                    <a:pt x="43017" y="72625"/>
                  </a:lnTo>
                  <a:lnTo>
                    <a:pt x="41711" y="72472"/>
                  </a:lnTo>
                  <a:lnTo>
                    <a:pt x="37856" y="72566"/>
                  </a:lnTo>
                  <a:lnTo>
                    <a:pt x="37345" y="74103"/>
                  </a:lnTo>
                  <a:lnTo>
                    <a:pt x="36867" y="74342"/>
                  </a:lnTo>
                  <a:lnTo>
                    <a:pt x="36031" y="74547"/>
                  </a:lnTo>
                  <a:lnTo>
                    <a:pt x="33982" y="74450"/>
                  </a:lnTo>
                  <a:lnTo>
                    <a:pt x="31361" y="75585"/>
                  </a:lnTo>
                  <a:lnTo>
                    <a:pt x="28549" y="76277"/>
                  </a:lnTo>
                  <a:lnTo>
                    <a:pt x="26353" y="76296"/>
                  </a:lnTo>
                  <a:lnTo>
                    <a:pt x="24088" y="75961"/>
                  </a:lnTo>
                  <a:lnTo>
                    <a:pt x="22732" y="76201"/>
                  </a:lnTo>
                  <a:lnTo>
                    <a:pt x="19808" y="76325"/>
                  </a:lnTo>
                  <a:lnTo>
                    <a:pt x="17953" y="77985"/>
                  </a:lnTo>
                  <a:lnTo>
                    <a:pt x="15070" y="77891"/>
                  </a:lnTo>
                  <a:lnTo>
                    <a:pt x="12648" y="77610"/>
                  </a:lnTo>
                  <a:lnTo>
                    <a:pt x="12950" y="77087"/>
                  </a:lnTo>
                  <a:lnTo>
                    <a:pt x="13431" y="70494"/>
                  </a:lnTo>
                  <a:lnTo>
                    <a:pt x="14630" y="67548"/>
                  </a:lnTo>
                  <a:lnTo>
                    <a:pt x="14584" y="66942"/>
                  </a:lnTo>
                  <a:lnTo>
                    <a:pt x="14327" y="66482"/>
                  </a:lnTo>
                  <a:lnTo>
                    <a:pt x="13265" y="66008"/>
                  </a:lnTo>
                  <a:lnTo>
                    <a:pt x="12496" y="64415"/>
                  </a:lnTo>
                  <a:lnTo>
                    <a:pt x="10896" y="60213"/>
                  </a:lnTo>
                  <a:lnTo>
                    <a:pt x="9996" y="59361"/>
                  </a:lnTo>
                  <a:lnTo>
                    <a:pt x="7480" y="58473"/>
                  </a:lnTo>
                  <a:lnTo>
                    <a:pt x="5277" y="57259"/>
                  </a:lnTo>
                  <a:lnTo>
                    <a:pt x="3410" y="55657"/>
                  </a:lnTo>
                  <a:lnTo>
                    <a:pt x="0" y="51696"/>
                  </a:lnTo>
                  <a:lnTo>
                    <a:pt x="1725" y="51300"/>
                  </a:lnTo>
                  <a:lnTo>
                    <a:pt x="2248" y="50493"/>
                  </a:lnTo>
                  <a:lnTo>
                    <a:pt x="3969" y="48313"/>
                  </a:lnTo>
                  <a:lnTo>
                    <a:pt x="4166" y="47240"/>
                  </a:lnTo>
                  <a:lnTo>
                    <a:pt x="3984" y="46634"/>
                  </a:lnTo>
                  <a:lnTo>
                    <a:pt x="2831" y="45583"/>
                  </a:lnTo>
                  <a:lnTo>
                    <a:pt x="2039" y="43293"/>
                  </a:lnTo>
                  <a:lnTo>
                    <a:pt x="2637" y="41146"/>
                  </a:lnTo>
                  <a:lnTo>
                    <a:pt x="2688" y="40042"/>
                  </a:lnTo>
                  <a:lnTo>
                    <a:pt x="2105" y="38949"/>
                  </a:lnTo>
                  <a:lnTo>
                    <a:pt x="2714" y="37589"/>
                  </a:lnTo>
                  <a:lnTo>
                    <a:pt x="3952" y="36844"/>
                  </a:lnTo>
                  <a:lnTo>
                    <a:pt x="4733" y="36626"/>
                  </a:lnTo>
                  <a:lnTo>
                    <a:pt x="8007" y="36480"/>
                  </a:lnTo>
                  <a:lnTo>
                    <a:pt x="10080" y="33753"/>
                  </a:lnTo>
                  <a:lnTo>
                    <a:pt x="11339" y="32881"/>
                  </a:lnTo>
                  <a:lnTo>
                    <a:pt x="12630" y="31334"/>
                  </a:lnTo>
                  <a:lnTo>
                    <a:pt x="13229" y="30768"/>
                  </a:lnTo>
                  <a:lnTo>
                    <a:pt x="13796" y="29562"/>
                  </a:lnTo>
                  <a:lnTo>
                    <a:pt x="13993" y="28328"/>
                  </a:lnTo>
                  <a:lnTo>
                    <a:pt x="11399" y="26600"/>
                  </a:lnTo>
                  <a:lnTo>
                    <a:pt x="10518" y="25300"/>
                  </a:lnTo>
                  <a:lnTo>
                    <a:pt x="9365" y="23864"/>
                  </a:lnTo>
                  <a:lnTo>
                    <a:pt x="7804" y="22871"/>
                  </a:lnTo>
                  <a:lnTo>
                    <a:pt x="4655" y="21165"/>
                  </a:lnTo>
                  <a:lnTo>
                    <a:pt x="3429" y="19432"/>
                  </a:lnTo>
                  <a:lnTo>
                    <a:pt x="2876" y="17185"/>
                  </a:lnTo>
                  <a:lnTo>
                    <a:pt x="2040" y="15480"/>
                  </a:lnTo>
                  <a:lnTo>
                    <a:pt x="1123" y="14369"/>
                  </a:lnTo>
                  <a:lnTo>
                    <a:pt x="948" y="13465"/>
                  </a:lnTo>
                  <a:lnTo>
                    <a:pt x="566" y="12354"/>
                  </a:lnTo>
                  <a:lnTo>
                    <a:pt x="473" y="10171"/>
                  </a:lnTo>
                  <a:lnTo>
                    <a:pt x="1216" y="7267"/>
                  </a:lnTo>
                  <a:lnTo>
                    <a:pt x="1697" y="6241"/>
                  </a:lnTo>
                  <a:lnTo>
                    <a:pt x="2764" y="5955"/>
                  </a:lnTo>
                  <a:lnTo>
                    <a:pt x="5603" y="4404"/>
                  </a:lnTo>
                  <a:lnTo>
                    <a:pt x="5735" y="2418"/>
                  </a:lnTo>
                  <a:lnTo>
                    <a:pt x="6247" y="1185"/>
                  </a:lnTo>
                  <a:lnTo>
                    <a:pt x="7152" y="477"/>
                  </a:lnTo>
                  <a:lnTo>
                    <a:pt x="7983" y="0"/>
                  </a:lnTo>
                  <a:lnTo>
                    <a:pt x="9534" y="1155"/>
                  </a:lnTo>
                  <a:lnTo>
                    <a:pt x="13298" y="2996"/>
                  </a:lnTo>
                  <a:lnTo>
                    <a:pt x="15135" y="4331"/>
                  </a:lnTo>
                  <a:lnTo>
                    <a:pt x="15044" y="5164"/>
                  </a:lnTo>
                  <a:lnTo>
                    <a:pt x="14181" y="5983"/>
                  </a:lnTo>
                  <a:lnTo>
                    <a:pt x="12544" y="6788"/>
                  </a:lnTo>
                  <a:lnTo>
                    <a:pt x="11591" y="7852"/>
                  </a:lnTo>
                  <a:lnTo>
                    <a:pt x="11330" y="9173"/>
                  </a:lnTo>
                  <a:lnTo>
                    <a:pt x="11579" y="10105"/>
                  </a:lnTo>
                  <a:lnTo>
                    <a:pt x="12714" y="10918"/>
                  </a:lnTo>
                  <a:lnTo>
                    <a:pt x="19471" y="9853"/>
                  </a:lnTo>
                  <a:lnTo>
                    <a:pt x="26325" y="10402"/>
                  </a:lnTo>
                  <a:lnTo>
                    <a:pt x="35528" y="12209"/>
                  </a:lnTo>
                  <a:lnTo>
                    <a:pt x="41631" y="12835"/>
                  </a:lnTo>
                  <a:lnTo>
                    <a:pt x="46137" y="12000"/>
                  </a:lnTo>
                  <a:lnTo>
                    <a:pt x="54488" y="13512"/>
                  </a:lnTo>
                  <a:lnTo>
                    <a:pt x="62259" y="14917"/>
                  </a:lnTo>
                  <a:lnTo>
                    <a:pt x="69720" y="15336"/>
                  </a:lnTo>
                  <a:lnTo>
                    <a:pt x="73900" y="14231"/>
                  </a:lnTo>
                  <a:lnTo>
                    <a:pt x="76835" y="12744"/>
                  </a:lnTo>
                  <a:lnTo>
                    <a:pt x="79368" y="9943"/>
                  </a:lnTo>
                  <a:lnTo>
                    <a:pt x="85613" y="6245"/>
                  </a:lnTo>
                  <a:lnTo>
                    <a:pt x="91659" y="4169"/>
                  </a:lnTo>
                  <a:lnTo>
                    <a:pt x="99586" y="2484"/>
                  </a:lnTo>
                  <a:lnTo>
                    <a:pt x="104875" y="1909"/>
                  </a:lnTo>
                  <a:lnTo>
                    <a:pt x="105622" y="2485"/>
                  </a:lnTo>
                  <a:lnTo>
                    <a:pt x="112359" y="5887"/>
                  </a:lnTo>
                  <a:lnTo>
                    <a:pt x="115359" y="5899"/>
                  </a:lnTo>
                  <a:lnTo>
                    <a:pt x="117788" y="6502"/>
                  </a:lnTo>
                  <a:lnTo>
                    <a:pt x="118669" y="7400"/>
                  </a:lnTo>
                  <a:lnTo>
                    <a:pt x="119284" y="7625"/>
                  </a:lnTo>
                  <a:lnTo>
                    <a:pt x="122506" y="6784"/>
                  </a:lnTo>
                  <a:lnTo>
                    <a:pt x="123936" y="8644"/>
                  </a:lnTo>
                  <a:lnTo>
                    <a:pt x="126170" y="11243"/>
                  </a:lnTo>
                  <a:lnTo>
                    <a:pt x="129973" y="12582"/>
                  </a:lnTo>
                  <a:lnTo>
                    <a:pt x="133362" y="13340"/>
                  </a:lnTo>
                  <a:lnTo>
                    <a:pt x="134428" y="13456"/>
                  </a:lnTo>
                  <a:close/>
                </a:path>
              </a:pathLst>
            </a:custGeom>
            <a:solidFill>
              <a:srgbClr val="A3BA1E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36" name="ee4p_BA_1_82333">
              <a:extLst>
                <a:ext uri="{FF2B5EF4-FFF2-40B4-BE49-F238E27FC236}">
                  <a16:creationId xmlns:a16="http://schemas.microsoft.com/office/drawing/2014/main" id="{C768C26F-A8E2-AC36-C764-825C254991CC}"/>
                </a:ext>
              </a:extLst>
            </p:cNvPr>
            <p:cNvSpPr>
              <a:spLocks noChangeAspect="1"/>
            </p:cNvSpPr>
            <p:nvPr>
              <p:custDataLst>
                <p:tags r:id="rId64"/>
              </p:custDataLst>
            </p:nvPr>
          </p:nvSpPr>
          <p:spPr>
            <a:xfrm>
              <a:off x="6951696" y="3288482"/>
              <a:ext cx="106835" cy="94778"/>
            </a:xfrm>
            <a:custGeom>
              <a:avLst/>
              <a:gdLst/>
              <a:ahLst/>
              <a:cxnLst/>
              <a:rect l="0" t="0" r="0" b="0"/>
              <a:pathLst>
                <a:path w="85070" h="73469">
                  <a:moveTo>
                    <a:pt x="26137" y="0"/>
                  </a:moveTo>
                  <a:lnTo>
                    <a:pt x="30709" y="2871"/>
                  </a:lnTo>
                  <a:lnTo>
                    <a:pt x="32594" y="3301"/>
                  </a:lnTo>
                  <a:lnTo>
                    <a:pt x="33656" y="2904"/>
                  </a:lnTo>
                  <a:lnTo>
                    <a:pt x="35103" y="3085"/>
                  </a:lnTo>
                  <a:lnTo>
                    <a:pt x="38310" y="3924"/>
                  </a:lnTo>
                  <a:lnTo>
                    <a:pt x="39050" y="4278"/>
                  </a:lnTo>
                  <a:lnTo>
                    <a:pt x="40015" y="4218"/>
                  </a:lnTo>
                  <a:lnTo>
                    <a:pt x="42387" y="3098"/>
                  </a:lnTo>
                  <a:lnTo>
                    <a:pt x="43196" y="3237"/>
                  </a:lnTo>
                  <a:lnTo>
                    <a:pt x="45908" y="5434"/>
                  </a:lnTo>
                  <a:lnTo>
                    <a:pt x="47271" y="5458"/>
                  </a:lnTo>
                  <a:lnTo>
                    <a:pt x="48912" y="4510"/>
                  </a:lnTo>
                  <a:lnTo>
                    <a:pt x="49966" y="3692"/>
                  </a:lnTo>
                  <a:lnTo>
                    <a:pt x="53082" y="4305"/>
                  </a:lnTo>
                  <a:lnTo>
                    <a:pt x="54868" y="3935"/>
                  </a:lnTo>
                  <a:lnTo>
                    <a:pt x="56349" y="3897"/>
                  </a:lnTo>
                  <a:lnTo>
                    <a:pt x="57956" y="4273"/>
                  </a:lnTo>
                  <a:lnTo>
                    <a:pt x="59422" y="4781"/>
                  </a:lnTo>
                  <a:lnTo>
                    <a:pt x="60845" y="5223"/>
                  </a:lnTo>
                  <a:lnTo>
                    <a:pt x="64700" y="5453"/>
                  </a:lnTo>
                  <a:lnTo>
                    <a:pt x="66546" y="6845"/>
                  </a:lnTo>
                  <a:lnTo>
                    <a:pt x="67282" y="8192"/>
                  </a:lnTo>
                  <a:lnTo>
                    <a:pt x="67299" y="9012"/>
                  </a:lnTo>
                  <a:lnTo>
                    <a:pt x="67481" y="9895"/>
                  </a:lnTo>
                  <a:lnTo>
                    <a:pt x="68543" y="10759"/>
                  </a:lnTo>
                  <a:lnTo>
                    <a:pt x="70862" y="11252"/>
                  </a:lnTo>
                  <a:lnTo>
                    <a:pt x="72318" y="11143"/>
                  </a:lnTo>
                  <a:lnTo>
                    <a:pt x="73091" y="11084"/>
                  </a:lnTo>
                  <a:lnTo>
                    <a:pt x="75069" y="10312"/>
                  </a:lnTo>
                  <a:lnTo>
                    <a:pt x="77396" y="9912"/>
                  </a:lnTo>
                  <a:lnTo>
                    <a:pt x="79074" y="10371"/>
                  </a:lnTo>
                  <a:lnTo>
                    <a:pt x="79869" y="10823"/>
                  </a:lnTo>
                  <a:lnTo>
                    <a:pt x="80051" y="11433"/>
                  </a:lnTo>
                  <a:lnTo>
                    <a:pt x="79556" y="13558"/>
                  </a:lnTo>
                  <a:lnTo>
                    <a:pt x="78615" y="15845"/>
                  </a:lnTo>
                  <a:lnTo>
                    <a:pt x="77094" y="18220"/>
                  </a:lnTo>
                  <a:lnTo>
                    <a:pt x="75507" y="20458"/>
                  </a:lnTo>
                  <a:lnTo>
                    <a:pt x="75088" y="21642"/>
                  </a:lnTo>
                  <a:lnTo>
                    <a:pt x="74976" y="23524"/>
                  </a:lnTo>
                  <a:lnTo>
                    <a:pt x="74780" y="25007"/>
                  </a:lnTo>
                  <a:lnTo>
                    <a:pt x="74997" y="25813"/>
                  </a:lnTo>
                  <a:lnTo>
                    <a:pt x="75518" y="26566"/>
                  </a:lnTo>
                  <a:lnTo>
                    <a:pt x="77280" y="27163"/>
                  </a:lnTo>
                  <a:lnTo>
                    <a:pt x="79653" y="28647"/>
                  </a:lnTo>
                  <a:lnTo>
                    <a:pt x="81672" y="30581"/>
                  </a:lnTo>
                  <a:lnTo>
                    <a:pt x="84259" y="32776"/>
                  </a:lnTo>
                  <a:lnTo>
                    <a:pt x="85069" y="33589"/>
                  </a:lnTo>
                  <a:lnTo>
                    <a:pt x="85067" y="34465"/>
                  </a:lnTo>
                  <a:lnTo>
                    <a:pt x="84311" y="35114"/>
                  </a:lnTo>
                  <a:lnTo>
                    <a:pt x="82098" y="35360"/>
                  </a:lnTo>
                  <a:lnTo>
                    <a:pt x="79794" y="35168"/>
                  </a:lnTo>
                  <a:lnTo>
                    <a:pt x="78910" y="34945"/>
                  </a:lnTo>
                  <a:lnTo>
                    <a:pt x="78088" y="35213"/>
                  </a:lnTo>
                  <a:lnTo>
                    <a:pt x="77578" y="35711"/>
                  </a:lnTo>
                  <a:lnTo>
                    <a:pt x="77848" y="36299"/>
                  </a:lnTo>
                  <a:lnTo>
                    <a:pt x="80210" y="38962"/>
                  </a:lnTo>
                  <a:lnTo>
                    <a:pt x="82955" y="42775"/>
                  </a:lnTo>
                  <a:lnTo>
                    <a:pt x="83108" y="44412"/>
                  </a:lnTo>
                  <a:lnTo>
                    <a:pt x="82774" y="45698"/>
                  </a:lnTo>
                  <a:lnTo>
                    <a:pt x="82138" y="46590"/>
                  </a:lnTo>
                  <a:lnTo>
                    <a:pt x="80996" y="46442"/>
                  </a:lnTo>
                  <a:lnTo>
                    <a:pt x="80128" y="45744"/>
                  </a:lnTo>
                  <a:lnTo>
                    <a:pt x="78811" y="45789"/>
                  </a:lnTo>
                  <a:lnTo>
                    <a:pt x="77788" y="45989"/>
                  </a:lnTo>
                  <a:lnTo>
                    <a:pt x="76457" y="47365"/>
                  </a:lnTo>
                  <a:lnTo>
                    <a:pt x="75794" y="47307"/>
                  </a:lnTo>
                  <a:lnTo>
                    <a:pt x="74654" y="47515"/>
                  </a:lnTo>
                  <a:lnTo>
                    <a:pt x="73931" y="47785"/>
                  </a:lnTo>
                  <a:lnTo>
                    <a:pt x="72786" y="47386"/>
                  </a:lnTo>
                  <a:lnTo>
                    <a:pt x="71590" y="47122"/>
                  </a:lnTo>
                  <a:lnTo>
                    <a:pt x="71070" y="47544"/>
                  </a:lnTo>
                  <a:lnTo>
                    <a:pt x="70839" y="48350"/>
                  </a:lnTo>
                  <a:lnTo>
                    <a:pt x="71581" y="49813"/>
                  </a:lnTo>
                  <a:lnTo>
                    <a:pt x="72972" y="52102"/>
                  </a:lnTo>
                  <a:lnTo>
                    <a:pt x="72749" y="53846"/>
                  </a:lnTo>
                  <a:lnTo>
                    <a:pt x="71689" y="54035"/>
                  </a:lnTo>
                  <a:lnTo>
                    <a:pt x="70715" y="52582"/>
                  </a:lnTo>
                  <a:lnTo>
                    <a:pt x="69852" y="52347"/>
                  </a:lnTo>
                  <a:lnTo>
                    <a:pt x="68867" y="52397"/>
                  </a:lnTo>
                  <a:lnTo>
                    <a:pt x="66615" y="54085"/>
                  </a:lnTo>
                  <a:lnTo>
                    <a:pt x="64957" y="55502"/>
                  </a:lnTo>
                  <a:lnTo>
                    <a:pt x="64572" y="56491"/>
                  </a:lnTo>
                  <a:lnTo>
                    <a:pt x="63978" y="57573"/>
                  </a:lnTo>
                  <a:lnTo>
                    <a:pt x="63799" y="58353"/>
                  </a:lnTo>
                  <a:lnTo>
                    <a:pt x="63838" y="60952"/>
                  </a:lnTo>
                  <a:lnTo>
                    <a:pt x="60849" y="61368"/>
                  </a:lnTo>
                  <a:lnTo>
                    <a:pt x="60223" y="61750"/>
                  </a:lnTo>
                  <a:lnTo>
                    <a:pt x="59862" y="62539"/>
                  </a:lnTo>
                  <a:lnTo>
                    <a:pt x="60111" y="65869"/>
                  </a:lnTo>
                  <a:lnTo>
                    <a:pt x="60353" y="67657"/>
                  </a:lnTo>
                  <a:lnTo>
                    <a:pt x="62061" y="70412"/>
                  </a:lnTo>
                  <a:lnTo>
                    <a:pt x="62119" y="71282"/>
                  </a:lnTo>
                  <a:lnTo>
                    <a:pt x="61877" y="71856"/>
                  </a:lnTo>
                  <a:lnTo>
                    <a:pt x="60663" y="72948"/>
                  </a:lnTo>
                  <a:lnTo>
                    <a:pt x="60085" y="73340"/>
                  </a:lnTo>
                  <a:lnTo>
                    <a:pt x="59696" y="73468"/>
                  </a:lnTo>
                  <a:lnTo>
                    <a:pt x="57712" y="72749"/>
                  </a:lnTo>
                  <a:lnTo>
                    <a:pt x="56770" y="72409"/>
                  </a:lnTo>
                  <a:lnTo>
                    <a:pt x="52788" y="69974"/>
                  </a:lnTo>
                  <a:lnTo>
                    <a:pt x="51033" y="68619"/>
                  </a:lnTo>
                  <a:lnTo>
                    <a:pt x="48254" y="66850"/>
                  </a:lnTo>
                  <a:lnTo>
                    <a:pt x="46539" y="65843"/>
                  </a:lnTo>
                  <a:lnTo>
                    <a:pt x="45669" y="64312"/>
                  </a:lnTo>
                  <a:lnTo>
                    <a:pt x="44304" y="63958"/>
                  </a:lnTo>
                  <a:lnTo>
                    <a:pt x="42697" y="64450"/>
                  </a:lnTo>
                  <a:lnTo>
                    <a:pt x="40875" y="63345"/>
                  </a:lnTo>
                  <a:lnTo>
                    <a:pt x="42164" y="62772"/>
                  </a:lnTo>
                  <a:lnTo>
                    <a:pt x="42482" y="62227"/>
                  </a:lnTo>
                  <a:lnTo>
                    <a:pt x="42320" y="61517"/>
                  </a:lnTo>
                  <a:lnTo>
                    <a:pt x="41752" y="60547"/>
                  </a:lnTo>
                  <a:lnTo>
                    <a:pt x="36830" y="56358"/>
                  </a:lnTo>
                  <a:lnTo>
                    <a:pt x="34416" y="53492"/>
                  </a:lnTo>
                  <a:lnTo>
                    <a:pt x="34023" y="52464"/>
                  </a:lnTo>
                  <a:lnTo>
                    <a:pt x="33991" y="49723"/>
                  </a:lnTo>
                  <a:lnTo>
                    <a:pt x="33421" y="49064"/>
                  </a:lnTo>
                  <a:lnTo>
                    <a:pt x="29806" y="47816"/>
                  </a:lnTo>
                  <a:lnTo>
                    <a:pt x="25766" y="44246"/>
                  </a:lnTo>
                  <a:lnTo>
                    <a:pt x="21600" y="40744"/>
                  </a:lnTo>
                  <a:lnTo>
                    <a:pt x="21030" y="39766"/>
                  </a:lnTo>
                  <a:lnTo>
                    <a:pt x="18881" y="37114"/>
                  </a:lnTo>
                  <a:lnTo>
                    <a:pt x="16262" y="34695"/>
                  </a:lnTo>
                  <a:lnTo>
                    <a:pt x="14172" y="33151"/>
                  </a:lnTo>
                  <a:lnTo>
                    <a:pt x="12460" y="31394"/>
                  </a:lnTo>
                  <a:lnTo>
                    <a:pt x="10561" y="28937"/>
                  </a:lnTo>
                  <a:lnTo>
                    <a:pt x="9579" y="25223"/>
                  </a:lnTo>
                  <a:lnTo>
                    <a:pt x="8705" y="21916"/>
                  </a:lnTo>
                  <a:lnTo>
                    <a:pt x="8111" y="20630"/>
                  </a:lnTo>
                  <a:lnTo>
                    <a:pt x="6908" y="20179"/>
                  </a:lnTo>
                  <a:lnTo>
                    <a:pt x="3172" y="16249"/>
                  </a:lnTo>
                  <a:lnTo>
                    <a:pt x="0" y="13963"/>
                  </a:lnTo>
                  <a:lnTo>
                    <a:pt x="30" y="11492"/>
                  </a:lnTo>
                  <a:lnTo>
                    <a:pt x="550" y="7365"/>
                  </a:lnTo>
                  <a:lnTo>
                    <a:pt x="1138" y="2674"/>
                  </a:lnTo>
                  <a:lnTo>
                    <a:pt x="1907" y="2022"/>
                  </a:lnTo>
                  <a:lnTo>
                    <a:pt x="3353" y="1667"/>
                  </a:lnTo>
                  <a:lnTo>
                    <a:pt x="5010" y="1803"/>
                  </a:lnTo>
                  <a:lnTo>
                    <a:pt x="6450" y="2383"/>
                  </a:lnTo>
                  <a:lnTo>
                    <a:pt x="9303" y="5595"/>
                  </a:lnTo>
                  <a:lnTo>
                    <a:pt x="10933" y="6843"/>
                  </a:lnTo>
                  <a:lnTo>
                    <a:pt x="12311" y="7329"/>
                  </a:lnTo>
                  <a:lnTo>
                    <a:pt x="13896" y="5975"/>
                  </a:lnTo>
                  <a:lnTo>
                    <a:pt x="15852" y="3138"/>
                  </a:lnTo>
                  <a:lnTo>
                    <a:pt x="17558" y="1640"/>
                  </a:lnTo>
                  <a:lnTo>
                    <a:pt x="23311" y="2183"/>
                  </a:lnTo>
                  <a:close/>
                </a:path>
              </a:pathLst>
            </a:custGeom>
            <a:solidFill>
              <a:srgbClr val="A3BA1E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37" name="ee4p_BY_1_82333">
              <a:extLst>
                <a:ext uri="{FF2B5EF4-FFF2-40B4-BE49-F238E27FC236}">
                  <a16:creationId xmlns:a16="http://schemas.microsoft.com/office/drawing/2014/main" id="{0CD3F2C2-DFF1-7CB2-DCA9-A63DCE0DE557}"/>
                </a:ext>
              </a:extLst>
            </p:cNvPr>
            <p:cNvSpPr>
              <a:spLocks noChangeAspect="1"/>
            </p:cNvSpPr>
            <p:nvPr>
              <p:custDataLst>
                <p:tags r:id="rId65"/>
              </p:custDataLst>
            </p:nvPr>
          </p:nvSpPr>
          <p:spPr>
            <a:xfrm>
              <a:off x="7158257" y="2879349"/>
              <a:ext cx="264787" cy="190359"/>
            </a:xfrm>
            <a:custGeom>
              <a:avLst/>
              <a:gdLst/>
              <a:ahLst/>
              <a:cxnLst/>
              <a:rect l="0" t="0" r="0" b="0"/>
              <a:pathLst>
                <a:path w="210844" h="147561">
                  <a:moveTo>
                    <a:pt x="109961" y="90"/>
                  </a:moveTo>
                  <a:lnTo>
                    <a:pt x="112975" y="2805"/>
                  </a:lnTo>
                  <a:lnTo>
                    <a:pt x="113683" y="2911"/>
                  </a:lnTo>
                  <a:lnTo>
                    <a:pt x="115359" y="1844"/>
                  </a:lnTo>
                  <a:lnTo>
                    <a:pt x="115689" y="1773"/>
                  </a:lnTo>
                  <a:lnTo>
                    <a:pt x="119160" y="1680"/>
                  </a:lnTo>
                  <a:lnTo>
                    <a:pt x="120773" y="2623"/>
                  </a:lnTo>
                  <a:lnTo>
                    <a:pt x="121965" y="4466"/>
                  </a:lnTo>
                  <a:lnTo>
                    <a:pt x="123070" y="5939"/>
                  </a:lnTo>
                  <a:lnTo>
                    <a:pt x="124262" y="6337"/>
                  </a:lnTo>
                  <a:lnTo>
                    <a:pt x="127639" y="4483"/>
                  </a:lnTo>
                  <a:lnTo>
                    <a:pt x="129503" y="3870"/>
                  </a:lnTo>
                  <a:lnTo>
                    <a:pt x="130734" y="3890"/>
                  </a:lnTo>
                  <a:lnTo>
                    <a:pt x="135059" y="5549"/>
                  </a:lnTo>
                  <a:lnTo>
                    <a:pt x="137093" y="6457"/>
                  </a:lnTo>
                  <a:lnTo>
                    <a:pt x="137560" y="7283"/>
                  </a:lnTo>
                  <a:lnTo>
                    <a:pt x="137601" y="8252"/>
                  </a:lnTo>
                  <a:lnTo>
                    <a:pt x="137052" y="9693"/>
                  </a:lnTo>
                  <a:lnTo>
                    <a:pt x="136616" y="11258"/>
                  </a:lnTo>
                  <a:lnTo>
                    <a:pt x="137933" y="13107"/>
                  </a:lnTo>
                  <a:lnTo>
                    <a:pt x="139464" y="14357"/>
                  </a:lnTo>
                  <a:lnTo>
                    <a:pt x="142733" y="12289"/>
                  </a:lnTo>
                  <a:lnTo>
                    <a:pt x="143938" y="11713"/>
                  </a:lnTo>
                  <a:lnTo>
                    <a:pt x="145256" y="11692"/>
                  </a:lnTo>
                  <a:lnTo>
                    <a:pt x="147020" y="10924"/>
                  </a:lnTo>
                  <a:lnTo>
                    <a:pt x="148296" y="9768"/>
                  </a:lnTo>
                  <a:lnTo>
                    <a:pt x="149521" y="9365"/>
                  </a:lnTo>
                  <a:lnTo>
                    <a:pt x="151857" y="9640"/>
                  </a:lnTo>
                  <a:lnTo>
                    <a:pt x="156078" y="9367"/>
                  </a:lnTo>
                  <a:lnTo>
                    <a:pt x="161002" y="11182"/>
                  </a:lnTo>
                  <a:lnTo>
                    <a:pt x="161425" y="11742"/>
                  </a:lnTo>
                  <a:lnTo>
                    <a:pt x="163887" y="13869"/>
                  </a:lnTo>
                  <a:lnTo>
                    <a:pt x="164746" y="14925"/>
                  </a:lnTo>
                  <a:lnTo>
                    <a:pt x="165558" y="15260"/>
                  </a:lnTo>
                  <a:lnTo>
                    <a:pt x="166871" y="16294"/>
                  </a:lnTo>
                  <a:lnTo>
                    <a:pt x="168620" y="16944"/>
                  </a:lnTo>
                  <a:lnTo>
                    <a:pt x="169840" y="16746"/>
                  </a:lnTo>
                  <a:lnTo>
                    <a:pt x="170421" y="17091"/>
                  </a:lnTo>
                  <a:lnTo>
                    <a:pt x="170965" y="17908"/>
                  </a:lnTo>
                  <a:lnTo>
                    <a:pt x="171008" y="19292"/>
                  </a:lnTo>
                  <a:lnTo>
                    <a:pt x="170827" y="23249"/>
                  </a:lnTo>
                  <a:lnTo>
                    <a:pt x="169970" y="24393"/>
                  </a:lnTo>
                  <a:lnTo>
                    <a:pt x="169067" y="25323"/>
                  </a:lnTo>
                  <a:lnTo>
                    <a:pt x="168836" y="26042"/>
                  </a:lnTo>
                  <a:lnTo>
                    <a:pt x="168923" y="26915"/>
                  </a:lnTo>
                  <a:lnTo>
                    <a:pt x="170315" y="28619"/>
                  </a:lnTo>
                  <a:lnTo>
                    <a:pt x="172116" y="31265"/>
                  </a:lnTo>
                  <a:lnTo>
                    <a:pt x="172533" y="32798"/>
                  </a:lnTo>
                  <a:lnTo>
                    <a:pt x="172533" y="33946"/>
                  </a:lnTo>
                  <a:lnTo>
                    <a:pt x="170080" y="37319"/>
                  </a:lnTo>
                  <a:lnTo>
                    <a:pt x="169264" y="38110"/>
                  </a:lnTo>
                  <a:lnTo>
                    <a:pt x="168702" y="39769"/>
                  </a:lnTo>
                  <a:lnTo>
                    <a:pt x="168404" y="41453"/>
                  </a:lnTo>
                  <a:lnTo>
                    <a:pt x="168577" y="42151"/>
                  </a:lnTo>
                  <a:lnTo>
                    <a:pt x="172675" y="44827"/>
                  </a:lnTo>
                  <a:lnTo>
                    <a:pt x="175707" y="46278"/>
                  </a:lnTo>
                  <a:lnTo>
                    <a:pt x="176390" y="46986"/>
                  </a:lnTo>
                  <a:lnTo>
                    <a:pt x="176450" y="47426"/>
                  </a:lnTo>
                  <a:lnTo>
                    <a:pt x="174837" y="50294"/>
                  </a:lnTo>
                  <a:lnTo>
                    <a:pt x="174680" y="51067"/>
                  </a:lnTo>
                  <a:lnTo>
                    <a:pt x="177111" y="52252"/>
                  </a:lnTo>
                  <a:lnTo>
                    <a:pt x="178454" y="54122"/>
                  </a:lnTo>
                  <a:lnTo>
                    <a:pt x="179640" y="57168"/>
                  </a:lnTo>
                  <a:lnTo>
                    <a:pt x="181950" y="60082"/>
                  </a:lnTo>
                  <a:lnTo>
                    <a:pt x="186921" y="62658"/>
                  </a:lnTo>
                  <a:lnTo>
                    <a:pt x="190538" y="64337"/>
                  </a:lnTo>
                  <a:lnTo>
                    <a:pt x="191289" y="65101"/>
                  </a:lnTo>
                  <a:lnTo>
                    <a:pt x="191551" y="66009"/>
                  </a:lnTo>
                  <a:lnTo>
                    <a:pt x="191274" y="68004"/>
                  </a:lnTo>
                  <a:lnTo>
                    <a:pt x="190339" y="70428"/>
                  </a:lnTo>
                  <a:lnTo>
                    <a:pt x="189702" y="71776"/>
                  </a:lnTo>
                  <a:lnTo>
                    <a:pt x="191175" y="72336"/>
                  </a:lnTo>
                  <a:lnTo>
                    <a:pt x="194965" y="72186"/>
                  </a:lnTo>
                  <a:lnTo>
                    <a:pt x="199569" y="72659"/>
                  </a:lnTo>
                  <a:lnTo>
                    <a:pt x="205092" y="75329"/>
                  </a:lnTo>
                  <a:lnTo>
                    <a:pt x="205109" y="76525"/>
                  </a:lnTo>
                  <a:lnTo>
                    <a:pt x="204539" y="77613"/>
                  </a:lnTo>
                  <a:lnTo>
                    <a:pt x="204920" y="78761"/>
                  </a:lnTo>
                  <a:lnTo>
                    <a:pt x="205522" y="79734"/>
                  </a:lnTo>
                  <a:lnTo>
                    <a:pt x="210301" y="82713"/>
                  </a:lnTo>
                  <a:lnTo>
                    <a:pt x="210758" y="83577"/>
                  </a:lnTo>
                  <a:lnTo>
                    <a:pt x="210843" y="85022"/>
                  </a:lnTo>
                  <a:lnTo>
                    <a:pt x="210711" y="86078"/>
                  </a:lnTo>
                  <a:lnTo>
                    <a:pt x="209387" y="86301"/>
                  </a:lnTo>
                  <a:lnTo>
                    <a:pt x="207919" y="86797"/>
                  </a:lnTo>
                  <a:lnTo>
                    <a:pt x="205516" y="88062"/>
                  </a:lnTo>
                  <a:lnTo>
                    <a:pt x="204563" y="89856"/>
                  </a:lnTo>
                  <a:lnTo>
                    <a:pt x="200681" y="92323"/>
                  </a:lnTo>
                  <a:lnTo>
                    <a:pt x="198277" y="93439"/>
                  </a:lnTo>
                  <a:lnTo>
                    <a:pt x="196364" y="93490"/>
                  </a:lnTo>
                  <a:lnTo>
                    <a:pt x="191814" y="92988"/>
                  </a:lnTo>
                  <a:lnTo>
                    <a:pt x="190216" y="91768"/>
                  </a:lnTo>
                  <a:lnTo>
                    <a:pt x="189553" y="90649"/>
                  </a:lnTo>
                  <a:lnTo>
                    <a:pt x="187802" y="90146"/>
                  </a:lnTo>
                  <a:lnTo>
                    <a:pt x="185474" y="90099"/>
                  </a:lnTo>
                  <a:lnTo>
                    <a:pt x="182266" y="90293"/>
                  </a:lnTo>
                  <a:lnTo>
                    <a:pt x="181613" y="90630"/>
                  </a:lnTo>
                  <a:lnTo>
                    <a:pt x="181087" y="92005"/>
                  </a:lnTo>
                  <a:lnTo>
                    <a:pt x="179724" y="94346"/>
                  </a:lnTo>
                  <a:lnTo>
                    <a:pt x="178748" y="95670"/>
                  </a:lnTo>
                  <a:lnTo>
                    <a:pt x="179551" y="96476"/>
                  </a:lnTo>
                  <a:lnTo>
                    <a:pt x="180832" y="98162"/>
                  </a:lnTo>
                  <a:lnTo>
                    <a:pt x="182816" y="100304"/>
                  </a:lnTo>
                  <a:lnTo>
                    <a:pt x="184859" y="102204"/>
                  </a:lnTo>
                  <a:lnTo>
                    <a:pt x="185515" y="103369"/>
                  </a:lnTo>
                  <a:lnTo>
                    <a:pt x="185485" y="104198"/>
                  </a:lnTo>
                  <a:lnTo>
                    <a:pt x="184511" y="105174"/>
                  </a:lnTo>
                  <a:lnTo>
                    <a:pt x="184660" y="107134"/>
                  </a:lnTo>
                  <a:lnTo>
                    <a:pt x="186645" y="109720"/>
                  </a:lnTo>
                  <a:lnTo>
                    <a:pt x="185973" y="110128"/>
                  </a:lnTo>
                  <a:lnTo>
                    <a:pt x="185775" y="113295"/>
                  </a:lnTo>
                  <a:lnTo>
                    <a:pt x="185792" y="116673"/>
                  </a:lnTo>
                  <a:lnTo>
                    <a:pt x="186327" y="117489"/>
                  </a:lnTo>
                  <a:lnTo>
                    <a:pt x="187396" y="118160"/>
                  </a:lnTo>
                  <a:lnTo>
                    <a:pt x="188297" y="119392"/>
                  </a:lnTo>
                  <a:lnTo>
                    <a:pt x="189800" y="122202"/>
                  </a:lnTo>
                  <a:lnTo>
                    <a:pt x="189905" y="122935"/>
                  </a:lnTo>
                  <a:lnTo>
                    <a:pt x="185712" y="122727"/>
                  </a:lnTo>
                  <a:lnTo>
                    <a:pt x="180676" y="122808"/>
                  </a:lnTo>
                  <a:lnTo>
                    <a:pt x="177845" y="124440"/>
                  </a:lnTo>
                  <a:lnTo>
                    <a:pt x="176750" y="124064"/>
                  </a:lnTo>
                  <a:lnTo>
                    <a:pt x="174779" y="123649"/>
                  </a:lnTo>
                  <a:lnTo>
                    <a:pt x="172598" y="124559"/>
                  </a:lnTo>
                  <a:lnTo>
                    <a:pt x="169614" y="127313"/>
                  </a:lnTo>
                  <a:lnTo>
                    <a:pt x="167614" y="129024"/>
                  </a:lnTo>
                  <a:lnTo>
                    <a:pt x="165668" y="131416"/>
                  </a:lnTo>
                  <a:lnTo>
                    <a:pt x="165053" y="132715"/>
                  </a:lnTo>
                  <a:lnTo>
                    <a:pt x="163824" y="135105"/>
                  </a:lnTo>
                  <a:lnTo>
                    <a:pt x="162699" y="137832"/>
                  </a:lnTo>
                  <a:lnTo>
                    <a:pt x="163312" y="139739"/>
                  </a:lnTo>
                  <a:lnTo>
                    <a:pt x="164233" y="141510"/>
                  </a:lnTo>
                  <a:lnTo>
                    <a:pt x="164440" y="143416"/>
                  </a:lnTo>
                  <a:lnTo>
                    <a:pt x="164900" y="144910"/>
                  </a:lnTo>
                  <a:lnTo>
                    <a:pt x="163671" y="145997"/>
                  </a:lnTo>
                  <a:lnTo>
                    <a:pt x="162954" y="147560"/>
                  </a:lnTo>
                  <a:lnTo>
                    <a:pt x="160853" y="147289"/>
                  </a:lnTo>
                  <a:lnTo>
                    <a:pt x="158286" y="145787"/>
                  </a:lnTo>
                  <a:lnTo>
                    <a:pt x="157746" y="143614"/>
                  </a:lnTo>
                  <a:lnTo>
                    <a:pt x="155768" y="142098"/>
                  </a:lnTo>
                  <a:lnTo>
                    <a:pt x="154468" y="141315"/>
                  </a:lnTo>
                  <a:lnTo>
                    <a:pt x="152324" y="141193"/>
                  </a:lnTo>
                  <a:lnTo>
                    <a:pt x="148896" y="141899"/>
                  </a:lnTo>
                  <a:lnTo>
                    <a:pt x="144414" y="142441"/>
                  </a:lnTo>
                  <a:lnTo>
                    <a:pt x="141032" y="142587"/>
                  </a:lnTo>
                  <a:lnTo>
                    <a:pt x="139186" y="143357"/>
                  </a:lnTo>
                  <a:lnTo>
                    <a:pt x="136463" y="144114"/>
                  </a:lnTo>
                  <a:lnTo>
                    <a:pt x="135409" y="143219"/>
                  </a:lnTo>
                  <a:lnTo>
                    <a:pt x="133897" y="140753"/>
                  </a:lnTo>
                  <a:lnTo>
                    <a:pt x="132653" y="138295"/>
                  </a:lnTo>
                  <a:lnTo>
                    <a:pt x="131800" y="137216"/>
                  </a:lnTo>
                  <a:lnTo>
                    <a:pt x="131058" y="136914"/>
                  </a:lnTo>
                  <a:lnTo>
                    <a:pt x="130144" y="136976"/>
                  </a:lnTo>
                  <a:lnTo>
                    <a:pt x="129090" y="137756"/>
                  </a:lnTo>
                  <a:lnTo>
                    <a:pt x="128309" y="138555"/>
                  </a:lnTo>
                  <a:lnTo>
                    <a:pt x="127199" y="138838"/>
                  </a:lnTo>
                  <a:lnTo>
                    <a:pt x="125474" y="139484"/>
                  </a:lnTo>
                  <a:lnTo>
                    <a:pt x="124230" y="140361"/>
                  </a:lnTo>
                  <a:lnTo>
                    <a:pt x="122859" y="142622"/>
                  </a:lnTo>
                  <a:lnTo>
                    <a:pt x="121952" y="142461"/>
                  </a:lnTo>
                  <a:lnTo>
                    <a:pt x="121012" y="141942"/>
                  </a:lnTo>
                  <a:lnTo>
                    <a:pt x="119935" y="139412"/>
                  </a:lnTo>
                  <a:lnTo>
                    <a:pt x="118454" y="138829"/>
                  </a:lnTo>
                  <a:lnTo>
                    <a:pt x="116078" y="138795"/>
                  </a:lnTo>
                  <a:lnTo>
                    <a:pt x="113137" y="138259"/>
                  </a:lnTo>
                  <a:lnTo>
                    <a:pt x="110753" y="137493"/>
                  </a:lnTo>
                  <a:lnTo>
                    <a:pt x="109883" y="137676"/>
                  </a:lnTo>
                  <a:lnTo>
                    <a:pt x="108464" y="138753"/>
                  </a:lnTo>
                  <a:lnTo>
                    <a:pt x="106927" y="138908"/>
                  </a:lnTo>
                  <a:lnTo>
                    <a:pt x="103562" y="137949"/>
                  </a:lnTo>
                  <a:lnTo>
                    <a:pt x="102904" y="138388"/>
                  </a:lnTo>
                  <a:lnTo>
                    <a:pt x="102020" y="139808"/>
                  </a:lnTo>
                  <a:lnTo>
                    <a:pt x="100969" y="141177"/>
                  </a:lnTo>
                  <a:lnTo>
                    <a:pt x="100055" y="141312"/>
                  </a:lnTo>
                  <a:lnTo>
                    <a:pt x="99542" y="140961"/>
                  </a:lnTo>
                  <a:lnTo>
                    <a:pt x="99829" y="138536"/>
                  </a:lnTo>
                  <a:lnTo>
                    <a:pt x="97875" y="137677"/>
                  </a:lnTo>
                  <a:lnTo>
                    <a:pt x="94579" y="137545"/>
                  </a:lnTo>
                  <a:lnTo>
                    <a:pt x="92264" y="137897"/>
                  </a:lnTo>
                  <a:lnTo>
                    <a:pt x="91128" y="137801"/>
                  </a:lnTo>
                  <a:lnTo>
                    <a:pt x="90550" y="137325"/>
                  </a:lnTo>
                  <a:lnTo>
                    <a:pt x="87717" y="133246"/>
                  </a:lnTo>
                  <a:lnTo>
                    <a:pt x="86216" y="132987"/>
                  </a:lnTo>
                  <a:lnTo>
                    <a:pt x="83534" y="133189"/>
                  </a:lnTo>
                  <a:lnTo>
                    <a:pt x="79567" y="132696"/>
                  </a:lnTo>
                  <a:lnTo>
                    <a:pt x="75000" y="131776"/>
                  </a:lnTo>
                  <a:lnTo>
                    <a:pt x="72491" y="131436"/>
                  </a:lnTo>
                  <a:lnTo>
                    <a:pt x="71184" y="130522"/>
                  </a:lnTo>
                  <a:lnTo>
                    <a:pt x="68371" y="130209"/>
                  </a:lnTo>
                  <a:lnTo>
                    <a:pt x="60813" y="128482"/>
                  </a:lnTo>
                  <a:lnTo>
                    <a:pt x="57727" y="128177"/>
                  </a:lnTo>
                  <a:lnTo>
                    <a:pt x="53184" y="128150"/>
                  </a:lnTo>
                  <a:lnTo>
                    <a:pt x="46261" y="127766"/>
                  </a:lnTo>
                  <a:lnTo>
                    <a:pt x="41828" y="127979"/>
                  </a:lnTo>
                  <a:lnTo>
                    <a:pt x="39774" y="128552"/>
                  </a:lnTo>
                  <a:lnTo>
                    <a:pt x="37399" y="128907"/>
                  </a:lnTo>
                  <a:lnTo>
                    <a:pt x="33391" y="129227"/>
                  </a:lnTo>
                  <a:lnTo>
                    <a:pt x="31758" y="129191"/>
                  </a:lnTo>
                  <a:lnTo>
                    <a:pt x="29191" y="129381"/>
                  </a:lnTo>
                  <a:lnTo>
                    <a:pt x="26243" y="129840"/>
                  </a:lnTo>
                  <a:lnTo>
                    <a:pt x="25399" y="130699"/>
                  </a:lnTo>
                  <a:lnTo>
                    <a:pt x="24434" y="132578"/>
                  </a:lnTo>
                  <a:lnTo>
                    <a:pt x="21046" y="135821"/>
                  </a:lnTo>
                  <a:lnTo>
                    <a:pt x="17761" y="137980"/>
                  </a:lnTo>
                  <a:lnTo>
                    <a:pt x="17161" y="138164"/>
                  </a:lnTo>
                  <a:lnTo>
                    <a:pt x="15239" y="137019"/>
                  </a:lnTo>
                  <a:lnTo>
                    <a:pt x="13635" y="136632"/>
                  </a:lnTo>
                  <a:lnTo>
                    <a:pt x="11758" y="136509"/>
                  </a:lnTo>
                  <a:lnTo>
                    <a:pt x="10428" y="136875"/>
                  </a:lnTo>
                  <a:lnTo>
                    <a:pt x="9586" y="137416"/>
                  </a:lnTo>
                  <a:lnTo>
                    <a:pt x="9700" y="139919"/>
                  </a:lnTo>
                  <a:lnTo>
                    <a:pt x="9513" y="140138"/>
                  </a:lnTo>
                  <a:lnTo>
                    <a:pt x="8061" y="137168"/>
                  </a:lnTo>
                  <a:lnTo>
                    <a:pt x="8176" y="134478"/>
                  </a:lnTo>
                  <a:lnTo>
                    <a:pt x="8983" y="132941"/>
                  </a:lnTo>
                  <a:lnTo>
                    <a:pt x="9964" y="131557"/>
                  </a:lnTo>
                  <a:lnTo>
                    <a:pt x="9560" y="129478"/>
                  </a:lnTo>
                  <a:lnTo>
                    <a:pt x="10525" y="126724"/>
                  </a:lnTo>
                  <a:lnTo>
                    <a:pt x="10555" y="124731"/>
                  </a:lnTo>
                  <a:lnTo>
                    <a:pt x="10132" y="123867"/>
                  </a:lnTo>
                  <a:lnTo>
                    <a:pt x="9351" y="122876"/>
                  </a:lnTo>
                  <a:lnTo>
                    <a:pt x="7210" y="121771"/>
                  </a:lnTo>
                  <a:lnTo>
                    <a:pt x="6265" y="120908"/>
                  </a:lnTo>
                  <a:lnTo>
                    <a:pt x="3362" y="119754"/>
                  </a:lnTo>
                  <a:lnTo>
                    <a:pt x="484" y="118316"/>
                  </a:lnTo>
                  <a:lnTo>
                    <a:pt x="0" y="117435"/>
                  </a:lnTo>
                  <a:lnTo>
                    <a:pt x="136" y="116831"/>
                  </a:lnTo>
                  <a:lnTo>
                    <a:pt x="642" y="115913"/>
                  </a:lnTo>
                  <a:lnTo>
                    <a:pt x="2835" y="113225"/>
                  </a:lnTo>
                  <a:lnTo>
                    <a:pt x="5215" y="110612"/>
                  </a:lnTo>
                  <a:lnTo>
                    <a:pt x="6733" y="109560"/>
                  </a:lnTo>
                  <a:lnTo>
                    <a:pt x="14807" y="106204"/>
                  </a:lnTo>
                  <a:lnTo>
                    <a:pt x="16057" y="105029"/>
                  </a:lnTo>
                  <a:lnTo>
                    <a:pt x="16371" y="103040"/>
                  </a:lnTo>
                  <a:lnTo>
                    <a:pt x="16390" y="101591"/>
                  </a:lnTo>
                  <a:lnTo>
                    <a:pt x="16237" y="99017"/>
                  </a:lnTo>
                  <a:lnTo>
                    <a:pt x="15744" y="95346"/>
                  </a:lnTo>
                  <a:lnTo>
                    <a:pt x="15127" y="92811"/>
                  </a:lnTo>
                  <a:lnTo>
                    <a:pt x="13581" y="88043"/>
                  </a:lnTo>
                  <a:lnTo>
                    <a:pt x="9372" y="78158"/>
                  </a:lnTo>
                  <a:lnTo>
                    <a:pt x="6846" y="67858"/>
                  </a:lnTo>
                  <a:lnTo>
                    <a:pt x="8491" y="68464"/>
                  </a:lnTo>
                  <a:lnTo>
                    <a:pt x="12352" y="68693"/>
                  </a:lnTo>
                  <a:lnTo>
                    <a:pt x="15423" y="67983"/>
                  </a:lnTo>
                  <a:lnTo>
                    <a:pt x="17012" y="67884"/>
                  </a:lnTo>
                  <a:lnTo>
                    <a:pt x="18429" y="68106"/>
                  </a:lnTo>
                  <a:lnTo>
                    <a:pt x="20538" y="67700"/>
                  </a:lnTo>
                  <a:lnTo>
                    <a:pt x="22471" y="67536"/>
                  </a:lnTo>
                  <a:lnTo>
                    <a:pt x="23473" y="68459"/>
                  </a:lnTo>
                  <a:lnTo>
                    <a:pt x="25272" y="69278"/>
                  </a:lnTo>
                  <a:lnTo>
                    <a:pt x="28822" y="68100"/>
                  </a:lnTo>
                  <a:lnTo>
                    <a:pt x="31966" y="66645"/>
                  </a:lnTo>
                  <a:lnTo>
                    <a:pt x="35226" y="66802"/>
                  </a:lnTo>
                  <a:lnTo>
                    <a:pt x="35693" y="66086"/>
                  </a:lnTo>
                  <a:lnTo>
                    <a:pt x="36498" y="62421"/>
                  </a:lnTo>
                  <a:lnTo>
                    <a:pt x="37468" y="61626"/>
                  </a:lnTo>
                  <a:lnTo>
                    <a:pt x="41372" y="61994"/>
                  </a:lnTo>
                  <a:lnTo>
                    <a:pt x="42817" y="61329"/>
                  </a:lnTo>
                  <a:lnTo>
                    <a:pt x="44322" y="59525"/>
                  </a:lnTo>
                  <a:lnTo>
                    <a:pt x="46626" y="58399"/>
                  </a:lnTo>
                  <a:lnTo>
                    <a:pt x="48548" y="58400"/>
                  </a:lnTo>
                  <a:lnTo>
                    <a:pt x="50550" y="57135"/>
                  </a:lnTo>
                  <a:lnTo>
                    <a:pt x="51534" y="57983"/>
                  </a:lnTo>
                  <a:lnTo>
                    <a:pt x="52013" y="59498"/>
                  </a:lnTo>
                  <a:lnTo>
                    <a:pt x="51351" y="60711"/>
                  </a:lnTo>
                  <a:lnTo>
                    <a:pt x="51638" y="61186"/>
                  </a:lnTo>
                  <a:lnTo>
                    <a:pt x="53024" y="61786"/>
                  </a:lnTo>
                  <a:lnTo>
                    <a:pt x="55402" y="61768"/>
                  </a:lnTo>
                  <a:lnTo>
                    <a:pt x="56920" y="61266"/>
                  </a:lnTo>
                  <a:lnTo>
                    <a:pt x="57274" y="60573"/>
                  </a:lnTo>
                  <a:lnTo>
                    <a:pt x="57269" y="59314"/>
                  </a:lnTo>
                  <a:lnTo>
                    <a:pt x="56896" y="58143"/>
                  </a:lnTo>
                  <a:lnTo>
                    <a:pt x="55888" y="57129"/>
                  </a:lnTo>
                  <a:lnTo>
                    <a:pt x="53994" y="56607"/>
                  </a:lnTo>
                  <a:lnTo>
                    <a:pt x="52681" y="56590"/>
                  </a:lnTo>
                  <a:lnTo>
                    <a:pt x="52456" y="55945"/>
                  </a:lnTo>
                  <a:lnTo>
                    <a:pt x="52903" y="54567"/>
                  </a:lnTo>
                  <a:lnTo>
                    <a:pt x="54069" y="52025"/>
                  </a:lnTo>
                  <a:lnTo>
                    <a:pt x="55503" y="49723"/>
                  </a:lnTo>
                  <a:lnTo>
                    <a:pt x="56380" y="48853"/>
                  </a:lnTo>
                  <a:lnTo>
                    <a:pt x="56531" y="48055"/>
                  </a:lnTo>
                  <a:lnTo>
                    <a:pt x="56360" y="46659"/>
                  </a:lnTo>
                  <a:lnTo>
                    <a:pt x="56328" y="44154"/>
                  </a:lnTo>
                  <a:lnTo>
                    <a:pt x="57619" y="40618"/>
                  </a:lnTo>
                  <a:lnTo>
                    <a:pt x="59353" y="37978"/>
                  </a:lnTo>
                  <a:lnTo>
                    <a:pt x="61679" y="37122"/>
                  </a:lnTo>
                  <a:lnTo>
                    <a:pt x="64521" y="36657"/>
                  </a:lnTo>
                  <a:lnTo>
                    <a:pt x="66339" y="35397"/>
                  </a:lnTo>
                  <a:lnTo>
                    <a:pt x="67237" y="33949"/>
                  </a:lnTo>
                  <a:lnTo>
                    <a:pt x="67578" y="32726"/>
                  </a:lnTo>
                  <a:lnTo>
                    <a:pt x="68010" y="31667"/>
                  </a:lnTo>
                  <a:lnTo>
                    <a:pt x="68917" y="31203"/>
                  </a:lnTo>
                  <a:lnTo>
                    <a:pt x="75758" y="31493"/>
                  </a:lnTo>
                  <a:lnTo>
                    <a:pt x="76803" y="29212"/>
                  </a:lnTo>
                  <a:lnTo>
                    <a:pt x="77391" y="28574"/>
                  </a:lnTo>
                  <a:lnTo>
                    <a:pt x="78704" y="27900"/>
                  </a:lnTo>
                  <a:lnTo>
                    <a:pt x="79617" y="27088"/>
                  </a:lnTo>
                  <a:lnTo>
                    <a:pt x="79273" y="26463"/>
                  </a:lnTo>
                  <a:lnTo>
                    <a:pt x="77529" y="26058"/>
                  </a:lnTo>
                  <a:lnTo>
                    <a:pt x="73417" y="25701"/>
                  </a:lnTo>
                  <a:lnTo>
                    <a:pt x="72584" y="24946"/>
                  </a:lnTo>
                  <a:lnTo>
                    <a:pt x="72847" y="24036"/>
                  </a:lnTo>
                  <a:lnTo>
                    <a:pt x="73946" y="21680"/>
                  </a:lnTo>
                  <a:lnTo>
                    <a:pt x="74994" y="18637"/>
                  </a:lnTo>
                  <a:lnTo>
                    <a:pt x="75529" y="16277"/>
                  </a:lnTo>
                  <a:lnTo>
                    <a:pt x="75589" y="14885"/>
                  </a:lnTo>
                  <a:lnTo>
                    <a:pt x="76179" y="14510"/>
                  </a:lnTo>
                  <a:lnTo>
                    <a:pt x="79533" y="14064"/>
                  </a:lnTo>
                  <a:lnTo>
                    <a:pt x="80651" y="13591"/>
                  </a:lnTo>
                  <a:lnTo>
                    <a:pt x="83538" y="10370"/>
                  </a:lnTo>
                  <a:lnTo>
                    <a:pt x="85739" y="9822"/>
                  </a:lnTo>
                  <a:lnTo>
                    <a:pt x="91414" y="10651"/>
                  </a:lnTo>
                  <a:lnTo>
                    <a:pt x="94022" y="10587"/>
                  </a:lnTo>
                  <a:lnTo>
                    <a:pt x="94731" y="10663"/>
                  </a:lnTo>
                  <a:lnTo>
                    <a:pt x="97330" y="10810"/>
                  </a:lnTo>
                  <a:lnTo>
                    <a:pt x="97611" y="10487"/>
                  </a:lnTo>
                  <a:lnTo>
                    <a:pt x="98779" y="7298"/>
                  </a:lnTo>
                  <a:lnTo>
                    <a:pt x="99928" y="6369"/>
                  </a:lnTo>
                  <a:lnTo>
                    <a:pt x="104396" y="2174"/>
                  </a:lnTo>
                  <a:lnTo>
                    <a:pt x="107397" y="390"/>
                  </a:lnTo>
                  <a:lnTo>
                    <a:pt x="109296" y="0"/>
                  </a:lnTo>
                  <a:close/>
                </a:path>
              </a:pathLst>
            </a:custGeom>
            <a:solidFill>
              <a:srgbClr val="A3BA1E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38" name="ee4p_CH_1_82333">
              <a:extLst>
                <a:ext uri="{FF2B5EF4-FFF2-40B4-BE49-F238E27FC236}">
                  <a16:creationId xmlns:a16="http://schemas.microsoft.com/office/drawing/2014/main" id="{6386A71D-4415-5053-EEE8-C3E66AFED1E2}"/>
                </a:ext>
              </a:extLst>
            </p:cNvPr>
            <p:cNvSpPr>
              <a:spLocks noChangeAspect="1"/>
            </p:cNvSpPr>
            <p:nvPr>
              <p:custDataLst>
                <p:tags r:id="rId66"/>
              </p:custDataLst>
            </p:nvPr>
          </p:nvSpPr>
          <p:spPr>
            <a:xfrm>
              <a:off x="6680484" y="3198950"/>
              <a:ext cx="124534" cy="69907"/>
            </a:xfrm>
            <a:custGeom>
              <a:avLst/>
              <a:gdLst/>
              <a:ahLst/>
              <a:cxnLst/>
              <a:rect l="0" t="0" r="0" b="0"/>
              <a:pathLst>
                <a:path w="99164" h="54190">
                  <a:moveTo>
                    <a:pt x="78586" y="7066"/>
                  </a:moveTo>
                  <a:lnTo>
                    <a:pt x="79258" y="7434"/>
                  </a:lnTo>
                  <a:lnTo>
                    <a:pt x="80838" y="8671"/>
                  </a:lnTo>
                  <a:lnTo>
                    <a:pt x="80467" y="10781"/>
                  </a:lnTo>
                  <a:lnTo>
                    <a:pt x="78664" y="14171"/>
                  </a:lnTo>
                  <a:lnTo>
                    <a:pt x="77707" y="16915"/>
                  </a:lnTo>
                  <a:lnTo>
                    <a:pt x="77601" y="19015"/>
                  </a:lnTo>
                  <a:lnTo>
                    <a:pt x="77783" y="20000"/>
                  </a:lnTo>
                  <a:lnTo>
                    <a:pt x="78107" y="19987"/>
                  </a:lnTo>
                  <a:lnTo>
                    <a:pt x="79830" y="20137"/>
                  </a:lnTo>
                  <a:lnTo>
                    <a:pt x="80707" y="20134"/>
                  </a:lnTo>
                  <a:lnTo>
                    <a:pt x="83473" y="20703"/>
                  </a:lnTo>
                  <a:lnTo>
                    <a:pt x="85690" y="21533"/>
                  </a:lnTo>
                  <a:lnTo>
                    <a:pt x="86118" y="22409"/>
                  </a:lnTo>
                  <a:lnTo>
                    <a:pt x="86407" y="23477"/>
                  </a:lnTo>
                  <a:lnTo>
                    <a:pt x="89042" y="24936"/>
                  </a:lnTo>
                  <a:lnTo>
                    <a:pt x="92063" y="25879"/>
                  </a:lnTo>
                  <a:lnTo>
                    <a:pt x="93087" y="25577"/>
                  </a:lnTo>
                  <a:lnTo>
                    <a:pt x="96837" y="22164"/>
                  </a:lnTo>
                  <a:lnTo>
                    <a:pt x="98286" y="22731"/>
                  </a:lnTo>
                  <a:lnTo>
                    <a:pt x="99163" y="24544"/>
                  </a:lnTo>
                  <a:lnTo>
                    <a:pt x="99124" y="25505"/>
                  </a:lnTo>
                  <a:lnTo>
                    <a:pt x="98090" y="29128"/>
                  </a:lnTo>
                  <a:lnTo>
                    <a:pt x="97911" y="31070"/>
                  </a:lnTo>
                  <a:lnTo>
                    <a:pt x="98802" y="32354"/>
                  </a:lnTo>
                  <a:lnTo>
                    <a:pt x="98895" y="33354"/>
                  </a:lnTo>
                  <a:lnTo>
                    <a:pt x="98634" y="34266"/>
                  </a:lnTo>
                  <a:lnTo>
                    <a:pt x="97140" y="34349"/>
                  </a:lnTo>
                  <a:lnTo>
                    <a:pt x="95131" y="33855"/>
                  </a:lnTo>
                  <a:lnTo>
                    <a:pt x="93434" y="32292"/>
                  </a:lnTo>
                  <a:lnTo>
                    <a:pt x="92152" y="32479"/>
                  </a:lnTo>
                  <a:lnTo>
                    <a:pt x="91035" y="32881"/>
                  </a:lnTo>
                  <a:lnTo>
                    <a:pt x="90465" y="34357"/>
                  </a:lnTo>
                  <a:lnTo>
                    <a:pt x="89958" y="36122"/>
                  </a:lnTo>
                  <a:lnTo>
                    <a:pt x="90120" y="37102"/>
                  </a:lnTo>
                  <a:lnTo>
                    <a:pt x="90923" y="37855"/>
                  </a:lnTo>
                  <a:lnTo>
                    <a:pt x="91536" y="39460"/>
                  </a:lnTo>
                  <a:lnTo>
                    <a:pt x="91983" y="41535"/>
                  </a:lnTo>
                  <a:lnTo>
                    <a:pt x="92322" y="42489"/>
                  </a:lnTo>
                  <a:lnTo>
                    <a:pt x="91949" y="42912"/>
                  </a:lnTo>
                  <a:lnTo>
                    <a:pt x="90892" y="43196"/>
                  </a:lnTo>
                  <a:lnTo>
                    <a:pt x="90018" y="42916"/>
                  </a:lnTo>
                  <a:lnTo>
                    <a:pt x="88485" y="40435"/>
                  </a:lnTo>
                  <a:lnTo>
                    <a:pt x="87768" y="39489"/>
                  </a:lnTo>
                  <a:lnTo>
                    <a:pt x="86557" y="39324"/>
                  </a:lnTo>
                  <a:lnTo>
                    <a:pt x="84419" y="39926"/>
                  </a:lnTo>
                  <a:lnTo>
                    <a:pt x="81139" y="41316"/>
                  </a:lnTo>
                  <a:lnTo>
                    <a:pt x="79815" y="41310"/>
                  </a:lnTo>
                  <a:lnTo>
                    <a:pt x="78690" y="41030"/>
                  </a:lnTo>
                  <a:lnTo>
                    <a:pt x="77636" y="39850"/>
                  </a:lnTo>
                  <a:lnTo>
                    <a:pt x="76742" y="37576"/>
                  </a:lnTo>
                  <a:lnTo>
                    <a:pt x="76455" y="36146"/>
                  </a:lnTo>
                  <a:lnTo>
                    <a:pt x="75829" y="36192"/>
                  </a:lnTo>
                  <a:lnTo>
                    <a:pt x="73730" y="35779"/>
                  </a:lnTo>
                  <a:lnTo>
                    <a:pt x="72752" y="36344"/>
                  </a:lnTo>
                  <a:lnTo>
                    <a:pt x="72743" y="38673"/>
                  </a:lnTo>
                  <a:lnTo>
                    <a:pt x="72551" y="41568"/>
                  </a:lnTo>
                  <a:lnTo>
                    <a:pt x="71497" y="43438"/>
                  </a:lnTo>
                  <a:lnTo>
                    <a:pt x="68569" y="46669"/>
                  </a:lnTo>
                  <a:lnTo>
                    <a:pt x="67494" y="48078"/>
                  </a:lnTo>
                  <a:lnTo>
                    <a:pt x="67066" y="49088"/>
                  </a:lnTo>
                  <a:lnTo>
                    <a:pt x="66975" y="49966"/>
                  </a:lnTo>
                  <a:lnTo>
                    <a:pt x="67422" y="51484"/>
                  </a:lnTo>
                  <a:lnTo>
                    <a:pt x="68031" y="52933"/>
                  </a:lnTo>
                  <a:lnTo>
                    <a:pt x="67524" y="53757"/>
                  </a:lnTo>
                  <a:lnTo>
                    <a:pt x="65975" y="54189"/>
                  </a:lnTo>
                  <a:lnTo>
                    <a:pt x="64883" y="53309"/>
                  </a:lnTo>
                  <a:lnTo>
                    <a:pt x="64460" y="51744"/>
                  </a:lnTo>
                  <a:lnTo>
                    <a:pt x="62091" y="49605"/>
                  </a:lnTo>
                  <a:lnTo>
                    <a:pt x="63168" y="47813"/>
                  </a:lnTo>
                  <a:lnTo>
                    <a:pt x="62987" y="47368"/>
                  </a:lnTo>
                  <a:lnTo>
                    <a:pt x="59076" y="46438"/>
                  </a:lnTo>
                  <a:lnTo>
                    <a:pt x="57390" y="45082"/>
                  </a:lnTo>
                  <a:lnTo>
                    <a:pt x="55023" y="42700"/>
                  </a:lnTo>
                  <a:lnTo>
                    <a:pt x="54583" y="41677"/>
                  </a:lnTo>
                  <a:lnTo>
                    <a:pt x="54682" y="38353"/>
                  </a:lnTo>
                  <a:lnTo>
                    <a:pt x="54546" y="37546"/>
                  </a:lnTo>
                  <a:lnTo>
                    <a:pt x="54230" y="37153"/>
                  </a:lnTo>
                  <a:lnTo>
                    <a:pt x="53084" y="37179"/>
                  </a:lnTo>
                  <a:lnTo>
                    <a:pt x="51488" y="38335"/>
                  </a:lnTo>
                  <a:lnTo>
                    <a:pt x="50016" y="40060"/>
                  </a:lnTo>
                  <a:lnTo>
                    <a:pt x="47003" y="42004"/>
                  </a:lnTo>
                  <a:lnTo>
                    <a:pt x="46690" y="42420"/>
                  </a:lnTo>
                  <a:lnTo>
                    <a:pt x="47701" y="44314"/>
                  </a:lnTo>
                  <a:lnTo>
                    <a:pt x="47655" y="45051"/>
                  </a:lnTo>
                  <a:lnTo>
                    <a:pt x="45202" y="48066"/>
                  </a:lnTo>
                  <a:lnTo>
                    <a:pt x="44736" y="49060"/>
                  </a:lnTo>
                  <a:lnTo>
                    <a:pt x="41622" y="50950"/>
                  </a:lnTo>
                  <a:lnTo>
                    <a:pt x="40197" y="51657"/>
                  </a:lnTo>
                  <a:lnTo>
                    <a:pt x="35878" y="50267"/>
                  </a:lnTo>
                  <a:lnTo>
                    <a:pt x="34684" y="50102"/>
                  </a:lnTo>
                  <a:lnTo>
                    <a:pt x="32760" y="51033"/>
                  </a:lnTo>
                  <a:lnTo>
                    <a:pt x="30026" y="51918"/>
                  </a:lnTo>
                  <a:lnTo>
                    <a:pt x="25627" y="52799"/>
                  </a:lnTo>
                  <a:lnTo>
                    <a:pt x="24008" y="52155"/>
                  </a:lnTo>
                  <a:lnTo>
                    <a:pt x="23241" y="51548"/>
                  </a:lnTo>
                  <a:lnTo>
                    <a:pt x="22861" y="50636"/>
                  </a:lnTo>
                  <a:lnTo>
                    <a:pt x="21751" y="49026"/>
                  </a:lnTo>
                  <a:lnTo>
                    <a:pt x="20503" y="48070"/>
                  </a:lnTo>
                  <a:lnTo>
                    <a:pt x="19635" y="47029"/>
                  </a:lnTo>
                  <a:lnTo>
                    <a:pt x="18478" y="45889"/>
                  </a:lnTo>
                  <a:lnTo>
                    <a:pt x="17735" y="44935"/>
                  </a:lnTo>
                  <a:lnTo>
                    <a:pt x="18724" y="41889"/>
                  </a:lnTo>
                  <a:lnTo>
                    <a:pt x="18002" y="40815"/>
                  </a:lnTo>
                  <a:lnTo>
                    <a:pt x="17631" y="39284"/>
                  </a:lnTo>
                  <a:lnTo>
                    <a:pt x="17823" y="38246"/>
                  </a:lnTo>
                  <a:lnTo>
                    <a:pt x="17426" y="37993"/>
                  </a:lnTo>
                  <a:lnTo>
                    <a:pt x="13448" y="37394"/>
                  </a:lnTo>
                  <a:lnTo>
                    <a:pt x="10147" y="37584"/>
                  </a:lnTo>
                  <a:lnTo>
                    <a:pt x="7780" y="38605"/>
                  </a:lnTo>
                  <a:lnTo>
                    <a:pt x="5852" y="40298"/>
                  </a:lnTo>
                  <a:lnTo>
                    <a:pt x="5621" y="40663"/>
                  </a:lnTo>
                  <a:lnTo>
                    <a:pt x="5740" y="40968"/>
                  </a:lnTo>
                  <a:lnTo>
                    <a:pt x="6698" y="42524"/>
                  </a:lnTo>
                  <a:lnTo>
                    <a:pt x="5072" y="44162"/>
                  </a:lnTo>
                  <a:lnTo>
                    <a:pt x="2578" y="45436"/>
                  </a:lnTo>
                  <a:lnTo>
                    <a:pt x="810" y="45566"/>
                  </a:lnTo>
                  <a:lnTo>
                    <a:pt x="32" y="45320"/>
                  </a:lnTo>
                  <a:lnTo>
                    <a:pt x="0" y="43564"/>
                  </a:lnTo>
                  <a:lnTo>
                    <a:pt x="1461" y="42916"/>
                  </a:lnTo>
                  <a:lnTo>
                    <a:pt x="2783" y="41773"/>
                  </a:lnTo>
                  <a:lnTo>
                    <a:pt x="3226" y="40159"/>
                  </a:lnTo>
                  <a:lnTo>
                    <a:pt x="3388" y="39023"/>
                  </a:lnTo>
                  <a:lnTo>
                    <a:pt x="1995" y="37649"/>
                  </a:lnTo>
                  <a:lnTo>
                    <a:pt x="2166" y="36806"/>
                  </a:lnTo>
                  <a:lnTo>
                    <a:pt x="3029" y="35210"/>
                  </a:lnTo>
                  <a:lnTo>
                    <a:pt x="3530" y="33795"/>
                  </a:lnTo>
                  <a:lnTo>
                    <a:pt x="4217" y="32572"/>
                  </a:lnTo>
                  <a:lnTo>
                    <a:pt x="6968" y="30569"/>
                  </a:lnTo>
                  <a:lnTo>
                    <a:pt x="9732" y="28556"/>
                  </a:lnTo>
                  <a:lnTo>
                    <a:pt x="10149" y="26415"/>
                  </a:lnTo>
                  <a:lnTo>
                    <a:pt x="10361" y="23806"/>
                  </a:lnTo>
                  <a:lnTo>
                    <a:pt x="10751" y="23180"/>
                  </a:lnTo>
                  <a:lnTo>
                    <a:pt x="14479" y="21617"/>
                  </a:lnTo>
                  <a:lnTo>
                    <a:pt x="15409" y="20998"/>
                  </a:lnTo>
                  <a:lnTo>
                    <a:pt x="15878" y="20112"/>
                  </a:lnTo>
                  <a:lnTo>
                    <a:pt x="18810" y="17180"/>
                  </a:lnTo>
                  <a:lnTo>
                    <a:pt x="21715" y="14271"/>
                  </a:lnTo>
                  <a:lnTo>
                    <a:pt x="22300" y="13294"/>
                  </a:lnTo>
                  <a:lnTo>
                    <a:pt x="22788" y="12722"/>
                  </a:lnTo>
                  <a:lnTo>
                    <a:pt x="22788" y="12247"/>
                  </a:lnTo>
                  <a:lnTo>
                    <a:pt x="22423" y="11881"/>
                  </a:lnTo>
                  <a:lnTo>
                    <a:pt x="21039" y="11637"/>
                  </a:lnTo>
                  <a:lnTo>
                    <a:pt x="20572" y="10712"/>
                  </a:lnTo>
                  <a:lnTo>
                    <a:pt x="22075" y="9058"/>
                  </a:lnTo>
                  <a:lnTo>
                    <a:pt x="23956" y="8045"/>
                  </a:lnTo>
                  <a:lnTo>
                    <a:pt x="25783" y="8031"/>
                  </a:lnTo>
                  <a:lnTo>
                    <a:pt x="26517" y="8497"/>
                  </a:lnTo>
                  <a:lnTo>
                    <a:pt x="26478" y="9045"/>
                  </a:lnTo>
                  <a:lnTo>
                    <a:pt x="27266" y="9633"/>
                  </a:lnTo>
                  <a:lnTo>
                    <a:pt x="28651" y="9828"/>
                  </a:lnTo>
                  <a:lnTo>
                    <a:pt x="30363" y="9623"/>
                  </a:lnTo>
                  <a:lnTo>
                    <a:pt x="32062" y="9004"/>
                  </a:lnTo>
                  <a:lnTo>
                    <a:pt x="33110" y="7531"/>
                  </a:lnTo>
                  <a:lnTo>
                    <a:pt x="33718" y="6417"/>
                  </a:lnTo>
                  <a:lnTo>
                    <a:pt x="36388" y="5143"/>
                  </a:lnTo>
                  <a:lnTo>
                    <a:pt x="38210" y="5784"/>
                  </a:lnTo>
                  <a:lnTo>
                    <a:pt x="43274" y="5953"/>
                  </a:lnTo>
                  <a:lnTo>
                    <a:pt x="46960" y="5608"/>
                  </a:lnTo>
                  <a:lnTo>
                    <a:pt x="49271" y="4744"/>
                  </a:lnTo>
                  <a:lnTo>
                    <a:pt x="52136" y="4744"/>
                  </a:lnTo>
                  <a:lnTo>
                    <a:pt x="54058" y="5231"/>
                  </a:lnTo>
                  <a:lnTo>
                    <a:pt x="54397" y="5159"/>
                  </a:lnTo>
                  <a:lnTo>
                    <a:pt x="54926" y="5045"/>
                  </a:lnTo>
                  <a:lnTo>
                    <a:pt x="55449" y="4582"/>
                  </a:lnTo>
                  <a:lnTo>
                    <a:pt x="57258" y="4264"/>
                  </a:lnTo>
                  <a:lnTo>
                    <a:pt x="57502" y="3876"/>
                  </a:lnTo>
                  <a:lnTo>
                    <a:pt x="57426" y="3480"/>
                  </a:lnTo>
                  <a:lnTo>
                    <a:pt x="57100" y="3277"/>
                  </a:lnTo>
                  <a:lnTo>
                    <a:pt x="54876" y="3483"/>
                  </a:lnTo>
                  <a:lnTo>
                    <a:pt x="54025" y="3176"/>
                  </a:lnTo>
                  <a:lnTo>
                    <a:pt x="53807" y="2471"/>
                  </a:lnTo>
                  <a:lnTo>
                    <a:pt x="54522" y="1246"/>
                  </a:lnTo>
                  <a:lnTo>
                    <a:pt x="56161" y="246"/>
                  </a:lnTo>
                  <a:lnTo>
                    <a:pt x="57550" y="0"/>
                  </a:lnTo>
                  <a:lnTo>
                    <a:pt x="58549" y="268"/>
                  </a:lnTo>
                  <a:lnTo>
                    <a:pt x="60992" y="2126"/>
                  </a:lnTo>
                  <a:lnTo>
                    <a:pt x="61577" y="2183"/>
                  </a:lnTo>
                  <a:lnTo>
                    <a:pt x="61916" y="1849"/>
                  </a:lnTo>
                  <a:lnTo>
                    <a:pt x="62423" y="1662"/>
                  </a:lnTo>
                  <a:lnTo>
                    <a:pt x="63265" y="2026"/>
                  </a:lnTo>
                  <a:lnTo>
                    <a:pt x="64213" y="3176"/>
                  </a:lnTo>
                  <a:lnTo>
                    <a:pt x="64371" y="3354"/>
                  </a:lnTo>
                  <a:lnTo>
                    <a:pt x="69819" y="2951"/>
                  </a:lnTo>
                  <a:lnTo>
                    <a:pt x="71041" y="2951"/>
                  </a:lnTo>
                  <a:lnTo>
                    <a:pt x="74738" y="4969"/>
                  </a:lnTo>
                  <a:close/>
                </a:path>
              </a:pathLst>
            </a:custGeom>
            <a:solidFill>
              <a:srgbClr val="A3BA1E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39" name="ee4p_CZ_1_82333">
              <a:extLst>
                <a:ext uri="{FF2B5EF4-FFF2-40B4-BE49-F238E27FC236}">
                  <a16:creationId xmlns:a16="http://schemas.microsoft.com/office/drawing/2014/main" id="{2794E543-1EAC-C5F8-67D4-AE142CF6497F}"/>
                </a:ext>
              </a:extLst>
            </p:cNvPr>
            <p:cNvSpPr>
              <a:spLocks noChangeAspect="1"/>
            </p:cNvSpPr>
            <p:nvPr>
              <p:custDataLst>
                <p:tags r:id="rId67"/>
              </p:custDataLst>
            </p:nvPr>
          </p:nvSpPr>
          <p:spPr>
            <a:xfrm>
              <a:off x="6850425" y="3078285"/>
              <a:ext cx="187235" cy="91469"/>
            </a:xfrm>
            <a:custGeom>
              <a:avLst/>
              <a:gdLst/>
              <a:ahLst/>
              <a:cxnLst/>
              <a:rect l="0" t="0" r="0" b="0"/>
              <a:pathLst>
                <a:path w="149091" h="70904">
                  <a:moveTo>
                    <a:pt x="60137" y="5220"/>
                  </a:moveTo>
                  <a:lnTo>
                    <a:pt x="62048" y="5150"/>
                  </a:lnTo>
                  <a:lnTo>
                    <a:pt x="63974" y="4416"/>
                  </a:lnTo>
                  <a:lnTo>
                    <a:pt x="64129" y="3229"/>
                  </a:lnTo>
                  <a:lnTo>
                    <a:pt x="64008" y="1005"/>
                  </a:lnTo>
                  <a:lnTo>
                    <a:pt x="64214" y="685"/>
                  </a:lnTo>
                  <a:lnTo>
                    <a:pt x="67137" y="1313"/>
                  </a:lnTo>
                  <a:lnTo>
                    <a:pt x="70070" y="2315"/>
                  </a:lnTo>
                  <a:lnTo>
                    <a:pt x="70478" y="4520"/>
                  </a:lnTo>
                  <a:lnTo>
                    <a:pt x="71264" y="5606"/>
                  </a:lnTo>
                  <a:lnTo>
                    <a:pt x="72188" y="6597"/>
                  </a:lnTo>
                  <a:lnTo>
                    <a:pt x="73078" y="7048"/>
                  </a:lnTo>
                  <a:lnTo>
                    <a:pt x="74611" y="7119"/>
                  </a:lnTo>
                  <a:lnTo>
                    <a:pt x="78591" y="8429"/>
                  </a:lnTo>
                  <a:lnTo>
                    <a:pt x="80506" y="8696"/>
                  </a:lnTo>
                  <a:lnTo>
                    <a:pt x="82467" y="9599"/>
                  </a:lnTo>
                  <a:lnTo>
                    <a:pt x="84118" y="10524"/>
                  </a:lnTo>
                  <a:lnTo>
                    <a:pt x="85326" y="10717"/>
                  </a:lnTo>
                  <a:lnTo>
                    <a:pt x="85885" y="11730"/>
                  </a:lnTo>
                  <a:lnTo>
                    <a:pt x="86623" y="12423"/>
                  </a:lnTo>
                  <a:lnTo>
                    <a:pt x="87932" y="11891"/>
                  </a:lnTo>
                  <a:lnTo>
                    <a:pt x="92704" y="11143"/>
                  </a:lnTo>
                  <a:lnTo>
                    <a:pt x="94423" y="12139"/>
                  </a:lnTo>
                  <a:lnTo>
                    <a:pt x="95585" y="13192"/>
                  </a:lnTo>
                  <a:lnTo>
                    <a:pt x="95745" y="13527"/>
                  </a:lnTo>
                  <a:lnTo>
                    <a:pt x="95138" y="14456"/>
                  </a:lnTo>
                  <a:lnTo>
                    <a:pt x="94847" y="15175"/>
                  </a:lnTo>
                  <a:lnTo>
                    <a:pt x="94350" y="15652"/>
                  </a:lnTo>
                  <a:lnTo>
                    <a:pt x="92711" y="16159"/>
                  </a:lnTo>
                  <a:lnTo>
                    <a:pt x="91787" y="16981"/>
                  </a:lnTo>
                  <a:lnTo>
                    <a:pt x="91115" y="17880"/>
                  </a:lnTo>
                  <a:lnTo>
                    <a:pt x="91566" y="18739"/>
                  </a:lnTo>
                  <a:lnTo>
                    <a:pt x="92905" y="19383"/>
                  </a:lnTo>
                  <a:lnTo>
                    <a:pt x="93853" y="19528"/>
                  </a:lnTo>
                  <a:lnTo>
                    <a:pt x="94214" y="20156"/>
                  </a:lnTo>
                  <a:lnTo>
                    <a:pt x="97246" y="22961"/>
                  </a:lnTo>
                  <a:lnTo>
                    <a:pt x="99657" y="26619"/>
                  </a:lnTo>
                  <a:lnTo>
                    <a:pt x="100597" y="27191"/>
                  </a:lnTo>
                  <a:lnTo>
                    <a:pt x="101480" y="27326"/>
                  </a:lnTo>
                  <a:lnTo>
                    <a:pt x="102501" y="26789"/>
                  </a:lnTo>
                  <a:lnTo>
                    <a:pt x="103680" y="25604"/>
                  </a:lnTo>
                  <a:lnTo>
                    <a:pt x="105078" y="24746"/>
                  </a:lnTo>
                  <a:lnTo>
                    <a:pt x="106261" y="24305"/>
                  </a:lnTo>
                  <a:lnTo>
                    <a:pt x="108347" y="23293"/>
                  </a:lnTo>
                  <a:lnTo>
                    <a:pt x="108429" y="22633"/>
                  </a:lnTo>
                  <a:lnTo>
                    <a:pt x="106691" y="20156"/>
                  </a:lnTo>
                  <a:lnTo>
                    <a:pt x="105682" y="18147"/>
                  </a:lnTo>
                  <a:lnTo>
                    <a:pt x="105924" y="17783"/>
                  </a:lnTo>
                  <a:lnTo>
                    <a:pt x="108150" y="18101"/>
                  </a:lnTo>
                  <a:lnTo>
                    <a:pt x="111936" y="19197"/>
                  </a:lnTo>
                  <a:lnTo>
                    <a:pt x="117758" y="22776"/>
                  </a:lnTo>
                  <a:lnTo>
                    <a:pt x="118799" y="22776"/>
                  </a:lnTo>
                  <a:lnTo>
                    <a:pt x="120839" y="22507"/>
                  </a:lnTo>
                  <a:lnTo>
                    <a:pt x="123053" y="21923"/>
                  </a:lnTo>
                  <a:lnTo>
                    <a:pt x="124104" y="21258"/>
                  </a:lnTo>
                  <a:lnTo>
                    <a:pt x="124499" y="21506"/>
                  </a:lnTo>
                  <a:lnTo>
                    <a:pt x="124838" y="23471"/>
                  </a:lnTo>
                  <a:lnTo>
                    <a:pt x="124259" y="24548"/>
                  </a:lnTo>
                  <a:lnTo>
                    <a:pt x="121608" y="25592"/>
                  </a:lnTo>
                  <a:lnTo>
                    <a:pt x="121761" y="26111"/>
                  </a:lnTo>
                  <a:lnTo>
                    <a:pt x="122441" y="26779"/>
                  </a:lnTo>
                  <a:lnTo>
                    <a:pt x="123635" y="27230"/>
                  </a:lnTo>
                  <a:lnTo>
                    <a:pt x="125084" y="28502"/>
                  </a:lnTo>
                  <a:lnTo>
                    <a:pt x="126082" y="29951"/>
                  </a:lnTo>
                  <a:lnTo>
                    <a:pt x="126957" y="30623"/>
                  </a:lnTo>
                  <a:lnTo>
                    <a:pt x="127920" y="30942"/>
                  </a:lnTo>
                  <a:lnTo>
                    <a:pt x="130330" y="30168"/>
                  </a:lnTo>
                  <a:lnTo>
                    <a:pt x="131012" y="29556"/>
                  </a:lnTo>
                  <a:lnTo>
                    <a:pt x="131314" y="29123"/>
                  </a:lnTo>
                  <a:lnTo>
                    <a:pt x="131783" y="29219"/>
                  </a:lnTo>
                  <a:lnTo>
                    <a:pt x="132627" y="29931"/>
                  </a:lnTo>
                  <a:lnTo>
                    <a:pt x="132882" y="30350"/>
                  </a:lnTo>
                  <a:lnTo>
                    <a:pt x="135227" y="31159"/>
                  </a:lnTo>
                  <a:lnTo>
                    <a:pt x="136577" y="32153"/>
                  </a:lnTo>
                  <a:lnTo>
                    <a:pt x="137438" y="32621"/>
                  </a:lnTo>
                  <a:lnTo>
                    <a:pt x="138393" y="32166"/>
                  </a:lnTo>
                  <a:lnTo>
                    <a:pt x="142103" y="32957"/>
                  </a:lnTo>
                  <a:lnTo>
                    <a:pt x="143124" y="33621"/>
                  </a:lnTo>
                  <a:lnTo>
                    <a:pt x="143450" y="34723"/>
                  </a:lnTo>
                  <a:lnTo>
                    <a:pt x="143266" y="35391"/>
                  </a:lnTo>
                  <a:lnTo>
                    <a:pt x="143837" y="37122"/>
                  </a:lnTo>
                  <a:lnTo>
                    <a:pt x="148531" y="41266"/>
                  </a:lnTo>
                  <a:lnTo>
                    <a:pt x="149025" y="43380"/>
                  </a:lnTo>
                  <a:lnTo>
                    <a:pt x="149090" y="44222"/>
                  </a:lnTo>
                  <a:lnTo>
                    <a:pt x="148533" y="44267"/>
                  </a:lnTo>
                  <a:lnTo>
                    <a:pt x="147265" y="44704"/>
                  </a:lnTo>
                  <a:lnTo>
                    <a:pt x="145640" y="44863"/>
                  </a:lnTo>
                  <a:lnTo>
                    <a:pt x="143878" y="44777"/>
                  </a:lnTo>
                  <a:lnTo>
                    <a:pt x="142508" y="45545"/>
                  </a:lnTo>
                  <a:lnTo>
                    <a:pt x="141215" y="46795"/>
                  </a:lnTo>
                  <a:lnTo>
                    <a:pt x="139883" y="47660"/>
                  </a:lnTo>
                  <a:lnTo>
                    <a:pt x="139159" y="48434"/>
                  </a:lnTo>
                  <a:lnTo>
                    <a:pt x="138755" y="49227"/>
                  </a:lnTo>
                  <a:lnTo>
                    <a:pt x="134247" y="51485"/>
                  </a:lnTo>
                  <a:lnTo>
                    <a:pt x="133621" y="52424"/>
                  </a:lnTo>
                  <a:lnTo>
                    <a:pt x="133119" y="53704"/>
                  </a:lnTo>
                  <a:lnTo>
                    <a:pt x="132908" y="55432"/>
                  </a:lnTo>
                  <a:lnTo>
                    <a:pt x="132588" y="56980"/>
                  </a:lnTo>
                  <a:lnTo>
                    <a:pt x="131813" y="57797"/>
                  </a:lnTo>
                  <a:lnTo>
                    <a:pt x="129377" y="58498"/>
                  </a:lnTo>
                  <a:lnTo>
                    <a:pt x="128770" y="58876"/>
                  </a:lnTo>
                  <a:lnTo>
                    <a:pt x="128315" y="59663"/>
                  </a:lnTo>
                  <a:lnTo>
                    <a:pt x="126948" y="60876"/>
                  </a:lnTo>
                  <a:lnTo>
                    <a:pt x="125348" y="62030"/>
                  </a:lnTo>
                  <a:lnTo>
                    <a:pt x="122405" y="63348"/>
                  </a:lnTo>
                  <a:lnTo>
                    <a:pt x="119248" y="63749"/>
                  </a:lnTo>
                  <a:lnTo>
                    <a:pt x="115140" y="63321"/>
                  </a:lnTo>
                  <a:lnTo>
                    <a:pt x="112743" y="62804"/>
                  </a:lnTo>
                  <a:lnTo>
                    <a:pt x="111575" y="63371"/>
                  </a:lnTo>
                  <a:lnTo>
                    <a:pt x="109975" y="65088"/>
                  </a:lnTo>
                  <a:lnTo>
                    <a:pt x="108250" y="68042"/>
                  </a:lnTo>
                  <a:lnTo>
                    <a:pt x="107540" y="70261"/>
                  </a:lnTo>
                  <a:lnTo>
                    <a:pt x="106991" y="69634"/>
                  </a:lnTo>
                  <a:lnTo>
                    <a:pt x="106004" y="67280"/>
                  </a:lnTo>
                  <a:lnTo>
                    <a:pt x="104888" y="66978"/>
                  </a:lnTo>
                  <a:lnTo>
                    <a:pt x="103367" y="66759"/>
                  </a:lnTo>
                  <a:lnTo>
                    <a:pt x="102223" y="66412"/>
                  </a:lnTo>
                  <a:lnTo>
                    <a:pt x="99752" y="65056"/>
                  </a:lnTo>
                  <a:lnTo>
                    <a:pt x="98483" y="64647"/>
                  </a:lnTo>
                  <a:lnTo>
                    <a:pt x="97032" y="64537"/>
                  </a:lnTo>
                  <a:lnTo>
                    <a:pt x="95637" y="65335"/>
                  </a:lnTo>
                  <a:lnTo>
                    <a:pt x="94585" y="66277"/>
                  </a:lnTo>
                  <a:lnTo>
                    <a:pt x="91314" y="66264"/>
                  </a:lnTo>
                  <a:lnTo>
                    <a:pt x="87729" y="65827"/>
                  </a:lnTo>
                  <a:lnTo>
                    <a:pt x="82598" y="62704"/>
                  </a:lnTo>
                  <a:lnTo>
                    <a:pt x="81268" y="62677"/>
                  </a:lnTo>
                  <a:lnTo>
                    <a:pt x="79847" y="62818"/>
                  </a:lnTo>
                  <a:lnTo>
                    <a:pt x="77606" y="62080"/>
                  </a:lnTo>
                  <a:lnTo>
                    <a:pt x="73261" y="60056"/>
                  </a:lnTo>
                  <a:lnTo>
                    <a:pt x="71227" y="59581"/>
                  </a:lnTo>
                  <a:lnTo>
                    <a:pt x="69940" y="59871"/>
                  </a:lnTo>
                  <a:lnTo>
                    <a:pt x="68766" y="60319"/>
                  </a:lnTo>
                  <a:lnTo>
                    <a:pt x="67928" y="60372"/>
                  </a:lnTo>
                  <a:lnTo>
                    <a:pt x="67442" y="59714"/>
                  </a:lnTo>
                  <a:lnTo>
                    <a:pt x="65829" y="58901"/>
                  </a:lnTo>
                  <a:lnTo>
                    <a:pt x="64207" y="58808"/>
                  </a:lnTo>
                  <a:lnTo>
                    <a:pt x="63736" y="59298"/>
                  </a:lnTo>
                  <a:lnTo>
                    <a:pt x="63188" y="63750"/>
                  </a:lnTo>
                  <a:lnTo>
                    <a:pt x="62639" y="65354"/>
                  </a:lnTo>
                  <a:lnTo>
                    <a:pt x="60413" y="65280"/>
                  </a:lnTo>
                  <a:lnTo>
                    <a:pt x="59618" y="66038"/>
                  </a:lnTo>
                  <a:lnTo>
                    <a:pt x="57865" y="68184"/>
                  </a:lnTo>
                  <a:lnTo>
                    <a:pt x="57526" y="70249"/>
                  </a:lnTo>
                  <a:lnTo>
                    <a:pt x="54488" y="69849"/>
                  </a:lnTo>
                  <a:lnTo>
                    <a:pt x="53045" y="69502"/>
                  </a:lnTo>
                  <a:lnTo>
                    <a:pt x="51771" y="69765"/>
                  </a:lnTo>
                  <a:lnTo>
                    <a:pt x="50367" y="70903"/>
                  </a:lnTo>
                  <a:lnTo>
                    <a:pt x="46437" y="70836"/>
                  </a:lnTo>
                  <a:lnTo>
                    <a:pt x="43326" y="70157"/>
                  </a:lnTo>
                  <a:lnTo>
                    <a:pt x="41991" y="67600"/>
                  </a:lnTo>
                  <a:lnTo>
                    <a:pt x="40566" y="66588"/>
                  </a:lnTo>
                  <a:lnTo>
                    <a:pt x="38772" y="65682"/>
                  </a:lnTo>
                  <a:lnTo>
                    <a:pt x="38143" y="65481"/>
                  </a:lnTo>
                  <a:lnTo>
                    <a:pt x="37152" y="64085"/>
                  </a:lnTo>
                  <a:lnTo>
                    <a:pt x="35273" y="62355"/>
                  </a:lnTo>
                  <a:lnTo>
                    <a:pt x="32237" y="59990"/>
                  </a:lnTo>
                  <a:lnTo>
                    <a:pt x="29873" y="60107"/>
                  </a:lnTo>
                  <a:lnTo>
                    <a:pt x="28998" y="59479"/>
                  </a:lnTo>
                  <a:lnTo>
                    <a:pt x="28612" y="58609"/>
                  </a:lnTo>
                  <a:lnTo>
                    <a:pt x="27625" y="57104"/>
                  </a:lnTo>
                  <a:lnTo>
                    <a:pt x="26513" y="56057"/>
                  </a:lnTo>
                  <a:lnTo>
                    <a:pt x="25165" y="55651"/>
                  </a:lnTo>
                  <a:lnTo>
                    <a:pt x="23235" y="54317"/>
                  </a:lnTo>
                  <a:lnTo>
                    <a:pt x="20652" y="51407"/>
                  </a:lnTo>
                  <a:lnTo>
                    <a:pt x="18285" y="49393"/>
                  </a:lnTo>
                  <a:lnTo>
                    <a:pt x="16001" y="49425"/>
                  </a:lnTo>
                  <a:lnTo>
                    <a:pt x="14552" y="48369"/>
                  </a:lnTo>
                  <a:lnTo>
                    <a:pt x="13077" y="46985"/>
                  </a:lnTo>
                  <a:lnTo>
                    <a:pt x="11991" y="45644"/>
                  </a:lnTo>
                  <a:lnTo>
                    <a:pt x="10304" y="42383"/>
                  </a:lnTo>
                  <a:lnTo>
                    <a:pt x="9078" y="40520"/>
                  </a:lnTo>
                  <a:lnTo>
                    <a:pt x="8121" y="39367"/>
                  </a:lnTo>
                  <a:lnTo>
                    <a:pt x="7041" y="38406"/>
                  </a:lnTo>
                  <a:lnTo>
                    <a:pt x="6651" y="37645"/>
                  </a:lnTo>
                  <a:lnTo>
                    <a:pt x="7970" y="35903"/>
                  </a:lnTo>
                  <a:lnTo>
                    <a:pt x="8449" y="35041"/>
                  </a:lnTo>
                  <a:lnTo>
                    <a:pt x="9017" y="34379"/>
                  </a:lnTo>
                  <a:lnTo>
                    <a:pt x="9348" y="33676"/>
                  </a:lnTo>
                  <a:lnTo>
                    <a:pt x="9337" y="33147"/>
                  </a:lnTo>
                  <a:lnTo>
                    <a:pt x="8134" y="31425"/>
                  </a:lnTo>
                  <a:lnTo>
                    <a:pt x="6510" y="30182"/>
                  </a:lnTo>
                  <a:lnTo>
                    <a:pt x="4128" y="28919"/>
                  </a:lnTo>
                  <a:lnTo>
                    <a:pt x="2610" y="27325"/>
                  </a:lnTo>
                  <a:lnTo>
                    <a:pt x="2051" y="25864"/>
                  </a:lnTo>
                  <a:lnTo>
                    <a:pt x="1885" y="25061"/>
                  </a:lnTo>
                  <a:lnTo>
                    <a:pt x="842" y="23973"/>
                  </a:lnTo>
                  <a:lnTo>
                    <a:pt x="0" y="22377"/>
                  </a:lnTo>
                  <a:lnTo>
                    <a:pt x="2" y="21416"/>
                  </a:lnTo>
                  <a:lnTo>
                    <a:pt x="209" y="21148"/>
                  </a:lnTo>
                  <a:lnTo>
                    <a:pt x="998" y="21149"/>
                  </a:lnTo>
                  <a:lnTo>
                    <a:pt x="1880" y="21803"/>
                  </a:lnTo>
                  <a:lnTo>
                    <a:pt x="3127" y="23063"/>
                  </a:lnTo>
                  <a:lnTo>
                    <a:pt x="4148" y="24898"/>
                  </a:lnTo>
                  <a:lnTo>
                    <a:pt x="4774" y="24196"/>
                  </a:lnTo>
                  <a:lnTo>
                    <a:pt x="5945" y="22241"/>
                  </a:lnTo>
                  <a:lnTo>
                    <a:pt x="8024" y="20023"/>
                  </a:lnTo>
                  <a:lnTo>
                    <a:pt x="10156" y="18759"/>
                  </a:lnTo>
                  <a:lnTo>
                    <a:pt x="12069" y="18653"/>
                  </a:lnTo>
                  <a:lnTo>
                    <a:pt x="13636" y="18303"/>
                  </a:lnTo>
                  <a:lnTo>
                    <a:pt x="14941" y="17670"/>
                  </a:lnTo>
                  <a:lnTo>
                    <a:pt x="17214" y="17923"/>
                  </a:lnTo>
                  <a:lnTo>
                    <a:pt x="18860" y="18381"/>
                  </a:lnTo>
                  <a:lnTo>
                    <a:pt x="19393" y="18098"/>
                  </a:lnTo>
                  <a:lnTo>
                    <a:pt x="20063" y="16942"/>
                  </a:lnTo>
                  <a:lnTo>
                    <a:pt x="20490" y="15945"/>
                  </a:lnTo>
                  <a:lnTo>
                    <a:pt x="24133" y="15361"/>
                  </a:lnTo>
                  <a:lnTo>
                    <a:pt x="25383" y="13436"/>
                  </a:lnTo>
                  <a:lnTo>
                    <a:pt x="26087" y="13446"/>
                  </a:lnTo>
                  <a:lnTo>
                    <a:pt x="26895" y="13158"/>
                  </a:lnTo>
                  <a:lnTo>
                    <a:pt x="27668" y="12428"/>
                  </a:lnTo>
                  <a:lnTo>
                    <a:pt x="28411" y="12129"/>
                  </a:lnTo>
                  <a:lnTo>
                    <a:pt x="28998" y="12490"/>
                  </a:lnTo>
                  <a:lnTo>
                    <a:pt x="29771" y="12729"/>
                  </a:lnTo>
                  <a:lnTo>
                    <a:pt x="30577" y="12268"/>
                  </a:lnTo>
                  <a:lnTo>
                    <a:pt x="31771" y="10061"/>
                  </a:lnTo>
                  <a:lnTo>
                    <a:pt x="32438" y="9717"/>
                  </a:lnTo>
                  <a:lnTo>
                    <a:pt x="35636" y="9371"/>
                  </a:lnTo>
                  <a:lnTo>
                    <a:pt x="39996" y="8068"/>
                  </a:lnTo>
                  <a:lnTo>
                    <a:pt x="42205" y="6907"/>
                  </a:lnTo>
                  <a:lnTo>
                    <a:pt x="44373" y="6277"/>
                  </a:lnTo>
                  <a:lnTo>
                    <a:pt x="46701" y="5155"/>
                  </a:lnTo>
                  <a:lnTo>
                    <a:pt x="50400" y="4061"/>
                  </a:lnTo>
                  <a:lnTo>
                    <a:pt x="50577" y="3614"/>
                  </a:lnTo>
                  <a:lnTo>
                    <a:pt x="48860" y="2489"/>
                  </a:lnTo>
                  <a:lnTo>
                    <a:pt x="48283" y="1779"/>
                  </a:lnTo>
                  <a:lnTo>
                    <a:pt x="47897" y="1050"/>
                  </a:lnTo>
                  <a:lnTo>
                    <a:pt x="48502" y="243"/>
                  </a:lnTo>
                  <a:lnTo>
                    <a:pt x="49309" y="0"/>
                  </a:lnTo>
                  <a:lnTo>
                    <a:pt x="50361" y="337"/>
                  </a:lnTo>
                  <a:lnTo>
                    <a:pt x="53458" y="816"/>
                  </a:lnTo>
                  <a:lnTo>
                    <a:pt x="54306" y="1281"/>
                  </a:lnTo>
                  <a:lnTo>
                    <a:pt x="54615" y="2421"/>
                  </a:lnTo>
                  <a:lnTo>
                    <a:pt x="55401" y="3481"/>
                  </a:lnTo>
                  <a:lnTo>
                    <a:pt x="56034" y="3594"/>
                  </a:lnTo>
                  <a:lnTo>
                    <a:pt x="55807" y="5320"/>
                  </a:lnTo>
                  <a:lnTo>
                    <a:pt x="56794" y="5989"/>
                  </a:lnTo>
                  <a:lnTo>
                    <a:pt x="58234" y="6511"/>
                  </a:lnTo>
                  <a:lnTo>
                    <a:pt x="59189" y="6406"/>
                  </a:lnTo>
                  <a:lnTo>
                    <a:pt x="59873" y="5706"/>
                  </a:lnTo>
                  <a:close/>
                </a:path>
              </a:pathLst>
            </a:custGeom>
            <a:solidFill>
              <a:srgbClr val="A3BA1E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40" name="ee4p_DE_1_82333">
              <a:extLst>
                <a:ext uri="{FF2B5EF4-FFF2-40B4-BE49-F238E27FC236}">
                  <a16:creationId xmlns:a16="http://schemas.microsoft.com/office/drawing/2014/main" id="{0525D4FB-7AC7-1120-4B0C-37CA59DA2F56}"/>
                </a:ext>
              </a:extLst>
            </p:cNvPr>
            <p:cNvSpPr>
              <a:spLocks noChangeAspect="1"/>
            </p:cNvSpPr>
            <p:nvPr>
              <p:custDataLst>
                <p:tags r:id="rId68"/>
              </p:custDataLst>
            </p:nvPr>
          </p:nvSpPr>
          <p:spPr>
            <a:xfrm>
              <a:off x="6677361" y="2922813"/>
              <a:ext cx="254342" cy="294127"/>
            </a:xfrm>
            <a:custGeom>
              <a:avLst/>
              <a:gdLst>
                <a:gd name="connsiteX0" fmla="*/ 176238 w 202527"/>
                <a:gd name="connsiteY0" fmla="*/ 28478 h 227999"/>
                <a:gd name="connsiteX1" fmla="*/ 180907 w 202527"/>
                <a:gd name="connsiteY1" fmla="*/ 31292 h 227999"/>
                <a:gd name="connsiteX2" fmla="*/ 184723 w 202527"/>
                <a:gd name="connsiteY2" fmla="*/ 33847 h 227999"/>
                <a:gd name="connsiteX3" fmla="*/ 184431 w 202527"/>
                <a:gd name="connsiteY3" fmla="*/ 34795 h 227999"/>
                <a:gd name="connsiteX4" fmla="*/ 184772 w 202527"/>
                <a:gd name="connsiteY4" fmla="*/ 36258 h 227999"/>
                <a:gd name="connsiteX5" fmla="*/ 183854 w 202527"/>
                <a:gd name="connsiteY5" fmla="*/ 36149 h 227999"/>
                <a:gd name="connsiteX6" fmla="*/ 181117 w 202527"/>
                <a:gd name="connsiteY6" fmla="*/ 36490 h 227999"/>
                <a:gd name="connsiteX7" fmla="*/ 178406 w 202527"/>
                <a:gd name="connsiteY7" fmla="*/ 36007 h 227999"/>
                <a:gd name="connsiteX8" fmla="*/ 177884 w 202527"/>
                <a:gd name="connsiteY8" fmla="*/ 34192 h 227999"/>
                <a:gd name="connsiteX9" fmla="*/ 178316 w 202527"/>
                <a:gd name="connsiteY9" fmla="*/ 32443 h 227999"/>
                <a:gd name="connsiteX10" fmla="*/ 177227 w 202527"/>
                <a:gd name="connsiteY10" fmla="*/ 31240 h 227999"/>
                <a:gd name="connsiteX11" fmla="*/ 176225 w 202527"/>
                <a:gd name="connsiteY11" fmla="*/ 30534 h 227999"/>
                <a:gd name="connsiteX12" fmla="*/ 176077 w 202527"/>
                <a:gd name="connsiteY12" fmla="*/ 29524 h 227999"/>
                <a:gd name="connsiteX13" fmla="*/ 115590 w 202527"/>
                <a:gd name="connsiteY13" fmla="*/ 16104 h 227999"/>
                <a:gd name="connsiteX14" fmla="*/ 118877 w 202527"/>
                <a:gd name="connsiteY14" fmla="*/ 17086 h 227999"/>
                <a:gd name="connsiteX15" fmla="*/ 119909 w 202527"/>
                <a:gd name="connsiteY15" fmla="*/ 19005 h 227999"/>
                <a:gd name="connsiteX16" fmla="*/ 119965 w 202527"/>
                <a:gd name="connsiteY16" fmla="*/ 19628 h 227999"/>
                <a:gd name="connsiteX17" fmla="*/ 116570 w 202527"/>
                <a:gd name="connsiteY17" fmla="*/ 19687 h 227999"/>
                <a:gd name="connsiteX18" fmla="*/ 115274 w 202527"/>
                <a:gd name="connsiteY18" fmla="*/ 18467 h 227999"/>
                <a:gd name="connsiteX19" fmla="*/ 113970 w 202527"/>
                <a:gd name="connsiteY19" fmla="*/ 18157 h 227999"/>
                <a:gd name="connsiteX20" fmla="*/ 114672 w 202527"/>
                <a:gd name="connsiteY20" fmla="*/ 16652 h 227999"/>
                <a:gd name="connsiteX21" fmla="*/ 167283 w 202527"/>
                <a:gd name="connsiteY21" fmla="*/ 11030 h 227999"/>
                <a:gd name="connsiteX22" fmla="*/ 167888 w 202527"/>
                <a:gd name="connsiteY22" fmla="*/ 12552 h 227999"/>
                <a:gd name="connsiteX23" fmla="*/ 168797 w 202527"/>
                <a:gd name="connsiteY23" fmla="*/ 13599 h 227999"/>
                <a:gd name="connsiteX24" fmla="*/ 171999 w 202527"/>
                <a:gd name="connsiteY24" fmla="*/ 14772 h 227999"/>
                <a:gd name="connsiteX25" fmla="*/ 172477 w 202527"/>
                <a:gd name="connsiteY25" fmla="*/ 15305 h 227999"/>
                <a:gd name="connsiteX26" fmla="*/ 172766 w 202527"/>
                <a:gd name="connsiteY26" fmla="*/ 16042 h 227999"/>
                <a:gd name="connsiteX27" fmla="*/ 171276 w 202527"/>
                <a:gd name="connsiteY27" fmla="*/ 17485 h 227999"/>
                <a:gd name="connsiteX28" fmla="*/ 170771 w 202527"/>
                <a:gd name="connsiteY28" fmla="*/ 18224 h 227999"/>
                <a:gd name="connsiteX29" fmla="*/ 171244 w 202527"/>
                <a:gd name="connsiteY29" fmla="*/ 19409 h 227999"/>
                <a:gd name="connsiteX30" fmla="*/ 173617 w 202527"/>
                <a:gd name="connsiteY30" fmla="*/ 20703 h 227999"/>
                <a:gd name="connsiteX31" fmla="*/ 174170 w 202527"/>
                <a:gd name="connsiteY31" fmla="*/ 22753 h 227999"/>
                <a:gd name="connsiteX32" fmla="*/ 173576 w 202527"/>
                <a:gd name="connsiteY32" fmla="*/ 23797 h 227999"/>
                <a:gd name="connsiteX33" fmla="*/ 171090 w 202527"/>
                <a:gd name="connsiteY33" fmla="*/ 22060 h 227999"/>
                <a:gd name="connsiteX34" fmla="*/ 168594 w 202527"/>
                <a:gd name="connsiteY34" fmla="*/ 22084 h 227999"/>
                <a:gd name="connsiteX35" fmla="*/ 167102 w 202527"/>
                <a:gd name="connsiteY35" fmla="*/ 24759 h 227999"/>
                <a:gd name="connsiteX36" fmla="*/ 165992 w 202527"/>
                <a:gd name="connsiteY36" fmla="*/ 24872 h 227999"/>
                <a:gd name="connsiteX37" fmla="*/ 162138 w 202527"/>
                <a:gd name="connsiteY37" fmla="*/ 22442 h 227999"/>
                <a:gd name="connsiteX38" fmla="*/ 161520 w 202527"/>
                <a:gd name="connsiteY38" fmla="*/ 21256 h 227999"/>
                <a:gd name="connsiteX39" fmla="*/ 161393 w 202527"/>
                <a:gd name="connsiteY39" fmla="*/ 20270 h 227999"/>
                <a:gd name="connsiteX40" fmla="*/ 161943 w 202527"/>
                <a:gd name="connsiteY40" fmla="*/ 16850 h 227999"/>
                <a:gd name="connsiteX41" fmla="*/ 161842 w 202527"/>
                <a:gd name="connsiteY41" fmla="*/ 15773 h 227999"/>
                <a:gd name="connsiteX42" fmla="*/ 163053 w 202527"/>
                <a:gd name="connsiteY42" fmla="*/ 14596 h 227999"/>
                <a:gd name="connsiteX43" fmla="*/ 163241 w 202527"/>
                <a:gd name="connsiteY43" fmla="*/ 12894 h 227999"/>
                <a:gd name="connsiteX44" fmla="*/ 165383 w 202527"/>
                <a:gd name="connsiteY44" fmla="*/ 11098 h 227999"/>
                <a:gd name="connsiteX45" fmla="*/ 58651 w 202527"/>
                <a:gd name="connsiteY45" fmla="*/ 9162 h 227999"/>
                <a:gd name="connsiteX46" fmla="*/ 60055 w 202527"/>
                <a:gd name="connsiteY46" fmla="*/ 9517 h 227999"/>
                <a:gd name="connsiteX47" fmla="*/ 60374 w 202527"/>
                <a:gd name="connsiteY47" fmla="*/ 10621 h 227999"/>
                <a:gd name="connsiteX48" fmla="*/ 59513 w 202527"/>
                <a:gd name="connsiteY48" fmla="*/ 11371 h 227999"/>
                <a:gd name="connsiteX49" fmla="*/ 57409 w 202527"/>
                <a:gd name="connsiteY49" fmla="*/ 11283 h 227999"/>
                <a:gd name="connsiteX50" fmla="*/ 56228 w 202527"/>
                <a:gd name="connsiteY50" fmla="*/ 10577 h 227999"/>
                <a:gd name="connsiteX51" fmla="*/ 56611 w 202527"/>
                <a:gd name="connsiteY51" fmla="*/ 9825 h 227999"/>
                <a:gd name="connsiteX52" fmla="*/ 57727 w 202527"/>
                <a:gd name="connsiteY52" fmla="*/ 9251 h 227999"/>
                <a:gd name="connsiteX53" fmla="*/ 62197 w 202527"/>
                <a:gd name="connsiteY53" fmla="*/ 4773 h 227999"/>
                <a:gd name="connsiteX54" fmla="*/ 62206 w 202527"/>
                <a:gd name="connsiteY54" fmla="*/ 4776 h 227999"/>
                <a:gd name="connsiteX55" fmla="*/ 66330 w 202527"/>
                <a:gd name="connsiteY55" fmla="*/ 4843 h 227999"/>
                <a:gd name="connsiteX56" fmla="*/ 67341 w 202527"/>
                <a:gd name="connsiteY56" fmla="*/ 4973 h 227999"/>
                <a:gd name="connsiteX57" fmla="*/ 73596 w 202527"/>
                <a:gd name="connsiteY57" fmla="*/ 6576 h 227999"/>
                <a:gd name="connsiteX58" fmla="*/ 75125 w 202527"/>
                <a:gd name="connsiteY58" fmla="*/ 7700 h 227999"/>
                <a:gd name="connsiteX59" fmla="*/ 77049 w 202527"/>
                <a:gd name="connsiteY59" fmla="*/ 7753 h 227999"/>
                <a:gd name="connsiteX60" fmla="*/ 80515 w 202527"/>
                <a:gd name="connsiteY60" fmla="*/ 6706 h 227999"/>
                <a:gd name="connsiteX61" fmla="*/ 83104 w 202527"/>
                <a:gd name="connsiteY61" fmla="*/ 6246 h 227999"/>
                <a:gd name="connsiteX62" fmla="*/ 84108 w 202527"/>
                <a:gd name="connsiteY62" fmla="*/ 6892 h 227999"/>
                <a:gd name="connsiteX63" fmla="*/ 85518 w 202527"/>
                <a:gd name="connsiteY63" fmla="*/ 7163 h 227999"/>
                <a:gd name="connsiteX64" fmla="*/ 85844 w 202527"/>
                <a:gd name="connsiteY64" fmla="*/ 7163 h 227999"/>
                <a:gd name="connsiteX65" fmla="*/ 85981 w 202527"/>
                <a:gd name="connsiteY65" fmla="*/ 7726 h 227999"/>
                <a:gd name="connsiteX66" fmla="*/ 89217 w 202527"/>
                <a:gd name="connsiteY66" fmla="*/ 8540 h 227999"/>
                <a:gd name="connsiteX67" fmla="*/ 90578 w 202527"/>
                <a:gd name="connsiteY67" fmla="*/ 9837 h 227999"/>
                <a:gd name="connsiteX68" fmla="*/ 92089 w 202527"/>
                <a:gd name="connsiteY68" fmla="*/ 11807 h 227999"/>
                <a:gd name="connsiteX69" fmla="*/ 92236 w 202527"/>
                <a:gd name="connsiteY69" fmla="*/ 14641 h 227999"/>
                <a:gd name="connsiteX70" fmla="*/ 90301 w 202527"/>
                <a:gd name="connsiteY70" fmla="*/ 16677 h 227999"/>
                <a:gd name="connsiteX71" fmla="*/ 88695 w 202527"/>
                <a:gd name="connsiteY71" fmla="*/ 17965 h 227999"/>
                <a:gd name="connsiteX72" fmla="*/ 94771 w 202527"/>
                <a:gd name="connsiteY72" fmla="*/ 17478 h 227999"/>
                <a:gd name="connsiteX73" fmla="*/ 95376 w 202527"/>
                <a:gd name="connsiteY73" fmla="*/ 18645 h 227999"/>
                <a:gd name="connsiteX74" fmla="*/ 96296 w 202527"/>
                <a:gd name="connsiteY74" fmla="*/ 19903 h 227999"/>
                <a:gd name="connsiteX75" fmla="*/ 99569 w 202527"/>
                <a:gd name="connsiteY75" fmla="*/ 19007 h 227999"/>
                <a:gd name="connsiteX76" fmla="*/ 107775 w 202527"/>
                <a:gd name="connsiteY76" fmla="*/ 22728 h 227999"/>
                <a:gd name="connsiteX77" fmla="*/ 112737 w 202527"/>
                <a:gd name="connsiteY77" fmla="*/ 20917 h 227999"/>
                <a:gd name="connsiteX78" fmla="*/ 114007 w 202527"/>
                <a:gd name="connsiteY78" fmla="*/ 20811 h 227999"/>
                <a:gd name="connsiteX79" fmla="*/ 115134 w 202527"/>
                <a:gd name="connsiteY79" fmla="*/ 23817 h 227999"/>
                <a:gd name="connsiteX80" fmla="*/ 113901 w 202527"/>
                <a:gd name="connsiteY80" fmla="*/ 26840 h 227999"/>
                <a:gd name="connsiteX81" fmla="*/ 109526 w 202527"/>
                <a:gd name="connsiteY81" fmla="*/ 30061 h 227999"/>
                <a:gd name="connsiteX82" fmla="*/ 110496 w 202527"/>
                <a:gd name="connsiteY82" fmla="*/ 32043 h 227999"/>
                <a:gd name="connsiteX83" fmla="*/ 111893 w 202527"/>
                <a:gd name="connsiteY83" fmla="*/ 32483 h 227999"/>
                <a:gd name="connsiteX84" fmla="*/ 116017 w 202527"/>
                <a:gd name="connsiteY84" fmla="*/ 32063 h 227999"/>
                <a:gd name="connsiteX85" fmla="*/ 122547 w 202527"/>
                <a:gd name="connsiteY85" fmla="*/ 34020 h 227999"/>
                <a:gd name="connsiteX86" fmla="*/ 123908 w 202527"/>
                <a:gd name="connsiteY86" fmla="*/ 33410 h 227999"/>
                <a:gd name="connsiteX87" fmla="*/ 129203 w 202527"/>
                <a:gd name="connsiteY87" fmla="*/ 28895 h 227999"/>
                <a:gd name="connsiteX88" fmla="*/ 131319 w 202527"/>
                <a:gd name="connsiteY88" fmla="*/ 27925 h 227999"/>
                <a:gd name="connsiteX89" fmla="*/ 138285 w 202527"/>
                <a:gd name="connsiteY89" fmla="*/ 27230 h 227999"/>
                <a:gd name="connsiteX90" fmla="*/ 139552 w 202527"/>
                <a:gd name="connsiteY90" fmla="*/ 25479 h 227999"/>
                <a:gd name="connsiteX91" fmla="*/ 142375 w 202527"/>
                <a:gd name="connsiteY91" fmla="*/ 23717 h 227999"/>
                <a:gd name="connsiteX92" fmla="*/ 144193 w 202527"/>
                <a:gd name="connsiteY92" fmla="*/ 21791 h 227999"/>
                <a:gd name="connsiteX93" fmla="*/ 148546 w 202527"/>
                <a:gd name="connsiteY93" fmla="*/ 18120 h 227999"/>
                <a:gd name="connsiteX94" fmla="*/ 153051 w 202527"/>
                <a:gd name="connsiteY94" fmla="*/ 18782 h 227999"/>
                <a:gd name="connsiteX95" fmla="*/ 155681 w 202527"/>
                <a:gd name="connsiteY95" fmla="*/ 19485 h 227999"/>
                <a:gd name="connsiteX96" fmla="*/ 158568 w 202527"/>
                <a:gd name="connsiteY96" fmla="*/ 19839 h 227999"/>
                <a:gd name="connsiteX97" fmla="*/ 161196 w 202527"/>
                <a:gd name="connsiteY97" fmla="*/ 23749 h 227999"/>
                <a:gd name="connsiteX98" fmla="*/ 167843 w 202527"/>
                <a:gd name="connsiteY98" fmla="*/ 28064 h 227999"/>
                <a:gd name="connsiteX99" fmla="*/ 173950 w 202527"/>
                <a:gd name="connsiteY99" fmla="*/ 27689 h 227999"/>
                <a:gd name="connsiteX100" fmla="*/ 176117 w 202527"/>
                <a:gd name="connsiteY100" fmla="*/ 31764 h 227999"/>
                <a:gd name="connsiteX101" fmla="*/ 177074 w 202527"/>
                <a:gd name="connsiteY101" fmla="*/ 36785 h 227999"/>
                <a:gd name="connsiteX102" fmla="*/ 178950 w 202527"/>
                <a:gd name="connsiteY102" fmla="*/ 38358 h 227999"/>
                <a:gd name="connsiteX103" fmla="*/ 180600 w 202527"/>
                <a:gd name="connsiteY103" fmla="*/ 39385 h 227999"/>
                <a:gd name="connsiteX104" fmla="*/ 185576 w 202527"/>
                <a:gd name="connsiteY104" fmla="*/ 40460 h 227999"/>
                <a:gd name="connsiteX105" fmla="*/ 185772 w 202527"/>
                <a:gd name="connsiteY105" fmla="*/ 40528 h 227999"/>
                <a:gd name="connsiteX106" fmla="*/ 185932 w 202527"/>
                <a:gd name="connsiteY106" fmla="*/ 41208 h 227999"/>
                <a:gd name="connsiteX107" fmla="*/ 186236 w 202527"/>
                <a:gd name="connsiteY107" fmla="*/ 43696 h 227999"/>
                <a:gd name="connsiteX108" fmla="*/ 186653 w 202527"/>
                <a:gd name="connsiteY108" fmla="*/ 45757 h 227999"/>
                <a:gd name="connsiteX109" fmla="*/ 189214 w 202527"/>
                <a:gd name="connsiteY109" fmla="*/ 53974 h 227999"/>
                <a:gd name="connsiteX110" fmla="*/ 189165 w 202527"/>
                <a:gd name="connsiteY110" fmla="*/ 55979 h 227999"/>
                <a:gd name="connsiteX111" fmla="*/ 189134 w 202527"/>
                <a:gd name="connsiteY111" fmla="*/ 56511 h 227999"/>
                <a:gd name="connsiteX112" fmla="*/ 188197 w 202527"/>
                <a:gd name="connsiteY112" fmla="*/ 59315 h 227999"/>
                <a:gd name="connsiteX113" fmla="*/ 186530 w 202527"/>
                <a:gd name="connsiteY113" fmla="*/ 61677 h 227999"/>
                <a:gd name="connsiteX114" fmla="*/ 184330 w 202527"/>
                <a:gd name="connsiteY114" fmla="*/ 63008 h 227999"/>
                <a:gd name="connsiteX115" fmla="*/ 183118 w 202527"/>
                <a:gd name="connsiteY115" fmla="*/ 64488 h 227999"/>
                <a:gd name="connsiteX116" fmla="*/ 182891 w 202527"/>
                <a:gd name="connsiteY116" fmla="*/ 66122 h 227999"/>
                <a:gd name="connsiteX117" fmla="*/ 185658 w 202527"/>
                <a:gd name="connsiteY117" fmla="*/ 68981 h 227999"/>
                <a:gd name="connsiteX118" fmla="*/ 191414 w 202527"/>
                <a:gd name="connsiteY118" fmla="*/ 73066 h 227999"/>
                <a:gd name="connsiteX119" fmla="*/ 193744 w 202527"/>
                <a:gd name="connsiteY119" fmla="*/ 76554 h 227999"/>
                <a:gd name="connsiteX120" fmla="*/ 192645 w 202527"/>
                <a:gd name="connsiteY120" fmla="*/ 79452 h 227999"/>
                <a:gd name="connsiteX121" fmla="*/ 192311 w 202527"/>
                <a:gd name="connsiteY121" fmla="*/ 81575 h 227999"/>
                <a:gd name="connsiteX122" fmla="*/ 192738 w 202527"/>
                <a:gd name="connsiteY122" fmla="*/ 82926 h 227999"/>
                <a:gd name="connsiteX123" fmla="*/ 193660 w 202527"/>
                <a:gd name="connsiteY123" fmla="*/ 84010 h 227999"/>
                <a:gd name="connsiteX124" fmla="*/ 195081 w 202527"/>
                <a:gd name="connsiteY124" fmla="*/ 84830 h 227999"/>
                <a:gd name="connsiteX125" fmla="*/ 195645 w 202527"/>
                <a:gd name="connsiteY125" fmla="*/ 86091 h 227999"/>
                <a:gd name="connsiteX126" fmla="*/ 195358 w 202527"/>
                <a:gd name="connsiteY126" fmla="*/ 87793 h 227999"/>
                <a:gd name="connsiteX127" fmla="*/ 195627 w 202527"/>
                <a:gd name="connsiteY127" fmla="*/ 88973 h 227999"/>
                <a:gd name="connsiteX128" fmla="*/ 196688 w 202527"/>
                <a:gd name="connsiteY128" fmla="*/ 89813 h 227999"/>
                <a:gd name="connsiteX129" fmla="*/ 196590 w 202527"/>
                <a:gd name="connsiteY129" fmla="*/ 90139 h 227999"/>
                <a:gd name="connsiteX130" fmla="*/ 196075 w 202527"/>
                <a:gd name="connsiteY130" fmla="*/ 91321 h 227999"/>
                <a:gd name="connsiteX131" fmla="*/ 195370 w 202527"/>
                <a:gd name="connsiteY131" fmla="*/ 93475 h 227999"/>
                <a:gd name="connsiteX132" fmla="*/ 194971 w 202527"/>
                <a:gd name="connsiteY132" fmla="*/ 95046 h 227999"/>
                <a:gd name="connsiteX133" fmla="*/ 193351 w 202527"/>
                <a:gd name="connsiteY133" fmla="*/ 97185 h 227999"/>
                <a:gd name="connsiteX134" fmla="*/ 193844 w 202527"/>
                <a:gd name="connsiteY134" fmla="*/ 99001 h 227999"/>
                <a:gd name="connsiteX135" fmla="*/ 195113 w 202527"/>
                <a:gd name="connsiteY135" fmla="*/ 101141 h 227999"/>
                <a:gd name="connsiteX136" fmla="*/ 196077 w 202527"/>
                <a:gd name="connsiteY136" fmla="*/ 102216 h 227999"/>
                <a:gd name="connsiteX137" fmla="*/ 196381 w 202527"/>
                <a:gd name="connsiteY137" fmla="*/ 103234 h 227999"/>
                <a:gd name="connsiteX138" fmla="*/ 195768 w 202527"/>
                <a:gd name="connsiteY138" fmla="*/ 105653 h 227999"/>
                <a:gd name="connsiteX139" fmla="*/ 196072 w 202527"/>
                <a:gd name="connsiteY139" fmla="*/ 106271 h 227999"/>
                <a:gd name="connsiteX140" fmla="*/ 200080 w 202527"/>
                <a:gd name="connsiteY140" fmla="*/ 108051 h 227999"/>
                <a:gd name="connsiteX141" fmla="*/ 200734 w 202527"/>
                <a:gd name="connsiteY141" fmla="*/ 108872 h 227999"/>
                <a:gd name="connsiteX142" fmla="*/ 201123 w 202527"/>
                <a:gd name="connsiteY142" fmla="*/ 110581 h 227999"/>
                <a:gd name="connsiteX143" fmla="*/ 202527 w 202527"/>
                <a:gd name="connsiteY143" fmla="*/ 114229 h 227999"/>
                <a:gd name="connsiteX144" fmla="*/ 201361 w 202527"/>
                <a:gd name="connsiteY144" fmla="*/ 118843 h 227999"/>
                <a:gd name="connsiteX145" fmla="*/ 200335 w 202527"/>
                <a:gd name="connsiteY145" fmla="*/ 121367 h 227999"/>
                <a:gd name="connsiteX146" fmla="*/ 198052 w 202527"/>
                <a:gd name="connsiteY146" fmla="*/ 125369 h 227999"/>
                <a:gd name="connsiteX147" fmla="*/ 197945 w 202527"/>
                <a:gd name="connsiteY147" fmla="*/ 125738 h 227999"/>
                <a:gd name="connsiteX148" fmla="*/ 197681 w 202527"/>
                <a:gd name="connsiteY148" fmla="*/ 126224 h 227999"/>
                <a:gd name="connsiteX149" fmla="*/ 196997 w 202527"/>
                <a:gd name="connsiteY149" fmla="*/ 126924 h 227999"/>
                <a:gd name="connsiteX150" fmla="*/ 196042 w 202527"/>
                <a:gd name="connsiteY150" fmla="*/ 127029 h 227999"/>
                <a:gd name="connsiteX151" fmla="*/ 194602 w 202527"/>
                <a:gd name="connsiteY151" fmla="*/ 126507 h 227999"/>
                <a:gd name="connsiteX152" fmla="*/ 193615 w 202527"/>
                <a:gd name="connsiteY152" fmla="*/ 125838 h 227999"/>
                <a:gd name="connsiteX153" fmla="*/ 193842 w 202527"/>
                <a:gd name="connsiteY153" fmla="*/ 124112 h 227999"/>
                <a:gd name="connsiteX154" fmla="*/ 193209 w 202527"/>
                <a:gd name="connsiteY154" fmla="*/ 123999 h 227999"/>
                <a:gd name="connsiteX155" fmla="*/ 192423 w 202527"/>
                <a:gd name="connsiteY155" fmla="*/ 122939 h 227999"/>
                <a:gd name="connsiteX156" fmla="*/ 192114 w 202527"/>
                <a:gd name="connsiteY156" fmla="*/ 121799 h 227999"/>
                <a:gd name="connsiteX157" fmla="*/ 191266 w 202527"/>
                <a:gd name="connsiteY157" fmla="*/ 121334 h 227999"/>
                <a:gd name="connsiteX158" fmla="*/ 188169 w 202527"/>
                <a:gd name="connsiteY158" fmla="*/ 120855 h 227999"/>
                <a:gd name="connsiteX159" fmla="*/ 187117 w 202527"/>
                <a:gd name="connsiteY159" fmla="*/ 120518 h 227999"/>
                <a:gd name="connsiteX160" fmla="*/ 186310 w 202527"/>
                <a:gd name="connsiteY160" fmla="*/ 120761 h 227999"/>
                <a:gd name="connsiteX161" fmla="*/ 185705 w 202527"/>
                <a:gd name="connsiteY161" fmla="*/ 121568 h 227999"/>
                <a:gd name="connsiteX162" fmla="*/ 186091 w 202527"/>
                <a:gd name="connsiteY162" fmla="*/ 122297 h 227999"/>
                <a:gd name="connsiteX163" fmla="*/ 186668 w 202527"/>
                <a:gd name="connsiteY163" fmla="*/ 123007 h 227999"/>
                <a:gd name="connsiteX164" fmla="*/ 188385 w 202527"/>
                <a:gd name="connsiteY164" fmla="*/ 124132 h 227999"/>
                <a:gd name="connsiteX165" fmla="*/ 188208 w 202527"/>
                <a:gd name="connsiteY165" fmla="*/ 124579 h 227999"/>
                <a:gd name="connsiteX166" fmla="*/ 184509 w 202527"/>
                <a:gd name="connsiteY166" fmla="*/ 125673 h 227999"/>
                <a:gd name="connsiteX167" fmla="*/ 182181 w 202527"/>
                <a:gd name="connsiteY167" fmla="*/ 126795 h 227999"/>
                <a:gd name="connsiteX168" fmla="*/ 180013 w 202527"/>
                <a:gd name="connsiteY168" fmla="*/ 127425 h 227999"/>
                <a:gd name="connsiteX169" fmla="*/ 177804 w 202527"/>
                <a:gd name="connsiteY169" fmla="*/ 128586 h 227999"/>
                <a:gd name="connsiteX170" fmla="*/ 173444 w 202527"/>
                <a:gd name="connsiteY170" fmla="*/ 129889 h 227999"/>
                <a:gd name="connsiteX171" fmla="*/ 170246 w 202527"/>
                <a:gd name="connsiteY171" fmla="*/ 130235 h 227999"/>
                <a:gd name="connsiteX172" fmla="*/ 169579 w 202527"/>
                <a:gd name="connsiteY172" fmla="*/ 130579 h 227999"/>
                <a:gd name="connsiteX173" fmla="*/ 168385 w 202527"/>
                <a:gd name="connsiteY173" fmla="*/ 132786 h 227999"/>
                <a:gd name="connsiteX174" fmla="*/ 167579 w 202527"/>
                <a:gd name="connsiteY174" fmla="*/ 133247 h 227999"/>
                <a:gd name="connsiteX175" fmla="*/ 166806 w 202527"/>
                <a:gd name="connsiteY175" fmla="*/ 133008 h 227999"/>
                <a:gd name="connsiteX176" fmla="*/ 166219 w 202527"/>
                <a:gd name="connsiteY176" fmla="*/ 132647 h 227999"/>
                <a:gd name="connsiteX177" fmla="*/ 165476 w 202527"/>
                <a:gd name="connsiteY177" fmla="*/ 132946 h 227999"/>
                <a:gd name="connsiteX178" fmla="*/ 164703 w 202527"/>
                <a:gd name="connsiteY178" fmla="*/ 133676 h 227999"/>
                <a:gd name="connsiteX179" fmla="*/ 163895 w 202527"/>
                <a:gd name="connsiteY179" fmla="*/ 133964 h 227999"/>
                <a:gd name="connsiteX180" fmla="*/ 163191 w 202527"/>
                <a:gd name="connsiteY180" fmla="*/ 133954 h 227999"/>
                <a:gd name="connsiteX181" fmla="*/ 161941 w 202527"/>
                <a:gd name="connsiteY181" fmla="*/ 135879 h 227999"/>
                <a:gd name="connsiteX182" fmla="*/ 158298 w 202527"/>
                <a:gd name="connsiteY182" fmla="*/ 136463 h 227999"/>
                <a:gd name="connsiteX183" fmla="*/ 157871 w 202527"/>
                <a:gd name="connsiteY183" fmla="*/ 137460 h 227999"/>
                <a:gd name="connsiteX184" fmla="*/ 157201 w 202527"/>
                <a:gd name="connsiteY184" fmla="*/ 138616 h 227999"/>
                <a:gd name="connsiteX185" fmla="*/ 156668 w 202527"/>
                <a:gd name="connsiteY185" fmla="*/ 138899 h 227999"/>
                <a:gd name="connsiteX186" fmla="*/ 155022 w 202527"/>
                <a:gd name="connsiteY186" fmla="*/ 138441 h 227999"/>
                <a:gd name="connsiteX187" fmla="*/ 152749 w 202527"/>
                <a:gd name="connsiteY187" fmla="*/ 138188 h 227999"/>
                <a:gd name="connsiteX188" fmla="*/ 151444 w 202527"/>
                <a:gd name="connsiteY188" fmla="*/ 138821 h 227999"/>
                <a:gd name="connsiteX189" fmla="*/ 149877 w 202527"/>
                <a:gd name="connsiteY189" fmla="*/ 139171 h 227999"/>
                <a:gd name="connsiteX190" fmla="*/ 147964 w 202527"/>
                <a:gd name="connsiteY190" fmla="*/ 139277 h 227999"/>
                <a:gd name="connsiteX191" fmla="*/ 145832 w 202527"/>
                <a:gd name="connsiteY191" fmla="*/ 140541 h 227999"/>
                <a:gd name="connsiteX192" fmla="*/ 143753 w 202527"/>
                <a:gd name="connsiteY192" fmla="*/ 142759 h 227999"/>
                <a:gd name="connsiteX193" fmla="*/ 142582 w 202527"/>
                <a:gd name="connsiteY193" fmla="*/ 144714 h 227999"/>
                <a:gd name="connsiteX194" fmla="*/ 141956 w 202527"/>
                <a:gd name="connsiteY194" fmla="*/ 145416 h 227999"/>
                <a:gd name="connsiteX195" fmla="*/ 140935 w 202527"/>
                <a:gd name="connsiteY195" fmla="*/ 143581 h 227999"/>
                <a:gd name="connsiteX196" fmla="*/ 139688 w 202527"/>
                <a:gd name="connsiteY196" fmla="*/ 142321 h 227999"/>
                <a:gd name="connsiteX197" fmla="*/ 138806 w 202527"/>
                <a:gd name="connsiteY197" fmla="*/ 141667 h 227999"/>
                <a:gd name="connsiteX198" fmla="*/ 138017 w 202527"/>
                <a:gd name="connsiteY198" fmla="*/ 141666 h 227999"/>
                <a:gd name="connsiteX199" fmla="*/ 137810 w 202527"/>
                <a:gd name="connsiteY199" fmla="*/ 141934 h 227999"/>
                <a:gd name="connsiteX200" fmla="*/ 137808 w 202527"/>
                <a:gd name="connsiteY200" fmla="*/ 142895 h 227999"/>
                <a:gd name="connsiteX201" fmla="*/ 138650 w 202527"/>
                <a:gd name="connsiteY201" fmla="*/ 144491 h 227999"/>
                <a:gd name="connsiteX202" fmla="*/ 139693 w 202527"/>
                <a:gd name="connsiteY202" fmla="*/ 145579 h 227999"/>
                <a:gd name="connsiteX203" fmla="*/ 139859 w 202527"/>
                <a:gd name="connsiteY203" fmla="*/ 146382 h 227999"/>
                <a:gd name="connsiteX204" fmla="*/ 140418 w 202527"/>
                <a:gd name="connsiteY204" fmla="*/ 147843 h 227999"/>
                <a:gd name="connsiteX205" fmla="*/ 141936 w 202527"/>
                <a:gd name="connsiteY205" fmla="*/ 149437 h 227999"/>
                <a:gd name="connsiteX206" fmla="*/ 144318 w 202527"/>
                <a:gd name="connsiteY206" fmla="*/ 150700 h 227999"/>
                <a:gd name="connsiteX207" fmla="*/ 145942 w 202527"/>
                <a:gd name="connsiteY207" fmla="*/ 151943 h 227999"/>
                <a:gd name="connsiteX208" fmla="*/ 147145 w 202527"/>
                <a:gd name="connsiteY208" fmla="*/ 153665 h 227999"/>
                <a:gd name="connsiteX209" fmla="*/ 147156 w 202527"/>
                <a:gd name="connsiteY209" fmla="*/ 154194 h 227999"/>
                <a:gd name="connsiteX210" fmla="*/ 146825 w 202527"/>
                <a:gd name="connsiteY210" fmla="*/ 154897 h 227999"/>
                <a:gd name="connsiteX211" fmla="*/ 146257 w 202527"/>
                <a:gd name="connsiteY211" fmla="*/ 155559 h 227999"/>
                <a:gd name="connsiteX212" fmla="*/ 145778 w 202527"/>
                <a:gd name="connsiteY212" fmla="*/ 156421 h 227999"/>
                <a:gd name="connsiteX213" fmla="*/ 144459 w 202527"/>
                <a:gd name="connsiteY213" fmla="*/ 158163 h 227999"/>
                <a:gd name="connsiteX214" fmla="*/ 144849 w 202527"/>
                <a:gd name="connsiteY214" fmla="*/ 158924 h 227999"/>
                <a:gd name="connsiteX215" fmla="*/ 145929 w 202527"/>
                <a:gd name="connsiteY215" fmla="*/ 159885 h 227999"/>
                <a:gd name="connsiteX216" fmla="*/ 146886 w 202527"/>
                <a:gd name="connsiteY216" fmla="*/ 161038 h 227999"/>
                <a:gd name="connsiteX217" fmla="*/ 148112 w 202527"/>
                <a:gd name="connsiteY217" fmla="*/ 162901 h 227999"/>
                <a:gd name="connsiteX218" fmla="*/ 149799 w 202527"/>
                <a:gd name="connsiteY218" fmla="*/ 166162 h 227999"/>
                <a:gd name="connsiteX219" fmla="*/ 150885 w 202527"/>
                <a:gd name="connsiteY219" fmla="*/ 167503 h 227999"/>
                <a:gd name="connsiteX220" fmla="*/ 152360 w 202527"/>
                <a:gd name="connsiteY220" fmla="*/ 168887 h 227999"/>
                <a:gd name="connsiteX221" fmla="*/ 153809 w 202527"/>
                <a:gd name="connsiteY221" fmla="*/ 169943 h 227999"/>
                <a:gd name="connsiteX222" fmla="*/ 156093 w 202527"/>
                <a:gd name="connsiteY222" fmla="*/ 169911 h 227999"/>
                <a:gd name="connsiteX223" fmla="*/ 158460 w 202527"/>
                <a:gd name="connsiteY223" fmla="*/ 171925 h 227999"/>
                <a:gd name="connsiteX224" fmla="*/ 161043 w 202527"/>
                <a:gd name="connsiteY224" fmla="*/ 174835 h 227999"/>
                <a:gd name="connsiteX225" fmla="*/ 162973 w 202527"/>
                <a:gd name="connsiteY225" fmla="*/ 176169 h 227999"/>
                <a:gd name="connsiteX226" fmla="*/ 164321 w 202527"/>
                <a:gd name="connsiteY226" fmla="*/ 176575 h 227999"/>
                <a:gd name="connsiteX227" fmla="*/ 165433 w 202527"/>
                <a:gd name="connsiteY227" fmla="*/ 177622 h 227999"/>
                <a:gd name="connsiteX228" fmla="*/ 166420 w 202527"/>
                <a:gd name="connsiteY228" fmla="*/ 179127 h 227999"/>
                <a:gd name="connsiteX229" fmla="*/ 166806 w 202527"/>
                <a:gd name="connsiteY229" fmla="*/ 179997 h 227999"/>
                <a:gd name="connsiteX230" fmla="*/ 167681 w 202527"/>
                <a:gd name="connsiteY230" fmla="*/ 180625 h 227999"/>
                <a:gd name="connsiteX231" fmla="*/ 170045 w 202527"/>
                <a:gd name="connsiteY231" fmla="*/ 180508 h 227999"/>
                <a:gd name="connsiteX232" fmla="*/ 173081 w 202527"/>
                <a:gd name="connsiteY232" fmla="*/ 182873 h 227999"/>
                <a:gd name="connsiteX233" fmla="*/ 174960 w 202527"/>
                <a:gd name="connsiteY233" fmla="*/ 184603 h 227999"/>
                <a:gd name="connsiteX234" fmla="*/ 175951 w 202527"/>
                <a:gd name="connsiteY234" fmla="*/ 185999 h 227999"/>
                <a:gd name="connsiteX235" fmla="*/ 175690 w 202527"/>
                <a:gd name="connsiteY235" fmla="*/ 186552 h 227999"/>
                <a:gd name="connsiteX236" fmla="*/ 175569 w 202527"/>
                <a:gd name="connsiteY236" fmla="*/ 188289 h 227999"/>
                <a:gd name="connsiteX237" fmla="*/ 175599 w 202527"/>
                <a:gd name="connsiteY237" fmla="*/ 190129 h 227999"/>
                <a:gd name="connsiteX238" fmla="*/ 175301 w 202527"/>
                <a:gd name="connsiteY238" fmla="*/ 191102 h 227999"/>
                <a:gd name="connsiteX239" fmla="*/ 173943 w 202527"/>
                <a:gd name="connsiteY239" fmla="*/ 192382 h 227999"/>
                <a:gd name="connsiteX240" fmla="*/ 173241 w 202527"/>
                <a:gd name="connsiteY240" fmla="*/ 192654 h 227999"/>
                <a:gd name="connsiteX241" fmla="*/ 172866 w 202527"/>
                <a:gd name="connsiteY241" fmla="*/ 192930 h 227999"/>
                <a:gd name="connsiteX242" fmla="*/ 168696 w 202527"/>
                <a:gd name="connsiteY242" fmla="*/ 191261 h 227999"/>
                <a:gd name="connsiteX243" fmla="*/ 168365 w 202527"/>
                <a:gd name="connsiteY243" fmla="*/ 191546 h 227999"/>
                <a:gd name="connsiteX244" fmla="*/ 168104 w 202527"/>
                <a:gd name="connsiteY244" fmla="*/ 191752 h 227999"/>
                <a:gd name="connsiteX245" fmla="*/ 166988 w 202527"/>
                <a:gd name="connsiteY245" fmla="*/ 196586 h 227999"/>
                <a:gd name="connsiteX246" fmla="*/ 166219 w 202527"/>
                <a:gd name="connsiteY246" fmla="*/ 197514 h 227999"/>
                <a:gd name="connsiteX247" fmla="*/ 165074 w 202527"/>
                <a:gd name="connsiteY247" fmla="*/ 198368 h 227999"/>
                <a:gd name="connsiteX248" fmla="*/ 162695 w 202527"/>
                <a:gd name="connsiteY248" fmla="*/ 199199 h 227999"/>
                <a:gd name="connsiteX249" fmla="*/ 161041 w 202527"/>
                <a:gd name="connsiteY249" fmla="*/ 199537 h 227999"/>
                <a:gd name="connsiteX250" fmla="*/ 159752 w 202527"/>
                <a:gd name="connsiteY250" fmla="*/ 199958 h 227999"/>
                <a:gd name="connsiteX251" fmla="*/ 155668 w 202527"/>
                <a:gd name="connsiteY251" fmla="*/ 201977 h 227999"/>
                <a:gd name="connsiteX252" fmla="*/ 153828 w 202527"/>
                <a:gd name="connsiteY252" fmla="*/ 203189 h 227999"/>
                <a:gd name="connsiteX253" fmla="*/ 152636 w 202527"/>
                <a:gd name="connsiteY253" fmla="*/ 204711 h 227999"/>
                <a:gd name="connsiteX254" fmla="*/ 152630 w 202527"/>
                <a:gd name="connsiteY254" fmla="*/ 205587 h 227999"/>
                <a:gd name="connsiteX255" fmla="*/ 154616 w 202527"/>
                <a:gd name="connsiteY255" fmla="*/ 208160 h 227999"/>
                <a:gd name="connsiteX256" fmla="*/ 156908 w 202527"/>
                <a:gd name="connsiteY256" fmla="*/ 210815 h 227999"/>
                <a:gd name="connsiteX257" fmla="*/ 156923 w 202527"/>
                <a:gd name="connsiteY257" fmla="*/ 213149 h 227999"/>
                <a:gd name="connsiteX258" fmla="*/ 155908 w 202527"/>
                <a:gd name="connsiteY258" fmla="*/ 214893 h 227999"/>
                <a:gd name="connsiteX259" fmla="*/ 155672 w 202527"/>
                <a:gd name="connsiteY259" fmla="*/ 215567 h 227999"/>
                <a:gd name="connsiteX260" fmla="*/ 156346 w 202527"/>
                <a:gd name="connsiteY260" fmla="*/ 215820 h 227999"/>
                <a:gd name="connsiteX261" fmla="*/ 157616 w 202527"/>
                <a:gd name="connsiteY261" fmla="*/ 215917 h 227999"/>
                <a:gd name="connsiteX262" fmla="*/ 158678 w 202527"/>
                <a:gd name="connsiteY262" fmla="*/ 216217 h 227999"/>
                <a:gd name="connsiteX263" fmla="*/ 159132 w 202527"/>
                <a:gd name="connsiteY263" fmla="*/ 217443 h 227999"/>
                <a:gd name="connsiteX264" fmla="*/ 158996 w 202527"/>
                <a:gd name="connsiteY264" fmla="*/ 219578 h 227999"/>
                <a:gd name="connsiteX265" fmla="*/ 158633 w 202527"/>
                <a:gd name="connsiteY265" fmla="*/ 221575 h 227999"/>
                <a:gd name="connsiteX266" fmla="*/ 158253 w 202527"/>
                <a:gd name="connsiteY266" fmla="*/ 222415 h 227999"/>
                <a:gd name="connsiteX267" fmla="*/ 157229 w 202527"/>
                <a:gd name="connsiteY267" fmla="*/ 222482 h 227999"/>
                <a:gd name="connsiteX268" fmla="*/ 155258 w 202527"/>
                <a:gd name="connsiteY268" fmla="*/ 221619 h 227999"/>
                <a:gd name="connsiteX269" fmla="*/ 153720 w 202527"/>
                <a:gd name="connsiteY269" fmla="*/ 220616 h 227999"/>
                <a:gd name="connsiteX270" fmla="*/ 153133 w 202527"/>
                <a:gd name="connsiteY270" fmla="*/ 219999 h 227999"/>
                <a:gd name="connsiteX271" fmla="*/ 153096 w 202527"/>
                <a:gd name="connsiteY271" fmla="*/ 219261 h 227999"/>
                <a:gd name="connsiteX272" fmla="*/ 153429 w 202527"/>
                <a:gd name="connsiteY272" fmla="*/ 218795 h 227999"/>
                <a:gd name="connsiteX273" fmla="*/ 152880 w 202527"/>
                <a:gd name="connsiteY273" fmla="*/ 217885 h 227999"/>
                <a:gd name="connsiteX274" fmla="*/ 150989 w 202527"/>
                <a:gd name="connsiteY274" fmla="*/ 217044 h 227999"/>
                <a:gd name="connsiteX275" fmla="*/ 148963 w 202527"/>
                <a:gd name="connsiteY275" fmla="*/ 217410 h 227999"/>
                <a:gd name="connsiteX276" fmla="*/ 147467 w 202527"/>
                <a:gd name="connsiteY276" fmla="*/ 217977 h 227999"/>
                <a:gd name="connsiteX277" fmla="*/ 146502 w 202527"/>
                <a:gd name="connsiteY277" fmla="*/ 217944 h 227999"/>
                <a:gd name="connsiteX278" fmla="*/ 145459 w 202527"/>
                <a:gd name="connsiteY278" fmla="*/ 217134 h 227999"/>
                <a:gd name="connsiteX279" fmla="*/ 143854 w 202527"/>
                <a:gd name="connsiteY279" fmla="*/ 216514 h 227999"/>
                <a:gd name="connsiteX280" fmla="*/ 141757 w 202527"/>
                <a:gd name="connsiteY280" fmla="*/ 216105 h 227999"/>
                <a:gd name="connsiteX281" fmla="*/ 140451 w 202527"/>
                <a:gd name="connsiteY281" fmla="*/ 215668 h 227999"/>
                <a:gd name="connsiteX282" fmla="*/ 140176 w 202527"/>
                <a:gd name="connsiteY282" fmla="*/ 215926 h 227999"/>
                <a:gd name="connsiteX283" fmla="*/ 140330 w 202527"/>
                <a:gd name="connsiteY283" fmla="*/ 217679 h 227999"/>
                <a:gd name="connsiteX284" fmla="*/ 139928 w 202527"/>
                <a:gd name="connsiteY284" fmla="*/ 218444 h 227999"/>
                <a:gd name="connsiteX285" fmla="*/ 129561 w 202527"/>
                <a:gd name="connsiteY285" fmla="*/ 219456 h 227999"/>
                <a:gd name="connsiteX286" fmla="*/ 126402 w 202527"/>
                <a:gd name="connsiteY286" fmla="*/ 220404 h 227999"/>
                <a:gd name="connsiteX287" fmla="*/ 124102 w 202527"/>
                <a:gd name="connsiteY287" fmla="*/ 221629 h 227999"/>
                <a:gd name="connsiteX288" fmla="*/ 122400 w 202527"/>
                <a:gd name="connsiteY288" fmla="*/ 222160 h 227999"/>
                <a:gd name="connsiteX289" fmla="*/ 121984 w 202527"/>
                <a:gd name="connsiteY289" fmla="*/ 222915 h 227999"/>
                <a:gd name="connsiteX290" fmla="*/ 120299 w 202527"/>
                <a:gd name="connsiteY290" fmla="*/ 223906 h 227999"/>
                <a:gd name="connsiteX291" fmla="*/ 118397 w 202527"/>
                <a:gd name="connsiteY291" fmla="*/ 224223 h 227999"/>
                <a:gd name="connsiteX292" fmla="*/ 117939 w 202527"/>
                <a:gd name="connsiteY292" fmla="*/ 223898 h 227999"/>
                <a:gd name="connsiteX293" fmla="*/ 116719 w 202527"/>
                <a:gd name="connsiteY293" fmla="*/ 224356 h 227999"/>
                <a:gd name="connsiteX294" fmla="*/ 114640 w 202527"/>
                <a:gd name="connsiteY294" fmla="*/ 224797 h 227999"/>
                <a:gd name="connsiteX295" fmla="*/ 113288 w 202527"/>
                <a:gd name="connsiteY295" fmla="*/ 224657 h 227999"/>
                <a:gd name="connsiteX296" fmla="*/ 112653 w 202527"/>
                <a:gd name="connsiteY296" fmla="*/ 223856 h 227999"/>
                <a:gd name="connsiteX297" fmla="*/ 111366 w 202527"/>
                <a:gd name="connsiteY297" fmla="*/ 222629 h 227999"/>
                <a:gd name="connsiteX298" fmla="*/ 110850 w 202527"/>
                <a:gd name="connsiteY298" fmla="*/ 221778 h 227999"/>
                <a:gd name="connsiteX299" fmla="*/ 110904 w 202527"/>
                <a:gd name="connsiteY299" fmla="*/ 221233 h 227999"/>
                <a:gd name="connsiteX300" fmla="*/ 107997 w 202527"/>
                <a:gd name="connsiteY300" fmla="*/ 221123 h 227999"/>
                <a:gd name="connsiteX301" fmla="*/ 106164 w 202527"/>
                <a:gd name="connsiteY301" fmla="*/ 220475 h 227999"/>
                <a:gd name="connsiteX302" fmla="*/ 102275 w 202527"/>
                <a:gd name="connsiteY302" fmla="*/ 220627 h 227999"/>
                <a:gd name="connsiteX303" fmla="*/ 101316 w 202527"/>
                <a:gd name="connsiteY303" fmla="*/ 220353 h 227999"/>
                <a:gd name="connsiteX304" fmla="*/ 101116 w 202527"/>
                <a:gd name="connsiteY304" fmla="*/ 220647 h 227999"/>
                <a:gd name="connsiteX305" fmla="*/ 100530 w 202527"/>
                <a:gd name="connsiteY305" fmla="*/ 224128 h 227999"/>
                <a:gd name="connsiteX306" fmla="*/ 99761 w 202527"/>
                <a:gd name="connsiteY306" fmla="*/ 225556 h 227999"/>
                <a:gd name="connsiteX307" fmla="*/ 98515 w 202527"/>
                <a:gd name="connsiteY307" fmla="*/ 227030 h 227999"/>
                <a:gd name="connsiteX308" fmla="*/ 96920 w 202527"/>
                <a:gd name="connsiteY308" fmla="*/ 227850 h 227999"/>
                <a:gd name="connsiteX309" fmla="*/ 95646 w 202527"/>
                <a:gd name="connsiteY309" fmla="*/ 227999 h 227999"/>
                <a:gd name="connsiteX310" fmla="*/ 95706 w 202527"/>
                <a:gd name="connsiteY310" fmla="*/ 226925 h 227999"/>
                <a:gd name="connsiteX311" fmla="*/ 96028 w 202527"/>
                <a:gd name="connsiteY311" fmla="*/ 225630 h 227999"/>
                <a:gd name="connsiteX312" fmla="*/ 95110 w 202527"/>
                <a:gd name="connsiteY312" fmla="*/ 225326 h 227999"/>
                <a:gd name="connsiteX313" fmla="*/ 93732 w 202527"/>
                <a:gd name="connsiteY313" fmla="*/ 225177 h 227999"/>
                <a:gd name="connsiteX314" fmla="*/ 93065 w 202527"/>
                <a:gd name="connsiteY314" fmla="*/ 224791 h 227999"/>
                <a:gd name="connsiteX315" fmla="*/ 93240 w 202527"/>
                <a:gd name="connsiteY315" fmla="*/ 223805 h 227999"/>
                <a:gd name="connsiteX316" fmla="*/ 92923 w 202527"/>
                <a:gd name="connsiteY316" fmla="*/ 223229 h 227999"/>
                <a:gd name="connsiteX317" fmla="*/ 92353 w 202527"/>
                <a:gd name="connsiteY317" fmla="*/ 222541 h 227999"/>
                <a:gd name="connsiteX318" fmla="*/ 90971 w 202527"/>
                <a:gd name="connsiteY318" fmla="*/ 221651 h 227999"/>
                <a:gd name="connsiteX319" fmla="*/ 88042 w 202527"/>
                <a:gd name="connsiteY319" fmla="*/ 220332 h 227999"/>
                <a:gd name="connsiteX320" fmla="*/ 86047 w 202527"/>
                <a:gd name="connsiteY320" fmla="*/ 219680 h 227999"/>
                <a:gd name="connsiteX321" fmla="*/ 85300 w 202527"/>
                <a:gd name="connsiteY321" fmla="*/ 220374 h 227999"/>
                <a:gd name="connsiteX322" fmla="*/ 83873 w 202527"/>
                <a:gd name="connsiteY322" fmla="*/ 221074 h 227999"/>
                <a:gd name="connsiteX323" fmla="*/ 81625 w 202527"/>
                <a:gd name="connsiteY323" fmla="*/ 220845 h 227999"/>
                <a:gd name="connsiteX324" fmla="*/ 81074 w 202527"/>
                <a:gd name="connsiteY324" fmla="*/ 221120 h 227999"/>
                <a:gd name="connsiteX325" fmla="*/ 77226 w 202527"/>
                <a:gd name="connsiteY325" fmla="*/ 219023 h 227999"/>
                <a:gd name="connsiteX326" fmla="*/ 73529 w 202527"/>
                <a:gd name="connsiteY326" fmla="*/ 217005 h 227999"/>
                <a:gd name="connsiteX327" fmla="*/ 72307 w 202527"/>
                <a:gd name="connsiteY327" fmla="*/ 217005 h 227999"/>
                <a:gd name="connsiteX328" fmla="*/ 66859 w 202527"/>
                <a:gd name="connsiteY328" fmla="*/ 217408 h 227999"/>
                <a:gd name="connsiteX329" fmla="*/ 66701 w 202527"/>
                <a:gd name="connsiteY329" fmla="*/ 217230 h 227999"/>
                <a:gd name="connsiteX330" fmla="*/ 65753 w 202527"/>
                <a:gd name="connsiteY330" fmla="*/ 216080 h 227999"/>
                <a:gd name="connsiteX331" fmla="*/ 64911 w 202527"/>
                <a:gd name="connsiteY331" fmla="*/ 215716 h 227999"/>
                <a:gd name="connsiteX332" fmla="*/ 64404 w 202527"/>
                <a:gd name="connsiteY332" fmla="*/ 215903 h 227999"/>
                <a:gd name="connsiteX333" fmla="*/ 64065 w 202527"/>
                <a:gd name="connsiteY333" fmla="*/ 216237 h 227999"/>
                <a:gd name="connsiteX334" fmla="*/ 63480 w 202527"/>
                <a:gd name="connsiteY334" fmla="*/ 216180 h 227999"/>
                <a:gd name="connsiteX335" fmla="*/ 61037 w 202527"/>
                <a:gd name="connsiteY335" fmla="*/ 214322 h 227999"/>
                <a:gd name="connsiteX336" fmla="*/ 60038 w 202527"/>
                <a:gd name="connsiteY336" fmla="*/ 214054 h 227999"/>
                <a:gd name="connsiteX337" fmla="*/ 58649 w 202527"/>
                <a:gd name="connsiteY337" fmla="*/ 214300 h 227999"/>
                <a:gd name="connsiteX338" fmla="*/ 57010 w 202527"/>
                <a:gd name="connsiteY338" fmla="*/ 215300 h 227999"/>
                <a:gd name="connsiteX339" fmla="*/ 56295 w 202527"/>
                <a:gd name="connsiteY339" fmla="*/ 216525 h 227999"/>
                <a:gd name="connsiteX340" fmla="*/ 56513 w 202527"/>
                <a:gd name="connsiteY340" fmla="*/ 217230 h 227999"/>
                <a:gd name="connsiteX341" fmla="*/ 57364 w 202527"/>
                <a:gd name="connsiteY341" fmla="*/ 217537 h 227999"/>
                <a:gd name="connsiteX342" fmla="*/ 59588 w 202527"/>
                <a:gd name="connsiteY342" fmla="*/ 217331 h 227999"/>
                <a:gd name="connsiteX343" fmla="*/ 59914 w 202527"/>
                <a:gd name="connsiteY343" fmla="*/ 217534 h 227999"/>
                <a:gd name="connsiteX344" fmla="*/ 59990 w 202527"/>
                <a:gd name="connsiteY344" fmla="*/ 217930 h 227999"/>
                <a:gd name="connsiteX345" fmla="*/ 59746 w 202527"/>
                <a:gd name="connsiteY345" fmla="*/ 218318 h 227999"/>
                <a:gd name="connsiteX346" fmla="*/ 57937 w 202527"/>
                <a:gd name="connsiteY346" fmla="*/ 218636 h 227999"/>
                <a:gd name="connsiteX347" fmla="*/ 57414 w 202527"/>
                <a:gd name="connsiteY347" fmla="*/ 219099 h 227999"/>
                <a:gd name="connsiteX348" fmla="*/ 56885 w 202527"/>
                <a:gd name="connsiteY348" fmla="*/ 219213 h 227999"/>
                <a:gd name="connsiteX349" fmla="*/ 56546 w 202527"/>
                <a:gd name="connsiteY349" fmla="*/ 219285 h 227999"/>
                <a:gd name="connsiteX350" fmla="*/ 54624 w 202527"/>
                <a:gd name="connsiteY350" fmla="*/ 218798 h 227999"/>
                <a:gd name="connsiteX351" fmla="*/ 51759 w 202527"/>
                <a:gd name="connsiteY351" fmla="*/ 218798 h 227999"/>
                <a:gd name="connsiteX352" fmla="*/ 49448 w 202527"/>
                <a:gd name="connsiteY352" fmla="*/ 219662 h 227999"/>
                <a:gd name="connsiteX353" fmla="*/ 45762 w 202527"/>
                <a:gd name="connsiteY353" fmla="*/ 220007 h 227999"/>
                <a:gd name="connsiteX354" fmla="*/ 40698 w 202527"/>
                <a:gd name="connsiteY354" fmla="*/ 219838 h 227999"/>
                <a:gd name="connsiteX355" fmla="*/ 38876 w 202527"/>
                <a:gd name="connsiteY355" fmla="*/ 219197 h 227999"/>
                <a:gd name="connsiteX356" fmla="*/ 37766 w 202527"/>
                <a:gd name="connsiteY356" fmla="*/ 218809 h 227999"/>
                <a:gd name="connsiteX357" fmla="*/ 36969 w 202527"/>
                <a:gd name="connsiteY357" fmla="*/ 216916 h 227999"/>
                <a:gd name="connsiteX358" fmla="*/ 37172 w 202527"/>
                <a:gd name="connsiteY358" fmla="*/ 214110 h 227999"/>
                <a:gd name="connsiteX359" fmla="*/ 38381 w 202527"/>
                <a:gd name="connsiteY359" fmla="*/ 210391 h 227999"/>
                <a:gd name="connsiteX360" fmla="*/ 38718 w 202527"/>
                <a:gd name="connsiteY360" fmla="*/ 207658 h 227999"/>
                <a:gd name="connsiteX361" fmla="*/ 38180 w 202527"/>
                <a:gd name="connsiteY361" fmla="*/ 205916 h 227999"/>
                <a:gd name="connsiteX362" fmla="*/ 38897 w 202527"/>
                <a:gd name="connsiteY362" fmla="*/ 203303 h 227999"/>
                <a:gd name="connsiteX363" fmla="*/ 40867 w 202527"/>
                <a:gd name="connsiteY363" fmla="*/ 199818 h 227999"/>
                <a:gd name="connsiteX364" fmla="*/ 42182 w 202527"/>
                <a:gd name="connsiteY364" fmla="*/ 196136 h 227999"/>
                <a:gd name="connsiteX365" fmla="*/ 42838 w 202527"/>
                <a:gd name="connsiteY365" fmla="*/ 192255 h 227999"/>
                <a:gd name="connsiteX366" fmla="*/ 43792 w 202527"/>
                <a:gd name="connsiteY366" fmla="*/ 189722 h 227999"/>
                <a:gd name="connsiteX367" fmla="*/ 45667 w 202527"/>
                <a:gd name="connsiteY367" fmla="*/ 187945 h 227999"/>
                <a:gd name="connsiteX368" fmla="*/ 50117 w 202527"/>
                <a:gd name="connsiteY368" fmla="*/ 182971 h 227999"/>
                <a:gd name="connsiteX369" fmla="*/ 50478 w 202527"/>
                <a:gd name="connsiteY369" fmla="*/ 182596 h 227999"/>
                <a:gd name="connsiteX370" fmla="*/ 50357 w 202527"/>
                <a:gd name="connsiteY370" fmla="*/ 180111 h 227999"/>
                <a:gd name="connsiteX371" fmla="*/ 49158 w 202527"/>
                <a:gd name="connsiteY371" fmla="*/ 179760 h 227999"/>
                <a:gd name="connsiteX372" fmla="*/ 47403 w 202527"/>
                <a:gd name="connsiteY372" fmla="*/ 179046 h 227999"/>
                <a:gd name="connsiteX373" fmla="*/ 42935 w 202527"/>
                <a:gd name="connsiteY373" fmla="*/ 178162 h 227999"/>
                <a:gd name="connsiteX374" fmla="*/ 38772 w 202527"/>
                <a:gd name="connsiteY374" fmla="*/ 177595 h 227999"/>
                <a:gd name="connsiteX375" fmla="*/ 36882 w 202527"/>
                <a:gd name="connsiteY375" fmla="*/ 176892 h 227999"/>
                <a:gd name="connsiteX376" fmla="*/ 35226 w 202527"/>
                <a:gd name="connsiteY376" fmla="*/ 175011 h 227999"/>
                <a:gd name="connsiteX377" fmla="*/ 34200 w 202527"/>
                <a:gd name="connsiteY377" fmla="*/ 174986 h 227999"/>
                <a:gd name="connsiteX378" fmla="*/ 32192 w 202527"/>
                <a:gd name="connsiteY378" fmla="*/ 175659 h 227999"/>
                <a:gd name="connsiteX379" fmla="*/ 29683 w 202527"/>
                <a:gd name="connsiteY379" fmla="*/ 176114 h 227999"/>
                <a:gd name="connsiteX380" fmla="*/ 27859 w 202527"/>
                <a:gd name="connsiteY380" fmla="*/ 175716 h 227999"/>
                <a:gd name="connsiteX381" fmla="*/ 26716 w 202527"/>
                <a:gd name="connsiteY381" fmla="*/ 175793 h 227999"/>
                <a:gd name="connsiteX382" fmla="*/ 26075 w 202527"/>
                <a:gd name="connsiteY382" fmla="*/ 176140 h 227999"/>
                <a:gd name="connsiteX383" fmla="*/ 25753 w 202527"/>
                <a:gd name="connsiteY383" fmla="*/ 175833 h 227999"/>
                <a:gd name="connsiteX384" fmla="*/ 25295 w 202527"/>
                <a:gd name="connsiteY384" fmla="*/ 174220 h 227999"/>
                <a:gd name="connsiteX385" fmla="*/ 24341 w 202527"/>
                <a:gd name="connsiteY385" fmla="*/ 173798 h 227999"/>
                <a:gd name="connsiteX386" fmla="*/ 22857 w 202527"/>
                <a:gd name="connsiteY386" fmla="*/ 173429 h 227999"/>
                <a:gd name="connsiteX387" fmla="*/ 21935 w 202527"/>
                <a:gd name="connsiteY387" fmla="*/ 173589 h 227999"/>
                <a:gd name="connsiteX388" fmla="*/ 21298 w 202527"/>
                <a:gd name="connsiteY388" fmla="*/ 174390 h 227999"/>
                <a:gd name="connsiteX389" fmla="*/ 20316 w 202527"/>
                <a:gd name="connsiteY389" fmla="*/ 174955 h 227999"/>
                <a:gd name="connsiteX390" fmla="*/ 19413 w 202527"/>
                <a:gd name="connsiteY390" fmla="*/ 174771 h 227999"/>
                <a:gd name="connsiteX391" fmla="*/ 16586 w 202527"/>
                <a:gd name="connsiteY391" fmla="*/ 171044 h 227999"/>
                <a:gd name="connsiteX392" fmla="*/ 15858 w 202527"/>
                <a:gd name="connsiteY392" fmla="*/ 170219 h 227999"/>
                <a:gd name="connsiteX393" fmla="*/ 15673 w 202527"/>
                <a:gd name="connsiteY393" fmla="*/ 169460 h 227999"/>
                <a:gd name="connsiteX394" fmla="*/ 14965 w 202527"/>
                <a:gd name="connsiteY394" fmla="*/ 168071 h 227999"/>
                <a:gd name="connsiteX395" fmla="*/ 13280 w 202527"/>
                <a:gd name="connsiteY395" fmla="*/ 166689 h 227999"/>
                <a:gd name="connsiteX396" fmla="*/ 11603 w 202527"/>
                <a:gd name="connsiteY396" fmla="*/ 166251 h 227999"/>
                <a:gd name="connsiteX397" fmla="*/ 10765 w 202527"/>
                <a:gd name="connsiteY397" fmla="*/ 166406 h 227999"/>
                <a:gd name="connsiteX398" fmla="*/ 10855 w 202527"/>
                <a:gd name="connsiteY398" fmla="*/ 164686 h 227999"/>
                <a:gd name="connsiteX399" fmla="*/ 11516 w 202527"/>
                <a:gd name="connsiteY399" fmla="*/ 162190 h 227999"/>
                <a:gd name="connsiteX400" fmla="*/ 12144 w 202527"/>
                <a:gd name="connsiteY400" fmla="*/ 160886 h 227999"/>
                <a:gd name="connsiteX401" fmla="*/ 12982 w 202527"/>
                <a:gd name="connsiteY401" fmla="*/ 159820 h 227999"/>
                <a:gd name="connsiteX402" fmla="*/ 13870 w 202527"/>
                <a:gd name="connsiteY402" fmla="*/ 159079 h 227999"/>
                <a:gd name="connsiteX403" fmla="*/ 14069 w 202527"/>
                <a:gd name="connsiteY403" fmla="*/ 157738 h 227999"/>
                <a:gd name="connsiteX404" fmla="*/ 13926 w 202527"/>
                <a:gd name="connsiteY404" fmla="*/ 156469 h 227999"/>
                <a:gd name="connsiteX405" fmla="*/ 12900 w 202527"/>
                <a:gd name="connsiteY405" fmla="*/ 156272 h 227999"/>
                <a:gd name="connsiteX406" fmla="*/ 10329 w 202527"/>
                <a:gd name="connsiteY406" fmla="*/ 155334 h 227999"/>
                <a:gd name="connsiteX407" fmla="*/ 8813 w 202527"/>
                <a:gd name="connsiteY407" fmla="*/ 154346 h 227999"/>
                <a:gd name="connsiteX408" fmla="*/ 7681 w 202527"/>
                <a:gd name="connsiteY408" fmla="*/ 153108 h 227999"/>
                <a:gd name="connsiteX409" fmla="*/ 6206 w 202527"/>
                <a:gd name="connsiteY409" fmla="*/ 151401 h 227999"/>
                <a:gd name="connsiteX410" fmla="*/ 5578 w 202527"/>
                <a:gd name="connsiteY410" fmla="*/ 149667 h 227999"/>
                <a:gd name="connsiteX411" fmla="*/ 5546 w 202527"/>
                <a:gd name="connsiteY411" fmla="*/ 147938 h 227999"/>
                <a:gd name="connsiteX412" fmla="*/ 5727 w 202527"/>
                <a:gd name="connsiteY412" fmla="*/ 147164 h 227999"/>
                <a:gd name="connsiteX413" fmla="*/ 5833 w 202527"/>
                <a:gd name="connsiteY413" fmla="*/ 146633 h 227999"/>
                <a:gd name="connsiteX414" fmla="*/ 7023 w 202527"/>
                <a:gd name="connsiteY414" fmla="*/ 143934 h 227999"/>
                <a:gd name="connsiteX415" fmla="*/ 11210 w 202527"/>
                <a:gd name="connsiteY415" fmla="*/ 141516 h 227999"/>
                <a:gd name="connsiteX416" fmla="*/ 10749 w 202527"/>
                <a:gd name="connsiteY416" fmla="*/ 139079 h 227999"/>
                <a:gd name="connsiteX417" fmla="*/ 10689 w 202527"/>
                <a:gd name="connsiteY417" fmla="*/ 137584 h 227999"/>
                <a:gd name="connsiteX418" fmla="*/ 9672 w 202527"/>
                <a:gd name="connsiteY418" fmla="*/ 136605 h 227999"/>
                <a:gd name="connsiteX419" fmla="*/ 7640 w 202527"/>
                <a:gd name="connsiteY419" fmla="*/ 136209 h 227999"/>
                <a:gd name="connsiteX420" fmla="*/ 7102 w 202527"/>
                <a:gd name="connsiteY420" fmla="*/ 135530 h 227999"/>
                <a:gd name="connsiteX421" fmla="*/ 6876 w 202527"/>
                <a:gd name="connsiteY421" fmla="*/ 134867 h 227999"/>
                <a:gd name="connsiteX422" fmla="*/ 8368 w 202527"/>
                <a:gd name="connsiteY422" fmla="*/ 133375 h 227999"/>
                <a:gd name="connsiteX423" fmla="*/ 6567 w 202527"/>
                <a:gd name="connsiteY423" fmla="*/ 132195 h 227999"/>
                <a:gd name="connsiteX424" fmla="*/ 5792 w 202527"/>
                <a:gd name="connsiteY424" fmla="*/ 130974 h 227999"/>
                <a:gd name="connsiteX425" fmla="*/ 3282 w 202527"/>
                <a:gd name="connsiteY425" fmla="*/ 129432 h 227999"/>
                <a:gd name="connsiteX426" fmla="*/ 3017 w 202527"/>
                <a:gd name="connsiteY426" fmla="*/ 128901 h 227999"/>
                <a:gd name="connsiteX427" fmla="*/ 4222 w 202527"/>
                <a:gd name="connsiteY427" fmla="*/ 124399 h 227999"/>
                <a:gd name="connsiteX428" fmla="*/ 3302 w 202527"/>
                <a:gd name="connsiteY428" fmla="*/ 123084 h 227999"/>
                <a:gd name="connsiteX429" fmla="*/ 2157 w 202527"/>
                <a:gd name="connsiteY429" fmla="*/ 122413 h 227999"/>
                <a:gd name="connsiteX430" fmla="*/ 823 w 202527"/>
                <a:gd name="connsiteY430" fmla="*/ 122083 h 227999"/>
                <a:gd name="connsiteX431" fmla="*/ 214 w 202527"/>
                <a:gd name="connsiteY431" fmla="*/ 121457 h 227999"/>
                <a:gd name="connsiteX432" fmla="*/ 0 w 202527"/>
                <a:gd name="connsiteY432" fmla="*/ 120742 h 227999"/>
                <a:gd name="connsiteX433" fmla="*/ 240 w 202527"/>
                <a:gd name="connsiteY433" fmla="*/ 120299 h 227999"/>
                <a:gd name="connsiteX434" fmla="*/ 1807 w 202527"/>
                <a:gd name="connsiteY434" fmla="*/ 120430 h 227999"/>
                <a:gd name="connsiteX435" fmla="*/ 2289 w 202527"/>
                <a:gd name="connsiteY435" fmla="*/ 119966 h 227999"/>
                <a:gd name="connsiteX436" fmla="*/ 6025 w 202527"/>
                <a:gd name="connsiteY436" fmla="*/ 117313 h 227999"/>
                <a:gd name="connsiteX437" fmla="*/ 6178 w 202527"/>
                <a:gd name="connsiteY437" fmla="*/ 116803 h 227999"/>
                <a:gd name="connsiteX438" fmla="*/ 5658 w 202527"/>
                <a:gd name="connsiteY438" fmla="*/ 116514 h 227999"/>
                <a:gd name="connsiteX439" fmla="*/ 4973 w 202527"/>
                <a:gd name="connsiteY439" fmla="*/ 116360 h 227999"/>
                <a:gd name="connsiteX440" fmla="*/ 4805 w 202527"/>
                <a:gd name="connsiteY440" fmla="*/ 115802 h 227999"/>
                <a:gd name="connsiteX441" fmla="*/ 4829 w 202527"/>
                <a:gd name="connsiteY441" fmla="*/ 115067 h 227999"/>
                <a:gd name="connsiteX442" fmla="*/ 6826 w 202527"/>
                <a:gd name="connsiteY442" fmla="*/ 111235 h 227999"/>
                <a:gd name="connsiteX443" fmla="*/ 7416 w 202527"/>
                <a:gd name="connsiteY443" fmla="*/ 109599 h 227999"/>
                <a:gd name="connsiteX444" fmla="*/ 7547 w 202527"/>
                <a:gd name="connsiteY444" fmla="*/ 108442 h 227999"/>
                <a:gd name="connsiteX445" fmla="*/ 7424 w 202527"/>
                <a:gd name="connsiteY445" fmla="*/ 107299 h 227999"/>
                <a:gd name="connsiteX446" fmla="*/ 6282 w 202527"/>
                <a:gd name="connsiteY446" fmla="*/ 105500 h 227999"/>
                <a:gd name="connsiteX447" fmla="*/ 5165 w 202527"/>
                <a:gd name="connsiteY447" fmla="*/ 104064 h 227999"/>
                <a:gd name="connsiteX448" fmla="*/ 5127 w 202527"/>
                <a:gd name="connsiteY448" fmla="*/ 102920 h 227999"/>
                <a:gd name="connsiteX449" fmla="*/ 4317 w 202527"/>
                <a:gd name="connsiteY449" fmla="*/ 102318 h 227999"/>
                <a:gd name="connsiteX450" fmla="*/ 2013 w 202527"/>
                <a:gd name="connsiteY450" fmla="*/ 99249 h 227999"/>
                <a:gd name="connsiteX451" fmla="*/ 2017 w 202527"/>
                <a:gd name="connsiteY451" fmla="*/ 98061 h 227999"/>
                <a:gd name="connsiteX452" fmla="*/ 3319 w 202527"/>
                <a:gd name="connsiteY452" fmla="*/ 97138 h 227999"/>
                <a:gd name="connsiteX453" fmla="*/ 5137 w 202527"/>
                <a:gd name="connsiteY453" fmla="*/ 96549 h 227999"/>
                <a:gd name="connsiteX454" fmla="*/ 5742 w 202527"/>
                <a:gd name="connsiteY454" fmla="*/ 96063 h 227999"/>
                <a:gd name="connsiteX455" fmla="*/ 6832 w 202527"/>
                <a:gd name="connsiteY455" fmla="*/ 95757 h 227999"/>
                <a:gd name="connsiteX456" fmla="*/ 9720 w 202527"/>
                <a:gd name="connsiteY456" fmla="*/ 96644 h 227999"/>
                <a:gd name="connsiteX457" fmla="*/ 11015 w 202527"/>
                <a:gd name="connsiteY457" fmla="*/ 97413 h 227999"/>
                <a:gd name="connsiteX458" fmla="*/ 11380 w 202527"/>
                <a:gd name="connsiteY458" fmla="*/ 97254 h 227999"/>
                <a:gd name="connsiteX459" fmla="*/ 12548 w 202527"/>
                <a:gd name="connsiteY459" fmla="*/ 96417 h 227999"/>
                <a:gd name="connsiteX460" fmla="*/ 14595 w 202527"/>
                <a:gd name="connsiteY460" fmla="*/ 96549 h 227999"/>
                <a:gd name="connsiteX461" fmla="*/ 19553 w 202527"/>
                <a:gd name="connsiteY461" fmla="*/ 94867 h 227999"/>
                <a:gd name="connsiteX462" fmla="*/ 20292 w 202527"/>
                <a:gd name="connsiteY462" fmla="*/ 94058 h 227999"/>
                <a:gd name="connsiteX463" fmla="*/ 20849 w 202527"/>
                <a:gd name="connsiteY463" fmla="*/ 93198 h 227999"/>
                <a:gd name="connsiteX464" fmla="*/ 20894 w 202527"/>
                <a:gd name="connsiteY464" fmla="*/ 92820 h 227999"/>
                <a:gd name="connsiteX465" fmla="*/ 18975 w 202527"/>
                <a:gd name="connsiteY465" fmla="*/ 91164 h 227999"/>
                <a:gd name="connsiteX466" fmla="*/ 18916 w 202527"/>
                <a:gd name="connsiteY466" fmla="*/ 90551 h 227999"/>
                <a:gd name="connsiteX467" fmla="*/ 19171 w 202527"/>
                <a:gd name="connsiteY467" fmla="*/ 89860 h 227999"/>
                <a:gd name="connsiteX468" fmla="*/ 19713 w 202527"/>
                <a:gd name="connsiteY468" fmla="*/ 89314 h 227999"/>
                <a:gd name="connsiteX469" fmla="*/ 20849 w 202527"/>
                <a:gd name="connsiteY469" fmla="*/ 88943 h 227999"/>
                <a:gd name="connsiteX470" fmla="*/ 22058 w 202527"/>
                <a:gd name="connsiteY470" fmla="*/ 88215 h 227999"/>
                <a:gd name="connsiteX471" fmla="*/ 24759 w 202527"/>
                <a:gd name="connsiteY471" fmla="*/ 86149 h 227999"/>
                <a:gd name="connsiteX472" fmla="*/ 25697 w 202527"/>
                <a:gd name="connsiteY472" fmla="*/ 84355 h 227999"/>
                <a:gd name="connsiteX473" fmla="*/ 25984 w 202527"/>
                <a:gd name="connsiteY473" fmla="*/ 82411 h 227999"/>
                <a:gd name="connsiteX474" fmla="*/ 26040 w 202527"/>
                <a:gd name="connsiteY474" fmla="*/ 80964 h 227999"/>
                <a:gd name="connsiteX475" fmla="*/ 25304 w 202527"/>
                <a:gd name="connsiteY475" fmla="*/ 79812 h 227999"/>
                <a:gd name="connsiteX476" fmla="*/ 24559 w 202527"/>
                <a:gd name="connsiteY476" fmla="*/ 79066 h 227999"/>
                <a:gd name="connsiteX477" fmla="*/ 23540 w 202527"/>
                <a:gd name="connsiteY477" fmla="*/ 79179 h 227999"/>
                <a:gd name="connsiteX478" fmla="*/ 21559 w 202527"/>
                <a:gd name="connsiteY478" fmla="*/ 79120 h 227999"/>
                <a:gd name="connsiteX479" fmla="*/ 19709 w 202527"/>
                <a:gd name="connsiteY479" fmla="*/ 78473 h 227999"/>
                <a:gd name="connsiteX480" fmla="*/ 18694 w 202527"/>
                <a:gd name="connsiteY480" fmla="*/ 77426 h 227999"/>
                <a:gd name="connsiteX481" fmla="*/ 18444 w 202527"/>
                <a:gd name="connsiteY481" fmla="*/ 76505 h 227999"/>
                <a:gd name="connsiteX482" fmla="*/ 18903 w 202527"/>
                <a:gd name="connsiteY482" fmla="*/ 75925 h 227999"/>
                <a:gd name="connsiteX483" fmla="*/ 19044 w 202527"/>
                <a:gd name="connsiteY483" fmla="*/ 75212 h 227999"/>
                <a:gd name="connsiteX484" fmla="*/ 18748 w 202527"/>
                <a:gd name="connsiteY484" fmla="*/ 74495 h 227999"/>
                <a:gd name="connsiteX485" fmla="*/ 18867 w 202527"/>
                <a:gd name="connsiteY485" fmla="*/ 73893 h 227999"/>
                <a:gd name="connsiteX486" fmla="*/ 19700 w 202527"/>
                <a:gd name="connsiteY486" fmla="*/ 73410 h 227999"/>
                <a:gd name="connsiteX487" fmla="*/ 25554 w 202527"/>
                <a:gd name="connsiteY487" fmla="*/ 73426 h 227999"/>
                <a:gd name="connsiteX488" fmla="*/ 25993 w 202527"/>
                <a:gd name="connsiteY488" fmla="*/ 72895 h 227999"/>
                <a:gd name="connsiteX489" fmla="*/ 26388 w 202527"/>
                <a:gd name="connsiteY489" fmla="*/ 70108 h 227999"/>
                <a:gd name="connsiteX490" fmla="*/ 27852 w 202527"/>
                <a:gd name="connsiteY490" fmla="*/ 65859 h 227999"/>
                <a:gd name="connsiteX491" fmla="*/ 29232 w 202527"/>
                <a:gd name="connsiteY491" fmla="*/ 63490 h 227999"/>
                <a:gd name="connsiteX492" fmla="*/ 29463 w 202527"/>
                <a:gd name="connsiteY492" fmla="*/ 62493 h 227999"/>
                <a:gd name="connsiteX493" fmla="*/ 29441 w 202527"/>
                <a:gd name="connsiteY493" fmla="*/ 56866 h 227999"/>
                <a:gd name="connsiteX494" fmla="*/ 29625 w 202527"/>
                <a:gd name="connsiteY494" fmla="*/ 54011 h 227999"/>
                <a:gd name="connsiteX495" fmla="*/ 28625 w 202527"/>
                <a:gd name="connsiteY495" fmla="*/ 52668 h 227999"/>
                <a:gd name="connsiteX496" fmla="*/ 26442 w 202527"/>
                <a:gd name="connsiteY496" fmla="*/ 51197 h 227999"/>
                <a:gd name="connsiteX497" fmla="*/ 26906 w 202527"/>
                <a:gd name="connsiteY497" fmla="*/ 48132 h 227999"/>
                <a:gd name="connsiteX498" fmla="*/ 27632 w 202527"/>
                <a:gd name="connsiteY498" fmla="*/ 45741 h 227999"/>
                <a:gd name="connsiteX499" fmla="*/ 29828 w 202527"/>
                <a:gd name="connsiteY499" fmla="*/ 42797 h 227999"/>
                <a:gd name="connsiteX500" fmla="*/ 31570 w 202527"/>
                <a:gd name="connsiteY500" fmla="*/ 41987 h 227999"/>
                <a:gd name="connsiteX501" fmla="*/ 39176 w 202527"/>
                <a:gd name="connsiteY501" fmla="*/ 41506 h 227999"/>
                <a:gd name="connsiteX502" fmla="*/ 47580 w 202527"/>
                <a:gd name="connsiteY502" fmla="*/ 41704 h 227999"/>
                <a:gd name="connsiteX503" fmla="*/ 51069 w 202527"/>
                <a:gd name="connsiteY503" fmla="*/ 46150 h 227999"/>
                <a:gd name="connsiteX504" fmla="*/ 49774 w 202527"/>
                <a:gd name="connsiteY504" fmla="*/ 48432 h 227999"/>
                <a:gd name="connsiteX505" fmla="*/ 51814 w 202527"/>
                <a:gd name="connsiteY505" fmla="*/ 49494 h 227999"/>
                <a:gd name="connsiteX506" fmla="*/ 52797 w 202527"/>
                <a:gd name="connsiteY506" fmla="*/ 49106 h 227999"/>
                <a:gd name="connsiteX507" fmla="*/ 53544 w 202527"/>
                <a:gd name="connsiteY507" fmla="*/ 47121 h 227999"/>
                <a:gd name="connsiteX508" fmla="*/ 54043 w 202527"/>
                <a:gd name="connsiteY508" fmla="*/ 44922 h 227999"/>
                <a:gd name="connsiteX509" fmla="*/ 54758 w 202527"/>
                <a:gd name="connsiteY509" fmla="*/ 44256 h 227999"/>
                <a:gd name="connsiteX510" fmla="*/ 57356 w 202527"/>
                <a:gd name="connsiteY510" fmla="*/ 45900 h 227999"/>
                <a:gd name="connsiteX511" fmla="*/ 58269 w 202527"/>
                <a:gd name="connsiteY511" fmla="*/ 47026 h 227999"/>
                <a:gd name="connsiteX512" fmla="*/ 58325 w 202527"/>
                <a:gd name="connsiteY512" fmla="*/ 50644 h 227999"/>
                <a:gd name="connsiteX513" fmla="*/ 59282 w 202527"/>
                <a:gd name="connsiteY513" fmla="*/ 45743 h 227999"/>
                <a:gd name="connsiteX514" fmla="*/ 58569 w 202527"/>
                <a:gd name="connsiteY514" fmla="*/ 42307 h 227999"/>
                <a:gd name="connsiteX515" fmla="*/ 59059 w 202527"/>
                <a:gd name="connsiteY515" fmla="*/ 38972 h 227999"/>
                <a:gd name="connsiteX516" fmla="*/ 60102 w 202527"/>
                <a:gd name="connsiteY516" fmla="*/ 37235 h 227999"/>
                <a:gd name="connsiteX517" fmla="*/ 61061 w 202527"/>
                <a:gd name="connsiteY517" fmla="*/ 36130 h 227999"/>
                <a:gd name="connsiteX518" fmla="*/ 67226 w 202527"/>
                <a:gd name="connsiteY518" fmla="*/ 37320 h 227999"/>
                <a:gd name="connsiteX519" fmla="*/ 74032 w 202527"/>
                <a:gd name="connsiteY519" fmla="*/ 36706 h 227999"/>
                <a:gd name="connsiteX520" fmla="*/ 76606 w 202527"/>
                <a:gd name="connsiteY520" fmla="*/ 37992 h 227999"/>
                <a:gd name="connsiteX521" fmla="*/ 82430 w 202527"/>
                <a:gd name="connsiteY521" fmla="*/ 44428 h 227999"/>
                <a:gd name="connsiteX522" fmla="*/ 84372 w 202527"/>
                <a:gd name="connsiteY522" fmla="*/ 45480 h 227999"/>
                <a:gd name="connsiteX523" fmla="*/ 86822 w 202527"/>
                <a:gd name="connsiteY523" fmla="*/ 45811 h 227999"/>
                <a:gd name="connsiteX524" fmla="*/ 83445 w 202527"/>
                <a:gd name="connsiteY524" fmla="*/ 44437 h 227999"/>
                <a:gd name="connsiteX525" fmla="*/ 76386 w 202527"/>
                <a:gd name="connsiteY525" fmla="*/ 36610 h 227999"/>
                <a:gd name="connsiteX526" fmla="*/ 74272 w 202527"/>
                <a:gd name="connsiteY526" fmla="*/ 35639 h 227999"/>
                <a:gd name="connsiteX527" fmla="*/ 71027 w 202527"/>
                <a:gd name="connsiteY527" fmla="*/ 35344 h 227999"/>
                <a:gd name="connsiteX528" fmla="*/ 69003 w 202527"/>
                <a:gd name="connsiteY528" fmla="*/ 34578 h 227999"/>
                <a:gd name="connsiteX529" fmla="*/ 67727 w 202527"/>
                <a:gd name="connsiteY529" fmla="*/ 33392 h 227999"/>
                <a:gd name="connsiteX530" fmla="*/ 67353 w 202527"/>
                <a:gd name="connsiteY530" fmla="*/ 32332 h 227999"/>
                <a:gd name="connsiteX531" fmla="*/ 67423 w 202527"/>
                <a:gd name="connsiteY531" fmla="*/ 24417 h 227999"/>
                <a:gd name="connsiteX532" fmla="*/ 66205 w 202527"/>
                <a:gd name="connsiteY532" fmla="*/ 23237 h 227999"/>
                <a:gd name="connsiteX533" fmla="*/ 64631 w 202527"/>
                <a:gd name="connsiteY533" fmla="*/ 22826 h 227999"/>
                <a:gd name="connsiteX534" fmla="*/ 63650 w 202527"/>
                <a:gd name="connsiteY534" fmla="*/ 23369 h 227999"/>
                <a:gd name="connsiteX535" fmla="*/ 61636 w 202527"/>
                <a:gd name="connsiteY535" fmla="*/ 23376 h 227999"/>
                <a:gd name="connsiteX536" fmla="*/ 61212 w 202527"/>
                <a:gd name="connsiteY536" fmla="*/ 21579 h 227999"/>
                <a:gd name="connsiteX537" fmla="*/ 61704 w 202527"/>
                <a:gd name="connsiteY537" fmla="*/ 20247 h 227999"/>
                <a:gd name="connsiteX538" fmla="*/ 65753 w 202527"/>
                <a:gd name="connsiteY538" fmla="*/ 19336 h 227999"/>
                <a:gd name="connsiteX539" fmla="*/ 68422 w 202527"/>
                <a:gd name="connsiteY539" fmla="*/ 18114 h 227999"/>
                <a:gd name="connsiteX540" fmla="*/ 68541 w 202527"/>
                <a:gd name="connsiteY540" fmla="*/ 15954 h 227999"/>
                <a:gd name="connsiteX541" fmla="*/ 66855 w 202527"/>
                <a:gd name="connsiteY541" fmla="*/ 14254 h 227999"/>
                <a:gd name="connsiteX542" fmla="*/ 64836 w 202527"/>
                <a:gd name="connsiteY542" fmla="*/ 11133 h 227999"/>
                <a:gd name="connsiteX543" fmla="*/ 62463 w 202527"/>
                <a:gd name="connsiteY543" fmla="*/ 8196 h 227999"/>
                <a:gd name="connsiteX544" fmla="*/ 56334 w 202527"/>
                <a:gd name="connsiteY544" fmla="*/ 0 h 227999"/>
                <a:gd name="connsiteX545" fmla="*/ 57358 w 202527"/>
                <a:gd name="connsiteY545" fmla="*/ 103 h 227999"/>
                <a:gd name="connsiteX546" fmla="*/ 56310 w 202527"/>
                <a:gd name="connsiteY546" fmla="*/ 1353 h 227999"/>
                <a:gd name="connsiteX547" fmla="*/ 56008 w 202527"/>
                <a:gd name="connsiteY547" fmla="*/ 2228 h 227999"/>
                <a:gd name="connsiteX548" fmla="*/ 55583 w 202527"/>
                <a:gd name="connsiteY548" fmla="*/ 3975 h 227999"/>
                <a:gd name="connsiteX549" fmla="*/ 55775 w 202527"/>
                <a:gd name="connsiteY549" fmla="*/ 4882 h 227999"/>
                <a:gd name="connsiteX550" fmla="*/ 61296 w 202527"/>
                <a:gd name="connsiteY550" fmla="*/ 5131 h 227999"/>
                <a:gd name="connsiteX551" fmla="*/ 60655 w 202527"/>
                <a:gd name="connsiteY551" fmla="*/ 5940 h 227999"/>
                <a:gd name="connsiteX552" fmla="*/ 55056 w 202527"/>
                <a:gd name="connsiteY552" fmla="*/ 6486 h 227999"/>
                <a:gd name="connsiteX553" fmla="*/ 54179 w 202527"/>
                <a:gd name="connsiteY553" fmla="*/ 8345 h 227999"/>
                <a:gd name="connsiteX554" fmla="*/ 53669 w 202527"/>
                <a:gd name="connsiteY554" fmla="*/ 8954 h 227999"/>
                <a:gd name="connsiteX555" fmla="*/ 53913 w 202527"/>
                <a:gd name="connsiteY555" fmla="*/ 4623 h 227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</a:cxnLst>
              <a:rect l="l" t="t" r="r" b="b"/>
              <a:pathLst>
                <a:path w="202527" h="227999">
                  <a:moveTo>
                    <a:pt x="176238" y="28478"/>
                  </a:moveTo>
                  <a:lnTo>
                    <a:pt x="180907" y="31292"/>
                  </a:lnTo>
                  <a:lnTo>
                    <a:pt x="184723" y="33847"/>
                  </a:lnTo>
                  <a:lnTo>
                    <a:pt x="184431" y="34795"/>
                  </a:lnTo>
                  <a:lnTo>
                    <a:pt x="184772" y="36258"/>
                  </a:lnTo>
                  <a:lnTo>
                    <a:pt x="183854" y="36149"/>
                  </a:lnTo>
                  <a:lnTo>
                    <a:pt x="181117" y="36490"/>
                  </a:lnTo>
                  <a:lnTo>
                    <a:pt x="178406" y="36007"/>
                  </a:lnTo>
                  <a:lnTo>
                    <a:pt x="177884" y="34192"/>
                  </a:lnTo>
                  <a:lnTo>
                    <a:pt x="178316" y="32443"/>
                  </a:lnTo>
                  <a:lnTo>
                    <a:pt x="177227" y="31240"/>
                  </a:lnTo>
                  <a:lnTo>
                    <a:pt x="176225" y="30534"/>
                  </a:lnTo>
                  <a:lnTo>
                    <a:pt x="176077" y="29524"/>
                  </a:lnTo>
                  <a:close/>
                  <a:moveTo>
                    <a:pt x="115590" y="16104"/>
                  </a:moveTo>
                  <a:lnTo>
                    <a:pt x="118877" y="17086"/>
                  </a:lnTo>
                  <a:lnTo>
                    <a:pt x="119909" y="19005"/>
                  </a:lnTo>
                  <a:lnTo>
                    <a:pt x="119965" y="19628"/>
                  </a:lnTo>
                  <a:lnTo>
                    <a:pt x="116570" y="19687"/>
                  </a:lnTo>
                  <a:lnTo>
                    <a:pt x="115274" y="18467"/>
                  </a:lnTo>
                  <a:lnTo>
                    <a:pt x="113970" y="18157"/>
                  </a:lnTo>
                  <a:lnTo>
                    <a:pt x="114672" y="16652"/>
                  </a:lnTo>
                  <a:close/>
                  <a:moveTo>
                    <a:pt x="167283" y="11030"/>
                  </a:moveTo>
                  <a:lnTo>
                    <a:pt x="167888" y="12552"/>
                  </a:lnTo>
                  <a:lnTo>
                    <a:pt x="168797" y="13599"/>
                  </a:lnTo>
                  <a:lnTo>
                    <a:pt x="171999" y="14772"/>
                  </a:lnTo>
                  <a:lnTo>
                    <a:pt x="172477" y="15305"/>
                  </a:lnTo>
                  <a:lnTo>
                    <a:pt x="172766" y="16042"/>
                  </a:lnTo>
                  <a:lnTo>
                    <a:pt x="171276" y="17485"/>
                  </a:lnTo>
                  <a:lnTo>
                    <a:pt x="170771" y="18224"/>
                  </a:lnTo>
                  <a:lnTo>
                    <a:pt x="171244" y="19409"/>
                  </a:lnTo>
                  <a:lnTo>
                    <a:pt x="173617" y="20703"/>
                  </a:lnTo>
                  <a:lnTo>
                    <a:pt x="174170" y="22753"/>
                  </a:lnTo>
                  <a:lnTo>
                    <a:pt x="173576" y="23797"/>
                  </a:lnTo>
                  <a:lnTo>
                    <a:pt x="171090" y="22060"/>
                  </a:lnTo>
                  <a:lnTo>
                    <a:pt x="168594" y="22084"/>
                  </a:lnTo>
                  <a:lnTo>
                    <a:pt x="167102" y="24759"/>
                  </a:lnTo>
                  <a:lnTo>
                    <a:pt x="165992" y="24872"/>
                  </a:lnTo>
                  <a:lnTo>
                    <a:pt x="162138" y="22442"/>
                  </a:lnTo>
                  <a:lnTo>
                    <a:pt x="161520" y="21256"/>
                  </a:lnTo>
                  <a:lnTo>
                    <a:pt x="161393" y="20270"/>
                  </a:lnTo>
                  <a:lnTo>
                    <a:pt x="161943" y="16850"/>
                  </a:lnTo>
                  <a:lnTo>
                    <a:pt x="161842" y="15773"/>
                  </a:lnTo>
                  <a:lnTo>
                    <a:pt x="163053" y="14596"/>
                  </a:lnTo>
                  <a:lnTo>
                    <a:pt x="163241" y="12894"/>
                  </a:lnTo>
                  <a:lnTo>
                    <a:pt x="165383" y="11098"/>
                  </a:lnTo>
                  <a:close/>
                  <a:moveTo>
                    <a:pt x="58651" y="9162"/>
                  </a:moveTo>
                  <a:lnTo>
                    <a:pt x="60055" y="9517"/>
                  </a:lnTo>
                  <a:lnTo>
                    <a:pt x="60374" y="10621"/>
                  </a:lnTo>
                  <a:lnTo>
                    <a:pt x="59513" y="11371"/>
                  </a:lnTo>
                  <a:lnTo>
                    <a:pt x="57409" y="11283"/>
                  </a:lnTo>
                  <a:lnTo>
                    <a:pt x="56228" y="10577"/>
                  </a:lnTo>
                  <a:lnTo>
                    <a:pt x="56611" y="9825"/>
                  </a:lnTo>
                  <a:lnTo>
                    <a:pt x="57727" y="9251"/>
                  </a:lnTo>
                  <a:close/>
                  <a:moveTo>
                    <a:pt x="62197" y="4773"/>
                  </a:moveTo>
                  <a:lnTo>
                    <a:pt x="62206" y="4776"/>
                  </a:lnTo>
                  <a:lnTo>
                    <a:pt x="66330" y="4843"/>
                  </a:lnTo>
                  <a:lnTo>
                    <a:pt x="67341" y="4973"/>
                  </a:lnTo>
                  <a:lnTo>
                    <a:pt x="73596" y="6576"/>
                  </a:lnTo>
                  <a:lnTo>
                    <a:pt x="75125" y="7700"/>
                  </a:lnTo>
                  <a:lnTo>
                    <a:pt x="77049" y="7753"/>
                  </a:lnTo>
                  <a:lnTo>
                    <a:pt x="80515" y="6706"/>
                  </a:lnTo>
                  <a:lnTo>
                    <a:pt x="83104" y="6246"/>
                  </a:lnTo>
                  <a:lnTo>
                    <a:pt x="84108" y="6892"/>
                  </a:lnTo>
                  <a:lnTo>
                    <a:pt x="85518" y="7163"/>
                  </a:lnTo>
                  <a:lnTo>
                    <a:pt x="85844" y="7163"/>
                  </a:lnTo>
                  <a:lnTo>
                    <a:pt x="85981" y="7726"/>
                  </a:lnTo>
                  <a:lnTo>
                    <a:pt x="89217" y="8540"/>
                  </a:lnTo>
                  <a:lnTo>
                    <a:pt x="90578" y="9837"/>
                  </a:lnTo>
                  <a:lnTo>
                    <a:pt x="92089" y="11807"/>
                  </a:lnTo>
                  <a:lnTo>
                    <a:pt x="92236" y="14641"/>
                  </a:lnTo>
                  <a:lnTo>
                    <a:pt x="90301" y="16677"/>
                  </a:lnTo>
                  <a:lnTo>
                    <a:pt x="88695" y="17965"/>
                  </a:lnTo>
                  <a:lnTo>
                    <a:pt x="94771" y="17478"/>
                  </a:lnTo>
                  <a:lnTo>
                    <a:pt x="95376" y="18645"/>
                  </a:lnTo>
                  <a:lnTo>
                    <a:pt x="96296" y="19903"/>
                  </a:lnTo>
                  <a:lnTo>
                    <a:pt x="99569" y="19007"/>
                  </a:lnTo>
                  <a:lnTo>
                    <a:pt x="107775" y="22728"/>
                  </a:lnTo>
                  <a:lnTo>
                    <a:pt x="112737" y="20917"/>
                  </a:lnTo>
                  <a:lnTo>
                    <a:pt x="114007" y="20811"/>
                  </a:lnTo>
                  <a:lnTo>
                    <a:pt x="115134" y="23817"/>
                  </a:lnTo>
                  <a:lnTo>
                    <a:pt x="113901" y="26840"/>
                  </a:lnTo>
                  <a:lnTo>
                    <a:pt x="109526" y="30061"/>
                  </a:lnTo>
                  <a:lnTo>
                    <a:pt x="110496" y="32043"/>
                  </a:lnTo>
                  <a:lnTo>
                    <a:pt x="111893" y="32483"/>
                  </a:lnTo>
                  <a:lnTo>
                    <a:pt x="116017" y="32063"/>
                  </a:lnTo>
                  <a:lnTo>
                    <a:pt x="122547" y="34020"/>
                  </a:lnTo>
                  <a:lnTo>
                    <a:pt x="123908" y="33410"/>
                  </a:lnTo>
                  <a:lnTo>
                    <a:pt x="129203" y="28895"/>
                  </a:lnTo>
                  <a:lnTo>
                    <a:pt x="131319" y="27925"/>
                  </a:lnTo>
                  <a:lnTo>
                    <a:pt x="138285" y="27230"/>
                  </a:lnTo>
                  <a:lnTo>
                    <a:pt x="139552" y="25479"/>
                  </a:lnTo>
                  <a:lnTo>
                    <a:pt x="142375" y="23717"/>
                  </a:lnTo>
                  <a:lnTo>
                    <a:pt x="144193" y="21791"/>
                  </a:lnTo>
                  <a:lnTo>
                    <a:pt x="148546" y="18120"/>
                  </a:lnTo>
                  <a:lnTo>
                    <a:pt x="153051" y="18782"/>
                  </a:lnTo>
                  <a:lnTo>
                    <a:pt x="155681" y="19485"/>
                  </a:lnTo>
                  <a:lnTo>
                    <a:pt x="158568" y="19839"/>
                  </a:lnTo>
                  <a:lnTo>
                    <a:pt x="161196" y="23749"/>
                  </a:lnTo>
                  <a:lnTo>
                    <a:pt x="167843" y="28064"/>
                  </a:lnTo>
                  <a:lnTo>
                    <a:pt x="173950" y="27689"/>
                  </a:lnTo>
                  <a:lnTo>
                    <a:pt x="176117" y="31764"/>
                  </a:lnTo>
                  <a:lnTo>
                    <a:pt x="177074" y="36785"/>
                  </a:lnTo>
                  <a:lnTo>
                    <a:pt x="178950" y="38358"/>
                  </a:lnTo>
                  <a:lnTo>
                    <a:pt x="180600" y="39385"/>
                  </a:lnTo>
                  <a:lnTo>
                    <a:pt x="185576" y="40460"/>
                  </a:lnTo>
                  <a:lnTo>
                    <a:pt x="185772" y="40528"/>
                  </a:lnTo>
                  <a:lnTo>
                    <a:pt x="185932" y="41208"/>
                  </a:lnTo>
                  <a:lnTo>
                    <a:pt x="186236" y="43696"/>
                  </a:lnTo>
                  <a:lnTo>
                    <a:pt x="186653" y="45757"/>
                  </a:lnTo>
                  <a:lnTo>
                    <a:pt x="189214" y="53974"/>
                  </a:lnTo>
                  <a:lnTo>
                    <a:pt x="189165" y="55979"/>
                  </a:lnTo>
                  <a:lnTo>
                    <a:pt x="189134" y="56511"/>
                  </a:lnTo>
                  <a:lnTo>
                    <a:pt x="188197" y="59315"/>
                  </a:lnTo>
                  <a:lnTo>
                    <a:pt x="186530" y="61677"/>
                  </a:lnTo>
                  <a:lnTo>
                    <a:pt x="184330" y="63008"/>
                  </a:lnTo>
                  <a:lnTo>
                    <a:pt x="183118" y="64488"/>
                  </a:lnTo>
                  <a:lnTo>
                    <a:pt x="182891" y="66122"/>
                  </a:lnTo>
                  <a:lnTo>
                    <a:pt x="185658" y="68981"/>
                  </a:lnTo>
                  <a:lnTo>
                    <a:pt x="191414" y="73066"/>
                  </a:lnTo>
                  <a:lnTo>
                    <a:pt x="193744" y="76554"/>
                  </a:lnTo>
                  <a:lnTo>
                    <a:pt x="192645" y="79452"/>
                  </a:lnTo>
                  <a:lnTo>
                    <a:pt x="192311" y="81575"/>
                  </a:lnTo>
                  <a:lnTo>
                    <a:pt x="192738" y="82926"/>
                  </a:lnTo>
                  <a:lnTo>
                    <a:pt x="193660" y="84010"/>
                  </a:lnTo>
                  <a:lnTo>
                    <a:pt x="195081" y="84830"/>
                  </a:lnTo>
                  <a:lnTo>
                    <a:pt x="195645" y="86091"/>
                  </a:lnTo>
                  <a:lnTo>
                    <a:pt x="195358" y="87793"/>
                  </a:lnTo>
                  <a:lnTo>
                    <a:pt x="195627" y="88973"/>
                  </a:lnTo>
                  <a:lnTo>
                    <a:pt x="196688" y="89813"/>
                  </a:lnTo>
                  <a:lnTo>
                    <a:pt x="196590" y="90139"/>
                  </a:lnTo>
                  <a:lnTo>
                    <a:pt x="196075" y="91321"/>
                  </a:lnTo>
                  <a:lnTo>
                    <a:pt x="195370" y="93475"/>
                  </a:lnTo>
                  <a:lnTo>
                    <a:pt x="194971" y="95046"/>
                  </a:lnTo>
                  <a:lnTo>
                    <a:pt x="193351" y="97185"/>
                  </a:lnTo>
                  <a:lnTo>
                    <a:pt x="193844" y="99001"/>
                  </a:lnTo>
                  <a:lnTo>
                    <a:pt x="195113" y="101141"/>
                  </a:lnTo>
                  <a:lnTo>
                    <a:pt x="196077" y="102216"/>
                  </a:lnTo>
                  <a:lnTo>
                    <a:pt x="196381" y="103234"/>
                  </a:lnTo>
                  <a:lnTo>
                    <a:pt x="195768" y="105653"/>
                  </a:lnTo>
                  <a:lnTo>
                    <a:pt x="196072" y="106271"/>
                  </a:lnTo>
                  <a:lnTo>
                    <a:pt x="200080" y="108051"/>
                  </a:lnTo>
                  <a:lnTo>
                    <a:pt x="200734" y="108872"/>
                  </a:lnTo>
                  <a:lnTo>
                    <a:pt x="201123" y="110581"/>
                  </a:lnTo>
                  <a:lnTo>
                    <a:pt x="202527" y="114229"/>
                  </a:lnTo>
                  <a:lnTo>
                    <a:pt x="201361" y="118843"/>
                  </a:lnTo>
                  <a:lnTo>
                    <a:pt x="200335" y="121367"/>
                  </a:lnTo>
                  <a:lnTo>
                    <a:pt x="198052" y="125369"/>
                  </a:lnTo>
                  <a:lnTo>
                    <a:pt x="197945" y="125738"/>
                  </a:lnTo>
                  <a:lnTo>
                    <a:pt x="197681" y="126224"/>
                  </a:lnTo>
                  <a:lnTo>
                    <a:pt x="196997" y="126924"/>
                  </a:lnTo>
                  <a:lnTo>
                    <a:pt x="196042" y="127029"/>
                  </a:lnTo>
                  <a:lnTo>
                    <a:pt x="194602" y="126507"/>
                  </a:lnTo>
                  <a:lnTo>
                    <a:pt x="193615" y="125838"/>
                  </a:lnTo>
                  <a:lnTo>
                    <a:pt x="193842" y="124112"/>
                  </a:lnTo>
                  <a:lnTo>
                    <a:pt x="193209" y="123999"/>
                  </a:lnTo>
                  <a:lnTo>
                    <a:pt x="192423" y="122939"/>
                  </a:lnTo>
                  <a:lnTo>
                    <a:pt x="192114" y="121799"/>
                  </a:lnTo>
                  <a:lnTo>
                    <a:pt x="191266" y="121334"/>
                  </a:lnTo>
                  <a:lnTo>
                    <a:pt x="188169" y="120855"/>
                  </a:lnTo>
                  <a:lnTo>
                    <a:pt x="187117" y="120518"/>
                  </a:lnTo>
                  <a:lnTo>
                    <a:pt x="186310" y="120761"/>
                  </a:lnTo>
                  <a:lnTo>
                    <a:pt x="185705" y="121568"/>
                  </a:lnTo>
                  <a:lnTo>
                    <a:pt x="186091" y="122297"/>
                  </a:lnTo>
                  <a:lnTo>
                    <a:pt x="186668" y="123007"/>
                  </a:lnTo>
                  <a:lnTo>
                    <a:pt x="188385" y="124132"/>
                  </a:lnTo>
                  <a:lnTo>
                    <a:pt x="188208" y="124579"/>
                  </a:lnTo>
                  <a:lnTo>
                    <a:pt x="184509" y="125673"/>
                  </a:lnTo>
                  <a:lnTo>
                    <a:pt x="182181" y="126795"/>
                  </a:lnTo>
                  <a:lnTo>
                    <a:pt x="180013" y="127425"/>
                  </a:lnTo>
                  <a:lnTo>
                    <a:pt x="177804" y="128586"/>
                  </a:lnTo>
                  <a:lnTo>
                    <a:pt x="173444" y="129889"/>
                  </a:lnTo>
                  <a:lnTo>
                    <a:pt x="170246" y="130235"/>
                  </a:lnTo>
                  <a:lnTo>
                    <a:pt x="169579" y="130579"/>
                  </a:lnTo>
                  <a:lnTo>
                    <a:pt x="168385" y="132786"/>
                  </a:lnTo>
                  <a:lnTo>
                    <a:pt x="167579" y="133247"/>
                  </a:lnTo>
                  <a:lnTo>
                    <a:pt x="166806" y="133008"/>
                  </a:lnTo>
                  <a:lnTo>
                    <a:pt x="166219" y="132647"/>
                  </a:lnTo>
                  <a:lnTo>
                    <a:pt x="165476" y="132946"/>
                  </a:lnTo>
                  <a:lnTo>
                    <a:pt x="164703" y="133676"/>
                  </a:lnTo>
                  <a:lnTo>
                    <a:pt x="163895" y="133964"/>
                  </a:lnTo>
                  <a:lnTo>
                    <a:pt x="163191" y="133954"/>
                  </a:lnTo>
                  <a:lnTo>
                    <a:pt x="161941" y="135879"/>
                  </a:lnTo>
                  <a:lnTo>
                    <a:pt x="158298" y="136463"/>
                  </a:lnTo>
                  <a:lnTo>
                    <a:pt x="157871" y="137460"/>
                  </a:lnTo>
                  <a:lnTo>
                    <a:pt x="157201" y="138616"/>
                  </a:lnTo>
                  <a:lnTo>
                    <a:pt x="156668" y="138899"/>
                  </a:lnTo>
                  <a:lnTo>
                    <a:pt x="155022" y="138441"/>
                  </a:lnTo>
                  <a:lnTo>
                    <a:pt x="152749" y="138188"/>
                  </a:lnTo>
                  <a:lnTo>
                    <a:pt x="151444" y="138821"/>
                  </a:lnTo>
                  <a:lnTo>
                    <a:pt x="149877" y="139171"/>
                  </a:lnTo>
                  <a:lnTo>
                    <a:pt x="147964" y="139277"/>
                  </a:lnTo>
                  <a:lnTo>
                    <a:pt x="145832" y="140541"/>
                  </a:lnTo>
                  <a:lnTo>
                    <a:pt x="143753" y="142759"/>
                  </a:lnTo>
                  <a:lnTo>
                    <a:pt x="142582" y="144714"/>
                  </a:lnTo>
                  <a:lnTo>
                    <a:pt x="141956" y="145416"/>
                  </a:lnTo>
                  <a:lnTo>
                    <a:pt x="140935" y="143581"/>
                  </a:lnTo>
                  <a:lnTo>
                    <a:pt x="139688" y="142321"/>
                  </a:lnTo>
                  <a:lnTo>
                    <a:pt x="138806" y="141667"/>
                  </a:lnTo>
                  <a:lnTo>
                    <a:pt x="138017" y="141666"/>
                  </a:lnTo>
                  <a:lnTo>
                    <a:pt x="137810" y="141934"/>
                  </a:lnTo>
                  <a:lnTo>
                    <a:pt x="137808" y="142895"/>
                  </a:lnTo>
                  <a:lnTo>
                    <a:pt x="138650" y="144491"/>
                  </a:lnTo>
                  <a:lnTo>
                    <a:pt x="139693" y="145579"/>
                  </a:lnTo>
                  <a:lnTo>
                    <a:pt x="139859" y="146382"/>
                  </a:lnTo>
                  <a:lnTo>
                    <a:pt x="140418" y="147843"/>
                  </a:lnTo>
                  <a:lnTo>
                    <a:pt x="141936" y="149437"/>
                  </a:lnTo>
                  <a:lnTo>
                    <a:pt x="144318" y="150700"/>
                  </a:lnTo>
                  <a:lnTo>
                    <a:pt x="145942" y="151943"/>
                  </a:lnTo>
                  <a:lnTo>
                    <a:pt x="147145" y="153665"/>
                  </a:lnTo>
                  <a:lnTo>
                    <a:pt x="147156" y="154194"/>
                  </a:lnTo>
                  <a:lnTo>
                    <a:pt x="146825" y="154897"/>
                  </a:lnTo>
                  <a:lnTo>
                    <a:pt x="146257" y="155559"/>
                  </a:lnTo>
                  <a:lnTo>
                    <a:pt x="145778" y="156421"/>
                  </a:lnTo>
                  <a:lnTo>
                    <a:pt x="144459" y="158163"/>
                  </a:lnTo>
                  <a:lnTo>
                    <a:pt x="144849" y="158924"/>
                  </a:lnTo>
                  <a:lnTo>
                    <a:pt x="145929" y="159885"/>
                  </a:lnTo>
                  <a:lnTo>
                    <a:pt x="146886" y="161038"/>
                  </a:lnTo>
                  <a:lnTo>
                    <a:pt x="148112" y="162901"/>
                  </a:lnTo>
                  <a:lnTo>
                    <a:pt x="149799" y="166162"/>
                  </a:lnTo>
                  <a:lnTo>
                    <a:pt x="150885" y="167503"/>
                  </a:lnTo>
                  <a:lnTo>
                    <a:pt x="152360" y="168887"/>
                  </a:lnTo>
                  <a:lnTo>
                    <a:pt x="153809" y="169943"/>
                  </a:lnTo>
                  <a:lnTo>
                    <a:pt x="156093" y="169911"/>
                  </a:lnTo>
                  <a:lnTo>
                    <a:pt x="158460" y="171925"/>
                  </a:lnTo>
                  <a:lnTo>
                    <a:pt x="161043" y="174835"/>
                  </a:lnTo>
                  <a:lnTo>
                    <a:pt x="162973" y="176169"/>
                  </a:lnTo>
                  <a:lnTo>
                    <a:pt x="164321" y="176575"/>
                  </a:lnTo>
                  <a:lnTo>
                    <a:pt x="165433" y="177622"/>
                  </a:lnTo>
                  <a:lnTo>
                    <a:pt x="166420" y="179127"/>
                  </a:lnTo>
                  <a:lnTo>
                    <a:pt x="166806" y="179997"/>
                  </a:lnTo>
                  <a:lnTo>
                    <a:pt x="167681" y="180625"/>
                  </a:lnTo>
                  <a:lnTo>
                    <a:pt x="170045" y="180508"/>
                  </a:lnTo>
                  <a:lnTo>
                    <a:pt x="173081" y="182873"/>
                  </a:lnTo>
                  <a:lnTo>
                    <a:pt x="174960" y="184603"/>
                  </a:lnTo>
                  <a:lnTo>
                    <a:pt x="175951" y="185999"/>
                  </a:lnTo>
                  <a:lnTo>
                    <a:pt x="175690" y="186552"/>
                  </a:lnTo>
                  <a:lnTo>
                    <a:pt x="175569" y="188289"/>
                  </a:lnTo>
                  <a:lnTo>
                    <a:pt x="175599" y="190129"/>
                  </a:lnTo>
                  <a:lnTo>
                    <a:pt x="175301" y="191102"/>
                  </a:lnTo>
                  <a:lnTo>
                    <a:pt x="173943" y="192382"/>
                  </a:lnTo>
                  <a:lnTo>
                    <a:pt x="173241" y="192654"/>
                  </a:lnTo>
                  <a:lnTo>
                    <a:pt x="172866" y="192930"/>
                  </a:lnTo>
                  <a:lnTo>
                    <a:pt x="168696" y="191261"/>
                  </a:lnTo>
                  <a:lnTo>
                    <a:pt x="168365" y="191546"/>
                  </a:lnTo>
                  <a:lnTo>
                    <a:pt x="168104" y="191752"/>
                  </a:lnTo>
                  <a:lnTo>
                    <a:pt x="166988" y="196586"/>
                  </a:lnTo>
                  <a:lnTo>
                    <a:pt x="166219" y="197514"/>
                  </a:lnTo>
                  <a:lnTo>
                    <a:pt x="165074" y="198368"/>
                  </a:lnTo>
                  <a:lnTo>
                    <a:pt x="162695" y="199199"/>
                  </a:lnTo>
                  <a:lnTo>
                    <a:pt x="161041" y="199537"/>
                  </a:lnTo>
                  <a:lnTo>
                    <a:pt x="159752" y="199958"/>
                  </a:lnTo>
                  <a:lnTo>
                    <a:pt x="155668" y="201977"/>
                  </a:lnTo>
                  <a:lnTo>
                    <a:pt x="153828" y="203189"/>
                  </a:lnTo>
                  <a:lnTo>
                    <a:pt x="152636" y="204711"/>
                  </a:lnTo>
                  <a:lnTo>
                    <a:pt x="152630" y="205587"/>
                  </a:lnTo>
                  <a:lnTo>
                    <a:pt x="154616" y="208160"/>
                  </a:lnTo>
                  <a:lnTo>
                    <a:pt x="156908" y="210815"/>
                  </a:lnTo>
                  <a:lnTo>
                    <a:pt x="156923" y="213149"/>
                  </a:lnTo>
                  <a:lnTo>
                    <a:pt x="155908" y="214893"/>
                  </a:lnTo>
                  <a:lnTo>
                    <a:pt x="155672" y="215567"/>
                  </a:lnTo>
                  <a:lnTo>
                    <a:pt x="156346" y="215820"/>
                  </a:lnTo>
                  <a:lnTo>
                    <a:pt x="157616" y="215917"/>
                  </a:lnTo>
                  <a:lnTo>
                    <a:pt x="158678" y="216217"/>
                  </a:lnTo>
                  <a:lnTo>
                    <a:pt x="159132" y="217443"/>
                  </a:lnTo>
                  <a:lnTo>
                    <a:pt x="158996" y="219578"/>
                  </a:lnTo>
                  <a:lnTo>
                    <a:pt x="158633" y="221575"/>
                  </a:lnTo>
                  <a:lnTo>
                    <a:pt x="158253" y="222415"/>
                  </a:lnTo>
                  <a:lnTo>
                    <a:pt x="157229" y="222482"/>
                  </a:lnTo>
                  <a:lnTo>
                    <a:pt x="155258" y="221619"/>
                  </a:lnTo>
                  <a:lnTo>
                    <a:pt x="153720" y="220616"/>
                  </a:lnTo>
                  <a:lnTo>
                    <a:pt x="153133" y="219999"/>
                  </a:lnTo>
                  <a:lnTo>
                    <a:pt x="153096" y="219261"/>
                  </a:lnTo>
                  <a:lnTo>
                    <a:pt x="153429" y="218795"/>
                  </a:lnTo>
                  <a:lnTo>
                    <a:pt x="152880" y="217885"/>
                  </a:lnTo>
                  <a:lnTo>
                    <a:pt x="150989" y="217044"/>
                  </a:lnTo>
                  <a:lnTo>
                    <a:pt x="148963" y="217410"/>
                  </a:lnTo>
                  <a:lnTo>
                    <a:pt x="147467" y="217977"/>
                  </a:lnTo>
                  <a:lnTo>
                    <a:pt x="146502" y="217944"/>
                  </a:lnTo>
                  <a:lnTo>
                    <a:pt x="145459" y="217134"/>
                  </a:lnTo>
                  <a:lnTo>
                    <a:pt x="143854" y="216514"/>
                  </a:lnTo>
                  <a:lnTo>
                    <a:pt x="141757" y="216105"/>
                  </a:lnTo>
                  <a:lnTo>
                    <a:pt x="140451" y="215668"/>
                  </a:lnTo>
                  <a:lnTo>
                    <a:pt x="140176" y="215926"/>
                  </a:lnTo>
                  <a:lnTo>
                    <a:pt x="140330" y="217679"/>
                  </a:lnTo>
                  <a:lnTo>
                    <a:pt x="139928" y="218444"/>
                  </a:lnTo>
                  <a:lnTo>
                    <a:pt x="129561" y="219456"/>
                  </a:lnTo>
                  <a:lnTo>
                    <a:pt x="126402" y="220404"/>
                  </a:lnTo>
                  <a:lnTo>
                    <a:pt x="124102" y="221629"/>
                  </a:lnTo>
                  <a:lnTo>
                    <a:pt x="122400" y="222160"/>
                  </a:lnTo>
                  <a:lnTo>
                    <a:pt x="121984" y="222915"/>
                  </a:lnTo>
                  <a:lnTo>
                    <a:pt x="120299" y="223906"/>
                  </a:lnTo>
                  <a:lnTo>
                    <a:pt x="118397" y="224223"/>
                  </a:lnTo>
                  <a:lnTo>
                    <a:pt x="117939" y="223898"/>
                  </a:lnTo>
                  <a:lnTo>
                    <a:pt x="116719" y="224356"/>
                  </a:lnTo>
                  <a:lnTo>
                    <a:pt x="114640" y="224797"/>
                  </a:lnTo>
                  <a:lnTo>
                    <a:pt x="113288" y="224657"/>
                  </a:lnTo>
                  <a:lnTo>
                    <a:pt x="112653" y="223856"/>
                  </a:lnTo>
                  <a:lnTo>
                    <a:pt x="111366" y="222629"/>
                  </a:lnTo>
                  <a:lnTo>
                    <a:pt x="110850" y="221778"/>
                  </a:lnTo>
                  <a:lnTo>
                    <a:pt x="110904" y="221233"/>
                  </a:lnTo>
                  <a:lnTo>
                    <a:pt x="107997" y="221123"/>
                  </a:lnTo>
                  <a:lnTo>
                    <a:pt x="106164" y="220475"/>
                  </a:lnTo>
                  <a:lnTo>
                    <a:pt x="102275" y="220627"/>
                  </a:lnTo>
                  <a:lnTo>
                    <a:pt x="101316" y="220353"/>
                  </a:lnTo>
                  <a:lnTo>
                    <a:pt x="101116" y="220647"/>
                  </a:lnTo>
                  <a:lnTo>
                    <a:pt x="100530" y="224128"/>
                  </a:lnTo>
                  <a:lnTo>
                    <a:pt x="99761" y="225556"/>
                  </a:lnTo>
                  <a:lnTo>
                    <a:pt x="98515" y="227030"/>
                  </a:lnTo>
                  <a:lnTo>
                    <a:pt x="96920" y="227850"/>
                  </a:lnTo>
                  <a:lnTo>
                    <a:pt x="95646" y="227999"/>
                  </a:lnTo>
                  <a:lnTo>
                    <a:pt x="95706" y="226925"/>
                  </a:lnTo>
                  <a:lnTo>
                    <a:pt x="96028" y="225630"/>
                  </a:lnTo>
                  <a:lnTo>
                    <a:pt x="95110" y="225326"/>
                  </a:lnTo>
                  <a:lnTo>
                    <a:pt x="93732" y="225177"/>
                  </a:lnTo>
                  <a:lnTo>
                    <a:pt x="93065" y="224791"/>
                  </a:lnTo>
                  <a:lnTo>
                    <a:pt x="93240" y="223805"/>
                  </a:lnTo>
                  <a:lnTo>
                    <a:pt x="92923" y="223229"/>
                  </a:lnTo>
                  <a:lnTo>
                    <a:pt x="92353" y="222541"/>
                  </a:lnTo>
                  <a:lnTo>
                    <a:pt x="90971" y="221651"/>
                  </a:lnTo>
                  <a:lnTo>
                    <a:pt x="88042" y="220332"/>
                  </a:lnTo>
                  <a:lnTo>
                    <a:pt x="86047" y="219680"/>
                  </a:lnTo>
                  <a:lnTo>
                    <a:pt x="85300" y="220374"/>
                  </a:lnTo>
                  <a:lnTo>
                    <a:pt x="83873" y="221074"/>
                  </a:lnTo>
                  <a:lnTo>
                    <a:pt x="81625" y="220845"/>
                  </a:lnTo>
                  <a:lnTo>
                    <a:pt x="81074" y="221120"/>
                  </a:lnTo>
                  <a:lnTo>
                    <a:pt x="77226" y="219023"/>
                  </a:lnTo>
                  <a:lnTo>
                    <a:pt x="73529" y="217005"/>
                  </a:lnTo>
                  <a:lnTo>
                    <a:pt x="72307" y="217005"/>
                  </a:lnTo>
                  <a:lnTo>
                    <a:pt x="66859" y="217408"/>
                  </a:lnTo>
                  <a:lnTo>
                    <a:pt x="66701" y="217230"/>
                  </a:lnTo>
                  <a:lnTo>
                    <a:pt x="65753" y="216080"/>
                  </a:lnTo>
                  <a:lnTo>
                    <a:pt x="64911" y="215716"/>
                  </a:lnTo>
                  <a:lnTo>
                    <a:pt x="64404" y="215903"/>
                  </a:lnTo>
                  <a:lnTo>
                    <a:pt x="64065" y="216237"/>
                  </a:lnTo>
                  <a:lnTo>
                    <a:pt x="63480" y="216180"/>
                  </a:lnTo>
                  <a:lnTo>
                    <a:pt x="61037" y="214322"/>
                  </a:lnTo>
                  <a:lnTo>
                    <a:pt x="60038" y="214054"/>
                  </a:lnTo>
                  <a:lnTo>
                    <a:pt x="58649" y="214300"/>
                  </a:lnTo>
                  <a:lnTo>
                    <a:pt x="57010" y="215300"/>
                  </a:lnTo>
                  <a:lnTo>
                    <a:pt x="56295" y="216525"/>
                  </a:lnTo>
                  <a:lnTo>
                    <a:pt x="56513" y="217230"/>
                  </a:lnTo>
                  <a:lnTo>
                    <a:pt x="57364" y="217537"/>
                  </a:lnTo>
                  <a:lnTo>
                    <a:pt x="59588" y="217331"/>
                  </a:lnTo>
                  <a:lnTo>
                    <a:pt x="59914" y="217534"/>
                  </a:lnTo>
                  <a:lnTo>
                    <a:pt x="59990" y="217930"/>
                  </a:lnTo>
                  <a:lnTo>
                    <a:pt x="59746" y="218318"/>
                  </a:lnTo>
                  <a:lnTo>
                    <a:pt x="57937" y="218636"/>
                  </a:lnTo>
                  <a:lnTo>
                    <a:pt x="57414" y="219099"/>
                  </a:lnTo>
                  <a:lnTo>
                    <a:pt x="56885" y="219213"/>
                  </a:lnTo>
                  <a:lnTo>
                    <a:pt x="56546" y="219285"/>
                  </a:lnTo>
                  <a:lnTo>
                    <a:pt x="54624" y="218798"/>
                  </a:lnTo>
                  <a:lnTo>
                    <a:pt x="51759" y="218798"/>
                  </a:lnTo>
                  <a:lnTo>
                    <a:pt x="49448" y="219662"/>
                  </a:lnTo>
                  <a:lnTo>
                    <a:pt x="45762" y="220007"/>
                  </a:lnTo>
                  <a:lnTo>
                    <a:pt x="40698" y="219838"/>
                  </a:lnTo>
                  <a:lnTo>
                    <a:pt x="38876" y="219197"/>
                  </a:lnTo>
                  <a:lnTo>
                    <a:pt x="37766" y="218809"/>
                  </a:lnTo>
                  <a:lnTo>
                    <a:pt x="36969" y="216916"/>
                  </a:lnTo>
                  <a:lnTo>
                    <a:pt x="37172" y="214110"/>
                  </a:lnTo>
                  <a:lnTo>
                    <a:pt x="38381" y="210391"/>
                  </a:lnTo>
                  <a:lnTo>
                    <a:pt x="38718" y="207658"/>
                  </a:lnTo>
                  <a:lnTo>
                    <a:pt x="38180" y="205916"/>
                  </a:lnTo>
                  <a:lnTo>
                    <a:pt x="38897" y="203303"/>
                  </a:lnTo>
                  <a:lnTo>
                    <a:pt x="40867" y="199818"/>
                  </a:lnTo>
                  <a:lnTo>
                    <a:pt x="42182" y="196136"/>
                  </a:lnTo>
                  <a:lnTo>
                    <a:pt x="42838" y="192255"/>
                  </a:lnTo>
                  <a:lnTo>
                    <a:pt x="43792" y="189722"/>
                  </a:lnTo>
                  <a:lnTo>
                    <a:pt x="45667" y="187945"/>
                  </a:lnTo>
                  <a:lnTo>
                    <a:pt x="50117" y="182971"/>
                  </a:lnTo>
                  <a:lnTo>
                    <a:pt x="50478" y="182596"/>
                  </a:lnTo>
                  <a:lnTo>
                    <a:pt x="50357" y="180111"/>
                  </a:lnTo>
                  <a:lnTo>
                    <a:pt x="49158" y="179760"/>
                  </a:lnTo>
                  <a:lnTo>
                    <a:pt x="47403" y="179046"/>
                  </a:lnTo>
                  <a:lnTo>
                    <a:pt x="42935" y="178162"/>
                  </a:lnTo>
                  <a:lnTo>
                    <a:pt x="38772" y="177595"/>
                  </a:lnTo>
                  <a:lnTo>
                    <a:pt x="36882" y="176892"/>
                  </a:lnTo>
                  <a:lnTo>
                    <a:pt x="35226" y="175011"/>
                  </a:lnTo>
                  <a:lnTo>
                    <a:pt x="34200" y="174986"/>
                  </a:lnTo>
                  <a:lnTo>
                    <a:pt x="32192" y="175659"/>
                  </a:lnTo>
                  <a:lnTo>
                    <a:pt x="29683" y="176114"/>
                  </a:lnTo>
                  <a:lnTo>
                    <a:pt x="27859" y="175716"/>
                  </a:lnTo>
                  <a:lnTo>
                    <a:pt x="26716" y="175793"/>
                  </a:lnTo>
                  <a:lnTo>
                    <a:pt x="26075" y="176140"/>
                  </a:lnTo>
                  <a:lnTo>
                    <a:pt x="25753" y="175833"/>
                  </a:lnTo>
                  <a:lnTo>
                    <a:pt x="25295" y="174220"/>
                  </a:lnTo>
                  <a:lnTo>
                    <a:pt x="24341" y="173798"/>
                  </a:lnTo>
                  <a:lnTo>
                    <a:pt x="22857" y="173429"/>
                  </a:lnTo>
                  <a:lnTo>
                    <a:pt x="21935" y="173589"/>
                  </a:lnTo>
                  <a:lnTo>
                    <a:pt x="21298" y="174390"/>
                  </a:lnTo>
                  <a:lnTo>
                    <a:pt x="20316" y="174955"/>
                  </a:lnTo>
                  <a:lnTo>
                    <a:pt x="19413" y="174771"/>
                  </a:lnTo>
                  <a:lnTo>
                    <a:pt x="16586" y="171044"/>
                  </a:lnTo>
                  <a:lnTo>
                    <a:pt x="15858" y="170219"/>
                  </a:lnTo>
                  <a:lnTo>
                    <a:pt x="15673" y="169460"/>
                  </a:lnTo>
                  <a:lnTo>
                    <a:pt x="14965" y="168071"/>
                  </a:lnTo>
                  <a:lnTo>
                    <a:pt x="13280" y="166689"/>
                  </a:lnTo>
                  <a:lnTo>
                    <a:pt x="11603" y="166251"/>
                  </a:lnTo>
                  <a:lnTo>
                    <a:pt x="10765" y="166406"/>
                  </a:lnTo>
                  <a:lnTo>
                    <a:pt x="10855" y="164686"/>
                  </a:lnTo>
                  <a:lnTo>
                    <a:pt x="11516" y="162190"/>
                  </a:lnTo>
                  <a:lnTo>
                    <a:pt x="12144" y="160886"/>
                  </a:lnTo>
                  <a:lnTo>
                    <a:pt x="12982" y="159820"/>
                  </a:lnTo>
                  <a:lnTo>
                    <a:pt x="13870" y="159079"/>
                  </a:lnTo>
                  <a:lnTo>
                    <a:pt x="14069" y="157738"/>
                  </a:lnTo>
                  <a:lnTo>
                    <a:pt x="13926" y="156469"/>
                  </a:lnTo>
                  <a:lnTo>
                    <a:pt x="12900" y="156272"/>
                  </a:lnTo>
                  <a:lnTo>
                    <a:pt x="10329" y="155334"/>
                  </a:lnTo>
                  <a:lnTo>
                    <a:pt x="8813" y="154346"/>
                  </a:lnTo>
                  <a:lnTo>
                    <a:pt x="7681" y="153108"/>
                  </a:lnTo>
                  <a:lnTo>
                    <a:pt x="6206" y="151401"/>
                  </a:lnTo>
                  <a:lnTo>
                    <a:pt x="5578" y="149667"/>
                  </a:lnTo>
                  <a:lnTo>
                    <a:pt x="5546" y="147938"/>
                  </a:lnTo>
                  <a:lnTo>
                    <a:pt x="5727" y="147164"/>
                  </a:lnTo>
                  <a:lnTo>
                    <a:pt x="5833" y="146633"/>
                  </a:lnTo>
                  <a:lnTo>
                    <a:pt x="7023" y="143934"/>
                  </a:lnTo>
                  <a:lnTo>
                    <a:pt x="11210" y="141516"/>
                  </a:lnTo>
                  <a:lnTo>
                    <a:pt x="10749" y="139079"/>
                  </a:lnTo>
                  <a:lnTo>
                    <a:pt x="10689" y="137584"/>
                  </a:lnTo>
                  <a:lnTo>
                    <a:pt x="9672" y="136605"/>
                  </a:lnTo>
                  <a:lnTo>
                    <a:pt x="7640" y="136209"/>
                  </a:lnTo>
                  <a:lnTo>
                    <a:pt x="7102" y="135530"/>
                  </a:lnTo>
                  <a:lnTo>
                    <a:pt x="6876" y="134867"/>
                  </a:lnTo>
                  <a:lnTo>
                    <a:pt x="8368" y="133375"/>
                  </a:lnTo>
                  <a:lnTo>
                    <a:pt x="6567" y="132195"/>
                  </a:lnTo>
                  <a:lnTo>
                    <a:pt x="5792" y="130974"/>
                  </a:lnTo>
                  <a:lnTo>
                    <a:pt x="3282" y="129432"/>
                  </a:lnTo>
                  <a:lnTo>
                    <a:pt x="3017" y="128901"/>
                  </a:lnTo>
                  <a:lnTo>
                    <a:pt x="4222" y="124399"/>
                  </a:lnTo>
                  <a:lnTo>
                    <a:pt x="3302" y="123084"/>
                  </a:lnTo>
                  <a:lnTo>
                    <a:pt x="2157" y="122413"/>
                  </a:lnTo>
                  <a:lnTo>
                    <a:pt x="823" y="122083"/>
                  </a:lnTo>
                  <a:lnTo>
                    <a:pt x="214" y="121457"/>
                  </a:lnTo>
                  <a:lnTo>
                    <a:pt x="0" y="120742"/>
                  </a:lnTo>
                  <a:lnTo>
                    <a:pt x="240" y="120299"/>
                  </a:lnTo>
                  <a:lnTo>
                    <a:pt x="1807" y="120430"/>
                  </a:lnTo>
                  <a:lnTo>
                    <a:pt x="2289" y="119966"/>
                  </a:lnTo>
                  <a:lnTo>
                    <a:pt x="6025" y="117313"/>
                  </a:lnTo>
                  <a:lnTo>
                    <a:pt x="6178" y="116803"/>
                  </a:lnTo>
                  <a:lnTo>
                    <a:pt x="5658" y="116514"/>
                  </a:lnTo>
                  <a:lnTo>
                    <a:pt x="4973" y="116360"/>
                  </a:lnTo>
                  <a:lnTo>
                    <a:pt x="4805" y="115802"/>
                  </a:lnTo>
                  <a:lnTo>
                    <a:pt x="4829" y="115067"/>
                  </a:lnTo>
                  <a:lnTo>
                    <a:pt x="6826" y="111235"/>
                  </a:lnTo>
                  <a:lnTo>
                    <a:pt x="7416" y="109599"/>
                  </a:lnTo>
                  <a:lnTo>
                    <a:pt x="7547" y="108442"/>
                  </a:lnTo>
                  <a:lnTo>
                    <a:pt x="7424" y="107299"/>
                  </a:lnTo>
                  <a:lnTo>
                    <a:pt x="6282" y="105500"/>
                  </a:lnTo>
                  <a:lnTo>
                    <a:pt x="5165" y="104064"/>
                  </a:lnTo>
                  <a:lnTo>
                    <a:pt x="5127" y="102920"/>
                  </a:lnTo>
                  <a:lnTo>
                    <a:pt x="4317" y="102318"/>
                  </a:lnTo>
                  <a:lnTo>
                    <a:pt x="2013" y="99249"/>
                  </a:lnTo>
                  <a:lnTo>
                    <a:pt x="2017" y="98061"/>
                  </a:lnTo>
                  <a:lnTo>
                    <a:pt x="3319" y="97138"/>
                  </a:lnTo>
                  <a:lnTo>
                    <a:pt x="5137" y="96549"/>
                  </a:lnTo>
                  <a:lnTo>
                    <a:pt x="5742" y="96063"/>
                  </a:lnTo>
                  <a:lnTo>
                    <a:pt x="6832" y="95757"/>
                  </a:lnTo>
                  <a:lnTo>
                    <a:pt x="9720" y="96644"/>
                  </a:lnTo>
                  <a:lnTo>
                    <a:pt x="11015" y="97413"/>
                  </a:lnTo>
                  <a:lnTo>
                    <a:pt x="11380" y="97254"/>
                  </a:lnTo>
                  <a:lnTo>
                    <a:pt x="12548" y="96417"/>
                  </a:lnTo>
                  <a:lnTo>
                    <a:pt x="14595" y="96549"/>
                  </a:lnTo>
                  <a:lnTo>
                    <a:pt x="19553" y="94867"/>
                  </a:lnTo>
                  <a:lnTo>
                    <a:pt x="20292" y="94058"/>
                  </a:lnTo>
                  <a:lnTo>
                    <a:pt x="20849" y="93198"/>
                  </a:lnTo>
                  <a:lnTo>
                    <a:pt x="20894" y="92820"/>
                  </a:lnTo>
                  <a:lnTo>
                    <a:pt x="18975" y="91164"/>
                  </a:lnTo>
                  <a:lnTo>
                    <a:pt x="18916" y="90551"/>
                  </a:lnTo>
                  <a:lnTo>
                    <a:pt x="19171" y="89860"/>
                  </a:lnTo>
                  <a:lnTo>
                    <a:pt x="19713" y="89314"/>
                  </a:lnTo>
                  <a:lnTo>
                    <a:pt x="20849" y="88943"/>
                  </a:lnTo>
                  <a:lnTo>
                    <a:pt x="22058" y="88215"/>
                  </a:lnTo>
                  <a:lnTo>
                    <a:pt x="24759" y="86149"/>
                  </a:lnTo>
                  <a:lnTo>
                    <a:pt x="25697" y="84355"/>
                  </a:lnTo>
                  <a:lnTo>
                    <a:pt x="25984" y="82411"/>
                  </a:lnTo>
                  <a:lnTo>
                    <a:pt x="26040" y="80964"/>
                  </a:lnTo>
                  <a:lnTo>
                    <a:pt x="25304" y="79812"/>
                  </a:lnTo>
                  <a:lnTo>
                    <a:pt x="24559" y="79066"/>
                  </a:lnTo>
                  <a:lnTo>
                    <a:pt x="23540" y="79179"/>
                  </a:lnTo>
                  <a:lnTo>
                    <a:pt x="21559" y="79120"/>
                  </a:lnTo>
                  <a:lnTo>
                    <a:pt x="19709" y="78473"/>
                  </a:lnTo>
                  <a:lnTo>
                    <a:pt x="18694" y="77426"/>
                  </a:lnTo>
                  <a:lnTo>
                    <a:pt x="18444" y="76505"/>
                  </a:lnTo>
                  <a:lnTo>
                    <a:pt x="18903" y="75925"/>
                  </a:lnTo>
                  <a:lnTo>
                    <a:pt x="19044" y="75212"/>
                  </a:lnTo>
                  <a:lnTo>
                    <a:pt x="18748" y="74495"/>
                  </a:lnTo>
                  <a:lnTo>
                    <a:pt x="18867" y="73893"/>
                  </a:lnTo>
                  <a:lnTo>
                    <a:pt x="19700" y="73410"/>
                  </a:lnTo>
                  <a:lnTo>
                    <a:pt x="25554" y="73426"/>
                  </a:lnTo>
                  <a:lnTo>
                    <a:pt x="25993" y="72895"/>
                  </a:lnTo>
                  <a:lnTo>
                    <a:pt x="26388" y="70108"/>
                  </a:lnTo>
                  <a:lnTo>
                    <a:pt x="27852" y="65859"/>
                  </a:lnTo>
                  <a:lnTo>
                    <a:pt x="29232" y="63490"/>
                  </a:lnTo>
                  <a:lnTo>
                    <a:pt x="29463" y="62493"/>
                  </a:lnTo>
                  <a:lnTo>
                    <a:pt x="29441" y="56866"/>
                  </a:lnTo>
                  <a:lnTo>
                    <a:pt x="29625" y="54011"/>
                  </a:lnTo>
                  <a:lnTo>
                    <a:pt x="28625" y="52668"/>
                  </a:lnTo>
                  <a:lnTo>
                    <a:pt x="26442" y="51197"/>
                  </a:lnTo>
                  <a:lnTo>
                    <a:pt x="26906" y="48132"/>
                  </a:lnTo>
                  <a:lnTo>
                    <a:pt x="27632" y="45741"/>
                  </a:lnTo>
                  <a:lnTo>
                    <a:pt x="29828" y="42797"/>
                  </a:lnTo>
                  <a:lnTo>
                    <a:pt x="31570" y="41987"/>
                  </a:lnTo>
                  <a:lnTo>
                    <a:pt x="39176" y="41506"/>
                  </a:lnTo>
                  <a:lnTo>
                    <a:pt x="47580" y="41704"/>
                  </a:lnTo>
                  <a:lnTo>
                    <a:pt x="51069" y="46150"/>
                  </a:lnTo>
                  <a:lnTo>
                    <a:pt x="49774" y="48432"/>
                  </a:lnTo>
                  <a:lnTo>
                    <a:pt x="51814" y="49494"/>
                  </a:lnTo>
                  <a:lnTo>
                    <a:pt x="52797" y="49106"/>
                  </a:lnTo>
                  <a:lnTo>
                    <a:pt x="53544" y="47121"/>
                  </a:lnTo>
                  <a:lnTo>
                    <a:pt x="54043" y="44922"/>
                  </a:lnTo>
                  <a:lnTo>
                    <a:pt x="54758" y="44256"/>
                  </a:lnTo>
                  <a:lnTo>
                    <a:pt x="57356" y="45900"/>
                  </a:lnTo>
                  <a:lnTo>
                    <a:pt x="58269" y="47026"/>
                  </a:lnTo>
                  <a:lnTo>
                    <a:pt x="58325" y="50644"/>
                  </a:lnTo>
                  <a:lnTo>
                    <a:pt x="59282" y="45743"/>
                  </a:lnTo>
                  <a:lnTo>
                    <a:pt x="58569" y="42307"/>
                  </a:lnTo>
                  <a:lnTo>
                    <a:pt x="59059" y="38972"/>
                  </a:lnTo>
                  <a:lnTo>
                    <a:pt x="60102" y="37235"/>
                  </a:lnTo>
                  <a:lnTo>
                    <a:pt x="61061" y="36130"/>
                  </a:lnTo>
                  <a:lnTo>
                    <a:pt x="67226" y="37320"/>
                  </a:lnTo>
                  <a:lnTo>
                    <a:pt x="74032" y="36706"/>
                  </a:lnTo>
                  <a:lnTo>
                    <a:pt x="76606" y="37992"/>
                  </a:lnTo>
                  <a:lnTo>
                    <a:pt x="82430" y="44428"/>
                  </a:lnTo>
                  <a:lnTo>
                    <a:pt x="84372" y="45480"/>
                  </a:lnTo>
                  <a:lnTo>
                    <a:pt x="86822" y="45811"/>
                  </a:lnTo>
                  <a:lnTo>
                    <a:pt x="83445" y="44437"/>
                  </a:lnTo>
                  <a:lnTo>
                    <a:pt x="76386" y="36610"/>
                  </a:lnTo>
                  <a:lnTo>
                    <a:pt x="74272" y="35639"/>
                  </a:lnTo>
                  <a:lnTo>
                    <a:pt x="71027" y="35344"/>
                  </a:lnTo>
                  <a:lnTo>
                    <a:pt x="69003" y="34578"/>
                  </a:lnTo>
                  <a:lnTo>
                    <a:pt x="67727" y="33392"/>
                  </a:lnTo>
                  <a:lnTo>
                    <a:pt x="67353" y="32332"/>
                  </a:lnTo>
                  <a:lnTo>
                    <a:pt x="67423" y="24417"/>
                  </a:lnTo>
                  <a:lnTo>
                    <a:pt x="66205" y="23237"/>
                  </a:lnTo>
                  <a:lnTo>
                    <a:pt x="64631" y="22826"/>
                  </a:lnTo>
                  <a:lnTo>
                    <a:pt x="63650" y="23369"/>
                  </a:lnTo>
                  <a:lnTo>
                    <a:pt x="61636" y="23376"/>
                  </a:lnTo>
                  <a:lnTo>
                    <a:pt x="61212" y="21579"/>
                  </a:lnTo>
                  <a:lnTo>
                    <a:pt x="61704" y="20247"/>
                  </a:lnTo>
                  <a:lnTo>
                    <a:pt x="65753" y="19336"/>
                  </a:lnTo>
                  <a:lnTo>
                    <a:pt x="68422" y="18114"/>
                  </a:lnTo>
                  <a:lnTo>
                    <a:pt x="68541" y="15954"/>
                  </a:lnTo>
                  <a:lnTo>
                    <a:pt x="66855" y="14254"/>
                  </a:lnTo>
                  <a:lnTo>
                    <a:pt x="64836" y="11133"/>
                  </a:lnTo>
                  <a:lnTo>
                    <a:pt x="62463" y="8196"/>
                  </a:lnTo>
                  <a:close/>
                  <a:moveTo>
                    <a:pt x="56334" y="0"/>
                  </a:moveTo>
                  <a:lnTo>
                    <a:pt x="57358" y="103"/>
                  </a:lnTo>
                  <a:lnTo>
                    <a:pt x="56310" y="1353"/>
                  </a:lnTo>
                  <a:lnTo>
                    <a:pt x="56008" y="2228"/>
                  </a:lnTo>
                  <a:lnTo>
                    <a:pt x="55583" y="3975"/>
                  </a:lnTo>
                  <a:lnTo>
                    <a:pt x="55775" y="4882"/>
                  </a:lnTo>
                  <a:lnTo>
                    <a:pt x="61296" y="5131"/>
                  </a:lnTo>
                  <a:lnTo>
                    <a:pt x="60655" y="5940"/>
                  </a:lnTo>
                  <a:lnTo>
                    <a:pt x="55056" y="6486"/>
                  </a:lnTo>
                  <a:lnTo>
                    <a:pt x="54179" y="8345"/>
                  </a:lnTo>
                  <a:lnTo>
                    <a:pt x="53669" y="8954"/>
                  </a:lnTo>
                  <a:lnTo>
                    <a:pt x="53913" y="4623"/>
                  </a:lnTo>
                  <a:close/>
                </a:path>
              </a:pathLst>
            </a:custGeom>
            <a:solidFill>
              <a:srgbClr val="A3BA1E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41" name="ee4p_DK_1_82333">
              <a:extLst>
                <a:ext uri="{FF2B5EF4-FFF2-40B4-BE49-F238E27FC236}">
                  <a16:creationId xmlns:a16="http://schemas.microsoft.com/office/drawing/2014/main" id="{160AEF05-3D36-E672-90A8-24DCC7557721}"/>
                </a:ext>
              </a:extLst>
            </p:cNvPr>
            <p:cNvSpPr>
              <a:spLocks noChangeAspect="1"/>
            </p:cNvSpPr>
            <p:nvPr>
              <p:custDataLst>
                <p:tags r:id="rId69"/>
              </p:custDataLst>
            </p:nvPr>
          </p:nvSpPr>
          <p:spPr>
            <a:xfrm>
              <a:off x="6740227" y="2814529"/>
              <a:ext cx="194819" cy="125295"/>
            </a:xfrm>
            <a:custGeom>
              <a:avLst/>
              <a:gdLst>
                <a:gd name="connsiteX0" fmla="*/ 69366 w 155130"/>
                <a:gd name="connsiteY0" fmla="*/ 87225 h 97125"/>
                <a:gd name="connsiteX1" fmla="*/ 71642 w 155130"/>
                <a:gd name="connsiteY1" fmla="*/ 89072 h 97125"/>
                <a:gd name="connsiteX2" fmla="*/ 75555 w 155130"/>
                <a:gd name="connsiteY2" fmla="*/ 90976 h 97125"/>
                <a:gd name="connsiteX3" fmla="*/ 78202 w 155130"/>
                <a:gd name="connsiteY3" fmla="*/ 90867 h 97125"/>
                <a:gd name="connsiteX4" fmla="*/ 80003 w 155130"/>
                <a:gd name="connsiteY4" fmla="*/ 91656 h 97125"/>
                <a:gd name="connsiteX5" fmla="*/ 80433 w 155130"/>
                <a:gd name="connsiteY5" fmla="*/ 92874 h 97125"/>
                <a:gd name="connsiteX6" fmla="*/ 80586 w 155130"/>
                <a:gd name="connsiteY6" fmla="*/ 95577 h 97125"/>
                <a:gd name="connsiteX7" fmla="*/ 78695 w 155130"/>
                <a:gd name="connsiteY7" fmla="*/ 96364 h 97125"/>
                <a:gd name="connsiteX8" fmla="*/ 76607 w 155130"/>
                <a:gd name="connsiteY8" fmla="*/ 96097 h 97125"/>
                <a:gd name="connsiteX9" fmla="*/ 73765 w 155130"/>
                <a:gd name="connsiteY9" fmla="*/ 97125 h 97125"/>
                <a:gd name="connsiteX10" fmla="*/ 64436 w 155130"/>
                <a:gd name="connsiteY10" fmla="*/ 92708 h 97125"/>
                <a:gd name="connsiteX11" fmla="*/ 64572 w 155130"/>
                <a:gd name="connsiteY11" fmla="*/ 89020 h 97125"/>
                <a:gd name="connsiteX12" fmla="*/ 64946 w 155130"/>
                <a:gd name="connsiteY12" fmla="*/ 87570 h 97125"/>
                <a:gd name="connsiteX13" fmla="*/ 45958 w 155130"/>
                <a:gd name="connsiteY13" fmla="*/ 86889 h 97125"/>
                <a:gd name="connsiteX14" fmla="*/ 47410 w 155130"/>
                <a:gd name="connsiteY14" fmla="*/ 87316 h 97125"/>
                <a:gd name="connsiteX15" fmla="*/ 49211 w 155130"/>
                <a:gd name="connsiteY15" fmla="*/ 88633 h 97125"/>
                <a:gd name="connsiteX16" fmla="*/ 50685 w 155130"/>
                <a:gd name="connsiteY16" fmla="*/ 88913 h 97125"/>
                <a:gd name="connsiteX17" fmla="*/ 52702 w 155130"/>
                <a:gd name="connsiteY17" fmla="*/ 90027 h 97125"/>
                <a:gd name="connsiteX18" fmla="*/ 52249 w 155130"/>
                <a:gd name="connsiteY18" fmla="*/ 90425 h 97125"/>
                <a:gd name="connsiteX19" fmla="*/ 50765 w 155130"/>
                <a:gd name="connsiteY19" fmla="*/ 90744 h 97125"/>
                <a:gd name="connsiteX20" fmla="*/ 49068 w 155130"/>
                <a:gd name="connsiteY20" fmla="*/ 90076 h 97125"/>
                <a:gd name="connsiteX21" fmla="*/ 46306 w 155130"/>
                <a:gd name="connsiteY21" fmla="*/ 87558 h 97125"/>
                <a:gd name="connsiteX22" fmla="*/ 91822 w 155130"/>
                <a:gd name="connsiteY22" fmla="*/ 83772 h 97125"/>
                <a:gd name="connsiteX23" fmla="*/ 92618 w 155130"/>
                <a:gd name="connsiteY23" fmla="*/ 84486 h 97125"/>
                <a:gd name="connsiteX24" fmla="*/ 94987 w 155130"/>
                <a:gd name="connsiteY24" fmla="*/ 84785 h 97125"/>
                <a:gd name="connsiteX25" fmla="*/ 96145 w 155130"/>
                <a:gd name="connsiteY25" fmla="*/ 85207 h 97125"/>
                <a:gd name="connsiteX26" fmla="*/ 97112 w 155130"/>
                <a:gd name="connsiteY26" fmla="*/ 85827 h 97125"/>
                <a:gd name="connsiteX27" fmla="*/ 97907 w 155130"/>
                <a:gd name="connsiteY27" fmla="*/ 86796 h 97125"/>
                <a:gd name="connsiteX28" fmla="*/ 97062 w 155130"/>
                <a:gd name="connsiteY28" fmla="*/ 87254 h 97125"/>
                <a:gd name="connsiteX29" fmla="*/ 93668 w 155130"/>
                <a:gd name="connsiteY29" fmla="*/ 86918 h 97125"/>
                <a:gd name="connsiteX30" fmla="*/ 89841 w 155130"/>
                <a:gd name="connsiteY30" fmla="*/ 89047 h 97125"/>
                <a:gd name="connsiteX31" fmla="*/ 88390 w 155130"/>
                <a:gd name="connsiteY31" fmla="*/ 88374 h 97125"/>
                <a:gd name="connsiteX32" fmla="*/ 88939 w 155130"/>
                <a:gd name="connsiteY32" fmla="*/ 87014 h 97125"/>
                <a:gd name="connsiteX33" fmla="*/ 89338 w 155130"/>
                <a:gd name="connsiteY33" fmla="*/ 86518 h 97125"/>
                <a:gd name="connsiteX34" fmla="*/ 90625 w 155130"/>
                <a:gd name="connsiteY34" fmla="*/ 85941 h 97125"/>
                <a:gd name="connsiteX35" fmla="*/ 91485 w 155130"/>
                <a:gd name="connsiteY35" fmla="*/ 85096 h 97125"/>
                <a:gd name="connsiteX36" fmla="*/ 36701 w 155130"/>
                <a:gd name="connsiteY36" fmla="*/ 83621 h 97125"/>
                <a:gd name="connsiteX37" fmla="*/ 37787 w 155130"/>
                <a:gd name="connsiteY37" fmla="*/ 83953 h 97125"/>
                <a:gd name="connsiteX38" fmla="*/ 41512 w 155130"/>
                <a:gd name="connsiteY38" fmla="*/ 86160 h 97125"/>
                <a:gd name="connsiteX39" fmla="*/ 42814 w 155130"/>
                <a:gd name="connsiteY39" fmla="*/ 88573 h 97125"/>
                <a:gd name="connsiteX40" fmla="*/ 42892 w 155130"/>
                <a:gd name="connsiteY40" fmla="*/ 89234 h 97125"/>
                <a:gd name="connsiteX41" fmla="*/ 40590 w 155130"/>
                <a:gd name="connsiteY41" fmla="*/ 89661 h 97125"/>
                <a:gd name="connsiteX42" fmla="*/ 39413 w 155130"/>
                <a:gd name="connsiteY42" fmla="*/ 88919 h 97125"/>
                <a:gd name="connsiteX43" fmla="*/ 37254 w 155130"/>
                <a:gd name="connsiteY43" fmla="*/ 88632 h 97125"/>
                <a:gd name="connsiteX44" fmla="*/ 36479 w 155130"/>
                <a:gd name="connsiteY44" fmla="*/ 83902 h 97125"/>
                <a:gd name="connsiteX45" fmla="*/ 61992 w 155130"/>
                <a:gd name="connsiteY45" fmla="*/ 80886 h 97125"/>
                <a:gd name="connsiteX46" fmla="*/ 62568 w 155130"/>
                <a:gd name="connsiteY46" fmla="*/ 80938 h 97125"/>
                <a:gd name="connsiteX47" fmla="*/ 61899 w 155130"/>
                <a:gd name="connsiteY47" fmla="*/ 83834 h 97125"/>
                <a:gd name="connsiteX48" fmla="*/ 58459 w 155130"/>
                <a:gd name="connsiteY48" fmla="*/ 91894 h 97125"/>
                <a:gd name="connsiteX49" fmla="*/ 57770 w 155130"/>
                <a:gd name="connsiteY49" fmla="*/ 93394 h 97125"/>
                <a:gd name="connsiteX50" fmla="*/ 56790 w 155130"/>
                <a:gd name="connsiteY50" fmla="*/ 93567 h 97125"/>
                <a:gd name="connsiteX51" fmla="*/ 55457 w 155130"/>
                <a:gd name="connsiteY51" fmla="*/ 91084 h 97125"/>
                <a:gd name="connsiteX52" fmla="*/ 55285 w 155130"/>
                <a:gd name="connsiteY52" fmla="*/ 90307 h 97125"/>
                <a:gd name="connsiteX53" fmla="*/ 56850 w 155130"/>
                <a:gd name="connsiteY53" fmla="*/ 88716 h 97125"/>
                <a:gd name="connsiteX54" fmla="*/ 57863 w 155130"/>
                <a:gd name="connsiteY54" fmla="*/ 86912 h 97125"/>
                <a:gd name="connsiteX55" fmla="*/ 60482 w 155130"/>
                <a:gd name="connsiteY55" fmla="*/ 84139 h 97125"/>
                <a:gd name="connsiteX56" fmla="*/ 146910 w 155130"/>
                <a:gd name="connsiteY56" fmla="*/ 76604 h 97125"/>
                <a:gd name="connsiteX57" fmla="*/ 155031 w 155130"/>
                <a:gd name="connsiteY57" fmla="*/ 81297 h 97125"/>
                <a:gd name="connsiteX58" fmla="*/ 155130 w 155130"/>
                <a:gd name="connsiteY58" fmla="*/ 83063 h 97125"/>
                <a:gd name="connsiteX59" fmla="*/ 154038 w 155130"/>
                <a:gd name="connsiteY59" fmla="*/ 85072 h 97125"/>
                <a:gd name="connsiteX60" fmla="*/ 153222 w 155130"/>
                <a:gd name="connsiteY60" fmla="*/ 85592 h 97125"/>
                <a:gd name="connsiteX61" fmla="*/ 149568 w 155130"/>
                <a:gd name="connsiteY61" fmla="*/ 84731 h 97125"/>
                <a:gd name="connsiteX62" fmla="*/ 145115 w 155130"/>
                <a:gd name="connsiteY62" fmla="*/ 82599 h 97125"/>
                <a:gd name="connsiteX63" fmla="*/ 145767 w 155130"/>
                <a:gd name="connsiteY63" fmla="*/ 78415 h 97125"/>
                <a:gd name="connsiteX64" fmla="*/ 55309 w 155130"/>
                <a:gd name="connsiteY64" fmla="*/ 66827 h 97125"/>
                <a:gd name="connsiteX65" fmla="*/ 55803 w 155130"/>
                <a:gd name="connsiteY65" fmla="*/ 66921 h 97125"/>
                <a:gd name="connsiteX66" fmla="*/ 56725 w 155130"/>
                <a:gd name="connsiteY66" fmla="*/ 68538 h 97125"/>
                <a:gd name="connsiteX67" fmla="*/ 57859 w 155130"/>
                <a:gd name="connsiteY67" fmla="*/ 71982 h 97125"/>
                <a:gd name="connsiteX68" fmla="*/ 59653 w 155130"/>
                <a:gd name="connsiteY68" fmla="*/ 75828 h 97125"/>
                <a:gd name="connsiteX69" fmla="*/ 58904 w 155130"/>
                <a:gd name="connsiteY69" fmla="*/ 77436 h 97125"/>
                <a:gd name="connsiteX70" fmla="*/ 59413 w 155130"/>
                <a:gd name="connsiteY70" fmla="*/ 79495 h 97125"/>
                <a:gd name="connsiteX71" fmla="*/ 58902 w 155130"/>
                <a:gd name="connsiteY71" fmla="*/ 81640 h 97125"/>
                <a:gd name="connsiteX72" fmla="*/ 55332 w 155130"/>
                <a:gd name="connsiteY72" fmla="*/ 84132 h 97125"/>
                <a:gd name="connsiteX73" fmla="*/ 51329 w 155130"/>
                <a:gd name="connsiteY73" fmla="*/ 84244 h 97125"/>
                <a:gd name="connsiteX74" fmla="*/ 47168 w 155130"/>
                <a:gd name="connsiteY74" fmla="*/ 83041 h 97125"/>
                <a:gd name="connsiteX75" fmla="*/ 41290 w 155130"/>
                <a:gd name="connsiteY75" fmla="*/ 80722 h 97125"/>
                <a:gd name="connsiteX76" fmla="*/ 40817 w 155130"/>
                <a:gd name="connsiteY76" fmla="*/ 79419 h 97125"/>
                <a:gd name="connsiteX77" fmla="*/ 39992 w 155130"/>
                <a:gd name="connsiteY77" fmla="*/ 78697 h 97125"/>
                <a:gd name="connsiteX78" fmla="*/ 38420 w 155130"/>
                <a:gd name="connsiteY78" fmla="*/ 74737 h 97125"/>
                <a:gd name="connsiteX79" fmla="*/ 38457 w 155130"/>
                <a:gd name="connsiteY79" fmla="*/ 69843 h 97125"/>
                <a:gd name="connsiteX80" fmla="*/ 41411 w 155130"/>
                <a:gd name="connsiteY80" fmla="*/ 69229 h 97125"/>
                <a:gd name="connsiteX81" fmla="*/ 47865 w 155130"/>
                <a:gd name="connsiteY81" fmla="*/ 66889 h 97125"/>
                <a:gd name="connsiteX82" fmla="*/ 49357 w 155130"/>
                <a:gd name="connsiteY82" fmla="*/ 67257 h 97125"/>
                <a:gd name="connsiteX83" fmla="*/ 50914 w 155130"/>
                <a:gd name="connsiteY83" fmla="*/ 68454 h 97125"/>
                <a:gd name="connsiteX84" fmla="*/ 52706 w 155130"/>
                <a:gd name="connsiteY84" fmla="*/ 68525 h 97125"/>
                <a:gd name="connsiteX85" fmla="*/ 99012 w 155130"/>
                <a:gd name="connsiteY85" fmla="*/ 64738 h 97125"/>
                <a:gd name="connsiteX86" fmla="*/ 99472 w 155130"/>
                <a:gd name="connsiteY86" fmla="*/ 64765 h 97125"/>
                <a:gd name="connsiteX87" fmla="*/ 100101 w 155130"/>
                <a:gd name="connsiteY87" fmla="*/ 65775 h 97125"/>
                <a:gd name="connsiteX88" fmla="*/ 100483 w 155130"/>
                <a:gd name="connsiteY88" fmla="*/ 67333 h 97125"/>
                <a:gd name="connsiteX89" fmla="*/ 98401 w 155130"/>
                <a:gd name="connsiteY89" fmla="*/ 68650 h 97125"/>
                <a:gd name="connsiteX90" fmla="*/ 97943 w 155130"/>
                <a:gd name="connsiteY90" fmla="*/ 68581 h 97125"/>
                <a:gd name="connsiteX91" fmla="*/ 97267 w 155130"/>
                <a:gd name="connsiteY91" fmla="*/ 66773 h 97125"/>
                <a:gd name="connsiteX92" fmla="*/ 98365 w 155130"/>
                <a:gd name="connsiteY92" fmla="*/ 65672 h 97125"/>
                <a:gd name="connsiteX93" fmla="*/ 53637 w 155130"/>
                <a:gd name="connsiteY93" fmla="*/ 55046 h 97125"/>
                <a:gd name="connsiteX94" fmla="*/ 55609 w 155130"/>
                <a:gd name="connsiteY94" fmla="*/ 57468 h 97125"/>
                <a:gd name="connsiteX95" fmla="*/ 56170 w 155130"/>
                <a:gd name="connsiteY95" fmla="*/ 58606 h 97125"/>
                <a:gd name="connsiteX96" fmla="*/ 55410 w 155130"/>
                <a:gd name="connsiteY96" fmla="*/ 59965 h 97125"/>
                <a:gd name="connsiteX97" fmla="*/ 54967 w 155130"/>
                <a:gd name="connsiteY97" fmla="*/ 61545 h 97125"/>
                <a:gd name="connsiteX98" fmla="*/ 54592 w 155130"/>
                <a:gd name="connsiteY98" fmla="*/ 62103 h 97125"/>
                <a:gd name="connsiteX99" fmla="*/ 53190 w 155130"/>
                <a:gd name="connsiteY99" fmla="*/ 61522 h 97125"/>
                <a:gd name="connsiteX100" fmla="*/ 53043 w 155130"/>
                <a:gd name="connsiteY100" fmla="*/ 59511 h 97125"/>
                <a:gd name="connsiteX101" fmla="*/ 53575 w 155130"/>
                <a:gd name="connsiteY101" fmla="*/ 57704 h 97125"/>
                <a:gd name="connsiteX102" fmla="*/ 52950 w 155130"/>
                <a:gd name="connsiteY102" fmla="*/ 56086 h 97125"/>
                <a:gd name="connsiteX103" fmla="*/ 92910 w 155130"/>
                <a:gd name="connsiteY103" fmla="*/ 50986 h 97125"/>
                <a:gd name="connsiteX104" fmla="*/ 95231 w 155130"/>
                <a:gd name="connsiteY104" fmla="*/ 51493 h 97125"/>
                <a:gd name="connsiteX105" fmla="*/ 97389 w 155130"/>
                <a:gd name="connsiteY105" fmla="*/ 52194 h 97125"/>
                <a:gd name="connsiteX106" fmla="*/ 98559 w 155130"/>
                <a:gd name="connsiteY106" fmla="*/ 52797 h 97125"/>
                <a:gd name="connsiteX107" fmla="*/ 99215 w 155130"/>
                <a:gd name="connsiteY107" fmla="*/ 53766 h 97125"/>
                <a:gd name="connsiteX108" fmla="*/ 97768 w 155130"/>
                <a:gd name="connsiteY108" fmla="*/ 56072 h 97125"/>
                <a:gd name="connsiteX109" fmla="*/ 97367 w 155130"/>
                <a:gd name="connsiteY109" fmla="*/ 57334 h 97125"/>
                <a:gd name="connsiteX110" fmla="*/ 98339 w 155130"/>
                <a:gd name="connsiteY110" fmla="*/ 61483 h 97125"/>
                <a:gd name="connsiteX111" fmla="*/ 98392 w 155130"/>
                <a:gd name="connsiteY111" fmla="*/ 64591 h 97125"/>
                <a:gd name="connsiteX112" fmla="*/ 97818 w 155130"/>
                <a:gd name="connsiteY112" fmla="*/ 65495 h 97125"/>
                <a:gd name="connsiteX113" fmla="*/ 96974 w 155130"/>
                <a:gd name="connsiteY113" fmla="*/ 66090 h 97125"/>
                <a:gd name="connsiteX114" fmla="*/ 94765 w 155130"/>
                <a:gd name="connsiteY114" fmla="*/ 66721 h 97125"/>
                <a:gd name="connsiteX115" fmla="*/ 92852 w 155130"/>
                <a:gd name="connsiteY115" fmla="*/ 67602 h 97125"/>
                <a:gd name="connsiteX116" fmla="*/ 91146 w 155130"/>
                <a:gd name="connsiteY116" fmla="*/ 69149 h 97125"/>
                <a:gd name="connsiteX117" fmla="*/ 90517 w 155130"/>
                <a:gd name="connsiteY117" fmla="*/ 71359 h 97125"/>
                <a:gd name="connsiteX118" fmla="*/ 91852 w 155130"/>
                <a:gd name="connsiteY118" fmla="*/ 72974 h 97125"/>
                <a:gd name="connsiteX119" fmla="*/ 94279 w 155130"/>
                <a:gd name="connsiteY119" fmla="*/ 73859 h 97125"/>
                <a:gd name="connsiteX120" fmla="*/ 94897 w 155130"/>
                <a:gd name="connsiteY120" fmla="*/ 76930 h 97125"/>
                <a:gd name="connsiteX121" fmla="*/ 92893 w 155130"/>
                <a:gd name="connsiteY121" fmla="*/ 78444 h 97125"/>
                <a:gd name="connsiteX122" fmla="*/ 87751 w 155130"/>
                <a:gd name="connsiteY122" fmla="*/ 79954 h 97125"/>
                <a:gd name="connsiteX123" fmla="*/ 87211 w 155130"/>
                <a:gd name="connsiteY123" fmla="*/ 83594 h 97125"/>
                <a:gd name="connsiteX124" fmla="*/ 87378 w 155130"/>
                <a:gd name="connsiteY124" fmla="*/ 86459 h 97125"/>
                <a:gd name="connsiteX125" fmla="*/ 87285 w 155130"/>
                <a:gd name="connsiteY125" fmla="*/ 88539 h 97125"/>
                <a:gd name="connsiteX126" fmla="*/ 86877 w 155130"/>
                <a:gd name="connsiteY126" fmla="*/ 91414 h 97125"/>
                <a:gd name="connsiteX127" fmla="*/ 82717 w 155130"/>
                <a:gd name="connsiteY127" fmla="*/ 92723 h 97125"/>
                <a:gd name="connsiteX128" fmla="*/ 80034 w 155130"/>
                <a:gd name="connsiteY128" fmla="*/ 88345 h 97125"/>
                <a:gd name="connsiteX129" fmla="*/ 80010 w 155130"/>
                <a:gd name="connsiteY129" fmla="*/ 86590 h 97125"/>
                <a:gd name="connsiteX130" fmla="*/ 79209 w 155130"/>
                <a:gd name="connsiteY130" fmla="*/ 84540 h 97125"/>
                <a:gd name="connsiteX131" fmla="*/ 79058 w 155130"/>
                <a:gd name="connsiteY131" fmla="*/ 82791 h 97125"/>
                <a:gd name="connsiteX132" fmla="*/ 78107 w 155130"/>
                <a:gd name="connsiteY132" fmla="*/ 79991 h 97125"/>
                <a:gd name="connsiteX133" fmla="*/ 74173 w 155130"/>
                <a:gd name="connsiteY133" fmla="*/ 79233 h 97125"/>
                <a:gd name="connsiteX134" fmla="*/ 72646 w 155130"/>
                <a:gd name="connsiteY134" fmla="*/ 79133 h 97125"/>
                <a:gd name="connsiteX135" fmla="*/ 70510 w 155130"/>
                <a:gd name="connsiteY135" fmla="*/ 79654 h 97125"/>
                <a:gd name="connsiteX136" fmla="*/ 69981 w 155130"/>
                <a:gd name="connsiteY136" fmla="*/ 79451 h 97125"/>
                <a:gd name="connsiteX137" fmla="*/ 67425 w 155130"/>
                <a:gd name="connsiteY137" fmla="*/ 75620 h 97125"/>
                <a:gd name="connsiteX138" fmla="*/ 67846 w 155130"/>
                <a:gd name="connsiteY138" fmla="*/ 71386 h 97125"/>
                <a:gd name="connsiteX139" fmla="*/ 66481 w 155130"/>
                <a:gd name="connsiteY139" fmla="*/ 69246 h 97125"/>
                <a:gd name="connsiteX140" fmla="*/ 66293 w 155130"/>
                <a:gd name="connsiteY140" fmla="*/ 68277 h 97125"/>
                <a:gd name="connsiteX141" fmla="*/ 66326 w 155130"/>
                <a:gd name="connsiteY141" fmla="*/ 67203 h 97125"/>
                <a:gd name="connsiteX142" fmla="*/ 65205 w 155130"/>
                <a:gd name="connsiteY142" fmla="*/ 66317 h 97125"/>
                <a:gd name="connsiteX143" fmla="*/ 63845 w 155130"/>
                <a:gd name="connsiteY143" fmla="*/ 65848 h 97125"/>
                <a:gd name="connsiteX144" fmla="*/ 63184 w 155130"/>
                <a:gd name="connsiteY144" fmla="*/ 63455 h 97125"/>
                <a:gd name="connsiteX145" fmla="*/ 64747 w 155130"/>
                <a:gd name="connsiteY145" fmla="*/ 62875 h 97125"/>
                <a:gd name="connsiteX146" fmla="*/ 68612 w 155130"/>
                <a:gd name="connsiteY146" fmla="*/ 63155 h 97125"/>
                <a:gd name="connsiteX147" fmla="*/ 69742 w 155130"/>
                <a:gd name="connsiteY147" fmla="*/ 62992 h 97125"/>
                <a:gd name="connsiteX148" fmla="*/ 70776 w 155130"/>
                <a:gd name="connsiteY148" fmla="*/ 62493 h 97125"/>
                <a:gd name="connsiteX149" fmla="*/ 73903 w 155130"/>
                <a:gd name="connsiteY149" fmla="*/ 58553 h 97125"/>
                <a:gd name="connsiteX150" fmla="*/ 73812 w 155130"/>
                <a:gd name="connsiteY150" fmla="*/ 57684 h 97125"/>
                <a:gd name="connsiteX151" fmla="*/ 74147 w 155130"/>
                <a:gd name="connsiteY151" fmla="*/ 56556 h 97125"/>
                <a:gd name="connsiteX152" fmla="*/ 77531 w 155130"/>
                <a:gd name="connsiteY152" fmla="*/ 56138 h 97125"/>
                <a:gd name="connsiteX153" fmla="*/ 79038 w 155130"/>
                <a:gd name="connsiteY153" fmla="*/ 57662 h 97125"/>
                <a:gd name="connsiteX154" fmla="*/ 78736 w 155130"/>
                <a:gd name="connsiteY154" fmla="*/ 60102 h 97125"/>
                <a:gd name="connsiteX155" fmla="*/ 78928 w 155130"/>
                <a:gd name="connsiteY155" fmla="*/ 63224 h 97125"/>
                <a:gd name="connsiteX156" fmla="*/ 80977 w 155130"/>
                <a:gd name="connsiteY156" fmla="*/ 64072 h 97125"/>
                <a:gd name="connsiteX157" fmla="*/ 81776 w 155130"/>
                <a:gd name="connsiteY157" fmla="*/ 64197 h 97125"/>
                <a:gd name="connsiteX158" fmla="*/ 82629 w 155130"/>
                <a:gd name="connsiteY158" fmla="*/ 61892 h 97125"/>
                <a:gd name="connsiteX159" fmla="*/ 83227 w 155130"/>
                <a:gd name="connsiteY159" fmla="*/ 60771 h 97125"/>
                <a:gd name="connsiteX160" fmla="*/ 84039 w 155130"/>
                <a:gd name="connsiteY160" fmla="*/ 60146 h 97125"/>
                <a:gd name="connsiteX161" fmla="*/ 84315 w 155130"/>
                <a:gd name="connsiteY161" fmla="*/ 58036 h 97125"/>
                <a:gd name="connsiteX162" fmla="*/ 83834 w 155130"/>
                <a:gd name="connsiteY162" fmla="*/ 56747 h 97125"/>
                <a:gd name="connsiteX163" fmla="*/ 82808 w 155130"/>
                <a:gd name="connsiteY163" fmla="*/ 55786 h 97125"/>
                <a:gd name="connsiteX164" fmla="*/ 86639 w 155130"/>
                <a:gd name="connsiteY164" fmla="*/ 53169 h 97125"/>
                <a:gd name="connsiteX165" fmla="*/ 90604 w 155130"/>
                <a:gd name="connsiteY165" fmla="*/ 51094 h 97125"/>
                <a:gd name="connsiteX166" fmla="*/ 65546 w 155130"/>
                <a:gd name="connsiteY166" fmla="*/ 12961 h 97125"/>
                <a:gd name="connsiteX167" fmla="*/ 67509 w 155130"/>
                <a:gd name="connsiteY167" fmla="*/ 13184 h 97125"/>
                <a:gd name="connsiteX168" fmla="*/ 65350 w 155130"/>
                <a:gd name="connsiteY168" fmla="*/ 14644 h 97125"/>
                <a:gd name="connsiteX169" fmla="*/ 64803 w 155130"/>
                <a:gd name="connsiteY169" fmla="*/ 15417 h 97125"/>
                <a:gd name="connsiteX170" fmla="*/ 63903 w 155130"/>
                <a:gd name="connsiteY170" fmla="*/ 16160 h 97125"/>
                <a:gd name="connsiteX171" fmla="*/ 60860 w 155130"/>
                <a:gd name="connsiteY171" fmla="*/ 15109 h 97125"/>
                <a:gd name="connsiteX172" fmla="*/ 62204 w 155130"/>
                <a:gd name="connsiteY172" fmla="*/ 13639 h 97125"/>
                <a:gd name="connsiteX173" fmla="*/ 55026 w 155130"/>
                <a:gd name="connsiteY173" fmla="*/ 0 h 97125"/>
                <a:gd name="connsiteX174" fmla="*/ 52173 w 155130"/>
                <a:gd name="connsiteY174" fmla="*/ 2816 h 97125"/>
                <a:gd name="connsiteX175" fmla="*/ 51715 w 155130"/>
                <a:gd name="connsiteY175" fmla="*/ 3905 h 97125"/>
                <a:gd name="connsiteX176" fmla="*/ 51370 w 155130"/>
                <a:gd name="connsiteY176" fmla="*/ 5573 h 97125"/>
                <a:gd name="connsiteX177" fmla="*/ 53415 w 155130"/>
                <a:gd name="connsiteY177" fmla="*/ 9192 h 97125"/>
                <a:gd name="connsiteX178" fmla="*/ 52983 w 155130"/>
                <a:gd name="connsiteY178" fmla="*/ 11391 h 97125"/>
                <a:gd name="connsiteX179" fmla="*/ 53127 w 155130"/>
                <a:gd name="connsiteY179" fmla="*/ 15713 h 97125"/>
                <a:gd name="connsiteX180" fmla="*/ 51199 w 155130"/>
                <a:gd name="connsiteY180" fmla="*/ 17962 h 97125"/>
                <a:gd name="connsiteX181" fmla="*/ 49023 w 155130"/>
                <a:gd name="connsiteY181" fmla="*/ 22738 h 97125"/>
                <a:gd name="connsiteX182" fmla="*/ 48085 w 155130"/>
                <a:gd name="connsiteY182" fmla="*/ 23440 h 97125"/>
                <a:gd name="connsiteX183" fmla="*/ 47885 w 155130"/>
                <a:gd name="connsiteY183" fmla="*/ 29001 h 97125"/>
                <a:gd name="connsiteX184" fmla="*/ 48098 w 155130"/>
                <a:gd name="connsiteY184" fmla="*/ 30326 h 97125"/>
                <a:gd name="connsiteX185" fmla="*/ 47789 w 155130"/>
                <a:gd name="connsiteY185" fmla="*/ 35374 h 97125"/>
                <a:gd name="connsiteX186" fmla="*/ 50020 w 155130"/>
                <a:gd name="connsiteY186" fmla="*/ 37437 h 97125"/>
                <a:gd name="connsiteX187" fmla="*/ 52378 w 155130"/>
                <a:gd name="connsiteY187" fmla="*/ 38515 h 97125"/>
                <a:gd name="connsiteX188" fmla="*/ 60243 w 155130"/>
                <a:gd name="connsiteY188" fmla="*/ 38477 h 97125"/>
                <a:gd name="connsiteX189" fmla="*/ 61059 w 155130"/>
                <a:gd name="connsiteY189" fmla="*/ 39383 h 97125"/>
                <a:gd name="connsiteX190" fmla="*/ 62018 w 155130"/>
                <a:gd name="connsiteY190" fmla="*/ 40939 h 97125"/>
                <a:gd name="connsiteX191" fmla="*/ 61316 w 155130"/>
                <a:gd name="connsiteY191" fmla="*/ 43578 h 97125"/>
                <a:gd name="connsiteX192" fmla="*/ 60476 w 155130"/>
                <a:gd name="connsiteY192" fmla="*/ 45567 h 97125"/>
                <a:gd name="connsiteX193" fmla="*/ 58198 w 155130"/>
                <a:gd name="connsiteY193" fmla="*/ 47241 h 97125"/>
                <a:gd name="connsiteX194" fmla="*/ 55274 w 155130"/>
                <a:gd name="connsiteY194" fmla="*/ 48488 h 97125"/>
                <a:gd name="connsiteX195" fmla="*/ 53456 w 155130"/>
                <a:gd name="connsiteY195" fmla="*/ 48543 h 97125"/>
                <a:gd name="connsiteX196" fmla="*/ 50979 w 155130"/>
                <a:gd name="connsiteY196" fmla="*/ 46172 h 97125"/>
                <a:gd name="connsiteX197" fmla="*/ 49802 w 155130"/>
                <a:gd name="connsiteY197" fmla="*/ 46941 h 97125"/>
                <a:gd name="connsiteX198" fmla="*/ 48586 w 155130"/>
                <a:gd name="connsiteY198" fmla="*/ 48150 h 97125"/>
                <a:gd name="connsiteX199" fmla="*/ 46550 w 155130"/>
                <a:gd name="connsiteY199" fmla="*/ 54627 h 97125"/>
                <a:gd name="connsiteX200" fmla="*/ 45585 w 155130"/>
                <a:gd name="connsiteY200" fmla="*/ 58992 h 97125"/>
                <a:gd name="connsiteX201" fmla="*/ 45062 w 155130"/>
                <a:gd name="connsiteY201" fmla="*/ 59346 h 97125"/>
                <a:gd name="connsiteX202" fmla="*/ 43911 w 155130"/>
                <a:gd name="connsiteY202" fmla="*/ 58703 h 97125"/>
                <a:gd name="connsiteX203" fmla="*/ 41923 w 155130"/>
                <a:gd name="connsiteY203" fmla="*/ 58653 h 97125"/>
                <a:gd name="connsiteX204" fmla="*/ 39409 w 155130"/>
                <a:gd name="connsiteY204" fmla="*/ 59687 h 97125"/>
                <a:gd name="connsiteX205" fmla="*/ 40698 w 155130"/>
                <a:gd name="connsiteY205" fmla="*/ 60612 h 97125"/>
                <a:gd name="connsiteX206" fmla="*/ 42061 w 155130"/>
                <a:gd name="connsiteY206" fmla="*/ 62217 h 97125"/>
                <a:gd name="connsiteX207" fmla="*/ 41516 w 155130"/>
                <a:gd name="connsiteY207" fmla="*/ 63021 h 97125"/>
                <a:gd name="connsiteX208" fmla="*/ 39305 w 155130"/>
                <a:gd name="connsiteY208" fmla="*/ 63889 h 97125"/>
                <a:gd name="connsiteX209" fmla="*/ 37345 w 155130"/>
                <a:gd name="connsiteY209" fmla="*/ 65645 h 97125"/>
                <a:gd name="connsiteX210" fmla="*/ 36524 w 155130"/>
                <a:gd name="connsiteY210" fmla="*/ 66973 h 97125"/>
                <a:gd name="connsiteX211" fmla="*/ 34051 w 155130"/>
                <a:gd name="connsiteY211" fmla="*/ 68543 h 97125"/>
                <a:gd name="connsiteX212" fmla="*/ 32497 w 155130"/>
                <a:gd name="connsiteY212" fmla="*/ 70532 h 97125"/>
                <a:gd name="connsiteX213" fmla="*/ 33259 w 155130"/>
                <a:gd name="connsiteY213" fmla="*/ 72995 h 97125"/>
                <a:gd name="connsiteX214" fmla="*/ 33583 w 155130"/>
                <a:gd name="connsiteY214" fmla="*/ 75156 h 97125"/>
                <a:gd name="connsiteX215" fmla="*/ 34263 w 155130"/>
                <a:gd name="connsiteY215" fmla="*/ 77540 h 97125"/>
                <a:gd name="connsiteX216" fmla="*/ 33650 w 155130"/>
                <a:gd name="connsiteY216" fmla="*/ 79442 h 97125"/>
                <a:gd name="connsiteX217" fmla="*/ 30588 w 155130"/>
                <a:gd name="connsiteY217" fmla="*/ 82168 h 97125"/>
                <a:gd name="connsiteX218" fmla="*/ 29459 w 155130"/>
                <a:gd name="connsiteY218" fmla="*/ 84528 h 97125"/>
                <a:gd name="connsiteX219" fmla="*/ 32082 w 155130"/>
                <a:gd name="connsiteY219" fmla="*/ 84498 h 97125"/>
                <a:gd name="connsiteX220" fmla="*/ 33697 w 155130"/>
                <a:gd name="connsiteY220" fmla="*/ 85043 h 97125"/>
                <a:gd name="connsiteX221" fmla="*/ 34643 w 155130"/>
                <a:gd name="connsiteY221" fmla="*/ 85740 h 97125"/>
                <a:gd name="connsiteX222" fmla="*/ 35619 w 155130"/>
                <a:gd name="connsiteY222" fmla="*/ 86727 h 97125"/>
                <a:gd name="connsiteX223" fmla="*/ 35021 w 155130"/>
                <a:gd name="connsiteY223" fmla="*/ 87946 h 97125"/>
                <a:gd name="connsiteX224" fmla="*/ 35783 w 155130"/>
                <a:gd name="connsiteY224" fmla="*/ 91101 h 97125"/>
                <a:gd name="connsiteX225" fmla="*/ 35457 w 155130"/>
                <a:gd name="connsiteY225" fmla="*/ 91101 h 97125"/>
                <a:gd name="connsiteX226" fmla="*/ 34047 w 155130"/>
                <a:gd name="connsiteY226" fmla="*/ 90830 h 97125"/>
                <a:gd name="connsiteX227" fmla="*/ 33043 w 155130"/>
                <a:gd name="connsiteY227" fmla="*/ 90184 h 97125"/>
                <a:gd name="connsiteX228" fmla="*/ 30454 w 155130"/>
                <a:gd name="connsiteY228" fmla="*/ 90644 h 97125"/>
                <a:gd name="connsiteX229" fmla="*/ 26988 w 155130"/>
                <a:gd name="connsiteY229" fmla="*/ 91691 h 97125"/>
                <a:gd name="connsiteX230" fmla="*/ 25064 w 155130"/>
                <a:gd name="connsiteY230" fmla="*/ 91638 h 97125"/>
                <a:gd name="connsiteX231" fmla="*/ 23535 w 155130"/>
                <a:gd name="connsiteY231" fmla="*/ 90514 h 97125"/>
                <a:gd name="connsiteX232" fmla="*/ 17280 w 155130"/>
                <a:gd name="connsiteY232" fmla="*/ 88911 h 97125"/>
                <a:gd name="connsiteX233" fmla="*/ 16269 w 155130"/>
                <a:gd name="connsiteY233" fmla="*/ 88781 h 97125"/>
                <a:gd name="connsiteX234" fmla="*/ 12145 w 155130"/>
                <a:gd name="connsiteY234" fmla="*/ 88714 h 97125"/>
                <a:gd name="connsiteX235" fmla="*/ 12136 w 155130"/>
                <a:gd name="connsiteY235" fmla="*/ 88711 h 97125"/>
                <a:gd name="connsiteX236" fmla="*/ 11939 w 155130"/>
                <a:gd name="connsiteY236" fmla="*/ 86176 h 97125"/>
                <a:gd name="connsiteX237" fmla="*/ 11428 w 155130"/>
                <a:gd name="connsiteY237" fmla="*/ 84343 h 97125"/>
                <a:gd name="connsiteX238" fmla="*/ 9983 w 155130"/>
                <a:gd name="connsiteY238" fmla="*/ 81613 h 97125"/>
                <a:gd name="connsiteX239" fmla="*/ 12125 w 155130"/>
                <a:gd name="connsiteY239" fmla="*/ 80954 h 97125"/>
                <a:gd name="connsiteX240" fmla="*/ 11711 w 155130"/>
                <a:gd name="connsiteY240" fmla="*/ 75622 h 97125"/>
                <a:gd name="connsiteX241" fmla="*/ 10933 w 155130"/>
                <a:gd name="connsiteY241" fmla="*/ 72852 h 97125"/>
                <a:gd name="connsiteX242" fmla="*/ 4949 w 155130"/>
                <a:gd name="connsiteY242" fmla="*/ 70003 h 97125"/>
                <a:gd name="connsiteX243" fmla="*/ 236 w 155130"/>
                <a:gd name="connsiteY243" fmla="*/ 67231 h 97125"/>
                <a:gd name="connsiteX244" fmla="*/ 1324 w 155130"/>
                <a:gd name="connsiteY244" fmla="*/ 57872 h 97125"/>
                <a:gd name="connsiteX245" fmla="*/ 1788 w 155130"/>
                <a:gd name="connsiteY245" fmla="*/ 55344 h 97125"/>
                <a:gd name="connsiteX246" fmla="*/ 0 w 155130"/>
                <a:gd name="connsiteY246" fmla="*/ 50431 h 97125"/>
                <a:gd name="connsiteX247" fmla="*/ 186 w 155130"/>
                <a:gd name="connsiteY247" fmla="*/ 44763 h 97125"/>
                <a:gd name="connsiteX248" fmla="*/ 939 w 155130"/>
                <a:gd name="connsiteY248" fmla="*/ 35802 h 97125"/>
                <a:gd name="connsiteX249" fmla="*/ 2438 w 155130"/>
                <a:gd name="connsiteY249" fmla="*/ 35451 h 97125"/>
                <a:gd name="connsiteX250" fmla="*/ 3537 w 155130"/>
                <a:gd name="connsiteY250" fmla="*/ 35494 h 97125"/>
                <a:gd name="connsiteX251" fmla="*/ 7776 w 155130"/>
                <a:gd name="connsiteY251" fmla="*/ 37105 h 97125"/>
                <a:gd name="connsiteX252" fmla="*/ 9541 w 155130"/>
                <a:gd name="connsiteY252" fmla="*/ 37266 h 97125"/>
                <a:gd name="connsiteX253" fmla="*/ 10750 w 155130"/>
                <a:gd name="connsiteY253" fmla="*/ 38703 h 97125"/>
                <a:gd name="connsiteX254" fmla="*/ 12166 w 155130"/>
                <a:gd name="connsiteY254" fmla="*/ 39295 h 97125"/>
                <a:gd name="connsiteX255" fmla="*/ 13192 w 155130"/>
                <a:gd name="connsiteY255" fmla="*/ 37768 h 97125"/>
                <a:gd name="connsiteX256" fmla="*/ 13591 w 155130"/>
                <a:gd name="connsiteY256" fmla="*/ 35156 h 97125"/>
                <a:gd name="connsiteX257" fmla="*/ 16951 w 155130"/>
                <a:gd name="connsiteY257" fmla="*/ 31770 h 97125"/>
                <a:gd name="connsiteX258" fmla="*/ 19305 w 155130"/>
                <a:gd name="connsiteY258" fmla="*/ 30519 h 97125"/>
                <a:gd name="connsiteX259" fmla="*/ 20910 w 155130"/>
                <a:gd name="connsiteY259" fmla="*/ 29918 h 97125"/>
                <a:gd name="connsiteX260" fmla="*/ 22529 w 155130"/>
                <a:gd name="connsiteY260" fmla="*/ 31286 h 97125"/>
                <a:gd name="connsiteX261" fmla="*/ 23768 w 155130"/>
                <a:gd name="connsiteY261" fmla="*/ 32821 h 97125"/>
                <a:gd name="connsiteX262" fmla="*/ 24062 w 155130"/>
                <a:gd name="connsiteY262" fmla="*/ 29460 h 97125"/>
                <a:gd name="connsiteX263" fmla="*/ 25062 w 155130"/>
                <a:gd name="connsiteY263" fmla="*/ 23042 h 97125"/>
                <a:gd name="connsiteX264" fmla="*/ 21868 w 155130"/>
                <a:gd name="connsiteY264" fmla="*/ 22033 h 97125"/>
                <a:gd name="connsiteX265" fmla="*/ 19266 w 155130"/>
                <a:gd name="connsiteY265" fmla="*/ 22903 h 97125"/>
                <a:gd name="connsiteX266" fmla="*/ 16686 w 155130"/>
                <a:gd name="connsiteY266" fmla="*/ 26973 h 97125"/>
                <a:gd name="connsiteX267" fmla="*/ 14384 w 155130"/>
                <a:gd name="connsiteY267" fmla="*/ 32078 h 97125"/>
                <a:gd name="connsiteX268" fmla="*/ 10650 w 155130"/>
                <a:gd name="connsiteY268" fmla="*/ 32546 h 97125"/>
                <a:gd name="connsiteX269" fmla="*/ 7670 w 155130"/>
                <a:gd name="connsiteY269" fmla="*/ 33989 h 97125"/>
                <a:gd name="connsiteX270" fmla="*/ 4980 w 155130"/>
                <a:gd name="connsiteY270" fmla="*/ 32493 h 97125"/>
                <a:gd name="connsiteX271" fmla="*/ 3246 w 155130"/>
                <a:gd name="connsiteY271" fmla="*/ 31174 h 97125"/>
                <a:gd name="connsiteX272" fmla="*/ 3203 w 155130"/>
                <a:gd name="connsiteY272" fmla="*/ 29241 h 97125"/>
                <a:gd name="connsiteX273" fmla="*/ 3596 w 155130"/>
                <a:gd name="connsiteY273" fmla="*/ 28074 h 97125"/>
                <a:gd name="connsiteX274" fmla="*/ 6757 w 155130"/>
                <a:gd name="connsiteY274" fmla="*/ 23905 h 97125"/>
                <a:gd name="connsiteX275" fmla="*/ 10992 w 155130"/>
                <a:gd name="connsiteY275" fmla="*/ 19893 h 97125"/>
                <a:gd name="connsiteX276" fmla="*/ 15258 w 155130"/>
                <a:gd name="connsiteY276" fmla="*/ 19932 h 97125"/>
                <a:gd name="connsiteX277" fmla="*/ 18370 w 155130"/>
                <a:gd name="connsiteY277" fmla="*/ 18649 h 97125"/>
                <a:gd name="connsiteX278" fmla="*/ 20229 w 155130"/>
                <a:gd name="connsiteY278" fmla="*/ 18495 h 97125"/>
                <a:gd name="connsiteX279" fmla="*/ 26034 w 155130"/>
                <a:gd name="connsiteY279" fmla="*/ 18777 h 97125"/>
                <a:gd name="connsiteX280" fmla="*/ 29014 w 155130"/>
                <a:gd name="connsiteY280" fmla="*/ 17897 h 97125"/>
                <a:gd name="connsiteX281" fmla="*/ 31683 w 155130"/>
                <a:gd name="connsiteY281" fmla="*/ 16054 h 97125"/>
                <a:gd name="connsiteX282" fmla="*/ 37450 w 155130"/>
                <a:gd name="connsiteY282" fmla="*/ 8241 h 97125"/>
                <a:gd name="connsiteX283" fmla="*/ 40705 w 155130"/>
                <a:gd name="connsiteY283" fmla="*/ 4976 h 97125"/>
                <a:gd name="connsiteX284" fmla="*/ 47267 w 155130"/>
                <a:gd name="connsiteY284" fmla="*/ 3825 h 97125"/>
                <a:gd name="connsiteX285" fmla="*/ 53330 w 155130"/>
                <a:gd name="connsiteY285" fmla="*/ 48 h 97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</a:cxnLst>
              <a:rect l="l" t="t" r="r" b="b"/>
              <a:pathLst>
                <a:path w="155130" h="97125">
                  <a:moveTo>
                    <a:pt x="69366" y="87225"/>
                  </a:moveTo>
                  <a:lnTo>
                    <a:pt x="71642" y="89072"/>
                  </a:lnTo>
                  <a:lnTo>
                    <a:pt x="75555" y="90976"/>
                  </a:lnTo>
                  <a:lnTo>
                    <a:pt x="78202" y="90867"/>
                  </a:lnTo>
                  <a:lnTo>
                    <a:pt x="80003" y="91656"/>
                  </a:lnTo>
                  <a:lnTo>
                    <a:pt x="80433" y="92874"/>
                  </a:lnTo>
                  <a:lnTo>
                    <a:pt x="80586" y="95577"/>
                  </a:lnTo>
                  <a:lnTo>
                    <a:pt x="78695" y="96364"/>
                  </a:lnTo>
                  <a:lnTo>
                    <a:pt x="76607" y="96097"/>
                  </a:lnTo>
                  <a:lnTo>
                    <a:pt x="73765" y="97125"/>
                  </a:lnTo>
                  <a:lnTo>
                    <a:pt x="64436" y="92708"/>
                  </a:lnTo>
                  <a:lnTo>
                    <a:pt x="64572" y="89020"/>
                  </a:lnTo>
                  <a:lnTo>
                    <a:pt x="64946" y="87570"/>
                  </a:lnTo>
                  <a:close/>
                  <a:moveTo>
                    <a:pt x="45958" y="86889"/>
                  </a:moveTo>
                  <a:lnTo>
                    <a:pt x="47410" y="87316"/>
                  </a:lnTo>
                  <a:lnTo>
                    <a:pt x="49211" y="88633"/>
                  </a:lnTo>
                  <a:lnTo>
                    <a:pt x="50685" y="88913"/>
                  </a:lnTo>
                  <a:lnTo>
                    <a:pt x="52702" y="90027"/>
                  </a:lnTo>
                  <a:lnTo>
                    <a:pt x="52249" y="90425"/>
                  </a:lnTo>
                  <a:lnTo>
                    <a:pt x="50765" y="90744"/>
                  </a:lnTo>
                  <a:lnTo>
                    <a:pt x="49068" y="90076"/>
                  </a:lnTo>
                  <a:lnTo>
                    <a:pt x="46306" y="87558"/>
                  </a:lnTo>
                  <a:close/>
                  <a:moveTo>
                    <a:pt x="91822" y="83772"/>
                  </a:moveTo>
                  <a:lnTo>
                    <a:pt x="92618" y="84486"/>
                  </a:lnTo>
                  <a:lnTo>
                    <a:pt x="94987" y="84785"/>
                  </a:lnTo>
                  <a:lnTo>
                    <a:pt x="96145" y="85207"/>
                  </a:lnTo>
                  <a:lnTo>
                    <a:pt x="97112" y="85827"/>
                  </a:lnTo>
                  <a:lnTo>
                    <a:pt x="97907" y="86796"/>
                  </a:lnTo>
                  <a:lnTo>
                    <a:pt x="97062" y="87254"/>
                  </a:lnTo>
                  <a:lnTo>
                    <a:pt x="93668" y="86918"/>
                  </a:lnTo>
                  <a:lnTo>
                    <a:pt x="89841" y="89047"/>
                  </a:lnTo>
                  <a:lnTo>
                    <a:pt x="88390" y="88374"/>
                  </a:lnTo>
                  <a:lnTo>
                    <a:pt x="88939" y="87014"/>
                  </a:lnTo>
                  <a:lnTo>
                    <a:pt x="89338" y="86518"/>
                  </a:lnTo>
                  <a:lnTo>
                    <a:pt x="90625" y="85941"/>
                  </a:lnTo>
                  <a:lnTo>
                    <a:pt x="91485" y="85096"/>
                  </a:lnTo>
                  <a:close/>
                  <a:moveTo>
                    <a:pt x="36701" y="83621"/>
                  </a:moveTo>
                  <a:lnTo>
                    <a:pt x="37787" y="83953"/>
                  </a:lnTo>
                  <a:lnTo>
                    <a:pt x="41512" y="86160"/>
                  </a:lnTo>
                  <a:lnTo>
                    <a:pt x="42814" y="88573"/>
                  </a:lnTo>
                  <a:lnTo>
                    <a:pt x="42892" y="89234"/>
                  </a:lnTo>
                  <a:lnTo>
                    <a:pt x="40590" y="89661"/>
                  </a:lnTo>
                  <a:lnTo>
                    <a:pt x="39413" y="88919"/>
                  </a:lnTo>
                  <a:lnTo>
                    <a:pt x="37254" y="88632"/>
                  </a:lnTo>
                  <a:lnTo>
                    <a:pt x="36479" y="83902"/>
                  </a:lnTo>
                  <a:close/>
                  <a:moveTo>
                    <a:pt x="61992" y="80886"/>
                  </a:moveTo>
                  <a:lnTo>
                    <a:pt x="62568" y="80938"/>
                  </a:lnTo>
                  <a:lnTo>
                    <a:pt x="61899" y="83834"/>
                  </a:lnTo>
                  <a:lnTo>
                    <a:pt x="58459" y="91894"/>
                  </a:lnTo>
                  <a:lnTo>
                    <a:pt x="57770" y="93394"/>
                  </a:lnTo>
                  <a:lnTo>
                    <a:pt x="56790" y="93567"/>
                  </a:lnTo>
                  <a:lnTo>
                    <a:pt x="55457" y="91084"/>
                  </a:lnTo>
                  <a:lnTo>
                    <a:pt x="55285" y="90307"/>
                  </a:lnTo>
                  <a:lnTo>
                    <a:pt x="56850" y="88716"/>
                  </a:lnTo>
                  <a:lnTo>
                    <a:pt x="57863" y="86912"/>
                  </a:lnTo>
                  <a:lnTo>
                    <a:pt x="60482" y="84139"/>
                  </a:lnTo>
                  <a:close/>
                  <a:moveTo>
                    <a:pt x="146910" y="76604"/>
                  </a:moveTo>
                  <a:lnTo>
                    <a:pt x="155031" y="81297"/>
                  </a:lnTo>
                  <a:lnTo>
                    <a:pt x="155130" y="83063"/>
                  </a:lnTo>
                  <a:lnTo>
                    <a:pt x="154038" y="85072"/>
                  </a:lnTo>
                  <a:lnTo>
                    <a:pt x="153222" y="85592"/>
                  </a:lnTo>
                  <a:lnTo>
                    <a:pt x="149568" y="84731"/>
                  </a:lnTo>
                  <a:lnTo>
                    <a:pt x="145115" y="82599"/>
                  </a:lnTo>
                  <a:lnTo>
                    <a:pt x="145767" y="78415"/>
                  </a:lnTo>
                  <a:close/>
                  <a:moveTo>
                    <a:pt x="55309" y="66827"/>
                  </a:moveTo>
                  <a:lnTo>
                    <a:pt x="55803" y="66921"/>
                  </a:lnTo>
                  <a:lnTo>
                    <a:pt x="56725" y="68538"/>
                  </a:lnTo>
                  <a:lnTo>
                    <a:pt x="57859" y="71982"/>
                  </a:lnTo>
                  <a:lnTo>
                    <a:pt x="59653" y="75828"/>
                  </a:lnTo>
                  <a:lnTo>
                    <a:pt x="58904" y="77436"/>
                  </a:lnTo>
                  <a:lnTo>
                    <a:pt x="59413" y="79495"/>
                  </a:lnTo>
                  <a:lnTo>
                    <a:pt x="58902" y="81640"/>
                  </a:lnTo>
                  <a:lnTo>
                    <a:pt x="55332" y="84132"/>
                  </a:lnTo>
                  <a:lnTo>
                    <a:pt x="51329" y="84244"/>
                  </a:lnTo>
                  <a:lnTo>
                    <a:pt x="47168" y="83041"/>
                  </a:lnTo>
                  <a:lnTo>
                    <a:pt x="41290" y="80722"/>
                  </a:lnTo>
                  <a:lnTo>
                    <a:pt x="40817" y="79419"/>
                  </a:lnTo>
                  <a:lnTo>
                    <a:pt x="39992" y="78697"/>
                  </a:lnTo>
                  <a:lnTo>
                    <a:pt x="38420" y="74737"/>
                  </a:lnTo>
                  <a:lnTo>
                    <a:pt x="38457" y="69843"/>
                  </a:lnTo>
                  <a:lnTo>
                    <a:pt x="41411" y="69229"/>
                  </a:lnTo>
                  <a:lnTo>
                    <a:pt x="47865" y="66889"/>
                  </a:lnTo>
                  <a:lnTo>
                    <a:pt x="49357" y="67257"/>
                  </a:lnTo>
                  <a:lnTo>
                    <a:pt x="50914" y="68454"/>
                  </a:lnTo>
                  <a:lnTo>
                    <a:pt x="52706" y="68525"/>
                  </a:lnTo>
                  <a:close/>
                  <a:moveTo>
                    <a:pt x="99012" y="64738"/>
                  </a:moveTo>
                  <a:lnTo>
                    <a:pt x="99472" y="64765"/>
                  </a:lnTo>
                  <a:lnTo>
                    <a:pt x="100101" y="65775"/>
                  </a:lnTo>
                  <a:lnTo>
                    <a:pt x="100483" y="67333"/>
                  </a:lnTo>
                  <a:lnTo>
                    <a:pt x="98401" y="68650"/>
                  </a:lnTo>
                  <a:lnTo>
                    <a:pt x="97943" y="68581"/>
                  </a:lnTo>
                  <a:lnTo>
                    <a:pt x="97267" y="66773"/>
                  </a:lnTo>
                  <a:lnTo>
                    <a:pt x="98365" y="65672"/>
                  </a:lnTo>
                  <a:close/>
                  <a:moveTo>
                    <a:pt x="53637" y="55046"/>
                  </a:moveTo>
                  <a:lnTo>
                    <a:pt x="55609" y="57468"/>
                  </a:lnTo>
                  <a:lnTo>
                    <a:pt x="56170" y="58606"/>
                  </a:lnTo>
                  <a:lnTo>
                    <a:pt x="55410" y="59965"/>
                  </a:lnTo>
                  <a:lnTo>
                    <a:pt x="54967" y="61545"/>
                  </a:lnTo>
                  <a:lnTo>
                    <a:pt x="54592" y="62103"/>
                  </a:lnTo>
                  <a:lnTo>
                    <a:pt x="53190" y="61522"/>
                  </a:lnTo>
                  <a:lnTo>
                    <a:pt x="53043" y="59511"/>
                  </a:lnTo>
                  <a:lnTo>
                    <a:pt x="53575" y="57704"/>
                  </a:lnTo>
                  <a:lnTo>
                    <a:pt x="52950" y="56086"/>
                  </a:lnTo>
                  <a:close/>
                  <a:moveTo>
                    <a:pt x="92910" y="50986"/>
                  </a:moveTo>
                  <a:lnTo>
                    <a:pt x="95231" y="51493"/>
                  </a:lnTo>
                  <a:lnTo>
                    <a:pt x="97389" y="52194"/>
                  </a:lnTo>
                  <a:lnTo>
                    <a:pt x="98559" y="52797"/>
                  </a:lnTo>
                  <a:lnTo>
                    <a:pt x="99215" y="53766"/>
                  </a:lnTo>
                  <a:lnTo>
                    <a:pt x="97768" y="56072"/>
                  </a:lnTo>
                  <a:lnTo>
                    <a:pt x="97367" y="57334"/>
                  </a:lnTo>
                  <a:lnTo>
                    <a:pt x="98339" y="61483"/>
                  </a:lnTo>
                  <a:lnTo>
                    <a:pt x="98392" y="64591"/>
                  </a:lnTo>
                  <a:lnTo>
                    <a:pt x="97818" y="65495"/>
                  </a:lnTo>
                  <a:lnTo>
                    <a:pt x="96974" y="66090"/>
                  </a:lnTo>
                  <a:lnTo>
                    <a:pt x="94765" y="66721"/>
                  </a:lnTo>
                  <a:lnTo>
                    <a:pt x="92852" y="67602"/>
                  </a:lnTo>
                  <a:lnTo>
                    <a:pt x="91146" y="69149"/>
                  </a:lnTo>
                  <a:lnTo>
                    <a:pt x="90517" y="71359"/>
                  </a:lnTo>
                  <a:lnTo>
                    <a:pt x="91852" y="72974"/>
                  </a:lnTo>
                  <a:lnTo>
                    <a:pt x="94279" y="73859"/>
                  </a:lnTo>
                  <a:lnTo>
                    <a:pt x="94897" y="76930"/>
                  </a:lnTo>
                  <a:lnTo>
                    <a:pt x="92893" y="78444"/>
                  </a:lnTo>
                  <a:lnTo>
                    <a:pt x="87751" y="79954"/>
                  </a:lnTo>
                  <a:lnTo>
                    <a:pt x="87211" y="83594"/>
                  </a:lnTo>
                  <a:lnTo>
                    <a:pt x="87378" y="86459"/>
                  </a:lnTo>
                  <a:lnTo>
                    <a:pt x="87285" y="88539"/>
                  </a:lnTo>
                  <a:lnTo>
                    <a:pt x="86877" y="91414"/>
                  </a:lnTo>
                  <a:lnTo>
                    <a:pt x="82717" y="92723"/>
                  </a:lnTo>
                  <a:lnTo>
                    <a:pt x="80034" y="88345"/>
                  </a:lnTo>
                  <a:lnTo>
                    <a:pt x="80010" y="86590"/>
                  </a:lnTo>
                  <a:lnTo>
                    <a:pt x="79209" y="84540"/>
                  </a:lnTo>
                  <a:lnTo>
                    <a:pt x="79058" y="82791"/>
                  </a:lnTo>
                  <a:lnTo>
                    <a:pt x="78107" y="79991"/>
                  </a:lnTo>
                  <a:lnTo>
                    <a:pt x="74173" y="79233"/>
                  </a:lnTo>
                  <a:lnTo>
                    <a:pt x="72646" y="79133"/>
                  </a:lnTo>
                  <a:lnTo>
                    <a:pt x="70510" y="79654"/>
                  </a:lnTo>
                  <a:lnTo>
                    <a:pt x="69981" y="79451"/>
                  </a:lnTo>
                  <a:lnTo>
                    <a:pt x="67425" y="75620"/>
                  </a:lnTo>
                  <a:lnTo>
                    <a:pt x="67846" y="71386"/>
                  </a:lnTo>
                  <a:lnTo>
                    <a:pt x="66481" y="69246"/>
                  </a:lnTo>
                  <a:lnTo>
                    <a:pt x="66293" y="68277"/>
                  </a:lnTo>
                  <a:lnTo>
                    <a:pt x="66326" y="67203"/>
                  </a:lnTo>
                  <a:lnTo>
                    <a:pt x="65205" y="66317"/>
                  </a:lnTo>
                  <a:lnTo>
                    <a:pt x="63845" y="65848"/>
                  </a:lnTo>
                  <a:lnTo>
                    <a:pt x="63184" y="63455"/>
                  </a:lnTo>
                  <a:lnTo>
                    <a:pt x="64747" y="62875"/>
                  </a:lnTo>
                  <a:lnTo>
                    <a:pt x="68612" y="63155"/>
                  </a:lnTo>
                  <a:lnTo>
                    <a:pt x="69742" y="62992"/>
                  </a:lnTo>
                  <a:lnTo>
                    <a:pt x="70776" y="62493"/>
                  </a:lnTo>
                  <a:lnTo>
                    <a:pt x="73903" y="58553"/>
                  </a:lnTo>
                  <a:lnTo>
                    <a:pt x="73812" y="57684"/>
                  </a:lnTo>
                  <a:lnTo>
                    <a:pt x="74147" y="56556"/>
                  </a:lnTo>
                  <a:lnTo>
                    <a:pt x="77531" y="56138"/>
                  </a:lnTo>
                  <a:lnTo>
                    <a:pt x="79038" y="57662"/>
                  </a:lnTo>
                  <a:lnTo>
                    <a:pt x="78736" y="60102"/>
                  </a:lnTo>
                  <a:lnTo>
                    <a:pt x="78928" y="63224"/>
                  </a:lnTo>
                  <a:lnTo>
                    <a:pt x="80977" y="64072"/>
                  </a:lnTo>
                  <a:lnTo>
                    <a:pt x="81776" y="64197"/>
                  </a:lnTo>
                  <a:lnTo>
                    <a:pt x="82629" y="61892"/>
                  </a:lnTo>
                  <a:lnTo>
                    <a:pt x="83227" y="60771"/>
                  </a:lnTo>
                  <a:lnTo>
                    <a:pt x="84039" y="60146"/>
                  </a:lnTo>
                  <a:lnTo>
                    <a:pt x="84315" y="58036"/>
                  </a:lnTo>
                  <a:lnTo>
                    <a:pt x="83834" y="56747"/>
                  </a:lnTo>
                  <a:lnTo>
                    <a:pt x="82808" y="55786"/>
                  </a:lnTo>
                  <a:lnTo>
                    <a:pt x="86639" y="53169"/>
                  </a:lnTo>
                  <a:lnTo>
                    <a:pt x="90604" y="51094"/>
                  </a:lnTo>
                  <a:close/>
                  <a:moveTo>
                    <a:pt x="65546" y="12961"/>
                  </a:moveTo>
                  <a:lnTo>
                    <a:pt x="67509" y="13184"/>
                  </a:lnTo>
                  <a:lnTo>
                    <a:pt x="65350" y="14644"/>
                  </a:lnTo>
                  <a:lnTo>
                    <a:pt x="64803" y="15417"/>
                  </a:lnTo>
                  <a:lnTo>
                    <a:pt x="63903" y="16160"/>
                  </a:lnTo>
                  <a:lnTo>
                    <a:pt x="60860" y="15109"/>
                  </a:lnTo>
                  <a:lnTo>
                    <a:pt x="62204" y="13639"/>
                  </a:lnTo>
                  <a:close/>
                  <a:moveTo>
                    <a:pt x="55026" y="0"/>
                  </a:moveTo>
                  <a:lnTo>
                    <a:pt x="52173" y="2816"/>
                  </a:lnTo>
                  <a:lnTo>
                    <a:pt x="51715" y="3905"/>
                  </a:lnTo>
                  <a:lnTo>
                    <a:pt x="51370" y="5573"/>
                  </a:lnTo>
                  <a:lnTo>
                    <a:pt x="53415" y="9192"/>
                  </a:lnTo>
                  <a:lnTo>
                    <a:pt x="52983" y="11391"/>
                  </a:lnTo>
                  <a:lnTo>
                    <a:pt x="53127" y="15713"/>
                  </a:lnTo>
                  <a:lnTo>
                    <a:pt x="51199" y="17962"/>
                  </a:lnTo>
                  <a:lnTo>
                    <a:pt x="49023" y="22738"/>
                  </a:lnTo>
                  <a:lnTo>
                    <a:pt x="48085" y="23440"/>
                  </a:lnTo>
                  <a:lnTo>
                    <a:pt x="47885" y="29001"/>
                  </a:lnTo>
                  <a:lnTo>
                    <a:pt x="48098" y="30326"/>
                  </a:lnTo>
                  <a:lnTo>
                    <a:pt x="47789" y="35374"/>
                  </a:lnTo>
                  <a:lnTo>
                    <a:pt x="50020" y="37437"/>
                  </a:lnTo>
                  <a:lnTo>
                    <a:pt x="52378" y="38515"/>
                  </a:lnTo>
                  <a:lnTo>
                    <a:pt x="60243" y="38477"/>
                  </a:lnTo>
                  <a:lnTo>
                    <a:pt x="61059" y="39383"/>
                  </a:lnTo>
                  <a:lnTo>
                    <a:pt x="62018" y="40939"/>
                  </a:lnTo>
                  <a:lnTo>
                    <a:pt x="61316" y="43578"/>
                  </a:lnTo>
                  <a:lnTo>
                    <a:pt x="60476" y="45567"/>
                  </a:lnTo>
                  <a:lnTo>
                    <a:pt x="58198" y="47241"/>
                  </a:lnTo>
                  <a:lnTo>
                    <a:pt x="55274" y="48488"/>
                  </a:lnTo>
                  <a:lnTo>
                    <a:pt x="53456" y="48543"/>
                  </a:lnTo>
                  <a:lnTo>
                    <a:pt x="50979" y="46172"/>
                  </a:lnTo>
                  <a:lnTo>
                    <a:pt x="49802" y="46941"/>
                  </a:lnTo>
                  <a:lnTo>
                    <a:pt x="48586" y="48150"/>
                  </a:lnTo>
                  <a:lnTo>
                    <a:pt x="46550" y="54627"/>
                  </a:lnTo>
                  <a:lnTo>
                    <a:pt x="45585" y="58992"/>
                  </a:lnTo>
                  <a:lnTo>
                    <a:pt x="45062" y="59346"/>
                  </a:lnTo>
                  <a:lnTo>
                    <a:pt x="43911" y="58703"/>
                  </a:lnTo>
                  <a:lnTo>
                    <a:pt x="41923" y="58653"/>
                  </a:lnTo>
                  <a:lnTo>
                    <a:pt x="39409" y="59687"/>
                  </a:lnTo>
                  <a:lnTo>
                    <a:pt x="40698" y="60612"/>
                  </a:lnTo>
                  <a:lnTo>
                    <a:pt x="42061" y="62217"/>
                  </a:lnTo>
                  <a:lnTo>
                    <a:pt x="41516" y="63021"/>
                  </a:lnTo>
                  <a:lnTo>
                    <a:pt x="39305" y="63889"/>
                  </a:lnTo>
                  <a:lnTo>
                    <a:pt x="37345" y="65645"/>
                  </a:lnTo>
                  <a:lnTo>
                    <a:pt x="36524" y="66973"/>
                  </a:lnTo>
                  <a:lnTo>
                    <a:pt x="34051" y="68543"/>
                  </a:lnTo>
                  <a:lnTo>
                    <a:pt x="32497" y="70532"/>
                  </a:lnTo>
                  <a:lnTo>
                    <a:pt x="33259" y="72995"/>
                  </a:lnTo>
                  <a:lnTo>
                    <a:pt x="33583" y="75156"/>
                  </a:lnTo>
                  <a:lnTo>
                    <a:pt x="34263" y="77540"/>
                  </a:lnTo>
                  <a:lnTo>
                    <a:pt x="33650" y="79442"/>
                  </a:lnTo>
                  <a:lnTo>
                    <a:pt x="30588" y="82168"/>
                  </a:lnTo>
                  <a:lnTo>
                    <a:pt x="29459" y="84528"/>
                  </a:lnTo>
                  <a:lnTo>
                    <a:pt x="32082" y="84498"/>
                  </a:lnTo>
                  <a:lnTo>
                    <a:pt x="33697" y="85043"/>
                  </a:lnTo>
                  <a:lnTo>
                    <a:pt x="34643" y="85740"/>
                  </a:lnTo>
                  <a:lnTo>
                    <a:pt x="35619" y="86727"/>
                  </a:lnTo>
                  <a:lnTo>
                    <a:pt x="35021" y="87946"/>
                  </a:lnTo>
                  <a:lnTo>
                    <a:pt x="35783" y="91101"/>
                  </a:lnTo>
                  <a:lnTo>
                    <a:pt x="35457" y="91101"/>
                  </a:lnTo>
                  <a:lnTo>
                    <a:pt x="34047" y="90830"/>
                  </a:lnTo>
                  <a:lnTo>
                    <a:pt x="33043" y="90184"/>
                  </a:lnTo>
                  <a:lnTo>
                    <a:pt x="30454" y="90644"/>
                  </a:lnTo>
                  <a:lnTo>
                    <a:pt x="26988" y="91691"/>
                  </a:lnTo>
                  <a:lnTo>
                    <a:pt x="25064" y="91638"/>
                  </a:lnTo>
                  <a:lnTo>
                    <a:pt x="23535" y="90514"/>
                  </a:lnTo>
                  <a:lnTo>
                    <a:pt x="17280" y="88911"/>
                  </a:lnTo>
                  <a:lnTo>
                    <a:pt x="16269" y="88781"/>
                  </a:lnTo>
                  <a:lnTo>
                    <a:pt x="12145" y="88714"/>
                  </a:lnTo>
                  <a:lnTo>
                    <a:pt x="12136" y="88711"/>
                  </a:lnTo>
                  <a:lnTo>
                    <a:pt x="11939" y="86176"/>
                  </a:lnTo>
                  <a:lnTo>
                    <a:pt x="11428" y="84343"/>
                  </a:lnTo>
                  <a:lnTo>
                    <a:pt x="9983" y="81613"/>
                  </a:lnTo>
                  <a:lnTo>
                    <a:pt x="12125" y="80954"/>
                  </a:lnTo>
                  <a:lnTo>
                    <a:pt x="11711" y="75622"/>
                  </a:lnTo>
                  <a:lnTo>
                    <a:pt x="10933" y="72852"/>
                  </a:lnTo>
                  <a:lnTo>
                    <a:pt x="4949" y="70003"/>
                  </a:lnTo>
                  <a:lnTo>
                    <a:pt x="236" y="67231"/>
                  </a:lnTo>
                  <a:lnTo>
                    <a:pt x="1324" y="57872"/>
                  </a:lnTo>
                  <a:lnTo>
                    <a:pt x="1788" y="55344"/>
                  </a:lnTo>
                  <a:lnTo>
                    <a:pt x="0" y="50431"/>
                  </a:lnTo>
                  <a:lnTo>
                    <a:pt x="186" y="44763"/>
                  </a:lnTo>
                  <a:lnTo>
                    <a:pt x="939" y="35802"/>
                  </a:lnTo>
                  <a:lnTo>
                    <a:pt x="2438" y="35451"/>
                  </a:lnTo>
                  <a:lnTo>
                    <a:pt x="3537" y="35494"/>
                  </a:lnTo>
                  <a:lnTo>
                    <a:pt x="7776" y="37105"/>
                  </a:lnTo>
                  <a:lnTo>
                    <a:pt x="9541" y="37266"/>
                  </a:lnTo>
                  <a:lnTo>
                    <a:pt x="10750" y="38703"/>
                  </a:lnTo>
                  <a:lnTo>
                    <a:pt x="12166" y="39295"/>
                  </a:lnTo>
                  <a:lnTo>
                    <a:pt x="13192" y="37768"/>
                  </a:lnTo>
                  <a:lnTo>
                    <a:pt x="13591" y="35156"/>
                  </a:lnTo>
                  <a:lnTo>
                    <a:pt x="16951" y="31770"/>
                  </a:lnTo>
                  <a:lnTo>
                    <a:pt x="19305" y="30519"/>
                  </a:lnTo>
                  <a:lnTo>
                    <a:pt x="20910" y="29918"/>
                  </a:lnTo>
                  <a:lnTo>
                    <a:pt x="22529" y="31286"/>
                  </a:lnTo>
                  <a:lnTo>
                    <a:pt x="23768" y="32821"/>
                  </a:lnTo>
                  <a:lnTo>
                    <a:pt x="24062" y="29460"/>
                  </a:lnTo>
                  <a:lnTo>
                    <a:pt x="25062" y="23042"/>
                  </a:lnTo>
                  <a:lnTo>
                    <a:pt x="21868" y="22033"/>
                  </a:lnTo>
                  <a:lnTo>
                    <a:pt x="19266" y="22903"/>
                  </a:lnTo>
                  <a:lnTo>
                    <a:pt x="16686" y="26973"/>
                  </a:lnTo>
                  <a:lnTo>
                    <a:pt x="14384" y="32078"/>
                  </a:lnTo>
                  <a:lnTo>
                    <a:pt x="10650" y="32546"/>
                  </a:lnTo>
                  <a:lnTo>
                    <a:pt x="7670" y="33989"/>
                  </a:lnTo>
                  <a:lnTo>
                    <a:pt x="4980" y="32493"/>
                  </a:lnTo>
                  <a:lnTo>
                    <a:pt x="3246" y="31174"/>
                  </a:lnTo>
                  <a:lnTo>
                    <a:pt x="3203" y="29241"/>
                  </a:lnTo>
                  <a:lnTo>
                    <a:pt x="3596" y="28074"/>
                  </a:lnTo>
                  <a:lnTo>
                    <a:pt x="6757" y="23905"/>
                  </a:lnTo>
                  <a:lnTo>
                    <a:pt x="10992" y="19893"/>
                  </a:lnTo>
                  <a:lnTo>
                    <a:pt x="15258" y="19932"/>
                  </a:lnTo>
                  <a:lnTo>
                    <a:pt x="18370" y="18649"/>
                  </a:lnTo>
                  <a:lnTo>
                    <a:pt x="20229" y="18495"/>
                  </a:lnTo>
                  <a:lnTo>
                    <a:pt x="26034" y="18777"/>
                  </a:lnTo>
                  <a:lnTo>
                    <a:pt x="29014" y="17897"/>
                  </a:lnTo>
                  <a:lnTo>
                    <a:pt x="31683" y="16054"/>
                  </a:lnTo>
                  <a:lnTo>
                    <a:pt x="37450" y="8241"/>
                  </a:lnTo>
                  <a:lnTo>
                    <a:pt x="40705" y="4976"/>
                  </a:lnTo>
                  <a:lnTo>
                    <a:pt x="47267" y="3825"/>
                  </a:lnTo>
                  <a:lnTo>
                    <a:pt x="53330" y="48"/>
                  </a:lnTo>
                  <a:close/>
                </a:path>
              </a:pathLst>
            </a:custGeom>
            <a:solidFill>
              <a:srgbClr val="A3BA1E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42" name="ee4p_DK_2_82333">
              <a:extLst>
                <a:ext uri="{FF2B5EF4-FFF2-40B4-BE49-F238E27FC236}">
                  <a16:creationId xmlns:a16="http://schemas.microsoft.com/office/drawing/2014/main" id="{AE64DCE4-352C-0C7C-D498-1D3A2ACFEF9E}"/>
                </a:ext>
              </a:extLst>
            </p:cNvPr>
            <p:cNvSpPr>
              <a:spLocks noChangeAspect="1"/>
            </p:cNvSpPr>
            <p:nvPr>
              <p:custDataLst>
                <p:tags r:id="rId70"/>
              </p:custDataLst>
            </p:nvPr>
          </p:nvSpPr>
          <p:spPr>
            <a:xfrm>
              <a:off x="4492589" y="1433639"/>
              <a:ext cx="1704830" cy="1293907"/>
            </a:xfrm>
            <a:custGeom>
              <a:avLst/>
              <a:gdLst>
                <a:gd name="connsiteX0" fmla="*/ 588466 w 1357518"/>
                <a:gd name="connsiteY0" fmla="*/ 965500 h 1002999"/>
                <a:gd name="connsiteX1" fmla="*/ 588170 w 1357518"/>
                <a:gd name="connsiteY1" fmla="*/ 967322 h 1002999"/>
                <a:gd name="connsiteX2" fmla="*/ 587376 w 1357518"/>
                <a:gd name="connsiteY2" fmla="*/ 968916 h 1002999"/>
                <a:gd name="connsiteX3" fmla="*/ 587107 w 1357518"/>
                <a:gd name="connsiteY3" fmla="*/ 970930 h 1002999"/>
                <a:gd name="connsiteX4" fmla="*/ 584567 w 1357518"/>
                <a:gd name="connsiteY4" fmla="*/ 974977 h 1002999"/>
                <a:gd name="connsiteX5" fmla="*/ 582029 w 1357518"/>
                <a:gd name="connsiteY5" fmla="*/ 974096 h 1002999"/>
                <a:gd name="connsiteX6" fmla="*/ 580773 w 1357518"/>
                <a:gd name="connsiteY6" fmla="*/ 972288 h 1002999"/>
                <a:gd name="connsiteX7" fmla="*/ 578273 w 1357518"/>
                <a:gd name="connsiteY7" fmla="*/ 971448 h 1002999"/>
                <a:gd name="connsiteX8" fmla="*/ 575578 w 1357518"/>
                <a:gd name="connsiteY8" fmla="*/ 971699 h 1002999"/>
                <a:gd name="connsiteX9" fmla="*/ 575536 w 1357518"/>
                <a:gd name="connsiteY9" fmla="*/ 970982 h 1002999"/>
                <a:gd name="connsiteX10" fmla="*/ 584294 w 1357518"/>
                <a:gd name="connsiteY10" fmla="*/ 966664 h 1002999"/>
                <a:gd name="connsiteX11" fmla="*/ 790962 w 1357518"/>
                <a:gd name="connsiteY11" fmla="*/ 798664 h 1002999"/>
                <a:gd name="connsiteX12" fmla="*/ 793051 w 1357518"/>
                <a:gd name="connsiteY12" fmla="*/ 800807 h 1002999"/>
                <a:gd name="connsiteX13" fmla="*/ 792302 w 1357518"/>
                <a:gd name="connsiteY13" fmla="*/ 803994 h 1002999"/>
                <a:gd name="connsiteX14" fmla="*/ 791322 w 1357518"/>
                <a:gd name="connsiteY14" fmla="*/ 805576 h 1002999"/>
                <a:gd name="connsiteX15" fmla="*/ 787882 w 1357518"/>
                <a:gd name="connsiteY15" fmla="*/ 805599 h 1002999"/>
                <a:gd name="connsiteX16" fmla="*/ 786741 w 1357518"/>
                <a:gd name="connsiteY16" fmla="*/ 802750 h 1002999"/>
                <a:gd name="connsiteX17" fmla="*/ 787084 w 1357518"/>
                <a:gd name="connsiteY17" fmla="*/ 799639 h 1002999"/>
                <a:gd name="connsiteX18" fmla="*/ 480352 w 1357518"/>
                <a:gd name="connsiteY18" fmla="*/ 639490 h 1002999"/>
                <a:gd name="connsiteX19" fmla="*/ 483765 w 1357518"/>
                <a:gd name="connsiteY19" fmla="*/ 640101 h 1002999"/>
                <a:gd name="connsiteX20" fmla="*/ 489541 w 1357518"/>
                <a:gd name="connsiteY20" fmla="*/ 642474 h 1002999"/>
                <a:gd name="connsiteX21" fmla="*/ 489123 w 1357518"/>
                <a:gd name="connsiteY21" fmla="*/ 643242 h 1002999"/>
                <a:gd name="connsiteX22" fmla="*/ 487874 w 1357518"/>
                <a:gd name="connsiteY22" fmla="*/ 644479 h 1002999"/>
                <a:gd name="connsiteX23" fmla="*/ 484395 w 1357518"/>
                <a:gd name="connsiteY23" fmla="*/ 646091 h 1002999"/>
                <a:gd name="connsiteX24" fmla="*/ 483168 w 1357518"/>
                <a:gd name="connsiteY24" fmla="*/ 649724 h 1002999"/>
                <a:gd name="connsiteX25" fmla="*/ 482932 w 1357518"/>
                <a:gd name="connsiteY25" fmla="*/ 651547 h 1002999"/>
                <a:gd name="connsiteX26" fmla="*/ 483098 w 1357518"/>
                <a:gd name="connsiteY26" fmla="*/ 652913 h 1002999"/>
                <a:gd name="connsiteX27" fmla="*/ 482141 w 1357518"/>
                <a:gd name="connsiteY27" fmla="*/ 654108 h 1002999"/>
                <a:gd name="connsiteX28" fmla="*/ 478675 w 1357518"/>
                <a:gd name="connsiteY28" fmla="*/ 655493 h 1002999"/>
                <a:gd name="connsiteX29" fmla="*/ 477976 w 1357518"/>
                <a:gd name="connsiteY29" fmla="*/ 655185 h 1002999"/>
                <a:gd name="connsiteX30" fmla="*/ 477269 w 1357518"/>
                <a:gd name="connsiteY30" fmla="*/ 654133 h 1002999"/>
                <a:gd name="connsiteX31" fmla="*/ 475480 w 1357518"/>
                <a:gd name="connsiteY31" fmla="*/ 649339 h 1002999"/>
                <a:gd name="connsiteX32" fmla="*/ 474950 w 1357518"/>
                <a:gd name="connsiteY32" fmla="*/ 647061 h 1002999"/>
                <a:gd name="connsiteX33" fmla="*/ 475391 w 1357518"/>
                <a:gd name="connsiteY33" fmla="*/ 644227 h 1002999"/>
                <a:gd name="connsiteX34" fmla="*/ 474698 w 1357518"/>
                <a:gd name="connsiteY34" fmla="*/ 642228 h 1002999"/>
                <a:gd name="connsiteX35" fmla="*/ 477824 w 1357518"/>
                <a:gd name="connsiteY35" fmla="*/ 639895 h 1002999"/>
                <a:gd name="connsiteX36" fmla="*/ 407890 w 1357518"/>
                <a:gd name="connsiteY36" fmla="*/ 623906 h 1002999"/>
                <a:gd name="connsiteX37" fmla="*/ 415947 w 1357518"/>
                <a:gd name="connsiteY37" fmla="*/ 624736 h 1002999"/>
                <a:gd name="connsiteX38" fmla="*/ 429924 w 1357518"/>
                <a:gd name="connsiteY38" fmla="*/ 627723 h 1002999"/>
                <a:gd name="connsiteX39" fmla="*/ 431658 w 1357518"/>
                <a:gd name="connsiteY39" fmla="*/ 628356 h 1002999"/>
                <a:gd name="connsiteX40" fmla="*/ 435943 w 1357518"/>
                <a:gd name="connsiteY40" fmla="*/ 630915 h 1002999"/>
                <a:gd name="connsiteX41" fmla="*/ 444164 w 1357518"/>
                <a:gd name="connsiteY41" fmla="*/ 638679 h 1002999"/>
                <a:gd name="connsiteX42" fmla="*/ 451525 w 1357518"/>
                <a:gd name="connsiteY42" fmla="*/ 641887 h 1002999"/>
                <a:gd name="connsiteX43" fmla="*/ 459329 w 1357518"/>
                <a:gd name="connsiteY43" fmla="*/ 644101 h 1002999"/>
                <a:gd name="connsiteX44" fmla="*/ 460093 w 1357518"/>
                <a:gd name="connsiteY44" fmla="*/ 645113 h 1002999"/>
                <a:gd name="connsiteX45" fmla="*/ 460698 w 1357518"/>
                <a:gd name="connsiteY45" fmla="*/ 646642 h 1002999"/>
                <a:gd name="connsiteX46" fmla="*/ 460839 w 1357518"/>
                <a:gd name="connsiteY46" fmla="*/ 647439 h 1002999"/>
                <a:gd name="connsiteX47" fmla="*/ 460660 w 1357518"/>
                <a:gd name="connsiteY47" fmla="*/ 648178 h 1002999"/>
                <a:gd name="connsiteX48" fmla="*/ 460166 w 1357518"/>
                <a:gd name="connsiteY48" fmla="*/ 648859 h 1002999"/>
                <a:gd name="connsiteX49" fmla="*/ 460736 w 1357518"/>
                <a:gd name="connsiteY49" fmla="*/ 649736 h 1002999"/>
                <a:gd name="connsiteX50" fmla="*/ 462371 w 1357518"/>
                <a:gd name="connsiteY50" fmla="*/ 650807 h 1002999"/>
                <a:gd name="connsiteX51" fmla="*/ 462538 w 1357518"/>
                <a:gd name="connsiteY51" fmla="*/ 652059 h 1002999"/>
                <a:gd name="connsiteX52" fmla="*/ 460587 w 1357518"/>
                <a:gd name="connsiteY52" fmla="*/ 654206 h 1002999"/>
                <a:gd name="connsiteX53" fmla="*/ 457842 w 1357518"/>
                <a:gd name="connsiteY53" fmla="*/ 656590 h 1002999"/>
                <a:gd name="connsiteX54" fmla="*/ 443295 w 1357518"/>
                <a:gd name="connsiteY54" fmla="*/ 661483 h 1002999"/>
                <a:gd name="connsiteX55" fmla="*/ 438150 w 1357518"/>
                <a:gd name="connsiteY55" fmla="*/ 662314 h 1002999"/>
                <a:gd name="connsiteX56" fmla="*/ 425429 w 1357518"/>
                <a:gd name="connsiteY56" fmla="*/ 665665 h 1002999"/>
                <a:gd name="connsiteX57" fmla="*/ 421539 w 1357518"/>
                <a:gd name="connsiteY57" fmla="*/ 665528 h 1002999"/>
                <a:gd name="connsiteX58" fmla="*/ 420681 w 1357518"/>
                <a:gd name="connsiteY58" fmla="*/ 665371 h 1002999"/>
                <a:gd name="connsiteX59" fmla="*/ 418273 w 1357518"/>
                <a:gd name="connsiteY59" fmla="*/ 663898 h 1002999"/>
                <a:gd name="connsiteX60" fmla="*/ 414976 w 1357518"/>
                <a:gd name="connsiteY60" fmla="*/ 662527 h 1002999"/>
                <a:gd name="connsiteX61" fmla="*/ 413430 w 1357518"/>
                <a:gd name="connsiteY61" fmla="*/ 661464 h 1002999"/>
                <a:gd name="connsiteX62" fmla="*/ 412067 w 1357518"/>
                <a:gd name="connsiteY62" fmla="*/ 659936 h 1002999"/>
                <a:gd name="connsiteX63" fmla="*/ 412610 w 1357518"/>
                <a:gd name="connsiteY63" fmla="*/ 658989 h 1002999"/>
                <a:gd name="connsiteX64" fmla="*/ 415060 w 1357518"/>
                <a:gd name="connsiteY64" fmla="*/ 658616 h 1002999"/>
                <a:gd name="connsiteX65" fmla="*/ 418548 w 1357518"/>
                <a:gd name="connsiteY65" fmla="*/ 658641 h 1002999"/>
                <a:gd name="connsiteX66" fmla="*/ 423663 w 1357518"/>
                <a:gd name="connsiteY66" fmla="*/ 657528 h 1002999"/>
                <a:gd name="connsiteX67" fmla="*/ 422248 w 1357518"/>
                <a:gd name="connsiteY67" fmla="*/ 656527 h 1002999"/>
                <a:gd name="connsiteX68" fmla="*/ 420904 w 1357518"/>
                <a:gd name="connsiteY68" fmla="*/ 655917 h 1002999"/>
                <a:gd name="connsiteX69" fmla="*/ 419976 w 1357518"/>
                <a:gd name="connsiteY69" fmla="*/ 654585 h 1002999"/>
                <a:gd name="connsiteX70" fmla="*/ 417843 w 1357518"/>
                <a:gd name="connsiteY70" fmla="*/ 654845 h 1002999"/>
                <a:gd name="connsiteX71" fmla="*/ 416245 w 1357518"/>
                <a:gd name="connsiteY71" fmla="*/ 654082 h 1002999"/>
                <a:gd name="connsiteX72" fmla="*/ 413162 w 1357518"/>
                <a:gd name="connsiteY72" fmla="*/ 653601 h 1002999"/>
                <a:gd name="connsiteX73" fmla="*/ 405118 w 1357518"/>
                <a:gd name="connsiteY73" fmla="*/ 653140 h 1002999"/>
                <a:gd name="connsiteX74" fmla="*/ 399874 w 1357518"/>
                <a:gd name="connsiteY74" fmla="*/ 651832 h 1002999"/>
                <a:gd name="connsiteX75" fmla="*/ 398327 w 1357518"/>
                <a:gd name="connsiteY75" fmla="*/ 651049 h 1002999"/>
                <a:gd name="connsiteX76" fmla="*/ 396963 w 1357518"/>
                <a:gd name="connsiteY76" fmla="*/ 649694 h 1002999"/>
                <a:gd name="connsiteX77" fmla="*/ 395783 w 1357518"/>
                <a:gd name="connsiteY77" fmla="*/ 647785 h 1002999"/>
                <a:gd name="connsiteX78" fmla="*/ 397505 w 1357518"/>
                <a:gd name="connsiteY78" fmla="*/ 640369 h 1002999"/>
                <a:gd name="connsiteX79" fmla="*/ 398685 w 1357518"/>
                <a:gd name="connsiteY79" fmla="*/ 638476 h 1002999"/>
                <a:gd name="connsiteX80" fmla="*/ 401411 w 1357518"/>
                <a:gd name="connsiteY80" fmla="*/ 637851 h 1002999"/>
                <a:gd name="connsiteX81" fmla="*/ 408078 w 1357518"/>
                <a:gd name="connsiteY81" fmla="*/ 639504 h 1002999"/>
                <a:gd name="connsiteX82" fmla="*/ 408974 w 1357518"/>
                <a:gd name="connsiteY82" fmla="*/ 638790 h 1002999"/>
                <a:gd name="connsiteX83" fmla="*/ 401680 w 1357518"/>
                <a:gd name="connsiteY83" fmla="*/ 636052 h 1002999"/>
                <a:gd name="connsiteX84" fmla="*/ 399000 w 1357518"/>
                <a:gd name="connsiteY84" fmla="*/ 634415 h 1002999"/>
                <a:gd name="connsiteX85" fmla="*/ 398211 w 1357518"/>
                <a:gd name="connsiteY85" fmla="*/ 633126 h 1002999"/>
                <a:gd name="connsiteX86" fmla="*/ 397737 w 1357518"/>
                <a:gd name="connsiteY86" fmla="*/ 631229 h 1002999"/>
                <a:gd name="connsiteX87" fmla="*/ 397744 w 1357518"/>
                <a:gd name="connsiteY87" fmla="*/ 630113 h 1002999"/>
                <a:gd name="connsiteX88" fmla="*/ 398073 w 1357518"/>
                <a:gd name="connsiteY88" fmla="*/ 628989 h 1002999"/>
                <a:gd name="connsiteX89" fmla="*/ 398722 w 1357518"/>
                <a:gd name="connsiteY89" fmla="*/ 627863 h 1002999"/>
                <a:gd name="connsiteX90" fmla="*/ 400497 w 1357518"/>
                <a:gd name="connsiteY90" fmla="*/ 626338 h 1002999"/>
                <a:gd name="connsiteX91" fmla="*/ 460998 w 1357518"/>
                <a:gd name="connsiteY91" fmla="*/ 597485 h 1002999"/>
                <a:gd name="connsiteX92" fmla="*/ 464600 w 1357518"/>
                <a:gd name="connsiteY92" fmla="*/ 598890 h 1002999"/>
                <a:gd name="connsiteX93" fmla="*/ 468483 w 1357518"/>
                <a:gd name="connsiteY93" fmla="*/ 600886 h 1002999"/>
                <a:gd name="connsiteX94" fmla="*/ 469023 w 1357518"/>
                <a:gd name="connsiteY94" fmla="*/ 601824 h 1002999"/>
                <a:gd name="connsiteX95" fmla="*/ 467514 w 1357518"/>
                <a:gd name="connsiteY95" fmla="*/ 602372 h 1002999"/>
                <a:gd name="connsiteX96" fmla="*/ 464561 w 1357518"/>
                <a:gd name="connsiteY96" fmla="*/ 602480 h 1002999"/>
                <a:gd name="connsiteX97" fmla="*/ 457691 w 1357518"/>
                <a:gd name="connsiteY97" fmla="*/ 601751 h 1002999"/>
                <a:gd name="connsiteX98" fmla="*/ 457143 w 1357518"/>
                <a:gd name="connsiteY98" fmla="*/ 601283 h 1002999"/>
                <a:gd name="connsiteX99" fmla="*/ 457058 w 1357518"/>
                <a:gd name="connsiteY99" fmla="*/ 600392 h 1002999"/>
                <a:gd name="connsiteX100" fmla="*/ 457971 w 1357518"/>
                <a:gd name="connsiteY100" fmla="*/ 597826 h 1002999"/>
                <a:gd name="connsiteX101" fmla="*/ 1039251 w 1357518"/>
                <a:gd name="connsiteY101" fmla="*/ 594771 h 1002999"/>
                <a:gd name="connsiteX102" fmla="*/ 1041287 w 1357518"/>
                <a:gd name="connsiteY102" fmla="*/ 594836 h 1002999"/>
                <a:gd name="connsiteX103" fmla="*/ 1042746 w 1357518"/>
                <a:gd name="connsiteY103" fmla="*/ 596618 h 1002999"/>
                <a:gd name="connsiteX104" fmla="*/ 1043819 w 1357518"/>
                <a:gd name="connsiteY104" fmla="*/ 597491 h 1002999"/>
                <a:gd name="connsiteX105" fmla="*/ 1047225 w 1357518"/>
                <a:gd name="connsiteY105" fmla="*/ 598854 h 1002999"/>
                <a:gd name="connsiteX106" fmla="*/ 1047799 w 1357518"/>
                <a:gd name="connsiteY106" fmla="*/ 599709 h 1002999"/>
                <a:gd name="connsiteX107" fmla="*/ 1048575 w 1357518"/>
                <a:gd name="connsiteY107" fmla="*/ 602081 h 1002999"/>
                <a:gd name="connsiteX108" fmla="*/ 1048654 w 1357518"/>
                <a:gd name="connsiteY108" fmla="*/ 603200 h 1002999"/>
                <a:gd name="connsiteX109" fmla="*/ 1048483 w 1357518"/>
                <a:gd name="connsiteY109" fmla="*/ 604141 h 1002999"/>
                <a:gd name="connsiteX110" fmla="*/ 1048053 w 1357518"/>
                <a:gd name="connsiteY110" fmla="*/ 604812 h 1002999"/>
                <a:gd name="connsiteX111" fmla="*/ 1047015 w 1357518"/>
                <a:gd name="connsiteY111" fmla="*/ 605411 h 1002999"/>
                <a:gd name="connsiteX112" fmla="*/ 1048953 w 1357518"/>
                <a:gd name="connsiteY112" fmla="*/ 606982 h 1002999"/>
                <a:gd name="connsiteX113" fmla="*/ 1049582 w 1357518"/>
                <a:gd name="connsiteY113" fmla="*/ 608037 h 1002999"/>
                <a:gd name="connsiteX114" fmla="*/ 1049700 w 1357518"/>
                <a:gd name="connsiteY114" fmla="*/ 608879 h 1002999"/>
                <a:gd name="connsiteX115" fmla="*/ 1048464 w 1357518"/>
                <a:gd name="connsiteY115" fmla="*/ 610509 h 1002999"/>
                <a:gd name="connsiteX116" fmla="*/ 1039656 w 1357518"/>
                <a:gd name="connsiteY116" fmla="*/ 612663 h 1002999"/>
                <a:gd name="connsiteX117" fmla="*/ 1037207 w 1357518"/>
                <a:gd name="connsiteY117" fmla="*/ 613698 h 1002999"/>
                <a:gd name="connsiteX118" fmla="*/ 1034147 w 1357518"/>
                <a:gd name="connsiteY118" fmla="*/ 616254 h 1002999"/>
                <a:gd name="connsiteX119" fmla="*/ 1030428 w 1357518"/>
                <a:gd name="connsiteY119" fmla="*/ 618454 h 1002999"/>
                <a:gd name="connsiteX120" fmla="*/ 1029190 w 1357518"/>
                <a:gd name="connsiteY120" fmla="*/ 618443 h 1002999"/>
                <a:gd name="connsiteX121" fmla="*/ 1027747 w 1357518"/>
                <a:gd name="connsiteY121" fmla="*/ 616163 h 1002999"/>
                <a:gd name="connsiteX122" fmla="*/ 1021875 w 1357518"/>
                <a:gd name="connsiteY122" fmla="*/ 614486 h 1002999"/>
                <a:gd name="connsiteX123" fmla="*/ 1010817 w 1357518"/>
                <a:gd name="connsiteY123" fmla="*/ 615361 h 1002999"/>
                <a:gd name="connsiteX124" fmla="*/ 997876 w 1357518"/>
                <a:gd name="connsiteY124" fmla="*/ 617472 h 1002999"/>
                <a:gd name="connsiteX125" fmla="*/ 993278 w 1357518"/>
                <a:gd name="connsiteY125" fmla="*/ 618456 h 1002999"/>
                <a:gd name="connsiteX126" fmla="*/ 990955 w 1357518"/>
                <a:gd name="connsiteY126" fmla="*/ 617932 h 1002999"/>
                <a:gd name="connsiteX127" fmla="*/ 990242 w 1357518"/>
                <a:gd name="connsiteY127" fmla="*/ 617146 h 1002999"/>
                <a:gd name="connsiteX128" fmla="*/ 990208 w 1357518"/>
                <a:gd name="connsiteY128" fmla="*/ 616045 h 1002999"/>
                <a:gd name="connsiteX129" fmla="*/ 991740 w 1357518"/>
                <a:gd name="connsiteY129" fmla="*/ 612827 h 1002999"/>
                <a:gd name="connsiteX130" fmla="*/ 992359 w 1357518"/>
                <a:gd name="connsiteY130" fmla="*/ 612007 h 1002999"/>
                <a:gd name="connsiteX131" fmla="*/ 995328 w 1357518"/>
                <a:gd name="connsiteY131" fmla="*/ 610935 h 1002999"/>
                <a:gd name="connsiteX132" fmla="*/ 997341 w 1357518"/>
                <a:gd name="connsiteY132" fmla="*/ 608098 h 1002999"/>
                <a:gd name="connsiteX133" fmla="*/ 996683 w 1357518"/>
                <a:gd name="connsiteY133" fmla="*/ 605006 h 1002999"/>
                <a:gd name="connsiteX134" fmla="*/ 997458 w 1357518"/>
                <a:gd name="connsiteY134" fmla="*/ 600685 h 1002999"/>
                <a:gd name="connsiteX135" fmla="*/ 999486 w 1357518"/>
                <a:gd name="connsiteY135" fmla="*/ 600014 h 1002999"/>
                <a:gd name="connsiteX136" fmla="*/ 1004566 w 1357518"/>
                <a:gd name="connsiteY136" fmla="*/ 601550 h 1002999"/>
                <a:gd name="connsiteX137" fmla="*/ 1007852 w 1357518"/>
                <a:gd name="connsiteY137" fmla="*/ 601875 h 1002999"/>
                <a:gd name="connsiteX138" fmla="*/ 1013674 w 1357518"/>
                <a:gd name="connsiteY138" fmla="*/ 602071 h 1002999"/>
                <a:gd name="connsiteX139" fmla="*/ 1021498 w 1357518"/>
                <a:gd name="connsiteY139" fmla="*/ 601550 h 1002999"/>
                <a:gd name="connsiteX140" fmla="*/ 1027784 w 1357518"/>
                <a:gd name="connsiteY140" fmla="*/ 599794 h 1002999"/>
                <a:gd name="connsiteX141" fmla="*/ 425295 w 1357518"/>
                <a:gd name="connsiteY141" fmla="*/ 584500 h 1002999"/>
                <a:gd name="connsiteX142" fmla="*/ 426890 w 1357518"/>
                <a:gd name="connsiteY142" fmla="*/ 586428 h 1002999"/>
                <a:gd name="connsiteX143" fmla="*/ 428459 w 1357518"/>
                <a:gd name="connsiteY143" fmla="*/ 589015 h 1002999"/>
                <a:gd name="connsiteX144" fmla="*/ 428664 w 1357518"/>
                <a:gd name="connsiteY144" fmla="*/ 590329 h 1002999"/>
                <a:gd name="connsiteX145" fmla="*/ 428558 w 1357518"/>
                <a:gd name="connsiteY145" fmla="*/ 591876 h 1002999"/>
                <a:gd name="connsiteX146" fmla="*/ 428148 w 1357518"/>
                <a:gd name="connsiteY146" fmla="*/ 593184 h 1002999"/>
                <a:gd name="connsiteX147" fmla="*/ 427433 w 1357518"/>
                <a:gd name="connsiteY147" fmla="*/ 594260 h 1002999"/>
                <a:gd name="connsiteX148" fmla="*/ 426385 w 1357518"/>
                <a:gd name="connsiteY148" fmla="*/ 594886 h 1002999"/>
                <a:gd name="connsiteX149" fmla="*/ 424315 w 1357518"/>
                <a:gd name="connsiteY149" fmla="*/ 595150 h 1002999"/>
                <a:gd name="connsiteX150" fmla="*/ 418372 w 1357518"/>
                <a:gd name="connsiteY150" fmla="*/ 593093 h 1002999"/>
                <a:gd name="connsiteX151" fmla="*/ 417408 w 1357518"/>
                <a:gd name="connsiteY151" fmla="*/ 592318 h 1002999"/>
                <a:gd name="connsiteX152" fmla="*/ 417040 w 1357518"/>
                <a:gd name="connsiteY152" fmla="*/ 591370 h 1002999"/>
                <a:gd name="connsiteX153" fmla="*/ 417269 w 1357518"/>
                <a:gd name="connsiteY153" fmla="*/ 590244 h 1002999"/>
                <a:gd name="connsiteX154" fmla="*/ 419161 w 1357518"/>
                <a:gd name="connsiteY154" fmla="*/ 588148 h 1002999"/>
                <a:gd name="connsiteX155" fmla="*/ 422719 w 1357518"/>
                <a:gd name="connsiteY155" fmla="*/ 585072 h 1002999"/>
                <a:gd name="connsiteX156" fmla="*/ 389444 w 1357518"/>
                <a:gd name="connsiteY156" fmla="*/ 520655 h 1002999"/>
                <a:gd name="connsiteX157" fmla="*/ 393265 w 1357518"/>
                <a:gd name="connsiteY157" fmla="*/ 521543 h 1002999"/>
                <a:gd name="connsiteX158" fmla="*/ 393621 w 1357518"/>
                <a:gd name="connsiteY158" fmla="*/ 522778 h 1002999"/>
                <a:gd name="connsiteX159" fmla="*/ 390497 w 1357518"/>
                <a:gd name="connsiteY159" fmla="*/ 525625 h 1002999"/>
                <a:gd name="connsiteX160" fmla="*/ 387945 w 1357518"/>
                <a:gd name="connsiteY160" fmla="*/ 527258 h 1002999"/>
                <a:gd name="connsiteX161" fmla="*/ 382416 w 1357518"/>
                <a:gd name="connsiteY161" fmla="*/ 532109 h 1002999"/>
                <a:gd name="connsiteX162" fmla="*/ 381466 w 1357518"/>
                <a:gd name="connsiteY162" fmla="*/ 532278 h 1002999"/>
                <a:gd name="connsiteX163" fmla="*/ 379973 w 1357518"/>
                <a:gd name="connsiteY163" fmla="*/ 531647 h 1002999"/>
                <a:gd name="connsiteX164" fmla="*/ 378815 w 1357518"/>
                <a:gd name="connsiteY164" fmla="*/ 530374 h 1002999"/>
                <a:gd name="connsiteX165" fmla="*/ 376725 w 1357518"/>
                <a:gd name="connsiteY165" fmla="*/ 530067 h 1002999"/>
                <a:gd name="connsiteX166" fmla="*/ 375997 w 1357518"/>
                <a:gd name="connsiteY166" fmla="*/ 529262 h 1002999"/>
                <a:gd name="connsiteX167" fmla="*/ 375705 w 1357518"/>
                <a:gd name="connsiteY167" fmla="*/ 528606 h 1002999"/>
                <a:gd name="connsiteX168" fmla="*/ 374778 w 1357518"/>
                <a:gd name="connsiteY168" fmla="*/ 528189 h 1002999"/>
                <a:gd name="connsiteX169" fmla="*/ 373305 w 1357518"/>
                <a:gd name="connsiteY169" fmla="*/ 527927 h 1002999"/>
                <a:gd name="connsiteX170" fmla="*/ 370939 w 1357518"/>
                <a:gd name="connsiteY170" fmla="*/ 528426 h 1002999"/>
                <a:gd name="connsiteX171" fmla="*/ 368768 w 1357518"/>
                <a:gd name="connsiteY171" fmla="*/ 527923 h 1002999"/>
                <a:gd name="connsiteX172" fmla="*/ 367133 w 1357518"/>
                <a:gd name="connsiteY172" fmla="*/ 525797 h 1002999"/>
                <a:gd name="connsiteX173" fmla="*/ 370156 w 1357518"/>
                <a:gd name="connsiteY173" fmla="*/ 524369 h 1002999"/>
                <a:gd name="connsiteX174" fmla="*/ 372026 w 1357518"/>
                <a:gd name="connsiteY174" fmla="*/ 523150 h 1002999"/>
                <a:gd name="connsiteX175" fmla="*/ 379258 w 1357518"/>
                <a:gd name="connsiteY175" fmla="*/ 522670 h 1002999"/>
                <a:gd name="connsiteX176" fmla="*/ 381298 w 1357518"/>
                <a:gd name="connsiteY176" fmla="*/ 523229 h 1002999"/>
                <a:gd name="connsiteX177" fmla="*/ 382580 w 1357518"/>
                <a:gd name="connsiteY177" fmla="*/ 523215 h 1002999"/>
                <a:gd name="connsiteX178" fmla="*/ 384533 w 1357518"/>
                <a:gd name="connsiteY178" fmla="*/ 522883 h 1002999"/>
                <a:gd name="connsiteX179" fmla="*/ 388806 w 1357518"/>
                <a:gd name="connsiteY179" fmla="*/ 521363 h 1002999"/>
                <a:gd name="connsiteX180" fmla="*/ 1212131 w 1357518"/>
                <a:gd name="connsiteY180" fmla="*/ 409494 h 1002999"/>
                <a:gd name="connsiteX181" fmla="*/ 1213886 w 1357518"/>
                <a:gd name="connsiteY181" fmla="*/ 414214 h 1002999"/>
                <a:gd name="connsiteX182" fmla="*/ 1214666 w 1357518"/>
                <a:gd name="connsiteY182" fmla="*/ 418533 h 1002999"/>
                <a:gd name="connsiteX183" fmla="*/ 1217397 w 1357518"/>
                <a:gd name="connsiteY183" fmla="*/ 421272 h 1002999"/>
                <a:gd name="connsiteX184" fmla="*/ 1223246 w 1357518"/>
                <a:gd name="connsiteY184" fmla="*/ 420885 h 1002999"/>
                <a:gd name="connsiteX185" fmla="*/ 1225587 w 1357518"/>
                <a:gd name="connsiteY185" fmla="*/ 425964 h 1002999"/>
                <a:gd name="connsiteX186" fmla="*/ 1221297 w 1357518"/>
                <a:gd name="connsiteY186" fmla="*/ 427917 h 1002999"/>
                <a:gd name="connsiteX187" fmla="*/ 1204330 w 1357518"/>
                <a:gd name="connsiteY187" fmla="*/ 427135 h 1002999"/>
                <a:gd name="connsiteX188" fmla="*/ 1197310 w 1357518"/>
                <a:gd name="connsiteY188" fmla="*/ 427524 h 1002999"/>
                <a:gd name="connsiteX189" fmla="*/ 1192434 w 1357518"/>
                <a:gd name="connsiteY189" fmla="*/ 424403 h 1002999"/>
                <a:gd name="connsiteX190" fmla="*/ 1192630 w 1357518"/>
                <a:gd name="connsiteY190" fmla="*/ 418924 h 1002999"/>
                <a:gd name="connsiteX191" fmla="*/ 1193214 w 1357518"/>
                <a:gd name="connsiteY191" fmla="*/ 413429 h 1002999"/>
                <a:gd name="connsiteX192" fmla="*/ 1198090 w 1357518"/>
                <a:gd name="connsiteY192" fmla="*/ 410284 h 1002999"/>
                <a:gd name="connsiteX193" fmla="*/ 1202185 w 1357518"/>
                <a:gd name="connsiteY193" fmla="*/ 413035 h 1002999"/>
                <a:gd name="connsiteX194" fmla="*/ 1207060 w 1357518"/>
                <a:gd name="connsiteY194" fmla="*/ 411068 h 1002999"/>
                <a:gd name="connsiteX195" fmla="*/ 1192630 w 1357518"/>
                <a:gd name="connsiteY195" fmla="*/ 350644 h 1002999"/>
                <a:gd name="connsiteX196" fmla="*/ 1195943 w 1357518"/>
                <a:gd name="connsiteY196" fmla="*/ 353491 h 1002999"/>
                <a:gd name="connsiteX197" fmla="*/ 1197505 w 1357518"/>
                <a:gd name="connsiteY197" fmla="*/ 364428 h 1002999"/>
                <a:gd name="connsiteX198" fmla="*/ 1199260 w 1357518"/>
                <a:gd name="connsiteY198" fmla="*/ 380908 h 1002999"/>
                <a:gd name="connsiteX199" fmla="*/ 1196725 w 1357518"/>
                <a:gd name="connsiteY199" fmla="*/ 382109 h 1002999"/>
                <a:gd name="connsiteX200" fmla="*/ 1188144 w 1357518"/>
                <a:gd name="connsiteY200" fmla="*/ 363216 h 1002999"/>
                <a:gd name="connsiteX201" fmla="*/ 1188144 w 1357518"/>
                <a:gd name="connsiteY201" fmla="*/ 356335 h 1002999"/>
                <a:gd name="connsiteX202" fmla="*/ 1188729 w 1357518"/>
                <a:gd name="connsiteY202" fmla="*/ 351052 h 1002999"/>
                <a:gd name="connsiteX203" fmla="*/ 16120 w 1357518"/>
                <a:gd name="connsiteY203" fmla="*/ 315079 h 1002999"/>
                <a:gd name="connsiteX204" fmla="*/ 18470 w 1357518"/>
                <a:gd name="connsiteY204" fmla="*/ 315414 h 1002999"/>
                <a:gd name="connsiteX205" fmla="*/ 23995 w 1357518"/>
                <a:gd name="connsiteY205" fmla="*/ 316746 h 1002999"/>
                <a:gd name="connsiteX206" fmla="*/ 27992 w 1357518"/>
                <a:gd name="connsiteY206" fmla="*/ 318079 h 1002999"/>
                <a:gd name="connsiteX207" fmla="*/ 30617 w 1357518"/>
                <a:gd name="connsiteY207" fmla="*/ 318497 h 1002999"/>
                <a:gd name="connsiteX208" fmla="*/ 29873 w 1357518"/>
                <a:gd name="connsiteY208" fmla="*/ 320408 h 1002999"/>
                <a:gd name="connsiteX209" fmla="*/ 25445 w 1357518"/>
                <a:gd name="connsiteY209" fmla="*/ 321739 h 1002999"/>
                <a:gd name="connsiteX210" fmla="*/ 17568 w 1357518"/>
                <a:gd name="connsiteY210" fmla="*/ 322154 h 1002999"/>
                <a:gd name="connsiteX211" fmla="*/ 9810 w 1357518"/>
                <a:gd name="connsiteY211" fmla="*/ 320326 h 1002999"/>
                <a:gd name="connsiteX212" fmla="*/ 7145 w 1357518"/>
                <a:gd name="connsiteY212" fmla="*/ 318912 h 1002999"/>
                <a:gd name="connsiteX213" fmla="*/ 7264 w 1357518"/>
                <a:gd name="connsiteY213" fmla="*/ 316746 h 1002999"/>
                <a:gd name="connsiteX214" fmla="*/ 8439 w 1357518"/>
                <a:gd name="connsiteY214" fmla="*/ 315998 h 1002999"/>
                <a:gd name="connsiteX215" fmla="*/ 12632 w 1357518"/>
                <a:gd name="connsiteY215" fmla="*/ 315246 h 1002999"/>
                <a:gd name="connsiteX216" fmla="*/ 1216265 w 1357518"/>
                <a:gd name="connsiteY216" fmla="*/ 295798 h 1002999"/>
                <a:gd name="connsiteX217" fmla="*/ 1219187 w 1357518"/>
                <a:gd name="connsiteY217" fmla="*/ 296559 h 1002999"/>
                <a:gd name="connsiteX218" fmla="*/ 1220073 w 1357518"/>
                <a:gd name="connsiteY218" fmla="*/ 300175 h 1002999"/>
                <a:gd name="connsiteX219" fmla="*/ 1218125 w 1357518"/>
                <a:gd name="connsiteY219" fmla="*/ 303781 h 1002999"/>
                <a:gd name="connsiteX220" fmla="*/ 1213166 w 1357518"/>
                <a:gd name="connsiteY220" fmla="*/ 306813 h 1002999"/>
                <a:gd name="connsiteX221" fmla="*/ 1208871 w 1357518"/>
                <a:gd name="connsiteY221" fmla="*/ 306813 h 1002999"/>
                <a:gd name="connsiteX222" fmla="*/ 1207278 w 1357518"/>
                <a:gd name="connsiteY222" fmla="*/ 305582 h 1002999"/>
                <a:gd name="connsiteX223" fmla="*/ 1208295 w 1357518"/>
                <a:gd name="connsiteY223" fmla="*/ 303404 h 1002999"/>
                <a:gd name="connsiteX224" fmla="*/ 1214272 w 1357518"/>
                <a:gd name="connsiteY224" fmla="*/ 296369 h 1002999"/>
                <a:gd name="connsiteX225" fmla="*/ 1189899 w 1357518"/>
                <a:gd name="connsiteY225" fmla="*/ 268640 h 1002999"/>
                <a:gd name="connsiteX226" fmla="*/ 1191459 w 1357518"/>
                <a:gd name="connsiteY226" fmla="*/ 269491 h 1002999"/>
                <a:gd name="connsiteX227" fmla="*/ 1191070 w 1357518"/>
                <a:gd name="connsiteY227" fmla="*/ 272896 h 1002999"/>
                <a:gd name="connsiteX228" fmla="*/ 1191070 w 1357518"/>
                <a:gd name="connsiteY228" fmla="*/ 279680 h 1002999"/>
                <a:gd name="connsiteX229" fmla="*/ 1192630 w 1357518"/>
                <a:gd name="connsiteY229" fmla="*/ 284331 h 1002999"/>
                <a:gd name="connsiteX230" fmla="*/ 1190093 w 1357518"/>
                <a:gd name="connsiteY230" fmla="*/ 291074 h 1002999"/>
                <a:gd name="connsiteX231" fmla="*/ 1187168 w 1357518"/>
                <a:gd name="connsiteY231" fmla="*/ 292755 h 1002999"/>
                <a:gd name="connsiteX232" fmla="*/ 1185219 w 1357518"/>
                <a:gd name="connsiteY232" fmla="*/ 287706 h 1002999"/>
                <a:gd name="connsiteX233" fmla="*/ 1183463 w 1357518"/>
                <a:gd name="connsiteY233" fmla="*/ 280950 h 1002999"/>
                <a:gd name="connsiteX234" fmla="*/ 1183072 w 1357518"/>
                <a:gd name="connsiteY234" fmla="*/ 273319 h 1002999"/>
                <a:gd name="connsiteX235" fmla="*/ 1187558 w 1357518"/>
                <a:gd name="connsiteY235" fmla="*/ 269491 h 1002999"/>
                <a:gd name="connsiteX236" fmla="*/ 1212521 w 1357518"/>
                <a:gd name="connsiteY236" fmla="*/ 188925 h 1002999"/>
                <a:gd name="connsiteX237" fmla="*/ 1223832 w 1357518"/>
                <a:gd name="connsiteY237" fmla="*/ 190261 h 1002999"/>
                <a:gd name="connsiteX238" fmla="*/ 1225392 w 1357518"/>
                <a:gd name="connsiteY238" fmla="*/ 194710 h 1002999"/>
                <a:gd name="connsiteX239" fmla="*/ 1220711 w 1357518"/>
                <a:gd name="connsiteY239" fmla="*/ 200471 h 1002999"/>
                <a:gd name="connsiteX240" fmla="*/ 1211351 w 1357518"/>
                <a:gd name="connsiteY240" fmla="*/ 206216 h 1002999"/>
                <a:gd name="connsiteX241" fmla="*/ 1197505 w 1357518"/>
                <a:gd name="connsiteY241" fmla="*/ 205776 h 1002999"/>
                <a:gd name="connsiteX242" fmla="*/ 1189314 w 1357518"/>
                <a:gd name="connsiteY242" fmla="*/ 203126 h 1002999"/>
                <a:gd name="connsiteX243" fmla="*/ 1186973 w 1357518"/>
                <a:gd name="connsiteY243" fmla="*/ 199143 h 1002999"/>
                <a:gd name="connsiteX244" fmla="*/ 1190093 w 1357518"/>
                <a:gd name="connsiteY244" fmla="*/ 194710 h 1002999"/>
                <a:gd name="connsiteX245" fmla="*/ 1200040 w 1357518"/>
                <a:gd name="connsiteY245" fmla="*/ 191151 h 1002999"/>
                <a:gd name="connsiteX246" fmla="*/ 1183076 w 1357518"/>
                <a:gd name="connsiteY246" fmla="*/ 81203 h 1002999"/>
                <a:gd name="connsiteX247" fmla="*/ 1188552 w 1357518"/>
                <a:gd name="connsiteY247" fmla="*/ 85176 h 1002999"/>
                <a:gd name="connsiteX248" fmla="*/ 1194173 w 1357518"/>
                <a:gd name="connsiteY248" fmla="*/ 90513 h 1002999"/>
                <a:gd name="connsiteX249" fmla="*/ 1197444 w 1357518"/>
                <a:gd name="connsiteY249" fmla="*/ 96008 h 1002999"/>
                <a:gd name="connsiteX250" fmla="*/ 1195168 w 1357518"/>
                <a:gd name="connsiteY250" fmla="*/ 97721 h 1002999"/>
                <a:gd name="connsiteX251" fmla="*/ 1189336 w 1357518"/>
                <a:gd name="connsiteY251" fmla="*/ 97035 h 1002999"/>
                <a:gd name="connsiteX252" fmla="*/ 1181865 w 1357518"/>
                <a:gd name="connsiteY252" fmla="*/ 92232 h 1002999"/>
                <a:gd name="connsiteX253" fmla="*/ 1176886 w 1357518"/>
                <a:gd name="connsiteY253" fmla="*/ 88277 h 1002999"/>
                <a:gd name="connsiteX254" fmla="*/ 1176530 w 1357518"/>
                <a:gd name="connsiteY254" fmla="*/ 83623 h 1002999"/>
                <a:gd name="connsiteX255" fmla="*/ 1179091 w 1357518"/>
                <a:gd name="connsiteY255" fmla="*/ 81552 h 1002999"/>
                <a:gd name="connsiteX256" fmla="*/ 584177 w 1357518"/>
                <a:gd name="connsiteY256" fmla="*/ 50361 h 1002999"/>
                <a:gd name="connsiteX257" fmla="*/ 606020 w 1357518"/>
                <a:gd name="connsiteY257" fmla="*/ 56618 h 1002999"/>
                <a:gd name="connsiteX258" fmla="*/ 616941 w 1357518"/>
                <a:gd name="connsiteY258" fmla="*/ 61897 h 1002999"/>
                <a:gd name="connsiteX259" fmla="*/ 620646 w 1357518"/>
                <a:gd name="connsiteY259" fmla="*/ 66205 h 1002999"/>
                <a:gd name="connsiteX260" fmla="*/ 620061 w 1357518"/>
                <a:gd name="connsiteY260" fmla="*/ 74787 h 1002999"/>
                <a:gd name="connsiteX261" fmla="*/ 618111 w 1357518"/>
                <a:gd name="connsiteY261" fmla="*/ 83327 h 1002999"/>
                <a:gd name="connsiteX262" fmla="*/ 613625 w 1357518"/>
                <a:gd name="connsiteY262" fmla="*/ 84272 h 1002999"/>
                <a:gd name="connsiteX263" fmla="*/ 604264 w 1357518"/>
                <a:gd name="connsiteY263" fmla="*/ 78588 h 1002999"/>
                <a:gd name="connsiteX264" fmla="*/ 589443 w 1357518"/>
                <a:gd name="connsiteY264" fmla="*/ 72882 h 1002999"/>
                <a:gd name="connsiteX265" fmla="*/ 576378 w 1357518"/>
                <a:gd name="connsiteY265" fmla="*/ 69071 h 1002999"/>
                <a:gd name="connsiteX266" fmla="*/ 564092 w 1357518"/>
                <a:gd name="connsiteY266" fmla="*/ 59021 h 1002999"/>
                <a:gd name="connsiteX267" fmla="*/ 563125 w 1357518"/>
                <a:gd name="connsiteY267" fmla="*/ 55435 h 1002999"/>
                <a:gd name="connsiteX268" fmla="*/ 564871 w 1357518"/>
                <a:gd name="connsiteY268" fmla="*/ 52285 h 1002999"/>
                <a:gd name="connsiteX269" fmla="*/ 575597 w 1357518"/>
                <a:gd name="connsiteY269" fmla="*/ 51805 h 1002999"/>
                <a:gd name="connsiteX270" fmla="*/ 880806 w 1357518"/>
                <a:gd name="connsiteY270" fmla="*/ 0 h 1002999"/>
                <a:gd name="connsiteX271" fmla="*/ 931255 w 1357518"/>
                <a:gd name="connsiteY271" fmla="*/ 350 h 1002999"/>
                <a:gd name="connsiteX272" fmla="*/ 947840 w 1357518"/>
                <a:gd name="connsiteY272" fmla="*/ 1957 h 1002999"/>
                <a:gd name="connsiteX273" fmla="*/ 969087 w 1357518"/>
                <a:gd name="connsiteY273" fmla="*/ 5332 h 1002999"/>
                <a:gd name="connsiteX274" fmla="*/ 980324 w 1357518"/>
                <a:gd name="connsiteY274" fmla="*/ 9250 h 1002999"/>
                <a:gd name="connsiteX275" fmla="*/ 982684 w 1357518"/>
                <a:gd name="connsiteY275" fmla="*/ 9122 h 1002999"/>
                <a:gd name="connsiteX276" fmla="*/ 997913 w 1357518"/>
                <a:gd name="connsiteY276" fmla="*/ 10623 h 1002999"/>
                <a:gd name="connsiteX277" fmla="*/ 1012373 w 1357518"/>
                <a:gd name="connsiteY277" fmla="*/ 12496 h 1002999"/>
                <a:gd name="connsiteX278" fmla="*/ 1036409 w 1357518"/>
                <a:gd name="connsiteY278" fmla="*/ 17367 h 1002999"/>
                <a:gd name="connsiteX279" fmla="*/ 1039778 w 1357518"/>
                <a:gd name="connsiteY279" fmla="*/ 18965 h 1002999"/>
                <a:gd name="connsiteX280" fmla="*/ 1037182 w 1357518"/>
                <a:gd name="connsiteY280" fmla="*/ 20272 h 1002999"/>
                <a:gd name="connsiteX281" fmla="*/ 1031206 w 1357518"/>
                <a:gd name="connsiteY281" fmla="*/ 21169 h 1002999"/>
                <a:gd name="connsiteX282" fmla="*/ 1000489 w 1357518"/>
                <a:gd name="connsiteY282" fmla="*/ 22768 h 1002999"/>
                <a:gd name="connsiteX283" fmla="*/ 944763 w 1357518"/>
                <a:gd name="connsiteY283" fmla="*/ 24723 h 1002999"/>
                <a:gd name="connsiteX284" fmla="*/ 912878 w 1357518"/>
                <a:gd name="connsiteY284" fmla="*/ 28522 h 1002999"/>
                <a:gd name="connsiteX285" fmla="*/ 902735 w 1357518"/>
                <a:gd name="connsiteY285" fmla="*/ 28719 h 1002999"/>
                <a:gd name="connsiteX286" fmla="*/ 901850 w 1357518"/>
                <a:gd name="connsiteY286" fmla="*/ 34354 h 1002999"/>
                <a:gd name="connsiteX287" fmla="*/ 906183 w 1357518"/>
                <a:gd name="connsiteY287" fmla="*/ 34661 h 1002999"/>
                <a:gd name="connsiteX288" fmla="*/ 913285 w 1357518"/>
                <a:gd name="connsiteY288" fmla="*/ 33901 h 1002999"/>
                <a:gd name="connsiteX289" fmla="*/ 938261 w 1357518"/>
                <a:gd name="connsiteY289" fmla="*/ 28257 h 1002999"/>
                <a:gd name="connsiteX290" fmla="*/ 947603 w 1357518"/>
                <a:gd name="connsiteY290" fmla="*/ 27326 h 1002999"/>
                <a:gd name="connsiteX291" fmla="*/ 965040 w 1357518"/>
                <a:gd name="connsiteY291" fmla="*/ 27797 h 1002999"/>
                <a:gd name="connsiteX292" fmla="*/ 987673 w 1357518"/>
                <a:gd name="connsiteY292" fmla="*/ 29917 h 1002999"/>
                <a:gd name="connsiteX293" fmla="*/ 996804 w 1357518"/>
                <a:gd name="connsiteY293" fmla="*/ 29171 h 1002999"/>
                <a:gd name="connsiteX294" fmla="*/ 1013089 w 1357518"/>
                <a:gd name="connsiteY294" fmla="*/ 29725 h 1002999"/>
                <a:gd name="connsiteX295" fmla="*/ 1032132 w 1357518"/>
                <a:gd name="connsiteY295" fmla="*/ 28106 h 1002999"/>
                <a:gd name="connsiteX296" fmla="*/ 1054630 w 1357518"/>
                <a:gd name="connsiteY296" fmla="*/ 24601 h 1002999"/>
                <a:gd name="connsiteX297" fmla="*/ 1060782 w 1357518"/>
                <a:gd name="connsiteY297" fmla="*/ 32415 h 1002999"/>
                <a:gd name="connsiteX298" fmla="*/ 1069071 w 1357518"/>
                <a:gd name="connsiteY298" fmla="*/ 40199 h 1002999"/>
                <a:gd name="connsiteX299" fmla="*/ 1075631 w 1357518"/>
                <a:gd name="connsiteY299" fmla="*/ 39339 h 1002999"/>
                <a:gd name="connsiteX300" fmla="*/ 1081250 w 1357518"/>
                <a:gd name="connsiteY300" fmla="*/ 39774 h 1002999"/>
                <a:gd name="connsiteX301" fmla="*/ 1083151 w 1357518"/>
                <a:gd name="connsiteY301" fmla="*/ 42323 h 1002999"/>
                <a:gd name="connsiteX302" fmla="*/ 1086223 w 1357518"/>
                <a:gd name="connsiteY302" fmla="*/ 43401 h 1002999"/>
                <a:gd name="connsiteX303" fmla="*/ 1092584 w 1357518"/>
                <a:gd name="connsiteY303" fmla="*/ 42821 h 1002999"/>
                <a:gd name="connsiteX304" fmla="*/ 1112088 w 1357518"/>
                <a:gd name="connsiteY304" fmla="*/ 45046 h 1002999"/>
                <a:gd name="connsiteX305" fmla="*/ 1125471 w 1357518"/>
                <a:gd name="connsiteY305" fmla="*/ 49033 h 1002999"/>
                <a:gd name="connsiteX306" fmla="*/ 1130509 w 1357518"/>
                <a:gd name="connsiteY306" fmla="*/ 50887 h 1002999"/>
                <a:gd name="connsiteX307" fmla="*/ 1132926 w 1357518"/>
                <a:gd name="connsiteY307" fmla="*/ 53528 h 1002999"/>
                <a:gd name="connsiteX308" fmla="*/ 1134294 w 1357518"/>
                <a:gd name="connsiteY308" fmla="*/ 55643 h 1002999"/>
                <a:gd name="connsiteX309" fmla="*/ 1132191 w 1357518"/>
                <a:gd name="connsiteY309" fmla="*/ 58242 h 1002999"/>
                <a:gd name="connsiteX310" fmla="*/ 1123828 w 1357518"/>
                <a:gd name="connsiteY310" fmla="*/ 62860 h 1002999"/>
                <a:gd name="connsiteX311" fmla="*/ 1113245 w 1357518"/>
                <a:gd name="connsiteY311" fmla="*/ 67094 h 1002999"/>
                <a:gd name="connsiteX312" fmla="*/ 1098972 w 1357518"/>
                <a:gd name="connsiteY312" fmla="*/ 70342 h 1002999"/>
                <a:gd name="connsiteX313" fmla="*/ 1082517 w 1357518"/>
                <a:gd name="connsiteY313" fmla="*/ 72376 h 1002999"/>
                <a:gd name="connsiteX314" fmla="*/ 956098 w 1357518"/>
                <a:gd name="connsiteY314" fmla="*/ 79161 h 1002999"/>
                <a:gd name="connsiteX315" fmla="*/ 951823 w 1357518"/>
                <a:gd name="connsiteY315" fmla="*/ 80770 h 1002999"/>
                <a:gd name="connsiteX316" fmla="*/ 949288 w 1357518"/>
                <a:gd name="connsiteY316" fmla="*/ 84872 h 1002999"/>
                <a:gd name="connsiteX317" fmla="*/ 950977 w 1357518"/>
                <a:gd name="connsiteY317" fmla="*/ 90192 h 1002999"/>
                <a:gd name="connsiteX318" fmla="*/ 956884 w 1357518"/>
                <a:gd name="connsiteY318" fmla="*/ 91021 h 1002999"/>
                <a:gd name="connsiteX319" fmla="*/ 970691 w 1357518"/>
                <a:gd name="connsiteY319" fmla="*/ 88029 h 1002999"/>
                <a:gd name="connsiteX320" fmla="*/ 994571 w 1357518"/>
                <a:gd name="connsiteY320" fmla="*/ 85192 h 1002999"/>
                <a:gd name="connsiteX321" fmla="*/ 1012118 w 1357518"/>
                <a:gd name="connsiteY321" fmla="*/ 85327 h 1002999"/>
                <a:gd name="connsiteX322" fmla="*/ 1054067 w 1357518"/>
                <a:gd name="connsiteY322" fmla="*/ 87750 h 1002999"/>
                <a:gd name="connsiteX323" fmla="*/ 1066443 w 1357518"/>
                <a:gd name="connsiteY323" fmla="*/ 94071 h 1002999"/>
                <a:gd name="connsiteX324" fmla="*/ 1072990 w 1357518"/>
                <a:gd name="connsiteY324" fmla="*/ 103742 h 1002999"/>
                <a:gd name="connsiteX325" fmla="*/ 1087507 w 1357518"/>
                <a:gd name="connsiteY325" fmla="*/ 101573 h 1002999"/>
                <a:gd name="connsiteX326" fmla="*/ 1090612 w 1357518"/>
                <a:gd name="connsiteY326" fmla="*/ 99916 h 1002999"/>
                <a:gd name="connsiteX327" fmla="*/ 1092893 w 1357518"/>
                <a:gd name="connsiteY327" fmla="*/ 97035 h 1002999"/>
                <a:gd name="connsiteX328" fmla="*/ 1094716 w 1357518"/>
                <a:gd name="connsiteY328" fmla="*/ 93938 h 1002999"/>
                <a:gd name="connsiteX329" fmla="*/ 1096081 w 1357518"/>
                <a:gd name="connsiteY329" fmla="*/ 90630 h 1002999"/>
                <a:gd name="connsiteX330" fmla="*/ 1097606 w 1357518"/>
                <a:gd name="connsiteY330" fmla="*/ 88374 h 1002999"/>
                <a:gd name="connsiteX331" fmla="*/ 1099289 w 1357518"/>
                <a:gd name="connsiteY331" fmla="*/ 87177 h 1002999"/>
                <a:gd name="connsiteX332" fmla="*/ 1102907 w 1357518"/>
                <a:gd name="connsiteY332" fmla="*/ 86175 h 1002999"/>
                <a:gd name="connsiteX333" fmla="*/ 1111237 w 1357518"/>
                <a:gd name="connsiteY333" fmla="*/ 84969 h 1002999"/>
                <a:gd name="connsiteX334" fmla="*/ 1133080 w 1357518"/>
                <a:gd name="connsiteY334" fmla="*/ 83793 h 1002999"/>
                <a:gd name="connsiteX335" fmla="*/ 1138333 w 1357518"/>
                <a:gd name="connsiteY335" fmla="*/ 84128 h 1002999"/>
                <a:gd name="connsiteX336" fmla="*/ 1142106 w 1357518"/>
                <a:gd name="connsiteY336" fmla="*/ 88675 h 1002999"/>
                <a:gd name="connsiteX337" fmla="*/ 1142925 w 1357518"/>
                <a:gd name="connsiteY337" fmla="*/ 91327 h 1002999"/>
                <a:gd name="connsiteX338" fmla="*/ 1143198 w 1357518"/>
                <a:gd name="connsiteY338" fmla="*/ 94774 h 1002999"/>
                <a:gd name="connsiteX339" fmla="*/ 1143077 w 1357518"/>
                <a:gd name="connsiteY339" fmla="*/ 99017 h 1002999"/>
                <a:gd name="connsiteX340" fmla="*/ 1142565 w 1357518"/>
                <a:gd name="connsiteY340" fmla="*/ 104050 h 1002999"/>
                <a:gd name="connsiteX341" fmla="*/ 1140710 w 1357518"/>
                <a:gd name="connsiteY341" fmla="*/ 109017 h 1002999"/>
                <a:gd name="connsiteX342" fmla="*/ 1134664 w 1357518"/>
                <a:gd name="connsiteY342" fmla="*/ 117661 h 1002999"/>
                <a:gd name="connsiteX343" fmla="*/ 1129806 w 1357518"/>
                <a:gd name="connsiteY343" fmla="*/ 122351 h 1002999"/>
                <a:gd name="connsiteX344" fmla="*/ 1124563 w 1357518"/>
                <a:gd name="connsiteY344" fmla="*/ 125722 h 1002999"/>
                <a:gd name="connsiteX345" fmla="*/ 1114512 w 1357518"/>
                <a:gd name="connsiteY345" fmla="*/ 133396 h 1002999"/>
                <a:gd name="connsiteX346" fmla="*/ 1111030 w 1357518"/>
                <a:gd name="connsiteY346" fmla="*/ 135439 h 1002999"/>
                <a:gd name="connsiteX347" fmla="*/ 1099980 w 1357518"/>
                <a:gd name="connsiteY347" fmla="*/ 144333 h 1002999"/>
                <a:gd name="connsiteX348" fmla="*/ 1097240 w 1357518"/>
                <a:gd name="connsiteY348" fmla="*/ 148440 h 1002999"/>
                <a:gd name="connsiteX349" fmla="*/ 1097079 w 1357518"/>
                <a:gd name="connsiteY349" fmla="*/ 151441 h 1002999"/>
                <a:gd name="connsiteX350" fmla="*/ 1098979 w 1357518"/>
                <a:gd name="connsiteY350" fmla="*/ 152013 h 1002999"/>
                <a:gd name="connsiteX351" fmla="*/ 1102183 w 1357518"/>
                <a:gd name="connsiteY351" fmla="*/ 149192 h 1002999"/>
                <a:gd name="connsiteX352" fmla="*/ 1103375 w 1357518"/>
                <a:gd name="connsiteY352" fmla="*/ 147175 h 1002999"/>
                <a:gd name="connsiteX353" fmla="*/ 1105437 w 1357518"/>
                <a:gd name="connsiteY353" fmla="*/ 145062 h 1002999"/>
                <a:gd name="connsiteX354" fmla="*/ 1121718 w 1357518"/>
                <a:gd name="connsiteY354" fmla="*/ 139481 h 1002999"/>
                <a:gd name="connsiteX355" fmla="*/ 1125212 w 1357518"/>
                <a:gd name="connsiteY355" fmla="*/ 137922 h 1002999"/>
                <a:gd name="connsiteX356" fmla="*/ 1135861 w 1357518"/>
                <a:gd name="connsiteY356" fmla="*/ 131253 h 1002999"/>
                <a:gd name="connsiteX357" fmla="*/ 1142657 w 1357518"/>
                <a:gd name="connsiteY357" fmla="*/ 128745 h 1002999"/>
                <a:gd name="connsiteX358" fmla="*/ 1148245 w 1357518"/>
                <a:gd name="connsiteY358" fmla="*/ 126119 h 1002999"/>
                <a:gd name="connsiteX359" fmla="*/ 1151205 w 1357518"/>
                <a:gd name="connsiteY359" fmla="*/ 124251 h 1002999"/>
                <a:gd name="connsiteX360" fmla="*/ 1167571 w 1357518"/>
                <a:gd name="connsiteY360" fmla="*/ 110974 h 1002999"/>
                <a:gd name="connsiteX361" fmla="*/ 1176102 w 1357518"/>
                <a:gd name="connsiteY361" fmla="*/ 106979 h 1002999"/>
                <a:gd name="connsiteX362" fmla="*/ 1185061 w 1357518"/>
                <a:gd name="connsiteY362" fmla="*/ 106971 h 1002999"/>
                <a:gd name="connsiteX363" fmla="*/ 1186648 w 1357518"/>
                <a:gd name="connsiteY363" fmla="*/ 113726 h 1002999"/>
                <a:gd name="connsiteX364" fmla="*/ 1197386 w 1357518"/>
                <a:gd name="connsiteY364" fmla="*/ 114768 h 1002999"/>
                <a:gd name="connsiteX365" fmla="*/ 1202048 w 1357518"/>
                <a:gd name="connsiteY365" fmla="*/ 114478 h 1002999"/>
                <a:gd name="connsiteX366" fmla="*/ 1209537 w 1357518"/>
                <a:gd name="connsiteY366" fmla="*/ 116116 h 1002999"/>
                <a:gd name="connsiteX367" fmla="*/ 1212820 w 1357518"/>
                <a:gd name="connsiteY367" fmla="*/ 117468 h 1002999"/>
                <a:gd name="connsiteX368" fmla="*/ 1218408 w 1357518"/>
                <a:gd name="connsiteY368" fmla="*/ 118152 h 1002999"/>
                <a:gd name="connsiteX369" fmla="*/ 1224171 w 1357518"/>
                <a:gd name="connsiteY369" fmla="*/ 119754 h 1002999"/>
                <a:gd name="connsiteX370" fmla="*/ 1229253 w 1357518"/>
                <a:gd name="connsiteY370" fmla="*/ 118034 h 1002999"/>
                <a:gd name="connsiteX371" fmla="*/ 1230739 w 1357518"/>
                <a:gd name="connsiteY371" fmla="*/ 116954 h 1002999"/>
                <a:gd name="connsiteX372" fmla="*/ 1235647 w 1357518"/>
                <a:gd name="connsiteY372" fmla="*/ 112054 h 1002999"/>
                <a:gd name="connsiteX373" fmla="*/ 1242279 w 1357518"/>
                <a:gd name="connsiteY373" fmla="*/ 107703 h 1002999"/>
                <a:gd name="connsiteX374" fmla="*/ 1248429 w 1357518"/>
                <a:gd name="connsiteY374" fmla="*/ 102253 h 1002999"/>
                <a:gd name="connsiteX375" fmla="*/ 1250468 w 1357518"/>
                <a:gd name="connsiteY375" fmla="*/ 100930 h 1002999"/>
                <a:gd name="connsiteX376" fmla="*/ 1253698 w 1357518"/>
                <a:gd name="connsiteY376" fmla="*/ 99726 h 1002999"/>
                <a:gd name="connsiteX377" fmla="*/ 1257055 w 1357518"/>
                <a:gd name="connsiteY377" fmla="*/ 99254 h 1002999"/>
                <a:gd name="connsiteX378" fmla="*/ 1266196 w 1357518"/>
                <a:gd name="connsiteY378" fmla="*/ 96694 h 1002999"/>
                <a:gd name="connsiteX379" fmla="*/ 1268515 w 1357518"/>
                <a:gd name="connsiteY379" fmla="*/ 96515 h 1002999"/>
                <a:gd name="connsiteX380" fmla="*/ 1273449 w 1357518"/>
                <a:gd name="connsiteY380" fmla="*/ 97323 h 1002999"/>
                <a:gd name="connsiteX381" fmla="*/ 1295240 w 1357518"/>
                <a:gd name="connsiteY381" fmla="*/ 97744 h 1002999"/>
                <a:gd name="connsiteX382" fmla="*/ 1307126 w 1357518"/>
                <a:gd name="connsiteY382" fmla="*/ 99064 h 1002999"/>
                <a:gd name="connsiteX383" fmla="*/ 1323676 w 1357518"/>
                <a:gd name="connsiteY383" fmla="*/ 102722 h 1002999"/>
                <a:gd name="connsiteX384" fmla="*/ 1335210 w 1357518"/>
                <a:gd name="connsiteY384" fmla="*/ 104721 h 1002999"/>
                <a:gd name="connsiteX385" fmla="*/ 1340551 w 1357518"/>
                <a:gd name="connsiteY385" fmla="*/ 106490 h 1002999"/>
                <a:gd name="connsiteX386" fmla="*/ 1348329 w 1357518"/>
                <a:gd name="connsiteY386" fmla="*/ 110277 h 1002999"/>
                <a:gd name="connsiteX387" fmla="*/ 1354601 w 1357518"/>
                <a:gd name="connsiteY387" fmla="*/ 114230 h 1002999"/>
                <a:gd name="connsiteX388" fmla="*/ 1357518 w 1357518"/>
                <a:gd name="connsiteY388" fmla="*/ 115391 h 1002999"/>
                <a:gd name="connsiteX389" fmla="*/ 1357405 w 1357518"/>
                <a:gd name="connsiteY389" fmla="*/ 116644 h 1002999"/>
                <a:gd name="connsiteX390" fmla="*/ 1355235 w 1357518"/>
                <a:gd name="connsiteY390" fmla="*/ 118370 h 1002999"/>
                <a:gd name="connsiteX391" fmla="*/ 1339700 w 1357518"/>
                <a:gd name="connsiteY391" fmla="*/ 124397 h 1002999"/>
                <a:gd name="connsiteX392" fmla="*/ 1334617 w 1357518"/>
                <a:gd name="connsiteY392" fmla="*/ 128413 h 1002999"/>
                <a:gd name="connsiteX393" fmla="*/ 1319913 w 1357518"/>
                <a:gd name="connsiteY393" fmla="*/ 135965 h 1002999"/>
                <a:gd name="connsiteX394" fmla="*/ 1312727 w 1357518"/>
                <a:gd name="connsiteY394" fmla="*/ 138552 h 1002999"/>
                <a:gd name="connsiteX395" fmla="*/ 1304919 w 1357518"/>
                <a:gd name="connsiteY395" fmla="*/ 139564 h 1002999"/>
                <a:gd name="connsiteX396" fmla="*/ 1296227 w 1357518"/>
                <a:gd name="connsiteY396" fmla="*/ 139808 h 1002999"/>
                <a:gd name="connsiteX397" fmla="*/ 1290589 w 1357518"/>
                <a:gd name="connsiteY397" fmla="*/ 140888 h 1002999"/>
                <a:gd name="connsiteX398" fmla="*/ 1289754 w 1357518"/>
                <a:gd name="connsiteY398" fmla="*/ 141917 h 1002999"/>
                <a:gd name="connsiteX399" fmla="*/ 1293770 w 1357518"/>
                <a:gd name="connsiteY399" fmla="*/ 145031 h 1002999"/>
                <a:gd name="connsiteX400" fmla="*/ 1295537 w 1357518"/>
                <a:gd name="connsiteY400" fmla="*/ 147245 h 1002999"/>
                <a:gd name="connsiteX401" fmla="*/ 1295280 w 1357518"/>
                <a:gd name="connsiteY401" fmla="*/ 149212 h 1002999"/>
                <a:gd name="connsiteX402" fmla="*/ 1291055 w 1357518"/>
                <a:gd name="connsiteY402" fmla="*/ 152121 h 1002999"/>
                <a:gd name="connsiteX403" fmla="*/ 1289457 w 1357518"/>
                <a:gd name="connsiteY403" fmla="*/ 152781 h 1002999"/>
                <a:gd name="connsiteX404" fmla="*/ 1274184 w 1357518"/>
                <a:gd name="connsiteY404" fmla="*/ 154938 h 1002999"/>
                <a:gd name="connsiteX405" fmla="*/ 1266479 w 1357518"/>
                <a:gd name="connsiteY405" fmla="*/ 158594 h 1002999"/>
                <a:gd name="connsiteX406" fmla="*/ 1256422 w 1357518"/>
                <a:gd name="connsiteY406" fmla="*/ 159040 h 1002999"/>
                <a:gd name="connsiteX407" fmla="*/ 1249315 w 1357518"/>
                <a:gd name="connsiteY407" fmla="*/ 158624 h 1002999"/>
                <a:gd name="connsiteX408" fmla="*/ 1239549 w 1357518"/>
                <a:gd name="connsiteY408" fmla="*/ 162547 h 1002999"/>
                <a:gd name="connsiteX409" fmla="*/ 1243370 w 1357518"/>
                <a:gd name="connsiteY409" fmla="*/ 165732 h 1002999"/>
                <a:gd name="connsiteX410" fmla="*/ 1246871 w 1357518"/>
                <a:gd name="connsiteY410" fmla="*/ 167114 h 1002999"/>
                <a:gd name="connsiteX411" fmla="*/ 1257755 w 1357518"/>
                <a:gd name="connsiteY411" fmla="*/ 170006 h 1002999"/>
                <a:gd name="connsiteX412" fmla="*/ 1257857 w 1357518"/>
                <a:gd name="connsiteY412" fmla="*/ 171666 h 1002999"/>
                <a:gd name="connsiteX413" fmla="*/ 1252657 w 1357518"/>
                <a:gd name="connsiteY413" fmla="*/ 175016 h 1002999"/>
                <a:gd name="connsiteX414" fmla="*/ 1245559 w 1357518"/>
                <a:gd name="connsiteY414" fmla="*/ 178955 h 1002999"/>
                <a:gd name="connsiteX415" fmla="*/ 1237165 w 1357518"/>
                <a:gd name="connsiteY415" fmla="*/ 181682 h 1002999"/>
                <a:gd name="connsiteX416" fmla="*/ 1234009 w 1357518"/>
                <a:gd name="connsiteY416" fmla="*/ 182091 h 1002999"/>
                <a:gd name="connsiteX417" fmla="*/ 1230028 w 1357518"/>
                <a:gd name="connsiteY417" fmla="*/ 181407 h 1002999"/>
                <a:gd name="connsiteX418" fmla="*/ 1226356 w 1357518"/>
                <a:gd name="connsiteY418" fmla="*/ 181553 h 1002999"/>
                <a:gd name="connsiteX419" fmla="*/ 1218272 w 1357518"/>
                <a:gd name="connsiteY419" fmla="*/ 182809 h 1002999"/>
                <a:gd name="connsiteX420" fmla="*/ 1210574 w 1357518"/>
                <a:gd name="connsiteY420" fmla="*/ 183009 h 1002999"/>
                <a:gd name="connsiteX421" fmla="*/ 1196829 w 1357518"/>
                <a:gd name="connsiteY421" fmla="*/ 181234 h 1002999"/>
                <a:gd name="connsiteX422" fmla="*/ 1189390 w 1357518"/>
                <a:gd name="connsiteY422" fmla="*/ 179176 h 1002999"/>
                <a:gd name="connsiteX423" fmla="*/ 1185476 w 1357518"/>
                <a:gd name="connsiteY423" fmla="*/ 178464 h 1002999"/>
                <a:gd name="connsiteX424" fmla="*/ 1180541 w 1357518"/>
                <a:gd name="connsiteY424" fmla="*/ 178662 h 1002999"/>
                <a:gd name="connsiteX425" fmla="*/ 1178642 w 1357518"/>
                <a:gd name="connsiteY425" fmla="*/ 179491 h 1002999"/>
                <a:gd name="connsiteX426" fmla="*/ 1170864 w 1357518"/>
                <a:gd name="connsiteY426" fmla="*/ 184394 h 1002999"/>
                <a:gd name="connsiteX427" fmla="*/ 1167045 w 1357518"/>
                <a:gd name="connsiteY427" fmla="*/ 187735 h 1002999"/>
                <a:gd name="connsiteX428" fmla="*/ 1164599 w 1357518"/>
                <a:gd name="connsiteY428" fmla="*/ 191143 h 1002999"/>
                <a:gd name="connsiteX429" fmla="*/ 1163554 w 1357518"/>
                <a:gd name="connsiteY429" fmla="*/ 194853 h 1002999"/>
                <a:gd name="connsiteX430" fmla="*/ 1163909 w 1357518"/>
                <a:gd name="connsiteY430" fmla="*/ 198860 h 1002999"/>
                <a:gd name="connsiteX431" fmla="*/ 1164857 w 1357518"/>
                <a:gd name="connsiteY431" fmla="*/ 201601 h 1002999"/>
                <a:gd name="connsiteX432" fmla="*/ 1166396 w 1357518"/>
                <a:gd name="connsiteY432" fmla="*/ 203084 h 1002999"/>
                <a:gd name="connsiteX433" fmla="*/ 1168242 w 1357518"/>
                <a:gd name="connsiteY433" fmla="*/ 203982 h 1002999"/>
                <a:gd name="connsiteX434" fmla="*/ 1171472 w 1357518"/>
                <a:gd name="connsiteY434" fmla="*/ 204452 h 1002999"/>
                <a:gd name="connsiteX435" fmla="*/ 1178580 w 1357518"/>
                <a:gd name="connsiteY435" fmla="*/ 204007 h 1002999"/>
                <a:gd name="connsiteX436" fmla="*/ 1181374 w 1357518"/>
                <a:gd name="connsiteY436" fmla="*/ 204258 h 1002999"/>
                <a:gd name="connsiteX437" fmla="*/ 1182225 w 1357518"/>
                <a:gd name="connsiteY437" fmla="*/ 205068 h 1002999"/>
                <a:gd name="connsiteX438" fmla="*/ 1183760 w 1357518"/>
                <a:gd name="connsiteY438" fmla="*/ 207620 h 1002999"/>
                <a:gd name="connsiteX439" fmla="*/ 1183486 w 1357518"/>
                <a:gd name="connsiteY439" fmla="*/ 210025 h 1002999"/>
                <a:gd name="connsiteX440" fmla="*/ 1182199 w 1357518"/>
                <a:gd name="connsiteY440" fmla="*/ 213400 h 1002999"/>
                <a:gd name="connsiteX441" fmla="*/ 1181201 w 1357518"/>
                <a:gd name="connsiteY441" fmla="*/ 217330 h 1002999"/>
                <a:gd name="connsiteX442" fmla="*/ 1180496 w 1357518"/>
                <a:gd name="connsiteY442" fmla="*/ 221810 h 1002999"/>
                <a:gd name="connsiteX443" fmla="*/ 1180876 w 1357518"/>
                <a:gd name="connsiteY443" fmla="*/ 224254 h 1002999"/>
                <a:gd name="connsiteX444" fmla="*/ 1183752 w 1357518"/>
                <a:gd name="connsiteY444" fmla="*/ 224789 h 1002999"/>
                <a:gd name="connsiteX445" fmla="*/ 1185101 w 1357518"/>
                <a:gd name="connsiteY445" fmla="*/ 224612 h 1002999"/>
                <a:gd name="connsiteX446" fmla="*/ 1186665 w 1357518"/>
                <a:gd name="connsiteY446" fmla="*/ 225414 h 1002999"/>
                <a:gd name="connsiteX447" fmla="*/ 1188444 w 1357518"/>
                <a:gd name="connsiteY447" fmla="*/ 227192 h 1002999"/>
                <a:gd name="connsiteX448" fmla="*/ 1189780 w 1357518"/>
                <a:gd name="connsiteY448" fmla="*/ 229069 h 1002999"/>
                <a:gd name="connsiteX449" fmla="*/ 1190677 w 1357518"/>
                <a:gd name="connsiteY449" fmla="*/ 231048 h 1002999"/>
                <a:gd name="connsiteX450" fmla="*/ 1190208 w 1357518"/>
                <a:gd name="connsiteY450" fmla="*/ 232675 h 1002999"/>
                <a:gd name="connsiteX451" fmla="*/ 1188374 w 1357518"/>
                <a:gd name="connsiteY451" fmla="*/ 233958 h 1002999"/>
                <a:gd name="connsiteX452" fmla="*/ 1184233 w 1357518"/>
                <a:gd name="connsiteY452" fmla="*/ 235402 h 1002999"/>
                <a:gd name="connsiteX453" fmla="*/ 1174043 w 1357518"/>
                <a:gd name="connsiteY453" fmla="*/ 238252 h 1002999"/>
                <a:gd name="connsiteX454" fmla="*/ 1173008 w 1357518"/>
                <a:gd name="connsiteY454" fmla="*/ 239120 h 1002999"/>
                <a:gd name="connsiteX455" fmla="*/ 1172207 w 1357518"/>
                <a:gd name="connsiteY455" fmla="*/ 240851 h 1002999"/>
                <a:gd name="connsiteX456" fmla="*/ 1171643 w 1357518"/>
                <a:gd name="connsiteY456" fmla="*/ 243448 h 1002999"/>
                <a:gd name="connsiteX457" fmla="*/ 1170413 w 1357518"/>
                <a:gd name="connsiteY457" fmla="*/ 245807 h 1002999"/>
                <a:gd name="connsiteX458" fmla="*/ 1168518 w 1357518"/>
                <a:gd name="connsiteY458" fmla="*/ 247925 h 1002999"/>
                <a:gd name="connsiteX459" fmla="*/ 1166802 w 1357518"/>
                <a:gd name="connsiteY459" fmla="*/ 249186 h 1002999"/>
                <a:gd name="connsiteX460" fmla="*/ 1163499 w 1357518"/>
                <a:gd name="connsiteY460" fmla="*/ 249747 h 1002999"/>
                <a:gd name="connsiteX461" fmla="*/ 1159169 w 1357518"/>
                <a:gd name="connsiteY461" fmla="*/ 249820 h 1002999"/>
                <a:gd name="connsiteX462" fmla="*/ 1154307 w 1357518"/>
                <a:gd name="connsiteY462" fmla="*/ 251036 h 1002999"/>
                <a:gd name="connsiteX463" fmla="*/ 1142849 w 1357518"/>
                <a:gd name="connsiteY463" fmla="*/ 258107 h 1002999"/>
                <a:gd name="connsiteX464" fmla="*/ 1142679 w 1357518"/>
                <a:gd name="connsiteY464" fmla="*/ 258890 h 1002999"/>
                <a:gd name="connsiteX465" fmla="*/ 1146969 w 1357518"/>
                <a:gd name="connsiteY465" fmla="*/ 261153 h 1002999"/>
                <a:gd name="connsiteX466" fmla="*/ 1146787 w 1357518"/>
                <a:gd name="connsiteY466" fmla="*/ 263134 h 1002999"/>
                <a:gd name="connsiteX467" fmla="*/ 1141500 w 1357518"/>
                <a:gd name="connsiteY467" fmla="*/ 271602 h 1002999"/>
                <a:gd name="connsiteX468" fmla="*/ 1140053 w 1357518"/>
                <a:gd name="connsiteY468" fmla="*/ 275783 h 1002999"/>
                <a:gd name="connsiteX469" fmla="*/ 1138907 w 1357518"/>
                <a:gd name="connsiteY469" fmla="*/ 281500 h 1002999"/>
                <a:gd name="connsiteX470" fmla="*/ 1137022 w 1357518"/>
                <a:gd name="connsiteY470" fmla="*/ 286307 h 1002999"/>
                <a:gd name="connsiteX471" fmla="*/ 1134398 w 1357518"/>
                <a:gd name="connsiteY471" fmla="*/ 290212 h 1002999"/>
                <a:gd name="connsiteX472" fmla="*/ 1131817 w 1357518"/>
                <a:gd name="connsiteY472" fmla="*/ 294710 h 1002999"/>
                <a:gd name="connsiteX473" fmla="*/ 1129277 w 1357518"/>
                <a:gd name="connsiteY473" fmla="*/ 299788 h 1002999"/>
                <a:gd name="connsiteX474" fmla="*/ 1129674 w 1357518"/>
                <a:gd name="connsiteY474" fmla="*/ 303680 h 1002999"/>
                <a:gd name="connsiteX475" fmla="*/ 1133006 w 1357518"/>
                <a:gd name="connsiteY475" fmla="*/ 306385 h 1002999"/>
                <a:gd name="connsiteX476" fmla="*/ 1137411 w 1357518"/>
                <a:gd name="connsiteY476" fmla="*/ 304200 h 1002999"/>
                <a:gd name="connsiteX477" fmla="*/ 1142890 w 1357518"/>
                <a:gd name="connsiteY477" fmla="*/ 297100 h 1002999"/>
                <a:gd name="connsiteX478" fmla="*/ 1148845 w 1357518"/>
                <a:gd name="connsiteY478" fmla="*/ 294025 h 1002999"/>
                <a:gd name="connsiteX479" fmla="*/ 1155275 w 1357518"/>
                <a:gd name="connsiteY479" fmla="*/ 294991 h 1002999"/>
                <a:gd name="connsiteX480" fmla="*/ 1160874 w 1357518"/>
                <a:gd name="connsiteY480" fmla="*/ 296399 h 1002999"/>
                <a:gd name="connsiteX481" fmla="*/ 1168027 w 1357518"/>
                <a:gd name="connsiteY481" fmla="*/ 299181 h 1002999"/>
                <a:gd name="connsiteX482" fmla="*/ 1174015 w 1357518"/>
                <a:gd name="connsiteY482" fmla="*/ 300912 h 1002999"/>
                <a:gd name="connsiteX483" fmla="*/ 1179186 w 1357518"/>
                <a:gd name="connsiteY483" fmla="*/ 303190 h 1002999"/>
                <a:gd name="connsiteX484" fmla="*/ 1181319 w 1357518"/>
                <a:gd name="connsiteY484" fmla="*/ 305108 h 1002999"/>
                <a:gd name="connsiteX485" fmla="*/ 1183466 w 1357518"/>
                <a:gd name="connsiteY485" fmla="*/ 307807 h 1002999"/>
                <a:gd name="connsiteX486" fmla="*/ 1183484 w 1357518"/>
                <a:gd name="connsiteY486" fmla="*/ 309509 h 1002999"/>
                <a:gd name="connsiteX487" fmla="*/ 1179693 w 1357518"/>
                <a:gd name="connsiteY487" fmla="*/ 310427 h 1002999"/>
                <a:gd name="connsiteX488" fmla="*/ 1178441 w 1357518"/>
                <a:gd name="connsiteY488" fmla="*/ 310136 h 1002999"/>
                <a:gd name="connsiteX489" fmla="*/ 1168953 w 1357518"/>
                <a:gd name="connsiteY489" fmla="*/ 305676 h 1002999"/>
                <a:gd name="connsiteX490" fmla="*/ 1164335 w 1357518"/>
                <a:gd name="connsiteY490" fmla="*/ 304565 h 1002999"/>
                <a:gd name="connsiteX491" fmla="*/ 1158207 w 1357518"/>
                <a:gd name="connsiteY491" fmla="*/ 305901 h 1002999"/>
                <a:gd name="connsiteX492" fmla="*/ 1152865 w 1357518"/>
                <a:gd name="connsiteY492" fmla="*/ 307916 h 1002999"/>
                <a:gd name="connsiteX493" fmla="*/ 1157664 w 1357518"/>
                <a:gd name="connsiteY493" fmla="*/ 316009 h 1002999"/>
                <a:gd name="connsiteX494" fmla="*/ 1162790 w 1357518"/>
                <a:gd name="connsiteY494" fmla="*/ 319716 h 1002999"/>
                <a:gd name="connsiteX495" fmla="*/ 1172150 w 1357518"/>
                <a:gd name="connsiteY495" fmla="*/ 321407 h 1002999"/>
                <a:gd name="connsiteX496" fmla="*/ 1177038 w 1357518"/>
                <a:gd name="connsiteY496" fmla="*/ 323185 h 1002999"/>
                <a:gd name="connsiteX497" fmla="*/ 1180602 w 1357518"/>
                <a:gd name="connsiteY497" fmla="*/ 325453 h 1002999"/>
                <a:gd name="connsiteX498" fmla="*/ 1183391 w 1357518"/>
                <a:gd name="connsiteY498" fmla="*/ 326558 h 1002999"/>
                <a:gd name="connsiteX499" fmla="*/ 1187134 w 1357518"/>
                <a:gd name="connsiteY499" fmla="*/ 326072 h 1002999"/>
                <a:gd name="connsiteX500" fmla="*/ 1192167 w 1357518"/>
                <a:gd name="connsiteY500" fmla="*/ 323839 h 1002999"/>
                <a:gd name="connsiteX501" fmla="*/ 1199188 w 1357518"/>
                <a:gd name="connsiteY501" fmla="*/ 323718 h 1002999"/>
                <a:gd name="connsiteX502" fmla="*/ 1202355 w 1357518"/>
                <a:gd name="connsiteY502" fmla="*/ 324827 h 1002999"/>
                <a:gd name="connsiteX503" fmla="*/ 1204647 w 1357518"/>
                <a:gd name="connsiteY503" fmla="*/ 326889 h 1002999"/>
                <a:gd name="connsiteX504" fmla="*/ 1205678 w 1357518"/>
                <a:gd name="connsiteY504" fmla="*/ 330739 h 1002999"/>
                <a:gd name="connsiteX505" fmla="*/ 1205449 w 1357518"/>
                <a:gd name="connsiteY505" fmla="*/ 336363 h 1002999"/>
                <a:gd name="connsiteX506" fmla="*/ 1204686 w 1357518"/>
                <a:gd name="connsiteY506" fmla="*/ 340586 h 1002999"/>
                <a:gd name="connsiteX507" fmla="*/ 1203386 w 1357518"/>
                <a:gd name="connsiteY507" fmla="*/ 343420 h 1002999"/>
                <a:gd name="connsiteX508" fmla="*/ 1200859 w 1357518"/>
                <a:gd name="connsiteY508" fmla="*/ 347210 h 1002999"/>
                <a:gd name="connsiteX509" fmla="*/ 1198748 w 1357518"/>
                <a:gd name="connsiteY509" fmla="*/ 347898 h 1002999"/>
                <a:gd name="connsiteX510" fmla="*/ 1195774 w 1357518"/>
                <a:gd name="connsiteY510" fmla="*/ 347692 h 1002999"/>
                <a:gd name="connsiteX511" fmla="*/ 1193009 w 1357518"/>
                <a:gd name="connsiteY511" fmla="*/ 346916 h 1002999"/>
                <a:gd name="connsiteX512" fmla="*/ 1190451 w 1357518"/>
                <a:gd name="connsiteY512" fmla="*/ 345564 h 1002999"/>
                <a:gd name="connsiteX513" fmla="*/ 1186574 w 1357518"/>
                <a:gd name="connsiteY513" fmla="*/ 344508 h 1002999"/>
                <a:gd name="connsiteX514" fmla="*/ 1178781 w 1357518"/>
                <a:gd name="connsiteY514" fmla="*/ 343373 h 1002999"/>
                <a:gd name="connsiteX515" fmla="*/ 1170905 w 1357518"/>
                <a:gd name="connsiteY515" fmla="*/ 340901 h 1002999"/>
                <a:gd name="connsiteX516" fmla="*/ 1166496 w 1357518"/>
                <a:gd name="connsiteY516" fmla="*/ 340289 h 1002999"/>
                <a:gd name="connsiteX517" fmla="*/ 1157156 w 1357518"/>
                <a:gd name="connsiteY517" fmla="*/ 340604 h 1002999"/>
                <a:gd name="connsiteX518" fmla="*/ 1147087 w 1357518"/>
                <a:gd name="connsiteY518" fmla="*/ 342171 h 1002999"/>
                <a:gd name="connsiteX519" fmla="*/ 1146693 w 1357518"/>
                <a:gd name="connsiteY519" fmla="*/ 344225 h 1002999"/>
                <a:gd name="connsiteX520" fmla="*/ 1132214 w 1357518"/>
                <a:gd name="connsiteY520" fmla="*/ 351378 h 1002999"/>
                <a:gd name="connsiteX521" fmla="*/ 1129244 w 1357518"/>
                <a:gd name="connsiteY521" fmla="*/ 351281 h 1002999"/>
                <a:gd name="connsiteX522" fmla="*/ 1125225 w 1357518"/>
                <a:gd name="connsiteY522" fmla="*/ 348827 h 1002999"/>
                <a:gd name="connsiteX523" fmla="*/ 1119598 w 1357518"/>
                <a:gd name="connsiteY523" fmla="*/ 346474 h 1002999"/>
                <a:gd name="connsiteX524" fmla="*/ 1116302 w 1357518"/>
                <a:gd name="connsiteY524" fmla="*/ 346492 h 1002999"/>
                <a:gd name="connsiteX525" fmla="*/ 1111432 w 1357518"/>
                <a:gd name="connsiteY525" fmla="*/ 349470 h 1002999"/>
                <a:gd name="connsiteX526" fmla="*/ 1110221 w 1357518"/>
                <a:gd name="connsiteY526" fmla="*/ 350621 h 1002999"/>
                <a:gd name="connsiteX527" fmla="*/ 1110280 w 1357518"/>
                <a:gd name="connsiteY527" fmla="*/ 351707 h 1002999"/>
                <a:gd name="connsiteX528" fmla="*/ 1113867 w 1357518"/>
                <a:gd name="connsiteY528" fmla="*/ 354274 h 1002999"/>
                <a:gd name="connsiteX529" fmla="*/ 1115323 w 1357518"/>
                <a:gd name="connsiteY529" fmla="*/ 354865 h 1002999"/>
                <a:gd name="connsiteX530" fmla="*/ 1117174 w 1357518"/>
                <a:gd name="connsiteY530" fmla="*/ 355360 h 1002999"/>
                <a:gd name="connsiteX531" fmla="*/ 1123613 w 1357518"/>
                <a:gd name="connsiteY531" fmla="*/ 355975 h 1002999"/>
                <a:gd name="connsiteX532" fmla="*/ 1126407 w 1357518"/>
                <a:gd name="connsiteY532" fmla="*/ 356647 h 1002999"/>
                <a:gd name="connsiteX533" fmla="*/ 1129043 w 1357518"/>
                <a:gd name="connsiteY533" fmla="*/ 364583 h 1002999"/>
                <a:gd name="connsiteX534" fmla="*/ 1133223 w 1357518"/>
                <a:gd name="connsiteY534" fmla="*/ 369467 h 1002999"/>
                <a:gd name="connsiteX535" fmla="*/ 1135011 w 1357518"/>
                <a:gd name="connsiteY535" fmla="*/ 370464 h 1002999"/>
                <a:gd name="connsiteX536" fmla="*/ 1136589 w 1357518"/>
                <a:gd name="connsiteY536" fmla="*/ 370822 h 1002999"/>
                <a:gd name="connsiteX537" fmla="*/ 1141706 w 1357518"/>
                <a:gd name="connsiteY537" fmla="*/ 370642 h 1002999"/>
                <a:gd name="connsiteX538" fmla="*/ 1148296 w 1357518"/>
                <a:gd name="connsiteY538" fmla="*/ 368997 h 1002999"/>
                <a:gd name="connsiteX539" fmla="*/ 1150599 w 1357518"/>
                <a:gd name="connsiteY539" fmla="*/ 370314 h 1002999"/>
                <a:gd name="connsiteX540" fmla="*/ 1155452 w 1357518"/>
                <a:gd name="connsiteY540" fmla="*/ 371924 h 1002999"/>
                <a:gd name="connsiteX541" fmla="*/ 1158291 w 1357518"/>
                <a:gd name="connsiteY541" fmla="*/ 372325 h 1002999"/>
                <a:gd name="connsiteX542" fmla="*/ 1161743 w 1357518"/>
                <a:gd name="connsiteY542" fmla="*/ 372261 h 1002999"/>
                <a:gd name="connsiteX543" fmla="*/ 1165628 w 1357518"/>
                <a:gd name="connsiteY543" fmla="*/ 372871 h 1002999"/>
                <a:gd name="connsiteX544" fmla="*/ 1170950 w 1357518"/>
                <a:gd name="connsiteY544" fmla="*/ 377351 h 1002999"/>
                <a:gd name="connsiteX545" fmla="*/ 1168854 w 1357518"/>
                <a:gd name="connsiteY545" fmla="*/ 382978 h 1002999"/>
                <a:gd name="connsiteX546" fmla="*/ 1172189 w 1357518"/>
                <a:gd name="connsiteY546" fmla="*/ 387474 h 1002999"/>
                <a:gd name="connsiteX547" fmla="*/ 1177515 w 1357518"/>
                <a:gd name="connsiteY547" fmla="*/ 392097 h 1002999"/>
                <a:gd name="connsiteX548" fmla="*/ 1178776 w 1357518"/>
                <a:gd name="connsiteY548" fmla="*/ 393785 h 1002999"/>
                <a:gd name="connsiteX549" fmla="*/ 1179291 w 1357518"/>
                <a:gd name="connsiteY549" fmla="*/ 396843 h 1002999"/>
                <a:gd name="connsiteX550" fmla="*/ 1179411 w 1357518"/>
                <a:gd name="connsiteY550" fmla="*/ 398858 h 1002999"/>
                <a:gd name="connsiteX551" fmla="*/ 1179811 w 1357518"/>
                <a:gd name="connsiteY551" fmla="*/ 400695 h 1002999"/>
                <a:gd name="connsiteX552" fmla="*/ 1180491 w 1357518"/>
                <a:gd name="connsiteY552" fmla="*/ 402353 h 1002999"/>
                <a:gd name="connsiteX553" fmla="*/ 1181197 w 1357518"/>
                <a:gd name="connsiteY553" fmla="*/ 405600 h 1002999"/>
                <a:gd name="connsiteX554" fmla="*/ 1181928 w 1357518"/>
                <a:gd name="connsiteY554" fmla="*/ 410428 h 1002999"/>
                <a:gd name="connsiteX555" fmla="*/ 1181732 w 1357518"/>
                <a:gd name="connsiteY555" fmla="*/ 414362 h 1002999"/>
                <a:gd name="connsiteX556" fmla="*/ 1180612 w 1357518"/>
                <a:gd name="connsiteY556" fmla="*/ 417405 h 1002999"/>
                <a:gd name="connsiteX557" fmla="*/ 1178392 w 1357518"/>
                <a:gd name="connsiteY557" fmla="*/ 419610 h 1002999"/>
                <a:gd name="connsiteX558" fmla="*/ 1175077 w 1357518"/>
                <a:gd name="connsiteY558" fmla="*/ 420980 h 1002999"/>
                <a:gd name="connsiteX559" fmla="*/ 1172375 w 1357518"/>
                <a:gd name="connsiteY559" fmla="*/ 420620 h 1002999"/>
                <a:gd name="connsiteX560" fmla="*/ 1170281 w 1357518"/>
                <a:gd name="connsiteY560" fmla="*/ 418529 h 1002999"/>
                <a:gd name="connsiteX561" fmla="*/ 1167332 w 1357518"/>
                <a:gd name="connsiteY561" fmla="*/ 416299 h 1002999"/>
                <a:gd name="connsiteX562" fmla="*/ 1163526 w 1357518"/>
                <a:gd name="connsiteY562" fmla="*/ 413927 h 1002999"/>
                <a:gd name="connsiteX563" fmla="*/ 1157195 w 1357518"/>
                <a:gd name="connsiteY563" fmla="*/ 413647 h 1002999"/>
                <a:gd name="connsiteX564" fmla="*/ 1147888 w 1357518"/>
                <a:gd name="connsiteY564" fmla="*/ 420644 h 1002999"/>
                <a:gd name="connsiteX565" fmla="*/ 1143732 w 1357518"/>
                <a:gd name="connsiteY565" fmla="*/ 420993 h 1002999"/>
                <a:gd name="connsiteX566" fmla="*/ 1140355 w 1357518"/>
                <a:gd name="connsiteY566" fmla="*/ 421689 h 1002999"/>
                <a:gd name="connsiteX567" fmla="*/ 1136753 w 1357518"/>
                <a:gd name="connsiteY567" fmla="*/ 424730 h 1002999"/>
                <a:gd name="connsiteX568" fmla="*/ 1131449 w 1357518"/>
                <a:gd name="connsiteY568" fmla="*/ 426561 h 1002999"/>
                <a:gd name="connsiteX569" fmla="*/ 1126767 w 1357518"/>
                <a:gd name="connsiteY569" fmla="*/ 425835 h 1002999"/>
                <a:gd name="connsiteX570" fmla="*/ 1118545 w 1357518"/>
                <a:gd name="connsiteY570" fmla="*/ 422295 h 1002999"/>
                <a:gd name="connsiteX571" fmla="*/ 1121533 w 1357518"/>
                <a:gd name="connsiteY571" fmla="*/ 424660 h 1002999"/>
                <a:gd name="connsiteX572" fmla="*/ 1125810 w 1357518"/>
                <a:gd name="connsiteY572" fmla="*/ 427425 h 1002999"/>
                <a:gd name="connsiteX573" fmla="*/ 1128472 w 1357518"/>
                <a:gd name="connsiteY573" fmla="*/ 428858 h 1002999"/>
                <a:gd name="connsiteX574" fmla="*/ 1130436 w 1357518"/>
                <a:gd name="connsiteY574" fmla="*/ 429169 h 1002999"/>
                <a:gd name="connsiteX575" fmla="*/ 1132591 w 1357518"/>
                <a:gd name="connsiteY575" fmla="*/ 428837 h 1002999"/>
                <a:gd name="connsiteX576" fmla="*/ 1135694 w 1357518"/>
                <a:gd name="connsiteY576" fmla="*/ 427705 h 1002999"/>
                <a:gd name="connsiteX577" fmla="*/ 1142698 w 1357518"/>
                <a:gd name="connsiteY577" fmla="*/ 424563 h 1002999"/>
                <a:gd name="connsiteX578" fmla="*/ 1144553 w 1357518"/>
                <a:gd name="connsiteY578" fmla="*/ 424083 h 1002999"/>
                <a:gd name="connsiteX579" fmla="*/ 1146121 w 1357518"/>
                <a:gd name="connsiteY579" fmla="*/ 424306 h 1002999"/>
                <a:gd name="connsiteX580" fmla="*/ 1147403 w 1357518"/>
                <a:gd name="connsiteY580" fmla="*/ 425233 h 1002999"/>
                <a:gd name="connsiteX581" fmla="*/ 1148878 w 1357518"/>
                <a:gd name="connsiteY581" fmla="*/ 427926 h 1002999"/>
                <a:gd name="connsiteX582" fmla="*/ 1150545 w 1357518"/>
                <a:gd name="connsiteY582" fmla="*/ 432379 h 1002999"/>
                <a:gd name="connsiteX583" fmla="*/ 1150333 w 1357518"/>
                <a:gd name="connsiteY583" fmla="*/ 436159 h 1002999"/>
                <a:gd name="connsiteX584" fmla="*/ 1148239 w 1357518"/>
                <a:gd name="connsiteY584" fmla="*/ 439270 h 1002999"/>
                <a:gd name="connsiteX585" fmla="*/ 1146448 w 1357518"/>
                <a:gd name="connsiteY585" fmla="*/ 441263 h 1002999"/>
                <a:gd name="connsiteX586" fmla="*/ 1144960 w 1357518"/>
                <a:gd name="connsiteY586" fmla="*/ 442139 h 1002999"/>
                <a:gd name="connsiteX587" fmla="*/ 1144956 w 1357518"/>
                <a:gd name="connsiteY587" fmla="*/ 442829 h 1002999"/>
                <a:gd name="connsiteX588" fmla="*/ 1148868 w 1357518"/>
                <a:gd name="connsiteY588" fmla="*/ 443627 h 1002999"/>
                <a:gd name="connsiteX589" fmla="*/ 1154405 w 1357518"/>
                <a:gd name="connsiteY589" fmla="*/ 439577 h 1002999"/>
                <a:gd name="connsiteX590" fmla="*/ 1156161 w 1357518"/>
                <a:gd name="connsiteY590" fmla="*/ 434531 h 1002999"/>
                <a:gd name="connsiteX591" fmla="*/ 1158696 w 1357518"/>
                <a:gd name="connsiteY591" fmla="*/ 428694 h 1002999"/>
                <a:gd name="connsiteX592" fmla="*/ 1163181 w 1357518"/>
                <a:gd name="connsiteY592" fmla="*/ 426746 h 1002999"/>
                <a:gd name="connsiteX593" fmla="*/ 1168252 w 1357518"/>
                <a:gd name="connsiteY593" fmla="*/ 428694 h 1002999"/>
                <a:gd name="connsiteX594" fmla="*/ 1172348 w 1357518"/>
                <a:gd name="connsiteY594" fmla="*/ 434144 h 1002999"/>
                <a:gd name="connsiteX595" fmla="*/ 1178139 w 1357518"/>
                <a:gd name="connsiteY595" fmla="*/ 444126 h 1002999"/>
                <a:gd name="connsiteX596" fmla="*/ 1180582 w 1357518"/>
                <a:gd name="connsiteY596" fmla="*/ 445161 h 1002999"/>
                <a:gd name="connsiteX597" fmla="*/ 1183685 w 1357518"/>
                <a:gd name="connsiteY597" fmla="*/ 447549 h 1002999"/>
                <a:gd name="connsiteX598" fmla="*/ 1185053 w 1357518"/>
                <a:gd name="connsiteY598" fmla="*/ 450473 h 1002999"/>
                <a:gd name="connsiteX599" fmla="*/ 1184688 w 1357518"/>
                <a:gd name="connsiteY599" fmla="*/ 453933 h 1002999"/>
                <a:gd name="connsiteX600" fmla="*/ 1184026 w 1357518"/>
                <a:gd name="connsiteY600" fmla="*/ 456441 h 1002999"/>
                <a:gd name="connsiteX601" fmla="*/ 1183067 w 1357518"/>
                <a:gd name="connsiteY601" fmla="*/ 458001 h 1002999"/>
                <a:gd name="connsiteX602" fmla="*/ 1181868 w 1357518"/>
                <a:gd name="connsiteY602" fmla="*/ 458990 h 1002999"/>
                <a:gd name="connsiteX603" fmla="*/ 1179710 w 1357518"/>
                <a:gd name="connsiteY603" fmla="*/ 459622 h 1002999"/>
                <a:gd name="connsiteX604" fmla="*/ 1175741 w 1357518"/>
                <a:gd name="connsiteY604" fmla="*/ 460123 h 1002999"/>
                <a:gd name="connsiteX605" fmla="*/ 1166867 w 1357518"/>
                <a:gd name="connsiteY605" fmla="*/ 459066 h 1002999"/>
                <a:gd name="connsiteX606" fmla="*/ 1162248 w 1357518"/>
                <a:gd name="connsiteY606" fmla="*/ 459043 h 1002999"/>
                <a:gd name="connsiteX607" fmla="*/ 1162821 w 1357518"/>
                <a:gd name="connsiteY607" fmla="*/ 462438 h 1002999"/>
                <a:gd name="connsiteX608" fmla="*/ 1153477 w 1357518"/>
                <a:gd name="connsiteY608" fmla="*/ 465356 h 1002999"/>
                <a:gd name="connsiteX609" fmla="*/ 1142944 w 1357518"/>
                <a:gd name="connsiteY609" fmla="*/ 466502 h 1002999"/>
                <a:gd name="connsiteX610" fmla="*/ 1132969 w 1357518"/>
                <a:gd name="connsiteY610" fmla="*/ 464224 h 1002999"/>
                <a:gd name="connsiteX611" fmla="*/ 1124691 w 1357518"/>
                <a:gd name="connsiteY611" fmla="*/ 460717 h 1002999"/>
                <a:gd name="connsiteX612" fmla="*/ 1127409 w 1357518"/>
                <a:gd name="connsiteY612" fmla="*/ 455803 h 1002999"/>
                <a:gd name="connsiteX613" fmla="*/ 1128958 w 1357518"/>
                <a:gd name="connsiteY613" fmla="*/ 450330 h 1002999"/>
                <a:gd name="connsiteX614" fmla="*/ 1124957 w 1357518"/>
                <a:gd name="connsiteY614" fmla="*/ 446703 h 1002999"/>
                <a:gd name="connsiteX615" fmla="*/ 1124079 w 1357518"/>
                <a:gd name="connsiteY615" fmla="*/ 446626 h 1002999"/>
                <a:gd name="connsiteX616" fmla="*/ 1125460 w 1357518"/>
                <a:gd name="connsiteY616" fmla="*/ 452231 h 1002999"/>
                <a:gd name="connsiteX617" fmla="*/ 1124298 w 1357518"/>
                <a:gd name="connsiteY617" fmla="*/ 454376 h 1002999"/>
                <a:gd name="connsiteX618" fmla="*/ 1119776 w 1357518"/>
                <a:gd name="connsiteY618" fmla="*/ 456983 h 1002999"/>
                <a:gd name="connsiteX619" fmla="*/ 1116584 w 1357518"/>
                <a:gd name="connsiteY619" fmla="*/ 458185 h 1002999"/>
                <a:gd name="connsiteX620" fmla="*/ 1116302 w 1357518"/>
                <a:gd name="connsiteY620" fmla="*/ 458888 h 1002999"/>
                <a:gd name="connsiteX621" fmla="*/ 1117868 w 1357518"/>
                <a:gd name="connsiteY621" fmla="*/ 459495 h 1002999"/>
                <a:gd name="connsiteX622" fmla="*/ 1118889 w 1357518"/>
                <a:gd name="connsiteY622" fmla="*/ 460664 h 1002999"/>
                <a:gd name="connsiteX623" fmla="*/ 1119368 w 1357518"/>
                <a:gd name="connsiteY623" fmla="*/ 462392 h 1002999"/>
                <a:gd name="connsiteX624" fmla="*/ 1118830 w 1357518"/>
                <a:gd name="connsiteY624" fmla="*/ 464135 h 1002999"/>
                <a:gd name="connsiteX625" fmla="*/ 1117269 w 1357518"/>
                <a:gd name="connsiteY625" fmla="*/ 465891 h 1002999"/>
                <a:gd name="connsiteX626" fmla="*/ 1116421 w 1357518"/>
                <a:gd name="connsiteY626" fmla="*/ 467364 h 1002999"/>
                <a:gd name="connsiteX627" fmla="*/ 1116281 w 1357518"/>
                <a:gd name="connsiteY627" fmla="*/ 468555 h 1002999"/>
                <a:gd name="connsiteX628" fmla="*/ 1117712 w 1357518"/>
                <a:gd name="connsiteY628" fmla="*/ 470006 h 1002999"/>
                <a:gd name="connsiteX629" fmla="*/ 1120714 w 1357518"/>
                <a:gd name="connsiteY629" fmla="*/ 471708 h 1002999"/>
                <a:gd name="connsiteX630" fmla="*/ 1123967 w 1357518"/>
                <a:gd name="connsiteY630" fmla="*/ 472549 h 1002999"/>
                <a:gd name="connsiteX631" fmla="*/ 1139211 w 1357518"/>
                <a:gd name="connsiteY631" fmla="*/ 472918 h 1002999"/>
                <a:gd name="connsiteX632" fmla="*/ 1145316 w 1357518"/>
                <a:gd name="connsiteY632" fmla="*/ 473831 h 1002999"/>
                <a:gd name="connsiteX633" fmla="*/ 1159797 w 1357518"/>
                <a:gd name="connsiteY633" fmla="*/ 477839 h 1002999"/>
                <a:gd name="connsiteX634" fmla="*/ 1160445 w 1357518"/>
                <a:gd name="connsiteY634" fmla="*/ 479067 h 1002999"/>
                <a:gd name="connsiteX635" fmla="*/ 1157992 w 1357518"/>
                <a:gd name="connsiteY635" fmla="*/ 486220 h 1002999"/>
                <a:gd name="connsiteX636" fmla="*/ 1156649 w 1357518"/>
                <a:gd name="connsiteY636" fmla="*/ 493067 h 1002999"/>
                <a:gd name="connsiteX637" fmla="*/ 1153839 w 1357518"/>
                <a:gd name="connsiteY637" fmla="*/ 494317 h 1002999"/>
                <a:gd name="connsiteX638" fmla="*/ 1138601 w 1357518"/>
                <a:gd name="connsiteY638" fmla="*/ 494613 h 1002999"/>
                <a:gd name="connsiteX639" fmla="*/ 1133689 w 1357518"/>
                <a:gd name="connsiteY639" fmla="*/ 495677 h 1002999"/>
                <a:gd name="connsiteX640" fmla="*/ 1126506 w 1357518"/>
                <a:gd name="connsiteY640" fmla="*/ 498810 h 1002999"/>
                <a:gd name="connsiteX641" fmla="*/ 1119602 w 1357518"/>
                <a:gd name="connsiteY641" fmla="*/ 502561 h 1002999"/>
                <a:gd name="connsiteX642" fmla="*/ 1116024 w 1357518"/>
                <a:gd name="connsiteY642" fmla="*/ 502587 h 1002999"/>
                <a:gd name="connsiteX643" fmla="*/ 1101859 w 1357518"/>
                <a:gd name="connsiteY643" fmla="*/ 499315 h 1002999"/>
                <a:gd name="connsiteX644" fmla="*/ 1096426 w 1357518"/>
                <a:gd name="connsiteY644" fmla="*/ 497125 h 1002999"/>
                <a:gd name="connsiteX645" fmla="*/ 1084764 w 1357518"/>
                <a:gd name="connsiteY645" fmla="*/ 490922 h 1002999"/>
                <a:gd name="connsiteX646" fmla="*/ 1075983 w 1357518"/>
                <a:gd name="connsiteY646" fmla="*/ 481441 h 1002999"/>
                <a:gd name="connsiteX647" fmla="*/ 1071955 w 1357518"/>
                <a:gd name="connsiteY647" fmla="*/ 485389 h 1002999"/>
                <a:gd name="connsiteX648" fmla="*/ 1069492 w 1357518"/>
                <a:gd name="connsiteY648" fmla="*/ 487270 h 1002999"/>
                <a:gd name="connsiteX649" fmla="*/ 1066948 w 1357518"/>
                <a:gd name="connsiteY649" fmla="*/ 488244 h 1002999"/>
                <a:gd name="connsiteX650" fmla="*/ 1064495 w 1357518"/>
                <a:gd name="connsiteY650" fmla="*/ 488396 h 1002999"/>
                <a:gd name="connsiteX651" fmla="*/ 1062130 w 1357518"/>
                <a:gd name="connsiteY651" fmla="*/ 487723 h 1002999"/>
                <a:gd name="connsiteX652" fmla="*/ 1059449 w 1357518"/>
                <a:gd name="connsiteY652" fmla="*/ 486230 h 1002999"/>
                <a:gd name="connsiteX653" fmla="*/ 1054952 w 1357518"/>
                <a:gd name="connsiteY653" fmla="*/ 482762 h 1002999"/>
                <a:gd name="connsiteX654" fmla="*/ 1049586 w 1357518"/>
                <a:gd name="connsiteY654" fmla="*/ 479328 h 1002999"/>
                <a:gd name="connsiteX655" fmla="*/ 1045831 w 1357518"/>
                <a:gd name="connsiteY655" fmla="*/ 477694 h 1002999"/>
                <a:gd name="connsiteX656" fmla="*/ 1045689 w 1357518"/>
                <a:gd name="connsiteY656" fmla="*/ 478158 h 1002999"/>
                <a:gd name="connsiteX657" fmla="*/ 1047907 w 1357518"/>
                <a:gd name="connsiteY657" fmla="*/ 480180 h 1002999"/>
                <a:gd name="connsiteX658" fmla="*/ 1051155 w 1357518"/>
                <a:gd name="connsiteY658" fmla="*/ 482508 h 1002999"/>
                <a:gd name="connsiteX659" fmla="*/ 1059373 w 1357518"/>
                <a:gd name="connsiteY659" fmla="*/ 489338 h 1002999"/>
                <a:gd name="connsiteX660" fmla="*/ 1062260 w 1357518"/>
                <a:gd name="connsiteY660" fmla="*/ 491060 h 1002999"/>
                <a:gd name="connsiteX661" fmla="*/ 1061974 w 1357518"/>
                <a:gd name="connsiteY661" fmla="*/ 492282 h 1002999"/>
                <a:gd name="connsiteX662" fmla="*/ 1056786 w 1357518"/>
                <a:gd name="connsiteY662" fmla="*/ 493370 h 1002999"/>
                <a:gd name="connsiteX663" fmla="*/ 1050487 w 1357518"/>
                <a:gd name="connsiteY663" fmla="*/ 495706 h 1002999"/>
                <a:gd name="connsiteX664" fmla="*/ 1047406 w 1357518"/>
                <a:gd name="connsiteY664" fmla="*/ 497424 h 1002999"/>
                <a:gd name="connsiteX665" fmla="*/ 1042644 w 1357518"/>
                <a:gd name="connsiteY665" fmla="*/ 501586 h 1002999"/>
                <a:gd name="connsiteX666" fmla="*/ 1040991 w 1357518"/>
                <a:gd name="connsiteY666" fmla="*/ 502231 h 1002999"/>
                <a:gd name="connsiteX667" fmla="*/ 1033868 w 1357518"/>
                <a:gd name="connsiteY667" fmla="*/ 503276 h 1002999"/>
                <a:gd name="connsiteX668" fmla="*/ 1031519 w 1357518"/>
                <a:gd name="connsiteY668" fmla="*/ 503021 h 1002999"/>
                <a:gd name="connsiteX669" fmla="*/ 1026252 w 1357518"/>
                <a:gd name="connsiteY669" fmla="*/ 500731 h 1002999"/>
                <a:gd name="connsiteX670" fmla="*/ 1018320 w 1357518"/>
                <a:gd name="connsiteY670" fmla="*/ 499232 h 1002999"/>
                <a:gd name="connsiteX671" fmla="*/ 1013649 w 1357518"/>
                <a:gd name="connsiteY671" fmla="*/ 497898 h 1002999"/>
                <a:gd name="connsiteX672" fmla="*/ 1007155 w 1357518"/>
                <a:gd name="connsiteY672" fmla="*/ 495481 h 1002999"/>
                <a:gd name="connsiteX673" fmla="*/ 1009389 w 1357518"/>
                <a:gd name="connsiteY673" fmla="*/ 498127 h 1002999"/>
                <a:gd name="connsiteX674" fmla="*/ 1021899 w 1357518"/>
                <a:gd name="connsiteY674" fmla="*/ 502152 h 1002999"/>
                <a:gd name="connsiteX675" fmla="*/ 1023265 w 1357518"/>
                <a:gd name="connsiteY675" fmla="*/ 503447 h 1002999"/>
                <a:gd name="connsiteX676" fmla="*/ 1020705 w 1357518"/>
                <a:gd name="connsiteY676" fmla="*/ 505858 h 1002999"/>
                <a:gd name="connsiteX677" fmla="*/ 1019135 w 1357518"/>
                <a:gd name="connsiteY677" fmla="*/ 506738 h 1002999"/>
                <a:gd name="connsiteX678" fmla="*/ 1016156 w 1357518"/>
                <a:gd name="connsiteY678" fmla="*/ 506924 h 1002999"/>
                <a:gd name="connsiteX679" fmla="*/ 1011766 w 1357518"/>
                <a:gd name="connsiteY679" fmla="*/ 506419 h 1002999"/>
                <a:gd name="connsiteX680" fmla="*/ 1007277 w 1357518"/>
                <a:gd name="connsiteY680" fmla="*/ 506522 h 1002999"/>
                <a:gd name="connsiteX681" fmla="*/ 1002689 w 1357518"/>
                <a:gd name="connsiteY681" fmla="*/ 507228 h 1002999"/>
                <a:gd name="connsiteX682" fmla="*/ 1000715 w 1357518"/>
                <a:gd name="connsiteY682" fmla="*/ 508131 h 1002999"/>
                <a:gd name="connsiteX683" fmla="*/ 1001358 w 1357518"/>
                <a:gd name="connsiteY683" fmla="*/ 509229 h 1002999"/>
                <a:gd name="connsiteX684" fmla="*/ 1002451 w 1357518"/>
                <a:gd name="connsiteY684" fmla="*/ 510228 h 1002999"/>
                <a:gd name="connsiteX685" fmla="*/ 1003994 w 1357518"/>
                <a:gd name="connsiteY685" fmla="*/ 511128 h 1002999"/>
                <a:gd name="connsiteX686" fmla="*/ 1005438 w 1357518"/>
                <a:gd name="connsiteY686" fmla="*/ 511120 h 1002999"/>
                <a:gd name="connsiteX687" fmla="*/ 1008935 w 1357518"/>
                <a:gd name="connsiteY687" fmla="*/ 508388 h 1002999"/>
                <a:gd name="connsiteX688" fmla="*/ 1011586 w 1357518"/>
                <a:gd name="connsiteY688" fmla="*/ 508194 h 1002999"/>
                <a:gd name="connsiteX689" fmla="*/ 1018591 w 1357518"/>
                <a:gd name="connsiteY689" fmla="*/ 508867 h 1002999"/>
                <a:gd name="connsiteX690" fmla="*/ 1025675 w 1357518"/>
                <a:gd name="connsiteY690" fmla="*/ 506733 h 1002999"/>
                <a:gd name="connsiteX691" fmla="*/ 1030779 w 1357518"/>
                <a:gd name="connsiteY691" fmla="*/ 505813 h 1002999"/>
                <a:gd name="connsiteX692" fmla="*/ 1034610 w 1357518"/>
                <a:gd name="connsiteY692" fmla="*/ 505577 h 1002999"/>
                <a:gd name="connsiteX693" fmla="*/ 1048535 w 1357518"/>
                <a:gd name="connsiteY693" fmla="*/ 502310 h 1002999"/>
                <a:gd name="connsiteX694" fmla="*/ 1051425 w 1357518"/>
                <a:gd name="connsiteY694" fmla="*/ 498646 h 1002999"/>
                <a:gd name="connsiteX695" fmla="*/ 1056097 w 1357518"/>
                <a:gd name="connsiteY695" fmla="*/ 497177 h 1002999"/>
                <a:gd name="connsiteX696" fmla="*/ 1066486 w 1357518"/>
                <a:gd name="connsiteY696" fmla="*/ 496049 h 1002999"/>
                <a:gd name="connsiteX697" fmla="*/ 1076537 w 1357518"/>
                <a:gd name="connsiteY697" fmla="*/ 496628 h 1002999"/>
                <a:gd name="connsiteX698" fmla="*/ 1081704 w 1357518"/>
                <a:gd name="connsiteY698" fmla="*/ 497100 h 1002999"/>
                <a:gd name="connsiteX699" fmla="*/ 1085891 w 1357518"/>
                <a:gd name="connsiteY699" fmla="*/ 500567 h 1002999"/>
                <a:gd name="connsiteX700" fmla="*/ 1091504 w 1357518"/>
                <a:gd name="connsiteY700" fmla="*/ 503019 h 1002999"/>
                <a:gd name="connsiteX701" fmla="*/ 1096185 w 1357518"/>
                <a:gd name="connsiteY701" fmla="*/ 505811 h 1002999"/>
                <a:gd name="connsiteX702" fmla="*/ 1101670 w 1357518"/>
                <a:gd name="connsiteY702" fmla="*/ 506729 h 1002999"/>
                <a:gd name="connsiteX703" fmla="*/ 1104849 w 1357518"/>
                <a:gd name="connsiteY703" fmla="*/ 510437 h 1002999"/>
                <a:gd name="connsiteX704" fmla="*/ 1113740 w 1357518"/>
                <a:gd name="connsiteY704" fmla="*/ 514571 h 1002999"/>
                <a:gd name="connsiteX705" fmla="*/ 1119400 w 1357518"/>
                <a:gd name="connsiteY705" fmla="*/ 515459 h 1002999"/>
                <a:gd name="connsiteX706" fmla="*/ 1122891 w 1357518"/>
                <a:gd name="connsiteY706" fmla="*/ 517422 h 1002999"/>
                <a:gd name="connsiteX707" fmla="*/ 1123175 w 1357518"/>
                <a:gd name="connsiteY707" fmla="*/ 525729 h 1002999"/>
                <a:gd name="connsiteX708" fmla="*/ 1123546 w 1357518"/>
                <a:gd name="connsiteY708" fmla="*/ 529305 h 1002999"/>
                <a:gd name="connsiteX709" fmla="*/ 1122041 w 1357518"/>
                <a:gd name="connsiteY709" fmla="*/ 539166 h 1002999"/>
                <a:gd name="connsiteX710" fmla="*/ 1117498 w 1357518"/>
                <a:gd name="connsiteY710" fmla="*/ 541432 h 1002999"/>
                <a:gd name="connsiteX711" fmla="*/ 1118404 w 1357518"/>
                <a:gd name="connsiteY711" fmla="*/ 546602 h 1002999"/>
                <a:gd name="connsiteX712" fmla="*/ 1117211 w 1357518"/>
                <a:gd name="connsiteY712" fmla="*/ 550774 h 1002999"/>
                <a:gd name="connsiteX713" fmla="*/ 1112693 w 1357518"/>
                <a:gd name="connsiteY713" fmla="*/ 549192 h 1002999"/>
                <a:gd name="connsiteX714" fmla="*/ 1108065 w 1357518"/>
                <a:gd name="connsiteY714" fmla="*/ 546450 h 1002999"/>
                <a:gd name="connsiteX715" fmla="*/ 1096983 w 1357518"/>
                <a:gd name="connsiteY715" fmla="*/ 542189 h 1002999"/>
                <a:gd name="connsiteX716" fmla="*/ 1086671 w 1357518"/>
                <a:gd name="connsiteY716" fmla="*/ 539443 h 1002999"/>
                <a:gd name="connsiteX717" fmla="*/ 1082664 w 1357518"/>
                <a:gd name="connsiteY717" fmla="*/ 536949 h 1002999"/>
                <a:gd name="connsiteX718" fmla="*/ 1077944 w 1357518"/>
                <a:gd name="connsiteY718" fmla="*/ 535018 h 1002999"/>
                <a:gd name="connsiteX719" fmla="*/ 1071541 w 1357518"/>
                <a:gd name="connsiteY719" fmla="*/ 527133 h 1002999"/>
                <a:gd name="connsiteX720" fmla="*/ 1067370 w 1357518"/>
                <a:gd name="connsiteY720" fmla="*/ 517284 h 1002999"/>
                <a:gd name="connsiteX721" fmla="*/ 1065540 w 1357518"/>
                <a:gd name="connsiteY721" fmla="*/ 512395 h 1002999"/>
                <a:gd name="connsiteX722" fmla="*/ 1062033 w 1357518"/>
                <a:gd name="connsiteY722" fmla="*/ 512120 h 1002999"/>
                <a:gd name="connsiteX723" fmla="*/ 1057524 w 1357518"/>
                <a:gd name="connsiteY723" fmla="*/ 513432 h 1002999"/>
                <a:gd name="connsiteX724" fmla="*/ 1053587 w 1357518"/>
                <a:gd name="connsiteY724" fmla="*/ 514817 h 1002999"/>
                <a:gd name="connsiteX725" fmla="*/ 1051701 w 1357518"/>
                <a:gd name="connsiteY725" fmla="*/ 517184 h 1002999"/>
                <a:gd name="connsiteX726" fmla="*/ 1038323 w 1357518"/>
                <a:gd name="connsiteY726" fmla="*/ 520435 h 1002999"/>
                <a:gd name="connsiteX727" fmla="*/ 1033467 w 1357518"/>
                <a:gd name="connsiteY727" fmla="*/ 522658 h 1002999"/>
                <a:gd name="connsiteX728" fmla="*/ 1030696 w 1357518"/>
                <a:gd name="connsiteY728" fmla="*/ 522592 h 1002999"/>
                <a:gd name="connsiteX729" fmla="*/ 1020705 w 1357518"/>
                <a:gd name="connsiteY729" fmla="*/ 525938 h 1002999"/>
                <a:gd name="connsiteX730" fmla="*/ 1024708 w 1357518"/>
                <a:gd name="connsiteY730" fmla="*/ 527538 h 1002999"/>
                <a:gd name="connsiteX731" fmla="*/ 1026576 w 1357518"/>
                <a:gd name="connsiteY731" fmla="*/ 527741 h 1002999"/>
                <a:gd name="connsiteX732" fmla="*/ 1030614 w 1357518"/>
                <a:gd name="connsiteY732" fmla="*/ 526837 h 1002999"/>
                <a:gd name="connsiteX733" fmla="*/ 1033039 w 1357518"/>
                <a:gd name="connsiteY733" fmla="*/ 525682 h 1002999"/>
                <a:gd name="connsiteX734" fmla="*/ 1042145 w 1357518"/>
                <a:gd name="connsiteY734" fmla="*/ 522516 h 1002999"/>
                <a:gd name="connsiteX735" fmla="*/ 1049455 w 1357518"/>
                <a:gd name="connsiteY735" fmla="*/ 521974 h 1002999"/>
                <a:gd name="connsiteX736" fmla="*/ 1052106 w 1357518"/>
                <a:gd name="connsiteY736" fmla="*/ 520607 h 1002999"/>
                <a:gd name="connsiteX737" fmla="*/ 1057694 w 1357518"/>
                <a:gd name="connsiteY737" fmla="*/ 518654 h 1002999"/>
                <a:gd name="connsiteX738" fmla="*/ 1061486 w 1357518"/>
                <a:gd name="connsiteY738" fmla="*/ 518136 h 1002999"/>
                <a:gd name="connsiteX739" fmla="*/ 1062014 w 1357518"/>
                <a:gd name="connsiteY739" fmla="*/ 518631 h 1002999"/>
                <a:gd name="connsiteX740" fmla="*/ 1062421 w 1357518"/>
                <a:gd name="connsiteY740" fmla="*/ 519519 h 1002999"/>
                <a:gd name="connsiteX741" fmla="*/ 1065098 w 1357518"/>
                <a:gd name="connsiteY741" fmla="*/ 531519 h 1002999"/>
                <a:gd name="connsiteX742" fmla="*/ 1063977 w 1357518"/>
                <a:gd name="connsiteY742" fmla="*/ 534701 h 1002999"/>
                <a:gd name="connsiteX743" fmla="*/ 1060964 w 1357518"/>
                <a:gd name="connsiteY743" fmla="*/ 536077 h 1002999"/>
                <a:gd name="connsiteX744" fmla="*/ 1054527 w 1357518"/>
                <a:gd name="connsiteY744" fmla="*/ 538334 h 1002999"/>
                <a:gd name="connsiteX745" fmla="*/ 1052854 w 1357518"/>
                <a:gd name="connsiteY745" fmla="*/ 539426 h 1002999"/>
                <a:gd name="connsiteX746" fmla="*/ 1054752 w 1357518"/>
                <a:gd name="connsiteY746" fmla="*/ 541340 h 1002999"/>
                <a:gd name="connsiteX747" fmla="*/ 1060804 w 1357518"/>
                <a:gd name="connsiteY747" fmla="*/ 539536 h 1002999"/>
                <a:gd name="connsiteX748" fmla="*/ 1064725 w 1357518"/>
                <a:gd name="connsiteY748" fmla="*/ 537578 h 1002999"/>
                <a:gd name="connsiteX749" fmla="*/ 1066814 w 1357518"/>
                <a:gd name="connsiteY749" fmla="*/ 538292 h 1002999"/>
                <a:gd name="connsiteX750" fmla="*/ 1070245 w 1357518"/>
                <a:gd name="connsiteY750" fmla="*/ 541287 h 1002999"/>
                <a:gd name="connsiteX751" fmla="*/ 1074113 w 1357518"/>
                <a:gd name="connsiteY751" fmla="*/ 542822 h 1002999"/>
                <a:gd name="connsiteX752" fmla="*/ 1083944 w 1357518"/>
                <a:gd name="connsiteY752" fmla="*/ 547412 h 1002999"/>
                <a:gd name="connsiteX753" fmla="*/ 1088600 w 1357518"/>
                <a:gd name="connsiteY753" fmla="*/ 549936 h 1002999"/>
                <a:gd name="connsiteX754" fmla="*/ 1095150 w 1357518"/>
                <a:gd name="connsiteY754" fmla="*/ 552368 h 1002999"/>
                <a:gd name="connsiteX755" fmla="*/ 1102561 w 1357518"/>
                <a:gd name="connsiteY755" fmla="*/ 555738 h 1002999"/>
                <a:gd name="connsiteX756" fmla="*/ 1104490 w 1357518"/>
                <a:gd name="connsiteY756" fmla="*/ 556924 h 1002999"/>
                <a:gd name="connsiteX757" fmla="*/ 1111264 w 1357518"/>
                <a:gd name="connsiteY757" fmla="*/ 558671 h 1002999"/>
                <a:gd name="connsiteX758" fmla="*/ 1112707 w 1357518"/>
                <a:gd name="connsiteY758" fmla="*/ 559267 h 1002999"/>
                <a:gd name="connsiteX759" fmla="*/ 1115508 w 1357518"/>
                <a:gd name="connsiteY759" fmla="*/ 565189 h 1002999"/>
                <a:gd name="connsiteX760" fmla="*/ 1117846 w 1357518"/>
                <a:gd name="connsiteY760" fmla="*/ 565846 h 1002999"/>
                <a:gd name="connsiteX761" fmla="*/ 1124587 w 1357518"/>
                <a:gd name="connsiteY761" fmla="*/ 566221 h 1002999"/>
                <a:gd name="connsiteX762" fmla="*/ 1123400 w 1357518"/>
                <a:gd name="connsiteY762" fmla="*/ 568511 h 1002999"/>
                <a:gd name="connsiteX763" fmla="*/ 1116817 w 1357518"/>
                <a:gd name="connsiteY763" fmla="*/ 573598 h 1002999"/>
                <a:gd name="connsiteX764" fmla="*/ 1113413 w 1357518"/>
                <a:gd name="connsiteY764" fmla="*/ 575218 h 1002999"/>
                <a:gd name="connsiteX765" fmla="*/ 1112567 w 1357518"/>
                <a:gd name="connsiteY765" fmla="*/ 576217 h 1002999"/>
                <a:gd name="connsiteX766" fmla="*/ 1112891 w 1357518"/>
                <a:gd name="connsiteY766" fmla="*/ 578002 h 1002999"/>
                <a:gd name="connsiteX767" fmla="*/ 1113089 w 1357518"/>
                <a:gd name="connsiteY767" fmla="*/ 580987 h 1002999"/>
                <a:gd name="connsiteX768" fmla="*/ 1114461 w 1357518"/>
                <a:gd name="connsiteY768" fmla="*/ 586466 h 1002999"/>
                <a:gd name="connsiteX769" fmla="*/ 1116005 w 1357518"/>
                <a:gd name="connsiteY769" fmla="*/ 581392 h 1002999"/>
                <a:gd name="connsiteX770" fmla="*/ 1117082 w 1357518"/>
                <a:gd name="connsiteY770" fmla="*/ 578995 h 1002999"/>
                <a:gd name="connsiteX771" fmla="*/ 1118525 w 1357518"/>
                <a:gd name="connsiteY771" fmla="*/ 578277 h 1002999"/>
                <a:gd name="connsiteX772" fmla="*/ 1119945 w 1357518"/>
                <a:gd name="connsiteY772" fmla="*/ 578171 h 1002999"/>
                <a:gd name="connsiteX773" fmla="*/ 1124547 w 1357518"/>
                <a:gd name="connsiteY773" fmla="*/ 575900 h 1002999"/>
                <a:gd name="connsiteX774" fmla="*/ 1129173 w 1357518"/>
                <a:gd name="connsiteY774" fmla="*/ 577120 h 1002999"/>
                <a:gd name="connsiteX775" fmla="*/ 1130373 w 1357518"/>
                <a:gd name="connsiteY775" fmla="*/ 582858 h 1002999"/>
                <a:gd name="connsiteX776" fmla="*/ 1130965 w 1357518"/>
                <a:gd name="connsiteY776" fmla="*/ 588199 h 1002999"/>
                <a:gd name="connsiteX777" fmla="*/ 1130557 w 1357518"/>
                <a:gd name="connsiteY777" fmla="*/ 592800 h 1002999"/>
                <a:gd name="connsiteX778" fmla="*/ 1131067 w 1357518"/>
                <a:gd name="connsiteY778" fmla="*/ 599929 h 1002999"/>
                <a:gd name="connsiteX779" fmla="*/ 1130892 w 1357518"/>
                <a:gd name="connsiteY779" fmla="*/ 602329 h 1002999"/>
                <a:gd name="connsiteX780" fmla="*/ 1131983 w 1357518"/>
                <a:gd name="connsiteY780" fmla="*/ 604407 h 1002999"/>
                <a:gd name="connsiteX781" fmla="*/ 1133116 w 1357518"/>
                <a:gd name="connsiteY781" fmla="*/ 613001 h 1002999"/>
                <a:gd name="connsiteX782" fmla="*/ 1134250 w 1357518"/>
                <a:gd name="connsiteY782" fmla="*/ 615571 h 1002999"/>
                <a:gd name="connsiteX783" fmla="*/ 1131975 w 1357518"/>
                <a:gd name="connsiteY783" fmla="*/ 617876 h 1002999"/>
                <a:gd name="connsiteX784" fmla="*/ 1124944 w 1357518"/>
                <a:gd name="connsiteY784" fmla="*/ 618877 h 1002999"/>
                <a:gd name="connsiteX785" fmla="*/ 1122162 w 1357518"/>
                <a:gd name="connsiteY785" fmla="*/ 617743 h 1002999"/>
                <a:gd name="connsiteX786" fmla="*/ 1115201 w 1357518"/>
                <a:gd name="connsiteY786" fmla="*/ 618121 h 1002999"/>
                <a:gd name="connsiteX787" fmla="*/ 1115192 w 1357518"/>
                <a:gd name="connsiteY787" fmla="*/ 616094 h 1002999"/>
                <a:gd name="connsiteX788" fmla="*/ 1114853 w 1357518"/>
                <a:gd name="connsiteY788" fmla="*/ 613769 h 1002999"/>
                <a:gd name="connsiteX789" fmla="*/ 1114825 w 1357518"/>
                <a:gd name="connsiteY789" fmla="*/ 612142 h 1002999"/>
                <a:gd name="connsiteX790" fmla="*/ 1114360 w 1357518"/>
                <a:gd name="connsiteY790" fmla="*/ 610669 h 1002999"/>
                <a:gd name="connsiteX791" fmla="*/ 1114031 w 1357518"/>
                <a:gd name="connsiteY791" fmla="*/ 602180 h 1002999"/>
                <a:gd name="connsiteX792" fmla="*/ 1112062 w 1357518"/>
                <a:gd name="connsiteY792" fmla="*/ 604280 h 1002999"/>
                <a:gd name="connsiteX793" fmla="*/ 1111945 w 1357518"/>
                <a:gd name="connsiteY793" fmla="*/ 606001 h 1002999"/>
                <a:gd name="connsiteX794" fmla="*/ 1111422 w 1357518"/>
                <a:gd name="connsiteY794" fmla="*/ 607751 h 1002999"/>
                <a:gd name="connsiteX795" fmla="*/ 1110213 w 1357518"/>
                <a:gd name="connsiteY795" fmla="*/ 616887 h 1002999"/>
                <a:gd name="connsiteX796" fmla="*/ 1108422 w 1357518"/>
                <a:gd name="connsiteY796" fmla="*/ 619123 h 1002999"/>
                <a:gd name="connsiteX797" fmla="*/ 1102852 w 1357518"/>
                <a:gd name="connsiteY797" fmla="*/ 618585 h 1002999"/>
                <a:gd name="connsiteX798" fmla="*/ 1097367 w 1357518"/>
                <a:gd name="connsiteY798" fmla="*/ 618916 h 1002999"/>
                <a:gd name="connsiteX799" fmla="*/ 1094333 w 1357518"/>
                <a:gd name="connsiteY799" fmla="*/ 618577 h 1002999"/>
                <a:gd name="connsiteX800" fmla="*/ 1084074 w 1357518"/>
                <a:gd name="connsiteY800" fmla="*/ 614413 h 1002999"/>
                <a:gd name="connsiteX801" fmla="*/ 1080103 w 1357518"/>
                <a:gd name="connsiteY801" fmla="*/ 610638 h 1002999"/>
                <a:gd name="connsiteX802" fmla="*/ 1076588 w 1357518"/>
                <a:gd name="connsiteY802" fmla="*/ 604953 h 1002999"/>
                <a:gd name="connsiteX803" fmla="*/ 1074418 w 1357518"/>
                <a:gd name="connsiteY803" fmla="*/ 599626 h 1002999"/>
                <a:gd name="connsiteX804" fmla="*/ 1073595 w 1357518"/>
                <a:gd name="connsiteY804" fmla="*/ 594662 h 1002999"/>
                <a:gd name="connsiteX805" fmla="*/ 1071134 w 1357518"/>
                <a:gd name="connsiteY805" fmla="*/ 590614 h 1002999"/>
                <a:gd name="connsiteX806" fmla="*/ 1067039 w 1357518"/>
                <a:gd name="connsiteY806" fmla="*/ 587486 h 1002999"/>
                <a:gd name="connsiteX807" fmla="*/ 1062201 w 1357518"/>
                <a:gd name="connsiteY807" fmla="*/ 584946 h 1002999"/>
                <a:gd name="connsiteX808" fmla="*/ 1056620 w 1357518"/>
                <a:gd name="connsiteY808" fmla="*/ 583001 h 1002999"/>
                <a:gd name="connsiteX809" fmla="*/ 1051720 w 1357518"/>
                <a:gd name="connsiteY809" fmla="*/ 580487 h 1002999"/>
                <a:gd name="connsiteX810" fmla="*/ 1047501 w 1357518"/>
                <a:gd name="connsiteY810" fmla="*/ 577408 h 1002999"/>
                <a:gd name="connsiteX811" fmla="*/ 1042856 w 1357518"/>
                <a:gd name="connsiteY811" fmla="*/ 575009 h 1002999"/>
                <a:gd name="connsiteX812" fmla="*/ 1037786 w 1357518"/>
                <a:gd name="connsiteY812" fmla="*/ 573297 h 1002999"/>
                <a:gd name="connsiteX813" fmla="*/ 1030571 w 1357518"/>
                <a:gd name="connsiteY813" fmla="*/ 572560 h 1002999"/>
                <a:gd name="connsiteX814" fmla="*/ 1020021 w 1357518"/>
                <a:gd name="connsiteY814" fmla="*/ 572829 h 1002999"/>
                <a:gd name="connsiteX815" fmla="*/ 1012899 w 1357518"/>
                <a:gd name="connsiteY815" fmla="*/ 570897 h 1002999"/>
                <a:gd name="connsiteX816" fmla="*/ 1011205 w 1357518"/>
                <a:gd name="connsiteY816" fmla="*/ 571061 h 1002999"/>
                <a:gd name="connsiteX817" fmla="*/ 1009545 w 1357518"/>
                <a:gd name="connsiteY817" fmla="*/ 572059 h 1002999"/>
                <a:gd name="connsiteX818" fmla="*/ 1010767 w 1357518"/>
                <a:gd name="connsiteY818" fmla="*/ 574901 h 1002999"/>
                <a:gd name="connsiteX819" fmla="*/ 1018945 w 1357518"/>
                <a:gd name="connsiteY819" fmla="*/ 576203 h 1002999"/>
                <a:gd name="connsiteX820" fmla="*/ 1025252 w 1357518"/>
                <a:gd name="connsiteY820" fmla="*/ 576500 h 1002999"/>
                <a:gd name="connsiteX821" fmla="*/ 1033608 w 1357518"/>
                <a:gd name="connsiteY821" fmla="*/ 576315 h 1002999"/>
                <a:gd name="connsiteX822" fmla="*/ 1038724 w 1357518"/>
                <a:gd name="connsiteY822" fmla="*/ 577044 h 1002999"/>
                <a:gd name="connsiteX823" fmla="*/ 1040601 w 1357518"/>
                <a:gd name="connsiteY823" fmla="*/ 578685 h 1002999"/>
                <a:gd name="connsiteX824" fmla="*/ 1041893 w 1357518"/>
                <a:gd name="connsiteY824" fmla="*/ 581603 h 1002999"/>
                <a:gd name="connsiteX825" fmla="*/ 1042597 w 1357518"/>
                <a:gd name="connsiteY825" fmla="*/ 585789 h 1002999"/>
                <a:gd name="connsiteX826" fmla="*/ 1040946 w 1357518"/>
                <a:gd name="connsiteY826" fmla="*/ 589106 h 1002999"/>
                <a:gd name="connsiteX827" fmla="*/ 1034934 w 1357518"/>
                <a:gd name="connsiteY827" fmla="*/ 592783 h 1002999"/>
                <a:gd name="connsiteX828" fmla="*/ 1031763 w 1357518"/>
                <a:gd name="connsiteY828" fmla="*/ 594503 h 1002999"/>
                <a:gd name="connsiteX829" fmla="*/ 1022510 w 1357518"/>
                <a:gd name="connsiteY829" fmla="*/ 597798 h 1002999"/>
                <a:gd name="connsiteX830" fmla="*/ 1019371 w 1357518"/>
                <a:gd name="connsiteY830" fmla="*/ 598533 h 1002999"/>
                <a:gd name="connsiteX831" fmla="*/ 1011645 w 1357518"/>
                <a:gd name="connsiteY831" fmla="*/ 598758 h 1002999"/>
                <a:gd name="connsiteX832" fmla="*/ 1005711 w 1357518"/>
                <a:gd name="connsiteY832" fmla="*/ 598441 h 1002999"/>
                <a:gd name="connsiteX833" fmla="*/ 997904 w 1357518"/>
                <a:gd name="connsiteY833" fmla="*/ 596799 h 1002999"/>
                <a:gd name="connsiteX834" fmla="*/ 993478 w 1357518"/>
                <a:gd name="connsiteY834" fmla="*/ 596466 h 1002999"/>
                <a:gd name="connsiteX835" fmla="*/ 984319 w 1357518"/>
                <a:gd name="connsiteY835" fmla="*/ 596245 h 1002999"/>
                <a:gd name="connsiteX836" fmla="*/ 982212 w 1357518"/>
                <a:gd name="connsiteY836" fmla="*/ 596821 h 1002999"/>
                <a:gd name="connsiteX837" fmla="*/ 984575 w 1357518"/>
                <a:gd name="connsiteY837" fmla="*/ 598580 h 1002999"/>
                <a:gd name="connsiteX838" fmla="*/ 988460 w 1357518"/>
                <a:gd name="connsiteY838" fmla="*/ 599577 h 1002999"/>
                <a:gd name="connsiteX839" fmla="*/ 991195 w 1357518"/>
                <a:gd name="connsiteY839" fmla="*/ 600761 h 1002999"/>
                <a:gd name="connsiteX840" fmla="*/ 991480 w 1357518"/>
                <a:gd name="connsiteY840" fmla="*/ 603005 h 1002999"/>
                <a:gd name="connsiteX841" fmla="*/ 990494 w 1357518"/>
                <a:gd name="connsiteY841" fmla="*/ 606331 h 1002999"/>
                <a:gd name="connsiteX842" fmla="*/ 989477 w 1357518"/>
                <a:gd name="connsiteY842" fmla="*/ 608650 h 1002999"/>
                <a:gd name="connsiteX843" fmla="*/ 987801 w 1357518"/>
                <a:gd name="connsiteY843" fmla="*/ 610389 h 1002999"/>
                <a:gd name="connsiteX844" fmla="*/ 981791 w 1357518"/>
                <a:gd name="connsiteY844" fmla="*/ 613679 h 1002999"/>
                <a:gd name="connsiteX845" fmla="*/ 979301 w 1357518"/>
                <a:gd name="connsiteY845" fmla="*/ 614718 h 1002999"/>
                <a:gd name="connsiteX846" fmla="*/ 968096 w 1357518"/>
                <a:gd name="connsiteY846" fmla="*/ 618156 h 1002999"/>
                <a:gd name="connsiteX847" fmla="*/ 967316 w 1357518"/>
                <a:gd name="connsiteY847" fmla="*/ 618817 h 1002999"/>
                <a:gd name="connsiteX848" fmla="*/ 969939 w 1357518"/>
                <a:gd name="connsiteY848" fmla="*/ 618727 h 1002999"/>
                <a:gd name="connsiteX849" fmla="*/ 977023 w 1357518"/>
                <a:gd name="connsiteY849" fmla="*/ 617507 h 1002999"/>
                <a:gd name="connsiteX850" fmla="*/ 979061 w 1357518"/>
                <a:gd name="connsiteY850" fmla="*/ 617542 h 1002999"/>
                <a:gd name="connsiteX851" fmla="*/ 990689 w 1357518"/>
                <a:gd name="connsiteY851" fmla="*/ 620521 h 1002999"/>
                <a:gd name="connsiteX852" fmla="*/ 999953 w 1357518"/>
                <a:gd name="connsiteY852" fmla="*/ 620344 h 1002999"/>
                <a:gd name="connsiteX853" fmla="*/ 1018722 w 1357518"/>
                <a:gd name="connsiteY853" fmla="*/ 617596 h 1002999"/>
                <a:gd name="connsiteX854" fmla="*/ 1020265 w 1357518"/>
                <a:gd name="connsiteY854" fmla="*/ 617649 h 1002999"/>
                <a:gd name="connsiteX855" fmla="*/ 1021498 w 1357518"/>
                <a:gd name="connsiteY855" fmla="*/ 618082 h 1002999"/>
                <a:gd name="connsiteX856" fmla="*/ 1022743 w 1357518"/>
                <a:gd name="connsiteY856" fmla="*/ 619113 h 1002999"/>
                <a:gd name="connsiteX857" fmla="*/ 1024004 w 1357518"/>
                <a:gd name="connsiteY857" fmla="*/ 620745 h 1002999"/>
                <a:gd name="connsiteX858" fmla="*/ 1022492 w 1357518"/>
                <a:gd name="connsiteY858" fmla="*/ 622322 h 1002999"/>
                <a:gd name="connsiteX859" fmla="*/ 1018205 w 1357518"/>
                <a:gd name="connsiteY859" fmla="*/ 623842 h 1002999"/>
                <a:gd name="connsiteX860" fmla="*/ 1011531 w 1357518"/>
                <a:gd name="connsiteY860" fmla="*/ 625342 h 1002999"/>
                <a:gd name="connsiteX861" fmla="*/ 1008640 w 1357518"/>
                <a:gd name="connsiteY861" fmla="*/ 626355 h 1002999"/>
                <a:gd name="connsiteX862" fmla="*/ 1005878 w 1357518"/>
                <a:gd name="connsiteY862" fmla="*/ 627888 h 1002999"/>
                <a:gd name="connsiteX863" fmla="*/ 1000732 w 1357518"/>
                <a:gd name="connsiteY863" fmla="*/ 631566 h 1002999"/>
                <a:gd name="connsiteX864" fmla="*/ 999229 w 1357518"/>
                <a:gd name="connsiteY864" fmla="*/ 635378 h 1002999"/>
                <a:gd name="connsiteX865" fmla="*/ 1004639 w 1357518"/>
                <a:gd name="connsiteY865" fmla="*/ 636826 h 1002999"/>
                <a:gd name="connsiteX866" fmla="*/ 1007070 w 1357518"/>
                <a:gd name="connsiteY866" fmla="*/ 634993 h 1002999"/>
                <a:gd name="connsiteX867" fmla="*/ 1009939 w 1357518"/>
                <a:gd name="connsiteY867" fmla="*/ 630917 h 1002999"/>
                <a:gd name="connsiteX868" fmla="*/ 1012521 w 1357518"/>
                <a:gd name="connsiteY868" fmla="*/ 628521 h 1002999"/>
                <a:gd name="connsiteX869" fmla="*/ 1018615 w 1357518"/>
                <a:gd name="connsiteY869" fmla="*/ 626893 h 1002999"/>
                <a:gd name="connsiteX870" fmla="*/ 1026055 w 1357518"/>
                <a:gd name="connsiteY870" fmla="*/ 627722 h 1002999"/>
                <a:gd name="connsiteX871" fmla="*/ 1031803 w 1357518"/>
                <a:gd name="connsiteY871" fmla="*/ 626757 h 1002999"/>
                <a:gd name="connsiteX872" fmla="*/ 1043542 w 1357518"/>
                <a:gd name="connsiteY872" fmla="*/ 622724 h 1002999"/>
                <a:gd name="connsiteX873" fmla="*/ 1045641 w 1357518"/>
                <a:gd name="connsiteY873" fmla="*/ 622477 h 1002999"/>
                <a:gd name="connsiteX874" fmla="*/ 1062912 w 1357518"/>
                <a:gd name="connsiteY874" fmla="*/ 624790 h 1002999"/>
                <a:gd name="connsiteX875" fmla="*/ 1078563 w 1357518"/>
                <a:gd name="connsiteY875" fmla="*/ 629315 h 1002999"/>
                <a:gd name="connsiteX876" fmla="*/ 1086826 w 1357518"/>
                <a:gd name="connsiteY876" fmla="*/ 630977 h 1002999"/>
                <a:gd name="connsiteX877" fmla="*/ 1097752 w 1357518"/>
                <a:gd name="connsiteY877" fmla="*/ 631957 h 1002999"/>
                <a:gd name="connsiteX878" fmla="*/ 1117404 w 1357518"/>
                <a:gd name="connsiteY878" fmla="*/ 631512 h 1002999"/>
                <a:gd name="connsiteX879" fmla="*/ 1119126 w 1357518"/>
                <a:gd name="connsiteY879" fmla="*/ 632222 h 1002999"/>
                <a:gd name="connsiteX880" fmla="*/ 1118488 w 1357518"/>
                <a:gd name="connsiteY880" fmla="*/ 633820 h 1002999"/>
                <a:gd name="connsiteX881" fmla="*/ 1117347 w 1357518"/>
                <a:gd name="connsiteY881" fmla="*/ 635173 h 1002999"/>
                <a:gd name="connsiteX882" fmla="*/ 1114073 w 1357518"/>
                <a:gd name="connsiteY882" fmla="*/ 637058 h 1002999"/>
                <a:gd name="connsiteX883" fmla="*/ 1110097 w 1357518"/>
                <a:gd name="connsiteY883" fmla="*/ 638302 h 1002999"/>
                <a:gd name="connsiteX884" fmla="*/ 1107636 w 1357518"/>
                <a:gd name="connsiteY884" fmla="*/ 638653 h 1002999"/>
                <a:gd name="connsiteX885" fmla="*/ 1105543 w 1357518"/>
                <a:gd name="connsiteY885" fmla="*/ 639542 h 1002999"/>
                <a:gd name="connsiteX886" fmla="*/ 1100838 w 1357518"/>
                <a:gd name="connsiteY886" fmla="*/ 640411 h 1002999"/>
                <a:gd name="connsiteX887" fmla="*/ 1099631 w 1357518"/>
                <a:gd name="connsiteY887" fmla="*/ 641117 h 1002999"/>
                <a:gd name="connsiteX888" fmla="*/ 1101261 w 1357518"/>
                <a:gd name="connsiteY888" fmla="*/ 644196 h 1002999"/>
                <a:gd name="connsiteX889" fmla="*/ 1100486 w 1357518"/>
                <a:gd name="connsiteY889" fmla="*/ 644673 h 1002999"/>
                <a:gd name="connsiteX890" fmla="*/ 1096343 w 1357518"/>
                <a:gd name="connsiteY890" fmla="*/ 644723 h 1002999"/>
                <a:gd name="connsiteX891" fmla="*/ 1089365 w 1357518"/>
                <a:gd name="connsiteY891" fmla="*/ 646727 h 1002999"/>
                <a:gd name="connsiteX892" fmla="*/ 1083636 w 1357518"/>
                <a:gd name="connsiteY892" fmla="*/ 646583 h 1002999"/>
                <a:gd name="connsiteX893" fmla="*/ 1082440 w 1357518"/>
                <a:gd name="connsiteY893" fmla="*/ 646877 h 1002999"/>
                <a:gd name="connsiteX894" fmla="*/ 1083527 w 1357518"/>
                <a:gd name="connsiteY894" fmla="*/ 647620 h 1002999"/>
                <a:gd name="connsiteX895" fmla="*/ 1084683 w 1357518"/>
                <a:gd name="connsiteY895" fmla="*/ 649053 h 1002999"/>
                <a:gd name="connsiteX896" fmla="*/ 1085905 w 1357518"/>
                <a:gd name="connsiteY896" fmla="*/ 651177 h 1002999"/>
                <a:gd name="connsiteX897" fmla="*/ 1085233 w 1357518"/>
                <a:gd name="connsiteY897" fmla="*/ 652692 h 1002999"/>
                <a:gd name="connsiteX898" fmla="*/ 1082664 w 1357518"/>
                <a:gd name="connsiteY898" fmla="*/ 653596 h 1002999"/>
                <a:gd name="connsiteX899" fmla="*/ 1080716 w 1357518"/>
                <a:gd name="connsiteY899" fmla="*/ 653890 h 1002999"/>
                <a:gd name="connsiteX900" fmla="*/ 1073997 w 1357518"/>
                <a:gd name="connsiteY900" fmla="*/ 652623 h 1002999"/>
                <a:gd name="connsiteX901" fmla="*/ 1072910 w 1357518"/>
                <a:gd name="connsiteY901" fmla="*/ 652813 h 1002999"/>
                <a:gd name="connsiteX902" fmla="*/ 1073892 w 1357518"/>
                <a:gd name="connsiteY902" fmla="*/ 653722 h 1002999"/>
                <a:gd name="connsiteX903" fmla="*/ 1074450 w 1357518"/>
                <a:gd name="connsiteY903" fmla="*/ 655109 h 1002999"/>
                <a:gd name="connsiteX904" fmla="*/ 1074586 w 1357518"/>
                <a:gd name="connsiteY904" fmla="*/ 656974 h 1002999"/>
                <a:gd name="connsiteX905" fmla="*/ 1072935 w 1357518"/>
                <a:gd name="connsiteY905" fmla="*/ 658538 h 1002999"/>
                <a:gd name="connsiteX906" fmla="*/ 1069496 w 1357518"/>
                <a:gd name="connsiteY906" fmla="*/ 659797 h 1002999"/>
                <a:gd name="connsiteX907" fmla="*/ 1063095 w 1357518"/>
                <a:gd name="connsiteY907" fmla="*/ 663258 h 1002999"/>
                <a:gd name="connsiteX908" fmla="*/ 1060308 w 1357518"/>
                <a:gd name="connsiteY908" fmla="*/ 664246 h 1002999"/>
                <a:gd name="connsiteX909" fmla="*/ 1054428 w 1357518"/>
                <a:gd name="connsiteY909" fmla="*/ 665062 h 1002999"/>
                <a:gd name="connsiteX910" fmla="*/ 1053189 w 1357518"/>
                <a:gd name="connsiteY910" fmla="*/ 665513 h 1002999"/>
                <a:gd name="connsiteX911" fmla="*/ 1055579 w 1357518"/>
                <a:gd name="connsiteY911" fmla="*/ 668162 h 1002999"/>
                <a:gd name="connsiteX912" fmla="*/ 1055314 w 1357518"/>
                <a:gd name="connsiteY912" fmla="*/ 669224 h 1002999"/>
                <a:gd name="connsiteX913" fmla="*/ 1051339 w 1357518"/>
                <a:gd name="connsiteY913" fmla="*/ 672082 h 1002999"/>
                <a:gd name="connsiteX914" fmla="*/ 1045328 w 1357518"/>
                <a:gd name="connsiteY914" fmla="*/ 673863 h 1002999"/>
                <a:gd name="connsiteX915" fmla="*/ 1044508 w 1357518"/>
                <a:gd name="connsiteY915" fmla="*/ 674822 h 1002999"/>
                <a:gd name="connsiteX916" fmla="*/ 1043950 w 1357518"/>
                <a:gd name="connsiteY916" fmla="*/ 677399 h 1002999"/>
                <a:gd name="connsiteX917" fmla="*/ 1043513 w 1357518"/>
                <a:gd name="connsiteY917" fmla="*/ 678423 h 1002999"/>
                <a:gd name="connsiteX918" fmla="*/ 1041924 w 1357518"/>
                <a:gd name="connsiteY918" fmla="*/ 679896 h 1002999"/>
                <a:gd name="connsiteX919" fmla="*/ 1036222 w 1357518"/>
                <a:gd name="connsiteY919" fmla="*/ 682701 h 1002999"/>
                <a:gd name="connsiteX920" fmla="*/ 1032181 w 1357518"/>
                <a:gd name="connsiteY920" fmla="*/ 684095 h 1002999"/>
                <a:gd name="connsiteX921" fmla="*/ 1030177 w 1357518"/>
                <a:gd name="connsiteY921" fmla="*/ 685236 h 1002999"/>
                <a:gd name="connsiteX922" fmla="*/ 1027697 w 1357518"/>
                <a:gd name="connsiteY922" fmla="*/ 687140 h 1002999"/>
                <a:gd name="connsiteX923" fmla="*/ 1024568 w 1357518"/>
                <a:gd name="connsiteY923" fmla="*/ 688150 h 1002999"/>
                <a:gd name="connsiteX924" fmla="*/ 1020791 w 1357518"/>
                <a:gd name="connsiteY924" fmla="*/ 688268 h 1002999"/>
                <a:gd name="connsiteX925" fmla="*/ 1017218 w 1357518"/>
                <a:gd name="connsiteY925" fmla="*/ 688981 h 1002999"/>
                <a:gd name="connsiteX926" fmla="*/ 1011340 w 1357518"/>
                <a:gd name="connsiteY926" fmla="*/ 691001 h 1002999"/>
                <a:gd name="connsiteX927" fmla="*/ 1007246 w 1357518"/>
                <a:gd name="connsiteY927" fmla="*/ 691673 h 1002999"/>
                <a:gd name="connsiteX928" fmla="*/ 994312 w 1357518"/>
                <a:gd name="connsiteY928" fmla="*/ 695159 h 1002999"/>
                <a:gd name="connsiteX929" fmla="*/ 988226 w 1357518"/>
                <a:gd name="connsiteY929" fmla="*/ 695716 h 1002999"/>
                <a:gd name="connsiteX930" fmla="*/ 982961 w 1357518"/>
                <a:gd name="connsiteY930" fmla="*/ 696960 h 1002999"/>
                <a:gd name="connsiteX931" fmla="*/ 972130 w 1357518"/>
                <a:gd name="connsiteY931" fmla="*/ 700280 h 1002999"/>
                <a:gd name="connsiteX932" fmla="*/ 966971 w 1357518"/>
                <a:gd name="connsiteY932" fmla="*/ 701347 h 1002999"/>
                <a:gd name="connsiteX933" fmla="*/ 963393 w 1357518"/>
                <a:gd name="connsiteY933" fmla="*/ 702614 h 1002999"/>
                <a:gd name="connsiteX934" fmla="*/ 959485 w 1357518"/>
                <a:gd name="connsiteY934" fmla="*/ 702976 h 1002999"/>
                <a:gd name="connsiteX935" fmla="*/ 953131 w 1357518"/>
                <a:gd name="connsiteY935" fmla="*/ 702153 h 1002999"/>
                <a:gd name="connsiteX936" fmla="*/ 949705 w 1357518"/>
                <a:gd name="connsiteY936" fmla="*/ 702125 h 1002999"/>
                <a:gd name="connsiteX937" fmla="*/ 947599 w 1357518"/>
                <a:gd name="connsiteY937" fmla="*/ 702623 h 1002999"/>
                <a:gd name="connsiteX938" fmla="*/ 945667 w 1357518"/>
                <a:gd name="connsiteY938" fmla="*/ 703640 h 1002999"/>
                <a:gd name="connsiteX939" fmla="*/ 942474 w 1357518"/>
                <a:gd name="connsiteY939" fmla="*/ 706423 h 1002999"/>
                <a:gd name="connsiteX940" fmla="*/ 939763 w 1357518"/>
                <a:gd name="connsiteY940" fmla="*/ 706639 h 1002999"/>
                <a:gd name="connsiteX941" fmla="*/ 930877 w 1357518"/>
                <a:gd name="connsiteY941" fmla="*/ 704432 h 1002999"/>
                <a:gd name="connsiteX942" fmla="*/ 931057 w 1357518"/>
                <a:gd name="connsiteY942" fmla="*/ 705433 h 1002999"/>
                <a:gd name="connsiteX943" fmla="*/ 933405 w 1357518"/>
                <a:gd name="connsiteY943" fmla="*/ 707819 h 1002999"/>
                <a:gd name="connsiteX944" fmla="*/ 933293 w 1357518"/>
                <a:gd name="connsiteY944" fmla="*/ 709512 h 1002999"/>
                <a:gd name="connsiteX945" fmla="*/ 928008 w 1357518"/>
                <a:gd name="connsiteY945" fmla="*/ 711227 h 1002999"/>
                <a:gd name="connsiteX946" fmla="*/ 925160 w 1357518"/>
                <a:gd name="connsiteY946" fmla="*/ 711665 h 1002999"/>
                <a:gd name="connsiteX947" fmla="*/ 920961 w 1357518"/>
                <a:gd name="connsiteY947" fmla="*/ 710961 h 1002999"/>
                <a:gd name="connsiteX948" fmla="*/ 915410 w 1357518"/>
                <a:gd name="connsiteY948" fmla="*/ 709111 h 1002999"/>
                <a:gd name="connsiteX949" fmla="*/ 908278 w 1357518"/>
                <a:gd name="connsiteY949" fmla="*/ 705241 h 1002999"/>
                <a:gd name="connsiteX950" fmla="*/ 899538 w 1357518"/>
                <a:gd name="connsiteY950" fmla="*/ 699320 h 1002999"/>
                <a:gd name="connsiteX951" fmla="*/ 895333 w 1357518"/>
                <a:gd name="connsiteY951" fmla="*/ 697314 h 1002999"/>
                <a:gd name="connsiteX952" fmla="*/ 895637 w 1357518"/>
                <a:gd name="connsiteY952" fmla="*/ 699217 h 1002999"/>
                <a:gd name="connsiteX953" fmla="*/ 896611 w 1357518"/>
                <a:gd name="connsiteY953" fmla="*/ 701076 h 1002999"/>
                <a:gd name="connsiteX954" fmla="*/ 898257 w 1357518"/>
                <a:gd name="connsiteY954" fmla="*/ 702886 h 1002999"/>
                <a:gd name="connsiteX955" fmla="*/ 898591 w 1357518"/>
                <a:gd name="connsiteY955" fmla="*/ 704199 h 1002999"/>
                <a:gd name="connsiteX956" fmla="*/ 897616 w 1357518"/>
                <a:gd name="connsiteY956" fmla="*/ 705012 h 1002999"/>
                <a:gd name="connsiteX957" fmla="*/ 896330 w 1357518"/>
                <a:gd name="connsiteY957" fmla="*/ 705422 h 1002999"/>
                <a:gd name="connsiteX958" fmla="*/ 894733 w 1357518"/>
                <a:gd name="connsiteY958" fmla="*/ 705427 h 1002999"/>
                <a:gd name="connsiteX959" fmla="*/ 894462 w 1357518"/>
                <a:gd name="connsiteY959" fmla="*/ 705887 h 1002999"/>
                <a:gd name="connsiteX960" fmla="*/ 897069 w 1357518"/>
                <a:gd name="connsiteY960" fmla="*/ 708705 h 1002999"/>
                <a:gd name="connsiteX961" fmla="*/ 899125 w 1357518"/>
                <a:gd name="connsiteY961" fmla="*/ 711595 h 1002999"/>
                <a:gd name="connsiteX962" fmla="*/ 898935 w 1357518"/>
                <a:gd name="connsiteY962" fmla="*/ 714334 h 1002999"/>
                <a:gd name="connsiteX963" fmla="*/ 896497 w 1357518"/>
                <a:gd name="connsiteY963" fmla="*/ 716925 h 1002999"/>
                <a:gd name="connsiteX964" fmla="*/ 894403 w 1357518"/>
                <a:gd name="connsiteY964" fmla="*/ 718444 h 1002999"/>
                <a:gd name="connsiteX965" fmla="*/ 892651 w 1357518"/>
                <a:gd name="connsiteY965" fmla="*/ 718892 h 1002999"/>
                <a:gd name="connsiteX966" fmla="*/ 882274 w 1357518"/>
                <a:gd name="connsiteY966" fmla="*/ 725333 h 1002999"/>
                <a:gd name="connsiteX967" fmla="*/ 879384 w 1357518"/>
                <a:gd name="connsiteY967" fmla="*/ 726142 h 1002999"/>
                <a:gd name="connsiteX968" fmla="*/ 878070 w 1357518"/>
                <a:gd name="connsiteY968" fmla="*/ 726937 h 1002999"/>
                <a:gd name="connsiteX969" fmla="*/ 876990 w 1357518"/>
                <a:gd name="connsiteY969" fmla="*/ 728125 h 1002999"/>
                <a:gd name="connsiteX970" fmla="*/ 873969 w 1357518"/>
                <a:gd name="connsiteY970" fmla="*/ 733433 h 1002999"/>
                <a:gd name="connsiteX971" fmla="*/ 872747 w 1357518"/>
                <a:gd name="connsiteY971" fmla="*/ 735051 h 1002999"/>
                <a:gd name="connsiteX972" fmla="*/ 870323 w 1357518"/>
                <a:gd name="connsiteY972" fmla="*/ 737154 h 1002999"/>
                <a:gd name="connsiteX973" fmla="*/ 869307 w 1357518"/>
                <a:gd name="connsiteY973" fmla="*/ 737519 h 1002999"/>
                <a:gd name="connsiteX974" fmla="*/ 869017 w 1357518"/>
                <a:gd name="connsiteY974" fmla="*/ 738374 h 1002999"/>
                <a:gd name="connsiteX975" fmla="*/ 869455 w 1357518"/>
                <a:gd name="connsiteY975" fmla="*/ 739726 h 1002999"/>
                <a:gd name="connsiteX976" fmla="*/ 868787 w 1357518"/>
                <a:gd name="connsiteY976" fmla="*/ 741974 h 1002999"/>
                <a:gd name="connsiteX977" fmla="*/ 867013 w 1357518"/>
                <a:gd name="connsiteY977" fmla="*/ 745115 h 1002999"/>
                <a:gd name="connsiteX978" fmla="*/ 860973 w 1357518"/>
                <a:gd name="connsiteY978" fmla="*/ 753767 h 1002999"/>
                <a:gd name="connsiteX979" fmla="*/ 856101 w 1357518"/>
                <a:gd name="connsiteY979" fmla="*/ 761803 h 1002999"/>
                <a:gd name="connsiteX980" fmla="*/ 853966 w 1357518"/>
                <a:gd name="connsiteY980" fmla="*/ 764428 h 1002999"/>
                <a:gd name="connsiteX981" fmla="*/ 852404 w 1357518"/>
                <a:gd name="connsiteY981" fmla="*/ 765539 h 1002999"/>
                <a:gd name="connsiteX982" fmla="*/ 851414 w 1357518"/>
                <a:gd name="connsiteY982" fmla="*/ 765142 h 1002999"/>
                <a:gd name="connsiteX983" fmla="*/ 848999 w 1357518"/>
                <a:gd name="connsiteY983" fmla="*/ 765350 h 1002999"/>
                <a:gd name="connsiteX984" fmla="*/ 847827 w 1357518"/>
                <a:gd name="connsiteY984" fmla="*/ 766757 h 1002999"/>
                <a:gd name="connsiteX985" fmla="*/ 846764 w 1357518"/>
                <a:gd name="connsiteY985" fmla="*/ 769299 h 1002999"/>
                <a:gd name="connsiteX986" fmla="*/ 845607 w 1357518"/>
                <a:gd name="connsiteY986" fmla="*/ 771235 h 1002999"/>
                <a:gd name="connsiteX987" fmla="*/ 844356 w 1357518"/>
                <a:gd name="connsiteY987" fmla="*/ 772567 h 1002999"/>
                <a:gd name="connsiteX988" fmla="*/ 834586 w 1357518"/>
                <a:gd name="connsiteY988" fmla="*/ 778296 h 1002999"/>
                <a:gd name="connsiteX989" fmla="*/ 832067 w 1357518"/>
                <a:gd name="connsiteY989" fmla="*/ 779357 h 1002999"/>
                <a:gd name="connsiteX990" fmla="*/ 829805 w 1357518"/>
                <a:gd name="connsiteY990" fmla="*/ 778686 h 1002999"/>
                <a:gd name="connsiteX991" fmla="*/ 827133 w 1357518"/>
                <a:gd name="connsiteY991" fmla="*/ 778944 h 1002999"/>
                <a:gd name="connsiteX992" fmla="*/ 821598 w 1357518"/>
                <a:gd name="connsiteY992" fmla="*/ 775920 h 1002999"/>
                <a:gd name="connsiteX993" fmla="*/ 820638 w 1357518"/>
                <a:gd name="connsiteY993" fmla="*/ 774807 h 1002999"/>
                <a:gd name="connsiteX994" fmla="*/ 817061 w 1357518"/>
                <a:gd name="connsiteY994" fmla="*/ 772323 h 1002999"/>
                <a:gd name="connsiteX995" fmla="*/ 817179 w 1357518"/>
                <a:gd name="connsiteY995" fmla="*/ 773618 h 1002999"/>
                <a:gd name="connsiteX996" fmla="*/ 817780 w 1357518"/>
                <a:gd name="connsiteY996" fmla="*/ 774333 h 1002999"/>
                <a:gd name="connsiteX997" fmla="*/ 818280 w 1357518"/>
                <a:gd name="connsiteY997" fmla="*/ 775381 h 1002999"/>
                <a:gd name="connsiteX998" fmla="*/ 819531 w 1357518"/>
                <a:gd name="connsiteY998" fmla="*/ 776664 h 1002999"/>
                <a:gd name="connsiteX999" fmla="*/ 822305 w 1357518"/>
                <a:gd name="connsiteY999" fmla="*/ 783408 h 1002999"/>
                <a:gd name="connsiteX1000" fmla="*/ 820111 w 1357518"/>
                <a:gd name="connsiteY1000" fmla="*/ 784789 h 1002999"/>
                <a:gd name="connsiteX1001" fmla="*/ 818151 w 1357518"/>
                <a:gd name="connsiteY1001" fmla="*/ 786365 h 1002999"/>
                <a:gd name="connsiteX1002" fmla="*/ 813148 w 1357518"/>
                <a:gd name="connsiteY1002" fmla="*/ 789021 h 1002999"/>
                <a:gd name="connsiteX1003" fmla="*/ 807741 w 1357518"/>
                <a:gd name="connsiteY1003" fmla="*/ 793469 h 1002999"/>
                <a:gd name="connsiteX1004" fmla="*/ 805740 w 1357518"/>
                <a:gd name="connsiteY1004" fmla="*/ 794710 h 1002999"/>
                <a:gd name="connsiteX1005" fmla="*/ 805298 w 1357518"/>
                <a:gd name="connsiteY1005" fmla="*/ 791088 h 1002999"/>
                <a:gd name="connsiteX1006" fmla="*/ 805524 w 1357518"/>
                <a:gd name="connsiteY1006" fmla="*/ 790005 h 1002999"/>
                <a:gd name="connsiteX1007" fmla="*/ 802467 w 1357518"/>
                <a:gd name="connsiteY1007" fmla="*/ 788250 h 1002999"/>
                <a:gd name="connsiteX1008" fmla="*/ 802566 w 1357518"/>
                <a:gd name="connsiteY1008" fmla="*/ 789514 h 1002999"/>
                <a:gd name="connsiteX1009" fmla="*/ 802250 w 1357518"/>
                <a:gd name="connsiteY1009" fmla="*/ 790694 h 1002999"/>
                <a:gd name="connsiteX1010" fmla="*/ 800034 w 1357518"/>
                <a:gd name="connsiteY1010" fmla="*/ 795385 h 1002999"/>
                <a:gd name="connsiteX1011" fmla="*/ 799416 w 1357518"/>
                <a:gd name="connsiteY1011" fmla="*/ 796195 h 1002999"/>
                <a:gd name="connsiteX1012" fmla="*/ 798326 w 1357518"/>
                <a:gd name="connsiteY1012" fmla="*/ 796013 h 1002999"/>
                <a:gd name="connsiteX1013" fmla="*/ 795945 w 1357518"/>
                <a:gd name="connsiteY1013" fmla="*/ 796877 h 1002999"/>
                <a:gd name="connsiteX1014" fmla="*/ 793507 w 1357518"/>
                <a:gd name="connsiteY1014" fmla="*/ 796468 h 1002999"/>
                <a:gd name="connsiteX1015" fmla="*/ 791441 w 1357518"/>
                <a:gd name="connsiteY1015" fmla="*/ 794335 h 1002999"/>
                <a:gd name="connsiteX1016" fmla="*/ 790624 w 1357518"/>
                <a:gd name="connsiteY1016" fmla="*/ 793228 h 1002999"/>
                <a:gd name="connsiteX1017" fmla="*/ 786856 w 1357518"/>
                <a:gd name="connsiteY1017" fmla="*/ 796267 h 1002999"/>
                <a:gd name="connsiteX1018" fmla="*/ 785025 w 1357518"/>
                <a:gd name="connsiteY1018" fmla="*/ 796189 h 1002999"/>
                <a:gd name="connsiteX1019" fmla="*/ 784720 w 1357518"/>
                <a:gd name="connsiteY1019" fmla="*/ 798740 h 1002999"/>
                <a:gd name="connsiteX1020" fmla="*/ 782946 w 1357518"/>
                <a:gd name="connsiteY1020" fmla="*/ 801061 h 1002999"/>
                <a:gd name="connsiteX1021" fmla="*/ 780602 w 1357518"/>
                <a:gd name="connsiteY1021" fmla="*/ 802065 h 1002999"/>
                <a:gd name="connsiteX1022" fmla="*/ 777336 w 1357518"/>
                <a:gd name="connsiteY1022" fmla="*/ 801987 h 1002999"/>
                <a:gd name="connsiteX1023" fmla="*/ 775336 w 1357518"/>
                <a:gd name="connsiteY1023" fmla="*/ 803360 h 1002999"/>
                <a:gd name="connsiteX1024" fmla="*/ 770901 w 1357518"/>
                <a:gd name="connsiteY1024" fmla="*/ 801888 h 1002999"/>
                <a:gd name="connsiteX1025" fmla="*/ 769873 w 1357518"/>
                <a:gd name="connsiteY1025" fmla="*/ 799124 h 1002999"/>
                <a:gd name="connsiteX1026" fmla="*/ 773388 w 1357518"/>
                <a:gd name="connsiteY1026" fmla="*/ 795330 h 1002999"/>
                <a:gd name="connsiteX1027" fmla="*/ 774382 w 1357518"/>
                <a:gd name="connsiteY1027" fmla="*/ 793763 h 1002999"/>
                <a:gd name="connsiteX1028" fmla="*/ 773737 w 1357518"/>
                <a:gd name="connsiteY1028" fmla="*/ 791833 h 1002999"/>
                <a:gd name="connsiteX1029" fmla="*/ 774592 w 1357518"/>
                <a:gd name="connsiteY1029" fmla="*/ 789337 h 1002999"/>
                <a:gd name="connsiteX1030" fmla="*/ 781300 w 1357518"/>
                <a:gd name="connsiteY1030" fmla="*/ 781401 h 1002999"/>
                <a:gd name="connsiteX1031" fmla="*/ 785850 w 1357518"/>
                <a:gd name="connsiteY1031" fmla="*/ 777368 h 1002999"/>
                <a:gd name="connsiteX1032" fmla="*/ 785586 w 1357518"/>
                <a:gd name="connsiteY1032" fmla="*/ 776649 h 1002999"/>
                <a:gd name="connsiteX1033" fmla="*/ 779411 w 1357518"/>
                <a:gd name="connsiteY1033" fmla="*/ 775769 h 1002999"/>
                <a:gd name="connsiteX1034" fmla="*/ 774016 w 1357518"/>
                <a:gd name="connsiteY1034" fmla="*/ 774383 h 1002999"/>
                <a:gd name="connsiteX1035" fmla="*/ 768759 w 1357518"/>
                <a:gd name="connsiteY1035" fmla="*/ 773906 h 1002999"/>
                <a:gd name="connsiteX1036" fmla="*/ 766437 w 1357518"/>
                <a:gd name="connsiteY1036" fmla="*/ 774379 h 1002999"/>
                <a:gd name="connsiteX1037" fmla="*/ 770140 w 1357518"/>
                <a:gd name="connsiteY1037" fmla="*/ 776696 h 1002999"/>
                <a:gd name="connsiteX1038" fmla="*/ 775377 w 1357518"/>
                <a:gd name="connsiteY1038" fmla="*/ 778944 h 1002999"/>
                <a:gd name="connsiteX1039" fmla="*/ 772800 w 1357518"/>
                <a:gd name="connsiteY1039" fmla="*/ 781089 h 1002999"/>
                <a:gd name="connsiteX1040" fmla="*/ 770577 w 1357518"/>
                <a:gd name="connsiteY1040" fmla="*/ 783364 h 1002999"/>
                <a:gd name="connsiteX1041" fmla="*/ 768277 w 1357518"/>
                <a:gd name="connsiteY1041" fmla="*/ 789535 h 1002999"/>
                <a:gd name="connsiteX1042" fmla="*/ 766806 w 1357518"/>
                <a:gd name="connsiteY1042" fmla="*/ 792058 h 1002999"/>
                <a:gd name="connsiteX1043" fmla="*/ 761097 w 1357518"/>
                <a:gd name="connsiteY1043" fmla="*/ 789159 h 1002999"/>
                <a:gd name="connsiteX1044" fmla="*/ 758395 w 1357518"/>
                <a:gd name="connsiteY1044" fmla="*/ 788179 h 1002999"/>
                <a:gd name="connsiteX1045" fmla="*/ 760112 w 1357518"/>
                <a:gd name="connsiteY1045" fmla="*/ 791394 h 1002999"/>
                <a:gd name="connsiteX1046" fmla="*/ 765117 w 1357518"/>
                <a:gd name="connsiteY1046" fmla="*/ 794436 h 1002999"/>
                <a:gd name="connsiteX1047" fmla="*/ 765437 w 1357518"/>
                <a:gd name="connsiteY1047" fmla="*/ 795436 h 1002999"/>
                <a:gd name="connsiteX1048" fmla="*/ 765404 w 1357518"/>
                <a:gd name="connsiteY1048" fmla="*/ 799048 h 1002999"/>
                <a:gd name="connsiteX1049" fmla="*/ 755821 w 1357518"/>
                <a:gd name="connsiteY1049" fmla="*/ 802223 h 1002999"/>
                <a:gd name="connsiteX1050" fmla="*/ 745821 w 1357518"/>
                <a:gd name="connsiteY1050" fmla="*/ 802704 h 1002999"/>
                <a:gd name="connsiteX1051" fmla="*/ 738648 w 1357518"/>
                <a:gd name="connsiteY1051" fmla="*/ 803606 h 1002999"/>
                <a:gd name="connsiteX1052" fmla="*/ 726540 w 1357518"/>
                <a:gd name="connsiteY1052" fmla="*/ 804697 h 1002999"/>
                <a:gd name="connsiteX1053" fmla="*/ 721839 w 1357518"/>
                <a:gd name="connsiteY1053" fmla="*/ 804699 h 1002999"/>
                <a:gd name="connsiteX1054" fmla="*/ 721441 w 1357518"/>
                <a:gd name="connsiteY1054" fmla="*/ 805919 h 1002999"/>
                <a:gd name="connsiteX1055" fmla="*/ 733284 w 1357518"/>
                <a:gd name="connsiteY1055" fmla="*/ 811481 h 1002999"/>
                <a:gd name="connsiteX1056" fmla="*/ 735010 w 1357518"/>
                <a:gd name="connsiteY1056" fmla="*/ 812497 h 1002999"/>
                <a:gd name="connsiteX1057" fmla="*/ 733360 w 1357518"/>
                <a:gd name="connsiteY1057" fmla="*/ 814409 h 1002999"/>
                <a:gd name="connsiteX1058" fmla="*/ 730913 w 1357518"/>
                <a:gd name="connsiteY1058" fmla="*/ 815597 h 1002999"/>
                <a:gd name="connsiteX1059" fmla="*/ 727064 w 1357518"/>
                <a:gd name="connsiteY1059" fmla="*/ 819682 h 1002999"/>
                <a:gd name="connsiteX1060" fmla="*/ 725057 w 1357518"/>
                <a:gd name="connsiteY1060" fmla="*/ 821088 h 1002999"/>
                <a:gd name="connsiteX1061" fmla="*/ 720079 w 1357518"/>
                <a:gd name="connsiteY1061" fmla="*/ 823018 h 1002999"/>
                <a:gd name="connsiteX1062" fmla="*/ 710915 w 1357518"/>
                <a:gd name="connsiteY1062" fmla="*/ 820865 h 1002999"/>
                <a:gd name="connsiteX1063" fmla="*/ 706206 w 1357518"/>
                <a:gd name="connsiteY1063" fmla="*/ 821827 h 1002999"/>
                <a:gd name="connsiteX1064" fmla="*/ 701698 w 1357518"/>
                <a:gd name="connsiteY1064" fmla="*/ 821149 h 1002999"/>
                <a:gd name="connsiteX1065" fmla="*/ 701604 w 1357518"/>
                <a:gd name="connsiteY1065" fmla="*/ 823504 h 1002999"/>
                <a:gd name="connsiteX1066" fmla="*/ 702951 w 1357518"/>
                <a:gd name="connsiteY1066" fmla="*/ 825221 h 1002999"/>
                <a:gd name="connsiteX1067" fmla="*/ 704316 w 1357518"/>
                <a:gd name="connsiteY1067" fmla="*/ 829479 h 1002999"/>
                <a:gd name="connsiteX1068" fmla="*/ 707339 w 1357518"/>
                <a:gd name="connsiteY1068" fmla="*/ 829148 h 1002999"/>
                <a:gd name="connsiteX1069" fmla="*/ 711183 w 1357518"/>
                <a:gd name="connsiteY1069" fmla="*/ 827813 h 1002999"/>
                <a:gd name="connsiteX1070" fmla="*/ 714154 w 1357518"/>
                <a:gd name="connsiteY1070" fmla="*/ 831032 h 1002999"/>
                <a:gd name="connsiteX1071" fmla="*/ 716108 w 1357518"/>
                <a:gd name="connsiteY1071" fmla="*/ 836478 h 1002999"/>
                <a:gd name="connsiteX1072" fmla="*/ 719520 w 1357518"/>
                <a:gd name="connsiteY1072" fmla="*/ 839234 h 1002999"/>
                <a:gd name="connsiteX1073" fmla="*/ 721036 w 1357518"/>
                <a:gd name="connsiteY1073" fmla="*/ 841361 h 1002999"/>
                <a:gd name="connsiteX1074" fmla="*/ 721647 w 1357518"/>
                <a:gd name="connsiteY1074" fmla="*/ 843367 h 1002999"/>
                <a:gd name="connsiteX1075" fmla="*/ 719519 w 1357518"/>
                <a:gd name="connsiteY1075" fmla="*/ 845362 h 1002999"/>
                <a:gd name="connsiteX1076" fmla="*/ 715115 w 1357518"/>
                <a:gd name="connsiteY1076" fmla="*/ 848183 h 1002999"/>
                <a:gd name="connsiteX1077" fmla="*/ 710230 w 1357518"/>
                <a:gd name="connsiteY1077" fmla="*/ 848705 h 1002999"/>
                <a:gd name="connsiteX1078" fmla="*/ 710498 w 1357518"/>
                <a:gd name="connsiteY1078" fmla="*/ 850932 h 1002999"/>
                <a:gd name="connsiteX1079" fmla="*/ 708391 w 1357518"/>
                <a:gd name="connsiteY1079" fmla="*/ 852533 h 1002999"/>
                <a:gd name="connsiteX1080" fmla="*/ 703906 w 1357518"/>
                <a:gd name="connsiteY1080" fmla="*/ 852064 h 1002999"/>
                <a:gd name="connsiteX1081" fmla="*/ 701809 w 1357518"/>
                <a:gd name="connsiteY1081" fmla="*/ 850948 h 1002999"/>
                <a:gd name="connsiteX1082" fmla="*/ 699634 w 1357518"/>
                <a:gd name="connsiteY1082" fmla="*/ 850418 h 1002999"/>
                <a:gd name="connsiteX1083" fmla="*/ 690717 w 1357518"/>
                <a:gd name="connsiteY1083" fmla="*/ 849819 h 1002999"/>
                <a:gd name="connsiteX1084" fmla="*/ 699695 w 1357518"/>
                <a:gd name="connsiteY1084" fmla="*/ 854105 h 1002999"/>
                <a:gd name="connsiteX1085" fmla="*/ 702889 w 1357518"/>
                <a:gd name="connsiteY1085" fmla="*/ 856098 h 1002999"/>
                <a:gd name="connsiteX1086" fmla="*/ 704309 w 1357518"/>
                <a:gd name="connsiteY1086" fmla="*/ 854917 h 1002999"/>
                <a:gd name="connsiteX1087" fmla="*/ 707419 w 1357518"/>
                <a:gd name="connsiteY1087" fmla="*/ 854630 h 1002999"/>
                <a:gd name="connsiteX1088" fmla="*/ 712016 w 1357518"/>
                <a:gd name="connsiteY1088" fmla="*/ 855720 h 1002999"/>
                <a:gd name="connsiteX1089" fmla="*/ 711252 w 1357518"/>
                <a:gd name="connsiteY1089" fmla="*/ 862923 h 1002999"/>
                <a:gd name="connsiteX1090" fmla="*/ 713266 w 1357518"/>
                <a:gd name="connsiteY1090" fmla="*/ 868743 h 1002999"/>
                <a:gd name="connsiteX1091" fmla="*/ 713506 w 1357518"/>
                <a:gd name="connsiteY1091" fmla="*/ 870047 h 1002999"/>
                <a:gd name="connsiteX1092" fmla="*/ 708616 w 1357518"/>
                <a:gd name="connsiteY1092" fmla="*/ 873524 h 1002999"/>
                <a:gd name="connsiteX1093" fmla="*/ 708535 w 1357518"/>
                <a:gd name="connsiteY1093" fmla="*/ 876765 h 1002999"/>
                <a:gd name="connsiteX1094" fmla="*/ 705625 w 1357518"/>
                <a:gd name="connsiteY1094" fmla="*/ 877667 h 1002999"/>
                <a:gd name="connsiteX1095" fmla="*/ 702487 w 1357518"/>
                <a:gd name="connsiteY1095" fmla="*/ 877459 h 1002999"/>
                <a:gd name="connsiteX1096" fmla="*/ 702323 w 1357518"/>
                <a:gd name="connsiteY1096" fmla="*/ 881010 h 1002999"/>
                <a:gd name="connsiteX1097" fmla="*/ 700198 w 1357518"/>
                <a:gd name="connsiteY1097" fmla="*/ 883221 h 1002999"/>
                <a:gd name="connsiteX1098" fmla="*/ 700575 w 1357518"/>
                <a:gd name="connsiteY1098" fmla="*/ 884604 h 1002999"/>
                <a:gd name="connsiteX1099" fmla="*/ 701183 w 1357518"/>
                <a:gd name="connsiteY1099" fmla="*/ 885842 h 1002999"/>
                <a:gd name="connsiteX1100" fmla="*/ 699242 w 1357518"/>
                <a:gd name="connsiteY1100" fmla="*/ 888090 h 1002999"/>
                <a:gd name="connsiteX1101" fmla="*/ 697490 w 1357518"/>
                <a:gd name="connsiteY1101" fmla="*/ 890823 h 1002999"/>
                <a:gd name="connsiteX1102" fmla="*/ 694988 w 1357518"/>
                <a:gd name="connsiteY1102" fmla="*/ 893214 h 1002999"/>
                <a:gd name="connsiteX1103" fmla="*/ 693661 w 1357518"/>
                <a:gd name="connsiteY1103" fmla="*/ 892968 h 1002999"/>
                <a:gd name="connsiteX1104" fmla="*/ 689680 w 1357518"/>
                <a:gd name="connsiteY1104" fmla="*/ 893122 h 1002999"/>
                <a:gd name="connsiteX1105" fmla="*/ 684891 w 1357518"/>
                <a:gd name="connsiteY1105" fmla="*/ 892922 h 1002999"/>
                <a:gd name="connsiteX1106" fmla="*/ 681016 w 1357518"/>
                <a:gd name="connsiteY1106" fmla="*/ 889817 h 1002999"/>
                <a:gd name="connsiteX1107" fmla="*/ 679409 w 1357518"/>
                <a:gd name="connsiteY1107" fmla="*/ 888782 h 1002999"/>
                <a:gd name="connsiteX1108" fmla="*/ 677594 w 1357518"/>
                <a:gd name="connsiteY1108" fmla="*/ 888105 h 1002999"/>
                <a:gd name="connsiteX1109" fmla="*/ 678291 w 1357518"/>
                <a:gd name="connsiteY1109" fmla="*/ 890105 h 1002999"/>
                <a:gd name="connsiteX1110" fmla="*/ 679374 w 1357518"/>
                <a:gd name="connsiteY1110" fmla="*/ 891307 h 1002999"/>
                <a:gd name="connsiteX1111" fmla="*/ 682950 w 1357518"/>
                <a:gd name="connsiteY1111" fmla="*/ 893548 h 1002999"/>
                <a:gd name="connsiteX1112" fmla="*/ 689535 w 1357518"/>
                <a:gd name="connsiteY1112" fmla="*/ 896316 h 1002999"/>
                <a:gd name="connsiteX1113" fmla="*/ 689333 w 1357518"/>
                <a:gd name="connsiteY1113" fmla="*/ 898277 h 1002999"/>
                <a:gd name="connsiteX1114" fmla="*/ 687572 w 1357518"/>
                <a:gd name="connsiteY1114" fmla="*/ 899130 h 1002999"/>
                <a:gd name="connsiteX1115" fmla="*/ 683465 w 1357518"/>
                <a:gd name="connsiteY1115" fmla="*/ 904461 h 1002999"/>
                <a:gd name="connsiteX1116" fmla="*/ 682007 w 1357518"/>
                <a:gd name="connsiteY1116" fmla="*/ 904576 h 1002999"/>
                <a:gd name="connsiteX1117" fmla="*/ 680164 w 1357518"/>
                <a:gd name="connsiteY1117" fmla="*/ 905949 h 1002999"/>
                <a:gd name="connsiteX1118" fmla="*/ 674473 w 1357518"/>
                <a:gd name="connsiteY1118" fmla="*/ 905489 h 1002999"/>
                <a:gd name="connsiteX1119" fmla="*/ 672083 w 1357518"/>
                <a:gd name="connsiteY1119" fmla="*/ 904943 h 1002999"/>
                <a:gd name="connsiteX1120" fmla="*/ 665065 w 1357518"/>
                <a:gd name="connsiteY1120" fmla="*/ 905292 h 1002999"/>
                <a:gd name="connsiteX1121" fmla="*/ 662678 w 1357518"/>
                <a:gd name="connsiteY1121" fmla="*/ 904821 h 1002999"/>
                <a:gd name="connsiteX1122" fmla="*/ 660630 w 1357518"/>
                <a:gd name="connsiteY1122" fmla="*/ 905044 h 1002999"/>
                <a:gd name="connsiteX1123" fmla="*/ 662540 w 1357518"/>
                <a:gd name="connsiteY1123" fmla="*/ 906546 h 1002999"/>
                <a:gd name="connsiteX1124" fmla="*/ 666556 w 1357518"/>
                <a:gd name="connsiteY1124" fmla="*/ 907898 h 1002999"/>
                <a:gd name="connsiteX1125" fmla="*/ 671123 w 1357518"/>
                <a:gd name="connsiteY1125" fmla="*/ 909253 h 1002999"/>
                <a:gd name="connsiteX1126" fmla="*/ 678070 w 1357518"/>
                <a:gd name="connsiteY1126" fmla="*/ 910277 h 1002999"/>
                <a:gd name="connsiteX1127" fmla="*/ 677818 w 1357518"/>
                <a:gd name="connsiteY1127" fmla="*/ 912213 h 1002999"/>
                <a:gd name="connsiteX1128" fmla="*/ 676076 w 1357518"/>
                <a:gd name="connsiteY1128" fmla="*/ 913801 h 1002999"/>
                <a:gd name="connsiteX1129" fmla="*/ 677076 w 1357518"/>
                <a:gd name="connsiteY1129" fmla="*/ 916170 h 1002999"/>
                <a:gd name="connsiteX1130" fmla="*/ 676298 w 1357518"/>
                <a:gd name="connsiteY1130" fmla="*/ 917866 h 1002999"/>
                <a:gd name="connsiteX1131" fmla="*/ 675965 w 1357518"/>
                <a:gd name="connsiteY1131" fmla="*/ 919877 h 1002999"/>
                <a:gd name="connsiteX1132" fmla="*/ 674343 w 1357518"/>
                <a:gd name="connsiteY1132" fmla="*/ 924545 h 1002999"/>
                <a:gd name="connsiteX1133" fmla="*/ 676231 w 1357518"/>
                <a:gd name="connsiteY1133" fmla="*/ 927743 h 1002999"/>
                <a:gd name="connsiteX1134" fmla="*/ 678289 w 1357518"/>
                <a:gd name="connsiteY1134" fmla="*/ 929301 h 1002999"/>
                <a:gd name="connsiteX1135" fmla="*/ 678050 w 1357518"/>
                <a:gd name="connsiteY1135" fmla="*/ 931351 h 1002999"/>
                <a:gd name="connsiteX1136" fmla="*/ 679015 w 1357518"/>
                <a:gd name="connsiteY1136" fmla="*/ 934628 h 1002999"/>
                <a:gd name="connsiteX1137" fmla="*/ 675931 w 1357518"/>
                <a:gd name="connsiteY1137" fmla="*/ 937548 h 1002999"/>
                <a:gd name="connsiteX1138" fmla="*/ 673372 w 1357518"/>
                <a:gd name="connsiteY1138" fmla="*/ 937438 h 1002999"/>
                <a:gd name="connsiteX1139" fmla="*/ 669724 w 1357518"/>
                <a:gd name="connsiteY1139" fmla="*/ 938094 h 1002999"/>
                <a:gd name="connsiteX1140" fmla="*/ 668510 w 1357518"/>
                <a:gd name="connsiteY1140" fmla="*/ 939379 h 1002999"/>
                <a:gd name="connsiteX1141" fmla="*/ 674296 w 1357518"/>
                <a:gd name="connsiteY1141" fmla="*/ 940592 h 1002999"/>
                <a:gd name="connsiteX1142" fmla="*/ 673771 w 1357518"/>
                <a:gd name="connsiteY1142" fmla="*/ 942774 h 1002999"/>
                <a:gd name="connsiteX1143" fmla="*/ 672193 w 1357518"/>
                <a:gd name="connsiteY1143" fmla="*/ 945499 h 1002999"/>
                <a:gd name="connsiteX1144" fmla="*/ 670534 w 1357518"/>
                <a:gd name="connsiteY1144" fmla="*/ 951390 h 1002999"/>
                <a:gd name="connsiteX1145" fmla="*/ 667168 w 1357518"/>
                <a:gd name="connsiteY1145" fmla="*/ 961451 h 1002999"/>
                <a:gd name="connsiteX1146" fmla="*/ 665597 w 1357518"/>
                <a:gd name="connsiteY1146" fmla="*/ 971395 h 1002999"/>
                <a:gd name="connsiteX1147" fmla="*/ 658365 w 1357518"/>
                <a:gd name="connsiteY1147" fmla="*/ 979534 h 1002999"/>
                <a:gd name="connsiteX1148" fmla="*/ 655803 w 1357518"/>
                <a:gd name="connsiteY1148" fmla="*/ 979758 h 1002999"/>
                <a:gd name="connsiteX1149" fmla="*/ 655160 w 1357518"/>
                <a:gd name="connsiteY1149" fmla="*/ 980080 h 1002999"/>
                <a:gd name="connsiteX1150" fmla="*/ 651638 w 1357518"/>
                <a:gd name="connsiteY1150" fmla="*/ 979664 h 1002999"/>
                <a:gd name="connsiteX1151" fmla="*/ 646110 w 1357518"/>
                <a:gd name="connsiteY1151" fmla="*/ 977789 h 1002999"/>
                <a:gd name="connsiteX1152" fmla="*/ 641828 w 1357518"/>
                <a:gd name="connsiteY1152" fmla="*/ 977170 h 1002999"/>
                <a:gd name="connsiteX1153" fmla="*/ 638937 w 1357518"/>
                <a:gd name="connsiteY1153" fmla="*/ 977144 h 1002999"/>
                <a:gd name="connsiteX1154" fmla="*/ 638565 w 1357518"/>
                <a:gd name="connsiteY1154" fmla="*/ 978077 h 1002999"/>
                <a:gd name="connsiteX1155" fmla="*/ 640962 w 1357518"/>
                <a:gd name="connsiteY1155" fmla="*/ 979591 h 1002999"/>
                <a:gd name="connsiteX1156" fmla="*/ 644625 w 1357518"/>
                <a:gd name="connsiteY1156" fmla="*/ 980223 h 1002999"/>
                <a:gd name="connsiteX1157" fmla="*/ 647553 w 1357518"/>
                <a:gd name="connsiteY1157" fmla="*/ 981222 h 1002999"/>
                <a:gd name="connsiteX1158" fmla="*/ 652803 w 1357518"/>
                <a:gd name="connsiteY1158" fmla="*/ 982155 h 1002999"/>
                <a:gd name="connsiteX1159" fmla="*/ 654631 w 1357518"/>
                <a:gd name="connsiteY1159" fmla="*/ 983961 h 1002999"/>
                <a:gd name="connsiteX1160" fmla="*/ 655880 w 1357518"/>
                <a:gd name="connsiteY1160" fmla="*/ 985882 h 1002999"/>
                <a:gd name="connsiteX1161" fmla="*/ 655695 w 1357518"/>
                <a:gd name="connsiteY1161" fmla="*/ 986939 h 1002999"/>
                <a:gd name="connsiteX1162" fmla="*/ 655684 w 1357518"/>
                <a:gd name="connsiteY1162" fmla="*/ 988187 h 1002999"/>
                <a:gd name="connsiteX1163" fmla="*/ 656622 w 1357518"/>
                <a:gd name="connsiteY1163" fmla="*/ 994886 h 1002999"/>
                <a:gd name="connsiteX1164" fmla="*/ 654148 w 1357518"/>
                <a:gd name="connsiteY1164" fmla="*/ 997197 h 1002999"/>
                <a:gd name="connsiteX1165" fmla="*/ 652262 w 1357518"/>
                <a:gd name="connsiteY1165" fmla="*/ 999284 h 1002999"/>
                <a:gd name="connsiteX1166" fmla="*/ 645700 w 1357518"/>
                <a:gd name="connsiteY1166" fmla="*/ 998994 h 1002999"/>
                <a:gd name="connsiteX1167" fmla="*/ 644558 w 1357518"/>
                <a:gd name="connsiteY1167" fmla="*/ 998267 h 1002999"/>
                <a:gd name="connsiteX1168" fmla="*/ 638222 w 1357518"/>
                <a:gd name="connsiteY1168" fmla="*/ 996068 h 1002999"/>
                <a:gd name="connsiteX1169" fmla="*/ 638612 w 1357518"/>
                <a:gd name="connsiteY1169" fmla="*/ 997100 h 1002999"/>
                <a:gd name="connsiteX1170" fmla="*/ 643196 w 1357518"/>
                <a:gd name="connsiteY1170" fmla="*/ 1000088 h 1002999"/>
                <a:gd name="connsiteX1171" fmla="*/ 644793 w 1357518"/>
                <a:gd name="connsiteY1171" fmla="*/ 1001576 h 1002999"/>
                <a:gd name="connsiteX1172" fmla="*/ 643725 w 1357518"/>
                <a:gd name="connsiteY1172" fmla="*/ 1001884 h 1002999"/>
                <a:gd name="connsiteX1173" fmla="*/ 641875 w 1357518"/>
                <a:gd name="connsiteY1173" fmla="*/ 1001995 h 1002999"/>
                <a:gd name="connsiteX1174" fmla="*/ 639294 w 1357518"/>
                <a:gd name="connsiteY1174" fmla="*/ 1002999 h 1002999"/>
                <a:gd name="connsiteX1175" fmla="*/ 634641 w 1357518"/>
                <a:gd name="connsiteY1175" fmla="*/ 1002457 h 1002999"/>
                <a:gd name="connsiteX1176" fmla="*/ 634897 w 1357518"/>
                <a:gd name="connsiteY1176" fmla="*/ 1000947 h 1002999"/>
                <a:gd name="connsiteX1177" fmla="*/ 635780 w 1357518"/>
                <a:gd name="connsiteY1177" fmla="*/ 999394 h 1002999"/>
                <a:gd name="connsiteX1178" fmla="*/ 633652 w 1357518"/>
                <a:gd name="connsiteY1178" fmla="*/ 999658 h 1002999"/>
                <a:gd name="connsiteX1179" fmla="*/ 631281 w 1357518"/>
                <a:gd name="connsiteY1179" fmla="*/ 1000446 h 1002999"/>
                <a:gd name="connsiteX1180" fmla="*/ 629904 w 1357518"/>
                <a:gd name="connsiteY1180" fmla="*/ 1000156 h 1002999"/>
                <a:gd name="connsiteX1181" fmla="*/ 628746 w 1357518"/>
                <a:gd name="connsiteY1181" fmla="*/ 1000243 h 1002999"/>
                <a:gd name="connsiteX1182" fmla="*/ 628097 w 1357518"/>
                <a:gd name="connsiteY1182" fmla="*/ 999466 h 1002999"/>
                <a:gd name="connsiteX1183" fmla="*/ 627201 w 1357518"/>
                <a:gd name="connsiteY1183" fmla="*/ 996429 h 1002999"/>
                <a:gd name="connsiteX1184" fmla="*/ 628274 w 1357518"/>
                <a:gd name="connsiteY1184" fmla="*/ 994900 h 1002999"/>
                <a:gd name="connsiteX1185" fmla="*/ 632113 w 1357518"/>
                <a:gd name="connsiteY1185" fmla="*/ 990944 h 1002999"/>
                <a:gd name="connsiteX1186" fmla="*/ 633334 w 1357518"/>
                <a:gd name="connsiteY1186" fmla="*/ 988819 h 1002999"/>
                <a:gd name="connsiteX1187" fmla="*/ 632267 w 1357518"/>
                <a:gd name="connsiteY1187" fmla="*/ 987852 h 1002999"/>
                <a:gd name="connsiteX1188" fmla="*/ 629526 w 1357518"/>
                <a:gd name="connsiteY1188" fmla="*/ 990132 h 1002999"/>
                <a:gd name="connsiteX1189" fmla="*/ 626694 w 1357518"/>
                <a:gd name="connsiteY1189" fmla="*/ 993752 h 1002999"/>
                <a:gd name="connsiteX1190" fmla="*/ 625439 w 1357518"/>
                <a:gd name="connsiteY1190" fmla="*/ 995935 h 1002999"/>
                <a:gd name="connsiteX1191" fmla="*/ 623667 w 1357518"/>
                <a:gd name="connsiteY1191" fmla="*/ 996360 h 1002999"/>
                <a:gd name="connsiteX1192" fmla="*/ 619269 w 1357518"/>
                <a:gd name="connsiteY1192" fmla="*/ 995260 h 1002999"/>
                <a:gd name="connsiteX1193" fmla="*/ 606730 w 1357518"/>
                <a:gd name="connsiteY1193" fmla="*/ 990194 h 1002999"/>
                <a:gd name="connsiteX1194" fmla="*/ 607104 w 1357518"/>
                <a:gd name="connsiteY1194" fmla="*/ 987108 h 1002999"/>
                <a:gd name="connsiteX1195" fmla="*/ 606984 w 1357518"/>
                <a:gd name="connsiteY1195" fmla="*/ 984550 h 1002999"/>
                <a:gd name="connsiteX1196" fmla="*/ 610638 w 1357518"/>
                <a:gd name="connsiteY1196" fmla="*/ 984225 h 1002999"/>
                <a:gd name="connsiteX1197" fmla="*/ 613297 w 1357518"/>
                <a:gd name="connsiteY1197" fmla="*/ 983111 h 1002999"/>
                <a:gd name="connsiteX1198" fmla="*/ 615675 w 1357518"/>
                <a:gd name="connsiteY1198" fmla="*/ 981747 h 1002999"/>
                <a:gd name="connsiteX1199" fmla="*/ 618355 w 1357518"/>
                <a:gd name="connsiteY1199" fmla="*/ 979259 h 1002999"/>
                <a:gd name="connsiteX1200" fmla="*/ 620811 w 1357518"/>
                <a:gd name="connsiteY1200" fmla="*/ 975145 h 1002999"/>
                <a:gd name="connsiteX1201" fmla="*/ 620495 w 1357518"/>
                <a:gd name="connsiteY1201" fmla="*/ 974833 h 1002999"/>
                <a:gd name="connsiteX1202" fmla="*/ 613287 w 1357518"/>
                <a:gd name="connsiteY1202" fmla="*/ 980083 h 1002999"/>
                <a:gd name="connsiteX1203" fmla="*/ 608852 w 1357518"/>
                <a:gd name="connsiteY1203" fmla="*/ 981836 h 1002999"/>
                <a:gd name="connsiteX1204" fmla="*/ 606702 w 1357518"/>
                <a:gd name="connsiteY1204" fmla="*/ 982156 h 1002999"/>
                <a:gd name="connsiteX1205" fmla="*/ 605633 w 1357518"/>
                <a:gd name="connsiteY1205" fmla="*/ 981379 h 1002999"/>
                <a:gd name="connsiteX1206" fmla="*/ 602064 w 1357518"/>
                <a:gd name="connsiteY1206" fmla="*/ 979695 h 1002999"/>
                <a:gd name="connsiteX1207" fmla="*/ 599743 w 1357518"/>
                <a:gd name="connsiteY1207" fmla="*/ 978929 h 1002999"/>
                <a:gd name="connsiteX1208" fmla="*/ 594456 w 1357518"/>
                <a:gd name="connsiteY1208" fmla="*/ 977675 h 1002999"/>
                <a:gd name="connsiteX1209" fmla="*/ 593523 w 1357518"/>
                <a:gd name="connsiteY1209" fmla="*/ 976999 h 1002999"/>
                <a:gd name="connsiteX1210" fmla="*/ 591973 w 1357518"/>
                <a:gd name="connsiteY1210" fmla="*/ 976465 h 1002999"/>
                <a:gd name="connsiteX1211" fmla="*/ 589865 w 1357518"/>
                <a:gd name="connsiteY1211" fmla="*/ 971093 h 1002999"/>
                <a:gd name="connsiteX1212" fmla="*/ 592592 w 1357518"/>
                <a:gd name="connsiteY1212" fmla="*/ 964551 h 1002999"/>
                <a:gd name="connsiteX1213" fmla="*/ 594469 w 1357518"/>
                <a:gd name="connsiteY1213" fmla="*/ 962650 h 1002999"/>
                <a:gd name="connsiteX1214" fmla="*/ 595660 w 1357518"/>
                <a:gd name="connsiteY1214" fmla="*/ 960441 h 1002999"/>
                <a:gd name="connsiteX1215" fmla="*/ 596334 w 1357518"/>
                <a:gd name="connsiteY1215" fmla="*/ 957514 h 1002999"/>
                <a:gd name="connsiteX1216" fmla="*/ 595874 w 1357518"/>
                <a:gd name="connsiteY1216" fmla="*/ 956263 h 1002999"/>
                <a:gd name="connsiteX1217" fmla="*/ 594280 w 1357518"/>
                <a:gd name="connsiteY1217" fmla="*/ 956692 h 1002999"/>
                <a:gd name="connsiteX1218" fmla="*/ 593541 w 1357518"/>
                <a:gd name="connsiteY1218" fmla="*/ 957695 h 1002999"/>
                <a:gd name="connsiteX1219" fmla="*/ 593658 w 1357518"/>
                <a:gd name="connsiteY1219" fmla="*/ 959262 h 1002999"/>
                <a:gd name="connsiteX1220" fmla="*/ 592745 w 1357518"/>
                <a:gd name="connsiteY1220" fmla="*/ 960351 h 1002999"/>
                <a:gd name="connsiteX1221" fmla="*/ 586444 w 1357518"/>
                <a:gd name="connsiteY1221" fmla="*/ 962853 h 1002999"/>
                <a:gd name="connsiteX1222" fmla="*/ 580125 w 1357518"/>
                <a:gd name="connsiteY1222" fmla="*/ 964877 h 1002999"/>
                <a:gd name="connsiteX1223" fmla="*/ 577132 w 1357518"/>
                <a:gd name="connsiteY1223" fmla="*/ 966793 h 1002999"/>
                <a:gd name="connsiteX1224" fmla="*/ 575189 w 1357518"/>
                <a:gd name="connsiteY1224" fmla="*/ 968289 h 1002999"/>
                <a:gd name="connsiteX1225" fmla="*/ 573668 w 1357518"/>
                <a:gd name="connsiteY1225" fmla="*/ 969758 h 1002999"/>
                <a:gd name="connsiteX1226" fmla="*/ 571341 w 1357518"/>
                <a:gd name="connsiteY1226" fmla="*/ 969626 h 1002999"/>
                <a:gd name="connsiteX1227" fmla="*/ 568131 w 1357518"/>
                <a:gd name="connsiteY1227" fmla="*/ 969928 h 1002999"/>
                <a:gd name="connsiteX1228" fmla="*/ 565930 w 1357518"/>
                <a:gd name="connsiteY1228" fmla="*/ 970881 h 1002999"/>
                <a:gd name="connsiteX1229" fmla="*/ 562716 w 1357518"/>
                <a:gd name="connsiteY1229" fmla="*/ 970296 h 1002999"/>
                <a:gd name="connsiteX1230" fmla="*/ 560617 w 1357518"/>
                <a:gd name="connsiteY1230" fmla="*/ 968881 h 1002999"/>
                <a:gd name="connsiteX1231" fmla="*/ 558088 w 1357518"/>
                <a:gd name="connsiteY1231" fmla="*/ 968718 h 1002999"/>
                <a:gd name="connsiteX1232" fmla="*/ 555248 w 1357518"/>
                <a:gd name="connsiteY1232" fmla="*/ 969400 h 1002999"/>
                <a:gd name="connsiteX1233" fmla="*/ 553285 w 1357518"/>
                <a:gd name="connsiteY1233" fmla="*/ 969342 h 1002999"/>
                <a:gd name="connsiteX1234" fmla="*/ 553448 w 1357518"/>
                <a:gd name="connsiteY1234" fmla="*/ 970303 h 1002999"/>
                <a:gd name="connsiteX1235" fmla="*/ 554752 w 1357518"/>
                <a:gd name="connsiteY1235" fmla="*/ 972666 h 1002999"/>
                <a:gd name="connsiteX1236" fmla="*/ 552585 w 1357518"/>
                <a:gd name="connsiteY1236" fmla="*/ 972824 h 1002999"/>
                <a:gd name="connsiteX1237" fmla="*/ 548471 w 1357518"/>
                <a:gd name="connsiteY1237" fmla="*/ 972917 h 1002999"/>
                <a:gd name="connsiteX1238" fmla="*/ 546402 w 1357518"/>
                <a:gd name="connsiteY1238" fmla="*/ 972233 h 1002999"/>
                <a:gd name="connsiteX1239" fmla="*/ 544782 w 1357518"/>
                <a:gd name="connsiteY1239" fmla="*/ 971337 h 1002999"/>
                <a:gd name="connsiteX1240" fmla="*/ 543430 w 1357518"/>
                <a:gd name="connsiteY1240" fmla="*/ 970079 h 1002999"/>
                <a:gd name="connsiteX1241" fmla="*/ 544243 w 1357518"/>
                <a:gd name="connsiteY1241" fmla="*/ 968436 h 1002999"/>
                <a:gd name="connsiteX1242" fmla="*/ 550859 w 1357518"/>
                <a:gd name="connsiteY1242" fmla="*/ 965425 h 1002999"/>
                <a:gd name="connsiteX1243" fmla="*/ 553859 w 1357518"/>
                <a:gd name="connsiteY1243" fmla="*/ 963680 h 1002999"/>
                <a:gd name="connsiteX1244" fmla="*/ 551902 w 1357518"/>
                <a:gd name="connsiteY1244" fmla="*/ 963078 h 1002999"/>
                <a:gd name="connsiteX1245" fmla="*/ 545548 w 1357518"/>
                <a:gd name="connsiteY1245" fmla="*/ 963622 h 1002999"/>
                <a:gd name="connsiteX1246" fmla="*/ 544491 w 1357518"/>
                <a:gd name="connsiteY1246" fmla="*/ 963170 h 1002999"/>
                <a:gd name="connsiteX1247" fmla="*/ 540235 w 1357518"/>
                <a:gd name="connsiteY1247" fmla="*/ 963445 h 1002999"/>
                <a:gd name="connsiteX1248" fmla="*/ 540419 w 1357518"/>
                <a:gd name="connsiteY1248" fmla="*/ 958950 h 1002999"/>
                <a:gd name="connsiteX1249" fmla="*/ 539383 w 1357518"/>
                <a:gd name="connsiteY1249" fmla="*/ 957833 h 1002999"/>
                <a:gd name="connsiteX1250" fmla="*/ 539312 w 1357518"/>
                <a:gd name="connsiteY1250" fmla="*/ 957304 h 1002999"/>
                <a:gd name="connsiteX1251" fmla="*/ 537838 w 1357518"/>
                <a:gd name="connsiteY1251" fmla="*/ 956047 h 1002999"/>
                <a:gd name="connsiteX1252" fmla="*/ 536443 w 1357518"/>
                <a:gd name="connsiteY1252" fmla="*/ 955735 h 1002999"/>
                <a:gd name="connsiteX1253" fmla="*/ 535575 w 1357518"/>
                <a:gd name="connsiteY1253" fmla="*/ 955282 h 1002999"/>
                <a:gd name="connsiteX1254" fmla="*/ 528391 w 1357518"/>
                <a:gd name="connsiteY1254" fmla="*/ 954270 h 1002999"/>
                <a:gd name="connsiteX1255" fmla="*/ 527452 w 1357518"/>
                <a:gd name="connsiteY1255" fmla="*/ 951754 h 1002999"/>
                <a:gd name="connsiteX1256" fmla="*/ 526951 w 1357518"/>
                <a:gd name="connsiteY1256" fmla="*/ 949163 h 1002999"/>
                <a:gd name="connsiteX1257" fmla="*/ 525579 w 1357518"/>
                <a:gd name="connsiteY1257" fmla="*/ 945944 h 1002999"/>
                <a:gd name="connsiteX1258" fmla="*/ 522140 w 1357518"/>
                <a:gd name="connsiteY1258" fmla="*/ 945104 h 1002999"/>
                <a:gd name="connsiteX1259" fmla="*/ 520276 w 1357518"/>
                <a:gd name="connsiteY1259" fmla="*/ 943706 h 1002999"/>
                <a:gd name="connsiteX1260" fmla="*/ 521753 w 1357518"/>
                <a:gd name="connsiteY1260" fmla="*/ 942276 h 1002999"/>
                <a:gd name="connsiteX1261" fmla="*/ 522397 w 1357518"/>
                <a:gd name="connsiteY1261" fmla="*/ 940460 h 1002999"/>
                <a:gd name="connsiteX1262" fmla="*/ 520802 w 1357518"/>
                <a:gd name="connsiteY1262" fmla="*/ 939631 h 1002999"/>
                <a:gd name="connsiteX1263" fmla="*/ 519785 w 1357518"/>
                <a:gd name="connsiteY1263" fmla="*/ 938349 h 1002999"/>
                <a:gd name="connsiteX1264" fmla="*/ 519935 w 1357518"/>
                <a:gd name="connsiteY1264" fmla="*/ 937516 h 1002999"/>
                <a:gd name="connsiteX1265" fmla="*/ 518643 w 1357518"/>
                <a:gd name="connsiteY1265" fmla="*/ 935264 h 1002999"/>
                <a:gd name="connsiteX1266" fmla="*/ 518259 w 1357518"/>
                <a:gd name="connsiteY1266" fmla="*/ 933506 h 1002999"/>
                <a:gd name="connsiteX1267" fmla="*/ 519736 w 1357518"/>
                <a:gd name="connsiteY1267" fmla="*/ 931856 h 1002999"/>
                <a:gd name="connsiteX1268" fmla="*/ 523798 w 1357518"/>
                <a:gd name="connsiteY1268" fmla="*/ 929987 h 1002999"/>
                <a:gd name="connsiteX1269" fmla="*/ 525108 w 1357518"/>
                <a:gd name="connsiteY1269" fmla="*/ 929234 h 1002999"/>
                <a:gd name="connsiteX1270" fmla="*/ 525791 w 1357518"/>
                <a:gd name="connsiteY1270" fmla="*/ 928419 h 1002999"/>
                <a:gd name="connsiteX1271" fmla="*/ 530455 w 1357518"/>
                <a:gd name="connsiteY1271" fmla="*/ 927042 h 1002999"/>
                <a:gd name="connsiteX1272" fmla="*/ 526487 w 1357518"/>
                <a:gd name="connsiteY1272" fmla="*/ 926068 h 1002999"/>
                <a:gd name="connsiteX1273" fmla="*/ 524004 w 1357518"/>
                <a:gd name="connsiteY1273" fmla="*/ 925917 h 1002999"/>
                <a:gd name="connsiteX1274" fmla="*/ 522195 w 1357518"/>
                <a:gd name="connsiteY1274" fmla="*/ 926371 h 1002999"/>
                <a:gd name="connsiteX1275" fmla="*/ 520522 w 1357518"/>
                <a:gd name="connsiteY1275" fmla="*/ 928201 h 1002999"/>
                <a:gd name="connsiteX1276" fmla="*/ 518961 w 1357518"/>
                <a:gd name="connsiteY1276" fmla="*/ 929414 h 1002999"/>
                <a:gd name="connsiteX1277" fmla="*/ 512875 w 1357518"/>
                <a:gd name="connsiteY1277" fmla="*/ 929811 h 1002999"/>
                <a:gd name="connsiteX1278" fmla="*/ 511979 w 1357518"/>
                <a:gd name="connsiteY1278" fmla="*/ 929184 h 1002999"/>
                <a:gd name="connsiteX1279" fmla="*/ 511556 w 1357518"/>
                <a:gd name="connsiteY1279" fmla="*/ 926602 h 1002999"/>
                <a:gd name="connsiteX1280" fmla="*/ 511903 w 1357518"/>
                <a:gd name="connsiteY1280" fmla="*/ 924609 h 1002999"/>
                <a:gd name="connsiteX1281" fmla="*/ 514429 w 1357518"/>
                <a:gd name="connsiteY1281" fmla="*/ 921808 h 1002999"/>
                <a:gd name="connsiteX1282" fmla="*/ 511515 w 1357518"/>
                <a:gd name="connsiteY1282" fmla="*/ 920416 h 1002999"/>
                <a:gd name="connsiteX1283" fmla="*/ 508844 w 1357518"/>
                <a:gd name="connsiteY1283" fmla="*/ 919964 h 1002999"/>
                <a:gd name="connsiteX1284" fmla="*/ 505808 w 1357518"/>
                <a:gd name="connsiteY1284" fmla="*/ 918663 h 1002999"/>
                <a:gd name="connsiteX1285" fmla="*/ 503003 w 1357518"/>
                <a:gd name="connsiteY1285" fmla="*/ 917289 h 1002999"/>
                <a:gd name="connsiteX1286" fmla="*/ 500594 w 1357518"/>
                <a:gd name="connsiteY1286" fmla="*/ 915688 h 1002999"/>
                <a:gd name="connsiteX1287" fmla="*/ 498249 w 1357518"/>
                <a:gd name="connsiteY1287" fmla="*/ 913795 h 1002999"/>
                <a:gd name="connsiteX1288" fmla="*/ 497497 w 1357518"/>
                <a:gd name="connsiteY1288" fmla="*/ 913555 h 1002999"/>
                <a:gd name="connsiteX1289" fmla="*/ 498344 w 1357518"/>
                <a:gd name="connsiteY1289" fmla="*/ 911575 h 1002999"/>
                <a:gd name="connsiteX1290" fmla="*/ 498821 w 1357518"/>
                <a:gd name="connsiteY1290" fmla="*/ 909946 h 1002999"/>
                <a:gd name="connsiteX1291" fmla="*/ 498895 w 1357518"/>
                <a:gd name="connsiteY1291" fmla="*/ 906439 h 1002999"/>
                <a:gd name="connsiteX1292" fmla="*/ 497950 w 1357518"/>
                <a:gd name="connsiteY1292" fmla="*/ 904983 h 1002999"/>
                <a:gd name="connsiteX1293" fmla="*/ 500050 w 1357518"/>
                <a:gd name="connsiteY1293" fmla="*/ 901984 h 1002999"/>
                <a:gd name="connsiteX1294" fmla="*/ 502875 w 1357518"/>
                <a:gd name="connsiteY1294" fmla="*/ 898697 h 1002999"/>
                <a:gd name="connsiteX1295" fmla="*/ 509130 w 1357518"/>
                <a:gd name="connsiteY1295" fmla="*/ 893812 h 1002999"/>
                <a:gd name="connsiteX1296" fmla="*/ 502516 w 1357518"/>
                <a:gd name="connsiteY1296" fmla="*/ 896167 h 1002999"/>
                <a:gd name="connsiteX1297" fmla="*/ 497074 w 1357518"/>
                <a:gd name="connsiteY1297" fmla="*/ 901293 h 1002999"/>
                <a:gd name="connsiteX1298" fmla="*/ 495930 w 1357518"/>
                <a:gd name="connsiteY1298" fmla="*/ 901526 h 1002999"/>
                <a:gd name="connsiteX1299" fmla="*/ 495529 w 1357518"/>
                <a:gd name="connsiteY1299" fmla="*/ 900599 h 1002999"/>
                <a:gd name="connsiteX1300" fmla="*/ 493465 w 1357518"/>
                <a:gd name="connsiteY1300" fmla="*/ 897271 h 1002999"/>
                <a:gd name="connsiteX1301" fmla="*/ 491907 w 1357518"/>
                <a:gd name="connsiteY1301" fmla="*/ 896362 h 1002999"/>
                <a:gd name="connsiteX1302" fmla="*/ 491210 w 1357518"/>
                <a:gd name="connsiteY1302" fmla="*/ 895359 h 1002999"/>
                <a:gd name="connsiteX1303" fmla="*/ 488115 w 1357518"/>
                <a:gd name="connsiteY1303" fmla="*/ 893582 h 1002999"/>
                <a:gd name="connsiteX1304" fmla="*/ 486771 w 1357518"/>
                <a:gd name="connsiteY1304" fmla="*/ 892210 h 1002999"/>
                <a:gd name="connsiteX1305" fmla="*/ 484865 w 1357518"/>
                <a:gd name="connsiteY1305" fmla="*/ 889562 h 1002999"/>
                <a:gd name="connsiteX1306" fmla="*/ 482154 w 1357518"/>
                <a:gd name="connsiteY1306" fmla="*/ 886407 h 1002999"/>
                <a:gd name="connsiteX1307" fmla="*/ 478295 w 1357518"/>
                <a:gd name="connsiteY1307" fmla="*/ 880166 h 1002999"/>
                <a:gd name="connsiteX1308" fmla="*/ 472076 w 1357518"/>
                <a:gd name="connsiteY1308" fmla="*/ 872958 h 1002999"/>
                <a:gd name="connsiteX1309" fmla="*/ 470543 w 1357518"/>
                <a:gd name="connsiteY1309" fmla="*/ 868896 h 1002999"/>
                <a:gd name="connsiteX1310" fmla="*/ 472469 w 1357518"/>
                <a:gd name="connsiteY1310" fmla="*/ 863731 h 1002999"/>
                <a:gd name="connsiteX1311" fmla="*/ 470337 w 1357518"/>
                <a:gd name="connsiteY1311" fmla="*/ 860159 h 1002999"/>
                <a:gd name="connsiteX1312" fmla="*/ 476250 w 1357518"/>
                <a:gd name="connsiteY1312" fmla="*/ 858504 h 1002999"/>
                <a:gd name="connsiteX1313" fmla="*/ 484709 w 1357518"/>
                <a:gd name="connsiteY1313" fmla="*/ 856645 h 1002999"/>
                <a:gd name="connsiteX1314" fmla="*/ 489091 w 1357518"/>
                <a:gd name="connsiteY1314" fmla="*/ 855100 h 1002999"/>
                <a:gd name="connsiteX1315" fmla="*/ 491620 w 1357518"/>
                <a:gd name="connsiteY1315" fmla="*/ 854637 h 1002999"/>
                <a:gd name="connsiteX1316" fmla="*/ 496995 w 1357518"/>
                <a:gd name="connsiteY1316" fmla="*/ 854353 h 1002999"/>
                <a:gd name="connsiteX1317" fmla="*/ 498791 w 1357518"/>
                <a:gd name="connsiteY1317" fmla="*/ 852799 h 1002999"/>
                <a:gd name="connsiteX1318" fmla="*/ 495800 w 1357518"/>
                <a:gd name="connsiteY1318" fmla="*/ 853192 h 1002999"/>
                <a:gd name="connsiteX1319" fmla="*/ 493795 w 1357518"/>
                <a:gd name="connsiteY1319" fmla="*/ 852989 h 1002999"/>
                <a:gd name="connsiteX1320" fmla="*/ 493670 w 1357518"/>
                <a:gd name="connsiteY1320" fmla="*/ 852265 h 1002999"/>
                <a:gd name="connsiteX1321" fmla="*/ 494412 w 1357518"/>
                <a:gd name="connsiteY1321" fmla="*/ 850972 h 1002999"/>
                <a:gd name="connsiteX1322" fmla="*/ 494891 w 1357518"/>
                <a:gd name="connsiteY1322" fmla="*/ 849304 h 1002999"/>
                <a:gd name="connsiteX1323" fmla="*/ 493867 w 1357518"/>
                <a:gd name="connsiteY1323" fmla="*/ 849606 h 1002999"/>
                <a:gd name="connsiteX1324" fmla="*/ 488611 w 1357518"/>
                <a:gd name="connsiteY1324" fmla="*/ 852477 h 1002999"/>
                <a:gd name="connsiteX1325" fmla="*/ 480844 w 1357518"/>
                <a:gd name="connsiteY1325" fmla="*/ 854754 h 1002999"/>
                <a:gd name="connsiteX1326" fmla="*/ 474777 w 1357518"/>
                <a:gd name="connsiteY1326" fmla="*/ 856026 h 1002999"/>
                <a:gd name="connsiteX1327" fmla="*/ 473795 w 1357518"/>
                <a:gd name="connsiteY1327" fmla="*/ 855958 h 1002999"/>
                <a:gd name="connsiteX1328" fmla="*/ 471672 w 1357518"/>
                <a:gd name="connsiteY1328" fmla="*/ 856726 h 1002999"/>
                <a:gd name="connsiteX1329" fmla="*/ 470452 w 1357518"/>
                <a:gd name="connsiteY1329" fmla="*/ 856947 h 1002999"/>
                <a:gd name="connsiteX1330" fmla="*/ 469510 w 1357518"/>
                <a:gd name="connsiteY1330" fmla="*/ 856730 h 1002999"/>
                <a:gd name="connsiteX1331" fmla="*/ 467362 w 1357518"/>
                <a:gd name="connsiteY1331" fmla="*/ 854552 h 1002999"/>
                <a:gd name="connsiteX1332" fmla="*/ 466791 w 1357518"/>
                <a:gd name="connsiteY1332" fmla="*/ 853124 h 1002999"/>
                <a:gd name="connsiteX1333" fmla="*/ 470640 w 1357518"/>
                <a:gd name="connsiteY1333" fmla="*/ 849256 h 1002999"/>
                <a:gd name="connsiteX1334" fmla="*/ 473515 w 1357518"/>
                <a:gd name="connsiteY1334" fmla="*/ 843963 h 1002999"/>
                <a:gd name="connsiteX1335" fmla="*/ 477323 w 1357518"/>
                <a:gd name="connsiteY1335" fmla="*/ 840494 h 1002999"/>
                <a:gd name="connsiteX1336" fmla="*/ 480013 w 1357518"/>
                <a:gd name="connsiteY1336" fmla="*/ 840059 h 1002999"/>
                <a:gd name="connsiteX1337" fmla="*/ 484510 w 1357518"/>
                <a:gd name="connsiteY1337" fmla="*/ 840245 h 1002999"/>
                <a:gd name="connsiteX1338" fmla="*/ 486094 w 1357518"/>
                <a:gd name="connsiteY1338" fmla="*/ 840552 h 1002999"/>
                <a:gd name="connsiteX1339" fmla="*/ 485590 w 1357518"/>
                <a:gd name="connsiteY1339" fmla="*/ 838490 h 1002999"/>
                <a:gd name="connsiteX1340" fmla="*/ 485777 w 1357518"/>
                <a:gd name="connsiteY1340" fmla="*/ 837496 h 1002999"/>
                <a:gd name="connsiteX1341" fmla="*/ 489423 w 1357518"/>
                <a:gd name="connsiteY1341" fmla="*/ 836300 h 1002999"/>
                <a:gd name="connsiteX1342" fmla="*/ 493674 w 1357518"/>
                <a:gd name="connsiteY1342" fmla="*/ 835765 h 1002999"/>
                <a:gd name="connsiteX1343" fmla="*/ 496703 w 1357518"/>
                <a:gd name="connsiteY1343" fmla="*/ 836143 h 1002999"/>
                <a:gd name="connsiteX1344" fmla="*/ 498608 w 1357518"/>
                <a:gd name="connsiteY1344" fmla="*/ 838564 h 1002999"/>
                <a:gd name="connsiteX1345" fmla="*/ 501057 w 1357518"/>
                <a:gd name="connsiteY1345" fmla="*/ 843025 h 1002999"/>
                <a:gd name="connsiteX1346" fmla="*/ 504357 w 1357518"/>
                <a:gd name="connsiteY1346" fmla="*/ 844529 h 1002999"/>
                <a:gd name="connsiteX1347" fmla="*/ 504212 w 1357518"/>
                <a:gd name="connsiteY1347" fmla="*/ 842388 h 1002999"/>
                <a:gd name="connsiteX1348" fmla="*/ 502500 w 1357518"/>
                <a:gd name="connsiteY1348" fmla="*/ 839627 h 1002999"/>
                <a:gd name="connsiteX1349" fmla="*/ 501866 w 1357518"/>
                <a:gd name="connsiteY1349" fmla="*/ 835386 h 1002999"/>
                <a:gd name="connsiteX1350" fmla="*/ 499693 w 1357518"/>
                <a:gd name="connsiteY1350" fmla="*/ 833595 h 1002999"/>
                <a:gd name="connsiteX1351" fmla="*/ 497947 w 1357518"/>
                <a:gd name="connsiteY1351" fmla="*/ 832711 h 1002999"/>
                <a:gd name="connsiteX1352" fmla="*/ 493124 w 1357518"/>
                <a:gd name="connsiteY1352" fmla="*/ 833143 h 1002999"/>
                <a:gd name="connsiteX1353" fmla="*/ 490224 w 1357518"/>
                <a:gd name="connsiteY1353" fmla="*/ 830035 h 1002999"/>
                <a:gd name="connsiteX1354" fmla="*/ 489566 w 1357518"/>
                <a:gd name="connsiteY1354" fmla="*/ 828893 h 1002999"/>
                <a:gd name="connsiteX1355" fmla="*/ 489490 w 1357518"/>
                <a:gd name="connsiteY1355" fmla="*/ 827375 h 1002999"/>
                <a:gd name="connsiteX1356" fmla="*/ 486597 w 1357518"/>
                <a:gd name="connsiteY1356" fmla="*/ 822911 h 1002999"/>
                <a:gd name="connsiteX1357" fmla="*/ 485666 w 1357518"/>
                <a:gd name="connsiteY1357" fmla="*/ 820677 h 1002999"/>
                <a:gd name="connsiteX1358" fmla="*/ 484130 w 1357518"/>
                <a:gd name="connsiteY1358" fmla="*/ 817696 h 1002999"/>
                <a:gd name="connsiteX1359" fmla="*/ 483314 w 1357518"/>
                <a:gd name="connsiteY1359" fmla="*/ 817537 h 1002999"/>
                <a:gd name="connsiteX1360" fmla="*/ 484351 w 1357518"/>
                <a:gd name="connsiteY1360" fmla="*/ 821288 h 1002999"/>
                <a:gd name="connsiteX1361" fmla="*/ 485709 w 1357518"/>
                <a:gd name="connsiteY1361" fmla="*/ 823923 h 1002999"/>
                <a:gd name="connsiteX1362" fmla="*/ 487643 w 1357518"/>
                <a:gd name="connsiteY1362" fmla="*/ 829705 h 1002999"/>
                <a:gd name="connsiteX1363" fmla="*/ 488600 w 1357518"/>
                <a:gd name="connsiteY1363" fmla="*/ 832030 h 1002999"/>
                <a:gd name="connsiteX1364" fmla="*/ 487304 w 1357518"/>
                <a:gd name="connsiteY1364" fmla="*/ 833871 h 1002999"/>
                <a:gd name="connsiteX1365" fmla="*/ 484852 w 1357518"/>
                <a:gd name="connsiteY1365" fmla="*/ 835691 h 1002999"/>
                <a:gd name="connsiteX1366" fmla="*/ 482685 w 1357518"/>
                <a:gd name="connsiteY1366" fmla="*/ 836776 h 1002999"/>
                <a:gd name="connsiteX1367" fmla="*/ 477565 w 1357518"/>
                <a:gd name="connsiteY1367" fmla="*/ 838074 h 1002999"/>
                <a:gd name="connsiteX1368" fmla="*/ 478666 w 1357518"/>
                <a:gd name="connsiteY1368" fmla="*/ 835243 h 1002999"/>
                <a:gd name="connsiteX1369" fmla="*/ 479371 w 1357518"/>
                <a:gd name="connsiteY1369" fmla="*/ 832455 h 1002999"/>
                <a:gd name="connsiteX1370" fmla="*/ 476797 w 1357518"/>
                <a:gd name="connsiteY1370" fmla="*/ 833443 h 1002999"/>
                <a:gd name="connsiteX1371" fmla="*/ 474403 w 1357518"/>
                <a:gd name="connsiteY1371" fmla="*/ 835464 h 1002999"/>
                <a:gd name="connsiteX1372" fmla="*/ 473578 w 1357518"/>
                <a:gd name="connsiteY1372" fmla="*/ 838266 h 1002999"/>
                <a:gd name="connsiteX1373" fmla="*/ 472040 w 1357518"/>
                <a:gd name="connsiteY1373" fmla="*/ 840808 h 1002999"/>
                <a:gd name="connsiteX1374" fmla="*/ 467479 w 1357518"/>
                <a:gd name="connsiteY1374" fmla="*/ 847025 h 1002999"/>
                <a:gd name="connsiteX1375" fmla="*/ 465680 w 1357518"/>
                <a:gd name="connsiteY1375" fmla="*/ 850472 h 1002999"/>
                <a:gd name="connsiteX1376" fmla="*/ 463981 w 1357518"/>
                <a:gd name="connsiteY1376" fmla="*/ 852171 h 1002999"/>
                <a:gd name="connsiteX1377" fmla="*/ 462043 w 1357518"/>
                <a:gd name="connsiteY1377" fmla="*/ 852640 h 1002999"/>
                <a:gd name="connsiteX1378" fmla="*/ 460360 w 1357518"/>
                <a:gd name="connsiteY1378" fmla="*/ 851292 h 1002999"/>
                <a:gd name="connsiteX1379" fmla="*/ 458934 w 1357518"/>
                <a:gd name="connsiteY1379" fmla="*/ 848124 h 1002999"/>
                <a:gd name="connsiteX1380" fmla="*/ 458266 w 1357518"/>
                <a:gd name="connsiteY1380" fmla="*/ 845644 h 1002999"/>
                <a:gd name="connsiteX1381" fmla="*/ 458186 w 1357518"/>
                <a:gd name="connsiteY1381" fmla="*/ 839194 h 1002999"/>
                <a:gd name="connsiteX1382" fmla="*/ 458366 w 1357518"/>
                <a:gd name="connsiteY1382" fmla="*/ 836179 h 1002999"/>
                <a:gd name="connsiteX1383" fmla="*/ 457589 w 1357518"/>
                <a:gd name="connsiteY1383" fmla="*/ 832109 h 1002999"/>
                <a:gd name="connsiteX1384" fmla="*/ 455125 w 1357518"/>
                <a:gd name="connsiteY1384" fmla="*/ 822598 h 1002999"/>
                <a:gd name="connsiteX1385" fmla="*/ 454603 w 1357518"/>
                <a:gd name="connsiteY1385" fmla="*/ 819202 h 1002999"/>
                <a:gd name="connsiteX1386" fmla="*/ 450434 w 1357518"/>
                <a:gd name="connsiteY1386" fmla="*/ 817393 h 1002999"/>
                <a:gd name="connsiteX1387" fmla="*/ 450373 w 1357518"/>
                <a:gd name="connsiteY1387" fmla="*/ 816809 h 1002999"/>
                <a:gd name="connsiteX1388" fmla="*/ 449282 w 1357518"/>
                <a:gd name="connsiteY1388" fmla="*/ 814871 h 1002999"/>
                <a:gd name="connsiteX1389" fmla="*/ 448442 w 1357518"/>
                <a:gd name="connsiteY1389" fmla="*/ 812930 h 1002999"/>
                <a:gd name="connsiteX1390" fmla="*/ 449137 w 1357518"/>
                <a:gd name="connsiteY1390" fmla="*/ 812219 h 1002999"/>
                <a:gd name="connsiteX1391" fmla="*/ 450128 w 1357518"/>
                <a:gd name="connsiteY1391" fmla="*/ 811705 h 1002999"/>
                <a:gd name="connsiteX1392" fmla="*/ 456360 w 1357518"/>
                <a:gd name="connsiteY1392" fmla="*/ 808838 h 1002999"/>
                <a:gd name="connsiteX1393" fmla="*/ 460979 w 1357518"/>
                <a:gd name="connsiteY1393" fmla="*/ 805622 h 1002999"/>
                <a:gd name="connsiteX1394" fmla="*/ 466498 w 1357518"/>
                <a:gd name="connsiteY1394" fmla="*/ 800568 h 1002999"/>
                <a:gd name="connsiteX1395" fmla="*/ 468753 w 1357518"/>
                <a:gd name="connsiteY1395" fmla="*/ 798995 h 1002999"/>
                <a:gd name="connsiteX1396" fmla="*/ 476851 w 1357518"/>
                <a:gd name="connsiteY1396" fmla="*/ 797782 h 1002999"/>
                <a:gd name="connsiteX1397" fmla="*/ 480445 w 1357518"/>
                <a:gd name="connsiteY1397" fmla="*/ 797617 h 1002999"/>
                <a:gd name="connsiteX1398" fmla="*/ 480412 w 1357518"/>
                <a:gd name="connsiteY1398" fmla="*/ 796716 h 1002999"/>
                <a:gd name="connsiteX1399" fmla="*/ 479207 w 1357518"/>
                <a:gd name="connsiteY1399" fmla="*/ 796356 h 1002999"/>
                <a:gd name="connsiteX1400" fmla="*/ 473736 w 1357518"/>
                <a:gd name="connsiteY1400" fmla="*/ 796593 h 1002999"/>
                <a:gd name="connsiteX1401" fmla="*/ 466446 w 1357518"/>
                <a:gd name="connsiteY1401" fmla="*/ 798620 h 1002999"/>
                <a:gd name="connsiteX1402" fmla="*/ 465199 w 1357518"/>
                <a:gd name="connsiteY1402" fmla="*/ 799350 h 1002999"/>
                <a:gd name="connsiteX1403" fmla="*/ 462009 w 1357518"/>
                <a:gd name="connsiteY1403" fmla="*/ 802498 h 1002999"/>
                <a:gd name="connsiteX1404" fmla="*/ 459550 w 1357518"/>
                <a:gd name="connsiteY1404" fmla="*/ 804216 h 1002999"/>
                <a:gd name="connsiteX1405" fmla="*/ 452631 w 1357518"/>
                <a:gd name="connsiteY1405" fmla="*/ 808136 h 1002999"/>
                <a:gd name="connsiteX1406" fmla="*/ 448141 w 1357518"/>
                <a:gd name="connsiteY1406" fmla="*/ 808134 h 1002999"/>
                <a:gd name="connsiteX1407" fmla="*/ 443505 w 1357518"/>
                <a:gd name="connsiteY1407" fmla="*/ 803441 h 1002999"/>
                <a:gd name="connsiteX1408" fmla="*/ 438332 w 1357518"/>
                <a:gd name="connsiteY1408" fmla="*/ 804341 h 1002999"/>
                <a:gd name="connsiteX1409" fmla="*/ 434838 w 1357518"/>
                <a:gd name="connsiteY1409" fmla="*/ 804031 h 1002999"/>
                <a:gd name="connsiteX1410" fmla="*/ 433819 w 1357518"/>
                <a:gd name="connsiteY1410" fmla="*/ 803324 h 1002999"/>
                <a:gd name="connsiteX1411" fmla="*/ 433050 w 1357518"/>
                <a:gd name="connsiteY1411" fmla="*/ 796895 h 1002999"/>
                <a:gd name="connsiteX1412" fmla="*/ 435868 w 1357518"/>
                <a:gd name="connsiteY1412" fmla="*/ 789368 h 1002999"/>
                <a:gd name="connsiteX1413" fmla="*/ 432829 w 1357518"/>
                <a:gd name="connsiteY1413" fmla="*/ 789298 h 1002999"/>
                <a:gd name="connsiteX1414" fmla="*/ 432200 w 1357518"/>
                <a:gd name="connsiteY1414" fmla="*/ 788993 h 1002999"/>
                <a:gd name="connsiteX1415" fmla="*/ 430596 w 1357518"/>
                <a:gd name="connsiteY1415" fmla="*/ 787274 h 1002999"/>
                <a:gd name="connsiteX1416" fmla="*/ 429550 w 1357518"/>
                <a:gd name="connsiteY1416" fmla="*/ 786763 h 1002999"/>
                <a:gd name="connsiteX1417" fmla="*/ 430327 w 1357518"/>
                <a:gd name="connsiteY1417" fmla="*/ 785850 h 1002999"/>
                <a:gd name="connsiteX1418" fmla="*/ 437824 w 1357518"/>
                <a:gd name="connsiteY1418" fmla="*/ 782272 h 1002999"/>
                <a:gd name="connsiteX1419" fmla="*/ 449034 w 1357518"/>
                <a:gd name="connsiteY1419" fmla="*/ 775233 h 1002999"/>
                <a:gd name="connsiteX1420" fmla="*/ 453861 w 1357518"/>
                <a:gd name="connsiteY1420" fmla="*/ 772461 h 1002999"/>
                <a:gd name="connsiteX1421" fmla="*/ 456839 w 1357518"/>
                <a:gd name="connsiteY1421" fmla="*/ 771264 h 1002999"/>
                <a:gd name="connsiteX1422" fmla="*/ 459091 w 1357518"/>
                <a:gd name="connsiteY1422" fmla="*/ 769891 h 1002999"/>
                <a:gd name="connsiteX1423" fmla="*/ 461831 w 1357518"/>
                <a:gd name="connsiteY1423" fmla="*/ 766914 h 1002999"/>
                <a:gd name="connsiteX1424" fmla="*/ 462737 w 1357518"/>
                <a:gd name="connsiteY1424" fmla="*/ 765610 h 1002999"/>
                <a:gd name="connsiteX1425" fmla="*/ 464264 w 1357518"/>
                <a:gd name="connsiteY1425" fmla="*/ 764558 h 1002999"/>
                <a:gd name="connsiteX1426" fmla="*/ 467488 w 1357518"/>
                <a:gd name="connsiteY1426" fmla="*/ 763372 h 1002999"/>
                <a:gd name="connsiteX1427" fmla="*/ 471009 w 1357518"/>
                <a:gd name="connsiteY1427" fmla="*/ 761577 h 1002999"/>
                <a:gd name="connsiteX1428" fmla="*/ 476725 w 1357518"/>
                <a:gd name="connsiteY1428" fmla="*/ 757525 h 1002999"/>
                <a:gd name="connsiteX1429" fmla="*/ 477468 w 1357518"/>
                <a:gd name="connsiteY1429" fmla="*/ 756026 h 1002999"/>
                <a:gd name="connsiteX1430" fmla="*/ 476228 w 1357518"/>
                <a:gd name="connsiteY1430" fmla="*/ 755676 h 1002999"/>
                <a:gd name="connsiteX1431" fmla="*/ 473555 w 1357518"/>
                <a:gd name="connsiteY1431" fmla="*/ 757059 h 1002999"/>
                <a:gd name="connsiteX1432" fmla="*/ 468121 w 1357518"/>
                <a:gd name="connsiteY1432" fmla="*/ 760762 h 1002999"/>
                <a:gd name="connsiteX1433" fmla="*/ 464244 w 1357518"/>
                <a:gd name="connsiteY1433" fmla="*/ 762844 h 1002999"/>
                <a:gd name="connsiteX1434" fmla="*/ 451017 w 1357518"/>
                <a:gd name="connsiteY1434" fmla="*/ 772128 h 1002999"/>
                <a:gd name="connsiteX1435" fmla="*/ 445386 w 1357518"/>
                <a:gd name="connsiteY1435" fmla="*/ 775498 h 1002999"/>
                <a:gd name="connsiteX1436" fmla="*/ 442322 w 1357518"/>
                <a:gd name="connsiteY1436" fmla="*/ 777645 h 1002999"/>
                <a:gd name="connsiteX1437" fmla="*/ 439945 w 1357518"/>
                <a:gd name="connsiteY1437" fmla="*/ 779694 h 1002999"/>
                <a:gd name="connsiteX1438" fmla="*/ 437428 w 1357518"/>
                <a:gd name="connsiteY1438" fmla="*/ 781152 h 1002999"/>
                <a:gd name="connsiteX1439" fmla="*/ 434769 w 1357518"/>
                <a:gd name="connsiteY1439" fmla="*/ 782021 h 1002999"/>
                <a:gd name="connsiteX1440" fmla="*/ 429093 w 1357518"/>
                <a:gd name="connsiteY1440" fmla="*/ 782673 h 1002999"/>
                <a:gd name="connsiteX1441" fmla="*/ 426306 w 1357518"/>
                <a:gd name="connsiteY1441" fmla="*/ 783429 h 1002999"/>
                <a:gd name="connsiteX1442" fmla="*/ 424627 w 1357518"/>
                <a:gd name="connsiteY1442" fmla="*/ 782874 h 1002999"/>
                <a:gd name="connsiteX1443" fmla="*/ 423888 w 1357518"/>
                <a:gd name="connsiteY1443" fmla="*/ 778503 h 1002999"/>
                <a:gd name="connsiteX1444" fmla="*/ 424452 w 1357518"/>
                <a:gd name="connsiteY1444" fmla="*/ 775909 h 1002999"/>
                <a:gd name="connsiteX1445" fmla="*/ 424184 w 1357518"/>
                <a:gd name="connsiteY1445" fmla="*/ 773345 h 1002999"/>
                <a:gd name="connsiteX1446" fmla="*/ 425600 w 1357518"/>
                <a:gd name="connsiteY1446" fmla="*/ 769670 h 1002999"/>
                <a:gd name="connsiteX1447" fmla="*/ 427701 w 1357518"/>
                <a:gd name="connsiteY1447" fmla="*/ 767063 h 1002999"/>
                <a:gd name="connsiteX1448" fmla="*/ 428583 w 1357518"/>
                <a:gd name="connsiteY1448" fmla="*/ 765646 h 1002999"/>
                <a:gd name="connsiteX1449" fmla="*/ 428960 w 1357518"/>
                <a:gd name="connsiteY1449" fmla="*/ 764670 h 1002999"/>
                <a:gd name="connsiteX1450" fmla="*/ 433295 w 1357518"/>
                <a:gd name="connsiteY1450" fmla="*/ 761970 h 1002999"/>
                <a:gd name="connsiteX1451" fmla="*/ 435684 w 1357518"/>
                <a:gd name="connsiteY1451" fmla="*/ 760770 h 1002999"/>
                <a:gd name="connsiteX1452" fmla="*/ 437373 w 1357518"/>
                <a:gd name="connsiteY1452" fmla="*/ 758060 h 1002999"/>
                <a:gd name="connsiteX1453" fmla="*/ 446995 w 1357518"/>
                <a:gd name="connsiteY1453" fmla="*/ 757097 h 1002999"/>
                <a:gd name="connsiteX1454" fmla="*/ 449473 w 1357518"/>
                <a:gd name="connsiteY1454" fmla="*/ 757193 h 1002999"/>
                <a:gd name="connsiteX1455" fmla="*/ 450791 w 1357518"/>
                <a:gd name="connsiteY1455" fmla="*/ 756830 h 1002999"/>
                <a:gd name="connsiteX1456" fmla="*/ 451777 w 1357518"/>
                <a:gd name="connsiteY1456" fmla="*/ 756041 h 1002999"/>
                <a:gd name="connsiteX1457" fmla="*/ 450829 w 1357518"/>
                <a:gd name="connsiteY1457" fmla="*/ 755431 h 1002999"/>
                <a:gd name="connsiteX1458" fmla="*/ 447946 w 1357518"/>
                <a:gd name="connsiteY1458" fmla="*/ 755002 h 1002999"/>
                <a:gd name="connsiteX1459" fmla="*/ 440283 w 1357518"/>
                <a:gd name="connsiteY1459" fmla="*/ 755084 h 1002999"/>
                <a:gd name="connsiteX1460" fmla="*/ 433201 w 1357518"/>
                <a:gd name="connsiteY1460" fmla="*/ 754619 h 1002999"/>
                <a:gd name="connsiteX1461" fmla="*/ 429969 w 1357518"/>
                <a:gd name="connsiteY1461" fmla="*/ 754152 h 1002999"/>
                <a:gd name="connsiteX1462" fmla="*/ 428410 w 1357518"/>
                <a:gd name="connsiteY1462" fmla="*/ 754422 h 1002999"/>
                <a:gd name="connsiteX1463" fmla="*/ 425836 w 1357518"/>
                <a:gd name="connsiteY1463" fmla="*/ 753630 h 1002999"/>
                <a:gd name="connsiteX1464" fmla="*/ 423025 w 1357518"/>
                <a:gd name="connsiteY1464" fmla="*/ 752121 h 1002999"/>
                <a:gd name="connsiteX1465" fmla="*/ 418663 w 1357518"/>
                <a:gd name="connsiteY1465" fmla="*/ 746560 h 1002999"/>
                <a:gd name="connsiteX1466" fmla="*/ 420409 w 1357518"/>
                <a:gd name="connsiteY1466" fmla="*/ 739398 h 1002999"/>
                <a:gd name="connsiteX1467" fmla="*/ 420561 w 1357518"/>
                <a:gd name="connsiteY1467" fmla="*/ 735973 h 1002999"/>
                <a:gd name="connsiteX1468" fmla="*/ 426104 w 1357518"/>
                <a:gd name="connsiteY1468" fmla="*/ 732965 h 1002999"/>
                <a:gd name="connsiteX1469" fmla="*/ 429068 w 1357518"/>
                <a:gd name="connsiteY1469" fmla="*/ 731968 h 1002999"/>
                <a:gd name="connsiteX1470" fmla="*/ 433275 w 1357518"/>
                <a:gd name="connsiteY1470" fmla="*/ 729698 h 1002999"/>
                <a:gd name="connsiteX1471" fmla="*/ 438893 w 1357518"/>
                <a:gd name="connsiteY1471" fmla="*/ 725840 h 1002999"/>
                <a:gd name="connsiteX1472" fmla="*/ 445595 w 1357518"/>
                <a:gd name="connsiteY1472" fmla="*/ 723480 h 1002999"/>
                <a:gd name="connsiteX1473" fmla="*/ 449010 w 1357518"/>
                <a:gd name="connsiteY1473" fmla="*/ 723043 h 1002999"/>
                <a:gd name="connsiteX1474" fmla="*/ 451849 w 1357518"/>
                <a:gd name="connsiteY1474" fmla="*/ 723381 h 1002999"/>
                <a:gd name="connsiteX1475" fmla="*/ 462342 w 1357518"/>
                <a:gd name="connsiteY1475" fmla="*/ 726728 h 1002999"/>
                <a:gd name="connsiteX1476" fmla="*/ 467738 w 1357518"/>
                <a:gd name="connsiteY1476" fmla="*/ 727382 h 1002999"/>
                <a:gd name="connsiteX1477" fmla="*/ 472480 w 1357518"/>
                <a:gd name="connsiteY1477" fmla="*/ 726577 h 1002999"/>
                <a:gd name="connsiteX1478" fmla="*/ 478431 w 1357518"/>
                <a:gd name="connsiteY1478" fmla="*/ 727755 h 1002999"/>
                <a:gd name="connsiteX1479" fmla="*/ 488958 w 1357518"/>
                <a:gd name="connsiteY1479" fmla="*/ 732563 h 1002999"/>
                <a:gd name="connsiteX1480" fmla="*/ 490990 w 1357518"/>
                <a:gd name="connsiteY1480" fmla="*/ 731846 h 1002999"/>
                <a:gd name="connsiteX1481" fmla="*/ 490401 w 1357518"/>
                <a:gd name="connsiteY1481" fmla="*/ 730682 h 1002999"/>
                <a:gd name="connsiteX1482" fmla="*/ 478661 w 1357518"/>
                <a:gd name="connsiteY1482" fmla="*/ 725600 h 1002999"/>
                <a:gd name="connsiteX1483" fmla="*/ 478729 w 1357518"/>
                <a:gd name="connsiteY1483" fmla="*/ 724080 h 1002999"/>
                <a:gd name="connsiteX1484" fmla="*/ 481734 w 1357518"/>
                <a:gd name="connsiteY1484" fmla="*/ 723682 h 1002999"/>
                <a:gd name="connsiteX1485" fmla="*/ 484942 w 1357518"/>
                <a:gd name="connsiteY1485" fmla="*/ 722201 h 1002999"/>
                <a:gd name="connsiteX1486" fmla="*/ 483132 w 1357518"/>
                <a:gd name="connsiteY1486" fmla="*/ 721327 h 1002999"/>
                <a:gd name="connsiteX1487" fmla="*/ 475335 w 1357518"/>
                <a:gd name="connsiteY1487" fmla="*/ 722086 h 1002999"/>
                <a:gd name="connsiteX1488" fmla="*/ 473084 w 1357518"/>
                <a:gd name="connsiteY1488" fmla="*/ 723300 h 1002999"/>
                <a:gd name="connsiteX1489" fmla="*/ 465523 w 1357518"/>
                <a:gd name="connsiteY1489" fmla="*/ 723929 h 1002999"/>
                <a:gd name="connsiteX1490" fmla="*/ 461573 w 1357518"/>
                <a:gd name="connsiteY1490" fmla="*/ 722896 h 1002999"/>
                <a:gd name="connsiteX1491" fmla="*/ 458027 w 1357518"/>
                <a:gd name="connsiteY1491" fmla="*/ 722384 h 1002999"/>
                <a:gd name="connsiteX1492" fmla="*/ 452706 w 1357518"/>
                <a:gd name="connsiteY1492" fmla="*/ 720181 h 1002999"/>
                <a:gd name="connsiteX1493" fmla="*/ 448254 w 1357518"/>
                <a:gd name="connsiteY1493" fmla="*/ 720900 h 1002999"/>
                <a:gd name="connsiteX1494" fmla="*/ 445444 w 1357518"/>
                <a:gd name="connsiteY1494" fmla="*/ 721769 h 1002999"/>
                <a:gd name="connsiteX1495" fmla="*/ 440467 w 1357518"/>
                <a:gd name="connsiteY1495" fmla="*/ 722591 h 1002999"/>
                <a:gd name="connsiteX1496" fmla="*/ 438670 w 1357518"/>
                <a:gd name="connsiteY1496" fmla="*/ 723176 h 1002999"/>
                <a:gd name="connsiteX1497" fmla="*/ 428958 w 1357518"/>
                <a:gd name="connsiteY1497" fmla="*/ 730090 h 1002999"/>
                <a:gd name="connsiteX1498" fmla="*/ 424872 w 1357518"/>
                <a:gd name="connsiteY1498" fmla="*/ 731524 h 1002999"/>
                <a:gd name="connsiteX1499" fmla="*/ 421962 w 1357518"/>
                <a:gd name="connsiteY1499" fmla="*/ 731052 h 1002999"/>
                <a:gd name="connsiteX1500" fmla="*/ 424005 w 1357518"/>
                <a:gd name="connsiteY1500" fmla="*/ 726557 h 1002999"/>
                <a:gd name="connsiteX1501" fmla="*/ 424594 w 1357518"/>
                <a:gd name="connsiteY1501" fmla="*/ 724780 h 1002999"/>
                <a:gd name="connsiteX1502" fmla="*/ 424590 w 1357518"/>
                <a:gd name="connsiteY1502" fmla="*/ 722842 h 1002999"/>
                <a:gd name="connsiteX1503" fmla="*/ 425439 w 1357518"/>
                <a:gd name="connsiteY1503" fmla="*/ 720185 h 1002999"/>
                <a:gd name="connsiteX1504" fmla="*/ 430415 w 1357518"/>
                <a:gd name="connsiteY1504" fmla="*/ 715116 h 1002999"/>
                <a:gd name="connsiteX1505" fmla="*/ 433545 w 1357518"/>
                <a:gd name="connsiteY1505" fmla="*/ 709549 h 1002999"/>
                <a:gd name="connsiteX1506" fmla="*/ 434868 w 1357518"/>
                <a:gd name="connsiteY1506" fmla="*/ 706088 h 1002999"/>
                <a:gd name="connsiteX1507" fmla="*/ 437313 w 1357518"/>
                <a:gd name="connsiteY1507" fmla="*/ 705701 h 1002999"/>
                <a:gd name="connsiteX1508" fmla="*/ 440655 w 1357518"/>
                <a:gd name="connsiteY1508" fmla="*/ 706211 h 1002999"/>
                <a:gd name="connsiteX1509" fmla="*/ 450689 w 1357518"/>
                <a:gd name="connsiteY1509" fmla="*/ 708456 h 1002999"/>
                <a:gd name="connsiteX1510" fmla="*/ 459038 w 1357518"/>
                <a:gd name="connsiteY1510" fmla="*/ 711127 h 1002999"/>
                <a:gd name="connsiteX1511" fmla="*/ 465197 w 1357518"/>
                <a:gd name="connsiteY1511" fmla="*/ 711840 h 1002999"/>
                <a:gd name="connsiteX1512" fmla="*/ 469245 w 1357518"/>
                <a:gd name="connsiteY1512" fmla="*/ 711914 h 1002999"/>
                <a:gd name="connsiteX1513" fmla="*/ 470981 w 1357518"/>
                <a:gd name="connsiteY1513" fmla="*/ 711063 h 1002999"/>
                <a:gd name="connsiteX1514" fmla="*/ 472349 w 1357518"/>
                <a:gd name="connsiteY1514" fmla="*/ 709583 h 1002999"/>
                <a:gd name="connsiteX1515" fmla="*/ 472876 w 1357518"/>
                <a:gd name="connsiteY1515" fmla="*/ 708556 h 1002999"/>
                <a:gd name="connsiteX1516" fmla="*/ 473274 w 1357518"/>
                <a:gd name="connsiteY1516" fmla="*/ 706453 h 1002999"/>
                <a:gd name="connsiteX1517" fmla="*/ 473738 w 1357518"/>
                <a:gd name="connsiteY1517" fmla="*/ 705706 h 1002999"/>
                <a:gd name="connsiteX1518" fmla="*/ 475091 w 1357518"/>
                <a:gd name="connsiteY1518" fmla="*/ 704788 h 1002999"/>
                <a:gd name="connsiteX1519" fmla="*/ 477860 w 1357518"/>
                <a:gd name="connsiteY1519" fmla="*/ 701591 h 1002999"/>
                <a:gd name="connsiteX1520" fmla="*/ 478703 w 1357518"/>
                <a:gd name="connsiteY1520" fmla="*/ 699309 h 1002999"/>
                <a:gd name="connsiteX1521" fmla="*/ 477796 w 1357518"/>
                <a:gd name="connsiteY1521" fmla="*/ 697980 h 1002999"/>
                <a:gd name="connsiteX1522" fmla="*/ 475954 w 1357518"/>
                <a:gd name="connsiteY1522" fmla="*/ 698116 h 1002999"/>
                <a:gd name="connsiteX1523" fmla="*/ 472358 w 1357518"/>
                <a:gd name="connsiteY1523" fmla="*/ 698991 h 1002999"/>
                <a:gd name="connsiteX1524" fmla="*/ 471873 w 1357518"/>
                <a:gd name="connsiteY1524" fmla="*/ 699355 h 1002999"/>
                <a:gd name="connsiteX1525" fmla="*/ 471939 w 1357518"/>
                <a:gd name="connsiteY1525" fmla="*/ 700067 h 1002999"/>
                <a:gd name="connsiteX1526" fmla="*/ 468459 w 1357518"/>
                <a:gd name="connsiteY1526" fmla="*/ 703597 h 1002999"/>
                <a:gd name="connsiteX1527" fmla="*/ 464665 w 1357518"/>
                <a:gd name="connsiteY1527" fmla="*/ 704408 h 1002999"/>
                <a:gd name="connsiteX1528" fmla="*/ 455941 w 1357518"/>
                <a:gd name="connsiteY1528" fmla="*/ 705591 h 1002999"/>
                <a:gd name="connsiteX1529" fmla="*/ 451961 w 1357518"/>
                <a:gd name="connsiteY1529" fmla="*/ 705675 h 1002999"/>
                <a:gd name="connsiteX1530" fmla="*/ 444889 w 1357518"/>
                <a:gd name="connsiteY1530" fmla="*/ 704037 h 1002999"/>
                <a:gd name="connsiteX1531" fmla="*/ 443818 w 1357518"/>
                <a:gd name="connsiteY1531" fmla="*/ 703394 h 1002999"/>
                <a:gd name="connsiteX1532" fmla="*/ 443083 w 1357518"/>
                <a:gd name="connsiteY1532" fmla="*/ 702190 h 1002999"/>
                <a:gd name="connsiteX1533" fmla="*/ 434405 w 1357518"/>
                <a:gd name="connsiteY1533" fmla="*/ 702463 h 1002999"/>
                <a:gd name="connsiteX1534" fmla="*/ 431810 w 1357518"/>
                <a:gd name="connsiteY1534" fmla="*/ 702825 h 1002999"/>
                <a:gd name="connsiteX1535" fmla="*/ 429747 w 1357518"/>
                <a:gd name="connsiteY1535" fmla="*/ 702668 h 1002999"/>
                <a:gd name="connsiteX1536" fmla="*/ 430758 w 1357518"/>
                <a:gd name="connsiteY1536" fmla="*/ 700574 h 1002999"/>
                <a:gd name="connsiteX1537" fmla="*/ 433503 w 1357518"/>
                <a:gd name="connsiteY1537" fmla="*/ 698245 h 1002999"/>
                <a:gd name="connsiteX1538" fmla="*/ 437347 w 1357518"/>
                <a:gd name="connsiteY1538" fmla="*/ 690652 h 1002999"/>
                <a:gd name="connsiteX1539" fmla="*/ 440566 w 1357518"/>
                <a:gd name="connsiteY1539" fmla="*/ 688704 h 1002999"/>
                <a:gd name="connsiteX1540" fmla="*/ 446962 w 1357518"/>
                <a:gd name="connsiteY1540" fmla="*/ 686886 h 1002999"/>
                <a:gd name="connsiteX1541" fmla="*/ 453636 w 1357518"/>
                <a:gd name="connsiteY1541" fmla="*/ 687180 h 1002999"/>
                <a:gd name="connsiteX1542" fmla="*/ 465181 w 1357518"/>
                <a:gd name="connsiteY1542" fmla="*/ 693061 h 1002999"/>
                <a:gd name="connsiteX1543" fmla="*/ 468664 w 1357518"/>
                <a:gd name="connsiteY1543" fmla="*/ 693574 h 1002999"/>
                <a:gd name="connsiteX1544" fmla="*/ 471858 w 1357518"/>
                <a:gd name="connsiteY1544" fmla="*/ 693100 h 1002999"/>
                <a:gd name="connsiteX1545" fmla="*/ 479496 w 1357518"/>
                <a:gd name="connsiteY1545" fmla="*/ 691131 h 1002999"/>
                <a:gd name="connsiteX1546" fmla="*/ 480897 w 1357518"/>
                <a:gd name="connsiteY1546" fmla="*/ 690333 h 1002999"/>
                <a:gd name="connsiteX1547" fmla="*/ 483644 w 1357518"/>
                <a:gd name="connsiteY1547" fmla="*/ 687890 h 1002999"/>
                <a:gd name="connsiteX1548" fmla="*/ 486852 w 1357518"/>
                <a:gd name="connsiteY1548" fmla="*/ 683705 h 1002999"/>
                <a:gd name="connsiteX1549" fmla="*/ 486695 w 1357518"/>
                <a:gd name="connsiteY1549" fmla="*/ 682712 h 1002999"/>
                <a:gd name="connsiteX1550" fmla="*/ 481775 w 1357518"/>
                <a:gd name="connsiteY1550" fmla="*/ 685053 h 1002999"/>
                <a:gd name="connsiteX1551" fmla="*/ 479152 w 1357518"/>
                <a:gd name="connsiteY1551" fmla="*/ 685684 h 1002999"/>
                <a:gd name="connsiteX1552" fmla="*/ 476928 w 1357518"/>
                <a:gd name="connsiteY1552" fmla="*/ 685684 h 1002999"/>
                <a:gd name="connsiteX1553" fmla="*/ 478993 w 1357518"/>
                <a:gd name="connsiteY1553" fmla="*/ 678018 h 1002999"/>
                <a:gd name="connsiteX1554" fmla="*/ 479796 w 1357518"/>
                <a:gd name="connsiteY1554" fmla="*/ 672124 h 1002999"/>
                <a:gd name="connsiteX1555" fmla="*/ 480567 w 1357518"/>
                <a:gd name="connsiteY1555" fmla="*/ 670658 h 1002999"/>
                <a:gd name="connsiteX1556" fmla="*/ 487036 w 1357518"/>
                <a:gd name="connsiteY1556" fmla="*/ 671102 h 1002999"/>
                <a:gd name="connsiteX1557" fmla="*/ 495873 w 1357518"/>
                <a:gd name="connsiteY1557" fmla="*/ 670303 h 1002999"/>
                <a:gd name="connsiteX1558" fmla="*/ 497980 w 1357518"/>
                <a:gd name="connsiteY1558" fmla="*/ 669013 h 1002999"/>
                <a:gd name="connsiteX1559" fmla="*/ 497947 w 1357518"/>
                <a:gd name="connsiteY1559" fmla="*/ 668440 h 1002999"/>
                <a:gd name="connsiteX1560" fmla="*/ 494398 w 1357518"/>
                <a:gd name="connsiteY1560" fmla="*/ 667655 h 1002999"/>
                <a:gd name="connsiteX1561" fmla="*/ 492689 w 1357518"/>
                <a:gd name="connsiteY1561" fmla="*/ 666008 h 1002999"/>
                <a:gd name="connsiteX1562" fmla="*/ 489717 w 1357518"/>
                <a:gd name="connsiteY1562" fmla="*/ 666528 h 1002999"/>
                <a:gd name="connsiteX1563" fmla="*/ 485736 w 1357518"/>
                <a:gd name="connsiteY1563" fmla="*/ 667627 h 1002999"/>
                <a:gd name="connsiteX1564" fmla="*/ 480742 w 1357518"/>
                <a:gd name="connsiteY1564" fmla="*/ 667501 h 1002999"/>
                <a:gd name="connsiteX1565" fmla="*/ 481165 w 1357518"/>
                <a:gd name="connsiteY1565" fmla="*/ 664958 h 1002999"/>
                <a:gd name="connsiteX1566" fmla="*/ 484826 w 1357518"/>
                <a:gd name="connsiteY1566" fmla="*/ 659614 h 1002999"/>
                <a:gd name="connsiteX1567" fmla="*/ 485203 w 1357518"/>
                <a:gd name="connsiteY1567" fmla="*/ 657173 h 1002999"/>
                <a:gd name="connsiteX1568" fmla="*/ 486631 w 1357518"/>
                <a:gd name="connsiteY1568" fmla="*/ 652285 h 1002999"/>
                <a:gd name="connsiteX1569" fmla="*/ 486775 w 1357518"/>
                <a:gd name="connsiteY1569" fmla="*/ 649772 h 1002999"/>
                <a:gd name="connsiteX1570" fmla="*/ 488629 w 1357518"/>
                <a:gd name="connsiteY1570" fmla="*/ 647324 h 1002999"/>
                <a:gd name="connsiteX1571" fmla="*/ 494404 w 1357518"/>
                <a:gd name="connsiteY1571" fmla="*/ 645578 h 1002999"/>
                <a:gd name="connsiteX1572" fmla="*/ 496828 w 1357518"/>
                <a:gd name="connsiteY1572" fmla="*/ 644534 h 1002999"/>
                <a:gd name="connsiteX1573" fmla="*/ 496961 w 1357518"/>
                <a:gd name="connsiteY1573" fmla="*/ 643392 h 1002999"/>
                <a:gd name="connsiteX1574" fmla="*/ 493499 w 1357518"/>
                <a:gd name="connsiteY1574" fmla="*/ 639031 h 1002999"/>
                <a:gd name="connsiteX1575" fmla="*/ 494378 w 1357518"/>
                <a:gd name="connsiteY1575" fmla="*/ 637826 h 1002999"/>
                <a:gd name="connsiteX1576" fmla="*/ 497093 w 1357518"/>
                <a:gd name="connsiteY1576" fmla="*/ 636726 h 1002999"/>
                <a:gd name="connsiteX1577" fmla="*/ 498105 w 1357518"/>
                <a:gd name="connsiteY1577" fmla="*/ 635923 h 1002999"/>
                <a:gd name="connsiteX1578" fmla="*/ 497414 w 1357518"/>
                <a:gd name="connsiteY1578" fmla="*/ 635420 h 1002999"/>
                <a:gd name="connsiteX1579" fmla="*/ 494913 w 1357518"/>
                <a:gd name="connsiteY1579" fmla="*/ 634937 h 1002999"/>
                <a:gd name="connsiteX1580" fmla="*/ 491070 w 1357518"/>
                <a:gd name="connsiteY1580" fmla="*/ 635903 h 1002999"/>
                <a:gd name="connsiteX1581" fmla="*/ 486814 w 1357518"/>
                <a:gd name="connsiteY1581" fmla="*/ 636367 h 1002999"/>
                <a:gd name="connsiteX1582" fmla="*/ 483047 w 1357518"/>
                <a:gd name="connsiteY1582" fmla="*/ 634916 h 1002999"/>
                <a:gd name="connsiteX1583" fmla="*/ 480106 w 1357518"/>
                <a:gd name="connsiteY1583" fmla="*/ 634222 h 1002999"/>
                <a:gd name="connsiteX1584" fmla="*/ 478243 w 1357518"/>
                <a:gd name="connsiteY1584" fmla="*/ 634440 h 1002999"/>
                <a:gd name="connsiteX1585" fmla="*/ 473182 w 1357518"/>
                <a:gd name="connsiteY1585" fmla="*/ 636921 h 1002999"/>
                <a:gd name="connsiteX1586" fmla="*/ 471408 w 1357518"/>
                <a:gd name="connsiteY1586" fmla="*/ 637002 h 1002999"/>
                <a:gd name="connsiteX1587" fmla="*/ 469218 w 1357518"/>
                <a:gd name="connsiteY1587" fmla="*/ 636314 h 1002999"/>
                <a:gd name="connsiteX1588" fmla="*/ 454701 w 1357518"/>
                <a:gd name="connsiteY1588" fmla="*/ 634162 h 1002999"/>
                <a:gd name="connsiteX1589" fmla="*/ 452901 w 1357518"/>
                <a:gd name="connsiteY1589" fmla="*/ 633402 h 1002999"/>
                <a:gd name="connsiteX1590" fmla="*/ 447700 w 1357518"/>
                <a:gd name="connsiteY1590" fmla="*/ 629676 h 1002999"/>
                <a:gd name="connsiteX1591" fmla="*/ 443415 w 1357518"/>
                <a:gd name="connsiteY1591" fmla="*/ 627213 h 1002999"/>
                <a:gd name="connsiteX1592" fmla="*/ 437709 w 1357518"/>
                <a:gd name="connsiteY1592" fmla="*/ 624518 h 1002999"/>
                <a:gd name="connsiteX1593" fmla="*/ 430313 w 1357518"/>
                <a:gd name="connsiteY1593" fmla="*/ 622471 h 1002999"/>
                <a:gd name="connsiteX1594" fmla="*/ 421226 w 1357518"/>
                <a:gd name="connsiteY1594" fmla="*/ 621068 h 1002999"/>
                <a:gd name="connsiteX1595" fmla="*/ 415788 w 1357518"/>
                <a:gd name="connsiteY1595" fmla="*/ 619746 h 1002999"/>
                <a:gd name="connsiteX1596" fmla="*/ 413108 w 1357518"/>
                <a:gd name="connsiteY1596" fmla="*/ 617881 h 1002999"/>
                <a:gd name="connsiteX1597" fmla="*/ 408516 w 1357518"/>
                <a:gd name="connsiteY1597" fmla="*/ 613773 h 1002999"/>
                <a:gd name="connsiteX1598" fmla="*/ 405025 w 1357518"/>
                <a:gd name="connsiteY1598" fmla="*/ 610340 h 1002999"/>
                <a:gd name="connsiteX1599" fmla="*/ 404371 w 1357518"/>
                <a:gd name="connsiteY1599" fmla="*/ 608640 h 1002999"/>
                <a:gd name="connsiteX1600" fmla="*/ 406422 w 1357518"/>
                <a:gd name="connsiteY1600" fmla="*/ 606539 h 1002999"/>
                <a:gd name="connsiteX1601" fmla="*/ 408510 w 1357518"/>
                <a:gd name="connsiteY1601" fmla="*/ 605028 h 1002999"/>
                <a:gd name="connsiteX1602" fmla="*/ 412440 w 1357518"/>
                <a:gd name="connsiteY1602" fmla="*/ 603785 h 1002999"/>
                <a:gd name="connsiteX1603" fmla="*/ 419221 w 1357518"/>
                <a:gd name="connsiteY1603" fmla="*/ 604196 h 1002999"/>
                <a:gd name="connsiteX1604" fmla="*/ 422864 w 1357518"/>
                <a:gd name="connsiteY1604" fmla="*/ 604751 h 1002999"/>
                <a:gd name="connsiteX1605" fmla="*/ 426874 w 1357518"/>
                <a:gd name="connsiteY1605" fmla="*/ 605937 h 1002999"/>
                <a:gd name="connsiteX1606" fmla="*/ 429905 w 1357518"/>
                <a:gd name="connsiteY1606" fmla="*/ 606160 h 1002999"/>
                <a:gd name="connsiteX1607" fmla="*/ 436200 w 1357518"/>
                <a:gd name="connsiteY1607" fmla="*/ 605825 h 1002999"/>
                <a:gd name="connsiteX1608" fmla="*/ 442598 w 1357518"/>
                <a:gd name="connsiteY1608" fmla="*/ 606580 h 1002999"/>
                <a:gd name="connsiteX1609" fmla="*/ 446391 w 1357518"/>
                <a:gd name="connsiteY1609" fmla="*/ 607410 h 1002999"/>
                <a:gd name="connsiteX1610" fmla="*/ 451371 w 1357518"/>
                <a:gd name="connsiteY1610" fmla="*/ 609142 h 1002999"/>
                <a:gd name="connsiteX1611" fmla="*/ 465112 w 1357518"/>
                <a:gd name="connsiteY1611" fmla="*/ 616491 h 1002999"/>
                <a:gd name="connsiteX1612" fmla="*/ 470846 w 1357518"/>
                <a:gd name="connsiteY1612" fmla="*/ 619037 h 1002999"/>
                <a:gd name="connsiteX1613" fmla="*/ 473339 w 1357518"/>
                <a:gd name="connsiteY1613" fmla="*/ 619343 h 1002999"/>
                <a:gd name="connsiteX1614" fmla="*/ 483618 w 1357518"/>
                <a:gd name="connsiteY1614" fmla="*/ 622061 h 1002999"/>
                <a:gd name="connsiteX1615" fmla="*/ 485266 w 1357518"/>
                <a:gd name="connsiteY1615" fmla="*/ 622010 h 1002999"/>
                <a:gd name="connsiteX1616" fmla="*/ 489472 w 1357518"/>
                <a:gd name="connsiteY1616" fmla="*/ 620736 h 1002999"/>
                <a:gd name="connsiteX1617" fmla="*/ 489889 w 1357518"/>
                <a:gd name="connsiteY1617" fmla="*/ 619910 h 1002999"/>
                <a:gd name="connsiteX1618" fmla="*/ 488468 w 1357518"/>
                <a:gd name="connsiteY1618" fmla="*/ 619095 h 1002999"/>
                <a:gd name="connsiteX1619" fmla="*/ 483932 w 1357518"/>
                <a:gd name="connsiteY1619" fmla="*/ 618462 h 1002999"/>
                <a:gd name="connsiteX1620" fmla="*/ 478610 w 1357518"/>
                <a:gd name="connsiteY1620" fmla="*/ 615456 h 1002999"/>
                <a:gd name="connsiteX1621" fmla="*/ 475304 w 1357518"/>
                <a:gd name="connsiteY1621" fmla="*/ 613069 h 1002999"/>
                <a:gd name="connsiteX1622" fmla="*/ 474928 w 1357518"/>
                <a:gd name="connsiteY1622" fmla="*/ 609111 h 1002999"/>
                <a:gd name="connsiteX1623" fmla="*/ 475358 w 1357518"/>
                <a:gd name="connsiteY1623" fmla="*/ 606890 h 1002999"/>
                <a:gd name="connsiteX1624" fmla="*/ 476190 w 1357518"/>
                <a:gd name="connsiteY1624" fmla="*/ 605880 h 1002999"/>
                <a:gd name="connsiteX1625" fmla="*/ 476770 w 1357518"/>
                <a:gd name="connsiteY1625" fmla="*/ 602475 h 1002999"/>
                <a:gd name="connsiteX1626" fmla="*/ 473685 w 1357518"/>
                <a:gd name="connsiteY1626" fmla="*/ 600447 h 1002999"/>
                <a:gd name="connsiteX1627" fmla="*/ 471530 w 1357518"/>
                <a:gd name="connsiteY1627" fmla="*/ 599807 h 1002999"/>
                <a:gd name="connsiteX1628" fmla="*/ 465800 w 1357518"/>
                <a:gd name="connsiteY1628" fmla="*/ 596848 h 1002999"/>
                <a:gd name="connsiteX1629" fmla="*/ 465322 w 1357518"/>
                <a:gd name="connsiteY1629" fmla="*/ 596113 h 1002999"/>
                <a:gd name="connsiteX1630" fmla="*/ 468068 w 1357518"/>
                <a:gd name="connsiteY1630" fmla="*/ 595766 h 1002999"/>
                <a:gd name="connsiteX1631" fmla="*/ 470759 w 1357518"/>
                <a:gd name="connsiteY1631" fmla="*/ 595969 h 1002999"/>
                <a:gd name="connsiteX1632" fmla="*/ 476537 w 1357518"/>
                <a:gd name="connsiteY1632" fmla="*/ 597469 h 1002999"/>
                <a:gd name="connsiteX1633" fmla="*/ 479567 w 1357518"/>
                <a:gd name="connsiteY1633" fmla="*/ 597676 h 1002999"/>
                <a:gd name="connsiteX1634" fmla="*/ 481771 w 1357518"/>
                <a:gd name="connsiteY1634" fmla="*/ 597089 h 1002999"/>
                <a:gd name="connsiteX1635" fmla="*/ 482025 w 1357518"/>
                <a:gd name="connsiteY1635" fmla="*/ 596482 h 1002999"/>
                <a:gd name="connsiteX1636" fmla="*/ 478512 w 1357518"/>
                <a:gd name="connsiteY1636" fmla="*/ 594779 h 1002999"/>
                <a:gd name="connsiteX1637" fmla="*/ 474115 w 1357518"/>
                <a:gd name="connsiteY1637" fmla="*/ 591721 h 1002999"/>
                <a:gd name="connsiteX1638" fmla="*/ 464933 w 1357518"/>
                <a:gd name="connsiteY1638" fmla="*/ 591273 h 1002999"/>
                <a:gd name="connsiteX1639" fmla="*/ 458974 w 1357518"/>
                <a:gd name="connsiteY1639" fmla="*/ 591617 h 1002999"/>
                <a:gd name="connsiteX1640" fmla="*/ 455166 w 1357518"/>
                <a:gd name="connsiteY1640" fmla="*/ 590566 h 1002999"/>
                <a:gd name="connsiteX1641" fmla="*/ 451113 w 1357518"/>
                <a:gd name="connsiteY1641" fmla="*/ 588859 h 1002999"/>
                <a:gd name="connsiteX1642" fmla="*/ 448511 w 1357518"/>
                <a:gd name="connsiteY1642" fmla="*/ 588423 h 1002999"/>
                <a:gd name="connsiteX1643" fmla="*/ 443194 w 1357518"/>
                <a:gd name="connsiteY1643" fmla="*/ 589494 h 1002999"/>
                <a:gd name="connsiteX1644" fmla="*/ 440504 w 1357518"/>
                <a:gd name="connsiteY1644" fmla="*/ 589629 h 1002999"/>
                <a:gd name="connsiteX1645" fmla="*/ 438052 w 1357518"/>
                <a:gd name="connsiteY1645" fmla="*/ 589253 h 1002999"/>
                <a:gd name="connsiteX1646" fmla="*/ 435631 w 1357518"/>
                <a:gd name="connsiteY1646" fmla="*/ 583857 h 1002999"/>
                <a:gd name="connsiteX1647" fmla="*/ 436276 w 1357518"/>
                <a:gd name="connsiteY1647" fmla="*/ 582236 h 1002999"/>
                <a:gd name="connsiteX1648" fmla="*/ 438173 w 1357518"/>
                <a:gd name="connsiteY1648" fmla="*/ 581535 h 1002999"/>
                <a:gd name="connsiteX1649" fmla="*/ 439606 w 1357518"/>
                <a:gd name="connsiteY1649" fmla="*/ 579789 h 1002999"/>
                <a:gd name="connsiteX1650" fmla="*/ 440611 w 1357518"/>
                <a:gd name="connsiteY1650" fmla="*/ 577962 h 1002999"/>
                <a:gd name="connsiteX1651" fmla="*/ 443760 w 1357518"/>
                <a:gd name="connsiteY1651" fmla="*/ 576173 h 1002999"/>
                <a:gd name="connsiteX1652" fmla="*/ 461055 w 1357518"/>
                <a:gd name="connsiteY1652" fmla="*/ 572184 h 1002999"/>
                <a:gd name="connsiteX1653" fmla="*/ 465419 w 1357518"/>
                <a:gd name="connsiteY1653" fmla="*/ 569212 h 1002999"/>
                <a:gd name="connsiteX1654" fmla="*/ 465226 w 1357518"/>
                <a:gd name="connsiteY1654" fmla="*/ 568754 h 1002999"/>
                <a:gd name="connsiteX1655" fmla="*/ 462283 w 1357518"/>
                <a:gd name="connsiteY1655" fmla="*/ 569306 h 1002999"/>
                <a:gd name="connsiteX1656" fmla="*/ 458519 w 1357518"/>
                <a:gd name="connsiteY1656" fmla="*/ 570646 h 1002999"/>
                <a:gd name="connsiteX1657" fmla="*/ 456002 w 1357518"/>
                <a:gd name="connsiteY1657" fmla="*/ 570921 h 1002999"/>
                <a:gd name="connsiteX1658" fmla="*/ 445819 w 1357518"/>
                <a:gd name="connsiteY1658" fmla="*/ 569190 h 1002999"/>
                <a:gd name="connsiteX1659" fmla="*/ 444232 w 1357518"/>
                <a:gd name="connsiteY1659" fmla="*/ 569584 h 1002999"/>
                <a:gd name="connsiteX1660" fmla="*/ 440109 w 1357518"/>
                <a:gd name="connsiteY1660" fmla="*/ 572070 h 1002999"/>
                <a:gd name="connsiteX1661" fmla="*/ 434515 w 1357518"/>
                <a:gd name="connsiteY1661" fmla="*/ 574767 h 1002999"/>
                <a:gd name="connsiteX1662" fmla="*/ 431937 w 1357518"/>
                <a:gd name="connsiteY1662" fmla="*/ 574604 h 1002999"/>
                <a:gd name="connsiteX1663" fmla="*/ 428488 w 1357518"/>
                <a:gd name="connsiteY1663" fmla="*/ 573007 h 1002999"/>
                <a:gd name="connsiteX1664" fmla="*/ 427940 w 1357518"/>
                <a:gd name="connsiteY1664" fmla="*/ 571871 h 1002999"/>
                <a:gd name="connsiteX1665" fmla="*/ 427693 w 1357518"/>
                <a:gd name="connsiteY1665" fmla="*/ 570504 h 1002999"/>
                <a:gd name="connsiteX1666" fmla="*/ 431481 w 1357518"/>
                <a:gd name="connsiteY1666" fmla="*/ 568631 h 1002999"/>
                <a:gd name="connsiteX1667" fmla="*/ 432698 w 1357518"/>
                <a:gd name="connsiteY1667" fmla="*/ 567637 h 1002999"/>
                <a:gd name="connsiteX1668" fmla="*/ 435148 w 1357518"/>
                <a:gd name="connsiteY1668" fmla="*/ 564968 h 1002999"/>
                <a:gd name="connsiteX1669" fmla="*/ 435023 w 1357518"/>
                <a:gd name="connsiteY1669" fmla="*/ 563644 h 1002999"/>
                <a:gd name="connsiteX1670" fmla="*/ 430841 w 1357518"/>
                <a:gd name="connsiteY1670" fmla="*/ 564370 h 1002999"/>
                <a:gd name="connsiteX1671" fmla="*/ 430295 w 1357518"/>
                <a:gd name="connsiteY1671" fmla="*/ 563142 h 1002999"/>
                <a:gd name="connsiteX1672" fmla="*/ 430363 w 1357518"/>
                <a:gd name="connsiteY1672" fmla="*/ 561034 h 1002999"/>
                <a:gd name="connsiteX1673" fmla="*/ 429957 w 1357518"/>
                <a:gd name="connsiteY1673" fmla="*/ 558363 h 1002999"/>
                <a:gd name="connsiteX1674" fmla="*/ 428929 w 1357518"/>
                <a:gd name="connsiteY1674" fmla="*/ 555724 h 1002999"/>
                <a:gd name="connsiteX1675" fmla="*/ 425496 w 1357518"/>
                <a:gd name="connsiteY1675" fmla="*/ 551663 h 1002999"/>
                <a:gd name="connsiteX1676" fmla="*/ 424072 w 1357518"/>
                <a:gd name="connsiteY1676" fmla="*/ 550617 h 1002999"/>
                <a:gd name="connsiteX1677" fmla="*/ 422898 w 1357518"/>
                <a:gd name="connsiteY1677" fmla="*/ 549113 h 1002999"/>
                <a:gd name="connsiteX1678" fmla="*/ 420311 w 1357518"/>
                <a:gd name="connsiteY1678" fmla="*/ 543600 h 1002999"/>
                <a:gd name="connsiteX1679" fmla="*/ 421061 w 1357518"/>
                <a:gd name="connsiteY1679" fmla="*/ 542219 h 1002999"/>
                <a:gd name="connsiteX1680" fmla="*/ 423359 w 1357518"/>
                <a:gd name="connsiteY1680" fmla="*/ 541171 h 1002999"/>
                <a:gd name="connsiteX1681" fmla="*/ 423799 w 1357518"/>
                <a:gd name="connsiteY1681" fmla="*/ 540688 h 1002999"/>
                <a:gd name="connsiteX1682" fmla="*/ 418306 w 1357518"/>
                <a:gd name="connsiteY1682" fmla="*/ 541557 h 1002999"/>
                <a:gd name="connsiteX1683" fmla="*/ 417705 w 1357518"/>
                <a:gd name="connsiteY1683" fmla="*/ 542511 h 1002999"/>
                <a:gd name="connsiteX1684" fmla="*/ 418740 w 1357518"/>
                <a:gd name="connsiteY1684" fmla="*/ 543917 h 1002999"/>
                <a:gd name="connsiteX1685" fmla="*/ 419480 w 1357518"/>
                <a:gd name="connsiteY1685" fmla="*/ 545790 h 1002999"/>
                <a:gd name="connsiteX1686" fmla="*/ 419921 w 1357518"/>
                <a:gd name="connsiteY1686" fmla="*/ 548128 h 1002999"/>
                <a:gd name="connsiteX1687" fmla="*/ 420687 w 1357518"/>
                <a:gd name="connsiteY1687" fmla="*/ 550173 h 1002999"/>
                <a:gd name="connsiteX1688" fmla="*/ 422676 w 1357518"/>
                <a:gd name="connsiteY1688" fmla="*/ 552408 h 1002999"/>
                <a:gd name="connsiteX1689" fmla="*/ 424267 w 1357518"/>
                <a:gd name="connsiteY1689" fmla="*/ 553587 h 1002999"/>
                <a:gd name="connsiteX1690" fmla="*/ 426861 w 1357518"/>
                <a:gd name="connsiteY1690" fmla="*/ 556692 h 1002999"/>
                <a:gd name="connsiteX1691" fmla="*/ 427992 w 1357518"/>
                <a:gd name="connsiteY1691" fmla="*/ 560101 h 1002999"/>
                <a:gd name="connsiteX1692" fmla="*/ 427659 w 1357518"/>
                <a:gd name="connsiteY1692" fmla="*/ 561895 h 1002999"/>
                <a:gd name="connsiteX1693" fmla="*/ 425645 w 1357518"/>
                <a:gd name="connsiteY1693" fmla="*/ 563720 h 1002999"/>
                <a:gd name="connsiteX1694" fmla="*/ 422400 w 1357518"/>
                <a:gd name="connsiteY1694" fmla="*/ 565687 h 1002999"/>
                <a:gd name="connsiteX1695" fmla="*/ 421417 w 1357518"/>
                <a:gd name="connsiteY1695" fmla="*/ 567314 h 1002999"/>
                <a:gd name="connsiteX1696" fmla="*/ 420979 w 1357518"/>
                <a:gd name="connsiteY1696" fmla="*/ 568934 h 1002999"/>
                <a:gd name="connsiteX1697" fmla="*/ 418449 w 1357518"/>
                <a:gd name="connsiteY1697" fmla="*/ 570430 h 1002999"/>
                <a:gd name="connsiteX1698" fmla="*/ 416895 w 1357518"/>
                <a:gd name="connsiteY1698" fmla="*/ 569870 h 1002999"/>
                <a:gd name="connsiteX1699" fmla="*/ 415667 w 1357518"/>
                <a:gd name="connsiteY1699" fmla="*/ 569780 h 1002999"/>
                <a:gd name="connsiteX1700" fmla="*/ 417118 w 1357518"/>
                <a:gd name="connsiteY1700" fmla="*/ 572448 h 1002999"/>
                <a:gd name="connsiteX1701" fmla="*/ 418051 w 1357518"/>
                <a:gd name="connsiteY1701" fmla="*/ 575176 h 1002999"/>
                <a:gd name="connsiteX1702" fmla="*/ 416925 w 1357518"/>
                <a:gd name="connsiteY1702" fmla="*/ 577908 h 1002999"/>
                <a:gd name="connsiteX1703" fmla="*/ 413919 w 1357518"/>
                <a:gd name="connsiteY1703" fmla="*/ 579559 h 1002999"/>
                <a:gd name="connsiteX1704" fmla="*/ 412288 w 1357518"/>
                <a:gd name="connsiteY1704" fmla="*/ 579608 h 1002999"/>
                <a:gd name="connsiteX1705" fmla="*/ 409081 w 1357518"/>
                <a:gd name="connsiteY1705" fmla="*/ 580944 h 1002999"/>
                <a:gd name="connsiteX1706" fmla="*/ 400870 w 1357518"/>
                <a:gd name="connsiteY1706" fmla="*/ 581646 h 1002999"/>
                <a:gd name="connsiteX1707" fmla="*/ 398012 w 1357518"/>
                <a:gd name="connsiteY1707" fmla="*/ 581318 h 1002999"/>
                <a:gd name="connsiteX1708" fmla="*/ 392770 w 1357518"/>
                <a:gd name="connsiteY1708" fmla="*/ 579962 h 1002999"/>
                <a:gd name="connsiteX1709" fmla="*/ 386556 w 1357518"/>
                <a:gd name="connsiteY1709" fmla="*/ 579222 h 1002999"/>
                <a:gd name="connsiteX1710" fmla="*/ 384091 w 1357518"/>
                <a:gd name="connsiteY1710" fmla="*/ 577386 h 1002999"/>
                <a:gd name="connsiteX1711" fmla="*/ 380859 w 1357518"/>
                <a:gd name="connsiteY1711" fmla="*/ 574049 h 1002999"/>
                <a:gd name="connsiteX1712" fmla="*/ 379228 w 1357518"/>
                <a:gd name="connsiteY1712" fmla="*/ 571054 h 1002999"/>
                <a:gd name="connsiteX1713" fmla="*/ 379194 w 1357518"/>
                <a:gd name="connsiteY1713" fmla="*/ 568401 h 1002999"/>
                <a:gd name="connsiteX1714" fmla="*/ 380069 w 1357518"/>
                <a:gd name="connsiteY1714" fmla="*/ 566469 h 1002999"/>
                <a:gd name="connsiteX1715" fmla="*/ 381851 w 1357518"/>
                <a:gd name="connsiteY1715" fmla="*/ 565252 h 1002999"/>
                <a:gd name="connsiteX1716" fmla="*/ 383990 w 1357518"/>
                <a:gd name="connsiteY1716" fmla="*/ 557460 h 1002999"/>
                <a:gd name="connsiteX1717" fmla="*/ 387017 w 1357518"/>
                <a:gd name="connsiteY1717" fmla="*/ 551140 h 1002999"/>
                <a:gd name="connsiteX1718" fmla="*/ 394638 w 1357518"/>
                <a:gd name="connsiteY1718" fmla="*/ 544604 h 1002999"/>
                <a:gd name="connsiteX1719" fmla="*/ 396812 w 1357518"/>
                <a:gd name="connsiteY1719" fmla="*/ 542235 h 1002999"/>
                <a:gd name="connsiteX1720" fmla="*/ 397530 w 1357518"/>
                <a:gd name="connsiteY1720" fmla="*/ 540960 h 1002999"/>
                <a:gd name="connsiteX1721" fmla="*/ 397519 w 1357518"/>
                <a:gd name="connsiteY1721" fmla="*/ 539991 h 1002999"/>
                <a:gd name="connsiteX1722" fmla="*/ 396287 w 1357518"/>
                <a:gd name="connsiteY1722" fmla="*/ 539376 h 1002999"/>
                <a:gd name="connsiteX1723" fmla="*/ 386916 w 1357518"/>
                <a:gd name="connsiteY1723" fmla="*/ 547460 h 1002999"/>
                <a:gd name="connsiteX1724" fmla="*/ 381138 w 1357518"/>
                <a:gd name="connsiteY1724" fmla="*/ 548318 h 1002999"/>
                <a:gd name="connsiteX1725" fmla="*/ 379413 w 1357518"/>
                <a:gd name="connsiteY1725" fmla="*/ 546505 h 1002999"/>
                <a:gd name="connsiteX1726" fmla="*/ 379935 w 1357518"/>
                <a:gd name="connsiteY1726" fmla="*/ 543274 h 1002999"/>
                <a:gd name="connsiteX1727" fmla="*/ 380964 w 1357518"/>
                <a:gd name="connsiteY1727" fmla="*/ 542524 h 1002999"/>
                <a:gd name="connsiteX1728" fmla="*/ 385638 w 1357518"/>
                <a:gd name="connsiteY1728" fmla="*/ 542830 h 1002999"/>
                <a:gd name="connsiteX1729" fmla="*/ 387456 w 1357518"/>
                <a:gd name="connsiteY1729" fmla="*/ 541031 h 1002999"/>
                <a:gd name="connsiteX1730" fmla="*/ 384531 w 1357518"/>
                <a:gd name="connsiteY1730" fmla="*/ 538306 h 1002999"/>
                <a:gd name="connsiteX1731" fmla="*/ 381419 w 1357518"/>
                <a:gd name="connsiteY1731" fmla="*/ 537592 h 1002999"/>
                <a:gd name="connsiteX1732" fmla="*/ 380690 w 1357518"/>
                <a:gd name="connsiteY1732" fmla="*/ 536906 h 1002999"/>
                <a:gd name="connsiteX1733" fmla="*/ 383894 w 1357518"/>
                <a:gd name="connsiteY1733" fmla="*/ 534829 h 1002999"/>
                <a:gd name="connsiteX1734" fmla="*/ 391300 w 1357518"/>
                <a:gd name="connsiteY1734" fmla="*/ 534982 h 1002999"/>
                <a:gd name="connsiteX1735" fmla="*/ 392972 w 1357518"/>
                <a:gd name="connsiteY1735" fmla="*/ 533529 h 1002999"/>
                <a:gd name="connsiteX1736" fmla="*/ 395654 w 1357518"/>
                <a:gd name="connsiteY1736" fmla="*/ 531960 h 1002999"/>
                <a:gd name="connsiteX1737" fmla="*/ 398630 w 1357518"/>
                <a:gd name="connsiteY1737" fmla="*/ 529047 h 1002999"/>
                <a:gd name="connsiteX1738" fmla="*/ 399743 w 1357518"/>
                <a:gd name="connsiteY1738" fmla="*/ 526593 h 1002999"/>
                <a:gd name="connsiteX1739" fmla="*/ 399994 w 1357518"/>
                <a:gd name="connsiteY1739" fmla="*/ 524484 h 1002999"/>
                <a:gd name="connsiteX1740" fmla="*/ 399353 w 1357518"/>
                <a:gd name="connsiteY1740" fmla="*/ 522781 h 1002999"/>
                <a:gd name="connsiteX1741" fmla="*/ 399283 w 1357518"/>
                <a:gd name="connsiteY1741" fmla="*/ 521071 h 1002999"/>
                <a:gd name="connsiteX1742" fmla="*/ 399790 w 1357518"/>
                <a:gd name="connsiteY1742" fmla="*/ 519356 h 1002999"/>
                <a:gd name="connsiteX1743" fmla="*/ 399012 w 1357518"/>
                <a:gd name="connsiteY1743" fmla="*/ 517459 h 1002999"/>
                <a:gd name="connsiteX1744" fmla="*/ 396953 w 1357518"/>
                <a:gd name="connsiteY1744" fmla="*/ 515383 h 1002999"/>
                <a:gd name="connsiteX1745" fmla="*/ 392379 w 1357518"/>
                <a:gd name="connsiteY1745" fmla="*/ 513345 h 1002999"/>
                <a:gd name="connsiteX1746" fmla="*/ 391032 w 1357518"/>
                <a:gd name="connsiteY1746" fmla="*/ 515644 h 1002999"/>
                <a:gd name="connsiteX1747" fmla="*/ 389607 w 1357518"/>
                <a:gd name="connsiteY1747" fmla="*/ 516589 h 1002999"/>
                <a:gd name="connsiteX1748" fmla="*/ 387606 w 1357518"/>
                <a:gd name="connsiteY1748" fmla="*/ 516801 h 1002999"/>
                <a:gd name="connsiteX1749" fmla="*/ 385760 w 1357518"/>
                <a:gd name="connsiteY1749" fmla="*/ 515834 h 1002999"/>
                <a:gd name="connsiteX1750" fmla="*/ 383834 w 1357518"/>
                <a:gd name="connsiteY1750" fmla="*/ 515486 h 1002999"/>
                <a:gd name="connsiteX1751" fmla="*/ 381941 w 1357518"/>
                <a:gd name="connsiteY1751" fmla="*/ 514621 h 1002999"/>
                <a:gd name="connsiteX1752" fmla="*/ 379976 w 1357518"/>
                <a:gd name="connsiteY1752" fmla="*/ 514347 h 1002999"/>
                <a:gd name="connsiteX1753" fmla="*/ 379212 w 1357518"/>
                <a:gd name="connsiteY1753" fmla="*/ 513650 h 1002999"/>
                <a:gd name="connsiteX1754" fmla="*/ 378719 w 1357518"/>
                <a:gd name="connsiteY1754" fmla="*/ 511700 h 1002999"/>
                <a:gd name="connsiteX1755" fmla="*/ 378676 w 1357518"/>
                <a:gd name="connsiteY1755" fmla="*/ 509216 h 1002999"/>
                <a:gd name="connsiteX1756" fmla="*/ 380898 w 1357518"/>
                <a:gd name="connsiteY1756" fmla="*/ 508055 h 1002999"/>
                <a:gd name="connsiteX1757" fmla="*/ 383993 w 1357518"/>
                <a:gd name="connsiteY1757" fmla="*/ 507139 h 1002999"/>
                <a:gd name="connsiteX1758" fmla="*/ 386063 w 1357518"/>
                <a:gd name="connsiteY1758" fmla="*/ 505401 h 1002999"/>
                <a:gd name="connsiteX1759" fmla="*/ 387424 w 1357518"/>
                <a:gd name="connsiteY1759" fmla="*/ 502882 h 1002999"/>
                <a:gd name="connsiteX1760" fmla="*/ 387620 w 1357518"/>
                <a:gd name="connsiteY1760" fmla="*/ 500129 h 1002999"/>
                <a:gd name="connsiteX1761" fmla="*/ 386653 w 1357518"/>
                <a:gd name="connsiteY1761" fmla="*/ 497140 h 1002999"/>
                <a:gd name="connsiteX1762" fmla="*/ 384140 w 1357518"/>
                <a:gd name="connsiteY1762" fmla="*/ 494449 h 1002999"/>
                <a:gd name="connsiteX1763" fmla="*/ 379485 w 1357518"/>
                <a:gd name="connsiteY1763" fmla="*/ 497067 h 1002999"/>
                <a:gd name="connsiteX1764" fmla="*/ 377657 w 1357518"/>
                <a:gd name="connsiteY1764" fmla="*/ 497709 h 1002999"/>
                <a:gd name="connsiteX1765" fmla="*/ 377236 w 1357518"/>
                <a:gd name="connsiteY1765" fmla="*/ 495837 h 1002999"/>
                <a:gd name="connsiteX1766" fmla="*/ 376592 w 1357518"/>
                <a:gd name="connsiteY1766" fmla="*/ 494449 h 1002999"/>
                <a:gd name="connsiteX1767" fmla="*/ 374635 w 1357518"/>
                <a:gd name="connsiteY1767" fmla="*/ 492566 h 1002999"/>
                <a:gd name="connsiteX1768" fmla="*/ 372060 w 1357518"/>
                <a:gd name="connsiteY1768" fmla="*/ 491191 h 1002999"/>
                <a:gd name="connsiteX1769" fmla="*/ 369582 w 1357518"/>
                <a:gd name="connsiteY1769" fmla="*/ 490279 h 1002999"/>
                <a:gd name="connsiteX1770" fmla="*/ 369469 w 1357518"/>
                <a:gd name="connsiteY1770" fmla="*/ 488885 h 1002999"/>
                <a:gd name="connsiteX1771" fmla="*/ 370056 w 1357518"/>
                <a:gd name="connsiteY1771" fmla="*/ 487314 h 1002999"/>
                <a:gd name="connsiteX1772" fmla="*/ 371153 w 1357518"/>
                <a:gd name="connsiteY1772" fmla="*/ 485479 h 1002999"/>
                <a:gd name="connsiteX1773" fmla="*/ 372581 w 1357518"/>
                <a:gd name="connsiteY1773" fmla="*/ 481651 h 1002999"/>
                <a:gd name="connsiteX1774" fmla="*/ 374153 w 1357518"/>
                <a:gd name="connsiteY1774" fmla="*/ 481992 h 1002999"/>
                <a:gd name="connsiteX1775" fmla="*/ 375459 w 1357518"/>
                <a:gd name="connsiteY1775" fmla="*/ 481644 h 1002999"/>
                <a:gd name="connsiteX1776" fmla="*/ 374704 w 1357518"/>
                <a:gd name="connsiteY1776" fmla="*/ 478475 h 1002999"/>
                <a:gd name="connsiteX1777" fmla="*/ 373442 w 1357518"/>
                <a:gd name="connsiteY1777" fmla="*/ 475808 h 1002999"/>
                <a:gd name="connsiteX1778" fmla="*/ 371960 w 1357518"/>
                <a:gd name="connsiteY1778" fmla="*/ 474291 h 1002999"/>
                <a:gd name="connsiteX1779" fmla="*/ 371907 w 1357518"/>
                <a:gd name="connsiteY1779" fmla="*/ 473630 h 1002999"/>
                <a:gd name="connsiteX1780" fmla="*/ 371563 w 1357518"/>
                <a:gd name="connsiteY1780" fmla="*/ 472857 h 1002999"/>
                <a:gd name="connsiteX1781" fmla="*/ 370419 w 1357518"/>
                <a:gd name="connsiteY1781" fmla="*/ 470982 h 1002999"/>
                <a:gd name="connsiteX1782" fmla="*/ 369136 w 1357518"/>
                <a:gd name="connsiteY1782" fmla="*/ 469609 h 1002999"/>
                <a:gd name="connsiteX1783" fmla="*/ 366899 w 1357518"/>
                <a:gd name="connsiteY1783" fmla="*/ 465713 h 1002999"/>
                <a:gd name="connsiteX1784" fmla="*/ 365283 w 1357518"/>
                <a:gd name="connsiteY1784" fmla="*/ 464226 h 1002999"/>
                <a:gd name="connsiteX1785" fmla="*/ 363211 w 1357518"/>
                <a:gd name="connsiteY1785" fmla="*/ 463455 h 1002999"/>
                <a:gd name="connsiteX1786" fmla="*/ 360978 w 1357518"/>
                <a:gd name="connsiteY1786" fmla="*/ 463413 h 1002999"/>
                <a:gd name="connsiteX1787" fmla="*/ 357395 w 1357518"/>
                <a:gd name="connsiteY1787" fmla="*/ 464437 h 1002999"/>
                <a:gd name="connsiteX1788" fmla="*/ 350781 w 1357518"/>
                <a:gd name="connsiteY1788" fmla="*/ 465622 h 1002999"/>
                <a:gd name="connsiteX1789" fmla="*/ 345545 w 1357518"/>
                <a:gd name="connsiteY1789" fmla="*/ 466185 h 1002999"/>
                <a:gd name="connsiteX1790" fmla="*/ 344672 w 1357518"/>
                <a:gd name="connsiteY1790" fmla="*/ 465878 h 1002999"/>
                <a:gd name="connsiteX1791" fmla="*/ 347292 w 1357518"/>
                <a:gd name="connsiteY1791" fmla="*/ 464397 h 1002999"/>
                <a:gd name="connsiteX1792" fmla="*/ 351153 w 1357518"/>
                <a:gd name="connsiteY1792" fmla="*/ 462854 h 1002999"/>
                <a:gd name="connsiteX1793" fmla="*/ 356264 w 1357518"/>
                <a:gd name="connsiteY1793" fmla="*/ 461807 h 1002999"/>
                <a:gd name="connsiteX1794" fmla="*/ 357754 w 1357518"/>
                <a:gd name="connsiteY1794" fmla="*/ 459236 h 1002999"/>
                <a:gd name="connsiteX1795" fmla="*/ 357202 w 1357518"/>
                <a:gd name="connsiteY1795" fmla="*/ 457008 h 1002999"/>
                <a:gd name="connsiteX1796" fmla="*/ 357415 w 1357518"/>
                <a:gd name="connsiteY1796" fmla="*/ 454895 h 1002999"/>
                <a:gd name="connsiteX1797" fmla="*/ 356013 w 1357518"/>
                <a:gd name="connsiteY1797" fmla="*/ 452666 h 1002999"/>
                <a:gd name="connsiteX1798" fmla="*/ 357377 w 1357518"/>
                <a:gd name="connsiteY1798" fmla="*/ 451430 h 1002999"/>
                <a:gd name="connsiteX1799" fmla="*/ 362030 w 1357518"/>
                <a:gd name="connsiteY1799" fmla="*/ 450185 h 1002999"/>
                <a:gd name="connsiteX1800" fmla="*/ 364137 w 1357518"/>
                <a:gd name="connsiteY1800" fmla="*/ 449993 h 1002999"/>
                <a:gd name="connsiteX1801" fmla="*/ 366234 w 1357518"/>
                <a:gd name="connsiteY1801" fmla="*/ 448405 h 1002999"/>
                <a:gd name="connsiteX1802" fmla="*/ 360339 w 1357518"/>
                <a:gd name="connsiteY1802" fmla="*/ 444575 h 1002999"/>
                <a:gd name="connsiteX1803" fmla="*/ 354164 w 1357518"/>
                <a:gd name="connsiteY1803" fmla="*/ 442060 h 1002999"/>
                <a:gd name="connsiteX1804" fmla="*/ 352620 w 1357518"/>
                <a:gd name="connsiteY1804" fmla="*/ 441038 h 1002999"/>
                <a:gd name="connsiteX1805" fmla="*/ 351262 w 1357518"/>
                <a:gd name="connsiteY1805" fmla="*/ 439352 h 1002999"/>
                <a:gd name="connsiteX1806" fmla="*/ 350090 w 1357518"/>
                <a:gd name="connsiteY1806" fmla="*/ 437003 h 1002999"/>
                <a:gd name="connsiteX1807" fmla="*/ 348186 w 1357518"/>
                <a:gd name="connsiteY1807" fmla="*/ 434649 h 1002999"/>
                <a:gd name="connsiteX1808" fmla="*/ 345550 w 1357518"/>
                <a:gd name="connsiteY1808" fmla="*/ 432290 h 1002999"/>
                <a:gd name="connsiteX1809" fmla="*/ 341704 w 1357518"/>
                <a:gd name="connsiteY1809" fmla="*/ 430008 h 1002999"/>
                <a:gd name="connsiteX1810" fmla="*/ 331790 w 1357518"/>
                <a:gd name="connsiteY1810" fmla="*/ 425828 h 1002999"/>
                <a:gd name="connsiteX1811" fmla="*/ 328386 w 1357518"/>
                <a:gd name="connsiteY1811" fmla="*/ 422940 h 1002999"/>
                <a:gd name="connsiteX1812" fmla="*/ 325252 w 1357518"/>
                <a:gd name="connsiteY1812" fmla="*/ 418512 h 1002999"/>
                <a:gd name="connsiteX1813" fmla="*/ 323685 w 1357518"/>
                <a:gd name="connsiteY1813" fmla="*/ 416621 h 1002999"/>
                <a:gd name="connsiteX1814" fmla="*/ 322057 w 1357518"/>
                <a:gd name="connsiteY1814" fmla="*/ 415219 h 1002999"/>
                <a:gd name="connsiteX1815" fmla="*/ 315153 w 1357518"/>
                <a:gd name="connsiteY1815" fmla="*/ 411931 h 1002999"/>
                <a:gd name="connsiteX1816" fmla="*/ 314315 w 1357518"/>
                <a:gd name="connsiteY1816" fmla="*/ 410478 h 1002999"/>
                <a:gd name="connsiteX1817" fmla="*/ 321441 w 1357518"/>
                <a:gd name="connsiteY1817" fmla="*/ 406600 h 1002999"/>
                <a:gd name="connsiteX1818" fmla="*/ 322138 w 1357518"/>
                <a:gd name="connsiteY1818" fmla="*/ 405051 h 1002999"/>
                <a:gd name="connsiteX1819" fmla="*/ 319227 w 1357518"/>
                <a:gd name="connsiteY1819" fmla="*/ 400329 h 1002999"/>
                <a:gd name="connsiteX1820" fmla="*/ 316244 w 1357518"/>
                <a:gd name="connsiteY1820" fmla="*/ 396867 h 1002999"/>
                <a:gd name="connsiteX1821" fmla="*/ 312996 w 1357518"/>
                <a:gd name="connsiteY1821" fmla="*/ 395637 h 1002999"/>
                <a:gd name="connsiteX1822" fmla="*/ 308168 w 1357518"/>
                <a:gd name="connsiteY1822" fmla="*/ 395004 h 1002999"/>
                <a:gd name="connsiteX1823" fmla="*/ 303742 w 1357518"/>
                <a:gd name="connsiteY1823" fmla="*/ 393462 h 1002999"/>
                <a:gd name="connsiteX1824" fmla="*/ 299717 w 1357518"/>
                <a:gd name="connsiteY1824" fmla="*/ 391018 h 1002999"/>
                <a:gd name="connsiteX1825" fmla="*/ 295700 w 1357518"/>
                <a:gd name="connsiteY1825" fmla="*/ 389226 h 1002999"/>
                <a:gd name="connsiteX1826" fmla="*/ 289683 w 1357518"/>
                <a:gd name="connsiteY1826" fmla="*/ 387523 h 1002999"/>
                <a:gd name="connsiteX1827" fmla="*/ 279614 w 1357518"/>
                <a:gd name="connsiteY1827" fmla="*/ 383131 h 1002999"/>
                <a:gd name="connsiteX1828" fmla="*/ 264095 w 1357518"/>
                <a:gd name="connsiteY1828" fmla="*/ 378419 h 1002999"/>
                <a:gd name="connsiteX1829" fmla="*/ 257160 w 1357518"/>
                <a:gd name="connsiteY1829" fmla="*/ 375659 h 1002999"/>
                <a:gd name="connsiteX1830" fmla="*/ 253035 w 1357518"/>
                <a:gd name="connsiteY1830" fmla="*/ 374652 h 1002999"/>
                <a:gd name="connsiteX1831" fmla="*/ 247594 w 1357518"/>
                <a:gd name="connsiteY1831" fmla="*/ 374394 h 1002999"/>
                <a:gd name="connsiteX1832" fmla="*/ 237072 w 1357518"/>
                <a:gd name="connsiteY1832" fmla="*/ 371811 h 1002999"/>
                <a:gd name="connsiteX1833" fmla="*/ 228238 w 1357518"/>
                <a:gd name="connsiteY1833" fmla="*/ 370985 h 1002999"/>
                <a:gd name="connsiteX1834" fmla="*/ 222784 w 1357518"/>
                <a:gd name="connsiteY1834" fmla="*/ 371363 h 1002999"/>
                <a:gd name="connsiteX1835" fmla="*/ 221002 w 1357518"/>
                <a:gd name="connsiteY1835" fmla="*/ 370936 h 1002999"/>
                <a:gd name="connsiteX1836" fmla="*/ 216969 w 1357518"/>
                <a:gd name="connsiteY1836" fmla="*/ 368307 h 1002999"/>
                <a:gd name="connsiteX1837" fmla="*/ 210656 w 1357518"/>
                <a:gd name="connsiteY1837" fmla="*/ 366801 h 1002999"/>
                <a:gd name="connsiteX1838" fmla="*/ 207394 w 1357518"/>
                <a:gd name="connsiteY1838" fmla="*/ 367377 h 1002999"/>
                <a:gd name="connsiteX1839" fmla="*/ 203345 w 1357518"/>
                <a:gd name="connsiteY1839" fmla="*/ 370190 h 1002999"/>
                <a:gd name="connsiteX1840" fmla="*/ 198456 w 1357518"/>
                <a:gd name="connsiteY1840" fmla="*/ 372960 h 1002999"/>
                <a:gd name="connsiteX1841" fmla="*/ 195863 w 1357518"/>
                <a:gd name="connsiteY1841" fmla="*/ 373333 h 1002999"/>
                <a:gd name="connsiteX1842" fmla="*/ 191996 w 1357518"/>
                <a:gd name="connsiteY1842" fmla="*/ 370800 h 1002999"/>
                <a:gd name="connsiteX1843" fmla="*/ 190051 w 1357518"/>
                <a:gd name="connsiteY1843" fmla="*/ 369028 h 1002999"/>
                <a:gd name="connsiteX1844" fmla="*/ 188191 w 1357518"/>
                <a:gd name="connsiteY1844" fmla="*/ 368426 h 1002999"/>
                <a:gd name="connsiteX1845" fmla="*/ 186422 w 1357518"/>
                <a:gd name="connsiteY1845" fmla="*/ 368997 h 1002999"/>
                <a:gd name="connsiteX1846" fmla="*/ 182970 w 1357518"/>
                <a:gd name="connsiteY1846" fmla="*/ 371321 h 1002999"/>
                <a:gd name="connsiteX1847" fmla="*/ 179682 w 1357518"/>
                <a:gd name="connsiteY1847" fmla="*/ 373000 h 1002999"/>
                <a:gd name="connsiteX1848" fmla="*/ 174821 w 1357518"/>
                <a:gd name="connsiteY1848" fmla="*/ 374992 h 1002999"/>
                <a:gd name="connsiteX1849" fmla="*/ 170936 w 1357518"/>
                <a:gd name="connsiteY1849" fmla="*/ 375948 h 1002999"/>
                <a:gd name="connsiteX1850" fmla="*/ 165948 w 1357518"/>
                <a:gd name="connsiteY1850" fmla="*/ 376181 h 1002999"/>
                <a:gd name="connsiteX1851" fmla="*/ 164694 w 1357518"/>
                <a:gd name="connsiteY1851" fmla="*/ 376901 h 1002999"/>
                <a:gd name="connsiteX1852" fmla="*/ 162773 w 1357518"/>
                <a:gd name="connsiteY1852" fmla="*/ 376934 h 1002999"/>
                <a:gd name="connsiteX1853" fmla="*/ 160187 w 1357518"/>
                <a:gd name="connsiteY1853" fmla="*/ 376279 h 1002999"/>
                <a:gd name="connsiteX1854" fmla="*/ 157764 w 1357518"/>
                <a:gd name="connsiteY1854" fmla="*/ 374983 h 1002999"/>
                <a:gd name="connsiteX1855" fmla="*/ 155506 w 1357518"/>
                <a:gd name="connsiteY1855" fmla="*/ 373042 h 1002999"/>
                <a:gd name="connsiteX1856" fmla="*/ 153509 w 1357518"/>
                <a:gd name="connsiteY1856" fmla="*/ 371994 h 1002999"/>
                <a:gd name="connsiteX1857" fmla="*/ 151778 w 1357518"/>
                <a:gd name="connsiteY1857" fmla="*/ 371840 h 1002999"/>
                <a:gd name="connsiteX1858" fmla="*/ 147798 w 1357518"/>
                <a:gd name="connsiteY1858" fmla="*/ 372846 h 1002999"/>
                <a:gd name="connsiteX1859" fmla="*/ 142762 w 1357518"/>
                <a:gd name="connsiteY1859" fmla="*/ 375799 h 1002999"/>
                <a:gd name="connsiteX1860" fmla="*/ 140463 w 1357518"/>
                <a:gd name="connsiteY1860" fmla="*/ 376510 h 1002999"/>
                <a:gd name="connsiteX1861" fmla="*/ 138529 w 1357518"/>
                <a:gd name="connsiteY1861" fmla="*/ 376201 h 1002999"/>
                <a:gd name="connsiteX1862" fmla="*/ 136169 w 1357518"/>
                <a:gd name="connsiteY1862" fmla="*/ 375281 h 1002999"/>
                <a:gd name="connsiteX1863" fmla="*/ 131435 w 1357518"/>
                <a:gd name="connsiteY1863" fmla="*/ 372926 h 1002999"/>
                <a:gd name="connsiteX1864" fmla="*/ 128814 w 1357518"/>
                <a:gd name="connsiteY1864" fmla="*/ 373151 h 1002999"/>
                <a:gd name="connsiteX1865" fmla="*/ 126909 w 1357518"/>
                <a:gd name="connsiteY1865" fmla="*/ 373976 h 1002999"/>
                <a:gd name="connsiteX1866" fmla="*/ 127438 w 1357518"/>
                <a:gd name="connsiteY1866" fmla="*/ 375932 h 1002999"/>
                <a:gd name="connsiteX1867" fmla="*/ 131880 w 1357518"/>
                <a:gd name="connsiteY1867" fmla="*/ 380560 h 1002999"/>
                <a:gd name="connsiteX1868" fmla="*/ 135840 w 1357518"/>
                <a:gd name="connsiteY1868" fmla="*/ 383852 h 1002999"/>
                <a:gd name="connsiteX1869" fmla="*/ 132493 w 1357518"/>
                <a:gd name="connsiteY1869" fmla="*/ 384242 h 1002999"/>
                <a:gd name="connsiteX1870" fmla="*/ 103249 w 1357518"/>
                <a:gd name="connsiteY1870" fmla="*/ 379787 h 1002999"/>
                <a:gd name="connsiteX1871" fmla="*/ 99522 w 1357518"/>
                <a:gd name="connsiteY1871" fmla="*/ 378709 h 1002999"/>
                <a:gd name="connsiteX1872" fmla="*/ 94140 w 1357518"/>
                <a:gd name="connsiteY1872" fmla="*/ 376008 h 1002999"/>
                <a:gd name="connsiteX1873" fmla="*/ 89664 w 1357518"/>
                <a:gd name="connsiteY1873" fmla="*/ 374350 h 1002999"/>
                <a:gd name="connsiteX1874" fmla="*/ 82047 w 1357518"/>
                <a:gd name="connsiteY1874" fmla="*/ 370053 h 1002999"/>
                <a:gd name="connsiteX1875" fmla="*/ 76180 w 1357518"/>
                <a:gd name="connsiteY1875" fmla="*/ 367723 h 1002999"/>
                <a:gd name="connsiteX1876" fmla="*/ 74234 w 1357518"/>
                <a:gd name="connsiteY1876" fmla="*/ 365901 h 1002999"/>
                <a:gd name="connsiteX1877" fmla="*/ 73721 w 1357518"/>
                <a:gd name="connsiteY1877" fmla="*/ 364645 h 1002999"/>
                <a:gd name="connsiteX1878" fmla="*/ 75588 w 1357518"/>
                <a:gd name="connsiteY1878" fmla="*/ 362945 h 1002999"/>
                <a:gd name="connsiteX1879" fmla="*/ 87411 w 1357518"/>
                <a:gd name="connsiteY1879" fmla="*/ 357203 h 1002999"/>
                <a:gd name="connsiteX1880" fmla="*/ 91927 w 1357518"/>
                <a:gd name="connsiteY1880" fmla="*/ 356043 h 1002999"/>
                <a:gd name="connsiteX1881" fmla="*/ 101111 w 1357518"/>
                <a:gd name="connsiteY1881" fmla="*/ 354656 h 1002999"/>
                <a:gd name="connsiteX1882" fmla="*/ 103282 w 1357518"/>
                <a:gd name="connsiteY1882" fmla="*/ 353786 h 1002999"/>
                <a:gd name="connsiteX1883" fmla="*/ 104011 w 1357518"/>
                <a:gd name="connsiteY1883" fmla="*/ 353096 h 1002999"/>
                <a:gd name="connsiteX1884" fmla="*/ 101598 w 1357518"/>
                <a:gd name="connsiteY1884" fmla="*/ 351849 h 1002999"/>
                <a:gd name="connsiteX1885" fmla="*/ 89569 w 1357518"/>
                <a:gd name="connsiteY1885" fmla="*/ 352294 h 1002999"/>
                <a:gd name="connsiteX1886" fmla="*/ 78852 w 1357518"/>
                <a:gd name="connsiteY1886" fmla="*/ 351459 h 1002999"/>
                <a:gd name="connsiteX1887" fmla="*/ 69526 w 1357518"/>
                <a:gd name="connsiteY1887" fmla="*/ 349163 h 1002999"/>
                <a:gd name="connsiteX1888" fmla="*/ 67903 w 1357518"/>
                <a:gd name="connsiteY1888" fmla="*/ 348401 h 1002999"/>
                <a:gd name="connsiteX1889" fmla="*/ 66323 w 1357518"/>
                <a:gd name="connsiteY1889" fmla="*/ 346998 h 1002999"/>
                <a:gd name="connsiteX1890" fmla="*/ 64788 w 1357518"/>
                <a:gd name="connsiteY1890" fmla="*/ 344949 h 1002999"/>
                <a:gd name="connsiteX1891" fmla="*/ 65139 w 1357518"/>
                <a:gd name="connsiteY1891" fmla="*/ 342653 h 1002999"/>
                <a:gd name="connsiteX1892" fmla="*/ 67376 w 1357518"/>
                <a:gd name="connsiteY1892" fmla="*/ 340111 h 1002999"/>
                <a:gd name="connsiteX1893" fmla="*/ 68688 w 1357518"/>
                <a:gd name="connsiteY1893" fmla="*/ 338365 h 1002999"/>
                <a:gd name="connsiteX1894" fmla="*/ 69074 w 1357518"/>
                <a:gd name="connsiteY1894" fmla="*/ 337416 h 1002999"/>
                <a:gd name="connsiteX1895" fmla="*/ 57350 w 1357518"/>
                <a:gd name="connsiteY1895" fmla="*/ 343674 h 1002999"/>
                <a:gd name="connsiteX1896" fmla="*/ 52555 w 1357518"/>
                <a:gd name="connsiteY1896" fmla="*/ 345859 h 1002999"/>
                <a:gd name="connsiteX1897" fmla="*/ 48756 w 1357518"/>
                <a:gd name="connsiteY1897" fmla="*/ 345191 h 1002999"/>
                <a:gd name="connsiteX1898" fmla="*/ 46090 w 1357518"/>
                <a:gd name="connsiteY1898" fmla="*/ 344155 h 1002999"/>
                <a:gd name="connsiteX1899" fmla="*/ 44782 w 1357518"/>
                <a:gd name="connsiteY1899" fmla="*/ 343002 h 1002999"/>
                <a:gd name="connsiteX1900" fmla="*/ 44831 w 1357518"/>
                <a:gd name="connsiteY1900" fmla="*/ 341732 h 1002999"/>
                <a:gd name="connsiteX1901" fmla="*/ 45260 w 1357518"/>
                <a:gd name="connsiteY1901" fmla="*/ 340804 h 1002999"/>
                <a:gd name="connsiteX1902" fmla="*/ 46068 w 1357518"/>
                <a:gd name="connsiteY1902" fmla="*/ 340224 h 1002999"/>
                <a:gd name="connsiteX1903" fmla="*/ 39868 w 1357518"/>
                <a:gd name="connsiteY1903" fmla="*/ 337630 h 1002999"/>
                <a:gd name="connsiteX1904" fmla="*/ 37073 w 1357518"/>
                <a:gd name="connsiteY1904" fmla="*/ 335593 h 1002999"/>
                <a:gd name="connsiteX1905" fmla="*/ 36776 w 1357518"/>
                <a:gd name="connsiteY1905" fmla="*/ 333488 h 1002999"/>
                <a:gd name="connsiteX1906" fmla="*/ 38975 w 1357518"/>
                <a:gd name="connsiteY1906" fmla="*/ 331315 h 1002999"/>
                <a:gd name="connsiteX1907" fmla="*/ 41127 w 1357518"/>
                <a:gd name="connsiteY1907" fmla="*/ 329736 h 1002999"/>
                <a:gd name="connsiteX1908" fmla="*/ 43234 w 1357518"/>
                <a:gd name="connsiteY1908" fmla="*/ 328751 h 1002999"/>
                <a:gd name="connsiteX1909" fmla="*/ 48964 w 1357518"/>
                <a:gd name="connsiteY1909" fmla="*/ 327891 h 1002999"/>
                <a:gd name="connsiteX1910" fmla="*/ 69908 w 1357518"/>
                <a:gd name="connsiteY1910" fmla="*/ 326248 h 1002999"/>
                <a:gd name="connsiteX1911" fmla="*/ 84905 w 1357518"/>
                <a:gd name="connsiteY1911" fmla="*/ 327823 h 1002999"/>
                <a:gd name="connsiteX1912" fmla="*/ 90010 w 1357518"/>
                <a:gd name="connsiteY1912" fmla="*/ 322600 h 1002999"/>
                <a:gd name="connsiteX1913" fmla="*/ 93456 w 1357518"/>
                <a:gd name="connsiteY1913" fmla="*/ 320931 h 1002999"/>
                <a:gd name="connsiteX1914" fmla="*/ 103540 w 1357518"/>
                <a:gd name="connsiteY1914" fmla="*/ 319191 h 1002999"/>
                <a:gd name="connsiteX1915" fmla="*/ 119057 w 1357518"/>
                <a:gd name="connsiteY1915" fmla="*/ 318953 h 1002999"/>
                <a:gd name="connsiteX1916" fmla="*/ 130021 w 1357518"/>
                <a:gd name="connsiteY1916" fmla="*/ 319914 h 1002999"/>
                <a:gd name="connsiteX1917" fmla="*/ 135156 w 1357518"/>
                <a:gd name="connsiteY1917" fmla="*/ 321142 h 1002999"/>
                <a:gd name="connsiteX1918" fmla="*/ 142150 w 1357518"/>
                <a:gd name="connsiteY1918" fmla="*/ 323849 h 1002999"/>
                <a:gd name="connsiteX1919" fmla="*/ 142552 w 1357518"/>
                <a:gd name="connsiteY1919" fmla="*/ 323032 h 1002999"/>
                <a:gd name="connsiteX1920" fmla="*/ 140863 w 1357518"/>
                <a:gd name="connsiteY1920" fmla="*/ 320589 h 1002999"/>
                <a:gd name="connsiteX1921" fmla="*/ 140743 w 1357518"/>
                <a:gd name="connsiteY1921" fmla="*/ 318559 h 1002999"/>
                <a:gd name="connsiteX1922" fmla="*/ 143569 w 1357518"/>
                <a:gd name="connsiteY1922" fmla="*/ 315025 h 1002999"/>
                <a:gd name="connsiteX1923" fmla="*/ 144870 w 1357518"/>
                <a:gd name="connsiteY1923" fmla="*/ 312805 h 1002999"/>
                <a:gd name="connsiteX1924" fmla="*/ 143986 w 1357518"/>
                <a:gd name="connsiteY1924" fmla="*/ 310489 h 1002999"/>
                <a:gd name="connsiteX1925" fmla="*/ 140914 w 1357518"/>
                <a:gd name="connsiteY1925" fmla="*/ 308073 h 1002999"/>
                <a:gd name="connsiteX1926" fmla="*/ 135478 w 1357518"/>
                <a:gd name="connsiteY1926" fmla="*/ 304974 h 1002999"/>
                <a:gd name="connsiteX1927" fmla="*/ 132552 w 1357518"/>
                <a:gd name="connsiteY1927" fmla="*/ 304718 h 1002999"/>
                <a:gd name="connsiteX1928" fmla="*/ 129298 w 1357518"/>
                <a:gd name="connsiteY1928" fmla="*/ 305464 h 1002999"/>
                <a:gd name="connsiteX1929" fmla="*/ 125391 w 1357518"/>
                <a:gd name="connsiteY1929" fmla="*/ 307182 h 1002999"/>
                <a:gd name="connsiteX1930" fmla="*/ 117270 w 1357518"/>
                <a:gd name="connsiteY1930" fmla="*/ 311506 h 1002999"/>
                <a:gd name="connsiteX1931" fmla="*/ 113435 w 1357518"/>
                <a:gd name="connsiteY1931" fmla="*/ 312409 h 1002999"/>
                <a:gd name="connsiteX1932" fmla="*/ 107039 w 1357518"/>
                <a:gd name="connsiteY1932" fmla="*/ 312639 h 1002999"/>
                <a:gd name="connsiteX1933" fmla="*/ 103501 w 1357518"/>
                <a:gd name="connsiteY1933" fmla="*/ 312093 h 1002999"/>
                <a:gd name="connsiteX1934" fmla="*/ 100083 w 1357518"/>
                <a:gd name="connsiteY1934" fmla="*/ 311447 h 1002999"/>
                <a:gd name="connsiteX1935" fmla="*/ 94741 w 1357518"/>
                <a:gd name="connsiteY1935" fmla="*/ 309154 h 1002999"/>
                <a:gd name="connsiteX1936" fmla="*/ 92794 w 1357518"/>
                <a:gd name="connsiteY1936" fmla="*/ 308725 h 1002999"/>
                <a:gd name="connsiteX1937" fmla="*/ 90435 w 1357518"/>
                <a:gd name="connsiteY1937" fmla="*/ 309731 h 1002999"/>
                <a:gd name="connsiteX1938" fmla="*/ 87661 w 1357518"/>
                <a:gd name="connsiteY1938" fmla="*/ 312170 h 1002999"/>
                <a:gd name="connsiteX1939" fmla="*/ 84988 w 1357518"/>
                <a:gd name="connsiteY1939" fmla="*/ 313876 h 1002999"/>
                <a:gd name="connsiteX1940" fmla="*/ 82415 w 1357518"/>
                <a:gd name="connsiteY1940" fmla="*/ 314851 h 1002999"/>
                <a:gd name="connsiteX1941" fmla="*/ 80010 w 1357518"/>
                <a:gd name="connsiteY1941" fmla="*/ 315274 h 1002999"/>
                <a:gd name="connsiteX1942" fmla="*/ 76656 w 1357518"/>
                <a:gd name="connsiteY1942" fmla="*/ 315076 h 1002999"/>
                <a:gd name="connsiteX1943" fmla="*/ 62827 w 1357518"/>
                <a:gd name="connsiteY1943" fmla="*/ 311283 h 1002999"/>
                <a:gd name="connsiteX1944" fmla="*/ 59700 w 1357518"/>
                <a:gd name="connsiteY1944" fmla="*/ 309592 h 1002999"/>
                <a:gd name="connsiteX1945" fmla="*/ 59519 w 1357518"/>
                <a:gd name="connsiteY1945" fmla="*/ 307027 h 1002999"/>
                <a:gd name="connsiteX1946" fmla="*/ 55275 w 1357518"/>
                <a:gd name="connsiteY1946" fmla="*/ 304540 h 1002999"/>
                <a:gd name="connsiteX1947" fmla="*/ 50474 w 1357518"/>
                <a:gd name="connsiteY1947" fmla="*/ 304105 h 1002999"/>
                <a:gd name="connsiteX1948" fmla="*/ 49888 w 1357518"/>
                <a:gd name="connsiteY1948" fmla="*/ 303270 h 1002999"/>
                <a:gd name="connsiteX1949" fmla="*/ 55975 w 1357518"/>
                <a:gd name="connsiteY1949" fmla="*/ 299427 h 1002999"/>
                <a:gd name="connsiteX1950" fmla="*/ 60511 w 1357518"/>
                <a:gd name="connsiteY1950" fmla="*/ 297852 h 1002999"/>
                <a:gd name="connsiteX1951" fmla="*/ 59782 w 1357518"/>
                <a:gd name="connsiteY1951" fmla="*/ 297379 h 1002999"/>
                <a:gd name="connsiteX1952" fmla="*/ 53194 w 1357518"/>
                <a:gd name="connsiteY1952" fmla="*/ 297295 h 1002999"/>
                <a:gd name="connsiteX1953" fmla="*/ 48747 w 1357518"/>
                <a:gd name="connsiteY1953" fmla="*/ 299343 h 1002999"/>
                <a:gd name="connsiteX1954" fmla="*/ 46200 w 1357518"/>
                <a:gd name="connsiteY1954" fmla="*/ 299689 h 1002999"/>
                <a:gd name="connsiteX1955" fmla="*/ 40342 w 1357518"/>
                <a:gd name="connsiteY1955" fmla="*/ 299744 h 1002999"/>
                <a:gd name="connsiteX1956" fmla="*/ 34195 w 1357518"/>
                <a:gd name="connsiteY1956" fmla="*/ 298720 h 1002999"/>
                <a:gd name="connsiteX1957" fmla="*/ 31581 w 1357518"/>
                <a:gd name="connsiteY1957" fmla="*/ 297822 h 1002999"/>
                <a:gd name="connsiteX1958" fmla="*/ 28871 w 1357518"/>
                <a:gd name="connsiteY1958" fmla="*/ 295761 h 1002999"/>
                <a:gd name="connsiteX1959" fmla="*/ 25831 w 1357518"/>
                <a:gd name="connsiteY1959" fmla="*/ 294599 h 1002999"/>
                <a:gd name="connsiteX1960" fmla="*/ 16653 w 1357518"/>
                <a:gd name="connsiteY1960" fmla="*/ 292836 h 1002999"/>
                <a:gd name="connsiteX1961" fmla="*/ 14583 w 1357518"/>
                <a:gd name="connsiteY1961" fmla="*/ 291877 h 1002999"/>
                <a:gd name="connsiteX1962" fmla="*/ 12621 w 1357518"/>
                <a:gd name="connsiteY1962" fmla="*/ 290280 h 1002999"/>
                <a:gd name="connsiteX1963" fmla="*/ 5124 w 1357518"/>
                <a:gd name="connsiteY1963" fmla="*/ 285752 h 1002999"/>
                <a:gd name="connsiteX1964" fmla="*/ 587 w 1357518"/>
                <a:gd name="connsiteY1964" fmla="*/ 282415 h 1002999"/>
                <a:gd name="connsiteX1965" fmla="*/ 0 w 1357518"/>
                <a:gd name="connsiteY1965" fmla="*/ 280524 h 1002999"/>
                <a:gd name="connsiteX1966" fmla="*/ 5235 w 1357518"/>
                <a:gd name="connsiteY1966" fmla="*/ 276452 h 1002999"/>
                <a:gd name="connsiteX1967" fmla="*/ 5464 w 1357518"/>
                <a:gd name="connsiteY1967" fmla="*/ 275508 h 1002999"/>
                <a:gd name="connsiteX1968" fmla="*/ 3220 w 1357518"/>
                <a:gd name="connsiteY1968" fmla="*/ 273748 h 1002999"/>
                <a:gd name="connsiteX1969" fmla="*/ 2283 w 1357518"/>
                <a:gd name="connsiteY1969" fmla="*/ 272447 h 1002999"/>
                <a:gd name="connsiteX1970" fmla="*/ 3059 w 1357518"/>
                <a:gd name="connsiteY1970" fmla="*/ 270650 h 1002999"/>
                <a:gd name="connsiteX1971" fmla="*/ 7641 w 1357518"/>
                <a:gd name="connsiteY1971" fmla="*/ 266667 h 1002999"/>
                <a:gd name="connsiteX1972" fmla="*/ 9341 w 1357518"/>
                <a:gd name="connsiteY1972" fmla="*/ 265588 h 1002999"/>
                <a:gd name="connsiteX1973" fmla="*/ 17565 w 1357518"/>
                <a:gd name="connsiteY1973" fmla="*/ 263243 h 1002999"/>
                <a:gd name="connsiteX1974" fmla="*/ 25799 w 1357518"/>
                <a:gd name="connsiteY1974" fmla="*/ 259831 h 1002999"/>
                <a:gd name="connsiteX1975" fmla="*/ 28800 w 1357518"/>
                <a:gd name="connsiteY1975" fmla="*/ 259063 h 1002999"/>
                <a:gd name="connsiteX1976" fmla="*/ 31472 w 1357518"/>
                <a:gd name="connsiteY1976" fmla="*/ 258885 h 1002999"/>
                <a:gd name="connsiteX1977" fmla="*/ 42285 w 1357518"/>
                <a:gd name="connsiteY1977" fmla="*/ 259087 h 1002999"/>
                <a:gd name="connsiteX1978" fmla="*/ 45638 w 1357518"/>
                <a:gd name="connsiteY1978" fmla="*/ 258245 h 1002999"/>
                <a:gd name="connsiteX1979" fmla="*/ 48484 w 1357518"/>
                <a:gd name="connsiteY1979" fmla="*/ 256576 h 1002999"/>
                <a:gd name="connsiteX1980" fmla="*/ 53154 w 1357518"/>
                <a:gd name="connsiteY1980" fmla="*/ 254885 h 1002999"/>
                <a:gd name="connsiteX1981" fmla="*/ 62898 w 1357518"/>
                <a:gd name="connsiteY1981" fmla="*/ 252314 h 1002999"/>
                <a:gd name="connsiteX1982" fmla="*/ 84570 w 1357518"/>
                <a:gd name="connsiteY1982" fmla="*/ 248423 h 1002999"/>
                <a:gd name="connsiteX1983" fmla="*/ 85981 w 1357518"/>
                <a:gd name="connsiteY1983" fmla="*/ 247965 h 1002999"/>
                <a:gd name="connsiteX1984" fmla="*/ 86108 w 1357518"/>
                <a:gd name="connsiteY1984" fmla="*/ 247226 h 1002999"/>
                <a:gd name="connsiteX1985" fmla="*/ 84161 w 1357518"/>
                <a:gd name="connsiteY1985" fmla="*/ 245215 h 1002999"/>
                <a:gd name="connsiteX1986" fmla="*/ 83751 w 1357518"/>
                <a:gd name="connsiteY1986" fmla="*/ 244244 h 1002999"/>
                <a:gd name="connsiteX1987" fmla="*/ 88188 w 1357518"/>
                <a:gd name="connsiteY1987" fmla="*/ 242438 h 1002999"/>
                <a:gd name="connsiteX1988" fmla="*/ 98200 w 1357518"/>
                <a:gd name="connsiteY1988" fmla="*/ 239588 h 1002999"/>
                <a:gd name="connsiteX1989" fmla="*/ 105044 w 1357518"/>
                <a:gd name="connsiteY1989" fmla="*/ 238214 h 1002999"/>
                <a:gd name="connsiteX1990" fmla="*/ 109448 w 1357518"/>
                <a:gd name="connsiteY1990" fmla="*/ 238113 h 1002999"/>
                <a:gd name="connsiteX1991" fmla="*/ 112999 w 1357518"/>
                <a:gd name="connsiteY1991" fmla="*/ 237499 h 1002999"/>
                <a:gd name="connsiteX1992" fmla="*/ 117987 w 1357518"/>
                <a:gd name="connsiteY1992" fmla="*/ 235703 h 1002999"/>
                <a:gd name="connsiteX1993" fmla="*/ 120810 w 1357518"/>
                <a:gd name="connsiteY1993" fmla="*/ 235386 h 1002999"/>
                <a:gd name="connsiteX1994" fmla="*/ 137854 w 1357518"/>
                <a:gd name="connsiteY1994" fmla="*/ 234679 h 1002999"/>
                <a:gd name="connsiteX1995" fmla="*/ 145393 w 1357518"/>
                <a:gd name="connsiteY1995" fmla="*/ 235657 h 1002999"/>
                <a:gd name="connsiteX1996" fmla="*/ 149096 w 1357518"/>
                <a:gd name="connsiteY1996" fmla="*/ 235638 h 1002999"/>
                <a:gd name="connsiteX1997" fmla="*/ 151472 w 1357518"/>
                <a:gd name="connsiteY1997" fmla="*/ 234941 h 1002999"/>
                <a:gd name="connsiteX1998" fmla="*/ 154619 w 1357518"/>
                <a:gd name="connsiteY1998" fmla="*/ 232904 h 1002999"/>
                <a:gd name="connsiteX1999" fmla="*/ 160496 w 1357518"/>
                <a:gd name="connsiteY1999" fmla="*/ 227834 h 1002999"/>
                <a:gd name="connsiteX2000" fmla="*/ 163590 w 1357518"/>
                <a:gd name="connsiteY2000" fmla="*/ 224680 h 1002999"/>
                <a:gd name="connsiteX2001" fmla="*/ 166510 w 1357518"/>
                <a:gd name="connsiteY2001" fmla="*/ 219867 h 1002999"/>
                <a:gd name="connsiteX2002" fmla="*/ 170288 w 1357518"/>
                <a:gd name="connsiteY2002" fmla="*/ 212320 h 1002999"/>
                <a:gd name="connsiteX2003" fmla="*/ 173111 w 1357518"/>
                <a:gd name="connsiteY2003" fmla="*/ 204928 h 1002999"/>
                <a:gd name="connsiteX2004" fmla="*/ 174983 w 1357518"/>
                <a:gd name="connsiteY2004" fmla="*/ 197690 h 1002999"/>
                <a:gd name="connsiteX2005" fmla="*/ 176435 w 1357518"/>
                <a:gd name="connsiteY2005" fmla="*/ 193264 h 1002999"/>
                <a:gd name="connsiteX2006" fmla="*/ 177467 w 1357518"/>
                <a:gd name="connsiteY2006" fmla="*/ 191678 h 1002999"/>
                <a:gd name="connsiteX2007" fmla="*/ 181002 w 1357518"/>
                <a:gd name="connsiteY2007" fmla="*/ 189662 h 1002999"/>
                <a:gd name="connsiteX2008" fmla="*/ 184688 w 1357518"/>
                <a:gd name="connsiteY2008" fmla="*/ 188091 h 1002999"/>
                <a:gd name="connsiteX2009" fmla="*/ 191024 w 1357518"/>
                <a:gd name="connsiteY2009" fmla="*/ 186696 h 1002999"/>
                <a:gd name="connsiteX2010" fmla="*/ 190447 w 1357518"/>
                <a:gd name="connsiteY2010" fmla="*/ 186046 h 1002999"/>
                <a:gd name="connsiteX2011" fmla="*/ 187760 w 1357518"/>
                <a:gd name="connsiteY2011" fmla="*/ 184959 h 1002999"/>
                <a:gd name="connsiteX2012" fmla="*/ 185258 w 1357518"/>
                <a:gd name="connsiteY2012" fmla="*/ 184541 h 1002999"/>
                <a:gd name="connsiteX2013" fmla="*/ 182943 w 1357518"/>
                <a:gd name="connsiteY2013" fmla="*/ 184790 h 1002999"/>
                <a:gd name="connsiteX2014" fmla="*/ 178728 w 1357518"/>
                <a:gd name="connsiteY2014" fmla="*/ 186434 h 1002999"/>
                <a:gd name="connsiteX2015" fmla="*/ 173267 w 1357518"/>
                <a:gd name="connsiteY2015" fmla="*/ 187545 h 1002999"/>
                <a:gd name="connsiteX2016" fmla="*/ 167962 w 1357518"/>
                <a:gd name="connsiteY2016" fmla="*/ 187370 h 1002999"/>
                <a:gd name="connsiteX2017" fmla="*/ 164141 w 1357518"/>
                <a:gd name="connsiteY2017" fmla="*/ 187785 h 1002999"/>
                <a:gd name="connsiteX2018" fmla="*/ 160636 w 1357518"/>
                <a:gd name="connsiteY2018" fmla="*/ 189287 h 1002999"/>
                <a:gd name="connsiteX2019" fmla="*/ 154953 w 1357518"/>
                <a:gd name="connsiteY2019" fmla="*/ 190495 h 1002999"/>
                <a:gd name="connsiteX2020" fmla="*/ 151161 w 1357518"/>
                <a:gd name="connsiteY2020" fmla="*/ 190222 h 1002999"/>
                <a:gd name="connsiteX2021" fmla="*/ 144316 w 1357518"/>
                <a:gd name="connsiteY2021" fmla="*/ 188061 h 1002999"/>
                <a:gd name="connsiteX2022" fmla="*/ 140862 w 1357518"/>
                <a:gd name="connsiteY2022" fmla="*/ 187656 h 1002999"/>
                <a:gd name="connsiteX2023" fmla="*/ 132107 w 1357518"/>
                <a:gd name="connsiteY2023" fmla="*/ 187861 h 1002999"/>
                <a:gd name="connsiteX2024" fmla="*/ 129546 w 1357518"/>
                <a:gd name="connsiteY2024" fmla="*/ 187061 h 1002999"/>
                <a:gd name="connsiteX2025" fmla="*/ 127308 w 1357518"/>
                <a:gd name="connsiteY2025" fmla="*/ 185487 h 1002999"/>
                <a:gd name="connsiteX2026" fmla="*/ 125525 w 1357518"/>
                <a:gd name="connsiteY2026" fmla="*/ 183294 h 1002999"/>
                <a:gd name="connsiteX2027" fmla="*/ 124195 w 1357518"/>
                <a:gd name="connsiteY2027" fmla="*/ 180468 h 1002999"/>
                <a:gd name="connsiteX2028" fmla="*/ 124378 w 1357518"/>
                <a:gd name="connsiteY2028" fmla="*/ 177526 h 1002999"/>
                <a:gd name="connsiteX2029" fmla="*/ 127530 w 1357518"/>
                <a:gd name="connsiteY2029" fmla="*/ 172206 h 1002999"/>
                <a:gd name="connsiteX2030" fmla="*/ 128740 w 1357518"/>
                <a:gd name="connsiteY2030" fmla="*/ 170754 h 1002999"/>
                <a:gd name="connsiteX2031" fmla="*/ 137272 w 1357518"/>
                <a:gd name="connsiteY2031" fmla="*/ 164792 h 1002999"/>
                <a:gd name="connsiteX2032" fmla="*/ 142529 w 1357518"/>
                <a:gd name="connsiteY2032" fmla="*/ 161994 h 1002999"/>
                <a:gd name="connsiteX2033" fmla="*/ 147761 w 1357518"/>
                <a:gd name="connsiteY2033" fmla="*/ 159898 h 1002999"/>
                <a:gd name="connsiteX2034" fmla="*/ 151574 w 1357518"/>
                <a:gd name="connsiteY2034" fmla="*/ 158667 h 1002999"/>
                <a:gd name="connsiteX2035" fmla="*/ 155163 w 1357518"/>
                <a:gd name="connsiteY2035" fmla="*/ 158114 h 1002999"/>
                <a:gd name="connsiteX2036" fmla="*/ 158607 w 1357518"/>
                <a:gd name="connsiteY2036" fmla="*/ 156811 h 1002999"/>
                <a:gd name="connsiteX2037" fmla="*/ 164953 w 1357518"/>
                <a:gd name="connsiteY2037" fmla="*/ 152615 h 1002999"/>
                <a:gd name="connsiteX2038" fmla="*/ 171499 w 1357518"/>
                <a:gd name="connsiteY2038" fmla="*/ 149010 h 1002999"/>
                <a:gd name="connsiteX2039" fmla="*/ 179644 w 1357518"/>
                <a:gd name="connsiteY2039" fmla="*/ 142295 h 1002999"/>
                <a:gd name="connsiteX2040" fmla="*/ 183586 w 1357518"/>
                <a:gd name="connsiteY2040" fmla="*/ 140531 h 1002999"/>
                <a:gd name="connsiteX2041" fmla="*/ 197384 w 1357518"/>
                <a:gd name="connsiteY2041" fmla="*/ 137597 h 1002999"/>
                <a:gd name="connsiteX2042" fmla="*/ 201134 w 1357518"/>
                <a:gd name="connsiteY2042" fmla="*/ 137551 h 1002999"/>
                <a:gd name="connsiteX2043" fmla="*/ 204317 w 1357518"/>
                <a:gd name="connsiteY2043" fmla="*/ 138283 h 1002999"/>
                <a:gd name="connsiteX2044" fmla="*/ 207331 w 1357518"/>
                <a:gd name="connsiteY2044" fmla="*/ 139810 h 1002999"/>
                <a:gd name="connsiteX2045" fmla="*/ 215802 w 1357518"/>
                <a:gd name="connsiteY2045" fmla="*/ 146462 h 1002999"/>
                <a:gd name="connsiteX2046" fmla="*/ 216464 w 1357518"/>
                <a:gd name="connsiteY2046" fmla="*/ 146257 h 1002999"/>
                <a:gd name="connsiteX2047" fmla="*/ 214987 w 1357518"/>
                <a:gd name="connsiteY2047" fmla="*/ 143743 h 1002999"/>
                <a:gd name="connsiteX2048" fmla="*/ 211897 w 1357518"/>
                <a:gd name="connsiteY2048" fmla="*/ 136197 h 1002999"/>
                <a:gd name="connsiteX2049" fmla="*/ 212399 w 1357518"/>
                <a:gd name="connsiteY2049" fmla="*/ 133083 h 1002999"/>
                <a:gd name="connsiteX2050" fmla="*/ 217247 w 1357518"/>
                <a:gd name="connsiteY2050" fmla="*/ 129748 h 1002999"/>
                <a:gd name="connsiteX2051" fmla="*/ 219235 w 1357518"/>
                <a:gd name="connsiteY2051" fmla="*/ 129154 h 1002999"/>
                <a:gd name="connsiteX2052" fmla="*/ 224353 w 1357518"/>
                <a:gd name="connsiteY2052" fmla="*/ 129376 h 1002999"/>
                <a:gd name="connsiteX2053" fmla="*/ 232601 w 1357518"/>
                <a:gd name="connsiteY2053" fmla="*/ 130406 h 1002999"/>
                <a:gd name="connsiteX2054" fmla="*/ 238117 w 1357518"/>
                <a:gd name="connsiteY2054" fmla="*/ 131536 h 1002999"/>
                <a:gd name="connsiteX2055" fmla="*/ 242298 w 1357518"/>
                <a:gd name="connsiteY2055" fmla="*/ 133370 h 1002999"/>
                <a:gd name="connsiteX2056" fmla="*/ 247268 w 1357518"/>
                <a:gd name="connsiteY2056" fmla="*/ 134510 h 1002999"/>
                <a:gd name="connsiteX2057" fmla="*/ 249844 w 1357518"/>
                <a:gd name="connsiteY2057" fmla="*/ 134454 h 1002999"/>
                <a:gd name="connsiteX2058" fmla="*/ 251682 w 1357518"/>
                <a:gd name="connsiteY2058" fmla="*/ 133579 h 1002999"/>
                <a:gd name="connsiteX2059" fmla="*/ 254313 w 1357518"/>
                <a:gd name="connsiteY2059" fmla="*/ 130715 h 1002999"/>
                <a:gd name="connsiteX2060" fmla="*/ 257739 w 1357518"/>
                <a:gd name="connsiteY2060" fmla="*/ 125850 h 1002999"/>
                <a:gd name="connsiteX2061" fmla="*/ 259111 w 1357518"/>
                <a:gd name="connsiteY2061" fmla="*/ 119838 h 1002999"/>
                <a:gd name="connsiteX2062" fmla="*/ 258431 w 1357518"/>
                <a:gd name="connsiteY2062" fmla="*/ 112665 h 1002999"/>
                <a:gd name="connsiteX2063" fmla="*/ 257431 w 1357518"/>
                <a:gd name="connsiteY2063" fmla="*/ 107403 h 1002999"/>
                <a:gd name="connsiteX2064" fmla="*/ 256111 w 1357518"/>
                <a:gd name="connsiteY2064" fmla="*/ 104082 h 1002999"/>
                <a:gd name="connsiteX2065" fmla="*/ 256835 w 1357518"/>
                <a:gd name="connsiteY2065" fmla="*/ 101306 h 1002999"/>
                <a:gd name="connsiteX2066" fmla="*/ 260990 w 1357518"/>
                <a:gd name="connsiteY2066" fmla="*/ 97973 h 1002999"/>
                <a:gd name="connsiteX2067" fmla="*/ 264797 w 1357518"/>
                <a:gd name="connsiteY2067" fmla="*/ 95534 h 1002999"/>
                <a:gd name="connsiteX2068" fmla="*/ 273874 w 1357518"/>
                <a:gd name="connsiteY2068" fmla="*/ 92078 h 1002999"/>
                <a:gd name="connsiteX2069" fmla="*/ 281235 w 1357518"/>
                <a:gd name="connsiteY2069" fmla="*/ 91160 h 1002999"/>
                <a:gd name="connsiteX2070" fmla="*/ 285603 w 1357518"/>
                <a:gd name="connsiteY2070" fmla="*/ 91392 h 1002999"/>
                <a:gd name="connsiteX2071" fmla="*/ 291344 w 1357518"/>
                <a:gd name="connsiteY2071" fmla="*/ 93014 h 1002999"/>
                <a:gd name="connsiteX2072" fmla="*/ 299312 w 1357518"/>
                <a:gd name="connsiteY2072" fmla="*/ 94006 h 1002999"/>
                <a:gd name="connsiteX2073" fmla="*/ 306502 w 1357518"/>
                <a:gd name="connsiteY2073" fmla="*/ 97141 h 1002999"/>
                <a:gd name="connsiteX2074" fmla="*/ 318155 w 1357518"/>
                <a:gd name="connsiteY2074" fmla="*/ 104322 h 1002999"/>
                <a:gd name="connsiteX2075" fmla="*/ 325891 w 1357518"/>
                <a:gd name="connsiteY2075" fmla="*/ 107915 h 1002999"/>
                <a:gd name="connsiteX2076" fmla="*/ 332295 w 1357518"/>
                <a:gd name="connsiteY2076" fmla="*/ 109526 h 1002999"/>
                <a:gd name="connsiteX2077" fmla="*/ 338607 w 1357518"/>
                <a:gd name="connsiteY2077" fmla="*/ 112265 h 1002999"/>
                <a:gd name="connsiteX2078" fmla="*/ 347939 w 1357518"/>
                <a:gd name="connsiteY2078" fmla="*/ 118059 h 1002999"/>
                <a:gd name="connsiteX2079" fmla="*/ 352821 w 1357518"/>
                <a:gd name="connsiteY2079" fmla="*/ 120541 h 1002999"/>
                <a:gd name="connsiteX2080" fmla="*/ 355726 w 1357518"/>
                <a:gd name="connsiteY2080" fmla="*/ 121439 h 1002999"/>
                <a:gd name="connsiteX2081" fmla="*/ 358281 w 1357518"/>
                <a:gd name="connsiteY2081" fmla="*/ 121582 h 1002999"/>
                <a:gd name="connsiteX2082" fmla="*/ 357330 w 1357518"/>
                <a:gd name="connsiteY2082" fmla="*/ 119933 h 1002999"/>
                <a:gd name="connsiteX2083" fmla="*/ 352874 w 1357518"/>
                <a:gd name="connsiteY2083" fmla="*/ 116479 h 1002999"/>
                <a:gd name="connsiteX2084" fmla="*/ 346047 w 1357518"/>
                <a:gd name="connsiteY2084" fmla="*/ 112672 h 1002999"/>
                <a:gd name="connsiteX2085" fmla="*/ 330909 w 1357518"/>
                <a:gd name="connsiteY2085" fmla="*/ 105808 h 1002999"/>
                <a:gd name="connsiteX2086" fmla="*/ 322571 w 1357518"/>
                <a:gd name="connsiteY2086" fmla="*/ 100946 h 1002999"/>
                <a:gd name="connsiteX2087" fmla="*/ 315094 w 1357518"/>
                <a:gd name="connsiteY2087" fmla="*/ 95383 h 1002999"/>
                <a:gd name="connsiteX2088" fmla="*/ 309599 w 1357518"/>
                <a:gd name="connsiteY2088" fmla="*/ 92065 h 1002999"/>
                <a:gd name="connsiteX2089" fmla="*/ 299620 w 1357518"/>
                <a:gd name="connsiteY2089" fmla="*/ 88769 h 1002999"/>
                <a:gd name="connsiteX2090" fmla="*/ 299757 w 1357518"/>
                <a:gd name="connsiteY2090" fmla="*/ 87454 h 1002999"/>
                <a:gd name="connsiteX2091" fmla="*/ 311796 w 1357518"/>
                <a:gd name="connsiteY2091" fmla="*/ 82821 h 1002999"/>
                <a:gd name="connsiteX2092" fmla="*/ 333919 w 1357518"/>
                <a:gd name="connsiteY2092" fmla="*/ 78777 h 1002999"/>
                <a:gd name="connsiteX2093" fmla="*/ 358851 w 1357518"/>
                <a:gd name="connsiteY2093" fmla="*/ 75608 h 1002999"/>
                <a:gd name="connsiteX2094" fmla="*/ 367196 w 1357518"/>
                <a:gd name="connsiteY2094" fmla="*/ 75932 h 1002999"/>
                <a:gd name="connsiteX2095" fmla="*/ 381863 w 1357518"/>
                <a:gd name="connsiteY2095" fmla="*/ 74605 h 1002999"/>
                <a:gd name="connsiteX2096" fmla="*/ 383243 w 1357518"/>
                <a:gd name="connsiteY2096" fmla="*/ 72603 h 1002999"/>
                <a:gd name="connsiteX2097" fmla="*/ 386397 w 1357518"/>
                <a:gd name="connsiteY2097" fmla="*/ 71701 h 1002999"/>
                <a:gd name="connsiteX2098" fmla="*/ 400056 w 1357518"/>
                <a:gd name="connsiteY2098" fmla="*/ 68900 h 1002999"/>
                <a:gd name="connsiteX2099" fmla="*/ 403970 w 1357518"/>
                <a:gd name="connsiteY2099" fmla="*/ 68939 h 1002999"/>
                <a:gd name="connsiteX2100" fmla="*/ 409981 w 1357518"/>
                <a:gd name="connsiteY2100" fmla="*/ 70268 h 1002999"/>
                <a:gd name="connsiteX2101" fmla="*/ 416388 w 1357518"/>
                <a:gd name="connsiteY2101" fmla="*/ 72798 h 1002999"/>
                <a:gd name="connsiteX2102" fmla="*/ 419352 w 1357518"/>
                <a:gd name="connsiteY2102" fmla="*/ 75085 h 1002999"/>
                <a:gd name="connsiteX2103" fmla="*/ 423374 w 1357518"/>
                <a:gd name="connsiteY2103" fmla="*/ 79006 h 1002999"/>
                <a:gd name="connsiteX2104" fmla="*/ 425349 w 1357518"/>
                <a:gd name="connsiteY2104" fmla="*/ 84511 h 1002999"/>
                <a:gd name="connsiteX2105" fmla="*/ 425051 w 1357518"/>
                <a:gd name="connsiteY2105" fmla="*/ 101775 h 1002999"/>
                <a:gd name="connsiteX2106" fmla="*/ 425156 w 1357518"/>
                <a:gd name="connsiteY2106" fmla="*/ 105021 h 1002999"/>
                <a:gd name="connsiteX2107" fmla="*/ 425932 w 1357518"/>
                <a:gd name="connsiteY2107" fmla="*/ 106271 h 1002999"/>
                <a:gd name="connsiteX2108" fmla="*/ 428708 w 1357518"/>
                <a:gd name="connsiteY2108" fmla="*/ 104410 h 1002999"/>
                <a:gd name="connsiteX2109" fmla="*/ 432028 w 1357518"/>
                <a:gd name="connsiteY2109" fmla="*/ 100948 h 1002999"/>
                <a:gd name="connsiteX2110" fmla="*/ 435012 w 1357518"/>
                <a:gd name="connsiteY2110" fmla="*/ 98495 h 1002999"/>
                <a:gd name="connsiteX2111" fmla="*/ 437308 w 1357518"/>
                <a:gd name="connsiteY2111" fmla="*/ 94701 h 1002999"/>
                <a:gd name="connsiteX2112" fmla="*/ 438916 w 1357518"/>
                <a:gd name="connsiteY2112" fmla="*/ 89568 h 1002999"/>
                <a:gd name="connsiteX2113" fmla="*/ 439866 w 1357518"/>
                <a:gd name="connsiteY2113" fmla="*/ 85754 h 1002999"/>
                <a:gd name="connsiteX2114" fmla="*/ 435965 w 1357518"/>
                <a:gd name="connsiteY2114" fmla="*/ 81431 h 1002999"/>
                <a:gd name="connsiteX2115" fmla="*/ 435770 w 1357518"/>
                <a:gd name="connsiteY2115" fmla="*/ 74310 h 1002999"/>
                <a:gd name="connsiteX2116" fmla="*/ 437720 w 1357518"/>
                <a:gd name="connsiteY2116" fmla="*/ 70503 h 1002999"/>
                <a:gd name="connsiteX2117" fmla="*/ 443181 w 1357518"/>
                <a:gd name="connsiteY2117" fmla="*/ 70503 h 1002999"/>
                <a:gd name="connsiteX2118" fmla="*/ 465771 w 1357518"/>
                <a:gd name="connsiteY2118" fmla="*/ 83617 h 1002999"/>
                <a:gd name="connsiteX2119" fmla="*/ 474663 w 1357518"/>
                <a:gd name="connsiteY2119" fmla="*/ 86437 h 1002999"/>
                <a:gd name="connsiteX2120" fmla="*/ 484778 w 1357518"/>
                <a:gd name="connsiteY2120" fmla="*/ 93409 h 1002999"/>
                <a:gd name="connsiteX2121" fmla="*/ 496594 w 1357518"/>
                <a:gd name="connsiteY2121" fmla="*/ 92669 h 1002999"/>
                <a:gd name="connsiteX2122" fmla="*/ 507496 w 1357518"/>
                <a:gd name="connsiteY2122" fmla="*/ 93526 h 1002999"/>
                <a:gd name="connsiteX2123" fmla="*/ 512321 w 1357518"/>
                <a:gd name="connsiteY2123" fmla="*/ 93271 h 1002999"/>
                <a:gd name="connsiteX2124" fmla="*/ 514704 w 1357518"/>
                <a:gd name="connsiteY2124" fmla="*/ 92190 h 1002999"/>
                <a:gd name="connsiteX2125" fmla="*/ 511315 w 1357518"/>
                <a:gd name="connsiteY2125" fmla="*/ 89301 h 1002999"/>
                <a:gd name="connsiteX2126" fmla="*/ 495825 w 1357518"/>
                <a:gd name="connsiteY2126" fmla="*/ 81337 h 1002999"/>
                <a:gd name="connsiteX2127" fmla="*/ 488787 w 1357518"/>
                <a:gd name="connsiteY2127" fmla="*/ 75058 h 1002999"/>
                <a:gd name="connsiteX2128" fmla="*/ 483869 w 1357518"/>
                <a:gd name="connsiteY2128" fmla="*/ 67197 h 1002999"/>
                <a:gd name="connsiteX2129" fmla="*/ 482666 w 1357518"/>
                <a:gd name="connsiteY2129" fmla="*/ 63002 h 1002999"/>
                <a:gd name="connsiteX2130" fmla="*/ 486434 w 1357518"/>
                <a:gd name="connsiteY2130" fmla="*/ 62247 h 1002999"/>
                <a:gd name="connsiteX2131" fmla="*/ 503735 w 1357518"/>
                <a:gd name="connsiteY2131" fmla="*/ 62337 h 1002999"/>
                <a:gd name="connsiteX2132" fmla="*/ 529737 w 1357518"/>
                <a:gd name="connsiteY2132" fmla="*/ 65972 h 1002999"/>
                <a:gd name="connsiteX2133" fmla="*/ 562988 w 1357518"/>
                <a:gd name="connsiteY2133" fmla="*/ 78491 h 1002999"/>
                <a:gd name="connsiteX2134" fmla="*/ 579354 w 1357518"/>
                <a:gd name="connsiteY2134" fmla="*/ 82612 h 1002999"/>
                <a:gd name="connsiteX2135" fmla="*/ 608680 w 1357518"/>
                <a:gd name="connsiteY2135" fmla="*/ 96949 h 1002999"/>
                <a:gd name="connsiteX2136" fmla="*/ 617527 w 1357518"/>
                <a:gd name="connsiteY2136" fmla="*/ 99105 h 1002999"/>
                <a:gd name="connsiteX2137" fmla="*/ 621098 w 1357518"/>
                <a:gd name="connsiteY2137" fmla="*/ 99555 h 1002999"/>
                <a:gd name="connsiteX2138" fmla="*/ 623792 w 1357518"/>
                <a:gd name="connsiteY2138" fmla="*/ 97794 h 1002999"/>
                <a:gd name="connsiteX2139" fmla="*/ 625455 w 1357518"/>
                <a:gd name="connsiteY2139" fmla="*/ 95878 h 1002999"/>
                <a:gd name="connsiteX2140" fmla="*/ 625577 w 1357518"/>
                <a:gd name="connsiteY2140" fmla="*/ 93323 h 1002999"/>
                <a:gd name="connsiteX2141" fmla="*/ 624159 w 1357518"/>
                <a:gd name="connsiteY2141" fmla="*/ 90126 h 1002999"/>
                <a:gd name="connsiteX2142" fmla="*/ 623347 w 1357518"/>
                <a:gd name="connsiteY2142" fmla="*/ 86424 h 1002999"/>
                <a:gd name="connsiteX2143" fmla="*/ 623140 w 1357518"/>
                <a:gd name="connsiteY2143" fmla="*/ 82210 h 1002999"/>
                <a:gd name="connsiteX2144" fmla="*/ 625131 w 1357518"/>
                <a:gd name="connsiteY2144" fmla="*/ 73834 h 1002999"/>
                <a:gd name="connsiteX2145" fmla="*/ 629860 w 1357518"/>
                <a:gd name="connsiteY2145" fmla="*/ 71094 h 1002999"/>
                <a:gd name="connsiteX2146" fmla="*/ 631946 w 1357518"/>
                <a:gd name="connsiteY2146" fmla="*/ 67991 h 1002999"/>
                <a:gd name="connsiteX2147" fmla="*/ 630007 w 1357518"/>
                <a:gd name="connsiteY2147" fmla="*/ 62374 h 1002999"/>
                <a:gd name="connsiteX2148" fmla="*/ 624464 w 1357518"/>
                <a:gd name="connsiteY2148" fmla="*/ 58519 h 1002999"/>
                <a:gd name="connsiteX2149" fmla="*/ 602901 w 1357518"/>
                <a:gd name="connsiteY2149" fmla="*/ 48549 h 1002999"/>
                <a:gd name="connsiteX2150" fmla="*/ 602810 w 1357518"/>
                <a:gd name="connsiteY2150" fmla="*/ 47356 h 1002999"/>
                <a:gd name="connsiteX2151" fmla="*/ 607164 w 1357518"/>
                <a:gd name="connsiteY2151" fmla="*/ 46045 h 1002999"/>
                <a:gd name="connsiteX2152" fmla="*/ 613625 w 1357518"/>
                <a:gd name="connsiteY2152" fmla="*/ 45277 h 1002999"/>
                <a:gd name="connsiteX2153" fmla="*/ 667063 w 1357518"/>
                <a:gd name="connsiteY2153" fmla="*/ 47661 h 1002999"/>
                <a:gd name="connsiteX2154" fmla="*/ 676301 w 1357518"/>
                <a:gd name="connsiteY2154" fmla="*/ 48536 h 1002999"/>
                <a:gd name="connsiteX2155" fmla="*/ 680244 w 1357518"/>
                <a:gd name="connsiteY2155" fmla="*/ 49394 h 1002999"/>
                <a:gd name="connsiteX2156" fmla="*/ 681971 w 1357518"/>
                <a:gd name="connsiteY2156" fmla="*/ 50524 h 1002999"/>
                <a:gd name="connsiteX2157" fmla="*/ 684184 w 1357518"/>
                <a:gd name="connsiteY2157" fmla="*/ 51007 h 1002999"/>
                <a:gd name="connsiteX2158" fmla="*/ 695664 w 1357518"/>
                <a:gd name="connsiteY2158" fmla="*/ 49659 h 1002999"/>
                <a:gd name="connsiteX2159" fmla="*/ 695391 w 1357518"/>
                <a:gd name="connsiteY2159" fmla="*/ 47193 h 1002999"/>
                <a:gd name="connsiteX2160" fmla="*/ 693959 w 1357518"/>
                <a:gd name="connsiteY2160" fmla="*/ 45625 h 1002999"/>
                <a:gd name="connsiteX2161" fmla="*/ 631939 w 1357518"/>
                <a:gd name="connsiteY2161" fmla="*/ 41332 h 1002999"/>
                <a:gd name="connsiteX2162" fmla="*/ 620379 w 1357518"/>
                <a:gd name="connsiteY2162" fmla="*/ 39860 h 1002999"/>
                <a:gd name="connsiteX2163" fmla="*/ 614498 w 1357518"/>
                <a:gd name="connsiteY2163" fmla="*/ 39747 h 1002999"/>
                <a:gd name="connsiteX2164" fmla="*/ 608417 w 1357518"/>
                <a:gd name="connsiteY2164" fmla="*/ 40876 h 1002999"/>
                <a:gd name="connsiteX2165" fmla="*/ 595804 w 1357518"/>
                <a:gd name="connsiteY2165" fmla="*/ 41437 h 1002999"/>
                <a:gd name="connsiteX2166" fmla="*/ 589978 w 1357518"/>
                <a:gd name="connsiteY2166" fmla="*/ 41219 h 1002999"/>
                <a:gd name="connsiteX2167" fmla="*/ 582431 w 1357518"/>
                <a:gd name="connsiteY2167" fmla="*/ 36094 h 1002999"/>
                <a:gd name="connsiteX2168" fmla="*/ 589266 w 1357518"/>
                <a:gd name="connsiteY2168" fmla="*/ 29909 h 1002999"/>
                <a:gd name="connsiteX2169" fmla="*/ 595018 w 1357518"/>
                <a:gd name="connsiteY2169" fmla="*/ 30050 h 1002999"/>
                <a:gd name="connsiteX2170" fmla="*/ 605948 w 1357518"/>
                <a:gd name="connsiteY2170" fmla="*/ 32463 h 1002999"/>
                <a:gd name="connsiteX2171" fmla="*/ 612423 w 1357518"/>
                <a:gd name="connsiteY2171" fmla="*/ 29090 h 1002999"/>
                <a:gd name="connsiteX2172" fmla="*/ 622702 w 1357518"/>
                <a:gd name="connsiteY2172" fmla="*/ 26298 h 1002999"/>
                <a:gd name="connsiteX2173" fmla="*/ 632865 w 1357518"/>
                <a:gd name="connsiteY2173" fmla="*/ 25311 h 1002999"/>
                <a:gd name="connsiteX2174" fmla="*/ 655038 w 1357518"/>
                <a:gd name="connsiteY2174" fmla="*/ 19291 h 1002999"/>
                <a:gd name="connsiteX2175" fmla="*/ 659135 w 1357518"/>
                <a:gd name="connsiteY2175" fmla="*/ 18763 h 1002999"/>
                <a:gd name="connsiteX2176" fmla="*/ 664304 w 1357518"/>
                <a:gd name="connsiteY2176" fmla="*/ 19087 h 1002999"/>
                <a:gd name="connsiteX2177" fmla="*/ 675714 w 1357518"/>
                <a:gd name="connsiteY2177" fmla="*/ 20580 h 1002999"/>
                <a:gd name="connsiteX2178" fmla="*/ 680245 w 1357518"/>
                <a:gd name="connsiteY2178" fmla="*/ 22070 h 1002999"/>
                <a:gd name="connsiteX2179" fmla="*/ 685437 w 1357518"/>
                <a:gd name="connsiteY2179" fmla="*/ 25260 h 1002999"/>
                <a:gd name="connsiteX2180" fmla="*/ 688451 w 1357518"/>
                <a:gd name="connsiteY2180" fmla="*/ 26243 h 1002999"/>
                <a:gd name="connsiteX2181" fmla="*/ 692023 w 1357518"/>
                <a:gd name="connsiteY2181" fmla="*/ 26425 h 1002999"/>
                <a:gd name="connsiteX2182" fmla="*/ 696927 w 1357518"/>
                <a:gd name="connsiteY2182" fmla="*/ 27864 h 1002999"/>
                <a:gd name="connsiteX2183" fmla="*/ 704020 w 1357518"/>
                <a:gd name="connsiteY2183" fmla="*/ 23199 h 1002999"/>
                <a:gd name="connsiteX2184" fmla="*/ 710431 w 1357518"/>
                <a:gd name="connsiteY2184" fmla="*/ 18173 h 1002999"/>
                <a:gd name="connsiteX2185" fmla="*/ 717786 w 1357518"/>
                <a:gd name="connsiteY2185" fmla="*/ 14995 h 1002999"/>
                <a:gd name="connsiteX2186" fmla="*/ 728190 w 1357518"/>
                <a:gd name="connsiteY2186" fmla="*/ 16850 h 1002999"/>
                <a:gd name="connsiteX2187" fmla="*/ 734777 w 1357518"/>
                <a:gd name="connsiteY2187" fmla="*/ 19266 h 1002999"/>
                <a:gd name="connsiteX2188" fmla="*/ 740801 w 1357518"/>
                <a:gd name="connsiteY2188" fmla="*/ 22141 h 1002999"/>
                <a:gd name="connsiteX2189" fmla="*/ 749312 w 1357518"/>
                <a:gd name="connsiteY2189" fmla="*/ 23729 h 1002999"/>
                <a:gd name="connsiteX2190" fmla="*/ 763745 w 1357518"/>
                <a:gd name="connsiteY2190" fmla="*/ 33502 h 1002999"/>
                <a:gd name="connsiteX2191" fmla="*/ 766446 w 1357518"/>
                <a:gd name="connsiteY2191" fmla="*/ 33516 h 1002999"/>
                <a:gd name="connsiteX2192" fmla="*/ 767721 w 1357518"/>
                <a:gd name="connsiteY2192" fmla="*/ 32690 h 1002999"/>
                <a:gd name="connsiteX2193" fmla="*/ 769082 w 1357518"/>
                <a:gd name="connsiteY2193" fmla="*/ 30882 h 1002999"/>
                <a:gd name="connsiteX2194" fmla="*/ 769571 w 1357518"/>
                <a:gd name="connsiteY2194" fmla="*/ 28195 h 1002999"/>
                <a:gd name="connsiteX2195" fmla="*/ 771343 w 1357518"/>
                <a:gd name="connsiteY2195" fmla="*/ 24539 h 1002999"/>
                <a:gd name="connsiteX2196" fmla="*/ 770061 w 1357518"/>
                <a:gd name="connsiteY2196" fmla="*/ 23186 h 1002999"/>
                <a:gd name="connsiteX2197" fmla="*/ 757970 w 1357518"/>
                <a:gd name="connsiteY2197" fmla="*/ 19122 h 1002999"/>
                <a:gd name="connsiteX2198" fmla="*/ 755684 w 1357518"/>
                <a:gd name="connsiteY2198" fmla="*/ 17556 h 1002999"/>
                <a:gd name="connsiteX2199" fmla="*/ 753365 w 1357518"/>
                <a:gd name="connsiteY2199" fmla="*/ 14973 h 1002999"/>
                <a:gd name="connsiteX2200" fmla="*/ 753326 w 1357518"/>
                <a:gd name="connsiteY2200" fmla="*/ 12835 h 1002999"/>
                <a:gd name="connsiteX2201" fmla="*/ 755567 w 1357518"/>
                <a:gd name="connsiteY2201" fmla="*/ 11147 h 1002999"/>
                <a:gd name="connsiteX2202" fmla="*/ 757928 w 1357518"/>
                <a:gd name="connsiteY2202" fmla="*/ 10377 h 1002999"/>
                <a:gd name="connsiteX2203" fmla="*/ 765745 w 1357518"/>
                <a:gd name="connsiteY2203" fmla="*/ 11076 h 1002999"/>
                <a:gd name="connsiteX2204" fmla="*/ 768329 w 1357518"/>
                <a:gd name="connsiteY2204" fmla="*/ 10527 h 1002999"/>
                <a:gd name="connsiteX2205" fmla="*/ 770767 w 1357518"/>
                <a:gd name="connsiteY2205" fmla="*/ 9097 h 1002999"/>
                <a:gd name="connsiteX2206" fmla="*/ 773703 w 1357518"/>
                <a:gd name="connsiteY2206" fmla="*/ 6412 h 1002999"/>
                <a:gd name="connsiteX2207" fmla="*/ 776018 w 1357518"/>
                <a:gd name="connsiteY2207" fmla="*/ 5727 h 1002999"/>
                <a:gd name="connsiteX2208" fmla="*/ 781246 w 1357518"/>
                <a:gd name="connsiteY2208" fmla="*/ 5650 h 1002999"/>
                <a:gd name="connsiteX2209" fmla="*/ 789293 w 1357518"/>
                <a:gd name="connsiteY2209" fmla="*/ 7373 h 1002999"/>
                <a:gd name="connsiteX2210" fmla="*/ 796336 w 1357518"/>
                <a:gd name="connsiteY2210" fmla="*/ 7518 h 1002999"/>
                <a:gd name="connsiteX2211" fmla="*/ 798877 w 1357518"/>
                <a:gd name="connsiteY2211" fmla="*/ 6727 h 1002999"/>
                <a:gd name="connsiteX2212" fmla="*/ 799263 w 1357518"/>
                <a:gd name="connsiteY2212" fmla="*/ 5044 h 1002999"/>
                <a:gd name="connsiteX2213" fmla="*/ 799875 w 1357518"/>
                <a:gd name="connsiteY2213" fmla="*/ 3975 h 1002999"/>
                <a:gd name="connsiteX2214" fmla="*/ 800714 w 1357518"/>
                <a:gd name="connsiteY2214" fmla="*/ 3525 h 1002999"/>
                <a:gd name="connsiteX2215" fmla="*/ 826246 w 1357518"/>
                <a:gd name="connsiteY2215" fmla="*/ 3432 h 1002999"/>
                <a:gd name="connsiteX2216" fmla="*/ 832577 w 1357518"/>
                <a:gd name="connsiteY2216" fmla="*/ 3031 h 1002999"/>
                <a:gd name="connsiteX2217" fmla="*/ 837527 w 1357518"/>
                <a:gd name="connsiteY2217" fmla="*/ 1754 h 1002999"/>
                <a:gd name="connsiteX2218" fmla="*/ 843584 w 1357518"/>
                <a:gd name="connsiteY2218" fmla="*/ 1603 h 1002999"/>
                <a:gd name="connsiteX2219" fmla="*/ 848878 w 1357518"/>
                <a:gd name="connsiteY2219" fmla="*/ 2366 h 1002999"/>
                <a:gd name="connsiteX2220" fmla="*/ 855432 w 1357518"/>
                <a:gd name="connsiteY2220" fmla="*/ 3991 h 1002999"/>
                <a:gd name="connsiteX2221" fmla="*/ 861946 w 1357518"/>
                <a:gd name="connsiteY2221" fmla="*/ 3917 h 1002999"/>
                <a:gd name="connsiteX2222" fmla="*/ 871653 w 1357518"/>
                <a:gd name="connsiteY2222" fmla="*/ 1259 h 1002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</a:cxnLst>
              <a:rect l="l" t="t" r="r" b="b"/>
              <a:pathLst>
                <a:path w="1357518" h="1002999">
                  <a:moveTo>
                    <a:pt x="588466" y="965500"/>
                  </a:moveTo>
                  <a:lnTo>
                    <a:pt x="588170" y="967322"/>
                  </a:lnTo>
                  <a:lnTo>
                    <a:pt x="587376" y="968916"/>
                  </a:lnTo>
                  <a:lnTo>
                    <a:pt x="587107" y="970930"/>
                  </a:lnTo>
                  <a:lnTo>
                    <a:pt x="584567" y="974977"/>
                  </a:lnTo>
                  <a:lnTo>
                    <a:pt x="582029" y="974096"/>
                  </a:lnTo>
                  <a:lnTo>
                    <a:pt x="580773" y="972288"/>
                  </a:lnTo>
                  <a:lnTo>
                    <a:pt x="578273" y="971448"/>
                  </a:lnTo>
                  <a:lnTo>
                    <a:pt x="575578" y="971699"/>
                  </a:lnTo>
                  <a:lnTo>
                    <a:pt x="575536" y="970982"/>
                  </a:lnTo>
                  <a:lnTo>
                    <a:pt x="584294" y="966664"/>
                  </a:lnTo>
                  <a:close/>
                  <a:moveTo>
                    <a:pt x="790962" y="798664"/>
                  </a:moveTo>
                  <a:lnTo>
                    <a:pt x="793051" y="800807"/>
                  </a:lnTo>
                  <a:lnTo>
                    <a:pt x="792302" y="803994"/>
                  </a:lnTo>
                  <a:lnTo>
                    <a:pt x="791322" y="805576"/>
                  </a:lnTo>
                  <a:lnTo>
                    <a:pt x="787882" y="805599"/>
                  </a:lnTo>
                  <a:lnTo>
                    <a:pt x="786741" y="802750"/>
                  </a:lnTo>
                  <a:lnTo>
                    <a:pt x="787084" y="799639"/>
                  </a:lnTo>
                  <a:close/>
                  <a:moveTo>
                    <a:pt x="480352" y="639490"/>
                  </a:moveTo>
                  <a:lnTo>
                    <a:pt x="483765" y="640101"/>
                  </a:lnTo>
                  <a:lnTo>
                    <a:pt x="489541" y="642474"/>
                  </a:lnTo>
                  <a:lnTo>
                    <a:pt x="489123" y="643242"/>
                  </a:lnTo>
                  <a:lnTo>
                    <a:pt x="487874" y="644479"/>
                  </a:lnTo>
                  <a:lnTo>
                    <a:pt x="484395" y="646091"/>
                  </a:lnTo>
                  <a:lnTo>
                    <a:pt x="483168" y="649724"/>
                  </a:lnTo>
                  <a:lnTo>
                    <a:pt x="482932" y="651547"/>
                  </a:lnTo>
                  <a:lnTo>
                    <a:pt x="483098" y="652913"/>
                  </a:lnTo>
                  <a:lnTo>
                    <a:pt x="482141" y="654108"/>
                  </a:lnTo>
                  <a:lnTo>
                    <a:pt x="478675" y="655493"/>
                  </a:lnTo>
                  <a:lnTo>
                    <a:pt x="477976" y="655185"/>
                  </a:lnTo>
                  <a:lnTo>
                    <a:pt x="477269" y="654133"/>
                  </a:lnTo>
                  <a:lnTo>
                    <a:pt x="475480" y="649339"/>
                  </a:lnTo>
                  <a:lnTo>
                    <a:pt x="474950" y="647061"/>
                  </a:lnTo>
                  <a:lnTo>
                    <a:pt x="475391" y="644227"/>
                  </a:lnTo>
                  <a:lnTo>
                    <a:pt x="474698" y="642228"/>
                  </a:lnTo>
                  <a:lnTo>
                    <a:pt x="477824" y="639895"/>
                  </a:lnTo>
                  <a:close/>
                  <a:moveTo>
                    <a:pt x="407890" y="623906"/>
                  </a:moveTo>
                  <a:lnTo>
                    <a:pt x="415947" y="624736"/>
                  </a:lnTo>
                  <a:lnTo>
                    <a:pt x="429924" y="627723"/>
                  </a:lnTo>
                  <a:lnTo>
                    <a:pt x="431658" y="628356"/>
                  </a:lnTo>
                  <a:lnTo>
                    <a:pt x="435943" y="630915"/>
                  </a:lnTo>
                  <a:lnTo>
                    <a:pt x="444164" y="638679"/>
                  </a:lnTo>
                  <a:lnTo>
                    <a:pt x="451525" y="641887"/>
                  </a:lnTo>
                  <a:lnTo>
                    <a:pt x="459329" y="644101"/>
                  </a:lnTo>
                  <a:lnTo>
                    <a:pt x="460093" y="645113"/>
                  </a:lnTo>
                  <a:lnTo>
                    <a:pt x="460698" y="646642"/>
                  </a:lnTo>
                  <a:lnTo>
                    <a:pt x="460839" y="647439"/>
                  </a:lnTo>
                  <a:lnTo>
                    <a:pt x="460660" y="648178"/>
                  </a:lnTo>
                  <a:lnTo>
                    <a:pt x="460166" y="648859"/>
                  </a:lnTo>
                  <a:lnTo>
                    <a:pt x="460736" y="649736"/>
                  </a:lnTo>
                  <a:lnTo>
                    <a:pt x="462371" y="650807"/>
                  </a:lnTo>
                  <a:lnTo>
                    <a:pt x="462538" y="652059"/>
                  </a:lnTo>
                  <a:lnTo>
                    <a:pt x="460587" y="654206"/>
                  </a:lnTo>
                  <a:lnTo>
                    <a:pt x="457842" y="656590"/>
                  </a:lnTo>
                  <a:lnTo>
                    <a:pt x="443295" y="661483"/>
                  </a:lnTo>
                  <a:lnTo>
                    <a:pt x="438150" y="662314"/>
                  </a:lnTo>
                  <a:lnTo>
                    <a:pt x="425429" y="665665"/>
                  </a:lnTo>
                  <a:lnTo>
                    <a:pt x="421539" y="665528"/>
                  </a:lnTo>
                  <a:lnTo>
                    <a:pt x="420681" y="665371"/>
                  </a:lnTo>
                  <a:lnTo>
                    <a:pt x="418273" y="663898"/>
                  </a:lnTo>
                  <a:lnTo>
                    <a:pt x="414976" y="662527"/>
                  </a:lnTo>
                  <a:lnTo>
                    <a:pt x="413430" y="661464"/>
                  </a:lnTo>
                  <a:lnTo>
                    <a:pt x="412067" y="659936"/>
                  </a:lnTo>
                  <a:lnTo>
                    <a:pt x="412610" y="658989"/>
                  </a:lnTo>
                  <a:lnTo>
                    <a:pt x="415060" y="658616"/>
                  </a:lnTo>
                  <a:lnTo>
                    <a:pt x="418548" y="658641"/>
                  </a:lnTo>
                  <a:lnTo>
                    <a:pt x="423663" y="657528"/>
                  </a:lnTo>
                  <a:lnTo>
                    <a:pt x="422248" y="656527"/>
                  </a:lnTo>
                  <a:lnTo>
                    <a:pt x="420904" y="655917"/>
                  </a:lnTo>
                  <a:lnTo>
                    <a:pt x="419976" y="654585"/>
                  </a:lnTo>
                  <a:lnTo>
                    <a:pt x="417843" y="654845"/>
                  </a:lnTo>
                  <a:lnTo>
                    <a:pt x="416245" y="654082"/>
                  </a:lnTo>
                  <a:lnTo>
                    <a:pt x="413162" y="653601"/>
                  </a:lnTo>
                  <a:lnTo>
                    <a:pt x="405118" y="653140"/>
                  </a:lnTo>
                  <a:lnTo>
                    <a:pt x="399874" y="651832"/>
                  </a:lnTo>
                  <a:lnTo>
                    <a:pt x="398327" y="651049"/>
                  </a:lnTo>
                  <a:lnTo>
                    <a:pt x="396963" y="649694"/>
                  </a:lnTo>
                  <a:lnTo>
                    <a:pt x="395783" y="647785"/>
                  </a:lnTo>
                  <a:lnTo>
                    <a:pt x="397505" y="640369"/>
                  </a:lnTo>
                  <a:lnTo>
                    <a:pt x="398685" y="638476"/>
                  </a:lnTo>
                  <a:lnTo>
                    <a:pt x="401411" y="637851"/>
                  </a:lnTo>
                  <a:lnTo>
                    <a:pt x="408078" y="639504"/>
                  </a:lnTo>
                  <a:lnTo>
                    <a:pt x="408974" y="638790"/>
                  </a:lnTo>
                  <a:lnTo>
                    <a:pt x="401680" y="636052"/>
                  </a:lnTo>
                  <a:lnTo>
                    <a:pt x="399000" y="634415"/>
                  </a:lnTo>
                  <a:lnTo>
                    <a:pt x="398211" y="633126"/>
                  </a:lnTo>
                  <a:lnTo>
                    <a:pt x="397737" y="631229"/>
                  </a:lnTo>
                  <a:lnTo>
                    <a:pt x="397744" y="630113"/>
                  </a:lnTo>
                  <a:lnTo>
                    <a:pt x="398073" y="628989"/>
                  </a:lnTo>
                  <a:lnTo>
                    <a:pt x="398722" y="627863"/>
                  </a:lnTo>
                  <a:lnTo>
                    <a:pt x="400497" y="626338"/>
                  </a:lnTo>
                  <a:close/>
                  <a:moveTo>
                    <a:pt x="460998" y="597485"/>
                  </a:moveTo>
                  <a:lnTo>
                    <a:pt x="464600" y="598890"/>
                  </a:lnTo>
                  <a:lnTo>
                    <a:pt x="468483" y="600886"/>
                  </a:lnTo>
                  <a:lnTo>
                    <a:pt x="469023" y="601824"/>
                  </a:lnTo>
                  <a:lnTo>
                    <a:pt x="467514" y="602372"/>
                  </a:lnTo>
                  <a:lnTo>
                    <a:pt x="464561" y="602480"/>
                  </a:lnTo>
                  <a:lnTo>
                    <a:pt x="457691" y="601751"/>
                  </a:lnTo>
                  <a:lnTo>
                    <a:pt x="457143" y="601283"/>
                  </a:lnTo>
                  <a:lnTo>
                    <a:pt x="457058" y="600392"/>
                  </a:lnTo>
                  <a:lnTo>
                    <a:pt x="457971" y="597826"/>
                  </a:lnTo>
                  <a:close/>
                  <a:moveTo>
                    <a:pt x="1039251" y="594771"/>
                  </a:moveTo>
                  <a:lnTo>
                    <a:pt x="1041287" y="594836"/>
                  </a:lnTo>
                  <a:lnTo>
                    <a:pt x="1042746" y="596618"/>
                  </a:lnTo>
                  <a:lnTo>
                    <a:pt x="1043819" y="597491"/>
                  </a:lnTo>
                  <a:lnTo>
                    <a:pt x="1047225" y="598854"/>
                  </a:lnTo>
                  <a:lnTo>
                    <a:pt x="1047799" y="599709"/>
                  </a:lnTo>
                  <a:lnTo>
                    <a:pt x="1048575" y="602081"/>
                  </a:lnTo>
                  <a:lnTo>
                    <a:pt x="1048654" y="603200"/>
                  </a:lnTo>
                  <a:lnTo>
                    <a:pt x="1048483" y="604141"/>
                  </a:lnTo>
                  <a:lnTo>
                    <a:pt x="1048053" y="604812"/>
                  </a:lnTo>
                  <a:lnTo>
                    <a:pt x="1047015" y="605411"/>
                  </a:lnTo>
                  <a:lnTo>
                    <a:pt x="1048953" y="606982"/>
                  </a:lnTo>
                  <a:lnTo>
                    <a:pt x="1049582" y="608037"/>
                  </a:lnTo>
                  <a:lnTo>
                    <a:pt x="1049700" y="608879"/>
                  </a:lnTo>
                  <a:lnTo>
                    <a:pt x="1048464" y="610509"/>
                  </a:lnTo>
                  <a:lnTo>
                    <a:pt x="1039656" y="612663"/>
                  </a:lnTo>
                  <a:lnTo>
                    <a:pt x="1037207" y="613698"/>
                  </a:lnTo>
                  <a:lnTo>
                    <a:pt x="1034147" y="616254"/>
                  </a:lnTo>
                  <a:lnTo>
                    <a:pt x="1030428" y="618454"/>
                  </a:lnTo>
                  <a:lnTo>
                    <a:pt x="1029190" y="618443"/>
                  </a:lnTo>
                  <a:lnTo>
                    <a:pt x="1027747" y="616163"/>
                  </a:lnTo>
                  <a:lnTo>
                    <a:pt x="1021875" y="614486"/>
                  </a:lnTo>
                  <a:lnTo>
                    <a:pt x="1010817" y="615361"/>
                  </a:lnTo>
                  <a:lnTo>
                    <a:pt x="997876" y="617472"/>
                  </a:lnTo>
                  <a:lnTo>
                    <a:pt x="993278" y="618456"/>
                  </a:lnTo>
                  <a:lnTo>
                    <a:pt x="990955" y="617932"/>
                  </a:lnTo>
                  <a:lnTo>
                    <a:pt x="990242" y="617146"/>
                  </a:lnTo>
                  <a:lnTo>
                    <a:pt x="990208" y="616045"/>
                  </a:lnTo>
                  <a:lnTo>
                    <a:pt x="991740" y="612827"/>
                  </a:lnTo>
                  <a:lnTo>
                    <a:pt x="992359" y="612007"/>
                  </a:lnTo>
                  <a:lnTo>
                    <a:pt x="995328" y="610935"/>
                  </a:lnTo>
                  <a:lnTo>
                    <a:pt x="997341" y="608098"/>
                  </a:lnTo>
                  <a:lnTo>
                    <a:pt x="996683" y="605006"/>
                  </a:lnTo>
                  <a:lnTo>
                    <a:pt x="997458" y="600685"/>
                  </a:lnTo>
                  <a:lnTo>
                    <a:pt x="999486" y="600014"/>
                  </a:lnTo>
                  <a:lnTo>
                    <a:pt x="1004566" y="601550"/>
                  </a:lnTo>
                  <a:lnTo>
                    <a:pt x="1007852" y="601875"/>
                  </a:lnTo>
                  <a:lnTo>
                    <a:pt x="1013674" y="602071"/>
                  </a:lnTo>
                  <a:lnTo>
                    <a:pt x="1021498" y="601550"/>
                  </a:lnTo>
                  <a:lnTo>
                    <a:pt x="1027784" y="599794"/>
                  </a:lnTo>
                  <a:close/>
                  <a:moveTo>
                    <a:pt x="425295" y="584500"/>
                  </a:moveTo>
                  <a:lnTo>
                    <a:pt x="426890" y="586428"/>
                  </a:lnTo>
                  <a:lnTo>
                    <a:pt x="428459" y="589015"/>
                  </a:lnTo>
                  <a:lnTo>
                    <a:pt x="428664" y="590329"/>
                  </a:lnTo>
                  <a:lnTo>
                    <a:pt x="428558" y="591876"/>
                  </a:lnTo>
                  <a:lnTo>
                    <a:pt x="428148" y="593184"/>
                  </a:lnTo>
                  <a:lnTo>
                    <a:pt x="427433" y="594260"/>
                  </a:lnTo>
                  <a:lnTo>
                    <a:pt x="426385" y="594886"/>
                  </a:lnTo>
                  <a:lnTo>
                    <a:pt x="424315" y="595150"/>
                  </a:lnTo>
                  <a:lnTo>
                    <a:pt x="418372" y="593093"/>
                  </a:lnTo>
                  <a:lnTo>
                    <a:pt x="417408" y="592318"/>
                  </a:lnTo>
                  <a:lnTo>
                    <a:pt x="417040" y="591370"/>
                  </a:lnTo>
                  <a:lnTo>
                    <a:pt x="417269" y="590244"/>
                  </a:lnTo>
                  <a:lnTo>
                    <a:pt x="419161" y="588148"/>
                  </a:lnTo>
                  <a:lnTo>
                    <a:pt x="422719" y="585072"/>
                  </a:lnTo>
                  <a:close/>
                  <a:moveTo>
                    <a:pt x="389444" y="520655"/>
                  </a:moveTo>
                  <a:lnTo>
                    <a:pt x="393265" y="521543"/>
                  </a:lnTo>
                  <a:lnTo>
                    <a:pt x="393621" y="522778"/>
                  </a:lnTo>
                  <a:lnTo>
                    <a:pt x="390497" y="525625"/>
                  </a:lnTo>
                  <a:lnTo>
                    <a:pt x="387945" y="527258"/>
                  </a:lnTo>
                  <a:lnTo>
                    <a:pt x="382416" y="532109"/>
                  </a:lnTo>
                  <a:lnTo>
                    <a:pt x="381466" y="532278"/>
                  </a:lnTo>
                  <a:lnTo>
                    <a:pt x="379973" y="531647"/>
                  </a:lnTo>
                  <a:lnTo>
                    <a:pt x="378815" y="530374"/>
                  </a:lnTo>
                  <a:lnTo>
                    <a:pt x="376725" y="530067"/>
                  </a:lnTo>
                  <a:lnTo>
                    <a:pt x="375997" y="529262"/>
                  </a:lnTo>
                  <a:lnTo>
                    <a:pt x="375705" y="528606"/>
                  </a:lnTo>
                  <a:lnTo>
                    <a:pt x="374778" y="528189"/>
                  </a:lnTo>
                  <a:lnTo>
                    <a:pt x="373305" y="527927"/>
                  </a:lnTo>
                  <a:lnTo>
                    <a:pt x="370939" y="528426"/>
                  </a:lnTo>
                  <a:lnTo>
                    <a:pt x="368768" y="527923"/>
                  </a:lnTo>
                  <a:lnTo>
                    <a:pt x="367133" y="525797"/>
                  </a:lnTo>
                  <a:lnTo>
                    <a:pt x="370156" y="524369"/>
                  </a:lnTo>
                  <a:lnTo>
                    <a:pt x="372026" y="523150"/>
                  </a:lnTo>
                  <a:lnTo>
                    <a:pt x="379258" y="522670"/>
                  </a:lnTo>
                  <a:lnTo>
                    <a:pt x="381298" y="523229"/>
                  </a:lnTo>
                  <a:lnTo>
                    <a:pt x="382580" y="523215"/>
                  </a:lnTo>
                  <a:lnTo>
                    <a:pt x="384533" y="522883"/>
                  </a:lnTo>
                  <a:lnTo>
                    <a:pt x="388806" y="521363"/>
                  </a:lnTo>
                  <a:close/>
                  <a:moveTo>
                    <a:pt x="1212131" y="409494"/>
                  </a:moveTo>
                  <a:lnTo>
                    <a:pt x="1213886" y="414214"/>
                  </a:lnTo>
                  <a:lnTo>
                    <a:pt x="1214666" y="418533"/>
                  </a:lnTo>
                  <a:lnTo>
                    <a:pt x="1217397" y="421272"/>
                  </a:lnTo>
                  <a:lnTo>
                    <a:pt x="1223246" y="420885"/>
                  </a:lnTo>
                  <a:lnTo>
                    <a:pt x="1225587" y="425964"/>
                  </a:lnTo>
                  <a:lnTo>
                    <a:pt x="1221297" y="427917"/>
                  </a:lnTo>
                  <a:lnTo>
                    <a:pt x="1204330" y="427135"/>
                  </a:lnTo>
                  <a:lnTo>
                    <a:pt x="1197310" y="427524"/>
                  </a:lnTo>
                  <a:lnTo>
                    <a:pt x="1192434" y="424403"/>
                  </a:lnTo>
                  <a:lnTo>
                    <a:pt x="1192630" y="418924"/>
                  </a:lnTo>
                  <a:lnTo>
                    <a:pt x="1193214" y="413429"/>
                  </a:lnTo>
                  <a:lnTo>
                    <a:pt x="1198090" y="410284"/>
                  </a:lnTo>
                  <a:lnTo>
                    <a:pt x="1202185" y="413035"/>
                  </a:lnTo>
                  <a:lnTo>
                    <a:pt x="1207060" y="411068"/>
                  </a:lnTo>
                  <a:close/>
                  <a:moveTo>
                    <a:pt x="1192630" y="350644"/>
                  </a:moveTo>
                  <a:lnTo>
                    <a:pt x="1195943" y="353491"/>
                  </a:lnTo>
                  <a:lnTo>
                    <a:pt x="1197505" y="364428"/>
                  </a:lnTo>
                  <a:lnTo>
                    <a:pt x="1199260" y="380908"/>
                  </a:lnTo>
                  <a:lnTo>
                    <a:pt x="1196725" y="382109"/>
                  </a:lnTo>
                  <a:lnTo>
                    <a:pt x="1188144" y="363216"/>
                  </a:lnTo>
                  <a:lnTo>
                    <a:pt x="1188144" y="356335"/>
                  </a:lnTo>
                  <a:lnTo>
                    <a:pt x="1188729" y="351052"/>
                  </a:lnTo>
                  <a:close/>
                  <a:moveTo>
                    <a:pt x="16120" y="315079"/>
                  </a:moveTo>
                  <a:lnTo>
                    <a:pt x="18470" y="315414"/>
                  </a:lnTo>
                  <a:lnTo>
                    <a:pt x="23995" y="316746"/>
                  </a:lnTo>
                  <a:lnTo>
                    <a:pt x="27992" y="318079"/>
                  </a:lnTo>
                  <a:lnTo>
                    <a:pt x="30617" y="318497"/>
                  </a:lnTo>
                  <a:lnTo>
                    <a:pt x="29873" y="320408"/>
                  </a:lnTo>
                  <a:lnTo>
                    <a:pt x="25445" y="321739"/>
                  </a:lnTo>
                  <a:lnTo>
                    <a:pt x="17568" y="322154"/>
                  </a:lnTo>
                  <a:lnTo>
                    <a:pt x="9810" y="320326"/>
                  </a:lnTo>
                  <a:lnTo>
                    <a:pt x="7145" y="318912"/>
                  </a:lnTo>
                  <a:lnTo>
                    <a:pt x="7264" y="316746"/>
                  </a:lnTo>
                  <a:lnTo>
                    <a:pt x="8439" y="315998"/>
                  </a:lnTo>
                  <a:lnTo>
                    <a:pt x="12632" y="315246"/>
                  </a:lnTo>
                  <a:close/>
                  <a:moveTo>
                    <a:pt x="1216265" y="295798"/>
                  </a:moveTo>
                  <a:lnTo>
                    <a:pt x="1219187" y="296559"/>
                  </a:lnTo>
                  <a:lnTo>
                    <a:pt x="1220073" y="300175"/>
                  </a:lnTo>
                  <a:lnTo>
                    <a:pt x="1218125" y="303781"/>
                  </a:lnTo>
                  <a:lnTo>
                    <a:pt x="1213166" y="306813"/>
                  </a:lnTo>
                  <a:lnTo>
                    <a:pt x="1208871" y="306813"/>
                  </a:lnTo>
                  <a:lnTo>
                    <a:pt x="1207278" y="305582"/>
                  </a:lnTo>
                  <a:lnTo>
                    <a:pt x="1208295" y="303404"/>
                  </a:lnTo>
                  <a:lnTo>
                    <a:pt x="1214272" y="296369"/>
                  </a:lnTo>
                  <a:close/>
                  <a:moveTo>
                    <a:pt x="1189899" y="268640"/>
                  </a:moveTo>
                  <a:lnTo>
                    <a:pt x="1191459" y="269491"/>
                  </a:lnTo>
                  <a:lnTo>
                    <a:pt x="1191070" y="272896"/>
                  </a:lnTo>
                  <a:lnTo>
                    <a:pt x="1191070" y="279680"/>
                  </a:lnTo>
                  <a:lnTo>
                    <a:pt x="1192630" y="284331"/>
                  </a:lnTo>
                  <a:lnTo>
                    <a:pt x="1190093" y="291074"/>
                  </a:lnTo>
                  <a:lnTo>
                    <a:pt x="1187168" y="292755"/>
                  </a:lnTo>
                  <a:lnTo>
                    <a:pt x="1185219" y="287706"/>
                  </a:lnTo>
                  <a:lnTo>
                    <a:pt x="1183463" y="280950"/>
                  </a:lnTo>
                  <a:lnTo>
                    <a:pt x="1183072" y="273319"/>
                  </a:lnTo>
                  <a:lnTo>
                    <a:pt x="1187558" y="269491"/>
                  </a:lnTo>
                  <a:close/>
                  <a:moveTo>
                    <a:pt x="1212521" y="188925"/>
                  </a:moveTo>
                  <a:lnTo>
                    <a:pt x="1223832" y="190261"/>
                  </a:lnTo>
                  <a:lnTo>
                    <a:pt x="1225392" y="194710"/>
                  </a:lnTo>
                  <a:lnTo>
                    <a:pt x="1220711" y="200471"/>
                  </a:lnTo>
                  <a:lnTo>
                    <a:pt x="1211351" y="206216"/>
                  </a:lnTo>
                  <a:lnTo>
                    <a:pt x="1197505" y="205776"/>
                  </a:lnTo>
                  <a:lnTo>
                    <a:pt x="1189314" y="203126"/>
                  </a:lnTo>
                  <a:lnTo>
                    <a:pt x="1186973" y="199143"/>
                  </a:lnTo>
                  <a:lnTo>
                    <a:pt x="1190093" y="194710"/>
                  </a:lnTo>
                  <a:lnTo>
                    <a:pt x="1200040" y="191151"/>
                  </a:lnTo>
                  <a:close/>
                  <a:moveTo>
                    <a:pt x="1183076" y="81203"/>
                  </a:moveTo>
                  <a:lnTo>
                    <a:pt x="1188552" y="85176"/>
                  </a:lnTo>
                  <a:lnTo>
                    <a:pt x="1194173" y="90513"/>
                  </a:lnTo>
                  <a:lnTo>
                    <a:pt x="1197444" y="96008"/>
                  </a:lnTo>
                  <a:lnTo>
                    <a:pt x="1195168" y="97721"/>
                  </a:lnTo>
                  <a:lnTo>
                    <a:pt x="1189336" y="97035"/>
                  </a:lnTo>
                  <a:lnTo>
                    <a:pt x="1181865" y="92232"/>
                  </a:lnTo>
                  <a:lnTo>
                    <a:pt x="1176886" y="88277"/>
                  </a:lnTo>
                  <a:lnTo>
                    <a:pt x="1176530" y="83623"/>
                  </a:lnTo>
                  <a:lnTo>
                    <a:pt x="1179091" y="81552"/>
                  </a:lnTo>
                  <a:close/>
                  <a:moveTo>
                    <a:pt x="584177" y="50361"/>
                  </a:moveTo>
                  <a:lnTo>
                    <a:pt x="606020" y="56618"/>
                  </a:lnTo>
                  <a:lnTo>
                    <a:pt x="616941" y="61897"/>
                  </a:lnTo>
                  <a:lnTo>
                    <a:pt x="620646" y="66205"/>
                  </a:lnTo>
                  <a:lnTo>
                    <a:pt x="620061" y="74787"/>
                  </a:lnTo>
                  <a:lnTo>
                    <a:pt x="618111" y="83327"/>
                  </a:lnTo>
                  <a:lnTo>
                    <a:pt x="613625" y="84272"/>
                  </a:lnTo>
                  <a:lnTo>
                    <a:pt x="604264" y="78588"/>
                  </a:lnTo>
                  <a:lnTo>
                    <a:pt x="589443" y="72882"/>
                  </a:lnTo>
                  <a:lnTo>
                    <a:pt x="576378" y="69071"/>
                  </a:lnTo>
                  <a:lnTo>
                    <a:pt x="564092" y="59021"/>
                  </a:lnTo>
                  <a:lnTo>
                    <a:pt x="563125" y="55435"/>
                  </a:lnTo>
                  <a:lnTo>
                    <a:pt x="564871" y="52285"/>
                  </a:lnTo>
                  <a:lnTo>
                    <a:pt x="575597" y="51805"/>
                  </a:lnTo>
                  <a:close/>
                  <a:moveTo>
                    <a:pt x="880806" y="0"/>
                  </a:moveTo>
                  <a:lnTo>
                    <a:pt x="931255" y="350"/>
                  </a:lnTo>
                  <a:lnTo>
                    <a:pt x="947840" y="1957"/>
                  </a:lnTo>
                  <a:lnTo>
                    <a:pt x="969087" y="5332"/>
                  </a:lnTo>
                  <a:lnTo>
                    <a:pt x="980324" y="9250"/>
                  </a:lnTo>
                  <a:lnTo>
                    <a:pt x="982684" y="9122"/>
                  </a:lnTo>
                  <a:lnTo>
                    <a:pt x="997913" y="10623"/>
                  </a:lnTo>
                  <a:lnTo>
                    <a:pt x="1012373" y="12496"/>
                  </a:lnTo>
                  <a:lnTo>
                    <a:pt x="1036409" y="17367"/>
                  </a:lnTo>
                  <a:lnTo>
                    <a:pt x="1039778" y="18965"/>
                  </a:lnTo>
                  <a:lnTo>
                    <a:pt x="1037182" y="20272"/>
                  </a:lnTo>
                  <a:lnTo>
                    <a:pt x="1031206" y="21169"/>
                  </a:lnTo>
                  <a:lnTo>
                    <a:pt x="1000489" y="22768"/>
                  </a:lnTo>
                  <a:lnTo>
                    <a:pt x="944763" y="24723"/>
                  </a:lnTo>
                  <a:lnTo>
                    <a:pt x="912878" y="28522"/>
                  </a:lnTo>
                  <a:lnTo>
                    <a:pt x="902735" y="28719"/>
                  </a:lnTo>
                  <a:lnTo>
                    <a:pt x="901850" y="34354"/>
                  </a:lnTo>
                  <a:lnTo>
                    <a:pt x="906183" y="34661"/>
                  </a:lnTo>
                  <a:lnTo>
                    <a:pt x="913285" y="33901"/>
                  </a:lnTo>
                  <a:lnTo>
                    <a:pt x="938261" y="28257"/>
                  </a:lnTo>
                  <a:lnTo>
                    <a:pt x="947603" y="27326"/>
                  </a:lnTo>
                  <a:lnTo>
                    <a:pt x="965040" y="27797"/>
                  </a:lnTo>
                  <a:lnTo>
                    <a:pt x="987673" y="29917"/>
                  </a:lnTo>
                  <a:lnTo>
                    <a:pt x="996804" y="29171"/>
                  </a:lnTo>
                  <a:lnTo>
                    <a:pt x="1013089" y="29725"/>
                  </a:lnTo>
                  <a:lnTo>
                    <a:pt x="1032132" y="28106"/>
                  </a:lnTo>
                  <a:lnTo>
                    <a:pt x="1054630" y="24601"/>
                  </a:lnTo>
                  <a:lnTo>
                    <a:pt x="1060782" y="32415"/>
                  </a:lnTo>
                  <a:lnTo>
                    <a:pt x="1069071" y="40199"/>
                  </a:lnTo>
                  <a:lnTo>
                    <a:pt x="1075631" y="39339"/>
                  </a:lnTo>
                  <a:lnTo>
                    <a:pt x="1081250" y="39774"/>
                  </a:lnTo>
                  <a:lnTo>
                    <a:pt x="1083151" y="42323"/>
                  </a:lnTo>
                  <a:lnTo>
                    <a:pt x="1086223" y="43401"/>
                  </a:lnTo>
                  <a:lnTo>
                    <a:pt x="1092584" y="42821"/>
                  </a:lnTo>
                  <a:lnTo>
                    <a:pt x="1112088" y="45046"/>
                  </a:lnTo>
                  <a:lnTo>
                    <a:pt x="1125471" y="49033"/>
                  </a:lnTo>
                  <a:lnTo>
                    <a:pt x="1130509" y="50887"/>
                  </a:lnTo>
                  <a:lnTo>
                    <a:pt x="1132926" y="53528"/>
                  </a:lnTo>
                  <a:lnTo>
                    <a:pt x="1134294" y="55643"/>
                  </a:lnTo>
                  <a:lnTo>
                    <a:pt x="1132191" y="58242"/>
                  </a:lnTo>
                  <a:lnTo>
                    <a:pt x="1123828" y="62860"/>
                  </a:lnTo>
                  <a:lnTo>
                    <a:pt x="1113245" y="67094"/>
                  </a:lnTo>
                  <a:lnTo>
                    <a:pt x="1098972" y="70342"/>
                  </a:lnTo>
                  <a:lnTo>
                    <a:pt x="1082517" y="72376"/>
                  </a:lnTo>
                  <a:lnTo>
                    <a:pt x="956098" y="79161"/>
                  </a:lnTo>
                  <a:lnTo>
                    <a:pt x="951823" y="80770"/>
                  </a:lnTo>
                  <a:lnTo>
                    <a:pt x="949288" y="84872"/>
                  </a:lnTo>
                  <a:lnTo>
                    <a:pt x="950977" y="90192"/>
                  </a:lnTo>
                  <a:lnTo>
                    <a:pt x="956884" y="91021"/>
                  </a:lnTo>
                  <a:lnTo>
                    <a:pt x="970691" y="88029"/>
                  </a:lnTo>
                  <a:lnTo>
                    <a:pt x="994571" y="85192"/>
                  </a:lnTo>
                  <a:lnTo>
                    <a:pt x="1012118" y="85327"/>
                  </a:lnTo>
                  <a:lnTo>
                    <a:pt x="1054067" y="87750"/>
                  </a:lnTo>
                  <a:lnTo>
                    <a:pt x="1066443" y="94071"/>
                  </a:lnTo>
                  <a:lnTo>
                    <a:pt x="1072990" y="103742"/>
                  </a:lnTo>
                  <a:lnTo>
                    <a:pt x="1087507" y="101573"/>
                  </a:lnTo>
                  <a:lnTo>
                    <a:pt x="1090612" y="99916"/>
                  </a:lnTo>
                  <a:lnTo>
                    <a:pt x="1092893" y="97035"/>
                  </a:lnTo>
                  <a:lnTo>
                    <a:pt x="1094716" y="93938"/>
                  </a:lnTo>
                  <a:lnTo>
                    <a:pt x="1096081" y="90630"/>
                  </a:lnTo>
                  <a:lnTo>
                    <a:pt x="1097606" y="88374"/>
                  </a:lnTo>
                  <a:lnTo>
                    <a:pt x="1099289" y="87177"/>
                  </a:lnTo>
                  <a:lnTo>
                    <a:pt x="1102907" y="86175"/>
                  </a:lnTo>
                  <a:lnTo>
                    <a:pt x="1111237" y="84969"/>
                  </a:lnTo>
                  <a:lnTo>
                    <a:pt x="1133080" y="83793"/>
                  </a:lnTo>
                  <a:lnTo>
                    <a:pt x="1138333" y="84128"/>
                  </a:lnTo>
                  <a:lnTo>
                    <a:pt x="1142106" y="88675"/>
                  </a:lnTo>
                  <a:lnTo>
                    <a:pt x="1142925" y="91327"/>
                  </a:lnTo>
                  <a:lnTo>
                    <a:pt x="1143198" y="94774"/>
                  </a:lnTo>
                  <a:lnTo>
                    <a:pt x="1143077" y="99017"/>
                  </a:lnTo>
                  <a:lnTo>
                    <a:pt x="1142565" y="104050"/>
                  </a:lnTo>
                  <a:lnTo>
                    <a:pt x="1140710" y="109017"/>
                  </a:lnTo>
                  <a:lnTo>
                    <a:pt x="1134664" y="117661"/>
                  </a:lnTo>
                  <a:lnTo>
                    <a:pt x="1129806" y="122351"/>
                  </a:lnTo>
                  <a:lnTo>
                    <a:pt x="1124563" y="125722"/>
                  </a:lnTo>
                  <a:lnTo>
                    <a:pt x="1114512" y="133396"/>
                  </a:lnTo>
                  <a:lnTo>
                    <a:pt x="1111030" y="135439"/>
                  </a:lnTo>
                  <a:lnTo>
                    <a:pt x="1099980" y="144333"/>
                  </a:lnTo>
                  <a:lnTo>
                    <a:pt x="1097240" y="148440"/>
                  </a:lnTo>
                  <a:lnTo>
                    <a:pt x="1097079" y="151441"/>
                  </a:lnTo>
                  <a:lnTo>
                    <a:pt x="1098979" y="152013"/>
                  </a:lnTo>
                  <a:lnTo>
                    <a:pt x="1102183" y="149192"/>
                  </a:lnTo>
                  <a:lnTo>
                    <a:pt x="1103375" y="147175"/>
                  </a:lnTo>
                  <a:lnTo>
                    <a:pt x="1105437" y="145062"/>
                  </a:lnTo>
                  <a:lnTo>
                    <a:pt x="1121718" y="139481"/>
                  </a:lnTo>
                  <a:lnTo>
                    <a:pt x="1125212" y="137922"/>
                  </a:lnTo>
                  <a:lnTo>
                    <a:pt x="1135861" y="131253"/>
                  </a:lnTo>
                  <a:lnTo>
                    <a:pt x="1142657" y="128745"/>
                  </a:lnTo>
                  <a:lnTo>
                    <a:pt x="1148245" y="126119"/>
                  </a:lnTo>
                  <a:lnTo>
                    <a:pt x="1151205" y="124251"/>
                  </a:lnTo>
                  <a:lnTo>
                    <a:pt x="1167571" y="110974"/>
                  </a:lnTo>
                  <a:lnTo>
                    <a:pt x="1176102" y="106979"/>
                  </a:lnTo>
                  <a:lnTo>
                    <a:pt x="1185061" y="106971"/>
                  </a:lnTo>
                  <a:lnTo>
                    <a:pt x="1186648" y="113726"/>
                  </a:lnTo>
                  <a:lnTo>
                    <a:pt x="1197386" y="114768"/>
                  </a:lnTo>
                  <a:lnTo>
                    <a:pt x="1202048" y="114478"/>
                  </a:lnTo>
                  <a:lnTo>
                    <a:pt x="1209537" y="116116"/>
                  </a:lnTo>
                  <a:lnTo>
                    <a:pt x="1212820" y="117468"/>
                  </a:lnTo>
                  <a:lnTo>
                    <a:pt x="1218408" y="118152"/>
                  </a:lnTo>
                  <a:lnTo>
                    <a:pt x="1224171" y="119754"/>
                  </a:lnTo>
                  <a:lnTo>
                    <a:pt x="1229253" y="118034"/>
                  </a:lnTo>
                  <a:lnTo>
                    <a:pt x="1230739" y="116954"/>
                  </a:lnTo>
                  <a:lnTo>
                    <a:pt x="1235647" y="112054"/>
                  </a:lnTo>
                  <a:lnTo>
                    <a:pt x="1242279" y="107703"/>
                  </a:lnTo>
                  <a:lnTo>
                    <a:pt x="1248429" y="102253"/>
                  </a:lnTo>
                  <a:lnTo>
                    <a:pt x="1250468" y="100930"/>
                  </a:lnTo>
                  <a:lnTo>
                    <a:pt x="1253698" y="99726"/>
                  </a:lnTo>
                  <a:lnTo>
                    <a:pt x="1257055" y="99254"/>
                  </a:lnTo>
                  <a:lnTo>
                    <a:pt x="1266196" y="96694"/>
                  </a:lnTo>
                  <a:lnTo>
                    <a:pt x="1268515" y="96515"/>
                  </a:lnTo>
                  <a:lnTo>
                    <a:pt x="1273449" y="97323"/>
                  </a:lnTo>
                  <a:lnTo>
                    <a:pt x="1295240" y="97744"/>
                  </a:lnTo>
                  <a:lnTo>
                    <a:pt x="1307126" y="99064"/>
                  </a:lnTo>
                  <a:lnTo>
                    <a:pt x="1323676" y="102722"/>
                  </a:lnTo>
                  <a:lnTo>
                    <a:pt x="1335210" y="104721"/>
                  </a:lnTo>
                  <a:lnTo>
                    <a:pt x="1340551" y="106490"/>
                  </a:lnTo>
                  <a:lnTo>
                    <a:pt x="1348329" y="110277"/>
                  </a:lnTo>
                  <a:lnTo>
                    <a:pt x="1354601" y="114230"/>
                  </a:lnTo>
                  <a:lnTo>
                    <a:pt x="1357518" y="115391"/>
                  </a:lnTo>
                  <a:lnTo>
                    <a:pt x="1357405" y="116644"/>
                  </a:lnTo>
                  <a:lnTo>
                    <a:pt x="1355235" y="118370"/>
                  </a:lnTo>
                  <a:lnTo>
                    <a:pt x="1339700" y="124397"/>
                  </a:lnTo>
                  <a:lnTo>
                    <a:pt x="1334617" y="128413"/>
                  </a:lnTo>
                  <a:lnTo>
                    <a:pt x="1319913" y="135965"/>
                  </a:lnTo>
                  <a:lnTo>
                    <a:pt x="1312727" y="138552"/>
                  </a:lnTo>
                  <a:lnTo>
                    <a:pt x="1304919" y="139564"/>
                  </a:lnTo>
                  <a:lnTo>
                    <a:pt x="1296227" y="139808"/>
                  </a:lnTo>
                  <a:lnTo>
                    <a:pt x="1290589" y="140888"/>
                  </a:lnTo>
                  <a:lnTo>
                    <a:pt x="1289754" y="141917"/>
                  </a:lnTo>
                  <a:lnTo>
                    <a:pt x="1293770" y="145031"/>
                  </a:lnTo>
                  <a:lnTo>
                    <a:pt x="1295537" y="147245"/>
                  </a:lnTo>
                  <a:lnTo>
                    <a:pt x="1295280" y="149212"/>
                  </a:lnTo>
                  <a:lnTo>
                    <a:pt x="1291055" y="152121"/>
                  </a:lnTo>
                  <a:lnTo>
                    <a:pt x="1289457" y="152781"/>
                  </a:lnTo>
                  <a:lnTo>
                    <a:pt x="1274184" y="154938"/>
                  </a:lnTo>
                  <a:lnTo>
                    <a:pt x="1266479" y="158594"/>
                  </a:lnTo>
                  <a:lnTo>
                    <a:pt x="1256422" y="159040"/>
                  </a:lnTo>
                  <a:lnTo>
                    <a:pt x="1249315" y="158624"/>
                  </a:lnTo>
                  <a:lnTo>
                    <a:pt x="1239549" y="162547"/>
                  </a:lnTo>
                  <a:lnTo>
                    <a:pt x="1243370" y="165732"/>
                  </a:lnTo>
                  <a:lnTo>
                    <a:pt x="1246871" y="167114"/>
                  </a:lnTo>
                  <a:lnTo>
                    <a:pt x="1257755" y="170006"/>
                  </a:lnTo>
                  <a:lnTo>
                    <a:pt x="1257857" y="171666"/>
                  </a:lnTo>
                  <a:lnTo>
                    <a:pt x="1252657" y="175016"/>
                  </a:lnTo>
                  <a:lnTo>
                    <a:pt x="1245559" y="178955"/>
                  </a:lnTo>
                  <a:lnTo>
                    <a:pt x="1237165" y="181682"/>
                  </a:lnTo>
                  <a:lnTo>
                    <a:pt x="1234009" y="182091"/>
                  </a:lnTo>
                  <a:lnTo>
                    <a:pt x="1230028" y="181407"/>
                  </a:lnTo>
                  <a:lnTo>
                    <a:pt x="1226356" y="181553"/>
                  </a:lnTo>
                  <a:lnTo>
                    <a:pt x="1218272" y="182809"/>
                  </a:lnTo>
                  <a:lnTo>
                    <a:pt x="1210574" y="183009"/>
                  </a:lnTo>
                  <a:lnTo>
                    <a:pt x="1196829" y="181234"/>
                  </a:lnTo>
                  <a:lnTo>
                    <a:pt x="1189390" y="179176"/>
                  </a:lnTo>
                  <a:lnTo>
                    <a:pt x="1185476" y="178464"/>
                  </a:lnTo>
                  <a:lnTo>
                    <a:pt x="1180541" y="178662"/>
                  </a:lnTo>
                  <a:lnTo>
                    <a:pt x="1178642" y="179491"/>
                  </a:lnTo>
                  <a:lnTo>
                    <a:pt x="1170864" y="184394"/>
                  </a:lnTo>
                  <a:lnTo>
                    <a:pt x="1167045" y="187735"/>
                  </a:lnTo>
                  <a:lnTo>
                    <a:pt x="1164599" y="191143"/>
                  </a:lnTo>
                  <a:lnTo>
                    <a:pt x="1163554" y="194853"/>
                  </a:lnTo>
                  <a:lnTo>
                    <a:pt x="1163909" y="198860"/>
                  </a:lnTo>
                  <a:lnTo>
                    <a:pt x="1164857" y="201601"/>
                  </a:lnTo>
                  <a:lnTo>
                    <a:pt x="1166396" y="203084"/>
                  </a:lnTo>
                  <a:lnTo>
                    <a:pt x="1168242" y="203982"/>
                  </a:lnTo>
                  <a:lnTo>
                    <a:pt x="1171472" y="204452"/>
                  </a:lnTo>
                  <a:lnTo>
                    <a:pt x="1178580" y="204007"/>
                  </a:lnTo>
                  <a:lnTo>
                    <a:pt x="1181374" y="204258"/>
                  </a:lnTo>
                  <a:lnTo>
                    <a:pt x="1182225" y="205068"/>
                  </a:lnTo>
                  <a:lnTo>
                    <a:pt x="1183760" y="207620"/>
                  </a:lnTo>
                  <a:lnTo>
                    <a:pt x="1183486" y="210025"/>
                  </a:lnTo>
                  <a:lnTo>
                    <a:pt x="1182199" y="213400"/>
                  </a:lnTo>
                  <a:lnTo>
                    <a:pt x="1181201" y="217330"/>
                  </a:lnTo>
                  <a:lnTo>
                    <a:pt x="1180496" y="221810"/>
                  </a:lnTo>
                  <a:lnTo>
                    <a:pt x="1180876" y="224254"/>
                  </a:lnTo>
                  <a:lnTo>
                    <a:pt x="1183752" y="224789"/>
                  </a:lnTo>
                  <a:lnTo>
                    <a:pt x="1185101" y="224612"/>
                  </a:lnTo>
                  <a:lnTo>
                    <a:pt x="1186665" y="225414"/>
                  </a:lnTo>
                  <a:lnTo>
                    <a:pt x="1188444" y="227192"/>
                  </a:lnTo>
                  <a:lnTo>
                    <a:pt x="1189780" y="229069"/>
                  </a:lnTo>
                  <a:lnTo>
                    <a:pt x="1190677" y="231048"/>
                  </a:lnTo>
                  <a:lnTo>
                    <a:pt x="1190208" y="232675"/>
                  </a:lnTo>
                  <a:lnTo>
                    <a:pt x="1188374" y="233958"/>
                  </a:lnTo>
                  <a:lnTo>
                    <a:pt x="1184233" y="235402"/>
                  </a:lnTo>
                  <a:lnTo>
                    <a:pt x="1174043" y="238252"/>
                  </a:lnTo>
                  <a:lnTo>
                    <a:pt x="1173008" y="239120"/>
                  </a:lnTo>
                  <a:lnTo>
                    <a:pt x="1172207" y="240851"/>
                  </a:lnTo>
                  <a:lnTo>
                    <a:pt x="1171643" y="243448"/>
                  </a:lnTo>
                  <a:lnTo>
                    <a:pt x="1170413" y="245807"/>
                  </a:lnTo>
                  <a:lnTo>
                    <a:pt x="1168518" y="247925"/>
                  </a:lnTo>
                  <a:lnTo>
                    <a:pt x="1166802" y="249186"/>
                  </a:lnTo>
                  <a:lnTo>
                    <a:pt x="1163499" y="249747"/>
                  </a:lnTo>
                  <a:lnTo>
                    <a:pt x="1159169" y="249820"/>
                  </a:lnTo>
                  <a:lnTo>
                    <a:pt x="1154307" y="251036"/>
                  </a:lnTo>
                  <a:lnTo>
                    <a:pt x="1142849" y="258107"/>
                  </a:lnTo>
                  <a:lnTo>
                    <a:pt x="1142679" y="258890"/>
                  </a:lnTo>
                  <a:lnTo>
                    <a:pt x="1146969" y="261153"/>
                  </a:lnTo>
                  <a:lnTo>
                    <a:pt x="1146787" y="263134"/>
                  </a:lnTo>
                  <a:lnTo>
                    <a:pt x="1141500" y="271602"/>
                  </a:lnTo>
                  <a:lnTo>
                    <a:pt x="1140053" y="275783"/>
                  </a:lnTo>
                  <a:lnTo>
                    <a:pt x="1138907" y="281500"/>
                  </a:lnTo>
                  <a:lnTo>
                    <a:pt x="1137022" y="286307"/>
                  </a:lnTo>
                  <a:lnTo>
                    <a:pt x="1134398" y="290212"/>
                  </a:lnTo>
                  <a:lnTo>
                    <a:pt x="1131817" y="294710"/>
                  </a:lnTo>
                  <a:lnTo>
                    <a:pt x="1129277" y="299788"/>
                  </a:lnTo>
                  <a:lnTo>
                    <a:pt x="1129674" y="303680"/>
                  </a:lnTo>
                  <a:lnTo>
                    <a:pt x="1133006" y="306385"/>
                  </a:lnTo>
                  <a:lnTo>
                    <a:pt x="1137411" y="304200"/>
                  </a:lnTo>
                  <a:lnTo>
                    <a:pt x="1142890" y="297100"/>
                  </a:lnTo>
                  <a:lnTo>
                    <a:pt x="1148845" y="294025"/>
                  </a:lnTo>
                  <a:lnTo>
                    <a:pt x="1155275" y="294991"/>
                  </a:lnTo>
                  <a:lnTo>
                    <a:pt x="1160874" y="296399"/>
                  </a:lnTo>
                  <a:lnTo>
                    <a:pt x="1168027" y="299181"/>
                  </a:lnTo>
                  <a:lnTo>
                    <a:pt x="1174015" y="300912"/>
                  </a:lnTo>
                  <a:lnTo>
                    <a:pt x="1179186" y="303190"/>
                  </a:lnTo>
                  <a:lnTo>
                    <a:pt x="1181319" y="305108"/>
                  </a:lnTo>
                  <a:lnTo>
                    <a:pt x="1183466" y="307807"/>
                  </a:lnTo>
                  <a:lnTo>
                    <a:pt x="1183484" y="309509"/>
                  </a:lnTo>
                  <a:lnTo>
                    <a:pt x="1179693" y="310427"/>
                  </a:lnTo>
                  <a:lnTo>
                    <a:pt x="1178441" y="310136"/>
                  </a:lnTo>
                  <a:lnTo>
                    <a:pt x="1168953" y="305676"/>
                  </a:lnTo>
                  <a:lnTo>
                    <a:pt x="1164335" y="304565"/>
                  </a:lnTo>
                  <a:lnTo>
                    <a:pt x="1158207" y="305901"/>
                  </a:lnTo>
                  <a:lnTo>
                    <a:pt x="1152865" y="307916"/>
                  </a:lnTo>
                  <a:lnTo>
                    <a:pt x="1157664" y="316009"/>
                  </a:lnTo>
                  <a:lnTo>
                    <a:pt x="1162790" y="319716"/>
                  </a:lnTo>
                  <a:lnTo>
                    <a:pt x="1172150" y="321407"/>
                  </a:lnTo>
                  <a:lnTo>
                    <a:pt x="1177038" y="323185"/>
                  </a:lnTo>
                  <a:lnTo>
                    <a:pt x="1180602" y="325453"/>
                  </a:lnTo>
                  <a:lnTo>
                    <a:pt x="1183391" y="326558"/>
                  </a:lnTo>
                  <a:lnTo>
                    <a:pt x="1187134" y="326072"/>
                  </a:lnTo>
                  <a:lnTo>
                    <a:pt x="1192167" y="323839"/>
                  </a:lnTo>
                  <a:lnTo>
                    <a:pt x="1199188" y="323718"/>
                  </a:lnTo>
                  <a:lnTo>
                    <a:pt x="1202355" y="324827"/>
                  </a:lnTo>
                  <a:lnTo>
                    <a:pt x="1204647" y="326889"/>
                  </a:lnTo>
                  <a:lnTo>
                    <a:pt x="1205678" y="330739"/>
                  </a:lnTo>
                  <a:lnTo>
                    <a:pt x="1205449" y="336363"/>
                  </a:lnTo>
                  <a:lnTo>
                    <a:pt x="1204686" y="340586"/>
                  </a:lnTo>
                  <a:lnTo>
                    <a:pt x="1203386" y="343420"/>
                  </a:lnTo>
                  <a:lnTo>
                    <a:pt x="1200859" y="347210"/>
                  </a:lnTo>
                  <a:lnTo>
                    <a:pt x="1198748" y="347898"/>
                  </a:lnTo>
                  <a:lnTo>
                    <a:pt x="1195774" y="347692"/>
                  </a:lnTo>
                  <a:lnTo>
                    <a:pt x="1193009" y="346916"/>
                  </a:lnTo>
                  <a:lnTo>
                    <a:pt x="1190451" y="345564"/>
                  </a:lnTo>
                  <a:lnTo>
                    <a:pt x="1186574" y="344508"/>
                  </a:lnTo>
                  <a:lnTo>
                    <a:pt x="1178781" y="343373"/>
                  </a:lnTo>
                  <a:lnTo>
                    <a:pt x="1170905" y="340901"/>
                  </a:lnTo>
                  <a:lnTo>
                    <a:pt x="1166496" y="340289"/>
                  </a:lnTo>
                  <a:lnTo>
                    <a:pt x="1157156" y="340604"/>
                  </a:lnTo>
                  <a:lnTo>
                    <a:pt x="1147087" y="342171"/>
                  </a:lnTo>
                  <a:lnTo>
                    <a:pt x="1146693" y="344225"/>
                  </a:lnTo>
                  <a:lnTo>
                    <a:pt x="1132214" y="351378"/>
                  </a:lnTo>
                  <a:lnTo>
                    <a:pt x="1129244" y="351281"/>
                  </a:lnTo>
                  <a:lnTo>
                    <a:pt x="1125225" y="348827"/>
                  </a:lnTo>
                  <a:lnTo>
                    <a:pt x="1119598" y="346474"/>
                  </a:lnTo>
                  <a:lnTo>
                    <a:pt x="1116302" y="346492"/>
                  </a:lnTo>
                  <a:lnTo>
                    <a:pt x="1111432" y="349470"/>
                  </a:lnTo>
                  <a:lnTo>
                    <a:pt x="1110221" y="350621"/>
                  </a:lnTo>
                  <a:lnTo>
                    <a:pt x="1110280" y="351707"/>
                  </a:lnTo>
                  <a:lnTo>
                    <a:pt x="1113867" y="354274"/>
                  </a:lnTo>
                  <a:lnTo>
                    <a:pt x="1115323" y="354865"/>
                  </a:lnTo>
                  <a:lnTo>
                    <a:pt x="1117174" y="355360"/>
                  </a:lnTo>
                  <a:lnTo>
                    <a:pt x="1123613" y="355975"/>
                  </a:lnTo>
                  <a:lnTo>
                    <a:pt x="1126407" y="356647"/>
                  </a:lnTo>
                  <a:lnTo>
                    <a:pt x="1129043" y="364583"/>
                  </a:lnTo>
                  <a:lnTo>
                    <a:pt x="1133223" y="369467"/>
                  </a:lnTo>
                  <a:lnTo>
                    <a:pt x="1135011" y="370464"/>
                  </a:lnTo>
                  <a:lnTo>
                    <a:pt x="1136589" y="370822"/>
                  </a:lnTo>
                  <a:lnTo>
                    <a:pt x="1141706" y="370642"/>
                  </a:lnTo>
                  <a:lnTo>
                    <a:pt x="1148296" y="368997"/>
                  </a:lnTo>
                  <a:lnTo>
                    <a:pt x="1150599" y="370314"/>
                  </a:lnTo>
                  <a:lnTo>
                    <a:pt x="1155452" y="371924"/>
                  </a:lnTo>
                  <a:lnTo>
                    <a:pt x="1158291" y="372325"/>
                  </a:lnTo>
                  <a:lnTo>
                    <a:pt x="1161743" y="372261"/>
                  </a:lnTo>
                  <a:lnTo>
                    <a:pt x="1165628" y="372871"/>
                  </a:lnTo>
                  <a:lnTo>
                    <a:pt x="1170950" y="377351"/>
                  </a:lnTo>
                  <a:lnTo>
                    <a:pt x="1168854" y="382978"/>
                  </a:lnTo>
                  <a:lnTo>
                    <a:pt x="1172189" y="387474"/>
                  </a:lnTo>
                  <a:lnTo>
                    <a:pt x="1177515" y="392097"/>
                  </a:lnTo>
                  <a:lnTo>
                    <a:pt x="1178776" y="393785"/>
                  </a:lnTo>
                  <a:lnTo>
                    <a:pt x="1179291" y="396843"/>
                  </a:lnTo>
                  <a:lnTo>
                    <a:pt x="1179411" y="398858"/>
                  </a:lnTo>
                  <a:lnTo>
                    <a:pt x="1179811" y="400695"/>
                  </a:lnTo>
                  <a:lnTo>
                    <a:pt x="1180491" y="402353"/>
                  </a:lnTo>
                  <a:lnTo>
                    <a:pt x="1181197" y="405600"/>
                  </a:lnTo>
                  <a:lnTo>
                    <a:pt x="1181928" y="410428"/>
                  </a:lnTo>
                  <a:lnTo>
                    <a:pt x="1181732" y="414362"/>
                  </a:lnTo>
                  <a:lnTo>
                    <a:pt x="1180612" y="417405"/>
                  </a:lnTo>
                  <a:lnTo>
                    <a:pt x="1178392" y="419610"/>
                  </a:lnTo>
                  <a:lnTo>
                    <a:pt x="1175077" y="420980"/>
                  </a:lnTo>
                  <a:lnTo>
                    <a:pt x="1172375" y="420620"/>
                  </a:lnTo>
                  <a:lnTo>
                    <a:pt x="1170281" y="418529"/>
                  </a:lnTo>
                  <a:lnTo>
                    <a:pt x="1167332" y="416299"/>
                  </a:lnTo>
                  <a:lnTo>
                    <a:pt x="1163526" y="413927"/>
                  </a:lnTo>
                  <a:lnTo>
                    <a:pt x="1157195" y="413647"/>
                  </a:lnTo>
                  <a:lnTo>
                    <a:pt x="1147888" y="420644"/>
                  </a:lnTo>
                  <a:lnTo>
                    <a:pt x="1143732" y="420993"/>
                  </a:lnTo>
                  <a:lnTo>
                    <a:pt x="1140355" y="421689"/>
                  </a:lnTo>
                  <a:lnTo>
                    <a:pt x="1136753" y="424730"/>
                  </a:lnTo>
                  <a:lnTo>
                    <a:pt x="1131449" y="426561"/>
                  </a:lnTo>
                  <a:lnTo>
                    <a:pt x="1126767" y="425835"/>
                  </a:lnTo>
                  <a:lnTo>
                    <a:pt x="1118545" y="422295"/>
                  </a:lnTo>
                  <a:lnTo>
                    <a:pt x="1121533" y="424660"/>
                  </a:lnTo>
                  <a:lnTo>
                    <a:pt x="1125810" y="427425"/>
                  </a:lnTo>
                  <a:lnTo>
                    <a:pt x="1128472" y="428858"/>
                  </a:lnTo>
                  <a:lnTo>
                    <a:pt x="1130436" y="429169"/>
                  </a:lnTo>
                  <a:lnTo>
                    <a:pt x="1132591" y="428837"/>
                  </a:lnTo>
                  <a:lnTo>
                    <a:pt x="1135694" y="427705"/>
                  </a:lnTo>
                  <a:lnTo>
                    <a:pt x="1142698" y="424563"/>
                  </a:lnTo>
                  <a:lnTo>
                    <a:pt x="1144553" y="424083"/>
                  </a:lnTo>
                  <a:lnTo>
                    <a:pt x="1146121" y="424306"/>
                  </a:lnTo>
                  <a:lnTo>
                    <a:pt x="1147403" y="425233"/>
                  </a:lnTo>
                  <a:lnTo>
                    <a:pt x="1148878" y="427926"/>
                  </a:lnTo>
                  <a:lnTo>
                    <a:pt x="1150545" y="432379"/>
                  </a:lnTo>
                  <a:lnTo>
                    <a:pt x="1150333" y="436159"/>
                  </a:lnTo>
                  <a:lnTo>
                    <a:pt x="1148239" y="439270"/>
                  </a:lnTo>
                  <a:lnTo>
                    <a:pt x="1146448" y="441263"/>
                  </a:lnTo>
                  <a:lnTo>
                    <a:pt x="1144960" y="442139"/>
                  </a:lnTo>
                  <a:lnTo>
                    <a:pt x="1144956" y="442829"/>
                  </a:lnTo>
                  <a:lnTo>
                    <a:pt x="1148868" y="443627"/>
                  </a:lnTo>
                  <a:lnTo>
                    <a:pt x="1154405" y="439577"/>
                  </a:lnTo>
                  <a:lnTo>
                    <a:pt x="1156161" y="434531"/>
                  </a:lnTo>
                  <a:lnTo>
                    <a:pt x="1158696" y="428694"/>
                  </a:lnTo>
                  <a:lnTo>
                    <a:pt x="1163181" y="426746"/>
                  </a:lnTo>
                  <a:lnTo>
                    <a:pt x="1168252" y="428694"/>
                  </a:lnTo>
                  <a:lnTo>
                    <a:pt x="1172348" y="434144"/>
                  </a:lnTo>
                  <a:lnTo>
                    <a:pt x="1178139" y="444126"/>
                  </a:lnTo>
                  <a:lnTo>
                    <a:pt x="1180582" y="445161"/>
                  </a:lnTo>
                  <a:lnTo>
                    <a:pt x="1183685" y="447549"/>
                  </a:lnTo>
                  <a:lnTo>
                    <a:pt x="1185053" y="450473"/>
                  </a:lnTo>
                  <a:lnTo>
                    <a:pt x="1184688" y="453933"/>
                  </a:lnTo>
                  <a:lnTo>
                    <a:pt x="1184026" y="456441"/>
                  </a:lnTo>
                  <a:lnTo>
                    <a:pt x="1183067" y="458001"/>
                  </a:lnTo>
                  <a:lnTo>
                    <a:pt x="1181868" y="458990"/>
                  </a:lnTo>
                  <a:lnTo>
                    <a:pt x="1179710" y="459622"/>
                  </a:lnTo>
                  <a:lnTo>
                    <a:pt x="1175741" y="460123"/>
                  </a:lnTo>
                  <a:lnTo>
                    <a:pt x="1166867" y="459066"/>
                  </a:lnTo>
                  <a:lnTo>
                    <a:pt x="1162248" y="459043"/>
                  </a:lnTo>
                  <a:lnTo>
                    <a:pt x="1162821" y="462438"/>
                  </a:lnTo>
                  <a:lnTo>
                    <a:pt x="1153477" y="465356"/>
                  </a:lnTo>
                  <a:lnTo>
                    <a:pt x="1142944" y="466502"/>
                  </a:lnTo>
                  <a:lnTo>
                    <a:pt x="1132969" y="464224"/>
                  </a:lnTo>
                  <a:lnTo>
                    <a:pt x="1124691" y="460717"/>
                  </a:lnTo>
                  <a:lnTo>
                    <a:pt x="1127409" y="455803"/>
                  </a:lnTo>
                  <a:lnTo>
                    <a:pt x="1128958" y="450330"/>
                  </a:lnTo>
                  <a:lnTo>
                    <a:pt x="1124957" y="446703"/>
                  </a:lnTo>
                  <a:lnTo>
                    <a:pt x="1124079" y="446626"/>
                  </a:lnTo>
                  <a:lnTo>
                    <a:pt x="1125460" y="452231"/>
                  </a:lnTo>
                  <a:lnTo>
                    <a:pt x="1124298" y="454376"/>
                  </a:lnTo>
                  <a:lnTo>
                    <a:pt x="1119776" y="456983"/>
                  </a:lnTo>
                  <a:lnTo>
                    <a:pt x="1116584" y="458185"/>
                  </a:lnTo>
                  <a:lnTo>
                    <a:pt x="1116302" y="458888"/>
                  </a:lnTo>
                  <a:lnTo>
                    <a:pt x="1117868" y="459495"/>
                  </a:lnTo>
                  <a:lnTo>
                    <a:pt x="1118889" y="460664"/>
                  </a:lnTo>
                  <a:lnTo>
                    <a:pt x="1119368" y="462392"/>
                  </a:lnTo>
                  <a:lnTo>
                    <a:pt x="1118830" y="464135"/>
                  </a:lnTo>
                  <a:lnTo>
                    <a:pt x="1117269" y="465891"/>
                  </a:lnTo>
                  <a:lnTo>
                    <a:pt x="1116421" y="467364"/>
                  </a:lnTo>
                  <a:lnTo>
                    <a:pt x="1116281" y="468555"/>
                  </a:lnTo>
                  <a:lnTo>
                    <a:pt x="1117712" y="470006"/>
                  </a:lnTo>
                  <a:lnTo>
                    <a:pt x="1120714" y="471708"/>
                  </a:lnTo>
                  <a:lnTo>
                    <a:pt x="1123967" y="472549"/>
                  </a:lnTo>
                  <a:lnTo>
                    <a:pt x="1139211" y="472918"/>
                  </a:lnTo>
                  <a:lnTo>
                    <a:pt x="1145316" y="473831"/>
                  </a:lnTo>
                  <a:lnTo>
                    <a:pt x="1159797" y="477839"/>
                  </a:lnTo>
                  <a:lnTo>
                    <a:pt x="1160445" y="479067"/>
                  </a:lnTo>
                  <a:lnTo>
                    <a:pt x="1157992" y="486220"/>
                  </a:lnTo>
                  <a:lnTo>
                    <a:pt x="1156649" y="493067"/>
                  </a:lnTo>
                  <a:lnTo>
                    <a:pt x="1153839" y="494317"/>
                  </a:lnTo>
                  <a:lnTo>
                    <a:pt x="1138601" y="494613"/>
                  </a:lnTo>
                  <a:lnTo>
                    <a:pt x="1133689" y="495677"/>
                  </a:lnTo>
                  <a:lnTo>
                    <a:pt x="1126506" y="498810"/>
                  </a:lnTo>
                  <a:lnTo>
                    <a:pt x="1119602" y="502561"/>
                  </a:lnTo>
                  <a:lnTo>
                    <a:pt x="1116024" y="502587"/>
                  </a:lnTo>
                  <a:lnTo>
                    <a:pt x="1101859" y="499315"/>
                  </a:lnTo>
                  <a:lnTo>
                    <a:pt x="1096426" y="497125"/>
                  </a:lnTo>
                  <a:lnTo>
                    <a:pt x="1084764" y="490922"/>
                  </a:lnTo>
                  <a:lnTo>
                    <a:pt x="1075983" y="481441"/>
                  </a:lnTo>
                  <a:lnTo>
                    <a:pt x="1071955" y="485389"/>
                  </a:lnTo>
                  <a:lnTo>
                    <a:pt x="1069492" y="487270"/>
                  </a:lnTo>
                  <a:lnTo>
                    <a:pt x="1066948" y="488244"/>
                  </a:lnTo>
                  <a:lnTo>
                    <a:pt x="1064495" y="488396"/>
                  </a:lnTo>
                  <a:lnTo>
                    <a:pt x="1062130" y="487723"/>
                  </a:lnTo>
                  <a:lnTo>
                    <a:pt x="1059449" y="486230"/>
                  </a:lnTo>
                  <a:lnTo>
                    <a:pt x="1054952" y="482762"/>
                  </a:lnTo>
                  <a:lnTo>
                    <a:pt x="1049586" y="479328"/>
                  </a:lnTo>
                  <a:lnTo>
                    <a:pt x="1045831" y="477694"/>
                  </a:lnTo>
                  <a:lnTo>
                    <a:pt x="1045689" y="478158"/>
                  </a:lnTo>
                  <a:lnTo>
                    <a:pt x="1047907" y="480180"/>
                  </a:lnTo>
                  <a:lnTo>
                    <a:pt x="1051155" y="482508"/>
                  </a:lnTo>
                  <a:lnTo>
                    <a:pt x="1059373" y="489338"/>
                  </a:lnTo>
                  <a:lnTo>
                    <a:pt x="1062260" y="491060"/>
                  </a:lnTo>
                  <a:lnTo>
                    <a:pt x="1061974" y="492282"/>
                  </a:lnTo>
                  <a:lnTo>
                    <a:pt x="1056786" y="493370"/>
                  </a:lnTo>
                  <a:lnTo>
                    <a:pt x="1050487" y="495706"/>
                  </a:lnTo>
                  <a:lnTo>
                    <a:pt x="1047406" y="497424"/>
                  </a:lnTo>
                  <a:lnTo>
                    <a:pt x="1042644" y="501586"/>
                  </a:lnTo>
                  <a:lnTo>
                    <a:pt x="1040991" y="502231"/>
                  </a:lnTo>
                  <a:lnTo>
                    <a:pt x="1033868" y="503276"/>
                  </a:lnTo>
                  <a:lnTo>
                    <a:pt x="1031519" y="503021"/>
                  </a:lnTo>
                  <a:lnTo>
                    <a:pt x="1026252" y="500731"/>
                  </a:lnTo>
                  <a:lnTo>
                    <a:pt x="1018320" y="499232"/>
                  </a:lnTo>
                  <a:lnTo>
                    <a:pt x="1013649" y="497898"/>
                  </a:lnTo>
                  <a:lnTo>
                    <a:pt x="1007155" y="495481"/>
                  </a:lnTo>
                  <a:lnTo>
                    <a:pt x="1009389" y="498127"/>
                  </a:lnTo>
                  <a:lnTo>
                    <a:pt x="1021899" y="502152"/>
                  </a:lnTo>
                  <a:lnTo>
                    <a:pt x="1023265" y="503447"/>
                  </a:lnTo>
                  <a:lnTo>
                    <a:pt x="1020705" y="505858"/>
                  </a:lnTo>
                  <a:lnTo>
                    <a:pt x="1019135" y="506738"/>
                  </a:lnTo>
                  <a:lnTo>
                    <a:pt x="1016156" y="506924"/>
                  </a:lnTo>
                  <a:lnTo>
                    <a:pt x="1011766" y="506419"/>
                  </a:lnTo>
                  <a:lnTo>
                    <a:pt x="1007277" y="506522"/>
                  </a:lnTo>
                  <a:lnTo>
                    <a:pt x="1002689" y="507228"/>
                  </a:lnTo>
                  <a:lnTo>
                    <a:pt x="1000715" y="508131"/>
                  </a:lnTo>
                  <a:lnTo>
                    <a:pt x="1001358" y="509229"/>
                  </a:lnTo>
                  <a:lnTo>
                    <a:pt x="1002451" y="510228"/>
                  </a:lnTo>
                  <a:lnTo>
                    <a:pt x="1003994" y="511128"/>
                  </a:lnTo>
                  <a:lnTo>
                    <a:pt x="1005438" y="511120"/>
                  </a:lnTo>
                  <a:lnTo>
                    <a:pt x="1008935" y="508388"/>
                  </a:lnTo>
                  <a:lnTo>
                    <a:pt x="1011586" y="508194"/>
                  </a:lnTo>
                  <a:lnTo>
                    <a:pt x="1018591" y="508867"/>
                  </a:lnTo>
                  <a:lnTo>
                    <a:pt x="1025675" y="506733"/>
                  </a:lnTo>
                  <a:lnTo>
                    <a:pt x="1030779" y="505813"/>
                  </a:lnTo>
                  <a:lnTo>
                    <a:pt x="1034610" y="505577"/>
                  </a:lnTo>
                  <a:lnTo>
                    <a:pt x="1048535" y="502310"/>
                  </a:lnTo>
                  <a:lnTo>
                    <a:pt x="1051425" y="498646"/>
                  </a:lnTo>
                  <a:lnTo>
                    <a:pt x="1056097" y="497177"/>
                  </a:lnTo>
                  <a:lnTo>
                    <a:pt x="1066486" y="496049"/>
                  </a:lnTo>
                  <a:lnTo>
                    <a:pt x="1076537" y="496628"/>
                  </a:lnTo>
                  <a:lnTo>
                    <a:pt x="1081704" y="497100"/>
                  </a:lnTo>
                  <a:lnTo>
                    <a:pt x="1085891" y="500567"/>
                  </a:lnTo>
                  <a:lnTo>
                    <a:pt x="1091504" y="503019"/>
                  </a:lnTo>
                  <a:lnTo>
                    <a:pt x="1096185" y="505811"/>
                  </a:lnTo>
                  <a:lnTo>
                    <a:pt x="1101670" y="506729"/>
                  </a:lnTo>
                  <a:lnTo>
                    <a:pt x="1104849" y="510437"/>
                  </a:lnTo>
                  <a:lnTo>
                    <a:pt x="1113740" y="514571"/>
                  </a:lnTo>
                  <a:lnTo>
                    <a:pt x="1119400" y="515459"/>
                  </a:lnTo>
                  <a:lnTo>
                    <a:pt x="1122891" y="517422"/>
                  </a:lnTo>
                  <a:lnTo>
                    <a:pt x="1123175" y="525729"/>
                  </a:lnTo>
                  <a:lnTo>
                    <a:pt x="1123546" y="529305"/>
                  </a:lnTo>
                  <a:lnTo>
                    <a:pt x="1122041" y="539166"/>
                  </a:lnTo>
                  <a:lnTo>
                    <a:pt x="1117498" y="541432"/>
                  </a:lnTo>
                  <a:lnTo>
                    <a:pt x="1118404" y="546602"/>
                  </a:lnTo>
                  <a:lnTo>
                    <a:pt x="1117211" y="550774"/>
                  </a:lnTo>
                  <a:lnTo>
                    <a:pt x="1112693" y="549192"/>
                  </a:lnTo>
                  <a:lnTo>
                    <a:pt x="1108065" y="546450"/>
                  </a:lnTo>
                  <a:lnTo>
                    <a:pt x="1096983" y="542189"/>
                  </a:lnTo>
                  <a:lnTo>
                    <a:pt x="1086671" y="539443"/>
                  </a:lnTo>
                  <a:lnTo>
                    <a:pt x="1082664" y="536949"/>
                  </a:lnTo>
                  <a:lnTo>
                    <a:pt x="1077944" y="535018"/>
                  </a:lnTo>
                  <a:lnTo>
                    <a:pt x="1071541" y="527133"/>
                  </a:lnTo>
                  <a:lnTo>
                    <a:pt x="1067370" y="517284"/>
                  </a:lnTo>
                  <a:lnTo>
                    <a:pt x="1065540" y="512395"/>
                  </a:lnTo>
                  <a:lnTo>
                    <a:pt x="1062033" y="512120"/>
                  </a:lnTo>
                  <a:lnTo>
                    <a:pt x="1057524" y="513432"/>
                  </a:lnTo>
                  <a:lnTo>
                    <a:pt x="1053587" y="514817"/>
                  </a:lnTo>
                  <a:lnTo>
                    <a:pt x="1051701" y="517184"/>
                  </a:lnTo>
                  <a:lnTo>
                    <a:pt x="1038323" y="520435"/>
                  </a:lnTo>
                  <a:lnTo>
                    <a:pt x="1033467" y="522658"/>
                  </a:lnTo>
                  <a:lnTo>
                    <a:pt x="1030696" y="522592"/>
                  </a:lnTo>
                  <a:lnTo>
                    <a:pt x="1020705" y="525938"/>
                  </a:lnTo>
                  <a:lnTo>
                    <a:pt x="1024708" y="527538"/>
                  </a:lnTo>
                  <a:lnTo>
                    <a:pt x="1026576" y="527741"/>
                  </a:lnTo>
                  <a:lnTo>
                    <a:pt x="1030614" y="526837"/>
                  </a:lnTo>
                  <a:lnTo>
                    <a:pt x="1033039" y="525682"/>
                  </a:lnTo>
                  <a:lnTo>
                    <a:pt x="1042145" y="522516"/>
                  </a:lnTo>
                  <a:lnTo>
                    <a:pt x="1049455" y="521974"/>
                  </a:lnTo>
                  <a:lnTo>
                    <a:pt x="1052106" y="520607"/>
                  </a:lnTo>
                  <a:lnTo>
                    <a:pt x="1057694" y="518654"/>
                  </a:lnTo>
                  <a:lnTo>
                    <a:pt x="1061486" y="518136"/>
                  </a:lnTo>
                  <a:lnTo>
                    <a:pt x="1062014" y="518631"/>
                  </a:lnTo>
                  <a:lnTo>
                    <a:pt x="1062421" y="519519"/>
                  </a:lnTo>
                  <a:lnTo>
                    <a:pt x="1065098" y="531519"/>
                  </a:lnTo>
                  <a:lnTo>
                    <a:pt x="1063977" y="534701"/>
                  </a:lnTo>
                  <a:lnTo>
                    <a:pt x="1060964" y="536077"/>
                  </a:lnTo>
                  <a:lnTo>
                    <a:pt x="1054527" y="538334"/>
                  </a:lnTo>
                  <a:lnTo>
                    <a:pt x="1052854" y="539426"/>
                  </a:lnTo>
                  <a:lnTo>
                    <a:pt x="1054752" y="541340"/>
                  </a:lnTo>
                  <a:lnTo>
                    <a:pt x="1060804" y="539536"/>
                  </a:lnTo>
                  <a:lnTo>
                    <a:pt x="1064725" y="537578"/>
                  </a:lnTo>
                  <a:lnTo>
                    <a:pt x="1066814" y="538292"/>
                  </a:lnTo>
                  <a:lnTo>
                    <a:pt x="1070245" y="541287"/>
                  </a:lnTo>
                  <a:lnTo>
                    <a:pt x="1074113" y="542822"/>
                  </a:lnTo>
                  <a:lnTo>
                    <a:pt x="1083944" y="547412"/>
                  </a:lnTo>
                  <a:lnTo>
                    <a:pt x="1088600" y="549936"/>
                  </a:lnTo>
                  <a:lnTo>
                    <a:pt x="1095150" y="552368"/>
                  </a:lnTo>
                  <a:lnTo>
                    <a:pt x="1102561" y="555738"/>
                  </a:lnTo>
                  <a:lnTo>
                    <a:pt x="1104490" y="556924"/>
                  </a:lnTo>
                  <a:lnTo>
                    <a:pt x="1111264" y="558671"/>
                  </a:lnTo>
                  <a:lnTo>
                    <a:pt x="1112707" y="559267"/>
                  </a:lnTo>
                  <a:lnTo>
                    <a:pt x="1115508" y="565189"/>
                  </a:lnTo>
                  <a:lnTo>
                    <a:pt x="1117846" y="565846"/>
                  </a:lnTo>
                  <a:lnTo>
                    <a:pt x="1124587" y="566221"/>
                  </a:lnTo>
                  <a:lnTo>
                    <a:pt x="1123400" y="568511"/>
                  </a:lnTo>
                  <a:lnTo>
                    <a:pt x="1116817" y="573598"/>
                  </a:lnTo>
                  <a:lnTo>
                    <a:pt x="1113413" y="575218"/>
                  </a:lnTo>
                  <a:lnTo>
                    <a:pt x="1112567" y="576217"/>
                  </a:lnTo>
                  <a:lnTo>
                    <a:pt x="1112891" y="578002"/>
                  </a:lnTo>
                  <a:lnTo>
                    <a:pt x="1113089" y="580987"/>
                  </a:lnTo>
                  <a:lnTo>
                    <a:pt x="1114461" y="586466"/>
                  </a:lnTo>
                  <a:lnTo>
                    <a:pt x="1116005" y="581392"/>
                  </a:lnTo>
                  <a:lnTo>
                    <a:pt x="1117082" y="578995"/>
                  </a:lnTo>
                  <a:lnTo>
                    <a:pt x="1118525" y="578277"/>
                  </a:lnTo>
                  <a:lnTo>
                    <a:pt x="1119945" y="578171"/>
                  </a:lnTo>
                  <a:lnTo>
                    <a:pt x="1124547" y="575900"/>
                  </a:lnTo>
                  <a:lnTo>
                    <a:pt x="1129173" y="577120"/>
                  </a:lnTo>
                  <a:lnTo>
                    <a:pt x="1130373" y="582858"/>
                  </a:lnTo>
                  <a:lnTo>
                    <a:pt x="1130965" y="588199"/>
                  </a:lnTo>
                  <a:lnTo>
                    <a:pt x="1130557" y="592800"/>
                  </a:lnTo>
                  <a:lnTo>
                    <a:pt x="1131067" y="599929"/>
                  </a:lnTo>
                  <a:lnTo>
                    <a:pt x="1130892" y="602329"/>
                  </a:lnTo>
                  <a:lnTo>
                    <a:pt x="1131983" y="604407"/>
                  </a:lnTo>
                  <a:lnTo>
                    <a:pt x="1133116" y="613001"/>
                  </a:lnTo>
                  <a:lnTo>
                    <a:pt x="1134250" y="615571"/>
                  </a:lnTo>
                  <a:lnTo>
                    <a:pt x="1131975" y="617876"/>
                  </a:lnTo>
                  <a:lnTo>
                    <a:pt x="1124944" y="618877"/>
                  </a:lnTo>
                  <a:lnTo>
                    <a:pt x="1122162" y="617743"/>
                  </a:lnTo>
                  <a:lnTo>
                    <a:pt x="1115201" y="618121"/>
                  </a:lnTo>
                  <a:lnTo>
                    <a:pt x="1115192" y="616094"/>
                  </a:lnTo>
                  <a:lnTo>
                    <a:pt x="1114853" y="613769"/>
                  </a:lnTo>
                  <a:lnTo>
                    <a:pt x="1114825" y="612142"/>
                  </a:lnTo>
                  <a:lnTo>
                    <a:pt x="1114360" y="610669"/>
                  </a:lnTo>
                  <a:lnTo>
                    <a:pt x="1114031" y="602180"/>
                  </a:lnTo>
                  <a:lnTo>
                    <a:pt x="1112062" y="604280"/>
                  </a:lnTo>
                  <a:lnTo>
                    <a:pt x="1111945" y="606001"/>
                  </a:lnTo>
                  <a:lnTo>
                    <a:pt x="1111422" y="607751"/>
                  </a:lnTo>
                  <a:lnTo>
                    <a:pt x="1110213" y="616887"/>
                  </a:lnTo>
                  <a:lnTo>
                    <a:pt x="1108422" y="619123"/>
                  </a:lnTo>
                  <a:lnTo>
                    <a:pt x="1102852" y="618585"/>
                  </a:lnTo>
                  <a:lnTo>
                    <a:pt x="1097367" y="618916"/>
                  </a:lnTo>
                  <a:lnTo>
                    <a:pt x="1094333" y="618577"/>
                  </a:lnTo>
                  <a:lnTo>
                    <a:pt x="1084074" y="614413"/>
                  </a:lnTo>
                  <a:lnTo>
                    <a:pt x="1080103" y="610638"/>
                  </a:lnTo>
                  <a:lnTo>
                    <a:pt x="1076588" y="604953"/>
                  </a:lnTo>
                  <a:lnTo>
                    <a:pt x="1074418" y="599626"/>
                  </a:lnTo>
                  <a:lnTo>
                    <a:pt x="1073595" y="594662"/>
                  </a:lnTo>
                  <a:lnTo>
                    <a:pt x="1071134" y="590614"/>
                  </a:lnTo>
                  <a:lnTo>
                    <a:pt x="1067039" y="587486"/>
                  </a:lnTo>
                  <a:lnTo>
                    <a:pt x="1062201" y="584946"/>
                  </a:lnTo>
                  <a:lnTo>
                    <a:pt x="1056620" y="583001"/>
                  </a:lnTo>
                  <a:lnTo>
                    <a:pt x="1051720" y="580487"/>
                  </a:lnTo>
                  <a:lnTo>
                    <a:pt x="1047501" y="577408"/>
                  </a:lnTo>
                  <a:lnTo>
                    <a:pt x="1042856" y="575009"/>
                  </a:lnTo>
                  <a:lnTo>
                    <a:pt x="1037786" y="573297"/>
                  </a:lnTo>
                  <a:lnTo>
                    <a:pt x="1030571" y="572560"/>
                  </a:lnTo>
                  <a:lnTo>
                    <a:pt x="1020021" y="572829"/>
                  </a:lnTo>
                  <a:lnTo>
                    <a:pt x="1012899" y="570897"/>
                  </a:lnTo>
                  <a:lnTo>
                    <a:pt x="1011205" y="571061"/>
                  </a:lnTo>
                  <a:lnTo>
                    <a:pt x="1009545" y="572059"/>
                  </a:lnTo>
                  <a:lnTo>
                    <a:pt x="1010767" y="574901"/>
                  </a:lnTo>
                  <a:lnTo>
                    <a:pt x="1018945" y="576203"/>
                  </a:lnTo>
                  <a:lnTo>
                    <a:pt x="1025252" y="576500"/>
                  </a:lnTo>
                  <a:lnTo>
                    <a:pt x="1033608" y="576315"/>
                  </a:lnTo>
                  <a:lnTo>
                    <a:pt x="1038724" y="577044"/>
                  </a:lnTo>
                  <a:lnTo>
                    <a:pt x="1040601" y="578685"/>
                  </a:lnTo>
                  <a:lnTo>
                    <a:pt x="1041893" y="581603"/>
                  </a:lnTo>
                  <a:lnTo>
                    <a:pt x="1042597" y="585789"/>
                  </a:lnTo>
                  <a:lnTo>
                    <a:pt x="1040946" y="589106"/>
                  </a:lnTo>
                  <a:lnTo>
                    <a:pt x="1034934" y="592783"/>
                  </a:lnTo>
                  <a:lnTo>
                    <a:pt x="1031763" y="594503"/>
                  </a:lnTo>
                  <a:lnTo>
                    <a:pt x="1022510" y="597798"/>
                  </a:lnTo>
                  <a:lnTo>
                    <a:pt x="1019371" y="598533"/>
                  </a:lnTo>
                  <a:lnTo>
                    <a:pt x="1011645" y="598758"/>
                  </a:lnTo>
                  <a:lnTo>
                    <a:pt x="1005711" y="598441"/>
                  </a:lnTo>
                  <a:lnTo>
                    <a:pt x="997904" y="596799"/>
                  </a:lnTo>
                  <a:lnTo>
                    <a:pt x="993478" y="596466"/>
                  </a:lnTo>
                  <a:lnTo>
                    <a:pt x="984319" y="596245"/>
                  </a:lnTo>
                  <a:lnTo>
                    <a:pt x="982212" y="596821"/>
                  </a:lnTo>
                  <a:lnTo>
                    <a:pt x="984575" y="598580"/>
                  </a:lnTo>
                  <a:lnTo>
                    <a:pt x="988460" y="599577"/>
                  </a:lnTo>
                  <a:lnTo>
                    <a:pt x="991195" y="600761"/>
                  </a:lnTo>
                  <a:lnTo>
                    <a:pt x="991480" y="603005"/>
                  </a:lnTo>
                  <a:lnTo>
                    <a:pt x="990494" y="606331"/>
                  </a:lnTo>
                  <a:lnTo>
                    <a:pt x="989477" y="608650"/>
                  </a:lnTo>
                  <a:lnTo>
                    <a:pt x="987801" y="610389"/>
                  </a:lnTo>
                  <a:lnTo>
                    <a:pt x="981791" y="613679"/>
                  </a:lnTo>
                  <a:lnTo>
                    <a:pt x="979301" y="614718"/>
                  </a:lnTo>
                  <a:lnTo>
                    <a:pt x="968096" y="618156"/>
                  </a:lnTo>
                  <a:lnTo>
                    <a:pt x="967316" y="618817"/>
                  </a:lnTo>
                  <a:lnTo>
                    <a:pt x="969939" y="618727"/>
                  </a:lnTo>
                  <a:lnTo>
                    <a:pt x="977023" y="617507"/>
                  </a:lnTo>
                  <a:lnTo>
                    <a:pt x="979061" y="617542"/>
                  </a:lnTo>
                  <a:lnTo>
                    <a:pt x="990689" y="620521"/>
                  </a:lnTo>
                  <a:lnTo>
                    <a:pt x="999953" y="620344"/>
                  </a:lnTo>
                  <a:lnTo>
                    <a:pt x="1018722" y="617596"/>
                  </a:lnTo>
                  <a:lnTo>
                    <a:pt x="1020265" y="617649"/>
                  </a:lnTo>
                  <a:lnTo>
                    <a:pt x="1021498" y="618082"/>
                  </a:lnTo>
                  <a:lnTo>
                    <a:pt x="1022743" y="619113"/>
                  </a:lnTo>
                  <a:lnTo>
                    <a:pt x="1024004" y="620745"/>
                  </a:lnTo>
                  <a:lnTo>
                    <a:pt x="1022492" y="622322"/>
                  </a:lnTo>
                  <a:lnTo>
                    <a:pt x="1018205" y="623842"/>
                  </a:lnTo>
                  <a:lnTo>
                    <a:pt x="1011531" y="625342"/>
                  </a:lnTo>
                  <a:lnTo>
                    <a:pt x="1008640" y="626355"/>
                  </a:lnTo>
                  <a:lnTo>
                    <a:pt x="1005878" y="627888"/>
                  </a:lnTo>
                  <a:lnTo>
                    <a:pt x="1000732" y="631566"/>
                  </a:lnTo>
                  <a:lnTo>
                    <a:pt x="999229" y="635378"/>
                  </a:lnTo>
                  <a:lnTo>
                    <a:pt x="1004639" y="636826"/>
                  </a:lnTo>
                  <a:lnTo>
                    <a:pt x="1007070" y="634993"/>
                  </a:lnTo>
                  <a:lnTo>
                    <a:pt x="1009939" y="630917"/>
                  </a:lnTo>
                  <a:lnTo>
                    <a:pt x="1012521" y="628521"/>
                  </a:lnTo>
                  <a:lnTo>
                    <a:pt x="1018615" y="626893"/>
                  </a:lnTo>
                  <a:lnTo>
                    <a:pt x="1026055" y="627722"/>
                  </a:lnTo>
                  <a:lnTo>
                    <a:pt x="1031803" y="626757"/>
                  </a:lnTo>
                  <a:lnTo>
                    <a:pt x="1043542" y="622724"/>
                  </a:lnTo>
                  <a:lnTo>
                    <a:pt x="1045641" y="622477"/>
                  </a:lnTo>
                  <a:lnTo>
                    <a:pt x="1062912" y="624790"/>
                  </a:lnTo>
                  <a:lnTo>
                    <a:pt x="1078563" y="629315"/>
                  </a:lnTo>
                  <a:lnTo>
                    <a:pt x="1086826" y="630977"/>
                  </a:lnTo>
                  <a:lnTo>
                    <a:pt x="1097752" y="631957"/>
                  </a:lnTo>
                  <a:lnTo>
                    <a:pt x="1117404" y="631512"/>
                  </a:lnTo>
                  <a:lnTo>
                    <a:pt x="1119126" y="632222"/>
                  </a:lnTo>
                  <a:lnTo>
                    <a:pt x="1118488" y="633820"/>
                  </a:lnTo>
                  <a:lnTo>
                    <a:pt x="1117347" y="635173"/>
                  </a:lnTo>
                  <a:lnTo>
                    <a:pt x="1114073" y="637058"/>
                  </a:lnTo>
                  <a:lnTo>
                    <a:pt x="1110097" y="638302"/>
                  </a:lnTo>
                  <a:lnTo>
                    <a:pt x="1107636" y="638653"/>
                  </a:lnTo>
                  <a:lnTo>
                    <a:pt x="1105543" y="639542"/>
                  </a:lnTo>
                  <a:lnTo>
                    <a:pt x="1100838" y="640411"/>
                  </a:lnTo>
                  <a:lnTo>
                    <a:pt x="1099631" y="641117"/>
                  </a:lnTo>
                  <a:lnTo>
                    <a:pt x="1101261" y="644196"/>
                  </a:lnTo>
                  <a:lnTo>
                    <a:pt x="1100486" y="644673"/>
                  </a:lnTo>
                  <a:lnTo>
                    <a:pt x="1096343" y="644723"/>
                  </a:lnTo>
                  <a:lnTo>
                    <a:pt x="1089365" y="646727"/>
                  </a:lnTo>
                  <a:lnTo>
                    <a:pt x="1083636" y="646583"/>
                  </a:lnTo>
                  <a:lnTo>
                    <a:pt x="1082440" y="646877"/>
                  </a:lnTo>
                  <a:lnTo>
                    <a:pt x="1083527" y="647620"/>
                  </a:lnTo>
                  <a:lnTo>
                    <a:pt x="1084683" y="649053"/>
                  </a:lnTo>
                  <a:lnTo>
                    <a:pt x="1085905" y="651177"/>
                  </a:lnTo>
                  <a:lnTo>
                    <a:pt x="1085233" y="652692"/>
                  </a:lnTo>
                  <a:lnTo>
                    <a:pt x="1082664" y="653596"/>
                  </a:lnTo>
                  <a:lnTo>
                    <a:pt x="1080716" y="653890"/>
                  </a:lnTo>
                  <a:lnTo>
                    <a:pt x="1073997" y="652623"/>
                  </a:lnTo>
                  <a:lnTo>
                    <a:pt x="1072910" y="652813"/>
                  </a:lnTo>
                  <a:lnTo>
                    <a:pt x="1073892" y="653722"/>
                  </a:lnTo>
                  <a:lnTo>
                    <a:pt x="1074450" y="655109"/>
                  </a:lnTo>
                  <a:lnTo>
                    <a:pt x="1074586" y="656974"/>
                  </a:lnTo>
                  <a:lnTo>
                    <a:pt x="1072935" y="658538"/>
                  </a:lnTo>
                  <a:lnTo>
                    <a:pt x="1069496" y="659797"/>
                  </a:lnTo>
                  <a:lnTo>
                    <a:pt x="1063095" y="663258"/>
                  </a:lnTo>
                  <a:lnTo>
                    <a:pt x="1060308" y="664246"/>
                  </a:lnTo>
                  <a:lnTo>
                    <a:pt x="1054428" y="665062"/>
                  </a:lnTo>
                  <a:lnTo>
                    <a:pt x="1053189" y="665513"/>
                  </a:lnTo>
                  <a:lnTo>
                    <a:pt x="1055579" y="668162"/>
                  </a:lnTo>
                  <a:lnTo>
                    <a:pt x="1055314" y="669224"/>
                  </a:lnTo>
                  <a:lnTo>
                    <a:pt x="1051339" y="672082"/>
                  </a:lnTo>
                  <a:lnTo>
                    <a:pt x="1045328" y="673863"/>
                  </a:lnTo>
                  <a:lnTo>
                    <a:pt x="1044508" y="674822"/>
                  </a:lnTo>
                  <a:lnTo>
                    <a:pt x="1043950" y="677399"/>
                  </a:lnTo>
                  <a:lnTo>
                    <a:pt x="1043513" y="678423"/>
                  </a:lnTo>
                  <a:lnTo>
                    <a:pt x="1041924" y="679896"/>
                  </a:lnTo>
                  <a:lnTo>
                    <a:pt x="1036222" y="682701"/>
                  </a:lnTo>
                  <a:lnTo>
                    <a:pt x="1032181" y="684095"/>
                  </a:lnTo>
                  <a:lnTo>
                    <a:pt x="1030177" y="685236"/>
                  </a:lnTo>
                  <a:lnTo>
                    <a:pt x="1027697" y="687140"/>
                  </a:lnTo>
                  <a:lnTo>
                    <a:pt x="1024568" y="688150"/>
                  </a:lnTo>
                  <a:lnTo>
                    <a:pt x="1020791" y="688268"/>
                  </a:lnTo>
                  <a:lnTo>
                    <a:pt x="1017218" y="688981"/>
                  </a:lnTo>
                  <a:lnTo>
                    <a:pt x="1011340" y="691001"/>
                  </a:lnTo>
                  <a:lnTo>
                    <a:pt x="1007246" y="691673"/>
                  </a:lnTo>
                  <a:lnTo>
                    <a:pt x="994312" y="695159"/>
                  </a:lnTo>
                  <a:lnTo>
                    <a:pt x="988226" y="695716"/>
                  </a:lnTo>
                  <a:lnTo>
                    <a:pt x="982961" y="696960"/>
                  </a:lnTo>
                  <a:lnTo>
                    <a:pt x="972130" y="700280"/>
                  </a:lnTo>
                  <a:lnTo>
                    <a:pt x="966971" y="701347"/>
                  </a:lnTo>
                  <a:lnTo>
                    <a:pt x="963393" y="702614"/>
                  </a:lnTo>
                  <a:lnTo>
                    <a:pt x="959485" y="702976"/>
                  </a:lnTo>
                  <a:lnTo>
                    <a:pt x="953131" y="702153"/>
                  </a:lnTo>
                  <a:lnTo>
                    <a:pt x="949705" y="702125"/>
                  </a:lnTo>
                  <a:lnTo>
                    <a:pt x="947599" y="702623"/>
                  </a:lnTo>
                  <a:lnTo>
                    <a:pt x="945667" y="703640"/>
                  </a:lnTo>
                  <a:lnTo>
                    <a:pt x="942474" y="706423"/>
                  </a:lnTo>
                  <a:lnTo>
                    <a:pt x="939763" y="706639"/>
                  </a:lnTo>
                  <a:lnTo>
                    <a:pt x="930877" y="704432"/>
                  </a:lnTo>
                  <a:lnTo>
                    <a:pt x="931057" y="705433"/>
                  </a:lnTo>
                  <a:lnTo>
                    <a:pt x="933405" y="707819"/>
                  </a:lnTo>
                  <a:lnTo>
                    <a:pt x="933293" y="709512"/>
                  </a:lnTo>
                  <a:lnTo>
                    <a:pt x="928008" y="711227"/>
                  </a:lnTo>
                  <a:lnTo>
                    <a:pt x="925160" y="711665"/>
                  </a:lnTo>
                  <a:lnTo>
                    <a:pt x="920961" y="710961"/>
                  </a:lnTo>
                  <a:lnTo>
                    <a:pt x="915410" y="709111"/>
                  </a:lnTo>
                  <a:lnTo>
                    <a:pt x="908278" y="705241"/>
                  </a:lnTo>
                  <a:lnTo>
                    <a:pt x="899538" y="699320"/>
                  </a:lnTo>
                  <a:lnTo>
                    <a:pt x="895333" y="697314"/>
                  </a:lnTo>
                  <a:lnTo>
                    <a:pt x="895637" y="699217"/>
                  </a:lnTo>
                  <a:lnTo>
                    <a:pt x="896611" y="701076"/>
                  </a:lnTo>
                  <a:lnTo>
                    <a:pt x="898257" y="702886"/>
                  </a:lnTo>
                  <a:lnTo>
                    <a:pt x="898591" y="704199"/>
                  </a:lnTo>
                  <a:lnTo>
                    <a:pt x="897616" y="705012"/>
                  </a:lnTo>
                  <a:lnTo>
                    <a:pt x="896330" y="705422"/>
                  </a:lnTo>
                  <a:lnTo>
                    <a:pt x="894733" y="705427"/>
                  </a:lnTo>
                  <a:lnTo>
                    <a:pt x="894462" y="705887"/>
                  </a:lnTo>
                  <a:lnTo>
                    <a:pt x="897069" y="708705"/>
                  </a:lnTo>
                  <a:lnTo>
                    <a:pt x="899125" y="711595"/>
                  </a:lnTo>
                  <a:lnTo>
                    <a:pt x="898935" y="714334"/>
                  </a:lnTo>
                  <a:lnTo>
                    <a:pt x="896497" y="716925"/>
                  </a:lnTo>
                  <a:lnTo>
                    <a:pt x="894403" y="718444"/>
                  </a:lnTo>
                  <a:lnTo>
                    <a:pt x="892651" y="718892"/>
                  </a:lnTo>
                  <a:lnTo>
                    <a:pt x="882274" y="725333"/>
                  </a:lnTo>
                  <a:lnTo>
                    <a:pt x="879384" y="726142"/>
                  </a:lnTo>
                  <a:lnTo>
                    <a:pt x="878070" y="726937"/>
                  </a:lnTo>
                  <a:lnTo>
                    <a:pt x="876990" y="728125"/>
                  </a:lnTo>
                  <a:lnTo>
                    <a:pt x="873969" y="733433"/>
                  </a:lnTo>
                  <a:lnTo>
                    <a:pt x="872747" y="735051"/>
                  </a:lnTo>
                  <a:lnTo>
                    <a:pt x="870323" y="737154"/>
                  </a:lnTo>
                  <a:lnTo>
                    <a:pt x="869307" y="737519"/>
                  </a:lnTo>
                  <a:lnTo>
                    <a:pt x="869017" y="738374"/>
                  </a:lnTo>
                  <a:lnTo>
                    <a:pt x="869455" y="739726"/>
                  </a:lnTo>
                  <a:lnTo>
                    <a:pt x="868787" y="741974"/>
                  </a:lnTo>
                  <a:lnTo>
                    <a:pt x="867013" y="745115"/>
                  </a:lnTo>
                  <a:lnTo>
                    <a:pt x="860973" y="753767"/>
                  </a:lnTo>
                  <a:lnTo>
                    <a:pt x="856101" y="761803"/>
                  </a:lnTo>
                  <a:lnTo>
                    <a:pt x="853966" y="764428"/>
                  </a:lnTo>
                  <a:lnTo>
                    <a:pt x="852404" y="765539"/>
                  </a:lnTo>
                  <a:lnTo>
                    <a:pt x="851414" y="765142"/>
                  </a:lnTo>
                  <a:lnTo>
                    <a:pt x="848999" y="765350"/>
                  </a:lnTo>
                  <a:lnTo>
                    <a:pt x="847827" y="766757"/>
                  </a:lnTo>
                  <a:lnTo>
                    <a:pt x="846764" y="769299"/>
                  </a:lnTo>
                  <a:lnTo>
                    <a:pt x="845607" y="771235"/>
                  </a:lnTo>
                  <a:lnTo>
                    <a:pt x="844356" y="772567"/>
                  </a:lnTo>
                  <a:lnTo>
                    <a:pt x="834586" y="778296"/>
                  </a:lnTo>
                  <a:lnTo>
                    <a:pt x="832067" y="779357"/>
                  </a:lnTo>
                  <a:lnTo>
                    <a:pt x="829805" y="778686"/>
                  </a:lnTo>
                  <a:lnTo>
                    <a:pt x="827133" y="778944"/>
                  </a:lnTo>
                  <a:lnTo>
                    <a:pt x="821598" y="775920"/>
                  </a:lnTo>
                  <a:lnTo>
                    <a:pt x="820638" y="774807"/>
                  </a:lnTo>
                  <a:lnTo>
                    <a:pt x="817061" y="772323"/>
                  </a:lnTo>
                  <a:lnTo>
                    <a:pt x="817179" y="773618"/>
                  </a:lnTo>
                  <a:lnTo>
                    <a:pt x="817780" y="774333"/>
                  </a:lnTo>
                  <a:lnTo>
                    <a:pt x="818280" y="775381"/>
                  </a:lnTo>
                  <a:lnTo>
                    <a:pt x="819531" y="776664"/>
                  </a:lnTo>
                  <a:lnTo>
                    <a:pt x="822305" y="783408"/>
                  </a:lnTo>
                  <a:lnTo>
                    <a:pt x="820111" y="784789"/>
                  </a:lnTo>
                  <a:lnTo>
                    <a:pt x="818151" y="786365"/>
                  </a:lnTo>
                  <a:lnTo>
                    <a:pt x="813148" y="789021"/>
                  </a:lnTo>
                  <a:lnTo>
                    <a:pt x="807741" y="793469"/>
                  </a:lnTo>
                  <a:lnTo>
                    <a:pt x="805740" y="794710"/>
                  </a:lnTo>
                  <a:lnTo>
                    <a:pt x="805298" y="791088"/>
                  </a:lnTo>
                  <a:lnTo>
                    <a:pt x="805524" y="790005"/>
                  </a:lnTo>
                  <a:lnTo>
                    <a:pt x="802467" y="788250"/>
                  </a:lnTo>
                  <a:lnTo>
                    <a:pt x="802566" y="789514"/>
                  </a:lnTo>
                  <a:lnTo>
                    <a:pt x="802250" y="790694"/>
                  </a:lnTo>
                  <a:lnTo>
                    <a:pt x="800034" y="795385"/>
                  </a:lnTo>
                  <a:lnTo>
                    <a:pt x="799416" y="796195"/>
                  </a:lnTo>
                  <a:lnTo>
                    <a:pt x="798326" y="796013"/>
                  </a:lnTo>
                  <a:lnTo>
                    <a:pt x="795945" y="796877"/>
                  </a:lnTo>
                  <a:lnTo>
                    <a:pt x="793507" y="796468"/>
                  </a:lnTo>
                  <a:lnTo>
                    <a:pt x="791441" y="794335"/>
                  </a:lnTo>
                  <a:lnTo>
                    <a:pt x="790624" y="793228"/>
                  </a:lnTo>
                  <a:lnTo>
                    <a:pt x="786856" y="796267"/>
                  </a:lnTo>
                  <a:lnTo>
                    <a:pt x="785025" y="796189"/>
                  </a:lnTo>
                  <a:lnTo>
                    <a:pt x="784720" y="798740"/>
                  </a:lnTo>
                  <a:lnTo>
                    <a:pt x="782946" y="801061"/>
                  </a:lnTo>
                  <a:lnTo>
                    <a:pt x="780602" y="802065"/>
                  </a:lnTo>
                  <a:lnTo>
                    <a:pt x="777336" y="801987"/>
                  </a:lnTo>
                  <a:lnTo>
                    <a:pt x="775336" y="803360"/>
                  </a:lnTo>
                  <a:lnTo>
                    <a:pt x="770901" y="801888"/>
                  </a:lnTo>
                  <a:lnTo>
                    <a:pt x="769873" y="799124"/>
                  </a:lnTo>
                  <a:lnTo>
                    <a:pt x="773388" y="795330"/>
                  </a:lnTo>
                  <a:lnTo>
                    <a:pt x="774382" y="793763"/>
                  </a:lnTo>
                  <a:lnTo>
                    <a:pt x="773737" y="791833"/>
                  </a:lnTo>
                  <a:lnTo>
                    <a:pt x="774592" y="789337"/>
                  </a:lnTo>
                  <a:lnTo>
                    <a:pt x="781300" y="781401"/>
                  </a:lnTo>
                  <a:lnTo>
                    <a:pt x="785850" y="777368"/>
                  </a:lnTo>
                  <a:lnTo>
                    <a:pt x="785586" y="776649"/>
                  </a:lnTo>
                  <a:lnTo>
                    <a:pt x="779411" y="775769"/>
                  </a:lnTo>
                  <a:lnTo>
                    <a:pt x="774016" y="774383"/>
                  </a:lnTo>
                  <a:lnTo>
                    <a:pt x="768759" y="773906"/>
                  </a:lnTo>
                  <a:lnTo>
                    <a:pt x="766437" y="774379"/>
                  </a:lnTo>
                  <a:lnTo>
                    <a:pt x="770140" y="776696"/>
                  </a:lnTo>
                  <a:lnTo>
                    <a:pt x="775377" y="778944"/>
                  </a:lnTo>
                  <a:lnTo>
                    <a:pt x="772800" y="781089"/>
                  </a:lnTo>
                  <a:lnTo>
                    <a:pt x="770577" y="783364"/>
                  </a:lnTo>
                  <a:lnTo>
                    <a:pt x="768277" y="789535"/>
                  </a:lnTo>
                  <a:lnTo>
                    <a:pt x="766806" y="792058"/>
                  </a:lnTo>
                  <a:lnTo>
                    <a:pt x="761097" y="789159"/>
                  </a:lnTo>
                  <a:lnTo>
                    <a:pt x="758395" y="788179"/>
                  </a:lnTo>
                  <a:lnTo>
                    <a:pt x="760112" y="791394"/>
                  </a:lnTo>
                  <a:lnTo>
                    <a:pt x="765117" y="794436"/>
                  </a:lnTo>
                  <a:lnTo>
                    <a:pt x="765437" y="795436"/>
                  </a:lnTo>
                  <a:lnTo>
                    <a:pt x="765404" y="799048"/>
                  </a:lnTo>
                  <a:lnTo>
                    <a:pt x="755821" y="802223"/>
                  </a:lnTo>
                  <a:lnTo>
                    <a:pt x="745821" y="802704"/>
                  </a:lnTo>
                  <a:lnTo>
                    <a:pt x="738648" y="803606"/>
                  </a:lnTo>
                  <a:lnTo>
                    <a:pt x="726540" y="804697"/>
                  </a:lnTo>
                  <a:lnTo>
                    <a:pt x="721839" y="804699"/>
                  </a:lnTo>
                  <a:lnTo>
                    <a:pt x="721441" y="805919"/>
                  </a:lnTo>
                  <a:lnTo>
                    <a:pt x="733284" y="811481"/>
                  </a:lnTo>
                  <a:lnTo>
                    <a:pt x="735010" y="812497"/>
                  </a:lnTo>
                  <a:lnTo>
                    <a:pt x="733360" y="814409"/>
                  </a:lnTo>
                  <a:lnTo>
                    <a:pt x="730913" y="815597"/>
                  </a:lnTo>
                  <a:lnTo>
                    <a:pt x="727064" y="819682"/>
                  </a:lnTo>
                  <a:lnTo>
                    <a:pt x="725057" y="821088"/>
                  </a:lnTo>
                  <a:lnTo>
                    <a:pt x="720079" y="823018"/>
                  </a:lnTo>
                  <a:lnTo>
                    <a:pt x="710915" y="820865"/>
                  </a:lnTo>
                  <a:lnTo>
                    <a:pt x="706206" y="821827"/>
                  </a:lnTo>
                  <a:lnTo>
                    <a:pt x="701698" y="821149"/>
                  </a:lnTo>
                  <a:lnTo>
                    <a:pt x="701604" y="823504"/>
                  </a:lnTo>
                  <a:lnTo>
                    <a:pt x="702951" y="825221"/>
                  </a:lnTo>
                  <a:lnTo>
                    <a:pt x="704316" y="829479"/>
                  </a:lnTo>
                  <a:lnTo>
                    <a:pt x="707339" y="829148"/>
                  </a:lnTo>
                  <a:lnTo>
                    <a:pt x="711183" y="827813"/>
                  </a:lnTo>
                  <a:lnTo>
                    <a:pt x="714154" y="831032"/>
                  </a:lnTo>
                  <a:lnTo>
                    <a:pt x="716108" y="836478"/>
                  </a:lnTo>
                  <a:lnTo>
                    <a:pt x="719520" y="839234"/>
                  </a:lnTo>
                  <a:lnTo>
                    <a:pt x="721036" y="841361"/>
                  </a:lnTo>
                  <a:lnTo>
                    <a:pt x="721647" y="843367"/>
                  </a:lnTo>
                  <a:lnTo>
                    <a:pt x="719519" y="845362"/>
                  </a:lnTo>
                  <a:lnTo>
                    <a:pt x="715115" y="848183"/>
                  </a:lnTo>
                  <a:lnTo>
                    <a:pt x="710230" y="848705"/>
                  </a:lnTo>
                  <a:lnTo>
                    <a:pt x="710498" y="850932"/>
                  </a:lnTo>
                  <a:lnTo>
                    <a:pt x="708391" y="852533"/>
                  </a:lnTo>
                  <a:lnTo>
                    <a:pt x="703906" y="852064"/>
                  </a:lnTo>
                  <a:lnTo>
                    <a:pt x="701809" y="850948"/>
                  </a:lnTo>
                  <a:lnTo>
                    <a:pt x="699634" y="850418"/>
                  </a:lnTo>
                  <a:lnTo>
                    <a:pt x="690717" y="849819"/>
                  </a:lnTo>
                  <a:lnTo>
                    <a:pt x="699695" y="854105"/>
                  </a:lnTo>
                  <a:lnTo>
                    <a:pt x="702889" y="856098"/>
                  </a:lnTo>
                  <a:lnTo>
                    <a:pt x="704309" y="854917"/>
                  </a:lnTo>
                  <a:lnTo>
                    <a:pt x="707419" y="854630"/>
                  </a:lnTo>
                  <a:lnTo>
                    <a:pt x="712016" y="855720"/>
                  </a:lnTo>
                  <a:lnTo>
                    <a:pt x="711252" y="862923"/>
                  </a:lnTo>
                  <a:lnTo>
                    <a:pt x="713266" y="868743"/>
                  </a:lnTo>
                  <a:lnTo>
                    <a:pt x="713506" y="870047"/>
                  </a:lnTo>
                  <a:lnTo>
                    <a:pt x="708616" y="873524"/>
                  </a:lnTo>
                  <a:lnTo>
                    <a:pt x="708535" y="876765"/>
                  </a:lnTo>
                  <a:lnTo>
                    <a:pt x="705625" y="877667"/>
                  </a:lnTo>
                  <a:lnTo>
                    <a:pt x="702487" y="877459"/>
                  </a:lnTo>
                  <a:lnTo>
                    <a:pt x="702323" y="881010"/>
                  </a:lnTo>
                  <a:lnTo>
                    <a:pt x="700198" y="883221"/>
                  </a:lnTo>
                  <a:lnTo>
                    <a:pt x="700575" y="884604"/>
                  </a:lnTo>
                  <a:lnTo>
                    <a:pt x="701183" y="885842"/>
                  </a:lnTo>
                  <a:lnTo>
                    <a:pt x="699242" y="888090"/>
                  </a:lnTo>
                  <a:lnTo>
                    <a:pt x="697490" y="890823"/>
                  </a:lnTo>
                  <a:lnTo>
                    <a:pt x="694988" y="893214"/>
                  </a:lnTo>
                  <a:lnTo>
                    <a:pt x="693661" y="892968"/>
                  </a:lnTo>
                  <a:lnTo>
                    <a:pt x="689680" y="893122"/>
                  </a:lnTo>
                  <a:lnTo>
                    <a:pt x="684891" y="892922"/>
                  </a:lnTo>
                  <a:lnTo>
                    <a:pt x="681016" y="889817"/>
                  </a:lnTo>
                  <a:lnTo>
                    <a:pt x="679409" y="888782"/>
                  </a:lnTo>
                  <a:lnTo>
                    <a:pt x="677594" y="888105"/>
                  </a:lnTo>
                  <a:lnTo>
                    <a:pt x="678291" y="890105"/>
                  </a:lnTo>
                  <a:lnTo>
                    <a:pt x="679374" y="891307"/>
                  </a:lnTo>
                  <a:lnTo>
                    <a:pt x="682950" y="893548"/>
                  </a:lnTo>
                  <a:lnTo>
                    <a:pt x="689535" y="896316"/>
                  </a:lnTo>
                  <a:lnTo>
                    <a:pt x="689333" y="898277"/>
                  </a:lnTo>
                  <a:lnTo>
                    <a:pt x="687572" y="899130"/>
                  </a:lnTo>
                  <a:lnTo>
                    <a:pt x="683465" y="904461"/>
                  </a:lnTo>
                  <a:lnTo>
                    <a:pt x="682007" y="904576"/>
                  </a:lnTo>
                  <a:lnTo>
                    <a:pt x="680164" y="905949"/>
                  </a:lnTo>
                  <a:lnTo>
                    <a:pt x="674473" y="905489"/>
                  </a:lnTo>
                  <a:lnTo>
                    <a:pt x="672083" y="904943"/>
                  </a:lnTo>
                  <a:lnTo>
                    <a:pt x="665065" y="905292"/>
                  </a:lnTo>
                  <a:lnTo>
                    <a:pt x="662678" y="904821"/>
                  </a:lnTo>
                  <a:lnTo>
                    <a:pt x="660630" y="905044"/>
                  </a:lnTo>
                  <a:lnTo>
                    <a:pt x="662540" y="906546"/>
                  </a:lnTo>
                  <a:lnTo>
                    <a:pt x="666556" y="907898"/>
                  </a:lnTo>
                  <a:lnTo>
                    <a:pt x="671123" y="909253"/>
                  </a:lnTo>
                  <a:lnTo>
                    <a:pt x="678070" y="910277"/>
                  </a:lnTo>
                  <a:lnTo>
                    <a:pt x="677818" y="912213"/>
                  </a:lnTo>
                  <a:lnTo>
                    <a:pt x="676076" y="913801"/>
                  </a:lnTo>
                  <a:lnTo>
                    <a:pt x="677076" y="916170"/>
                  </a:lnTo>
                  <a:lnTo>
                    <a:pt x="676298" y="917866"/>
                  </a:lnTo>
                  <a:lnTo>
                    <a:pt x="675965" y="919877"/>
                  </a:lnTo>
                  <a:lnTo>
                    <a:pt x="674343" y="924545"/>
                  </a:lnTo>
                  <a:lnTo>
                    <a:pt x="676231" y="927743"/>
                  </a:lnTo>
                  <a:lnTo>
                    <a:pt x="678289" y="929301"/>
                  </a:lnTo>
                  <a:lnTo>
                    <a:pt x="678050" y="931351"/>
                  </a:lnTo>
                  <a:lnTo>
                    <a:pt x="679015" y="934628"/>
                  </a:lnTo>
                  <a:lnTo>
                    <a:pt x="675931" y="937548"/>
                  </a:lnTo>
                  <a:lnTo>
                    <a:pt x="673372" y="937438"/>
                  </a:lnTo>
                  <a:lnTo>
                    <a:pt x="669724" y="938094"/>
                  </a:lnTo>
                  <a:lnTo>
                    <a:pt x="668510" y="939379"/>
                  </a:lnTo>
                  <a:lnTo>
                    <a:pt x="674296" y="940592"/>
                  </a:lnTo>
                  <a:lnTo>
                    <a:pt x="673771" y="942774"/>
                  </a:lnTo>
                  <a:lnTo>
                    <a:pt x="672193" y="945499"/>
                  </a:lnTo>
                  <a:lnTo>
                    <a:pt x="670534" y="951390"/>
                  </a:lnTo>
                  <a:lnTo>
                    <a:pt x="667168" y="961451"/>
                  </a:lnTo>
                  <a:lnTo>
                    <a:pt x="665597" y="971395"/>
                  </a:lnTo>
                  <a:lnTo>
                    <a:pt x="658365" y="979534"/>
                  </a:lnTo>
                  <a:lnTo>
                    <a:pt x="655803" y="979758"/>
                  </a:lnTo>
                  <a:lnTo>
                    <a:pt x="655160" y="980080"/>
                  </a:lnTo>
                  <a:lnTo>
                    <a:pt x="651638" y="979664"/>
                  </a:lnTo>
                  <a:lnTo>
                    <a:pt x="646110" y="977789"/>
                  </a:lnTo>
                  <a:lnTo>
                    <a:pt x="641828" y="977170"/>
                  </a:lnTo>
                  <a:lnTo>
                    <a:pt x="638937" y="977144"/>
                  </a:lnTo>
                  <a:lnTo>
                    <a:pt x="638565" y="978077"/>
                  </a:lnTo>
                  <a:lnTo>
                    <a:pt x="640962" y="979591"/>
                  </a:lnTo>
                  <a:lnTo>
                    <a:pt x="644625" y="980223"/>
                  </a:lnTo>
                  <a:lnTo>
                    <a:pt x="647553" y="981222"/>
                  </a:lnTo>
                  <a:lnTo>
                    <a:pt x="652803" y="982155"/>
                  </a:lnTo>
                  <a:lnTo>
                    <a:pt x="654631" y="983961"/>
                  </a:lnTo>
                  <a:lnTo>
                    <a:pt x="655880" y="985882"/>
                  </a:lnTo>
                  <a:lnTo>
                    <a:pt x="655695" y="986939"/>
                  </a:lnTo>
                  <a:lnTo>
                    <a:pt x="655684" y="988187"/>
                  </a:lnTo>
                  <a:lnTo>
                    <a:pt x="656622" y="994886"/>
                  </a:lnTo>
                  <a:lnTo>
                    <a:pt x="654148" y="997197"/>
                  </a:lnTo>
                  <a:lnTo>
                    <a:pt x="652262" y="999284"/>
                  </a:lnTo>
                  <a:lnTo>
                    <a:pt x="645700" y="998994"/>
                  </a:lnTo>
                  <a:lnTo>
                    <a:pt x="644558" y="998267"/>
                  </a:lnTo>
                  <a:lnTo>
                    <a:pt x="638222" y="996068"/>
                  </a:lnTo>
                  <a:lnTo>
                    <a:pt x="638612" y="997100"/>
                  </a:lnTo>
                  <a:lnTo>
                    <a:pt x="643196" y="1000088"/>
                  </a:lnTo>
                  <a:lnTo>
                    <a:pt x="644793" y="1001576"/>
                  </a:lnTo>
                  <a:lnTo>
                    <a:pt x="643725" y="1001884"/>
                  </a:lnTo>
                  <a:lnTo>
                    <a:pt x="641875" y="1001995"/>
                  </a:lnTo>
                  <a:lnTo>
                    <a:pt x="639294" y="1002999"/>
                  </a:lnTo>
                  <a:lnTo>
                    <a:pt x="634641" y="1002457"/>
                  </a:lnTo>
                  <a:lnTo>
                    <a:pt x="634897" y="1000947"/>
                  </a:lnTo>
                  <a:lnTo>
                    <a:pt x="635780" y="999394"/>
                  </a:lnTo>
                  <a:lnTo>
                    <a:pt x="633652" y="999658"/>
                  </a:lnTo>
                  <a:lnTo>
                    <a:pt x="631281" y="1000446"/>
                  </a:lnTo>
                  <a:lnTo>
                    <a:pt x="629904" y="1000156"/>
                  </a:lnTo>
                  <a:lnTo>
                    <a:pt x="628746" y="1000243"/>
                  </a:lnTo>
                  <a:lnTo>
                    <a:pt x="628097" y="999466"/>
                  </a:lnTo>
                  <a:lnTo>
                    <a:pt x="627201" y="996429"/>
                  </a:lnTo>
                  <a:lnTo>
                    <a:pt x="628274" y="994900"/>
                  </a:lnTo>
                  <a:lnTo>
                    <a:pt x="632113" y="990944"/>
                  </a:lnTo>
                  <a:lnTo>
                    <a:pt x="633334" y="988819"/>
                  </a:lnTo>
                  <a:lnTo>
                    <a:pt x="632267" y="987852"/>
                  </a:lnTo>
                  <a:lnTo>
                    <a:pt x="629526" y="990132"/>
                  </a:lnTo>
                  <a:lnTo>
                    <a:pt x="626694" y="993752"/>
                  </a:lnTo>
                  <a:lnTo>
                    <a:pt x="625439" y="995935"/>
                  </a:lnTo>
                  <a:lnTo>
                    <a:pt x="623667" y="996360"/>
                  </a:lnTo>
                  <a:lnTo>
                    <a:pt x="619269" y="995260"/>
                  </a:lnTo>
                  <a:lnTo>
                    <a:pt x="606730" y="990194"/>
                  </a:lnTo>
                  <a:lnTo>
                    <a:pt x="607104" y="987108"/>
                  </a:lnTo>
                  <a:lnTo>
                    <a:pt x="606984" y="984550"/>
                  </a:lnTo>
                  <a:lnTo>
                    <a:pt x="610638" y="984225"/>
                  </a:lnTo>
                  <a:lnTo>
                    <a:pt x="613297" y="983111"/>
                  </a:lnTo>
                  <a:lnTo>
                    <a:pt x="615675" y="981747"/>
                  </a:lnTo>
                  <a:lnTo>
                    <a:pt x="618355" y="979259"/>
                  </a:lnTo>
                  <a:lnTo>
                    <a:pt x="620811" y="975145"/>
                  </a:lnTo>
                  <a:lnTo>
                    <a:pt x="620495" y="974833"/>
                  </a:lnTo>
                  <a:lnTo>
                    <a:pt x="613287" y="980083"/>
                  </a:lnTo>
                  <a:lnTo>
                    <a:pt x="608852" y="981836"/>
                  </a:lnTo>
                  <a:lnTo>
                    <a:pt x="606702" y="982156"/>
                  </a:lnTo>
                  <a:lnTo>
                    <a:pt x="605633" y="981379"/>
                  </a:lnTo>
                  <a:lnTo>
                    <a:pt x="602064" y="979695"/>
                  </a:lnTo>
                  <a:lnTo>
                    <a:pt x="599743" y="978929"/>
                  </a:lnTo>
                  <a:lnTo>
                    <a:pt x="594456" y="977675"/>
                  </a:lnTo>
                  <a:lnTo>
                    <a:pt x="593523" y="976999"/>
                  </a:lnTo>
                  <a:lnTo>
                    <a:pt x="591973" y="976465"/>
                  </a:lnTo>
                  <a:lnTo>
                    <a:pt x="589865" y="971093"/>
                  </a:lnTo>
                  <a:lnTo>
                    <a:pt x="592592" y="964551"/>
                  </a:lnTo>
                  <a:lnTo>
                    <a:pt x="594469" y="962650"/>
                  </a:lnTo>
                  <a:lnTo>
                    <a:pt x="595660" y="960441"/>
                  </a:lnTo>
                  <a:lnTo>
                    <a:pt x="596334" y="957514"/>
                  </a:lnTo>
                  <a:lnTo>
                    <a:pt x="595874" y="956263"/>
                  </a:lnTo>
                  <a:lnTo>
                    <a:pt x="594280" y="956692"/>
                  </a:lnTo>
                  <a:lnTo>
                    <a:pt x="593541" y="957695"/>
                  </a:lnTo>
                  <a:lnTo>
                    <a:pt x="593658" y="959262"/>
                  </a:lnTo>
                  <a:lnTo>
                    <a:pt x="592745" y="960351"/>
                  </a:lnTo>
                  <a:lnTo>
                    <a:pt x="586444" y="962853"/>
                  </a:lnTo>
                  <a:lnTo>
                    <a:pt x="580125" y="964877"/>
                  </a:lnTo>
                  <a:lnTo>
                    <a:pt x="577132" y="966793"/>
                  </a:lnTo>
                  <a:lnTo>
                    <a:pt x="575189" y="968289"/>
                  </a:lnTo>
                  <a:lnTo>
                    <a:pt x="573668" y="969758"/>
                  </a:lnTo>
                  <a:lnTo>
                    <a:pt x="571341" y="969626"/>
                  </a:lnTo>
                  <a:lnTo>
                    <a:pt x="568131" y="969928"/>
                  </a:lnTo>
                  <a:lnTo>
                    <a:pt x="565930" y="970881"/>
                  </a:lnTo>
                  <a:lnTo>
                    <a:pt x="562716" y="970296"/>
                  </a:lnTo>
                  <a:lnTo>
                    <a:pt x="560617" y="968881"/>
                  </a:lnTo>
                  <a:lnTo>
                    <a:pt x="558088" y="968718"/>
                  </a:lnTo>
                  <a:lnTo>
                    <a:pt x="555248" y="969400"/>
                  </a:lnTo>
                  <a:lnTo>
                    <a:pt x="553285" y="969342"/>
                  </a:lnTo>
                  <a:lnTo>
                    <a:pt x="553448" y="970303"/>
                  </a:lnTo>
                  <a:lnTo>
                    <a:pt x="554752" y="972666"/>
                  </a:lnTo>
                  <a:lnTo>
                    <a:pt x="552585" y="972824"/>
                  </a:lnTo>
                  <a:lnTo>
                    <a:pt x="548471" y="972917"/>
                  </a:lnTo>
                  <a:lnTo>
                    <a:pt x="546402" y="972233"/>
                  </a:lnTo>
                  <a:lnTo>
                    <a:pt x="544782" y="971337"/>
                  </a:lnTo>
                  <a:lnTo>
                    <a:pt x="543430" y="970079"/>
                  </a:lnTo>
                  <a:lnTo>
                    <a:pt x="544243" y="968436"/>
                  </a:lnTo>
                  <a:lnTo>
                    <a:pt x="550859" y="965425"/>
                  </a:lnTo>
                  <a:lnTo>
                    <a:pt x="553859" y="963680"/>
                  </a:lnTo>
                  <a:lnTo>
                    <a:pt x="551902" y="963078"/>
                  </a:lnTo>
                  <a:lnTo>
                    <a:pt x="545548" y="963622"/>
                  </a:lnTo>
                  <a:lnTo>
                    <a:pt x="544491" y="963170"/>
                  </a:lnTo>
                  <a:lnTo>
                    <a:pt x="540235" y="963445"/>
                  </a:lnTo>
                  <a:lnTo>
                    <a:pt x="540419" y="958950"/>
                  </a:lnTo>
                  <a:lnTo>
                    <a:pt x="539383" y="957833"/>
                  </a:lnTo>
                  <a:lnTo>
                    <a:pt x="539312" y="957304"/>
                  </a:lnTo>
                  <a:lnTo>
                    <a:pt x="537838" y="956047"/>
                  </a:lnTo>
                  <a:lnTo>
                    <a:pt x="536443" y="955735"/>
                  </a:lnTo>
                  <a:lnTo>
                    <a:pt x="535575" y="955282"/>
                  </a:lnTo>
                  <a:lnTo>
                    <a:pt x="528391" y="954270"/>
                  </a:lnTo>
                  <a:lnTo>
                    <a:pt x="527452" y="951754"/>
                  </a:lnTo>
                  <a:lnTo>
                    <a:pt x="526951" y="949163"/>
                  </a:lnTo>
                  <a:lnTo>
                    <a:pt x="525579" y="945944"/>
                  </a:lnTo>
                  <a:lnTo>
                    <a:pt x="522140" y="945104"/>
                  </a:lnTo>
                  <a:lnTo>
                    <a:pt x="520276" y="943706"/>
                  </a:lnTo>
                  <a:lnTo>
                    <a:pt x="521753" y="942276"/>
                  </a:lnTo>
                  <a:lnTo>
                    <a:pt x="522397" y="940460"/>
                  </a:lnTo>
                  <a:lnTo>
                    <a:pt x="520802" y="939631"/>
                  </a:lnTo>
                  <a:lnTo>
                    <a:pt x="519785" y="938349"/>
                  </a:lnTo>
                  <a:lnTo>
                    <a:pt x="519935" y="937516"/>
                  </a:lnTo>
                  <a:lnTo>
                    <a:pt x="518643" y="935264"/>
                  </a:lnTo>
                  <a:lnTo>
                    <a:pt x="518259" y="933506"/>
                  </a:lnTo>
                  <a:lnTo>
                    <a:pt x="519736" y="931856"/>
                  </a:lnTo>
                  <a:lnTo>
                    <a:pt x="523798" y="929987"/>
                  </a:lnTo>
                  <a:lnTo>
                    <a:pt x="525108" y="929234"/>
                  </a:lnTo>
                  <a:lnTo>
                    <a:pt x="525791" y="928419"/>
                  </a:lnTo>
                  <a:lnTo>
                    <a:pt x="530455" y="927042"/>
                  </a:lnTo>
                  <a:lnTo>
                    <a:pt x="526487" y="926068"/>
                  </a:lnTo>
                  <a:lnTo>
                    <a:pt x="524004" y="925917"/>
                  </a:lnTo>
                  <a:lnTo>
                    <a:pt x="522195" y="926371"/>
                  </a:lnTo>
                  <a:lnTo>
                    <a:pt x="520522" y="928201"/>
                  </a:lnTo>
                  <a:lnTo>
                    <a:pt x="518961" y="929414"/>
                  </a:lnTo>
                  <a:lnTo>
                    <a:pt x="512875" y="929811"/>
                  </a:lnTo>
                  <a:lnTo>
                    <a:pt x="511979" y="929184"/>
                  </a:lnTo>
                  <a:lnTo>
                    <a:pt x="511556" y="926602"/>
                  </a:lnTo>
                  <a:lnTo>
                    <a:pt x="511903" y="924609"/>
                  </a:lnTo>
                  <a:lnTo>
                    <a:pt x="514429" y="921808"/>
                  </a:lnTo>
                  <a:lnTo>
                    <a:pt x="511515" y="920416"/>
                  </a:lnTo>
                  <a:lnTo>
                    <a:pt x="508844" y="919964"/>
                  </a:lnTo>
                  <a:lnTo>
                    <a:pt x="505808" y="918663"/>
                  </a:lnTo>
                  <a:lnTo>
                    <a:pt x="503003" y="917289"/>
                  </a:lnTo>
                  <a:lnTo>
                    <a:pt x="500594" y="915688"/>
                  </a:lnTo>
                  <a:lnTo>
                    <a:pt x="498249" y="913795"/>
                  </a:lnTo>
                  <a:lnTo>
                    <a:pt x="497497" y="913555"/>
                  </a:lnTo>
                  <a:lnTo>
                    <a:pt x="498344" y="911575"/>
                  </a:lnTo>
                  <a:lnTo>
                    <a:pt x="498821" y="909946"/>
                  </a:lnTo>
                  <a:lnTo>
                    <a:pt x="498895" y="906439"/>
                  </a:lnTo>
                  <a:lnTo>
                    <a:pt x="497950" y="904983"/>
                  </a:lnTo>
                  <a:lnTo>
                    <a:pt x="500050" y="901984"/>
                  </a:lnTo>
                  <a:lnTo>
                    <a:pt x="502875" y="898697"/>
                  </a:lnTo>
                  <a:lnTo>
                    <a:pt x="509130" y="893812"/>
                  </a:lnTo>
                  <a:lnTo>
                    <a:pt x="502516" y="896167"/>
                  </a:lnTo>
                  <a:lnTo>
                    <a:pt x="497074" y="901293"/>
                  </a:lnTo>
                  <a:lnTo>
                    <a:pt x="495930" y="901526"/>
                  </a:lnTo>
                  <a:lnTo>
                    <a:pt x="495529" y="900599"/>
                  </a:lnTo>
                  <a:lnTo>
                    <a:pt x="493465" y="897271"/>
                  </a:lnTo>
                  <a:lnTo>
                    <a:pt x="491907" y="896362"/>
                  </a:lnTo>
                  <a:lnTo>
                    <a:pt x="491210" y="895359"/>
                  </a:lnTo>
                  <a:lnTo>
                    <a:pt x="488115" y="893582"/>
                  </a:lnTo>
                  <a:lnTo>
                    <a:pt x="486771" y="892210"/>
                  </a:lnTo>
                  <a:lnTo>
                    <a:pt x="484865" y="889562"/>
                  </a:lnTo>
                  <a:lnTo>
                    <a:pt x="482154" y="886407"/>
                  </a:lnTo>
                  <a:lnTo>
                    <a:pt x="478295" y="880166"/>
                  </a:lnTo>
                  <a:lnTo>
                    <a:pt x="472076" y="872958"/>
                  </a:lnTo>
                  <a:lnTo>
                    <a:pt x="470543" y="868896"/>
                  </a:lnTo>
                  <a:lnTo>
                    <a:pt x="472469" y="863731"/>
                  </a:lnTo>
                  <a:lnTo>
                    <a:pt x="470337" y="860159"/>
                  </a:lnTo>
                  <a:lnTo>
                    <a:pt x="476250" y="858504"/>
                  </a:lnTo>
                  <a:lnTo>
                    <a:pt x="484709" y="856645"/>
                  </a:lnTo>
                  <a:lnTo>
                    <a:pt x="489091" y="855100"/>
                  </a:lnTo>
                  <a:lnTo>
                    <a:pt x="491620" y="854637"/>
                  </a:lnTo>
                  <a:lnTo>
                    <a:pt x="496995" y="854353"/>
                  </a:lnTo>
                  <a:lnTo>
                    <a:pt x="498791" y="852799"/>
                  </a:lnTo>
                  <a:lnTo>
                    <a:pt x="495800" y="853192"/>
                  </a:lnTo>
                  <a:lnTo>
                    <a:pt x="493795" y="852989"/>
                  </a:lnTo>
                  <a:lnTo>
                    <a:pt x="493670" y="852265"/>
                  </a:lnTo>
                  <a:lnTo>
                    <a:pt x="494412" y="850972"/>
                  </a:lnTo>
                  <a:lnTo>
                    <a:pt x="494891" y="849304"/>
                  </a:lnTo>
                  <a:lnTo>
                    <a:pt x="493867" y="849606"/>
                  </a:lnTo>
                  <a:lnTo>
                    <a:pt x="488611" y="852477"/>
                  </a:lnTo>
                  <a:lnTo>
                    <a:pt x="480844" y="854754"/>
                  </a:lnTo>
                  <a:lnTo>
                    <a:pt x="474777" y="856026"/>
                  </a:lnTo>
                  <a:lnTo>
                    <a:pt x="473795" y="855958"/>
                  </a:lnTo>
                  <a:lnTo>
                    <a:pt x="471672" y="856726"/>
                  </a:lnTo>
                  <a:lnTo>
                    <a:pt x="470452" y="856947"/>
                  </a:lnTo>
                  <a:lnTo>
                    <a:pt x="469510" y="856730"/>
                  </a:lnTo>
                  <a:lnTo>
                    <a:pt x="467362" y="854552"/>
                  </a:lnTo>
                  <a:lnTo>
                    <a:pt x="466791" y="853124"/>
                  </a:lnTo>
                  <a:lnTo>
                    <a:pt x="470640" y="849256"/>
                  </a:lnTo>
                  <a:lnTo>
                    <a:pt x="473515" y="843963"/>
                  </a:lnTo>
                  <a:lnTo>
                    <a:pt x="477323" y="840494"/>
                  </a:lnTo>
                  <a:lnTo>
                    <a:pt x="480013" y="840059"/>
                  </a:lnTo>
                  <a:lnTo>
                    <a:pt x="484510" y="840245"/>
                  </a:lnTo>
                  <a:lnTo>
                    <a:pt x="486094" y="840552"/>
                  </a:lnTo>
                  <a:lnTo>
                    <a:pt x="485590" y="838490"/>
                  </a:lnTo>
                  <a:lnTo>
                    <a:pt x="485777" y="837496"/>
                  </a:lnTo>
                  <a:lnTo>
                    <a:pt x="489423" y="836300"/>
                  </a:lnTo>
                  <a:lnTo>
                    <a:pt x="493674" y="835765"/>
                  </a:lnTo>
                  <a:lnTo>
                    <a:pt x="496703" y="836143"/>
                  </a:lnTo>
                  <a:lnTo>
                    <a:pt x="498608" y="838564"/>
                  </a:lnTo>
                  <a:lnTo>
                    <a:pt x="501057" y="843025"/>
                  </a:lnTo>
                  <a:lnTo>
                    <a:pt x="504357" y="844529"/>
                  </a:lnTo>
                  <a:lnTo>
                    <a:pt x="504212" y="842388"/>
                  </a:lnTo>
                  <a:lnTo>
                    <a:pt x="502500" y="839627"/>
                  </a:lnTo>
                  <a:lnTo>
                    <a:pt x="501866" y="835386"/>
                  </a:lnTo>
                  <a:lnTo>
                    <a:pt x="499693" y="833595"/>
                  </a:lnTo>
                  <a:lnTo>
                    <a:pt x="497947" y="832711"/>
                  </a:lnTo>
                  <a:lnTo>
                    <a:pt x="493124" y="833143"/>
                  </a:lnTo>
                  <a:lnTo>
                    <a:pt x="490224" y="830035"/>
                  </a:lnTo>
                  <a:lnTo>
                    <a:pt x="489566" y="828893"/>
                  </a:lnTo>
                  <a:lnTo>
                    <a:pt x="489490" y="827375"/>
                  </a:lnTo>
                  <a:lnTo>
                    <a:pt x="486597" y="822911"/>
                  </a:lnTo>
                  <a:lnTo>
                    <a:pt x="485666" y="820677"/>
                  </a:lnTo>
                  <a:lnTo>
                    <a:pt x="484130" y="817696"/>
                  </a:lnTo>
                  <a:lnTo>
                    <a:pt x="483314" y="817537"/>
                  </a:lnTo>
                  <a:lnTo>
                    <a:pt x="484351" y="821288"/>
                  </a:lnTo>
                  <a:lnTo>
                    <a:pt x="485709" y="823923"/>
                  </a:lnTo>
                  <a:lnTo>
                    <a:pt x="487643" y="829705"/>
                  </a:lnTo>
                  <a:lnTo>
                    <a:pt x="488600" y="832030"/>
                  </a:lnTo>
                  <a:lnTo>
                    <a:pt x="487304" y="833871"/>
                  </a:lnTo>
                  <a:lnTo>
                    <a:pt x="484852" y="835691"/>
                  </a:lnTo>
                  <a:lnTo>
                    <a:pt x="482685" y="836776"/>
                  </a:lnTo>
                  <a:lnTo>
                    <a:pt x="477565" y="838074"/>
                  </a:lnTo>
                  <a:lnTo>
                    <a:pt x="478666" y="835243"/>
                  </a:lnTo>
                  <a:lnTo>
                    <a:pt x="479371" y="832455"/>
                  </a:lnTo>
                  <a:lnTo>
                    <a:pt x="476797" y="833443"/>
                  </a:lnTo>
                  <a:lnTo>
                    <a:pt x="474403" y="835464"/>
                  </a:lnTo>
                  <a:lnTo>
                    <a:pt x="473578" y="838266"/>
                  </a:lnTo>
                  <a:lnTo>
                    <a:pt x="472040" y="840808"/>
                  </a:lnTo>
                  <a:lnTo>
                    <a:pt x="467479" y="847025"/>
                  </a:lnTo>
                  <a:lnTo>
                    <a:pt x="465680" y="850472"/>
                  </a:lnTo>
                  <a:lnTo>
                    <a:pt x="463981" y="852171"/>
                  </a:lnTo>
                  <a:lnTo>
                    <a:pt x="462043" y="852640"/>
                  </a:lnTo>
                  <a:lnTo>
                    <a:pt x="460360" y="851292"/>
                  </a:lnTo>
                  <a:lnTo>
                    <a:pt x="458934" y="848124"/>
                  </a:lnTo>
                  <a:lnTo>
                    <a:pt x="458266" y="845644"/>
                  </a:lnTo>
                  <a:lnTo>
                    <a:pt x="458186" y="839194"/>
                  </a:lnTo>
                  <a:lnTo>
                    <a:pt x="458366" y="836179"/>
                  </a:lnTo>
                  <a:lnTo>
                    <a:pt x="457589" y="832109"/>
                  </a:lnTo>
                  <a:lnTo>
                    <a:pt x="455125" y="822598"/>
                  </a:lnTo>
                  <a:lnTo>
                    <a:pt x="454603" y="819202"/>
                  </a:lnTo>
                  <a:lnTo>
                    <a:pt x="450434" y="817393"/>
                  </a:lnTo>
                  <a:lnTo>
                    <a:pt x="450373" y="816809"/>
                  </a:lnTo>
                  <a:lnTo>
                    <a:pt x="449282" y="814871"/>
                  </a:lnTo>
                  <a:lnTo>
                    <a:pt x="448442" y="812930"/>
                  </a:lnTo>
                  <a:lnTo>
                    <a:pt x="449137" y="812219"/>
                  </a:lnTo>
                  <a:lnTo>
                    <a:pt x="450128" y="811705"/>
                  </a:lnTo>
                  <a:lnTo>
                    <a:pt x="456360" y="808838"/>
                  </a:lnTo>
                  <a:lnTo>
                    <a:pt x="460979" y="805622"/>
                  </a:lnTo>
                  <a:lnTo>
                    <a:pt x="466498" y="800568"/>
                  </a:lnTo>
                  <a:lnTo>
                    <a:pt x="468753" y="798995"/>
                  </a:lnTo>
                  <a:lnTo>
                    <a:pt x="476851" y="797782"/>
                  </a:lnTo>
                  <a:lnTo>
                    <a:pt x="480445" y="797617"/>
                  </a:lnTo>
                  <a:lnTo>
                    <a:pt x="480412" y="796716"/>
                  </a:lnTo>
                  <a:lnTo>
                    <a:pt x="479207" y="796356"/>
                  </a:lnTo>
                  <a:lnTo>
                    <a:pt x="473736" y="796593"/>
                  </a:lnTo>
                  <a:lnTo>
                    <a:pt x="466446" y="798620"/>
                  </a:lnTo>
                  <a:lnTo>
                    <a:pt x="465199" y="799350"/>
                  </a:lnTo>
                  <a:lnTo>
                    <a:pt x="462009" y="802498"/>
                  </a:lnTo>
                  <a:lnTo>
                    <a:pt x="459550" y="804216"/>
                  </a:lnTo>
                  <a:lnTo>
                    <a:pt x="452631" y="808136"/>
                  </a:lnTo>
                  <a:lnTo>
                    <a:pt x="448141" y="808134"/>
                  </a:lnTo>
                  <a:lnTo>
                    <a:pt x="443505" y="803441"/>
                  </a:lnTo>
                  <a:lnTo>
                    <a:pt x="438332" y="804341"/>
                  </a:lnTo>
                  <a:lnTo>
                    <a:pt x="434838" y="804031"/>
                  </a:lnTo>
                  <a:lnTo>
                    <a:pt x="433819" y="803324"/>
                  </a:lnTo>
                  <a:lnTo>
                    <a:pt x="433050" y="796895"/>
                  </a:lnTo>
                  <a:lnTo>
                    <a:pt x="435868" y="789368"/>
                  </a:lnTo>
                  <a:lnTo>
                    <a:pt x="432829" y="789298"/>
                  </a:lnTo>
                  <a:lnTo>
                    <a:pt x="432200" y="788993"/>
                  </a:lnTo>
                  <a:lnTo>
                    <a:pt x="430596" y="787274"/>
                  </a:lnTo>
                  <a:lnTo>
                    <a:pt x="429550" y="786763"/>
                  </a:lnTo>
                  <a:lnTo>
                    <a:pt x="430327" y="785850"/>
                  </a:lnTo>
                  <a:lnTo>
                    <a:pt x="437824" y="782272"/>
                  </a:lnTo>
                  <a:lnTo>
                    <a:pt x="449034" y="775233"/>
                  </a:lnTo>
                  <a:lnTo>
                    <a:pt x="453861" y="772461"/>
                  </a:lnTo>
                  <a:lnTo>
                    <a:pt x="456839" y="771264"/>
                  </a:lnTo>
                  <a:lnTo>
                    <a:pt x="459091" y="769891"/>
                  </a:lnTo>
                  <a:lnTo>
                    <a:pt x="461831" y="766914"/>
                  </a:lnTo>
                  <a:lnTo>
                    <a:pt x="462737" y="765610"/>
                  </a:lnTo>
                  <a:lnTo>
                    <a:pt x="464264" y="764558"/>
                  </a:lnTo>
                  <a:lnTo>
                    <a:pt x="467488" y="763372"/>
                  </a:lnTo>
                  <a:lnTo>
                    <a:pt x="471009" y="761577"/>
                  </a:lnTo>
                  <a:lnTo>
                    <a:pt x="476725" y="757525"/>
                  </a:lnTo>
                  <a:lnTo>
                    <a:pt x="477468" y="756026"/>
                  </a:lnTo>
                  <a:lnTo>
                    <a:pt x="476228" y="755676"/>
                  </a:lnTo>
                  <a:lnTo>
                    <a:pt x="473555" y="757059"/>
                  </a:lnTo>
                  <a:lnTo>
                    <a:pt x="468121" y="760762"/>
                  </a:lnTo>
                  <a:lnTo>
                    <a:pt x="464244" y="762844"/>
                  </a:lnTo>
                  <a:lnTo>
                    <a:pt x="451017" y="772128"/>
                  </a:lnTo>
                  <a:lnTo>
                    <a:pt x="445386" y="775498"/>
                  </a:lnTo>
                  <a:lnTo>
                    <a:pt x="442322" y="777645"/>
                  </a:lnTo>
                  <a:lnTo>
                    <a:pt x="439945" y="779694"/>
                  </a:lnTo>
                  <a:lnTo>
                    <a:pt x="437428" y="781152"/>
                  </a:lnTo>
                  <a:lnTo>
                    <a:pt x="434769" y="782021"/>
                  </a:lnTo>
                  <a:lnTo>
                    <a:pt x="429093" y="782673"/>
                  </a:lnTo>
                  <a:lnTo>
                    <a:pt x="426306" y="783429"/>
                  </a:lnTo>
                  <a:lnTo>
                    <a:pt x="424627" y="782874"/>
                  </a:lnTo>
                  <a:lnTo>
                    <a:pt x="423888" y="778503"/>
                  </a:lnTo>
                  <a:lnTo>
                    <a:pt x="424452" y="775909"/>
                  </a:lnTo>
                  <a:lnTo>
                    <a:pt x="424184" y="773345"/>
                  </a:lnTo>
                  <a:lnTo>
                    <a:pt x="425600" y="769670"/>
                  </a:lnTo>
                  <a:lnTo>
                    <a:pt x="427701" y="767063"/>
                  </a:lnTo>
                  <a:lnTo>
                    <a:pt x="428583" y="765646"/>
                  </a:lnTo>
                  <a:lnTo>
                    <a:pt x="428960" y="764670"/>
                  </a:lnTo>
                  <a:lnTo>
                    <a:pt x="433295" y="761970"/>
                  </a:lnTo>
                  <a:lnTo>
                    <a:pt x="435684" y="760770"/>
                  </a:lnTo>
                  <a:lnTo>
                    <a:pt x="437373" y="758060"/>
                  </a:lnTo>
                  <a:lnTo>
                    <a:pt x="446995" y="757097"/>
                  </a:lnTo>
                  <a:lnTo>
                    <a:pt x="449473" y="757193"/>
                  </a:lnTo>
                  <a:lnTo>
                    <a:pt x="450791" y="756830"/>
                  </a:lnTo>
                  <a:lnTo>
                    <a:pt x="451777" y="756041"/>
                  </a:lnTo>
                  <a:lnTo>
                    <a:pt x="450829" y="755431"/>
                  </a:lnTo>
                  <a:lnTo>
                    <a:pt x="447946" y="755002"/>
                  </a:lnTo>
                  <a:lnTo>
                    <a:pt x="440283" y="755084"/>
                  </a:lnTo>
                  <a:lnTo>
                    <a:pt x="433201" y="754619"/>
                  </a:lnTo>
                  <a:lnTo>
                    <a:pt x="429969" y="754152"/>
                  </a:lnTo>
                  <a:lnTo>
                    <a:pt x="428410" y="754422"/>
                  </a:lnTo>
                  <a:lnTo>
                    <a:pt x="425836" y="753630"/>
                  </a:lnTo>
                  <a:lnTo>
                    <a:pt x="423025" y="752121"/>
                  </a:lnTo>
                  <a:lnTo>
                    <a:pt x="418663" y="746560"/>
                  </a:lnTo>
                  <a:lnTo>
                    <a:pt x="420409" y="739398"/>
                  </a:lnTo>
                  <a:lnTo>
                    <a:pt x="420561" y="735973"/>
                  </a:lnTo>
                  <a:lnTo>
                    <a:pt x="426104" y="732965"/>
                  </a:lnTo>
                  <a:lnTo>
                    <a:pt x="429068" y="731968"/>
                  </a:lnTo>
                  <a:lnTo>
                    <a:pt x="433275" y="729698"/>
                  </a:lnTo>
                  <a:lnTo>
                    <a:pt x="438893" y="725840"/>
                  </a:lnTo>
                  <a:lnTo>
                    <a:pt x="445595" y="723480"/>
                  </a:lnTo>
                  <a:lnTo>
                    <a:pt x="449010" y="723043"/>
                  </a:lnTo>
                  <a:lnTo>
                    <a:pt x="451849" y="723381"/>
                  </a:lnTo>
                  <a:lnTo>
                    <a:pt x="462342" y="726728"/>
                  </a:lnTo>
                  <a:lnTo>
                    <a:pt x="467738" y="727382"/>
                  </a:lnTo>
                  <a:lnTo>
                    <a:pt x="472480" y="726577"/>
                  </a:lnTo>
                  <a:lnTo>
                    <a:pt x="478431" y="727755"/>
                  </a:lnTo>
                  <a:lnTo>
                    <a:pt x="488958" y="732563"/>
                  </a:lnTo>
                  <a:lnTo>
                    <a:pt x="490990" y="731846"/>
                  </a:lnTo>
                  <a:lnTo>
                    <a:pt x="490401" y="730682"/>
                  </a:lnTo>
                  <a:lnTo>
                    <a:pt x="478661" y="725600"/>
                  </a:lnTo>
                  <a:lnTo>
                    <a:pt x="478729" y="724080"/>
                  </a:lnTo>
                  <a:lnTo>
                    <a:pt x="481734" y="723682"/>
                  </a:lnTo>
                  <a:lnTo>
                    <a:pt x="484942" y="722201"/>
                  </a:lnTo>
                  <a:lnTo>
                    <a:pt x="483132" y="721327"/>
                  </a:lnTo>
                  <a:lnTo>
                    <a:pt x="475335" y="722086"/>
                  </a:lnTo>
                  <a:lnTo>
                    <a:pt x="473084" y="723300"/>
                  </a:lnTo>
                  <a:lnTo>
                    <a:pt x="465523" y="723929"/>
                  </a:lnTo>
                  <a:lnTo>
                    <a:pt x="461573" y="722896"/>
                  </a:lnTo>
                  <a:lnTo>
                    <a:pt x="458027" y="722384"/>
                  </a:lnTo>
                  <a:lnTo>
                    <a:pt x="452706" y="720181"/>
                  </a:lnTo>
                  <a:lnTo>
                    <a:pt x="448254" y="720900"/>
                  </a:lnTo>
                  <a:lnTo>
                    <a:pt x="445444" y="721769"/>
                  </a:lnTo>
                  <a:lnTo>
                    <a:pt x="440467" y="722591"/>
                  </a:lnTo>
                  <a:lnTo>
                    <a:pt x="438670" y="723176"/>
                  </a:lnTo>
                  <a:lnTo>
                    <a:pt x="428958" y="730090"/>
                  </a:lnTo>
                  <a:lnTo>
                    <a:pt x="424872" y="731524"/>
                  </a:lnTo>
                  <a:lnTo>
                    <a:pt x="421962" y="731052"/>
                  </a:lnTo>
                  <a:lnTo>
                    <a:pt x="424005" y="726557"/>
                  </a:lnTo>
                  <a:lnTo>
                    <a:pt x="424594" y="724780"/>
                  </a:lnTo>
                  <a:lnTo>
                    <a:pt x="424590" y="722842"/>
                  </a:lnTo>
                  <a:lnTo>
                    <a:pt x="425439" y="720185"/>
                  </a:lnTo>
                  <a:lnTo>
                    <a:pt x="430415" y="715116"/>
                  </a:lnTo>
                  <a:lnTo>
                    <a:pt x="433545" y="709549"/>
                  </a:lnTo>
                  <a:lnTo>
                    <a:pt x="434868" y="706088"/>
                  </a:lnTo>
                  <a:lnTo>
                    <a:pt x="437313" y="705701"/>
                  </a:lnTo>
                  <a:lnTo>
                    <a:pt x="440655" y="706211"/>
                  </a:lnTo>
                  <a:lnTo>
                    <a:pt x="450689" y="708456"/>
                  </a:lnTo>
                  <a:lnTo>
                    <a:pt x="459038" y="711127"/>
                  </a:lnTo>
                  <a:lnTo>
                    <a:pt x="465197" y="711840"/>
                  </a:lnTo>
                  <a:lnTo>
                    <a:pt x="469245" y="711914"/>
                  </a:lnTo>
                  <a:lnTo>
                    <a:pt x="470981" y="711063"/>
                  </a:lnTo>
                  <a:lnTo>
                    <a:pt x="472349" y="709583"/>
                  </a:lnTo>
                  <a:lnTo>
                    <a:pt x="472876" y="708556"/>
                  </a:lnTo>
                  <a:lnTo>
                    <a:pt x="473274" y="706453"/>
                  </a:lnTo>
                  <a:lnTo>
                    <a:pt x="473738" y="705706"/>
                  </a:lnTo>
                  <a:lnTo>
                    <a:pt x="475091" y="704788"/>
                  </a:lnTo>
                  <a:lnTo>
                    <a:pt x="477860" y="701591"/>
                  </a:lnTo>
                  <a:lnTo>
                    <a:pt x="478703" y="699309"/>
                  </a:lnTo>
                  <a:lnTo>
                    <a:pt x="477796" y="697980"/>
                  </a:lnTo>
                  <a:lnTo>
                    <a:pt x="475954" y="698116"/>
                  </a:lnTo>
                  <a:lnTo>
                    <a:pt x="472358" y="698991"/>
                  </a:lnTo>
                  <a:lnTo>
                    <a:pt x="471873" y="699355"/>
                  </a:lnTo>
                  <a:lnTo>
                    <a:pt x="471939" y="700067"/>
                  </a:lnTo>
                  <a:lnTo>
                    <a:pt x="468459" y="703597"/>
                  </a:lnTo>
                  <a:lnTo>
                    <a:pt x="464665" y="704408"/>
                  </a:lnTo>
                  <a:lnTo>
                    <a:pt x="455941" y="705591"/>
                  </a:lnTo>
                  <a:lnTo>
                    <a:pt x="451961" y="705675"/>
                  </a:lnTo>
                  <a:lnTo>
                    <a:pt x="444889" y="704037"/>
                  </a:lnTo>
                  <a:lnTo>
                    <a:pt x="443818" y="703394"/>
                  </a:lnTo>
                  <a:lnTo>
                    <a:pt x="443083" y="702190"/>
                  </a:lnTo>
                  <a:lnTo>
                    <a:pt x="434405" y="702463"/>
                  </a:lnTo>
                  <a:lnTo>
                    <a:pt x="431810" y="702825"/>
                  </a:lnTo>
                  <a:lnTo>
                    <a:pt x="429747" y="702668"/>
                  </a:lnTo>
                  <a:lnTo>
                    <a:pt x="430758" y="700574"/>
                  </a:lnTo>
                  <a:lnTo>
                    <a:pt x="433503" y="698245"/>
                  </a:lnTo>
                  <a:lnTo>
                    <a:pt x="437347" y="690652"/>
                  </a:lnTo>
                  <a:lnTo>
                    <a:pt x="440566" y="688704"/>
                  </a:lnTo>
                  <a:lnTo>
                    <a:pt x="446962" y="686886"/>
                  </a:lnTo>
                  <a:lnTo>
                    <a:pt x="453636" y="687180"/>
                  </a:lnTo>
                  <a:lnTo>
                    <a:pt x="465181" y="693061"/>
                  </a:lnTo>
                  <a:lnTo>
                    <a:pt x="468664" y="693574"/>
                  </a:lnTo>
                  <a:lnTo>
                    <a:pt x="471858" y="693100"/>
                  </a:lnTo>
                  <a:lnTo>
                    <a:pt x="479496" y="691131"/>
                  </a:lnTo>
                  <a:lnTo>
                    <a:pt x="480897" y="690333"/>
                  </a:lnTo>
                  <a:lnTo>
                    <a:pt x="483644" y="687890"/>
                  </a:lnTo>
                  <a:lnTo>
                    <a:pt x="486852" y="683705"/>
                  </a:lnTo>
                  <a:lnTo>
                    <a:pt x="486695" y="682712"/>
                  </a:lnTo>
                  <a:lnTo>
                    <a:pt x="481775" y="685053"/>
                  </a:lnTo>
                  <a:lnTo>
                    <a:pt x="479152" y="685684"/>
                  </a:lnTo>
                  <a:lnTo>
                    <a:pt x="476928" y="685684"/>
                  </a:lnTo>
                  <a:lnTo>
                    <a:pt x="478993" y="678018"/>
                  </a:lnTo>
                  <a:lnTo>
                    <a:pt x="479796" y="672124"/>
                  </a:lnTo>
                  <a:lnTo>
                    <a:pt x="480567" y="670658"/>
                  </a:lnTo>
                  <a:lnTo>
                    <a:pt x="487036" y="671102"/>
                  </a:lnTo>
                  <a:lnTo>
                    <a:pt x="495873" y="670303"/>
                  </a:lnTo>
                  <a:lnTo>
                    <a:pt x="497980" y="669013"/>
                  </a:lnTo>
                  <a:lnTo>
                    <a:pt x="497947" y="668440"/>
                  </a:lnTo>
                  <a:lnTo>
                    <a:pt x="494398" y="667655"/>
                  </a:lnTo>
                  <a:lnTo>
                    <a:pt x="492689" y="666008"/>
                  </a:lnTo>
                  <a:lnTo>
                    <a:pt x="489717" y="666528"/>
                  </a:lnTo>
                  <a:lnTo>
                    <a:pt x="485736" y="667627"/>
                  </a:lnTo>
                  <a:lnTo>
                    <a:pt x="480742" y="667501"/>
                  </a:lnTo>
                  <a:lnTo>
                    <a:pt x="481165" y="664958"/>
                  </a:lnTo>
                  <a:lnTo>
                    <a:pt x="484826" y="659614"/>
                  </a:lnTo>
                  <a:lnTo>
                    <a:pt x="485203" y="657173"/>
                  </a:lnTo>
                  <a:lnTo>
                    <a:pt x="486631" y="652285"/>
                  </a:lnTo>
                  <a:lnTo>
                    <a:pt x="486775" y="649772"/>
                  </a:lnTo>
                  <a:lnTo>
                    <a:pt x="488629" y="647324"/>
                  </a:lnTo>
                  <a:lnTo>
                    <a:pt x="494404" y="645578"/>
                  </a:lnTo>
                  <a:lnTo>
                    <a:pt x="496828" y="644534"/>
                  </a:lnTo>
                  <a:lnTo>
                    <a:pt x="496961" y="643392"/>
                  </a:lnTo>
                  <a:lnTo>
                    <a:pt x="493499" y="639031"/>
                  </a:lnTo>
                  <a:lnTo>
                    <a:pt x="494378" y="637826"/>
                  </a:lnTo>
                  <a:lnTo>
                    <a:pt x="497093" y="636726"/>
                  </a:lnTo>
                  <a:lnTo>
                    <a:pt x="498105" y="635923"/>
                  </a:lnTo>
                  <a:lnTo>
                    <a:pt x="497414" y="635420"/>
                  </a:lnTo>
                  <a:lnTo>
                    <a:pt x="494913" y="634937"/>
                  </a:lnTo>
                  <a:lnTo>
                    <a:pt x="491070" y="635903"/>
                  </a:lnTo>
                  <a:lnTo>
                    <a:pt x="486814" y="636367"/>
                  </a:lnTo>
                  <a:lnTo>
                    <a:pt x="483047" y="634916"/>
                  </a:lnTo>
                  <a:lnTo>
                    <a:pt x="480106" y="634222"/>
                  </a:lnTo>
                  <a:lnTo>
                    <a:pt x="478243" y="634440"/>
                  </a:lnTo>
                  <a:lnTo>
                    <a:pt x="473182" y="636921"/>
                  </a:lnTo>
                  <a:lnTo>
                    <a:pt x="471408" y="637002"/>
                  </a:lnTo>
                  <a:lnTo>
                    <a:pt x="469218" y="636314"/>
                  </a:lnTo>
                  <a:lnTo>
                    <a:pt x="454701" y="634162"/>
                  </a:lnTo>
                  <a:lnTo>
                    <a:pt x="452901" y="633402"/>
                  </a:lnTo>
                  <a:lnTo>
                    <a:pt x="447700" y="629676"/>
                  </a:lnTo>
                  <a:lnTo>
                    <a:pt x="443415" y="627213"/>
                  </a:lnTo>
                  <a:lnTo>
                    <a:pt x="437709" y="624518"/>
                  </a:lnTo>
                  <a:lnTo>
                    <a:pt x="430313" y="622471"/>
                  </a:lnTo>
                  <a:lnTo>
                    <a:pt x="421226" y="621068"/>
                  </a:lnTo>
                  <a:lnTo>
                    <a:pt x="415788" y="619746"/>
                  </a:lnTo>
                  <a:lnTo>
                    <a:pt x="413108" y="617881"/>
                  </a:lnTo>
                  <a:lnTo>
                    <a:pt x="408516" y="613773"/>
                  </a:lnTo>
                  <a:lnTo>
                    <a:pt x="405025" y="610340"/>
                  </a:lnTo>
                  <a:lnTo>
                    <a:pt x="404371" y="608640"/>
                  </a:lnTo>
                  <a:lnTo>
                    <a:pt x="406422" y="606539"/>
                  </a:lnTo>
                  <a:lnTo>
                    <a:pt x="408510" y="605028"/>
                  </a:lnTo>
                  <a:lnTo>
                    <a:pt x="412440" y="603785"/>
                  </a:lnTo>
                  <a:lnTo>
                    <a:pt x="419221" y="604196"/>
                  </a:lnTo>
                  <a:lnTo>
                    <a:pt x="422864" y="604751"/>
                  </a:lnTo>
                  <a:lnTo>
                    <a:pt x="426874" y="605937"/>
                  </a:lnTo>
                  <a:lnTo>
                    <a:pt x="429905" y="606160"/>
                  </a:lnTo>
                  <a:lnTo>
                    <a:pt x="436200" y="605825"/>
                  </a:lnTo>
                  <a:lnTo>
                    <a:pt x="442598" y="606580"/>
                  </a:lnTo>
                  <a:lnTo>
                    <a:pt x="446391" y="607410"/>
                  </a:lnTo>
                  <a:lnTo>
                    <a:pt x="451371" y="609142"/>
                  </a:lnTo>
                  <a:lnTo>
                    <a:pt x="465112" y="616491"/>
                  </a:lnTo>
                  <a:lnTo>
                    <a:pt x="470846" y="619037"/>
                  </a:lnTo>
                  <a:lnTo>
                    <a:pt x="473339" y="619343"/>
                  </a:lnTo>
                  <a:lnTo>
                    <a:pt x="483618" y="622061"/>
                  </a:lnTo>
                  <a:lnTo>
                    <a:pt x="485266" y="622010"/>
                  </a:lnTo>
                  <a:lnTo>
                    <a:pt x="489472" y="620736"/>
                  </a:lnTo>
                  <a:lnTo>
                    <a:pt x="489889" y="619910"/>
                  </a:lnTo>
                  <a:lnTo>
                    <a:pt x="488468" y="619095"/>
                  </a:lnTo>
                  <a:lnTo>
                    <a:pt x="483932" y="618462"/>
                  </a:lnTo>
                  <a:lnTo>
                    <a:pt x="478610" y="615456"/>
                  </a:lnTo>
                  <a:lnTo>
                    <a:pt x="475304" y="613069"/>
                  </a:lnTo>
                  <a:lnTo>
                    <a:pt x="474928" y="609111"/>
                  </a:lnTo>
                  <a:lnTo>
                    <a:pt x="475358" y="606890"/>
                  </a:lnTo>
                  <a:lnTo>
                    <a:pt x="476190" y="605880"/>
                  </a:lnTo>
                  <a:lnTo>
                    <a:pt x="476770" y="602475"/>
                  </a:lnTo>
                  <a:lnTo>
                    <a:pt x="473685" y="600447"/>
                  </a:lnTo>
                  <a:lnTo>
                    <a:pt x="471530" y="599807"/>
                  </a:lnTo>
                  <a:lnTo>
                    <a:pt x="465800" y="596848"/>
                  </a:lnTo>
                  <a:lnTo>
                    <a:pt x="465322" y="596113"/>
                  </a:lnTo>
                  <a:lnTo>
                    <a:pt x="468068" y="595766"/>
                  </a:lnTo>
                  <a:lnTo>
                    <a:pt x="470759" y="595969"/>
                  </a:lnTo>
                  <a:lnTo>
                    <a:pt x="476537" y="597469"/>
                  </a:lnTo>
                  <a:lnTo>
                    <a:pt x="479567" y="597676"/>
                  </a:lnTo>
                  <a:lnTo>
                    <a:pt x="481771" y="597089"/>
                  </a:lnTo>
                  <a:lnTo>
                    <a:pt x="482025" y="596482"/>
                  </a:lnTo>
                  <a:lnTo>
                    <a:pt x="478512" y="594779"/>
                  </a:lnTo>
                  <a:lnTo>
                    <a:pt x="474115" y="591721"/>
                  </a:lnTo>
                  <a:lnTo>
                    <a:pt x="464933" y="591273"/>
                  </a:lnTo>
                  <a:lnTo>
                    <a:pt x="458974" y="591617"/>
                  </a:lnTo>
                  <a:lnTo>
                    <a:pt x="455166" y="590566"/>
                  </a:lnTo>
                  <a:lnTo>
                    <a:pt x="451113" y="588859"/>
                  </a:lnTo>
                  <a:lnTo>
                    <a:pt x="448511" y="588423"/>
                  </a:lnTo>
                  <a:lnTo>
                    <a:pt x="443194" y="589494"/>
                  </a:lnTo>
                  <a:lnTo>
                    <a:pt x="440504" y="589629"/>
                  </a:lnTo>
                  <a:lnTo>
                    <a:pt x="438052" y="589253"/>
                  </a:lnTo>
                  <a:lnTo>
                    <a:pt x="435631" y="583857"/>
                  </a:lnTo>
                  <a:lnTo>
                    <a:pt x="436276" y="582236"/>
                  </a:lnTo>
                  <a:lnTo>
                    <a:pt x="438173" y="581535"/>
                  </a:lnTo>
                  <a:lnTo>
                    <a:pt x="439606" y="579789"/>
                  </a:lnTo>
                  <a:lnTo>
                    <a:pt x="440611" y="577962"/>
                  </a:lnTo>
                  <a:lnTo>
                    <a:pt x="443760" y="576173"/>
                  </a:lnTo>
                  <a:lnTo>
                    <a:pt x="461055" y="572184"/>
                  </a:lnTo>
                  <a:lnTo>
                    <a:pt x="465419" y="569212"/>
                  </a:lnTo>
                  <a:lnTo>
                    <a:pt x="465226" y="568754"/>
                  </a:lnTo>
                  <a:lnTo>
                    <a:pt x="462283" y="569306"/>
                  </a:lnTo>
                  <a:lnTo>
                    <a:pt x="458519" y="570646"/>
                  </a:lnTo>
                  <a:lnTo>
                    <a:pt x="456002" y="570921"/>
                  </a:lnTo>
                  <a:lnTo>
                    <a:pt x="445819" y="569190"/>
                  </a:lnTo>
                  <a:lnTo>
                    <a:pt x="444232" y="569584"/>
                  </a:lnTo>
                  <a:lnTo>
                    <a:pt x="440109" y="572070"/>
                  </a:lnTo>
                  <a:lnTo>
                    <a:pt x="434515" y="574767"/>
                  </a:lnTo>
                  <a:lnTo>
                    <a:pt x="431937" y="574604"/>
                  </a:lnTo>
                  <a:lnTo>
                    <a:pt x="428488" y="573007"/>
                  </a:lnTo>
                  <a:lnTo>
                    <a:pt x="427940" y="571871"/>
                  </a:lnTo>
                  <a:lnTo>
                    <a:pt x="427693" y="570504"/>
                  </a:lnTo>
                  <a:lnTo>
                    <a:pt x="431481" y="568631"/>
                  </a:lnTo>
                  <a:lnTo>
                    <a:pt x="432698" y="567637"/>
                  </a:lnTo>
                  <a:lnTo>
                    <a:pt x="435148" y="564968"/>
                  </a:lnTo>
                  <a:lnTo>
                    <a:pt x="435023" y="563644"/>
                  </a:lnTo>
                  <a:lnTo>
                    <a:pt x="430841" y="564370"/>
                  </a:lnTo>
                  <a:lnTo>
                    <a:pt x="430295" y="563142"/>
                  </a:lnTo>
                  <a:lnTo>
                    <a:pt x="430363" y="561034"/>
                  </a:lnTo>
                  <a:lnTo>
                    <a:pt x="429957" y="558363"/>
                  </a:lnTo>
                  <a:lnTo>
                    <a:pt x="428929" y="555724"/>
                  </a:lnTo>
                  <a:lnTo>
                    <a:pt x="425496" y="551663"/>
                  </a:lnTo>
                  <a:lnTo>
                    <a:pt x="424072" y="550617"/>
                  </a:lnTo>
                  <a:lnTo>
                    <a:pt x="422898" y="549113"/>
                  </a:lnTo>
                  <a:lnTo>
                    <a:pt x="420311" y="543600"/>
                  </a:lnTo>
                  <a:lnTo>
                    <a:pt x="421061" y="542219"/>
                  </a:lnTo>
                  <a:lnTo>
                    <a:pt x="423359" y="541171"/>
                  </a:lnTo>
                  <a:lnTo>
                    <a:pt x="423799" y="540688"/>
                  </a:lnTo>
                  <a:lnTo>
                    <a:pt x="418306" y="541557"/>
                  </a:lnTo>
                  <a:lnTo>
                    <a:pt x="417705" y="542511"/>
                  </a:lnTo>
                  <a:lnTo>
                    <a:pt x="418740" y="543917"/>
                  </a:lnTo>
                  <a:lnTo>
                    <a:pt x="419480" y="545790"/>
                  </a:lnTo>
                  <a:lnTo>
                    <a:pt x="419921" y="548128"/>
                  </a:lnTo>
                  <a:lnTo>
                    <a:pt x="420687" y="550173"/>
                  </a:lnTo>
                  <a:lnTo>
                    <a:pt x="422676" y="552408"/>
                  </a:lnTo>
                  <a:lnTo>
                    <a:pt x="424267" y="553587"/>
                  </a:lnTo>
                  <a:lnTo>
                    <a:pt x="426861" y="556692"/>
                  </a:lnTo>
                  <a:lnTo>
                    <a:pt x="427992" y="560101"/>
                  </a:lnTo>
                  <a:lnTo>
                    <a:pt x="427659" y="561895"/>
                  </a:lnTo>
                  <a:lnTo>
                    <a:pt x="425645" y="563720"/>
                  </a:lnTo>
                  <a:lnTo>
                    <a:pt x="422400" y="565687"/>
                  </a:lnTo>
                  <a:lnTo>
                    <a:pt x="421417" y="567314"/>
                  </a:lnTo>
                  <a:lnTo>
                    <a:pt x="420979" y="568934"/>
                  </a:lnTo>
                  <a:lnTo>
                    <a:pt x="418449" y="570430"/>
                  </a:lnTo>
                  <a:lnTo>
                    <a:pt x="416895" y="569870"/>
                  </a:lnTo>
                  <a:lnTo>
                    <a:pt x="415667" y="569780"/>
                  </a:lnTo>
                  <a:lnTo>
                    <a:pt x="417118" y="572448"/>
                  </a:lnTo>
                  <a:lnTo>
                    <a:pt x="418051" y="575176"/>
                  </a:lnTo>
                  <a:lnTo>
                    <a:pt x="416925" y="577908"/>
                  </a:lnTo>
                  <a:lnTo>
                    <a:pt x="413919" y="579559"/>
                  </a:lnTo>
                  <a:lnTo>
                    <a:pt x="412288" y="579608"/>
                  </a:lnTo>
                  <a:lnTo>
                    <a:pt x="409081" y="580944"/>
                  </a:lnTo>
                  <a:lnTo>
                    <a:pt x="400870" y="581646"/>
                  </a:lnTo>
                  <a:lnTo>
                    <a:pt x="398012" y="581318"/>
                  </a:lnTo>
                  <a:lnTo>
                    <a:pt x="392770" y="579962"/>
                  </a:lnTo>
                  <a:lnTo>
                    <a:pt x="386556" y="579222"/>
                  </a:lnTo>
                  <a:lnTo>
                    <a:pt x="384091" y="577386"/>
                  </a:lnTo>
                  <a:lnTo>
                    <a:pt x="380859" y="574049"/>
                  </a:lnTo>
                  <a:lnTo>
                    <a:pt x="379228" y="571054"/>
                  </a:lnTo>
                  <a:lnTo>
                    <a:pt x="379194" y="568401"/>
                  </a:lnTo>
                  <a:lnTo>
                    <a:pt x="380069" y="566469"/>
                  </a:lnTo>
                  <a:lnTo>
                    <a:pt x="381851" y="565252"/>
                  </a:lnTo>
                  <a:lnTo>
                    <a:pt x="383990" y="557460"/>
                  </a:lnTo>
                  <a:lnTo>
                    <a:pt x="387017" y="551140"/>
                  </a:lnTo>
                  <a:lnTo>
                    <a:pt x="394638" y="544604"/>
                  </a:lnTo>
                  <a:lnTo>
                    <a:pt x="396812" y="542235"/>
                  </a:lnTo>
                  <a:lnTo>
                    <a:pt x="397530" y="540960"/>
                  </a:lnTo>
                  <a:lnTo>
                    <a:pt x="397519" y="539991"/>
                  </a:lnTo>
                  <a:lnTo>
                    <a:pt x="396287" y="539376"/>
                  </a:lnTo>
                  <a:lnTo>
                    <a:pt x="386916" y="547460"/>
                  </a:lnTo>
                  <a:lnTo>
                    <a:pt x="381138" y="548318"/>
                  </a:lnTo>
                  <a:lnTo>
                    <a:pt x="379413" y="546505"/>
                  </a:lnTo>
                  <a:lnTo>
                    <a:pt x="379935" y="543274"/>
                  </a:lnTo>
                  <a:lnTo>
                    <a:pt x="380964" y="542524"/>
                  </a:lnTo>
                  <a:lnTo>
                    <a:pt x="385638" y="542830"/>
                  </a:lnTo>
                  <a:lnTo>
                    <a:pt x="387456" y="541031"/>
                  </a:lnTo>
                  <a:lnTo>
                    <a:pt x="384531" y="538306"/>
                  </a:lnTo>
                  <a:lnTo>
                    <a:pt x="381419" y="537592"/>
                  </a:lnTo>
                  <a:lnTo>
                    <a:pt x="380690" y="536906"/>
                  </a:lnTo>
                  <a:lnTo>
                    <a:pt x="383894" y="534829"/>
                  </a:lnTo>
                  <a:lnTo>
                    <a:pt x="391300" y="534982"/>
                  </a:lnTo>
                  <a:lnTo>
                    <a:pt x="392972" y="533529"/>
                  </a:lnTo>
                  <a:lnTo>
                    <a:pt x="395654" y="531960"/>
                  </a:lnTo>
                  <a:lnTo>
                    <a:pt x="398630" y="529047"/>
                  </a:lnTo>
                  <a:lnTo>
                    <a:pt x="399743" y="526593"/>
                  </a:lnTo>
                  <a:lnTo>
                    <a:pt x="399994" y="524484"/>
                  </a:lnTo>
                  <a:lnTo>
                    <a:pt x="399353" y="522781"/>
                  </a:lnTo>
                  <a:lnTo>
                    <a:pt x="399283" y="521071"/>
                  </a:lnTo>
                  <a:lnTo>
                    <a:pt x="399790" y="519356"/>
                  </a:lnTo>
                  <a:lnTo>
                    <a:pt x="399012" y="517459"/>
                  </a:lnTo>
                  <a:lnTo>
                    <a:pt x="396953" y="515383"/>
                  </a:lnTo>
                  <a:lnTo>
                    <a:pt x="392379" y="513345"/>
                  </a:lnTo>
                  <a:lnTo>
                    <a:pt x="391032" y="515644"/>
                  </a:lnTo>
                  <a:lnTo>
                    <a:pt x="389607" y="516589"/>
                  </a:lnTo>
                  <a:lnTo>
                    <a:pt x="387606" y="516801"/>
                  </a:lnTo>
                  <a:lnTo>
                    <a:pt x="385760" y="515834"/>
                  </a:lnTo>
                  <a:lnTo>
                    <a:pt x="383834" y="515486"/>
                  </a:lnTo>
                  <a:lnTo>
                    <a:pt x="381941" y="514621"/>
                  </a:lnTo>
                  <a:lnTo>
                    <a:pt x="379976" y="514347"/>
                  </a:lnTo>
                  <a:lnTo>
                    <a:pt x="379212" y="513650"/>
                  </a:lnTo>
                  <a:lnTo>
                    <a:pt x="378719" y="511700"/>
                  </a:lnTo>
                  <a:lnTo>
                    <a:pt x="378676" y="509216"/>
                  </a:lnTo>
                  <a:lnTo>
                    <a:pt x="380898" y="508055"/>
                  </a:lnTo>
                  <a:lnTo>
                    <a:pt x="383993" y="507139"/>
                  </a:lnTo>
                  <a:lnTo>
                    <a:pt x="386063" y="505401"/>
                  </a:lnTo>
                  <a:lnTo>
                    <a:pt x="387424" y="502882"/>
                  </a:lnTo>
                  <a:lnTo>
                    <a:pt x="387620" y="500129"/>
                  </a:lnTo>
                  <a:lnTo>
                    <a:pt x="386653" y="497140"/>
                  </a:lnTo>
                  <a:lnTo>
                    <a:pt x="384140" y="494449"/>
                  </a:lnTo>
                  <a:lnTo>
                    <a:pt x="379485" y="497067"/>
                  </a:lnTo>
                  <a:lnTo>
                    <a:pt x="377657" y="497709"/>
                  </a:lnTo>
                  <a:lnTo>
                    <a:pt x="377236" y="495837"/>
                  </a:lnTo>
                  <a:lnTo>
                    <a:pt x="376592" y="494449"/>
                  </a:lnTo>
                  <a:lnTo>
                    <a:pt x="374635" y="492566"/>
                  </a:lnTo>
                  <a:lnTo>
                    <a:pt x="372060" y="491191"/>
                  </a:lnTo>
                  <a:lnTo>
                    <a:pt x="369582" y="490279"/>
                  </a:lnTo>
                  <a:lnTo>
                    <a:pt x="369469" y="488885"/>
                  </a:lnTo>
                  <a:lnTo>
                    <a:pt x="370056" y="487314"/>
                  </a:lnTo>
                  <a:lnTo>
                    <a:pt x="371153" y="485479"/>
                  </a:lnTo>
                  <a:lnTo>
                    <a:pt x="372581" y="481651"/>
                  </a:lnTo>
                  <a:lnTo>
                    <a:pt x="374153" y="481992"/>
                  </a:lnTo>
                  <a:lnTo>
                    <a:pt x="375459" y="481644"/>
                  </a:lnTo>
                  <a:lnTo>
                    <a:pt x="374704" y="478475"/>
                  </a:lnTo>
                  <a:lnTo>
                    <a:pt x="373442" y="475808"/>
                  </a:lnTo>
                  <a:lnTo>
                    <a:pt x="371960" y="474291"/>
                  </a:lnTo>
                  <a:lnTo>
                    <a:pt x="371907" y="473630"/>
                  </a:lnTo>
                  <a:lnTo>
                    <a:pt x="371563" y="472857"/>
                  </a:lnTo>
                  <a:lnTo>
                    <a:pt x="370419" y="470982"/>
                  </a:lnTo>
                  <a:lnTo>
                    <a:pt x="369136" y="469609"/>
                  </a:lnTo>
                  <a:lnTo>
                    <a:pt x="366899" y="465713"/>
                  </a:lnTo>
                  <a:lnTo>
                    <a:pt x="365283" y="464226"/>
                  </a:lnTo>
                  <a:lnTo>
                    <a:pt x="363211" y="463455"/>
                  </a:lnTo>
                  <a:lnTo>
                    <a:pt x="360978" y="463413"/>
                  </a:lnTo>
                  <a:lnTo>
                    <a:pt x="357395" y="464437"/>
                  </a:lnTo>
                  <a:lnTo>
                    <a:pt x="350781" y="465622"/>
                  </a:lnTo>
                  <a:lnTo>
                    <a:pt x="345545" y="466185"/>
                  </a:lnTo>
                  <a:lnTo>
                    <a:pt x="344672" y="465878"/>
                  </a:lnTo>
                  <a:lnTo>
                    <a:pt x="347292" y="464397"/>
                  </a:lnTo>
                  <a:lnTo>
                    <a:pt x="351153" y="462854"/>
                  </a:lnTo>
                  <a:lnTo>
                    <a:pt x="356264" y="461807"/>
                  </a:lnTo>
                  <a:lnTo>
                    <a:pt x="357754" y="459236"/>
                  </a:lnTo>
                  <a:lnTo>
                    <a:pt x="357202" y="457008"/>
                  </a:lnTo>
                  <a:lnTo>
                    <a:pt x="357415" y="454895"/>
                  </a:lnTo>
                  <a:lnTo>
                    <a:pt x="356013" y="452666"/>
                  </a:lnTo>
                  <a:lnTo>
                    <a:pt x="357377" y="451430"/>
                  </a:lnTo>
                  <a:lnTo>
                    <a:pt x="362030" y="450185"/>
                  </a:lnTo>
                  <a:lnTo>
                    <a:pt x="364137" y="449993"/>
                  </a:lnTo>
                  <a:lnTo>
                    <a:pt x="366234" y="448405"/>
                  </a:lnTo>
                  <a:lnTo>
                    <a:pt x="360339" y="444575"/>
                  </a:lnTo>
                  <a:lnTo>
                    <a:pt x="354164" y="442060"/>
                  </a:lnTo>
                  <a:lnTo>
                    <a:pt x="352620" y="441038"/>
                  </a:lnTo>
                  <a:lnTo>
                    <a:pt x="351262" y="439352"/>
                  </a:lnTo>
                  <a:lnTo>
                    <a:pt x="350090" y="437003"/>
                  </a:lnTo>
                  <a:lnTo>
                    <a:pt x="348186" y="434649"/>
                  </a:lnTo>
                  <a:lnTo>
                    <a:pt x="345550" y="432290"/>
                  </a:lnTo>
                  <a:lnTo>
                    <a:pt x="341704" y="430008"/>
                  </a:lnTo>
                  <a:lnTo>
                    <a:pt x="331790" y="425828"/>
                  </a:lnTo>
                  <a:lnTo>
                    <a:pt x="328386" y="422940"/>
                  </a:lnTo>
                  <a:lnTo>
                    <a:pt x="325252" y="418512"/>
                  </a:lnTo>
                  <a:lnTo>
                    <a:pt x="323685" y="416621"/>
                  </a:lnTo>
                  <a:lnTo>
                    <a:pt x="322057" y="415219"/>
                  </a:lnTo>
                  <a:lnTo>
                    <a:pt x="315153" y="411931"/>
                  </a:lnTo>
                  <a:lnTo>
                    <a:pt x="314315" y="410478"/>
                  </a:lnTo>
                  <a:lnTo>
                    <a:pt x="321441" y="406600"/>
                  </a:lnTo>
                  <a:lnTo>
                    <a:pt x="322138" y="405051"/>
                  </a:lnTo>
                  <a:lnTo>
                    <a:pt x="319227" y="400329"/>
                  </a:lnTo>
                  <a:lnTo>
                    <a:pt x="316244" y="396867"/>
                  </a:lnTo>
                  <a:lnTo>
                    <a:pt x="312996" y="395637"/>
                  </a:lnTo>
                  <a:lnTo>
                    <a:pt x="308168" y="395004"/>
                  </a:lnTo>
                  <a:lnTo>
                    <a:pt x="303742" y="393462"/>
                  </a:lnTo>
                  <a:lnTo>
                    <a:pt x="299717" y="391018"/>
                  </a:lnTo>
                  <a:lnTo>
                    <a:pt x="295700" y="389226"/>
                  </a:lnTo>
                  <a:lnTo>
                    <a:pt x="289683" y="387523"/>
                  </a:lnTo>
                  <a:lnTo>
                    <a:pt x="279614" y="383131"/>
                  </a:lnTo>
                  <a:lnTo>
                    <a:pt x="264095" y="378419"/>
                  </a:lnTo>
                  <a:lnTo>
                    <a:pt x="257160" y="375659"/>
                  </a:lnTo>
                  <a:lnTo>
                    <a:pt x="253035" y="374652"/>
                  </a:lnTo>
                  <a:lnTo>
                    <a:pt x="247594" y="374394"/>
                  </a:lnTo>
                  <a:lnTo>
                    <a:pt x="237072" y="371811"/>
                  </a:lnTo>
                  <a:lnTo>
                    <a:pt x="228238" y="370985"/>
                  </a:lnTo>
                  <a:lnTo>
                    <a:pt x="222784" y="371363"/>
                  </a:lnTo>
                  <a:lnTo>
                    <a:pt x="221002" y="370936"/>
                  </a:lnTo>
                  <a:lnTo>
                    <a:pt x="216969" y="368307"/>
                  </a:lnTo>
                  <a:lnTo>
                    <a:pt x="210656" y="366801"/>
                  </a:lnTo>
                  <a:lnTo>
                    <a:pt x="207394" y="367377"/>
                  </a:lnTo>
                  <a:lnTo>
                    <a:pt x="203345" y="370190"/>
                  </a:lnTo>
                  <a:lnTo>
                    <a:pt x="198456" y="372960"/>
                  </a:lnTo>
                  <a:lnTo>
                    <a:pt x="195863" y="373333"/>
                  </a:lnTo>
                  <a:lnTo>
                    <a:pt x="191996" y="370800"/>
                  </a:lnTo>
                  <a:lnTo>
                    <a:pt x="190051" y="369028"/>
                  </a:lnTo>
                  <a:lnTo>
                    <a:pt x="188191" y="368426"/>
                  </a:lnTo>
                  <a:lnTo>
                    <a:pt x="186422" y="368997"/>
                  </a:lnTo>
                  <a:lnTo>
                    <a:pt x="182970" y="371321"/>
                  </a:lnTo>
                  <a:lnTo>
                    <a:pt x="179682" y="373000"/>
                  </a:lnTo>
                  <a:lnTo>
                    <a:pt x="174821" y="374992"/>
                  </a:lnTo>
                  <a:lnTo>
                    <a:pt x="170936" y="375948"/>
                  </a:lnTo>
                  <a:lnTo>
                    <a:pt x="165948" y="376181"/>
                  </a:lnTo>
                  <a:lnTo>
                    <a:pt x="164694" y="376901"/>
                  </a:lnTo>
                  <a:lnTo>
                    <a:pt x="162773" y="376934"/>
                  </a:lnTo>
                  <a:lnTo>
                    <a:pt x="160187" y="376279"/>
                  </a:lnTo>
                  <a:lnTo>
                    <a:pt x="157764" y="374983"/>
                  </a:lnTo>
                  <a:lnTo>
                    <a:pt x="155506" y="373042"/>
                  </a:lnTo>
                  <a:lnTo>
                    <a:pt x="153509" y="371994"/>
                  </a:lnTo>
                  <a:lnTo>
                    <a:pt x="151778" y="371840"/>
                  </a:lnTo>
                  <a:lnTo>
                    <a:pt x="147798" y="372846"/>
                  </a:lnTo>
                  <a:lnTo>
                    <a:pt x="142762" y="375799"/>
                  </a:lnTo>
                  <a:lnTo>
                    <a:pt x="140463" y="376510"/>
                  </a:lnTo>
                  <a:lnTo>
                    <a:pt x="138529" y="376201"/>
                  </a:lnTo>
                  <a:lnTo>
                    <a:pt x="136169" y="375281"/>
                  </a:lnTo>
                  <a:lnTo>
                    <a:pt x="131435" y="372926"/>
                  </a:lnTo>
                  <a:lnTo>
                    <a:pt x="128814" y="373151"/>
                  </a:lnTo>
                  <a:lnTo>
                    <a:pt x="126909" y="373976"/>
                  </a:lnTo>
                  <a:lnTo>
                    <a:pt x="127438" y="375932"/>
                  </a:lnTo>
                  <a:lnTo>
                    <a:pt x="131880" y="380560"/>
                  </a:lnTo>
                  <a:lnTo>
                    <a:pt x="135840" y="383852"/>
                  </a:lnTo>
                  <a:lnTo>
                    <a:pt x="132493" y="384242"/>
                  </a:lnTo>
                  <a:lnTo>
                    <a:pt x="103249" y="379787"/>
                  </a:lnTo>
                  <a:lnTo>
                    <a:pt x="99522" y="378709"/>
                  </a:lnTo>
                  <a:lnTo>
                    <a:pt x="94140" y="376008"/>
                  </a:lnTo>
                  <a:lnTo>
                    <a:pt x="89664" y="374350"/>
                  </a:lnTo>
                  <a:lnTo>
                    <a:pt x="82047" y="370053"/>
                  </a:lnTo>
                  <a:lnTo>
                    <a:pt x="76180" y="367723"/>
                  </a:lnTo>
                  <a:lnTo>
                    <a:pt x="74234" y="365901"/>
                  </a:lnTo>
                  <a:lnTo>
                    <a:pt x="73721" y="364645"/>
                  </a:lnTo>
                  <a:lnTo>
                    <a:pt x="75588" y="362945"/>
                  </a:lnTo>
                  <a:lnTo>
                    <a:pt x="87411" y="357203"/>
                  </a:lnTo>
                  <a:lnTo>
                    <a:pt x="91927" y="356043"/>
                  </a:lnTo>
                  <a:lnTo>
                    <a:pt x="101111" y="354656"/>
                  </a:lnTo>
                  <a:lnTo>
                    <a:pt x="103282" y="353786"/>
                  </a:lnTo>
                  <a:lnTo>
                    <a:pt x="104011" y="353096"/>
                  </a:lnTo>
                  <a:lnTo>
                    <a:pt x="101598" y="351849"/>
                  </a:lnTo>
                  <a:lnTo>
                    <a:pt x="89569" y="352294"/>
                  </a:lnTo>
                  <a:lnTo>
                    <a:pt x="78852" y="351459"/>
                  </a:lnTo>
                  <a:lnTo>
                    <a:pt x="69526" y="349163"/>
                  </a:lnTo>
                  <a:lnTo>
                    <a:pt x="67903" y="348401"/>
                  </a:lnTo>
                  <a:lnTo>
                    <a:pt x="66323" y="346998"/>
                  </a:lnTo>
                  <a:lnTo>
                    <a:pt x="64788" y="344949"/>
                  </a:lnTo>
                  <a:lnTo>
                    <a:pt x="65139" y="342653"/>
                  </a:lnTo>
                  <a:lnTo>
                    <a:pt x="67376" y="340111"/>
                  </a:lnTo>
                  <a:lnTo>
                    <a:pt x="68688" y="338365"/>
                  </a:lnTo>
                  <a:lnTo>
                    <a:pt x="69074" y="337416"/>
                  </a:lnTo>
                  <a:lnTo>
                    <a:pt x="57350" y="343674"/>
                  </a:lnTo>
                  <a:lnTo>
                    <a:pt x="52555" y="345859"/>
                  </a:lnTo>
                  <a:lnTo>
                    <a:pt x="48756" y="345191"/>
                  </a:lnTo>
                  <a:lnTo>
                    <a:pt x="46090" y="344155"/>
                  </a:lnTo>
                  <a:lnTo>
                    <a:pt x="44782" y="343002"/>
                  </a:lnTo>
                  <a:lnTo>
                    <a:pt x="44831" y="341732"/>
                  </a:lnTo>
                  <a:lnTo>
                    <a:pt x="45260" y="340804"/>
                  </a:lnTo>
                  <a:lnTo>
                    <a:pt x="46068" y="340224"/>
                  </a:lnTo>
                  <a:lnTo>
                    <a:pt x="39868" y="337630"/>
                  </a:lnTo>
                  <a:lnTo>
                    <a:pt x="37073" y="335593"/>
                  </a:lnTo>
                  <a:lnTo>
                    <a:pt x="36776" y="333488"/>
                  </a:lnTo>
                  <a:lnTo>
                    <a:pt x="38975" y="331315"/>
                  </a:lnTo>
                  <a:lnTo>
                    <a:pt x="41127" y="329736"/>
                  </a:lnTo>
                  <a:lnTo>
                    <a:pt x="43234" y="328751"/>
                  </a:lnTo>
                  <a:lnTo>
                    <a:pt x="48964" y="327891"/>
                  </a:lnTo>
                  <a:lnTo>
                    <a:pt x="69908" y="326248"/>
                  </a:lnTo>
                  <a:lnTo>
                    <a:pt x="84905" y="327823"/>
                  </a:lnTo>
                  <a:lnTo>
                    <a:pt x="90010" y="322600"/>
                  </a:lnTo>
                  <a:lnTo>
                    <a:pt x="93456" y="320931"/>
                  </a:lnTo>
                  <a:lnTo>
                    <a:pt x="103540" y="319191"/>
                  </a:lnTo>
                  <a:lnTo>
                    <a:pt x="119057" y="318953"/>
                  </a:lnTo>
                  <a:lnTo>
                    <a:pt x="130021" y="319914"/>
                  </a:lnTo>
                  <a:lnTo>
                    <a:pt x="135156" y="321142"/>
                  </a:lnTo>
                  <a:lnTo>
                    <a:pt x="142150" y="323849"/>
                  </a:lnTo>
                  <a:lnTo>
                    <a:pt x="142552" y="323032"/>
                  </a:lnTo>
                  <a:lnTo>
                    <a:pt x="140863" y="320589"/>
                  </a:lnTo>
                  <a:lnTo>
                    <a:pt x="140743" y="318559"/>
                  </a:lnTo>
                  <a:lnTo>
                    <a:pt x="143569" y="315025"/>
                  </a:lnTo>
                  <a:lnTo>
                    <a:pt x="144870" y="312805"/>
                  </a:lnTo>
                  <a:lnTo>
                    <a:pt x="143986" y="310489"/>
                  </a:lnTo>
                  <a:lnTo>
                    <a:pt x="140914" y="308073"/>
                  </a:lnTo>
                  <a:lnTo>
                    <a:pt x="135478" y="304974"/>
                  </a:lnTo>
                  <a:lnTo>
                    <a:pt x="132552" y="304718"/>
                  </a:lnTo>
                  <a:lnTo>
                    <a:pt x="129298" y="305464"/>
                  </a:lnTo>
                  <a:lnTo>
                    <a:pt x="125391" y="307182"/>
                  </a:lnTo>
                  <a:lnTo>
                    <a:pt x="117270" y="311506"/>
                  </a:lnTo>
                  <a:lnTo>
                    <a:pt x="113435" y="312409"/>
                  </a:lnTo>
                  <a:lnTo>
                    <a:pt x="107039" y="312639"/>
                  </a:lnTo>
                  <a:lnTo>
                    <a:pt x="103501" y="312093"/>
                  </a:lnTo>
                  <a:lnTo>
                    <a:pt x="100083" y="311447"/>
                  </a:lnTo>
                  <a:lnTo>
                    <a:pt x="94741" y="309154"/>
                  </a:lnTo>
                  <a:lnTo>
                    <a:pt x="92794" y="308725"/>
                  </a:lnTo>
                  <a:lnTo>
                    <a:pt x="90435" y="309731"/>
                  </a:lnTo>
                  <a:lnTo>
                    <a:pt x="87661" y="312170"/>
                  </a:lnTo>
                  <a:lnTo>
                    <a:pt x="84988" y="313876"/>
                  </a:lnTo>
                  <a:lnTo>
                    <a:pt x="82415" y="314851"/>
                  </a:lnTo>
                  <a:lnTo>
                    <a:pt x="80010" y="315274"/>
                  </a:lnTo>
                  <a:lnTo>
                    <a:pt x="76656" y="315076"/>
                  </a:lnTo>
                  <a:lnTo>
                    <a:pt x="62827" y="311283"/>
                  </a:lnTo>
                  <a:lnTo>
                    <a:pt x="59700" y="309592"/>
                  </a:lnTo>
                  <a:lnTo>
                    <a:pt x="59519" y="307027"/>
                  </a:lnTo>
                  <a:lnTo>
                    <a:pt x="55275" y="304540"/>
                  </a:lnTo>
                  <a:lnTo>
                    <a:pt x="50474" y="304105"/>
                  </a:lnTo>
                  <a:lnTo>
                    <a:pt x="49888" y="303270"/>
                  </a:lnTo>
                  <a:lnTo>
                    <a:pt x="55975" y="299427"/>
                  </a:lnTo>
                  <a:lnTo>
                    <a:pt x="60511" y="297852"/>
                  </a:lnTo>
                  <a:lnTo>
                    <a:pt x="59782" y="297379"/>
                  </a:lnTo>
                  <a:lnTo>
                    <a:pt x="53194" y="297295"/>
                  </a:lnTo>
                  <a:lnTo>
                    <a:pt x="48747" y="299343"/>
                  </a:lnTo>
                  <a:lnTo>
                    <a:pt x="46200" y="299689"/>
                  </a:lnTo>
                  <a:lnTo>
                    <a:pt x="40342" y="299744"/>
                  </a:lnTo>
                  <a:lnTo>
                    <a:pt x="34195" y="298720"/>
                  </a:lnTo>
                  <a:lnTo>
                    <a:pt x="31581" y="297822"/>
                  </a:lnTo>
                  <a:lnTo>
                    <a:pt x="28871" y="295761"/>
                  </a:lnTo>
                  <a:lnTo>
                    <a:pt x="25831" y="294599"/>
                  </a:lnTo>
                  <a:lnTo>
                    <a:pt x="16653" y="292836"/>
                  </a:lnTo>
                  <a:lnTo>
                    <a:pt x="14583" y="291877"/>
                  </a:lnTo>
                  <a:lnTo>
                    <a:pt x="12621" y="290280"/>
                  </a:lnTo>
                  <a:lnTo>
                    <a:pt x="5124" y="285752"/>
                  </a:lnTo>
                  <a:lnTo>
                    <a:pt x="587" y="282415"/>
                  </a:lnTo>
                  <a:lnTo>
                    <a:pt x="0" y="280524"/>
                  </a:lnTo>
                  <a:lnTo>
                    <a:pt x="5235" y="276452"/>
                  </a:lnTo>
                  <a:lnTo>
                    <a:pt x="5464" y="275508"/>
                  </a:lnTo>
                  <a:lnTo>
                    <a:pt x="3220" y="273748"/>
                  </a:lnTo>
                  <a:lnTo>
                    <a:pt x="2283" y="272447"/>
                  </a:lnTo>
                  <a:lnTo>
                    <a:pt x="3059" y="270650"/>
                  </a:lnTo>
                  <a:lnTo>
                    <a:pt x="7641" y="266667"/>
                  </a:lnTo>
                  <a:lnTo>
                    <a:pt x="9341" y="265588"/>
                  </a:lnTo>
                  <a:lnTo>
                    <a:pt x="17565" y="263243"/>
                  </a:lnTo>
                  <a:lnTo>
                    <a:pt x="25799" y="259831"/>
                  </a:lnTo>
                  <a:lnTo>
                    <a:pt x="28800" y="259063"/>
                  </a:lnTo>
                  <a:lnTo>
                    <a:pt x="31472" y="258885"/>
                  </a:lnTo>
                  <a:lnTo>
                    <a:pt x="42285" y="259087"/>
                  </a:lnTo>
                  <a:lnTo>
                    <a:pt x="45638" y="258245"/>
                  </a:lnTo>
                  <a:lnTo>
                    <a:pt x="48484" y="256576"/>
                  </a:lnTo>
                  <a:lnTo>
                    <a:pt x="53154" y="254885"/>
                  </a:lnTo>
                  <a:lnTo>
                    <a:pt x="62898" y="252314"/>
                  </a:lnTo>
                  <a:lnTo>
                    <a:pt x="84570" y="248423"/>
                  </a:lnTo>
                  <a:lnTo>
                    <a:pt x="85981" y="247965"/>
                  </a:lnTo>
                  <a:lnTo>
                    <a:pt x="86108" y="247226"/>
                  </a:lnTo>
                  <a:lnTo>
                    <a:pt x="84161" y="245215"/>
                  </a:lnTo>
                  <a:lnTo>
                    <a:pt x="83751" y="244244"/>
                  </a:lnTo>
                  <a:lnTo>
                    <a:pt x="88188" y="242438"/>
                  </a:lnTo>
                  <a:lnTo>
                    <a:pt x="98200" y="239588"/>
                  </a:lnTo>
                  <a:lnTo>
                    <a:pt x="105044" y="238214"/>
                  </a:lnTo>
                  <a:lnTo>
                    <a:pt x="109448" y="238113"/>
                  </a:lnTo>
                  <a:lnTo>
                    <a:pt x="112999" y="237499"/>
                  </a:lnTo>
                  <a:lnTo>
                    <a:pt x="117987" y="235703"/>
                  </a:lnTo>
                  <a:lnTo>
                    <a:pt x="120810" y="235386"/>
                  </a:lnTo>
                  <a:lnTo>
                    <a:pt x="137854" y="234679"/>
                  </a:lnTo>
                  <a:lnTo>
                    <a:pt x="145393" y="235657"/>
                  </a:lnTo>
                  <a:lnTo>
                    <a:pt x="149096" y="235638"/>
                  </a:lnTo>
                  <a:lnTo>
                    <a:pt x="151472" y="234941"/>
                  </a:lnTo>
                  <a:lnTo>
                    <a:pt x="154619" y="232904"/>
                  </a:lnTo>
                  <a:lnTo>
                    <a:pt x="160496" y="227834"/>
                  </a:lnTo>
                  <a:lnTo>
                    <a:pt x="163590" y="224680"/>
                  </a:lnTo>
                  <a:lnTo>
                    <a:pt x="166510" y="219867"/>
                  </a:lnTo>
                  <a:lnTo>
                    <a:pt x="170288" y="212320"/>
                  </a:lnTo>
                  <a:lnTo>
                    <a:pt x="173111" y="204928"/>
                  </a:lnTo>
                  <a:lnTo>
                    <a:pt x="174983" y="197690"/>
                  </a:lnTo>
                  <a:lnTo>
                    <a:pt x="176435" y="193264"/>
                  </a:lnTo>
                  <a:lnTo>
                    <a:pt x="177467" y="191678"/>
                  </a:lnTo>
                  <a:lnTo>
                    <a:pt x="181002" y="189662"/>
                  </a:lnTo>
                  <a:lnTo>
                    <a:pt x="184688" y="188091"/>
                  </a:lnTo>
                  <a:lnTo>
                    <a:pt x="191024" y="186696"/>
                  </a:lnTo>
                  <a:lnTo>
                    <a:pt x="190447" y="186046"/>
                  </a:lnTo>
                  <a:lnTo>
                    <a:pt x="187760" y="184959"/>
                  </a:lnTo>
                  <a:lnTo>
                    <a:pt x="185258" y="184541"/>
                  </a:lnTo>
                  <a:lnTo>
                    <a:pt x="182943" y="184790"/>
                  </a:lnTo>
                  <a:lnTo>
                    <a:pt x="178728" y="186434"/>
                  </a:lnTo>
                  <a:lnTo>
                    <a:pt x="173267" y="187545"/>
                  </a:lnTo>
                  <a:lnTo>
                    <a:pt x="167962" y="187370"/>
                  </a:lnTo>
                  <a:lnTo>
                    <a:pt x="164141" y="187785"/>
                  </a:lnTo>
                  <a:lnTo>
                    <a:pt x="160636" y="189287"/>
                  </a:lnTo>
                  <a:lnTo>
                    <a:pt x="154953" y="190495"/>
                  </a:lnTo>
                  <a:lnTo>
                    <a:pt x="151161" y="190222"/>
                  </a:lnTo>
                  <a:lnTo>
                    <a:pt x="144316" y="188061"/>
                  </a:lnTo>
                  <a:lnTo>
                    <a:pt x="140862" y="187656"/>
                  </a:lnTo>
                  <a:lnTo>
                    <a:pt x="132107" y="187861"/>
                  </a:lnTo>
                  <a:lnTo>
                    <a:pt x="129546" y="187061"/>
                  </a:lnTo>
                  <a:lnTo>
                    <a:pt x="127308" y="185487"/>
                  </a:lnTo>
                  <a:lnTo>
                    <a:pt x="125525" y="183294"/>
                  </a:lnTo>
                  <a:lnTo>
                    <a:pt x="124195" y="180468"/>
                  </a:lnTo>
                  <a:lnTo>
                    <a:pt x="124378" y="177526"/>
                  </a:lnTo>
                  <a:lnTo>
                    <a:pt x="127530" y="172206"/>
                  </a:lnTo>
                  <a:lnTo>
                    <a:pt x="128740" y="170754"/>
                  </a:lnTo>
                  <a:lnTo>
                    <a:pt x="137272" y="164792"/>
                  </a:lnTo>
                  <a:lnTo>
                    <a:pt x="142529" y="161994"/>
                  </a:lnTo>
                  <a:lnTo>
                    <a:pt x="147761" y="159898"/>
                  </a:lnTo>
                  <a:lnTo>
                    <a:pt x="151574" y="158667"/>
                  </a:lnTo>
                  <a:lnTo>
                    <a:pt x="155163" y="158114"/>
                  </a:lnTo>
                  <a:lnTo>
                    <a:pt x="158607" y="156811"/>
                  </a:lnTo>
                  <a:lnTo>
                    <a:pt x="164953" y="152615"/>
                  </a:lnTo>
                  <a:lnTo>
                    <a:pt x="171499" y="149010"/>
                  </a:lnTo>
                  <a:lnTo>
                    <a:pt x="179644" y="142295"/>
                  </a:lnTo>
                  <a:lnTo>
                    <a:pt x="183586" y="140531"/>
                  </a:lnTo>
                  <a:lnTo>
                    <a:pt x="197384" y="137597"/>
                  </a:lnTo>
                  <a:lnTo>
                    <a:pt x="201134" y="137551"/>
                  </a:lnTo>
                  <a:lnTo>
                    <a:pt x="204317" y="138283"/>
                  </a:lnTo>
                  <a:lnTo>
                    <a:pt x="207331" y="139810"/>
                  </a:lnTo>
                  <a:lnTo>
                    <a:pt x="215802" y="146462"/>
                  </a:lnTo>
                  <a:lnTo>
                    <a:pt x="216464" y="146257"/>
                  </a:lnTo>
                  <a:lnTo>
                    <a:pt x="214987" y="143743"/>
                  </a:lnTo>
                  <a:lnTo>
                    <a:pt x="211897" y="136197"/>
                  </a:lnTo>
                  <a:lnTo>
                    <a:pt x="212399" y="133083"/>
                  </a:lnTo>
                  <a:lnTo>
                    <a:pt x="217247" y="129748"/>
                  </a:lnTo>
                  <a:lnTo>
                    <a:pt x="219235" y="129154"/>
                  </a:lnTo>
                  <a:lnTo>
                    <a:pt x="224353" y="129376"/>
                  </a:lnTo>
                  <a:lnTo>
                    <a:pt x="232601" y="130406"/>
                  </a:lnTo>
                  <a:lnTo>
                    <a:pt x="238117" y="131536"/>
                  </a:lnTo>
                  <a:lnTo>
                    <a:pt x="242298" y="133370"/>
                  </a:lnTo>
                  <a:lnTo>
                    <a:pt x="247268" y="134510"/>
                  </a:lnTo>
                  <a:lnTo>
                    <a:pt x="249844" y="134454"/>
                  </a:lnTo>
                  <a:lnTo>
                    <a:pt x="251682" y="133579"/>
                  </a:lnTo>
                  <a:lnTo>
                    <a:pt x="254313" y="130715"/>
                  </a:lnTo>
                  <a:lnTo>
                    <a:pt x="257739" y="125850"/>
                  </a:lnTo>
                  <a:lnTo>
                    <a:pt x="259111" y="119838"/>
                  </a:lnTo>
                  <a:lnTo>
                    <a:pt x="258431" y="112665"/>
                  </a:lnTo>
                  <a:lnTo>
                    <a:pt x="257431" y="107403"/>
                  </a:lnTo>
                  <a:lnTo>
                    <a:pt x="256111" y="104082"/>
                  </a:lnTo>
                  <a:lnTo>
                    <a:pt x="256835" y="101306"/>
                  </a:lnTo>
                  <a:lnTo>
                    <a:pt x="260990" y="97973"/>
                  </a:lnTo>
                  <a:lnTo>
                    <a:pt x="264797" y="95534"/>
                  </a:lnTo>
                  <a:lnTo>
                    <a:pt x="273874" y="92078"/>
                  </a:lnTo>
                  <a:lnTo>
                    <a:pt x="281235" y="91160"/>
                  </a:lnTo>
                  <a:lnTo>
                    <a:pt x="285603" y="91392"/>
                  </a:lnTo>
                  <a:lnTo>
                    <a:pt x="291344" y="93014"/>
                  </a:lnTo>
                  <a:lnTo>
                    <a:pt x="299312" y="94006"/>
                  </a:lnTo>
                  <a:lnTo>
                    <a:pt x="306502" y="97141"/>
                  </a:lnTo>
                  <a:lnTo>
                    <a:pt x="318155" y="104322"/>
                  </a:lnTo>
                  <a:lnTo>
                    <a:pt x="325891" y="107915"/>
                  </a:lnTo>
                  <a:lnTo>
                    <a:pt x="332295" y="109526"/>
                  </a:lnTo>
                  <a:lnTo>
                    <a:pt x="338607" y="112265"/>
                  </a:lnTo>
                  <a:lnTo>
                    <a:pt x="347939" y="118059"/>
                  </a:lnTo>
                  <a:lnTo>
                    <a:pt x="352821" y="120541"/>
                  </a:lnTo>
                  <a:lnTo>
                    <a:pt x="355726" y="121439"/>
                  </a:lnTo>
                  <a:lnTo>
                    <a:pt x="358281" y="121582"/>
                  </a:lnTo>
                  <a:lnTo>
                    <a:pt x="357330" y="119933"/>
                  </a:lnTo>
                  <a:lnTo>
                    <a:pt x="352874" y="116479"/>
                  </a:lnTo>
                  <a:lnTo>
                    <a:pt x="346047" y="112672"/>
                  </a:lnTo>
                  <a:lnTo>
                    <a:pt x="330909" y="105808"/>
                  </a:lnTo>
                  <a:lnTo>
                    <a:pt x="322571" y="100946"/>
                  </a:lnTo>
                  <a:lnTo>
                    <a:pt x="315094" y="95383"/>
                  </a:lnTo>
                  <a:lnTo>
                    <a:pt x="309599" y="92065"/>
                  </a:lnTo>
                  <a:lnTo>
                    <a:pt x="299620" y="88769"/>
                  </a:lnTo>
                  <a:lnTo>
                    <a:pt x="299757" y="87454"/>
                  </a:lnTo>
                  <a:lnTo>
                    <a:pt x="311796" y="82821"/>
                  </a:lnTo>
                  <a:lnTo>
                    <a:pt x="333919" y="78777"/>
                  </a:lnTo>
                  <a:lnTo>
                    <a:pt x="358851" y="75608"/>
                  </a:lnTo>
                  <a:lnTo>
                    <a:pt x="367196" y="75932"/>
                  </a:lnTo>
                  <a:lnTo>
                    <a:pt x="381863" y="74605"/>
                  </a:lnTo>
                  <a:lnTo>
                    <a:pt x="383243" y="72603"/>
                  </a:lnTo>
                  <a:lnTo>
                    <a:pt x="386397" y="71701"/>
                  </a:lnTo>
                  <a:lnTo>
                    <a:pt x="400056" y="68900"/>
                  </a:lnTo>
                  <a:lnTo>
                    <a:pt x="403970" y="68939"/>
                  </a:lnTo>
                  <a:lnTo>
                    <a:pt x="409981" y="70268"/>
                  </a:lnTo>
                  <a:lnTo>
                    <a:pt x="416388" y="72798"/>
                  </a:lnTo>
                  <a:lnTo>
                    <a:pt x="419352" y="75085"/>
                  </a:lnTo>
                  <a:lnTo>
                    <a:pt x="423374" y="79006"/>
                  </a:lnTo>
                  <a:lnTo>
                    <a:pt x="425349" y="84511"/>
                  </a:lnTo>
                  <a:lnTo>
                    <a:pt x="425051" y="101775"/>
                  </a:lnTo>
                  <a:lnTo>
                    <a:pt x="425156" y="105021"/>
                  </a:lnTo>
                  <a:lnTo>
                    <a:pt x="425932" y="106271"/>
                  </a:lnTo>
                  <a:lnTo>
                    <a:pt x="428708" y="104410"/>
                  </a:lnTo>
                  <a:lnTo>
                    <a:pt x="432028" y="100948"/>
                  </a:lnTo>
                  <a:lnTo>
                    <a:pt x="435012" y="98495"/>
                  </a:lnTo>
                  <a:lnTo>
                    <a:pt x="437308" y="94701"/>
                  </a:lnTo>
                  <a:lnTo>
                    <a:pt x="438916" y="89568"/>
                  </a:lnTo>
                  <a:lnTo>
                    <a:pt x="439866" y="85754"/>
                  </a:lnTo>
                  <a:lnTo>
                    <a:pt x="435965" y="81431"/>
                  </a:lnTo>
                  <a:lnTo>
                    <a:pt x="435770" y="74310"/>
                  </a:lnTo>
                  <a:lnTo>
                    <a:pt x="437720" y="70503"/>
                  </a:lnTo>
                  <a:lnTo>
                    <a:pt x="443181" y="70503"/>
                  </a:lnTo>
                  <a:lnTo>
                    <a:pt x="465771" y="83617"/>
                  </a:lnTo>
                  <a:lnTo>
                    <a:pt x="474663" y="86437"/>
                  </a:lnTo>
                  <a:lnTo>
                    <a:pt x="484778" y="93409"/>
                  </a:lnTo>
                  <a:lnTo>
                    <a:pt x="496594" y="92669"/>
                  </a:lnTo>
                  <a:lnTo>
                    <a:pt x="507496" y="93526"/>
                  </a:lnTo>
                  <a:lnTo>
                    <a:pt x="512321" y="93271"/>
                  </a:lnTo>
                  <a:lnTo>
                    <a:pt x="514704" y="92190"/>
                  </a:lnTo>
                  <a:lnTo>
                    <a:pt x="511315" y="89301"/>
                  </a:lnTo>
                  <a:lnTo>
                    <a:pt x="495825" y="81337"/>
                  </a:lnTo>
                  <a:lnTo>
                    <a:pt x="488787" y="75058"/>
                  </a:lnTo>
                  <a:lnTo>
                    <a:pt x="483869" y="67197"/>
                  </a:lnTo>
                  <a:lnTo>
                    <a:pt x="482666" y="63002"/>
                  </a:lnTo>
                  <a:lnTo>
                    <a:pt x="486434" y="62247"/>
                  </a:lnTo>
                  <a:lnTo>
                    <a:pt x="503735" y="62337"/>
                  </a:lnTo>
                  <a:lnTo>
                    <a:pt x="529737" y="65972"/>
                  </a:lnTo>
                  <a:lnTo>
                    <a:pt x="562988" y="78491"/>
                  </a:lnTo>
                  <a:lnTo>
                    <a:pt x="579354" y="82612"/>
                  </a:lnTo>
                  <a:lnTo>
                    <a:pt x="608680" y="96949"/>
                  </a:lnTo>
                  <a:lnTo>
                    <a:pt x="617527" y="99105"/>
                  </a:lnTo>
                  <a:lnTo>
                    <a:pt x="621098" y="99555"/>
                  </a:lnTo>
                  <a:lnTo>
                    <a:pt x="623792" y="97794"/>
                  </a:lnTo>
                  <a:lnTo>
                    <a:pt x="625455" y="95878"/>
                  </a:lnTo>
                  <a:lnTo>
                    <a:pt x="625577" y="93323"/>
                  </a:lnTo>
                  <a:lnTo>
                    <a:pt x="624159" y="90126"/>
                  </a:lnTo>
                  <a:lnTo>
                    <a:pt x="623347" y="86424"/>
                  </a:lnTo>
                  <a:lnTo>
                    <a:pt x="623140" y="82210"/>
                  </a:lnTo>
                  <a:lnTo>
                    <a:pt x="625131" y="73834"/>
                  </a:lnTo>
                  <a:lnTo>
                    <a:pt x="629860" y="71094"/>
                  </a:lnTo>
                  <a:lnTo>
                    <a:pt x="631946" y="67991"/>
                  </a:lnTo>
                  <a:lnTo>
                    <a:pt x="630007" y="62374"/>
                  </a:lnTo>
                  <a:lnTo>
                    <a:pt x="624464" y="58519"/>
                  </a:lnTo>
                  <a:lnTo>
                    <a:pt x="602901" y="48549"/>
                  </a:lnTo>
                  <a:lnTo>
                    <a:pt x="602810" y="47356"/>
                  </a:lnTo>
                  <a:lnTo>
                    <a:pt x="607164" y="46045"/>
                  </a:lnTo>
                  <a:lnTo>
                    <a:pt x="613625" y="45277"/>
                  </a:lnTo>
                  <a:lnTo>
                    <a:pt x="667063" y="47661"/>
                  </a:lnTo>
                  <a:lnTo>
                    <a:pt x="676301" y="48536"/>
                  </a:lnTo>
                  <a:lnTo>
                    <a:pt x="680244" y="49394"/>
                  </a:lnTo>
                  <a:lnTo>
                    <a:pt x="681971" y="50524"/>
                  </a:lnTo>
                  <a:lnTo>
                    <a:pt x="684184" y="51007"/>
                  </a:lnTo>
                  <a:lnTo>
                    <a:pt x="695664" y="49659"/>
                  </a:lnTo>
                  <a:lnTo>
                    <a:pt x="695391" y="47193"/>
                  </a:lnTo>
                  <a:lnTo>
                    <a:pt x="693959" y="45625"/>
                  </a:lnTo>
                  <a:lnTo>
                    <a:pt x="631939" y="41332"/>
                  </a:lnTo>
                  <a:lnTo>
                    <a:pt x="620379" y="39860"/>
                  </a:lnTo>
                  <a:lnTo>
                    <a:pt x="614498" y="39747"/>
                  </a:lnTo>
                  <a:lnTo>
                    <a:pt x="608417" y="40876"/>
                  </a:lnTo>
                  <a:lnTo>
                    <a:pt x="595804" y="41437"/>
                  </a:lnTo>
                  <a:lnTo>
                    <a:pt x="589978" y="41219"/>
                  </a:lnTo>
                  <a:lnTo>
                    <a:pt x="582431" y="36094"/>
                  </a:lnTo>
                  <a:lnTo>
                    <a:pt x="589266" y="29909"/>
                  </a:lnTo>
                  <a:lnTo>
                    <a:pt x="595018" y="30050"/>
                  </a:lnTo>
                  <a:lnTo>
                    <a:pt x="605948" y="32463"/>
                  </a:lnTo>
                  <a:lnTo>
                    <a:pt x="612423" y="29090"/>
                  </a:lnTo>
                  <a:lnTo>
                    <a:pt x="622702" y="26298"/>
                  </a:lnTo>
                  <a:lnTo>
                    <a:pt x="632865" y="25311"/>
                  </a:lnTo>
                  <a:lnTo>
                    <a:pt x="655038" y="19291"/>
                  </a:lnTo>
                  <a:lnTo>
                    <a:pt x="659135" y="18763"/>
                  </a:lnTo>
                  <a:lnTo>
                    <a:pt x="664304" y="19087"/>
                  </a:lnTo>
                  <a:lnTo>
                    <a:pt x="675714" y="20580"/>
                  </a:lnTo>
                  <a:lnTo>
                    <a:pt x="680245" y="22070"/>
                  </a:lnTo>
                  <a:lnTo>
                    <a:pt x="685437" y="25260"/>
                  </a:lnTo>
                  <a:lnTo>
                    <a:pt x="688451" y="26243"/>
                  </a:lnTo>
                  <a:lnTo>
                    <a:pt x="692023" y="26425"/>
                  </a:lnTo>
                  <a:lnTo>
                    <a:pt x="696927" y="27864"/>
                  </a:lnTo>
                  <a:lnTo>
                    <a:pt x="704020" y="23199"/>
                  </a:lnTo>
                  <a:lnTo>
                    <a:pt x="710431" y="18173"/>
                  </a:lnTo>
                  <a:lnTo>
                    <a:pt x="717786" y="14995"/>
                  </a:lnTo>
                  <a:lnTo>
                    <a:pt x="728190" y="16850"/>
                  </a:lnTo>
                  <a:lnTo>
                    <a:pt x="734777" y="19266"/>
                  </a:lnTo>
                  <a:lnTo>
                    <a:pt x="740801" y="22141"/>
                  </a:lnTo>
                  <a:lnTo>
                    <a:pt x="749312" y="23729"/>
                  </a:lnTo>
                  <a:lnTo>
                    <a:pt x="763745" y="33502"/>
                  </a:lnTo>
                  <a:lnTo>
                    <a:pt x="766446" y="33516"/>
                  </a:lnTo>
                  <a:lnTo>
                    <a:pt x="767721" y="32690"/>
                  </a:lnTo>
                  <a:lnTo>
                    <a:pt x="769082" y="30882"/>
                  </a:lnTo>
                  <a:lnTo>
                    <a:pt x="769571" y="28195"/>
                  </a:lnTo>
                  <a:lnTo>
                    <a:pt x="771343" y="24539"/>
                  </a:lnTo>
                  <a:lnTo>
                    <a:pt x="770061" y="23186"/>
                  </a:lnTo>
                  <a:lnTo>
                    <a:pt x="757970" y="19122"/>
                  </a:lnTo>
                  <a:lnTo>
                    <a:pt x="755684" y="17556"/>
                  </a:lnTo>
                  <a:lnTo>
                    <a:pt x="753365" y="14973"/>
                  </a:lnTo>
                  <a:lnTo>
                    <a:pt x="753326" y="12835"/>
                  </a:lnTo>
                  <a:lnTo>
                    <a:pt x="755567" y="11147"/>
                  </a:lnTo>
                  <a:lnTo>
                    <a:pt x="757928" y="10377"/>
                  </a:lnTo>
                  <a:lnTo>
                    <a:pt x="765745" y="11076"/>
                  </a:lnTo>
                  <a:lnTo>
                    <a:pt x="768329" y="10527"/>
                  </a:lnTo>
                  <a:lnTo>
                    <a:pt x="770767" y="9097"/>
                  </a:lnTo>
                  <a:lnTo>
                    <a:pt x="773703" y="6412"/>
                  </a:lnTo>
                  <a:lnTo>
                    <a:pt x="776018" y="5727"/>
                  </a:lnTo>
                  <a:lnTo>
                    <a:pt x="781246" y="5650"/>
                  </a:lnTo>
                  <a:lnTo>
                    <a:pt x="789293" y="7373"/>
                  </a:lnTo>
                  <a:lnTo>
                    <a:pt x="796336" y="7518"/>
                  </a:lnTo>
                  <a:lnTo>
                    <a:pt x="798877" y="6727"/>
                  </a:lnTo>
                  <a:lnTo>
                    <a:pt x="799263" y="5044"/>
                  </a:lnTo>
                  <a:lnTo>
                    <a:pt x="799875" y="3975"/>
                  </a:lnTo>
                  <a:lnTo>
                    <a:pt x="800714" y="3525"/>
                  </a:lnTo>
                  <a:lnTo>
                    <a:pt x="826246" y="3432"/>
                  </a:lnTo>
                  <a:lnTo>
                    <a:pt x="832577" y="3031"/>
                  </a:lnTo>
                  <a:lnTo>
                    <a:pt x="837527" y="1754"/>
                  </a:lnTo>
                  <a:lnTo>
                    <a:pt x="843584" y="1603"/>
                  </a:lnTo>
                  <a:lnTo>
                    <a:pt x="848878" y="2366"/>
                  </a:lnTo>
                  <a:lnTo>
                    <a:pt x="855432" y="3991"/>
                  </a:lnTo>
                  <a:lnTo>
                    <a:pt x="861946" y="3917"/>
                  </a:lnTo>
                  <a:lnTo>
                    <a:pt x="871653" y="1259"/>
                  </a:lnTo>
                  <a:close/>
                </a:path>
              </a:pathLst>
            </a:custGeom>
            <a:solidFill>
              <a:srgbClr val="A3BA1E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43" name="ee4p_DK_3_82333">
              <a:extLst>
                <a:ext uri="{FF2B5EF4-FFF2-40B4-BE49-F238E27FC236}">
                  <a16:creationId xmlns:a16="http://schemas.microsoft.com/office/drawing/2014/main" id="{94355C58-FCCA-9211-5835-8823D659FCDC}"/>
                </a:ext>
              </a:extLst>
            </p:cNvPr>
            <p:cNvSpPr>
              <a:spLocks noChangeAspect="1"/>
            </p:cNvSpPr>
            <p:nvPr>
              <p:custDataLst>
                <p:tags r:id="rId71"/>
              </p:custDataLst>
            </p:nvPr>
          </p:nvSpPr>
          <p:spPr>
            <a:xfrm>
              <a:off x="6308580" y="2617369"/>
              <a:ext cx="28229" cy="41355"/>
            </a:xfrm>
            <a:custGeom>
              <a:avLst/>
              <a:gdLst>
                <a:gd name="connsiteX0" fmla="*/ 10785 w 22478"/>
                <a:gd name="connsiteY0" fmla="*/ 24608 h 32057"/>
                <a:gd name="connsiteX1" fmla="*/ 11425 w 22478"/>
                <a:gd name="connsiteY1" fmla="*/ 24727 h 32057"/>
                <a:gd name="connsiteX2" fmla="*/ 11961 w 22478"/>
                <a:gd name="connsiteY2" fmla="*/ 25678 h 32057"/>
                <a:gd name="connsiteX3" fmla="*/ 14429 w 22478"/>
                <a:gd name="connsiteY3" fmla="*/ 26302 h 32057"/>
                <a:gd name="connsiteX4" fmla="*/ 15079 w 22478"/>
                <a:gd name="connsiteY4" fmla="*/ 26771 h 32057"/>
                <a:gd name="connsiteX5" fmla="*/ 15070 w 22478"/>
                <a:gd name="connsiteY5" fmla="*/ 27927 h 32057"/>
                <a:gd name="connsiteX6" fmla="*/ 15900 w 22478"/>
                <a:gd name="connsiteY6" fmla="*/ 29296 h 32057"/>
                <a:gd name="connsiteX7" fmla="*/ 15990 w 22478"/>
                <a:gd name="connsiteY7" fmla="*/ 31032 h 32057"/>
                <a:gd name="connsiteX8" fmla="*/ 16427 w 22478"/>
                <a:gd name="connsiteY8" fmla="*/ 32057 h 32057"/>
                <a:gd name="connsiteX9" fmla="*/ 15911 w 22478"/>
                <a:gd name="connsiteY9" fmla="*/ 31943 h 32057"/>
                <a:gd name="connsiteX10" fmla="*/ 14419 w 22478"/>
                <a:gd name="connsiteY10" fmla="*/ 30774 h 32057"/>
                <a:gd name="connsiteX11" fmla="*/ 11818 w 22478"/>
                <a:gd name="connsiteY11" fmla="*/ 27982 h 32057"/>
                <a:gd name="connsiteX12" fmla="*/ 10909 w 22478"/>
                <a:gd name="connsiteY12" fmla="*/ 25673 h 32057"/>
                <a:gd name="connsiteX13" fmla="*/ 12842 w 22478"/>
                <a:gd name="connsiteY13" fmla="*/ 15452 h 32057"/>
                <a:gd name="connsiteX14" fmla="*/ 13971 w 22478"/>
                <a:gd name="connsiteY14" fmla="*/ 15736 h 32057"/>
                <a:gd name="connsiteX15" fmla="*/ 16816 w 22478"/>
                <a:gd name="connsiteY15" fmla="*/ 16880 h 32057"/>
                <a:gd name="connsiteX16" fmla="*/ 17618 w 22478"/>
                <a:gd name="connsiteY16" fmla="*/ 18073 h 32057"/>
                <a:gd name="connsiteX17" fmla="*/ 17676 w 22478"/>
                <a:gd name="connsiteY17" fmla="*/ 18779 h 32057"/>
                <a:gd name="connsiteX18" fmla="*/ 17243 w 22478"/>
                <a:gd name="connsiteY18" fmla="*/ 20059 h 32057"/>
                <a:gd name="connsiteX19" fmla="*/ 16637 w 22478"/>
                <a:gd name="connsiteY19" fmla="*/ 20048 h 32057"/>
                <a:gd name="connsiteX20" fmla="*/ 14557 w 22478"/>
                <a:gd name="connsiteY20" fmla="*/ 18460 h 32057"/>
                <a:gd name="connsiteX21" fmla="*/ 12901 w 22478"/>
                <a:gd name="connsiteY21" fmla="*/ 17595 h 32057"/>
                <a:gd name="connsiteX22" fmla="*/ 12352 w 22478"/>
                <a:gd name="connsiteY22" fmla="*/ 16864 h 32057"/>
                <a:gd name="connsiteX23" fmla="*/ 11892 w 22478"/>
                <a:gd name="connsiteY23" fmla="*/ 15608 h 32057"/>
                <a:gd name="connsiteX24" fmla="*/ 4141 w 22478"/>
                <a:gd name="connsiteY24" fmla="*/ 7004 h 32057"/>
                <a:gd name="connsiteX25" fmla="*/ 5212 w 22478"/>
                <a:gd name="connsiteY25" fmla="*/ 7411 h 32057"/>
                <a:gd name="connsiteX26" fmla="*/ 7197 w 22478"/>
                <a:gd name="connsiteY26" fmla="*/ 8737 h 32057"/>
                <a:gd name="connsiteX27" fmla="*/ 7903 w 22478"/>
                <a:gd name="connsiteY27" fmla="*/ 9669 h 32057"/>
                <a:gd name="connsiteX28" fmla="*/ 6762 w 22478"/>
                <a:gd name="connsiteY28" fmla="*/ 10571 h 32057"/>
                <a:gd name="connsiteX29" fmla="*/ 5377 w 22478"/>
                <a:gd name="connsiteY29" fmla="*/ 10803 h 32057"/>
                <a:gd name="connsiteX30" fmla="*/ 3707 w 22478"/>
                <a:gd name="connsiteY30" fmla="*/ 10595 h 32057"/>
                <a:gd name="connsiteX31" fmla="*/ 962 w 22478"/>
                <a:gd name="connsiteY31" fmla="*/ 9616 h 32057"/>
                <a:gd name="connsiteX32" fmla="*/ 0 w 22478"/>
                <a:gd name="connsiteY32" fmla="*/ 7378 h 32057"/>
                <a:gd name="connsiteX33" fmla="*/ 1898 w 22478"/>
                <a:gd name="connsiteY33" fmla="*/ 7433 h 32057"/>
                <a:gd name="connsiteX34" fmla="*/ 10259 w 22478"/>
                <a:gd name="connsiteY34" fmla="*/ 1351 h 32057"/>
                <a:gd name="connsiteX35" fmla="*/ 13686 w 22478"/>
                <a:gd name="connsiteY35" fmla="*/ 3076 h 32057"/>
                <a:gd name="connsiteX36" fmla="*/ 17502 w 22478"/>
                <a:gd name="connsiteY36" fmla="*/ 4380 h 32057"/>
                <a:gd name="connsiteX37" fmla="*/ 16955 w 22478"/>
                <a:gd name="connsiteY37" fmla="*/ 8974 h 32057"/>
                <a:gd name="connsiteX38" fmla="*/ 16057 w 22478"/>
                <a:gd name="connsiteY38" fmla="*/ 8948 h 32057"/>
                <a:gd name="connsiteX39" fmla="*/ 14454 w 22478"/>
                <a:gd name="connsiteY39" fmla="*/ 7679 h 32057"/>
                <a:gd name="connsiteX40" fmla="*/ 13248 w 22478"/>
                <a:gd name="connsiteY40" fmla="*/ 7418 h 32057"/>
                <a:gd name="connsiteX41" fmla="*/ 12871 w 22478"/>
                <a:gd name="connsiteY41" fmla="*/ 8096 h 32057"/>
                <a:gd name="connsiteX42" fmla="*/ 12933 w 22478"/>
                <a:gd name="connsiteY42" fmla="*/ 8912 h 32057"/>
                <a:gd name="connsiteX43" fmla="*/ 13557 w 22478"/>
                <a:gd name="connsiteY43" fmla="*/ 9424 h 32057"/>
                <a:gd name="connsiteX44" fmla="*/ 15479 w 22478"/>
                <a:gd name="connsiteY44" fmla="*/ 12498 h 32057"/>
                <a:gd name="connsiteX45" fmla="*/ 15659 w 22478"/>
                <a:gd name="connsiteY45" fmla="*/ 13392 h 32057"/>
                <a:gd name="connsiteX46" fmla="*/ 15421 w 22478"/>
                <a:gd name="connsiteY46" fmla="*/ 13825 h 32057"/>
                <a:gd name="connsiteX47" fmla="*/ 13552 w 22478"/>
                <a:gd name="connsiteY47" fmla="*/ 12939 h 32057"/>
                <a:gd name="connsiteX48" fmla="*/ 9044 w 22478"/>
                <a:gd name="connsiteY48" fmla="*/ 8960 h 32057"/>
                <a:gd name="connsiteX49" fmla="*/ 5537 w 22478"/>
                <a:gd name="connsiteY49" fmla="*/ 2403 h 32057"/>
                <a:gd name="connsiteX50" fmla="*/ 19193 w 22478"/>
                <a:gd name="connsiteY50" fmla="*/ 0 h 32057"/>
                <a:gd name="connsiteX51" fmla="*/ 20996 w 22478"/>
                <a:gd name="connsiteY51" fmla="*/ 2187 h 32057"/>
                <a:gd name="connsiteX52" fmla="*/ 22478 w 22478"/>
                <a:gd name="connsiteY52" fmla="*/ 3327 h 32057"/>
                <a:gd name="connsiteX53" fmla="*/ 21420 w 22478"/>
                <a:gd name="connsiteY53" fmla="*/ 5796 h 32057"/>
                <a:gd name="connsiteX54" fmla="*/ 19854 w 22478"/>
                <a:gd name="connsiteY54" fmla="*/ 5408 h 32057"/>
                <a:gd name="connsiteX55" fmla="*/ 19424 w 22478"/>
                <a:gd name="connsiteY55" fmla="*/ 5143 h 32057"/>
                <a:gd name="connsiteX56" fmla="*/ 19085 w 22478"/>
                <a:gd name="connsiteY56" fmla="*/ 4496 h 32057"/>
                <a:gd name="connsiteX57" fmla="*/ 19249 w 22478"/>
                <a:gd name="connsiteY57" fmla="*/ 2659 h 32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22478" h="32057">
                  <a:moveTo>
                    <a:pt x="10785" y="24608"/>
                  </a:moveTo>
                  <a:lnTo>
                    <a:pt x="11425" y="24727"/>
                  </a:lnTo>
                  <a:lnTo>
                    <a:pt x="11961" y="25678"/>
                  </a:lnTo>
                  <a:lnTo>
                    <a:pt x="14429" y="26302"/>
                  </a:lnTo>
                  <a:lnTo>
                    <a:pt x="15079" y="26771"/>
                  </a:lnTo>
                  <a:lnTo>
                    <a:pt x="15070" y="27927"/>
                  </a:lnTo>
                  <a:lnTo>
                    <a:pt x="15900" y="29296"/>
                  </a:lnTo>
                  <a:lnTo>
                    <a:pt x="15990" y="31032"/>
                  </a:lnTo>
                  <a:lnTo>
                    <a:pt x="16427" y="32057"/>
                  </a:lnTo>
                  <a:lnTo>
                    <a:pt x="15911" y="31943"/>
                  </a:lnTo>
                  <a:lnTo>
                    <a:pt x="14419" y="30774"/>
                  </a:lnTo>
                  <a:lnTo>
                    <a:pt x="11818" y="27982"/>
                  </a:lnTo>
                  <a:lnTo>
                    <a:pt x="10909" y="25673"/>
                  </a:lnTo>
                  <a:close/>
                  <a:moveTo>
                    <a:pt x="12842" y="15452"/>
                  </a:moveTo>
                  <a:lnTo>
                    <a:pt x="13971" y="15736"/>
                  </a:lnTo>
                  <a:lnTo>
                    <a:pt x="16816" y="16880"/>
                  </a:lnTo>
                  <a:lnTo>
                    <a:pt x="17618" y="18073"/>
                  </a:lnTo>
                  <a:lnTo>
                    <a:pt x="17676" y="18779"/>
                  </a:lnTo>
                  <a:lnTo>
                    <a:pt x="17243" y="20059"/>
                  </a:lnTo>
                  <a:lnTo>
                    <a:pt x="16637" y="20048"/>
                  </a:lnTo>
                  <a:lnTo>
                    <a:pt x="14557" y="18460"/>
                  </a:lnTo>
                  <a:lnTo>
                    <a:pt x="12901" y="17595"/>
                  </a:lnTo>
                  <a:lnTo>
                    <a:pt x="12352" y="16864"/>
                  </a:lnTo>
                  <a:lnTo>
                    <a:pt x="11892" y="15608"/>
                  </a:lnTo>
                  <a:close/>
                  <a:moveTo>
                    <a:pt x="4141" y="7004"/>
                  </a:moveTo>
                  <a:lnTo>
                    <a:pt x="5212" y="7411"/>
                  </a:lnTo>
                  <a:lnTo>
                    <a:pt x="7197" y="8737"/>
                  </a:lnTo>
                  <a:lnTo>
                    <a:pt x="7903" y="9669"/>
                  </a:lnTo>
                  <a:lnTo>
                    <a:pt x="6762" y="10571"/>
                  </a:lnTo>
                  <a:lnTo>
                    <a:pt x="5377" y="10803"/>
                  </a:lnTo>
                  <a:lnTo>
                    <a:pt x="3707" y="10595"/>
                  </a:lnTo>
                  <a:lnTo>
                    <a:pt x="962" y="9616"/>
                  </a:lnTo>
                  <a:lnTo>
                    <a:pt x="0" y="7378"/>
                  </a:lnTo>
                  <a:lnTo>
                    <a:pt x="1898" y="7433"/>
                  </a:lnTo>
                  <a:close/>
                  <a:moveTo>
                    <a:pt x="10259" y="1351"/>
                  </a:moveTo>
                  <a:lnTo>
                    <a:pt x="13686" y="3076"/>
                  </a:lnTo>
                  <a:lnTo>
                    <a:pt x="17502" y="4380"/>
                  </a:lnTo>
                  <a:lnTo>
                    <a:pt x="16955" y="8974"/>
                  </a:lnTo>
                  <a:lnTo>
                    <a:pt x="16057" y="8948"/>
                  </a:lnTo>
                  <a:lnTo>
                    <a:pt x="14454" y="7679"/>
                  </a:lnTo>
                  <a:lnTo>
                    <a:pt x="13248" y="7418"/>
                  </a:lnTo>
                  <a:lnTo>
                    <a:pt x="12871" y="8096"/>
                  </a:lnTo>
                  <a:lnTo>
                    <a:pt x="12933" y="8912"/>
                  </a:lnTo>
                  <a:lnTo>
                    <a:pt x="13557" y="9424"/>
                  </a:lnTo>
                  <a:lnTo>
                    <a:pt x="15479" y="12498"/>
                  </a:lnTo>
                  <a:lnTo>
                    <a:pt x="15659" y="13392"/>
                  </a:lnTo>
                  <a:lnTo>
                    <a:pt x="15421" y="13825"/>
                  </a:lnTo>
                  <a:lnTo>
                    <a:pt x="13552" y="12939"/>
                  </a:lnTo>
                  <a:lnTo>
                    <a:pt x="9044" y="8960"/>
                  </a:lnTo>
                  <a:lnTo>
                    <a:pt x="5537" y="2403"/>
                  </a:lnTo>
                  <a:close/>
                  <a:moveTo>
                    <a:pt x="19193" y="0"/>
                  </a:moveTo>
                  <a:lnTo>
                    <a:pt x="20996" y="2187"/>
                  </a:lnTo>
                  <a:lnTo>
                    <a:pt x="22478" y="3327"/>
                  </a:lnTo>
                  <a:lnTo>
                    <a:pt x="21420" y="5796"/>
                  </a:lnTo>
                  <a:lnTo>
                    <a:pt x="19854" y="5408"/>
                  </a:lnTo>
                  <a:lnTo>
                    <a:pt x="19424" y="5143"/>
                  </a:lnTo>
                  <a:lnTo>
                    <a:pt x="19085" y="4496"/>
                  </a:lnTo>
                  <a:lnTo>
                    <a:pt x="19249" y="2659"/>
                  </a:lnTo>
                  <a:close/>
                </a:path>
              </a:pathLst>
            </a:custGeom>
            <a:solidFill>
              <a:srgbClr val="A3BA1E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44" name="ee4p_ES_1_82333">
              <a:extLst>
                <a:ext uri="{FF2B5EF4-FFF2-40B4-BE49-F238E27FC236}">
                  <a16:creationId xmlns:a16="http://schemas.microsoft.com/office/drawing/2014/main" id="{7F0498AC-FF58-5FB7-E5A6-327420B61D99}"/>
                </a:ext>
              </a:extLst>
            </p:cNvPr>
            <p:cNvSpPr>
              <a:spLocks noChangeAspect="1"/>
            </p:cNvSpPr>
            <p:nvPr>
              <p:custDataLst>
                <p:tags r:id="rId72"/>
              </p:custDataLst>
            </p:nvPr>
          </p:nvSpPr>
          <p:spPr>
            <a:xfrm>
              <a:off x="6548670" y="3467827"/>
              <a:ext cx="86050" cy="47379"/>
            </a:xfrm>
            <a:custGeom>
              <a:avLst/>
              <a:gdLst>
                <a:gd name="connsiteX0" fmla="*/ 4710 w 68520"/>
                <a:gd name="connsiteY0" fmla="*/ 33907 h 36727"/>
                <a:gd name="connsiteX1" fmla="*/ 6049 w 68520"/>
                <a:gd name="connsiteY1" fmla="*/ 35359 h 36727"/>
                <a:gd name="connsiteX2" fmla="*/ 8167 w 68520"/>
                <a:gd name="connsiteY2" fmla="*/ 35628 h 36727"/>
                <a:gd name="connsiteX3" fmla="*/ 8195 w 68520"/>
                <a:gd name="connsiteY3" fmla="*/ 36386 h 36727"/>
                <a:gd name="connsiteX4" fmla="*/ 7692 w 68520"/>
                <a:gd name="connsiteY4" fmla="*/ 36727 h 36727"/>
                <a:gd name="connsiteX5" fmla="*/ 6228 w 68520"/>
                <a:gd name="connsiteY5" fmla="*/ 36414 h 36727"/>
                <a:gd name="connsiteX6" fmla="*/ 4034 w 68520"/>
                <a:gd name="connsiteY6" fmla="*/ 36414 h 36727"/>
                <a:gd name="connsiteX7" fmla="*/ 3950 w 68520"/>
                <a:gd name="connsiteY7" fmla="*/ 35372 h 36727"/>
                <a:gd name="connsiteX8" fmla="*/ 4287 w 68520"/>
                <a:gd name="connsiteY8" fmla="*/ 34644 h 36727"/>
                <a:gd name="connsiteX9" fmla="*/ 7543 w 68520"/>
                <a:gd name="connsiteY9" fmla="*/ 24790 h 36727"/>
                <a:gd name="connsiteX10" fmla="*/ 8621 w 68520"/>
                <a:gd name="connsiteY10" fmla="*/ 25661 h 36727"/>
                <a:gd name="connsiteX11" fmla="*/ 8852 w 68520"/>
                <a:gd name="connsiteY11" fmla="*/ 26917 h 36727"/>
                <a:gd name="connsiteX12" fmla="*/ 5997 w 68520"/>
                <a:gd name="connsiteY12" fmla="*/ 29665 h 36727"/>
                <a:gd name="connsiteX13" fmla="*/ 4907 w 68520"/>
                <a:gd name="connsiteY13" fmla="*/ 30022 h 36727"/>
                <a:gd name="connsiteX14" fmla="*/ 4106 w 68520"/>
                <a:gd name="connsiteY14" fmla="*/ 31608 h 36727"/>
                <a:gd name="connsiteX15" fmla="*/ 743 w 68520"/>
                <a:gd name="connsiteY15" fmla="*/ 31047 h 36727"/>
                <a:gd name="connsiteX16" fmla="*/ 0 w 68520"/>
                <a:gd name="connsiteY16" fmla="*/ 30405 h 36727"/>
                <a:gd name="connsiteX17" fmla="*/ 728 w 68520"/>
                <a:gd name="connsiteY17" fmla="*/ 28609 h 36727"/>
                <a:gd name="connsiteX18" fmla="*/ 1691 w 68520"/>
                <a:gd name="connsiteY18" fmla="*/ 28393 h 36727"/>
                <a:gd name="connsiteX19" fmla="*/ 1752 w 68520"/>
                <a:gd name="connsiteY19" fmla="*/ 27115 h 36727"/>
                <a:gd name="connsiteX20" fmla="*/ 2771 w 68520"/>
                <a:gd name="connsiteY20" fmla="*/ 25831 h 36727"/>
                <a:gd name="connsiteX21" fmla="*/ 42795 w 68520"/>
                <a:gd name="connsiteY21" fmla="*/ 2728 h 36727"/>
                <a:gd name="connsiteX22" fmla="*/ 43655 w 68520"/>
                <a:gd name="connsiteY22" fmla="*/ 2973 h 36727"/>
                <a:gd name="connsiteX23" fmla="*/ 42923 w 68520"/>
                <a:gd name="connsiteY23" fmla="*/ 3934 h 36727"/>
                <a:gd name="connsiteX24" fmla="*/ 42979 w 68520"/>
                <a:gd name="connsiteY24" fmla="*/ 4364 h 36727"/>
                <a:gd name="connsiteX25" fmla="*/ 43678 w 68520"/>
                <a:gd name="connsiteY25" fmla="*/ 4830 h 36727"/>
                <a:gd name="connsiteX26" fmla="*/ 43508 w 68520"/>
                <a:gd name="connsiteY26" fmla="*/ 5571 h 36727"/>
                <a:gd name="connsiteX27" fmla="*/ 42795 w 68520"/>
                <a:gd name="connsiteY27" fmla="*/ 6217 h 36727"/>
                <a:gd name="connsiteX28" fmla="*/ 42499 w 68520"/>
                <a:gd name="connsiteY28" fmla="*/ 7427 h 36727"/>
                <a:gd name="connsiteX29" fmla="*/ 44618 w 68520"/>
                <a:gd name="connsiteY29" fmla="*/ 8296 h 36727"/>
                <a:gd name="connsiteX30" fmla="*/ 46853 w 68520"/>
                <a:gd name="connsiteY30" fmla="*/ 7515 h 36727"/>
                <a:gd name="connsiteX31" fmla="*/ 48041 w 68520"/>
                <a:gd name="connsiteY31" fmla="*/ 7760 h 36727"/>
                <a:gd name="connsiteX32" fmla="*/ 49213 w 68520"/>
                <a:gd name="connsiteY32" fmla="*/ 8178 h 36727"/>
                <a:gd name="connsiteX33" fmla="*/ 49498 w 68520"/>
                <a:gd name="connsiteY33" fmla="*/ 9829 h 36727"/>
                <a:gd name="connsiteX34" fmla="*/ 48455 w 68520"/>
                <a:gd name="connsiteY34" fmla="*/ 11665 h 36727"/>
                <a:gd name="connsiteX35" fmla="*/ 46998 w 68520"/>
                <a:gd name="connsiteY35" fmla="*/ 13522 h 36727"/>
                <a:gd name="connsiteX36" fmla="*/ 45764 w 68520"/>
                <a:gd name="connsiteY36" fmla="*/ 15563 h 36727"/>
                <a:gd name="connsiteX37" fmla="*/ 44698 w 68520"/>
                <a:gd name="connsiteY37" fmla="*/ 17910 h 36727"/>
                <a:gd name="connsiteX38" fmla="*/ 42704 w 68520"/>
                <a:gd name="connsiteY38" fmla="*/ 19294 h 36727"/>
                <a:gd name="connsiteX39" fmla="*/ 40897 w 68520"/>
                <a:gd name="connsiteY39" fmla="*/ 20123 h 36727"/>
                <a:gd name="connsiteX40" fmla="*/ 37077 w 68520"/>
                <a:gd name="connsiteY40" fmla="*/ 18383 h 36727"/>
                <a:gd name="connsiteX41" fmla="*/ 34860 w 68520"/>
                <a:gd name="connsiteY41" fmla="*/ 17950 h 36727"/>
                <a:gd name="connsiteX42" fmla="*/ 34197 w 68520"/>
                <a:gd name="connsiteY42" fmla="*/ 17297 h 36727"/>
                <a:gd name="connsiteX43" fmla="*/ 33670 w 68520"/>
                <a:gd name="connsiteY43" fmla="*/ 14701 h 36727"/>
                <a:gd name="connsiteX44" fmla="*/ 32666 w 68520"/>
                <a:gd name="connsiteY44" fmla="*/ 13873 h 36727"/>
                <a:gd name="connsiteX45" fmla="*/ 31195 w 68520"/>
                <a:gd name="connsiteY45" fmla="*/ 13508 h 36727"/>
                <a:gd name="connsiteX46" fmla="*/ 29908 w 68520"/>
                <a:gd name="connsiteY46" fmla="*/ 14171 h 36727"/>
                <a:gd name="connsiteX47" fmla="*/ 28219 w 68520"/>
                <a:gd name="connsiteY47" fmla="*/ 15542 h 36727"/>
                <a:gd name="connsiteX48" fmla="*/ 27319 w 68520"/>
                <a:gd name="connsiteY48" fmla="*/ 14176 h 36727"/>
                <a:gd name="connsiteX49" fmla="*/ 25894 w 68520"/>
                <a:gd name="connsiteY49" fmla="*/ 13919 h 36727"/>
                <a:gd name="connsiteX50" fmla="*/ 25356 w 68520"/>
                <a:gd name="connsiteY50" fmla="*/ 13096 h 36727"/>
                <a:gd name="connsiteX51" fmla="*/ 25384 w 68520"/>
                <a:gd name="connsiteY51" fmla="*/ 12030 h 36727"/>
                <a:gd name="connsiteX52" fmla="*/ 34531 w 68520"/>
                <a:gd name="connsiteY52" fmla="*/ 5741 h 36727"/>
                <a:gd name="connsiteX53" fmla="*/ 37181 w 68520"/>
                <a:gd name="connsiteY53" fmla="*/ 4349 h 36727"/>
                <a:gd name="connsiteX54" fmla="*/ 62707 w 68520"/>
                <a:gd name="connsiteY54" fmla="*/ 0 h 36727"/>
                <a:gd name="connsiteX55" fmla="*/ 66391 w 68520"/>
                <a:gd name="connsiteY55" fmla="*/ 1114 h 36727"/>
                <a:gd name="connsiteX56" fmla="*/ 68367 w 68520"/>
                <a:gd name="connsiteY56" fmla="*/ 4116 h 36727"/>
                <a:gd name="connsiteX57" fmla="*/ 68520 w 68520"/>
                <a:gd name="connsiteY57" fmla="*/ 4630 h 36727"/>
                <a:gd name="connsiteX58" fmla="*/ 67892 w 68520"/>
                <a:gd name="connsiteY58" fmla="*/ 6080 h 36727"/>
                <a:gd name="connsiteX59" fmla="*/ 67486 w 68520"/>
                <a:gd name="connsiteY59" fmla="*/ 6381 h 36727"/>
                <a:gd name="connsiteX60" fmla="*/ 60684 w 68520"/>
                <a:gd name="connsiteY60" fmla="*/ 3371 h 36727"/>
                <a:gd name="connsiteX61" fmla="*/ 58462 w 68520"/>
                <a:gd name="connsiteY61" fmla="*/ 3035 h 36727"/>
                <a:gd name="connsiteX62" fmla="*/ 57920 w 68520"/>
                <a:gd name="connsiteY62" fmla="*/ 2575 h 36727"/>
                <a:gd name="connsiteX63" fmla="*/ 57980 w 68520"/>
                <a:gd name="connsiteY63" fmla="*/ 1008 h 36727"/>
                <a:gd name="connsiteX64" fmla="*/ 58157 w 68520"/>
                <a:gd name="connsiteY64" fmla="*/ 315 h 36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68520" h="36727">
                  <a:moveTo>
                    <a:pt x="4710" y="33907"/>
                  </a:moveTo>
                  <a:lnTo>
                    <a:pt x="6049" y="35359"/>
                  </a:lnTo>
                  <a:lnTo>
                    <a:pt x="8167" y="35628"/>
                  </a:lnTo>
                  <a:lnTo>
                    <a:pt x="8195" y="36386"/>
                  </a:lnTo>
                  <a:lnTo>
                    <a:pt x="7692" y="36727"/>
                  </a:lnTo>
                  <a:lnTo>
                    <a:pt x="6228" y="36414"/>
                  </a:lnTo>
                  <a:lnTo>
                    <a:pt x="4034" y="36414"/>
                  </a:lnTo>
                  <a:lnTo>
                    <a:pt x="3950" y="35372"/>
                  </a:lnTo>
                  <a:lnTo>
                    <a:pt x="4287" y="34644"/>
                  </a:lnTo>
                  <a:close/>
                  <a:moveTo>
                    <a:pt x="7543" y="24790"/>
                  </a:moveTo>
                  <a:lnTo>
                    <a:pt x="8621" y="25661"/>
                  </a:lnTo>
                  <a:lnTo>
                    <a:pt x="8852" y="26917"/>
                  </a:lnTo>
                  <a:lnTo>
                    <a:pt x="5997" y="29665"/>
                  </a:lnTo>
                  <a:lnTo>
                    <a:pt x="4907" y="30022"/>
                  </a:lnTo>
                  <a:lnTo>
                    <a:pt x="4106" y="31608"/>
                  </a:lnTo>
                  <a:lnTo>
                    <a:pt x="743" y="31047"/>
                  </a:lnTo>
                  <a:lnTo>
                    <a:pt x="0" y="30405"/>
                  </a:lnTo>
                  <a:lnTo>
                    <a:pt x="728" y="28609"/>
                  </a:lnTo>
                  <a:lnTo>
                    <a:pt x="1691" y="28393"/>
                  </a:lnTo>
                  <a:lnTo>
                    <a:pt x="1752" y="27115"/>
                  </a:lnTo>
                  <a:lnTo>
                    <a:pt x="2771" y="25831"/>
                  </a:lnTo>
                  <a:close/>
                  <a:moveTo>
                    <a:pt x="42795" y="2728"/>
                  </a:moveTo>
                  <a:lnTo>
                    <a:pt x="43655" y="2973"/>
                  </a:lnTo>
                  <a:lnTo>
                    <a:pt x="42923" y="3934"/>
                  </a:lnTo>
                  <a:lnTo>
                    <a:pt x="42979" y="4364"/>
                  </a:lnTo>
                  <a:lnTo>
                    <a:pt x="43678" y="4830"/>
                  </a:lnTo>
                  <a:lnTo>
                    <a:pt x="43508" y="5571"/>
                  </a:lnTo>
                  <a:lnTo>
                    <a:pt x="42795" y="6217"/>
                  </a:lnTo>
                  <a:lnTo>
                    <a:pt x="42499" y="7427"/>
                  </a:lnTo>
                  <a:lnTo>
                    <a:pt x="44618" y="8296"/>
                  </a:lnTo>
                  <a:lnTo>
                    <a:pt x="46853" y="7515"/>
                  </a:lnTo>
                  <a:lnTo>
                    <a:pt x="48041" y="7760"/>
                  </a:lnTo>
                  <a:lnTo>
                    <a:pt x="49213" y="8178"/>
                  </a:lnTo>
                  <a:lnTo>
                    <a:pt x="49498" y="9829"/>
                  </a:lnTo>
                  <a:lnTo>
                    <a:pt x="48455" y="11665"/>
                  </a:lnTo>
                  <a:lnTo>
                    <a:pt x="46998" y="13522"/>
                  </a:lnTo>
                  <a:lnTo>
                    <a:pt x="45764" y="15563"/>
                  </a:lnTo>
                  <a:lnTo>
                    <a:pt x="44698" y="17910"/>
                  </a:lnTo>
                  <a:lnTo>
                    <a:pt x="42704" y="19294"/>
                  </a:lnTo>
                  <a:lnTo>
                    <a:pt x="40897" y="20123"/>
                  </a:lnTo>
                  <a:lnTo>
                    <a:pt x="37077" y="18383"/>
                  </a:lnTo>
                  <a:lnTo>
                    <a:pt x="34860" y="17950"/>
                  </a:lnTo>
                  <a:lnTo>
                    <a:pt x="34197" y="17297"/>
                  </a:lnTo>
                  <a:lnTo>
                    <a:pt x="33670" y="14701"/>
                  </a:lnTo>
                  <a:lnTo>
                    <a:pt x="32666" y="13873"/>
                  </a:lnTo>
                  <a:lnTo>
                    <a:pt x="31195" y="13508"/>
                  </a:lnTo>
                  <a:lnTo>
                    <a:pt x="29908" y="14171"/>
                  </a:lnTo>
                  <a:lnTo>
                    <a:pt x="28219" y="15542"/>
                  </a:lnTo>
                  <a:lnTo>
                    <a:pt x="27319" y="14176"/>
                  </a:lnTo>
                  <a:lnTo>
                    <a:pt x="25894" y="13919"/>
                  </a:lnTo>
                  <a:lnTo>
                    <a:pt x="25356" y="13096"/>
                  </a:lnTo>
                  <a:lnTo>
                    <a:pt x="25384" y="12030"/>
                  </a:lnTo>
                  <a:lnTo>
                    <a:pt x="34531" y="5741"/>
                  </a:lnTo>
                  <a:lnTo>
                    <a:pt x="37181" y="4349"/>
                  </a:lnTo>
                  <a:close/>
                  <a:moveTo>
                    <a:pt x="62707" y="0"/>
                  </a:moveTo>
                  <a:lnTo>
                    <a:pt x="66391" y="1114"/>
                  </a:lnTo>
                  <a:lnTo>
                    <a:pt x="68367" y="4116"/>
                  </a:lnTo>
                  <a:lnTo>
                    <a:pt x="68520" y="4630"/>
                  </a:lnTo>
                  <a:lnTo>
                    <a:pt x="67892" y="6080"/>
                  </a:lnTo>
                  <a:lnTo>
                    <a:pt x="67486" y="6381"/>
                  </a:lnTo>
                  <a:lnTo>
                    <a:pt x="60684" y="3371"/>
                  </a:lnTo>
                  <a:lnTo>
                    <a:pt x="58462" y="3035"/>
                  </a:lnTo>
                  <a:lnTo>
                    <a:pt x="57920" y="2575"/>
                  </a:lnTo>
                  <a:lnTo>
                    <a:pt x="57980" y="1008"/>
                  </a:lnTo>
                  <a:lnTo>
                    <a:pt x="58157" y="315"/>
                  </a:lnTo>
                  <a:close/>
                </a:path>
              </a:pathLst>
            </a:custGeom>
            <a:solidFill>
              <a:srgbClr val="A3BA1E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45" name="ee4p_ES_2_82333">
              <a:extLst>
                <a:ext uri="{FF2B5EF4-FFF2-40B4-BE49-F238E27FC236}">
                  <a16:creationId xmlns:a16="http://schemas.microsoft.com/office/drawing/2014/main" id="{48E92A28-14EC-C607-513D-6454A38B6AD4}"/>
                </a:ext>
              </a:extLst>
            </p:cNvPr>
            <p:cNvSpPr>
              <a:spLocks noChangeAspect="1"/>
            </p:cNvSpPr>
            <p:nvPr>
              <p:custDataLst>
                <p:tags r:id="rId73"/>
              </p:custDataLst>
            </p:nvPr>
          </p:nvSpPr>
          <p:spPr>
            <a:xfrm>
              <a:off x="6258232" y="3341540"/>
              <a:ext cx="348296" cy="260290"/>
            </a:xfrm>
            <a:custGeom>
              <a:avLst/>
              <a:gdLst/>
              <a:ahLst/>
              <a:cxnLst/>
              <a:rect l="0" t="0" r="0" b="0"/>
              <a:pathLst>
                <a:path w="277340" h="201769">
                  <a:moveTo>
                    <a:pt x="33998" y="0"/>
                  </a:moveTo>
                  <a:lnTo>
                    <a:pt x="36288" y="1004"/>
                  </a:lnTo>
                  <a:lnTo>
                    <a:pt x="38299" y="664"/>
                  </a:lnTo>
                  <a:lnTo>
                    <a:pt x="40605" y="1855"/>
                  </a:lnTo>
                  <a:lnTo>
                    <a:pt x="43643" y="4584"/>
                  </a:lnTo>
                  <a:lnTo>
                    <a:pt x="48087" y="5680"/>
                  </a:lnTo>
                  <a:lnTo>
                    <a:pt x="51631" y="4826"/>
                  </a:lnTo>
                  <a:lnTo>
                    <a:pt x="57898" y="4644"/>
                  </a:lnTo>
                  <a:lnTo>
                    <a:pt x="61029" y="5008"/>
                  </a:lnTo>
                  <a:lnTo>
                    <a:pt x="66591" y="4335"/>
                  </a:lnTo>
                  <a:lnTo>
                    <a:pt x="69776" y="4576"/>
                  </a:lnTo>
                  <a:lnTo>
                    <a:pt x="74938" y="3224"/>
                  </a:lnTo>
                  <a:lnTo>
                    <a:pt x="78937" y="4912"/>
                  </a:lnTo>
                  <a:lnTo>
                    <a:pt x="86678" y="5701"/>
                  </a:lnTo>
                  <a:lnTo>
                    <a:pt x="91332" y="7083"/>
                  </a:lnTo>
                  <a:lnTo>
                    <a:pt x="104206" y="9402"/>
                  </a:lnTo>
                  <a:lnTo>
                    <a:pt x="108855" y="9428"/>
                  </a:lnTo>
                  <a:lnTo>
                    <a:pt x="115433" y="8127"/>
                  </a:lnTo>
                  <a:lnTo>
                    <a:pt x="118218" y="7149"/>
                  </a:lnTo>
                  <a:lnTo>
                    <a:pt x="120768" y="7729"/>
                  </a:lnTo>
                  <a:lnTo>
                    <a:pt x="124514" y="6609"/>
                  </a:lnTo>
                  <a:lnTo>
                    <a:pt x="126305" y="6836"/>
                  </a:lnTo>
                  <a:lnTo>
                    <a:pt x="128644" y="8433"/>
                  </a:lnTo>
                  <a:lnTo>
                    <a:pt x="136875" y="10589"/>
                  </a:lnTo>
                  <a:lnTo>
                    <a:pt x="139040" y="8757"/>
                  </a:lnTo>
                  <a:lnTo>
                    <a:pt x="140647" y="8360"/>
                  </a:lnTo>
                  <a:lnTo>
                    <a:pt x="146572" y="9482"/>
                  </a:lnTo>
                  <a:lnTo>
                    <a:pt x="152542" y="11760"/>
                  </a:lnTo>
                  <a:lnTo>
                    <a:pt x="155647" y="11924"/>
                  </a:lnTo>
                  <a:lnTo>
                    <a:pt x="160188" y="11302"/>
                  </a:lnTo>
                  <a:lnTo>
                    <a:pt x="163788" y="9802"/>
                  </a:lnTo>
                  <a:lnTo>
                    <a:pt x="164550" y="9627"/>
                  </a:lnTo>
                  <a:lnTo>
                    <a:pt x="164579" y="10563"/>
                  </a:lnTo>
                  <a:lnTo>
                    <a:pt x="165452" y="11849"/>
                  </a:lnTo>
                  <a:lnTo>
                    <a:pt x="166345" y="12325"/>
                  </a:lnTo>
                  <a:lnTo>
                    <a:pt x="168240" y="12985"/>
                  </a:lnTo>
                  <a:lnTo>
                    <a:pt x="169692" y="13073"/>
                  </a:lnTo>
                  <a:lnTo>
                    <a:pt x="171677" y="13382"/>
                  </a:lnTo>
                  <a:lnTo>
                    <a:pt x="173027" y="14123"/>
                  </a:lnTo>
                  <a:lnTo>
                    <a:pt x="173101" y="15277"/>
                  </a:lnTo>
                  <a:lnTo>
                    <a:pt x="172763" y="16566"/>
                  </a:lnTo>
                  <a:lnTo>
                    <a:pt x="171949" y="17750"/>
                  </a:lnTo>
                  <a:lnTo>
                    <a:pt x="171484" y="18658"/>
                  </a:lnTo>
                  <a:lnTo>
                    <a:pt x="171918" y="19177"/>
                  </a:lnTo>
                  <a:lnTo>
                    <a:pt x="172627" y="19580"/>
                  </a:lnTo>
                  <a:lnTo>
                    <a:pt x="173395" y="19691"/>
                  </a:lnTo>
                  <a:lnTo>
                    <a:pt x="173915" y="19557"/>
                  </a:lnTo>
                  <a:lnTo>
                    <a:pt x="174308" y="18842"/>
                  </a:lnTo>
                  <a:lnTo>
                    <a:pt x="175058" y="17965"/>
                  </a:lnTo>
                  <a:lnTo>
                    <a:pt x="175473" y="17858"/>
                  </a:lnTo>
                  <a:lnTo>
                    <a:pt x="175440" y="18354"/>
                  </a:lnTo>
                  <a:lnTo>
                    <a:pt x="175796" y="18967"/>
                  </a:lnTo>
                  <a:lnTo>
                    <a:pt x="178228" y="19998"/>
                  </a:lnTo>
                  <a:lnTo>
                    <a:pt x="183571" y="21917"/>
                  </a:lnTo>
                  <a:lnTo>
                    <a:pt x="185663" y="21953"/>
                  </a:lnTo>
                  <a:lnTo>
                    <a:pt x="187356" y="22178"/>
                  </a:lnTo>
                  <a:lnTo>
                    <a:pt x="187853" y="22988"/>
                  </a:lnTo>
                  <a:lnTo>
                    <a:pt x="191253" y="25947"/>
                  </a:lnTo>
                  <a:lnTo>
                    <a:pt x="192063" y="25866"/>
                  </a:lnTo>
                  <a:lnTo>
                    <a:pt x="193581" y="25938"/>
                  </a:lnTo>
                  <a:lnTo>
                    <a:pt x="195410" y="25703"/>
                  </a:lnTo>
                  <a:lnTo>
                    <a:pt x="196733" y="25149"/>
                  </a:lnTo>
                  <a:lnTo>
                    <a:pt x="197602" y="25242"/>
                  </a:lnTo>
                  <a:lnTo>
                    <a:pt x="198558" y="25814"/>
                  </a:lnTo>
                  <a:lnTo>
                    <a:pt x="199680" y="26313"/>
                  </a:lnTo>
                  <a:lnTo>
                    <a:pt x="201123" y="27285"/>
                  </a:lnTo>
                  <a:lnTo>
                    <a:pt x="202418" y="28490"/>
                  </a:lnTo>
                  <a:lnTo>
                    <a:pt x="203310" y="28884"/>
                  </a:lnTo>
                  <a:lnTo>
                    <a:pt x="208673" y="28076"/>
                  </a:lnTo>
                  <a:lnTo>
                    <a:pt x="209869" y="28782"/>
                  </a:lnTo>
                  <a:lnTo>
                    <a:pt x="211139" y="28773"/>
                  </a:lnTo>
                  <a:lnTo>
                    <a:pt x="212562" y="28589"/>
                  </a:lnTo>
                  <a:lnTo>
                    <a:pt x="215667" y="28960"/>
                  </a:lnTo>
                  <a:lnTo>
                    <a:pt x="218187" y="28871"/>
                  </a:lnTo>
                  <a:lnTo>
                    <a:pt x="218416" y="28576"/>
                  </a:lnTo>
                  <a:lnTo>
                    <a:pt x="218632" y="25908"/>
                  </a:lnTo>
                  <a:lnTo>
                    <a:pt x="219031" y="24963"/>
                  </a:lnTo>
                  <a:lnTo>
                    <a:pt x="219629" y="24713"/>
                  </a:lnTo>
                  <a:lnTo>
                    <a:pt x="221124" y="24902"/>
                  </a:lnTo>
                  <a:lnTo>
                    <a:pt x="226554" y="26482"/>
                  </a:lnTo>
                  <a:lnTo>
                    <a:pt x="228790" y="27469"/>
                  </a:lnTo>
                  <a:lnTo>
                    <a:pt x="230938" y="28242"/>
                  </a:lnTo>
                  <a:lnTo>
                    <a:pt x="232817" y="28327"/>
                  </a:lnTo>
                  <a:lnTo>
                    <a:pt x="234058" y="28842"/>
                  </a:lnTo>
                  <a:lnTo>
                    <a:pt x="235803" y="31373"/>
                  </a:lnTo>
                  <a:lnTo>
                    <a:pt x="235505" y="32642"/>
                  </a:lnTo>
                  <a:lnTo>
                    <a:pt x="235663" y="33111"/>
                  </a:lnTo>
                  <a:lnTo>
                    <a:pt x="235847" y="33990"/>
                  </a:lnTo>
                  <a:lnTo>
                    <a:pt x="235799" y="34964"/>
                  </a:lnTo>
                  <a:lnTo>
                    <a:pt x="236257" y="35600"/>
                  </a:lnTo>
                  <a:lnTo>
                    <a:pt x="237084" y="35680"/>
                  </a:lnTo>
                  <a:lnTo>
                    <a:pt x="238142" y="35487"/>
                  </a:lnTo>
                  <a:lnTo>
                    <a:pt x="239299" y="35107"/>
                  </a:lnTo>
                  <a:lnTo>
                    <a:pt x="241335" y="34021"/>
                  </a:lnTo>
                  <a:lnTo>
                    <a:pt x="241945" y="33844"/>
                  </a:lnTo>
                  <a:lnTo>
                    <a:pt x="245343" y="35077"/>
                  </a:lnTo>
                  <a:lnTo>
                    <a:pt x="246851" y="35897"/>
                  </a:lnTo>
                  <a:lnTo>
                    <a:pt x="247371" y="36791"/>
                  </a:lnTo>
                  <a:lnTo>
                    <a:pt x="248146" y="37704"/>
                  </a:lnTo>
                  <a:lnTo>
                    <a:pt x="249167" y="37837"/>
                  </a:lnTo>
                  <a:lnTo>
                    <a:pt x="250619" y="36969"/>
                  </a:lnTo>
                  <a:lnTo>
                    <a:pt x="252875" y="36040"/>
                  </a:lnTo>
                  <a:lnTo>
                    <a:pt x="256723" y="36857"/>
                  </a:lnTo>
                  <a:lnTo>
                    <a:pt x="261003" y="38042"/>
                  </a:lnTo>
                  <a:lnTo>
                    <a:pt x="262854" y="38184"/>
                  </a:lnTo>
                  <a:lnTo>
                    <a:pt x="262923" y="37608"/>
                  </a:lnTo>
                  <a:lnTo>
                    <a:pt x="263260" y="36784"/>
                  </a:lnTo>
                  <a:lnTo>
                    <a:pt x="263964" y="36372"/>
                  </a:lnTo>
                  <a:lnTo>
                    <a:pt x="265015" y="36251"/>
                  </a:lnTo>
                  <a:lnTo>
                    <a:pt x="266480" y="35819"/>
                  </a:lnTo>
                  <a:lnTo>
                    <a:pt x="268155" y="35104"/>
                  </a:lnTo>
                  <a:lnTo>
                    <a:pt x="269893" y="34806"/>
                  </a:lnTo>
                  <a:lnTo>
                    <a:pt x="271720" y="35340"/>
                  </a:lnTo>
                  <a:lnTo>
                    <a:pt x="273921" y="35772"/>
                  </a:lnTo>
                  <a:lnTo>
                    <a:pt x="275231" y="35768"/>
                  </a:lnTo>
                  <a:lnTo>
                    <a:pt x="275860" y="37454"/>
                  </a:lnTo>
                  <a:lnTo>
                    <a:pt x="276922" y="38098"/>
                  </a:lnTo>
                  <a:lnTo>
                    <a:pt x="277339" y="39556"/>
                  </a:lnTo>
                  <a:lnTo>
                    <a:pt x="275391" y="40317"/>
                  </a:lnTo>
                  <a:lnTo>
                    <a:pt x="274236" y="40420"/>
                  </a:lnTo>
                  <a:lnTo>
                    <a:pt x="273882" y="42921"/>
                  </a:lnTo>
                  <a:lnTo>
                    <a:pt x="274430" y="43625"/>
                  </a:lnTo>
                  <a:lnTo>
                    <a:pt x="275523" y="44285"/>
                  </a:lnTo>
                  <a:lnTo>
                    <a:pt x="275821" y="45054"/>
                  </a:lnTo>
                  <a:lnTo>
                    <a:pt x="276041" y="48717"/>
                  </a:lnTo>
                  <a:lnTo>
                    <a:pt x="273804" y="50924"/>
                  </a:lnTo>
                  <a:lnTo>
                    <a:pt x="270664" y="53405"/>
                  </a:lnTo>
                  <a:lnTo>
                    <a:pt x="255320" y="61366"/>
                  </a:lnTo>
                  <a:lnTo>
                    <a:pt x="251664" y="65214"/>
                  </a:lnTo>
                  <a:lnTo>
                    <a:pt x="250271" y="66093"/>
                  </a:lnTo>
                  <a:lnTo>
                    <a:pt x="238861" y="68513"/>
                  </a:lnTo>
                  <a:lnTo>
                    <a:pt x="230884" y="71096"/>
                  </a:lnTo>
                  <a:lnTo>
                    <a:pt x="227060" y="72030"/>
                  </a:lnTo>
                  <a:lnTo>
                    <a:pt x="222283" y="76514"/>
                  </a:lnTo>
                  <a:lnTo>
                    <a:pt x="220022" y="78320"/>
                  </a:lnTo>
                  <a:lnTo>
                    <a:pt x="221823" y="78820"/>
                  </a:lnTo>
                  <a:lnTo>
                    <a:pt x="223924" y="80958"/>
                  </a:lnTo>
                  <a:lnTo>
                    <a:pt x="223218" y="81906"/>
                  </a:lnTo>
                  <a:lnTo>
                    <a:pt x="220154" y="83368"/>
                  </a:lnTo>
                  <a:lnTo>
                    <a:pt x="218815" y="83818"/>
                  </a:lnTo>
                  <a:lnTo>
                    <a:pt x="218088" y="83585"/>
                  </a:lnTo>
                  <a:lnTo>
                    <a:pt x="217401" y="83787"/>
                  </a:lnTo>
                  <a:lnTo>
                    <a:pt x="212262" y="91522"/>
                  </a:lnTo>
                  <a:lnTo>
                    <a:pt x="207723" y="97072"/>
                  </a:lnTo>
                  <a:lnTo>
                    <a:pt x="205172" y="99489"/>
                  </a:lnTo>
                  <a:lnTo>
                    <a:pt x="202558" y="103086"/>
                  </a:lnTo>
                  <a:lnTo>
                    <a:pt x="196989" y="112346"/>
                  </a:lnTo>
                  <a:lnTo>
                    <a:pt x="196946" y="115013"/>
                  </a:lnTo>
                  <a:lnTo>
                    <a:pt x="199689" y="124196"/>
                  </a:lnTo>
                  <a:lnTo>
                    <a:pt x="201261" y="126604"/>
                  </a:lnTo>
                  <a:lnTo>
                    <a:pt x="203465" y="128626"/>
                  </a:lnTo>
                  <a:lnTo>
                    <a:pt x="207645" y="130344"/>
                  </a:lnTo>
                  <a:lnTo>
                    <a:pt x="208677" y="132034"/>
                  </a:lnTo>
                  <a:lnTo>
                    <a:pt x="207234" y="133643"/>
                  </a:lnTo>
                  <a:lnTo>
                    <a:pt x="203054" y="136506"/>
                  </a:lnTo>
                  <a:lnTo>
                    <a:pt x="195790" y="140369"/>
                  </a:lnTo>
                  <a:lnTo>
                    <a:pt x="192704" y="143413"/>
                  </a:lnTo>
                  <a:lnTo>
                    <a:pt x="192043" y="146346"/>
                  </a:lnTo>
                  <a:lnTo>
                    <a:pt x="189918" y="147662"/>
                  </a:lnTo>
                  <a:lnTo>
                    <a:pt x="189113" y="151762"/>
                  </a:lnTo>
                  <a:lnTo>
                    <a:pt x="187823" y="154476"/>
                  </a:lnTo>
                  <a:lnTo>
                    <a:pt x="187575" y="155395"/>
                  </a:lnTo>
                  <a:lnTo>
                    <a:pt x="186207" y="157451"/>
                  </a:lnTo>
                  <a:lnTo>
                    <a:pt x="186020" y="158942"/>
                  </a:lnTo>
                  <a:lnTo>
                    <a:pt x="188264" y="161002"/>
                  </a:lnTo>
                  <a:lnTo>
                    <a:pt x="187152" y="161892"/>
                  </a:lnTo>
                  <a:lnTo>
                    <a:pt x="186040" y="162288"/>
                  </a:lnTo>
                  <a:lnTo>
                    <a:pt x="183477" y="162528"/>
                  </a:lnTo>
                  <a:lnTo>
                    <a:pt x="174865" y="162789"/>
                  </a:lnTo>
                  <a:lnTo>
                    <a:pt x="167935" y="167235"/>
                  </a:lnTo>
                  <a:lnTo>
                    <a:pt x="164471" y="171164"/>
                  </a:lnTo>
                  <a:lnTo>
                    <a:pt x="161338" y="178468"/>
                  </a:lnTo>
                  <a:lnTo>
                    <a:pt x="157530" y="182766"/>
                  </a:lnTo>
                  <a:lnTo>
                    <a:pt x="155846" y="183558"/>
                  </a:lnTo>
                  <a:lnTo>
                    <a:pt x="153239" y="181670"/>
                  </a:lnTo>
                  <a:lnTo>
                    <a:pt x="149983" y="181382"/>
                  </a:lnTo>
                  <a:lnTo>
                    <a:pt x="146824" y="182008"/>
                  </a:lnTo>
                  <a:lnTo>
                    <a:pt x="145167" y="183504"/>
                  </a:lnTo>
                  <a:lnTo>
                    <a:pt x="142581" y="184337"/>
                  </a:lnTo>
                  <a:lnTo>
                    <a:pt x="140054" y="183616"/>
                  </a:lnTo>
                  <a:lnTo>
                    <a:pt x="134585" y="183227"/>
                  </a:lnTo>
                  <a:lnTo>
                    <a:pt x="132154" y="183296"/>
                  </a:lnTo>
                  <a:lnTo>
                    <a:pt x="128348" y="184511"/>
                  </a:lnTo>
                  <a:lnTo>
                    <a:pt x="125085" y="183700"/>
                  </a:lnTo>
                  <a:lnTo>
                    <a:pt x="119580" y="183289"/>
                  </a:lnTo>
                  <a:lnTo>
                    <a:pt x="107660" y="184252"/>
                  </a:lnTo>
                  <a:lnTo>
                    <a:pt x="106156" y="184705"/>
                  </a:lnTo>
                  <a:lnTo>
                    <a:pt x="104666" y="186509"/>
                  </a:lnTo>
                  <a:lnTo>
                    <a:pt x="100865" y="189618"/>
                  </a:lnTo>
                  <a:lnTo>
                    <a:pt x="95090" y="189730"/>
                  </a:lnTo>
                  <a:lnTo>
                    <a:pt x="89867" y="191712"/>
                  </a:lnTo>
                  <a:lnTo>
                    <a:pt x="88562" y="192981"/>
                  </a:lnTo>
                  <a:lnTo>
                    <a:pt x="86369" y="196469"/>
                  </a:lnTo>
                  <a:lnTo>
                    <a:pt x="85678" y="199017"/>
                  </a:lnTo>
                  <a:lnTo>
                    <a:pt x="85222" y="199038"/>
                  </a:lnTo>
                  <a:lnTo>
                    <a:pt x="84655" y="198411"/>
                  </a:lnTo>
                  <a:lnTo>
                    <a:pt x="83850" y="198621"/>
                  </a:lnTo>
                  <a:lnTo>
                    <a:pt x="83433" y="200560"/>
                  </a:lnTo>
                  <a:lnTo>
                    <a:pt x="81470" y="201443"/>
                  </a:lnTo>
                  <a:lnTo>
                    <a:pt x="79829" y="201768"/>
                  </a:lnTo>
                  <a:lnTo>
                    <a:pt x="75784" y="200193"/>
                  </a:lnTo>
                  <a:lnTo>
                    <a:pt x="72417" y="197833"/>
                  </a:lnTo>
                  <a:lnTo>
                    <a:pt x="70648" y="197664"/>
                  </a:lnTo>
                  <a:lnTo>
                    <a:pt x="67778" y="193989"/>
                  </a:lnTo>
                  <a:lnTo>
                    <a:pt x="66544" y="191644"/>
                  </a:lnTo>
                  <a:lnTo>
                    <a:pt x="65667" y="189110"/>
                  </a:lnTo>
                  <a:lnTo>
                    <a:pt x="65849" y="188139"/>
                  </a:lnTo>
                  <a:lnTo>
                    <a:pt x="65600" y="187331"/>
                  </a:lnTo>
                  <a:lnTo>
                    <a:pt x="63053" y="186309"/>
                  </a:lnTo>
                  <a:lnTo>
                    <a:pt x="62432" y="183979"/>
                  </a:lnTo>
                  <a:lnTo>
                    <a:pt x="64288" y="180951"/>
                  </a:lnTo>
                  <a:lnTo>
                    <a:pt x="65811" y="179659"/>
                  </a:lnTo>
                  <a:lnTo>
                    <a:pt x="66753" y="179288"/>
                  </a:lnTo>
                  <a:lnTo>
                    <a:pt x="64450" y="179418"/>
                  </a:lnTo>
                  <a:lnTo>
                    <a:pt x="62787" y="181370"/>
                  </a:lnTo>
                  <a:lnTo>
                    <a:pt x="60659" y="178244"/>
                  </a:lnTo>
                  <a:lnTo>
                    <a:pt x="51986" y="172148"/>
                  </a:lnTo>
                  <a:lnTo>
                    <a:pt x="52545" y="170748"/>
                  </a:lnTo>
                  <a:lnTo>
                    <a:pt x="52448" y="169991"/>
                  </a:lnTo>
                  <a:lnTo>
                    <a:pt x="50994" y="171620"/>
                  </a:lnTo>
                  <a:lnTo>
                    <a:pt x="49995" y="172041"/>
                  </a:lnTo>
                  <a:lnTo>
                    <a:pt x="45567" y="171777"/>
                  </a:lnTo>
                  <a:lnTo>
                    <a:pt x="40454" y="172525"/>
                  </a:lnTo>
                  <a:lnTo>
                    <a:pt x="39105" y="166187"/>
                  </a:lnTo>
                  <a:lnTo>
                    <a:pt x="38467" y="163748"/>
                  </a:lnTo>
                  <a:lnTo>
                    <a:pt x="38301" y="162167"/>
                  </a:lnTo>
                  <a:lnTo>
                    <a:pt x="39619" y="158516"/>
                  </a:lnTo>
                  <a:lnTo>
                    <a:pt x="41057" y="157030"/>
                  </a:lnTo>
                  <a:lnTo>
                    <a:pt x="42973" y="153956"/>
                  </a:lnTo>
                  <a:lnTo>
                    <a:pt x="45335" y="151395"/>
                  </a:lnTo>
                  <a:lnTo>
                    <a:pt x="47832" y="150788"/>
                  </a:lnTo>
                  <a:lnTo>
                    <a:pt x="48930" y="150411"/>
                  </a:lnTo>
                  <a:lnTo>
                    <a:pt x="49853" y="148429"/>
                  </a:lnTo>
                  <a:lnTo>
                    <a:pt x="50373" y="146737"/>
                  </a:lnTo>
                  <a:lnTo>
                    <a:pt x="49992" y="146569"/>
                  </a:lnTo>
                  <a:lnTo>
                    <a:pt x="47082" y="146914"/>
                  </a:lnTo>
                  <a:lnTo>
                    <a:pt x="41850" y="139809"/>
                  </a:lnTo>
                  <a:lnTo>
                    <a:pt x="42010" y="138675"/>
                  </a:lnTo>
                  <a:lnTo>
                    <a:pt x="42670" y="136992"/>
                  </a:lnTo>
                  <a:lnTo>
                    <a:pt x="43103" y="134866"/>
                  </a:lnTo>
                  <a:lnTo>
                    <a:pt x="43210" y="133185"/>
                  </a:lnTo>
                  <a:lnTo>
                    <a:pt x="44572" y="131742"/>
                  </a:lnTo>
                  <a:lnTo>
                    <a:pt x="46660" y="130285"/>
                  </a:lnTo>
                  <a:lnTo>
                    <a:pt x="48417" y="128217"/>
                  </a:lnTo>
                  <a:lnTo>
                    <a:pt x="49297" y="126196"/>
                  </a:lnTo>
                  <a:lnTo>
                    <a:pt x="49480" y="124355"/>
                  </a:lnTo>
                  <a:lnTo>
                    <a:pt x="48485" y="123045"/>
                  </a:lnTo>
                  <a:lnTo>
                    <a:pt x="45623" y="122318"/>
                  </a:lnTo>
                  <a:lnTo>
                    <a:pt x="42674" y="117061"/>
                  </a:lnTo>
                  <a:lnTo>
                    <a:pt x="42018" y="113766"/>
                  </a:lnTo>
                  <a:lnTo>
                    <a:pt x="41415" y="113424"/>
                  </a:lnTo>
                  <a:lnTo>
                    <a:pt x="39593" y="111922"/>
                  </a:lnTo>
                  <a:lnTo>
                    <a:pt x="37844" y="109102"/>
                  </a:lnTo>
                  <a:lnTo>
                    <a:pt x="37590" y="108664"/>
                  </a:lnTo>
                  <a:lnTo>
                    <a:pt x="39394" y="108168"/>
                  </a:lnTo>
                  <a:lnTo>
                    <a:pt x="46833" y="108141"/>
                  </a:lnTo>
                  <a:lnTo>
                    <a:pt x="48387" y="107520"/>
                  </a:lnTo>
                  <a:lnTo>
                    <a:pt x="48623" y="107302"/>
                  </a:lnTo>
                  <a:lnTo>
                    <a:pt x="49979" y="105105"/>
                  </a:lnTo>
                  <a:lnTo>
                    <a:pt x="51399" y="101492"/>
                  </a:lnTo>
                  <a:lnTo>
                    <a:pt x="51733" y="99284"/>
                  </a:lnTo>
                  <a:lnTo>
                    <a:pt x="51284" y="98371"/>
                  </a:lnTo>
                  <a:lnTo>
                    <a:pt x="48820" y="96132"/>
                  </a:lnTo>
                  <a:lnTo>
                    <a:pt x="48714" y="95471"/>
                  </a:lnTo>
                  <a:lnTo>
                    <a:pt x="49110" y="94415"/>
                  </a:lnTo>
                  <a:lnTo>
                    <a:pt x="50575" y="93285"/>
                  </a:lnTo>
                  <a:lnTo>
                    <a:pt x="52555" y="92001"/>
                  </a:lnTo>
                  <a:lnTo>
                    <a:pt x="53633" y="90893"/>
                  </a:lnTo>
                  <a:lnTo>
                    <a:pt x="53376" y="90026"/>
                  </a:lnTo>
                  <a:lnTo>
                    <a:pt x="52797" y="89117"/>
                  </a:lnTo>
                  <a:lnTo>
                    <a:pt x="52707" y="88273"/>
                  </a:lnTo>
                  <a:lnTo>
                    <a:pt x="53069" y="87228"/>
                  </a:lnTo>
                  <a:lnTo>
                    <a:pt x="53198" y="83667"/>
                  </a:lnTo>
                  <a:lnTo>
                    <a:pt x="53452" y="82750"/>
                  </a:lnTo>
                  <a:lnTo>
                    <a:pt x="53064" y="79511"/>
                  </a:lnTo>
                  <a:lnTo>
                    <a:pt x="52581" y="76863"/>
                  </a:lnTo>
                  <a:lnTo>
                    <a:pt x="51017" y="73423"/>
                  </a:lnTo>
                  <a:lnTo>
                    <a:pt x="51303" y="72663"/>
                  </a:lnTo>
                  <a:lnTo>
                    <a:pt x="52026" y="72021"/>
                  </a:lnTo>
                  <a:lnTo>
                    <a:pt x="54393" y="70828"/>
                  </a:lnTo>
                  <a:lnTo>
                    <a:pt x="56287" y="68015"/>
                  </a:lnTo>
                  <a:lnTo>
                    <a:pt x="59034" y="65663"/>
                  </a:lnTo>
                  <a:lnTo>
                    <a:pt x="62633" y="63771"/>
                  </a:lnTo>
                  <a:lnTo>
                    <a:pt x="65149" y="61669"/>
                  </a:lnTo>
                  <a:lnTo>
                    <a:pt x="66145" y="60060"/>
                  </a:lnTo>
                  <a:lnTo>
                    <a:pt x="66848" y="59634"/>
                  </a:lnTo>
                  <a:lnTo>
                    <a:pt x="66646" y="58883"/>
                  </a:lnTo>
                  <a:lnTo>
                    <a:pt x="66172" y="57789"/>
                  </a:lnTo>
                  <a:lnTo>
                    <a:pt x="64736" y="56721"/>
                  </a:lnTo>
                  <a:lnTo>
                    <a:pt x="62886" y="56107"/>
                  </a:lnTo>
                  <a:lnTo>
                    <a:pt x="60830" y="56133"/>
                  </a:lnTo>
                  <a:lnTo>
                    <a:pt x="59558" y="55918"/>
                  </a:lnTo>
                  <a:lnTo>
                    <a:pt x="59187" y="55083"/>
                  </a:lnTo>
                  <a:lnTo>
                    <a:pt x="59328" y="52819"/>
                  </a:lnTo>
                  <a:lnTo>
                    <a:pt x="59219" y="50577"/>
                  </a:lnTo>
                  <a:lnTo>
                    <a:pt x="58825" y="49544"/>
                  </a:lnTo>
                  <a:lnTo>
                    <a:pt x="57876" y="48767"/>
                  </a:lnTo>
                  <a:lnTo>
                    <a:pt x="55989" y="48974"/>
                  </a:lnTo>
                  <a:lnTo>
                    <a:pt x="54360" y="48339"/>
                  </a:lnTo>
                  <a:lnTo>
                    <a:pt x="53124" y="48189"/>
                  </a:lnTo>
                  <a:lnTo>
                    <a:pt x="52409" y="48690"/>
                  </a:lnTo>
                  <a:lnTo>
                    <a:pt x="48761" y="48548"/>
                  </a:lnTo>
                  <a:lnTo>
                    <a:pt x="47243" y="48187"/>
                  </a:lnTo>
                  <a:lnTo>
                    <a:pt x="46182" y="47738"/>
                  </a:lnTo>
                  <a:lnTo>
                    <a:pt x="45501" y="47989"/>
                  </a:lnTo>
                  <a:lnTo>
                    <a:pt x="45116" y="48426"/>
                  </a:lnTo>
                  <a:lnTo>
                    <a:pt x="45050" y="49111"/>
                  </a:lnTo>
                  <a:lnTo>
                    <a:pt x="44800" y="50017"/>
                  </a:lnTo>
                  <a:lnTo>
                    <a:pt x="43497" y="50835"/>
                  </a:lnTo>
                  <a:lnTo>
                    <a:pt x="40510" y="51649"/>
                  </a:lnTo>
                  <a:lnTo>
                    <a:pt x="38100" y="51588"/>
                  </a:lnTo>
                  <a:lnTo>
                    <a:pt x="35889" y="51006"/>
                  </a:lnTo>
                  <a:lnTo>
                    <a:pt x="35180" y="50581"/>
                  </a:lnTo>
                  <a:lnTo>
                    <a:pt x="34110" y="50196"/>
                  </a:lnTo>
                  <a:lnTo>
                    <a:pt x="29614" y="50671"/>
                  </a:lnTo>
                  <a:lnTo>
                    <a:pt x="29073" y="50325"/>
                  </a:lnTo>
                  <a:lnTo>
                    <a:pt x="27523" y="51166"/>
                  </a:lnTo>
                  <a:lnTo>
                    <a:pt x="25235" y="52166"/>
                  </a:lnTo>
                  <a:lnTo>
                    <a:pt x="23951" y="52225"/>
                  </a:lnTo>
                  <a:lnTo>
                    <a:pt x="23486" y="52013"/>
                  </a:lnTo>
                  <a:lnTo>
                    <a:pt x="23315" y="51562"/>
                  </a:lnTo>
                  <a:lnTo>
                    <a:pt x="22353" y="50001"/>
                  </a:lnTo>
                  <a:lnTo>
                    <a:pt x="22606" y="49172"/>
                  </a:lnTo>
                  <a:lnTo>
                    <a:pt x="24449" y="46755"/>
                  </a:lnTo>
                  <a:lnTo>
                    <a:pt x="24243" y="46177"/>
                  </a:lnTo>
                  <a:lnTo>
                    <a:pt x="23485" y="45395"/>
                  </a:lnTo>
                  <a:lnTo>
                    <a:pt x="22808" y="44266"/>
                  </a:lnTo>
                  <a:lnTo>
                    <a:pt x="22612" y="43686"/>
                  </a:lnTo>
                  <a:lnTo>
                    <a:pt x="21440" y="43587"/>
                  </a:lnTo>
                  <a:lnTo>
                    <a:pt x="20191" y="44180"/>
                  </a:lnTo>
                  <a:lnTo>
                    <a:pt x="15425" y="45396"/>
                  </a:lnTo>
                  <a:lnTo>
                    <a:pt x="14285" y="45837"/>
                  </a:lnTo>
                  <a:lnTo>
                    <a:pt x="12221" y="47012"/>
                  </a:lnTo>
                  <a:lnTo>
                    <a:pt x="10139" y="48801"/>
                  </a:lnTo>
                  <a:lnTo>
                    <a:pt x="8476" y="49177"/>
                  </a:lnTo>
                  <a:lnTo>
                    <a:pt x="7902" y="48647"/>
                  </a:lnTo>
                  <a:lnTo>
                    <a:pt x="7705" y="44441"/>
                  </a:lnTo>
                  <a:lnTo>
                    <a:pt x="10242" y="41641"/>
                  </a:lnTo>
                  <a:lnTo>
                    <a:pt x="12045" y="39949"/>
                  </a:lnTo>
                  <a:lnTo>
                    <a:pt x="11199" y="39608"/>
                  </a:lnTo>
                  <a:lnTo>
                    <a:pt x="9284" y="39654"/>
                  </a:lnTo>
                  <a:lnTo>
                    <a:pt x="9413" y="38344"/>
                  </a:lnTo>
                  <a:lnTo>
                    <a:pt x="10310" y="37713"/>
                  </a:lnTo>
                  <a:lnTo>
                    <a:pt x="11181" y="36286"/>
                  </a:lnTo>
                  <a:lnTo>
                    <a:pt x="10160" y="35670"/>
                  </a:lnTo>
                  <a:lnTo>
                    <a:pt x="9366" y="34731"/>
                  </a:lnTo>
                  <a:lnTo>
                    <a:pt x="9414" y="32269"/>
                  </a:lnTo>
                  <a:lnTo>
                    <a:pt x="9636" y="31266"/>
                  </a:lnTo>
                  <a:lnTo>
                    <a:pt x="9379" y="30187"/>
                  </a:lnTo>
                  <a:lnTo>
                    <a:pt x="5481" y="31647"/>
                  </a:lnTo>
                  <a:lnTo>
                    <a:pt x="4479" y="31428"/>
                  </a:lnTo>
                  <a:lnTo>
                    <a:pt x="4436" y="29599"/>
                  </a:lnTo>
                  <a:lnTo>
                    <a:pt x="6599" y="26810"/>
                  </a:lnTo>
                  <a:lnTo>
                    <a:pt x="6821" y="25958"/>
                  </a:lnTo>
                  <a:lnTo>
                    <a:pt x="4291" y="25545"/>
                  </a:lnTo>
                  <a:lnTo>
                    <a:pt x="2398" y="24174"/>
                  </a:lnTo>
                  <a:lnTo>
                    <a:pt x="1243" y="22949"/>
                  </a:lnTo>
                  <a:lnTo>
                    <a:pt x="10" y="21184"/>
                  </a:lnTo>
                  <a:lnTo>
                    <a:pt x="0" y="19606"/>
                  </a:lnTo>
                  <a:lnTo>
                    <a:pt x="1273" y="15897"/>
                  </a:lnTo>
                  <a:lnTo>
                    <a:pt x="3098" y="14818"/>
                  </a:lnTo>
                  <a:lnTo>
                    <a:pt x="4669" y="14154"/>
                  </a:lnTo>
                  <a:lnTo>
                    <a:pt x="8004" y="11588"/>
                  </a:lnTo>
                  <a:lnTo>
                    <a:pt x="12605" y="12067"/>
                  </a:lnTo>
                  <a:lnTo>
                    <a:pt x="15448" y="11517"/>
                  </a:lnTo>
                  <a:lnTo>
                    <a:pt x="18001" y="10206"/>
                  </a:lnTo>
                  <a:lnTo>
                    <a:pt x="19463" y="9910"/>
                  </a:lnTo>
                  <a:lnTo>
                    <a:pt x="21819" y="8764"/>
                  </a:lnTo>
                  <a:lnTo>
                    <a:pt x="21745" y="7216"/>
                  </a:lnTo>
                  <a:lnTo>
                    <a:pt x="20936" y="6066"/>
                  </a:lnTo>
                  <a:lnTo>
                    <a:pt x="21646" y="4981"/>
                  </a:lnTo>
                  <a:lnTo>
                    <a:pt x="24290" y="3656"/>
                  </a:lnTo>
                  <a:lnTo>
                    <a:pt x="27219" y="1894"/>
                  </a:lnTo>
                  <a:lnTo>
                    <a:pt x="30580" y="1554"/>
                  </a:lnTo>
                  <a:close/>
                </a:path>
              </a:pathLst>
            </a:custGeom>
            <a:solidFill>
              <a:srgbClr val="A3BA1E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46" name="ee4p_EE_1_82333">
              <a:extLst>
                <a:ext uri="{FF2B5EF4-FFF2-40B4-BE49-F238E27FC236}">
                  <a16:creationId xmlns:a16="http://schemas.microsoft.com/office/drawing/2014/main" id="{538B7BC5-15F3-D800-4711-972CBBFB5D96}"/>
                </a:ext>
              </a:extLst>
            </p:cNvPr>
            <p:cNvSpPr>
              <a:spLocks noChangeAspect="1"/>
            </p:cNvSpPr>
            <p:nvPr>
              <p:custDataLst>
                <p:tags r:id="rId74"/>
              </p:custDataLst>
            </p:nvPr>
          </p:nvSpPr>
          <p:spPr>
            <a:xfrm>
              <a:off x="7121585" y="2735037"/>
              <a:ext cx="174852" cy="88190"/>
            </a:xfrm>
            <a:custGeom>
              <a:avLst/>
              <a:gdLst>
                <a:gd name="connsiteX0" fmla="*/ 15312 w 139231"/>
                <a:gd name="connsiteY0" fmla="*/ 32990 h 68362"/>
                <a:gd name="connsiteX1" fmla="*/ 16869 w 139231"/>
                <a:gd name="connsiteY1" fmla="*/ 33189 h 68362"/>
                <a:gd name="connsiteX2" fmla="*/ 18439 w 139231"/>
                <a:gd name="connsiteY2" fmla="*/ 33973 h 68362"/>
                <a:gd name="connsiteX3" fmla="*/ 19886 w 139231"/>
                <a:gd name="connsiteY3" fmla="*/ 33725 h 68362"/>
                <a:gd name="connsiteX4" fmla="*/ 21352 w 139231"/>
                <a:gd name="connsiteY4" fmla="*/ 33180 h 68362"/>
                <a:gd name="connsiteX5" fmla="*/ 24539 w 139231"/>
                <a:gd name="connsiteY5" fmla="*/ 33692 h 68362"/>
                <a:gd name="connsiteX6" fmla="*/ 31805 w 139231"/>
                <a:gd name="connsiteY6" fmla="*/ 37642 h 68362"/>
                <a:gd name="connsiteX7" fmla="*/ 32477 w 139231"/>
                <a:gd name="connsiteY7" fmla="*/ 38697 h 68362"/>
                <a:gd name="connsiteX8" fmla="*/ 28141 w 139231"/>
                <a:gd name="connsiteY8" fmla="*/ 39176 h 68362"/>
                <a:gd name="connsiteX9" fmla="*/ 27156 w 139231"/>
                <a:gd name="connsiteY9" fmla="*/ 40385 h 68362"/>
                <a:gd name="connsiteX10" fmla="*/ 26114 w 139231"/>
                <a:gd name="connsiteY10" fmla="*/ 41230 h 68362"/>
                <a:gd name="connsiteX11" fmla="*/ 24885 w 139231"/>
                <a:gd name="connsiteY11" fmla="*/ 41502 h 68362"/>
                <a:gd name="connsiteX12" fmla="*/ 22790 w 139231"/>
                <a:gd name="connsiteY12" fmla="*/ 43197 h 68362"/>
                <a:gd name="connsiteX13" fmla="*/ 19957 w 139231"/>
                <a:gd name="connsiteY13" fmla="*/ 44819 h 68362"/>
                <a:gd name="connsiteX14" fmla="*/ 19365 w 139231"/>
                <a:gd name="connsiteY14" fmla="*/ 45792 h 68362"/>
                <a:gd name="connsiteX15" fmla="*/ 14239 w 139231"/>
                <a:gd name="connsiteY15" fmla="*/ 45613 h 68362"/>
                <a:gd name="connsiteX16" fmla="*/ 11436 w 139231"/>
                <a:gd name="connsiteY16" fmla="*/ 46227 h 68362"/>
                <a:gd name="connsiteX17" fmla="*/ 9173 w 139231"/>
                <a:gd name="connsiteY17" fmla="*/ 48040 h 68362"/>
                <a:gd name="connsiteX18" fmla="*/ 8244 w 139231"/>
                <a:gd name="connsiteY18" fmla="*/ 51538 h 68362"/>
                <a:gd name="connsiteX19" fmla="*/ 6588 w 139231"/>
                <a:gd name="connsiteY19" fmla="*/ 54265 h 68362"/>
                <a:gd name="connsiteX20" fmla="*/ 4904 w 139231"/>
                <a:gd name="connsiteY20" fmla="*/ 55250 h 68362"/>
                <a:gd name="connsiteX21" fmla="*/ 3148 w 139231"/>
                <a:gd name="connsiteY21" fmla="*/ 55400 h 68362"/>
                <a:gd name="connsiteX22" fmla="*/ 2732 w 139231"/>
                <a:gd name="connsiteY22" fmla="*/ 54377 h 68362"/>
                <a:gd name="connsiteX23" fmla="*/ 2898 w 139231"/>
                <a:gd name="connsiteY23" fmla="*/ 53355 h 68362"/>
                <a:gd name="connsiteX24" fmla="*/ 6599 w 139231"/>
                <a:gd name="connsiteY24" fmla="*/ 49499 h 68362"/>
                <a:gd name="connsiteX25" fmla="*/ 7368 w 139231"/>
                <a:gd name="connsiteY25" fmla="*/ 48246 h 68362"/>
                <a:gd name="connsiteX26" fmla="*/ 5526 w 139231"/>
                <a:gd name="connsiteY26" fmla="*/ 47689 h 68362"/>
                <a:gd name="connsiteX27" fmla="*/ 3982 w 139231"/>
                <a:gd name="connsiteY27" fmla="*/ 46348 h 68362"/>
                <a:gd name="connsiteX28" fmla="*/ 611 w 139231"/>
                <a:gd name="connsiteY28" fmla="*/ 44772 h 68362"/>
                <a:gd name="connsiteX29" fmla="*/ 0 w 139231"/>
                <a:gd name="connsiteY29" fmla="*/ 43506 h 68362"/>
                <a:gd name="connsiteX30" fmla="*/ 808 w 139231"/>
                <a:gd name="connsiteY30" fmla="*/ 43412 h 68362"/>
                <a:gd name="connsiteX31" fmla="*/ 1546 w 139231"/>
                <a:gd name="connsiteY31" fmla="*/ 43049 h 68362"/>
                <a:gd name="connsiteX32" fmla="*/ 2444 w 139231"/>
                <a:gd name="connsiteY32" fmla="*/ 41987 h 68362"/>
                <a:gd name="connsiteX33" fmla="*/ 2865 w 139231"/>
                <a:gd name="connsiteY33" fmla="*/ 40767 h 68362"/>
                <a:gd name="connsiteX34" fmla="*/ 173 w 139231"/>
                <a:gd name="connsiteY34" fmla="*/ 37200 h 68362"/>
                <a:gd name="connsiteX35" fmla="*/ 1546 w 139231"/>
                <a:gd name="connsiteY35" fmla="*/ 36648 h 68362"/>
                <a:gd name="connsiteX36" fmla="*/ 3258 w 139231"/>
                <a:gd name="connsiteY36" fmla="*/ 36778 h 68362"/>
                <a:gd name="connsiteX37" fmla="*/ 5016 w 139231"/>
                <a:gd name="connsiteY37" fmla="*/ 37815 h 68362"/>
                <a:gd name="connsiteX38" fmla="*/ 6945 w 139231"/>
                <a:gd name="connsiteY38" fmla="*/ 36598 h 68362"/>
                <a:gd name="connsiteX39" fmla="*/ 7763 w 139231"/>
                <a:gd name="connsiteY39" fmla="*/ 36418 h 68362"/>
                <a:gd name="connsiteX40" fmla="*/ 9113 w 139231"/>
                <a:gd name="connsiteY40" fmla="*/ 36852 h 68362"/>
                <a:gd name="connsiteX41" fmla="*/ 10473 w 139231"/>
                <a:gd name="connsiteY41" fmla="*/ 34496 h 68362"/>
                <a:gd name="connsiteX42" fmla="*/ 13708 w 139231"/>
                <a:gd name="connsiteY42" fmla="*/ 33718 h 68362"/>
                <a:gd name="connsiteX43" fmla="*/ 28987 w 139231"/>
                <a:gd name="connsiteY43" fmla="*/ 31348 h 68362"/>
                <a:gd name="connsiteX44" fmla="*/ 32689 w 139231"/>
                <a:gd name="connsiteY44" fmla="*/ 32304 h 68362"/>
                <a:gd name="connsiteX45" fmla="*/ 33211 w 139231"/>
                <a:gd name="connsiteY45" fmla="*/ 34668 h 68362"/>
                <a:gd name="connsiteX46" fmla="*/ 32926 w 139231"/>
                <a:gd name="connsiteY46" fmla="*/ 35482 h 68362"/>
                <a:gd name="connsiteX47" fmla="*/ 31086 w 139231"/>
                <a:gd name="connsiteY47" fmla="*/ 35817 h 68362"/>
                <a:gd name="connsiteX48" fmla="*/ 26733 w 139231"/>
                <a:gd name="connsiteY48" fmla="*/ 33518 h 68362"/>
                <a:gd name="connsiteX49" fmla="*/ 27742 w 139231"/>
                <a:gd name="connsiteY49" fmla="*/ 31960 h 68362"/>
                <a:gd name="connsiteX50" fmla="*/ 17577 w 139231"/>
                <a:gd name="connsiteY50" fmla="*/ 18061 h 68362"/>
                <a:gd name="connsiteX51" fmla="*/ 18746 w 139231"/>
                <a:gd name="connsiteY51" fmla="*/ 18475 h 68362"/>
                <a:gd name="connsiteX52" fmla="*/ 18966 w 139231"/>
                <a:gd name="connsiteY52" fmla="*/ 19857 h 68362"/>
                <a:gd name="connsiteX53" fmla="*/ 19260 w 139231"/>
                <a:gd name="connsiteY53" fmla="*/ 20406 h 68362"/>
                <a:gd name="connsiteX54" fmla="*/ 23337 w 139231"/>
                <a:gd name="connsiteY54" fmla="*/ 21184 h 68362"/>
                <a:gd name="connsiteX55" fmla="*/ 24924 w 139231"/>
                <a:gd name="connsiteY55" fmla="*/ 23505 h 68362"/>
                <a:gd name="connsiteX56" fmla="*/ 25522 w 139231"/>
                <a:gd name="connsiteY56" fmla="*/ 26295 h 68362"/>
                <a:gd name="connsiteX57" fmla="*/ 23643 w 139231"/>
                <a:gd name="connsiteY57" fmla="*/ 26524 h 68362"/>
                <a:gd name="connsiteX58" fmla="*/ 21829 w 139231"/>
                <a:gd name="connsiteY58" fmla="*/ 28128 h 68362"/>
                <a:gd name="connsiteX59" fmla="*/ 20749 w 139231"/>
                <a:gd name="connsiteY59" fmla="*/ 27487 h 68362"/>
                <a:gd name="connsiteX60" fmla="*/ 20184 w 139231"/>
                <a:gd name="connsiteY60" fmla="*/ 26718 h 68362"/>
                <a:gd name="connsiteX61" fmla="*/ 17843 w 139231"/>
                <a:gd name="connsiteY61" fmla="*/ 30342 h 68362"/>
                <a:gd name="connsiteX62" fmla="*/ 15206 w 139231"/>
                <a:gd name="connsiteY62" fmla="*/ 30963 h 68362"/>
                <a:gd name="connsiteX63" fmla="*/ 13669 w 139231"/>
                <a:gd name="connsiteY63" fmla="*/ 30248 h 68362"/>
                <a:gd name="connsiteX64" fmla="*/ 13807 w 139231"/>
                <a:gd name="connsiteY64" fmla="*/ 28895 h 68362"/>
                <a:gd name="connsiteX65" fmla="*/ 12306 w 139231"/>
                <a:gd name="connsiteY65" fmla="*/ 25339 h 68362"/>
                <a:gd name="connsiteX66" fmla="*/ 10015 w 139231"/>
                <a:gd name="connsiteY66" fmla="*/ 24297 h 68362"/>
                <a:gd name="connsiteX67" fmla="*/ 6798 w 139231"/>
                <a:gd name="connsiteY67" fmla="*/ 24199 h 68362"/>
                <a:gd name="connsiteX68" fmla="*/ 4461 w 139231"/>
                <a:gd name="connsiteY68" fmla="*/ 22732 h 68362"/>
                <a:gd name="connsiteX69" fmla="*/ 13446 w 139231"/>
                <a:gd name="connsiteY69" fmla="*/ 21733 h 68362"/>
                <a:gd name="connsiteX70" fmla="*/ 14375 w 139231"/>
                <a:gd name="connsiteY70" fmla="*/ 20036 h 68362"/>
                <a:gd name="connsiteX71" fmla="*/ 16202 w 139231"/>
                <a:gd name="connsiteY71" fmla="*/ 18254 h 68362"/>
                <a:gd name="connsiteX72" fmla="*/ 80815 w 139231"/>
                <a:gd name="connsiteY72" fmla="*/ 0 h 68362"/>
                <a:gd name="connsiteX73" fmla="*/ 83169 w 139231"/>
                <a:gd name="connsiteY73" fmla="*/ 377 h 68362"/>
                <a:gd name="connsiteX74" fmla="*/ 87105 w 139231"/>
                <a:gd name="connsiteY74" fmla="*/ 143 h 68362"/>
                <a:gd name="connsiteX75" fmla="*/ 101856 w 139231"/>
                <a:gd name="connsiteY75" fmla="*/ 2795 h 68362"/>
                <a:gd name="connsiteX76" fmla="*/ 105486 w 139231"/>
                <a:gd name="connsiteY76" fmla="*/ 2795 h 68362"/>
                <a:gd name="connsiteX77" fmla="*/ 110506 w 139231"/>
                <a:gd name="connsiteY77" fmla="*/ 5489 h 68362"/>
                <a:gd name="connsiteX78" fmla="*/ 113219 w 139231"/>
                <a:gd name="connsiteY78" fmla="*/ 6182 h 68362"/>
                <a:gd name="connsiteX79" fmla="*/ 121204 w 139231"/>
                <a:gd name="connsiteY79" fmla="*/ 6187 h 68362"/>
                <a:gd name="connsiteX80" fmla="*/ 133515 w 139231"/>
                <a:gd name="connsiteY80" fmla="*/ 7375 h 68362"/>
                <a:gd name="connsiteX81" fmla="*/ 135931 w 139231"/>
                <a:gd name="connsiteY81" fmla="*/ 5553 h 68362"/>
                <a:gd name="connsiteX82" fmla="*/ 136166 w 139231"/>
                <a:gd name="connsiteY82" fmla="*/ 5079 h 68362"/>
                <a:gd name="connsiteX83" fmla="*/ 137345 w 139231"/>
                <a:gd name="connsiteY83" fmla="*/ 6099 h 68362"/>
                <a:gd name="connsiteX84" fmla="*/ 138831 w 139231"/>
                <a:gd name="connsiteY84" fmla="*/ 7740 h 68362"/>
                <a:gd name="connsiteX85" fmla="*/ 139231 w 139231"/>
                <a:gd name="connsiteY85" fmla="*/ 8678 h 68362"/>
                <a:gd name="connsiteX86" fmla="*/ 138728 w 139231"/>
                <a:gd name="connsiteY86" fmla="*/ 9229 h 68362"/>
                <a:gd name="connsiteX87" fmla="*/ 137246 w 139231"/>
                <a:gd name="connsiteY87" fmla="*/ 9697 h 68362"/>
                <a:gd name="connsiteX88" fmla="*/ 136909 w 139231"/>
                <a:gd name="connsiteY88" fmla="*/ 10202 h 68362"/>
                <a:gd name="connsiteX89" fmla="*/ 136253 w 139231"/>
                <a:gd name="connsiteY89" fmla="*/ 11056 h 68362"/>
                <a:gd name="connsiteX90" fmla="*/ 134523 w 139231"/>
                <a:gd name="connsiteY90" fmla="*/ 11210 h 68362"/>
                <a:gd name="connsiteX91" fmla="*/ 133627 w 139231"/>
                <a:gd name="connsiteY91" fmla="*/ 11843 h 68362"/>
                <a:gd name="connsiteX92" fmla="*/ 132562 w 139231"/>
                <a:gd name="connsiteY92" fmla="*/ 14618 h 68362"/>
                <a:gd name="connsiteX93" fmla="*/ 130530 w 139231"/>
                <a:gd name="connsiteY93" fmla="*/ 19205 h 68362"/>
                <a:gd name="connsiteX94" fmla="*/ 127527 w 139231"/>
                <a:gd name="connsiteY94" fmla="*/ 22688 h 68362"/>
                <a:gd name="connsiteX95" fmla="*/ 125123 w 139231"/>
                <a:gd name="connsiteY95" fmla="*/ 24595 h 68362"/>
                <a:gd name="connsiteX96" fmla="*/ 124048 w 139231"/>
                <a:gd name="connsiteY96" fmla="*/ 26056 h 68362"/>
                <a:gd name="connsiteX97" fmla="*/ 123378 w 139231"/>
                <a:gd name="connsiteY97" fmla="*/ 27810 h 68362"/>
                <a:gd name="connsiteX98" fmla="*/ 123221 w 139231"/>
                <a:gd name="connsiteY98" fmla="*/ 29568 h 68362"/>
                <a:gd name="connsiteX99" fmla="*/ 125527 w 139231"/>
                <a:gd name="connsiteY99" fmla="*/ 39200 h 68362"/>
                <a:gd name="connsiteX100" fmla="*/ 125499 w 139231"/>
                <a:gd name="connsiteY100" fmla="*/ 40934 h 68362"/>
                <a:gd name="connsiteX101" fmla="*/ 124957 w 139231"/>
                <a:gd name="connsiteY101" fmla="*/ 42713 h 68362"/>
                <a:gd name="connsiteX102" fmla="*/ 124564 w 139231"/>
                <a:gd name="connsiteY102" fmla="*/ 44524 h 68362"/>
                <a:gd name="connsiteX103" fmla="*/ 124888 w 139231"/>
                <a:gd name="connsiteY103" fmla="*/ 46092 h 68362"/>
                <a:gd name="connsiteX104" fmla="*/ 126406 w 139231"/>
                <a:gd name="connsiteY104" fmla="*/ 48768 h 68362"/>
                <a:gd name="connsiteX105" fmla="*/ 128021 w 139231"/>
                <a:gd name="connsiteY105" fmla="*/ 52754 h 68362"/>
                <a:gd name="connsiteX106" fmla="*/ 128669 w 139231"/>
                <a:gd name="connsiteY106" fmla="*/ 55296 h 68362"/>
                <a:gd name="connsiteX107" fmla="*/ 129742 w 139231"/>
                <a:gd name="connsiteY107" fmla="*/ 56229 h 68362"/>
                <a:gd name="connsiteX108" fmla="*/ 130776 w 139231"/>
                <a:gd name="connsiteY108" fmla="*/ 56912 h 68362"/>
                <a:gd name="connsiteX109" fmla="*/ 130993 w 139231"/>
                <a:gd name="connsiteY109" fmla="*/ 57342 h 68362"/>
                <a:gd name="connsiteX110" fmla="*/ 130958 w 139231"/>
                <a:gd name="connsiteY110" fmla="*/ 57789 h 68362"/>
                <a:gd name="connsiteX111" fmla="*/ 130425 w 139231"/>
                <a:gd name="connsiteY111" fmla="*/ 58292 h 68362"/>
                <a:gd name="connsiteX112" fmla="*/ 125765 w 139231"/>
                <a:gd name="connsiteY112" fmla="*/ 59622 h 68362"/>
                <a:gd name="connsiteX113" fmla="*/ 125160 w 139231"/>
                <a:gd name="connsiteY113" fmla="*/ 60748 h 68362"/>
                <a:gd name="connsiteX114" fmla="*/ 124657 w 139231"/>
                <a:gd name="connsiteY114" fmla="*/ 62002 h 68362"/>
                <a:gd name="connsiteX115" fmla="*/ 122623 w 139231"/>
                <a:gd name="connsiteY115" fmla="*/ 63858 h 68362"/>
                <a:gd name="connsiteX116" fmla="*/ 121999 w 139231"/>
                <a:gd name="connsiteY116" fmla="*/ 65588 h 68362"/>
                <a:gd name="connsiteX117" fmla="*/ 121612 w 139231"/>
                <a:gd name="connsiteY117" fmla="*/ 67573 h 68362"/>
                <a:gd name="connsiteX118" fmla="*/ 121560 w 139231"/>
                <a:gd name="connsiteY118" fmla="*/ 68279 h 68362"/>
                <a:gd name="connsiteX119" fmla="*/ 120999 w 139231"/>
                <a:gd name="connsiteY119" fmla="*/ 68362 h 68362"/>
                <a:gd name="connsiteX120" fmla="*/ 117915 w 139231"/>
                <a:gd name="connsiteY120" fmla="*/ 67954 h 68362"/>
                <a:gd name="connsiteX121" fmla="*/ 114517 w 139231"/>
                <a:gd name="connsiteY121" fmla="*/ 66666 h 68362"/>
                <a:gd name="connsiteX122" fmla="*/ 113026 w 139231"/>
                <a:gd name="connsiteY122" fmla="*/ 65698 h 68362"/>
                <a:gd name="connsiteX123" fmla="*/ 111563 w 139231"/>
                <a:gd name="connsiteY123" fmla="*/ 65708 h 68362"/>
                <a:gd name="connsiteX124" fmla="*/ 109792 w 139231"/>
                <a:gd name="connsiteY124" fmla="*/ 66348 h 68362"/>
                <a:gd name="connsiteX125" fmla="*/ 103443 w 139231"/>
                <a:gd name="connsiteY125" fmla="*/ 68187 h 68362"/>
                <a:gd name="connsiteX126" fmla="*/ 101884 w 139231"/>
                <a:gd name="connsiteY126" fmla="*/ 67758 h 68362"/>
                <a:gd name="connsiteX127" fmla="*/ 98256 w 139231"/>
                <a:gd name="connsiteY127" fmla="*/ 65954 h 68362"/>
                <a:gd name="connsiteX128" fmla="*/ 96421 w 139231"/>
                <a:gd name="connsiteY128" fmla="*/ 63988 h 68362"/>
                <a:gd name="connsiteX129" fmla="*/ 92337 w 139231"/>
                <a:gd name="connsiteY129" fmla="*/ 60066 h 68362"/>
                <a:gd name="connsiteX130" fmla="*/ 92003 w 139231"/>
                <a:gd name="connsiteY130" fmla="*/ 59132 h 68362"/>
                <a:gd name="connsiteX131" fmla="*/ 91469 w 139231"/>
                <a:gd name="connsiteY131" fmla="*/ 58383 h 68362"/>
                <a:gd name="connsiteX132" fmla="*/ 87105 w 139231"/>
                <a:gd name="connsiteY132" fmla="*/ 57411 h 68362"/>
                <a:gd name="connsiteX133" fmla="*/ 85494 w 139231"/>
                <a:gd name="connsiteY133" fmla="*/ 55962 h 68362"/>
                <a:gd name="connsiteX134" fmla="*/ 84151 w 139231"/>
                <a:gd name="connsiteY134" fmla="*/ 55759 h 68362"/>
                <a:gd name="connsiteX135" fmla="*/ 82186 w 139231"/>
                <a:gd name="connsiteY135" fmla="*/ 55035 h 68362"/>
                <a:gd name="connsiteX136" fmla="*/ 77073 w 139231"/>
                <a:gd name="connsiteY136" fmla="*/ 51935 h 68362"/>
                <a:gd name="connsiteX137" fmla="*/ 75803 w 139231"/>
                <a:gd name="connsiteY137" fmla="*/ 51645 h 68362"/>
                <a:gd name="connsiteX138" fmla="*/ 75494 w 139231"/>
                <a:gd name="connsiteY138" fmla="*/ 52167 h 68362"/>
                <a:gd name="connsiteX139" fmla="*/ 75583 w 139231"/>
                <a:gd name="connsiteY139" fmla="*/ 52900 h 68362"/>
                <a:gd name="connsiteX140" fmla="*/ 75265 w 139231"/>
                <a:gd name="connsiteY140" fmla="*/ 53324 h 68362"/>
                <a:gd name="connsiteX141" fmla="*/ 74611 w 139231"/>
                <a:gd name="connsiteY141" fmla="*/ 53310 h 68362"/>
                <a:gd name="connsiteX142" fmla="*/ 73428 w 139231"/>
                <a:gd name="connsiteY142" fmla="*/ 52170 h 68362"/>
                <a:gd name="connsiteX143" fmla="*/ 72009 w 139231"/>
                <a:gd name="connsiteY143" fmla="*/ 51166 h 68362"/>
                <a:gd name="connsiteX144" fmla="*/ 67593 w 139231"/>
                <a:gd name="connsiteY144" fmla="*/ 53053 h 68362"/>
                <a:gd name="connsiteX145" fmla="*/ 65995 w 139231"/>
                <a:gd name="connsiteY145" fmla="*/ 53562 h 68362"/>
                <a:gd name="connsiteX146" fmla="*/ 64596 w 139231"/>
                <a:gd name="connsiteY146" fmla="*/ 53673 h 68362"/>
                <a:gd name="connsiteX147" fmla="*/ 57589 w 139231"/>
                <a:gd name="connsiteY147" fmla="*/ 56153 h 68362"/>
                <a:gd name="connsiteX148" fmla="*/ 55457 w 139231"/>
                <a:gd name="connsiteY148" fmla="*/ 57488 h 68362"/>
                <a:gd name="connsiteX149" fmla="*/ 54574 w 139231"/>
                <a:gd name="connsiteY149" fmla="*/ 57345 h 68362"/>
                <a:gd name="connsiteX150" fmla="*/ 54783 w 139231"/>
                <a:gd name="connsiteY150" fmla="*/ 56092 h 68362"/>
                <a:gd name="connsiteX151" fmla="*/ 57699 w 139231"/>
                <a:gd name="connsiteY151" fmla="*/ 49800 h 68362"/>
                <a:gd name="connsiteX152" fmla="*/ 58221 w 139231"/>
                <a:gd name="connsiteY152" fmla="*/ 44795 h 68362"/>
                <a:gd name="connsiteX153" fmla="*/ 59288 w 139231"/>
                <a:gd name="connsiteY153" fmla="*/ 44107 h 68362"/>
                <a:gd name="connsiteX154" fmla="*/ 59597 w 139231"/>
                <a:gd name="connsiteY154" fmla="*/ 43412 h 68362"/>
                <a:gd name="connsiteX155" fmla="*/ 59141 w 139231"/>
                <a:gd name="connsiteY155" fmla="*/ 41812 h 68362"/>
                <a:gd name="connsiteX156" fmla="*/ 56114 w 139231"/>
                <a:gd name="connsiteY156" fmla="*/ 40786 h 68362"/>
                <a:gd name="connsiteX157" fmla="*/ 54892 w 139231"/>
                <a:gd name="connsiteY157" fmla="*/ 40937 h 68362"/>
                <a:gd name="connsiteX158" fmla="*/ 53792 w 139231"/>
                <a:gd name="connsiteY158" fmla="*/ 42657 h 68362"/>
                <a:gd name="connsiteX159" fmla="*/ 52652 w 139231"/>
                <a:gd name="connsiteY159" fmla="*/ 43896 h 68362"/>
                <a:gd name="connsiteX160" fmla="*/ 49981 w 139231"/>
                <a:gd name="connsiteY160" fmla="*/ 44651 h 68362"/>
                <a:gd name="connsiteX161" fmla="*/ 47684 w 139231"/>
                <a:gd name="connsiteY161" fmla="*/ 43346 h 68362"/>
                <a:gd name="connsiteX162" fmla="*/ 42302 w 139231"/>
                <a:gd name="connsiteY162" fmla="*/ 41600 h 68362"/>
                <a:gd name="connsiteX163" fmla="*/ 40942 w 139231"/>
                <a:gd name="connsiteY163" fmla="*/ 39272 h 68362"/>
                <a:gd name="connsiteX164" fmla="*/ 40620 w 139231"/>
                <a:gd name="connsiteY164" fmla="*/ 36928 h 68362"/>
                <a:gd name="connsiteX165" fmla="*/ 37774 w 139231"/>
                <a:gd name="connsiteY165" fmla="*/ 34658 h 68362"/>
                <a:gd name="connsiteX166" fmla="*/ 36591 w 139231"/>
                <a:gd name="connsiteY166" fmla="*/ 31982 h 68362"/>
                <a:gd name="connsiteX167" fmla="*/ 37064 w 139231"/>
                <a:gd name="connsiteY167" fmla="*/ 30112 h 68362"/>
                <a:gd name="connsiteX168" fmla="*/ 39646 w 139231"/>
                <a:gd name="connsiteY168" fmla="*/ 28884 h 68362"/>
                <a:gd name="connsiteX169" fmla="*/ 40383 w 139231"/>
                <a:gd name="connsiteY169" fmla="*/ 27813 h 68362"/>
                <a:gd name="connsiteX170" fmla="*/ 37128 w 139231"/>
                <a:gd name="connsiteY170" fmla="*/ 27983 h 68362"/>
                <a:gd name="connsiteX171" fmla="*/ 36466 w 139231"/>
                <a:gd name="connsiteY171" fmla="*/ 27726 h 68362"/>
                <a:gd name="connsiteX172" fmla="*/ 36323 w 139231"/>
                <a:gd name="connsiteY172" fmla="*/ 26763 h 68362"/>
                <a:gd name="connsiteX173" fmla="*/ 34883 w 139231"/>
                <a:gd name="connsiteY173" fmla="*/ 23478 h 68362"/>
                <a:gd name="connsiteX174" fmla="*/ 36157 w 139231"/>
                <a:gd name="connsiteY174" fmla="*/ 22183 h 68362"/>
                <a:gd name="connsiteX175" fmla="*/ 36718 w 139231"/>
                <a:gd name="connsiteY175" fmla="*/ 20923 h 68362"/>
                <a:gd name="connsiteX176" fmla="*/ 35673 w 139231"/>
                <a:gd name="connsiteY176" fmla="*/ 19850 h 68362"/>
                <a:gd name="connsiteX177" fmla="*/ 35947 w 139231"/>
                <a:gd name="connsiteY177" fmla="*/ 18629 h 68362"/>
                <a:gd name="connsiteX178" fmla="*/ 36761 w 139231"/>
                <a:gd name="connsiteY178" fmla="*/ 17394 h 68362"/>
                <a:gd name="connsiteX179" fmla="*/ 36262 w 139231"/>
                <a:gd name="connsiteY179" fmla="*/ 14521 h 68362"/>
                <a:gd name="connsiteX180" fmla="*/ 39493 w 139231"/>
                <a:gd name="connsiteY180" fmla="*/ 12997 h 68362"/>
                <a:gd name="connsiteX181" fmla="*/ 42633 w 139231"/>
                <a:gd name="connsiteY181" fmla="*/ 11924 h 68362"/>
                <a:gd name="connsiteX182" fmla="*/ 49286 w 139231"/>
                <a:gd name="connsiteY182" fmla="*/ 11377 h 68362"/>
                <a:gd name="connsiteX183" fmla="*/ 48627 w 139231"/>
                <a:gd name="connsiteY183" fmla="*/ 8747 h 68362"/>
                <a:gd name="connsiteX184" fmla="*/ 51320 w 139231"/>
                <a:gd name="connsiteY184" fmla="*/ 8628 h 68362"/>
                <a:gd name="connsiteX185" fmla="*/ 55852 w 139231"/>
                <a:gd name="connsiteY185" fmla="*/ 5460 h 68362"/>
                <a:gd name="connsiteX186" fmla="*/ 60346 w 139231"/>
                <a:gd name="connsiteY186" fmla="*/ 6017 h 68362"/>
                <a:gd name="connsiteX187" fmla="*/ 66846 w 139231"/>
                <a:gd name="connsiteY187" fmla="*/ 3840 h 68362"/>
                <a:gd name="connsiteX188" fmla="*/ 79366 w 139231"/>
                <a:gd name="connsiteY188" fmla="*/ 3870 h 68362"/>
                <a:gd name="connsiteX189" fmla="*/ 81072 w 139231"/>
                <a:gd name="connsiteY189" fmla="*/ 2612 h 68362"/>
                <a:gd name="connsiteX190" fmla="*/ 80774 w 139231"/>
                <a:gd name="connsiteY190" fmla="*/ 1348 h 68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</a:cxnLst>
              <a:rect l="l" t="t" r="r" b="b"/>
              <a:pathLst>
                <a:path w="139231" h="68362">
                  <a:moveTo>
                    <a:pt x="15312" y="32990"/>
                  </a:moveTo>
                  <a:lnTo>
                    <a:pt x="16869" y="33189"/>
                  </a:lnTo>
                  <a:lnTo>
                    <a:pt x="18439" y="33973"/>
                  </a:lnTo>
                  <a:lnTo>
                    <a:pt x="19886" y="33725"/>
                  </a:lnTo>
                  <a:lnTo>
                    <a:pt x="21352" y="33180"/>
                  </a:lnTo>
                  <a:lnTo>
                    <a:pt x="24539" y="33692"/>
                  </a:lnTo>
                  <a:lnTo>
                    <a:pt x="31805" y="37642"/>
                  </a:lnTo>
                  <a:lnTo>
                    <a:pt x="32477" y="38697"/>
                  </a:lnTo>
                  <a:lnTo>
                    <a:pt x="28141" y="39176"/>
                  </a:lnTo>
                  <a:lnTo>
                    <a:pt x="27156" y="40385"/>
                  </a:lnTo>
                  <a:lnTo>
                    <a:pt x="26114" y="41230"/>
                  </a:lnTo>
                  <a:lnTo>
                    <a:pt x="24885" y="41502"/>
                  </a:lnTo>
                  <a:lnTo>
                    <a:pt x="22790" y="43197"/>
                  </a:lnTo>
                  <a:lnTo>
                    <a:pt x="19957" y="44819"/>
                  </a:lnTo>
                  <a:lnTo>
                    <a:pt x="19365" y="45792"/>
                  </a:lnTo>
                  <a:lnTo>
                    <a:pt x="14239" y="45613"/>
                  </a:lnTo>
                  <a:lnTo>
                    <a:pt x="11436" y="46227"/>
                  </a:lnTo>
                  <a:lnTo>
                    <a:pt x="9173" y="48040"/>
                  </a:lnTo>
                  <a:lnTo>
                    <a:pt x="8244" y="51538"/>
                  </a:lnTo>
                  <a:lnTo>
                    <a:pt x="6588" y="54265"/>
                  </a:lnTo>
                  <a:lnTo>
                    <a:pt x="4904" y="55250"/>
                  </a:lnTo>
                  <a:lnTo>
                    <a:pt x="3148" y="55400"/>
                  </a:lnTo>
                  <a:lnTo>
                    <a:pt x="2732" y="54377"/>
                  </a:lnTo>
                  <a:lnTo>
                    <a:pt x="2898" y="53355"/>
                  </a:lnTo>
                  <a:lnTo>
                    <a:pt x="6599" y="49499"/>
                  </a:lnTo>
                  <a:lnTo>
                    <a:pt x="7368" y="48246"/>
                  </a:lnTo>
                  <a:lnTo>
                    <a:pt x="5526" y="47689"/>
                  </a:lnTo>
                  <a:lnTo>
                    <a:pt x="3982" y="46348"/>
                  </a:lnTo>
                  <a:lnTo>
                    <a:pt x="611" y="44772"/>
                  </a:lnTo>
                  <a:lnTo>
                    <a:pt x="0" y="43506"/>
                  </a:lnTo>
                  <a:lnTo>
                    <a:pt x="808" y="43412"/>
                  </a:lnTo>
                  <a:lnTo>
                    <a:pt x="1546" y="43049"/>
                  </a:lnTo>
                  <a:lnTo>
                    <a:pt x="2444" y="41987"/>
                  </a:lnTo>
                  <a:lnTo>
                    <a:pt x="2865" y="40767"/>
                  </a:lnTo>
                  <a:lnTo>
                    <a:pt x="173" y="37200"/>
                  </a:lnTo>
                  <a:lnTo>
                    <a:pt x="1546" y="36648"/>
                  </a:lnTo>
                  <a:lnTo>
                    <a:pt x="3258" y="36778"/>
                  </a:lnTo>
                  <a:lnTo>
                    <a:pt x="5016" y="37815"/>
                  </a:lnTo>
                  <a:lnTo>
                    <a:pt x="6945" y="36598"/>
                  </a:lnTo>
                  <a:lnTo>
                    <a:pt x="7763" y="36418"/>
                  </a:lnTo>
                  <a:lnTo>
                    <a:pt x="9113" y="36852"/>
                  </a:lnTo>
                  <a:lnTo>
                    <a:pt x="10473" y="34496"/>
                  </a:lnTo>
                  <a:lnTo>
                    <a:pt x="13708" y="33718"/>
                  </a:lnTo>
                  <a:close/>
                  <a:moveTo>
                    <a:pt x="28987" y="31348"/>
                  </a:moveTo>
                  <a:lnTo>
                    <a:pt x="32689" y="32304"/>
                  </a:lnTo>
                  <a:lnTo>
                    <a:pt x="33211" y="34668"/>
                  </a:lnTo>
                  <a:lnTo>
                    <a:pt x="32926" y="35482"/>
                  </a:lnTo>
                  <a:lnTo>
                    <a:pt x="31086" y="35817"/>
                  </a:lnTo>
                  <a:lnTo>
                    <a:pt x="26733" y="33518"/>
                  </a:lnTo>
                  <a:lnTo>
                    <a:pt x="27742" y="31960"/>
                  </a:lnTo>
                  <a:close/>
                  <a:moveTo>
                    <a:pt x="17577" y="18061"/>
                  </a:moveTo>
                  <a:lnTo>
                    <a:pt x="18746" y="18475"/>
                  </a:lnTo>
                  <a:lnTo>
                    <a:pt x="18966" y="19857"/>
                  </a:lnTo>
                  <a:lnTo>
                    <a:pt x="19260" y="20406"/>
                  </a:lnTo>
                  <a:lnTo>
                    <a:pt x="23337" y="21184"/>
                  </a:lnTo>
                  <a:lnTo>
                    <a:pt x="24924" y="23505"/>
                  </a:lnTo>
                  <a:lnTo>
                    <a:pt x="25522" y="26295"/>
                  </a:lnTo>
                  <a:lnTo>
                    <a:pt x="23643" y="26524"/>
                  </a:lnTo>
                  <a:lnTo>
                    <a:pt x="21829" y="28128"/>
                  </a:lnTo>
                  <a:lnTo>
                    <a:pt x="20749" y="27487"/>
                  </a:lnTo>
                  <a:lnTo>
                    <a:pt x="20184" y="26718"/>
                  </a:lnTo>
                  <a:lnTo>
                    <a:pt x="17843" y="30342"/>
                  </a:lnTo>
                  <a:lnTo>
                    <a:pt x="15206" y="30963"/>
                  </a:lnTo>
                  <a:lnTo>
                    <a:pt x="13669" y="30248"/>
                  </a:lnTo>
                  <a:lnTo>
                    <a:pt x="13807" y="28895"/>
                  </a:lnTo>
                  <a:lnTo>
                    <a:pt x="12306" y="25339"/>
                  </a:lnTo>
                  <a:lnTo>
                    <a:pt x="10015" y="24297"/>
                  </a:lnTo>
                  <a:lnTo>
                    <a:pt x="6798" y="24199"/>
                  </a:lnTo>
                  <a:lnTo>
                    <a:pt x="4461" y="22732"/>
                  </a:lnTo>
                  <a:lnTo>
                    <a:pt x="13446" y="21733"/>
                  </a:lnTo>
                  <a:lnTo>
                    <a:pt x="14375" y="20036"/>
                  </a:lnTo>
                  <a:lnTo>
                    <a:pt x="16202" y="18254"/>
                  </a:lnTo>
                  <a:close/>
                  <a:moveTo>
                    <a:pt x="80815" y="0"/>
                  </a:moveTo>
                  <a:lnTo>
                    <a:pt x="83169" y="377"/>
                  </a:lnTo>
                  <a:lnTo>
                    <a:pt x="87105" y="143"/>
                  </a:lnTo>
                  <a:lnTo>
                    <a:pt x="101856" y="2795"/>
                  </a:lnTo>
                  <a:lnTo>
                    <a:pt x="105486" y="2795"/>
                  </a:lnTo>
                  <a:lnTo>
                    <a:pt x="110506" y="5489"/>
                  </a:lnTo>
                  <a:lnTo>
                    <a:pt x="113219" y="6182"/>
                  </a:lnTo>
                  <a:lnTo>
                    <a:pt x="121204" y="6187"/>
                  </a:lnTo>
                  <a:lnTo>
                    <a:pt x="133515" y="7375"/>
                  </a:lnTo>
                  <a:lnTo>
                    <a:pt x="135931" y="5553"/>
                  </a:lnTo>
                  <a:lnTo>
                    <a:pt x="136166" y="5079"/>
                  </a:lnTo>
                  <a:lnTo>
                    <a:pt x="137345" y="6099"/>
                  </a:lnTo>
                  <a:lnTo>
                    <a:pt x="138831" y="7740"/>
                  </a:lnTo>
                  <a:lnTo>
                    <a:pt x="139231" y="8678"/>
                  </a:lnTo>
                  <a:lnTo>
                    <a:pt x="138728" y="9229"/>
                  </a:lnTo>
                  <a:lnTo>
                    <a:pt x="137246" y="9697"/>
                  </a:lnTo>
                  <a:lnTo>
                    <a:pt x="136909" y="10202"/>
                  </a:lnTo>
                  <a:lnTo>
                    <a:pt x="136253" y="11056"/>
                  </a:lnTo>
                  <a:lnTo>
                    <a:pt x="134523" y="11210"/>
                  </a:lnTo>
                  <a:lnTo>
                    <a:pt x="133627" y="11843"/>
                  </a:lnTo>
                  <a:lnTo>
                    <a:pt x="132562" y="14618"/>
                  </a:lnTo>
                  <a:lnTo>
                    <a:pt x="130530" y="19205"/>
                  </a:lnTo>
                  <a:lnTo>
                    <a:pt x="127527" y="22688"/>
                  </a:lnTo>
                  <a:lnTo>
                    <a:pt x="125123" y="24595"/>
                  </a:lnTo>
                  <a:lnTo>
                    <a:pt x="124048" y="26056"/>
                  </a:lnTo>
                  <a:lnTo>
                    <a:pt x="123378" y="27810"/>
                  </a:lnTo>
                  <a:lnTo>
                    <a:pt x="123221" y="29568"/>
                  </a:lnTo>
                  <a:lnTo>
                    <a:pt x="125527" y="39200"/>
                  </a:lnTo>
                  <a:lnTo>
                    <a:pt x="125499" y="40934"/>
                  </a:lnTo>
                  <a:lnTo>
                    <a:pt x="124957" y="42713"/>
                  </a:lnTo>
                  <a:lnTo>
                    <a:pt x="124564" y="44524"/>
                  </a:lnTo>
                  <a:lnTo>
                    <a:pt x="124888" y="46092"/>
                  </a:lnTo>
                  <a:lnTo>
                    <a:pt x="126406" y="48768"/>
                  </a:lnTo>
                  <a:lnTo>
                    <a:pt x="128021" y="52754"/>
                  </a:lnTo>
                  <a:lnTo>
                    <a:pt x="128669" y="55296"/>
                  </a:lnTo>
                  <a:lnTo>
                    <a:pt x="129742" y="56229"/>
                  </a:lnTo>
                  <a:lnTo>
                    <a:pt x="130776" y="56912"/>
                  </a:lnTo>
                  <a:lnTo>
                    <a:pt x="130993" y="57342"/>
                  </a:lnTo>
                  <a:lnTo>
                    <a:pt x="130958" y="57789"/>
                  </a:lnTo>
                  <a:lnTo>
                    <a:pt x="130425" y="58292"/>
                  </a:lnTo>
                  <a:lnTo>
                    <a:pt x="125765" y="59622"/>
                  </a:lnTo>
                  <a:lnTo>
                    <a:pt x="125160" y="60748"/>
                  </a:lnTo>
                  <a:lnTo>
                    <a:pt x="124657" y="62002"/>
                  </a:lnTo>
                  <a:lnTo>
                    <a:pt x="122623" y="63858"/>
                  </a:lnTo>
                  <a:lnTo>
                    <a:pt x="121999" y="65588"/>
                  </a:lnTo>
                  <a:lnTo>
                    <a:pt x="121612" y="67573"/>
                  </a:lnTo>
                  <a:lnTo>
                    <a:pt x="121560" y="68279"/>
                  </a:lnTo>
                  <a:lnTo>
                    <a:pt x="120999" y="68362"/>
                  </a:lnTo>
                  <a:lnTo>
                    <a:pt x="117915" y="67954"/>
                  </a:lnTo>
                  <a:lnTo>
                    <a:pt x="114517" y="66666"/>
                  </a:lnTo>
                  <a:lnTo>
                    <a:pt x="113026" y="65698"/>
                  </a:lnTo>
                  <a:lnTo>
                    <a:pt x="111563" y="65708"/>
                  </a:lnTo>
                  <a:lnTo>
                    <a:pt x="109792" y="66348"/>
                  </a:lnTo>
                  <a:lnTo>
                    <a:pt x="103443" y="68187"/>
                  </a:lnTo>
                  <a:lnTo>
                    <a:pt x="101884" y="67758"/>
                  </a:lnTo>
                  <a:lnTo>
                    <a:pt x="98256" y="65954"/>
                  </a:lnTo>
                  <a:lnTo>
                    <a:pt x="96421" y="63988"/>
                  </a:lnTo>
                  <a:lnTo>
                    <a:pt x="92337" y="60066"/>
                  </a:lnTo>
                  <a:lnTo>
                    <a:pt x="92003" y="59132"/>
                  </a:lnTo>
                  <a:lnTo>
                    <a:pt x="91469" y="58383"/>
                  </a:lnTo>
                  <a:lnTo>
                    <a:pt x="87105" y="57411"/>
                  </a:lnTo>
                  <a:lnTo>
                    <a:pt x="85494" y="55962"/>
                  </a:lnTo>
                  <a:lnTo>
                    <a:pt x="84151" y="55759"/>
                  </a:lnTo>
                  <a:lnTo>
                    <a:pt x="82186" y="55035"/>
                  </a:lnTo>
                  <a:lnTo>
                    <a:pt x="77073" y="51935"/>
                  </a:lnTo>
                  <a:lnTo>
                    <a:pt x="75803" y="51645"/>
                  </a:lnTo>
                  <a:lnTo>
                    <a:pt x="75494" y="52167"/>
                  </a:lnTo>
                  <a:lnTo>
                    <a:pt x="75583" y="52900"/>
                  </a:lnTo>
                  <a:lnTo>
                    <a:pt x="75265" y="53324"/>
                  </a:lnTo>
                  <a:lnTo>
                    <a:pt x="74611" y="53310"/>
                  </a:lnTo>
                  <a:lnTo>
                    <a:pt x="73428" y="52170"/>
                  </a:lnTo>
                  <a:lnTo>
                    <a:pt x="72009" y="51166"/>
                  </a:lnTo>
                  <a:lnTo>
                    <a:pt x="67593" y="53053"/>
                  </a:lnTo>
                  <a:lnTo>
                    <a:pt x="65995" y="53562"/>
                  </a:lnTo>
                  <a:lnTo>
                    <a:pt x="64596" y="53673"/>
                  </a:lnTo>
                  <a:lnTo>
                    <a:pt x="57589" y="56153"/>
                  </a:lnTo>
                  <a:lnTo>
                    <a:pt x="55457" y="57488"/>
                  </a:lnTo>
                  <a:lnTo>
                    <a:pt x="54574" y="57345"/>
                  </a:lnTo>
                  <a:lnTo>
                    <a:pt x="54783" y="56092"/>
                  </a:lnTo>
                  <a:lnTo>
                    <a:pt x="57699" y="49800"/>
                  </a:lnTo>
                  <a:lnTo>
                    <a:pt x="58221" y="44795"/>
                  </a:lnTo>
                  <a:lnTo>
                    <a:pt x="59288" y="44107"/>
                  </a:lnTo>
                  <a:lnTo>
                    <a:pt x="59597" y="43412"/>
                  </a:lnTo>
                  <a:lnTo>
                    <a:pt x="59141" y="41812"/>
                  </a:lnTo>
                  <a:lnTo>
                    <a:pt x="56114" y="40786"/>
                  </a:lnTo>
                  <a:lnTo>
                    <a:pt x="54892" y="40937"/>
                  </a:lnTo>
                  <a:lnTo>
                    <a:pt x="53792" y="42657"/>
                  </a:lnTo>
                  <a:lnTo>
                    <a:pt x="52652" y="43896"/>
                  </a:lnTo>
                  <a:lnTo>
                    <a:pt x="49981" y="44651"/>
                  </a:lnTo>
                  <a:lnTo>
                    <a:pt x="47684" y="43346"/>
                  </a:lnTo>
                  <a:lnTo>
                    <a:pt x="42302" y="41600"/>
                  </a:lnTo>
                  <a:lnTo>
                    <a:pt x="40942" y="39272"/>
                  </a:lnTo>
                  <a:lnTo>
                    <a:pt x="40620" y="36928"/>
                  </a:lnTo>
                  <a:lnTo>
                    <a:pt x="37774" y="34658"/>
                  </a:lnTo>
                  <a:lnTo>
                    <a:pt x="36591" y="31982"/>
                  </a:lnTo>
                  <a:lnTo>
                    <a:pt x="37064" y="30112"/>
                  </a:lnTo>
                  <a:lnTo>
                    <a:pt x="39646" y="28884"/>
                  </a:lnTo>
                  <a:lnTo>
                    <a:pt x="40383" y="27813"/>
                  </a:lnTo>
                  <a:lnTo>
                    <a:pt x="37128" y="27983"/>
                  </a:lnTo>
                  <a:lnTo>
                    <a:pt x="36466" y="27726"/>
                  </a:lnTo>
                  <a:lnTo>
                    <a:pt x="36323" y="26763"/>
                  </a:lnTo>
                  <a:lnTo>
                    <a:pt x="34883" y="23478"/>
                  </a:lnTo>
                  <a:lnTo>
                    <a:pt x="36157" y="22183"/>
                  </a:lnTo>
                  <a:lnTo>
                    <a:pt x="36718" y="20923"/>
                  </a:lnTo>
                  <a:lnTo>
                    <a:pt x="35673" y="19850"/>
                  </a:lnTo>
                  <a:lnTo>
                    <a:pt x="35947" y="18629"/>
                  </a:lnTo>
                  <a:lnTo>
                    <a:pt x="36761" y="17394"/>
                  </a:lnTo>
                  <a:lnTo>
                    <a:pt x="36262" y="14521"/>
                  </a:lnTo>
                  <a:lnTo>
                    <a:pt x="39493" y="12997"/>
                  </a:lnTo>
                  <a:lnTo>
                    <a:pt x="42633" y="11924"/>
                  </a:lnTo>
                  <a:lnTo>
                    <a:pt x="49286" y="11377"/>
                  </a:lnTo>
                  <a:lnTo>
                    <a:pt x="48627" y="8747"/>
                  </a:lnTo>
                  <a:lnTo>
                    <a:pt x="51320" y="8628"/>
                  </a:lnTo>
                  <a:lnTo>
                    <a:pt x="55852" y="5460"/>
                  </a:lnTo>
                  <a:lnTo>
                    <a:pt x="60346" y="6017"/>
                  </a:lnTo>
                  <a:lnTo>
                    <a:pt x="66846" y="3840"/>
                  </a:lnTo>
                  <a:lnTo>
                    <a:pt x="79366" y="3870"/>
                  </a:lnTo>
                  <a:lnTo>
                    <a:pt x="81072" y="2612"/>
                  </a:lnTo>
                  <a:lnTo>
                    <a:pt x="80774" y="1348"/>
                  </a:lnTo>
                  <a:close/>
                </a:path>
              </a:pathLst>
            </a:custGeom>
            <a:solidFill>
              <a:srgbClr val="A3BA1E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47" name="ee4p_FI_1_82333">
              <a:extLst>
                <a:ext uri="{FF2B5EF4-FFF2-40B4-BE49-F238E27FC236}">
                  <a16:creationId xmlns:a16="http://schemas.microsoft.com/office/drawing/2014/main" id="{F015A159-BBFE-24F0-6DC4-65CE79BBA072}"/>
                </a:ext>
              </a:extLst>
            </p:cNvPr>
            <p:cNvSpPr>
              <a:spLocks noChangeAspect="1"/>
            </p:cNvSpPr>
            <p:nvPr>
              <p:custDataLst>
                <p:tags r:id="rId75"/>
              </p:custDataLst>
            </p:nvPr>
          </p:nvSpPr>
          <p:spPr>
            <a:xfrm>
              <a:off x="7056730" y="2251432"/>
              <a:ext cx="333718" cy="476092"/>
            </a:xfrm>
            <a:custGeom>
              <a:avLst/>
              <a:gdLst>
                <a:gd name="connsiteX0" fmla="*/ 21473 w 265732"/>
                <a:gd name="connsiteY0" fmla="*/ 360506 h 369053"/>
                <a:gd name="connsiteX1" fmla="*/ 23220 w 265732"/>
                <a:gd name="connsiteY1" fmla="*/ 360680 h 369053"/>
                <a:gd name="connsiteX2" fmla="*/ 24153 w 265732"/>
                <a:gd name="connsiteY2" fmla="*/ 361638 h 369053"/>
                <a:gd name="connsiteX3" fmla="*/ 23978 w 265732"/>
                <a:gd name="connsiteY3" fmla="*/ 362422 h 369053"/>
                <a:gd name="connsiteX4" fmla="*/ 22173 w 265732"/>
                <a:gd name="connsiteY4" fmla="*/ 362597 h 369053"/>
                <a:gd name="connsiteX5" fmla="*/ 21415 w 265732"/>
                <a:gd name="connsiteY5" fmla="*/ 361899 h 369053"/>
                <a:gd name="connsiteX6" fmla="*/ 19728 w 265732"/>
                <a:gd name="connsiteY6" fmla="*/ 361986 h 369053"/>
                <a:gd name="connsiteX7" fmla="*/ 19435 w 265732"/>
                <a:gd name="connsiteY7" fmla="*/ 361638 h 369053"/>
                <a:gd name="connsiteX8" fmla="*/ 20134 w 265732"/>
                <a:gd name="connsiteY8" fmla="*/ 360942 h 369053"/>
                <a:gd name="connsiteX9" fmla="*/ 45306 w 265732"/>
                <a:gd name="connsiteY9" fmla="*/ 357280 h 369053"/>
                <a:gd name="connsiteX10" fmla="*/ 46768 w 265732"/>
                <a:gd name="connsiteY10" fmla="*/ 357390 h 369053"/>
                <a:gd name="connsiteX11" fmla="*/ 47079 w 265732"/>
                <a:gd name="connsiteY11" fmla="*/ 358322 h 369053"/>
                <a:gd name="connsiteX12" fmla="*/ 46641 w 265732"/>
                <a:gd name="connsiteY12" fmla="*/ 359417 h 369053"/>
                <a:gd name="connsiteX13" fmla="*/ 44702 w 265732"/>
                <a:gd name="connsiteY13" fmla="*/ 359744 h 369053"/>
                <a:gd name="connsiteX14" fmla="*/ 43494 w 265732"/>
                <a:gd name="connsiteY14" fmla="*/ 358787 h 369053"/>
                <a:gd name="connsiteX15" fmla="*/ 43953 w 265732"/>
                <a:gd name="connsiteY15" fmla="*/ 358075 h 369053"/>
                <a:gd name="connsiteX16" fmla="*/ 51860 w 265732"/>
                <a:gd name="connsiteY16" fmla="*/ 356303 h 369053"/>
                <a:gd name="connsiteX17" fmla="*/ 51171 w 265732"/>
                <a:gd name="connsiteY17" fmla="*/ 358333 h 369053"/>
                <a:gd name="connsiteX18" fmla="*/ 48958 w 265732"/>
                <a:gd name="connsiteY18" fmla="*/ 359471 h 369053"/>
                <a:gd name="connsiteX19" fmla="*/ 48115 w 265732"/>
                <a:gd name="connsiteY19" fmla="*/ 359200 h 369053"/>
                <a:gd name="connsiteX20" fmla="*/ 48332 w 265732"/>
                <a:gd name="connsiteY20" fmla="*/ 357280 h 369053"/>
                <a:gd name="connsiteX21" fmla="*/ 49647 w 265732"/>
                <a:gd name="connsiteY21" fmla="*/ 356401 h 369053"/>
                <a:gd name="connsiteX22" fmla="*/ 2428 w 265732"/>
                <a:gd name="connsiteY22" fmla="*/ 354834 h 369053"/>
                <a:gd name="connsiteX23" fmla="*/ 3168 w 265732"/>
                <a:gd name="connsiteY23" fmla="*/ 356788 h 369053"/>
                <a:gd name="connsiteX24" fmla="*/ 3283 w 265732"/>
                <a:gd name="connsiteY24" fmla="*/ 357531 h 369053"/>
                <a:gd name="connsiteX25" fmla="*/ 2436 w 265732"/>
                <a:gd name="connsiteY25" fmla="*/ 357345 h 369053"/>
                <a:gd name="connsiteX26" fmla="*/ 1786 w 265732"/>
                <a:gd name="connsiteY26" fmla="*/ 357599 h 369053"/>
                <a:gd name="connsiteX27" fmla="*/ 1345 w 265732"/>
                <a:gd name="connsiteY27" fmla="*/ 358514 h 369053"/>
                <a:gd name="connsiteX28" fmla="*/ 387 w 265732"/>
                <a:gd name="connsiteY28" fmla="*/ 358186 h 369053"/>
                <a:gd name="connsiteX29" fmla="*/ 0 w 265732"/>
                <a:gd name="connsiteY29" fmla="*/ 356874 h 369053"/>
                <a:gd name="connsiteX30" fmla="*/ 715 w 265732"/>
                <a:gd name="connsiteY30" fmla="*/ 354909 h 369053"/>
                <a:gd name="connsiteX31" fmla="*/ 58731 w 265732"/>
                <a:gd name="connsiteY31" fmla="*/ 350695 h 369053"/>
                <a:gd name="connsiteX32" fmla="*/ 61532 w 265732"/>
                <a:gd name="connsiteY32" fmla="*/ 351466 h 369053"/>
                <a:gd name="connsiteX33" fmla="*/ 62709 w 265732"/>
                <a:gd name="connsiteY33" fmla="*/ 351190 h 369053"/>
                <a:gd name="connsiteX34" fmla="*/ 64047 w 265732"/>
                <a:gd name="connsiteY34" fmla="*/ 352933 h 369053"/>
                <a:gd name="connsiteX35" fmla="*/ 61778 w 265732"/>
                <a:gd name="connsiteY35" fmla="*/ 354042 h 369053"/>
                <a:gd name="connsiteX36" fmla="*/ 61620 w 265732"/>
                <a:gd name="connsiteY36" fmla="*/ 355416 h 369053"/>
                <a:gd name="connsiteX37" fmla="*/ 62517 w 265732"/>
                <a:gd name="connsiteY37" fmla="*/ 356269 h 369053"/>
                <a:gd name="connsiteX38" fmla="*/ 62832 w 265732"/>
                <a:gd name="connsiteY38" fmla="*/ 357503 h 369053"/>
                <a:gd name="connsiteX39" fmla="*/ 60571 w 265732"/>
                <a:gd name="connsiteY39" fmla="*/ 357502 h 369053"/>
                <a:gd name="connsiteX40" fmla="*/ 59489 w 265732"/>
                <a:gd name="connsiteY40" fmla="*/ 356463 h 369053"/>
                <a:gd name="connsiteX41" fmla="*/ 59018 w 265732"/>
                <a:gd name="connsiteY41" fmla="*/ 355144 h 369053"/>
                <a:gd name="connsiteX42" fmla="*/ 57967 w 265732"/>
                <a:gd name="connsiteY42" fmla="*/ 354210 h 369053"/>
                <a:gd name="connsiteX43" fmla="*/ 56565 w 265732"/>
                <a:gd name="connsiteY43" fmla="*/ 353499 h 369053"/>
                <a:gd name="connsiteX44" fmla="*/ 57252 w 265732"/>
                <a:gd name="connsiteY44" fmla="*/ 352551 h 369053"/>
                <a:gd name="connsiteX45" fmla="*/ 57643 w 265732"/>
                <a:gd name="connsiteY45" fmla="*/ 351190 h 369053"/>
                <a:gd name="connsiteX46" fmla="*/ 8165 w 265732"/>
                <a:gd name="connsiteY46" fmla="*/ 349529 h 369053"/>
                <a:gd name="connsiteX47" fmla="*/ 9409 w 265732"/>
                <a:gd name="connsiteY47" fmla="*/ 351135 h 369053"/>
                <a:gd name="connsiteX48" fmla="*/ 10404 w 265732"/>
                <a:gd name="connsiteY48" fmla="*/ 351345 h 369053"/>
                <a:gd name="connsiteX49" fmla="*/ 11082 w 265732"/>
                <a:gd name="connsiteY49" fmla="*/ 351355 h 369053"/>
                <a:gd name="connsiteX50" fmla="*/ 11384 w 265732"/>
                <a:gd name="connsiteY50" fmla="*/ 351075 h 369053"/>
                <a:gd name="connsiteX51" fmla="*/ 12568 w 265732"/>
                <a:gd name="connsiteY51" fmla="*/ 351271 h 369053"/>
                <a:gd name="connsiteX52" fmla="*/ 14347 w 265732"/>
                <a:gd name="connsiteY52" fmla="*/ 352557 h 369053"/>
                <a:gd name="connsiteX53" fmla="*/ 14705 w 265732"/>
                <a:gd name="connsiteY53" fmla="*/ 353253 h 369053"/>
                <a:gd name="connsiteX54" fmla="*/ 15932 w 265732"/>
                <a:gd name="connsiteY54" fmla="*/ 353609 h 369053"/>
                <a:gd name="connsiteX55" fmla="*/ 16360 w 265732"/>
                <a:gd name="connsiteY55" fmla="*/ 354330 h 369053"/>
                <a:gd name="connsiteX56" fmla="*/ 14941 w 265732"/>
                <a:gd name="connsiteY56" fmla="*/ 356576 h 369053"/>
                <a:gd name="connsiteX57" fmla="*/ 14064 w 265732"/>
                <a:gd name="connsiteY57" fmla="*/ 356618 h 369053"/>
                <a:gd name="connsiteX58" fmla="*/ 13410 w 265732"/>
                <a:gd name="connsiteY58" fmla="*/ 356334 h 369053"/>
                <a:gd name="connsiteX59" fmla="*/ 12255 w 265732"/>
                <a:gd name="connsiteY59" fmla="*/ 356579 h 369053"/>
                <a:gd name="connsiteX60" fmla="*/ 11577 w 265732"/>
                <a:gd name="connsiteY60" fmla="*/ 357004 h 369053"/>
                <a:gd name="connsiteX61" fmla="*/ 11350 w 265732"/>
                <a:gd name="connsiteY61" fmla="*/ 357937 h 369053"/>
                <a:gd name="connsiteX62" fmla="*/ 11387 w 265732"/>
                <a:gd name="connsiteY62" fmla="*/ 359888 h 369053"/>
                <a:gd name="connsiteX63" fmla="*/ 6208 w 265732"/>
                <a:gd name="connsiteY63" fmla="*/ 360279 h 369053"/>
                <a:gd name="connsiteX64" fmla="*/ 5018 w 265732"/>
                <a:gd name="connsiteY64" fmla="*/ 359709 h 369053"/>
                <a:gd name="connsiteX65" fmla="*/ 3388 w 265732"/>
                <a:gd name="connsiteY65" fmla="*/ 355268 h 369053"/>
                <a:gd name="connsiteX66" fmla="*/ 3712 w 265732"/>
                <a:gd name="connsiteY66" fmla="*/ 354120 h 369053"/>
                <a:gd name="connsiteX67" fmla="*/ 4809 w 265732"/>
                <a:gd name="connsiteY67" fmla="*/ 353630 h 369053"/>
                <a:gd name="connsiteX68" fmla="*/ 5749 w 265732"/>
                <a:gd name="connsiteY68" fmla="*/ 353525 h 369053"/>
                <a:gd name="connsiteX69" fmla="*/ 5887 w 265732"/>
                <a:gd name="connsiteY69" fmla="*/ 355919 h 369053"/>
                <a:gd name="connsiteX70" fmla="*/ 7266 w 265732"/>
                <a:gd name="connsiteY70" fmla="*/ 355681 h 369053"/>
                <a:gd name="connsiteX71" fmla="*/ 7699 w 265732"/>
                <a:gd name="connsiteY71" fmla="*/ 354103 h 369053"/>
                <a:gd name="connsiteX72" fmla="*/ 7795 w 265732"/>
                <a:gd name="connsiteY72" fmla="*/ 352992 h 369053"/>
                <a:gd name="connsiteX73" fmla="*/ 7422 w 265732"/>
                <a:gd name="connsiteY73" fmla="*/ 352431 h 369053"/>
                <a:gd name="connsiteX74" fmla="*/ 6485 w 265732"/>
                <a:gd name="connsiteY74" fmla="*/ 351996 h 369053"/>
                <a:gd name="connsiteX75" fmla="*/ 5943 w 265732"/>
                <a:gd name="connsiteY75" fmla="*/ 351250 h 369053"/>
                <a:gd name="connsiteX76" fmla="*/ 6722 w 265732"/>
                <a:gd name="connsiteY76" fmla="*/ 350049 h 369053"/>
                <a:gd name="connsiteX77" fmla="*/ 51039 w 265732"/>
                <a:gd name="connsiteY77" fmla="*/ 347396 h 369053"/>
                <a:gd name="connsiteX78" fmla="*/ 52799 w 265732"/>
                <a:gd name="connsiteY78" fmla="*/ 348443 h 369053"/>
                <a:gd name="connsiteX79" fmla="*/ 53760 w 265732"/>
                <a:gd name="connsiteY79" fmla="*/ 349666 h 369053"/>
                <a:gd name="connsiteX80" fmla="*/ 52821 w 265732"/>
                <a:gd name="connsiteY80" fmla="*/ 349950 h 369053"/>
                <a:gd name="connsiteX81" fmla="*/ 54412 w 265732"/>
                <a:gd name="connsiteY81" fmla="*/ 351211 h 369053"/>
                <a:gd name="connsiteX82" fmla="*/ 54732 w 265732"/>
                <a:gd name="connsiteY82" fmla="*/ 351827 h 369053"/>
                <a:gd name="connsiteX83" fmla="*/ 53123 w 265732"/>
                <a:gd name="connsiteY83" fmla="*/ 351973 h 369053"/>
                <a:gd name="connsiteX84" fmla="*/ 50849 w 265732"/>
                <a:gd name="connsiteY84" fmla="*/ 350326 h 369053"/>
                <a:gd name="connsiteX85" fmla="*/ 50562 w 265732"/>
                <a:gd name="connsiteY85" fmla="*/ 349682 h 369053"/>
                <a:gd name="connsiteX86" fmla="*/ 51454 w 265732"/>
                <a:gd name="connsiteY86" fmla="*/ 349308 h 369053"/>
                <a:gd name="connsiteX87" fmla="*/ 50865 w 265732"/>
                <a:gd name="connsiteY87" fmla="*/ 347983 h 369053"/>
                <a:gd name="connsiteX88" fmla="*/ 38675 w 265732"/>
                <a:gd name="connsiteY88" fmla="*/ 341784 h 369053"/>
                <a:gd name="connsiteX89" fmla="*/ 39409 w 265732"/>
                <a:gd name="connsiteY89" fmla="*/ 343210 h 369053"/>
                <a:gd name="connsiteX90" fmla="*/ 42717 w 265732"/>
                <a:gd name="connsiteY90" fmla="*/ 345409 h 369053"/>
                <a:gd name="connsiteX91" fmla="*/ 42408 w 265732"/>
                <a:gd name="connsiteY91" fmla="*/ 346959 h 369053"/>
                <a:gd name="connsiteX92" fmla="*/ 40908 w 265732"/>
                <a:gd name="connsiteY92" fmla="*/ 346787 h 369053"/>
                <a:gd name="connsiteX93" fmla="*/ 39381 w 265732"/>
                <a:gd name="connsiteY93" fmla="*/ 347068 h 369053"/>
                <a:gd name="connsiteX94" fmla="*/ 38150 w 265732"/>
                <a:gd name="connsiteY94" fmla="*/ 345529 h 369053"/>
                <a:gd name="connsiteX95" fmla="*/ 37491 w 265732"/>
                <a:gd name="connsiteY95" fmla="*/ 342933 h 369053"/>
                <a:gd name="connsiteX96" fmla="*/ 37716 w 265732"/>
                <a:gd name="connsiteY96" fmla="*/ 342374 h 369053"/>
                <a:gd name="connsiteX97" fmla="*/ 37973 w 265732"/>
                <a:gd name="connsiteY97" fmla="*/ 251776 h 369053"/>
                <a:gd name="connsiteX98" fmla="*/ 37651 w 265732"/>
                <a:gd name="connsiteY98" fmla="*/ 252424 h 369053"/>
                <a:gd name="connsiteX99" fmla="*/ 37563 w 265732"/>
                <a:gd name="connsiteY99" fmla="*/ 253045 h 369053"/>
                <a:gd name="connsiteX100" fmla="*/ 37800 w 265732"/>
                <a:gd name="connsiteY100" fmla="*/ 253695 h 369053"/>
                <a:gd name="connsiteX101" fmla="*/ 39096 w 265732"/>
                <a:gd name="connsiteY101" fmla="*/ 253516 h 369053"/>
                <a:gd name="connsiteX102" fmla="*/ 40841 w 265732"/>
                <a:gd name="connsiteY102" fmla="*/ 252332 h 369053"/>
                <a:gd name="connsiteX103" fmla="*/ 42078 w 265732"/>
                <a:gd name="connsiteY103" fmla="*/ 252885 h 369053"/>
                <a:gd name="connsiteX104" fmla="*/ 41938 w 265732"/>
                <a:gd name="connsiteY104" fmla="*/ 254575 h 369053"/>
                <a:gd name="connsiteX105" fmla="*/ 41098 w 265732"/>
                <a:gd name="connsiteY105" fmla="*/ 254511 h 369053"/>
                <a:gd name="connsiteX106" fmla="*/ 40867 w 265732"/>
                <a:gd name="connsiteY106" fmla="*/ 254232 h 369053"/>
                <a:gd name="connsiteX107" fmla="*/ 39789 w 265732"/>
                <a:gd name="connsiteY107" fmla="*/ 255197 h 369053"/>
                <a:gd name="connsiteX108" fmla="*/ 39597 w 265732"/>
                <a:gd name="connsiteY108" fmla="*/ 255781 h 369053"/>
                <a:gd name="connsiteX109" fmla="*/ 38351 w 265732"/>
                <a:gd name="connsiteY109" fmla="*/ 256154 h 369053"/>
                <a:gd name="connsiteX110" fmla="*/ 36049 w 265732"/>
                <a:gd name="connsiteY110" fmla="*/ 254502 h 369053"/>
                <a:gd name="connsiteX111" fmla="*/ 34602 w 265732"/>
                <a:gd name="connsiteY111" fmla="*/ 251783 h 369053"/>
                <a:gd name="connsiteX112" fmla="*/ 116464 w 265732"/>
                <a:gd name="connsiteY112" fmla="*/ 187740 h 369053"/>
                <a:gd name="connsiteX113" fmla="*/ 120546 w 265732"/>
                <a:gd name="connsiteY113" fmla="*/ 188858 h 369053"/>
                <a:gd name="connsiteX114" fmla="*/ 121142 w 265732"/>
                <a:gd name="connsiteY114" fmla="*/ 189455 h 369053"/>
                <a:gd name="connsiteX115" fmla="*/ 118803 w 265732"/>
                <a:gd name="connsiteY115" fmla="*/ 189902 h 369053"/>
                <a:gd name="connsiteX116" fmla="*/ 117840 w 265732"/>
                <a:gd name="connsiteY116" fmla="*/ 191169 h 369053"/>
                <a:gd name="connsiteX117" fmla="*/ 114539 w 265732"/>
                <a:gd name="connsiteY117" fmla="*/ 192361 h 369053"/>
                <a:gd name="connsiteX118" fmla="*/ 111878 w 265732"/>
                <a:gd name="connsiteY118" fmla="*/ 191616 h 369053"/>
                <a:gd name="connsiteX119" fmla="*/ 111832 w 265732"/>
                <a:gd name="connsiteY119" fmla="*/ 189306 h 369053"/>
                <a:gd name="connsiteX120" fmla="*/ 113482 w 265732"/>
                <a:gd name="connsiteY120" fmla="*/ 188187 h 369053"/>
                <a:gd name="connsiteX121" fmla="*/ 181957 w 265732"/>
                <a:gd name="connsiteY121" fmla="*/ 0 h 369053"/>
                <a:gd name="connsiteX122" fmla="*/ 185099 w 265732"/>
                <a:gd name="connsiteY122" fmla="*/ 126 h 369053"/>
                <a:gd name="connsiteX123" fmla="*/ 188577 w 265732"/>
                <a:gd name="connsiteY123" fmla="*/ 3686 h 369053"/>
                <a:gd name="connsiteX124" fmla="*/ 193483 w 265732"/>
                <a:gd name="connsiteY124" fmla="*/ 7643 h 369053"/>
                <a:gd name="connsiteX125" fmla="*/ 196636 w 265732"/>
                <a:gd name="connsiteY125" fmla="*/ 9562 h 369053"/>
                <a:gd name="connsiteX126" fmla="*/ 205230 w 265732"/>
                <a:gd name="connsiteY126" fmla="*/ 13154 h 369053"/>
                <a:gd name="connsiteX127" fmla="*/ 212775 w 265732"/>
                <a:gd name="connsiteY127" fmla="*/ 15515 h 369053"/>
                <a:gd name="connsiteX128" fmla="*/ 217016 w 265732"/>
                <a:gd name="connsiteY128" fmla="*/ 23292 h 369053"/>
                <a:gd name="connsiteX129" fmla="*/ 214926 w 265732"/>
                <a:gd name="connsiteY129" fmla="*/ 26382 h 369053"/>
                <a:gd name="connsiteX130" fmla="*/ 213885 w 265732"/>
                <a:gd name="connsiteY130" fmla="*/ 27446 h 369053"/>
                <a:gd name="connsiteX131" fmla="*/ 210195 w 265732"/>
                <a:gd name="connsiteY131" fmla="*/ 30516 h 369053"/>
                <a:gd name="connsiteX132" fmla="*/ 206245 w 265732"/>
                <a:gd name="connsiteY132" fmla="*/ 34840 h 369053"/>
                <a:gd name="connsiteX133" fmla="*/ 205943 w 265732"/>
                <a:gd name="connsiteY133" fmla="*/ 37090 h 369053"/>
                <a:gd name="connsiteX134" fmla="*/ 207254 w 265732"/>
                <a:gd name="connsiteY134" fmla="*/ 39357 h 369053"/>
                <a:gd name="connsiteX135" fmla="*/ 208889 w 265732"/>
                <a:gd name="connsiteY135" fmla="*/ 40855 h 369053"/>
                <a:gd name="connsiteX136" fmla="*/ 207409 w 265732"/>
                <a:gd name="connsiteY136" fmla="*/ 41332 h 369053"/>
                <a:gd name="connsiteX137" fmla="*/ 202838 w 265732"/>
                <a:gd name="connsiteY137" fmla="*/ 43215 h 369053"/>
                <a:gd name="connsiteX138" fmla="*/ 200048 w 265732"/>
                <a:gd name="connsiteY138" fmla="*/ 44485 h 369053"/>
                <a:gd name="connsiteX139" fmla="*/ 196688 w 265732"/>
                <a:gd name="connsiteY139" fmla="*/ 45416 h 369053"/>
                <a:gd name="connsiteX140" fmla="*/ 197560 w 265732"/>
                <a:gd name="connsiteY140" fmla="*/ 46649 h 369053"/>
                <a:gd name="connsiteX141" fmla="*/ 203142 w 265732"/>
                <a:gd name="connsiteY141" fmla="*/ 46910 h 369053"/>
                <a:gd name="connsiteX142" fmla="*/ 204002 w 265732"/>
                <a:gd name="connsiteY142" fmla="*/ 47260 h 369053"/>
                <a:gd name="connsiteX143" fmla="*/ 204621 w 265732"/>
                <a:gd name="connsiteY143" fmla="*/ 47894 h 369053"/>
                <a:gd name="connsiteX144" fmla="*/ 204727 w 265732"/>
                <a:gd name="connsiteY144" fmla="*/ 48907 h 369053"/>
                <a:gd name="connsiteX145" fmla="*/ 204161 w 265732"/>
                <a:gd name="connsiteY145" fmla="*/ 50542 h 369053"/>
                <a:gd name="connsiteX146" fmla="*/ 198130 w 265732"/>
                <a:gd name="connsiteY146" fmla="*/ 59538 h 369053"/>
                <a:gd name="connsiteX147" fmla="*/ 197940 w 265732"/>
                <a:gd name="connsiteY147" fmla="*/ 61428 h 369053"/>
                <a:gd name="connsiteX148" fmla="*/ 199918 w 265732"/>
                <a:gd name="connsiteY148" fmla="*/ 66676 h 369053"/>
                <a:gd name="connsiteX149" fmla="*/ 202682 w 265732"/>
                <a:gd name="connsiteY149" fmla="*/ 72845 h 369053"/>
                <a:gd name="connsiteX150" fmla="*/ 211037 w 265732"/>
                <a:gd name="connsiteY150" fmla="*/ 75582 h 369053"/>
                <a:gd name="connsiteX151" fmla="*/ 217247 w 265732"/>
                <a:gd name="connsiteY151" fmla="*/ 77717 h 369053"/>
                <a:gd name="connsiteX152" fmla="*/ 221236 w 265732"/>
                <a:gd name="connsiteY152" fmla="*/ 82760 h 369053"/>
                <a:gd name="connsiteX153" fmla="*/ 227811 w 265732"/>
                <a:gd name="connsiteY153" fmla="*/ 89390 h 369053"/>
                <a:gd name="connsiteX154" fmla="*/ 231297 w 265732"/>
                <a:gd name="connsiteY154" fmla="*/ 91862 h 369053"/>
                <a:gd name="connsiteX155" fmla="*/ 231493 w 265732"/>
                <a:gd name="connsiteY155" fmla="*/ 92629 h 369053"/>
                <a:gd name="connsiteX156" fmla="*/ 230456 w 265732"/>
                <a:gd name="connsiteY156" fmla="*/ 97183 h 369053"/>
                <a:gd name="connsiteX157" fmla="*/ 226241 w 265732"/>
                <a:gd name="connsiteY157" fmla="*/ 101735 h 369053"/>
                <a:gd name="connsiteX158" fmla="*/ 222298 w 265732"/>
                <a:gd name="connsiteY158" fmla="*/ 105565 h 369053"/>
                <a:gd name="connsiteX159" fmla="*/ 218217 w 265732"/>
                <a:gd name="connsiteY159" fmla="*/ 110170 h 369053"/>
                <a:gd name="connsiteX160" fmla="*/ 215025 w 265732"/>
                <a:gd name="connsiteY160" fmla="*/ 114087 h 369053"/>
                <a:gd name="connsiteX161" fmla="*/ 211568 w 265732"/>
                <a:gd name="connsiteY161" fmla="*/ 118772 h 369053"/>
                <a:gd name="connsiteX162" fmla="*/ 211171 w 265732"/>
                <a:gd name="connsiteY162" fmla="*/ 120288 h 369053"/>
                <a:gd name="connsiteX163" fmla="*/ 211108 w 265732"/>
                <a:gd name="connsiteY163" fmla="*/ 121719 h 369053"/>
                <a:gd name="connsiteX164" fmla="*/ 211702 w 265732"/>
                <a:gd name="connsiteY164" fmla="*/ 123300 h 369053"/>
                <a:gd name="connsiteX165" fmla="*/ 216129 w 265732"/>
                <a:gd name="connsiteY165" fmla="*/ 129002 h 369053"/>
                <a:gd name="connsiteX166" fmla="*/ 217852 w 265732"/>
                <a:gd name="connsiteY166" fmla="*/ 131908 h 369053"/>
                <a:gd name="connsiteX167" fmla="*/ 219912 w 265732"/>
                <a:gd name="connsiteY167" fmla="*/ 135045 h 369053"/>
                <a:gd name="connsiteX168" fmla="*/ 221680 w 265732"/>
                <a:gd name="connsiteY168" fmla="*/ 138458 h 369053"/>
                <a:gd name="connsiteX169" fmla="*/ 222706 w 265732"/>
                <a:gd name="connsiteY169" fmla="*/ 141510 h 369053"/>
                <a:gd name="connsiteX170" fmla="*/ 224479 w 265732"/>
                <a:gd name="connsiteY170" fmla="*/ 144480 h 369053"/>
                <a:gd name="connsiteX171" fmla="*/ 225581 w 265732"/>
                <a:gd name="connsiteY171" fmla="*/ 145996 h 369053"/>
                <a:gd name="connsiteX172" fmla="*/ 227411 w 265732"/>
                <a:gd name="connsiteY172" fmla="*/ 148118 h 369053"/>
                <a:gd name="connsiteX173" fmla="*/ 229621 w 265732"/>
                <a:gd name="connsiteY173" fmla="*/ 151271 h 369053"/>
                <a:gd name="connsiteX174" fmla="*/ 230355 w 265732"/>
                <a:gd name="connsiteY174" fmla="*/ 153765 h 369053"/>
                <a:gd name="connsiteX175" fmla="*/ 233691 w 265732"/>
                <a:gd name="connsiteY175" fmla="*/ 162396 h 369053"/>
                <a:gd name="connsiteX176" fmla="*/ 234028 w 265732"/>
                <a:gd name="connsiteY176" fmla="*/ 164590 h 369053"/>
                <a:gd name="connsiteX177" fmla="*/ 233864 w 265732"/>
                <a:gd name="connsiteY177" fmla="*/ 166212 h 369053"/>
                <a:gd name="connsiteX178" fmla="*/ 232398 w 265732"/>
                <a:gd name="connsiteY178" fmla="*/ 166611 h 369053"/>
                <a:gd name="connsiteX179" fmla="*/ 229161 w 265732"/>
                <a:gd name="connsiteY179" fmla="*/ 166869 h 369053"/>
                <a:gd name="connsiteX180" fmla="*/ 225652 w 265732"/>
                <a:gd name="connsiteY180" fmla="*/ 167931 h 369053"/>
                <a:gd name="connsiteX181" fmla="*/ 225475 w 265732"/>
                <a:gd name="connsiteY181" fmla="*/ 168288 h 369053"/>
                <a:gd name="connsiteX182" fmla="*/ 227764 w 265732"/>
                <a:gd name="connsiteY182" fmla="*/ 170314 h 369053"/>
                <a:gd name="connsiteX183" fmla="*/ 225742 w 265732"/>
                <a:gd name="connsiteY183" fmla="*/ 173770 h 369053"/>
                <a:gd name="connsiteX184" fmla="*/ 225451 w 265732"/>
                <a:gd name="connsiteY184" fmla="*/ 178707 h 369053"/>
                <a:gd name="connsiteX185" fmla="*/ 223292 w 265732"/>
                <a:gd name="connsiteY185" fmla="*/ 181294 h 369053"/>
                <a:gd name="connsiteX186" fmla="*/ 223088 w 265732"/>
                <a:gd name="connsiteY186" fmla="*/ 181895 h 369053"/>
                <a:gd name="connsiteX187" fmla="*/ 223186 w 265732"/>
                <a:gd name="connsiteY187" fmla="*/ 182397 h 369053"/>
                <a:gd name="connsiteX188" fmla="*/ 223568 w 265732"/>
                <a:gd name="connsiteY188" fmla="*/ 182789 h 369053"/>
                <a:gd name="connsiteX189" fmla="*/ 227567 w 265732"/>
                <a:gd name="connsiteY189" fmla="*/ 183479 h 369053"/>
                <a:gd name="connsiteX190" fmla="*/ 227913 w 265732"/>
                <a:gd name="connsiteY190" fmla="*/ 184180 h 369053"/>
                <a:gd name="connsiteX191" fmla="*/ 227930 w 265732"/>
                <a:gd name="connsiteY191" fmla="*/ 185629 h 369053"/>
                <a:gd name="connsiteX192" fmla="*/ 227573 w 265732"/>
                <a:gd name="connsiteY192" fmla="*/ 186967 h 369053"/>
                <a:gd name="connsiteX193" fmla="*/ 225565 w 265732"/>
                <a:gd name="connsiteY193" fmla="*/ 187959 h 369053"/>
                <a:gd name="connsiteX194" fmla="*/ 223408 w 265732"/>
                <a:gd name="connsiteY194" fmla="*/ 189427 h 369053"/>
                <a:gd name="connsiteX195" fmla="*/ 222931 w 265732"/>
                <a:gd name="connsiteY195" fmla="*/ 190776 h 369053"/>
                <a:gd name="connsiteX196" fmla="*/ 223004 w 265732"/>
                <a:gd name="connsiteY196" fmla="*/ 191980 h 369053"/>
                <a:gd name="connsiteX197" fmla="*/ 223741 w 265732"/>
                <a:gd name="connsiteY197" fmla="*/ 194013 h 369053"/>
                <a:gd name="connsiteX198" fmla="*/ 225159 w 265732"/>
                <a:gd name="connsiteY198" fmla="*/ 196379 h 369053"/>
                <a:gd name="connsiteX199" fmla="*/ 226963 w 265732"/>
                <a:gd name="connsiteY199" fmla="*/ 197863 h 369053"/>
                <a:gd name="connsiteX200" fmla="*/ 233367 w 265732"/>
                <a:gd name="connsiteY200" fmla="*/ 199267 h 369053"/>
                <a:gd name="connsiteX201" fmla="*/ 234194 w 265732"/>
                <a:gd name="connsiteY201" fmla="*/ 200428 h 369053"/>
                <a:gd name="connsiteX202" fmla="*/ 234546 w 265732"/>
                <a:gd name="connsiteY202" fmla="*/ 202018 h 369053"/>
                <a:gd name="connsiteX203" fmla="*/ 234412 w 265732"/>
                <a:gd name="connsiteY203" fmla="*/ 203569 h 369053"/>
                <a:gd name="connsiteX204" fmla="*/ 231437 w 265732"/>
                <a:gd name="connsiteY204" fmla="*/ 206669 h 369053"/>
                <a:gd name="connsiteX205" fmla="*/ 231460 w 265732"/>
                <a:gd name="connsiteY205" fmla="*/ 207860 h 369053"/>
                <a:gd name="connsiteX206" fmla="*/ 232682 w 265732"/>
                <a:gd name="connsiteY206" fmla="*/ 210740 h 369053"/>
                <a:gd name="connsiteX207" fmla="*/ 234147 w 265732"/>
                <a:gd name="connsiteY207" fmla="*/ 213485 h 369053"/>
                <a:gd name="connsiteX208" fmla="*/ 240394 w 265732"/>
                <a:gd name="connsiteY208" fmla="*/ 216455 h 369053"/>
                <a:gd name="connsiteX209" fmla="*/ 242545 w 265732"/>
                <a:gd name="connsiteY209" fmla="*/ 218082 h 369053"/>
                <a:gd name="connsiteX210" fmla="*/ 243117 w 265732"/>
                <a:gd name="connsiteY210" fmla="*/ 219376 h 369053"/>
                <a:gd name="connsiteX211" fmla="*/ 243430 w 265732"/>
                <a:gd name="connsiteY211" fmla="*/ 221460 h 369053"/>
                <a:gd name="connsiteX212" fmla="*/ 243389 w 265732"/>
                <a:gd name="connsiteY212" fmla="*/ 223717 h 369053"/>
                <a:gd name="connsiteX213" fmla="*/ 242899 w 265732"/>
                <a:gd name="connsiteY213" fmla="*/ 225719 h 369053"/>
                <a:gd name="connsiteX214" fmla="*/ 240940 w 265732"/>
                <a:gd name="connsiteY214" fmla="*/ 228298 h 369053"/>
                <a:gd name="connsiteX215" fmla="*/ 236406 w 265732"/>
                <a:gd name="connsiteY215" fmla="*/ 233375 h 369053"/>
                <a:gd name="connsiteX216" fmla="*/ 231847 w 265732"/>
                <a:gd name="connsiteY216" fmla="*/ 235344 h 369053"/>
                <a:gd name="connsiteX217" fmla="*/ 231569 w 265732"/>
                <a:gd name="connsiteY217" fmla="*/ 235771 h 369053"/>
                <a:gd name="connsiteX218" fmla="*/ 232981 w 265732"/>
                <a:gd name="connsiteY218" fmla="*/ 237391 h 369053"/>
                <a:gd name="connsiteX219" fmla="*/ 241011 w 265732"/>
                <a:gd name="connsiteY219" fmla="*/ 243873 h 369053"/>
                <a:gd name="connsiteX220" fmla="*/ 246246 w 265732"/>
                <a:gd name="connsiteY220" fmla="*/ 246900 h 369053"/>
                <a:gd name="connsiteX221" fmla="*/ 253311 w 265732"/>
                <a:gd name="connsiteY221" fmla="*/ 250978 h 369053"/>
                <a:gd name="connsiteX222" fmla="*/ 257868 w 265732"/>
                <a:gd name="connsiteY222" fmla="*/ 254194 h 369053"/>
                <a:gd name="connsiteX223" fmla="*/ 259340 w 265732"/>
                <a:gd name="connsiteY223" fmla="*/ 256505 h 369053"/>
                <a:gd name="connsiteX224" fmla="*/ 261314 w 265732"/>
                <a:gd name="connsiteY224" fmla="*/ 259071 h 369053"/>
                <a:gd name="connsiteX225" fmla="*/ 263532 w 265732"/>
                <a:gd name="connsiteY225" fmla="*/ 261166 h 369053"/>
                <a:gd name="connsiteX226" fmla="*/ 265130 w 265732"/>
                <a:gd name="connsiteY226" fmla="*/ 262982 h 369053"/>
                <a:gd name="connsiteX227" fmla="*/ 265732 w 265732"/>
                <a:gd name="connsiteY227" fmla="*/ 264150 h 369053"/>
                <a:gd name="connsiteX228" fmla="*/ 265676 w 265732"/>
                <a:gd name="connsiteY228" fmla="*/ 265405 h 369053"/>
                <a:gd name="connsiteX229" fmla="*/ 263538 w 265732"/>
                <a:gd name="connsiteY229" fmla="*/ 269185 h 369053"/>
                <a:gd name="connsiteX230" fmla="*/ 262324 w 265732"/>
                <a:gd name="connsiteY230" fmla="*/ 272102 h 369053"/>
                <a:gd name="connsiteX231" fmla="*/ 260185 w 265732"/>
                <a:gd name="connsiteY231" fmla="*/ 276371 h 369053"/>
                <a:gd name="connsiteX232" fmla="*/ 257997 w 265732"/>
                <a:gd name="connsiteY232" fmla="*/ 279345 h 369053"/>
                <a:gd name="connsiteX233" fmla="*/ 252448 w 265732"/>
                <a:gd name="connsiteY233" fmla="*/ 284759 h 369053"/>
                <a:gd name="connsiteX234" fmla="*/ 244264 w 265732"/>
                <a:gd name="connsiteY234" fmla="*/ 291477 h 369053"/>
                <a:gd name="connsiteX235" fmla="*/ 242363 w 265732"/>
                <a:gd name="connsiteY235" fmla="*/ 293506 h 369053"/>
                <a:gd name="connsiteX236" fmla="*/ 238533 w 265732"/>
                <a:gd name="connsiteY236" fmla="*/ 297034 h 369053"/>
                <a:gd name="connsiteX237" fmla="*/ 231977 w 265732"/>
                <a:gd name="connsiteY237" fmla="*/ 304096 h 369053"/>
                <a:gd name="connsiteX238" fmla="*/ 230279 w 265732"/>
                <a:gd name="connsiteY238" fmla="*/ 305652 h 369053"/>
                <a:gd name="connsiteX239" fmla="*/ 224905 w 265732"/>
                <a:gd name="connsiteY239" fmla="*/ 311263 h 369053"/>
                <a:gd name="connsiteX240" fmla="*/ 222456 w 265732"/>
                <a:gd name="connsiteY240" fmla="*/ 313045 h 369053"/>
                <a:gd name="connsiteX241" fmla="*/ 220532 w 265732"/>
                <a:gd name="connsiteY241" fmla="*/ 314710 h 369053"/>
                <a:gd name="connsiteX242" fmla="*/ 215209 w 265732"/>
                <a:gd name="connsiteY242" fmla="*/ 319993 h 369053"/>
                <a:gd name="connsiteX243" fmla="*/ 209489 w 265732"/>
                <a:gd name="connsiteY243" fmla="*/ 323994 h 369053"/>
                <a:gd name="connsiteX244" fmla="*/ 203874 w 265732"/>
                <a:gd name="connsiteY244" fmla="*/ 327703 h 369053"/>
                <a:gd name="connsiteX245" fmla="*/ 202190 w 265732"/>
                <a:gd name="connsiteY245" fmla="*/ 329581 h 369053"/>
                <a:gd name="connsiteX246" fmla="*/ 200095 w 265732"/>
                <a:gd name="connsiteY246" fmla="*/ 331012 h 369053"/>
                <a:gd name="connsiteX247" fmla="*/ 197595 w 265732"/>
                <a:gd name="connsiteY247" fmla="*/ 332372 h 369053"/>
                <a:gd name="connsiteX248" fmla="*/ 196541 w 265732"/>
                <a:gd name="connsiteY248" fmla="*/ 333134 h 369053"/>
                <a:gd name="connsiteX249" fmla="*/ 190892 w 265732"/>
                <a:gd name="connsiteY249" fmla="*/ 338191 h 369053"/>
                <a:gd name="connsiteX250" fmla="*/ 183058 w 265732"/>
                <a:gd name="connsiteY250" fmla="*/ 345191 h 369053"/>
                <a:gd name="connsiteX251" fmla="*/ 182261 w 265732"/>
                <a:gd name="connsiteY251" fmla="*/ 345300 h 369053"/>
                <a:gd name="connsiteX252" fmla="*/ 180221 w 265732"/>
                <a:gd name="connsiteY252" fmla="*/ 346429 h 369053"/>
                <a:gd name="connsiteX253" fmla="*/ 177031 w 265732"/>
                <a:gd name="connsiteY253" fmla="*/ 346702 h 369053"/>
                <a:gd name="connsiteX254" fmla="*/ 175645 w 265732"/>
                <a:gd name="connsiteY254" fmla="*/ 347565 h 369053"/>
                <a:gd name="connsiteX255" fmla="*/ 170769 w 265732"/>
                <a:gd name="connsiteY255" fmla="*/ 345106 h 369053"/>
                <a:gd name="connsiteX256" fmla="*/ 169959 w 265732"/>
                <a:gd name="connsiteY256" fmla="*/ 344947 h 369053"/>
                <a:gd name="connsiteX257" fmla="*/ 167092 w 265732"/>
                <a:gd name="connsiteY257" fmla="*/ 345557 h 369053"/>
                <a:gd name="connsiteX258" fmla="*/ 164340 w 265732"/>
                <a:gd name="connsiteY258" fmla="*/ 347344 h 369053"/>
                <a:gd name="connsiteX259" fmla="*/ 159261 w 265732"/>
                <a:gd name="connsiteY259" fmla="*/ 347890 h 369053"/>
                <a:gd name="connsiteX260" fmla="*/ 156739 w 265732"/>
                <a:gd name="connsiteY260" fmla="*/ 348469 h 369053"/>
                <a:gd name="connsiteX261" fmla="*/ 155131 w 265732"/>
                <a:gd name="connsiteY261" fmla="*/ 349294 h 369053"/>
                <a:gd name="connsiteX262" fmla="*/ 154800 w 265732"/>
                <a:gd name="connsiteY262" fmla="*/ 347341 h 369053"/>
                <a:gd name="connsiteX263" fmla="*/ 155495 w 265732"/>
                <a:gd name="connsiteY263" fmla="*/ 344862 h 369053"/>
                <a:gd name="connsiteX264" fmla="*/ 156614 w 265732"/>
                <a:gd name="connsiteY264" fmla="*/ 343208 h 369053"/>
                <a:gd name="connsiteX265" fmla="*/ 156718 w 265732"/>
                <a:gd name="connsiteY265" fmla="*/ 342130 h 369053"/>
                <a:gd name="connsiteX266" fmla="*/ 155897 w 265732"/>
                <a:gd name="connsiteY266" fmla="*/ 342242 h 369053"/>
                <a:gd name="connsiteX267" fmla="*/ 154271 w 265732"/>
                <a:gd name="connsiteY267" fmla="*/ 344669 h 369053"/>
                <a:gd name="connsiteX268" fmla="*/ 153401 w 265732"/>
                <a:gd name="connsiteY268" fmla="*/ 347500 h 369053"/>
                <a:gd name="connsiteX269" fmla="*/ 151660 w 265732"/>
                <a:gd name="connsiteY269" fmla="*/ 348922 h 369053"/>
                <a:gd name="connsiteX270" fmla="*/ 147834 w 265732"/>
                <a:gd name="connsiteY270" fmla="*/ 349503 h 369053"/>
                <a:gd name="connsiteX271" fmla="*/ 144105 w 265732"/>
                <a:gd name="connsiteY271" fmla="*/ 347230 h 369053"/>
                <a:gd name="connsiteX272" fmla="*/ 142334 w 265732"/>
                <a:gd name="connsiteY272" fmla="*/ 347253 h 369053"/>
                <a:gd name="connsiteX273" fmla="*/ 143446 w 265732"/>
                <a:gd name="connsiteY273" fmla="*/ 348881 h 369053"/>
                <a:gd name="connsiteX274" fmla="*/ 144198 w 265732"/>
                <a:gd name="connsiteY274" fmla="*/ 350667 h 369053"/>
                <a:gd name="connsiteX275" fmla="*/ 144100 w 265732"/>
                <a:gd name="connsiteY275" fmla="*/ 351667 h 369053"/>
                <a:gd name="connsiteX276" fmla="*/ 142112 w 265732"/>
                <a:gd name="connsiteY276" fmla="*/ 351491 h 369053"/>
                <a:gd name="connsiteX277" fmla="*/ 139898 w 265732"/>
                <a:gd name="connsiteY277" fmla="*/ 352561 h 369053"/>
                <a:gd name="connsiteX278" fmla="*/ 137957 w 265732"/>
                <a:gd name="connsiteY278" fmla="*/ 354123 h 369053"/>
                <a:gd name="connsiteX279" fmla="*/ 137015 w 265732"/>
                <a:gd name="connsiteY279" fmla="*/ 354126 h 369053"/>
                <a:gd name="connsiteX280" fmla="*/ 135711 w 265732"/>
                <a:gd name="connsiteY280" fmla="*/ 351943 h 369053"/>
                <a:gd name="connsiteX281" fmla="*/ 133318 w 265732"/>
                <a:gd name="connsiteY281" fmla="*/ 352962 h 369053"/>
                <a:gd name="connsiteX282" fmla="*/ 131274 w 265732"/>
                <a:gd name="connsiteY282" fmla="*/ 354332 h 369053"/>
                <a:gd name="connsiteX283" fmla="*/ 127119 w 265732"/>
                <a:gd name="connsiteY283" fmla="*/ 354760 h 369053"/>
                <a:gd name="connsiteX284" fmla="*/ 124642 w 265732"/>
                <a:gd name="connsiteY284" fmla="*/ 356559 h 369053"/>
                <a:gd name="connsiteX285" fmla="*/ 120259 w 265732"/>
                <a:gd name="connsiteY285" fmla="*/ 357772 h 369053"/>
                <a:gd name="connsiteX286" fmla="*/ 117851 w 265732"/>
                <a:gd name="connsiteY286" fmla="*/ 357743 h 369053"/>
                <a:gd name="connsiteX287" fmla="*/ 112362 w 265732"/>
                <a:gd name="connsiteY287" fmla="*/ 359203 h 369053"/>
                <a:gd name="connsiteX288" fmla="*/ 110537 w 265732"/>
                <a:gd name="connsiteY288" fmla="*/ 361452 h 369053"/>
                <a:gd name="connsiteX289" fmla="*/ 108937 w 265732"/>
                <a:gd name="connsiteY289" fmla="*/ 362279 h 369053"/>
                <a:gd name="connsiteX290" fmla="*/ 106659 w 265732"/>
                <a:gd name="connsiteY290" fmla="*/ 361583 h 369053"/>
                <a:gd name="connsiteX291" fmla="*/ 99641 w 265732"/>
                <a:gd name="connsiteY291" fmla="*/ 362679 h 369053"/>
                <a:gd name="connsiteX292" fmla="*/ 92932 w 265732"/>
                <a:gd name="connsiteY292" fmla="*/ 364116 h 369053"/>
                <a:gd name="connsiteX293" fmla="*/ 90077 w 265732"/>
                <a:gd name="connsiteY293" fmla="*/ 364034 h 369053"/>
                <a:gd name="connsiteX294" fmla="*/ 87222 w 265732"/>
                <a:gd name="connsiteY294" fmla="*/ 363437 h 369053"/>
                <a:gd name="connsiteX295" fmla="*/ 84197 w 265732"/>
                <a:gd name="connsiteY295" fmla="*/ 365433 h 369053"/>
                <a:gd name="connsiteX296" fmla="*/ 80984 w 265732"/>
                <a:gd name="connsiteY296" fmla="*/ 368101 h 369053"/>
                <a:gd name="connsiteX297" fmla="*/ 77442 w 265732"/>
                <a:gd name="connsiteY297" fmla="*/ 369053 h 369053"/>
                <a:gd name="connsiteX298" fmla="*/ 76173 w 265732"/>
                <a:gd name="connsiteY298" fmla="*/ 368712 h 369053"/>
                <a:gd name="connsiteX299" fmla="*/ 77187 w 265732"/>
                <a:gd name="connsiteY299" fmla="*/ 367314 h 369053"/>
                <a:gd name="connsiteX300" fmla="*/ 79531 w 265732"/>
                <a:gd name="connsiteY300" fmla="*/ 365865 h 369053"/>
                <a:gd name="connsiteX301" fmla="*/ 81139 w 265732"/>
                <a:gd name="connsiteY301" fmla="*/ 363900 h 369053"/>
                <a:gd name="connsiteX302" fmla="*/ 81360 w 265732"/>
                <a:gd name="connsiteY302" fmla="*/ 362261 h 369053"/>
                <a:gd name="connsiteX303" fmla="*/ 80254 w 265732"/>
                <a:gd name="connsiteY303" fmla="*/ 361617 h 369053"/>
                <a:gd name="connsiteX304" fmla="*/ 78744 w 265732"/>
                <a:gd name="connsiteY304" fmla="*/ 361420 h 369053"/>
                <a:gd name="connsiteX305" fmla="*/ 76842 w 265732"/>
                <a:gd name="connsiteY305" fmla="*/ 359723 h 369053"/>
                <a:gd name="connsiteX306" fmla="*/ 75019 w 265732"/>
                <a:gd name="connsiteY306" fmla="*/ 356041 h 369053"/>
                <a:gd name="connsiteX307" fmla="*/ 74032 w 265732"/>
                <a:gd name="connsiteY307" fmla="*/ 355838 h 369053"/>
                <a:gd name="connsiteX308" fmla="*/ 73532 w 265732"/>
                <a:gd name="connsiteY308" fmla="*/ 356806 h 369053"/>
                <a:gd name="connsiteX309" fmla="*/ 72972 w 265732"/>
                <a:gd name="connsiteY309" fmla="*/ 359630 h 369053"/>
                <a:gd name="connsiteX310" fmla="*/ 72404 w 265732"/>
                <a:gd name="connsiteY310" fmla="*/ 360443 h 369053"/>
                <a:gd name="connsiteX311" fmla="*/ 71439 w 265732"/>
                <a:gd name="connsiteY311" fmla="*/ 361089 h 369053"/>
                <a:gd name="connsiteX312" fmla="*/ 70280 w 265732"/>
                <a:gd name="connsiteY312" fmla="*/ 361739 h 369053"/>
                <a:gd name="connsiteX313" fmla="*/ 69148 w 265732"/>
                <a:gd name="connsiteY313" fmla="*/ 362056 h 369053"/>
                <a:gd name="connsiteX314" fmla="*/ 65091 w 265732"/>
                <a:gd name="connsiteY314" fmla="*/ 362017 h 369053"/>
                <a:gd name="connsiteX315" fmla="*/ 64557 w 265732"/>
                <a:gd name="connsiteY315" fmla="*/ 360593 h 369053"/>
                <a:gd name="connsiteX316" fmla="*/ 64557 w 265732"/>
                <a:gd name="connsiteY316" fmla="*/ 359997 h 369053"/>
                <a:gd name="connsiteX317" fmla="*/ 65276 w 265732"/>
                <a:gd name="connsiteY317" fmla="*/ 358120 h 369053"/>
                <a:gd name="connsiteX318" fmla="*/ 64648 w 265732"/>
                <a:gd name="connsiteY318" fmla="*/ 357792 h 369053"/>
                <a:gd name="connsiteX319" fmla="*/ 65246 w 265732"/>
                <a:gd name="connsiteY319" fmla="*/ 356319 h 369053"/>
                <a:gd name="connsiteX320" fmla="*/ 66203 w 265732"/>
                <a:gd name="connsiteY320" fmla="*/ 356398 h 369053"/>
                <a:gd name="connsiteX321" fmla="*/ 67336 w 265732"/>
                <a:gd name="connsiteY321" fmla="*/ 356180 h 369053"/>
                <a:gd name="connsiteX322" fmla="*/ 67904 w 265732"/>
                <a:gd name="connsiteY322" fmla="*/ 355422 h 369053"/>
                <a:gd name="connsiteX323" fmla="*/ 67861 w 265732"/>
                <a:gd name="connsiteY323" fmla="*/ 354517 h 369053"/>
                <a:gd name="connsiteX324" fmla="*/ 66285 w 265732"/>
                <a:gd name="connsiteY324" fmla="*/ 354282 h 369053"/>
                <a:gd name="connsiteX325" fmla="*/ 66188 w 265732"/>
                <a:gd name="connsiteY325" fmla="*/ 353664 h 369053"/>
                <a:gd name="connsiteX326" fmla="*/ 67593 w 265732"/>
                <a:gd name="connsiteY326" fmla="*/ 351083 h 369053"/>
                <a:gd name="connsiteX327" fmla="*/ 67794 w 265732"/>
                <a:gd name="connsiteY327" fmla="*/ 350369 h 369053"/>
                <a:gd name="connsiteX328" fmla="*/ 67250 w 265732"/>
                <a:gd name="connsiteY328" fmla="*/ 350221 h 369053"/>
                <a:gd name="connsiteX329" fmla="*/ 66369 w 265732"/>
                <a:gd name="connsiteY329" fmla="*/ 350502 h 369053"/>
                <a:gd name="connsiteX330" fmla="*/ 60562 w 265732"/>
                <a:gd name="connsiteY330" fmla="*/ 349692 h 369053"/>
                <a:gd name="connsiteX331" fmla="*/ 53400 w 265732"/>
                <a:gd name="connsiteY331" fmla="*/ 346385 h 369053"/>
                <a:gd name="connsiteX332" fmla="*/ 51638 w 265732"/>
                <a:gd name="connsiteY332" fmla="*/ 346214 h 369053"/>
                <a:gd name="connsiteX333" fmla="*/ 50554 w 265732"/>
                <a:gd name="connsiteY333" fmla="*/ 343257 h 369053"/>
                <a:gd name="connsiteX334" fmla="*/ 48826 w 265732"/>
                <a:gd name="connsiteY334" fmla="*/ 343632 h 369053"/>
                <a:gd name="connsiteX335" fmla="*/ 46308 w 265732"/>
                <a:gd name="connsiteY335" fmla="*/ 345363 h 369053"/>
                <a:gd name="connsiteX336" fmla="*/ 44419 w 265732"/>
                <a:gd name="connsiteY336" fmla="*/ 344048 h 369053"/>
                <a:gd name="connsiteX337" fmla="*/ 42389 w 265732"/>
                <a:gd name="connsiteY337" fmla="*/ 343182 h 369053"/>
                <a:gd name="connsiteX338" fmla="*/ 41827 w 265732"/>
                <a:gd name="connsiteY338" fmla="*/ 341828 h 369053"/>
                <a:gd name="connsiteX339" fmla="*/ 41856 w 265732"/>
                <a:gd name="connsiteY339" fmla="*/ 339829 h 369053"/>
                <a:gd name="connsiteX340" fmla="*/ 41681 w 265732"/>
                <a:gd name="connsiteY340" fmla="*/ 337469 h 369053"/>
                <a:gd name="connsiteX341" fmla="*/ 41126 w 265732"/>
                <a:gd name="connsiteY341" fmla="*/ 334704 h 369053"/>
                <a:gd name="connsiteX342" fmla="*/ 40720 w 265732"/>
                <a:gd name="connsiteY342" fmla="*/ 330768 h 369053"/>
                <a:gd name="connsiteX343" fmla="*/ 41100 w 265732"/>
                <a:gd name="connsiteY343" fmla="*/ 327687 h 369053"/>
                <a:gd name="connsiteX344" fmla="*/ 42719 w 265732"/>
                <a:gd name="connsiteY344" fmla="*/ 325403 h 369053"/>
                <a:gd name="connsiteX345" fmla="*/ 43341 w 265732"/>
                <a:gd name="connsiteY345" fmla="*/ 323944 h 369053"/>
                <a:gd name="connsiteX346" fmla="*/ 44101 w 265732"/>
                <a:gd name="connsiteY346" fmla="*/ 320215 h 369053"/>
                <a:gd name="connsiteX347" fmla="*/ 44272 w 265732"/>
                <a:gd name="connsiteY347" fmla="*/ 315839 h 369053"/>
                <a:gd name="connsiteX348" fmla="*/ 43842 w 265732"/>
                <a:gd name="connsiteY348" fmla="*/ 314347 h 369053"/>
                <a:gd name="connsiteX349" fmla="*/ 43950 w 265732"/>
                <a:gd name="connsiteY349" fmla="*/ 313354 h 369053"/>
                <a:gd name="connsiteX350" fmla="*/ 45242 w 265732"/>
                <a:gd name="connsiteY350" fmla="*/ 313354 h 369053"/>
                <a:gd name="connsiteX351" fmla="*/ 44961 w 265732"/>
                <a:gd name="connsiteY351" fmla="*/ 312502 h 369053"/>
                <a:gd name="connsiteX352" fmla="*/ 44393 w 265732"/>
                <a:gd name="connsiteY352" fmla="*/ 312035 h 369053"/>
                <a:gd name="connsiteX353" fmla="*/ 43765 w 265732"/>
                <a:gd name="connsiteY353" fmla="*/ 311065 h 369053"/>
                <a:gd name="connsiteX354" fmla="*/ 44300 w 265732"/>
                <a:gd name="connsiteY354" fmla="*/ 310551 h 369053"/>
                <a:gd name="connsiteX355" fmla="*/ 45846 w 265732"/>
                <a:gd name="connsiteY355" fmla="*/ 310514 h 369053"/>
                <a:gd name="connsiteX356" fmla="*/ 45971 w 265732"/>
                <a:gd name="connsiteY356" fmla="*/ 310187 h 369053"/>
                <a:gd name="connsiteX357" fmla="*/ 46146 w 265732"/>
                <a:gd name="connsiteY357" fmla="*/ 309723 h 369053"/>
                <a:gd name="connsiteX358" fmla="*/ 44950 w 265732"/>
                <a:gd name="connsiteY358" fmla="*/ 307170 h 369053"/>
                <a:gd name="connsiteX359" fmla="*/ 44812 w 265732"/>
                <a:gd name="connsiteY359" fmla="*/ 305952 h 369053"/>
                <a:gd name="connsiteX360" fmla="*/ 43151 w 265732"/>
                <a:gd name="connsiteY360" fmla="*/ 302250 h 369053"/>
                <a:gd name="connsiteX361" fmla="*/ 41257 w 265732"/>
                <a:gd name="connsiteY361" fmla="*/ 298735 h 369053"/>
                <a:gd name="connsiteX362" fmla="*/ 38407 w 265732"/>
                <a:gd name="connsiteY362" fmla="*/ 296188 h 369053"/>
                <a:gd name="connsiteX363" fmla="*/ 39418 w 265732"/>
                <a:gd name="connsiteY363" fmla="*/ 291988 h 369053"/>
                <a:gd name="connsiteX364" fmla="*/ 40569 w 265732"/>
                <a:gd name="connsiteY364" fmla="*/ 288184 h 369053"/>
                <a:gd name="connsiteX365" fmla="*/ 40340 w 265732"/>
                <a:gd name="connsiteY365" fmla="*/ 286349 h 369053"/>
                <a:gd name="connsiteX366" fmla="*/ 39899 w 265732"/>
                <a:gd name="connsiteY366" fmla="*/ 284114 h 369053"/>
                <a:gd name="connsiteX367" fmla="*/ 36410 w 265732"/>
                <a:gd name="connsiteY367" fmla="*/ 281660 h 369053"/>
                <a:gd name="connsiteX368" fmla="*/ 35891 w 265732"/>
                <a:gd name="connsiteY368" fmla="*/ 278196 h 369053"/>
                <a:gd name="connsiteX369" fmla="*/ 35038 w 265732"/>
                <a:gd name="connsiteY369" fmla="*/ 274472 h 369053"/>
                <a:gd name="connsiteX370" fmla="*/ 35360 w 265732"/>
                <a:gd name="connsiteY370" fmla="*/ 272185 h 369053"/>
                <a:gd name="connsiteX371" fmla="*/ 35928 w 265732"/>
                <a:gd name="connsiteY371" fmla="*/ 270433 h 369053"/>
                <a:gd name="connsiteX372" fmla="*/ 37075 w 265732"/>
                <a:gd name="connsiteY372" fmla="*/ 268687 h 369053"/>
                <a:gd name="connsiteX373" fmla="*/ 42864 w 265732"/>
                <a:gd name="connsiteY373" fmla="*/ 263167 h 369053"/>
                <a:gd name="connsiteX374" fmla="*/ 43218 w 265732"/>
                <a:gd name="connsiteY374" fmla="*/ 260279 h 369053"/>
                <a:gd name="connsiteX375" fmla="*/ 47142 w 265732"/>
                <a:gd name="connsiteY375" fmla="*/ 260069 h 369053"/>
                <a:gd name="connsiteX376" fmla="*/ 45321 w 265732"/>
                <a:gd name="connsiteY376" fmla="*/ 257484 h 369053"/>
                <a:gd name="connsiteX377" fmla="*/ 44892 w 265732"/>
                <a:gd name="connsiteY377" fmla="*/ 256031 h 369053"/>
                <a:gd name="connsiteX378" fmla="*/ 44801 w 265732"/>
                <a:gd name="connsiteY378" fmla="*/ 254334 h 369053"/>
                <a:gd name="connsiteX379" fmla="*/ 50446 w 265732"/>
                <a:gd name="connsiteY379" fmla="*/ 253171 h 369053"/>
                <a:gd name="connsiteX380" fmla="*/ 52553 w 265732"/>
                <a:gd name="connsiteY380" fmla="*/ 254126 h 369053"/>
                <a:gd name="connsiteX381" fmla="*/ 57520 w 265732"/>
                <a:gd name="connsiteY381" fmla="*/ 252946 h 369053"/>
                <a:gd name="connsiteX382" fmla="*/ 61929 w 265732"/>
                <a:gd name="connsiteY382" fmla="*/ 250636 h 369053"/>
                <a:gd name="connsiteX383" fmla="*/ 61851 w 265732"/>
                <a:gd name="connsiteY383" fmla="*/ 249407 h 369053"/>
                <a:gd name="connsiteX384" fmla="*/ 61174 w 265732"/>
                <a:gd name="connsiteY384" fmla="*/ 248306 h 369053"/>
                <a:gd name="connsiteX385" fmla="*/ 60238 w 265732"/>
                <a:gd name="connsiteY385" fmla="*/ 246185 h 369053"/>
                <a:gd name="connsiteX386" fmla="*/ 60901 w 265732"/>
                <a:gd name="connsiteY386" fmla="*/ 245596 h 369053"/>
                <a:gd name="connsiteX387" fmla="*/ 62510 w 265732"/>
                <a:gd name="connsiteY387" fmla="*/ 246029 h 369053"/>
                <a:gd name="connsiteX388" fmla="*/ 61772 w 265732"/>
                <a:gd name="connsiteY388" fmla="*/ 244974 h 369053"/>
                <a:gd name="connsiteX389" fmla="*/ 61906 w 265732"/>
                <a:gd name="connsiteY389" fmla="*/ 243861 h 369053"/>
                <a:gd name="connsiteX390" fmla="*/ 63661 w 265732"/>
                <a:gd name="connsiteY390" fmla="*/ 244324 h 369053"/>
                <a:gd name="connsiteX391" fmla="*/ 66527 w 265732"/>
                <a:gd name="connsiteY391" fmla="*/ 241214 h 369053"/>
                <a:gd name="connsiteX392" fmla="*/ 66630 w 265732"/>
                <a:gd name="connsiteY392" fmla="*/ 238835 h 369053"/>
                <a:gd name="connsiteX393" fmla="*/ 71582 w 265732"/>
                <a:gd name="connsiteY393" fmla="*/ 237590 h 369053"/>
                <a:gd name="connsiteX394" fmla="*/ 77291 w 265732"/>
                <a:gd name="connsiteY394" fmla="*/ 232724 h 369053"/>
                <a:gd name="connsiteX395" fmla="*/ 79926 w 265732"/>
                <a:gd name="connsiteY395" fmla="*/ 231207 h 369053"/>
                <a:gd name="connsiteX396" fmla="*/ 82471 w 265732"/>
                <a:gd name="connsiteY396" fmla="*/ 230108 h 369053"/>
                <a:gd name="connsiteX397" fmla="*/ 87894 w 265732"/>
                <a:gd name="connsiteY397" fmla="*/ 225229 h 369053"/>
                <a:gd name="connsiteX398" fmla="*/ 90215 w 265732"/>
                <a:gd name="connsiteY398" fmla="*/ 225002 h 369053"/>
                <a:gd name="connsiteX399" fmla="*/ 91409 w 265732"/>
                <a:gd name="connsiteY399" fmla="*/ 221706 h 369053"/>
                <a:gd name="connsiteX400" fmla="*/ 96020 w 265732"/>
                <a:gd name="connsiteY400" fmla="*/ 217312 h 369053"/>
                <a:gd name="connsiteX401" fmla="*/ 97421 w 265732"/>
                <a:gd name="connsiteY401" fmla="*/ 216749 h 369053"/>
                <a:gd name="connsiteX402" fmla="*/ 99576 w 265732"/>
                <a:gd name="connsiteY402" fmla="*/ 212779 h 369053"/>
                <a:gd name="connsiteX403" fmla="*/ 105238 w 265732"/>
                <a:gd name="connsiteY403" fmla="*/ 208180 h 369053"/>
                <a:gd name="connsiteX404" fmla="*/ 108827 w 265732"/>
                <a:gd name="connsiteY404" fmla="*/ 202302 h 369053"/>
                <a:gd name="connsiteX405" fmla="*/ 110807 w 265732"/>
                <a:gd name="connsiteY405" fmla="*/ 200210 h 369053"/>
                <a:gd name="connsiteX406" fmla="*/ 111420 w 265732"/>
                <a:gd name="connsiteY406" fmla="*/ 197980 h 369053"/>
                <a:gd name="connsiteX407" fmla="*/ 113625 w 265732"/>
                <a:gd name="connsiteY407" fmla="*/ 197791 h 369053"/>
                <a:gd name="connsiteX408" fmla="*/ 115614 w 265732"/>
                <a:gd name="connsiteY408" fmla="*/ 196151 h 369053"/>
                <a:gd name="connsiteX409" fmla="*/ 119917 w 265732"/>
                <a:gd name="connsiteY409" fmla="*/ 195007 h 369053"/>
                <a:gd name="connsiteX410" fmla="*/ 124165 w 265732"/>
                <a:gd name="connsiteY410" fmla="*/ 195324 h 369053"/>
                <a:gd name="connsiteX411" fmla="*/ 125934 w 265732"/>
                <a:gd name="connsiteY411" fmla="*/ 196102 h 369053"/>
                <a:gd name="connsiteX412" fmla="*/ 127568 w 265732"/>
                <a:gd name="connsiteY412" fmla="*/ 195855 h 369053"/>
                <a:gd name="connsiteX413" fmla="*/ 127404 w 265732"/>
                <a:gd name="connsiteY413" fmla="*/ 193846 h 369053"/>
                <a:gd name="connsiteX414" fmla="*/ 126238 w 265732"/>
                <a:gd name="connsiteY414" fmla="*/ 192604 h 369053"/>
                <a:gd name="connsiteX415" fmla="*/ 127190 w 265732"/>
                <a:gd name="connsiteY415" fmla="*/ 191411 h 369053"/>
                <a:gd name="connsiteX416" fmla="*/ 129436 w 265732"/>
                <a:gd name="connsiteY416" fmla="*/ 190506 h 369053"/>
                <a:gd name="connsiteX417" fmla="*/ 129207 w 265732"/>
                <a:gd name="connsiteY417" fmla="*/ 188505 h 369053"/>
                <a:gd name="connsiteX418" fmla="*/ 128719 w 265732"/>
                <a:gd name="connsiteY418" fmla="*/ 187300 h 369053"/>
                <a:gd name="connsiteX419" fmla="*/ 126853 w 265732"/>
                <a:gd name="connsiteY419" fmla="*/ 185694 h 369053"/>
                <a:gd name="connsiteX420" fmla="*/ 127782 w 265732"/>
                <a:gd name="connsiteY420" fmla="*/ 182092 h 369053"/>
                <a:gd name="connsiteX421" fmla="*/ 128004 w 265732"/>
                <a:gd name="connsiteY421" fmla="*/ 178137 h 369053"/>
                <a:gd name="connsiteX422" fmla="*/ 128888 w 265732"/>
                <a:gd name="connsiteY422" fmla="*/ 173559 h 369053"/>
                <a:gd name="connsiteX423" fmla="*/ 126542 w 265732"/>
                <a:gd name="connsiteY423" fmla="*/ 171129 h 369053"/>
                <a:gd name="connsiteX424" fmla="*/ 117644 w 265732"/>
                <a:gd name="connsiteY424" fmla="*/ 166987 h 369053"/>
                <a:gd name="connsiteX425" fmla="*/ 115983 w 265732"/>
                <a:gd name="connsiteY425" fmla="*/ 167131 h 369053"/>
                <a:gd name="connsiteX426" fmla="*/ 114007 w 265732"/>
                <a:gd name="connsiteY426" fmla="*/ 166611 h 369053"/>
                <a:gd name="connsiteX427" fmla="*/ 111943 w 265732"/>
                <a:gd name="connsiteY427" fmla="*/ 163467 h 369053"/>
                <a:gd name="connsiteX428" fmla="*/ 112865 w 265732"/>
                <a:gd name="connsiteY428" fmla="*/ 160750 h 369053"/>
                <a:gd name="connsiteX429" fmla="*/ 112971 w 265732"/>
                <a:gd name="connsiteY429" fmla="*/ 159748 h 369053"/>
                <a:gd name="connsiteX430" fmla="*/ 112165 w 265732"/>
                <a:gd name="connsiteY430" fmla="*/ 159778 h 369053"/>
                <a:gd name="connsiteX431" fmla="*/ 110861 w 265732"/>
                <a:gd name="connsiteY431" fmla="*/ 161103 h 369053"/>
                <a:gd name="connsiteX432" fmla="*/ 108023 w 265732"/>
                <a:gd name="connsiteY432" fmla="*/ 162617 h 369053"/>
                <a:gd name="connsiteX433" fmla="*/ 104335 w 265732"/>
                <a:gd name="connsiteY433" fmla="*/ 161455 h 369053"/>
                <a:gd name="connsiteX434" fmla="*/ 102521 w 265732"/>
                <a:gd name="connsiteY434" fmla="*/ 161713 h 369053"/>
                <a:gd name="connsiteX435" fmla="*/ 100168 w 265732"/>
                <a:gd name="connsiteY435" fmla="*/ 154976 h 369053"/>
                <a:gd name="connsiteX436" fmla="*/ 98965 w 265732"/>
                <a:gd name="connsiteY436" fmla="*/ 152396 h 369053"/>
                <a:gd name="connsiteX437" fmla="*/ 97035 w 265732"/>
                <a:gd name="connsiteY437" fmla="*/ 149175 h 369053"/>
                <a:gd name="connsiteX438" fmla="*/ 93588 w 265732"/>
                <a:gd name="connsiteY438" fmla="*/ 147600 h 369053"/>
                <a:gd name="connsiteX439" fmla="*/ 92914 w 265732"/>
                <a:gd name="connsiteY439" fmla="*/ 146709 h 369053"/>
                <a:gd name="connsiteX440" fmla="*/ 92457 w 265732"/>
                <a:gd name="connsiteY440" fmla="*/ 145343 h 369053"/>
                <a:gd name="connsiteX441" fmla="*/ 92307 w 265732"/>
                <a:gd name="connsiteY441" fmla="*/ 143444 h 369053"/>
                <a:gd name="connsiteX442" fmla="*/ 91871 w 265732"/>
                <a:gd name="connsiteY442" fmla="*/ 140631 h 369053"/>
                <a:gd name="connsiteX443" fmla="*/ 92053 w 265732"/>
                <a:gd name="connsiteY443" fmla="*/ 138321 h 369053"/>
                <a:gd name="connsiteX444" fmla="*/ 92476 w 265732"/>
                <a:gd name="connsiteY444" fmla="*/ 136943 h 369053"/>
                <a:gd name="connsiteX445" fmla="*/ 93961 w 265732"/>
                <a:gd name="connsiteY445" fmla="*/ 136017 h 369053"/>
                <a:gd name="connsiteX446" fmla="*/ 96110 w 265732"/>
                <a:gd name="connsiteY446" fmla="*/ 133403 h 369053"/>
                <a:gd name="connsiteX447" fmla="*/ 96559 w 265732"/>
                <a:gd name="connsiteY447" fmla="*/ 131501 h 369053"/>
                <a:gd name="connsiteX448" fmla="*/ 96743 w 265732"/>
                <a:gd name="connsiteY448" fmla="*/ 128581 h 369053"/>
                <a:gd name="connsiteX449" fmla="*/ 97732 w 265732"/>
                <a:gd name="connsiteY449" fmla="*/ 126028 h 369053"/>
                <a:gd name="connsiteX450" fmla="*/ 98831 w 265732"/>
                <a:gd name="connsiteY450" fmla="*/ 124736 h 369053"/>
                <a:gd name="connsiteX451" fmla="*/ 98555 w 265732"/>
                <a:gd name="connsiteY451" fmla="*/ 123708 h 369053"/>
                <a:gd name="connsiteX452" fmla="*/ 97797 w 265732"/>
                <a:gd name="connsiteY452" fmla="*/ 122236 h 369053"/>
                <a:gd name="connsiteX453" fmla="*/ 96194 w 265732"/>
                <a:gd name="connsiteY453" fmla="*/ 120145 h 369053"/>
                <a:gd name="connsiteX454" fmla="*/ 93754 w 265732"/>
                <a:gd name="connsiteY454" fmla="*/ 117593 h 369053"/>
                <a:gd name="connsiteX455" fmla="*/ 91949 w 265732"/>
                <a:gd name="connsiteY455" fmla="*/ 115149 h 369053"/>
                <a:gd name="connsiteX456" fmla="*/ 91157 w 265732"/>
                <a:gd name="connsiteY456" fmla="*/ 112862 h 369053"/>
                <a:gd name="connsiteX457" fmla="*/ 90749 w 265732"/>
                <a:gd name="connsiteY457" fmla="*/ 110816 h 369053"/>
                <a:gd name="connsiteX458" fmla="*/ 90815 w 265732"/>
                <a:gd name="connsiteY458" fmla="*/ 108953 h 369053"/>
                <a:gd name="connsiteX459" fmla="*/ 91491 w 265732"/>
                <a:gd name="connsiteY459" fmla="*/ 107684 h 369053"/>
                <a:gd name="connsiteX460" fmla="*/ 93798 w 265732"/>
                <a:gd name="connsiteY460" fmla="*/ 106085 h 369053"/>
                <a:gd name="connsiteX461" fmla="*/ 94106 w 265732"/>
                <a:gd name="connsiteY461" fmla="*/ 105406 h 369053"/>
                <a:gd name="connsiteX462" fmla="*/ 93193 w 265732"/>
                <a:gd name="connsiteY462" fmla="*/ 101868 h 369053"/>
                <a:gd name="connsiteX463" fmla="*/ 91584 w 265732"/>
                <a:gd name="connsiteY463" fmla="*/ 101223 h 369053"/>
                <a:gd name="connsiteX464" fmla="*/ 88848 w 265732"/>
                <a:gd name="connsiteY464" fmla="*/ 100880 h 369053"/>
                <a:gd name="connsiteX465" fmla="*/ 87322 w 265732"/>
                <a:gd name="connsiteY465" fmla="*/ 100851 h 369053"/>
                <a:gd name="connsiteX466" fmla="*/ 87030 w 265732"/>
                <a:gd name="connsiteY466" fmla="*/ 100464 h 369053"/>
                <a:gd name="connsiteX467" fmla="*/ 86955 w 265732"/>
                <a:gd name="connsiteY467" fmla="*/ 99751 h 369053"/>
                <a:gd name="connsiteX468" fmla="*/ 87263 w 265732"/>
                <a:gd name="connsiteY468" fmla="*/ 98297 h 369053"/>
                <a:gd name="connsiteX469" fmla="*/ 88127 w 265732"/>
                <a:gd name="connsiteY469" fmla="*/ 96629 h 369053"/>
                <a:gd name="connsiteX470" fmla="*/ 88846 w 265732"/>
                <a:gd name="connsiteY470" fmla="*/ 95566 h 369053"/>
                <a:gd name="connsiteX471" fmla="*/ 88941 w 265732"/>
                <a:gd name="connsiteY471" fmla="*/ 94664 h 369053"/>
                <a:gd name="connsiteX472" fmla="*/ 88032 w 265732"/>
                <a:gd name="connsiteY472" fmla="*/ 91575 h 369053"/>
                <a:gd name="connsiteX473" fmla="*/ 87758 w 265732"/>
                <a:gd name="connsiteY473" fmla="*/ 87780 h 369053"/>
                <a:gd name="connsiteX474" fmla="*/ 88069 w 265732"/>
                <a:gd name="connsiteY474" fmla="*/ 84803 h 369053"/>
                <a:gd name="connsiteX475" fmla="*/ 90967 w 265732"/>
                <a:gd name="connsiteY475" fmla="*/ 82604 h 369053"/>
                <a:gd name="connsiteX476" fmla="*/ 91098 w 265732"/>
                <a:gd name="connsiteY476" fmla="*/ 81800 h 369053"/>
                <a:gd name="connsiteX477" fmla="*/ 87458 w 265732"/>
                <a:gd name="connsiteY477" fmla="*/ 79410 h 369053"/>
                <a:gd name="connsiteX478" fmla="*/ 84832 w 265732"/>
                <a:gd name="connsiteY478" fmla="*/ 76697 h 369053"/>
                <a:gd name="connsiteX479" fmla="*/ 84016 w 265732"/>
                <a:gd name="connsiteY479" fmla="*/ 75112 h 369053"/>
                <a:gd name="connsiteX480" fmla="*/ 81007 w 265732"/>
                <a:gd name="connsiteY480" fmla="*/ 74872 h 369053"/>
                <a:gd name="connsiteX481" fmla="*/ 79135 w 265732"/>
                <a:gd name="connsiteY481" fmla="*/ 70260 h 369053"/>
                <a:gd name="connsiteX482" fmla="*/ 76427 w 265732"/>
                <a:gd name="connsiteY482" fmla="*/ 68010 h 369053"/>
                <a:gd name="connsiteX483" fmla="*/ 73745 w 265732"/>
                <a:gd name="connsiteY483" fmla="*/ 66065 h 369053"/>
                <a:gd name="connsiteX484" fmla="*/ 72160 w 265732"/>
                <a:gd name="connsiteY484" fmla="*/ 65159 h 369053"/>
                <a:gd name="connsiteX485" fmla="*/ 62866 w 265732"/>
                <a:gd name="connsiteY485" fmla="*/ 62360 h 369053"/>
                <a:gd name="connsiteX486" fmla="*/ 59174 w 265732"/>
                <a:gd name="connsiteY486" fmla="*/ 61827 h 369053"/>
                <a:gd name="connsiteX487" fmla="*/ 54803 w 265732"/>
                <a:gd name="connsiteY487" fmla="*/ 60192 h 369053"/>
                <a:gd name="connsiteX488" fmla="*/ 51547 w 265732"/>
                <a:gd name="connsiteY488" fmla="*/ 58137 h 369053"/>
                <a:gd name="connsiteX489" fmla="*/ 48757 w 265732"/>
                <a:gd name="connsiteY489" fmla="*/ 56814 h 369053"/>
                <a:gd name="connsiteX490" fmla="*/ 46369 w 265732"/>
                <a:gd name="connsiteY490" fmla="*/ 55182 h 369053"/>
                <a:gd name="connsiteX491" fmla="*/ 43039 w 265732"/>
                <a:gd name="connsiteY491" fmla="*/ 53654 h 369053"/>
                <a:gd name="connsiteX492" fmla="*/ 42087 w 265732"/>
                <a:gd name="connsiteY492" fmla="*/ 52347 h 369053"/>
                <a:gd name="connsiteX493" fmla="*/ 38491 w 265732"/>
                <a:gd name="connsiteY493" fmla="*/ 49924 h 369053"/>
                <a:gd name="connsiteX494" fmla="*/ 36803 w 265732"/>
                <a:gd name="connsiteY494" fmla="*/ 48328 h 369053"/>
                <a:gd name="connsiteX495" fmla="*/ 30946 w 265732"/>
                <a:gd name="connsiteY495" fmla="*/ 45309 h 369053"/>
                <a:gd name="connsiteX496" fmla="*/ 30735 w 265732"/>
                <a:gd name="connsiteY496" fmla="*/ 44117 h 369053"/>
                <a:gd name="connsiteX497" fmla="*/ 30692 w 265732"/>
                <a:gd name="connsiteY497" fmla="*/ 42966 h 369053"/>
                <a:gd name="connsiteX498" fmla="*/ 30428 w 265732"/>
                <a:gd name="connsiteY498" fmla="*/ 42488 h 369053"/>
                <a:gd name="connsiteX499" fmla="*/ 24392 w 265732"/>
                <a:gd name="connsiteY499" fmla="*/ 40278 h 369053"/>
                <a:gd name="connsiteX500" fmla="*/ 25580 w 265732"/>
                <a:gd name="connsiteY500" fmla="*/ 39013 h 369053"/>
                <a:gd name="connsiteX501" fmla="*/ 30299 w 265732"/>
                <a:gd name="connsiteY501" fmla="*/ 38937 h 369053"/>
                <a:gd name="connsiteX502" fmla="*/ 34201 w 265732"/>
                <a:gd name="connsiteY502" fmla="*/ 40088 h 369053"/>
                <a:gd name="connsiteX503" fmla="*/ 35058 w 265732"/>
                <a:gd name="connsiteY503" fmla="*/ 39596 h 369053"/>
                <a:gd name="connsiteX504" fmla="*/ 35574 w 265732"/>
                <a:gd name="connsiteY504" fmla="*/ 38573 h 369053"/>
                <a:gd name="connsiteX505" fmla="*/ 33911 w 265732"/>
                <a:gd name="connsiteY505" fmla="*/ 34464 h 369053"/>
                <a:gd name="connsiteX506" fmla="*/ 34209 w 265732"/>
                <a:gd name="connsiteY506" fmla="*/ 33393 h 369053"/>
                <a:gd name="connsiteX507" fmla="*/ 35926 w 265732"/>
                <a:gd name="connsiteY507" fmla="*/ 32102 h 369053"/>
                <a:gd name="connsiteX508" fmla="*/ 38647 w 265732"/>
                <a:gd name="connsiteY508" fmla="*/ 31074 h 369053"/>
                <a:gd name="connsiteX509" fmla="*/ 42946 w 265732"/>
                <a:gd name="connsiteY509" fmla="*/ 30925 h 369053"/>
                <a:gd name="connsiteX510" fmla="*/ 45876 w 265732"/>
                <a:gd name="connsiteY510" fmla="*/ 31077 h 369053"/>
                <a:gd name="connsiteX511" fmla="*/ 46496 w 265732"/>
                <a:gd name="connsiteY511" fmla="*/ 31189 h 369053"/>
                <a:gd name="connsiteX512" fmla="*/ 50873 w 265732"/>
                <a:gd name="connsiteY512" fmla="*/ 35711 h 369053"/>
                <a:gd name="connsiteX513" fmla="*/ 54626 w 265732"/>
                <a:gd name="connsiteY513" fmla="*/ 40113 h 369053"/>
                <a:gd name="connsiteX514" fmla="*/ 56622 w 265732"/>
                <a:gd name="connsiteY514" fmla="*/ 41986 h 369053"/>
                <a:gd name="connsiteX515" fmla="*/ 61502 w 265732"/>
                <a:gd name="connsiteY515" fmla="*/ 47283 h 369053"/>
                <a:gd name="connsiteX516" fmla="*/ 63327 w 265732"/>
                <a:gd name="connsiteY516" fmla="*/ 50342 h 369053"/>
                <a:gd name="connsiteX517" fmla="*/ 63946 w 265732"/>
                <a:gd name="connsiteY517" fmla="*/ 52530 h 369053"/>
                <a:gd name="connsiteX518" fmla="*/ 65931 w 265732"/>
                <a:gd name="connsiteY518" fmla="*/ 52516 h 369053"/>
                <a:gd name="connsiteX519" fmla="*/ 72793 w 265732"/>
                <a:gd name="connsiteY519" fmla="*/ 53475 h 369053"/>
                <a:gd name="connsiteX520" fmla="*/ 78557 w 265732"/>
                <a:gd name="connsiteY520" fmla="*/ 54282 h 369053"/>
                <a:gd name="connsiteX521" fmla="*/ 80163 w 265732"/>
                <a:gd name="connsiteY521" fmla="*/ 55505 h 369053"/>
                <a:gd name="connsiteX522" fmla="*/ 84137 w 265732"/>
                <a:gd name="connsiteY522" fmla="*/ 55259 h 369053"/>
                <a:gd name="connsiteX523" fmla="*/ 87198 w 265732"/>
                <a:gd name="connsiteY523" fmla="*/ 54156 h 369053"/>
                <a:gd name="connsiteX524" fmla="*/ 92605 w 265732"/>
                <a:gd name="connsiteY524" fmla="*/ 52761 h 369053"/>
                <a:gd name="connsiteX525" fmla="*/ 94055 w 265732"/>
                <a:gd name="connsiteY525" fmla="*/ 51044 h 369053"/>
                <a:gd name="connsiteX526" fmla="*/ 95855 w 265732"/>
                <a:gd name="connsiteY526" fmla="*/ 49212 h 369053"/>
                <a:gd name="connsiteX527" fmla="*/ 99026 w 265732"/>
                <a:gd name="connsiteY527" fmla="*/ 49500 h 369053"/>
                <a:gd name="connsiteX528" fmla="*/ 102491 w 265732"/>
                <a:gd name="connsiteY528" fmla="*/ 50949 h 369053"/>
                <a:gd name="connsiteX529" fmla="*/ 106425 w 265732"/>
                <a:gd name="connsiteY529" fmla="*/ 52851 h 369053"/>
                <a:gd name="connsiteX530" fmla="*/ 109930 w 265732"/>
                <a:gd name="connsiteY530" fmla="*/ 53731 h 369053"/>
                <a:gd name="connsiteX531" fmla="*/ 114633 w 265732"/>
                <a:gd name="connsiteY531" fmla="*/ 55111 h 369053"/>
                <a:gd name="connsiteX532" fmla="*/ 116827 w 265732"/>
                <a:gd name="connsiteY532" fmla="*/ 56893 h 369053"/>
                <a:gd name="connsiteX533" fmla="*/ 119900 w 265732"/>
                <a:gd name="connsiteY533" fmla="*/ 57401 h 369053"/>
                <a:gd name="connsiteX534" fmla="*/ 123117 w 265732"/>
                <a:gd name="connsiteY534" fmla="*/ 55620 h 369053"/>
                <a:gd name="connsiteX535" fmla="*/ 125018 w 265732"/>
                <a:gd name="connsiteY535" fmla="*/ 50779 h 369053"/>
                <a:gd name="connsiteX536" fmla="*/ 126704 w 265732"/>
                <a:gd name="connsiteY536" fmla="*/ 48616 h 369053"/>
                <a:gd name="connsiteX537" fmla="*/ 129093 w 265732"/>
                <a:gd name="connsiteY537" fmla="*/ 47028 h 369053"/>
                <a:gd name="connsiteX538" fmla="*/ 131829 w 265732"/>
                <a:gd name="connsiteY538" fmla="*/ 46327 h 369053"/>
                <a:gd name="connsiteX539" fmla="*/ 133917 w 265732"/>
                <a:gd name="connsiteY539" fmla="*/ 46073 h 369053"/>
                <a:gd name="connsiteX540" fmla="*/ 135495 w 265732"/>
                <a:gd name="connsiteY540" fmla="*/ 44837 h 369053"/>
                <a:gd name="connsiteX541" fmla="*/ 137743 w 265732"/>
                <a:gd name="connsiteY541" fmla="*/ 42089 h 369053"/>
                <a:gd name="connsiteX542" fmla="*/ 138182 w 265732"/>
                <a:gd name="connsiteY542" fmla="*/ 38755 h 369053"/>
                <a:gd name="connsiteX543" fmla="*/ 137750 w 265732"/>
                <a:gd name="connsiteY543" fmla="*/ 32718 h 369053"/>
                <a:gd name="connsiteX544" fmla="*/ 138160 w 265732"/>
                <a:gd name="connsiteY544" fmla="*/ 30723 h 369053"/>
                <a:gd name="connsiteX545" fmla="*/ 139996 w 265732"/>
                <a:gd name="connsiteY545" fmla="*/ 27454 h 369053"/>
                <a:gd name="connsiteX546" fmla="*/ 142457 w 265732"/>
                <a:gd name="connsiteY546" fmla="*/ 18764 h 369053"/>
                <a:gd name="connsiteX547" fmla="*/ 143563 w 265732"/>
                <a:gd name="connsiteY547" fmla="*/ 16253 h 369053"/>
                <a:gd name="connsiteX548" fmla="*/ 144910 w 265732"/>
                <a:gd name="connsiteY548" fmla="*/ 14724 h 369053"/>
                <a:gd name="connsiteX549" fmla="*/ 146761 w 265732"/>
                <a:gd name="connsiteY549" fmla="*/ 13814 h 369053"/>
                <a:gd name="connsiteX550" fmla="*/ 150123 w 265732"/>
                <a:gd name="connsiteY550" fmla="*/ 11169 h 369053"/>
                <a:gd name="connsiteX551" fmla="*/ 154925 w 265732"/>
                <a:gd name="connsiteY551" fmla="*/ 5923 h 369053"/>
                <a:gd name="connsiteX552" fmla="*/ 156227 w 265732"/>
                <a:gd name="connsiteY552" fmla="*/ 5477 h 369053"/>
                <a:gd name="connsiteX553" fmla="*/ 159676 w 265732"/>
                <a:gd name="connsiteY553" fmla="*/ 5211 h 369053"/>
                <a:gd name="connsiteX554" fmla="*/ 163967 w 265732"/>
                <a:gd name="connsiteY554" fmla="*/ 5406 h 369053"/>
                <a:gd name="connsiteX555" fmla="*/ 167823 w 265732"/>
                <a:gd name="connsiteY555" fmla="*/ 6331 h 369053"/>
                <a:gd name="connsiteX556" fmla="*/ 168240 w 265732"/>
                <a:gd name="connsiteY556" fmla="*/ 6260 h 369053"/>
                <a:gd name="connsiteX557" fmla="*/ 169968 w 265732"/>
                <a:gd name="connsiteY557" fmla="*/ 5778 h 369053"/>
                <a:gd name="connsiteX558" fmla="*/ 173116 w 265732"/>
                <a:gd name="connsiteY558" fmla="*/ 4145 h 369053"/>
                <a:gd name="connsiteX559" fmla="*/ 178504 w 265732"/>
                <a:gd name="connsiteY559" fmla="*/ 895 h 3690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</a:cxnLst>
              <a:rect l="l" t="t" r="r" b="b"/>
              <a:pathLst>
                <a:path w="265732" h="369053">
                  <a:moveTo>
                    <a:pt x="21473" y="360506"/>
                  </a:moveTo>
                  <a:lnTo>
                    <a:pt x="23220" y="360680"/>
                  </a:lnTo>
                  <a:lnTo>
                    <a:pt x="24153" y="361638"/>
                  </a:lnTo>
                  <a:lnTo>
                    <a:pt x="23978" y="362422"/>
                  </a:lnTo>
                  <a:lnTo>
                    <a:pt x="22173" y="362597"/>
                  </a:lnTo>
                  <a:lnTo>
                    <a:pt x="21415" y="361899"/>
                  </a:lnTo>
                  <a:lnTo>
                    <a:pt x="19728" y="361986"/>
                  </a:lnTo>
                  <a:lnTo>
                    <a:pt x="19435" y="361638"/>
                  </a:lnTo>
                  <a:lnTo>
                    <a:pt x="20134" y="360942"/>
                  </a:lnTo>
                  <a:close/>
                  <a:moveTo>
                    <a:pt x="45306" y="357280"/>
                  </a:moveTo>
                  <a:lnTo>
                    <a:pt x="46768" y="357390"/>
                  </a:lnTo>
                  <a:lnTo>
                    <a:pt x="47079" y="358322"/>
                  </a:lnTo>
                  <a:lnTo>
                    <a:pt x="46641" y="359417"/>
                  </a:lnTo>
                  <a:lnTo>
                    <a:pt x="44702" y="359744"/>
                  </a:lnTo>
                  <a:lnTo>
                    <a:pt x="43494" y="358787"/>
                  </a:lnTo>
                  <a:lnTo>
                    <a:pt x="43953" y="358075"/>
                  </a:lnTo>
                  <a:close/>
                  <a:moveTo>
                    <a:pt x="51860" y="356303"/>
                  </a:moveTo>
                  <a:lnTo>
                    <a:pt x="51171" y="358333"/>
                  </a:lnTo>
                  <a:lnTo>
                    <a:pt x="48958" y="359471"/>
                  </a:lnTo>
                  <a:lnTo>
                    <a:pt x="48115" y="359200"/>
                  </a:lnTo>
                  <a:lnTo>
                    <a:pt x="48332" y="357280"/>
                  </a:lnTo>
                  <a:lnTo>
                    <a:pt x="49647" y="356401"/>
                  </a:lnTo>
                  <a:close/>
                  <a:moveTo>
                    <a:pt x="2428" y="354834"/>
                  </a:moveTo>
                  <a:lnTo>
                    <a:pt x="3168" y="356788"/>
                  </a:lnTo>
                  <a:lnTo>
                    <a:pt x="3283" y="357531"/>
                  </a:lnTo>
                  <a:lnTo>
                    <a:pt x="2436" y="357345"/>
                  </a:lnTo>
                  <a:lnTo>
                    <a:pt x="1786" y="357599"/>
                  </a:lnTo>
                  <a:lnTo>
                    <a:pt x="1345" y="358514"/>
                  </a:lnTo>
                  <a:lnTo>
                    <a:pt x="387" y="358186"/>
                  </a:lnTo>
                  <a:lnTo>
                    <a:pt x="0" y="356874"/>
                  </a:lnTo>
                  <a:lnTo>
                    <a:pt x="715" y="354909"/>
                  </a:lnTo>
                  <a:close/>
                  <a:moveTo>
                    <a:pt x="58731" y="350695"/>
                  </a:moveTo>
                  <a:lnTo>
                    <a:pt x="61532" y="351466"/>
                  </a:lnTo>
                  <a:lnTo>
                    <a:pt x="62709" y="351190"/>
                  </a:lnTo>
                  <a:lnTo>
                    <a:pt x="64047" y="352933"/>
                  </a:lnTo>
                  <a:lnTo>
                    <a:pt x="61778" y="354042"/>
                  </a:lnTo>
                  <a:lnTo>
                    <a:pt x="61620" y="355416"/>
                  </a:lnTo>
                  <a:lnTo>
                    <a:pt x="62517" y="356269"/>
                  </a:lnTo>
                  <a:lnTo>
                    <a:pt x="62832" y="357503"/>
                  </a:lnTo>
                  <a:lnTo>
                    <a:pt x="60571" y="357502"/>
                  </a:lnTo>
                  <a:lnTo>
                    <a:pt x="59489" y="356463"/>
                  </a:lnTo>
                  <a:lnTo>
                    <a:pt x="59018" y="355144"/>
                  </a:lnTo>
                  <a:lnTo>
                    <a:pt x="57967" y="354210"/>
                  </a:lnTo>
                  <a:lnTo>
                    <a:pt x="56565" y="353499"/>
                  </a:lnTo>
                  <a:lnTo>
                    <a:pt x="57252" y="352551"/>
                  </a:lnTo>
                  <a:lnTo>
                    <a:pt x="57643" y="351190"/>
                  </a:lnTo>
                  <a:close/>
                  <a:moveTo>
                    <a:pt x="8165" y="349529"/>
                  </a:moveTo>
                  <a:lnTo>
                    <a:pt x="9409" y="351135"/>
                  </a:lnTo>
                  <a:lnTo>
                    <a:pt x="10404" y="351345"/>
                  </a:lnTo>
                  <a:lnTo>
                    <a:pt x="11082" y="351355"/>
                  </a:lnTo>
                  <a:lnTo>
                    <a:pt x="11384" y="351075"/>
                  </a:lnTo>
                  <a:lnTo>
                    <a:pt x="12568" y="351271"/>
                  </a:lnTo>
                  <a:lnTo>
                    <a:pt x="14347" y="352557"/>
                  </a:lnTo>
                  <a:lnTo>
                    <a:pt x="14705" y="353253"/>
                  </a:lnTo>
                  <a:lnTo>
                    <a:pt x="15932" y="353609"/>
                  </a:lnTo>
                  <a:lnTo>
                    <a:pt x="16360" y="354330"/>
                  </a:lnTo>
                  <a:lnTo>
                    <a:pt x="14941" y="356576"/>
                  </a:lnTo>
                  <a:lnTo>
                    <a:pt x="14064" y="356618"/>
                  </a:lnTo>
                  <a:lnTo>
                    <a:pt x="13410" y="356334"/>
                  </a:lnTo>
                  <a:lnTo>
                    <a:pt x="12255" y="356579"/>
                  </a:lnTo>
                  <a:lnTo>
                    <a:pt x="11577" y="357004"/>
                  </a:lnTo>
                  <a:lnTo>
                    <a:pt x="11350" y="357937"/>
                  </a:lnTo>
                  <a:lnTo>
                    <a:pt x="11387" y="359888"/>
                  </a:lnTo>
                  <a:lnTo>
                    <a:pt x="6208" y="360279"/>
                  </a:lnTo>
                  <a:lnTo>
                    <a:pt x="5018" y="359709"/>
                  </a:lnTo>
                  <a:lnTo>
                    <a:pt x="3388" y="355268"/>
                  </a:lnTo>
                  <a:lnTo>
                    <a:pt x="3712" y="354120"/>
                  </a:lnTo>
                  <a:lnTo>
                    <a:pt x="4809" y="353630"/>
                  </a:lnTo>
                  <a:lnTo>
                    <a:pt x="5749" y="353525"/>
                  </a:lnTo>
                  <a:lnTo>
                    <a:pt x="5887" y="355919"/>
                  </a:lnTo>
                  <a:lnTo>
                    <a:pt x="7266" y="355681"/>
                  </a:lnTo>
                  <a:lnTo>
                    <a:pt x="7699" y="354103"/>
                  </a:lnTo>
                  <a:lnTo>
                    <a:pt x="7795" y="352992"/>
                  </a:lnTo>
                  <a:lnTo>
                    <a:pt x="7422" y="352431"/>
                  </a:lnTo>
                  <a:lnTo>
                    <a:pt x="6485" y="351996"/>
                  </a:lnTo>
                  <a:lnTo>
                    <a:pt x="5943" y="351250"/>
                  </a:lnTo>
                  <a:lnTo>
                    <a:pt x="6722" y="350049"/>
                  </a:lnTo>
                  <a:close/>
                  <a:moveTo>
                    <a:pt x="51039" y="347396"/>
                  </a:moveTo>
                  <a:lnTo>
                    <a:pt x="52799" y="348443"/>
                  </a:lnTo>
                  <a:lnTo>
                    <a:pt x="53760" y="349666"/>
                  </a:lnTo>
                  <a:lnTo>
                    <a:pt x="52821" y="349950"/>
                  </a:lnTo>
                  <a:lnTo>
                    <a:pt x="54412" y="351211"/>
                  </a:lnTo>
                  <a:lnTo>
                    <a:pt x="54732" y="351827"/>
                  </a:lnTo>
                  <a:lnTo>
                    <a:pt x="53123" y="351973"/>
                  </a:lnTo>
                  <a:lnTo>
                    <a:pt x="50849" y="350326"/>
                  </a:lnTo>
                  <a:lnTo>
                    <a:pt x="50562" y="349682"/>
                  </a:lnTo>
                  <a:lnTo>
                    <a:pt x="51454" y="349308"/>
                  </a:lnTo>
                  <a:lnTo>
                    <a:pt x="50865" y="347983"/>
                  </a:lnTo>
                  <a:close/>
                  <a:moveTo>
                    <a:pt x="38675" y="341784"/>
                  </a:moveTo>
                  <a:lnTo>
                    <a:pt x="39409" y="343210"/>
                  </a:lnTo>
                  <a:lnTo>
                    <a:pt x="42717" y="345409"/>
                  </a:lnTo>
                  <a:lnTo>
                    <a:pt x="42408" y="346959"/>
                  </a:lnTo>
                  <a:lnTo>
                    <a:pt x="40908" y="346787"/>
                  </a:lnTo>
                  <a:lnTo>
                    <a:pt x="39381" y="347068"/>
                  </a:lnTo>
                  <a:lnTo>
                    <a:pt x="38150" y="345529"/>
                  </a:lnTo>
                  <a:lnTo>
                    <a:pt x="37491" y="342933"/>
                  </a:lnTo>
                  <a:lnTo>
                    <a:pt x="37716" y="342374"/>
                  </a:lnTo>
                  <a:close/>
                  <a:moveTo>
                    <a:pt x="37973" y="251776"/>
                  </a:moveTo>
                  <a:lnTo>
                    <a:pt x="37651" y="252424"/>
                  </a:lnTo>
                  <a:lnTo>
                    <a:pt x="37563" y="253045"/>
                  </a:lnTo>
                  <a:lnTo>
                    <a:pt x="37800" y="253695"/>
                  </a:lnTo>
                  <a:lnTo>
                    <a:pt x="39096" y="253516"/>
                  </a:lnTo>
                  <a:lnTo>
                    <a:pt x="40841" y="252332"/>
                  </a:lnTo>
                  <a:lnTo>
                    <a:pt x="42078" y="252885"/>
                  </a:lnTo>
                  <a:lnTo>
                    <a:pt x="41938" y="254575"/>
                  </a:lnTo>
                  <a:lnTo>
                    <a:pt x="41098" y="254511"/>
                  </a:lnTo>
                  <a:lnTo>
                    <a:pt x="40867" y="254232"/>
                  </a:lnTo>
                  <a:lnTo>
                    <a:pt x="39789" y="255197"/>
                  </a:lnTo>
                  <a:lnTo>
                    <a:pt x="39597" y="255781"/>
                  </a:lnTo>
                  <a:lnTo>
                    <a:pt x="38351" y="256154"/>
                  </a:lnTo>
                  <a:lnTo>
                    <a:pt x="36049" y="254502"/>
                  </a:lnTo>
                  <a:lnTo>
                    <a:pt x="34602" y="251783"/>
                  </a:lnTo>
                  <a:close/>
                  <a:moveTo>
                    <a:pt x="116464" y="187740"/>
                  </a:moveTo>
                  <a:lnTo>
                    <a:pt x="120546" y="188858"/>
                  </a:lnTo>
                  <a:lnTo>
                    <a:pt x="121142" y="189455"/>
                  </a:lnTo>
                  <a:lnTo>
                    <a:pt x="118803" y="189902"/>
                  </a:lnTo>
                  <a:lnTo>
                    <a:pt x="117840" y="191169"/>
                  </a:lnTo>
                  <a:lnTo>
                    <a:pt x="114539" y="192361"/>
                  </a:lnTo>
                  <a:lnTo>
                    <a:pt x="111878" y="191616"/>
                  </a:lnTo>
                  <a:lnTo>
                    <a:pt x="111832" y="189306"/>
                  </a:lnTo>
                  <a:lnTo>
                    <a:pt x="113482" y="188187"/>
                  </a:lnTo>
                  <a:close/>
                  <a:moveTo>
                    <a:pt x="181957" y="0"/>
                  </a:moveTo>
                  <a:lnTo>
                    <a:pt x="185099" y="126"/>
                  </a:lnTo>
                  <a:lnTo>
                    <a:pt x="188577" y="3686"/>
                  </a:lnTo>
                  <a:lnTo>
                    <a:pt x="193483" y="7643"/>
                  </a:lnTo>
                  <a:lnTo>
                    <a:pt x="196636" y="9562"/>
                  </a:lnTo>
                  <a:lnTo>
                    <a:pt x="205230" y="13154"/>
                  </a:lnTo>
                  <a:lnTo>
                    <a:pt x="212775" y="15515"/>
                  </a:lnTo>
                  <a:lnTo>
                    <a:pt x="217016" y="23292"/>
                  </a:lnTo>
                  <a:lnTo>
                    <a:pt x="214926" y="26382"/>
                  </a:lnTo>
                  <a:lnTo>
                    <a:pt x="213885" y="27446"/>
                  </a:lnTo>
                  <a:lnTo>
                    <a:pt x="210195" y="30516"/>
                  </a:lnTo>
                  <a:lnTo>
                    <a:pt x="206245" y="34840"/>
                  </a:lnTo>
                  <a:lnTo>
                    <a:pt x="205943" y="37090"/>
                  </a:lnTo>
                  <a:lnTo>
                    <a:pt x="207254" y="39357"/>
                  </a:lnTo>
                  <a:lnTo>
                    <a:pt x="208889" y="40855"/>
                  </a:lnTo>
                  <a:lnTo>
                    <a:pt x="207409" y="41332"/>
                  </a:lnTo>
                  <a:lnTo>
                    <a:pt x="202838" y="43215"/>
                  </a:lnTo>
                  <a:lnTo>
                    <a:pt x="200048" y="44485"/>
                  </a:lnTo>
                  <a:lnTo>
                    <a:pt x="196688" y="45416"/>
                  </a:lnTo>
                  <a:lnTo>
                    <a:pt x="197560" y="46649"/>
                  </a:lnTo>
                  <a:lnTo>
                    <a:pt x="203142" y="46910"/>
                  </a:lnTo>
                  <a:lnTo>
                    <a:pt x="204002" y="47260"/>
                  </a:lnTo>
                  <a:lnTo>
                    <a:pt x="204621" y="47894"/>
                  </a:lnTo>
                  <a:lnTo>
                    <a:pt x="204727" y="48907"/>
                  </a:lnTo>
                  <a:lnTo>
                    <a:pt x="204161" y="50542"/>
                  </a:lnTo>
                  <a:lnTo>
                    <a:pt x="198130" y="59538"/>
                  </a:lnTo>
                  <a:lnTo>
                    <a:pt x="197940" y="61428"/>
                  </a:lnTo>
                  <a:lnTo>
                    <a:pt x="199918" y="66676"/>
                  </a:lnTo>
                  <a:lnTo>
                    <a:pt x="202682" y="72845"/>
                  </a:lnTo>
                  <a:lnTo>
                    <a:pt x="211037" y="75582"/>
                  </a:lnTo>
                  <a:lnTo>
                    <a:pt x="217247" y="77717"/>
                  </a:lnTo>
                  <a:lnTo>
                    <a:pt x="221236" y="82760"/>
                  </a:lnTo>
                  <a:lnTo>
                    <a:pt x="227811" y="89390"/>
                  </a:lnTo>
                  <a:lnTo>
                    <a:pt x="231297" y="91862"/>
                  </a:lnTo>
                  <a:lnTo>
                    <a:pt x="231493" y="92629"/>
                  </a:lnTo>
                  <a:lnTo>
                    <a:pt x="230456" y="97183"/>
                  </a:lnTo>
                  <a:lnTo>
                    <a:pt x="226241" y="101735"/>
                  </a:lnTo>
                  <a:lnTo>
                    <a:pt x="222298" y="105565"/>
                  </a:lnTo>
                  <a:lnTo>
                    <a:pt x="218217" y="110170"/>
                  </a:lnTo>
                  <a:lnTo>
                    <a:pt x="215025" y="114087"/>
                  </a:lnTo>
                  <a:lnTo>
                    <a:pt x="211568" y="118772"/>
                  </a:lnTo>
                  <a:lnTo>
                    <a:pt x="211171" y="120288"/>
                  </a:lnTo>
                  <a:lnTo>
                    <a:pt x="211108" y="121719"/>
                  </a:lnTo>
                  <a:lnTo>
                    <a:pt x="211702" y="123300"/>
                  </a:lnTo>
                  <a:lnTo>
                    <a:pt x="216129" y="129002"/>
                  </a:lnTo>
                  <a:lnTo>
                    <a:pt x="217852" y="131908"/>
                  </a:lnTo>
                  <a:lnTo>
                    <a:pt x="219912" y="135045"/>
                  </a:lnTo>
                  <a:lnTo>
                    <a:pt x="221680" y="138458"/>
                  </a:lnTo>
                  <a:lnTo>
                    <a:pt x="222706" y="141510"/>
                  </a:lnTo>
                  <a:lnTo>
                    <a:pt x="224479" y="144480"/>
                  </a:lnTo>
                  <a:lnTo>
                    <a:pt x="225581" y="145996"/>
                  </a:lnTo>
                  <a:lnTo>
                    <a:pt x="227411" y="148118"/>
                  </a:lnTo>
                  <a:lnTo>
                    <a:pt x="229621" y="151271"/>
                  </a:lnTo>
                  <a:lnTo>
                    <a:pt x="230355" y="153765"/>
                  </a:lnTo>
                  <a:lnTo>
                    <a:pt x="233691" y="162396"/>
                  </a:lnTo>
                  <a:lnTo>
                    <a:pt x="234028" y="164590"/>
                  </a:lnTo>
                  <a:lnTo>
                    <a:pt x="233864" y="166212"/>
                  </a:lnTo>
                  <a:lnTo>
                    <a:pt x="232398" y="166611"/>
                  </a:lnTo>
                  <a:lnTo>
                    <a:pt x="229161" y="166869"/>
                  </a:lnTo>
                  <a:lnTo>
                    <a:pt x="225652" y="167931"/>
                  </a:lnTo>
                  <a:lnTo>
                    <a:pt x="225475" y="168288"/>
                  </a:lnTo>
                  <a:lnTo>
                    <a:pt x="227764" y="170314"/>
                  </a:lnTo>
                  <a:lnTo>
                    <a:pt x="225742" y="173770"/>
                  </a:lnTo>
                  <a:lnTo>
                    <a:pt x="225451" y="178707"/>
                  </a:lnTo>
                  <a:lnTo>
                    <a:pt x="223292" y="181294"/>
                  </a:lnTo>
                  <a:lnTo>
                    <a:pt x="223088" y="181895"/>
                  </a:lnTo>
                  <a:lnTo>
                    <a:pt x="223186" y="182397"/>
                  </a:lnTo>
                  <a:lnTo>
                    <a:pt x="223568" y="182789"/>
                  </a:lnTo>
                  <a:lnTo>
                    <a:pt x="227567" y="183479"/>
                  </a:lnTo>
                  <a:lnTo>
                    <a:pt x="227913" y="184180"/>
                  </a:lnTo>
                  <a:lnTo>
                    <a:pt x="227930" y="185629"/>
                  </a:lnTo>
                  <a:lnTo>
                    <a:pt x="227573" y="186967"/>
                  </a:lnTo>
                  <a:lnTo>
                    <a:pt x="225565" y="187959"/>
                  </a:lnTo>
                  <a:lnTo>
                    <a:pt x="223408" y="189427"/>
                  </a:lnTo>
                  <a:lnTo>
                    <a:pt x="222931" y="190776"/>
                  </a:lnTo>
                  <a:lnTo>
                    <a:pt x="223004" y="191980"/>
                  </a:lnTo>
                  <a:lnTo>
                    <a:pt x="223741" y="194013"/>
                  </a:lnTo>
                  <a:lnTo>
                    <a:pt x="225159" y="196379"/>
                  </a:lnTo>
                  <a:lnTo>
                    <a:pt x="226963" y="197863"/>
                  </a:lnTo>
                  <a:lnTo>
                    <a:pt x="233367" y="199267"/>
                  </a:lnTo>
                  <a:lnTo>
                    <a:pt x="234194" y="200428"/>
                  </a:lnTo>
                  <a:lnTo>
                    <a:pt x="234546" y="202018"/>
                  </a:lnTo>
                  <a:lnTo>
                    <a:pt x="234412" y="203569"/>
                  </a:lnTo>
                  <a:lnTo>
                    <a:pt x="231437" y="206669"/>
                  </a:lnTo>
                  <a:lnTo>
                    <a:pt x="231460" y="207860"/>
                  </a:lnTo>
                  <a:lnTo>
                    <a:pt x="232682" y="210740"/>
                  </a:lnTo>
                  <a:lnTo>
                    <a:pt x="234147" y="213485"/>
                  </a:lnTo>
                  <a:lnTo>
                    <a:pt x="240394" y="216455"/>
                  </a:lnTo>
                  <a:lnTo>
                    <a:pt x="242545" y="218082"/>
                  </a:lnTo>
                  <a:lnTo>
                    <a:pt x="243117" y="219376"/>
                  </a:lnTo>
                  <a:lnTo>
                    <a:pt x="243430" y="221460"/>
                  </a:lnTo>
                  <a:lnTo>
                    <a:pt x="243389" y="223717"/>
                  </a:lnTo>
                  <a:lnTo>
                    <a:pt x="242899" y="225719"/>
                  </a:lnTo>
                  <a:lnTo>
                    <a:pt x="240940" y="228298"/>
                  </a:lnTo>
                  <a:lnTo>
                    <a:pt x="236406" y="233375"/>
                  </a:lnTo>
                  <a:lnTo>
                    <a:pt x="231847" y="235344"/>
                  </a:lnTo>
                  <a:lnTo>
                    <a:pt x="231569" y="235771"/>
                  </a:lnTo>
                  <a:lnTo>
                    <a:pt x="232981" y="237391"/>
                  </a:lnTo>
                  <a:lnTo>
                    <a:pt x="241011" y="243873"/>
                  </a:lnTo>
                  <a:lnTo>
                    <a:pt x="246246" y="246900"/>
                  </a:lnTo>
                  <a:lnTo>
                    <a:pt x="253311" y="250978"/>
                  </a:lnTo>
                  <a:lnTo>
                    <a:pt x="257868" y="254194"/>
                  </a:lnTo>
                  <a:lnTo>
                    <a:pt x="259340" y="256505"/>
                  </a:lnTo>
                  <a:lnTo>
                    <a:pt x="261314" y="259071"/>
                  </a:lnTo>
                  <a:lnTo>
                    <a:pt x="263532" y="261166"/>
                  </a:lnTo>
                  <a:lnTo>
                    <a:pt x="265130" y="262982"/>
                  </a:lnTo>
                  <a:lnTo>
                    <a:pt x="265732" y="264150"/>
                  </a:lnTo>
                  <a:lnTo>
                    <a:pt x="265676" y="265405"/>
                  </a:lnTo>
                  <a:lnTo>
                    <a:pt x="263538" y="269185"/>
                  </a:lnTo>
                  <a:lnTo>
                    <a:pt x="262324" y="272102"/>
                  </a:lnTo>
                  <a:lnTo>
                    <a:pt x="260185" y="276371"/>
                  </a:lnTo>
                  <a:lnTo>
                    <a:pt x="257997" y="279345"/>
                  </a:lnTo>
                  <a:lnTo>
                    <a:pt x="252448" y="284759"/>
                  </a:lnTo>
                  <a:lnTo>
                    <a:pt x="244264" y="291477"/>
                  </a:lnTo>
                  <a:lnTo>
                    <a:pt x="242363" y="293506"/>
                  </a:lnTo>
                  <a:lnTo>
                    <a:pt x="238533" y="297034"/>
                  </a:lnTo>
                  <a:lnTo>
                    <a:pt x="231977" y="304096"/>
                  </a:lnTo>
                  <a:lnTo>
                    <a:pt x="230279" y="305652"/>
                  </a:lnTo>
                  <a:lnTo>
                    <a:pt x="224905" y="311263"/>
                  </a:lnTo>
                  <a:lnTo>
                    <a:pt x="222456" y="313045"/>
                  </a:lnTo>
                  <a:lnTo>
                    <a:pt x="220532" y="314710"/>
                  </a:lnTo>
                  <a:lnTo>
                    <a:pt x="215209" y="319993"/>
                  </a:lnTo>
                  <a:lnTo>
                    <a:pt x="209489" y="323994"/>
                  </a:lnTo>
                  <a:lnTo>
                    <a:pt x="203874" y="327703"/>
                  </a:lnTo>
                  <a:lnTo>
                    <a:pt x="202190" y="329581"/>
                  </a:lnTo>
                  <a:lnTo>
                    <a:pt x="200095" y="331012"/>
                  </a:lnTo>
                  <a:lnTo>
                    <a:pt x="197595" y="332372"/>
                  </a:lnTo>
                  <a:lnTo>
                    <a:pt x="196541" y="333134"/>
                  </a:lnTo>
                  <a:lnTo>
                    <a:pt x="190892" y="338191"/>
                  </a:lnTo>
                  <a:lnTo>
                    <a:pt x="183058" y="345191"/>
                  </a:lnTo>
                  <a:lnTo>
                    <a:pt x="182261" y="345300"/>
                  </a:lnTo>
                  <a:lnTo>
                    <a:pt x="180221" y="346429"/>
                  </a:lnTo>
                  <a:lnTo>
                    <a:pt x="177031" y="346702"/>
                  </a:lnTo>
                  <a:lnTo>
                    <a:pt x="175645" y="347565"/>
                  </a:lnTo>
                  <a:lnTo>
                    <a:pt x="170769" y="345106"/>
                  </a:lnTo>
                  <a:lnTo>
                    <a:pt x="169959" y="344947"/>
                  </a:lnTo>
                  <a:lnTo>
                    <a:pt x="167092" y="345557"/>
                  </a:lnTo>
                  <a:lnTo>
                    <a:pt x="164340" y="347344"/>
                  </a:lnTo>
                  <a:lnTo>
                    <a:pt x="159261" y="347890"/>
                  </a:lnTo>
                  <a:lnTo>
                    <a:pt x="156739" y="348469"/>
                  </a:lnTo>
                  <a:lnTo>
                    <a:pt x="155131" y="349294"/>
                  </a:lnTo>
                  <a:lnTo>
                    <a:pt x="154800" y="347341"/>
                  </a:lnTo>
                  <a:lnTo>
                    <a:pt x="155495" y="344862"/>
                  </a:lnTo>
                  <a:lnTo>
                    <a:pt x="156614" y="343208"/>
                  </a:lnTo>
                  <a:lnTo>
                    <a:pt x="156718" y="342130"/>
                  </a:lnTo>
                  <a:lnTo>
                    <a:pt x="155897" y="342242"/>
                  </a:lnTo>
                  <a:lnTo>
                    <a:pt x="154271" y="344669"/>
                  </a:lnTo>
                  <a:lnTo>
                    <a:pt x="153401" y="347500"/>
                  </a:lnTo>
                  <a:lnTo>
                    <a:pt x="151660" y="348922"/>
                  </a:lnTo>
                  <a:lnTo>
                    <a:pt x="147834" y="349503"/>
                  </a:lnTo>
                  <a:lnTo>
                    <a:pt x="144105" y="347230"/>
                  </a:lnTo>
                  <a:lnTo>
                    <a:pt x="142334" y="347253"/>
                  </a:lnTo>
                  <a:lnTo>
                    <a:pt x="143446" y="348881"/>
                  </a:lnTo>
                  <a:lnTo>
                    <a:pt x="144198" y="350667"/>
                  </a:lnTo>
                  <a:lnTo>
                    <a:pt x="144100" y="351667"/>
                  </a:lnTo>
                  <a:lnTo>
                    <a:pt x="142112" y="351491"/>
                  </a:lnTo>
                  <a:lnTo>
                    <a:pt x="139898" y="352561"/>
                  </a:lnTo>
                  <a:lnTo>
                    <a:pt x="137957" y="354123"/>
                  </a:lnTo>
                  <a:lnTo>
                    <a:pt x="137015" y="354126"/>
                  </a:lnTo>
                  <a:lnTo>
                    <a:pt x="135711" y="351943"/>
                  </a:lnTo>
                  <a:lnTo>
                    <a:pt x="133318" y="352962"/>
                  </a:lnTo>
                  <a:lnTo>
                    <a:pt x="131274" y="354332"/>
                  </a:lnTo>
                  <a:lnTo>
                    <a:pt x="127119" y="354760"/>
                  </a:lnTo>
                  <a:lnTo>
                    <a:pt x="124642" y="356559"/>
                  </a:lnTo>
                  <a:lnTo>
                    <a:pt x="120259" y="357772"/>
                  </a:lnTo>
                  <a:lnTo>
                    <a:pt x="117851" y="357743"/>
                  </a:lnTo>
                  <a:lnTo>
                    <a:pt x="112362" y="359203"/>
                  </a:lnTo>
                  <a:lnTo>
                    <a:pt x="110537" y="361452"/>
                  </a:lnTo>
                  <a:lnTo>
                    <a:pt x="108937" y="362279"/>
                  </a:lnTo>
                  <a:lnTo>
                    <a:pt x="106659" y="361583"/>
                  </a:lnTo>
                  <a:lnTo>
                    <a:pt x="99641" y="362679"/>
                  </a:lnTo>
                  <a:lnTo>
                    <a:pt x="92932" y="364116"/>
                  </a:lnTo>
                  <a:lnTo>
                    <a:pt x="90077" y="364034"/>
                  </a:lnTo>
                  <a:lnTo>
                    <a:pt x="87222" y="363437"/>
                  </a:lnTo>
                  <a:lnTo>
                    <a:pt x="84197" y="365433"/>
                  </a:lnTo>
                  <a:lnTo>
                    <a:pt x="80984" y="368101"/>
                  </a:lnTo>
                  <a:lnTo>
                    <a:pt x="77442" y="369053"/>
                  </a:lnTo>
                  <a:lnTo>
                    <a:pt x="76173" y="368712"/>
                  </a:lnTo>
                  <a:lnTo>
                    <a:pt x="77187" y="367314"/>
                  </a:lnTo>
                  <a:lnTo>
                    <a:pt x="79531" y="365865"/>
                  </a:lnTo>
                  <a:lnTo>
                    <a:pt x="81139" y="363900"/>
                  </a:lnTo>
                  <a:lnTo>
                    <a:pt x="81360" y="362261"/>
                  </a:lnTo>
                  <a:lnTo>
                    <a:pt x="80254" y="361617"/>
                  </a:lnTo>
                  <a:lnTo>
                    <a:pt x="78744" y="361420"/>
                  </a:lnTo>
                  <a:lnTo>
                    <a:pt x="76842" y="359723"/>
                  </a:lnTo>
                  <a:lnTo>
                    <a:pt x="75019" y="356041"/>
                  </a:lnTo>
                  <a:lnTo>
                    <a:pt x="74032" y="355838"/>
                  </a:lnTo>
                  <a:lnTo>
                    <a:pt x="73532" y="356806"/>
                  </a:lnTo>
                  <a:lnTo>
                    <a:pt x="72972" y="359630"/>
                  </a:lnTo>
                  <a:lnTo>
                    <a:pt x="72404" y="360443"/>
                  </a:lnTo>
                  <a:lnTo>
                    <a:pt x="71439" y="361089"/>
                  </a:lnTo>
                  <a:lnTo>
                    <a:pt x="70280" y="361739"/>
                  </a:lnTo>
                  <a:lnTo>
                    <a:pt x="69148" y="362056"/>
                  </a:lnTo>
                  <a:lnTo>
                    <a:pt x="65091" y="362017"/>
                  </a:lnTo>
                  <a:lnTo>
                    <a:pt x="64557" y="360593"/>
                  </a:lnTo>
                  <a:lnTo>
                    <a:pt x="64557" y="359997"/>
                  </a:lnTo>
                  <a:lnTo>
                    <a:pt x="65276" y="358120"/>
                  </a:lnTo>
                  <a:lnTo>
                    <a:pt x="64648" y="357792"/>
                  </a:lnTo>
                  <a:lnTo>
                    <a:pt x="65246" y="356319"/>
                  </a:lnTo>
                  <a:lnTo>
                    <a:pt x="66203" y="356398"/>
                  </a:lnTo>
                  <a:lnTo>
                    <a:pt x="67336" y="356180"/>
                  </a:lnTo>
                  <a:lnTo>
                    <a:pt x="67904" y="355422"/>
                  </a:lnTo>
                  <a:lnTo>
                    <a:pt x="67861" y="354517"/>
                  </a:lnTo>
                  <a:lnTo>
                    <a:pt x="66285" y="354282"/>
                  </a:lnTo>
                  <a:lnTo>
                    <a:pt x="66188" y="353664"/>
                  </a:lnTo>
                  <a:lnTo>
                    <a:pt x="67593" y="351083"/>
                  </a:lnTo>
                  <a:lnTo>
                    <a:pt x="67794" y="350369"/>
                  </a:lnTo>
                  <a:lnTo>
                    <a:pt x="67250" y="350221"/>
                  </a:lnTo>
                  <a:lnTo>
                    <a:pt x="66369" y="350502"/>
                  </a:lnTo>
                  <a:lnTo>
                    <a:pt x="60562" y="349692"/>
                  </a:lnTo>
                  <a:lnTo>
                    <a:pt x="53400" y="346385"/>
                  </a:lnTo>
                  <a:lnTo>
                    <a:pt x="51638" y="346214"/>
                  </a:lnTo>
                  <a:lnTo>
                    <a:pt x="50554" y="343257"/>
                  </a:lnTo>
                  <a:lnTo>
                    <a:pt x="48826" y="343632"/>
                  </a:lnTo>
                  <a:lnTo>
                    <a:pt x="46308" y="345363"/>
                  </a:lnTo>
                  <a:lnTo>
                    <a:pt x="44419" y="344048"/>
                  </a:lnTo>
                  <a:lnTo>
                    <a:pt x="42389" y="343182"/>
                  </a:lnTo>
                  <a:lnTo>
                    <a:pt x="41827" y="341828"/>
                  </a:lnTo>
                  <a:lnTo>
                    <a:pt x="41856" y="339829"/>
                  </a:lnTo>
                  <a:lnTo>
                    <a:pt x="41681" y="337469"/>
                  </a:lnTo>
                  <a:lnTo>
                    <a:pt x="41126" y="334704"/>
                  </a:lnTo>
                  <a:lnTo>
                    <a:pt x="40720" y="330768"/>
                  </a:lnTo>
                  <a:lnTo>
                    <a:pt x="41100" y="327687"/>
                  </a:lnTo>
                  <a:lnTo>
                    <a:pt x="42719" y="325403"/>
                  </a:lnTo>
                  <a:lnTo>
                    <a:pt x="43341" y="323944"/>
                  </a:lnTo>
                  <a:lnTo>
                    <a:pt x="44101" y="320215"/>
                  </a:lnTo>
                  <a:lnTo>
                    <a:pt x="44272" y="315839"/>
                  </a:lnTo>
                  <a:lnTo>
                    <a:pt x="43842" y="314347"/>
                  </a:lnTo>
                  <a:lnTo>
                    <a:pt x="43950" y="313354"/>
                  </a:lnTo>
                  <a:lnTo>
                    <a:pt x="45242" y="313354"/>
                  </a:lnTo>
                  <a:lnTo>
                    <a:pt x="44961" y="312502"/>
                  </a:lnTo>
                  <a:lnTo>
                    <a:pt x="44393" y="312035"/>
                  </a:lnTo>
                  <a:lnTo>
                    <a:pt x="43765" y="311065"/>
                  </a:lnTo>
                  <a:lnTo>
                    <a:pt x="44300" y="310551"/>
                  </a:lnTo>
                  <a:lnTo>
                    <a:pt x="45846" y="310514"/>
                  </a:lnTo>
                  <a:lnTo>
                    <a:pt x="45971" y="310187"/>
                  </a:lnTo>
                  <a:lnTo>
                    <a:pt x="46146" y="309723"/>
                  </a:lnTo>
                  <a:lnTo>
                    <a:pt x="44950" y="307170"/>
                  </a:lnTo>
                  <a:lnTo>
                    <a:pt x="44812" y="305952"/>
                  </a:lnTo>
                  <a:lnTo>
                    <a:pt x="43151" y="302250"/>
                  </a:lnTo>
                  <a:lnTo>
                    <a:pt x="41257" y="298735"/>
                  </a:lnTo>
                  <a:lnTo>
                    <a:pt x="38407" y="296188"/>
                  </a:lnTo>
                  <a:lnTo>
                    <a:pt x="39418" y="291988"/>
                  </a:lnTo>
                  <a:lnTo>
                    <a:pt x="40569" y="288184"/>
                  </a:lnTo>
                  <a:lnTo>
                    <a:pt x="40340" y="286349"/>
                  </a:lnTo>
                  <a:lnTo>
                    <a:pt x="39899" y="284114"/>
                  </a:lnTo>
                  <a:lnTo>
                    <a:pt x="36410" y="281660"/>
                  </a:lnTo>
                  <a:lnTo>
                    <a:pt x="35891" y="278196"/>
                  </a:lnTo>
                  <a:lnTo>
                    <a:pt x="35038" y="274472"/>
                  </a:lnTo>
                  <a:lnTo>
                    <a:pt x="35360" y="272185"/>
                  </a:lnTo>
                  <a:lnTo>
                    <a:pt x="35928" y="270433"/>
                  </a:lnTo>
                  <a:lnTo>
                    <a:pt x="37075" y="268687"/>
                  </a:lnTo>
                  <a:lnTo>
                    <a:pt x="42864" y="263167"/>
                  </a:lnTo>
                  <a:lnTo>
                    <a:pt x="43218" y="260279"/>
                  </a:lnTo>
                  <a:lnTo>
                    <a:pt x="47142" y="260069"/>
                  </a:lnTo>
                  <a:lnTo>
                    <a:pt x="45321" y="257484"/>
                  </a:lnTo>
                  <a:lnTo>
                    <a:pt x="44892" y="256031"/>
                  </a:lnTo>
                  <a:lnTo>
                    <a:pt x="44801" y="254334"/>
                  </a:lnTo>
                  <a:lnTo>
                    <a:pt x="50446" y="253171"/>
                  </a:lnTo>
                  <a:lnTo>
                    <a:pt x="52553" y="254126"/>
                  </a:lnTo>
                  <a:lnTo>
                    <a:pt x="57520" y="252946"/>
                  </a:lnTo>
                  <a:lnTo>
                    <a:pt x="61929" y="250636"/>
                  </a:lnTo>
                  <a:lnTo>
                    <a:pt x="61851" y="249407"/>
                  </a:lnTo>
                  <a:lnTo>
                    <a:pt x="61174" y="248306"/>
                  </a:lnTo>
                  <a:lnTo>
                    <a:pt x="60238" y="246185"/>
                  </a:lnTo>
                  <a:lnTo>
                    <a:pt x="60901" y="245596"/>
                  </a:lnTo>
                  <a:lnTo>
                    <a:pt x="62510" y="246029"/>
                  </a:lnTo>
                  <a:lnTo>
                    <a:pt x="61772" y="244974"/>
                  </a:lnTo>
                  <a:lnTo>
                    <a:pt x="61906" y="243861"/>
                  </a:lnTo>
                  <a:lnTo>
                    <a:pt x="63661" y="244324"/>
                  </a:lnTo>
                  <a:lnTo>
                    <a:pt x="66527" y="241214"/>
                  </a:lnTo>
                  <a:lnTo>
                    <a:pt x="66630" y="238835"/>
                  </a:lnTo>
                  <a:lnTo>
                    <a:pt x="71582" y="237590"/>
                  </a:lnTo>
                  <a:lnTo>
                    <a:pt x="77291" y="232724"/>
                  </a:lnTo>
                  <a:lnTo>
                    <a:pt x="79926" y="231207"/>
                  </a:lnTo>
                  <a:lnTo>
                    <a:pt x="82471" y="230108"/>
                  </a:lnTo>
                  <a:lnTo>
                    <a:pt x="87894" y="225229"/>
                  </a:lnTo>
                  <a:lnTo>
                    <a:pt x="90215" y="225002"/>
                  </a:lnTo>
                  <a:lnTo>
                    <a:pt x="91409" y="221706"/>
                  </a:lnTo>
                  <a:lnTo>
                    <a:pt x="96020" y="217312"/>
                  </a:lnTo>
                  <a:lnTo>
                    <a:pt x="97421" y="216749"/>
                  </a:lnTo>
                  <a:lnTo>
                    <a:pt x="99576" y="212779"/>
                  </a:lnTo>
                  <a:lnTo>
                    <a:pt x="105238" y="208180"/>
                  </a:lnTo>
                  <a:lnTo>
                    <a:pt x="108827" y="202302"/>
                  </a:lnTo>
                  <a:lnTo>
                    <a:pt x="110807" y="200210"/>
                  </a:lnTo>
                  <a:lnTo>
                    <a:pt x="111420" y="197980"/>
                  </a:lnTo>
                  <a:lnTo>
                    <a:pt x="113625" y="197791"/>
                  </a:lnTo>
                  <a:lnTo>
                    <a:pt x="115614" y="196151"/>
                  </a:lnTo>
                  <a:lnTo>
                    <a:pt x="119917" y="195007"/>
                  </a:lnTo>
                  <a:lnTo>
                    <a:pt x="124165" y="195324"/>
                  </a:lnTo>
                  <a:lnTo>
                    <a:pt x="125934" y="196102"/>
                  </a:lnTo>
                  <a:lnTo>
                    <a:pt x="127568" y="195855"/>
                  </a:lnTo>
                  <a:lnTo>
                    <a:pt x="127404" y="193846"/>
                  </a:lnTo>
                  <a:lnTo>
                    <a:pt x="126238" y="192604"/>
                  </a:lnTo>
                  <a:lnTo>
                    <a:pt x="127190" y="191411"/>
                  </a:lnTo>
                  <a:lnTo>
                    <a:pt x="129436" y="190506"/>
                  </a:lnTo>
                  <a:lnTo>
                    <a:pt x="129207" y="188505"/>
                  </a:lnTo>
                  <a:lnTo>
                    <a:pt x="128719" y="187300"/>
                  </a:lnTo>
                  <a:lnTo>
                    <a:pt x="126853" y="185694"/>
                  </a:lnTo>
                  <a:lnTo>
                    <a:pt x="127782" y="182092"/>
                  </a:lnTo>
                  <a:lnTo>
                    <a:pt x="128004" y="178137"/>
                  </a:lnTo>
                  <a:lnTo>
                    <a:pt x="128888" y="173559"/>
                  </a:lnTo>
                  <a:lnTo>
                    <a:pt x="126542" y="171129"/>
                  </a:lnTo>
                  <a:lnTo>
                    <a:pt x="117644" y="166987"/>
                  </a:lnTo>
                  <a:lnTo>
                    <a:pt x="115983" y="167131"/>
                  </a:lnTo>
                  <a:lnTo>
                    <a:pt x="114007" y="166611"/>
                  </a:lnTo>
                  <a:lnTo>
                    <a:pt x="111943" y="163467"/>
                  </a:lnTo>
                  <a:lnTo>
                    <a:pt x="112865" y="160750"/>
                  </a:lnTo>
                  <a:lnTo>
                    <a:pt x="112971" y="159748"/>
                  </a:lnTo>
                  <a:lnTo>
                    <a:pt x="112165" y="159778"/>
                  </a:lnTo>
                  <a:lnTo>
                    <a:pt x="110861" y="161103"/>
                  </a:lnTo>
                  <a:lnTo>
                    <a:pt x="108023" y="162617"/>
                  </a:lnTo>
                  <a:lnTo>
                    <a:pt x="104335" y="161455"/>
                  </a:lnTo>
                  <a:lnTo>
                    <a:pt x="102521" y="161713"/>
                  </a:lnTo>
                  <a:lnTo>
                    <a:pt x="100168" y="154976"/>
                  </a:lnTo>
                  <a:lnTo>
                    <a:pt x="98965" y="152396"/>
                  </a:lnTo>
                  <a:lnTo>
                    <a:pt x="97035" y="149175"/>
                  </a:lnTo>
                  <a:lnTo>
                    <a:pt x="93588" y="147600"/>
                  </a:lnTo>
                  <a:lnTo>
                    <a:pt x="92914" y="146709"/>
                  </a:lnTo>
                  <a:lnTo>
                    <a:pt x="92457" y="145343"/>
                  </a:lnTo>
                  <a:lnTo>
                    <a:pt x="92307" y="143444"/>
                  </a:lnTo>
                  <a:lnTo>
                    <a:pt x="91871" y="140631"/>
                  </a:lnTo>
                  <a:lnTo>
                    <a:pt x="92053" y="138321"/>
                  </a:lnTo>
                  <a:lnTo>
                    <a:pt x="92476" y="136943"/>
                  </a:lnTo>
                  <a:lnTo>
                    <a:pt x="93961" y="136017"/>
                  </a:lnTo>
                  <a:lnTo>
                    <a:pt x="96110" y="133403"/>
                  </a:lnTo>
                  <a:lnTo>
                    <a:pt x="96559" y="131501"/>
                  </a:lnTo>
                  <a:lnTo>
                    <a:pt x="96743" y="128581"/>
                  </a:lnTo>
                  <a:lnTo>
                    <a:pt x="97732" y="126028"/>
                  </a:lnTo>
                  <a:lnTo>
                    <a:pt x="98831" y="124736"/>
                  </a:lnTo>
                  <a:lnTo>
                    <a:pt x="98555" y="123708"/>
                  </a:lnTo>
                  <a:lnTo>
                    <a:pt x="97797" y="122236"/>
                  </a:lnTo>
                  <a:lnTo>
                    <a:pt x="96194" y="120145"/>
                  </a:lnTo>
                  <a:lnTo>
                    <a:pt x="93754" y="117593"/>
                  </a:lnTo>
                  <a:lnTo>
                    <a:pt x="91949" y="115149"/>
                  </a:lnTo>
                  <a:lnTo>
                    <a:pt x="91157" y="112862"/>
                  </a:lnTo>
                  <a:lnTo>
                    <a:pt x="90749" y="110816"/>
                  </a:lnTo>
                  <a:lnTo>
                    <a:pt x="90815" y="108953"/>
                  </a:lnTo>
                  <a:lnTo>
                    <a:pt x="91491" y="107684"/>
                  </a:lnTo>
                  <a:lnTo>
                    <a:pt x="93798" y="106085"/>
                  </a:lnTo>
                  <a:lnTo>
                    <a:pt x="94106" y="105406"/>
                  </a:lnTo>
                  <a:lnTo>
                    <a:pt x="93193" y="101868"/>
                  </a:lnTo>
                  <a:lnTo>
                    <a:pt x="91584" y="101223"/>
                  </a:lnTo>
                  <a:lnTo>
                    <a:pt x="88848" y="100880"/>
                  </a:lnTo>
                  <a:lnTo>
                    <a:pt x="87322" y="100851"/>
                  </a:lnTo>
                  <a:lnTo>
                    <a:pt x="87030" y="100464"/>
                  </a:lnTo>
                  <a:lnTo>
                    <a:pt x="86955" y="99751"/>
                  </a:lnTo>
                  <a:lnTo>
                    <a:pt x="87263" y="98297"/>
                  </a:lnTo>
                  <a:lnTo>
                    <a:pt x="88127" y="96629"/>
                  </a:lnTo>
                  <a:lnTo>
                    <a:pt x="88846" y="95566"/>
                  </a:lnTo>
                  <a:lnTo>
                    <a:pt x="88941" y="94664"/>
                  </a:lnTo>
                  <a:lnTo>
                    <a:pt x="88032" y="91575"/>
                  </a:lnTo>
                  <a:lnTo>
                    <a:pt x="87758" y="87780"/>
                  </a:lnTo>
                  <a:lnTo>
                    <a:pt x="88069" y="84803"/>
                  </a:lnTo>
                  <a:lnTo>
                    <a:pt x="90967" y="82604"/>
                  </a:lnTo>
                  <a:lnTo>
                    <a:pt x="91098" y="81800"/>
                  </a:lnTo>
                  <a:lnTo>
                    <a:pt x="87458" y="79410"/>
                  </a:lnTo>
                  <a:lnTo>
                    <a:pt x="84832" y="76697"/>
                  </a:lnTo>
                  <a:lnTo>
                    <a:pt x="84016" y="75112"/>
                  </a:lnTo>
                  <a:lnTo>
                    <a:pt x="81007" y="74872"/>
                  </a:lnTo>
                  <a:lnTo>
                    <a:pt x="79135" y="70260"/>
                  </a:lnTo>
                  <a:lnTo>
                    <a:pt x="76427" y="68010"/>
                  </a:lnTo>
                  <a:lnTo>
                    <a:pt x="73745" y="66065"/>
                  </a:lnTo>
                  <a:lnTo>
                    <a:pt x="72160" y="65159"/>
                  </a:lnTo>
                  <a:lnTo>
                    <a:pt x="62866" y="62360"/>
                  </a:lnTo>
                  <a:lnTo>
                    <a:pt x="59174" y="61827"/>
                  </a:lnTo>
                  <a:lnTo>
                    <a:pt x="54803" y="60192"/>
                  </a:lnTo>
                  <a:lnTo>
                    <a:pt x="51547" y="58137"/>
                  </a:lnTo>
                  <a:lnTo>
                    <a:pt x="48757" y="56814"/>
                  </a:lnTo>
                  <a:lnTo>
                    <a:pt x="46369" y="55182"/>
                  </a:lnTo>
                  <a:lnTo>
                    <a:pt x="43039" y="53654"/>
                  </a:lnTo>
                  <a:lnTo>
                    <a:pt x="42087" y="52347"/>
                  </a:lnTo>
                  <a:lnTo>
                    <a:pt x="38491" y="49924"/>
                  </a:lnTo>
                  <a:lnTo>
                    <a:pt x="36803" y="48328"/>
                  </a:lnTo>
                  <a:lnTo>
                    <a:pt x="30946" y="45309"/>
                  </a:lnTo>
                  <a:lnTo>
                    <a:pt x="30735" y="44117"/>
                  </a:lnTo>
                  <a:lnTo>
                    <a:pt x="30692" y="42966"/>
                  </a:lnTo>
                  <a:lnTo>
                    <a:pt x="30428" y="42488"/>
                  </a:lnTo>
                  <a:lnTo>
                    <a:pt x="24392" y="40278"/>
                  </a:lnTo>
                  <a:lnTo>
                    <a:pt x="25580" y="39013"/>
                  </a:lnTo>
                  <a:lnTo>
                    <a:pt x="30299" y="38937"/>
                  </a:lnTo>
                  <a:lnTo>
                    <a:pt x="34201" y="40088"/>
                  </a:lnTo>
                  <a:lnTo>
                    <a:pt x="35058" y="39596"/>
                  </a:lnTo>
                  <a:lnTo>
                    <a:pt x="35574" y="38573"/>
                  </a:lnTo>
                  <a:lnTo>
                    <a:pt x="33911" y="34464"/>
                  </a:lnTo>
                  <a:lnTo>
                    <a:pt x="34209" y="33393"/>
                  </a:lnTo>
                  <a:lnTo>
                    <a:pt x="35926" y="32102"/>
                  </a:lnTo>
                  <a:lnTo>
                    <a:pt x="38647" y="31074"/>
                  </a:lnTo>
                  <a:lnTo>
                    <a:pt x="42946" y="30925"/>
                  </a:lnTo>
                  <a:lnTo>
                    <a:pt x="45876" y="31077"/>
                  </a:lnTo>
                  <a:lnTo>
                    <a:pt x="46496" y="31189"/>
                  </a:lnTo>
                  <a:lnTo>
                    <a:pt x="50873" y="35711"/>
                  </a:lnTo>
                  <a:lnTo>
                    <a:pt x="54626" y="40113"/>
                  </a:lnTo>
                  <a:lnTo>
                    <a:pt x="56622" y="41986"/>
                  </a:lnTo>
                  <a:lnTo>
                    <a:pt x="61502" y="47283"/>
                  </a:lnTo>
                  <a:lnTo>
                    <a:pt x="63327" y="50342"/>
                  </a:lnTo>
                  <a:lnTo>
                    <a:pt x="63946" y="52530"/>
                  </a:lnTo>
                  <a:lnTo>
                    <a:pt x="65931" y="52516"/>
                  </a:lnTo>
                  <a:lnTo>
                    <a:pt x="72793" y="53475"/>
                  </a:lnTo>
                  <a:lnTo>
                    <a:pt x="78557" y="54282"/>
                  </a:lnTo>
                  <a:lnTo>
                    <a:pt x="80163" y="55505"/>
                  </a:lnTo>
                  <a:lnTo>
                    <a:pt x="84137" y="55259"/>
                  </a:lnTo>
                  <a:lnTo>
                    <a:pt x="87198" y="54156"/>
                  </a:lnTo>
                  <a:lnTo>
                    <a:pt x="92605" y="52761"/>
                  </a:lnTo>
                  <a:lnTo>
                    <a:pt x="94055" y="51044"/>
                  </a:lnTo>
                  <a:lnTo>
                    <a:pt x="95855" y="49212"/>
                  </a:lnTo>
                  <a:lnTo>
                    <a:pt x="99026" y="49500"/>
                  </a:lnTo>
                  <a:lnTo>
                    <a:pt x="102491" y="50949"/>
                  </a:lnTo>
                  <a:lnTo>
                    <a:pt x="106425" y="52851"/>
                  </a:lnTo>
                  <a:lnTo>
                    <a:pt x="109930" y="53731"/>
                  </a:lnTo>
                  <a:lnTo>
                    <a:pt x="114633" y="55111"/>
                  </a:lnTo>
                  <a:lnTo>
                    <a:pt x="116827" y="56893"/>
                  </a:lnTo>
                  <a:lnTo>
                    <a:pt x="119900" y="57401"/>
                  </a:lnTo>
                  <a:lnTo>
                    <a:pt x="123117" y="55620"/>
                  </a:lnTo>
                  <a:lnTo>
                    <a:pt x="125018" y="50779"/>
                  </a:lnTo>
                  <a:lnTo>
                    <a:pt x="126704" y="48616"/>
                  </a:lnTo>
                  <a:lnTo>
                    <a:pt x="129093" y="47028"/>
                  </a:lnTo>
                  <a:lnTo>
                    <a:pt x="131829" y="46327"/>
                  </a:lnTo>
                  <a:lnTo>
                    <a:pt x="133917" y="46073"/>
                  </a:lnTo>
                  <a:lnTo>
                    <a:pt x="135495" y="44837"/>
                  </a:lnTo>
                  <a:lnTo>
                    <a:pt x="137743" y="42089"/>
                  </a:lnTo>
                  <a:lnTo>
                    <a:pt x="138182" y="38755"/>
                  </a:lnTo>
                  <a:lnTo>
                    <a:pt x="137750" y="32718"/>
                  </a:lnTo>
                  <a:lnTo>
                    <a:pt x="138160" y="30723"/>
                  </a:lnTo>
                  <a:lnTo>
                    <a:pt x="139996" y="27454"/>
                  </a:lnTo>
                  <a:lnTo>
                    <a:pt x="142457" y="18764"/>
                  </a:lnTo>
                  <a:lnTo>
                    <a:pt x="143563" y="16253"/>
                  </a:lnTo>
                  <a:lnTo>
                    <a:pt x="144910" y="14724"/>
                  </a:lnTo>
                  <a:lnTo>
                    <a:pt x="146761" y="13814"/>
                  </a:lnTo>
                  <a:lnTo>
                    <a:pt x="150123" y="11169"/>
                  </a:lnTo>
                  <a:lnTo>
                    <a:pt x="154925" y="5923"/>
                  </a:lnTo>
                  <a:lnTo>
                    <a:pt x="156227" y="5477"/>
                  </a:lnTo>
                  <a:lnTo>
                    <a:pt x="159676" y="5211"/>
                  </a:lnTo>
                  <a:lnTo>
                    <a:pt x="163967" y="5406"/>
                  </a:lnTo>
                  <a:lnTo>
                    <a:pt x="167823" y="6331"/>
                  </a:lnTo>
                  <a:lnTo>
                    <a:pt x="168240" y="6260"/>
                  </a:lnTo>
                  <a:lnTo>
                    <a:pt x="169968" y="5778"/>
                  </a:lnTo>
                  <a:lnTo>
                    <a:pt x="173116" y="4145"/>
                  </a:lnTo>
                  <a:lnTo>
                    <a:pt x="178504" y="895"/>
                  </a:lnTo>
                  <a:close/>
                </a:path>
              </a:pathLst>
            </a:custGeom>
            <a:solidFill>
              <a:srgbClr val="A3BA1E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48" name="ee4p_FR_1_82333">
              <a:extLst>
                <a:ext uri="{FF2B5EF4-FFF2-40B4-BE49-F238E27FC236}">
                  <a16:creationId xmlns:a16="http://schemas.microsoft.com/office/drawing/2014/main" id="{FAA206CA-BE82-0154-A98E-F64259683FDF}"/>
                </a:ext>
              </a:extLst>
            </p:cNvPr>
            <p:cNvSpPr>
              <a:spLocks noChangeAspect="1"/>
            </p:cNvSpPr>
            <p:nvPr>
              <p:custDataLst>
                <p:tags r:id="rId76"/>
              </p:custDataLst>
            </p:nvPr>
          </p:nvSpPr>
          <p:spPr>
            <a:xfrm>
              <a:off x="6382449" y="3076048"/>
              <a:ext cx="397628" cy="347434"/>
            </a:xfrm>
            <a:custGeom>
              <a:avLst/>
              <a:gdLst>
                <a:gd name="connsiteX0" fmla="*/ 313500 w 316622"/>
                <a:gd name="connsiteY0" fmla="*/ 225790 h 269321"/>
                <a:gd name="connsiteX1" fmla="*/ 314562 w 316622"/>
                <a:gd name="connsiteY1" fmla="*/ 226875 h 269321"/>
                <a:gd name="connsiteX2" fmla="*/ 314508 w 316622"/>
                <a:gd name="connsiteY2" fmla="*/ 227834 h 269321"/>
                <a:gd name="connsiteX3" fmla="*/ 314901 w 316622"/>
                <a:gd name="connsiteY3" fmla="*/ 230102 h 269321"/>
                <a:gd name="connsiteX4" fmla="*/ 314940 w 316622"/>
                <a:gd name="connsiteY4" fmla="*/ 231576 h 269321"/>
                <a:gd name="connsiteX5" fmla="*/ 314361 w 316622"/>
                <a:gd name="connsiteY5" fmla="*/ 235501 h 269321"/>
                <a:gd name="connsiteX6" fmla="*/ 314782 w 316622"/>
                <a:gd name="connsiteY6" fmla="*/ 236649 h 269321"/>
                <a:gd name="connsiteX7" fmla="*/ 315581 w 316622"/>
                <a:gd name="connsiteY7" fmla="*/ 237450 h 269321"/>
                <a:gd name="connsiteX8" fmla="*/ 315953 w 316622"/>
                <a:gd name="connsiteY8" fmla="*/ 238329 h 269321"/>
                <a:gd name="connsiteX9" fmla="*/ 316622 w 316622"/>
                <a:gd name="connsiteY9" fmla="*/ 248763 h 269321"/>
                <a:gd name="connsiteX10" fmla="*/ 316495 w 316622"/>
                <a:gd name="connsiteY10" fmla="*/ 249592 h 269321"/>
                <a:gd name="connsiteX11" fmla="*/ 313791 w 316622"/>
                <a:gd name="connsiteY11" fmla="*/ 253771 h 269321"/>
                <a:gd name="connsiteX12" fmla="*/ 313182 w 316622"/>
                <a:gd name="connsiteY12" fmla="*/ 254996 h 269321"/>
                <a:gd name="connsiteX13" fmla="*/ 313048 w 316622"/>
                <a:gd name="connsiteY13" fmla="*/ 260165 h 269321"/>
                <a:gd name="connsiteX14" fmla="*/ 312593 w 316622"/>
                <a:gd name="connsiteY14" fmla="*/ 261552 h 269321"/>
                <a:gd name="connsiteX15" fmla="*/ 311634 w 316622"/>
                <a:gd name="connsiteY15" fmla="*/ 262920 h 269321"/>
                <a:gd name="connsiteX16" fmla="*/ 309922 w 316622"/>
                <a:gd name="connsiteY16" fmla="*/ 267337 h 269321"/>
                <a:gd name="connsiteX17" fmla="*/ 308434 w 316622"/>
                <a:gd name="connsiteY17" fmla="*/ 269321 h 269321"/>
                <a:gd name="connsiteX18" fmla="*/ 304385 w 316622"/>
                <a:gd name="connsiteY18" fmla="*/ 266901 h 269321"/>
                <a:gd name="connsiteX19" fmla="*/ 301997 w 316622"/>
                <a:gd name="connsiteY19" fmla="*/ 265854 h 269321"/>
                <a:gd name="connsiteX20" fmla="*/ 300826 w 316622"/>
                <a:gd name="connsiteY20" fmla="*/ 264725 h 269321"/>
                <a:gd name="connsiteX21" fmla="*/ 300062 w 316622"/>
                <a:gd name="connsiteY21" fmla="*/ 263945 h 269321"/>
                <a:gd name="connsiteX22" fmla="*/ 300554 w 316622"/>
                <a:gd name="connsiteY22" fmla="*/ 262905 h 269321"/>
                <a:gd name="connsiteX23" fmla="*/ 301643 w 316622"/>
                <a:gd name="connsiteY23" fmla="*/ 261824 h 269321"/>
                <a:gd name="connsiteX24" fmla="*/ 301815 w 316622"/>
                <a:gd name="connsiteY24" fmla="*/ 260973 h 269321"/>
                <a:gd name="connsiteX25" fmla="*/ 299254 w 316622"/>
                <a:gd name="connsiteY25" fmla="*/ 260009 h 269321"/>
                <a:gd name="connsiteX26" fmla="*/ 298082 w 316622"/>
                <a:gd name="connsiteY26" fmla="*/ 259365 h 269321"/>
                <a:gd name="connsiteX27" fmla="*/ 298097 w 316622"/>
                <a:gd name="connsiteY27" fmla="*/ 258237 h 269321"/>
                <a:gd name="connsiteX28" fmla="*/ 298982 w 316622"/>
                <a:gd name="connsiteY28" fmla="*/ 256476 h 269321"/>
                <a:gd name="connsiteX29" fmla="*/ 298578 w 316622"/>
                <a:gd name="connsiteY29" fmla="*/ 255025 h 269321"/>
                <a:gd name="connsiteX30" fmla="*/ 297101 w 316622"/>
                <a:gd name="connsiteY30" fmla="*/ 255099 h 269321"/>
                <a:gd name="connsiteX31" fmla="*/ 295957 w 316622"/>
                <a:gd name="connsiteY31" fmla="*/ 254877 h 269321"/>
                <a:gd name="connsiteX32" fmla="*/ 295808 w 316622"/>
                <a:gd name="connsiteY32" fmla="*/ 254123 h 269321"/>
                <a:gd name="connsiteX33" fmla="*/ 296654 w 316622"/>
                <a:gd name="connsiteY33" fmla="*/ 253156 h 269321"/>
                <a:gd name="connsiteX34" fmla="*/ 297740 w 316622"/>
                <a:gd name="connsiteY34" fmla="*/ 251893 h 269321"/>
                <a:gd name="connsiteX35" fmla="*/ 297706 w 316622"/>
                <a:gd name="connsiteY35" fmla="*/ 250499 h 269321"/>
                <a:gd name="connsiteX36" fmla="*/ 296393 w 316622"/>
                <a:gd name="connsiteY36" fmla="*/ 249898 h 269321"/>
                <a:gd name="connsiteX37" fmla="*/ 295203 w 316622"/>
                <a:gd name="connsiteY37" fmla="*/ 248765 h 269321"/>
                <a:gd name="connsiteX38" fmla="*/ 294726 w 316622"/>
                <a:gd name="connsiteY38" fmla="*/ 247224 h 269321"/>
                <a:gd name="connsiteX39" fmla="*/ 295648 w 316622"/>
                <a:gd name="connsiteY39" fmla="*/ 246169 h 269321"/>
                <a:gd name="connsiteX40" fmla="*/ 297142 w 316622"/>
                <a:gd name="connsiteY40" fmla="*/ 245488 h 269321"/>
                <a:gd name="connsiteX41" fmla="*/ 296045 w 316622"/>
                <a:gd name="connsiteY41" fmla="*/ 243907 h 269321"/>
                <a:gd name="connsiteX42" fmla="*/ 295305 w 316622"/>
                <a:gd name="connsiteY42" fmla="*/ 243872 h 269321"/>
                <a:gd name="connsiteX43" fmla="*/ 294713 w 316622"/>
                <a:gd name="connsiteY43" fmla="*/ 243526 h 269321"/>
                <a:gd name="connsiteX44" fmla="*/ 295197 w 316622"/>
                <a:gd name="connsiteY44" fmla="*/ 242791 h 269321"/>
                <a:gd name="connsiteX45" fmla="*/ 296358 w 316622"/>
                <a:gd name="connsiteY45" fmla="*/ 241692 h 269321"/>
                <a:gd name="connsiteX46" fmla="*/ 297974 w 316622"/>
                <a:gd name="connsiteY46" fmla="*/ 238406 h 269321"/>
                <a:gd name="connsiteX47" fmla="*/ 300224 w 316622"/>
                <a:gd name="connsiteY47" fmla="*/ 236854 h 269321"/>
                <a:gd name="connsiteX48" fmla="*/ 304206 w 316622"/>
                <a:gd name="connsiteY48" fmla="*/ 235855 h 269321"/>
                <a:gd name="connsiteX49" fmla="*/ 305283 w 316622"/>
                <a:gd name="connsiteY49" fmla="*/ 235418 h 269321"/>
                <a:gd name="connsiteX50" fmla="*/ 306272 w 316622"/>
                <a:gd name="connsiteY50" fmla="*/ 234261 h 269321"/>
                <a:gd name="connsiteX51" fmla="*/ 307367 w 316622"/>
                <a:gd name="connsiteY51" fmla="*/ 233515 h 269321"/>
                <a:gd name="connsiteX52" fmla="*/ 308697 w 316622"/>
                <a:gd name="connsiteY52" fmla="*/ 233614 h 269321"/>
                <a:gd name="connsiteX53" fmla="*/ 309924 w 316622"/>
                <a:gd name="connsiteY53" fmla="*/ 234061 h 269321"/>
                <a:gd name="connsiteX54" fmla="*/ 310680 w 316622"/>
                <a:gd name="connsiteY54" fmla="*/ 234537 h 269321"/>
                <a:gd name="connsiteX55" fmla="*/ 311247 w 316622"/>
                <a:gd name="connsiteY55" fmla="*/ 234042 h 269321"/>
                <a:gd name="connsiteX56" fmla="*/ 311800 w 316622"/>
                <a:gd name="connsiteY56" fmla="*/ 232606 h 269321"/>
                <a:gd name="connsiteX57" fmla="*/ 311461 w 316622"/>
                <a:gd name="connsiteY57" fmla="*/ 231344 h 269321"/>
                <a:gd name="connsiteX58" fmla="*/ 311636 w 316622"/>
                <a:gd name="connsiteY58" fmla="*/ 227872 h 269321"/>
                <a:gd name="connsiteX59" fmla="*/ 312349 w 316622"/>
                <a:gd name="connsiteY59" fmla="*/ 225900 h 269321"/>
                <a:gd name="connsiteX60" fmla="*/ 74603 w 316622"/>
                <a:gd name="connsiteY60" fmla="*/ 143377 h 269321"/>
                <a:gd name="connsiteX61" fmla="*/ 76893 w 316622"/>
                <a:gd name="connsiteY61" fmla="*/ 144695 h 269321"/>
                <a:gd name="connsiteX62" fmla="*/ 79254 w 316622"/>
                <a:gd name="connsiteY62" fmla="*/ 147418 h 269321"/>
                <a:gd name="connsiteX63" fmla="*/ 78474 w 316622"/>
                <a:gd name="connsiteY63" fmla="*/ 149829 h 269321"/>
                <a:gd name="connsiteX64" fmla="*/ 76999 w 316622"/>
                <a:gd name="connsiteY64" fmla="*/ 147609 h 269321"/>
                <a:gd name="connsiteX65" fmla="*/ 75044 w 316622"/>
                <a:gd name="connsiteY65" fmla="*/ 145662 h 269321"/>
                <a:gd name="connsiteX66" fmla="*/ 74598 w 316622"/>
                <a:gd name="connsiteY66" fmla="*/ 143859 h 269321"/>
                <a:gd name="connsiteX67" fmla="*/ 161140 w 316622"/>
                <a:gd name="connsiteY67" fmla="*/ 0 h 269321"/>
                <a:gd name="connsiteX68" fmla="*/ 161386 w 316622"/>
                <a:gd name="connsiteY68" fmla="*/ 1392 h 269321"/>
                <a:gd name="connsiteX69" fmla="*/ 162243 w 316622"/>
                <a:gd name="connsiteY69" fmla="*/ 3172 h 269321"/>
                <a:gd name="connsiteX70" fmla="*/ 162833 w 316622"/>
                <a:gd name="connsiteY70" fmla="*/ 4145 h 269321"/>
                <a:gd name="connsiteX71" fmla="*/ 162343 w 316622"/>
                <a:gd name="connsiteY71" fmla="*/ 5415 h 269321"/>
                <a:gd name="connsiteX72" fmla="*/ 162729 w 316622"/>
                <a:gd name="connsiteY72" fmla="*/ 6460 h 269321"/>
                <a:gd name="connsiteX73" fmla="*/ 164329 w 316622"/>
                <a:gd name="connsiteY73" fmla="*/ 8341 h 269321"/>
                <a:gd name="connsiteX74" fmla="*/ 166324 w 316622"/>
                <a:gd name="connsiteY74" fmla="*/ 10112 h 269321"/>
                <a:gd name="connsiteX75" fmla="*/ 168102 w 316622"/>
                <a:gd name="connsiteY75" fmla="*/ 11243 h 269321"/>
                <a:gd name="connsiteX76" fmla="*/ 168603 w 316622"/>
                <a:gd name="connsiteY76" fmla="*/ 11120 h 269321"/>
                <a:gd name="connsiteX77" fmla="*/ 169920 w 316622"/>
                <a:gd name="connsiteY77" fmla="*/ 10798 h 269321"/>
                <a:gd name="connsiteX78" fmla="*/ 172150 w 316622"/>
                <a:gd name="connsiteY78" fmla="*/ 9638 h 269321"/>
                <a:gd name="connsiteX79" fmla="*/ 174008 w 316622"/>
                <a:gd name="connsiteY79" fmla="*/ 9273 h 269321"/>
                <a:gd name="connsiteX80" fmla="*/ 175070 w 316622"/>
                <a:gd name="connsiteY80" fmla="*/ 10162 h 269321"/>
                <a:gd name="connsiteX81" fmla="*/ 175670 w 316622"/>
                <a:gd name="connsiteY81" fmla="*/ 10663 h 269321"/>
                <a:gd name="connsiteX82" fmla="*/ 176841 w 316622"/>
                <a:gd name="connsiteY82" fmla="*/ 12664 h 269321"/>
                <a:gd name="connsiteX83" fmla="*/ 177169 w 316622"/>
                <a:gd name="connsiteY83" fmla="*/ 14752 h 269321"/>
                <a:gd name="connsiteX84" fmla="*/ 177689 w 316622"/>
                <a:gd name="connsiteY84" fmla="*/ 16484 h 269321"/>
                <a:gd name="connsiteX85" fmla="*/ 178637 w 316622"/>
                <a:gd name="connsiteY85" fmla="*/ 17186 h 269321"/>
                <a:gd name="connsiteX86" fmla="*/ 182192 w 316622"/>
                <a:gd name="connsiteY86" fmla="*/ 17416 h 269321"/>
                <a:gd name="connsiteX87" fmla="*/ 184811 w 316622"/>
                <a:gd name="connsiteY87" fmla="*/ 18058 h 269321"/>
                <a:gd name="connsiteX88" fmla="*/ 185504 w 316622"/>
                <a:gd name="connsiteY88" fmla="*/ 18639 h 269321"/>
                <a:gd name="connsiteX89" fmla="*/ 186400 w 316622"/>
                <a:gd name="connsiteY89" fmla="*/ 22482 h 269321"/>
                <a:gd name="connsiteX90" fmla="*/ 186888 w 316622"/>
                <a:gd name="connsiteY90" fmla="*/ 23025 h 269321"/>
                <a:gd name="connsiteX91" fmla="*/ 187541 w 316622"/>
                <a:gd name="connsiteY91" fmla="*/ 22572 h 269321"/>
                <a:gd name="connsiteX92" fmla="*/ 188186 w 316622"/>
                <a:gd name="connsiteY92" fmla="*/ 21940 h 269321"/>
                <a:gd name="connsiteX93" fmla="*/ 189082 w 316622"/>
                <a:gd name="connsiteY93" fmla="*/ 21839 h 269321"/>
                <a:gd name="connsiteX94" fmla="*/ 190620 w 316622"/>
                <a:gd name="connsiteY94" fmla="*/ 22083 h 269321"/>
                <a:gd name="connsiteX95" fmla="*/ 192645 w 316622"/>
                <a:gd name="connsiteY95" fmla="*/ 22159 h 269321"/>
                <a:gd name="connsiteX96" fmla="*/ 194734 w 316622"/>
                <a:gd name="connsiteY96" fmla="*/ 22582 h 269321"/>
                <a:gd name="connsiteX97" fmla="*/ 197618 w 316622"/>
                <a:gd name="connsiteY97" fmla="*/ 24750 h 269321"/>
                <a:gd name="connsiteX98" fmla="*/ 197508 w 316622"/>
                <a:gd name="connsiteY98" fmla="*/ 25465 h 269321"/>
                <a:gd name="connsiteX99" fmla="*/ 196945 w 316622"/>
                <a:gd name="connsiteY99" fmla="*/ 26720 h 269321"/>
                <a:gd name="connsiteX100" fmla="*/ 196748 w 316622"/>
                <a:gd name="connsiteY100" fmla="*/ 27721 h 269321"/>
                <a:gd name="connsiteX101" fmla="*/ 197245 w 316622"/>
                <a:gd name="connsiteY101" fmla="*/ 28123 h 269321"/>
                <a:gd name="connsiteX102" fmla="*/ 198007 w 316622"/>
                <a:gd name="connsiteY102" fmla="*/ 29156 h 269321"/>
                <a:gd name="connsiteX103" fmla="*/ 197824 w 316622"/>
                <a:gd name="connsiteY103" fmla="*/ 30350 h 269321"/>
                <a:gd name="connsiteX104" fmla="*/ 197081 w 316622"/>
                <a:gd name="connsiteY104" fmla="*/ 31186 h 269321"/>
                <a:gd name="connsiteX105" fmla="*/ 196783 w 316622"/>
                <a:gd name="connsiteY105" fmla="*/ 31875 h 269321"/>
                <a:gd name="connsiteX106" fmla="*/ 196787 w 316622"/>
                <a:gd name="connsiteY106" fmla="*/ 32323 h 269321"/>
                <a:gd name="connsiteX107" fmla="*/ 197059 w 316622"/>
                <a:gd name="connsiteY107" fmla="*/ 32695 h 269321"/>
                <a:gd name="connsiteX108" fmla="*/ 197651 w 316622"/>
                <a:gd name="connsiteY108" fmla="*/ 33022 h 269321"/>
                <a:gd name="connsiteX109" fmla="*/ 201911 w 316622"/>
                <a:gd name="connsiteY109" fmla="*/ 33463 h 269321"/>
                <a:gd name="connsiteX110" fmla="*/ 205809 w 316622"/>
                <a:gd name="connsiteY110" fmla="*/ 33022 h 269321"/>
                <a:gd name="connsiteX111" fmla="*/ 208266 w 316622"/>
                <a:gd name="connsiteY111" fmla="*/ 31805 h 269321"/>
                <a:gd name="connsiteX112" fmla="*/ 208685 w 316622"/>
                <a:gd name="connsiteY112" fmla="*/ 30522 h 269321"/>
                <a:gd name="connsiteX113" fmla="*/ 209383 w 316622"/>
                <a:gd name="connsiteY113" fmla="*/ 29072 h 269321"/>
                <a:gd name="connsiteX114" fmla="*/ 210847 w 316622"/>
                <a:gd name="connsiteY114" fmla="*/ 27858 h 269321"/>
                <a:gd name="connsiteX115" fmla="*/ 211860 w 316622"/>
                <a:gd name="connsiteY115" fmla="*/ 27450 h 269321"/>
                <a:gd name="connsiteX116" fmla="*/ 212786 w 316622"/>
                <a:gd name="connsiteY116" fmla="*/ 27950 h 269321"/>
                <a:gd name="connsiteX117" fmla="*/ 211227 w 316622"/>
                <a:gd name="connsiteY117" fmla="*/ 33042 h 269321"/>
                <a:gd name="connsiteX118" fmla="*/ 212365 w 316622"/>
                <a:gd name="connsiteY118" fmla="*/ 34342 h 269321"/>
                <a:gd name="connsiteX119" fmla="*/ 212533 w 316622"/>
                <a:gd name="connsiteY119" fmla="*/ 36284 h 269321"/>
                <a:gd name="connsiteX120" fmla="*/ 212941 w 316622"/>
                <a:gd name="connsiteY120" fmla="*/ 37983 h 269321"/>
                <a:gd name="connsiteX121" fmla="*/ 214334 w 316622"/>
                <a:gd name="connsiteY121" fmla="*/ 37951 h 269321"/>
                <a:gd name="connsiteX122" fmla="*/ 216023 w 316622"/>
                <a:gd name="connsiteY122" fmla="*/ 38265 h 269321"/>
                <a:gd name="connsiteX123" fmla="*/ 217219 w 316622"/>
                <a:gd name="connsiteY123" fmla="*/ 38893 h 269321"/>
                <a:gd name="connsiteX124" fmla="*/ 218614 w 316622"/>
                <a:gd name="connsiteY124" fmla="*/ 39902 h 269321"/>
                <a:gd name="connsiteX125" fmla="*/ 220625 w 316622"/>
                <a:gd name="connsiteY125" fmla="*/ 40829 h 269321"/>
                <a:gd name="connsiteX126" fmla="*/ 222035 w 316622"/>
                <a:gd name="connsiteY126" fmla="*/ 41155 h 269321"/>
                <a:gd name="connsiteX127" fmla="*/ 222546 w 316622"/>
                <a:gd name="connsiteY127" fmla="*/ 41929 h 269321"/>
                <a:gd name="connsiteX128" fmla="*/ 223686 w 316622"/>
                <a:gd name="connsiteY128" fmla="*/ 42825 h 269321"/>
                <a:gd name="connsiteX129" fmla="*/ 225481 w 316622"/>
                <a:gd name="connsiteY129" fmla="*/ 44702 h 269321"/>
                <a:gd name="connsiteX130" fmla="*/ 227087 w 316622"/>
                <a:gd name="connsiteY130" fmla="*/ 45954 h 269321"/>
                <a:gd name="connsiteX131" fmla="*/ 227863 w 316622"/>
                <a:gd name="connsiteY131" fmla="*/ 45949 h 269321"/>
                <a:gd name="connsiteX132" fmla="*/ 229359 w 316622"/>
                <a:gd name="connsiteY132" fmla="*/ 45456 h 269321"/>
                <a:gd name="connsiteX133" fmla="*/ 231579 w 316622"/>
                <a:gd name="connsiteY133" fmla="*/ 45140 h 269321"/>
                <a:gd name="connsiteX134" fmla="*/ 233332 w 316622"/>
                <a:gd name="connsiteY134" fmla="*/ 45167 h 269321"/>
                <a:gd name="connsiteX135" fmla="*/ 234078 w 316622"/>
                <a:gd name="connsiteY135" fmla="*/ 46120 h 269321"/>
                <a:gd name="connsiteX136" fmla="*/ 235801 w 316622"/>
                <a:gd name="connsiteY136" fmla="*/ 46560 h 269321"/>
                <a:gd name="connsiteX137" fmla="*/ 236410 w 316622"/>
                <a:gd name="connsiteY137" fmla="*/ 46910 h 269321"/>
                <a:gd name="connsiteX138" fmla="*/ 237086 w 316622"/>
                <a:gd name="connsiteY138" fmla="*/ 47567 h 269321"/>
                <a:gd name="connsiteX139" fmla="*/ 238234 w 316622"/>
                <a:gd name="connsiteY139" fmla="*/ 47831 h 269321"/>
                <a:gd name="connsiteX140" fmla="*/ 239621 w 316622"/>
                <a:gd name="connsiteY140" fmla="*/ 47567 h 269321"/>
                <a:gd name="connsiteX141" fmla="*/ 240633 w 316622"/>
                <a:gd name="connsiteY141" fmla="*/ 46690 h 269321"/>
                <a:gd name="connsiteX142" fmla="*/ 241985 w 316622"/>
                <a:gd name="connsiteY142" fmla="*/ 46297 h 269321"/>
                <a:gd name="connsiteX143" fmla="*/ 243337 w 316622"/>
                <a:gd name="connsiteY143" fmla="*/ 46428 h 269321"/>
                <a:gd name="connsiteX144" fmla="*/ 244114 w 316622"/>
                <a:gd name="connsiteY144" fmla="*/ 46910 h 269321"/>
                <a:gd name="connsiteX145" fmla="*/ 245596 w 316622"/>
                <a:gd name="connsiteY145" fmla="*/ 47622 h 269321"/>
                <a:gd name="connsiteX146" fmla="*/ 246434 w 316622"/>
                <a:gd name="connsiteY146" fmla="*/ 47467 h 269321"/>
                <a:gd name="connsiteX147" fmla="*/ 248111 w 316622"/>
                <a:gd name="connsiteY147" fmla="*/ 47905 h 269321"/>
                <a:gd name="connsiteX148" fmla="*/ 249796 w 316622"/>
                <a:gd name="connsiteY148" fmla="*/ 49287 h 269321"/>
                <a:gd name="connsiteX149" fmla="*/ 250504 w 316622"/>
                <a:gd name="connsiteY149" fmla="*/ 50676 h 269321"/>
                <a:gd name="connsiteX150" fmla="*/ 250689 w 316622"/>
                <a:gd name="connsiteY150" fmla="*/ 51435 h 269321"/>
                <a:gd name="connsiteX151" fmla="*/ 251417 w 316622"/>
                <a:gd name="connsiteY151" fmla="*/ 52260 h 269321"/>
                <a:gd name="connsiteX152" fmla="*/ 254244 w 316622"/>
                <a:gd name="connsiteY152" fmla="*/ 55987 h 269321"/>
                <a:gd name="connsiteX153" fmla="*/ 255147 w 316622"/>
                <a:gd name="connsiteY153" fmla="*/ 56171 h 269321"/>
                <a:gd name="connsiteX154" fmla="*/ 256129 w 316622"/>
                <a:gd name="connsiteY154" fmla="*/ 55606 h 269321"/>
                <a:gd name="connsiteX155" fmla="*/ 256766 w 316622"/>
                <a:gd name="connsiteY155" fmla="*/ 54805 h 269321"/>
                <a:gd name="connsiteX156" fmla="*/ 257688 w 316622"/>
                <a:gd name="connsiteY156" fmla="*/ 54645 h 269321"/>
                <a:gd name="connsiteX157" fmla="*/ 259172 w 316622"/>
                <a:gd name="connsiteY157" fmla="*/ 55014 h 269321"/>
                <a:gd name="connsiteX158" fmla="*/ 260126 w 316622"/>
                <a:gd name="connsiteY158" fmla="*/ 55436 h 269321"/>
                <a:gd name="connsiteX159" fmla="*/ 260584 w 316622"/>
                <a:gd name="connsiteY159" fmla="*/ 57049 h 269321"/>
                <a:gd name="connsiteX160" fmla="*/ 260906 w 316622"/>
                <a:gd name="connsiteY160" fmla="*/ 57356 h 269321"/>
                <a:gd name="connsiteX161" fmla="*/ 261547 w 316622"/>
                <a:gd name="connsiteY161" fmla="*/ 57009 h 269321"/>
                <a:gd name="connsiteX162" fmla="*/ 262690 w 316622"/>
                <a:gd name="connsiteY162" fmla="*/ 56932 h 269321"/>
                <a:gd name="connsiteX163" fmla="*/ 264514 w 316622"/>
                <a:gd name="connsiteY163" fmla="*/ 57330 h 269321"/>
                <a:gd name="connsiteX164" fmla="*/ 267023 w 316622"/>
                <a:gd name="connsiteY164" fmla="*/ 56875 h 269321"/>
                <a:gd name="connsiteX165" fmla="*/ 269031 w 316622"/>
                <a:gd name="connsiteY165" fmla="*/ 56202 h 269321"/>
                <a:gd name="connsiteX166" fmla="*/ 270057 w 316622"/>
                <a:gd name="connsiteY166" fmla="*/ 56227 h 269321"/>
                <a:gd name="connsiteX167" fmla="*/ 271713 w 316622"/>
                <a:gd name="connsiteY167" fmla="*/ 58108 h 269321"/>
                <a:gd name="connsiteX168" fmla="*/ 273603 w 316622"/>
                <a:gd name="connsiteY168" fmla="*/ 58811 h 269321"/>
                <a:gd name="connsiteX169" fmla="*/ 277766 w 316622"/>
                <a:gd name="connsiteY169" fmla="*/ 59378 h 269321"/>
                <a:gd name="connsiteX170" fmla="*/ 282234 w 316622"/>
                <a:gd name="connsiteY170" fmla="*/ 60262 h 269321"/>
                <a:gd name="connsiteX171" fmla="*/ 283989 w 316622"/>
                <a:gd name="connsiteY171" fmla="*/ 60976 h 269321"/>
                <a:gd name="connsiteX172" fmla="*/ 285188 w 316622"/>
                <a:gd name="connsiteY172" fmla="*/ 61327 h 269321"/>
                <a:gd name="connsiteX173" fmla="*/ 285309 w 316622"/>
                <a:gd name="connsiteY173" fmla="*/ 63812 h 269321"/>
                <a:gd name="connsiteX174" fmla="*/ 284948 w 316622"/>
                <a:gd name="connsiteY174" fmla="*/ 64187 h 269321"/>
                <a:gd name="connsiteX175" fmla="*/ 280498 w 316622"/>
                <a:gd name="connsiteY175" fmla="*/ 69161 h 269321"/>
                <a:gd name="connsiteX176" fmla="*/ 278623 w 316622"/>
                <a:gd name="connsiteY176" fmla="*/ 70938 h 269321"/>
                <a:gd name="connsiteX177" fmla="*/ 277669 w 316622"/>
                <a:gd name="connsiteY177" fmla="*/ 73471 h 269321"/>
                <a:gd name="connsiteX178" fmla="*/ 277013 w 316622"/>
                <a:gd name="connsiteY178" fmla="*/ 77352 h 269321"/>
                <a:gd name="connsiteX179" fmla="*/ 275698 w 316622"/>
                <a:gd name="connsiteY179" fmla="*/ 81034 h 269321"/>
                <a:gd name="connsiteX180" fmla="*/ 273728 w 316622"/>
                <a:gd name="connsiteY180" fmla="*/ 84519 h 269321"/>
                <a:gd name="connsiteX181" fmla="*/ 273011 w 316622"/>
                <a:gd name="connsiteY181" fmla="*/ 87132 h 269321"/>
                <a:gd name="connsiteX182" fmla="*/ 273549 w 316622"/>
                <a:gd name="connsiteY182" fmla="*/ 88874 h 269321"/>
                <a:gd name="connsiteX183" fmla="*/ 273212 w 316622"/>
                <a:gd name="connsiteY183" fmla="*/ 91607 h 269321"/>
                <a:gd name="connsiteX184" fmla="*/ 272003 w 316622"/>
                <a:gd name="connsiteY184" fmla="*/ 95326 h 269321"/>
                <a:gd name="connsiteX185" fmla="*/ 271800 w 316622"/>
                <a:gd name="connsiteY185" fmla="*/ 98132 h 269321"/>
                <a:gd name="connsiteX186" fmla="*/ 272597 w 316622"/>
                <a:gd name="connsiteY186" fmla="*/ 100025 h 269321"/>
                <a:gd name="connsiteX187" fmla="*/ 273707 w 316622"/>
                <a:gd name="connsiteY187" fmla="*/ 100413 h 269321"/>
                <a:gd name="connsiteX188" fmla="*/ 271037 w 316622"/>
                <a:gd name="connsiteY188" fmla="*/ 101687 h 269321"/>
                <a:gd name="connsiteX189" fmla="*/ 270429 w 316622"/>
                <a:gd name="connsiteY189" fmla="*/ 102801 h 269321"/>
                <a:gd name="connsiteX190" fmla="*/ 269381 w 316622"/>
                <a:gd name="connsiteY190" fmla="*/ 104274 h 269321"/>
                <a:gd name="connsiteX191" fmla="*/ 267682 w 316622"/>
                <a:gd name="connsiteY191" fmla="*/ 104893 h 269321"/>
                <a:gd name="connsiteX192" fmla="*/ 265970 w 316622"/>
                <a:gd name="connsiteY192" fmla="*/ 105098 h 269321"/>
                <a:gd name="connsiteX193" fmla="*/ 264585 w 316622"/>
                <a:gd name="connsiteY193" fmla="*/ 104903 h 269321"/>
                <a:gd name="connsiteX194" fmla="*/ 263797 w 316622"/>
                <a:gd name="connsiteY194" fmla="*/ 104315 h 269321"/>
                <a:gd name="connsiteX195" fmla="*/ 263836 w 316622"/>
                <a:gd name="connsiteY195" fmla="*/ 103767 h 269321"/>
                <a:gd name="connsiteX196" fmla="*/ 263102 w 316622"/>
                <a:gd name="connsiteY196" fmla="*/ 103301 h 269321"/>
                <a:gd name="connsiteX197" fmla="*/ 261275 w 316622"/>
                <a:gd name="connsiteY197" fmla="*/ 103315 h 269321"/>
                <a:gd name="connsiteX198" fmla="*/ 259394 w 316622"/>
                <a:gd name="connsiteY198" fmla="*/ 104328 h 269321"/>
                <a:gd name="connsiteX199" fmla="*/ 257891 w 316622"/>
                <a:gd name="connsiteY199" fmla="*/ 105982 h 269321"/>
                <a:gd name="connsiteX200" fmla="*/ 258358 w 316622"/>
                <a:gd name="connsiteY200" fmla="*/ 106907 h 269321"/>
                <a:gd name="connsiteX201" fmla="*/ 259742 w 316622"/>
                <a:gd name="connsiteY201" fmla="*/ 107151 h 269321"/>
                <a:gd name="connsiteX202" fmla="*/ 260107 w 316622"/>
                <a:gd name="connsiteY202" fmla="*/ 107517 h 269321"/>
                <a:gd name="connsiteX203" fmla="*/ 260107 w 316622"/>
                <a:gd name="connsiteY203" fmla="*/ 107992 h 269321"/>
                <a:gd name="connsiteX204" fmla="*/ 259619 w 316622"/>
                <a:gd name="connsiteY204" fmla="*/ 108564 h 269321"/>
                <a:gd name="connsiteX205" fmla="*/ 259034 w 316622"/>
                <a:gd name="connsiteY205" fmla="*/ 109541 h 269321"/>
                <a:gd name="connsiteX206" fmla="*/ 256129 w 316622"/>
                <a:gd name="connsiteY206" fmla="*/ 112450 h 269321"/>
                <a:gd name="connsiteX207" fmla="*/ 253197 w 316622"/>
                <a:gd name="connsiteY207" fmla="*/ 115382 h 269321"/>
                <a:gd name="connsiteX208" fmla="*/ 252728 w 316622"/>
                <a:gd name="connsiteY208" fmla="*/ 116268 h 269321"/>
                <a:gd name="connsiteX209" fmla="*/ 251798 w 316622"/>
                <a:gd name="connsiteY209" fmla="*/ 116887 h 269321"/>
                <a:gd name="connsiteX210" fmla="*/ 248070 w 316622"/>
                <a:gd name="connsiteY210" fmla="*/ 118450 h 269321"/>
                <a:gd name="connsiteX211" fmla="*/ 247680 w 316622"/>
                <a:gd name="connsiteY211" fmla="*/ 119076 h 269321"/>
                <a:gd name="connsiteX212" fmla="*/ 247468 w 316622"/>
                <a:gd name="connsiteY212" fmla="*/ 121685 h 269321"/>
                <a:gd name="connsiteX213" fmla="*/ 247051 w 316622"/>
                <a:gd name="connsiteY213" fmla="*/ 123826 h 269321"/>
                <a:gd name="connsiteX214" fmla="*/ 244287 w 316622"/>
                <a:gd name="connsiteY214" fmla="*/ 125839 h 269321"/>
                <a:gd name="connsiteX215" fmla="*/ 241536 w 316622"/>
                <a:gd name="connsiteY215" fmla="*/ 127842 h 269321"/>
                <a:gd name="connsiteX216" fmla="*/ 240849 w 316622"/>
                <a:gd name="connsiteY216" fmla="*/ 129065 h 269321"/>
                <a:gd name="connsiteX217" fmla="*/ 240348 w 316622"/>
                <a:gd name="connsiteY217" fmla="*/ 130480 h 269321"/>
                <a:gd name="connsiteX218" fmla="*/ 239485 w 316622"/>
                <a:gd name="connsiteY218" fmla="*/ 132076 h 269321"/>
                <a:gd name="connsiteX219" fmla="*/ 239314 w 316622"/>
                <a:gd name="connsiteY219" fmla="*/ 132919 h 269321"/>
                <a:gd name="connsiteX220" fmla="*/ 240707 w 316622"/>
                <a:gd name="connsiteY220" fmla="*/ 134293 h 269321"/>
                <a:gd name="connsiteX221" fmla="*/ 240545 w 316622"/>
                <a:gd name="connsiteY221" fmla="*/ 135429 h 269321"/>
                <a:gd name="connsiteX222" fmla="*/ 240102 w 316622"/>
                <a:gd name="connsiteY222" fmla="*/ 137043 h 269321"/>
                <a:gd name="connsiteX223" fmla="*/ 238780 w 316622"/>
                <a:gd name="connsiteY223" fmla="*/ 138186 h 269321"/>
                <a:gd name="connsiteX224" fmla="*/ 237319 w 316622"/>
                <a:gd name="connsiteY224" fmla="*/ 138834 h 269321"/>
                <a:gd name="connsiteX225" fmla="*/ 237351 w 316622"/>
                <a:gd name="connsiteY225" fmla="*/ 140590 h 269321"/>
                <a:gd name="connsiteX226" fmla="*/ 238129 w 316622"/>
                <a:gd name="connsiteY226" fmla="*/ 140836 h 269321"/>
                <a:gd name="connsiteX227" fmla="*/ 239897 w 316622"/>
                <a:gd name="connsiteY227" fmla="*/ 140706 h 269321"/>
                <a:gd name="connsiteX228" fmla="*/ 242391 w 316622"/>
                <a:gd name="connsiteY228" fmla="*/ 139432 h 269321"/>
                <a:gd name="connsiteX229" fmla="*/ 244017 w 316622"/>
                <a:gd name="connsiteY229" fmla="*/ 137794 h 269321"/>
                <a:gd name="connsiteX230" fmla="*/ 243059 w 316622"/>
                <a:gd name="connsiteY230" fmla="*/ 136238 h 269321"/>
                <a:gd name="connsiteX231" fmla="*/ 242940 w 316622"/>
                <a:gd name="connsiteY231" fmla="*/ 135933 h 269321"/>
                <a:gd name="connsiteX232" fmla="*/ 243171 w 316622"/>
                <a:gd name="connsiteY232" fmla="*/ 135568 h 269321"/>
                <a:gd name="connsiteX233" fmla="*/ 245099 w 316622"/>
                <a:gd name="connsiteY233" fmla="*/ 133875 h 269321"/>
                <a:gd name="connsiteX234" fmla="*/ 247466 w 316622"/>
                <a:gd name="connsiteY234" fmla="*/ 132854 h 269321"/>
                <a:gd name="connsiteX235" fmla="*/ 250767 w 316622"/>
                <a:gd name="connsiteY235" fmla="*/ 132664 h 269321"/>
                <a:gd name="connsiteX236" fmla="*/ 254745 w 316622"/>
                <a:gd name="connsiteY236" fmla="*/ 133263 h 269321"/>
                <a:gd name="connsiteX237" fmla="*/ 255142 w 316622"/>
                <a:gd name="connsiteY237" fmla="*/ 133516 h 269321"/>
                <a:gd name="connsiteX238" fmla="*/ 254950 w 316622"/>
                <a:gd name="connsiteY238" fmla="*/ 134554 h 269321"/>
                <a:gd name="connsiteX239" fmla="*/ 255321 w 316622"/>
                <a:gd name="connsiteY239" fmla="*/ 136085 h 269321"/>
                <a:gd name="connsiteX240" fmla="*/ 256043 w 316622"/>
                <a:gd name="connsiteY240" fmla="*/ 137159 h 269321"/>
                <a:gd name="connsiteX241" fmla="*/ 255054 w 316622"/>
                <a:gd name="connsiteY241" fmla="*/ 140205 h 269321"/>
                <a:gd name="connsiteX242" fmla="*/ 255797 w 316622"/>
                <a:gd name="connsiteY242" fmla="*/ 141159 h 269321"/>
                <a:gd name="connsiteX243" fmla="*/ 256954 w 316622"/>
                <a:gd name="connsiteY243" fmla="*/ 142299 h 269321"/>
                <a:gd name="connsiteX244" fmla="*/ 257822 w 316622"/>
                <a:gd name="connsiteY244" fmla="*/ 143340 h 269321"/>
                <a:gd name="connsiteX245" fmla="*/ 259070 w 316622"/>
                <a:gd name="connsiteY245" fmla="*/ 144296 h 269321"/>
                <a:gd name="connsiteX246" fmla="*/ 260180 w 316622"/>
                <a:gd name="connsiteY246" fmla="*/ 145906 h 269321"/>
                <a:gd name="connsiteX247" fmla="*/ 260560 w 316622"/>
                <a:gd name="connsiteY247" fmla="*/ 146818 h 269321"/>
                <a:gd name="connsiteX248" fmla="*/ 258785 w 316622"/>
                <a:gd name="connsiteY248" fmla="*/ 148402 h 269321"/>
                <a:gd name="connsiteX249" fmla="*/ 255771 w 316622"/>
                <a:gd name="connsiteY249" fmla="*/ 149886 h 269321"/>
                <a:gd name="connsiteX250" fmla="*/ 255432 w 316622"/>
                <a:gd name="connsiteY250" fmla="*/ 150836 h 269321"/>
                <a:gd name="connsiteX251" fmla="*/ 255471 w 316622"/>
                <a:gd name="connsiteY251" fmla="*/ 151916 h 269321"/>
                <a:gd name="connsiteX252" fmla="*/ 255810 w 316622"/>
                <a:gd name="connsiteY252" fmla="*/ 152765 h 269321"/>
                <a:gd name="connsiteX253" fmla="*/ 257472 w 316622"/>
                <a:gd name="connsiteY253" fmla="*/ 153857 h 269321"/>
                <a:gd name="connsiteX254" fmla="*/ 259263 w 316622"/>
                <a:gd name="connsiteY254" fmla="*/ 156327 h 269321"/>
                <a:gd name="connsiteX255" fmla="*/ 260396 w 316622"/>
                <a:gd name="connsiteY255" fmla="*/ 158528 h 269321"/>
                <a:gd name="connsiteX256" fmla="*/ 262881 w 316622"/>
                <a:gd name="connsiteY256" fmla="*/ 160637 h 269321"/>
                <a:gd name="connsiteX257" fmla="*/ 263486 w 316622"/>
                <a:gd name="connsiteY257" fmla="*/ 161261 h 269321"/>
                <a:gd name="connsiteX258" fmla="*/ 263331 w 316622"/>
                <a:gd name="connsiteY258" fmla="*/ 161788 h 269321"/>
                <a:gd name="connsiteX259" fmla="*/ 262676 w 316622"/>
                <a:gd name="connsiteY259" fmla="*/ 162686 h 269321"/>
                <a:gd name="connsiteX260" fmla="*/ 261826 w 316622"/>
                <a:gd name="connsiteY260" fmla="*/ 165676 h 269321"/>
                <a:gd name="connsiteX261" fmla="*/ 260811 w 316622"/>
                <a:gd name="connsiteY261" fmla="*/ 166151 h 269321"/>
                <a:gd name="connsiteX262" fmla="*/ 259679 w 316622"/>
                <a:gd name="connsiteY262" fmla="*/ 166344 h 269321"/>
                <a:gd name="connsiteX263" fmla="*/ 256607 w 316622"/>
                <a:gd name="connsiteY263" fmla="*/ 168532 h 269321"/>
                <a:gd name="connsiteX264" fmla="*/ 255237 w 316622"/>
                <a:gd name="connsiteY264" fmla="*/ 168267 h 269321"/>
                <a:gd name="connsiteX265" fmla="*/ 253290 w 316622"/>
                <a:gd name="connsiteY265" fmla="*/ 168295 h 269321"/>
                <a:gd name="connsiteX266" fmla="*/ 251862 w 316622"/>
                <a:gd name="connsiteY266" fmla="*/ 169016 h 269321"/>
                <a:gd name="connsiteX267" fmla="*/ 252018 w 316622"/>
                <a:gd name="connsiteY267" fmla="*/ 170378 h 269321"/>
                <a:gd name="connsiteX268" fmla="*/ 253270 w 316622"/>
                <a:gd name="connsiteY268" fmla="*/ 171624 h 269321"/>
                <a:gd name="connsiteX269" fmla="*/ 254006 w 316622"/>
                <a:gd name="connsiteY269" fmla="*/ 172980 h 269321"/>
                <a:gd name="connsiteX270" fmla="*/ 254304 w 316622"/>
                <a:gd name="connsiteY270" fmla="*/ 174390 h 269321"/>
                <a:gd name="connsiteX271" fmla="*/ 255695 w 316622"/>
                <a:gd name="connsiteY271" fmla="*/ 175434 h 269321"/>
                <a:gd name="connsiteX272" fmla="*/ 257647 w 316622"/>
                <a:gd name="connsiteY272" fmla="*/ 176058 h 269321"/>
                <a:gd name="connsiteX273" fmla="*/ 258764 w 316622"/>
                <a:gd name="connsiteY273" fmla="*/ 176100 h 269321"/>
                <a:gd name="connsiteX274" fmla="*/ 259494 w 316622"/>
                <a:gd name="connsiteY274" fmla="*/ 176475 h 269321"/>
                <a:gd name="connsiteX275" fmla="*/ 259932 w 316622"/>
                <a:gd name="connsiteY275" fmla="*/ 176958 h 269321"/>
                <a:gd name="connsiteX276" fmla="*/ 260772 w 316622"/>
                <a:gd name="connsiteY276" fmla="*/ 179974 h 269321"/>
                <a:gd name="connsiteX277" fmla="*/ 260269 w 316622"/>
                <a:gd name="connsiteY277" fmla="*/ 180730 h 269321"/>
                <a:gd name="connsiteX278" fmla="*/ 259217 w 316622"/>
                <a:gd name="connsiteY278" fmla="*/ 181052 h 269321"/>
                <a:gd name="connsiteX279" fmla="*/ 258589 w 316622"/>
                <a:gd name="connsiteY279" fmla="*/ 182291 h 269321"/>
                <a:gd name="connsiteX280" fmla="*/ 257334 w 316622"/>
                <a:gd name="connsiteY280" fmla="*/ 184118 h 269321"/>
                <a:gd name="connsiteX281" fmla="*/ 256622 w 316622"/>
                <a:gd name="connsiteY281" fmla="*/ 185583 h 269321"/>
                <a:gd name="connsiteX282" fmla="*/ 257410 w 316622"/>
                <a:gd name="connsiteY282" fmla="*/ 186872 h 269321"/>
                <a:gd name="connsiteX283" fmla="*/ 257746 w 316622"/>
                <a:gd name="connsiteY283" fmla="*/ 187826 h 269321"/>
                <a:gd name="connsiteX284" fmla="*/ 257325 w 316622"/>
                <a:gd name="connsiteY284" fmla="*/ 188808 h 269321"/>
                <a:gd name="connsiteX285" fmla="*/ 257887 w 316622"/>
                <a:gd name="connsiteY285" fmla="*/ 190337 h 269321"/>
                <a:gd name="connsiteX286" fmla="*/ 259370 w 316622"/>
                <a:gd name="connsiteY286" fmla="*/ 191849 h 269321"/>
                <a:gd name="connsiteX287" fmla="*/ 263398 w 316622"/>
                <a:gd name="connsiteY287" fmla="*/ 193974 h 269321"/>
                <a:gd name="connsiteX288" fmla="*/ 267138 w 316622"/>
                <a:gd name="connsiteY288" fmla="*/ 195701 h 269321"/>
                <a:gd name="connsiteX289" fmla="*/ 268295 w 316622"/>
                <a:gd name="connsiteY289" fmla="*/ 195988 h 269321"/>
                <a:gd name="connsiteX290" fmla="*/ 273348 w 316622"/>
                <a:gd name="connsiteY290" fmla="*/ 194877 h 269321"/>
                <a:gd name="connsiteX291" fmla="*/ 274184 w 316622"/>
                <a:gd name="connsiteY291" fmla="*/ 194973 h 269321"/>
                <a:gd name="connsiteX292" fmla="*/ 274799 w 316622"/>
                <a:gd name="connsiteY292" fmla="*/ 196296 h 269321"/>
                <a:gd name="connsiteX293" fmla="*/ 275067 w 316622"/>
                <a:gd name="connsiteY293" fmla="*/ 197186 h 269321"/>
                <a:gd name="connsiteX294" fmla="*/ 274499 w 316622"/>
                <a:gd name="connsiteY294" fmla="*/ 198527 h 269321"/>
                <a:gd name="connsiteX295" fmla="*/ 273132 w 316622"/>
                <a:gd name="connsiteY295" fmla="*/ 200372 h 269321"/>
                <a:gd name="connsiteX296" fmla="*/ 271651 w 316622"/>
                <a:gd name="connsiteY296" fmla="*/ 201842 h 269321"/>
                <a:gd name="connsiteX297" fmla="*/ 270753 w 316622"/>
                <a:gd name="connsiteY297" fmla="*/ 203091 h 269321"/>
                <a:gd name="connsiteX298" fmla="*/ 270940 w 316622"/>
                <a:gd name="connsiteY298" fmla="*/ 204224 h 269321"/>
                <a:gd name="connsiteX299" fmla="*/ 270999 w 316622"/>
                <a:gd name="connsiteY299" fmla="*/ 205731 h 269321"/>
                <a:gd name="connsiteX300" fmla="*/ 269794 w 316622"/>
                <a:gd name="connsiteY300" fmla="*/ 206182 h 269321"/>
                <a:gd name="connsiteX301" fmla="*/ 269755 w 316622"/>
                <a:gd name="connsiteY301" fmla="*/ 205884 h 269321"/>
                <a:gd name="connsiteX302" fmla="*/ 269258 w 316622"/>
                <a:gd name="connsiteY302" fmla="*/ 205630 h 269321"/>
                <a:gd name="connsiteX303" fmla="*/ 268829 w 316622"/>
                <a:gd name="connsiteY303" fmla="*/ 205780 h 269321"/>
                <a:gd name="connsiteX304" fmla="*/ 268498 w 316622"/>
                <a:gd name="connsiteY304" fmla="*/ 206107 h 269321"/>
                <a:gd name="connsiteX305" fmla="*/ 268446 w 316622"/>
                <a:gd name="connsiteY305" fmla="*/ 206687 h 269321"/>
                <a:gd name="connsiteX306" fmla="*/ 265877 w 316622"/>
                <a:gd name="connsiteY306" fmla="*/ 207649 h 269321"/>
                <a:gd name="connsiteX307" fmla="*/ 264106 w 316622"/>
                <a:gd name="connsiteY307" fmla="*/ 208646 h 269321"/>
                <a:gd name="connsiteX308" fmla="*/ 257103 w 316622"/>
                <a:gd name="connsiteY308" fmla="*/ 214594 h 269321"/>
                <a:gd name="connsiteX309" fmla="*/ 253827 w 316622"/>
                <a:gd name="connsiteY309" fmla="*/ 216336 h 269321"/>
                <a:gd name="connsiteX310" fmla="*/ 253182 w 316622"/>
                <a:gd name="connsiteY310" fmla="*/ 217385 h 269321"/>
                <a:gd name="connsiteX311" fmla="*/ 252514 w 316622"/>
                <a:gd name="connsiteY311" fmla="*/ 219345 h 269321"/>
                <a:gd name="connsiteX312" fmla="*/ 250590 w 316622"/>
                <a:gd name="connsiteY312" fmla="*/ 221026 h 269321"/>
                <a:gd name="connsiteX313" fmla="*/ 248906 w 316622"/>
                <a:gd name="connsiteY313" fmla="*/ 221825 h 269321"/>
                <a:gd name="connsiteX314" fmla="*/ 244734 w 316622"/>
                <a:gd name="connsiteY314" fmla="*/ 222646 h 269321"/>
                <a:gd name="connsiteX315" fmla="*/ 240545 w 316622"/>
                <a:gd name="connsiteY315" fmla="*/ 224426 h 269321"/>
                <a:gd name="connsiteX316" fmla="*/ 238658 w 316622"/>
                <a:gd name="connsiteY316" fmla="*/ 223659 h 269321"/>
                <a:gd name="connsiteX317" fmla="*/ 233769 w 316622"/>
                <a:gd name="connsiteY317" fmla="*/ 223741 h 269321"/>
                <a:gd name="connsiteX318" fmla="*/ 230720 w 316622"/>
                <a:gd name="connsiteY318" fmla="*/ 221596 h 269321"/>
                <a:gd name="connsiteX319" fmla="*/ 224859 w 316622"/>
                <a:gd name="connsiteY319" fmla="*/ 220235 h 269321"/>
                <a:gd name="connsiteX320" fmla="*/ 222950 w 316622"/>
                <a:gd name="connsiteY320" fmla="*/ 217107 h 269321"/>
                <a:gd name="connsiteX321" fmla="*/ 220281 w 316622"/>
                <a:gd name="connsiteY321" fmla="*/ 216904 h 269321"/>
                <a:gd name="connsiteX322" fmla="*/ 218532 w 316622"/>
                <a:gd name="connsiteY322" fmla="*/ 216998 h 269321"/>
                <a:gd name="connsiteX323" fmla="*/ 217487 w 316622"/>
                <a:gd name="connsiteY323" fmla="*/ 216524 h 269321"/>
                <a:gd name="connsiteX324" fmla="*/ 217215 w 316622"/>
                <a:gd name="connsiteY324" fmla="*/ 215456 h 269321"/>
                <a:gd name="connsiteX325" fmla="*/ 217191 w 316622"/>
                <a:gd name="connsiteY325" fmla="*/ 214427 h 269321"/>
                <a:gd name="connsiteX326" fmla="*/ 215339 w 316622"/>
                <a:gd name="connsiteY326" fmla="*/ 214901 h 269321"/>
                <a:gd name="connsiteX327" fmla="*/ 213922 w 316622"/>
                <a:gd name="connsiteY327" fmla="*/ 214901 h 269321"/>
                <a:gd name="connsiteX328" fmla="*/ 213077 w 316622"/>
                <a:gd name="connsiteY328" fmla="*/ 215313 h 269321"/>
                <a:gd name="connsiteX329" fmla="*/ 212410 w 316622"/>
                <a:gd name="connsiteY329" fmla="*/ 215789 h 269321"/>
                <a:gd name="connsiteX330" fmla="*/ 211622 w 316622"/>
                <a:gd name="connsiteY330" fmla="*/ 215485 h 269321"/>
                <a:gd name="connsiteX331" fmla="*/ 211164 w 316622"/>
                <a:gd name="connsiteY331" fmla="*/ 215587 h 269321"/>
                <a:gd name="connsiteX332" fmla="*/ 211205 w 316622"/>
                <a:gd name="connsiteY332" fmla="*/ 216193 h 269321"/>
                <a:gd name="connsiteX333" fmla="*/ 209504 w 316622"/>
                <a:gd name="connsiteY333" fmla="*/ 216344 h 269321"/>
                <a:gd name="connsiteX334" fmla="*/ 207660 w 316622"/>
                <a:gd name="connsiteY334" fmla="*/ 215973 h 269321"/>
                <a:gd name="connsiteX335" fmla="*/ 202818 w 316622"/>
                <a:gd name="connsiteY335" fmla="*/ 214355 h 269321"/>
                <a:gd name="connsiteX336" fmla="*/ 202075 w 316622"/>
                <a:gd name="connsiteY336" fmla="*/ 214108 h 269321"/>
                <a:gd name="connsiteX337" fmla="*/ 198715 w 316622"/>
                <a:gd name="connsiteY337" fmla="*/ 213482 h 269321"/>
                <a:gd name="connsiteX338" fmla="*/ 197357 w 316622"/>
                <a:gd name="connsiteY338" fmla="*/ 212836 h 269321"/>
                <a:gd name="connsiteX339" fmla="*/ 196258 w 316622"/>
                <a:gd name="connsiteY339" fmla="*/ 211236 h 269321"/>
                <a:gd name="connsiteX340" fmla="*/ 195418 w 316622"/>
                <a:gd name="connsiteY340" fmla="*/ 210730 h 269321"/>
                <a:gd name="connsiteX341" fmla="*/ 194921 w 316622"/>
                <a:gd name="connsiteY341" fmla="*/ 210427 h 269321"/>
                <a:gd name="connsiteX342" fmla="*/ 191786 w 316622"/>
                <a:gd name="connsiteY342" fmla="*/ 211235 h 269321"/>
                <a:gd name="connsiteX343" fmla="*/ 190698 w 316622"/>
                <a:gd name="connsiteY343" fmla="*/ 212494 h 269321"/>
                <a:gd name="connsiteX344" fmla="*/ 188998 w 316622"/>
                <a:gd name="connsiteY344" fmla="*/ 213967 h 269321"/>
                <a:gd name="connsiteX345" fmla="*/ 177370 w 316622"/>
                <a:gd name="connsiteY345" fmla="*/ 221183 h 269321"/>
                <a:gd name="connsiteX346" fmla="*/ 175247 w 316622"/>
                <a:gd name="connsiteY346" fmla="*/ 224201 h 269321"/>
                <a:gd name="connsiteX347" fmla="*/ 172790 w 316622"/>
                <a:gd name="connsiteY347" fmla="*/ 228639 h 269321"/>
                <a:gd name="connsiteX348" fmla="*/ 172598 w 316622"/>
                <a:gd name="connsiteY348" fmla="*/ 230707 h 269321"/>
                <a:gd name="connsiteX349" fmla="*/ 173656 w 316622"/>
                <a:gd name="connsiteY349" fmla="*/ 237309 h 269321"/>
                <a:gd name="connsiteX350" fmla="*/ 176020 w 316622"/>
                <a:gd name="connsiteY350" fmla="*/ 240769 h 269321"/>
                <a:gd name="connsiteX351" fmla="*/ 176320 w 316622"/>
                <a:gd name="connsiteY351" fmla="*/ 241569 h 269321"/>
                <a:gd name="connsiteX352" fmla="*/ 175010 w 316622"/>
                <a:gd name="connsiteY352" fmla="*/ 241573 h 269321"/>
                <a:gd name="connsiteX353" fmla="*/ 172809 w 316622"/>
                <a:gd name="connsiteY353" fmla="*/ 241141 h 269321"/>
                <a:gd name="connsiteX354" fmla="*/ 170982 w 316622"/>
                <a:gd name="connsiteY354" fmla="*/ 240607 h 269321"/>
                <a:gd name="connsiteX355" fmla="*/ 169244 w 316622"/>
                <a:gd name="connsiteY355" fmla="*/ 240905 h 269321"/>
                <a:gd name="connsiteX356" fmla="*/ 167569 w 316622"/>
                <a:gd name="connsiteY356" fmla="*/ 241620 h 269321"/>
                <a:gd name="connsiteX357" fmla="*/ 166104 w 316622"/>
                <a:gd name="connsiteY357" fmla="*/ 242052 h 269321"/>
                <a:gd name="connsiteX358" fmla="*/ 165053 w 316622"/>
                <a:gd name="connsiteY358" fmla="*/ 242173 h 269321"/>
                <a:gd name="connsiteX359" fmla="*/ 164349 w 316622"/>
                <a:gd name="connsiteY359" fmla="*/ 242585 h 269321"/>
                <a:gd name="connsiteX360" fmla="*/ 164012 w 316622"/>
                <a:gd name="connsiteY360" fmla="*/ 243409 h 269321"/>
                <a:gd name="connsiteX361" fmla="*/ 163943 w 316622"/>
                <a:gd name="connsiteY361" fmla="*/ 243985 h 269321"/>
                <a:gd name="connsiteX362" fmla="*/ 162092 w 316622"/>
                <a:gd name="connsiteY362" fmla="*/ 243843 h 269321"/>
                <a:gd name="connsiteX363" fmla="*/ 157812 w 316622"/>
                <a:gd name="connsiteY363" fmla="*/ 242658 h 269321"/>
                <a:gd name="connsiteX364" fmla="*/ 153964 w 316622"/>
                <a:gd name="connsiteY364" fmla="*/ 241841 h 269321"/>
                <a:gd name="connsiteX365" fmla="*/ 151708 w 316622"/>
                <a:gd name="connsiteY365" fmla="*/ 242770 h 269321"/>
                <a:gd name="connsiteX366" fmla="*/ 150256 w 316622"/>
                <a:gd name="connsiteY366" fmla="*/ 243638 h 269321"/>
                <a:gd name="connsiteX367" fmla="*/ 149235 w 316622"/>
                <a:gd name="connsiteY367" fmla="*/ 243505 h 269321"/>
                <a:gd name="connsiteX368" fmla="*/ 148460 w 316622"/>
                <a:gd name="connsiteY368" fmla="*/ 242592 h 269321"/>
                <a:gd name="connsiteX369" fmla="*/ 147940 w 316622"/>
                <a:gd name="connsiteY369" fmla="*/ 241698 h 269321"/>
                <a:gd name="connsiteX370" fmla="*/ 146432 w 316622"/>
                <a:gd name="connsiteY370" fmla="*/ 240878 h 269321"/>
                <a:gd name="connsiteX371" fmla="*/ 143034 w 316622"/>
                <a:gd name="connsiteY371" fmla="*/ 239645 h 269321"/>
                <a:gd name="connsiteX372" fmla="*/ 143208 w 316622"/>
                <a:gd name="connsiteY372" fmla="*/ 239050 h 269321"/>
                <a:gd name="connsiteX373" fmla="*/ 143789 w 316622"/>
                <a:gd name="connsiteY373" fmla="*/ 238220 h 269321"/>
                <a:gd name="connsiteX374" fmla="*/ 143772 w 316622"/>
                <a:gd name="connsiteY374" fmla="*/ 237708 h 269321"/>
                <a:gd name="connsiteX375" fmla="*/ 143118 w 316622"/>
                <a:gd name="connsiteY375" fmla="*/ 236947 h 269321"/>
                <a:gd name="connsiteX376" fmla="*/ 139985 w 316622"/>
                <a:gd name="connsiteY376" fmla="*/ 236130 h 269321"/>
                <a:gd name="connsiteX377" fmla="*/ 138508 w 316622"/>
                <a:gd name="connsiteY377" fmla="*/ 235924 h 269321"/>
                <a:gd name="connsiteX378" fmla="*/ 137568 w 316622"/>
                <a:gd name="connsiteY378" fmla="*/ 236486 h 269321"/>
                <a:gd name="connsiteX379" fmla="*/ 136892 w 316622"/>
                <a:gd name="connsiteY379" fmla="*/ 237174 h 269321"/>
                <a:gd name="connsiteX380" fmla="*/ 135147 w 316622"/>
                <a:gd name="connsiteY380" fmla="*/ 234643 h 269321"/>
                <a:gd name="connsiteX381" fmla="*/ 133906 w 316622"/>
                <a:gd name="connsiteY381" fmla="*/ 234128 h 269321"/>
                <a:gd name="connsiteX382" fmla="*/ 132027 w 316622"/>
                <a:gd name="connsiteY382" fmla="*/ 234043 h 269321"/>
                <a:gd name="connsiteX383" fmla="*/ 129879 w 316622"/>
                <a:gd name="connsiteY383" fmla="*/ 233270 h 269321"/>
                <a:gd name="connsiteX384" fmla="*/ 127643 w 316622"/>
                <a:gd name="connsiteY384" fmla="*/ 232283 h 269321"/>
                <a:gd name="connsiteX385" fmla="*/ 122213 w 316622"/>
                <a:gd name="connsiteY385" fmla="*/ 230703 h 269321"/>
                <a:gd name="connsiteX386" fmla="*/ 120718 w 316622"/>
                <a:gd name="connsiteY386" fmla="*/ 230514 h 269321"/>
                <a:gd name="connsiteX387" fmla="*/ 120120 w 316622"/>
                <a:gd name="connsiteY387" fmla="*/ 230764 h 269321"/>
                <a:gd name="connsiteX388" fmla="*/ 119721 w 316622"/>
                <a:gd name="connsiteY388" fmla="*/ 231709 h 269321"/>
                <a:gd name="connsiteX389" fmla="*/ 119505 w 316622"/>
                <a:gd name="connsiteY389" fmla="*/ 234377 h 269321"/>
                <a:gd name="connsiteX390" fmla="*/ 119276 w 316622"/>
                <a:gd name="connsiteY390" fmla="*/ 234672 h 269321"/>
                <a:gd name="connsiteX391" fmla="*/ 116756 w 316622"/>
                <a:gd name="connsiteY391" fmla="*/ 234761 h 269321"/>
                <a:gd name="connsiteX392" fmla="*/ 113651 w 316622"/>
                <a:gd name="connsiteY392" fmla="*/ 234390 h 269321"/>
                <a:gd name="connsiteX393" fmla="*/ 112228 w 316622"/>
                <a:gd name="connsiteY393" fmla="*/ 234574 h 269321"/>
                <a:gd name="connsiteX394" fmla="*/ 110958 w 316622"/>
                <a:gd name="connsiteY394" fmla="*/ 234583 h 269321"/>
                <a:gd name="connsiteX395" fmla="*/ 109762 w 316622"/>
                <a:gd name="connsiteY395" fmla="*/ 233877 h 269321"/>
                <a:gd name="connsiteX396" fmla="*/ 104399 w 316622"/>
                <a:gd name="connsiteY396" fmla="*/ 234685 h 269321"/>
                <a:gd name="connsiteX397" fmla="*/ 103507 w 316622"/>
                <a:gd name="connsiteY397" fmla="*/ 234291 h 269321"/>
                <a:gd name="connsiteX398" fmla="*/ 102212 w 316622"/>
                <a:gd name="connsiteY398" fmla="*/ 233086 h 269321"/>
                <a:gd name="connsiteX399" fmla="*/ 100769 w 316622"/>
                <a:gd name="connsiteY399" fmla="*/ 232114 h 269321"/>
                <a:gd name="connsiteX400" fmla="*/ 99647 w 316622"/>
                <a:gd name="connsiteY400" fmla="*/ 231615 h 269321"/>
                <a:gd name="connsiteX401" fmla="*/ 98691 w 316622"/>
                <a:gd name="connsiteY401" fmla="*/ 231043 h 269321"/>
                <a:gd name="connsiteX402" fmla="*/ 97822 w 316622"/>
                <a:gd name="connsiteY402" fmla="*/ 230950 h 269321"/>
                <a:gd name="connsiteX403" fmla="*/ 96499 w 316622"/>
                <a:gd name="connsiteY403" fmla="*/ 231504 h 269321"/>
                <a:gd name="connsiteX404" fmla="*/ 94670 w 316622"/>
                <a:gd name="connsiteY404" fmla="*/ 231739 h 269321"/>
                <a:gd name="connsiteX405" fmla="*/ 93152 w 316622"/>
                <a:gd name="connsiteY405" fmla="*/ 231667 h 269321"/>
                <a:gd name="connsiteX406" fmla="*/ 92342 w 316622"/>
                <a:gd name="connsiteY406" fmla="*/ 231748 h 269321"/>
                <a:gd name="connsiteX407" fmla="*/ 88942 w 316622"/>
                <a:gd name="connsiteY407" fmla="*/ 228789 h 269321"/>
                <a:gd name="connsiteX408" fmla="*/ 88445 w 316622"/>
                <a:gd name="connsiteY408" fmla="*/ 227979 h 269321"/>
                <a:gd name="connsiteX409" fmla="*/ 86752 w 316622"/>
                <a:gd name="connsiteY409" fmla="*/ 227754 h 269321"/>
                <a:gd name="connsiteX410" fmla="*/ 84660 w 316622"/>
                <a:gd name="connsiteY410" fmla="*/ 227718 h 269321"/>
                <a:gd name="connsiteX411" fmla="*/ 79317 w 316622"/>
                <a:gd name="connsiteY411" fmla="*/ 225799 h 269321"/>
                <a:gd name="connsiteX412" fmla="*/ 76885 w 316622"/>
                <a:gd name="connsiteY412" fmla="*/ 224768 h 269321"/>
                <a:gd name="connsiteX413" fmla="*/ 76529 w 316622"/>
                <a:gd name="connsiteY413" fmla="*/ 224155 h 269321"/>
                <a:gd name="connsiteX414" fmla="*/ 76562 w 316622"/>
                <a:gd name="connsiteY414" fmla="*/ 223659 h 269321"/>
                <a:gd name="connsiteX415" fmla="*/ 76147 w 316622"/>
                <a:gd name="connsiteY415" fmla="*/ 223766 h 269321"/>
                <a:gd name="connsiteX416" fmla="*/ 75397 w 316622"/>
                <a:gd name="connsiteY416" fmla="*/ 224643 h 269321"/>
                <a:gd name="connsiteX417" fmla="*/ 75004 w 316622"/>
                <a:gd name="connsiteY417" fmla="*/ 225358 h 269321"/>
                <a:gd name="connsiteX418" fmla="*/ 74484 w 316622"/>
                <a:gd name="connsiteY418" fmla="*/ 225492 h 269321"/>
                <a:gd name="connsiteX419" fmla="*/ 73716 w 316622"/>
                <a:gd name="connsiteY419" fmla="*/ 225381 h 269321"/>
                <a:gd name="connsiteX420" fmla="*/ 73007 w 316622"/>
                <a:gd name="connsiteY420" fmla="*/ 224978 h 269321"/>
                <a:gd name="connsiteX421" fmla="*/ 72573 w 316622"/>
                <a:gd name="connsiteY421" fmla="*/ 224459 h 269321"/>
                <a:gd name="connsiteX422" fmla="*/ 73038 w 316622"/>
                <a:gd name="connsiteY422" fmla="*/ 223551 h 269321"/>
                <a:gd name="connsiteX423" fmla="*/ 73852 w 316622"/>
                <a:gd name="connsiteY423" fmla="*/ 222367 h 269321"/>
                <a:gd name="connsiteX424" fmla="*/ 74190 w 316622"/>
                <a:gd name="connsiteY424" fmla="*/ 221078 h 269321"/>
                <a:gd name="connsiteX425" fmla="*/ 74116 w 316622"/>
                <a:gd name="connsiteY425" fmla="*/ 219924 h 269321"/>
                <a:gd name="connsiteX426" fmla="*/ 72766 w 316622"/>
                <a:gd name="connsiteY426" fmla="*/ 219183 h 269321"/>
                <a:gd name="connsiteX427" fmla="*/ 70781 w 316622"/>
                <a:gd name="connsiteY427" fmla="*/ 218874 h 269321"/>
                <a:gd name="connsiteX428" fmla="*/ 69329 w 316622"/>
                <a:gd name="connsiteY428" fmla="*/ 218786 h 269321"/>
                <a:gd name="connsiteX429" fmla="*/ 67434 w 316622"/>
                <a:gd name="connsiteY429" fmla="*/ 218126 h 269321"/>
                <a:gd name="connsiteX430" fmla="*/ 66541 w 316622"/>
                <a:gd name="connsiteY430" fmla="*/ 217650 h 269321"/>
                <a:gd name="connsiteX431" fmla="*/ 65668 w 316622"/>
                <a:gd name="connsiteY431" fmla="*/ 216364 h 269321"/>
                <a:gd name="connsiteX432" fmla="*/ 65639 w 316622"/>
                <a:gd name="connsiteY432" fmla="*/ 215428 h 269321"/>
                <a:gd name="connsiteX433" fmla="*/ 69234 w 316622"/>
                <a:gd name="connsiteY433" fmla="*/ 214602 h 269321"/>
                <a:gd name="connsiteX434" fmla="*/ 72476 w 316622"/>
                <a:gd name="connsiteY434" fmla="*/ 211216 h 269321"/>
                <a:gd name="connsiteX435" fmla="*/ 75546 w 316622"/>
                <a:gd name="connsiteY435" fmla="*/ 198890 h 269321"/>
                <a:gd name="connsiteX436" fmla="*/ 77768 w 316622"/>
                <a:gd name="connsiteY436" fmla="*/ 184245 h 269321"/>
                <a:gd name="connsiteX437" fmla="*/ 79420 w 316622"/>
                <a:gd name="connsiteY437" fmla="*/ 181469 h 269321"/>
                <a:gd name="connsiteX438" fmla="*/ 81495 w 316622"/>
                <a:gd name="connsiteY438" fmla="*/ 180706 h 269321"/>
                <a:gd name="connsiteX439" fmla="*/ 79817 w 316622"/>
                <a:gd name="connsiteY439" fmla="*/ 178684 h 269321"/>
                <a:gd name="connsiteX440" fmla="*/ 78766 w 316622"/>
                <a:gd name="connsiteY440" fmla="*/ 179708 h 269321"/>
                <a:gd name="connsiteX441" fmla="*/ 78325 w 316622"/>
                <a:gd name="connsiteY441" fmla="*/ 180794 h 269321"/>
                <a:gd name="connsiteX442" fmla="*/ 77775 w 316622"/>
                <a:gd name="connsiteY442" fmla="*/ 181336 h 269321"/>
                <a:gd name="connsiteX443" fmla="*/ 79016 w 316622"/>
                <a:gd name="connsiteY443" fmla="*/ 167825 h 269321"/>
                <a:gd name="connsiteX444" fmla="*/ 79901 w 316622"/>
                <a:gd name="connsiteY444" fmla="*/ 162861 h 269321"/>
                <a:gd name="connsiteX445" fmla="*/ 81406 w 316622"/>
                <a:gd name="connsiteY445" fmla="*/ 157650 h 269321"/>
                <a:gd name="connsiteX446" fmla="*/ 84485 w 316622"/>
                <a:gd name="connsiteY446" fmla="*/ 159720 h 269321"/>
                <a:gd name="connsiteX447" fmla="*/ 87037 w 316622"/>
                <a:gd name="connsiteY447" fmla="*/ 161817 h 269321"/>
                <a:gd name="connsiteX448" fmla="*/ 88357 w 316622"/>
                <a:gd name="connsiteY448" fmla="*/ 163636 h 269321"/>
                <a:gd name="connsiteX449" fmla="*/ 90027 w 316622"/>
                <a:gd name="connsiteY449" fmla="*/ 169686 h 269321"/>
                <a:gd name="connsiteX450" fmla="*/ 91290 w 316622"/>
                <a:gd name="connsiteY450" fmla="*/ 170954 h 269321"/>
                <a:gd name="connsiteX451" fmla="*/ 93181 w 316622"/>
                <a:gd name="connsiteY451" fmla="*/ 172226 h 269321"/>
                <a:gd name="connsiteX452" fmla="*/ 92434 w 316622"/>
                <a:gd name="connsiteY452" fmla="*/ 170837 h 269321"/>
                <a:gd name="connsiteX453" fmla="*/ 91133 w 316622"/>
                <a:gd name="connsiteY453" fmla="*/ 169776 h 269321"/>
                <a:gd name="connsiteX454" fmla="*/ 89099 w 316622"/>
                <a:gd name="connsiteY454" fmla="*/ 161709 h 269321"/>
                <a:gd name="connsiteX455" fmla="*/ 87823 w 316622"/>
                <a:gd name="connsiteY455" fmla="*/ 159420 h 269321"/>
                <a:gd name="connsiteX456" fmla="*/ 85836 w 316622"/>
                <a:gd name="connsiteY456" fmla="*/ 157492 h 269321"/>
                <a:gd name="connsiteX457" fmla="*/ 79438 w 316622"/>
                <a:gd name="connsiteY457" fmla="*/ 153428 h 269321"/>
                <a:gd name="connsiteX458" fmla="*/ 78863 w 316622"/>
                <a:gd name="connsiteY458" fmla="*/ 152643 h 269321"/>
                <a:gd name="connsiteX459" fmla="*/ 78554 w 316622"/>
                <a:gd name="connsiteY459" fmla="*/ 151089 h 269321"/>
                <a:gd name="connsiteX460" fmla="*/ 80668 w 316622"/>
                <a:gd name="connsiteY460" fmla="*/ 151155 h 269321"/>
                <a:gd name="connsiteX461" fmla="*/ 82495 w 316622"/>
                <a:gd name="connsiteY461" fmla="*/ 151910 h 269321"/>
                <a:gd name="connsiteX462" fmla="*/ 82279 w 316622"/>
                <a:gd name="connsiteY462" fmla="*/ 151040 h 269321"/>
                <a:gd name="connsiteX463" fmla="*/ 81737 w 316622"/>
                <a:gd name="connsiteY463" fmla="*/ 150131 h 269321"/>
                <a:gd name="connsiteX464" fmla="*/ 80889 w 316622"/>
                <a:gd name="connsiteY464" fmla="*/ 146830 h 269321"/>
                <a:gd name="connsiteX465" fmla="*/ 80181 w 316622"/>
                <a:gd name="connsiteY465" fmla="*/ 139107 h 269321"/>
                <a:gd name="connsiteX466" fmla="*/ 80277 w 316622"/>
                <a:gd name="connsiteY466" fmla="*/ 137782 h 269321"/>
                <a:gd name="connsiteX467" fmla="*/ 79962 w 316622"/>
                <a:gd name="connsiteY467" fmla="*/ 136157 h 269321"/>
                <a:gd name="connsiteX468" fmla="*/ 77916 w 316622"/>
                <a:gd name="connsiteY468" fmla="*/ 135793 h 269321"/>
                <a:gd name="connsiteX469" fmla="*/ 76280 w 316622"/>
                <a:gd name="connsiteY469" fmla="*/ 135726 h 269321"/>
                <a:gd name="connsiteX470" fmla="*/ 74518 w 316622"/>
                <a:gd name="connsiteY470" fmla="*/ 135084 h 269321"/>
                <a:gd name="connsiteX471" fmla="*/ 65805 w 316622"/>
                <a:gd name="connsiteY471" fmla="*/ 130514 h 269321"/>
                <a:gd name="connsiteX472" fmla="*/ 62822 w 316622"/>
                <a:gd name="connsiteY472" fmla="*/ 125790 h 269321"/>
                <a:gd name="connsiteX473" fmla="*/ 59772 w 316622"/>
                <a:gd name="connsiteY473" fmla="*/ 122297 h 269321"/>
                <a:gd name="connsiteX474" fmla="*/ 59040 w 316622"/>
                <a:gd name="connsiteY474" fmla="*/ 120772 h 269321"/>
                <a:gd name="connsiteX475" fmla="*/ 59088 w 316622"/>
                <a:gd name="connsiteY475" fmla="*/ 119226 h 269321"/>
                <a:gd name="connsiteX476" fmla="*/ 60667 w 316622"/>
                <a:gd name="connsiteY476" fmla="*/ 115957 h 269321"/>
                <a:gd name="connsiteX477" fmla="*/ 59273 w 316622"/>
                <a:gd name="connsiteY477" fmla="*/ 113891 h 269321"/>
                <a:gd name="connsiteX478" fmla="*/ 57911 w 316622"/>
                <a:gd name="connsiteY478" fmla="*/ 113480 h 269321"/>
                <a:gd name="connsiteX479" fmla="*/ 56727 w 316622"/>
                <a:gd name="connsiteY479" fmla="*/ 112457 h 269321"/>
                <a:gd name="connsiteX480" fmla="*/ 57799 w 316622"/>
                <a:gd name="connsiteY480" fmla="*/ 110751 h 269321"/>
                <a:gd name="connsiteX481" fmla="*/ 58690 w 316622"/>
                <a:gd name="connsiteY481" fmla="*/ 109659 h 269321"/>
                <a:gd name="connsiteX482" fmla="*/ 60475 w 316622"/>
                <a:gd name="connsiteY482" fmla="*/ 109362 h 269321"/>
                <a:gd name="connsiteX483" fmla="*/ 62816 w 316622"/>
                <a:gd name="connsiteY483" fmla="*/ 109724 h 269321"/>
                <a:gd name="connsiteX484" fmla="*/ 65036 w 316622"/>
                <a:gd name="connsiteY484" fmla="*/ 110712 h 269321"/>
                <a:gd name="connsiteX485" fmla="*/ 66778 w 316622"/>
                <a:gd name="connsiteY485" fmla="*/ 110974 h 269321"/>
                <a:gd name="connsiteX486" fmla="*/ 61629 w 316622"/>
                <a:gd name="connsiteY486" fmla="*/ 108323 h 269321"/>
                <a:gd name="connsiteX487" fmla="*/ 53279 w 316622"/>
                <a:gd name="connsiteY487" fmla="*/ 109217 h 269321"/>
                <a:gd name="connsiteX488" fmla="*/ 51479 w 316622"/>
                <a:gd name="connsiteY488" fmla="*/ 108875 h 269321"/>
                <a:gd name="connsiteX489" fmla="*/ 49959 w 316622"/>
                <a:gd name="connsiteY489" fmla="*/ 108284 h 269321"/>
                <a:gd name="connsiteX490" fmla="*/ 49365 w 316622"/>
                <a:gd name="connsiteY490" fmla="*/ 106336 h 269321"/>
                <a:gd name="connsiteX491" fmla="*/ 50552 w 316622"/>
                <a:gd name="connsiteY491" fmla="*/ 105458 h 269321"/>
                <a:gd name="connsiteX492" fmla="*/ 51628 w 316622"/>
                <a:gd name="connsiteY492" fmla="*/ 103833 h 269321"/>
                <a:gd name="connsiteX493" fmla="*/ 50411 w 316622"/>
                <a:gd name="connsiteY493" fmla="*/ 102690 h 269321"/>
                <a:gd name="connsiteX494" fmla="*/ 48834 w 316622"/>
                <a:gd name="connsiteY494" fmla="*/ 102257 h 269321"/>
                <a:gd name="connsiteX495" fmla="*/ 46360 w 316622"/>
                <a:gd name="connsiteY495" fmla="*/ 102282 h 269321"/>
                <a:gd name="connsiteX496" fmla="*/ 44052 w 316622"/>
                <a:gd name="connsiteY496" fmla="*/ 102627 h 269321"/>
                <a:gd name="connsiteX497" fmla="*/ 43466 w 316622"/>
                <a:gd name="connsiteY497" fmla="*/ 101970 h 269321"/>
                <a:gd name="connsiteX498" fmla="*/ 44874 w 316622"/>
                <a:gd name="connsiteY498" fmla="*/ 100158 h 269321"/>
                <a:gd name="connsiteX499" fmla="*/ 43678 w 316622"/>
                <a:gd name="connsiteY499" fmla="*/ 99491 h 269321"/>
                <a:gd name="connsiteX500" fmla="*/ 42082 w 316622"/>
                <a:gd name="connsiteY500" fmla="*/ 99802 h 269321"/>
                <a:gd name="connsiteX501" fmla="*/ 39767 w 316622"/>
                <a:gd name="connsiteY501" fmla="*/ 100178 h 269321"/>
                <a:gd name="connsiteX502" fmla="*/ 37553 w 316622"/>
                <a:gd name="connsiteY502" fmla="*/ 99609 h 269321"/>
                <a:gd name="connsiteX503" fmla="*/ 35460 w 316622"/>
                <a:gd name="connsiteY503" fmla="*/ 97547 h 269321"/>
                <a:gd name="connsiteX504" fmla="*/ 34073 w 316622"/>
                <a:gd name="connsiteY504" fmla="*/ 97562 h 269321"/>
                <a:gd name="connsiteX505" fmla="*/ 33120 w 316622"/>
                <a:gd name="connsiteY505" fmla="*/ 97817 h 269321"/>
                <a:gd name="connsiteX506" fmla="*/ 31706 w 316622"/>
                <a:gd name="connsiteY506" fmla="*/ 97023 h 269321"/>
                <a:gd name="connsiteX507" fmla="*/ 30218 w 316622"/>
                <a:gd name="connsiteY507" fmla="*/ 96824 h 269321"/>
                <a:gd name="connsiteX508" fmla="*/ 29156 w 316622"/>
                <a:gd name="connsiteY508" fmla="*/ 97087 h 269321"/>
                <a:gd name="connsiteX509" fmla="*/ 27744 w 316622"/>
                <a:gd name="connsiteY509" fmla="*/ 95903 h 269321"/>
                <a:gd name="connsiteX510" fmla="*/ 19051 w 316622"/>
                <a:gd name="connsiteY510" fmla="*/ 93527 h 269321"/>
                <a:gd name="connsiteX511" fmla="*/ 15297 w 316622"/>
                <a:gd name="connsiteY511" fmla="*/ 93236 h 269321"/>
                <a:gd name="connsiteX512" fmla="*/ 11854 w 316622"/>
                <a:gd name="connsiteY512" fmla="*/ 94313 h 269321"/>
                <a:gd name="connsiteX513" fmla="*/ 9959 w 316622"/>
                <a:gd name="connsiteY513" fmla="*/ 93939 h 269321"/>
                <a:gd name="connsiteX514" fmla="*/ 8566 w 316622"/>
                <a:gd name="connsiteY514" fmla="*/ 92403 h 269321"/>
                <a:gd name="connsiteX515" fmla="*/ 7397 w 316622"/>
                <a:gd name="connsiteY515" fmla="*/ 89823 h 269321"/>
                <a:gd name="connsiteX516" fmla="*/ 1851 w 316622"/>
                <a:gd name="connsiteY516" fmla="*/ 87832 h 269321"/>
                <a:gd name="connsiteX517" fmla="*/ 2948 w 316622"/>
                <a:gd name="connsiteY517" fmla="*/ 86526 h 269321"/>
                <a:gd name="connsiteX518" fmla="*/ 5530 w 316622"/>
                <a:gd name="connsiteY518" fmla="*/ 86217 h 269321"/>
                <a:gd name="connsiteX519" fmla="*/ 8506 w 316622"/>
                <a:gd name="connsiteY519" fmla="*/ 85310 h 269321"/>
                <a:gd name="connsiteX520" fmla="*/ 9576 w 316622"/>
                <a:gd name="connsiteY520" fmla="*/ 84147 h 269321"/>
                <a:gd name="connsiteX521" fmla="*/ 7250 w 316622"/>
                <a:gd name="connsiteY521" fmla="*/ 82790 h 269321"/>
                <a:gd name="connsiteX522" fmla="*/ 5535 w 316622"/>
                <a:gd name="connsiteY522" fmla="*/ 82457 h 269321"/>
                <a:gd name="connsiteX523" fmla="*/ 4824 w 316622"/>
                <a:gd name="connsiteY523" fmla="*/ 81969 h 269321"/>
                <a:gd name="connsiteX524" fmla="*/ 4099 w 316622"/>
                <a:gd name="connsiteY524" fmla="*/ 80751 h 269321"/>
                <a:gd name="connsiteX525" fmla="*/ 5127 w 316622"/>
                <a:gd name="connsiteY525" fmla="*/ 80193 h 269321"/>
                <a:gd name="connsiteX526" fmla="*/ 5851 w 316622"/>
                <a:gd name="connsiteY526" fmla="*/ 80489 h 269321"/>
                <a:gd name="connsiteX527" fmla="*/ 7942 w 316622"/>
                <a:gd name="connsiteY527" fmla="*/ 80665 h 269321"/>
                <a:gd name="connsiteX528" fmla="*/ 11523 w 316622"/>
                <a:gd name="connsiteY528" fmla="*/ 80365 h 269321"/>
                <a:gd name="connsiteX529" fmla="*/ 10188 w 316622"/>
                <a:gd name="connsiteY529" fmla="*/ 79136 h 269321"/>
                <a:gd name="connsiteX530" fmla="*/ 8803 w 316622"/>
                <a:gd name="connsiteY530" fmla="*/ 78862 h 269321"/>
                <a:gd name="connsiteX531" fmla="*/ 8167 w 316622"/>
                <a:gd name="connsiteY531" fmla="*/ 78554 h 269321"/>
                <a:gd name="connsiteX532" fmla="*/ 5256 w 316622"/>
                <a:gd name="connsiteY532" fmla="*/ 78421 h 269321"/>
                <a:gd name="connsiteX533" fmla="*/ 3931 w 316622"/>
                <a:gd name="connsiteY533" fmla="*/ 78840 h 269321"/>
                <a:gd name="connsiteX534" fmla="*/ 954 w 316622"/>
                <a:gd name="connsiteY534" fmla="*/ 78681 h 269321"/>
                <a:gd name="connsiteX535" fmla="*/ 309 w 316622"/>
                <a:gd name="connsiteY535" fmla="*/ 77352 h 269321"/>
                <a:gd name="connsiteX536" fmla="*/ 0 w 316622"/>
                <a:gd name="connsiteY536" fmla="*/ 76212 h 269321"/>
                <a:gd name="connsiteX537" fmla="*/ 923 w 316622"/>
                <a:gd name="connsiteY537" fmla="*/ 73668 h 269321"/>
                <a:gd name="connsiteX538" fmla="*/ 5115 w 316622"/>
                <a:gd name="connsiteY538" fmla="*/ 71394 h 269321"/>
                <a:gd name="connsiteX539" fmla="*/ 15558 w 316622"/>
                <a:gd name="connsiteY539" fmla="*/ 68905 h 269321"/>
                <a:gd name="connsiteX540" fmla="*/ 20052 w 316622"/>
                <a:gd name="connsiteY540" fmla="*/ 69269 h 269321"/>
                <a:gd name="connsiteX541" fmla="*/ 23167 w 316622"/>
                <a:gd name="connsiteY541" fmla="*/ 68821 h 269321"/>
                <a:gd name="connsiteX542" fmla="*/ 26900 w 316622"/>
                <a:gd name="connsiteY542" fmla="*/ 67251 h 269321"/>
                <a:gd name="connsiteX543" fmla="*/ 28547 w 316622"/>
                <a:gd name="connsiteY543" fmla="*/ 65905 h 269321"/>
                <a:gd name="connsiteX544" fmla="*/ 33855 w 316622"/>
                <a:gd name="connsiteY544" fmla="*/ 65112 h 269321"/>
                <a:gd name="connsiteX545" fmla="*/ 38901 w 316622"/>
                <a:gd name="connsiteY545" fmla="*/ 66540 h 269321"/>
                <a:gd name="connsiteX546" fmla="*/ 43553 w 316622"/>
                <a:gd name="connsiteY546" fmla="*/ 71931 h 269321"/>
                <a:gd name="connsiteX547" fmla="*/ 45776 w 316622"/>
                <a:gd name="connsiteY547" fmla="*/ 73755 h 269321"/>
                <a:gd name="connsiteX548" fmla="*/ 51219 w 316622"/>
                <a:gd name="connsiteY548" fmla="*/ 70589 h 269321"/>
                <a:gd name="connsiteX549" fmla="*/ 59328 w 316622"/>
                <a:gd name="connsiteY549" fmla="*/ 70682 h 269321"/>
                <a:gd name="connsiteX550" fmla="*/ 61003 w 316622"/>
                <a:gd name="connsiteY550" fmla="*/ 72470 h 269321"/>
                <a:gd name="connsiteX551" fmla="*/ 61679 w 316622"/>
                <a:gd name="connsiteY551" fmla="*/ 70964 h 269321"/>
                <a:gd name="connsiteX552" fmla="*/ 63170 w 316622"/>
                <a:gd name="connsiteY552" fmla="*/ 69201 h 269321"/>
                <a:gd name="connsiteX553" fmla="*/ 64359 w 316622"/>
                <a:gd name="connsiteY553" fmla="*/ 70005 h 269321"/>
                <a:gd name="connsiteX554" fmla="*/ 64961 w 316622"/>
                <a:gd name="connsiteY554" fmla="*/ 71094 h 269321"/>
                <a:gd name="connsiteX555" fmla="*/ 73520 w 316622"/>
                <a:gd name="connsiteY555" fmla="*/ 70785 h 269321"/>
                <a:gd name="connsiteX556" fmla="*/ 74872 w 316622"/>
                <a:gd name="connsiteY556" fmla="*/ 70467 h 269321"/>
                <a:gd name="connsiteX557" fmla="*/ 72573 w 316622"/>
                <a:gd name="connsiteY557" fmla="*/ 69187 h 269321"/>
                <a:gd name="connsiteX558" fmla="*/ 70693 w 316622"/>
                <a:gd name="connsiteY558" fmla="*/ 66117 h 269321"/>
                <a:gd name="connsiteX559" fmla="*/ 70303 w 316622"/>
                <a:gd name="connsiteY559" fmla="*/ 54792 h 269321"/>
                <a:gd name="connsiteX560" fmla="*/ 67932 w 316622"/>
                <a:gd name="connsiteY560" fmla="*/ 51621 h 269321"/>
                <a:gd name="connsiteX561" fmla="*/ 65210 w 316622"/>
                <a:gd name="connsiteY561" fmla="*/ 46549 h 269321"/>
                <a:gd name="connsiteX562" fmla="*/ 63958 w 316622"/>
                <a:gd name="connsiteY562" fmla="*/ 43535 h 269321"/>
                <a:gd name="connsiteX563" fmla="*/ 63840 w 316622"/>
                <a:gd name="connsiteY563" fmla="*/ 42492 h 269321"/>
                <a:gd name="connsiteX564" fmla="*/ 64259 w 316622"/>
                <a:gd name="connsiteY564" fmla="*/ 40986 h 269321"/>
                <a:gd name="connsiteX565" fmla="*/ 67605 w 316622"/>
                <a:gd name="connsiteY565" fmla="*/ 41067 h 269321"/>
                <a:gd name="connsiteX566" fmla="*/ 70190 w 316622"/>
                <a:gd name="connsiteY566" fmla="*/ 41449 h 269321"/>
                <a:gd name="connsiteX567" fmla="*/ 75110 w 316622"/>
                <a:gd name="connsiteY567" fmla="*/ 40310 h 269321"/>
                <a:gd name="connsiteX568" fmla="*/ 77478 w 316622"/>
                <a:gd name="connsiteY568" fmla="*/ 41090 h 269321"/>
                <a:gd name="connsiteX569" fmla="*/ 77338 w 316622"/>
                <a:gd name="connsiteY569" fmla="*/ 43445 h 269321"/>
                <a:gd name="connsiteX570" fmla="*/ 78061 w 316622"/>
                <a:gd name="connsiteY570" fmla="*/ 46413 h 269321"/>
                <a:gd name="connsiteX571" fmla="*/ 78886 w 316622"/>
                <a:gd name="connsiteY571" fmla="*/ 47849 h 269321"/>
                <a:gd name="connsiteX572" fmla="*/ 80134 w 316622"/>
                <a:gd name="connsiteY572" fmla="*/ 49481 h 269321"/>
                <a:gd name="connsiteX573" fmla="*/ 84100 w 316622"/>
                <a:gd name="connsiteY573" fmla="*/ 49330 h 269321"/>
                <a:gd name="connsiteX574" fmla="*/ 88382 w 316622"/>
                <a:gd name="connsiteY574" fmla="*/ 50289 h 269321"/>
                <a:gd name="connsiteX575" fmla="*/ 93791 w 316622"/>
                <a:gd name="connsiteY575" fmla="*/ 50437 h 269321"/>
                <a:gd name="connsiteX576" fmla="*/ 101694 w 316622"/>
                <a:gd name="connsiteY576" fmla="*/ 52091 h 269321"/>
                <a:gd name="connsiteX577" fmla="*/ 105062 w 316622"/>
                <a:gd name="connsiteY577" fmla="*/ 51133 h 269321"/>
                <a:gd name="connsiteX578" fmla="*/ 108319 w 316622"/>
                <a:gd name="connsiteY578" fmla="*/ 49091 h 269321"/>
                <a:gd name="connsiteX579" fmla="*/ 114527 w 316622"/>
                <a:gd name="connsiteY579" fmla="*/ 47747 h 269321"/>
                <a:gd name="connsiteX580" fmla="*/ 115022 w 316622"/>
                <a:gd name="connsiteY580" fmla="*/ 47035 h 269321"/>
                <a:gd name="connsiteX581" fmla="*/ 111448 w 316622"/>
                <a:gd name="connsiteY581" fmla="*/ 47319 h 269321"/>
                <a:gd name="connsiteX582" fmla="*/ 108170 w 316622"/>
                <a:gd name="connsiteY582" fmla="*/ 46023 h 269321"/>
                <a:gd name="connsiteX583" fmla="*/ 107728 w 316622"/>
                <a:gd name="connsiteY583" fmla="*/ 44615 h 269321"/>
                <a:gd name="connsiteX584" fmla="*/ 108107 w 316622"/>
                <a:gd name="connsiteY584" fmla="*/ 43349 h 269321"/>
                <a:gd name="connsiteX585" fmla="*/ 109438 w 316622"/>
                <a:gd name="connsiteY585" fmla="*/ 40433 h 269321"/>
                <a:gd name="connsiteX586" fmla="*/ 118935 w 316622"/>
                <a:gd name="connsiteY586" fmla="*/ 35828 h 269321"/>
                <a:gd name="connsiteX587" fmla="*/ 125743 w 316622"/>
                <a:gd name="connsiteY587" fmla="*/ 34466 h 269321"/>
                <a:gd name="connsiteX588" fmla="*/ 132850 w 316622"/>
                <a:gd name="connsiteY588" fmla="*/ 31926 h 269321"/>
                <a:gd name="connsiteX589" fmla="*/ 136426 w 316622"/>
                <a:gd name="connsiteY589" fmla="*/ 29319 h 269321"/>
                <a:gd name="connsiteX590" fmla="*/ 138788 w 316622"/>
                <a:gd name="connsiteY590" fmla="*/ 25948 h 269321"/>
                <a:gd name="connsiteX591" fmla="*/ 139548 w 316622"/>
                <a:gd name="connsiteY591" fmla="*/ 25207 h 269321"/>
                <a:gd name="connsiteX592" fmla="*/ 140529 w 316622"/>
                <a:gd name="connsiteY592" fmla="*/ 24585 h 269321"/>
                <a:gd name="connsiteX593" fmla="*/ 139617 w 316622"/>
                <a:gd name="connsiteY593" fmla="*/ 23376 h 269321"/>
                <a:gd name="connsiteX594" fmla="*/ 140235 w 316622"/>
                <a:gd name="connsiteY594" fmla="*/ 10443 h 269321"/>
                <a:gd name="connsiteX595" fmla="*/ 140900 w 316622"/>
                <a:gd name="connsiteY595" fmla="*/ 8106 h 269321"/>
                <a:gd name="connsiteX596" fmla="*/ 142286 w 316622"/>
                <a:gd name="connsiteY596" fmla="*/ 6195 h 269321"/>
                <a:gd name="connsiteX597" fmla="*/ 144396 w 316622"/>
                <a:gd name="connsiteY597" fmla="*/ 4716 h 269321"/>
                <a:gd name="connsiteX598" fmla="*/ 147598 w 316622"/>
                <a:gd name="connsiteY598" fmla="*/ 3112 h 269321"/>
                <a:gd name="connsiteX599" fmla="*/ 159389 w 316622"/>
                <a:gd name="connsiteY599" fmla="*/ 895 h 269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</a:cxnLst>
              <a:rect l="l" t="t" r="r" b="b"/>
              <a:pathLst>
                <a:path w="316622" h="269321">
                  <a:moveTo>
                    <a:pt x="313500" y="225790"/>
                  </a:moveTo>
                  <a:lnTo>
                    <a:pt x="314562" y="226875"/>
                  </a:lnTo>
                  <a:lnTo>
                    <a:pt x="314508" y="227834"/>
                  </a:lnTo>
                  <a:lnTo>
                    <a:pt x="314901" y="230102"/>
                  </a:lnTo>
                  <a:lnTo>
                    <a:pt x="314940" y="231576"/>
                  </a:lnTo>
                  <a:lnTo>
                    <a:pt x="314361" y="235501"/>
                  </a:lnTo>
                  <a:lnTo>
                    <a:pt x="314782" y="236649"/>
                  </a:lnTo>
                  <a:lnTo>
                    <a:pt x="315581" y="237450"/>
                  </a:lnTo>
                  <a:lnTo>
                    <a:pt x="315953" y="238329"/>
                  </a:lnTo>
                  <a:lnTo>
                    <a:pt x="316622" y="248763"/>
                  </a:lnTo>
                  <a:lnTo>
                    <a:pt x="316495" y="249592"/>
                  </a:lnTo>
                  <a:lnTo>
                    <a:pt x="313791" y="253771"/>
                  </a:lnTo>
                  <a:lnTo>
                    <a:pt x="313182" y="254996"/>
                  </a:lnTo>
                  <a:lnTo>
                    <a:pt x="313048" y="260165"/>
                  </a:lnTo>
                  <a:lnTo>
                    <a:pt x="312593" y="261552"/>
                  </a:lnTo>
                  <a:lnTo>
                    <a:pt x="311634" y="262920"/>
                  </a:lnTo>
                  <a:lnTo>
                    <a:pt x="309922" y="267337"/>
                  </a:lnTo>
                  <a:lnTo>
                    <a:pt x="308434" y="269321"/>
                  </a:lnTo>
                  <a:lnTo>
                    <a:pt x="304385" y="266901"/>
                  </a:lnTo>
                  <a:lnTo>
                    <a:pt x="301997" y="265854"/>
                  </a:lnTo>
                  <a:lnTo>
                    <a:pt x="300826" y="264725"/>
                  </a:lnTo>
                  <a:lnTo>
                    <a:pt x="300062" y="263945"/>
                  </a:lnTo>
                  <a:lnTo>
                    <a:pt x="300554" y="262905"/>
                  </a:lnTo>
                  <a:lnTo>
                    <a:pt x="301643" y="261824"/>
                  </a:lnTo>
                  <a:lnTo>
                    <a:pt x="301815" y="260973"/>
                  </a:lnTo>
                  <a:lnTo>
                    <a:pt x="299254" y="260009"/>
                  </a:lnTo>
                  <a:lnTo>
                    <a:pt x="298082" y="259365"/>
                  </a:lnTo>
                  <a:lnTo>
                    <a:pt x="298097" y="258237"/>
                  </a:lnTo>
                  <a:lnTo>
                    <a:pt x="298982" y="256476"/>
                  </a:lnTo>
                  <a:lnTo>
                    <a:pt x="298578" y="255025"/>
                  </a:lnTo>
                  <a:lnTo>
                    <a:pt x="297101" y="255099"/>
                  </a:lnTo>
                  <a:lnTo>
                    <a:pt x="295957" y="254877"/>
                  </a:lnTo>
                  <a:lnTo>
                    <a:pt x="295808" y="254123"/>
                  </a:lnTo>
                  <a:lnTo>
                    <a:pt x="296654" y="253156"/>
                  </a:lnTo>
                  <a:lnTo>
                    <a:pt x="297740" y="251893"/>
                  </a:lnTo>
                  <a:lnTo>
                    <a:pt x="297706" y="250499"/>
                  </a:lnTo>
                  <a:lnTo>
                    <a:pt x="296393" y="249898"/>
                  </a:lnTo>
                  <a:lnTo>
                    <a:pt x="295203" y="248765"/>
                  </a:lnTo>
                  <a:lnTo>
                    <a:pt x="294726" y="247224"/>
                  </a:lnTo>
                  <a:lnTo>
                    <a:pt x="295648" y="246169"/>
                  </a:lnTo>
                  <a:lnTo>
                    <a:pt x="297142" y="245488"/>
                  </a:lnTo>
                  <a:lnTo>
                    <a:pt x="296045" y="243907"/>
                  </a:lnTo>
                  <a:lnTo>
                    <a:pt x="295305" y="243872"/>
                  </a:lnTo>
                  <a:lnTo>
                    <a:pt x="294713" y="243526"/>
                  </a:lnTo>
                  <a:lnTo>
                    <a:pt x="295197" y="242791"/>
                  </a:lnTo>
                  <a:lnTo>
                    <a:pt x="296358" y="241692"/>
                  </a:lnTo>
                  <a:lnTo>
                    <a:pt x="297974" y="238406"/>
                  </a:lnTo>
                  <a:lnTo>
                    <a:pt x="300224" y="236854"/>
                  </a:lnTo>
                  <a:lnTo>
                    <a:pt x="304206" y="235855"/>
                  </a:lnTo>
                  <a:lnTo>
                    <a:pt x="305283" y="235418"/>
                  </a:lnTo>
                  <a:lnTo>
                    <a:pt x="306272" y="234261"/>
                  </a:lnTo>
                  <a:lnTo>
                    <a:pt x="307367" y="233515"/>
                  </a:lnTo>
                  <a:lnTo>
                    <a:pt x="308697" y="233614"/>
                  </a:lnTo>
                  <a:lnTo>
                    <a:pt x="309924" y="234061"/>
                  </a:lnTo>
                  <a:lnTo>
                    <a:pt x="310680" y="234537"/>
                  </a:lnTo>
                  <a:lnTo>
                    <a:pt x="311247" y="234042"/>
                  </a:lnTo>
                  <a:lnTo>
                    <a:pt x="311800" y="232606"/>
                  </a:lnTo>
                  <a:lnTo>
                    <a:pt x="311461" y="231344"/>
                  </a:lnTo>
                  <a:lnTo>
                    <a:pt x="311636" y="227872"/>
                  </a:lnTo>
                  <a:lnTo>
                    <a:pt x="312349" y="225900"/>
                  </a:lnTo>
                  <a:close/>
                  <a:moveTo>
                    <a:pt x="74603" y="143377"/>
                  </a:moveTo>
                  <a:lnTo>
                    <a:pt x="76893" y="144695"/>
                  </a:lnTo>
                  <a:lnTo>
                    <a:pt x="79254" y="147418"/>
                  </a:lnTo>
                  <a:lnTo>
                    <a:pt x="78474" y="149829"/>
                  </a:lnTo>
                  <a:lnTo>
                    <a:pt x="76999" y="147609"/>
                  </a:lnTo>
                  <a:lnTo>
                    <a:pt x="75044" y="145662"/>
                  </a:lnTo>
                  <a:lnTo>
                    <a:pt x="74598" y="143859"/>
                  </a:lnTo>
                  <a:close/>
                  <a:moveTo>
                    <a:pt x="161140" y="0"/>
                  </a:moveTo>
                  <a:lnTo>
                    <a:pt x="161386" y="1392"/>
                  </a:lnTo>
                  <a:lnTo>
                    <a:pt x="162243" y="3172"/>
                  </a:lnTo>
                  <a:lnTo>
                    <a:pt x="162833" y="4145"/>
                  </a:lnTo>
                  <a:lnTo>
                    <a:pt x="162343" y="5415"/>
                  </a:lnTo>
                  <a:lnTo>
                    <a:pt x="162729" y="6460"/>
                  </a:lnTo>
                  <a:lnTo>
                    <a:pt x="164329" y="8341"/>
                  </a:lnTo>
                  <a:lnTo>
                    <a:pt x="166324" y="10112"/>
                  </a:lnTo>
                  <a:lnTo>
                    <a:pt x="168102" y="11243"/>
                  </a:lnTo>
                  <a:lnTo>
                    <a:pt x="168603" y="11120"/>
                  </a:lnTo>
                  <a:lnTo>
                    <a:pt x="169920" y="10798"/>
                  </a:lnTo>
                  <a:lnTo>
                    <a:pt x="172150" y="9638"/>
                  </a:lnTo>
                  <a:lnTo>
                    <a:pt x="174008" y="9273"/>
                  </a:lnTo>
                  <a:lnTo>
                    <a:pt x="175070" y="10162"/>
                  </a:lnTo>
                  <a:lnTo>
                    <a:pt x="175670" y="10663"/>
                  </a:lnTo>
                  <a:lnTo>
                    <a:pt x="176841" y="12664"/>
                  </a:lnTo>
                  <a:lnTo>
                    <a:pt x="177169" y="14752"/>
                  </a:lnTo>
                  <a:lnTo>
                    <a:pt x="177689" y="16484"/>
                  </a:lnTo>
                  <a:lnTo>
                    <a:pt x="178637" y="17186"/>
                  </a:lnTo>
                  <a:lnTo>
                    <a:pt x="182192" y="17416"/>
                  </a:lnTo>
                  <a:lnTo>
                    <a:pt x="184811" y="18058"/>
                  </a:lnTo>
                  <a:lnTo>
                    <a:pt x="185504" y="18639"/>
                  </a:lnTo>
                  <a:lnTo>
                    <a:pt x="186400" y="22482"/>
                  </a:lnTo>
                  <a:lnTo>
                    <a:pt x="186888" y="23025"/>
                  </a:lnTo>
                  <a:lnTo>
                    <a:pt x="187541" y="22572"/>
                  </a:lnTo>
                  <a:lnTo>
                    <a:pt x="188186" y="21940"/>
                  </a:lnTo>
                  <a:lnTo>
                    <a:pt x="189082" y="21839"/>
                  </a:lnTo>
                  <a:lnTo>
                    <a:pt x="190620" y="22083"/>
                  </a:lnTo>
                  <a:lnTo>
                    <a:pt x="192645" y="22159"/>
                  </a:lnTo>
                  <a:lnTo>
                    <a:pt x="194734" y="22582"/>
                  </a:lnTo>
                  <a:lnTo>
                    <a:pt x="197618" y="24750"/>
                  </a:lnTo>
                  <a:lnTo>
                    <a:pt x="197508" y="25465"/>
                  </a:lnTo>
                  <a:lnTo>
                    <a:pt x="196945" y="26720"/>
                  </a:lnTo>
                  <a:lnTo>
                    <a:pt x="196748" y="27721"/>
                  </a:lnTo>
                  <a:lnTo>
                    <a:pt x="197245" y="28123"/>
                  </a:lnTo>
                  <a:lnTo>
                    <a:pt x="198007" y="29156"/>
                  </a:lnTo>
                  <a:lnTo>
                    <a:pt x="197824" y="30350"/>
                  </a:lnTo>
                  <a:lnTo>
                    <a:pt x="197081" y="31186"/>
                  </a:lnTo>
                  <a:lnTo>
                    <a:pt x="196783" y="31875"/>
                  </a:lnTo>
                  <a:lnTo>
                    <a:pt x="196787" y="32323"/>
                  </a:lnTo>
                  <a:lnTo>
                    <a:pt x="197059" y="32695"/>
                  </a:lnTo>
                  <a:lnTo>
                    <a:pt x="197651" y="33022"/>
                  </a:lnTo>
                  <a:lnTo>
                    <a:pt x="201911" y="33463"/>
                  </a:lnTo>
                  <a:lnTo>
                    <a:pt x="205809" y="33022"/>
                  </a:lnTo>
                  <a:lnTo>
                    <a:pt x="208266" y="31805"/>
                  </a:lnTo>
                  <a:lnTo>
                    <a:pt x="208685" y="30522"/>
                  </a:lnTo>
                  <a:lnTo>
                    <a:pt x="209383" y="29072"/>
                  </a:lnTo>
                  <a:lnTo>
                    <a:pt x="210847" y="27858"/>
                  </a:lnTo>
                  <a:lnTo>
                    <a:pt x="211860" y="27450"/>
                  </a:lnTo>
                  <a:lnTo>
                    <a:pt x="212786" y="27950"/>
                  </a:lnTo>
                  <a:lnTo>
                    <a:pt x="211227" y="33042"/>
                  </a:lnTo>
                  <a:lnTo>
                    <a:pt x="212365" y="34342"/>
                  </a:lnTo>
                  <a:lnTo>
                    <a:pt x="212533" y="36284"/>
                  </a:lnTo>
                  <a:lnTo>
                    <a:pt x="212941" y="37983"/>
                  </a:lnTo>
                  <a:lnTo>
                    <a:pt x="214334" y="37951"/>
                  </a:lnTo>
                  <a:lnTo>
                    <a:pt x="216023" y="38265"/>
                  </a:lnTo>
                  <a:lnTo>
                    <a:pt x="217219" y="38893"/>
                  </a:lnTo>
                  <a:lnTo>
                    <a:pt x="218614" y="39902"/>
                  </a:lnTo>
                  <a:lnTo>
                    <a:pt x="220625" y="40829"/>
                  </a:lnTo>
                  <a:lnTo>
                    <a:pt x="222035" y="41155"/>
                  </a:lnTo>
                  <a:lnTo>
                    <a:pt x="222546" y="41929"/>
                  </a:lnTo>
                  <a:lnTo>
                    <a:pt x="223686" y="42825"/>
                  </a:lnTo>
                  <a:lnTo>
                    <a:pt x="225481" y="44702"/>
                  </a:lnTo>
                  <a:lnTo>
                    <a:pt x="227087" y="45954"/>
                  </a:lnTo>
                  <a:lnTo>
                    <a:pt x="227863" y="45949"/>
                  </a:lnTo>
                  <a:lnTo>
                    <a:pt x="229359" y="45456"/>
                  </a:lnTo>
                  <a:lnTo>
                    <a:pt x="231579" y="45140"/>
                  </a:lnTo>
                  <a:lnTo>
                    <a:pt x="233332" y="45167"/>
                  </a:lnTo>
                  <a:lnTo>
                    <a:pt x="234078" y="46120"/>
                  </a:lnTo>
                  <a:lnTo>
                    <a:pt x="235801" y="46560"/>
                  </a:lnTo>
                  <a:lnTo>
                    <a:pt x="236410" y="46910"/>
                  </a:lnTo>
                  <a:lnTo>
                    <a:pt x="237086" y="47567"/>
                  </a:lnTo>
                  <a:lnTo>
                    <a:pt x="238234" y="47831"/>
                  </a:lnTo>
                  <a:lnTo>
                    <a:pt x="239621" y="47567"/>
                  </a:lnTo>
                  <a:lnTo>
                    <a:pt x="240633" y="46690"/>
                  </a:lnTo>
                  <a:lnTo>
                    <a:pt x="241985" y="46297"/>
                  </a:lnTo>
                  <a:lnTo>
                    <a:pt x="243337" y="46428"/>
                  </a:lnTo>
                  <a:lnTo>
                    <a:pt x="244114" y="46910"/>
                  </a:lnTo>
                  <a:lnTo>
                    <a:pt x="245596" y="47622"/>
                  </a:lnTo>
                  <a:lnTo>
                    <a:pt x="246434" y="47467"/>
                  </a:lnTo>
                  <a:lnTo>
                    <a:pt x="248111" y="47905"/>
                  </a:lnTo>
                  <a:lnTo>
                    <a:pt x="249796" y="49287"/>
                  </a:lnTo>
                  <a:lnTo>
                    <a:pt x="250504" y="50676"/>
                  </a:lnTo>
                  <a:lnTo>
                    <a:pt x="250689" y="51435"/>
                  </a:lnTo>
                  <a:lnTo>
                    <a:pt x="251417" y="52260"/>
                  </a:lnTo>
                  <a:lnTo>
                    <a:pt x="254244" y="55987"/>
                  </a:lnTo>
                  <a:lnTo>
                    <a:pt x="255147" y="56171"/>
                  </a:lnTo>
                  <a:lnTo>
                    <a:pt x="256129" y="55606"/>
                  </a:lnTo>
                  <a:lnTo>
                    <a:pt x="256766" y="54805"/>
                  </a:lnTo>
                  <a:lnTo>
                    <a:pt x="257688" y="54645"/>
                  </a:lnTo>
                  <a:lnTo>
                    <a:pt x="259172" y="55014"/>
                  </a:lnTo>
                  <a:lnTo>
                    <a:pt x="260126" y="55436"/>
                  </a:lnTo>
                  <a:lnTo>
                    <a:pt x="260584" y="57049"/>
                  </a:lnTo>
                  <a:lnTo>
                    <a:pt x="260906" y="57356"/>
                  </a:lnTo>
                  <a:lnTo>
                    <a:pt x="261547" y="57009"/>
                  </a:lnTo>
                  <a:lnTo>
                    <a:pt x="262690" y="56932"/>
                  </a:lnTo>
                  <a:lnTo>
                    <a:pt x="264514" y="57330"/>
                  </a:lnTo>
                  <a:lnTo>
                    <a:pt x="267023" y="56875"/>
                  </a:lnTo>
                  <a:lnTo>
                    <a:pt x="269031" y="56202"/>
                  </a:lnTo>
                  <a:lnTo>
                    <a:pt x="270057" y="56227"/>
                  </a:lnTo>
                  <a:lnTo>
                    <a:pt x="271713" y="58108"/>
                  </a:lnTo>
                  <a:lnTo>
                    <a:pt x="273603" y="58811"/>
                  </a:lnTo>
                  <a:lnTo>
                    <a:pt x="277766" y="59378"/>
                  </a:lnTo>
                  <a:lnTo>
                    <a:pt x="282234" y="60262"/>
                  </a:lnTo>
                  <a:lnTo>
                    <a:pt x="283989" y="60976"/>
                  </a:lnTo>
                  <a:lnTo>
                    <a:pt x="285188" y="61327"/>
                  </a:lnTo>
                  <a:lnTo>
                    <a:pt x="285309" y="63812"/>
                  </a:lnTo>
                  <a:lnTo>
                    <a:pt x="284948" y="64187"/>
                  </a:lnTo>
                  <a:lnTo>
                    <a:pt x="280498" y="69161"/>
                  </a:lnTo>
                  <a:lnTo>
                    <a:pt x="278623" y="70938"/>
                  </a:lnTo>
                  <a:lnTo>
                    <a:pt x="277669" y="73471"/>
                  </a:lnTo>
                  <a:lnTo>
                    <a:pt x="277013" y="77352"/>
                  </a:lnTo>
                  <a:lnTo>
                    <a:pt x="275698" y="81034"/>
                  </a:lnTo>
                  <a:lnTo>
                    <a:pt x="273728" y="84519"/>
                  </a:lnTo>
                  <a:lnTo>
                    <a:pt x="273011" y="87132"/>
                  </a:lnTo>
                  <a:lnTo>
                    <a:pt x="273549" y="88874"/>
                  </a:lnTo>
                  <a:lnTo>
                    <a:pt x="273212" y="91607"/>
                  </a:lnTo>
                  <a:lnTo>
                    <a:pt x="272003" y="95326"/>
                  </a:lnTo>
                  <a:lnTo>
                    <a:pt x="271800" y="98132"/>
                  </a:lnTo>
                  <a:lnTo>
                    <a:pt x="272597" y="100025"/>
                  </a:lnTo>
                  <a:lnTo>
                    <a:pt x="273707" y="100413"/>
                  </a:lnTo>
                  <a:lnTo>
                    <a:pt x="271037" y="101687"/>
                  </a:lnTo>
                  <a:lnTo>
                    <a:pt x="270429" y="102801"/>
                  </a:lnTo>
                  <a:lnTo>
                    <a:pt x="269381" y="104274"/>
                  </a:lnTo>
                  <a:lnTo>
                    <a:pt x="267682" y="104893"/>
                  </a:lnTo>
                  <a:lnTo>
                    <a:pt x="265970" y="105098"/>
                  </a:lnTo>
                  <a:lnTo>
                    <a:pt x="264585" y="104903"/>
                  </a:lnTo>
                  <a:lnTo>
                    <a:pt x="263797" y="104315"/>
                  </a:lnTo>
                  <a:lnTo>
                    <a:pt x="263836" y="103767"/>
                  </a:lnTo>
                  <a:lnTo>
                    <a:pt x="263102" y="103301"/>
                  </a:lnTo>
                  <a:lnTo>
                    <a:pt x="261275" y="103315"/>
                  </a:lnTo>
                  <a:lnTo>
                    <a:pt x="259394" y="104328"/>
                  </a:lnTo>
                  <a:lnTo>
                    <a:pt x="257891" y="105982"/>
                  </a:lnTo>
                  <a:lnTo>
                    <a:pt x="258358" y="106907"/>
                  </a:lnTo>
                  <a:lnTo>
                    <a:pt x="259742" y="107151"/>
                  </a:lnTo>
                  <a:lnTo>
                    <a:pt x="260107" y="107517"/>
                  </a:lnTo>
                  <a:lnTo>
                    <a:pt x="260107" y="107992"/>
                  </a:lnTo>
                  <a:lnTo>
                    <a:pt x="259619" y="108564"/>
                  </a:lnTo>
                  <a:lnTo>
                    <a:pt x="259034" y="109541"/>
                  </a:lnTo>
                  <a:lnTo>
                    <a:pt x="256129" y="112450"/>
                  </a:lnTo>
                  <a:lnTo>
                    <a:pt x="253197" y="115382"/>
                  </a:lnTo>
                  <a:lnTo>
                    <a:pt x="252728" y="116268"/>
                  </a:lnTo>
                  <a:lnTo>
                    <a:pt x="251798" y="116887"/>
                  </a:lnTo>
                  <a:lnTo>
                    <a:pt x="248070" y="118450"/>
                  </a:lnTo>
                  <a:lnTo>
                    <a:pt x="247680" y="119076"/>
                  </a:lnTo>
                  <a:lnTo>
                    <a:pt x="247468" y="121685"/>
                  </a:lnTo>
                  <a:lnTo>
                    <a:pt x="247051" y="123826"/>
                  </a:lnTo>
                  <a:lnTo>
                    <a:pt x="244287" y="125839"/>
                  </a:lnTo>
                  <a:lnTo>
                    <a:pt x="241536" y="127842"/>
                  </a:lnTo>
                  <a:lnTo>
                    <a:pt x="240849" y="129065"/>
                  </a:lnTo>
                  <a:lnTo>
                    <a:pt x="240348" y="130480"/>
                  </a:lnTo>
                  <a:lnTo>
                    <a:pt x="239485" y="132076"/>
                  </a:lnTo>
                  <a:lnTo>
                    <a:pt x="239314" y="132919"/>
                  </a:lnTo>
                  <a:lnTo>
                    <a:pt x="240707" y="134293"/>
                  </a:lnTo>
                  <a:lnTo>
                    <a:pt x="240545" y="135429"/>
                  </a:lnTo>
                  <a:lnTo>
                    <a:pt x="240102" y="137043"/>
                  </a:lnTo>
                  <a:lnTo>
                    <a:pt x="238780" y="138186"/>
                  </a:lnTo>
                  <a:lnTo>
                    <a:pt x="237319" y="138834"/>
                  </a:lnTo>
                  <a:lnTo>
                    <a:pt x="237351" y="140590"/>
                  </a:lnTo>
                  <a:lnTo>
                    <a:pt x="238129" y="140836"/>
                  </a:lnTo>
                  <a:lnTo>
                    <a:pt x="239897" y="140706"/>
                  </a:lnTo>
                  <a:lnTo>
                    <a:pt x="242391" y="139432"/>
                  </a:lnTo>
                  <a:lnTo>
                    <a:pt x="244017" y="137794"/>
                  </a:lnTo>
                  <a:lnTo>
                    <a:pt x="243059" y="136238"/>
                  </a:lnTo>
                  <a:lnTo>
                    <a:pt x="242940" y="135933"/>
                  </a:lnTo>
                  <a:lnTo>
                    <a:pt x="243171" y="135568"/>
                  </a:lnTo>
                  <a:lnTo>
                    <a:pt x="245099" y="133875"/>
                  </a:lnTo>
                  <a:lnTo>
                    <a:pt x="247466" y="132854"/>
                  </a:lnTo>
                  <a:lnTo>
                    <a:pt x="250767" y="132664"/>
                  </a:lnTo>
                  <a:lnTo>
                    <a:pt x="254745" y="133263"/>
                  </a:lnTo>
                  <a:lnTo>
                    <a:pt x="255142" y="133516"/>
                  </a:lnTo>
                  <a:lnTo>
                    <a:pt x="254950" y="134554"/>
                  </a:lnTo>
                  <a:lnTo>
                    <a:pt x="255321" y="136085"/>
                  </a:lnTo>
                  <a:lnTo>
                    <a:pt x="256043" y="137159"/>
                  </a:lnTo>
                  <a:lnTo>
                    <a:pt x="255054" y="140205"/>
                  </a:lnTo>
                  <a:lnTo>
                    <a:pt x="255797" y="141159"/>
                  </a:lnTo>
                  <a:lnTo>
                    <a:pt x="256954" y="142299"/>
                  </a:lnTo>
                  <a:lnTo>
                    <a:pt x="257822" y="143340"/>
                  </a:lnTo>
                  <a:lnTo>
                    <a:pt x="259070" y="144296"/>
                  </a:lnTo>
                  <a:lnTo>
                    <a:pt x="260180" y="145906"/>
                  </a:lnTo>
                  <a:lnTo>
                    <a:pt x="260560" y="146818"/>
                  </a:lnTo>
                  <a:lnTo>
                    <a:pt x="258785" y="148402"/>
                  </a:lnTo>
                  <a:lnTo>
                    <a:pt x="255771" y="149886"/>
                  </a:lnTo>
                  <a:lnTo>
                    <a:pt x="255432" y="150836"/>
                  </a:lnTo>
                  <a:lnTo>
                    <a:pt x="255471" y="151916"/>
                  </a:lnTo>
                  <a:lnTo>
                    <a:pt x="255810" y="152765"/>
                  </a:lnTo>
                  <a:lnTo>
                    <a:pt x="257472" y="153857"/>
                  </a:lnTo>
                  <a:lnTo>
                    <a:pt x="259263" y="156327"/>
                  </a:lnTo>
                  <a:lnTo>
                    <a:pt x="260396" y="158528"/>
                  </a:lnTo>
                  <a:lnTo>
                    <a:pt x="262881" y="160637"/>
                  </a:lnTo>
                  <a:lnTo>
                    <a:pt x="263486" y="161261"/>
                  </a:lnTo>
                  <a:lnTo>
                    <a:pt x="263331" y="161788"/>
                  </a:lnTo>
                  <a:lnTo>
                    <a:pt x="262676" y="162686"/>
                  </a:lnTo>
                  <a:lnTo>
                    <a:pt x="261826" y="165676"/>
                  </a:lnTo>
                  <a:lnTo>
                    <a:pt x="260811" y="166151"/>
                  </a:lnTo>
                  <a:lnTo>
                    <a:pt x="259679" y="166344"/>
                  </a:lnTo>
                  <a:lnTo>
                    <a:pt x="256607" y="168532"/>
                  </a:lnTo>
                  <a:lnTo>
                    <a:pt x="255237" y="168267"/>
                  </a:lnTo>
                  <a:lnTo>
                    <a:pt x="253290" y="168295"/>
                  </a:lnTo>
                  <a:lnTo>
                    <a:pt x="251862" y="169016"/>
                  </a:lnTo>
                  <a:lnTo>
                    <a:pt x="252018" y="170378"/>
                  </a:lnTo>
                  <a:lnTo>
                    <a:pt x="253270" y="171624"/>
                  </a:lnTo>
                  <a:lnTo>
                    <a:pt x="254006" y="172980"/>
                  </a:lnTo>
                  <a:lnTo>
                    <a:pt x="254304" y="174390"/>
                  </a:lnTo>
                  <a:lnTo>
                    <a:pt x="255695" y="175434"/>
                  </a:lnTo>
                  <a:lnTo>
                    <a:pt x="257647" y="176058"/>
                  </a:lnTo>
                  <a:lnTo>
                    <a:pt x="258764" y="176100"/>
                  </a:lnTo>
                  <a:lnTo>
                    <a:pt x="259494" y="176475"/>
                  </a:lnTo>
                  <a:lnTo>
                    <a:pt x="259932" y="176958"/>
                  </a:lnTo>
                  <a:lnTo>
                    <a:pt x="260772" y="179974"/>
                  </a:lnTo>
                  <a:lnTo>
                    <a:pt x="260269" y="180730"/>
                  </a:lnTo>
                  <a:lnTo>
                    <a:pt x="259217" y="181052"/>
                  </a:lnTo>
                  <a:lnTo>
                    <a:pt x="258589" y="182291"/>
                  </a:lnTo>
                  <a:lnTo>
                    <a:pt x="257334" y="184118"/>
                  </a:lnTo>
                  <a:lnTo>
                    <a:pt x="256622" y="185583"/>
                  </a:lnTo>
                  <a:lnTo>
                    <a:pt x="257410" y="186872"/>
                  </a:lnTo>
                  <a:lnTo>
                    <a:pt x="257746" y="187826"/>
                  </a:lnTo>
                  <a:lnTo>
                    <a:pt x="257325" y="188808"/>
                  </a:lnTo>
                  <a:lnTo>
                    <a:pt x="257887" y="190337"/>
                  </a:lnTo>
                  <a:lnTo>
                    <a:pt x="259370" y="191849"/>
                  </a:lnTo>
                  <a:lnTo>
                    <a:pt x="263398" y="193974"/>
                  </a:lnTo>
                  <a:lnTo>
                    <a:pt x="267138" y="195701"/>
                  </a:lnTo>
                  <a:lnTo>
                    <a:pt x="268295" y="195988"/>
                  </a:lnTo>
                  <a:lnTo>
                    <a:pt x="273348" y="194877"/>
                  </a:lnTo>
                  <a:lnTo>
                    <a:pt x="274184" y="194973"/>
                  </a:lnTo>
                  <a:lnTo>
                    <a:pt x="274799" y="196296"/>
                  </a:lnTo>
                  <a:lnTo>
                    <a:pt x="275067" y="197186"/>
                  </a:lnTo>
                  <a:lnTo>
                    <a:pt x="274499" y="198527"/>
                  </a:lnTo>
                  <a:lnTo>
                    <a:pt x="273132" y="200372"/>
                  </a:lnTo>
                  <a:lnTo>
                    <a:pt x="271651" y="201842"/>
                  </a:lnTo>
                  <a:lnTo>
                    <a:pt x="270753" y="203091"/>
                  </a:lnTo>
                  <a:lnTo>
                    <a:pt x="270940" y="204224"/>
                  </a:lnTo>
                  <a:lnTo>
                    <a:pt x="270999" y="205731"/>
                  </a:lnTo>
                  <a:lnTo>
                    <a:pt x="269794" y="206182"/>
                  </a:lnTo>
                  <a:lnTo>
                    <a:pt x="269755" y="205884"/>
                  </a:lnTo>
                  <a:lnTo>
                    <a:pt x="269258" y="205630"/>
                  </a:lnTo>
                  <a:lnTo>
                    <a:pt x="268829" y="205780"/>
                  </a:lnTo>
                  <a:lnTo>
                    <a:pt x="268498" y="206107"/>
                  </a:lnTo>
                  <a:lnTo>
                    <a:pt x="268446" y="206687"/>
                  </a:lnTo>
                  <a:lnTo>
                    <a:pt x="265877" y="207649"/>
                  </a:lnTo>
                  <a:lnTo>
                    <a:pt x="264106" y="208646"/>
                  </a:lnTo>
                  <a:lnTo>
                    <a:pt x="257103" y="214594"/>
                  </a:lnTo>
                  <a:lnTo>
                    <a:pt x="253827" y="216336"/>
                  </a:lnTo>
                  <a:lnTo>
                    <a:pt x="253182" y="217385"/>
                  </a:lnTo>
                  <a:lnTo>
                    <a:pt x="252514" y="219345"/>
                  </a:lnTo>
                  <a:lnTo>
                    <a:pt x="250590" y="221026"/>
                  </a:lnTo>
                  <a:lnTo>
                    <a:pt x="248906" y="221825"/>
                  </a:lnTo>
                  <a:lnTo>
                    <a:pt x="244734" y="222646"/>
                  </a:lnTo>
                  <a:lnTo>
                    <a:pt x="240545" y="224426"/>
                  </a:lnTo>
                  <a:lnTo>
                    <a:pt x="238658" y="223659"/>
                  </a:lnTo>
                  <a:lnTo>
                    <a:pt x="233769" y="223741"/>
                  </a:lnTo>
                  <a:lnTo>
                    <a:pt x="230720" y="221596"/>
                  </a:lnTo>
                  <a:lnTo>
                    <a:pt x="224859" y="220235"/>
                  </a:lnTo>
                  <a:lnTo>
                    <a:pt x="222950" y="217107"/>
                  </a:lnTo>
                  <a:lnTo>
                    <a:pt x="220281" y="216904"/>
                  </a:lnTo>
                  <a:lnTo>
                    <a:pt x="218532" y="216998"/>
                  </a:lnTo>
                  <a:lnTo>
                    <a:pt x="217487" y="216524"/>
                  </a:lnTo>
                  <a:lnTo>
                    <a:pt x="217215" y="215456"/>
                  </a:lnTo>
                  <a:lnTo>
                    <a:pt x="217191" y="214427"/>
                  </a:lnTo>
                  <a:lnTo>
                    <a:pt x="215339" y="214901"/>
                  </a:lnTo>
                  <a:lnTo>
                    <a:pt x="213922" y="214901"/>
                  </a:lnTo>
                  <a:lnTo>
                    <a:pt x="213077" y="215313"/>
                  </a:lnTo>
                  <a:lnTo>
                    <a:pt x="212410" y="215789"/>
                  </a:lnTo>
                  <a:lnTo>
                    <a:pt x="211622" y="215485"/>
                  </a:lnTo>
                  <a:lnTo>
                    <a:pt x="211164" y="215587"/>
                  </a:lnTo>
                  <a:lnTo>
                    <a:pt x="211205" y="216193"/>
                  </a:lnTo>
                  <a:lnTo>
                    <a:pt x="209504" y="216344"/>
                  </a:lnTo>
                  <a:lnTo>
                    <a:pt x="207660" y="215973"/>
                  </a:lnTo>
                  <a:lnTo>
                    <a:pt x="202818" y="214355"/>
                  </a:lnTo>
                  <a:lnTo>
                    <a:pt x="202075" y="214108"/>
                  </a:lnTo>
                  <a:lnTo>
                    <a:pt x="198715" y="213482"/>
                  </a:lnTo>
                  <a:lnTo>
                    <a:pt x="197357" y="212836"/>
                  </a:lnTo>
                  <a:lnTo>
                    <a:pt x="196258" y="211236"/>
                  </a:lnTo>
                  <a:lnTo>
                    <a:pt x="195418" y="210730"/>
                  </a:lnTo>
                  <a:lnTo>
                    <a:pt x="194921" y="210427"/>
                  </a:lnTo>
                  <a:lnTo>
                    <a:pt x="191786" y="211235"/>
                  </a:lnTo>
                  <a:lnTo>
                    <a:pt x="190698" y="212494"/>
                  </a:lnTo>
                  <a:lnTo>
                    <a:pt x="188998" y="213967"/>
                  </a:lnTo>
                  <a:lnTo>
                    <a:pt x="177370" y="221183"/>
                  </a:lnTo>
                  <a:lnTo>
                    <a:pt x="175247" y="224201"/>
                  </a:lnTo>
                  <a:lnTo>
                    <a:pt x="172790" y="228639"/>
                  </a:lnTo>
                  <a:lnTo>
                    <a:pt x="172598" y="230707"/>
                  </a:lnTo>
                  <a:lnTo>
                    <a:pt x="173656" y="237309"/>
                  </a:lnTo>
                  <a:lnTo>
                    <a:pt x="176020" y="240769"/>
                  </a:lnTo>
                  <a:lnTo>
                    <a:pt x="176320" y="241569"/>
                  </a:lnTo>
                  <a:lnTo>
                    <a:pt x="175010" y="241573"/>
                  </a:lnTo>
                  <a:lnTo>
                    <a:pt x="172809" y="241141"/>
                  </a:lnTo>
                  <a:lnTo>
                    <a:pt x="170982" y="240607"/>
                  </a:lnTo>
                  <a:lnTo>
                    <a:pt x="169244" y="240905"/>
                  </a:lnTo>
                  <a:lnTo>
                    <a:pt x="167569" y="241620"/>
                  </a:lnTo>
                  <a:lnTo>
                    <a:pt x="166104" y="242052"/>
                  </a:lnTo>
                  <a:lnTo>
                    <a:pt x="165053" y="242173"/>
                  </a:lnTo>
                  <a:lnTo>
                    <a:pt x="164349" y="242585"/>
                  </a:lnTo>
                  <a:lnTo>
                    <a:pt x="164012" y="243409"/>
                  </a:lnTo>
                  <a:lnTo>
                    <a:pt x="163943" y="243985"/>
                  </a:lnTo>
                  <a:lnTo>
                    <a:pt x="162092" y="243843"/>
                  </a:lnTo>
                  <a:lnTo>
                    <a:pt x="157812" y="242658"/>
                  </a:lnTo>
                  <a:lnTo>
                    <a:pt x="153964" y="241841"/>
                  </a:lnTo>
                  <a:lnTo>
                    <a:pt x="151708" y="242770"/>
                  </a:lnTo>
                  <a:lnTo>
                    <a:pt x="150256" y="243638"/>
                  </a:lnTo>
                  <a:lnTo>
                    <a:pt x="149235" y="243505"/>
                  </a:lnTo>
                  <a:lnTo>
                    <a:pt x="148460" y="242592"/>
                  </a:lnTo>
                  <a:lnTo>
                    <a:pt x="147940" y="241698"/>
                  </a:lnTo>
                  <a:lnTo>
                    <a:pt x="146432" y="240878"/>
                  </a:lnTo>
                  <a:lnTo>
                    <a:pt x="143034" y="239645"/>
                  </a:lnTo>
                  <a:lnTo>
                    <a:pt x="143208" y="239050"/>
                  </a:lnTo>
                  <a:lnTo>
                    <a:pt x="143789" y="238220"/>
                  </a:lnTo>
                  <a:lnTo>
                    <a:pt x="143772" y="237708"/>
                  </a:lnTo>
                  <a:lnTo>
                    <a:pt x="143118" y="236947"/>
                  </a:lnTo>
                  <a:lnTo>
                    <a:pt x="139985" y="236130"/>
                  </a:lnTo>
                  <a:lnTo>
                    <a:pt x="138508" y="235924"/>
                  </a:lnTo>
                  <a:lnTo>
                    <a:pt x="137568" y="236486"/>
                  </a:lnTo>
                  <a:lnTo>
                    <a:pt x="136892" y="237174"/>
                  </a:lnTo>
                  <a:lnTo>
                    <a:pt x="135147" y="234643"/>
                  </a:lnTo>
                  <a:lnTo>
                    <a:pt x="133906" y="234128"/>
                  </a:lnTo>
                  <a:lnTo>
                    <a:pt x="132027" y="234043"/>
                  </a:lnTo>
                  <a:lnTo>
                    <a:pt x="129879" y="233270"/>
                  </a:lnTo>
                  <a:lnTo>
                    <a:pt x="127643" y="232283"/>
                  </a:lnTo>
                  <a:lnTo>
                    <a:pt x="122213" y="230703"/>
                  </a:lnTo>
                  <a:lnTo>
                    <a:pt x="120718" y="230514"/>
                  </a:lnTo>
                  <a:lnTo>
                    <a:pt x="120120" y="230764"/>
                  </a:lnTo>
                  <a:lnTo>
                    <a:pt x="119721" y="231709"/>
                  </a:lnTo>
                  <a:lnTo>
                    <a:pt x="119505" y="234377"/>
                  </a:lnTo>
                  <a:lnTo>
                    <a:pt x="119276" y="234672"/>
                  </a:lnTo>
                  <a:lnTo>
                    <a:pt x="116756" y="234761"/>
                  </a:lnTo>
                  <a:lnTo>
                    <a:pt x="113651" y="234390"/>
                  </a:lnTo>
                  <a:lnTo>
                    <a:pt x="112228" y="234574"/>
                  </a:lnTo>
                  <a:lnTo>
                    <a:pt x="110958" y="234583"/>
                  </a:lnTo>
                  <a:lnTo>
                    <a:pt x="109762" y="233877"/>
                  </a:lnTo>
                  <a:lnTo>
                    <a:pt x="104399" y="234685"/>
                  </a:lnTo>
                  <a:lnTo>
                    <a:pt x="103507" y="234291"/>
                  </a:lnTo>
                  <a:lnTo>
                    <a:pt x="102212" y="233086"/>
                  </a:lnTo>
                  <a:lnTo>
                    <a:pt x="100769" y="232114"/>
                  </a:lnTo>
                  <a:lnTo>
                    <a:pt x="99647" y="231615"/>
                  </a:lnTo>
                  <a:lnTo>
                    <a:pt x="98691" y="231043"/>
                  </a:lnTo>
                  <a:lnTo>
                    <a:pt x="97822" y="230950"/>
                  </a:lnTo>
                  <a:lnTo>
                    <a:pt x="96499" y="231504"/>
                  </a:lnTo>
                  <a:lnTo>
                    <a:pt x="94670" y="231739"/>
                  </a:lnTo>
                  <a:lnTo>
                    <a:pt x="93152" y="231667"/>
                  </a:lnTo>
                  <a:lnTo>
                    <a:pt x="92342" y="231748"/>
                  </a:lnTo>
                  <a:lnTo>
                    <a:pt x="88942" y="228789"/>
                  </a:lnTo>
                  <a:lnTo>
                    <a:pt x="88445" y="227979"/>
                  </a:lnTo>
                  <a:lnTo>
                    <a:pt x="86752" y="227754"/>
                  </a:lnTo>
                  <a:lnTo>
                    <a:pt x="84660" y="227718"/>
                  </a:lnTo>
                  <a:lnTo>
                    <a:pt x="79317" y="225799"/>
                  </a:lnTo>
                  <a:lnTo>
                    <a:pt x="76885" y="224768"/>
                  </a:lnTo>
                  <a:lnTo>
                    <a:pt x="76529" y="224155"/>
                  </a:lnTo>
                  <a:lnTo>
                    <a:pt x="76562" y="223659"/>
                  </a:lnTo>
                  <a:lnTo>
                    <a:pt x="76147" y="223766"/>
                  </a:lnTo>
                  <a:lnTo>
                    <a:pt x="75397" y="224643"/>
                  </a:lnTo>
                  <a:lnTo>
                    <a:pt x="75004" y="225358"/>
                  </a:lnTo>
                  <a:lnTo>
                    <a:pt x="74484" y="225492"/>
                  </a:lnTo>
                  <a:lnTo>
                    <a:pt x="73716" y="225381"/>
                  </a:lnTo>
                  <a:lnTo>
                    <a:pt x="73007" y="224978"/>
                  </a:lnTo>
                  <a:lnTo>
                    <a:pt x="72573" y="224459"/>
                  </a:lnTo>
                  <a:lnTo>
                    <a:pt x="73038" y="223551"/>
                  </a:lnTo>
                  <a:lnTo>
                    <a:pt x="73852" y="222367"/>
                  </a:lnTo>
                  <a:lnTo>
                    <a:pt x="74190" y="221078"/>
                  </a:lnTo>
                  <a:lnTo>
                    <a:pt x="74116" y="219924"/>
                  </a:lnTo>
                  <a:lnTo>
                    <a:pt x="72766" y="219183"/>
                  </a:lnTo>
                  <a:lnTo>
                    <a:pt x="70781" y="218874"/>
                  </a:lnTo>
                  <a:lnTo>
                    <a:pt x="69329" y="218786"/>
                  </a:lnTo>
                  <a:lnTo>
                    <a:pt x="67434" y="218126"/>
                  </a:lnTo>
                  <a:lnTo>
                    <a:pt x="66541" y="217650"/>
                  </a:lnTo>
                  <a:lnTo>
                    <a:pt x="65668" y="216364"/>
                  </a:lnTo>
                  <a:lnTo>
                    <a:pt x="65639" y="215428"/>
                  </a:lnTo>
                  <a:lnTo>
                    <a:pt x="69234" y="214602"/>
                  </a:lnTo>
                  <a:lnTo>
                    <a:pt x="72476" y="211216"/>
                  </a:lnTo>
                  <a:lnTo>
                    <a:pt x="75546" y="198890"/>
                  </a:lnTo>
                  <a:lnTo>
                    <a:pt x="77768" y="184245"/>
                  </a:lnTo>
                  <a:lnTo>
                    <a:pt x="79420" y="181469"/>
                  </a:lnTo>
                  <a:lnTo>
                    <a:pt x="81495" y="180706"/>
                  </a:lnTo>
                  <a:lnTo>
                    <a:pt x="79817" y="178684"/>
                  </a:lnTo>
                  <a:lnTo>
                    <a:pt x="78766" y="179708"/>
                  </a:lnTo>
                  <a:lnTo>
                    <a:pt x="78325" y="180794"/>
                  </a:lnTo>
                  <a:lnTo>
                    <a:pt x="77775" y="181336"/>
                  </a:lnTo>
                  <a:lnTo>
                    <a:pt x="79016" y="167825"/>
                  </a:lnTo>
                  <a:lnTo>
                    <a:pt x="79901" y="162861"/>
                  </a:lnTo>
                  <a:lnTo>
                    <a:pt x="81406" y="157650"/>
                  </a:lnTo>
                  <a:lnTo>
                    <a:pt x="84485" y="159720"/>
                  </a:lnTo>
                  <a:lnTo>
                    <a:pt x="87037" y="161817"/>
                  </a:lnTo>
                  <a:lnTo>
                    <a:pt x="88357" y="163636"/>
                  </a:lnTo>
                  <a:lnTo>
                    <a:pt x="90027" y="169686"/>
                  </a:lnTo>
                  <a:lnTo>
                    <a:pt x="91290" y="170954"/>
                  </a:lnTo>
                  <a:lnTo>
                    <a:pt x="93181" y="172226"/>
                  </a:lnTo>
                  <a:lnTo>
                    <a:pt x="92434" y="170837"/>
                  </a:lnTo>
                  <a:lnTo>
                    <a:pt x="91133" y="169776"/>
                  </a:lnTo>
                  <a:lnTo>
                    <a:pt x="89099" y="161709"/>
                  </a:lnTo>
                  <a:lnTo>
                    <a:pt x="87823" y="159420"/>
                  </a:lnTo>
                  <a:lnTo>
                    <a:pt x="85836" y="157492"/>
                  </a:lnTo>
                  <a:lnTo>
                    <a:pt x="79438" y="153428"/>
                  </a:lnTo>
                  <a:lnTo>
                    <a:pt x="78863" y="152643"/>
                  </a:lnTo>
                  <a:lnTo>
                    <a:pt x="78554" y="151089"/>
                  </a:lnTo>
                  <a:lnTo>
                    <a:pt x="80668" y="151155"/>
                  </a:lnTo>
                  <a:lnTo>
                    <a:pt x="82495" y="151910"/>
                  </a:lnTo>
                  <a:lnTo>
                    <a:pt x="82279" y="151040"/>
                  </a:lnTo>
                  <a:lnTo>
                    <a:pt x="81737" y="150131"/>
                  </a:lnTo>
                  <a:lnTo>
                    <a:pt x="80889" y="146830"/>
                  </a:lnTo>
                  <a:lnTo>
                    <a:pt x="80181" y="139107"/>
                  </a:lnTo>
                  <a:lnTo>
                    <a:pt x="80277" y="137782"/>
                  </a:lnTo>
                  <a:lnTo>
                    <a:pt x="79962" y="136157"/>
                  </a:lnTo>
                  <a:lnTo>
                    <a:pt x="77916" y="135793"/>
                  </a:lnTo>
                  <a:lnTo>
                    <a:pt x="76280" y="135726"/>
                  </a:lnTo>
                  <a:lnTo>
                    <a:pt x="74518" y="135084"/>
                  </a:lnTo>
                  <a:lnTo>
                    <a:pt x="65805" y="130514"/>
                  </a:lnTo>
                  <a:lnTo>
                    <a:pt x="62822" y="125790"/>
                  </a:lnTo>
                  <a:lnTo>
                    <a:pt x="59772" y="122297"/>
                  </a:lnTo>
                  <a:lnTo>
                    <a:pt x="59040" y="120772"/>
                  </a:lnTo>
                  <a:lnTo>
                    <a:pt x="59088" y="119226"/>
                  </a:lnTo>
                  <a:lnTo>
                    <a:pt x="60667" y="115957"/>
                  </a:lnTo>
                  <a:lnTo>
                    <a:pt x="59273" y="113891"/>
                  </a:lnTo>
                  <a:lnTo>
                    <a:pt x="57911" y="113480"/>
                  </a:lnTo>
                  <a:lnTo>
                    <a:pt x="56727" y="112457"/>
                  </a:lnTo>
                  <a:lnTo>
                    <a:pt x="57799" y="110751"/>
                  </a:lnTo>
                  <a:lnTo>
                    <a:pt x="58690" y="109659"/>
                  </a:lnTo>
                  <a:lnTo>
                    <a:pt x="60475" y="109362"/>
                  </a:lnTo>
                  <a:lnTo>
                    <a:pt x="62816" y="109724"/>
                  </a:lnTo>
                  <a:lnTo>
                    <a:pt x="65036" y="110712"/>
                  </a:lnTo>
                  <a:lnTo>
                    <a:pt x="66778" y="110974"/>
                  </a:lnTo>
                  <a:lnTo>
                    <a:pt x="61629" y="108323"/>
                  </a:lnTo>
                  <a:lnTo>
                    <a:pt x="53279" y="109217"/>
                  </a:lnTo>
                  <a:lnTo>
                    <a:pt x="51479" y="108875"/>
                  </a:lnTo>
                  <a:lnTo>
                    <a:pt x="49959" y="108284"/>
                  </a:lnTo>
                  <a:lnTo>
                    <a:pt x="49365" y="106336"/>
                  </a:lnTo>
                  <a:lnTo>
                    <a:pt x="50552" y="105458"/>
                  </a:lnTo>
                  <a:lnTo>
                    <a:pt x="51628" y="103833"/>
                  </a:lnTo>
                  <a:lnTo>
                    <a:pt x="50411" y="102690"/>
                  </a:lnTo>
                  <a:lnTo>
                    <a:pt x="48834" y="102257"/>
                  </a:lnTo>
                  <a:lnTo>
                    <a:pt x="46360" y="102282"/>
                  </a:lnTo>
                  <a:lnTo>
                    <a:pt x="44052" y="102627"/>
                  </a:lnTo>
                  <a:lnTo>
                    <a:pt x="43466" y="101970"/>
                  </a:lnTo>
                  <a:lnTo>
                    <a:pt x="44874" y="100158"/>
                  </a:lnTo>
                  <a:lnTo>
                    <a:pt x="43678" y="99491"/>
                  </a:lnTo>
                  <a:lnTo>
                    <a:pt x="42082" y="99802"/>
                  </a:lnTo>
                  <a:lnTo>
                    <a:pt x="39767" y="100178"/>
                  </a:lnTo>
                  <a:lnTo>
                    <a:pt x="37553" y="99609"/>
                  </a:lnTo>
                  <a:lnTo>
                    <a:pt x="35460" y="97547"/>
                  </a:lnTo>
                  <a:lnTo>
                    <a:pt x="34073" y="97562"/>
                  </a:lnTo>
                  <a:lnTo>
                    <a:pt x="33120" y="97817"/>
                  </a:lnTo>
                  <a:lnTo>
                    <a:pt x="31706" y="97023"/>
                  </a:lnTo>
                  <a:lnTo>
                    <a:pt x="30218" y="96824"/>
                  </a:lnTo>
                  <a:lnTo>
                    <a:pt x="29156" y="97087"/>
                  </a:lnTo>
                  <a:lnTo>
                    <a:pt x="27744" y="95903"/>
                  </a:lnTo>
                  <a:lnTo>
                    <a:pt x="19051" y="93527"/>
                  </a:lnTo>
                  <a:lnTo>
                    <a:pt x="15297" y="93236"/>
                  </a:lnTo>
                  <a:lnTo>
                    <a:pt x="11854" y="94313"/>
                  </a:lnTo>
                  <a:lnTo>
                    <a:pt x="9959" y="93939"/>
                  </a:lnTo>
                  <a:lnTo>
                    <a:pt x="8566" y="92403"/>
                  </a:lnTo>
                  <a:lnTo>
                    <a:pt x="7397" y="89823"/>
                  </a:lnTo>
                  <a:lnTo>
                    <a:pt x="1851" y="87832"/>
                  </a:lnTo>
                  <a:lnTo>
                    <a:pt x="2948" y="86526"/>
                  </a:lnTo>
                  <a:lnTo>
                    <a:pt x="5530" y="86217"/>
                  </a:lnTo>
                  <a:lnTo>
                    <a:pt x="8506" y="85310"/>
                  </a:lnTo>
                  <a:lnTo>
                    <a:pt x="9576" y="84147"/>
                  </a:lnTo>
                  <a:lnTo>
                    <a:pt x="7250" y="82790"/>
                  </a:lnTo>
                  <a:lnTo>
                    <a:pt x="5535" y="82457"/>
                  </a:lnTo>
                  <a:lnTo>
                    <a:pt x="4824" y="81969"/>
                  </a:lnTo>
                  <a:lnTo>
                    <a:pt x="4099" y="80751"/>
                  </a:lnTo>
                  <a:lnTo>
                    <a:pt x="5127" y="80193"/>
                  </a:lnTo>
                  <a:lnTo>
                    <a:pt x="5851" y="80489"/>
                  </a:lnTo>
                  <a:lnTo>
                    <a:pt x="7942" y="80665"/>
                  </a:lnTo>
                  <a:lnTo>
                    <a:pt x="11523" y="80365"/>
                  </a:lnTo>
                  <a:lnTo>
                    <a:pt x="10188" y="79136"/>
                  </a:lnTo>
                  <a:lnTo>
                    <a:pt x="8803" y="78862"/>
                  </a:lnTo>
                  <a:lnTo>
                    <a:pt x="8167" y="78554"/>
                  </a:lnTo>
                  <a:lnTo>
                    <a:pt x="5256" y="78421"/>
                  </a:lnTo>
                  <a:lnTo>
                    <a:pt x="3931" y="78840"/>
                  </a:lnTo>
                  <a:lnTo>
                    <a:pt x="954" y="78681"/>
                  </a:lnTo>
                  <a:lnTo>
                    <a:pt x="309" y="77352"/>
                  </a:lnTo>
                  <a:lnTo>
                    <a:pt x="0" y="76212"/>
                  </a:lnTo>
                  <a:lnTo>
                    <a:pt x="923" y="73668"/>
                  </a:lnTo>
                  <a:lnTo>
                    <a:pt x="5115" y="71394"/>
                  </a:lnTo>
                  <a:lnTo>
                    <a:pt x="15558" y="68905"/>
                  </a:lnTo>
                  <a:lnTo>
                    <a:pt x="20052" y="69269"/>
                  </a:lnTo>
                  <a:lnTo>
                    <a:pt x="23167" y="68821"/>
                  </a:lnTo>
                  <a:lnTo>
                    <a:pt x="26900" y="67251"/>
                  </a:lnTo>
                  <a:lnTo>
                    <a:pt x="28547" y="65905"/>
                  </a:lnTo>
                  <a:lnTo>
                    <a:pt x="33855" y="65112"/>
                  </a:lnTo>
                  <a:lnTo>
                    <a:pt x="38901" y="66540"/>
                  </a:lnTo>
                  <a:lnTo>
                    <a:pt x="43553" y="71931"/>
                  </a:lnTo>
                  <a:lnTo>
                    <a:pt x="45776" y="73755"/>
                  </a:lnTo>
                  <a:lnTo>
                    <a:pt x="51219" y="70589"/>
                  </a:lnTo>
                  <a:lnTo>
                    <a:pt x="59328" y="70682"/>
                  </a:lnTo>
                  <a:lnTo>
                    <a:pt x="61003" y="72470"/>
                  </a:lnTo>
                  <a:lnTo>
                    <a:pt x="61679" y="70964"/>
                  </a:lnTo>
                  <a:lnTo>
                    <a:pt x="63170" y="69201"/>
                  </a:lnTo>
                  <a:lnTo>
                    <a:pt x="64359" y="70005"/>
                  </a:lnTo>
                  <a:lnTo>
                    <a:pt x="64961" y="71094"/>
                  </a:lnTo>
                  <a:lnTo>
                    <a:pt x="73520" y="70785"/>
                  </a:lnTo>
                  <a:lnTo>
                    <a:pt x="74872" y="70467"/>
                  </a:lnTo>
                  <a:lnTo>
                    <a:pt x="72573" y="69187"/>
                  </a:lnTo>
                  <a:lnTo>
                    <a:pt x="70693" y="66117"/>
                  </a:lnTo>
                  <a:lnTo>
                    <a:pt x="70303" y="54792"/>
                  </a:lnTo>
                  <a:lnTo>
                    <a:pt x="67932" y="51621"/>
                  </a:lnTo>
                  <a:lnTo>
                    <a:pt x="65210" y="46549"/>
                  </a:lnTo>
                  <a:lnTo>
                    <a:pt x="63958" y="43535"/>
                  </a:lnTo>
                  <a:lnTo>
                    <a:pt x="63840" y="42492"/>
                  </a:lnTo>
                  <a:lnTo>
                    <a:pt x="64259" y="40986"/>
                  </a:lnTo>
                  <a:lnTo>
                    <a:pt x="67605" y="41067"/>
                  </a:lnTo>
                  <a:lnTo>
                    <a:pt x="70190" y="41449"/>
                  </a:lnTo>
                  <a:lnTo>
                    <a:pt x="75110" y="40310"/>
                  </a:lnTo>
                  <a:lnTo>
                    <a:pt x="77478" y="41090"/>
                  </a:lnTo>
                  <a:lnTo>
                    <a:pt x="77338" y="43445"/>
                  </a:lnTo>
                  <a:lnTo>
                    <a:pt x="78061" y="46413"/>
                  </a:lnTo>
                  <a:lnTo>
                    <a:pt x="78886" y="47849"/>
                  </a:lnTo>
                  <a:lnTo>
                    <a:pt x="80134" y="49481"/>
                  </a:lnTo>
                  <a:lnTo>
                    <a:pt x="84100" y="49330"/>
                  </a:lnTo>
                  <a:lnTo>
                    <a:pt x="88382" y="50289"/>
                  </a:lnTo>
                  <a:lnTo>
                    <a:pt x="93791" y="50437"/>
                  </a:lnTo>
                  <a:lnTo>
                    <a:pt x="101694" y="52091"/>
                  </a:lnTo>
                  <a:lnTo>
                    <a:pt x="105062" y="51133"/>
                  </a:lnTo>
                  <a:lnTo>
                    <a:pt x="108319" y="49091"/>
                  </a:lnTo>
                  <a:lnTo>
                    <a:pt x="114527" y="47747"/>
                  </a:lnTo>
                  <a:lnTo>
                    <a:pt x="115022" y="47035"/>
                  </a:lnTo>
                  <a:lnTo>
                    <a:pt x="111448" y="47319"/>
                  </a:lnTo>
                  <a:lnTo>
                    <a:pt x="108170" y="46023"/>
                  </a:lnTo>
                  <a:lnTo>
                    <a:pt x="107728" y="44615"/>
                  </a:lnTo>
                  <a:lnTo>
                    <a:pt x="108107" y="43349"/>
                  </a:lnTo>
                  <a:lnTo>
                    <a:pt x="109438" y="40433"/>
                  </a:lnTo>
                  <a:lnTo>
                    <a:pt x="118935" y="35828"/>
                  </a:lnTo>
                  <a:lnTo>
                    <a:pt x="125743" y="34466"/>
                  </a:lnTo>
                  <a:lnTo>
                    <a:pt x="132850" y="31926"/>
                  </a:lnTo>
                  <a:lnTo>
                    <a:pt x="136426" y="29319"/>
                  </a:lnTo>
                  <a:lnTo>
                    <a:pt x="138788" y="25948"/>
                  </a:lnTo>
                  <a:lnTo>
                    <a:pt x="139548" y="25207"/>
                  </a:lnTo>
                  <a:lnTo>
                    <a:pt x="140529" y="24585"/>
                  </a:lnTo>
                  <a:lnTo>
                    <a:pt x="139617" y="23376"/>
                  </a:lnTo>
                  <a:lnTo>
                    <a:pt x="140235" y="10443"/>
                  </a:lnTo>
                  <a:lnTo>
                    <a:pt x="140900" y="8106"/>
                  </a:lnTo>
                  <a:lnTo>
                    <a:pt x="142286" y="6195"/>
                  </a:lnTo>
                  <a:lnTo>
                    <a:pt x="144396" y="4716"/>
                  </a:lnTo>
                  <a:lnTo>
                    <a:pt x="147598" y="3112"/>
                  </a:lnTo>
                  <a:lnTo>
                    <a:pt x="159389" y="895"/>
                  </a:lnTo>
                  <a:close/>
                </a:path>
              </a:pathLst>
            </a:custGeom>
            <a:solidFill>
              <a:srgbClr val="A3BA1E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49" name="ee4p_GB_1_82333">
              <a:extLst>
                <a:ext uri="{FF2B5EF4-FFF2-40B4-BE49-F238E27FC236}">
                  <a16:creationId xmlns:a16="http://schemas.microsoft.com/office/drawing/2014/main" id="{5DDFC835-D471-7294-988B-59797970E8FF}"/>
                </a:ext>
              </a:extLst>
            </p:cNvPr>
            <p:cNvSpPr>
              <a:spLocks noChangeAspect="1"/>
            </p:cNvSpPr>
            <p:nvPr>
              <p:custDataLst>
                <p:tags r:id="rId77"/>
              </p:custDataLst>
            </p:nvPr>
          </p:nvSpPr>
          <p:spPr>
            <a:xfrm>
              <a:off x="6288523" y="2683994"/>
              <a:ext cx="274678" cy="463939"/>
            </a:xfrm>
            <a:custGeom>
              <a:avLst/>
              <a:gdLst>
                <a:gd name="connsiteX0" fmla="*/ 130999 w 218720"/>
                <a:gd name="connsiteY0" fmla="*/ 356870 h 359632"/>
                <a:gd name="connsiteX1" fmla="*/ 134057 w 218720"/>
                <a:gd name="connsiteY1" fmla="*/ 357184 h 359632"/>
                <a:gd name="connsiteX2" fmla="*/ 135462 w 218720"/>
                <a:gd name="connsiteY2" fmla="*/ 357875 h 359632"/>
                <a:gd name="connsiteX3" fmla="*/ 135656 w 218720"/>
                <a:gd name="connsiteY3" fmla="*/ 359317 h 359632"/>
                <a:gd name="connsiteX4" fmla="*/ 134686 w 218720"/>
                <a:gd name="connsiteY4" fmla="*/ 359632 h 359632"/>
                <a:gd name="connsiteX5" fmla="*/ 133862 w 218720"/>
                <a:gd name="connsiteY5" fmla="*/ 359129 h 359632"/>
                <a:gd name="connsiteX6" fmla="*/ 132211 w 218720"/>
                <a:gd name="connsiteY6" fmla="*/ 359129 h 359632"/>
                <a:gd name="connsiteX7" fmla="*/ 130660 w 218720"/>
                <a:gd name="connsiteY7" fmla="*/ 359444 h 359632"/>
                <a:gd name="connsiteX8" fmla="*/ 123886 w 218720"/>
                <a:gd name="connsiteY8" fmla="*/ 349985 h 359632"/>
                <a:gd name="connsiteX9" fmla="*/ 124356 w 218720"/>
                <a:gd name="connsiteY9" fmla="*/ 349993 h 359632"/>
                <a:gd name="connsiteX10" fmla="*/ 124547 w 218720"/>
                <a:gd name="connsiteY10" fmla="*/ 350331 h 359632"/>
                <a:gd name="connsiteX11" fmla="*/ 123771 w 218720"/>
                <a:gd name="connsiteY11" fmla="*/ 352219 h 359632"/>
                <a:gd name="connsiteX12" fmla="*/ 121745 w 218720"/>
                <a:gd name="connsiteY12" fmla="*/ 351582 h 359632"/>
                <a:gd name="connsiteX13" fmla="*/ 121587 w 218720"/>
                <a:gd name="connsiteY13" fmla="*/ 351086 h 359632"/>
                <a:gd name="connsiteX14" fmla="*/ 151070 w 218720"/>
                <a:gd name="connsiteY14" fmla="*/ 313354 h 359632"/>
                <a:gd name="connsiteX15" fmla="*/ 154798 w 218720"/>
                <a:gd name="connsiteY15" fmla="*/ 314483 h 359632"/>
                <a:gd name="connsiteX16" fmla="*/ 156537 w 218720"/>
                <a:gd name="connsiteY16" fmla="*/ 315778 h 359632"/>
                <a:gd name="connsiteX17" fmla="*/ 154684 w 218720"/>
                <a:gd name="connsiteY17" fmla="*/ 316783 h 359632"/>
                <a:gd name="connsiteX18" fmla="*/ 154099 w 218720"/>
                <a:gd name="connsiteY18" fmla="*/ 317960 h 359632"/>
                <a:gd name="connsiteX19" fmla="*/ 153651 w 218720"/>
                <a:gd name="connsiteY19" fmla="*/ 318425 h 359632"/>
                <a:gd name="connsiteX20" fmla="*/ 152426 w 218720"/>
                <a:gd name="connsiteY20" fmla="*/ 318728 h 359632"/>
                <a:gd name="connsiteX21" fmla="*/ 151214 w 218720"/>
                <a:gd name="connsiteY21" fmla="*/ 318736 h 359632"/>
                <a:gd name="connsiteX22" fmla="*/ 146592 w 218720"/>
                <a:gd name="connsiteY22" fmla="*/ 316373 h 359632"/>
                <a:gd name="connsiteX23" fmla="*/ 145528 w 218720"/>
                <a:gd name="connsiteY23" fmla="*/ 316480 h 359632"/>
                <a:gd name="connsiteX24" fmla="*/ 146584 w 218720"/>
                <a:gd name="connsiteY24" fmla="*/ 315397 h 359632"/>
                <a:gd name="connsiteX25" fmla="*/ 149455 w 218720"/>
                <a:gd name="connsiteY25" fmla="*/ 314517 h 359632"/>
                <a:gd name="connsiteX26" fmla="*/ 81441 w 218720"/>
                <a:gd name="connsiteY26" fmla="*/ 235014 h 359632"/>
                <a:gd name="connsiteX27" fmla="*/ 84683 w 218720"/>
                <a:gd name="connsiteY27" fmla="*/ 235075 h 359632"/>
                <a:gd name="connsiteX28" fmla="*/ 87299 w 218720"/>
                <a:gd name="connsiteY28" fmla="*/ 237958 h 359632"/>
                <a:gd name="connsiteX29" fmla="*/ 88226 w 218720"/>
                <a:gd name="connsiteY29" fmla="*/ 238517 h 359632"/>
                <a:gd name="connsiteX30" fmla="*/ 90559 w 218720"/>
                <a:gd name="connsiteY30" fmla="*/ 238429 h 359632"/>
                <a:gd name="connsiteX31" fmla="*/ 89787 w 218720"/>
                <a:gd name="connsiteY31" fmla="*/ 239675 h 359632"/>
                <a:gd name="connsiteX32" fmla="*/ 87220 w 218720"/>
                <a:gd name="connsiteY32" fmla="*/ 241064 h 359632"/>
                <a:gd name="connsiteX33" fmla="*/ 85490 w 218720"/>
                <a:gd name="connsiteY33" fmla="*/ 242434 h 359632"/>
                <a:gd name="connsiteX34" fmla="*/ 83402 w 218720"/>
                <a:gd name="connsiteY34" fmla="*/ 243581 h 359632"/>
                <a:gd name="connsiteX35" fmla="*/ 82389 w 218720"/>
                <a:gd name="connsiteY35" fmla="*/ 242265 h 359632"/>
                <a:gd name="connsiteX36" fmla="*/ 81214 w 218720"/>
                <a:gd name="connsiteY36" fmla="*/ 242315 h 359632"/>
                <a:gd name="connsiteX37" fmla="*/ 79418 w 218720"/>
                <a:gd name="connsiteY37" fmla="*/ 239791 h 359632"/>
                <a:gd name="connsiteX38" fmla="*/ 79094 w 218720"/>
                <a:gd name="connsiteY38" fmla="*/ 236001 h 359632"/>
                <a:gd name="connsiteX39" fmla="*/ 82259 w 218720"/>
                <a:gd name="connsiteY39" fmla="*/ 205081 h 359632"/>
                <a:gd name="connsiteX40" fmla="*/ 82904 w 218720"/>
                <a:gd name="connsiteY40" fmla="*/ 205211 h 359632"/>
                <a:gd name="connsiteX41" fmla="*/ 83310 w 218720"/>
                <a:gd name="connsiteY41" fmla="*/ 205526 h 359632"/>
                <a:gd name="connsiteX42" fmla="*/ 84177 w 218720"/>
                <a:gd name="connsiteY42" fmla="*/ 209288 h 359632"/>
                <a:gd name="connsiteX43" fmla="*/ 82976 w 218720"/>
                <a:gd name="connsiteY43" fmla="*/ 210618 h 359632"/>
                <a:gd name="connsiteX44" fmla="*/ 82539 w 218720"/>
                <a:gd name="connsiteY44" fmla="*/ 211836 h 359632"/>
                <a:gd name="connsiteX45" fmla="*/ 78068 w 218720"/>
                <a:gd name="connsiteY45" fmla="*/ 215684 h 359632"/>
                <a:gd name="connsiteX46" fmla="*/ 76259 w 218720"/>
                <a:gd name="connsiteY46" fmla="*/ 214993 h 359632"/>
                <a:gd name="connsiteX47" fmla="*/ 74718 w 218720"/>
                <a:gd name="connsiteY47" fmla="*/ 215358 h 359632"/>
                <a:gd name="connsiteX48" fmla="*/ 74285 w 218720"/>
                <a:gd name="connsiteY48" fmla="*/ 215248 h 359632"/>
                <a:gd name="connsiteX49" fmla="*/ 75165 w 218720"/>
                <a:gd name="connsiteY49" fmla="*/ 213859 h 359632"/>
                <a:gd name="connsiteX50" fmla="*/ 76200 w 218720"/>
                <a:gd name="connsiteY50" fmla="*/ 210633 h 359632"/>
                <a:gd name="connsiteX51" fmla="*/ 78055 w 218720"/>
                <a:gd name="connsiteY51" fmla="*/ 209353 h 359632"/>
                <a:gd name="connsiteX52" fmla="*/ 80403 w 218720"/>
                <a:gd name="connsiteY52" fmla="*/ 206010 h 359632"/>
                <a:gd name="connsiteX53" fmla="*/ 39128 w 218720"/>
                <a:gd name="connsiteY53" fmla="*/ 179485 h 359632"/>
                <a:gd name="connsiteX54" fmla="*/ 42247 w 218720"/>
                <a:gd name="connsiteY54" fmla="*/ 180254 h 359632"/>
                <a:gd name="connsiteX55" fmla="*/ 44571 w 218720"/>
                <a:gd name="connsiteY55" fmla="*/ 180238 h 359632"/>
                <a:gd name="connsiteX56" fmla="*/ 46635 w 218720"/>
                <a:gd name="connsiteY56" fmla="*/ 182483 h 359632"/>
                <a:gd name="connsiteX57" fmla="*/ 47742 w 218720"/>
                <a:gd name="connsiteY57" fmla="*/ 186017 h 359632"/>
                <a:gd name="connsiteX58" fmla="*/ 50319 w 218720"/>
                <a:gd name="connsiteY58" fmla="*/ 189504 h 359632"/>
                <a:gd name="connsiteX59" fmla="*/ 53688 w 218720"/>
                <a:gd name="connsiteY59" fmla="*/ 192534 h 359632"/>
                <a:gd name="connsiteX60" fmla="*/ 53822 w 218720"/>
                <a:gd name="connsiteY60" fmla="*/ 194385 h 359632"/>
                <a:gd name="connsiteX61" fmla="*/ 52619 w 218720"/>
                <a:gd name="connsiteY61" fmla="*/ 195378 h 359632"/>
                <a:gd name="connsiteX62" fmla="*/ 50100 w 218720"/>
                <a:gd name="connsiteY62" fmla="*/ 196612 h 359632"/>
                <a:gd name="connsiteX63" fmla="*/ 50111 w 218720"/>
                <a:gd name="connsiteY63" fmla="*/ 197930 h 359632"/>
                <a:gd name="connsiteX64" fmla="*/ 51772 w 218720"/>
                <a:gd name="connsiteY64" fmla="*/ 197265 h 359632"/>
                <a:gd name="connsiteX65" fmla="*/ 53206 w 218720"/>
                <a:gd name="connsiteY65" fmla="*/ 196958 h 359632"/>
                <a:gd name="connsiteX66" fmla="*/ 56658 w 218720"/>
                <a:gd name="connsiteY66" fmla="*/ 197253 h 359632"/>
                <a:gd name="connsiteX67" fmla="*/ 57865 w 218720"/>
                <a:gd name="connsiteY67" fmla="*/ 198593 h 359632"/>
                <a:gd name="connsiteX68" fmla="*/ 58699 w 218720"/>
                <a:gd name="connsiteY68" fmla="*/ 200597 h 359632"/>
                <a:gd name="connsiteX69" fmla="*/ 59137 w 218720"/>
                <a:gd name="connsiteY69" fmla="*/ 202242 h 359632"/>
                <a:gd name="connsiteX70" fmla="*/ 58839 w 218720"/>
                <a:gd name="connsiteY70" fmla="*/ 204029 h 359632"/>
                <a:gd name="connsiteX71" fmla="*/ 57910 w 218720"/>
                <a:gd name="connsiteY71" fmla="*/ 203463 h 359632"/>
                <a:gd name="connsiteX72" fmla="*/ 56966 w 218720"/>
                <a:gd name="connsiteY72" fmla="*/ 201864 h 359632"/>
                <a:gd name="connsiteX73" fmla="*/ 55918 w 218720"/>
                <a:gd name="connsiteY73" fmla="*/ 201127 h 359632"/>
                <a:gd name="connsiteX74" fmla="*/ 54699 w 218720"/>
                <a:gd name="connsiteY74" fmla="*/ 200729 h 359632"/>
                <a:gd name="connsiteX75" fmla="*/ 55252 w 218720"/>
                <a:gd name="connsiteY75" fmla="*/ 202924 h 359632"/>
                <a:gd name="connsiteX76" fmla="*/ 55034 w 218720"/>
                <a:gd name="connsiteY76" fmla="*/ 205857 h 359632"/>
                <a:gd name="connsiteX77" fmla="*/ 55566 w 218720"/>
                <a:gd name="connsiteY77" fmla="*/ 206133 h 359632"/>
                <a:gd name="connsiteX78" fmla="*/ 57204 w 218720"/>
                <a:gd name="connsiteY78" fmla="*/ 206184 h 359632"/>
                <a:gd name="connsiteX79" fmla="*/ 56121 w 218720"/>
                <a:gd name="connsiteY79" fmla="*/ 209183 h 359632"/>
                <a:gd name="connsiteX80" fmla="*/ 53882 w 218720"/>
                <a:gd name="connsiteY80" fmla="*/ 209996 h 359632"/>
                <a:gd name="connsiteX81" fmla="*/ 51270 w 218720"/>
                <a:gd name="connsiteY81" fmla="*/ 210300 h 359632"/>
                <a:gd name="connsiteX82" fmla="*/ 50640 w 218720"/>
                <a:gd name="connsiteY82" fmla="*/ 211361 h 359632"/>
                <a:gd name="connsiteX83" fmla="*/ 50166 w 218720"/>
                <a:gd name="connsiteY83" fmla="*/ 212727 h 359632"/>
                <a:gd name="connsiteX84" fmla="*/ 48803 w 218720"/>
                <a:gd name="connsiteY84" fmla="*/ 214762 h 359632"/>
                <a:gd name="connsiteX85" fmla="*/ 47005 w 218720"/>
                <a:gd name="connsiteY85" fmla="*/ 215909 h 359632"/>
                <a:gd name="connsiteX86" fmla="*/ 44783 w 218720"/>
                <a:gd name="connsiteY86" fmla="*/ 215678 h 359632"/>
                <a:gd name="connsiteX87" fmla="*/ 42606 w 218720"/>
                <a:gd name="connsiteY87" fmla="*/ 214772 h 359632"/>
                <a:gd name="connsiteX88" fmla="*/ 40712 w 218720"/>
                <a:gd name="connsiteY88" fmla="*/ 214586 h 359632"/>
                <a:gd name="connsiteX89" fmla="*/ 39385 w 218720"/>
                <a:gd name="connsiteY89" fmla="*/ 215125 h 359632"/>
                <a:gd name="connsiteX90" fmla="*/ 38524 w 218720"/>
                <a:gd name="connsiteY90" fmla="*/ 215625 h 359632"/>
                <a:gd name="connsiteX91" fmla="*/ 37691 w 218720"/>
                <a:gd name="connsiteY91" fmla="*/ 215534 h 359632"/>
                <a:gd name="connsiteX92" fmla="*/ 35306 w 218720"/>
                <a:gd name="connsiteY92" fmla="*/ 215727 h 359632"/>
                <a:gd name="connsiteX93" fmla="*/ 33058 w 218720"/>
                <a:gd name="connsiteY93" fmla="*/ 215686 h 359632"/>
                <a:gd name="connsiteX94" fmla="*/ 32739 w 218720"/>
                <a:gd name="connsiteY94" fmla="*/ 214892 h 359632"/>
                <a:gd name="connsiteX95" fmla="*/ 33122 w 218720"/>
                <a:gd name="connsiteY95" fmla="*/ 212503 h 359632"/>
                <a:gd name="connsiteX96" fmla="*/ 32622 w 218720"/>
                <a:gd name="connsiteY96" fmla="*/ 211855 h 359632"/>
                <a:gd name="connsiteX97" fmla="*/ 30475 w 218720"/>
                <a:gd name="connsiteY97" fmla="*/ 211524 h 359632"/>
                <a:gd name="connsiteX98" fmla="*/ 29679 w 218720"/>
                <a:gd name="connsiteY98" fmla="*/ 210954 h 359632"/>
                <a:gd name="connsiteX99" fmla="*/ 28446 w 218720"/>
                <a:gd name="connsiteY99" fmla="*/ 209302 h 359632"/>
                <a:gd name="connsiteX100" fmla="*/ 28206 w 218720"/>
                <a:gd name="connsiteY100" fmla="*/ 208528 h 359632"/>
                <a:gd name="connsiteX101" fmla="*/ 28029 w 218720"/>
                <a:gd name="connsiteY101" fmla="*/ 207461 h 359632"/>
                <a:gd name="connsiteX102" fmla="*/ 26726 w 218720"/>
                <a:gd name="connsiteY102" fmla="*/ 206083 h 359632"/>
                <a:gd name="connsiteX103" fmla="*/ 25144 w 218720"/>
                <a:gd name="connsiteY103" fmla="*/ 205096 h 359632"/>
                <a:gd name="connsiteX104" fmla="*/ 24215 w 218720"/>
                <a:gd name="connsiteY104" fmla="*/ 205048 h 359632"/>
                <a:gd name="connsiteX105" fmla="*/ 22362 w 218720"/>
                <a:gd name="connsiteY105" fmla="*/ 206660 h 359632"/>
                <a:gd name="connsiteX106" fmla="*/ 20834 w 218720"/>
                <a:gd name="connsiteY106" fmla="*/ 208292 h 359632"/>
                <a:gd name="connsiteX107" fmla="*/ 21377 w 218720"/>
                <a:gd name="connsiteY107" fmla="*/ 209111 h 359632"/>
                <a:gd name="connsiteX108" fmla="*/ 21876 w 218720"/>
                <a:gd name="connsiteY108" fmla="*/ 210189 h 359632"/>
                <a:gd name="connsiteX109" fmla="*/ 21045 w 218720"/>
                <a:gd name="connsiteY109" fmla="*/ 210961 h 359632"/>
                <a:gd name="connsiteX110" fmla="*/ 18532 w 218720"/>
                <a:gd name="connsiteY110" fmla="*/ 212728 h 359632"/>
                <a:gd name="connsiteX111" fmla="*/ 18139 w 218720"/>
                <a:gd name="connsiteY111" fmla="*/ 213414 h 359632"/>
                <a:gd name="connsiteX112" fmla="*/ 17461 w 218720"/>
                <a:gd name="connsiteY112" fmla="*/ 213785 h 359632"/>
                <a:gd name="connsiteX113" fmla="*/ 16261 w 218720"/>
                <a:gd name="connsiteY113" fmla="*/ 213296 h 359632"/>
                <a:gd name="connsiteX114" fmla="*/ 13276 w 218720"/>
                <a:gd name="connsiteY114" fmla="*/ 213409 h 359632"/>
                <a:gd name="connsiteX115" fmla="*/ 11902 w 218720"/>
                <a:gd name="connsiteY115" fmla="*/ 213097 h 359632"/>
                <a:gd name="connsiteX116" fmla="*/ 10305 w 218720"/>
                <a:gd name="connsiteY116" fmla="*/ 211796 h 359632"/>
                <a:gd name="connsiteX117" fmla="*/ 6410 w 218720"/>
                <a:gd name="connsiteY117" fmla="*/ 210925 h 359632"/>
                <a:gd name="connsiteX118" fmla="*/ 5757 w 218720"/>
                <a:gd name="connsiteY118" fmla="*/ 208841 h 359632"/>
                <a:gd name="connsiteX119" fmla="*/ 5005 w 218720"/>
                <a:gd name="connsiteY119" fmla="*/ 208451 h 359632"/>
                <a:gd name="connsiteX120" fmla="*/ 587 w 218720"/>
                <a:gd name="connsiteY120" fmla="*/ 204865 h 359632"/>
                <a:gd name="connsiteX121" fmla="*/ 0 w 218720"/>
                <a:gd name="connsiteY121" fmla="*/ 203667 h 359632"/>
                <a:gd name="connsiteX122" fmla="*/ 572 w 218720"/>
                <a:gd name="connsiteY122" fmla="*/ 202952 h 359632"/>
                <a:gd name="connsiteX123" fmla="*/ 2222 w 218720"/>
                <a:gd name="connsiteY123" fmla="*/ 201868 h 359632"/>
                <a:gd name="connsiteX124" fmla="*/ 7762 w 218720"/>
                <a:gd name="connsiteY124" fmla="*/ 200072 h 359632"/>
                <a:gd name="connsiteX125" fmla="*/ 8633 w 218720"/>
                <a:gd name="connsiteY125" fmla="*/ 199348 h 359632"/>
                <a:gd name="connsiteX126" fmla="*/ 8812 w 218720"/>
                <a:gd name="connsiteY126" fmla="*/ 198709 h 359632"/>
                <a:gd name="connsiteX127" fmla="*/ 7186 w 218720"/>
                <a:gd name="connsiteY127" fmla="*/ 197979 h 359632"/>
                <a:gd name="connsiteX128" fmla="*/ 5720 w 218720"/>
                <a:gd name="connsiteY128" fmla="*/ 197172 h 359632"/>
                <a:gd name="connsiteX129" fmla="*/ 5220 w 218720"/>
                <a:gd name="connsiteY129" fmla="*/ 196643 h 359632"/>
                <a:gd name="connsiteX130" fmla="*/ 5179 w 218720"/>
                <a:gd name="connsiteY130" fmla="*/ 196184 h 359632"/>
                <a:gd name="connsiteX131" fmla="*/ 6011 w 218720"/>
                <a:gd name="connsiteY131" fmla="*/ 195586 h 359632"/>
                <a:gd name="connsiteX132" fmla="*/ 7685 w 218720"/>
                <a:gd name="connsiteY132" fmla="*/ 195543 h 359632"/>
                <a:gd name="connsiteX133" fmla="*/ 9007 w 218720"/>
                <a:gd name="connsiteY133" fmla="*/ 195813 h 359632"/>
                <a:gd name="connsiteX134" fmla="*/ 10057 w 218720"/>
                <a:gd name="connsiteY134" fmla="*/ 195275 h 359632"/>
                <a:gd name="connsiteX135" fmla="*/ 11904 w 218720"/>
                <a:gd name="connsiteY135" fmla="*/ 194734 h 359632"/>
                <a:gd name="connsiteX136" fmla="*/ 13144 w 218720"/>
                <a:gd name="connsiteY136" fmla="*/ 194052 h 359632"/>
                <a:gd name="connsiteX137" fmla="*/ 14210 w 218720"/>
                <a:gd name="connsiteY137" fmla="*/ 192290 h 359632"/>
                <a:gd name="connsiteX138" fmla="*/ 15336 w 218720"/>
                <a:gd name="connsiteY138" fmla="*/ 190705 h 359632"/>
                <a:gd name="connsiteX139" fmla="*/ 15452 w 218720"/>
                <a:gd name="connsiteY139" fmla="*/ 189845 h 359632"/>
                <a:gd name="connsiteX140" fmla="*/ 16438 w 218720"/>
                <a:gd name="connsiteY140" fmla="*/ 186828 h 359632"/>
                <a:gd name="connsiteX141" fmla="*/ 16980 w 218720"/>
                <a:gd name="connsiteY141" fmla="*/ 186079 h 359632"/>
                <a:gd name="connsiteX142" fmla="*/ 20479 w 218720"/>
                <a:gd name="connsiteY142" fmla="*/ 184101 h 359632"/>
                <a:gd name="connsiteX143" fmla="*/ 21365 w 218720"/>
                <a:gd name="connsiteY143" fmla="*/ 185181 h 359632"/>
                <a:gd name="connsiteX144" fmla="*/ 23089 w 218720"/>
                <a:gd name="connsiteY144" fmla="*/ 185445 h 359632"/>
                <a:gd name="connsiteX145" fmla="*/ 24634 w 218720"/>
                <a:gd name="connsiteY145" fmla="*/ 184451 h 359632"/>
                <a:gd name="connsiteX146" fmla="*/ 26483 w 218720"/>
                <a:gd name="connsiteY146" fmla="*/ 181313 h 359632"/>
                <a:gd name="connsiteX147" fmla="*/ 27769 w 218720"/>
                <a:gd name="connsiteY147" fmla="*/ 181116 h 359632"/>
                <a:gd name="connsiteX148" fmla="*/ 29187 w 218720"/>
                <a:gd name="connsiteY148" fmla="*/ 181370 h 359632"/>
                <a:gd name="connsiteX149" fmla="*/ 31974 w 218720"/>
                <a:gd name="connsiteY149" fmla="*/ 180975 h 359632"/>
                <a:gd name="connsiteX150" fmla="*/ 36922 w 218720"/>
                <a:gd name="connsiteY150" fmla="*/ 179509 h 359632"/>
                <a:gd name="connsiteX151" fmla="*/ 63975 w 218720"/>
                <a:gd name="connsiteY151" fmla="*/ 164784 h 359632"/>
                <a:gd name="connsiteX152" fmla="*/ 65438 w 218720"/>
                <a:gd name="connsiteY152" fmla="*/ 165590 h 359632"/>
                <a:gd name="connsiteX153" fmla="*/ 65992 w 218720"/>
                <a:gd name="connsiteY153" fmla="*/ 166340 h 359632"/>
                <a:gd name="connsiteX154" fmla="*/ 67217 w 218720"/>
                <a:gd name="connsiteY154" fmla="*/ 169218 h 359632"/>
                <a:gd name="connsiteX155" fmla="*/ 67444 w 218720"/>
                <a:gd name="connsiteY155" fmla="*/ 171683 h 359632"/>
                <a:gd name="connsiteX156" fmla="*/ 67207 w 218720"/>
                <a:gd name="connsiteY156" fmla="*/ 173091 h 359632"/>
                <a:gd name="connsiteX157" fmla="*/ 64420 w 218720"/>
                <a:gd name="connsiteY157" fmla="*/ 173114 h 359632"/>
                <a:gd name="connsiteX158" fmla="*/ 63412 w 218720"/>
                <a:gd name="connsiteY158" fmla="*/ 172847 h 359632"/>
                <a:gd name="connsiteX159" fmla="*/ 62208 w 218720"/>
                <a:gd name="connsiteY159" fmla="*/ 172095 h 359632"/>
                <a:gd name="connsiteX160" fmla="*/ 60856 w 218720"/>
                <a:gd name="connsiteY160" fmla="*/ 167842 h 359632"/>
                <a:gd name="connsiteX161" fmla="*/ 61339 w 218720"/>
                <a:gd name="connsiteY161" fmla="*/ 166336 h 359632"/>
                <a:gd name="connsiteX162" fmla="*/ 61894 w 218720"/>
                <a:gd name="connsiteY162" fmla="*/ 165598 h 359632"/>
                <a:gd name="connsiteX163" fmla="*/ 62504 w 218720"/>
                <a:gd name="connsiteY163" fmla="*/ 165025 h 359632"/>
                <a:gd name="connsiteX164" fmla="*/ 44576 w 218720"/>
                <a:gd name="connsiteY164" fmla="*/ 158143 h 359632"/>
                <a:gd name="connsiteX165" fmla="*/ 45374 w 218720"/>
                <a:gd name="connsiteY165" fmla="*/ 162138 h 359632"/>
                <a:gd name="connsiteX166" fmla="*/ 46152 w 218720"/>
                <a:gd name="connsiteY166" fmla="*/ 164611 h 359632"/>
                <a:gd name="connsiteX167" fmla="*/ 46203 w 218720"/>
                <a:gd name="connsiteY167" fmla="*/ 165455 h 359632"/>
                <a:gd name="connsiteX168" fmla="*/ 45472 w 218720"/>
                <a:gd name="connsiteY168" fmla="*/ 166628 h 359632"/>
                <a:gd name="connsiteX169" fmla="*/ 41828 w 218720"/>
                <a:gd name="connsiteY169" fmla="*/ 168187 h 359632"/>
                <a:gd name="connsiteX170" fmla="*/ 40681 w 218720"/>
                <a:gd name="connsiteY170" fmla="*/ 168196 h 359632"/>
                <a:gd name="connsiteX171" fmla="*/ 40633 w 218720"/>
                <a:gd name="connsiteY171" fmla="*/ 167818 h 359632"/>
                <a:gd name="connsiteX172" fmla="*/ 41456 w 218720"/>
                <a:gd name="connsiteY172" fmla="*/ 166231 h 359632"/>
                <a:gd name="connsiteX173" fmla="*/ 40747 w 218720"/>
                <a:gd name="connsiteY173" fmla="*/ 164429 h 359632"/>
                <a:gd name="connsiteX174" fmla="*/ 41093 w 218720"/>
                <a:gd name="connsiteY174" fmla="*/ 163059 h 359632"/>
                <a:gd name="connsiteX175" fmla="*/ 40754 w 218720"/>
                <a:gd name="connsiteY175" fmla="*/ 162807 h 359632"/>
                <a:gd name="connsiteX176" fmla="*/ 40043 w 218720"/>
                <a:gd name="connsiteY176" fmla="*/ 163001 h 359632"/>
                <a:gd name="connsiteX177" fmla="*/ 37433 w 218720"/>
                <a:gd name="connsiteY177" fmla="*/ 165178 h 359632"/>
                <a:gd name="connsiteX178" fmla="*/ 36561 w 218720"/>
                <a:gd name="connsiteY178" fmla="*/ 165393 h 359632"/>
                <a:gd name="connsiteX179" fmla="*/ 36466 w 218720"/>
                <a:gd name="connsiteY179" fmla="*/ 164951 h 359632"/>
                <a:gd name="connsiteX180" fmla="*/ 37112 w 218720"/>
                <a:gd name="connsiteY180" fmla="*/ 163168 h 359632"/>
                <a:gd name="connsiteX181" fmla="*/ 37192 w 218720"/>
                <a:gd name="connsiteY181" fmla="*/ 161948 h 359632"/>
                <a:gd name="connsiteX182" fmla="*/ 37581 w 218720"/>
                <a:gd name="connsiteY182" fmla="*/ 161198 h 359632"/>
                <a:gd name="connsiteX183" fmla="*/ 38290 w 218720"/>
                <a:gd name="connsiteY183" fmla="*/ 160506 h 359632"/>
                <a:gd name="connsiteX184" fmla="*/ 39135 w 218720"/>
                <a:gd name="connsiteY184" fmla="*/ 159986 h 359632"/>
                <a:gd name="connsiteX185" fmla="*/ 39817 w 218720"/>
                <a:gd name="connsiteY185" fmla="*/ 159912 h 359632"/>
                <a:gd name="connsiteX186" fmla="*/ 40543 w 218720"/>
                <a:gd name="connsiteY186" fmla="*/ 160448 h 359632"/>
                <a:gd name="connsiteX187" fmla="*/ 42657 w 218720"/>
                <a:gd name="connsiteY187" fmla="*/ 158952 h 359632"/>
                <a:gd name="connsiteX188" fmla="*/ 52683 w 218720"/>
                <a:gd name="connsiteY188" fmla="*/ 152228 h 359632"/>
                <a:gd name="connsiteX189" fmla="*/ 53504 w 218720"/>
                <a:gd name="connsiteY189" fmla="*/ 152283 h 359632"/>
                <a:gd name="connsiteX190" fmla="*/ 51910 w 218720"/>
                <a:gd name="connsiteY190" fmla="*/ 155806 h 359632"/>
                <a:gd name="connsiteX191" fmla="*/ 48088 w 218720"/>
                <a:gd name="connsiteY191" fmla="*/ 161752 h 359632"/>
                <a:gd name="connsiteX192" fmla="*/ 47627 w 218720"/>
                <a:gd name="connsiteY192" fmla="*/ 162086 h 359632"/>
                <a:gd name="connsiteX193" fmla="*/ 46507 w 218720"/>
                <a:gd name="connsiteY193" fmla="*/ 161994 h 359632"/>
                <a:gd name="connsiteX194" fmla="*/ 46092 w 218720"/>
                <a:gd name="connsiteY194" fmla="*/ 161493 h 359632"/>
                <a:gd name="connsiteX195" fmla="*/ 45863 w 218720"/>
                <a:gd name="connsiteY195" fmla="*/ 160723 h 359632"/>
                <a:gd name="connsiteX196" fmla="*/ 45835 w 218720"/>
                <a:gd name="connsiteY196" fmla="*/ 159309 h 359632"/>
                <a:gd name="connsiteX197" fmla="*/ 46513 w 218720"/>
                <a:gd name="connsiteY197" fmla="*/ 158297 h 359632"/>
                <a:gd name="connsiteX198" fmla="*/ 49377 w 218720"/>
                <a:gd name="connsiteY198" fmla="*/ 156767 h 359632"/>
                <a:gd name="connsiteX199" fmla="*/ 48083 w 218720"/>
                <a:gd name="connsiteY199" fmla="*/ 156224 h 359632"/>
                <a:gd name="connsiteX200" fmla="*/ 48031 w 218720"/>
                <a:gd name="connsiteY200" fmla="*/ 155842 h 359632"/>
                <a:gd name="connsiteX201" fmla="*/ 48774 w 218720"/>
                <a:gd name="connsiteY201" fmla="*/ 154570 h 359632"/>
                <a:gd name="connsiteX202" fmla="*/ 51857 w 218720"/>
                <a:gd name="connsiteY202" fmla="*/ 152588 h 359632"/>
                <a:gd name="connsiteX203" fmla="*/ 44369 w 218720"/>
                <a:gd name="connsiteY203" fmla="*/ 135637 h 359632"/>
                <a:gd name="connsiteX204" fmla="*/ 45155 w 218720"/>
                <a:gd name="connsiteY204" fmla="*/ 135769 h 359632"/>
                <a:gd name="connsiteX205" fmla="*/ 46772 w 218720"/>
                <a:gd name="connsiteY205" fmla="*/ 136896 h 359632"/>
                <a:gd name="connsiteX206" fmla="*/ 48605 w 218720"/>
                <a:gd name="connsiteY206" fmla="*/ 139261 h 359632"/>
                <a:gd name="connsiteX207" fmla="*/ 51052 w 218720"/>
                <a:gd name="connsiteY207" fmla="*/ 139637 h 359632"/>
                <a:gd name="connsiteX208" fmla="*/ 52715 w 218720"/>
                <a:gd name="connsiteY208" fmla="*/ 140638 h 359632"/>
                <a:gd name="connsiteX209" fmla="*/ 52338 w 218720"/>
                <a:gd name="connsiteY209" fmla="*/ 145224 h 359632"/>
                <a:gd name="connsiteX210" fmla="*/ 43531 w 218720"/>
                <a:gd name="connsiteY210" fmla="*/ 146965 h 359632"/>
                <a:gd name="connsiteX211" fmla="*/ 40496 w 218720"/>
                <a:gd name="connsiteY211" fmla="*/ 146811 h 359632"/>
                <a:gd name="connsiteX212" fmla="*/ 40222 w 218720"/>
                <a:gd name="connsiteY212" fmla="*/ 145957 h 359632"/>
                <a:gd name="connsiteX213" fmla="*/ 40826 w 218720"/>
                <a:gd name="connsiteY213" fmla="*/ 145386 h 359632"/>
                <a:gd name="connsiteX214" fmla="*/ 43339 w 218720"/>
                <a:gd name="connsiteY214" fmla="*/ 144831 h 359632"/>
                <a:gd name="connsiteX215" fmla="*/ 44356 w 218720"/>
                <a:gd name="connsiteY215" fmla="*/ 140639 h 359632"/>
                <a:gd name="connsiteX216" fmla="*/ 40557 w 218720"/>
                <a:gd name="connsiteY216" fmla="*/ 138708 h 359632"/>
                <a:gd name="connsiteX217" fmla="*/ 40358 w 218720"/>
                <a:gd name="connsiteY217" fmla="*/ 138165 h 359632"/>
                <a:gd name="connsiteX218" fmla="*/ 40655 w 218720"/>
                <a:gd name="connsiteY218" fmla="*/ 137243 h 359632"/>
                <a:gd name="connsiteX219" fmla="*/ 41095 w 218720"/>
                <a:gd name="connsiteY219" fmla="*/ 136832 h 359632"/>
                <a:gd name="connsiteX220" fmla="*/ 43400 w 218720"/>
                <a:gd name="connsiteY220" fmla="*/ 135854 h 359632"/>
                <a:gd name="connsiteX221" fmla="*/ 36236 w 218720"/>
                <a:gd name="connsiteY221" fmla="*/ 134929 h 359632"/>
                <a:gd name="connsiteX222" fmla="*/ 36731 w 218720"/>
                <a:gd name="connsiteY222" fmla="*/ 135137 h 359632"/>
                <a:gd name="connsiteX223" fmla="*/ 35705 w 218720"/>
                <a:gd name="connsiteY223" fmla="*/ 136368 h 359632"/>
                <a:gd name="connsiteX224" fmla="*/ 33991 w 218720"/>
                <a:gd name="connsiteY224" fmla="*/ 137675 h 359632"/>
                <a:gd name="connsiteX225" fmla="*/ 32734 w 218720"/>
                <a:gd name="connsiteY225" fmla="*/ 137850 h 359632"/>
                <a:gd name="connsiteX226" fmla="*/ 32643 w 218720"/>
                <a:gd name="connsiteY226" fmla="*/ 137405 h 359632"/>
                <a:gd name="connsiteX227" fmla="*/ 34824 w 218720"/>
                <a:gd name="connsiteY227" fmla="*/ 135279 h 359632"/>
                <a:gd name="connsiteX228" fmla="*/ 15243 w 218720"/>
                <a:gd name="connsiteY228" fmla="*/ 124000 h 359632"/>
                <a:gd name="connsiteX229" fmla="*/ 16322 w 218720"/>
                <a:gd name="connsiteY229" fmla="*/ 124589 h 359632"/>
                <a:gd name="connsiteX230" fmla="*/ 16493 w 218720"/>
                <a:gd name="connsiteY230" fmla="*/ 125125 h 359632"/>
                <a:gd name="connsiteX231" fmla="*/ 16096 w 218720"/>
                <a:gd name="connsiteY231" fmla="*/ 125691 h 359632"/>
                <a:gd name="connsiteX232" fmla="*/ 14152 w 218720"/>
                <a:gd name="connsiteY232" fmla="*/ 126126 h 359632"/>
                <a:gd name="connsiteX233" fmla="*/ 13431 w 218720"/>
                <a:gd name="connsiteY233" fmla="*/ 125871 h 359632"/>
                <a:gd name="connsiteX234" fmla="*/ 13308 w 218720"/>
                <a:gd name="connsiteY234" fmla="*/ 125472 h 359632"/>
                <a:gd name="connsiteX235" fmla="*/ 13751 w 218720"/>
                <a:gd name="connsiteY235" fmla="*/ 124384 h 359632"/>
                <a:gd name="connsiteX236" fmla="*/ 40298 w 218720"/>
                <a:gd name="connsiteY236" fmla="*/ 123001 h 359632"/>
                <a:gd name="connsiteX237" fmla="*/ 41274 w 218720"/>
                <a:gd name="connsiteY237" fmla="*/ 123606 h 359632"/>
                <a:gd name="connsiteX238" fmla="*/ 41649 w 218720"/>
                <a:gd name="connsiteY238" fmla="*/ 124298 h 359632"/>
                <a:gd name="connsiteX239" fmla="*/ 41665 w 218720"/>
                <a:gd name="connsiteY239" fmla="*/ 125065 h 359632"/>
                <a:gd name="connsiteX240" fmla="*/ 41256 w 218720"/>
                <a:gd name="connsiteY240" fmla="*/ 125714 h 359632"/>
                <a:gd name="connsiteX241" fmla="*/ 40600 w 218720"/>
                <a:gd name="connsiteY241" fmla="*/ 126121 h 359632"/>
                <a:gd name="connsiteX242" fmla="*/ 39770 w 218720"/>
                <a:gd name="connsiteY242" fmla="*/ 126043 h 359632"/>
                <a:gd name="connsiteX243" fmla="*/ 38948 w 218720"/>
                <a:gd name="connsiteY243" fmla="*/ 125518 h 359632"/>
                <a:gd name="connsiteX244" fmla="*/ 37860 w 218720"/>
                <a:gd name="connsiteY244" fmla="*/ 124032 h 359632"/>
                <a:gd name="connsiteX245" fmla="*/ 18761 w 218720"/>
                <a:gd name="connsiteY245" fmla="*/ 112439 h 359632"/>
                <a:gd name="connsiteX246" fmla="*/ 19407 w 218720"/>
                <a:gd name="connsiteY246" fmla="*/ 112818 h 359632"/>
                <a:gd name="connsiteX247" fmla="*/ 19840 w 218720"/>
                <a:gd name="connsiteY247" fmla="*/ 120602 h 359632"/>
                <a:gd name="connsiteX248" fmla="*/ 19790 w 218720"/>
                <a:gd name="connsiteY248" fmla="*/ 120951 h 359632"/>
                <a:gd name="connsiteX249" fmla="*/ 18857 w 218720"/>
                <a:gd name="connsiteY249" fmla="*/ 121127 h 359632"/>
                <a:gd name="connsiteX250" fmla="*/ 17632 w 218720"/>
                <a:gd name="connsiteY250" fmla="*/ 120957 h 359632"/>
                <a:gd name="connsiteX251" fmla="*/ 16879 w 218720"/>
                <a:gd name="connsiteY251" fmla="*/ 120465 h 359632"/>
                <a:gd name="connsiteX252" fmla="*/ 16117 w 218720"/>
                <a:gd name="connsiteY252" fmla="*/ 118518 h 359632"/>
                <a:gd name="connsiteX253" fmla="*/ 15975 w 218720"/>
                <a:gd name="connsiteY253" fmla="*/ 117339 h 359632"/>
                <a:gd name="connsiteX254" fmla="*/ 16314 w 218720"/>
                <a:gd name="connsiteY254" fmla="*/ 115145 h 359632"/>
                <a:gd name="connsiteX255" fmla="*/ 16236 w 218720"/>
                <a:gd name="connsiteY255" fmla="*/ 112521 h 359632"/>
                <a:gd name="connsiteX256" fmla="*/ 40661 w 218720"/>
                <a:gd name="connsiteY256" fmla="*/ 103259 h 359632"/>
                <a:gd name="connsiteX257" fmla="*/ 41966 w 218720"/>
                <a:gd name="connsiteY257" fmla="*/ 103921 h 359632"/>
                <a:gd name="connsiteX258" fmla="*/ 43754 w 218720"/>
                <a:gd name="connsiteY258" fmla="*/ 106023 h 359632"/>
                <a:gd name="connsiteX259" fmla="*/ 44226 w 218720"/>
                <a:gd name="connsiteY259" fmla="*/ 108582 h 359632"/>
                <a:gd name="connsiteX260" fmla="*/ 44195 w 218720"/>
                <a:gd name="connsiteY260" fmla="*/ 109988 h 359632"/>
                <a:gd name="connsiteX261" fmla="*/ 43805 w 218720"/>
                <a:gd name="connsiteY261" fmla="*/ 111640 h 359632"/>
                <a:gd name="connsiteX262" fmla="*/ 44313 w 218720"/>
                <a:gd name="connsiteY262" fmla="*/ 113393 h 359632"/>
                <a:gd name="connsiteX263" fmla="*/ 44429 w 218720"/>
                <a:gd name="connsiteY263" fmla="*/ 114645 h 359632"/>
                <a:gd name="connsiteX264" fmla="*/ 45361 w 218720"/>
                <a:gd name="connsiteY264" fmla="*/ 115043 h 359632"/>
                <a:gd name="connsiteX265" fmla="*/ 45931 w 218720"/>
                <a:gd name="connsiteY265" fmla="*/ 115619 h 359632"/>
                <a:gd name="connsiteX266" fmla="*/ 50074 w 218720"/>
                <a:gd name="connsiteY266" fmla="*/ 116264 h 359632"/>
                <a:gd name="connsiteX267" fmla="*/ 53927 w 218720"/>
                <a:gd name="connsiteY267" fmla="*/ 116083 h 359632"/>
                <a:gd name="connsiteX268" fmla="*/ 54669 w 218720"/>
                <a:gd name="connsiteY268" fmla="*/ 116598 h 359632"/>
                <a:gd name="connsiteX269" fmla="*/ 54753 w 218720"/>
                <a:gd name="connsiteY269" fmla="*/ 117416 h 359632"/>
                <a:gd name="connsiteX270" fmla="*/ 54144 w 218720"/>
                <a:gd name="connsiteY270" fmla="*/ 118318 h 359632"/>
                <a:gd name="connsiteX271" fmla="*/ 51950 w 218720"/>
                <a:gd name="connsiteY271" fmla="*/ 119963 h 359632"/>
                <a:gd name="connsiteX272" fmla="*/ 49333 w 218720"/>
                <a:gd name="connsiteY272" fmla="*/ 122618 h 359632"/>
                <a:gd name="connsiteX273" fmla="*/ 48553 w 218720"/>
                <a:gd name="connsiteY273" fmla="*/ 123171 h 359632"/>
                <a:gd name="connsiteX274" fmla="*/ 47707 w 218720"/>
                <a:gd name="connsiteY274" fmla="*/ 123194 h 359632"/>
                <a:gd name="connsiteX275" fmla="*/ 47100 w 218720"/>
                <a:gd name="connsiteY275" fmla="*/ 122956 h 359632"/>
                <a:gd name="connsiteX276" fmla="*/ 46666 w 218720"/>
                <a:gd name="connsiteY276" fmla="*/ 118230 h 359632"/>
                <a:gd name="connsiteX277" fmla="*/ 43828 w 218720"/>
                <a:gd name="connsiteY277" fmla="*/ 118835 h 359632"/>
                <a:gd name="connsiteX278" fmla="*/ 41542 w 218720"/>
                <a:gd name="connsiteY278" fmla="*/ 118766 h 359632"/>
                <a:gd name="connsiteX279" fmla="*/ 40291 w 218720"/>
                <a:gd name="connsiteY279" fmla="*/ 118190 h 359632"/>
                <a:gd name="connsiteX280" fmla="*/ 39413 w 218720"/>
                <a:gd name="connsiteY280" fmla="*/ 117080 h 359632"/>
                <a:gd name="connsiteX281" fmla="*/ 37643 w 218720"/>
                <a:gd name="connsiteY281" fmla="*/ 114224 h 359632"/>
                <a:gd name="connsiteX282" fmla="*/ 32491 w 218720"/>
                <a:gd name="connsiteY282" fmla="*/ 113100 h 359632"/>
                <a:gd name="connsiteX283" fmla="*/ 31034 w 218720"/>
                <a:gd name="connsiteY283" fmla="*/ 111525 h 359632"/>
                <a:gd name="connsiteX284" fmla="*/ 30596 w 218720"/>
                <a:gd name="connsiteY284" fmla="*/ 110573 h 359632"/>
                <a:gd name="connsiteX285" fmla="*/ 30782 w 218720"/>
                <a:gd name="connsiteY285" fmla="*/ 110047 h 359632"/>
                <a:gd name="connsiteX286" fmla="*/ 31855 w 218720"/>
                <a:gd name="connsiteY286" fmla="*/ 108875 h 359632"/>
                <a:gd name="connsiteX287" fmla="*/ 33198 w 218720"/>
                <a:gd name="connsiteY287" fmla="*/ 109293 h 359632"/>
                <a:gd name="connsiteX288" fmla="*/ 34029 w 218720"/>
                <a:gd name="connsiteY288" fmla="*/ 109037 h 359632"/>
                <a:gd name="connsiteX289" fmla="*/ 34535 w 218720"/>
                <a:gd name="connsiteY289" fmla="*/ 108513 h 359632"/>
                <a:gd name="connsiteX290" fmla="*/ 34524 w 218720"/>
                <a:gd name="connsiteY290" fmla="*/ 108083 h 359632"/>
                <a:gd name="connsiteX291" fmla="*/ 33821 w 218720"/>
                <a:gd name="connsiteY291" fmla="*/ 107061 h 359632"/>
                <a:gd name="connsiteX292" fmla="*/ 33788 w 218720"/>
                <a:gd name="connsiteY292" fmla="*/ 106743 h 359632"/>
                <a:gd name="connsiteX293" fmla="*/ 39057 w 218720"/>
                <a:gd name="connsiteY293" fmla="*/ 105449 h 359632"/>
                <a:gd name="connsiteX294" fmla="*/ 39517 w 218720"/>
                <a:gd name="connsiteY294" fmla="*/ 103424 h 359632"/>
                <a:gd name="connsiteX295" fmla="*/ 20769 w 218720"/>
                <a:gd name="connsiteY295" fmla="*/ 102908 h 359632"/>
                <a:gd name="connsiteX296" fmla="*/ 23263 w 218720"/>
                <a:gd name="connsiteY296" fmla="*/ 104705 h 359632"/>
                <a:gd name="connsiteX297" fmla="*/ 21276 w 218720"/>
                <a:gd name="connsiteY297" fmla="*/ 107680 h 359632"/>
                <a:gd name="connsiteX298" fmla="*/ 18226 w 218720"/>
                <a:gd name="connsiteY298" fmla="*/ 107666 h 359632"/>
                <a:gd name="connsiteX299" fmla="*/ 13932 w 218720"/>
                <a:gd name="connsiteY299" fmla="*/ 105492 h 359632"/>
                <a:gd name="connsiteX300" fmla="*/ 13913 w 218720"/>
                <a:gd name="connsiteY300" fmla="*/ 105049 h 359632"/>
                <a:gd name="connsiteX301" fmla="*/ 14271 w 218720"/>
                <a:gd name="connsiteY301" fmla="*/ 104396 h 359632"/>
                <a:gd name="connsiteX302" fmla="*/ 14915 w 218720"/>
                <a:gd name="connsiteY302" fmla="*/ 103879 h 359632"/>
                <a:gd name="connsiteX303" fmla="*/ 15584 w 218720"/>
                <a:gd name="connsiteY303" fmla="*/ 103756 h 359632"/>
                <a:gd name="connsiteX304" fmla="*/ 16649 w 218720"/>
                <a:gd name="connsiteY304" fmla="*/ 104113 h 359632"/>
                <a:gd name="connsiteX305" fmla="*/ 18131 w 218720"/>
                <a:gd name="connsiteY305" fmla="*/ 103541 h 359632"/>
                <a:gd name="connsiteX306" fmla="*/ 19318 w 218720"/>
                <a:gd name="connsiteY306" fmla="*/ 103722 h 359632"/>
                <a:gd name="connsiteX307" fmla="*/ 42176 w 218720"/>
                <a:gd name="connsiteY307" fmla="*/ 76583 h 359632"/>
                <a:gd name="connsiteX308" fmla="*/ 42574 w 218720"/>
                <a:gd name="connsiteY308" fmla="*/ 77039 h 359632"/>
                <a:gd name="connsiteX309" fmla="*/ 43131 w 218720"/>
                <a:gd name="connsiteY309" fmla="*/ 78770 h 359632"/>
                <a:gd name="connsiteX310" fmla="*/ 43033 w 218720"/>
                <a:gd name="connsiteY310" fmla="*/ 81087 h 359632"/>
                <a:gd name="connsiteX311" fmla="*/ 40222 w 218720"/>
                <a:gd name="connsiteY311" fmla="*/ 86702 h 359632"/>
                <a:gd name="connsiteX312" fmla="*/ 39121 w 218720"/>
                <a:gd name="connsiteY312" fmla="*/ 86840 h 359632"/>
                <a:gd name="connsiteX313" fmla="*/ 38155 w 218720"/>
                <a:gd name="connsiteY313" fmla="*/ 88241 h 359632"/>
                <a:gd name="connsiteX314" fmla="*/ 35163 w 218720"/>
                <a:gd name="connsiteY314" fmla="*/ 89786 h 359632"/>
                <a:gd name="connsiteX315" fmla="*/ 37774 w 218720"/>
                <a:gd name="connsiteY315" fmla="*/ 89818 h 359632"/>
                <a:gd name="connsiteX316" fmla="*/ 38507 w 218720"/>
                <a:gd name="connsiteY316" fmla="*/ 90332 h 359632"/>
                <a:gd name="connsiteX317" fmla="*/ 38528 w 218720"/>
                <a:gd name="connsiteY317" fmla="*/ 91440 h 359632"/>
                <a:gd name="connsiteX318" fmla="*/ 38025 w 218720"/>
                <a:gd name="connsiteY318" fmla="*/ 92084 h 359632"/>
                <a:gd name="connsiteX319" fmla="*/ 34643 w 218720"/>
                <a:gd name="connsiteY319" fmla="*/ 94646 h 359632"/>
                <a:gd name="connsiteX320" fmla="*/ 32317 w 218720"/>
                <a:gd name="connsiteY320" fmla="*/ 95617 h 359632"/>
                <a:gd name="connsiteX321" fmla="*/ 29812 w 218720"/>
                <a:gd name="connsiteY321" fmla="*/ 98289 h 359632"/>
                <a:gd name="connsiteX322" fmla="*/ 28548 w 218720"/>
                <a:gd name="connsiteY322" fmla="*/ 98322 h 359632"/>
                <a:gd name="connsiteX323" fmla="*/ 27296 w 218720"/>
                <a:gd name="connsiteY323" fmla="*/ 100020 h 359632"/>
                <a:gd name="connsiteX324" fmla="*/ 26266 w 218720"/>
                <a:gd name="connsiteY324" fmla="*/ 100766 h 359632"/>
                <a:gd name="connsiteX325" fmla="*/ 25688 w 218720"/>
                <a:gd name="connsiteY325" fmla="*/ 100768 h 359632"/>
                <a:gd name="connsiteX326" fmla="*/ 25023 w 218720"/>
                <a:gd name="connsiteY326" fmla="*/ 100392 h 359632"/>
                <a:gd name="connsiteX327" fmla="*/ 23469 w 218720"/>
                <a:gd name="connsiteY327" fmla="*/ 98730 h 359632"/>
                <a:gd name="connsiteX328" fmla="*/ 26288 w 218720"/>
                <a:gd name="connsiteY328" fmla="*/ 97094 h 359632"/>
                <a:gd name="connsiteX329" fmla="*/ 26549 w 218720"/>
                <a:gd name="connsiteY329" fmla="*/ 96174 h 359632"/>
                <a:gd name="connsiteX330" fmla="*/ 28480 w 218720"/>
                <a:gd name="connsiteY330" fmla="*/ 95217 h 359632"/>
                <a:gd name="connsiteX331" fmla="*/ 28318 w 218720"/>
                <a:gd name="connsiteY331" fmla="*/ 94918 h 359632"/>
                <a:gd name="connsiteX332" fmla="*/ 25258 w 218720"/>
                <a:gd name="connsiteY332" fmla="*/ 93571 h 359632"/>
                <a:gd name="connsiteX333" fmla="*/ 24052 w 218720"/>
                <a:gd name="connsiteY333" fmla="*/ 92664 h 359632"/>
                <a:gd name="connsiteX334" fmla="*/ 24166 w 218720"/>
                <a:gd name="connsiteY334" fmla="*/ 92190 h 359632"/>
                <a:gd name="connsiteX335" fmla="*/ 25639 w 218720"/>
                <a:gd name="connsiteY335" fmla="*/ 91147 h 359632"/>
                <a:gd name="connsiteX336" fmla="*/ 24941 w 218720"/>
                <a:gd name="connsiteY336" fmla="*/ 91009 h 359632"/>
                <a:gd name="connsiteX337" fmla="*/ 24469 w 218720"/>
                <a:gd name="connsiteY337" fmla="*/ 90446 h 359632"/>
                <a:gd name="connsiteX338" fmla="*/ 23614 w 218720"/>
                <a:gd name="connsiteY338" fmla="*/ 90232 h 359632"/>
                <a:gd name="connsiteX339" fmla="*/ 23358 w 218720"/>
                <a:gd name="connsiteY339" fmla="*/ 89707 h 359632"/>
                <a:gd name="connsiteX340" fmla="*/ 23200 w 218720"/>
                <a:gd name="connsiteY340" fmla="*/ 88328 h 359632"/>
                <a:gd name="connsiteX341" fmla="*/ 23429 w 218720"/>
                <a:gd name="connsiteY341" fmla="*/ 86917 h 359632"/>
                <a:gd name="connsiteX342" fmla="*/ 24321 w 218720"/>
                <a:gd name="connsiteY342" fmla="*/ 86294 h 359632"/>
                <a:gd name="connsiteX343" fmla="*/ 24686 w 218720"/>
                <a:gd name="connsiteY343" fmla="*/ 85626 h 359632"/>
                <a:gd name="connsiteX344" fmla="*/ 25047 w 218720"/>
                <a:gd name="connsiteY344" fmla="*/ 85421 h 359632"/>
                <a:gd name="connsiteX345" fmla="*/ 26429 w 218720"/>
                <a:gd name="connsiteY345" fmla="*/ 85776 h 359632"/>
                <a:gd name="connsiteX346" fmla="*/ 27830 w 218720"/>
                <a:gd name="connsiteY346" fmla="*/ 86905 h 359632"/>
                <a:gd name="connsiteX347" fmla="*/ 29465 w 218720"/>
                <a:gd name="connsiteY347" fmla="*/ 86470 h 359632"/>
                <a:gd name="connsiteX348" fmla="*/ 31363 w 218720"/>
                <a:gd name="connsiteY348" fmla="*/ 86685 h 359632"/>
                <a:gd name="connsiteX349" fmla="*/ 31402 w 218720"/>
                <a:gd name="connsiteY349" fmla="*/ 86423 h 359632"/>
                <a:gd name="connsiteX350" fmla="*/ 30008 w 218720"/>
                <a:gd name="connsiteY350" fmla="*/ 83645 h 359632"/>
                <a:gd name="connsiteX351" fmla="*/ 30257 w 218720"/>
                <a:gd name="connsiteY351" fmla="*/ 83077 h 359632"/>
                <a:gd name="connsiteX352" fmla="*/ 31013 w 218720"/>
                <a:gd name="connsiteY352" fmla="*/ 82429 h 359632"/>
                <a:gd name="connsiteX353" fmla="*/ 35393 w 218720"/>
                <a:gd name="connsiteY353" fmla="*/ 80446 h 359632"/>
                <a:gd name="connsiteX354" fmla="*/ 40855 w 218720"/>
                <a:gd name="connsiteY354" fmla="*/ 77107 h 359632"/>
                <a:gd name="connsiteX355" fmla="*/ 108033 w 218720"/>
                <a:gd name="connsiteY355" fmla="*/ 71824 h 359632"/>
                <a:gd name="connsiteX356" fmla="*/ 112589 w 218720"/>
                <a:gd name="connsiteY356" fmla="*/ 72316 h 359632"/>
                <a:gd name="connsiteX357" fmla="*/ 112741 w 218720"/>
                <a:gd name="connsiteY357" fmla="*/ 72940 h 359632"/>
                <a:gd name="connsiteX358" fmla="*/ 112503 w 218720"/>
                <a:gd name="connsiteY358" fmla="*/ 73806 h 359632"/>
                <a:gd name="connsiteX359" fmla="*/ 111337 w 218720"/>
                <a:gd name="connsiteY359" fmla="*/ 76175 h 359632"/>
                <a:gd name="connsiteX360" fmla="*/ 111527 w 218720"/>
                <a:gd name="connsiteY360" fmla="*/ 78816 h 359632"/>
                <a:gd name="connsiteX361" fmla="*/ 111267 w 218720"/>
                <a:gd name="connsiteY361" fmla="*/ 79616 h 359632"/>
                <a:gd name="connsiteX362" fmla="*/ 110738 w 218720"/>
                <a:gd name="connsiteY362" fmla="*/ 80602 h 359632"/>
                <a:gd name="connsiteX363" fmla="*/ 109067 w 218720"/>
                <a:gd name="connsiteY363" fmla="*/ 82442 h 359632"/>
                <a:gd name="connsiteX364" fmla="*/ 104675 w 218720"/>
                <a:gd name="connsiteY364" fmla="*/ 85069 h 359632"/>
                <a:gd name="connsiteX365" fmla="*/ 96626 w 218720"/>
                <a:gd name="connsiteY365" fmla="*/ 91095 h 359632"/>
                <a:gd name="connsiteX366" fmla="*/ 91871 w 218720"/>
                <a:gd name="connsiteY366" fmla="*/ 94080 h 359632"/>
                <a:gd name="connsiteX367" fmla="*/ 91217 w 218720"/>
                <a:gd name="connsiteY367" fmla="*/ 95514 h 359632"/>
                <a:gd name="connsiteX368" fmla="*/ 90864 w 218720"/>
                <a:gd name="connsiteY368" fmla="*/ 97507 h 359632"/>
                <a:gd name="connsiteX369" fmla="*/ 93711 w 218720"/>
                <a:gd name="connsiteY369" fmla="*/ 97902 h 359632"/>
                <a:gd name="connsiteX370" fmla="*/ 94810 w 218720"/>
                <a:gd name="connsiteY370" fmla="*/ 98577 h 359632"/>
                <a:gd name="connsiteX371" fmla="*/ 94128 w 218720"/>
                <a:gd name="connsiteY371" fmla="*/ 99588 h 359632"/>
                <a:gd name="connsiteX372" fmla="*/ 89917 w 218720"/>
                <a:gd name="connsiteY372" fmla="*/ 103097 h 359632"/>
                <a:gd name="connsiteX373" fmla="*/ 88676 w 218720"/>
                <a:gd name="connsiteY373" fmla="*/ 106264 h 359632"/>
                <a:gd name="connsiteX374" fmla="*/ 91905 w 218720"/>
                <a:gd name="connsiteY374" fmla="*/ 106152 h 359632"/>
                <a:gd name="connsiteX375" fmla="*/ 94566 w 218720"/>
                <a:gd name="connsiteY375" fmla="*/ 105544 h 359632"/>
                <a:gd name="connsiteX376" fmla="*/ 99872 w 218720"/>
                <a:gd name="connsiteY376" fmla="*/ 103569 h 359632"/>
                <a:gd name="connsiteX377" fmla="*/ 104856 w 218720"/>
                <a:gd name="connsiteY377" fmla="*/ 102101 h 359632"/>
                <a:gd name="connsiteX378" fmla="*/ 107250 w 218720"/>
                <a:gd name="connsiteY378" fmla="*/ 102040 h 359632"/>
                <a:gd name="connsiteX379" fmla="*/ 111907 w 218720"/>
                <a:gd name="connsiteY379" fmla="*/ 103211 h 359632"/>
                <a:gd name="connsiteX380" fmla="*/ 112966 w 218720"/>
                <a:gd name="connsiteY380" fmla="*/ 103248 h 359632"/>
                <a:gd name="connsiteX381" fmla="*/ 114942 w 218720"/>
                <a:gd name="connsiteY381" fmla="*/ 102707 h 359632"/>
                <a:gd name="connsiteX382" fmla="*/ 116940 w 218720"/>
                <a:gd name="connsiteY382" fmla="*/ 102611 h 359632"/>
                <a:gd name="connsiteX383" fmla="*/ 130476 w 218720"/>
                <a:gd name="connsiteY383" fmla="*/ 102975 h 359632"/>
                <a:gd name="connsiteX384" fmla="*/ 134237 w 218720"/>
                <a:gd name="connsiteY384" fmla="*/ 102288 h 359632"/>
                <a:gd name="connsiteX385" fmla="*/ 136725 w 218720"/>
                <a:gd name="connsiteY385" fmla="*/ 103110 h 359632"/>
                <a:gd name="connsiteX386" fmla="*/ 138807 w 218720"/>
                <a:gd name="connsiteY386" fmla="*/ 105161 h 359632"/>
                <a:gd name="connsiteX387" fmla="*/ 140785 w 218720"/>
                <a:gd name="connsiteY387" fmla="*/ 108939 h 359632"/>
                <a:gd name="connsiteX388" fmla="*/ 140725 w 218720"/>
                <a:gd name="connsiteY388" fmla="*/ 109567 h 359632"/>
                <a:gd name="connsiteX389" fmla="*/ 139530 w 218720"/>
                <a:gd name="connsiteY389" fmla="*/ 111286 h 359632"/>
                <a:gd name="connsiteX390" fmla="*/ 137324 w 218720"/>
                <a:gd name="connsiteY390" fmla="*/ 113440 h 359632"/>
                <a:gd name="connsiteX391" fmla="*/ 135426 w 218720"/>
                <a:gd name="connsiteY391" fmla="*/ 116402 h 359632"/>
                <a:gd name="connsiteX392" fmla="*/ 134869 w 218720"/>
                <a:gd name="connsiteY392" fmla="*/ 117998 h 359632"/>
                <a:gd name="connsiteX393" fmla="*/ 134496 w 218720"/>
                <a:gd name="connsiteY393" fmla="*/ 119743 h 359632"/>
                <a:gd name="connsiteX394" fmla="*/ 133895 w 218720"/>
                <a:gd name="connsiteY394" fmla="*/ 121356 h 359632"/>
                <a:gd name="connsiteX395" fmla="*/ 130120 w 218720"/>
                <a:gd name="connsiteY395" fmla="*/ 128914 h 359632"/>
                <a:gd name="connsiteX396" fmla="*/ 126440 w 218720"/>
                <a:gd name="connsiteY396" fmla="*/ 133093 h 359632"/>
                <a:gd name="connsiteX397" fmla="*/ 124797 w 218720"/>
                <a:gd name="connsiteY397" fmla="*/ 136055 h 359632"/>
                <a:gd name="connsiteX398" fmla="*/ 122769 w 218720"/>
                <a:gd name="connsiteY398" fmla="*/ 138412 h 359632"/>
                <a:gd name="connsiteX399" fmla="*/ 120818 w 218720"/>
                <a:gd name="connsiteY399" fmla="*/ 139893 h 359632"/>
                <a:gd name="connsiteX400" fmla="*/ 118734 w 218720"/>
                <a:gd name="connsiteY400" fmla="*/ 140879 h 359632"/>
                <a:gd name="connsiteX401" fmla="*/ 112714 w 218720"/>
                <a:gd name="connsiteY401" fmla="*/ 141933 h 359632"/>
                <a:gd name="connsiteX402" fmla="*/ 111030 w 218720"/>
                <a:gd name="connsiteY402" fmla="*/ 142688 h 359632"/>
                <a:gd name="connsiteX403" fmla="*/ 109021 w 218720"/>
                <a:gd name="connsiteY403" fmla="*/ 143984 h 359632"/>
                <a:gd name="connsiteX404" fmla="*/ 106909 w 218720"/>
                <a:gd name="connsiteY404" fmla="*/ 144625 h 359632"/>
                <a:gd name="connsiteX405" fmla="*/ 109385 w 218720"/>
                <a:gd name="connsiteY405" fmla="*/ 144544 h 359632"/>
                <a:gd name="connsiteX406" fmla="*/ 111839 w 218720"/>
                <a:gd name="connsiteY406" fmla="*/ 143823 h 359632"/>
                <a:gd name="connsiteX407" fmla="*/ 116302 w 218720"/>
                <a:gd name="connsiteY407" fmla="*/ 143559 h 359632"/>
                <a:gd name="connsiteX408" fmla="*/ 121442 w 218720"/>
                <a:gd name="connsiteY408" fmla="*/ 146041 h 359632"/>
                <a:gd name="connsiteX409" fmla="*/ 120965 w 218720"/>
                <a:gd name="connsiteY409" fmla="*/ 148069 h 359632"/>
                <a:gd name="connsiteX410" fmla="*/ 118902 w 218720"/>
                <a:gd name="connsiteY410" fmla="*/ 149672 h 359632"/>
                <a:gd name="connsiteX411" fmla="*/ 114210 w 218720"/>
                <a:gd name="connsiteY411" fmla="*/ 149924 h 359632"/>
                <a:gd name="connsiteX412" fmla="*/ 109822 w 218720"/>
                <a:gd name="connsiteY412" fmla="*/ 153482 h 359632"/>
                <a:gd name="connsiteX413" fmla="*/ 107842 w 218720"/>
                <a:gd name="connsiteY413" fmla="*/ 154576 h 359632"/>
                <a:gd name="connsiteX414" fmla="*/ 105753 w 218720"/>
                <a:gd name="connsiteY414" fmla="*/ 155119 h 359632"/>
                <a:gd name="connsiteX415" fmla="*/ 103140 w 218720"/>
                <a:gd name="connsiteY415" fmla="*/ 154958 h 359632"/>
                <a:gd name="connsiteX416" fmla="*/ 98392 w 218720"/>
                <a:gd name="connsiteY416" fmla="*/ 154006 h 359632"/>
                <a:gd name="connsiteX417" fmla="*/ 96315 w 218720"/>
                <a:gd name="connsiteY417" fmla="*/ 153011 h 359632"/>
                <a:gd name="connsiteX418" fmla="*/ 98193 w 218720"/>
                <a:gd name="connsiteY418" fmla="*/ 154635 h 359632"/>
                <a:gd name="connsiteX419" fmla="*/ 100323 w 218720"/>
                <a:gd name="connsiteY419" fmla="*/ 155481 h 359632"/>
                <a:gd name="connsiteX420" fmla="*/ 112685 w 218720"/>
                <a:gd name="connsiteY420" fmla="*/ 157477 h 359632"/>
                <a:gd name="connsiteX421" fmla="*/ 113429 w 218720"/>
                <a:gd name="connsiteY421" fmla="*/ 157270 h 359632"/>
                <a:gd name="connsiteX422" fmla="*/ 117370 w 218720"/>
                <a:gd name="connsiteY422" fmla="*/ 155162 h 359632"/>
                <a:gd name="connsiteX423" fmla="*/ 122622 w 218720"/>
                <a:gd name="connsiteY423" fmla="*/ 155130 h 359632"/>
                <a:gd name="connsiteX424" fmla="*/ 132623 w 218720"/>
                <a:gd name="connsiteY424" fmla="*/ 159002 h 359632"/>
                <a:gd name="connsiteX425" fmla="*/ 135502 w 218720"/>
                <a:gd name="connsiteY425" fmla="*/ 161957 h 359632"/>
                <a:gd name="connsiteX426" fmla="*/ 139628 w 218720"/>
                <a:gd name="connsiteY426" fmla="*/ 166187 h 359632"/>
                <a:gd name="connsiteX427" fmla="*/ 141872 w 218720"/>
                <a:gd name="connsiteY427" fmla="*/ 167836 h 359632"/>
                <a:gd name="connsiteX428" fmla="*/ 143495 w 218720"/>
                <a:gd name="connsiteY428" fmla="*/ 169330 h 359632"/>
                <a:gd name="connsiteX429" fmla="*/ 144495 w 218720"/>
                <a:gd name="connsiteY429" fmla="*/ 171567 h 359632"/>
                <a:gd name="connsiteX430" fmla="*/ 146432 w 218720"/>
                <a:gd name="connsiteY430" fmla="*/ 178938 h 359632"/>
                <a:gd name="connsiteX431" fmla="*/ 148641 w 218720"/>
                <a:gd name="connsiteY431" fmla="*/ 186118 h 359632"/>
                <a:gd name="connsiteX432" fmla="*/ 151536 w 218720"/>
                <a:gd name="connsiteY432" fmla="*/ 193871 h 359632"/>
                <a:gd name="connsiteX433" fmla="*/ 152847 w 218720"/>
                <a:gd name="connsiteY433" fmla="*/ 196020 h 359632"/>
                <a:gd name="connsiteX434" fmla="*/ 154573 w 218720"/>
                <a:gd name="connsiteY434" fmla="*/ 197526 h 359632"/>
                <a:gd name="connsiteX435" fmla="*/ 163309 w 218720"/>
                <a:gd name="connsiteY435" fmla="*/ 200984 h 359632"/>
                <a:gd name="connsiteX436" fmla="*/ 165253 w 218720"/>
                <a:gd name="connsiteY436" fmla="*/ 202129 h 359632"/>
                <a:gd name="connsiteX437" fmla="*/ 168643 w 218720"/>
                <a:gd name="connsiteY437" fmla="*/ 205449 h 359632"/>
                <a:gd name="connsiteX438" fmla="*/ 171909 w 218720"/>
                <a:gd name="connsiteY438" fmla="*/ 208981 h 359632"/>
                <a:gd name="connsiteX439" fmla="*/ 174950 w 218720"/>
                <a:gd name="connsiteY439" fmla="*/ 211690 h 359632"/>
                <a:gd name="connsiteX440" fmla="*/ 178233 w 218720"/>
                <a:gd name="connsiteY440" fmla="*/ 213881 h 359632"/>
                <a:gd name="connsiteX441" fmla="*/ 176643 w 218720"/>
                <a:gd name="connsiteY441" fmla="*/ 215018 h 359632"/>
                <a:gd name="connsiteX442" fmla="*/ 175553 w 218720"/>
                <a:gd name="connsiteY442" fmla="*/ 216806 h 359632"/>
                <a:gd name="connsiteX443" fmla="*/ 176368 w 218720"/>
                <a:gd name="connsiteY443" fmla="*/ 219234 h 359632"/>
                <a:gd name="connsiteX444" fmla="*/ 177705 w 218720"/>
                <a:gd name="connsiteY444" fmla="*/ 221551 h 359632"/>
                <a:gd name="connsiteX445" fmla="*/ 180332 w 218720"/>
                <a:gd name="connsiteY445" fmla="*/ 225253 h 359632"/>
                <a:gd name="connsiteX446" fmla="*/ 182649 w 218720"/>
                <a:gd name="connsiteY446" fmla="*/ 229287 h 359632"/>
                <a:gd name="connsiteX447" fmla="*/ 181795 w 218720"/>
                <a:gd name="connsiteY447" fmla="*/ 228678 h 359632"/>
                <a:gd name="connsiteX448" fmla="*/ 180897 w 218720"/>
                <a:gd name="connsiteY448" fmla="*/ 228344 h 359632"/>
                <a:gd name="connsiteX449" fmla="*/ 179669 w 218720"/>
                <a:gd name="connsiteY449" fmla="*/ 228444 h 359632"/>
                <a:gd name="connsiteX450" fmla="*/ 178469 w 218720"/>
                <a:gd name="connsiteY450" fmla="*/ 228249 h 359632"/>
                <a:gd name="connsiteX451" fmla="*/ 176255 w 218720"/>
                <a:gd name="connsiteY451" fmla="*/ 226987 h 359632"/>
                <a:gd name="connsiteX452" fmla="*/ 174128 w 218720"/>
                <a:gd name="connsiteY452" fmla="*/ 225436 h 359632"/>
                <a:gd name="connsiteX453" fmla="*/ 169897 w 218720"/>
                <a:gd name="connsiteY453" fmla="*/ 226059 h 359632"/>
                <a:gd name="connsiteX454" fmla="*/ 167546 w 218720"/>
                <a:gd name="connsiteY454" fmla="*/ 225780 h 359632"/>
                <a:gd name="connsiteX455" fmla="*/ 165507 w 218720"/>
                <a:gd name="connsiteY455" fmla="*/ 225821 h 359632"/>
                <a:gd name="connsiteX456" fmla="*/ 169373 w 218720"/>
                <a:gd name="connsiteY456" fmla="*/ 226717 h 359632"/>
                <a:gd name="connsiteX457" fmla="*/ 173605 w 218720"/>
                <a:gd name="connsiteY457" fmla="*/ 226779 h 359632"/>
                <a:gd name="connsiteX458" fmla="*/ 182937 w 218720"/>
                <a:gd name="connsiteY458" fmla="*/ 233539 h 359632"/>
                <a:gd name="connsiteX459" fmla="*/ 186091 w 218720"/>
                <a:gd name="connsiteY459" fmla="*/ 237535 h 359632"/>
                <a:gd name="connsiteX460" fmla="*/ 187966 w 218720"/>
                <a:gd name="connsiteY460" fmla="*/ 242808 h 359632"/>
                <a:gd name="connsiteX461" fmla="*/ 186689 w 218720"/>
                <a:gd name="connsiteY461" fmla="*/ 245172 h 359632"/>
                <a:gd name="connsiteX462" fmla="*/ 184703 w 218720"/>
                <a:gd name="connsiteY462" fmla="*/ 246703 h 359632"/>
                <a:gd name="connsiteX463" fmla="*/ 182850 w 218720"/>
                <a:gd name="connsiteY463" fmla="*/ 248453 h 359632"/>
                <a:gd name="connsiteX464" fmla="*/ 181114 w 218720"/>
                <a:gd name="connsiteY464" fmla="*/ 250427 h 359632"/>
                <a:gd name="connsiteX465" fmla="*/ 186286 w 218720"/>
                <a:gd name="connsiteY465" fmla="*/ 253324 h 359632"/>
                <a:gd name="connsiteX466" fmla="*/ 187400 w 218720"/>
                <a:gd name="connsiteY466" fmla="*/ 253236 h 359632"/>
                <a:gd name="connsiteX467" fmla="*/ 188544 w 218720"/>
                <a:gd name="connsiteY467" fmla="*/ 252831 h 359632"/>
                <a:gd name="connsiteX468" fmla="*/ 189644 w 218720"/>
                <a:gd name="connsiteY468" fmla="*/ 251846 h 359632"/>
                <a:gd name="connsiteX469" fmla="*/ 191498 w 218720"/>
                <a:gd name="connsiteY469" fmla="*/ 249447 h 359632"/>
                <a:gd name="connsiteX470" fmla="*/ 192455 w 218720"/>
                <a:gd name="connsiteY470" fmla="*/ 248592 h 359632"/>
                <a:gd name="connsiteX471" fmla="*/ 195677 w 218720"/>
                <a:gd name="connsiteY471" fmla="*/ 248284 h 359632"/>
                <a:gd name="connsiteX472" fmla="*/ 198380 w 218720"/>
                <a:gd name="connsiteY472" fmla="*/ 248468 h 359632"/>
                <a:gd name="connsiteX473" fmla="*/ 201073 w 218720"/>
                <a:gd name="connsiteY473" fmla="*/ 248998 h 359632"/>
                <a:gd name="connsiteX474" fmla="*/ 203440 w 218720"/>
                <a:gd name="connsiteY474" fmla="*/ 248830 h 359632"/>
                <a:gd name="connsiteX475" fmla="*/ 208210 w 218720"/>
                <a:gd name="connsiteY475" fmla="*/ 249860 h 359632"/>
                <a:gd name="connsiteX476" fmla="*/ 210661 w 218720"/>
                <a:gd name="connsiteY476" fmla="*/ 250789 h 359632"/>
                <a:gd name="connsiteX477" fmla="*/ 216733 w 218720"/>
                <a:gd name="connsiteY477" fmla="*/ 254966 h 359632"/>
                <a:gd name="connsiteX478" fmla="*/ 218046 w 218720"/>
                <a:gd name="connsiteY478" fmla="*/ 257247 h 359632"/>
                <a:gd name="connsiteX479" fmla="*/ 218648 w 218720"/>
                <a:gd name="connsiteY479" fmla="*/ 260190 h 359632"/>
                <a:gd name="connsiteX480" fmla="*/ 218720 w 218720"/>
                <a:gd name="connsiteY480" fmla="*/ 263449 h 359632"/>
                <a:gd name="connsiteX481" fmla="*/ 217698 w 218720"/>
                <a:gd name="connsiteY481" fmla="*/ 266425 h 359632"/>
                <a:gd name="connsiteX482" fmla="*/ 216526 w 218720"/>
                <a:gd name="connsiteY482" fmla="*/ 269108 h 359632"/>
                <a:gd name="connsiteX483" fmla="*/ 215802 w 218720"/>
                <a:gd name="connsiteY483" fmla="*/ 272568 h 359632"/>
                <a:gd name="connsiteX484" fmla="*/ 215289 w 218720"/>
                <a:gd name="connsiteY484" fmla="*/ 273813 h 359632"/>
                <a:gd name="connsiteX485" fmla="*/ 214571 w 218720"/>
                <a:gd name="connsiteY485" fmla="*/ 274788 h 359632"/>
                <a:gd name="connsiteX486" fmla="*/ 211354 w 218720"/>
                <a:gd name="connsiteY486" fmla="*/ 277512 h 359632"/>
                <a:gd name="connsiteX487" fmla="*/ 209216 w 218720"/>
                <a:gd name="connsiteY487" fmla="*/ 278631 h 359632"/>
                <a:gd name="connsiteX488" fmla="*/ 208313 w 218720"/>
                <a:gd name="connsiteY488" fmla="*/ 278140 h 359632"/>
                <a:gd name="connsiteX489" fmla="*/ 207351 w 218720"/>
                <a:gd name="connsiteY489" fmla="*/ 278208 h 359632"/>
                <a:gd name="connsiteX490" fmla="*/ 207249 w 218720"/>
                <a:gd name="connsiteY490" fmla="*/ 278862 h 359632"/>
                <a:gd name="connsiteX491" fmla="*/ 208266 w 218720"/>
                <a:gd name="connsiteY491" fmla="*/ 280251 h 359632"/>
                <a:gd name="connsiteX492" fmla="*/ 208279 w 218720"/>
                <a:gd name="connsiteY492" fmla="*/ 281926 h 359632"/>
                <a:gd name="connsiteX493" fmla="*/ 206379 w 218720"/>
                <a:gd name="connsiteY493" fmla="*/ 283165 h 359632"/>
                <a:gd name="connsiteX494" fmla="*/ 204448 w 218720"/>
                <a:gd name="connsiteY494" fmla="*/ 283694 h 359632"/>
                <a:gd name="connsiteX495" fmla="*/ 201218 w 218720"/>
                <a:gd name="connsiteY495" fmla="*/ 283034 h 359632"/>
                <a:gd name="connsiteX496" fmla="*/ 196733 w 218720"/>
                <a:gd name="connsiteY496" fmla="*/ 285340 h 359632"/>
                <a:gd name="connsiteX497" fmla="*/ 199957 w 218720"/>
                <a:gd name="connsiteY497" fmla="*/ 286524 h 359632"/>
                <a:gd name="connsiteX498" fmla="*/ 200607 w 218720"/>
                <a:gd name="connsiteY498" fmla="*/ 287784 h 359632"/>
                <a:gd name="connsiteX499" fmla="*/ 199799 w 218720"/>
                <a:gd name="connsiteY499" fmla="*/ 289997 h 359632"/>
                <a:gd name="connsiteX500" fmla="*/ 197771 w 218720"/>
                <a:gd name="connsiteY500" fmla="*/ 290983 h 359632"/>
                <a:gd name="connsiteX501" fmla="*/ 195523 w 218720"/>
                <a:gd name="connsiteY501" fmla="*/ 291420 h 359632"/>
                <a:gd name="connsiteX502" fmla="*/ 193222 w 218720"/>
                <a:gd name="connsiteY502" fmla="*/ 291524 h 359632"/>
                <a:gd name="connsiteX503" fmla="*/ 191315 w 218720"/>
                <a:gd name="connsiteY503" fmla="*/ 292065 h 359632"/>
                <a:gd name="connsiteX504" fmla="*/ 189486 w 218720"/>
                <a:gd name="connsiteY504" fmla="*/ 293107 h 359632"/>
                <a:gd name="connsiteX505" fmla="*/ 191781 w 218720"/>
                <a:gd name="connsiteY505" fmla="*/ 292553 h 359632"/>
                <a:gd name="connsiteX506" fmla="*/ 193373 w 218720"/>
                <a:gd name="connsiteY506" fmla="*/ 293038 h 359632"/>
                <a:gd name="connsiteX507" fmla="*/ 194372 w 218720"/>
                <a:gd name="connsiteY507" fmla="*/ 294897 h 359632"/>
                <a:gd name="connsiteX508" fmla="*/ 195280 w 218720"/>
                <a:gd name="connsiteY508" fmla="*/ 295428 h 359632"/>
                <a:gd name="connsiteX509" fmla="*/ 199765 w 218720"/>
                <a:gd name="connsiteY509" fmla="*/ 296222 h 359632"/>
                <a:gd name="connsiteX510" fmla="*/ 202542 w 218720"/>
                <a:gd name="connsiteY510" fmla="*/ 296216 h 359632"/>
                <a:gd name="connsiteX511" fmla="*/ 207897 w 218720"/>
                <a:gd name="connsiteY511" fmla="*/ 295765 h 359632"/>
                <a:gd name="connsiteX512" fmla="*/ 210469 w 218720"/>
                <a:gd name="connsiteY512" fmla="*/ 295776 h 359632"/>
                <a:gd name="connsiteX513" fmla="*/ 211386 w 218720"/>
                <a:gd name="connsiteY513" fmla="*/ 296112 h 359632"/>
                <a:gd name="connsiteX514" fmla="*/ 211402 w 218720"/>
                <a:gd name="connsiteY514" fmla="*/ 297650 h 359632"/>
                <a:gd name="connsiteX515" fmla="*/ 211002 w 218720"/>
                <a:gd name="connsiteY515" fmla="*/ 301424 h 359632"/>
                <a:gd name="connsiteX516" fmla="*/ 210294 w 218720"/>
                <a:gd name="connsiteY516" fmla="*/ 302201 h 359632"/>
                <a:gd name="connsiteX517" fmla="*/ 203194 w 218720"/>
                <a:gd name="connsiteY517" fmla="*/ 305366 h 359632"/>
                <a:gd name="connsiteX518" fmla="*/ 201738 w 218720"/>
                <a:gd name="connsiteY518" fmla="*/ 307574 h 359632"/>
                <a:gd name="connsiteX519" fmla="*/ 201330 w 218720"/>
                <a:gd name="connsiteY519" fmla="*/ 308911 h 359632"/>
                <a:gd name="connsiteX520" fmla="*/ 197178 w 218720"/>
                <a:gd name="connsiteY520" fmla="*/ 308674 h 359632"/>
                <a:gd name="connsiteX521" fmla="*/ 195232 w 218720"/>
                <a:gd name="connsiteY521" fmla="*/ 310087 h 359632"/>
                <a:gd name="connsiteX522" fmla="*/ 191870 w 218720"/>
                <a:gd name="connsiteY522" fmla="*/ 311025 h 359632"/>
                <a:gd name="connsiteX523" fmla="*/ 189270 w 218720"/>
                <a:gd name="connsiteY523" fmla="*/ 312022 h 359632"/>
                <a:gd name="connsiteX524" fmla="*/ 186726 w 218720"/>
                <a:gd name="connsiteY524" fmla="*/ 313282 h 359632"/>
                <a:gd name="connsiteX525" fmla="*/ 184634 w 218720"/>
                <a:gd name="connsiteY525" fmla="*/ 313658 h 359632"/>
                <a:gd name="connsiteX526" fmla="*/ 175590 w 218720"/>
                <a:gd name="connsiteY526" fmla="*/ 312163 h 359632"/>
                <a:gd name="connsiteX527" fmla="*/ 170131 w 218720"/>
                <a:gd name="connsiteY527" fmla="*/ 312286 h 359632"/>
                <a:gd name="connsiteX528" fmla="*/ 162736 w 218720"/>
                <a:gd name="connsiteY528" fmla="*/ 313589 h 359632"/>
                <a:gd name="connsiteX529" fmla="*/ 160831 w 218720"/>
                <a:gd name="connsiteY529" fmla="*/ 313374 h 359632"/>
                <a:gd name="connsiteX530" fmla="*/ 157974 w 218720"/>
                <a:gd name="connsiteY530" fmla="*/ 312126 h 359632"/>
                <a:gd name="connsiteX531" fmla="*/ 155049 w 218720"/>
                <a:gd name="connsiteY531" fmla="*/ 311282 h 359632"/>
                <a:gd name="connsiteX532" fmla="*/ 151683 w 218720"/>
                <a:gd name="connsiteY532" fmla="*/ 310911 h 359632"/>
                <a:gd name="connsiteX533" fmla="*/ 148778 w 218720"/>
                <a:gd name="connsiteY533" fmla="*/ 309757 h 359632"/>
                <a:gd name="connsiteX534" fmla="*/ 150591 w 218720"/>
                <a:gd name="connsiteY534" fmla="*/ 311976 h 359632"/>
                <a:gd name="connsiteX535" fmla="*/ 146561 w 218720"/>
                <a:gd name="connsiteY535" fmla="*/ 314112 h 359632"/>
                <a:gd name="connsiteX536" fmla="*/ 144701 w 218720"/>
                <a:gd name="connsiteY536" fmla="*/ 314537 h 359632"/>
                <a:gd name="connsiteX537" fmla="*/ 142776 w 218720"/>
                <a:gd name="connsiteY537" fmla="*/ 314471 h 359632"/>
                <a:gd name="connsiteX538" fmla="*/ 138837 w 218720"/>
                <a:gd name="connsiteY538" fmla="*/ 315051 h 359632"/>
                <a:gd name="connsiteX539" fmla="*/ 135188 w 218720"/>
                <a:gd name="connsiteY539" fmla="*/ 314755 h 359632"/>
                <a:gd name="connsiteX540" fmla="*/ 135736 w 218720"/>
                <a:gd name="connsiteY540" fmla="*/ 316273 h 359632"/>
                <a:gd name="connsiteX541" fmla="*/ 136714 w 218720"/>
                <a:gd name="connsiteY541" fmla="*/ 317595 h 359632"/>
                <a:gd name="connsiteX542" fmla="*/ 135921 w 218720"/>
                <a:gd name="connsiteY542" fmla="*/ 318170 h 359632"/>
                <a:gd name="connsiteX543" fmla="*/ 135082 w 218720"/>
                <a:gd name="connsiteY543" fmla="*/ 318313 h 359632"/>
                <a:gd name="connsiteX544" fmla="*/ 128132 w 218720"/>
                <a:gd name="connsiteY544" fmla="*/ 317315 h 359632"/>
                <a:gd name="connsiteX545" fmla="*/ 127148 w 218720"/>
                <a:gd name="connsiteY545" fmla="*/ 317504 h 359632"/>
                <a:gd name="connsiteX546" fmla="*/ 126290 w 218720"/>
                <a:gd name="connsiteY546" fmla="*/ 318425 h 359632"/>
                <a:gd name="connsiteX547" fmla="*/ 123763 w 218720"/>
                <a:gd name="connsiteY547" fmla="*/ 317928 h 359632"/>
                <a:gd name="connsiteX548" fmla="*/ 121307 w 218720"/>
                <a:gd name="connsiteY548" fmla="*/ 316375 h 359632"/>
                <a:gd name="connsiteX549" fmla="*/ 118695 w 218720"/>
                <a:gd name="connsiteY549" fmla="*/ 315332 h 359632"/>
                <a:gd name="connsiteX550" fmla="*/ 115954 w 218720"/>
                <a:gd name="connsiteY550" fmla="*/ 314842 h 359632"/>
                <a:gd name="connsiteX551" fmla="*/ 113776 w 218720"/>
                <a:gd name="connsiteY551" fmla="*/ 315011 h 359632"/>
                <a:gd name="connsiteX552" fmla="*/ 104816 w 218720"/>
                <a:gd name="connsiteY552" fmla="*/ 317460 h 359632"/>
                <a:gd name="connsiteX553" fmla="*/ 103028 w 218720"/>
                <a:gd name="connsiteY553" fmla="*/ 319915 h 359632"/>
                <a:gd name="connsiteX554" fmla="*/ 102135 w 218720"/>
                <a:gd name="connsiteY554" fmla="*/ 323393 h 359632"/>
                <a:gd name="connsiteX555" fmla="*/ 100841 w 218720"/>
                <a:gd name="connsiteY555" fmla="*/ 326476 h 359632"/>
                <a:gd name="connsiteX556" fmla="*/ 98731 w 218720"/>
                <a:gd name="connsiteY556" fmla="*/ 328848 h 359632"/>
                <a:gd name="connsiteX557" fmla="*/ 96220 w 218720"/>
                <a:gd name="connsiteY557" fmla="*/ 329157 h 359632"/>
                <a:gd name="connsiteX558" fmla="*/ 93858 w 218720"/>
                <a:gd name="connsiteY558" fmla="*/ 327516 h 359632"/>
                <a:gd name="connsiteX559" fmla="*/ 89364 w 218720"/>
                <a:gd name="connsiteY559" fmla="*/ 325702 h 359632"/>
                <a:gd name="connsiteX560" fmla="*/ 87835 w 218720"/>
                <a:gd name="connsiteY560" fmla="*/ 324476 h 359632"/>
                <a:gd name="connsiteX561" fmla="*/ 87348 w 218720"/>
                <a:gd name="connsiteY561" fmla="*/ 324404 h 359632"/>
                <a:gd name="connsiteX562" fmla="*/ 86846 w 218720"/>
                <a:gd name="connsiteY562" fmla="*/ 324843 h 359632"/>
                <a:gd name="connsiteX563" fmla="*/ 85084 w 218720"/>
                <a:gd name="connsiteY563" fmla="*/ 325396 h 359632"/>
                <a:gd name="connsiteX564" fmla="*/ 83259 w 218720"/>
                <a:gd name="connsiteY564" fmla="*/ 325422 h 359632"/>
                <a:gd name="connsiteX565" fmla="*/ 80447 w 218720"/>
                <a:gd name="connsiteY565" fmla="*/ 325910 h 359632"/>
                <a:gd name="connsiteX566" fmla="*/ 75553 w 218720"/>
                <a:gd name="connsiteY566" fmla="*/ 327384 h 359632"/>
                <a:gd name="connsiteX567" fmla="*/ 73577 w 218720"/>
                <a:gd name="connsiteY567" fmla="*/ 328384 h 359632"/>
                <a:gd name="connsiteX568" fmla="*/ 69328 w 218720"/>
                <a:gd name="connsiteY568" fmla="*/ 331139 h 359632"/>
                <a:gd name="connsiteX569" fmla="*/ 68463 w 218720"/>
                <a:gd name="connsiteY569" fmla="*/ 331901 h 359632"/>
                <a:gd name="connsiteX570" fmla="*/ 66918 w 218720"/>
                <a:gd name="connsiteY570" fmla="*/ 334677 h 359632"/>
                <a:gd name="connsiteX571" fmla="*/ 64558 w 218720"/>
                <a:gd name="connsiteY571" fmla="*/ 335166 h 359632"/>
                <a:gd name="connsiteX572" fmla="*/ 62399 w 218720"/>
                <a:gd name="connsiteY572" fmla="*/ 333388 h 359632"/>
                <a:gd name="connsiteX573" fmla="*/ 59942 w 218720"/>
                <a:gd name="connsiteY573" fmla="*/ 332767 h 359632"/>
                <a:gd name="connsiteX574" fmla="*/ 57350 w 218720"/>
                <a:gd name="connsiteY574" fmla="*/ 333375 h 359632"/>
                <a:gd name="connsiteX575" fmla="*/ 55782 w 218720"/>
                <a:gd name="connsiteY575" fmla="*/ 334320 h 359632"/>
                <a:gd name="connsiteX576" fmla="*/ 55051 w 218720"/>
                <a:gd name="connsiteY576" fmla="*/ 333552 h 359632"/>
                <a:gd name="connsiteX577" fmla="*/ 55027 w 218720"/>
                <a:gd name="connsiteY577" fmla="*/ 331973 h 359632"/>
                <a:gd name="connsiteX578" fmla="*/ 56920 w 218720"/>
                <a:gd name="connsiteY578" fmla="*/ 330091 h 359632"/>
                <a:gd name="connsiteX579" fmla="*/ 61970 w 218720"/>
                <a:gd name="connsiteY579" fmla="*/ 328668 h 359632"/>
                <a:gd name="connsiteX580" fmla="*/ 66403 w 218720"/>
                <a:gd name="connsiteY580" fmla="*/ 324972 h 359632"/>
                <a:gd name="connsiteX581" fmla="*/ 68578 w 218720"/>
                <a:gd name="connsiteY581" fmla="*/ 322716 h 359632"/>
                <a:gd name="connsiteX582" fmla="*/ 69440 w 218720"/>
                <a:gd name="connsiteY582" fmla="*/ 321446 h 359632"/>
                <a:gd name="connsiteX583" fmla="*/ 70503 w 218720"/>
                <a:gd name="connsiteY583" fmla="*/ 320636 h 359632"/>
                <a:gd name="connsiteX584" fmla="*/ 71892 w 218720"/>
                <a:gd name="connsiteY584" fmla="*/ 320330 h 359632"/>
                <a:gd name="connsiteX585" fmla="*/ 72606 w 218720"/>
                <a:gd name="connsiteY585" fmla="*/ 318925 h 359632"/>
                <a:gd name="connsiteX586" fmla="*/ 78761 w 218720"/>
                <a:gd name="connsiteY586" fmla="*/ 313270 h 359632"/>
                <a:gd name="connsiteX587" fmla="*/ 79269 w 218720"/>
                <a:gd name="connsiteY587" fmla="*/ 311971 h 359632"/>
                <a:gd name="connsiteX588" fmla="*/ 79575 w 218720"/>
                <a:gd name="connsiteY588" fmla="*/ 309646 h 359632"/>
                <a:gd name="connsiteX589" fmla="*/ 80084 w 218720"/>
                <a:gd name="connsiteY589" fmla="*/ 307405 h 359632"/>
                <a:gd name="connsiteX590" fmla="*/ 85095 w 218720"/>
                <a:gd name="connsiteY590" fmla="*/ 305953 h 359632"/>
                <a:gd name="connsiteX591" fmla="*/ 87489 w 218720"/>
                <a:gd name="connsiteY591" fmla="*/ 301233 h 359632"/>
                <a:gd name="connsiteX592" fmla="*/ 88148 w 218720"/>
                <a:gd name="connsiteY592" fmla="*/ 300859 h 359632"/>
                <a:gd name="connsiteX593" fmla="*/ 95137 w 218720"/>
                <a:gd name="connsiteY593" fmla="*/ 299992 h 359632"/>
                <a:gd name="connsiteX594" fmla="*/ 100320 w 218720"/>
                <a:gd name="connsiteY594" fmla="*/ 300061 h 359632"/>
                <a:gd name="connsiteX595" fmla="*/ 105468 w 218720"/>
                <a:gd name="connsiteY595" fmla="*/ 300986 h 359632"/>
                <a:gd name="connsiteX596" fmla="*/ 108107 w 218720"/>
                <a:gd name="connsiteY596" fmla="*/ 301069 h 359632"/>
                <a:gd name="connsiteX597" fmla="*/ 110756 w 218720"/>
                <a:gd name="connsiteY597" fmla="*/ 300750 h 359632"/>
                <a:gd name="connsiteX598" fmla="*/ 112833 w 218720"/>
                <a:gd name="connsiteY598" fmla="*/ 299474 h 359632"/>
                <a:gd name="connsiteX599" fmla="*/ 116388 w 218720"/>
                <a:gd name="connsiteY599" fmla="*/ 294868 h 359632"/>
                <a:gd name="connsiteX600" fmla="*/ 118388 w 218720"/>
                <a:gd name="connsiteY600" fmla="*/ 292838 h 359632"/>
                <a:gd name="connsiteX601" fmla="*/ 120679 w 218720"/>
                <a:gd name="connsiteY601" fmla="*/ 291002 h 359632"/>
                <a:gd name="connsiteX602" fmla="*/ 122822 w 218720"/>
                <a:gd name="connsiteY602" fmla="*/ 288904 h 359632"/>
                <a:gd name="connsiteX603" fmla="*/ 126299 w 218720"/>
                <a:gd name="connsiteY603" fmla="*/ 285012 h 359632"/>
                <a:gd name="connsiteX604" fmla="*/ 123948 w 218720"/>
                <a:gd name="connsiteY604" fmla="*/ 286353 h 359632"/>
                <a:gd name="connsiteX605" fmla="*/ 121111 w 218720"/>
                <a:gd name="connsiteY605" fmla="*/ 288480 h 359632"/>
                <a:gd name="connsiteX606" fmla="*/ 119465 w 218720"/>
                <a:gd name="connsiteY606" fmla="*/ 289713 h 359632"/>
                <a:gd name="connsiteX607" fmla="*/ 114238 w 218720"/>
                <a:gd name="connsiteY607" fmla="*/ 290955 h 359632"/>
                <a:gd name="connsiteX608" fmla="*/ 111986 w 218720"/>
                <a:gd name="connsiteY608" fmla="*/ 292221 h 359632"/>
                <a:gd name="connsiteX609" fmla="*/ 108040 w 218720"/>
                <a:gd name="connsiteY609" fmla="*/ 295078 h 359632"/>
                <a:gd name="connsiteX610" fmla="*/ 107281 w 218720"/>
                <a:gd name="connsiteY610" fmla="*/ 295315 h 359632"/>
                <a:gd name="connsiteX611" fmla="*/ 101328 w 218720"/>
                <a:gd name="connsiteY611" fmla="*/ 294629 h 359632"/>
                <a:gd name="connsiteX612" fmla="*/ 96898 w 218720"/>
                <a:gd name="connsiteY612" fmla="*/ 290923 h 359632"/>
                <a:gd name="connsiteX613" fmla="*/ 94066 w 218720"/>
                <a:gd name="connsiteY613" fmla="*/ 289402 h 359632"/>
                <a:gd name="connsiteX614" fmla="*/ 92896 w 218720"/>
                <a:gd name="connsiteY614" fmla="*/ 289230 h 359632"/>
                <a:gd name="connsiteX615" fmla="*/ 91687 w 218720"/>
                <a:gd name="connsiteY615" fmla="*/ 289682 h 359632"/>
                <a:gd name="connsiteX616" fmla="*/ 89101 w 218720"/>
                <a:gd name="connsiteY616" fmla="*/ 290145 h 359632"/>
                <a:gd name="connsiteX617" fmla="*/ 86464 w 218720"/>
                <a:gd name="connsiteY617" fmla="*/ 290066 h 359632"/>
                <a:gd name="connsiteX618" fmla="*/ 87810 w 218720"/>
                <a:gd name="connsiteY618" fmla="*/ 288352 h 359632"/>
                <a:gd name="connsiteX619" fmla="*/ 89638 w 218720"/>
                <a:gd name="connsiteY619" fmla="*/ 287393 h 359632"/>
                <a:gd name="connsiteX620" fmla="*/ 85544 w 218720"/>
                <a:gd name="connsiteY620" fmla="*/ 286727 h 359632"/>
                <a:gd name="connsiteX621" fmla="*/ 84406 w 218720"/>
                <a:gd name="connsiteY621" fmla="*/ 286205 h 359632"/>
                <a:gd name="connsiteX622" fmla="*/ 83109 w 218720"/>
                <a:gd name="connsiteY622" fmla="*/ 285002 h 359632"/>
                <a:gd name="connsiteX623" fmla="*/ 79898 w 218720"/>
                <a:gd name="connsiteY623" fmla="*/ 284796 h 359632"/>
                <a:gd name="connsiteX624" fmla="*/ 78366 w 218720"/>
                <a:gd name="connsiteY624" fmla="*/ 285103 h 359632"/>
                <a:gd name="connsiteX625" fmla="*/ 75782 w 218720"/>
                <a:gd name="connsiteY625" fmla="*/ 286693 h 359632"/>
                <a:gd name="connsiteX626" fmla="*/ 71699 w 218720"/>
                <a:gd name="connsiteY626" fmla="*/ 288383 h 359632"/>
                <a:gd name="connsiteX627" fmla="*/ 66780 w 218720"/>
                <a:gd name="connsiteY627" fmla="*/ 286040 h 359632"/>
                <a:gd name="connsiteX628" fmla="*/ 65816 w 218720"/>
                <a:gd name="connsiteY628" fmla="*/ 285012 h 359632"/>
                <a:gd name="connsiteX629" fmla="*/ 65841 w 218720"/>
                <a:gd name="connsiteY629" fmla="*/ 283027 h 359632"/>
                <a:gd name="connsiteX630" fmla="*/ 65103 w 218720"/>
                <a:gd name="connsiteY630" fmla="*/ 281453 h 359632"/>
                <a:gd name="connsiteX631" fmla="*/ 63738 w 218720"/>
                <a:gd name="connsiteY631" fmla="*/ 280898 h 359632"/>
                <a:gd name="connsiteX632" fmla="*/ 65484 w 218720"/>
                <a:gd name="connsiteY632" fmla="*/ 278846 h 359632"/>
                <a:gd name="connsiteX633" fmla="*/ 67591 w 218720"/>
                <a:gd name="connsiteY633" fmla="*/ 277479 h 359632"/>
                <a:gd name="connsiteX634" fmla="*/ 72225 w 218720"/>
                <a:gd name="connsiteY634" fmla="*/ 276120 h 359632"/>
                <a:gd name="connsiteX635" fmla="*/ 79243 w 218720"/>
                <a:gd name="connsiteY635" fmla="*/ 272892 h 359632"/>
                <a:gd name="connsiteX636" fmla="*/ 83178 w 218720"/>
                <a:gd name="connsiteY636" fmla="*/ 271516 h 359632"/>
                <a:gd name="connsiteX637" fmla="*/ 86836 w 218720"/>
                <a:gd name="connsiteY637" fmla="*/ 269140 h 359632"/>
                <a:gd name="connsiteX638" fmla="*/ 88348 w 218720"/>
                <a:gd name="connsiteY638" fmla="*/ 267690 h 359632"/>
                <a:gd name="connsiteX639" fmla="*/ 89445 w 218720"/>
                <a:gd name="connsiteY639" fmla="*/ 265705 h 359632"/>
                <a:gd name="connsiteX640" fmla="*/ 90533 w 218720"/>
                <a:gd name="connsiteY640" fmla="*/ 263266 h 359632"/>
                <a:gd name="connsiteX641" fmla="*/ 92086 w 218720"/>
                <a:gd name="connsiteY641" fmla="*/ 261284 h 359632"/>
                <a:gd name="connsiteX642" fmla="*/ 90579 w 218720"/>
                <a:gd name="connsiteY642" fmla="*/ 260812 h 359632"/>
                <a:gd name="connsiteX643" fmla="*/ 89906 w 218720"/>
                <a:gd name="connsiteY643" fmla="*/ 259315 h 359632"/>
                <a:gd name="connsiteX644" fmla="*/ 90087 w 218720"/>
                <a:gd name="connsiteY644" fmla="*/ 257796 h 359632"/>
                <a:gd name="connsiteX645" fmla="*/ 90783 w 218720"/>
                <a:gd name="connsiteY645" fmla="*/ 256448 h 359632"/>
                <a:gd name="connsiteX646" fmla="*/ 90159 w 218720"/>
                <a:gd name="connsiteY646" fmla="*/ 254756 h 359632"/>
                <a:gd name="connsiteX647" fmla="*/ 89052 w 218720"/>
                <a:gd name="connsiteY647" fmla="*/ 252986 h 359632"/>
                <a:gd name="connsiteX648" fmla="*/ 89113 w 218720"/>
                <a:gd name="connsiteY648" fmla="*/ 251607 h 359632"/>
                <a:gd name="connsiteX649" fmla="*/ 89407 w 218720"/>
                <a:gd name="connsiteY649" fmla="*/ 250132 h 359632"/>
                <a:gd name="connsiteX650" fmla="*/ 86584 w 218720"/>
                <a:gd name="connsiteY650" fmla="*/ 250211 h 359632"/>
                <a:gd name="connsiteX651" fmla="*/ 83769 w 218720"/>
                <a:gd name="connsiteY651" fmla="*/ 250672 h 359632"/>
                <a:gd name="connsiteX652" fmla="*/ 81218 w 218720"/>
                <a:gd name="connsiteY652" fmla="*/ 251718 h 359632"/>
                <a:gd name="connsiteX653" fmla="*/ 78744 w 218720"/>
                <a:gd name="connsiteY653" fmla="*/ 253137 h 359632"/>
                <a:gd name="connsiteX654" fmla="*/ 76547 w 218720"/>
                <a:gd name="connsiteY654" fmla="*/ 253400 h 359632"/>
                <a:gd name="connsiteX655" fmla="*/ 76582 w 218720"/>
                <a:gd name="connsiteY655" fmla="*/ 252265 h 359632"/>
                <a:gd name="connsiteX656" fmla="*/ 77536 w 218720"/>
                <a:gd name="connsiteY656" fmla="*/ 250861 h 359632"/>
                <a:gd name="connsiteX657" fmla="*/ 80027 w 218720"/>
                <a:gd name="connsiteY657" fmla="*/ 248854 h 359632"/>
                <a:gd name="connsiteX658" fmla="*/ 82694 w 218720"/>
                <a:gd name="connsiteY658" fmla="*/ 247189 h 359632"/>
                <a:gd name="connsiteX659" fmla="*/ 83642 w 218720"/>
                <a:gd name="connsiteY659" fmla="*/ 245923 h 359632"/>
                <a:gd name="connsiteX660" fmla="*/ 84388 w 218720"/>
                <a:gd name="connsiteY660" fmla="*/ 244452 h 359632"/>
                <a:gd name="connsiteX661" fmla="*/ 85712 w 218720"/>
                <a:gd name="connsiteY661" fmla="*/ 243271 h 359632"/>
                <a:gd name="connsiteX662" fmla="*/ 89195 w 218720"/>
                <a:gd name="connsiteY662" fmla="*/ 241037 h 359632"/>
                <a:gd name="connsiteX663" fmla="*/ 95868 w 218720"/>
                <a:gd name="connsiteY663" fmla="*/ 238521 h 359632"/>
                <a:gd name="connsiteX664" fmla="*/ 96864 w 218720"/>
                <a:gd name="connsiteY664" fmla="*/ 238373 h 359632"/>
                <a:gd name="connsiteX665" fmla="*/ 99480 w 218720"/>
                <a:gd name="connsiteY665" fmla="*/ 238665 h 359632"/>
                <a:gd name="connsiteX666" fmla="*/ 102052 w 218720"/>
                <a:gd name="connsiteY666" fmla="*/ 238285 h 359632"/>
                <a:gd name="connsiteX667" fmla="*/ 104305 w 218720"/>
                <a:gd name="connsiteY667" fmla="*/ 237379 h 359632"/>
                <a:gd name="connsiteX668" fmla="*/ 106550 w 218720"/>
                <a:gd name="connsiteY668" fmla="*/ 237184 h 359632"/>
                <a:gd name="connsiteX669" fmla="*/ 111605 w 218720"/>
                <a:gd name="connsiteY669" fmla="*/ 239795 h 359632"/>
                <a:gd name="connsiteX670" fmla="*/ 110102 w 218720"/>
                <a:gd name="connsiteY670" fmla="*/ 235754 h 359632"/>
                <a:gd name="connsiteX671" fmla="*/ 112331 w 218720"/>
                <a:gd name="connsiteY671" fmla="*/ 234786 h 359632"/>
                <a:gd name="connsiteX672" fmla="*/ 115564 w 218720"/>
                <a:gd name="connsiteY672" fmla="*/ 238440 h 359632"/>
                <a:gd name="connsiteX673" fmla="*/ 116766 w 218720"/>
                <a:gd name="connsiteY673" fmla="*/ 238825 h 359632"/>
                <a:gd name="connsiteX674" fmla="*/ 119301 w 218720"/>
                <a:gd name="connsiteY674" fmla="*/ 238295 h 359632"/>
                <a:gd name="connsiteX675" fmla="*/ 118323 w 218720"/>
                <a:gd name="connsiteY675" fmla="*/ 237679 h 359632"/>
                <a:gd name="connsiteX676" fmla="*/ 117181 w 218720"/>
                <a:gd name="connsiteY676" fmla="*/ 237642 h 359632"/>
                <a:gd name="connsiteX677" fmla="*/ 115685 w 218720"/>
                <a:gd name="connsiteY677" fmla="*/ 237091 h 359632"/>
                <a:gd name="connsiteX678" fmla="*/ 114427 w 218720"/>
                <a:gd name="connsiteY678" fmla="*/ 235919 h 359632"/>
                <a:gd name="connsiteX679" fmla="*/ 112334 w 218720"/>
                <a:gd name="connsiteY679" fmla="*/ 232195 h 359632"/>
                <a:gd name="connsiteX680" fmla="*/ 112447 w 218720"/>
                <a:gd name="connsiteY680" fmla="*/ 229982 h 359632"/>
                <a:gd name="connsiteX681" fmla="*/ 113857 w 218720"/>
                <a:gd name="connsiteY681" fmla="*/ 227679 h 359632"/>
                <a:gd name="connsiteX682" fmla="*/ 115419 w 218720"/>
                <a:gd name="connsiteY682" fmla="*/ 225557 h 359632"/>
                <a:gd name="connsiteX683" fmla="*/ 114109 w 218720"/>
                <a:gd name="connsiteY683" fmla="*/ 225135 h 359632"/>
                <a:gd name="connsiteX684" fmla="*/ 113060 w 218720"/>
                <a:gd name="connsiteY684" fmla="*/ 224323 h 359632"/>
                <a:gd name="connsiteX685" fmla="*/ 112759 w 218720"/>
                <a:gd name="connsiteY685" fmla="*/ 222197 h 359632"/>
                <a:gd name="connsiteX686" fmla="*/ 113171 w 218720"/>
                <a:gd name="connsiteY686" fmla="*/ 220318 h 359632"/>
                <a:gd name="connsiteX687" fmla="*/ 115977 w 218720"/>
                <a:gd name="connsiteY687" fmla="*/ 218657 h 359632"/>
                <a:gd name="connsiteX688" fmla="*/ 116805 w 218720"/>
                <a:gd name="connsiteY688" fmla="*/ 216135 h 359632"/>
                <a:gd name="connsiteX689" fmla="*/ 117157 w 218720"/>
                <a:gd name="connsiteY689" fmla="*/ 213357 h 359632"/>
                <a:gd name="connsiteX690" fmla="*/ 116691 w 218720"/>
                <a:gd name="connsiteY690" fmla="*/ 212082 h 359632"/>
                <a:gd name="connsiteX691" fmla="*/ 113906 w 218720"/>
                <a:gd name="connsiteY691" fmla="*/ 212287 h 359632"/>
                <a:gd name="connsiteX692" fmla="*/ 112552 w 218720"/>
                <a:gd name="connsiteY692" fmla="*/ 212807 h 359632"/>
                <a:gd name="connsiteX693" fmla="*/ 111337 w 218720"/>
                <a:gd name="connsiteY693" fmla="*/ 213630 h 359632"/>
                <a:gd name="connsiteX694" fmla="*/ 110093 w 218720"/>
                <a:gd name="connsiteY694" fmla="*/ 213581 h 359632"/>
                <a:gd name="connsiteX695" fmla="*/ 106653 w 218720"/>
                <a:gd name="connsiteY695" fmla="*/ 210505 h 359632"/>
                <a:gd name="connsiteX696" fmla="*/ 104691 w 218720"/>
                <a:gd name="connsiteY696" fmla="*/ 208176 h 359632"/>
                <a:gd name="connsiteX697" fmla="*/ 101172 w 218720"/>
                <a:gd name="connsiteY697" fmla="*/ 203238 h 359632"/>
                <a:gd name="connsiteX698" fmla="*/ 100671 w 218720"/>
                <a:gd name="connsiteY698" fmla="*/ 200283 h 359632"/>
                <a:gd name="connsiteX699" fmla="*/ 103490 w 218720"/>
                <a:gd name="connsiteY699" fmla="*/ 193894 h 359632"/>
                <a:gd name="connsiteX700" fmla="*/ 107838 w 218720"/>
                <a:gd name="connsiteY700" fmla="*/ 189799 h 359632"/>
                <a:gd name="connsiteX701" fmla="*/ 112961 w 218720"/>
                <a:gd name="connsiteY701" fmla="*/ 188372 h 359632"/>
                <a:gd name="connsiteX702" fmla="*/ 111970 w 218720"/>
                <a:gd name="connsiteY702" fmla="*/ 188099 h 359632"/>
                <a:gd name="connsiteX703" fmla="*/ 104164 w 218720"/>
                <a:gd name="connsiteY703" fmla="*/ 188044 h 359632"/>
                <a:gd name="connsiteX704" fmla="*/ 101591 w 218720"/>
                <a:gd name="connsiteY704" fmla="*/ 188546 h 359632"/>
                <a:gd name="connsiteX705" fmla="*/ 99206 w 218720"/>
                <a:gd name="connsiteY705" fmla="*/ 190221 h 359632"/>
                <a:gd name="connsiteX706" fmla="*/ 97859 w 218720"/>
                <a:gd name="connsiteY706" fmla="*/ 190735 h 359632"/>
                <a:gd name="connsiteX707" fmla="*/ 96443 w 218720"/>
                <a:gd name="connsiteY707" fmla="*/ 190925 h 359632"/>
                <a:gd name="connsiteX708" fmla="*/ 95153 w 218720"/>
                <a:gd name="connsiteY708" fmla="*/ 191758 h 359632"/>
                <a:gd name="connsiteX709" fmla="*/ 93893 w 218720"/>
                <a:gd name="connsiteY709" fmla="*/ 192914 h 359632"/>
                <a:gd name="connsiteX710" fmla="*/ 92581 w 218720"/>
                <a:gd name="connsiteY710" fmla="*/ 193653 h 359632"/>
                <a:gd name="connsiteX711" fmla="*/ 89975 w 218720"/>
                <a:gd name="connsiteY711" fmla="*/ 193462 h 359632"/>
                <a:gd name="connsiteX712" fmla="*/ 88711 w 218720"/>
                <a:gd name="connsiteY712" fmla="*/ 193706 h 359632"/>
                <a:gd name="connsiteX713" fmla="*/ 87802 w 218720"/>
                <a:gd name="connsiteY713" fmla="*/ 193037 h 359632"/>
                <a:gd name="connsiteX714" fmla="*/ 87042 w 218720"/>
                <a:gd name="connsiteY714" fmla="*/ 191930 h 359632"/>
                <a:gd name="connsiteX715" fmla="*/ 86047 w 218720"/>
                <a:gd name="connsiteY715" fmla="*/ 191635 h 359632"/>
                <a:gd name="connsiteX716" fmla="*/ 84936 w 218720"/>
                <a:gd name="connsiteY716" fmla="*/ 191975 h 359632"/>
                <a:gd name="connsiteX717" fmla="*/ 82587 w 218720"/>
                <a:gd name="connsiteY717" fmla="*/ 193466 h 359632"/>
                <a:gd name="connsiteX718" fmla="*/ 80208 w 218720"/>
                <a:gd name="connsiteY718" fmla="*/ 194346 h 359632"/>
                <a:gd name="connsiteX719" fmla="*/ 77332 w 218720"/>
                <a:gd name="connsiteY719" fmla="*/ 193407 h 359632"/>
                <a:gd name="connsiteX720" fmla="*/ 73562 w 218720"/>
                <a:gd name="connsiteY720" fmla="*/ 191655 h 359632"/>
                <a:gd name="connsiteX721" fmla="*/ 72817 w 218720"/>
                <a:gd name="connsiteY721" fmla="*/ 192294 h 359632"/>
                <a:gd name="connsiteX722" fmla="*/ 71982 w 218720"/>
                <a:gd name="connsiteY722" fmla="*/ 193920 h 359632"/>
                <a:gd name="connsiteX723" fmla="*/ 71501 w 218720"/>
                <a:gd name="connsiteY723" fmla="*/ 196456 h 359632"/>
                <a:gd name="connsiteX724" fmla="*/ 68824 w 218720"/>
                <a:gd name="connsiteY724" fmla="*/ 194254 h 359632"/>
                <a:gd name="connsiteX725" fmla="*/ 66542 w 218720"/>
                <a:gd name="connsiteY725" fmla="*/ 191306 h 359632"/>
                <a:gd name="connsiteX726" fmla="*/ 65777 w 218720"/>
                <a:gd name="connsiteY726" fmla="*/ 189452 h 359632"/>
                <a:gd name="connsiteX727" fmla="*/ 65720 w 218720"/>
                <a:gd name="connsiteY727" fmla="*/ 187364 h 359632"/>
                <a:gd name="connsiteX728" fmla="*/ 66958 w 218720"/>
                <a:gd name="connsiteY728" fmla="*/ 186553 h 359632"/>
                <a:gd name="connsiteX729" fmla="*/ 68303 w 218720"/>
                <a:gd name="connsiteY729" fmla="*/ 187295 h 359632"/>
                <a:gd name="connsiteX730" fmla="*/ 70308 w 218720"/>
                <a:gd name="connsiteY730" fmla="*/ 182331 h 359632"/>
                <a:gd name="connsiteX731" fmla="*/ 74297 w 218720"/>
                <a:gd name="connsiteY731" fmla="*/ 175855 h 359632"/>
                <a:gd name="connsiteX732" fmla="*/ 75704 w 218720"/>
                <a:gd name="connsiteY732" fmla="*/ 173952 h 359632"/>
                <a:gd name="connsiteX733" fmla="*/ 76686 w 218720"/>
                <a:gd name="connsiteY733" fmla="*/ 171467 h 359632"/>
                <a:gd name="connsiteX734" fmla="*/ 76518 w 218720"/>
                <a:gd name="connsiteY734" fmla="*/ 169839 h 359632"/>
                <a:gd name="connsiteX735" fmla="*/ 75638 w 218720"/>
                <a:gd name="connsiteY735" fmla="*/ 168464 h 359632"/>
                <a:gd name="connsiteX736" fmla="*/ 71930 w 218720"/>
                <a:gd name="connsiteY736" fmla="*/ 165337 h 359632"/>
                <a:gd name="connsiteX737" fmla="*/ 71979 w 218720"/>
                <a:gd name="connsiteY737" fmla="*/ 162788 h 359632"/>
                <a:gd name="connsiteX738" fmla="*/ 72376 w 218720"/>
                <a:gd name="connsiteY738" fmla="*/ 159906 h 359632"/>
                <a:gd name="connsiteX739" fmla="*/ 73384 w 218720"/>
                <a:gd name="connsiteY739" fmla="*/ 158175 h 359632"/>
                <a:gd name="connsiteX740" fmla="*/ 73810 w 218720"/>
                <a:gd name="connsiteY740" fmla="*/ 157845 h 359632"/>
                <a:gd name="connsiteX741" fmla="*/ 78735 w 218720"/>
                <a:gd name="connsiteY741" fmla="*/ 157891 h 359632"/>
                <a:gd name="connsiteX742" fmla="*/ 76814 w 218720"/>
                <a:gd name="connsiteY742" fmla="*/ 156997 h 359632"/>
                <a:gd name="connsiteX743" fmla="*/ 72986 w 218720"/>
                <a:gd name="connsiteY743" fmla="*/ 154385 h 359632"/>
                <a:gd name="connsiteX744" fmla="*/ 73054 w 218720"/>
                <a:gd name="connsiteY744" fmla="*/ 153459 h 359632"/>
                <a:gd name="connsiteX745" fmla="*/ 73955 w 218720"/>
                <a:gd name="connsiteY745" fmla="*/ 151041 h 359632"/>
                <a:gd name="connsiteX746" fmla="*/ 73537 w 218720"/>
                <a:gd name="connsiteY746" fmla="*/ 151286 h 359632"/>
                <a:gd name="connsiteX747" fmla="*/ 72717 w 218720"/>
                <a:gd name="connsiteY747" fmla="*/ 152403 h 359632"/>
                <a:gd name="connsiteX748" fmla="*/ 71150 w 218720"/>
                <a:gd name="connsiteY748" fmla="*/ 155105 h 359632"/>
                <a:gd name="connsiteX749" fmla="*/ 70194 w 218720"/>
                <a:gd name="connsiteY749" fmla="*/ 155735 h 359632"/>
                <a:gd name="connsiteX750" fmla="*/ 67486 w 218720"/>
                <a:gd name="connsiteY750" fmla="*/ 156376 h 359632"/>
                <a:gd name="connsiteX751" fmla="*/ 66996 w 218720"/>
                <a:gd name="connsiteY751" fmla="*/ 157705 h 359632"/>
                <a:gd name="connsiteX752" fmla="*/ 66561 w 218720"/>
                <a:gd name="connsiteY752" fmla="*/ 158052 h 359632"/>
                <a:gd name="connsiteX753" fmla="*/ 65208 w 218720"/>
                <a:gd name="connsiteY753" fmla="*/ 158203 h 359632"/>
                <a:gd name="connsiteX754" fmla="*/ 64793 w 218720"/>
                <a:gd name="connsiteY754" fmla="*/ 159441 h 359632"/>
                <a:gd name="connsiteX755" fmla="*/ 64492 w 218720"/>
                <a:gd name="connsiteY755" fmla="*/ 159520 h 359632"/>
                <a:gd name="connsiteX756" fmla="*/ 64107 w 218720"/>
                <a:gd name="connsiteY756" fmla="*/ 158184 h 359632"/>
                <a:gd name="connsiteX757" fmla="*/ 64070 w 218720"/>
                <a:gd name="connsiteY757" fmla="*/ 155968 h 359632"/>
                <a:gd name="connsiteX758" fmla="*/ 64609 w 218720"/>
                <a:gd name="connsiteY758" fmla="*/ 153929 h 359632"/>
                <a:gd name="connsiteX759" fmla="*/ 65638 w 218720"/>
                <a:gd name="connsiteY759" fmla="*/ 152332 h 359632"/>
                <a:gd name="connsiteX760" fmla="*/ 69606 w 218720"/>
                <a:gd name="connsiteY760" fmla="*/ 148697 h 359632"/>
                <a:gd name="connsiteX761" fmla="*/ 67674 w 218720"/>
                <a:gd name="connsiteY761" fmla="*/ 149819 h 359632"/>
                <a:gd name="connsiteX762" fmla="*/ 63295 w 218720"/>
                <a:gd name="connsiteY762" fmla="*/ 153176 h 359632"/>
                <a:gd name="connsiteX763" fmla="*/ 61060 w 218720"/>
                <a:gd name="connsiteY763" fmla="*/ 155381 h 359632"/>
                <a:gd name="connsiteX764" fmla="*/ 60463 w 218720"/>
                <a:gd name="connsiteY764" fmla="*/ 156125 h 359632"/>
                <a:gd name="connsiteX765" fmla="*/ 60276 w 218720"/>
                <a:gd name="connsiteY765" fmla="*/ 156752 h 359632"/>
                <a:gd name="connsiteX766" fmla="*/ 60289 w 218720"/>
                <a:gd name="connsiteY766" fmla="*/ 157474 h 359632"/>
                <a:gd name="connsiteX767" fmla="*/ 61293 w 218720"/>
                <a:gd name="connsiteY767" fmla="*/ 161344 h 359632"/>
                <a:gd name="connsiteX768" fmla="*/ 61007 w 218720"/>
                <a:gd name="connsiteY768" fmla="*/ 163133 h 359632"/>
                <a:gd name="connsiteX769" fmla="*/ 57234 w 218720"/>
                <a:gd name="connsiteY769" fmla="*/ 174922 h 359632"/>
                <a:gd name="connsiteX770" fmla="*/ 56520 w 218720"/>
                <a:gd name="connsiteY770" fmla="*/ 176102 h 359632"/>
                <a:gd name="connsiteX771" fmla="*/ 55863 w 218720"/>
                <a:gd name="connsiteY771" fmla="*/ 176719 h 359632"/>
                <a:gd name="connsiteX772" fmla="*/ 55242 w 218720"/>
                <a:gd name="connsiteY772" fmla="*/ 176860 h 359632"/>
                <a:gd name="connsiteX773" fmla="*/ 53382 w 218720"/>
                <a:gd name="connsiteY773" fmla="*/ 176636 h 359632"/>
                <a:gd name="connsiteX774" fmla="*/ 52552 w 218720"/>
                <a:gd name="connsiteY774" fmla="*/ 175755 h 359632"/>
                <a:gd name="connsiteX775" fmla="*/ 52559 w 218720"/>
                <a:gd name="connsiteY775" fmla="*/ 174757 h 359632"/>
                <a:gd name="connsiteX776" fmla="*/ 52908 w 218720"/>
                <a:gd name="connsiteY776" fmla="*/ 173257 h 359632"/>
                <a:gd name="connsiteX777" fmla="*/ 54472 w 218720"/>
                <a:gd name="connsiteY777" fmla="*/ 167668 h 359632"/>
                <a:gd name="connsiteX778" fmla="*/ 55151 w 218720"/>
                <a:gd name="connsiteY778" fmla="*/ 166113 h 359632"/>
                <a:gd name="connsiteX779" fmla="*/ 56160 w 218720"/>
                <a:gd name="connsiteY779" fmla="*/ 164666 h 359632"/>
                <a:gd name="connsiteX780" fmla="*/ 58383 w 218720"/>
                <a:gd name="connsiteY780" fmla="*/ 162130 h 359632"/>
                <a:gd name="connsiteX781" fmla="*/ 58329 w 218720"/>
                <a:gd name="connsiteY781" fmla="*/ 161965 h 359632"/>
                <a:gd name="connsiteX782" fmla="*/ 56849 w 218720"/>
                <a:gd name="connsiteY782" fmla="*/ 162462 h 359632"/>
                <a:gd name="connsiteX783" fmla="*/ 56218 w 218720"/>
                <a:gd name="connsiteY783" fmla="*/ 162298 h 359632"/>
                <a:gd name="connsiteX784" fmla="*/ 55766 w 218720"/>
                <a:gd name="connsiteY784" fmla="*/ 161796 h 359632"/>
                <a:gd name="connsiteX785" fmla="*/ 56059 w 218720"/>
                <a:gd name="connsiteY785" fmla="*/ 154257 h 359632"/>
                <a:gd name="connsiteX786" fmla="*/ 57260 w 218720"/>
                <a:gd name="connsiteY786" fmla="*/ 151771 h 359632"/>
                <a:gd name="connsiteX787" fmla="*/ 57709 w 218720"/>
                <a:gd name="connsiteY787" fmla="*/ 148150 h 359632"/>
                <a:gd name="connsiteX788" fmla="*/ 58750 w 218720"/>
                <a:gd name="connsiteY788" fmla="*/ 145045 h 359632"/>
                <a:gd name="connsiteX789" fmla="*/ 59955 w 218720"/>
                <a:gd name="connsiteY789" fmla="*/ 142781 h 359632"/>
                <a:gd name="connsiteX790" fmla="*/ 60872 w 218720"/>
                <a:gd name="connsiteY790" fmla="*/ 139881 h 359632"/>
                <a:gd name="connsiteX791" fmla="*/ 62254 w 218720"/>
                <a:gd name="connsiteY791" fmla="*/ 138590 h 359632"/>
                <a:gd name="connsiteX792" fmla="*/ 62624 w 218720"/>
                <a:gd name="connsiteY792" fmla="*/ 136614 h 359632"/>
                <a:gd name="connsiteX793" fmla="*/ 64174 w 218720"/>
                <a:gd name="connsiteY793" fmla="*/ 134473 h 359632"/>
                <a:gd name="connsiteX794" fmla="*/ 65373 w 218720"/>
                <a:gd name="connsiteY794" fmla="*/ 132232 h 359632"/>
                <a:gd name="connsiteX795" fmla="*/ 64727 w 218720"/>
                <a:gd name="connsiteY795" fmla="*/ 132454 h 359632"/>
                <a:gd name="connsiteX796" fmla="*/ 57063 w 218720"/>
                <a:gd name="connsiteY796" fmla="*/ 138281 h 359632"/>
                <a:gd name="connsiteX797" fmla="*/ 55111 w 218720"/>
                <a:gd name="connsiteY797" fmla="*/ 139341 h 359632"/>
                <a:gd name="connsiteX798" fmla="*/ 52450 w 218720"/>
                <a:gd name="connsiteY798" fmla="*/ 139057 h 359632"/>
                <a:gd name="connsiteX799" fmla="*/ 50415 w 218720"/>
                <a:gd name="connsiteY799" fmla="*/ 138403 h 359632"/>
                <a:gd name="connsiteX800" fmla="*/ 48825 w 218720"/>
                <a:gd name="connsiteY800" fmla="*/ 137025 h 359632"/>
                <a:gd name="connsiteX801" fmla="*/ 48114 w 218720"/>
                <a:gd name="connsiteY801" fmla="*/ 134378 h 359632"/>
                <a:gd name="connsiteX802" fmla="*/ 46150 w 218720"/>
                <a:gd name="connsiteY802" fmla="*/ 134307 h 359632"/>
                <a:gd name="connsiteX803" fmla="*/ 44470 w 218720"/>
                <a:gd name="connsiteY803" fmla="*/ 133849 h 359632"/>
                <a:gd name="connsiteX804" fmla="*/ 44491 w 218720"/>
                <a:gd name="connsiteY804" fmla="*/ 133493 h 359632"/>
                <a:gd name="connsiteX805" fmla="*/ 46658 w 218720"/>
                <a:gd name="connsiteY805" fmla="*/ 132048 h 359632"/>
                <a:gd name="connsiteX806" fmla="*/ 50132 w 218720"/>
                <a:gd name="connsiteY806" fmla="*/ 131552 h 359632"/>
                <a:gd name="connsiteX807" fmla="*/ 53383 w 218720"/>
                <a:gd name="connsiteY807" fmla="*/ 129237 h 359632"/>
                <a:gd name="connsiteX808" fmla="*/ 50490 w 218720"/>
                <a:gd name="connsiteY808" fmla="*/ 127672 h 359632"/>
                <a:gd name="connsiteX809" fmla="*/ 50735 w 218720"/>
                <a:gd name="connsiteY809" fmla="*/ 127176 h 359632"/>
                <a:gd name="connsiteX810" fmla="*/ 53258 w 218720"/>
                <a:gd name="connsiteY810" fmla="*/ 125842 h 359632"/>
                <a:gd name="connsiteX811" fmla="*/ 56463 w 218720"/>
                <a:gd name="connsiteY811" fmla="*/ 121362 h 359632"/>
                <a:gd name="connsiteX812" fmla="*/ 57113 w 218720"/>
                <a:gd name="connsiteY812" fmla="*/ 117232 h 359632"/>
                <a:gd name="connsiteX813" fmla="*/ 55580 w 218720"/>
                <a:gd name="connsiteY813" fmla="*/ 115289 h 359632"/>
                <a:gd name="connsiteX814" fmla="*/ 55025 w 218720"/>
                <a:gd name="connsiteY814" fmla="*/ 114015 h 359632"/>
                <a:gd name="connsiteX815" fmla="*/ 51961 w 218720"/>
                <a:gd name="connsiteY815" fmla="*/ 112594 h 359632"/>
                <a:gd name="connsiteX816" fmla="*/ 51449 w 218720"/>
                <a:gd name="connsiteY816" fmla="*/ 110774 h 359632"/>
                <a:gd name="connsiteX817" fmla="*/ 51805 w 218720"/>
                <a:gd name="connsiteY817" fmla="*/ 109758 h 359632"/>
                <a:gd name="connsiteX818" fmla="*/ 52805 w 218720"/>
                <a:gd name="connsiteY818" fmla="*/ 108765 h 359632"/>
                <a:gd name="connsiteX819" fmla="*/ 54312 w 218720"/>
                <a:gd name="connsiteY819" fmla="*/ 107991 h 359632"/>
                <a:gd name="connsiteX820" fmla="*/ 56674 w 218720"/>
                <a:gd name="connsiteY820" fmla="*/ 107251 h 359632"/>
                <a:gd name="connsiteX821" fmla="*/ 54530 w 218720"/>
                <a:gd name="connsiteY821" fmla="*/ 106457 h 359632"/>
                <a:gd name="connsiteX822" fmla="*/ 53730 w 218720"/>
                <a:gd name="connsiteY822" fmla="*/ 105520 h 359632"/>
                <a:gd name="connsiteX823" fmla="*/ 53123 w 218720"/>
                <a:gd name="connsiteY823" fmla="*/ 104163 h 359632"/>
                <a:gd name="connsiteX824" fmla="*/ 53067 w 218720"/>
                <a:gd name="connsiteY824" fmla="*/ 103376 h 359632"/>
                <a:gd name="connsiteX825" fmla="*/ 54177 w 218720"/>
                <a:gd name="connsiteY825" fmla="*/ 99866 h 359632"/>
                <a:gd name="connsiteX826" fmla="*/ 54823 w 218720"/>
                <a:gd name="connsiteY826" fmla="*/ 98417 h 359632"/>
                <a:gd name="connsiteX827" fmla="*/ 56087 w 218720"/>
                <a:gd name="connsiteY827" fmla="*/ 96568 h 359632"/>
                <a:gd name="connsiteX828" fmla="*/ 61821 w 218720"/>
                <a:gd name="connsiteY828" fmla="*/ 96672 h 359632"/>
                <a:gd name="connsiteX829" fmla="*/ 62480 w 218720"/>
                <a:gd name="connsiteY829" fmla="*/ 95855 h 359632"/>
                <a:gd name="connsiteX830" fmla="*/ 63130 w 218720"/>
                <a:gd name="connsiteY830" fmla="*/ 95823 h 359632"/>
                <a:gd name="connsiteX831" fmla="*/ 66062 w 218720"/>
                <a:gd name="connsiteY831" fmla="*/ 96568 h 359632"/>
                <a:gd name="connsiteX832" fmla="*/ 65627 w 218720"/>
                <a:gd name="connsiteY832" fmla="*/ 95766 h 359632"/>
                <a:gd name="connsiteX833" fmla="*/ 60832 w 218720"/>
                <a:gd name="connsiteY833" fmla="*/ 91368 h 359632"/>
                <a:gd name="connsiteX834" fmla="*/ 60402 w 218720"/>
                <a:gd name="connsiteY834" fmla="*/ 90530 h 359632"/>
                <a:gd name="connsiteX835" fmla="*/ 61769 w 218720"/>
                <a:gd name="connsiteY835" fmla="*/ 88154 h 359632"/>
                <a:gd name="connsiteX836" fmla="*/ 61868 w 218720"/>
                <a:gd name="connsiteY836" fmla="*/ 87094 h 359632"/>
                <a:gd name="connsiteX837" fmla="*/ 61668 w 218720"/>
                <a:gd name="connsiteY837" fmla="*/ 85961 h 359632"/>
                <a:gd name="connsiteX838" fmla="*/ 62058 w 218720"/>
                <a:gd name="connsiteY838" fmla="*/ 85098 h 359632"/>
                <a:gd name="connsiteX839" fmla="*/ 63578 w 218720"/>
                <a:gd name="connsiteY839" fmla="*/ 84690 h 359632"/>
                <a:gd name="connsiteX840" fmla="*/ 68213 w 218720"/>
                <a:gd name="connsiteY840" fmla="*/ 84731 h 359632"/>
                <a:gd name="connsiteX841" fmla="*/ 69355 w 218720"/>
                <a:gd name="connsiteY841" fmla="*/ 84329 h 359632"/>
                <a:gd name="connsiteX842" fmla="*/ 68835 w 218720"/>
                <a:gd name="connsiteY842" fmla="*/ 83181 h 359632"/>
                <a:gd name="connsiteX843" fmla="*/ 67756 w 218720"/>
                <a:gd name="connsiteY843" fmla="*/ 81671 h 359632"/>
                <a:gd name="connsiteX844" fmla="*/ 67545 w 218720"/>
                <a:gd name="connsiteY844" fmla="*/ 80402 h 359632"/>
                <a:gd name="connsiteX845" fmla="*/ 67798 w 218720"/>
                <a:gd name="connsiteY845" fmla="*/ 79281 h 359632"/>
                <a:gd name="connsiteX846" fmla="*/ 67857 w 218720"/>
                <a:gd name="connsiteY846" fmla="*/ 77022 h 359632"/>
                <a:gd name="connsiteX847" fmla="*/ 68068 w 218720"/>
                <a:gd name="connsiteY847" fmla="*/ 76022 h 359632"/>
                <a:gd name="connsiteX848" fmla="*/ 69168 w 218720"/>
                <a:gd name="connsiteY848" fmla="*/ 74524 h 359632"/>
                <a:gd name="connsiteX849" fmla="*/ 70077 w 218720"/>
                <a:gd name="connsiteY849" fmla="*/ 74079 h 359632"/>
                <a:gd name="connsiteX850" fmla="*/ 71204 w 218720"/>
                <a:gd name="connsiteY850" fmla="*/ 73818 h 359632"/>
                <a:gd name="connsiteX851" fmla="*/ 73748 w 218720"/>
                <a:gd name="connsiteY851" fmla="*/ 74319 h 359632"/>
                <a:gd name="connsiteX852" fmla="*/ 74718 w 218720"/>
                <a:gd name="connsiteY852" fmla="*/ 74924 h 359632"/>
                <a:gd name="connsiteX853" fmla="*/ 75831 w 218720"/>
                <a:gd name="connsiteY853" fmla="*/ 76352 h 359632"/>
                <a:gd name="connsiteX854" fmla="*/ 76654 w 218720"/>
                <a:gd name="connsiteY854" fmla="*/ 76236 h 359632"/>
                <a:gd name="connsiteX855" fmla="*/ 79822 w 218720"/>
                <a:gd name="connsiteY855" fmla="*/ 74685 h 359632"/>
                <a:gd name="connsiteX856" fmla="*/ 80774 w 218720"/>
                <a:gd name="connsiteY856" fmla="*/ 74462 h 359632"/>
                <a:gd name="connsiteX857" fmla="*/ 82070 w 218720"/>
                <a:gd name="connsiteY857" fmla="*/ 76260 h 359632"/>
                <a:gd name="connsiteX858" fmla="*/ 87480 w 218720"/>
                <a:gd name="connsiteY858" fmla="*/ 74826 h 359632"/>
                <a:gd name="connsiteX859" fmla="*/ 94757 w 218720"/>
                <a:gd name="connsiteY859" fmla="*/ 74183 h 359632"/>
                <a:gd name="connsiteX860" fmla="*/ 99129 w 218720"/>
                <a:gd name="connsiteY860" fmla="*/ 73239 h 359632"/>
                <a:gd name="connsiteX861" fmla="*/ 103733 w 218720"/>
                <a:gd name="connsiteY861" fmla="*/ 72896 h 359632"/>
                <a:gd name="connsiteX862" fmla="*/ 115062 w 218720"/>
                <a:gd name="connsiteY862" fmla="*/ 65804 h 359632"/>
                <a:gd name="connsiteX863" fmla="*/ 116053 w 218720"/>
                <a:gd name="connsiteY863" fmla="*/ 66067 h 359632"/>
                <a:gd name="connsiteX864" fmla="*/ 115685 w 218720"/>
                <a:gd name="connsiteY864" fmla="*/ 66975 h 359632"/>
                <a:gd name="connsiteX865" fmla="*/ 115324 w 218720"/>
                <a:gd name="connsiteY865" fmla="*/ 68857 h 359632"/>
                <a:gd name="connsiteX866" fmla="*/ 115112 w 218720"/>
                <a:gd name="connsiteY866" fmla="*/ 68953 h 359632"/>
                <a:gd name="connsiteX867" fmla="*/ 114307 w 218720"/>
                <a:gd name="connsiteY867" fmla="*/ 68360 h 359632"/>
                <a:gd name="connsiteX868" fmla="*/ 112979 w 218720"/>
                <a:gd name="connsiteY868" fmla="*/ 66228 h 359632"/>
                <a:gd name="connsiteX869" fmla="*/ 105859 w 218720"/>
                <a:gd name="connsiteY869" fmla="*/ 63098 h 359632"/>
                <a:gd name="connsiteX870" fmla="*/ 107750 w 218720"/>
                <a:gd name="connsiteY870" fmla="*/ 63544 h 359632"/>
                <a:gd name="connsiteX871" fmla="*/ 108729 w 218720"/>
                <a:gd name="connsiteY871" fmla="*/ 65107 h 359632"/>
                <a:gd name="connsiteX872" fmla="*/ 108851 w 218720"/>
                <a:gd name="connsiteY872" fmla="*/ 66123 h 359632"/>
                <a:gd name="connsiteX873" fmla="*/ 109083 w 218720"/>
                <a:gd name="connsiteY873" fmla="*/ 66522 h 359632"/>
                <a:gd name="connsiteX874" fmla="*/ 110257 w 218720"/>
                <a:gd name="connsiteY874" fmla="*/ 66923 h 359632"/>
                <a:gd name="connsiteX875" fmla="*/ 110115 w 218720"/>
                <a:gd name="connsiteY875" fmla="*/ 67151 h 359632"/>
                <a:gd name="connsiteX876" fmla="*/ 108851 w 218720"/>
                <a:gd name="connsiteY876" fmla="*/ 67581 h 359632"/>
                <a:gd name="connsiteX877" fmla="*/ 107598 w 218720"/>
                <a:gd name="connsiteY877" fmla="*/ 67549 h 359632"/>
                <a:gd name="connsiteX878" fmla="*/ 105643 w 218720"/>
                <a:gd name="connsiteY878" fmla="*/ 65673 h 359632"/>
                <a:gd name="connsiteX879" fmla="*/ 104900 w 218720"/>
                <a:gd name="connsiteY879" fmla="*/ 64307 h 359632"/>
                <a:gd name="connsiteX880" fmla="*/ 105034 w 218720"/>
                <a:gd name="connsiteY880" fmla="*/ 63403 h 359632"/>
                <a:gd name="connsiteX881" fmla="*/ 108266 w 218720"/>
                <a:gd name="connsiteY881" fmla="*/ 55774 h 359632"/>
                <a:gd name="connsiteX882" fmla="*/ 110302 w 218720"/>
                <a:gd name="connsiteY882" fmla="*/ 56022 h 359632"/>
                <a:gd name="connsiteX883" fmla="*/ 112632 w 218720"/>
                <a:gd name="connsiteY883" fmla="*/ 57239 h 359632"/>
                <a:gd name="connsiteX884" fmla="*/ 113337 w 218720"/>
                <a:gd name="connsiteY884" fmla="*/ 57988 h 359632"/>
                <a:gd name="connsiteX885" fmla="*/ 113320 w 218720"/>
                <a:gd name="connsiteY885" fmla="*/ 58586 h 359632"/>
                <a:gd name="connsiteX886" fmla="*/ 112493 w 218720"/>
                <a:gd name="connsiteY886" fmla="*/ 59499 h 359632"/>
                <a:gd name="connsiteX887" fmla="*/ 112199 w 218720"/>
                <a:gd name="connsiteY887" fmla="*/ 60302 h 359632"/>
                <a:gd name="connsiteX888" fmla="*/ 113880 w 218720"/>
                <a:gd name="connsiteY888" fmla="*/ 60283 h 359632"/>
                <a:gd name="connsiteX889" fmla="*/ 116315 w 218720"/>
                <a:gd name="connsiteY889" fmla="*/ 60967 h 359632"/>
                <a:gd name="connsiteX890" fmla="*/ 117789 w 218720"/>
                <a:gd name="connsiteY890" fmla="*/ 61053 h 359632"/>
                <a:gd name="connsiteX891" fmla="*/ 119015 w 218720"/>
                <a:gd name="connsiteY891" fmla="*/ 61901 h 359632"/>
                <a:gd name="connsiteX892" fmla="*/ 118339 w 218720"/>
                <a:gd name="connsiteY892" fmla="*/ 63490 h 359632"/>
                <a:gd name="connsiteX893" fmla="*/ 117605 w 218720"/>
                <a:gd name="connsiteY893" fmla="*/ 63935 h 359632"/>
                <a:gd name="connsiteX894" fmla="*/ 116775 w 218720"/>
                <a:gd name="connsiteY894" fmla="*/ 64023 h 359632"/>
                <a:gd name="connsiteX895" fmla="*/ 113877 w 218720"/>
                <a:gd name="connsiteY895" fmla="*/ 62436 h 359632"/>
                <a:gd name="connsiteX896" fmla="*/ 110079 w 218720"/>
                <a:gd name="connsiteY896" fmla="*/ 63095 h 359632"/>
                <a:gd name="connsiteX897" fmla="*/ 109323 w 218720"/>
                <a:gd name="connsiteY897" fmla="*/ 62894 h 359632"/>
                <a:gd name="connsiteX898" fmla="*/ 108824 w 218720"/>
                <a:gd name="connsiteY898" fmla="*/ 62455 h 359632"/>
                <a:gd name="connsiteX899" fmla="*/ 108619 w 218720"/>
                <a:gd name="connsiteY899" fmla="*/ 61911 h 359632"/>
                <a:gd name="connsiteX900" fmla="*/ 108615 w 218720"/>
                <a:gd name="connsiteY900" fmla="*/ 60801 h 359632"/>
                <a:gd name="connsiteX901" fmla="*/ 108409 w 218720"/>
                <a:gd name="connsiteY901" fmla="*/ 60473 h 359632"/>
                <a:gd name="connsiteX902" fmla="*/ 107033 w 218720"/>
                <a:gd name="connsiteY902" fmla="*/ 61523 h 359632"/>
                <a:gd name="connsiteX903" fmla="*/ 106429 w 218720"/>
                <a:gd name="connsiteY903" fmla="*/ 61399 h 359632"/>
                <a:gd name="connsiteX904" fmla="*/ 106088 w 218720"/>
                <a:gd name="connsiteY904" fmla="*/ 60896 h 359632"/>
                <a:gd name="connsiteX905" fmla="*/ 105941 w 218720"/>
                <a:gd name="connsiteY905" fmla="*/ 59853 h 359632"/>
                <a:gd name="connsiteX906" fmla="*/ 106094 w 218720"/>
                <a:gd name="connsiteY906" fmla="*/ 58347 h 359632"/>
                <a:gd name="connsiteX907" fmla="*/ 106900 w 218720"/>
                <a:gd name="connsiteY907" fmla="*/ 56202 h 359632"/>
                <a:gd name="connsiteX908" fmla="*/ 124031 w 218720"/>
                <a:gd name="connsiteY908" fmla="*/ 50542 h 359632"/>
                <a:gd name="connsiteX909" fmla="*/ 126876 w 218720"/>
                <a:gd name="connsiteY909" fmla="*/ 50758 h 359632"/>
                <a:gd name="connsiteX910" fmla="*/ 126370 w 218720"/>
                <a:gd name="connsiteY910" fmla="*/ 51625 h 359632"/>
                <a:gd name="connsiteX911" fmla="*/ 123738 w 218720"/>
                <a:gd name="connsiteY911" fmla="*/ 52921 h 359632"/>
                <a:gd name="connsiteX912" fmla="*/ 121235 w 218720"/>
                <a:gd name="connsiteY912" fmla="*/ 52960 h 359632"/>
                <a:gd name="connsiteX913" fmla="*/ 122528 w 218720"/>
                <a:gd name="connsiteY913" fmla="*/ 51028 h 359632"/>
                <a:gd name="connsiteX914" fmla="*/ 114304 w 218720"/>
                <a:gd name="connsiteY914" fmla="*/ 49137 h 359632"/>
                <a:gd name="connsiteX915" fmla="*/ 116822 w 218720"/>
                <a:gd name="connsiteY915" fmla="*/ 51059 h 359632"/>
                <a:gd name="connsiteX916" fmla="*/ 117853 w 218720"/>
                <a:gd name="connsiteY916" fmla="*/ 52612 h 359632"/>
                <a:gd name="connsiteX917" fmla="*/ 119718 w 218720"/>
                <a:gd name="connsiteY917" fmla="*/ 53071 h 359632"/>
                <a:gd name="connsiteX918" fmla="*/ 119956 w 218720"/>
                <a:gd name="connsiteY918" fmla="*/ 53309 h 359632"/>
                <a:gd name="connsiteX919" fmla="*/ 119746 w 218720"/>
                <a:gd name="connsiteY919" fmla="*/ 54377 h 359632"/>
                <a:gd name="connsiteX920" fmla="*/ 117848 w 218720"/>
                <a:gd name="connsiteY920" fmla="*/ 55188 h 359632"/>
                <a:gd name="connsiteX921" fmla="*/ 117038 w 218720"/>
                <a:gd name="connsiteY921" fmla="*/ 54517 h 359632"/>
                <a:gd name="connsiteX922" fmla="*/ 116827 w 218720"/>
                <a:gd name="connsiteY922" fmla="*/ 52416 h 359632"/>
                <a:gd name="connsiteX923" fmla="*/ 114564 w 218720"/>
                <a:gd name="connsiteY923" fmla="*/ 51516 h 359632"/>
                <a:gd name="connsiteX924" fmla="*/ 113464 w 218720"/>
                <a:gd name="connsiteY924" fmla="*/ 50957 h 359632"/>
                <a:gd name="connsiteX925" fmla="*/ 112612 w 218720"/>
                <a:gd name="connsiteY925" fmla="*/ 49897 h 359632"/>
                <a:gd name="connsiteX926" fmla="*/ 112829 w 218720"/>
                <a:gd name="connsiteY926" fmla="*/ 49572 h 359632"/>
                <a:gd name="connsiteX927" fmla="*/ 149939 w 218720"/>
                <a:gd name="connsiteY927" fmla="*/ 7430 h 359632"/>
                <a:gd name="connsiteX928" fmla="*/ 151315 w 218720"/>
                <a:gd name="connsiteY928" fmla="*/ 7494 h 359632"/>
                <a:gd name="connsiteX929" fmla="*/ 151174 w 218720"/>
                <a:gd name="connsiteY929" fmla="*/ 9833 h 359632"/>
                <a:gd name="connsiteX930" fmla="*/ 151632 w 218720"/>
                <a:gd name="connsiteY930" fmla="*/ 12180 h 359632"/>
                <a:gd name="connsiteX931" fmla="*/ 152774 w 218720"/>
                <a:gd name="connsiteY931" fmla="*/ 11572 h 359632"/>
                <a:gd name="connsiteX932" fmla="*/ 154498 w 218720"/>
                <a:gd name="connsiteY932" fmla="*/ 13821 h 359632"/>
                <a:gd name="connsiteX933" fmla="*/ 155378 w 218720"/>
                <a:gd name="connsiteY933" fmla="*/ 13824 h 359632"/>
                <a:gd name="connsiteX934" fmla="*/ 156827 w 218720"/>
                <a:gd name="connsiteY934" fmla="*/ 12931 h 359632"/>
                <a:gd name="connsiteX935" fmla="*/ 156535 w 218720"/>
                <a:gd name="connsiteY935" fmla="*/ 15023 h 359632"/>
                <a:gd name="connsiteX936" fmla="*/ 155031 w 218720"/>
                <a:gd name="connsiteY936" fmla="*/ 20819 h 359632"/>
                <a:gd name="connsiteX937" fmla="*/ 154608 w 218720"/>
                <a:gd name="connsiteY937" fmla="*/ 21802 h 359632"/>
                <a:gd name="connsiteX938" fmla="*/ 154322 w 218720"/>
                <a:gd name="connsiteY938" fmla="*/ 23560 h 359632"/>
                <a:gd name="connsiteX939" fmla="*/ 154023 w 218720"/>
                <a:gd name="connsiteY939" fmla="*/ 23902 h 359632"/>
                <a:gd name="connsiteX940" fmla="*/ 153579 w 218720"/>
                <a:gd name="connsiteY940" fmla="*/ 27452 h 359632"/>
                <a:gd name="connsiteX941" fmla="*/ 152562 w 218720"/>
                <a:gd name="connsiteY941" fmla="*/ 28620 h 359632"/>
                <a:gd name="connsiteX942" fmla="*/ 151712 w 218720"/>
                <a:gd name="connsiteY942" fmla="*/ 31404 h 359632"/>
                <a:gd name="connsiteX943" fmla="*/ 151365 w 218720"/>
                <a:gd name="connsiteY943" fmla="*/ 31676 h 359632"/>
                <a:gd name="connsiteX944" fmla="*/ 150118 w 218720"/>
                <a:gd name="connsiteY944" fmla="*/ 30605 h 359632"/>
                <a:gd name="connsiteX945" fmla="*/ 151364 w 218720"/>
                <a:gd name="connsiteY945" fmla="*/ 26353 h 359632"/>
                <a:gd name="connsiteX946" fmla="*/ 151880 w 218720"/>
                <a:gd name="connsiteY946" fmla="*/ 23878 h 359632"/>
                <a:gd name="connsiteX947" fmla="*/ 151554 w 218720"/>
                <a:gd name="connsiteY947" fmla="*/ 22593 h 359632"/>
                <a:gd name="connsiteX948" fmla="*/ 150849 w 218720"/>
                <a:gd name="connsiteY948" fmla="*/ 21436 h 359632"/>
                <a:gd name="connsiteX949" fmla="*/ 148942 w 218720"/>
                <a:gd name="connsiteY949" fmla="*/ 21399 h 359632"/>
                <a:gd name="connsiteX950" fmla="*/ 147340 w 218720"/>
                <a:gd name="connsiteY950" fmla="*/ 21933 h 359632"/>
                <a:gd name="connsiteX951" fmla="*/ 147000 w 218720"/>
                <a:gd name="connsiteY951" fmla="*/ 21250 h 359632"/>
                <a:gd name="connsiteX952" fmla="*/ 146950 w 218720"/>
                <a:gd name="connsiteY952" fmla="*/ 20329 h 359632"/>
                <a:gd name="connsiteX953" fmla="*/ 146564 w 218720"/>
                <a:gd name="connsiteY953" fmla="*/ 20023 h 359632"/>
                <a:gd name="connsiteX954" fmla="*/ 144431 w 218720"/>
                <a:gd name="connsiteY954" fmla="*/ 20086 h 359632"/>
                <a:gd name="connsiteX955" fmla="*/ 143805 w 218720"/>
                <a:gd name="connsiteY955" fmla="*/ 19832 h 359632"/>
                <a:gd name="connsiteX956" fmla="*/ 143392 w 218720"/>
                <a:gd name="connsiteY956" fmla="*/ 18986 h 359632"/>
                <a:gd name="connsiteX957" fmla="*/ 143310 w 218720"/>
                <a:gd name="connsiteY957" fmla="*/ 18314 h 359632"/>
                <a:gd name="connsiteX958" fmla="*/ 145236 w 218720"/>
                <a:gd name="connsiteY958" fmla="*/ 17787 h 359632"/>
                <a:gd name="connsiteX959" fmla="*/ 147054 w 218720"/>
                <a:gd name="connsiteY959" fmla="*/ 17983 h 359632"/>
                <a:gd name="connsiteX960" fmla="*/ 149703 w 218720"/>
                <a:gd name="connsiteY960" fmla="*/ 16640 h 359632"/>
                <a:gd name="connsiteX961" fmla="*/ 148046 w 218720"/>
                <a:gd name="connsiteY961" fmla="*/ 12130 h 359632"/>
                <a:gd name="connsiteX962" fmla="*/ 145851 w 218720"/>
                <a:gd name="connsiteY962" fmla="*/ 11705 h 359632"/>
                <a:gd name="connsiteX963" fmla="*/ 145344 w 218720"/>
                <a:gd name="connsiteY963" fmla="*/ 11268 h 359632"/>
                <a:gd name="connsiteX964" fmla="*/ 145767 w 218720"/>
                <a:gd name="connsiteY964" fmla="*/ 10502 h 359632"/>
                <a:gd name="connsiteX965" fmla="*/ 146972 w 218720"/>
                <a:gd name="connsiteY965" fmla="*/ 10089 h 359632"/>
                <a:gd name="connsiteX966" fmla="*/ 148828 w 218720"/>
                <a:gd name="connsiteY966" fmla="*/ 7792 h 359632"/>
                <a:gd name="connsiteX967" fmla="*/ 155924 w 218720"/>
                <a:gd name="connsiteY967" fmla="*/ 3736 h 359632"/>
                <a:gd name="connsiteX968" fmla="*/ 157863 w 218720"/>
                <a:gd name="connsiteY968" fmla="*/ 3860 h 359632"/>
                <a:gd name="connsiteX969" fmla="*/ 158171 w 218720"/>
                <a:gd name="connsiteY969" fmla="*/ 4878 h 359632"/>
                <a:gd name="connsiteX970" fmla="*/ 157979 w 218720"/>
                <a:gd name="connsiteY970" fmla="*/ 5814 h 359632"/>
                <a:gd name="connsiteX971" fmla="*/ 156991 w 218720"/>
                <a:gd name="connsiteY971" fmla="*/ 5897 h 359632"/>
                <a:gd name="connsiteX972" fmla="*/ 156903 w 218720"/>
                <a:gd name="connsiteY972" fmla="*/ 6184 h 359632"/>
                <a:gd name="connsiteX973" fmla="*/ 157211 w 218720"/>
                <a:gd name="connsiteY973" fmla="*/ 7986 h 359632"/>
                <a:gd name="connsiteX974" fmla="*/ 157230 w 218720"/>
                <a:gd name="connsiteY974" fmla="*/ 10077 h 359632"/>
                <a:gd name="connsiteX975" fmla="*/ 157046 w 218720"/>
                <a:gd name="connsiteY975" fmla="*/ 10621 h 359632"/>
                <a:gd name="connsiteX976" fmla="*/ 156486 w 218720"/>
                <a:gd name="connsiteY976" fmla="*/ 11006 h 359632"/>
                <a:gd name="connsiteX977" fmla="*/ 154327 w 218720"/>
                <a:gd name="connsiteY977" fmla="*/ 7619 h 359632"/>
                <a:gd name="connsiteX978" fmla="*/ 161891 w 218720"/>
                <a:gd name="connsiteY978" fmla="*/ 0 h 359632"/>
                <a:gd name="connsiteX979" fmla="*/ 162369 w 218720"/>
                <a:gd name="connsiteY979" fmla="*/ 21 h 359632"/>
                <a:gd name="connsiteX980" fmla="*/ 162978 w 218720"/>
                <a:gd name="connsiteY980" fmla="*/ 667 h 359632"/>
                <a:gd name="connsiteX981" fmla="*/ 162977 w 218720"/>
                <a:gd name="connsiteY981" fmla="*/ 1051 h 359632"/>
                <a:gd name="connsiteX982" fmla="*/ 161831 w 218720"/>
                <a:gd name="connsiteY982" fmla="*/ 3871 h 359632"/>
                <a:gd name="connsiteX983" fmla="*/ 161846 w 218720"/>
                <a:gd name="connsiteY983" fmla="*/ 4948 h 359632"/>
                <a:gd name="connsiteX984" fmla="*/ 159996 w 218720"/>
                <a:gd name="connsiteY984" fmla="*/ 4845 h 359632"/>
                <a:gd name="connsiteX985" fmla="*/ 159706 w 218720"/>
                <a:gd name="connsiteY985" fmla="*/ 4502 h 359632"/>
                <a:gd name="connsiteX986" fmla="*/ 159356 w 218720"/>
                <a:gd name="connsiteY986" fmla="*/ 2885 h 359632"/>
                <a:gd name="connsiteX987" fmla="*/ 159589 w 218720"/>
                <a:gd name="connsiteY987" fmla="*/ 1162 h 359632"/>
                <a:gd name="connsiteX988" fmla="*/ 159848 w 218720"/>
                <a:gd name="connsiteY988" fmla="*/ 718 h 359632"/>
                <a:gd name="connsiteX989" fmla="*/ 160388 w 218720"/>
                <a:gd name="connsiteY989" fmla="*/ 535 h 359632"/>
                <a:gd name="connsiteX990" fmla="*/ 160973 w 218720"/>
                <a:gd name="connsiteY990" fmla="*/ 873 h 3596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</a:cxnLst>
              <a:rect l="l" t="t" r="r" b="b"/>
              <a:pathLst>
                <a:path w="218720" h="359632">
                  <a:moveTo>
                    <a:pt x="130999" y="356870"/>
                  </a:moveTo>
                  <a:lnTo>
                    <a:pt x="134057" y="357184"/>
                  </a:lnTo>
                  <a:lnTo>
                    <a:pt x="135462" y="357875"/>
                  </a:lnTo>
                  <a:lnTo>
                    <a:pt x="135656" y="359317"/>
                  </a:lnTo>
                  <a:lnTo>
                    <a:pt x="134686" y="359632"/>
                  </a:lnTo>
                  <a:lnTo>
                    <a:pt x="133862" y="359129"/>
                  </a:lnTo>
                  <a:lnTo>
                    <a:pt x="132211" y="359129"/>
                  </a:lnTo>
                  <a:lnTo>
                    <a:pt x="130660" y="359444"/>
                  </a:lnTo>
                  <a:close/>
                  <a:moveTo>
                    <a:pt x="123886" y="349985"/>
                  </a:moveTo>
                  <a:lnTo>
                    <a:pt x="124356" y="349993"/>
                  </a:lnTo>
                  <a:lnTo>
                    <a:pt x="124547" y="350331"/>
                  </a:lnTo>
                  <a:lnTo>
                    <a:pt x="123771" y="352219"/>
                  </a:lnTo>
                  <a:lnTo>
                    <a:pt x="121745" y="351582"/>
                  </a:lnTo>
                  <a:lnTo>
                    <a:pt x="121587" y="351086"/>
                  </a:lnTo>
                  <a:close/>
                  <a:moveTo>
                    <a:pt x="151070" y="313354"/>
                  </a:moveTo>
                  <a:lnTo>
                    <a:pt x="154798" y="314483"/>
                  </a:lnTo>
                  <a:lnTo>
                    <a:pt x="156537" y="315778"/>
                  </a:lnTo>
                  <a:lnTo>
                    <a:pt x="154684" y="316783"/>
                  </a:lnTo>
                  <a:lnTo>
                    <a:pt x="154099" y="317960"/>
                  </a:lnTo>
                  <a:lnTo>
                    <a:pt x="153651" y="318425"/>
                  </a:lnTo>
                  <a:lnTo>
                    <a:pt x="152426" y="318728"/>
                  </a:lnTo>
                  <a:lnTo>
                    <a:pt x="151214" y="318736"/>
                  </a:lnTo>
                  <a:lnTo>
                    <a:pt x="146592" y="316373"/>
                  </a:lnTo>
                  <a:lnTo>
                    <a:pt x="145528" y="316480"/>
                  </a:lnTo>
                  <a:lnTo>
                    <a:pt x="146584" y="315397"/>
                  </a:lnTo>
                  <a:lnTo>
                    <a:pt x="149455" y="314517"/>
                  </a:lnTo>
                  <a:close/>
                  <a:moveTo>
                    <a:pt x="81441" y="235014"/>
                  </a:moveTo>
                  <a:lnTo>
                    <a:pt x="84683" y="235075"/>
                  </a:lnTo>
                  <a:lnTo>
                    <a:pt x="87299" y="237958"/>
                  </a:lnTo>
                  <a:lnTo>
                    <a:pt x="88226" y="238517"/>
                  </a:lnTo>
                  <a:lnTo>
                    <a:pt x="90559" y="238429"/>
                  </a:lnTo>
                  <a:lnTo>
                    <a:pt x="89787" y="239675"/>
                  </a:lnTo>
                  <a:lnTo>
                    <a:pt x="87220" y="241064"/>
                  </a:lnTo>
                  <a:lnTo>
                    <a:pt x="85490" y="242434"/>
                  </a:lnTo>
                  <a:lnTo>
                    <a:pt x="83402" y="243581"/>
                  </a:lnTo>
                  <a:lnTo>
                    <a:pt x="82389" y="242265"/>
                  </a:lnTo>
                  <a:lnTo>
                    <a:pt x="81214" y="242315"/>
                  </a:lnTo>
                  <a:lnTo>
                    <a:pt x="79418" y="239791"/>
                  </a:lnTo>
                  <a:lnTo>
                    <a:pt x="79094" y="236001"/>
                  </a:lnTo>
                  <a:close/>
                  <a:moveTo>
                    <a:pt x="82259" y="205081"/>
                  </a:moveTo>
                  <a:lnTo>
                    <a:pt x="82904" y="205211"/>
                  </a:lnTo>
                  <a:lnTo>
                    <a:pt x="83310" y="205526"/>
                  </a:lnTo>
                  <a:lnTo>
                    <a:pt x="84177" y="209288"/>
                  </a:lnTo>
                  <a:lnTo>
                    <a:pt x="82976" y="210618"/>
                  </a:lnTo>
                  <a:lnTo>
                    <a:pt x="82539" y="211836"/>
                  </a:lnTo>
                  <a:lnTo>
                    <a:pt x="78068" y="215684"/>
                  </a:lnTo>
                  <a:lnTo>
                    <a:pt x="76259" y="214993"/>
                  </a:lnTo>
                  <a:lnTo>
                    <a:pt x="74718" y="215358"/>
                  </a:lnTo>
                  <a:lnTo>
                    <a:pt x="74285" y="215248"/>
                  </a:lnTo>
                  <a:lnTo>
                    <a:pt x="75165" y="213859"/>
                  </a:lnTo>
                  <a:lnTo>
                    <a:pt x="76200" y="210633"/>
                  </a:lnTo>
                  <a:lnTo>
                    <a:pt x="78055" y="209353"/>
                  </a:lnTo>
                  <a:lnTo>
                    <a:pt x="80403" y="206010"/>
                  </a:lnTo>
                  <a:close/>
                  <a:moveTo>
                    <a:pt x="39128" y="179485"/>
                  </a:moveTo>
                  <a:lnTo>
                    <a:pt x="42247" y="180254"/>
                  </a:lnTo>
                  <a:lnTo>
                    <a:pt x="44571" y="180238"/>
                  </a:lnTo>
                  <a:lnTo>
                    <a:pt x="46635" y="182483"/>
                  </a:lnTo>
                  <a:lnTo>
                    <a:pt x="47742" y="186017"/>
                  </a:lnTo>
                  <a:lnTo>
                    <a:pt x="50319" y="189504"/>
                  </a:lnTo>
                  <a:lnTo>
                    <a:pt x="53688" y="192534"/>
                  </a:lnTo>
                  <a:lnTo>
                    <a:pt x="53822" y="194385"/>
                  </a:lnTo>
                  <a:lnTo>
                    <a:pt x="52619" y="195378"/>
                  </a:lnTo>
                  <a:lnTo>
                    <a:pt x="50100" y="196612"/>
                  </a:lnTo>
                  <a:lnTo>
                    <a:pt x="50111" y="197930"/>
                  </a:lnTo>
                  <a:lnTo>
                    <a:pt x="51772" y="197265"/>
                  </a:lnTo>
                  <a:lnTo>
                    <a:pt x="53206" y="196958"/>
                  </a:lnTo>
                  <a:lnTo>
                    <a:pt x="56658" y="197253"/>
                  </a:lnTo>
                  <a:lnTo>
                    <a:pt x="57865" y="198593"/>
                  </a:lnTo>
                  <a:lnTo>
                    <a:pt x="58699" y="200597"/>
                  </a:lnTo>
                  <a:lnTo>
                    <a:pt x="59137" y="202242"/>
                  </a:lnTo>
                  <a:lnTo>
                    <a:pt x="58839" y="204029"/>
                  </a:lnTo>
                  <a:lnTo>
                    <a:pt x="57910" y="203463"/>
                  </a:lnTo>
                  <a:lnTo>
                    <a:pt x="56966" y="201864"/>
                  </a:lnTo>
                  <a:lnTo>
                    <a:pt x="55918" y="201127"/>
                  </a:lnTo>
                  <a:lnTo>
                    <a:pt x="54699" y="200729"/>
                  </a:lnTo>
                  <a:lnTo>
                    <a:pt x="55252" y="202924"/>
                  </a:lnTo>
                  <a:lnTo>
                    <a:pt x="55034" y="205857"/>
                  </a:lnTo>
                  <a:lnTo>
                    <a:pt x="55566" y="206133"/>
                  </a:lnTo>
                  <a:lnTo>
                    <a:pt x="57204" y="206184"/>
                  </a:lnTo>
                  <a:lnTo>
                    <a:pt x="56121" y="209183"/>
                  </a:lnTo>
                  <a:lnTo>
                    <a:pt x="53882" y="209996"/>
                  </a:lnTo>
                  <a:lnTo>
                    <a:pt x="51270" y="210300"/>
                  </a:lnTo>
                  <a:lnTo>
                    <a:pt x="50640" y="211361"/>
                  </a:lnTo>
                  <a:lnTo>
                    <a:pt x="50166" y="212727"/>
                  </a:lnTo>
                  <a:lnTo>
                    <a:pt x="48803" y="214762"/>
                  </a:lnTo>
                  <a:lnTo>
                    <a:pt x="47005" y="215909"/>
                  </a:lnTo>
                  <a:lnTo>
                    <a:pt x="44783" y="215678"/>
                  </a:lnTo>
                  <a:lnTo>
                    <a:pt x="42606" y="214772"/>
                  </a:lnTo>
                  <a:lnTo>
                    <a:pt x="40712" y="214586"/>
                  </a:lnTo>
                  <a:lnTo>
                    <a:pt x="39385" y="215125"/>
                  </a:lnTo>
                  <a:lnTo>
                    <a:pt x="38524" y="215625"/>
                  </a:lnTo>
                  <a:lnTo>
                    <a:pt x="37691" y="215534"/>
                  </a:lnTo>
                  <a:lnTo>
                    <a:pt x="35306" y="215727"/>
                  </a:lnTo>
                  <a:lnTo>
                    <a:pt x="33058" y="215686"/>
                  </a:lnTo>
                  <a:lnTo>
                    <a:pt x="32739" y="214892"/>
                  </a:lnTo>
                  <a:lnTo>
                    <a:pt x="33122" y="212503"/>
                  </a:lnTo>
                  <a:lnTo>
                    <a:pt x="32622" y="211855"/>
                  </a:lnTo>
                  <a:lnTo>
                    <a:pt x="30475" y="211524"/>
                  </a:lnTo>
                  <a:lnTo>
                    <a:pt x="29679" y="210954"/>
                  </a:lnTo>
                  <a:lnTo>
                    <a:pt x="28446" y="209302"/>
                  </a:lnTo>
                  <a:lnTo>
                    <a:pt x="28206" y="208528"/>
                  </a:lnTo>
                  <a:lnTo>
                    <a:pt x="28029" y="207461"/>
                  </a:lnTo>
                  <a:lnTo>
                    <a:pt x="26726" y="206083"/>
                  </a:lnTo>
                  <a:lnTo>
                    <a:pt x="25144" y="205096"/>
                  </a:lnTo>
                  <a:lnTo>
                    <a:pt x="24215" y="205048"/>
                  </a:lnTo>
                  <a:lnTo>
                    <a:pt x="22362" y="206660"/>
                  </a:lnTo>
                  <a:lnTo>
                    <a:pt x="20834" y="208292"/>
                  </a:lnTo>
                  <a:lnTo>
                    <a:pt x="21377" y="209111"/>
                  </a:lnTo>
                  <a:lnTo>
                    <a:pt x="21876" y="210189"/>
                  </a:lnTo>
                  <a:lnTo>
                    <a:pt x="21045" y="210961"/>
                  </a:lnTo>
                  <a:lnTo>
                    <a:pt x="18532" y="212728"/>
                  </a:lnTo>
                  <a:lnTo>
                    <a:pt x="18139" y="213414"/>
                  </a:lnTo>
                  <a:lnTo>
                    <a:pt x="17461" y="213785"/>
                  </a:lnTo>
                  <a:lnTo>
                    <a:pt x="16261" y="213296"/>
                  </a:lnTo>
                  <a:lnTo>
                    <a:pt x="13276" y="213409"/>
                  </a:lnTo>
                  <a:lnTo>
                    <a:pt x="11902" y="213097"/>
                  </a:lnTo>
                  <a:lnTo>
                    <a:pt x="10305" y="211796"/>
                  </a:lnTo>
                  <a:lnTo>
                    <a:pt x="6410" y="210925"/>
                  </a:lnTo>
                  <a:lnTo>
                    <a:pt x="5757" y="208841"/>
                  </a:lnTo>
                  <a:lnTo>
                    <a:pt x="5005" y="208451"/>
                  </a:lnTo>
                  <a:lnTo>
                    <a:pt x="587" y="204865"/>
                  </a:lnTo>
                  <a:lnTo>
                    <a:pt x="0" y="203667"/>
                  </a:lnTo>
                  <a:lnTo>
                    <a:pt x="572" y="202952"/>
                  </a:lnTo>
                  <a:lnTo>
                    <a:pt x="2222" y="201868"/>
                  </a:lnTo>
                  <a:lnTo>
                    <a:pt x="7762" y="200072"/>
                  </a:lnTo>
                  <a:lnTo>
                    <a:pt x="8633" y="199348"/>
                  </a:lnTo>
                  <a:lnTo>
                    <a:pt x="8812" y="198709"/>
                  </a:lnTo>
                  <a:lnTo>
                    <a:pt x="7186" y="197979"/>
                  </a:lnTo>
                  <a:lnTo>
                    <a:pt x="5720" y="197172"/>
                  </a:lnTo>
                  <a:lnTo>
                    <a:pt x="5220" y="196643"/>
                  </a:lnTo>
                  <a:lnTo>
                    <a:pt x="5179" y="196184"/>
                  </a:lnTo>
                  <a:lnTo>
                    <a:pt x="6011" y="195586"/>
                  </a:lnTo>
                  <a:lnTo>
                    <a:pt x="7685" y="195543"/>
                  </a:lnTo>
                  <a:lnTo>
                    <a:pt x="9007" y="195813"/>
                  </a:lnTo>
                  <a:lnTo>
                    <a:pt x="10057" y="195275"/>
                  </a:lnTo>
                  <a:lnTo>
                    <a:pt x="11904" y="194734"/>
                  </a:lnTo>
                  <a:lnTo>
                    <a:pt x="13144" y="194052"/>
                  </a:lnTo>
                  <a:lnTo>
                    <a:pt x="14210" y="192290"/>
                  </a:lnTo>
                  <a:lnTo>
                    <a:pt x="15336" y="190705"/>
                  </a:lnTo>
                  <a:lnTo>
                    <a:pt x="15452" y="189845"/>
                  </a:lnTo>
                  <a:lnTo>
                    <a:pt x="16438" y="186828"/>
                  </a:lnTo>
                  <a:lnTo>
                    <a:pt x="16980" y="186079"/>
                  </a:lnTo>
                  <a:lnTo>
                    <a:pt x="20479" y="184101"/>
                  </a:lnTo>
                  <a:lnTo>
                    <a:pt x="21365" y="185181"/>
                  </a:lnTo>
                  <a:lnTo>
                    <a:pt x="23089" y="185445"/>
                  </a:lnTo>
                  <a:lnTo>
                    <a:pt x="24634" y="184451"/>
                  </a:lnTo>
                  <a:lnTo>
                    <a:pt x="26483" y="181313"/>
                  </a:lnTo>
                  <a:lnTo>
                    <a:pt x="27769" y="181116"/>
                  </a:lnTo>
                  <a:lnTo>
                    <a:pt x="29187" y="181370"/>
                  </a:lnTo>
                  <a:lnTo>
                    <a:pt x="31974" y="180975"/>
                  </a:lnTo>
                  <a:lnTo>
                    <a:pt x="36922" y="179509"/>
                  </a:lnTo>
                  <a:close/>
                  <a:moveTo>
                    <a:pt x="63975" y="164784"/>
                  </a:moveTo>
                  <a:lnTo>
                    <a:pt x="65438" y="165590"/>
                  </a:lnTo>
                  <a:lnTo>
                    <a:pt x="65992" y="166340"/>
                  </a:lnTo>
                  <a:lnTo>
                    <a:pt x="67217" y="169218"/>
                  </a:lnTo>
                  <a:lnTo>
                    <a:pt x="67444" y="171683"/>
                  </a:lnTo>
                  <a:lnTo>
                    <a:pt x="67207" y="173091"/>
                  </a:lnTo>
                  <a:lnTo>
                    <a:pt x="64420" y="173114"/>
                  </a:lnTo>
                  <a:lnTo>
                    <a:pt x="63412" y="172847"/>
                  </a:lnTo>
                  <a:lnTo>
                    <a:pt x="62208" y="172095"/>
                  </a:lnTo>
                  <a:lnTo>
                    <a:pt x="60856" y="167842"/>
                  </a:lnTo>
                  <a:lnTo>
                    <a:pt x="61339" y="166336"/>
                  </a:lnTo>
                  <a:lnTo>
                    <a:pt x="61894" y="165598"/>
                  </a:lnTo>
                  <a:lnTo>
                    <a:pt x="62504" y="165025"/>
                  </a:lnTo>
                  <a:close/>
                  <a:moveTo>
                    <a:pt x="44576" y="158143"/>
                  </a:moveTo>
                  <a:lnTo>
                    <a:pt x="45374" y="162138"/>
                  </a:lnTo>
                  <a:lnTo>
                    <a:pt x="46152" y="164611"/>
                  </a:lnTo>
                  <a:lnTo>
                    <a:pt x="46203" y="165455"/>
                  </a:lnTo>
                  <a:lnTo>
                    <a:pt x="45472" y="166628"/>
                  </a:lnTo>
                  <a:lnTo>
                    <a:pt x="41828" y="168187"/>
                  </a:lnTo>
                  <a:lnTo>
                    <a:pt x="40681" y="168196"/>
                  </a:lnTo>
                  <a:lnTo>
                    <a:pt x="40633" y="167818"/>
                  </a:lnTo>
                  <a:lnTo>
                    <a:pt x="41456" y="166231"/>
                  </a:lnTo>
                  <a:lnTo>
                    <a:pt x="40747" y="164429"/>
                  </a:lnTo>
                  <a:lnTo>
                    <a:pt x="41093" y="163059"/>
                  </a:lnTo>
                  <a:lnTo>
                    <a:pt x="40754" y="162807"/>
                  </a:lnTo>
                  <a:lnTo>
                    <a:pt x="40043" y="163001"/>
                  </a:lnTo>
                  <a:lnTo>
                    <a:pt x="37433" y="165178"/>
                  </a:lnTo>
                  <a:lnTo>
                    <a:pt x="36561" y="165393"/>
                  </a:lnTo>
                  <a:lnTo>
                    <a:pt x="36466" y="164951"/>
                  </a:lnTo>
                  <a:lnTo>
                    <a:pt x="37112" y="163168"/>
                  </a:lnTo>
                  <a:lnTo>
                    <a:pt x="37192" y="161948"/>
                  </a:lnTo>
                  <a:lnTo>
                    <a:pt x="37581" y="161198"/>
                  </a:lnTo>
                  <a:lnTo>
                    <a:pt x="38290" y="160506"/>
                  </a:lnTo>
                  <a:lnTo>
                    <a:pt x="39135" y="159986"/>
                  </a:lnTo>
                  <a:lnTo>
                    <a:pt x="39817" y="159912"/>
                  </a:lnTo>
                  <a:lnTo>
                    <a:pt x="40543" y="160448"/>
                  </a:lnTo>
                  <a:lnTo>
                    <a:pt x="42657" y="158952"/>
                  </a:lnTo>
                  <a:close/>
                  <a:moveTo>
                    <a:pt x="52683" y="152228"/>
                  </a:moveTo>
                  <a:lnTo>
                    <a:pt x="53504" y="152283"/>
                  </a:lnTo>
                  <a:lnTo>
                    <a:pt x="51910" y="155806"/>
                  </a:lnTo>
                  <a:lnTo>
                    <a:pt x="48088" y="161752"/>
                  </a:lnTo>
                  <a:lnTo>
                    <a:pt x="47627" y="162086"/>
                  </a:lnTo>
                  <a:lnTo>
                    <a:pt x="46507" y="161994"/>
                  </a:lnTo>
                  <a:lnTo>
                    <a:pt x="46092" y="161493"/>
                  </a:lnTo>
                  <a:lnTo>
                    <a:pt x="45863" y="160723"/>
                  </a:lnTo>
                  <a:lnTo>
                    <a:pt x="45835" y="159309"/>
                  </a:lnTo>
                  <a:lnTo>
                    <a:pt x="46513" y="158297"/>
                  </a:lnTo>
                  <a:lnTo>
                    <a:pt x="49377" y="156767"/>
                  </a:lnTo>
                  <a:lnTo>
                    <a:pt x="48083" y="156224"/>
                  </a:lnTo>
                  <a:lnTo>
                    <a:pt x="48031" y="155842"/>
                  </a:lnTo>
                  <a:lnTo>
                    <a:pt x="48774" y="154570"/>
                  </a:lnTo>
                  <a:lnTo>
                    <a:pt x="51857" y="152588"/>
                  </a:lnTo>
                  <a:close/>
                  <a:moveTo>
                    <a:pt x="44369" y="135637"/>
                  </a:moveTo>
                  <a:lnTo>
                    <a:pt x="45155" y="135769"/>
                  </a:lnTo>
                  <a:lnTo>
                    <a:pt x="46772" y="136896"/>
                  </a:lnTo>
                  <a:lnTo>
                    <a:pt x="48605" y="139261"/>
                  </a:lnTo>
                  <a:lnTo>
                    <a:pt x="51052" y="139637"/>
                  </a:lnTo>
                  <a:lnTo>
                    <a:pt x="52715" y="140638"/>
                  </a:lnTo>
                  <a:lnTo>
                    <a:pt x="52338" y="145224"/>
                  </a:lnTo>
                  <a:lnTo>
                    <a:pt x="43531" y="146965"/>
                  </a:lnTo>
                  <a:lnTo>
                    <a:pt x="40496" y="146811"/>
                  </a:lnTo>
                  <a:lnTo>
                    <a:pt x="40222" y="145957"/>
                  </a:lnTo>
                  <a:lnTo>
                    <a:pt x="40826" y="145386"/>
                  </a:lnTo>
                  <a:lnTo>
                    <a:pt x="43339" y="144831"/>
                  </a:lnTo>
                  <a:lnTo>
                    <a:pt x="44356" y="140639"/>
                  </a:lnTo>
                  <a:lnTo>
                    <a:pt x="40557" y="138708"/>
                  </a:lnTo>
                  <a:lnTo>
                    <a:pt x="40358" y="138165"/>
                  </a:lnTo>
                  <a:lnTo>
                    <a:pt x="40655" y="137243"/>
                  </a:lnTo>
                  <a:lnTo>
                    <a:pt x="41095" y="136832"/>
                  </a:lnTo>
                  <a:lnTo>
                    <a:pt x="43400" y="135854"/>
                  </a:lnTo>
                  <a:close/>
                  <a:moveTo>
                    <a:pt x="36236" y="134929"/>
                  </a:moveTo>
                  <a:lnTo>
                    <a:pt x="36731" y="135137"/>
                  </a:lnTo>
                  <a:lnTo>
                    <a:pt x="35705" y="136368"/>
                  </a:lnTo>
                  <a:lnTo>
                    <a:pt x="33991" y="137675"/>
                  </a:lnTo>
                  <a:lnTo>
                    <a:pt x="32734" y="137850"/>
                  </a:lnTo>
                  <a:lnTo>
                    <a:pt x="32643" y="137405"/>
                  </a:lnTo>
                  <a:lnTo>
                    <a:pt x="34824" y="135279"/>
                  </a:lnTo>
                  <a:close/>
                  <a:moveTo>
                    <a:pt x="15243" y="124000"/>
                  </a:moveTo>
                  <a:lnTo>
                    <a:pt x="16322" y="124589"/>
                  </a:lnTo>
                  <a:lnTo>
                    <a:pt x="16493" y="125125"/>
                  </a:lnTo>
                  <a:lnTo>
                    <a:pt x="16096" y="125691"/>
                  </a:lnTo>
                  <a:lnTo>
                    <a:pt x="14152" y="126126"/>
                  </a:lnTo>
                  <a:lnTo>
                    <a:pt x="13431" y="125871"/>
                  </a:lnTo>
                  <a:lnTo>
                    <a:pt x="13308" y="125472"/>
                  </a:lnTo>
                  <a:lnTo>
                    <a:pt x="13751" y="124384"/>
                  </a:lnTo>
                  <a:close/>
                  <a:moveTo>
                    <a:pt x="40298" y="123001"/>
                  </a:moveTo>
                  <a:lnTo>
                    <a:pt x="41274" y="123606"/>
                  </a:lnTo>
                  <a:lnTo>
                    <a:pt x="41649" y="124298"/>
                  </a:lnTo>
                  <a:lnTo>
                    <a:pt x="41665" y="125065"/>
                  </a:lnTo>
                  <a:lnTo>
                    <a:pt x="41256" y="125714"/>
                  </a:lnTo>
                  <a:lnTo>
                    <a:pt x="40600" y="126121"/>
                  </a:lnTo>
                  <a:lnTo>
                    <a:pt x="39770" y="126043"/>
                  </a:lnTo>
                  <a:lnTo>
                    <a:pt x="38948" y="125518"/>
                  </a:lnTo>
                  <a:lnTo>
                    <a:pt x="37860" y="124032"/>
                  </a:lnTo>
                  <a:close/>
                  <a:moveTo>
                    <a:pt x="18761" y="112439"/>
                  </a:moveTo>
                  <a:lnTo>
                    <a:pt x="19407" y="112818"/>
                  </a:lnTo>
                  <a:lnTo>
                    <a:pt x="19840" y="120602"/>
                  </a:lnTo>
                  <a:lnTo>
                    <a:pt x="19790" y="120951"/>
                  </a:lnTo>
                  <a:lnTo>
                    <a:pt x="18857" y="121127"/>
                  </a:lnTo>
                  <a:lnTo>
                    <a:pt x="17632" y="120957"/>
                  </a:lnTo>
                  <a:lnTo>
                    <a:pt x="16879" y="120465"/>
                  </a:lnTo>
                  <a:lnTo>
                    <a:pt x="16117" y="118518"/>
                  </a:lnTo>
                  <a:lnTo>
                    <a:pt x="15975" y="117339"/>
                  </a:lnTo>
                  <a:lnTo>
                    <a:pt x="16314" y="115145"/>
                  </a:lnTo>
                  <a:lnTo>
                    <a:pt x="16236" y="112521"/>
                  </a:lnTo>
                  <a:close/>
                  <a:moveTo>
                    <a:pt x="40661" y="103259"/>
                  </a:moveTo>
                  <a:lnTo>
                    <a:pt x="41966" y="103921"/>
                  </a:lnTo>
                  <a:lnTo>
                    <a:pt x="43754" y="106023"/>
                  </a:lnTo>
                  <a:lnTo>
                    <a:pt x="44226" y="108582"/>
                  </a:lnTo>
                  <a:lnTo>
                    <a:pt x="44195" y="109988"/>
                  </a:lnTo>
                  <a:lnTo>
                    <a:pt x="43805" y="111640"/>
                  </a:lnTo>
                  <a:lnTo>
                    <a:pt x="44313" y="113393"/>
                  </a:lnTo>
                  <a:lnTo>
                    <a:pt x="44429" y="114645"/>
                  </a:lnTo>
                  <a:lnTo>
                    <a:pt x="45361" y="115043"/>
                  </a:lnTo>
                  <a:lnTo>
                    <a:pt x="45931" y="115619"/>
                  </a:lnTo>
                  <a:lnTo>
                    <a:pt x="50074" y="116264"/>
                  </a:lnTo>
                  <a:lnTo>
                    <a:pt x="53927" y="116083"/>
                  </a:lnTo>
                  <a:lnTo>
                    <a:pt x="54669" y="116598"/>
                  </a:lnTo>
                  <a:lnTo>
                    <a:pt x="54753" y="117416"/>
                  </a:lnTo>
                  <a:lnTo>
                    <a:pt x="54144" y="118318"/>
                  </a:lnTo>
                  <a:lnTo>
                    <a:pt x="51950" y="119963"/>
                  </a:lnTo>
                  <a:lnTo>
                    <a:pt x="49333" y="122618"/>
                  </a:lnTo>
                  <a:lnTo>
                    <a:pt x="48553" y="123171"/>
                  </a:lnTo>
                  <a:lnTo>
                    <a:pt x="47707" y="123194"/>
                  </a:lnTo>
                  <a:lnTo>
                    <a:pt x="47100" y="122956"/>
                  </a:lnTo>
                  <a:lnTo>
                    <a:pt x="46666" y="118230"/>
                  </a:lnTo>
                  <a:lnTo>
                    <a:pt x="43828" y="118835"/>
                  </a:lnTo>
                  <a:lnTo>
                    <a:pt x="41542" y="118766"/>
                  </a:lnTo>
                  <a:lnTo>
                    <a:pt x="40291" y="118190"/>
                  </a:lnTo>
                  <a:lnTo>
                    <a:pt x="39413" y="117080"/>
                  </a:lnTo>
                  <a:lnTo>
                    <a:pt x="37643" y="114224"/>
                  </a:lnTo>
                  <a:lnTo>
                    <a:pt x="32491" y="113100"/>
                  </a:lnTo>
                  <a:lnTo>
                    <a:pt x="31034" y="111525"/>
                  </a:lnTo>
                  <a:lnTo>
                    <a:pt x="30596" y="110573"/>
                  </a:lnTo>
                  <a:lnTo>
                    <a:pt x="30782" y="110047"/>
                  </a:lnTo>
                  <a:lnTo>
                    <a:pt x="31855" y="108875"/>
                  </a:lnTo>
                  <a:lnTo>
                    <a:pt x="33198" y="109293"/>
                  </a:lnTo>
                  <a:lnTo>
                    <a:pt x="34029" y="109037"/>
                  </a:lnTo>
                  <a:lnTo>
                    <a:pt x="34535" y="108513"/>
                  </a:lnTo>
                  <a:lnTo>
                    <a:pt x="34524" y="108083"/>
                  </a:lnTo>
                  <a:lnTo>
                    <a:pt x="33821" y="107061"/>
                  </a:lnTo>
                  <a:lnTo>
                    <a:pt x="33788" y="106743"/>
                  </a:lnTo>
                  <a:lnTo>
                    <a:pt x="39057" y="105449"/>
                  </a:lnTo>
                  <a:lnTo>
                    <a:pt x="39517" y="103424"/>
                  </a:lnTo>
                  <a:close/>
                  <a:moveTo>
                    <a:pt x="20769" y="102908"/>
                  </a:moveTo>
                  <a:lnTo>
                    <a:pt x="23263" y="104705"/>
                  </a:lnTo>
                  <a:lnTo>
                    <a:pt x="21276" y="107680"/>
                  </a:lnTo>
                  <a:lnTo>
                    <a:pt x="18226" y="107666"/>
                  </a:lnTo>
                  <a:lnTo>
                    <a:pt x="13932" y="105492"/>
                  </a:lnTo>
                  <a:lnTo>
                    <a:pt x="13913" y="105049"/>
                  </a:lnTo>
                  <a:lnTo>
                    <a:pt x="14271" y="104396"/>
                  </a:lnTo>
                  <a:lnTo>
                    <a:pt x="14915" y="103879"/>
                  </a:lnTo>
                  <a:lnTo>
                    <a:pt x="15584" y="103756"/>
                  </a:lnTo>
                  <a:lnTo>
                    <a:pt x="16649" y="104113"/>
                  </a:lnTo>
                  <a:lnTo>
                    <a:pt x="18131" y="103541"/>
                  </a:lnTo>
                  <a:lnTo>
                    <a:pt x="19318" y="103722"/>
                  </a:lnTo>
                  <a:close/>
                  <a:moveTo>
                    <a:pt x="42176" y="76583"/>
                  </a:moveTo>
                  <a:lnTo>
                    <a:pt x="42574" y="77039"/>
                  </a:lnTo>
                  <a:lnTo>
                    <a:pt x="43131" y="78770"/>
                  </a:lnTo>
                  <a:lnTo>
                    <a:pt x="43033" y="81087"/>
                  </a:lnTo>
                  <a:lnTo>
                    <a:pt x="40222" y="86702"/>
                  </a:lnTo>
                  <a:lnTo>
                    <a:pt x="39121" y="86840"/>
                  </a:lnTo>
                  <a:lnTo>
                    <a:pt x="38155" y="88241"/>
                  </a:lnTo>
                  <a:lnTo>
                    <a:pt x="35163" y="89786"/>
                  </a:lnTo>
                  <a:lnTo>
                    <a:pt x="37774" y="89818"/>
                  </a:lnTo>
                  <a:lnTo>
                    <a:pt x="38507" y="90332"/>
                  </a:lnTo>
                  <a:lnTo>
                    <a:pt x="38528" y="91440"/>
                  </a:lnTo>
                  <a:lnTo>
                    <a:pt x="38025" y="92084"/>
                  </a:lnTo>
                  <a:lnTo>
                    <a:pt x="34643" y="94646"/>
                  </a:lnTo>
                  <a:lnTo>
                    <a:pt x="32317" y="95617"/>
                  </a:lnTo>
                  <a:lnTo>
                    <a:pt x="29812" y="98289"/>
                  </a:lnTo>
                  <a:lnTo>
                    <a:pt x="28548" y="98322"/>
                  </a:lnTo>
                  <a:lnTo>
                    <a:pt x="27296" y="100020"/>
                  </a:lnTo>
                  <a:lnTo>
                    <a:pt x="26266" y="100766"/>
                  </a:lnTo>
                  <a:lnTo>
                    <a:pt x="25688" y="100768"/>
                  </a:lnTo>
                  <a:lnTo>
                    <a:pt x="25023" y="100392"/>
                  </a:lnTo>
                  <a:lnTo>
                    <a:pt x="23469" y="98730"/>
                  </a:lnTo>
                  <a:lnTo>
                    <a:pt x="26288" y="97094"/>
                  </a:lnTo>
                  <a:lnTo>
                    <a:pt x="26549" y="96174"/>
                  </a:lnTo>
                  <a:lnTo>
                    <a:pt x="28480" y="95217"/>
                  </a:lnTo>
                  <a:lnTo>
                    <a:pt x="28318" y="94918"/>
                  </a:lnTo>
                  <a:lnTo>
                    <a:pt x="25258" y="93571"/>
                  </a:lnTo>
                  <a:lnTo>
                    <a:pt x="24052" y="92664"/>
                  </a:lnTo>
                  <a:lnTo>
                    <a:pt x="24166" y="92190"/>
                  </a:lnTo>
                  <a:lnTo>
                    <a:pt x="25639" y="91147"/>
                  </a:lnTo>
                  <a:lnTo>
                    <a:pt x="24941" y="91009"/>
                  </a:lnTo>
                  <a:lnTo>
                    <a:pt x="24469" y="90446"/>
                  </a:lnTo>
                  <a:lnTo>
                    <a:pt x="23614" y="90232"/>
                  </a:lnTo>
                  <a:lnTo>
                    <a:pt x="23358" y="89707"/>
                  </a:lnTo>
                  <a:lnTo>
                    <a:pt x="23200" y="88328"/>
                  </a:lnTo>
                  <a:lnTo>
                    <a:pt x="23429" y="86917"/>
                  </a:lnTo>
                  <a:lnTo>
                    <a:pt x="24321" y="86294"/>
                  </a:lnTo>
                  <a:lnTo>
                    <a:pt x="24686" y="85626"/>
                  </a:lnTo>
                  <a:lnTo>
                    <a:pt x="25047" y="85421"/>
                  </a:lnTo>
                  <a:lnTo>
                    <a:pt x="26429" y="85776"/>
                  </a:lnTo>
                  <a:lnTo>
                    <a:pt x="27830" y="86905"/>
                  </a:lnTo>
                  <a:lnTo>
                    <a:pt x="29465" y="86470"/>
                  </a:lnTo>
                  <a:lnTo>
                    <a:pt x="31363" y="86685"/>
                  </a:lnTo>
                  <a:lnTo>
                    <a:pt x="31402" y="86423"/>
                  </a:lnTo>
                  <a:lnTo>
                    <a:pt x="30008" y="83645"/>
                  </a:lnTo>
                  <a:lnTo>
                    <a:pt x="30257" y="83077"/>
                  </a:lnTo>
                  <a:lnTo>
                    <a:pt x="31013" y="82429"/>
                  </a:lnTo>
                  <a:lnTo>
                    <a:pt x="35393" y="80446"/>
                  </a:lnTo>
                  <a:lnTo>
                    <a:pt x="40855" y="77107"/>
                  </a:lnTo>
                  <a:close/>
                  <a:moveTo>
                    <a:pt x="108033" y="71824"/>
                  </a:moveTo>
                  <a:lnTo>
                    <a:pt x="112589" y="72316"/>
                  </a:lnTo>
                  <a:lnTo>
                    <a:pt x="112741" y="72940"/>
                  </a:lnTo>
                  <a:lnTo>
                    <a:pt x="112503" y="73806"/>
                  </a:lnTo>
                  <a:lnTo>
                    <a:pt x="111337" y="76175"/>
                  </a:lnTo>
                  <a:lnTo>
                    <a:pt x="111527" y="78816"/>
                  </a:lnTo>
                  <a:lnTo>
                    <a:pt x="111267" y="79616"/>
                  </a:lnTo>
                  <a:lnTo>
                    <a:pt x="110738" y="80602"/>
                  </a:lnTo>
                  <a:lnTo>
                    <a:pt x="109067" y="82442"/>
                  </a:lnTo>
                  <a:lnTo>
                    <a:pt x="104675" y="85069"/>
                  </a:lnTo>
                  <a:lnTo>
                    <a:pt x="96626" y="91095"/>
                  </a:lnTo>
                  <a:lnTo>
                    <a:pt x="91871" y="94080"/>
                  </a:lnTo>
                  <a:lnTo>
                    <a:pt x="91217" y="95514"/>
                  </a:lnTo>
                  <a:lnTo>
                    <a:pt x="90864" y="97507"/>
                  </a:lnTo>
                  <a:lnTo>
                    <a:pt x="93711" y="97902"/>
                  </a:lnTo>
                  <a:lnTo>
                    <a:pt x="94810" y="98577"/>
                  </a:lnTo>
                  <a:lnTo>
                    <a:pt x="94128" y="99588"/>
                  </a:lnTo>
                  <a:lnTo>
                    <a:pt x="89917" y="103097"/>
                  </a:lnTo>
                  <a:lnTo>
                    <a:pt x="88676" y="106264"/>
                  </a:lnTo>
                  <a:lnTo>
                    <a:pt x="91905" y="106152"/>
                  </a:lnTo>
                  <a:lnTo>
                    <a:pt x="94566" y="105544"/>
                  </a:lnTo>
                  <a:lnTo>
                    <a:pt x="99872" y="103569"/>
                  </a:lnTo>
                  <a:lnTo>
                    <a:pt x="104856" y="102101"/>
                  </a:lnTo>
                  <a:lnTo>
                    <a:pt x="107250" y="102040"/>
                  </a:lnTo>
                  <a:lnTo>
                    <a:pt x="111907" y="103211"/>
                  </a:lnTo>
                  <a:lnTo>
                    <a:pt x="112966" y="103248"/>
                  </a:lnTo>
                  <a:lnTo>
                    <a:pt x="114942" y="102707"/>
                  </a:lnTo>
                  <a:lnTo>
                    <a:pt x="116940" y="102611"/>
                  </a:lnTo>
                  <a:lnTo>
                    <a:pt x="130476" y="102975"/>
                  </a:lnTo>
                  <a:lnTo>
                    <a:pt x="134237" y="102288"/>
                  </a:lnTo>
                  <a:lnTo>
                    <a:pt x="136725" y="103110"/>
                  </a:lnTo>
                  <a:lnTo>
                    <a:pt x="138807" y="105161"/>
                  </a:lnTo>
                  <a:lnTo>
                    <a:pt x="140785" y="108939"/>
                  </a:lnTo>
                  <a:lnTo>
                    <a:pt x="140725" y="109567"/>
                  </a:lnTo>
                  <a:lnTo>
                    <a:pt x="139530" y="111286"/>
                  </a:lnTo>
                  <a:lnTo>
                    <a:pt x="137324" y="113440"/>
                  </a:lnTo>
                  <a:lnTo>
                    <a:pt x="135426" y="116402"/>
                  </a:lnTo>
                  <a:lnTo>
                    <a:pt x="134869" y="117998"/>
                  </a:lnTo>
                  <a:lnTo>
                    <a:pt x="134496" y="119743"/>
                  </a:lnTo>
                  <a:lnTo>
                    <a:pt x="133895" y="121356"/>
                  </a:lnTo>
                  <a:lnTo>
                    <a:pt x="130120" y="128914"/>
                  </a:lnTo>
                  <a:lnTo>
                    <a:pt x="126440" y="133093"/>
                  </a:lnTo>
                  <a:lnTo>
                    <a:pt x="124797" y="136055"/>
                  </a:lnTo>
                  <a:lnTo>
                    <a:pt x="122769" y="138412"/>
                  </a:lnTo>
                  <a:lnTo>
                    <a:pt x="120818" y="139893"/>
                  </a:lnTo>
                  <a:lnTo>
                    <a:pt x="118734" y="140879"/>
                  </a:lnTo>
                  <a:lnTo>
                    <a:pt x="112714" y="141933"/>
                  </a:lnTo>
                  <a:lnTo>
                    <a:pt x="111030" y="142688"/>
                  </a:lnTo>
                  <a:lnTo>
                    <a:pt x="109021" y="143984"/>
                  </a:lnTo>
                  <a:lnTo>
                    <a:pt x="106909" y="144625"/>
                  </a:lnTo>
                  <a:lnTo>
                    <a:pt x="109385" y="144544"/>
                  </a:lnTo>
                  <a:lnTo>
                    <a:pt x="111839" y="143823"/>
                  </a:lnTo>
                  <a:lnTo>
                    <a:pt x="116302" y="143559"/>
                  </a:lnTo>
                  <a:lnTo>
                    <a:pt x="121442" y="146041"/>
                  </a:lnTo>
                  <a:lnTo>
                    <a:pt x="120965" y="148069"/>
                  </a:lnTo>
                  <a:lnTo>
                    <a:pt x="118902" y="149672"/>
                  </a:lnTo>
                  <a:lnTo>
                    <a:pt x="114210" y="149924"/>
                  </a:lnTo>
                  <a:lnTo>
                    <a:pt x="109822" y="153482"/>
                  </a:lnTo>
                  <a:lnTo>
                    <a:pt x="107842" y="154576"/>
                  </a:lnTo>
                  <a:lnTo>
                    <a:pt x="105753" y="155119"/>
                  </a:lnTo>
                  <a:lnTo>
                    <a:pt x="103140" y="154958"/>
                  </a:lnTo>
                  <a:lnTo>
                    <a:pt x="98392" y="154006"/>
                  </a:lnTo>
                  <a:lnTo>
                    <a:pt x="96315" y="153011"/>
                  </a:lnTo>
                  <a:lnTo>
                    <a:pt x="98193" y="154635"/>
                  </a:lnTo>
                  <a:lnTo>
                    <a:pt x="100323" y="155481"/>
                  </a:lnTo>
                  <a:lnTo>
                    <a:pt x="112685" y="157477"/>
                  </a:lnTo>
                  <a:lnTo>
                    <a:pt x="113429" y="157270"/>
                  </a:lnTo>
                  <a:lnTo>
                    <a:pt x="117370" y="155162"/>
                  </a:lnTo>
                  <a:lnTo>
                    <a:pt x="122622" y="155130"/>
                  </a:lnTo>
                  <a:lnTo>
                    <a:pt x="132623" y="159002"/>
                  </a:lnTo>
                  <a:lnTo>
                    <a:pt x="135502" y="161957"/>
                  </a:lnTo>
                  <a:lnTo>
                    <a:pt x="139628" y="166187"/>
                  </a:lnTo>
                  <a:lnTo>
                    <a:pt x="141872" y="167836"/>
                  </a:lnTo>
                  <a:lnTo>
                    <a:pt x="143495" y="169330"/>
                  </a:lnTo>
                  <a:lnTo>
                    <a:pt x="144495" y="171567"/>
                  </a:lnTo>
                  <a:lnTo>
                    <a:pt x="146432" y="178938"/>
                  </a:lnTo>
                  <a:lnTo>
                    <a:pt x="148641" y="186118"/>
                  </a:lnTo>
                  <a:lnTo>
                    <a:pt x="151536" y="193871"/>
                  </a:lnTo>
                  <a:lnTo>
                    <a:pt x="152847" y="196020"/>
                  </a:lnTo>
                  <a:lnTo>
                    <a:pt x="154573" y="197526"/>
                  </a:lnTo>
                  <a:lnTo>
                    <a:pt x="163309" y="200984"/>
                  </a:lnTo>
                  <a:lnTo>
                    <a:pt x="165253" y="202129"/>
                  </a:lnTo>
                  <a:lnTo>
                    <a:pt x="168643" y="205449"/>
                  </a:lnTo>
                  <a:lnTo>
                    <a:pt x="171909" y="208981"/>
                  </a:lnTo>
                  <a:lnTo>
                    <a:pt x="174950" y="211690"/>
                  </a:lnTo>
                  <a:lnTo>
                    <a:pt x="178233" y="213881"/>
                  </a:lnTo>
                  <a:lnTo>
                    <a:pt x="176643" y="215018"/>
                  </a:lnTo>
                  <a:lnTo>
                    <a:pt x="175553" y="216806"/>
                  </a:lnTo>
                  <a:lnTo>
                    <a:pt x="176368" y="219234"/>
                  </a:lnTo>
                  <a:lnTo>
                    <a:pt x="177705" y="221551"/>
                  </a:lnTo>
                  <a:lnTo>
                    <a:pt x="180332" y="225253"/>
                  </a:lnTo>
                  <a:lnTo>
                    <a:pt x="182649" y="229287"/>
                  </a:lnTo>
                  <a:lnTo>
                    <a:pt x="181795" y="228678"/>
                  </a:lnTo>
                  <a:lnTo>
                    <a:pt x="180897" y="228344"/>
                  </a:lnTo>
                  <a:lnTo>
                    <a:pt x="179669" y="228444"/>
                  </a:lnTo>
                  <a:lnTo>
                    <a:pt x="178469" y="228249"/>
                  </a:lnTo>
                  <a:lnTo>
                    <a:pt x="176255" y="226987"/>
                  </a:lnTo>
                  <a:lnTo>
                    <a:pt x="174128" y="225436"/>
                  </a:lnTo>
                  <a:lnTo>
                    <a:pt x="169897" y="226059"/>
                  </a:lnTo>
                  <a:lnTo>
                    <a:pt x="167546" y="225780"/>
                  </a:lnTo>
                  <a:lnTo>
                    <a:pt x="165507" y="225821"/>
                  </a:lnTo>
                  <a:lnTo>
                    <a:pt x="169373" y="226717"/>
                  </a:lnTo>
                  <a:lnTo>
                    <a:pt x="173605" y="226779"/>
                  </a:lnTo>
                  <a:lnTo>
                    <a:pt x="182937" y="233539"/>
                  </a:lnTo>
                  <a:lnTo>
                    <a:pt x="186091" y="237535"/>
                  </a:lnTo>
                  <a:lnTo>
                    <a:pt x="187966" y="242808"/>
                  </a:lnTo>
                  <a:lnTo>
                    <a:pt x="186689" y="245172"/>
                  </a:lnTo>
                  <a:lnTo>
                    <a:pt x="184703" y="246703"/>
                  </a:lnTo>
                  <a:lnTo>
                    <a:pt x="182850" y="248453"/>
                  </a:lnTo>
                  <a:lnTo>
                    <a:pt x="181114" y="250427"/>
                  </a:lnTo>
                  <a:lnTo>
                    <a:pt x="186286" y="253324"/>
                  </a:lnTo>
                  <a:lnTo>
                    <a:pt x="187400" y="253236"/>
                  </a:lnTo>
                  <a:lnTo>
                    <a:pt x="188544" y="252831"/>
                  </a:lnTo>
                  <a:lnTo>
                    <a:pt x="189644" y="251846"/>
                  </a:lnTo>
                  <a:lnTo>
                    <a:pt x="191498" y="249447"/>
                  </a:lnTo>
                  <a:lnTo>
                    <a:pt x="192455" y="248592"/>
                  </a:lnTo>
                  <a:lnTo>
                    <a:pt x="195677" y="248284"/>
                  </a:lnTo>
                  <a:lnTo>
                    <a:pt x="198380" y="248468"/>
                  </a:lnTo>
                  <a:lnTo>
                    <a:pt x="201073" y="248998"/>
                  </a:lnTo>
                  <a:lnTo>
                    <a:pt x="203440" y="248830"/>
                  </a:lnTo>
                  <a:lnTo>
                    <a:pt x="208210" y="249860"/>
                  </a:lnTo>
                  <a:lnTo>
                    <a:pt x="210661" y="250789"/>
                  </a:lnTo>
                  <a:lnTo>
                    <a:pt x="216733" y="254966"/>
                  </a:lnTo>
                  <a:lnTo>
                    <a:pt x="218046" y="257247"/>
                  </a:lnTo>
                  <a:lnTo>
                    <a:pt x="218648" y="260190"/>
                  </a:lnTo>
                  <a:lnTo>
                    <a:pt x="218720" y="263449"/>
                  </a:lnTo>
                  <a:lnTo>
                    <a:pt x="217698" y="266425"/>
                  </a:lnTo>
                  <a:lnTo>
                    <a:pt x="216526" y="269108"/>
                  </a:lnTo>
                  <a:lnTo>
                    <a:pt x="215802" y="272568"/>
                  </a:lnTo>
                  <a:lnTo>
                    <a:pt x="215289" y="273813"/>
                  </a:lnTo>
                  <a:lnTo>
                    <a:pt x="214571" y="274788"/>
                  </a:lnTo>
                  <a:lnTo>
                    <a:pt x="211354" y="277512"/>
                  </a:lnTo>
                  <a:lnTo>
                    <a:pt x="209216" y="278631"/>
                  </a:lnTo>
                  <a:lnTo>
                    <a:pt x="208313" y="278140"/>
                  </a:lnTo>
                  <a:lnTo>
                    <a:pt x="207351" y="278208"/>
                  </a:lnTo>
                  <a:lnTo>
                    <a:pt x="207249" y="278862"/>
                  </a:lnTo>
                  <a:lnTo>
                    <a:pt x="208266" y="280251"/>
                  </a:lnTo>
                  <a:lnTo>
                    <a:pt x="208279" y="281926"/>
                  </a:lnTo>
                  <a:lnTo>
                    <a:pt x="206379" y="283165"/>
                  </a:lnTo>
                  <a:lnTo>
                    <a:pt x="204448" y="283694"/>
                  </a:lnTo>
                  <a:lnTo>
                    <a:pt x="201218" y="283034"/>
                  </a:lnTo>
                  <a:lnTo>
                    <a:pt x="196733" y="285340"/>
                  </a:lnTo>
                  <a:lnTo>
                    <a:pt x="199957" y="286524"/>
                  </a:lnTo>
                  <a:lnTo>
                    <a:pt x="200607" y="287784"/>
                  </a:lnTo>
                  <a:lnTo>
                    <a:pt x="199799" y="289997"/>
                  </a:lnTo>
                  <a:lnTo>
                    <a:pt x="197771" y="290983"/>
                  </a:lnTo>
                  <a:lnTo>
                    <a:pt x="195523" y="291420"/>
                  </a:lnTo>
                  <a:lnTo>
                    <a:pt x="193222" y="291524"/>
                  </a:lnTo>
                  <a:lnTo>
                    <a:pt x="191315" y="292065"/>
                  </a:lnTo>
                  <a:lnTo>
                    <a:pt x="189486" y="293107"/>
                  </a:lnTo>
                  <a:lnTo>
                    <a:pt x="191781" y="292553"/>
                  </a:lnTo>
                  <a:lnTo>
                    <a:pt x="193373" y="293038"/>
                  </a:lnTo>
                  <a:lnTo>
                    <a:pt x="194372" y="294897"/>
                  </a:lnTo>
                  <a:lnTo>
                    <a:pt x="195280" y="295428"/>
                  </a:lnTo>
                  <a:lnTo>
                    <a:pt x="199765" y="296222"/>
                  </a:lnTo>
                  <a:lnTo>
                    <a:pt x="202542" y="296216"/>
                  </a:lnTo>
                  <a:lnTo>
                    <a:pt x="207897" y="295765"/>
                  </a:lnTo>
                  <a:lnTo>
                    <a:pt x="210469" y="295776"/>
                  </a:lnTo>
                  <a:lnTo>
                    <a:pt x="211386" y="296112"/>
                  </a:lnTo>
                  <a:lnTo>
                    <a:pt x="211402" y="297650"/>
                  </a:lnTo>
                  <a:lnTo>
                    <a:pt x="211002" y="301424"/>
                  </a:lnTo>
                  <a:lnTo>
                    <a:pt x="210294" y="302201"/>
                  </a:lnTo>
                  <a:lnTo>
                    <a:pt x="203194" y="305366"/>
                  </a:lnTo>
                  <a:lnTo>
                    <a:pt x="201738" y="307574"/>
                  </a:lnTo>
                  <a:lnTo>
                    <a:pt x="201330" y="308911"/>
                  </a:lnTo>
                  <a:lnTo>
                    <a:pt x="197178" y="308674"/>
                  </a:lnTo>
                  <a:lnTo>
                    <a:pt x="195232" y="310087"/>
                  </a:lnTo>
                  <a:lnTo>
                    <a:pt x="191870" y="311025"/>
                  </a:lnTo>
                  <a:lnTo>
                    <a:pt x="189270" y="312022"/>
                  </a:lnTo>
                  <a:lnTo>
                    <a:pt x="186726" y="313282"/>
                  </a:lnTo>
                  <a:lnTo>
                    <a:pt x="184634" y="313658"/>
                  </a:lnTo>
                  <a:lnTo>
                    <a:pt x="175590" y="312163"/>
                  </a:lnTo>
                  <a:lnTo>
                    <a:pt x="170131" y="312286"/>
                  </a:lnTo>
                  <a:lnTo>
                    <a:pt x="162736" y="313589"/>
                  </a:lnTo>
                  <a:lnTo>
                    <a:pt x="160831" y="313374"/>
                  </a:lnTo>
                  <a:lnTo>
                    <a:pt x="157974" y="312126"/>
                  </a:lnTo>
                  <a:lnTo>
                    <a:pt x="155049" y="311282"/>
                  </a:lnTo>
                  <a:lnTo>
                    <a:pt x="151683" y="310911"/>
                  </a:lnTo>
                  <a:lnTo>
                    <a:pt x="148778" y="309757"/>
                  </a:lnTo>
                  <a:lnTo>
                    <a:pt x="150591" y="311976"/>
                  </a:lnTo>
                  <a:lnTo>
                    <a:pt x="146561" y="314112"/>
                  </a:lnTo>
                  <a:lnTo>
                    <a:pt x="144701" y="314537"/>
                  </a:lnTo>
                  <a:lnTo>
                    <a:pt x="142776" y="314471"/>
                  </a:lnTo>
                  <a:lnTo>
                    <a:pt x="138837" y="315051"/>
                  </a:lnTo>
                  <a:lnTo>
                    <a:pt x="135188" y="314755"/>
                  </a:lnTo>
                  <a:lnTo>
                    <a:pt x="135736" y="316273"/>
                  </a:lnTo>
                  <a:lnTo>
                    <a:pt x="136714" y="317595"/>
                  </a:lnTo>
                  <a:lnTo>
                    <a:pt x="135921" y="318170"/>
                  </a:lnTo>
                  <a:lnTo>
                    <a:pt x="135082" y="318313"/>
                  </a:lnTo>
                  <a:lnTo>
                    <a:pt x="128132" y="317315"/>
                  </a:lnTo>
                  <a:lnTo>
                    <a:pt x="127148" y="317504"/>
                  </a:lnTo>
                  <a:lnTo>
                    <a:pt x="126290" y="318425"/>
                  </a:lnTo>
                  <a:lnTo>
                    <a:pt x="123763" y="317928"/>
                  </a:lnTo>
                  <a:lnTo>
                    <a:pt x="121307" y="316375"/>
                  </a:lnTo>
                  <a:lnTo>
                    <a:pt x="118695" y="315332"/>
                  </a:lnTo>
                  <a:lnTo>
                    <a:pt x="115954" y="314842"/>
                  </a:lnTo>
                  <a:lnTo>
                    <a:pt x="113776" y="315011"/>
                  </a:lnTo>
                  <a:lnTo>
                    <a:pt x="104816" y="317460"/>
                  </a:lnTo>
                  <a:lnTo>
                    <a:pt x="103028" y="319915"/>
                  </a:lnTo>
                  <a:lnTo>
                    <a:pt x="102135" y="323393"/>
                  </a:lnTo>
                  <a:lnTo>
                    <a:pt x="100841" y="326476"/>
                  </a:lnTo>
                  <a:lnTo>
                    <a:pt x="98731" y="328848"/>
                  </a:lnTo>
                  <a:lnTo>
                    <a:pt x="96220" y="329157"/>
                  </a:lnTo>
                  <a:lnTo>
                    <a:pt x="93858" y="327516"/>
                  </a:lnTo>
                  <a:lnTo>
                    <a:pt x="89364" y="325702"/>
                  </a:lnTo>
                  <a:lnTo>
                    <a:pt x="87835" y="324476"/>
                  </a:lnTo>
                  <a:lnTo>
                    <a:pt x="87348" y="324404"/>
                  </a:lnTo>
                  <a:lnTo>
                    <a:pt x="86846" y="324843"/>
                  </a:lnTo>
                  <a:lnTo>
                    <a:pt x="85084" y="325396"/>
                  </a:lnTo>
                  <a:lnTo>
                    <a:pt x="83259" y="325422"/>
                  </a:lnTo>
                  <a:lnTo>
                    <a:pt x="80447" y="325910"/>
                  </a:lnTo>
                  <a:lnTo>
                    <a:pt x="75553" y="327384"/>
                  </a:lnTo>
                  <a:lnTo>
                    <a:pt x="73577" y="328384"/>
                  </a:lnTo>
                  <a:lnTo>
                    <a:pt x="69328" y="331139"/>
                  </a:lnTo>
                  <a:lnTo>
                    <a:pt x="68463" y="331901"/>
                  </a:lnTo>
                  <a:lnTo>
                    <a:pt x="66918" y="334677"/>
                  </a:lnTo>
                  <a:lnTo>
                    <a:pt x="64558" y="335166"/>
                  </a:lnTo>
                  <a:lnTo>
                    <a:pt x="62399" y="333388"/>
                  </a:lnTo>
                  <a:lnTo>
                    <a:pt x="59942" y="332767"/>
                  </a:lnTo>
                  <a:lnTo>
                    <a:pt x="57350" y="333375"/>
                  </a:lnTo>
                  <a:lnTo>
                    <a:pt x="55782" y="334320"/>
                  </a:lnTo>
                  <a:lnTo>
                    <a:pt x="55051" y="333552"/>
                  </a:lnTo>
                  <a:lnTo>
                    <a:pt x="55027" y="331973"/>
                  </a:lnTo>
                  <a:lnTo>
                    <a:pt x="56920" y="330091"/>
                  </a:lnTo>
                  <a:lnTo>
                    <a:pt x="61970" y="328668"/>
                  </a:lnTo>
                  <a:lnTo>
                    <a:pt x="66403" y="324972"/>
                  </a:lnTo>
                  <a:lnTo>
                    <a:pt x="68578" y="322716"/>
                  </a:lnTo>
                  <a:lnTo>
                    <a:pt x="69440" y="321446"/>
                  </a:lnTo>
                  <a:lnTo>
                    <a:pt x="70503" y="320636"/>
                  </a:lnTo>
                  <a:lnTo>
                    <a:pt x="71892" y="320330"/>
                  </a:lnTo>
                  <a:lnTo>
                    <a:pt x="72606" y="318925"/>
                  </a:lnTo>
                  <a:lnTo>
                    <a:pt x="78761" y="313270"/>
                  </a:lnTo>
                  <a:lnTo>
                    <a:pt x="79269" y="311971"/>
                  </a:lnTo>
                  <a:lnTo>
                    <a:pt x="79575" y="309646"/>
                  </a:lnTo>
                  <a:lnTo>
                    <a:pt x="80084" y="307405"/>
                  </a:lnTo>
                  <a:lnTo>
                    <a:pt x="85095" y="305953"/>
                  </a:lnTo>
                  <a:lnTo>
                    <a:pt x="87489" y="301233"/>
                  </a:lnTo>
                  <a:lnTo>
                    <a:pt x="88148" y="300859"/>
                  </a:lnTo>
                  <a:lnTo>
                    <a:pt x="95137" y="299992"/>
                  </a:lnTo>
                  <a:lnTo>
                    <a:pt x="100320" y="300061"/>
                  </a:lnTo>
                  <a:lnTo>
                    <a:pt x="105468" y="300986"/>
                  </a:lnTo>
                  <a:lnTo>
                    <a:pt x="108107" y="301069"/>
                  </a:lnTo>
                  <a:lnTo>
                    <a:pt x="110756" y="300750"/>
                  </a:lnTo>
                  <a:lnTo>
                    <a:pt x="112833" y="299474"/>
                  </a:lnTo>
                  <a:lnTo>
                    <a:pt x="116388" y="294868"/>
                  </a:lnTo>
                  <a:lnTo>
                    <a:pt x="118388" y="292838"/>
                  </a:lnTo>
                  <a:lnTo>
                    <a:pt x="120679" y="291002"/>
                  </a:lnTo>
                  <a:lnTo>
                    <a:pt x="122822" y="288904"/>
                  </a:lnTo>
                  <a:lnTo>
                    <a:pt x="126299" y="285012"/>
                  </a:lnTo>
                  <a:lnTo>
                    <a:pt x="123948" y="286353"/>
                  </a:lnTo>
                  <a:lnTo>
                    <a:pt x="121111" y="288480"/>
                  </a:lnTo>
                  <a:lnTo>
                    <a:pt x="119465" y="289713"/>
                  </a:lnTo>
                  <a:lnTo>
                    <a:pt x="114238" y="290955"/>
                  </a:lnTo>
                  <a:lnTo>
                    <a:pt x="111986" y="292221"/>
                  </a:lnTo>
                  <a:lnTo>
                    <a:pt x="108040" y="295078"/>
                  </a:lnTo>
                  <a:lnTo>
                    <a:pt x="107281" y="295315"/>
                  </a:lnTo>
                  <a:lnTo>
                    <a:pt x="101328" y="294629"/>
                  </a:lnTo>
                  <a:lnTo>
                    <a:pt x="96898" y="290923"/>
                  </a:lnTo>
                  <a:lnTo>
                    <a:pt x="94066" y="289402"/>
                  </a:lnTo>
                  <a:lnTo>
                    <a:pt x="92896" y="289230"/>
                  </a:lnTo>
                  <a:lnTo>
                    <a:pt x="91687" y="289682"/>
                  </a:lnTo>
                  <a:lnTo>
                    <a:pt x="89101" y="290145"/>
                  </a:lnTo>
                  <a:lnTo>
                    <a:pt x="86464" y="290066"/>
                  </a:lnTo>
                  <a:lnTo>
                    <a:pt x="87810" y="288352"/>
                  </a:lnTo>
                  <a:lnTo>
                    <a:pt x="89638" y="287393"/>
                  </a:lnTo>
                  <a:lnTo>
                    <a:pt x="85544" y="286727"/>
                  </a:lnTo>
                  <a:lnTo>
                    <a:pt x="84406" y="286205"/>
                  </a:lnTo>
                  <a:lnTo>
                    <a:pt x="83109" y="285002"/>
                  </a:lnTo>
                  <a:lnTo>
                    <a:pt x="79898" y="284796"/>
                  </a:lnTo>
                  <a:lnTo>
                    <a:pt x="78366" y="285103"/>
                  </a:lnTo>
                  <a:lnTo>
                    <a:pt x="75782" y="286693"/>
                  </a:lnTo>
                  <a:lnTo>
                    <a:pt x="71699" y="288383"/>
                  </a:lnTo>
                  <a:lnTo>
                    <a:pt x="66780" y="286040"/>
                  </a:lnTo>
                  <a:lnTo>
                    <a:pt x="65816" y="285012"/>
                  </a:lnTo>
                  <a:lnTo>
                    <a:pt x="65841" y="283027"/>
                  </a:lnTo>
                  <a:lnTo>
                    <a:pt x="65103" y="281453"/>
                  </a:lnTo>
                  <a:lnTo>
                    <a:pt x="63738" y="280898"/>
                  </a:lnTo>
                  <a:lnTo>
                    <a:pt x="65484" y="278846"/>
                  </a:lnTo>
                  <a:lnTo>
                    <a:pt x="67591" y="277479"/>
                  </a:lnTo>
                  <a:lnTo>
                    <a:pt x="72225" y="276120"/>
                  </a:lnTo>
                  <a:lnTo>
                    <a:pt x="79243" y="272892"/>
                  </a:lnTo>
                  <a:lnTo>
                    <a:pt x="83178" y="271516"/>
                  </a:lnTo>
                  <a:lnTo>
                    <a:pt x="86836" y="269140"/>
                  </a:lnTo>
                  <a:lnTo>
                    <a:pt x="88348" y="267690"/>
                  </a:lnTo>
                  <a:lnTo>
                    <a:pt x="89445" y="265705"/>
                  </a:lnTo>
                  <a:lnTo>
                    <a:pt x="90533" y="263266"/>
                  </a:lnTo>
                  <a:lnTo>
                    <a:pt x="92086" y="261284"/>
                  </a:lnTo>
                  <a:lnTo>
                    <a:pt x="90579" y="260812"/>
                  </a:lnTo>
                  <a:lnTo>
                    <a:pt x="89906" y="259315"/>
                  </a:lnTo>
                  <a:lnTo>
                    <a:pt x="90087" y="257796"/>
                  </a:lnTo>
                  <a:lnTo>
                    <a:pt x="90783" y="256448"/>
                  </a:lnTo>
                  <a:lnTo>
                    <a:pt x="90159" y="254756"/>
                  </a:lnTo>
                  <a:lnTo>
                    <a:pt x="89052" y="252986"/>
                  </a:lnTo>
                  <a:lnTo>
                    <a:pt x="89113" y="251607"/>
                  </a:lnTo>
                  <a:lnTo>
                    <a:pt x="89407" y="250132"/>
                  </a:lnTo>
                  <a:lnTo>
                    <a:pt x="86584" y="250211"/>
                  </a:lnTo>
                  <a:lnTo>
                    <a:pt x="83769" y="250672"/>
                  </a:lnTo>
                  <a:lnTo>
                    <a:pt x="81218" y="251718"/>
                  </a:lnTo>
                  <a:lnTo>
                    <a:pt x="78744" y="253137"/>
                  </a:lnTo>
                  <a:lnTo>
                    <a:pt x="76547" y="253400"/>
                  </a:lnTo>
                  <a:lnTo>
                    <a:pt x="76582" y="252265"/>
                  </a:lnTo>
                  <a:lnTo>
                    <a:pt x="77536" y="250861"/>
                  </a:lnTo>
                  <a:lnTo>
                    <a:pt x="80027" y="248854"/>
                  </a:lnTo>
                  <a:lnTo>
                    <a:pt x="82694" y="247189"/>
                  </a:lnTo>
                  <a:lnTo>
                    <a:pt x="83642" y="245923"/>
                  </a:lnTo>
                  <a:lnTo>
                    <a:pt x="84388" y="244452"/>
                  </a:lnTo>
                  <a:lnTo>
                    <a:pt x="85712" y="243271"/>
                  </a:lnTo>
                  <a:lnTo>
                    <a:pt x="89195" y="241037"/>
                  </a:lnTo>
                  <a:lnTo>
                    <a:pt x="95868" y="238521"/>
                  </a:lnTo>
                  <a:lnTo>
                    <a:pt x="96864" y="238373"/>
                  </a:lnTo>
                  <a:lnTo>
                    <a:pt x="99480" y="238665"/>
                  </a:lnTo>
                  <a:lnTo>
                    <a:pt x="102052" y="238285"/>
                  </a:lnTo>
                  <a:lnTo>
                    <a:pt x="104305" y="237379"/>
                  </a:lnTo>
                  <a:lnTo>
                    <a:pt x="106550" y="237184"/>
                  </a:lnTo>
                  <a:lnTo>
                    <a:pt x="111605" y="239795"/>
                  </a:lnTo>
                  <a:lnTo>
                    <a:pt x="110102" y="235754"/>
                  </a:lnTo>
                  <a:lnTo>
                    <a:pt x="112331" y="234786"/>
                  </a:lnTo>
                  <a:lnTo>
                    <a:pt x="115564" y="238440"/>
                  </a:lnTo>
                  <a:lnTo>
                    <a:pt x="116766" y="238825"/>
                  </a:lnTo>
                  <a:lnTo>
                    <a:pt x="119301" y="238295"/>
                  </a:lnTo>
                  <a:lnTo>
                    <a:pt x="118323" y="237679"/>
                  </a:lnTo>
                  <a:lnTo>
                    <a:pt x="117181" y="237642"/>
                  </a:lnTo>
                  <a:lnTo>
                    <a:pt x="115685" y="237091"/>
                  </a:lnTo>
                  <a:lnTo>
                    <a:pt x="114427" y="235919"/>
                  </a:lnTo>
                  <a:lnTo>
                    <a:pt x="112334" y="232195"/>
                  </a:lnTo>
                  <a:lnTo>
                    <a:pt x="112447" y="229982"/>
                  </a:lnTo>
                  <a:lnTo>
                    <a:pt x="113857" y="227679"/>
                  </a:lnTo>
                  <a:lnTo>
                    <a:pt x="115419" y="225557"/>
                  </a:lnTo>
                  <a:lnTo>
                    <a:pt x="114109" y="225135"/>
                  </a:lnTo>
                  <a:lnTo>
                    <a:pt x="113060" y="224323"/>
                  </a:lnTo>
                  <a:lnTo>
                    <a:pt x="112759" y="222197"/>
                  </a:lnTo>
                  <a:lnTo>
                    <a:pt x="113171" y="220318"/>
                  </a:lnTo>
                  <a:lnTo>
                    <a:pt x="115977" y="218657"/>
                  </a:lnTo>
                  <a:lnTo>
                    <a:pt x="116805" y="216135"/>
                  </a:lnTo>
                  <a:lnTo>
                    <a:pt x="117157" y="213357"/>
                  </a:lnTo>
                  <a:lnTo>
                    <a:pt x="116691" y="212082"/>
                  </a:lnTo>
                  <a:lnTo>
                    <a:pt x="113906" y="212287"/>
                  </a:lnTo>
                  <a:lnTo>
                    <a:pt x="112552" y="212807"/>
                  </a:lnTo>
                  <a:lnTo>
                    <a:pt x="111337" y="213630"/>
                  </a:lnTo>
                  <a:lnTo>
                    <a:pt x="110093" y="213581"/>
                  </a:lnTo>
                  <a:lnTo>
                    <a:pt x="106653" y="210505"/>
                  </a:lnTo>
                  <a:lnTo>
                    <a:pt x="104691" y="208176"/>
                  </a:lnTo>
                  <a:lnTo>
                    <a:pt x="101172" y="203238"/>
                  </a:lnTo>
                  <a:lnTo>
                    <a:pt x="100671" y="200283"/>
                  </a:lnTo>
                  <a:lnTo>
                    <a:pt x="103490" y="193894"/>
                  </a:lnTo>
                  <a:lnTo>
                    <a:pt x="107838" y="189799"/>
                  </a:lnTo>
                  <a:lnTo>
                    <a:pt x="112961" y="188372"/>
                  </a:lnTo>
                  <a:lnTo>
                    <a:pt x="111970" y="188099"/>
                  </a:lnTo>
                  <a:lnTo>
                    <a:pt x="104164" y="188044"/>
                  </a:lnTo>
                  <a:lnTo>
                    <a:pt x="101591" y="188546"/>
                  </a:lnTo>
                  <a:lnTo>
                    <a:pt x="99206" y="190221"/>
                  </a:lnTo>
                  <a:lnTo>
                    <a:pt x="97859" y="190735"/>
                  </a:lnTo>
                  <a:lnTo>
                    <a:pt x="96443" y="190925"/>
                  </a:lnTo>
                  <a:lnTo>
                    <a:pt x="95153" y="191758"/>
                  </a:lnTo>
                  <a:lnTo>
                    <a:pt x="93893" y="192914"/>
                  </a:lnTo>
                  <a:lnTo>
                    <a:pt x="92581" y="193653"/>
                  </a:lnTo>
                  <a:lnTo>
                    <a:pt x="89975" y="193462"/>
                  </a:lnTo>
                  <a:lnTo>
                    <a:pt x="88711" y="193706"/>
                  </a:lnTo>
                  <a:lnTo>
                    <a:pt x="87802" y="193037"/>
                  </a:lnTo>
                  <a:lnTo>
                    <a:pt x="87042" y="191930"/>
                  </a:lnTo>
                  <a:lnTo>
                    <a:pt x="86047" y="191635"/>
                  </a:lnTo>
                  <a:lnTo>
                    <a:pt x="84936" y="191975"/>
                  </a:lnTo>
                  <a:lnTo>
                    <a:pt x="82587" y="193466"/>
                  </a:lnTo>
                  <a:lnTo>
                    <a:pt x="80208" y="194346"/>
                  </a:lnTo>
                  <a:lnTo>
                    <a:pt x="77332" y="193407"/>
                  </a:lnTo>
                  <a:lnTo>
                    <a:pt x="73562" y="191655"/>
                  </a:lnTo>
                  <a:lnTo>
                    <a:pt x="72817" y="192294"/>
                  </a:lnTo>
                  <a:lnTo>
                    <a:pt x="71982" y="193920"/>
                  </a:lnTo>
                  <a:lnTo>
                    <a:pt x="71501" y="196456"/>
                  </a:lnTo>
                  <a:lnTo>
                    <a:pt x="68824" y="194254"/>
                  </a:lnTo>
                  <a:lnTo>
                    <a:pt x="66542" y="191306"/>
                  </a:lnTo>
                  <a:lnTo>
                    <a:pt x="65777" y="189452"/>
                  </a:lnTo>
                  <a:lnTo>
                    <a:pt x="65720" y="187364"/>
                  </a:lnTo>
                  <a:lnTo>
                    <a:pt x="66958" y="186553"/>
                  </a:lnTo>
                  <a:lnTo>
                    <a:pt x="68303" y="187295"/>
                  </a:lnTo>
                  <a:lnTo>
                    <a:pt x="70308" y="182331"/>
                  </a:lnTo>
                  <a:lnTo>
                    <a:pt x="74297" y="175855"/>
                  </a:lnTo>
                  <a:lnTo>
                    <a:pt x="75704" y="173952"/>
                  </a:lnTo>
                  <a:lnTo>
                    <a:pt x="76686" y="171467"/>
                  </a:lnTo>
                  <a:lnTo>
                    <a:pt x="76518" y="169839"/>
                  </a:lnTo>
                  <a:lnTo>
                    <a:pt x="75638" y="168464"/>
                  </a:lnTo>
                  <a:lnTo>
                    <a:pt x="71930" y="165337"/>
                  </a:lnTo>
                  <a:lnTo>
                    <a:pt x="71979" y="162788"/>
                  </a:lnTo>
                  <a:lnTo>
                    <a:pt x="72376" y="159906"/>
                  </a:lnTo>
                  <a:lnTo>
                    <a:pt x="73384" y="158175"/>
                  </a:lnTo>
                  <a:lnTo>
                    <a:pt x="73810" y="157845"/>
                  </a:lnTo>
                  <a:lnTo>
                    <a:pt x="78735" y="157891"/>
                  </a:lnTo>
                  <a:lnTo>
                    <a:pt x="76814" y="156997"/>
                  </a:lnTo>
                  <a:lnTo>
                    <a:pt x="72986" y="154385"/>
                  </a:lnTo>
                  <a:lnTo>
                    <a:pt x="73054" y="153459"/>
                  </a:lnTo>
                  <a:lnTo>
                    <a:pt x="73955" y="151041"/>
                  </a:lnTo>
                  <a:lnTo>
                    <a:pt x="73537" y="151286"/>
                  </a:lnTo>
                  <a:lnTo>
                    <a:pt x="72717" y="152403"/>
                  </a:lnTo>
                  <a:lnTo>
                    <a:pt x="71150" y="155105"/>
                  </a:lnTo>
                  <a:lnTo>
                    <a:pt x="70194" y="155735"/>
                  </a:lnTo>
                  <a:lnTo>
                    <a:pt x="67486" y="156376"/>
                  </a:lnTo>
                  <a:lnTo>
                    <a:pt x="66996" y="157705"/>
                  </a:lnTo>
                  <a:lnTo>
                    <a:pt x="66561" y="158052"/>
                  </a:lnTo>
                  <a:lnTo>
                    <a:pt x="65208" y="158203"/>
                  </a:lnTo>
                  <a:lnTo>
                    <a:pt x="64793" y="159441"/>
                  </a:lnTo>
                  <a:lnTo>
                    <a:pt x="64492" y="159520"/>
                  </a:lnTo>
                  <a:lnTo>
                    <a:pt x="64107" y="158184"/>
                  </a:lnTo>
                  <a:lnTo>
                    <a:pt x="64070" y="155968"/>
                  </a:lnTo>
                  <a:lnTo>
                    <a:pt x="64609" y="153929"/>
                  </a:lnTo>
                  <a:lnTo>
                    <a:pt x="65638" y="152332"/>
                  </a:lnTo>
                  <a:lnTo>
                    <a:pt x="69606" y="148697"/>
                  </a:lnTo>
                  <a:lnTo>
                    <a:pt x="67674" y="149819"/>
                  </a:lnTo>
                  <a:lnTo>
                    <a:pt x="63295" y="153176"/>
                  </a:lnTo>
                  <a:lnTo>
                    <a:pt x="61060" y="155381"/>
                  </a:lnTo>
                  <a:lnTo>
                    <a:pt x="60463" y="156125"/>
                  </a:lnTo>
                  <a:lnTo>
                    <a:pt x="60276" y="156752"/>
                  </a:lnTo>
                  <a:lnTo>
                    <a:pt x="60289" y="157474"/>
                  </a:lnTo>
                  <a:lnTo>
                    <a:pt x="61293" y="161344"/>
                  </a:lnTo>
                  <a:lnTo>
                    <a:pt x="61007" y="163133"/>
                  </a:lnTo>
                  <a:lnTo>
                    <a:pt x="57234" y="174922"/>
                  </a:lnTo>
                  <a:lnTo>
                    <a:pt x="56520" y="176102"/>
                  </a:lnTo>
                  <a:lnTo>
                    <a:pt x="55863" y="176719"/>
                  </a:lnTo>
                  <a:lnTo>
                    <a:pt x="55242" y="176860"/>
                  </a:lnTo>
                  <a:lnTo>
                    <a:pt x="53382" y="176636"/>
                  </a:lnTo>
                  <a:lnTo>
                    <a:pt x="52552" y="175755"/>
                  </a:lnTo>
                  <a:lnTo>
                    <a:pt x="52559" y="174757"/>
                  </a:lnTo>
                  <a:lnTo>
                    <a:pt x="52908" y="173257"/>
                  </a:lnTo>
                  <a:lnTo>
                    <a:pt x="54472" y="167668"/>
                  </a:lnTo>
                  <a:lnTo>
                    <a:pt x="55151" y="166113"/>
                  </a:lnTo>
                  <a:lnTo>
                    <a:pt x="56160" y="164666"/>
                  </a:lnTo>
                  <a:lnTo>
                    <a:pt x="58383" y="162130"/>
                  </a:lnTo>
                  <a:lnTo>
                    <a:pt x="58329" y="161965"/>
                  </a:lnTo>
                  <a:lnTo>
                    <a:pt x="56849" y="162462"/>
                  </a:lnTo>
                  <a:lnTo>
                    <a:pt x="56218" y="162298"/>
                  </a:lnTo>
                  <a:lnTo>
                    <a:pt x="55766" y="161796"/>
                  </a:lnTo>
                  <a:lnTo>
                    <a:pt x="56059" y="154257"/>
                  </a:lnTo>
                  <a:lnTo>
                    <a:pt x="57260" y="151771"/>
                  </a:lnTo>
                  <a:lnTo>
                    <a:pt x="57709" y="148150"/>
                  </a:lnTo>
                  <a:lnTo>
                    <a:pt x="58750" y="145045"/>
                  </a:lnTo>
                  <a:lnTo>
                    <a:pt x="59955" y="142781"/>
                  </a:lnTo>
                  <a:lnTo>
                    <a:pt x="60872" y="139881"/>
                  </a:lnTo>
                  <a:lnTo>
                    <a:pt x="62254" y="138590"/>
                  </a:lnTo>
                  <a:lnTo>
                    <a:pt x="62624" y="136614"/>
                  </a:lnTo>
                  <a:lnTo>
                    <a:pt x="64174" y="134473"/>
                  </a:lnTo>
                  <a:lnTo>
                    <a:pt x="65373" y="132232"/>
                  </a:lnTo>
                  <a:lnTo>
                    <a:pt x="64727" y="132454"/>
                  </a:lnTo>
                  <a:lnTo>
                    <a:pt x="57063" y="138281"/>
                  </a:lnTo>
                  <a:lnTo>
                    <a:pt x="55111" y="139341"/>
                  </a:lnTo>
                  <a:lnTo>
                    <a:pt x="52450" y="139057"/>
                  </a:lnTo>
                  <a:lnTo>
                    <a:pt x="50415" y="138403"/>
                  </a:lnTo>
                  <a:lnTo>
                    <a:pt x="48825" y="137025"/>
                  </a:lnTo>
                  <a:lnTo>
                    <a:pt x="48114" y="134378"/>
                  </a:lnTo>
                  <a:lnTo>
                    <a:pt x="46150" y="134307"/>
                  </a:lnTo>
                  <a:lnTo>
                    <a:pt x="44470" y="133849"/>
                  </a:lnTo>
                  <a:lnTo>
                    <a:pt x="44491" y="133493"/>
                  </a:lnTo>
                  <a:lnTo>
                    <a:pt x="46658" y="132048"/>
                  </a:lnTo>
                  <a:lnTo>
                    <a:pt x="50132" y="131552"/>
                  </a:lnTo>
                  <a:lnTo>
                    <a:pt x="53383" y="129237"/>
                  </a:lnTo>
                  <a:lnTo>
                    <a:pt x="50490" y="127672"/>
                  </a:lnTo>
                  <a:lnTo>
                    <a:pt x="50735" y="127176"/>
                  </a:lnTo>
                  <a:lnTo>
                    <a:pt x="53258" y="125842"/>
                  </a:lnTo>
                  <a:lnTo>
                    <a:pt x="56463" y="121362"/>
                  </a:lnTo>
                  <a:lnTo>
                    <a:pt x="57113" y="117232"/>
                  </a:lnTo>
                  <a:lnTo>
                    <a:pt x="55580" y="115289"/>
                  </a:lnTo>
                  <a:lnTo>
                    <a:pt x="55025" y="114015"/>
                  </a:lnTo>
                  <a:lnTo>
                    <a:pt x="51961" y="112594"/>
                  </a:lnTo>
                  <a:lnTo>
                    <a:pt x="51449" y="110774"/>
                  </a:lnTo>
                  <a:lnTo>
                    <a:pt x="51805" y="109758"/>
                  </a:lnTo>
                  <a:lnTo>
                    <a:pt x="52805" y="108765"/>
                  </a:lnTo>
                  <a:lnTo>
                    <a:pt x="54312" y="107991"/>
                  </a:lnTo>
                  <a:lnTo>
                    <a:pt x="56674" y="107251"/>
                  </a:lnTo>
                  <a:lnTo>
                    <a:pt x="54530" y="106457"/>
                  </a:lnTo>
                  <a:lnTo>
                    <a:pt x="53730" y="105520"/>
                  </a:lnTo>
                  <a:lnTo>
                    <a:pt x="53123" y="104163"/>
                  </a:lnTo>
                  <a:lnTo>
                    <a:pt x="53067" y="103376"/>
                  </a:lnTo>
                  <a:lnTo>
                    <a:pt x="54177" y="99866"/>
                  </a:lnTo>
                  <a:lnTo>
                    <a:pt x="54823" y="98417"/>
                  </a:lnTo>
                  <a:lnTo>
                    <a:pt x="56087" y="96568"/>
                  </a:lnTo>
                  <a:lnTo>
                    <a:pt x="61821" y="96672"/>
                  </a:lnTo>
                  <a:lnTo>
                    <a:pt x="62480" y="95855"/>
                  </a:lnTo>
                  <a:lnTo>
                    <a:pt x="63130" y="95823"/>
                  </a:lnTo>
                  <a:lnTo>
                    <a:pt x="66062" y="96568"/>
                  </a:lnTo>
                  <a:lnTo>
                    <a:pt x="65627" y="95766"/>
                  </a:lnTo>
                  <a:lnTo>
                    <a:pt x="60832" y="91368"/>
                  </a:lnTo>
                  <a:lnTo>
                    <a:pt x="60402" y="90530"/>
                  </a:lnTo>
                  <a:lnTo>
                    <a:pt x="61769" y="88154"/>
                  </a:lnTo>
                  <a:lnTo>
                    <a:pt x="61868" y="87094"/>
                  </a:lnTo>
                  <a:lnTo>
                    <a:pt x="61668" y="85961"/>
                  </a:lnTo>
                  <a:lnTo>
                    <a:pt x="62058" y="85098"/>
                  </a:lnTo>
                  <a:lnTo>
                    <a:pt x="63578" y="84690"/>
                  </a:lnTo>
                  <a:lnTo>
                    <a:pt x="68213" y="84731"/>
                  </a:lnTo>
                  <a:lnTo>
                    <a:pt x="69355" y="84329"/>
                  </a:lnTo>
                  <a:lnTo>
                    <a:pt x="68835" y="83181"/>
                  </a:lnTo>
                  <a:lnTo>
                    <a:pt x="67756" y="81671"/>
                  </a:lnTo>
                  <a:lnTo>
                    <a:pt x="67545" y="80402"/>
                  </a:lnTo>
                  <a:lnTo>
                    <a:pt x="67798" y="79281"/>
                  </a:lnTo>
                  <a:lnTo>
                    <a:pt x="67857" y="77022"/>
                  </a:lnTo>
                  <a:lnTo>
                    <a:pt x="68068" y="76022"/>
                  </a:lnTo>
                  <a:lnTo>
                    <a:pt x="69168" y="74524"/>
                  </a:lnTo>
                  <a:lnTo>
                    <a:pt x="70077" y="74079"/>
                  </a:lnTo>
                  <a:lnTo>
                    <a:pt x="71204" y="73818"/>
                  </a:lnTo>
                  <a:lnTo>
                    <a:pt x="73748" y="74319"/>
                  </a:lnTo>
                  <a:lnTo>
                    <a:pt x="74718" y="74924"/>
                  </a:lnTo>
                  <a:lnTo>
                    <a:pt x="75831" y="76352"/>
                  </a:lnTo>
                  <a:lnTo>
                    <a:pt x="76654" y="76236"/>
                  </a:lnTo>
                  <a:lnTo>
                    <a:pt x="79822" y="74685"/>
                  </a:lnTo>
                  <a:lnTo>
                    <a:pt x="80774" y="74462"/>
                  </a:lnTo>
                  <a:lnTo>
                    <a:pt x="82070" y="76260"/>
                  </a:lnTo>
                  <a:lnTo>
                    <a:pt x="87480" y="74826"/>
                  </a:lnTo>
                  <a:lnTo>
                    <a:pt x="94757" y="74183"/>
                  </a:lnTo>
                  <a:lnTo>
                    <a:pt x="99129" y="73239"/>
                  </a:lnTo>
                  <a:lnTo>
                    <a:pt x="103733" y="72896"/>
                  </a:lnTo>
                  <a:close/>
                  <a:moveTo>
                    <a:pt x="115062" y="65804"/>
                  </a:moveTo>
                  <a:lnTo>
                    <a:pt x="116053" y="66067"/>
                  </a:lnTo>
                  <a:lnTo>
                    <a:pt x="115685" y="66975"/>
                  </a:lnTo>
                  <a:lnTo>
                    <a:pt x="115324" y="68857"/>
                  </a:lnTo>
                  <a:lnTo>
                    <a:pt x="115112" y="68953"/>
                  </a:lnTo>
                  <a:lnTo>
                    <a:pt x="114307" y="68360"/>
                  </a:lnTo>
                  <a:lnTo>
                    <a:pt x="112979" y="66228"/>
                  </a:lnTo>
                  <a:close/>
                  <a:moveTo>
                    <a:pt x="105859" y="63098"/>
                  </a:moveTo>
                  <a:lnTo>
                    <a:pt x="107750" y="63544"/>
                  </a:lnTo>
                  <a:lnTo>
                    <a:pt x="108729" y="65107"/>
                  </a:lnTo>
                  <a:lnTo>
                    <a:pt x="108851" y="66123"/>
                  </a:lnTo>
                  <a:lnTo>
                    <a:pt x="109083" y="66522"/>
                  </a:lnTo>
                  <a:lnTo>
                    <a:pt x="110257" y="66923"/>
                  </a:lnTo>
                  <a:lnTo>
                    <a:pt x="110115" y="67151"/>
                  </a:lnTo>
                  <a:lnTo>
                    <a:pt x="108851" y="67581"/>
                  </a:lnTo>
                  <a:lnTo>
                    <a:pt x="107598" y="67549"/>
                  </a:lnTo>
                  <a:lnTo>
                    <a:pt x="105643" y="65673"/>
                  </a:lnTo>
                  <a:lnTo>
                    <a:pt x="104900" y="64307"/>
                  </a:lnTo>
                  <a:lnTo>
                    <a:pt x="105034" y="63403"/>
                  </a:lnTo>
                  <a:close/>
                  <a:moveTo>
                    <a:pt x="108266" y="55774"/>
                  </a:moveTo>
                  <a:lnTo>
                    <a:pt x="110302" y="56022"/>
                  </a:lnTo>
                  <a:lnTo>
                    <a:pt x="112632" y="57239"/>
                  </a:lnTo>
                  <a:lnTo>
                    <a:pt x="113337" y="57988"/>
                  </a:lnTo>
                  <a:lnTo>
                    <a:pt x="113320" y="58586"/>
                  </a:lnTo>
                  <a:lnTo>
                    <a:pt x="112493" y="59499"/>
                  </a:lnTo>
                  <a:lnTo>
                    <a:pt x="112199" y="60302"/>
                  </a:lnTo>
                  <a:lnTo>
                    <a:pt x="113880" y="60283"/>
                  </a:lnTo>
                  <a:lnTo>
                    <a:pt x="116315" y="60967"/>
                  </a:lnTo>
                  <a:lnTo>
                    <a:pt x="117789" y="61053"/>
                  </a:lnTo>
                  <a:lnTo>
                    <a:pt x="119015" y="61901"/>
                  </a:lnTo>
                  <a:lnTo>
                    <a:pt x="118339" y="63490"/>
                  </a:lnTo>
                  <a:lnTo>
                    <a:pt x="117605" y="63935"/>
                  </a:lnTo>
                  <a:lnTo>
                    <a:pt x="116775" y="64023"/>
                  </a:lnTo>
                  <a:lnTo>
                    <a:pt x="113877" y="62436"/>
                  </a:lnTo>
                  <a:lnTo>
                    <a:pt x="110079" y="63095"/>
                  </a:lnTo>
                  <a:lnTo>
                    <a:pt x="109323" y="62894"/>
                  </a:lnTo>
                  <a:lnTo>
                    <a:pt x="108824" y="62455"/>
                  </a:lnTo>
                  <a:lnTo>
                    <a:pt x="108619" y="61911"/>
                  </a:lnTo>
                  <a:lnTo>
                    <a:pt x="108615" y="60801"/>
                  </a:lnTo>
                  <a:lnTo>
                    <a:pt x="108409" y="60473"/>
                  </a:lnTo>
                  <a:lnTo>
                    <a:pt x="107033" y="61523"/>
                  </a:lnTo>
                  <a:lnTo>
                    <a:pt x="106429" y="61399"/>
                  </a:lnTo>
                  <a:lnTo>
                    <a:pt x="106088" y="60896"/>
                  </a:lnTo>
                  <a:lnTo>
                    <a:pt x="105941" y="59853"/>
                  </a:lnTo>
                  <a:lnTo>
                    <a:pt x="106094" y="58347"/>
                  </a:lnTo>
                  <a:lnTo>
                    <a:pt x="106900" y="56202"/>
                  </a:lnTo>
                  <a:close/>
                  <a:moveTo>
                    <a:pt x="124031" y="50542"/>
                  </a:moveTo>
                  <a:lnTo>
                    <a:pt x="126876" y="50758"/>
                  </a:lnTo>
                  <a:lnTo>
                    <a:pt x="126370" y="51625"/>
                  </a:lnTo>
                  <a:lnTo>
                    <a:pt x="123738" y="52921"/>
                  </a:lnTo>
                  <a:lnTo>
                    <a:pt x="121235" y="52960"/>
                  </a:lnTo>
                  <a:lnTo>
                    <a:pt x="122528" y="51028"/>
                  </a:lnTo>
                  <a:close/>
                  <a:moveTo>
                    <a:pt x="114304" y="49137"/>
                  </a:moveTo>
                  <a:lnTo>
                    <a:pt x="116822" y="51059"/>
                  </a:lnTo>
                  <a:lnTo>
                    <a:pt x="117853" y="52612"/>
                  </a:lnTo>
                  <a:lnTo>
                    <a:pt x="119718" y="53071"/>
                  </a:lnTo>
                  <a:lnTo>
                    <a:pt x="119956" y="53309"/>
                  </a:lnTo>
                  <a:lnTo>
                    <a:pt x="119746" y="54377"/>
                  </a:lnTo>
                  <a:lnTo>
                    <a:pt x="117848" y="55188"/>
                  </a:lnTo>
                  <a:lnTo>
                    <a:pt x="117038" y="54517"/>
                  </a:lnTo>
                  <a:lnTo>
                    <a:pt x="116827" y="52416"/>
                  </a:lnTo>
                  <a:lnTo>
                    <a:pt x="114564" y="51516"/>
                  </a:lnTo>
                  <a:lnTo>
                    <a:pt x="113464" y="50957"/>
                  </a:lnTo>
                  <a:lnTo>
                    <a:pt x="112612" y="49897"/>
                  </a:lnTo>
                  <a:lnTo>
                    <a:pt x="112829" y="49572"/>
                  </a:lnTo>
                  <a:close/>
                  <a:moveTo>
                    <a:pt x="149939" y="7430"/>
                  </a:moveTo>
                  <a:lnTo>
                    <a:pt x="151315" y="7494"/>
                  </a:lnTo>
                  <a:lnTo>
                    <a:pt x="151174" y="9833"/>
                  </a:lnTo>
                  <a:lnTo>
                    <a:pt x="151632" y="12180"/>
                  </a:lnTo>
                  <a:lnTo>
                    <a:pt x="152774" y="11572"/>
                  </a:lnTo>
                  <a:lnTo>
                    <a:pt x="154498" y="13821"/>
                  </a:lnTo>
                  <a:lnTo>
                    <a:pt x="155378" y="13824"/>
                  </a:lnTo>
                  <a:lnTo>
                    <a:pt x="156827" y="12931"/>
                  </a:lnTo>
                  <a:lnTo>
                    <a:pt x="156535" y="15023"/>
                  </a:lnTo>
                  <a:lnTo>
                    <a:pt x="155031" y="20819"/>
                  </a:lnTo>
                  <a:lnTo>
                    <a:pt x="154608" y="21802"/>
                  </a:lnTo>
                  <a:lnTo>
                    <a:pt x="154322" y="23560"/>
                  </a:lnTo>
                  <a:lnTo>
                    <a:pt x="154023" y="23902"/>
                  </a:lnTo>
                  <a:lnTo>
                    <a:pt x="153579" y="27452"/>
                  </a:lnTo>
                  <a:lnTo>
                    <a:pt x="152562" y="28620"/>
                  </a:lnTo>
                  <a:lnTo>
                    <a:pt x="151712" y="31404"/>
                  </a:lnTo>
                  <a:lnTo>
                    <a:pt x="151365" y="31676"/>
                  </a:lnTo>
                  <a:lnTo>
                    <a:pt x="150118" y="30605"/>
                  </a:lnTo>
                  <a:lnTo>
                    <a:pt x="151364" y="26353"/>
                  </a:lnTo>
                  <a:lnTo>
                    <a:pt x="151880" y="23878"/>
                  </a:lnTo>
                  <a:lnTo>
                    <a:pt x="151554" y="22593"/>
                  </a:lnTo>
                  <a:lnTo>
                    <a:pt x="150849" y="21436"/>
                  </a:lnTo>
                  <a:lnTo>
                    <a:pt x="148942" y="21399"/>
                  </a:lnTo>
                  <a:lnTo>
                    <a:pt x="147340" y="21933"/>
                  </a:lnTo>
                  <a:lnTo>
                    <a:pt x="147000" y="21250"/>
                  </a:lnTo>
                  <a:lnTo>
                    <a:pt x="146950" y="20329"/>
                  </a:lnTo>
                  <a:lnTo>
                    <a:pt x="146564" y="20023"/>
                  </a:lnTo>
                  <a:lnTo>
                    <a:pt x="144431" y="20086"/>
                  </a:lnTo>
                  <a:lnTo>
                    <a:pt x="143805" y="19832"/>
                  </a:lnTo>
                  <a:lnTo>
                    <a:pt x="143392" y="18986"/>
                  </a:lnTo>
                  <a:lnTo>
                    <a:pt x="143310" y="18314"/>
                  </a:lnTo>
                  <a:lnTo>
                    <a:pt x="145236" y="17787"/>
                  </a:lnTo>
                  <a:lnTo>
                    <a:pt x="147054" y="17983"/>
                  </a:lnTo>
                  <a:lnTo>
                    <a:pt x="149703" y="16640"/>
                  </a:lnTo>
                  <a:lnTo>
                    <a:pt x="148046" y="12130"/>
                  </a:lnTo>
                  <a:lnTo>
                    <a:pt x="145851" y="11705"/>
                  </a:lnTo>
                  <a:lnTo>
                    <a:pt x="145344" y="11268"/>
                  </a:lnTo>
                  <a:lnTo>
                    <a:pt x="145767" y="10502"/>
                  </a:lnTo>
                  <a:lnTo>
                    <a:pt x="146972" y="10089"/>
                  </a:lnTo>
                  <a:lnTo>
                    <a:pt x="148828" y="7792"/>
                  </a:lnTo>
                  <a:close/>
                  <a:moveTo>
                    <a:pt x="155924" y="3736"/>
                  </a:moveTo>
                  <a:lnTo>
                    <a:pt x="157863" y="3860"/>
                  </a:lnTo>
                  <a:lnTo>
                    <a:pt x="158171" y="4878"/>
                  </a:lnTo>
                  <a:lnTo>
                    <a:pt x="157979" y="5814"/>
                  </a:lnTo>
                  <a:lnTo>
                    <a:pt x="156991" y="5897"/>
                  </a:lnTo>
                  <a:lnTo>
                    <a:pt x="156903" y="6184"/>
                  </a:lnTo>
                  <a:lnTo>
                    <a:pt x="157211" y="7986"/>
                  </a:lnTo>
                  <a:lnTo>
                    <a:pt x="157230" y="10077"/>
                  </a:lnTo>
                  <a:lnTo>
                    <a:pt x="157046" y="10621"/>
                  </a:lnTo>
                  <a:lnTo>
                    <a:pt x="156486" y="11006"/>
                  </a:lnTo>
                  <a:lnTo>
                    <a:pt x="154327" y="7619"/>
                  </a:lnTo>
                  <a:close/>
                  <a:moveTo>
                    <a:pt x="161891" y="0"/>
                  </a:moveTo>
                  <a:lnTo>
                    <a:pt x="162369" y="21"/>
                  </a:lnTo>
                  <a:lnTo>
                    <a:pt x="162978" y="667"/>
                  </a:lnTo>
                  <a:lnTo>
                    <a:pt x="162977" y="1051"/>
                  </a:lnTo>
                  <a:lnTo>
                    <a:pt x="161831" y="3871"/>
                  </a:lnTo>
                  <a:lnTo>
                    <a:pt x="161846" y="4948"/>
                  </a:lnTo>
                  <a:lnTo>
                    <a:pt x="159996" y="4845"/>
                  </a:lnTo>
                  <a:lnTo>
                    <a:pt x="159706" y="4502"/>
                  </a:lnTo>
                  <a:lnTo>
                    <a:pt x="159356" y="2885"/>
                  </a:lnTo>
                  <a:lnTo>
                    <a:pt x="159589" y="1162"/>
                  </a:lnTo>
                  <a:lnTo>
                    <a:pt x="159848" y="718"/>
                  </a:lnTo>
                  <a:lnTo>
                    <a:pt x="160388" y="535"/>
                  </a:lnTo>
                  <a:lnTo>
                    <a:pt x="160973" y="873"/>
                  </a:lnTo>
                  <a:close/>
                </a:path>
              </a:pathLst>
            </a:custGeom>
            <a:solidFill>
              <a:srgbClr val="A3BA1E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50" name="ee4p_GR_1_82333">
              <a:extLst>
                <a:ext uri="{FF2B5EF4-FFF2-40B4-BE49-F238E27FC236}">
                  <a16:creationId xmlns:a16="http://schemas.microsoft.com/office/drawing/2014/main" id="{07B34CE2-0C62-C55A-5E4D-00A844A76ECD}"/>
                </a:ext>
              </a:extLst>
            </p:cNvPr>
            <p:cNvSpPr>
              <a:spLocks noChangeAspect="1"/>
            </p:cNvSpPr>
            <p:nvPr>
              <p:custDataLst>
                <p:tags r:id="rId78"/>
              </p:custDataLst>
            </p:nvPr>
          </p:nvSpPr>
          <p:spPr>
            <a:xfrm>
              <a:off x="7060270" y="3411242"/>
              <a:ext cx="238411" cy="225976"/>
            </a:xfrm>
            <a:custGeom>
              <a:avLst/>
              <a:gdLst>
                <a:gd name="connsiteX0" fmla="*/ 90448 w 189841"/>
                <a:gd name="connsiteY0" fmla="*/ 157073 h 175170"/>
                <a:gd name="connsiteX1" fmla="*/ 91198 w 189841"/>
                <a:gd name="connsiteY1" fmla="*/ 157609 h 175170"/>
                <a:gd name="connsiteX2" fmla="*/ 91697 w 189841"/>
                <a:gd name="connsiteY2" fmla="*/ 159571 h 175170"/>
                <a:gd name="connsiteX3" fmla="*/ 92998 w 189841"/>
                <a:gd name="connsiteY3" fmla="*/ 160093 h 175170"/>
                <a:gd name="connsiteX4" fmla="*/ 94510 w 189841"/>
                <a:gd name="connsiteY4" fmla="*/ 160276 h 175170"/>
                <a:gd name="connsiteX5" fmla="*/ 96559 w 189841"/>
                <a:gd name="connsiteY5" fmla="*/ 160244 h 175170"/>
                <a:gd name="connsiteX6" fmla="*/ 97026 w 189841"/>
                <a:gd name="connsiteY6" fmla="*/ 160094 h 175170"/>
                <a:gd name="connsiteX7" fmla="*/ 98330 w 189841"/>
                <a:gd name="connsiteY7" fmla="*/ 158624 h 175170"/>
                <a:gd name="connsiteX8" fmla="*/ 99937 w 189841"/>
                <a:gd name="connsiteY8" fmla="*/ 158590 h 175170"/>
                <a:gd name="connsiteX9" fmla="*/ 100638 w 189841"/>
                <a:gd name="connsiteY9" fmla="*/ 160043 h 175170"/>
                <a:gd name="connsiteX10" fmla="*/ 99008 w 189841"/>
                <a:gd name="connsiteY10" fmla="*/ 160712 h 175170"/>
                <a:gd name="connsiteX11" fmla="*/ 98676 w 189841"/>
                <a:gd name="connsiteY11" fmla="*/ 161090 h 175170"/>
                <a:gd name="connsiteX12" fmla="*/ 98989 w 189841"/>
                <a:gd name="connsiteY12" fmla="*/ 161396 h 175170"/>
                <a:gd name="connsiteX13" fmla="*/ 100213 w 189841"/>
                <a:gd name="connsiteY13" fmla="*/ 162002 h 175170"/>
                <a:gd name="connsiteX14" fmla="*/ 101913 w 189841"/>
                <a:gd name="connsiteY14" fmla="*/ 161773 h 175170"/>
                <a:gd name="connsiteX15" fmla="*/ 101964 w 189841"/>
                <a:gd name="connsiteY15" fmla="*/ 162916 h 175170"/>
                <a:gd name="connsiteX16" fmla="*/ 102344 w 189841"/>
                <a:gd name="connsiteY16" fmla="*/ 163849 h 175170"/>
                <a:gd name="connsiteX17" fmla="*/ 103184 w 189841"/>
                <a:gd name="connsiteY17" fmla="*/ 164406 h 175170"/>
                <a:gd name="connsiteX18" fmla="*/ 104093 w 189841"/>
                <a:gd name="connsiteY18" fmla="*/ 164515 h 175170"/>
                <a:gd name="connsiteX19" fmla="*/ 106104 w 189841"/>
                <a:gd name="connsiteY19" fmla="*/ 164350 h 175170"/>
                <a:gd name="connsiteX20" fmla="*/ 108086 w 189841"/>
                <a:gd name="connsiteY20" fmla="*/ 163980 h 175170"/>
                <a:gd name="connsiteX21" fmla="*/ 110129 w 189841"/>
                <a:gd name="connsiteY21" fmla="*/ 163248 h 175170"/>
                <a:gd name="connsiteX22" fmla="*/ 112215 w 189841"/>
                <a:gd name="connsiteY22" fmla="*/ 162874 h 175170"/>
                <a:gd name="connsiteX23" fmla="*/ 118447 w 189841"/>
                <a:gd name="connsiteY23" fmla="*/ 163249 h 175170"/>
                <a:gd name="connsiteX24" fmla="*/ 120684 w 189841"/>
                <a:gd name="connsiteY24" fmla="*/ 164830 h 175170"/>
                <a:gd name="connsiteX25" fmla="*/ 124940 w 189841"/>
                <a:gd name="connsiteY25" fmla="*/ 165020 h 175170"/>
                <a:gd name="connsiteX26" fmla="*/ 128896 w 189841"/>
                <a:gd name="connsiteY26" fmla="*/ 165852 h 175170"/>
                <a:gd name="connsiteX27" fmla="*/ 130974 w 189841"/>
                <a:gd name="connsiteY27" fmla="*/ 165303 h 175170"/>
                <a:gd name="connsiteX28" fmla="*/ 134523 w 189841"/>
                <a:gd name="connsiteY28" fmla="*/ 164788 h 175170"/>
                <a:gd name="connsiteX29" fmla="*/ 135092 w 189841"/>
                <a:gd name="connsiteY29" fmla="*/ 165346 h 175170"/>
                <a:gd name="connsiteX30" fmla="*/ 134633 w 189841"/>
                <a:gd name="connsiteY30" fmla="*/ 168918 h 175170"/>
                <a:gd name="connsiteX31" fmla="*/ 134852 w 189841"/>
                <a:gd name="connsiteY31" fmla="*/ 169953 h 175170"/>
                <a:gd name="connsiteX32" fmla="*/ 135875 w 189841"/>
                <a:gd name="connsiteY32" fmla="*/ 170451 h 175170"/>
                <a:gd name="connsiteX33" fmla="*/ 136888 w 189841"/>
                <a:gd name="connsiteY33" fmla="*/ 170208 h 175170"/>
                <a:gd name="connsiteX34" fmla="*/ 138132 w 189841"/>
                <a:gd name="connsiteY34" fmla="*/ 169039 h 175170"/>
                <a:gd name="connsiteX35" fmla="*/ 141109 w 189841"/>
                <a:gd name="connsiteY35" fmla="*/ 168134 h 175170"/>
                <a:gd name="connsiteX36" fmla="*/ 144202 w 189841"/>
                <a:gd name="connsiteY36" fmla="*/ 168139 h 175170"/>
                <a:gd name="connsiteX37" fmla="*/ 146804 w 189841"/>
                <a:gd name="connsiteY37" fmla="*/ 165763 h 175170"/>
                <a:gd name="connsiteX38" fmla="*/ 147571 w 189841"/>
                <a:gd name="connsiteY38" fmla="*/ 165628 h 175170"/>
                <a:gd name="connsiteX39" fmla="*/ 147093 w 189841"/>
                <a:gd name="connsiteY39" fmla="*/ 166796 h 175170"/>
                <a:gd name="connsiteX40" fmla="*/ 146700 w 189841"/>
                <a:gd name="connsiteY40" fmla="*/ 169539 h 175170"/>
                <a:gd name="connsiteX41" fmla="*/ 146141 w 189841"/>
                <a:gd name="connsiteY41" fmla="*/ 171145 h 175170"/>
                <a:gd name="connsiteX42" fmla="*/ 145892 w 189841"/>
                <a:gd name="connsiteY42" fmla="*/ 172410 h 175170"/>
                <a:gd name="connsiteX43" fmla="*/ 144152 w 189841"/>
                <a:gd name="connsiteY43" fmla="*/ 173063 h 175170"/>
                <a:gd name="connsiteX44" fmla="*/ 141522 w 189841"/>
                <a:gd name="connsiteY44" fmla="*/ 173175 h 175170"/>
                <a:gd name="connsiteX45" fmla="*/ 136724 w 189841"/>
                <a:gd name="connsiteY45" fmla="*/ 172898 h 175170"/>
                <a:gd name="connsiteX46" fmla="*/ 131887 w 189841"/>
                <a:gd name="connsiteY46" fmla="*/ 173346 h 175170"/>
                <a:gd name="connsiteX47" fmla="*/ 122928 w 189841"/>
                <a:gd name="connsiteY47" fmla="*/ 174549 h 175170"/>
                <a:gd name="connsiteX48" fmla="*/ 113951 w 189841"/>
                <a:gd name="connsiteY48" fmla="*/ 175170 h 175170"/>
                <a:gd name="connsiteX49" fmla="*/ 112744 w 189841"/>
                <a:gd name="connsiteY49" fmla="*/ 174765 h 175170"/>
                <a:gd name="connsiteX50" fmla="*/ 112716 w 189841"/>
                <a:gd name="connsiteY50" fmla="*/ 173170 h 175170"/>
                <a:gd name="connsiteX51" fmla="*/ 112522 w 189841"/>
                <a:gd name="connsiteY51" fmla="*/ 172069 h 175170"/>
                <a:gd name="connsiteX52" fmla="*/ 111941 w 189841"/>
                <a:gd name="connsiteY52" fmla="*/ 171298 h 175170"/>
                <a:gd name="connsiteX53" fmla="*/ 109166 w 189841"/>
                <a:gd name="connsiteY53" fmla="*/ 170640 h 175170"/>
                <a:gd name="connsiteX54" fmla="*/ 106519 w 189841"/>
                <a:gd name="connsiteY54" fmla="*/ 169511 h 175170"/>
                <a:gd name="connsiteX55" fmla="*/ 96140 w 189841"/>
                <a:gd name="connsiteY55" fmla="*/ 167967 h 175170"/>
                <a:gd name="connsiteX56" fmla="*/ 93692 w 189841"/>
                <a:gd name="connsiteY56" fmla="*/ 167361 h 175170"/>
                <a:gd name="connsiteX57" fmla="*/ 89718 w 189841"/>
                <a:gd name="connsiteY57" fmla="*/ 167677 h 175170"/>
                <a:gd name="connsiteX58" fmla="*/ 88263 w 189841"/>
                <a:gd name="connsiteY58" fmla="*/ 167635 h 175170"/>
                <a:gd name="connsiteX59" fmla="*/ 87261 w 189841"/>
                <a:gd name="connsiteY59" fmla="*/ 167081 h 175170"/>
                <a:gd name="connsiteX60" fmla="*/ 86572 w 189841"/>
                <a:gd name="connsiteY60" fmla="*/ 166129 h 175170"/>
                <a:gd name="connsiteX61" fmla="*/ 86261 w 189841"/>
                <a:gd name="connsiteY61" fmla="*/ 163106 h 175170"/>
                <a:gd name="connsiteX62" fmla="*/ 86753 w 189841"/>
                <a:gd name="connsiteY62" fmla="*/ 160110 h 175170"/>
                <a:gd name="connsiteX63" fmla="*/ 87613 w 189841"/>
                <a:gd name="connsiteY63" fmla="*/ 159318 h 175170"/>
                <a:gd name="connsiteX64" fmla="*/ 88008 w 189841"/>
                <a:gd name="connsiteY64" fmla="*/ 160221 h 175170"/>
                <a:gd name="connsiteX65" fmla="*/ 89027 w 189841"/>
                <a:gd name="connsiteY65" fmla="*/ 160634 h 175170"/>
                <a:gd name="connsiteX66" fmla="*/ 89973 w 189841"/>
                <a:gd name="connsiteY66" fmla="*/ 159724 h 175170"/>
                <a:gd name="connsiteX67" fmla="*/ 89964 w 189841"/>
                <a:gd name="connsiteY67" fmla="*/ 158350 h 175170"/>
                <a:gd name="connsiteX68" fmla="*/ 167536 w 189841"/>
                <a:gd name="connsiteY68" fmla="*/ 152919 h 175170"/>
                <a:gd name="connsiteX69" fmla="*/ 167180 w 189841"/>
                <a:gd name="connsiteY69" fmla="*/ 155589 h 175170"/>
                <a:gd name="connsiteX70" fmla="*/ 166078 w 189841"/>
                <a:gd name="connsiteY70" fmla="*/ 157728 h 175170"/>
                <a:gd name="connsiteX71" fmla="*/ 167221 w 189841"/>
                <a:gd name="connsiteY71" fmla="*/ 159502 h 175170"/>
                <a:gd name="connsiteX72" fmla="*/ 167767 w 189841"/>
                <a:gd name="connsiteY72" fmla="*/ 161523 h 175170"/>
                <a:gd name="connsiteX73" fmla="*/ 166495 w 189841"/>
                <a:gd name="connsiteY73" fmla="*/ 161857 h 175170"/>
                <a:gd name="connsiteX74" fmla="*/ 165651 w 189841"/>
                <a:gd name="connsiteY74" fmla="*/ 163269 h 175170"/>
                <a:gd name="connsiteX75" fmla="*/ 164794 w 189841"/>
                <a:gd name="connsiteY75" fmla="*/ 162079 h 175170"/>
                <a:gd name="connsiteX76" fmla="*/ 165163 w 189841"/>
                <a:gd name="connsiteY76" fmla="*/ 160705 h 175170"/>
                <a:gd name="connsiteX77" fmla="*/ 164165 w 189841"/>
                <a:gd name="connsiteY77" fmla="*/ 158526 h 175170"/>
                <a:gd name="connsiteX78" fmla="*/ 166053 w 189841"/>
                <a:gd name="connsiteY78" fmla="*/ 155292 h 175170"/>
                <a:gd name="connsiteX79" fmla="*/ 166096 w 189841"/>
                <a:gd name="connsiteY79" fmla="*/ 153720 h 175170"/>
                <a:gd name="connsiteX80" fmla="*/ 73059 w 189841"/>
                <a:gd name="connsiteY80" fmla="*/ 138689 h 175170"/>
                <a:gd name="connsiteX81" fmla="*/ 74106 w 189841"/>
                <a:gd name="connsiteY81" fmla="*/ 140102 h 175170"/>
                <a:gd name="connsiteX82" fmla="*/ 76300 w 189841"/>
                <a:gd name="connsiteY82" fmla="*/ 142164 h 175170"/>
                <a:gd name="connsiteX83" fmla="*/ 75343 w 189841"/>
                <a:gd name="connsiteY83" fmla="*/ 143599 h 175170"/>
                <a:gd name="connsiteX84" fmla="*/ 75086 w 189841"/>
                <a:gd name="connsiteY84" fmla="*/ 144696 h 175170"/>
                <a:gd name="connsiteX85" fmla="*/ 72815 w 189841"/>
                <a:gd name="connsiteY85" fmla="*/ 143942 h 175170"/>
                <a:gd name="connsiteX86" fmla="*/ 72182 w 189841"/>
                <a:gd name="connsiteY86" fmla="*/ 142810 h 175170"/>
                <a:gd name="connsiteX87" fmla="*/ 72068 w 189841"/>
                <a:gd name="connsiteY87" fmla="*/ 140299 h 175170"/>
                <a:gd name="connsiteX88" fmla="*/ 72664 w 189841"/>
                <a:gd name="connsiteY88" fmla="*/ 139074 h 175170"/>
                <a:gd name="connsiteX89" fmla="*/ 189841 w 189841"/>
                <a:gd name="connsiteY89" fmla="*/ 137431 h 175170"/>
                <a:gd name="connsiteX90" fmla="*/ 189801 w 189841"/>
                <a:gd name="connsiteY90" fmla="*/ 139035 h 175170"/>
                <a:gd name="connsiteX91" fmla="*/ 187899 w 189841"/>
                <a:gd name="connsiteY91" fmla="*/ 143092 h 175170"/>
                <a:gd name="connsiteX92" fmla="*/ 186211 w 189841"/>
                <a:gd name="connsiteY92" fmla="*/ 145117 h 175170"/>
                <a:gd name="connsiteX93" fmla="*/ 186655 w 189841"/>
                <a:gd name="connsiteY93" fmla="*/ 146743 h 175170"/>
                <a:gd name="connsiteX94" fmla="*/ 183952 w 189841"/>
                <a:gd name="connsiteY94" fmla="*/ 147193 h 175170"/>
                <a:gd name="connsiteX95" fmla="*/ 181238 w 189841"/>
                <a:gd name="connsiteY95" fmla="*/ 150175 h 175170"/>
                <a:gd name="connsiteX96" fmla="*/ 179642 w 189841"/>
                <a:gd name="connsiteY96" fmla="*/ 150705 h 175170"/>
                <a:gd name="connsiteX97" fmla="*/ 179091 w 189841"/>
                <a:gd name="connsiteY97" fmla="*/ 150636 h 175170"/>
                <a:gd name="connsiteX98" fmla="*/ 178424 w 189841"/>
                <a:gd name="connsiteY98" fmla="*/ 149468 h 175170"/>
                <a:gd name="connsiteX99" fmla="*/ 179348 w 189841"/>
                <a:gd name="connsiteY99" fmla="*/ 146645 h 175170"/>
                <a:gd name="connsiteX100" fmla="*/ 178493 w 189841"/>
                <a:gd name="connsiteY100" fmla="*/ 144829 h 175170"/>
                <a:gd name="connsiteX101" fmla="*/ 178441 w 189841"/>
                <a:gd name="connsiteY101" fmla="*/ 144059 h 175170"/>
                <a:gd name="connsiteX102" fmla="*/ 179726 w 189841"/>
                <a:gd name="connsiteY102" fmla="*/ 142993 h 175170"/>
                <a:gd name="connsiteX103" fmla="*/ 180629 w 189841"/>
                <a:gd name="connsiteY103" fmla="*/ 141396 h 175170"/>
                <a:gd name="connsiteX104" fmla="*/ 182822 w 189841"/>
                <a:gd name="connsiteY104" fmla="*/ 139667 h 175170"/>
                <a:gd name="connsiteX105" fmla="*/ 188506 w 189841"/>
                <a:gd name="connsiteY105" fmla="*/ 137619 h 175170"/>
                <a:gd name="connsiteX106" fmla="*/ 127421 w 189841"/>
                <a:gd name="connsiteY106" fmla="*/ 136416 h 175170"/>
                <a:gd name="connsiteX107" fmla="*/ 128713 w 189841"/>
                <a:gd name="connsiteY107" fmla="*/ 137395 h 175170"/>
                <a:gd name="connsiteX108" fmla="*/ 129045 w 189841"/>
                <a:gd name="connsiteY108" fmla="*/ 138469 h 175170"/>
                <a:gd name="connsiteX109" fmla="*/ 128017 w 189841"/>
                <a:gd name="connsiteY109" fmla="*/ 139799 h 175170"/>
                <a:gd name="connsiteX110" fmla="*/ 126570 w 189841"/>
                <a:gd name="connsiteY110" fmla="*/ 139322 h 175170"/>
                <a:gd name="connsiteX111" fmla="*/ 127160 w 189841"/>
                <a:gd name="connsiteY111" fmla="*/ 138816 h 175170"/>
                <a:gd name="connsiteX112" fmla="*/ 127508 w 189841"/>
                <a:gd name="connsiteY112" fmla="*/ 138159 h 175170"/>
                <a:gd name="connsiteX113" fmla="*/ 127546 w 189841"/>
                <a:gd name="connsiteY113" fmla="*/ 137212 h 175170"/>
                <a:gd name="connsiteX114" fmla="*/ 127154 w 189841"/>
                <a:gd name="connsiteY114" fmla="*/ 136629 h 175170"/>
                <a:gd name="connsiteX115" fmla="*/ 148672 w 189841"/>
                <a:gd name="connsiteY115" fmla="*/ 132238 h 175170"/>
                <a:gd name="connsiteX116" fmla="*/ 149805 w 189841"/>
                <a:gd name="connsiteY116" fmla="*/ 132602 h 175170"/>
                <a:gd name="connsiteX117" fmla="*/ 150676 w 189841"/>
                <a:gd name="connsiteY117" fmla="*/ 133587 h 175170"/>
                <a:gd name="connsiteX118" fmla="*/ 148929 w 189841"/>
                <a:gd name="connsiteY118" fmla="*/ 134192 h 175170"/>
                <a:gd name="connsiteX119" fmla="*/ 147819 w 189841"/>
                <a:gd name="connsiteY119" fmla="*/ 135462 h 175170"/>
                <a:gd name="connsiteX120" fmla="*/ 146461 w 189841"/>
                <a:gd name="connsiteY120" fmla="*/ 134562 h 175170"/>
                <a:gd name="connsiteX121" fmla="*/ 146456 w 189841"/>
                <a:gd name="connsiteY121" fmla="*/ 133333 h 175170"/>
                <a:gd name="connsiteX122" fmla="*/ 147942 w 189841"/>
                <a:gd name="connsiteY122" fmla="*/ 133709 h 175170"/>
                <a:gd name="connsiteX123" fmla="*/ 148985 w 189841"/>
                <a:gd name="connsiteY123" fmla="*/ 133017 h 175170"/>
                <a:gd name="connsiteX124" fmla="*/ 181674 w 189841"/>
                <a:gd name="connsiteY124" fmla="*/ 132173 h 175170"/>
                <a:gd name="connsiteX125" fmla="*/ 181836 w 189841"/>
                <a:gd name="connsiteY125" fmla="*/ 132646 h 175170"/>
                <a:gd name="connsiteX126" fmla="*/ 181818 w 189841"/>
                <a:gd name="connsiteY126" fmla="*/ 133656 h 175170"/>
                <a:gd name="connsiteX127" fmla="*/ 181622 w 189841"/>
                <a:gd name="connsiteY127" fmla="*/ 134385 h 175170"/>
                <a:gd name="connsiteX128" fmla="*/ 181138 w 189841"/>
                <a:gd name="connsiteY128" fmla="*/ 134788 h 175170"/>
                <a:gd name="connsiteX129" fmla="*/ 180028 w 189841"/>
                <a:gd name="connsiteY129" fmla="*/ 133630 h 175170"/>
                <a:gd name="connsiteX130" fmla="*/ 179976 w 189841"/>
                <a:gd name="connsiteY130" fmla="*/ 133026 h 175170"/>
                <a:gd name="connsiteX131" fmla="*/ 181106 w 189841"/>
                <a:gd name="connsiteY131" fmla="*/ 132333 h 175170"/>
                <a:gd name="connsiteX132" fmla="*/ 108112 w 189841"/>
                <a:gd name="connsiteY132" fmla="*/ 129062 h 175170"/>
                <a:gd name="connsiteX133" fmla="*/ 108151 w 189841"/>
                <a:gd name="connsiteY133" fmla="*/ 130553 h 175170"/>
                <a:gd name="connsiteX134" fmla="*/ 108000 w 189841"/>
                <a:gd name="connsiteY134" fmla="*/ 131087 h 175170"/>
                <a:gd name="connsiteX135" fmla="*/ 103474 w 189841"/>
                <a:gd name="connsiteY135" fmla="*/ 131806 h 175170"/>
                <a:gd name="connsiteX136" fmla="*/ 103893 w 189841"/>
                <a:gd name="connsiteY136" fmla="*/ 130097 h 175170"/>
                <a:gd name="connsiteX137" fmla="*/ 104169 w 189841"/>
                <a:gd name="connsiteY137" fmla="*/ 129557 h 175170"/>
                <a:gd name="connsiteX138" fmla="*/ 105668 w 189841"/>
                <a:gd name="connsiteY138" fmla="*/ 130352 h 175170"/>
                <a:gd name="connsiteX139" fmla="*/ 106220 w 189841"/>
                <a:gd name="connsiteY139" fmla="*/ 129946 h 175170"/>
                <a:gd name="connsiteX140" fmla="*/ 106445 w 189841"/>
                <a:gd name="connsiteY140" fmla="*/ 129476 h 175170"/>
                <a:gd name="connsiteX141" fmla="*/ 124921 w 189841"/>
                <a:gd name="connsiteY141" fmla="*/ 128417 h 175170"/>
                <a:gd name="connsiteX142" fmla="*/ 127376 w 189841"/>
                <a:gd name="connsiteY142" fmla="*/ 130240 h 175170"/>
                <a:gd name="connsiteX143" fmla="*/ 126819 w 189841"/>
                <a:gd name="connsiteY143" fmla="*/ 131339 h 175170"/>
                <a:gd name="connsiteX144" fmla="*/ 126434 w 189841"/>
                <a:gd name="connsiteY144" fmla="*/ 131737 h 175170"/>
                <a:gd name="connsiteX145" fmla="*/ 124761 w 189841"/>
                <a:gd name="connsiteY145" fmla="*/ 130134 h 175170"/>
                <a:gd name="connsiteX146" fmla="*/ 124126 w 189841"/>
                <a:gd name="connsiteY146" fmla="*/ 129197 h 175170"/>
                <a:gd name="connsiteX147" fmla="*/ 168476 w 189841"/>
                <a:gd name="connsiteY147" fmla="*/ 125472 h 175170"/>
                <a:gd name="connsiteX148" fmla="*/ 170389 w 189841"/>
                <a:gd name="connsiteY148" fmla="*/ 126393 h 175170"/>
                <a:gd name="connsiteX149" fmla="*/ 166873 w 189841"/>
                <a:gd name="connsiteY149" fmla="*/ 127910 h 175170"/>
                <a:gd name="connsiteX150" fmla="*/ 165940 w 189841"/>
                <a:gd name="connsiteY150" fmla="*/ 128712 h 175170"/>
                <a:gd name="connsiteX151" fmla="*/ 163345 w 189841"/>
                <a:gd name="connsiteY151" fmla="*/ 128885 h 175170"/>
                <a:gd name="connsiteX152" fmla="*/ 161488 w 189841"/>
                <a:gd name="connsiteY152" fmla="*/ 129993 h 175170"/>
                <a:gd name="connsiteX153" fmla="*/ 160797 w 189841"/>
                <a:gd name="connsiteY153" fmla="*/ 130023 h 175170"/>
                <a:gd name="connsiteX154" fmla="*/ 161619 w 189841"/>
                <a:gd name="connsiteY154" fmla="*/ 128797 h 175170"/>
                <a:gd name="connsiteX155" fmla="*/ 163954 w 189841"/>
                <a:gd name="connsiteY155" fmla="*/ 127117 h 175170"/>
                <a:gd name="connsiteX156" fmla="*/ 167355 w 189841"/>
                <a:gd name="connsiteY156" fmla="*/ 125637 h 175170"/>
                <a:gd name="connsiteX157" fmla="*/ 140505 w 189841"/>
                <a:gd name="connsiteY157" fmla="*/ 124652 h 175170"/>
                <a:gd name="connsiteX158" fmla="*/ 141915 w 189841"/>
                <a:gd name="connsiteY158" fmla="*/ 125533 h 175170"/>
                <a:gd name="connsiteX159" fmla="*/ 140151 w 189841"/>
                <a:gd name="connsiteY159" fmla="*/ 126118 h 175170"/>
                <a:gd name="connsiteX160" fmla="*/ 137380 w 189841"/>
                <a:gd name="connsiteY160" fmla="*/ 128386 h 175170"/>
                <a:gd name="connsiteX161" fmla="*/ 135428 w 189841"/>
                <a:gd name="connsiteY161" fmla="*/ 128594 h 175170"/>
                <a:gd name="connsiteX162" fmla="*/ 134811 w 189841"/>
                <a:gd name="connsiteY162" fmla="*/ 128403 h 175170"/>
                <a:gd name="connsiteX163" fmla="*/ 135996 w 189841"/>
                <a:gd name="connsiteY163" fmla="*/ 127964 h 175170"/>
                <a:gd name="connsiteX164" fmla="*/ 136828 w 189841"/>
                <a:gd name="connsiteY164" fmla="*/ 127498 h 175170"/>
                <a:gd name="connsiteX165" fmla="*/ 137227 w 189841"/>
                <a:gd name="connsiteY165" fmla="*/ 126934 h 175170"/>
                <a:gd name="connsiteX166" fmla="*/ 139207 w 189841"/>
                <a:gd name="connsiteY166" fmla="*/ 125943 h 175170"/>
                <a:gd name="connsiteX167" fmla="*/ 112100 w 189841"/>
                <a:gd name="connsiteY167" fmla="*/ 122454 h 175170"/>
                <a:gd name="connsiteX168" fmla="*/ 113141 w 189841"/>
                <a:gd name="connsiteY168" fmla="*/ 124351 h 175170"/>
                <a:gd name="connsiteX169" fmla="*/ 112206 w 189841"/>
                <a:gd name="connsiteY169" fmla="*/ 125057 h 175170"/>
                <a:gd name="connsiteX170" fmla="*/ 111802 w 189841"/>
                <a:gd name="connsiteY170" fmla="*/ 125168 h 175170"/>
                <a:gd name="connsiteX171" fmla="*/ 111224 w 189841"/>
                <a:gd name="connsiteY171" fmla="*/ 124096 h 175170"/>
                <a:gd name="connsiteX172" fmla="*/ 111103 w 189841"/>
                <a:gd name="connsiteY172" fmla="*/ 123096 h 175170"/>
                <a:gd name="connsiteX173" fmla="*/ 111334 w 189841"/>
                <a:gd name="connsiteY173" fmla="*/ 122510 h 175170"/>
                <a:gd name="connsiteX174" fmla="*/ 160140 w 189841"/>
                <a:gd name="connsiteY174" fmla="*/ 120840 h 175170"/>
                <a:gd name="connsiteX175" fmla="*/ 161864 w 189841"/>
                <a:gd name="connsiteY175" fmla="*/ 121735 h 175170"/>
                <a:gd name="connsiteX176" fmla="*/ 162956 w 189841"/>
                <a:gd name="connsiteY176" fmla="*/ 122814 h 175170"/>
                <a:gd name="connsiteX177" fmla="*/ 163489 w 189841"/>
                <a:gd name="connsiteY177" fmla="*/ 123020 h 175170"/>
                <a:gd name="connsiteX178" fmla="*/ 163366 w 189841"/>
                <a:gd name="connsiteY178" fmla="*/ 123671 h 175170"/>
                <a:gd name="connsiteX179" fmla="*/ 163038 w 189841"/>
                <a:gd name="connsiteY179" fmla="*/ 124102 h 175170"/>
                <a:gd name="connsiteX180" fmla="*/ 160831 w 189841"/>
                <a:gd name="connsiteY180" fmla="*/ 124453 h 175170"/>
                <a:gd name="connsiteX181" fmla="*/ 161224 w 189841"/>
                <a:gd name="connsiteY181" fmla="*/ 122434 h 175170"/>
                <a:gd name="connsiteX182" fmla="*/ 123575 w 189841"/>
                <a:gd name="connsiteY182" fmla="*/ 119280 h 175170"/>
                <a:gd name="connsiteX183" fmla="*/ 124465 w 189841"/>
                <a:gd name="connsiteY183" fmla="*/ 119553 h 175170"/>
                <a:gd name="connsiteX184" fmla="*/ 124381 w 189841"/>
                <a:gd name="connsiteY184" fmla="*/ 120919 h 175170"/>
                <a:gd name="connsiteX185" fmla="*/ 124545 w 189841"/>
                <a:gd name="connsiteY185" fmla="*/ 121320 h 175170"/>
                <a:gd name="connsiteX186" fmla="*/ 122787 w 189841"/>
                <a:gd name="connsiteY186" fmla="*/ 123281 h 175170"/>
                <a:gd name="connsiteX187" fmla="*/ 121325 w 189841"/>
                <a:gd name="connsiteY187" fmla="*/ 123069 h 175170"/>
                <a:gd name="connsiteX188" fmla="*/ 120710 w 189841"/>
                <a:gd name="connsiteY188" fmla="*/ 122171 h 175170"/>
                <a:gd name="connsiteX189" fmla="*/ 121617 w 189841"/>
                <a:gd name="connsiteY189" fmla="*/ 120327 h 175170"/>
                <a:gd name="connsiteX190" fmla="*/ 129993 w 189841"/>
                <a:gd name="connsiteY190" fmla="*/ 118062 h 175170"/>
                <a:gd name="connsiteX191" fmla="*/ 130857 w 189841"/>
                <a:gd name="connsiteY191" fmla="*/ 118349 h 175170"/>
                <a:gd name="connsiteX192" fmla="*/ 131377 w 189841"/>
                <a:gd name="connsiteY192" fmla="*/ 119179 h 175170"/>
                <a:gd name="connsiteX193" fmla="*/ 131297 w 189841"/>
                <a:gd name="connsiteY193" fmla="*/ 122060 h 175170"/>
                <a:gd name="connsiteX194" fmla="*/ 130449 w 189841"/>
                <a:gd name="connsiteY194" fmla="*/ 123885 h 175170"/>
                <a:gd name="connsiteX195" fmla="*/ 128477 w 189841"/>
                <a:gd name="connsiteY195" fmla="*/ 124848 h 175170"/>
                <a:gd name="connsiteX196" fmla="*/ 127132 w 189841"/>
                <a:gd name="connsiteY196" fmla="*/ 123458 h 175170"/>
                <a:gd name="connsiteX197" fmla="*/ 126380 w 189841"/>
                <a:gd name="connsiteY197" fmla="*/ 121269 h 175170"/>
                <a:gd name="connsiteX198" fmla="*/ 106963 w 189841"/>
                <a:gd name="connsiteY198" fmla="*/ 117710 h 175170"/>
                <a:gd name="connsiteX199" fmla="*/ 107965 w 189841"/>
                <a:gd name="connsiteY199" fmla="*/ 118165 h 175170"/>
                <a:gd name="connsiteX200" fmla="*/ 108116 w 189841"/>
                <a:gd name="connsiteY200" fmla="*/ 118793 h 175170"/>
                <a:gd name="connsiteX201" fmla="*/ 107842 w 189841"/>
                <a:gd name="connsiteY201" fmla="*/ 119877 h 175170"/>
                <a:gd name="connsiteX202" fmla="*/ 107024 w 189841"/>
                <a:gd name="connsiteY202" fmla="*/ 120260 h 175170"/>
                <a:gd name="connsiteX203" fmla="*/ 105659 w 189841"/>
                <a:gd name="connsiteY203" fmla="*/ 119702 h 175170"/>
                <a:gd name="connsiteX204" fmla="*/ 106022 w 189841"/>
                <a:gd name="connsiteY204" fmla="*/ 118304 h 175170"/>
                <a:gd name="connsiteX205" fmla="*/ 105802 w 189841"/>
                <a:gd name="connsiteY205" fmla="*/ 110953 h 175170"/>
                <a:gd name="connsiteX206" fmla="*/ 106184 w 189841"/>
                <a:gd name="connsiteY206" fmla="*/ 111607 h 175170"/>
                <a:gd name="connsiteX207" fmla="*/ 106912 w 189841"/>
                <a:gd name="connsiteY207" fmla="*/ 112667 h 175170"/>
                <a:gd name="connsiteX208" fmla="*/ 105901 w 189841"/>
                <a:gd name="connsiteY208" fmla="*/ 114289 h 175170"/>
                <a:gd name="connsiteX209" fmla="*/ 104644 w 189841"/>
                <a:gd name="connsiteY209" fmla="*/ 115062 h 175170"/>
                <a:gd name="connsiteX210" fmla="*/ 105061 w 189841"/>
                <a:gd name="connsiteY210" fmla="*/ 113294 h 175170"/>
                <a:gd name="connsiteX211" fmla="*/ 104441 w 189841"/>
                <a:gd name="connsiteY211" fmla="*/ 112371 h 175170"/>
                <a:gd name="connsiteX212" fmla="*/ 104996 w 189841"/>
                <a:gd name="connsiteY212" fmla="*/ 111586 h 175170"/>
                <a:gd name="connsiteX213" fmla="*/ 116311 w 189841"/>
                <a:gd name="connsiteY213" fmla="*/ 110092 h 175170"/>
                <a:gd name="connsiteX214" fmla="*/ 117114 w 189841"/>
                <a:gd name="connsiteY214" fmla="*/ 110485 h 175170"/>
                <a:gd name="connsiteX215" fmla="*/ 117004 w 189841"/>
                <a:gd name="connsiteY215" fmla="*/ 113135 h 175170"/>
                <a:gd name="connsiteX216" fmla="*/ 116421 w 189841"/>
                <a:gd name="connsiteY216" fmla="*/ 113112 h 175170"/>
                <a:gd name="connsiteX217" fmla="*/ 116082 w 189841"/>
                <a:gd name="connsiteY217" fmla="*/ 112703 h 175170"/>
                <a:gd name="connsiteX218" fmla="*/ 116063 w 189841"/>
                <a:gd name="connsiteY218" fmla="*/ 111689 h 175170"/>
                <a:gd name="connsiteX219" fmla="*/ 126076 w 189841"/>
                <a:gd name="connsiteY219" fmla="*/ 110085 h 175170"/>
                <a:gd name="connsiteX220" fmla="*/ 128615 w 189841"/>
                <a:gd name="connsiteY220" fmla="*/ 111057 h 175170"/>
                <a:gd name="connsiteX221" fmla="*/ 128492 w 189841"/>
                <a:gd name="connsiteY221" fmla="*/ 111670 h 175170"/>
                <a:gd name="connsiteX222" fmla="*/ 127283 w 189841"/>
                <a:gd name="connsiteY222" fmla="*/ 112383 h 175170"/>
                <a:gd name="connsiteX223" fmla="*/ 125169 w 189841"/>
                <a:gd name="connsiteY223" fmla="*/ 112540 h 175170"/>
                <a:gd name="connsiteX224" fmla="*/ 125292 w 189841"/>
                <a:gd name="connsiteY224" fmla="*/ 110592 h 175170"/>
                <a:gd name="connsiteX225" fmla="*/ 148259 w 189841"/>
                <a:gd name="connsiteY225" fmla="*/ 105865 h 175170"/>
                <a:gd name="connsiteX226" fmla="*/ 147054 w 189841"/>
                <a:gd name="connsiteY226" fmla="*/ 107265 h 175170"/>
                <a:gd name="connsiteX227" fmla="*/ 145020 w 189841"/>
                <a:gd name="connsiteY227" fmla="*/ 108570 h 175170"/>
                <a:gd name="connsiteX228" fmla="*/ 141138 w 189841"/>
                <a:gd name="connsiteY228" fmla="*/ 109568 h 175170"/>
                <a:gd name="connsiteX229" fmla="*/ 140101 w 189841"/>
                <a:gd name="connsiteY229" fmla="*/ 109666 h 175170"/>
                <a:gd name="connsiteX230" fmla="*/ 140418 w 189841"/>
                <a:gd name="connsiteY230" fmla="*/ 108645 h 175170"/>
                <a:gd name="connsiteX231" fmla="*/ 142399 w 189841"/>
                <a:gd name="connsiteY231" fmla="*/ 106873 h 175170"/>
                <a:gd name="connsiteX232" fmla="*/ 145167 w 189841"/>
                <a:gd name="connsiteY232" fmla="*/ 106786 h 175170"/>
                <a:gd name="connsiteX233" fmla="*/ 147689 w 189841"/>
                <a:gd name="connsiteY233" fmla="*/ 105898 h 175170"/>
                <a:gd name="connsiteX234" fmla="*/ 119248 w 189841"/>
                <a:gd name="connsiteY234" fmla="*/ 105703 h 175170"/>
                <a:gd name="connsiteX235" fmla="*/ 120408 w 189841"/>
                <a:gd name="connsiteY235" fmla="*/ 106538 h 175170"/>
                <a:gd name="connsiteX236" fmla="*/ 123362 w 189841"/>
                <a:gd name="connsiteY236" fmla="*/ 106981 h 175170"/>
                <a:gd name="connsiteX237" fmla="*/ 124035 w 189841"/>
                <a:gd name="connsiteY237" fmla="*/ 107775 h 175170"/>
                <a:gd name="connsiteX238" fmla="*/ 123215 w 189841"/>
                <a:gd name="connsiteY238" fmla="*/ 109423 h 175170"/>
                <a:gd name="connsiteX239" fmla="*/ 121835 w 189841"/>
                <a:gd name="connsiteY239" fmla="*/ 109169 h 175170"/>
                <a:gd name="connsiteX240" fmla="*/ 119527 w 189841"/>
                <a:gd name="connsiteY240" fmla="*/ 107396 h 175170"/>
                <a:gd name="connsiteX241" fmla="*/ 118738 w 189841"/>
                <a:gd name="connsiteY241" fmla="*/ 106591 h 175170"/>
                <a:gd name="connsiteX242" fmla="*/ 118300 w 189841"/>
                <a:gd name="connsiteY242" fmla="*/ 105799 h 175170"/>
                <a:gd name="connsiteX243" fmla="*/ 104648 w 189841"/>
                <a:gd name="connsiteY243" fmla="*/ 105651 h 175170"/>
                <a:gd name="connsiteX244" fmla="*/ 105128 w 189841"/>
                <a:gd name="connsiteY244" fmla="*/ 106512 h 175170"/>
                <a:gd name="connsiteX245" fmla="*/ 104136 w 189841"/>
                <a:gd name="connsiteY245" fmla="*/ 108356 h 175170"/>
                <a:gd name="connsiteX246" fmla="*/ 102655 w 189841"/>
                <a:gd name="connsiteY246" fmla="*/ 109597 h 175170"/>
                <a:gd name="connsiteX247" fmla="*/ 102401 w 189841"/>
                <a:gd name="connsiteY247" fmla="*/ 107736 h 175170"/>
                <a:gd name="connsiteX248" fmla="*/ 103350 w 189841"/>
                <a:gd name="connsiteY248" fmla="*/ 105778 h 175170"/>
                <a:gd name="connsiteX249" fmla="*/ 158719 w 189841"/>
                <a:gd name="connsiteY249" fmla="*/ 102358 h 175170"/>
                <a:gd name="connsiteX250" fmla="*/ 161438 w 189841"/>
                <a:gd name="connsiteY250" fmla="*/ 103201 h 175170"/>
                <a:gd name="connsiteX251" fmla="*/ 162194 w 189841"/>
                <a:gd name="connsiteY251" fmla="*/ 103111 h 175170"/>
                <a:gd name="connsiteX252" fmla="*/ 163479 w 189841"/>
                <a:gd name="connsiteY252" fmla="*/ 103417 h 175170"/>
                <a:gd name="connsiteX253" fmla="*/ 163820 w 189841"/>
                <a:gd name="connsiteY253" fmla="*/ 104971 h 175170"/>
                <a:gd name="connsiteX254" fmla="*/ 162118 w 189841"/>
                <a:gd name="connsiteY254" fmla="*/ 105196 h 175170"/>
                <a:gd name="connsiteX255" fmla="*/ 159173 w 189841"/>
                <a:gd name="connsiteY255" fmla="*/ 106622 h 175170"/>
                <a:gd name="connsiteX256" fmla="*/ 157920 w 189841"/>
                <a:gd name="connsiteY256" fmla="*/ 106309 h 175170"/>
                <a:gd name="connsiteX257" fmla="*/ 156422 w 189841"/>
                <a:gd name="connsiteY257" fmla="*/ 105069 h 175170"/>
                <a:gd name="connsiteX258" fmla="*/ 154042 w 189841"/>
                <a:gd name="connsiteY258" fmla="*/ 104940 h 175170"/>
                <a:gd name="connsiteX259" fmla="*/ 153338 w 189841"/>
                <a:gd name="connsiteY259" fmla="*/ 104602 h 175170"/>
                <a:gd name="connsiteX260" fmla="*/ 154612 w 189841"/>
                <a:gd name="connsiteY260" fmla="*/ 103140 h 175170"/>
                <a:gd name="connsiteX261" fmla="*/ 156927 w 189841"/>
                <a:gd name="connsiteY261" fmla="*/ 102400 h 175170"/>
                <a:gd name="connsiteX262" fmla="*/ 23108 w 189841"/>
                <a:gd name="connsiteY262" fmla="*/ 99333 h 175170"/>
                <a:gd name="connsiteX263" fmla="*/ 24593 w 189841"/>
                <a:gd name="connsiteY263" fmla="*/ 101294 h 175170"/>
                <a:gd name="connsiteX264" fmla="*/ 26388 w 189841"/>
                <a:gd name="connsiteY264" fmla="*/ 101608 h 175170"/>
                <a:gd name="connsiteX265" fmla="*/ 27463 w 189841"/>
                <a:gd name="connsiteY265" fmla="*/ 102513 h 175170"/>
                <a:gd name="connsiteX266" fmla="*/ 29795 w 189841"/>
                <a:gd name="connsiteY266" fmla="*/ 105004 h 175170"/>
                <a:gd name="connsiteX267" fmla="*/ 27919 w 189841"/>
                <a:gd name="connsiteY267" fmla="*/ 104387 h 175170"/>
                <a:gd name="connsiteX268" fmla="*/ 25917 w 189841"/>
                <a:gd name="connsiteY268" fmla="*/ 106110 h 175170"/>
                <a:gd name="connsiteX269" fmla="*/ 23380 w 189841"/>
                <a:gd name="connsiteY269" fmla="*/ 104097 h 175170"/>
                <a:gd name="connsiteX270" fmla="*/ 21860 w 189841"/>
                <a:gd name="connsiteY270" fmla="*/ 102058 h 175170"/>
                <a:gd name="connsiteX271" fmla="*/ 21516 w 189841"/>
                <a:gd name="connsiteY271" fmla="*/ 101241 h 175170"/>
                <a:gd name="connsiteX272" fmla="*/ 113744 w 189841"/>
                <a:gd name="connsiteY272" fmla="*/ 97780 h 175170"/>
                <a:gd name="connsiteX273" fmla="*/ 115173 w 189841"/>
                <a:gd name="connsiteY273" fmla="*/ 99739 h 175170"/>
                <a:gd name="connsiteX274" fmla="*/ 117412 w 189841"/>
                <a:gd name="connsiteY274" fmla="*/ 99967 h 175170"/>
                <a:gd name="connsiteX275" fmla="*/ 117238 w 189841"/>
                <a:gd name="connsiteY275" fmla="*/ 101174 h 175170"/>
                <a:gd name="connsiteX276" fmla="*/ 117946 w 189841"/>
                <a:gd name="connsiteY276" fmla="*/ 102729 h 175170"/>
                <a:gd name="connsiteX277" fmla="*/ 118194 w 189841"/>
                <a:gd name="connsiteY277" fmla="*/ 103684 h 175170"/>
                <a:gd name="connsiteX278" fmla="*/ 117542 w 189841"/>
                <a:gd name="connsiteY278" fmla="*/ 105403 h 175170"/>
                <a:gd name="connsiteX279" fmla="*/ 115814 w 189841"/>
                <a:gd name="connsiteY279" fmla="*/ 103405 h 175170"/>
                <a:gd name="connsiteX280" fmla="*/ 113923 w 189841"/>
                <a:gd name="connsiteY280" fmla="*/ 102035 h 175170"/>
                <a:gd name="connsiteX281" fmla="*/ 113215 w 189841"/>
                <a:gd name="connsiteY281" fmla="*/ 100840 h 175170"/>
                <a:gd name="connsiteX282" fmla="*/ 112062 w 189841"/>
                <a:gd name="connsiteY282" fmla="*/ 100118 h 175170"/>
                <a:gd name="connsiteX283" fmla="*/ 111748 w 189841"/>
                <a:gd name="connsiteY283" fmla="*/ 98509 h 175170"/>
                <a:gd name="connsiteX284" fmla="*/ 113146 w 189841"/>
                <a:gd name="connsiteY284" fmla="*/ 97847 h 175170"/>
                <a:gd name="connsiteX285" fmla="*/ 84849 w 189841"/>
                <a:gd name="connsiteY285" fmla="*/ 97755 h 175170"/>
                <a:gd name="connsiteX286" fmla="*/ 85553 w 189841"/>
                <a:gd name="connsiteY286" fmla="*/ 97885 h 175170"/>
                <a:gd name="connsiteX287" fmla="*/ 85981 w 189841"/>
                <a:gd name="connsiteY287" fmla="*/ 98290 h 175170"/>
                <a:gd name="connsiteX288" fmla="*/ 86337 w 189841"/>
                <a:gd name="connsiteY288" fmla="*/ 99426 h 175170"/>
                <a:gd name="connsiteX289" fmla="*/ 85462 w 189841"/>
                <a:gd name="connsiteY289" fmla="*/ 100060 h 175170"/>
                <a:gd name="connsiteX290" fmla="*/ 84475 w 189841"/>
                <a:gd name="connsiteY290" fmla="*/ 100028 h 175170"/>
                <a:gd name="connsiteX291" fmla="*/ 83778 w 189841"/>
                <a:gd name="connsiteY291" fmla="*/ 99795 h 175170"/>
                <a:gd name="connsiteX292" fmla="*/ 83426 w 189841"/>
                <a:gd name="connsiteY292" fmla="*/ 99289 h 175170"/>
                <a:gd name="connsiteX293" fmla="*/ 83862 w 189841"/>
                <a:gd name="connsiteY293" fmla="*/ 99047 h 175170"/>
                <a:gd name="connsiteX294" fmla="*/ 84374 w 189841"/>
                <a:gd name="connsiteY294" fmla="*/ 98030 h 175170"/>
                <a:gd name="connsiteX295" fmla="*/ 20270 w 189841"/>
                <a:gd name="connsiteY295" fmla="*/ 85327 h 175170"/>
                <a:gd name="connsiteX296" fmla="*/ 21357 w 189841"/>
                <a:gd name="connsiteY296" fmla="*/ 87684 h 175170"/>
                <a:gd name="connsiteX297" fmla="*/ 21631 w 189841"/>
                <a:gd name="connsiteY297" fmla="*/ 90652 h 175170"/>
                <a:gd name="connsiteX298" fmla="*/ 23190 w 189841"/>
                <a:gd name="connsiteY298" fmla="*/ 91209 h 175170"/>
                <a:gd name="connsiteX299" fmla="*/ 25261 w 189841"/>
                <a:gd name="connsiteY299" fmla="*/ 93882 h 175170"/>
                <a:gd name="connsiteX300" fmla="*/ 25082 w 189841"/>
                <a:gd name="connsiteY300" fmla="*/ 95249 h 175170"/>
                <a:gd name="connsiteX301" fmla="*/ 24652 w 189841"/>
                <a:gd name="connsiteY301" fmla="*/ 95717 h 175170"/>
                <a:gd name="connsiteX302" fmla="*/ 21221 w 189841"/>
                <a:gd name="connsiteY302" fmla="*/ 94456 h 175170"/>
                <a:gd name="connsiteX303" fmla="*/ 20398 w 189841"/>
                <a:gd name="connsiteY303" fmla="*/ 95022 h 175170"/>
                <a:gd name="connsiteX304" fmla="*/ 19394 w 189841"/>
                <a:gd name="connsiteY304" fmla="*/ 94792 h 175170"/>
                <a:gd name="connsiteX305" fmla="*/ 18774 w 189841"/>
                <a:gd name="connsiteY305" fmla="*/ 93316 h 175170"/>
                <a:gd name="connsiteX306" fmla="*/ 18845 w 189841"/>
                <a:gd name="connsiteY306" fmla="*/ 92797 h 175170"/>
                <a:gd name="connsiteX307" fmla="*/ 18284 w 189841"/>
                <a:gd name="connsiteY307" fmla="*/ 91913 h 175170"/>
                <a:gd name="connsiteX308" fmla="*/ 17815 w 189841"/>
                <a:gd name="connsiteY308" fmla="*/ 91518 h 175170"/>
                <a:gd name="connsiteX309" fmla="*/ 16464 w 189841"/>
                <a:gd name="connsiteY309" fmla="*/ 92692 h 175170"/>
                <a:gd name="connsiteX310" fmla="*/ 15612 w 189841"/>
                <a:gd name="connsiteY310" fmla="*/ 92912 h 175170"/>
                <a:gd name="connsiteX311" fmla="*/ 15606 w 189841"/>
                <a:gd name="connsiteY311" fmla="*/ 91837 h 175170"/>
                <a:gd name="connsiteX312" fmla="*/ 16854 w 189841"/>
                <a:gd name="connsiteY312" fmla="*/ 88881 h 175170"/>
                <a:gd name="connsiteX313" fmla="*/ 17437 w 189841"/>
                <a:gd name="connsiteY313" fmla="*/ 88382 h 175170"/>
                <a:gd name="connsiteX314" fmla="*/ 18463 w 189841"/>
                <a:gd name="connsiteY314" fmla="*/ 89358 h 175170"/>
                <a:gd name="connsiteX315" fmla="*/ 19307 w 189841"/>
                <a:gd name="connsiteY315" fmla="*/ 88995 h 175170"/>
                <a:gd name="connsiteX316" fmla="*/ 19942 w 189841"/>
                <a:gd name="connsiteY316" fmla="*/ 87396 h 175170"/>
                <a:gd name="connsiteX317" fmla="*/ 19985 w 189841"/>
                <a:gd name="connsiteY317" fmla="*/ 85801 h 175170"/>
                <a:gd name="connsiteX318" fmla="*/ 22184 w 189841"/>
                <a:gd name="connsiteY318" fmla="*/ 85094 h 175170"/>
                <a:gd name="connsiteX319" fmla="*/ 22739 w 189841"/>
                <a:gd name="connsiteY319" fmla="*/ 85292 h 175170"/>
                <a:gd name="connsiteX320" fmla="*/ 23324 w 189841"/>
                <a:gd name="connsiteY320" fmla="*/ 85933 h 175170"/>
                <a:gd name="connsiteX321" fmla="*/ 23319 w 189841"/>
                <a:gd name="connsiteY321" fmla="*/ 86588 h 175170"/>
                <a:gd name="connsiteX322" fmla="*/ 23553 w 189841"/>
                <a:gd name="connsiteY322" fmla="*/ 87290 h 175170"/>
                <a:gd name="connsiteX323" fmla="*/ 24162 w 189841"/>
                <a:gd name="connsiteY323" fmla="*/ 88136 h 175170"/>
                <a:gd name="connsiteX324" fmla="*/ 24593 w 189841"/>
                <a:gd name="connsiteY324" fmla="*/ 89070 h 175170"/>
                <a:gd name="connsiteX325" fmla="*/ 23501 w 189841"/>
                <a:gd name="connsiteY325" fmla="*/ 89348 h 175170"/>
                <a:gd name="connsiteX326" fmla="*/ 22110 w 189841"/>
                <a:gd name="connsiteY326" fmla="*/ 86887 h 175170"/>
                <a:gd name="connsiteX327" fmla="*/ 21607 w 189841"/>
                <a:gd name="connsiteY327" fmla="*/ 85189 h 175170"/>
                <a:gd name="connsiteX328" fmla="*/ 140766 w 189841"/>
                <a:gd name="connsiteY328" fmla="*/ 82063 h 175170"/>
                <a:gd name="connsiteX329" fmla="*/ 142932 w 189841"/>
                <a:gd name="connsiteY329" fmla="*/ 83533 h 175170"/>
                <a:gd name="connsiteX330" fmla="*/ 144036 w 189841"/>
                <a:gd name="connsiteY330" fmla="*/ 83634 h 175170"/>
                <a:gd name="connsiteX331" fmla="*/ 143612 w 189841"/>
                <a:gd name="connsiteY331" fmla="*/ 85038 h 175170"/>
                <a:gd name="connsiteX332" fmla="*/ 143798 w 189841"/>
                <a:gd name="connsiteY332" fmla="*/ 85494 h 175170"/>
                <a:gd name="connsiteX333" fmla="*/ 143962 w 189841"/>
                <a:gd name="connsiteY333" fmla="*/ 89751 h 175170"/>
                <a:gd name="connsiteX334" fmla="*/ 142939 w 189841"/>
                <a:gd name="connsiteY334" fmla="*/ 90350 h 175170"/>
                <a:gd name="connsiteX335" fmla="*/ 142770 w 189841"/>
                <a:gd name="connsiteY335" fmla="*/ 91518 h 175170"/>
                <a:gd name="connsiteX336" fmla="*/ 142569 w 189841"/>
                <a:gd name="connsiteY336" fmla="*/ 91932 h 175170"/>
                <a:gd name="connsiteX337" fmla="*/ 140458 w 189841"/>
                <a:gd name="connsiteY337" fmla="*/ 93383 h 175170"/>
                <a:gd name="connsiteX338" fmla="*/ 138100 w 189841"/>
                <a:gd name="connsiteY338" fmla="*/ 91283 h 175170"/>
                <a:gd name="connsiteX339" fmla="*/ 137711 w 189841"/>
                <a:gd name="connsiteY339" fmla="*/ 90607 h 175170"/>
                <a:gd name="connsiteX340" fmla="*/ 139442 w 189841"/>
                <a:gd name="connsiteY340" fmla="*/ 89759 h 175170"/>
                <a:gd name="connsiteX341" fmla="*/ 140300 w 189841"/>
                <a:gd name="connsiteY341" fmla="*/ 88451 h 175170"/>
                <a:gd name="connsiteX342" fmla="*/ 139604 w 189841"/>
                <a:gd name="connsiteY342" fmla="*/ 86844 h 175170"/>
                <a:gd name="connsiteX343" fmla="*/ 137201 w 189841"/>
                <a:gd name="connsiteY343" fmla="*/ 84466 h 175170"/>
                <a:gd name="connsiteX344" fmla="*/ 137087 w 189841"/>
                <a:gd name="connsiteY344" fmla="*/ 82776 h 175170"/>
                <a:gd name="connsiteX345" fmla="*/ 23166 w 189841"/>
                <a:gd name="connsiteY345" fmla="*/ 75808 h 175170"/>
                <a:gd name="connsiteX346" fmla="*/ 23730 w 189841"/>
                <a:gd name="connsiteY346" fmla="*/ 76971 h 175170"/>
                <a:gd name="connsiteX347" fmla="*/ 23624 w 189841"/>
                <a:gd name="connsiteY347" fmla="*/ 81119 h 175170"/>
                <a:gd name="connsiteX348" fmla="*/ 23002 w 189841"/>
                <a:gd name="connsiteY348" fmla="*/ 81883 h 175170"/>
                <a:gd name="connsiteX349" fmla="*/ 22143 w 189841"/>
                <a:gd name="connsiteY349" fmla="*/ 82082 h 175170"/>
                <a:gd name="connsiteX350" fmla="*/ 21402 w 189841"/>
                <a:gd name="connsiteY350" fmla="*/ 81946 h 175170"/>
                <a:gd name="connsiteX351" fmla="*/ 20730 w 189841"/>
                <a:gd name="connsiteY351" fmla="*/ 82063 h 175170"/>
                <a:gd name="connsiteX352" fmla="*/ 20083 w 189841"/>
                <a:gd name="connsiteY352" fmla="*/ 82556 h 175170"/>
                <a:gd name="connsiteX353" fmla="*/ 20154 w 189841"/>
                <a:gd name="connsiteY353" fmla="*/ 80513 h 175170"/>
                <a:gd name="connsiteX354" fmla="*/ 20918 w 189841"/>
                <a:gd name="connsiteY354" fmla="*/ 77978 h 175170"/>
                <a:gd name="connsiteX355" fmla="*/ 21851 w 189841"/>
                <a:gd name="connsiteY355" fmla="*/ 76496 h 175170"/>
                <a:gd name="connsiteX356" fmla="*/ 107004 w 189841"/>
                <a:gd name="connsiteY356" fmla="*/ 72294 h 175170"/>
                <a:gd name="connsiteX357" fmla="*/ 108738 w 189841"/>
                <a:gd name="connsiteY357" fmla="*/ 73277 h 175170"/>
                <a:gd name="connsiteX358" fmla="*/ 109118 w 189841"/>
                <a:gd name="connsiteY358" fmla="*/ 74914 h 175170"/>
                <a:gd name="connsiteX359" fmla="*/ 111185 w 189841"/>
                <a:gd name="connsiteY359" fmla="*/ 76712 h 175170"/>
                <a:gd name="connsiteX360" fmla="*/ 108848 w 189841"/>
                <a:gd name="connsiteY360" fmla="*/ 77341 h 175170"/>
                <a:gd name="connsiteX361" fmla="*/ 108228 w 189841"/>
                <a:gd name="connsiteY361" fmla="*/ 77242 h 175170"/>
                <a:gd name="connsiteX362" fmla="*/ 108749 w 189841"/>
                <a:gd name="connsiteY362" fmla="*/ 76448 h 175170"/>
                <a:gd name="connsiteX363" fmla="*/ 108790 w 189841"/>
                <a:gd name="connsiteY363" fmla="*/ 76114 h 175170"/>
                <a:gd name="connsiteX364" fmla="*/ 106460 w 189841"/>
                <a:gd name="connsiteY364" fmla="*/ 74662 h 175170"/>
                <a:gd name="connsiteX365" fmla="*/ 106734 w 189841"/>
                <a:gd name="connsiteY365" fmla="*/ 72775 h 175170"/>
                <a:gd name="connsiteX366" fmla="*/ 81068 w 189841"/>
                <a:gd name="connsiteY366" fmla="*/ 70881 h 175170"/>
                <a:gd name="connsiteX367" fmla="*/ 83340 w 189841"/>
                <a:gd name="connsiteY367" fmla="*/ 72853 h 175170"/>
                <a:gd name="connsiteX368" fmla="*/ 84590 w 189841"/>
                <a:gd name="connsiteY368" fmla="*/ 75656 h 175170"/>
                <a:gd name="connsiteX369" fmla="*/ 85762 w 189841"/>
                <a:gd name="connsiteY369" fmla="*/ 76602 h 175170"/>
                <a:gd name="connsiteX370" fmla="*/ 88222 w 189841"/>
                <a:gd name="connsiteY370" fmla="*/ 77718 h 175170"/>
                <a:gd name="connsiteX371" fmla="*/ 89377 w 189841"/>
                <a:gd name="connsiteY371" fmla="*/ 77860 h 175170"/>
                <a:gd name="connsiteX372" fmla="*/ 93573 w 189841"/>
                <a:gd name="connsiteY372" fmla="*/ 79875 h 175170"/>
                <a:gd name="connsiteX373" fmla="*/ 98455 w 189841"/>
                <a:gd name="connsiteY373" fmla="*/ 80277 h 175170"/>
                <a:gd name="connsiteX374" fmla="*/ 99086 w 189841"/>
                <a:gd name="connsiteY374" fmla="*/ 80857 h 175170"/>
                <a:gd name="connsiteX375" fmla="*/ 99686 w 189841"/>
                <a:gd name="connsiteY375" fmla="*/ 82409 h 175170"/>
                <a:gd name="connsiteX376" fmla="*/ 100682 w 189841"/>
                <a:gd name="connsiteY376" fmla="*/ 83626 h 175170"/>
                <a:gd name="connsiteX377" fmla="*/ 100932 w 189841"/>
                <a:gd name="connsiteY377" fmla="*/ 84573 h 175170"/>
                <a:gd name="connsiteX378" fmla="*/ 100412 w 189841"/>
                <a:gd name="connsiteY378" fmla="*/ 85623 h 175170"/>
                <a:gd name="connsiteX379" fmla="*/ 101133 w 189841"/>
                <a:gd name="connsiteY379" fmla="*/ 88834 h 175170"/>
                <a:gd name="connsiteX380" fmla="*/ 102364 w 189841"/>
                <a:gd name="connsiteY380" fmla="*/ 91881 h 175170"/>
                <a:gd name="connsiteX381" fmla="*/ 104219 w 189841"/>
                <a:gd name="connsiteY381" fmla="*/ 93358 h 175170"/>
                <a:gd name="connsiteX382" fmla="*/ 106525 w 189841"/>
                <a:gd name="connsiteY382" fmla="*/ 93804 h 175170"/>
                <a:gd name="connsiteX383" fmla="*/ 108721 w 189841"/>
                <a:gd name="connsiteY383" fmla="*/ 93743 h 175170"/>
                <a:gd name="connsiteX384" fmla="*/ 109276 w 189841"/>
                <a:gd name="connsiteY384" fmla="*/ 94347 h 175170"/>
                <a:gd name="connsiteX385" fmla="*/ 109058 w 189841"/>
                <a:gd name="connsiteY385" fmla="*/ 97010 h 175170"/>
                <a:gd name="connsiteX386" fmla="*/ 108129 w 189841"/>
                <a:gd name="connsiteY386" fmla="*/ 98046 h 175170"/>
                <a:gd name="connsiteX387" fmla="*/ 107374 w 189841"/>
                <a:gd name="connsiteY387" fmla="*/ 98298 h 175170"/>
                <a:gd name="connsiteX388" fmla="*/ 106717 w 189841"/>
                <a:gd name="connsiteY388" fmla="*/ 98026 h 175170"/>
                <a:gd name="connsiteX389" fmla="*/ 106123 w 189841"/>
                <a:gd name="connsiteY389" fmla="*/ 97399 h 175170"/>
                <a:gd name="connsiteX390" fmla="*/ 105476 w 189841"/>
                <a:gd name="connsiteY390" fmla="*/ 97103 h 175170"/>
                <a:gd name="connsiteX391" fmla="*/ 104214 w 189841"/>
                <a:gd name="connsiteY391" fmla="*/ 97051 h 175170"/>
                <a:gd name="connsiteX392" fmla="*/ 103292 w 189841"/>
                <a:gd name="connsiteY392" fmla="*/ 95979 h 175170"/>
                <a:gd name="connsiteX393" fmla="*/ 100954 w 189841"/>
                <a:gd name="connsiteY393" fmla="*/ 94512 h 175170"/>
                <a:gd name="connsiteX394" fmla="*/ 100524 w 189841"/>
                <a:gd name="connsiteY394" fmla="*/ 93637 h 175170"/>
                <a:gd name="connsiteX395" fmla="*/ 100446 w 189841"/>
                <a:gd name="connsiteY395" fmla="*/ 92285 h 175170"/>
                <a:gd name="connsiteX396" fmla="*/ 99453 w 189841"/>
                <a:gd name="connsiteY396" fmla="*/ 91289 h 175170"/>
                <a:gd name="connsiteX397" fmla="*/ 98540 w 189841"/>
                <a:gd name="connsiteY397" fmla="*/ 89393 h 175170"/>
                <a:gd name="connsiteX398" fmla="*/ 97671 w 189841"/>
                <a:gd name="connsiteY398" fmla="*/ 88870 h 175170"/>
                <a:gd name="connsiteX399" fmla="*/ 97192 w 189841"/>
                <a:gd name="connsiteY399" fmla="*/ 87921 h 175170"/>
                <a:gd name="connsiteX400" fmla="*/ 97153 w 189841"/>
                <a:gd name="connsiteY400" fmla="*/ 87513 h 175170"/>
                <a:gd name="connsiteX401" fmla="*/ 93750 w 189841"/>
                <a:gd name="connsiteY401" fmla="*/ 87237 h 175170"/>
                <a:gd name="connsiteX402" fmla="*/ 90932 w 189841"/>
                <a:gd name="connsiteY402" fmla="*/ 87224 h 175170"/>
                <a:gd name="connsiteX403" fmla="*/ 88544 w 189841"/>
                <a:gd name="connsiteY403" fmla="*/ 86147 h 175170"/>
                <a:gd name="connsiteX404" fmla="*/ 87805 w 189841"/>
                <a:gd name="connsiteY404" fmla="*/ 83329 h 175170"/>
                <a:gd name="connsiteX405" fmla="*/ 86389 w 189841"/>
                <a:gd name="connsiteY405" fmla="*/ 82571 h 175170"/>
                <a:gd name="connsiteX406" fmla="*/ 85326 w 189841"/>
                <a:gd name="connsiteY406" fmla="*/ 81773 h 175170"/>
                <a:gd name="connsiteX407" fmla="*/ 84441 w 189841"/>
                <a:gd name="connsiteY407" fmla="*/ 80667 h 175170"/>
                <a:gd name="connsiteX408" fmla="*/ 82204 w 189841"/>
                <a:gd name="connsiteY408" fmla="*/ 78627 h 175170"/>
                <a:gd name="connsiteX409" fmla="*/ 79729 w 189841"/>
                <a:gd name="connsiteY409" fmla="*/ 76918 h 175170"/>
                <a:gd name="connsiteX410" fmla="*/ 77337 w 189841"/>
                <a:gd name="connsiteY410" fmla="*/ 75793 h 175170"/>
                <a:gd name="connsiteX411" fmla="*/ 74797 w 189841"/>
                <a:gd name="connsiteY411" fmla="*/ 75055 h 175170"/>
                <a:gd name="connsiteX412" fmla="*/ 72733 w 189841"/>
                <a:gd name="connsiteY412" fmla="*/ 75926 h 175170"/>
                <a:gd name="connsiteX413" fmla="*/ 71530 w 189841"/>
                <a:gd name="connsiteY413" fmla="*/ 75719 h 175170"/>
                <a:gd name="connsiteX414" fmla="*/ 71286 w 189841"/>
                <a:gd name="connsiteY414" fmla="*/ 75130 h 175170"/>
                <a:gd name="connsiteX415" fmla="*/ 73851 w 189841"/>
                <a:gd name="connsiteY415" fmla="*/ 73957 h 175170"/>
                <a:gd name="connsiteX416" fmla="*/ 77378 w 189841"/>
                <a:gd name="connsiteY416" fmla="*/ 71714 h 175170"/>
                <a:gd name="connsiteX417" fmla="*/ 79863 w 189841"/>
                <a:gd name="connsiteY417" fmla="*/ 70973 h 175170"/>
                <a:gd name="connsiteX418" fmla="*/ 87287 w 189841"/>
                <a:gd name="connsiteY418" fmla="*/ 66387 h 175170"/>
                <a:gd name="connsiteX419" fmla="*/ 91396 w 189841"/>
                <a:gd name="connsiteY419" fmla="*/ 68825 h 175170"/>
                <a:gd name="connsiteX420" fmla="*/ 90409 w 189841"/>
                <a:gd name="connsiteY420" fmla="*/ 69700 h 175170"/>
                <a:gd name="connsiteX421" fmla="*/ 88883 w 189841"/>
                <a:gd name="connsiteY421" fmla="*/ 69317 h 175170"/>
                <a:gd name="connsiteX422" fmla="*/ 95622 w 189841"/>
                <a:gd name="connsiteY422" fmla="*/ 64855 h 175170"/>
                <a:gd name="connsiteX423" fmla="*/ 94933 w 189841"/>
                <a:gd name="connsiteY423" fmla="*/ 66595 h 175170"/>
                <a:gd name="connsiteX424" fmla="*/ 93789 w 189841"/>
                <a:gd name="connsiteY424" fmla="*/ 67688 h 175170"/>
                <a:gd name="connsiteX425" fmla="*/ 92755 w 189841"/>
                <a:gd name="connsiteY425" fmla="*/ 67992 h 175170"/>
                <a:gd name="connsiteX426" fmla="*/ 93791 w 189841"/>
                <a:gd name="connsiteY426" fmla="*/ 65926 h 175170"/>
                <a:gd name="connsiteX427" fmla="*/ 148180 w 189841"/>
                <a:gd name="connsiteY427" fmla="*/ 61866 h 175170"/>
                <a:gd name="connsiteX428" fmla="*/ 149559 w 189841"/>
                <a:gd name="connsiteY428" fmla="*/ 63255 h 175170"/>
                <a:gd name="connsiteX429" fmla="*/ 149175 w 189841"/>
                <a:gd name="connsiteY429" fmla="*/ 64793 h 175170"/>
                <a:gd name="connsiteX430" fmla="*/ 152233 w 189841"/>
                <a:gd name="connsiteY430" fmla="*/ 67340 h 175170"/>
                <a:gd name="connsiteX431" fmla="*/ 153276 w 189841"/>
                <a:gd name="connsiteY431" fmla="*/ 68951 h 175170"/>
                <a:gd name="connsiteX432" fmla="*/ 153660 w 189841"/>
                <a:gd name="connsiteY432" fmla="*/ 70521 h 175170"/>
                <a:gd name="connsiteX433" fmla="*/ 153403 w 189841"/>
                <a:gd name="connsiteY433" fmla="*/ 70971 h 175170"/>
                <a:gd name="connsiteX434" fmla="*/ 152243 w 189841"/>
                <a:gd name="connsiteY434" fmla="*/ 70120 h 175170"/>
                <a:gd name="connsiteX435" fmla="*/ 151296 w 189841"/>
                <a:gd name="connsiteY435" fmla="*/ 69849 h 175170"/>
                <a:gd name="connsiteX436" fmla="*/ 151615 w 189841"/>
                <a:gd name="connsiteY436" fmla="*/ 70971 h 175170"/>
                <a:gd name="connsiteX437" fmla="*/ 152589 w 189841"/>
                <a:gd name="connsiteY437" fmla="*/ 71935 h 175170"/>
                <a:gd name="connsiteX438" fmla="*/ 150855 w 189841"/>
                <a:gd name="connsiteY438" fmla="*/ 72487 h 175170"/>
                <a:gd name="connsiteX439" fmla="*/ 149117 w 189841"/>
                <a:gd name="connsiteY439" fmla="*/ 72458 h 175170"/>
                <a:gd name="connsiteX440" fmla="*/ 144046 w 189841"/>
                <a:gd name="connsiteY440" fmla="*/ 71115 h 175170"/>
                <a:gd name="connsiteX441" fmla="*/ 142876 w 189841"/>
                <a:gd name="connsiteY441" fmla="*/ 69688 h 175170"/>
                <a:gd name="connsiteX442" fmla="*/ 145910 w 189841"/>
                <a:gd name="connsiteY442" fmla="*/ 67538 h 175170"/>
                <a:gd name="connsiteX443" fmla="*/ 146530 w 189841"/>
                <a:gd name="connsiteY443" fmla="*/ 66672 h 175170"/>
                <a:gd name="connsiteX444" fmla="*/ 144381 w 189841"/>
                <a:gd name="connsiteY444" fmla="*/ 66757 h 175170"/>
                <a:gd name="connsiteX445" fmla="*/ 142090 w 189841"/>
                <a:gd name="connsiteY445" fmla="*/ 69311 h 175170"/>
                <a:gd name="connsiteX446" fmla="*/ 138417 w 189841"/>
                <a:gd name="connsiteY446" fmla="*/ 68189 h 175170"/>
                <a:gd name="connsiteX447" fmla="*/ 137294 w 189841"/>
                <a:gd name="connsiteY447" fmla="*/ 67162 h 175170"/>
                <a:gd name="connsiteX448" fmla="*/ 137043 w 189841"/>
                <a:gd name="connsiteY448" fmla="*/ 66608 h 175170"/>
                <a:gd name="connsiteX449" fmla="*/ 138490 w 189841"/>
                <a:gd name="connsiteY449" fmla="*/ 64341 h 175170"/>
                <a:gd name="connsiteX450" fmla="*/ 141075 w 189841"/>
                <a:gd name="connsiteY450" fmla="*/ 64417 h 175170"/>
                <a:gd name="connsiteX451" fmla="*/ 142444 w 189841"/>
                <a:gd name="connsiteY451" fmla="*/ 63907 h 175170"/>
                <a:gd name="connsiteX452" fmla="*/ 144135 w 189841"/>
                <a:gd name="connsiteY452" fmla="*/ 63190 h 175170"/>
                <a:gd name="connsiteX453" fmla="*/ 144148 w 189841"/>
                <a:gd name="connsiteY453" fmla="*/ 62112 h 175170"/>
                <a:gd name="connsiteX454" fmla="*/ 4248 w 189841"/>
                <a:gd name="connsiteY454" fmla="*/ 50509 h 175170"/>
                <a:gd name="connsiteX455" fmla="*/ 5422 w 189841"/>
                <a:gd name="connsiteY455" fmla="*/ 51103 h 175170"/>
                <a:gd name="connsiteX456" fmla="*/ 6182 w 189841"/>
                <a:gd name="connsiteY456" fmla="*/ 51716 h 175170"/>
                <a:gd name="connsiteX457" fmla="*/ 6420 w 189841"/>
                <a:gd name="connsiteY457" fmla="*/ 52418 h 175170"/>
                <a:gd name="connsiteX458" fmla="*/ 4770 w 189841"/>
                <a:gd name="connsiteY458" fmla="*/ 53826 h 175170"/>
                <a:gd name="connsiteX459" fmla="*/ 4427 w 189841"/>
                <a:gd name="connsiteY459" fmla="*/ 54463 h 175170"/>
                <a:gd name="connsiteX460" fmla="*/ 5697 w 189841"/>
                <a:gd name="connsiteY460" fmla="*/ 55727 h 175170"/>
                <a:gd name="connsiteX461" fmla="*/ 5675 w 189841"/>
                <a:gd name="connsiteY461" fmla="*/ 56233 h 175170"/>
                <a:gd name="connsiteX462" fmla="*/ 6211 w 189841"/>
                <a:gd name="connsiteY462" fmla="*/ 58677 h 175170"/>
                <a:gd name="connsiteX463" fmla="*/ 6828 w 189841"/>
                <a:gd name="connsiteY463" fmla="*/ 59599 h 175170"/>
                <a:gd name="connsiteX464" fmla="*/ 8430 w 189841"/>
                <a:gd name="connsiteY464" fmla="*/ 60334 h 175170"/>
                <a:gd name="connsiteX465" fmla="*/ 9540 w 189841"/>
                <a:gd name="connsiteY465" fmla="*/ 60577 h 175170"/>
                <a:gd name="connsiteX466" fmla="*/ 10020 w 189841"/>
                <a:gd name="connsiteY466" fmla="*/ 62032 h 175170"/>
                <a:gd name="connsiteX467" fmla="*/ 7265 w 189841"/>
                <a:gd name="connsiteY467" fmla="*/ 61129 h 175170"/>
                <a:gd name="connsiteX468" fmla="*/ 5252 w 189841"/>
                <a:gd name="connsiteY468" fmla="*/ 59829 h 175170"/>
                <a:gd name="connsiteX469" fmla="*/ 3591 w 189841"/>
                <a:gd name="connsiteY469" fmla="*/ 56615 h 175170"/>
                <a:gd name="connsiteX470" fmla="*/ 54 w 189841"/>
                <a:gd name="connsiteY470" fmla="*/ 52953 h 175170"/>
                <a:gd name="connsiteX471" fmla="*/ 0 w 189841"/>
                <a:gd name="connsiteY471" fmla="*/ 51889 h 175170"/>
                <a:gd name="connsiteX472" fmla="*/ 1345 w 189841"/>
                <a:gd name="connsiteY472" fmla="*/ 51082 h 175170"/>
                <a:gd name="connsiteX473" fmla="*/ 128309 w 189841"/>
                <a:gd name="connsiteY473" fmla="*/ 44914 h 175170"/>
                <a:gd name="connsiteX474" fmla="*/ 128056 w 189841"/>
                <a:gd name="connsiteY474" fmla="*/ 46257 h 175170"/>
                <a:gd name="connsiteX475" fmla="*/ 127220 w 189841"/>
                <a:gd name="connsiteY475" fmla="*/ 47137 h 175170"/>
                <a:gd name="connsiteX476" fmla="*/ 126605 w 189841"/>
                <a:gd name="connsiteY476" fmla="*/ 48654 h 175170"/>
                <a:gd name="connsiteX477" fmla="*/ 126272 w 189841"/>
                <a:gd name="connsiteY477" fmla="*/ 50821 h 175170"/>
                <a:gd name="connsiteX478" fmla="*/ 124983 w 189841"/>
                <a:gd name="connsiteY478" fmla="*/ 50873 h 175170"/>
                <a:gd name="connsiteX479" fmla="*/ 124202 w 189841"/>
                <a:gd name="connsiteY479" fmla="*/ 50435 h 175170"/>
                <a:gd name="connsiteX480" fmla="*/ 123945 w 189841"/>
                <a:gd name="connsiteY480" fmla="*/ 49616 h 175170"/>
                <a:gd name="connsiteX481" fmla="*/ 123893 w 189841"/>
                <a:gd name="connsiteY481" fmla="*/ 48581 h 175170"/>
                <a:gd name="connsiteX482" fmla="*/ 123327 w 189841"/>
                <a:gd name="connsiteY482" fmla="*/ 48621 h 175170"/>
                <a:gd name="connsiteX483" fmla="*/ 122871 w 189841"/>
                <a:gd name="connsiteY483" fmla="*/ 49746 h 175170"/>
                <a:gd name="connsiteX484" fmla="*/ 122472 w 189841"/>
                <a:gd name="connsiteY484" fmla="*/ 50253 h 175170"/>
                <a:gd name="connsiteX485" fmla="*/ 121174 w 189841"/>
                <a:gd name="connsiteY485" fmla="*/ 50360 h 175170"/>
                <a:gd name="connsiteX486" fmla="*/ 119753 w 189841"/>
                <a:gd name="connsiteY486" fmla="*/ 49668 h 175170"/>
                <a:gd name="connsiteX487" fmla="*/ 119820 w 189841"/>
                <a:gd name="connsiteY487" fmla="*/ 48171 h 175170"/>
                <a:gd name="connsiteX488" fmla="*/ 119535 w 189841"/>
                <a:gd name="connsiteY488" fmla="*/ 46438 h 175170"/>
                <a:gd name="connsiteX489" fmla="*/ 119660 w 189841"/>
                <a:gd name="connsiteY489" fmla="*/ 45831 h 175170"/>
                <a:gd name="connsiteX490" fmla="*/ 123556 w 189841"/>
                <a:gd name="connsiteY490" fmla="*/ 45681 h 175170"/>
                <a:gd name="connsiteX491" fmla="*/ 124696 w 189841"/>
                <a:gd name="connsiteY491" fmla="*/ 46961 h 175170"/>
                <a:gd name="connsiteX492" fmla="*/ 126074 w 189841"/>
                <a:gd name="connsiteY492" fmla="*/ 46219 h 175170"/>
                <a:gd name="connsiteX493" fmla="*/ 126639 w 189841"/>
                <a:gd name="connsiteY493" fmla="*/ 45417 h 175170"/>
                <a:gd name="connsiteX494" fmla="*/ 130950 w 189841"/>
                <a:gd name="connsiteY494" fmla="*/ 32341 h 175170"/>
                <a:gd name="connsiteX495" fmla="*/ 132183 w 189841"/>
                <a:gd name="connsiteY495" fmla="*/ 32966 h 175170"/>
                <a:gd name="connsiteX496" fmla="*/ 133066 w 189841"/>
                <a:gd name="connsiteY496" fmla="*/ 33702 h 175170"/>
                <a:gd name="connsiteX497" fmla="*/ 133541 w 189841"/>
                <a:gd name="connsiteY497" fmla="*/ 34679 h 175170"/>
                <a:gd name="connsiteX498" fmla="*/ 131040 w 189841"/>
                <a:gd name="connsiteY498" fmla="*/ 35363 h 175170"/>
                <a:gd name="connsiteX499" fmla="*/ 128285 w 189841"/>
                <a:gd name="connsiteY499" fmla="*/ 33206 h 175170"/>
                <a:gd name="connsiteX500" fmla="*/ 110049 w 189841"/>
                <a:gd name="connsiteY500" fmla="*/ 25075 h 175170"/>
                <a:gd name="connsiteX501" fmla="*/ 112167 w 189841"/>
                <a:gd name="connsiteY501" fmla="*/ 25249 h 175170"/>
                <a:gd name="connsiteX502" fmla="*/ 113372 w 189841"/>
                <a:gd name="connsiteY502" fmla="*/ 26719 h 175170"/>
                <a:gd name="connsiteX503" fmla="*/ 113653 w 189841"/>
                <a:gd name="connsiteY503" fmla="*/ 27413 h 175170"/>
                <a:gd name="connsiteX504" fmla="*/ 113262 w 189841"/>
                <a:gd name="connsiteY504" fmla="*/ 28592 h 175170"/>
                <a:gd name="connsiteX505" fmla="*/ 113385 w 189841"/>
                <a:gd name="connsiteY505" fmla="*/ 29738 h 175170"/>
                <a:gd name="connsiteX506" fmla="*/ 110548 w 189841"/>
                <a:gd name="connsiteY506" fmla="*/ 30675 h 175170"/>
                <a:gd name="connsiteX507" fmla="*/ 107665 w 189841"/>
                <a:gd name="connsiteY507" fmla="*/ 28903 h 175170"/>
                <a:gd name="connsiteX508" fmla="*/ 107691 w 189841"/>
                <a:gd name="connsiteY508" fmla="*/ 27849 h 175170"/>
                <a:gd name="connsiteX509" fmla="*/ 109213 w 189841"/>
                <a:gd name="connsiteY509" fmla="*/ 25709 h 175170"/>
                <a:gd name="connsiteX510" fmla="*/ 144925 w 189841"/>
                <a:gd name="connsiteY510" fmla="*/ 0 h 175170"/>
                <a:gd name="connsiteX511" fmla="*/ 147585 w 189841"/>
                <a:gd name="connsiteY511" fmla="*/ 721 h 175170"/>
                <a:gd name="connsiteX512" fmla="*/ 149568 w 189841"/>
                <a:gd name="connsiteY512" fmla="*/ 1256 h 175170"/>
                <a:gd name="connsiteX513" fmla="*/ 150717 w 189841"/>
                <a:gd name="connsiteY513" fmla="*/ 2129 h 175170"/>
                <a:gd name="connsiteX514" fmla="*/ 151436 w 189841"/>
                <a:gd name="connsiteY514" fmla="*/ 2926 h 175170"/>
                <a:gd name="connsiteX515" fmla="*/ 152530 w 189841"/>
                <a:gd name="connsiteY515" fmla="*/ 3614 h 175170"/>
                <a:gd name="connsiteX516" fmla="*/ 153345 w 189841"/>
                <a:gd name="connsiteY516" fmla="*/ 3772 h 175170"/>
                <a:gd name="connsiteX517" fmla="*/ 153973 w 189841"/>
                <a:gd name="connsiteY517" fmla="*/ 6128 h 175170"/>
                <a:gd name="connsiteX518" fmla="*/ 154308 w 189841"/>
                <a:gd name="connsiteY518" fmla="*/ 9045 h 175170"/>
                <a:gd name="connsiteX519" fmla="*/ 153809 w 189841"/>
                <a:gd name="connsiteY519" fmla="*/ 10301 h 175170"/>
                <a:gd name="connsiteX520" fmla="*/ 152351 w 189841"/>
                <a:gd name="connsiteY520" fmla="*/ 10592 h 175170"/>
                <a:gd name="connsiteX521" fmla="*/ 147802 w 189841"/>
                <a:gd name="connsiteY521" fmla="*/ 13345 h 175170"/>
                <a:gd name="connsiteX522" fmla="*/ 147692 w 189841"/>
                <a:gd name="connsiteY522" fmla="*/ 15861 h 175170"/>
                <a:gd name="connsiteX523" fmla="*/ 147752 w 189841"/>
                <a:gd name="connsiteY523" fmla="*/ 17079 h 175170"/>
                <a:gd name="connsiteX524" fmla="*/ 147845 w 189841"/>
                <a:gd name="connsiteY524" fmla="*/ 17940 h 175170"/>
                <a:gd name="connsiteX525" fmla="*/ 148320 w 189841"/>
                <a:gd name="connsiteY525" fmla="*/ 18665 h 175170"/>
                <a:gd name="connsiteX526" fmla="*/ 148320 w 189841"/>
                <a:gd name="connsiteY526" fmla="*/ 19710 h 175170"/>
                <a:gd name="connsiteX527" fmla="*/ 147810 w 189841"/>
                <a:gd name="connsiteY527" fmla="*/ 20829 h 175170"/>
                <a:gd name="connsiteX528" fmla="*/ 145823 w 189841"/>
                <a:gd name="connsiteY528" fmla="*/ 22703 h 175170"/>
                <a:gd name="connsiteX529" fmla="*/ 144446 w 189841"/>
                <a:gd name="connsiteY529" fmla="*/ 24193 h 175170"/>
                <a:gd name="connsiteX530" fmla="*/ 142904 w 189841"/>
                <a:gd name="connsiteY530" fmla="*/ 26211 h 175170"/>
                <a:gd name="connsiteX531" fmla="*/ 142032 w 189841"/>
                <a:gd name="connsiteY531" fmla="*/ 26457 h 175170"/>
                <a:gd name="connsiteX532" fmla="*/ 141352 w 189841"/>
                <a:gd name="connsiteY532" fmla="*/ 26812 h 175170"/>
                <a:gd name="connsiteX533" fmla="*/ 140727 w 189841"/>
                <a:gd name="connsiteY533" fmla="*/ 25699 h 175170"/>
                <a:gd name="connsiteX534" fmla="*/ 137298 w 189841"/>
                <a:gd name="connsiteY534" fmla="*/ 23731 h 175170"/>
                <a:gd name="connsiteX535" fmla="*/ 129362 w 189841"/>
                <a:gd name="connsiteY535" fmla="*/ 22583 h 175170"/>
                <a:gd name="connsiteX536" fmla="*/ 125571 w 189841"/>
                <a:gd name="connsiteY536" fmla="*/ 21129 h 175170"/>
                <a:gd name="connsiteX537" fmla="*/ 123908 w 189841"/>
                <a:gd name="connsiteY537" fmla="*/ 21399 h 175170"/>
                <a:gd name="connsiteX538" fmla="*/ 120688 w 189841"/>
                <a:gd name="connsiteY538" fmla="*/ 19771 h 175170"/>
                <a:gd name="connsiteX539" fmla="*/ 118481 w 189841"/>
                <a:gd name="connsiteY539" fmla="*/ 20486 h 175170"/>
                <a:gd name="connsiteX540" fmla="*/ 113800 w 189841"/>
                <a:gd name="connsiteY540" fmla="*/ 23378 h 175170"/>
                <a:gd name="connsiteX541" fmla="*/ 111273 w 189841"/>
                <a:gd name="connsiteY541" fmla="*/ 23064 h 175170"/>
                <a:gd name="connsiteX542" fmla="*/ 108572 w 189841"/>
                <a:gd name="connsiteY542" fmla="*/ 21326 h 175170"/>
                <a:gd name="connsiteX543" fmla="*/ 106814 w 189841"/>
                <a:gd name="connsiteY543" fmla="*/ 21006 h 175170"/>
                <a:gd name="connsiteX544" fmla="*/ 104752 w 189841"/>
                <a:gd name="connsiteY544" fmla="*/ 21927 h 175170"/>
                <a:gd name="connsiteX545" fmla="*/ 101448 w 189841"/>
                <a:gd name="connsiteY545" fmla="*/ 25253 h 175170"/>
                <a:gd name="connsiteX546" fmla="*/ 98086 w 189841"/>
                <a:gd name="connsiteY546" fmla="*/ 26882 h 175170"/>
                <a:gd name="connsiteX547" fmla="*/ 95074 w 189841"/>
                <a:gd name="connsiteY547" fmla="*/ 26245 h 175170"/>
                <a:gd name="connsiteX548" fmla="*/ 91021 w 189841"/>
                <a:gd name="connsiteY548" fmla="*/ 26259 h 175170"/>
                <a:gd name="connsiteX549" fmla="*/ 90588 w 189841"/>
                <a:gd name="connsiteY549" fmla="*/ 28117 h 175170"/>
                <a:gd name="connsiteX550" fmla="*/ 91373 w 189841"/>
                <a:gd name="connsiteY550" fmla="*/ 29402 h 175170"/>
                <a:gd name="connsiteX551" fmla="*/ 93588 w 189841"/>
                <a:gd name="connsiteY551" fmla="*/ 31593 h 175170"/>
                <a:gd name="connsiteX552" fmla="*/ 92549 w 189841"/>
                <a:gd name="connsiteY552" fmla="*/ 33239 h 175170"/>
                <a:gd name="connsiteX553" fmla="*/ 93320 w 189841"/>
                <a:gd name="connsiteY553" fmla="*/ 34888 h 175170"/>
                <a:gd name="connsiteX554" fmla="*/ 94763 w 189841"/>
                <a:gd name="connsiteY554" fmla="*/ 35223 h 175170"/>
                <a:gd name="connsiteX555" fmla="*/ 96942 w 189841"/>
                <a:gd name="connsiteY555" fmla="*/ 35130 h 175170"/>
                <a:gd name="connsiteX556" fmla="*/ 100971 w 189841"/>
                <a:gd name="connsiteY556" fmla="*/ 37263 h 175170"/>
                <a:gd name="connsiteX557" fmla="*/ 102733 w 189841"/>
                <a:gd name="connsiteY557" fmla="*/ 39510 h 175170"/>
                <a:gd name="connsiteX558" fmla="*/ 103858 w 189841"/>
                <a:gd name="connsiteY558" fmla="*/ 41968 h 175170"/>
                <a:gd name="connsiteX559" fmla="*/ 101405 w 189841"/>
                <a:gd name="connsiteY559" fmla="*/ 40206 h 175170"/>
                <a:gd name="connsiteX560" fmla="*/ 99777 w 189841"/>
                <a:gd name="connsiteY560" fmla="*/ 38511 h 175170"/>
                <a:gd name="connsiteX561" fmla="*/ 97505 w 189841"/>
                <a:gd name="connsiteY561" fmla="*/ 37896 h 175170"/>
                <a:gd name="connsiteX562" fmla="*/ 94346 w 189841"/>
                <a:gd name="connsiteY562" fmla="*/ 36452 h 175170"/>
                <a:gd name="connsiteX563" fmla="*/ 92362 w 189841"/>
                <a:gd name="connsiteY563" fmla="*/ 36211 h 175170"/>
                <a:gd name="connsiteX564" fmla="*/ 90250 w 189841"/>
                <a:gd name="connsiteY564" fmla="*/ 37212 h 175170"/>
                <a:gd name="connsiteX565" fmla="*/ 90085 w 189841"/>
                <a:gd name="connsiteY565" fmla="*/ 38348 h 175170"/>
                <a:gd name="connsiteX566" fmla="*/ 92362 w 189841"/>
                <a:gd name="connsiteY566" fmla="*/ 40468 h 175170"/>
                <a:gd name="connsiteX567" fmla="*/ 94443 w 189841"/>
                <a:gd name="connsiteY567" fmla="*/ 41772 h 175170"/>
                <a:gd name="connsiteX568" fmla="*/ 95547 w 189841"/>
                <a:gd name="connsiteY568" fmla="*/ 42833 h 175170"/>
                <a:gd name="connsiteX569" fmla="*/ 96283 w 189841"/>
                <a:gd name="connsiteY569" fmla="*/ 45180 h 175170"/>
                <a:gd name="connsiteX570" fmla="*/ 95864 w 189841"/>
                <a:gd name="connsiteY570" fmla="*/ 45977 h 175170"/>
                <a:gd name="connsiteX571" fmla="*/ 95095 w 189841"/>
                <a:gd name="connsiteY571" fmla="*/ 46719 h 175170"/>
                <a:gd name="connsiteX572" fmla="*/ 92625 w 189841"/>
                <a:gd name="connsiteY572" fmla="*/ 45241 h 175170"/>
                <a:gd name="connsiteX573" fmla="*/ 88848 w 189841"/>
                <a:gd name="connsiteY573" fmla="*/ 39980 h 175170"/>
                <a:gd name="connsiteX574" fmla="*/ 83579 w 189841"/>
                <a:gd name="connsiteY574" fmla="*/ 38931 h 175170"/>
                <a:gd name="connsiteX575" fmla="*/ 82698 w 189841"/>
                <a:gd name="connsiteY575" fmla="*/ 40029 h 175170"/>
                <a:gd name="connsiteX576" fmla="*/ 83733 w 189841"/>
                <a:gd name="connsiteY576" fmla="*/ 42811 h 175170"/>
                <a:gd name="connsiteX577" fmla="*/ 84482 w 189841"/>
                <a:gd name="connsiteY577" fmla="*/ 43894 h 175170"/>
                <a:gd name="connsiteX578" fmla="*/ 89060 w 189841"/>
                <a:gd name="connsiteY578" fmla="*/ 46894 h 175170"/>
                <a:gd name="connsiteX579" fmla="*/ 88693 w 189841"/>
                <a:gd name="connsiteY579" fmla="*/ 47530 h 175170"/>
                <a:gd name="connsiteX580" fmla="*/ 88025 w 189841"/>
                <a:gd name="connsiteY580" fmla="*/ 47801 h 175170"/>
                <a:gd name="connsiteX581" fmla="*/ 82901 w 189841"/>
                <a:gd name="connsiteY581" fmla="*/ 46087 h 175170"/>
                <a:gd name="connsiteX582" fmla="*/ 81411 w 189841"/>
                <a:gd name="connsiteY582" fmla="*/ 43476 h 175170"/>
                <a:gd name="connsiteX583" fmla="*/ 81053 w 189841"/>
                <a:gd name="connsiteY583" fmla="*/ 40173 h 175170"/>
                <a:gd name="connsiteX584" fmla="*/ 76324 w 189841"/>
                <a:gd name="connsiteY584" fmla="*/ 37877 h 175170"/>
                <a:gd name="connsiteX585" fmla="*/ 71864 w 189841"/>
                <a:gd name="connsiteY585" fmla="*/ 35377 h 175170"/>
                <a:gd name="connsiteX586" fmla="*/ 70867 w 189841"/>
                <a:gd name="connsiteY586" fmla="*/ 33002 h 175170"/>
                <a:gd name="connsiteX587" fmla="*/ 71785 w 189841"/>
                <a:gd name="connsiteY587" fmla="*/ 32121 h 175170"/>
                <a:gd name="connsiteX588" fmla="*/ 72435 w 189841"/>
                <a:gd name="connsiteY588" fmla="*/ 30375 h 175170"/>
                <a:gd name="connsiteX589" fmla="*/ 69984 w 189841"/>
                <a:gd name="connsiteY589" fmla="*/ 30697 h 175170"/>
                <a:gd name="connsiteX590" fmla="*/ 68446 w 189841"/>
                <a:gd name="connsiteY590" fmla="*/ 31801 h 175170"/>
                <a:gd name="connsiteX591" fmla="*/ 65961 w 189841"/>
                <a:gd name="connsiteY591" fmla="*/ 32872 h 175170"/>
                <a:gd name="connsiteX592" fmla="*/ 65859 w 189841"/>
                <a:gd name="connsiteY592" fmla="*/ 34625 h 175170"/>
                <a:gd name="connsiteX593" fmla="*/ 66252 w 189841"/>
                <a:gd name="connsiteY593" fmla="*/ 36248 h 175170"/>
                <a:gd name="connsiteX594" fmla="*/ 65430 w 189841"/>
                <a:gd name="connsiteY594" fmla="*/ 38606 h 175170"/>
                <a:gd name="connsiteX595" fmla="*/ 64631 w 189841"/>
                <a:gd name="connsiteY595" fmla="*/ 42709 h 175170"/>
                <a:gd name="connsiteX596" fmla="*/ 65136 w 189841"/>
                <a:gd name="connsiteY596" fmla="*/ 44859 h 175170"/>
                <a:gd name="connsiteX597" fmla="*/ 70521 w 189841"/>
                <a:gd name="connsiteY597" fmla="*/ 51017 h 175170"/>
                <a:gd name="connsiteX598" fmla="*/ 72363 w 189841"/>
                <a:gd name="connsiteY598" fmla="*/ 55482 h 175170"/>
                <a:gd name="connsiteX599" fmla="*/ 73685 w 189841"/>
                <a:gd name="connsiteY599" fmla="*/ 57173 h 175170"/>
                <a:gd name="connsiteX600" fmla="*/ 76441 w 189841"/>
                <a:gd name="connsiteY600" fmla="*/ 59037 h 175170"/>
                <a:gd name="connsiteX601" fmla="*/ 79314 w 189841"/>
                <a:gd name="connsiteY601" fmla="*/ 62503 h 175170"/>
                <a:gd name="connsiteX602" fmla="*/ 80533 w 189841"/>
                <a:gd name="connsiteY602" fmla="*/ 64308 h 175170"/>
                <a:gd name="connsiteX603" fmla="*/ 81400 w 189841"/>
                <a:gd name="connsiteY603" fmla="*/ 67259 h 175170"/>
                <a:gd name="connsiteX604" fmla="*/ 78982 w 189841"/>
                <a:gd name="connsiteY604" fmla="*/ 69084 h 175170"/>
                <a:gd name="connsiteX605" fmla="*/ 77574 w 189841"/>
                <a:gd name="connsiteY605" fmla="*/ 69160 h 175170"/>
                <a:gd name="connsiteX606" fmla="*/ 76794 w 189841"/>
                <a:gd name="connsiteY606" fmla="*/ 68350 h 175170"/>
                <a:gd name="connsiteX607" fmla="*/ 77885 w 189841"/>
                <a:gd name="connsiteY607" fmla="*/ 66339 h 175170"/>
                <a:gd name="connsiteX608" fmla="*/ 77730 w 189841"/>
                <a:gd name="connsiteY608" fmla="*/ 65113 h 175170"/>
                <a:gd name="connsiteX609" fmla="*/ 73996 w 189841"/>
                <a:gd name="connsiteY609" fmla="*/ 63214 h 175170"/>
                <a:gd name="connsiteX610" fmla="*/ 72415 w 189841"/>
                <a:gd name="connsiteY610" fmla="*/ 63854 h 175170"/>
                <a:gd name="connsiteX611" fmla="*/ 70593 w 189841"/>
                <a:gd name="connsiteY611" fmla="*/ 65091 h 175170"/>
                <a:gd name="connsiteX612" fmla="*/ 71633 w 189841"/>
                <a:gd name="connsiteY612" fmla="*/ 67387 h 175170"/>
                <a:gd name="connsiteX613" fmla="*/ 72804 w 189841"/>
                <a:gd name="connsiteY613" fmla="*/ 68899 h 175170"/>
                <a:gd name="connsiteX614" fmla="*/ 73391 w 189841"/>
                <a:gd name="connsiteY614" fmla="*/ 70984 h 175170"/>
                <a:gd name="connsiteX615" fmla="*/ 75629 w 189841"/>
                <a:gd name="connsiteY615" fmla="*/ 70803 h 175170"/>
                <a:gd name="connsiteX616" fmla="*/ 72616 w 189841"/>
                <a:gd name="connsiteY616" fmla="*/ 73135 h 175170"/>
                <a:gd name="connsiteX617" fmla="*/ 69789 w 189841"/>
                <a:gd name="connsiteY617" fmla="*/ 74326 h 175170"/>
                <a:gd name="connsiteX618" fmla="*/ 67008 w 189841"/>
                <a:gd name="connsiteY618" fmla="*/ 74395 h 175170"/>
                <a:gd name="connsiteX619" fmla="*/ 65237 w 189841"/>
                <a:gd name="connsiteY619" fmla="*/ 74611 h 175170"/>
                <a:gd name="connsiteX620" fmla="*/ 64627 w 189841"/>
                <a:gd name="connsiteY620" fmla="*/ 75207 h 175170"/>
                <a:gd name="connsiteX621" fmla="*/ 66067 w 189841"/>
                <a:gd name="connsiteY621" fmla="*/ 75641 h 175170"/>
                <a:gd name="connsiteX622" fmla="*/ 67243 w 189841"/>
                <a:gd name="connsiteY622" fmla="*/ 75680 h 175170"/>
                <a:gd name="connsiteX623" fmla="*/ 69157 w 189841"/>
                <a:gd name="connsiteY623" fmla="*/ 76939 h 175170"/>
                <a:gd name="connsiteX624" fmla="*/ 74603 w 189841"/>
                <a:gd name="connsiteY624" fmla="*/ 78449 h 175170"/>
                <a:gd name="connsiteX625" fmla="*/ 77198 w 189841"/>
                <a:gd name="connsiteY625" fmla="*/ 80355 h 175170"/>
                <a:gd name="connsiteX626" fmla="*/ 79747 w 189841"/>
                <a:gd name="connsiteY626" fmla="*/ 80529 h 175170"/>
                <a:gd name="connsiteX627" fmla="*/ 82312 w 189841"/>
                <a:gd name="connsiteY627" fmla="*/ 84025 h 175170"/>
                <a:gd name="connsiteX628" fmla="*/ 86749 w 189841"/>
                <a:gd name="connsiteY628" fmla="*/ 84955 h 175170"/>
                <a:gd name="connsiteX629" fmla="*/ 89278 w 189841"/>
                <a:gd name="connsiteY629" fmla="*/ 88478 h 175170"/>
                <a:gd name="connsiteX630" fmla="*/ 92640 w 189841"/>
                <a:gd name="connsiteY630" fmla="*/ 89171 h 175170"/>
                <a:gd name="connsiteX631" fmla="*/ 95536 w 189841"/>
                <a:gd name="connsiteY631" fmla="*/ 90469 h 175170"/>
                <a:gd name="connsiteX632" fmla="*/ 96384 w 189841"/>
                <a:gd name="connsiteY632" fmla="*/ 91707 h 175170"/>
                <a:gd name="connsiteX633" fmla="*/ 96807 w 189841"/>
                <a:gd name="connsiteY633" fmla="*/ 93941 h 175170"/>
                <a:gd name="connsiteX634" fmla="*/ 96995 w 189841"/>
                <a:gd name="connsiteY634" fmla="*/ 98672 h 175170"/>
                <a:gd name="connsiteX635" fmla="*/ 97622 w 189841"/>
                <a:gd name="connsiteY635" fmla="*/ 102191 h 175170"/>
                <a:gd name="connsiteX636" fmla="*/ 97643 w 189841"/>
                <a:gd name="connsiteY636" fmla="*/ 103303 h 175170"/>
                <a:gd name="connsiteX637" fmla="*/ 97490 w 189841"/>
                <a:gd name="connsiteY637" fmla="*/ 104963 h 175170"/>
                <a:gd name="connsiteX638" fmla="*/ 96702 w 189841"/>
                <a:gd name="connsiteY638" fmla="*/ 105778 h 175170"/>
                <a:gd name="connsiteX639" fmla="*/ 95637 w 189841"/>
                <a:gd name="connsiteY639" fmla="*/ 105803 h 175170"/>
                <a:gd name="connsiteX640" fmla="*/ 93553 w 189841"/>
                <a:gd name="connsiteY640" fmla="*/ 103219 h 175170"/>
                <a:gd name="connsiteX641" fmla="*/ 90357 w 189841"/>
                <a:gd name="connsiteY641" fmla="*/ 100497 h 175170"/>
                <a:gd name="connsiteX642" fmla="*/ 86989 w 189841"/>
                <a:gd name="connsiteY642" fmla="*/ 97256 h 175170"/>
                <a:gd name="connsiteX643" fmla="*/ 86032 w 189841"/>
                <a:gd name="connsiteY643" fmla="*/ 96687 h 175170"/>
                <a:gd name="connsiteX644" fmla="*/ 85249 w 189841"/>
                <a:gd name="connsiteY644" fmla="*/ 96633 h 175170"/>
                <a:gd name="connsiteX645" fmla="*/ 83446 w 189841"/>
                <a:gd name="connsiteY645" fmla="*/ 97730 h 175170"/>
                <a:gd name="connsiteX646" fmla="*/ 78436 w 189841"/>
                <a:gd name="connsiteY646" fmla="*/ 98577 h 175170"/>
                <a:gd name="connsiteX647" fmla="*/ 76086 w 189841"/>
                <a:gd name="connsiteY647" fmla="*/ 99761 h 175170"/>
                <a:gd name="connsiteX648" fmla="*/ 75203 w 189841"/>
                <a:gd name="connsiteY648" fmla="*/ 100022 h 175170"/>
                <a:gd name="connsiteX649" fmla="*/ 74957 w 189841"/>
                <a:gd name="connsiteY649" fmla="*/ 100643 h 175170"/>
                <a:gd name="connsiteX650" fmla="*/ 76058 w 189841"/>
                <a:gd name="connsiteY650" fmla="*/ 101290 h 175170"/>
                <a:gd name="connsiteX651" fmla="*/ 77408 w 189841"/>
                <a:gd name="connsiteY651" fmla="*/ 102770 h 175170"/>
                <a:gd name="connsiteX652" fmla="*/ 77408 w 189841"/>
                <a:gd name="connsiteY652" fmla="*/ 104793 h 175170"/>
                <a:gd name="connsiteX653" fmla="*/ 78522 w 189841"/>
                <a:gd name="connsiteY653" fmla="*/ 107248 h 175170"/>
                <a:gd name="connsiteX654" fmla="*/ 79962 w 189841"/>
                <a:gd name="connsiteY654" fmla="*/ 107882 h 175170"/>
                <a:gd name="connsiteX655" fmla="*/ 81839 w 189841"/>
                <a:gd name="connsiteY655" fmla="*/ 107828 h 175170"/>
                <a:gd name="connsiteX656" fmla="*/ 82914 w 189841"/>
                <a:gd name="connsiteY656" fmla="*/ 108281 h 175170"/>
                <a:gd name="connsiteX657" fmla="*/ 83193 w 189841"/>
                <a:gd name="connsiteY657" fmla="*/ 109258 h 175170"/>
                <a:gd name="connsiteX658" fmla="*/ 84283 w 189841"/>
                <a:gd name="connsiteY658" fmla="*/ 110398 h 175170"/>
                <a:gd name="connsiteX659" fmla="*/ 85002 w 189841"/>
                <a:gd name="connsiteY659" fmla="*/ 111242 h 175170"/>
                <a:gd name="connsiteX660" fmla="*/ 84972 w 189841"/>
                <a:gd name="connsiteY660" fmla="*/ 111846 h 175170"/>
                <a:gd name="connsiteX661" fmla="*/ 79738 w 189841"/>
                <a:gd name="connsiteY661" fmla="*/ 113451 h 175170"/>
                <a:gd name="connsiteX662" fmla="*/ 78643 w 189841"/>
                <a:gd name="connsiteY662" fmla="*/ 114184 h 175170"/>
                <a:gd name="connsiteX663" fmla="*/ 77725 w 189841"/>
                <a:gd name="connsiteY663" fmla="*/ 114559 h 175170"/>
                <a:gd name="connsiteX664" fmla="*/ 76365 w 189841"/>
                <a:gd name="connsiteY664" fmla="*/ 113796 h 175170"/>
                <a:gd name="connsiteX665" fmla="*/ 76287 w 189841"/>
                <a:gd name="connsiteY665" fmla="*/ 111836 h 175170"/>
                <a:gd name="connsiteX666" fmla="*/ 74488 w 189841"/>
                <a:gd name="connsiteY666" fmla="*/ 110784 h 175170"/>
                <a:gd name="connsiteX667" fmla="*/ 72838 w 189841"/>
                <a:gd name="connsiteY667" fmla="*/ 109883 h 175170"/>
                <a:gd name="connsiteX668" fmla="*/ 70861 w 189841"/>
                <a:gd name="connsiteY668" fmla="*/ 109496 h 175170"/>
                <a:gd name="connsiteX669" fmla="*/ 69178 w 189841"/>
                <a:gd name="connsiteY669" fmla="*/ 108146 h 175170"/>
                <a:gd name="connsiteX670" fmla="*/ 68081 w 189841"/>
                <a:gd name="connsiteY670" fmla="*/ 109243 h 175170"/>
                <a:gd name="connsiteX671" fmla="*/ 68958 w 189841"/>
                <a:gd name="connsiteY671" fmla="*/ 113042 h 175170"/>
                <a:gd name="connsiteX672" fmla="*/ 70861 w 189841"/>
                <a:gd name="connsiteY672" fmla="*/ 115656 h 175170"/>
                <a:gd name="connsiteX673" fmla="*/ 74043 w 189841"/>
                <a:gd name="connsiteY673" fmla="*/ 122656 h 175170"/>
                <a:gd name="connsiteX674" fmla="*/ 75488 w 189841"/>
                <a:gd name="connsiteY674" fmla="*/ 126783 h 175170"/>
                <a:gd name="connsiteX675" fmla="*/ 75780 w 189841"/>
                <a:gd name="connsiteY675" fmla="*/ 128778 h 175170"/>
                <a:gd name="connsiteX676" fmla="*/ 75060 w 189841"/>
                <a:gd name="connsiteY676" fmla="*/ 132087 h 175170"/>
                <a:gd name="connsiteX677" fmla="*/ 76624 w 189841"/>
                <a:gd name="connsiteY677" fmla="*/ 134544 h 175170"/>
                <a:gd name="connsiteX678" fmla="*/ 77695 w 189841"/>
                <a:gd name="connsiteY678" fmla="*/ 137065 h 175170"/>
                <a:gd name="connsiteX679" fmla="*/ 76516 w 189841"/>
                <a:gd name="connsiteY679" fmla="*/ 136970 h 175170"/>
                <a:gd name="connsiteX680" fmla="*/ 75493 w 189841"/>
                <a:gd name="connsiteY680" fmla="*/ 136081 h 175170"/>
                <a:gd name="connsiteX681" fmla="*/ 73776 w 189841"/>
                <a:gd name="connsiteY681" fmla="*/ 135032 h 175170"/>
                <a:gd name="connsiteX682" fmla="*/ 70446 w 189841"/>
                <a:gd name="connsiteY682" fmla="*/ 131007 h 175170"/>
                <a:gd name="connsiteX683" fmla="*/ 69286 w 189841"/>
                <a:gd name="connsiteY683" fmla="*/ 128493 h 175170"/>
                <a:gd name="connsiteX684" fmla="*/ 67900 w 189841"/>
                <a:gd name="connsiteY684" fmla="*/ 128296 h 175170"/>
                <a:gd name="connsiteX685" fmla="*/ 65494 w 189841"/>
                <a:gd name="connsiteY685" fmla="*/ 128657 h 175170"/>
                <a:gd name="connsiteX686" fmla="*/ 62856 w 189841"/>
                <a:gd name="connsiteY686" fmla="*/ 134024 h 175170"/>
                <a:gd name="connsiteX687" fmla="*/ 62864 w 189841"/>
                <a:gd name="connsiteY687" fmla="*/ 137095 h 175170"/>
                <a:gd name="connsiteX688" fmla="*/ 61500 w 189841"/>
                <a:gd name="connsiteY688" fmla="*/ 136364 h 175170"/>
                <a:gd name="connsiteX689" fmla="*/ 60329 w 189841"/>
                <a:gd name="connsiteY689" fmla="*/ 135407 h 175170"/>
                <a:gd name="connsiteX690" fmla="*/ 60472 w 189841"/>
                <a:gd name="connsiteY690" fmla="*/ 132045 h 175170"/>
                <a:gd name="connsiteX691" fmla="*/ 60355 w 189841"/>
                <a:gd name="connsiteY691" fmla="*/ 130632 h 175170"/>
                <a:gd name="connsiteX692" fmla="*/ 57153 w 189841"/>
                <a:gd name="connsiteY692" fmla="*/ 126045 h 175170"/>
                <a:gd name="connsiteX693" fmla="*/ 55684 w 189841"/>
                <a:gd name="connsiteY693" fmla="*/ 125530 h 175170"/>
                <a:gd name="connsiteX694" fmla="*/ 55000 w 189841"/>
                <a:gd name="connsiteY694" fmla="*/ 123978 h 175170"/>
                <a:gd name="connsiteX695" fmla="*/ 53821 w 189841"/>
                <a:gd name="connsiteY695" fmla="*/ 122324 h 175170"/>
                <a:gd name="connsiteX696" fmla="*/ 52301 w 189841"/>
                <a:gd name="connsiteY696" fmla="*/ 122641 h 175170"/>
                <a:gd name="connsiteX697" fmla="*/ 51059 w 189841"/>
                <a:gd name="connsiteY697" fmla="*/ 123312 h 175170"/>
                <a:gd name="connsiteX698" fmla="*/ 50716 w 189841"/>
                <a:gd name="connsiteY698" fmla="*/ 125811 h 175170"/>
                <a:gd name="connsiteX699" fmla="*/ 50588 w 189841"/>
                <a:gd name="connsiteY699" fmla="*/ 128050 h 175170"/>
                <a:gd name="connsiteX700" fmla="*/ 49662 w 189841"/>
                <a:gd name="connsiteY700" fmla="*/ 129734 h 175170"/>
                <a:gd name="connsiteX701" fmla="*/ 46250 w 189841"/>
                <a:gd name="connsiteY701" fmla="*/ 126536 h 175170"/>
                <a:gd name="connsiteX702" fmla="*/ 42819 w 189841"/>
                <a:gd name="connsiteY702" fmla="*/ 121001 h 175170"/>
                <a:gd name="connsiteX703" fmla="*/ 42728 w 189841"/>
                <a:gd name="connsiteY703" fmla="*/ 117960 h 175170"/>
                <a:gd name="connsiteX704" fmla="*/ 45242 w 189841"/>
                <a:gd name="connsiteY704" fmla="*/ 115185 h 175170"/>
                <a:gd name="connsiteX705" fmla="*/ 44941 w 189841"/>
                <a:gd name="connsiteY705" fmla="*/ 113198 h 175170"/>
                <a:gd name="connsiteX706" fmla="*/ 42562 w 189841"/>
                <a:gd name="connsiteY706" fmla="*/ 109272 h 175170"/>
                <a:gd name="connsiteX707" fmla="*/ 39133 w 189841"/>
                <a:gd name="connsiteY707" fmla="*/ 106744 h 175170"/>
                <a:gd name="connsiteX708" fmla="*/ 37211 w 189841"/>
                <a:gd name="connsiteY708" fmla="*/ 105993 h 175170"/>
                <a:gd name="connsiteX709" fmla="*/ 36308 w 189841"/>
                <a:gd name="connsiteY709" fmla="*/ 103303 h 175170"/>
                <a:gd name="connsiteX710" fmla="*/ 34468 w 189841"/>
                <a:gd name="connsiteY710" fmla="*/ 101912 h 175170"/>
                <a:gd name="connsiteX711" fmla="*/ 32980 w 189841"/>
                <a:gd name="connsiteY711" fmla="*/ 101264 h 175170"/>
                <a:gd name="connsiteX712" fmla="*/ 32687 w 189841"/>
                <a:gd name="connsiteY712" fmla="*/ 100305 h 175170"/>
                <a:gd name="connsiteX713" fmla="*/ 33136 w 189841"/>
                <a:gd name="connsiteY713" fmla="*/ 99595 h 175170"/>
                <a:gd name="connsiteX714" fmla="*/ 36742 w 189841"/>
                <a:gd name="connsiteY714" fmla="*/ 96823 h 175170"/>
                <a:gd name="connsiteX715" fmla="*/ 38856 w 189841"/>
                <a:gd name="connsiteY715" fmla="*/ 92481 h 175170"/>
                <a:gd name="connsiteX716" fmla="*/ 39906 w 189841"/>
                <a:gd name="connsiteY716" fmla="*/ 92274 h 175170"/>
                <a:gd name="connsiteX717" fmla="*/ 42063 w 189841"/>
                <a:gd name="connsiteY717" fmla="*/ 93304 h 175170"/>
                <a:gd name="connsiteX718" fmla="*/ 44488 w 189841"/>
                <a:gd name="connsiteY718" fmla="*/ 93035 h 175170"/>
                <a:gd name="connsiteX719" fmla="*/ 46479 w 189841"/>
                <a:gd name="connsiteY719" fmla="*/ 90489 h 175170"/>
                <a:gd name="connsiteX720" fmla="*/ 48165 w 189841"/>
                <a:gd name="connsiteY720" fmla="*/ 89103 h 175170"/>
                <a:gd name="connsiteX721" fmla="*/ 51009 w 189841"/>
                <a:gd name="connsiteY721" fmla="*/ 89282 h 175170"/>
                <a:gd name="connsiteX722" fmla="*/ 57431 w 189841"/>
                <a:gd name="connsiteY722" fmla="*/ 92685 h 175170"/>
                <a:gd name="connsiteX723" fmla="*/ 64333 w 189841"/>
                <a:gd name="connsiteY723" fmla="*/ 94623 h 175170"/>
                <a:gd name="connsiteX724" fmla="*/ 67775 w 189841"/>
                <a:gd name="connsiteY724" fmla="*/ 96324 h 175170"/>
                <a:gd name="connsiteX725" fmla="*/ 69722 w 189841"/>
                <a:gd name="connsiteY725" fmla="*/ 98009 h 175170"/>
                <a:gd name="connsiteX726" fmla="*/ 70757 w 189841"/>
                <a:gd name="connsiteY726" fmla="*/ 98358 h 175170"/>
                <a:gd name="connsiteX727" fmla="*/ 72392 w 189841"/>
                <a:gd name="connsiteY727" fmla="*/ 98596 h 175170"/>
                <a:gd name="connsiteX728" fmla="*/ 72318 w 189841"/>
                <a:gd name="connsiteY728" fmla="*/ 97336 h 175170"/>
                <a:gd name="connsiteX729" fmla="*/ 71791 w 189841"/>
                <a:gd name="connsiteY729" fmla="*/ 96221 h 175170"/>
                <a:gd name="connsiteX730" fmla="*/ 73154 w 189841"/>
                <a:gd name="connsiteY730" fmla="*/ 95614 h 175170"/>
                <a:gd name="connsiteX731" fmla="*/ 76853 w 189841"/>
                <a:gd name="connsiteY731" fmla="*/ 95646 h 175170"/>
                <a:gd name="connsiteX732" fmla="*/ 77526 w 189841"/>
                <a:gd name="connsiteY732" fmla="*/ 95055 h 175170"/>
                <a:gd name="connsiteX733" fmla="*/ 78211 w 189841"/>
                <a:gd name="connsiteY733" fmla="*/ 94098 h 175170"/>
                <a:gd name="connsiteX734" fmla="*/ 77447 w 189841"/>
                <a:gd name="connsiteY734" fmla="*/ 93010 h 175170"/>
                <a:gd name="connsiteX735" fmla="*/ 76222 w 189841"/>
                <a:gd name="connsiteY735" fmla="*/ 92487 h 175170"/>
                <a:gd name="connsiteX736" fmla="*/ 74913 w 189841"/>
                <a:gd name="connsiteY736" fmla="*/ 92342 h 175170"/>
                <a:gd name="connsiteX737" fmla="*/ 74052 w 189841"/>
                <a:gd name="connsiteY737" fmla="*/ 91997 h 175170"/>
                <a:gd name="connsiteX738" fmla="*/ 72661 w 189841"/>
                <a:gd name="connsiteY738" fmla="*/ 92345 h 175170"/>
                <a:gd name="connsiteX739" fmla="*/ 70491 w 189841"/>
                <a:gd name="connsiteY739" fmla="*/ 91504 h 175170"/>
                <a:gd name="connsiteX740" fmla="*/ 69370 w 189841"/>
                <a:gd name="connsiteY740" fmla="*/ 90810 h 175170"/>
                <a:gd name="connsiteX741" fmla="*/ 68712 w 189841"/>
                <a:gd name="connsiteY741" fmla="*/ 90096 h 175170"/>
                <a:gd name="connsiteX742" fmla="*/ 64942 w 189841"/>
                <a:gd name="connsiteY742" fmla="*/ 88672 h 175170"/>
                <a:gd name="connsiteX743" fmla="*/ 61366 w 189841"/>
                <a:gd name="connsiteY743" fmla="*/ 86264 h 175170"/>
                <a:gd name="connsiteX744" fmla="*/ 60560 w 189841"/>
                <a:gd name="connsiteY744" fmla="*/ 87627 h 175170"/>
                <a:gd name="connsiteX745" fmla="*/ 59116 w 189841"/>
                <a:gd name="connsiteY745" fmla="*/ 88366 h 175170"/>
                <a:gd name="connsiteX746" fmla="*/ 57058 w 189841"/>
                <a:gd name="connsiteY746" fmla="*/ 88468 h 175170"/>
                <a:gd name="connsiteX747" fmla="*/ 51275 w 189841"/>
                <a:gd name="connsiteY747" fmla="*/ 86935 h 175170"/>
                <a:gd name="connsiteX748" fmla="*/ 47722 w 189841"/>
                <a:gd name="connsiteY748" fmla="*/ 88105 h 175170"/>
                <a:gd name="connsiteX749" fmla="*/ 45786 w 189841"/>
                <a:gd name="connsiteY749" fmla="*/ 88412 h 175170"/>
                <a:gd name="connsiteX750" fmla="*/ 44304 w 189841"/>
                <a:gd name="connsiteY750" fmla="*/ 88438 h 175170"/>
                <a:gd name="connsiteX751" fmla="*/ 42482 w 189841"/>
                <a:gd name="connsiteY751" fmla="*/ 88963 h 175170"/>
                <a:gd name="connsiteX752" fmla="*/ 40379 w 189841"/>
                <a:gd name="connsiteY752" fmla="*/ 89277 h 175170"/>
                <a:gd name="connsiteX753" fmla="*/ 38556 w 189841"/>
                <a:gd name="connsiteY753" fmla="*/ 87054 h 175170"/>
                <a:gd name="connsiteX754" fmla="*/ 37789 w 189841"/>
                <a:gd name="connsiteY754" fmla="*/ 85331 h 175170"/>
                <a:gd name="connsiteX755" fmla="*/ 37249 w 189841"/>
                <a:gd name="connsiteY755" fmla="*/ 85009 h 175170"/>
                <a:gd name="connsiteX756" fmla="*/ 37222 w 189841"/>
                <a:gd name="connsiteY756" fmla="*/ 86628 h 175170"/>
                <a:gd name="connsiteX757" fmla="*/ 36636 w 189841"/>
                <a:gd name="connsiteY757" fmla="*/ 87926 h 175170"/>
                <a:gd name="connsiteX758" fmla="*/ 33968 w 189841"/>
                <a:gd name="connsiteY758" fmla="*/ 88655 h 175170"/>
                <a:gd name="connsiteX759" fmla="*/ 32432 w 189841"/>
                <a:gd name="connsiteY759" fmla="*/ 87650 h 175170"/>
                <a:gd name="connsiteX760" fmla="*/ 31251 w 189841"/>
                <a:gd name="connsiteY760" fmla="*/ 84598 h 175170"/>
                <a:gd name="connsiteX761" fmla="*/ 29757 w 189841"/>
                <a:gd name="connsiteY761" fmla="*/ 80715 h 175170"/>
                <a:gd name="connsiteX762" fmla="*/ 27126 w 189841"/>
                <a:gd name="connsiteY762" fmla="*/ 77576 h 175170"/>
                <a:gd name="connsiteX763" fmla="*/ 24995 w 189841"/>
                <a:gd name="connsiteY763" fmla="*/ 76755 h 175170"/>
                <a:gd name="connsiteX764" fmla="*/ 24811 w 189841"/>
                <a:gd name="connsiteY764" fmla="*/ 75029 h 175170"/>
                <a:gd name="connsiteX765" fmla="*/ 25006 w 189841"/>
                <a:gd name="connsiteY765" fmla="*/ 73647 h 175170"/>
                <a:gd name="connsiteX766" fmla="*/ 27567 w 189841"/>
                <a:gd name="connsiteY766" fmla="*/ 73306 h 175170"/>
                <a:gd name="connsiteX767" fmla="*/ 31570 w 189841"/>
                <a:gd name="connsiteY767" fmla="*/ 74751 h 175170"/>
                <a:gd name="connsiteX768" fmla="*/ 32397 w 189841"/>
                <a:gd name="connsiteY768" fmla="*/ 74464 h 175170"/>
                <a:gd name="connsiteX769" fmla="*/ 33298 w 189841"/>
                <a:gd name="connsiteY769" fmla="*/ 73797 h 175170"/>
                <a:gd name="connsiteX770" fmla="*/ 33125 w 189841"/>
                <a:gd name="connsiteY770" fmla="*/ 72322 h 175170"/>
                <a:gd name="connsiteX771" fmla="*/ 32547 w 189841"/>
                <a:gd name="connsiteY771" fmla="*/ 71008 h 175170"/>
                <a:gd name="connsiteX772" fmla="*/ 31445 w 189841"/>
                <a:gd name="connsiteY772" fmla="*/ 70949 h 175170"/>
                <a:gd name="connsiteX773" fmla="*/ 30683 w 189841"/>
                <a:gd name="connsiteY773" fmla="*/ 71105 h 175170"/>
                <a:gd name="connsiteX774" fmla="*/ 28221 w 189841"/>
                <a:gd name="connsiteY774" fmla="*/ 70833 h 175170"/>
                <a:gd name="connsiteX775" fmla="*/ 25058 w 189841"/>
                <a:gd name="connsiteY775" fmla="*/ 71563 h 175170"/>
                <a:gd name="connsiteX776" fmla="*/ 23591 w 189841"/>
                <a:gd name="connsiteY776" fmla="*/ 70875 h 175170"/>
                <a:gd name="connsiteX777" fmla="*/ 23103 w 189841"/>
                <a:gd name="connsiteY777" fmla="*/ 70039 h 175170"/>
                <a:gd name="connsiteX778" fmla="*/ 20458 w 189841"/>
                <a:gd name="connsiteY778" fmla="*/ 67963 h 175170"/>
                <a:gd name="connsiteX779" fmla="*/ 18172 w 189841"/>
                <a:gd name="connsiteY779" fmla="*/ 65177 h 175170"/>
                <a:gd name="connsiteX780" fmla="*/ 14468 w 189841"/>
                <a:gd name="connsiteY780" fmla="*/ 63316 h 175170"/>
                <a:gd name="connsiteX781" fmla="*/ 12049 w 189841"/>
                <a:gd name="connsiteY781" fmla="*/ 57641 h 175170"/>
                <a:gd name="connsiteX782" fmla="*/ 10015 w 189841"/>
                <a:gd name="connsiteY782" fmla="*/ 55161 h 175170"/>
                <a:gd name="connsiteX783" fmla="*/ 7845 w 189841"/>
                <a:gd name="connsiteY783" fmla="*/ 53389 h 175170"/>
                <a:gd name="connsiteX784" fmla="*/ 8316 w 189841"/>
                <a:gd name="connsiteY784" fmla="*/ 53356 h 175170"/>
                <a:gd name="connsiteX785" fmla="*/ 9139 w 189841"/>
                <a:gd name="connsiteY785" fmla="*/ 53657 h 175170"/>
                <a:gd name="connsiteX786" fmla="*/ 10715 w 189841"/>
                <a:gd name="connsiteY786" fmla="*/ 54632 h 175170"/>
                <a:gd name="connsiteX787" fmla="*/ 12391 w 189841"/>
                <a:gd name="connsiteY787" fmla="*/ 54842 h 175170"/>
                <a:gd name="connsiteX788" fmla="*/ 13306 w 189841"/>
                <a:gd name="connsiteY788" fmla="*/ 54196 h 175170"/>
                <a:gd name="connsiteX789" fmla="*/ 13833 w 189841"/>
                <a:gd name="connsiteY789" fmla="*/ 53603 h 175170"/>
                <a:gd name="connsiteX790" fmla="*/ 14176 w 189841"/>
                <a:gd name="connsiteY790" fmla="*/ 52630 h 175170"/>
                <a:gd name="connsiteX791" fmla="*/ 14315 w 189841"/>
                <a:gd name="connsiteY791" fmla="*/ 51495 h 175170"/>
                <a:gd name="connsiteX792" fmla="*/ 14587 w 189841"/>
                <a:gd name="connsiteY792" fmla="*/ 51119 h 175170"/>
                <a:gd name="connsiteX793" fmla="*/ 15867 w 189841"/>
                <a:gd name="connsiteY793" fmla="*/ 51247 h 175170"/>
                <a:gd name="connsiteX794" fmla="*/ 16273 w 189841"/>
                <a:gd name="connsiteY794" fmla="*/ 50964 h 175170"/>
                <a:gd name="connsiteX795" fmla="*/ 16256 w 189841"/>
                <a:gd name="connsiteY795" fmla="*/ 49944 h 175170"/>
                <a:gd name="connsiteX796" fmla="*/ 15429 w 189841"/>
                <a:gd name="connsiteY796" fmla="*/ 48672 h 175170"/>
                <a:gd name="connsiteX797" fmla="*/ 14701 w 189841"/>
                <a:gd name="connsiteY797" fmla="*/ 47105 h 175170"/>
                <a:gd name="connsiteX798" fmla="*/ 14697 w 189841"/>
                <a:gd name="connsiteY798" fmla="*/ 46358 h 175170"/>
                <a:gd name="connsiteX799" fmla="*/ 15302 w 189841"/>
                <a:gd name="connsiteY799" fmla="*/ 46055 h 175170"/>
                <a:gd name="connsiteX800" fmla="*/ 16302 w 189841"/>
                <a:gd name="connsiteY800" fmla="*/ 45374 h 175170"/>
                <a:gd name="connsiteX801" fmla="*/ 16839 w 189841"/>
                <a:gd name="connsiteY801" fmla="*/ 44532 h 175170"/>
                <a:gd name="connsiteX802" fmla="*/ 17901 w 189841"/>
                <a:gd name="connsiteY802" fmla="*/ 44112 h 175170"/>
                <a:gd name="connsiteX803" fmla="*/ 19472 w 189841"/>
                <a:gd name="connsiteY803" fmla="*/ 44035 h 175170"/>
                <a:gd name="connsiteX804" fmla="*/ 21223 w 189841"/>
                <a:gd name="connsiteY804" fmla="*/ 43666 h 175170"/>
                <a:gd name="connsiteX805" fmla="*/ 22354 w 189841"/>
                <a:gd name="connsiteY805" fmla="*/ 42760 h 175170"/>
                <a:gd name="connsiteX806" fmla="*/ 22521 w 189841"/>
                <a:gd name="connsiteY806" fmla="*/ 41862 h 175170"/>
                <a:gd name="connsiteX807" fmla="*/ 23229 w 189841"/>
                <a:gd name="connsiteY807" fmla="*/ 39391 h 175170"/>
                <a:gd name="connsiteX808" fmla="*/ 23691 w 189841"/>
                <a:gd name="connsiteY808" fmla="*/ 38181 h 175170"/>
                <a:gd name="connsiteX809" fmla="*/ 24438 w 189841"/>
                <a:gd name="connsiteY809" fmla="*/ 37076 h 175170"/>
                <a:gd name="connsiteX810" fmla="*/ 24844 w 189841"/>
                <a:gd name="connsiteY810" fmla="*/ 35586 h 175170"/>
                <a:gd name="connsiteX811" fmla="*/ 25641 w 189841"/>
                <a:gd name="connsiteY811" fmla="*/ 34184 h 175170"/>
                <a:gd name="connsiteX812" fmla="*/ 27312 w 189841"/>
                <a:gd name="connsiteY812" fmla="*/ 33596 h 175170"/>
                <a:gd name="connsiteX813" fmla="*/ 28828 w 189841"/>
                <a:gd name="connsiteY813" fmla="*/ 32903 h 175170"/>
                <a:gd name="connsiteX814" fmla="*/ 29972 w 189841"/>
                <a:gd name="connsiteY814" fmla="*/ 31096 h 175170"/>
                <a:gd name="connsiteX815" fmla="*/ 30612 w 189841"/>
                <a:gd name="connsiteY815" fmla="*/ 29547 h 175170"/>
                <a:gd name="connsiteX816" fmla="*/ 30616 w 189841"/>
                <a:gd name="connsiteY816" fmla="*/ 28599 h 175170"/>
                <a:gd name="connsiteX817" fmla="*/ 29662 w 189841"/>
                <a:gd name="connsiteY817" fmla="*/ 27047 h 175170"/>
                <a:gd name="connsiteX818" fmla="*/ 28951 w 189841"/>
                <a:gd name="connsiteY818" fmla="*/ 25538 h 175170"/>
                <a:gd name="connsiteX819" fmla="*/ 29139 w 189841"/>
                <a:gd name="connsiteY819" fmla="*/ 23578 h 175170"/>
                <a:gd name="connsiteX820" fmla="*/ 32141 w 189841"/>
                <a:gd name="connsiteY820" fmla="*/ 23414 h 175170"/>
                <a:gd name="connsiteX821" fmla="*/ 33192 w 189841"/>
                <a:gd name="connsiteY821" fmla="*/ 23231 h 175170"/>
                <a:gd name="connsiteX822" fmla="*/ 37088 w 189841"/>
                <a:gd name="connsiteY822" fmla="*/ 23125 h 175170"/>
                <a:gd name="connsiteX823" fmla="*/ 38865 w 189841"/>
                <a:gd name="connsiteY823" fmla="*/ 22073 h 175170"/>
                <a:gd name="connsiteX824" fmla="*/ 40094 w 189841"/>
                <a:gd name="connsiteY824" fmla="*/ 22167 h 175170"/>
                <a:gd name="connsiteX825" fmla="*/ 42661 w 189841"/>
                <a:gd name="connsiteY825" fmla="*/ 23078 h 175170"/>
                <a:gd name="connsiteX826" fmla="*/ 43806 w 189841"/>
                <a:gd name="connsiteY826" fmla="*/ 22358 h 175170"/>
                <a:gd name="connsiteX827" fmla="*/ 47166 w 189841"/>
                <a:gd name="connsiteY827" fmla="*/ 20936 h 175170"/>
                <a:gd name="connsiteX828" fmla="*/ 50482 w 189841"/>
                <a:gd name="connsiteY828" fmla="*/ 16805 h 175170"/>
                <a:gd name="connsiteX829" fmla="*/ 51895 w 189841"/>
                <a:gd name="connsiteY829" fmla="*/ 16185 h 175170"/>
                <a:gd name="connsiteX830" fmla="*/ 55112 w 189841"/>
                <a:gd name="connsiteY830" fmla="*/ 15934 h 175170"/>
                <a:gd name="connsiteX831" fmla="*/ 56120 w 189841"/>
                <a:gd name="connsiteY831" fmla="*/ 15456 h 175170"/>
                <a:gd name="connsiteX832" fmla="*/ 57297 w 189841"/>
                <a:gd name="connsiteY832" fmla="*/ 15547 h 175170"/>
                <a:gd name="connsiteX833" fmla="*/ 60903 w 189841"/>
                <a:gd name="connsiteY833" fmla="*/ 16385 h 175170"/>
                <a:gd name="connsiteX834" fmla="*/ 62955 w 189841"/>
                <a:gd name="connsiteY834" fmla="*/ 16513 h 175170"/>
                <a:gd name="connsiteX835" fmla="*/ 65388 w 189841"/>
                <a:gd name="connsiteY835" fmla="*/ 15942 h 175170"/>
                <a:gd name="connsiteX836" fmla="*/ 68069 w 189841"/>
                <a:gd name="connsiteY836" fmla="*/ 14932 h 175170"/>
                <a:gd name="connsiteX837" fmla="*/ 68738 w 189841"/>
                <a:gd name="connsiteY837" fmla="*/ 11394 h 175170"/>
                <a:gd name="connsiteX838" fmla="*/ 69375 w 189841"/>
                <a:gd name="connsiteY838" fmla="*/ 10886 h 175170"/>
                <a:gd name="connsiteX839" fmla="*/ 71042 w 189841"/>
                <a:gd name="connsiteY839" fmla="*/ 10744 h 175170"/>
                <a:gd name="connsiteX840" fmla="*/ 72297 w 189841"/>
                <a:gd name="connsiteY840" fmla="*/ 10773 h 175170"/>
                <a:gd name="connsiteX841" fmla="*/ 74719 w 189841"/>
                <a:gd name="connsiteY841" fmla="*/ 11054 h 175170"/>
                <a:gd name="connsiteX842" fmla="*/ 77602 w 189841"/>
                <a:gd name="connsiteY842" fmla="*/ 11148 h 175170"/>
                <a:gd name="connsiteX843" fmla="*/ 79457 w 189841"/>
                <a:gd name="connsiteY843" fmla="*/ 9488 h 175170"/>
                <a:gd name="connsiteX844" fmla="*/ 82381 w 189841"/>
                <a:gd name="connsiteY844" fmla="*/ 9364 h 175170"/>
                <a:gd name="connsiteX845" fmla="*/ 83737 w 189841"/>
                <a:gd name="connsiteY845" fmla="*/ 9124 h 175170"/>
                <a:gd name="connsiteX846" fmla="*/ 86002 w 189841"/>
                <a:gd name="connsiteY846" fmla="*/ 9459 h 175170"/>
                <a:gd name="connsiteX847" fmla="*/ 88198 w 189841"/>
                <a:gd name="connsiteY847" fmla="*/ 9440 h 175170"/>
                <a:gd name="connsiteX848" fmla="*/ 91010 w 189841"/>
                <a:gd name="connsiteY848" fmla="*/ 8748 h 175170"/>
                <a:gd name="connsiteX849" fmla="*/ 93631 w 189841"/>
                <a:gd name="connsiteY849" fmla="*/ 7613 h 175170"/>
                <a:gd name="connsiteX850" fmla="*/ 95680 w 189841"/>
                <a:gd name="connsiteY850" fmla="*/ 7710 h 175170"/>
                <a:gd name="connsiteX851" fmla="*/ 96516 w 189841"/>
                <a:gd name="connsiteY851" fmla="*/ 7505 h 175170"/>
                <a:gd name="connsiteX852" fmla="*/ 96994 w 189841"/>
                <a:gd name="connsiteY852" fmla="*/ 7266 h 175170"/>
                <a:gd name="connsiteX853" fmla="*/ 97505 w 189841"/>
                <a:gd name="connsiteY853" fmla="*/ 5729 h 175170"/>
                <a:gd name="connsiteX854" fmla="*/ 101360 w 189841"/>
                <a:gd name="connsiteY854" fmla="*/ 5635 h 175170"/>
                <a:gd name="connsiteX855" fmla="*/ 102666 w 189841"/>
                <a:gd name="connsiteY855" fmla="*/ 5788 h 175170"/>
                <a:gd name="connsiteX856" fmla="*/ 104817 w 189841"/>
                <a:gd name="connsiteY856" fmla="*/ 5828 h 175170"/>
                <a:gd name="connsiteX857" fmla="*/ 107054 w 189841"/>
                <a:gd name="connsiteY857" fmla="*/ 4990 h 175170"/>
                <a:gd name="connsiteX858" fmla="*/ 107725 w 189841"/>
                <a:gd name="connsiteY858" fmla="*/ 5061 h 175170"/>
                <a:gd name="connsiteX859" fmla="*/ 108855 w 189841"/>
                <a:gd name="connsiteY859" fmla="*/ 7311 h 175170"/>
                <a:gd name="connsiteX860" fmla="*/ 109444 w 189841"/>
                <a:gd name="connsiteY860" fmla="*/ 7963 h 175170"/>
                <a:gd name="connsiteX861" fmla="*/ 110662 w 189841"/>
                <a:gd name="connsiteY861" fmla="*/ 8564 h 175170"/>
                <a:gd name="connsiteX862" fmla="*/ 113374 w 189841"/>
                <a:gd name="connsiteY862" fmla="*/ 10250 h 175170"/>
                <a:gd name="connsiteX863" fmla="*/ 113863 w 189841"/>
                <a:gd name="connsiteY863" fmla="*/ 9806 h 175170"/>
                <a:gd name="connsiteX864" fmla="*/ 114992 w 189841"/>
                <a:gd name="connsiteY864" fmla="*/ 9243 h 175170"/>
                <a:gd name="connsiteX865" fmla="*/ 118235 w 189841"/>
                <a:gd name="connsiteY865" fmla="*/ 10015 h 175170"/>
                <a:gd name="connsiteX866" fmla="*/ 121327 w 189841"/>
                <a:gd name="connsiteY866" fmla="*/ 11314 h 175170"/>
                <a:gd name="connsiteX867" fmla="*/ 123932 w 189841"/>
                <a:gd name="connsiteY867" fmla="*/ 13219 h 175170"/>
                <a:gd name="connsiteX868" fmla="*/ 126823 w 189841"/>
                <a:gd name="connsiteY868" fmla="*/ 12670 h 175170"/>
                <a:gd name="connsiteX869" fmla="*/ 130032 w 189841"/>
                <a:gd name="connsiteY869" fmla="*/ 11735 h 175170"/>
                <a:gd name="connsiteX870" fmla="*/ 132120 w 189841"/>
                <a:gd name="connsiteY870" fmla="*/ 11463 h 175170"/>
                <a:gd name="connsiteX871" fmla="*/ 134385 w 189841"/>
                <a:gd name="connsiteY871" fmla="*/ 11333 h 175170"/>
                <a:gd name="connsiteX872" fmla="*/ 135735 w 189841"/>
                <a:gd name="connsiteY872" fmla="*/ 10927 h 175170"/>
                <a:gd name="connsiteX873" fmla="*/ 138795 w 189841"/>
                <a:gd name="connsiteY873" fmla="*/ 11416 h 175170"/>
                <a:gd name="connsiteX874" fmla="*/ 141958 w 189841"/>
                <a:gd name="connsiteY874" fmla="*/ 10393 h 175170"/>
                <a:gd name="connsiteX875" fmla="*/ 143483 w 189841"/>
                <a:gd name="connsiteY875" fmla="*/ 9467 h 175170"/>
                <a:gd name="connsiteX876" fmla="*/ 143921 w 189841"/>
                <a:gd name="connsiteY876" fmla="*/ 8170 h 175170"/>
                <a:gd name="connsiteX877" fmla="*/ 143664 w 189841"/>
                <a:gd name="connsiteY877" fmla="*/ 5881 h 175170"/>
                <a:gd name="connsiteX878" fmla="*/ 142949 w 189841"/>
                <a:gd name="connsiteY878" fmla="*/ 3589 h 175170"/>
                <a:gd name="connsiteX879" fmla="*/ 142192 w 189841"/>
                <a:gd name="connsiteY879" fmla="*/ 2743 h 175170"/>
                <a:gd name="connsiteX880" fmla="*/ 141950 w 189841"/>
                <a:gd name="connsiteY880" fmla="*/ 1868 h 175170"/>
                <a:gd name="connsiteX881" fmla="*/ 142381 w 189841"/>
                <a:gd name="connsiteY881" fmla="*/ 1050 h 175170"/>
                <a:gd name="connsiteX882" fmla="*/ 142865 w 189841"/>
                <a:gd name="connsiteY882" fmla="*/ 479 h 175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</a:cxnLst>
              <a:rect l="l" t="t" r="r" b="b"/>
              <a:pathLst>
                <a:path w="189841" h="175170">
                  <a:moveTo>
                    <a:pt x="90448" y="157073"/>
                  </a:moveTo>
                  <a:lnTo>
                    <a:pt x="91198" y="157609"/>
                  </a:lnTo>
                  <a:lnTo>
                    <a:pt x="91697" y="159571"/>
                  </a:lnTo>
                  <a:lnTo>
                    <a:pt x="92998" y="160093"/>
                  </a:lnTo>
                  <a:lnTo>
                    <a:pt x="94510" y="160276"/>
                  </a:lnTo>
                  <a:lnTo>
                    <a:pt x="96559" y="160244"/>
                  </a:lnTo>
                  <a:lnTo>
                    <a:pt x="97026" y="160094"/>
                  </a:lnTo>
                  <a:lnTo>
                    <a:pt x="98330" y="158624"/>
                  </a:lnTo>
                  <a:lnTo>
                    <a:pt x="99937" y="158590"/>
                  </a:lnTo>
                  <a:lnTo>
                    <a:pt x="100638" y="160043"/>
                  </a:lnTo>
                  <a:lnTo>
                    <a:pt x="99008" y="160712"/>
                  </a:lnTo>
                  <a:lnTo>
                    <a:pt x="98676" y="161090"/>
                  </a:lnTo>
                  <a:lnTo>
                    <a:pt x="98989" y="161396"/>
                  </a:lnTo>
                  <a:lnTo>
                    <a:pt x="100213" y="162002"/>
                  </a:lnTo>
                  <a:lnTo>
                    <a:pt x="101913" y="161773"/>
                  </a:lnTo>
                  <a:lnTo>
                    <a:pt x="101964" y="162916"/>
                  </a:lnTo>
                  <a:lnTo>
                    <a:pt x="102344" y="163849"/>
                  </a:lnTo>
                  <a:lnTo>
                    <a:pt x="103184" y="164406"/>
                  </a:lnTo>
                  <a:lnTo>
                    <a:pt x="104093" y="164515"/>
                  </a:lnTo>
                  <a:lnTo>
                    <a:pt x="106104" y="164350"/>
                  </a:lnTo>
                  <a:lnTo>
                    <a:pt x="108086" y="163980"/>
                  </a:lnTo>
                  <a:lnTo>
                    <a:pt x="110129" y="163248"/>
                  </a:lnTo>
                  <a:lnTo>
                    <a:pt x="112215" y="162874"/>
                  </a:lnTo>
                  <a:lnTo>
                    <a:pt x="118447" y="163249"/>
                  </a:lnTo>
                  <a:lnTo>
                    <a:pt x="120684" y="164830"/>
                  </a:lnTo>
                  <a:lnTo>
                    <a:pt x="124940" y="165020"/>
                  </a:lnTo>
                  <a:lnTo>
                    <a:pt x="128896" y="165852"/>
                  </a:lnTo>
                  <a:lnTo>
                    <a:pt x="130974" y="165303"/>
                  </a:lnTo>
                  <a:lnTo>
                    <a:pt x="134523" y="164788"/>
                  </a:lnTo>
                  <a:lnTo>
                    <a:pt x="135092" y="165346"/>
                  </a:lnTo>
                  <a:lnTo>
                    <a:pt x="134633" y="168918"/>
                  </a:lnTo>
                  <a:lnTo>
                    <a:pt x="134852" y="169953"/>
                  </a:lnTo>
                  <a:lnTo>
                    <a:pt x="135875" y="170451"/>
                  </a:lnTo>
                  <a:lnTo>
                    <a:pt x="136888" y="170208"/>
                  </a:lnTo>
                  <a:lnTo>
                    <a:pt x="138132" y="169039"/>
                  </a:lnTo>
                  <a:lnTo>
                    <a:pt x="141109" y="168134"/>
                  </a:lnTo>
                  <a:lnTo>
                    <a:pt x="144202" y="168139"/>
                  </a:lnTo>
                  <a:lnTo>
                    <a:pt x="146804" y="165763"/>
                  </a:lnTo>
                  <a:lnTo>
                    <a:pt x="147571" y="165628"/>
                  </a:lnTo>
                  <a:lnTo>
                    <a:pt x="147093" y="166796"/>
                  </a:lnTo>
                  <a:lnTo>
                    <a:pt x="146700" y="169539"/>
                  </a:lnTo>
                  <a:lnTo>
                    <a:pt x="146141" y="171145"/>
                  </a:lnTo>
                  <a:lnTo>
                    <a:pt x="145892" y="172410"/>
                  </a:lnTo>
                  <a:lnTo>
                    <a:pt x="144152" y="173063"/>
                  </a:lnTo>
                  <a:lnTo>
                    <a:pt x="141522" y="173175"/>
                  </a:lnTo>
                  <a:lnTo>
                    <a:pt x="136724" y="172898"/>
                  </a:lnTo>
                  <a:lnTo>
                    <a:pt x="131887" y="173346"/>
                  </a:lnTo>
                  <a:lnTo>
                    <a:pt x="122928" y="174549"/>
                  </a:lnTo>
                  <a:lnTo>
                    <a:pt x="113951" y="175170"/>
                  </a:lnTo>
                  <a:lnTo>
                    <a:pt x="112744" y="174765"/>
                  </a:lnTo>
                  <a:lnTo>
                    <a:pt x="112716" y="173170"/>
                  </a:lnTo>
                  <a:lnTo>
                    <a:pt x="112522" y="172069"/>
                  </a:lnTo>
                  <a:lnTo>
                    <a:pt x="111941" y="171298"/>
                  </a:lnTo>
                  <a:lnTo>
                    <a:pt x="109166" y="170640"/>
                  </a:lnTo>
                  <a:lnTo>
                    <a:pt x="106519" y="169511"/>
                  </a:lnTo>
                  <a:lnTo>
                    <a:pt x="96140" y="167967"/>
                  </a:lnTo>
                  <a:lnTo>
                    <a:pt x="93692" y="167361"/>
                  </a:lnTo>
                  <a:lnTo>
                    <a:pt x="89718" y="167677"/>
                  </a:lnTo>
                  <a:lnTo>
                    <a:pt x="88263" y="167635"/>
                  </a:lnTo>
                  <a:lnTo>
                    <a:pt x="87261" y="167081"/>
                  </a:lnTo>
                  <a:lnTo>
                    <a:pt x="86572" y="166129"/>
                  </a:lnTo>
                  <a:lnTo>
                    <a:pt x="86261" y="163106"/>
                  </a:lnTo>
                  <a:lnTo>
                    <a:pt x="86753" y="160110"/>
                  </a:lnTo>
                  <a:lnTo>
                    <a:pt x="87613" y="159318"/>
                  </a:lnTo>
                  <a:lnTo>
                    <a:pt x="88008" y="160221"/>
                  </a:lnTo>
                  <a:lnTo>
                    <a:pt x="89027" y="160634"/>
                  </a:lnTo>
                  <a:lnTo>
                    <a:pt x="89973" y="159724"/>
                  </a:lnTo>
                  <a:lnTo>
                    <a:pt x="89964" y="158350"/>
                  </a:lnTo>
                  <a:close/>
                  <a:moveTo>
                    <a:pt x="167536" y="152919"/>
                  </a:moveTo>
                  <a:lnTo>
                    <a:pt x="167180" y="155589"/>
                  </a:lnTo>
                  <a:lnTo>
                    <a:pt x="166078" y="157728"/>
                  </a:lnTo>
                  <a:lnTo>
                    <a:pt x="167221" y="159502"/>
                  </a:lnTo>
                  <a:lnTo>
                    <a:pt x="167767" y="161523"/>
                  </a:lnTo>
                  <a:lnTo>
                    <a:pt x="166495" y="161857"/>
                  </a:lnTo>
                  <a:lnTo>
                    <a:pt x="165651" y="163269"/>
                  </a:lnTo>
                  <a:lnTo>
                    <a:pt x="164794" y="162079"/>
                  </a:lnTo>
                  <a:lnTo>
                    <a:pt x="165163" y="160705"/>
                  </a:lnTo>
                  <a:lnTo>
                    <a:pt x="164165" y="158526"/>
                  </a:lnTo>
                  <a:lnTo>
                    <a:pt x="166053" y="155292"/>
                  </a:lnTo>
                  <a:lnTo>
                    <a:pt x="166096" y="153720"/>
                  </a:lnTo>
                  <a:close/>
                  <a:moveTo>
                    <a:pt x="73059" y="138689"/>
                  </a:moveTo>
                  <a:lnTo>
                    <a:pt x="74106" y="140102"/>
                  </a:lnTo>
                  <a:lnTo>
                    <a:pt x="76300" y="142164"/>
                  </a:lnTo>
                  <a:lnTo>
                    <a:pt x="75343" y="143599"/>
                  </a:lnTo>
                  <a:lnTo>
                    <a:pt x="75086" y="144696"/>
                  </a:lnTo>
                  <a:lnTo>
                    <a:pt x="72815" y="143942"/>
                  </a:lnTo>
                  <a:lnTo>
                    <a:pt x="72182" y="142810"/>
                  </a:lnTo>
                  <a:lnTo>
                    <a:pt x="72068" y="140299"/>
                  </a:lnTo>
                  <a:lnTo>
                    <a:pt x="72664" y="139074"/>
                  </a:lnTo>
                  <a:close/>
                  <a:moveTo>
                    <a:pt x="189841" y="137431"/>
                  </a:moveTo>
                  <a:lnTo>
                    <a:pt x="189801" y="139035"/>
                  </a:lnTo>
                  <a:lnTo>
                    <a:pt x="187899" y="143092"/>
                  </a:lnTo>
                  <a:lnTo>
                    <a:pt x="186211" y="145117"/>
                  </a:lnTo>
                  <a:lnTo>
                    <a:pt x="186655" y="146743"/>
                  </a:lnTo>
                  <a:lnTo>
                    <a:pt x="183952" y="147193"/>
                  </a:lnTo>
                  <a:lnTo>
                    <a:pt x="181238" y="150175"/>
                  </a:lnTo>
                  <a:lnTo>
                    <a:pt x="179642" y="150705"/>
                  </a:lnTo>
                  <a:lnTo>
                    <a:pt x="179091" y="150636"/>
                  </a:lnTo>
                  <a:lnTo>
                    <a:pt x="178424" y="149468"/>
                  </a:lnTo>
                  <a:lnTo>
                    <a:pt x="179348" y="146645"/>
                  </a:lnTo>
                  <a:lnTo>
                    <a:pt x="178493" y="144829"/>
                  </a:lnTo>
                  <a:lnTo>
                    <a:pt x="178441" y="144059"/>
                  </a:lnTo>
                  <a:lnTo>
                    <a:pt x="179726" y="142993"/>
                  </a:lnTo>
                  <a:lnTo>
                    <a:pt x="180629" y="141396"/>
                  </a:lnTo>
                  <a:lnTo>
                    <a:pt x="182822" y="139667"/>
                  </a:lnTo>
                  <a:lnTo>
                    <a:pt x="188506" y="137619"/>
                  </a:lnTo>
                  <a:close/>
                  <a:moveTo>
                    <a:pt x="127421" y="136416"/>
                  </a:moveTo>
                  <a:lnTo>
                    <a:pt x="128713" y="137395"/>
                  </a:lnTo>
                  <a:lnTo>
                    <a:pt x="129045" y="138469"/>
                  </a:lnTo>
                  <a:lnTo>
                    <a:pt x="128017" y="139799"/>
                  </a:lnTo>
                  <a:lnTo>
                    <a:pt x="126570" y="139322"/>
                  </a:lnTo>
                  <a:lnTo>
                    <a:pt x="127160" y="138816"/>
                  </a:lnTo>
                  <a:lnTo>
                    <a:pt x="127508" y="138159"/>
                  </a:lnTo>
                  <a:lnTo>
                    <a:pt x="127546" y="137212"/>
                  </a:lnTo>
                  <a:lnTo>
                    <a:pt x="127154" y="136629"/>
                  </a:lnTo>
                  <a:close/>
                  <a:moveTo>
                    <a:pt x="148672" y="132238"/>
                  </a:moveTo>
                  <a:lnTo>
                    <a:pt x="149805" y="132602"/>
                  </a:lnTo>
                  <a:lnTo>
                    <a:pt x="150676" y="133587"/>
                  </a:lnTo>
                  <a:lnTo>
                    <a:pt x="148929" y="134192"/>
                  </a:lnTo>
                  <a:lnTo>
                    <a:pt x="147819" y="135462"/>
                  </a:lnTo>
                  <a:lnTo>
                    <a:pt x="146461" y="134562"/>
                  </a:lnTo>
                  <a:lnTo>
                    <a:pt x="146456" y="133333"/>
                  </a:lnTo>
                  <a:lnTo>
                    <a:pt x="147942" y="133709"/>
                  </a:lnTo>
                  <a:lnTo>
                    <a:pt x="148985" y="133017"/>
                  </a:lnTo>
                  <a:close/>
                  <a:moveTo>
                    <a:pt x="181674" y="132173"/>
                  </a:moveTo>
                  <a:lnTo>
                    <a:pt x="181836" y="132646"/>
                  </a:lnTo>
                  <a:lnTo>
                    <a:pt x="181818" y="133656"/>
                  </a:lnTo>
                  <a:lnTo>
                    <a:pt x="181622" y="134385"/>
                  </a:lnTo>
                  <a:lnTo>
                    <a:pt x="181138" y="134788"/>
                  </a:lnTo>
                  <a:lnTo>
                    <a:pt x="180028" y="133630"/>
                  </a:lnTo>
                  <a:lnTo>
                    <a:pt x="179976" y="133026"/>
                  </a:lnTo>
                  <a:lnTo>
                    <a:pt x="181106" y="132333"/>
                  </a:lnTo>
                  <a:close/>
                  <a:moveTo>
                    <a:pt x="108112" y="129062"/>
                  </a:moveTo>
                  <a:lnTo>
                    <a:pt x="108151" y="130553"/>
                  </a:lnTo>
                  <a:lnTo>
                    <a:pt x="108000" y="131087"/>
                  </a:lnTo>
                  <a:lnTo>
                    <a:pt x="103474" y="131806"/>
                  </a:lnTo>
                  <a:lnTo>
                    <a:pt x="103893" y="130097"/>
                  </a:lnTo>
                  <a:lnTo>
                    <a:pt x="104169" y="129557"/>
                  </a:lnTo>
                  <a:lnTo>
                    <a:pt x="105668" y="130352"/>
                  </a:lnTo>
                  <a:lnTo>
                    <a:pt x="106220" y="129946"/>
                  </a:lnTo>
                  <a:lnTo>
                    <a:pt x="106445" y="129476"/>
                  </a:lnTo>
                  <a:close/>
                  <a:moveTo>
                    <a:pt x="124921" y="128417"/>
                  </a:moveTo>
                  <a:lnTo>
                    <a:pt x="127376" y="130240"/>
                  </a:lnTo>
                  <a:lnTo>
                    <a:pt x="126819" y="131339"/>
                  </a:lnTo>
                  <a:lnTo>
                    <a:pt x="126434" y="131737"/>
                  </a:lnTo>
                  <a:lnTo>
                    <a:pt x="124761" y="130134"/>
                  </a:lnTo>
                  <a:lnTo>
                    <a:pt x="124126" y="129197"/>
                  </a:lnTo>
                  <a:close/>
                  <a:moveTo>
                    <a:pt x="168476" y="125472"/>
                  </a:moveTo>
                  <a:lnTo>
                    <a:pt x="170389" y="126393"/>
                  </a:lnTo>
                  <a:lnTo>
                    <a:pt x="166873" y="127910"/>
                  </a:lnTo>
                  <a:lnTo>
                    <a:pt x="165940" y="128712"/>
                  </a:lnTo>
                  <a:lnTo>
                    <a:pt x="163345" y="128885"/>
                  </a:lnTo>
                  <a:lnTo>
                    <a:pt x="161488" y="129993"/>
                  </a:lnTo>
                  <a:lnTo>
                    <a:pt x="160797" y="130023"/>
                  </a:lnTo>
                  <a:lnTo>
                    <a:pt x="161619" y="128797"/>
                  </a:lnTo>
                  <a:lnTo>
                    <a:pt x="163954" y="127117"/>
                  </a:lnTo>
                  <a:lnTo>
                    <a:pt x="167355" y="125637"/>
                  </a:lnTo>
                  <a:close/>
                  <a:moveTo>
                    <a:pt x="140505" y="124652"/>
                  </a:moveTo>
                  <a:lnTo>
                    <a:pt x="141915" y="125533"/>
                  </a:lnTo>
                  <a:lnTo>
                    <a:pt x="140151" y="126118"/>
                  </a:lnTo>
                  <a:lnTo>
                    <a:pt x="137380" y="128386"/>
                  </a:lnTo>
                  <a:lnTo>
                    <a:pt x="135428" y="128594"/>
                  </a:lnTo>
                  <a:lnTo>
                    <a:pt x="134811" y="128403"/>
                  </a:lnTo>
                  <a:lnTo>
                    <a:pt x="135996" y="127964"/>
                  </a:lnTo>
                  <a:lnTo>
                    <a:pt x="136828" y="127498"/>
                  </a:lnTo>
                  <a:lnTo>
                    <a:pt x="137227" y="126934"/>
                  </a:lnTo>
                  <a:lnTo>
                    <a:pt x="139207" y="125943"/>
                  </a:lnTo>
                  <a:close/>
                  <a:moveTo>
                    <a:pt x="112100" y="122454"/>
                  </a:moveTo>
                  <a:lnTo>
                    <a:pt x="113141" y="124351"/>
                  </a:lnTo>
                  <a:lnTo>
                    <a:pt x="112206" y="125057"/>
                  </a:lnTo>
                  <a:lnTo>
                    <a:pt x="111802" y="125168"/>
                  </a:lnTo>
                  <a:lnTo>
                    <a:pt x="111224" y="124096"/>
                  </a:lnTo>
                  <a:lnTo>
                    <a:pt x="111103" y="123096"/>
                  </a:lnTo>
                  <a:lnTo>
                    <a:pt x="111334" y="122510"/>
                  </a:lnTo>
                  <a:close/>
                  <a:moveTo>
                    <a:pt x="160140" y="120840"/>
                  </a:moveTo>
                  <a:lnTo>
                    <a:pt x="161864" y="121735"/>
                  </a:lnTo>
                  <a:lnTo>
                    <a:pt x="162956" y="122814"/>
                  </a:lnTo>
                  <a:lnTo>
                    <a:pt x="163489" y="123020"/>
                  </a:lnTo>
                  <a:lnTo>
                    <a:pt x="163366" y="123671"/>
                  </a:lnTo>
                  <a:lnTo>
                    <a:pt x="163038" y="124102"/>
                  </a:lnTo>
                  <a:lnTo>
                    <a:pt x="160831" y="124453"/>
                  </a:lnTo>
                  <a:lnTo>
                    <a:pt x="161224" y="122434"/>
                  </a:lnTo>
                  <a:close/>
                  <a:moveTo>
                    <a:pt x="123575" y="119280"/>
                  </a:moveTo>
                  <a:lnTo>
                    <a:pt x="124465" y="119553"/>
                  </a:lnTo>
                  <a:lnTo>
                    <a:pt x="124381" y="120919"/>
                  </a:lnTo>
                  <a:lnTo>
                    <a:pt x="124545" y="121320"/>
                  </a:lnTo>
                  <a:lnTo>
                    <a:pt x="122787" y="123281"/>
                  </a:lnTo>
                  <a:lnTo>
                    <a:pt x="121325" y="123069"/>
                  </a:lnTo>
                  <a:lnTo>
                    <a:pt x="120710" y="122171"/>
                  </a:lnTo>
                  <a:lnTo>
                    <a:pt x="121617" y="120327"/>
                  </a:lnTo>
                  <a:close/>
                  <a:moveTo>
                    <a:pt x="129993" y="118062"/>
                  </a:moveTo>
                  <a:lnTo>
                    <a:pt x="130857" y="118349"/>
                  </a:lnTo>
                  <a:lnTo>
                    <a:pt x="131377" y="119179"/>
                  </a:lnTo>
                  <a:lnTo>
                    <a:pt x="131297" y="122060"/>
                  </a:lnTo>
                  <a:lnTo>
                    <a:pt x="130449" y="123885"/>
                  </a:lnTo>
                  <a:lnTo>
                    <a:pt x="128477" y="124848"/>
                  </a:lnTo>
                  <a:lnTo>
                    <a:pt x="127132" y="123458"/>
                  </a:lnTo>
                  <a:lnTo>
                    <a:pt x="126380" y="121269"/>
                  </a:lnTo>
                  <a:close/>
                  <a:moveTo>
                    <a:pt x="106963" y="117710"/>
                  </a:moveTo>
                  <a:lnTo>
                    <a:pt x="107965" y="118165"/>
                  </a:lnTo>
                  <a:lnTo>
                    <a:pt x="108116" y="118793"/>
                  </a:lnTo>
                  <a:lnTo>
                    <a:pt x="107842" y="119877"/>
                  </a:lnTo>
                  <a:lnTo>
                    <a:pt x="107024" y="120260"/>
                  </a:lnTo>
                  <a:lnTo>
                    <a:pt x="105659" y="119702"/>
                  </a:lnTo>
                  <a:lnTo>
                    <a:pt x="106022" y="118304"/>
                  </a:lnTo>
                  <a:close/>
                  <a:moveTo>
                    <a:pt x="105802" y="110953"/>
                  </a:moveTo>
                  <a:lnTo>
                    <a:pt x="106184" y="111607"/>
                  </a:lnTo>
                  <a:lnTo>
                    <a:pt x="106912" y="112667"/>
                  </a:lnTo>
                  <a:lnTo>
                    <a:pt x="105901" y="114289"/>
                  </a:lnTo>
                  <a:lnTo>
                    <a:pt x="104644" y="115062"/>
                  </a:lnTo>
                  <a:lnTo>
                    <a:pt x="105061" y="113294"/>
                  </a:lnTo>
                  <a:lnTo>
                    <a:pt x="104441" y="112371"/>
                  </a:lnTo>
                  <a:lnTo>
                    <a:pt x="104996" y="111586"/>
                  </a:lnTo>
                  <a:close/>
                  <a:moveTo>
                    <a:pt x="116311" y="110092"/>
                  </a:moveTo>
                  <a:lnTo>
                    <a:pt x="117114" y="110485"/>
                  </a:lnTo>
                  <a:lnTo>
                    <a:pt x="117004" y="113135"/>
                  </a:lnTo>
                  <a:lnTo>
                    <a:pt x="116421" y="113112"/>
                  </a:lnTo>
                  <a:lnTo>
                    <a:pt x="116082" y="112703"/>
                  </a:lnTo>
                  <a:lnTo>
                    <a:pt x="116063" y="111689"/>
                  </a:lnTo>
                  <a:close/>
                  <a:moveTo>
                    <a:pt x="126076" y="110085"/>
                  </a:moveTo>
                  <a:lnTo>
                    <a:pt x="128615" y="111057"/>
                  </a:lnTo>
                  <a:lnTo>
                    <a:pt x="128492" y="111670"/>
                  </a:lnTo>
                  <a:lnTo>
                    <a:pt x="127283" y="112383"/>
                  </a:lnTo>
                  <a:lnTo>
                    <a:pt x="125169" y="112540"/>
                  </a:lnTo>
                  <a:lnTo>
                    <a:pt x="125292" y="110592"/>
                  </a:lnTo>
                  <a:close/>
                  <a:moveTo>
                    <a:pt x="148259" y="105865"/>
                  </a:moveTo>
                  <a:lnTo>
                    <a:pt x="147054" y="107265"/>
                  </a:lnTo>
                  <a:lnTo>
                    <a:pt x="145020" y="108570"/>
                  </a:lnTo>
                  <a:lnTo>
                    <a:pt x="141138" y="109568"/>
                  </a:lnTo>
                  <a:lnTo>
                    <a:pt x="140101" y="109666"/>
                  </a:lnTo>
                  <a:lnTo>
                    <a:pt x="140418" y="108645"/>
                  </a:lnTo>
                  <a:lnTo>
                    <a:pt x="142399" y="106873"/>
                  </a:lnTo>
                  <a:lnTo>
                    <a:pt x="145167" y="106786"/>
                  </a:lnTo>
                  <a:lnTo>
                    <a:pt x="147689" y="105898"/>
                  </a:lnTo>
                  <a:close/>
                  <a:moveTo>
                    <a:pt x="119248" y="105703"/>
                  </a:moveTo>
                  <a:lnTo>
                    <a:pt x="120408" y="106538"/>
                  </a:lnTo>
                  <a:lnTo>
                    <a:pt x="123362" y="106981"/>
                  </a:lnTo>
                  <a:lnTo>
                    <a:pt x="124035" y="107775"/>
                  </a:lnTo>
                  <a:lnTo>
                    <a:pt x="123215" y="109423"/>
                  </a:lnTo>
                  <a:lnTo>
                    <a:pt x="121835" y="109169"/>
                  </a:lnTo>
                  <a:lnTo>
                    <a:pt x="119527" y="107396"/>
                  </a:lnTo>
                  <a:lnTo>
                    <a:pt x="118738" y="106591"/>
                  </a:lnTo>
                  <a:lnTo>
                    <a:pt x="118300" y="105799"/>
                  </a:lnTo>
                  <a:close/>
                  <a:moveTo>
                    <a:pt x="104648" y="105651"/>
                  </a:moveTo>
                  <a:lnTo>
                    <a:pt x="105128" y="106512"/>
                  </a:lnTo>
                  <a:lnTo>
                    <a:pt x="104136" y="108356"/>
                  </a:lnTo>
                  <a:lnTo>
                    <a:pt x="102655" y="109597"/>
                  </a:lnTo>
                  <a:lnTo>
                    <a:pt x="102401" y="107736"/>
                  </a:lnTo>
                  <a:lnTo>
                    <a:pt x="103350" y="105778"/>
                  </a:lnTo>
                  <a:close/>
                  <a:moveTo>
                    <a:pt x="158719" y="102358"/>
                  </a:moveTo>
                  <a:lnTo>
                    <a:pt x="161438" y="103201"/>
                  </a:lnTo>
                  <a:lnTo>
                    <a:pt x="162194" y="103111"/>
                  </a:lnTo>
                  <a:lnTo>
                    <a:pt x="163479" y="103417"/>
                  </a:lnTo>
                  <a:lnTo>
                    <a:pt x="163820" y="104971"/>
                  </a:lnTo>
                  <a:lnTo>
                    <a:pt x="162118" y="105196"/>
                  </a:lnTo>
                  <a:lnTo>
                    <a:pt x="159173" y="106622"/>
                  </a:lnTo>
                  <a:lnTo>
                    <a:pt x="157920" y="106309"/>
                  </a:lnTo>
                  <a:lnTo>
                    <a:pt x="156422" y="105069"/>
                  </a:lnTo>
                  <a:lnTo>
                    <a:pt x="154042" y="104940"/>
                  </a:lnTo>
                  <a:lnTo>
                    <a:pt x="153338" y="104602"/>
                  </a:lnTo>
                  <a:lnTo>
                    <a:pt x="154612" y="103140"/>
                  </a:lnTo>
                  <a:lnTo>
                    <a:pt x="156927" y="102400"/>
                  </a:lnTo>
                  <a:close/>
                  <a:moveTo>
                    <a:pt x="23108" y="99333"/>
                  </a:moveTo>
                  <a:lnTo>
                    <a:pt x="24593" y="101294"/>
                  </a:lnTo>
                  <a:lnTo>
                    <a:pt x="26388" y="101608"/>
                  </a:lnTo>
                  <a:lnTo>
                    <a:pt x="27463" y="102513"/>
                  </a:lnTo>
                  <a:lnTo>
                    <a:pt x="29795" y="105004"/>
                  </a:lnTo>
                  <a:lnTo>
                    <a:pt x="27919" y="104387"/>
                  </a:lnTo>
                  <a:lnTo>
                    <a:pt x="25917" y="106110"/>
                  </a:lnTo>
                  <a:lnTo>
                    <a:pt x="23380" y="104097"/>
                  </a:lnTo>
                  <a:lnTo>
                    <a:pt x="21860" y="102058"/>
                  </a:lnTo>
                  <a:lnTo>
                    <a:pt x="21516" y="101241"/>
                  </a:lnTo>
                  <a:close/>
                  <a:moveTo>
                    <a:pt x="113744" y="97780"/>
                  </a:moveTo>
                  <a:lnTo>
                    <a:pt x="115173" y="99739"/>
                  </a:lnTo>
                  <a:lnTo>
                    <a:pt x="117412" y="99967"/>
                  </a:lnTo>
                  <a:lnTo>
                    <a:pt x="117238" y="101174"/>
                  </a:lnTo>
                  <a:lnTo>
                    <a:pt x="117946" y="102729"/>
                  </a:lnTo>
                  <a:lnTo>
                    <a:pt x="118194" y="103684"/>
                  </a:lnTo>
                  <a:lnTo>
                    <a:pt x="117542" y="105403"/>
                  </a:lnTo>
                  <a:lnTo>
                    <a:pt x="115814" y="103405"/>
                  </a:lnTo>
                  <a:lnTo>
                    <a:pt x="113923" y="102035"/>
                  </a:lnTo>
                  <a:lnTo>
                    <a:pt x="113215" y="100840"/>
                  </a:lnTo>
                  <a:lnTo>
                    <a:pt x="112062" y="100118"/>
                  </a:lnTo>
                  <a:lnTo>
                    <a:pt x="111748" y="98509"/>
                  </a:lnTo>
                  <a:lnTo>
                    <a:pt x="113146" y="97847"/>
                  </a:lnTo>
                  <a:close/>
                  <a:moveTo>
                    <a:pt x="84849" y="97755"/>
                  </a:moveTo>
                  <a:lnTo>
                    <a:pt x="85553" y="97885"/>
                  </a:lnTo>
                  <a:lnTo>
                    <a:pt x="85981" y="98290"/>
                  </a:lnTo>
                  <a:lnTo>
                    <a:pt x="86337" y="99426"/>
                  </a:lnTo>
                  <a:lnTo>
                    <a:pt x="85462" y="100060"/>
                  </a:lnTo>
                  <a:lnTo>
                    <a:pt x="84475" y="100028"/>
                  </a:lnTo>
                  <a:lnTo>
                    <a:pt x="83778" y="99795"/>
                  </a:lnTo>
                  <a:lnTo>
                    <a:pt x="83426" y="99289"/>
                  </a:lnTo>
                  <a:lnTo>
                    <a:pt x="83862" y="99047"/>
                  </a:lnTo>
                  <a:lnTo>
                    <a:pt x="84374" y="98030"/>
                  </a:lnTo>
                  <a:close/>
                  <a:moveTo>
                    <a:pt x="20270" y="85327"/>
                  </a:moveTo>
                  <a:lnTo>
                    <a:pt x="21357" y="87684"/>
                  </a:lnTo>
                  <a:lnTo>
                    <a:pt x="21631" y="90652"/>
                  </a:lnTo>
                  <a:lnTo>
                    <a:pt x="23190" y="91209"/>
                  </a:lnTo>
                  <a:lnTo>
                    <a:pt x="25261" y="93882"/>
                  </a:lnTo>
                  <a:lnTo>
                    <a:pt x="25082" y="95249"/>
                  </a:lnTo>
                  <a:lnTo>
                    <a:pt x="24652" y="95717"/>
                  </a:lnTo>
                  <a:lnTo>
                    <a:pt x="21221" y="94456"/>
                  </a:lnTo>
                  <a:lnTo>
                    <a:pt x="20398" y="95022"/>
                  </a:lnTo>
                  <a:lnTo>
                    <a:pt x="19394" y="94792"/>
                  </a:lnTo>
                  <a:lnTo>
                    <a:pt x="18774" y="93316"/>
                  </a:lnTo>
                  <a:lnTo>
                    <a:pt x="18845" y="92797"/>
                  </a:lnTo>
                  <a:lnTo>
                    <a:pt x="18284" y="91913"/>
                  </a:lnTo>
                  <a:lnTo>
                    <a:pt x="17815" y="91518"/>
                  </a:lnTo>
                  <a:lnTo>
                    <a:pt x="16464" y="92692"/>
                  </a:lnTo>
                  <a:lnTo>
                    <a:pt x="15612" y="92912"/>
                  </a:lnTo>
                  <a:lnTo>
                    <a:pt x="15606" y="91837"/>
                  </a:lnTo>
                  <a:lnTo>
                    <a:pt x="16854" y="88881"/>
                  </a:lnTo>
                  <a:lnTo>
                    <a:pt x="17437" y="88382"/>
                  </a:lnTo>
                  <a:lnTo>
                    <a:pt x="18463" y="89358"/>
                  </a:lnTo>
                  <a:lnTo>
                    <a:pt x="19307" y="88995"/>
                  </a:lnTo>
                  <a:lnTo>
                    <a:pt x="19942" y="87396"/>
                  </a:lnTo>
                  <a:lnTo>
                    <a:pt x="19985" y="85801"/>
                  </a:lnTo>
                  <a:close/>
                  <a:moveTo>
                    <a:pt x="22184" y="85094"/>
                  </a:moveTo>
                  <a:lnTo>
                    <a:pt x="22739" y="85292"/>
                  </a:lnTo>
                  <a:lnTo>
                    <a:pt x="23324" y="85933"/>
                  </a:lnTo>
                  <a:lnTo>
                    <a:pt x="23319" y="86588"/>
                  </a:lnTo>
                  <a:lnTo>
                    <a:pt x="23553" y="87290"/>
                  </a:lnTo>
                  <a:lnTo>
                    <a:pt x="24162" y="88136"/>
                  </a:lnTo>
                  <a:lnTo>
                    <a:pt x="24593" y="89070"/>
                  </a:lnTo>
                  <a:lnTo>
                    <a:pt x="23501" y="89348"/>
                  </a:lnTo>
                  <a:lnTo>
                    <a:pt x="22110" y="86887"/>
                  </a:lnTo>
                  <a:lnTo>
                    <a:pt x="21607" y="85189"/>
                  </a:lnTo>
                  <a:close/>
                  <a:moveTo>
                    <a:pt x="140766" y="82063"/>
                  </a:moveTo>
                  <a:lnTo>
                    <a:pt x="142932" y="83533"/>
                  </a:lnTo>
                  <a:lnTo>
                    <a:pt x="144036" y="83634"/>
                  </a:lnTo>
                  <a:lnTo>
                    <a:pt x="143612" y="85038"/>
                  </a:lnTo>
                  <a:lnTo>
                    <a:pt x="143798" y="85494"/>
                  </a:lnTo>
                  <a:lnTo>
                    <a:pt x="143962" y="89751"/>
                  </a:lnTo>
                  <a:lnTo>
                    <a:pt x="142939" y="90350"/>
                  </a:lnTo>
                  <a:lnTo>
                    <a:pt x="142770" y="91518"/>
                  </a:lnTo>
                  <a:lnTo>
                    <a:pt x="142569" y="91932"/>
                  </a:lnTo>
                  <a:lnTo>
                    <a:pt x="140458" y="93383"/>
                  </a:lnTo>
                  <a:lnTo>
                    <a:pt x="138100" y="91283"/>
                  </a:lnTo>
                  <a:lnTo>
                    <a:pt x="137711" y="90607"/>
                  </a:lnTo>
                  <a:lnTo>
                    <a:pt x="139442" y="89759"/>
                  </a:lnTo>
                  <a:lnTo>
                    <a:pt x="140300" y="88451"/>
                  </a:lnTo>
                  <a:lnTo>
                    <a:pt x="139604" y="86844"/>
                  </a:lnTo>
                  <a:lnTo>
                    <a:pt x="137201" y="84466"/>
                  </a:lnTo>
                  <a:lnTo>
                    <a:pt x="137087" y="82776"/>
                  </a:lnTo>
                  <a:close/>
                  <a:moveTo>
                    <a:pt x="23166" y="75808"/>
                  </a:moveTo>
                  <a:lnTo>
                    <a:pt x="23730" y="76971"/>
                  </a:lnTo>
                  <a:lnTo>
                    <a:pt x="23624" y="81119"/>
                  </a:lnTo>
                  <a:lnTo>
                    <a:pt x="23002" y="81883"/>
                  </a:lnTo>
                  <a:lnTo>
                    <a:pt x="22143" y="82082"/>
                  </a:lnTo>
                  <a:lnTo>
                    <a:pt x="21402" y="81946"/>
                  </a:lnTo>
                  <a:lnTo>
                    <a:pt x="20730" y="82063"/>
                  </a:lnTo>
                  <a:lnTo>
                    <a:pt x="20083" y="82556"/>
                  </a:lnTo>
                  <a:lnTo>
                    <a:pt x="20154" y="80513"/>
                  </a:lnTo>
                  <a:lnTo>
                    <a:pt x="20918" y="77978"/>
                  </a:lnTo>
                  <a:lnTo>
                    <a:pt x="21851" y="76496"/>
                  </a:lnTo>
                  <a:close/>
                  <a:moveTo>
                    <a:pt x="107004" y="72294"/>
                  </a:moveTo>
                  <a:lnTo>
                    <a:pt x="108738" y="73277"/>
                  </a:lnTo>
                  <a:lnTo>
                    <a:pt x="109118" y="74914"/>
                  </a:lnTo>
                  <a:lnTo>
                    <a:pt x="111185" y="76712"/>
                  </a:lnTo>
                  <a:lnTo>
                    <a:pt x="108848" y="77341"/>
                  </a:lnTo>
                  <a:lnTo>
                    <a:pt x="108228" y="77242"/>
                  </a:lnTo>
                  <a:lnTo>
                    <a:pt x="108749" y="76448"/>
                  </a:lnTo>
                  <a:lnTo>
                    <a:pt x="108790" y="76114"/>
                  </a:lnTo>
                  <a:lnTo>
                    <a:pt x="106460" y="74662"/>
                  </a:lnTo>
                  <a:lnTo>
                    <a:pt x="106734" y="72775"/>
                  </a:lnTo>
                  <a:close/>
                  <a:moveTo>
                    <a:pt x="81068" y="70881"/>
                  </a:moveTo>
                  <a:lnTo>
                    <a:pt x="83340" y="72853"/>
                  </a:lnTo>
                  <a:lnTo>
                    <a:pt x="84590" y="75656"/>
                  </a:lnTo>
                  <a:lnTo>
                    <a:pt x="85762" y="76602"/>
                  </a:lnTo>
                  <a:lnTo>
                    <a:pt x="88222" y="77718"/>
                  </a:lnTo>
                  <a:lnTo>
                    <a:pt x="89377" y="77860"/>
                  </a:lnTo>
                  <a:lnTo>
                    <a:pt x="93573" y="79875"/>
                  </a:lnTo>
                  <a:lnTo>
                    <a:pt x="98455" y="80277"/>
                  </a:lnTo>
                  <a:lnTo>
                    <a:pt x="99086" y="80857"/>
                  </a:lnTo>
                  <a:lnTo>
                    <a:pt x="99686" y="82409"/>
                  </a:lnTo>
                  <a:lnTo>
                    <a:pt x="100682" y="83626"/>
                  </a:lnTo>
                  <a:lnTo>
                    <a:pt x="100932" y="84573"/>
                  </a:lnTo>
                  <a:lnTo>
                    <a:pt x="100412" y="85623"/>
                  </a:lnTo>
                  <a:lnTo>
                    <a:pt x="101133" y="88834"/>
                  </a:lnTo>
                  <a:lnTo>
                    <a:pt x="102364" y="91881"/>
                  </a:lnTo>
                  <a:lnTo>
                    <a:pt x="104219" y="93358"/>
                  </a:lnTo>
                  <a:lnTo>
                    <a:pt x="106525" y="93804"/>
                  </a:lnTo>
                  <a:lnTo>
                    <a:pt x="108721" y="93743"/>
                  </a:lnTo>
                  <a:lnTo>
                    <a:pt x="109276" y="94347"/>
                  </a:lnTo>
                  <a:lnTo>
                    <a:pt x="109058" y="97010"/>
                  </a:lnTo>
                  <a:lnTo>
                    <a:pt x="108129" y="98046"/>
                  </a:lnTo>
                  <a:lnTo>
                    <a:pt x="107374" y="98298"/>
                  </a:lnTo>
                  <a:lnTo>
                    <a:pt x="106717" y="98026"/>
                  </a:lnTo>
                  <a:lnTo>
                    <a:pt x="106123" y="97399"/>
                  </a:lnTo>
                  <a:lnTo>
                    <a:pt x="105476" y="97103"/>
                  </a:lnTo>
                  <a:lnTo>
                    <a:pt x="104214" y="97051"/>
                  </a:lnTo>
                  <a:lnTo>
                    <a:pt x="103292" y="95979"/>
                  </a:lnTo>
                  <a:lnTo>
                    <a:pt x="100954" y="94512"/>
                  </a:lnTo>
                  <a:lnTo>
                    <a:pt x="100524" y="93637"/>
                  </a:lnTo>
                  <a:lnTo>
                    <a:pt x="100446" y="92285"/>
                  </a:lnTo>
                  <a:lnTo>
                    <a:pt x="99453" y="91289"/>
                  </a:lnTo>
                  <a:lnTo>
                    <a:pt x="98540" y="89393"/>
                  </a:lnTo>
                  <a:lnTo>
                    <a:pt x="97671" y="88870"/>
                  </a:lnTo>
                  <a:lnTo>
                    <a:pt x="97192" y="87921"/>
                  </a:lnTo>
                  <a:lnTo>
                    <a:pt x="97153" y="87513"/>
                  </a:lnTo>
                  <a:lnTo>
                    <a:pt x="93750" y="87237"/>
                  </a:lnTo>
                  <a:lnTo>
                    <a:pt x="90932" y="87224"/>
                  </a:lnTo>
                  <a:lnTo>
                    <a:pt x="88544" y="86147"/>
                  </a:lnTo>
                  <a:lnTo>
                    <a:pt x="87805" y="83329"/>
                  </a:lnTo>
                  <a:lnTo>
                    <a:pt x="86389" y="82571"/>
                  </a:lnTo>
                  <a:lnTo>
                    <a:pt x="85326" y="81773"/>
                  </a:lnTo>
                  <a:lnTo>
                    <a:pt x="84441" y="80667"/>
                  </a:lnTo>
                  <a:lnTo>
                    <a:pt x="82204" y="78627"/>
                  </a:lnTo>
                  <a:lnTo>
                    <a:pt x="79729" y="76918"/>
                  </a:lnTo>
                  <a:lnTo>
                    <a:pt x="77337" y="75793"/>
                  </a:lnTo>
                  <a:lnTo>
                    <a:pt x="74797" y="75055"/>
                  </a:lnTo>
                  <a:lnTo>
                    <a:pt x="72733" y="75926"/>
                  </a:lnTo>
                  <a:lnTo>
                    <a:pt x="71530" y="75719"/>
                  </a:lnTo>
                  <a:lnTo>
                    <a:pt x="71286" y="75130"/>
                  </a:lnTo>
                  <a:lnTo>
                    <a:pt x="73851" y="73957"/>
                  </a:lnTo>
                  <a:lnTo>
                    <a:pt x="77378" y="71714"/>
                  </a:lnTo>
                  <a:lnTo>
                    <a:pt x="79863" y="70973"/>
                  </a:lnTo>
                  <a:close/>
                  <a:moveTo>
                    <a:pt x="87287" y="66387"/>
                  </a:moveTo>
                  <a:lnTo>
                    <a:pt x="91396" y="68825"/>
                  </a:lnTo>
                  <a:lnTo>
                    <a:pt x="90409" y="69700"/>
                  </a:lnTo>
                  <a:lnTo>
                    <a:pt x="88883" y="69317"/>
                  </a:lnTo>
                  <a:close/>
                  <a:moveTo>
                    <a:pt x="95622" y="64855"/>
                  </a:moveTo>
                  <a:lnTo>
                    <a:pt x="94933" y="66595"/>
                  </a:lnTo>
                  <a:lnTo>
                    <a:pt x="93789" y="67688"/>
                  </a:lnTo>
                  <a:lnTo>
                    <a:pt x="92755" y="67992"/>
                  </a:lnTo>
                  <a:lnTo>
                    <a:pt x="93791" y="65926"/>
                  </a:lnTo>
                  <a:close/>
                  <a:moveTo>
                    <a:pt x="148180" y="61866"/>
                  </a:moveTo>
                  <a:lnTo>
                    <a:pt x="149559" y="63255"/>
                  </a:lnTo>
                  <a:lnTo>
                    <a:pt x="149175" y="64793"/>
                  </a:lnTo>
                  <a:lnTo>
                    <a:pt x="152233" y="67340"/>
                  </a:lnTo>
                  <a:lnTo>
                    <a:pt x="153276" y="68951"/>
                  </a:lnTo>
                  <a:lnTo>
                    <a:pt x="153660" y="70521"/>
                  </a:lnTo>
                  <a:lnTo>
                    <a:pt x="153403" y="70971"/>
                  </a:lnTo>
                  <a:lnTo>
                    <a:pt x="152243" y="70120"/>
                  </a:lnTo>
                  <a:lnTo>
                    <a:pt x="151296" y="69849"/>
                  </a:lnTo>
                  <a:lnTo>
                    <a:pt x="151615" y="70971"/>
                  </a:lnTo>
                  <a:lnTo>
                    <a:pt x="152589" y="71935"/>
                  </a:lnTo>
                  <a:lnTo>
                    <a:pt x="150855" y="72487"/>
                  </a:lnTo>
                  <a:lnTo>
                    <a:pt x="149117" y="72458"/>
                  </a:lnTo>
                  <a:lnTo>
                    <a:pt x="144046" y="71115"/>
                  </a:lnTo>
                  <a:lnTo>
                    <a:pt x="142876" y="69688"/>
                  </a:lnTo>
                  <a:lnTo>
                    <a:pt x="145910" y="67538"/>
                  </a:lnTo>
                  <a:lnTo>
                    <a:pt x="146530" y="66672"/>
                  </a:lnTo>
                  <a:lnTo>
                    <a:pt x="144381" y="66757"/>
                  </a:lnTo>
                  <a:lnTo>
                    <a:pt x="142090" y="69311"/>
                  </a:lnTo>
                  <a:lnTo>
                    <a:pt x="138417" y="68189"/>
                  </a:lnTo>
                  <a:lnTo>
                    <a:pt x="137294" y="67162"/>
                  </a:lnTo>
                  <a:lnTo>
                    <a:pt x="137043" y="66608"/>
                  </a:lnTo>
                  <a:lnTo>
                    <a:pt x="138490" y="64341"/>
                  </a:lnTo>
                  <a:lnTo>
                    <a:pt x="141075" y="64417"/>
                  </a:lnTo>
                  <a:lnTo>
                    <a:pt x="142444" y="63907"/>
                  </a:lnTo>
                  <a:lnTo>
                    <a:pt x="144135" y="63190"/>
                  </a:lnTo>
                  <a:lnTo>
                    <a:pt x="144148" y="62112"/>
                  </a:lnTo>
                  <a:close/>
                  <a:moveTo>
                    <a:pt x="4248" y="50509"/>
                  </a:moveTo>
                  <a:lnTo>
                    <a:pt x="5422" y="51103"/>
                  </a:lnTo>
                  <a:lnTo>
                    <a:pt x="6182" y="51716"/>
                  </a:lnTo>
                  <a:lnTo>
                    <a:pt x="6420" y="52418"/>
                  </a:lnTo>
                  <a:lnTo>
                    <a:pt x="4770" y="53826"/>
                  </a:lnTo>
                  <a:lnTo>
                    <a:pt x="4427" y="54463"/>
                  </a:lnTo>
                  <a:lnTo>
                    <a:pt x="5697" y="55727"/>
                  </a:lnTo>
                  <a:lnTo>
                    <a:pt x="5675" y="56233"/>
                  </a:lnTo>
                  <a:lnTo>
                    <a:pt x="6211" y="58677"/>
                  </a:lnTo>
                  <a:lnTo>
                    <a:pt x="6828" y="59599"/>
                  </a:lnTo>
                  <a:lnTo>
                    <a:pt x="8430" y="60334"/>
                  </a:lnTo>
                  <a:lnTo>
                    <a:pt x="9540" y="60577"/>
                  </a:lnTo>
                  <a:lnTo>
                    <a:pt x="10020" y="62032"/>
                  </a:lnTo>
                  <a:lnTo>
                    <a:pt x="7265" y="61129"/>
                  </a:lnTo>
                  <a:lnTo>
                    <a:pt x="5252" y="59829"/>
                  </a:lnTo>
                  <a:lnTo>
                    <a:pt x="3591" y="56615"/>
                  </a:lnTo>
                  <a:lnTo>
                    <a:pt x="54" y="52953"/>
                  </a:lnTo>
                  <a:lnTo>
                    <a:pt x="0" y="51889"/>
                  </a:lnTo>
                  <a:lnTo>
                    <a:pt x="1345" y="51082"/>
                  </a:lnTo>
                  <a:close/>
                  <a:moveTo>
                    <a:pt x="128309" y="44914"/>
                  </a:moveTo>
                  <a:lnTo>
                    <a:pt x="128056" y="46257"/>
                  </a:lnTo>
                  <a:lnTo>
                    <a:pt x="127220" y="47137"/>
                  </a:lnTo>
                  <a:lnTo>
                    <a:pt x="126605" y="48654"/>
                  </a:lnTo>
                  <a:lnTo>
                    <a:pt x="126272" y="50821"/>
                  </a:lnTo>
                  <a:lnTo>
                    <a:pt x="124983" y="50873"/>
                  </a:lnTo>
                  <a:lnTo>
                    <a:pt x="124202" y="50435"/>
                  </a:lnTo>
                  <a:lnTo>
                    <a:pt x="123945" y="49616"/>
                  </a:lnTo>
                  <a:lnTo>
                    <a:pt x="123893" y="48581"/>
                  </a:lnTo>
                  <a:lnTo>
                    <a:pt x="123327" y="48621"/>
                  </a:lnTo>
                  <a:lnTo>
                    <a:pt x="122871" y="49746"/>
                  </a:lnTo>
                  <a:lnTo>
                    <a:pt x="122472" y="50253"/>
                  </a:lnTo>
                  <a:lnTo>
                    <a:pt x="121174" y="50360"/>
                  </a:lnTo>
                  <a:lnTo>
                    <a:pt x="119753" y="49668"/>
                  </a:lnTo>
                  <a:lnTo>
                    <a:pt x="119820" y="48171"/>
                  </a:lnTo>
                  <a:lnTo>
                    <a:pt x="119535" y="46438"/>
                  </a:lnTo>
                  <a:lnTo>
                    <a:pt x="119660" y="45831"/>
                  </a:lnTo>
                  <a:lnTo>
                    <a:pt x="123556" y="45681"/>
                  </a:lnTo>
                  <a:lnTo>
                    <a:pt x="124696" y="46961"/>
                  </a:lnTo>
                  <a:lnTo>
                    <a:pt x="126074" y="46219"/>
                  </a:lnTo>
                  <a:lnTo>
                    <a:pt x="126639" y="45417"/>
                  </a:lnTo>
                  <a:close/>
                  <a:moveTo>
                    <a:pt x="130950" y="32341"/>
                  </a:moveTo>
                  <a:lnTo>
                    <a:pt x="132183" y="32966"/>
                  </a:lnTo>
                  <a:lnTo>
                    <a:pt x="133066" y="33702"/>
                  </a:lnTo>
                  <a:lnTo>
                    <a:pt x="133541" y="34679"/>
                  </a:lnTo>
                  <a:lnTo>
                    <a:pt x="131040" y="35363"/>
                  </a:lnTo>
                  <a:lnTo>
                    <a:pt x="128285" y="33206"/>
                  </a:lnTo>
                  <a:close/>
                  <a:moveTo>
                    <a:pt x="110049" y="25075"/>
                  </a:moveTo>
                  <a:lnTo>
                    <a:pt x="112167" y="25249"/>
                  </a:lnTo>
                  <a:lnTo>
                    <a:pt x="113372" y="26719"/>
                  </a:lnTo>
                  <a:lnTo>
                    <a:pt x="113653" y="27413"/>
                  </a:lnTo>
                  <a:lnTo>
                    <a:pt x="113262" y="28592"/>
                  </a:lnTo>
                  <a:lnTo>
                    <a:pt x="113385" y="29738"/>
                  </a:lnTo>
                  <a:lnTo>
                    <a:pt x="110548" y="30675"/>
                  </a:lnTo>
                  <a:lnTo>
                    <a:pt x="107665" y="28903"/>
                  </a:lnTo>
                  <a:lnTo>
                    <a:pt x="107691" y="27849"/>
                  </a:lnTo>
                  <a:lnTo>
                    <a:pt x="109213" y="25709"/>
                  </a:lnTo>
                  <a:close/>
                  <a:moveTo>
                    <a:pt x="144925" y="0"/>
                  </a:moveTo>
                  <a:lnTo>
                    <a:pt x="147585" y="721"/>
                  </a:lnTo>
                  <a:lnTo>
                    <a:pt x="149568" y="1256"/>
                  </a:lnTo>
                  <a:lnTo>
                    <a:pt x="150717" y="2129"/>
                  </a:lnTo>
                  <a:lnTo>
                    <a:pt x="151436" y="2926"/>
                  </a:lnTo>
                  <a:lnTo>
                    <a:pt x="152530" y="3614"/>
                  </a:lnTo>
                  <a:lnTo>
                    <a:pt x="153345" y="3772"/>
                  </a:lnTo>
                  <a:lnTo>
                    <a:pt x="153973" y="6128"/>
                  </a:lnTo>
                  <a:lnTo>
                    <a:pt x="154308" y="9045"/>
                  </a:lnTo>
                  <a:lnTo>
                    <a:pt x="153809" y="10301"/>
                  </a:lnTo>
                  <a:lnTo>
                    <a:pt x="152351" y="10592"/>
                  </a:lnTo>
                  <a:lnTo>
                    <a:pt x="147802" y="13345"/>
                  </a:lnTo>
                  <a:lnTo>
                    <a:pt x="147692" y="15861"/>
                  </a:lnTo>
                  <a:lnTo>
                    <a:pt x="147752" y="17079"/>
                  </a:lnTo>
                  <a:lnTo>
                    <a:pt x="147845" y="17940"/>
                  </a:lnTo>
                  <a:lnTo>
                    <a:pt x="148320" y="18665"/>
                  </a:lnTo>
                  <a:lnTo>
                    <a:pt x="148320" y="19710"/>
                  </a:lnTo>
                  <a:lnTo>
                    <a:pt x="147810" y="20829"/>
                  </a:lnTo>
                  <a:lnTo>
                    <a:pt x="145823" y="22703"/>
                  </a:lnTo>
                  <a:lnTo>
                    <a:pt x="144446" y="24193"/>
                  </a:lnTo>
                  <a:lnTo>
                    <a:pt x="142904" y="26211"/>
                  </a:lnTo>
                  <a:lnTo>
                    <a:pt x="142032" y="26457"/>
                  </a:lnTo>
                  <a:lnTo>
                    <a:pt x="141352" y="26812"/>
                  </a:lnTo>
                  <a:lnTo>
                    <a:pt x="140727" y="25699"/>
                  </a:lnTo>
                  <a:lnTo>
                    <a:pt x="137298" y="23731"/>
                  </a:lnTo>
                  <a:lnTo>
                    <a:pt x="129362" y="22583"/>
                  </a:lnTo>
                  <a:lnTo>
                    <a:pt x="125571" y="21129"/>
                  </a:lnTo>
                  <a:lnTo>
                    <a:pt x="123908" y="21399"/>
                  </a:lnTo>
                  <a:lnTo>
                    <a:pt x="120688" y="19771"/>
                  </a:lnTo>
                  <a:lnTo>
                    <a:pt x="118481" y="20486"/>
                  </a:lnTo>
                  <a:lnTo>
                    <a:pt x="113800" y="23378"/>
                  </a:lnTo>
                  <a:lnTo>
                    <a:pt x="111273" y="23064"/>
                  </a:lnTo>
                  <a:lnTo>
                    <a:pt x="108572" y="21326"/>
                  </a:lnTo>
                  <a:lnTo>
                    <a:pt x="106814" y="21006"/>
                  </a:lnTo>
                  <a:lnTo>
                    <a:pt x="104752" y="21927"/>
                  </a:lnTo>
                  <a:lnTo>
                    <a:pt x="101448" y="25253"/>
                  </a:lnTo>
                  <a:lnTo>
                    <a:pt x="98086" y="26882"/>
                  </a:lnTo>
                  <a:lnTo>
                    <a:pt x="95074" y="26245"/>
                  </a:lnTo>
                  <a:lnTo>
                    <a:pt x="91021" y="26259"/>
                  </a:lnTo>
                  <a:lnTo>
                    <a:pt x="90588" y="28117"/>
                  </a:lnTo>
                  <a:lnTo>
                    <a:pt x="91373" y="29402"/>
                  </a:lnTo>
                  <a:lnTo>
                    <a:pt x="93588" y="31593"/>
                  </a:lnTo>
                  <a:lnTo>
                    <a:pt x="92549" y="33239"/>
                  </a:lnTo>
                  <a:lnTo>
                    <a:pt x="93320" y="34888"/>
                  </a:lnTo>
                  <a:lnTo>
                    <a:pt x="94763" y="35223"/>
                  </a:lnTo>
                  <a:lnTo>
                    <a:pt x="96942" y="35130"/>
                  </a:lnTo>
                  <a:lnTo>
                    <a:pt x="100971" y="37263"/>
                  </a:lnTo>
                  <a:lnTo>
                    <a:pt x="102733" y="39510"/>
                  </a:lnTo>
                  <a:lnTo>
                    <a:pt x="103858" y="41968"/>
                  </a:lnTo>
                  <a:lnTo>
                    <a:pt x="101405" y="40206"/>
                  </a:lnTo>
                  <a:lnTo>
                    <a:pt x="99777" y="38511"/>
                  </a:lnTo>
                  <a:lnTo>
                    <a:pt x="97505" y="37896"/>
                  </a:lnTo>
                  <a:lnTo>
                    <a:pt x="94346" y="36452"/>
                  </a:lnTo>
                  <a:lnTo>
                    <a:pt x="92362" y="36211"/>
                  </a:lnTo>
                  <a:lnTo>
                    <a:pt x="90250" y="37212"/>
                  </a:lnTo>
                  <a:lnTo>
                    <a:pt x="90085" y="38348"/>
                  </a:lnTo>
                  <a:lnTo>
                    <a:pt x="92362" y="40468"/>
                  </a:lnTo>
                  <a:lnTo>
                    <a:pt x="94443" y="41772"/>
                  </a:lnTo>
                  <a:lnTo>
                    <a:pt x="95547" y="42833"/>
                  </a:lnTo>
                  <a:lnTo>
                    <a:pt x="96283" y="45180"/>
                  </a:lnTo>
                  <a:lnTo>
                    <a:pt x="95864" y="45977"/>
                  </a:lnTo>
                  <a:lnTo>
                    <a:pt x="95095" y="46719"/>
                  </a:lnTo>
                  <a:lnTo>
                    <a:pt x="92625" y="45241"/>
                  </a:lnTo>
                  <a:lnTo>
                    <a:pt x="88848" y="39980"/>
                  </a:lnTo>
                  <a:lnTo>
                    <a:pt x="83579" y="38931"/>
                  </a:lnTo>
                  <a:lnTo>
                    <a:pt x="82698" y="40029"/>
                  </a:lnTo>
                  <a:lnTo>
                    <a:pt x="83733" y="42811"/>
                  </a:lnTo>
                  <a:lnTo>
                    <a:pt x="84482" y="43894"/>
                  </a:lnTo>
                  <a:lnTo>
                    <a:pt x="89060" y="46894"/>
                  </a:lnTo>
                  <a:lnTo>
                    <a:pt x="88693" y="47530"/>
                  </a:lnTo>
                  <a:lnTo>
                    <a:pt x="88025" y="47801"/>
                  </a:lnTo>
                  <a:lnTo>
                    <a:pt x="82901" y="46087"/>
                  </a:lnTo>
                  <a:lnTo>
                    <a:pt x="81411" y="43476"/>
                  </a:lnTo>
                  <a:lnTo>
                    <a:pt x="81053" y="40173"/>
                  </a:lnTo>
                  <a:lnTo>
                    <a:pt x="76324" y="37877"/>
                  </a:lnTo>
                  <a:lnTo>
                    <a:pt x="71864" y="35377"/>
                  </a:lnTo>
                  <a:lnTo>
                    <a:pt x="70867" y="33002"/>
                  </a:lnTo>
                  <a:lnTo>
                    <a:pt x="71785" y="32121"/>
                  </a:lnTo>
                  <a:lnTo>
                    <a:pt x="72435" y="30375"/>
                  </a:lnTo>
                  <a:lnTo>
                    <a:pt x="69984" y="30697"/>
                  </a:lnTo>
                  <a:lnTo>
                    <a:pt x="68446" y="31801"/>
                  </a:lnTo>
                  <a:lnTo>
                    <a:pt x="65961" y="32872"/>
                  </a:lnTo>
                  <a:lnTo>
                    <a:pt x="65859" y="34625"/>
                  </a:lnTo>
                  <a:lnTo>
                    <a:pt x="66252" y="36248"/>
                  </a:lnTo>
                  <a:lnTo>
                    <a:pt x="65430" y="38606"/>
                  </a:lnTo>
                  <a:lnTo>
                    <a:pt x="64631" y="42709"/>
                  </a:lnTo>
                  <a:lnTo>
                    <a:pt x="65136" y="44859"/>
                  </a:lnTo>
                  <a:lnTo>
                    <a:pt x="70521" y="51017"/>
                  </a:lnTo>
                  <a:lnTo>
                    <a:pt x="72363" y="55482"/>
                  </a:lnTo>
                  <a:lnTo>
                    <a:pt x="73685" y="57173"/>
                  </a:lnTo>
                  <a:lnTo>
                    <a:pt x="76441" y="59037"/>
                  </a:lnTo>
                  <a:lnTo>
                    <a:pt x="79314" y="62503"/>
                  </a:lnTo>
                  <a:lnTo>
                    <a:pt x="80533" y="64308"/>
                  </a:lnTo>
                  <a:lnTo>
                    <a:pt x="81400" y="67259"/>
                  </a:lnTo>
                  <a:lnTo>
                    <a:pt x="78982" y="69084"/>
                  </a:lnTo>
                  <a:lnTo>
                    <a:pt x="77574" y="69160"/>
                  </a:lnTo>
                  <a:lnTo>
                    <a:pt x="76794" y="68350"/>
                  </a:lnTo>
                  <a:lnTo>
                    <a:pt x="77885" y="66339"/>
                  </a:lnTo>
                  <a:lnTo>
                    <a:pt x="77730" y="65113"/>
                  </a:lnTo>
                  <a:lnTo>
                    <a:pt x="73996" y="63214"/>
                  </a:lnTo>
                  <a:lnTo>
                    <a:pt x="72415" y="63854"/>
                  </a:lnTo>
                  <a:lnTo>
                    <a:pt x="70593" y="65091"/>
                  </a:lnTo>
                  <a:lnTo>
                    <a:pt x="71633" y="67387"/>
                  </a:lnTo>
                  <a:lnTo>
                    <a:pt x="72804" y="68899"/>
                  </a:lnTo>
                  <a:lnTo>
                    <a:pt x="73391" y="70984"/>
                  </a:lnTo>
                  <a:lnTo>
                    <a:pt x="75629" y="70803"/>
                  </a:lnTo>
                  <a:lnTo>
                    <a:pt x="72616" y="73135"/>
                  </a:lnTo>
                  <a:lnTo>
                    <a:pt x="69789" y="74326"/>
                  </a:lnTo>
                  <a:lnTo>
                    <a:pt x="67008" y="74395"/>
                  </a:lnTo>
                  <a:lnTo>
                    <a:pt x="65237" y="74611"/>
                  </a:lnTo>
                  <a:lnTo>
                    <a:pt x="64627" y="75207"/>
                  </a:lnTo>
                  <a:lnTo>
                    <a:pt x="66067" y="75641"/>
                  </a:lnTo>
                  <a:lnTo>
                    <a:pt x="67243" y="75680"/>
                  </a:lnTo>
                  <a:lnTo>
                    <a:pt x="69157" y="76939"/>
                  </a:lnTo>
                  <a:lnTo>
                    <a:pt x="74603" y="78449"/>
                  </a:lnTo>
                  <a:lnTo>
                    <a:pt x="77198" y="80355"/>
                  </a:lnTo>
                  <a:lnTo>
                    <a:pt x="79747" y="80529"/>
                  </a:lnTo>
                  <a:lnTo>
                    <a:pt x="82312" y="84025"/>
                  </a:lnTo>
                  <a:lnTo>
                    <a:pt x="86749" y="84955"/>
                  </a:lnTo>
                  <a:lnTo>
                    <a:pt x="89278" y="88478"/>
                  </a:lnTo>
                  <a:lnTo>
                    <a:pt x="92640" y="89171"/>
                  </a:lnTo>
                  <a:lnTo>
                    <a:pt x="95536" y="90469"/>
                  </a:lnTo>
                  <a:lnTo>
                    <a:pt x="96384" y="91707"/>
                  </a:lnTo>
                  <a:lnTo>
                    <a:pt x="96807" y="93941"/>
                  </a:lnTo>
                  <a:lnTo>
                    <a:pt x="96995" y="98672"/>
                  </a:lnTo>
                  <a:lnTo>
                    <a:pt x="97622" y="102191"/>
                  </a:lnTo>
                  <a:lnTo>
                    <a:pt x="97643" y="103303"/>
                  </a:lnTo>
                  <a:lnTo>
                    <a:pt x="97490" y="104963"/>
                  </a:lnTo>
                  <a:lnTo>
                    <a:pt x="96702" y="105778"/>
                  </a:lnTo>
                  <a:lnTo>
                    <a:pt x="95637" y="105803"/>
                  </a:lnTo>
                  <a:lnTo>
                    <a:pt x="93553" y="103219"/>
                  </a:lnTo>
                  <a:lnTo>
                    <a:pt x="90357" y="100497"/>
                  </a:lnTo>
                  <a:lnTo>
                    <a:pt x="86989" y="97256"/>
                  </a:lnTo>
                  <a:lnTo>
                    <a:pt x="86032" y="96687"/>
                  </a:lnTo>
                  <a:lnTo>
                    <a:pt x="85249" y="96633"/>
                  </a:lnTo>
                  <a:lnTo>
                    <a:pt x="83446" y="97730"/>
                  </a:lnTo>
                  <a:lnTo>
                    <a:pt x="78436" y="98577"/>
                  </a:lnTo>
                  <a:lnTo>
                    <a:pt x="76086" y="99761"/>
                  </a:lnTo>
                  <a:lnTo>
                    <a:pt x="75203" y="100022"/>
                  </a:lnTo>
                  <a:lnTo>
                    <a:pt x="74957" y="100643"/>
                  </a:lnTo>
                  <a:lnTo>
                    <a:pt x="76058" y="101290"/>
                  </a:lnTo>
                  <a:lnTo>
                    <a:pt x="77408" y="102770"/>
                  </a:lnTo>
                  <a:lnTo>
                    <a:pt x="77408" y="104793"/>
                  </a:lnTo>
                  <a:lnTo>
                    <a:pt x="78522" y="107248"/>
                  </a:lnTo>
                  <a:lnTo>
                    <a:pt x="79962" y="107882"/>
                  </a:lnTo>
                  <a:lnTo>
                    <a:pt x="81839" y="107828"/>
                  </a:lnTo>
                  <a:lnTo>
                    <a:pt x="82914" y="108281"/>
                  </a:lnTo>
                  <a:lnTo>
                    <a:pt x="83193" y="109258"/>
                  </a:lnTo>
                  <a:lnTo>
                    <a:pt x="84283" y="110398"/>
                  </a:lnTo>
                  <a:lnTo>
                    <a:pt x="85002" y="111242"/>
                  </a:lnTo>
                  <a:lnTo>
                    <a:pt x="84972" y="111846"/>
                  </a:lnTo>
                  <a:lnTo>
                    <a:pt x="79738" y="113451"/>
                  </a:lnTo>
                  <a:lnTo>
                    <a:pt x="78643" y="114184"/>
                  </a:lnTo>
                  <a:lnTo>
                    <a:pt x="77725" y="114559"/>
                  </a:lnTo>
                  <a:lnTo>
                    <a:pt x="76365" y="113796"/>
                  </a:lnTo>
                  <a:lnTo>
                    <a:pt x="76287" y="111836"/>
                  </a:lnTo>
                  <a:lnTo>
                    <a:pt x="74488" y="110784"/>
                  </a:lnTo>
                  <a:lnTo>
                    <a:pt x="72838" y="109883"/>
                  </a:lnTo>
                  <a:lnTo>
                    <a:pt x="70861" y="109496"/>
                  </a:lnTo>
                  <a:lnTo>
                    <a:pt x="69178" y="108146"/>
                  </a:lnTo>
                  <a:lnTo>
                    <a:pt x="68081" y="109243"/>
                  </a:lnTo>
                  <a:lnTo>
                    <a:pt x="68958" y="113042"/>
                  </a:lnTo>
                  <a:lnTo>
                    <a:pt x="70861" y="115656"/>
                  </a:lnTo>
                  <a:lnTo>
                    <a:pt x="74043" y="122656"/>
                  </a:lnTo>
                  <a:lnTo>
                    <a:pt x="75488" y="126783"/>
                  </a:lnTo>
                  <a:lnTo>
                    <a:pt x="75780" y="128778"/>
                  </a:lnTo>
                  <a:lnTo>
                    <a:pt x="75060" y="132087"/>
                  </a:lnTo>
                  <a:lnTo>
                    <a:pt x="76624" y="134544"/>
                  </a:lnTo>
                  <a:lnTo>
                    <a:pt x="77695" y="137065"/>
                  </a:lnTo>
                  <a:lnTo>
                    <a:pt x="76516" y="136970"/>
                  </a:lnTo>
                  <a:lnTo>
                    <a:pt x="75493" y="136081"/>
                  </a:lnTo>
                  <a:lnTo>
                    <a:pt x="73776" y="135032"/>
                  </a:lnTo>
                  <a:lnTo>
                    <a:pt x="70446" y="131007"/>
                  </a:lnTo>
                  <a:lnTo>
                    <a:pt x="69286" y="128493"/>
                  </a:lnTo>
                  <a:lnTo>
                    <a:pt x="67900" y="128296"/>
                  </a:lnTo>
                  <a:lnTo>
                    <a:pt x="65494" y="128657"/>
                  </a:lnTo>
                  <a:lnTo>
                    <a:pt x="62856" y="134024"/>
                  </a:lnTo>
                  <a:lnTo>
                    <a:pt x="62864" y="137095"/>
                  </a:lnTo>
                  <a:lnTo>
                    <a:pt x="61500" y="136364"/>
                  </a:lnTo>
                  <a:lnTo>
                    <a:pt x="60329" y="135407"/>
                  </a:lnTo>
                  <a:lnTo>
                    <a:pt x="60472" y="132045"/>
                  </a:lnTo>
                  <a:lnTo>
                    <a:pt x="60355" y="130632"/>
                  </a:lnTo>
                  <a:lnTo>
                    <a:pt x="57153" y="126045"/>
                  </a:lnTo>
                  <a:lnTo>
                    <a:pt x="55684" y="125530"/>
                  </a:lnTo>
                  <a:lnTo>
                    <a:pt x="55000" y="123978"/>
                  </a:lnTo>
                  <a:lnTo>
                    <a:pt x="53821" y="122324"/>
                  </a:lnTo>
                  <a:lnTo>
                    <a:pt x="52301" y="122641"/>
                  </a:lnTo>
                  <a:lnTo>
                    <a:pt x="51059" y="123312"/>
                  </a:lnTo>
                  <a:lnTo>
                    <a:pt x="50716" y="125811"/>
                  </a:lnTo>
                  <a:lnTo>
                    <a:pt x="50588" y="128050"/>
                  </a:lnTo>
                  <a:lnTo>
                    <a:pt x="49662" y="129734"/>
                  </a:lnTo>
                  <a:lnTo>
                    <a:pt x="46250" y="126536"/>
                  </a:lnTo>
                  <a:lnTo>
                    <a:pt x="42819" y="121001"/>
                  </a:lnTo>
                  <a:lnTo>
                    <a:pt x="42728" y="117960"/>
                  </a:lnTo>
                  <a:lnTo>
                    <a:pt x="45242" y="115185"/>
                  </a:lnTo>
                  <a:lnTo>
                    <a:pt x="44941" y="113198"/>
                  </a:lnTo>
                  <a:lnTo>
                    <a:pt x="42562" y="109272"/>
                  </a:lnTo>
                  <a:lnTo>
                    <a:pt x="39133" y="106744"/>
                  </a:lnTo>
                  <a:lnTo>
                    <a:pt x="37211" y="105993"/>
                  </a:lnTo>
                  <a:lnTo>
                    <a:pt x="36308" y="103303"/>
                  </a:lnTo>
                  <a:lnTo>
                    <a:pt x="34468" y="101912"/>
                  </a:lnTo>
                  <a:lnTo>
                    <a:pt x="32980" y="101264"/>
                  </a:lnTo>
                  <a:lnTo>
                    <a:pt x="32687" y="100305"/>
                  </a:lnTo>
                  <a:lnTo>
                    <a:pt x="33136" y="99595"/>
                  </a:lnTo>
                  <a:lnTo>
                    <a:pt x="36742" y="96823"/>
                  </a:lnTo>
                  <a:lnTo>
                    <a:pt x="38856" y="92481"/>
                  </a:lnTo>
                  <a:lnTo>
                    <a:pt x="39906" y="92274"/>
                  </a:lnTo>
                  <a:lnTo>
                    <a:pt x="42063" y="93304"/>
                  </a:lnTo>
                  <a:lnTo>
                    <a:pt x="44488" y="93035"/>
                  </a:lnTo>
                  <a:lnTo>
                    <a:pt x="46479" y="90489"/>
                  </a:lnTo>
                  <a:lnTo>
                    <a:pt x="48165" y="89103"/>
                  </a:lnTo>
                  <a:lnTo>
                    <a:pt x="51009" y="89282"/>
                  </a:lnTo>
                  <a:lnTo>
                    <a:pt x="57431" y="92685"/>
                  </a:lnTo>
                  <a:lnTo>
                    <a:pt x="64333" y="94623"/>
                  </a:lnTo>
                  <a:lnTo>
                    <a:pt x="67775" y="96324"/>
                  </a:lnTo>
                  <a:lnTo>
                    <a:pt x="69722" y="98009"/>
                  </a:lnTo>
                  <a:lnTo>
                    <a:pt x="70757" y="98358"/>
                  </a:lnTo>
                  <a:lnTo>
                    <a:pt x="72392" y="98596"/>
                  </a:lnTo>
                  <a:lnTo>
                    <a:pt x="72318" y="97336"/>
                  </a:lnTo>
                  <a:lnTo>
                    <a:pt x="71791" y="96221"/>
                  </a:lnTo>
                  <a:lnTo>
                    <a:pt x="73154" y="95614"/>
                  </a:lnTo>
                  <a:lnTo>
                    <a:pt x="76853" y="95646"/>
                  </a:lnTo>
                  <a:lnTo>
                    <a:pt x="77526" y="95055"/>
                  </a:lnTo>
                  <a:lnTo>
                    <a:pt x="78211" y="94098"/>
                  </a:lnTo>
                  <a:lnTo>
                    <a:pt x="77447" y="93010"/>
                  </a:lnTo>
                  <a:lnTo>
                    <a:pt x="76222" y="92487"/>
                  </a:lnTo>
                  <a:lnTo>
                    <a:pt x="74913" y="92342"/>
                  </a:lnTo>
                  <a:lnTo>
                    <a:pt x="74052" y="91997"/>
                  </a:lnTo>
                  <a:lnTo>
                    <a:pt x="72661" y="92345"/>
                  </a:lnTo>
                  <a:lnTo>
                    <a:pt x="70491" y="91504"/>
                  </a:lnTo>
                  <a:lnTo>
                    <a:pt x="69370" y="90810"/>
                  </a:lnTo>
                  <a:lnTo>
                    <a:pt x="68712" y="90096"/>
                  </a:lnTo>
                  <a:lnTo>
                    <a:pt x="64942" y="88672"/>
                  </a:lnTo>
                  <a:lnTo>
                    <a:pt x="61366" y="86264"/>
                  </a:lnTo>
                  <a:lnTo>
                    <a:pt x="60560" y="87627"/>
                  </a:lnTo>
                  <a:lnTo>
                    <a:pt x="59116" y="88366"/>
                  </a:lnTo>
                  <a:lnTo>
                    <a:pt x="57058" y="88468"/>
                  </a:lnTo>
                  <a:lnTo>
                    <a:pt x="51275" y="86935"/>
                  </a:lnTo>
                  <a:lnTo>
                    <a:pt x="47722" y="88105"/>
                  </a:lnTo>
                  <a:lnTo>
                    <a:pt x="45786" y="88412"/>
                  </a:lnTo>
                  <a:lnTo>
                    <a:pt x="44304" y="88438"/>
                  </a:lnTo>
                  <a:lnTo>
                    <a:pt x="42482" y="88963"/>
                  </a:lnTo>
                  <a:lnTo>
                    <a:pt x="40379" y="89277"/>
                  </a:lnTo>
                  <a:lnTo>
                    <a:pt x="38556" y="87054"/>
                  </a:lnTo>
                  <a:lnTo>
                    <a:pt x="37789" y="85331"/>
                  </a:lnTo>
                  <a:lnTo>
                    <a:pt x="37249" y="85009"/>
                  </a:lnTo>
                  <a:lnTo>
                    <a:pt x="37222" y="86628"/>
                  </a:lnTo>
                  <a:lnTo>
                    <a:pt x="36636" y="87926"/>
                  </a:lnTo>
                  <a:lnTo>
                    <a:pt x="33968" y="88655"/>
                  </a:lnTo>
                  <a:lnTo>
                    <a:pt x="32432" y="87650"/>
                  </a:lnTo>
                  <a:lnTo>
                    <a:pt x="31251" y="84598"/>
                  </a:lnTo>
                  <a:lnTo>
                    <a:pt x="29757" y="80715"/>
                  </a:lnTo>
                  <a:lnTo>
                    <a:pt x="27126" y="77576"/>
                  </a:lnTo>
                  <a:lnTo>
                    <a:pt x="24995" y="76755"/>
                  </a:lnTo>
                  <a:lnTo>
                    <a:pt x="24811" y="75029"/>
                  </a:lnTo>
                  <a:lnTo>
                    <a:pt x="25006" y="73647"/>
                  </a:lnTo>
                  <a:lnTo>
                    <a:pt x="27567" y="73306"/>
                  </a:lnTo>
                  <a:lnTo>
                    <a:pt x="31570" y="74751"/>
                  </a:lnTo>
                  <a:lnTo>
                    <a:pt x="32397" y="74464"/>
                  </a:lnTo>
                  <a:lnTo>
                    <a:pt x="33298" y="73797"/>
                  </a:lnTo>
                  <a:lnTo>
                    <a:pt x="33125" y="72322"/>
                  </a:lnTo>
                  <a:lnTo>
                    <a:pt x="32547" y="71008"/>
                  </a:lnTo>
                  <a:lnTo>
                    <a:pt x="31445" y="70949"/>
                  </a:lnTo>
                  <a:lnTo>
                    <a:pt x="30683" y="71105"/>
                  </a:lnTo>
                  <a:lnTo>
                    <a:pt x="28221" y="70833"/>
                  </a:lnTo>
                  <a:lnTo>
                    <a:pt x="25058" y="71563"/>
                  </a:lnTo>
                  <a:lnTo>
                    <a:pt x="23591" y="70875"/>
                  </a:lnTo>
                  <a:lnTo>
                    <a:pt x="23103" y="70039"/>
                  </a:lnTo>
                  <a:lnTo>
                    <a:pt x="20458" y="67963"/>
                  </a:lnTo>
                  <a:lnTo>
                    <a:pt x="18172" y="65177"/>
                  </a:lnTo>
                  <a:lnTo>
                    <a:pt x="14468" y="63316"/>
                  </a:lnTo>
                  <a:lnTo>
                    <a:pt x="12049" y="57641"/>
                  </a:lnTo>
                  <a:lnTo>
                    <a:pt x="10015" y="55161"/>
                  </a:lnTo>
                  <a:lnTo>
                    <a:pt x="7845" y="53389"/>
                  </a:lnTo>
                  <a:lnTo>
                    <a:pt x="8316" y="53356"/>
                  </a:lnTo>
                  <a:lnTo>
                    <a:pt x="9139" y="53657"/>
                  </a:lnTo>
                  <a:lnTo>
                    <a:pt x="10715" y="54632"/>
                  </a:lnTo>
                  <a:lnTo>
                    <a:pt x="12391" y="54842"/>
                  </a:lnTo>
                  <a:lnTo>
                    <a:pt x="13306" y="54196"/>
                  </a:lnTo>
                  <a:lnTo>
                    <a:pt x="13833" y="53603"/>
                  </a:lnTo>
                  <a:lnTo>
                    <a:pt x="14176" y="52630"/>
                  </a:lnTo>
                  <a:lnTo>
                    <a:pt x="14315" y="51495"/>
                  </a:lnTo>
                  <a:lnTo>
                    <a:pt x="14587" y="51119"/>
                  </a:lnTo>
                  <a:lnTo>
                    <a:pt x="15867" y="51247"/>
                  </a:lnTo>
                  <a:lnTo>
                    <a:pt x="16273" y="50964"/>
                  </a:lnTo>
                  <a:lnTo>
                    <a:pt x="16256" y="49944"/>
                  </a:lnTo>
                  <a:lnTo>
                    <a:pt x="15429" y="48672"/>
                  </a:lnTo>
                  <a:lnTo>
                    <a:pt x="14701" y="47105"/>
                  </a:lnTo>
                  <a:lnTo>
                    <a:pt x="14697" y="46358"/>
                  </a:lnTo>
                  <a:lnTo>
                    <a:pt x="15302" y="46055"/>
                  </a:lnTo>
                  <a:lnTo>
                    <a:pt x="16302" y="45374"/>
                  </a:lnTo>
                  <a:lnTo>
                    <a:pt x="16839" y="44532"/>
                  </a:lnTo>
                  <a:lnTo>
                    <a:pt x="17901" y="44112"/>
                  </a:lnTo>
                  <a:lnTo>
                    <a:pt x="19472" y="44035"/>
                  </a:lnTo>
                  <a:lnTo>
                    <a:pt x="21223" y="43666"/>
                  </a:lnTo>
                  <a:lnTo>
                    <a:pt x="22354" y="42760"/>
                  </a:lnTo>
                  <a:lnTo>
                    <a:pt x="22521" y="41862"/>
                  </a:lnTo>
                  <a:lnTo>
                    <a:pt x="23229" y="39391"/>
                  </a:lnTo>
                  <a:lnTo>
                    <a:pt x="23691" y="38181"/>
                  </a:lnTo>
                  <a:lnTo>
                    <a:pt x="24438" y="37076"/>
                  </a:lnTo>
                  <a:lnTo>
                    <a:pt x="24844" y="35586"/>
                  </a:lnTo>
                  <a:lnTo>
                    <a:pt x="25641" y="34184"/>
                  </a:lnTo>
                  <a:lnTo>
                    <a:pt x="27312" y="33596"/>
                  </a:lnTo>
                  <a:lnTo>
                    <a:pt x="28828" y="32903"/>
                  </a:lnTo>
                  <a:lnTo>
                    <a:pt x="29972" y="31096"/>
                  </a:lnTo>
                  <a:lnTo>
                    <a:pt x="30612" y="29547"/>
                  </a:lnTo>
                  <a:lnTo>
                    <a:pt x="30616" y="28599"/>
                  </a:lnTo>
                  <a:lnTo>
                    <a:pt x="29662" y="27047"/>
                  </a:lnTo>
                  <a:lnTo>
                    <a:pt x="28951" y="25538"/>
                  </a:lnTo>
                  <a:lnTo>
                    <a:pt x="29139" y="23578"/>
                  </a:lnTo>
                  <a:lnTo>
                    <a:pt x="32141" y="23414"/>
                  </a:lnTo>
                  <a:lnTo>
                    <a:pt x="33192" y="23231"/>
                  </a:lnTo>
                  <a:lnTo>
                    <a:pt x="37088" y="23125"/>
                  </a:lnTo>
                  <a:lnTo>
                    <a:pt x="38865" y="22073"/>
                  </a:lnTo>
                  <a:lnTo>
                    <a:pt x="40094" y="22167"/>
                  </a:lnTo>
                  <a:lnTo>
                    <a:pt x="42661" y="23078"/>
                  </a:lnTo>
                  <a:lnTo>
                    <a:pt x="43806" y="22358"/>
                  </a:lnTo>
                  <a:lnTo>
                    <a:pt x="47166" y="20936"/>
                  </a:lnTo>
                  <a:lnTo>
                    <a:pt x="50482" y="16805"/>
                  </a:lnTo>
                  <a:lnTo>
                    <a:pt x="51895" y="16185"/>
                  </a:lnTo>
                  <a:lnTo>
                    <a:pt x="55112" y="15934"/>
                  </a:lnTo>
                  <a:lnTo>
                    <a:pt x="56120" y="15456"/>
                  </a:lnTo>
                  <a:lnTo>
                    <a:pt x="57297" y="15547"/>
                  </a:lnTo>
                  <a:lnTo>
                    <a:pt x="60903" y="16385"/>
                  </a:lnTo>
                  <a:lnTo>
                    <a:pt x="62955" y="16513"/>
                  </a:lnTo>
                  <a:lnTo>
                    <a:pt x="65388" y="15942"/>
                  </a:lnTo>
                  <a:lnTo>
                    <a:pt x="68069" y="14932"/>
                  </a:lnTo>
                  <a:lnTo>
                    <a:pt x="68738" y="11394"/>
                  </a:lnTo>
                  <a:lnTo>
                    <a:pt x="69375" y="10886"/>
                  </a:lnTo>
                  <a:lnTo>
                    <a:pt x="71042" y="10744"/>
                  </a:lnTo>
                  <a:lnTo>
                    <a:pt x="72297" y="10773"/>
                  </a:lnTo>
                  <a:lnTo>
                    <a:pt x="74719" y="11054"/>
                  </a:lnTo>
                  <a:lnTo>
                    <a:pt x="77602" y="11148"/>
                  </a:lnTo>
                  <a:lnTo>
                    <a:pt x="79457" y="9488"/>
                  </a:lnTo>
                  <a:lnTo>
                    <a:pt x="82381" y="9364"/>
                  </a:lnTo>
                  <a:lnTo>
                    <a:pt x="83737" y="9124"/>
                  </a:lnTo>
                  <a:lnTo>
                    <a:pt x="86002" y="9459"/>
                  </a:lnTo>
                  <a:lnTo>
                    <a:pt x="88198" y="9440"/>
                  </a:lnTo>
                  <a:lnTo>
                    <a:pt x="91010" y="8748"/>
                  </a:lnTo>
                  <a:lnTo>
                    <a:pt x="93631" y="7613"/>
                  </a:lnTo>
                  <a:lnTo>
                    <a:pt x="95680" y="7710"/>
                  </a:lnTo>
                  <a:lnTo>
                    <a:pt x="96516" y="7505"/>
                  </a:lnTo>
                  <a:lnTo>
                    <a:pt x="96994" y="7266"/>
                  </a:lnTo>
                  <a:lnTo>
                    <a:pt x="97505" y="5729"/>
                  </a:lnTo>
                  <a:lnTo>
                    <a:pt x="101360" y="5635"/>
                  </a:lnTo>
                  <a:lnTo>
                    <a:pt x="102666" y="5788"/>
                  </a:lnTo>
                  <a:lnTo>
                    <a:pt x="104817" y="5828"/>
                  </a:lnTo>
                  <a:lnTo>
                    <a:pt x="107054" y="4990"/>
                  </a:lnTo>
                  <a:lnTo>
                    <a:pt x="107725" y="5061"/>
                  </a:lnTo>
                  <a:lnTo>
                    <a:pt x="108855" y="7311"/>
                  </a:lnTo>
                  <a:lnTo>
                    <a:pt x="109444" y="7963"/>
                  </a:lnTo>
                  <a:lnTo>
                    <a:pt x="110662" y="8564"/>
                  </a:lnTo>
                  <a:lnTo>
                    <a:pt x="113374" y="10250"/>
                  </a:lnTo>
                  <a:lnTo>
                    <a:pt x="113863" y="9806"/>
                  </a:lnTo>
                  <a:lnTo>
                    <a:pt x="114992" y="9243"/>
                  </a:lnTo>
                  <a:lnTo>
                    <a:pt x="118235" y="10015"/>
                  </a:lnTo>
                  <a:lnTo>
                    <a:pt x="121327" y="11314"/>
                  </a:lnTo>
                  <a:lnTo>
                    <a:pt x="123932" y="13219"/>
                  </a:lnTo>
                  <a:lnTo>
                    <a:pt x="126823" y="12670"/>
                  </a:lnTo>
                  <a:lnTo>
                    <a:pt x="130032" y="11735"/>
                  </a:lnTo>
                  <a:lnTo>
                    <a:pt x="132120" y="11463"/>
                  </a:lnTo>
                  <a:lnTo>
                    <a:pt x="134385" y="11333"/>
                  </a:lnTo>
                  <a:lnTo>
                    <a:pt x="135735" y="10927"/>
                  </a:lnTo>
                  <a:lnTo>
                    <a:pt x="138795" y="11416"/>
                  </a:lnTo>
                  <a:lnTo>
                    <a:pt x="141958" y="10393"/>
                  </a:lnTo>
                  <a:lnTo>
                    <a:pt x="143483" y="9467"/>
                  </a:lnTo>
                  <a:lnTo>
                    <a:pt x="143921" y="8170"/>
                  </a:lnTo>
                  <a:lnTo>
                    <a:pt x="143664" y="5881"/>
                  </a:lnTo>
                  <a:lnTo>
                    <a:pt x="142949" y="3589"/>
                  </a:lnTo>
                  <a:lnTo>
                    <a:pt x="142192" y="2743"/>
                  </a:lnTo>
                  <a:lnTo>
                    <a:pt x="141950" y="1868"/>
                  </a:lnTo>
                  <a:lnTo>
                    <a:pt x="142381" y="1050"/>
                  </a:lnTo>
                  <a:lnTo>
                    <a:pt x="142865" y="479"/>
                  </a:lnTo>
                  <a:close/>
                </a:path>
              </a:pathLst>
            </a:custGeom>
            <a:solidFill>
              <a:srgbClr val="A3BA1E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51" name="ee4p_HR_1_82333">
              <a:extLst>
                <a:ext uri="{FF2B5EF4-FFF2-40B4-BE49-F238E27FC236}">
                  <a16:creationId xmlns:a16="http://schemas.microsoft.com/office/drawing/2014/main" id="{49D34FCE-2A7C-C059-62F8-709EBA1E363A}"/>
                </a:ext>
              </a:extLst>
            </p:cNvPr>
            <p:cNvSpPr>
              <a:spLocks noChangeAspect="1"/>
            </p:cNvSpPr>
            <p:nvPr>
              <p:custDataLst>
                <p:tags r:id="rId79"/>
              </p:custDataLst>
            </p:nvPr>
          </p:nvSpPr>
          <p:spPr>
            <a:xfrm>
              <a:off x="6890064" y="3243707"/>
              <a:ext cx="163388" cy="143914"/>
            </a:xfrm>
            <a:custGeom>
              <a:avLst/>
              <a:gdLst>
                <a:gd name="connsiteX0" fmla="*/ 86563 w 130102"/>
                <a:gd name="connsiteY0" fmla="*/ 101746 h 111558"/>
                <a:gd name="connsiteX1" fmla="*/ 90452 w 130102"/>
                <a:gd name="connsiteY1" fmla="*/ 102584 h 111558"/>
                <a:gd name="connsiteX2" fmla="*/ 93469 w 130102"/>
                <a:gd name="connsiteY2" fmla="*/ 104421 h 111558"/>
                <a:gd name="connsiteX3" fmla="*/ 84622 w 130102"/>
                <a:gd name="connsiteY3" fmla="*/ 102014 h 111558"/>
                <a:gd name="connsiteX4" fmla="*/ 85626 w 130102"/>
                <a:gd name="connsiteY4" fmla="*/ 101793 h 111558"/>
                <a:gd name="connsiteX5" fmla="*/ 69288 w 130102"/>
                <a:gd name="connsiteY5" fmla="*/ 96494 h 111558"/>
                <a:gd name="connsiteX6" fmla="*/ 73375 w 130102"/>
                <a:gd name="connsiteY6" fmla="*/ 97242 h 111558"/>
                <a:gd name="connsiteX7" fmla="*/ 76373 w 130102"/>
                <a:gd name="connsiteY7" fmla="*/ 96898 h 111558"/>
                <a:gd name="connsiteX8" fmla="*/ 79083 w 130102"/>
                <a:gd name="connsiteY8" fmla="*/ 97357 h 111558"/>
                <a:gd name="connsiteX9" fmla="*/ 80767 w 130102"/>
                <a:gd name="connsiteY9" fmla="*/ 98207 h 111558"/>
                <a:gd name="connsiteX10" fmla="*/ 81175 w 130102"/>
                <a:gd name="connsiteY10" fmla="*/ 98624 h 111558"/>
                <a:gd name="connsiteX11" fmla="*/ 78988 w 130102"/>
                <a:gd name="connsiteY11" fmla="*/ 98682 h 111558"/>
                <a:gd name="connsiteX12" fmla="*/ 76515 w 130102"/>
                <a:gd name="connsiteY12" fmla="*/ 98337 h 111558"/>
                <a:gd name="connsiteX13" fmla="*/ 73710 w 130102"/>
                <a:gd name="connsiteY13" fmla="*/ 99201 h 111558"/>
                <a:gd name="connsiteX14" fmla="*/ 71238 w 130102"/>
                <a:gd name="connsiteY14" fmla="*/ 98739 h 111558"/>
                <a:gd name="connsiteX15" fmla="*/ 70298 w 130102"/>
                <a:gd name="connsiteY15" fmla="*/ 98178 h 111558"/>
                <a:gd name="connsiteX16" fmla="*/ 69633 w 130102"/>
                <a:gd name="connsiteY16" fmla="*/ 97476 h 111558"/>
                <a:gd name="connsiteX17" fmla="*/ 81872 w 130102"/>
                <a:gd name="connsiteY17" fmla="*/ 95708 h 111558"/>
                <a:gd name="connsiteX18" fmla="*/ 93013 w 130102"/>
                <a:gd name="connsiteY18" fmla="*/ 100400 h 111558"/>
                <a:gd name="connsiteX19" fmla="*/ 91773 w 130102"/>
                <a:gd name="connsiteY19" fmla="*/ 99158 h 111558"/>
                <a:gd name="connsiteX20" fmla="*/ 93380 w 130102"/>
                <a:gd name="connsiteY20" fmla="*/ 98666 h 111558"/>
                <a:gd name="connsiteX21" fmla="*/ 94745 w 130102"/>
                <a:gd name="connsiteY21" fmla="*/ 99020 h 111558"/>
                <a:gd name="connsiteX22" fmla="*/ 95615 w 130102"/>
                <a:gd name="connsiteY22" fmla="*/ 100551 h 111558"/>
                <a:gd name="connsiteX23" fmla="*/ 97330 w 130102"/>
                <a:gd name="connsiteY23" fmla="*/ 101558 h 111558"/>
                <a:gd name="connsiteX24" fmla="*/ 100109 w 130102"/>
                <a:gd name="connsiteY24" fmla="*/ 103327 h 111558"/>
                <a:gd name="connsiteX25" fmla="*/ 101864 w 130102"/>
                <a:gd name="connsiteY25" fmla="*/ 104682 h 111558"/>
                <a:gd name="connsiteX26" fmla="*/ 105846 w 130102"/>
                <a:gd name="connsiteY26" fmla="*/ 107117 h 111558"/>
                <a:gd name="connsiteX27" fmla="*/ 106788 w 130102"/>
                <a:gd name="connsiteY27" fmla="*/ 107457 h 111558"/>
                <a:gd name="connsiteX28" fmla="*/ 108772 w 130102"/>
                <a:gd name="connsiteY28" fmla="*/ 108176 h 111558"/>
                <a:gd name="connsiteX29" fmla="*/ 108811 w 130102"/>
                <a:gd name="connsiteY29" fmla="*/ 109157 h 111558"/>
                <a:gd name="connsiteX30" fmla="*/ 109664 w 130102"/>
                <a:gd name="connsiteY30" fmla="*/ 110273 h 111558"/>
                <a:gd name="connsiteX31" fmla="*/ 110566 w 130102"/>
                <a:gd name="connsiteY31" fmla="*/ 111558 h 111558"/>
                <a:gd name="connsiteX32" fmla="*/ 106488 w 130102"/>
                <a:gd name="connsiteY32" fmla="*/ 109026 h 111558"/>
                <a:gd name="connsiteX33" fmla="*/ 102676 w 130102"/>
                <a:gd name="connsiteY33" fmla="*/ 106192 h 111558"/>
                <a:gd name="connsiteX34" fmla="*/ 95229 w 130102"/>
                <a:gd name="connsiteY34" fmla="*/ 101826 h 111558"/>
                <a:gd name="connsiteX35" fmla="*/ 89946 w 130102"/>
                <a:gd name="connsiteY35" fmla="*/ 100762 h 111558"/>
                <a:gd name="connsiteX36" fmla="*/ 82721 w 130102"/>
                <a:gd name="connsiteY36" fmla="*/ 97247 h 111558"/>
                <a:gd name="connsiteX37" fmla="*/ 78016 w 130102"/>
                <a:gd name="connsiteY37" fmla="*/ 96003 h 111558"/>
                <a:gd name="connsiteX38" fmla="*/ 79808 w 130102"/>
                <a:gd name="connsiteY38" fmla="*/ 95716 h 111558"/>
                <a:gd name="connsiteX39" fmla="*/ 66429 w 130102"/>
                <a:gd name="connsiteY39" fmla="*/ 90251 h 111558"/>
                <a:gd name="connsiteX40" fmla="*/ 69404 w 130102"/>
                <a:gd name="connsiteY40" fmla="*/ 90667 h 111558"/>
                <a:gd name="connsiteX41" fmla="*/ 70318 w 130102"/>
                <a:gd name="connsiteY41" fmla="*/ 91709 h 111558"/>
                <a:gd name="connsiteX42" fmla="*/ 78364 w 130102"/>
                <a:gd name="connsiteY42" fmla="*/ 92543 h 111558"/>
                <a:gd name="connsiteX43" fmla="*/ 81302 w 130102"/>
                <a:gd name="connsiteY43" fmla="*/ 93029 h 111558"/>
                <a:gd name="connsiteX44" fmla="*/ 79756 w 130102"/>
                <a:gd name="connsiteY44" fmla="*/ 93307 h 111558"/>
                <a:gd name="connsiteX45" fmla="*/ 69918 w 130102"/>
                <a:gd name="connsiteY45" fmla="*/ 93100 h 111558"/>
                <a:gd name="connsiteX46" fmla="*/ 67057 w 130102"/>
                <a:gd name="connsiteY46" fmla="*/ 92543 h 111558"/>
                <a:gd name="connsiteX47" fmla="*/ 63874 w 130102"/>
                <a:gd name="connsiteY47" fmla="*/ 91108 h 111558"/>
                <a:gd name="connsiteX48" fmla="*/ 63224 w 130102"/>
                <a:gd name="connsiteY48" fmla="*/ 90667 h 111558"/>
                <a:gd name="connsiteX49" fmla="*/ 64827 w 130102"/>
                <a:gd name="connsiteY49" fmla="*/ 86010 h 111558"/>
                <a:gd name="connsiteX50" fmla="*/ 68202 w 130102"/>
                <a:gd name="connsiteY50" fmla="*/ 86149 h 111558"/>
                <a:gd name="connsiteX51" fmla="*/ 73350 w 130102"/>
                <a:gd name="connsiteY51" fmla="*/ 86984 h 111558"/>
                <a:gd name="connsiteX52" fmla="*/ 74609 w 130102"/>
                <a:gd name="connsiteY52" fmla="*/ 87957 h 111558"/>
                <a:gd name="connsiteX53" fmla="*/ 74218 w 130102"/>
                <a:gd name="connsiteY53" fmla="*/ 88406 h 111558"/>
                <a:gd name="connsiteX54" fmla="*/ 72263 w 130102"/>
                <a:gd name="connsiteY54" fmla="*/ 89139 h 111558"/>
                <a:gd name="connsiteX55" fmla="*/ 68774 w 130102"/>
                <a:gd name="connsiteY55" fmla="*/ 89209 h 111558"/>
                <a:gd name="connsiteX56" fmla="*/ 65742 w 130102"/>
                <a:gd name="connsiteY56" fmla="*/ 88722 h 111558"/>
                <a:gd name="connsiteX57" fmla="*/ 64256 w 130102"/>
                <a:gd name="connsiteY57" fmla="*/ 87887 h 111558"/>
                <a:gd name="connsiteX58" fmla="*/ 64367 w 130102"/>
                <a:gd name="connsiteY58" fmla="*/ 87184 h 111558"/>
                <a:gd name="connsiteX59" fmla="*/ 38758 w 130102"/>
                <a:gd name="connsiteY59" fmla="*/ 69183 h 111558"/>
                <a:gd name="connsiteX60" fmla="*/ 41000 w 130102"/>
                <a:gd name="connsiteY60" fmla="*/ 70181 h 111558"/>
                <a:gd name="connsiteX61" fmla="*/ 42455 w 130102"/>
                <a:gd name="connsiteY61" fmla="*/ 72191 h 111558"/>
                <a:gd name="connsiteX62" fmla="*/ 41063 w 130102"/>
                <a:gd name="connsiteY62" fmla="*/ 71778 h 111558"/>
                <a:gd name="connsiteX63" fmla="*/ 39611 w 130102"/>
                <a:gd name="connsiteY63" fmla="*/ 70534 h 111558"/>
                <a:gd name="connsiteX64" fmla="*/ 34243 w 130102"/>
                <a:gd name="connsiteY64" fmla="*/ 65203 h 111558"/>
                <a:gd name="connsiteX65" fmla="*/ 37897 w 130102"/>
                <a:gd name="connsiteY65" fmla="*/ 67787 h 111558"/>
                <a:gd name="connsiteX66" fmla="*/ 38242 w 130102"/>
                <a:gd name="connsiteY66" fmla="*/ 68741 h 111558"/>
                <a:gd name="connsiteX67" fmla="*/ 35483 w 130102"/>
                <a:gd name="connsiteY67" fmla="*/ 66947 h 111558"/>
                <a:gd name="connsiteX68" fmla="*/ 34437 w 130102"/>
                <a:gd name="connsiteY68" fmla="*/ 65741 h 111558"/>
                <a:gd name="connsiteX69" fmla="*/ 29804 w 130102"/>
                <a:gd name="connsiteY69" fmla="*/ 64924 h 111558"/>
                <a:gd name="connsiteX70" fmla="*/ 31738 w 130102"/>
                <a:gd name="connsiteY70" fmla="*/ 66300 h 111558"/>
                <a:gd name="connsiteX71" fmla="*/ 36962 w 130102"/>
                <a:gd name="connsiteY71" fmla="*/ 71573 h 111558"/>
                <a:gd name="connsiteX72" fmla="*/ 37277 w 130102"/>
                <a:gd name="connsiteY72" fmla="*/ 71969 h 111558"/>
                <a:gd name="connsiteX73" fmla="*/ 37247 w 130102"/>
                <a:gd name="connsiteY73" fmla="*/ 72239 h 111558"/>
                <a:gd name="connsiteX74" fmla="*/ 36100 w 130102"/>
                <a:gd name="connsiteY74" fmla="*/ 71858 h 111558"/>
                <a:gd name="connsiteX75" fmla="*/ 35791 w 130102"/>
                <a:gd name="connsiteY75" fmla="*/ 71981 h 111558"/>
                <a:gd name="connsiteX76" fmla="*/ 30384 w 130102"/>
                <a:gd name="connsiteY76" fmla="*/ 66074 h 111558"/>
                <a:gd name="connsiteX77" fmla="*/ 27080 w 130102"/>
                <a:gd name="connsiteY77" fmla="*/ 50537 h 111558"/>
                <a:gd name="connsiteX78" fmla="*/ 28449 w 130102"/>
                <a:gd name="connsiteY78" fmla="*/ 51863 h 111558"/>
                <a:gd name="connsiteX79" fmla="*/ 29590 w 130102"/>
                <a:gd name="connsiteY79" fmla="*/ 52692 h 111558"/>
                <a:gd name="connsiteX80" fmla="*/ 30533 w 130102"/>
                <a:gd name="connsiteY80" fmla="*/ 52894 h 111558"/>
                <a:gd name="connsiteX81" fmla="*/ 32930 w 130102"/>
                <a:gd name="connsiteY81" fmla="*/ 54978 h 111558"/>
                <a:gd name="connsiteX82" fmla="*/ 35286 w 130102"/>
                <a:gd name="connsiteY82" fmla="*/ 57656 h 111558"/>
                <a:gd name="connsiteX83" fmla="*/ 38093 w 130102"/>
                <a:gd name="connsiteY83" fmla="*/ 59980 h 111558"/>
                <a:gd name="connsiteX84" fmla="*/ 37510 w 130102"/>
                <a:gd name="connsiteY84" fmla="*/ 60052 h 111558"/>
                <a:gd name="connsiteX85" fmla="*/ 36955 w 130102"/>
                <a:gd name="connsiteY85" fmla="*/ 60373 h 111558"/>
                <a:gd name="connsiteX86" fmla="*/ 36383 w 130102"/>
                <a:gd name="connsiteY86" fmla="*/ 61094 h 111558"/>
                <a:gd name="connsiteX87" fmla="*/ 34954 w 130102"/>
                <a:gd name="connsiteY87" fmla="*/ 59765 h 111558"/>
                <a:gd name="connsiteX88" fmla="*/ 33641 w 130102"/>
                <a:gd name="connsiteY88" fmla="*/ 58817 h 111558"/>
                <a:gd name="connsiteX89" fmla="*/ 32701 w 130102"/>
                <a:gd name="connsiteY89" fmla="*/ 57695 h 111558"/>
                <a:gd name="connsiteX90" fmla="*/ 30859 w 130102"/>
                <a:gd name="connsiteY90" fmla="*/ 56295 h 111558"/>
                <a:gd name="connsiteX91" fmla="*/ 30237 w 130102"/>
                <a:gd name="connsiteY91" fmla="*/ 54693 h 111558"/>
                <a:gd name="connsiteX92" fmla="*/ 27491 w 130102"/>
                <a:gd name="connsiteY92" fmla="*/ 51425 h 111558"/>
                <a:gd name="connsiteX93" fmla="*/ 25944 w 130102"/>
                <a:gd name="connsiteY93" fmla="*/ 46425 h 111558"/>
                <a:gd name="connsiteX94" fmla="*/ 27353 w 130102"/>
                <a:gd name="connsiteY94" fmla="*/ 46516 h 111558"/>
                <a:gd name="connsiteX95" fmla="*/ 27564 w 130102"/>
                <a:gd name="connsiteY95" fmla="*/ 47155 h 111558"/>
                <a:gd name="connsiteX96" fmla="*/ 29061 w 130102"/>
                <a:gd name="connsiteY96" fmla="*/ 48859 h 111558"/>
                <a:gd name="connsiteX97" fmla="*/ 29618 w 130102"/>
                <a:gd name="connsiteY97" fmla="*/ 50061 h 111558"/>
                <a:gd name="connsiteX98" fmla="*/ 27536 w 130102"/>
                <a:gd name="connsiteY98" fmla="*/ 48976 h 111558"/>
                <a:gd name="connsiteX99" fmla="*/ 25672 w 130102"/>
                <a:gd name="connsiteY99" fmla="*/ 48561 h 111558"/>
                <a:gd name="connsiteX100" fmla="*/ 25277 w 130102"/>
                <a:gd name="connsiteY100" fmla="*/ 47744 h 111558"/>
                <a:gd name="connsiteX101" fmla="*/ 25545 w 130102"/>
                <a:gd name="connsiteY101" fmla="*/ 47074 h 111558"/>
                <a:gd name="connsiteX102" fmla="*/ 18596 w 130102"/>
                <a:gd name="connsiteY102" fmla="*/ 37698 h 111558"/>
                <a:gd name="connsiteX103" fmla="*/ 18838 w 130102"/>
                <a:gd name="connsiteY103" fmla="*/ 40065 h 111558"/>
                <a:gd name="connsiteX104" fmla="*/ 19382 w 130102"/>
                <a:gd name="connsiteY104" fmla="*/ 41424 h 111558"/>
                <a:gd name="connsiteX105" fmla="*/ 21010 w 130102"/>
                <a:gd name="connsiteY105" fmla="*/ 43092 h 111558"/>
                <a:gd name="connsiteX106" fmla="*/ 20682 w 130102"/>
                <a:gd name="connsiteY106" fmla="*/ 45851 h 111558"/>
                <a:gd name="connsiteX107" fmla="*/ 21015 w 130102"/>
                <a:gd name="connsiteY107" fmla="*/ 49774 h 111558"/>
                <a:gd name="connsiteX108" fmla="*/ 21345 w 130102"/>
                <a:gd name="connsiteY108" fmla="*/ 50646 h 111558"/>
                <a:gd name="connsiteX109" fmla="*/ 21468 w 130102"/>
                <a:gd name="connsiteY109" fmla="*/ 51553 h 111558"/>
                <a:gd name="connsiteX110" fmla="*/ 21297 w 130102"/>
                <a:gd name="connsiteY110" fmla="*/ 52610 h 111558"/>
                <a:gd name="connsiteX111" fmla="*/ 19952 w 130102"/>
                <a:gd name="connsiteY111" fmla="*/ 51274 h 111558"/>
                <a:gd name="connsiteX112" fmla="*/ 19274 w 130102"/>
                <a:gd name="connsiteY112" fmla="*/ 48876 h 111558"/>
                <a:gd name="connsiteX113" fmla="*/ 17583 w 130102"/>
                <a:gd name="connsiteY113" fmla="*/ 44999 h 111558"/>
                <a:gd name="connsiteX114" fmla="*/ 17365 w 130102"/>
                <a:gd name="connsiteY114" fmla="*/ 43906 h 111558"/>
                <a:gd name="connsiteX115" fmla="*/ 18242 w 130102"/>
                <a:gd name="connsiteY115" fmla="*/ 42826 h 111558"/>
                <a:gd name="connsiteX116" fmla="*/ 18195 w 130102"/>
                <a:gd name="connsiteY116" fmla="*/ 41732 h 111558"/>
                <a:gd name="connsiteX117" fmla="*/ 16996 w 130102"/>
                <a:gd name="connsiteY117" fmla="*/ 38322 h 111558"/>
                <a:gd name="connsiteX118" fmla="*/ 18000 w 130102"/>
                <a:gd name="connsiteY118" fmla="*/ 37765 h 111558"/>
                <a:gd name="connsiteX119" fmla="*/ 23304 w 130102"/>
                <a:gd name="connsiteY119" fmla="*/ 36128 h 111558"/>
                <a:gd name="connsiteX120" fmla="*/ 24606 w 130102"/>
                <a:gd name="connsiteY120" fmla="*/ 37408 h 111558"/>
                <a:gd name="connsiteX121" fmla="*/ 26180 w 130102"/>
                <a:gd name="connsiteY121" fmla="*/ 39816 h 111558"/>
                <a:gd name="connsiteX122" fmla="*/ 27020 w 130102"/>
                <a:gd name="connsiteY122" fmla="*/ 40488 h 111558"/>
                <a:gd name="connsiteX123" fmla="*/ 28592 w 130102"/>
                <a:gd name="connsiteY123" fmla="*/ 42905 h 111558"/>
                <a:gd name="connsiteX124" fmla="*/ 25867 w 130102"/>
                <a:gd name="connsiteY124" fmla="*/ 43491 h 111558"/>
                <a:gd name="connsiteX125" fmla="*/ 24569 w 130102"/>
                <a:gd name="connsiteY125" fmla="*/ 42443 h 111558"/>
                <a:gd name="connsiteX126" fmla="*/ 24230 w 130102"/>
                <a:gd name="connsiteY126" fmla="*/ 41583 h 111558"/>
                <a:gd name="connsiteX127" fmla="*/ 21991 w 130102"/>
                <a:gd name="connsiteY127" fmla="*/ 41310 h 111558"/>
                <a:gd name="connsiteX128" fmla="*/ 20635 w 130102"/>
                <a:gd name="connsiteY128" fmla="*/ 40112 h 111558"/>
                <a:gd name="connsiteX129" fmla="*/ 20358 w 130102"/>
                <a:gd name="connsiteY129" fmla="*/ 39581 h 111558"/>
                <a:gd name="connsiteX130" fmla="*/ 22276 w 130102"/>
                <a:gd name="connsiteY130" fmla="*/ 38262 h 111558"/>
                <a:gd name="connsiteX131" fmla="*/ 62002 w 130102"/>
                <a:gd name="connsiteY131" fmla="*/ 0 h 111558"/>
                <a:gd name="connsiteX132" fmla="*/ 64356 w 130102"/>
                <a:gd name="connsiteY132" fmla="*/ 284 h 111558"/>
                <a:gd name="connsiteX133" fmla="*/ 66314 w 130102"/>
                <a:gd name="connsiteY133" fmla="*/ 964 h 111558"/>
                <a:gd name="connsiteX134" fmla="*/ 67502 w 130102"/>
                <a:gd name="connsiteY134" fmla="*/ 1378 h 111558"/>
                <a:gd name="connsiteX135" fmla="*/ 71441 w 130102"/>
                <a:gd name="connsiteY135" fmla="*/ 3281 h 111558"/>
                <a:gd name="connsiteX136" fmla="*/ 74170 w 130102"/>
                <a:gd name="connsiteY136" fmla="*/ 5419 h 111558"/>
                <a:gd name="connsiteX137" fmla="*/ 75684 w 130102"/>
                <a:gd name="connsiteY137" fmla="*/ 7791 h 111558"/>
                <a:gd name="connsiteX138" fmla="*/ 77735 w 130102"/>
                <a:gd name="connsiteY138" fmla="*/ 9628 h 111558"/>
                <a:gd name="connsiteX139" fmla="*/ 80320 w 130102"/>
                <a:gd name="connsiteY139" fmla="*/ 10927 h 111558"/>
                <a:gd name="connsiteX140" fmla="*/ 82367 w 130102"/>
                <a:gd name="connsiteY140" fmla="*/ 12689 h 111558"/>
                <a:gd name="connsiteX141" fmla="*/ 83881 w 130102"/>
                <a:gd name="connsiteY141" fmla="*/ 14912 h 111558"/>
                <a:gd name="connsiteX142" fmla="*/ 85997 w 130102"/>
                <a:gd name="connsiteY142" fmla="*/ 16156 h 111558"/>
                <a:gd name="connsiteX143" fmla="*/ 88714 w 130102"/>
                <a:gd name="connsiteY143" fmla="*/ 16426 h 111558"/>
                <a:gd name="connsiteX144" fmla="*/ 90435 w 130102"/>
                <a:gd name="connsiteY144" fmla="*/ 17186 h 111558"/>
                <a:gd name="connsiteX145" fmla="*/ 91156 w 130102"/>
                <a:gd name="connsiteY145" fmla="*/ 18438 h 111558"/>
                <a:gd name="connsiteX146" fmla="*/ 92633 w 130102"/>
                <a:gd name="connsiteY146" fmla="*/ 19572 h 111558"/>
                <a:gd name="connsiteX147" fmla="*/ 94859 w 130102"/>
                <a:gd name="connsiteY147" fmla="*/ 20586 h 111558"/>
                <a:gd name="connsiteX148" fmla="*/ 98325 w 130102"/>
                <a:gd name="connsiteY148" fmla="*/ 21142 h 111558"/>
                <a:gd name="connsiteX149" fmla="*/ 104961 w 130102"/>
                <a:gd name="connsiteY149" fmla="*/ 21274 h 111558"/>
                <a:gd name="connsiteX150" fmla="*/ 105550 w 130102"/>
                <a:gd name="connsiteY150" fmla="*/ 21302 h 111558"/>
                <a:gd name="connsiteX151" fmla="*/ 107047 w 130102"/>
                <a:gd name="connsiteY151" fmla="*/ 21617 h 111558"/>
                <a:gd name="connsiteX152" fmla="*/ 108794 w 130102"/>
                <a:gd name="connsiteY152" fmla="*/ 21223 h 111558"/>
                <a:gd name="connsiteX153" fmla="*/ 110923 w 130102"/>
                <a:gd name="connsiteY153" fmla="*/ 20429 h 111558"/>
                <a:gd name="connsiteX154" fmla="*/ 111609 w 130102"/>
                <a:gd name="connsiteY154" fmla="*/ 19956 h 111558"/>
                <a:gd name="connsiteX155" fmla="*/ 113851 w 130102"/>
                <a:gd name="connsiteY155" fmla="*/ 17359 h 111558"/>
                <a:gd name="connsiteX156" fmla="*/ 115084 w 130102"/>
                <a:gd name="connsiteY156" fmla="*/ 17583 h 111558"/>
                <a:gd name="connsiteX157" fmla="*/ 117544 w 130102"/>
                <a:gd name="connsiteY157" fmla="*/ 17266 h 111558"/>
                <a:gd name="connsiteX158" fmla="*/ 119031 w 130102"/>
                <a:gd name="connsiteY158" fmla="*/ 16690 h 111558"/>
                <a:gd name="connsiteX159" fmla="*/ 119144 w 130102"/>
                <a:gd name="connsiteY159" fmla="*/ 16690 h 111558"/>
                <a:gd name="connsiteX160" fmla="*/ 119049 w 130102"/>
                <a:gd name="connsiteY160" fmla="*/ 17355 h 111558"/>
                <a:gd name="connsiteX161" fmla="*/ 118882 w 130102"/>
                <a:gd name="connsiteY161" fmla="*/ 18516 h 111558"/>
                <a:gd name="connsiteX162" fmla="*/ 117677 w 130102"/>
                <a:gd name="connsiteY162" fmla="*/ 19338 h 111558"/>
                <a:gd name="connsiteX163" fmla="*/ 118904 w 130102"/>
                <a:gd name="connsiteY163" fmla="*/ 21229 h 111558"/>
                <a:gd name="connsiteX164" fmla="*/ 120070 w 130102"/>
                <a:gd name="connsiteY164" fmla="*/ 24293 h 111558"/>
                <a:gd name="connsiteX165" fmla="*/ 119420 w 130102"/>
                <a:gd name="connsiteY165" fmla="*/ 25806 h 111558"/>
                <a:gd name="connsiteX166" fmla="*/ 120212 w 130102"/>
                <a:gd name="connsiteY166" fmla="*/ 26983 h 111558"/>
                <a:gd name="connsiteX167" fmla="*/ 122454 w 130102"/>
                <a:gd name="connsiteY167" fmla="*/ 27828 h 111558"/>
                <a:gd name="connsiteX168" fmla="*/ 122657 w 130102"/>
                <a:gd name="connsiteY168" fmla="*/ 28165 h 111558"/>
                <a:gd name="connsiteX169" fmla="*/ 121972 w 130102"/>
                <a:gd name="connsiteY169" fmla="*/ 28517 h 111558"/>
                <a:gd name="connsiteX170" fmla="*/ 121405 w 130102"/>
                <a:gd name="connsiteY170" fmla="*/ 29516 h 111558"/>
                <a:gd name="connsiteX171" fmla="*/ 121340 w 130102"/>
                <a:gd name="connsiteY171" fmla="*/ 31336 h 111558"/>
                <a:gd name="connsiteX172" fmla="*/ 123294 w 130102"/>
                <a:gd name="connsiteY172" fmla="*/ 33054 h 111558"/>
                <a:gd name="connsiteX173" fmla="*/ 127269 w 130102"/>
                <a:gd name="connsiteY173" fmla="*/ 34670 h 111558"/>
                <a:gd name="connsiteX174" fmla="*/ 128539 w 130102"/>
                <a:gd name="connsiteY174" fmla="*/ 34941 h 111558"/>
                <a:gd name="connsiteX175" fmla="*/ 129025 w 130102"/>
                <a:gd name="connsiteY175" fmla="*/ 35562 h 111558"/>
                <a:gd name="connsiteX176" fmla="*/ 129690 w 130102"/>
                <a:gd name="connsiteY176" fmla="*/ 35968 h 111558"/>
                <a:gd name="connsiteX177" fmla="*/ 130081 w 130102"/>
                <a:gd name="connsiteY177" fmla="*/ 36464 h 111558"/>
                <a:gd name="connsiteX178" fmla="*/ 130102 w 130102"/>
                <a:gd name="connsiteY178" fmla="*/ 37105 h 111558"/>
                <a:gd name="connsiteX179" fmla="*/ 129818 w 130102"/>
                <a:gd name="connsiteY179" fmla="*/ 37545 h 111558"/>
                <a:gd name="connsiteX180" fmla="*/ 127937 w 130102"/>
                <a:gd name="connsiteY180" fmla="*/ 37702 h 111558"/>
                <a:gd name="connsiteX181" fmla="*/ 125790 w 130102"/>
                <a:gd name="connsiteY181" fmla="*/ 37688 h 111558"/>
                <a:gd name="connsiteX182" fmla="*/ 124264 w 130102"/>
                <a:gd name="connsiteY182" fmla="*/ 36909 h 111558"/>
                <a:gd name="connsiteX183" fmla="*/ 124128 w 130102"/>
                <a:gd name="connsiteY183" fmla="*/ 37477 h 111558"/>
                <a:gd name="connsiteX184" fmla="*/ 124104 w 130102"/>
                <a:gd name="connsiteY184" fmla="*/ 38128 h 111558"/>
                <a:gd name="connsiteX185" fmla="*/ 122627 w 130102"/>
                <a:gd name="connsiteY185" fmla="*/ 38525 h 111558"/>
                <a:gd name="connsiteX186" fmla="*/ 123447 w 130102"/>
                <a:gd name="connsiteY186" fmla="*/ 42995 h 111558"/>
                <a:gd name="connsiteX187" fmla="*/ 123121 w 130102"/>
                <a:gd name="connsiteY187" fmla="*/ 44279 h 111558"/>
                <a:gd name="connsiteX188" fmla="*/ 122575 w 130102"/>
                <a:gd name="connsiteY188" fmla="*/ 44710 h 111558"/>
                <a:gd name="connsiteX189" fmla="*/ 122067 w 130102"/>
                <a:gd name="connsiteY189" fmla="*/ 44531 h 111558"/>
                <a:gd name="connsiteX190" fmla="*/ 121448 w 130102"/>
                <a:gd name="connsiteY190" fmla="*/ 44481 h 111558"/>
                <a:gd name="connsiteX191" fmla="*/ 121137 w 130102"/>
                <a:gd name="connsiteY191" fmla="*/ 44900 h 111558"/>
                <a:gd name="connsiteX192" fmla="*/ 121394 w 130102"/>
                <a:gd name="connsiteY192" fmla="*/ 45851 h 111558"/>
                <a:gd name="connsiteX193" fmla="*/ 119938 w 130102"/>
                <a:gd name="connsiteY193" fmla="*/ 45960 h 111558"/>
                <a:gd name="connsiteX194" fmla="*/ 117619 w 130102"/>
                <a:gd name="connsiteY194" fmla="*/ 45467 h 111558"/>
                <a:gd name="connsiteX195" fmla="*/ 116557 w 130102"/>
                <a:gd name="connsiteY195" fmla="*/ 44603 h 111558"/>
                <a:gd name="connsiteX196" fmla="*/ 116375 w 130102"/>
                <a:gd name="connsiteY196" fmla="*/ 43720 h 111558"/>
                <a:gd name="connsiteX197" fmla="*/ 116358 w 130102"/>
                <a:gd name="connsiteY197" fmla="*/ 42900 h 111558"/>
                <a:gd name="connsiteX198" fmla="*/ 115622 w 130102"/>
                <a:gd name="connsiteY198" fmla="*/ 41553 h 111558"/>
                <a:gd name="connsiteX199" fmla="*/ 113776 w 130102"/>
                <a:gd name="connsiteY199" fmla="*/ 40161 h 111558"/>
                <a:gd name="connsiteX200" fmla="*/ 109921 w 130102"/>
                <a:gd name="connsiteY200" fmla="*/ 39931 h 111558"/>
                <a:gd name="connsiteX201" fmla="*/ 108498 w 130102"/>
                <a:gd name="connsiteY201" fmla="*/ 39489 h 111558"/>
                <a:gd name="connsiteX202" fmla="*/ 107032 w 130102"/>
                <a:gd name="connsiteY202" fmla="*/ 38981 h 111558"/>
                <a:gd name="connsiteX203" fmla="*/ 105425 w 130102"/>
                <a:gd name="connsiteY203" fmla="*/ 38605 h 111558"/>
                <a:gd name="connsiteX204" fmla="*/ 103944 w 130102"/>
                <a:gd name="connsiteY204" fmla="*/ 38643 h 111558"/>
                <a:gd name="connsiteX205" fmla="*/ 102158 w 130102"/>
                <a:gd name="connsiteY205" fmla="*/ 39013 h 111558"/>
                <a:gd name="connsiteX206" fmla="*/ 99042 w 130102"/>
                <a:gd name="connsiteY206" fmla="*/ 38400 h 111558"/>
                <a:gd name="connsiteX207" fmla="*/ 97988 w 130102"/>
                <a:gd name="connsiteY207" fmla="*/ 39218 h 111558"/>
                <a:gd name="connsiteX208" fmla="*/ 96347 w 130102"/>
                <a:gd name="connsiteY208" fmla="*/ 40166 h 111558"/>
                <a:gd name="connsiteX209" fmla="*/ 94984 w 130102"/>
                <a:gd name="connsiteY209" fmla="*/ 40142 h 111558"/>
                <a:gd name="connsiteX210" fmla="*/ 92272 w 130102"/>
                <a:gd name="connsiteY210" fmla="*/ 37945 h 111558"/>
                <a:gd name="connsiteX211" fmla="*/ 91463 w 130102"/>
                <a:gd name="connsiteY211" fmla="*/ 37806 h 111558"/>
                <a:gd name="connsiteX212" fmla="*/ 89091 w 130102"/>
                <a:gd name="connsiteY212" fmla="*/ 38926 h 111558"/>
                <a:gd name="connsiteX213" fmla="*/ 88126 w 130102"/>
                <a:gd name="connsiteY213" fmla="*/ 38986 h 111558"/>
                <a:gd name="connsiteX214" fmla="*/ 87386 w 130102"/>
                <a:gd name="connsiteY214" fmla="*/ 38632 h 111558"/>
                <a:gd name="connsiteX215" fmla="*/ 84179 w 130102"/>
                <a:gd name="connsiteY215" fmla="*/ 37793 h 111558"/>
                <a:gd name="connsiteX216" fmla="*/ 82732 w 130102"/>
                <a:gd name="connsiteY216" fmla="*/ 37612 h 111558"/>
                <a:gd name="connsiteX217" fmla="*/ 81670 w 130102"/>
                <a:gd name="connsiteY217" fmla="*/ 38009 h 111558"/>
                <a:gd name="connsiteX218" fmla="*/ 79785 w 130102"/>
                <a:gd name="connsiteY218" fmla="*/ 37579 h 111558"/>
                <a:gd name="connsiteX219" fmla="*/ 75213 w 130102"/>
                <a:gd name="connsiteY219" fmla="*/ 34708 h 111558"/>
                <a:gd name="connsiteX220" fmla="*/ 72387 w 130102"/>
                <a:gd name="connsiteY220" fmla="*/ 36891 h 111558"/>
                <a:gd name="connsiteX221" fmla="*/ 66634 w 130102"/>
                <a:gd name="connsiteY221" fmla="*/ 36348 h 111558"/>
                <a:gd name="connsiteX222" fmla="*/ 64928 w 130102"/>
                <a:gd name="connsiteY222" fmla="*/ 37846 h 111558"/>
                <a:gd name="connsiteX223" fmla="*/ 62972 w 130102"/>
                <a:gd name="connsiteY223" fmla="*/ 40683 h 111558"/>
                <a:gd name="connsiteX224" fmla="*/ 61387 w 130102"/>
                <a:gd name="connsiteY224" fmla="*/ 42037 h 111558"/>
                <a:gd name="connsiteX225" fmla="*/ 60009 w 130102"/>
                <a:gd name="connsiteY225" fmla="*/ 41551 h 111558"/>
                <a:gd name="connsiteX226" fmla="*/ 58379 w 130102"/>
                <a:gd name="connsiteY226" fmla="*/ 40303 h 111558"/>
                <a:gd name="connsiteX227" fmla="*/ 55526 w 130102"/>
                <a:gd name="connsiteY227" fmla="*/ 37091 h 111558"/>
                <a:gd name="connsiteX228" fmla="*/ 54086 w 130102"/>
                <a:gd name="connsiteY228" fmla="*/ 36511 h 111558"/>
                <a:gd name="connsiteX229" fmla="*/ 52429 w 130102"/>
                <a:gd name="connsiteY229" fmla="*/ 36375 h 111558"/>
                <a:gd name="connsiteX230" fmla="*/ 50983 w 130102"/>
                <a:gd name="connsiteY230" fmla="*/ 36730 h 111558"/>
                <a:gd name="connsiteX231" fmla="*/ 50214 w 130102"/>
                <a:gd name="connsiteY231" fmla="*/ 37382 h 111558"/>
                <a:gd name="connsiteX232" fmla="*/ 49626 w 130102"/>
                <a:gd name="connsiteY232" fmla="*/ 42073 h 111558"/>
                <a:gd name="connsiteX233" fmla="*/ 49106 w 130102"/>
                <a:gd name="connsiteY233" fmla="*/ 46200 h 111558"/>
                <a:gd name="connsiteX234" fmla="*/ 49076 w 130102"/>
                <a:gd name="connsiteY234" fmla="*/ 48671 h 111558"/>
                <a:gd name="connsiteX235" fmla="*/ 52248 w 130102"/>
                <a:gd name="connsiteY235" fmla="*/ 50957 h 111558"/>
                <a:gd name="connsiteX236" fmla="*/ 55984 w 130102"/>
                <a:gd name="connsiteY236" fmla="*/ 54887 h 111558"/>
                <a:gd name="connsiteX237" fmla="*/ 57187 w 130102"/>
                <a:gd name="connsiteY237" fmla="*/ 55338 h 111558"/>
                <a:gd name="connsiteX238" fmla="*/ 57781 w 130102"/>
                <a:gd name="connsiteY238" fmla="*/ 56624 h 111558"/>
                <a:gd name="connsiteX239" fmla="*/ 58655 w 130102"/>
                <a:gd name="connsiteY239" fmla="*/ 59931 h 111558"/>
                <a:gd name="connsiteX240" fmla="*/ 59637 w 130102"/>
                <a:gd name="connsiteY240" fmla="*/ 63645 h 111558"/>
                <a:gd name="connsiteX241" fmla="*/ 61536 w 130102"/>
                <a:gd name="connsiteY241" fmla="*/ 66102 h 111558"/>
                <a:gd name="connsiteX242" fmla="*/ 63248 w 130102"/>
                <a:gd name="connsiteY242" fmla="*/ 67859 h 111558"/>
                <a:gd name="connsiteX243" fmla="*/ 65338 w 130102"/>
                <a:gd name="connsiteY243" fmla="*/ 69403 h 111558"/>
                <a:gd name="connsiteX244" fmla="*/ 67957 w 130102"/>
                <a:gd name="connsiteY244" fmla="*/ 71822 h 111558"/>
                <a:gd name="connsiteX245" fmla="*/ 70106 w 130102"/>
                <a:gd name="connsiteY245" fmla="*/ 74474 h 111558"/>
                <a:gd name="connsiteX246" fmla="*/ 70676 w 130102"/>
                <a:gd name="connsiteY246" fmla="*/ 75452 h 111558"/>
                <a:gd name="connsiteX247" fmla="*/ 74842 w 130102"/>
                <a:gd name="connsiteY247" fmla="*/ 78954 h 111558"/>
                <a:gd name="connsiteX248" fmla="*/ 78882 w 130102"/>
                <a:gd name="connsiteY248" fmla="*/ 82524 h 111558"/>
                <a:gd name="connsiteX249" fmla="*/ 82497 w 130102"/>
                <a:gd name="connsiteY249" fmla="*/ 83772 h 111558"/>
                <a:gd name="connsiteX250" fmla="*/ 83067 w 130102"/>
                <a:gd name="connsiteY250" fmla="*/ 84431 h 111558"/>
                <a:gd name="connsiteX251" fmla="*/ 83099 w 130102"/>
                <a:gd name="connsiteY251" fmla="*/ 87172 h 111558"/>
                <a:gd name="connsiteX252" fmla="*/ 83492 w 130102"/>
                <a:gd name="connsiteY252" fmla="*/ 88200 h 111558"/>
                <a:gd name="connsiteX253" fmla="*/ 85906 w 130102"/>
                <a:gd name="connsiteY253" fmla="*/ 91066 h 111558"/>
                <a:gd name="connsiteX254" fmla="*/ 90828 w 130102"/>
                <a:gd name="connsiteY254" fmla="*/ 95255 h 111558"/>
                <a:gd name="connsiteX255" fmla="*/ 91396 w 130102"/>
                <a:gd name="connsiteY255" fmla="*/ 96225 h 111558"/>
                <a:gd name="connsiteX256" fmla="*/ 91558 w 130102"/>
                <a:gd name="connsiteY256" fmla="*/ 96935 h 111558"/>
                <a:gd name="connsiteX257" fmla="*/ 91240 w 130102"/>
                <a:gd name="connsiteY257" fmla="*/ 97480 h 111558"/>
                <a:gd name="connsiteX258" fmla="*/ 89951 w 130102"/>
                <a:gd name="connsiteY258" fmla="*/ 98053 h 111558"/>
                <a:gd name="connsiteX259" fmla="*/ 88893 w 130102"/>
                <a:gd name="connsiteY259" fmla="*/ 97413 h 111558"/>
                <a:gd name="connsiteX260" fmla="*/ 84306 w 130102"/>
                <a:gd name="connsiteY260" fmla="*/ 93321 h 111558"/>
                <a:gd name="connsiteX261" fmla="*/ 79873 w 130102"/>
                <a:gd name="connsiteY261" fmla="*/ 90738 h 111558"/>
                <a:gd name="connsiteX262" fmla="*/ 74870 w 130102"/>
                <a:gd name="connsiteY262" fmla="*/ 85865 h 111558"/>
                <a:gd name="connsiteX263" fmla="*/ 68173 w 130102"/>
                <a:gd name="connsiteY263" fmla="*/ 83938 h 111558"/>
                <a:gd name="connsiteX264" fmla="*/ 63611 w 130102"/>
                <a:gd name="connsiteY264" fmla="*/ 81802 h 111558"/>
                <a:gd name="connsiteX265" fmla="*/ 60847 w 130102"/>
                <a:gd name="connsiteY265" fmla="*/ 82129 h 111558"/>
                <a:gd name="connsiteX266" fmla="*/ 57798 w 130102"/>
                <a:gd name="connsiteY266" fmla="*/ 82801 h 111558"/>
                <a:gd name="connsiteX267" fmla="*/ 55917 w 130102"/>
                <a:gd name="connsiteY267" fmla="*/ 82822 h 111558"/>
                <a:gd name="connsiteX268" fmla="*/ 54580 w 130102"/>
                <a:gd name="connsiteY268" fmla="*/ 82438 h 111558"/>
                <a:gd name="connsiteX269" fmla="*/ 53630 w 130102"/>
                <a:gd name="connsiteY269" fmla="*/ 81113 h 111558"/>
                <a:gd name="connsiteX270" fmla="*/ 53775 w 130102"/>
                <a:gd name="connsiteY270" fmla="*/ 80088 h 111558"/>
                <a:gd name="connsiteX271" fmla="*/ 53606 w 130102"/>
                <a:gd name="connsiteY271" fmla="*/ 78749 h 111558"/>
                <a:gd name="connsiteX272" fmla="*/ 50933 w 130102"/>
                <a:gd name="connsiteY272" fmla="*/ 76610 h 111558"/>
                <a:gd name="connsiteX273" fmla="*/ 47286 w 130102"/>
                <a:gd name="connsiteY273" fmla="*/ 74575 h 111558"/>
                <a:gd name="connsiteX274" fmla="*/ 43831 w 130102"/>
                <a:gd name="connsiteY274" fmla="*/ 71940 h 111558"/>
                <a:gd name="connsiteX275" fmla="*/ 36897 w 130102"/>
                <a:gd name="connsiteY275" fmla="*/ 64811 h 111558"/>
                <a:gd name="connsiteX276" fmla="*/ 35506 w 130102"/>
                <a:gd name="connsiteY276" fmla="*/ 62516 h 111558"/>
                <a:gd name="connsiteX277" fmla="*/ 36871 w 130102"/>
                <a:gd name="connsiteY277" fmla="*/ 62079 h 111558"/>
                <a:gd name="connsiteX278" fmla="*/ 37903 w 130102"/>
                <a:gd name="connsiteY278" fmla="*/ 62118 h 111558"/>
                <a:gd name="connsiteX279" fmla="*/ 39074 w 130102"/>
                <a:gd name="connsiteY279" fmla="*/ 61647 h 111558"/>
                <a:gd name="connsiteX280" fmla="*/ 40963 w 130102"/>
                <a:gd name="connsiteY280" fmla="*/ 61635 h 111558"/>
                <a:gd name="connsiteX281" fmla="*/ 43202 w 130102"/>
                <a:gd name="connsiteY281" fmla="*/ 62104 h 111558"/>
                <a:gd name="connsiteX282" fmla="*/ 41220 w 130102"/>
                <a:gd name="connsiteY282" fmla="*/ 60576 h 111558"/>
                <a:gd name="connsiteX283" fmla="*/ 38754 w 130102"/>
                <a:gd name="connsiteY283" fmla="*/ 59076 h 111558"/>
                <a:gd name="connsiteX284" fmla="*/ 32375 w 130102"/>
                <a:gd name="connsiteY284" fmla="*/ 53109 h 111558"/>
                <a:gd name="connsiteX285" fmla="*/ 30471 w 130102"/>
                <a:gd name="connsiteY285" fmla="*/ 50286 h 111558"/>
                <a:gd name="connsiteX286" fmla="*/ 30250 w 130102"/>
                <a:gd name="connsiteY286" fmla="*/ 47241 h 111558"/>
                <a:gd name="connsiteX287" fmla="*/ 30721 w 130102"/>
                <a:gd name="connsiteY287" fmla="*/ 43060 h 111558"/>
                <a:gd name="connsiteX288" fmla="*/ 29572 w 130102"/>
                <a:gd name="connsiteY288" fmla="*/ 40063 h 111558"/>
                <a:gd name="connsiteX289" fmla="*/ 24651 w 130102"/>
                <a:gd name="connsiteY289" fmla="*/ 36179 h 111558"/>
                <a:gd name="connsiteX290" fmla="*/ 22848 w 130102"/>
                <a:gd name="connsiteY290" fmla="*/ 34128 h 111558"/>
                <a:gd name="connsiteX291" fmla="*/ 19214 w 130102"/>
                <a:gd name="connsiteY291" fmla="*/ 32910 h 111558"/>
                <a:gd name="connsiteX292" fmla="*/ 17590 w 130102"/>
                <a:gd name="connsiteY292" fmla="*/ 33030 h 111558"/>
                <a:gd name="connsiteX293" fmla="*/ 16614 w 130102"/>
                <a:gd name="connsiteY293" fmla="*/ 34545 h 111558"/>
                <a:gd name="connsiteX294" fmla="*/ 15901 w 130102"/>
                <a:gd name="connsiteY294" fmla="*/ 37910 h 111558"/>
                <a:gd name="connsiteX295" fmla="*/ 12679 w 130102"/>
                <a:gd name="connsiteY295" fmla="*/ 42343 h 111558"/>
                <a:gd name="connsiteX296" fmla="*/ 11604 w 130102"/>
                <a:gd name="connsiteY296" fmla="*/ 44267 h 111558"/>
                <a:gd name="connsiteX297" fmla="*/ 9920 w 130102"/>
                <a:gd name="connsiteY297" fmla="*/ 46766 h 111558"/>
                <a:gd name="connsiteX298" fmla="*/ 8460 w 130102"/>
                <a:gd name="connsiteY298" fmla="*/ 46938 h 111558"/>
                <a:gd name="connsiteX299" fmla="*/ 7596 w 130102"/>
                <a:gd name="connsiteY299" fmla="*/ 46718 h 111558"/>
                <a:gd name="connsiteX300" fmla="*/ 4981 w 130102"/>
                <a:gd name="connsiteY300" fmla="*/ 42510 h 111558"/>
                <a:gd name="connsiteX301" fmla="*/ 2478 w 130102"/>
                <a:gd name="connsiteY301" fmla="*/ 39319 h 111558"/>
                <a:gd name="connsiteX302" fmla="*/ 2129 w 130102"/>
                <a:gd name="connsiteY302" fmla="*/ 37807 h 111558"/>
                <a:gd name="connsiteX303" fmla="*/ 1904 w 130102"/>
                <a:gd name="connsiteY303" fmla="*/ 35946 h 111558"/>
                <a:gd name="connsiteX304" fmla="*/ 0 w 130102"/>
                <a:gd name="connsiteY304" fmla="*/ 29077 h 111558"/>
                <a:gd name="connsiteX305" fmla="*/ 1343 w 130102"/>
                <a:gd name="connsiteY305" fmla="*/ 28113 h 111558"/>
                <a:gd name="connsiteX306" fmla="*/ 2168 w 130102"/>
                <a:gd name="connsiteY306" fmla="*/ 29216 h 111558"/>
                <a:gd name="connsiteX307" fmla="*/ 7994 w 130102"/>
                <a:gd name="connsiteY307" fmla="*/ 30544 h 111558"/>
                <a:gd name="connsiteX308" fmla="*/ 9252 w 130102"/>
                <a:gd name="connsiteY308" fmla="*/ 29955 h 111558"/>
                <a:gd name="connsiteX309" fmla="*/ 10015 w 130102"/>
                <a:gd name="connsiteY309" fmla="*/ 29055 h 111558"/>
                <a:gd name="connsiteX310" fmla="*/ 10019 w 130102"/>
                <a:gd name="connsiteY310" fmla="*/ 28485 h 111558"/>
                <a:gd name="connsiteX311" fmla="*/ 10516 w 130102"/>
                <a:gd name="connsiteY311" fmla="*/ 28318 h 111558"/>
                <a:gd name="connsiteX312" fmla="*/ 12567 w 130102"/>
                <a:gd name="connsiteY312" fmla="*/ 29186 h 111558"/>
                <a:gd name="connsiteX313" fmla="*/ 14241 w 130102"/>
                <a:gd name="connsiteY313" fmla="*/ 28985 h 111558"/>
                <a:gd name="connsiteX314" fmla="*/ 16933 w 130102"/>
                <a:gd name="connsiteY314" fmla="*/ 28945 h 111558"/>
                <a:gd name="connsiteX315" fmla="*/ 18855 w 130102"/>
                <a:gd name="connsiteY315" fmla="*/ 29087 h 111558"/>
                <a:gd name="connsiteX316" fmla="*/ 20125 w 130102"/>
                <a:gd name="connsiteY316" fmla="*/ 28419 h 111558"/>
                <a:gd name="connsiteX317" fmla="*/ 21846 w 130102"/>
                <a:gd name="connsiteY317" fmla="*/ 25960 h 111558"/>
                <a:gd name="connsiteX318" fmla="*/ 22483 w 130102"/>
                <a:gd name="connsiteY318" fmla="*/ 24583 h 111558"/>
                <a:gd name="connsiteX319" fmla="*/ 23254 w 130102"/>
                <a:gd name="connsiteY319" fmla="*/ 24254 h 111558"/>
                <a:gd name="connsiteX320" fmla="*/ 23761 w 130102"/>
                <a:gd name="connsiteY320" fmla="*/ 24418 h 111558"/>
                <a:gd name="connsiteX321" fmla="*/ 24133 w 130102"/>
                <a:gd name="connsiteY321" fmla="*/ 25550 h 111558"/>
                <a:gd name="connsiteX322" fmla="*/ 25038 w 130102"/>
                <a:gd name="connsiteY322" fmla="*/ 26613 h 111558"/>
                <a:gd name="connsiteX323" fmla="*/ 26897 w 130102"/>
                <a:gd name="connsiteY323" fmla="*/ 28344 h 111558"/>
                <a:gd name="connsiteX324" fmla="*/ 28212 w 130102"/>
                <a:gd name="connsiteY324" fmla="*/ 29175 h 111558"/>
                <a:gd name="connsiteX325" fmla="*/ 29406 w 130102"/>
                <a:gd name="connsiteY325" fmla="*/ 29474 h 111558"/>
                <a:gd name="connsiteX326" fmla="*/ 30576 w 130102"/>
                <a:gd name="connsiteY326" fmla="*/ 28778 h 111558"/>
                <a:gd name="connsiteX327" fmla="*/ 31784 w 130102"/>
                <a:gd name="connsiteY327" fmla="*/ 28580 h 111558"/>
                <a:gd name="connsiteX328" fmla="*/ 35230 w 130102"/>
                <a:gd name="connsiteY328" fmla="*/ 29929 h 111558"/>
                <a:gd name="connsiteX329" fmla="*/ 38141 w 130102"/>
                <a:gd name="connsiteY329" fmla="*/ 30186 h 111558"/>
                <a:gd name="connsiteX330" fmla="*/ 40294 w 130102"/>
                <a:gd name="connsiteY330" fmla="*/ 29482 h 111558"/>
                <a:gd name="connsiteX331" fmla="*/ 40011 w 130102"/>
                <a:gd name="connsiteY331" fmla="*/ 28514 h 111558"/>
                <a:gd name="connsiteX332" fmla="*/ 39227 w 130102"/>
                <a:gd name="connsiteY332" fmla="*/ 27435 h 111558"/>
                <a:gd name="connsiteX333" fmla="*/ 39058 w 130102"/>
                <a:gd name="connsiteY333" fmla="*/ 26387 h 111558"/>
                <a:gd name="connsiteX334" fmla="*/ 39203 w 130102"/>
                <a:gd name="connsiteY334" fmla="*/ 25481 h 111558"/>
                <a:gd name="connsiteX335" fmla="*/ 40680 w 130102"/>
                <a:gd name="connsiteY335" fmla="*/ 24577 h 111558"/>
                <a:gd name="connsiteX336" fmla="*/ 40609 w 130102"/>
                <a:gd name="connsiteY336" fmla="*/ 24180 h 111558"/>
                <a:gd name="connsiteX337" fmla="*/ 38823 w 130102"/>
                <a:gd name="connsiteY337" fmla="*/ 22589 h 111558"/>
                <a:gd name="connsiteX338" fmla="*/ 38914 w 130102"/>
                <a:gd name="connsiteY338" fmla="*/ 22179 h 111558"/>
                <a:gd name="connsiteX339" fmla="*/ 42829 w 130102"/>
                <a:gd name="connsiteY339" fmla="*/ 20389 h 111558"/>
                <a:gd name="connsiteX340" fmla="*/ 46603 w 130102"/>
                <a:gd name="connsiteY340" fmla="*/ 19384 h 111558"/>
                <a:gd name="connsiteX341" fmla="*/ 47208 w 130102"/>
                <a:gd name="connsiteY341" fmla="*/ 18609 h 111558"/>
                <a:gd name="connsiteX342" fmla="*/ 47560 w 130102"/>
                <a:gd name="connsiteY342" fmla="*/ 17443 h 111558"/>
                <a:gd name="connsiteX343" fmla="*/ 47726 w 130102"/>
                <a:gd name="connsiteY343" fmla="*/ 15256 h 111558"/>
                <a:gd name="connsiteX344" fmla="*/ 47519 w 130102"/>
                <a:gd name="connsiteY344" fmla="*/ 13466 h 111558"/>
                <a:gd name="connsiteX345" fmla="*/ 45986 w 130102"/>
                <a:gd name="connsiteY345" fmla="*/ 11787 h 111558"/>
                <a:gd name="connsiteX346" fmla="*/ 45891 w 130102"/>
                <a:gd name="connsiteY346" fmla="*/ 10937 h 111558"/>
                <a:gd name="connsiteX347" fmla="*/ 46254 w 130102"/>
                <a:gd name="connsiteY347" fmla="*/ 10054 h 111558"/>
                <a:gd name="connsiteX348" fmla="*/ 46849 w 130102"/>
                <a:gd name="connsiteY348" fmla="*/ 9256 h 111558"/>
                <a:gd name="connsiteX349" fmla="*/ 48359 w 130102"/>
                <a:gd name="connsiteY349" fmla="*/ 8910 h 111558"/>
                <a:gd name="connsiteX350" fmla="*/ 50130 w 130102"/>
                <a:gd name="connsiteY350" fmla="*/ 8336 h 111558"/>
                <a:gd name="connsiteX351" fmla="*/ 51529 w 130102"/>
                <a:gd name="connsiteY351" fmla="*/ 7675 h 111558"/>
                <a:gd name="connsiteX352" fmla="*/ 53425 w 130102"/>
                <a:gd name="connsiteY352" fmla="*/ 7127 h 111558"/>
                <a:gd name="connsiteX353" fmla="*/ 54915 w 130102"/>
                <a:gd name="connsiteY353" fmla="*/ 6359 h 111558"/>
                <a:gd name="connsiteX354" fmla="*/ 56370 w 130102"/>
                <a:gd name="connsiteY354" fmla="*/ 4531 h 111558"/>
                <a:gd name="connsiteX355" fmla="*/ 57253 w 130102"/>
                <a:gd name="connsiteY355" fmla="*/ 4229 h 111558"/>
                <a:gd name="connsiteX356" fmla="*/ 59929 w 130102"/>
                <a:gd name="connsiteY356" fmla="*/ 4489 h 111558"/>
                <a:gd name="connsiteX357" fmla="*/ 60501 w 130102"/>
                <a:gd name="connsiteY357" fmla="*/ 4038 h 111558"/>
                <a:gd name="connsiteX358" fmla="*/ 60134 w 130102"/>
                <a:gd name="connsiteY358" fmla="*/ 1410 h 111558"/>
                <a:gd name="connsiteX359" fmla="*/ 60613 w 130102"/>
                <a:gd name="connsiteY359" fmla="*/ 742 h 111558"/>
                <a:gd name="connsiteX360" fmla="*/ 61559 w 130102"/>
                <a:gd name="connsiteY360" fmla="*/ 368 h 111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</a:cxnLst>
              <a:rect l="l" t="t" r="r" b="b"/>
              <a:pathLst>
                <a:path w="130102" h="111558">
                  <a:moveTo>
                    <a:pt x="86563" y="101746"/>
                  </a:moveTo>
                  <a:lnTo>
                    <a:pt x="90452" y="102584"/>
                  </a:lnTo>
                  <a:lnTo>
                    <a:pt x="93469" y="104421"/>
                  </a:lnTo>
                  <a:lnTo>
                    <a:pt x="84622" y="102014"/>
                  </a:lnTo>
                  <a:lnTo>
                    <a:pt x="85626" y="101793"/>
                  </a:lnTo>
                  <a:close/>
                  <a:moveTo>
                    <a:pt x="69288" y="96494"/>
                  </a:moveTo>
                  <a:lnTo>
                    <a:pt x="73375" y="97242"/>
                  </a:lnTo>
                  <a:lnTo>
                    <a:pt x="76373" y="96898"/>
                  </a:lnTo>
                  <a:lnTo>
                    <a:pt x="79083" y="97357"/>
                  </a:lnTo>
                  <a:lnTo>
                    <a:pt x="80767" y="98207"/>
                  </a:lnTo>
                  <a:lnTo>
                    <a:pt x="81175" y="98624"/>
                  </a:lnTo>
                  <a:lnTo>
                    <a:pt x="78988" y="98682"/>
                  </a:lnTo>
                  <a:lnTo>
                    <a:pt x="76515" y="98337"/>
                  </a:lnTo>
                  <a:lnTo>
                    <a:pt x="73710" y="99201"/>
                  </a:lnTo>
                  <a:lnTo>
                    <a:pt x="71238" y="98739"/>
                  </a:lnTo>
                  <a:lnTo>
                    <a:pt x="70298" y="98178"/>
                  </a:lnTo>
                  <a:lnTo>
                    <a:pt x="69633" y="97476"/>
                  </a:lnTo>
                  <a:close/>
                  <a:moveTo>
                    <a:pt x="81872" y="95708"/>
                  </a:moveTo>
                  <a:lnTo>
                    <a:pt x="93013" y="100400"/>
                  </a:lnTo>
                  <a:lnTo>
                    <a:pt x="91773" y="99158"/>
                  </a:lnTo>
                  <a:lnTo>
                    <a:pt x="93380" y="98666"/>
                  </a:lnTo>
                  <a:lnTo>
                    <a:pt x="94745" y="99020"/>
                  </a:lnTo>
                  <a:lnTo>
                    <a:pt x="95615" y="100551"/>
                  </a:lnTo>
                  <a:lnTo>
                    <a:pt x="97330" y="101558"/>
                  </a:lnTo>
                  <a:lnTo>
                    <a:pt x="100109" y="103327"/>
                  </a:lnTo>
                  <a:lnTo>
                    <a:pt x="101864" y="104682"/>
                  </a:lnTo>
                  <a:lnTo>
                    <a:pt x="105846" y="107117"/>
                  </a:lnTo>
                  <a:lnTo>
                    <a:pt x="106788" y="107457"/>
                  </a:lnTo>
                  <a:lnTo>
                    <a:pt x="108772" y="108176"/>
                  </a:lnTo>
                  <a:lnTo>
                    <a:pt x="108811" y="109157"/>
                  </a:lnTo>
                  <a:lnTo>
                    <a:pt x="109664" y="110273"/>
                  </a:lnTo>
                  <a:lnTo>
                    <a:pt x="110566" y="111558"/>
                  </a:lnTo>
                  <a:lnTo>
                    <a:pt x="106488" y="109026"/>
                  </a:lnTo>
                  <a:lnTo>
                    <a:pt x="102676" y="106192"/>
                  </a:lnTo>
                  <a:lnTo>
                    <a:pt x="95229" y="101826"/>
                  </a:lnTo>
                  <a:lnTo>
                    <a:pt x="89946" y="100762"/>
                  </a:lnTo>
                  <a:lnTo>
                    <a:pt x="82721" y="97247"/>
                  </a:lnTo>
                  <a:lnTo>
                    <a:pt x="78016" y="96003"/>
                  </a:lnTo>
                  <a:lnTo>
                    <a:pt x="79808" y="95716"/>
                  </a:lnTo>
                  <a:close/>
                  <a:moveTo>
                    <a:pt x="66429" y="90251"/>
                  </a:moveTo>
                  <a:lnTo>
                    <a:pt x="69404" y="90667"/>
                  </a:lnTo>
                  <a:lnTo>
                    <a:pt x="70318" y="91709"/>
                  </a:lnTo>
                  <a:lnTo>
                    <a:pt x="78364" y="92543"/>
                  </a:lnTo>
                  <a:lnTo>
                    <a:pt x="81302" y="93029"/>
                  </a:lnTo>
                  <a:lnTo>
                    <a:pt x="79756" y="93307"/>
                  </a:lnTo>
                  <a:lnTo>
                    <a:pt x="69918" y="93100"/>
                  </a:lnTo>
                  <a:lnTo>
                    <a:pt x="67057" y="92543"/>
                  </a:lnTo>
                  <a:lnTo>
                    <a:pt x="63874" y="91108"/>
                  </a:lnTo>
                  <a:lnTo>
                    <a:pt x="63224" y="90667"/>
                  </a:lnTo>
                  <a:close/>
                  <a:moveTo>
                    <a:pt x="64827" y="86010"/>
                  </a:moveTo>
                  <a:lnTo>
                    <a:pt x="68202" y="86149"/>
                  </a:lnTo>
                  <a:lnTo>
                    <a:pt x="73350" y="86984"/>
                  </a:lnTo>
                  <a:lnTo>
                    <a:pt x="74609" y="87957"/>
                  </a:lnTo>
                  <a:lnTo>
                    <a:pt x="74218" y="88406"/>
                  </a:lnTo>
                  <a:lnTo>
                    <a:pt x="72263" y="89139"/>
                  </a:lnTo>
                  <a:lnTo>
                    <a:pt x="68774" y="89209"/>
                  </a:lnTo>
                  <a:lnTo>
                    <a:pt x="65742" y="88722"/>
                  </a:lnTo>
                  <a:lnTo>
                    <a:pt x="64256" y="87887"/>
                  </a:lnTo>
                  <a:lnTo>
                    <a:pt x="64367" y="87184"/>
                  </a:lnTo>
                  <a:close/>
                  <a:moveTo>
                    <a:pt x="38758" y="69183"/>
                  </a:moveTo>
                  <a:lnTo>
                    <a:pt x="41000" y="70181"/>
                  </a:lnTo>
                  <a:lnTo>
                    <a:pt x="42455" y="72191"/>
                  </a:lnTo>
                  <a:lnTo>
                    <a:pt x="41063" y="71778"/>
                  </a:lnTo>
                  <a:lnTo>
                    <a:pt x="39611" y="70534"/>
                  </a:lnTo>
                  <a:close/>
                  <a:moveTo>
                    <a:pt x="34243" y="65203"/>
                  </a:moveTo>
                  <a:lnTo>
                    <a:pt x="37897" y="67787"/>
                  </a:lnTo>
                  <a:lnTo>
                    <a:pt x="38242" y="68741"/>
                  </a:lnTo>
                  <a:lnTo>
                    <a:pt x="35483" y="66947"/>
                  </a:lnTo>
                  <a:lnTo>
                    <a:pt x="34437" y="65741"/>
                  </a:lnTo>
                  <a:close/>
                  <a:moveTo>
                    <a:pt x="29804" y="64924"/>
                  </a:moveTo>
                  <a:lnTo>
                    <a:pt x="31738" y="66300"/>
                  </a:lnTo>
                  <a:lnTo>
                    <a:pt x="36962" y="71573"/>
                  </a:lnTo>
                  <a:lnTo>
                    <a:pt x="37277" y="71969"/>
                  </a:lnTo>
                  <a:lnTo>
                    <a:pt x="37247" y="72239"/>
                  </a:lnTo>
                  <a:lnTo>
                    <a:pt x="36100" y="71858"/>
                  </a:lnTo>
                  <a:lnTo>
                    <a:pt x="35791" y="71981"/>
                  </a:lnTo>
                  <a:lnTo>
                    <a:pt x="30384" y="66074"/>
                  </a:lnTo>
                  <a:close/>
                  <a:moveTo>
                    <a:pt x="27080" y="50537"/>
                  </a:moveTo>
                  <a:lnTo>
                    <a:pt x="28449" y="51863"/>
                  </a:lnTo>
                  <a:lnTo>
                    <a:pt x="29590" y="52692"/>
                  </a:lnTo>
                  <a:lnTo>
                    <a:pt x="30533" y="52894"/>
                  </a:lnTo>
                  <a:lnTo>
                    <a:pt x="32930" y="54978"/>
                  </a:lnTo>
                  <a:lnTo>
                    <a:pt x="35286" y="57656"/>
                  </a:lnTo>
                  <a:lnTo>
                    <a:pt x="38093" y="59980"/>
                  </a:lnTo>
                  <a:lnTo>
                    <a:pt x="37510" y="60052"/>
                  </a:lnTo>
                  <a:lnTo>
                    <a:pt x="36955" y="60373"/>
                  </a:lnTo>
                  <a:lnTo>
                    <a:pt x="36383" y="61094"/>
                  </a:lnTo>
                  <a:lnTo>
                    <a:pt x="34954" y="59765"/>
                  </a:lnTo>
                  <a:lnTo>
                    <a:pt x="33641" y="58817"/>
                  </a:lnTo>
                  <a:lnTo>
                    <a:pt x="32701" y="57695"/>
                  </a:lnTo>
                  <a:lnTo>
                    <a:pt x="30859" y="56295"/>
                  </a:lnTo>
                  <a:lnTo>
                    <a:pt x="30237" y="54693"/>
                  </a:lnTo>
                  <a:lnTo>
                    <a:pt x="27491" y="51425"/>
                  </a:lnTo>
                  <a:close/>
                  <a:moveTo>
                    <a:pt x="25944" y="46425"/>
                  </a:moveTo>
                  <a:lnTo>
                    <a:pt x="27353" y="46516"/>
                  </a:lnTo>
                  <a:lnTo>
                    <a:pt x="27564" y="47155"/>
                  </a:lnTo>
                  <a:lnTo>
                    <a:pt x="29061" y="48859"/>
                  </a:lnTo>
                  <a:lnTo>
                    <a:pt x="29618" y="50061"/>
                  </a:lnTo>
                  <a:lnTo>
                    <a:pt x="27536" y="48976"/>
                  </a:lnTo>
                  <a:lnTo>
                    <a:pt x="25672" y="48561"/>
                  </a:lnTo>
                  <a:lnTo>
                    <a:pt x="25277" y="47744"/>
                  </a:lnTo>
                  <a:lnTo>
                    <a:pt x="25545" y="47074"/>
                  </a:lnTo>
                  <a:close/>
                  <a:moveTo>
                    <a:pt x="18596" y="37698"/>
                  </a:moveTo>
                  <a:lnTo>
                    <a:pt x="18838" y="40065"/>
                  </a:lnTo>
                  <a:lnTo>
                    <a:pt x="19382" y="41424"/>
                  </a:lnTo>
                  <a:lnTo>
                    <a:pt x="21010" y="43092"/>
                  </a:lnTo>
                  <a:lnTo>
                    <a:pt x="20682" y="45851"/>
                  </a:lnTo>
                  <a:lnTo>
                    <a:pt x="21015" y="49774"/>
                  </a:lnTo>
                  <a:lnTo>
                    <a:pt x="21345" y="50646"/>
                  </a:lnTo>
                  <a:lnTo>
                    <a:pt x="21468" y="51553"/>
                  </a:lnTo>
                  <a:lnTo>
                    <a:pt x="21297" y="52610"/>
                  </a:lnTo>
                  <a:lnTo>
                    <a:pt x="19952" y="51274"/>
                  </a:lnTo>
                  <a:lnTo>
                    <a:pt x="19274" y="48876"/>
                  </a:lnTo>
                  <a:lnTo>
                    <a:pt x="17583" y="44999"/>
                  </a:lnTo>
                  <a:lnTo>
                    <a:pt x="17365" y="43906"/>
                  </a:lnTo>
                  <a:lnTo>
                    <a:pt x="18242" y="42826"/>
                  </a:lnTo>
                  <a:lnTo>
                    <a:pt x="18195" y="41732"/>
                  </a:lnTo>
                  <a:lnTo>
                    <a:pt x="16996" y="38322"/>
                  </a:lnTo>
                  <a:lnTo>
                    <a:pt x="18000" y="37765"/>
                  </a:lnTo>
                  <a:close/>
                  <a:moveTo>
                    <a:pt x="23304" y="36128"/>
                  </a:moveTo>
                  <a:lnTo>
                    <a:pt x="24606" y="37408"/>
                  </a:lnTo>
                  <a:lnTo>
                    <a:pt x="26180" y="39816"/>
                  </a:lnTo>
                  <a:lnTo>
                    <a:pt x="27020" y="40488"/>
                  </a:lnTo>
                  <a:lnTo>
                    <a:pt x="28592" y="42905"/>
                  </a:lnTo>
                  <a:lnTo>
                    <a:pt x="25867" y="43491"/>
                  </a:lnTo>
                  <a:lnTo>
                    <a:pt x="24569" y="42443"/>
                  </a:lnTo>
                  <a:lnTo>
                    <a:pt x="24230" y="41583"/>
                  </a:lnTo>
                  <a:lnTo>
                    <a:pt x="21991" y="41310"/>
                  </a:lnTo>
                  <a:lnTo>
                    <a:pt x="20635" y="40112"/>
                  </a:lnTo>
                  <a:lnTo>
                    <a:pt x="20358" y="39581"/>
                  </a:lnTo>
                  <a:lnTo>
                    <a:pt x="22276" y="38262"/>
                  </a:lnTo>
                  <a:close/>
                  <a:moveTo>
                    <a:pt x="62002" y="0"/>
                  </a:moveTo>
                  <a:lnTo>
                    <a:pt x="64356" y="284"/>
                  </a:lnTo>
                  <a:lnTo>
                    <a:pt x="66314" y="964"/>
                  </a:lnTo>
                  <a:lnTo>
                    <a:pt x="67502" y="1378"/>
                  </a:lnTo>
                  <a:lnTo>
                    <a:pt x="71441" y="3281"/>
                  </a:lnTo>
                  <a:lnTo>
                    <a:pt x="74170" y="5419"/>
                  </a:lnTo>
                  <a:lnTo>
                    <a:pt x="75684" y="7791"/>
                  </a:lnTo>
                  <a:lnTo>
                    <a:pt x="77735" y="9628"/>
                  </a:lnTo>
                  <a:lnTo>
                    <a:pt x="80320" y="10927"/>
                  </a:lnTo>
                  <a:lnTo>
                    <a:pt x="82367" y="12689"/>
                  </a:lnTo>
                  <a:lnTo>
                    <a:pt x="83881" y="14912"/>
                  </a:lnTo>
                  <a:lnTo>
                    <a:pt x="85997" y="16156"/>
                  </a:lnTo>
                  <a:lnTo>
                    <a:pt x="88714" y="16426"/>
                  </a:lnTo>
                  <a:lnTo>
                    <a:pt x="90435" y="17186"/>
                  </a:lnTo>
                  <a:lnTo>
                    <a:pt x="91156" y="18438"/>
                  </a:lnTo>
                  <a:lnTo>
                    <a:pt x="92633" y="19572"/>
                  </a:lnTo>
                  <a:lnTo>
                    <a:pt x="94859" y="20586"/>
                  </a:lnTo>
                  <a:lnTo>
                    <a:pt x="98325" y="21142"/>
                  </a:lnTo>
                  <a:lnTo>
                    <a:pt x="104961" y="21274"/>
                  </a:lnTo>
                  <a:lnTo>
                    <a:pt x="105550" y="21302"/>
                  </a:lnTo>
                  <a:lnTo>
                    <a:pt x="107047" y="21617"/>
                  </a:lnTo>
                  <a:lnTo>
                    <a:pt x="108794" y="21223"/>
                  </a:lnTo>
                  <a:lnTo>
                    <a:pt x="110923" y="20429"/>
                  </a:lnTo>
                  <a:lnTo>
                    <a:pt x="111609" y="19956"/>
                  </a:lnTo>
                  <a:lnTo>
                    <a:pt x="113851" y="17359"/>
                  </a:lnTo>
                  <a:lnTo>
                    <a:pt x="115084" y="17583"/>
                  </a:lnTo>
                  <a:lnTo>
                    <a:pt x="117544" y="17266"/>
                  </a:lnTo>
                  <a:lnTo>
                    <a:pt x="119031" y="16690"/>
                  </a:lnTo>
                  <a:lnTo>
                    <a:pt x="119144" y="16690"/>
                  </a:lnTo>
                  <a:lnTo>
                    <a:pt x="119049" y="17355"/>
                  </a:lnTo>
                  <a:lnTo>
                    <a:pt x="118882" y="18516"/>
                  </a:lnTo>
                  <a:lnTo>
                    <a:pt x="117677" y="19338"/>
                  </a:lnTo>
                  <a:lnTo>
                    <a:pt x="118904" y="21229"/>
                  </a:lnTo>
                  <a:lnTo>
                    <a:pt x="120070" y="24293"/>
                  </a:lnTo>
                  <a:lnTo>
                    <a:pt x="119420" y="25806"/>
                  </a:lnTo>
                  <a:lnTo>
                    <a:pt x="120212" y="26983"/>
                  </a:lnTo>
                  <a:lnTo>
                    <a:pt x="122454" y="27828"/>
                  </a:lnTo>
                  <a:lnTo>
                    <a:pt x="122657" y="28165"/>
                  </a:lnTo>
                  <a:lnTo>
                    <a:pt x="121972" y="28517"/>
                  </a:lnTo>
                  <a:lnTo>
                    <a:pt x="121405" y="29516"/>
                  </a:lnTo>
                  <a:lnTo>
                    <a:pt x="121340" y="31336"/>
                  </a:lnTo>
                  <a:lnTo>
                    <a:pt x="123294" y="33054"/>
                  </a:lnTo>
                  <a:lnTo>
                    <a:pt x="127269" y="34670"/>
                  </a:lnTo>
                  <a:lnTo>
                    <a:pt x="128539" y="34941"/>
                  </a:lnTo>
                  <a:lnTo>
                    <a:pt x="129025" y="35562"/>
                  </a:lnTo>
                  <a:lnTo>
                    <a:pt x="129690" y="35968"/>
                  </a:lnTo>
                  <a:lnTo>
                    <a:pt x="130081" y="36464"/>
                  </a:lnTo>
                  <a:lnTo>
                    <a:pt x="130102" y="37105"/>
                  </a:lnTo>
                  <a:lnTo>
                    <a:pt x="129818" y="37545"/>
                  </a:lnTo>
                  <a:lnTo>
                    <a:pt x="127937" y="37702"/>
                  </a:lnTo>
                  <a:lnTo>
                    <a:pt x="125790" y="37688"/>
                  </a:lnTo>
                  <a:lnTo>
                    <a:pt x="124264" y="36909"/>
                  </a:lnTo>
                  <a:lnTo>
                    <a:pt x="124128" y="37477"/>
                  </a:lnTo>
                  <a:lnTo>
                    <a:pt x="124104" y="38128"/>
                  </a:lnTo>
                  <a:lnTo>
                    <a:pt x="122627" y="38525"/>
                  </a:lnTo>
                  <a:lnTo>
                    <a:pt x="123447" y="42995"/>
                  </a:lnTo>
                  <a:lnTo>
                    <a:pt x="123121" y="44279"/>
                  </a:lnTo>
                  <a:lnTo>
                    <a:pt x="122575" y="44710"/>
                  </a:lnTo>
                  <a:lnTo>
                    <a:pt x="122067" y="44531"/>
                  </a:lnTo>
                  <a:lnTo>
                    <a:pt x="121448" y="44481"/>
                  </a:lnTo>
                  <a:lnTo>
                    <a:pt x="121137" y="44900"/>
                  </a:lnTo>
                  <a:lnTo>
                    <a:pt x="121394" y="45851"/>
                  </a:lnTo>
                  <a:lnTo>
                    <a:pt x="119938" y="45960"/>
                  </a:lnTo>
                  <a:lnTo>
                    <a:pt x="117619" y="45467"/>
                  </a:lnTo>
                  <a:lnTo>
                    <a:pt x="116557" y="44603"/>
                  </a:lnTo>
                  <a:lnTo>
                    <a:pt x="116375" y="43720"/>
                  </a:lnTo>
                  <a:lnTo>
                    <a:pt x="116358" y="42900"/>
                  </a:lnTo>
                  <a:lnTo>
                    <a:pt x="115622" y="41553"/>
                  </a:lnTo>
                  <a:lnTo>
                    <a:pt x="113776" y="40161"/>
                  </a:lnTo>
                  <a:lnTo>
                    <a:pt x="109921" y="39931"/>
                  </a:lnTo>
                  <a:lnTo>
                    <a:pt x="108498" y="39489"/>
                  </a:lnTo>
                  <a:lnTo>
                    <a:pt x="107032" y="38981"/>
                  </a:lnTo>
                  <a:lnTo>
                    <a:pt x="105425" y="38605"/>
                  </a:lnTo>
                  <a:lnTo>
                    <a:pt x="103944" y="38643"/>
                  </a:lnTo>
                  <a:lnTo>
                    <a:pt x="102158" y="39013"/>
                  </a:lnTo>
                  <a:lnTo>
                    <a:pt x="99042" y="38400"/>
                  </a:lnTo>
                  <a:lnTo>
                    <a:pt x="97988" y="39218"/>
                  </a:lnTo>
                  <a:lnTo>
                    <a:pt x="96347" y="40166"/>
                  </a:lnTo>
                  <a:lnTo>
                    <a:pt x="94984" y="40142"/>
                  </a:lnTo>
                  <a:lnTo>
                    <a:pt x="92272" y="37945"/>
                  </a:lnTo>
                  <a:lnTo>
                    <a:pt x="91463" y="37806"/>
                  </a:lnTo>
                  <a:lnTo>
                    <a:pt x="89091" y="38926"/>
                  </a:lnTo>
                  <a:lnTo>
                    <a:pt x="88126" y="38986"/>
                  </a:lnTo>
                  <a:lnTo>
                    <a:pt x="87386" y="38632"/>
                  </a:lnTo>
                  <a:lnTo>
                    <a:pt x="84179" y="37793"/>
                  </a:lnTo>
                  <a:lnTo>
                    <a:pt x="82732" y="37612"/>
                  </a:lnTo>
                  <a:lnTo>
                    <a:pt x="81670" y="38009"/>
                  </a:lnTo>
                  <a:lnTo>
                    <a:pt x="79785" y="37579"/>
                  </a:lnTo>
                  <a:lnTo>
                    <a:pt x="75213" y="34708"/>
                  </a:lnTo>
                  <a:lnTo>
                    <a:pt x="72387" y="36891"/>
                  </a:lnTo>
                  <a:lnTo>
                    <a:pt x="66634" y="36348"/>
                  </a:lnTo>
                  <a:lnTo>
                    <a:pt x="64928" y="37846"/>
                  </a:lnTo>
                  <a:lnTo>
                    <a:pt x="62972" y="40683"/>
                  </a:lnTo>
                  <a:lnTo>
                    <a:pt x="61387" y="42037"/>
                  </a:lnTo>
                  <a:lnTo>
                    <a:pt x="60009" y="41551"/>
                  </a:lnTo>
                  <a:lnTo>
                    <a:pt x="58379" y="40303"/>
                  </a:lnTo>
                  <a:lnTo>
                    <a:pt x="55526" y="37091"/>
                  </a:lnTo>
                  <a:lnTo>
                    <a:pt x="54086" y="36511"/>
                  </a:lnTo>
                  <a:lnTo>
                    <a:pt x="52429" y="36375"/>
                  </a:lnTo>
                  <a:lnTo>
                    <a:pt x="50983" y="36730"/>
                  </a:lnTo>
                  <a:lnTo>
                    <a:pt x="50214" y="37382"/>
                  </a:lnTo>
                  <a:lnTo>
                    <a:pt x="49626" y="42073"/>
                  </a:lnTo>
                  <a:lnTo>
                    <a:pt x="49106" y="46200"/>
                  </a:lnTo>
                  <a:lnTo>
                    <a:pt x="49076" y="48671"/>
                  </a:lnTo>
                  <a:lnTo>
                    <a:pt x="52248" y="50957"/>
                  </a:lnTo>
                  <a:lnTo>
                    <a:pt x="55984" y="54887"/>
                  </a:lnTo>
                  <a:lnTo>
                    <a:pt x="57187" y="55338"/>
                  </a:lnTo>
                  <a:lnTo>
                    <a:pt x="57781" y="56624"/>
                  </a:lnTo>
                  <a:lnTo>
                    <a:pt x="58655" y="59931"/>
                  </a:lnTo>
                  <a:lnTo>
                    <a:pt x="59637" y="63645"/>
                  </a:lnTo>
                  <a:lnTo>
                    <a:pt x="61536" y="66102"/>
                  </a:lnTo>
                  <a:lnTo>
                    <a:pt x="63248" y="67859"/>
                  </a:lnTo>
                  <a:lnTo>
                    <a:pt x="65338" y="69403"/>
                  </a:lnTo>
                  <a:lnTo>
                    <a:pt x="67957" y="71822"/>
                  </a:lnTo>
                  <a:lnTo>
                    <a:pt x="70106" y="74474"/>
                  </a:lnTo>
                  <a:lnTo>
                    <a:pt x="70676" y="75452"/>
                  </a:lnTo>
                  <a:lnTo>
                    <a:pt x="74842" y="78954"/>
                  </a:lnTo>
                  <a:lnTo>
                    <a:pt x="78882" y="82524"/>
                  </a:lnTo>
                  <a:lnTo>
                    <a:pt x="82497" y="83772"/>
                  </a:lnTo>
                  <a:lnTo>
                    <a:pt x="83067" y="84431"/>
                  </a:lnTo>
                  <a:lnTo>
                    <a:pt x="83099" y="87172"/>
                  </a:lnTo>
                  <a:lnTo>
                    <a:pt x="83492" y="88200"/>
                  </a:lnTo>
                  <a:lnTo>
                    <a:pt x="85906" y="91066"/>
                  </a:lnTo>
                  <a:lnTo>
                    <a:pt x="90828" y="95255"/>
                  </a:lnTo>
                  <a:lnTo>
                    <a:pt x="91396" y="96225"/>
                  </a:lnTo>
                  <a:lnTo>
                    <a:pt x="91558" y="96935"/>
                  </a:lnTo>
                  <a:lnTo>
                    <a:pt x="91240" y="97480"/>
                  </a:lnTo>
                  <a:lnTo>
                    <a:pt x="89951" y="98053"/>
                  </a:lnTo>
                  <a:lnTo>
                    <a:pt x="88893" y="97413"/>
                  </a:lnTo>
                  <a:lnTo>
                    <a:pt x="84306" y="93321"/>
                  </a:lnTo>
                  <a:lnTo>
                    <a:pt x="79873" y="90738"/>
                  </a:lnTo>
                  <a:lnTo>
                    <a:pt x="74870" y="85865"/>
                  </a:lnTo>
                  <a:lnTo>
                    <a:pt x="68173" y="83938"/>
                  </a:lnTo>
                  <a:lnTo>
                    <a:pt x="63611" y="81802"/>
                  </a:lnTo>
                  <a:lnTo>
                    <a:pt x="60847" y="82129"/>
                  </a:lnTo>
                  <a:lnTo>
                    <a:pt x="57798" y="82801"/>
                  </a:lnTo>
                  <a:lnTo>
                    <a:pt x="55917" y="82822"/>
                  </a:lnTo>
                  <a:lnTo>
                    <a:pt x="54580" y="82438"/>
                  </a:lnTo>
                  <a:lnTo>
                    <a:pt x="53630" y="81113"/>
                  </a:lnTo>
                  <a:lnTo>
                    <a:pt x="53775" y="80088"/>
                  </a:lnTo>
                  <a:lnTo>
                    <a:pt x="53606" y="78749"/>
                  </a:lnTo>
                  <a:lnTo>
                    <a:pt x="50933" y="76610"/>
                  </a:lnTo>
                  <a:lnTo>
                    <a:pt x="47286" y="74575"/>
                  </a:lnTo>
                  <a:lnTo>
                    <a:pt x="43831" y="71940"/>
                  </a:lnTo>
                  <a:lnTo>
                    <a:pt x="36897" y="64811"/>
                  </a:lnTo>
                  <a:lnTo>
                    <a:pt x="35506" y="62516"/>
                  </a:lnTo>
                  <a:lnTo>
                    <a:pt x="36871" y="62079"/>
                  </a:lnTo>
                  <a:lnTo>
                    <a:pt x="37903" y="62118"/>
                  </a:lnTo>
                  <a:lnTo>
                    <a:pt x="39074" y="61647"/>
                  </a:lnTo>
                  <a:lnTo>
                    <a:pt x="40963" y="61635"/>
                  </a:lnTo>
                  <a:lnTo>
                    <a:pt x="43202" y="62104"/>
                  </a:lnTo>
                  <a:lnTo>
                    <a:pt x="41220" y="60576"/>
                  </a:lnTo>
                  <a:lnTo>
                    <a:pt x="38754" y="59076"/>
                  </a:lnTo>
                  <a:lnTo>
                    <a:pt x="32375" y="53109"/>
                  </a:lnTo>
                  <a:lnTo>
                    <a:pt x="30471" y="50286"/>
                  </a:lnTo>
                  <a:lnTo>
                    <a:pt x="30250" y="47241"/>
                  </a:lnTo>
                  <a:lnTo>
                    <a:pt x="30721" y="43060"/>
                  </a:lnTo>
                  <a:lnTo>
                    <a:pt x="29572" y="40063"/>
                  </a:lnTo>
                  <a:lnTo>
                    <a:pt x="24651" y="36179"/>
                  </a:lnTo>
                  <a:lnTo>
                    <a:pt x="22848" y="34128"/>
                  </a:lnTo>
                  <a:lnTo>
                    <a:pt x="19214" y="32910"/>
                  </a:lnTo>
                  <a:lnTo>
                    <a:pt x="17590" y="33030"/>
                  </a:lnTo>
                  <a:lnTo>
                    <a:pt x="16614" y="34545"/>
                  </a:lnTo>
                  <a:lnTo>
                    <a:pt x="15901" y="37910"/>
                  </a:lnTo>
                  <a:lnTo>
                    <a:pt x="12679" y="42343"/>
                  </a:lnTo>
                  <a:lnTo>
                    <a:pt x="11604" y="44267"/>
                  </a:lnTo>
                  <a:lnTo>
                    <a:pt x="9920" y="46766"/>
                  </a:lnTo>
                  <a:lnTo>
                    <a:pt x="8460" y="46938"/>
                  </a:lnTo>
                  <a:lnTo>
                    <a:pt x="7596" y="46718"/>
                  </a:lnTo>
                  <a:lnTo>
                    <a:pt x="4981" y="42510"/>
                  </a:lnTo>
                  <a:lnTo>
                    <a:pt x="2478" y="39319"/>
                  </a:lnTo>
                  <a:lnTo>
                    <a:pt x="2129" y="37807"/>
                  </a:lnTo>
                  <a:lnTo>
                    <a:pt x="1904" y="35946"/>
                  </a:lnTo>
                  <a:lnTo>
                    <a:pt x="0" y="29077"/>
                  </a:lnTo>
                  <a:lnTo>
                    <a:pt x="1343" y="28113"/>
                  </a:lnTo>
                  <a:lnTo>
                    <a:pt x="2168" y="29216"/>
                  </a:lnTo>
                  <a:lnTo>
                    <a:pt x="7994" y="30544"/>
                  </a:lnTo>
                  <a:lnTo>
                    <a:pt x="9252" y="29955"/>
                  </a:lnTo>
                  <a:lnTo>
                    <a:pt x="10015" y="29055"/>
                  </a:lnTo>
                  <a:lnTo>
                    <a:pt x="10019" y="28485"/>
                  </a:lnTo>
                  <a:lnTo>
                    <a:pt x="10516" y="28318"/>
                  </a:lnTo>
                  <a:lnTo>
                    <a:pt x="12567" y="29186"/>
                  </a:lnTo>
                  <a:lnTo>
                    <a:pt x="14241" y="28985"/>
                  </a:lnTo>
                  <a:lnTo>
                    <a:pt x="16933" y="28945"/>
                  </a:lnTo>
                  <a:lnTo>
                    <a:pt x="18855" y="29087"/>
                  </a:lnTo>
                  <a:lnTo>
                    <a:pt x="20125" y="28419"/>
                  </a:lnTo>
                  <a:lnTo>
                    <a:pt x="21846" y="25960"/>
                  </a:lnTo>
                  <a:lnTo>
                    <a:pt x="22483" y="24583"/>
                  </a:lnTo>
                  <a:lnTo>
                    <a:pt x="23254" y="24254"/>
                  </a:lnTo>
                  <a:lnTo>
                    <a:pt x="23761" y="24418"/>
                  </a:lnTo>
                  <a:lnTo>
                    <a:pt x="24133" y="25550"/>
                  </a:lnTo>
                  <a:lnTo>
                    <a:pt x="25038" y="26613"/>
                  </a:lnTo>
                  <a:lnTo>
                    <a:pt x="26897" y="28344"/>
                  </a:lnTo>
                  <a:lnTo>
                    <a:pt x="28212" y="29175"/>
                  </a:lnTo>
                  <a:lnTo>
                    <a:pt x="29406" y="29474"/>
                  </a:lnTo>
                  <a:lnTo>
                    <a:pt x="30576" y="28778"/>
                  </a:lnTo>
                  <a:lnTo>
                    <a:pt x="31784" y="28580"/>
                  </a:lnTo>
                  <a:lnTo>
                    <a:pt x="35230" y="29929"/>
                  </a:lnTo>
                  <a:lnTo>
                    <a:pt x="38141" y="30186"/>
                  </a:lnTo>
                  <a:lnTo>
                    <a:pt x="40294" y="29482"/>
                  </a:lnTo>
                  <a:lnTo>
                    <a:pt x="40011" y="28514"/>
                  </a:lnTo>
                  <a:lnTo>
                    <a:pt x="39227" y="27435"/>
                  </a:lnTo>
                  <a:lnTo>
                    <a:pt x="39058" y="26387"/>
                  </a:lnTo>
                  <a:lnTo>
                    <a:pt x="39203" y="25481"/>
                  </a:lnTo>
                  <a:lnTo>
                    <a:pt x="40680" y="24577"/>
                  </a:lnTo>
                  <a:lnTo>
                    <a:pt x="40609" y="24180"/>
                  </a:lnTo>
                  <a:lnTo>
                    <a:pt x="38823" y="22589"/>
                  </a:lnTo>
                  <a:lnTo>
                    <a:pt x="38914" y="22179"/>
                  </a:lnTo>
                  <a:lnTo>
                    <a:pt x="42829" y="20389"/>
                  </a:lnTo>
                  <a:lnTo>
                    <a:pt x="46603" y="19384"/>
                  </a:lnTo>
                  <a:lnTo>
                    <a:pt x="47208" y="18609"/>
                  </a:lnTo>
                  <a:lnTo>
                    <a:pt x="47560" y="17443"/>
                  </a:lnTo>
                  <a:lnTo>
                    <a:pt x="47726" y="15256"/>
                  </a:lnTo>
                  <a:lnTo>
                    <a:pt x="47519" y="13466"/>
                  </a:lnTo>
                  <a:lnTo>
                    <a:pt x="45986" y="11787"/>
                  </a:lnTo>
                  <a:lnTo>
                    <a:pt x="45891" y="10937"/>
                  </a:lnTo>
                  <a:lnTo>
                    <a:pt x="46254" y="10054"/>
                  </a:lnTo>
                  <a:lnTo>
                    <a:pt x="46849" y="9256"/>
                  </a:lnTo>
                  <a:lnTo>
                    <a:pt x="48359" y="8910"/>
                  </a:lnTo>
                  <a:lnTo>
                    <a:pt x="50130" y="8336"/>
                  </a:lnTo>
                  <a:lnTo>
                    <a:pt x="51529" y="7675"/>
                  </a:lnTo>
                  <a:lnTo>
                    <a:pt x="53425" y="7127"/>
                  </a:lnTo>
                  <a:lnTo>
                    <a:pt x="54915" y="6359"/>
                  </a:lnTo>
                  <a:lnTo>
                    <a:pt x="56370" y="4531"/>
                  </a:lnTo>
                  <a:lnTo>
                    <a:pt x="57253" y="4229"/>
                  </a:lnTo>
                  <a:lnTo>
                    <a:pt x="59929" y="4489"/>
                  </a:lnTo>
                  <a:lnTo>
                    <a:pt x="60501" y="4038"/>
                  </a:lnTo>
                  <a:lnTo>
                    <a:pt x="60134" y="1410"/>
                  </a:lnTo>
                  <a:lnTo>
                    <a:pt x="60613" y="742"/>
                  </a:lnTo>
                  <a:lnTo>
                    <a:pt x="61559" y="368"/>
                  </a:lnTo>
                  <a:close/>
                </a:path>
              </a:pathLst>
            </a:custGeom>
            <a:solidFill>
              <a:srgbClr val="A3BA1E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52" name="ee4p_HU_1_82333">
              <a:extLst>
                <a:ext uri="{FF2B5EF4-FFF2-40B4-BE49-F238E27FC236}">
                  <a16:creationId xmlns:a16="http://schemas.microsoft.com/office/drawing/2014/main" id="{6DAD2350-A078-A0F9-FCAA-6C30A4BA5CC6}"/>
                </a:ext>
              </a:extLst>
            </p:cNvPr>
            <p:cNvSpPr>
              <a:spLocks noChangeAspect="1"/>
            </p:cNvSpPr>
            <p:nvPr>
              <p:custDataLst>
                <p:tags r:id="rId80"/>
              </p:custDataLst>
            </p:nvPr>
          </p:nvSpPr>
          <p:spPr>
            <a:xfrm>
              <a:off x="6961595" y="3170586"/>
              <a:ext cx="188376" cy="101009"/>
            </a:xfrm>
            <a:custGeom>
              <a:avLst/>
              <a:gdLst/>
              <a:ahLst/>
              <a:cxnLst/>
              <a:rect l="0" t="0" r="0" b="0"/>
              <a:pathLst>
                <a:path w="150000" h="78299">
                  <a:moveTo>
                    <a:pt x="133530" y="4202"/>
                  </a:moveTo>
                  <a:lnTo>
                    <a:pt x="135637" y="3973"/>
                  </a:lnTo>
                  <a:lnTo>
                    <a:pt x="135726" y="4008"/>
                  </a:lnTo>
                  <a:lnTo>
                    <a:pt x="136225" y="4144"/>
                  </a:lnTo>
                  <a:lnTo>
                    <a:pt x="136572" y="5461"/>
                  </a:lnTo>
                  <a:lnTo>
                    <a:pt x="136632" y="5543"/>
                  </a:lnTo>
                  <a:lnTo>
                    <a:pt x="137140" y="6413"/>
                  </a:lnTo>
                  <a:lnTo>
                    <a:pt x="137617" y="7564"/>
                  </a:lnTo>
                  <a:lnTo>
                    <a:pt x="138358" y="8429"/>
                  </a:lnTo>
                  <a:lnTo>
                    <a:pt x="139986" y="8790"/>
                  </a:lnTo>
                  <a:lnTo>
                    <a:pt x="142115" y="9863"/>
                  </a:lnTo>
                  <a:lnTo>
                    <a:pt x="143493" y="11880"/>
                  </a:lnTo>
                  <a:lnTo>
                    <a:pt x="145570" y="12717"/>
                  </a:lnTo>
                  <a:lnTo>
                    <a:pt x="145720" y="12739"/>
                  </a:lnTo>
                  <a:lnTo>
                    <a:pt x="146128" y="12643"/>
                  </a:lnTo>
                  <a:lnTo>
                    <a:pt x="147622" y="12569"/>
                  </a:lnTo>
                  <a:lnTo>
                    <a:pt x="147911" y="12976"/>
                  </a:lnTo>
                  <a:lnTo>
                    <a:pt x="149105" y="13962"/>
                  </a:lnTo>
                  <a:lnTo>
                    <a:pt x="149570" y="14830"/>
                  </a:lnTo>
                  <a:lnTo>
                    <a:pt x="149332" y="15747"/>
                  </a:lnTo>
                  <a:lnTo>
                    <a:pt x="149544" y="16784"/>
                  </a:lnTo>
                  <a:lnTo>
                    <a:pt x="149999" y="17152"/>
                  </a:lnTo>
                  <a:lnTo>
                    <a:pt x="149449" y="17848"/>
                  </a:lnTo>
                  <a:lnTo>
                    <a:pt x="145579" y="21328"/>
                  </a:lnTo>
                  <a:lnTo>
                    <a:pt x="144067" y="22249"/>
                  </a:lnTo>
                  <a:lnTo>
                    <a:pt x="143061" y="22439"/>
                  </a:lnTo>
                  <a:lnTo>
                    <a:pt x="141481" y="22073"/>
                  </a:lnTo>
                  <a:lnTo>
                    <a:pt x="139846" y="22352"/>
                  </a:lnTo>
                  <a:lnTo>
                    <a:pt x="138386" y="23096"/>
                  </a:lnTo>
                  <a:lnTo>
                    <a:pt x="137041" y="23332"/>
                  </a:lnTo>
                  <a:lnTo>
                    <a:pt x="136024" y="24216"/>
                  </a:lnTo>
                  <a:lnTo>
                    <a:pt x="134707" y="26109"/>
                  </a:lnTo>
                  <a:lnTo>
                    <a:pt x="133089" y="27711"/>
                  </a:lnTo>
                  <a:lnTo>
                    <a:pt x="131454" y="28705"/>
                  </a:lnTo>
                  <a:lnTo>
                    <a:pt x="130608" y="29592"/>
                  </a:lnTo>
                  <a:lnTo>
                    <a:pt x="130511" y="32658"/>
                  </a:lnTo>
                  <a:lnTo>
                    <a:pt x="129604" y="33539"/>
                  </a:lnTo>
                  <a:lnTo>
                    <a:pt x="128386" y="34427"/>
                  </a:lnTo>
                  <a:lnTo>
                    <a:pt x="127725" y="35211"/>
                  </a:lnTo>
                  <a:lnTo>
                    <a:pt x="125870" y="39867"/>
                  </a:lnTo>
                  <a:lnTo>
                    <a:pt x="124462" y="41357"/>
                  </a:lnTo>
                  <a:lnTo>
                    <a:pt x="123128" y="42500"/>
                  </a:lnTo>
                  <a:lnTo>
                    <a:pt x="122908" y="43543"/>
                  </a:lnTo>
                  <a:lnTo>
                    <a:pt x="122934" y="44736"/>
                  </a:lnTo>
                  <a:lnTo>
                    <a:pt x="121420" y="47118"/>
                  </a:lnTo>
                  <a:lnTo>
                    <a:pt x="119435" y="49587"/>
                  </a:lnTo>
                  <a:lnTo>
                    <a:pt x="119051" y="50600"/>
                  </a:lnTo>
                  <a:lnTo>
                    <a:pt x="119494" y="51965"/>
                  </a:lnTo>
                  <a:lnTo>
                    <a:pt x="117591" y="53535"/>
                  </a:lnTo>
                  <a:lnTo>
                    <a:pt x="116492" y="54288"/>
                  </a:lnTo>
                  <a:lnTo>
                    <a:pt x="115583" y="54648"/>
                  </a:lnTo>
                  <a:lnTo>
                    <a:pt x="115015" y="55630"/>
                  </a:lnTo>
                  <a:lnTo>
                    <a:pt x="114080" y="58021"/>
                  </a:lnTo>
                  <a:lnTo>
                    <a:pt x="114324" y="59093"/>
                  </a:lnTo>
                  <a:lnTo>
                    <a:pt x="114352" y="60076"/>
                  </a:lnTo>
                  <a:lnTo>
                    <a:pt x="112743" y="60652"/>
                  </a:lnTo>
                  <a:lnTo>
                    <a:pt x="112270" y="61729"/>
                  </a:lnTo>
                  <a:lnTo>
                    <a:pt x="111862" y="63069"/>
                  </a:lnTo>
                  <a:lnTo>
                    <a:pt x="111193" y="63676"/>
                  </a:lnTo>
                  <a:lnTo>
                    <a:pt x="109383" y="64789"/>
                  </a:lnTo>
                  <a:lnTo>
                    <a:pt x="104898" y="64305"/>
                  </a:lnTo>
                  <a:lnTo>
                    <a:pt x="103201" y="64678"/>
                  </a:lnTo>
                  <a:lnTo>
                    <a:pt x="102696" y="65474"/>
                  </a:lnTo>
                  <a:lnTo>
                    <a:pt x="102592" y="66112"/>
                  </a:lnTo>
                  <a:lnTo>
                    <a:pt x="102033" y="66710"/>
                  </a:lnTo>
                  <a:lnTo>
                    <a:pt x="101007" y="67461"/>
                  </a:lnTo>
                  <a:lnTo>
                    <a:pt x="99960" y="67797"/>
                  </a:lnTo>
                  <a:lnTo>
                    <a:pt x="97626" y="66872"/>
                  </a:lnTo>
                  <a:lnTo>
                    <a:pt x="92603" y="67811"/>
                  </a:lnTo>
                  <a:lnTo>
                    <a:pt x="91737" y="68486"/>
                  </a:lnTo>
                  <a:lnTo>
                    <a:pt x="91037" y="68004"/>
                  </a:lnTo>
                  <a:lnTo>
                    <a:pt x="89960" y="67565"/>
                  </a:lnTo>
                  <a:lnTo>
                    <a:pt x="84933" y="67023"/>
                  </a:lnTo>
                  <a:lnTo>
                    <a:pt x="82950" y="67454"/>
                  </a:lnTo>
                  <a:lnTo>
                    <a:pt x="80299" y="67288"/>
                  </a:lnTo>
                  <a:lnTo>
                    <a:pt x="77843" y="66810"/>
                  </a:lnTo>
                  <a:lnTo>
                    <a:pt x="76014" y="67198"/>
                  </a:lnTo>
                  <a:lnTo>
                    <a:pt x="74395" y="69073"/>
                  </a:lnTo>
                  <a:lnTo>
                    <a:pt x="73594" y="69706"/>
                  </a:lnTo>
                  <a:lnTo>
                    <a:pt x="72965" y="70111"/>
                  </a:lnTo>
                  <a:lnTo>
                    <a:pt x="71581" y="70699"/>
                  </a:lnTo>
                  <a:lnTo>
                    <a:pt x="70428" y="71407"/>
                  </a:lnTo>
                  <a:lnTo>
                    <a:pt x="68886" y="71916"/>
                  </a:lnTo>
                  <a:lnTo>
                    <a:pt x="67513" y="71845"/>
                  </a:lnTo>
                  <a:lnTo>
                    <a:pt x="66208" y="71040"/>
                  </a:lnTo>
                  <a:lnTo>
                    <a:pt x="65742" y="71223"/>
                  </a:lnTo>
                  <a:lnTo>
                    <a:pt x="65332" y="71965"/>
                  </a:lnTo>
                  <a:lnTo>
                    <a:pt x="64626" y="72599"/>
                  </a:lnTo>
                  <a:lnTo>
                    <a:pt x="62682" y="73380"/>
                  </a:lnTo>
                  <a:lnTo>
                    <a:pt x="62186" y="73371"/>
                  </a:lnTo>
                  <a:lnTo>
                    <a:pt x="62073" y="73371"/>
                  </a:lnTo>
                  <a:lnTo>
                    <a:pt x="60586" y="73947"/>
                  </a:lnTo>
                  <a:lnTo>
                    <a:pt x="58126" y="74264"/>
                  </a:lnTo>
                  <a:lnTo>
                    <a:pt x="56893" y="74040"/>
                  </a:lnTo>
                  <a:lnTo>
                    <a:pt x="54651" y="76637"/>
                  </a:lnTo>
                  <a:lnTo>
                    <a:pt x="53965" y="77110"/>
                  </a:lnTo>
                  <a:lnTo>
                    <a:pt x="51836" y="77904"/>
                  </a:lnTo>
                  <a:lnTo>
                    <a:pt x="50089" y="78298"/>
                  </a:lnTo>
                  <a:lnTo>
                    <a:pt x="48592" y="77983"/>
                  </a:lnTo>
                  <a:lnTo>
                    <a:pt x="48003" y="77955"/>
                  </a:lnTo>
                  <a:lnTo>
                    <a:pt x="41367" y="77823"/>
                  </a:lnTo>
                  <a:lnTo>
                    <a:pt x="37901" y="77267"/>
                  </a:lnTo>
                  <a:lnTo>
                    <a:pt x="35675" y="76253"/>
                  </a:lnTo>
                  <a:lnTo>
                    <a:pt x="34198" y="75119"/>
                  </a:lnTo>
                  <a:lnTo>
                    <a:pt x="33477" y="73867"/>
                  </a:lnTo>
                  <a:lnTo>
                    <a:pt x="31756" y="73107"/>
                  </a:lnTo>
                  <a:lnTo>
                    <a:pt x="29039" y="72837"/>
                  </a:lnTo>
                  <a:lnTo>
                    <a:pt x="26923" y="71593"/>
                  </a:lnTo>
                  <a:lnTo>
                    <a:pt x="25409" y="69370"/>
                  </a:lnTo>
                  <a:lnTo>
                    <a:pt x="23362" y="67608"/>
                  </a:lnTo>
                  <a:lnTo>
                    <a:pt x="20777" y="66309"/>
                  </a:lnTo>
                  <a:lnTo>
                    <a:pt x="18726" y="64472"/>
                  </a:lnTo>
                  <a:lnTo>
                    <a:pt x="17212" y="62100"/>
                  </a:lnTo>
                  <a:lnTo>
                    <a:pt x="14483" y="59962"/>
                  </a:lnTo>
                  <a:lnTo>
                    <a:pt x="10544" y="58059"/>
                  </a:lnTo>
                  <a:lnTo>
                    <a:pt x="9356" y="57645"/>
                  </a:lnTo>
                  <a:lnTo>
                    <a:pt x="9123" y="57030"/>
                  </a:lnTo>
                  <a:lnTo>
                    <a:pt x="7195" y="54664"/>
                  </a:lnTo>
                  <a:lnTo>
                    <a:pt x="6372" y="53790"/>
                  </a:lnTo>
                  <a:lnTo>
                    <a:pt x="6445" y="52618"/>
                  </a:lnTo>
                  <a:lnTo>
                    <a:pt x="6061" y="51951"/>
                  </a:lnTo>
                  <a:lnTo>
                    <a:pt x="5359" y="51483"/>
                  </a:lnTo>
                  <a:lnTo>
                    <a:pt x="4984" y="49788"/>
                  </a:lnTo>
                  <a:lnTo>
                    <a:pt x="4763" y="48522"/>
                  </a:lnTo>
                  <a:lnTo>
                    <a:pt x="4213" y="47706"/>
                  </a:lnTo>
                  <a:lnTo>
                    <a:pt x="0" y="47538"/>
                  </a:lnTo>
                  <a:lnTo>
                    <a:pt x="3526" y="44509"/>
                  </a:lnTo>
                  <a:lnTo>
                    <a:pt x="5279" y="43664"/>
                  </a:lnTo>
                  <a:lnTo>
                    <a:pt x="7316" y="43810"/>
                  </a:lnTo>
                  <a:lnTo>
                    <a:pt x="7968" y="43536"/>
                  </a:lnTo>
                  <a:lnTo>
                    <a:pt x="8141" y="43098"/>
                  </a:lnTo>
                  <a:lnTo>
                    <a:pt x="8488" y="42110"/>
                  </a:lnTo>
                  <a:lnTo>
                    <a:pt x="8661" y="41177"/>
                  </a:lnTo>
                  <a:lnTo>
                    <a:pt x="8836" y="40300"/>
                  </a:lnTo>
                  <a:lnTo>
                    <a:pt x="8618" y="39804"/>
                  </a:lnTo>
                  <a:lnTo>
                    <a:pt x="7635" y="39650"/>
                  </a:lnTo>
                  <a:lnTo>
                    <a:pt x="7160" y="37482"/>
                  </a:lnTo>
                  <a:lnTo>
                    <a:pt x="7666" y="36662"/>
                  </a:lnTo>
                  <a:lnTo>
                    <a:pt x="8171" y="36091"/>
                  </a:lnTo>
                  <a:lnTo>
                    <a:pt x="7547" y="33450"/>
                  </a:lnTo>
                  <a:lnTo>
                    <a:pt x="7735" y="32551"/>
                  </a:lnTo>
                  <a:lnTo>
                    <a:pt x="9324" y="32410"/>
                  </a:lnTo>
                  <a:lnTo>
                    <a:pt x="10643" y="31846"/>
                  </a:lnTo>
                  <a:lnTo>
                    <a:pt x="11719" y="31204"/>
                  </a:lnTo>
                  <a:lnTo>
                    <a:pt x="12019" y="30389"/>
                  </a:lnTo>
                  <a:lnTo>
                    <a:pt x="12902" y="28722"/>
                  </a:lnTo>
                  <a:lnTo>
                    <a:pt x="12088" y="26676"/>
                  </a:lnTo>
                  <a:lnTo>
                    <a:pt x="7497" y="25343"/>
                  </a:lnTo>
                  <a:lnTo>
                    <a:pt x="7257" y="24833"/>
                  </a:lnTo>
                  <a:lnTo>
                    <a:pt x="8326" y="24253"/>
                  </a:lnTo>
                  <a:lnTo>
                    <a:pt x="9464" y="23427"/>
                  </a:lnTo>
                  <a:lnTo>
                    <a:pt x="10125" y="22783"/>
                  </a:lnTo>
                  <a:lnTo>
                    <a:pt x="11008" y="22693"/>
                  </a:lnTo>
                  <a:lnTo>
                    <a:pt x="12259" y="23017"/>
                  </a:lnTo>
                  <a:lnTo>
                    <a:pt x="14472" y="24501"/>
                  </a:lnTo>
                  <a:lnTo>
                    <a:pt x="15320" y="24715"/>
                  </a:lnTo>
                  <a:lnTo>
                    <a:pt x="16141" y="24284"/>
                  </a:lnTo>
                  <a:lnTo>
                    <a:pt x="17018" y="24192"/>
                  </a:lnTo>
                  <a:lnTo>
                    <a:pt x="19466" y="24246"/>
                  </a:lnTo>
                  <a:lnTo>
                    <a:pt x="21527" y="23902"/>
                  </a:lnTo>
                  <a:lnTo>
                    <a:pt x="21062" y="22321"/>
                  </a:lnTo>
                  <a:lnTo>
                    <a:pt x="21069" y="21173"/>
                  </a:lnTo>
                  <a:lnTo>
                    <a:pt x="20719" y="20256"/>
                  </a:lnTo>
                  <a:lnTo>
                    <a:pt x="20937" y="19246"/>
                  </a:lnTo>
                  <a:lnTo>
                    <a:pt x="21773" y="18459"/>
                  </a:lnTo>
                  <a:lnTo>
                    <a:pt x="22023" y="16690"/>
                  </a:lnTo>
                  <a:lnTo>
                    <a:pt x="23312" y="15496"/>
                  </a:lnTo>
                  <a:lnTo>
                    <a:pt x="23915" y="15324"/>
                  </a:lnTo>
                  <a:lnTo>
                    <a:pt x="26185" y="15542"/>
                  </a:lnTo>
                  <a:lnTo>
                    <a:pt x="26722" y="15852"/>
                  </a:lnTo>
                  <a:lnTo>
                    <a:pt x="27070" y="15920"/>
                  </a:lnTo>
                  <a:lnTo>
                    <a:pt x="30682" y="18834"/>
                  </a:lnTo>
                  <a:lnTo>
                    <a:pt x="34101" y="21022"/>
                  </a:lnTo>
                  <a:lnTo>
                    <a:pt x="36901" y="22141"/>
                  </a:lnTo>
                  <a:lnTo>
                    <a:pt x="41015" y="22233"/>
                  </a:lnTo>
                  <a:lnTo>
                    <a:pt x="45386" y="22330"/>
                  </a:lnTo>
                  <a:lnTo>
                    <a:pt x="52697" y="21949"/>
                  </a:lnTo>
                  <a:lnTo>
                    <a:pt x="58180" y="21663"/>
                  </a:lnTo>
                  <a:lnTo>
                    <a:pt x="58543" y="21118"/>
                  </a:lnTo>
                  <a:lnTo>
                    <a:pt x="59370" y="19812"/>
                  </a:lnTo>
                  <a:lnTo>
                    <a:pt x="58713" y="18691"/>
                  </a:lnTo>
                  <a:lnTo>
                    <a:pt x="58752" y="17372"/>
                  </a:lnTo>
                  <a:lnTo>
                    <a:pt x="59676" y="15656"/>
                  </a:lnTo>
                  <a:lnTo>
                    <a:pt x="62380" y="14230"/>
                  </a:lnTo>
                  <a:lnTo>
                    <a:pt x="70141" y="13602"/>
                  </a:lnTo>
                  <a:lnTo>
                    <a:pt x="74604" y="12539"/>
                  </a:lnTo>
                  <a:lnTo>
                    <a:pt x="75278" y="11086"/>
                  </a:lnTo>
                  <a:lnTo>
                    <a:pt x="76755" y="9652"/>
                  </a:lnTo>
                  <a:lnTo>
                    <a:pt x="78107" y="9362"/>
                  </a:lnTo>
                  <a:lnTo>
                    <a:pt x="79960" y="10020"/>
                  </a:lnTo>
                  <a:lnTo>
                    <a:pt x="82190" y="11286"/>
                  </a:lnTo>
                  <a:lnTo>
                    <a:pt x="84149" y="11955"/>
                  </a:lnTo>
                  <a:lnTo>
                    <a:pt x="85293" y="11524"/>
                  </a:lnTo>
                  <a:lnTo>
                    <a:pt x="89234" y="9392"/>
                  </a:lnTo>
                  <a:lnTo>
                    <a:pt x="93771" y="7311"/>
                  </a:lnTo>
                  <a:lnTo>
                    <a:pt x="96893" y="1656"/>
                  </a:lnTo>
                  <a:lnTo>
                    <a:pt x="97226" y="754"/>
                  </a:lnTo>
                  <a:lnTo>
                    <a:pt x="100612" y="106"/>
                  </a:lnTo>
                  <a:lnTo>
                    <a:pt x="105553" y="222"/>
                  </a:lnTo>
                  <a:lnTo>
                    <a:pt x="108085" y="959"/>
                  </a:lnTo>
                  <a:lnTo>
                    <a:pt x="109990" y="1349"/>
                  </a:lnTo>
                  <a:lnTo>
                    <a:pt x="112845" y="1216"/>
                  </a:lnTo>
                  <a:lnTo>
                    <a:pt x="116958" y="0"/>
                  </a:lnTo>
                  <a:lnTo>
                    <a:pt x="118483" y="34"/>
                  </a:lnTo>
                  <a:lnTo>
                    <a:pt x="119662" y="897"/>
                  </a:lnTo>
                  <a:lnTo>
                    <a:pt x="120956" y="1639"/>
                  </a:lnTo>
                  <a:lnTo>
                    <a:pt x="121828" y="2548"/>
                  </a:lnTo>
                  <a:lnTo>
                    <a:pt x="122489" y="3828"/>
                  </a:lnTo>
                  <a:lnTo>
                    <a:pt x="122845" y="4311"/>
                  </a:lnTo>
                  <a:lnTo>
                    <a:pt x="123419" y="4966"/>
                  </a:lnTo>
                  <a:lnTo>
                    <a:pt x="124456" y="5867"/>
                  </a:lnTo>
                  <a:lnTo>
                    <a:pt x="125462" y="6107"/>
                  </a:lnTo>
                  <a:lnTo>
                    <a:pt x="133076" y="4541"/>
                  </a:lnTo>
                  <a:close/>
                </a:path>
              </a:pathLst>
            </a:custGeom>
            <a:solidFill>
              <a:srgbClr val="A3BA1E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53" name="ee4p_IE_1_82333">
              <a:extLst>
                <a:ext uri="{FF2B5EF4-FFF2-40B4-BE49-F238E27FC236}">
                  <a16:creationId xmlns:a16="http://schemas.microsoft.com/office/drawing/2014/main" id="{6974D9CA-670D-F538-E835-C50DD36620C7}"/>
                </a:ext>
              </a:extLst>
            </p:cNvPr>
            <p:cNvSpPr>
              <a:spLocks noChangeAspect="1"/>
            </p:cNvSpPr>
            <p:nvPr>
              <p:custDataLst>
                <p:tags r:id="rId81"/>
              </p:custDataLst>
            </p:nvPr>
          </p:nvSpPr>
          <p:spPr>
            <a:xfrm>
              <a:off x="6226172" y="2910600"/>
              <a:ext cx="121152" cy="151208"/>
            </a:xfrm>
            <a:custGeom>
              <a:avLst/>
              <a:gdLst>
                <a:gd name="connsiteX0" fmla="*/ 4626 w 96471"/>
                <a:gd name="connsiteY0" fmla="*/ 41297 h 117212"/>
                <a:gd name="connsiteX1" fmla="*/ 5539 w 96471"/>
                <a:gd name="connsiteY1" fmla="*/ 41650 h 117212"/>
                <a:gd name="connsiteX2" fmla="*/ 8709 w 96471"/>
                <a:gd name="connsiteY2" fmla="*/ 41699 h 117212"/>
                <a:gd name="connsiteX3" fmla="*/ 9599 w 96471"/>
                <a:gd name="connsiteY3" fmla="*/ 42196 h 117212"/>
                <a:gd name="connsiteX4" fmla="*/ 9774 w 96471"/>
                <a:gd name="connsiteY4" fmla="*/ 44442 h 117212"/>
                <a:gd name="connsiteX5" fmla="*/ 9681 w 96471"/>
                <a:gd name="connsiteY5" fmla="*/ 45307 h 117212"/>
                <a:gd name="connsiteX6" fmla="*/ 8043 w 96471"/>
                <a:gd name="connsiteY6" fmla="*/ 44217 h 117212"/>
                <a:gd name="connsiteX7" fmla="*/ 7247 w 96471"/>
                <a:gd name="connsiteY7" fmla="*/ 43030 h 117212"/>
                <a:gd name="connsiteX8" fmla="*/ 2753 w 96471"/>
                <a:gd name="connsiteY8" fmla="*/ 42485 h 117212"/>
                <a:gd name="connsiteX9" fmla="*/ 68137 w 96471"/>
                <a:gd name="connsiteY9" fmla="*/ 0 h 117212"/>
                <a:gd name="connsiteX10" fmla="*/ 69511 w 96471"/>
                <a:gd name="connsiteY10" fmla="*/ 395 h 117212"/>
                <a:gd name="connsiteX11" fmla="*/ 71531 w 96471"/>
                <a:gd name="connsiteY11" fmla="*/ 1873 h 117212"/>
                <a:gd name="connsiteX12" fmla="*/ 73633 w 96471"/>
                <a:gd name="connsiteY12" fmla="*/ 3031 h 117212"/>
                <a:gd name="connsiteX13" fmla="*/ 75813 w 96471"/>
                <a:gd name="connsiteY13" fmla="*/ 3949 h 117212"/>
                <a:gd name="connsiteX14" fmla="*/ 73718 w 96471"/>
                <a:gd name="connsiteY14" fmla="*/ 5785 h 117212"/>
                <a:gd name="connsiteX15" fmla="*/ 71143 w 96471"/>
                <a:gd name="connsiteY15" fmla="*/ 7058 h 117212"/>
                <a:gd name="connsiteX16" fmla="*/ 70130 w 96471"/>
                <a:gd name="connsiteY16" fmla="*/ 8444 h 117212"/>
                <a:gd name="connsiteX17" fmla="*/ 66631 w 96471"/>
                <a:gd name="connsiteY17" fmla="*/ 10422 h 117212"/>
                <a:gd name="connsiteX18" fmla="*/ 66089 w 96471"/>
                <a:gd name="connsiteY18" fmla="*/ 11171 h 117212"/>
                <a:gd name="connsiteX19" fmla="*/ 65103 w 96471"/>
                <a:gd name="connsiteY19" fmla="*/ 14188 h 117212"/>
                <a:gd name="connsiteX20" fmla="*/ 64987 w 96471"/>
                <a:gd name="connsiteY20" fmla="*/ 15048 h 117212"/>
                <a:gd name="connsiteX21" fmla="*/ 63861 w 96471"/>
                <a:gd name="connsiteY21" fmla="*/ 16633 h 117212"/>
                <a:gd name="connsiteX22" fmla="*/ 62795 w 96471"/>
                <a:gd name="connsiteY22" fmla="*/ 18395 h 117212"/>
                <a:gd name="connsiteX23" fmla="*/ 61555 w 96471"/>
                <a:gd name="connsiteY23" fmla="*/ 19077 h 117212"/>
                <a:gd name="connsiteX24" fmla="*/ 59708 w 96471"/>
                <a:gd name="connsiteY24" fmla="*/ 19618 h 117212"/>
                <a:gd name="connsiteX25" fmla="*/ 58658 w 96471"/>
                <a:gd name="connsiteY25" fmla="*/ 20156 h 117212"/>
                <a:gd name="connsiteX26" fmla="*/ 57336 w 96471"/>
                <a:gd name="connsiteY26" fmla="*/ 19886 h 117212"/>
                <a:gd name="connsiteX27" fmla="*/ 55662 w 96471"/>
                <a:gd name="connsiteY27" fmla="*/ 19929 h 117212"/>
                <a:gd name="connsiteX28" fmla="*/ 54830 w 96471"/>
                <a:gd name="connsiteY28" fmla="*/ 20527 h 117212"/>
                <a:gd name="connsiteX29" fmla="*/ 54871 w 96471"/>
                <a:gd name="connsiteY29" fmla="*/ 20986 h 117212"/>
                <a:gd name="connsiteX30" fmla="*/ 55371 w 96471"/>
                <a:gd name="connsiteY30" fmla="*/ 21515 h 117212"/>
                <a:gd name="connsiteX31" fmla="*/ 56837 w 96471"/>
                <a:gd name="connsiteY31" fmla="*/ 22322 h 117212"/>
                <a:gd name="connsiteX32" fmla="*/ 58463 w 96471"/>
                <a:gd name="connsiteY32" fmla="*/ 23052 h 117212"/>
                <a:gd name="connsiteX33" fmla="*/ 58284 w 96471"/>
                <a:gd name="connsiteY33" fmla="*/ 23691 h 117212"/>
                <a:gd name="connsiteX34" fmla="*/ 57413 w 96471"/>
                <a:gd name="connsiteY34" fmla="*/ 24415 h 117212"/>
                <a:gd name="connsiteX35" fmla="*/ 51873 w 96471"/>
                <a:gd name="connsiteY35" fmla="*/ 26211 h 117212"/>
                <a:gd name="connsiteX36" fmla="*/ 50223 w 96471"/>
                <a:gd name="connsiteY36" fmla="*/ 27295 h 117212"/>
                <a:gd name="connsiteX37" fmla="*/ 49651 w 96471"/>
                <a:gd name="connsiteY37" fmla="*/ 28010 h 117212"/>
                <a:gd name="connsiteX38" fmla="*/ 50238 w 96471"/>
                <a:gd name="connsiteY38" fmla="*/ 29208 h 117212"/>
                <a:gd name="connsiteX39" fmla="*/ 54656 w 96471"/>
                <a:gd name="connsiteY39" fmla="*/ 32794 h 117212"/>
                <a:gd name="connsiteX40" fmla="*/ 55408 w 96471"/>
                <a:gd name="connsiteY40" fmla="*/ 33184 h 117212"/>
                <a:gd name="connsiteX41" fmla="*/ 56061 w 96471"/>
                <a:gd name="connsiteY41" fmla="*/ 35268 h 117212"/>
                <a:gd name="connsiteX42" fmla="*/ 59956 w 96471"/>
                <a:gd name="connsiteY42" fmla="*/ 36139 h 117212"/>
                <a:gd name="connsiteX43" fmla="*/ 61553 w 96471"/>
                <a:gd name="connsiteY43" fmla="*/ 37440 h 117212"/>
                <a:gd name="connsiteX44" fmla="*/ 62927 w 96471"/>
                <a:gd name="connsiteY44" fmla="*/ 37752 h 117212"/>
                <a:gd name="connsiteX45" fmla="*/ 65912 w 96471"/>
                <a:gd name="connsiteY45" fmla="*/ 37639 h 117212"/>
                <a:gd name="connsiteX46" fmla="*/ 67112 w 96471"/>
                <a:gd name="connsiteY46" fmla="*/ 38128 h 117212"/>
                <a:gd name="connsiteX47" fmla="*/ 67790 w 96471"/>
                <a:gd name="connsiteY47" fmla="*/ 37757 h 117212"/>
                <a:gd name="connsiteX48" fmla="*/ 68183 w 96471"/>
                <a:gd name="connsiteY48" fmla="*/ 37071 h 117212"/>
                <a:gd name="connsiteX49" fmla="*/ 70696 w 96471"/>
                <a:gd name="connsiteY49" fmla="*/ 35304 h 117212"/>
                <a:gd name="connsiteX50" fmla="*/ 71527 w 96471"/>
                <a:gd name="connsiteY50" fmla="*/ 34532 h 117212"/>
                <a:gd name="connsiteX51" fmla="*/ 71028 w 96471"/>
                <a:gd name="connsiteY51" fmla="*/ 33454 h 117212"/>
                <a:gd name="connsiteX52" fmla="*/ 70485 w 96471"/>
                <a:gd name="connsiteY52" fmla="*/ 32635 h 117212"/>
                <a:gd name="connsiteX53" fmla="*/ 72013 w 96471"/>
                <a:gd name="connsiteY53" fmla="*/ 31003 h 117212"/>
                <a:gd name="connsiteX54" fmla="*/ 73866 w 96471"/>
                <a:gd name="connsiteY54" fmla="*/ 29391 h 117212"/>
                <a:gd name="connsiteX55" fmla="*/ 74795 w 96471"/>
                <a:gd name="connsiteY55" fmla="*/ 29439 h 117212"/>
                <a:gd name="connsiteX56" fmla="*/ 76377 w 96471"/>
                <a:gd name="connsiteY56" fmla="*/ 30426 h 117212"/>
                <a:gd name="connsiteX57" fmla="*/ 77680 w 96471"/>
                <a:gd name="connsiteY57" fmla="*/ 31804 h 117212"/>
                <a:gd name="connsiteX58" fmla="*/ 77857 w 96471"/>
                <a:gd name="connsiteY58" fmla="*/ 32871 h 117212"/>
                <a:gd name="connsiteX59" fmla="*/ 78097 w 96471"/>
                <a:gd name="connsiteY59" fmla="*/ 33645 h 117212"/>
                <a:gd name="connsiteX60" fmla="*/ 79330 w 96471"/>
                <a:gd name="connsiteY60" fmla="*/ 35297 h 117212"/>
                <a:gd name="connsiteX61" fmla="*/ 80126 w 96471"/>
                <a:gd name="connsiteY61" fmla="*/ 35867 h 117212"/>
                <a:gd name="connsiteX62" fmla="*/ 82273 w 96471"/>
                <a:gd name="connsiteY62" fmla="*/ 36198 h 117212"/>
                <a:gd name="connsiteX63" fmla="*/ 82773 w 96471"/>
                <a:gd name="connsiteY63" fmla="*/ 36846 h 117212"/>
                <a:gd name="connsiteX64" fmla="*/ 82390 w 96471"/>
                <a:gd name="connsiteY64" fmla="*/ 39235 h 117212"/>
                <a:gd name="connsiteX65" fmla="*/ 82709 w 96471"/>
                <a:gd name="connsiteY65" fmla="*/ 40029 h 117212"/>
                <a:gd name="connsiteX66" fmla="*/ 84957 w 96471"/>
                <a:gd name="connsiteY66" fmla="*/ 40070 h 117212"/>
                <a:gd name="connsiteX67" fmla="*/ 87342 w 96471"/>
                <a:gd name="connsiteY67" fmla="*/ 39877 h 117212"/>
                <a:gd name="connsiteX68" fmla="*/ 88175 w 96471"/>
                <a:gd name="connsiteY68" fmla="*/ 39968 h 117212"/>
                <a:gd name="connsiteX69" fmla="*/ 89036 w 96471"/>
                <a:gd name="connsiteY69" fmla="*/ 39468 h 117212"/>
                <a:gd name="connsiteX70" fmla="*/ 90363 w 96471"/>
                <a:gd name="connsiteY70" fmla="*/ 38929 h 117212"/>
                <a:gd name="connsiteX71" fmla="*/ 92257 w 96471"/>
                <a:gd name="connsiteY71" fmla="*/ 39115 h 117212"/>
                <a:gd name="connsiteX72" fmla="*/ 93191 w 96471"/>
                <a:gd name="connsiteY72" fmla="*/ 40184 h 117212"/>
                <a:gd name="connsiteX73" fmla="*/ 93607 w 96471"/>
                <a:gd name="connsiteY73" fmla="*/ 41285 h 117212"/>
                <a:gd name="connsiteX74" fmla="*/ 91977 w 96471"/>
                <a:gd name="connsiteY74" fmla="*/ 41699 h 117212"/>
                <a:gd name="connsiteX75" fmla="*/ 90275 w 96471"/>
                <a:gd name="connsiteY75" fmla="*/ 41473 h 117212"/>
                <a:gd name="connsiteX76" fmla="*/ 89445 w 96471"/>
                <a:gd name="connsiteY76" fmla="*/ 42196 h 117212"/>
                <a:gd name="connsiteX77" fmla="*/ 89391 w 96471"/>
                <a:gd name="connsiteY77" fmla="*/ 43588 h 117212"/>
                <a:gd name="connsiteX78" fmla="*/ 89966 w 96471"/>
                <a:gd name="connsiteY78" fmla="*/ 45379 h 117212"/>
                <a:gd name="connsiteX79" fmla="*/ 91104 w 96471"/>
                <a:gd name="connsiteY79" fmla="*/ 46649 h 117212"/>
                <a:gd name="connsiteX80" fmla="*/ 92014 w 96471"/>
                <a:gd name="connsiteY80" fmla="*/ 49509 h 117212"/>
                <a:gd name="connsiteX81" fmla="*/ 92768 w 96471"/>
                <a:gd name="connsiteY81" fmla="*/ 52676 h 117212"/>
                <a:gd name="connsiteX82" fmla="*/ 93941 w 96471"/>
                <a:gd name="connsiteY82" fmla="*/ 54588 h 117212"/>
                <a:gd name="connsiteX83" fmla="*/ 94182 w 96471"/>
                <a:gd name="connsiteY83" fmla="*/ 56958 h 117212"/>
                <a:gd name="connsiteX84" fmla="*/ 94009 w 96471"/>
                <a:gd name="connsiteY84" fmla="*/ 58122 h 117212"/>
                <a:gd name="connsiteX85" fmla="*/ 94223 w 96471"/>
                <a:gd name="connsiteY85" fmla="*/ 60212 h 117212"/>
                <a:gd name="connsiteX86" fmla="*/ 93724 w 96471"/>
                <a:gd name="connsiteY86" fmla="*/ 60948 h 117212"/>
                <a:gd name="connsiteX87" fmla="*/ 94098 w 96471"/>
                <a:gd name="connsiteY87" fmla="*/ 62908 h 117212"/>
                <a:gd name="connsiteX88" fmla="*/ 95479 w 96471"/>
                <a:gd name="connsiteY88" fmla="*/ 66960 h 117212"/>
                <a:gd name="connsiteX89" fmla="*/ 96082 w 96471"/>
                <a:gd name="connsiteY89" fmla="*/ 69214 h 117212"/>
                <a:gd name="connsiteX90" fmla="*/ 96471 w 96471"/>
                <a:gd name="connsiteY90" fmla="*/ 74127 h 117212"/>
                <a:gd name="connsiteX91" fmla="*/ 95497 w 96471"/>
                <a:gd name="connsiteY91" fmla="*/ 75966 h 117212"/>
                <a:gd name="connsiteX92" fmla="*/ 94188 w 96471"/>
                <a:gd name="connsiteY92" fmla="*/ 77709 h 117212"/>
                <a:gd name="connsiteX93" fmla="*/ 93333 w 96471"/>
                <a:gd name="connsiteY93" fmla="*/ 79774 h 117212"/>
                <a:gd name="connsiteX94" fmla="*/ 92672 w 96471"/>
                <a:gd name="connsiteY94" fmla="*/ 82001 h 117212"/>
                <a:gd name="connsiteX95" fmla="*/ 92274 w 96471"/>
                <a:gd name="connsiteY95" fmla="*/ 85587 h 117212"/>
                <a:gd name="connsiteX96" fmla="*/ 89440 w 96471"/>
                <a:gd name="connsiteY96" fmla="*/ 89784 h 117212"/>
                <a:gd name="connsiteX97" fmla="*/ 88234 w 96471"/>
                <a:gd name="connsiteY97" fmla="*/ 90826 h 117212"/>
                <a:gd name="connsiteX98" fmla="*/ 86835 w 96471"/>
                <a:gd name="connsiteY98" fmla="*/ 91467 h 117212"/>
                <a:gd name="connsiteX99" fmla="*/ 89891 w 96471"/>
                <a:gd name="connsiteY99" fmla="*/ 94395 h 117212"/>
                <a:gd name="connsiteX100" fmla="*/ 87394 w 96471"/>
                <a:gd name="connsiteY100" fmla="*/ 95700 h 117212"/>
                <a:gd name="connsiteX101" fmla="*/ 84671 w 96471"/>
                <a:gd name="connsiteY101" fmla="*/ 96111 h 117212"/>
                <a:gd name="connsiteX102" fmla="*/ 81658 w 96471"/>
                <a:gd name="connsiteY102" fmla="*/ 95379 h 117212"/>
                <a:gd name="connsiteX103" fmla="*/ 79781 w 96471"/>
                <a:gd name="connsiteY103" fmla="*/ 95468 h 117212"/>
                <a:gd name="connsiteX104" fmla="*/ 78067 w 96471"/>
                <a:gd name="connsiteY104" fmla="*/ 96415 h 117212"/>
                <a:gd name="connsiteX105" fmla="*/ 77392 w 96471"/>
                <a:gd name="connsiteY105" fmla="*/ 96988 h 117212"/>
                <a:gd name="connsiteX106" fmla="*/ 76853 w 96471"/>
                <a:gd name="connsiteY106" fmla="*/ 96711 h 117212"/>
                <a:gd name="connsiteX107" fmla="*/ 75722 w 96471"/>
                <a:gd name="connsiteY107" fmla="*/ 94311 h 117212"/>
                <a:gd name="connsiteX108" fmla="*/ 74893 w 96471"/>
                <a:gd name="connsiteY108" fmla="*/ 96790 h 117212"/>
                <a:gd name="connsiteX109" fmla="*/ 73157 w 96471"/>
                <a:gd name="connsiteY109" fmla="*/ 97578 h 117212"/>
                <a:gd name="connsiteX110" fmla="*/ 70184 w 96471"/>
                <a:gd name="connsiteY110" fmla="*/ 97410 h 117212"/>
                <a:gd name="connsiteX111" fmla="*/ 65217 w 96471"/>
                <a:gd name="connsiteY111" fmla="*/ 98070 h 117212"/>
                <a:gd name="connsiteX112" fmla="*/ 63306 w 96471"/>
                <a:gd name="connsiteY112" fmla="*/ 98775 h 117212"/>
                <a:gd name="connsiteX113" fmla="*/ 62512 w 96471"/>
                <a:gd name="connsiteY113" fmla="*/ 99878 h 117212"/>
                <a:gd name="connsiteX114" fmla="*/ 61922 w 96471"/>
                <a:gd name="connsiteY114" fmla="*/ 101152 h 117212"/>
                <a:gd name="connsiteX115" fmla="*/ 61147 w 96471"/>
                <a:gd name="connsiteY115" fmla="*/ 101904 h 117212"/>
                <a:gd name="connsiteX116" fmla="*/ 60271 w 96471"/>
                <a:gd name="connsiteY116" fmla="*/ 102300 h 117212"/>
                <a:gd name="connsiteX117" fmla="*/ 56436 w 96471"/>
                <a:gd name="connsiteY117" fmla="*/ 103238 h 117212"/>
                <a:gd name="connsiteX118" fmla="*/ 55680 w 96471"/>
                <a:gd name="connsiteY118" fmla="*/ 103613 h 117212"/>
                <a:gd name="connsiteX119" fmla="*/ 53904 w 96471"/>
                <a:gd name="connsiteY119" fmla="*/ 105667 h 117212"/>
                <a:gd name="connsiteX120" fmla="*/ 51575 w 96471"/>
                <a:gd name="connsiteY120" fmla="*/ 106853 h 117212"/>
                <a:gd name="connsiteX121" fmla="*/ 49646 w 96471"/>
                <a:gd name="connsiteY121" fmla="*/ 107208 h 117212"/>
                <a:gd name="connsiteX122" fmla="*/ 47934 w 96471"/>
                <a:gd name="connsiteY122" fmla="*/ 106014 h 117212"/>
                <a:gd name="connsiteX123" fmla="*/ 47230 w 96471"/>
                <a:gd name="connsiteY123" fmla="*/ 105296 h 117212"/>
                <a:gd name="connsiteX124" fmla="*/ 46435 w 96471"/>
                <a:gd name="connsiteY124" fmla="*/ 104931 h 117212"/>
                <a:gd name="connsiteX125" fmla="*/ 43805 w 96471"/>
                <a:gd name="connsiteY125" fmla="*/ 104987 h 117212"/>
                <a:gd name="connsiteX126" fmla="*/ 44636 w 96471"/>
                <a:gd name="connsiteY126" fmla="*/ 105357 h 117212"/>
                <a:gd name="connsiteX127" fmla="*/ 45172 w 96471"/>
                <a:gd name="connsiteY127" fmla="*/ 106200 h 117212"/>
                <a:gd name="connsiteX128" fmla="*/ 45432 w 96471"/>
                <a:gd name="connsiteY128" fmla="*/ 107815 h 117212"/>
                <a:gd name="connsiteX129" fmla="*/ 45133 w 96471"/>
                <a:gd name="connsiteY129" fmla="*/ 109397 h 117212"/>
                <a:gd name="connsiteX130" fmla="*/ 43836 w 96471"/>
                <a:gd name="connsiteY130" fmla="*/ 110200 h 117212"/>
                <a:gd name="connsiteX131" fmla="*/ 42287 w 96471"/>
                <a:gd name="connsiteY131" fmla="*/ 110348 h 117212"/>
                <a:gd name="connsiteX132" fmla="*/ 39845 w 96471"/>
                <a:gd name="connsiteY132" fmla="*/ 111987 h 117212"/>
                <a:gd name="connsiteX133" fmla="*/ 36612 w 96471"/>
                <a:gd name="connsiteY133" fmla="*/ 112435 h 117212"/>
                <a:gd name="connsiteX134" fmla="*/ 34866 w 96471"/>
                <a:gd name="connsiteY134" fmla="*/ 113943 h 117212"/>
                <a:gd name="connsiteX135" fmla="*/ 24185 w 96471"/>
                <a:gd name="connsiteY135" fmla="*/ 116492 h 117212"/>
                <a:gd name="connsiteX136" fmla="*/ 23579 w 96471"/>
                <a:gd name="connsiteY136" fmla="*/ 116522 h 117212"/>
                <a:gd name="connsiteX137" fmla="*/ 22105 w 96471"/>
                <a:gd name="connsiteY137" fmla="*/ 115873 h 117212"/>
                <a:gd name="connsiteX138" fmla="*/ 20506 w 96471"/>
                <a:gd name="connsiteY138" fmla="*/ 115586 h 117212"/>
                <a:gd name="connsiteX139" fmla="*/ 18914 w 96471"/>
                <a:gd name="connsiteY139" fmla="*/ 115789 h 117212"/>
                <a:gd name="connsiteX140" fmla="*/ 14438 w 96471"/>
                <a:gd name="connsiteY140" fmla="*/ 117212 h 117212"/>
                <a:gd name="connsiteX141" fmla="*/ 12270 w 96471"/>
                <a:gd name="connsiteY141" fmla="*/ 116929 h 117212"/>
                <a:gd name="connsiteX142" fmla="*/ 15033 w 96471"/>
                <a:gd name="connsiteY142" fmla="*/ 113390 h 117212"/>
                <a:gd name="connsiteX143" fmla="*/ 18748 w 96471"/>
                <a:gd name="connsiteY143" fmla="*/ 111602 h 117212"/>
                <a:gd name="connsiteX144" fmla="*/ 19134 w 96471"/>
                <a:gd name="connsiteY144" fmla="*/ 111112 h 117212"/>
                <a:gd name="connsiteX145" fmla="*/ 17920 w 96471"/>
                <a:gd name="connsiteY145" fmla="*/ 110872 h 117212"/>
                <a:gd name="connsiteX146" fmla="*/ 10862 w 96471"/>
                <a:gd name="connsiteY146" fmla="*/ 112114 h 117212"/>
                <a:gd name="connsiteX147" fmla="*/ 8410 w 96471"/>
                <a:gd name="connsiteY147" fmla="*/ 113172 h 117212"/>
                <a:gd name="connsiteX148" fmla="*/ 5959 w 96471"/>
                <a:gd name="connsiteY148" fmla="*/ 113479 h 117212"/>
                <a:gd name="connsiteX149" fmla="*/ 7094 w 96471"/>
                <a:gd name="connsiteY149" fmla="*/ 111864 h 117212"/>
                <a:gd name="connsiteX150" fmla="*/ 10256 w 96471"/>
                <a:gd name="connsiteY150" fmla="*/ 109650 h 117212"/>
                <a:gd name="connsiteX151" fmla="*/ 11952 w 96471"/>
                <a:gd name="connsiteY151" fmla="*/ 108607 h 117212"/>
                <a:gd name="connsiteX152" fmla="*/ 12987 w 96471"/>
                <a:gd name="connsiteY152" fmla="*/ 108193 h 117212"/>
                <a:gd name="connsiteX153" fmla="*/ 14168 w 96471"/>
                <a:gd name="connsiteY153" fmla="*/ 106891 h 117212"/>
                <a:gd name="connsiteX154" fmla="*/ 17500 w 96471"/>
                <a:gd name="connsiteY154" fmla="*/ 105411 h 117212"/>
                <a:gd name="connsiteX155" fmla="*/ 6767 w 96471"/>
                <a:gd name="connsiteY155" fmla="*/ 108463 h 117212"/>
                <a:gd name="connsiteX156" fmla="*/ 3947 w 96471"/>
                <a:gd name="connsiteY156" fmla="*/ 108091 h 117212"/>
                <a:gd name="connsiteX157" fmla="*/ 3283 w 96471"/>
                <a:gd name="connsiteY157" fmla="*/ 107240 h 117212"/>
                <a:gd name="connsiteX158" fmla="*/ 1087 w 96471"/>
                <a:gd name="connsiteY158" fmla="*/ 107639 h 117212"/>
                <a:gd name="connsiteX159" fmla="*/ 255 w 96471"/>
                <a:gd name="connsiteY159" fmla="*/ 105579 h 117212"/>
                <a:gd name="connsiteX160" fmla="*/ 3508 w 96471"/>
                <a:gd name="connsiteY160" fmla="*/ 102454 h 117212"/>
                <a:gd name="connsiteX161" fmla="*/ 5404 w 96471"/>
                <a:gd name="connsiteY161" fmla="*/ 101109 h 117212"/>
                <a:gd name="connsiteX162" fmla="*/ 7655 w 96471"/>
                <a:gd name="connsiteY162" fmla="*/ 100382 h 117212"/>
                <a:gd name="connsiteX163" fmla="*/ 9822 w 96471"/>
                <a:gd name="connsiteY163" fmla="*/ 99339 h 117212"/>
                <a:gd name="connsiteX164" fmla="*/ 10626 w 96471"/>
                <a:gd name="connsiteY164" fmla="*/ 98063 h 117212"/>
                <a:gd name="connsiteX165" fmla="*/ 9606 w 96471"/>
                <a:gd name="connsiteY165" fmla="*/ 97656 h 117212"/>
                <a:gd name="connsiteX166" fmla="*/ 3112 w 96471"/>
                <a:gd name="connsiteY166" fmla="*/ 97980 h 117212"/>
                <a:gd name="connsiteX167" fmla="*/ 0 w 96471"/>
                <a:gd name="connsiteY167" fmla="*/ 97708 h 117212"/>
                <a:gd name="connsiteX168" fmla="*/ 168 w 96471"/>
                <a:gd name="connsiteY168" fmla="*/ 96696 h 117212"/>
                <a:gd name="connsiteX169" fmla="*/ 742 w 96471"/>
                <a:gd name="connsiteY169" fmla="*/ 95574 h 117212"/>
                <a:gd name="connsiteX170" fmla="*/ 3965 w 96471"/>
                <a:gd name="connsiteY170" fmla="*/ 93654 h 117212"/>
                <a:gd name="connsiteX171" fmla="*/ 5708 w 96471"/>
                <a:gd name="connsiteY171" fmla="*/ 93345 h 117212"/>
                <a:gd name="connsiteX172" fmla="*/ 7263 w 96471"/>
                <a:gd name="connsiteY172" fmla="*/ 93528 h 117212"/>
                <a:gd name="connsiteX173" fmla="*/ 8781 w 96471"/>
                <a:gd name="connsiteY173" fmla="*/ 94020 h 117212"/>
                <a:gd name="connsiteX174" fmla="*/ 10015 w 96471"/>
                <a:gd name="connsiteY174" fmla="*/ 94663 h 117212"/>
                <a:gd name="connsiteX175" fmla="*/ 13668 w 96471"/>
                <a:gd name="connsiteY175" fmla="*/ 94294 h 117212"/>
                <a:gd name="connsiteX176" fmla="*/ 12143 w 96471"/>
                <a:gd name="connsiteY176" fmla="*/ 93067 h 117212"/>
                <a:gd name="connsiteX177" fmla="*/ 11874 w 96471"/>
                <a:gd name="connsiteY177" fmla="*/ 90572 h 117212"/>
                <a:gd name="connsiteX178" fmla="*/ 10706 w 96471"/>
                <a:gd name="connsiteY178" fmla="*/ 89733 h 117212"/>
                <a:gd name="connsiteX179" fmla="*/ 12201 w 96471"/>
                <a:gd name="connsiteY179" fmla="*/ 88575 h 117212"/>
                <a:gd name="connsiteX180" fmla="*/ 13911 w 96471"/>
                <a:gd name="connsiteY180" fmla="*/ 87871 h 117212"/>
                <a:gd name="connsiteX181" fmla="*/ 16761 w 96471"/>
                <a:gd name="connsiteY181" fmla="*/ 85473 h 117212"/>
                <a:gd name="connsiteX182" fmla="*/ 17776 w 96471"/>
                <a:gd name="connsiteY182" fmla="*/ 85108 h 117212"/>
                <a:gd name="connsiteX183" fmla="*/ 23416 w 96471"/>
                <a:gd name="connsiteY183" fmla="*/ 84525 h 117212"/>
                <a:gd name="connsiteX184" fmla="*/ 29499 w 96471"/>
                <a:gd name="connsiteY184" fmla="*/ 83263 h 117212"/>
                <a:gd name="connsiteX185" fmla="*/ 35529 w 96471"/>
                <a:gd name="connsiteY185" fmla="*/ 81519 h 117212"/>
                <a:gd name="connsiteX186" fmla="*/ 32437 w 96471"/>
                <a:gd name="connsiteY186" fmla="*/ 80544 h 117212"/>
                <a:gd name="connsiteX187" fmla="*/ 30956 w 96471"/>
                <a:gd name="connsiteY187" fmla="*/ 79257 h 117212"/>
                <a:gd name="connsiteX188" fmla="*/ 28576 w 96471"/>
                <a:gd name="connsiteY188" fmla="*/ 81858 h 117212"/>
                <a:gd name="connsiteX189" fmla="*/ 26863 w 96471"/>
                <a:gd name="connsiteY189" fmla="*/ 82852 h 117212"/>
                <a:gd name="connsiteX190" fmla="*/ 22024 w 96471"/>
                <a:gd name="connsiteY190" fmla="*/ 83383 h 117212"/>
                <a:gd name="connsiteX191" fmla="*/ 20492 w 96471"/>
                <a:gd name="connsiteY191" fmla="*/ 83091 h 117212"/>
                <a:gd name="connsiteX192" fmla="*/ 18335 w 96471"/>
                <a:gd name="connsiteY192" fmla="*/ 82284 h 117212"/>
                <a:gd name="connsiteX193" fmla="*/ 17665 w 96471"/>
                <a:gd name="connsiteY193" fmla="*/ 82592 h 117212"/>
                <a:gd name="connsiteX194" fmla="*/ 17042 w 96471"/>
                <a:gd name="connsiteY194" fmla="*/ 83215 h 117212"/>
                <a:gd name="connsiteX195" fmla="*/ 13839 w 96471"/>
                <a:gd name="connsiteY195" fmla="*/ 84489 h 117212"/>
                <a:gd name="connsiteX196" fmla="*/ 10473 w 96471"/>
                <a:gd name="connsiteY196" fmla="*/ 84794 h 117212"/>
                <a:gd name="connsiteX197" fmla="*/ 14387 w 96471"/>
                <a:gd name="connsiteY197" fmla="*/ 82456 h 117212"/>
                <a:gd name="connsiteX198" fmla="*/ 19353 w 96471"/>
                <a:gd name="connsiteY198" fmla="*/ 78489 h 117212"/>
                <a:gd name="connsiteX199" fmla="*/ 20461 w 96471"/>
                <a:gd name="connsiteY199" fmla="*/ 77234 h 117212"/>
                <a:gd name="connsiteX200" fmla="*/ 22037 w 96471"/>
                <a:gd name="connsiteY200" fmla="*/ 75050 h 117212"/>
                <a:gd name="connsiteX201" fmla="*/ 21549 w 96471"/>
                <a:gd name="connsiteY201" fmla="*/ 74078 h 117212"/>
                <a:gd name="connsiteX202" fmla="*/ 20526 w 96471"/>
                <a:gd name="connsiteY202" fmla="*/ 73524 h 117212"/>
                <a:gd name="connsiteX203" fmla="*/ 24125 w 96471"/>
                <a:gd name="connsiteY203" fmla="*/ 69022 h 117212"/>
                <a:gd name="connsiteX204" fmla="*/ 25392 w 96471"/>
                <a:gd name="connsiteY204" fmla="*/ 68204 h 117212"/>
                <a:gd name="connsiteX205" fmla="*/ 27699 w 96471"/>
                <a:gd name="connsiteY205" fmla="*/ 68072 h 117212"/>
                <a:gd name="connsiteX206" fmla="*/ 29389 w 96471"/>
                <a:gd name="connsiteY206" fmla="*/ 67357 h 117212"/>
                <a:gd name="connsiteX207" fmla="*/ 30134 w 96471"/>
                <a:gd name="connsiteY207" fmla="*/ 67354 h 117212"/>
                <a:gd name="connsiteX208" fmla="*/ 30804 w 96471"/>
                <a:gd name="connsiteY208" fmla="*/ 67088 h 117212"/>
                <a:gd name="connsiteX209" fmla="*/ 32286 w 96471"/>
                <a:gd name="connsiteY209" fmla="*/ 65736 h 117212"/>
                <a:gd name="connsiteX210" fmla="*/ 29999 w 96471"/>
                <a:gd name="connsiteY210" fmla="*/ 64876 h 117212"/>
                <a:gd name="connsiteX211" fmla="*/ 27638 w 96471"/>
                <a:gd name="connsiteY211" fmla="*/ 64433 h 117212"/>
                <a:gd name="connsiteX212" fmla="*/ 20332 w 96471"/>
                <a:gd name="connsiteY212" fmla="*/ 64902 h 117212"/>
                <a:gd name="connsiteX213" fmla="*/ 19371 w 96471"/>
                <a:gd name="connsiteY213" fmla="*/ 64801 h 117212"/>
                <a:gd name="connsiteX214" fmla="*/ 18465 w 96471"/>
                <a:gd name="connsiteY214" fmla="*/ 64386 h 117212"/>
                <a:gd name="connsiteX215" fmla="*/ 17877 w 96471"/>
                <a:gd name="connsiteY215" fmla="*/ 63787 h 117212"/>
                <a:gd name="connsiteX216" fmla="*/ 17435 w 96471"/>
                <a:gd name="connsiteY216" fmla="*/ 62252 h 117212"/>
                <a:gd name="connsiteX217" fmla="*/ 16899 w 96471"/>
                <a:gd name="connsiteY217" fmla="*/ 61909 h 117212"/>
                <a:gd name="connsiteX218" fmla="*/ 15250 w 96471"/>
                <a:gd name="connsiteY218" fmla="*/ 61909 h 117212"/>
                <a:gd name="connsiteX219" fmla="*/ 13625 w 96471"/>
                <a:gd name="connsiteY219" fmla="*/ 62378 h 117212"/>
                <a:gd name="connsiteX220" fmla="*/ 12490 w 96471"/>
                <a:gd name="connsiteY220" fmla="*/ 62333 h 117212"/>
                <a:gd name="connsiteX221" fmla="*/ 11376 w 96471"/>
                <a:gd name="connsiteY221" fmla="*/ 61660 h 117212"/>
                <a:gd name="connsiteX222" fmla="*/ 13153 w 96471"/>
                <a:gd name="connsiteY222" fmla="*/ 60088 h 117212"/>
                <a:gd name="connsiteX223" fmla="*/ 10862 w 96471"/>
                <a:gd name="connsiteY223" fmla="*/ 59718 h 117212"/>
                <a:gd name="connsiteX224" fmla="*/ 8542 w 96471"/>
                <a:gd name="connsiteY224" fmla="*/ 60027 h 117212"/>
                <a:gd name="connsiteX225" fmla="*/ 6611 w 96471"/>
                <a:gd name="connsiteY225" fmla="*/ 59551 h 117212"/>
                <a:gd name="connsiteX226" fmla="*/ 6551 w 96471"/>
                <a:gd name="connsiteY226" fmla="*/ 58564 h 117212"/>
                <a:gd name="connsiteX227" fmla="*/ 7426 w 96471"/>
                <a:gd name="connsiteY227" fmla="*/ 57579 h 117212"/>
                <a:gd name="connsiteX228" fmla="*/ 6279 w 96471"/>
                <a:gd name="connsiteY228" fmla="*/ 56644 h 117212"/>
                <a:gd name="connsiteX229" fmla="*/ 6042 w 96471"/>
                <a:gd name="connsiteY229" fmla="*/ 55462 h 117212"/>
                <a:gd name="connsiteX230" fmla="*/ 7264 w 96471"/>
                <a:gd name="connsiteY230" fmla="*/ 54881 h 117212"/>
                <a:gd name="connsiteX231" fmla="*/ 8599 w 96471"/>
                <a:gd name="connsiteY231" fmla="*/ 55074 h 117212"/>
                <a:gd name="connsiteX232" fmla="*/ 11320 w 96471"/>
                <a:gd name="connsiteY232" fmla="*/ 54199 h 117212"/>
                <a:gd name="connsiteX233" fmla="*/ 14806 w 96471"/>
                <a:gd name="connsiteY233" fmla="*/ 53774 h 117212"/>
                <a:gd name="connsiteX234" fmla="*/ 11816 w 96471"/>
                <a:gd name="connsiteY234" fmla="*/ 52911 h 117212"/>
                <a:gd name="connsiteX235" fmla="*/ 10625 w 96471"/>
                <a:gd name="connsiteY235" fmla="*/ 52171 h 117212"/>
                <a:gd name="connsiteX236" fmla="*/ 10568 w 96471"/>
                <a:gd name="connsiteY236" fmla="*/ 51038 h 117212"/>
                <a:gd name="connsiteX237" fmla="*/ 10805 w 96471"/>
                <a:gd name="connsiteY237" fmla="*/ 50068 h 117212"/>
                <a:gd name="connsiteX238" fmla="*/ 14266 w 96471"/>
                <a:gd name="connsiteY238" fmla="*/ 48427 h 117212"/>
                <a:gd name="connsiteX239" fmla="*/ 17955 w 96471"/>
                <a:gd name="connsiteY239" fmla="*/ 47703 h 117212"/>
                <a:gd name="connsiteX240" fmla="*/ 17683 w 96471"/>
                <a:gd name="connsiteY240" fmla="*/ 46621 h 117212"/>
                <a:gd name="connsiteX241" fmla="*/ 17941 w 96471"/>
                <a:gd name="connsiteY241" fmla="*/ 45450 h 117212"/>
                <a:gd name="connsiteX242" fmla="*/ 14212 w 96471"/>
                <a:gd name="connsiteY242" fmla="*/ 45112 h 117212"/>
                <a:gd name="connsiteX243" fmla="*/ 10529 w 96471"/>
                <a:gd name="connsiteY243" fmla="*/ 45938 h 117212"/>
                <a:gd name="connsiteX244" fmla="*/ 10923 w 96471"/>
                <a:gd name="connsiteY244" fmla="*/ 43700 h 117212"/>
                <a:gd name="connsiteX245" fmla="*/ 11805 w 96471"/>
                <a:gd name="connsiteY245" fmla="*/ 41678 h 117212"/>
                <a:gd name="connsiteX246" fmla="*/ 11979 w 96471"/>
                <a:gd name="connsiteY246" fmla="*/ 40343 h 117212"/>
                <a:gd name="connsiteX247" fmla="*/ 11803 w 96471"/>
                <a:gd name="connsiteY247" fmla="*/ 38914 h 117212"/>
                <a:gd name="connsiteX248" fmla="*/ 10078 w 96471"/>
                <a:gd name="connsiteY248" fmla="*/ 39525 h 117212"/>
                <a:gd name="connsiteX249" fmla="*/ 9876 w 96471"/>
                <a:gd name="connsiteY249" fmla="*/ 37509 h 117212"/>
                <a:gd name="connsiteX250" fmla="*/ 9135 w 96471"/>
                <a:gd name="connsiteY250" fmla="*/ 36125 h 117212"/>
                <a:gd name="connsiteX251" fmla="*/ 6580 w 96471"/>
                <a:gd name="connsiteY251" fmla="*/ 37078 h 117212"/>
                <a:gd name="connsiteX252" fmla="*/ 6646 w 96471"/>
                <a:gd name="connsiteY252" fmla="*/ 35252 h 117212"/>
                <a:gd name="connsiteX253" fmla="*/ 7382 w 96471"/>
                <a:gd name="connsiteY253" fmla="*/ 33975 h 117212"/>
                <a:gd name="connsiteX254" fmla="*/ 8718 w 96471"/>
                <a:gd name="connsiteY254" fmla="*/ 33420 h 117212"/>
                <a:gd name="connsiteX255" fmla="*/ 10045 w 96471"/>
                <a:gd name="connsiteY255" fmla="*/ 33661 h 117212"/>
                <a:gd name="connsiteX256" fmla="*/ 12508 w 96471"/>
                <a:gd name="connsiteY256" fmla="*/ 33637 h 117212"/>
                <a:gd name="connsiteX257" fmla="*/ 14883 w 96471"/>
                <a:gd name="connsiteY257" fmla="*/ 32677 h 117212"/>
                <a:gd name="connsiteX258" fmla="*/ 18307 w 96471"/>
                <a:gd name="connsiteY258" fmla="*/ 32430 h 117212"/>
                <a:gd name="connsiteX259" fmla="*/ 23764 w 96471"/>
                <a:gd name="connsiteY259" fmla="*/ 32732 h 117212"/>
                <a:gd name="connsiteX260" fmla="*/ 27515 w 96471"/>
                <a:gd name="connsiteY260" fmla="*/ 35441 h 117212"/>
                <a:gd name="connsiteX261" fmla="*/ 28483 w 96471"/>
                <a:gd name="connsiteY261" fmla="*/ 34957 h 117212"/>
                <a:gd name="connsiteX262" fmla="*/ 29983 w 96471"/>
                <a:gd name="connsiteY262" fmla="*/ 33245 h 117212"/>
                <a:gd name="connsiteX263" fmla="*/ 30687 w 96471"/>
                <a:gd name="connsiteY263" fmla="*/ 33056 h 117212"/>
                <a:gd name="connsiteX264" fmla="*/ 36340 w 96471"/>
                <a:gd name="connsiteY264" fmla="*/ 33802 h 117212"/>
                <a:gd name="connsiteX265" fmla="*/ 39851 w 96471"/>
                <a:gd name="connsiteY265" fmla="*/ 34787 h 117212"/>
                <a:gd name="connsiteX266" fmla="*/ 40790 w 96471"/>
                <a:gd name="connsiteY266" fmla="*/ 34480 h 117212"/>
                <a:gd name="connsiteX267" fmla="*/ 40283 w 96471"/>
                <a:gd name="connsiteY267" fmla="*/ 32580 h 117212"/>
                <a:gd name="connsiteX268" fmla="*/ 39074 w 96471"/>
                <a:gd name="connsiteY268" fmla="*/ 31262 h 117212"/>
                <a:gd name="connsiteX269" fmla="*/ 40593 w 96471"/>
                <a:gd name="connsiteY269" fmla="*/ 29534 h 117212"/>
                <a:gd name="connsiteX270" fmla="*/ 42438 w 96471"/>
                <a:gd name="connsiteY270" fmla="*/ 28363 h 117212"/>
                <a:gd name="connsiteX271" fmla="*/ 43671 w 96471"/>
                <a:gd name="connsiteY271" fmla="*/ 27779 h 117212"/>
                <a:gd name="connsiteX272" fmla="*/ 46518 w 96471"/>
                <a:gd name="connsiteY272" fmla="*/ 27053 h 117212"/>
                <a:gd name="connsiteX273" fmla="*/ 47759 w 96471"/>
                <a:gd name="connsiteY273" fmla="*/ 26369 h 117212"/>
                <a:gd name="connsiteX274" fmla="*/ 48586 w 96471"/>
                <a:gd name="connsiteY274" fmla="*/ 24143 h 117212"/>
                <a:gd name="connsiteX275" fmla="*/ 49902 w 96471"/>
                <a:gd name="connsiteY275" fmla="*/ 22287 h 117212"/>
                <a:gd name="connsiteX276" fmla="*/ 42758 w 96471"/>
                <a:gd name="connsiteY276" fmla="*/ 23252 h 117212"/>
                <a:gd name="connsiteX277" fmla="*/ 35961 w 96471"/>
                <a:gd name="connsiteY277" fmla="*/ 21052 h 117212"/>
                <a:gd name="connsiteX278" fmla="*/ 37039 w 96471"/>
                <a:gd name="connsiteY278" fmla="*/ 19495 h 117212"/>
                <a:gd name="connsiteX279" fmla="*/ 38474 w 96471"/>
                <a:gd name="connsiteY279" fmla="*/ 18612 h 117212"/>
                <a:gd name="connsiteX280" fmla="*/ 40950 w 96471"/>
                <a:gd name="connsiteY280" fmla="*/ 17935 h 117212"/>
                <a:gd name="connsiteX281" fmla="*/ 41185 w 96471"/>
                <a:gd name="connsiteY281" fmla="*/ 17122 h 117212"/>
                <a:gd name="connsiteX282" fmla="*/ 42438 w 96471"/>
                <a:gd name="connsiteY282" fmla="*/ 16446 h 117212"/>
                <a:gd name="connsiteX283" fmla="*/ 44510 w 96471"/>
                <a:gd name="connsiteY283" fmla="*/ 14669 h 117212"/>
                <a:gd name="connsiteX284" fmla="*/ 43749 w 96471"/>
                <a:gd name="connsiteY284" fmla="*/ 12346 h 117212"/>
                <a:gd name="connsiteX285" fmla="*/ 44157 w 96471"/>
                <a:gd name="connsiteY285" fmla="*/ 10646 h 117212"/>
                <a:gd name="connsiteX286" fmla="*/ 45649 w 96471"/>
                <a:gd name="connsiteY286" fmla="*/ 9537 h 117212"/>
                <a:gd name="connsiteX287" fmla="*/ 46116 w 96471"/>
                <a:gd name="connsiteY287" fmla="*/ 7945 h 117212"/>
                <a:gd name="connsiteX288" fmla="*/ 46781 w 96471"/>
                <a:gd name="connsiteY288" fmla="*/ 6772 h 117212"/>
                <a:gd name="connsiteX289" fmla="*/ 49808 w 96471"/>
                <a:gd name="connsiteY289" fmla="*/ 6352 h 117212"/>
                <a:gd name="connsiteX290" fmla="*/ 52718 w 96471"/>
                <a:gd name="connsiteY290" fmla="*/ 5261 h 117212"/>
                <a:gd name="connsiteX291" fmla="*/ 53769 w 96471"/>
                <a:gd name="connsiteY291" fmla="*/ 5367 h 117212"/>
                <a:gd name="connsiteX292" fmla="*/ 57205 w 96471"/>
                <a:gd name="connsiteY292" fmla="*/ 5115 h 117212"/>
                <a:gd name="connsiteX293" fmla="*/ 58369 w 96471"/>
                <a:gd name="connsiteY293" fmla="*/ 5555 h 117212"/>
                <a:gd name="connsiteX294" fmla="*/ 58104 w 96471"/>
                <a:gd name="connsiteY294" fmla="*/ 3626 h 117212"/>
                <a:gd name="connsiteX295" fmla="*/ 60214 w 96471"/>
                <a:gd name="connsiteY295" fmla="*/ 3375 h 117212"/>
                <a:gd name="connsiteX296" fmla="*/ 61039 w 96471"/>
                <a:gd name="connsiteY296" fmla="*/ 3760 h 117212"/>
                <a:gd name="connsiteX297" fmla="*/ 61402 w 96471"/>
                <a:gd name="connsiteY297" fmla="*/ 5127 h 117212"/>
                <a:gd name="connsiteX298" fmla="*/ 62361 w 96471"/>
                <a:gd name="connsiteY298" fmla="*/ 5999 h 117212"/>
                <a:gd name="connsiteX299" fmla="*/ 62657 w 96471"/>
                <a:gd name="connsiteY299" fmla="*/ 7513 h 117212"/>
                <a:gd name="connsiteX300" fmla="*/ 62014 w 96471"/>
                <a:gd name="connsiteY300" fmla="*/ 8682 h 117212"/>
                <a:gd name="connsiteX301" fmla="*/ 60940 w 96471"/>
                <a:gd name="connsiteY301" fmla="*/ 9582 h 117212"/>
                <a:gd name="connsiteX302" fmla="*/ 61922 w 96471"/>
                <a:gd name="connsiteY302" fmla="*/ 10503 h 117212"/>
                <a:gd name="connsiteX303" fmla="*/ 60399 w 96471"/>
                <a:gd name="connsiteY303" fmla="*/ 12166 h 117212"/>
                <a:gd name="connsiteX304" fmla="*/ 62043 w 96471"/>
                <a:gd name="connsiteY304" fmla="*/ 11458 h 117212"/>
                <a:gd name="connsiteX305" fmla="*/ 64386 w 96471"/>
                <a:gd name="connsiteY305" fmla="*/ 9829 h 117212"/>
                <a:gd name="connsiteX306" fmla="*/ 64265 w 96471"/>
                <a:gd name="connsiteY306" fmla="*/ 8496 h 117212"/>
                <a:gd name="connsiteX307" fmla="*/ 63866 w 96471"/>
                <a:gd name="connsiteY307" fmla="*/ 6820 h 117212"/>
                <a:gd name="connsiteX308" fmla="*/ 63214 w 96471"/>
                <a:gd name="connsiteY308" fmla="*/ 5307 h 117212"/>
                <a:gd name="connsiteX309" fmla="*/ 63514 w 96471"/>
                <a:gd name="connsiteY309" fmla="*/ 3639 h 117212"/>
                <a:gd name="connsiteX310" fmla="*/ 64831 w 96471"/>
                <a:gd name="connsiteY310" fmla="*/ 2595 h 117212"/>
                <a:gd name="connsiteX311" fmla="*/ 68293 w 96471"/>
                <a:gd name="connsiteY311" fmla="*/ 2070 h 117212"/>
                <a:gd name="connsiteX312" fmla="*/ 66873 w 96471"/>
                <a:gd name="connsiteY312" fmla="*/ 174 h 117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</a:cxnLst>
              <a:rect l="l" t="t" r="r" b="b"/>
              <a:pathLst>
                <a:path w="96471" h="117212">
                  <a:moveTo>
                    <a:pt x="4626" y="41297"/>
                  </a:moveTo>
                  <a:lnTo>
                    <a:pt x="5539" y="41650"/>
                  </a:lnTo>
                  <a:lnTo>
                    <a:pt x="8709" y="41699"/>
                  </a:lnTo>
                  <a:lnTo>
                    <a:pt x="9599" y="42196"/>
                  </a:lnTo>
                  <a:lnTo>
                    <a:pt x="9774" y="44442"/>
                  </a:lnTo>
                  <a:lnTo>
                    <a:pt x="9681" y="45307"/>
                  </a:lnTo>
                  <a:lnTo>
                    <a:pt x="8043" y="44217"/>
                  </a:lnTo>
                  <a:lnTo>
                    <a:pt x="7247" y="43030"/>
                  </a:lnTo>
                  <a:lnTo>
                    <a:pt x="2753" y="42485"/>
                  </a:lnTo>
                  <a:close/>
                  <a:moveTo>
                    <a:pt x="68137" y="0"/>
                  </a:moveTo>
                  <a:lnTo>
                    <a:pt x="69511" y="395"/>
                  </a:lnTo>
                  <a:lnTo>
                    <a:pt x="71531" y="1873"/>
                  </a:lnTo>
                  <a:lnTo>
                    <a:pt x="73633" y="3031"/>
                  </a:lnTo>
                  <a:lnTo>
                    <a:pt x="75813" y="3949"/>
                  </a:lnTo>
                  <a:lnTo>
                    <a:pt x="73718" y="5785"/>
                  </a:lnTo>
                  <a:lnTo>
                    <a:pt x="71143" y="7058"/>
                  </a:lnTo>
                  <a:lnTo>
                    <a:pt x="70130" y="8444"/>
                  </a:lnTo>
                  <a:lnTo>
                    <a:pt x="66631" y="10422"/>
                  </a:lnTo>
                  <a:lnTo>
                    <a:pt x="66089" y="11171"/>
                  </a:lnTo>
                  <a:lnTo>
                    <a:pt x="65103" y="14188"/>
                  </a:lnTo>
                  <a:lnTo>
                    <a:pt x="64987" y="15048"/>
                  </a:lnTo>
                  <a:lnTo>
                    <a:pt x="63861" y="16633"/>
                  </a:lnTo>
                  <a:lnTo>
                    <a:pt x="62795" y="18395"/>
                  </a:lnTo>
                  <a:lnTo>
                    <a:pt x="61555" y="19077"/>
                  </a:lnTo>
                  <a:lnTo>
                    <a:pt x="59708" y="19618"/>
                  </a:lnTo>
                  <a:lnTo>
                    <a:pt x="58658" y="20156"/>
                  </a:lnTo>
                  <a:lnTo>
                    <a:pt x="57336" y="19886"/>
                  </a:lnTo>
                  <a:lnTo>
                    <a:pt x="55662" y="19929"/>
                  </a:lnTo>
                  <a:lnTo>
                    <a:pt x="54830" y="20527"/>
                  </a:lnTo>
                  <a:lnTo>
                    <a:pt x="54871" y="20986"/>
                  </a:lnTo>
                  <a:lnTo>
                    <a:pt x="55371" y="21515"/>
                  </a:lnTo>
                  <a:lnTo>
                    <a:pt x="56837" y="22322"/>
                  </a:lnTo>
                  <a:lnTo>
                    <a:pt x="58463" y="23052"/>
                  </a:lnTo>
                  <a:lnTo>
                    <a:pt x="58284" y="23691"/>
                  </a:lnTo>
                  <a:lnTo>
                    <a:pt x="57413" y="24415"/>
                  </a:lnTo>
                  <a:lnTo>
                    <a:pt x="51873" y="26211"/>
                  </a:lnTo>
                  <a:lnTo>
                    <a:pt x="50223" y="27295"/>
                  </a:lnTo>
                  <a:lnTo>
                    <a:pt x="49651" y="28010"/>
                  </a:lnTo>
                  <a:lnTo>
                    <a:pt x="50238" y="29208"/>
                  </a:lnTo>
                  <a:lnTo>
                    <a:pt x="54656" y="32794"/>
                  </a:lnTo>
                  <a:lnTo>
                    <a:pt x="55408" y="33184"/>
                  </a:lnTo>
                  <a:lnTo>
                    <a:pt x="56061" y="35268"/>
                  </a:lnTo>
                  <a:lnTo>
                    <a:pt x="59956" y="36139"/>
                  </a:lnTo>
                  <a:lnTo>
                    <a:pt x="61553" y="37440"/>
                  </a:lnTo>
                  <a:lnTo>
                    <a:pt x="62927" y="37752"/>
                  </a:lnTo>
                  <a:lnTo>
                    <a:pt x="65912" y="37639"/>
                  </a:lnTo>
                  <a:lnTo>
                    <a:pt x="67112" y="38128"/>
                  </a:lnTo>
                  <a:lnTo>
                    <a:pt x="67790" y="37757"/>
                  </a:lnTo>
                  <a:lnTo>
                    <a:pt x="68183" y="37071"/>
                  </a:lnTo>
                  <a:lnTo>
                    <a:pt x="70696" y="35304"/>
                  </a:lnTo>
                  <a:lnTo>
                    <a:pt x="71527" y="34532"/>
                  </a:lnTo>
                  <a:lnTo>
                    <a:pt x="71028" y="33454"/>
                  </a:lnTo>
                  <a:lnTo>
                    <a:pt x="70485" y="32635"/>
                  </a:lnTo>
                  <a:lnTo>
                    <a:pt x="72013" y="31003"/>
                  </a:lnTo>
                  <a:lnTo>
                    <a:pt x="73866" y="29391"/>
                  </a:lnTo>
                  <a:lnTo>
                    <a:pt x="74795" y="29439"/>
                  </a:lnTo>
                  <a:lnTo>
                    <a:pt x="76377" y="30426"/>
                  </a:lnTo>
                  <a:lnTo>
                    <a:pt x="77680" y="31804"/>
                  </a:lnTo>
                  <a:lnTo>
                    <a:pt x="77857" y="32871"/>
                  </a:lnTo>
                  <a:lnTo>
                    <a:pt x="78097" y="33645"/>
                  </a:lnTo>
                  <a:lnTo>
                    <a:pt x="79330" y="35297"/>
                  </a:lnTo>
                  <a:lnTo>
                    <a:pt x="80126" y="35867"/>
                  </a:lnTo>
                  <a:lnTo>
                    <a:pt x="82273" y="36198"/>
                  </a:lnTo>
                  <a:lnTo>
                    <a:pt x="82773" y="36846"/>
                  </a:lnTo>
                  <a:lnTo>
                    <a:pt x="82390" y="39235"/>
                  </a:lnTo>
                  <a:lnTo>
                    <a:pt x="82709" y="40029"/>
                  </a:lnTo>
                  <a:lnTo>
                    <a:pt x="84957" y="40070"/>
                  </a:lnTo>
                  <a:lnTo>
                    <a:pt x="87342" y="39877"/>
                  </a:lnTo>
                  <a:lnTo>
                    <a:pt x="88175" y="39968"/>
                  </a:lnTo>
                  <a:lnTo>
                    <a:pt x="89036" y="39468"/>
                  </a:lnTo>
                  <a:lnTo>
                    <a:pt x="90363" y="38929"/>
                  </a:lnTo>
                  <a:lnTo>
                    <a:pt x="92257" y="39115"/>
                  </a:lnTo>
                  <a:lnTo>
                    <a:pt x="93191" y="40184"/>
                  </a:lnTo>
                  <a:lnTo>
                    <a:pt x="93607" y="41285"/>
                  </a:lnTo>
                  <a:lnTo>
                    <a:pt x="91977" y="41699"/>
                  </a:lnTo>
                  <a:lnTo>
                    <a:pt x="90275" y="41473"/>
                  </a:lnTo>
                  <a:lnTo>
                    <a:pt x="89445" y="42196"/>
                  </a:lnTo>
                  <a:lnTo>
                    <a:pt x="89391" y="43588"/>
                  </a:lnTo>
                  <a:lnTo>
                    <a:pt x="89966" y="45379"/>
                  </a:lnTo>
                  <a:lnTo>
                    <a:pt x="91104" y="46649"/>
                  </a:lnTo>
                  <a:lnTo>
                    <a:pt x="92014" y="49509"/>
                  </a:lnTo>
                  <a:lnTo>
                    <a:pt x="92768" y="52676"/>
                  </a:lnTo>
                  <a:lnTo>
                    <a:pt x="93941" y="54588"/>
                  </a:lnTo>
                  <a:lnTo>
                    <a:pt x="94182" y="56958"/>
                  </a:lnTo>
                  <a:lnTo>
                    <a:pt x="94009" y="58122"/>
                  </a:lnTo>
                  <a:lnTo>
                    <a:pt x="94223" y="60212"/>
                  </a:lnTo>
                  <a:lnTo>
                    <a:pt x="93724" y="60948"/>
                  </a:lnTo>
                  <a:lnTo>
                    <a:pt x="94098" y="62908"/>
                  </a:lnTo>
                  <a:lnTo>
                    <a:pt x="95479" y="66960"/>
                  </a:lnTo>
                  <a:lnTo>
                    <a:pt x="96082" y="69214"/>
                  </a:lnTo>
                  <a:lnTo>
                    <a:pt x="96471" y="74127"/>
                  </a:lnTo>
                  <a:lnTo>
                    <a:pt x="95497" y="75966"/>
                  </a:lnTo>
                  <a:lnTo>
                    <a:pt x="94188" y="77709"/>
                  </a:lnTo>
                  <a:lnTo>
                    <a:pt x="93333" y="79774"/>
                  </a:lnTo>
                  <a:lnTo>
                    <a:pt x="92672" y="82001"/>
                  </a:lnTo>
                  <a:lnTo>
                    <a:pt x="92274" y="85587"/>
                  </a:lnTo>
                  <a:lnTo>
                    <a:pt x="89440" y="89784"/>
                  </a:lnTo>
                  <a:lnTo>
                    <a:pt x="88234" y="90826"/>
                  </a:lnTo>
                  <a:lnTo>
                    <a:pt x="86835" y="91467"/>
                  </a:lnTo>
                  <a:lnTo>
                    <a:pt x="89891" y="94395"/>
                  </a:lnTo>
                  <a:lnTo>
                    <a:pt x="87394" y="95700"/>
                  </a:lnTo>
                  <a:lnTo>
                    <a:pt x="84671" y="96111"/>
                  </a:lnTo>
                  <a:lnTo>
                    <a:pt x="81658" y="95379"/>
                  </a:lnTo>
                  <a:lnTo>
                    <a:pt x="79781" y="95468"/>
                  </a:lnTo>
                  <a:lnTo>
                    <a:pt x="78067" y="96415"/>
                  </a:lnTo>
                  <a:lnTo>
                    <a:pt x="77392" y="96988"/>
                  </a:lnTo>
                  <a:lnTo>
                    <a:pt x="76853" y="96711"/>
                  </a:lnTo>
                  <a:lnTo>
                    <a:pt x="75722" y="94311"/>
                  </a:lnTo>
                  <a:lnTo>
                    <a:pt x="74893" y="96790"/>
                  </a:lnTo>
                  <a:lnTo>
                    <a:pt x="73157" y="97578"/>
                  </a:lnTo>
                  <a:lnTo>
                    <a:pt x="70184" y="97410"/>
                  </a:lnTo>
                  <a:lnTo>
                    <a:pt x="65217" y="98070"/>
                  </a:lnTo>
                  <a:lnTo>
                    <a:pt x="63306" y="98775"/>
                  </a:lnTo>
                  <a:lnTo>
                    <a:pt x="62512" y="99878"/>
                  </a:lnTo>
                  <a:lnTo>
                    <a:pt x="61922" y="101152"/>
                  </a:lnTo>
                  <a:lnTo>
                    <a:pt x="61147" y="101904"/>
                  </a:lnTo>
                  <a:lnTo>
                    <a:pt x="60271" y="102300"/>
                  </a:lnTo>
                  <a:lnTo>
                    <a:pt x="56436" y="103238"/>
                  </a:lnTo>
                  <a:lnTo>
                    <a:pt x="55680" y="103613"/>
                  </a:lnTo>
                  <a:lnTo>
                    <a:pt x="53904" y="105667"/>
                  </a:lnTo>
                  <a:lnTo>
                    <a:pt x="51575" y="106853"/>
                  </a:lnTo>
                  <a:lnTo>
                    <a:pt x="49646" y="107208"/>
                  </a:lnTo>
                  <a:lnTo>
                    <a:pt x="47934" y="106014"/>
                  </a:lnTo>
                  <a:lnTo>
                    <a:pt x="47230" y="105296"/>
                  </a:lnTo>
                  <a:lnTo>
                    <a:pt x="46435" y="104931"/>
                  </a:lnTo>
                  <a:lnTo>
                    <a:pt x="43805" y="104987"/>
                  </a:lnTo>
                  <a:lnTo>
                    <a:pt x="44636" y="105357"/>
                  </a:lnTo>
                  <a:lnTo>
                    <a:pt x="45172" y="106200"/>
                  </a:lnTo>
                  <a:lnTo>
                    <a:pt x="45432" y="107815"/>
                  </a:lnTo>
                  <a:lnTo>
                    <a:pt x="45133" y="109397"/>
                  </a:lnTo>
                  <a:lnTo>
                    <a:pt x="43836" y="110200"/>
                  </a:lnTo>
                  <a:lnTo>
                    <a:pt x="42287" y="110348"/>
                  </a:lnTo>
                  <a:lnTo>
                    <a:pt x="39845" y="111987"/>
                  </a:lnTo>
                  <a:lnTo>
                    <a:pt x="36612" y="112435"/>
                  </a:lnTo>
                  <a:lnTo>
                    <a:pt x="34866" y="113943"/>
                  </a:lnTo>
                  <a:lnTo>
                    <a:pt x="24185" y="116492"/>
                  </a:lnTo>
                  <a:lnTo>
                    <a:pt x="23579" y="116522"/>
                  </a:lnTo>
                  <a:lnTo>
                    <a:pt x="22105" y="115873"/>
                  </a:lnTo>
                  <a:lnTo>
                    <a:pt x="20506" y="115586"/>
                  </a:lnTo>
                  <a:lnTo>
                    <a:pt x="18914" y="115789"/>
                  </a:lnTo>
                  <a:lnTo>
                    <a:pt x="14438" y="117212"/>
                  </a:lnTo>
                  <a:lnTo>
                    <a:pt x="12270" y="116929"/>
                  </a:lnTo>
                  <a:lnTo>
                    <a:pt x="15033" y="113390"/>
                  </a:lnTo>
                  <a:lnTo>
                    <a:pt x="18748" y="111602"/>
                  </a:lnTo>
                  <a:lnTo>
                    <a:pt x="19134" y="111112"/>
                  </a:lnTo>
                  <a:lnTo>
                    <a:pt x="17920" y="110872"/>
                  </a:lnTo>
                  <a:lnTo>
                    <a:pt x="10862" y="112114"/>
                  </a:lnTo>
                  <a:lnTo>
                    <a:pt x="8410" y="113172"/>
                  </a:lnTo>
                  <a:lnTo>
                    <a:pt x="5959" y="113479"/>
                  </a:lnTo>
                  <a:lnTo>
                    <a:pt x="7094" y="111864"/>
                  </a:lnTo>
                  <a:lnTo>
                    <a:pt x="10256" y="109650"/>
                  </a:lnTo>
                  <a:lnTo>
                    <a:pt x="11952" y="108607"/>
                  </a:lnTo>
                  <a:lnTo>
                    <a:pt x="12987" y="108193"/>
                  </a:lnTo>
                  <a:lnTo>
                    <a:pt x="14168" y="106891"/>
                  </a:lnTo>
                  <a:lnTo>
                    <a:pt x="17500" y="105411"/>
                  </a:lnTo>
                  <a:lnTo>
                    <a:pt x="6767" y="108463"/>
                  </a:lnTo>
                  <a:lnTo>
                    <a:pt x="3947" y="108091"/>
                  </a:lnTo>
                  <a:lnTo>
                    <a:pt x="3283" y="107240"/>
                  </a:lnTo>
                  <a:lnTo>
                    <a:pt x="1087" y="107639"/>
                  </a:lnTo>
                  <a:lnTo>
                    <a:pt x="255" y="105579"/>
                  </a:lnTo>
                  <a:lnTo>
                    <a:pt x="3508" y="102454"/>
                  </a:lnTo>
                  <a:lnTo>
                    <a:pt x="5404" y="101109"/>
                  </a:lnTo>
                  <a:lnTo>
                    <a:pt x="7655" y="100382"/>
                  </a:lnTo>
                  <a:lnTo>
                    <a:pt x="9822" y="99339"/>
                  </a:lnTo>
                  <a:lnTo>
                    <a:pt x="10626" y="98063"/>
                  </a:lnTo>
                  <a:lnTo>
                    <a:pt x="9606" y="97656"/>
                  </a:lnTo>
                  <a:lnTo>
                    <a:pt x="3112" y="97980"/>
                  </a:lnTo>
                  <a:lnTo>
                    <a:pt x="0" y="97708"/>
                  </a:lnTo>
                  <a:lnTo>
                    <a:pt x="168" y="96696"/>
                  </a:lnTo>
                  <a:lnTo>
                    <a:pt x="742" y="95574"/>
                  </a:lnTo>
                  <a:lnTo>
                    <a:pt x="3965" y="93654"/>
                  </a:lnTo>
                  <a:lnTo>
                    <a:pt x="5708" y="93345"/>
                  </a:lnTo>
                  <a:lnTo>
                    <a:pt x="7263" y="93528"/>
                  </a:lnTo>
                  <a:lnTo>
                    <a:pt x="8781" y="94020"/>
                  </a:lnTo>
                  <a:lnTo>
                    <a:pt x="10015" y="94663"/>
                  </a:lnTo>
                  <a:lnTo>
                    <a:pt x="13668" y="94294"/>
                  </a:lnTo>
                  <a:lnTo>
                    <a:pt x="12143" y="93067"/>
                  </a:lnTo>
                  <a:lnTo>
                    <a:pt x="11874" y="90572"/>
                  </a:lnTo>
                  <a:lnTo>
                    <a:pt x="10706" y="89733"/>
                  </a:lnTo>
                  <a:lnTo>
                    <a:pt x="12201" y="88575"/>
                  </a:lnTo>
                  <a:lnTo>
                    <a:pt x="13911" y="87871"/>
                  </a:lnTo>
                  <a:lnTo>
                    <a:pt x="16761" y="85473"/>
                  </a:lnTo>
                  <a:lnTo>
                    <a:pt x="17776" y="85108"/>
                  </a:lnTo>
                  <a:lnTo>
                    <a:pt x="23416" y="84525"/>
                  </a:lnTo>
                  <a:lnTo>
                    <a:pt x="29499" y="83263"/>
                  </a:lnTo>
                  <a:lnTo>
                    <a:pt x="35529" y="81519"/>
                  </a:lnTo>
                  <a:lnTo>
                    <a:pt x="32437" y="80544"/>
                  </a:lnTo>
                  <a:lnTo>
                    <a:pt x="30956" y="79257"/>
                  </a:lnTo>
                  <a:lnTo>
                    <a:pt x="28576" y="81858"/>
                  </a:lnTo>
                  <a:lnTo>
                    <a:pt x="26863" y="82852"/>
                  </a:lnTo>
                  <a:lnTo>
                    <a:pt x="22024" y="83383"/>
                  </a:lnTo>
                  <a:lnTo>
                    <a:pt x="20492" y="83091"/>
                  </a:lnTo>
                  <a:lnTo>
                    <a:pt x="18335" y="82284"/>
                  </a:lnTo>
                  <a:lnTo>
                    <a:pt x="17665" y="82592"/>
                  </a:lnTo>
                  <a:lnTo>
                    <a:pt x="17042" y="83215"/>
                  </a:lnTo>
                  <a:lnTo>
                    <a:pt x="13839" y="84489"/>
                  </a:lnTo>
                  <a:lnTo>
                    <a:pt x="10473" y="84794"/>
                  </a:lnTo>
                  <a:lnTo>
                    <a:pt x="14387" y="82456"/>
                  </a:lnTo>
                  <a:lnTo>
                    <a:pt x="19353" y="78489"/>
                  </a:lnTo>
                  <a:lnTo>
                    <a:pt x="20461" y="77234"/>
                  </a:lnTo>
                  <a:lnTo>
                    <a:pt x="22037" y="75050"/>
                  </a:lnTo>
                  <a:lnTo>
                    <a:pt x="21549" y="74078"/>
                  </a:lnTo>
                  <a:lnTo>
                    <a:pt x="20526" y="73524"/>
                  </a:lnTo>
                  <a:lnTo>
                    <a:pt x="24125" y="69022"/>
                  </a:lnTo>
                  <a:lnTo>
                    <a:pt x="25392" y="68204"/>
                  </a:lnTo>
                  <a:lnTo>
                    <a:pt x="27699" y="68072"/>
                  </a:lnTo>
                  <a:lnTo>
                    <a:pt x="29389" y="67357"/>
                  </a:lnTo>
                  <a:lnTo>
                    <a:pt x="30134" y="67354"/>
                  </a:lnTo>
                  <a:lnTo>
                    <a:pt x="30804" y="67088"/>
                  </a:lnTo>
                  <a:lnTo>
                    <a:pt x="32286" y="65736"/>
                  </a:lnTo>
                  <a:lnTo>
                    <a:pt x="29999" y="64876"/>
                  </a:lnTo>
                  <a:lnTo>
                    <a:pt x="27638" y="64433"/>
                  </a:lnTo>
                  <a:lnTo>
                    <a:pt x="20332" y="64902"/>
                  </a:lnTo>
                  <a:lnTo>
                    <a:pt x="19371" y="64801"/>
                  </a:lnTo>
                  <a:lnTo>
                    <a:pt x="18465" y="64386"/>
                  </a:lnTo>
                  <a:lnTo>
                    <a:pt x="17877" y="63787"/>
                  </a:lnTo>
                  <a:lnTo>
                    <a:pt x="17435" y="62252"/>
                  </a:lnTo>
                  <a:lnTo>
                    <a:pt x="16899" y="61909"/>
                  </a:lnTo>
                  <a:lnTo>
                    <a:pt x="15250" y="61909"/>
                  </a:lnTo>
                  <a:lnTo>
                    <a:pt x="13625" y="62378"/>
                  </a:lnTo>
                  <a:lnTo>
                    <a:pt x="12490" y="62333"/>
                  </a:lnTo>
                  <a:lnTo>
                    <a:pt x="11376" y="61660"/>
                  </a:lnTo>
                  <a:lnTo>
                    <a:pt x="13153" y="60088"/>
                  </a:lnTo>
                  <a:lnTo>
                    <a:pt x="10862" y="59718"/>
                  </a:lnTo>
                  <a:lnTo>
                    <a:pt x="8542" y="60027"/>
                  </a:lnTo>
                  <a:lnTo>
                    <a:pt x="6611" y="59551"/>
                  </a:lnTo>
                  <a:lnTo>
                    <a:pt x="6551" y="58564"/>
                  </a:lnTo>
                  <a:lnTo>
                    <a:pt x="7426" y="57579"/>
                  </a:lnTo>
                  <a:lnTo>
                    <a:pt x="6279" y="56644"/>
                  </a:lnTo>
                  <a:lnTo>
                    <a:pt x="6042" y="55462"/>
                  </a:lnTo>
                  <a:lnTo>
                    <a:pt x="7264" y="54881"/>
                  </a:lnTo>
                  <a:lnTo>
                    <a:pt x="8599" y="55074"/>
                  </a:lnTo>
                  <a:lnTo>
                    <a:pt x="11320" y="54199"/>
                  </a:lnTo>
                  <a:lnTo>
                    <a:pt x="14806" y="53774"/>
                  </a:lnTo>
                  <a:lnTo>
                    <a:pt x="11816" y="52911"/>
                  </a:lnTo>
                  <a:lnTo>
                    <a:pt x="10625" y="52171"/>
                  </a:lnTo>
                  <a:lnTo>
                    <a:pt x="10568" y="51038"/>
                  </a:lnTo>
                  <a:lnTo>
                    <a:pt x="10805" y="50068"/>
                  </a:lnTo>
                  <a:lnTo>
                    <a:pt x="14266" y="48427"/>
                  </a:lnTo>
                  <a:lnTo>
                    <a:pt x="17955" y="47703"/>
                  </a:lnTo>
                  <a:lnTo>
                    <a:pt x="17683" y="46621"/>
                  </a:lnTo>
                  <a:lnTo>
                    <a:pt x="17941" y="45450"/>
                  </a:lnTo>
                  <a:lnTo>
                    <a:pt x="14212" y="45112"/>
                  </a:lnTo>
                  <a:lnTo>
                    <a:pt x="10529" y="45938"/>
                  </a:lnTo>
                  <a:lnTo>
                    <a:pt x="10923" y="43700"/>
                  </a:lnTo>
                  <a:lnTo>
                    <a:pt x="11805" y="41678"/>
                  </a:lnTo>
                  <a:lnTo>
                    <a:pt x="11979" y="40343"/>
                  </a:lnTo>
                  <a:lnTo>
                    <a:pt x="11803" y="38914"/>
                  </a:lnTo>
                  <a:lnTo>
                    <a:pt x="10078" y="39525"/>
                  </a:lnTo>
                  <a:lnTo>
                    <a:pt x="9876" y="37509"/>
                  </a:lnTo>
                  <a:lnTo>
                    <a:pt x="9135" y="36125"/>
                  </a:lnTo>
                  <a:lnTo>
                    <a:pt x="6580" y="37078"/>
                  </a:lnTo>
                  <a:lnTo>
                    <a:pt x="6646" y="35252"/>
                  </a:lnTo>
                  <a:lnTo>
                    <a:pt x="7382" y="33975"/>
                  </a:lnTo>
                  <a:lnTo>
                    <a:pt x="8718" y="33420"/>
                  </a:lnTo>
                  <a:lnTo>
                    <a:pt x="10045" y="33661"/>
                  </a:lnTo>
                  <a:lnTo>
                    <a:pt x="12508" y="33637"/>
                  </a:lnTo>
                  <a:lnTo>
                    <a:pt x="14883" y="32677"/>
                  </a:lnTo>
                  <a:lnTo>
                    <a:pt x="18307" y="32430"/>
                  </a:lnTo>
                  <a:lnTo>
                    <a:pt x="23764" y="32732"/>
                  </a:lnTo>
                  <a:lnTo>
                    <a:pt x="27515" y="35441"/>
                  </a:lnTo>
                  <a:lnTo>
                    <a:pt x="28483" y="34957"/>
                  </a:lnTo>
                  <a:lnTo>
                    <a:pt x="29983" y="33245"/>
                  </a:lnTo>
                  <a:lnTo>
                    <a:pt x="30687" y="33056"/>
                  </a:lnTo>
                  <a:lnTo>
                    <a:pt x="36340" y="33802"/>
                  </a:lnTo>
                  <a:lnTo>
                    <a:pt x="39851" y="34787"/>
                  </a:lnTo>
                  <a:lnTo>
                    <a:pt x="40790" y="34480"/>
                  </a:lnTo>
                  <a:lnTo>
                    <a:pt x="40283" y="32580"/>
                  </a:lnTo>
                  <a:lnTo>
                    <a:pt x="39074" y="31262"/>
                  </a:lnTo>
                  <a:lnTo>
                    <a:pt x="40593" y="29534"/>
                  </a:lnTo>
                  <a:lnTo>
                    <a:pt x="42438" y="28363"/>
                  </a:lnTo>
                  <a:lnTo>
                    <a:pt x="43671" y="27779"/>
                  </a:lnTo>
                  <a:lnTo>
                    <a:pt x="46518" y="27053"/>
                  </a:lnTo>
                  <a:lnTo>
                    <a:pt x="47759" y="26369"/>
                  </a:lnTo>
                  <a:lnTo>
                    <a:pt x="48586" y="24143"/>
                  </a:lnTo>
                  <a:lnTo>
                    <a:pt x="49902" y="22287"/>
                  </a:lnTo>
                  <a:lnTo>
                    <a:pt x="42758" y="23252"/>
                  </a:lnTo>
                  <a:lnTo>
                    <a:pt x="35961" y="21052"/>
                  </a:lnTo>
                  <a:lnTo>
                    <a:pt x="37039" y="19495"/>
                  </a:lnTo>
                  <a:lnTo>
                    <a:pt x="38474" y="18612"/>
                  </a:lnTo>
                  <a:lnTo>
                    <a:pt x="40950" y="17935"/>
                  </a:lnTo>
                  <a:lnTo>
                    <a:pt x="41185" y="17122"/>
                  </a:lnTo>
                  <a:lnTo>
                    <a:pt x="42438" y="16446"/>
                  </a:lnTo>
                  <a:lnTo>
                    <a:pt x="44510" y="14669"/>
                  </a:lnTo>
                  <a:lnTo>
                    <a:pt x="43749" y="12346"/>
                  </a:lnTo>
                  <a:lnTo>
                    <a:pt x="44157" y="10646"/>
                  </a:lnTo>
                  <a:lnTo>
                    <a:pt x="45649" y="9537"/>
                  </a:lnTo>
                  <a:lnTo>
                    <a:pt x="46116" y="7945"/>
                  </a:lnTo>
                  <a:lnTo>
                    <a:pt x="46781" y="6772"/>
                  </a:lnTo>
                  <a:lnTo>
                    <a:pt x="49808" y="6352"/>
                  </a:lnTo>
                  <a:lnTo>
                    <a:pt x="52718" y="5261"/>
                  </a:lnTo>
                  <a:lnTo>
                    <a:pt x="53769" y="5367"/>
                  </a:lnTo>
                  <a:lnTo>
                    <a:pt x="57205" y="5115"/>
                  </a:lnTo>
                  <a:lnTo>
                    <a:pt x="58369" y="5555"/>
                  </a:lnTo>
                  <a:lnTo>
                    <a:pt x="58104" y="3626"/>
                  </a:lnTo>
                  <a:lnTo>
                    <a:pt x="60214" y="3375"/>
                  </a:lnTo>
                  <a:lnTo>
                    <a:pt x="61039" y="3760"/>
                  </a:lnTo>
                  <a:lnTo>
                    <a:pt x="61402" y="5127"/>
                  </a:lnTo>
                  <a:lnTo>
                    <a:pt x="62361" y="5999"/>
                  </a:lnTo>
                  <a:lnTo>
                    <a:pt x="62657" y="7513"/>
                  </a:lnTo>
                  <a:lnTo>
                    <a:pt x="62014" y="8682"/>
                  </a:lnTo>
                  <a:lnTo>
                    <a:pt x="60940" y="9582"/>
                  </a:lnTo>
                  <a:lnTo>
                    <a:pt x="61922" y="10503"/>
                  </a:lnTo>
                  <a:lnTo>
                    <a:pt x="60399" y="12166"/>
                  </a:lnTo>
                  <a:lnTo>
                    <a:pt x="62043" y="11458"/>
                  </a:lnTo>
                  <a:lnTo>
                    <a:pt x="64386" y="9829"/>
                  </a:lnTo>
                  <a:lnTo>
                    <a:pt x="64265" y="8496"/>
                  </a:lnTo>
                  <a:lnTo>
                    <a:pt x="63866" y="6820"/>
                  </a:lnTo>
                  <a:lnTo>
                    <a:pt x="63214" y="5307"/>
                  </a:lnTo>
                  <a:lnTo>
                    <a:pt x="63514" y="3639"/>
                  </a:lnTo>
                  <a:lnTo>
                    <a:pt x="64831" y="2595"/>
                  </a:lnTo>
                  <a:lnTo>
                    <a:pt x="68293" y="2070"/>
                  </a:lnTo>
                  <a:lnTo>
                    <a:pt x="66873" y="174"/>
                  </a:lnTo>
                  <a:close/>
                </a:path>
              </a:pathLst>
            </a:custGeom>
            <a:solidFill>
              <a:srgbClr val="A3BA1E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54" name="ee4p_IS_1_82333">
              <a:extLst>
                <a:ext uri="{FF2B5EF4-FFF2-40B4-BE49-F238E27FC236}">
                  <a16:creationId xmlns:a16="http://schemas.microsoft.com/office/drawing/2014/main" id="{8CF72ED6-C5A9-8C75-648D-F070E3B353FD}"/>
                </a:ext>
              </a:extLst>
            </p:cNvPr>
            <p:cNvSpPr>
              <a:spLocks noChangeAspect="1"/>
            </p:cNvSpPr>
            <p:nvPr>
              <p:custDataLst>
                <p:tags r:id="rId82"/>
              </p:custDataLst>
            </p:nvPr>
          </p:nvSpPr>
          <p:spPr>
            <a:xfrm>
              <a:off x="5835027" y="2425934"/>
              <a:ext cx="303231" cy="144493"/>
            </a:xfrm>
            <a:custGeom>
              <a:avLst/>
              <a:gdLst/>
              <a:ahLst/>
              <a:cxnLst/>
              <a:rect l="0" t="0" r="0" b="0"/>
              <a:pathLst>
                <a:path w="241456" h="112007">
                  <a:moveTo>
                    <a:pt x="197518" y="10959"/>
                  </a:moveTo>
                  <a:lnTo>
                    <a:pt x="200053" y="11095"/>
                  </a:lnTo>
                  <a:lnTo>
                    <a:pt x="204200" y="9834"/>
                  </a:lnTo>
                  <a:lnTo>
                    <a:pt x="205936" y="9005"/>
                  </a:lnTo>
                  <a:lnTo>
                    <a:pt x="210191" y="6134"/>
                  </a:lnTo>
                  <a:lnTo>
                    <a:pt x="212709" y="5334"/>
                  </a:lnTo>
                  <a:lnTo>
                    <a:pt x="216589" y="5530"/>
                  </a:lnTo>
                  <a:lnTo>
                    <a:pt x="218464" y="5330"/>
                  </a:lnTo>
                  <a:lnTo>
                    <a:pt x="218507" y="5609"/>
                  </a:lnTo>
                  <a:lnTo>
                    <a:pt x="216124" y="6776"/>
                  </a:lnTo>
                  <a:lnTo>
                    <a:pt x="214210" y="7175"/>
                  </a:lnTo>
                  <a:lnTo>
                    <a:pt x="211468" y="8910"/>
                  </a:lnTo>
                  <a:lnTo>
                    <a:pt x="208864" y="12818"/>
                  </a:lnTo>
                  <a:lnTo>
                    <a:pt x="206932" y="14734"/>
                  </a:lnTo>
                  <a:lnTo>
                    <a:pt x="206953" y="15584"/>
                  </a:lnTo>
                  <a:lnTo>
                    <a:pt x="209300" y="17092"/>
                  </a:lnTo>
                  <a:lnTo>
                    <a:pt x="211870" y="17948"/>
                  </a:lnTo>
                  <a:lnTo>
                    <a:pt x="214234" y="17172"/>
                  </a:lnTo>
                  <a:lnTo>
                    <a:pt x="215267" y="17474"/>
                  </a:lnTo>
                  <a:lnTo>
                    <a:pt x="216201" y="18595"/>
                  </a:lnTo>
                  <a:lnTo>
                    <a:pt x="216728" y="19704"/>
                  </a:lnTo>
                  <a:lnTo>
                    <a:pt x="216846" y="20802"/>
                  </a:lnTo>
                  <a:lnTo>
                    <a:pt x="216421" y="23099"/>
                  </a:lnTo>
                  <a:lnTo>
                    <a:pt x="214999" y="25404"/>
                  </a:lnTo>
                  <a:lnTo>
                    <a:pt x="213081" y="27331"/>
                  </a:lnTo>
                  <a:lnTo>
                    <a:pt x="213351" y="27937"/>
                  </a:lnTo>
                  <a:lnTo>
                    <a:pt x="214889" y="28250"/>
                  </a:lnTo>
                  <a:lnTo>
                    <a:pt x="222215" y="27002"/>
                  </a:lnTo>
                  <a:lnTo>
                    <a:pt x="222975" y="27094"/>
                  </a:lnTo>
                  <a:lnTo>
                    <a:pt x="223396" y="27715"/>
                  </a:lnTo>
                  <a:lnTo>
                    <a:pt x="223478" y="28867"/>
                  </a:lnTo>
                  <a:lnTo>
                    <a:pt x="223881" y="29908"/>
                  </a:lnTo>
                  <a:lnTo>
                    <a:pt x="224604" y="30841"/>
                  </a:lnTo>
                  <a:lnTo>
                    <a:pt x="224379" y="31794"/>
                  </a:lnTo>
                  <a:lnTo>
                    <a:pt x="221172" y="34805"/>
                  </a:lnTo>
                  <a:lnTo>
                    <a:pt x="224955" y="32910"/>
                  </a:lnTo>
                  <a:lnTo>
                    <a:pt x="227948" y="32374"/>
                  </a:lnTo>
                  <a:lnTo>
                    <a:pt x="233067" y="33327"/>
                  </a:lnTo>
                  <a:lnTo>
                    <a:pt x="235162" y="34420"/>
                  </a:lnTo>
                  <a:lnTo>
                    <a:pt x="236388" y="36341"/>
                  </a:lnTo>
                  <a:lnTo>
                    <a:pt x="238160" y="35705"/>
                  </a:lnTo>
                  <a:lnTo>
                    <a:pt x="238930" y="35742"/>
                  </a:lnTo>
                  <a:lnTo>
                    <a:pt x="240089" y="36836"/>
                  </a:lnTo>
                  <a:lnTo>
                    <a:pt x="240130" y="38003"/>
                  </a:lnTo>
                  <a:lnTo>
                    <a:pt x="239280" y="39663"/>
                  </a:lnTo>
                  <a:lnTo>
                    <a:pt x="238986" y="41195"/>
                  </a:lnTo>
                  <a:lnTo>
                    <a:pt x="238096" y="41824"/>
                  </a:lnTo>
                  <a:lnTo>
                    <a:pt x="236432" y="42279"/>
                  </a:lnTo>
                  <a:lnTo>
                    <a:pt x="235956" y="42793"/>
                  </a:lnTo>
                  <a:lnTo>
                    <a:pt x="236689" y="43959"/>
                  </a:lnTo>
                  <a:lnTo>
                    <a:pt x="237768" y="45098"/>
                  </a:lnTo>
                  <a:lnTo>
                    <a:pt x="239302" y="45151"/>
                  </a:lnTo>
                  <a:lnTo>
                    <a:pt x="239575" y="45675"/>
                  </a:lnTo>
                  <a:lnTo>
                    <a:pt x="239610" y="46308"/>
                  </a:lnTo>
                  <a:lnTo>
                    <a:pt x="239402" y="47047"/>
                  </a:lnTo>
                  <a:lnTo>
                    <a:pt x="238901" y="47556"/>
                  </a:lnTo>
                  <a:lnTo>
                    <a:pt x="238109" y="47834"/>
                  </a:lnTo>
                  <a:lnTo>
                    <a:pt x="237060" y="48649"/>
                  </a:lnTo>
                  <a:lnTo>
                    <a:pt x="240909" y="50433"/>
                  </a:lnTo>
                  <a:lnTo>
                    <a:pt x="241400" y="51094"/>
                  </a:lnTo>
                  <a:lnTo>
                    <a:pt x="241455" y="52066"/>
                  </a:lnTo>
                  <a:lnTo>
                    <a:pt x="241155" y="53128"/>
                  </a:lnTo>
                  <a:lnTo>
                    <a:pt x="240499" y="54285"/>
                  </a:lnTo>
                  <a:lnTo>
                    <a:pt x="239338" y="54971"/>
                  </a:lnTo>
                  <a:lnTo>
                    <a:pt x="236565" y="55083"/>
                  </a:lnTo>
                  <a:lnTo>
                    <a:pt x="234868" y="55832"/>
                  </a:lnTo>
                  <a:lnTo>
                    <a:pt x="235446" y="57084"/>
                  </a:lnTo>
                  <a:lnTo>
                    <a:pt x="235402" y="58662"/>
                  </a:lnTo>
                  <a:lnTo>
                    <a:pt x="234891" y="60521"/>
                  </a:lnTo>
                  <a:lnTo>
                    <a:pt x="232708" y="63332"/>
                  </a:lnTo>
                  <a:lnTo>
                    <a:pt x="230657" y="64825"/>
                  </a:lnTo>
                  <a:lnTo>
                    <a:pt x="228651" y="65793"/>
                  </a:lnTo>
                  <a:lnTo>
                    <a:pt x="225073" y="65452"/>
                  </a:lnTo>
                  <a:lnTo>
                    <a:pt x="223124" y="64706"/>
                  </a:lnTo>
                  <a:lnTo>
                    <a:pt x="223341" y="67128"/>
                  </a:lnTo>
                  <a:lnTo>
                    <a:pt x="221349" y="68618"/>
                  </a:lnTo>
                  <a:lnTo>
                    <a:pt x="221726" y="69862"/>
                  </a:lnTo>
                  <a:lnTo>
                    <a:pt x="222419" y="70494"/>
                  </a:lnTo>
                  <a:lnTo>
                    <a:pt x="222074" y="72090"/>
                  </a:lnTo>
                  <a:lnTo>
                    <a:pt x="221128" y="73668"/>
                  </a:lnTo>
                  <a:lnTo>
                    <a:pt x="219542" y="75378"/>
                  </a:lnTo>
                  <a:lnTo>
                    <a:pt x="217748" y="76444"/>
                  </a:lnTo>
                  <a:lnTo>
                    <a:pt x="214181" y="77728"/>
                  </a:lnTo>
                  <a:lnTo>
                    <a:pt x="211133" y="79863"/>
                  </a:lnTo>
                  <a:lnTo>
                    <a:pt x="209050" y="80707"/>
                  </a:lnTo>
                  <a:lnTo>
                    <a:pt x="203870" y="80671"/>
                  </a:lnTo>
                  <a:lnTo>
                    <a:pt x="198582" y="82044"/>
                  </a:lnTo>
                  <a:lnTo>
                    <a:pt x="191110" y="84933"/>
                  </a:lnTo>
                  <a:lnTo>
                    <a:pt x="186079" y="87247"/>
                  </a:lnTo>
                  <a:lnTo>
                    <a:pt x="182196" y="89863"/>
                  </a:lnTo>
                  <a:lnTo>
                    <a:pt x="177065" y="94126"/>
                  </a:lnTo>
                  <a:lnTo>
                    <a:pt x="173256" y="95918"/>
                  </a:lnTo>
                  <a:lnTo>
                    <a:pt x="171059" y="96401"/>
                  </a:lnTo>
                  <a:lnTo>
                    <a:pt x="166783" y="96782"/>
                  </a:lnTo>
                  <a:lnTo>
                    <a:pt x="163200" y="97937"/>
                  </a:lnTo>
                  <a:lnTo>
                    <a:pt x="151296" y="100099"/>
                  </a:lnTo>
                  <a:lnTo>
                    <a:pt x="147266" y="101279"/>
                  </a:lnTo>
                  <a:lnTo>
                    <a:pt x="146745" y="102354"/>
                  </a:lnTo>
                  <a:lnTo>
                    <a:pt x="145074" y="103968"/>
                  </a:lnTo>
                  <a:lnTo>
                    <a:pt x="144969" y="104551"/>
                  </a:lnTo>
                  <a:lnTo>
                    <a:pt x="145703" y="105002"/>
                  </a:lnTo>
                  <a:lnTo>
                    <a:pt x="145838" y="105587"/>
                  </a:lnTo>
                  <a:lnTo>
                    <a:pt x="144365" y="107494"/>
                  </a:lnTo>
                  <a:lnTo>
                    <a:pt x="141422" y="108873"/>
                  </a:lnTo>
                  <a:lnTo>
                    <a:pt x="140031" y="108850"/>
                  </a:lnTo>
                  <a:lnTo>
                    <a:pt x="138347" y="107664"/>
                  </a:lnTo>
                  <a:lnTo>
                    <a:pt x="137614" y="107706"/>
                  </a:lnTo>
                  <a:lnTo>
                    <a:pt x="137326" y="107887"/>
                  </a:lnTo>
                  <a:lnTo>
                    <a:pt x="137309" y="108259"/>
                  </a:lnTo>
                  <a:lnTo>
                    <a:pt x="138276" y="109682"/>
                  </a:lnTo>
                  <a:lnTo>
                    <a:pt x="136495" y="110345"/>
                  </a:lnTo>
                  <a:lnTo>
                    <a:pt x="128738" y="112006"/>
                  </a:lnTo>
                  <a:lnTo>
                    <a:pt x="115546" y="110773"/>
                  </a:lnTo>
                  <a:lnTo>
                    <a:pt x="110320" y="109496"/>
                  </a:lnTo>
                  <a:lnTo>
                    <a:pt x="103870" y="107465"/>
                  </a:lnTo>
                  <a:lnTo>
                    <a:pt x="100029" y="106923"/>
                  </a:lnTo>
                  <a:lnTo>
                    <a:pt x="94585" y="106791"/>
                  </a:lnTo>
                  <a:lnTo>
                    <a:pt x="90112" y="103942"/>
                  </a:lnTo>
                  <a:lnTo>
                    <a:pt x="88042" y="102179"/>
                  </a:lnTo>
                  <a:lnTo>
                    <a:pt x="87876" y="101447"/>
                  </a:lnTo>
                  <a:lnTo>
                    <a:pt x="88109" y="100612"/>
                  </a:lnTo>
                  <a:lnTo>
                    <a:pt x="88575" y="100043"/>
                  </a:lnTo>
                  <a:lnTo>
                    <a:pt x="89271" y="99734"/>
                  </a:lnTo>
                  <a:lnTo>
                    <a:pt x="90747" y="99703"/>
                  </a:lnTo>
                  <a:lnTo>
                    <a:pt x="90939" y="99454"/>
                  </a:lnTo>
                  <a:lnTo>
                    <a:pt x="89813" y="98040"/>
                  </a:lnTo>
                  <a:lnTo>
                    <a:pt x="88736" y="98498"/>
                  </a:lnTo>
                  <a:lnTo>
                    <a:pt x="85855" y="100494"/>
                  </a:lnTo>
                  <a:lnTo>
                    <a:pt x="84573" y="100422"/>
                  </a:lnTo>
                  <a:lnTo>
                    <a:pt x="82890" y="99425"/>
                  </a:lnTo>
                  <a:lnTo>
                    <a:pt x="82826" y="98455"/>
                  </a:lnTo>
                  <a:lnTo>
                    <a:pt x="79535" y="98084"/>
                  </a:lnTo>
                  <a:lnTo>
                    <a:pt x="76676" y="96872"/>
                  </a:lnTo>
                  <a:lnTo>
                    <a:pt x="73835" y="95127"/>
                  </a:lnTo>
                  <a:lnTo>
                    <a:pt x="73411" y="94461"/>
                  </a:lnTo>
                  <a:lnTo>
                    <a:pt x="74775" y="93489"/>
                  </a:lnTo>
                  <a:lnTo>
                    <a:pt x="74512" y="93298"/>
                  </a:lnTo>
                  <a:lnTo>
                    <a:pt x="73485" y="93133"/>
                  </a:lnTo>
                  <a:lnTo>
                    <a:pt x="71410" y="93453"/>
                  </a:lnTo>
                  <a:lnTo>
                    <a:pt x="68284" y="95660"/>
                  </a:lnTo>
                  <a:lnTo>
                    <a:pt x="66934" y="96167"/>
                  </a:lnTo>
                  <a:lnTo>
                    <a:pt x="46504" y="96683"/>
                  </a:lnTo>
                  <a:lnTo>
                    <a:pt x="41323" y="96911"/>
                  </a:lnTo>
                  <a:lnTo>
                    <a:pt x="40321" y="97246"/>
                  </a:lnTo>
                  <a:lnTo>
                    <a:pt x="39418" y="95811"/>
                  </a:lnTo>
                  <a:lnTo>
                    <a:pt x="38614" y="92606"/>
                  </a:lnTo>
                  <a:lnTo>
                    <a:pt x="38314" y="90492"/>
                  </a:lnTo>
                  <a:lnTo>
                    <a:pt x="38520" y="89468"/>
                  </a:lnTo>
                  <a:lnTo>
                    <a:pt x="39238" y="88238"/>
                  </a:lnTo>
                  <a:lnTo>
                    <a:pt x="40349" y="88447"/>
                  </a:lnTo>
                  <a:lnTo>
                    <a:pt x="41407" y="89425"/>
                  </a:lnTo>
                  <a:lnTo>
                    <a:pt x="42364" y="90811"/>
                  </a:lnTo>
                  <a:lnTo>
                    <a:pt x="43464" y="91478"/>
                  </a:lnTo>
                  <a:lnTo>
                    <a:pt x="50595" y="89792"/>
                  </a:lnTo>
                  <a:lnTo>
                    <a:pt x="53490" y="88657"/>
                  </a:lnTo>
                  <a:lnTo>
                    <a:pt x="54721" y="87579"/>
                  </a:lnTo>
                  <a:lnTo>
                    <a:pt x="56170" y="85743"/>
                  </a:lnTo>
                  <a:lnTo>
                    <a:pt x="57707" y="84803"/>
                  </a:lnTo>
                  <a:lnTo>
                    <a:pt x="58441" y="83914"/>
                  </a:lnTo>
                  <a:lnTo>
                    <a:pt x="59882" y="81098"/>
                  </a:lnTo>
                  <a:lnTo>
                    <a:pt x="60877" y="79789"/>
                  </a:lnTo>
                  <a:lnTo>
                    <a:pt x="62069" y="78822"/>
                  </a:lnTo>
                  <a:lnTo>
                    <a:pt x="63455" y="78198"/>
                  </a:lnTo>
                  <a:lnTo>
                    <a:pt x="66609" y="77752"/>
                  </a:lnTo>
                  <a:lnTo>
                    <a:pt x="64534" y="77088"/>
                  </a:lnTo>
                  <a:lnTo>
                    <a:pt x="62555" y="77088"/>
                  </a:lnTo>
                  <a:lnTo>
                    <a:pt x="55821" y="80068"/>
                  </a:lnTo>
                  <a:lnTo>
                    <a:pt x="53563" y="80068"/>
                  </a:lnTo>
                  <a:lnTo>
                    <a:pt x="53658" y="79604"/>
                  </a:lnTo>
                  <a:lnTo>
                    <a:pt x="54610" y="78763"/>
                  </a:lnTo>
                  <a:lnTo>
                    <a:pt x="56926" y="77310"/>
                  </a:lnTo>
                  <a:lnTo>
                    <a:pt x="55335" y="77200"/>
                  </a:lnTo>
                  <a:lnTo>
                    <a:pt x="54728" y="76543"/>
                  </a:lnTo>
                  <a:lnTo>
                    <a:pt x="54658" y="75156"/>
                  </a:lnTo>
                  <a:lnTo>
                    <a:pt x="55841" y="72921"/>
                  </a:lnTo>
                  <a:lnTo>
                    <a:pt x="61323" y="69970"/>
                  </a:lnTo>
                  <a:lnTo>
                    <a:pt x="63219" y="69535"/>
                  </a:lnTo>
                  <a:lnTo>
                    <a:pt x="63795" y="68951"/>
                  </a:lnTo>
                  <a:lnTo>
                    <a:pt x="63076" y="68474"/>
                  </a:lnTo>
                  <a:lnTo>
                    <a:pt x="61930" y="68190"/>
                  </a:lnTo>
                  <a:lnTo>
                    <a:pt x="56414" y="71227"/>
                  </a:lnTo>
                  <a:lnTo>
                    <a:pt x="52399" y="72277"/>
                  </a:lnTo>
                  <a:lnTo>
                    <a:pt x="51205" y="72072"/>
                  </a:lnTo>
                  <a:lnTo>
                    <a:pt x="49128" y="70894"/>
                  </a:lnTo>
                  <a:lnTo>
                    <a:pt x="48459" y="70370"/>
                  </a:lnTo>
                  <a:lnTo>
                    <a:pt x="47563" y="69021"/>
                  </a:lnTo>
                  <a:lnTo>
                    <a:pt x="47664" y="68207"/>
                  </a:lnTo>
                  <a:lnTo>
                    <a:pt x="49577" y="65823"/>
                  </a:lnTo>
                  <a:lnTo>
                    <a:pt x="49269" y="65361"/>
                  </a:lnTo>
                  <a:lnTo>
                    <a:pt x="47953" y="65125"/>
                  </a:lnTo>
                  <a:lnTo>
                    <a:pt x="44415" y="62927"/>
                  </a:lnTo>
                  <a:lnTo>
                    <a:pt x="38815" y="63147"/>
                  </a:lnTo>
                  <a:lnTo>
                    <a:pt x="24958" y="61874"/>
                  </a:lnTo>
                  <a:lnTo>
                    <a:pt x="22095" y="62414"/>
                  </a:lnTo>
                  <a:lnTo>
                    <a:pt x="17374" y="64301"/>
                  </a:lnTo>
                  <a:lnTo>
                    <a:pt x="14521" y="64923"/>
                  </a:lnTo>
                  <a:lnTo>
                    <a:pt x="13203" y="64512"/>
                  </a:lnTo>
                  <a:lnTo>
                    <a:pt x="12005" y="63515"/>
                  </a:lnTo>
                  <a:lnTo>
                    <a:pt x="10917" y="62170"/>
                  </a:lnTo>
                  <a:lnTo>
                    <a:pt x="9940" y="60475"/>
                  </a:lnTo>
                  <a:lnTo>
                    <a:pt x="10363" y="59292"/>
                  </a:lnTo>
                  <a:lnTo>
                    <a:pt x="12190" y="58618"/>
                  </a:lnTo>
                  <a:lnTo>
                    <a:pt x="13530" y="58298"/>
                  </a:lnTo>
                  <a:lnTo>
                    <a:pt x="17302" y="58708"/>
                  </a:lnTo>
                  <a:lnTo>
                    <a:pt x="21899" y="57520"/>
                  </a:lnTo>
                  <a:lnTo>
                    <a:pt x="24832" y="57271"/>
                  </a:lnTo>
                  <a:lnTo>
                    <a:pt x="25674" y="57084"/>
                  </a:lnTo>
                  <a:lnTo>
                    <a:pt x="27401" y="55818"/>
                  </a:lnTo>
                  <a:lnTo>
                    <a:pt x="28252" y="55499"/>
                  </a:lnTo>
                  <a:lnTo>
                    <a:pt x="29581" y="55943"/>
                  </a:lnTo>
                  <a:lnTo>
                    <a:pt x="30224" y="56802"/>
                  </a:lnTo>
                  <a:lnTo>
                    <a:pt x="34852" y="55467"/>
                  </a:lnTo>
                  <a:lnTo>
                    <a:pt x="36441" y="54797"/>
                  </a:lnTo>
                  <a:lnTo>
                    <a:pt x="36620" y="54387"/>
                  </a:lnTo>
                  <a:lnTo>
                    <a:pt x="37316" y="53906"/>
                  </a:lnTo>
                  <a:lnTo>
                    <a:pt x="39618" y="54629"/>
                  </a:lnTo>
                  <a:lnTo>
                    <a:pt x="41482" y="54652"/>
                  </a:lnTo>
                  <a:lnTo>
                    <a:pt x="43809" y="54155"/>
                  </a:lnTo>
                  <a:lnTo>
                    <a:pt x="47922" y="53936"/>
                  </a:lnTo>
                  <a:lnTo>
                    <a:pt x="57127" y="53823"/>
                  </a:lnTo>
                  <a:lnTo>
                    <a:pt x="58506" y="52733"/>
                  </a:lnTo>
                  <a:lnTo>
                    <a:pt x="59155" y="51769"/>
                  </a:lnTo>
                  <a:lnTo>
                    <a:pt x="59967" y="49327"/>
                  </a:lnTo>
                  <a:lnTo>
                    <a:pt x="59608" y="48823"/>
                  </a:lnTo>
                  <a:lnTo>
                    <a:pt x="53858" y="51073"/>
                  </a:lnTo>
                  <a:lnTo>
                    <a:pt x="52546" y="51038"/>
                  </a:lnTo>
                  <a:lnTo>
                    <a:pt x="45891" y="49846"/>
                  </a:lnTo>
                  <a:lnTo>
                    <a:pt x="43486" y="48496"/>
                  </a:lnTo>
                  <a:lnTo>
                    <a:pt x="44274" y="47412"/>
                  </a:lnTo>
                  <a:lnTo>
                    <a:pt x="47800" y="45075"/>
                  </a:lnTo>
                  <a:lnTo>
                    <a:pt x="51441" y="43199"/>
                  </a:lnTo>
                  <a:lnTo>
                    <a:pt x="56799" y="41169"/>
                  </a:lnTo>
                  <a:lnTo>
                    <a:pt x="58054" y="40379"/>
                  </a:lnTo>
                  <a:lnTo>
                    <a:pt x="58184" y="39444"/>
                  </a:lnTo>
                  <a:lnTo>
                    <a:pt x="54615" y="37775"/>
                  </a:lnTo>
                  <a:lnTo>
                    <a:pt x="47855" y="38236"/>
                  </a:lnTo>
                  <a:lnTo>
                    <a:pt x="46125" y="36254"/>
                  </a:lnTo>
                  <a:lnTo>
                    <a:pt x="40511" y="35080"/>
                  </a:lnTo>
                  <a:lnTo>
                    <a:pt x="36773" y="35818"/>
                  </a:lnTo>
                  <a:lnTo>
                    <a:pt x="34787" y="34619"/>
                  </a:lnTo>
                  <a:lnTo>
                    <a:pt x="29931" y="36277"/>
                  </a:lnTo>
                  <a:lnTo>
                    <a:pt x="19263" y="38675"/>
                  </a:lnTo>
                  <a:lnTo>
                    <a:pt x="15018" y="40335"/>
                  </a:lnTo>
                  <a:lnTo>
                    <a:pt x="12732" y="40884"/>
                  </a:lnTo>
                  <a:lnTo>
                    <a:pt x="10098" y="39529"/>
                  </a:lnTo>
                  <a:lnTo>
                    <a:pt x="5566" y="38001"/>
                  </a:lnTo>
                  <a:lnTo>
                    <a:pt x="462" y="37525"/>
                  </a:lnTo>
                  <a:lnTo>
                    <a:pt x="0" y="36624"/>
                  </a:lnTo>
                  <a:lnTo>
                    <a:pt x="2977" y="33865"/>
                  </a:lnTo>
                  <a:lnTo>
                    <a:pt x="5014" y="33366"/>
                  </a:lnTo>
                  <a:lnTo>
                    <a:pt x="7067" y="33619"/>
                  </a:lnTo>
                  <a:lnTo>
                    <a:pt x="10983" y="35544"/>
                  </a:lnTo>
                  <a:lnTo>
                    <a:pt x="13686" y="36146"/>
                  </a:lnTo>
                  <a:lnTo>
                    <a:pt x="10297" y="33321"/>
                  </a:lnTo>
                  <a:lnTo>
                    <a:pt x="10385" y="32234"/>
                  </a:lnTo>
                  <a:lnTo>
                    <a:pt x="10130" y="30606"/>
                  </a:lnTo>
                  <a:lnTo>
                    <a:pt x="9080" y="29906"/>
                  </a:lnTo>
                  <a:lnTo>
                    <a:pt x="8044" y="28102"/>
                  </a:lnTo>
                  <a:lnTo>
                    <a:pt x="8470" y="27493"/>
                  </a:lnTo>
                  <a:lnTo>
                    <a:pt x="9801" y="27279"/>
                  </a:lnTo>
                  <a:lnTo>
                    <a:pt x="12529" y="27889"/>
                  </a:lnTo>
                  <a:lnTo>
                    <a:pt x="19011" y="31018"/>
                  </a:lnTo>
                  <a:lnTo>
                    <a:pt x="22194" y="30464"/>
                  </a:lnTo>
                  <a:lnTo>
                    <a:pt x="23941" y="29311"/>
                  </a:lnTo>
                  <a:lnTo>
                    <a:pt x="26321" y="28456"/>
                  </a:lnTo>
                  <a:lnTo>
                    <a:pt x="25645" y="28010"/>
                  </a:lnTo>
                  <a:lnTo>
                    <a:pt x="20042" y="27957"/>
                  </a:lnTo>
                  <a:lnTo>
                    <a:pt x="17047" y="27320"/>
                  </a:lnTo>
                  <a:lnTo>
                    <a:pt x="15532" y="26404"/>
                  </a:lnTo>
                  <a:lnTo>
                    <a:pt x="14220" y="24841"/>
                  </a:lnTo>
                  <a:lnTo>
                    <a:pt x="14682" y="24123"/>
                  </a:lnTo>
                  <a:lnTo>
                    <a:pt x="16239" y="23551"/>
                  </a:lnTo>
                  <a:lnTo>
                    <a:pt x="21023" y="23717"/>
                  </a:lnTo>
                  <a:lnTo>
                    <a:pt x="17871" y="21005"/>
                  </a:lnTo>
                  <a:lnTo>
                    <a:pt x="15680" y="19445"/>
                  </a:lnTo>
                  <a:lnTo>
                    <a:pt x="15442" y="18691"/>
                  </a:lnTo>
                  <a:lnTo>
                    <a:pt x="15592" y="17744"/>
                  </a:lnTo>
                  <a:lnTo>
                    <a:pt x="15889" y="17110"/>
                  </a:lnTo>
                  <a:lnTo>
                    <a:pt x="16330" y="16793"/>
                  </a:lnTo>
                  <a:lnTo>
                    <a:pt x="21821" y="18380"/>
                  </a:lnTo>
                  <a:lnTo>
                    <a:pt x="23023" y="18448"/>
                  </a:lnTo>
                  <a:lnTo>
                    <a:pt x="21913" y="17422"/>
                  </a:lnTo>
                  <a:lnTo>
                    <a:pt x="19506" y="15915"/>
                  </a:lnTo>
                  <a:lnTo>
                    <a:pt x="19396" y="15349"/>
                  </a:lnTo>
                  <a:lnTo>
                    <a:pt x="20410" y="14883"/>
                  </a:lnTo>
                  <a:lnTo>
                    <a:pt x="20911" y="14023"/>
                  </a:lnTo>
                  <a:lnTo>
                    <a:pt x="20957" y="13312"/>
                  </a:lnTo>
                  <a:lnTo>
                    <a:pt x="22624" y="12703"/>
                  </a:lnTo>
                  <a:lnTo>
                    <a:pt x="24304" y="12676"/>
                  </a:lnTo>
                  <a:lnTo>
                    <a:pt x="25997" y="13231"/>
                  </a:lnTo>
                  <a:lnTo>
                    <a:pt x="31247" y="16178"/>
                  </a:lnTo>
                  <a:lnTo>
                    <a:pt x="32000" y="17004"/>
                  </a:lnTo>
                  <a:lnTo>
                    <a:pt x="32248" y="18093"/>
                  </a:lnTo>
                  <a:lnTo>
                    <a:pt x="31991" y="19441"/>
                  </a:lnTo>
                  <a:lnTo>
                    <a:pt x="32210" y="19987"/>
                  </a:lnTo>
                  <a:lnTo>
                    <a:pt x="34262" y="19523"/>
                  </a:lnTo>
                  <a:lnTo>
                    <a:pt x="35898" y="20091"/>
                  </a:lnTo>
                  <a:lnTo>
                    <a:pt x="36714" y="19938"/>
                  </a:lnTo>
                  <a:lnTo>
                    <a:pt x="38748" y="17907"/>
                  </a:lnTo>
                  <a:lnTo>
                    <a:pt x="40152" y="18386"/>
                  </a:lnTo>
                  <a:lnTo>
                    <a:pt x="40998" y="19336"/>
                  </a:lnTo>
                  <a:lnTo>
                    <a:pt x="41261" y="20195"/>
                  </a:lnTo>
                  <a:lnTo>
                    <a:pt x="41386" y="21374"/>
                  </a:lnTo>
                  <a:lnTo>
                    <a:pt x="41028" y="23829"/>
                  </a:lnTo>
                  <a:lnTo>
                    <a:pt x="41121" y="24175"/>
                  </a:lnTo>
                  <a:lnTo>
                    <a:pt x="42546" y="22790"/>
                  </a:lnTo>
                  <a:lnTo>
                    <a:pt x="44976" y="22685"/>
                  </a:lnTo>
                  <a:lnTo>
                    <a:pt x="45289" y="21988"/>
                  </a:lnTo>
                  <a:lnTo>
                    <a:pt x="45362" y="19404"/>
                  </a:lnTo>
                  <a:lnTo>
                    <a:pt x="45165" y="17224"/>
                  </a:lnTo>
                  <a:lnTo>
                    <a:pt x="44896" y="16772"/>
                  </a:lnTo>
                  <a:lnTo>
                    <a:pt x="36911" y="13746"/>
                  </a:lnTo>
                  <a:lnTo>
                    <a:pt x="35522" y="13031"/>
                  </a:lnTo>
                  <a:lnTo>
                    <a:pt x="33782" y="11538"/>
                  </a:lnTo>
                  <a:lnTo>
                    <a:pt x="34134" y="10787"/>
                  </a:lnTo>
                  <a:lnTo>
                    <a:pt x="35690" y="10116"/>
                  </a:lnTo>
                  <a:lnTo>
                    <a:pt x="38036" y="9849"/>
                  </a:lnTo>
                  <a:lnTo>
                    <a:pt x="43479" y="9884"/>
                  </a:lnTo>
                  <a:lnTo>
                    <a:pt x="44031" y="9570"/>
                  </a:lnTo>
                  <a:lnTo>
                    <a:pt x="42976" y="8783"/>
                  </a:lnTo>
                  <a:lnTo>
                    <a:pt x="40456" y="8274"/>
                  </a:lnTo>
                  <a:lnTo>
                    <a:pt x="39867" y="7820"/>
                  </a:lnTo>
                  <a:lnTo>
                    <a:pt x="39568" y="6945"/>
                  </a:lnTo>
                  <a:lnTo>
                    <a:pt x="36581" y="7423"/>
                  </a:lnTo>
                  <a:lnTo>
                    <a:pt x="33249" y="7442"/>
                  </a:lnTo>
                  <a:lnTo>
                    <a:pt x="30045" y="6907"/>
                  </a:lnTo>
                  <a:lnTo>
                    <a:pt x="29979" y="6226"/>
                  </a:lnTo>
                  <a:lnTo>
                    <a:pt x="31244" y="5226"/>
                  </a:lnTo>
                  <a:lnTo>
                    <a:pt x="33861" y="3565"/>
                  </a:lnTo>
                  <a:lnTo>
                    <a:pt x="35080" y="3153"/>
                  </a:lnTo>
                  <a:lnTo>
                    <a:pt x="38739" y="3443"/>
                  </a:lnTo>
                  <a:lnTo>
                    <a:pt x="42375" y="2977"/>
                  </a:lnTo>
                  <a:lnTo>
                    <a:pt x="45320" y="3540"/>
                  </a:lnTo>
                  <a:lnTo>
                    <a:pt x="47656" y="5185"/>
                  </a:lnTo>
                  <a:lnTo>
                    <a:pt x="50979" y="8069"/>
                  </a:lnTo>
                  <a:lnTo>
                    <a:pt x="55473" y="9913"/>
                  </a:lnTo>
                  <a:lnTo>
                    <a:pt x="55884" y="10491"/>
                  </a:lnTo>
                  <a:lnTo>
                    <a:pt x="58275" y="11999"/>
                  </a:lnTo>
                  <a:lnTo>
                    <a:pt x="63028" y="16051"/>
                  </a:lnTo>
                  <a:lnTo>
                    <a:pt x="67857" y="18398"/>
                  </a:lnTo>
                  <a:lnTo>
                    <a:pt x="68081" y="18995"/>
                  </a:lnTo>
                  <a:lnTo>
                    <a:pt x="67287" y="19697"/>
                  </a:lnTo>
                  <a:lnTo>
                    <a:pt x="65430" y="20520"/>
                  </a:lnTo>
                  <a:lnTo>
                    <a:pt x="65855" y="20976"/>
                  </a:lnTo>
                  <a:lnTo>
                    <a:pt x="68280" y="21572"/>
                  </a:lnTo>
                  <a:lnTo>
                    <a:pt x="70027" y="23159"/>
                  </a:lnTo>
                  <a:lnTo>
                    <a:pt x="70145" y="23847"/>
                  </a:lnTo>
                  <a:lnTo>
                    <a:pt x="68565" y="28751"/>
                  </a:lnTo>
                  <a:lnTo>
                    <a:pt x="67726" y="29791"/>
                  </a:lnTo>
                  <a:lnTo>
                    <a:pt x="66758" y="30340"/>
                  </a:lnTo>
                  <a:lnTo>
                    <a:pt x="62295" y="29418"/>
                  </a:lnTo>
                  <a:lnTo>
                    <a:pt x="63359" y="30975"/>
                  </a:lnTo>
                  <a:lnTo>
                    <a:pt x="66545" y="32633"/>
                  </a:lnTo>
                  <a:lnTo>
                    <a:pt x="67266" y="33559"/>
                  </a:lnTo>
                  <a:lnTo>
                    <a:pt x="66791" y="34466"/>
                  </a:lnTo>
                  <a:lnTo>
                    <a:pt x="67139" y="34676"/>
                  </a:lnTo>
                  <a:lnTo>
                    <a:pt x="68305" y="34185"/>
                  </a:lnTo>
                  <a:lnTo>
                    <a:pt x="68789" y="34700"/>
                  </a:lnTo>
                  <a:lnTo>
                    <a:pt x="68588" y="36218"/>
                  </a:lnTo>
                  <a:lnTo>
                    <a:pt x="68091" y="37477"/>
                  </a:lnTo>
                  <a:lnTo>
                    <a:pt x="67298" y="38476"/>
                  </a:lnTo>
                  <a:lnTo>
                    <a:pt x="67526" y="38908"/>
                  </a:lnTo>
                  <a:lnTo>
                    <a:pt x="68773" y="38775"/>
                  </a:lnTo>
                  <a:lnTo>
                    <a:pt x="69943" y="39034"/>
                  </a:lnTo>
                  <a:lnTo>
                    <a:pt x="71769" y="40412"/>
                  </a:lnTo>
                  <a:lnTo>
                    <a:pt x="73251" y="44619"/>
                  </a:lnTo>
                  <a:lnTo>
                    <a:pt x="73987" y="45978"/>
                  </a:lnTo>
                  <a:lnTo>
                    <a:pt x="74517" y="44772"/>
                  </a:lnTo>
                  <a:lnTo>
                    <a:pt x="75183" y="41702"/>
                  </a:lnTo>
                  <a:lnTo>
                    <a:pt x="75809" y="40132"/>
                  </a:lnTo>
                  <a:lnTo>
                    <a:pt x="76394" y="40063"/>
                  </a:lnTo>
                  <a:lnTo>
                    <a:pt x="76899" y="39546"/>
                  </a:lnTo>
                  <a:lnTo>
                    <a:pt x="77322" y="38581"/>
                  </a:lnTo>
                  <a:lnTo>
                    <a:pt x="78187" y="35174"/>
                  </a:lnTo>
                  <a:lnTo>
                    <a:pt x="81181" y="32587"/>
                  </a:lnTo>
                  <a:lnTo>
                    <a:pt x="82610" y="31794"/>
                  </a:lnTo>
                  <a:lnTo>
                    <a:pt x="83954" y="31618"/>
                  </a:lnTo>
                  <a:lnTo>
                    <a:pt x="84607" y="31941"/>
                  </a:lnTo>
                  <a:lnTo>
                    <a:pt x="86846" y="34654"/>
                  </a:lnTo>
                  <a:lnTo>
                    <a:pt x="88209" y="35110"/>
                  </a:lnTo>
                  <a:lnTo>
                    <a:pt x="88909" y="34961"/>
                  </a:lnTo>
                  <a:lnTo>
                    <a:pt x="89867" y="33121"/>
                  </a:lnTo>
                  <a:lnTo>
                    <a:pt x="91081" y="29583"/>
                  </a:lnTo>
                  <a:lnTo>
                    <a:pt x="91358" y="25625"/>
                  </a:lnTo>
                  <a:lnTo>
                    <a:pt x="90698" y="21246"/>
                  </a:lnTo>
                  <a:lnTo>
                    <a:pt x="91082" y="18118"/>
                  </a:lnTo>
                  <a:lnTo>
                    <a:pt x="92507" y="16246"/>
                  </a:lnTo>
                  <a:lnTo>
                    <a:pt x="94378" y="15670"/>
                  </a:lnTo>
                  <a:lnTo>
                    <a:pt x="96696" y="16389"/>
                  </a:lnTo>
                  <a:lnTo>
                    <a:pt x="98390" y="17531"/>
                  </a:lnTo>
                  <a:lnTo>
                    <a:pt x="101736" y="21888"/>
                  </a:lnTo>
                  <a:lnTo>
                    <a:pt x="104437" y="24164"/>
                  </a:lnTo>
                  <a:lnTo>
                    <a:pt x="106754" y="26607"/>
                  </a:lnTo>
                  <a:lnTo>
                    <a:pt x="107954" y="27398"/>
                  </a:lnTo>
                  <a:lnTo>
                    <a:pt x="110251" y="27799"/>
                  </a:lnTo>
                  <a:lnTo>
                    <a:pt x="110867" y="27642"/>
                  </a:lnTo>
                  <a:lnTo>
                    <a:pt x="111277" y="27078"/>
                  </a:lnTo>
                  <a:lnTo>
                    <a:pt x="111485" y="26109"/>
                  </a:lnTo>
                  <a:lnTo>
                    <a:pt x="110990" y="19886"/>
                  </a:lnTo>
                  <a:lnTo>
                    <a:pt x="111636" y="17944"/>
                  </a:lnTo>
                  <a:lnTo>
                    <a:pt x="112611" y="16564"/>
                  </a:lnTo>
                  <a:lnTo>
                    <a:pt x="116760" y="15750"/>
                  </a:lnTo>
                  <a:lnTo>
                    <a:pt x="119018" y="14884"/>
                  </a:lnTo>
                  <a:lnTo>
                    <a:pt x="121217" y="13461"/>
                  </a:lnTo>
                  <a:lnTo>
                    <a:pt x="123040" y="12698"/>
                  </a:lnTo>
                  <a:lnTo>
                    <a:pt x="124487" y="12595"/>
                  </a:lnTo>
                  <a:lnTo>
                    <a:pt x="125998" y="13151"/>
                  </a:lnTo>
                  <a:lnTo>
                    <a:pt x="127576" y="14363"/>
                  </a:lnTo>
                  <a:lnTo>
                    <a:pt x="130036" y="16724"/>
                  </a:lnTo>
                  <a:lnTo>
                    <a:pt x="133131" y="20630"/>
                  </a:lnTo>
                  <a:lnTo>
                    <a:pt x="137067" y="23546"/>
                  </a:lnTo>
                  <a:lnTo>
                    <a:pt x="139130" y="28165"/>
                  </a:lnTo>
                  <a:lnTo>
                    <a:pt x="139571" y="28945"/>
                  </a:lnTo>
                  <a:lnTo>
                    <a:pt x="140052" y="29036"/>
                  </a:lnTo>
                  <a:lnTo>
                    <a:pt x="140573" y="28437"/>
                  </a:lnTo>
                  <a:lnTo>
                    <a:pt x="140906" y="27585"/>
                  </a:lnTo>
                  <a:lnTo>
                    <a:pt x="141001" y="25532"/>
                  </a:lnTo>
                  <a:lnTo>
                    <a:pt x="139899" y="22804"/>
                  </a:lnTo>
                  <a:lnTo>
                    <a:pt x="136218" y="15924"/>
                  </a:lnTo>
                  <a:lnTo>
                    <a:pt x="136155" y="14618"/>
                  </a:lnTo>
                  <a:lnTo>
                    <a:pt x="136620" y="13568"/>
                  </a:lnTo>
                  <a:lnTo>
                    <a:pt x="139214" y="13454"/>
                  </a:lnTo>
                  <a:lnTo>
                    <a:pt x="145248" y="14086"/>
                  </a:lnTo>
                  <a:lnTo>
                    <a:pt x="147175" y="15156"/>
                  </a:lnTo>
                  <a:lnTo>
                    <a:pt x="151277" y="19365"/>
                  </a:lnTo>
                  <a:lnTo>
                    <a:pt x="152429" y="20380"/>
                  </a:lnTo>
                  <a:lnTo>
                    <a:pt x="153132" y="20636"/>
                  </a:lnTo>
                  <a:lnTo>
                    <a:pt x="153384" y="20127"/>
                  </a:lnTo>
                  <a:lnTo>
                    <a:pt x="154976" y="19347"/>
                  </a:lnTo>
                  <a:lnTo>
                    <a:pt x="156077" y="18400"/>
                  </a:lnTo>
                  <a:lnTo>
                    <a:pt x="157912" y="16081"/>
                  </a:lnTo>
                  <a:lnTo>
                    <a:pt x="161920" y="11902"/>
                  </a:lnTo>
                  <a:lnTo>
                    <a:pt x="162752" y="11778"/>
                  </a:lnTo>
                  <a:lnTo>
                    <a:pt x="163922" y="12108"/>
                  </a:lnTo>
                  <a:lnTo>
                    <a:pt x="165977" y="13203"/>
                  </a:lnTo>
                  <a:lnTo>
                    <a:pt x="166952" y="14080"/>
                  </a:lnTo>
                  <a:lnTo>
                    <a:pt x="168885" y="14748"/>
                  </a:lnTo>
                  <a:lnTo>
                    <a:pt x="170866" y="14514"/>
                  </a:lnTo>
                  <a:lnTo>
                    <a:pt x="173601" y="13049"/>
                  </a:lnTo>
                  <a:lnTo>
                    <a:pt x="176691" y="12155"/>
                  </a:lnTo>
                  <a:lnTo>
                    <a:pt x="177750" y="10076"/>
                  </a:lnTo>
                  <a:lnTo>
                    <a:pt x="177950" y="9127"/>
                  </a:lnTo>
                  <a:lnTo>
                    <a:pt x="175460" y="2928"/>
                  </a:lnTo>
                  <a:lnTo>
                    <a:pt x="176506" y="1658"/>
                  </a:lnTo>
                  <a:lnTo>
                    <a:pt x="181902" y="117"/>
                  </a:lnTo>
                  <a:lnTo>
                    <a:pt x="186622" y="0"/>
                  </a:lnTo>
                  <a:lnTo>
                    <a:pt x="187738" y="422"/>
                  </a:lnTo>
                  <a:lnTo>
                    <a:pt x="190712" y="3439"/>
                  </a:lnTo>
                  <a:lnTo>
                    <a:pt x="192727" y="4956"/>
                  </a:lnTo>
                  <a:lnTo>
                    <a:pt x="193744" y="6176"/>
                  </a:lnTo>
                  <a:lnTo>
                    <a:pt x="193987" y="8856"/>
                  </a:lnTo>
                  <a:lnTo>
                    <a:pt x="195213" y="9847"/>
                  </a:lnTo>
                  <a:close/>
                </a:path>
              </a:pathLst>
            </a:custGeom>
            <a:solidFill>
              <a:srgbClr val="A3BA1E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55" name="ee4p_IT_1_82333">
              <a:extLst>
                <a:ext uri="{FF2B5EF4-FFF2-40B4-BE49-F238E27FC236}">
                  <a16:creationId xmlns:a16="http://schemas.microsoft.com/office/drawing/2014/main" id="{FF335905-1C74-3B0B-5DC4-1ECD4764004D}"/>
                </a:ext>
              </a:extLst>
            </p:cNvPr>
            <p:cNvSpPr>
              <a:spLocks noChangeAspect="1"/>
            </p:cNvSpPr>
            <p:nvPr>
              <p:custDataLst>
                <p:tags r:id="rId83"/>
              </p:custDataLst>
            </p:nvPr>
          </p:nvSpPr>
          <p:spPr>
            <a:xfrm>
              <a:off x="6741877" y="3372969"/>
              <a:ext cx="206988" cy="207252"/>
            </a:xfrm>
            <a:custGeom>
              <a:avLst/>
              <a:gdLst>
                <a:gd name="connsiteX0" fmla="*/ 83300 w 164820"/>
                <a:gd name="connsiteY0" fmla="*/ 156716 h 160656"/>
                <a:gd name="connsiteX1" fmla="*/ 84985 w 164820"/>
                <a:gd name="connsiteY1" fmla="*/ 157277 h 160656"/>
                <a:gd name="connsiteX2" fmla="*/ 85512 w 164820"/>
                <a:gd name="connsiteY2" fmla="*/ 158410 h 160656"/>
                <a:gd name="connsiteX3" fmla="*/ 85583 w 164820"/>
                <a:gd name="connsiteY3" fmla="*/ 158900 h 160656"/>
                <a:gd name="connsiteX4" fmla="*/ 84523 w 164820"/>
                <a:gd name="connsiteY4" fmla="*/ 159180 h 160656"/>
                <a:gd name="connsiteX5" fmla="*/ 83137 w 164820"/>
                <a:gd name="connsiteY5" fmla="*/ 158308 h 160656"/>
                <a:gd name="connsiteX6" fmla="*/ 83044 w 164820"/>
                <a:gd name="connsiteY6" fmla="*/ 157083 h 160656"/>
                <a:gd name="connsiteX7" fmla="*/ 163353 w 164820"/>
                <a:gd name="connsiteY7" fmla="*/ 119599 h 160656"/>
                <a:gd name="connsiteX8" fmla="*/ 164820 w 164820"/>
                <a:gd name="connsiteY8" fmla="*/ 120327 h 160656"/>
                <a:gd name="connsiteX9" fmla="*/ 163535 w 164820"/>
                <a:gd name="connsiteY9" fmla="*/ 121541 h 160656"/>
                <a:gd name="connsiteX10" fmla="*/ 162038 w 164820"/>
                <a:gd name="connsiteY10" fmla="*/ 124459 h 160656"/>
                <a:gd name="connsiteX11" fmla="*/ 161304 w 164820"/>
                <a:gd name="connsiteY11" fmla="*/ 125580 h 160656"/>
                <a:gd name="connsiteX12" fmla="*/ 155970 w 164820"/>
                <a:gd name="connsiteY12" fmla="*/ 132706 h 160656"/>
                <a:gd name="connsiteX13" fmla="*/ 155359 w 164820"/>
                <a:gd name="connsiteY13" fmla="*/ 134350 h 160656"/>
                <a:gd name="connsiteX14" fmla="*/ 154984 w 164820"/>
                <a:gd name="connsiteY14" fmla="*/ 136135 h 160656"/>
                <a:gd name="connsiteX15" fmla="*/ 154431 w 164820"/>
                <a:gd name="connsiteY15" fmla="*/ 137699 h 160656"/>
                <a:gd name="connsiteX16" fmla="*/ 153683 w 164820"/>
                <a:gd name="connsiteY16" fmla="*/ 139172 h 160656"/>
                <a:gd name="connsiteX17" fmla="*/ 152986 w 164820"/>
                <a:gd name="connsiteY17" fmla="*/ 141044 h 160656"/>
                <a:gd name="connsiteX18" fmla="*/ 153122 w 164820"/>
                <a:gd name="connsiteY18" fmla="*/ 143164 h 160656"/>
                <a:gd name="connsiteX19" fmla="*/ 153373 w 164820"/>
                <a:gd name="connsiteY19" fmla="*/ 144204 h 160656"/>
                <a:gd name="connsiteX20" fmla="*/ 154014 w 164820"/>
                <a:gd name="connsiteY20" fmla="*/ 144885 h 160656"/>
                <a:gd name="connsiteX21" fmla="*/ 155068 w 164820"/>
                <a:gd name="connsiteY21" fmla="*/ 145526 h 160656"/>
                <a:gd name="connsiteX22" fmla="*/ 155877 w 164820"/>
                <a:gd name="connsiteY22" fmla="*/ 146508 h 160656"/>
                <a:gd name="connsiteX23" fmla="*/ 154636 w 164820"/>
                <a:gd name="connsiteY23" fmla="*/ 147403 h 160656"/>
                <a:gd name="connsiteX24" fmla="*/ 156005 w 164820"/>
                <a:gd name="connsiteY24" fmla="*/ 149197 h 160656"/>
                <a:gd name="connsiteX25" fmla="*/ 157169 w 164820"/>
                <a:gd name="connsiteY25" fmla="*/ 150262 h 160656"/>
                <a:gd name="connsiteX26" fmla="*/ 157324 w 164820"/>
                <a:gd name="connsiteY26" fmla="*/ 151324 h 160656"/>
                <a:gd name="connsiteX27" fmla="*/ 157298 w 164820"/>
                <a:gd name="connsiteY27" fmla="*/ 152389 h 160656"/>
                <a:gd name="connsiteX28" fmla="*/ 154880 w 164820"/>
                <a:gd name="connsiteY28" fmla="*/ 154385 h 160656"/>
                <a:gd name="connsiteX29" fmla="*/ 153934 w 164820"/>
                <a:gd name="connsiteY29" fmla="*/ 155483 h 160656"/>
                <a:gd name="connsiteX30" fmla="*/ 153347 w 164820"/>
                <a:gd name="connsiteY30" fmla="*/ 156812 h 160656"/>
                <a:gd name="connsiteX31" fmla="*/ 153092 w 164820"/>
                <a:gd name="connsiteY31" fmla="*/ 158184 h 160656"/>
                <a:gd name="connsiteX32" fmla="*/ 153357 w 164820"/>
                <a:gd name="connsiteY32" fmla="*/ 159422 h 160656"/>
                <a:gd name="connsiteX33" fmla="*/ 153275 w 164820"/>
                <a:gd name="connsiteY33" fmla="*/ 160656 h 160656"/>
                <a:gd name="connsiteX34" fmla="*/ 150840 w 164820"/>
                <a:gd name="connsiteY34" fmla="*/ 160502 h 160656"/>
                <a:gd name="connsiteX35" fmla="*/ 148346 w 164820"/>
                <a:gd name="connsiteY35" fmla="*/ 159750 h 160656"/>
                <a:gd name="connsiteX36" fmla="*/ 145832 w 164820"/>
                <a:gd name="connsiteY36" fmla="*/ 160083 h 160656"/>
                <a:gd name="connsiteX37" fmla="*/ 142258 w 164820"/>
                <a:gd name="connsiteY37" fmla="*/ 158657 h 160656"/>
                <a:gd name="connsiteX38" fmla="*/ 140956 w 164820"/>
                <a:gd name="connsiteY38" fmla="*/ 158399 h 160656"/>
                <a:gd name="connsiteX39" fmla="*/ 139771 w 164820"/>
                <a:gd name="connsiteY39" fmla="*/ 157843 h 160656"/>
                <a:gd name="connsiteX40" fmla="*/ 136795 w 164820"/>
                <a:gd name="connsiteY40" fmla="*/ 153418 h 160656"/>
                <a:gd name="connsiteX41" fmla="*/ 134402 w 164820"/>
                <a:gd name="connsiteY41" fmla="*/ 151546 h 160656"/>
                <a:gd name="connsiteX42" fmla="*/ 131835 w 164820"/>
                <a:gd name="connsiteY42" fmla="*/ 150090 h 160656"/>
                <a:gd name="connsiteX43" fmla="*/ 129211 w 164820"/>
                <a:gd name="connsiteY43" fmla="*/ 150001 h 160656"/>
                <a:gd name="connsiteX44" fmla="*/ 126583 w 164820"/>
                <a:gd name="connsiteY44" fmla="*/ 150167 h 160656"/>
                <a:gd name="connsiteX45" fmla="*/ 124264 w 164820"/>
                <a:gd name="connsiteY45" fmla="*/ 149269 h 160656"/>
                <a:gd name="connsiteX46" fmla="*/ 119544 w 164820"/>
                <a:gd name="connsiteY46" fmla="*/ 146257 h 160656"/>
                <a:gd name="connsiteX47" fmla="*/ 114542 w 164820"/>
                <a:gd name="connsiteY47" fmla="*/ 143846 h 160656"/>
                <a:gd name="connsiteX48" fmla="*/ 112420 w 164820"/>
                <a:gd name="connsiteY48" fmla="*/ 142274 h 160656"/>
                <a:gd name="connsiteX49" fmla="*/ 111450 w 164820"/>
                <a:gd name="connsiteY49" fmla="*/ 141217 h 160656"/>
                <a:gd name="connsiteX50" fmla="*/ 110319 w 164820"/>
                <a:gd name="connsiteY50" fmla="*/ 140515 h 160656"/>
                <a:gd name="connsiteX51" fmla="*/ 107453 w 164820"/>
                <a:gd name="connsiteY51" fmla="*/ 139819 h 160656"/>
                <a:gd name="connsiteX52" fmla="*/ 104884 w 164820"/>
                <a:gd name="connsiteY52" fmla="*/ 138186 h 160656"/>
                <a:gd name="connsiteX53" fmla="*/ 103713 w 164820"/>
                <a:gd name="connsiteY53" fmla="*/ 138066 h 160656"/>
                <a:gd name="connsiteX54" fmla="*/ 101195 w 164820"/>
                <a:gd name="connsiteY54" fmla="*/ 138265 h 160656"/>
                <a:gd name="connsiteX55" fmla="*/ 99906 w 164820"/>
                <a:gd name="connsiteY55" fmla="*/ 138152 h 160656"/>
                <a:gd name="connsiteX56" fmla="*/ 98606 w 164820"/>
                <a:gd name="connsiteY56" fmla="*/ 137577 h 160656"/>
                <a:gd name="connsiteX57" fmla="*/ 96097 w 164820"/>
                <a:gd name="connsiteY57" fmla="*/ 135655 h 160656"/>
                <a:gd name="connsiteX58" fmla="*/ 94497 w 164820"/>
                <a:gd name="connsiteY58" fmla="*/ 132988 h 160656"/>
                <a:gd name="connsiteX59" fmla="*/ 94080 w 164820"/>
                <a:gd name="connsiteY59" fmla="*/ 131811 h 160656"/>
                <a:gd name="connsiteX60" fmla="*/ 95214 w 164820"/>
                <a:gd name="connsiteY60" fmla="*/ 128764 h 160656"/>
                <a:gd name="connsiteX61" fmla="*/ 96559 w 164820"/>
                <a:gd name="connsiteY61" fmla="*/ 125837 h 160656"/>
                <a:gd name="connsiteX62" fmla="*/ 97753 w 164820"/>
                <a:gd name="connsiteY62" fmla="*/ 125015 h 160656"/>
                <a:gd name="connsiteX63" fmla="*/ 99140 w 164820"/>
                <a:gd name="connsiteY63" fmla="*/ 124426 h 160656"/>
                <a:gd name="connsiteX64" fmla="*/ 99980 w 164820"/>
                <a:gd name="connsiteY64" fmla="*/ 123559 h 160656"/>
                <a:gd name="connsiteX65" fmla="*/ 100688 w 164820"/>
                <a:gd name="connsiteY65" fmla="*/ 122497 h 160656"/>
                <a:gd name="connsiteX66" fmla="*/ 103260 w 164820"/>
                <a:gd name="connsiteY66" fmla="*/ 125560 h 160656"/>
                <a:gd name="connsiteX67" fmla="*/ 104411 w 164820"/>
                <a:gd name="connsiteY67" fmla="*/ 126300 h 160656"/>
                <a:gd name="connsiteX68" fmla="*/ 105577 w 164820"/>
                <a:gd name="connsiteY68" fmla="*/ 126135 h 160656"/>
                <a:gd name="connsiteX69" fmla="*/ 107645 w 164820"/>
                <a:gd name="connsiteY69" fmla="*/ 125038 h 160656"/>
                <a:gd name="connsiteX70" fmla="*/ 107818 w 164820"/>
                <a:gd name="connsiteY70" fmla="*/ 123836 h 160656"/>
                <a:gd name="connsiteX71" fmla="*/ 110098 w 164820"/>
                <a:gd name="connsiteY71" fmla="*/ 122311 h 160656"/>
                <a:gd name="connsiteX72" fmla="*/ 112999 w 164820"/>
                <a:gd name="connsiteY72" fmla="*/ 122282 h 160656"/>
                <a:gd name="connsiteX73" fmla="*/ 114337 w 164820"/>
                <a:gd name="connsiteY73" fmla="*/ 122562 h 160656"/>
                <a:gd name="connsiteX74" fmla="*/ 115041 w 164820"/>
                <a:gd name="connsiteY74" fmla="*/ 123941 h 160656"/>
                <a:gd name="connsiteX75" fmla="*/ 116147 w 164820"/>
                <a:gd name="connsiteY75" fmla="*/ 124366 h 160656"/>
                <a:gd name="connsiteX76" fmla="*/ 117425 w 164820"/>
                <a:gd name="connsiteY76" fmla="*/ 124549 h 160656"/>
                <a:gd name="connsiteX77" fmla="*/ 121632 w 164820"/>
                <a:gd name="connsiteY77" fmla="*/ 127175 h 160656"/>
                <a:gd name="connsiteX78" fmla="*/ 122811 w 164820"/>
                <a:gd name="connsiteY78" fmla="*/ 127603 h 160656"/>
                <a:gd name="connsiteX79" fmla="*/ 124005 w 164820"/>
                <a:gd name="connsiteY79" fmla="*/ 127676 h 160656"/>
                <a:gd name="connsiteX80" fmla="*/ 127272 w 164820"/>
                <a:gd name="connsiteY80" fmla="*/ 126574 h 160656"/>
                <a:gd name="connsiteX81" fmla="*/ 129779 w 164820"/>
                <a:gd name="connsiteY81" fmla="*/ 126155 h 160656"/>
                <a:gd name="connsiteX82" fmla="*/ 135035 w 164820"/>
                <a:gd name="connsiteY82" fmla="*/ 126762 h 160656"/>
                <a:gd name="connsiteX83" fmla="*/ 137877 w 164820"/>
                <a:gd name="connsiteY83" fmla="*/ 126102 h 160656"/>
                <a:gd name="connsiteX84" fmla="*/ 139861 w 164820"/>
                <a:gd name="connsiteY84" fmla="*/ 126027 h 160656"/>
                <a:gd name="connsiteX85" fmla="*/ 142753 w 164820"/>
                <a:gd name="connsiteY85" fmla="*/ 125012 h 160656"/>
                <a:gd name="connsiteX86" fmla="*/ 144975 w 164820"/>
                <a:gd name="connsiteY86" fmla="*/ 123326 h 160656"/>
                <a:gd name="connsiteX87" fmla="*/ 146134 w 164820"/>
                <a:gd name="connsiteY87" fmla="*/ 122910 h 160656"/>
                <a:gd name="connsiteX88" fmla="*/ 147378 w 164820"/>
                <a:gd name="connsiteY88" fmla="*/ 122790 h 160656"/>
                <a:gd name="connsiteX89" fmla="*/ 150386 w 164820"/>
                <a:gd name="connsiteY89" fmla="*/ 122895 h 160656"/>
                <a:gd name="connsiteX90" fmla="*/ 153411 w 164820"/>
                <a:gd name="connsiteY90" fmla="*/ 123276 h 160656"/>
                <a:gd name="connsiteX91" fmla="*/ 154679 w 164820"/>
                <a:gd name="connsiteY91" fmla="*/ 122882 h 160656"/>
                <a:gd name="connsiteX92" fmla="*/ 155739 w 164820"/>
                <a:gd name="connsiteY92" fmla="*/ 121779 h 160656"/>
                <a:gd name="connsiteX93" fmla="*/ 156968 w 164820"/>
                <a:gd name="connsiteY93" fmla="*/ 121282 h 160656"/>
                <a:gd name="connsiteX94" fmla="*/ 158320 w 164820"/>
                <a:gd name="connsiteY94" fmla="*/ 121617 h 160656"/>
                <a:gd name="connsiteX95" fmla="*/ 161813 w 164820"/>
                <a:gd name="connsiteY95" fmla="*/ 119728 h 160656"/>
                <a:gd name="connsiteX96" fmla="*/ 4111 w 164820"/>
                <a:gd name="connsiteY96" fmla="*/ 98453 h 160656"/>
                <a:gd name="connsiteX97" fmla="*/ 5744 w 164820"/>
                <a:gd name="connsiteY97" fmla="*/ 99107 h 160656"/>
                <a:gd name="connsiteX98" fmla="*/ 6590 w 164820"/>
                <a:gd name="connsiteY98" fmla="*/ 99705 h 160656"/>
                <a:gd name="connsiteX99" fmla="*/ 5321 w 164820"/>
                <a:gd name="connsiteY99" fmla="*/ 102261 h 160656"/>
                <a:gd name="connsiteX100" fmla="*/ 3982 w 164820"/>
                <a:gd name="connsiteY100" fmla="*/ 100451 h 160656"/>
                <a:gd name="connsiteX101" fmla="*/ 3930 w 164820"/>
                <a:gd name="connsiteY101" fmla="*/ 98896 h 160656"/>
                <a:gd name="connsiteX102" fmla="*/ 125825 w 164820"/>
                <a:gd name="connsiteY102" fmla="*/ 55558 h 160656"/>
                <a:gd name="connsiteX103" fmla="*/ 127836 w 164820"/>
                <a:gd name="connsiteY103" fmla="*/ 56147 h 160656"/>
                <a:gd name="connsiteX104" fmla="*/ 127808 w 164820"/>
                <a:gd name="connsiteY104" fmla="*/ 56704 h 160656"/>
                <a:gd name="connsiteX105" fmla="*/ 127309 w 164820"/>
                <a:gd name="connsiteY105" fmla="*/ 57033 h 160656"/>
                <a:gd name="connsiteX106" fmla="*/ 126322 w 164820"/>
                <a:gd name="connsiteY106" fmla="*/ 57260 h 160656"/>
                <a:gd name="connsiteX107" fmla="*/ 125747 w 164820"/>
                <a:gd name="connsiteY107" fmla="*/ 56951 h 160656"/>
                <a:gd name="connsiteX108" fmla="*/ 125434 w 164820"/>
                <a:gd name="connsiteY108" fmla="*/ 56549 h 160656"/>
                <a:gd name="connsiteX109" fmla="*/ 3081 w 164820"/>
                <a:gd name="connsiteY109" fmla="*/ 46092 h 160656"/>
                <a:gd name="connsiteX110" fmla="*/ 3602 w 164820"/>
                <a:gd name="connsiteY110" fmla="*/ 46625 h 160656"/>
                <a:gd name="connsiteX111" fmla="*/ 3053 w 164820"/>
                <a:gd name="connsiteY111" fmla="*/ 47648 h 160656"/>
                <a:gd name="connsiteX112" fmla="*/ 2326 w 164820"/>
                <a:gd name="connsiteY112" fmla="*/ 48251 h 160656"/>
                <a:gd name="connsiteX113" fmla="*/ 1589 w 164820"/>
                <a:gd name="connsiteY113" fmla="*/ 49454 h 160656"/>
                <a:gd name="connsiteX114" fmla="*/ 549 w 164820"/>
                <a:gd name="connsiteY114" fmla="*/ 49366 h 160656"/>
                <a:gd name="connsiteX115" fmla="*/ 955 w 164820"/>
                <a:gd name="connsiteY115" fmla="*/ 48476 h 160656"/>
                <a:gd name="connsiteX116" fmla="*/ 1913 w 164820"/>
                <a:gd name="connsiteY116" fmla="*/ 46691 h 160656"/>
                <a:gd name="connsiteX117" fmla="*/ 23164 w 164820"/>
                <a:gd name="connsiteY117" fmla="*/ 42529 h 160656"/>
                <a:gd name="connsiteX118" fmla="*/ 24371 w 164820"/>
                <a:gd name="connsiteY118" fmla="*/ 43990 h 160656"/>
                <a:gd name="connsiteX119" fmla="*/ 25869 w 164820"/>
                <a:gd name="connsiteY119" fmla="*/ 44142 h 160656"/>
                <a:gd name="connsiteX120" fmla="*/ 28178 w 164820"/>
                <a:gd name="connsiteY120" fmla="*/ 45347 h 160656"/>
                <a:gd name="connsiteX121" fmla="*/ 29174 w 164820"/>
                <a:gd name="connsiteY121" fmla="*/ 46500 h 160656"/>
                <a:gd name="connsiteX122" fmla="*/ 30026 w 164820"/>
                <a:gd name="connsiteY122" fmla="*/ 47888 h 160656"/>
                <a:gd name="connsiteX123" fmla="*/ 30842 w 164820"/>
                <a:gd name="connsiteY123" fmla="*/ 48496 h 160656"/>
                <a:gd name="connsiteX124" fmla="*/ 31719 w 164820"/>
                <a:gd name="connsiteY124" fmla="*/ 48845 h 160656"/>
                <a:gd name="connsiteX125" fmla="*/ 31849 w 164820"/>
                <a:gd name="connsiteY125" fmla="*/ 49171 h 160656"/>
                <a:gd name="connsiteX126" fmla="*/ 31154 w 164820"/>
                <a:gd name="connsiteY126" fmla="*/ 49497 h 160656"/>
                <a:gd name="connsiteX127" fmla="*/ 30357 w 164820"/>
                <a:gd name="connsiteY127" fmla="*/ 51084 h 160656"/>
                <a:gd name="connsiteX128" fmla="*/ 30806 w 164820"/>
                <a:gd name="connsiteY128" fmla="*/ 51541 h 160656"/>
                <a:gd name="connsiteX129" fmla="*/ 32088 w 164820"/>
                <a:gd name="connsiteY129" fmla="*/ 52401 h 160656"/>
                <a:gd name="connsiteX130" fmla="*/ 33194 w 164820"/>
                <a:gd name="connsiteY130" fmla="*/ 54080 h 160656"/>
                <a:gd name="connsiteX131" fmla="*/ 35677 w 164820"/>
                <a:gd name="connsiteY131" fmla="*/ 60951 h 160656"/>
                <a:gd name="connsiteX132" fmla="*/ 35919 w 164820"/>
                <a:gd name="connsiteY132" fmla="*/ 62435 h 160656"/>
                <a:gd name="connsiteX133" fmla="*/ 35423 w 164820"/>
                <a:gd name="connsiteY133" fmla="*/ 63955 h 160656"/>
                <a:gd name="connsiteX134" fmla="*/ 34790 w 164820"/>
                <a:gd name="connsiteY134" fmla="*/ 65033 h 160656"/>
                <a:gd name="connsiteX135" fmla="*/ 32330 w 164820"/>
                <a:gd name="connsiteY135" fmla="*/ 68482 h 160656"/>
                <a:gd name="connsiteX136" fmla="*/ 32695 w 164820"/>
                <a:gd name="connsiteY136" fmla="*/ 71334 h 160656"/>
                <a:gd name="connsiteX137" fmla="*/ 33609 w 164820"/>
                <a:gd name="connsiteY137" fmla="*/ 73095 h 160656"/>
                <a:gd name="connsiteX138" fmla="*/ 33740 w 164820"/>
                <a:gd name="connsiteY138" fmla="*/ 75044 h 160656"/>
                <a:gd name="connsiteX139" fmla="*/ 33283 w 164820"/>
                <a:gd name="connsiteY139" fmla="*/ 77460 h 160656"/>
                <a:gd name="connsiteX140" fmla="*/ 31756 w 164820"/>
                <a:gd name="connsiteY140" fmla="*/ 92276 h 160656"/>
                <a:gd name="connsiteX141" fmla="*/ 31018 w 164820"/>
                <a:gd name="connsiteY141" fmla="*/ 94889 h 160656"/>
                <a:gd name="connsiteX142" fmla="*/ 30551 w 164820"/>
                <a:gd name="connsiteY142" fmla="*/ 97156 h 160656"/>
                <a:gd name="connsiteX143" fmla="*/ 28867 w 164820"/>
                <a:gd name="connsiteY143" fmla="*/ 97841 h 160656"/>
                <a:gd name="connsiteX144" fmla="*/ 26694 w 164820"/>
                <a:gd name="connsiteY144" fmla="*/ 97117 h 160656"/>
                <a:gd name="connsiteX145" fmla="*/ 23954 w 164820"/>
                <a:gd name="connsiteY145" fmla="*/ 95841 h 160656"/>
                <a:gd name="connsiteX146" fmla="*/ 22689 w 164820"/>
                <a:gd name="connsiteY146" fmla="*/ 95918 h 160656"/>
                <a:gd name="connsiteX147" fmla="*/ 21415 w 164820"/>
                <a:gd name="connsiteY147" fmla="*/ 96354 h 160656"/>
                <a:gd name="connsiteX148" fmla="*/ 20363 w 164820"/>
                <a:gd name="connsiteY148" fmla="*/ 95984 h 160656"/>
                <a:gd name="connsiteX149" fmla="*/ 19359 w 164820"/>
                <a:gd name="connsiteY149" fmla="*/ 95262 h 160656"/>
                <a:gd name="connsiteX150" fmla="*/ 18614 w 164820"/>
                <a:gd name="connsiteY150" fmla="*/ 100332 h 160656"/>
                <a:gd name="connsiteX151" fmla="*/ 17375 w 164820"/>
                <a:gd name="connsiteY151" fmla="*/ 102389 h 160656"/>
                <a:gd name="connsiteX152" fmla="*/ 15489 w 164820"/>
                <a:gd name="connsiteY152" fmla="*/ 103702 h 160656"/>
                <a:gd name="connsiteX153" fmla="*/ 13716 w 164820"/>
                <a:gd name="connsiteY153" fmla="*/ 103785 h 160656"/>
                <a:gd name="connsiteX154" fmla="*/ 11890 w 164820"/>
                <a:gd name="connsiteY154" fmla="*/ 103345 h 160656"/>
                <a:gd name="connsiteX155" fmla="*/ 10341 w 164820"/>
                <a:gd name="connsiteY155" fmla="*/ 103349 h 160656"/>
                <a:gd name="connsiteX156" fmla="*/ 9167 w 164820"/>
                <a:gd name="connsiteY156" fmla="*/ 102373 h 160656"/>
                <a:gd name="connsiteX157" fmla="*/ 8236 w 164820"/>
                <a:gd name="connsiteY157" fmla="*/ 100667 h 160656"/>
                <a:gd name="connsiteX158" fmla="*/ 6752 w 164820"/>
                <a:gd name="connsiteY158" fmla="*/ 98593 h 160656"/>
                <a:gd name="connsiteX159" fmla="*/ 5247 w 164820"/>
                <a:gd name="connsiteY159" fmla="*/ 96128 h 160656"/>
                <a:gd name="connsiteX160" fmla="*/ 5083 w 164820"/>
                <a:gd name="connsiteY160" fmla="*/ 93898 h 160656"/>
                <a:gd name="connsiteX161" fmla="*/ 4826 w 164820"/>
                <a:gd name="connsiteY161" fmla="*/ 88975 h 160656"/>
                <a:gd name="connsiteX162" fmla="*/ 5258 w 164820"/>
                <a:gd name="connsiteY162" fmla="*/ 87899 h 160656"/>
                <a:gd name="connsiteX163" fmla="*/ 5887 w 164820"/>
                <a:gd name="connsiteY163" fmla="*/ 86867 h 160656"/>
                <a:gd name="connsiteX164" fmla="*/ 6195 w 164820"/>
                <a:gd name="connsiteY164" fmla="*/ 84661 h 160656"/>
                <a:gd name="connsiteX165" fmla="*/ 5977 w 164820"/>
                <a:gd name="connsiteY165" fmla="*/ 82737 h 160656"/>
                <a:gd name="connsiteX166" fmla="*/ 6418 w 164820"/>
                <a:gd name="connsiteY166" fmla="*/ 82050 h 160656"/>
                <a:gd name="connsiteX167" fmla="*/ 7295 w 164820"/>
                <a:gd name="connsiteY167" fmla="*/ 82737 h 160656"/>
                <a:gd name="connsiteX168" fmla="*/ 7953 w 164820"/>
                <a:gd name="connsiteY168" fmla="*/ 82479 h 160656"/>
                <a:gd name="connsiteX169" fmla="*/ 7912 w 164820"/>
                <a:gd name="connsiteY169" fmla="*/ 81488 h 160656"/>
                <a:gd name="connsiteX170" fmla="*/ 8113 w 164820"/>
                <a:gd name="connsiteY170" fmla="*/ 79678 h 160656"/>
                <a:gd name="connsiteX171" fmla="*/ 6966 w 164820"/>
                <a:gd name="connsiteY171" fmla="*/ 78161 h 160656"/>
                <a:gd name="connsiteX172" fmla="*/ 5018 w 164820"/>
                <a:gd name="connsiteY172" fmla="*/ 77646 h 160656"/>
                <a:gd name="connsiteX173" fmla="*/ 4830 w 164820"/>
                <a:gd name="connsiteY173" fmla="*/ 76058 h 160656"/>
                <a:gd name="connsiteX174" fmla="*/ 5036 w 164820"/>
                <a:gd name="connsiteY174" fmla="*/ 74507 h 160656"/>
                <a:gd name="connsiteX175" fmla="*/ 6064 w 164820"/>
                <a:gd name="connsiteY175" fmla="*/ 73465 h 160656"/>
                <a:gd name="connsiteX176" fmla="*/ 6411 w 164820"/>
                <a:gd name="connsiteY176" fmla="*/ 72079 h 160656"/>
                <a:gd name="connsiteX177" fmla="*/ 6422 w 164820"/>
                <a:gd name="connsiteY177" fmla="*/ 67848 h 160656"/>
                <a:gd name="connsiteX178" fmla="*/ 5049 w 164820"/>
                <a:gd name="connsiteY178" fmla="*/ 66288 h 160656"/>
                <a:gd name="connsiteX179" fmla="*/ 4522 w 164820"/>
                <a:gd name="connsiteY179" fmla="*/ 63924 h 160656"/>
                <a:gd name="connsiteX180" fmla="*/ 3812 w 164820"/>
                <a:gd name="connsiteY180" fmla="*/ 62409 h 160656"/>
                <a:gd name="connsiteX181" fmla="*/ 2535 w 164820"/>
                <a:gd name="connsiteY181" fmla="*/ 60887 h 160656"/>
                <a:gd name="connsiteX182" fmla="*/ 1093 w 164820"/>
                <a:gd name="connsiteY182" fmla="*/ 59647 h 160656"/>
                <a:gd name="connsiteX183" fmla="*/ 201 w 164820"/>
                <a:gd name="connsiteY183" fmla="*/ 58450 h 160656"/>
                <a:gd name="connsiteX184" fmla="*/ 0 w 164820"/>
                <a:gd name="connsiteY184" fmla="*/ 55316 h 160656"/>
                <a:gd name="connsiteX185" fmla="*/ 507 w 164820"/>
                <a:gd name="connsiteY185" fmla="*/ 52699 h 160656"/>
                <a:gd name="connsiteX186" fmla="*/ 959 w 164820"/>
                <a:gd name="connsiteY186" fmla="*/ 51578 h 160656"/>
                <a:gd name="connsiteX187" fmla="*/ 1423 w 164820"/>
                <a:gd name="connsiteY187" fmla="*/ 51744 h 160656"/>
                <a:gd name="connsiteX188" fmla="*/ 2859 w 164820"/>
                <a:gd name="connsiteY188" fmla="*/ 53045 h 160656"/>
                <a:gd name="connsiteX189" fmla="*/ 4034 w 164820"/>
                <a:gd name="connsiteY189" fmla="*/ 53339 h 160656"/>
                <a:gd name="connsiteX190" fmla="*/ 6359 w 164820"/>
                <a:gd name="connsiteY190" fmla="*/ 53654 h 160656"/>
                <a:gd name="connsiteX191" fmla="*/ 8646 w 164820"/>
                <a:gd name="connsiteY191" fmla="*/ 53238 h 160656"/>
                <a:gd name="connsiteX192" fmla="*/ 11456 w 164820"/>
                <a:gd name="connsiteY192" fmla="*/ 52053 h 160656"/>
                <a:gd name="connsiteX193" fmla="*/ 14159 w 164820"/>
                <a:gd name="connsiteY193" fmla="*/ 50617 h 160656"/>
                <a:gd name="connsiteX194" fmla="*/ 18072 w 164820"/>
                <a:gd name="connsiteY194" fmla="*/ 46395 h 160656"/>
                <a:gd name="connsiteX195" fmla="*/ 20484 w 164820"/>
                <a:gd name="connsiteY195" fmla="*/ 45537 h 160656"/>
                <a:gd name="connsiteX196" fmla="*/ 21719 w 164820"/>
                <a:gd name="connsiteY196" fmla="*/ 44425 h 160656"/>
                <a:gd name="connsiteX197" fmla="*/ 22140 w 164820"/>
                <a:gd name="connsiteY197" fmla="*/ 42922 h 160656"/>
                <a:gd name="connsiteX198" fmla="*/ 48962 w 164820"/>
                <a:gd name="connsiteY198" fmla="*/ 0 h 160656"/>
                <a:gd name="connsiteX199" fmla="*/ 49696 w 164820"/>
                <a:gd name="connsiteY199" fmla="*/ 1042 h 160656"/>
                <a:gd name="connsiteX200" fmla="*/ 49782 w 164820"/>
                <a:gd name="connsiteY200" fmla="*/ 1647 h 160656"/>
                <a:gd name="connsiteX201" fmla="*/ 49290 w 164820"/>
                <a:gd name="connsiteY201" fmla="*/ 2331 h 160656"/>
                <a:gd name="connsiteX202" fmla="*/ 49497 w 164820"/>
                <a:gd name="connsiteY202" fmla="*/ 3877 h 160656"/>
                <a:gd name="connsiteX203" fmla="*/ 47647 w 164820"/>
                <a:gd name="connsiteY203" fmla="*/ 2595 h 160656"/>
                <a:gd name="connsiteX204" fmla="*/ 44846 w 164820"/>
                <a:gd name="connsiteY204" fmla="*/ 3242 h 160656"/>
                <a:gd name="connsiteX205" fmla="*/ 43127 w 164820"/>
                <a:gd name="connsiteY205" fmla="*/ 3105 h 160656"/>
                <a:gd name="connsiteX206" fmla="*/ 42652 w 164820"/>
                <a:gd name="connsiteY206" fmla="*/ 1955 h 160656"/>
                <a:gd name="connsiteX207" fmla="*/ 43045 w 164820"/>
                <a:gd name="connsiteY207" fmla="*/ 1280 h 160656"/>
                <a:gd name="connsiteX208" fmla="*/ 45714 w 164820"/>
                <a:gd name="connsiteY208" fmla="*/ 1133 h 160656"/>
                <a:gd name="connsiteX209" fmla="*/ 46543 w 164820"/>
                <a:gd name="connsiteY209" fmla="*/ 804 h 160656"/>
                <a:gd name="connsiteX210" fmla="*/ 48163 w 164820"/>
                <a:gd name="connsiteY210" fmla="*/ 959 h 160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</a:cxnLst>
              <a:rect l="l" t="t" r="r" b="b"/>
              <a:pathLst>
                <a:path w="164820" h="160656">
                  <a:moveTo>
                    <a:pt x="83300" y="156716"/>
                  </a:moveTo>
                  <a:lnTo>
                    <a:pt x="84985" y="157277"/>
                  </a:lnTo>
                  <a:lnTo>
                    <a:pt x="85512" y="158410"/>
                  </a:lnTo>
                  <a:lnTo>
                    <a:pt x="85583" y="158900"/>
                  </a:lnTo>
                  <a:lnTo>
                    <a:pt x="84523" y="159180"/>
                  </a:lnTo>
                  <a:lnTo>
                    <a:pt x="83137" y="158308"/>
                  </a:lnTo>
                  <a:lnTo>
                    <a:pt x="83044" y="157083"/>
                  </a:lnTo>
                  <a:close/>
                  <a:moveTo>
                    <a:pt x="163353" y="119599"/>
                  </a:moveTo>
                  <a:lnTo>
                    <a:pt x="164820" y="120327"/>
                  </a:lnTo>
                  <a:lnTo>
                    <a:pt x="163535" y="121541"/>
                  </a:lnTo>
                  <a:lnTo>
                    <a:pt x="162038" y="124459"/>
                  </a:lnTo>
                  <a:lnTo>
                    <a:pt x="161304" y="125580"/>
                  </a:lnTo>
                  <a:lnTo>
                    <a:pt x="155970" y="132706"/>
                  </a:lnTo>
                  <a:lnTo>
                    <a:pt x="155359" y="134350"/>
                  </a:lnTo>
                  <a:lnTo>
                    <a:pt x="154984" y="136135"/>
                  </a:lnTo>
                  <a:lnTo>
                    <a:pt x="154431" y="137699"/>
                  </a:lnTo>
                  <a:lnTo>
                    <a:pt x="153683" y="139172"/>
                  </a:lnTo>
                  <a:lnTo>
                    <a:pt x="152986" y="141044"/>
                  </a:lnTo>
                  <a:lnTo>
                    <a:pt x="153122" y="143164"/>
                  </a:lnTo>
                  <a:lnTo>
                    <a:pt x="153373" y="144204"/>
                  </a:lnTo>
                  <a:lnTo>
                    <a:pt x="154014" y="144885"/>
                  </a:lnTo>
                  <a:lnTo>
                    <a:pt x="155068" y="145526"/>
                  </a:lnTo>
                  <a:lnTo>
                    <a:pt x="155877" y="146508"/>
                  </a:lnTo>
                  <a:lnTo>
                    <a:pt x="154636" y="147403"/>
                  </a:lnTo>
                  <a:lnTo>
                    <a:pt x="156005" y="149197"/>
                  </a:lnTo>
                  <a:lnTo>
                    <a:pt x="157169" y="150262"/>
                  </a:lnTo>
                  <a:lnTo>
                    <a:pt x="157324" y="151324"/>
                  </a:lnTo>
                  <a:lnTo>
                    <a:pt x="157298" y="152389"/>
                  </a:lnTo>
                  <a:lnTo>
                    <a:pt x="154880" y="154385"/>
                  </a:lnTo>
                  <a:lnTo>
                    <a:pt x="153934" y="155483"/>
                  </a:lnTo>
                  <a:lnTo>
                    <a:pt x="153347" y="156812"/>
                  </a:lnTo>
                  <a:lnTo>
                    <a:pt x="153092" y="158184"/>
                  </a:lnTo>
                  <a:lnTo>
                    <a:pt x="153357" y="159422"/>
                  </a:lnTo>
                  <a:lnTo>
                    <a:pt x="153275" y="160656"/>
                  </a:lnTo>
                  <a:lnTo>
                    <a:pt x="150840" y="160502"/>
                  </a:lnTo>
                  <a:lnTo>
                    <a:pt x="148346" y="159750"/>
                  </a:lnTo>
                  <a:lnTo>
                    <a:pt x="145832" y="160083"/>
                  </a:lnTo>
                  <a:lnTo>
                    <a:pt x="142258" y="158657"/>
                  </a:lnTo>
                  <a:lnTo>
                    <a:pt x="140956" y="158399"/>
                  </a:lnTo>
                  <a:lnTo>
                    <a:pt x="139771" y="157843"/>
                  </a:lnTo>
                  <a:lnTo>
                    <a:pt x="136795" y="153418"/>
                  </a:lnTo>
                  <a:lnTo>
                    <a:pt x="134402" y="151546"/>
                  </a:lnTo>
                  <a:lnTo>
                    <a:pt x="131835" y="150090"/>
                  </a:lnTo>
                  <a:lnTo>
                    <a:pt x="129211" y="150001"/>
                  </a:lnTo>
                  <a:lnTo>
                    <a:pt x="126583" y="150167"/>
                  </a:lnTo>
                  <a:lnTo>
                    <a:pt x="124264" y="149269"/>
                  </a:lnTo>
                  <a:lnTo>
                    <a:pt x="119544" y="146257"/>
                  </a:lnTo>
                  <a:lnTo>
                    <a:pt x="114542" y="143846"/>
                  </a:lnTo>
                  <a:lnTo>
                    <a:pt x="112420" y="142274"/>
                  </a:lnTo>
                  <a:lnTo>
                    <a:pt x="111450" y="141217"/>
                  </a:lnTo>
                  <a:lnTo>
                    <a:pt x="110319" y="140515"/>
                  </a:lnTo>
                  <a:lnTo>
                    <a:pt x="107453" y="139819"/>
                  </a:lnTo>
                  <a:lnTo>
                    <a:pt x="104884" y="138186"/>
                  </a:lnTo>
                  <a:lnTo>
                    <a:pt x="103713" y="138066"/>
                  </a:lnTo>
                  <a:lnTo>
                    <a:pt x="101195" y="138265"/>
                  </a:lnTo>
                  <a:lnTo>
                    <a:pt x="99906" y="138152"/>
                  </a:lnTo>
                  <a:lnTo>
                    <a:pt x="98606" y="137577"/>
                  </a:lnTo>
                  <a:lnTo>
                    <a:pt x="96097" y="135655"/>
                  </a:lnTo>
                  <a:lnTo>
                    <a:pt x="94497" y="132988"/>
                  </a:lnTo>
                  <a:lnTo>
                    <a:pt x="94080" y="131811"/>
                  </a:lnTo>
                  <a:lnTo>
                    <a:pt x="95214" y="128764"/>
                  </a:lnTo>
                  <a:lnTo>
                    <a:pt x="96559" y="125837"/>
                  </a:lnTo>
                  <a:lnTo>
                    <a:pt x="97753" y="125015"/>
                  </a:lnTo>
                  <a:lnTo>
                    <a:pt x="99140" y="124426"/>
                  </a:lnTo>
                  <a:lnTo>
                    <a:pt x="99980" y="123559"/>
                  </a:lnTo>
                  <a:lnTo>
                    <a:pt x="100688" y="122497"/>
                  </a:lnTo>
                  <a:lnTo>
                    <a:pt x="103260" y="125560"/>
                  </a:lnTo>
                  <a:lnTo>
                    <a:pt x="104411" y="126300"/>
                  </a:lnTo>
                  <a:lnTo>
                    <a:pt x="105577" y="126135"/>
                  </a:lnTo>
                  <a:lnTo>
                    <a:pt x="107645" y="125038"/>
                  </a:lnTo>
                  <a:lnTo>
                    <a:pt x="107818" y="123836"/>
                  </a:lnTo>
                  <a:lnTo>
                    <a:pt x="110098" y="122311"/>
                  </a:lnTo>
                  <a:lnTo>
                    <a:pt x="112999" y="122282"/>
                  </a:lnTo>
                  <a:lnTo>
                    <a:pt x="114337" y="122562"/>
                  </a:lnTo>
                  <a:lnTo>
                    <a:pt x="115041" y="123941"/>
                  </a:lnTo>
                  <a:lnTo>
                    <a:pt x="116147" y="124366"/>
                  </a:lnTo>
                  <a:lnTo>
                    <a:pt x="117425" y="124549"/>
                  </a:lnTo>
                  <a:lnTo>
                    <a:pt x="121632" y="127175"/>
                  </a:lnTo>
                  <a:lnTo>
                    <a:pt x="122811" y="127603"/>
                  </a:lnTo>
                  <a:lnTo>
                    <a:pt x="124005" y="127676"/>
                  </a:lnTo>
                  <a:lnTo>
                    <a:pt x="127272" y="126574"/>
                  </a:lnTo>
                  <a:lnTo>
                    <a:pt x="129779" y="126155"/>
                  </a:lnTo>
                  <a:lnTo>
                    <a:pt x="135035" y="126762"/>
                  </a:lnTo>
                  <a:lnTo>
                    <a:pt x="137877" y="126102"/>
                  </a:lnTo>
                  <a:lnTo>
                    <a:pt x="139861" y="126027"/>
                  </a:lnTo>
                  <a:lnTo>
                    <a:pt x="142753" y="125012"/>
                  </a:lnTo>
                  <a:lnTo>
                    <a:pt x="144975" y="123326"/>
                  </a:lnTo>
                  <a:lnTo>
                    <a:pt x="146134" y="122910"/>
                  </a:lnTo>
                  <a:lnTo>
                    <a:pt x="147378" y="122790"/>
                  </a:lnTo>
                  <a:lnTo>
                    <a:pt x="150386" y="122895"/>
                  </a:lnTo>
                  <a:lnTo>
                    <a:pt x="153411" y="123276"/>
                  </a:lnTo>
                  <a:lnTo>
                    <a:pt x="154679" y="122882"/>
                  </a:lnTo>
                  <a:lnTo>
                    <a:pt x="155739" y="121779"/>
                  </a:lnTo>
                  <a:lnTo>
                    <a:pt x="156968" y="121282"/>
                  </a:lnTo>
                  <a:lnTo>
                    <a:pt x="158320" y="121617"/>
                  </a:lnTo>
                  <a:lnTo>
                    <a:pt x="161813" y="119728"/>
                  </a:lnTo>
                  <a:close/>
                  <a:moveTo>
                    <a:pt x="4111" y="98453"/>
                  </a:moveTo>
                  <a:lnTo>
                    <a:pt x="5744" y="99107"/>
                  </a:lnTo>
                  <a:lnTo>
                    <a:pt x="6590" y="99705"/>
                  </a:lnTo>
                  <a:lnTo>
                    <a:pt x="5321" y="102261"/>
                  </a:lnTo>
                  <a:lnTo>
                    <a:pt x="3982" y="100451"/>
                  </a:lnTo>
                  <a:lnTo>
                    <a:pt x="3930" y="98896"/>
                  </a:lnTo>
                  <a:close/>
                  <a:moveTo>
                    <a:pt x="125825" y="55558"/>
                  </a:moveTo>
                  <a:lnTo>
                    <a:pt x="127836" y="56147"/>
                  </a:lnTo>
                  <a:lnTo>
                    <a:pt x="127808" y="56704"/>
                  </a:lnTo>
                  <a:lnTo>
                    <a:pt x="127309" y="57033"/>
                  </a:lnTo>
                  <a:lnTo>
                    <a:pt x="126322" y="57260"/>
                  </a:lnTo>
                  <a:lnTo>
                    <a:pt x="125747" y="56951"/>
                  </a:lnTo>
                  <a:lnTo>
                    <a:pt x="125434" y="56549"/>
                  </a:lnTo>
                  <a:close/>
                  <a:moveTo>
                    <a:pt x="3081" y="46092"/>
                  </a:moveTo>
                  <a:lnTo>
                    <a:pt x="3602" y="46625"/>
                  </a:lnTo>
                  <a:lnTo>
                    <a:pt x="3053" y="47648"/>
                  </a:lnTo>
                  <a:lnTo>
                    <a:pt x="2326" y="48251"/>
                  </a:lnTo>
                  <a:lnTo>
                    <a:pt x="1589" y="49454"/>
                  </a:lnTo>
                  <a:lnTo>
                    <a:pt x="549" y="49366"/>
                  </a:lnTo>
                  <a:lnTo>
                    <a:pt x="955" y="48476"/>
                  </a:lnTo>
                  <a:lnTo>
                    <a:pt x="1913" y="46691"/>
                  </a:lnTo>
                  <a:close/>
                  <a:moveTo>
                    <a:pt x="23164" y="42529"/>
                  </a:moveTo>
                  <a:lnTo>
                    <a:pt x="24371" y="43990"/>
                  </a:lnTo>
                  <a:lnTo>
                    <a:pt x="25869" y="44142"/>
                  </a:lnTo>
                  <a:lnTo>
                    <a:pt x="28178" y="45347"/>
                  </a:lnTo>
                  <a:lnTo>
                    <a:pt x="29174" y="46500"/>
                  </a:lnTo>
                  <a:lnTo>
                    <a:pt x="30026" y="47888"/>
                  </a:lnTo>
                  <a:lnTo>
                    <a:pt x="30842" y="48496"/>
                  </a:lnTo>
                  <a:lnTo>
                    <a:pt x="31719" y="48845"/>
                  </a:lnTo>
                  <a:lnTo>
                    <a:pt x="31849" y="49171"/>
                  </a:lnTo>
                  <a:lnTo>
                    <a:pt x="31154" y="49497"/>
                  </a:lnTo>
                  <a:lnTo>
                    <a:pt x="30357" y="51084"/>
                  </a:lnTo>
                  <a:lnTo>
                    <a:pt x="30806" y="51541"/>
                  </a:lnTo>
                  <a:lnTo>
                    <a:pt x="32088" y="52401"/>
                  </a:lnTo>
                  <a:lnTo>
                    <a:pt x="33194" y="54080"/>
                  </a:lnTo>
                  <a:lnTo>
                    <a:pt x="35677" y="60951"/>
                  </a:lnTo>
                  <a:lnTo>
                    <a:pt x="35919" y="62435"/>
                  </a:lnTo>
                  <a:lnTo>
                    <a:pt x="35423" y="63955"/>
                  </a:lnTo>
                  <a:lnTo>
                    <a:pt x="34790" y="65033"/>
                  </a:lnTo>
                  <a:lnTo>
                    <a:pt x="32330" y="68482"/>
                  </a:lnTo>
                  <a:lnTo>
                    <a:pt x="32695" y="71334"/>
                  </a:lnTo>
                  <a:lnTo>
                    <a:pt x="33609" y="73095"/>
                  </a:lnTo>
                  <a:lnTo>
                    <a:pt x="33740" y="75044"/>
                  </a:lnTo>
                  <a:lnTo>
                    <a:pt x="33283" y="77460"/>
                  </a:lnTo>
                  <a:lnTo>
                    <a:pt x="31756" y="92276"/>
                  </a:lnTo>
                  <a:lnTo>
                    <a:pt x="31018" y="94889"/>
                  </a:lnTo>
                  <a:lnTo>
                    <a:pt x="30551" y="97156"/>
                  </a:lnTo>
                  <a:lnTo>
                    <a:pt x="28867" y="97841"/>
                  </a:lnTo>
                  <a:lnTo>
                    <a:pt x="26694" y="97117"/>
                  </a:lnTo>
                  <a:lnTo>
                    <a:pt x="23954" y="95841"/>
                  </a:lnTo>
                  <a:lnTo>
                    <a:pt x="22689" y="95918"/>
                  </a:lnTo>
                  <a:lnTo>
                    <a:pt x="21415" y="96354"/>
                  </a:lnTo>
                  <a:lnTo>
                    <a:pt x="20363" y="95984"/>
                  </a:lnTo>
                  <a:lnTo>
                    <a:pt x="19359" y="95262"/>
                  </a:lnTo>
                  <a:lnTo>
                    <a:pt x="18614" y="100332"/>
                  </a:lnTo>
                  <a:lnTo>
                    <a:pt x="17375" y="102389"/>
                  </a:lnTo>
                  <a:lnTo>
                    <a:pt x="15489" y="103702"/>
                  </a:lnTo>
                  <a:lnTo>
                    <a:pt x="13716" y="103785"/>
                  </a:lnTo>
                  <a:lnTo>
                    <a:pt x="11890" y="103345"/>
                  </a:lnTo>
                  <a:lnTo>
                    <a:pt x="10341" y="103349"/>
                  </a:lnTo>
                  <a:lnTo>
                    <a:pt x="9167" y="102373"/>
                  </a:lnTo>
                  <a:lnTo>
                    <a:pt x="8236" y="100667"/>
                  </a:lnTo>
                  <a:lnTo>
                    <a:pt x="6752" y="98593"/>
                  </a:lnTo>
                  <a:lnTo>
                    <a:pt x="5247" y="96128"/>
                  </a:lnTo>
                  <a:lnTo>
                    <a:pt x="5083" y="93898"/>
                  </a:lnTo>
                  <a:lnTo>
                    <a:pt x="4826" y="88975"/>
                  </a:lnTo>
                  <a:lnTo>
                    <a:pt x="5258" y="87899"/>
                  </a:lnTo>
                  <a:lnTo>
                    <a:pt x="5887" y="86867"/>
                  </a:lnTo>
                  <a:lnTo>
                    <a:pt x="6195" y="84661"/>
                  </a:lnTo>
                  <a:lnTo>
                    <a:pt x="5977" y="82737"/>
                  </a:lnTo>
                  <a:lnTo>
                    <a:pt x="6418" y="82050"/>
                  </a:lnTo>
                  <a:lnTo>
                    <a:pt x="7295" y="82737"/>
                  </a:lnTo>
                  <a:lnTo>
                    <a:pt x="7953" y="82479"/>
                  </a:lnTo>
                  <a:lnTo>
                    <a:pt x="7912" y="81488"/>
                  </a:lnTo>
                  <a:lnTo>
                    <a:pt x="8113" y="79678"/>
                  </a:lnTo>
                  <a:lnTo>
                    <a:pt x="6966" y="78161"/>
                  </a:lnTo>
                  <a:lnTo>
                    <a:pt x="5018" y="77646"/>
                  </a:lnTo>
                  <a:lnTo>
                    <a:pt x="4830" y="76058"/>
                  </a:lnTo>
                  <a:lnTo>
                    <a:pt x="5036" y="74507"/>
                  </a:lnTo>
                  <a:lnTo>
                    <a:pt x="6064" y="73465"/>
                  </a:lnTo>
                  <a:lnTo>
                    <a:pt x="6411" y="72079"/>
                  </a:lnTo>
                  <a:lnTo>
                    <a:pt x="6422" y="67848"/>
                  </a:lnTo>
                  <a:lnTo>
                    <a:pt x="5049" y="66288"/>
                  </a:lnTo>
                  <a:lnTo>
                    <a:pt x="4522" y="63924"/>
                  </a:lnTo>
                  <a:lnTo>
                    <a:pt x="3812" y="62409"/>
                  </a:lnTo>
                  <a:lnTo>
                    <a:pt x="2535" y="60887"/>
                  </a:lnTo>
                  <a:lnTo>
                    <a:pt x="1093" y="59647"/>
                  </a:lnTo>
                  <a:lnTo>
                    <a:pt x="201" y="58450"/>
                  </a:lnTo>
                  <a:lnTo>
                    <a:pt x="0" y="55316"/>
                  </a:lnTo>
                  <a:lnTo>
                    <a:pt x="507" y="52699"/>
                  </a:lnTo>
                  <a:lnTo>
                    <a:pt x="959" y="51578"/>
                  </a:lnTo>
                  <a:lnTo>
                    <a:pt x="1423" y="51744"/>
                  </a:lnTo>
                  <a:lnTo>
                    <a:pt x="2859" y="53045"/>
                  </a:lnTo>
                  <a:lnTo>
                    <a:pt x="4034" y="53339"/>
                  </a:lnTo>
                  <a:lnTo>
                    <a:pt x="6359" y="53654"/>
                  </a:lnTo>
                  <a:lnTo>
                    <a:pt x="8646" y="53238"/>
                  </a:lnTo>
                  <a:lnTo>
                    <a:pt x="11456" y="52053"/>
                  </a:lnTo>
                  <a:lnTo>
                    <a:pt x="14159" y="50617"/>
                  </a:lnTo>
                  <a:lnTo>
                    <a:pt x="18072" y="46395"/>
                  </a:lnTo>
                  <a:lnTo>
                    <a:pt x="20484" y="45537"/>
                  </a:lnTo>
                  <a:lnTo>
                    <a:pt x="21719" y="44425"/>
                  </a:lnTo>
                  <a:lnTo>
                    <a:pt x="22140" y="42922"/>
                  </a:lnTo>
                  <a:close/>
                  <a:moveTo>
                    <a:pt x="48962" y="0"/>
                  </a:moveTo>
                  <a:lnTo>
                    <a:pt x="49696" y="1042"/>
                  </a:lnTo>
                  <a:lnTo>
                    <a:pt x="49782" y="1647"/>
                  </a:lnTo>
                  <a:lnTo>
                    <a:pt x="49290" y="2331"/>
                  </a:lnTo>
                  <a:lnTo>
                    <a:pt x="49497" y="3877"/>
                  </a:lnTo>
                  <a:lnTo>
                    <a:pt x="47647" y="2595"/>
                  </a:lnTo>
                  <a:lnTo>
                    <a:pt x="44846" y="3242"/>
                  </a:lnTo>
                  <a:lnTo>
                    <a:pt x="43127" y="3105"/>
                  </a:lnTo>
                  <a:lnTo>
                    <a:pt x="42652" y="1955"/>
                  </a:lnTo>
                  <a:lnTo>
                    <a:pt x="43045" y="1280"/>
                  </a:lnTo>
                  <a:lnTo>
                    <a:pt x="45714" y="1133"/>
                  </a:lnTo>
                  <a:lnTo>
                    <a:pt x="46543" y="804"/>
                  </a:lnTo>
                  <a:lnTo>
                    <a:pt x="48163" y="959"/>
                  </a:lnTo>
                  <a:close/>
                </a:path>
              </a:pathLst>
            </a:custGeom>
            <a:solidFill>
              <a:srgbClr val="A3BA1E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56" name="ee4p_SM_1_82333">
              <a:extLst>
                <a:ext uri="{FF2B5EF4-FFF2-40B4-BE49-F238E27FC236}">
                  <a16:creationId xmlns:a16="http://schemas.microsoft.com/office/drawing/2014/main" id="{1BA2835E-F433-13BD-2C70-9F59909E3852}"/>
                </a:ext>
              </a:extLst>
            </p:cNvPr>
            <p:cNvSpPr>
              <a:spLocks noChangeAspect="1"/>
            </p:cNvSpPr>
            <p:nvPr>
              <p:custDataLst>
                <p:tags r:id="rId84"/>
              </p:custDataLst>
            </p:nvPr>
          </p:nvSpPr>
          <p:spPr>
            <a:xfrm>
              <a:off x="6858953" y="3333688"/>
              <a:ext cx="3271" cy="3337"/>
            </a:xfrm>
            <a:custGeom>
              <a:avLst/>
              <a:gdLst/>
              <a:ahLst/>
              <a:cxnLst/>
              <a:rect l="0" t="0" r="0" b="0"/>
              <a:pathLst>
                <a:path w="2605" h="2587">
                  <a:moveTo>
                    <a:pt x="0" y="1492"/>
                  </a:moveTo>
                  <a:lnTo>
                    <a:pt x="652" y="2586"/>
                  </a:lnTo>
                  <a:lnTo>
                    <a:pt x="1954" y="2389"/>
                  </a:lnTo>
                  <a:lnTo>
                    <a:pt x="2604" y="994"/>
                  </a:lnTo>
                  <a:lnTo>
                    <a:pt x="2362" y="0"/>
                  </a:lnTo>
                  <a:lnTo>
                    <a:pt x="978" y="198"/>
                  </a:lnTo>
                  <a:close/>
                </a:path>
              </a:pathLst>
            </a:custGeom>
            <a:solidFill>
              <a:srgbClr val="A3BA1E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57" name="ee4p_XK_1_82333">
              <a:extLst>
                <a:ext uri="{FF2B5EF4-FFF2-40B4-BE49-F238E27FC236}">
                  <a16:creationId xmlns:a16="http://schemas.microsoft.com/office/drawing/2014/main" id="{32FEA178-958E-FDF9-D6E2-8B64950CE8A7}"/>
                </a:ext>
              </a:extLst>
            </p:cNvPr>
            <p:cNvSpPr>
              <a:spLocks noChangeAspect="1"/>
            </p:cNvSpPr>
            <p:nvPr>
              <p:custDataLst>
                <p:tags r:id="rId85"/>
              </p:custDataLst>
            </p:nvPr>
          </p:nvSpPr>
          <p:spPr>
            <a:xfrm>
              <a:off x="7070906" y="3359031"/>
              <a:ext cx="47860" cy="48451"/>
            </a:xfrm>
            <a:custGeom>
              <a:avLst/>
              <a:gdLst/>
              <a:ahLst/>
              <a:cxnLst/>
              <a:rect l="0" t="0" r="0" b="0"/>
              <a:pathLst>
                <a:path w="38110" h="37558">
                  <a:moveTo>
                    <a:pt x="33898" y="27100"/>
                  </a:moveTo>
                  <a:lnTo>
                    <a:pt x="33862" y="27096"/>
                  </a:lnTo>
                  <a:lnTo>
                    <a:pt x="30074" y="27836"/>
                  </a:lnTo>
                  <a:lnTo>
                    <a:pt x="28796" y="28705"/>
                  </a:lnTo>
                  <a:lnTo>
                    <a:pt x="28040" y="30223"/>
                  </a:lnTo>
                  <a:lnTo>
                    <a:pt x="27798" y="31012"/>
                  </a:lnTo>
                  <a:lnTo>
                    <a:pt x="27129" y="31035"/>
                  </a:lnTo>
                  <a:lnTo>
                    <a:pt x="26017" y="30253"/>
                  </a:lnTo>
                  <a:lnTo>
                    <a:pt x="24611" y="29029"/>
                  </a:lnTo>
                  <a:lnTo>
                    <a:pt x="22782" y="29127"/>
                  </a:lnTo>
                  <a:lnTo>
                    <a:pt x="16554" y="31792"/>
                  </a:lnTo>
                  <a:lnTo>
                    <a:pt x="15941" y="33191"/>
                  </a:lnTo>
                  <a:lnTo>
                    <a:pt x="15803" y="36218"/>
                  </a:lnTo>
                  <a:lnTo>
                    <a:pt x="15379" y="37034"/>
                  </a:lnTo>
                  <a:lnTo>
                    <a:pt x="14714" y="37557"/>
                  </a:lnTo>
                  <a:lnTo>
                    <a:pt x="12140" y="37228"/>
                  </a:lnTo>
                  <a:lnTo>
                    <a:pt x="11868" y="37030"/>
                  </a:lnTo>
                  <a:lnTo>
                    <a:pt x="12205" y="35870"/>
                  </a:lnTo>
                  <a:lnTo>
                    <a:pt x="12071" y="33331"/>
                  </a:lnTo>
                  <a:lnTo>
                    <a:pt x="10909" y="29122"/>
                  </a:lnTo>
                  <a:lnTo>
                    <a:pt x="10082" y="27742"/>
                  </a:lnTo>
                  <a:lnTo>
                    <a:pt x="8377" y="26370"/>
                  </a:lnTo>
                  <a:lnTo>
                    <a:pt x="7048" y="25469"/>
                  </a:lnTo>
                  <a:lnTo>
                    <a:pt x="4667" y="24665"/>
                  </a:lnTo>
                  <a:lnTo>
                    <a:pt x="3455" y="22350"/>
                  </a:lnTo>
                  <a:lnTo>
                    <a:pt x="1637" y="19716"/>
                  </a:lnTo>
                  <a:lnTo>
                    <a:pt x="762" y="19112"/>
                  </a:lnTo>
                  <a:lnTo>
                    <a:pt x="903" y="18851"/>
                  </a:lnTo>
                  <a:lnTo>
                    <a:pt x="1322" y="16863"/>
                  </a:lnTo>
                  <a:lnTo>
                    <a:pt x="802" y="15412"/>
                  </a:lnTo>
                  <a:lnTo>
                    <a:pt x="0" y="14178"/>
                  </a:lnTo>
                  <a:lnTo>
                    <a:pt x="549" y="13429"/>
                  </a:lnTo>
                  <a:lnTo>
                    <a:pt x="2222" y="13436"/>
                  </a:lnTo>
                  <a:lnTo>
                    <a:pt x="3606" y="13574"/>
                  </a:lnTo>
                  <a:lnTo>
                    <a:pt x="4105" y="12392"/>
                  </a:lnTo>
                  <a:lnTo>
                    <a:pt x="6962" y="11613"/>
                  </a:lnTo>
                  <a:lnTo>
                    <a:pt x="9715" y="10811"/>
                  </a:lnTo>
                  <a:lnTo>
                    <a:pt x="10113" y="10245"/>
                  </a:lnTo>
                  <a:lnTo>
                    <a:pt x="9484" y="9027"/>
                  </a:lnTo>
                  <a:lnTo>
                    <a:pt x="9854" y="8264"/>
                  </a:lnTo>
                  <a:lnTo>
                    <a:pt x="13147" y="6090"/>
                  </a:lnTo>
                  <a:lnTo>
                    <a:pt x="13689" y="5104"/>
                  </a:lnTo>
                  <a:lnTo>
                    <a:pt x="13890" y="4328"/>
                  </a:lnTo>
                  <a:lnTo>
                    <a:pt x="13447" y="3510"/>
                  </a:lnTo>
                  <a:lnTo>
                    <a:pt x="12829" y="2220"/>
                  </a:lnTo>
                  <a:lnTo>
                    <a:pt x="13127" y="1678"/>
                  </a:lnTo>
                  <a:lnTo>
                    <a:pt x="14839" y="933"/>
                  </a:lnTo>
                  <a:lnTo>
                    <a:pt x="16228" y="67"/>
                  </a:lnTo>
                  <a:lnTo>
                    <a:pt x="17051" y="0"/>
                  </a:lnTo>
                  <a:lnTo>
                    <a:pt x="17565" y="622"/>
                  </a:lnTo>
                  <a:lnTo>
                    <a:pt x="17565" y="1266"/>
                  </a:lnTo>
                  <a:lnTo>
                    <a:pt x="18020" y="2354"/>
                  </a:lnTo>
                  <a:lnTo>
                    <a:pt x="19044" y="2939"/>
                  </a:lnTo>
                  <a:lnTo>
                    <a:pt x="20746" y="3895"/>
                  </a:lnTo>
                  <a:lnTo>
                    <a:pt x="22722" y="4547"/>
                  </a:lnTo>
                  <a:lnTo>
                    <a:pt x="24270" y="5853"/>
                  </a:lnTo>
                  <a:lnTo>
                    <a:pt x="26384" y="8179"/>
                  </a:lnTo>
                  <a:lnTo>
                    <a:pt x="26703" y="9330"/>
                  </a:lnTo>
                  <a:lnTo>
                    <a:pt x="28606" y="10361"/>
                  </a:lnTo>
                  <a:lnTo>
                    <a:pt x="30372" y="11517"/>
                  </a:lnTo>
                  <a:lnTo>
                    <a:pt x="30098" y="13660"/>
                  </a:lnTo>
                  <a:lnTo>
                    <a:pt x="36110" y="15529"/>
                  </a:lnTo>
                  <a:lnTo>
                    <a:pt x="37466" y="15515"/>
                  </a:lnTo>
                  <a:lnTo>
                    <a:pt x="38109" y="15840"/>
                  </a:lnTo>
                  <a:lnTo>
                    <a:pt x="38092" y="16329"/>
                  </a:lnTo>
                  <a:lnTo>
                    <a:pt x="37617" y="17826"/>
                  </a:lnTo>
                  <a:lnTo>
                    <a:pt x="35149" y="22420"/>
                  </a:lnTo>
                  <a:lnTo>
                    <a:pt x="34946" y="23374"/>
                  </a:lnTo>
                  <a:lnTo>
                    <a:pt x="33179" y="24371"/>
                  </a:lnTo>
                  <a:lnTo>
                    <a:pt x="32935" y="24946"/>
                  </a:lnTo>
                  <a:lnTo>
                    <a:pt x="33436" y="26214"/>
                  </a:lnTo>
                  <a:close/>
                </a:path>
              </a:pathLst>
            </a:custGeom>
            <a:solidFill>
              <a:srgbClr val="A3BA1E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58" name="ee4p_LI_1_82333">
              <a:extLst>
                <a:ext uri="{FF2B5EF4-FFF2-40B4-BE49-F238E27FC236}">
                  <a16:creationId xmlns:a16="http://schemas.microsoft.com/office/drawing/2014/main" id="{283F8365-A532-56AF-9A67-2B8C76FB2133}"/>
                </a:ext>
              </a:extLst>
            </p:cNvPr>
            <p:cNvSpPr>
              <a:spLocks noChangeAspect="1"/>
            </p:cNvSpPr>
            <p:nvPr>
              <p:custDataLst>
                <p:tags r:id="rId86"/>
              </p:custDataLst>
            </p:nvPr>
          </p:nvSpPr>
          <p:spPr>
            <a:xfrm>
              <a:off x="6777939" y="3217232"/>
              <a:ext cx="3641" cy="7698"/>
            </a:xfrm>
            <a:custGeom>
              <a:avLst/>
              <a:gdLst/>
              <a:ahLst/>
              <a:cxnLst/>
              <a:rect l="0" t="0" r="0" b="0"/>
              <a:pathLst>
                <a:path w="2899" h="5967">
                  <a:moveTo>
                    <a:pt x="2229" y="5966"/>
                  </a:moveTo>
                  <a:lnTo>
                    <a:pt x="506" y="5816"/>
                  </a:lnTo>
                  <a:lnTo>
                    <a:pt x="182" y="5829"/>
                  </a:lnTo>
                  <a:lnTo>
                    <a:pt x="0" y="4844"/>
                  </a:lnTo>
                  <a:lnTo>
                    <a:pt x="106" y="2744"/>
                  </a:lnTo>
                  <a:lnTo>
                    <a:pt x="1063" y="0"/>
                  </a:lnTo>
                  <a:lnTo>
                    <a:pt x="1268" y="451"/>
                  </a:lnTo>
                  <a:lnTo>
                    <a:pt x="1387" y="1025"/>
                  </a:lnTo>
                  <a:lnTo>
                    <a:pt x="1583" y="1636"/>
                  </a:lnTo>
                  <a:lnTo>
                    <a:pt x="1687" y="2385"/>
                  </a:lnTo>
                  <a:lnTo>
                    <a:pt x="2043" y="3157"/>
                  </a:lnTo>
                  <a:lnTo>
                    <a:pt x="2691" y="3879"/>
                  </a:lnTo>
                  <a:lnTo>
                    <a:pt x="2898" y="4576"/>
                  </a:lnTo>
                  <a:lnTo>
                    <a:pt x="2570" y="5450"/>
                  </a:lnTo>
                  <a:close/>
                </a:path>
              </a:pathLst>
            </a:custGeom>
            <a:solidFill>
              <a:srgbClr val="A3BA1E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59" name="ee4p_LT_1_82333">
              <a:extLst>
                <a:ext uri="{FF2B5EF4-FFF2-40B4-BE49-F238E27FC236}">
                  <a16:creationId xmlns:a16="http://schemas.microsoft.com/office/drawing/2014/main" id="{384AE770-4E33-762D-40EA-C877EAD554CF}"/>
                </a:ext>
              </a:extLst>
            </p:cNvPr>
            <p:cNvSpPr>
              <a:spLocks noChangeAspect="1"/>
            </p:cNvSpPr>
            <p:nvPr>
              <p:custDataLst>
                <p:tags r:id="rId87"/>
              </p:custDataLst>
            </p:nvPr>
          </p:nvSpPr>
          <p:spPr>
            <a:xfrm>
              <a:off x="7095073" y="2868639"/>
              <a:ext cx="163169" cy="100081"/>
            </a:xfrm>
            <a:custGeom>
              <a:avLst/>
              <a:gdLst>
                <a:gd name="connsiteX0" fmla="*/ 4755 w 129928"/>
                <a:gd name="connsiteY0" fmla="*/ 24770 h 77580"/>
                <a:gd name="connsiteX1" fmla="*/ 4774 w 129928"/>
                <a:gd name="connsiteY1" fmla="*/ 26268 h 77580"/>
                <a:gd name="connsiteX2" fmla="*/ 4513 w 129928"/>
                <a:gd name="connsiteY2" fmla="*/ 28758 h 77580"/>
                <a:gd name="connsiteX3" fmla="*/ 2917 w 129928"/>
                <a:gd name="connsiteY3" fmla="*/ 33001 h 77580"/>
                <a:gd name="connsiteX4" fmla="*/ 1283 w 129928"/>
                <a:gd name="connsiteY4" fmla="*/ 35210 h 77580"/>
                <a:gd name="connsiteX5" fmla="*/ 0 w 129928"/>
                <a:gd name="connsiteY5" fmla="*/ 34971 h 77580"/>
                <a:gd name="connsiteX6" fmla="*/ 2526 w 129928"/>
                <a:gd name="connsiteY6" fmla="*/ 31410 h 77580"/>
                <a:gd name="connsiteX7" fmla="*/ 3489 w 129928"/>
                <a:gd name="connsiteY7" fmla="*/ 29096 h 77580"/>
                <a:gd name="connsiteX8" fmla="*/ 4159 w 129928"/>
                <a:gd name="connsiteY8" fmla="*/ 25805 h 77580"/>
                <a:gd name="connsiteX9" fmla="*/ 87148 w 129928"/>
                <a:gd name="connsiteY9" fmla="*/ 0 h 77580"/>
                <a:gd name="connsiteX10" fmla="*/ 88519 w 129928"/>
                <a:gd name="connsiteY10" fmla="*/ 407 h 77580"/>
                <a:gd name="connsiteX11" fmla="*/ 89422 w 129928"/>
                <a:gd name="connsiteY11" fmla="*/ 2681 h 77580"/>
                <a:gd name="connsiteX12" fmla="*/ 92210 w 129928"/>
                <a:gd name="connsiteY12" fmla="*/ 6597 h 77580"/>
                <a:gd name="connsiteX13" fmla="*/ 95240 w 129928"/>
                <a:gd name="connsiteY13" fmla="*/ 7284 h 77580"/>
                <a:gd name="connsiteX14" fmla="*/ 103616 w 129928"/>
                <a:gd name="connsiteY14" fmla="*/ 8790 h 77580"/>
                <a:gd name="connsiteX15" fmla="*/ 105328 w 129928"/>
                <a:gd name="connsiteY15" fmla="*/ 9581 h 77580"/>
                <a:gd name="connsiteX16" fmla="*/ 110042 w 129928"/>
                <a:gd name="connsiteY16" fmla="*/ 13027 h 77580"/>
                <a:gd name="connsiteX17" fmla="*/ 112869 w 129928"/>
                <a:gd name="connsiteY17" fmla="*/ 14715 h 77580"/>
                <a:gd name="connsiteX18" fmla="*/ 114667 w 129928"/>
                <a:gd name="connsiteY18" fmla="*/ 16062 h 77580"/>
                <a:gd name="connsiteX19" fmla="*/ 117410 w 129928"/>
                <a:gd name="connsiteY19" fmla="*/ 18698 h 77580"/>
                <a:gd name="connsiteX20" fmla="*/ 118995 w 129928"/>
                <a:gd name="connsiteY20" fmla="*/ 20614 h 77580"/>
                <a:gd name="connsiteX21" fmla="*/ 121645 w 129928"/>
                <a:gd name="connsiteY21" fmla="*/ 22062 h 77580"/>
                <a:gd name="connsiteX22" fmla="*/ 124780 w 129928"/>
                <a:gd name="connsiteY22" fmla="*/ 23036 h 77580"/>
                <a:gd name="connsiteX23" fmla="*/ 125900 w 129928"/>
                <a:gd name="connsiteY23" fmla="*/ 23187 h 77580"/>
                <a:gd name="connsiteX24" fmla="*/ 125840 w 129928"/>
                <a:gd name="connsiteY24" fmla="*/ 24579 h 77580"/>
                <a:gd name="connsiteX25" fmla="*/ 125305 w 129928"/>
                <a:gd name="connsiteY25" fmla="*/ 26939 h 77580"/>
                <a:gd name="connsiteX26" fmla="*/ 124257 w 129928"/>
                <a:gd name="connsiteY26" fmla="*/ 29982 h 77580"/>
                <a:gd name="connsiteX27" fmla="*/ 123158 w 129928"/>
                <a:gd name="connsiteY27" fmla="*/ 32338 h 77580"/>
                <a:gd name="connsiteX28" fmla="*/ 122895 w 129928"/>
                <a:gd name="connsiteY28" fmla="*/ 33248 h 77580"/>
                <a:gd name="connsiteX29" fmla="*/ 123728 w 129928"/>
                <a:gd name="connsiteY29" fmla="*/ 34003 h 77580"/>
                <a:gd name="connsiteX30" fmla="*/ 127840 w 129928"/>
                <a:gd name="connsiteY30" fmla="*/ 34360 h 77580"/>
                <a:gd name="connsiteX31" fmla="*/ 129584 w 129928"/>
                <a:gd name="connsiteY31" fmla="*/ 34765 h 77580"/>
                <a:gd name="connsiteX32" fmla="*/ 129928 w 129928"/>
                <a:gd name="connsiteY32" fmla="*/ 35390 h 77580"/>
                <a:gd name="connsiteX33" fmla="*/ 129015 w 129928"/>
                <a:gd name="connsiteY33" fmla="*/ 36202 h 77580"/>
                <a:gd name="connsiteX34" fmla="*/ 127702 w 129928"/>
                <a:gd name="connsiteY34" fmla="*/ 36876 h 77580"/>
                <a:gd name="connsiteX35" fmla="*/ 127114 w 129928"/>
                <a:gd name="connsiteY35" fmla="*/ 37514 h 77580"/>
                <a:gd name="connsiteX36" fmla="*/ 126069 w 129928"/>
                <a:gd name="connsiteY36" fmla="*/ 39795 h 77580"/>
                <a:gd name="connsiteX37" fmla="*/ 119228 w 129928"/>
                <a:gd name="connsiteY37" fmla="*/ 39505 h 77580"/>
                <a:gd name="connsiteX38" fmla="*/ 118321 w 129928"/>
                <a:gd name="connsiteY38" fmla="*/ 39969 h 77580"/>
                <a:gd name="connsiteX39" fmla="*/ 117889 w 129928"/>
                <a:gd name="connsiteY39" fmla="*/ 41028 h 77580"/>
                <a:gd name="connsiteX40" fmla="*/ 117548 w 129928"/>
                <a:gd name="connsiteY40" fmla="*/ 42251 h 77580"/>
                <a:gd name="connsiteX41" fmla="*/ 116650 w 129928"/>
                <a:gd name="connsiteY41" fmla="*/ 43699 h 77580"/>
                <a:gd name="connsiteX42" fmla="*/ 114832 w 129928"/>
                <a:gd name="connsiteY42" fmla="*/ 44959 h 77580"/>
                <a:gd name="connsiteX43" fmla="*/ 111990 w 129928"/>
                <a:gd name="connsiteY43" fmla="*/ 45424 h 77580"/>
                <a:gd name="connsiteX44" fmla="*/ 109664 w 129928"/>
                <a:gd name="connsiteY44" fmla="*/ 46280 h 77580"/>
                <a:gd name="connsiteX45" fmla="*/ 107930 w 129928"/>
                <a:gd name="connsiteY45" fmla="*/ 48920 h 77580"/>
                <a:gd name="connsiteX46" fmla="*/ 106639 w 129928"/>
                <a:gd name="connsiteY46" fmla="*/ 52456 h 77580"/>
                <a:gd name="connsiteX47" fmla="*/ 106671 w 129928"/>
                <a:gd name="connsiteY47" fmla="*/ 54961 h 77580"/>
                <a:gd name="connsiteX48" fmla="*/ 106842 w 129928"/>
                <a:gd name="connsiteY48" fmla="*/ 56357 h 77580"/>
                <a:gd name="connsiteX49" fmla="*/ 106691 w 129928"/>
                <a:gd name="connsiteY49" fmla="*/ 57155 h 77580"/>
                <a:gd name="connsiteX50" fmla="*/ 105814 w 129928"/>
                <a:gd name="connsiteY50" fmla="*/ 58025 h 77580"/>
                <a:gd name="connsiteX51" fmla="*/ 104380 w 129928"/>
                <a:gd name="connsiteY51" fmla="*/ 60327 h 77580"/>
                <a:gd name="connsiteX52" fmla="*/ 103214 w 129928"/>
                <a:gd name="connsiteY52" fmla="*/ 62869 h 77580"/>
                <a:gd name="connsiteX53" fmla="*/ 102767 w 129928"/>
                <a:gd name="connsiteY53" fmla="*/ 64247 h 77580"/>
                <a:gd name="connsiteX54" fmla="*/ 102992 w 129928"/>
                <a:gd name="connsiteY54" fmla="*/ 64892 h 77580"/>
                <a:gd name="connsiteX55" fmla="*/ 104305 w 129928"/>
                <a:gd name="connsiteY55" fmla="*/ 64909 h 77580"/>
                <a:gd name="connsiteX56" fmla="*/ 106199 w 129928"/>
                <a:gd name="connsiteY56" fmla="*/ 65431 h 77580"/>
                <a:gd name="connsiteX57" fmla="*/ 107207 w 129928"/>
                <a:gd name="connsiteY57" fmla="*/ 66445 h 77580"/>
                <a:gd name="connsiteX58" fmla="*/ 107580 w 129928"/>
                <a:gd name="connsiteY58" fmla="*/ 67616 h 77580"/>
                <a:gd name="connsiteX59" fmla="*/ 107585 w 129928"/>
                <a:gd name="connsiteY59" fmla="*/ 68875 h 77580"/>
                <a:gd name="connsiteX60" fmla="*/ 107231 w 129928"/>
                <a:gd name="connsiteY60" fmla="*/ 69568 h 77580"/>
                <a:gd name="connsiteX61" fmla="*/ 105713 w 129928"/>
                <a:gd name="connsiteY61" fmla="*/ 70070 h 77580"/>
                <a:gd name="connsiteX62" fmla="*/ 103335 w 129928"/>
                <a:gd name="connsiteY62" fmla="*/ 70088 h 77580"/>
                <a:gd name="connsiteX63" fmla="*/ 101949 w 129928"/>
                <a:gd name="connsiteY63" fmla="*/ 69488 h 77580"/>
                <a:gd name="connsiteX64" fmla="*/ 101662 w 129928"/>
                <a:gd name="connsiteY64" fmla="*/ 69013 h 77580"/>
                <a:gd name="connsiteX65" fmla="*/ 102324 w 129928"/>
                <a:gd name="connsiteY65" fmla="*/ 67800 h 77580"/>
                <a:gd name="connsiteX66" fmla="*/ 101845 w 129928"/>
                <a:gd name="connsiteY66" fmla="*/ 66285 h 77580"/>
                <a:gd name="connsiteX67" fmla="*/ 100861 w 129928"/>
                <a:gd name="connsiteY67" fmla="*/ 65437 h 77580"/>
                <a:gd name="connsiteX68" fmla="*/ 98859 w 129928"/>
                <a:gd name="connsiteY68" fmla="*/ 66702 h 77580"/>
                <a:gd name="connsiteX69" fmla="*/ 96937 w 129928"/>
                <a:gd name="connsiteY69" fmla="*/ 66701 h 77580"/>
                <a:gd name="connsiteX70" fmla="*/ 94633 w 129928"/>
                <a:gd name="connsiteY70" fmla="*/ 67827 h 77580"/>
                <a:gd name="connsiteX71" fmla="*/ 93128 w 129928"/>
                <a:gd name="connsiteY71" fmla="*/ 69631 h 77580"/>
                <a:gd name="connsiteX72" fmla="*/ 91683 w 129928"/>
                <a:gd name="connsiteY72" fmla="*/ 70296 h 77580"/>
                <a:gd name="connsiteX73" fmla="*/ 87779 w 129928"/>
                <a:gd name="connsiteY73" fmla="*/ 69928 h 77580"/>
                <a:gd name="connsiteX74" fmla="*/ 86809 w 129928"/>
                <a:gd name="connsiteY74" fmla="*/ 70723 h 77580"/>
                <a:gd name="connsiteX75" fmla="*/ 86004 w 129928"/>
                <a:gd name="connsiteY75" fmla="*/ 74388 h 77580"/>
                <a:gd name="connsiteX76" fmla="*/ 85537 w 129928"/>
                <a:gd name="connsiteY76" fmla="*/ 75104 h 77580"/>
                <a:gd name="connsiteX77" fmla="*/ 82277 w 129928"/>
                <a:gd name="connsiteY77" fmla="*/ 74947 h 77580"/>
                <a:gd name="connsiteX78" fmla="*/ 79133 w 129928"/>
                <a:gd name="connsiteY78" fmla="*/ 76402 h 77580"/>
                <a:gd name="connsiteX79" fmla="*/ 75583 w 129928"/>
                <a:gd name="connsiteY79" fmla="*/ 77580 h 77580"/>
                <a:gd name="connsiteX80" fmla="*/ 73784 w 129928"/>
                <a:gd name="connsiteY80" fmla="*/ 76761 h 77580"/>
                <a:gd name="connsiteX81" fmla="*/ 72782 w 129928"/>
                <a:gd name="connsiteY81" fmla="*/ 75838 h 77580"/>
                <a:gd name="connsiteX82" fmla="*/ 70849 w 129928"/>
                <a:gd name="connsiteY82" fmla="*/ 76002 h 77580"/>
                <a:gd name="connsiteX83" fmla="*/ 68740 w 129928"/>
                <a:gd name="connsiteY83" fmla="*/ 76408 h 77580"/>
                <a:gd name="connsiteX84" fmla="*/ 67323 w 129928"/>
                <a:gd name="connsiteY84" fmla="*/ 76186 h 77580"/>
                <a:gd name="connsiteX85" fmla="*/ 65734 w 129928"/>
                <a:gd name="connsiteY85" fmla="*/ 76285 h 77580"/>
                <a:gd name="connsiteX86" fmla="*/ 62663 w 129928"/>
                <a:gd name="connsiteY86" fmla="*/ 76995 h 77580"/>
                <a:gd name="connsiteX87" fmla="*/ 58802 w 129928"/>
                <a:gd name="connsiteY87" fmla="*/ 76766 h 77580"/>
                <a:gd name="connsiteX88" fmla="*/ 57157 w 129928"/>
                <a:gd name="connsiteY88" fmla="*/ 76160 h 77580"/>
                <a:gd name="connsiteX89" fmla="*/ 57001 w 129928"/>
                <a:gd name="connsiteY89" fmla="*/ 75580 h 77580"/>
                <a:gd name="connsiteX90" fmla="*/ 57120 w 129928"/>
                <a:gd name="connsiteY90" fmla="*/ 74154 h 77580"/>
                <a:gd name="connsiteX91" fmla="*/ 57083 w 129928"/>
                <a:gd name="connsiteY91" fmla="*/ 71937 h 77580"/>
                <a:gd name="connsiteX92" fmla="*/ 56470 w 129928"/>
                <a:gd name="connsiteY92" fmla="*/ 69979 h 77580"/>
                <a:gd name="connsiteX93" fmla="*/ 54623 w 129928"/>
                <a:gd name="connsiteY93" fmla="*/ 68246 h 77580"/>
                <a:gd name="connsiteX94" fmla="*/ 52682 w 129928"/>
                <a:gd name="connsiteY94" fmla="*/ 67034 h 77580"/>
                <a:gd name="connsiteX95" fmla="*/ 50205 w 129928"/>
                <a:gd name="connsiteY95" fmla="*/ 65782 h 77580"/>
                <a:gd name="connsiteX96" fmla="*/ 48374 w 129928"/>
                <a:gd name="connsiteY96" fmla="*/ 65233 h 77580"/>
                <a:gd name="connsiteX97" fmla="*/ 47372 w 129928"/>
                <a:gd name="connsiteY97" fmla="*/ 65089 h 77580"/>
                <a:gd name="connsiteX98" fmla="*/ 47146 w 129928"/>
                <a:gd name="connsiteY98" fmla="*/ 64368 h 77580"/>
                <a:gd name="connsiteX99" fmla="*/ 46783 w 129928"/>
                <a:gd name="connsiteY99" fmla="*/ 63745 h 77580"/>
                <a:gd name="connsiteX100" fmla="*/ 45926 w 129928"/>
                <a:gd name="connsiteY100" fmla="*/ 63196 h 77580"/>
                <a:gd name="connsiteX101" fmla="*/ 44095 w 129928"/>
                <a:gd name="connsiteY101" fmla="*/ 62459 h 77580"/>
                <a:gd name="connsiteX102" fmla="*/ 42542 w 129928"/>
                <a:gd name="connsiteY102" fmla="*/ 62298 h 77580"/>
                <a:gd name="connsiteX103" fmla="*/ 41270 w 129928"/>
                <a:gd name="connsiteY103" fmla="*/ 63487 h 77580"/>
                <a:gd name="connsiteX104" fmla="*/ 40344 w 129928"/>
                <a:gd name="connsiteY104" fmla="*/ 61998 h 77580"/>
                <a:gd name="connsiteX105" fmla="*/ 39361 w 129928"/>
                <a:gd name="connsiteY105" fmla="*/ 59331 h 77580"/>
                <a:gd name="connsiteX106" fmla="*/ 39463 w 129928"/>
                <a:gd name="connsiteY106" fmla="*/ 57196 h 77580"/>
                <a:gd name="connsiteX107" fmla="*/ 40020 w 129928"/>
                <a:gd name="connsiteY107" fmla="*/ 55065 h 77580"/>
                <a:gd name="connsiteX108" fmla="*/ 42708 w 129928"/>
                <a:gd name="connsiteY108" fmla="*/ 48760 h 77580"/>
                <a:gd name="connsiteX109" fmla="*/ 42563 w 129928"/>
                <a:gd name="connsiteY109" fmla="*/ 47753 h 77580"/>
                <a:gd name="connsiteX110" fmla="*/ 40613 w 129928"/>
                <a:gd name="connsiteY110" fmla="*/ 45986 h 77580"/>
                <a:gd name="connsiteX111" fmla="*/ 38202 w 129928"/>
                <a:gd name="connsiteY111" fmla="*/ 44701 h 77580"/>
                <a:gd name="connsiteX112" fmla="*/ 36871 w 129928"/>
                <a:gd name="connsiteY112" fmla="*/ 41982 h 77580"/>
                <a:gd name="connsiteX113" fmla="*/ 31987 w 129928"/>
                <a:gd name="connsiteY113" fmla="*/ 41824 h 77580"/>
                <a:gd name="connsiteX114" fmla="*/ 27376 w 129928"/>
                <a:gd name="connsiteY114" fmla="*/ 41974 h 77580"/>
                <a:gd name="connsiteX115" fmla="*/ 25928 w 129928"/>
                <a:gd name="connsiteY115" fmla="*/ 41842 h 77580"/>
                <a:gd name="connsiteX116" fmla="*/ 21540 w 129928"/>
                <a:gd name="connsiteY116" fmla="*/ 40702 h 77580"/>
                <a:gd name="connsiteX117" fmla="*/ 17311 w 129928"/>
                <a:gd name="connsiteY117" fmla="*/ 38866 h 77580"/>
                <a:gd name="connsiteX118" fmla="*/ 14481 w 129928"/>
                <a:gd name="connsiteY118" fmla="*/ 37788 h 77580"/>
                <a:gd name="connsiteX119" fmla="*/ 12101 w 129928"/>
                <a:gd name="connsiteY119" fmla="*/ 36582 h 77580"/>
                <a:gd name="connsiteX120" fmla="*/ 10823 w 129928"/>
                <a:gd name="connsiteY120" fmla="*/ 35315 h 77580"/>
                <a:gd name="connsiteX121" fmla="*/ 8795 w 129928"/>
                <a:gd name="connsiteY121" fmla="*/ 35656 h 77580"/>
                <a:gd name="connsiteX122" fmla="*/ 7428 w 129928"/>
                <a:gd name="connsiteY122" fmla="*/ 35667 h 77580"/>
                <a:gd name="connsiteX123" fmla="*/ 7441 w 129928"/>
                <a:gd name="connsiteY123" fmla="*/ 35449 h 77580"/>
                <a:gd name="connsiteX124" fmla="*/ 6662 w 129928"/>
                <a:gd name="connsiteY124" fmla="*/ 33207 h 77580"/>
                <a:gd name="connsiteX125" fmla="*/ 7476 w 129928"/>
                <a:gd name="connsiteY125" fmla="*/ 29769 h 77580"/>
                <a:gd name="connsiteX126" fmla="*/ 5999 w 129928"/>
                <a:gd name="connsiteY126" fmla="*/ 24732 h 77580"/>
                <a:gd name="connsiteX127" fmla="*/ 3584 w 129928"/>
                <a:gd name="connsiteY127" fmla="*/ 18657 h 77580"/>
                <a:gd name="connsiteX128" fmla="*/ 3405 w 129928"/>
                <a:gd name="connsiteY128" fmla="*/ 12135 h 77580"/>
                <a:gd name="connsiteX129" fmla="*/ 3234 w 129928"/>
                <a:gd name="connsiteY129" fmla="*/ 10666 h 77580"/>
                <a:gd name="connsiteX130" fmla="*/ 9173 w 129928"/>
                <a:gd name="connsiteY130" fmla="*/ 6980 h 77580"/>
                <a:gd name="connsiteX131" fmla="*/ 16666 w 129928"/>
                <a:gd name="connsiteY131" fmla="*/ 3027 h 77580"/>
                <a:gd name="connsiteX132" fmla="*/ 18370 w 129928"/>
                <a:gd name="connsiteY132" fmla="*/ 2669 h 77580"/>
                <a:gd name="connsiteX133" fmla="*/ 25275 w 129928"/>
                <a:gd name="connsiteY133" fmla="*/ 326 h 77580"/>
                <a:gd name="connsiteX134" fmla="*/ 26197 w 129928"/>
                <a:gd name="connsiteY134" fmla="*/ 140 h 77580"/>
                <a:gd name="connsiteX135" fmla="*/ 32419 w 129928"/>
                <a:gd name="connsiteY135" fmla="*/ 574 h 77580"/>
                <a:gd name="connsiteX136" fmla="*/ 37306 w 129928"/>
                <a:gd name="connsiteY136" fmla="*/ 1131 h 77580"/>
                <a:gd name="connsiteX137" fmla="*/ 41425 w 129928"/>
                <a:gd name="connsiteY137" fmla="*/ 1062 h 77580"/>
                <a:gd name="connsiteX138" fmla="*/ 43688 w 129928"/>
                <a:gd name="connsiteY138" fmla="*/ 462 h 77580"/>
                <a:gd name="connsiteX139" fmla="*/ 45738 w 129928"/>
                <a:gd name="connsiteY139" fmla="*/ 964 h 77580"/>
                <a:gd name="connsiteX140" fmla="*/ 47390 w 129928"/>
                <a:gd name="connsiteY140" fmla="*/ 2729 h 77580"/>
                <a:gd name="connsiteX141" fmla="*/ 49089 w 129928"/>
                <a:gd name="connsiteY141" fmla="*/ 2522 h 77580"/>
                <a:gd name="connsiteX142" fmla="*/ 50771 w 129928"/>
                <a:gd name="connsiteY142" fmla="*/ 1380 h 77580"/>
                <a:gd name="connsiteX143" fmla="*/ 59987 w 129928"/>
                <a:gd name="connsiteY143" fmla="*/ 2423 h 77580"/>
                <a:gd name="connsiteX144" fmla="*/ 62067 w 129928"/>
                <a:gd name="connsiteY144" fmla="*/ 2398 h 77580"/>
                <a:gd name="connsiteX145" fmla="*/ 64410 w 129928"/>
                <a:gd name="connsiteY145" fmla="*/ 2567 h 77580"/>
                <a:gd name="connsiteX146" fmla="*/ 68733 w 129928"/>
                <a:gd name="connsiteY146" fmla="*/ 3630 h 77580"/>
                <a:gd name="connsiteX147" fmla="*/ 71220 w 129928"/>
                <a:gd name="connsiteY147" fmla="*/ 4600 h 77580"/>
                <a:gd name="connsiteX148" fmla="*/ 76686 w 129928"/>
                <a:gd name="connsiteY148" fmla="*/ 4014 h 77580"/>
                <a:gd name="connsiteX149" fmla="*/ 79025 w 129928"/>
                <a:gd name="connsiteY149" fmla="*/ 3980 h 77580"/>
                <a:gd name="connsiteX150" fmla="*/ 80249 w 129928"/>
                <a:gd name="connsiteY150" fmla="*/ 3598 h 77580"/>
                <a:gd name="connsiteX151" fmla="*/ 84019 w 129928"/>
                <a:gd name="connsiteY151" fmla="*/ 937 h 77580"/>
                <a:gd name="connsiteX152" fmla="*/ 85650 w 129928"/>
                <a:gd name="connsiteY152" fmla="*/ 479 h 77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</a:cxnLst>
              <a:rect l="l" t="t" r="r" b="b"/>
              <a:pathLst>
                <a:path w="129928" h="77580">
                  <a:moveTo>
                    <a:pt x="4755" y="24770"/>
                  </a:moveTo>
                  <a:lnTo>
                    <a:pt x="4774" y="26268"/>
                  </a:lnTo>
                  <a:lnTo>
                    <a:pt x="4513" y="28758"/>
                  </a:lnTo>
                  <a:lnTo>
                    <a:pt x="2917" y="33001"/>
                  </a:lnTo>
                  <a:lnTo>
                    <a:pt x="1283" y="35210"/>
                  </a:lnTo>
                  <a:lnTo>
                    <a:pt x="0" y="34971"/>
                  </a:lnTo>
                  <a:lnTo>
                    <a:pt x="2526" y="31410"/>
                  </a:lnTo>
                  <a:lnTo>
                    <a:pt x="3489" y="29096"/>
                  </a:lnTo>
                  <a:lnTo>
                    <a:pt x="4159" y="25805"/>
                  </a:lnTo>
                  <a:close/>
                  <a:moveTo>
                    <a:pt x="87148" y="0"/>
                  </a:moveTo>
                  <a:lnTo>
                    <a:pt x="88519" y="407"/>
                  </a:lnTo>
                  <a:lnTo>
                    <a:pt x="89422" y="2681"/>
                  </a:lnTo>
                  <a:lnTo>
                    <a:pt x="92210" y="6597"/>
                  </a:lnTo>
                  <a:lnTo>
                    <a:pt x="95240" y="7284"/>
                  </a:lnTo>
                  <a:lnTo>
                    <a:pt x="103616" y="8790"/>
                  </a:lnTo>
                  <a:lnTo>
                    <a:pt x="105328" y="9581"/>
                  </a:lnTo>
                  <a:lnTo>
                    <a:pt x="110042" y="13027"/>
                  </a:lnTo>
                  <a:lnTo>
                    <a:pt x="112869" y="14715"/>
                  </a:lnTo>
                  <a:lnTo>
                    <a:pt x="114667" y="16062"/>
                  </a:lnTo>
                  <a:lnTo>
                    <a:pt x="117410" y="18698"/>
                  </a:lnTo>
                  <a:lnTo>
                    <a:pt x="118995" y="20614"/>
                  </a:lnTo>
                  <a:lnTo>
                    <a:pt x="121645" y="22062"/>
                  </a:lnTo>
                  <a:lnTo>
                    <a:pt x="124780" y="23036"/>
                  </a:lnTo>
                  <a:lnTo>
                    <a:pt x="125900" y="23187"/>
                  </a:lnTo>
                  <a:lnTo>
                    <a:pt x="125840" y="24579"/>
                  </a:lnTo>
                  <a:lnTo>
                    <a:pt x="125305" y="26939"/>
                  </a:lnTo>
                  <a:lnTo>
                    <a:pt x="124257" y="29982"/>
                  </a:lnTo>
                  <a:lnTo>
                    <a:pt x="123158" y="32338"/>
                  </a:lnTo>
                  <a:lnTo>
                    <a:pt x="122895" y="33248"/>
                  </a:lnTo>
                  <a:lnTo>
                    <a:pt x="123728" y="34003"/>
                  </a:lnTo>
                  <a:lnTo>
                    <a:pt x="127840" y="34360"/>
                  </a:lnTo>
                  <a:lnTo>
                    <a:pt x="129584" y="34765"/>
                  </a:lnTo>
                  <a:lnTo>
                    <a:pt x="129928" y="35390"/>
                  </a:lnTo>
                  <a:lnTo>
                    <a:pt x="129015" y="36202"/>
                  </a:lnTo>
                  <a:lnTo>
                    <a:pt x="127702" y="36876"/>
                  </a:lnTo>
                  <a:lnTo>
                    <a:pt x="127114" y="37514"/>
                  </a:lnTo>
                  <a:lnTo>
                    <a:pt x="126069" y="39795"/>
                  </a:lnTo>
                  <a:lnTo>
                    <a:pt x="119228" y="39505"/>
                  </a:lnTo>
                  <a:lnTo>
                    <a:pt x="118321" y="39969"/>
                  </a:lnTo>
                  <a:lnTo>
                    <a:pt x="117889" y="41028"/>
                  </a:lnTo>
                  <a:lnTo>
                    <a:pt x="117548" y="42251"/>
                  </a:lnTo>
                  <a:lnTo>
                    <a:pt x="116650" y="43699"/>
                  </a:lnTo>
                  <a:lnTo>
                    <a:pt x="114832" y="44959"/>
                  </a:lnTo>
                  <a:lnTo>
                    <a:pt x="111990" y="45424"/>
                  </a:lnTo>
                  <a:lnTo>
                    <a:pt x="109664" y="46280"/>
                  </a:lnTo>
                  <a:lnTo>
                    <a:pt x="107930" y="48920"/>
                  </a:lnTo>
                  <a:lnTo>
                    <a:pt x="106639" y="52456"/>
                  </a:lnTo>
                  <a:lnTo>
                    <a:pt x="106671" y="54961"/>
                  </a:lnTo>
                  <a:lnTo>
                    <a:pt x="106842" y="56357"/>
                  </a:lnTo>
                  <a:lnTo>
                    <a:pt x="106691" y="57155"/>
                  </a:lnTo>
                  <a:lnTo>
                    <a:pt x="105814" y="58025"/>
                  </a:lnTo>
                  <a:lnTo>
                    <a:pt x="104380" y="60327"/>
                  </a:lnTo>
                  <a:lnTo>
                    <a:pt x="103214" y="62869"/>
                  </a:lnTo>
                  <a:lnTo>
                    <a:pt x="102767" y="64247"/>
                  </a:lnTo>
                  <a:lnTo>
                    <a:pt x="102992" y="64892"/>
                  </a:lnTo>
                  <a:lnTo>
                    <a:pt x="104305" y="64909"/>
                  </a:lnTo>
                  <a:lnTo>
                    <a:pt x="106199" y="65431"/>
                  </a:lnTo>
                  <a:lnTo>
                    <a:pt x="107207" y="66445"/>
                  </a:lnTo>
                  <a:lnTo>
                    <a:pt x="107580" y="67616"/>
                  </a:lnTo>
                  <a:lnTo>
                    <a:pt x="107585" y="68875"/>
                  </a:lnTo>
                  <a:lnTo>
                    <a:pt x="107231" y="69568"/>
                  </a:lnTo>
                  <a:lnTo>
                    <a:pt x="105713" y="70070"/>
                  </a:lnTo>
                  <a:lnTo>
                    <a:pt x="103335" y="70088"/>
                  </a:lnTo>
                  <a:lnTo>
                    <a:pt x="101949" y="69488"/>
                  </a:lnTo>
                  <a:lnTo>
                    <a:pt x="101662" y="69013"/>
                  </a:lnTo>
                  <a:lnTo>
                    <a:pt x="102324" y="67800"/>
                  </a:lnTo>
                  <a:lnTo>
                    <a:pt x="101845" y="66285"/>
                  </a:lnTo>
                  <a:lnTo>
                    <a:pt x="100861" y="65437"/>
                  </a:lnTo>
                  <a:lnTo>
                    <a:pt x="98859" y="66702"/>
                  </a:lnTo>
                  <a:lnTo>
                    <a:pt x="96937" y="66701"/>
                  </a:lnTo>
                  <a:lnTo>
                    <a:pt x="94633" y="67827"/>
                  </a:lnTo>
                  <a:lnTo>
                    <a:pt x="93128" y="69631"/>
                  </a:lnTo>
                  <a:lnTo>
                    <a:pt x="91683" y="70296"/>
                  </a:lnTo>
                  <a:lnTo>
                    <a:pt x="87779" y="69928"/>
                  </a:lnTo>
                  <a:lnTo>
                    <a:pt x="86809" y="70723"/>
                  </a:lnTo>
                  <a:lnTo>
                    <a:pt x="86004" y="74388"/>
                  </a:lnTo>
                  <a:lnTo>
                    <a:pt x="85537" y="75104"/>
                  </a:lnTo>
                  <a:lnTo>
                    <a:pt x="82277" y="74947"/>
                  </a:lnTo>
                  <a:lnTo>
                    <a:pt x="79133" y="76402"/>
                  </a:lnTo>
                  <a:lnTo>
                    <a:pt x="75583" y="77580"/>
                  </a:lnTo>
                  <a:lnTo>
                    <a:pt x="73784" y="76761"/>
                  </a:lnTo>
                  <a:lnTo>
                    <a:pt x="72782" y="75838"/>
                  </a:lnTo>
                  <a:lnTo>
                    <a:pt x="70849" y="76002"/>
                  </a:lnTo>
                  <a:lnTo>
                    <a:pt x="68740" y="76408"/>
                  </a:lnTo>
                  <a:lnTo>
                    <a:pt x="67323" y="76186"/>
                  </a:lnTo>
                  <a:lnTo>
                    <a:pt x="65734" y="76285"/>
                  </a:lnTo>
                  <a:lnTo>
                    <a:pt x="62663" y="76995"/>
                  </a:lnTo>
                  <a:lnTo>
                    <a:pt x="58802" y="76766"/>
                  </a:lnTo>
                  <a:lnTo>
                    <a:pt x="57157" y="76160"/>
                  </a:lnTo>
                  <a:lnTo>
                    <a:pt x="57001" y="75580"/>
                  </a:lnTo>
                  <a:lnTo>
                    <a:pt x="57120" y="74154"/>
                  </a:lnTo>
                  <a:lnTo>
                    <a:pt x="57083" y="71937"/>
                  </a:lnTo>
                  <a:lnTo>
                    <a:pt x="56470" y="69979"/>
                  </a:lnTo>
                  <a:lnTo>
                    <a:pt x="54623" y="68246"/>
                  </a:lnTo>
                  <a:lnTo>
                    <a:pt x="52682" y="67034"/>
                  </a:lnTo>
                  <a:lnTo>
                    <a:pt x="50205" y="65782"/>
                  </a:lnTo>
                  <a:lnTo>
                    <a:pt x="48374" y="65233"/>
                  </a:lnTo>
                  <a:lnTo>
                    <a:pt x="47372" y="65089"/>
                  </a:lnTo>
                  <a:lnTo>
                    <a:pt x="47146" y="64368"/>
                  </a:lnTo>
                  <a:lnTo>
                    <a:pt x="46783" y="63745"/>
                  </a:lnTo>
                  <a:lnTo>
                    <a:pt x="45926" y="63196"/>
                  </a:lnTo>
                  <a:lnTo>
                    <a:pt x="44095" y="62459"/>
                  </a:lnTo>
                  <a:lnTo>
                    <a:pt x="42542" y="62298"/>
                  </a:lnTo>
                  <a:lnTo>
                    <a:pt x="41270" y="63487"/>
                  </a:lnTo>
                  <a:lnTo>
                    <a:pt x="40344" y="61998"/>
                  </a:lnTo>
                  <a:lnTo>
                    <a:pt x="39361" y="59331"/>
                  </a:lnTo>
                  <a:lnTo>
                    <a:pt x="39463" y="57196"/>
                  </a:lnTo>
                  <a:lnTo>
                    <a:pt x="40020" y="55065"/>
                  </a:lnTo>
                  <a:lnTo>
                    <a:pt x="42708" y="48760"/>
                  </a:lnTo>
                  <a:lnTo>
                    <a:pt x="42563" y="47753"/>
                  </a:lnTo>
                  <a:lnTo>
                    <a:pt x="40613" y="45986"/>
                  </a:lnTo>
                  <a:lnTo>
                    <a:pt x="38202" y="44701"/>
                  </a:lnTo>
                  <a:lnTo>
                    <a:pt x="36871" y="41982"/>
                  </a:lnTo>
                  <a:lnTo>
                    <a:pt x="31987" y="41824"/>
                  </a:lnTo>
                  <a:lnTo>
                    <a:pt x="27376" y="41974"/>
                  </a:lnTo>
                  <a:lnTo>
                    <a:pt x="25928" y="41842"/>
                  </a:lnTo>
                  <a:lnTo>
                    <a:pt x="21540" y="40702"/>
                  </a:lnTo>
                  <a:lnTo>
                    <a:pt x="17311" y="38866"/>
                  </a:lnTo>
                  <a:lnTo>
                    <a:pt x="14481" y="37788"/>
                  </a:lnTo>
                  <a:lnTo>
                    <a:pt x="12101" y="36582"/>
                  </a:lnTo>
                  <a:lnTo>
                    <a:pt x="10823" y="35315"/>
                  </a:lnTo>
                  <a:lnTo>
                    <a:pt x="8795" y="35656"/>
                  </a:lnTo>
                  <a:lnTo>
                    <a:pt x="7428" y="35667"/>
                  </a:lnTo>
                  <a:lnTo>
                    <a:pt x="7441" y="35449"/>
                  </a:lnTo>
                  <a:lnTo>
                    <a:pt x="6662" y="33207"/>
                  </a:lnTo>
                  <a:lnTo>
                    <a:pt x="7476" y="29769"/>
                  </a:lnTo>
                  <a:lnTo>
                    <a:pt x="5999" y="24732"/>
                  </a:lnTo>
                  <a:lnTo>
                    <a:pt x="3584" y="18657"/>
                  </a:lnTo>
                  <a:lnTo>
                    <a:pt x="3405" y="12135"/>
                  </a:lnTo>
                  <a:lnTo>
                    <a:pt x="3234" y="10666"/>
                  </a:lnTo>
                  <a:lnTo>
                    <a:pt x="9173" y="6980"/>
                  </a:lnTo>
                  <a:lnTo>
                    <a:pt x="16666" y="3027"/>
                  </a:lnTo>
                  <a:lnTo>
                    <a:pt x="18370" y="2669"/>
                  </a:lnTo>
                  <a:lnTo>
                    <a:pt x="25275" y="326"/>
                  </a:lnTo>
                  <a:lnTo>
                    <a:pt x="26197" y="140"/>
                  </a:lnTo>
                  <a:lnTo>
                    <a:pt x="32419" y="574"/>
                  </a:lnTo>
                  <a:lnTo>
                    <a:pt x="37306" y="1131"/>
                  </a:lnTo>
                  <a:lnTo>
                    <a:pt x="41425" y="1062"/>
                  </a:lnTo>
                  <a:lnTo>
                    <a:pt x="43688" y="462"/>
                  </a:lnTo>
                  <a:lnTo>
                    <a:pt x="45738" y="964"/>
                  </a:lnTo>
                  <a:lnTo>
                    <a:pt x="47390" y="2729"/>
                  </a:lnTo>
                  <a:lnTo>
                    <a:pt x="49089" y="2522"/>
                  </a:lnTo>
                  <a:lnTo>
                    <a:pt x="50771" y="1380"/>
                  </a:lnTo>
                  <a:lnTo>
                    <a:pt x="59987" y="2423"/>
                  </a:lnTo>
                  <a:lnTo>
                    <a:pt x="62067" y="2398"/>
                  </a:lnTo>
                  <a:lnTo>
                    <a:pt x="64410" y="2567"/>
                  </a:lnTo>
                  <a:lnTo>
                    <a:pt x="68733" y="3630"/>
                  </a:lnTo>
                  <a:lnTo>
                    <a:pt x="71220" y="4600"/>
                  </a:lnTo>
                  <a:lnTo>
                    <a:pt x="76686" y="4014"/>
                  </a:lnTo>
                  <a:lnTo>
                    <a:pt x="79025" y="3980"/>
                  </a:lnTo>
                  <a:lnTo>
                    <a:pt x="80249" y="3598"/>
                  </a:lnTo>
                  <a:lnTo>
                    <a:pt x="84019" y="937"/>
                  </a:lnTo>
                  <a:lnTo>
                    <a:pt x="85650" y="479"/>
                  </a:lnTo>
                  <a:close/>
                </a:path>
              </a:pathLst>
            </a:custGeom>
            <a:solidFill>
              <a:srgbClr val="A3BA1E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60" name="ee4p_LU_1_82333">
              <a:extLst>
                <a:ext uri="{FF2B5EF4-FFF2-40B4-BE49-F238E27FC236}">
                  <a16:creationId xmlns:a16="http://schemas.microsoft.com/office/drawing/2014/main" id="{E930DD52-53D9-18B2-DBE5-963F9448A54F}"/>
                </a:ext>
              </a:extLst>
            </p:cNvPr>
            <p:cNvSpPr>
              <a:spLocks noChangeAspect="1"/>
            </p:cNvSpPr>
            <p:nvPr>
              <p:custDataLst>
                <p:tags r:id="rId88"/>
              </p:custDataLst>
            </p:nvPr>
          </p:nvSpPr>
          <p:spPr>
            <a:xfrm>
              <a:off x="6673680" y="3110938"/>
              <a:ext cx="21349" cy="26816"/>
            </a:xfrm>
            <a:custGeom>
              <a:avLst/>
              <a:gdLst/>
              <a:ahLst/>
              <a:cxnLst/>
              <a:rect l="0" t="0" r="0" b="0"/>
              <a:pathLst>
                <a:path w="17000" h="20787">
                  <a:moveTo>
                    <a:pt x="8657" y="1335"/>
                  </a:moveTo>
                  <a:lnTo>
                    <a:pt x="8476" y="2109"/>
                  </a:lnTo>
                  <a:lnTo>
                    <a:pt x="8508" y="3838"/>
                  </a:lnTo>
                  <a:lnTo>
                    <a:pt x="9136" y="5572"/>
                  </a:lnTo>
                  <a:lnTo>
                    <a:pt x="10611" y="7279"/>
                  </a:lnTo>
                  <a:lnTo>
                    <a:pt x="11743" y="8517"/>
                  </a:lnTo>
                  <a:lnTo>
                    <a:pt x="13259" y="9505"/>
                  </a:lnTo>
                  <a:lnTo>
                    <a:pt x="15830" y="10443"/>
                  </a:lnTo>
                  <a:lnTo>
                    <a:pt x="16856" y="10640"/>
                  </a:lnTo>
                  <a:lnTo>
                    <a:pt x="16999" y="11909"/>
                  </a:lnTo>
                  <a:lnTo>
                    <a:pt x="16800" y="13250"/>
                  </a:lnTo>
                  <a:lnTo>
                    <a:pt x="15912" y="13991"/>
                  </a:lnTo>
                  <a:lnTo>
                    <a:pt x="15074" y="15057"/>
                  </a:lnTo>
                  <a:lnTo>
                    <a:pt x="14446" y="16361"/>
                  </a:lnTo>
                  <a:lnTo>
                    <a:pt x="13785" y="18857"/>
                  </a:lnTo>
                  <a:lnTo>
                    <a:pt x="13695" y="20577"/>
                  </a:lnTo>
                  <a:lnTo>
                    <a:pt x="12213" y="19865"/>
                  </a:lnTo>
                  <a:lnTo>
                    <a:pt x="11436" y="19383"/>
                  </a:lnTo>
                  <a:lnTo>
                    <a:pt x="10084" y="19252"/>
                  </a:lnTo>
                  <a:lnTo>
                    <a:pt x="8732" y="19645"/>
                  </a:lnTo>
                  <a:lnTo>
                    <a:pt x="7720" y="20522"/>
                  </a:lnTo>
                  <a:lnTo>
                    <a:pt x="6333" y="20786"/>
                  </a:lnTo>
                  <a:lnTo>
                    <a:pt x="5185" y="20522"/>
                  </a:lnTo>
                  <a:lnTo>
                    <a:pt x="4509" y="19865"/>
                  </a:lnTo>
                  <a:lnTo>
                    <a:pt x="3900" y="19515"/>
                  </a:lnTo>
                  <a:lnTo>
                    <a:pt x="2177" y="19075"/>
                  </a:lnTo>
                  <a:lnTo>
                    <a:pt x="1431" y="18122"/>
                  </a:lnTo>
                  <a:lnTo>
                    <a:pt x="2000" y="17676"/>
                  </a:lnTo>
                  <a:lnTo>
                    <a:pt x="2489" y="16972"/>
                  </a:lnTo>
                  <a:lnTo>
                    <a:pt x="2908" y="15980"/>
                  </a:lnTo>
                  <a:lnTo>
                    <a:pt x="3436" y="15063"/>
                  </a:lnTo>
                  <a:lnTo>
                    <a:pt x="1740" y="12549"/>
                  </a:lnTo>
                  <a:lnTo>
                    <a:pt x="1393" y="11780"/>
                  </a:lnTo>
                  <a:lnTo>
                    <a:pt x="0" y="10358"/>
                  </a:lnTo>
                  <a:lnTo>
                    <a:pt x="17" y="9636"/>
                  </a:lnTo>
                  <a:lnTo>
                    <a:pt x="350" y="8949"/>
                  </a:lnTo>
                  <a:lnTo>
                    <a:pt x="226" y="8417"/>
                  </a:lnTo>
                  <a:lnTo>
                    <a:pt x="421" y="7149"/>
                  </a:lnTo>
                  <a:lnTo>
                    <a:pt x="1395" y="5949"/>
                  </a:lnTo>
                  <a:lnTo>
                    <a:pt x="2043" y="4464"/>
                  </a:lnTo>
                  <a:lnTo>
                    <a:pt x="3137" y="2439"/>
                  </a:lnTo>
                  <a:lnTo>
                    <a:pt x="5556" y="0"/>
                  </a:lnTo>
                  <a:lnTo>
                    <a:pt x="7292" y="372"/>
                  </a:lnTo>
                  <a:lnTo>
                    <a:pt x="8050" y="364"/>
                  </a:lnTo>
                  <a:lnTo>
                    <a:pt x="8514" y="1255"/>
                  </a:lnTo>
                  <a:close/>
                </a:path>
              </a:pathLst>
            </a:custGeom>
            <a:solidFill>
              <a:srgbClr val="A3BA1E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61" name="ee4p_LV_1_82333">
              <a:extLst>
                <a:ext uri="{FF2B5EF4-FFF2-40B4-BE49-F238E27FC236}">
                  <a16:creationId xmlns:a16="http://schemas.microsoft.com/office/drawing/2014/main" id="{62E4C593-2334-DD30-8581-E60077C6659A}"/>
                </a:ext>
              </a:extLst>
            </p:cNvPr>
            <p:cNvSpPr>
              <a:spLocks noChangeAspect="1"/>
            </p:cNvSpPr>
            <p:nvPr>
              <p:custDataLst>
                <p:tags r:id="rId89"/>
              </p:custDataLst>
            </p:nvPr>
          </p:nvSpPr>
          <p:spPr>
            <a:xfrm>
              <a:off x="7098272" y="2801043"/>
              <a:ext cx="199582" cy="97509"/>
            </a:xfrm>
            <a:custGeom>
              <a:avLst/>
              <a:gdLst/>
              <a:ahLst/>
              <a:cxnLst/>
              <a:rect l="0" t="0" r="0" b="0"/>
              <a:pathLst>
                <a:path w="158923" h="75586">
                  <a:moveTo>
                    <a:pt x="140124" y="17113"/>
                  </a:moveTo>
                  <a:lnTo>
                    <a:pt x="142728" y="17243"/>
                  </a:lnTo>
                  <a:lnTo>
                    <a:pt x="143644" y="17749"/>
                  </a:lnTo>
                  <a:lnTo>
                    <a:pt x="144253" y="20242"/>
                  </a:lnTo>
                  <a:lnTo>
                    <a:pt x="147218" y="22202"/>
                  </a:lnTo>
                  <a:lnTo>
                    <a:pt x="149963" y="23827"/>
                  </a:lnTo>
                  <a:lnTo>
                    <a:pt x="150664" y="24577"/>
                  </a:lnTo>
                  <a:lnTo>
                    <a:pt x="150878" y="26024"/>
                  </a:lnTo>
                  <a:lnTo>
                    <a:pt x="150701" y="27712"/>
                  </a:lnTo>
                  <a:lnTo>
                    <a:pt x="150353" y="28586"/>
                  </a:lnTo>
                  <a:lnTo>
                    <a:pt x="149209" y="29593"/>
                  </a:lnTo>
                  <a:lnTo>
                    <a:pt x="148205" y="32139"/>
                  </a:lnTo>
                  <a:lnTo>
                    <a:pt x="148067" y="34560"/>
                  </a:lnTo>
                  <a:lnTo>
                    <a:pt x="146482" y="38739"/>
                  </a:lnTo>
                  <a:lnTo>
                    <a:pt x="146840" y="38816"/>
                  </a:lnTo>
                  <a:lnTo>
                    <a:pt x="150166" y="38063"/>
                  </a:lnTo>
                  <a:lnTo>
                    <a:pt x="151107" y="38495"/>
                  </a:lnTo>
                  <a:lnTo>
                    <a:pt x="151835" y="39417"/>
                  </a:lnTo>
                  <a:lnTo>
                    <a:pt x="152068" y="42035"/>
                  </a:lnTo>
                  <a:lnTo>
                    <a:pt x="153158" y="43211"/>
                  </a:lnTo>
                  <a:lnTo>
                    <a:pt x="154268" y="45048"/>
                  </a:lnTo>
                  <a:lnTo>
                    <a:pt x="154620" y="46477"/>
                  </a:lnTo>
                  <a:lnTo>
                    <a:pt x="156734" y="48178"/>
                  </a:lnTo>
                  <a:lnTo>
                    <a:pt x="156905" y="49277"/>
                  </a:lnTo>
                  <a:lnTo>
                    <a:pt x="158196" y="53160"/>
                  </a:lnTo>
                  <a:lnTo>
                    <a:pt x="158693" y="55393"/>
                  </a:lnTo>
                  <a:lnTo>
                    <a:pt x="158922" y="57119"/>
                  </a:lnTo>
                  <a:lnTo>
                    <a:pt x="158287" y="59309"/>
                  </a:lnTo>
                  <a:lnTo>
                    <a:pt x="157726" y="60790"/>
                  </a:lnTo>
                  <a:lnTo>
                    <a:pt x="157061" y="60700"/>
                  </a:lnTo>
                  <a:lnTo>
                    <a:pt x="155162" y="61090"/>
                  </a:lnTo>
                  <a:lnTo>
                    <a:pt x="152161" y="62874"/>
                  </a:lnTo>
                  <a:lnTo>
                    <a:pt x="147693" y="67069"/>
                  </a:lnTo>
                  <a:lnTo>
                    <a:pt x="146544" y="67998"/>
                  </a:lnTo>
                  <a:lnTo>
                    <a:pt x="145376" y="71187"/>
                  </a:lnTo>
                  <a:lnTo>
                    <a:pt x="145095" y="71510"/>
                  </a:lnTo>
                  <a:lnTo>
                    <a:pt x="142496" y="71363"/>
                  </a:lnTo>
                  <a:lnTo>
                    <a:pt x="141787" y="71287"/>
                  </a:lnTo>
                  <a:lnTo>
                    <a:pt x="139179" y="71351"/>
                  </a:lnTo>
                  <a:lnTo>
                    <a:pt x="133504" y="70522"/>
                  </a:lnTo>
                  <a:lnTo>
                    <a:pt x="131303" y="71070"/>
                  </a:lnTo>
                  <a:lnTo>
                    <a:pt x="128416" y="74291"/>
                  </a:lnTo>
                  <a:lnTo>
                    <a:pt x="127298" y="74764"/>
                  </a:lnTo>
                  <a:lnTo>
                    <a:pt x="123944" y="75210"/>
                  </a:lnTo>
                  <a:lnTo>
                    <a:pt x="123354" y="75585"/>
                  </a:lnTo>
                  <a:lnTo>
                    <a:pt x="122234" y="75434"/>
                  </a:lnTo>
                  <a:lnTo>
                    <a:pt x="119099" y="74460"/>
                  </a:lnTo>
                  <a:lnTo>
                    <a:pt x="116449" y="73012"/>
                  </a:lnTo>
                  <a:lnTo>
                    <a:pt x="114864" y="71096"/>
                  </a:lnTo>
                  <a:lnTo>
                    <a:pt x="112121" y="68460"/>
                  </a:lnTo>
                  <a:lnTo>
                    <a:pt x="110323" y="67113"/>
                  </a:lnTo>
                  <a:lnTo>
                    <a:pt x="107496" y="65425"/>
                  </a:lnTo>
                  <a:lnTo>
                    <a:pt x="102782" y="61979"/>
                  </a:lnTo>
                  <a:lnTo>
                    <a:pt x="101070" y="61188"/>
                  </a:lnTo>
                  <a:lnTo>
                    <a:pt x="92694" y="59682"/>
                  </a:lnTo>
                  <a:lnTo>
                    <a:pt x="89664" y="58995"/>
                  </a:lnTo>
                  <a:lnTo>
                    <a:pt x="86876" y="55079"/>
                  </a:lnTo>
                  <a:lnTo>
                    <a:pt x="85973" y="52805"/>
                  </a:lnTo>
                  <a:lnTo>
                    <a:pt x="84602" y="52398"/>
                  </a:lnTo>
                  <a:lnTo>
                    <a:pt x="83104" y="52877"/>
                  </a:lnTo>
                  <a:lnTo>
                    <a:pt x="81473" y="53335"/>
                  </a:lnTo>
                  <a:lnTo>
                    <a:pt x="77703" y="55996"/>
                  </a:lnTo>
                  <a:lnTo>
                    <a:pt x="76479" y="56378"/>
                  </a:lnTo>
                  <a:lnTo>
                    <a:pt x="74140" y="56412"/>
                  </a:lnTo>
                  <a:lnTo>
                    <a:pt x="68674" y="56998"/>
                  </a:lnTo>
                  <a:lnTo>
                    <a:pt x="66187" y="56028"/>
                  </a:lnTo>
                  <a:lnTo>
                    <a:pt x="61864" y="54965"/>
                  </a:lnTo>
                  <a:lnTo>
                    <a:pt x="59521" y="54796"/>
                  </a:lnTo>
                  <a:lnTo>
                    <a:pt x="57441" y="54821"/>
                  </a:lnTo>
                  <a:lnTo>
                    <a:pt x="48225" y="53778"/>
                  </a:lnTo>
                  <a:lnTo>
                    <a:pt x="46543" y="54920"/>
                  </a:lnTo>
                  <a:lnTo>
                    <a:pt x="44844" y="55127"/>
                  </a:lnTo>
                  <a:lnTo>
                    <a:pt x="43192" y="53362"/>
                  </a:lnTo>
                  <a:lnTo>
                    <a:pt x="41142" y="52860"/>
                  </a:lnTo>
                  <a:lnTo>
                    <a:pt x="38879" y="53460"/>
                  </a:lnTo>
                  <a:lnTo>
                    <a:pt x="34760" y="53529"/>
                  </a:lnTo>
                  <a:lnTo>
                    <a:pt x="29873" y="52972"/>
                  </a:lnTo>
                  <a:lnTo>
                    <a:pt x="23651" y="52538"/>
                  </a:lnTo>
                  <a:lnTo>
                    <a:pt x="22729" y="52724"/>
                  </a:lnTo>
                  <a:lnTo>
                    <a:pt x="15824" y="55067"/>
                  </a:lnTo>
                  <a:lnTo>
                    <a:pt x="14120" y="55425"/>
                  </a:lnTo>
                  <a:lnTo>
                    <a:pt x="6627" y="59378"/>
                  </a:lnTo>
                  <a:lnTo>
                    <a:pt x="688" y="63064"/>
                  </a:lnTo>
                  <a:lnTo>
                    <a:pt x="0" y="57165"/>
                  </a:lnTo>
                  <a:lnTo>
                    <a:pt x="365" y="45323"/>
                  </a:lnTo>
                  <a:lnTo>
                    <a:pt x="1246" y="39431"/>
                  </a:lnTo>
                  <a:lnTo>
                    <a:pt x="5361" y="35991"/>
                  </a:lnTo>
                  <a:lnTo>
                    <a:pt x="7426" y="33308"/>
                  </a:lnTo>
                  <a:lnTo>
                    <a:pt x="8627" y="29723"/>
                  </a:lnTo>
                  <a:lnTo>
                    <a:pt x="8989" y="26401"/>
                  </a:lnTo>
                  <a:lnTo>
                    <a:pt x="9823" y="23652"/>
                  </a:lnTo>
                  <a:lnTo>
                    <a:pt x="15783" y="15747"/>
                  </a:lnTo>
                  <a:lnTo>
                    <a:pt x="20507" y="14891"/>
                  </a:lnTo>
                  <a:lnTo>
                    <a:pt x="26899" y="12692"/>
                  </a:lnTo>
                  <a:lnTo>
                    <a:pt x="34044" y="10858"/>
                  </a:lnTo>
                  <a:lnTo>
                    <a:pt x="35425" y="13191"/>
                  </a:lnTo>
                  <a:lnTo>
                    <a:pt x="36124" y="14970"/>
                  </a:lnTo>
                  <a:lnTo>
                    <a:pt x="44729" y="21440"/>
                  </a:lnTo>
                  <a:lnTo>
                    <a:pt x="46919" y="23609"/>
                  </a:lnTo>
                  <a:lnTo>
                    <a:pt x="50247" y="31029"/>
                  </a:lnTo>
                  <a:lnTo>
                    <a:pt x="58217" y="34782"/>
                  </a:lnTo>
                  <a:lnTo>
                    <a:pt x="64483" y="33598"/>
                  </a:lnTo>
                  <a:lnTo>
                    <a:pt x="67206" y="31776"/>
                  </a:lnTo>
                  <a:lnTo>
                    <a:pt x="72225" y="28414"/>
                  </a:lnTo>
                  <a:lnTo>
                    <a:pt x="74466" y="25950"/>
                  </a:lnTo>
                  <a:lnTo>
                    <a:pt x="74922" y="23572"/>
                  </a:lnTo>
                  <a:lnTo>
                    <a:pt x="74032" y="13378"/>
                  </a:lnTo>
                  <a:lnTo>
                    <a:pt x="72674" y="8945"/>
                  </a:lnTo>
                  <a:lnTo>
                    <a:pt x="73138" y="6179"/>
                  </a:lnTo>
                  <a:lnTo>
                    <a:pt x="74021" y="6322"/>
                  </a:lnTo>
                  <a:lnTo>
                    <a:pt x="76153" y="4987"/>
                  </a:lnTo>
                  <a:lnTo>
                    <a:pt x="83160" y="2507"/>
                  </a:lnTo>
                  <a:lnTo>
                    <a:pt x="84559" y="2396"/>
                  </a:lnTo>
                  <a:lnTo>
                    <a:pt x="86157" y="1887"/>
                  </a:lnTo>
                  <a:lnTo>
                    <a:pt x="90573" y="0"/>
                  </a:lnTo>
                  <a:lnTo>
                    <a:pt x="91992" y="1004"/>
                  </a:lnTo>
                  <a:lnTo>
                    <a:pt x="93175" y="2144"/>
                  </a:lnTo>
                  <a:lnTo>
                    <a:pt x="93829" y="2158"/>
                  </a:lnTo>
                  <a:lnTo>
                    <a:pt x="94147" y="1734"/>
                  </a:lnTo>
                  <a:lnTo>
                    <a:pt x="94058" y="1001"/>
                  </a:lnTo>
                  <a:lnTo>
                    <a:pt x="94367" y="479"/>
                  </a:lnTo>
                  <a:lnTo>
                    <a:pt x="95637" y="769"/>
                  </a:lnTo>
                  <a:lnTo>
                    <a:pt x="100750" y="3869"/>
                  </a:lnTo>
                  <a:lnTo>
                    <a:pt x="102715" y="4593"/>
                  </a:lnTo>
                  <a:lnTo>
                    <a:pt x="104058" y="4796"/>
                  </a:lnTo>
                  <a:lnTo>
                    <a:pt x="105669" y="6245"/>
                  </a:lnTo>
                  <a:lnTo>
                    <a:pt x="110033" y="7217"/>
                  </a:lnTo>
                  <a:lnTo>
                    <a:pt x="110567" y="7966"/>
                  </a:lnTo>
                  <a:lnTo>
                    <a:pt x="110901" y="8900"/>
                  </a:lnTo>
                  <a:lnTo>
                    <a:pt x="114985" y="12822"/>
                  </a:lnTo>
                  <a:lnTo>
                    <a:pt x="116820" y="14788"/>
                  </a:lnTo>
                  <a:lnTo>
                    <a:pt x="120448" y="16592"/>
                  </a:lnTo>
                  <a:lnTo>
                    <a:pt x="122007" y="17021"/>
                  </a:lnTo>
                  <a:lnTo>
                    <a:pt x="128356" y="15182"/>
                  </a:lnTo>
                  <a:lnTo>
                    <a:pt x="130127" y="14542"/>
                  </a:lnTo>
                  <a:lnTo>
                    <a:pt x="131590" y="14532"/>
                  </a:lnTo>
                  <a:lnTo>
                    <a:pt x="133081" y="15500"/>
                  </a:lnTo>
                  <a:lnTo>
                    <a:pt x="136479" y="16788"/>
                  </a:lnTo>
                  <a:lnTo>
                    <a:pt x="139563" y="17196"/>
                  </a:lnTo>
                  <a:close/>
                </a:path>
              </a:pathLst>
            </a:custGeom>
            <a:solidFill>
              <a:srgbClr val="A3BA1E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62" name="ee4p_MC_1_82333">
              <a:extLst>
                <a:ext uri="{FF2B5EF4-FFF2-40B4-BE49-F238E27FC236}">
                  <a16:creationId xmlns:a16="http://schemas.microsoft.com/office/drawing/2014/main" id="{C4F8FA98-71BD-8E45-2D10-C804F26AE5FB}"/>
                </a:ext>
              </a:extLst>
            </p:cNvPr>
            <p:cNvSpPr>
              <a:spLocks noChangeAspect="1"/>
            </p:cNvSpPr>
            <p:nvPr>
              <p:custDataLst>
                <p:tags r:id="rId90"/>
              </p:custDataLst>
            </p:nvPr>
          </p:nvSpPr>
          <p:spPr>
            <a:xfrm>
              <a:off x="6719575" y="3341319"/>
              <a:ext cx="1694" cy="1365"/>
            </a:xfrm>
            <a:custGeom>
              <a:avLst/>
              <a:gdLst/>
              <a:ahLst/>
              <a:cxnLst/>
              <a:rect l="0" t="0" r="0" b="0"/>
              <a:pathLst>
                <a:path w="1349" h="1058">
                  <a:moveTo>
                    <a:pt x="1348" y="552"/>
                  </a:moveTo>
                  <a:lnTo>
                    <a:pt x="0" y="1057"/>
                  </a:lnTo>
                  <a:lnTo>
                    <a:pt x="52" y="477"/>
                  </a:lnTo>
                  <a:lnTo>
                    <a:pt x="383" y="150"/>
                  </a:lnTo>
                  <a:lnTo>
                    <a:pt x="812" y="0"/>
                  </a:lnTo>
                  <a:lnTo>
                    <a:pt x="1309" y="254"/>
                  </a:lnTo>
                  <a:close/>
                </a:path>
              </a:pathLst>
            </a:custGeom>
            <a:solidFill>
              <a:srgbClr val="A3BA1E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63" name="ee4p_MD_1_82333">
              <a:extLst>
                <a:ext uri="{FF2B5EF4-FFF2-40B4-BE49-F238E27FC236}">
                  <a16:creationId xmlns:a16="http://schemas.microsoft.com/office/drawing/2014/main" id="{11295BFD-8D22-66EA-D303-2CCA24DF69CA}"/>
                </a:ext>
              </a:extLst>
            </p:cNvPr>
            <p:cNvSpPr>
              <a:spLocks noChangeAspect="1"/>
            </p:cNvSpPr>
            <p:nvPr>
              <p:custDataLst>
                <p:tags r:id="rId91"/>
              </p:custDataLst>
            </p:nvPr>
          </p:nvSpPr>
          <p:spPr>
            <a:xfrm>
              <a:off x="7253891" y="3173359"/>
              <a:ext cx="97530" cy="108971"/>
            </a:xfrm>
            <a:custGeom>
              <a:avLst/>
              <a:gdLst/>
              <a:ahLst/>
              <a:cxnLst/>
              <a:rect l="0" t="0" r="0" b="0"/>
              <a:pathLst>
                <a:path w="77661" h="84471">
                  <a:moveTo>
                    <a:pt x="35237" y="84470"/>
                  </a:moveTo>
                  <a:lnTo>
                    <a:pt x="34131" y="82731"/>
                  </a:lnTo>
                  <a:lnTo>
                    <a:pt x="33013" y="81209"/>
                  </a:lnTo>
                  <a:lnTo>
                    <a:pt x="32190" y="80389"/>
                  </a:lnTo>
                  <a:lnTo>
                    <a:pt x="32536" y="80010"/>
                  </a:lnTo>
                  <a:lnTo>
                    <a:pt x="33432" y="79583"/>
                  </a:lnTo>
                  <a:lnTo>
                    <a:pt x="34071" y="79065"/>
                  </a:lnTo>
                  <a:lnTo>
                    <a:pt x="33993" y="77249"/>
                  </a:lnTo>
                  <a:lnTo>
                    <a:pt x="33522" y="75161"/>
                  </a:lnTo>
                  <a:lnTo>
                    <a:pt x="33093" y="74151"/>
                  </a:lnTo>
                  <a:lnTo>
                    <a:pt x="33050" y="72565"/>
                  </a:lnTo>
                  <a:lnTo>
                    <a:pt x="32743" y="70094"/>
                  </a:lnTo>
                  <a:lnTo>
                    <a:pt x="33172" y="65505"/>
                  </a:lnTo>
                  <a:lnTo>
                    <a:pt x="34952" y="59722"/>
                  </a:lnTo>
                  <a:lnTo>
                    <a:pt x="35941" y="56846"/>
                  </a:lnTo>
                  <a:lnTo>
                    <a:pt x="35461" y="55270"/>
                  </a:lnTo>
                  <a:lnTo>
                    <a:pt x="35833" y="51581"/>
                  </a:lnTo>
                  <a:lnTo>
                    <a:pt x="35064" y="49757"/>
                  </a:lnTo>
                  <a:lnTo>
                    <a:pt x="33855" y="47372"/>
                  </a:lnTo>
                  <a:lnTo>
                    <a:pt x="32125" y="42179"/>
                  </a:lnTo>
                  <a:lnTo>
                    <a:pt x="29968" y="40370"/>
                  </a:lnTo>
                  <a:lnTo>
                    <a:pt x="27305" y="38379"/>
                  </a:lnTo>
                  <a:lnTo>
                    <a:pt x="26167" y="36875"/>
                  </a:lnTo>
                  <a:lnTo>
                    <a:pt x="25407" y="35217"/>
                  </a:lnTo>
                  <a:lnTo>
                    <a:pt x="23820" y="33570"/>
                  </a:lnTo>
                  <a:lnTo>
                    <a:pt x="22004" y="32055"/>
                  </a:lnTo>
                  <a:lnTo>
                    <a:pt x="19832" y="28268"/>
                  </a:lnTo>
                  <a:lnTo>
                    <a:pt x="18705" y="26555"/>
                  </a:lnTo>
                  <a:lnTo>
                    <a:pt x="18359" y="26093"/>
                  </a:lnTo>
                  <a:lnTo>
                    <a:pt x="15876" y="23660"/>
                  </a:lnTo>
                  <a:lnTo>
                    <a:pt x="14572" y="21460"/>
                  </a:lnTo>
                  <a:lnTo>
                    <a:pt x="13913" y="19652"/>
                  </a:lnTo>
                  <a:lnTo>
                    <a:pt x="13531" y="17976"/>
                  </a:lnTo>
                  <a:lnTo>
                    <a:pt x="11788" y="14664"/>
                  </a:lnTo>
                  <a:lnTo>
                    <a:pt x="10203" y="12170"/>
                  </a:lnTo>
                  <a:lnTo>
                    <a:pt x="8696" y="10395"/>
                  </a:lnTo>
                  <a:lnTo>
                    <a:pt x="8001" y="9137"/>
                  </a:lnTo>
                  <a:lnTo>
                    <a:pt x="6237" y="7551"/>
                  </a:lnTo>
                  <a:lnTo>
                    <a:pt x="3723" y="6287"/>
                  </a:lnTo>
                  <a:lnTo>
                    <a:pt x="2097" y="6070"/>
                  </a:lnTo>
                  <a:lnTo>
                    <a:pt x="0" y="6172"/>
                  </a:lnTo>
                  <a:lnTo>
                    <a:pt x="475" y="5202"/>
                  </a:lnTo>
                  <a:lnTo>
                    <a:pt x="5044" y="2568"/>
                  </a:lnTo>
                  <a:lnTo>
                    <a:pt x="6228" y="2999"/>
                  </a:lnTo>
                  <a:lnTo>
                    <a:pt x="8614" y="3103"/>
                  </a:lnTo>
                  <a:lnTo>
                    <a:pt x="13479" y="3013"/>
                  </a:lnTo>
                  <a:lnTo>
                    <a:pt x="15876" y="1277"/>
                  </a:lnTo>
                  <a:lnTo>
                    <a:pt x="17355" y="1761"/>
                  </a:lnTo>
                  <a:lnTo>
                    <a:pt x="18562" y="983"/>
                  </a:lnTo>
                  <a:lnTo>
                    <a:pt x="20571" y="0"/>
                  </a:lnTo>
                  <a:lnTo>
                    <a:pt x="20858" y="208"/>
                  </a:lnTo>
                  <a:lnTo>
                    <a:pt x="21112" y="364"/>
                  </a:lnTo>
                  <a:lnTo>
                    <a:pt x="24224" y="800"/>
                  </a:lnTo>
                  <a:lnTo>
                    <a:pt x="26559" y="1743"/>
                  </a:lnTo>
                  <a:lnTo>
                    <a:pt x="28120" y="3189"/>
                  </a:lnTo>
                  <a:lnTo>
                    <a:pt x="29728" y="4087"/>
                  </a:lnTo>
                  <a:lnTo>
                    <a:pt x="31389" y="4434"/>
                  </a:lnTo>
                  <a:lnTo>
                    <a:pt x="32309" y="5155"/>
                  </a:lnTo>
                  <a:lnTo>
                    <a:pt x="32495" y="6253"/>
                  </a:lnTo>
                  <a:lnTo>
                    <a:pt x="34049" y="6791"/>
                  </a:lnTo>
                  <a:lnTo>
                    <a:pt x="36973" y="6775"/>
                  </a:lnTo>
                  <a:lnTo>
                    <a:pt x="38215" y="7497"/>
                  </a:lnTo>
                  <a:lnTo>
                    <a:pt x="37768" y="8956"/>
                  </a:lnTo>
                  <a:lnTo>
                    <a:pt x="38068" y="9437"/>
                  </a:lnTo>
                  <a:lnTo>
                    <a:pt x="39107" y="8937"/>
                  </a:lnTo>
                  <a:lnTo>
                    <a:pt x="39893" y="9368"/>
                  </a:lnTo>
                  <a:lnTo>
                    <a:pt x="40312" y="10447"/>
                  </a:lnTo>
                  <a:lnTo>
                    <a:pt x="40778" y="10960"/>
                  </a:lnTo>
                  <a:lnTo>
                    <a:pt x="42268" y="9271"/>
                  </a:lnTo>
                  <a:lnTo>
                    <a:pt x="43842" y="9438"/>
                  </a:lnTo>
                  <a:lnTo>
                    <a:pt x="47649" y="10139"/>
                  </a:lnTo>
                  <a:lnTo>
                    <a:pt x="49683" y="13638"/>
                  </a:lnTo>
                  <a:lnTo>
                    <a:pt x="50951" y="14894"/>
                  </a:lnTo>
                  <a:lnTo>
                    <a:pt x="52060" y="15405"/>
                  </a:lnTo>
                  <a:lnTo>
                    <a:pt x="53467" y="14860"/>
                  </a:lnTo>
                  <a:lnTo>
                    <a:pt x="54706" y="14208"/>
                  </a:lnTo>
                  <a:lnTo>
                    <a:pt x="55423" y="14515"/>
                  </a:lnTo>
                  <a:lnTo>
                    <a:pt x="56958" y="16830"/>
                  </a:lnTo>
                  <a:lnTo>
                    <a:pt x="57319" y="19856"/>
                  </a:lnTo>
                  <a:lnTo>
                    <a:pt x="57310" y="21079"/>
                  </a:lnTo>
                  <a:lnTo>
                    <a:pt x="56764" y="23130"/>
                  </a:lnTo>
                  <a:lnTo>
                    <a:pt x="55987" y="25314"/>
                  </a:lnTo>
                  <a:lnTo>
                    <a:pt x="55369" y="26732"/>
                  </a:lnTo>
                  <a:lnTo>
                    <a:pt x="55632" y="27873"/>
                  </a:lnTo>
                  <a:lnTo>
                    <a:pt x="56183" y="28828"/>
                  </a:lnTo>
                  <a:lnTo>
                    <a:pt x="57086" y="29142"/>
                  </a:lnTo>
                  <a:lnTo>
                    <a:pt x="60031" y="31069"/>
                  </a:lnTo>
                  <a:lnTo>
                    <a:pt x="61128" y="32405"/>
                  </a:lnTo>
                  <a:lnTo>
                    <a:pt x="62726" y="33396"/>
                  </a:lnTo>
                  <a:lnTo>
                    <a:pt x="63942" y="33450"/>
                  </a:lnTo>
                  <a:lnTo>
                    <a:pt x="64572" y="34002"/>
                  </a:lnTo>
                  <a:lnTo>
                    <a:pt x="64797" y="34679"/>
                  </a:lnTo>
                  <a:lnTo>
                    <a:pt x="64631" y="36393"/>
                  </a:lnTo>
                  <a:lnTo>
                    <a:pt x="63948" y="38001"/>
                  </a:lnTo>
                  <a:lnTo>
                    <a:pt x="64039" y="39032"/>
                  </a:lnTo>
                  <a:lnTo>
                    <a:pt x="65110" y="40250"/>
                  </a:lnTo>
                  <a:lnTo>
                    <a:pt x="65224" y="41668"/>
                  </a:lnTo>
                  <a:lnTo>
                    <a:pt x="65298" y="42580"/>
                  </a:lnTo>
                  <a:lnTo>
                    <a:pt x="65868" y="43283"/>
                  </a:lnTo>
                  <a:lnTo>
                    <a:pt x="68565" y="44842"/>
                  </a:lnTo>
                  <a:lnTo>
                    <a:pt x="72061" y="46347"/>
                  </a:lnTo>
                  <a:lnTo>
                    <a:pt x="72951" y="47642"/>
                  </a:lnTo>
                  <a:lnTo>
                    <a:pt x="73491" y="49274"/>
                  </a:lnTo>
                  <a:lnTo>
                    <a:pt x="73320" y="52021"/>
                  </a:lnTo>
                  <a:lnTo>
                    <a:pt x="73089" y="54415"/>
                  </a:lnTo>
                  <a:lnTo>
                    <a:pt x="77660" y="57628"/>
                  </a:lnTo>
                  <a:lnTo>
                    <a:pt x="77140" y="58225"/>
                  </a:lnTo>
                  <a:lnTo>
                    <a:pt x="76436" y="58883"/>
                  </a:lnTo>
                  <a:lnTo>
                    <a:pt x="72065" y="59372"/>
                  </a:lnTo>
                  <a:lnTo>
                    <a:pt x="71178" y="59640"/>
                  </a:lnTo>
                  <a:lnTo>
                    <a:pt x="69278" y="57220"/>
                  </a:lnTo>
                  <a:lnTo>
                    <a:pt x="68280" y="56917"/>
                  </a:lnTo>
                  <a:lnTo>
                    <a:pt x="67345" y="57804"/>
                  </a:lnTo>
                  <a:lnTo>
                    <a:pt x="66248" y="58301"/>
                  </a:lnTo>
                  <a:lnTo>
                    <a:pt x="64924" y="58053"/>
                  </a:lnTo>
                  <a:lnTo>
                    <a:pt x="63507" y="57307"/>
                  </a:lnTo>
                  <a:lnTo>
                    <a:pt x="62795" y="56777"/>
                  </a:lnTo>
                  <a:lnTo>
                    <a:pt x="62221" y="56716"/>
                  </a:lnTo>
                  <a:lnTo>
                    <a:pt x="61337" y="57245"/>
                  </a:lnTo>
                  <a:lnTo>
                    <a:pt x="60158" y="57018"/>
                  </a:lnTo>
                  <a:lnTo>
                    <a:pt x="59392" y="56421"/>
                  </a:lnTo>
                  <a:lnTo>
                    <a:pt x="58280" y="58473"/>
                  </a:lnTo>
                  <a:lnTo>
                    <a:pt x="57600" y="58907"/>
                  </a:lnTo>
                  <a:lnTo>
                    <a:pt x="57174" y="58841"/>
                  </a:lnTo>
                  <a:lnTo>
                    <a:pt x="57090" y="55356"/>
                  </a:lnTo>
                  <a:lnTo>
                    <a:pt x="56768" y="54828"/>
                  </a:lnTo>
                  <a:lnTo>
                    <a:pt x="55885" y="54747"/>
                  </a:lnTo>
                  <a:lnTo>
                    <a:pt x="53754" y="55576"/>
                  </a:lnTo>
                  <a:lnTo>
                    <a:pt x="51730" y="56645"/>
                  </a:lnTo>
                  <a:lnTo>
                    <a:pt x="51046" y="57599"/>
                  </a:lnTo>
                  <a:lnTo>
                    <a:pt x="51115" y="59315"/>
                  </a:lnTo>
                  <a:lnTo>
                    <a:pt x="51406" y="61361"/>
                  </a:lnTo>
                  <a:lnTo>
                    <a:pt x="52788" y="64460"/>
                  </a:lnTo>
                  <a:lnTo>
                    <a:pt x="52028" y="65810"/>
                  </a:lnTo>
                  <a:lnTo>
                    <a:pt x="51495" y="67958"/>
                  </a:lnTo>
                  <a:lnTo>
                    <a:pt x="49323" y="69927"/>
                  </a:lnTo>
                  <a:lnTo>
                    <a:pt x="46874" y="71072"/>
                  </a:lnTo>
                  <a:lnTo>
                    <a:pt x="46664" y="73421"/>
                  </a:lnTo>
                  <a:lnTo>
                    <a:pt x="45300" y="75024"/>
                  </a:lnTo>
                  <a:lnTo>
                    <a:pt x="42972" y="76624"/>
                  </a:lnTo>
                  <a:lnTo>
                    <a:pt x="41408" y="78551"/>
                  </a:lnTo>
                  <a:lnTo>
                    <a:pt x="41804" y="79870"/>
                  </a:lnTo>
                  <a:lnTo>
                    <a:pt x="41899" y="81119"/>
                  </a:lnTo>
                  <a:lnTo>
                    <a:pt x="41633" y="81967"/>
                  </a:lnTo>
                  <a:lnTo>
                    <a:pt x="41573" y="82622"/>
                  </a:lnTo>
                  <a:lnTo>
                    <a:pt x="40962" y="82912"/>
                  </a:lnTo>
                  <a:lnTo>
                    <a:pt x="37401" y="83148"/>
                  </a:lnTo>
                  <a:lnTo>
                    <a:pt x="36394" y="83552"/>
                  </a:lnTo>
                  <a:close/>
                </a:path>
              </a:pathLst>
            </a:custGeom>
            <a:solidFill>
              <a:srgbClr val="A3BA1E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64" name="ee4p_MK_1_82333">
              <a:extLst>
                <a:ext uri="{FF2B5EF4-FFF2-40B4-BE49-F238E27FC236}">
                  <a16:creationId xmlns:a16="http://schemas.microsoft.com/office/drawing/2014/main" id="{A783EF07-151B-3205-11EF-3A38739299D0}"/>
                </a:ext>
              </a:extLst>
            </p:cNvPr>
            <p:cNvSpPr>
              <a:spLocks noChangeAspect="1"/>
            </p:cNvSpPr>
            <p:nvPr>
              <p:custDataLst>
                <p:tags r:id="rId92"/>
              </p:custDataLst>
            </p:nvPr>
          </p:nvSpPr>
          <p:spPr>
            <a:xfrm>
              <a:off x="7082546" y="3390191"/>
              <a:ext cx="71008" cy="51469"/>
            </a:xfrm>
            <a:custGeom>
              <a:avLst/>
              <a:gdLst/>
              <a:ahLst/>
              <a:cxnLst/>
              <a:rect l="0" t="0" r="0" b="0"/>
              <a:pathLst>
                <a:path w="56542" h="39897">
                  <a:moveTo>
                    <a:pt x="41911" y="1177"/>
                  </a:moveTo>
                  <a:lnTo>
                    <a:pt x="45321" y="5138"/>
                  </a:lnTo>
                  <a:lnTo>
                    <a:pt x="47188" y="6740"/>
                  </a:lnTo>
                  <a:lnTo>
                    <a:pt x="49391" y="7954"/>
                  </a:lnTo>
                  <a:lnTo>
                    <a:pt x="51907" y="8842"/>
                  </a:lnTo>
                  <a:lnTo>
                    <a:pt x="52807" y="9694"/>
                  </a:lnTo>
                  <a:lnTo>
                    <a:pt x="54407" y="13896"/>
                  </a:lnTo>
                  <a:lnTo>
                    <a:pt x="55176" y="15489"/>
                  </a:lnTo>
                  <a:lnTo>
                    <a:pt x="56238" y="15963"/>
                  </a:lnTo>
                  <a:lnTo>
                    <a:pt x="56495" y="16423"/>
                  </a:lnTo>
                  <a:lnTo>
                    <a:pt x="56541" y="17029"/>
                  </a:lnTo>
                  <a:lnTo>
                    <a:pt x="55342" y="19975"/>
                  </a:lnTo>
                  <a:lnTo>
                    <a:pt x="54861" y="26568"/>
                  </a:lnTo>
                  <a:lnTo>
                    <a:pt x="54559" y="27091"/>
                  </a:lnTo>
                  <a:lnTo>
                    <a:pt x="53304" y="27062"/>
                  </a:lnTo>
                  <a:lnTo>
                    <a:pt x="51637" y="27204"/>
                  </a:lnTo>
                  <a:lnTo>
                    <a:pt x="51000" y="27712"/>
                  </a:lnTo>
                  <a:lnTo>
                    <a:pt x="50331" y="31250"/>
                  </a:lnTo>
                  <a:lnTo>
                    <a:pt x="47650" y="32260"/>
                  </a:lnTo>
                  <a:lnTo>
                    <a:pt x="45217" y="32831"/>
                  </a:lnTo>
                  <a:lnTo>
                    <a:pt x="43165" y="32703"/>
                  </a:lnTo>
                  <a:lnTo>
                    <a:pt x="39559" y="31865"/>
                  </a:lnTo>
                  <a:lnTo>
                    <a:pt x="38382" y="31774"/>
                  </a:lnTo>
                  <a:lnTo>
                    <a:pt x="37374" y="32252"/>
                  </a:lnTo>
                  <a:lnTo>
                    <a:pt x="34157" y="32503"/>
                  </a:lnTo>
                  <a:lnTo>
                    <a:pt x="32744" y="33123"/>
                  </a:lnTo>
                  <a:lnTo>
                    <a:pt x="29428" y="37254"/>
                  </a:lnTo>
                  <a:lnTo>
                    <a:pt x="26068" y="38676"/>
                  </a:lnTo>
                  <a:lnTo>
                    <a:pt x="24923" y="39396"/>
                  </a:lnTo>
                  <a:lnTo>
                    <a:pt x="22356" y="38485"/>
                  </a:lnTo>
                  <a:lnTo>
                    <a:pt x="21127" y="38391"/>
                  </a:lnTo>
                  <a:lnTo>
                    <a:pt x="19350" y="39443"/>
                  </a:lnTo>
                  <a:lnTo>
                    <a:pt x="15454" y="39549"/>
                  </a:lnTo>
                  <a:lnTo>
                    <a:pt x="14403" y="39732"/>
                  </a:lnTo>
                  <a:lnTo>
                    <a:pt x="11401" y="39896"/>
                  </a:lnTo>
                  <a:lnTo>
                    <a:pt x="11276" y="39328"/>
                  </a:lnTo>
                  <a:lnTo>
                    <a:pt x="10721" y="38498"/>
                  </a:lnTo>
                  <a:lnTo>
                    <a:pt x="9321" y="38109"/>
                  </a:lnTo>
                  <a:lnTo>
                    <a:pt x="6460" y="38441"/>
                  </a:lnTo>
                  <a:lnTo>
                    <a:pt x="5763" y="37834"/>
                  </a:lnTo>
                  <a:lnTo>
                    <a:pt x="4586" y="34328"/>
                  </a:lnTo>
                  <a:lnTo>
                    <a:pt x="3666" y="33765"/>
                  </a:lnTo>
                  <a:lnTo>
                    <a:pt x="2636" y="32586"/>
                  </a:lnTo>
                  <a:lnTo>
                    <a:pt x="891" y="28770"/>
                  </a:lnTo>
                  <a:lnTo>
                    <a:pt x="848" y="27096"/>
                  </a:lnTo>
                  <a:lnTo>
                    <a:pt x="967" y="25636"/>
                  </a:lnTo>
                  <a:lnTo>
                    <a:pt x="0" y="22205"/>
                  </a:lnTo>
                  <a:lnTo>
                    <a:pt x="596" y="21337"/>
                  </a:lnTo>
                  <a:lnTo>
                    <a:pt x="1494" y="20791"/>
                  </a:lnTo>
                  <a:lnTo>
                    <a:pt x="1503" y="19408"/>
                  </a:lnTo>
                  <a:lnTo>
                    <a:pt x="1250" y="17306"/>
                  </a:lnTo>
                  <a:lnTo>
                    <a:pt x="2310" y="13176"/>
                  </a:lnTo>
                  <a:lnTo>
                    <a:pt x="2599" y="12876"/>
                  </a:lnTo>
                  <a:lnTo>
                    <a:pt x="2871" y="13074"/>
                  </a:lnTo>
                  <a:lnTo>
                    <a:pt x="5445" y="13403"/>
                  </a:lnTo>
                  <a:lnTo>
                    <a:pt x="6110" y="12880"/>
                  </a:lnTo>
                  <a:lnTo>
                    <a:pt x="6534" y="12064"/>
                  </a:lnTo>
                  <a:lnTo>
                    <a:pt x="6672" y="9037"/>
                  </a:lnTo>
                  <a:lnTo>
                    <a:pt x="7285" y="7638"/>
                  </a:lnTo>
                  <a:lnTo>
                    <a:pt x="13513" y="4973"/>
                  </a:lnTo>
                  <a:lnTo>
                    <a:pt x="15342" y="4875"/>
                  </a:lnTo>
                  <a:lnTo>
                    <a:pt x="16748" y="6099"/>
                  </a:lnTo>
                  <a:lnTo>
                    <a:pt x="17860" y="6881"/>
                  </a:lnTo>
                  <a:lnTo>
                    <a:pt x="18529" y="6858"/>
                  </a:lnTo>
                  <a:lnTo>
                    <a:pt x="18771" y="6069"/>
                  </a:lnTo>
                  <a:lnTo>
                    <a:pt x="19527" y="4551"/>
                  </a:lnTo>
                  <a:lnTo>
                    <a:pt x="20805" y="3682"/>
                  </a:lnTo>
                  <a:lnTo>
                    <a:pt x="24593" y="2942"/>
                  </a:lnTo>
                  <a:lnTo>
                    <a:pt x="24629" y="2946"/>
                  </a:lnTo>
                  <a:lnTo>
                    <a:pt x="25862" y="3089"/>
                  </a:lnTo>
                  <a:lnTo>
                    <a:pt x="28538" y="2408"/>
                  </a:lnTo>
                  <a:lnTo>
                    <a:pt x="30205" y="1466"/>
                  </a:lnTo>
                  <a:lnTo>
                    <a:pt x="31053" y="1325"/>
                  </a:lnTo>
                  <a:lnTo>
                    <a:pt x="32183" y="961"/>
                  </a:lnTo>
                  <a:lnTo>
                    <a:pt x="33807" y="1015"/>
                  </a:lnTo>
                  <a:lnTo>
                    <a:pt x="35454" y="1425"/>
                  </a:lnTo>
                  <a:lnTo>
                    <a:pt x="37547" y="883"/>
                  </a:lnTo>
                  <a:lnTo>
                    <a:pt x="39605" y="0"/>
                  </a:lnTo>
                  <a:lnTo>
                    <a:pt x="40430" y="221"/>
                  </a:lnTo>
                  <a:lnTo>
                    <a:pt x="41321" y="970"/>
                  </a:lnTo>
                  <a:close/>
                </a:path>
              </a:pathLst>
            </a:custGeom>
            <a:solidFill>
              <a:srgbClr val="A3BA1E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65" name="ee4p_MT_1_82333">
              <a:extLst>
                <a:ext uri="{FF2B5EF4-FFF2-40B4-BE49-F238E27FC236}">
                  <a16:creationId xmlns:a16="http://schemas.microsoft.com/office/drawing/2014/main" id="{BC27EEE2-F7F7-2321-361F-DCC43A505C0C}"/>
                </a:ext>
              </a:extLst>
            </p:cNvPr>
            <p:cNvSpPr>
              <a:spLocks noChangeAspect="1"/>
            </p:cNvSpPr>
            <p:nvPr>
              <p:custDataLst>
                <p:tags r:id="rId93"/>
              </p:custDataLst>
            </p:nvPr>
          </p:nvSpPr>
          <p:spPr>
            <a:xfrm>
              <a:off x="6913226" y="3603375"/>
              <a:ext cx="5970" cy="5147"/>
            </a:xfrm>
            <a:custGeom>
              <a:avLst/>
              <a:gdLst/>
              <a:ahLst/>
              <a:cxnLst/>
              <a:rect l="0" t="0" r="0" b="0"/>
              <a:pathLst>
                <a:path w="4754" h="3990">
                  <a:moveTo>
                    <a:pt x="4753" y="3169"/>
                  </a:moveTo>
                  <a:lnTo>
                    <a:pt x="4012" y="3989"/>
                  </a:lnTo>
                  <a:lnTo>
                    <a:pt x="1883" y="3952"/>
                  </a:lnTo>
                  <a:lnTo>
                    <a:pt x="24" y="2677"/>
                  </a:lnTo>
                  <a:lnTo>
                    <a:pt x="0" y="0"/>
                  </a:lnTo>
                  <a:lnTo>
                    <a:pt x="2146" y="530"/>
                  </a:lnTo>
                  <a:lnTo>
                    <a:pt x="4107" y="2324"/>
                  </a:lnTo>
                  <a:close/>
                </a:path>
              </a:pathLst>
            </a:custGeom>
            <a:solidFill>
              <a:srgbClr val="A3BA1E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66" name="ee4p_MT_2_82333">
              <a:extLst>
                <a:ext uri="{FF2B5EF4-FFF2-40B4-BE49-F238E27FC236}">
                  <a16:creationId xmlns:a16="http://schemas.microsoft.com/office/drawing/2014/main" id="{80F0295D-970C-001A-F28D-556105D2AD9F}"/>
                </a:ext>
              </a:extLst>
            </p:cNvPr>
            <p:cNvSpPr>
              <a:spLocks noChangeAspect="1"/>
            </p:cNvSpPr>
            <p:nvPr>
              <p:custDataLst>
                <p:tags r:id="rId94"/>
              </p:custDataLst>
            </p:nvPr>
          </p:nvSpPr>
          <p:spPr>
            <a:xfrm>
              <a:off x="6908480" y="3600205"/>
              <a:ext cx="3903" cy="2073"/>
            </a:xfrm>
            <a:custGeom>
              <a:avLst/>
              <a:gdLst/>
              <a:ahLst/>
              <a:cxnLst/>
              <a:rect l="0" t="0" r="0" b="0"/>
              <a:pathLst>
                <a:path w="3108" h="1607">
                  <a:moveTo>
                    <a:pt x="2943" y="1216"/>
                  </a:moveTo>
                  <a:lnTo>
                    <a:pt x="1619" y="1606"/>
                  </a:lnTo>
                  <a:lnTo>
                    <a:pt x="307" y="847"/>
                  </a:lnTo>
                  <a:lnTo>
                    <a:pt x="0" y="388"/>
                  </a:lnTo>
                  <a:lnTo>
                    <a:pt x="1833" y="0"/>
                  </a:lnTo>
                  <a:lnTo>
                    <a:pt x="2727" y="340"/>
                  </a:lnTo>
                  <a:lnTo>
                    <a:pt x="3107" y="998"/>
                  </a:lnTo>
                  <a:close/>
                </a:path>
              </a:pathLst>
            </a:custGeom>
            <a:solidFill>
              <a:srgbClr val="A3BA1E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67" name="ee4p_ME_1_82333">
              <a:extLst>
                <a:ext uri="{FF2B5EF4-FFF2-40B4-BE49-F238E27FC236}">
                  <a16:creationId xmlns:a16="http://schemas.microsoft.com/office/drawing/2014/main" id="{FD78ABD9-688D-87DB-7BC7-0A1CF376CF96}"/>
                </a:ext>
              </a:extLst>
            </p:cNvPr>
            <p:cNvSpPr>
              <a:spLocks noChangeAspect="1"/>
            </p:cNvSpPr>
            <p:nvPr>
              <p:custDataLst>
                <p:tags r:id="rId95"/>
              </p:custDataLst>
            </p:nvPr>
          </p:nvSpPr>
          <p:spPr>
            <a:xfrm>
              <a:off x="7026665" y="3349271"/>
              <a:ext cx="53078" cy="57689"/>
            </a:xfrm>
            <a:custGeom>
              <a:avLst/>
              <a:gdLst/>
              <a:ahLst/>
              <a:cxnLst/>
              <a:rect l="0" t="0" r="0" b="0"/>
              <a:pathLst>
                <a:path w="42265" h="44719">
                  <a:moveTo>
                    <a:pt x="16761" y="243"/>
                  </a:moveTo>
                  <a:lnTo>
                    <a:pt x="16701" y="573"/>
                  </a:lnTo>
                  <a:lnTo>
                    <a:pt x="16809" y="1544"/>
                  </a:lnTo>
                  <a:lnTo>
                    <a:pt x="17301" y="2488"/>
                  </a:lnTo>
                  <a:lnTo>
                    <a:pt x="19059" y="3456"/>
                  </a:lnTo>
                  <a:lnTo>
                    <a:pt x="21633" y="5370"/>
                  </a:lnTo>
                  <a:lnTo>
                    <a:pt x="24661" y="8878"/>
                  </a:lnTo>
                  <a:lnTo>
                    <a:pt x="26051" y="9920"/>
                  </a:lnTo>
                  <a:lnTo>
                    <a:pt x="27301" y="10174"/>
                  </a:lnTo>
                  <a:lnTo>
                    <a:pt x="29737" y="11629"/>
                  </a:lnTo>
                  <a:lnTo>
                    <a:pt x="31436" y="11984"/>
                  </a:lnTo>
                  <a:lnTo>
                    <a:pt x="33339" y="12383"/>
                  </a:lnTo>
                  <a:lnTo>
                    <a:pt x="38288" y="15416"/>
                  </a:lnTo>
                  <a:lnTo>
                    <a:pt x="40512" y="16301"/>
                  </a:lnTo>
                  <a:lnTo>
                    <a:pt x="42093" y="17441"/>
                  </a:lnTo>
                  <a:lnTo>
                    <a:pt x="42264" y="18514"/>
                  </a:lnTo>
                  <a:lnTo>
                    <a:pt x="42190" y="19179"/>
                  </a:lnTo>
                  <a:lnTo>
                    <a:pt x="39333" y="19958"/>
                  </a:lnTo>
                  <a:lnTo>
                    <a:pt x="38834" y="21140"/>
                  </a:lnTo>
                  <a:lnTo>
                    <a:pt x="37450" y="21002"/>
                  </a:lnTo>
                  <a:lnTo>
                    <a:pt x="35777" y="20995"/>
                  </a:lnTo>
                  <a:lnTo>
                    <a:pt x="35228" y="21744"/>
                  </a:lnTo>
                  <a:lnTo>
                    <a:pt x="36030" y="22978"/>
                  </a:lnTo>
                  <a:lnTo>
                    <a:pt x="36550" y="24429"/>
                  </a:lnTo>
                  <a:lnTo>
                    <a:pt x="36131" y="26417"/>
                  </a:lnTo>
                  <a:lnTo>
                    <a:pt x="35990" y="26678"/>
                  </a:lnTo>
                  <a:lnTo>
                    <a:pt x="35587" y="26608"/>
                  </a:lnTo>
                  <a:lnTo>
                    <a:pt x="33229" y="27761"/>
                  </a:lnTo>
                  <a:lnTo>
                    <a:pt x="31475" y="28304"/>
                  </a:lnTo>
                  <a:lnTo>
                    <a:pt x="29895" y="28575"/>
                  </a:lnTo>
                  <a:lnTo>
                    <a:pt x="29147" y="28021"/>
                  </a:lnTo>
                  <a:lnTo>
                    <a:pt x="28778" y="27269"/>
                  </a:lnTo>
                  <a:lnTo>
                    <a:pt x="28843" y="25086"/>
                  </a:lnTo>
                  <a:lnTo>
                    <a:pt x="28558" y="24349"/>
                  </a:lnTo>
                  <a:lnTo>
                    <a:pt x="28018" y="23991"/>
                  </a:lnTo>
                  <a:lnTo>
                    <a:pt x="26936" y="24508"/>
                  </a:lnTo>
                  <a:lnTo>
                    <a:pt x="25675" y="26194"/>
                  </a:lnTo>
                  <a:lnTo>
                    <a:pt x="24505" y="28154"/>
                  </a:lnTo>
                  <a:lnTo>
                    <a:pt x="22749" y="30196"/>
                  </a:lnTo>
                  <a:lnTo>
                    <a:pt x="21300" y="32153"/>
                  </a:lnTo>
                  <a:lnTo>
                    <a:pt x="19739" y="34619"/>
                  </a:lnTo>
                  <a:lnTo>
                    <a:pt x="18670" y="36660"/>
                  </a:lnTo>
                  <a:lnTo>
                    <a:pt x="19780" y="37810"/>
                  </a:lnTo>
                  <a:lnTo>
                    <a:pt x="20456" y="39409"/>
                  </a:lnTo>
                  <a:lnTo>
                    <a:pt x="20251" y="40606"/>
                  </a:lnTo>
                  <a:lnTo>
                    <a:pt x="20450" y="41304"/>
                  </a:lnTo>
                  <a:lnTo>
                    <a:pt x="20104" y="43398"/>
                  </a:lnTo>
                  <a:lnTo>
                    <a:pt x="20035" y="44718"/>
                  </a:lnTo>
                  <a:lnTo>
                    <a:pt x="16586" y="42608"/>
                  </a:lnTo>
                  <a:lnTo>
                    <a:pt x="15168" y="39638"/>
                  </a:lnTo>
                  <a:lnTo>
                    <a:pt x="10125" y="34614"/>
                  </a:lnTo>
                  <a:lnTo>
                    <a:pt x="4347" y="31190"/>
                  </a:lnTo>
                  <a:lnTo>
                    <a:pt x="4040" y="30648"/>
                  </a:lnTo>
                  <a:lnTo>
                    <a:pt x="4358" y="29989"/>
                  </a:lnTo>
                  <a:lnTo>
                    <a:pt x="4634" y="29467"/>
                  </a:lnTo>
                  <a:lnTo>
                    <a:pt x="3434" y="29427"/>
                  </a:lnTo>
                  <a:lnTo>
                    <a:pt x="2591" y="29845"/>
                  </a:lnTo>
                  <a:lnTo>
                    <a:pt x="1794" y="29728"/>
                  </a:lnTo>
                  <a:lnTo>
                    <a:pt x="892" y="28443"/>
                  </a:lnTo>
                  <a:lnTo>
                    <a:pt x="39" y="27327"/>
                  </a:lnTo>
                  <a:lnTo>
                    <a:pt x="0" y="26346"/>
                  </a:lnTo>
                  <a:lnTo>
                    <a:pt x="389" y="26218"/>
                  </a:lnTo>
                  <a:lnTo>
                    <a:pt x="967" y="25826"/>
                  </a:lnTo>
                  <a:lnTo>
                    <a:pt x="2181" y="24734"/>
                  </a:lnTo>
                  <a:lnTo>
                    <a:pt x="2423" y="24160"/>
                  </a:lnTo>
                  <a:lnTo>
                    <a:pt x="2365" y="23290"/>
                  </a:lnTo>
                  <a:lnTo>
                    <a:pt x="657" y="20535"/>
                  </a:lnTo>
                  <a:lnTo>
                    <a:pt x="415" y="18747"/>
                  </a:lnTo>
                  <a:lnTo>
                    <a:pt x="166" y="15417"/>
                  </a:lnTo>
                  <a:lnTo>
                    <a:pt x="527" y="14628"/>
                  </a:lnTo>
                  <a:lnTo>
                    <a:pt x="1153" y="14246"/>
                  </a:lnTo>
                  <a:lnTo>
                    <a:pt x="4142" y="13830"/>
                  </a:lnTo>
                  <a:lnTo>
                    <a:pt x="4103" y="11231"/>
                  </a:lnTo>
                  <a:lnTo>
                    <a:pt x="4282" y="10451"/>
                  </a:lnTo>
                  <a:lnTo>
                    <a:pt x="4876" y="9369"/>
                  </a:lnTo>
                  <a:lnTo>
                    <a:pt x="5261" y="8380"/>
                  </a:lnTo>
                  <a:lnTo>
                    <a:pt x="6919" y="6963"/>
                  </a:lnTo>
                  <a:lnTo>
                    <a:pt x="9171" y="5275"/>
                  </a:lnTo>
                  <a:lnTo>
                    <a:pt x="10156" y="5225"/>
                  </a:lnTo>
                  <a:lnTo>
                    <a:pt x="11019" y="5460"/>
                  </a:lnTo>
                  <a:lnTo>
                    <a:pt x="11993" y="6913"/>
                  </a:lnTo>
                  <a:lnTo>
                    <a:pt x="13053" y="6724"/>
                  </a:lnTo>
                  <a:lnTo>
                    <a:pt x="13276" y="4980"/>
                  </a:lnTo>
                  <a:lnTo>
                    <a:pt x="11885" y="2691"/>
                  </a:lnTo>
                  <a:lnTo>
                    <a:pt x="11143" y="1228"/>
                  </a:lnTo>
                  <a:lnTo>
                    <a:pt x="11374" y="422"/>
                  </a:lnTo>
                  <a:lnTo>
                    <a:pt x="11894" y="0"/>
                  </a:lnTo>
                  <a:lnTo>
                    <a:pt x="13090" y="264"/>
                  </a:lnTo>
                  <a:lnTo>
                    <a:pt x="14235" y="663"/>
                  </a:lnTo>
                  <a:lnTo>
                    <a:pt x="14958" y="393"/>
                  </a:lnTo>
                  <a:lnTo>
                    <a:pt x="16098" y="185"/>
                  </a:lnTo>
                  <a:close/>
                </a:path>
              </a:pathLst>
            </a:custGeom>
            <a:solidFill>
              <a:srgbClr val="A3BA1E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68" name="ee4p_NL_1_82333">
              <a:extLst>
                <a:ext uri="{FF2B5EF4-FFF2-40B4-BE49-F238E27FC236}">
                  <a16:creationId xmlns:a16="http://schemas.microsoft.com/office/drawing/2014/main" id="{4F418C37-2C43-247D-5312-3DBA334707CF}"/>
                </a:ext>
              </a:extLst>
            </p:cNvPr>
            <p:cNvSpPr>
              <a:spLocks noChangeAspect="1"/>
            </p:cNvSpPr>
            <p:nvPr>
              <p:custDataLst>
                <p:tags r:id="rId96"/>
              </p:custDataLst>
            </p:nvPr>
          </p:nvSpPr>
          <p:spPr>
            <a:xfrm>
              <a:off x="6607731" y="2979151"/>
              <a:ext cx="106833" cy="109947"/>
            </a:xfrm>
            <a:custGeom>
              <a:avLst/>
              <a:gdLst>
                <a:gd name="connsiteX0" fmla="*/ 5293 w 85069"/>
                <a:gd name="connsiteY0" fmla="*/ 66254 h 85228"/>
                <a:gd name="connsiteX1" fmla="*/ 8102 w 85069"/>
                <a:gd name="connsiteY1" fmla="*/ 67143 h 85228"/>
                <a:gd name="connsiteX2" fmla="*/ 11792 w 85069"/>
                <a:gd name="connsiteY2" fmla="*/ 67572 h 85228"/>
                <a:gd name="connsiteX3" fmla="*/ 14614 w 85069"/>
                <a:gd name="connsiteY3" fmla="*/ 66356 h 85228"/>
                <a:gd name="connsiteX4" fmla="*/ 16836 w 85069"/>
                <a:gd name="connsiteY4" fmla="*/ 67392 h 85228"/>
                <a:gd name="connsiteX5" fmla="*/ 19372 w 85069"/>
                <a:gd name="connsiteY5" fmla="*/ 66634 h 85228"/>
                <a:gd name="connsiteX6" fmla="*/ 19046 w 85069"/>
                <a:gd name="connsiteY6" fmla="*/ 67741 h 85228"/>
                <a:gd name="connsiteX7" fmla="*/ 18186 w 85069"/>
                <a:gd name="connsiteY7" fmla="*/ 68963 h 85228"/>
                <a:gd name="connsiteX8" fmla="*/ 15256 w 85069"/>
                <a:gd name="connsiteY8" fmla="*/ 70722 h 85228"/>
                <a:gd name="connsiteX9" fmla="*/ 12205 w 85069"/>
                <a:gd name="connsiteY9" fmla="*/ 71876 h 85228"/>
                <a:gd name="connsiteX10" fmla="*/ 10628 w 85069"/>
                <a:gd name="connsiteY10" fmla="*/ 71732 h 85228"/>
                <a:gd name="connsiteX11" fmla="*/ 9548 w 85069"/>
                <a:gd name="connsiteY11" fmla="*/ 71128 h 85228"/>
                <a:gd name="connsiteX12" fmla="*/ 8968 w 85069"/>
                <a:gd name="connsiteY12" fmla="*/ 70494 h 85228"/>
                <a:gd name="connsiteX13" fmla="*/ 7335 w 85069"/>
                <a:gd name="connsiteY13" fmla="*/ 69883 h 85228"/>
                <a:gd name="connsiteX14" fmla="*/ 5089 w 85069"/>
                <a:gd name="connsiteY14" fmla="*/ 69576 h 85228"/>
                <a:gd name="connsiteX15" fmla="*/ 3692 w 85069"/>
                <a:gd name="connsiteY15" fmla="*/ 70237 h 85228"/>
                <a:gd name="connsiteX16" fmla="*/ 2695 w 85069"/>
                <a:gd name="connsiteY16" fmla="*/ 70863 h 85228"/>
                <a:gd name="connsiteX17" fmla="*/ 1822 w 85069"/>
                <a:gd name="connsiteY17" fmla="*/ 70760 h 85228"/>
                <a:gd name="connsiteX18" fmla="*/ 1166 w 85069"/>
                <a:gd name="connsiteY18" fmla="*/ 70237 h 85228"/>
                <a:gd name="connsiteX19" fmla="*/ 663 w 85069"/>
                <a:gd name="connsiteY19" fmla="*/ 69431 h 85228"/>
                <a:gd name="connsiteX20" fmla="*/ 0 w 85069"/>
                <a:gd name="connsiteY20" fmla="*/ 66892 h 85228"/>
                <a:gd name="connsiteX21" fmla="*/ 1673 w 85069"/>
                <a:gd name="connsiteY21" fmla="*/ 66428 h 85228"/>
                <a:gd name="connsiteX22" fmla="*/ 9706 w 85069"/>
                <a:gd name="connsiteY22" fmla="*/ 56047 h 85228"/>
                <a:gd name="connsiteX23" fmla="*/ 13246 w 85069"/>
                <a:gd name="connsiteY23" fmla="*/ 56253 h 85228"/>
                <a:gd name="connsiteX24" fmla="*/ 15405 w 85069"/>
                <a:gd name="connsiteY24" fmla="*/ 57860 h 85228"/>
                <a:gd name="connsiteX25" fmla="*/ 15865 w 85069"/>
                <a:gd name="connsiteY25" fmla="*/ 58373 h 85228"/>
                <a:gd name="connsiteX26" fmla="*/ 16031 w 85069"/>
                <a:gd name="connsiteY26" fmla="*/ 58924 h 85228"/>
                <a:gd name="connsiteX27" fmla="*/ 13287 w 85069"/>
                <a:gd name="connsiteY27" fmla="*/ 59563 h 85228"/>
                <a:gd name="connsiteX28" fmla="*/ 10369 w 85069"/>
                <a:gd name="connsiteY28" fmla="*/ 57592 h 85228"/>
                <a:gd name="connsiteX29" fmla="*/ 8441 w 85069"/>
                <a:gd name="connsiteY29" fmla="*/ 58057 h 85228"/>
                <a:gd name="connsiteX30" fmla="*/ 7715 w 85069"/>
                <a:gd name="connsiteY30" fmla="*/ 57123 h 85228"/>
                <a:gd name="connsiteX31" fmla="*/ 7704 w 85069"/>
                <a:gd name="connsiteY31" fmla="*/ 56540 h 85228"/>
                <a:gd name="connsiteX32" fmla="*/ 33971 w 85069"/>
                <a:gd name="connsiteY32" fmla="*/ 13310 h 85228"/>
                <a:gd name="connsiteX33" fmla="*/ 33965 w 85069"/>
                <a:gd name="connsiteY33" fmla="*/ 16687 h 85228"/>
                <a:gd name="connsiteX34" fmla="*/ 31775 w 85069"/>
                <a:gd name="connsiteY34" fmla="*/ 18811 h 85228"/>
                <a:gd name="connsiteX35" fmla="*/ 30441 w 85069"/>
                <a:gd name="connsiteY35" fmla="*/ 18218 h 85228"/>
                <a:gd name="connsiteX36" fmla="*/ 30052 w 85069"/>
                <a:gd name="connsiteY36" fmla="*/ 17726 h 85228"/>
                <a:gd name="connsiteX37" fmla="*/ 30730 w 85069"/>
                <a:gd name="connsiteY37" fmla="*/ 16070 h 85228"/>
                <a:gd name="connsiteX38" fmla="*/ 37081 w 85069"/>
                <a:gd name="connsiteY38" fmla="*/ 9498 h 85228"/>
                <a:gd name="connsiteX39" fmla="*/ 38884 w 85069"/>
                <a:gd name="connsiteY39" fmla="*/ 9564 h 85228"/>
                <a:gd name="connsiteX40" fmla="*/ 34796 w 85069"/>
                <a:gd name="connsiteY40" fmla="*/ 11771 h 85228"/>
                <a:gd name="connsiteX41" fmla="*/ 34446 w 85069"/>
                <a:gd name="connsiteY41" fmla="*/ 11420 h 85228"/>
                <a:gd name="connsiteX42" fmla="*/ 76643 w 85069"/>
                <a:gd name="connsiteY42" fmla="*/ 5558 h 85228"/>
                <a:gd name="connsiteX43" fmla="*/ 78770 w 85069"/>
                <a:gd name="connsiteY43" fmla="*/ 7538 h 85228"/>
                <a:gd name="connsiteX44" fmla="*/ 80003 w 85069"/>
                <a:gd name="connsiteY44" fmla="*/ 8984 h 85228"/>
                <a:gd name="connsiteX45" fmla="*/ 81989 w 85069"/>
                <a:gd name="connsiteY45" fmla="*/ 9787 h 85228"/>
                <a:gd name="connsiteX46" fmla="*/ 85069 w 85069"/>
                <a:gd name="connsiteY46" fmla="*/ 10338 h 85228"/>
                <a:gd name="connsiteX47" fmla="*/ 84885 w 85069"/>
                <a:gd name="connsiteY47" fmla="*/ 13193 h 85228"/>
                <a:gd name="connsiteX48" fmla="*/ 84907 w 85069"/>
                <a:gd name="connsiteY48" fmla="*/ 18820 h 85228"/>
                <a:gd name="connsiteX49" fmla="*/ 84676 w 85069"/>
                <a:gd name="connsiteY49" fmla="*/ 19817 h 85228"/>
                <a:gd name="connsiteX50" fmla="*/ 83296 w 85069"/>
                <a:gd name="connsiteY50" fmla="*/ 22186 h 85228"/>
                <a:gd name="connsiteX51" fmla="*/ 81832 w 85069"/>
                <a:gd name="connsiteY51" fmla="*/ 26435 h 85228"/>
                <a:gd name="connsiteX52" fmla="*/ 81437 w 85069"/>
                <a:gd name="connsiteY52" fmla="*/ 29222 h 85228"/>
                <a:gd name="connsiteX53" fmla="*/ 80998 w 85069"/>
                <a:gd name="connsiteY53" fmla="*/ 29753 h 85228"/>
                <a:gd name="connsiteX54" fmla="*/ 75144 w 85069"/>
                <a:gd name="connsiteY54" fmla="*/ 29737 h 85228"/>
                <a:gd name="connsiteX55" fmla="*/ 74311 w 85069"/>
                <a:gd name="connsiteY55" fmla="*/ 30220 h 85228"/>
                <a:gd name="connsiteX56" fmla="*/ 74192 w 85069"/>
                <a:gd name="connsiteY56" fmla="*/ 30822 h 85228"/>
                <a:gd name="connsiteX57" fmla="*/ 74488 w 85069"/>
                <a:gd name="connsiteY57" fmla="*/ 31539 h 85228"/>
                <a:gd name="connsiteX58" fmla="*/ 74347 w 85069"/>
                <a:gd name="connsiteY58" fmla="*/ 32252 h 85228"/>
                <a:gd name="connsiteX59" fmla="*/ 73888 w 85069"/>
                <a:gd name="connsiteY59" fmla="*/ 32832 h 85228"/>
                <a:gd name="connsiteX60" fmla="*/ 74138 w 85069"/>
                <a:gd name="connsiteY60" fmla="*/ 33753 h 85228"/>
                <a:gd name="connsiteX61" fmla="*/ 75153 w 85069"/>
                <a:gd name="connsiteY61" fmla="*/ 34800 h 85228"/>
                <a:gd name="connsiteX62" fmla="*/ 77003 w 85069"/>
                <a:gd name="connsiteY62" fmla="*/ 35447 h 85228"/>
                <a:gd name="connsiteX63" fmla="*/ 78984 w 85069"/>
                <a:gd name="connsiteY63" fmla="*/ 35506 h 85228"/>
                <a:gd name="connsiteX64" fmla="*/ 80003 w 85069"/>
                <a:gd name="connsiteY64" fmla="*/ 35393 h 85228"/>
                <a:gd name="connsiteX65" fmla="*/ 80748 w 85069"/>
                <a:gd name="connsiteY65" fmla="*/ 36139 h 85228"/>
                <a:gd name="connsiteX66" fmla="*/ 81484 w 85069"/>
                <a:gd name="connsiteY66" fmla="*/ 37291 h 85228"/>
                <a:gd name="connsiteX67" fmla="*/ 81428 w 85069"/>
                <a:gd name="connsiteY67" fmla="*/ 38738 h 85228"/>
                <a:gd name="connsiteX68" fmla="*/ 81141 w 85069"/>
                <a:gd name="connsiteY68" fmla="*/ 40682 h 85228"/>
                <a:gd name="connsiteX69" fmla="*/ 80203 w 85069"/>
                <a:gd name="connsiteY69" fmla="*/ 42476 h 85228"/>
                <a:gd name="connsiteX70" fmla="*/ 77502 w 85069"/>
                <a:gd name="connsiteY70" fmla="*/ 44542 h 85228"/>
                <a:gd name="connsiteX71" fmla="*/ 76293 w 85069"/>
                <a:gd name="connsiteY71" fmla="*/ 45270 h 85228"/>
                <a:gd name="connsiteX72" fmla="*/ 75157 w 85069"/>
                <a:gd name="connsiteY72" fmla="*/ 45641 h 85228"/>
                <a:gd name="connsiteX73" fmla="*/ 74615 w 85069"/>
                <a:gd name="connsiteY73" fmla="*/ 46187 h 85228"/>
                <a:gd name="connsiteX74" fmla="*/ 74360 w 85069"/>
                <a:gd name="connsiteY74" fmla="*/ 46878 h 85228"/>
                <a:gd name="connsiteX75" fmla="*/ 74419 w 85069"/>
                <a:gd name="connsiteY75" fmla="*/ 47491 h 85228"/>
                <a:gd name="connsiteX76" fmla="*/ 76338 w 85069"/>
                <a:gd name="connsiteY76" fmla="*/ 49147 h 85228"/>
                <a:gd name="connsiteX77" fmla="*/ 76293 w 85069"/>
                <a:gd name="connsiteY77" fmla="*/ 49525 h 85228"/>
                <a:gd name="connsiteX78" fmla="*/ 75736 w 85069"/>
                <a:gd name="connsiteY78" fmla="*/ 50385 h 85228"/>
                <a:gd name="connsiteX79" fmla="*/ 74997 w 85069"/>
                <a:gd name="connsiteY79" fmla="*/ 51194 h 85228"/>
                <a:gd name="connsiteX80" fmla="*/ 70039 w 85069"/>
                <a:gd name="connsiteY80" fmla="*/ 52876 h 85228"/>
                <a:gd name="connsiteX81" fmla="*/ 67992 w 85069"/>
                <a:gd name="connsiteY81" fmla="*/ 52744 h 85228"/>
                <a:gd name="connsiteX82" fmla="*/ 66824 w 85069"/>
                <a:gd name="connsiteY82" fmla="*/ 53581 h 85228"/>
                <a:gd name="connsiteX83" fmla="*/ 66459 w 85069"/>
                <a:gd name="connsiteY83" fmla="*/ 53740 h 85228"/>
                <a:gd name="connsiteX84" fmla="*/ 65164 w 85069"/>
                <a:gd name="connsiteY84" fmla="*/ 52971 h 85228"/>
                <a:gd name="connsiteX85" fmla="*/ 62276 w 85069"/>
                <a:gd name="connsiteY85" fmla="*/ 52084 h 85228"/>
                <a:gd name="connsiteX86" fmla="*/ 61186 w 85069"/>
                <a:gd name="connsiteY86" fmla="*/ 52390 h 85228"/>
                <a:gd name="connsiteX87" fmla="*/ 60581 w 85069"/>
                <a:gd name="connsiteY87" fmla="*/ 52876 h 85228"/>
                <a:gd name="connsiteX88" fmla="*/ 58763 w 85069"/>
                <a:gd name="connsiteY88" fmla="*/ 53465 h 85228"/>
                <a:gd name="connsiteX89" fmla="*/ 57461 w 85069"/>
                <a:gd name="connsiteY89" fmla="*/ 54388 h 85228"/>
                <a:gd name="connsiteX90" fmla="*/ 57457 w 85069"/>
                <a:gd name="connsiteY90" fmla="*/ 55576 h 85228"/>
                <a:gd name="connsiteX91" fmla="*/ 59761 w 85069"/>
                <a:gd name="connsiteY91" fmla="*/ 58645 h 85228"/>
                <a:gd name="connsiteX92" fmla="*/ 60571 w 85069"/>
                <a:gd name="connsiteY92" fmla="*/ 59247 h 85228"/>
                <a:gd name="connsiteX93" fmla="*/ 60609 w 85069"/>
                <a:gd name="connsiteY93" fmla="*/ 60391 h 85228"/>
                <a:gd name="connsiteX94" fmla="*/ 61726 w 85069"/>
                <a:gd name="connsiteY94" fmla="*/ 61827 h 85228"/>
                <a:gd name="connsiteX95" fmla="*/ 62868 w 85069"/>
                <a:gd name="connsiteY95" fmla="*/ 63626 h 85228"/>
                <a:gd name="connsiteX96" fmla="*/ 62991 w 85069"/>
                <a:gd name="connsiteY96" fmla="*/ 64769 h 85228"/>
                <a:gd name="connsiteX97" fmla="*/ 62860 w 85069"/>
                <a:gd name="connsiteY97" fmla="*/ 65926 h 85228"/>
                <a:gd name="connsiteX98" fmla="*/ 62270 w 85069"/>
                <a:gd name="connsiteY98" fmla="*/ 67562 h 85228"/>
                <a:gd name="connsiteX99" fmla="*/ 60273 w 85069"/>
                <a:gd name="connsiteY99" fmla="*/ 71394 h 85228"/>
                <a:gd name="connsiteX100" fmla="*/ 60249 w 85069"/>
                <a:gd name="connsiteY100" fmla="*/ 72129 h 85228"/>
                <a:gd name="connsiteX101" fmla="*/ 60417 w 85069"/>
                <a:gd name="connsiteY101" fmla="*/ 72687 h 85228"/>
                <a:gd name="connsiteX102" fmla="*/ 61102 w 85069"/>
                <a:gd name="connsiteY102" fmla="*/ 72841 h 85228"/>
                <a:gd name="connsiteX103" fmla="*/ 61622 w 85069"/>
                <a:gd name="connsiteY103" fmla="*/ 73130 h 85228"/>
                <a:gd name="connsiteX104" fmla="*/ 61469 w 85069"/>
                <a:gd name="connsiteY104" fmla="*/ 73640 h 85228"/>
                <a:gd name="connsiteX105" fmla="*/ 57733 w 85069"/>
                <a:gd name="connsiteY105" fmla="*/ 76293 h 85228"/>
                <a:gd name="connsiteX106" fmla="*/ 57251 w 85069"/>
                <a:gd name="connsiteY106" fmla="*/ 76757 h 85228"/>
                <a:gd name="connsiteX107" fmla="*/ 55684 w 85069"/>
                <a:gd name="connsiteY107" fmla="*/ 76626 h 85228"/>
                <a:gd name="connsiteX108" fmla="*/ 55444 w 85069"/>
                <a:gd name="connsiteY108" fmla="*/ 77069 h 85228"/>
                <a:gd name="connsiteX109" fmla="*/ 55658 w 85069"/>
                <a:gd name="connsiteY109" fmla="*/ 77784 h 85228"/>
                <a:gd name="connsiteX110" fmla="*/ 56267 w 85069"/>
                <a:gd name="connsiteY110" fmla="*/ 78410 h 85228"/>
                <a:gd name="connsiteX111" fmla="*/ 57601 w 85069"/>
                <a:gd name="connsiteY111" fmla="*/ 78740 h 85228"/>
                <a:gd name="connsiteX112" fmla="*/ 58746 w 85069"/>
                <a:gd name="connsiteY112" fmla="*/ 79411 h 85228"/>
                <a:gd name="connsiteX113" fmla="*/ 59666 w 85069"/>
                <a:gd name="connsiteY113" fmla="*/ 80726 h 85228"/>
                <a:gd name="connsiteX114" fmla="*/ 58461 w 85069"/>
                <a:gd name="connsiteY114" fmla="*/ 85228 h 85228"/>
                <a:gd name="connsiteX115" fmla="*/ 54114 w 85069"/>
                <a:gd name="connsiteY115" fmla="*/ 85109 h 85228"/>
                <a:gd name="connsiteX116" fmla="*/ 53002 w 85069"/>
                <a:gd name="connsiteY116" fmla="*/ 84963 h 85228"/>
                <a:gd name="connsiteX117" fmla="*/ 51821 w 85069"/>
                <a:gd name="connsiteY117" fmla="*/ 84523 h 85228"/>
                <a:gd name="connsiteX118" fmla="*/ 51818 w 85069"/>
                <a:gd name="connsiteY118" fmla="*/ 84520 h 85228"/>
                <a:gd name="connsiteX119" fmla="*/ 51278 w 85069"/>
                <a:gd name="connsiteY119" fmla="*/ 83611 h 85228"/>
                <a:gd name="connsiteX120" fmla="*/ 50622 w 85069"/>
                <a:gd name="connsiteY120" fmla="*/ 82514 h 85228"/>
                <a:gd name="connsiteX121" fmla="*/ 50801 w 85069"/>
                <a:gd name="connsiteY121" fmla="*/ 81842 h 85228"/>
                <a:gd name="connsiteX122" fmla="*/ 52771 w 85069"/>
                <a:gd name="connsiteY122" fmla="*/ 79931 h 85228"/>
                <a:gd name="connsiteX123" fmla="*/ 53067 w 85069"/>
                <a:gd name="connsiteY123" fmla="*/ 79403 h 85228"/>
                <a:gd name="connsiteX124" fmla="*/ 52864 w 85069"/>
                <a:gd name="connsiteY124" fmla="*/ 79120 h 85228"/>
                <a:gd name="connsiteX125" fmla="*/ 53062 w 85069"/>
                <a:gd name="connsiteY125" fmla="*/ 78278 h 85228"/>
                <a:gd name="connsiteX126" fmla="*/ 54576 w 85069"/>
                <a:gd name="connsiteY126" fmla="*/ 75424 h 85228"/>
                <a:gd name="connsiteX127" fmla="*/ 54772 w 85069"/>
                <a:gd name="connsiteY127" fmla="*/ 74277 h 85228"/>
                <a:gd name="connsiteX128" fmla="*/ 54095 w 85069"/>
                <a:gd name="connsiteY128" fmla="*/ 73474 h 85228"/>
                <a:gd name="connsiteX129" fmla="*/ 53118 w 85069"/>
                <a:gd name="connsiteY129" fmla="*/ 72994 h 85228"/>
                <a:gd name="connsiteX130" fmla="*/ 49944 w 85069"/>
                <a:gd name="connsiteY130" fmla="*/ 72146 h 85228"/>
                <a:gd name="connsiteX131" fmla="*/ 48433 w 85069"/>
                <a:gd name="connsiteY131" fmla="*/ 70949 h 85228"/>
                <a:gd name="connsiteX132" fmla="*/ 47733 w 85069"/>
                <a:gd name="connsiteY132" fmla="*/ 69903 h 85228"/>
                <a:gd name="connsiteX133" fmla="*/ 47027 w 85069"/>
                <a:gd name="connsiteY133" fmla="*/ 69609 h 85228"/>
                <a:gd name="connsiteX134" fmla="*/ 45986 w 85069"/>
                <a:gd name="connsiteY134" fmla="*/ 69962 h 85228"/>
                <a:gd name="connsiteX135" fmla="*/ 43356 w 85069"/>
                <a:gd name="connsiteY135" fmla="*/ 70351 h 85228"/>
                <a:gd name="connsiteX136" fmla="*/ 41218 w 85069"/>
                <a:gd name="connsiteY136" fmla="*/ 69787 h 85228"/>
                <a:gd name="connsiteX137" fmla="*/ 38692 w 85069"/>
                <a:gd name="connsiteY137" fmla="*/ 67807 h 85228"/>
                <a:gd name="connsiteX138" fmla="*/ 38106 w 85069"/>
                <a:gd name="connsiteY138" fmla="*/ 66036 h 85228"/>
                <a:gd name="connsiteX139" fmla="*/ 37798 w 85069"/>
                <a:gd name="connsiteY139" fmla="*/ 64677 h 85228"/>
                <a:gd name="connsiteX140" fmla="*/ 37167 w 85069"/>
                <a:gd name="connsiteY140" fmla="*/ 64208 h 85228"/>
                <a:gd name="connsiteX141" fmla="*/ 36319 w 85069"/>
                <a:gd name="connsiteY141" fmla="*/ 64905 h 85228"/>
                <a:gd name="connsiteX142" fmla="*/ 35243 w 85069"/>
                <a:gd name="connsiteY142" fmla="*/ 66009 h 85228"/>
                <a:gd name="connsiteX143" fmla="*/ 33123 w 85069"/>
                <a:gd name="connsiteY143" fmla="*/ 66141 h 85228"/>
                <a:gd name="connsiteX144" fmla="*/ 32518 w 85069"/>
                <a:gd name="connsiteY144" fmla="*/ 65883 h 85228"/>
                <a:gd name="connsiteX145" fmla="*/ 32414 w 85069"/>
                <a:gd name="connsiteY145" fmla="*/ 65274 h 85228"/>
                <a:gd name="connsiteX146" fmla="*/ 32293 w 85069"/>
                <a:gd name="connsiteY146" fmla="*/ 64689 h 85228"/>
                <a:gd name="connsiteX147" fmla="*/ 31710 w 85069"/>
                <a:gd name="connsiteY147" fmla="*/ 63964 h 85228"/>
                <a:gd name="connsiteX148" fmla="*/ 31080 w 85069"/>
                <a:gd name="connsiteY148" fmla="*/ 63561 h 85228"/>
                <a:gd name="connsiteX149" fmla="*/ 28389 w 85069"/>
                <a:gd name="connsiteY149" fmla="*/ 65599 h 85228"/>
                <a:gd name="connsiteX150" fmla="*/ 27389 w 85069"/>
                <a:gd name="connsiteY150" fmla="*/ 65594 h 85228"/>
                <a:gd name="connsiteX151" fmla="*/ 26126 w 85069"/>
                <a:gd name="connsiteY151" fmla="*/ 64811 h 85228"/>
                <a:gd name="connsiteX152" fmla="*/ 25502 w 85069"/>
                <a:gd name="connsiteY152" fmla="*/ 64043 h 85228"/>
                <a:gd name="connsiteX153" fmla="*/ 24120 w 85069"/>
                <a:gd name="connsiteY153" fmla="*/ 64481 h 85228"/>
                <a:gd name="connsiteX154" fmla="*/ 22878 w 85069"/>
                <a:gd name="connsiteY154" fmla="*/ 65427 h 85228"/>
                <a:gd name="connsiteX155" fmla="*/ 23304 w 85069"/>
                <a:gd name="connsiteY155" fmla="*/ 67203 h 85228"/>
                <a:gd name="connsiteX156" fmla="*/ 22634 w 85069"/>
                <a:gd name="connsiteY156" fmla="*/ 67528 h 85228"/>
                <a:gd name="connsiteX157" fmla="*/ 21104 w 85069"/>
                <a:gd name="connsiteY157" fmla="*/ 67366 h 85228"/>
                <a:gd name="connsiteX158" fmla="*/ 19372 w 85069"/>
                <a:gd name="connsiteY158" fmla="*/ 66634 h 85228"/>
                <a:gd name="connsiteX159" fmla="*/ 17441 w 85069"/>
                <a:gd name="connsiteY159" fmla="*/ 66193 h 85228"/>
                <a:gd name="connsiteX160" fmla="*/ 14515 w 85069"/>
                <a:gd name="connsiteY160" fmla="*/ 64968 h 85228"/>
                <a:gd name="connsiteX161" fmla="*/ 10432 w 85069"/>
                <a:gd name="connsiteY161" fmla="*/ 65962 h 85228"/>
                <a:gd name="connsiteX162" fmla="*/ 7594 w 85069"/>
                <a:gd name="connsiteY162" fmla="*/ 64772 h 85228"/>
                <a:gd name="connsiteX163" fmla="*/ 5236 w 85069"/>
                <a:gd name="connsiteY163" fmla="*/ 64654 h 85228"/>
                <a:gd name="connsiteX164" fmla="*/ 3768 w 85069"/>
                <a:gd name="connsiteY164" fmla="*/ 63706 h 85228"/>
                <a:gd name="connsiteX165" fmla="*/ 2185 w 85069"/>
                <a:gd name="connsiteY165" fmla="*/ 62102 h 85228"/>
                <a:gd name="connsiteX166" fmla="*/ 3306 w 85069"/>
                <a:gd name="connsiteY166" fmla="*/ 61046 h 85228"/>
                <a:gd name="connsiteX167" fmla="*/ 4390 w 85069"/>
                <a:gd name="connsiteY167" fmla="*/ 60680 h 85228"/>
                <a:gd name="connsiteX168" fmla="*/ 8709 w 85069"/>
                <a:gd name="connsiteY168" fmla="*/ 60476 h 85228"/>
                <a:gd name="connsiteX169" fmla="*/ 11850 w 85069"/>
                <a:gd name="connsiteY169" fmla="*/ 61118 h 85228"/>
                <a:gd name="connsiteX170" fmla="*/ 17495 w 85069"/>
                <a:gd name="connsiteY170" fmla="*/ 64600 h 85228"/>
                <a:gd name="connsiteX171" fmla="*/ 18920 w 85069"/>
                <a:gd name="connsiteY171" fmla="*/ 64573 h 85228"/>
                <a:gd name="connsiteX172" fmla="*/ 20432 w 85069"/>
                <a:gd name="connsiteY172" fmla="*/ 64134 h 85228"/>
                <a:gd name="connsiteX173" fmla="*/ 19663 w 85069"/>
                <a:gd name="connsiteY173" fmla="*/ 63185 h 85228"/>
                <a:gd name="connsiteX174" fmla="*/ 18251 w 85069"/>
                <a:gd name="connsiteY174" fmla="*/ 62733 h 85228"/>
                <a:gd name="connsiteX175" fmla="*/ 16150 w 85069"/>
                <a:gd name="connsiteY175" fmla="*/ 61797 h 85228"/>
                <a:gd name="connsiteX176" fmla="*/ 14476 w 85069"/>
                <a:gd name="connsiteY176" fmla="*/ 60482 h 85228"/>
                <a:gd name="connsiteX177" fmla="*/ 18408 w 85069"/>
                <a:gd name="connsiteY177" fmla="*/ 60056 h 85228"/>
                <a:gd name="connsiteX178" fmla="*/ 17864 w 85069"/>
                <a:gd name="connsiteY178" fmla="*/ 59375 h 85228"/>
                <a:gd name="connsiteX179" fmla="*/ 17346 w 85069"/>
                <a:gd name="connsiteY179" fmla="*/ 58213 h 85228"/>
                <a:gd name="connsiteX180" fmla="*/ 13196 w 85069"/>
                <a:gd name="connsiteY180" fmla="*/ 54156 h 85228"/>
                <a:gd name="connsiteX181" fmla="*/ 13904 w 85069"/>
                <a:gd name="connsiteY181" fmla="*/ 53057 h 85228"/>
                <a:gd name="connsiteX182" fmla="*/ 14947 w 85069"/>
                <a:gd name="connsiteY182" fmla="*/ 50697 h 85228"/>
                <a:gd name="connsiteX183" fmla="*/ 16247 w 85069"/>
                <a:gd name="connsiteY183" fmla="*/ 48735 h 85228"/>
                <a:gd name="connsiteX184" fmla="*/ 17283 w 85069"/>
                <a:gd name="connsiteY184" fmla="*/ 48209 h 85228"/>
                <a:gd name="connsiteX185" fmla="*/ 18987 w 85069"/>
                <a:gd name="connsiteY185" fmla="*/ 46816 h 85228"/>
                <a:gd name="connsiteX186" fmla="*/ 22691 w 85069"/>
                <a:gd name="connsiteY186" fmla="*/ 42733 h 85228"/>
                <a:gd name="connsiteX187" fmla="*/ 25046 w 85069"/>
                <a:gd name="connsiteY187" fmla="*/ 39401 h 85228"/>
                <a:gd name="connsiteX188" fmla="*/ 26800 w 85069"/>
                <a:gd name="connsiteY188" fmla="*/ 35438 h 85228"/>
                <a:gd name="connsiteX189" fmla="*/ 29369 w 85069"/>
                <a:gd name="connsiteY189" fmla="*/ 24495 h 85228"/>
                <a:gd name="connsiteX190" fmla="*/ 30130 w 85069"/>
                <a:gd name="connsiteY190" fmla="*/ 22631 h 85228"/>
                <a:gd name="connsiteX191" fmla="*/ 31369 w 85069"/>
                <a:gd name="connsiteY191" fmla="*/ 20562 h 85228"/>
                <a:gd name="connsiteX192" fmla="*/ 32924 w 85069"/>
                <a:gd name="connsiteY192" fmla="*/ 20952 h 85228"/>
                <a:gd name="connsiteX193" fmla="*/ 34006 w 85069"/>
                <a:gd name="connsiteY193" fmla="*/ 21548 h 85228"/>
                <a:gd name="connsiteX194" fmla="*/ 37837 w 85069"/>
                <a:gd name="connsiteY194" fmla="*/ 19984 h 85228"/>
                <a:gd name="connsiteX195" fmla="*/ 44408 w 85069"/>
                <a:gd name="connsiteY195" fmla="*/ 15914 h 85228"/>
                <a:gd name="connsiteX196" fmla="*/ 46344 w 85069"/>
                <a:gd name="connsiteY196" fmla="*/ 12387 h 85228"/>
                <a:gd name="connsiteX197" fmla="*/ 48247 w 85069"/>
                <a:gd name="connsiteY197" fmla="*/ 10746 h 85228"/>
                <a:gd name="connsiteX198" fmla="*/ 55798 w 85069"/>
                <a:gd name="connsiteY198" fmla="*/ 7544 h 85228"/>
                <a:gd name="connsiteX199" fmla="*/ 59970 w 85069"/>
                <a:gd name="connsiteY199" fmla="*/ 6584 h 85228"/>
                <a:gd name="connsiteX200" fmla="*/ 66405 w 85069"/>
                <a:gd name="connsiteY200" fmla="*/ 6337 h 85228"/>
                <a:gd name="connsiteX201" fmla="*/ 71056 w 85069"/>
                <a:gd name="connsiteY201" fmla="*/ 5765 h 85228"/>
                <a:gd name="connsiteX202" fmla="*/ 48808 w 85069"/>
                <a:gd name="connsiteY202" fmla="*/ 5486 h 85228"/>
                <a:gd name="connsiteX203" fmla="*/ 49365 w 85069"/>
                <a:gd name="connsiteY203" fmla="*/ 5650 h 85228"/>
                <a:gd name="connsiteX204" fmla="*/ 43686 w 85069"/>
                <a:gd name="connsiteY204" fmla="*/ 7226 h 85228"/>
                <a:gd name="connsiteX205" fmla="*/ 41626 w 85069"/>
                <a:gd name="connsiteY205" fmla="*/ 7466 h 85228"/>
                <a:gd name="connsiteX206" fmla="*/ 40689 w 85069"/>
                <a:gd name="connsiteY206" fmla="*/ 7044 h 85228"/>
                <a:gd name="connsiteX207" fmla="*/ 45662 w 85069"/>
                <a:gd name="connsiteY207" fmla="*/ 5850 h 85228"/>
                <a:gd name="connsiteX208" fmla="*/ 55859 w 85069"/>
                <a:gd name="connsiteY208" fmla="*/ 4536 h 85228"/>
                <a:gd name="connsiteX209" fmla="*/ 57008 w 85069"/>
                <a:gd name="connsiteY209" fmla="*/ 4840 h 85228"/>
                <a:gd name="connsiteX210" fmla="*/ 57031 w 85069"/>
                <a:gd name="connsiteY210" fmla="*/ 5026 h 85228"/>
                <a:gd name="connsiteX211" fmla="*/ 52669 w 85069"/>
                <a:gd name="connsiteY211" fmla="*/ 5514 h 85228"/>
                <a:gd name="connsiteX212" fmla="*/ 51194 w 85069"/>
                <a:gd name="connsiteY212" fmla="*/ 5145 h 85228"/>
                <a:gd name="connsiteX213" fmla="*/ 50951 w 85069"/>
                <a:gd name="connsiteY213" fmla="*/ 4795 h 85228"/>
                <a:gd name="connsiteX214" fmla="*/ 52140 w 85069"/>
                <a:gd name="connsiteY214" fmla="*/ 4587 h 85228"/>
                <a:gd name="connsiteX215" fmla="*/ 65028 w 85069"/>
                <a:gd name="connsiteY215" fmla="*/ 3334 h 85228"/>
                <a:gd name="connsiteX216" fmla="*/ 65967 w 85069"/>
                <a:gd name="connsiteY216" fmla="*/ 3462 h 85228"/>
                <a:gd name="connsiteX217" fmla="*/ 62868 w 85069"/>
                <a:gd name="connsiteY217" fmla="*/ 4484 h 85228"/>
                <a:gd name="connsiteX218" fmla="*/ 62117 w 85069"/>
                <a:gd name="connsiteY218" fmla="*/ 4270 h 85228"/>
                <a:gd name="connsiteX219" fmla="*/ 62302 w 85069"/>
                <a:gd name="connsiteY219" fmla="*/ 3974 h 85228"/>
                <a:gd name="connsiteX220" fmla="*/ 75280 w 85069"/>
                <a:gd name="connsiteY220" fmla="*/ 0 h 85228"/>
                <a:gd name="connsiteX221" fmla="*/ 76304 w 85069"/>
                <a:gd name="connsiteY221" fmla="*/ 0 h 85228"/>
                <a:gd name="connsiteX222" fmla="*/ 74842 w 85069"/>
                <a:gd name="connsiteY222" fmla="*/ 1297 h 85228"/>
                <a:gd name="connsiteX223" fmla="*/ 72793 w 85069"/>
                <a:gd name="connsiteY223" fmla="*/ 1397 h 85228"/>
                <a:gd name="connsiteX224" fmla="*/ 73378 w 85069"/>
                <a:gd name="connsiteY224" fmla="*/ 599 h 852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</a:cxnLst>
              <a:rect l="l" t="t" r="r" b="b"/>
              <a:pathLst>
                <a:path w="85069" h="85228">
                  <a:moveTo>
                    <a:pt x="5293" y="66254"/>
                  </a:moveTo>
                  <a:lnTo>
                    <a:pt x="8102" y="67143"/>
                  </a:lnTo>
                  <a:lnTo>
                    <a:pt x="11792" y="67572"/>
                  </a:lnTo>
                  <a:lnTo>
                    <a:pt x="14614" y="66356"/>
                  </a:lnTo>
                  <a:lnTo>
                    <a:pt x="16836" y="67392"/>
                  </a:lnTo>
                  <a:lnTo>
                    <a:pt x="19372" y="66634"/>
                  </a:lnTo>
                  <a:lnTo>
                    <a:pt x="19046" y="67741"/>
                  </a:lnTo>
                  <a:lnTo>
                    <a:pt x="18186" y="68963"/>
                  </a:lnTo>
                  <a:lnTo>
                    <a:pt x="15256" y="70722"/>
                  </a:lnTo>
                  <a:lnTo>
                    <a:pt x="12205" y="71876"/>
                  </a:lnTo>
                  <a:lnTo>
                    <a:pt x="10628" y="71732"/>
                  </a:lnTo>
                  <a:lnTo>
                    <a:pt x="9548" y="71128"/>
                  </a:lnTo>
                  <a:lnTo>
                    <a:pt x="8968" y="70494"/>
                  </a:lnTo>
                  <a:lnTo>
                    <a:pt x="7335" y="69883"/>
                  </a:lnTo>
                  <a:lnTo>
                    <a:pt x="5089" y="69576"/>
                  </a:lnTo>
                  <a:lnTo>
                    <a:pt x="3692" y="70237"/>
                  </a:lnTo>
                  <a:lnTo>
                    <a:pt x="2695" y="70863"/>
                  </a:lnTo>
                  <a:lnTo>
                    <a:pt x="1822" y="70760"/>
                  </a:lnTo>
                  <a:lnTo>
                    <a:pt x="1166" y="70237"/>
                  </a:lnTo>
                  <a:lnTo>
                    <a:pt x="663" y="69431"/>
                  </a:lnTo>
                  <a:lnTo>
                    <a:pt x="0" y="66892"/>
                  </a:lnTo>
                  <a:lnTo>
                    <a:pt x="1673" y="66428"/>
                  </a:lnTo>
                  <a:close/>
                  <a:moveTo>
                    <a:pt x="9706" y="56047"/>
                  </a:moveTo>
                  <a:lnTo>
                    <a:pt x="13246" y="56253"/>
                  </a:lnTo>
                  <a:lnTo>
                    <a:pt x="15405" y="57860"/>
                  </a:lnTo>
                  <a:lnTo>
                    <a:pt x="15865" y="58373"/>
                  </a:lnTo>
                  <a:lnTo>
                    <a:pt x="16031" y="58924"/>
                  </a:lnTo>
                  <a:lnTo>
                    <a:pt x="13287" y="59563"/>
                  </a:lnTo>
                  <a:lnTo>
                    <a:pt x="10369" y="57592"/>
                  </a:lnTo>
                  <a:lnTo>
                    <a:pt x="8441" y="58057"/>
                  </a:lnTo>
                  <a:lnTo>
                    <a:pt x="7715" y="57123"/>
                  </a:lnTo>
                  <a:lnTo>
                    <a:pt x="7704" y="56540"/>
                  </a:lnTo>
                  <a:close/>
                  <a:moveTo>
                    <a:pt x="33971" y="13310"/>
                  </a:moveTo>
                  <a:lnTo>
                    <a:pt x="33965" y="16687"/>
                  </a:lnTo>
                  <a:lnTo>
                    <a:pt x="31775" y="18811"/>
                  </a:lnTo>
                  <a:lnTo>
                    <a:pt x="30441" y="18218"/>
                  </a:lnTo>
                  <a:lnTo>
                    <a:pt x="30052" y="17726"/>
                  </a:lnTo>
                  <a:lnTo>
                    <a:pt x="30730" y="16070"/>
                  </a:lnTo>
                  <a:close/>
                  <a:moveTo>
                    <a:pt x="37081" y="9498"/>
                  </a:moveTo>
                  <a:lnTo>
                    <a:pt x="38884" y="9564"/>
                  </a:lnTo>
                  <a:lnTo>
                    <a:pt x="34796" y="11771"/>
                  </a:lnTo>
                  <a:lnTo>
                    <a:pt x="34446" y="11420"/>
                  </a:lnTo>
                  <a:close/>
                  <a:moveTo>
                    <a:pt x="76643" y="5558"/>
                  </a:moveTo>
                  <a:lnTo>
                    <a:pt x="78770" y="7538"/>
                  </a:lnTo>
                  <a:lnTo>
                    <a:pt x="80003" y="8984"/>
                  </a:lnTo>
                  <a:lnTo>
                    <a:pt x="81989" y="9787"/>
                  </a:lnTo>
                  <a:lnTo>
                    <a:pt x="85069" y="10338"/>
                  </a:lnTo>
                  <a:lnTo>
                    <a:pt x="84885" y="13193"/>
                  </a:lnTo>
                  <a:lnTo>
                    <a:pt x="84907" y="18820"/>
                  </a:lnTo>
                  <a:lnTo>
                    <a:pt x="84676" y="19817"/>
                  </a:lnTo>
                  <a:lnTo>
                    <a:pt x="83296" y="22186"/>
                  </a:lnTo>
                  <a:lnTo>
                    <a:pt x="81832" y="26435"/>
                  </a:lnTo>
                  <a:lnTo>
                    <a:pt x="81437" y="29222"/>
                  </a:lnTo>
                  <a:lnTo>
                    <a:pt x="80998" y="29753"/>
                  </a:lnTo>
                  <a:lnTo>
                    <a:pt x="75144" y="29737"/>
                  </a:lnTo>
                  <a:lnTo>
                    <a:pt x="74311" y="30220"/>
                  </a:lnTo>
                  <a:lnTo>
                    <a:pt x="74192" y="30822"/>
                  </a:lnTo>
                  <a:lnTo>
                    <a:pt x="74488" y="31539"/>
                  </a:lnTo>
                  <a:lnTo>
                    <a:pt x="74347" y="32252"/>
                  </a:lnTo>
                  <a:lnTo>
                    <a:pt x="73888" y="32832"/>
                  </a:lnTo>
                  <a:lnTo>
                    <a:pt x="74138" y="33753"/>
                  </a:lnTo>
                  <a:lnTo>
                    <a:pt x="75153" y="34800"/>
                  </a:lnTo>
                  <a:lnTo>
                    <a:pt x="77003" y="35447"/>
                  </a:lnTo>
                  <a:lnTo>
                    <a:pt x="78984" y="35506"/>
                  </a:lnTo>
                  <a:lnTo>
                    <a:pt x="80003" y="35393"/>
                  </a:lnTo>
                  <a:lnTo>
                    <a:pt x="80748" y="36139"/>
                  </a:lnTo>
                  <a:lnTo>
                    <a:pt x="81484" y="37291"/>
                  </a:lnTo>
                  <a:lnTo>
                    <a:pt x="81428" y="38738"/>
                  </a:lnTo>
                  <a:lnTo>
                    <a:pt x="81141" y="40682"/>
                  </a:lnTo>
                  <a:lnTo>
                    <a:pt x="80203" y="42476"/>
                  </a:lnTo>
                  <a:lnTo>
                    <a:pt x="77502" y="44542"/>
                  </a:lnTo>
                  <a:lnTo>
                    <a:pt x="76293" y="45270"/>
                  </a:lnTo>
                  <a:lnTo>
                    <a:pt x="75157" y="45641"/>
                  </a:lnTo>
                  <a:lnTo>
                    <a:pt x="74615" y="46187"/>
                  </a:lnTo>
                  <a:lnTo>
                    <a:pt x="74360" y="46878"/>
                  </a:lnTo>
                  <a:lnTo>
                    <a:pt x="74419" y="47491"/>
                  </a:lnTo>
                  <a:lnTo>
                    <a:pt x="76338" y="49147"/>
                  </a:lnTo>
                  <a:lnTo>
                    <a:pt x="76293" y="49525"/>
                  </a:lnTo>
                  <a:lnTo>
                    <a:pt x="75736" y="50385"/>
                  </a:lnTo>
                  <a:lnTo>
                    <a:pt x="74997" y="51194"/>
                  </a:lnTo>
                  <a:lnTo>
                    <a:pt x="70039" y="52876"/>
                  </a:lnTo>
                  <a:lnTo>
                    <a:pt x="67992" y="52744"/>
                  </a:lnTo>
                  <a:lnTo>
                    <a:pt x="66824" y="53581"/>
                  </a:lnTo>
                  <a:lnTo>
                    <a:pt x="66459" y="53740"/>
                  </a:lnTo>
                  <a:lnTo>
                    <a:pt x="65164" y="52971"/>
                  </a:lnTo>
                  <a:lnTo>
                    <a:pt x="62276" y="52084"/>
                  </a:lnTo>
                  <a:lnTo>
                    <a:pt x="61186" y="52390"/>
                  </a:lnTo>
                  <a:lnTo>
                    <a:pt x="60581" y="52876"/>
                  </a:lnTo>
                  <a:lnTo>
                    <a:pt x="58763" y="53465"/>
                  </a:lnTo>
                  <a:lnTo>
                    <a:pt x="57461" y="54388"/>
                  </a:lnTo>
                  <a:lnTo>
                    <a:pt x="57457" y="55576"/>
                  </a:lnTo>
                  <a:lnTo>
                    <a:pt x="59761" y="58645"/>
                  </a:lnTo>
                  <a:lnTo>
                    <a:pt x="60571" y="59247"/>
                  </a:lnTo>
                  <a:lnTo>
                    <a:pt x="60609" y="60391"/>
                  </a:lnTo>
                  <a:lnTo>
                    <a:pt x="61726" y="61827"/>
                  </a:lnTo>
                  <a:lnTo>
                    <a:pt x="62868" y="63626"/>
                  </a:lnTo>
                  <a:lnTo>
                    <a:pt x="62991" y="64769"/>
                  </a:lnTo>
                  <a:lnTo>
                    <a:pt x="62860" y="65926"/>
                  </a:lnTo>
                  <a:lnTo>
                    <a:pt x="62270" y="67562"/>
                  </a:lnTo>
                  <a:lnTo>
                    <a:pt x="60273" y="71394"/>
                  </a:lnTo>
                  <a:lnTo>
                    <a:pt x="60249" y="72129"/>
                  </a:lnTo>
                  <a:lnTo>
                    <a:pt x="60417" y="72687"/>
                  </a:lnTo>
                  <a:lnTo>
                    <a:pt x="61102" y="72841"/>
                  </a:lnTo>
                  <a:lnTo>
                    <a:pt x="61622" y="73130"/>
                  </a:lnTo>
                  <a:lnTo>
                    <a:pt x="61469" y="73640"/>
                  </a:lnTo>
                  <a:lnTo>
                    <a:pt x="57733" y="76293"/>
                  </a:lnTo>
                  <a:lnTo>
                    <a:pt x="57251" y="76757"/>
                  </a:lnTo>
                  <a:lnTo>
                    <a:pt x="55684" y="76626"/>
                  </a:lnTo>
                  <a:lnTo>
                    <a:pt x="55444" y="77069"/>
                  </a:lnTo>
                  <a:lnTo>
                    <a:pt x="55658" y="77784"/>
                  </a:lnTo>
                  <a:lnTo>
                    <a:pt x="56267" y="78410"/>
                  </a:lnTo>
                  <a:lnTo>
                    <a:pt x="57601" y="78740"/>
                  </a:lnTo>
                  <a:lnTo>
                    <a:pt x="58746" y="79411"/>
                  </a:lnTo>
                  <a:lnTo>
                    <a:pt x="59666" y="80726"/>
                  </a:lnTo>
                  <a:lnTo>
                    <a:pt x="58461" y="85228"/>
                  </a:lnTo>
                  <a:lnTo>
                    <a:pt x="54114" y="85109"/>
                  </a:lnTo>
                  <a:lnTo>
                    <a:pt x="53002" y="84963"/>
                  </a:lnTo>
                  <a:lnTo>
                    <a:pt x="51821" y="84523"/>
                  </a:lnTo>
                  <a:lnTo>
                    <a:pt x="51818" y="84520"/>
                  </a:lnTo>
                  <a:lnTo>
                    <a:pt x="51278" y="83611"/>
                  </a:lnTo>
                  <a:lnTo>
                    <a:pt x="50622" y="82514"/>
                  </a:lnTo>
                  <a:lnTo>
                    <a:pt x="50801" y="81842"/>
                  </a:lnTo>
                  <a:lnTo>
                    <a:pt x="52771" y="79931"/>
                  </a:lnTo>
                  <a:lnTo>
                    <a:pt x="53067" y="79403"/>
                  </a:lnTo>
                  <a:lnTo>
                    <a:pt x="52864" y="79120"/>
                  </a:lnTo>
                  <a:lnTo>
                    <a:pt x="53062" y="78278"/>
                  </a:lnTo>
                  <a:lnTo>
                    <a:pt x="54576" y="75424"/>
                  </a:lnTo>
                  <a:lnTo>
                    <a:pt x="54772" y="74277"/>
                  </a:lnTo>
                  <a:lnTo>
                    <a:pt x="54095" y="73474"/>
                  </a:lnTo>
                  <a:lnTo>
                    <a:pt x="53118" y="72994"/>
                  </a:lnTo>
                  <a:lnTo>
                    <a:pt x="49944" y="72146"/>
                  </a:lnTo>
                  <a:lnTo>
                    <a:pt x="48433" y="70949"/>
                  </a:lnTo>
                  <a:lnTo>
                    <a:pt x="47733" y="69903"/>
                  </a:lnTo>
                  <a:lnTo>
                    <a:pt x="47027" y="69609"/>
                  </a:lnTo>
                  <a:lnTo>
                    <a:pt x="45986" y="69962"/>
                  </a:lnTo>
                  <a:lnTo>
                    <a:pt x="43356" y="70351"/>
                  </a:lnTo>
                  <a:lnTo>
                    <a:pt x="41218" y="69787"/>
                  </a:lnTo>
                  <a:lnTo>
                    <a:pt x="38692" y="67807"/>
                  </a:lnTo>
                  <a:lnTo>
                    <a:pt x="38106" y="66036"/>
                  </a:lnTo>
                  <a:lnTo>
                    <a:pt x="37798" y="64677"/>
                  </a:lnTo>
                  <a:lnTo>
                    <a:pt x="37167" y="64208"/>
                  </a:lnTo>
                  <a:lnTo>
                    <a:pt x="36319" y="64905"/>
                  </a:lnTo>
                  <a:lnTo>
                    <a:pt x="35243" y="66009"/>
                  </a:lnTo>
                  <a:lnTo>
                    <a:pt x="33123" y="66141"/>
                  </a:lnTo>
                  <a:lnTo>
                    <a:pt x="32518" y="65883"/>
                  </a:lnTo>
                  <a:lnTo>
                    <a:pt x="32414" y="65274"/>
                  </a:lnTo>
                  <a:lnTo>
                    <a:pt x="32293" y="64689"/>
                  </a:lnTo>
                  <a:lnTo>
                    <a:pt x="31710" y="63964"/>
                  </a:lnTo>
                  <a:lnTo>
                    <a:pt x="31080" y="63561"/>
                  </a:lnTo>
                  <a:lnTo>
                    <a:pt x="28389" y="65599"/>
                  </a:lnTo>
                  <a:lnTo>
                    <a:pt x="27389" y="65594"/>
                  </a:lnTo>
                  <a:lnTo>
                    <a:pt x="26126" y="64811"/>
                  </a:lnTo>
                  <a:lnTo>
                    <a:pt x="25502" y="64043"/>
                  </a:lnTo>
                  <a:lnTo>
                    <a:pt x="24120" y="64481"/>
                  </a:lnTo>
                  <a:lnTo>
                    <a:pt x="22878" y="65427"/>
                  </a:lnTo>
                  <a:lnTo>
                    <a:pt x="23304" y="67203"/>
                  </a:lnTo>
                  <a:lnTo>
                    <a:pt x="22634" y="67528"/>
                  </a:lnTo>
                  <a:lnTo>
                    <a:pt x="21104" y="67366"/>
                  </a:lnTo>
                  <a:lnTo>
                    <a:pt x="19372" y="66634"/>
                  </a:lnTo>
                  <a:lnTo>
                    <a:pt x="17441" y="66193"/>
                  </a:lnTo>
                  <a:lnTo>
                    <a:pt x="14515" y="64968"/>
                  </a:lnTo>
                  <a:lnTo>
                    <a:pt x="10432" y="65962"/>
                  </a:lnTo>
                  <a:lnTo>
                    <a:pt x="7594" y="64772"/>
                  </a:lnTo>
                  <a:lnTo>
                    <a:pt x="5236" y="64654"/>
                  </a:lnTo>
                  <a:lnTo>
                    <a:pt x="3768" y="63706"/>
                  </a:lnTo>
                  <a:lnTo>
                    <a:pt x="2185" y="62102"/>
                  </a:lnTo>
                  <a:lnTo>
                    <a:pt x="3306" y="61046"/>
                  </a:lnTo>
                  <a:lnTo>
                    <a:pt x="4390" y="60680"/>
                  </a:lnTo>
                  <a:lnTo>
                    <a:pt x="8709" y="60476"/>
                  </a:lnTo>
                  <a:lnTo>
                    <a:pt x="11850" y="61118"/>
                  </a:lnTo>
                  <a:lnTo>
                    <a:pt x="17495" y="64600"/>
                  </a:lnTo>
                  <a:lnTo>
                    <a:pt x="18920" y="64573"/>
                  </a:lnTo>
                  <a:lnTo>
                    <a:pt x="20432" y="64134"/>
                  </a:lnTo>
                  <a:lnTo>
                    <a:pt x="19663" y="63185"/>
                  </a:lnTo>
                  <a:lnTo>
                    <a:pt x="18251" y="62733"/>
                  </a:lnTo>
                  <a:lnTo>
                    <a:pt x="16150" y="61797"/>
                  </a:lnTo>
                  <a:lnTo>
                    <a:pt x="14476" y="60482"/>
                  </a:lnTo>
                  <a:lnTo>
                    <a:pt x="18408" y="60056"/>
                  </a:lnTo>
                  <a:lnTo>
                    <a:pt x="17864" y="59375"/>
                  </a:lnTo>
                  <a:lnTo>
                    <a:pt x="17346" y="58213"/>
                  </a:lnTo>
                  <a:lnTo>
                    <a:pt x="13196" y="54156"/>
                  </a:lnTo>
                  <a:lnTo>
                    <a:pt x="13904" y="53057"/>
                  </a:lnTo>
                  <a:lnTo>
                    <a:pt x="14947" y="50697"/>
                  </a:lnTo>
                  <a:lnTo>
                    <a:pt x="16247" y="48735"/>
                  </a:lnTo>
                  <a:lnTo>
                    <a:pt x="17283" y="48209"/>
                  </a:lnTo>
                  <a:lnTo>
                    <a:pt x="18987" y="46816"/>
                  </a:lnTo>
                  <a:lnTo>
                    <a:pt x="22691" y="42733"/>
                  </a:lnTo>
                  <a:lnTo>
                    <a:pt x="25046" y="39401"/>
                  </a:lnTo>
                  <a:lnTo>
                    <a:pt x="26800" y="35438"/>
                  </a:lnTo>
                  <a:lnTo>
                    <a:pt x="29369" y="24495"/>
                  </a:lnTo>
                  <a:lnTo>
                    <a:pt x="30130" y="22631"/>
                  </a:lnTo>
                  <a:lnTo>
                    <a:pt x="31369" y="20562"/>
                  </a:lnTo>
                  <a:lnTo>
                    <a:pt x="32924" y="20952"/>
                  </a:lnTo>
                  <a:lnTo>
                    <a:pt x="34006" y="21548"/>
                  </a:lnTo>
                  <a:lnTo>
                    <a:pt x="37837" y="19984"/>
                  </a:lnTo>
                  <a:lnTo>
                    <a:pt x="44408" y="15914"/>
                  </a:lnTo>
                  <a:lnTo>
                    <a:pt x="46344" y="12387"/>
                  </a:lnTo>
                  <a:lnTo>
                    <a:pt x="48247" y="10746"/>
                  </a:lnTo>
                  <a:lnTo>
                    <a:pt x="55798" y="7544"/>
                  </a:lnTo>
                  <a:lnTo>
                    <a:pt x="59970" y="6584"/>
                  </a:lnTo>
                  <a:lnTo>
                    <a:pt x="66405" y="6337"/>
                  </a:lnTo>
                  <a:lnTo>
                    <a:pt x="71056" y="5765"/>
                  </a:lnTo>
                  <a:close/>
                  <a:moveTo>
                    <a:pt x="48808" y="5486"/>
                  </a:moveTo>
                  <a:lnTo>
                    <a:pt x="49365" y="5650"/>
                  </a:lnTo>
                  <a:lnTo>
                    <a:pt x="43686" y="7226"/>
                  </a:lnTo>
                  <a:lnTo>
                    <a:pt x="41626" y="7466"/>
                  </a:lnTo>
                  <a:lnTo>
                    <a:pt x="40689" y="7044"/>
                  </a:lnTo>
                  <a:lnTo>
                    <a:pt x="45662" y="5850"/>
                  </a:lnTo>
                  <a:close/>
                  <a:moveTo>
                    <a:pt x="55859" y="4536"/>
                  </a:moveTo>
                  <a:lnTo>
                    <a:pt x="57008" y="4840"/>
                  </a:lnTo>
                  <a:lnTo>
                    <a:pt x="57031" y="5026"/>
                  </a:lnTo>
                  <a:lnTo>
                    <a:pt x="52669" y="5514"/>
                  </a:lnTo>
                  <a:lnTo>
                    <a:pt x="51194" y="5145"/>
                  </a:lnTo>
                  <a:lnTo>
                    <a:pt x="50951" y="4795"/>
                  </a:lnTo>
                  <a:lnTo>
                    <a:pt x="52140" y="4587"/>
                  </a:lnTo>
                  <a:close/>
                  <a:moveTo>
                    <a:pt x="65028" y="3334"/>
                  </a:moveTo>
                  <a:lnTo>
                    <a:pt x="65967" y="3462"/>
                  </a:lnTo>
                  <a:lnTo>
                    <a:pt x="62868" y="4484"/>
                  </a:lnTo>
                  <a:lnTo>
                    <a:pt x="62117" y="4270"/>
                  </a:lnTo>
                  <a:lnTo>
                    <a:pt x="62302" y="3974"/>
                  </a:lnTo>
                  <a:close/>
                  <a:moveTo>
                    <a:pt x="75280" y="0"/>
                  </a:moveTo>
                  <a:lnTo>
                    <a:pt x="76304" y="0"/>
                  </a:lnTo>
                  <a:lnTo>
                    <a:pt x="74842" y="1297"/>
                  </a:lnTo>
                  <a:lnTo>
                    <a:pt x="72793" y="1397"/>
                  </a:lnTo>
                  <a:lnTo>
                    <a:pt x="73378" y="599"/>
                  </a:lnTo>
                  <a:close/>
                </a:path>
              </a:pathLst>
            </a:custGeom>
            <a:solidFill>
              <a:srgbClr val="A3BA1E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69" name="ee4p_NO_1_82333">
              <a:extLst>
                <a:ext uri="{FF2B5EF4-FFF2-40B4-BE49-F238E27FC236}">
                  <a16:creationId xmlns:a16="http://schemas.microsoft.com/office/drawing/2014/main" id="{6FA6D03D-6312-AEA8-1FB4-D9A8B0A00F7C}"/>
                </a:ext>
              </a:extLst>
            </p:cNvPr>
            <p:cNvSpPr>
              <a:spLocks noChangeAspect="1"/>
            </p:cNvSpPr>
            <p:nvPr>
              <p:custDataLst>
                <p:tags r:id="rId97"/>
              </p:custDataLst>
            </p:nvPr>
          </p:nvSpPr>
          <p:spPr>
            <a:xfrm>
              <a:off x="6647966" y="2195778"/>
              <a:ext cx="726490" cy="607024"/>
            </a:xfrm>
            <a:custGeom>
              <a:avLst/>
              <a:gdLst>
                <a:gd name="connsiteX0" fmla="*/ 4236 w 578488"/>
                <a:gd name="connsiteY0" fmla="*/ 391131 h 470547"/>
                <a:gd name="connsiteX1" fmla="*/ 5553 w 578488"/>
                <a:gd name="connsiteY1" fmla="*/ 393229 h 470547"/>
                <a:gd name="connsiteX2" fmla="*/ 6342 w 578488"/>
                <a:gd name="connsiteY2" fmla="*/ 395934 h 470547"/>
                <a:gd name="connsiteX3" fmla="*/ 6413 w 578488"/>
                <a:gd name="connsiteY3" fmla="*/ 399875 h 470547"/>
                <a:gd name="connsiteX4" fmla="*/ 4376 w 578488"/>
                <a:gd name="connsiteY4" fmla="*/ 399577 h 470547"/>
                <a:gd name="connsiteX5" fmla="*/ 3461 w 578488"/>
                <a:gd name="connsiteY5" fmla="*/ 398066 h 470547"/>
                <a:gd name="connsiteX6" fmla="*/ 3196 w 578488"/>
                <a:gd name="connsiteY6" fmla="*/ 397101 h 470547"/>
                <a:gd name="connsiteX7" fmla="*/ 3355 w 578488"/>
                <a:gd name="connsiteY7" fmla="*/ 394818 h 470547"/>
                <a:gd name="connsiteX8" fmla="*/ 2897 w 578488"/>
                <a:gd name="connsiteY8" fmla="*/ 392461 h 470547"/>
                <a:gd name="connsiteX9" fmla="*/ 3498 w 578488"/>
                <a:gd name="connsiteY9" fmla="*/ 391290 h 470547"/>
                <a:gd name="connsiteX10" fmla="*/ 2573 w 578488"/>
                <a:gd name="connsiteY10" fmla="*/ 366113 h 470547"/>
                <a:gd name="connsiteX11" fmla="*/ 3852 w 578488"/>
                <a:gd name="connsiteY11" fmla="*/ 367834 h 470547"/>
                <a:gd name="connsiteX12" fmla="*/ 3530 w 578488"/>
                <a:gd name="connsiteY12" fmla="*/ 369975 h 470547"/>
                <a:gd name="connsiteX13" fmla="*/ 1572 w 578488"/>
                <a:gd name="connsiteY13" fmla="*/ 370400 h 470547"/>
                <a:gd name="connsiteX14" fmla="*/ 0 w 578488"/>
                <a:gd name="connsiteY14" fmla="*/ 370038 h 470547"/>
                <a:gd name="connsiteX15" fmla="*/ 561 w 578488"/>
                <a:gd name="connsiteY15" fmla="*/ 366825 h 470547"/>
                <a:gd name="connsiteX16" fmla="*/ 1384 w 578488"/>
                <a:gd name="connsiteY16" fmla="*/ 366299 h 470547"/>
                <a:gd name="connsiteX17" fmla="*/ 72406 w 578488"/>
                <a:gd name="connsiteY17" fmla="*/ 288176 h 470547"/>
                <a:gd name="connsiteX18" fmla="*/ 73790 w 578488"/>
                <a:gd name="connsiteY18" fmla="*/ 289555 h 470547"/>
                <a:gd name="connsiteX19" fmla="*/ 73896 w 578488"/>
                <a:gd name="connsiteY19" fmla="*/ 291823 h 470547"/>
                <a:gd name="connsiteX20" fmla="*/ 73052 w 578488"/>
                <a:gd name="connsiteY20" fmla="*/ 292828 h 470547"/>
                <a:gd name="connsiteX21" fmla="*/ 70884 w 578488"/>
                <a:gd name="connsiteY21" fmla="*/ 292852 h 470547"/>
                <a:gd name="connsiteX22" fmla="*/ 68309 w 578488"/>
                <a:gd name="connsiteY22" fmla="*/ 292314 h 470547"/>
                <a:gd name="connsiteX23" fmla="*/ 66697 w 578488"/>
                <a:gd name="connsiteY23" fmla="*/ 291172 h 470547"/>
                <a:gd name="connsiteX24" fmla="*/ 66446 w 578488"/>
                <a:gd name="connsiteY24" fmla="*/ 290164 h 470547"/>
                <a:gd name="connsiteX25" fmla="*/ 69417 w 578488"/>
                <a:gd name="connsiteY25" fmla="*/ 288910 h 470547"/>
                <a:gd name="connsiteX26" fmla="*/ 87688 w 578488"/>
                <a:gd name="connsiteY26" fmla="*/ 276468 h 470547"/>
                <a:gd name="connsiteX27" fmla="*/ 88672 w 578488"/>
                <a:gd name="connsiteY27" fmla="*/ 277636 h 470547"/>
                <a:gd name="connsiteX28" fmla="*/ 88798 w 578488"/>
                <a:gd name="connsiteY28" fmla="*/ 279233 h 470547"/>
                <a:gd name="connsiteX29" fmla="*/ 88172 w 578488"/>
                <a:gd name="connsiteY29" fmla="*/ 280023 h 470547"/>
                <a:gd name="connsiteX30" fmla="*/ 81190 w 578488"/>
                <a:gd name="connsiteY30" fmla="*/ 281299 h 470547"/>
                <a:gd name="connsiteX31" fmla="*/ 78655 w 578488"/>
                <a:gd name="connsiteY31" fmla="*/ 281381 h 470547"/>
                <a:gd name="connsiteX32" fmla="*/ 77129 w 578488"/>
                <a:gd name="connsiteY32" fmla="*/ 280596 h 470547"/>
                <a:gd name="connsiteX33" fmla="*/ 80758 w 578488"/>
                <a:gd name="connsiteY33" fmla="*/ 279027 h 470547"/>
                <a:gd name="connsiteX34" fmla="*/ 86455 w 578488"/>
                <a:gd name="connsiteY34" fmla="*/ 277535 h 470547"/>
                <a:gd name="connsiteX35" fmla="*/ 86997 w 578488"/>
                <a:gd name="connsiteY35" fmla="*/ 276585 h 470547"/>
                <a:gd name="connsiteX36" fmla="*/ 137580 w 578488"/>
                <a:gd name="connsiteY36" fmla="*/ 234750 h 470547"/>
                <a:gd name="connsiteX37" fmla="*/ 140049 w 578488"/>
                <a:gd name="connsiteY37" fmla="*/ 234842 h 470547"/>
                <a:gd name="connsiteX38" fmla="*/ 142560 w 578488"/>
                <a:gd name="connsiteY38" fmla="*/ 237291 h 470547"/>
                <a:gd name="connsiteX39" fmla="*/ 142234 w 578488"/>
                <a:gd name="connsiteY39" fmla="*/ 238798 h 470547"/>
                <a:gd name="connsiteX40" fmla="*/ 141074 w 578488"/>
                <a:gd name="connsiteY40" fmla="*/ 239795 h 470547"/>
                <a:gd name="connsiteX41" fmla="*/ 138498 w 578488"/>
                <a:gd name="connsiteY41" fmla="*/ 238994 h 470547"/>
                <a:gd name="connsiteX42" fmla="*/ 133413 w 578488"/>
                <a:gd name="connsiteY42" fmla="*/ 239613 h 470547"/>
                <a:gd name="connsiteX43" fmla="*/ 131364 w 578488"/>
                <a:gd name="connsiteY43" fmla="*/ 238638 h 470547"/>
                <a:gd name="connsiteX44" fmla="*/ 132992 w 578488"/>
                <a:gd name="connsiteY44" fmla="*/ 236741 h 470547"/>
                <a:gd name="connsiteX45" fmla="*/ 156473 w 578488"/>
                <a:gd name="connsiteY45" fmla="*/ 208471 h 470547"/>
                <a:gd name="connsiteX46" fmla="*/ 158617 w 578488"/>
                <a:gd name="connsiteY46" fmla="*/ 208629 h 470547"/>
                <a:gd name="connsiteX47" fmla="*/ 159300 w 578488"/>
                <a:gd name="connsiteY47" fmla="*/ 209433 h 470547"/>
                <a:gd name="connsiteX48" fmla="*/ 158520 w 578488"/>
                <a:gd name="connsiteY48" fmla="*/ 211357 h 470547"/>
                <a:gd name="connsiteX49" fmla="*/ 157058 w 578488"/>
                <a:gd name="connsiteY49" fmla="*/ 212476 h 470547"/>
                <a:gd name="connsiteX50" fmla="*/ 154327 w 578488"/>
                <a:gd name="connsiteY50" fmla="*/ 212155 h 470547"/>
                <a:gd name="connsiteX51" fmla="*/ 154035 w 578488"/>
                <a:gd name="connsiteY51" fmla="*/ 211196 h 470547"/>
                <a:gd name="connsiteX52" fmla="*/ 154815 w 578488"/>
                <a:gd name="connsiteY52" fmla="*/ 209272 h 470547"/>
                <a:gd name="connsiteX53" fmla="*/ 175748 w 578488"/>
                <a:gd name="connsiteY53" fmla="*/ 197328 h 470547"/>
                <a:gd name="connsiteX54" fmla="*/ 176449 w 578488"/>
                <a:gd name="connsiteY54" fmla="*/ 198048 h 470547"/>
                <a:gd name="connsiteX55" fmla="*/ 175119 w 578488"/>
                <a:gd name="connsiteY55" fmla="*/ 199065 h 470547"/>
                <a:gd name="connsiteX56" fmla="*/ 170496 w 578488"/>
                <a:gd name="connsiteY56" fmla="*/ 201327 h 470547"/>
                <a:gd name="connsiteX57" fmla="*/ 168725 w 578488"/>
                <a:gd name="connsiteY57" fmla="*/ 201432 h 470547"/>
                <a:gd name="connsiteX58" fmla="*/ 168740 w 578488"/>
                <a:gd name="connsiteY58" fmla="*/ 199939 h 470547"/>
                <a:gd name="connsiteX59" fmla="*/ 169755 w 578488"/>
                <a:gd name="connsiteY59" fmla="*/ 198582 h 470547"/>
                <a:gd name="connsiteX60" fmla="*/ 171364 w 578488"/>
                <a:gd name="connsiteY60" fmla="*/ 197674 h 470547"/>
                <a:gd name="connsiteX61" fmla="*/ 173433 w 578488"/>
                <a:gd name="connsiteY61" fmla="*/ 197432 h 470547"/>
                <a:gd name="connsiteX62" fmla="*/ 170891 w 578488"/>
                <a:gd name="connsiteY62" fmla="*/ 190029 h 470547"/>
                <a:gd name="connsiteX63" fmla="*/ 172956 w 578488"/>
                <a:gd name="connsiteY63" fmla="*/ 191226 h 470547"/>
                <a:gd name="connsiteX64" fmla="*/ 172996 w 578488"/>
                <a:gd name="connsiteY64" fmla="*/ 193260 h 470547"/>
                <a:gd name="connsiteX65" fmla="*/ 171973 w 578488"/>
                <a:gd name="connsiteY65" fmla="*/ 195112 h 470547"/>
                <a:gd name="connsiteX66" fmla="*/ 168514 w 578488"/>
                <a:gd name="connsiteY66" fmla="*/ 196161 h 470547"/>
                <a:gd name="connsiteX67" fmla="*/ 166467 w 578488"/>
                <a:gd name="connsiteY67" fmla="*/ 196404 h 470547"/>
                <a:gd name="connsiteX68" fmla="*/ 166808 w 578488"/>
                <a:gd name="connsiteY68" fmla="*/ 194788 h 470547"/>
                <a:gd name="connsiteX69" fmla="*/ 168464 w 578488"/>
                <a:gd name="connsiteY69" fmla="*/ 193253 h 470547"/>
                <a:gd name="connsiteX70" fmla="*/ 169099 w 578488"/>
                <a:gd name="connsiteY70" fmla="*/ 192202 h 470547"/>
                <a:gd name="connsiteX71" fmla="*/ 169429 w 578488"/>
                <a:gd name="connsiteY71" fmla="*/ 190966 h 470547"/>
                <a:gd name="connsiteX72" fmla="*/ 182845 w 578488"/>
                <a:gd name="connsiteY72" fmla="*/ 120497 h 470547"/>
                <a:gd name="connsiteX73" fmla="*/ 184057 w 578488"/>
                <a:gd name="connsiteY73" fmla="*/ 121330 h 470547"/>
                <a:gd name="connsiteX74" fmla="*/ 183502 w 578488"/>
                <a:gd name="connsiteY74" fmla="*/ 123106 h 470547"/>
                <a:gd name="connsiteX75" fmla="*/ 183513 w 578488"/>
                <a:gd name="connsiteY75" fmla="*/ 124862 h 470547"/>
                <a:gd name="connsiteX76" fmla="*/ 182990 w 578488"/>
                <a:gd name="connsiteY76" fmla="*/ 125692 h 470547"/>
                <a:gd name="connsiteX77" fmla="*/ 180716 w 578488"/>
                <a:gd name="connsiteY77" fmla="*/ 127984 h 470547"/>
                <a:gd name="connsiteX78" fmla="*/ 177449 w 578488"/>
                <a:gd name="connsiteY78" fmla="*/ 129987 h 470547"/>
                <a:gd name="connsiteX79" fmla="*/ 178641 w 578488"/>
                <a:gd name="connsiteY79" fmla="*/ 126329 h 470547"/>
                <a:gd name="connsiteX80" fmla="*/ 180405 w 578488"/>
                <a:gd name="connsiteY80" fmla="*/ 122620 h 470547"/>
                <a:gd name="connsiteX81" fmla="*/ 198678 w 578488"/>
                <a:gd name="connsiteY81" fmla="*/ 112691 h 470547"/>
                <a:gd name="connsiteX82" fmla="*/ 200641 w 578488"/>
                <a:gd name="connsiteY82" fmla="*/ 113103 h 470547"/>
                <a:gd name="connsiteX83" fmla="*/ 201956 w 578488"/>
                <a:gd name="connsiteY83" fmla="*/ 113756 h 470547"/>
                <a:gd name="connsiteX84" fmla="*/ 205392 w 578488"/>
                <a:gd name="connsiteY84" fmla="*/ 113566 h 470547"/>
                <a:gd name="connsiteX85" fmla="*/ 206080 w 578488"/>
                <a:gd name="connsiteY85" fmla="*/ 113810 h 470547"/>
                <a:gd name="connsiteX86" fmla="*/ 205592 w 578488"/>
                <a:gd name="connsiteY86" fmla="*/ 114887 h 470547"/>
                <a:gd name="connsiteX87" fmla="*/ 204100 w 578488"/>
                <a:gd name="connsiteY87" fmla="*/ 116071 h 470547"/>
                <a:gd name="connsiteX88" fmla="*/ 200969 w 578488"/>
                <a:gd name="connsiteY88" fmla="*/ 116797 h 470547"/>
                <a:gd name="connsiteX89" fmla="*/ 199561 w 578488"/>
                <a:gd name="connsiteY89" fmla="*/ 118603 h 470547"/>
                <a:gd name="connsiteX90" fmla="*/ 198553 w 578488"/>
                <a:gd name="connsiteY90" fmla="*/ 119216 h 470547"/>
                <a:gd name="connsiteX91" fmla="*/ 195849 w 578488"/>
                <a:gd name="connsiteY91" fmla="*/ 119224 h 470547"/>
                <a:gd name="connsiteX92" fmla="*/ 194254 w 578488"/>
                <a:gd name="connsiteY92" fmla="*/ 119640 h 470547"/>
                <a:gd name="connsiteX93" fmla="*/ 192291 w 578488"/>
                <a:gd name="connsiteY93" fmla="*/ 121245 h 470547"/>
                <a:gd name="connsiteX94" fmla="*/ 190721 w 578488"/>
                <a:gd name="connsiteY94" fmla="*/ 120062 h 470547"/>
                <a:gd name="connsiteX95" fmla="*/ 190283 w 578488"/>
                <a:gd name="connsiteY95" fmla="*/ 120902 h 470547"/>
                <a:gd name="connsiteX96" fmla="*/ 189997 w 578488"/>
                <a:gd name="connsiteY96" fmla="*/ 122401 h 470547"/>
                <a:gd name="connsiteX97" fmla="*/ 189125 w 578488"/>
                <a:gd name="connsiteY97" fmla="*/ 122841 h 470547"/>
                <a:gd name="connsiteX98" fmla="*/ 186413 w 578488"/>
                <a:gd name="connsiteY98" fmla="*/ 123384 h 470547"/>
                <a:gd name="connsiteX99" fmla="*/ 185752 w 578488"/>
                <a:gd name="connsiteY99" fmla="*/ 119891 h 470547"/>
                <a:gd name="connsiteX100" fmla="*/ 187000 w 578488"/>
                <a:gd name="connsiteY100" fmla="*/ 118622 h 470547"/>
                <a:gd name="connsiteX101" fmla="*/ 187978 w 578488"/>
                <a:gd name="connsiteY101" fmla="*/ 117104 h 470547"/>
                <a:gd name="connsiteX102" fmla="*/ 189477 w 578488"/>
                <a:gd name="connsiteY102" fmla="*/ 116872 h 470547"/>
                <a:gd name="connsiteX103" fmla="*/ 190820 w 578488"/>
                <a:gd name="connsiteY103" fmla="*/ 116998 h 470547"/>
                <a:gd name="connsiteX104" fmla="*/ 193237 w 578488"/>
                <a:gd name="connsiteY104" fmla="*/ 113726 h 470547"/>
                <a:gd name="connsiteX105" fmla="*/ 196547 w 578488"/>
                <a:gd name="connsiteY105" fmla="*/ 112796 h 470547"/>
                <a:gd name="connsiteX106" fmla="*/ 227817 w 578488"/>
                <a:gd name="connsiteY106" fmla="*/ 84536 h 470547"/>
                <a:gd name="connsiteX107" fmla="*/ 228398 w 578488"/>
                <a:gd name="connsiteY107" fmla="*/ 84693 h 470547"/>
                <a:gd name="connsiteX108" fmla="*/ 229447 w 578488"/>
                <a:gd name="connsiteY108" fmla="*/ 85561 h 470547"/>
                <a:gd name="connsiteX109" fmla="*/ 230145 w 578488"/>
                <a:gd name="connsiteY109" fmla="*/ 87049 h 470547"/>
                <a:gd name="connsiteX110" fmla="*/ 233021 w 578488"/>
                <a:gd name="connsiteY110" fmla="*/ 90942 h 470547"/>
                <a:gd name="connsiteX111" fmla="*/ 234334 w 578488"/>
                <a:gd name="connsiteY111" fmla="*/ 93213 h 470547"/>
                <a:gd name="connsiteX112" fmla="*/ 233269 w 578488"/>
                <a:gd name="connsiteY112" fmla="*/ 97497 h 470547"/>
                <a:gd name="connsiteX113" fmla="*/ 230475 w 578488"/>
                <a:gd name="connsiteY113" fmla="*/ 99655 h 470547"/>
                <a:gd name="connsiteX114" fmla="*/ 226163 w 578488"/>
                <a:gd name="connsiteY114" fmla="*/ 100039 h 470547"/>
                <a:gd name="connsiteX115" fmla="*/ 223138 w 578488"/>
                <a:gd name="connsiteY115" fmla="*/ 99860 h 470547"/>
                <a:gd name="connsiteX116" fmla="*/ 221231 w 578488"/>
                <a:gd name="connsiteY116" fmla="*/ 98822 h 470547"/>
                <a:gd name="connsiteX117" fmla="*/ 220993 w 578488"/>
                <a:gd name="connsiteY117" fmla="*/ 97657 h 470547"/>
                <a:gd name="connsiteX118" fmla="*/ 219892 w 578488"/>
                <a:gd name="connsiteY118" fmla="*/ 97313 h 470547"/>
                <a:gd name="connsiteX119" fmla="*/ 216987 w 578488"/>
                <a:gd name="connsiteY119" fmla="*/ 98809 h 470547"/>
                <a:gd name="connsiteX120" fmla="*/ 214969 w 578488"/>
                <a:gd name="connsiteY120" fmla="*/ 99011 h 470547"/>
                <a:gd name="connsiteX121" fmla="*/ 212401 w 578488"/>
                <a:gd name="connsiteY121" fmla="*/ 97851 h 470547"/>
                <a:gd name="connsiteX122" fmla="*/ 211710 w 578488"/>
                <a:gd name="connsiteY122" fmla="*/ 95995 h 470547"/>
                <a:gd name="connsiteX123" fmla="*/ 214435 w 578488"/>
                <a:gd name="connsiteY123" fmla="*/ 93665 h 470547"/>
                <a:gd name="connsiteX124" fmla="*/ 215696 w 578488"/>
                <a:gd name="connsiteY124" fmla="*/ 91852 h 470547"/>
                <a:gd name="connsiteX125" fmla="*/ 218720 w 578488"/>
                <a:gd name="connsiteY125" fmla="*/ 92012 h 470547"/>
                <a:gd name="connsiteX126" fmla="*/ 219475 w 578488"/>
                <a:gd name="connsiteY126" fmla="*/ 92576 h 470547"/>
                <a:gd name="connsiteX127" fmla="*/ 221183 w 578488"/>
                <a:gd name="connsiteY127" fmla="*/ 92928 h 470547"/>
                <a:gd name="connsiteX128" fmla="*/ 222222 w 578488"/>
                <a:gd name="connsiteY128" fmla="*/ 90744 h 470547"/>
                <a:gd name="connsiteX129" fmla="*/ 221982 w 578488"/>
                <a:gd name="connsiteY129" fmla="*/ 89232 h 470547"/>
                <a:gd name="connsiteX130" fmla="*/ 222742 w 578488"/>
                <a:gd name="connsiteY130" fmla="*/ 88181 h 470547"/>
                <a:gd name="connsiteX131" fmla="*/ 226394 w 578488"/>
                <a:gd name="connsiteY131" fmla="*/ 88938 h 470547"/>
                <a:gd name="connsiteX132" fmla="*/ 226400 w 578488"/>
                <a:gd name="connsiteY132" fmla="*/ 84826 h 470547"/>
                <a:gd name="connsiteX133" fmla="*/ 246910 w 578488"/>
                <a:gd name="connsiteY133" fmla="*/ 73108 h 470547"/>
                <a:gd name="connsiteX134" fmla="*/ 248739 w 578488"/>
                <a:gd name="connsiteY134" fmla="*/ 73108 h 470547"/>
                <a:gd name="connsiteX135" fmla="*/ 250540 w 578488"/>
                <a:gd name="connsiteY135" fmla="*/ 74204 h 470547"/>
                <a:gd name="connsiteX136" fmla="*/ 250216 w 578488"/>
                <a:gd name="connsiteY136" fmla="*/ 76443 h 470547"/>
                <a:gd name="connsiteX137" fmla="*/ 247515 w 578488"/>
                <a:gd name="connsiteY137" fmla="*/ 80477 h 470547"/>
                <a:gd name="connsiteX138" fmla="*/ 243513 w 578488"/>
                <a:gd name="connsiteY138" fmla="*/ 83908 h 470547"/>
                <a:gd name="connsiteX139" fmla="*/ 244001 w 578488"/>
                <a:gd name="connsiteY139" fmla="*/ 86367 h 470547"/>
                <a:gd name="connsiteX140" fmla="*/ 245595 w 578488"/>
                <a:gd name="connsiteY140" fmla="*/ 88389 h 470547"/>
                <a:gd name="connsiteX141" fmla="*/ 245986 w 578488"/>
                <a:gd name="connsiteY141" fmla="*/ 91839 h 470547"/>
                <a:gd name="connsiteX142" fmla="*/ 246083 w 578488"/>
                <a:gd name="connsiteY142" fmla="*/ 95156 h 470547"/>
                <a:gd name="connsiteX143" fmla="*/ 243049 w 578488"/>
                <a:gd name="connsiteY143" fmla="*/ 99627 h 470547"/>
                <a:gd name="connsiteX144" fmla="*/ 242378 w 578488"/>
                <a:gd name="connsiteY144" fmla="*/ 101772 h 470547"/>
                <a:gd name="connsiteX145" fmla="*/ 242643 w 578488"/>
                <a:gd name="connsiteY145" fmla="*/ 102042 h 470547"/>
                <a:gd name="connsiteX146" fmla="*/ 245656 w 578488"/>
                <a:gd name="connsiteY146" fmla="*/ 98341 h 470547"/>
                <a:gd name="connsiteX147" fmla="*/ 248994 w 578488"/>
                <a:gd name="connsiteY147" fmla="*/ 97185 h 470547"/>
                <a:gd name="connsiteX148" fmla="*/ 249201 w 578488"/>
                <a:gd name="connsiteY148" fmla="*/ 95895 h 470547"/>
                <a:gd name="connsiteX149" fmla="*/ 250495 w 578488"/>
                <a:gd name="connsiteY149" fmla="*/ 94646 h 470547"/>
                <a:gd name="connsiteX150" fmla="*/ 250348 w 578488"/>
                <a:gd name="connsiteY150" fmla="*/ 92605 h 470547"/>
                <a:gd name="connsiteX151" fmla="*/ 251006 w 578488"/>
                <a:gd name="connsiteY151" fmla="*/ 90944 h 470547"/>
                <a:gd name="connsiteX152" fmla="*/ 252708 w 578488"/>
                <a:gd name="connsiteY152" fmla="*/ 90504 h 470547"/>
                <a:gd name="connsiteX153" fmla="*/ 253771 w 578488"/>
                <a:gd name="connsiteY153" fmla="*/ 89942 h 470547"/>
                <a:gd name="connsiteX154" fmla="*/ 254950 w 578488"/>
                <a:gd name="connsiteY154" fmla="*/ 89632 h 470547"/>
                <a:gd name="connsiteX155" fmla="*/ 257079 w 578488"/>
                <a:gd name="connsiteY155" fmla="*/ 90976 h 470547"/>
                <a:gd name="connsiteX156" fmla="*/ 258284 w 578488"/>
                <a:gd name="connsiteY156" fmla="*/ 92467 h 470547"/>
                <a:gd name="connsiteX157" fmla="*/ 259780 w 578488"/>
                <a:gd name="connsiteY157" fmla="*/ 95797 h 470547"/>
                <a:gd name="connsiteX158" fmla="*/ 259158 w 578488"/>
                <a:gd name="connsiteY158" fmla="*/ 99013 h 470547"/>
                <a:gd name="connsiteX159" fmla="*/ 255150 w 578488"/>
                <a:gd name="connsiteY159" fmla="*/ 101517 h 470547"/>
                <a:gd name="connsiteX160" fmla="*/ 251965 w 578488"/>
                <a:gd name="connsiteY160" fmla="*/ 102646 h 470547"/>
                <a:gd name="connsiteX161" fmla="*/ 248748 w 578488"/>
                <a:gd name="connsiteY161" fmla="*/ 105516 h 470547"/>
                <a:gd name="connsiteX162" fmla="*/ 247131 w 578488"/>
                <a:gd name="connsiteY162" fmla="*/ 107859 h 470547"/>
                <a:gd name="connsiteX163" fmla="*/ 245742 w 578488"/>
                <a:gd name="connsiteY163" fmla="*/ 108366 h 470547"/>
                <a:gd name="connsiteX164" fmla="*/ 244863 w 578488"/>
                <a:gd name="connsiteY164" fmla="*/ 108175 h 470547"/>
                <a:gd name="connsiteX165" fmla="*/ 244082 w 578488"/>
                <a:gd name="connsiteY165" fmla="*/ 107609 h 470547"/>
                <a:gd name="connsiteX166" fmla="*/ 242451 w 578488"/>
                <a:gd name="connsiteY166" fmla="*/ 107607 h 470547"/>
                <a:gd name="connsiteX167" fmla="*/ 240657 w 578488"/>
                <a:gd name="connsiteY167" fmla="*/ 109638 h 470547"/>
                <a:gd name="connsiteX168" fmla="*/ 235239 w 578488"/>
                <a:gd name="connsiteY168" fmla="*/ 111288 h 470547"/>
                <a:gd name="connsiteX169" fmla="*/ 233114 w 578488"/>
                <a:gd name="connsiteY169" fmla="*/ 110812 h 470547"/>
                <a:gd name="connsiteX170" fmla="*/ 233017 w 578488"/>
                <a:gd name="connsiteY170" fmla="*/ 108788 h 470547"/>
                <a:gd name="connsiteX171" fmla="*/ 231749 w 578488"/>
                <a:gd name="connsiteY171" fmla="*/ 108956 h 470547"/>
                <a:gd name="connsiteX172" fmla="*/ 229719 w 578488"/>
                <a:gd name="connsiteY172" fmla="*/ 111382 h 470547"/>
                <a:gd name="connsiteX173" fmla="*/ 227733 w 578488"/>
                <a:gd name="connsiteY173" fmla="*/ 112191 h 470547"/>
                <a:gd name="connsiteX174" fmla="*/ 226398 w 578488"/>
                <a:gd name="connsiteY174" fmla="*/ 112440 h 470547"/>
                <a:gd name="connsiteX175" fmla="*/ 223947 w 578488"/>
                <a:gd name="connsiteY175" fmla="*/ 111527 h 470547"/>
                <a:gd name="connsiteX176" fmla="*/ 217359 w 578488"/>
                <a:gd name="connsiteY176" fmla="*/ 115654 h 470547"/>
                <a:gd name="connsiteX177" fmla="*/ 211181 w 578488"/>
                <a:gd name="connsiteY177" fmla="*/ 116425 h 470547"/>
                <a:gd name="connsiteX178" fmla="*/ 209147 w 578488"/>
                <a:gd name="connsiteY178" fmla="*/ 115948 h 470547"/>
                <a:gd name="connsiteX179" fmla="*/ 209140 w 578488"/>
                <a:gd name="connsiteY179" fmla="*/ 113424 h 470547"/>
                <a:gd name="connsiteX180" fmla="*/ 213133 w 578488"/>
                <a:gd name="connsiteY180" fmla="*/ 110191 h 470547"/>
                <a:gd name="connsiteX181" fmla="*/ 216407 w 578488"/>
                <a:gd name="connsiteY181" fmla="*/ 107941 h 470547"/>
                <a:gd name="connsiteX182" fmla="*/ 227672 w 578488"/>
                <a:gd name="connsiteY182" fmla="*/ 106369 h 470547"/>
                <a:gd name="connsiteX183" fmla="*/ 234688 w 578488"/>
                <a:gd name="connsiteY183" fmla="*/ 99674 h 470547"/>
                <a:gd name="connsiteX184" fmla="*/ 236383 w 578488"/>
                <a:gd name="connsiteY184" fmla="*/ 92374 h 470547"/>
                <a:gd name="connsiteX185" fmla="*/ 238042 w 578488"/>
                <a:gd name="connsiteY185" fmla="*/ 89732 h 470547"/>
                <a:gd name="connsiteX186" fmla="*/ 237262 w 578488"/>
                <a:gd name="connsiteY186" fmla="*/ 88238 h 470547"/>
                <a:gd name="connsiteX187" fmla="*/ 235375 w 578488"/>
                <a:gd name="connsiteY187" fmla="*/ 87975 h 470547"/>
                <a:gd name="connsiteX188" fmla="*/ 235260 w 578488"/>
                <a:gd name="connsiteY188" fmla="*/ 85677 h 470547"/>
                <a:gd name="connsiteX189" fmla="*/ 236245 w 578488"/>
                <a:gd name="connsiteY189" fmla="*/ 83162 h 470547"/>
                <a:gd name="connsiteX190" fmla="*/ 239927 w 578488"/>
                <a:gd name="connsiteY190" fmla="*/ 79703 h 470547"/>
                <a:gd name="connsiteX191" fmla="*/ 241972 w 578488"/>
                <a:gd name="connsiteY191" fmla="*/ 78229 h 470547"/>
                <a:gd name="connsiteX192" fmla="*/ 245304 w 578488"/>
                <a:gd name="connsiteY192" fmla="*/ 74050 h 470547"/>
                <a:gd name="connsiteX193" fmla="*/ 280912 w 578488"/>
                <a:gd name="connsiteY193" fmla="*/ 61606 h 470547"/>
                <a:gd name="connsiteX194" fmla="*/ 283570 w 578488"/>
                <a:gd name="connsiteY194" fmla="*/ 63847 h 470547"/>
                <a:gd name="connsiteX195" fmla="*/ 284766 w 578488"/>
                <a:gd name="connsiteY195" fmla="*/ 63162 h 470547"/>
                <a:gd name="connsiteX196" fmla="*/ 287118 w 578488"/>
                <a:gd name="connsiteY196" fmla="*/ 62907 h 470547"/>
                <a:gd name="connsiteX197" fmla="*/ 288867 w 578488"/>
                <a:gd name="connsiteY197" fmla="*/ 63693 h 470547"/>
                <a:gd name="connsiteX198" fmla="*/ 290297 w 578488"/>
                <a:gd name="connsiteY198" fmla="*/ 65116 h 470547"/>
                <a:gd name="connsiteX199" fmla="*/ 291992 w 578488"/>
                <a:gd name="connsiteY199" fmla="*/ 65181 h 470547"/>
                <a:gd name="connsiteX200" fmla="*/ 293056 w 578488"/>
                <a:gd name="connsiteY200" fmla="*/ 67038 h 470547"/>
                <a:gd name="connsiteX201" fmla="*/ 293598 w 578488"/>
                <a:gd name="connsiteY201" fmla="*/ 69452 h 470547"/>
                <a:gd name="connsiteX202" fmla="*/ 292367 w 578488"/>
                <a:gd name="connsiteY202" fmla="*/ 71253 h 470547"/>
                <a:gd name="connsiteX203" fmla="*/ 290621 w 578488"/>
                <a:gd name="connsiteY203" fmla="*/ 72068 h 470547"/>
                <a:gd name="connsiteX204" fmla="*/ 290148 w 578488"/>
                <a:gd name="connsiteY204" fmla="*/ 74189 h 470547"/>
                <a:gd name="connsiteX205" fmla="*/ 290811 w 578488"/>
                <a:gd name="connsiteY205" fmla="*/ 77154 h 470547"/>
                <a:gd name="connsiteX206" fmla="*/ 286893 w 578488"/>
                <a:gd name="connsiteY206" fmla="*/ 78170 h 470547"/>
                <a:gd name="connsiteX207" fmla="*/ 282352 w 578488"/>
                <a:gd name="connsiteY207" fmla="*/ 78622 h 470547"/>
                <a:gd name="connsiteX208" fmla="*/ 280577 w 578488"/>
                <a:gd name="connsiteY208" fmla="*/ 77205 h 470547"/>
                <a:gd name="connsiteX209" fmla="*/ 276945 w 578488"/>
                <a:gd name="connsiteY209" fmla="*/ 79802 h 470547"/>
                <a:gd name="connsiteX210" fmla="*/ 273348 w 578488"/>
                <a:gd name="connsiteY210" fmla="*/ 83842 h 470547"/>
                <a:gd name="connsiteX211" fmla="*/ 271614 w 578488"/>
                <a:gd name="connsiteY211" fmla="*/ 84317 h 470547"/>
                <a:gd name="connsiteX212" fmla="*/ 271493 w 578488"/>
                <a:gd name="connsiteY212" fmla="*/ 83039 h 470547"/>
                <a:gd name="connsiteX213" fmla="*/ 268908 w 578488"/>
                <a:gd name="connsiteY213" fmla="*/ 82156 h 470547"/>
                <a:gd name="connsiteX214" fmla="*/ 265598 w 578488"/>
                <a:gd name="connsiteY214" fmla="*/ 82105 h 470547"/>
                <a:gd name="connsiteX215" fmla="*/ 265708 w 578488"/>
                <a:gd name="connsiteY215" fmla="*/ 81158 h 470547"/>
                <a:gd name="connsiteX216" fmla="*/ 266308 w 578488"/>
                <a:gd name="connsiteY216" fmla="*/ 80489 h 470547"/>
                <a:gd name="connsiteX217" fmla="*/ 269165 w 578488"/>
                <a:gd name="connsiteY217" fmla="*/ 79496 h 470547"/>
                <a:gd name="connsiteX218" fmla="*/ 269735 w 578488"/>
                <a:gd name="connsiteY218" fmla="*/ 77447 h 470547"/>
                <a:gd name="connsiteX219" fmla="*/ 269216 w 578488"/>
                <a:gd name="connsiteY219" fmla="*/ 73784 h 470547"/>
                <a:gd name="connsiteX220" fmla="*/ 269720 w 578488"/>
                <a:gd name="connsiteY220" fmla="*/ 72004 h 470547"/>
                <a:gd name="connsiteX221" fmla="*/ 269828 w 578488"/>
                <a:gd name="connsiteY221" fmla="*/ 70773 h 470547"/>
                <a:gd name="connsiteX222" fmla="*/ 271624 w 578488"/>
                <a:gd name="connsiteY222" fmla="*/ 69332 h 470547"/>
                <a:gd name="connsiteX223" fmla="*/ 277768 w 578488"/>
                <a:gd name="connsiteY223" fmla="*/ 70009 h 470547"/>
                <a:gd name="connsiteX224" fmla="*/ 278513 w 578488"/>
                <a:gd name="connsiteY224" fmla="*/ 68633 h 470547"/>
                <a:gd name="connsiteX225" fmla="*/ 278047 w 578488"/>
                <a:gd name="connsiteY225" fmla="*/ 67767 h 470547"/>
                <a:gd name="connsiteX226" fmla="*/ 274872 w 578488"/>
                <a:gd name="connsiteY226" fmla="*/ 66249 h 470547"/>
                <a:gd name="connsiteX227" fmla="*/ 275360 w 578488"/>
                <a:gd name="connsiteY227" fmla="*/ 65227 h 470547"/>
                <a:gd name="connsiteX228" fmla="*/ 277651 w 578488"/>
                <a:gd name="connsiteY228" fmla="*/ 64313 h 470547"/>
                <a:gd name="connsiteX229" fmla="*/ 279819 w 578488"/>
                <a:gd name="connsiteY229" fmla="*/ 64195 h 470547"/>
                <a:gd name="connsiteX230" fmla="*/ 280471 w 578488"/>
                <a:gd name="connsiteY230" fmla="*/ 62647 h 470547"/>
                <a:gd name="connsiteX231" fmla="*/ 280584 w 578488"/>
                <a:gd name="connsiteY231" fmla="*/ 61973 h 470547"/>
                <a:gd name="connsiteX232" fmla="*/ 553617 w 578488"/>
                <a:gd name="connsiteY232" fmla="*/ 49437 h 470547"/>
                <a:gd name="connsiteX233" fmla="*/ 555344 w 578488"/>
                <a:gd name="connsiteY233" fmla="*/ 49560 h 470547"/>
                <a:gd name="connsiteX234" fmla="*/ 557091 w 578488"/>
                <a:gd name="connsiteY234" fmla="*/ 50712 h 470547"/>
                <a:gd name="connsiteX235" fmla="*/ 558466 w 578488"/>
                <a:gd name="connsiteY235" fmla="*/ 52086 h 470547"/>
                <a:gd name="connsiteX236" fmla="*/ 556277 w 578488"/>
                <a:gd name="connsiteY236" fmla="*/ 53725 h 470547"/>
                <a:gd name="connsiteX237" fmla="*/ 552077 w 578488"/>
                <a:gd name="connsiteY237" fmla="*/ 54876 h 470547"/>
                <a:gd name="connsiteX238" fmla="*/ 551591 w 578488"/>
                <a:gd name="connsiteY238" fmla="*/ 53929 h 470547"/>
                <a:gd name="connsiteX239" fmla="*/ 552513 w 578488"/>
                <a:gd name="connsiteY239" fmla="*/ 52454 h 470547"/>
                <a:gd name="connsiteX240" fmla="*/ 350606 w 578488"/>
                <a:gd name="connsiteY240" fmla="*/ 36555 h 470547"/>
                <a:gd name="connsiteX241" fmla="*/ 353506 w 578488"/>
                <a:gd name="connsiteY241" fmla="*/ 37006 h 470547"/>
                <a:gd name="connsiteX242" fmla="*/ 354245 w 578488"/>
                <a:gd name="connsiteY242" fmla="*/ 37564 h 470547"/>
                <a:gd name="connsiteX243" fmla="*/ 353355 w 578488"/>
                <a:gd name="connsiteY243" fmla="*/ 42154 h 470547"/>
                <a:gd name="connsiteX244" fmla="*/ 352163 w 578488"/>
                <a:gd name="connsiteY244" fmla="*/ 43074 h 470547"/>
                <a:gd name="connsiteX245" fmla="*/ 350334 w 578488"/>
                <a:gd name="connsiteY245" fmla="*/ 43450 h 470547"/>
                <a:gd name="connsiteX246" fmla="*/ 349349 w 578488"/>
                <a:gd name="connsiteY246" fmla="*/ 42879 h 470547"/>
                <a:gd name="connsiteX247" fmla="*/ 347948 w 578488"/>
                <a:gd name="connsiteY247" fmla="*/ 42504 h 470547"/>
                <a:gd name="connsiteX248" fmla="*/ 346391 w 578488"/>
                <a:gd name="connsiteY248" fmla="*/ 42676 h 470547"/>
                <a:gd name="connsiteX249" fmla="*/ 345082 w 578488"/>
                <a:gd name="connsiteY249" fmla="*/ 40989 h 470547"/>
                <a:gd name="connsiteX250" fmla="*/ 345229 w 578488"/>
                <a:gd name="connsiteY250" fmla="*/ 39572 h 470547"/>
                <a:gd name="connsiteX251" fmla="*/ 347021 w 578488"/>
                <a:gd name="connsiteY251" fmla="*/ 37649 h 470547"/>
                <a:gd name="connsiteX252" fmla="*/ 318716 w 578488"/>
                <a:gd name="connsiteY252" fmla="*/ 35896 h 470547"/>
                <a:gd name="connsiteX253" fmla="*/ 319528 w 578488"/>
                <a:gd name="connsiteY253" fmla="*/ 38632 h 470547"/>
                <a:gd name="connsiteX254" fmla="*/ 319653 w 578488"/>
                <a:gd name="connsiteY254" fmla="*/ 43078 h 470547"/>
                <a:gd name="connsiteX255" fmla="*/ 321614 w 578488"/>
                <a:gd name="connsiteY255" fmla="*/ 45233 h 470547"/>
                <a:gd name="connsiteX256" fmla="*/ 323350 w 578488"/>
                <a:gd name="connsiteY256" fmla="*/ 45026 h 470547"/>
                <a:gd name="connsiteX257" fmla="*/ 323873 w 578488"/>
                <a:gd name="connsiteY257" fmla="*/ 44213 h 470547"/>
                <a:gd name="connsiteX258" fmla="*/ 325058 w 578488"/>
                <a:gd name="connsiteY258" fmla="*/ 43811 h 470547"/>
                <a:gd name="connsiteX259" fmla="*/ 327453 w 578488"/>
                <a:gd name="connsiteY259" fmla="*/ 44949 h 470547"/>
                <a:gd name="connsiteX260" fmla="*/ 327110 w 578488"/>
                <a:gd name="connsiteY260" fmla="*/ 46885 h 470547"/>
                <a:gd name="connsiteX261" fmla="*/ 323795 w 578488"/>
                <a:gd name="connsiteY261" fmla="*/ 49325 h 470547"/>
                <a:gd name="connsiteX262" fmla="*/ 321416 w 578488"/>
                <a:gd name="connsiteY262" fmla="*/ 52800 h 470547"/>
                <a:gd name="connsiteX263" fmla="*/ 318371 w 578488"/>
                <a:gd name="connsiteY263" fmla="*/ 53606 h 470547"/>
                <a:gd name="connsiteX264" fmla="*/ 316907 w 578488"/>
                <a:gd name="connsiteY264" fmla="*/ 53187 h 470547"/>
                <a:gd name="connsiteX265" fmla="*/ 314186 w 578488"/>
                <a:gd name="connsiteY265" fmla="*/ 55190 h 470547"/>
                <a:gd name="connsiteX266" fmla="*/ 312005 w 578488"/>
                <a:gd name="connsiteY266" fmla="*/ 57269 h 470547"/>
                <a:gd name="connsiteX267" fmla="*/ 309744 w 578488"/>
                <a:gd name="connsiteY267" fmla="*/ 59895 h 470547"/>
                <a:gd name="connsiteX268" fmla="*/ 309606 w 578488"/>
                <a:gd name="connsiteY268" fmla="*/ 61247 h 470547"/>
                <a:gd name="connsiteX269" fmla="*/ 309254 w 578488"/>
                <a:gd name="connsiteY269" fmla="*/ 62281 h 470547"/>
                <a:gd name="connsiteX270" fmla="*/ 300973 w 578488"/>
                <a:gd name="connsiteY270" fmla="*/ 63307 h 470547"/>
                <a:gd name="connsiteX271" fmla="*/ 297962 w 578488"/>
                <a:gd name="connsiteY271" fmla="*/ 63986 h 470547"/>
                <a:gd name="connsiteX272" fmla="*/ 294773 w 578488"/>
                <a:gd name="connsiteY272" fmla="*/ 63110 h 470547"/>
                <a:gd name="connsiteX273" fmla="*/ 293262 w 578488"/>
                <a:gd name="connsiteY273" fmla="*/ 61376 h 470547"/>
                <a:gd name="connsiteX274" fmla="*/ 293747 w 578488"/>
                <a:gd name="connsiteY274" fmla="*/ 60433 h 470547"/>
                <a:gd name="connsiteX275" fmla="*/ 296930 w 578488"/>
                <a:gd name="connsiteY275" fmla="*/ 60056 h 470547"/>
                <a:gd name="connsiteX276" fmla="*/ 297032 w 578488"/>
                <a:gd name="connsiteY276" fmla="*/ 58445 h 470547"/>
                <a:gd name="connsiteX277" fmla="*/ 297837 w 578488"/>
                <a:gd name="connsiteY277" fmla="*/ 57461 h 470547"/>
                <a:gd name="connsiteX278" fmla="*/ 298867 w 578488"/>
                <a:gd name="connsiteY278" fmla="*/ 56924 h 470547"/>
                <a:gd name="connsiteX279" fmla="*/ 299625 w 578488"/>
                <a:gd name="connsiteY279" fmla="*/ 54863 h 470547"/>
                <a:gd name="connsiteX280" fmla="*/ 300884 w 578488"/>
                <a:gd name="connsiteY280" fmla="*/ 54325 h 470547"/>
                <a:gd name="connsiteX281" fmla="*/ 303231 w 578488"/>
                <a:gd name="connsiteY281" fmla="*/ 54832 h 470547"/>
                <a:gd name="connsiteX282" fmla="*/ 304814 w 578488"/>
                <a:gd name="connsiteY282" fmla="*/ 53338 h 470547"/>
                <a:gd name="connsiteX283" fmla="*/ 305706 w 578488"/>
                <a:gd name="connsiteY283" fmla="*/ 53085 h 470547"/>
                <a:gd name="connsiteX284" fmla="*/ 306805 w 578488"/>
                <a:gd name="connsiteY284" fmla="*/ 54321 h 470547"/>
                <a:gd name="connsiteX285" fmla="*/ 307334 w 578488"/>
                <a:gd name="connsiteY285" fmla="*/ 52619 h 470547"/>
                <a:gd name="connsiteX286" fmla="*/ 306805 w 578488"/>
                <a:gd name="connsiteY286" fmla="*/ 51064 h 470547"/>
                <a:gd name="connsiteX287" fmla="*/ 307082 w 578488"/>
                <a:gd name="connsiteY287" fmla="*/ 50015 h 470547"/>
                <a:gd name="connsiteX288" fmla="*/ 310117 w 578488"/>
                <a:gd name="connsiteY288" fmla="*/ 47283 h 470547"/>
                <a:gd name="connsiteX289" fmla="*/ 311431 w 578488"/>
                <a:gd name="connsiteY289" fmla="*/ 45289 h 470547"/>
                <a:gd name="connsiteX290" fmla="*/ 313320 w 578488"/>
                <a:gd name="connsiteY290" fmla="*/ 44004 h 470547"/>
                <a:gd name="connsiteX291" fmla="*/ 315140 w 578488"/>
                <a:gd name="connsiteY291" fmla="*/ 44209 h 470547"/>
                <a:gd name="connsiteX292" fmla="*/ 315669 w 578488"/>
                <a:gd name="connsiteY292" fmla="*/ 42315 h 470547"/>
                <a:gd name="connsiteX293" fmla="*/ 315140 w 578488"/>
                <a:gd name="connsiteY293" fmla="*/ 40373 h 470547"/>
                <a:gd name="connsiteX294" fmla="*/ 315341 w 578488"/>
                <a:gd name="connsiteY294" fmla="*/ 39107 h 470547"/>
                <a:gd name="connsiteX295" fmla="*/ 316948 w 578488"/>
                <a:gd name="connsiteY295" fmla="*/ 36027 h 470547"/>
                <a:gd name="connsiteX296" fmla="*/ 329133 w 578488"/>
                <a:gd name="connsiteY296" fmla="*/ 34857 h 470547"/>
                <a:gd name="connsiteX297" fmla="*/ 330984 w 578488"/>
                <a:gd name="connsiteY297" fmla="*/ 37118 h 470547"/>
                <a:gd name="connsiteX298" fmla="*/ 332109 w 578488"/>
                <a:gd name="connsiteY298" fmla="*/ 37583 h 470547"/>
                <a:gd name="connsiteX299" fmla="*/ 333221 w 578488"/>
                <a:gd name="connsiteY299" fmla="*/ 37294 h 470547"/>
                <a:gd name="connsiteX300" fmla="*/ 334145 w 578488"/>
                <a:gd name="connsiteY300" fmla="*/ 37705 h 470547"/>
                <a:gd name="connsiteX301" fmla="*/ 335996 w 578488"/>
                <a:gd name="connsiteY301" fmla="*/ 39794 h 470547"/>
                <a:gd name="connsiteX302" fmla="*/ 337989 w 578488"/>
                <a:gd name="connsiteY302" fmla="*/ 40615 h 470547"/>
                <a:gd name="connsiteX303" fmla="*/ 338082 w 578488"/>
                <a:gd name="connsiteY303" fmla="*/ 41666 h 470547"/>
                <a:gd name="connsiteX304" fmla="*/ 336257 w 578488"/>
                <a:gd name="connsiteY304" fmla="*/ 42690 h 470547"/>
                <a:gd name="connsiteX305" fmla="*/ 333854 w 578488"/>
                <a:gd name="connsiteY305" fmla="*/ 42997 h 470547"/>
                <a:gd name="connsiteX306" fmla="*/ 331280 w 578488"/>
                <a:gd name="connsiteY306" fmla="*/ 42641 h 470547"/>
                <a:gd name="connsiteX307" fmla="*/ 330524 w 578488"/>
                <a:gd name="connsiteY307" fmla="*/ 41332 h 470547"/>
                <a:gd name="connsiteX308" fmla="*/ 329731 w 578488"/>
                <a:gd name="connsiteY308" fmla="*/ 39157 h 470547"/>
                <a:gd name="connsiteX309" fmla="*/ 327578 w 578488"/>
                <a:gd name="connsiteY309" fmla="*/ 37023 h 470547"/>
                <a:gd name="connsiteX310" fmla="*/ 327259 w 578488"/>
                <a:gd name="connsiteY310" fmla="*/ 35152 h 470547"/>
                <a:gd name="connsiteX311" fmla="*/ 414550 w 578488"/>
                <a:gd name="connsiteY311" fmla="*/ 21147 h 470547"/>
                <a:gd name="connsiteX312" fmla="*/ 415263 w 578488"/>
                <a:gd name="connsiteY312" fmla="*/ 22086 h 470547"/>
                <a:gd name="connsiteX313" fmla="*/ 416068 w 578488"/>
                <a:gd name="connsiteY313" fmla="*/ 23860 h 470547"/>
                <a:gd name="connsiteX314" fmla="*/ 416480 w 578488"/>
                <a:gd name="connsiteY314" fmla="*/ 25730 h 470547"/>
                <a:gd name="connsiteX315" fmla="*/ 416636 w 578488"/>
                <a:gd name="connsiteY315" fmla="*/ 27271 h 470547"/>
                <a:gd name="connsiteX316" fmla="*/ 414573 w 578488"/>
                <a:gd name="connsiteY316" fmla="*/ 29498 h 470547"/>
                <a:gd name="connsiteX317" fmla="*/ 409821 w 578488"/>
                <a:gd name="connsiteY317" fmla="*/ 32415 h 470547"/>
                <a:gd name="connsiteX318" fmla="*/ 410093 w 578488"/>
                <a:gd name="connsiteY318" fmla="*/ 33198 h 470547"/>
                <a:gd name="connsiteX319" fmla="*/ 408448 w 578488"/>
                <a:gd name="connsiteY319" fmla="*/ 33946 h 470547"/>
                <a:gd name="connsiteX320" fmla="*/ 405981 w 578488"/>
                <a:gd name="connsiteY320" fmla="*/ 34498 h 470547"/>
                <a:gd name="connsiteX321" fmla="*/ 404679 w 578488"/>
                <a:gd name="connsiteY321" fmla="*/ 33962 h 470547"/>
                <a:gd name="connsiteX322" fmla="*/ 404859 w 578488"/>
                <a:gd name="connsiteY322" fmla="*/ 31463 h 470547"/>
                <a:gd name="connsiteX323" fmla="*/ 404466 w 578488"/>
                <a:gd name="connsiteY323" fmla="*/ 30714 h 470547"/>
                <a:gd name="connsiteX324" fmla="*/ 402593 w 578488"/>
                <a:gd name="connsiteY324" fmla="*/ 31705 h 470547"/>
                <a:gd name="connsiteX325" fmla="*/ 400646 w 578488"/>
                <a:gd name="connsiteY325" fmla="*/ 30434 h 470547"/>
                <a:gd name="connsiteX326" fmla="*/ 400643 w 578488"/>
                <a:gd name="connsiteY326" fmla="*/ 29155 h 470547"/>
                <a:gd name="connsiteX327" fmla="*/ 401157 w 578488"/>
                <a:gd name="connsiteY327" fmla="*/ 28044 h 470547"/>
                <a:gd name="connsiteX328" fmla="*/ 402958 w 578488"/>
                <a:gd name="connsiteY328" fmla="*/ 26354 h 470547"/>
                <a:gd name="connsiteX329" fmla="*/ 405964 w 578488"/>
                <a:gd name="connsiteY329" fmla="*/ 25189 h 470547"/>
                <a:gd name="connsiteX330" fmla="*/ 407946 w 578488"/>
                <a:gd name="connsiteY330" fmla="*/ 25626 h 470547"/>
                <a:gd name="connsiteX331" fmla="*/ 419674 w 578488"/>
                <a:gd name="connsiteY331" fmla="*/ 15922 h 470547"/>
                <a:gd name="connsiteX332" fmla="*/ 420959 w 578488"/>
                <a:gd name="connsiteY332" fmla="*/ 16643 h 470547"/>
                <a:gd name="connsiteX333" fmla="*/ 421302 w 578488"/>
                <a:gd name="connsiteY333" fmla="*/ 17247 h 470547"/>
                <a:gd name="connsiteX334" fmla="*/ 423611 w 578488"/>
                <a:gd name="connsiteY334" fmla="*/ 17839 h 470547"/>
                <a:gd name="connsiteX335" fmla="*/ 426305 w 578488"/>
                <a:gd name="connsiteY335" fmla="*/ 19805 h 470547"/>
                <a:gd name="connsiteX336" fmla="*/ 424962 w 578488"/>
                <a:gd name="connsiteY336" fmla="*/ 23137 h 470547"/>
                <a:gd name="connsiteX337" fmla="*/ 420751 w 578488"/>
                <a:gd name="connsiteY337" fmla="*/ 24733 h 470547"/>
                <a:gd name="connsiteX338" fmla="*/ 418307 w 578488"/>
                <a:gd name="connsiteY338" fmla="*/ 23358 h 470547"/>
                <a:gd name="connsiteX339" fmla="*/ 417279 w 578488"/>
                <a:gd name="connsiteY339" fmla="*/ 21949 h 470547"/>
                <a:gd name="connsiteX340" fmla="*/ 417128 w 578488"/>
                <a:gd name="connsiteY340" fmla="*/ 18816 h 470547"/>
                <a:gd name="connsiteX341" fmla="*/ 417700 w 578488"/>
                <a:gd name="connsiteY341" fmla="*/ 16908 h 470547"/>
                <a:gd name="connsiteX342" fmla="*/ 411209 w 578488"/>
                <a:gd name="connsiteY342" fmla="*/ 12093 h 470547"/>
                <a:gd name="connsiteX343" fmla="*/ 412202 w 578488"/>
                <a:gd name="connsiteY343" fmla="*/ 13172 h 470547"/>
                <a:gd name="connsiteX344" fmla="*/ 411769 w 578488"/>
                <a:gd name="connsiteY344" fmla="*/ 14432 h 470547"/>
                <a:gd name="connsiteX345" fmla="*/ 411021 w 578488"/>
                <a:gd name="connsiteY345" fmla="*/ 15659 h 470547"/>
                <a:gd name="connsiteX346" fmla="*/ 409209 w 578488"/>
                <a:gd name="connsiteY346" fmla="*/ 16953 h 470547"/>
                <a:gd name="connsiteX347" fmla="*/ 403969 w 578488"/>
                <a:gd name="connsiteY347" fmla="*/ 22068 h 470547"/>
                <a:gd name="connsiteX348" fmla="*/ 400889 w 578488"/>
                <a:gd name="connsiteY348" fmla="*/ 22891 h 470547"/>
                <a:gd name="connsiteX349" fmla="*/ 399914 w 578488"/>
                <a:gd name="connsiteY349" fmla="*/ 23692 h 470547"/>
                <a:gd name="connsiteX350" fmla="*/ 398683 w 578488"/>
                <a:gd name="connsiteY350" fmla="*/ 24170 h 470547"/>
                <a:gd name="connsiteX351" fmla="*/ 394856 w 578488"/>
                <a:gd name="connsiteY351" fmla="*/ 23471 h 470547"/>
                <a:gd name="connsiteX352" fmla="*/ 393736 w 578488"/>
                <a:gd name="connsiteY352" fmla="*/ 24506 h 470547"/>
                <a:gd name="connsiteX353" fmla="*/ 392678 w 578488"/>
                <a:gd name="connsiteY353" fmla="*/ 25197 h 470547"/>
                <a:gd name="connsiteX354" fmla="*/ 389907 w 578488"/>
                <a:gd name="connsiteY354" fmla="*/ 25465 h 470547"/>
                <a:gd name="connsiteX355" fmla="*/ 388281 w 578488"/>
                <a:gd name="connsiteY355" fmla="*/ 25240 h 470547"/>
                <a:gd name="connsiteX356" fmla="*/ 384081 w 578488"/>
                <a:gd name="connsiteY356" fmla="*/ 23348 h 470547"/>
                <a:gd name="connsiteX357" fmla="*/ 381582 w 578488"/>
                <a:gd name="connsiteY357" fmla="*/ 21298 h 470547"/>
                <a:gd name="connsiteX358" fmla="*/ 380229 w 578488"/>
                <a:gd name="connsiteY358" fmla="*/ 19542 h 470547"/>
                <a:gd name="connsiteX359" fmla="*/ 384109 w 578488"/>
                <a:gd name="connsiteY359" fmla="*/ 19576 h 470547"/>
                <a:gd name="connsiteX360" fmla="*/ 385493 w 578488"/>
                <a:gd name="connsiteY360" fmla="*/ 19151 h 470547"/>
                <a:gd name="connsiteX361" fmla="*/ 388095 w 578488"/>
                <a:gd name="connsiteY361" fmla="*/ 19521 h 470547"/>
                <a:gd name="connsiteX362" fmla="*/ 389658 w 578488"/>
                <a:gd name="connsiteY362" fmla="*/ 17719 h 470547"/>
                <a:gd name="connsiteX363" fmla="*/ 392969 w 578488"/>
                <a:gd name="connsiteY363" fmla="*/ 17937 h 470547"/>
                <a:gd name="connsiteX364" fmla="*/ 399324 w 578488"/>
                <a:gd name="connsiteY364" fmla="*/ 16682 h 470547"/>
                <a:gd name="connsiteX365" fmla="*/ 401656 w 578488"/>
                <a:gd name="connsiteY365" fmla="*/ 17382 h 470547"/>
                <a:gd name="connsiteX366" fmla="*/ 406988 w 578488"/>
                <a:gd name="connsiteY366" fmla="*/ 13184 h 470547"/>
                <a:gd name="connsiteX367" fmla="*/ 408657 w 578488"/>
                <a:gd name="connsiteY367" fmla="*/ 13294 h 470547"/>
                <a:gd name="connsiteX368" fmla="*/ 504113 w 578488"/>
                <a:gd name="connsiteY368" fmla="*/ 2056 h 470547"/>
                <a:gd name="connsiteX369" fmla="*/ 507129 w 578488"/>
                <a:gd name="connsiteY369" fmla="*/ 2479 h 470547"/>
                <a:gd name="connsiteX370" fmla="*/ 508932 w 578488"/>
                <a:gd name="connsiteY370" fmla="*/ 3348 h 470547"/>
                <a:gd name="connsiteX371" fmla="*/ 516155 w 578488"/>
                <a:gd name="connsiteY371" fmla="*/ 4009 h 470547"/>
                <a:gd name="connsiteX372" fmla="*/ 521696 w 578488"/>
                <a:gd name="connsiteY372" fmla="*/ 6744 h 470547"/>
                <a:gd name="connsiteX373" fmla="*/ 521485 w 578488"/>
                <a:gd name="connsiteY373" fmla="*/ 11012 h 470547"/>
                <a:gd name="connsiteX374" fmla="*/ 520250 w 578488"/>
                <a:gd name="connsiteY374" fmla="*/ 12793 h 470547"/>
                <a:gd name="connsiteX375" fmla="*/ 519034 w 578488"/>
                <a:gd name="connsiteY375" fmla="*/ 13889 h 470547"/>
                <a:gd name="connsiteX376" fmla="*/ 511938 w 578488"/>
                <a:gd name="connsiteY376" fmla="*/ 17118 h 470547"/>
                <a:gd name="connsiteX377" fmla="*/ 510768 w 578488"/>
                <a:gd name="connsiteY377" fmla="*/ 18708 h 470547"/>
                <a:gd name="connsiteX378" fmla="*/ 512996 w 578488"/>
                <a:gd name="connsiteY378" fmla="*/ 19257 h 470547"/>
                <a:gd name="connsiteX379" fmla="*/ 517790 w 578488"/>
                <a:gd name="connsiteY379" fmla="*/ 17649 h 470547"/>
                <a:gd name="connsiteX380" fmla="*/ 519032 w 578488"/>
                <a:gd name="connsiteY380" fmla="*/ 19108 h 470547"/>
                <a:gd name="connsiteX381" fmla="*/ 517505 w 578488"/>
                <a:gd name="connsiteY381" fmla="*/ 22756 h 470547"/>
                <a:gd name="connsiteX382" fmla="*/ 517246 w 578488"/>
                <a:gd name="connsiteY382" fmla="*/ 28220 h 470547"/>
                <a:gd name="connsiteX383" fmla="*/ 516693 w 578488"/>
                <a:gd name="connsiteY383" fmla="*/ 31401 h 470547"/>
                <a:gd name="connsiteX384" fmla="*/ 516693 w 578488"/>
                <a:gd name="connsiteY384" fmla="*/ 34298 h 470547"/>
                <a:gd name="connsiteX385" fmla="*/ 517289 w 578488"/>
                <a:gd name="connsiteY385" fmla="*/ 35851 h 470547"/>
                <a:gd name="connsiteX386" fmla="*/ 519215 w 578488"/>
                <a:gd name="connsiteY386" fmla="*/ 29687 h 470547"/>
                <a:gd name="connsiteX387" fmla="*/ 519874 w 578488"/>
                <a:gd name="connsiteY387" fmla="*/ 28105 h 470547"/>
                <a:gd name="connsiteX388" fmla="*/ 522692 w 578488"/>
                <a:gd name="connsiteY388" fmla="*/ 25777 h 470547"/>
                <a:gd name="connsiteX389" fmla="*/ 523741 w 578488"/>
                <a:gd name="connsiteY389" fmla="*/ 21079 h 470547"/>
                <a:gd name="connsiteX390" fmla="*/ 526497 w 578488"/>
                <a:gd name="connsiteY390" fmla="*/ 15427 h 470547"/>
                <a:gd name="connsiteX391" fmla="*/ 529602 w 578488"/>
                <a:gd name="connsiteY391" fmla="*/ 12136 h 470547"/>
                <a:gd name="connsiteX392" fmla="*/ 531409 w 578488"/>
                <a:gd name="connsiteY392" fmla="*/ 11232 h 470547"/>
                <a:gd name="connsiteX393" fmla="*/ 537397 w 578488"/>
                <a:gd name="connsiteY393" fmla="*/ 11362 h 470547"/>
                <a:gd name="connsiteX394" fmla="*/ 539967 w 578488"/>
                <a:gd name="connsiteY394" fmla="*/ 12602 h 470547"/>
                <a:gd name="connsiteX395" fmla="*/ 542234 w 578488"/>
                <a:gd name="connsiteY395" fmla="*/ 15355 h 470547"/>
                <a:gd name="connsiteX396" fmla="*/ 543927 w 578488"/>
                <a:gd name="connsiteY396" fmla="*/ 16453 h 470547"/>
                <a:gd name="connsiteX397" fmla="*/ 549265 w 578488"/>
                <a:gd name="connsiteY397" fmla="*/ 17621 h 470547"/>
                <a:gd name="connsiteX398" fmla="*/ 551098 w 578488"/>
                <a:gd name="connsiteY398" fmla="*/ 19084 h 470547"/>
                <a:gd name="connsiteX399" fmla="*/ 551442 w 578488"/>
                <a:gd name="connsiteY399" fmla="*/ 19955 h 470547"/>
                <a:gd name="connsiteX400" fmla="*/ 552746 w 578488"/>
                <a:gd name="connsiteY400" fmla="*/ 20128 h 470547"/>
                <a:gd name="connsiteX401" fmla="*/ 556348 w 578488"/>
                <a:gd name="connsiteY401" fmla="*/ 18048 h 470547"/>
                <a:gd name="connsiteX402" fmla="*/ 558687 w 578488"/>
                <a:gd name="connsiteY402" fmla="*/ 17703 h 470547"/>
                <a:gd name="connsiteX403" fmla="*/ 562502 w 578488"/>
                <a:gd name="connsiteY403" fmla="*/ 20944 h 470547"/>
                <a:gd name="connsiteX404" fmla="*/ 561736 w 578488"/>
                <a:gd name="connsiteY404" fmla="*/ 23340 h 470547"/>
                <a:gd name="connsiteX405" fmla="*/ 561960 w 578488"/>
                <a:gd name="connsiteY405" fmla="*/ 24100 h 470547"/>
                <a:gd name="connsiteX406" fmla="*/ 566579 w 578488"/>
                <a:gd name="connsiteY406" fmla="*/ 23946 h 470547"/>
                <a:gd name="connsiteX407" fmla="*/ 570423 w 578488"/>
                <a:gd name="connsiteY407" fmla="*/ 24885 h 470547"/>
                <a:gd name="connsiteX408" fmla="*/ 577730 w 578488"/>
                <a:gd name="connsiteY408" fmla="*/ 29778 h 470547"/>
                <a:gd name="connsiteX409" fmla="*/ 578488 w 578488"/>
                <a:gd name="connsiteY409" fmla="*/ 32061 h 470547"/>
                <a:gd name="connsiteX410" fmla="*/ 578123 w 578488"/>
                <a:gd name="connsiteY410" fmla="*/ 34824 h 470547"/>
                <a:gd name="connsiteX411" fmla="*/ 567616 w 578488"/>
                <a:gd name="connsiteY411" fmla="*/ 37866 h 470547"/>
                <a:gd name="connsiteX412" fmla="*/ 563062 w 578488"/>
                <a:gd name="connsiteY412" fmla="*/ 40768 h 470547"/>
                <a:gd name="connsiteX413" fmla="*/ 555608 w 578488"/>
                <a:gd name="connsiteY413" fmla="*/ 41887 h 470547"/>
                <a:gd name="connsiteX414" fmla="*/ 530295 w 578488"/>
                <a:gd name="connsiteY414" fmla="*/ 39947 h 470547"/>
                <a:gd name="connsiteX415" fmla="*/ 530807 w 578488"/>
                <a:gd name="connsiteY415" fmla="*/ 42044 h 470547"/>
                <a:gd name="connsiteX416" fmla="*/ 548432 w 578488"/>
                <a:gd name="connsiteY416" fmla="*/ 46625 h 470547"/>
                <a:gd name="connsiteX417" fmla="*/ 549438 w 578488"/>
                <a:gd name="connsiteY417" fmla="*/ 47931 h 470547"/>
                <a:gd name="connsiteX418" fmla="*/ 548874 w 578488"/>
                <a:gd name="connsiteY418" fmla="*/ 50679 h 470547"/>
                <a:gd name="connsiteX419" fmla="*/ 548866 w 578488"/>
                <a:gd name="connsiteY419" fmla="*/ 52881 h 470547"/>
                <a:gd name="connsiteX420" fmla="*/ 549196 w 578488"/>
                <a:gd name="connsiteY420" fmla="*/ 54381 h 470547"/>
                <a:gd name="connsiteX421" fmla="*/ 550494 w 578488"/>
                <a:gd name="connsiteY421" fmla="*/ 55779 h 470547"/>
                <a:gd name="connsiteX422" fmla="*/ 552649 w 578488"/>
                <a:gd name="connsiteY422" fmla="*/ 56436 h 470547"/>
                <a:gd name="connsiteX423" fmla="*/ 557033 w 578488"/>
                <a:gd name="connsiteY423" fmla="*/ 56090 h 470547"/>
                <a:gd name="connsiteX424" fmla="*/ 559198 w 578488"/>
                <a:gd name="connsiteY424" fmla="*/ 56841 h 470547"/>
                <a:gd name="connsiteX425" fmla="*/ 560678 w 578488"/>
                <a:gd name="connsiteY425" fmla="*/ 55726 h 470547"/>
                <a:gd name="connsiteX426" fmla="*/ 561228 w 578488"/>
                <a:gd name="connsiteY426" fmla="*/ 51977 h 470547"/>
                <a:gd name="connsiteX427" fmla="*/ 562500 w 578488"/>
                <a:gd name="connsiteY427" fmla="*/ 51147 h 470547"/>
                <a:gd name="connsiteX428" fmla="*/ 564960 w 578488"/>
                <a:gd name="connsiteY428" fmla="*/ 52236 h 470547"/>
                <a:gd name="connsiteX429" fmla="*/ 566031 w 578488"/>
                <a:gd name="connsiteY429" fmla="*/ 56242 h 470547"/>
                <a:gd name="connsiteX430" fmla="*/ 566717 w 578488"/>
                <a:gd name="connsiteY430" fmla="*/ 56657 h 470547"/>
                <a:gd name="connsiteX431" fmla="*/ 567957 w 578488"/>
                <a:gd name="connsiteY431" fmla="*/ 53800 h 470547"/>
                <a:gd name="connsiteX432" fmla="*/ 570393 w 578488"/>
                <a:gd name="connsiteY432" fmla="*/ 54006 h 470547"/>
                <a:gd name="connsiteX433" fmla="*/ 573044 w 578488"/>
                <a:gd name="connsiteY433" fmla="*/ 53768 h 470547"/>
                <a:gd name="connsiteX434" fmla="*/ 576478 w 578488"/>
                <a:gd name="connsiteY434" fmla="*/ 54250 h 470547"/>
                <a:gd name="connsiteX435" fmla="*/ 577681 w 578488"/>
                <a:gd name="connsiteY435" fmla="*/ 59427 h 470547"/>
                <a:gd name="connsiteX436" fmla="*/ 577644 w 578488"/>
                <a:gd name="connsiteY436" fmla="*/ 61230 h 470547"/>
                <a:gd name="connsiteX437" fmla="*/ 577074 w 578488"/>
                <a:gd name="connsiteY437" fmla="*/ 62978 h 470547"/>
                <a:gd name="connsiteX438" fmla="*/ 576279 w 578488"/>
                <a:gd name="connsiteY438" fmla="*/ 63871 h 470547"/>
                <a:gd name="connsiteX439" fmla="*/ 574690 w 578488"/>
                <a:gd name="connsiteY439" fmla="*/ 64260 h 470547"/>
                <a:gd name="connsiteX440" fmla="*/ 570855 w 578488"/>
                <a:gd name="connsiteY440" fmla="*/ 64101 h 470547"/>
                <a:gd name="connsiteX441" fmla="*/ 565642 w 578488"/>
                <a:gd name="connsiteY441" fmla="*/ 62058 h 470547"/>
                <a:gd name="connsiteX442" fmla="*/ 562278 w 578488"/>
                <a:gd name="connsiteY442" fmla="*/ 60133 h 470547"/>
                <a:gd name="connsiteX443" fmla="*/ 561230 w 578488"/>
                <a:gd name="connsiteY443" fmla="*/ 60052 h 470547"/>
                <a:gd name="connsiteX444" fmla="*/ 560779 w 578488"/>
                <a:gd name="connsiteY444" fmla="*/ 60286 h 470547"/>
                <a:gd name="connsiteX445" fmla="*/ 561591 w 578488"/>
                <a:gd name="connsiteY445" fmla="*/ 62220 h 470547"/>
                <a:gd name="connsiteX446" fmla="*/ 561375 w 578488"/>
                <a:gd name="connsiteY446" fmla="*/ 63701 h 470547"/>
                <a:gd name="connsiteX447" fmla="*/ 560868 w 578488"/>
                <a:gd name="connsiteY447" fmla="*/ 65313 h 470547"/>
                <a:gd name="connsiteX448" fmla="*/ 560162 w 578488"/>
                <a:gd name="connsiteY448" fmla="*/ 66774 h 470547"/>
                <a:gd name="connsiteX449" fmla="*/ 559177 w 578488"/>
                <a:gd name="connsiteY449" fmla="*/ 68002 h 470547"/>
                <a:gd name="connsiteX450" fmla="*/ 557115 w 578488"/>
                <a:gd name="connsiteY450" fmla="*/ 69580 h 470547"/>
                <a:gd name="connsiteX451" fmla="*/ 553547 w 578488"/>
                <a:gd name="connsiteY451" fmla="*/ 70830 h 470547"/>
                <a:gd name="connsiteX452" fmla="*/ 543720 w 578488"/>
                <a:gd name="connsiteY452" fmla="*/ 73260 h 470547"/>
                <a:gd name="connsiteX453" fmla="*/ 542940 w 578488"/>
                <a:gd name="connsiteY453" fmla="*/ 74333 h 470547"/>
                <a:gd name="connsiteX454" fmla="*/ 539777 w 578488"/>
                <a:gd name="connsiteY454" fmla="*/ 81084 h 470547"/>
                <a:gd name="connsiteX455" fmla="*/ 538913 w 578488"/>
                <a:gd name="connsiteY455" fmla="*/ 82073 h 470547"/>
                <a:gd name="connsiteX456" fmla="*/ 537756 w 578488"/>
                <a:gd name="connsiteY456" fmla="*/ 82910 h 470547"/>
                <a:gd name="connsiteX457" fmla="*/ 534379 w 578488"/>
                <a:gd name="connsiteY457" fmla="*/ 83995 h 470547"/>
                <a:gd name="connsiteX458" fmla="*/ 532744 w 578488"/>
                <a:gd name="connsiteY458" fmla="*/ 82497 h 470547"/>
                <a:gd name="connsiteX459" fmla="*/ 531433 w 578488"/>
                <a:gd name="connsiteY459" fmla="*/ 80230 h 470547"/>
                <a:gd name="connsiteX460" fmla="*/ 531735 w 578488"/>
                <a:gd name="connsiteY460" fmla="*/ 77980 h 470547"/>
                <a:gd name="connsiteX461" fmla="*/ 535685 w 578488"/>
                <a:gd name="connsiteY461" fmla="*/ 73656 h 470547"/>
                <a:gd name="connsiteX462" fmla="*/ 539375 w 578488"/>
                <a:gd name="connsiteY462" fmla="*/ 70586 h 470547"/>
                <a:gd name="connsiteX463" fmla="*/ 540416 w 578488"/>
                <a:gd name="connsiteY463" fmla="*/ 69522 h 470547"/>
                <a:gd name="connsiteX464" fmla="*/ 542506 w 578488"/>
                <a:gd name="connsiteY464" fmla="*/ 66432 h 470547"/>
                <a:gd name="connsiteX465" fmla="*/ 538265 w 578488"/>
                <a:gd name="connsiteY465" fmla="*/ 58655 h 470547"/>
                <a:gd name="connsiteX466" fmla="*/ 530720 w 578488"/>
                <a:gd name="connsiteY466" fmla="*/ 56294 h 470547"/>
                <a:gd name="connsiteX467" fmla="*/ 522126 w 578488"/>
                <a:gd name="connsiteY467" fmla="*/ 52702 h 470547"/>
                <a:gd name="connsiteX468" fmla="*/ 518973 w 578488"/>
                <a:gd name="connsiteY468" fmla="*/ 50783 h 470547"/>
                <a:gd name="connsiteX469" fmla="*/ 514067 w 578488"/>
                <a:gd name="connsiteY469" fmla="*/ 46826 h 470547"/>
                <a:gd name="connsiteX470" fmla="*/ 510589 w 578488"/>
                <a:gd name="connsiteY470" fmla="*/ 43266 h 470547"/>
                <a:gd name="connsiteX471" fmla="*/ 507447 w 578488"/>
                <a:gd name="connsiteY471" fmla="*/ 43140 h 470547"/>
                <a:gd name="connsiteX472" fmla="*/ 503994 w 578488"/>
                <a:gd name="connsiteY472" fmla="*/ 44035 h 470547"/>
                <a:gd name="connsiteX473" fmla="*/ 498606 w 578488"/>
                <a:gd name="connsiteY473" fmla="*/ 47285 h 470547"/>
                <a:gd name="connsiteX474" fmla="*/ 495458 w 578488"/>
                <a:gd name="connsiteY474" fmla="*/ 48918 h 470547"/>
                <a:gd name="connsiteX475" fmla="*/ 493730 w 578488"/>
                <a:gd name="connsiteY475" fmla="*/ 49400 h 470547"/>
                <a:gd name="connsiteX476" fmla="*/ 493313 w 578488"/>
                <a:gd name="connsiteY476" fmla="*/ 49471 h 470547"/>
                <a:gd name="connsiteX477" fmla="*/ 489457 w 578488"/>
                <a:gd name="connsiteY477" fmla="*/ 48546 h 470547"/>
                <a:gd name="connsiteX478" fmla="*/ 485166 w 578488"/>
                <a:gd name="connsiteY478" fmla="*/ 48351 h 470547"/>
                <a:gd name="connsiteX479" fmla="*/ 481717 w 578488"/>
                <a:gd name="connsiteY479" fmla="*/ 48617 h 470547"/>
                <a:gd name="connsiteX480" fmla="*/ 480415 w 578488"/>
                <a:gd name="connsiteY480" fmla="*/ 49063 h 470547"/>
                <a:gd name="connsiteX481" fmla="*/ 475613 w 578488"/>
                <a:gd name="connsiteY481" fmla="*/ 54309 h 470547"/>
                <a:gd name="connsiteX482" fmla="*/ 472251 w 578488"/>
                <a:gd name="connsiteY482" fmla="*/ 56954 h 470547"/>
                <a:gd name="connsiteX483" fmla="*/ 470400 w 578488"/>
                <a:gd name="connsiteY483" fmla="*/ 57864 h 470547"/>
                <a:gd name="connsiteX484" fmla="*/ 469053 w 578488"/>
                <a:gd name="connsiteY484" fmla="*/ 59393 h 470547"/>
                <a:gd name="connsiteX485" fmla="*/ 467947 w 578488"/>
                <a:gd name="connsiteY485" fmla="*/ 61904 h 470547"/>
                <a:gd name="connsiteX486" fmla="*/ 465486 w 578488"/>
                <a:gd name="connsiteY486" fmla="*/ 70594 h 470547"/>
                <a:gd name="connsiteX487" fmla="*/ 463650 w 578488"/>
                <a:gd name="connsiteY487" fmla="*/ 73863 h 470547"/>
                <a:gd name="connsiteX488" fmla="*/ 463240 w 578488"/>
                <a:gd name="connsiteY488" fmla="*/ 75858 h 470547"/>
                <a:gd name="connsiteX489" fmla="*/ 463672 w 578488"/>
                <a:gd name="connsiteY489" fmla="*/ 81895 h 470547"/>
                <a:gd name="connsiteX490" fmla="*/ 463233 w 578488"/>
                <a:gd name="connsiteY490" fmla="*/ 85229 h 470547"/>
                <a:gd name="connsiteX491" fmla="*/ 460985 w 578488"/>
                <a:gd name="connsiteY491" fmla="*/ 87977 h 470547"/>
                <a:gd name="connsiteX492" fmla="*/ 459407 w 578488"/>
                <a:gd name="connsiteY492" fmla="*/ 89213 h 470547"/>
                <a:gd name="connsiteX493" fmla="*/ 457319 w 578488"/>
                <a:gd name="connsiteY493" fmla="*/ 89467 h 470547"/>
                <a:gd name="connsiteX494" fmla="*/ 454583 w 578488"/>
                <a:gd name="connsiteY494" fmla="*/ 90168 h 470547"/>
                <a:gd name="connsiteX495" fmla="*/ 452194 w 578488"/>
                <a:gd name="connsiteY495" fmla="*/ 91756 h 470547"/>
                <a:gd name="connsiteX496" fmla="*/ 450508 w 578488"/>
                <a:gd name="connsiteY496" fmla="*/ 93919 h 470547"/>
                <a:gd name="connsiteX497" fmla="*/ 448607 w 578488"/>
                <a:gd name="connsiteY497" fmla="*/ 98760 h 470547"/>
                <a:gd name="connsiteX498" fmla="*/ 445390 w 578488"/>
                <a:gd name="connsiteY498" fmla="*/ 100541 h 470547"/>
                <a:gd name="connsiteX499" fmla="*/ 442317 w 578488"/>
                <a:gd name="connsiteY499" fmla="*/ 100033 h 470547"/>
                <a:gd name="connsiteX500" fmla="*/ 440123 w 578488"/>
                <a:gd name="connsiteY500" fmla="*/ 98251 h 470547"/>
                <a:gd name="connsiteX501" fmla="*/ 435420 w 578488"/>
                <a:gd name="connsiteY501" fmla="*/ 96871 h 470547"/>
                <a:gd name="connsiteX502" fmla="*/ 431915 w 578488"/>
                <a:gd name="connsiteY502" fmla="*/ 95991 h 470547"/>
                <a:gd name="connsiteX503" fmla="*/ 427981 w 578488"/>
                <a:gd name="connsiteY503" fmla="*/ 94089 h 470547"/>
                <a:gd name="connsiteX504" fmla="*/ 424516 w 578488"/>
                <a:gd name="connsiteY504" fmla="*/ 92640 h 470547"/>
                <a:gd name="connsiteX505" fmla="*/ 421345 w 578488"/>
                <a:gd name="connsiteY505" fmla="*/ 92352 h 470547"/>
                <a:gd name="connsiteX506" fmla="*/ 419545 w 578488"/>
                <a:gd name="connsiteY506" fmla="*/ 94184 h 470547"/>
                <a:gd name="connsiteX507" fmla="*/ 418095 w 578488"/>
                <a:gd name="connsiteY507" fmla="*/ 95901 h 470547"/>
                <a:gd name="connsiteX508" fmla="*/ 412688 w 578488"/>
                <a:gd name="connsiteY508" fmla="*/ 97296 h 470547"/>
                <a:gd name="connsiteX509" fmla="*/ 409627 w 578488"/>
                <a:gd name="connsiteY509" fmla="*/ 98399 h 470547"/>
                <a:gd name="connsiteX510" fmla="*/ 405653 w 578488"/>
                <a:gd name="connsiteY510" fmla="*/ 98645 h 470547"/>
                <a:gd name="connsiteX511" fmla="*/ 404047 w 578488"/>
                <a:gd name="connsiteY511" fmla="*/ 97422 h 470547"/>
                <a:gd name="connsiteX512" fmla="*/ 398283 w 578488"/>
                <a:gd name="connsiteY512" fmla="*/ 96615 h 470547"/>
                <a:gd name="connsiteX513" fmla="*/ 391421 w 578488"/>
                <a:gd name="connsiteY513" fmla="*/ 95656 h 470547"/>
                <a:gd name="connsiteX514" fmla="*/ 389436 w 578488"/>
                <a:gd name="connsiteY514" fmla="*/ 95670 h 470547"/>
                <a:gd name="connsiteX515" fmla="*/ 388817 w 578488"/>
                <a:gd name="connsiteY515" fmla="*/ 93482 h 470547"/>
                <a:gd name="connsiteX516" fmla="*/ 386992 w 578488"/>
                <a:gd name="connsiteY516" fmla="*/ 90423 h 470547"/>
                <a:gd name="connsiteX517" fmla="*/ 382112 w 578488"/>
                <a:gd name="connsiteY517" fmla="*/ 85126 h 470547"/>
                <a:gd name="connsiteX518" fmla="*/ 380116 w 578488"/>
                <a:gd name="connsiteY518" fmla="*/ 83253 h 470547"/>
                <a:gd name="connsiteX519" fmla="*/ 376363 w 578488"/>
                <a:gd name="connsiteY519" fmla="*/ 78851 h 470547"/>
                <a:gd name="connsiteX520" fmla="*/ 371986 w 578488"/>
                <a:gd name="connsiteY520" fmla="*/ 74329 h 470547"/>
                <a:gd name="connsiteX521" fmla="*/ 371366 w 578488"/>
                <a:gd name="connsiteY521" fmla="*/ 74217 h 470547"/>
                <a:gd name="connsiteX522" fmla="*/ 368436 w 578488"/>
                <a:gd name="connsiteY522" fmla="*/ 74065 h 470547"/>
                <a:gd name="connsiteX523" fmla="*/ 364137 w 578488"/>
                <a:gd name="connsiteY523" fmla="*/ 74214 h 470547"/>
                <a:gd name="connsiteX524" fmla="*/ 361416 w 578488"/>
                <a:gd name="connsiteY524" fmla="*/ 75242 h 470547"/>
                <a:gd name="connsiteX525" fmla="*/ 359699 w 578488"/>
                <a:gd name="connsiteY525" fmla="*/ 76533 h 470547"/>
                <a:gd name="connsiteX526" fmla="*/ 359401 w 578488"/>
                <a:gd name="connsiteY526" fmla="*/ 77604 h 470547"/>
                <a:gd name="connsiteX527" fmla="*/ 361064 w 578488"/>
                <a:gd name="connsiteY527" fmla="*/ 81713 h 470547"/>
                <a:gd name="connsiteX528" fmla="*/ 360548 w 578488"/>
                <a:gd name="connsiteY528" fmla="*/ 82736 h 470547"/>
                <a:gd name="connsiteX529" fmla="*/ 359691 w 578488"/>
                <a:gd name="connsiteY529" fmla="*/ 83228 h 470547"/>
                <a:gd name="connsiteX530" fmla="*/ 355789 w 578488"/>
                <a:gd name="connsiteY530" fmla="*/ 82077 h 470547"/>
                <a:gd name="connsiteX531" fmla="*/ 351070 w 578488"/>
                <a:gd name="connsiteY531" fmla="*/ 82153 h 470547"/>
                <a:gd name="connsiteX532" fmla="*/ 349882 w 578488"/>
                <a:gd name="connsiteY532" fmla="*/ 83418 h 470547"/>
                <a:gd name="connsiteX533" fmla="*/ 347004 w 578488"/>
                <a:gd name="connsiteY533" fmla="*/ 83556 h 470547"/>
                <a:gd name="connsiteX534" fmla="*/ 338706 w 578488"/>
                <a:gd name="connsiteY534" fmla="*/ 84037 h 470547"/>
                <a:gd name="connsiteX535" fmla="*/ 342368 w 578488"/>
                <a:gd name="connsiteY535" fmla="*/ 87389 h 470547"/>
                <a:gd name="connsiteX536" fmla="*/ 343579 w 578488"/>
                <a:gd name="connsiteY536" fmla="*/ 88730 h 470547"/>
                <a:gd name="connsiteX537" fmla="*/ 343821 w 578488"/>
                <a:gd name="connsiteY537" fmla="*/ 90698 h 470547"/>
                <a:gd name="connsiteX538" fmla="*/ 343189 w 578488"/>
                <a:gd name="connsiteY538" fmla="*/ 94352 h 470547"/>
                <a:gd name="connsiteX539" fmla="*/ 341433 w 578488"/>
                <a:gd name="connsiteY539" fmla="*/ 97469 h 470547"/>
                <a:gd name="connsiteX540" fmla="*/ 339386 w 578488"/>
                <a:gd name="connsiteY540" fmla="*/ 100001 h 470547"/>
                <a:gd name="connsiteX541" fmla="*/ 335436 w 578488"/>
                <a:gd name="connsiteY541" fmla="*/ 102509 h 470547"/>
                <a:gd name="connsiteX542" fmla="*/ 341433 w 578488"/>
                <a:gd name="connsiteY542" fmla="*/ 104984 h 470547"/>
                <a:gd name="connsiteX543" fmla="*/ 337363 w 578488"/>
                <a:gd name="connsiteY543" fmla="*/ 108323 h 470547"/>
                <a:gd name="connsiteX544" fmla="*/ 335458 w 578488"/>
                <a:gd name="connsiteY544" fmla="*/ 109623 h 470547"/>
                <a:gd name="connsiteX545" fmla="*/ 333251 w 578488"/>
                <a:gd name="connsiteY545" fmla="*/ 109399 h 470547"/>
                <a:gd name="connsiteX546" fmla="*/ 329297 w 578488"/>
                <a:gd name="connsiteY546" fmla="*/ 108244 h 470547"/>
                <a:gd name="connsiteX547" fmla="*/ 319740 w 578488"/>
                <a:gd name="connsiteY547" fmla="*/ 105452 h 470547"/>
                <a:gd name="connsiteX548" fmla="*/ 315177 w 578488"/>
                <a:gd name="connsiteY548" fmla="*/ 104401 h 470547"/>
                <a:gd name="connsiteX549" fmla="*/ 311100 w 578488"/>
                <a:gd name="connsiteY549" fmla="*/ 104079 h 470547"/>
                <a:gd name="connsiteX550" fmla="*/ 308923 w 578488"/>
                <a:gd name="connsiteY550" fmla="*/ 104120 h 470547"/>
                <a:gd name="connsiteX551" fmla="*/ 300273 w 578488"/>
                <a:gd name="connsiteY551" fmla="*/ 101727 h 470547"/>
                <a:gd name="connsiteX552" fmla="*/ 298602 w 578488"/>
                <a:gd name="connsiteY552" fmla="*/ 101995 h 470547"/>
                <a:gd name="connsiteX553" fmla="*/ 295496 w 578488"/>
                <a:gd name="connsiteY553" fmla="*/ 103032 h 470547"/>
                <a:gd name="connsiteX554" fmla="*/ 295153 w 578488"/>
                <a:gd name="connsiteY554" fmla="*/ 105358 h 470547"/>
                <a:gd name="connsiteX555" fmla="*/ 295349 w 578488"/>
                <a:gd name="connsiteY555" fmla="*/ 111135 h 470547"/>
                <a:gd name="connsiteX556" fmla="*/ 295807 w 578488"/>
                <a:gd name="connsiteY556" fmla="*/ 115572 h 470547"/>
                <a:gd name="connsiteX557" fmla="*/ 294665 w 578488"/>
                <a:gd name="connsiteY557" fmla="*/ 118133 h 470547"/>
                <a:gd name="connsiteX558" fmla="*/ 293520 w 578488"/>
                <a:gd name="connsiteY558" fmla="*/ 119869 h 470547"/>
                <a:gd name="connsiteX559" fmla="*/ 290059 w 578488"/>
                <a:gd name="connsiteY559" fmla="*/ 124542 h 470547"/>
                <a:gd name="connsiteX560" fmla="*/ 282277 w 578488"/>
                <a:gd name="connsiteY560" fmla="*/ 121367 h 470547"/>
                <a:gd name="connsiteX561" fmla="*/ 276967 w 578488"/>
                <a:gd name="connsiteY561" fmla="*/ 119261 h 470547"/>
                <a:gd name="connsiteX562" fmla="*/ 273559 w 578488"/>
                <a:gd name="connsiteY562" fmla="*/ 122064 h 470547"/>
                <a:gd name="connsiteX563" fmla="*/ 265004 w 578488"/>
                <a:gd name="connsiteY563" fmla="*/ 127192 h 470547"/>
                <a:gd name="connsiteX564" fmla="*/ 260624 w 578488"/>
                <a:gd name="connsiteY564" fmla="*/ 137276 h 470547"/>
                <a:gd name="connsiteX565" fmla="*/ 260372 w 578488"/>
                <a:gd name="connsiteY565" fmla="*/ 137605 h 470547"/>
                <a:gd name="connsiteX566" fmla="*/ 257785 w 578488"/>
                <a:gd name="connsiteY566" fmla="*/ 140161 h 470547"/>
                <a:gd name="connsiteX567" fmla="*/ 254468 w 578488"/>
                <a:gd name="connsiteY567" fmla="*/ 141334 h 470547"/>
                <a:gd name="connsiteX568" fmla="*/ 251957 w 578488"/>
                <a:gd name="connsiteY568" fmla="*/ 141914 h 470547"/>
                <a:gd name="connsiteX569" fmla="*/ 250495 w 578488"/>
                <a:gd name="connsiteY569" fmla="*/ 144897 h 470547"/>
                <a:gd name="connsiteX570" fmla="*/ 253902 w 578488"/>
                <a:gd name="connsiteY570" fmla="*/ 149167 h 470547"/>
                <a:gd name="connsiteX571" fmla="*/ 255651 w 578488"/>
                <a:gd name="connsiteY571" fmla="*/ 151417 h 470547"/>
                <a:gd name="connsiteX572" fmla="*/ 257280 w 578488"/>
                <a:gd name="connsiteY572" fmla="*/ 155042 h 470547"/>
                <a:gd name="connsiteX573" fmla="*/ 256979 w 578488"/>
                <a:gd name="connsiteY573" fmla="*/ 157347 h 470547"/>
                <a:gd name="connsiteX574" fmla="*/ 256599 w 578488"/>
                <a:gd name="connsiteY574" fmla="*/ 158780 h 470547"/>
                <a:gd name="connsiteX575" fmla="*/ 252933 w 578488"/>
                <a:gd name="connsiteY575" fmla="*/ 161708 h 470547"/>
                <a:gd name="connsiteX576" fmla="*/ 245116 w 578488"/>
                <a:gd name="connsiteY576" fmla="*/ 169424 h 470547"/>
                <a:gd name="connsiteX577" fmla="*/ 237882 w 578488"/>
                <a:gd name="connsiteY577" fmla="*/ 177449 h 470547"/>
                <a:gd name="connsiteX578" fmla="*/ 234917 w 578488"/>
                <a:gd name="connsiteY578" fmla="*/ 179747 h 470547"/>
                <a:gd name="connsiteX579" fmla="*/ 236262 w 578488"/>
                <a:gd name="connsiteY579" fmla="*/ 186523 h 470547"/>
                <a:gd name="connsiteX580" fmla="*/ 233855 w 578488"/>
                <a:gd name="connsiteY580" fmla="*/ 188504 h 470547"/>
                <a:gd name="connsiteX581" fmla="*/ 228955 w 578488"/>
                <a:gd name="connsiteY581" fmla="*/ 190744 h 470547"/>
                <a:gd name="connsiteX582" fmla="*/ 226450 w 578488"/>
                <a:gd name="connsiteY582" fmla="*/ 191608 h 470547"/>
                <a:gd name="connsiteX583" fmla="*/ 223751 w 578488"/>
                <a:gd name="connsiteY583" fmla="*/ 192114 h 470547"/>
                <a:gd name="connsiteX584" fmla="*/ 215465 w 578488"/>
                <a:gd name="connsiteY584" fmla="*/ 193008 h 470547"/>
                <a:gd name="connsiteX585" fmla="*/ 216940 w 578488"/>
                <a:gd name="connsiteY585" fmla="*/ 200220 h 470547"/>
                <a:gd name="connsiteX586" fmla="*/ 217497 w 578488"/>
                <a:gd name="connsiteY586" fmla="*/ 203404 h 470547"/>
                <a:gd name="connsiteX587" fmla="*/ 217484 w 578488"/>
                <a:gd name="connsiteY587" fmla="*/ 205291 h 470547"/>
                <a:gd name="connsiteX588" fmla="*/ 216627 w 578488"/>
                <a:gd name="connsiteY588" fmla="*/ 207126 h 470547"/>
                <a:gd name="connsiteX589" fmla="*/ 215603 w 578488"/>
                <a:gd name="connsiteY589" fmla="*/ 210635 h 470547"/>
                <a:gd name="connsiteX590" fmla="*/ 214059 w 578488"/>
                <a:gd name="connsiteY590" fmla="*/ 223129 h 470547"/>
                <a:gd name="connsiteX591" fmla="*/ 212878 w 578488"/>
                <a:gd name="connsiteY591" fmla="*/ 224469 h 470547"/>
                <a:gd name="connsiteX592" fmla="*/ 211246 w 578488"/>
                <a:gd name="connsiteY592" fmla="*/ 227840 h 470547"/>
                <a:gd name="connsiteX593" fmla="*/ 205999 w 578488"/>
                <a:gd name="connsiteY593" fmla="*/ 235919 h 470547"/>
                <a:gd name="connsiteX594" fmla="*/ 201790 w 578488"/>
                <a:gd name="connsiteY594" fmla="*/ 241272 h 470547"/>
                <a:gd name="connsiteX595" fmla="*/ 195720 w 578488"/>
                <a:gd name="connsiteY595" fmla="*/ 248960 h 470547"/>
                <a:gd name="connsiteX596" fmla="*/ 200656 w 578488"/>
                <a:gd name="connsiteY596" fmla="*/ 251381 h 470547"/>
                <a:gd name="connsiteX597" fmla="*/ 205169 w 578488"/>
                <a:gd name="connsiteY597" fmla="*/ 253145 h 470547"/>
                <a:gd name="connsiteX598" fmla="*/ 206104 w 578488"/>
                <a:gd name="connsiteY598" fmla="*/ 255857 h 470547"/>
                <a:gd name="connsiteX599" fmla="*/ 206726 w 578488"/>
                <a:gd name="connsiteY599" fmla="*/ 260380 h 470547"/>
                <a:gd name="connsiteX600" fmla="*/ 206575 w 578488"/>
                <a:gd name="connsiteY600" fmla="*/ 263453 h 470547"/>
                <a:gd name="connsiteX601" fmla="*/ 204852 w 578488"/>
                <a:gd name="connsiteY601" fmla="*/ 266213 h 470547"/>
                <a:gd name="connsiteX602" fmla="*/ 203513 w 578488"/>
                <a:gd name="connsiteY602" fmla="*/ 268148 h 470547"/>
                <a:gd name="connsiteX603" fmla="*/ 202580 w 578488"/>
                <a:gd name="connsiteY603" fmla="*/ 269091 h 470547"/>
                <a:gd name="connsiteX604" fmla="*/ 196171 w 578488"/>
                <a:gd name="connsiteY604" fmla="*/ 268152 h 470547"/>
                <a:gd name="connsiteX605" fmla="*/ 187966 w 578488"/>
                <a:gd name="connsiteY605" fmla="*/ 266945 h 470547"/>
                <a:gd name="connsiteX606" fmla="*/ 185841 w 578488"/>
                <a:gd name="connsiteY606" fmla="*/ 266934 h 470547"/>
                <a:gd name="connsiteX607" fmla="*/ 181066 w 578488"/>
                <a:gd name="connsiteY607" fmla="*/ 267803 h 470547"/>
                <a:gd name="connsiteX608" fmla="*/ 176758 w 578488"/>
                <a:gd name="connsiteY608" fmla="*/ 269586 h 470547"/>
                <a:gd name="connsiteX609" fmla="*/ 174487 w 578488"/>
                <a:gd name="connsiteY609" fmla="*/ 271088 h 470547"/>
                <a:gd name="connsiteX610" fmla="*/ 173878 w 578488"/>
                <a:gd name="connsiteY610" fmla="*/ 271685 h 470547"/>
                <a:gd name="connsiteX611" fmla="*/ 171008 w 578488"/>
                <a:gd name="connsiteY611" fmla="*/ 275099 h 470547"/>
                <a:gd name="connsiteX612" fmla="*/ 165905 w 578488"/>
                <a:gd name="connsiteY612" fmla="*/ 281156 h 470547"/>
                <a:gd name="connsiteX613" fmla="*/ 163102 w 578488"/>
                <a:gd name="connsiteY613" fmla="*/ 283795 h 470547"/>
                <a:gd name="connsiteX614" fmla="*/ 163919 w 578488"/>
                <a:gd name="connsiteY614" fmla="*/ 287426 h 470547"/>
                <a:gd name="connsiteX615" fmla="*/ 159226 w 578488"/>
                <a:gd name="connsiteY615" fmla="*/ 294429 h 470547"/>
                <a:gd name="connsiteX616" fmla="*/ 162295 w 578488"/>
                <a:gd name="connsiteY616" fmla="*/ 301478 h 470547"/>
                <a:gd name="connsiteX617" fmla="*/ 162426 w 578488"/>
                <a:gd name="connsiteY617" fmla="*/ 301709 h 470547"/>
                <a:gd name="connsiteX618" fmla="*/ 164052 w 578488"/>
                <a:gd name="connsiteY618" fmla="*/ 304551 h 470547"/>
                <a:gd name="connsiteX619" fmla="*/ 162347 w 578488"/>
                <a:gd name="connsiteY619" fmla="*/ 306381 h 470547"/>
                <a:gd name="connsiteX620" fmla="*/ 161630 w 578488"/>
                <a:gd name="connsiteY620" fmla="*/ 307364 h 470547"/>
                <a:gd name="connsiteX621" fmla="*/ 161873 w 578488"/>
                <a:gd name="connsiteY621" fmla="*/ 310603 h 470547"/>
                <a:gd name="connsiteX622" fmla="*/ 162321 w 578488"/>
                <a:gd name="connsiteY622" fmla="*/ 314217 h 470547"/>
                <a:gd name="connsiteX623" fmla="*/ 161923 w 578488"/>
                <a:gd name="connsiteY623" fmla="*/ 316334 h 470547"/>
                <a:gd name="connsiteX624" fmla="*/ 161761 w 578488"/>
                <a:gd name="connsiteY624" fmla="*/ 318682 h 470547"/>
                <a:gd name="connsiteX625" fmla="*/ 165940 w 578488"/>
                <a:gd name="connsiteY625" fmla="*/ 329208 h 470547"/>
                <a:gd name="connsiteX626" fmla="*/ 165892 w 578488"/>
                <a:gd name="connsiteY626" fmla="*/ 331669 h 470547"/>
                <a:gd name="connsiteX627" fmla="*/ 165685 w 578488"/>
                <a:gd name="connsiteY627" fmla="*/ 333254 h 470547"/>
                <a:gd name="connsiteX628" fmla="*/ 164396 w 578488"/>
                <a:gd name="connsiteY628" fmla="*/ 339764 h 470547"/>
                <a:gd name="connsiteX629" fmla="*/ 162664 w 578488"/>
                <a:gd name="connsiteY629" fmla="*/ 348480 h 470547"/>
                <a:gd name="connsiteX630" fmla="*/ 165687 w 578488"/>
                <a:gd name="connsiteY630" fmla="*/ 350764 h 470547"/>
                <a:gd name="connsiteX631" fmla="*/ 169993 w 578488"/>
                <a:gd name="connsiteY631" fmla="*/ 353492 h 470547"/>
                <a:gd name="connsiteX632" fmla="*/ 172409 w 578488"/>
                <a:gd name="connsiteY632" fmla="*/ 354565 h 470547"/>
                <a:gd name="connsiteX633" fmla="*/ 175979 w 578488"/>
                <a:gd name="connsiteY633" fmla="*/ 357800 h 470547"/>
                <a:gd name="connsiteX634" fmla="*/ 178704 w 578488"/>
                <a:gd name="connsiteY634" fmla="*/ 360956 h 470547"/>
                <a:gd name="connsiteX635" fmla="*/ 178326 w 578488"/>
                <a:gd name="connsiteY635" fmla="*/ 363049 h 470547"/>
                <a:gd name="connsiteX636" fmla="*/ 177542 w 578488"/>
                <a:gd name="connsiteY636" fmla="*/ 365356 h 470547"/>
                <a:gd name="connsiteX637" fmla="*/ 176395 w 578488"/>
                <a:gd name="connsiteY637" fmla="*/ 366968 h 470547"/>
                <a:gd name="connsiteX638" fmla="*/ 175322 w 578488"/>
                <a:gd name="connsiteY638" fmla="*/ 369179 h 470547"/>
                <a:gd name="connsiteX639" fmla="*/ 174841 w 578488"/>
                <a:gd name="connsiteY639" fmla="*/ 370806 h 470547"/>
                <a:gd name="connsiteX640" fmla="*/ 174331 w 578488"/>
                <a:gd name="connsiteY640" fmla="*/ 371244 h 470547"/>
                <a:gd name="connsiteX641" fmla="*/ 169568 w 578488"/>
                <a:gd name="connsiteY641" fmla="*/ 371422 h 470547"/>
                <a:gd name="connsiteX642" fmla="*/ 167049 w 578488"/>
                <a:gd name="connsiteY642" fmla="*/ 372037 h 470547"/>
                <a:gd name="connsiteX643" fmla="*/ 165732 w 578488"/>
                <a:gd name="connsiteY643" fmla="*/ 372726 h 470547"/>
                <a:gd name="connsiteX644" fmla="*/ 166186 w 578488"/>
                <a:gd name="connsiteY644" fmla="*/ 376434 h 470547"/>
                <a:gd name="connsiteX645" fmla="*/ 169075 w 578488"/>
                <a:gd name="connsiteY645" fmla="*/ 383209 h 470547"/>
                <a:gd name="connsiteX646" fmla="*/ 171474 w 578488"/>
                <a:gd name="connsiteY646" fmla="*/ 388013 h 470547"/>
                <a:gd name="connsiteX647" fmla="*/ 172245 w 578488"/>
                <a:gd name="connsiteY647" fmla="*/ 391175 h 470547"/>
                <a:gd name="connsiteX648" fmla="*/ 171453 w 578488"/>
                <a:gd name="connsiteY648" fmla="*/ 394375 h 470547"/>
                <a:gd name="connsiteX649" fmla="*/ 170634 w 578488"/>
                <a:gd name="connsiteY649" fmla="*/ 396012 h 470547"/>
                <a:gd name="connsiteX650" fmla="*/ 170608 w 578488"/>
                <a:gd name="connsiteY650" fmla="*/ 398214 h 470547"/>
                <a:gd name="connsiteX651" fmla="*/ 169978 w 578488"/>
                <a:gd name="connsiteY651" fmla="*/ 402590 h 470547"/>
                <a:gd name="connsiteX652" fmla="*/ 168118 w 578488"/>
                <a:gd name="connsiteY652" fmla="*/ 404799 h 470547"/>
                <a:gd name="connsiteX653" fmla="*/ 165685 w 578488"/>
                <a:gd name="connsiteY653" fmla="*/ 407204 h 470547"/>
                <a:gd name="connsiteX654" fmla="*/ 162971 w 578488"/>
                <a:gd name="connsiteY654" fmla="*/ 408999 h 470547"/>
                <a:gd name="connsiteX655" fmla="*/ 160818 w 578488"/>
                <a:gd name="connsiteY655" fmla="*/ 409503 h 470547"/>
                <a:gd name="connsiteX656" fmla="*/ 158969 w 578488"/>
                <a:gd name="connsiteY656" fmla="*/ 409711 h 470547"/>
                <a:gd name="connsiteX657" fmla="*/ 157728 w 578488"/>
                <a:gd name="connsiteY657" fmla="*/ 410622 h 470547"/>
                <a:gd name="connsiteX658" fmla="*/ 156602 w 578488"/>
                <a:gd name="connsiteY658" fmla="*/ 413299 h 470547"/>
                <a:gd name="connsiteX659" fmla="*/ 155564 w 578488"/>
                <a:gd name="connsiteY659" fmla="*/ 416106 h 470547"/>
                <a:gd name="connsiteX660" fmla="*/ 152169 w 578488"/>
                <a:gd name="connsiteY660" fmla="*/ 419553 h 470547"/>
                <a:gd name="connsiteX661" fmla="*/ 152260 w 578488"/>
                <a:gd name="connsiteY661" fmla="*/ 420752 h 470547"/>
                <a:gd name="connsiteX662" fmla="*/ 153553 w 578488"/>
                <a:gd name="connsiteY662" fmla="*/ 424829 h 470547"/>
                <a:gd name="connsiteX663" fmla="*/ 154765 w 578488"/>
                <a:gd name="connsiteY663" fmla="*/ 429460 h 470547"/>
                <a:gd name="connsiteX664" fmla="*/ 153741 w 578488"/>
                <a:gd name="connsiteY664" fmla="*/ 433781 h 470547"/>
                <a:gd name="connsiteX665" fmla="*/ 152865 w 578488"/>
                <a:gd name="connsiteY665" fmla="*/ 438308 h 470547"/>
                <a:gd name="connsiteX666" fmla="*/ 151329 w 578488"/>
                <a:gd name="connsiteY666" fmla="*/ 441320 h 470547"/>
                <a:gd name="connsiteX667" fmla="*/ 149135 w 578488"/>
                <a:gd name="connsiteY667" fmla="*/ 442395 h 470547"/>
                <a:gd name="connsiteX668" fmla="*/ 147524 w 578488"/>
                <a:gd name="connsiteY668" fmla="*/ 441858 h 470547"/>
                <a:gd name="connsiteX669" fmla="*/ 145702 w 578488"/>
                <a:gd name="connsiteY669" fmla="*/ 437727 h 470547"/>
                <a:gd name="connsiteX670" fmla="*/ 145661 w 578488"/>
                <a:gd name="connsiteY670" fmla="*/ 436776 h 470547"/>
                <a:gd name="connsiteX671" fmla="*/ 145207 w 578488"/>
                <a:gd name="connsiteY671" fmla="*/ 435511 h 470547"/>
                <a:gd name="connsiteX672" fmla="*/ 140038 w 578488"/>
                <a:gd name="connsiteY672" fmla="*/ 434250 h 470547"/>
                <a:gd name="connsiteX673" fmla="*/ 139124 w 578488"/>
                <a:gd name="connsiteY673" fmla="*/ 434296 h 470547"/>
                <a:gd name="connsiteX674" fmla="*/ 137092 w 578488"/>
                <a:gd name="connsiteY674" fmla="*/ 433557 h 470547"/>
                <a:gd name="connsiteX675" fmla="*/ 135901 w 578488"/>
                <a:gd name="connsiteY675" fmla="*/ 433348 h 470547"/>
                <a:gd name="connsiteX676" fmla="*/ 133456 w 578488"/>
                <a:gd name="connsiteY676" fmla="*/ 432921 h 470547"/>
                <a:gd name="connsiteX677" fmla="*/ 131424 w 578488"/>
                <a:gd name="connsiteY677" fmla="*/ 429261 h 470547"/>
                <a:gd name="connsiteX678" fmla="*/ 129265 w 578488"/>
                <a:gd name="connsiteY678" fmla="*/ 426212 h 470547"/>
                <a:gd name="connsiteX679" fmla="*/ 128958 w 578488"/>
                <a:gd name="connsiteY679" fmla="*/ 424936 h 470547"/>
                <a:gd name="connsiteX680" fmla="*/ 129032 w 578488"/>
                <a:gd name="connsiteY680" fmla="*/ 419218 h 470547"/>
                <a:gd name="connsiteX681" fmla="*/ 128371 w 578488"/>
                <a:gd name="connsiteY681" fmla="*/ 416670 h 470547"/>
                <a:gd name="connsiteX682" fmla="*/ 128168 w 578488"/>
                <a:gd name="connsiteY682" fmla="*/ 413889 h 470547"/>
                <a:gd name="connsiteX683" fmla="*/ 126809 w 578488"/>
                <a:gd name="connsiteY683" fmla="*/ 416151 h 470547"/>
                <a:gd name="connsiteX684" fmla="*/ 127598 w 578488"/>
                <a:gd name="connsiteY684" fmla="*/ 419723 h 470547"/>
                <a:gd name="connsiteX685" fmla="*/ 125922 w 578488"/>
                <a:gd name="connsiteY685" fmla="*/ 421220 h 470547"/>
                <a:gd name="connsiteX686" fmla="*/ 123808 w 578488"/>
                <a:gd name="connsiteY686" fmla="*/ 421947 h 470547"/>
                <a:gd name="connsiteX687" fmla="*/ 124007 w 578488"/>
                <a:gd name="connsiteY687" fmla="*/ 424035 h 470547"/>
                <a:gd name="connsiteX688" fmla="*/ 124875 w 578488"/>
                <a:gd name="connsiteY688" fmla="*/ 424430 h 470547"/>
                <a:gd name="connsiteX689" fmla="*/ 125056 w 578488"/>
                <a:gd name="connsiteY689" fmla="*/ 426595 h 470547"/>
                <a:gd name="connsiteX690" fmla="*/ 124542 w 578488"/>
                <a:gd name="connsiteY690" fmla="*/ 429796 h 470547"/>
                <a:gd name="connsiteX691" fmla="*/ 120381 w 578488"/>
                <a:gd name="connsiteY691" fmla="*/ 436895 h 470547"/>
                <a:gd name="connsiteX692" fmla="*/ 119541 w 578488"/>
                <a:gd name="connsiteY692" fmla="*/ 437657 h 470547"/>
                <a:gd name="connsiteX693" fmla="*/ 118971 w 578488"/>
                <a:gd name="connsiteY693" fmla="*/ 438614 h 470547"/>
                <a:gd name="connsiteX694" fmla="*/ 116842 w 578488"/>
                <a:gd name="connsiteY694" fmla="*/ 437978 h 470547"/>
                <a:gd name="connsiteX695" fmla="*/ 114110 w 578488"/>
                <a:gd name="connsiteY695" fmla="*/ 439950 h 470547"/>
                <a:gd name="connsiteX696" fmla="*/ 111523 w 578488"/>
                <a:gd name="connsiteY696" fmla="*/ 440266 h 470547"/>
                <a:gd name="connsiteX697" fmla="*/ 110586 w 578488"/>
                <a:gd name="connsiteY697" fmla="*/ 438035 h 470547"/>
                <a:gd name="connsiteX698" fmla="*/ 106936 w 578488"/>
                <a:gd name="connsiteY698" fmla="*/ 435079 h 470547"/>
                <a:gd name="connsiteX699" fmla="*/ 105213 w 578488"/>
                <a:gd name="connsiteY699" fmla="*/ 435245 h 470547"/>
                <a:gd name="connsiteX700" fmla="*/ 106760 w 578488"/>
                <a:gd name="connsiteY700" fmla="*/ 436704 h 470547"/>
                <a:gd name="connsiteX701" fmla="*/ 108284 w 578488"/>
                <a:gd name="connsiteY701" fmla="*/ 438599 h 470547"/>
                <a:gd name="connsiteX702" fmla="*/ 107418 w 578488"/>
                <a:gd name="connsiteY702" fmla="*/ 439853 h 470547"/>
                <a:gd name="connsiteX703" fmla="*/ 106567 w 578488"/>
                <a:gd name="connsiteY703" fmla="*/ 440671 h 470547"/>
                <a:gd name="connsiteX704" fmla="*/ 105077 w 578488"/>
                <a:gd name="connsiteY704" fmla="*/ 441095 h 470547"/>
                <a:gd name="connsiteX705" fmla="*/ 99746 w 578488"/>
                <a:gd name="connsiteY705" fmla="*/ 443570 h 470547"/>
                <a:gd name="connsiteX706" fmla="*/ 101644 w 578488"/>
                <a:gd name="connsiteY706" fmla="*/ 445231 h 470547"/>
                <a:gd name="connsiteX707" fmla="*/ 100033 w 578488"/>
                <a:gd name="connsiteY707" fmla="*/ 447116 h 470547"/>
                <a:gd name="connsiteX708" fmla="*/ 98170 w 578488"/>
                <a:gd name="connsiteY708" fmla="*/ 447393 h 470547"/>
                <a:gd name="connsiteX709" fmla="*/ 97176 w 578488"/>
                <a:gd name="connsiteY709" fmla="*/ 448273 h 470547"/>
                <a:gd name="connsiteX710" fmla="*/ 96831 w 578488"/>
                <a:gd name="connsiteY710" fmla="*/ 449467 h 470547"/>
                <a:gd name="connsiteX711" fmla="*/ 91309 w 578488"/>
                <a:gd name="connsiteY711" fmla="*/ 452866 h 470547"/>
                <a:gd name="connsiteX712" fmla="*/ 82309 w 578488"/>
                <a:gd name="connsiteY712" fmla="*/ 461559 h 470547"/>
                <a:gd name="connsiteX713" fmla="*/ 77684 w 578488"/>
                <a:gd name="connsiteY713" fmla="*/ 464009 h 470547"/>
                <a:gd name="connsiteX714" fmla="*/ 74453 w 578488"/>
                <a:gd name="connsiteY714" fmla="*/ 466554 h 470547"/>
                <a:gd name="connsiteX715" fmla="*/ 71607 w 578488"/>
                <a:gd name="connsiteY715" fmla="*/ 466491 h 470547"/>
                <a:gd name="connsiteX716" fmla="*/ 68029 w 578488"/>
                <a:gd name="connsiteY716" fmla="*/ 468652 h 470547"/>
                <a:gd name="connsiteX717" fmla="*/ 58970 w 578488"/>
                <a:gd name="connsiteY717" fmla="*/ 470547 h 470547"/>
                <a:gd name="connsiteX718" fmla="*/ 52961 w 578488"/>
                <a:gd name="connsiteY718" fmla="*/ 469690 h 470547"/>
                <a:gd name="connsiteX719" fmla="*/ 48776 w 578488"/>
                <a:gd name="connsiteY719" fmla="*/ 470442 h 470547"/>
                <a:gd name="connsiteX720" fmla="*/ 46532 w 578488"/>
                <a:gd name="connsiteY720" fmla="*/ 468957 h 470547"/>
                <a:gd name="connsiteX721" fmla="*/ 46241 w 578488"/>
                <a:gd name="connsiteY721" fmla="*/ 467936 h 470547"/>
                <a:gd name="connsiteX722" fmla="*/ 46353 w 578488"/>
                <a:gd name="connsiteY722" fmla="*/ 467343 h 470547"/>
                <a:gd name="connsiteX723" fmla="*/ 46729 w 578488"/>
                <a:gd name="connsiteY723" fmla="*/ 466632 h 470547"/>
                <a:gd name="connsiteX724" fmla="*/ 45949 w 578488"/>
                <a:gd name="connsiteY724" fmla="*/ 466380 h 470547"/>
                <a:gd name="connsiteX725" fmla="*/ 44308 w 578488"/>
                <a:gd name="connsiteY725" fmla="*/ 466257 h 470547"/>
                <a:gd name="connsiteX726" fmla="*/ 43606 w 578488"/>
                <a:gd name="connsiteY726" fmla="*/ 466974 h 470547"/>
                <a:gd name="connsiteX727" fmla="*/ 43511 w 578488"/>
                <a:gd name="connsiteY727" fmla="*/ 468602 h 470547"/>
                <a:gd name="connsiteX728" fmla="*/ 42730 w 578488"/>
                <a:gd name="connsiteY728" fmla="*/ 469027 h 470547"/>
                <a:gd name="connsiteX729" fmla="*/ 39613 w 578488"/>
                <a:gd name="connsiteY729" fmla="*/ 468096 h 470547"/>
                <a:gd name="connsiteX730" fmla="*/ 38830 w 578488"/>
                <a:gd name="connsiteY730" fmla="*/ 467257 h 470547"/>
                <a:gd name="connsiteX731" fmla="*/ 39950 w 578488"/>
                <a:gd name="connsiteY731" fmla="*/ 465556 h 470547"/>
                <a:gd name="connsiteX732" fmla="*/ 41868 w 578488"/>
                <a:gd name="connsiteY732" fmla="*/ 464023 h 470547"/>
                <a:gd name="connsiteX733" fmla="*/ 41520 w 578488"/>
                <a:gd name="connsiteY733" fmla="*/ 463709 h 470547"/>
                <a:gd name="connsiteX734" fmla="*/ 41147 w 578488"/>
                <a:gd name="connsiteY734" fmla="*/ 462777 h 470547"/>
                <a:gd name="connsiteX735" fmla="*/ 40211 w 578488"/>
                <a:gd name="connsiteY735" fmla="*/ 462659 h 470547"/>
                <a:gd name="connsiteX736" fmla="*/ 37424 w 578488"/>
                <a:gd name="connsiteY736" fmla="*/ 462884 h 470547"/>
                <a:gd name="connsiteX737" fmla="*/ 35159 w 578488"/>
                <a:gd name="connsiteY737" fmla="*/ 462609 h 470547"/>
                <a:gd name="connsiteX738" fmla="*/ 27765 w 578488"/>
                <a:gd name="connsiteY738" fmla="*/ 459156 h 470547"/>
                <a:gd name="connsiteX739" fmla="*/ 26038 w 578488"/>
                <a:gd name="connsiteY739" fmla="*/ 457312 h 470547"/>
                <a:gd name="connsiteX740" fmla="*/ 20073 w 578488"/>
                <a:gd name="connsiteY740" fmla="*/ 454363 h 470547"/>
                <a:gd name="connsiteX741" fmla="*/ 17400 w 578488"/>
                <a:gd name="connsiteY741" fmla="*/ 451234 h 470547"/>
                <a:gd name="connsiteX742" fmla="*/ 15882 w 578488"/>
                <a:gd name="connsiteY742" fmla="*/ 447798 h 470547"/>
                <a:gd name="connsiteX743" fmla="*/ 15996 w 578488"/>
                <a:gd name="connsiteY743" fmla="*/ 444680 h 470547"/>
                <a:gd name="connsiteX744" fmla="*/ 16728 w 578488"/>
                <a:gd name="connsiteY744" fmla="*/ 439723 h 470547"/>
                <a:gd name="connsiteX745" fmla="*/ 17981 w 578488"/>
                <a:gd name="connsiteY745" fmla="*/ 438496 h 470547"/>
                <a:gd name="connsiteX746" fmla="*/ 23334 w 578488"/>
                <a:gd name="connsiteY746" fmla="*/ 440234 h 470547"/>
                <a:gd name="connsiteX747" fmla="*/ 28745 w 578488"/>
                <a:gd name="connsiteY747" fmla="*/ 443134 h 470547"/>
                <a:gd name="connsiteX748" fmla="*/ 29592 w 578488"/>
                <a:gd name="connsiteY748" fmla="*/ 442991 h 470547"/>
                <a:gd name="connsiteX749" fmla="*/ 31291 w 578488"/>
                <a:gd name="connsiteY749" fmla="*/ 440715 h 470547"/>
                <a:gd name="connsiteX750" fmla="*/ 34589 w 578488"/>
                <a:gd name="connsiteY750" fmla="*/ 438885 h 470547"/>
                <a:gd name="connsiteX751" fmla="*/ 33656 w 578488"/>
                <a:gd name="connsiteY751" fmla="*/ 438380 h 470547"/>
                <a:gd name="connsiteX752" fmla="*/ 28754 w 578488"/>
                <a:gd name="connsiteY752" fmla="*/ 440479 h 470547"/>
                <a:gd name="connsiteX753" fmla="*/ 26931 w 578488"/>
                <a:gd name="connsiteY753" fmla="*/ 439316 h 470547"/>
                <a:gd name="connsiteX754" fmla="*/ 24105 w 578488"/>
                <a:gd name="connsiteY754" fmla="*/ 436946 h 470547"/>
                <a:gd name="connsiteX755" fmla="*/ 24105 w 578488"/>
                <a:gd name="connsiteY755" fmla="*/ 435725 h 470547"/>
                <a:gd name="connsiteX756" fmla="*/ 25422 w 578488"/>
                <a:gd name="connsiteY756" fmla="*/ 434503 h 470547"/>
                <a:gd name="connsiteX757" fmla="*/ 25860 w 578488"/>
                <a:gd name="connsiteY757" fmla="*/ 432849 h 470547"/>
                <a:gd name="connsiteX758" fmla="*/ 25169 w 578488"/>
                <a:gd name="connsiteY758" fmla="*/ 431287 h 470547"/>
                <a:gd name="connsiteX759" fmla="*/ 25491 w 578488"/>
                <a:gd name="connsiteY759" fmla="*/ 429160 h 470547"/>
                <a:gd name="connsiteX760" fmla="*/ 27677 w 578488"/>
                <a:gd name="connsiteY760" fmla="*/ 426901 h 470547"/>
                <a:gd name="connsiteX761" fmla="*/ 30954 w 578488"/>
                <a:gd name="connsiteY761" fmla="*/ 424611 h 470547"/>
                <a:gd name="connsiteX762" fmla="*/ 33315 w 578488"/>
                <a:gd name="connsiteY762" fmla="*/ 422399 h 470547"/>
                <a:gd name="connsiteX763" fmla="*/ 35740 w 578488"/>
                <a:gd name="connsiteY763" fmla="*/ 421036 h 470547"/>
                <a:gd name="connsiteX764" fmla="*/ 35487 w 578488"/>
                <a:gd name="connsiteY764" fmla="*/ 420581 h 470547"/>
                <a:gd name="connsiteX765" fmla="*/ 32714 w 578488"/>
                <a:gd name="connsiteY765" fmla="*/ 421449 h 470547"/>
                <a:gd name="connsiteX766" fmla="*/ 30062 w 578488"/>
                <a:gd name="connsiteY766" fmla="*/ 422921 h 470547"/>
                <a:gd name="connsiteX767" fmla="*/ 26940 w 578488"/>
                <a:gd name="connsiteY767" fmla="*/ 425385 h 470547"/>
                <a:gd name="connsiteX768" fmla="*/ 23133 w 578488"/>
                <a:gd name="connsiteY768" fmla="*/ 427381 h 470547"/>
                <a:gd name="connsiteX769" fmla="*/ 20319 w 578488"/>
                <a:gd name="connsiteY769" fmla="*/ 428155 h 470547"/>
                <a:gd name="connsiteX770" fmla="*/ 18978 w 578488"/>
                <a:gd name="connsiteY770" fmla="*/ 428795 h 470547"/>
                <a:gd name="connsiteX771" fmla="*/ 16916 w 578488"/>
                <a:gd name="connsiteY771" fmla="*/ 429417 h 470547"/>
                <a:gd name="connsiteX772" fmla="*/ 14783 w 578488"/>
                <a:gd name="connsiteY772" fmla="*/ 432273 h 470547"/>
                <a:gd name="connsiteX773" fmla="*/ 12455 w 578488"/>
                <a:gd name="connsiteY773" fmla="*/ 433495 h 470547"/>
                <a:gd name="connsiteX774" fmla="*/ 8274 w 578488"/>
                <a:gd name="connsiteY774" fmla="*/ 433619 h 470547"/>
                <a:gd name="connsiteX775" fmla="*/ 7355 w 578488"/>
                <a:gd name="connsiteY775" fmla="*/ 431533 h 470547"/>
                <a:gd name="connsiteX776" fmla="*/ 8535 w 578488"/>
                <a:gd name="connsiteY776" fmla="*/ 424101 h 470547"/>
                <a:gd name="connsiteX777" fmla="*/ 9799 w 578488"/>
                <a:gd name="connsiteY777" fmla="*/ 420472 h 470547"/>
                <a:gd name="connsiteX778" fmla="*/ 11185 w 578488"/>
                <a:gd name="connsiteY778" fmla="*/ 417901 h 470547"/>
                <a:gd name="connsiteX779" fmla="*/ 13366 w 578488"/>
                <a:gd name="connsiteY779" fmla="*/ 417468 h 470547"/>
                <a:gd name="connsiteX780" fmla="*/ 14891 w 578488"/>
                <a:gd name="connsiteY780" fmla="*/ 415582 h 470547"/>
                <a:gd name="connsiteX781" fmla="*/ 16156 w 578488"/>
                <a:gd name="connsiteY781" fmla="*/ 415582 h 470547"/>
                <a:gd name="connsiteX782" fmla="*/ 17257 w 578488"/>
                <a:gd name="connsiteY782" fmla="*/ 416453 h 470547"/>
                <a:gd name="connsiteX783" fmla="*/ 21518 w 578488"/>
                <a:gd name="connsiteY783" fmla="*/ 417297 h 470547"/>
                <a:gd name="connsiteX784" fmla="*/ 23621 w 578488"/>
                <a:gd name="connsiteY784" fmla="*/ 414895 h 470547"/>
                <a:gd name="connsiteX785" fmla="*/ 26357 w 578488"/>
                <a:gd name="connsiteY785" fmla="*/ 414543 h 470547"/>
                <a:gd name="connsiteX786" fmla="*/ 31345 w 578488"/>
                <a:gd name="connsiteY786" fmla="*/ 412116 h 470547"/>
                <a:gd name="connsiteX787" fmla="*/ 31241 w 578488"/>
                <a:gd name="connsiteY787" fmla="*/ 411674 h 470547"/>
                <a:gd name="connsiteX788" fmla="*/ 27866 w 578488"/>
                <a:gd name="connsiteY788" fmla="*/ 412208 h 470547"/>
                <a:gd name="connsiteX789" fmla="*/ 25819 w 578488"/>
                <a:gd name="connsiteY789" fmla="*/ 412287 h 470547"/>
                <a:gd name="connsiteX790" fmla="*/ 22885 w 578488"/>
                <a:gd name="connsiteY790" fmla="*/ 412896 h 470547"/>
                <a:gd name="connsiteX791" fmla="*/ 21326 w 578488"/>
                <a:gd name="connsiteY791" fmla="*/ 412461 h 470547"/>
                <a:gd name="connsiteX792" fmla="*/ 20596 w 578488"/>
                <a:gd name="connsiteY792" fmla="*/ 410642 h 470547"/>
                <a:gd name="connsiteX793" fmla="*/ 21770 w 578488"/>
                <a:gd name="connsiteY793" fmla="*/ 409002 h 470547"/>
                <a:gd name="connsiteX794" fmla="*/ 26478 w 578488"/>
                <a:gd name="connsiteY794" fmla="*/ 405081 h 470547"/>
                <a:gd name="connsiteX795" fmla="*/ 28102 w 578488"/>
                <a:gd name="connsiteY795" fmla="*/ 403361 h 470547"/>
                <a:gd name="connsiteX796" fmla="*/ 29028 w 578488"/>
                <a:gd name="connsiteY796" fmla="*/ 401753 h 470547"/>
                <a:gd name="connsiteX797" fmla="*/ 28881 w 578488"/>
                <a:gd name="connsiteY797" fmla="*/ 400658 h 470547"/>
                <a:gd name="connsiteX798" fmla="*/ 29663 w 578488"/>
                <a:gd name="connsiteY798" fmla="*/ 398392 h 470547"/>
                <a:gd name="connsiteX799" fmla="*/ 34267 w 578488"/>
                <a:gd name="connsiteY799" fmla="*/ 394426 h 470547"/>
                <a:gd name="connsiteX800" fmla="*/ 38011 w 578488"/>
                <a:gd name="connsiteY800" fmla="*/ 392611 h 470547"/>
                <a:gd name="connsiteX801" fmla="*/ 39240 w 578488"/>
                <a:gd name="connsiteY801" fmla="*/ 394173 h 470547"/>
                <a:gd name="connsiteX802" fmla="*/ 38195 w 578488"/>
                <a:gd name="connsiteY802" fmla="*/ 399051 h 470547"/>
                <a:gd name="connsiteX803" fmla="*/ 38205 w 578488"/>
                <a:gd name="connsiteY803" fmla="*/ 401062 h 470547"/>
                <a:gd name="connsiteX804" fmla="*/ 41170 w 578488"/>
                <a:gd name="connsiteY804" fmla="*/ 393952 h 470547"/>
                <a:gd name="connsiteX805" fmla="*/ 42475 w 578488"/>
                <a:gd name="connsiteY805" fmla="*/ 392258 h 470547"/>
                <a:gd name="connsiteX806" fmla="*/ 43960 w 578488"/>
                <a:gd name="connsiteY806" fmla="*/ 391063 h 470547"/>
                <a:gd name="connsiteX807" fmla="*/ 47556 w 578488"/>
                <a:gd name="connsiteY807" fmla="*/ 390260 h 470547"/>
                <a:gd name="connsiteX808" fmla="*/ 48573 w 578488"/>
                <a:gd name="connsiteY808" fmla="*/ 389136 h 470547"/>
                <a:gd name="connsiteX809" fmla="*/ 44386 w 578488"/>
                <a:gd name="connsiteY809" fmla="*/ 389508 h 470547"/>
                <a:gd name="connsiteX810" fmla="*/ 34228 w 578488"/>
                <a:gd name="connsiteY810" fmla="*/ 392228 h 470547"/>
                <a:gd name="connsiteX811" fmla="*/ 29946 w 578488"/>
                <a:gd name="connsiteY811" fmla="*/ 394649 h 470547"/>
                <a:gd name="connsiteX812" fmla="*/ 28806 w 578488"/>
                <a:gd name="connsiteY812" fmla="*/ 396513 h 470547"/>
                <a:gd name="connsiteX813" fmla="*/ 25834 w 578488"/>
                <a:gd name="connsiteY813" fmla="*/ 399318 h 470547"/>
                <a:gd name="connsiteX814" fmla="*/ 24441 w 578488"/>
                <a:gd name="connsiteY814" fmla="*/ 401138 h 470547"/>
                <a:gd name="connsiteX815" fmla="*/ 23826 w 578488"/>
                <a:gd name="connsiteY815" fmla="*/ 403807 h 470547"/>
                <a:gd name="connsiteX816" fmla="*/ 22152 w 578488"/>
                <a:gd name="connsiteY816" fmla="*/ 405256 h 470547"/>
                <a:gd name="connsiteX817" fmla="*/ 19896 w 578488"/>
                <a:gd name="connsiteY817" fmla="*/ 405791 h 470547"/>
                <a:gd name="connsiteX818" fmla="*/ 16761 w 578488"/>
                <a:gd name="connsiteY818" fmla="*/ 409168 h 470547"/>
                <a:gd name="connsiteX819" fmla="*/ 15379 w 578488"/>
                <a:gd name="connsiteY819" fmla="*/ 411878 h 470547"/>
                <a:gd name="connsiteX820" fmla="*/ 12259 w 578488"/>
                <a:gd name="connsiteY820" fmla="*/ 414035 h 470547"/>
                <a:gd name="connsiteX821" fmla="*/ 10278 w 578488"/>
                <a:gd name="connsiteY821" fmla="*/ 415692 h 470547"/>
                <a:gd name="connsiteX822" fmla="*/ 9628 w 578488"/>
                <a:gd name="connsiteY822" fmla="*/ 416283 h 470547"/>
                <a:gd name="connsiteX823" fmla="*/ 8557 w 578488"/>
                <a:gd name="connsiteY823" fmla="*/ 417911 h 470547"/>
                <a:gd name="connsiteX824" fmla="*/ 7667 w 578488"/>
                <a:gd name="connsiteY824" fmla="*/ 418025 h 470547"/>
                <a:gd name="connsiteX825" fmla="*/ 6892 w 578488"/>
                <a:gd name="connsiteY825" fmla="*/ 417071 h 470547"/>
                <a:gd name="connsiteX826" fmla="*/ 6763 w 578488"/>
                <a:gd name="connsiteY826" fmla="*/ 414970 h 470547"/>
                <a:gd name="connsiteX827" fmla="*/ 7080 w 578488"/>
                <a:gd name="connsiteY827" fmla="*/ 411611 h 470547"/>
                <a:gd name="connsiteX828" fmla="*/ 8581 w 578488"/>
                <a:gd name="connsiteY828" fmla="*/ 409191 h 470547"/>
                <a:gd name="connsiteX829" fmla="*/ 9298 w 578488"/>
                <a:gd name="connsiteY829" fmla="*/ 406824 h 470547"/>
                <a:gd name="connsiteX830" fmla="*/ 8300 w 578488"/>
                <a:gd name="connsiteY830" fmla="*/ 404611 h 470547"/>
                <a:gd name="connsiteX831" fmla="*/ 8991 w 578488"/>
                <a:gd name="connsiteY831" fmla="*/ 403214 h 470547"/>
                <a:gd name="connsiteX832" fmla="*/ 10313 w 578488"/>
                <a:gd name="connsiteY832" fmla="*/ 403262 h 470547"/>
                <a:gd name="connsiteX833" fmla="*/ 12768 w 578488"/>
                <a:gd name="connsiteY833" fmla="*/ 403899 h 470547"/>
                <a:gd name="connsiteX834" fmla="*/ 15379 w 578488"/>
                <a:gd name="connsiteY834" fmla="*/ 403797 h 470547"/>
                <a:gd name="connsiteX835" fmla="*/ 19669 w 578488"/>
                <a:gd name="connsiteY835" fmla="*/ 402047 h 470547"/>
                <a:gd name="connsiteX836" fmla="*/ 18985 w 578488"/>
                <a:gd name="connsiteY836" fmla="*/ 401024 h 470547"/>
                <a:gd name="connsiteX837" fmla="*/ 17132 w 578488"/>
                <a:gd name="connsiteY837" fmla="*/ 400878 h 470547"/>
                <a:gd name="connsiteX838" fmla="*/ 13673 w 578488"/>
                <a:gd name="connsiteY838" fmla="*/ 401024 h 470547"/>
                <a:gd name="connsiteX839" fmla="*/ 10764 w 578488"/>
                <a:gd name="connsiteY839" fmla="*/ 399313 h 470547"/>
                <a:gd name="connsiteX840" fmla="*/ 8503 w 578488"/>
                <a:gd name="connsiteY840" fmla="*/ 395906 h 470547"/>
                <a:gd name="connsiteX841" fmla="*/ 7475 w 578488"/>
                <a:gd name="connsiteY841" fmla="*/ 391346 h 470547"/>
                <a:gd name="connsiteX842" fmla="*/ 8162 w 578488"/>
                <a:gd name="connsiteY842" fmla="*/ 390040 h 470547"/>
                <a:gd name="connsiteX843" fmla="*/ 16528 w 578488"/>
                <a:gd name="connsiteY843" fmla="*/ 385382 h 470547"/>
                <a:gd name="connsiteX844" fmla="*/ 18780 w 578488"/>
                <a:gd name="connsiteY844" fmla="*/ 383264 h 470547"/>
                <a:gd name="connsiteX845" fmla="*/ 17475 w 578488"/>
                <a:gd name="connsiteY845" fmla="*/ 383054 h 470547"/>
                <a:gd name="connsiteX846" fmla="*/ 14336 w 578488"/>
                <a:gd name="connsiteY846" fmla="*/ 385623 h 470547"/>
                <a:gd name="connsiteX847" fmla="*/ 9840 w 578488"/>
                <a:gd name="connsiteY847" fmla="*/ 387216 h 470547"/>
                <a:gd name="connsiteX848" fmla="*/ 7005 w 578488"/>
                <a:gd name="connsiteY848" fmla="*/ 385001 h 470547"/>
                <a:gd name="connsiteX849" fmla="*/ 5530 w 578488"/>
                <a:gd name="connsiteY849" fmla="*/ 382612 h 470547"/>
                <a:gd name="connsiteX850" fmla="*/ 4681 w 578488"/>
                <a:gd name="connsiteY850" fmla="*/ 377560 h 470547"/>
                <a:gd name="connsiteX851" fmla="*/ 4988 w 578488"/>
                <a:gd name="connsiteY851" fmla="*/ 374959 h 470547"/>
                <a:gd name="connsiteX852" fmla="*/ 4633 w 578488"/>
                <a:gd name="connsiteY852" fmla="*/ 371534 h 470547"/>
                <a:gd name="connsiteX853" fmla="*/ 6553 w 578488"/>
                <a:gd name="connsiteY853" fmla="*/ 370420 h 470547"/>
                <a:gd name="connsiteX854" fmla="*/ 8700 w 578488"/>
                <a:gd name="connsiteY854" fmla="*/ 371012 h 470547"/>
                <a:gd name="connsiteX855" fmla="*/ 10816 w 578488"/>
                <a:gd name="connsiteY855" fmla="*/ 371232 h 470547"/>
                <a:gd name="connsiteX856" fmla="*/ 15616 w 578488"/>
                <a:gd name="connsiteY856" fmla="*/ 370932 h 470547"/>
                <a:gd name="connsiteX857" fmla="*/ 26201 w 578488"/>
                <a:gd name="connsiteY857" fmla="*/ 368874 h 470547"/>
                <a:gd name="connsiteX858" fmla="*/ 33025 w 578488"/>
                <a:gd name="connsiteY858" fmla="*/ 370097 h 470547"/>
                <a:gd name="connsiteX859" fmla="*/ 35798 w 578488"/>
                <a:gd name="connsiteY859" fmla="*/ 369985 h 470547"/>
                <a:gd name="connsiteX860" fmla="*/ 40041 w 578488"/>
                <a:gd name="connsiteY860" fmla="*/ 368212 h 470547"/>
                <a:gd name="connsiteX861" fmla="*/ 43755 w 578488"/>
                <a:gd name="connsiteY861" fmla="*/ 368029 h 470547"/>
                <a:gd name="connsiteX862" fmla="*/ 46532 w 578488"/>
                <a:gd name="connsiteY862" fmla="*/ 369384 h 470547"/>
                <a:gd name="connsiteX863" fmla="*/ 48050 w 578488"/>
                <a:gd name="connsiteY863" fmla="*/ 370937 h 470547"/>
                <a:gd name="connsiteX864" fmla="*/ 48238 w 578488"/>
                <a:gd name="connsiteY864" fmla="*/ 373013 h 470547"/>
                <a:gd name="connsiteX865" fmla="*/ 49523 w 578488"/>
                <a:gd name="connsiteY865" fmla="*/ 374396 h 470547"/>
                <a:gd name="connsiteX866" fmla="*/ 50391 w 578488"/>
                <a:gd name="connsiteY866" fmla="*/ 373947 h 470547"/>
                <a:gd name="connsiteX867" fmla="*/ 49700 w 578488"/>
                <a:gd name="connsiteY867" fmla="*/ 372303 h 470547"/>
                <a:gd name="connsiteX868" fmla="*/ 49555 w 578488"/>
                <a:gd name="connsiteY868" fmla="*/ 369753 h 470547"/>
                <a:gd name="connsiteX869" fmla="*/ 60719 w 578488"/>
                <a:gd name="connsiteY869" fmla="*/ 366861 h 470547"/>
                <a:gd name="connsiteX870" fmla="*/ 62035 w 578488"/>
                <a:gd name="connsiteY870" fmla="*/ 365736 h 470547"/>
                <a:gd name="connsiteX871" fmla="*/ 57599 w 578488"/>
                <a:gd name="connsiteY871" fmla="*/ 365345 h 470547"/>
                <a:gd name="connsiteX872" fmla="*/ 56331 w 578488"/>
                <a:gd name="connsiteY872" fmla="*/ 362701 h 470547"/>
                <a:gd name="connsiteX873" fmla="*/ 58674 w 578488"/>
                <a:gd name="connsiteY873" fmla="*/ 358695 h 470547"/>
                <a:gd name="connsiteX874" fmla="*/ 58454 w 578488"/>
                <a:gd name="connsiteY874" fmla="*/ 358175 h 470547"/>
                <a:gd name="connsiteX875" fmla="*/ 55990 w 578488"/>
                <a:gd name="connsiteY875" fmla="*/ 360290 h 470547"/>
                <a:gd name="connsiteX876" fmla="*/ 54777 w 578488"/>
                <a:gd name="connsiteY876" fmla="*/ 363263 h 470547"/>
                <a:gd name="connsiteX877" fmla="*/ 55258 w 578488"/>
                <a:gd name="connsiteY877" fmla="*/ 365633 h 470547"/>
                <a:gd name="connsiteX878" fmla="*/ 54770 w 578488"/>
                <a:gd name="connsiteY878" fmla="*/ 366733 h 470547"/>
                <a:gd name="connsiteX879" fmla="*/ 52505 w 578488"/>
                <a:gd name="connsiteY879" fmla="*/ 367237 h 470547"/>
                <a:gd name="connsiteX880" fmla="*/ 47398 w 578488"/>
                <a:gd name="connsiteY880" fmla="*/ 367420 h 470547"/>
                <a:gd name="connsiteX881" fmla="*/ 44120 w 578488"/>
                <a:gd name="connsiteY881" fmla="*/ 366415 h 470547"/>
                <a:gd name="connsiteX882" fmla="*/ 41084 w 578488"/>
                <a:gd name="connsiteY882" fmla="*/ 365869 h 470547"/>
                <a:gd name="connsiteX883" fmla="*/ 40050 w 578488"/>
                <a:gd name="connsiteY883" fmla="*/ 365111 h 470547"/>
                <a:gd name="connsiteX884" fmla="*/ 40395 w 578488"/>
                <a:gd name="connsiteY884" fmla="*/ 363419 h 470547"/>
                <a:gd name="connsiteX885" fmla="*/ 39821 w 578488"/>
                <a:gd name="connsiteY885" fmla="*/ 363070 h 470547"/>
                <a:gd name="connsiteX886" fmla="*/ 38564 w 578488"/>
                <a:gd name="connsiteY886" fmla="*/ 364591 h 470547"/>
                <a:gd name="connsiteX887" fmla="*/ 37448 w 578488"/>
                <a:gd name="connsiteY887" fmla="*/ 367620 h 470547"/>
                <a:gd name="connsiteX888" fmla="*/ 35035 w 578488"/>
                <a:gd name="connsiteY888" fmla="*/ 368317 h 470547"/>
                <a:gd name="connsiteX889" fmla="*/ 28380 w 578488"/>
                <a:gd name="connsiteY889" fmla="*/ 367193 h 470547"/>
                <a:gd name="connsiteX890" fmla="*/ 18745 w 578488"/>
                <a:gd name="connsiteY890" fmla="*/ 367855 h 470547"/>
                <a:gd name="connsiteX891" fmla="*/ 14422 w 578488"/>
                <a:gd name="connsiteY891" fmla="*/ 369378 h 470547"/>
                <a:gd name="connsiteX892" fmla="*/ 11621 w 578488"/>
                <a:gd name="connsiteY892" fmla="*/ 369179 h 470547"/>
                <a:gd name="connsiteX893" fmla="*/ 6804 w 578488"/>
                <a:gd name="connsiteY893" fmla="*/ 366511 h 470547"/>
                <a:gd name="connsiteX894" fmla="*/ 4923 w 578488"/>
                <a:gd name="connsiteY894" fmla="*/ 364387 h 470547"/>
                <a:gd name="connsiteX895" fmla="*/ 4221 w 578488"/>
                <a:gd name="connsiteY895" fmla="*/ 360099 h 470547"/>
                <a:gd name="connsiteX896" fmla="*/ 4504 w 578488"/>
                <a:gd name="connsiteY896" fmla="*/ 358210 h 470547"/>
                <a:gd name="connsiteX897" fmla="*/ 8257 w 578488"/>
                <a:gd name="connsiteY897" fmla="*/ 357414 h 470547"/>
                <a:gd name="connsiteX898" fmla="*/ 10155 w 578488"/>
                <a:gd name="connsiteY898" fmla="*/ 357470 h 470547"/>
                <a:gd name="connsiteX899" fmla="*/ 11932 w 578488"/>
                <a:gd name="connsiteY899" fmla="*/ 356454 h 470547"/>
                <a:gd name="connsiteX900" fmla="*/ 10360 w 578488"/>
                <a:gd name="connsiteY900" fmla="*/ 355794 h 470547"/>
                <a:gd name="connsiteX901" fmla="*/ 8149 w 578488"/>
                <a:gd name="connsiteY901" fmla="*/ 354496 h 470547"/>
                <a:gd name="connsiteX902" fmla="*/ 6642 w 578488"/>
                <a:gd name="connsiteY902" fmla="*/ 351893 h 470547"/>
                <a:gd name="connsiteX903" fmla="*/ 4370 w 578488"/>
                <a:gd name="connsiteY903" fmla="*/ 351044 h 470547"/>
                <a:gd name="connsiteX904" fmla="*/ 2848 w 578488"/>
                <a:gd name="connsiteY904" fmla="*/ 348822 h 470547"/>
                <a:gd name="connsiteX905" fmla="*/ 2461 w 578488"/>
                <a:gd name="connsiteY905" fmla="*/ 345461 h 470547"/>
                <a:gd name="connsiteX906" fmla="*/ 2897 w 578488"/>
                <a:gd name="connsiteY906" fmla="*/ 343122 h 470547"/>
                <a:gd name="connsiteX907" fmla="*/ 4113 w 578488"/>
                <a:gd name="connsiteY907" fmla="*/ 342369 h 470547"/>
                <a:gd name="connsiteX908" fmla="*/ 7031 w 578488"/>
                <a:gd name="connsiteY908" fmla="*/ 342881 h 470547"/>
                <a:gd name="connsiteX909" fmla="*/ 14733 w 578488"/>
                <a:gd name="connsiteY909" fmla="*/ 342488 h 470547"/>
                <a:gd name="connsiteX910" fmla="*/ 21984 w 578488"/>
                <a:gd name="connsiteY910" fmla="*/ 344865 h 470547"/>
                <a:gd name="connsiteX911" fmla="*/ 26905 w 578488"/>
                <a:gd name="connsiteY911" fmla="*/ 346212 h 470547"/>
                <a:gd name="connsiteX912" fmla="*/ 36875 w 578488"/>
                <a:gd name="connsiteY912" fmla="*/ 345535 h 470547"/>
                <a:gd name="connsiteX913" fmla="*/ 42714 w 578488"/>
                <a:gd name="connsiteY913" fmla="*/ 343413 h 470547"/>
                <a:gd name="connsiteX914" fmla="*/ 41643 w 578488"/>
                <a:gd name="connsiteY914" fmla="*/ 342826 h 470547"/>
                <a:gd name="connsiteX915" fmla="*/ 35310 w 578488"/>
                <a:gd name="connsiteY915" fmla="*/ 344053 h 470547"/>
                <a:gd name="connsiteX916" fmla="*/ 29456 w 578488"/>
                <a:gd name="connsiteY916" fmla="*/ 344003 h 470547"/>
                <a:gd name="connsiteX917" fmla="*/ 19136 w 578488"/>
                <a:gd name="connsiteY917" fmla="*/ 341603 h 470547"/>
                <a:gd name="connsiteX918" fmla="*/ 14904 w 578488"/>
                <a:gd name="connsiteY918" fmla="*/ 340829 h 470547"/>
                <a:gd name="connsiteX919" fmla="*/ 10345 w 578488"/>
                <a:gd name="connsiteY919" fmla="*/ 341171 h 470547"/>
                <a:gd name="connsiteX920" fmla="*/ 7972 w 578488"/>
                <a:gd name="connsiteY920" fmla="*/ 340442 h 470547"/>
                <a:gd name="connsiteX921" fmla="*/ 6577 w 578488"/>
                <a:gd name="connsiteY921" fmla="*/ 338065 h 470547"/>
                <a:gd name="connsiteX922" fmla="*/ 7609 w 578488"/>
                <a:gd name="connsiteY922" fmla="*/ 333512 h 470547"/>
                <a:gd name="connsiteX923" fmla="*/ 9771 w 578488"/>
                <a:gd name="connsiteY923" fmla="*/ 332528 h 470547"/>
                <a:gd name="connsiteX924" fmla="*/ 10941 w 578488"/>
                <a:gd name="connsiteY924" fmla="*/ 333717 h 470547"/>
                <a:gd name="connsiteX925" fmla="*/ 12353 w 578488"/>
                <a:gd name="connsiteY925" fmla="*/ 333792 h 470547"/>
                <a:gd name="connsiteX926" fmla="*/ 13783 w 578488"/>
                <a:gd name="connsiteY926" fmla="*/ 331887 h 470547"/>
                <a:gd name="connsiteX927" fmla="*/ 15152 w 578488"/>
                <a:gd name="connsiteY927" fmla="*/ 330801 h 470547"/>
                <a:gd name="connsiteX928" fmla="*/ 16236 w 578488"/>
                <a:gd name="connsiteY928" fmla="*/ 328341 h 470547"/>
                <a:gd name="connsiteX929" fmla="*/ 20324 w 578488"/>
                <a:gd name="connsiteY929" fmla="*/ 326007 h 470547"/>
                <a:gd name="connsiteX930" fmla="*/ 22051 w 578488"/>
                <a:gd name="connsiteY930" fmla="*/ 325809 h 470547"/>
                <a:gd name="connsiteX931" fmla="*/ 24528 w 578488"/>
                <a:gd name="connsiteY931" fmla="*/ 324733 h 470547"/>
                <a:gd name="connsiteX932" fmla="*/ 26109 w 578488"/>
                <a:gd name="connsiteY932" fmla="*/ 325038 h 470547"/>
                <a:gd name="connsiteX933" fmla="*/ 27122 w 578488"/>
                <a:gd name="connsiteY933" fmla="*/ 326118 h 470547"/>
                <a:gd name="connsiteX934" fmla="*/ 28402 w 578488"/>
                <a:gd name="connsiteY934" fmla="*/ 327012 h 470547"/>
                <a:gd name="connsiteX935" fmla="*/ 31177 w 578488"/>
                <a:gd name="connsiteY935" fmla="*/ 326903 h 470547"/>
                <a:gd name="connsiteX936" fmla="*/ 39382 w 578488"/>
                <a:gd name="connsiteY936" fmla="*/ 325033 h 470547"/>
                <a:gd name="connsiteX937" fmla="*/ 40266 w 578488"/>
                <a:gd name="connsiteY937" fmla="*/ 324483 h 470547"/>
                <a:gd name="connsiteX938" fmla="*/ 41866 w 578488"/>
                <a:gd name="connsiteY938" fmla="*/ 322944 h 470547"/>
                <a:gd name="connsiteX939" fmla="*/ 36664 w 578488"/>
                <a:gd name="connsiteY939" fmla="*/ 323630 h 470547"/>
                <a:gd name="connsiteX940" fmla="*/ 32343 w 578488"/>
                <a:gd name="connsiteY940" fmla="*/ 324723 h 470547"/>
                <a:gd name="connsiteX941" fmla="*/ 29566 w 578488"/>
                <a:gd name="connsiteY941" fmla="*/ 325026 h 470547"/>
                <a:gd name="connsiteX942" fmla="*/ 29175 w 578488"/>
                <a:gd name="connsiteY942" fmla="*/ 323662 h 470547"/>
                <a:gd name="connsiteX943" fmla="*/ 30199 w 578488"/>
                <a:gd name="connsiteY943" fmla="*/ 322450 h 470547"/>
                <a:gd name="connsiteX944" fmla="*/ 31807 w 578488"/>
                <a:gd name="connsiteY944" fmla="*/ 321160 h 470547"/>
                <a:gd name="connsiteX945" fmla="*/ 32589 w 578488"/>
                <a:gd name="connsiteY945" fmla="*/ 318959 h 470547"/>
                <a:gd name="connsiteX946" fmla="*/ 34359 w 578488"/>
                <a:gd name="connsiteY946" fmla="*/ 318019 h 470547"/>
                <a:gd name="connsiteX947" fmla="*/ 36273 w 578488"/>
                <a:gd name="connsiteY947" fmla="*/ 318069 h 470547"/>
                <a:gd name="connsiteX948" fmla="*/ 40229 w 578488"/>
                <a:gd name="connsiteY948" fmla="*/ 317669 h 470547"/>
                <a:gd name="connsiteX949" fmla="*/ 43021 w 578488"/>
                <a:gd name="connsiteY949" fmla="*/ 317096 h 470547"/>
                <a:gd name="connsiteX950" fmla="*/ 47808 w 578488"/>
                <a:gd name="connsiteY950" fmla="*/ 317480 h 470547"/>
                <a:gd name="connsiteX951" fmla="*/ 54943 w 578488"/>
                <a:gd name="connsiteY951" fmla="*/ 318323 h 470547"/>
                <a:gd name="connsiteX952" fmla="*/ 59542 w 578488"/>
                <a:gd name="connsiteY952" fmla="*/ 320372 h 470547"/>
                <a:gd name="connsiteX953" fmla="*/ 61274 w 578488"/>
                <a:gd name="connsiteY953" fmla="*/ 320187 h 470547"/>
                <a:gd name="connsiteX954" fmla="*/ 63110 w 578488"/>
                <a:gd name="connsiteY954" fmla="*/ 319642 h 470547"/>
                <a:gd name="connsiteX955" fmla="*/ 63941 w 578488"/>
                <a:gd name="connsiteY955" fmla="*/ 318899 h 470547"/>
                <a:gd name="connsiteX956" fmla="*/ 60331 w 578488"/>
                <a:gd name="connsiteY956" fmla="*/ 318048 h 470547"/>
                <a:gd name="connsiteX957" fmla="*/ 60125 w 578488"/>
                <a:gd name="connsiteY957" fmla="*/ 316834 h 470547"/>
                <a:gd name="connsiteX958" fmla="*/ 60573 w 578488"/>
                <a:gd name="connsiteY958" fmla="*/ 315918 h 470547"/>
                <a:gd name="connsiteX959" fmla="*/ 66461 w 578488"/>
                <a:gd name="connsiteY959" fmla="*/ 314229 h 470547"/>
                <a:gd name="connsiteX960" fmla="*/ 72892 w 578488"/>
                <a:gd name="connsiteY960" fmla="*/ 313855 h 470547"/>
                <a:gd name="connsiteX961" fmla="*/ 71786 w 578488"/>
                <a:gd name="connsiteY961" fmla="*/ 312494 h 470547"/>
                <a:gd name="connsiteX962" fmla="*/ 57698 w 578488"/>
                <a:gd name="connsiteY962" fmla="*/ 314548 h 470547"/>
                <a:gd name="connsiteX963" fmla="*/ 54021 w 578488"/>
                <a:gd name="connsiteY963" fmla="*/ 313146 h 470547"/>
                <a:gd name="connsiteX964" fmla="*/ 51119 w 578488"/>
                <a:gd name="connsiteY964" fmla="*/ 313158 h 470547"/>
                <a:gd name="connsiteX965" fmla="*/ 49218 w 578488"/>
                <a:gd name="connsiteY965" fmla="*/ 313959 h 470547"/>
                <a:gd name="connsiteX966" fmla="*/ 43803 w 578488"/>
                <a:gd name="connsiteY966" fmla="*/ 314929 h 470547"/>
                <a:gd name="connsiteX967" fmla="*/ 42807 w 578488"/>
                <a:gd name="connsiteY967" fmla="*/ 314239 h 470547"/>
                <a:gd name="connsiteX968" fmla="*/ 43837 w 578488"/>
                <a:gd name="connsiteY968" fmla="*/ 311857 h 470547"/>
                <a:gd name="connsiteX969" fmla="*/ 47081 w 578488"/>
                <a:gd name="connsiteY969" fmla="*/ 307944 h 470547"/>
                <a:gd name="connsiteX970" fmla="*/ 47351 w 578488"/>
                <a:gd name="connsiteY970" fmla="*/ 306984 h 470547"/>
                <a:gd name="connsiteX971" fmla="*/ 48856 w 578488"/>
                <a:gd name="connsiteY971" fmla="*/ 306041 h 470547"/>
                <a:gd name="connsiteX972" fmla="*/ 57271 w 578488"/>
                <a:gd name="connsiteY972" fmla="*/ 303765 h 470547"/>
                <a:gd name="connsiteX973" fmla="*/ 61313 w 578488"/>
                <a:gd name="connsiteY973" fmla="*/ 301118 h 470547"/>
                <a:gd name="connsiteX974" fmla="*/ 63136 w 578488"/>
                <a:gd name="connsiteY974" fmla="*/ 300782 h 470547"/>
                <a:gd name="connsiteX975" fmla="*/ 64943 w 578488"/>
                <a:gd name="connsiteY975" fmla="*/ 300967 h 470547"/>
                <a:gd name="connsiteX976" fmla="*/ 67692 w 578488"/>
                <a:gd name="connsiteY976" fmla="*/ 300657 h 470547"/>
                <a:gd name="connsiteX977" fmla="*/ 73004 w 578488"/>
                <a:gd name="connsiteY977" fmla="*/ 301415 h 470547"/>
                <a:gd name="connsiteX978" fmla="*/ 75448 w 578488"/>
                <a:gd name="connsiteY978" fmla="*/ 304729 h 470547"/>
                <a:gd name="connsiteX979" fmla="*/ 77647 w 578488"/>
                <a:gd name="connsiteY979" fmla="*/ 305769 h 470547"/>
                <a:gd name="connsiteX980" fmla="*/ 84559 w 578488"/>
                <a:gd name="connsiteY980" fmla="*/ 309900 h 470547"/>
                <a:gd name="connsiteX981" fmla="*/ 84250 w 578488"/>
                <a:gd name="connsiteY981" fmla="*/ 308712 h 470547"/>
                <a:gd name="connsiteX982" fmla="*/ 78267 w 578488"/>
                <a:gd name="connsiteY982" fmla="*/ 303109 h 470547"/>
                <a:gd name="connsiteX983" fmla="*/ 75980 w 578488"/>
                <a:gd name="connsiteY983" fmla="*/ 301720 h 470547"/>
                <a:gd name="connsiteX984" fmla="*/ 74274 w 578488"/>
                <a:gd name="connsiteY984" fmla="*/ 298962 h 470547"/>
                <a:gd name="connsiteX985" fmla="*/ 74859 w 578488"/>
                <a:gd name="connsiteY985" fmla="*/ 296352 h 470547"/>
                <a:gd name="connsiteX986" fmla="*/ 76783 w 578488"/>
                <a:gd name="connsiteY986" fmla="*/ 294608 h 470547"/>
                <a:gd name="connsiteX987" fmla="*/ 83609 w 578488"/>
                <a:gd name="connsiteY987" fmla="*/ 293673 h 470547"/>
                <a:gd name="connsiteX988" fmla="*/ 84833 w 578488"/>
                <a:gd name="connsiteY988" fmla="*/ 292663 h 470547"/>
                <a:gd name="connsiteX989" fmla="*/ 84954 w 578488"/>
                <a:gd name="connsiteY989" fmla="*/ 290926 h 470547"/>
                <a:gd name="connsiteX990" fmla="*/ 83909 w 578488"/>
                <a:gd name="connsiteY990" fmla="*/ 289737 h 470547"/>
                <a:gd name="connsiteX991" fmla="*/ 81398 w 578488"/>
                <a:gd name="connsiteY991" fmla="*/ 289806 h 470547"/>
                <a:gd name="connsiteX992" fmla="*/ 79327 w 578488"/>
                <a:gd name="connsiteY992" fmla="*/ 289069 h 470547"/>
                <a:gd name="connsiteX993" fmla="*/ 78757 w 578488"/>
                <a:gd name="connsiteY993" fmla="*/ 287194 h 470547"/>
                <a:gd name="connsiteX994" fmla="*/ 79584 w 578488"/>
                <a:gd name="connsiteY994" fmla="*/ 285926 h 470547"/>
                <a:gd name="connsiteX995" fmla="*/ 83520 w 578488"/>
                <a:gd name="connsiteY995" fmla="*/ 283612 h 470547"/>
                <a:gd name="connsiteX996" fmla="*/ 85675 w 578488"/>
                <a:gd name="connsiteY996" fmla="*/ 282860 h 470547"/>
                <a:gd name="connsiteX997" fmla="*/ 89407 w 578488"/>
                <a:gd name="connsiteY997" fmla="*/ 282044 h 470547"/>
                <a:gd name="connsiteX998" fmla="*/ 95896 w 578488"/>
                <a:gd name="connsiteY998" fmla="*/ 283876 h 470547"/>
                <a:gd name="connsiteX999" fmla="*/ 96388 w 578488"/>
                <a:gd name="connsiteY999" fmla="*/ 284835 h 470547"/>
                <a:gd name="connsiteX1000" fmla="*/ 94570 w 578488"/>
                <a:gd name="connsiteY1000" fmla="*/ 287141 h 470547"/>
                <a:gd name="connsiteX1001" fmla="*/ 94753 w 578488"/>
                <a:gd name="connsiteY1001" fmla="*/ 288434 h 470547"/>
                <a:gd name="connsiteX1002" fmla="*/ 96343 w 578488"/>
                <a:gd name="connsiteY1002" fmla="*/ 288577 h 470547"/>
                <a:gd name="connsiteX1003" fmla="*/ 100048 w 578488"/>
                <a:gd name="connsiteY1003" fmla="*/ 284691 h 470547"/>
                <a:gd name="connsiteX1004" fmla="*/ 104406 w 578488"/>
                <a:gd name="connsiteY1004" fmla="*/ 284154 h 470547"/>
                <a:gd name="connsiteX1005" fmla="*/ 106209 w 578488"/>
                <a:gd name="connsiteY1005" fmla="*/ 283318 h 470547"/>
                <a:gd name="connsiteX1006" fmla="*/ 108301 w 578488"/>
                <a:gd name="connsiteY1006" fmla="*/ 282792 h 470547"/>
                <a:gd name="connsiteX1007" fmla="*/ 111294 w 578488"/>
                <a:gd name="connsiteY1007" fmla="*/ 286309 h 470547"/>
                <a:gd name="connsiteX1008" fmla="*/ 112605 w 578488"/>
                <a:gd name="connsiteY1008" fmla="*/ 287433 h 470547"/>
                <a:gd name="connsiteX1009" fmla="*/ 113590 w 578488"/>
                <a:gd name="connsiteY1009" fmla="*/ 287894 h 470547"/>
                <a:gd name="connsiteX1010" fmla="*/ 114544 w 578488"/>
                <a:gd name="connsiteY1010" fmla="*/ 290815 h 470547"/>
                <a:gd name="connsiteX1011" fmla="*/ 115468 w 578488"/>
                <a:gd name="connsiteY1011" fmla="*/ 290971 h 470547"/>
                <a:gd name="connsiteX1012" fmla="*/ 116785 w 578488"/>
                <a:gd name="connsiteY1012" fmla="*/ 289507 h 470547"/>
                <a:gd name="connsiteX1013" fmla="*/ 119174 w 578488"/>
                <a:gd name="connsiteY1013" fmla="*/ 288736 h 470547"/>
                <a:gd name="connsiteX1014" fmla="*/ 122523 w 578488"/>
                <a:gd name="connsiteY1014" fmla="*/ 288227 h 470547"/>
                <a:gd name="connsiteX1015" fmla="*/ 128070 w 578488"/>
                <a:gd name="connsiteY1015" fmla="*/ 289000 h 470547"/>
                <a:gd name="connsiteX1016" fmla="*/ 130582 w 578488"/>
                <a:gd name="connsiteY1016" fmla="*/ 288429 h 470547"/>
                <a:gd name="connsiteX1017" fmla="*/ 131813 w 578488"/>
                <a:gd name="connsiteY1017" fmla="*/ 288509 h 470547"/>
                <a:gd name="connsiteX1018" fmla="*/ 130632 w 578488"/>
                <a:gd name="connsiteY1018" fmla="*/ 285883 h 470547"/>
                <a:gd name="connsiteX1019" fmla="*/ 129899 w 578488"/>
                <a:gd name="connsiteY1019" fmla="*/ 285124 h 470547"/>
                <a:gd name="connsiteX1020" fmla="*/ 131042 w 578488"/>
                <a:gd name="connsiteY1020" fmla="*/ 282777 h 470547"/>
                <a:gd name="connsiteX1021" fmla="*/ 132234 w 578488"/>
                <a:gd name="connsiteY1021" fmla="*/ 281859 h 470547"/>
                <a:gd name="connsiteX1022" fmla="*/ 136067 w 578488"/>
                <a:gd name="connsiteY1022" fmla="*/ 280209 h 470547"/>
                <a:gd name="connsiteX1023" fmla="*/ 139722 w 578488"/>
                <a:gd name="connsiteY1023" fmla="*/ 279472 h 470547"/>
                <a:gd name="connsiteX1024" fmla="*/ 142109 w 578488"/>
                <a:gd name="connsiteY1024" fmla="*/ 277904 h 470547"/>
                <a:gd name="connsiteX1025" fmla="*/ 145313 w 578488"/>
                <a:gd name="connsiteY1025" fmla="*/ 276462 h 470547"/>
                <a:gd name="connsiteX1026" fmla="*/ 144810 w 578488"/>
                <a:gd name="connsiteY1026" fmla="*/ 275306 h 470547"/>
                <a:gd name="connsiteX1027" fmla="*/ 143918 w 578488"/>
                <a:gd name="connsiteY1027" fmla="*/ 273967 h 470547"/>
                <a:gd name="connsiteX1028" fmla="*/ 141845 w 578488"/>
                <a:gd name="connsiteY1028" fmla="*/ 273882 h 470547"/>
                <a:gd name="connsiteX1029" fmla="*/ 140999 w 578488"/>
                <a:gd name="connsiteY1029" fmla="*/ 273151 h 470547"/>
                <a:gd name="connsiteX1030" fmla="*/ 143631 w 578488"/>
                <a:gd name="connsiteY1030" fmla="*/ 271414 h 470547"/>
                <a:gd name="connsiteX1031" fmla="*/ 147235 w 578488"/>
                <a:gd name="connsiteY1031" fmla="*/ 269481 h 470547"/>
                <a:gd name="connsiteX1032" fmla="*/ 146607 w 578488"/>
                <a:gd name="connsiteY1032" fmla="*/ 268721 h 470547"/>
                <a:gd name="connsiteX1033" fmla="*/ 143897 w 578488"/>
                <a:gd name="connsiteY1033" fmla="*/ 267861 h 470547"/>
                <a:gd name="connsiteX1034" fmla="*/ 141839 w 578488"/>
                <a:gd name="connsiteY1034" fmla="*/ 268509 h 470547"/>
                <a:gd name="connsiteX1035" fmla="*/ 138779 w 578488"/>
                <a:gd name="connsiteY1035" fmla="*/ 270005 h 470547"/>
                <a:gd name="connsiteX1036" fmla="*/ 135220 w 578488"/>
                <a:gd name="connsiteY1036" fmla="*/ 272369 h 470547"/>
                <a:gd name="connsiteX1037" fmla="*/ 136380 w 578488"/>
                <a:gd name="connsiteY1037" fmla="*/ 273057 h 470547"/>
                <a:gd name="connsiteX1038" fmla="*/ 138161 w 578488"/>
                <a:gd name="connsiteY1038" fmla="*/ 275041 h 470547"/>
                <a:gd name="connsiteX1039" fmla="*/ 135676 w 578488"/>
                <a:gd name="connsiteY1039" fmla="*/ 277679 h 470547"/>
                <a:gd name="connsiteX1040" fmla="*/ 122504 w 578488"/>
                <a:gd name="connsiteY1040" fmla="*/ 284668 h 470547"/>
                <a:gd name="connsiteX1041" fmla="*/ 116222 w 578488"/>
                <a:gd name="connsiteY1041" fmla="*/ 286710 h 470547"/>
                <a:gd name="connsiteX1042" fmla="*/ 113324 w 578488"/>
                <a:gd name="connsiteY1042" fmla="*/ 286392 h 470547"/>
                <a:gd name="connsiteX1043" fmla="*/ 112633 w 578488"/>
                <a:gd name="connsiteY1043" fmla="*/ 284486 h 470547"/>
                <a:gd name="connsiteX1044" fmla="*/ 111296 w 578488"/>
                <a:gd name="connsiteY1044" fmla="*/ 283074 h 470547"/>
                <a:gd name="connsiteX1045" fmla="*/ 109863 w 578488"/>
                <a:gd name="connsiteY1045" fmla="*/ 280162 h 470547"/>
                <a:gd name="connsiteX1046" fmla="*/ 107425 w 578488"/>
                <a:gd name="connsiteY1046" fmla="*/ 280240 h 470547"/>
                <a:gd name="connsiteX1047" fmla="*/ 106040 w 578488"/>
                <a:gd name="connsiteY1047" fmla="*/ 280884 h 470547"/>
                <a:gd name="connsiteX1048" fmla="*/ 105436 w 578488"/>
                <a:gd name="connsiteY1048" fmla="*/ 279929 h 470547"/>
                <a:gd name="connsiteX1049" fmla="*/ 106485 w 578488"/>
                <a:gd name="connsiteY1049" fmla="*/ 276814 h 470547"/>
                <a:gd name="connsiteX1050" fmla="*/ 108548 w 578488"/>
                <a:gd name="connsiteY1050" fmla="*/ 274348 h 470547"/>
                <a:gd name="connsiteX1051" fmla="*/ 112007 w 578488"/>
                <a:gd name="connsiteY1051" fmla="*/ 272484 h 470547"/>
                <a:gd name="connsiteX1052" fmla="*/ 113665 w 578488"/>
                <a:gd name="connsiteY1052" fmla="*/ 270230 h 470547"/>
                <a:gd name="connsiteX1053" fmla="*/ 115224 w 578488"/>
                <a:gd name="connsiteY1053" fmla="*/ 266650 h 470547"/>
                <a:gd name="connsiteX1054" fmla="*/ 120228 w 578488"/>
                <a:gd name="connsiteY1054" fmla="*/ 263237 h 470547"/>
                <a:gd name="connsiteX1055" fmla="*/ 127511 w 578488"/>
                <a:gd name="connsiteY1055" fmla="*/ 254770 h 470547"/>
                <a:gd name="connsiteX1056" fmla="*/ 133445 w 578488"/>
                <a:gd name="connsiteY1056" fmla="*/ 252061 h 470547"/>
                <a:gd name="connsiteX1057" fmla="*/ 135620 w 578488"/>
                <a:gd name="connsiteY1057" fmla="*/ 249095 h 470547"/>
                <a:gd name="connsiteX1058" fmla="*/ 139116 w 578488"/>
                <a:gd name="connsiteY1058" fmla="*/ 247783 h 470547"/>
                <a:gd name="connsiteX1059" fmla="*/ 142100 w 578488"/>
                <a:gd name="connsiteY1059" fmla="*/ 245465 h 470547"/>
                <a:gd name="connsiteX1060" fmla="*/ 144443 w 578488"/>
                <a:gd name="connsiteY1060" fmla="*/ 245235 h 470547"/>
                <a:gd name="connsiteX1061" fmla="*/ 148699 w 578488"/>
                <a:gd name="connsiteY1061" fmla="*/ 243146 h 470547"/>
                <a:gd name="connsiteX1062" fmla="*/ 151111 w 578488"/>
                <a:gd name="connsiteY1062" fmla="*/ 240658 h 470547"/>
                <a:gd name="connsiteX1063" fmla="*/ 149537 w 578488"/>
                <a:gd name="connsiteY1063" fmla="*/ 240503 h 470547"/>
                <a:gd name="connsiteX1064" fmla="*/ 145795 w 578488"/>
                <a:gd name="connsiteY1064" fmla="*/ 242123 h 470547"/>
                <a:gd name="connsiteX1065" fmla="*/ 143678 w 578488"/>
                <a:gd name="connsiteY1065" fmla="*/ 242774 h 470547"/>
                <a:gd name="connsiteX1066" fmla="*/ 143828 w 578488"/>
                <a:gd name="connsiteY1066" fmla="*/ 240104 h 470547"/>
                <a:gd name="connsiteX1067" fmla="*/ 144853 w 578488"/>
                <a:gd name="connsiteY1067" fmla="*/ 237363 h 470547"/>
                <a:gd name="connsiteX1068" fmla="*/ 147937 w 578488"/>
                <a:gd name="connsiteY1068" fmla="*/ 234854 h 470547"/>
                <a:gd name="connsiteX1069" fmla="*/ 162759 w 578488"/>
                <a:gd name="connsiteY1069" fmla="*/ 227548 h 470547"/>
                <a:gd name="connsiteX1070" fmla="*/ 164238 w 578488"/>
                <a:gd name="connsiteY1070" fmla="*/ 228758 h 470547"/>
                <a:gd name="connsiteX1071" fmla="*/ 166006 w 578488"/>
                <a:gd name="connsiteY1071" fmla="*/ 230895 h 470547"/>
                <a:gd name="connsiteX1072" fmla="*/ 170470 w 578488"/>
                <a:gd name="connsiteY1072" fmla="*/ 230412 h 470547"/>
                <a:gd name="connsiteX1073" fmla="*/ 175556 w 578488"/>
                <a:gd name="connsiteY1073" fmla="*/ 226271 h 470547"/>
                <a:gd name="connsiteX1074" fmla="*/ 179473 w 578488"/>
                <a:gd name="connsiteY1074" fmla="*/ 221764 h 470547"/>
                <a:gd name="connsiteX1075" fmla="*/ 177356 w 578488"/>
                <a:gd name="connsiteY1075" fmla="*/ 222551 h 470547"/>
                <a:gd name="connsiteX1076" fmla="*/ 175046 w 578488"/>
                <a:gd name="connsiteY1076" fmla="*/ 224397 h 470547"/>
                <a:gd name="connsiteX1077" fmla="*/ 170543 w 578488"/>
                <a:gd name="connsiteY1077" fmla="*/ 226959 h 470547"/>
                <a:gd name="connsiteX1078" fmla="*/ 168462 w 578488"/>
                <a:gd name="connsiteY1078" fmla="*/ 227364 h 470547"/>
                <a:gd name="connsiteX1079" fmla="*/ 167274 w 578488"/>
                <a:gd name="connsiteY1079" fmla="*/ 227031 h 470547"/>
                <a:gd name="connsiteX1080" fmla="*/ 166613 w 578488"/>
                <a:gd name="connsiteY1080" fmla="*/ 225322 h 470547"/>
                <a:gd name="connsiteX1081" fmla="*/ 165052 w 578488"/>
                <a:gd name="connsiteY1081" fmla="*/ 224767 h 470547"/>
                <a:gd name="connsiteX1082" fmla="*/ 163642 w 578488"/>
                <a:gd name="connsiteY1082" fmla="*/ 225151 h 470547"/>
                <a:gd name="connsiteX1083" fmla="*/ 162189 w 578488"/>
                <a:gd name="connsiteY1083" fmla="*/ 223935 h 470547"/>
                <a:gd name="connsiteX1084" fmla="*/ 161930 w 578488"/>
                <a:gd name="connsiteY1084" fmla="*/ 220930 h 470547"/>
                <a:gd name="connsiteX1085" fmla="*/ 163789 w 578488"/>
                <a:gd name="connsiteY1085" fmla="*/ 216446 h 470547"/>
                <a:gd name="connsiteX1086" fmla="*/ 165262 w 578488"/>
                <a:gd name="connsiteY1086" fmla="*/ 213475 h 470547"/>
                <a:gd name="connsiteX1087" fmla="*/ 166853 w 578488"/>
                <a:gd name="connsiteY1087" fmla="*/ 211224 h 470547"/>
                <a:gd name="connsiteX1088" fmla="*/ 173109 w 578488"/>
                <a:gd name="connsiteY1088" fmla="*/ 204821 h 470547"/>
                <a:gd name="connsiteX1089" fmla="*/ 174461 w 578488"/>
                <a:gd name="connsiteY1089" fmla="*/ 201318 h 470547"/>
                <a:gd name="connsiteX1090" fmla="*/ 177290 w 578488"/>
                <a:gd name="connsiteY1090" fmla="*/ 199467 h 470547"/>
                <a:gd name="connsiteX1091" fmla="*/ 180964 w 578488"/>
                <a:gd name="connsiteY1091" fmla="*/ 199879 h 470547"/>
                <a:gd name="connsiteX1092" fmla="*/ 182073 w 578488"/>
                <a:gd name="connsiteY1092" fmla="*/ 199344 h 470547"/>
                <a:gd name="connsiteX1093" fmla="*/ 180811 w 578488"/>
                <a:gd name="connsiteY1093" fmla="*/ 197042 h 470547"/>
                <a:gd name="connsiteX1094" fmla="*/ 176806 w 578488"/>
                <a:gd name="connsiteY1094" fmla="*/ 195215 h 470547"/>
                <a:gd name="connsiteX1095" fmla="*/ 176560 w 578488"/>
                <a:gd name="connsiteY1095" fmla="*/ 194067 h 470547"/>
                <a:gd name="connsiteX1096" fmla="*/ 189900 w 578488"/>
                <a:gd name="connsiteY1096" fmla="*/ 191049 h 470547"/>
                <a:gd name="connsiteX1097" fmla="*/ 196253 w 578488"/>
                <a:gd name="connsiteY1097" fmla="*/ 191151 h 470547"/>
                <a:gd name="connsiteX1098" fmla="*/ 198138 w 578488"/>
                <a:gd name="connsiteY1098" fmla="*/ 189643 h 470547"/>
                <a:gd name="connsiteX1099" fmla="*/ 201591 w 578488"/>
                <a:gd name="connsiteY1099" fmla="*/ 188677 h 470547"/>
                <a:gd name="connsiteX1100" fmla="*/ 204208 w 578488"/>
                <a:gd name="connsiteY1100" fmla="*/ 186831 h 470547"/>
                <a:gd name="connsiteX1101" fmla="*/ 202859 w 578488"/>
                <a:gd name="connsiteY1101" fmla="*/ 186016 h 470547"/>
                <a:gd name="connsiteX1102" fmla="*/ 196407 w 578488"/>
                <a:gd name="connsiteY1102" fmla="*/ 187713 h 470547"/>
                <a:gd name="connsiteX1103" fmla="*/ 192373 w 578488"/>
                <a:gd name="connsiteY1103" fmla="*/ 188510 h 470547"/>
                <a:gd name="connsiteX1104" fmla="*/ 190548 w 578488"/>
                <a:gd name="connsiteY1104" fmla="*/ 188485 h 470547"/>
                <a:gd name="connsiteX1105" fmla="*/ 189125 w 578488"/>
                <a:gd name="connsiteY1105" fmla="*/ 189068 h 470547"/>
                <a:gd name="connsiteX1106" fmla="*/ 183969 w 578488"/>
                <a:gd name="connsiteY1106" fmla="*/ 189290 h 470547"/>
                <a:gd name="connsiteX1107" fmla="*/ 182848 w 578488"/>
                <a:gd name="connsiteY1107" fmla="*/ 181925 h 470547"/>
                <a:gd name="connsiteX1108" fmla="*/ 183655 w 578488"/>
                <a:gd name="connsiteY1108" fmla="*/ 177918 h 470547"/>
                <a:gd name="connsiteX1109" fmla="*/ 185577 w 578488"/>
                <a:gd name="connsiteY1109" fmla="*/ 178001 h 470547"/>
                <a:gd name="connsiteX1110" fmla="*/ 186015 w 578488"/>
                <a:gd name="connsiteY1110" fmla="*/ 174168 h 470547"/>
                <a:gd name="connsiteX1111" fmla="*/ 188235 w 578488"/>
                <a:gd name="connsiteY1111" fmla="*/ 171907 h 470547"/>
                <a:gd name="connsiteX1112" fmla="*/ 191300 w 578488"/>
                <a:gd name="connsiteY1112" fmla="*/ 171401 h 470547"/>
                <a:gd name="connsiteX1113" fmla="*/ 192844 w 578488"/>
                <a:gd name="connsiteY1113" fmla="*/ 170432 h 470547"/>
                <a:gd name="connsiteX1114" fmla="*/ 195074 w 578488"/>
                <a:gd name="connsiteY1114" fmla="*/ 168460 h 470547"/>
                <a:gd name="connsiteX1115" fmla="*/ 198765 w 578488"/>
                <a:gd name="connsiteY1115" fmla="*/ 168918 h 470547"/>
                <a:gd name="connsiteX1116" fmla="*/ 202556 w 578488"/>
                <a:gd name="connsiteY1116" fmla="*/ 168478 h 470547"/>
                <a:gd name="connsiteX1117" fmla="*/ 201617 w 578488"/>
                <a:gd name="connsiteY1117" fmla="*/ 167548 h 470547"/>
                <a:gd name="connsiteX1118" fmla="*/ 196910 w 578488"/>
                <a:gd name="connsiteY1118" fmla="*/ 166349 h 470547"/>
                <a:gd name="connsiteX1119" fmla="*/ 195748 w 578488"/>
                <a:gd name="connsiteY1119" fmla="*/ 164288 h 470547"/>
                <a:gd name="connsiteX1120" fmla="*/ 197408 w 578488"/>
                <a:gd name="connsiteY1120" fmla="*/ 163137 h 470547"/>
                <a:gd name="connsiteX1121" fmla="*/ 199216 w 578488"/>
                <a:gd name="connsiteY1121" fmla="*/ 162289 h 470547"/>
                <a:gd name="connsiteX1122" fmla="*/ 200803 w 578488"/>
                <a:gd name="connsiteY1122" fmla="*/ 162137 h 470547"/>
                <a:gd name="connsiteX1123" fmla="*/ 203947 w 578488"/>
                <a:gd name="connsiteY1123" fmla="*/ 158104 h 470547"/>
                <a:gd name="connsiteX1124" fmla="*/ 205858 w 578488"/>
                <a:gd name="connsiteY1124" fmla="*/ 156381 h 470547"/>
                <a:gd name="connsiteX1125" fmla="*/ 207998 w 578488"/>
                <a:gd name="connsiteY1125" fmla="*/ 156680 h 470547"/>
                <a:gd name="connsiteX1126" fmla="*/ 210978 w 578488"/>
                <a:gd name="connsiteY1126" fmla="*/ 154898 h 470547"/>
                <a:gd name="connsiteX1127" fmla="*/ 213904 w 578488"/>
                <a:gd name="connsiteY1127" fmla="*/ 155506 h 470547"/>
                <a:gd name="connsiteX1128" fmla="*/ 216735 w 578488"/>
                <a:gd name="connsiteY1128" fmla="*/ 154339 h 470547"/>
                <a:gd name="connsiteX1129" fmla="*/ 220602 w 578488"/>
                <a:gd name="connsiteY1129" fmla="*/ 153569 h 470547"/>
                <a:gd name="connsiteX1130" fmla="*/ 234757 w 578488"/>
                <a:gd name="connsiteY1130" fmla="*/ 153271 h 470547"/>
                <a:gd name="connsiteX1131" fmla="*/ 235178 w 578488"/>
                <a:gd name="connsiteY1131" fmla="*/ 151616 h 470547"/>
                <a:gd name="connsiteX1132" fmla="*/ 232201 w 578488"/>
                <a:gd name="connsiteY1132" fmla="*/ 151232 h 470547"/>
                <a:gd name="connsiteX1133" fmla="*/ 221682 w 578488"/>
                <a:gd name="connsiteY1133" fmla="*/ 150806 h 470547"/>
                <a:gd name="connsiteX1134" fmla="*/ 216312 w 578488"/>
                <a:gd name="connsiteY1134" fmla="*/ 150839 h 470547"/>
                <a:gd name="connsiteX1135" fmla="*/ 214051 w 578488"/>
                <a:gd name="connsiteY1135" fmla="*/ 151268 h 470547"/>
                <a:gd name="connsiteX1136" fmla="*/ 213220 w 578488"/>
                <a:gd name="connsiteY1136" fmla="*/ 150691 h 470547"/>
                <a:gd name="connsiteX1137" fmla="*/ 213366 w 578488"/>
                <a:gd name="connsiteY1137" fmla="*/ 149699 h 470547"/>
                <a:gd name="connsiteX1138" fmla="*/ 215318 w 578488"/>
                <a:gd name="connsiteY1138" fmla="*/ 148129 h 470547"/>
                <a:gd name="connsiteX1139" fmla="*/ 216245 w 578488"/>
                <a:gd name="connsiteY1139" fmla="*/ 146392 h 470547"/>
                <a:gd name="connsiteX1140" fmla="*/ 220147 w 578488"/>
                <a:gd name="connsiteY1140" fmla="*/ 142146 h 470547"/>
                <a:gd name="connsiteX1141" fmla="*/ 224722 w 578488"/>
                <a:gd name="connsiteY1141" fmla="*/ 139313 h 470547"/>
                <a:gd name="connsiteX1142" fmla="*/ 228229 w 578488"/>
                <a:gd name="connsiteY1142" fmla="*/ 140038 h 470547"/>
                <a:gd name="connsiteX1143" fmla="*/ 231959 w 578488"/>
                <a:gd name="connsiteY1143" fmla="*/ 142743 h 470547"/>
                <a:gd name="connsiteX1144" fmla="*/ 234617 w 578488"/>
                <a:gd name="connsiteY1144" fmla="*/ 143081 h 470547"/>
                <a:gd name="connsiteX1145" fmla="*/ 235854 w 578488"/>
                <a:gd name="connsiteY1145" fmla="*/ 143954 h 470547"/>
                <a:gd name="connsiteX1146" fmla="*/ 237791 w 578488"/>
                <a:gd name="connsiteY1146" fmla="*/ 147678 h 470547"/>
                <a:gd name="connsiteX1147" fmla="*/ 238709 w 578488"/>
                <a:gd name="connsiteY1147" fmla="*/ 147799 h 470547"/>
                <a:gd name="connsiteX1148" fmla="*/ 238294 w 578488"/>
                <a:gd name="connsiteY1148" fmla="*/ 144220 h 470547"/>
                <a:gd name="connsiteX1149" fmla="*/ 240855 w 578488"/>
                <a:gd name="connsiteY1149" fmla="*/ 141304 h 470547"/>
                <a:gd name="connsiteX1150" fmla="*/ 240188 w 578488"/>
                <a:gd name="connsiteY1150" fmla="*/ 140497 h 470547"/>
                <a:gd name="connsiteX1151" fmla="*/ 236340 w 578488"/>
                <a:gd name="connsiteY1151" fmla="*/ 141552 h 470547"/>
                <a:gd name="connsiteX1152" fmla="*/ 233392 w 578488"/>
                <a:gd name="connsiteY1152" fmla="*/ 140455 h 470547"/>
                <a:gd name="connsiteX1153" fmla="*/ 231065 w 578488"/>
                <a:gd name="connsiteY1153" fmla="*/ 138262 h 470547"/>
                <a:gd name="connsiteX1154" fmla="*/ 230399 w 578488"/>
                <a:gd name="connsiteY1154" fmla="*/ 136255 h 470547"/>
                <a:gd name="connsiteX1155" fmla="*/ 231846 w 578488"/>
                <a:gd name="connsiteY1155" fmla="*/ 134270 h 470547"/>
                <a:gd name="connsiteX1156" fmla="*/ 233211 w 578488"/>
                <a:gd name="connsiteY1156" fmla="*/ 133270 h 470547"/>
                <a:gd name="connsiteX1157" fmla="*/ 232285 w 578488"/>
                <a:gd name="connsiteY1157" fmla="*/ 132104 h 470547"/>
                <a:gd name="connsiteX1158" fmla="*/ 226467 w 578488"/>
                <a:gd name="connsiteY1158" fmla="*/ 135229 h 470547"/>
                <a:gd name="connsiteX1159" fmla="*/ 222352 w 578488"/>
                <a:gd name="connsiteY1159" fmla="*/ 135955 h 470547"/>
                <a:gd name="connsiteX1160" fmla="*/ 220730 w 578488"/>
                <a:gd name="connsiteY1160" fmla="*/ 135518 h 470547"/>
                <a:gd name="connsiteX1161" fmla="*/ 221609 w 578488"/>
                <a:gd name="connsiteY1161" fmla="*/ 132687 h 470547"/>
                <a:gd name="connsiteX1162" fmla="*/ 221119 w 578488"/>
                <a:gd name="connsiteY1162" fmla="*/ 130438 h 470547"/>
                <a:gd name="connsiteX1163" fmla="*/ 226636 w 578488"/>
                <a:gd name="connsiteY1163" fmla="*/ 124888 h 470547"/>
                <a:gd name="connsiteX1164" fmla="*/ 228534 w 578488"/>
                <a:gd name="connsiteY1164" fmla="*/ 124245 h 470547"/>
                <a:gd name="connsiteX1165" fmla="*/ 231632 w 578488"/>
                <a:gd name="connsiteY1165" fmla="*/ 124691 h 470547"/>
                <a:gd name="connsiteX1166" fmla="*/ 234429 w 578488"/>
                <a:gd name="connsiteY1166" fmla="*/ 126259 h 470547"/>
                <a:gd name="connsiteX1167" fmla="*/ 236768 w 578488"/>
                <a:gd name="connsiteY1167" fmla="*/ 126009 h 470547"/>
                <a:gd name="connsiteX1168" fmla="*/ 239305 w 578488"/>
                <a:gd name="connsiteY1168" fmla="*/ 125172 h 470547"/>
                <a:gd name="connsiteX1169" fmla="*/ 238959 w 578488"/>
                <a:gd name="connsiteY1169" fmla="*/ 123668 h 470547"/>
                <a:gd name="connsiteX1170" fmla="*/ 233457 w 578488"/>
                <a:gd name="connsiteY1170" fmla="*/ 123071 h 470547"/>
                <a:gd name="connsiteX1171" fmla="*/ 232041 w 578488"/>
                <a:gd name="connsiteY1171" fmla="*/ 121822 h 470547"/>
                <a:gd name="connsiteX1172" fmla="*/ 232552 w 578488"/>
                <a:gd name="connsiteY1172" fmla="*/ 120595 h 470547"/>
                <a:gd name="connsiteX1173" fmla="*/ 236329 w 578488"/>
                <a:gd name="connsiteY1173" fmla="*/ 119298 h 470547"/>
                <a:gd name="connsiteX1174" fmla="*/ 240085 w 578488"/>
                <a:gd name="connsiteY1174" fmla="*/ 116955 h 470547"/>
                <a:gd name="connsiteX1175" fmla="*/ 244388 w 578488"/>
                <a:gd name="connsiteY1175" fmla="*/ 116276 h 470547"/>
                <a:gd name="connsiteX1176" fmla="*/ 247852 w 578488"/>
                <a:gd name="connsiteY1176" fmla="*/ 114501 h 470547"/>
                <a:gd name="connsiteX1177" fmla="*/ 248519 w 578488"/>
                <a:gd name="connsiteY1177" fmla="*/ 114904 h 470547"/>
                <a:gd name="connsiteX1178" fmla="*/ 249104 w 578488"/>
                <a:gd name="connsiteY1178" fmla="*/ 115600 h 470547"/>
                <a:gd name="connsiteX1179" fmla="*/ 250348 w 578488"/>
                <a:gd name="connsiteY1179" fmla="*/ 122169 h 470547"/>
                <a:gd name="connsiteX1180" fmla="*/ 253442 w 578488"/>
                <a:gd name="connsiteY1180" fmla="*/ 127512 h 470547"/>
                <a:gd name="connsiteX1181" fmla="*/ 254582 w 578488"/>
                <a:gd name="connsiteY1181" fmla="*/ 127706 h 470547"/>
                <a:gd name="connsiteX1182" fmla="*/ 253395 w 578488"/>
                <a:gd name="connsiteY1182" fmla="*/ 123162 h 470547"/>
                <a:gd name="connsiteX1183" fmla="*/ 254503 w 578488"/>
                <a:gd name="connsiteY1183" fmla="*/ 121854 h 470547"/>
                <a:gd name="connsiteX1184" fmla="*/ 255906 w 578488"/>
                <a:gd name="connsiteY1184" fmla="*/ 120859 h 470547"/>
                <a:gd name="connsiteX1185" fmla="*/ 256344 w 578488"/>
                <a:gd name="connsiteY1185" fmla="*/ 119726 h 470547"/>
                <a:gd name="connsiteX1186" fmla="*/ 254736 w 578488"/>
                <a:gd name="connsiteY1186" fmla="*/ 119339 h 470547"/>
                <a:gd name="connsiteX1187" fmla="*/ 253421 w 578488"/>
                <a:gd name="connsiteY1187" fmla="*/ 117711 h 470547"/>
                <a:gd name="connsiteX1188" fmla="*/ 251542 w 578488"/>
                <a:gd name="connsiteY1188" fmla="*/ 112496 h 470547"/>
                <a:gd name="connsiteX1189" fmla="*/ 252183 w 578488"/>
                <a:gd name="connsiteY1189" fmla="*/ 111139 h 470547"/>
                <a:gd name="connsiteX1190" fmla="*/ 256254 w 578488"/>
                <a:gd name="connsiteY1190" fmla="*/ 108355 h 470547"/>
                <a:gd name="connsiteX1191" fmla="*/ 261361 w 578488"/>
                <a:gd name="connsiteY1191" fmla="*/ 107713 h 470547"/>
                <a:gd name="connsiteX1192" fmla="*/ 266802 w 578488"/>
                <a:gd name="connsiteY1192" fmla="*/ 109666 h 470547"/>
                <a:gd name="connsiteX1193" fmla="*/ 268713 w 578488"/>
                <a:gd name="connsiteY1193" fmla="*/ 109688 h 470547"/>
                <a:gd name="connsiteX1194" fmla="*/ 271868 w 578488"/>
                <a:gd name="connsiteY1194" fmla="*/ 109164 h 470547"/>
                <a:gd name="connsiteX1195" fmla="*/ 277221 w 578488"/>
                <a:gd name="connsiteY1195" fmla="*/ 107558 h 470547"/>
                <a:gd name="connsiteX1196" fmla="*/ 280370 w 578488"/>
                <a:gd name="connsiteY1196" fmla="*/ 106947 h 470547"/>
                <a:gd name="connsiteX1197" fmla="*/ 282013 w 578488"/>
                <a:gd name="connsiteY1197" fmla="*/ 106949 h 470547"/>
                <a:gd name="connsiteX1198" fmla="*/ 282419 w 578488"/>
                <a:gd name="connsiteY1198" fmla="*/ 106137 h 470547"/>
                <a:gd name="connsiteX1199" fmla="*/ 280897 w 578488"/>
                <a:gd name="connsiteY1199" fmla="*/ 105615 h 470547"/>
                <a:gd name="connsiteX1200" fmla="*/ 280406 w 578488"/>
                <a:gd name="connsiteY1200" fmla="*/ 105107 h 470547"/>
                <a:gd name="connsiteX1201" fmla="*/ 279212 w 578488"/>
                <a:gd name="connsiteY1201" fmla="*/ 104815 h 470547"/>
                <a:gd name="connsiteX1202" fmla="*/ 274263 w 578488"/>
                <a:gd name="connsiteY1202" fmla="*/ 105684 h 470547"/>
                <a:gd name="connsiteX1203" fmla="*/ 260609 w 578488"/>
                <a:gd name="connsiteY1203" fmla="*/ 105409 h 470547"/>
                <a:gd name="connsiteX1204" fmla="*/ 259292 w 578488"/>
                <a:gd name="connsiteY1204" fmla="*/ 104480 h 470547"/>
                <a:gd name="connsiteX1205" fmla="*/ 259050 w 578488"/>
                <a:gd name="connsiteY1205" fmla="*/ 102872 h 470547"/>
                <a:gd name="connsiteX1206" fmla="*/ 260499 w 578488"/>
                <a:gd name="connsiteY1206" fmla="*/ 100564 h 470547"/>
                <a:gd name="connsiteX1207" fmla="*/ 262091 w 578488"/>
                <a:gd name="connsiteY1207" fmla="*/ 99291 h 470547"/>
                <a:gd name="connsiteX1208" fmla="*/ 267239 w 578488"/>
                <a:gd name="connsiteY1208" fmla="*/ 96997 h 470547"/>
                <a:gd name="connsiteX1209" fmla="*/ 272689 w 578488"/>
                <a:gd name="connsiteY1209" fmla="*/ 96687 h 470547"/>
                <a:gd name="connsiteX1210" fmla="*/ 278431 w 578488"/>
                <a:gd name="connsiteY1210" fmla="*/ 92605 h 470547"/>
                <a:gd name="connsiteX1211" fmla="*/ 280625 w 578488"/>
                <a:gd name="connsiteY1211" fmla="*/ 89538 h 470547"/>
                <a:gd name="connsiteX1212" fmla="*/ 281868 w 578488"/>
                <a:gd name="connsiteY1212" fmla="*/ 84803 h 470547"/>
                <a:gd name="connsiteX1213" fmla="*/ 285369 w 578488"/>
                <a:gd name="connsiteY1213" fmla="*/ 80966 h 470547"/>
                <a:gd name="connsiteX1214" fmla="*/ 294144 w 578488"/>
                <a:gd name="connsiteY1214" fmla="*/ 78781 h 470547"/>
                <a:gd name="connsiteX1215" fmla="*/ 294499 w 578488"/>
                <a:gd name="connsiteY1215" fmla="*/ 77813 h 470547"/>
                <a:gd name="connsiteX1216" fmla="*/ 293568 w 578488"/>
                <a:gd name="connsiteY1216" fmla="*/ 75813 h 470547"/>
                <a:gd name="connsiteX1217" fmla="*/ 293641 w 578488"/>
                <a:gd name="connsiteY1217" fmla="*/ 72204 h 470547"/>
                <a:gd name="connsiteX1218" fmla="*/ 296047 w 578488"/>
                <a:gd name="connsiteY1218" fmla="*/ 67992 h 470547"/>
                <a:gd name="connsiteX1219" fmla="*/ 297645 w 578488"/>
                <a:gd name="connsiteY1219" fmla="*/ 66526 h 470547"/>
                <a:gd name="connsiteX1220" fmla="*/ 298383 w 578488"/>
                <a:gd name="connsiteY1220" fmla="*/ 66350 h 470547"/>
                <a:gd name="connsiteX1221" fmla="*/ 300275 w 578488"/>
                <a:gd name="connsiteY1221" fmla="*/ 67729 h 470547"/>
                <a:gd name="connsiteX1222" fmla="*/ 302573 w 578488"/>
                <a:gd name="connsiteY1222" fmla="*/ 70659 h 470547"/>
                <a:gd name="connsiteX1223" fmla="*/ 306175 w 578488"/>
                <a:gd name="connsiteY1223" fmla="*/ 72335 h 470547"/>
                <a:gd name="connsiteX1224" fmla="*/ 310895 w 578488"/>
                <a:gd name="connsiteY1224" fmla="*/ 72624 h 470547"/>
                <a:gd name="connsiteX1225" fmla="*/ 312154 w 578488"/>
                <a:gd name="connsiteY1225" fmla="*/ 71800 h 470547"/>
                <a:gd name="connsiteX1226" fmla="*/ 308485 w 578488"/>
                <a:gd name="connsiteY1226" fmla="*/ 70129 h 470547"/>
                <a:gd name="connsiteX1227" fmla="*/ 305708 w 578488"/>
                <a:gd name="connsiteY1227" fmla="*/ 67943 h 470547"/>
                <a:gd name="connsiteX1228" fmla="*/ 305488 w 578488"/>
                <a:gd name="connsiteY1228" fmla="*/ 65745 h 470547"/>
                <a:gd name="connsiteX1229" fmla="*/ 306805 w 578488"/>
                <a:gd name="connsiteY1229" fmla="*/ 64579 h 470547"/>
                <a:gd name="connsiteX1230" fmla="*/ 308852 w 578488"/>
                <a:gd name="connsiteY1230" fmla="*/ 64709 h 470547"/>
                <a:gd name="connsiteX1231" fmla="*/ 311422 w 578488"/>
                <a:gd name="connsiteY1231" fmla="*/ 64462 h 470547"/>
                <a:gd name="connsiteX1232" fmla="*/ 313816 w 578488"/>
                <a:gd name="connsiteY1232" fmla="*/ 62982 h 470547"/>
                <a:gd name="connsiteX1233" fmla="*/ 314164 w 578488"/>
                <a:gd name="connsiteY1233" fmla="*/ 61941 h 470547"/>
                <a:gd name="connsiteX1234" fmla="*/ 314264 w 578488"/>
                <a:gd name="connsiteY1234" fmla="*/ 60527 h 470547"/>
                <a:gd name="connsiteX1235" fmla="*/ 314862 w 578488"/>
                <a:gd name="connsiteY1235" fmla="*/ 59088 h 470547"/>
                <a:gd name="connsiteX1236" fmla="*/ 318375 w 578488"/>
                <a:gd name="connsiteY1236" fmla="*/ 55651 h 470547"/>
                <a:gd name="connsiteX1237" fmla="*/ 329204 w 578488"/>
                <a:gd name="connsiteY1237" fmla="*/ 53412 h 470547"/>
                <a:gd name="connsiteX1238" fmla="*/ 329988 w 578488"/>
                <a:gd name="connsiteY1238" fmla="*/ 54321 h 470547"/>
                <a:gd name="connsiteX1239" fmla="*/ 329403 w 578488"/>
                <a:gd name="connsiteY1239" fmla="*/ 60951 h 470547"/>
                <a:gd name="connsiteX1240" fmla="*/ 328159 w 578488"/>
                <a:gd name="connsiteY1240" fmla="*/ 65227 h 470547"/>
                <a:gd name="connsiteX1241" fmla="*/ 328198 w 578488"/>
                <a:gd name="connsiteY1241" fmla="*/ 68347 h 470547"/>
                <a:gd name="connsiteX1242" fmla="*/ 330306 w 578488"/>
                <a:gd name="connsiteY1242" fmla="*/ 65227 h 470547"/>
                <a:gd name="connsiteX1243" fmla="*/ 333132 w 578488"/>
                <a:gd name="connsiteY1243" fmla="*/ 56663 h 470547"/>
                <a:gd name="connsiteX1244" fmla="*/ 335253 w 578488"/>
                <a:gd name="connsiteY1244" fmla="*/ 52629 h 470547"/>
                <a:gd name="connsiteX1245" fmla="*/ 337650 w 578488"/>
                <a:gd name="connsiteY1245" fmla="*/ 50309 h 470547"/>
                <a:gd name="connsiteX1246" fmla="*/ 339362 w 578488"/>
                <a:gd name="connsiteY1246" fmla="*/ 49785 h 470547"/>
                <a:gd name="connsiteX1247" fmla="*/ 341057 w 578488"/>
                <a:gd name="connsiteY1247" fmla="*/ 48583 h 470547"/>
                <a:gd name="connsiteX1248" fmla="*/ 343295 w 578488"/>
                <a:gd name="connsiteY1248" fmla="*/ 47867 h 470547"/>
                <a:gd name="connsiteX1249" fmla="*/ 343979 w 578488"/>
                <a:gd name="connsiteY1249" fmla="*/ 48791 h 470547"/>
                <a:gd name="connsiteX1250" fmla="*/ 344687 w 578488"/>
                <a:gd name="connsiteY1250" fmla="*/ 50933 h 470547"/>
                <a:gd name="connsiteX1251" fmla="*/ 343482 w 578488"/>
                <a:gd name="connsiteY1251" fmla="*/ 58438 h 470547"/>
                <a:gd name="connsiteX1252" fmla="*/ 343603 w 578488"/>
                <a:gd name="connsiteY1252" fmla="*/ 60805 h 470547"/>
                <a:gd name="connsiteX1253" fmla="*/ 342253 w 578488"/>
                <a:gd name="connsiteY1253" fmla="*/ 63973 h 470547"/>
                <a:gd name="connsiteX1254" fmla="*/ 337093 w 578488"/>
                <a:gd name="connsiteY1254" fmla="*/ 71017 h 470547"/>
                <a:gd name="connsiteX1255" fmla="*/ 337330 w 578488"/>
                <a:gd name="connsiteY1255" fmla="*/ 71914 h 470547"/>
                <a:gd name="connsiteX1256" fmla="*/ 338496 w 578488"/>
                <a:gd name="connsiteY1256" fmla="*/ 71581 h 470547"/>
                <a:gd name="connsiteX1257" fmla="*/ 340496 w 578488"/>
                <a:gd name="connsiteY1257" fmla="*/ 70420 h 470547"/>
                <a:gd name="connsiteX1258" fmla="*/ 346888 w 578488"/>
                <a:gd name="connsiteY1258" fmla="*/ 63728 h 470547"/>
                <a:gd name="connsiteX1259" fmla="*/ 352476 w 578488"/>
                <a:gd name="connsiteY1259" fmla="*/ 64573 h 470547"/>
                <a:gd name="connsiteX1260" fmla="*/ 352545 w 578488"/>
                <a:gd name="connsiteY1260" fmla="*/ 64024 h 470547"/>
                <a:gd name="connsiteX1261" fmla="*/ 350753 w 578488"/>
                <a:gd name="connsiteY1261" fmla="*/ 62058 h 470547"/>
                <a:gd name="connsiteX1262" fmla="*/ 348563 w 578488"/>
                <a:gd name="connsiteY1262" fmla="*/ 60171 h 470547"/>
                <a:gd name="connsiteX1263" fmla="*/ 347905 w 578488"/>
                <a:gd name="connsiteY1263" fmla="*/ 57833 h 470547"/>
                <a:gd name="connsiteX1264" fmla="*/ 348198 w 578488"/>
                <a:gd name="connsiteY1264" fmla="*/ 51586 h 470547"/>
                <a:gd name="connsiteX1265" fmla="*/ 349881 w 578488"/>
                <a:gd name="connsiteY1265" fmla="*/ 49107 h 470547"/>
                <a:gd name="connsiteX1266" fmla="*/ 354707 w 578488"/>
                <a:gd name="connsiteY1266" fmla="*/ 49367 h 470547"/>
                <a:gd name="connsiteX1267" fmla="*/ 357598 w 578488"/>
                <a:gd name="connsiteY1267" fmla="*/ 49024 h 470547"/>
                <a:gd name="connsiteX1268" fmla="*/ 358948 w 578488"/>
                <a:gd name="connsiteY1268" fmla="*/ 50151 h 470547"/>
                <a:gd name="connsiteX1269" fmla="*/ 361843 w 578488"/>
                <a:gd name="connsiteY1269" fmla="*/ 50070 h 470547"/>
                <a:gd name="connsiteX1270" fmla="*/ 363848 w 578488"/>
                <a:gd name="connsiteY1270" fmla="*/ 45579 h 470547"/>
                <a:gd name="connsiteX1271" fmla="*/ 367810 w 578488"/>
                <a:gd name="connsiteY1271" fmla="*/ 45185 h 470547"/>
                <a:gd name="connsiteX1272" fmla="*/ 371289 w 578488"/>
                <a:gd name="connsiteY1272" fmla="*/ 48155 h 470547"/>
                <a:gd name="connsiteX1273" fmla="*/ 375476 w 578488"/>
                <a:gd name="connsiteY1273" fmla="*/ 50151 h 470547"/>
                <a:gd name="connsiteX1274" fmla="*/ 378840 w 578488"/>
                <a:gd name="connsiteY1274" fmla="*/ 53019 h 470547"/>
                <a:gd name="connsiteX1275" fmla="*/ 379790 w 578488"/>
                <a:gd name="connsiteY1275" fmla="*/ 52236 h 470547"/>
                <a:gd name="connsiteX1276" fmla="*/ 377974 w 578488"/>
                <a:gd name="connsiteY1276" fmla="*/ 45538 h 470547"/>
                <a:gd name="connsiteX1277" fmla="*/ 375987 w 578488"/>
                <a:gd name="connsiteY1277" fmla="*/ 43092 h 470547"/>
                <a:gd name="connsiteX1278" fmla="*/ 371677 w 578488"/>
                <a:gd name="connsiteY1278" fmla="*/ 41819 h 470547"/>
                <a:gd name="connsiteX1279" fmla="*/ 367091 w 578488"/>
                <a:gd name="connsiteY1279" fmla="*/ 38795 h 470547"/>
                <a:gd name="connsiteX1280" fmla="*/ 365895 w 578488"/>
                <a:gd name="connsiteY1280" fmla="*/ 37453 h 470547"/>
                <a:gd name="connsiteX1281" fmla="*/ 366104 w 578488"/>
                <a:gd name="connsiteY1281" fmla="*/ 36454 h 470547"/>
                <a:gd name="connsiteX1282" fmla="*/ 370151 w 578488"/>
                <a:gd name="connsiteY1282" fmla="*/ 35490 h 470547"/>
                <a:gd name="connsiteX1283" fmla="*/ 375491 w 578488"/>
                <a:gd name="connsiteY1283" fmla="*/ 36594 h 470547"/>
                <a:gd name="connsiteX1284" fmla="*/ 380250 w 578488"/>
                <a:gd name="connsiteY1284" fmla="*/ 34070 h 470547"/>
                <a:gd name="connsiteX1285" fmla="*/ 381552 w 578488"/>
                <a:gd name="connsiteY1285" fmla="*/ 34762 h 470547"/>
                <a:gd name="connsiteX1286" fmla="*/ 385202 w 578488"/>
                <a:gd name="connsiteY1286" fmla="*/ 33441 h 470547"/>
                <a:gd name="connsiteX1287" fmla="*/ 387469 w 578488"/>
                <a:gd name="connsiteY1287" fmla="*/ 35218 h 470547"/>
                <a:gd name="connsiteX1288" fmla="*/ 388857 w 578488"/>
                <a:gd name="connsiteY1288" fmla="*/ 34692 h 470547"/>
                <a:gd name="connsiteX1289" fmla="*/ 389663 w 578488"/>
                <a:gd name="connsiteY1289" fmla="*/ 32309 h 470547"/>
                <a:gd name="connsiteX1290" fmla="*/ 395487 w 578488"/>
                <a:gd name="connsiteY1290" fmla="*/ 30829 h 470547"/>
                <a:gd name="connsiteX1291" fmla="*/ 399181 w 578488"/>
                <a:gd name="connsiteY1291" fmla="*/ 32195 h 470547"/>
                <a:gd name="connsiteX1292" fmla="*/ 401162 w 578488"/>
                <a:gd name="connsiteY1292" fmla="*/ 33608 h 470547"/>
                <a:gd name="connsiteX1293" fmla="*/ 402082 w 578488"/>
                <a:gd name="connsiteY1293" fmla="*/ 36320 h 470547"/>
                <a:gd name="connsiteX1294" fmla="*/ 403489 w 578488"/>
                <a:gd name="connsiteY1294" fmla="*/ 41674 h 470547"/>
                <a:gd name="connsiteX1295" fmla="*/ 406374 w 578488"/>
                <a:gd name="connsiteY1295" fmla="*/ 44557 h 470547"/>
                <a:gd name="connsiteX1296" fmla="*/ 408165 w 578488"/>
                <a:gd name="connsiteY1296" fmla="*/ 45971 h 470547"/>
                <a:gd name="connsiteX1297" fmla="*/ 410287 w 578488"/>
                <a:gd name="connsiteY1297" fmla="*/ 46362 h 470547"/>
                <a:gd name="connsiteX1298" fmla="*/ 411311 w 578488"/>
                <a:gd name="connsiteY1298" fmla="*/ 44924 h 470547"/>
                <a:gd name="connsiteX1299" fmla="*/ 409322 w 578488"/>
                <a:gd name="connsiteY1299" fmla="*/ 43190 h 470547"/>
                <a:gd name="connsiteX1300" fmla="*/ 408786 w 578488"/>
                <a:gd name="connsiteY1300" fmla="*/ 41556 h 470547"/>
                <a:gd name="connsiteX1301" fmla="*/ 409739 w 578488"/>
                <a:gd name="connsiteY1301" fmla="*/ 37494 h 470547"/>
                <a:gd name="connsiteX1302" fmla="*/ 410851 w 578488"/>
                <a:gd name="connsiteY1302" fmla="*/ 35896 h 470547"/>
                <a:gd name="connsiteX1303" fmla="*/ 417083 w 578488"/>
                <a:gd name="connsiteY1303" fmla="*/ 29833 h 470547"/>
                <a:gd name="connsiteX1304" fmla="*/ 422300 w 578488"/>
                <a:gd name="connsiteY1304" fmla="*/ 26680 h 470547"/>
                <a:gd name="connsiteX1305" fmla="*/ 425424 w 578488"/>
                <a:gd name="connsiteY1305" fmla="*/ 26417 h 470547"/>
                <a:gd name="connsiteX1306" fmla="*/ 430888 w 578488"/>
                <a:gd name="connsiteY1306" fmla="*/ 19331 h 470547"/>
                <a:gd name="connsiteX1307" fmla="*/ 432436 w 578488"/>
                <a:gd name="connsiteY1307" fmla="*/ 18040 h 470547"/>
                <a:gd name="connsiteX1308" fmla="*/ 433861 w 578488"/>
                <a:gd name="connsiteY1308" fmla="*/ 17743 h 470547"/>
                <a:gd name="connsiteX1309" fmla="*/ 433496 w 578488"/>
                <a:gd name="connsiteY1309" fmla="*/ 16004 h 470547"/>
                <a:gd name="connsiteX1310" fmla="*/ 430503 w 578488"/>
                <a:gd name="connsiteY1310" fmla="*/ 14903 h 470547"/>
                <a:gd name="connsiteX1311" fmla="*/ 430400 w 578488"/>
                <a:gd name="connsiteY1311" fmla="*/ 12748 h 470547"/>
                <a:gd name="connsiteX1312" fmla="*/ 434343 w 578488"/>
                <a:gd name="connsiteY1312" fmla="*/ 10121 h 470547"/>
                <a:gd name="connsiteX1313" fmla="*/ 439124 w 578488"/>
                <a:gd name="connsiteY1313" fmla="*/ 5706 h 470547"/>
                <a:gd name="connsiteX1314" fmla="*/ 441484 w 578488"/>
                <a:gd name="connsiteY1314" fmla="*/ 5406 h 470547"/>
                <a:gd name="connsiteX1315" fmla="*/ 442963 w 578488"/>
                <a:gd name="connsiteY1315" fmla="*/ 6634 h 470547"/>
                <a:gd name="connsiteX1316" fmla="*/ 447619 w 578488"/>
                <a:gd name="connsiteY1316" fmla="*/ 8627 h 470547"/>
                <a:gd name="connsiteX1317" fmla="*/ 450471 w 578488"/>
                <a:gd name="connsiteY1317" fmla="*/ 10908 h 470547"/>
                <a:gd name="connsiteX1318" fmla="*/ 452538 w 578488"/>
                <a:gd name="connsiteY1318" fmla="*/ 12056 h 470547"/>
                <a:gd name="connsiteX1319" fmla="*/ 453881 w 578488"/>
                <a:gd name="connsiteY1319" fmla="*/ 11818 h 470547"/>
                <a:gd name="connsiteX1320" fmla="*/ 454991 w 578488"/>
                <a:gd name="connsiteY1320" fmla="*/ 10105 h 470547"/>
                <a:gd name="connsiteX1321" fmla="*/ 456325 w 578488"/>
                <a:gd name="connsiteY1321" fmla="*/ 9303 h 470547"/>
                <a:gd name="connsiteX1322" fmla="*/ 459286 w 578488"/>
                <a:gd name="connsiteY1322" fmla="*/ 9753 h 470547"/>
                <a:gd name="connsiteX1323" fmla="*/ 461052 w 578488"/>
                <a:gd name="connsiteY1323" fmla="*/ 10855 h 470547"/>
                <a:gd name="connsiteX1324" fmla="*/ 462428 w 578488"/>
                <a:gd name="connsiteY1324" fmla="*/ 11000 h 470547"/>
                <a:gd name="connsiteX1325" fmla="*/ 463672 w 578488"/>
                <a:gd name="connsiteY1325" fmla="*/ 11667 h 470547"/>
                <a:gd name="connsiteX1326" fmla="*/ 463965 w 578488"/>
                <a:gd name="connsiteY1326" fmla="*/ 13131 h 470547"/>
                <a:gd name="connsiteX1327" fmla="*/ 461404 w 578488"/>
                <a:gd name="connsiteY1327" fmla="*/ 14725 h 470547"/>
                <a:gd name="connsiteX1328" fmla="*/ 457040 w 578488"/>
                <a:gd name="connsiteY1328" fmla="*/ 18947 h 470547"/>
                <a:gd name="connsiteX1329" fmla="*/ 452734 w 578488"/>
                <a:gd name="connsiteY1329" fmla="*/ 23737 h 470547"/>
                <a:gd name="connsiteX1330" fmla="*/ 451314 w 578488"/>
                <a:gd name="connsiteY1330" fmla="*/ 26255 h 470547"/>
                <a:gd name="connsiteX1331" fmla="*/ 449923 w 578488"/>
                <a:gd name="connsiteY1331" fmla="*/ 32850 h 470547"/>
                <a:gd name="connsiteX1332" fmla="*/ 446558 w 578488"/>
                <a:gd name="connsiteY1332" fmla="*/ 37058 h 470547"/>
                <a:gd name="connsiteX1333" fmla="*/ 446304 w 578488"/>
                <a:gd name="connsiteY1333" fmla="*/ 40003 h 470547"/>
                <a:gd name="connsiteX1334" fmla="*/ 447655 w 578488"/>
                <a:gd name="connsiteY1334" fmla="*/ 41390 h 470547"/>
                <a:gd name="connsiteX1335" fmla="*/ 451369 w 578488"/>
                <a:gd name="connsiteY1335" fmla="*/ 40302 h 470547"/>
                <a:gd name="connsiteX1336" fmla="*/ 455947 w 578488"/>
                <a:gd name="connsiteY1336" fmla="*/ 36371 h 470547"/>
                <a:gd name="connsiteX1337" fmla="*/ 457090 w 578488"/>
                <a:gd name="connsiteY1337" fmla="*/ 32191 h 470547"/>
                <a:gd name="connsiteX1338" fmla="*/ 468535 w 578488"/>
                <a:gd name="connsiteY1338" fmla="*/ 20815 h 470547"/>
                <a:gd name="connsiteX1339" fmla="*/ 473903 w 578488"/>
                <a:gd name="connsiteY1339" fmla="*/ 14505 h 470547"/>
                <a:gd name="connsiteX1340" fmla="*/ 480007 w 578488"/>
                <a:gd name="connsiteY1340" fmla="*/ 9265 h 470547"/>
                <a:gd name="connsiteX1341" fmla="*/ 483421 w 578488"/>
                <a:gd name="connsiteY1341" fmla="*/ 8179 h 470547"/>
                <a:gd name="connsiteX1342" fmla="*/ 485028 w 578488"/>
                <a:gd name="connsiteY1342" fmla="*/ 11651 h 470547"/>
                <a:gd name="connsiteX1343" fmla="*/ 483734 w 578488"/>
                <a:gd name="connsiteY1343" fmla="*/ 16179 h 470547"/>
                <a:gd name="connsiteX1344" fmla="*/ 481141 w 578488"/>
                <a:gd name="connsiteY1344" fmla="*/ 19061 h 470547"/>
                <a:gd name="connsiteX1345" fmla="*/ 483052 w 578488"/>
                <a:gd name="connsiteY1345" fmla="*/ 20380 h 470547"/>
                <a:gd name="connsiteX1346" fmla="*/ 482687 w 578488"/>
                <a:gd name="connsiteY1346" fmla="*/ 23797 h 470547"/>
                <a:gd name="connsiteX1347" fmla="*/ 482091 w 578488"/>
                <a:gd name="connsiteY1347" fmla="*/ 25693 h 470547"/>
                <a:gd name="connsiteX1348" fmla="*/ 481711 w 578488"/>
                <a:gd name="connsiteY1348" fmla="*/ 27676 h 470547"/>
                <a:gd name="connsiteX1349" fmla="*/ 481735 w 578488"/>
                <a:gd name="connsiteY1349" fmla="*/ 29424 h 470547"/>
                <a:gd name="connsiteX1350" fmla="*/ 483527 w 578488"/>
                <a:gd name="connsiteY1350" fmla="*/ 28958 h 470547"/>
                <a:gd name="connsiteX1351" fmla="*/ 490675 w 578488"/>
                <a:gd name="connsiteY1351" fmla="*/ 25377 h 470547"/>
                <a:gd name="connsiteX1352" fmla="*/ 492486 w 578488"/>
                <a:gd name="connsiteY1352" fmla="*/ 21493 h 470547"/>
                <a:gd name="connsiteX1353" fmla="*/ 494166 w 578488"/>
                <a:gd name="connsiteY1353" fmla="*/ 18577 h 470547"/>
                <a:gd name="connsiteX1354" fmla="*/ 494972 w 578488"/>
                <a:gd name="connsiteY1354" fmla="*/ 16055 h 470547"/>
                <a:gd name="connsiteX1355" fmla="*/ 497751 w 578488"/>
                <a:gd name="connsiteY1355" fmla="*/ 13663 h 470547"/>
                <a:gd name="connsiteX1356" fmla="*/ 502994 w 578488"/>
                <a:gd name="connsiteY1356" fmla="*/ 13645 h 470547"/>
                <a:gd name="connsiteX1357" fmla="*/ 503197 w 578488"/>
                <a:gd name="connsiteY1357" fmla="*/ 12704 h 470547"/>
                <a:gd name="connsiteX1358" fmla="*/ 496859 w 578488"/>
                <a:gd name="connsiteY1358" fmla="*/ 9377 h 470547"/>
                <a:gd name="connsiteX1359" fmla="*/ 496112 w 578488"/>
                <a:gd name="connsiteY1359" fmla="*/ 7877 h 470547"/>
                <a:gd name="connsiteX1360" fmla="*/ 498243 w 578488"/>
                <a:gd name="connsiteY1360" fmla="*/ 5879 h 470547"/>
                <a:gd name="connsiteX1361" fmla="*/ 459651 w 578488"/>
                <a:gd name="connsiteY1361" fmla="*/ 0 h 470547"/>
                <a:gd name="connsiteX1362" fmla="*/ 465559 w 578488"/>
                <a:gd name="connsiteY1362" fmla="*/ 1548 h 470547"/>
                <a:gd name="connsiteX1363" fmla="*/ 467582 w 578488"/>
                <a:gd name="connsiteY1363" fmla="*/ 1516 h 470547"/>
                <a:gd name="connsiteX1364" fmla="*/ 470515 w 578488"/>
                <a:gd name="connsiteY1364" fmla="*/ 4407 h 470547"/>
                <a:gd name="connsiteX1365" fmla="*/ 472046 w 578488"/>
                <a:gd name="connsiteY1365" fmla="*/ 4151 h 470547"/>
                <a:gd name="connsiteX1366" fmla="*/ 471756 w 578488"/>
                <a:gd name="connsiteY1366" fmla="*/ 5916 h 470547"/>
                <a:gd name="connsiteX1367" fmla="*/ 468792 w 578488"/>
                <a:gd name="connsiteY1367" fmla="*/ 6752 h 470547"/>
                <a:gd name="connsiteX1368" fmla="*/ 464183 w 578488"/>
                <a:gd name="connsiteY1368" fmla="*/ 7260 h 470547"/>
                <a:gd name="connsiteX1369" fmla="*/ 463495 w 578488"/>
                <a:gd name="connsiteY1369" fmla="*/ 7611 h 470547"/>
                <a:gd name="connsiteX1370" fmla="*/ 459556 w 578488"/>
                <a:gd name="connsiteY1370" fmla="*/ 7329 h 470547"/>
                <a:gd name="connsiteX1371" fmla="*/ 457345 w 578488"/>
                <a:gd name="connsiteY1371" fmla="*/ 4956 h 470547"/>
                <a:gd name="connsiteX1372" fmla="*/ 453650 w 578488"/>
                <a:gd name="connsiteY1372" fmla="*/ 4368 h 470547"/>
                <a:gd name="connsiteX1373" fmla="*/ 453656 w 578488"/>
                <a:gd name="connsiteY1373" fmla="*/ 3606 h 470547"/>
                <a:gd name="connsiteX1374" fmla="*/ 456049 w 578488"/>
                <a:gd name="connsiteY1374" fmla="*/ 1809 h 4705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</a:cxnLst>
              <a:rect l="l" t="t" r="r" b="b"/>
              <a:pathLst>
                <a:path w="578488" h="470547">
                  <a:moveTo>
                    <a:pt x="4236" y="391131"/>
                  </a:moveTo>
                  <a:lnTo>
                    <a:pt x="5553" y="393229"/>
                  </a:lnTo>
                  <a:lnTo>
                    <a:pt x="6342" y="395934"/>
                  </a:lnTo>
                  <a:lnTo>
                    <a:pt x="6413" y="399875"/>
                  </a:lnTo>
                  <a:lnTo>
                    <a:pt x="4376" y="399577"/>
                  </a:lnTo>
                  <a:lnTo>
                    <a:pt x="3461" y="398066"/>
                  </a:lnTo>
                  <a:lnTo>
                    <a:pt x="3196" y="397101"/>
                  </a:lnTo>
                  <a:lnTo>
                    <a:pt x="3355" y="394818"/>
                  </a:lnTo>
                  <a:lnTo>
                    <a:pt x="2897" y="392461"/>
                  </a:lnTo>
                  <a:lnTo>
                    <a:pt x="3498" y="391290"/>
                  </a:lnTo>
                  <a:close/>
                  <a:moveTo>
                    <a:pt x="2573" y="366113"/>
                  </a:moveTo>
                  <a:lnTo>
                    <a:pt x="3852" y="367834"/>
                  </a:lnTo>
                  <a:lnTo>
                    <a:pt x="3530" y="369975"/>
                  </a:lnTo>
                  <a:lnTo>
                    <a:pt x="1572" y="370400"/>
                  </a:lnTo>
                  <a:lnTo>
                    <a:pt x="0" y="370038"/>
                  </a:lnTo>
                  <a:lnTo>
                    <a:pt x="561" y="366825"/>
                  </a:lnTo>
                  <a:lnTo>
                    <a:pt x="1384" y="366299"/>
                  </a:lnTo>
                  <a:close/>
                  <a:moveTo>
                    <a:pt x="72406" y="288176"/>
                  </a:moveTo>
                  <a:lnTo>
                    <a:pt x="73790" y="289555"/>
                  </a:lnTo>
                  <a:lnTo>
                    <a:pt x="73896" y="291823"/>
                  </a:lnTo>
                  <a:lnTo>
                    <a:pt x="73052" y="292828"/>
                  </a:lnTo>
                  <a:lnTo>
                    <a:pt x="70884" y="292852"/>
                  </a:lnTo>
                  <a:lnTo>
                    <a:pt x="68309" y="292314"/>
                  </a:lnTo>
                  <a:lnTo>
                    <a:pt x="66697" y="291172"/>
                  </a:lnTo>
                  <a:lnTo>
                    <a:pt x="66446" y="290164"/>
                  </a:lnTo>
                  <a:lnTo>
                    <a:pt x="69417" y="288910"/>
                  </a:lnTo>
                  <a:close/>
                  <a:moveTo>
                    <a:pt x="87688" y="276468"/>
                  </a:moveTo>
                  <a:lnTo>
                    <a:pt x="88672" y="277636"/>
                  </a:lnTo>
                  <a:lnTo>
                    <a:pt x="88798" y="279233"/>
                  </a:lnTo>
                  <a:lnTo>
                    <a:pt x="88172" y="280023"/>
                  </a:lnTo>
                  <a:lnTo>
                    <a:pt x="81190" y="281299"/>
                  </a:lnTo>
                  <a:lnTo>
                    <a:pt x="78655" y="281381"/>
                  </a:lnTo>
                  <a:lnTo>
                    <a:pt x="77129" y="280596"/>
                  </a:lnTo>
                  <a:lnTo>
                    <a:pt x="80758" y="279027"/>
                  </a:lnTo>
                  <a:lnTo>
                    <a:pt x="86455" y="277535"/>
                  </a:lnTo>
                  <a:lnTo>
                    <a:pt x="86997" y="276585"/>
                  </a:lnTo>
                  <a:close/>
                  <a:moveTo>
                    <a:pt x="137580" y="234750"/>
                  </a:moveTo>
                  <a:lnTo>
                    <a:pt x="140049" y="234842"/>
                  </a:lnTo>
                  <a:lnTo>
                    <a:pt x="142560" y="237291"/>
                  </a:lnTo>
                  <a:lnTo>
                    <a:pt x="142234" y="238798"/>
                  </a:lnTo>
                  <a:lnTo>
                    <a:pt x="141074" y="239795"/>
                  </a:lnTo>
                  <a:lnTo>
                    <a:pt x="138498" y="238994"/>
                  </a:lnTo>
                  <a:lnTo>
                    <a:pt x="133413" y="239613"/>
                  </a:lnTo>
                  <a:lnTo>
                    <a:pt x="131364" y="238638"/>
                  </a:lnTo>
                  <a:lnTo>
                    <a:pt x="132992" y="236741"/>
                  </a:lnTo>
                  <a:close/>
                  <a:moveTo>
                    <a:pt x="156473" y="208471"/>
                  </a:moveTo>
                  <a:lnTo>
                    <a:pt x="158617" y="208629"/>
                  </a:lnTo>
                  <a:lnTo>
                    <a:pt x="159300" y="209433"/>
                  </a:lnTo>
                  <a:lnTo>
                    <a:pt x="158520" y="211357"/>
                  </a:lnTo>
                  <a:lnTo>
                    <a:pt x="157058" y="212476"/>
                  </a:lnTo>
                  <a:lnTo>
                    <a:pt x="154327" y="212155"/>
                  </a:lnTo>
                  <a:lnTo>
                    <a:pt x="154035" y="211196"/>
                  </a:lnTo>
                  <a:lnTo>
                    <a:pt x="154815" y="209272"/>
                  </a:lnTo>
                  <a:close/>
                  <a:moveTo>
                    <a:pt x="175748" y="197328"/>
                  </a:moveTo>
                  <a:lnTo>
                    <a:pt x="176449" y="198048"/>
                  </a:lnTo>
                  <a:lnTo>
                    <a:pt x="175119" y="199065"/>
                  </a:lnTo>
                  <a:lnTo>
                    <a:pt x="170496" y="201327"/>
                  </a:lnTo>
                  <a:lnTo>
                    <a:pt x="168725" y="201432"/>
                  </a:lnTo>
                  <a:lnTo>
                    <a:pt x="168740" y="199939"/>
                  </a:lnTo>
                  <a:lnTo>
                    <a:pt x="169755" y="198582"/>
                  </a:lnTo>
                  <a:lnTo>
                    <a:pt x="171364" y="197674"/>
                  </a:lnTo>
                  <a:lnTo>
                    <a:pt x="173433" y="197432"/>
                  </a:lnTo>
                  <a:close/>
                  <a:moveTo>
                    <a:pt x="170891" y="190029"/>
                  </a:moveTo>
                  <a:lnTo>
                    <a:pt x="172956" y="191226"/>
                  </a:lnTo>
                  <a:lnTo>
                    <a:pt x="172996" y="193260"/>
                  </a:lnTo>
                  <a:lnTo>
                    <a:pt x="171973" y="195112"/>
                  </a:lnTo>
                  <a:lnTo>
                    <a:pt x="168514" y="196161"/>
                  </a:lnTo>
                  <a:lnTo>
                    <a:pt x="166467" y="196404"/>
                  </a:lnTo>
                  <a:lnTo>
                    <a:pt x="166808" y="194788"/>
                  </a:lnTo>
                  <a:lnTo>
                    <a:pt x="168464" y="193253"/>
                  </a:lnTo>
                  <a:lnTo>
                    <a:pt x="169099" y="192202"/>
                  </a:lnTo>
                  <a:lnTo>
                    <a:pt x="169429" y="190966"/>
                  </a:lnTo>
                  <a:close/>
                  <a:moveTo>
                    <a:pt x="182845" y="120497"/>
                  </a:moveTo>
                  <a:lnTo>
                    <a:pt x="184057" y="121330"/>
                  </a:lnTo>
                  <a:lnTo>
                    <a:pt x="183502" y="123106"/>
                  </a:lnTo>
                  <a:lnTo>
                    <a:pt x="183513" y="124862"/>
                  </a:lnTo>
                  <a:lnTo>
                    <a:pt x="182990" y="125692"/>
                  </a:lnTo>
                  <a:lnTo>
                    <a:pt x="180716" y="127984"/>
                  </a:lnTo>
                  <a:lnTo>
                    <a:pt x="177449" y="129987"/>
                  </a:lnTo>
                  <a:lnTo>
                    <a:pt x="178641" y="126329"/>
                  </a:lnTo>
                  <a:lnTo>
                    <a:pt x="180405" y="122620"/>
                  </a:lnTo>
                  <a:close/>
                  <a:moveTo>
                    <a:pt x="198678" y="112691"/>
                  </a:moveTo>
                  <a:lnTo>
                    <a:pt x="200641" y="113103"/>
                  </a:lnTo>
                  <a:lnTo>
                    <a:pt x="201956" y="113756"/>
                  </a:lnTo>
                  <a:lnTo>
                    <a:pt x="205392" y="113566"/>
                  </a:lnTo>
                  <a:lnTo>
                    <a:pt x="206080" y="113810"/>
                  </a:lnTo>
                  <a:lnTo>
                    <a:pt x="205592" y="114887"/>
                  </a:lnTo>
                  <a:lnTo>
                    <a:pt x="204100" y="116071"/>
                  </a:lnTo>
                  <a:lnTo>
                    <a:pt x="200969" y="116797"/>
                  </a:lnTo>
                  <a:lnTo>
                    <a:pt x="199561" y="118603"/>
                  </a:lnTo>
                  <a:lnTo>
                    <a:pt x="198553" y="119216"/>
                  </a:lnTo>
                  <a:lnTo>
                    <a:pt x="195849" y="119224"/>
                  </a:lnTo>
                  <a:lnTo>
                    <a:pt x="194254" y="119640"/>
                  </a:lnTo>
                  <a:lnTo>
                    <a:pt x="192291" y="121245"/>
                  </a:lnTo>
                  <a:lnTo>
                    <a:pt x="190721" y="120062"/>
                  </a:lnTo>
                  <a:lnTo>
                    <a:pt x="190283" y="120902"/>
                  </a:lnTo>
                  <a:lnTo>
                    <a:pt x="189997" y="122401"/>
                  </a:lnTo>
                  <a:lnTo>
                    <a:pt x="189125" y="122841"/>
                  </a:lnTo>
                  <a:lnTo>
                    <a:pt x="186413" y="123384"/>
                  </a:lnTo>
                  <a:lnTo>
                    <a:pt x="185752" y="119891"/>
                  </a:lnTo>
                  <a:lnTo>
                    <a:pt x="187000" y="118622"/>
                  </a:lnTo>
                  <a:lnTo>
                    <a:pt x="187978" y="117104"/>
                  </a:lnTo>
                  <a:lnTo>
                    <a:pt x="189477" y="116872"/>
                  </a:lnTo>
                  <a:lnTo>
                    <a:pt x="190820" y="116998"/>
                  </a:lnTo>
                  <a:lnTo>
                    <a:pt x="193237" y="113726"/>
                  </a:lnTo>
                  <a:lnTo>
                    <a:pt x="196547" y="112796"/>
                  </a:lnTo>
                  <a:close/>
                  <a:moveTo>
                    <a:pt x="227817" y="84536"/>
                  </a:moveTo>
                  <a:lnTo>
                    <a:pt x="228398" y="84693"/>
                  </a:lnTo>
                  <a:lnTo>
                    <a:pt x="229447" y="85561"/>
                  </a:lnTo>
                  <a:lnTo>
                    <a:pt x="230145" y="87049"/>
                  </a:lnTo>
                  <a:lnTo>
                    <a:pt x="233021" y="90942"/>
                  </a:lnTo>
                  <a:lnTo>
                    <a:pt x="234334" y="93213"/>
                  </a:lnTo>
                  <a:lnTo>
                    <a:pt x="233269" y="97497"/>
                  </a:lnTo>
                  <a:lnTo>
                    <a:pt x="230475" y="99655"/>
                  </a:lnTo>
                  <a:lnTo>
                    <a:pt x="226163" y="100039"/>
                  </a:lnTo>
                  <a:lnTo>
                    <a:pt x="223138" y="99860"/>
                  </a:lnTo>
                  <a:lnTo>
                    <a:pt x="221231" y="98822"/>
                  </a:lnTo>
                  <a:lnTo>
                    <a:pt x="220993" y="97657"/>
                  </a:lnTo>
                  <a:lnTo>
                    <a:pt x="219892" y="97313"/>
                  </a:lnTo>
                  <a:lnTo>
                    <a:pt x="216987" y="98809"/>
                  </a:lnTo>
                  <a:lnTo>
                    <a:pt x="214969" y="99011"/>
                  </a:lnTo>
                  <a:lnTo>
                    <a:pt x="212401" y="97851"/>
                  </a:lnTo>
                  <a:lnTo>
                    <a:pt x="211710" y="95995"/>
                  </a:lnTo>
                  <a:lnTo>
                    <a:pt x="214435" y="93665"/>
                  </a:lnTo>
                  <a:lnTo>
                    <a:pt x="215696" y="91852"/>
                  </a:lnTo>
                  <a:lnTo>
                    <a:pt x="218720" y="92012"/>
                  </a:lnTo>
                  <a:lnTo>
                    <a:pt x="219475" y="92576"/>
                  </a:lnTo>
                  <a:lnTo>
                    <a:pt x="221183" y="92928"/>
                  </a:lnTo>
                  <a:lnTo>
                    <a:pt x="222222" y="90744"/>
                  </a:lnTo>
                  <a:lnTo>
                    <a:pt x="221982" y="89232"/>
                  </a:lnTo>
                  <a:lnTo>
                    <a:pt x="222742" y="88181"/>
                  </a:lnTo>
                  <a:lnTo>
                    <a:pt x="226394" y="88938"/>
                  </a:lnTo>
                  <a:lnTo>
                    <a:pt x="226400" y="84826"/>
                  </a:lnTo>
                  <a:close/>
                  <a:moveTo>
                    <a:pt x="246910" y="73108"/>
                  </a:moveTo>
                  <a:lnTo>
                    <a:pt x="248739" y="73108"/>
                  </a:lnTo>
                  <a:lnTo>
                    <a:pt x="250540" y="74204"/>
                  </a:lnTo>
                  <a:lnTo>
                    <a:pt x="250216" y="76443"/>
                  </a:lnTo>
                  <a:lnTo>
                    <a:pt x="247515" y="80477"/>
                  </a:lnTo>
                  <a:lnTo>
                    <a:pt x="243513" y="83908"/>
                  </a:lnTo>
                  <a:lnTo>
                    <a:pt x="244001" y="86367"/>
                  </a:lnTo>
                  <a:lnTo>
                    <a:pt x="245595" y="88389"/>
                  </a:lnTo>
                  <a:lnTo>
                    <a:pt x="245986" y="91839"/>
                  </a:lnTo>
                  <a:lnTo>
                    <a:pt x="246083" y="95156"/>
                  </a:lnTo>
                  <a:lnTo>
                    <a:pt x="243049" y="99627"/>
                  </a:lnTo>
                  <a:lnTo>
                    <a:pt x="242378" y="101772"/>
                  </a:lnTo>
                  <a:lnTo>
                    <a:pt x="242643" y="102042"/>
                  </a:lnTo>
                  <a:lnTo>
                    <a:pt x="245656" y="98341"/>
                  </a:lnTo>
                  <a:lnTo>
                    <a:pt x="248994" y="97185"/>
                  </a:lnTo>
                  <a:lnTo>
                    <a:pt x="249201" y="95895"/>
                  </a:lnTo>
                  <a:lnTo>
                    <a:pt x="250495" y="94646"/>
                  </a:lnTo>
                  <a:lnTo>
                    <a:pt x="250348" y="92605"/>
                  </a:lnTo>
                  <a:lnTo>
                    <a:pt x="251006" y="90944"/>
                  </a:lnTo>
                  <a:lnTo>
                    <a:pt x="252708" y="90504"/>
                  </a:lnTo>
                  <a:lnTo>
                    <a:pt x="253771" y="89942"/>
                  </a:lnTo>
                  <a:lnTo>
                    <a:pt x="254950" y="89632"/>
                  </a:lnTo>
                  <a:lnTo>
                    <a:pt x="257079" y="90976"/>
                  </a:lnTo>
                  <a:lnTo>
                    <a:pt x="258284" y="92467"/>
                  </a:lnTo>
                  <a:lnTo>
                    <a:pt x="259780" y="95797"/>
                  </a:lnTo>
                  <a:lnTo>
                    <a:pt x="259158" y="99013"/>
                  </a:lnTo>
                  <a:lnTo>
                    <a:pt x="255150" y="101517"/>
                  </a:lnTo>
                  <a:lnTo>
                    <a:pt x="251965" y="102646"/>
                  </a:lnTo>
                  <a:lnTo>
                    <a:pt x="248748" y="105516"/>
                  </a:lnTo>
                  <a:lnTo>
                    <a:pt x="247131" y="107859"/>
                  </a:lnTo>
                  <a:lnTo>
                    <a:pt x="245742" y="108366"/>
                  </a:lnTo>
                  <a:lnTo>
                    <a:pt x="244863" y="108175"/>
                  </a:lnTo>
                  <a:lnTo>
                    <a:pt x="244082" y="107609"/>
                  </a:lnTo>
                  <a:lnTo>
                    <a:pt x="242451" y="107607"/>
                  </a:lnTo>
                  <a:lnTo>
                    <a:pt x="240657" y="109638"/>
                  </a:lnTo>
                  <a:lnTo>
                    <a:pt x="235239" y="111288"/>
                  </a:lnTo>
                  <a:lnTo>
                    <a:pt x="233114" y="110812"/>
                  </a:lnTo>
                  <a:lnTo>
                    <a:pt x="233017" y="108788"/>
                  </a:lnTo>
                  <a:lnTo>
                    <a:pt x="231749" y="108956"/>
                  </a:lnTo>
                  <a:lnTo>
                    <a:pt x="229719" y="111382"/>
                  </a:lnTo>
                  <a:lnTo>
                    <a:pt x="227733" y="112191"/>
                  </a:lnTo>
                  <a:lnTo>
                    <a:pt x="226398" y="112440"/>
                  </a:lnTo>
                  <a:lnTo>
                    <a:pt x="223947" y="111527"/>
                  </a:lnTo>
                  <a:lnTo>
                    <a:pt x="217359" y="115654"/>
                  </a:lnTo>
                  <a:lnTo>
                    <a:pt x="211181" y="116425"/>
                  </a:lnTo>
                  <a:lnTo>
                    <a:pt x="209147" y="115948"/>
                  </a:lnTo>
                  <a:lnTo>
                    <a:pt x="209140" y="113424"/>
                  </a:lnTo>
                  <a:lnTo>
                    <a:pt x="213133" y="110191"/>
                  </a:lnTo>
                  <a:lnTo>
                    <a:pt x="216407" y="107941"/>
                  </a:lnTo>
                  <a:lnTo>
                    <a:pt x="227672" y="106369"/>
                  </a:lnTo>
                  <a:lnTo>
                    <a:pt x="234688" y="99674"/>
                  </a:lnTo>
                  <a:lnTo>
                    <a:pt x="236383" y="92374"/>
                  </a:lnTo>
                  <a:lnTo>
                    <a:pt x="238042" y="89732"/>
                  </a:lnTo>
                  <a:lnTo>
                    <a:pt x="237262" y="88238"/>
                  </a:lnTo>
                  <a:lnTo>
                    <a:pt x="235375" y="87975"/>
                  </a:lnTo>
                  <a:lnTo>
                    <a:pt x="235260" y="85677"/>
                  </a:lnTo>
                  <a:lnTo>
                    <a:pt x="236245" y="83162"/>
                  </a:lnTo>
                  <a:lnTo>
                    <a:pt x="239927" y="79703"/>
                  </a:lnTo>
                  <a:lnTo>
                    <a:pt x="241972" y="78229"/>
                  </a:lnTo>
                  <a:lnTo>
                    <a:pt x="245304" y="74050"/>
                  </a:lnTo>
                  <a:close/>
                  <a:moveTo>
                    <a:pt x="280912" y="61606"/>
                  </a:moveTo>
                  <a:lnTo>
                    <a:pt x="283570" y="63847"/>
                  </a:lnTo>
                  <a:lnTo>
                    <a:pt x="284766" y="63162"/>
                  </a:lnTo>
                  <a:lnTo>
                    <a:pt x="287118" y="62907"/>
                  </a:lnTo>
                  <a:lnTo>
                    <a:pt x="288867" y="63693"/>
                  </a:lnTo>
                  <a:lnTo>
                    <a:pt x="290297" y="65116"/>
                  </a:lnTo>
                  <a:lnTo>
                    <a:pt x="291992" y="65181"/>
                  </a:lnTo>
                  <a:lnTo>
                    <a:pt x="293056" y="67038"/>
                  </a:lnTo>
                  <a:lnTo>
                    <a:pt x="293598" y="69452"/>
                  </a:lnTo>
                  <a:lnTo>
                    <a:pt x="292367" y="71253"/>
                  </a:lnTo>
                  <a:lnTo>
                    <a:pt x="290621" y="72068"/>
                  </a:lnTo>
                  <a:lnTo>
                    <a:pt x="290148" y="74189"/>
                  </a:lnTo>
                  <a:lnTo>
                    <a:pt x="290811" y="77154"/>
                  </a:lnTo>
                  <a:lnTo>
                    <a:pt x="286893" y="78170"/>
                  </a:lnTo>
                  <a:lnTo>
                    <a:pt x="282352" y="78622"/>
                  </a:lnTo>
                  <a:lnTo>
                    <a:pt x="280577" y="77205"/>
                  </a:lnTo>
                  <a:lnTo>
                    <a:pt x="276945" y="79802"/>
                  </a:lnTo>
                  <a:lnTo>
                    <a:pt x="273348" y="83842"/>
                  </a:lnTo>
                  <a:lnTo>
                    <a:pt x="271614" y="84317"/>
                  </a:lnTo>
                  <a:lnTo>
                    <a:pt x="271493" y="83039"/>
                  </a:lnTo>
                  <a:lnTo>
                    <a:pt x="268908" y="82156"/>
                  </a:lnTo>
                  <a:lnTo>
                    <a:pt x="265598" y="82105"/>
                  </a:lnTo>
                  <a:lnTo>
                    <a:pt x="265708" y="81158"/>
                  </a:lnTo>
                  <a:lnTo>
                    <a:pt x="266308" y="80489"/>
                  </a:lnTo>
                  <a:lnTo>
                    <a:pt x="269165" y="79496"/>
                  </a:lnTo>
                  <a:lnTo>
                    <a:pt x="269735" y="77447"/>
                  </a:lnTo>
                  <a:lnTo>
                    <a:pt x="269216" y="73784"/>
                  </a:lnTo>
                  <a:lnTo>
                    <a:pt x="269720" y="72004"/>
                  </a:lnTo>
                  <a:lnTo>
                    <a:pt x="269828" y="70773"/>
                  </a:lnTo>
                  <a:lnTo>
                    <a:pt x="271624" y="69332"/>
                  </a:lnTo>
                  <a:lnTo>
                    <a:pt x="277768" y="70009"/>
                  </a:lnTo>
                  <a:lnTo>
                    <a:pt x="278513" y="68633"/>
                  </a:lnTo>
                  <a:lnTo>
                    <a:pt x="278047" y="67767"/>
                  </a:lnTo>
                  <a:lnTo>
                    <a:pt x="274872" y="66249"/>
                  </a:lnTo>
                  <a:lnTo>
                    <a:pt x="275360" y="65227"/>
                  </a:lnTo>
                  <a:lnTo>
                    <a:pt x="277651" y="64313"/>
                  </a:lnTo>
                  <a:lnTo>
                    <a:pt x="279819" y="64195"/>
                  </a:lnTo>
                  <a:lnTo>
                    <a:pt x="280471" y="62647"/>
                  </a:lnTo>
                  <a:lnTo>
                    <a:pt x="280584" y="61973"/>
                  </a:lnTo>
                  <a:close/>
                  <a:moveTo>
                    <a:pt x="553617" y="49437"/>
                  </a:moveTo>
                  <a:lnTo>
                    <a:pt x="555344" y="49560"/>
                  </a:lnTo>
                  <a:lnTo>
                    <a:pt x="557091" y="50712"/>
                  </a:lnTo>
                  <a:lnTo>
                    <a:pt x="558466" y="52086"/>
                  </a:lnTo>
                  <a:lnTo>
                    <a:pt x="556277" y="53725"/>
                  </a:lnTo>
                  <a:lnTo>
                    <a:pt x="552077" y="54876"/>
                  </a:lnTo>
                  <a:lnTo>
                    <a:pt x="551591" y="53929"/>
                  </a:lnTo>
                  <a:lnTo>
                    <a:pt x="552513" y="52454"/>
                  </a:lnTo>
                  <a:close/>
                  <a:moveTo>
                    <a:pt x="350606" y="36555"/>
                  </a:moveTo>
                  <a:lnTo>
                    <a:pt x="353506" y="37006"/>
                  </a:lnTo>
                  <a:lnTo>
                    <a:pt x="354245" y="37564"/>
                  </a:lnTo>
                  <a:lnTo>
                    <a:pt x="353355" y="42154"/>
                  </a:lnTo>
                  <a:lnTo>
                    <a:pt x="352163" y="43074"/>
                  </a:lnTo>
                  <a:lnTo>
                    <a:pt x="350334" y="43450"/>
                  </a:lnTo>
                  <a:lnTo>
                    <a:pt x="349349" y="42879"/>
                  </a:lnTo>
                  <a:lnTo>
                    <a:pt x="347948" y="42504"/>
                  </a:lnTo>
                  <a:lnTo>
                    <a:pt x="346391" y="42676"/>
                  </a:lnTo>
                  <a:lnTo>
                    <a:pt x="345082" y="40989"/>
                  </a:lnTo>
                  <a:lnTo>
                    <a:pt x="345229" y="39572"/>
                  </a:lnTo>
                  <a:lnTo>
                    <a:pt x="347021" y="37649"/>
                  </a:lnTo>
                  <a:close/>
                  <a:moveTo>
                    <a:pt x="318716" y="35896"/>
                  </a:moveTo>
                  <a:lnTo>
                    <a:pt x="319528" y="38632"/>
                  </a:lnTo>
                  <a:lnTo>
                    <a:pt x="319653" y="43078"/>
                  </a:lnTo>
                  <a:lnTo>
                    <a:pt x="321614" y="45233"/>
                  </a:lnTo>
                  <a:lnTo>
                    <a:pt x="323350" y="45026"/>
                  </a:lnTo>
                  <a:lnTo>
                    <a:pt x="323873" y="44213"/>
                  </a:lnTo>
                  <a:lnTo>
                    <a:pt x="325058" y="43811"/>
                  </a:lnTo>
                  <a:lnTo>
                    <a:pt x="327453" y="44949"/>
                  </a:lnTo>
                  <a:lnTo>
                    <a:pt x="327110" y="46885"/>
                  </a:lnTo>
                  <a:lnTo>
                    <a:pt x="323795" y="49325"/>
                  </a:lnTo>
                  <a:lnTo>
                    <a:pt x="321416" y="52800"/>
                  </a:lnTo>
                  <a:lnTo>
                    <a:pt x="318371" y="53606"/>
                  </a:lnTo>
                  <a:lnTo>
                    <a:pt x="316907" y="53187"/>
                  </a:lnTo>
                  <a:lnTo>
                    <a:pt x="314186" y="55190"/>
                  </a:lnTo>
                  <a:lnTo>
                    <a:pt x="312005" y="57269"/>
                  </a:lnTo>
                  <a:lnTo>
                    <a:pt x="309744" y="59895"/>
                  </a:lnTo>
                  <a:lnTo>
                    <a:pt x="309606" y="61247"/>
                  </a:lnTo>
                  <a:lnTo>
                    <a:pt x="309254" y="62281"/>
                  </a:lnTo>
                  <a:lnTo>
                    <a:pt x="300973" y="63307"/>
                  </a:lnTo>
                  <a:lnTo>
                    <a:pt x="297962" y="63986"/>
                  </a:lnTo>
                  <a:lnTo>
                    <a:pt x="294773" y="63110"/>
                  </a:lnTo>
                  <a:lnTo>
                    <a:pt x="293262" y="61376"/>
                  </a:lnTo>
                  <a:lnTo>
                    <a:pt x="293747" y="60433"/>
                  </a:lnTo>
                  <a:lnTo>
                    <a:pt x="296930" y="60056"/>
                  </a:lnTo>
                  <a:lnTo>
                    <a:pt x="297032" y="58445"/>
                  </a:lnTo>
                  <a:lnTo>
                    <a:pt x="297837" y="57461"/>
                  </a:lnTo>
                  <a:lnTo>
                    <a:pt x="298867" y="56924"/>
                  </a:lnTo>
                  <a:lnTo>
                    <a:pt x="299625" y="54863"/>
                  </a:lnTo>
                  <a:lnTo>
                    <a:pt x="300884" y="54325"/>
                  </a:lnTo>
                  <a:lnTo>
                    <a:pt x="303231" y="54832"/>
                  </a:lnTo>
                  <a:lnTo>
                    <a:pt x="304814" y="53338"/>
                  </a:lnTo>
                  <a:lnTo>
                    <a:pt x="305706" y="53085"/>
                  </a:lnTo>
                  <a:lnTo>
                    <a:pt x="306805" y="54321"/>
                  </a:lnTo>
                  <a:lnTo>
                    <a:pt x="307334" y="52619"/>
                  </a:lnTo>
                  <a:lnTo>
                    <a:pt x="306805" y="51064"/>
                  </a:lnTo>
                  <a:lnTo>
                    <a:pt x="307082" y="50015"/>
                  </a:lnTo>
                  <a:lnTo>
                    <a:pt x="310117" y="47283"/>
                  </a:lnTo>
                  <a:lnTo>
                    <a:pt x="311431" y="45289"/>
                  </a:lnTo>
                  <a:lnTo>
                    <a:pt x="313320" y="44004"/>
                  </a:lnTo>
                  <a:lnTo>
                    <a:pt x="315140" y="44209"/>
                  </a:lnTo>
                  <a:lnTo>
                    <a:pt x="315669" y="42315"/>
                  </a:lnTo>
                  <a:lnTo>
                    <a:pt x="315140" y="40373"/>
                  </a:lnTo>
                  <a:lnTo>
                    <a:pt x="315341" y="39107"/>
                  </a:lnTo>
                  <a:lnTo>
                    <a:pt x="316948" y="36027"/>
                  </a:lnTo>
                  <a:close/>
                  <a:moveTo>
                    <a:pt x="329133" y="34857"/>
                  </a:moveTo>
                  <a:lnTo>
                    <a:pt x="330984" y="37118"/>
                  </a:lnTo>
                  <a:lnTo>
                    <a:pt x="332109" y="37583"/>
                  </a:lnTo>
                  <a:lnTo>
                    <a:pt x="333221" y="37294"/>
                  </a:lnTo>
                  <a:lnTo>
                    <a:pt x="334145" y="37705"/>
                  </a:lnTo>
                  <a:lnTo>
                    <a:pt x="335996" y="39794"/>
                  </a:lnTo>
                  <a:lnTo>
                    <a:pt x="337989" y="40615"/>
                  </a:lnTo>
                  <a:lnTo>
                    <a:pt x="338082" y="41666"/>
                  </a:lnTo>
                  <a:lnTo>
                    <a:pt x="336257" y="42690"/>
                  </a:lnTo>
                  <a:lnTo>
                    <a:pt x="333854" y="42997"/>
                  </a:lnTo>
                  <a:lnTo>
                    <a:pt x="331280" y="42641"/>
                  </a:lnTo>
                  <a:lnTo>
                    <a:pt x="330524" y="41332"/>
                  </a:lnTo>
                  <a:lnTo>
                    <a:pt x="329731" y="39157"/>
                  </a:lnTo>
                  <a:lnTo>
                    <a:pt x="327578" y="37023"/>
                  </a:lnTo>
                  <a:lnTo>
                    <a:pt x="327259" y="35152"/>
                  </a:lnTo>
                  <a:close/>
                  <a:moveTo>
                    <a:pt x="414550" y="21147"/>
                  </a:moveTo>
                  <a:lnTo>
                    <a:pt x="415263" y="22086"/>
                  </a:lnTo>
                  <a:lnTo>
                    <a:pt x="416068" y="23860"/>
                  </a:lnTo>
                  <a:lnTo>
                    <a:pt x="416480" y="25730"/>
                  </a:lnTo>
                  <a:lnTo>
                    <a:pt x="416636" y="27271"/>
                  </a:lnTo>
                  <a:lnTo>
                    <a:pt x="414573" y="29498"/>
                  </a:lnTo>
                  <a:lnTo>
                    <a:pt x="409821" y="32415"/>
                  </a:lnTo>
                  <a:lnTo>
                    <a:pt x="410093" y="33198"/>
                  </a:lnTo>
                  <a:lnTo>
                    <a:pt x="408448" y="33946"/>
                  </a:lnTo>
                  <a:lnTo>
                    <a:pt x="405981" y="34498"/>
                  </a:lnTo>
                  <a:lnTo>
                    <a:pt x="404679" y="33962"/>
                  </a:lnTo>
                  <a:lnTo>
                    <a:pt x="404859" y="31463"/>
                  </a:lnTo>
                  <a:lnTo>
                    <a:pt x="404466" y="30714"/>
                  </a:lnTo>
                  <a:lnTo>
                    <a:pt x="402593" y="31705"/>
                  </a:lnTo>
                  <a:lnTo>
                    <a:pt x="400646" y="30434"/>
                  </a:lnTo>
                  <a:lnTo>
                    <a:pt x="400643" y="29155"/>
                  </a:lnTo>
                  <a:lnTo>
                    <a:pt x="401157" y="28044"/>
                  </a:lnTo>
                  <a:lnTo>
                    <a:pt x="402958" y="26354"/>
                  </a:lnTo>
                  <a:lnTo>
                    <a:pt x="405964" y="25189"/>
                  </a:lnTo>
                  <a:lnTo>
                    <a:pt x="407946" y="25626"/>
                  </a:lnTo>
                  <a:close/>
                  <a:moveTo>
                    <a:pt x="419674" y="15922"/>
                  </a:moveTo>
                  <a:lnTo>
                    <a:pt x="420959" y="16643"/>
                  </a:lnTo>
                  <a:lnTo>
                    <a:pt x="421302" y="17247"/>
                  </a:lnTo>
                  <a:lnTo>
                    <a:pt x="423611" y="17839"/>
                  </a:lnTo>
                  <a:lnTo>
                    <a:pt x="426305" y="19805"/>
                  </a:lnTo>
                  <a:lnTo>
                    <a:pt x="424962" y="23137"/>
                  </a:lnTo>
                  <a:lnTo>
                    <a:pt x="420751" y="24733"/>
                  </a:lnTo>
                  <a:lnTo>
                    <a:pt x="418307" y="23358"/>
                  </a:lnTo>
                  <a:lnTo>
                    <a:pt x="417279" y="21949"/>
                  </a:lnTo>
                  <a:lnTo>
                    <a:pt x="417128" y="18816"/>
                  </a:lnTo>
                  <a:lnTo>
                    <a:pt x="417700" y="16908"/>
                  </a:lnTo>
                  <a:close/>
                  <a:moveTo>
                    <a:pt x="411209" y="12093"/>
                  </a:moveTo>
                  <a:lnTo>
                    <a:pt x="412202" y="13172"/>
                  </a:lnTo>
                  <a:lnTo>
                    <a:pt x="411769" y="14432"/>
                  </a:lnTo>
                  <a:lnTo>
                    <a:pt x="411021" y="15659"/>
                  </a:lnTo>
                  <a:lnTo>
                    <a:pt x="409209" y="16953"/>
                  </a:lnTo>
                  <a:lnTo>
                    <a:pt x="403969" y="22068"/>
                  </a:lnTo>
                  <a:lnTo>
                    <a:pt x="400889" y="22891"/>
                  </a:lnTo>
                  <a:lnTo>
                    <a:pt x="399914" y="23692"/>
                  </a:lnTo>
                  <a:lnTo>
                    <a:pt x="398683" y="24170"/>
                  </a:lnTo>
                  <a:lnTo>
                    <a:pt x="394856" y="23471"/>
                  </a:lnTo>
                  <a:lnTo>
                    <a:pt x="393736" y="24506"/>
                  </a:lnTo>
                  <a:lnTo>
                    <a:pt x="392678" y="25197"/>
                  </a:lnTo>
                  <a:lnTo>
                    <a:pt x="389907" y="25465"/>
                  </a:lnTo>
                  <a:lnTo>
                    <a:pt x="388281" y="25240"/>
                  </a:lnTo>
                  <a:lnTo>
                    <a:pt x="384081" y="23348"/>
                  </a:lnTo>
                  <a:lnTo>
                    <a:pt x="381582" y="21298"/>
                  </a:lnTo>
                  <a:lnTo>
                    <a:pt x="380229" y="19542"/>
                  </a:lnTo>
                  <a:lnTo>
                    <a:pt x="384109" y="19576"/>
                  </a:lnTo>
                  <a:lnTo>
                    <a:pt x="385493" y="19151"/>
                  </a:lnTo>
                  <a:lnTo>
                    <a:pt x="388095" y="19521"/>
                  </a:lnTo>
                  <a:lnTo>
                    <a:pt x="389658" y="17719"/>
                  </a:lnTo>
                  <a:lnTo>
                    <a:pt x="392969" y="17937"/>
                  </a:lnTo>
                  <a:lnTo>
                    <a:pt x="399324" y="16682"/>
                  </a:lnTo>
                  <a:lnTo>
                    <a:pt x="401656" y="17382"/>
                  </a:lnTo>
                  <a:lnTo>
                    <a:pt x="406988" y="13184"/>
                  </a:lnTo>
                  <a:lnTo>
                    <a:pt x="408657" y="13294"/>
                  </a:lnTo>
                  <a:close/>
                  <a:moveTo>
                    <a:pt x="504113" y="2056"/>
                  </a:moveTo>
                  <a:lnTo>
                    <a:pt x="507129" y="2479"/>
                  </a:lnTo>
                  <a:lnTo>
                    <a:pt x="508932" y="3348"/>
                  </a:lnTo>
                  <a:lnTo>
                    <a:pt x="516155" y="4009"/>
                  </a:lnTo>
                  <a:lnTo>
                    <a:pt x="521696" y="6744"/>
                  </a:lnTo>
                  <a:lnTo>
                    <a:pt x="521485" y="11012"/>
                  </a:lnTo>
                  <a:lnTo>
                    <a:pt x="520250" y="12793"/>
                  </a:lnTo>
                  <a:lnTo>
                    <a:pt x="519034" y="13889"/>
                  </a:lnTo>
                  <a:lnTo>
                    <a:pt x="511938" y="17118"/>
                  </a:lnTo>
                  <a:lnTo>
                    <a:pt x="510768" y="18708"/>
                  </a:lnTo>
                  <a:lnTo>
                    <a:pt x="512996" y="19257"/>
                  </a:lnTo>
                  <a:lnTo>
                    <a:pt x="517790" y="17649"/>
                  </a:lnTo>
                  <a:lnTo>
                    <a:pt x="519032" y="19108"/>
                  </a:lnTo>
                  <a:lnTo>
                    <a:pt x="517505" y="22756"/>
                  </a:lnTo>
                  <a:lnTo>
                    <a:pt x="517246" y="28220"/>
                  </a:lnTo>
                  <a:lnTo>
                    <a:pt x="516693" y="31401"/>
                  </a:lnTo>
                  <a:lnTo>
                    <a:pt x="516693" y="34298"/>
                  </a:lnTo>
                  <a:lnTo>
                    <a:pt x="517289" y="35851"/>
                  </a:lnTo>
                  <a:lnTo>
                    <a:pt x="519215" y="29687"/>
                  </a:lnTo>
                  <a:lnTo>
                    <a:pt x="519874" y="28105"/>
                  </a:lnTo>
                  <a:lnTo>
                    <a:pt x="522692" y="25777"/>
                  </a:lnTo>
                  <a:lnTo>
                    <a:pt x="523741" y="21079"/>
                  </a:lnTo>
                  <a:lnTo>
                    <a:pt x="526497" y="15427"/>
                  </a:lnTo>
                  <a:lnTo>
                    <a:pt x="529602" y="12136"/>
                  </a:lnTo>
                  <a:lnTo>
                    <a:pt x="531409" y="11232"/>
                  </a:lnTo>
                  <a:lnTo>
                    <a:pt x="537397" y="11362"/>
                  </a:lnTo>
                  <a:lnTo>
                    <a:pt x="539967" y="12602"/>
                  </a:lnTo>
                  <a:lnTo>
                    <a:pt x="542234" y="15355"/>
                  </a:lnTo>
                  <a:lnTo>
                    <a:pt x="543927" y="16453"/>
                  </a:lnTo>
                  <a:lnTo>
                    <a:pt x="549265" y="17621"/>
                  </a:lnTo>
                  <a:lnTo>
                    <a:pt x="551098" y="19084"/>
                  </a:lnTo>
                  <a:lnTo>
                    <a:pt x="551442" y="19955"/>
                  </a:lnTo>
                  <a:lnTo>
                    <a:pt x="552746" y="20128"/>
                  </a:lnTo>
                  <a:lnTo>
                    <a:pt x="556348" y="18048"/>
                  </a:lnTo>
                  <a:lnTo>
                    <a:pt x="558687" y="17703"/>
                  </a:lnTo>
                  <a:lnTo>
                    <a:pt x="562502" y="20944"/>
                  </a:lnTo>
                  <a:lnTo>
                    <a:pt x="561736" y="23340"/>
                  </a:lnTo>
                  <a:lnTo>
                    <a:pt x="561960" y="24100"/>
                  </a:lnTo>
                  <a:lnTo>
                    <a:pt x="566579" y="23946"/>
                  </a:lnTo>
                  <a:lnTo>
                    <a:pt x="570423" y="24885"/>
                  </a:lnTo>
                  <a:lnTo>
                    <a:pt x="577730" y="29778"/>
                  </a:lnTo>
                  <a:lnTo>
                    <a:pt x="578488" y="32061"/>
                  </a:lnTo>
                  <a:lnTo>
                    <a:pt x="578123" y="34824"/>
                  </a:lnTo>
                  <a:lnTo>
                    <a:pt x="567616" y="37866"/>
                  </a:lnTo>
                  <a:lnTo>
                    <a:pt x="563062" y="40768"/>
                  </a:lnTo>
                  <a:lnTo>
                    <a:pt x="555608" y="41887"/>
                  </a:lnTo>
                  <a:lnTo>
                    <a:pt x="530295" y="39947"/>
                  </a:lnTo>
                  <a:lnTo>
                    <a:pt x="530807" y="42044"/>
                  </a:lnTo>
                  <a:lnTo>
                    <a:pt x="548432" y="46625"/>
                  </a:lnTo>
                  <a:lnTo>
                    <a:pt x="549438" y="47931"/>
                  </a:lnTo>
                  <a:lnTo>
                    <a:pt x="548874" y="50679"/>
                  </a:lnTo>
                  <a:lnTo>
                    <a:pt x="548866" y="52881"/>
                  </a:lnTo>
                  <a:lnTo>
                    <a:pt x="549196" y="54381"/>
                  </a:lnTo>
                  <a:lnTo>
                    <a:pt x="550494" y="55779"/>
                  </a:lnTo>
                  <a:lnTo>
                    <a:pt x="552649" y="56436"/>
                  </a:lnTo>
                  <a:lnTo>
                    <a:pt x="557033" y="56090"/>
                  </a:lnTo>
                  <a:lnTo>
                    <a:pt x="559198" y="56841"/>
                  </a:lnTo>
                  <a:lnTo>
                    <a:pt x="560678" y="55726"/>
                  </a:lnTo>
                  <a:lnTo>
                    <a:pt x="561228" y="51977"/>
                  </a:lnTo>
                  <a:lnTo>
                    <a:pt x="562500" y="51147"/>
                  </a:lnTo>
                  <a:lnTo>
                    <a:pt x="564960" y="52236"/>
                  </a:lnTo>
                  <a:lnTo>
                    <a:pt x="566031" y="56242"/>
                  </a:lnTo>
                  <a:lnTo>
                    <a:pt x="566717" y="56657"/>
                  </a:lnTo>
                  <a:lnTo>
                    <a:pt x="567957" y="53800"/>
                  </a:lnTo>
                  <a:lnTo>
                    <a:pt x="570393" y="54006"/>
                  </a:lnTo>
                  <a:lnTo>
                    <a:pt x="573044" y="53768"/>
                  </a:lnTo>
                  <a:lnTo>
                    <a:pt x="576478" y="54250"/>
                  </a:lnTo>
                  <a:lnTo>
                    <a:pt x="577681" y="59427"/>
                  </a:lnTo>
                  <a:lnTo>
                    <a:pt x="577644" y="61230"/>
                  </a:lnTo>
                  <a:lnTo>
                    <a:pt x="577074" y="62978"/>
                  </a:lnTo>
                  <a:lnTo>
                    <a:pt x="576279" y="63871"/>
                  </a:lnTo>
                  <a:lnTo>
                    <a:pt x="574690" y="64260"/>
                  </a:lnTo>
                  <a:lnTo>
                    <a:pt x="570855" y="64101"/>
                  </a:lnTo>
                  <a:lnTo>
                    <a:pt x="565642" y="62058"/>
                  </a:lnTo>
                  <a:lnTo>
                    <a:pt x="562278" y="60133"/>
                  </a:lnTo>
                  <a:lnTo>
                    <a:pt x="561230" y="60052"/>
                  </a:lnTo>
                  <a:lnTo>
                    <a:pt x="560779" y="60286"/>
                  </a:lnTo>
                  <a:lnTo>
                    <a:pt x="561591" y="62220"/>
                  </a:lnTo>
                  <a:lnTo>
                    <a:pt x="561375" y="63701"/>
                  </a:lnTo>
                  <a:lnTo>
                    <a:pt x="560868" y="65313"/>
                  </a:lnTo>
                  <a:lnTo>
                    <a:pt x="560162" y="66774"/>
                  </a:lnTo>
                  <a:lnTo>
                    <a:pt x="559177" y="68002"/>
                  </a:lnTo>
                  <a:lnTo>
                    <a:pt x="557115" y="69580"/>
                  </a:lnTo>
                  <a:lnTo>
                    <a:pt x="553547" y="70830"/>
                  </a:lnTo>
                  <a:lnTo>
                    <a:pt x="543720" y="73260"/>
                  </a:lnTo>
                  <a:lnTo>
                    <a:pt x="542940" y="74333"/>
                  </a:lnTo>
                  <a:lnTo>
                    <a:pt x="539777" y="81084"/>
                  </a:lnTo>
                  <a:lnTo>
                    <a:pt x="538913" y="82073"/>
                  </a:lnTo>
                  <a:lnTo>
                    <a:pt x="537756" y="82910"/>
                  </a:lnTo>
                  <a:lnTo>
                    <a:pt x="534379" y="83995"/>
                  </a:lnTo>
                  <a:lnTo>
                    <a:pt x="532744" y="82497"/>
                  </a:lnTo>
                  <a:lnTo>
                    <a:pt x="531433" y="80230"/>
                  </a:lnTo>
                  <a:lnTo>
                    <a:pt x="531735" y="77980"/>
                  </a:lnTo>
                  <a:lnTo>
                    <a:pt x="535685" y="73656"/>
                  </a:lnTo>
                  <a:lnTo>
                    <a:pt x="539375" y="70586"/>
                  </a:lnTo>
                  <a:lnTo>
                    <a:pt x="540416" y="69522"/>
                  </a:lnTo>
                  <a:lnTo>
                    <a:pt x="542506" y="66432"/>
                  </a:lnTo>
                  <a:lnTo>
                    <a:pt x="538265" y="58655"/>
                  </a:lnTo>
                  <a:lnTo>
                    <a:pt x="530720" y="56294"/>
                  </a:lnTo>
                  <a:lnTo>
                    <a:pt x="522126" y="52702"/>
                  </a:lnTo>
                  <a:lnTo>
                    <a:pt x="518973" y="50783"/>
                  </a:lnTo>
                  <a:lnTo>
                    <a:pt x="514067" y="46826"/>
                  </a:lnTo>
                  <a:lnTo>
                    <a:pt x="510589" y="43266"/>
                  </a:lnTo>
                  <a:lnTo>
                    <a:pt x="507447" y="43140"/>
                  </a:lnTo>
                  <a:lnTo>
                    <a:pt x="503994" y="44035"/>
                  </a:lnTo>
                  <a:lnTo>
                    <a:pt x="498606" y="47285"/>
                  </a:lnTo>
                  <a:lnTo>
                    <a:pt x="495458" y="48918"/>
                  </a:lnTo>
                  <a:lnTo>
                    <a:pt x="493730" y="49400"/>
                  </a:lnTo>
                  <a:lnTo>
                    <a:pt x="493313" y="49471"/>
                  </a:lnTo>
                  <a:lnTo>
                    <a:pt x="489457" y="48546"/>
                  </a:lnTo>
                  <a:lnTo>
                    <a:pt x="485166" y="48351"/>
                  </a:lnTo>
                  <a:lnTo>
                    <a:pt x="481717" y="48617"/>
                  </a:lnTo>
                  <a:lnTo>
                    <a:pt x="480415" y="49063"/>
                  </a:lnTo>
                  <a:lnTo>
                    <a:pt x="475613" y="54309"/>
                  </a:lnTo>
                  <a:lnTo>
                    <a:pt x="472251" y="56954"/>
                  </a:lnTo>
                  <a:lnTo>
                    <a:pt x="470400" y="57864"/>
                  </a:lnTo>
                  <a:lnTo>
                    <a:pt x="469053" y="59393"/>
                  </a:lnTo>
                  <a:lnTo>
                    <a:pt x="467947" y="61904"/>
                  </a:lnTo>
                  <a:lnTo>
                    <a:pt x="465486" y="70594"/>
                  </a:lnTo>
                  <a:lnTo>
                    <a:pt x="463650" y="73863"/>
                  </a:lnTo>
                  <a:lnTo>
                    <a:pt x="463240" y="75858"/>
                  </a:lnTo>
                  <a:lnTo>
                    <a:pt x="463672" y="81895"/>
                  </a:lnTo>
                  <a:lnTo>
                    <a:pt x="463233" y="85229"/>
                  </a:lnTo>
                  <a:lnTo>
                    <a:pt x="460985" y="87977"/>
                  </a:lnTo>
                  <a:lnTo>
                    <a:pt x="459407" y="89213"/>
                  </a:lnTo>
                  <a:lnTo>
                    <a:pt x="457319" y="89467"/>
                  </a:lnTo>
                  <a:lnTo>
                    <a:pt x="454583" y="90168"/>
                  </a:lnTo>
                  <a:lnTo>
                    <a:pt x="452194" y="91756"/>
                  </a:lnTo>
                  <a:lnTo>
                    <a:pt x="450508" y="93919"/>
                  </a:lnTo>
                  <a:lnTo>
                    <a:pt x="448607" y="98760"/>
                  </a:lnTo>
                  <a:lnTo>
                    <a:pt x="445390" y="100541"/>
                  </a:lnTo>
                  <a:lnTo>
                    <a:pt x="442317" y="100033"/>
                  </a:lnTo>
                  <a:lnTo>
                    <a:pt x="440123" y="98251"/>
                  </a:lnTo>
                  <a:lnTo>
                    <a:pt x="435420" y="96871"/>
                  </a:lnTo>
                  <a:lnTo>
                    <a:pt x="431915" y="95991"/>
                  </a:lnTo>
                  <a:lnTo>
                    <a:pt x="427981" y="94089"/>
                  </a:lnTo>
                  <a:lnTo>
                    <a:pt x="424516" y="92640"/>
                  </a:lnTo>
                  <a:lnTo>
                    <a:pt x="421345" y="92352"/>
                  </a:lnTo>
                  <a:lnTo>
                    <a:pt x="419545" y="94184"/>
                  </a:lnTo>
                  <a:lnTo>
                    <a:pt x="418095" y="95901"/>
                  </a:lnTo>
                  <a:lnTo>
                    <a:pt x="412688" y="97296"/>
                  </a:lnTo>
                  <a:lnTo>
                    <a:pt x="409627" y="98399"/>
                  </a:lnTo>
                  <a:lnTo>
                    <a:pt x="405653" y="98645"/>
                  </a:lnTo>
                  <a:lnTo>
                    <a:pt x="404047" y="97422"/>
                  </a:lnTo>
                  <a:lnTo>
                    <a:pt x="398283" y="96615"/>
                  </a:lnTo>
                  <a:lnTo>
                    <a:pt x="391421" y="95656"/>
                  </a:lnTo>
                  <a:lnTo>
                    <a:pt x="389436" y="95670"/>
                  </a:lnTo>
                  <a:lnTo>
                    <a:pt x="388817" y="93482"/>
                  </a:lnTo>
                  <a:lnTo>
                    <a:pt x="386992" y="90423"/>
                  </a:lnTo>
                  <a:lnTo>
                    <a:pt x="382112" y="85126"/>
                  </a:lnTo>
                  <a:lnTo>
                    <a:pt x="380116" y="83253"/>
                  </a:lnTo>
                  <a:lnTo>
                    <a:pt x="376363" y="78851"/>
                  </a:lnTo>
                  <a:lnTo>
                    <a:pt x="371986" y="74329"/>
                  </a:lnTo>
                  <a:lnTo>
                    <a:pt x="371366" y="74217"/>
                  </a:lnTo>
                  <a:lnTo>
                    <a:pt x="368436" y="74065"/>
                  </a:lnTo>
                  <a:lnTo>
                    <a:pt x="364137" y="74214"/>
                  </a:lnTo>
                  <a:lnTo>
                    <a:pt x="361416" y="75242"/>
                  </a:lnTo>
                  <a:lnTo>
                    <a:pt x="359699" y="76533"/>
                  </a:lnTo>
                  <a:lnTo>
                    <a:pt x="359401" y="77604"/>
                  </a:lnTo>
                  <a:lnTo>
                    <a:pt x="361064" y="81713"/>
                  </a:lnTo>
                  <a:lnTo>
                    <a:pt x="360548" y="82736"/>
                  </a:lnTo>
                  <a:lnTo>
                    <a:pt x="359691" y="83228"/>
                  </a:lnTo>
                  <a:lnTo>
                    <a:pt x="355789" y="82077"/>
                  </a:lnTo>
                  <a:lnTo>
                    <a:pt x="351070" y="82153"/>
                  </a:lnTo>
                  <a:lnTo>
                    <a:pt x="349882" y="83418"/>
                  </a:lnTo>
                  <a:lnTo>
                    <a:pt x="347004" y="83556"/>
                  </a:lnTo>
                  <a:lnTo>
                    <a:pt x="338706" y="84037"/>
                  </a:lnTo>
                  <a:lnTo>
                    <a:pt x="342368" y="87389"/>
                  </a:lnTo>
                  <a:lnTo>
                    <a:pt x="343579" y="88730"/>
                  </a:lnTo>
                  <a:lnTo>
                    <a:pt x="343821" y="90698"/>
                  </a:lnTo>
                  <a:lnTo>
                    <a:pt x="343189" y="94352"/>
                  </a:lnTo>
                  <a:lnTo>
                    <a:pt x="341433" y="97469"/>
                  </a:lnTo>
                  <a:lnTo>
                    <a:pt x="339386" y="100001"/>
                  </a:lnTo>
                  <a:lnTo>
                    <a:pt x="335436" y="102509"/>
                  </a:lnTo>
                  <a:lnTo>
                    <a:pt x="341433" y="104984"/>
                  </a:lnTo>
                  <a:lnTo>
                    <a:pt x="337363" y="108323"/>
                  </a:lnTo>
                  <a:lnTo>
                    <a:pt x="335458" y="109623"/>
                  </a:lnTo>
                  <a:lnTo>
                    <a:pt x="333251" y="109399"/>
                  </a:lnTo>
                  <a:lnTo>
                    <a:pt x="329297" y="108244"/>
                  </a:lnTo>
                  <a:lnTo>
                    <a:pt x="319740" y="105452"/>
                  </a:lnTo>
                  <a:lnTo>
                    <a:pt x="315177" y="104401"/>
                  </a:lnTo>
                  <a:lnTo>
                    <a:pt x="311100" y="104079"/>
                  </a:lnTo>
                  <a:lnTo>
                    <a:pt x="308923" y="104120"/>
                  </a:lnTo>
                  <a:lnTo>
                    <a:pt x="300273" y="101727"/>
                  </a:lnTo>
                  <a:lnTo>
                    <a:pt x="298602" y="101995"/>
                  </a:lnTo>
                  <a:lnTo>
                    <a:pt x="295496" y="103032"/>
                  </a:lnTo>
                  <a:lnTo>
                    <a:pt x="295153" y="105358"/>
                  </a:lnTo>
                  <a:lnTo>
                    <a:pt x="295349" y="111135"/>
                  </a:lnTo>
                  <a:lnTo>
                    <a:pt x="295807" y="115572"/>
                  </a:lnTo>
                  <a:lnTo>
                    <a:pt x="294665" y="118133"/>
                  </a:lnTo>
                  <a:lnTo>
                    <a:pt x="293520" y="119869"/>
                  </a:lnTo>
                  <a:lnTo>
                    <a:pt x="290059" y="124542"/>
                  </a:lnTo>
                  <a:lnTo>
                    <a:pt x="282277" y="121367"/>
                  </a:lnTo>
                  <a:lnTo>
                    <a:pt x="276967" y="119261"/>
                  </a:lnTo>
                  <a:lnTo>
                    <a:pt x="273559" y="122064"/>
                  </a:lnTo>
                  <a:lnTo>
                    <a:pt x="265004" y="127192"/>
                  </a:lnTo>
                  <a:lnTo>
                    <a:pt x="260624" y="137276"/>
                  </a:lnTo>
                  <a:lnTo>
                    <a:pt x="260372" y="137605"/>
                  </a:lnTo>
                  <a:lnTo>
                    <a:pt x="257785" y="140161"/>
                  </a:lnTo>
                  <a:lnTo>
                    <a:pt x="254468" y="141334"/>
                  </a:lnTo>
                  <a:lnTo>
                    <a:pt x="251957" y="141914"/>
                  </a:lnTo>
                  <a:lnTo>
                    <a:pt x="250495" y="144897"/>
                  </a:lnTo>
                  <a:lnTo>
                    <a:pt x="253902" y="149167"/>
                  </a:lnTo>
                  <a:lnTo>
                    <a:pt x="255651" y="151417"/>
                  </a:lnTo>
                  <a:lnTo>
                    <a:pt x="257280" y="155042"/>
                  </a:lnTo>
                  <a:lnTo>
                    <a:pt x="256979" y="157347"/>
                  </a:lnTo>
                  <a:lnTo>
                    <a:pt x="256599" y="158780"/>
                  </a:lnTo>
                  <a:lnTo>
                    <a:pt x="252933" y="161708"/>
                  </a:lnTo>
                  <a:lnTo>
                    <a:pt x="245116" y="169424"/>
                  </a:lnTo>
                  <a:lnTo>
                    <a:pt x="237882" y="177449"/>
                  </a:lnTo>
                  <a:lnTo>
                    <a:pt x="234917" y="179747"/>
                  </a:lnTo>
                  <a:lnTo>
                    <a:pt x="236262" y="186523"/>
                  </a:lnTo>
                  <a:lnTo>
                    <a:pt x="233855" y="188504"/>
                  </a:lnTo>
                  <a:lnTo>
                    <a:pt x="228955" y="190744"/>
                  </a:lnTo>
                  <a:lnTo>
                    <a:pt x="226450" y="191608"/>
                  </a:lnTo>
                  <a:lnTo>
                    <a:pt x="223751" y="192114"/>
                  </a:lnTo>
                  <a:lnTo>
                    <a:pt x="215465" y="193008"/>
                  </a:lnTo>
                  <a:lnTo>
                    <a:pt x="216940" y="200220"/>
                  </a:lnTo>
                  <a:lnTo>
                    <a:pt x="217497" y="203404"/>
                  </a:lnTo>
                  <a:lnTo>
                    <a:pt x="217484" y="205291"/>
                  </a:lnTo>
                  <a:lnTo>
                    <a:pt x="216627" y="207126"/>
                  </a:lnTo>
                  <a:lnTo>
                    <a:pt x="215603" y="210635"/>
                  </a:lnTo>
                  <a:lnTo>
                    <a:pt x="214059" y="223129"/>
                  </a:lnTo>
                  <a:lnTo>
                    <a:pt x="212878" y="224469"/>
                  </a:lnTo>
                  <a:lnTo>
                    <a:pt x="211246" y="227840"/>
                  </a:lnTo>
                  <a:lnTo>
                    <a:pt x="205999" y="235919"/>
                  </a:lnTo>
                  <a:lnTo>
                    <a:pt x="201790" y="241272"/>
                  </a:lnTo>
                  <a:lnTo>
                    <a:pt x="195720" y="248960"/>
                  </a:lnTo>
                  <a:lnTo>
                    <a:pt x="200656" y="251381"/>
                  </a:lnTo>
                  <a:lnTo>
                    <a:pt x="205169" y="253145"/>
                  </a:lnTo>
                  <a:lnTo>
                    <a:pt x="206104" y="255857"/>
                  </a:lnTo>
                  <a:lnTo>
                    <a:pt x="206726" y="260380"/>
                  </a:lnTo>
                  <a:lnTo>
                    <a:pt x="206575" y="263453"/>
                  </a:lnTo>
                  <a:lnTo>
                    <a:pt x="204852" y="266213"/>
                  </a:lnTo>
                  <a:lnTo>
                    <a:pt x="203513" y="268148"/>
                  </a:lnTo>
                  <a:lnTo>
                    <a:pt x="202580" y="269091"/>
                  </a:lnTo>
                  <a:lnTo>
                    <a:pt x="196171" y="268152"/>
                  </a:lnTo>
                  <a:lnTo>
                    <a:pt x="187966" y="266945"/>
                  </a:lnTo>
                  <a:lnTo>
                    <a:pt x="185841" y="266934"/>
                  </a:lnTo>
                  <a:lnTo>
                    <a:pt x="181066" y="267803"/>
                  </a:lnTo>
                  <a:lnTo>
                    <a:pt x="176758" y="269586"/>
                  </a:lnTo>
                  <a:lnTo>
                    <a:pt x="174487" y="271088"/>
                  </a:lnTo>
                  <a:lnTo>
                    <a:pt x="173878" y="271685"/>
                  </a:lnTo>
                  <a:lnTo>
                    <a:pt x="171008" y="275099"/>
                  </a:lnTo>
                  <a:lnTo>
                    <a:pt x="165905" y="281156"/>
                  </a:lnTo>
                  <a:lnTo>
                    <a:pt x="163102" y="283795"/>
                  </a:lnTo>
                  <a:lnTo>
                    <a:pt x="163919" y="287426"/>
                  </a:lnTo>
                  <a:lnTo>
                    <a:pt x="159226" y="294429"/>
                  </a:lnTo>
                  <a:lnTo>
                    <a:pt x="162295" y="301478"/>
                  </a:lnTo>
                  <a:lnTo>
                    <a:pt x="162426" y="301709"/>
                  </a:lnTo>
                  <a:lnTo>
                    <a:pt x="164052" y="304551"/>
                  </a:lnTo>
                  <a:lnTo>
                    <a:pt x="162347" y="306381"/>
                  </a:lnTo>
                  <a:lnTo>
                    <a:pt x="161630" y="307364"/>
                  </a:lnTo>
                  <a:lnTo>
                    <a:pt x="161873" y="310603"/>
                  </a:lnTo>
                  <a:lnTo>
                    <a:pt x="162321" y="314217"/>
                  </a:lnTo>
                  <a:lnTo>
                    <a:pt x="161923" y="316334"/>
                  </a:lnTo>
                  <a:lnTo>
                    <a:pt x="161761" y="318682"/>
                  </a:lnTo>
                  <a:lnTo>
                    <a:pt x="165940" y="329208"/>
                  </a:lnTo>
                  <a:lnTo>
                    <a:pt x="165892" y="331669"/>
                  </a:lnTo>
                  <a:lnTo>
                    <a:pt x="165685" y="333254"/>
                  </a:lnTo>
                  <a:lnTo>
                    <a:pt x="164396" y="339764"/>
                  </a:lnTo>
                  <a:lnTo>
                    <a:pt x="162664" y="348480"/>
                  </a:lnTo>
                  <a:lnTo>
                    <a:pt x="165687" y="350764"/>
                  </a:lnTo>
                  <a:lnTo>
                    <a:pt x="169993" y="353492"/>
                  </a:lnTo>
                  <a:lnTo>
                    <a:pt x="172409" y="354565"/>
                  </a:lnTo>
                  <a:lnTo>
                    <a:pt x="175979" y="357800"/>
                  </a:lnTo>
                  <a:lnTo>
                    <a:pt x="178704" y="360956"/>
                  </a:lnTo>
                  <a:lnTo>
                    <a:pt x="178326" y="363049"/>
                  </a:lnTo>
                  <a:lnTo>
                    <a:pt x="177542" y="365356"/>
                  </a:lnTo>
                  <a:lnTo>
                    <a:pt x="176395" y="366968"/>
                  </a:lnTo>
                  <a:lnTo>
                    <a:pt x="175322" y="369179"/>
                  </a:lnTo>
                  <a:lnTo>
                    <a:pt x="174841" y="370806"/>
                  </a:lnTo>
                  <a:lnTo>
                    <a:pt x="174331" y="371244"/>
                  </a:lnTo>
                  <a:lnTo>
                    <a:pt x="169568" y="371422"/>
                  </a:lnTo>
                  <a:lnTo>
                    <a:pt x="167049" y="372037"/>
                  </a:lnTo>
                  <a:lnTo>
                    <a:pt x="165732" y="372726"/>
                  </a:lnTo>
                  <a:lnTo>
                    <a:pt x="166186" y="376434"/>
                  </a:lnTo>
                  <a:lnTo>
                    <a:pt x="169075" y="383209"/>
                  </a:lnTo>
                  <a:lnTo>
                    <a:pt x="171474" y="388013"/>
                  </a:lnTo>
                  <a:lnTo>
                    <a:pt x="172245" y="391175"/>
                  </a:lnTo>
                  <a:lnTo>
                    <a:pt x="171453" y="394375"/>
                  </a:lnTo>
                  <a:lnTo>
                    <a:pt x="170634" y="396012"/>
                  </a:lnTo>
                  <a:lnTo>
                    <a:pt x="170608" y="398214"/>
                  </a:lnTo>
                  <a:lnTo>
                    <a:pt x="169978" y="402590"/>
                  </a:lnTo>
                  <a:lnTo>
                    <a:pt x="168118" y="404799"/>
                  </a:lnTo>
                  <a:lnTo>
                    <a:pt x="165685" y="407204"/>
                  </a:lnTo>
                  <a:lnTo>
                    <a:pt x="162971" y="408999"/>
                  </a:lnTo>
                  <a:lnTo>
                    <a:pt x="160818" y="409503"/>
                  </a:lnTo>
                  <a:lnTo>
                    <a:pt x="158969" y="409711"/>
                  </a:lnTo>
                  <a:lnTo>
                    <a:pt x="157728" y="410622"/>
                  </a:lnTo>
                  <a:lnTo>
                    <a:pt x="156602" y="413299"/>
                  </a:lnTo>
                  <a:lnTo>
                    <a:pt x="155564" y="416106"/>
                  </a:lnTo>
                  <a:lnTo>
                    <a:pt x="152169" y="419553"/>
                  </a:lnTo>
                  <a:lnTo>
                    <a:pt x="152260" y="420752"/>
                  </a:lnTo>
                  <a:lnTo>
                    <a:pt x="153553" y="424829"/>
                  </a:lnTo>
                  <a:lnTo>
                    <a:pt x="154765" y="429460"/>
                  </a:lnTo>
                  <a:lnTo>
                    <a:pt x="153741" y="433781"/>
                  </a:lnTo>
                  <a:lnTo>
                    <a:pt x="152865" y="438308"/>
                  </a:lnTo>
                  <a:lnTo>
                    <a:pt x="151329" y="441320"/>
                  </a:lnTo>
                  <a:lnTo>
                    <a:pt x="149135" y="442395"/>
                  </a:lnTo>
                  <a:lnTo>
                    <a:pt x="147524" y="441858"/>
                  </a:lnTo>
                  <a:lnTo>
                    <a:pt x="145702" y="437727"/>
                  </a:lnTo>
                  <a:lnTo>
                    <a:pt x="145661" y="436776"/>
                  </a:lnTo>
                  <a:lnTo>
                    <a:pt x="145207" y="435511"/>
                  </a:lnTo>
                  <a:lnTo>
                    <a:pt x="140038" y="434250"/>
                  </a:lnTo>
                  <a:lnTo>
                    <a:pt x="139124" y="434296"/>
                  </a:lnTo>
                  <a:lnTo>
                    <a:pt x="137092" y="433557"/>
                  </a:lnTo>
                  <a:lnTo>
                    <a:pt x="135901" y="433348"/>
                  </a:lnTo>
                  <a:lnTo>
                    <a:pt x="133456" y="432921"/>
                  </a:lnTo>
                  <a:lnTo>
                    <a:pt x="131424" y="429261"/>
                  </a:lnTo>
                  <a:lnTo>
                    <a:pt x="129265" y="426212"/>
                  </a:lnTo>
                  <a:lnTo>
                    <a:pt x="128958" y="424936"/>
                  </a:lnTo>
                  <a:lnTo>
                    <a:pt x="129032" y="419218"/>
                  </a:lnTo>
                  <a:lnTo>
                    <a:pt x="128371" y="416670"/>
                  </a:lnTo>
                  <a:lnTo>
                    <a:pt x="128168" y="413889"/>
                  </a:lnTo>
                  <a:lnTo>
                    <a:pt x="126809" y="416151"/>
                  </a:lnTo>
                  <a:lnTo>
                    <a:pt x="127598" y="419723"/>
                  </a:lnTo>
                  <a:lnTo>
                    <a:pt x="125922" y="421220"/>
                  </a:lnTo>
                  <a:lnTo>
                    <a:pt x="123808" y="421947"/>
                  </a:lnTo>
                  <a:lnTo>
                    <a:pt x="124007" y="424035"/>
                  </a:lnTo>
                  <a:lnTo>
                    <a:pt x="124875" y="424430"/>
                  </a:lnTo>
                  <a:lnTo>
                    <a:pt x="125056" y="426595"/>
                  </a:lnTo>
                  <a:lnTo>
                    <a:pt x="124542" y="429796"/>
                  </a:lnTo>
                  <a:lnTo>
                    <a:pt x="120381" y="436895"/>
                  </a:lnTo>
                  <a:lnTo>
                    <a:pt x="119541" y="437657"/>
                  </a:lnTo>
                  <a:lnTo>
                    <a:pt x="118971" y="438614"/>
                  </a:lnTo>
                  <a:lnTo>
                    <a:pt x="116842" y="437978"/>
                  </a:lnTo>
                  <a:lnTo>
                    <a:pt x="114110" y="439950"/>
                  </a:lnTo>
                  <a:lnTo>
                    <a:pt x="111523" y="440266"/>
                  </a:lnTo>
                  <a:lnTo>
                    <a:pt x="110586" y="438035"/>
                  </a:lnTo>
                  <a:lnTo>
                    <a:pt x="106936" y="435079"/>
                  </a:lnTo>
                  <a:lnTo>
                    <a:pt x="105213" y="435245"/>
                  </a:lnTo>
                  <a:lnTo>
                    <a:pt x="106760" y="436704"/>
                  </a:lnTo>
                  <a:lnTo>
                    <a:pt x="108284" y="438599"/>
                  </a:lnTo>
                  <a:lnTo>
                    <a:pt x="107418" y="439853"/>
                  </a:lnTo>
                  <a:lnTo>
                    <a:pt x="106567" y="440671"/>
                  </a:lnTo>
                  <a:lnTo>
                    <a:pt x="105077" y="441095"/>
                  </a:lnTo>
                  <a:lnTo>
                    <a:pt x="99746" y="443570"/>
                  </a:lnTo>
                  <a:lnTo>
                    <a:pt x="101644" y="445231"/>
                  </a:lnTo>
                  <a:lnTo>
                    <a:pt x="100033" y="447116"/>
                  </a:lnTo>
                  <a:lnTo>
                    <a:pt x="98170" y="447393"/>
                  </a:lnTo>
                  <a:lnTo>
                    <a:pt x="97176" y="448273"/>
                  </a:lnTo>
                  <a:lnTo>
                    <a:pt x="96831" y="449467"/>
                  </a:lnTo>
                  <a:lnTo>
                    <a:pt x="91309" y="452866"/>
                  </a:lnTo>
                  <a:lnTo>
                    <a:pt x="82309" y="461559"/>
                  </a:lnTo>
                  <a:lnTo>
                    <a:pt x="77684" y="464009"/>
                  </a:lnTo>
                  <a:lnTo>
                    <a:pt x="74453" y="466554"/>
                  </a:lnTo>
                  <a:lnTo>
                    <a:pt x="71607" y="466491"/>
                  </a:lnTo>
                  <a:lnTo>
                    <a:pt x="68029" y="468652"/>
                  </a:lnTo>
                  <a:lnTo>
                    <a:pt x="58970" y="470547"/>
                  </a:lnTo>
                  <a:lnTo>
                    <a:pt x="52961" y="469690"/>
                  </a:lnTo>
                  <a:lnTo>
                    <a:pt x="48776" y="470442"/>
                  </a:lnTo>
                  <a:lnTo>
                    <a:pt x="46532" y="468957"/>
                  </a:lnTo>
                  <a:lnTo>
                    <a:pt x="46241" y="467936"/>
                  </a:lnTo>
                  <a:lnTo>
                    <a:pt x="46353" y="467343"/>
                  </a:lnTo>
                  <a:lnTo>
                    <a:pt x="46729" y="466632"/>
                  </a:lnTo>
                  <a:lnTo>
                    <a:pt x="45949" y="466380"/>
                  </a:lnTo>
                  <a:lnTo>
                    <a:pt x="44308" y="466257"/>
                  </a:lnTo>
                  <a:lnTo>
                    <a:pt x="43606" y="466974"/>
                  </a:lnTo>
                  <a:lnTo>
                    <a:pt x="43511" y="468602"/>
                  </a:lnTo>
                  <a:lnTo>
                    <a:pt x="42730" y="469027"/>
                  </a:lnTo>
                  <a:lnTo>
                    <a:pt x="39613" y="468096"/>
                  </a:lnTo>
                  <a:lnTo>
                    <a:pt x="38830" y="467257"/>
                  </a:lnTo>
                  <a:lnTo>
                    <a:pt x="39950" y="465556"/>
                  </a:lnTo>
                  <a:lnTo>
                    <a:pt x="41868" y="464023"/>
                  </a:lnTo>
                  <a:lnTo>
                    <a:pt x="41520" y="463709"/>
                  </a:lnTo>
                  <a:lnTo>
                    <a:pt x="41147" y="462777"/>
                  </a:lnTo>
                  <a:lnTo>
                    <a:pt x="40211" y="462659"/>
                  </a:lnTo>
                  <a:lnTo>
                    <a:pt x="37424" y="462884"/>
                  </a:lnTo>
                  <a:lnTo>
                    <a:pt x="35159" y="462609"/>
                  </a:lnTo>
                  <a:lnTo>
                    <a:pt x="27765" y="459156"/>
                  </a:lnTo>
                  <a:lnTo>
                    <a:pt x="26038" y="457312"/>
                  </a:lnTo>
                  <a:lnTo>
                    <a:pt x="20073" y="454363"/>
                  </a:lnTo>
                  <a:lnTo>
                    <a:pt x="17400" y="451234"/>
                  </a:lnTo>
                  <a:lnTo>
                    <a:pt x="15882" y="447798"/>
                  </a:lnTo>
                  <a:lnTo>
                    <a:pt x="15996" y="444680"/>
                  </a:lnTo>
                  <a:lnTo>
                    <a:pt x="16728" y="439723"/>
                  </a:lnTo>
                  <a:lnTo>
                    <a:pt x="17981" y="438496"/>
                  </a:lnTo>
                  <a:lnTo>
                    <a:pt x="23334" y="440234"/>
                  </a:lnTo>
                  <a:lnTo>
                    <a:pt x="28745" y="443134"/>
                  </a:lnTo>
                  <a:lnTo>
                    <a:pt x="29592" y="442991"/>
                  </a:lnTo>
                  <a:lnTo>
                    <a:pt x="31291" y="440715"/>
                  </a:lnTo>
                  <a:lnTo>
                    <a:pt x="34589" y="438885"/>
                  </a:lnTo>
                  <a:lnTo>
                    <a:pt x="33656" y="438380"/>
                  </a:lnTo>
                  <a:lnTo>
                    <a:pt x="28754" y="440479"/>
                  </a:lnTo>
                  <a:lnTo>
                    <a:pt x="26931" y="439316"/>
                  </a:lnTo>
                  <a:lnTo>
                    <a:pt x="24105" y="436946"/>
                  </a:lnTo>
                  <a:lnTo>
                    <a:pt x="24105" y="435725"/>
                  </a:lnTo>
                  <a:lnTo>
                    <a:pt x="25422" y="434503"/>
                  </a:lnTo>
                  <a:lnTo>
                    <a:pt x="25860" y="432849"/>
                  </a:lnTo>
                  <a:lnTo>
                    <a:pt x="25169" y="431287"/>
                  </a:lnTo>
                  <a:lnTo>
                    <a:pt x="25491" y="429160"/>
                  </a:lnTo>
                  <a:lnTo>
                    <a:pt x="27677" y="426901"/>
                  </a:lnTo>
                  <a:lnTo>
                    <a:pt x="30954" y="424611"/>
                  </a:lnTo>
                  <a:lnTo>
                    <a:pt x="33315" y="422399"/>
                  </a:lnTo>
                  <a:lnTo>
                    <a:pt x="35740" y="421036"/>
                  </a:lnTo>
                  <a:lnTo>
                    <a:pt x="35487" y="420581"/>
                  </a:lnTo>
                  <a:lnTo>
                    <a:pt x="32714" y="421449"/>
                  </a:lnTo>
                  <a:lnTo>
                    <a:pt x="30062" y="422921"/>
                  </a:lnTo>
                  <a:lnTo>
                    <a:pt x="26940" y="425385"/>
                  </a:lnTo>
                  <a:lnTo>
                    <a:pt x="23133" y="427381"/>
                  </a:lnTo>
                  <a:lnTo>
                    <a:pt x="20319" y="428155"/>
                  </a:lnTo>
                  <a:lnTo>
                    <a:pt x="18978" y="428795"/>
                  </a:lnTo>
                  <a:lnTo>
                    <a:pt x="16916" y="429417"/>
                  </a:lnTo>
                  <a:lnTo>
                    <a:pt x="14783" y="432273"/>
                  </a:lnTo>
                  <a:lnTo>
                    <a:pt x="12455" y="433495"/>
                  </a:lnTo>
                  <a:lnTo>
                    <a:pt x="8274" y="433619"/>
                  </a:lnTo>
                  <a:lnTo>
                    <a:pt x="7355" y="431533"/>
                  </a:lnTo>
                  <a:lnTo>
                    <a:pt x="8535" y="424101"/>
                  </a:lnTo>
                  <a:lnTo>
                    <a:pt x="9799" y="420472"/>
                  </a:lnTo>
                  <a:lnTo>
                    <a:pt x="11185" y="417901"/>
                  </a:lnTo>
                  <a:lnTo>
                    <a:pt x="13366" y="417468"/>
                  </a:lnTo>
                  <a:lnTo>
                    <a:pt x="14891" y="415582"/>
                  </a:lnTo>
                  <a:lnTo>
                    <a:pt x="16156" y="415582"/>
                  </a:lnTo>
                  <a:lnTo>
                    <a:pt x="17257" y="416453"/>
                  </a:lnTo>
                  <a:lnTo>
                    <a:pt x="21518" y="417297"/>
                  </a:lnTo>
                  <a:lnTo>
                    <a:pt x="23621" y="414895"/>
                  </a:lnTo>
                  <a:lnTo>
                    <a:pt x="26357" y="414543"/>
                  </a:lnTo>
                  <a:lnTo>
                    <a:pt x="31345" y="412116"/>
                  </a:lnTo>
                  <a:lnTo>
                    <a:pt x="31241" y="411674"/>
                  </a:lnTo>
                  <a:lnTo>
                    <a:pt x="27866" y="412208"/>
                  </a:lnTo>
                  <a:lnTo>
                    <a:pt x="25819" y="412287"/>
                  </a:lnTo>
                  <a:lnTo>
                    <a:pt x="22885" y="412896"/>
                  </a:lnTo>
                  <a:lnTo>
                    <a:pt x="21326" y="412461"/>
                  </a:lnTo>
                  <a:lnTo>
                    <a:pt x="20596" y="410642"/>
                  </a:lnTo>
                  <a:lnTo>
                    <a:pt x="21770" y="409002"/>
                  </a:lnTo>
                  <a:lnTo>
                    <a:pt x="26478" y="405081"/>
                  </a:lnTo>
                  <a:lnTo>
                    <a:pt x="28102" y="403361"/>
                  </a:lnTo>
                  <a:lnTo>
                    <a:pt x="29028" y="401753"/>
                  </a:lnTo>
                  <a:lnTo>
                    <a:pt x="28881" y="400658"/>
                  </a:lnTo>
                  <a:lnTo>
                    <a:pt x="29663" y="398392"/>
                  </a:lnTo>
                  <a:lnTo>
                    <a:pt x="34267" y="394426"/>
                  </a:lnTo>
                  <a:lnTo>
                    <a:pt x="38011" y="392611"/>
                  </a:lnTo>
                  <a:lnTo>
                    <a:pt x="39240" y="394173"/>
                  </a:lnTo>
                  <a:lnTo>
                    <a:pt x="38195" y="399051"/>
                  </a:lnTo>
                  <a:lnTo>
                    <a:pt x="38205" y="401062"/>
                  </a:lnTo>
                  <a:lnTo>
                    <a:pt x="41170" y="393952"/>
                  </a:lnTo>
                  <a:lnTo>
                    <a:pt x="42475" y="392258"/>
                  </a:lnTo>
                  <a:lnTo>
                    <a:pt x="43960" y="391063"/>
                  </a:lnTo>
                  <a:lnTo>
                    <a:pt x="47556" y="390260"/>
                  </a:lnTo>
                  <a:lnTo>
                    <a:pt x="48573" y="389136"/>
                  </a:lnTo>
                  <a:lnTo>
                    <a:pt x="44386" y="389508"/>
                  </a:lnTo>
                  <a:lnTo>
                    <a:pt x="34228" y="392228"/>
                  </a:lnTo>
                  <a:lnTo>
                    <a:pt x="29946" y="394649"/>
                  </a:lnTo>
                  <a:lnTo>
                    <a:pt x="28806" y="396513"/>
                  </a:lnTo>
                  <a:lnTo>
                    <a:pt x="25834" y="399318"/>
                  </a:lnTo>
                  <a:lnTo>
                    <a:pt x="24441" y="401138"/>
                  </a:lnTo>
                  <a:lnTo>
                    <a:pt x="23826" y="403807"/>
                  </a:lnTo>
                  <a:lnTo>
                    <a:pt x="22152" y="405256"/>
                  </a:lnTo>
                  <a:lnTo>
                    <a:pt x="19896" y="405791"/>
                  </a:lnTo>
                  <a:lnTo>
                    <a:pt x="16761" y="409168"/>
                  </a:lnTo>
                  <a:lnTo>
                    <a:pt x="15379" y="411878"/>
                  </a:lnTo>
                  <a:lnTo>
                    <a:pt x="12259" y="414035"/>
                  </a:lnTo>
                  <a:lnTo>
                    <a:pt x="10278" y="415692"/>
                  </a:lnTo>
                  <a:lnTo>
                    <a:pt x="9628" y="416283"/>
                  </a:lnTo>
                  <a:lnTo>
                    <a:pt x="8557" y="417911"/>
                  </a:lnTo>
                  <a:lnTo>
                    <a:pt x="7667" y="418025"/>
                  </a:lnTo>
                  <a:lnTo>
                    <a:pt x="6892" y="417071"/>
                  </a:lnTo>
                  <a:lnTo>
                    <a:pt x="6763" y="414970"/>
                  </a:lnTo>
                  <a:lnTo>
                    <a:pt x="7080" y="411611"/>
                  </a:lnTo>
                  <a:lnTo>
                    <a:pt x="8581" y="409191"/>
                  </a:lnTo>
                  <a:lnTo>
                    <a:pt x="9298" y="406824"/>
                  </a:lnTo>
                  <a:lnTo>
                    <a:pt x="8300" y="404611"/>
                  </a:lnTo>
                  <a:lnTo>
                    <a:pt x="8991" y="403214"/>
                  </a:lnTo>
                  <a:lnTo>
                    <a:pt x="10313" y="403262"/>
                  </a:lnTo>
                  <a:lnTo>
                    <a:pt x="12768" y="403899"/>
                  </a:lnTo>
                  <a:lnTo>
                    <a:pt x="15379" y="403797"/>
                  </a:lnTo>
                  <a:lnTo>
                    <a:pt x="19669" y="402047"/>
                  </a:lnTo>
                  <a:lnTo>
                    <a:pt x="18985" y="401024"/>
                  </a:lnTo>
                  <a:lnTo>
                    <a:pt x="17132" y="400878"/>
                  </a:lnTo>
                  <a:lnTo>
                    <a:pt x="13673" y="401024"/>
                  </a:lnTo>
                  <a:lnTo>
                    <a:pt x="10764" y="399313"/>
                  </a:lnTo>
                  <a:lnTo>
                    <a:pt x="8503" y="395906"/>
                  </a:lnTo>
                  <a:lnTo>
                    <a:pt x="7475" y="391346"/>
                  </a:lnTo>
                  <a:lnTo>
                    <a:pt x="8162" y="390040"/>
                  </a:lnTo>
                  <a:lnTo>
                    <a:pt x="16528" y="385382"/>
                  </a:lnTo>
                  <a:lnTo>
                    <a:pt x="18780" y="383264"/>
                  </a:lnTo>
                  <a:lnTo>
                    <a:pt x="17475" y="383054"/>
                  </a:lnTo>
                  <a:lnTo>
                    <a:pt x="14336" y="385623"/>
                  </a:lnTo>
                  <a:lnTo>
                    <a:pt x="9840" y="387216"/>
                  </a:lnTo>
                  <a:lnTo>
                    <a:pt x="7005" y="385001"/>
                  </a:lnTo>
                  <a:lnTo>
                    <a:pt x="5530" y="382612"/>
                  </a:lnTo>
                  <a:lnTo>
                    <a:pt x="4681" y="377560"/>
                  </a:lnTo>
                  <a:lnTo>
                    <a:pt x="4988" y="374959"/>
                  </a:lnTo>
                  <a:lnTo>
                    <a:pt x="4633" y="371534"/>
                  </a:lnTo>
                  <a:lnTo>
                    <a:pt x="6553" y="370420"/>
                  </a:lnTo>
                  <a:lnTo>
                    <a:pt x="8700" y="371012"/>
                  </a:lnTo>
                  <a:lnTo>
                    <a:pt x="10816" y="371232"/>
                  </a:lnTo>
                  <a:lnTo>
                    <a:pt x="15616" y="370932"/>
                  </a:lnTo>
                  <a:lnTo>
                    <a:pt x="26201" y="368874"/>
                  </a:lnTo>
                  <a:lnTo>
                    <a:pt x="33025" y="370097"/>
                  </a:lnTo>
                  <a:lnTo>
                    <a:pt x="35798" y="369985"/>
                  </a:lnTo>
                  <a:lnTo>
                    <a:pt x="40041" y="368212"/>
                  </a:lnTo>
                  <a:lnTo>
                    <a:pt x="43755" y="368029"/>
                  </a:lnTo>
                  <a:lnTo>
                    <a:pt x="46532" y="369384"/>
                  </a:lnTo>
                  <a:lnTo>
                    <a:pt x="48050" y="370937"/>
                  </a:lnTo>
                  <a:lnTo>
                    <a:pt x="48238" y="373013"/>
                  </a:lnTo>
                  <a:lnTo>
                    <a:pt x="49523" y="374396"/>
                  </a:lnTo>
                  <a:lnTo>
                    <a:pt x="50391" y="373947"/>
                  </a:lnTo>
                  <a:lnTo>
                    <a:pt x="49700" y="372303"/>
                  </a:lnTo>
                  <a:lnTo>
                    <a:pt x="49555" y="369753"/>
                  </a:lnTo>
                  <a:lnTo>
                    <a:pt x="60719" y="366861"/>
                  </a:lnTo>
                  <a:lnTo>
                    <a:pt x="62035" y="365736"/>
                  </a:lnTo>
                  <a:lnTo>
                    <a:pt x="57599" y="365345"/>
                  </a:lnTo>
                  <a:lnTo>
                    <a:pt x="56331" y="362701"/>
                  </a:lnTo>
                  <a:lnTo>
                    <a:pt x="58674" y="358695"/>
                  </a:lnTo>
                  <a:lnTo>
                    <a:pt x="58454" y="358175"/>
                  </a:lnTo>
                  <a:lnTo>
                    <a:pt x="55990" y="360290"/>
                  </a:lnTo>
                  <a:lnTo>
                    <a:pt x="54777" y="363263"/>
                  </a:lnTo>
                  <a:lnTo>
                    <a:pt x="55258" y="365633"/>
                  </a:lnTo>
                  <a:lnTo>
                    <a:pt x="54770" y="366733"/>
                  </a:lnTo>
                  <a:lnTo>
                    <a:pt x="52505" y="367237"/>
                  </a:lnTo>
                  <a:lnTo>
                    <a:pt x="47398" y="367420"/>
                  </a:lnTo>
                  <a:lnTo>
                    <a:pt x="44120" y="366415"/>
                  </a:lnTo>
                  <a:lnTo>
                    <a:pt x="41084" y="365869"/>
                  </a:lnTo>
                  <a:lnTo>
                    <a:pt x="40050" y="365111"/>
                  </a:lnTo>
                  <a:lnTo>
                    <a:pt x="40395" y="363419"/>
                  </a:lnTo>
                  <a:lnTo>
                    <a:pt x="39821" y="363070"/>
                  </a:lnTo>
                  <a:lnTo>
                    <a:pt x="38564" y="364591"/>
                  </a:lnTo>
                  <a:lnTo>
                    <a:pt x="37448" y="367620"/>
                  </a:lnTo>
                  <a:lnTo>
                    <a:pt x="35035" y="368317"/>
                  </a:lnTo>
                  <a:lnTo>
                    <a:pt x="28380" y="367193"/>
                  </a:lnTo>
                  <a:lnTo>
                    <a:pt x="18745" y="367855"/>
                  </a:lnTo>
                  <a:lnTo>
                    <a:pt x="14422" y="369378"/>
                  </a:lnTo>
                  <a:lnTo>
                    <a:pt x="11621" y="369179"/>
                  </a:lnTo>
                  <a:lnTo>
                    <a:pt x="6804" y="366511"/>
                  </a:lnTo>
                  <a:lnTo>
                    <a:pt x="4923" y="364387"/>
                  </a:lnTo>
                  <a:lnTo>
                    <a:pt x="4221" y="360099"/>
                  </a:lnTo>
                  <a:lnTo>
                    <a:pt x="4504" y="358210"/>
                  </a:lnTo>
                  <a:lnTo>
                    <a:pt x="8257" y="357414"/>
                  </a:lnTo>
                  <a:lnTo>
                    <a:pt x="10155" y="357470"/>
                  </a:lnTo>
                  <a:lnTo>
                    <a:pt x="11932" y="356454"/>
                  </a:lnTo>
                  <a:lnTo>
                    <a:pt x="10360" y="355794"/>
                  </a:lnTo>
                  <a:lnTo>
                    <a:pt x="8149" y="354496"/>
                  </a:lnTo>
                  <a:lnTo>
                    <a:pt x="6642" y="351893"/>
                  </a:lnTo>
                  <a:lnTo>
                    <a:pt x="4370" y="351044"/>
                  </a:lnTo>
                  <a:lnTo>
                    <a:pt x="2848" y="348822"/>
                  </a:lnTo>
                  <a:lnTo>
                    <a:pt x="2461" y="345461"/>
                  </a:lnTo>
                  <a:lnTo>
                    <a:pt x="2897" y="343122"/>
                  </a:lnTo>
                  <a:lnTo>
                    <a:pt x="4113" y="342369"/>
                  </a:lnTo>
                  <a:lnTo>
                    <a:pt x="7031" y="342881"/>
                  </a:lnTo>
                  <a:lnTo>
                    <a:pt x="14733" y="342488"/>
                  </a:lnTo>
                  <a:lnTo>
                    <a:pt x="21984" y="344865"/>
                  </a:lnTo>
                  <a:lnTo>
                    <a:pt x="26905" y="346212"/>
                  </a:lnTo>
                  <a:lnTo>
                    <a:pt x="36875" y="345535"/>
                  </a:lnTo>
                  <a:lnTo>
                    <a:pt x="42714" y="343413"/>
                  </a:lnTo>
                  <a:lnTo>
                    <a:pt x="41643" y="342826"/>
                  </a:lnTo>
                  <a:lnTo>
                    <a:pt x="35310" y="344053"/>
                  </a:lnTo>
                  <a:lnTo>
                    <a:pt x="29456" y="344003"/>
                  </a:lnTo>
                  <a:lnTo>
                    <a:pt x="19136" y="341603"/>
                  </a:lnTo>
                  <a:lnTo>
                    <a:pt x="14904" y="340829"/>
                  </a:lnTo>
                  <a:lnTo>
                    <a:pt x="10345" y="341171"/>
                  </a:lnTo>
                  <a:lnTo>
                    <a:pt x="7972" y="340442"/>
                  </a:lnTo>
                  <a:lnTo>
                    <a:pt x="6577" y="338065"/>
                  </a:lnTo>
                  <a:lnTo>
                    <a:pt x="7609" y="333512"/>
                  </a:lnTo>
                  <a:lnTo>
                    <a:pt x="9771" y="332528"/>
                  </a:lnTo>
                  <a:lnTo>
                    <a:pt x="10941" y="333717"/>
                  </a:lnTo>
                  <a:lnTo>
                    <a:pt x="12353" y="333792"/>
                  </a:lnTo>
                  <a:lnTo>
                    <a:pt x="13783" y="331887"/>
                  </a:lnTo>
                  <a:lnTo>
                    <a:pt x="15152" y="330801"/>
                  </a:lnTo>
                  <a:lnTo>
                    <a:pt x="16236" y="328341"/>
                  </a:lnTo>
                  <a:lnTo>
                    <a:pt x="20324" y="326007"/>
                  </a:lnTo>
                  <a:lnTo>
                    <a:pt x="22051" y="325809"/>
                  </a:lnTo>
                  <a:lnTo>
                    <a:pt x="24528" y="324733"/>
                  </a:lnTo>
                  <a:lnTo>
                    <a:pt x="26109" y="325038"/>
                  </a:lnTo>
                  <a:lnTo>
                    <a:pt x="27122" y="326118"/>
                  </a:lnTo>
                  <a:lnTo>
                    <a:pt x="28402" y="327012"/>
                  </a:lnTo>
                  <a:lnTo>
                    <a:pt x="31177" y="326903"/>
                  </a:lnTo>
                  <a:lnTo>
                    <a:pt x="39382" y="325033"/>
                  </a:lnTo>
                  <a:lnTo>
                    <a:pt x="40266" y="324483"/>
                  </a:lnTo>
                  <a:lnTo>
                    <a:pt x="41866" y="322944"/>
                  </a:lnTo>
                  <a:lnTo>
                    <a:pt x="36664" y="323630"/>
                  </a:lnTo>
                  <a:lnTo>
                    <a:pt x="32343" y="324723"/>
                  </a:lnTo>
                  <a:lnTo>
                    <a:pt x="29566" y="325026"/>
                  </a:lnTo>
                  <a:lnTo>
                    <a:pt x="29175" y="323662"/>
                  </a:lnTo>
                  <a:lnTo>
                    <a:pt x="30199" y="322450"/>
                  </a:lnTo>
                  <a:lnTo>
                    <a:pt x="31807" y="321160"/>
                  </a:lnTo>
                  <a:lnTo>
                    <a:pt x="32589" y="318959"/>
                  </a:lnTo>
                  <a:lnTo>
                    <a:pt x="34359" y="318019"/>
                  </a:lnTo>
                  <a:lnTo>
                    <a:pt x="36273" y="318069"/>
                  </a:lnTo>
                  <a:lnTo>
                    <a:pt x="40229" y="317669"/>
                  </a:lnTo>
                  <a:lnTo>
                    <a:pt x="43021" y="317096"/>
                  </a:lnTo>
                  <a:lnTo>
                    <a:pt x="47808" y="317480"/>
                  </a:lnTo>
                  <a:lnTo>
                    <a:pt x="54943" y="318323"/>
                  </a:lnTo>
                  <a:lnTo>
                    <a:pt x="59542" y="320372"/>
                  </a:lnTo>
                  <a:lnTo>
                    <a:pt x="61274" y="320187"/>
                  </a:lnTo>
                  <a:lnTo>
                    <a:pt x="63110" y="319642"/>
                  </a:lnTo>
                  <a:lnTo>
                    <a:pt x="63941" y="318899"/>
                  </a:lnTo>
                  <a:lnTo>
                    <a:pt x="60331" y="318048"/>
                  </a:lnTo>
                  <a:lnTo>
                    <a:pt x="60125" y="316834"/>
                  </a:lnTo>
                  <a:lnTo>
                    <a:pt x="60573" y="315918"/>
                  </a:lnTo>
                  <a:lnTo>
                    <a:pt x="66461" y="314229"/>
                  </a:lnTo>
                  <a:lnTo>
                    <a:pt x="72892" y="313855"/>
                  </a:lnTo>
                  <a:lnTo>
                    <a:pt x="71786" y="312494"/>
                  </a:lnTo>
                  <a:lnTo>
                    <a:pt x="57698" y="314548"/>
                  </a:lnTo>
                  <a:lnTo>
                    <a:pt x="54021" y="313146"/>
                  </a:lnTo>
                  <a:lnTo>
                    <a:pt x="51119" y="313158"/>
                  </a:lnTo>
                  <a:lnTo>
                    <a:pt x="49218" y="313959"/>
                  </a:lnTo>
                  <a:lnTo>
                    <a:pt x="43803" y="314929"/>
                  </a:lnTo>
                  <a:lnTo>
                    <a:pt x="42807" y="314239"/>
                  </a:lnTo>
                  <a:lnTo>
                    <a:pt x="43837" y="311857"/>
                  </a:lnTo>
                  <a:lnTo>
                    <a:pt x="47081" y="307944"/>
                  </a:lnTo>
                  <a:lnTo>
                    <a:pt x="47351" y="306984"/>
                  </a:lnTo>
                  <a:lnTo>
                    <a:pt x="48856" y="306041"/>
                  </a:lnTo>
                  <a:lnTo>
                    <a:pt x="57271" y="303765"/>
                  </a:lnTo>
                  <a:lnTo>
                    <a:pt x="61313" y="301118"/>
                  </a:lnTo>
                  <a:lnTo>
                    <a:pt x="63136" y="300782"/>
                  </a:lnTo>
                  <a:lnTo>
                    <a:pt x="64943" y="300967"/>
                  </a:lnTo>
                  <a:lnTo>
                    <a:pt x="67692" y="300657"/>
                  </a:lnTo>
                  <a:lnTo>
                    <a:pt x="73004" y="301415"/>
                  </a:lnTo>
                  <a:lnTo>
                    <a:pt x="75448" y="304729"/>
                  </a:lnTo>
                  <a:lnTo>
                    <a:pt x="77647" y="305769"/>
                  </a:lnTo>
                  <a:lnTo>
                    <a:pt x="84559" y="309900"/>
                  </a:lnTo>
                  <a:lnTo>
                    <a:pt x="84250" y="308712"/>
                  </a:lnTo>
                  <a:lnTo>
                    <a:pt x="78267" y="303109"/>
                  </a:lnTo>
                  <a:lnTo>
                    <a:pt x="75980" y="301720"/>
                  </a:lnTo>
                  <a:lnTo>
                    <a:pt x="74274" y="298962"/>
                  </a:lnTo>
                  <a:lnTo>
                    <a:pt x="74859" y="296352"/>
                  </a:lnTo>
                  <a:lnTo>
                    <a:pt x="76783" y="294608"/>
                  </a:lnTo>
                  <a:lnTo>
                    <a:pt x="83609" y="293673"/>
                  </a:lnTo>
                  <a:lnTo>
                    <a:pt x="84833" y="292663"/>
                  </a:lnTo>
                  <a:lnTo>
                    <a:pt x="84954" y="290926"/>
                  </a:lnTo>
                  <a:lnTo>
                    <a:pt x="83909" y="289737"/>
                  </a:lnTo>
                  <a:lnTo>
                    <a:pt x="81398" y="289806"/>
                  </a:lnTo>
                  <a:lnTo>
                    <a:pt x="79327" y="289069"/>
                  </a:lnTo>
                  <a:lnTo>
                    <a:pt x="78757" y="287194"/>
                  </a:lnTo>
                  <a:lnTo>
                    <a:pt x="79584" y="285926"/>
                  </a:lnTo>
                  <a:lnTo>
                    <a:pt x="83520" y="283612"/>
                  </a:lnTo>
                  <a:lnTo>
                    <a:pt x="85675" y="282860"/>
                  </a:lnTo>
                  <a:lnTo>
                    <a:pt x="89407" y="282044"/>
                  </a:lnTo>
                  <a:lnTo>
                    <a:pt x="95896" y="283876"/>
                  </a:lnTo>
                  <a:lnTo>
                    <a:pt x="96388" y="284835"/>
                  </a:lnTo>
                  <a:lnTo>
                    <a:pt x="94570" y="287141"/>
                  </a:lnTo>
                  <a:lnTo>
                    <a:pt x="94753" y="288434"/>
                  </a:lnTo>
                  <a:lnTo>
                    <a:pt x="96343" y="288577"/>
                  </a:lnTo>
                  <a:lnTo>
                    <a:pt x="100048" y="284691"/>
                  </a:lnTo>
                  <a:lnTo>
                    <a:pt x="104406" y="284154"/>
                  </a:lnTo>
                  <a:lnTo>
                    <a:pt x="106209" y="283318"/>
                  </a:lnTo>
                  <a:lnTo>
                    <a:pt x="108301" y="282792"/>
                  </a:lnTo>
                  <a:lnTo>
                    <a:pt x="111294" y="286309"/>
                  </a:lnTo>
                  <a:lnTo>
                    <a:pt x="112605" y="287433"/>
                  </a:lnTo>
                  <a:lnTo>
                    <a:pt x="113590" y="287894"/>
                  </a:lnTo>
                  <a:lnTo>
                    <a:pt x="114544" y="290815"/>
                  </a:lnTo>
                  <a:lnTo>
                    <a:pt x="115468" y="290971"/>
                  </a:lnTo>
                  <a:lnTo>
                    <a:pt x="116785" y="289507"/>
                  </a:lnTo>
                  <a:lnTo>
                    <a:pt x="119174" y="288736"/>
                  </a:lnTo>
                  <a:lnTo>
                    <a:pt x="122523" y="288227"/>
                  </a:lnTo>
                  <a:lnTo>
                    <a:pt x="128070" y="289000"/>
                  </a:lnTo>
                  <a:lnTo>
                    <a:pt x="130582" y="288429"/>
                  </a:lnTo>
                  <a:lnTo>
                    <a:pt x="131813" y="288509"/>
                  </a:lnTo>
                  <a:lnTo>
                    <a:pt x="130632" y="285883"/>
                  </a:lnTo>
                  <a:lnTo>
                    <a:pt x="129899" y="285124"/>
                  </a:lnTo>
                  <a:lnTo>
                    <a:pt x="131042" y="282777"/>
                  </a:lnTo>
                  <a:lnTo>
                    <a:pt x="132234" y="281859"/>
                  </a:lnTo>
                  <a:lnTo>
                    <a:pt x="136067" y="280209"/>
                  </a:lnTo>
                  <a:lnTo>
                    <a:pt x="139722" y="279472"/>
                  </a:lnTo>
                  <a:lnTo>
                    <a:pt x="142109" y="277904"/>
                  </a:lnTo>
                  <a:lnTo>
                    <a:pt x="145313" y="276462"/>
                  </a:lnTo>
                  <a:lnTo>
                    <a:pt x="144810" y="275306"/>
                  </a:lnTo>
                  <a:lnTo>
                    <a:pt x="143918" y="273967"/>
                  </a:lnTo>
                  <a:lnTo>
                    <a:pt x="141845" y="273882"/>
                  </a:lnTo>
                  <a:lnTo>
                    <a:pt x="140999" y="273151"/>
                  </a:lnTo>
                  <a:lnTo>
                    <a:pt x="143631" y="271414"/>
                  </a:lnTo>
                  <a:lnTo>
                    <a:pt x="147235" y="269481"/>
                  </a:lnTo>
                  <a:lnTo>
                    <a:pt x="146607" y="268721"/>
                  </a:lnTo>
                  <a:lnTo>
                    <a:pt x="143897" y="267861"/>
                  </a:lnTo>
                  <a:lnTo>
                    <a:pt x="141839" y="268509"/>
                  </a:lnTo>
                  <a:lnTo>
                    <a:pt x="138779" y="270005"/>
                  </a:lnTo>
                  <a:lnTo>
                    <a:pt x="135220" y="272369"/>
                  </a:lnTo>
                  <a:lnTo>
                    <a:pt x="136380" y="273057"/>
                  </a:lnTo>
                  <a:lnTo>
                    <a:pt x="138161" y="275041"/>
                  </a:lnTo>
                  <a:lnTo>
                    <a:pt x="135676" y="277679"/>
                  </a:lnTo>
                  <a:lnTo>
                    <a:pt x="122504" y="284668"/>
                  </a:lnTo>
                  <a:lnTo>
                    <a:pt x="116222" y="286710"/>
                  </a:lnTo>
                  <a:lnTo>
                    <a:pt x="113324" y="286392"/>
                  </a:lnTo>
                  <a:lnTo>
                    <a:pt x="112633" y="284486"/>
                  </a:lnTo>
                  <a:lnTo>
                    <a:pt x="111296" y="283074"/>
                  </a:lnTo>
                  <a:lnTo>
                    <a:pt x="109863" y="280162"/>
                  </a:lnTo>
                  <a:lnTo>
                    <a:pt x="107425" y="280240"/>
                  </a:lnTo>
                  <a:lnTo>
                    <a:pt x="106040" y="280884"/>
                  </a:lnTo>
                  <a:lnTo>
                    <a:pt x="105436" y="279929"/>
                  </a:lnTo>
                  <a:lnTo>
                    <a:pt x="106485" y="276814"/>
                  </a:lnTo>
                  <a:lnTo>
                    <a:pt x="108548" y="274348"/>
                  </a:lnTo>
                  <a:lnTo>
                    <a:pt x="112007" y="272484"/>
                  </a:lnTo>
                  <a:lnTo>
                    <a:pt x="113665" y="270230"/>
                  </a:lnTo>
                  <a:lnTo>
                    <a:pt x="115224" y="266650"/>
                  </a:lnTo>
                  <a:lnTo>
                    <a:pt x="120228" y="263237"/>
                  </a:lnTo>
                  <a:lnTo>
                    <a:pt x="127511" y="254770"/>
                  </a:lnTo>
                  <a:lnTo>
                    <a:pt x="133445" y="252061"/>
                  </a:lnTo>
                  <a:lnTo>
                    <a:pt x="135620" y="249095"/>
                  </a:lnTo>
                  <a:lnTo>
                    <a:pt x="139116" y="247783"/>
                  </a:lnTo>
                  <a:lnTo>
                    <a:pt x="142100" y="245465"/>
                  </a:lnTo>
                  <a:lnTo>
                    <a:pt x="144443" y="245235"/>
                  </a:lnTo>
                  <a:lnTo>
                    <a:pt x="148699" y="243146"/>
                  </a:lnTo>
                  <a:lnTo>
                    <a:pt x="151111" y="240658"/>
                  </a:lnTo>
                  <a:lnTo>
                    <a:pt x="149537" y="240503"/>
                  </a:lnTo>
                  <a:lnTo>
                    <a:pt x="145795" y="242123"/>
                  </a:lnTo>
                  <a:lnTo>
                    <a:pt x="143678" y="242774"/>
                  </a:lnTo>
                  <a:lnTo>
                    <a:pt x="143828" y="240104"/>
                  </a:lnTo>
                  <a:lnTo>
                    <a:pt x="144853" y="237363"/>
                  </a:lnTo>
                  <a:lnTo>
                    <a:pt x="147937" y="234854"/>
                  </a:lnTo>
                  <a:lnTo>
                    <a:pt x="162759" y="227548"/>
                  </a:lnTo>
                  <a:lnTo>
                    <a:pt x="164238" y="228758"/>
                  </a:lnTo>
                  <a:lnTo>
                    <a:pt x="166006" y="230895"/>
                  </a:lnTo>
                  <a:lnTo>
                    <a:pt x="170470" y="230412"/>
                  </a:lnTo>
                  <a:lnTo>
                    <a:pt x="175556" y="226271"/>
                  </a:lnTo>
                  <a:lnTo>
                    <a:pt x="179473" y="221764"/>
                  </a:lnTo>
                  <a:lnTo>
                    <a:pt x="177356" y="222551"/>
                  </a:lnTo>
                  <a:lnTo>
                    <a:pt x="175046" y="224397"/>
                  </a:lnTo>
                  <a:lnTo>
                    <a:pt x="170543" y="226959"/>
                  </a:lnTo>
                  <a:lnTo>
                    <a:pt x="168462" y="227364"/>
                  </a:lnTo>
                  <a:lnTo>
                    <a:pt x="167274" y="227031"/>
                  </a:lnTo>
                  <a:lnTo>
                    <a:pt x="166613" y="225322"/>
                  </a:lnTo>
                  <a:lnTo>
                    <a:pt x="165052" y="224767"/>
                  </a:lnTo>
                  <a:lnTo>
                    <a:pt x="163642" y="225151"/>
                  </a:lnTo>
                  <a:lnTo>
                    <a:pt x="162189" y="223935"/>
                  </a:lnTo>
                  <a:lnTo>
                    <a:pt x="161930" y="220930"/>
                  </a:lnTo>
                  <a:lnTo>
                    <a:pt x="163789" y="216446"/>
                  </a:lnTo>
                  <a:lnTo>
                    <a:pt x="165262" y="213475"/>
                  </a:lnTo>
                  <a:lnTo>
                    <a:pt x="166853" y="211224"/>
                  </a:lnTo>
                  <a:lnTo>
                    <a:pt x="173109" y="204821"/>
                  </a:lnTo>
                  <a:lnTo>
                    <a:pt x="174461" y="201318"/>
                  </a:lnTo>
                  <a:lnTo>
                    <a:pt x="177290" y="199467"/>
                  </a:lnTo>
                  <a:lnTo>
                    <a:pt x="180964" y="199879"/>
                  </a:lnTo>
                  <a:lnTo>
                    <a:pt x="182073" y="199344"/>
                  </a:lnTo>
                  <a:lnTo>
                    <a:pt x="180811" y="197042"/>
                  </a:lnTo>
                  <a:lnTo>
                    <a:pt x="176806" y="195215"/>
                  </a:lnTo>
                  <a:lnTo>
                    <a:pt x="176560" y="194067"/>
                  </a:lnTo>
                  <a:lnTo>
                    <a:pt x="189900" y="191049"/>
                  </a:lnTo>
                  <a:lnTo>
                    <a:pt x="196253" y="191151"/>
                  </a:lnTo>
                  <a:lnTo>
                    <a:pt x="198138" y="189643"/>
                  </a:lnTo>
                  <a:lnTo>
                    <a:pt x="201591" y="188677"/>
                  </a:lnTo>
                  <a:lnTo>
                    <a:pt x="204208" y="186831"/>
                  </a:lnTo>
                  <a:lnTo>
                    <a:pt x="202859" y="186016"/>
                  </a:lnTo>
                  <a:lnTo>
                    <a:pt x="196407" y="187713"/>
                  </a:lnTo>
                  <a:lnTo>
                    <a:pt x="192373" y="188510"/>
                  </a:lnTo>
                  <a:lnTo>
                    <a:pt x="190548" y="188485"/>
                  </a:lnTo>
                  <a:lnTo>
                    <a:pt x="189125" y="189068"/>
                  </a:lnTo>
                  <a:lnTo>
                    <a:pt x="183969" y="189290"/>
                  </a:lnTo>
                  <a:lnTo>
                    <a:pt x="182848" y="181925"/>
                  </a:lnTo>
                  <a:lnTo>
                    <a:pt x="183655" y="177918"/>
                  </a:lnTo>
                  <a:lnTo>
                    <a:pt x="185577" y="178001"/>
                  </a:lnTo>
                  <a:lnTo>
                    <a:pt x="186015" y="174168"/>
                  </a:lnTo>
                  <a:lnTo>
                    <a:pt x="188235" y="171907"/>
                  </a:lnTo>
                  <a:lnTo>
                    <a:pt x="191300" y="171401"/>
                  </a:lnTo>
                  <a:lnTo>
                    <a:pt x="192844" y="170432"/>
                  </a:lnTo>
                  <a:lnTo>
                    <a:pt x="195074" y="168460"/>
                  </a:lnTo>
                  <a:lnTo>
                    <a:pt x="198765" y="168918"/>
                  </a:lnTo>
                  <a:lnTo>
                    <a:pt x="202556" y="168478"/>
                  </a:lnTo>
                  <a:lnTo>
                    <a:pt x="201617" y="167548"/>
                  </a:lnTo>
                  <a:lnTo>
                    <a:pt x="196910" y="166349"/>
                  </a:lnTo>
                  <a:lnTo>
                    <a:pt x="195748" y="164288"/>
                  </a:lnTo>
                  <a:lnTo>
                    <a:pt x="197408" y="163137"/>
                  </a:lnTo>
                  <a:lnTo>
                    <a:pt x="199216" y="162289"/>
                  </a:lnTo>
                  <a:lnTo>
                    <a:pt x="200803" y="162137"/>
                  </a:lnTo>
                  <a:lnTo>
                    <a:pt x="203947" y="158104"/>
                  </a:lnTo>
                  <a:lnTo>
                    <a:pt x="205858" y="156381"/>
                  </a:lnTo>
                  <a:lnTo>
                    <a:pt x="207998" y="156680"/>
                  </a:lnTo>
                  <a:lnTo>
                    <a:pt x="210978" y="154898"/>
                  </a:lnTo>
                  <a:lnTo>
                    <a:pt x="213904" y="155506"/>
                  </a:lnTo>
                  <a:lnTo>
                    <a:pt x="216735" y="154339"/>
                  </a:lnTo>
                  <a:lnTo>
                    <a:pt x="220602" y="153569"/>
                  </a:lnTo>
                  <a:lnTo>
                    <a:pt x="234757" y="153271"/>
                  </a:lnTo>
                  <a:lnTo>
                    <a:pt x="235178" y="151616"/>
                  </a:lnTo>
                  <a:lnTo>
                    <a:pt x="232201" y="151232"/>
                  </a:lnTo>
                  <a:lnTo>
                    <a:pt x="221682" y="150806"/>
                  </a:lnTo>
                  <a:lnTo>
                    <a:pt x="216312" y="150839"/>
                  </a:lnTo>
                  <a:lnTo>
                    <a:pt x="214051" y="151268"/>
                  </a:lnTo>
                  <a:lnTo>
                    <a:pt x="213220" y="150691"/>
                  </a:lnTo>
                  <a:lnTo>
                    <a:pt x="213366" y="149699"/>
                  </a:lnTo>
                  <a:lnTo>
                    <a:pt x="215318" y="148129"/>
                  </a:lnTo>
                  <a:lnTo>
                    <a:pt x="216245" y="146392"/>
                  </a:lnTo>
                  <a:lnTo>
                    <a:pt x="220147" y="142146"/>
                  </a:lnTo>
                  <a:lnTo>
                    <a:pt x="224722" y="139313"/>
                  </a:lnTo>
                  <a:lnTo>
                    <a:pt x="228229" y="140038"/>
                  </a:lnTo>
                  <a:lnTo>
                    <a:pt x="231959" y="142743"/>
                  </a:lnTo>
                  <a:lnTo>
                    <a:pt x="234617" y="143081"/>
                  </a:lnTo>
                  <a:lnTo>
                    <a:pt x="235854" y="143954"/>
                  </a:lnTo>
                  <a:lnTo>
                    <a:pt x="237791" y="147678"/>
                  </a:lnTo>
                  <a:lnTo>
                    <a:pt x="238709" y="147799"/>
                  </a:lnTo>
                  <a:lnTo>
                    <a:pt x="238294" y="144220"/>
                  </a:lnTo>
                  <a:lnTo>
                    <a:pt x="240855" y="141304"/>
                  </a:lnTo>
                  <a:lnTo>
                    <a:pt x="240188" y="140497"/>
                  </a:lnTo>
                  <a:lnTo>
                    <a:pt x="236340" y="141552"/>
                  </a:lnTo>
                  <a:lnTo>
                    <a:pt x="233392" y="140455"/>
                  </a:lnTo>
                  <a:lnTo>
                    <a:pt x="231065" y="138262"/>
                  </a:lnTo>
                  <a:lnTo>
                    <a:pt x="230399" y="136255"/>
                  </a:lnTo>
                  <a:lnTo>
                    <a:pt x="231846" y="134270"/>
                  </a:lnTo>
                  <a:lnTo>
                    <a:pt x="233211" y="133270"/>
                  </a:lnTo>
                  <a:lnTo>
                    <a:pt x="232285" y="132104"/>
                  </a:lnTo>
                  <a:lnTo>
                    <a:pt x="226467" y="135229"/>
                  </a:lnTo>
                  <a:lnTo>
                    <a:pt x="222352" y="135955"/>
                  </a:lnTo>
                  <a:lnTo>
                    <a:pt x="220730" y="135518"/>
                  </a:lnTo>
                  <a:lnTo>
                    <a:pt x="221609" y="132687"/>
                  </a:lnTo>
                  <a:lnTo>
                    <a:pt x="221119" y="130438"/>
                  </a:lnTo>
                  <a:lnTo>
                    <a:pt x="226636" y="124888"/>
                  </a:lnTo>
                  <a:lnTo>
                    <a:pt x="228534" y="124245"/>
                  </a:lnTo>
                  <a:lnTo>
                    <a:pt x="231632" y="124691"/>
                  </a:lnTo>
                  <a:lnTo>
                    <a:pt x="234429" y="126259"/>
                  </a:lnTo>
                  <a:lnTo>
                    <a:pt x="236768" y="126009"/>
                  </a:lnTo>
                  <a:lnTo>
                    <a:pt x="239305" y="125172"/>
                  </a:lnTo>
                  <a:lnTo>
                    <a:pt x="238959" y="123668"/>
                  </a:lnTo>
                  <a:lnTo>
                    <a:pt x="233457" y="123071"/>
                  </a:lnTo>
                  <a:lnTo>
                    <a:pt x="232041" y="121822"/>
                  </a:lnTo>
                  <a:lnTo>
                    <a:pt x="232552" y="120595"/>
                  </a:lnTo>
                  <a:lnTo>
                    <a:pt x="236329" y="119298"/>
                  </a:lnTo>
                  <a:lnTo>
                    <a:pt x="240085" y="116955"/>
                  </a:lnTo>
                  <a:lnTo>
                    <a:pt x="244388" y="116276"/>
                  </a:lnTo>
                  <a:lnTo>
                    <a:pt x="247852" y="114501"/>
                  </a:lnTo>
                  <a:lnTo>
                    <a:pt x="248519" y="114904"/>
                  </a:lnTo>
                  <a:lnTo>
                    <a:pt x="249104" y="115600"/>
                  </a:lnTo>
                  <a:lnTo>
                    <a:pt x="250348" y="122169"/>
                  </a:lnTo>
                  <a:lnTo>
                    <a:pt x="253442" y="127512"/>
                  </a:lnTo>
                  <a:lnTo>
                    <a:pt x="254582" y="127706"/>
                  </a:lnTo>
                  <a:lnTo>
                    <a:pt x="253395" y="123162"/>
                  </a:lnTo>
                  <a:lnTo>
                    <a:pt x="254503" y="121854"/>
                  </a:lnTo>
                  <a:lnTo>
                    <a:pt x="255906" y="120859"/>
                  </a:lnTo>
                  <a:lnTo>
                    <a:pt x="256344" y="119726"/>
                  </a:lnTo>
                  <a:lnTo>
                    <a:pt x="254736" y="119339"/>
                  </a:lnTo>
                  <a:lnTo>
                    <a:pt x="253421" y="117711"/>
                  </a:lnTo>
                  <a:lnTo>
                    <a:pt x="251542" y="112496"/>
                  </a:lnTo>
                  <a:lnTo>
                    <a:pt x="252183" y="111139"/>
                  </a:lnTo>
                  <a:lnTo>
                    <a:pt x="256254" y="108355"/>
                  </a:lnTo>
                  <a:lnTo>
                    <a:pt x="261361" y="107713"/>
                  </a:lnTo>
                  <a:lnTo>
                    <a:pt x="266802" y="109666"/>
                  </a:lnTo>
                  <a:lnTo>
                    <a:pt x="268713" y="109688"/>
                  </a:lnTo>
                  <a:lnTo>
                    <a:pt x="271868" y="109164"/>
                  </a:lnTo>
                  <a:lnTo>
                    <a:pt x="277221" y="107558"/>
                  </a:lnTo>
                  <a:lnTo>
                    <a:pt x="280370" y="106947"/>
                  </a:lnTo>
                  <a:lnTo>
                    <a:pt x="282013" y="106949"/>
                  </a:lnTo>
                  <a:lnTo>
                    <a:pt x="282419" y="106137"/>
                  </a:lnTo>
                  <a:lnTo>
                    <a:pt x="280897" y="105615"/>
                  </a:lnTo>
                  <a:lnTo>
                    <a:pt x="280406" y="105107"/>
                  </a:lnTo>
                  <a:lnTo>
                    <a:pt x="279212" y="104815"/>
                  </a:lnTo>
                  <a:lnTo>
                    <a:pt x="274263" y="105684"/>
                  </a:lnTo>
                  <a:lnTo>
                    <a:pt x="260609" y="105409"/>
                  </a:lnTo>
                  <a:lnTo>
                    <a:pt x="259292" y="104480"/>
                  </a:lnTo>
                  <a:lnTo>
                    <a:pt x="259050" y="102872"/>
                  </a:lnTo>
                  <a:lnTo>
                    <a:pt x="260499" y="100564"/>
                  </a:lnTo>
                  <a:lnTo>
                    <a:pt x="262091" y="99291"/>
                  </a:lnTo>
                  <a:lnTo>
                    <a:pt x="267239" y="96997"/>
                  </a:lnTo>
                  <a:lnTo>
                    <a:pt x="272689" y="96687"/>
                  </a:lnTo>
                  <a:lnTo>
                    <a:pt x="278431" y="92605"/>
                  </a:lnTo>
                  <a:lnTo>
                    <a:pt x="280625" y="89538"/>
                  </a:lnTo>
                  <a:lnTo>
                    <a:pt x="281868" y="84803"/>
                  </a:lnTo>
                  <a:lnTo>
                    <a:pt x="285369" y="80966"/>
                  </a:lnTo>
                  <a:lnTo>
                    <a:pt x="294144" y="78781"/>
                  </a:lnTo>
                  <a:lnTo>
                    <a:pt x="294499" y="77813"/>
                  </a:lnTo>
                  <a:lnTo>
                    <a:pt x="293568" y="75813"/>
                  </a:lnTo>
                  <a:lnTo>
                    <a:pt x="293641" y="72204"/>
                  </a:lnTo>
                  <a:lnTo>
                    <a:pt x="296047" y="67992"/>
                  </a:lnTo>
                  <a:lnTo>
                    <a:pt x="297645" y="66526"/>
                  </a:lnTo>
                  <a:lnTo>
                    <a:pt x="298383" y="66350"/>
                  </a:lnTo>
                  <a:lnTo>
                    <a:pt x="300275" y="67729"/>
                  </a:lnTo>
                  <a:lnTo>
                    <a:pt x="302573" y="70659"/>
                  </a:lnTo>
                  <a:lnTo>
                    <a:pt x="306175" y="72335"/>
                  </a:lnTo>
                  <a:lnTo>
                    <a:pt x="310895" y="72624"/>
                  </a:lnTo>
                  <a:lnTo>
                    <a:pt x="312154" y="71800"/>
                  </a:lnTo>
                  <a:lnTo>
                    <a:pt x="308485" y="70129"/>
                  </a:lnTo>
                  <a:lnTo>
                    <a:pt x="305708" y="67943"/>
                  </a:lnTo>
                  <a:lnTo>
                    <a:pt x="305488" y="65745"/>
                  </a:lnTo>
                  <a:lnTo>
                    <a:pt x="306805" y="64579"/>
                  </a:lnTo>
                  <a:lnTo>
                    <a:pt x="308852" y="64709"/>
                  </a:lnTo>
                  <a:lnTo>
                    <a:pt x="311422" y="64462"/>
                  </a:lnTo>
                  <a:lnTo>
                    <a:pt x="313816" y="62982"/>
                  </a:lnTo>
                  <a:lnTo>
                    <a:pt x="314164" y="61941"/>
                  </a:lnTo>
                  <a:lnTo>
                    <a:pt x="314264" y="60527"/>
                  </a:lnTo>
                  <a:lnTo>
                    <a:pt x="314862" y="59088"/>
                  </a:lnTo>
                  <a:lnTo>
                    <a:pt x="318375" y="55651"/>
                  </a:lnTo>
                  <a:lnTo>
                    <a:pt x="329204" y="53412"/>
                  </a:lnTo>
                  <a:lnTo>
                    <a:pt x="329988" y="54321"/>
                  </a:lnTo>
                  <a:lnTo>
                    <a:pt x="329403" y="60951"/>
                  </a:lnTo>
                  <a:lnTo>
                    <a:pt x="328159" y="65227"/>
                  </a:lnTo>
                  <a:lnTo>
                    <a:pt x="328198" y="68347"/>
                  </a:lnTo>
                  <a:lnTo>
                    <a:pt x="330306" y="65227"/>
                  </a:lnTo>
                  <a:lnTo>
                    <a:pt x="333132" y="56663"/>
                  </a:lnTo>
                  <a:lnTo>
                    <a:pt x="335253" y="52629"/>
                  </a:lnTo>
                  <a:lnTo>
                    <a:pt x="337650" y="50309"/>
                  </a:lnTo>
                  <a:lnTo>
                    <a:pt x="339362" y="49785"/>
                  </a:lnTo>
                  <a:lnTo>
                    <a:pt x="341057" y="48583"/>
                  </a:lnTo>
                  <a:lnTo>
                    <a:pt x="343295" y="47867"/>
                  </a:lnTo>
                  <a:lnTo>
                    <a:pt x="343979" y="48791"/>
                  </a:lnTo>
                  <a:lnTo>
                    <a:pt x="344687" y="50933"/>
                  </a:lnTo>
                  <a:lnTo>
                    <a:pt x="343482" y="58438"/>
                  </a:lnTo>
                  <a:lnTo>
                    <a:pt x="343603" y="60805"/>
                  </a:lnTo>
                  <a:lnTo>
                    <a:pt x="342253" y="63973"/>
                  </a:lnTo>
                  <a:lnTo>
                    <a:pt x="337093" y="71017"/>
                  </a:lnTo>
                  <a:lnTo>
                    <a:pt x="337330" y="71914"/>
                  </a:lnTo>
                  <a:lnTo>
                    <a:pt x="338496" y="71581"/>
                  </a:lnTo>
                  <a:lnTo>
                    <a:pt x="340496" y="70420"/>
                  </a:lnTo>
                  <a:lnTo>
                    <a:pt x="346888" y="63728"/>
                  </a:lnTo>
                  <a:lnTo>
                    <a:pt x="352476" y="64573"/>
                  </a:lnTo>
                  <a:lnTo>
                    <a:pt x="352545" y="64024"/>
                  </a:lnTo>
                  <a:lnTo>
                    <a:pt x="350753" y="62058"/>
                  </a:lnTo>
                  <a:lnTo>
                    <a:pt x="348563" y="60171"/>
                  </a:lnTo>
                  <a:lnTo>
                    <a:pt x="347905" y="57833"/>
                  </a:lnTo>
                  <a:lnTo>
                    <a:pt x="348198" y="51586"/>
                  </a:lnTo>
                  <a:lnTo>
                    <a:pt x="349881" y="49107"/>
                  </a:lnTo>
                  <a:lnTo>
                    <a:pt x="354707" y="49367"/>
                  </a:lnTo>
                  <a:lnTo>
                    <a:pt x="357598" y="49024"/>
                  </a:lnTo>
                  <a:lnTo>
                    <a:pt x="358948" y="50151"/>
                  </a:lnTo>
                  <a:lnTo>
                    <a:pt x="361843" y="50070"/>
                  </a:lnTo>
                  <a:lnTo>
                    <a:pt x="363848" y="45579"/>
                  </a:lnTo>
                  <a:lnTo>
                    <a:pt x="367810" y="45185"/>
                  </a:lnTo>
                  <a:lnTo>
                    <a:pt x="371289" y="48155"/>
                  </a:lnTo>
                  <a:lnTo>
                    <a:pt x="375476" y="50151"/>
                  </a:lnTo>
                  <a:lnTo>
                    <a:pt x="378840" y="53019"/>
                  </a:lnTo>
                  <a:lnTo>
                    <a:pt x="379790" y="52236"/>
                  </a:lnTo>
                  <a:lnTo>
                    <a:pt x="377974" y="45538"/>
                  </a:lnTo>
                  <a:lnTo>
                    <a:pt x="375987" y="43092"/>
                  </a:lnTo>
                  <a:lnTo>
                    <a:pt x="371677" y="41819"/>
                  </a:lnTo>
                  <a:lnTo>
                    <a:pt x="367091" y="38795"/>
                  </a:lnTo>
                  <a:lnTo>
                    <a:pt x="365895" y="37453"/>
                  </a:lnTo>
                  <a:lnTo>
                    <a:pt x="366104" y="36454"/>
                  </a:lnTo>
                  <a:lnTo>
                    <a:pt x="370151" y="35490"/>
                  </a:lnTo>
                  <a:lnTo>
                    <a:pt x="375491" y="36594"/>
                  </a:lnTo>
                  <a:lnTo>
                    <a:pt x="380250" y="34070"/>
                  </a:lnTo>
                  <a:lnTo>
                    <a:pt x="381552" y="34762"/>
                  </a:lnTo>
                  <a:lnTo>
                    <a:pt x="385202" y="33441"/>
                  </a:lnTo>
                  <a:lnTo>
                    <a:pt x="387469" y="35218"/>
                  </a:lnTo>
                  <a:lnTo>
                    <a:pt x="388857" y="34692"/>
                  </a:lnTo>
                  <a:lnTo>
                    <a:pt x="389663" y="32309"/>
                  </a:lnTo>
                  <a:lnTo>
                    <a:pt x="395487" y="30829"/>
                  </a:lnTo>
                  <a:lnTo>
                    <a:pt x="399181" y="32195"/>
                  </a:lnTo>
                  <a:lnTo>
                    <a:pt x="401162" y="33608"/>
                  </a:lnTo>
                  <a:lnTo>
                    <a:pt x="402082" y="36320"/>
                  </a:lnTo>
                  <a:lnTo>
                    <a:pt x="403489" y="41674"/>
                  </a:lnTo>
                  <a:lnTo>
                    <a:pt x="406374" y="44557"/>
                  </a:lnTo>
                  <a:lnTo>
                    <a:pt x="408165" y="45971"/>
                  </a:lnTo>
                  <a:lnTo>
                    <a:pt x="410287" y="46362"/>
                  </a:lnTo>
                  <a:lnTo>
                    <a:pt x="411311" y="44924"/>
                  </a:lnTo>
                  <a:lnTo>
                    <a:pt x="409322" y="43190"/>
                  </a:lnTo>
                  <a:lnTo>
                    <a:pt x="408786" y="41556"/>
                  </a:lnTo>
                  <a:lnTo>
                    <a:pt x="409739" y="37494"/>
                  </a:lnTo>
                  <a:lnTo>
                    <a:pt x="410851" y="35896"/>
                  </a:lnTo>
                  <a:lnTo>
                    <a:pt x="417083" y="29833"/>
                  </a:lnTo>
                  <a:lnTo>
                    <a:pt x="422300" y="26680"/>
                  </a:lnTo>
                  <a:lnTo>
                    <a:pt x="425424" y="26417"/>
                  </a:lnTo>
                  <a:lnTo>
                    <a:pt x="430888" y="19331"/>
                  </a:lnTo>
                  <a:lnTo>
                    <a:pt x="432436" y="18040"/>
                  </a:lnTo>
                  <a:lnTo>
                    <a:pt x="433861" y="17743"/>
                  </a:lnTo>
                  <a:lnTo>
                    <a:pt x="433496" y="16004"/>
                  </a:lnTo>
                  <a:lnTo>
                    <a:pt x="430503" y="14903"/>
                  </a:lnTo>
                  <a:lnTo>
                    <a:pt x="430400" y="12748"/>
                  </a:lnTo>
                  <a:lnTo>
                    <a:pt x="434343" y="10121"/>
                  </a:lnTo>
                  <a:lnTo>
                    <a:pt x="439124" y="5706"/>
                  </a:lnTo>
                  <a:lnTo>
                    <a:pt x="441484" y="5406"/>
                  </a:lnTo>
                  <a:lnTo>
                    <a:pt x="442963" y="6634"/>
                  </a:lnTo>
                  <a:lnTo>
                    <a:pt x="447619" y="8627"/>
                  </a:lnTo>
                  <a:lnTo>
                    <a:pt x="450471" y="10908"/>
                  </a:lnTo>
                  <a:lnTo>
                    <a:pt x="452538" y="12056"/>
                  </a:lnTo>
                  <a:lnTo>
                    <a:pt x="453881" y="11818"/>
                  </a:lnTo>
                  <a:lnTo>
                    <a:pt x="454991" y="10105"/>
                  </a:lnTo>
                  <a:lnTo>
                    <a:pt x="456325" y="9303"/>
                  </a:lnTo>
                  <a:lnTo>
                    <a:pt x="459286" y="9753"/>
                  </a:lnTo>
                  <a:lnTo>
                    <a:pt x="461052" y="10855"/>
                  </a:lnTo>
                  <a:lnTo>
                    <a:pt x="462428" y="11000"/>
                  </a:lnTo>
                  <a:lnTo>
                    <a:pt x="463672" y="11667"/>
                  </a:lnTo>
                  <a:lnTo>
                    <a:pt x="463965" y="13131"/>
                  </a:lnTo>
                  <a:lnTo>
                    <a:pt x="461404" y="14725"/>
                  </a:lnTo>
                  <a:lnTo>
                    <a:pt x="457040" y="18947"/>
                  </a:lnTo>
                  <a:lnTo>
                    <a:pt x="452734" y="23737"/>
                  </a:lnTo>
                  <a:lnTo>
                    <a:pt x="451314" y="26255"/>
                  </a:lnTo>
                  <a:lnTo>
                    <a:pt x="449923" y="32850"/>
                  </a:lnTo>
                  <a:lnTo>
                    <a:pt x="446558" y="37058"/>
                  </a:lnTo>
                  <a:lnTo>
                    <a:pt x="446304" y="40003"/>
                  </a:lnTo>
                  <a:lnTo>
                    <a:pt x="447655" y="41390"/>
                  </a:lnTo>
                  <a:lnTo>
                    <a:pt x="451369" y="40302"/>
                  </a:lnTo>
                  <a:lnTo>
                    <a:pt x="455947" y="36371"/>
                  </a:lnTo>
                  <a:lnTo>
                    <a:pt x="457090" y="32191"/>
                  </a:lnTo>
                  <a:lnTo>
                    <a:pt x="468535" y="20815"/>
                  </a:lnTo>
                  <a:lnTo>
                    <a:pt x="473903" y="14505"/>
                  </a:lnTo>
                  <a:lnTo>
                    <a:pt x="480007" y="9265"/>
                  </a:lnTo>
                  <a:lnTo>
                    <a:pt x="483421" y="8179"/>
                  </a:lnTo>
                  <a:lnTo>
                    <a:pt x="485028" y="11651"/>
                  </a:lnTo>
                  <a:lnTo>
                    <a:pt x="483734" y="16179"/>
                  </a:lnTo>
                  <a:lnTo>
                    <a:pt x="481141" y="19061"/>
                  </a:lnTo>
                  <a:lnTo>
                    <a:pt x="483052" y="20380"/>
                  </a:lnTo>
                  <a:lnTo>
                    <a:pt x="482687" y="23797"/>
                  </a:lnTo>
                  <a:lnTo>
                    <a:pt x="482091" y="25693"/>
                  </a:lnTo>
                  <a:lnTo>
                    <a:pt x="481711" y="27676"/>
                  </a:lnTo>
                  <a:lnTo>
                    <a:pt x="481735" y="29424"/>
                  </a:lnTo>
                  <a:lnTo>
                    <a:pt x="483527" y="28958"/>
                  </a:lnTo>
                  <a:lnTo>
                    <a:pt x="490675" y="25377"/>
                  </a:lnTo>
                  <a:lnTo>
                    <a:pt x="492486" y="21493"/>
                  </a:lnTo>
                  <a:lnTo>
                    <a:pt x="494166" y="18577"/>
                  </a:lnTo>
                  <a:lnTo>
                    <a:pt x="494972" y="16055"/>
                  </a:lnTo>
                  <a:lnTo>
                    <a:pt x="497751" y="13663"/>
                  </a:lnTo>
                  <a:lnTo>
                    <a:pt x="502994" y="13645"/>
                  </a:lnTo>
                  <a:lnTo>
                    <a:pt x="503197" y="12704"/>
                  </a:lnTo>
                  <a:lnTo>
                    <a:pt x="496859" y="9377"/>
                  </a:lnTo>
                  <a:lnTo>
                    <a:pt x="496112" y="7877"/>
                  </a:lnTo>
                  <a:lnTo>
                    <a:pt x="498243" y="5879"/>
                  </a:lnTo>
                  <a:close/>
                  <a:moveTo>
                    <a:pt x="459651" y="0"/>
                  </a:moveTo>
                  <a:lnTo>
                    <a:pt x="465559" y="1548"/>
                  </a:lnTo>
                  <a:lnTo>
                    <a:pt x="467582" y="1516"/>
                  </a:lnTo>
                  <a:lnTo>
                    <a:pt x="470515" y="4407"/>
                  </a:lnTo>
                  <a:lnTo>
                    <a:pt x="472046" y="4151"/>
                  </a:lnTo>
                  <a:lnTo>
                    <a:pt x="471756" y="5916"/>
                  </a:lnTo>
                  <a:lnTo>
                    <a:pt x="468792" y="6752"/>
                  </a:lnTo>
                  <a:lnTo>
                    <a:pt x="464183" y="7260"/>
                  </a:lnTo>
                  <a:lnTo>
                    <a:pt x="463495" y="7611"/>
                  </a:lnTo>
                  <a:lnTo>
                    <a:pt x="459556" y="7329"/>
                  </a:lnTo>
                  <a:lnTo>
                    <a:pt x="457345" y="4956"/>
                  </a:lnTo>
                  <a:lnTo>
                    <a:pt x="453650" y="4368"/>
                  </a:lnTo>
                  <a:lnTo>
                    <a:pt x="453656" y="3606"/>
                  </a:lnTo>
                  <a:lnTo>
                    <a:pt x="456049" y="1809"/>
                  </a:lnTo>
                  <a:close/>
                </a:path>
              </a:pathLst>
            </a:custGeom>
            <a:solidFill>
              <a:srgbClr val="A3BA1E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70" name="ee4p_NO_2_82333">
              <a:extLst>
                <a:ext uri="{FF2B5EF4-FFF2-40B4-BE49-F238E27FC236}">
                  <a16:creationId xmlns:a16="http://schemas.microsoft.com/office/drawing/2014/main" id="{9DE47E5E-4680-EAA2-96EF-9EDAECAD77C7}"/>
                </a:ext>
              </a:extLst>
            </p:cNvPr>
            <p:cNvSpPr>
              <a:spLocks noChangeAspect="1"/>
            </p:cNvSpPr>
            <p:nvPr>
              <p:custDataLst>
                <p:tags r:id="rId98"/>
              </p:custDataLst>
            </p:nvPr>
          </p:nvSpPr>
          <p:spPr>
            <a:xfrm>
              <a:off x="6262030" y="1649644"/>
              <a:ext cx="1186533" cy="562249"/>
            </a:xfrm>
            <a:custGeom>
              <a:avLst/>
              <a:gdLst>
                <a:gd name="connsiteX0" fmla="*/ 24268 w 944810"/>
                <a:gd name="connsiteY0" fmla="*/ 421905 h 435839"/>
                <a:gd name="connsiteX1" fmla="*/ 24767 w 944810"/>
                <a:gd name="connsiteY1" fmla="*/ 424367 h 435839"/>
                <a:gd name="connsiteX2" fmla="*/ 24252 w 944810"/>
                <a:gd name="connsiteY2" fmla="*/ 427427 h 435839"/>
                <a:gd name="connsiteX3" fmla="*/ 17613 w 944810"/>
                <a:gd name="connsiteY3" fmla="*/ 429855 h 435839"/>
                <a:gd name="connsiteX4" fmla="*/ 10249 w 944810"/>
                <a:gd name="connsiteY4" fmla="*/ 431498 h 435839"/>
                <a:gd name="connsiteX5" fmla="*/ 3213 w 944810"/>
                <a:gd name="connsiteY5" fmla="*/ 435578 h 435839"/>
                <a:gd name="connsiteX6" fmla="*/ 1173 w 944810"/>
                <a:gd name="connsiteY6" fmla="*/ 435839 h 435839"/>
                <a:gd name="connsiteX7" fmla="*/ 0 w 944810"/>
                <a:gd name="connsiteY7" fmla="*/ 434945 h 435839"/>
                <a:gd name="connsiteX8" fmla="*/ 2968 w 944810"/>
                <a:gd name="connsiteY8" fmla="*/ 432486 h 435839"/>
                <a:gd name="connsiteX9" fmla="*/ 12782 w 944810"/>
                <a:gd name="connsiteY9" fmla="*/ 427855 h 435839"/>
                <a:gd name="connsiteX10" fmla="*/ 16698 w 944810"/>
                <a:gd name="connsiteY10" fmla="*/ 423426 h 435839"/>
                <a:gd name="connsiteX11" fmla="*/ 625370 w 944810"/>
                <a:gd name="connsiteY11" fmla="*/ 281353 h 435839"/>
                <a:gd name="connsiteX12" fmla="*/ 627108 w 944810"/>
                <a:gd name="connsiteY12" fmla="*/ 283055 h 435839"/>
                <a:gd name="connsiteX13" fmla="*/ 627399 w 944810"/>
                <a:gd name="connsiteY13" fmla="*/ 284025 h 435839"/>
                <a:gd name="connsiteX14" fmla="*/ 626175 w 944810"/>
                <a:gd name="connsiteY14" fmla="*/ 286892 h 435839"/>
                <a:gd name="connsiteX15" fmla="*/ 623504 w 944810"/>
                <a:gd name="connsiteY15" fmla="*/ 288585 h 435839"/>
                <a:gd name="connsiteX16" fmla="*/ 619503 w 944810"/>
                <a:gd name="connsiteY16" fmla="*/ 286036 h 435839"/>
                <a:gd name="connsiteX17" fmla="*/ 616847 w 944810"/>
                <a:gd name="connsiteY17" fmla="*/ 282761 h 435839"/>
                <a:gd name="connsiteX18" fmla="*/ 618257 w 944810"/>
                <a:gd name="connsiteY18" fmla="*/ 281517 h 435839"/>
                <a:gd name="connsiteX19" fmla="*/ 675605 w 944810"/>
                <a:gd name="connsiteY19" fmla="*/ 93632 h 435839"/>
                <a:gd name="connsiteX20" fmla="*/ 678996 w 944810"/>
                <a:gd name="connsiteY20" fmla="*/ 93721 h 435839"/>
                <a:gd name="connsiteX21" fmla="*/ 682036 w 944810"/>
                <a:gd name="connsiteY21" fmla="*/ 94870 h 435839"/>
                <a:gd name="connsiteX22" fmla="*/ 688616 w 944810"/>
                <a:gd name="connsiteY22" fmla="*/ 94631 h 435839"/>
                <a:gd name="connsiteX23" fmla="*/ 692246 w 944810"/>
                <a:gd name="connsiteY23" fmla="*/ 102818 h 435839"/>
                <a:gd name="connsiteX24" fmla="*/ 694284 w 944810"/>
                <a:gd name="connsiteY24" fmla="*/ 111459 h 435839"/>
                <a:gd name="connsiteX25" fmla="*/ 697597 w 944810"/>
                <a:gd name="connsiteY25" fmla="*/ 112080 h 435839"/>
                <a:gd name="connsiteX26" fmla="*/ 703904 w 944810"/>
                <a:gd name="connsiteY26" fmla="*/ 110893 h 435839"/>
                <a:gd name="connsiteX27" fmla="*/ 709527 w 944810"/>
                <a:gd name="connsiteY27" fmla="*/ 110316 h 435839"/>
                <a:gd name="connsiteX28" fmla="*/ 712410 w 944810"/>
                <a:gd name="connsiteY28" fmla="*/ 110957 h 435839"/>
                <a:gd name="connsiteX29" fmla="*/ 717549 w 944810"/>
                <a:gd name="connsiteY29" fmla="*/ 113469 h 435839"/>
                <a:gd name="connsiteX30" fmla="*/ 719767 w 944810"/>
                <a:gd name="connsiteY30" fmla="*/ 115234 h 435839"/>
                <a:gd name="connsiteX31" fmla="*/ 717837 w 944810"/>
                <a:gd name="connsiteY31" fmla="*/ 116621 h 435839"/>
                <a:gd name="connsiteX32" fmla="*/ 713134 w 944810"/>
                <a:gd name="connsiteY32" fmla="*/ 118173 h 435839"/>
                <a:gd name="connsiteX33" fmla="*/ 712354 w 944810"/>
                <a:gd name="connsiteY33" fmla="*/ 122788 h 435839"/>
                <a:gd name="connsiteX34" fmla="*/ 717083 w 944810"/>
                <a:gd name="connsiteY34" fmla="*/ 124392 h 435839"/>
                <a:gd name="connsiteX35" fmla="*/ 724898 w 944810"/>
                <a:gd name="connsiteY35" fmla="*/ 128317 h 435839"/>
                <a:gd name="connsiteX36" fmla="*/ 729299 w 944810"/>
                <a:gd name="connsiteY36" fmla="*/ 128826 h 435839"/>
                <a:gd name="connsiteX37" fmla="*/ 737155 w 944810"/>
                <a:gd name="connsiteY37" fmla="*/ 127218 h 435839"/>
                <a:gd name="connsiteX38" fmla="*/ 744522 w 944810"/>
                <a:gd name="connsiteY38" fmla="*/ 130267 h 435839"/>
                <a:gd name="connsiteX39" fmla="*/ 751827 w 944810"/>
                <a:gd name="connsiteY39" fmla="*/ 133962 h 435839"/>
                <a:gd name="connsiteX40" fmla="*/ 734756 w 944810"/>
                <a:gd name="connsiteY40" fmla="*/ 138619 h 435839"/>
                <a:gd name="connsiteX41" fmla="*/ 733255 w 944810"/>
                <a:gd name="connsiteY41" fmla="*/ 139926 h 435839"/>
                <a:gd name="connsiteX42" fmla="*/ 730890 w 944810"/>
                <a:gd name="connsiteY42" fmla="*/ 143368 h 435839"/>
                <a:gd name="connsiteX43" fmla="*/ 728375 w 944810"/>
                <a:gd name="connsiteY43" fmla="*/ 146194 h 435839"/>
                <a:gd name="connsiteX44" fmla="*/ 726051 w 944810"/>
                <a:gd name="connsiteY44" fmla="*/ 147860 h 435839"/>
                <a:gd name="connsiteX45" fmla="*/ 720944 w 944810"/>
                <a:gd name="connsiteY45" fmla="*/ 150726 h 435839"/>
                <a:gd name="connsiteX46" fmla="*/ 718195 w 944810"/>
                <a:gd name="connsiteY46" fmla="*/ 151716 h 435839"/>
                <a:gd name="connsiteX47" fmla="*/ 712015 w 944810"/>
                <a:gd name="connsiteY47" fmla="*/ 151494 h 435839"/>
                <a:gd name="connsiteX48" fmla="*/ 709700 w 944810"/>
                <a:gd name="connsiteY48" fmla="*/ 152633 h 435839"/>
                <a:gd name="connsiteX49" fmla="*/ 707551 w 944810"/>
                <a:gd name="connsiteY49" fmla="*/ 154950 h 435839"/>
                <a:gd name="connsiteX50" fmla="*/ 705390 w 944810"/>
                <a:gd name="connsiteY50" fmla="*/ 156618 h 435839"/>
                <a:gd name="connsiteX51" fmla="*/ 699905 w 944810"/>
                <a:gd name="connsiteY51" fmla="*/ 157046 h 435839"/>
                <a:gd name="connsiteX52" fmla="*/ 697102 w 944810"/>
                <a:gd name="connsiteY52" fmla="*/ 154738 h 435839"/>
                <a:gd name="connsiteX53" fmla="*/ 698028 w 944810"/>
                <a:gd name="connsiteY53" fmla="*/ 154026 h 435839"/>
                <a:gd name="connsiteX54" fmla="*/ 698422 w 944810"/>
                <a:gd name="connsiteY54" fmla="*/ 152665 h 435839"/>
                <a:gd name="connsiteX55" fmla="*/ 697446 w 944810"/>
                <a:gd name="connsiteY55" fmla="*/ 149413 h 435839"/>
                <a:gd name="connsiteX56" fmla="*/ 702673 w 944810"/>
                <a:gd name="connsiteY56" fmla="*/ 146081 h 435839"/>
                <a:gd name="connsiteX57" fmla="*/ 703861 w 944810"/>
                <a:gd name="connsiteY57" fmla="*/ 144234 h 435839"/>
                <a:gd name="connsiteX58" fmla="*/ 702816 w 944810"/>
                <a:gd name="connsiteY58" fmla="*/ 143566 h 435839"/>
                <a:gd name="connsiteX59" fmla="*/ 701378 w 944810"/>
                <a:gd name="connsiteY59" fmla="*/ 143750 h 435839"/>
                <a:gd name="connsiteX60" fmla="*/ 697573 w 944810"/>
                <a:gd name="connsiteY60" fmla="*/ 142734 h 435839"/>
                <a:gd name="connsiteX61" fmla="*/ 696446 w 944810"/>
                <a:gd name="connsiteY61" fmla="*/ 142783 h 435839"/>
                <a:gd name="connsiteX62" fmla="*/ 693291 w 944810"/>
                <a:gd name="connsiteY62" fmla="*/ 144729 h 435839"/>
                <a:gd name="connsiteX63" fmla="*/ 688918 w 944810"/>
                <a:gd name="connsiteY63" fmla="*/ 146033 h 435839"/>
                <a:gd name="connsiteX64" fmla="*/ 684481 w 944810"/>
                <a:gd name="connsiteY64" fmla="*/ 146364 h 435839"/>
                <a:gd name="connsiteX65" fmla="*/ 666653 w 944810"/>
                <a:gd name="connsiteY65" fmla="*/ 148867 h 435839"/>
                <a:gd name="connsiteX66" fmla="*/ 663960 w 944810"/>
                <a:gd name="connsiteY66" fmla="*/ 147987 h 435839"/>
                <a:gd name="connsiteX67" fmla="*/ 662744 w 944810"/>
                <a:gd name="connsiteY67" fmla="*/ 143009 h 435839"/>
                <a:gd name="connsiteX68" fmla="*/ 669996 w 944810"/>
                <a:gd name="connsiteY68" fmla="*/ 140452 h 435839"/>
                <a:gd name="connsiteX69" fmla="*/ 671110 w 944810"/>
                <a:gd name="connsiteY69" fmla="*/ 136125 h 435839"/>
                <a:gd name="connsiteX70" fmla="*/ 672939 w 944810"/>
                <a:gd name="connsiteY70" fmla="*/ 133242 h 435839"/>
                <a:gd name="connsiteX71" fmla="*/ 675076 w 944810"/>
                <a:gd name="connsiteY71" fmla="*/ 131327 h 435839"/>
                <a:gd name="connsiteX72" fmla="*/ 679002 w 944810"/>
                <a:gd name="connsiteY72" fmla="*/ 126384 h 435839"/>
                <a:gd name="connsiteX73" fmla="*/ 679991 w 944810"/>
                <a:gd name="connsiteY73" fmla="*/ 126028 h 435839"/>
                <a:gd name="connsiteX74" fmla="*/ 670203 w 944810"/>
                <a:gd name="connsiteY74" fmla="*/ 122107 h 435839"/>
                <a:gd name="connsiteX75" fmla="*/ 666333 w 944810"/>
                <a:gd name="connsiteY75" fmla="*/ 119555 h 435839"/>
                <a:gd name="connsiteX76" fmla="*/ 662120 w 944810"/>
                <a:gd name="connsiteY76" fmla="*/ 114448 h 435839"/>
                <a:gd name="connsiteX77" fmla="*/ 660827 w 944810"/>
                <a:gd name="connsiteY77" fmla="*/ 110307 h 435839"/>
                <a:gd name="connsiteX78" fmla="*/ 655119 w 944810"/>
                <a:gd name="connsiteY78" fmla="*/ 106775 h 435839"/>
                <a:gd name="connsiteX79" fmla="*/ 655826 w 944810"/>
                <a:gd name="connsiteY79" fmla="*/ 102253 h 435839"/>
                <a:gd name="connsiteX80" fmla="*/ 651680 w 944810"/>
                <a:gd name="connsiteY80" fmla="*/ 102609 h 435839"/>
                <a:gd name="connsiteX81" fmla="*/ 648477 w 944810"/>
                <a:gd name="connsiteY81" fmla="*/ 99429 h 435839"/>
                <a:gd name="connsiteX82" fmla="*/ 651457 w 944810"/>
                <a:gd name="connsiteY82" fmla="*/ 97641 h 435839"/>
                <a:gd name="connsiteX83" fmla="*/ 666586 w 944810"/>
                <a:gd name="connsiteY83" fmla="*/ 95610 h 435839"/>
                <a:gd name="connsiteX84" fmla="*/ 789066 w 944810"/>
                <a:gd name="connsiteY84" fmla="*/ 83225 h 435839"/>
                <a:gd name="connsiteX85" fmla="*/ 793551 w 944810"/>
                <a:gd name="connsiteY85" fmla="*/ 87489 h 435839"/>
                <a:gd name="connsiteX86" fmla="*/ 798391 w 944810"/>
                <a:gd name="connsiteY86" fmla="*/ 88777 h 435839"/>
                <a:gd name="connsiteX87" fmla="*/ 795479 w 944810"/>
                <a:gd name="connsiteY87" fmla="*/ 91138 h 435839"/>
                <a:gd name="connsiteX88" fmla="*/ 792241 w 944810"/>
                <a:gd name="connsiteY88" fmla="*/ 91257 h 435839"/>
                <a:gd name="connsiteX89" fmla="*/ 786272 w 944810"/>
                <a:gd name="connsiteY89" fmla="*/ 87670 h 435839"/>
                <a:gd name="connsiteX90" fmla="*/ 785125 w 944810"/>
                <a:gd name="connsiteY90" fmla="*/ 84550 h 435839"/>
                <a:gd name="connsiteX91" fmla="*/ 786188 w 944810"/>
                <a:gd name="connsiteY91" fmla="*/ 83273 h 435839"/>
                <a:gd name="connsiteX92" fmla="*/ 434659 w 944810"/>
                <a:gd name="connsiteY92" fmla="*/ 78758 h 435839"/>
                <a:gd name="connsiteX93" fmla="*/ 439405 w 944810"/>
                <a:gd name="connsiteY93" fmla="*/ 79512 h 435839"/>
                <a:gd name="connsiteX94" fmla="*/ 443562 w 944810"/>
                <a:gd name="connsiteY94" fmla="*/ 81521 h 435839"/>
                <a:gd name="connsiteX95" fmla="*/ 447169 w 944810"/>
                <a:gd name="connsiteY95" fmla="*/ 86058 h 435839"/>
                <a:gd name="connsiteX96" fmla="*/ 447810 w 944810"/>
                <a:gd name="connsiteY96" fmla="*/ 87465 h 435839"/>
                <a:gd name="connsiteX97" fmla="*/ 446158 w 944810"/>
                <a:gd name="connsiteY97" fmla="*/ 89335 h 435839"/>
                <a:gd name="connsiteX98" fmla="*/ 447855 w 944810"/>
                <a:gd name="connsiteY98" fmla="*/ 91544 h 435839"/>
                <a:gd name="connsiteX99" fmla="*/ 449963 w 944810"/>
                <a:gd name="connsiteY99" fmla="*/ 92994 h 435839"/>
                <a:gd name="connsiteX100" fmla="*/ 450215 w 944810"/>
                <a:gd name="connsiteY100" fmla="*/ 96339 h 435839"/>
                <a:gd name="connsiteX101" fmla="*/ 453808 w 944810"/>
                <a:gd name="connsiteY101" fmla="*/ 96005 h 435839"/>
                <a:gd name="connsiteX102" fmla="*/ 458056 w 944810"/>
                <a:gd name="connsiteY102" fmla="*/ 99561 h 435839"/>
                <a:gd name="connsiteX103" fmla="*/ 462686 w 944810"/>
                <a:gd name="connsiteY103" fmla="*/ 101447 h 435839"/>
                <a:gd name="connsiteX104" fmla="*/ 463994 w 944810"/>
                <a:gd name="connsiteY104" fmla="*/ 102738 h 435839"/>
                <a:gd name="connsiteX105" fmla="*/ 464979 w 944810"/>
                <a:gd name="connsiteY105" fmla="*/ 104399 h 435839"/>
                <a:gd name="connsiteX106" fmla="*/ 467782 w 944810"/>
                <a:gd name="connsiteY106" fmla="*/ 107736 h 435839"/>
                <a:gd name="connsiteX107" fmla="*/ 469114 w 944810"/>
                <a:gd name="connsiteY107" fmla="*/ 111248 h 435839"/>
                <a:gd name="connsiteX108" fmla="*/ 465767 w 944810"/>
                <a:gd name="connsiteY108" fmla="*/ 111618 h 435839"/>
                <a:gd name="connsiteX109" fmla="*/ 461157 w 944810"/>
                <a:gd name="connsiteY109" fmla="*/ 106610 h 435839"/>
                <a:gd name="connsiteX110" fmla="*/ 457397 w 944810"/>
                <a:gd name="connsiteY110" fmla="*/ 103756 h 435839"/>
                <a:gd name="connsiteX111" fmla="*/ 452664 w 944810"/>
                <a:gd name="connsiteY111" fmla="*/ 101317 h 435839"/>
                <a:gd name="connsiteX112" fmla="*/ 448833 w 944810"/>
                <a:gd name="connsiteY112" fmla="*/ 101196 h 435839"/>
                <a:gd name="connsiteX113" fmla="*/ 447110 w 944810"/>
                <a:gd name="connsiteY113" fmla="*/ 100133 h 435839"/>
                <a:gd name="connsiteX114" fmla="*/ 440904 w 944810"/>
                <a:gd name="connsiteY114" fmla="*/ 91342 h 435839"/>
                <a:gd name="connsiteX115" fmla="*/ 439760 w 944810"/>
                <a:gd name="connsiteY115" fmla="*/ 89311 h 435839"/>
                <a:gd name="connsiteX116" fmla="*/ 436212 w 944810"/>
                <a:gd name="connsiteY116" fmla="*/ 86034 h 435839"/>
                <a:gd name="connsiteX117" fmla="*/ 434646 w 944810"/>
                <a:gd name="connsiteY117" fmla="*/ 81955 h 435839"/>
                <a:gd name="connsiteX118" fmla="*/ 839024 w 944810"/>
                <a:gd name="connsiteY118" fmla="*/ 75433 h 435839"/>
                <a:gd name="connsiteX119" fmla="*/ 843487 w 944810"/>
                <a:gd name="connsiteY119" fmla="*/ 78311 h 435839"/>
                <a:gd name="connsiteX120" fmla="*/ 850084 w 944810"/>
                <a:gd name="connsiteY120" fmla="*/ 78619 h 435839"/>
                <a:gd name="connsiteX121" fmla="*/ 856711 w 944810"/>
                <a:gd name="connsiteY121" fmla="*/ 77843 h 435839"/>
                <a:gd name="connsiteX122" fmla="*/ 857851 w 944810"/>
                <a:gd name="connsiteY122" fmla="*/ 78669 h 435839"/>
                <a:gd name="connsiteX123" fmla="*/ 849313 w 944810"/>
                <a:gd name="connsiteY123" fmla="*/ 81242 h 435839"/>
                <a:gd name="connsiteX124" fmla="*/ 839818 w 944810"/>
                <a:gd name="connsiteY124" fmla="*/ 79875 h 435839"/>
                <a:gd name="connsiteX125" fmla="*/ 831269 w 944810"/>
                <a:gd name="connsiteY125" fmla="*/ 79527 h 435839"/>
                <a:gd name="connsiteX126" fmla="*/ 821172 w 944810"/>
                <a:gd name="connsiteY126" fmla="*/ 82384 h 435839"/>
                <a:gd name="connsiteX127" fmla="*/ 817881 w 944810"/>
                <a:gd name="connsiteY127" fmla="*/ 81240 h 435839"/>
                <a:gd name="connsiteX128" fmla="*/ 823010 w 944810"/>
                <a:gd name="connsiteY128" fmla="*/ 78488 h 435839"/>
                <a:gd name="connsiteX129" fmla="*/ 828605 w 944810"/>
                <a:gd name="connsiteY129" fmla="*/ 77578 h 435839"/>
                <a:gd name="connsiteX130" fmla="*/ 829505 w 944810"/>
                <a:gd name="connsiteY130" fmla="*/ 75894 h 435839"/>
                <a:gd name="connsiteX131" fmla="*/ 831636 w 944810"/>
                <a:gd name="connsiteY131" fmla="*/ 75605 h 435839"/>
                <a:gd name="connsiteX132" fmla="*/ 563538 w 944810"/>
                <a:gd name="connsiteY132" fmla="*/ 21614 h 435839"/>
                <a:gd name="connsiteX133" fmla="*/ 566576 w 944810"/>
                <a:gd name="connsiteY133" fmla="*/ 23234 h 435839"/>
                <a:gd name="connsiteX134" fmla="*/ 572385 w 944810"/>
                <a:gd name="connsiteY134" fmla="*/ 28967 h 435839"/>
                <a:gd name="connsiteX135" fmla="*/ 573529 w 944810"/>
                <a:gd name="connsiteY135" fmla="*/ 29065 h 435839"/>
                <a:gd name="connsiteX136" fmla="*/ 574646 w 944810"/>
                <a:gd name="connsiteY136" fmla="*/ 28530 h 435839"/>
                <a:gd name="connsiteX137" fmla="*/ 575455 w 944810"/>
                <a:gd name="connsiteY137" fmla="*/ 27119 h 435839"/>
                <a:gd name="connsiteX138" fmla="*/ 576358 w 944810"/>
                <a:gd name="connsiteY138" fmla="*/ 26339 h 435839"/>
                <a:gd name="connsiteX139" fmla="*/ 581953 w 944810"/>
                <a:gd name="connsiteY139" fmla="*/ 27254 h 435839"/>
                <a:gd name="connsiteX140" fmla="*/ 589887 w 944810"/>
                <a:gd name="connsiteY140" fmla="*/ 30077 h 435839"/>
                <a:gd name="connsiteX141" fmla="*/ 592243 w 944810"/>
                <a:gd name="connsiteY141" fmla="*/ 31466 h 435839"/>
                <a:gd name="connsiteX142" fmla="*/ 595555 w 944810"/>
                <a:gd name="connsiteY142" fmla="*/ 34326 h 435839"/>
                <a:gd name="connsiteX143" fmla="*/ 598243 w 944810"/>
                <a:gd name="connsiteY143" fmla="*/ 39125 h 435839"/>
                <a:gd name="connsiteX144" fmla="*/ 596112 w 944810"/>
                <a:gd name="connsiteY144" fmla="*/ 42584 h 435839"/>
                <a:gd name="connsiteX145" fmla="*/ 593301 w 944810"/>
                <a:gd name="connsiteY145" fmla="*/ 45850 h 435839"/>
                <a:gd name="connsiteX146" fmla="*/ 592303 w 944810"/>
                <a:gd name="connsiteY146" fmla="*/ 47652 h 435839"/>
                <a:gd name="connsiteX147" fmla="*/ 593331 w 944810"/>
                <a:gd name="connsiteY147" fmla="*/ 50239 h 435839"/>
                <a:gd name="connsiteX148" fmla="*/ 592912 w 944810"/>
                <a:gd name="connsiteY148" fmla="*/ 52751 h 435839"/>
                <a:gd name="connsiteX149" fmla="*/ 591888 w 944810"/>
                <a:gd name="connsiteY149" fmla="*/ 54975 h 435839"/>
                <a:gd name="connsiteX150" fmla="*/ 596140 w 944810"/>
                <a:gd name="connsiteY150" fmla="*/ 52439 h 435839"/>
                <a:gd name="connsiteX151" fmla="*/ 605229 w 944810"/>
                <a:gd name="connsiteY151" fmla="*/ 44302 h 435839"/>
                <a:gd name="connsiteX152" fmla="*/ 606583 w 944810"/>
                <a:gd name="connsiteY152" fmla="*/ 43798 h 435839"/>
                <a:gd name="connsiteX153" fmla="*/ 607999 w 944810"/>
                <a:gd name="connsiteY153" fmla="*/ 44073 h 435839"/>
                <a:gd name="connsiteX154" fmla="*/ 612070 w 944810"/>
                <a:gd name="connsiteY154" fmla="*/ 45748 h 435839"/>
                <a:gd name="connsiteX155" fmla="*/ 615763 w 944810"/>
                <a:gd name="connsiteY155" fmla="*/ 49899 h 435839"/>
                <a:gd name="connsiteX156" fmla="*/ 616576 w 944810"/>
                <a:gd name="connsiteY156" fmla="*/ 51270 h 435839"/>
                <a:gd name="connsiteX157" fmla="*/ 617240 w 944810"/>
                <a:gd name="connsiteY157" fmla="*/ 52955 h 435839"/>
                <a:gd name="connsiteX158" fmla="*/ 617620 w 944810"/>
                <a:gd name="connsiteY158" fmla="*/ 55033 h 435839"/>
                <a:gd name="connsiteX159" fmla="*/ 617410 w 944810"/>
                <a:gd name="connsiteY159" fmla="*/ 57415 h 435839"/>
                <a:gd name="connsiteX160" fmla="*/ 617067 w 944810"/>
                <a:gd name="connsiteY160" fmla="*/ 59072 h 435839"/>
                <a:gd name="connsiteX161" fmla="*/ 615134 w 944810"/>
                <a:gd name="connsiteY161" fmla="*/ 60145 h 435839"/>
                <a:gd name="connsiteX162" fmla="*/ 614201 w 944810"/>
                <a:gd name="connsiteY162" fmla="*/ 61122 h 435839"/>
                <a:gd name="connsiteX163" fmla="*/ 616289 w 944810"/>
                <a:gd name="connsiteY163" fmla="*/ 61194 h 435839"/>
                <a:gd name="connsiteX164" fmla="*/ 618673 w 944810"/>
                <a:gd name="connsiteY164" fmla="*/ 62477 h 435839"/>
                <a:gd name="connsiteX165" fmla="*/ 620861 w 944810"/>
                <a:gd name="connsiteY165" fmla="*/ 65196 h 435839"/>
                <a:gd name="connsiteX166" fmla="*/ 623303 w 944810"/>
                <a:gd name="connsiteY166" fmla="*/ 66286 h 435839"/>
                <a:gd name="connsiteX167" fmla="*/ 632165 w 944810"/>
                <a:gd name="connsiteY167" fmla="*/ 65367 h 435839"/>
                <a:gd name="connsiteX168" fmla="*/ 637929 w 944810"/>
                <a:gd name="connsiteY168" fmla="*/ 66788 h 435839"/>
                <a:gd name="connsiteX169" fmla="*/ 641083 w 944810"/>
                <a:gd name="connsiteY169" fmla="*/ 71246 h 435839"/>
                <a:gd name="connsiteX170" fmla="*/ 645953 w 944810"/>
                <a:gd name="connsiteY170" fmla="*/ 70238 h 435839"/>
                <a:gd name="connsiteX171" fmla="*/ 645968 w 944810"/>
                <a:gd name="connsiteY171" fmla="*/ 67863 h 435839"/>
                <a:gd name="connsiteX172" fmla="*/ 647035 w 944810"/>
                <a:gd name="connsiteY172" fmla="*/ 66846 h 435839"/>
                <a:gd name="connsiteX173" fmla="*/ 653569 w 944810"/>
                <a:gd name="connsiteY173" fmla="*/ 67654 h 435839"/>
                <a:gd name="connsiteX174" fmla="*/ 656948 w 944810"/>
                <a:gd name="connsiteY174" fmla="*/ 68766 h 435839"/>
                <a:gd name="connsiteX175" fmla="*/ 660401 w 944810"/>
                <a:gd name="connsiteY175" fmla="*/ 71102 h 435839"/>
                <a:gd name="connsiteX176" fmla="*/ 654508 w 944810"/>
                <a:gd name="connsiteY176" fmla="*/ 74916 h 435839"/>
                <a:gd name="connsiteX177" fmla="*/ 659365 w 944810"/>
                <a:gd name="connsiteY177" fmla="*/ 78574 h 435839"/>
                <a:gd name="connsiteX178" fmla="*/ 667531 w 944810"/>
                <a:gd name="connsiteY178" fmla="*/ 81216 h 435839"/>
                <a:gd name="connsiteX179" fmla="*/ 672453 w 944810"/>
                <a:gd name="connsiteY179" fmla="*/ 83987 h 435839"/>
                <a:gd name="connsiteX180" fmla="*/ 673345 w 944810"/>
                <a:gd name="connsiteY180" fmla="*/ 85149 h 435839"/>
                <a:gd name="connsiteX181" fmla="*/ 674146 w 944810"/>
                <a:gd name="connsiteY181" fmla="*/ 86688 h 435839"/>
                <a:gd name="connsiteX182" fmla="*/ 670944 w 944810"/>
                <a:gd name="connsiteY182" fmla="*/ 88684 h 435839"/>
                <a:gd name="connsiteX183" fmla="*/ 667678 w 944810"/>
                <a:gd name="connsiteY183" fmla="*/ 89809 h 435839"/>
                <a:gd name="connsiteX184" fmla="*/ 659464 w 944810"/>
                <a:gd name="connsiteY184" fmla="*/ 90002 h 435839"/>
                <a:gd name="connsiteX185" fmla="*/ 651995 w 944810"/>
                <a:gd name="connsiteY185" fmla="*/ 91413 h 435839"/>
                <a:gd name="connsiteX186" fmla="*/ 638324 w 944810"/>
                <a:gd name="connsiteY186" fmla="*/ 92411 h 435839"/>
                <a:gd name="connsiteX187" fmla="*/ 636290 w 944810"/>
                <a:gd name="connsiteY187" fmla="*/ 93049 h 435839"/>
                <a:gd name="connsiteX188" fmla="*/ 635808 w 944810"/>
                <a:gd name="connsiteY188" fmla="*/ 93617 h 435839"/>
                <a:gd name="connsiteX189" fmla="*/ 635003 w 944810"/>
                <a:gd name="connsiteY189" fmla="*/ 95348 h 435839"/>
                <a:gd name="connsiteX190" fmla="*/ 629742 w 944810"/>
                <a:gd name="connsiteY190" fmla="*/ 99335 h 435839"/>
                <a:gd name="connsiteX191" fmla="*/ 624653 w 944810"/>
                <a:gd name="connsiteY191" fmla="*/ 104182 h 435839"/>
                <a:gd name="connsiteX192" fmla="*/ 622556 w 944810"/>
                <a:gd name="connsiteY192" fmla="*/ 107094 h 435839"/>
                <a:gd name="connsiteX193" fmla="*/ 620967 w 944810"/>
                <a:gd name="connsiteY193" fmla="*/ 111168 h 435839"/>
                <a:gd name="connsiteX194" fmla="*/ 620388 w 944810"/>
                <a:gd name="connsiteY194" fmla="*/ 113652 h 435839"/>
                <a:gd name="connsiteX195" fmla="*/ 621517 w 944810"/>
                <a:gd name="connsiteY195" fmla="*/ 116057 h 435839"/>
                <a:gd name="connsiteX196" fmla="*/ 621217 w 944810"/>
                <a:gd name="connsiteY196" fmla="*/ 118488 h 435839"/>
                <a:gd name="connsiteX197" fmla="*/ 617391 w 944810"/>
                <a:gd name="connsiteY197" fmla="*/ 120391 h 435839"/>
                <a:gd name="connsiteX198" fmla="*/ 614964 w 944810"/>
                <a:gd name="connsiteY198" fmla="*/ 120468 h 435839"/>
                <a:gd name="connsiteX199" fmla="*/ 611919 w 944810"/>
                <a:gd name="connsiteY199" fmla="*/ 120090 h 435839"/>
                <a:gd name="connsiteX200" fmla="*/ 608926 w 944810"/>
                <a:gd name="connsiteY200" fmla="*/ 121186 h 435839"/>
                <a:gd name="connsiteX201" fmla="*/ 608736 w 944810"/>
                <a:gd name="connsiteY201" fmla="*/ 122832 h 435839"/>
                <a:gd name="connsiteX202" fmla="*/ 608913 w 944810"/>
                <a:gd name="connsiteY202" fmla="*/ 125146 h 435839"/>
                <a:gd name="connsiteX203" fmla="*/ 608146 w 944810"/>
                <a:gd name="connsiteY203" fmla="*/ 132190 h 435839"/>
                <a:gd name="connsiteX204" fmla="*/ 607216 w 944810"/>
                <a:gd name="connsiteY204" fmla="*/ 137482 h 435839"/>
                <a:gd name="connsiteX205" fmla="*/ 605819 w 944810"/>
                <a:gd name="connsiteY205" fmla="*/ 142384 h 435839"/>
                <a:gd name="connsiteX206" fmla="*/ 604253 w 944810"/>
                <a:gd name="connsiteY206" fmla="*/ 145023 h 435839"/>
                <a:gd name="connsiteX207" fmla="*/ 602251 w 944810"/>
                <a:gd name="connsiteY207" fmla="*/ 145757 h 435839"/>
                <a:gd name="connsiteX208" fmla="*/ 595832 w 944810"/>
                <a:gd name="connsiteY208" fmla="*/ 146240 h 435839"/>
                <a:gd name="connsiteX209" fmla="*/ 590884 w 944810"/>
                <a:gd name="connsiteY209" fmla="*/ 150822 h 435839"/>
                <a:gd name="connsiteX210" fmla="*/ 586885 w 944810"/>
                <a:gd name="connsiteY210" fmla="*/ 158983 h 435839"/>
                <a:gd name="connsiteX211" fmla="*/ 584810 w 944810"/>
                <a:gd name="connsiteY211" fmla="*/ 162177 h 435839"/>
                <a:gd name="connsiteX212" fmla="*/ 580474 w 944810"/>
                <a:gd name="connsiteY212" fmla="*/ 167209 h 435839"/>
                <a:gd name="connsiteX213" fmla="*/ 581256 w 944810"/>
                <a:gd name="connsiteY213" fmla="*/ 168990 h 435839"/>
                <a:gd name="connsiteX214" fmla="*/ 582607 w 944810"/>
                <a:gd name="connsiteY214" fmla="*/ 170917 h 435839"/>
                <a:gd name="connsiteX215" fmla="*/ 580241 w 944810"/>
                <a:gd name="connsiteY215" fmla="*/ 174364 h 435839"/>
                <a:gd name="connsiteX216" fmla="*/ 576585 w 944810"/>
                <a:gd name="connsiteY216" fmla="*/ 178222 h 435839"/>
                <a:gd name="connsiteX217" fmla="*/ 576656 w 944810"/>
                <a:gd name="connsiteY217" fmla="*/ 179712 h 435839"/>
                <a:gd name="connsiteX218" fmla="*/ 577887 w 944810"/>
                <a:gd name="connsiteY218" fmla="*/ 182439 h 435839"/>
                <a:gd name="connsiteX219" fmla="*/ 578487 w 944810"/>
                <a:gd name="connsiteY219" fmla="*/ 185270 h 435839"/>
                <a:gd name="connsiteX220" fmla="*/ 575667 w 944810"/>
                <a:gd name="connsiteY220" fmla="*/ 187703 h 435839"/>
                <a:gd name="connsiteX221" fmla="*/ 570478 w 944810"/>
                <a:gd name="connsiteY221" fmla="*/ 188938 h 435839"/>
                <a:gd name="connsiteX222" fmla="*/ 565203 w 944810"/>
                <a:gd name="connsiteY222" fmla="*/ 187557 h 435839"/>
                <a:gd name="connsiteX223" fmla="*/ 562635 w 944810"/>
                <a:gd name="connsiteY223" fmla="*/ 185925 h 435839"/>
                <a:gd name="connsiteX224" fmla="*/ 560254 w 944810"/>
                <a:gd name="connsiteY224" fmla="*/ 183309 h 435839"/>
                <a:gd name="connsiteX225" fmla="*/ 557727 w 944810"/>
                <a:gd name="connsiteY225" fmla="*/ 181600 h 435839"/>
                <a:gd name="connsiteX226" fmla="*/ 555088 w 944810"/>
                <a:gd name="connsiteY226" fmla="*/ 180574 h 435839"/>
                <a:gd name="connsiteX227" fmla="*/ 544967 w 944810"/>
                <a:gd name="connsiteY227" fmla="*/ 174757 h 435839"/>
                <a:gd name="connsiteX228" fmla="*/ 535623 w 944810"/>
                <a:gd name="connsiteY228" fmla="*/ 165524 h 435839"/>
                <a:gd name="connsiteX229" fmla="*/ 527094 w 944810"/>
                <a:gd name="connsiteY229" fmla="*/ 161921 h 435839"/>
                <a:gd name="connsiteX230" fmla="*/ 521531 w 944810"/>
                <a:gd name="connsiteY230" fmla="*/ 160209 h 435839"/>
                <a:gd name="connsiteX231" fmla="*/ 518854 w 944810"/>
                <a:gd name="connsiteY231" fmla="*/ 158551 h 435839"/>
                <a:gd name="connsiteX232" fmla="*/ 516239 w 944810"/>
                <a:gd name="connsiteY232" fmla="*/ 156321 h 435839"/>
                <a:gd name="connsiteX233" fmla="*/ 513978 w 944810"/>
                <a:gd name="connsiteY233" fmla="*/ 153815 h 435839"/>
                <a:gd name="connsiteX234" fmla="*/ 511879 w 944810"/>
                <a:gd name="connsiteY234" fmla="*/ 150641 h 435839"/>
                <a:gd name="connsiteX235" fmla="*/ 510857 w 944810"/>
                <a:gd name="connsiteY235" fmla="*/ 148667 h 435839"/>
                <a:gd name="connsiteX236" fmla="*/ 510670 w 944810"/>
                <a:gd name="connsiteY236" fmla="*/ 145702 h 435839"/>
                <a:gd name="connsiteX237" fmla="*/ 511341 w 944810"/>
                <a:gd name="connsiteY237" fmla="*/ 143960 h 435839"/>
                <a:gd name="connsiteX238" fmla="*/ 512341 w 944810"/>
                <a:gd name="connsiteY238" fmla="*/ 143066 h 435839"/>
                <a:gd name="connsiteX239" fmla="*/ 519115 w 944810"/>
                <a:gd name="connsiteY239" fmla="*/ 142333 h 435839"/>
                <a:gd name="connsiteX240" fmla="*/ 521551 w 944810"/>
                <a:gd name="connsiteY240" fmla="*/ 142748 h 435839"/>
                <a:gd name="connsiteX241" fmla="*/ 523950 w 944810"/>
                <a:gd name="connsiteY241" fmla="*/ 144300 h 435839"/>
                <a:gd name="connsiteX242" fmla="*/ 526133 w 944810"/>
                <a:gd name="connsiteY242" fmla="*/ 144908 h 435839"/>
                <a:gd name="connsiteX243" fmla="*/ 531125 w 944810"/>
                <a:gd name="connsiteY243" fmla="*/ 137173 h 435839"/>
                <a:gd name="connsiteX244" fmla="*/ 559543 w 944810"/>
                <a:gd name="connsiteY244" fmla="*/ 132734 h 435839"/>
                <a:gd name="connsiteX245" fmla="*/ 568679 w 944810"/>
                <a:gd name="connsiteY245" fmla="*/ 131965 h 435839"/>
                <a:gd name="connsiteX246" fmla="*/ 577837 w 944810"/>
                <a:gd name="connsiteY246" fmla="*/ 132011 h 435839"/>
                <a:gd name="connsiteX247" fmla="*/ 576410 w 944810"/>
                <a:gd name="connsiteY247" fmla="*/ 129910 h 435839"/>
                <a:gd name="connsiteX248" fmla="*/ 575201 w 944810"/>
                <a:gd name="connsiteY248" fmla="*/ 127244 h 435839"/>
                <a:gd name="connsiteX249" fmla="*/ 573849 w 944810"/>
                <a:gd name="connsiteY249" fmla="*/ 126597 h 435839"/>
                <a:gd name="connsiteX250" fmla="*/ 566922 w 944810"/>
                <a:gd name="connsiteY250" fmla="*/ 128090 h 435839"/>
                <a:gd name="connsiteX251" fmla="*/ 556317 w 944810"/>
                <a:gd name="connsiteY251" fmla="*/ 129664 h 435839"/>
                <a:gd name="connsiteX252" fmla="*/ 551149 w 944810"/>
                <a:gd name="connsiteY252" fmla="*/ 129666 h 435839"/>
                <a:gd name="connsiteX253" fmla="*/ 545820 w 944810"/>
                <a:gd name="connsiteY253" fmla="*/ 128617 h 435839"/>
                <a:gd name="connsiteX254" fmla="*/ 540502 w 944810"/>
                <a:gd name="connsiteY254" fmla="*/ 129195 h 435839"/>
                <a:gd name="connsiteX255" fmla="*/ 535019 w 944810"/>
                <a:gd name="connsiteY255" fmla="*/ 131473 h 435839"/>
                <a:gd name="connsiteX256" fmla="*/ 529491 w 944810"/>
                <a:gd name="connsiteY256" fmla="*/ 132915 h 435839"/>
                <a:gd name="connsiteX257" fmla="*/ 524118 w 944810"/>
                <a:gd name="connsiteY257" fmla="*/ 133494 h 435839"/>
                <a:gd name="connsiteX258" fmla="*/ 512753 w 944810"/>
                <a:gd name="connsiteY258" fmla="*/ 133260 h 435839"/>
                <a:gd name="connsiteX259" fmla="*/ 509935 w 944810"/>
                <a:gd name="connsiteY259" fmla="*/ 132081 h 435839"/>
                <a:gd name="connsiteX260" fmla="*/ 506146 w 944810"/>
                <a:gd name="connsiteY260" fmla="*/ 129346 h 435839"/>
                <a:gd name="connsiteX261" fmla="*/ 505228 w 944810"/>
                <a:gd name="connsiteY261" fmla="*/ 127943 h 435839"/>
                <a:gd name="connsiteX262" fmla="*/ 504444 w 944810"/>
                <a:gd name="connsiteY262" fmla="*/ 126223 h 435839"/>
                <a:gd name="connsiteX263" fmla="*/ 503701 w 944810"/>
                <a:gd name="connsiteY263" fmla="*/ 121039 h 435839"/>
                <a:gd name="connsiteX264" fmla="*/ 504522 w 944810"/>
                <a:gd name="connsiteY264" fmla="*/ 119630 h 435839"/>
                <a:gd name="connsiteX265" fmla="*/ 505681 w 944810"/>
                <a:gd name="connsiteY265" fmla="*/ 118818 h 435839"/>
                <a:gd name="connsiteX266" fmla="*/ 506873 w 944810"/>
                <a:gd name="connsiteY266" fmla="*/ 118320 h 435839"/>
                <a:gd name="connsiteX267" fmla="*/ 509370 w 944810"/>
                <a:gd name="connsiteY267" fmla="*/ 118294 h 435839"/>
                <a:gd name="connsiteX268" fmla="*/ 511820 w 944810"/>
                <a:gd name="connsiteY268" fmla="*/ 119189 h 435839"/>
                <a:gd name="connsiteX269" fmla="*/ 517558 w 944810"/>
                <a:gd name="connsiteY269" fmla="*/ 122139 h 435839"/>
                <a:gd name="connsiteX270" fmla="*/ 516252 w 944810"/>
                <a:gd name="connsiteY270" fmla="*/ 118972 h 435839"/>
                <a:gd name="connsiteX271" fmla="*/ 532760 w 944810"/>
                <a:gd name="connsiteY271" fmla="*/ 115150 h 435839"/>
                <a:gd name="connsiteX272" fmla="*/ 540426 w 944810"/>
                <a:gd name="connsiteY272" fmla="*/ 111805 h 435839"/>
                <a:gd name="connsiteX273" fmla="*/ 544363 w 944810"/>
                <a:gd name="connsiteY273" fmla="*/ 111241 h 435839"/>
                <a:gd name="connsiteX274" fmla="*/ 548312 w 944810"/>
                <a:gd name="connsiteY274" fmla="*/ 111487 h 435839"/>
                <a:gd name="connsiteX275" fmla="*/ 547442 w 944810"/>
                <a:gd name="connsiteY275" fmla="*/ 109704 h 435839"/>
                <a:gd name="connsiteX276" fmla="*/ 547407 w 944810"/>
                <a:gd name="connsiteY276" fmla="*/ 108053 h 435839"/>
                <a:gd name="connsiteX277" fmla="*/ 550210 w 944810"/>
                <a:gd name="connsiteY277" fmla="*/ 106704 h 435839"/>
                <a:gd name="connsiteX278" fmla="*/ 552233 w 944810"/>
                <a:gd name="connsiteY278" fmla="*/ 106123 h 435839"/>
                <a:gd name="connsiteX279" fmla="*/ 558312 w 944810"/>
                <a:gd name="connsiteY279" fmla="*/ 105460 h 435839"/>
                <a:gd name="connsiteX280" fmla="*/ 572169 w 944810"/>
                <a:gd name="connsiteY280" fmla="*/ 105577 h 435839"/>
                <a:gd name="connsiteX281" fmla="*/ 577166 w 944810"/>
                <a:gd name="connsiteY281" fmla="*/ 104665 h 435839"/>
                <a:gd name="connsiteX282" fmla="*/ 580903 w 944810"/>
                <a:gd name="connsiteY282" fmla="*/ 102361 h 435839"/>
                <a:gd name="connsiteX283" fmla="*/ 576920 w 944810"/>
                <a:gd name="connsiteY283" fmla="*/ 103164 h 435839"/>
                <a:gd name="connsiteX284" fmla="*/ 572927 w 944810"/>
                <a:gd name="connsiteY284" fmla="*/ 103320 h 435839"/>
                <a:gd name="connsiteX285" fmla="*/ 571055 w 944810"/>
                <a:gd name="connsiteY285" fmla="*/ 102842 h 435839"/>
                <a:gd name="connsiteX286" fmla="*/ 566826 w 944810"/>
                <a:gd name="connsiteY286" fmla="*/ 100829 h 435839"/>
                <a:gd name="connsiteX287" fmla="*/ 564909 w 944810"/>
                <a:gd name="connsiteY287" fmla="*/ 98185 h 435839"/>
                <a:gd name="connsiteX288" fmla="*/ 570392 w 944810"/>
                <a:gd name="connsiteY288" fmla="*/ 92888 h 435839"/>
                <a:gd name="connsiteX289" fmla="*/ 572294 w 944810"/>
                <a:gd name="connsiteY289" fmla="*/ 90424 h 435839"/>
                <a:gd name="connsiteX290" fmla="*/ 566719 w 944810"/>
                <a:gd name="connsiteY290" fmla="*/ 90780 h 435839"/>
                <a:gd name="connsiteX291" fmla="*/ 564857 w 944810"/>
                <a:gd name="connsiteY291" fmla="*/ 91643 h 435839"/>
                <a:gd name="connsiteX292" fmla="*/ 558472 w 944810"/>
                <a:gd name="connsiteY292" fmla="*/ 96512 h 435839"/>
                <a:gd name="connsiteX293" fmla="*/ 553752 w 944810"/>
                <a:gd name="connsiteY293" fmla="*/ 98695 h 435839"/>
                <a:gd name="connsiteX294" fmla="*/ 547928 w 944810"/>
                <a:gd name="connsiteY294" fmla="*/ 99743 h 435839"/>
                <a:gd name="connsiteX295" fmla="*/ 542106 w 944810"/>
                <a:gd name="connsiteY295" fmla="*/ 99651 h 435839"/>
                <a:gd name="connsiteX296" fmla="*/ 540836 w 944810"/>
                <a:gd name="connsiteY296" fmla="*/ 98959 h 435839"/>
                <a:gd name="connsiteX297" fmla="*/ 539055 w 944810"/>
                <a:gd name="connsiteY297" fmla="*/ 95738 h 435839"/>
                <a:gd name="connsiteX298" fmla="*/ 538497 w 944810"/>
                <a:gd name="connsiteY298" fmla="*/ 94043 h 435839"/>
                <a:gd name="connsiteX299" fmla="*/ 538735 w 944810"/>
                <a:gd name="connsiteY299" fmla="*/ 93110 h 435839"/>
                <a:gd name="connsiteX300" fmla="*/ 540579 w 944810"/>
                <a:gd name="connsiteY300" fmla="*/ 90448 h 435839"/>
                <a:gd name="connsiteX301" fmla="*/ 541536 w 944810"/>
                <a:gd name="connsiteY301" fmla="*/ 87625 h 435839"/>
                <a:gd name="connsiteX302" fmla="*/ 541372 w 944810"/>
                <a:gd name="connsiteY302" fmla="*/ 85190 h 435839"/>
                <a:gd name="connsiteX303" fmla="*/ 540013 w 944810"/>
                <a:gd name="connsiteY303" fmla="*/ 84702 h 435839"/>
                <a:gd name="connsiteX304" fmla="*/ 537858 w 944810"/>
                <a:gd name="connsiteY304" fmla="*/ 87083 h 435839"/>
                <a:gd name="connsiteX305" fmla="*/ 535913 w 944810"/>
                <a:gd name="connsiteY305" fmla="*/ 90393 h 435839"/>
                <a:gd name="connsiteX306" fmla="*/ 533237 w 944810"/>
                <a:gd name="connsiteY306" fmla="*/ 92051 h 435839"/>
                <a:gd name="connsiteX307" fmla="*/ 530484 w 944810"/>
                <a:gd name="connsiteY307" fmla="*/ 91599 h 435839"/>
                <a:gd name="connsiteX308" fmla="*/ 529309 w 944810"/>
                <a:gd name="connsiteY308" fmla="*/ 90330 h 435839"/>
                <a:gd name="connsiteX309" fmla="*/ 528286 w 944810"/>
                <a:gd name="connsiteY309" fmla="*/ 88385 h 435839"/>
                <a:gd name="connsiteX310" fmla="*/ 527206 w 944810"/>
                <a:gd name="connsiteY310" fmla="*/ 87637 h 435839"/>
                <a:gd name="connsiteX311" fmla="*/ 526006 w 944810"/>
                <a:gd name="connsiteY311" fmla="*/ 87637 h 435839"/>
                <a:gd name="connsiteX312" fmla="*/ 523537 w 944810"/>
                <a:gd name="connsiteY312" fmla="*/ 88414 h 435839"/>
                <a:gd name="connsiteX313" fmla="*/ 521095 w 944810"/>
                <a:gd name="connsiteY313" fmla="*/ 89852 h 435839"/>
                <a:gd name="connsiteX314" fmla="*/ 521937 w 944810"/>
                <a:gd name="connsiteY314" fmla="*/ 92032 h 435839"/>
                <a:gd name="connsiteX315" fmla="*/ 522162 w 944810"/>
                <a:gd name="connsiteY315" fmla="*/ 94456 h 435839"/>
                <a:gd name="connsiteX316" fmla="*/ 521108 w 944810"/>
                <a:gd name="connsiteY316" fmla="*/ 96377 h 435839"/>
                <a:gd name="connsiteX317" fmla="*/ 520313 w 944810"/>
                <a:gd name="connsiteY317" fmla="*/ 98721 h 435839"/>
                <a:gd name="connsiteX318" fmla="*/ 522829 w 944810"/>
                <a:gd name="connsiteY318" fmla="*/ 100196 h 435839"/>
                <a:gd name="connsiteX319" fmla="*/ 524878 w 944810"/>
                <a:gd name="connsiteY319" fmla="*/ 102484 h 435839"/>
                <a:gd name="connsiteX320" fmla="*/ 521810 w 944810"/>
                <a:gd name="connsiteY320" fmla="*/ 103556 h 435839"/>
                <a:gd name="connsiteX321" fmla="*/ 518798 w 944810"/>
                <a:gd name="connsiteY321" fmla="*/ 105121 h 435839"/>
                <a:gd name="connsiteX322" fmla="*/ 516033 w 944810"/>
                <a:gd name="connsiteY322" fmla="*/ 107531 h 435839"/>
                <a:gd name="connsiteX323" fmla="*/ 513207 w 944810"/>
                <a:gd name="connsiteY323" fmla="*/ 109406 h 435839"/>
                <a:gd name="connsiteX324" fmla="*/ 508722 w 944810"/>
                <a:gd name="connsiteY324" fmla="*/ 109605 h 435839"/>
                <a:gd name="connsiteX325" fmla="*/ 503135 w 944810"/>
                <a:gd name="connsiteY325" fmla="*/ 110643 h 435839"/>
                <a:gd name="connsiteX326" fmla="*/ 491974 w 944810"/>
                <a:gd name="connsiteY326" fmla="*/ 111010 h 435839"/>
                <a:gd name="connsiteX327" fmla="*/ 486724 w 944810"/>
                <a:gd name="connsiteY327" fmla="*/ 107955 h 435839"/>
                <a:gd name="connsiteX328" fmla="*/ 485767 w 944810"/>
                <a:gd name="connsiteY328" fmla="*/ 106502 h 435839"/>
                <a:gd name="connsiteX329" fmla="*/ 484720 w 944810"/>
                <a:gd name="connsiteY329" fmla="*/ 105528 h 435839"/>
                <a:gd name="connsiteX330" fmla="*/ 481237 w 944810"/>
                <a:gd name="connsiteY330" fmla="*/ 103923 h 435839"/>
                <a:gd name="connsiteX331" fmla="*/ 476154 w 944810"/>
                <a:gd name="connsiteY331" fmla="*/ 99181 h 435839"/>
                <a:gd name="connsiteX332" fmla="*/ 472243 w 944810"/>
                <a:gd name="connsiteY332" fmla="*/ 93771 h 435839"/>
                <a:gd name="connsiteX333" fmla="*/ 469598 w 944810"/>
                <a:gd name="connsiteY333" fmla="*/ 93246 h 435839"/>
                <a:gd name="connsiteX334" fmla="*/ 465694 w 944810"/>
                <a:gd name="connsiteY334" fmla="*/ 91456 h 435839"/>
                <a:gd name="connsiteX335" fmla="*/ 463567 w 944810"/>
                <a:gd name="connsiteY335" fmla="*/ 89909 h 435839"/>
                <a:gd name="connsiteX336" fmla="*/ 461539 w 944810"/>
                <a:gd name="connsiteY336" fmla="*/ 87857 h 435839"/>
                <a:gd name="connsiteX337" fmla="*/ 460930 w 944810"/>
                <a:gd name="connsiteY337" fmla="*/ 85430 h 435839"/>
                <a:gd name="connsiteX338" fmla="*/ 461127 w 944810"/>
                <a:gd name="connsiteY338" fmla="*/ 83216 h 435839"/>
                <a:gd name="connsiteX339" fmla="*/ 463468 w 944810"/>
                <a:gd name="connsiteY339" fmla="*/ 82229 h 435839"/>
                <a:gd name="connsiteX340" fmla="*/ 457940 w 944810"/>
                <a:gd name="connsiteY340" fmla="*/ 79735 h 435839"/>
                <a:gd name="connsiteX341" fmla="*/ 452509 w 944810"/>
                <a:gd name="connsiteY341" fmla="*/ 76435 h 435839"/>
                <a:gd name="connsiteX342" fmla="*/ 454515 w 944810"/>
                <a:gd name="connsiteY342" fmla="*/ 75327 h 435839"/>
                <a:gd name="connsiteX343" fmla="*/ 456536 w 944810"/>
                <a:gd name="connsiteY343" fmla="*/ 74839 h 435839"/>
                <a:gd name="connsiteX344" fmla="*/ 472619 w 944810"/>
                <a:gd name="connsiteY344" fmla="*/ 78681 h 435839"/>
                <a:gd name="connsiteX345" fmla="*/ 473692 w 944810"/>
                <a:gd name="connsiteY345" fmla="*/ 78203 h 435839"/>
                <a:gd name="connsiteX346" fmla="*/ 475459 w 944810"/>
                <a:gd name="connsiteY346" fmla="*/ 76296 h 435839"/>
                <a:gd name="connsiteX347" fmla="*/ 474832 w 944810"/>
                <a:gd name="connsiteY347" fmla="*/ 75653 h 435839"/>
                <a:gd name="connsiteX348" fmla="*/ 472138 w 944810"/>
                <a:gd name="connsiteY348" fmla="*/ 75213 h 435839"/>
                <a:gd name="connsiteX349" fmla="*/ 468471 w 944810"/>
                <a:gd name="connsiteY349" fmla="*/ 75225 h 435839"/>
                <a:gd name="connsiteX350" fmla="*/ 467553 w 944810"/>
                <a:gd name="connsiteY350" fmla="*/ 74830 h 435839"/>
                <a:gd name="connsiteX351" fmla="*/ 466139 w 944810"/>
                <a:gd name="connsiteY351" fmla="*/ 72763 h 435839"/>
                <a:gd name="connsiteX352" fmla="*/ 464897 w 944810"/>
                <a:gd name="connsiteY352" fmla="*/ 70211 h 435839"/>
                <a:gd name="connsiteX353" fmla="*/ 464372 w 944810"/>
                <a:gd name="connsiteY353" fmla="*/ 68509 h 435839"/>
                <a:gd name="connsiteX354" fmla="*/ 464169 w 944810"/>
                <a:gd name="connsiteY354" fmla="*/ 66517 h 435839"/>
                <a:gd name="connsiteX355" fmla="*/ 466897 w 944810"/>
                <a:gd name="connsiteY355" fmla="*/ 63522 h 435839"/>
                <a:gd name="connsiteX356" fmla="*/ 468397 w 944810"/>
                <a:gd name="connsiteY356" fmla="*/ 60835 h 435839"/>
                <a:gd name="connsiteX357" fmla="*/ 466061 w 944810"/>
                <a:gd name="connsiteY357" fmla="*/ 59592 h 435839"/>
                <a:gd name="connsiteX358" fmla="*/ 459449 w 944810"/>
                <a:gd name="connsiteY358" fmla="*/ 59667 h 435839"/>
                <a:gd name="connsiteX359" fmla="*/ 457249 w 944810"/>
                <a:gd name="connsiteY359" fmla="*/ 60046 h 435839"/>
                <a:gd name="connsiteX360" fmla="*/ 458058 w 944810"/>
                <a:gd name="connsiteY360" fmla="*/ 63908 h 435839"/>
                <a:gd name="connsiteX361" fmla="*/ 455953 w 944810"/>
                <a:gd name="connsiteY361" fmla="*/ 66569 h 435839"/>
                <a:gd name="connsiteX362" fmla="*/ 451921 w 944810"/>
                <a:gd name="connsiteY362" fmla="*/ 68644 h 435839"/>
                <a:gd name="connsiteX363" fmla="*/ 449030 w 944810"/>
                <a:gd name="connsiteY363" fmla="*/ 67634 h 435839"/>
                <a:gd name="connsiteX364" fmla="*/ 446799 w 944810"/>
                <a:gd name="connsiteY364" fmla="*/ 62542 h 435839"/>
                <a:gd name="connsiteX365" fmla="*/ 443884 w 944810"/>
                <a:gd name="connsiteY365" fmla="*/ 58988 h 435839"/>
                <a:gd name="connsiteX366" fmla="*/ 442787 w 944810"/>
                <a:gd name="connsiteY366" fmla="*/ 56745 h 435839"/>
                <a:gd name="connsiteX367" fmla="*/ 441954 w 944810"/>
                <a:gd name="connsiteY367" fmla="*/ 53512 h 435839"/>
                <a:gd name="connsiteX368" fmla="*/ 440766 w 944810"/>
                <a:gd name="connsiteY368" fmla="*/ 51158 h 435839"/>
                <a:gd name="connsiteX369" fmla="*/ 438626 w 944810"/>
                <a:gd name="connsiteY369" fmla="*/ 48308 h 435839"/>
                <a:gd name="connsiteX370" fmla="*/ 438347 w 944810"/>
                <a:gd name="connsiteY370" fmla="*/ 46548 h 435839"/>
                <a:gd name="connsiteX371" fmla="*/ 438613 w 944810"/>
                <a:gd name="connsiteY371" fmla="*/ 45246 h 435839"/>
                <a:gd name="connsiteX372" fmla="*/ 440243 w 944810"/>
                <a:gd name="connsiteY372" fmla="*/ 42290 h 435839"/>
                <a:gd name="connsiteX373" fmla="*/ 439002 w 944810"/>
                <a:gd name="connsiteY373" fmla="*/ 39820 h 435839"/>
                <a:gd name="connsiteX374" fmla="*/ 437490 w 944810"/>
                <a:gd name="connsiteY374" fmla="*/ 37656 h 435839"/>
                <a:gd name="connsiteX375" fmla="*/ 437399 w 944810"/>
                <a:gd name="connsiteY375" fmla="*/ 36421 h 435839"/>
                <a:gd name="connsiteX376" fmla="*/ 438820 w 944810"/>
                <a:gd name="connsiteY376" fmla="*/ 34897 h 435839"/>
                <a:gd name="connsiteX377" fmla="*/ 440094 w 944810"/>
                <a:gd name="connsiteY377" fmla="*/ 34390 h 435839"/>
                <a:gd name="connsiteX378" fmla="*/ 441463 w 944810"/>
                <a:gd name="connsiteY378" fmla="*/ 34500 h 435839"/>
                <a:gd name="connsiteX379" fmla="*/ 445525 w 944810"/>
                <a:gd name="connsiteY379" fmla="*/ 36319 h 435839"/>
                <a:gd name="connsiteX380" fmla="*/ 447754 w 944810"/>
                <a:gd name="connsiteY380" fmla="*/ 38487 h 435839"/>
                <a:gd name="connsiteX381" fmla="*/ 448525 w 944810"/>
                <a:gd name="connsiteY381" fmla="*/ 38313 h 435839"/>
                <a:gd name="connsiteX382" fmla="*/ 449969 w 944810"/>
                <a:gd name="connsiteY382" fmla="*/ 35087 h 435839"/>
                <a:gd name="connsiteX383" fmla="*/ 452027 w 944810"/>
                <a:gd name="connsiteY383" fmla="*/ 34358 h 435839"/>
                <a:gd name="connsiteX384" fmla="*/ 459958 w 944810"/>
                <a:gd name="connsiteY384" fmla="*/ 33295 h 435839"/>
                <a:gd name="connsiteX385" fmla="*/ 468790 w 944810"/>
                <a:gd name="connsiteY385" fmla="*/ 37458 h 435839"/>
                <a:gd name="connsiteX386" fmla="*/ 471077 w 944810"/>
                <a:gd name="connsiteY386" fmla="*/ 38382 h 435839"/>
                <a:gd name="connsiteX387" fmla="*/ 472904 w 944810"/>
                <a:gd name="connsiteY387" fmla="*/ 38680 h 435839"/>
                <a:gd name="connsiteX388" fmla="*/ 471962 w 944810"/>
                <a:gd name="connsiteY388" fmla="*/ 36835 h 435839"/>
                <a:gd name="connsiteX389" fmla="*/ 471386 w 944810"/>
                <a:gd name="connsiteY389" fmla="*/ 34434 h 435839"/>
                <a:gd name="connsiteX390" fmla="*/ 472731 w 944810"/>
                <a:gd name="connsiteY390" fmla="*/ 33528 h 435839"/>
                <a:gd name="connsiteX391" fmla="*/ 479862 w 944810"/>
                <a:gd name="connsiteY391" fmla="*/ 35670 h 435839"/>
                <a:gd name="connsiteX392" fmla="*/ 483202 w 944810"/>
                <a:gd name="connsiteY392" fmla="*/ 35543 h 435839"/>
                <a:gd name="connsiteX393" fmla="*/ 491030 w 944810"/>
                <a:gd name="connsiteY393" fmla="*/ 32736 h 435839"/>
                <a:gd name="connsiteX394" fmla="*/ 503973 w 944810"/>
                <a:gd name="connsiteY394" fmla="*/ 31267 h 435839"/>
                <a:gd name="connsiteX395" fmla="*/ 508866 w 944810"/>
                <a:gd name="connsiteY395" fmla="*/ 33479 h 435839"/>
                <a:gd name="connsiteX396" fmla="*/ 509121 w 944810"/>
                <a:gd name="connsiteY396" fmla="*/ 34659 h 435839"/>
                <a:gd name="connsiteX397" fmla="*/ 509020 w 944810"/>
                <a:gd name="connsiteY397" fmla="*/ 36248 h 435839"/>
                <a:gd name="connsiteX398" fmla="*/ 508709 w 944810"/>
                <a:gd name="connsiteY398" fmla="*/ 36725 h 435839"/>
                <a:gd name="connsiteX399" fmla="*/ 505846 w 944810"/>
                <a:gd name="connsiteY399" fmla="*/ 38572 h 435839"/>
                <a:gd name="connsiteX400" fmla="*/ 489521 w 944810"/>
                <a:gd name="connsiteY400" fmla="*/ 40079 h 435839"/>
                <a:gd name="connsiteX401" fmla="*/ 478821 w 944810"/>
                <a:gd name="connsiteY401" fmla="*/ 45852 h 435839"/>
                <a:gd name="connsiteX402" fmla="*/ 493410 w 944810"/>
                <a:gd name="connsiteY402" fmla="*/ 44925 h 435839"/>
                <a:gd name="connsiteX403" fmla="*/ 496033 w 944810"/>
                <a:gd name="connsiteY403" fmla="*/ 45587 h 435839"/>
                <a:gd name="connsiteX404" fmla="*/ 497134 w 944810"/>
                <a:gd name="connsiteY404" fmla="*/ 50268 h 435839"/>
                <a:gd name="connsiteX405" fmla="*/ 498197 w 944810"/>
                <a:gd name="connsiteY405" fmla="*/ 50758 h 435839"/>
                <a:gd name="connsiteX406" fmla="*/ 501948 w 944810"/>
                <a:gd name="connsiteY406" fmla="*/ 51437 h 435839"/>
                <a:gd name="connsiteX407" fmla="*/ 504489 w 944810"/>
                <a:gd name="connsiteY407" fmla="*/ 52831 h 435839"/>
                <a:gd name="connsiteX408" fmla="*/ 507087 w 944810"/>
                <a:gd name="connsiteY408" fmla="*/ 55483 h 435839"/>
                <a:gd name="connsiteX409" fmla="*/ 509819 w 944810"/>
                <a:gd name="connsiteY409" fmla="*/ 57268 h 435839"/>
                <a:gd name="connsiteX410" fmla="*/ 511419 w 944810"/>
                <a:gd name="connsiteY410" fmla="*/ 57045 h 435839"/>
                <a:gd name="connsiteX411" fmla="*/ 512000 w 944810"/>
                <a:gd name="connsiteY411" fmla="*/ 55115 h 435839"/>
                <a:gd name="connsiteX412" fmla="*/ 511348 w 944810"/>
                <a:gd name="connsiteY412" fmla="*/ 52824 h 435839"/>
                <a:gd name="connsiteX413" fmla="*/ 511011 w 944810"/>
                <a:gd name="connsiteY413" fmla="*/ 50210 h 435839"/>
                <a:gd name="connsiteX414" fmla="*/ 511203 w 944810"/>
                <a:gd name="connsiteY414" fmla="*/ 47387 h 435839"/>
                <a:gd name="connsiteX415" fmla="*/ 511646 w 944810"/>
                <a:gd name="connsiteY415" fmla="*/ 45047 h 435839"/>
                <a:gd name="connsiteX416" fmla="*/ 514710 w 944810"/>
                <a:gd name="connsiteY416" fmla="*/ 43398 h 435839"/>
                <a:gd name="connsiteX417" fmla="*/ 519162 w 944810"/>
                <a:gd name="connsiteY417" fmla="*/ 38037 h 435839"/>
                <a:gd name="connsiteX418" fmla="*/ 523891 w 944810"/>
                <a:gd name="connsiteY418" fmla="*/ 34392 h 435839"/>
                <a:gd name="connsiteX419" fmla="*/ 529158 w 944810"/>
                <a:gd name="connsiteY419" fmla="*/ 36013 h 435839"/>
                <a:gd name="connsiteX420" fmla="*/ 534034 w 944810"/>
                <a:gd name="connsiteY420" fmla="*/ 40570 h 435839"/>
                <a:gd name="connsiteX421" fmla="*/ 538433 w 944810"/>
                <a:gd name="connsiteY421" fmla="*/ 47049 h 435839"/>
                <a:gd name="connsiteX422" fmla="*/ 542693 w 944810"/>
                <a:gd name="connsiteY422" fmla="*/ 53941 h 435839"/>
                <a:gd name="connsiteX423" fmla="*/ 547474 w 944810"/>
                <a:gd name="connsiteY423" fmla="*/ 62448 h 435839"/>
                <a:gd name="connsiteX424" fmla="*/ 549772 w 944810"/>
                <a:gd name="connsiteY424" fmla="*/ 65436 h 435839"/>
                <a:gd name="connsiteX425" fmla="*/ 551860 w 944810"/>
                <a:gd name="connsiteY425" fmla="*/ 66144 h 435839"/>
                <a:gd name="connsiteX426" fmla="*/ 561501 w 944810"/>
                <a:gd name="connsiteY426" fmla="*/ 74932 h 435839"/>
                <a:gd name="connsiteX427" fmla="*/ 562590 w 944810"/>
                <a:gd name="connsiteY427" fmla="*/ 75175 h 435839"/>
                <a:gd name="connsiteX428" fmla="*/ 560595 w 944810"/>
                <a:gd name="connsiteY428" fmla="*/ 68497 h 435839"/>
                <a:gd name="connsiteX429" fmla="*/ 555598 w 944810"/>
                <a:gd name="connsiteY429" fmla="*/ 57132 h 435839"/>
                <a:gd name="connsiteX430" fmla="*/ 552227 w 944810"/>
                <a:gd name="connsiteY430" fmla="*/ 48354 h 435839"/>
                <a:gd name="connsiteX431" fmla="*/ 551467 w 944810"/>
                <a:gd name="connsiteY431" fmla="*/ 44986 h 435839"/>
                <a:gd name="connsiteX432" fmla="*/ 550923 w 944810"/>
                <a:gd name="connsiteY432" fmla="*/ 40245 h 435839"/>
                <a:gd name="connsiteX433" fmla="*/ 551136 w 944810"/>
                <a:gd name="connsiteY433" fmla="*/ 38885 h 435839"/>
                <a:gd name="connsiteX434" fmla="*/ 551564 w 944810"/>
                <a:gd name="connsiteY434" fmla="*/ 37656 h 435839"/>
                <a:gd name="connsiteX435" fmla="*/ 554010 w 944810"/>
                <a:gd name="connsiteY435" fmla="*/ 32567 h 435839"/>
                <a:gd name="connsiteX436" fmla="*/ 557204 w 944810"/>
                <a:gd name="connsiteY436" fmla="*/ 30089 h 435839"/>
                <a:gd name="connsiteX437" fmla="*/ 556241 w 944810"/>
                <a:gd name="connsiteY437" fmla="*/ 26590 h 435839"/>
                <a:gd name="connsiteX438" fmla="*/ 557064 w 944810"/>
                <a:gd name="connsiteY438" fmla="*/ 23900 h 435839"/>
                <a:gd name="connsiteX439" fmla="*/ 560422 w 944810"/>
                <a:gd name="connsiteY439" fmla="*/ 21772 h 435839"/>
                <a:gd name="connsiteX440" fmla="*/ 939385 w 944810"/>
                <a:gd name="connsiteY440" fmla="*/ 12003 h 435839"/>
                <a:gd name="connsiteX441" fmla="*/ 944810 w 944810"/>
                <a:gd name="connsiteY441" fmla="*/ 13267 h 435839"/>
                <a:gd name="connsiteX442" fmla="*/ 943203 w 944810"/>
                <a:gd name="connsiteY442" fmla="*/ 14246 h 435839"/>
                <a:gd name="connsiteX443" fmla="*/ 920413 w 944810"/>
                <a:gd name="connsiteY443" fmla="*/ 18249 h 435839"/>
                <a:gd name="connsiteX444" fmla="*/ 899443 w 944810"/>
                <a:gd name="connsiteY444" fmla="*/ 20156 h 435839"/>
                <a:gd name="connsiteX445" fmla="*/ 897327 w 944810"/>
                <a:gd name="connsiteY445" fmla="*/ 18818 h 435839"/>
                <a:gd name="connsiteX446" fmla="*/ 931318 w 944810"/>
                <a:gd name="connsiteY446" fmla="*/ 13240 h 435839"/>
                <a:gd name="connsiteX447" fmla="*/ 933076 w 944810"/>
                <a:gd name="connsiteY447" fmla="*/ 12694 h 435839"/>
                <a:gd name="connsiteX448" fmla="*/ 605663 w 944810"/>
                <a:gd name="connsiteY448" fmla="*/ 6100 h 435839"/>
                <a:gd name="connsiteX449" fmla="*/ 610697 w 944810"/>
                <a:gd name="connsiteY449" fmla="*/ 6610 h 435839"/>
                <a:gd name="connsiteX450" fmla="*/ 615611 w 944810"/>
                <a:gd name="connsiteY450" fmla="*/ 9024 h 435839"/>
                <a:gd name="connsiteX451" fmla="*/ 610822 w 944810"/>
                <a:gd name="connsiteY451" fmla="*/ 11837 h 435839"/>
                <a:gd name="connsiteX452" fmla="*/ 602800 w 944810"/>
                <a:gd name="connsiteY452" fmla="*/ 9672 h 435839"/>
                <a:gd name="connsiteX453" fmla="*/ 603759 w 944810"/>
                <a:gd name="connsiteY453" fmla="*/ 7453 h 435839"/>
                <a:gd name="connsiteX454" fmla="*/ 637540 w 944810"/>
                <a:gd name="connsiteY454" fmla="*/ 0 h 435839"/>
                <a:gd name="connsiteX455" fmla="*/ 640146 w 944810"/>
                <a:gd name="connsiteY455" fmla="*/ 340 h 435839"/>
                <a:gd name="connsiteX456" fmla="*/ 645744 w 944810"/>
                <a:gd name="connsiteY456" fmla="*/ 2446 h 435839"/>
                <a:gd name="connsiteX457" fmla="*/ 651384 w 944810"/>
                <a:gd name="connsiteY457" fmla="*/ 3929 h 435839"/>
                <a:gd name="connsiteX458" fmla="*/ 653960 w 944810"/>
                <a:gd name="connsiteY458" fmla="*/ 5423 h 435839"/>
                <a:gd name="connsiteX459" fmla="*/ 658771 w 944810"/>
                <a:gd name="connsiteY459" fmla="*/ 9138 h 435839"/>
                <a:gd name="connsiteX460" fmla="*/ 663291 w 944810"/>
                <a:gd name="connsiteY460" fmla="*/ 11616 h 435839"/>
                <a:gd name="connsiteX461" fmla="*/ 665515 w 944810"/>
                <a:gd name="connsiteY461" fmla="*/ 12181 h 435839"/>
                <a:gd name="connsiteX462" fmla="*/ 677694 w 944810"/>
                <a:gd name="connsiteY462" fmla="*/ 11973 h 435839"/>
                <a:gd name="connsiteX463" fmla="*/ 680030 w 944810"/>
                <a:gd name="connsiteY463" fmla="*/ 13215 h 435839"/>
                <a:gd name="connsiteX464" fmla="*/ 680954 w 944810"/>
                <a:gd name="connsiteY464" fmla="*/ 16222 h 435839"/>
                <a:gd name="connsiteX465" fmla="*/ 682812 w 944810"/>
                <a:gd name="connsiteY465" fmla="*/ 17255 h 435839"/>
                <a:gd name="connsiteX466" fmla="*/ 685401 w 944810"/>
                <a:gd name="connsiteY466" fmla="*/ 17574 h 435839"/>
                <a:gd name="connsiteX467" fmla="*/ 691868 w 944810"/>
                <a:gd name="connsiteY467" fmla="*/ 21254 h 435839"/>
                <a:gd name="connsiteX468" fmla="*/ 694068 w 944810"/>
                <a:gd name="connsiteY468" fmla="*/ 21785 h 435839"/>
                <a:gd name="connsiteX469" fmla="*/ 695984 w 944810"/>
                <a:gd name="connsiteY469" fmla="*/ 19741 h 435839"/>
                <a:gd name="connsiteX470" fmla="*/ 697450 w 944810"/>
                <a:gd name="connsiteY470" fmla="*/ 14645 h 435839"/>
                <a:gd name="connsiteX471" fmla="*/ 697528 w 944810"/>
                <a:gd name="connsiteY471" fmla="*/ 8646 h 435839"/>
                <a:gd name="connsiteX472" fmla="*/ 696901 w 944810"/>
                <a:gd name="connsiteY472" fmla="*/ 5734 h 435839"/>
                <a:gd name="connsiteX473" fmla="*/ 697629 w 944810"/>
                <a:gd name="connsiteY473" fmla="*/ 3861 h 435839"/>
                <a:gd name="connsiteX474" fmla="*/ 699797 w 944810"/>
                <a:gd name="connsiteY474" fmla="*/ 3136 h 435839"/>
                <a:gd name="connsiteX475" fmla="*/ 702522 w 944810"/>
                <a:gd name="connsiteY475" fmla="*/ 3331 h 435839"/>
                <a:gd name="connsiteX476" fmla="*/ 705187 w 944810"/>
                <a:gd name="connsiteY476" fmla="*/ 2291 h 435839"/>
                <a:gd name="connsiteX477" fmla="*/ 707493 w 944810"/>
                <a:gd name="connsiteY477" fmla="*/ 452 h 435839"/>
                <a:gd name="connsiteX478" fmla="*/ 709951 w 944810"/>
                <a:gd name="connsiteY478" fmla="*/ 197 h 435839"/>
                <a:gd name="connsiteX479" fmla="*/ 715332 w 944810"/>
                <a:gd name="connsiteY479" fmla="*/ 1593 h 435839"/>
                <a:gd name="connsiteX480" fmla="*/ 716748 w 944810"/>
                <a:gd name="connsiteY480" fmla="*/ 2687 h 435839"/>
                <a:gd name="connsiteX481" fmla="*/ 715304 w 944810"/>
                <a:gd name="connsiteY481" fmla="*/ 4952 h 435839"/>
                <a:gd name="connsiteX482" fmla="*/ 714740 w 944810"/>
                <a:gd name="connsiteY482" fmla="*/ 8174 h 435839"/>
                <a:gd name="connsiteX483" fmla="*/ 712307 w 944810"/>
                <a:gd name="connsiteY483" fmla="*/ 14813 h 435839"/>
                <a:gd name="connsiteX484" fmla="*/ 717586 w 944810"/>
                <a:gd name="connsiteY484" fmla="*/ 15224 h 435839"/>
                <a:gd name="connsiteX485" fmla="*/ 724986 w 944810"/>
                <a:gd name="connsiteY485" fmla="*/ 13820 h 435839"/>
                <a:gd name="connsiteX486" fmla="*/ 726865 w 944810"/>
                <a:gd name="connsiteY486" fmla="*/ 11899 h 435839"/>
                <a:gd name="connsiteX487" fmla="*/ 730845 w 944810"/>
                <a:gd name="connsiteY487" fmla="*/ 8838 h 435839"/>
                <a:gd name="connsiteX488" fmla="*/ 735047 w 944810"/>
                <a:gd name="connsiteY488" fmla="*/ 9317 h 435839"/>
                <a:gd name="connsiteX489" fmla="*/ 737062 w 944810"/>
                <a:gd name="connsiteY489" fmla="*/ 8912 h 435839"/>
                <a:gd name="connsiteX490" fmla="*/ 738081 w 944810"/>
                <a:gd name="connsiteY490" fmla="*/ 7580 h 435839"/>
                <a:gd name="connsiteX491" fmla="*/ 738465 w 944810"/>
                <a:gd name="connsiteY491" fmla="*/ 5995 h 435839"/>
                <a:gd name="connsiteX492" fmla="*/ 740789 w 944810"/>
                <a:gd name="connsiteY492" fmla="*/ 6261 h 435839"/>
                <a:gd name="connsiteX493" fmla="*/ 743974 w 944810"/>
                <a:gd name="connsiteY493" fmla="*/ 9317 h 435839"/>
                <a:gd name="connsiteX494" fmla="*/ 745455 w 944810"/>
                <a:gd name="connsiteY494" fmla="*/ 9791 h 435839"/>
                <a:gd name="connsiteX495" fmla="*/ 748167 w 944810"/>
                <a:gd name="connsiteY495" fmla="*/ 9004 h 435839"/>
                <a:gd name="connsiteX496" fmla="*/ 749264 w 944810"/>
                <a:gd name="connsiteY496" fmla="*/ 9037 h 435839"/>
                <a:gd name="connsiteX497" fmla="*/ 751942 w 944810"/>
                <a:gd name="connsiteY497" fmla="*/ 10259 h 435839"/>
                <a:gd name="connsiteX498" fmla="*/ 764419 w 944810"/>
                <a:gd name="connsiteY498" fmla="*/ 12471 h 435839"/>
                <a:gd name="connsiteX499" fmla="*/ 768744 w 944810"/>
                <a:gd name="connsiteY499" fmla="*/ 13656 h 435839"/>
                <a:gd name="connsiteX500" fmla="*/ 770608 w 944810"/>
                <a:gd name="connsiteY500" fmla="*/ 14759 h 435839"/>
                <a:gd name="connsiteX501" fmla="*/ 772491 w 944810"/>
                <a:gd name="connsiteY501" fmla="*/ 15412 h 435839"/>
                <a:gd name="connsiteX502" fmla="*/ 785766 w 944810"/>
                <a:gd name="connsiteY502" fmla="*/ 15395 h 435839"/>
                <a:gd name="connsiteX503" fmla="*/ 795145 w 944810"/>
                <a:gd name="connsiteY503" fmla="*/ 16179 h 435839"/>
                <a:gd name="connsiteX504" fmla="*/ 798602 w 944810"/>
                <a:gd name="connsiteY504" fmla="*/ 17928 h 435839"/>
                <a:gd name="connsiteX505" fmla="*/ 801502 w 944810"/>
                <a:gd name="connsiteY505" fmla="*/ 21279 h 435839"/>
                <a:gd name="connsiteX506" fmla="*/ 802614 w 944810"/>
                <a:gd name="connsiteY506" fmla="*/ 28974 h 435839"/>
                <a:gd name="connsiteX507" fmla="*/ 799988 w 944810"/>
                <a:gd name="connsiteY507" fmla="*/ 31047 h 435839"/>
                <a:gd name="connsiteX508" fmla="*/ 780999 w 944810"/>
                <a:gd name="connsiteY508" fmla="*/ 40465 h 435839"/>
                <a:gd name="connsiteX509" fmla="*/ 776240 w 944810"/>
                <a:gd name="connsiteY509" fmla="*/ 43481 h 435839"/>
                <a:gd name="connsiteX510" fmla="*/ 773944 w 944810"/>
                <a:gd name="connsiteY510" fmla="*/ 46256 h 435839"/>
                <a:gd name="connsiteX511" fmla="*/ 770059 w 944810"/>
                <a:gd name="connsiteY511" fmla="*/ 52305 h 435839"/>
                <a:gd name="connsiteX512" fmla="*/ 768176 w 944810"/>
                <a:gd name="connsiteY512" fmla="*/ 54127 h 435839"/>
                <a:gd name="connsiteX513" fmla="*/ 759284 w 944810"/>
                <a:gd name="connsiteY513" fmla="*/ 56999 h 435839"/>
                <a:gd name="connsiteX514" fmla="*/ 757207 w 944810"/>
                <a:gd name="connsiteY514" fmla="*/ 57306 h 435839"/>
                <a:gd name="connsiteX515" fmla="*/ 750523 w 944810"/>
                <a:gd name="connsiteY515" fmla="*/ 55901 h 435839"/>
                <a:gd name="connsiteX516" fmla="*/ 748483 w 944810"/>
                <a:gd name="connsiteY516" fmla="*/ 56032 h 435839"/>
                <a:gd name="connsiteX517" fmla="*/ 740363 w 944810"/>
                <a:gd name="connsiteY517" fmla="*/ 59150 h 435839"/>
                <a:gd name="connsiteX518" fmla="*/ 737565 w 944810"/>
                <a:gd name="connsiteY518" fmla="*/ 61035 h 435839"/>
                <a:gd name="connsiteX519" fmla="*/ 734825 w 944810"/>
                <a:gd name="connsiteY519" fmla="*/ 63405 h 435839"/>
                <a:gd name="connsiteX520" fmla="*/ 730730 w 944810"/>
                <a:gd name="connsiteY520" fmla="*/ 64450 h 435839"/>
                <a:gd name="connsiteX521" fmla="*/ 726552 w 944810"/>
                <a:gd name="connsiteY521" fmla="*/ 63891 h 435839"/>
                <a:gd name="connsiteX522" fmla="*/ 707645 w 944810"/>
                <a:gd name="connsiteY522" fmla="*/ 62655 h 435839"/>
                <a:gd name="connsiteX523" fmla="*/ 705111 w 944810"/>
                <a:gd name="connsiteY523" fmla="*/ 60991 h 435839"/>
                <a:gd name="connsiteX524" fmla="*/ 703045 w 944810"/>
                <a:gd name="connsiteY524" fmla="*/ 57792 h 435839"/>
                <a:gd name="connsiteX525" fmla="*/ 706800 w 944810"/>
                <a:gd name="connsiteY525" fmla="*/ 53689 h 435839"/>
                <a:gd name="connsiteX526" fmla="*/ 685703 w 944810"/>
                <a:gd name="connsiteY526" fmla="*/ 55216 h 435839"/>
                <a:gd name="connsiteX527" fmla="*/ 662479 w 944810"/>
                <a:gd name="connsiteY527" fmla="*/ 54384 h 435839"/>
                <a:gd name="connsiteX528" fmla="*/ 661250 w 944810"/>
                <a:gd name="connsiteY528" fmla="*/ 53805 h 435839"/>
                <a:gd name="connsiteX529" fmla="*/ 660261 w 944810"/>
                <a:gd name="connsiteY529" fmla="*/ 52218 h 435839"/>
                <a:gd name="connsiteX530" fmla="*/ 652271 w 944810"/>
                <a:gd name="connsiteY530" fmla="*/ 51132 h 435839"/>
                <a:gd name="connsiteX531" fmla="*/ 646273 w 944810"/>
                <a:gd name="connsiteY531" fmla="*/ 49828 h 435839"/>
                <a:gd name="connsiteX532" fmla="*/ 641230 w 944810"/>
                <a:gd name="connsiteY532" fmla="*/ 47630 h 435839"/>
                <a:gd name="connsiteX533" fmla="*/ 636242 w 944810"/>
                <a:gd name="connsiteY533" fmla="*/ 44772 h 435839"/>
                <a:gd name="connsiteX534" fmla="*/ 637836 w 944810"/>
                <a:gd name="connsiteY534" fmla="*/ 43435 h 435839"/>
                <a:gd name="connsiteX535" fmla="*/ 639481 w 944810"/>
                <a:gd name="connsiteY535" fmla="*/ 42652 h 435839"/>
                <a:gd name="connsiteX536" fmla="*/ 643765 w 944810"/>
                <a:gd name="connsiteY536" fmla="*/ 42323 h 435839"/>
                <a:gd name="connsiteX537" fmla="*/ 647575 w 944810"/>
                <a:gd name="connsiteY537" fmla="*/ 42721 h 435839"/>
                <a:gd name="connsiteX538" fmla="*/ 654349 w 944810"/>
                <a:gd name="connsiteY538" fmla="*/ 42696 h 435839"/>
                <a:gd name="connsiteX539" fmla="*/ 655927 w 944810"/>
                <a:gd name="connsiteY539" fmla="*/ 39811 h 435839"/>
                <a:gd name="connsiteX540" fmla="*/ 658624 w 944810"/>
                <a:gd name="connsiteY540" fmla="*/ 38978 h 435839"/>
                <a:gd name="connsiteX541" fmla="*/ 660775 w 944810"/>
                <a:gd name="connsiteY541" fmla="*/ 36906 h 435839"/>
                <a:gd name="connsiteX542" fmla="*/ 653625 w 944810"/>
                <a:gd name="connsiteY542" fmla="*/ 35599 h 435839"/>
                <a:gd name="connsiteX543" fmla="*/ 646167 w 944810"/>
                <a:gd name="connsiteY543" fmla="*/ 35404 h 435839"/>
                <a:gd name="connsiteX544" fmla="*/ 641196 w 944810"/>
                <a:gd name="connsiteY544" fmla="*/ 37126 h 435839"/>
                <a:gd name="connsiteX545" fmla="*/ 635435 w 944810"/>
                <a:gd name="connsiteY545" fmla="*/ 37905 h 435839"/>
                <a:gd name="connsiteX546" fmla="*/ 630170 w 944810"/>
                <a:gd name="connsiteY546" fmla="*/ 38008 h 435839"/>
                <a:gd name="connsiteX547" fmla="*/ 620044 w 944810"/>
                <a:gd name="connsiteY547" fmla="*/ 37519 h 435839"/>
                <a:gd name="connsiteX548" fmla="*/ 615244 w 944810"/>
                <a:gd name="connsiteY548" fmla="*/ 36296 h 435839"/>
                <a:gd name="connsiteX549" fmla="*/ 608678 w 944810"/>
                <a:gd name="connsiteY549" fmla="*/ 33099 h 435839"/>
                <a:gd name="connsiteX550" fmla="*/ 606393 w 944810"/>
                <a:gd name="connsiteY550" fmla="*/ 31331 h 435839"/>
                <a:gd name="connsiteX551" fmla="*/ 605510 w 944810"/>
                <a:gd name="connsiteY551" fmla="*/ 29942 h 435839"/>
                <a:gd name="connsiteX552" fmla="*/ 604860 w 944810"/>
                <a:gd name="connsiteY552" fmla="*/ 27837 h 435839"/>
                <a:gd name="connsiteX553" fmla="*/ 612362 w 944810"/>
                <a:gd name="connsiteY553" fmla="*/ 25948 h 435839"/>
                <a:gd name="connsiteX554" fmla="*/ 615276 w 944810"/>
                <a:gd name="connsiteY554" fmla="*/ 24459 h 435839"/>
                <a:gd name="connsiteX555" fmla="*/ 618140 w 944810"/>
                <a:gd name="connsiteY555" fmla="*/ 22421 h 435839"/>
                <a:gd name="connsiteX556" fmla="*/ 606816 w 944810"/>
                <a:gd name="connsiteY556" fmla="*/ 21262 h 435839"/>
                <a:gd name="connsiteX557" fmla="*/ 602077 w 944810"/>
                <a:gd name="connsiteY557" fmla="*/ 19551 h 435839"/>
                <a:gd name="connsiteX558" fmla="*/ 597375 w 944810"/>
                <a:gd name="connsiteY558" fmla="*/ 17035 h 435839"/>
                <a:gd name="connsiteX559" fmla="*/ 601191 w 944810"/>
                <a:gd name="connsiteY559" fmla="*/ 15615 h 435839"/>
                <a:gd name="connsiteX560" fmla="*/ 616445 w 944810"/>
                <a:gd name="connsiteY560" fmla="*/ 14481 h 435839"/>
                <a:gd name="connsiteX561" fmla="*/ 620483 w 944810"/>
                <a:gd name="connsiteY561" fmla="*/ 15430 h 435839"/>
                <a:gd name="connsiteX562" fmla="*/ 624486 w 944810"/>
                <a:gd name="connsiteY562" fmla="*/ 17260 h 435839"/>
                <a:gd name="connsiteX563" fmla="*/ 628918 w 944810"/>
                <a:gd name="connsiteY563" fmla="*/ 18387 h 435839"/>
                <a:gd name="connsiteX564" fmla="*/ 633202 w 944810"/>
                <a:gd name="connsiteY564" fmla="*/ 16016 h 435839"/>
                <a:gd name="connsiteX565" fmla="*/ 629168 w 944810"/>
                <a:gd name="connsiteY565" fmla="*/ 14892 h 435839"/>
                <a:gd name="connsiteX566" fmla="*/ 625558 w 944810"/>
                <a:gd name="connsiteY566" fmla="*/ 10941 h 435839"/>
                <a:gd name="connsiteX567" fmla="*/ 624795 w 944810"/>
                <a:gd name="connsiteY567" fmla="*/ 8977 h 435839"/>
                <a:gd name="connsiteX568" fmla="*/ 625268 w 944810"/>
                <a:gd name="connsiteY568" fmla="*/ 7466 h 435839"/>
                <a:gd name="connsiteX569" fmla="*/ 627158 w 944810"/>
                <a:gd name="connsiteY569" fmla="*/ 7240 h 435839"/>
                <a:gd name="connsiteX570" fmla="*/ 628566 w 944810"/>
                <a:gd name="connsiteY570" fmla="*/ 7896 h 435839"/>
                <a:gd name="connsiteX571" fmla="*/ 633895 w 944810"/>
                <a:gd name="connsiteY571" fmla="*/ 11613 h 435839"/>
                <a:gd name="connsiteX572" fmla="*/ 637933 w 944810"/>
                <a:gd name="connsiteY572" fmla="*/ 12772 h 435839"/>
                <a:gd name="connsiteX573" fmla="*/ 639065 w 944810"/>
                <a:gd name="connsiteY573" fmla="*/ 9340 h 435839"/>
                <a:gd name="connsiteX574" fmla="*/ 639244 w 944810"/>
                <a:gd name="connsiteY574" fmla="*/ 7707 h 435839"/>
                <a:gd name="connsiteX575" fmla="*/ 638510 w 944810"/>
                <a:gd name="connsiteY575" fmla="*/ 6354 h 435839"/>
                <a:gd name="connsiteX576" fmla="*/ 636611 w 944810"/>
                <a:gd name="connsiteY576" fmla="*/ 3856 h 435839"/>
                <a:gd name="connsiteX577" fmla="*/ 634910 w 944810"/>
                <a:gd name="connsiteY577" fmla="*/ 782 h 435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</a:cxnLst>
              <a:rect l="l" t="t" r="r" b="b"/>
              <a:pathLst>
                <a:path w="944810" h="435839">
                  <a:moveTo>
                    <a:pt x="24268" y="421905"/>
                  </a:moveTo>
                  <a:lnTo>
                    <a:pt x="24767" y="424367"/>
                  </a:lnTo>
                  <a:lnTo>
                    <a:pt x="24252" y="427427"/>
                  </a:lnTo>
                  <a:lnTo>
                    <a:pt x="17613" y="429855"/>
                  </a:lnTo>
                  <a:lnTo>
                    <a:pt x="10249" y="431498"/>
                  </a:lnTo>
                  <a:lnTo>
                    <a:pt x="3213" y="435578"/>
                  </a:lnTo>
                  <a:lnTo>
                    <a:pt x="1173" y="435839"/>
                  </a:lnTo>
                  <a:lnTo>
                    <a:pt x="0" y="434945"/>
                  </a:lnTo>
                  <a:lnTo>
                    <a:pt x="2968" y="432486"/>
                  </a:lnTo>
                  <a:lnTo>
                    <a:pt x="12782" y="427855"/>
                  </a:lnTo>
                  <a:lnTo>
                    <a:pt x="16698" y="423426"/>
                  </a:lnTo>
                  <a:close/>
                  <a:moveTo>
                    <a:pt x="625370" y="281353"/>
                  </a:moveTo>
                  <a:lnTo>
                    <a:pt x="627108" y="283055"/>
                  </a:lnTo>
                  <a:lnTo>
                    <a:pt x="627399" y="284025"/>
                  </a:lnTo>
                  <a:lnTo>
                    <a:pt x="626175" y="286892"/>
                  </a:lnTo>
                  <a:lnTo>
                    <a:pt x="623504" y="288585"/>
                  </a:lnTo>
                  <a:lnTo>
                    <a:pt x="619503" y="286036"/>
                  </a:lnTo>
                  <a:lnTo>
                    <a:pt x="616847" y="282761"/>
                  </a:lnTo>
                  <a:lnTo>
                    <a:pt x="618257" y="281517"/>
                  </a:lnTo>
                  <a:close/>
                  <a:moveTo>
                    <a:pt x="675605" y="93632"/>
                  </a:moveTo>
                  <a:lnTo>
                    <a:pt x="678996" y="93721"/>
                  </a:lnTo>
                  <a:lnTo>
                    <a:pt x="682036" y="94870"/>
                  </a:lnTo>
                  <a:lnTo>
                    <a:pt x="688616" y="94631"/>
                  </a:lnTo>
                  <a:lnTo>
                    <a:pt x="692246" y="102818"/>
                  </a:lnTo>
                  <a:lnTo>
                    <a:pt x="694284" y="111459"/>
                  </a:lnTo>
                  <a:lnTo>
                    <a:pt x="697597" y="112080"/>
                  </a:lnTo>
                  <a:lnTo>
                    <a:pt x="703904" y="110893"/>
                  </a:lnTo>
                  <a:lnTo>
                    <a:pt x="709527" y="110316"/>
                  </a:lnTo>
                  <a:lnTo>
                    <a:pt x="712410" y="110957"/>
                  </a:lnTo>
                  <a:lnTo>
                    <a:pt x="717549" y="113469"/>
                  </a:lnTo>
                  <a:lnTo>
                    <a:pt x="719767" y="115234"/>
                  </a:lnTo>
                  <a:lnTo>
                    <a:pt x="717837" y="116621"/>
                  </a:lnTo>
                  <a:lnTo>
                    <a:pt x="713134" y="118173"/>
                  </a:lnTo>
                  <a:lnTo>
                    <a:pt x="712354" y="122788"/>
                  </a:lnTo>
                  <a:lnTo>
                    <a:pt x="717083" y="124392"/>
                  </a:lnTo>
                  <a:lnTo>
                    <a:pt x="724898" y="128317"/>
                  </a:lnTo>
                  <a:lnTo>
                    <a:pt x="729299" y="128826"/>
                  </a:lnTo>
                  <a:lnTo>
                    <a:pt x="737155" y="127218"/>
                  </a:lnTo>
                  <a:lnTo>
                    <a:pt x="744522" y="130267"/>
                  </a:lnTo>
                  <a:lnTo>
                    <a:pt x="751827" y="133962"/>
                  </a:lnTo>
                  <a:lnTo>
                    <a:pt x="734756" y="138619"/>
                  </a:lnTo>
                  <a:lnTo>
                    <a:pt x="733255" y="139926"/>
                  </a:lnTo>
                  <a:lnTo>
                    <a:pt x="730890" y="143368"/>
                  </a:lnTo>
                  <a:lnTo>
                    <a:pt x="728375" y="146194"/>
                  </a:lnTo>
                  <a:lnTo>
                    <a:pt x="726051" y="147860"/>
                  </a:lnTo>
                  <a:lnTo>
                    <a:pt x="720944" y="150726"/>
                  </a:lnTo>
                  <a:lnTo>
                    <a:pt x="718195" y="151716"/>
                  </a:lnTo>
                  <a:lnTo>
                    <a:pt x="712015" y="151494"/>
                  </a:lnTo>
                  <a:lnTo>
                    <a:pt x="709700" y="152633"/>
                  </a:lnTo>
                  <a:lnTo>
                    <a:pt x="707551" y="154950"/>
                  </a:lnTo>
                  <a:lnTo>
                    <a:pt x="705390" y="156618"/>
                  </a:lnTo>
                  <a:lnTo>
                    <a:pt x="699905" y="157046"/>
                  </a:lnTo>
                  <a:lnTo>
                    <a:pt x="697102" y="154738"/>
                  </a:lnTo>
                  <a:lnTo>
                    <a:pt x="698028" y="154026"/>
                  </a:lnTo>
                  <a:lnTo>
                    <a:pt x="698422" y="152665"/>
                  </a:lnTo>
                  <a:lnTo>
                    <a:pt x="697446" y="149413"/>
                  </a:lnTo>
                  <a:lnTo>
                    <a:pt x="702673" y="146081"/>
                  </a:lnTo>
                  <a:lnTo>
                    <a:pt x="703861" y="144234"/>
                  </a:lnTo>
                  <a:lnTo>
                    <a:pt x="702816" y="143566"/>
                  </a:lnTo>
                  <a:lnTo>
                    <a:pt x="701378" y="143750"/>
                  </a:lnTo>
                  <a:lnTo>
                    <a:pt x="697573" y="142734"/>
                  </a:lnTo>
                  <a:lnTo>
                    <a:pt x="696446" y="142783"/>
                  </a:lnTo>
                  <a:lnTo>
                    <a:pt x="693291" y="144729"/>
                  </a:lnTo>
                  <a:lnTo>
                    <a:pt x="688918" y="146033"/>
                  </a:lnTo>
                  <a:lnTo>
                    <a:pt x="684481" y="146364"/>
                  </a:lnTo>
                  <a:lnTo>
                    <a:pt x="666653" y="148867"/>
                  </a:lnTo>
                  <a:lnTo>
                    <a:pt x="663960" y="147987"/>
                  </a:lnTo>
                  <a:lnTo>
                    <a:pt x="662744" y="143009"/>
                  </a:lnTo>
                  <a:lnTo>
                    <a:pt x="669996" y="140452"/>
                  </a:lnTo>
                  <a:lnTo>
                    <a:pt x="671110" y="136125"/>
                  </a:lnTo>
                  <a:lnTo>
                    <a:pt x="672939" y="133242"/>
                  </a:lnTo>
                  <a:lnTo>
                    <a:pt x="675076" y="131327"/>
                  </a:lnTo>
                  <a:lnTo>
                    <a:pt x="679002" y="126384"/>
                  </a:lnTo>
                  <a:lnTo>
                    <a:pt x="679991" y="126028"/>
                  </a:lnTo>
                  <a:lnTo>
                    <a:pt x="670203" y="122107"/>
                  </a:lnTo>
                  <a:lnTo>
                    <a:pt x="666333" y="119555"/>
                  </a:lnTo>
                  <a:lnTo>
                    <a:pt x="662120" y="114448"/>
                  </a:lnTo>
                  <a:lnTo>
                    <a:pt x="660827" y="110307"/>
                  </a:lnTo>
                  <a:lnTo>
                    <a:pt x="655119" y="106775"/>
                  </a:lnTo>
                  <a:lnTo>
                    <a:pt x="655826" y="102253"/>
                  </a:lnTo>
                  <a:lnTo>
                    <a:pt x="651680" y="102609"/>
                  </a:lnTo>
                  <a:lnTo>
                    <a:pt x="648477" y="99429"/>
                  </a:lnTo>
                  <a:lnTo>
                    <a:pt x="651457" y="97641"/>
                  </a:lnTo>
                  <a:lnTo>
                    <a:pt x="666586" y="95610"/>
                  </a:lnTo>
                  <a:close/>
                  <a:moveTo>
                    <a:pt x="789066" y="83225"/>
                  </a:moveTo>
                  <a:lnTo>
                    <a:pt x="793551" y="87489"/>
                  </a:lnTo>
                  <a:lnTo>
                    <a:pt x="798391" y="88777"/>
                  </a:lnTo>
                  <a:lnTo>
                    <a:pt x="795479" y="91138"/>
                  </a:lnTo>
                  <a:lnTo>
                    <a:pt x="792241" y="91257"/>
                  </a:lnTo>
                  <a:lnTo>
                    <a:pt x="786272" y="87670"/>
                  </a:lnTo>
                  <a:lnTo>
                    <a:pt x="785125" y="84550"/>
                  </a:lnTo>
                  <a:lnTo>
                    <a:pt x="786188" y="83273"/>
                  </a:lnTo>
                  <a:close/>
                  <a:moveTo>
                    <a:pt x="434659" y="78758"/>
                  </a:moveTo>
                  <a:lnTo>
                    <a:pt x="439405" y="79512"/>
                  </a:lnTo>
                  <a:lnTo>
                    <a:pt x="443562" y="81521"/>
                  </a:lnTo>
                  <a:lnTo>
                    <a:pt x="447169" y="86058"/>
                  </a:lnTo>
                  <a:lnTo>
                    <a:pt x="447810" y="87465"/>
                  </a:lnTo>
                  <a:lnTo>
                    <a:pt x="446158" y="89335"/>
                  </a:lnTo>
                  <a:lnTo>
                    <a:pt x="447855" y="91544"/>
                  </a:lnTo>
                  <a:lnTo>
                    <a:pt x="449963" y="92994"/>
                  </a:lnTo>
                  <a:lnTo>
                    <a:pt x="450215" y="96339"/>
                  </a:lnTo>
                  <a:lnTo>
                    <a:pt x="453808" y="96005"/>
                  </a:lnTo>
                  <a:lnTo>
                    <a:pt x="458056" y="99561"/>
                  </a:lnTo>
                  <a:lnTo>
                    <a:pt x="462686" y="101447"/>
                  </a:lnTo>
                  <a:lnTo>
                    <a:pt x="463994" y="102738"/>
                  </a:lnTo>
                  <a:lnTo>
                    <a:pt x="464979" y="104399"/>
                  </a:lnTo>
                  <a:lnTo>
                    <a:pt x="467782" y="107736"/>
                  </a:lnTo>
                  <a:lnTo>
                    <a:pt x="469114" y="111248"/>
                  </a:lnTo>
                  <a:lnTo>
                    <a:pt x="465767" y="111618"/>
                  </a:lnTo>
                  <a:lnTo>
                    <a:pt x="461157" y="106610"/>
                  </a:lnTo>
                  <a:lnTo>
                    <a:pt x="457397" y="103756"/>
                  </a:lnTo>
                  <a:lnTo>
                    <a:pt x="452664" y="101317"/>
                  </a:lnTo>
                  <a:lnTo>
                    <a:pt x="448833" y="101196"/>
                  </a:lnTo>
                  <a:lnTo>
                    <a:pt x="447110" y="100133"/>
                  </a:lnTo>
                  <a:lnTo>
                    <a:pt x="440904" y="91342"/>
                  </a:lnTo>
                  <a:lnTo>
                    <a:pt x="439760" y="89311"/>
                  </a:lnTo>
                  <a:lnTo>
                    <a:pt x="436212" y="86034"/>
                  </a:lnTo>
                  <a:lnTo>
                    <a:pt x="434646" y="81955"/>
                  </a:lnTo>
                  <a:close/>
                  <a:moveTo>
                    <a:pt x="839024" y="75433"/>
                  </a:moveTo>
                  <a:lnTo>
                    <a:pt x="843487" y="78311"/>
                  </a:lnTo>
                  <a:lnTo>
                    <a:pt x="850084" y="78619"/>
                  </a:lnTo>
                  <a:lnTo>
                    <a:pt x="856711" y="77843"/>
                  </a:lnTo>
                  <a:lnTo>
                    <a:pt x="857851" y="78669"/>
                  </a:lnTo>
                  <a:lnTo>
                    <a:pt x="849313" y="81242"/>
                  </a:lnTo>
                  <a:lnTo>
                    <a:pt x="839818" y="79875"/>
                  </a:lnTo>
                  <a:lnTo>
                    <a:pt x="831269" y="79527"/>
                  </a:lnTo>
                  <a:lnTo>
                    <a:pt x="821172" y="82384"/>
                  </a:lnTo>
                  <a:lnTo>
                    <a:pt x="817881" y="81240"/>
                  </a:lnTo>
                  <a:lnTo>
                    <a:pt x="823010" y="78488"/>
                  </a:lnTo>
                  <a:lnTo>
                    <a:pt x="828605" y="77578"/>
                  </a:lnTo>
                  <a:lnTo>
                    <a:pt x="829505" y="75894"/>
                  </a:lnTo>
                  <a:lnTo>
                    <a:pt x="831636" y="75605"/>
                  </a:lnTo>
                  <a:close/>
                  <a:moveTo>
                    <a:pt x="563538" y="21614"/>
                  </a:moveTo>
                  <a:lnTo>
                    <a:pt x="566576" y="23234"/>
                  </a:lnTo>
                  <a:lnTo>
                    <a:pt x="572385" y="28967"/>
                  </a:lnTo>
                  <a:lnTo>
                    <a:pt x="573529" y="29065"/>
                  </a:lnTo>
                  <a:lnTo>
                    <a:pt x="574646" y="28530"/>
                  </a:lnTo>
                  <a:lnTo>
                    <a:pt x="575455" y="27119"/>
                  </a:lnTo>
                  <a:lnTo>
                    <a:pt x="576358" y="26339"/>
                  </a:lnTo>
                  <a:lnTo>
                    <a:pt x="581953" y="27254"/>
                  </a:lnTo>
                  <a:lnTo>
                    <a:pt x="589887" y="30077"/>
                  </a:lnTo>
                  <a:lnTo>
                    <a:pt x="592243" y="31466"/>
                  </a:lnTo>
                  <a:lnTo>
                    <a:pt x="595555" y="34326"/>
                  </a:lnTo>
                  <a:lnTo>
                    <a:pt x="598243" y="39125"/>
                  </a:lnTo>
                  <a:lnTo>
                    <a:pt x="596112" y="42584"/>
                  </a:lnTo>
                  <a:lnTo>
                    <a:pt x="593301" y="45850"/>
                  </a:lnTo>
                  <a:lnTo>
                    <a:pt x="592303" y="47652"/>
                  </a:lnTo>
                  <a:lnTo>
                    <a:pt x="593331" y="50239"/>
                  </a:lnTo>
                  <a:lnTo>
                    <a:pt x="592912" y="52751"/>
                  </a:lnTo>
                  <a:lnTo>
                    <a:pt x="591888" y="54975"/>
                  </a:lnTo>
                  <a:lnTo>
                    <a:pt x="596140" y="52439"/>
                  </a:lnTo>
                  <a:lnTo>
                    <a:pt x="605229" y="44302"/>
                  </a:lnTo>
                  <a:lnTo>
                    <a:pt x="606583" y="43798"/>
                  </a:lnTo>
                  <a:lnTo>
                    <a:pt x="607999" y="44073"/>
                  </a:lnTo>
                  <a:lnTo>
                    <a:pt x="612070" y="45748"/>
                  </a:lnTo>
                  <a:lnTo>
                    <a:pt x="615763" y="49899"/>
                  </a:lnTo>
                  <a:lnTo>
                    <a:pt x="616576" y="51270"/>
                  </a:lnTo>
                  <a:lnTo>
                    <a:pt x="617240" y="52955"/>
                  </a:lnTo>
                  <a:lnTo>
                    <a:pt x="617620" y="55033"/>
                  </a:lnTo>
                  <a:lnTo>
                    <a:pt x="617410" y="57415"/>
                  </a:lnTo>
                  <a:lnTo>
                    <a:pt x="617067" y="59072"/>
                  </a:lnTo>
                  <a:lnTo>
                    <a:pt x="615134" y="60145"/>
                  </a:lnTo>
                  <a:lnTo>
                    <a:pt x="614201" y="61122"/>
                  </a:lnTo>
                  <a:lnTo>
                    <a:pt x="616289" y="61194"/>
                  </a:lnTo>
                  <a:lnTo>
                    <a:pt x="618673" y="62477"/>
                  </a:lnTo>
                  <a:lnTo>
                    <a:pt x="620861" y="65196"/>
                  </a:lnTo>
                  <a:lnTo>
                    <a:pt x="623303" y="66286"/>
                  </a:lnTo>
                  <a:lnTo>
                    <a:pt x="632165" y="65367"/>
                  </a:lnTo>
                  <a:lnTo>
                    <a:pt x="637929" y="66788"/>
                  </a:lnTo>
                  <a:lnTo>
                    <a:pt x="641083" y="71246"/>
                  </a:lnTo>
                  <a:lnTo>
                    <a:pt x="645953" y="70238"/>
                  </a:lnTo>
                  <a:lnTo>
                    <a:pt x="645968" y="67863"/>
                  </a:lnTo>
                  <a:lnTo>
                    <a:pt x="647035" y="66846"/>
                  </a:lnTo>
                  <a:lnTo>
                    <a:pt x="653569" y="67654"/>
                  </a:lnTo>
                  <a:lnTo>
                    <a:pt x="656948" y="68766"/>
                  </a:lnTo>
                  <a:lnTo>
                    <a:pt x="660401" y="71102"/>
                  </a:lnTo>
                  <a:lnTo>
                    <a:pt x="654508" y="74916"/>
                  </a:lnTo>
                  <a:lnTo>
                    <a:pt x="659365" y="78574"/>
                  </a:lnTo>
                  <a:lnTo>
                    <a:pt x="667531" y="81216"/>
                  </a:lnTo>
                  <a:lnTo>
                    <a:pt x="672453" y="83987"/>
                  </a:lnTo>
                  <a:lnTo>
                    <a:pt x="673345" y="85149"/>
                  </a:lnTo>
                  <a:lnTo>
                    <a:pt x="674146" y="86688"/>
                  </a:lnTo>
                  <a:lnTo>
                    <a:pt x="670944" y="88684"/>
                  </a:lnTo>
                  <a:lnTo>
                    <a:pt x="667678" y="89809"/>
                  </a:lnTo>
                  <a:lnTo>
                    <a:pt x="659464" y="90002"/>
                  </a:lnTo>
                  <a:lnTo>
                    <a:pt x="651995" y="91413"/>
                  </a:lnTo>
                  <a:lnTo>
                    <a:pt x="638324" y="92411"/>
                  </a:lnTo>
                  <a:lnTo>
                    <a:pt x="636290" y="93049"/>
                  </a:lnTo>
                  <a:lnTo>
                    <a:pt x="635808" y="93617"/>
                  </a:lnTo>
                  <a:lnTo>
                    <a:pt x="635003" y="95348"/>
                  </a:lnTo>
                  <a:lnTo>
                    <a:pt x="629742" y="99335"/>
                  </a:lnTo>
                  <a:lnTo>
                    <a:pt x="624653" y="104182"/>
                  </a:lnTo>
                  <a:lnTo>
                    <a:pt x="622556" y="107094"/>
                  </a:lnTo>
                  <a:lnTo>
                    <a:pt x="620967" y="111168"/>
                  </a:lnTo>
                  <a:lnTo>
                    <a:pt x="620388" y="113652"/>
                  </a:lnTo>
                  <a:lnTo>
                    <a:pt x="621517" y="116057"/>
                  </a:lnTo>
                  <a:lnTo>
                    <a:pt x="621217" y="118488"/>
                  </a:lnTo>
                  <a:lnTo>
                    <a:pt x="617391" y="120391"/>
                  </a:lnTo>
                  <a:lnTo>
                    <a:pt x="614964" y="120468"/>
                  </a:lnTo>
                  <a:lnTo>
                    <a:pt x="611919" y="120090"/>
                  </a:lnTo>
                  <a:lnTo>
                    <a:pt x="608926" y="121186"/>
                  </a:lnTo>
                  <a:lnTo>
                    <a:pt x="608736" y="122832"/>
                  </a:lnTo>
                  <a:lnTo>
                    <a:pt x="608913" y="125146"/>
                  </a:lnTo>
                  <a:lnTo>
                    <a:pt x="608146" y="132190"/>
                  </a:lnTo>
                  <a:lnTo>
                    <a:pt x="607216" y="137482"/>
                  </a:lnTo>
                  <a:lnTo>
                    <a:pt x="605819" y="142384"/>
                  </a:lnTo>
                  <a:lnTo>
                    <a:pt x="604253" y="145023"/>
                  </a:lnTo>
                  <a:lnTo>
                    <a:pt x="602251" y="145757"/>
                  </a:lnTo>
                  <a:lnTo>
                    <a:pt x="595832" y="146240"/>
                  </a:lnTo>
                  <a:lnTo>
                    <a:pt x="590884" y="150822"/>
                  </a:lnTo>
                  <a:lnTo>
                    <a:pt x="586885" y="158983"/>
                  </a:lnTo>
                  <a:lnTo>
                    <a:pt x="584810" y="162177"/>
                  </a:lnTo>
                  <a:lnTo>
                    <a:pt x="580474" y="167209"/>
                  </a:lnTo>
                  <a:lnTo>
                    <a:pt x="581256" y="168990"/>
                  </a:lnTo>
                  <a:lnTo>
                    <a:pt x="582607" y="170917"/>
                  </a:lnTo>
                  <a:lnTo>
                    <a:pt x="580241" y="174364"/>
                  </a:lnTo>
                  <a:lnTo>
                    <a:pt x="576585" y="178222"/>
                  </a:lnTo>
                  <a:lnTo>
                    <a:pt x="576656" y="179712"/>
                  </a:lnTo>
                  <a:lnTo>
                    <a:pt x="577887" y="182439"/>
                  </a:lnTo>
                  <a:lnTo>
                    <a:pt x="578487" y="185270"/>
                  </a:lnTo>
                  <a:lnTo>
                    <a:pt x="575667" y="187703"/>
                  </a:lnTo>
                  <a:lnTo>
                    <a:pt x="570478" y="188938"/>
                  </a:lnTo>
                  <a:lnTo>
                    <a:pt x="565203" y="187557"/>
                  </a:lnTo>
                  <a:lnTo>
                    <a:pt x="562635" y="185925"/>
                  </a:lnTo>
                  <a:lnTo>
                    <a:pt x="560254" y="183309"/>
                  </a:lnTo>
                  <a:lnTo>
                    <a:pt x="557727" y="181600"/>
                  </a:lnTo>
                  <a:lnTo>
                    <a:pt x="555088" y="180574"/>
                  </a:lnTo>
                  <a:lnTo>
                    <a:pt x="544967" y="174757"/>
                  </a:lnTo>
                  <a:lnTo>
                    <a:pt x="535623" y="165524"/>
                  </a:lnTo>
                  <a:lnTo>
                    <a:pt x="527094" y="161921"/>
                  </a:lnTo>
                  <a:lnTo>
                    <a:pt x="521531" y="160209"/>
                  </a:lnTo>
                  <a:lnTo>
                    <a:pt x="518854" y="158551"/>
                  </a:lnTo>
                  <a:lnTo>
                    <a:pt x="516239" y="156321"/>
                  </a:lnTo>
                  <a:lnTo>
                    <a:pt x="513978" y="153815"/>
                  </a:lnTo>
                  <a:lnTo>
                    <a:pt x="511879" y="150641"/>
                  </a:lnTo>
                  <a:lnTo>
                    <a:pt x="510857" y="148667"/>
                  </a:lnTo>
                  <a:lnTo>
                    <a:pt x="510670" y="145702"/>
                  </a:lnTo>
                  <a:lnTo>
                    <a:pt x="511341" y="143960"/>
                  </a:lnTo>
                  <a:lnTo>
                    <a:pt x="512341" y="143066"/>
                  </a:lnTo>
                  <a:lnTo>
                    <a:pt x="519115" y="142333"/>
                  </a:lnTo>
                  <a:lnTo>
                    <a:pt x="521551" y="142748"/>
                  </a:lnTo>
                  <a:lnTo>
                    <a:pt x="523950" y="144300"/>
                  </a:lnTo>
                  <a:lnTo>
                    <a:pt x="526133" y="144908"/>
                  </a:lnTo>
                  <a:lnTo>
                    <a:pt x="531125" y="137173"/>
                  </a:lnTo>
                  <a:lnTo>
                    <a:pt x="559543" y="132734"/>
                  </a:lnTo>
                  <a:lnTo>
                    <a:pt x="568679" y="131965"/>
                  </a:lnTo>
                  <a:lnTo>
                    <a:pt x="577837" y="132011"/>
                  </a:lnTo>
                  <a:lnTo>
                    <a:pt x="576410" y="129910"/>
                  </a:lnTo>
                  <a:lnTo>
                    <a:pt x="575201" y="127244"/>
                  </a:lnTo>
                  <a:lnTo>
                    <a:pt x="573849" y="126597"/>
                  </a:lnTo>
                  <a:lnTo>
                    <a:pt x="566922" y="128090"/>
                  </a:lnTo>
                  <a:lnTo>
                    <a:pt x="556317" y="129664"/>
                  </a:lnTo>
                  <a:lnTo>
                    <a:pt x="551149" y="129666"/>
                  </a:lnTo>
                  <a:lnTo>
                    <a:pt x="545820" y="128617"/>
                  </a:lnTo>
                  <a:lnTo>
                    <a:pt x="540502" y="129195"/>
                  </a:lnTo>
                  <a:lnTo>
                    <a:pt x="535019" y="131473"/>
                  </a:lnTo>
                  <a:lnTo>
                    <a:pt x="529491" y="132915"/>
                  </a:lnTo>
                  <a:lnTo>
                    <a:pt x="524118" y="133494"/>
                  </a:lnTo>
                  <a:lnTo>
                    <a:pt x="512753" y="133260"/>
                  </a:lnTo>
                  <a:lnTo>
                    <a:pt x="509935" y="132081"/>
                  </a:lnTo>
                  <a:lnTo>
                    <a:pt x="506146" y="129346"/>
                  </a:lnTo>
                  <a:lnTo>
                    <a:pt x="505228" y="127943"/>
                  </a:lnTo>
                  <a:lnTo>
                    <a:pt x="504444" y="126223"/>
                  </a:lnTo>
                  <a:lnTo>
                    <a:pt x="503701" y="121039"/>
                  </a:lnTo>
                  <a:lnTo>
                    <a:pt x="504522" y="119630"/>
                  </a:lnTo>
                  <a:lnTo>
                    <a:pt x="505681" y="118818"/>
                  </a:lnTo>
                  <a:lnTo>
                    <a:pt x="506873" y="118320"/>
                  </a:lnTo>
                  <a:lnTo>
                    <a:pt x="509370" y="118294"/>
                  </a:lnTo>
                  <a:lnTo>
                    <a:pt x="511820" y="119189"/>
                  </a:lnTo>
                  <a:lnTo>
                    <a:pt x="517558" y="122139"/>
                  </a:lnTo>
                  <a:lnTo>
                    <a:pt x="516252" y="118972"/>
                  </a:lnTo>
                  <a:lnTo>
                    <a:pt x="532760" y="115150"/>
                  </a:lnTo>
                  <a:lnTo>
                    <a:pt x="540426" y="111805"/>
                  </a:lnTo>
                  <a:lnTo>
                    <a:pt x="544363" y="111241"/>
                  </a:lnTo>
                  <a:lnTo>
                    <a:pt x="548312" y="111487"/>
                  </a:lnTo>
                  <a:lnTo>
                    <a:pt x="547442" y="109704"/>
                  </a:lnTo>
                  <a:lnTo>
                    <a:pt x="547407" y="108053"/>
                  </a:lnTo>
                  <a:lnTo>
                    <a:pt x="550210" y="106704"/>
                  </a:lnTo>
                  <a:lnTo>
                    <a:pt x="552233" y="106123"/>
                  </a:lnTo>
                  <a:lnTo>
                    <a:pt x="558312" y="105460"/>
                  </a:lnTo>
                  <a:lnTo>
                    <a:pt x="572169" y="105577"/>
                  </a:lnTo>
                  <a:lnTo>
                    <a:pt x="577166" y="104665"/>
                  </a:lnTo>
                  <a:lnTo>
                    <a:pt x="580903" y="102361"/>
                  </a:lnTo>
                  <a:lnTo>
                    <a:pt x="576920" y="103164"/>
                  </a:lnTo>
                  <a:lnTo>
                    <a:pt x="572927" y="103320"/>
                  </a:lnTo>
                  <a:lnTo>
                    <a:pt x="571055" y="102842"/>
                  </a:lnTo>
                  <a:lnTo>
                    <a:pt x="566826" y="100829"/>
                  </a:lnTo>
                  <a:lnTo>
                    <a:pt x="564909" y="98185"/>
                  </a:lnTo>
                  <a:lnTo>
                    <a:pt x="570392" y="92888"/>
                  </a:lnTo>
                  <a:lnTo>
                    <a:pt x="572294" y="90424"/>
                  </a:lnTo>
                  <a:lnTo>
                    <a:pt x="566719" y="90780"/>
                  </a:lnTo>
                  <a:lnTo>
                    <a:pt x="564857" y="91643"/>
                  </a:lnTo>
                  <a:lnTo>
                    <a:pt x="558472" y="96512"/>
                  </a:lnTo>
                  <a:lnTo>
                    <a:pt x="553752" y="98695"/>
                  </a:lnTo>
                  <a:lnTo>
                    <a:pt x="547928" y="99743"/>
                  </a:lnTo>
                  <a:lnTo>
                    <a:pt x="542106" y="99651"/>
                  </a:lnTo>
                  <a:lnTo>
                    <a:pt x="540836" y="98959"/>
                  </a:lnTo>
                  <a:lnTo>
                    <a:pt x="539055" y="95738"/>
                  </a:lnTo>
                  <a:lnTo>
                    <a:pt x="538497" y="94043"/>
                  </a:lnTo>
                  <a:lnTo>
                    <a:pt x="538735" y="93110"/>
                  </a:lnTo>
                  <a:lnTo>
                    <a:pt x="540579" y="90448"/>
                  </a:lnTo>
                  <a:lnTo>
                    <a:pt x="541536" y="87625"/>
                  </a:lnTo>
                  <a:lnTo>
                    <a:pt x="541372" y="85190"/>
                  </a:lnTo>
                  <a:lnTo>
                    <a:pt x="540013" y="84702"/>
                  </a:lnTo>
                  <a:lnTo>
                    <a:pt x="537858" y="87083"/>
                  </a:lnTo>
                  <a:lnTo>
                    <a:pt x="535913" y="90393"/>
                  </a:lnTo>
                  <a:lnTo>
                    <a:pt x="533237" y="92051"/>
                  </a:lnTo>
                  <a:lnTo>
                    <a:pt x="530484" y="91599"/>
                  </a:lnTo>
                  <a:lnTo>
                    <a:pt x="529309" y="90330"/>
                  </a:lnTo>
                  <a:lnTo>
                    <a:pt x="528286" y="88385"/>
                  </a:lnTo>
                  <a:lnTo>
                    <a:pt x="527206" y="87637"/>
                  </a:lnTo>
                  <a:lnTo>
                    <a:pt x="526006" y="87637"/>
                  </a:lnTo>
                  <a:lnTo>
                    <a:pt x="523537" y="88414"/>
                  </a:lnTo>
                  <a:lnTo>
                    <a:pt x="521095" y="89852"/>
                  </a:lnTo>
                  <a:lnTo>
                    <a:pt x="521937" y="92032"/>
                  </a:lnTo>
                  <a:lnTo>
                    <a:pt x="522162" y="94456"/>
                  </a:lnTo>
                  <a:lnTo>
                    <a:pt x="521108" y="96377"/>
                  </a:lnTo>
                  <a:lnTo>
                    <a:pt x="520313" y="98721"/>
                  </a:lnTo>
                  <a:lnTo>
                    <a:pt x="522829" y="100196"/>
                  </a:lnTo>
                  <a:lnTo>
                    <a:pt x="524878" y="102484"/>
                  </a:lnTo>
                  <a:lnTo>
                    <a:pt x="521810" y="103556"/>
                  </a:lnTo>
                  <a:lnTo>
                    <a:pt x="518798" y="105121"/>
                  </a:lnTo>
                  <a:lnTo>
                    <a:pt x="516033" y="107531"/>
                  </a:lnTo>
                  <a:lnTo>
                    <a:pt x="513207" y="109406"/>
                  </a:lnTo>
                  <a:lnTo>
                    <a:pt x="508722" y="109605"/>
                  </a:lnTo>
                  <a:lnTo>
                    <a:pt x="503135" y="110643"/>
                  </a:lnTo>
                  <a:lnTo>
                    <a:pt x="491974" y="111010"/>
                  </a:lnTo>
                  <a:lnTo>
                    <a:pt x="486724" y="107955"/>
                  </a:lnTo>
                  <a:lnTo>
                    <a:pt x="485767" y="106502"/>
                  </a:lnTo>
                  <a:lnTo>
                    <a:pt x="484720" y="105528"/>
                  </a:lnTo>
                  <a:lnTo>
                    <a:pt x="481237" y="103923"/>
                  </a:lnTo>
                  <a:lnTo>
                    <a:pt x="476154" y="99181"/>
                  </a:lnTo>
                  <a:lnTo>
                    <a:pt x="472243" y="93771"/>
                  </a:lnTo>
                  <a:lnTo>
                    <a:pt x="469598" y="93246"/>
                  </a:lnTo>
                  <a:lnTo>
                    <a:pt x="465694" y="91456"/>
                  </a:lnTo>
                  <a:lnTo>
                    <a:pt x="463567" y="89909"/>
                  </a:lnTo>
                  <a:lnTo>
                    <a:pt x="461539" y="87857"/>
                  </a:lnTo>
                  <a:lnTo>
                    <a:pt x="460930" y="85430"/>
                  </a:lnTo>
                  <a:lnTo>
                    <a:pt x="461127" y="83216"/>
                  </a:lnTo>
                  <a:lnTo>
                    <a:pt x="463468" y="82229"/>
                  </a:lnTo>
                  <a:lnTo>
                    <a:pt x="457940" y="79735"/>
                  </a:lnTo>
                  <a:lnTo>
                    <a:pt x="452509" y="76435"/>
                  </a:lnTo>
                  <a:lnTo>
                    <a:pt x="454515" y="75327"/>
                  </a:lnTo>
                  <a:lnTo>
                    <a:pt x="456536" y="74839"/>
                  </a:lnTo>
                  <a:lnTo>
                    <a:pt x="472619" y="78681"/>
                  </a:lnTo>
                  <a:lnTo>
                    <a:pt x="473692" y="78203"/>
                  </a:lnTo>
                  <a:lnTo>
                    <a:pt x="475459" y="76296"/>
                  </a:lnTo>
                  <a:lnTo>
                    <a:pt x="474832" y="75653"/>
                  </a:lnTo>
                  <a:lnTo>
                    <a:pt x="472138" y="75213"/>
                  </a:lnTo>
                  <a:lnTo>
                    <a:pt x="468471" y="75225"/>
                  </a:lnTo>
                  <a:lnTo>
                    <a:pt x="467553" y="74830"/>
                  </a:lnTo>
                  <a:lnTo>
                    <a:pt x="466139" y="72763"/>
                  </a:lnTo>
                  <a:lnTo>
                    <a:pt x="464897" y="70211"/>
                  </a:lnTo>
                  <a:lnTo>
                    <a:pt x="464372" y="68509"/>
                  </a:lnTo>
                  <a:lnTo>
                    <a:pt x="464169" y="66517"/>
                  </a:lnTo>
                  <a:lnTo>
                    <a:pt x="466897" y="63522"/>
                  </a:lnTo>
                  <a:lnTo>
                    <a:pt x="468397" y="60835"/>
                  </a:lnTo>
                  <a:lnTo>
                    <a:pt x="466061" y="59592"/>
                  </a:lnTo>
                  <a:lnTo>
                    <a:pt x="459449" y="59667"/>
                  </a:lnTo>
                  <a:lnTo>
                    <a:pt x="457249" y="60046"/>
                  </a:lnTo>
                  <a:lnTo>
                    <a:pt x="458058" y="63908"/>
                  </a:lnTo>
                  <a:lnTo>
                    <a:pt x="455953" y="66569"/>
                  </a:lnTo>
                  <a:lnTo>
                    <a:pt x="451921" y="68644"/>
                  </a:lnTo>
                  <a:lnTo>
                    <a:pt x="449030" y="67634"/>
                  </a:lnTo>
                  <a:lnTo>
                    <a:pt x="446799" y="62542"/>
                  </a:lnTo>
                  <a:lnTo>
                    <a:pt x="443884" y="58988"/>
                  </a:lnTo>
                  <a:lnTo>
                    <a:pt x="442787" y="56745"/>
                  </a:lnTo>
                  <a:lnTo>
                    <a:pt x="441954" y="53512"/>
                  </a:lnTo>
                  <a:lnTo>
                    <a:pt x="440766" y="51158"/>
                  </a:lnTo>
                  <a:lnTo>
                    <a:pt x="438626" y="48308"/>
                  </a:lnTo>
                  <a:lnTo>
                    <a:pt x="438347" y="46548"/>
                  </a:lnTo>
                  <a:lnTo>
                    <a:pt x="438613" y="45246"/>
                  </a:lnTo>
                  <a:lnTo>
                    <a:pt x="440243" y="42290"/>
                  </a:lnTo>
                  <a:lnTo>
                    <a:pt x="439002" y="39820"/>
                  </a:lnTo>
                  <a:lnTo>
                    <a:pt x="437490" y="37656"/>
                  </a:lnTo>
                  <a:lnTo>
                    <a:pt x="437399" y="36421"/>
                  </a:lnTo>
                  <a:lnTo>
                    <a:pt x="438820" y="34897"/>
                  </a:lnTo>
                  <a:lnTo>
                    <a:pt x="440094" y="34390"/>
                  </a:lnTo>
                  <a:lnTo>
                    <a:pt x="441463" y="34500"/>
                  </a:lnTo>
                  <a:lnTo>
                    <a:pt x="445525" y="36319"/>
                  </a:lnTo>
                  <a:lnTo>
                    <a:pt x="447754" y="38487"/>
                  </a:lnTo>
                  <a:lnTo>
                    <a:pt x="448525" y="38313"/>
                  </a:lnTo>
                  <a:lnTo>
                    <a:pt x="449969" y="35087"/>
                  </a:lnTo>
                  <a:lnTo>
                    <a:pt x="452027" y="34358"/>
                  </a:lnTo>
                  <a:lnTo>
                    <a:pt x="459958" y="33295"/>
                  </a:lnTo>
                  <a:lnTo>
                    <a:pt x="468790" y="37458"/>
                  </a:lnTo>
                  <a:lnTo>
                    <a:pt x="471077" y="38382"/>
                  </a:lnTo>
                  <a:lnTo>
                    <a:pt x="472904" y="38680"/>
                  </a:lnTo>
                  <a:lnTo>
                    <a:pt x="471962" y="36835"/>
                  </a:lnTo>
                  <a:lnTo>
                    <a:pt x="471386" y="34434"/>
                  </a:lnTo>
                  <a:lnTo>
                    <a:pt x="472731" y="33528"/>
                  </a:lnTo>
                  <a:lnTo>
                    <a:pt x="479862" y="35670"/>
                  </a:lnTo>
                  <a:lnTo>
                    <a:pt x="483202" y="35543"/>
                  </a:lnTo>
                  <a:lnTo>
                    <a:pt x="491030" y="32736"/>
                  </a:lnTo>
                  <a:lnTo>
                    <a:pt x="503973" y="31267"/>
                  </a:lnTo>
                  <a:lnTo>
                    <a:pt x="508866" y="33479"/>
                  </a:lnTo>
                  <a:lnTo>
                    <a:pt x="509121" y="34659"/>
                  </a:lnTo>
                  <a:lnTo>
                    <a:pt x="509020" y="36248"/>
                  </a:lnTo>
                  <a:lnTo>
                    <a:pt x="508709" y="36725"/>
                  </a:lnTo>
                  <a:lnTo>
                    <a:pt x="505846" y="38572"/>
                  </a:lnTo>
                  <a:lnTo>
                    <a:pt x="489521" y="40079"/>
                  </a:lnTo>
                  <a:lnTo>
                    <a:pt x="478821" y="45852"/>
                  </a:lnTo>
                  <a:lnTo>
                    <a:pt x="493410" y="44925"/>
                  </a:lnTo>
                  <a:lnTo>
                    <a:pt x="496033" y="45587"/>
                  </a:lnTo>
                  <a:lnTo>
                    <a:pt x="497134" y="50268"/>
                  </a:lnTo>
                  <a:lnTo>
                    <a:pt x="498197" y="50758"/>
                  </a:lnTo>
                  <a:lnTo>
                    <a:pt x="501948" y="51437"/>
                  </a:lnTo>
                  <a:lnTo>
                    <a:pt x="504489" y="52831"/>
                  </a:lnTo>
                  <a:lnTo>
                    <a:pt x="507087" y="55483"/>
                  </a:lnTo>
                  <a:lnTo>
                    <a:pt x="509819" y="57268"/>
                  </a:lnTo>
                  <a:lnTo>
                    <a:pt x="511419" y="57045"/>
                  </a:lnTo>
                  <a:lnTo>
                    <a:pt x="512000" y="55115"/>
                  </a:lnTo>
                  <a:lnTo>
                    <a:pt x="511348" y="52824"/>
                  </a:lnTo>
                  <a:lnTo>
                    <a:pt x="511011" y="50210"/>
                  </a:lnTo>
                  <a:lnTo>
                    <a:pt x="511203" y="47387"/>
                  </a:lnTo>
                  <a:lnTo>
                    <a:pt x="511646" y="45047"/>
                  </a:lnTo>
                  <a:lnTo>
                    <a:pt x="514710" y="43398"/>
                  </a:lnTo>
                  <a:lnTo>
                    <a:pt x="519162" y="38037"/>
                  </a:lnTo>
                  <a:lnTo>
                    <a:pt x="523891" y="34392"/>
                  </a:lnTo>
                  <a:lnTo>
                    <a:pt x="529158" y="36013"/>
                  </a:lnTo>
                  <a:lnTo>
                    <a:pt x="534034" y="40570"/>
                  </a:lnTo>
                  <a:lnTo>
                    <a:pt x="538433" y="47049"/>
                  </a:lnTo>
                  <a:lnTo>
                    <a:pt x="542693" y="53941"/>
                  </a:lnTo>
                  <a:lnTo>
                    <a:pt x="547474" y="62448"/>
                  </a:lnTo>
                  <a:lnTo>
                    <a:pt x="549772" y="65436"/>
                  </a:lnTo>
                  <a:lnTo>
                    <a:pt x="551860" y="66144"/>
                  </a:lnTo>
                  <a:lnTo>
                    <a:pt x="561501" y="74932"/>
                  </a:lnTo>
                  <a:lnTo>
                    <a:pt x="562590" y="75175"/>
                  </a:lnTo>
                  <a:lnTo>
                    <a:pt x="560595" y="68497"/>
                  </a:lnTo>
                  <a:lnTo>
                    <a:pt x="555598" y="57132"/>
                  </a:lnTo>
                  <a:lnTo>
                    <a:pt x="552227" y="48354"/>
                  </a:lnTo>
                  <a:lnTo>
                    <a:pt x="551467" y="44986"/>
                  </a:lnTo>
                  <a:lnTo>
                    <a:pt x="550923" y="40245"/>
                  </a:lnTo>
                  <a:lnTo>
                    <a:pt x="551136" y="38885"/>
                  </a:lnTo>
                  <a:lnTo>
                    <a:pt x="551564" y="37656"/>
                  </a:lnTo>
                  <a:lnTo>
                    <a:pt x="554010" y="32567"/>
                  </a:lnTo>
                  <a:lnTo>
                    <a:pt x="557204" y="30089"/>
                  </a:lnTo>
                  <a:lnTo>
                    <a:pt x="556241" y="26590"/>
                  </a:lnTo>
                  <a:lnTo>
                    <a:pt x="557064" y="23900"/>
                  </a:lnTo>
                  <a:lnTo>
                    <a:pt x="560422" y="21772"/>
                  </a:lnTo>
                  <a:close/>
                  <a:moveTo>
                    <a:pt x="939385" y="12003"/>
                  </a:moveTo>
                  <a:lnTo>
                    <a:pt x="944810" y="13267"/>
                  </a:lnTo>
                  <a:lnTo>
                    <a:pt x="943203" y="14246"/>
                  </a:lnTo>
                  <a:lnTo>
                    <a:pt x="920413" y="18249"/>
                  </a:lnTo>
                  <a:lnTo>
                    <a:pt x="899443" y="20156"/>
                  </a:lnTo>
                  <a:lnTo>
                    <a:pt x="897327" y="18818"/>
                  </a:lnTo>
                  <a:lnTo>
                    <a:pt x="931318" y="13240"/>
                  </a:lnTo>
                  <a:lnTo>
                    <a:pt x="933076" y="12694"/>
                  </a:lnTo>
                  <a:close/>
                  <a:moveTo>
                    <a:pt x="605663" y="6100"/>
                  </a:moveTo>
                  <a:lnTo>
                    <a:pt x="610697" y="6610"/>
                  </a:lnTo>
                  <a:lnTo>
                    <a:pt x="615611" y="9024"/>
                  </a:lnTo>
                  <a:lnTo>
                    <a:pt x="610822" y="11837"/>
                  </a:lnTo>
                  <a:lnTo>
                    <a:pt x="602800" y="9672"/>
                  </a:lnTo>
                  <a:lnTo>
                    <a:pt x="603759" y="7453"/>
                  </a:lnTo>
                  <a:close/>
                  <a:moveTo>
                    <a:pt x="637540" y="0"/>
                  </a:moveTo>
                  <a:lnTo>
                    <a:pt x="640146" y="340"/>
                  </a:lnTo>
                  <a:lnTo>
                    <a:pt x="645744" y="2446"/>
                  </a:lnTo>
                  <a:lnTo>
                    <a:pt x="651384" y="3929"/>
                  </a:lnTo>
                  <a:lnTo>
                    <a:pt x="653960" y="5423"/>
                  </a:lnTo>
                  <a:lnTo>
                    <a:pt x="658771" y="9138"/>
                  </a:lnTo>
                  <a:lnTo>
                    <a:pt x="663291" y="11616"/>
                  </a:lnTo>
                  <a:lnTo>
                    <a:pt x="665515" y="12181"/>
                  </a:lnTo>
                  <a:lnTo>
                    <a:pt x="677694" y="11973"/>
                  </a:lnTo>
                  <a:lnTo>
                    <a:pt x="680030" y="13215"/>
                  </a:lnTo>
                  <a:lnTo>
                    <a:pt x="680954" y="16222"/>
                  </a:lnTo>
                  <a:lnTo>
                    <a:pt x="682812" y="17255"/>
                  </a:lnTo>
                  <a:lnTo>
                    <a:pt x="685401" y="17574"/>
                  </a:lnTo>
                  <a:lnTo>
                    <a:pt x="691868" y="21254"/>
                  </a:lnTo>
                  <a:lnTo>
                    <a:pt x="694068" y="21785"/>
                  </a:lnTo>
                  <a:lnTo>
                    <a:pt x="695984" y="19741"/>
                  </a:lnTo>
                  <a:lnTo>
                    <a:pt x="697450" y="14645"/>
                  </a:lnTo>
                  <a:lnTo>
                    <a:pt x="697528" y="8646"/>
                  </a:lnTo>
                  <a:lnTo>
                    <a:pt x="696901" y="5734"/>
                  </a:lnTo>
                  <a:lnTo>
                    <a:pt x="697629" y="3861"/>
                  </a:lnTo>
                  <a:lnTo>
                    <a:pt x="699797" y="3136"/>
                  </a:lnTo>
                  <a:lnTo>
                    <a:pt x="702522" y="3331"/>
                  </a:lnTo>
                  <a:lnTo>
                    <a:pt x="705187" y="2291"/>
                  </a:lnTo>
                  <a:lnTo>
                    <a:pt x="707493" y="452"/>
                  </a:lnTo>
                  <a:lnTo>
                    <a:pt x="709951" y="197"/>
                  </a:lnTo>
                  <a:lnTo>
                    <a:pt x="715332" y="1593"/>
                  </a:lnTo>
                  <a:lnTo>
                    <a:pt x="716748" y="2687"/>
                  </a:lnTo>
                  <a:lnTo>
                    <a:pt x="715304" y="4952"/>
                  </a:lnTo>
                  <a:lnTo>
                    <a:pt x="714740" y="8174"/>
                  </a:lnTo>
                  <a:lnTo>
                    <a:pt x="712307" y="14813"/>
                  </a:lnTo>
                  <a:lnTo>
                    <a:pt x="717586" y="15224"/>
                  </a:lnTo>
                  <a:lnTo>
                    <a:pt x="724986" y="13820"/>
                  </a:lnTo>
                  <a:lnTo>
                    <a:pt x="726865" y="11899"/>
                  </a:lnTo>
                  <a:lnTo>
                    <a:pt x="730845" y="8838"/>
                  </a:lnTo>
                  <a:lnTo>
                    <a:pt x="735047" y="9317"/>
                  </a:lnTo>
                  <a:lnTo>
                    <a:pt x="737062" y="8912"/>
                  </a:lnTo>
                  <a:lnTo>
                    <a:pt x="738081" y="7580"/>
                  </a:lnTo>
                  <a:lnTo>
                    <a:pt x="738465" y="5995"/>
                  </a:lnTo>
                  <a:lnTo>
                    <a:pt x="740789" y="6261"/>
                  </a:lnTo>
                  <a:lnTo>
                    <a:pt x="743974" y="9317"/>
                  </a:lnTo>
                  <a:lnTo>
                    <a:pt x="745455" y="9791"/>
                  </a:lnTo>
                  <a:lnTo>
                    <a:pt x="748167" y="9004"/>
                  </a:lnTo>
                  <a:lnTo>
                    <a:pt x="749264" y="9037"/>
                  </a:lnTo>
                  <a:lnTo>
                    <a:pt x="751942" y="10259"/>
                  </a:lnTo>
                  <a:lnTo>
                    <a:pt x="764419" y="12471"/>
                  </a:lnTo>
                  <a:lnTo>
                    <a:pt x="768744" y="13656"/>
                  </a:lnTo>
                  <a:lnTo>
                    <a:pt x="770608" y="14759"/>
                  </a:lnTo>
                  <a:lnTo>
                    <a:pt x="772491" y="15412"/>
                  </a:lnTo>
                  <a:lnTo>
                    <a:pt x="785766" y="15395"/>
                  </a:lnTo>
                  <a:lnTo>
                    <a:pt x="795145" y="16179"/>
                  </a:lnTo>
                  <a:lnTo>
                    <a:pt x="798602" y="17928"/>
                  </a:lnTo>
                  <a:lnTo>
                    <a:pt x="801502" y="21279"/>
                  </a:lnTo>
                  <a:lnTo>
                    <a:pt x="802614" y="28974"/>
                  </a:lnTo>
                  <a:lnTo>
                    <a:pt x="799988" y="31047"/>
                  </a:lnTo>
                  <a:lnTo>
                    <a:pt x="780999" y="40465"/>
                  </a:lnTo>
                  <a:lnTo>
                    <a:pt x="776240" y="43481"/>
                  </a:lnTo>
                  <a:lnTo>
                    <a:pt x="773944" y="46256"/>
                  </a:lnTo>
                  <a:lnTo>
                    <a:pt x="770059" y="52305"/>
                  </a:lnTo>
                  <a:lnTo>
                    <a:pt x="768176" y="54127"/>
                  </a:lnTo>
                  <a:lnTo>
                    <a:pt x="759284" y="56999"/>
                  </a:lnTo>
                  <a:lnTo>
                    <a:pt x="757207" y="57306"/>
                  </a:lnTo>
                  <a:lnTo>
                    <a:pt x="750523" y="55901"/>
                  </a:lnTo>
                  <a:lnTo>
                    <a:pt x="748483" y="56032"/>
                  </a:lnTo>
                  <a:lnTo>
                    <a:pt x="740363" y="59150"/>
                  </a:lnTo>
                  <a:lnTo>
                    <a:pt x="737565" y="61035"/>
                  </a:lnTo>
                  <a:lnTo>
                    <a:pt x="734825" y="63405"/>
                  </a:lnTo>
                  <a:lnTo>
                    <a:pt x="730730" y="64450"/>
                  </a:lnTo>
                  <a:lnTo>
                    <a:pt x="726552" y="63891"/>
                  </a:lnTo>
                  <a:lnTo>
                    <a:pt x="707645" y="62655"/>
                  </a:lnTo>
                  <a:lnTo>
                    <a:pt x="705111" y="60991"/>
                  </a:lnTo>
                  <a:lnTo>
                    <a:pt x="703045" y="57792"/>
                  </a:lnTo>
                  <a:lnTo>
                    <a:pt x="706800" y="53689"/>
                  </a:lnTo>
                  <a:lnTo>
                    <a:pt x="685703" y="55216"/>
                  </a:lnTo>
                  <a:lnTo>
                    <a:pt x="662479" y="54384"/>
                  </a:lnTo>
                  <a:lnTo>
                    <a:pt x="661250" y="53805"/>
                  </a:lnTo>
                  <a:lnTo>
                    <a:pt x="660261" y="52218"/>
                  </a:lnTo>
                  <a:lnTo>
                    <a:pt x="652271" y="51132"/>
                  </a:lnTo>
                  <a:lnTo>
                    <a:pt x="646273" y="49828"/>
                  </a:lnTo>
                  <a:lnTo>
                    <a:pt x="641230" y="47630"/>
                  </a:lnTo>
                  <a:lnTo>
                    <a:pt x="636242" y="44772"/>
                  </a:lnTo>
                  <a:lnTo>
                    <a:pt x="637836" y="43435"/>
                  </a:lnTo>
                  <a:lnTo>
                    <a:pt x="639481" y="42652"/>
                  </a:lnTo>
                  <a:lnTo>
                    <a:pt x="643765" y="42323"/>
                  </a:lnTo>
                  <a:lnTo>
                    <a:pt x="647575" y="42721"/>
                  </a:lnTo>
                  <a:lnTo>
                    <a:pt x="654349" y="42696"/>
                  </a:lnTo>
                  <a:lnTo>
                    <a:pt x="655927" y="39811"/>
                  </a:lnTo>
                  <a:lnTo>
                    <a:pt x="658624" y="38978"/>
                  </a:lnTo>
                  <a:lnTo>
                    <a:pt x="660775" y="36906"/>
                  </a:lnTo>
                  <a:lnTo>
                    <a:pt x="653625" y="35599"/>
                  </a:lnTo>
                  <a:lnTo>
                    <a:pt x="646167" y="35404"/>
                  </a:lnTo>
                  <a:lnTo>
                    <a:pt x="641196" y="37126"/>
                  </a:lnTo>
                  <a:lnTo>
                    <a:pt x="635435" y="37905"/>
                  </a:lnTo>
                  <a:lnTo>
                    <a:pt x="630170" y="38008"/>
                  </a:lnTo>
                  <a:lnTo>
                    <a:pt x="620044" y="37519"/>
                  </a:lnTo>
                  <a:lnTo>
                    <a:pt x="615244" y="36296"/>
                  </a:lnTo>
                  <a:lnTo>
                    <a:pt x="608678" y="33099"/>
                  </a:lnTo>
                  <a:lnTo>
                    <a:pt x="606393" y="31331"/>
                  </a:lnTo>
                  <a:lnTo>
                    <a:pt x="605510" y="29942"/>
                  </a:lnTo>
                  <a:lnTo>
                    <a:pt x="604860" y="27837"/>
                  </a:lnTo>
                  <a:lnTo>
                    <a:pt x="612362" y="25948"/>
                  </a:lnTo>
                  <a:lnTo>
                    <a:pt x="615276" y="24459"/>
                  </a:lnTo>
                  <a:lnTo>
                    <a:pt x="618140" y="22421"/>
                  </a:lnTo>
                  <a:lnTo>
                    <a:pt x="606816" y="21262"/>
                  </a:lnTo>
                  <a:lnTo>
                    <a:pt x="602077" y="19551"/>
                  </a:lnTo>
                  <a:lnTo>
                    <a:pt x="597375" y="17035"/>
                  </a:lnTo>
                  <a:lnTo>
                    <a:pt x="601191" y="15615"/>
                  </a:lnTo>
                  <a:lnTo>
                    <a:pt x="616445" y="14481"/>
                  </a:lnTo>
                  <a:lnTo>
                    <a:pt x="620483" y="15430"/>
                  </a:lnTo>
                  <a:lnTo>
                    <a:pt x="624486" y="17260"/>
                  </a:lnTo>
                  <a:lnTo>
                    <a:pt x="628918" y="18387"/>
                  </a:lnTo>
                  <a:lnTo>
                    <a:pt x="633202" y="16016"/>
                  </a:lnTo>
                  <a:lnTo>
                    <a:pt x="629168" y="14892"/>
                  </a:lnTo>
                  <a:lnTo>
                    <a:pt x="625558" y="10941"/>
                  </a:lnTo>
                  <a:lnTo>
                    <a:pt x="624795" y="8977"/>
                  </a:lnTo>
                  <a:lnTo>
                    <a:pt x="625268" y="7466"/>
                  </a:lnTo>
                  <a:lnTo>
                    <a:pt x="627158" y="7240"/>
                  </a:lnTo>
                  <a:lnTo>
                    <a:pt x="628566" y="7896"/>
                  </a:lnTo>
                  <a:lnTo>
                    <a:pt x="633895" y="11613"/>
                  </a:lnTo>
                  <a:lnTo>
                    <a:pt x="637933" y="12772"/>
                  </a:lnTo>
                  <a:lnTo>
                    <a:pt x="639065" y="9340"/>
                  </a:lnTo>
                  <a:lnTo>
                    <a:pt x="639244" y="7707"/>
                  </a:lnTo>
                  <a:lnTo>
                    <a:pt x="638510" y="6354"/>
                  </a:lnTo>
                  <a:lnTo>
                    <a:pt x="636611" y="3856"/>
                  </a:lnTo>
                  <a:lnTo>
                    <a:pt x="634910" y="782"/>
                  </a:lnTo>
                  <a:close/>
                </a:path>
              </a:pathLst>
            </a:custGeom>
            <a:solidFill>
              <a:srgbClr val="A3BA1E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71" name="ee4p_PL_1_82333">
              <a:extLst>
                <a:ext uri="{FF2B5EF4-FFF2-40B4-BE49-F238E27FC236}">
                  <a16:creationId xmlns:a16="http://schemas.microsoft.com/office/drawing/2014/main" id="{26EB63F6-D1F2-6412-1850-17BCB110C972}"/>
                </a:ext>
              </a:extLst>
            </p:cNvPr>
            <p:cNvSpPr>
              <a:spLocks noChangeAspect="1"/>
            </p:cNvSpPr>
            <p:nvPr>
              <p:custDataLst>
                <p:tags r:id="rId99"/>
              </p:custDataLst>
            </p:nvPr>
          </p:nvSpPr>
          <p:spPr>
            <a:xfrm>
              <a:off x="6907042" y="2931553"/>
              <a:ext cx="277060" cy="221875"/>
            </a:xfrm>
            <a:custGeom>
              <a:avLst/>
              <a:gdLst/>
              <a:ahLst/>
              <a:cxnLst/>
              <a:rect l="0" t="0" r="0" b="0"/>
              <a:pathLst>
                <a:path w="220617" h="171991">
                  <a:moveTo>
                    <a:pt x="121082" y="11596"/>
                  </a:moveTo>
                  <a:lnTo>
                    <a:pt x="121963" y="11965"/>
                  </a:lnTo>
                  <a:lnTo>
                    <a:pt x="128156" y="12364"/>
                  </a:lnTo>
                  <a:lnTo>
                    <a:pt x="134433" y="12768"/>
                  </a:lnTo>
                  <a:lnTo>
                    <a:pt x="144528" y="13198"/>
                  </a:lnTo>
                  <a:lnTo>
                    <a:pt x="155049" y="13651"/>
                  </a:lnTo>
                  <a:lnTo>
                    <a:pt x="165965" y="14118"/>
                  </a:lnTo>
                  <a:lnTo>
                    <a:pt x="177778" y="14624"/>
                  </a:lnTo>
                  <a:lnTo>
                    <a:pt x="190236" y="14922"/>
                  </a:lnTo>
                  <a:lnTo>
                    <a:pt x="190996" y="14718"/>
                  </a:lnTo>
                  <a:lnTo>
                    <a:pt x="192268" y="13529"/>
                  </a:lnTo>
                  <a:lnTo>
                    <a:pt x="193821" y="13690"/>
                  </a:lnTo>
                  <a:lnTo>
                    <a:pt x="195652" y="14427"/>
                  </a:lnTo>
                  <a:lnTo>
                    <a:pt x="196509" y="14976"/>
                  </a:lnTo>
                  <a:lnTo>
                    <a:pt x="196872" y="15599"/>
                  </a:lnTo>
                  <a:lnTo>
                    <a:pt x="197098" y="16320"/>
                  </a:lnTo>
                  <a:lnTo>
                    <a:pt x="198100" y="16464"/>
                  </a:lnTo>
                  <a:lnTo>
                    <a:pt x="199931" y="17013"/>
                  </a:lnTo>
                  <a:lnTo>
                    <a:pt x="202408" y="18265"/>
                  </a:lnTo>
                  <a:lnTo>
                    <a:pt x="204349" y="19477"/>
                  </a:lnTo>
                  <a:lnTo>
                    <a:pt x="206196" y="21210"/>
                  </a:lnTo>
                  <a:lnTo>
                    <a:pt x="206809" y="23168"/>
                  </a:lnTo>
                  <a:lnTo>
                    <a:pt x="206846" y="25385"/>
                  </a:lnTo>
                  <a:lnTo>
                    <a:pt x="206727" y="26811"/>
                  </a:lnTo>
                  <a:lnTo>
                    <a:pt x="206883" y="27391"/>
                  </a:lnTo>
                  <a:lnTo>
                    <a:pt x="209409" y="37691"/>
                  </a:lnTo>
                  <a:lnTo>
                    <a:pt x="213618" y="47576"/>
                  </a:lnTo>
                  <a:lnTo>
                    <a:pt x="215164" y="52344"/>
                  </a:lnTo>
                  <a:lnTo>
                    <a:pt x="215781" y="54879"/>
                  </a:lnTo>
                  <a:lnTo>
                    <a:pt x="216274" y="58550"/>
                  </a:lnTo>
                  <a:lnTo>
                    <a:pt x="216427" y="61124"/>
                  </a:lnTo>
                  <a:lnTo>
                    <a:pt x="216408" y="62573"/>
                  </a:lnTo>
                  <a:lnTo>
                    <a:pt x="216094" y="64562"/>
                  </a:lnTo>
                  <a:lnTo>
                    <a:pt x="214844" y="65737"/>
                  </a:lnTo>
                  <a:lnTo>
                    <a:pt x="206770" y="69093"/>
                  </a:lnTo>
                  <a:lnTo>
                    <a:pt x="205252" y="70145"/>
                  </a:lnTo>
                  <a:lnTo>
                    <a:pt x="202872" y="72758"/>
                  </a:lnTo>
                  <a:lnTo>
                    <a:pt x="200679" y="75446"/>
                  </a:lnTo>
                  <a:lnTo>
                    <a:pt x="200173" y="76364"/>
                  </a:lnTo>
                  <a:lnTo>
                    <a:pt x="200037" y="76968"/>
                  </a:lnTo>
                  <a:lnTo>
                    <a:pt x="200521" y="77849"/>
                  </a:lnTo>
                  <a:lnTo>
                    <a:pt x="203399" y="79287"/>
                  </a:lnTo>
                  <a:lnTo>
                    <a:pt x="206302" y="80441"/>
                  </a:lnTo>
                  <a:lnTo>
                    <a:pt x="207247" y="81304"/>
                  </a:lnTo>
                  <a:lnTo>
                    <a:pt x="209388" y="82409"/>
                  </a:lnTo>
                  <a:lnTo>
                    <a:pt x="210169" y="83400"/>
                  </a:lnTo>
                  <a:lnTo>
                    <a:pt x="210592" y="84264"/>
                  </a:lnTo>
                  <a:lnTo>
                    <a:pt x="210562" y="86257"/>
                  </a:lnTo>
                  <a:lnTo>
                    <a:pt x="209597" y="89011"/>
                  </a:lnTo>
                  <a:lnTo>
                    <a:pt x="210001" y="91090"/>
                  </a:lnTo>
                  <a:lnTo>
                    <a:pt x="209020" y="92474"/>
                  </a:lnTo>
                  <a:lnTo>
                    <a:pt x="208213" y="94011"/>
                  </a:lnTo>
                  <a:lnTo>
                    <a:pt x="208098" y="96701"/>
                  </a:lnTo>
                  <a:lnTo>
                    <a:pt x="209550" y="99671"/>
                  </a:lnTo>
                  <a:lnTo>
                    <a:pt x="210735" y="101697"/>
                  </a:lnTo>
                  <a:lnTo>
                    <a:pt x="211195" y="103284"/>
                  </a:lnTo>
                  <a:lnTo>
                    <a:pt x="210707" y="104529"/>
                  </a:lnTo>
                  <a:lnTo>
                    <a:pt x="210858" y="105774"/>
                  </a:lnTo>
                  <a:lnTo>
                    <a:pt x="211914" y="107090"/>
                  </a:lnTo>
                  <a:lnTo>
                    <a:pt x="215259" y="111158"/>
                  </a:lnTo>
                  <a:lnTo>
                    <a:pt x="216909" y="115066"/>
                  </a:lnTo>
                  <a:lnTo>
                    <a:pt x="217963" y="116587"/>
                  </a:lnTo>
                  <a:lnTo>
                    <a:pt x="220396" y="118562"/>
                  </a:lnTo>
                  <a:lnTo>
                    <a:pt x="220616" y="119372"/>
                  </a:lnTo>
                  <a:lnTo>
                    <a:pt x="219640" y="120114"/>
                  </a:lnTo>
                  <a:lnTo>
                    <a:pt x="218852" y="120212"/>
                  </a:lnTo>
                  <a:lnTo>
                    <a:pt x="218213" y="120409"/>
                  </a:lnTo>
                  <a:lnTo>
                    <a:pt x="217801" y="121102"/>
                  </a:lnTo>
                  <a:lnTo>
                    <a:pt x="218440" y="121843"/>
                  </a:lnTo>
                  <a:lnTo>
                    <a:pt x="219301" y="122931"/>
                  </a:lnTo>
                  <a:lnTo>
                    <a:pt x="220372" y="126008"/>
                  </a:lnTo>
                  <a:lnTo>
                    <a:pt x="220266" y="128524"/>
                  </a:lnTo>
                  <a:lnTo>
                    <a:pt x="219442" y="129164"/>
                  </a:lnTo>
                  <a:lnTo>
                    <a:pt x="218388" y="130656"/>
                  </a:lnTo>
                  <a:lnTo>
                    <a:pt x="217673" y="132019"/>
                  </a:lnTo>
                  <a:lnTo>
                    <a:pt x="211903" y="132968"/>
                  </a:lnTo>
                  <a:lnTo>
                    <a:pt x="210517" y="134426"/>
                  </a:lnTo>
                  <a:lnTo>
                    <a:pt x="207358" y="137241"/>
                  </a:lnTo>
                  <a:lnTo>
                    <a:pt x="205201" y="138859"/>
                  </a:lnTo>
                  <a:lnTo>
                    <a:pt x="202013" y="141780"/>
                  </a:lnTo>
                  <a:lnTo>
                    <a:pt x="196969" y="146796"/>
                  </a:lnTo>
                  <a:lnTo>
                    <a:pt x="195110" y="148891"/>
                  </a:lnTo>
                  <a:lnTo>
                    <a:pt x="193749" y="150622"/>
                  </a:lnTo>
                  <a:lnTo>
                    <a:pt x="189668" y="155225"/>
                  </a:lnTo>
                  <a:lnTo>
                    <a:pt x="188413" y="157155"/>
                  </a:lnTo>
                  <a:lnTo>
                    <a:pt x="188662" y="158743"/>
                  </a:lnTo>
                  <a:lnTo>
                    <a:pt x="189972" y="162467"/>
                  </a:lnTo>
                  <a:lnTo>
                    <a:pt x="190249" y="164146"/>
                  </a:lnTo>
                  <a:lnTo>
                    <a:pt x="190018" y="165698"/>
                  </a:lnTo>
                  <a:lnTo>
                    <a:pt x="189584" y="167078"/>
                  </a:lnTo>
                  <a:lnTo>
                    <a:pt x="189657" y="167693"/>
                  </a:lnTo>
                  <a:lnTo>
                    <a:pt x="190862" y="168693"/>
                  </a:lnTo>
                  <a:lnTo>
                    <a:pt x="192784" y="170263"/>
                  </a:lnTo>
                  <a:lnTo>
                    <a:pt x="192894" y="170792"/>
                  </a:lnTo>
                  <a:lnTo>
                    <a:pt x="192622" y="171472"/>
                  </a:lnTo>
                  <a:lnTo>
                    <a:pt x="191959" y="171990"/>
                  </a:lnTo>
                  <a:lnTo>
                    <a:pt x="189560" y="171443"/>
                  </a:lnTo>
                  <a:lnTo>
                    <a:pt x="186878" y="170379"/>
                  </a:lnTo>
                  <a:lnTo>
                    <a:pt x="185965" y="170507"/>
                  </a:lnTo>
                  <a:lnTo>
                    <a:pt x="184513" y="170262"/>
                  </a:lnTo>
                  <a:lnTo>
                    <a:pt x="178532" y="168207"/>
                  </a:lnTo>
                  <a:lnTo>
                    <a:pt x="174498" y="166597"/>
                  </a:lnTo>
                  <a:lnTo>
                    <a:pt x="174101" y="165551"/>
                  </a:lnTo>
                  <a:lnTo>
                    <a:pt x="173339" y="164034"/>
                  </a:lnTo>
                  <a:lnTo>
                    <a:pt x="171624" y="162763"/>
                  </a:lnTo>
                  <a:lnTo>
                    <a:pt x="167688" y="161661"/>
                  </a:lnTo>
                  <a:lnTo>
                    <a:pt x="166085" y="160800"/>
                  </a:lnTo>
                  <a:lnTo>
                    <a:pt x="159691" y="160319"/>
                  </a:lnTo>
                  <a:lnTo>
                    <a:pt x="156917" y="160299"/>
                  </a:lnTo>
                  <a:lnTo>
                    <a:pt x="154952" y="160655"/>
                  </a:lnTo>
                  <a:lnTo>
                    <a:pt x="153697" y="160619"/>
                  </a:lnTo>
                  <a:lnTo>
                    <a:pt x="151967" y="162867"/>
                  </a:lnTo>
                  <a:lnTo>
                    <a:pt x="150775" y="163518"/>
                  </a:lnTo>
                  <a:lnTo>
                    <a:pt x="149033" y="163587"/>
                  </a:lnTo>
                  <a:lnTo>
                    <a:pt x="147508" y="163187"/>
                  </a:lnTo>
                  <a:lnTo>
                    <a:pt x="145949" y="162005"/>
                  </a:lnTo>
                  <a:lnTo>
                    <a:pt x="143453" y="161381"/>
                  </a:lnTo>
                  <a:lnTo>
                    <a:pt x="141650" y="161682"/>
                  </a:lnTo>
                  <a:lnTo>
                    <a:pt x="140322" y="161424"/>
                  </a:lnTo>
                  <a:lnTo>
                    <a:pt x="139175" y="161363"/>
                  </a:lnTo>
                  <a:lnTo>
                    <a:pt x="138778" y="161599"/>
                  </a:lnTo>
                  <a:lnTo>
                    <a:pt x="137856" y="161566"/>
                  </a:lnTo>
                  <a:lnTo>
                    <a:pt x="136519" y="162131"/>
                  </a:lnTo>
                  <a:lnTo>
                    <a:pt x="135059" y="162930"/>
                  </a:lnTo>
                  <a:lnTo>
                    <a:pt x="133448" y="163538"/>
                  </a:lnTo>
                  <a:lnTo>
                    <a:pt x="132209" y="164845"/>
                  </a:lnTo>
                  <a:lnTo>
                    <a:pt x="131103" y="167404"/>
                  </a:lnTo>
                  <a:lnTo>
                    <a:pt x="127974" y="166258"/>
                  </a:lnTo>
                  <a:lnTo>
                    <a:pt x="126931" y="166755"/>
                  </a:lnTo>
                  <a:lnTo>
                    <a:pt x="125457" y="167089"/>
                  </a:lnTo>
                  <a:lnTo>
                    <a:pt x="124448" y="166744"/>
                  </a:lnTo>
                  <a:lnTo>
                    <a:pt x="124686" y="165862"/>
                  </a:lnTo>
                  <a:lnTo>
                    <a:pt x="125141" y="164868"/>
                  </a:lnTo>
                  <a:lnTo>
                    <a:pt x="125120" y="163477"/>
                  </a:lnTo>
                  <a:lnTo>
                    <a:pt x="124830" y="161941"/>
                  </a:lnTo>
                  <a:lnTo>
                    <a:pt x="123861" y="161441"/>
                  </a:lnTo>
                  <a:lnTo>
                    <a:pt x="122403" y="161257"/>
                  </a:lnTo>
                  <a:lnTo>
                    <a:pt x="121654" y="160953"/>
                  </a:lnTo>
                  <a:lnTo>
                    <a:pt x="121574" y="160445"/>
                  </a:lnTo>
                  <a:lnTo>
                    <a:pt x="120831" y="159792"/>
                  </a:lnTo>
                  <a:lnTo>
                    <a:pt x="119542" y="158138"/>
                  </a:lnTo>
                  <a:lnTo>
                    <a:pt x="118324" y="156082"/>
                  </a:lnTo>
                  <a:lnTo>
                    <a:pt x="117482" y="155469"/>
                  </a:lnTo>
                  <a:lnTo>
                    <a:pt x="116258" y="156448"/>
                  </a:lnTo>
                  <a:lnTo>
                    <a:pt x="114403" y="157561"/>
                  </a:lnTo>
                  <a:lnTo>
                    <a:pt x="113250" y="157947"/>
                  </a:lnTo>
                  <a:lnTo>
                    <a:pt x="111021" y="161143"/>
                  </a:lnTo>
                  <a:lnTo>
                    <a:pt x="107017" y="161251"/>
                  </a:lnTo>
                  <a:lnTo>
                    <a:pt x="106771" y="159759"/>
                  </a:lnTo>
                  <a:lnTo>
                    <a:pt x="106350" y="158324"/>
                  </a:lnTo>
                  <a:lnTo>
                    <a:pt x="104007" y="157965"/>
                  </a:lnTo>
                  <a:lnTo>
                    <a:pt x="103942" y="157123"/>
                  </a:lnTo>
                  <a:lnTo>
                    <a:pt x="103448" y="155009"/>
                  </a:lnTo>
                  <a:lnTo>
                    <a:pt x="98754" y="150865"/>
                  </a:lnTo>
                  <a:lnTo>
                    <a:pt x="98183" y="149134"/>
                  </a:lnTo>
                  <a:lnTo>
                    <a:pt x="98367" y="148466"/>
                  </a:lnTo>
                  <a:lnTo>
                    <a:pt x="98041" y="147364"/>
                  </a:lnTo>
                  <a:lnTo>
                    <a:pt x="97020" y="146700"/>
                  </a:lnTo>
                  <a:lnTo>
                    <a:pt x="93310" y="145909"/>
                  </a:lnTo>
                  <a:lnTo>
                    <a:pt x="92355" y="146364"/>
                  </a:lnTo>
                  <a:lnTo>
                    <a:pt x="91494" y="145896"/>
                  </a:lnTo>
                  <a:lnTo>
                    <a:pt x="90144" y="144902"/>
                  </a:lnTo>
                  <a:lnTo>
                    <a:pt x="87799" y="144093"/>
                  </a:lnTo>
                  <a:lnTo>
                    <a:pt x="87544" y="143674"/>
                  </a:lnTo>
                  <a:lnTo>
                    <a:pt x="86700" y="142962"/>
                  </a:lnTo>
                  <a:lnTo>
                    <a:pt x="86231" y="142866"/>
                  </a:lnTo>
                  <a:lnTo>
                    <a:pt x="85929" y="143299"/>
                  </a:lnTo>
                  <a:lnTo>
                    <a:pt x="85247" y="143911"/>
                  </a:lnTo>
                  <a:lnTo>
                    <a:pt x="82837" y="144685"/>
                  </a:lnTo>
                  <a:lnTo>
                    <a:pt x="81874" y="144366"/>
                  </a:lnTo>
                  <a:lnTo>
                    <a:pt x="80999" y="143694"/>
                  </a:lnTo>
                  <a:lnTo>
                    <a:pt x="80001" y="142245"/>
                  </a:lnTo>
                  <a:lnTo>
                    <a:pt x="78552" y="140973"/>
                  </a:lnTo>
                  <a:lnTo>
                    <a:pt x="77358" y="140522"/>
                  </a:lnTo>
                  <a:lnTo>
                    <a:pt x="76678" y="139854"/>
                  </a:lnTo>
                  <a:lnTo>
                    <a:pt x="76525" y="139335"/>
                  </a:lnTo>
                  <a:lnTo>
                    <a:pt x="79176" y="138291"/>
                  </a:lnTo>
                  <a:lnTo>
                    <a:pt x="79755" y="137214"/>
                  </a:lnTo>
                  <a:lnTo>
                    <a:pt x="79416" y="135249"/>
                  </a:lnTo>
                  <a:lnTo>
                    <a:pt x="79021" y="135001"/>
                  </a:lnTo>
                  <a:lnTo>
                    <a:pt x="77970" y="135666"/>
                  </a:lnTo>
                  <a:lnTo>
                    <a:pt x="75756" y="136250"/>
                  </a:lnTo>
                  <a:lnTo>
                    <a:pt x="73716" y="136519"/>
                  </a:lnTo>
                  <a:lnTo>
                    <a:pt x="72675" y="136519"/>
                  </a:lnTo>
                  <a:lnTo>
                    <a:pt x="66853" y="132940"/>
                  </a:lnTo>
                  <a:lnTo>
                    <a:pt x="63067" y="131844"/>
                  </a:lnTo>
                  <a:lnTo>
                    <a:pt x="60841" y="131526"/>
                  </a:lnTo>
                  <a:lnTo>
                    <a:pt x="60599" y="131890"/>
                  </a:lnTo>
                  <a:lnTo>
                    <a:pt x="61608" y="133899"/>
                  </a:lnTo>
                  <a:lnTo>
                    <a:pt x="63346" y="136376"/>
                  </a:lnTo>
                  <a:lnTo>
                    <a:pt x="63264" y="137036"/>
                  </a:lnTo>
                  <a:lnTo>
                    <a:pt x="61178" y="138048"/>
                  </a:lnTo>
                  <a:lnTo>
                    <a:pt x="59995" y="138489"/>
                  </a:lnTo>
                  <a:lnTo>
                    <a:pt x="58597" y="139347"/>
                  </a:lnTo>
                  <a:lnTo>
                    <a:pt x="57418" y="140532"/>
                  </a:lnTo>
                  <a:lnTo>
                    <a:pt x="56397" y="141069"/>
                  </a:lnTo>
                  <a:lnTo>
                    <a:pt x="55514" y="140934"/>
                  </a:lnTo>
                  <a:lnTo>
                    <a:pt x="54574" y="140362"/>
                  </a:lnTo>
                  <a:lnTo>
                    <a:pt x="52163" y="136704"/>
                  </a:lnTo>
                  <a:lnTo>
                    <a:pt x="49131" y="133899"/>
                  </a:lnTo>
                  <a:lnTo>
                    <a:pt x="48770" y="133271"/>
                  </a:lnTo>
                  <a:lnTo>
                    <a:pt x="47822" y="133126"/>
                  </a:lnTo>
                  <a:lnTo>
                    <a:pt x="46483" y="132482"/>
                  </a:lnTo>
                  <a:lnTo>
                    <a:pt x="46032" y="131623"/>
                  </a:lnTo>
                  <a:lnTo>
                    <a:pt x="46704" y="130724"/>
                  </a:lnTo>
                  <a:lnTo>
                    <a:pt x="47628" y="129902"/>
                  </a:lnTo>
                  <a:lnTo>
                    <a:pt x="49267" y="129395"/>
                  </a:lnTo>
                  <a:lnTo>
                    <a:pt x="49764" y="128918"/>
                  </a:lnTo>
                  <a:lnTo>
                    <a:pt x="50055" y="128199"/>
                  </a:lnTo>
                  <a:lnTo>
                    <a:pt x="50662" y="127270"/>
                  </a:lnTo>
                  <a:lnTo>
                    <a:pt x="50502" y="126935"/>
                  </a:lnTo>
                  <a:lnTo>
                    <a:pt x="49340" y="125882"/>
                  </a:lnTo>
                  <a:lnTo>
                    <a:pt x="47621" y="124886"/>
                  </a:lnTo>
                  <a:lnTo>
                    <a:pt x="42849" y="125634"/>
                  </a:lnTo>
                  <a:lnTo>
                    <a:pt x="41540" y="126166"/>
                  </a:lnTo>
                  <a:lnTo>
                    <a:pt x="40802" y="125473"/>
                  </a:lnTo>
                  <a:lnTo>
                    <a:pt x="40243" y="124460"/>
                  </a:lnTo>
                  <a:lnTo>
                    <a:pt x="39035" y="124267"/>
                  </a:lnTo>
                  <a:lnTo>
                    <a:pt x="37384" y="123342"/>
                  </a:lnTo>
                  <a:lnTo>
                    <a:pt x="35423" y="122439"/>
                  </a:lnTo>
                  <a:lnTo>
                    <a:pt x="33508" y="122172"/>
                  </a:lnTo>
                  <a:lnTo>
                    <a:pt x="29528" y="120862"/>
                  </a:lnTo>
                  <a:lnTo>
                    <a:pt x="27995" y="120791"/>
                  </a:lnTo>
                  <a:lnTo>
                    <a:pt x="27105" y="120340"/>
                  </a:lnTo>
                  <a:lnTo>
                    <a:pt x="26181" y="119349"/>
                  </a:lnTo>
                  <a:lnTo>
                    <a:pt x="25395" y="118263"/>
                  </a:lnTo>
                  <a:lnTo>
                    <a:pt x="24987" y="116058"/>
                  </a:lnTo>
                  <a:lnTo>
                    <a:pt x="22054" y="115056"/>
                  </a:lnTo>
                  <a:lnTo>
                    <a:pt x="19131" y="114428"/>
                  </a:lnTo>
                  <a:lnTo>
                    <a:pt x="18925" y="114748"/>
                  </a:lnTo>
                  <a:lnTo>
                    <a:pt x="19046" y="116972"/>
                  </a:lnTo>
                  <a:lnTo>
                    <a:pt x="18891" y="118159"/>
                  </a:lnTo>
                  <a:lnTo>
                    <a:pt x="16965" y="118893"/>
                  </a:lnTo>
                  <a:lnTo>
                    <a:pt x="15054" y="118963"/>
                  </a:lnTo>
                  <a:lnTo>
                    <a:pt x="15161" y="118594"/>
                  </a:lnTo>
                  <a:lnTo>
                    <a:pt x="17444" y="114592"/>
                  </a:lnTo>
                  <a:lnTo>
                    <a:pt x="18470" y="112068"/>
                  </a:lnTo>
                  <a:lnTo>
                    <a:pt x="19636" y="107454"/>
                  </a:lnTo>
                  <a:lnTo>
                    <a:pt x="18232" y="103806"/>
                  </a:lnTo>
                  <a:lnTo>
                    <a:pt x="17843" y="102097"/>
                  </a:lnTo>
                  <a:lnTo>
                    <a:pt x="17189" y="101276"/>
                  </a:lnTo>
                  <a:lnTo>
                    <a:pt x="13181" y="99496"/>
                  </a:lnTo>
                  <a:lnTo>
                    <a:pt x="12877" y="98878"/>
                  </a:lnTo>
                  <a:lnTo>
                    <a:pt x="13490" y="96459"/>
                  </a:lnTo>
                  <a:lnTo>
                    <a:pt x="13186" y="95441"/>
                  </a:lnTo>
                  <a:lnTo>
                    <a:pt x="12222" y="94366"/>
                  </a:lnTo>
                  <a:lnTo>
                    <a:pt x="10953" y="92226"/>
                  </a:lnTo>
                  <a:lnTo>
                    <a:pt x="10460" y="90410"/>
                  </a:lnTo>
                  <a:lnTo>
                    <a:pt x="12080" y="88271"/>
                  </a:lnTo>
                  <a:lnTo>
                    <a:pt x="12479" y="86700"/>
                  </a:lnTo>
                  <a:lnTo>
                    <a:pt x="13184" y="84546"/>
                  </a:lnTo>
                  <a:lnTo>
                    <a:pt x="13699" y="83364"/>
                  </a:lnTo>
                  <a:lnTo>
                    <a:pt x="13797" y="83038"/>
                  </a:lnTo>
                  <a:lnTo>
                    <a:pt x="12736" y="82198"/>
                  </a:lnTo>
                  <a:lnTo>
                    <a:pt x="12467" y="81018"/>
                  </a:lnTo>
                  <a:lnTo>
                    <a:pt x="12754" y="79316"/>
                  </a:lnTo>
                  <a:lnTo>
                    <a:pt x="12190" y="78055"/>
                  </a:lnTo>
                  <a:lnTo>
                    <a:pt x="10769" y="77235"/>
                  </a:lnTo>
                  <a:lnTo>
                    <a:pt x="9847" y="76151"/>
                  </a:lnTo>
                  <a:lnTo>
                    <a:pt x="9420" y="74800"/>
                  </a:lnTo>
                  <a:lnTo>
                    <a:pt x="9754" y="72677"/>
                  </a:lnTo>
                  <a:lnTo>
                    <a:pt x="10853" y="69779"/>
                  </a:lnTo>
                  <a:lnTo>
                    <a:pt x="8523" y="66291"/>
                  </a:lnTo>
                  <a:lnTo>
                    <a:pt x="2767" y="62206"/>
                  </a:lnTo>
                  <a:lnTo>
                    <a:pt x="0" y="59347"/>
                  </a:lnTo>
                  <a:lnTo>
                    <a:pt x="227" y="57713"/>
                  </a:lnTo>
                  <a:lnTo>
                    <a:pt x="1439" y="56233"/>
                  </a:lnTo>
                  <a:lnTo>
                    <a:pt x="3639" y="54902"/>
                  </a:lnTo>
                  <a:lnTo>
                    <a:pt x="5306" y="52540"/>
                  </a:lnTo>
                  <a:lnTo>
                    <a:pt x="6243" y="49736"/>
                  </a:lnTo>
                  <a:lnTo>
                    <a:pt x="6274" y="49204"/>
                  </a:lnTo>
                  <a:lnTo>
                    <a:pt x="6323" y="47199"/>
                  </a:lnTo>
                  <a:lnTo>
                    <a:pt x="3762" y="38982"/>
                  </a:lnTo>
                  <a:lnTo>
                    <a:pt x="3345" y="36921"/>
                  </a:lnTo>
                  <a:lnTo>
                    <a:pt x="3041" y="34433"/>
                  </a:lnTo>
                  <a:lnTo>
                    <a:pt x="2881" y="33753"/>
                  </a:lnTo>
                  <a:lnTo>
                    <a:pt x="7938" y="35498"/>
                  </a:lnTo>
                  <a:lnTo>
                    <a:pt x="10059" y="36480"/>
                  </a:lnTo>
                  <a:lnTo>
                    <a:pt x="9795" y="35377"/>
                  </a:lnTo>
                  <a:lnTo>
                    <a:pt x="9366" y="34427"/>
                  </a:lnTo>
                  <a:lnTo>
                    <a:pt x="9649" y="33031"/>
                  </a:lnTo>
                  <a:lnTo>
                    <a:pt x="9504" y="30923"/>
                  </a:lnTo>
                  <a:lnTo>
                    <a:pt x="4915" y="29847"/>
                  </a:lnTo>
                  <a:lnTo>
                    <a:pt x="1881" y="29483"/>
                  </a:lnTo>
                  <a:lnTo>
                    <a:pt x="1540" y="28020"/>
                  </a:lnTo>
                  <a:lnTo>
                    <a:pt x="1832" y="27072"/>
                  </a:lnTo>
                  <a:lnTo>
                    <a:pt x="2670" y="27630"/>
                  </a:lnTo>
                  <a:lnTo>
                    <a:pt x="5651" y="27849"/>
                  </a:lnTo>
                  <a:lnTo>
                    <a:pt x="12983" y="25011"/>
                  </a:lnTo>
                  <a:lnTo>
                    <a:pt x="25645" y="21319"/>
                  </a:lnTo>
                  <a:lnTo>
                    <a:pt x="39170" y="17850"/>
                  </a:lnTo>
                  <a:lnTo>
                    <a:pt x="42327" y="17472"/>
                  </a:lnTo>
                  <a:lnTo>
                    <a:pt x="45501" y="16741"/>
                  </a:lnTo>
                  <a:lnTo>
                    <a:pt x="46673" y="15441"/>
                  </a:lnTo>
                  <a:lnTo>
                    <a:pt x="47844" y="14571"/>
                  </a:lnTo>
                  <a:lnTo>
                    <a:pt x="49686" y="12276"/>
                  </a:lnTo>
                  <a:lnTo>
                    <a:pt x="53758" y="8706"/>
                  </a:lnTo>
                  <a:lnTo>
                    <a:pt x="60960" y="7404"/>
                  </a:lnTo>
                  <a:lnTo>
                    <a:pt x="63648" y="5708"/>
                  </a:lnTo>
                  <a:lnTo>
                    <a:pt x="69284" y="3330"/>
                  </a:lnTo>
                  <a:lnTo>
                    <a:pt x="82132" y="659"/>
                  </a:lnTo>
                  <a:lnTo>
                    <a:pt x="87499" y="72"/>
                  </a:lnTo>
                  <a:lnTo>
                    <a:pt x="92757" y="0"/>
                  </a:lnTo>
                  <a:lnTo>
                    <a:pt x="97439" y="2108"/>
                  </a:lnTo>
                  <a:lnTo>
                    <a:pt x="102394" y="4707"/>
                  </a:lnTo>
                  <a:lnTo>
                    <a:pt x="103286" y="6274"/>
                  </a:lnTo>
                  <a:lnTo>
                    <a:pt x="100604" y="5297"/>
                  </a:lnTo>
                  <a:lnTo>
                    <a:pt x="96696" y="2963"/>
                  </a:lnTo>
                  <a:lnTo>
                    <a:pt x="95251" y="2864"/>
                  </a:lnTo>
                  <a:lnTo>
                    <a:pt x="98587" y="9956"/>
                  </a:lnTo>
                  <a:lnTo>
                    <a:pt x="100412" y="12458"/>
                  </a:lnTo>
                  <a:lnTo>
                    <a:pt x="104100" y="14328"/>
                  </a:lnTo>
                  <a:lnTo>
                    <a:pt x="107192" y="14958"/>
                  </a:lnTo>
                  <a:lnTo>
                    <a:pt x="116720" y="13825"/>
                  </a:lnTo>
                  <a:lnTo>
                    <a:pt x="120103" y="12345"/>
                  </a:lnTo>
                  <a:close/>
                </a:path>
              </a:pathLst>
            </a:custGeom>
            <a:solidFill>
              <a:srgbClr val="A3BA1E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72" name="ee4p_PT_1_82333">
              <a:extLst>
                <a:ext uri="{FF2B5EF4-FFF2-40B4-BE49-F238E27FC236}">
                  <a16:creationId xmlns:a16="http://schemas.microsoft.com/office/drawing/2014/main" id="{08A6A38F-2B50-2835-BF0A-00CF9F059E61}"/>
                </a:ext>
              </a:extLst>
            </p:cNvPr>
            <p:cNvSpPr>
              <a:spLocks noChangeAspect="1"/>
            </p:cNvSpPr>
            <p:nvPr>
              <p:custDataLst>
                <p:tags r:id="rId100"/>
              </p:custDataLst>
            </p:nvPr>
          </p:nvSpPr>
          <p:spPr>
            <a:xfrm>
              <a:off x="5645994" y="3486435"/>
              <a:ext cx="405146" cy="224000"/>
            </a:xfrm>
            <a:custGeom>
              <a:avLst/>
              <a:gdLst>
                <a:gd name="connsiteX0" fmla="*/ 311606 w 322609"/>
                <a:gd name="connsiteY0" fmla="*/ 168208 h 173638"/>
                <a:gd name="connsiteX1" fmla="*/ 314621 w 322609"/>
                <a:gd name="connsiteY1" fmla="*/ 169508 h 173638"/>
                <a:gd name="connsiteX2" fmla="*/ 317392 w 322609"/>
                <a:gd name="connsiteY2" fmla="*/ 168879 h 173638"/>
                <a:gd name="connsiteX3" fmla="*/ 320824 w 322609"/>
                <a:gd name="connsiteY3" fmla="*/ 170552 h 173638"/>
                <a:gd name="connsiteX4" fmla="*/ 322609 w 322609"/>
                <a:gd name="connsiteY4" fmla="*/ 170935 h 173638"/>
                <a:gd name="connsiteX5" fmla="*/ 321016 w 322609"/>
                <a:gd name="connsiteY5" fmla="*/ 172124 h 173638"/>
                <a:gd name="connsiteX6" fmla="*/ 319422 w 322609"/>
                <a:gd name="connsiteY6" fmla="*/ 173638 h 173638"/>
                <a:gd name="connsiteX7" fmla="*/ 315422 w 322609"/>
                <a:gd name="connsiteY7" fmla="*/ 173281 h 173638"/>
                <a:gd name="connsiteX8" fmla="*/ 312041 w 322609"/>
                <a:gd name="connsiteY8" fmla="*/ 171825 h 173638"/>
                <a:gd name="connsiteX9" fmla="*/ 310828 w 322609"/>
                <a:gd name="connsiteY9" fmla="*/ 170717 h 173638"/>
                <a:gd name="connsiteX10" fmla="*/ 310497 w 322609"/>
                <a:gd name="connsiteY10" fmla="*/ 169718 h 173638"/>
                <a:gd name="connsiteX11" fmla="*/ 137096 w 322609"/>
                <a:gd name="connsiteY11" fmla="*/ 64160 h 173638"/>
                <a:gd name="connsiteX12" fmla="*/ 137949 w 322609"/>
                <a:gd name="connsiteY12" fmla="*/ 64766 h 173638"/>
                <a:gd name="connsiteX13" fmla="*/ 138324 w 322609"/>
                <a:gd name="connsiteY13" fmla="*/ 65789 h 173638"/>
                <a:gd name="connsiteX14" fmla="*/ 138232 w 322609"/>
                <a:gd name="connsiteY14" fmla="*/ 66257 h 173638"/>
                <a:gd name="connsiteX15" fmla="*/ 136975 w 322609"/>
                <a:gd name="connsiteY15" fmla="*/ 66071 h 173638"/>
                <a:gd name="connsiteX16" fmla="*/ 135393 w 322609"/>
                <a:gd name="connsiteY16" fmla="*/ 66211 h 173638"/>
                <a:gd name="connsiteX17" fmla="*/ 134543 w 322609"/>
                <a:gd name="connsiteY17" fmla="*/ 64859 h 173638"/>
                <a:gd name="connsiteX18" fmla="*/ 135313 w 322609"/>
                <a:gd name="connsiteY18" fmla="*/ 64299 h 173638"/>
                <a:gd name="connsiteX19" fmla="*/ 121599 w 322609"/>
                <a:gd name="connsiteY19" fmla="*/ 41515 h 173638"/>
                <a:gd name="connsiteX20" fmla="*/ 124579 w 322609"/>
                <a:gd name="connsiteY20" fmla="*/ 43314 h 173638"/>
                <a:gd name="connsiteX21" fmla="*/ 125983 w 322609"/>
                <a:gd name="connsiteY21" fmla="*/ 43490 h 173638"/>
                <a:gd name="connsiteX22" fmla="*/ 133034 w 322609"/>
                <a:gd name="connsiteY22" fmla="*/ 43116 h 173638"/>
                <a:gd name="connsiteX23" fmla="*/ 134906 w 322609"/>
                <a:gd name="connsiteY23" fmla="*/ 43391 h 173638"/>
                <a:gd name="connsiteX24" fmla="*/ 134712 w 322609"/>
                <a:gd name="connsiteY24" fmla="*/ 45273 h 173638"/>
                <a:gd name="connsiteX25" fmla="*/ 133376 w 322609"/>
                <a:gd name="connsiteY25" fmla="*/ 46024 h 173638"/>
                <a:gd name="connsiteX26" fmla="*/ 129222 w 322609"/>
                <a:gd name="connsiteY26" fmla="*/ 46527 h 173638"/>
                <a:gd name="connsiteX27" fmla="*/ 122689 w 322609"/>
                <a:gd name="connsiteY27" fmla="*/ 45311 h 173638"/>
                <a:gd name="connsiteX28" fmla="*/ 120495 w 322609"/>
                <a:gd name="connsiteY28" fmla="*/ 43694 h 173638"/>
                <a:gd name="connsiteX29" fmla="*/ 120181 w 322609"/>
                <a:gd name="connsiteY29" fmla="*/ 42507 h 173638"/>
                <a:gd name="connsiteX30" fmla="*/ 120225 w 322609"/>
                <a:gd name="connsiteY30" fmla="*/ 41953 h 173638"/>
                <a:gd name="connsiteX31" fmla="*/ 63700 w 322609"/>
                <a:gd name="connsiteY31" fmla="*/ 25019 h 173638"/>
                <a:gd name="connsiteX32" fmla="*/ 69336 w 322609"/>
                <a:gd name="connsiteY32" fmla="*/ 27611 h 173638"/>
                <a:gd name="connsiteX33" fmla="*/ 71160 w 322609"/>
                <a:gd name="connsiteY33" fmla="*/ 28639 h 173638"/>
                <a:gd name="connsiteX34" fmla="*/ 68397 w 322609"/>
                <a:gd name="connsiteY34" fmla="*/ 28860 h 173638"/>
                <a:gd name="connsiteX35" fmla="*/ 67482 w 322609"/>
                <a:gd name="connsiteY35" fmla="*/ 29361 h 173638"/>
                <a:gd name="connsiteX36" fmla="*/ 65243 w 322609"/>
                <a:gd name="connsiteY36" fmla="*/ 28635 h 173638"/>
                <a:gd name="connsiteX37" fmla="*/ 62543 w 322609"/>
                <a:gd name="connsiteY37" fmla="*/ 28744 h 173638"/>
                <a:gd name="connsiteX38" fmla="*/ 60848 w 322609"/>
                <a:gd name="connsiteY38" fmla="*/ 27357 h 173638"/>
                <a:gd name="connsiteX39" fmla="*/ 60457 w 322609"/>
                <a:gd name="connsiteY39" fmla="*/ 25916 h 173638"/>
                <a:gd name="connsiteX40" fmla="*/ 61310 w 322609"/>
                <a:gd name="connsiteY40" fmla="*/ 25028 h 173638"/>
                <a:gd name="connsiteX41" fmla="*/ 57164 w 322609"/>
                <a:gd name="connsiteY41" fmla="*/ 22826 h 173638"/>
                <a:gd name="connsiteX42" fmla="*/ 58100 w 322609"/>
                <a:gd name="connsiteY42" fmla="*/ 23456 h 173638"/>
                <a:gd name="connsiteX43" fmla="*/ 58790 w 322609"/>
                <a:gd name="connsiteY43" fmla="*/ 24170 h 173638"/>
                <a:gd name="connsiteX44" fmla="*/ 59197 w 322609"/>
                <a:gd name="connsiteY44" fmla="*/ 25087 h 173638"/>
                <a:gd name="connsiteX45" fmla="*/ 58412 w 322609"/>
                <a:gd name="connsiteY45" fmla="*/ 25749 h 173638"/>
                <a:gd name="connsiteX46" fmla="*/ 56145 w 322609"/>
                <a:gd name="connsiteY46" fmla="*/ 25817 h 173638"/>
                <a:gd name="connsiteX47" fmla="*/ 53973 w 322609"/>
                <a:gd name="connsiteY47" fmla="*/ 23858 h 173638"/>
                <a:gd name="connsiteX48" fmla="*/ 65724 w 322609"/>
                <a:gd name="connsiteY48" fmla="*/ 20108 h 173638"/>
                <a:gd name="connsiteX49" fmla="*/ 73419 w 322609"/>
                <a:gd name="connsiteY49" fmla="*/ 22882 h 173638"/>
                <a:gd name="connsiteX50" fmla="*/ 77491 w 322609"/>
                <a:gd name="connsiteY50" fmla="*/ 24961 h 173638"/>
                <a:gd name="connsiteX51" fmla="*/ 76443 w 322609"/>
                <a:gd name="connsiteY51" fmla="*/ 25272 h 173638"/>
                <a:gd name="connsiteX52" fmla="*/ 70551 w 322609"/>
                <a:gd name="connsiteY52" fmla="*/ 23288 h 173638"/>
                <a:gd name="connsiteX53" fmla="*/ 68452 w 322609"/>
                <a:gd name="connsiteY53" fmla="*/ 22391 h 173638"/>
                <a:gd name="connsiteX54" fmla="*/ 88963 w 322609"/>
                <a:gd name="connsiteY54" fmla="*/ 18591 h 173638"/>
                <a:gd name="connsiteX55" fmla="*/ 91897 w 322609"/>
                <a:gd name="connsiteY55" fmla="*/ 18923 h 173638"/>
                <a:gd name="connsiteX56" fmla="*/ 93778 w 322609"/>
                <a:gd name="connsiteY56" fmla="*/ 20178 h 173638"/>
                <a:gd name="connsiteX57" fmla="*/ 93776 w 322609"/>
                <a:gd name="connsiteY57" fmla="*/ 21784 h 173638"/>
                <a:gd name="connsiteX58" fmla="*/ 93041 w 322609"/>
                <a:gd name="connsiteY58" fmla="*/ 22698 h 173638"/>
                <a:gd name="connsiteX59" fmla="*/ 92597 w 322609"/>
                <a:gd name="connsiteY59" fmla="*/ 22941 h 173638"/>
                <a:gd name="connsiteX60" fmla="*/ 88009 w 322609"/>
                <a:gd name="connsiteY60" fmla="*/ 22245 h 173638"/>
                <a:gd name="connsiteX61" fmla="*/ 86702 w 322609"/>
                <a:gd name="connsiteY61" fmla="*/ 21296 h 173638"/>
                <a:gd name="connsiteX62" fmla="*/ 86171 w 322609"/>
                <a:gd name="connsiteY62" fmla="*/ 19543 h 173638"/>
                <a:gd name="connsiteX63" fmla="*/ 86943 w 322609"/>
                <a:gd name="connsiteY63" fmla="*/ 18945 h 173638"/>
                <a:gd name="connsiteX64" fmla="*/ 1837 w 322609"/>
                <a:gd name="connsiteY64" fmla="*/ 0 h 173638"/>
                <a:gd name="connsiteX65" fmla="*/ 3191 w 322609"/>
                <a:gd name="connsiteY65" fmla="*/ 1075 h 173638"/>
                <a:gd name="connsiteX66" fmla="*/ 3225 w 322609"/>
                <a:gd name="connsiteY66" fmla="*/ 2957 h 173638"/>
                <a:gd name="connsiteX67" fmla="*/ 2247 w 322609"/>
                <a:gd name="connsiteY67" fmla="*/ 4202 h 173638"/>
                <a:gd name="connsiteX68" fmla="*/ 560 w 322609"/>
                <a:gd name="connsiteY68" fmla="*/ 3760 h 173638"/>
                <a:gd name="connsiteX69" fmla="*/ 0 w 322609"/>
                <a:gd name="connsiteY69" fmla="*/ 3290 h 173638"/>
                <a:gd name="connsiteX70" fmla="*/ 489 w 322609"/>
                <a:gd name="connsiteY70" fmla="*/ 625 h 173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322609" h="173638">
                  <a:moveTo>
                    <a:pt x="311606" y="168208"/>
                  </a:moveTo>
                  <a:lnTo>
                    <a:pt x="314621" y="169508"/>
                  </a:lnTo>
                  <a:lnTo>
                    <a:pt x="317392" y="168879"/>
                  </a:lnTo>
                  <a:lnTo>
                    <a:pt x="320824" y="170552"/>
                  </a:lnTo>
                  <a:lnTo>
                    <a:pt x="322609" y="170935"/>
                  </a:lnTo>
                  <a:lnTo>
                    <a:pt x="321016" y="172124"/>
                  </a:lnTo>
                  <a:lnTo>
                    <a:pt x="319422" y="173638"/>
                  </a:lnTo>
                  <a:lnTo>
                    <a:pt x="315422" y="173281"/>
                  </a:lnTo>
                  <a:lnTo>
                    <a:pt x="312041" y="171825"/>
                  </a:lnTo>
                  <a:lnTo>
                    <a:pt x="310828" y="170717"/>
                  </a:lnTo>
                  <a:lnTo>
                    <a:pt x="310497" y="169718"/>
                  </a:lnTo>
                  <a:close/>
                  <a:moveTo>
                    <a:pt x="137096" y="64160"/>
                  </a:moveTo>
                  <a:lnTo>
                    <a:pt x="137949" y="64766"/>
                  </a:lnTo>
                  <a:lnTo>
                    <a:pt x="138324" y="65789"/>
                  </a:lnTo>
                  <a:lnTo>
                    <a:pt x="138232" y="66257"/>
                  </a:lnTo>
                  <a:lnTo>
                    <a:pt x="136975" y="66071"/>
                  </a:lnTo>
                  <a:lnTo>
                    <a:pt x="135393" y="66211"/>
                  </a:lnTo>
                  <a:lnTo>
                    <a:pt x="134543" y="64859"/>
                  </a:lnTo>
                  <a:lnTo>
                    <a:pt x="135313" y="64299"/>
                  </a:lnTo>
                  <a:close/>
                  <a:moveTo>
                    <a:pt x="121599" y="41515"/>
                  </a:moveTo>
                  <a:lnTo>
                    <a:pt x="124579" y="43314"/>
                  </a:lnTo>
                  <a:lnTo>
                    <a:pt x="125983" y="43490"/>
                  </a:lnTo>
                  <a:lnTo>
                    <a:pt x="133034" y="43116"/>
                  </a:lnTo>
                  <a:lnTo>
                    <a:pt x="134906" y="43391"/>
                  </a:lnTo>
                  <a:lnTo>
                    <a:pt x="134712" y="45273"/>
                  </a:lnTo>
                  <a:lnTo>
                    <a:pt x="133376" y="46024"/>
                  </a:lnTo>
                  <a:lnTo>
                    <a:pt x="129222" y="46527"/>
                  </a:lnTo>
                  <a:lnTo>
                    <a:pt x="122689" y="45311"/>
                  </a:lnTo>
                  <a:lnTo>
                    <a:pt x="120495" y="43694"/>
                  </a:lnTo>
                  <a:lnTo>
                    <a:pt x="120181" y="42507"/>
                  </a:lnTo>
                  <a:lnTo>
                    <a:pt x="120225" y="41953"/>
                  </a:lnTo>
                  <a:close/>
                  <a:moveTo>
                    <a:pt x="63700" y="25019"/>
                  </a:moveTo>
                  <a:lnTo>
                    <a:pt x="69336" y="27611"/>
                  </a:lnTo>
                  <a:lnTo>
                    <a:pt x="71160" y="28639"/>
                  </a:lnTo>
                  <a:lnTo>
                    <a:pt x="68397" y="28860"/>
                  </a:lnTo>
                  <a:lnTo>
                    <a:pt x="67482" y="29361"/>
                  </a:lnTo>
                  <a:lnTo>
                    <a:pt x="65243" y="28635"/>
                  </a:lnTo>
                  <a:lnTo>
                    <a:pt x="62543" y="28744"/>
                  </a:lnTo>
                  <a:lnTo>
                    <a:pt x="60848" y="27357"/>
                  </a:lnTo>
                  <a:lnTo>
                    <a:pt x="60457" y="25916"/>
                  </a:lnTo>
                  <a:lnTo>
                    <a:pt x="61310" y="25028"/>
                  </a:lnTo>
                  <a:close/>
                  <a:moveTo>
                    <a:pt x="57164" y="22826"/>
                  </a:moveTo>
                  <a:lnTo>
                    <a:pt x="58100" y="23456"/>
                  </a:lnTo>
                  <a:lnTo>
                    <a:pt x="58790" y="24170"/>
                  </a:lnTo>
                  <a:lnTo>
                    <a:pt x="59197" y="25087"/>
                  </a:lnTo>
                  <a:lnTo>
                    <a:pt x="58412" y="25749"/>
                  </a:lnTo>
                  <a:lnTo>
                    <a:pt x="56145" y="25817"/>
                  </a:lnTo>
                  <a:lnTo>
                    <a:pt x="53973" y="23858"/>
                  </a:lnTo>
                  <a:close/>
                  <a:moveTo>
                    <a:pt x="65724" y="20108"/>
                  </a:moveTo>
                  <a:lnTo>
                    <a:pt x="73419" y="22882"/>
                  </a:lnTo>
                  <a:lnTo>
                    <a:pt x="77491" y="24961"/>
                  </a:lnTo>
                  <a:lnTo>
                    <a:pt x="76443" y="25272"/>
                  </a:lnTo>
                  <a:lnTo>
                    <a:pt x="70551" y="23288"/>
                  </a:lnTo>
                  <a:lnTo>
                    <a:pt x="68452" y="22391"/>
                  </a:lnTo>
                  <a:close/>
                  <a:moveTo>
                    <a:pt x="88963" y="18591"/>
                  </a:moveTo>
                  <a:lnTo>
                    <a:pt x="91897" y="18923"/>
                  </a:lnTo>
                  <a:lnTo>
                    <a:pt x="93778" y="20178"/>
                  </a:lnTo>
                  <a:lnTo>
                    <a:pt x="93776" y="21784"/>
                  </a:lnTo>
                  <a:lnTo>
                    <a:pt x="93041" y="22698"/>
                  </a:lnTo>
                  <a:lnTo>
                    <a:pt x="92597" y="22941"/>
                  </a:lnTo>
                  <a:lnTo>
                    <a:pt x="88009" y="22245"/>
                  </a:lnTo>
                  <a:lnTo>
                    <a:pt x="86702" y="21296"/>
                  </a:lnTo>
                  <a:lnTo>
                    <a:pt x="86171" y="19543"/>
                  </a:lnTo>
                  <a:lnTo>
                    <a:pt x="86943" y="18945"/>
                  </a:lnTo>
                  <a:close/>
                  <a:moveTo>
                    <a:pt x="1837" y="0"/>
                  </a:moveTo>
                  <a:lnTo>
                    <a:pt x="3191" y="1075"/>
                  </a:lnTo>
                  <a:lnTo>
                    <a:pt x="3225" y="2957"/>
                  </a:lnTo>
                  <a:lnTo>
                    <a:pt x="2247" y="4202"/>
                  </a:lnTo>
                  <a:lnTo>
                    <a:pt x="560" y="3760"/>
                  </a:lnTo>
                  <a:lnTo>
                    <a:pt x="0" y="3290"/>
                  </a:lnTo>
                  <a:lnTo>
                    <a:pt x="489" y="625"/>
                  </a:lnTo>
                  <a:close/>
                </a:path>
              </a:pathLst>
            </a:custGeom>
            <a:solidFill>
              <a:srgbClr val="A3BA1E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73" name="ee4p_PT_2_82333">
              <a:extLst>
                <a:ext uri="{FF2B5EF4-FFF2-40B4-BE49-F238E27FC236}">
                  <a16:creationId xmlns:a16="http://schemas.microsoft.com/office/drawing/2014/main" id="{43DF87A0-3CA7-1A2F-6E1E-8AA037C9FE0A}"/>
                </a:ext>
              </a:extLst>
            </p:cNvPr>
            <p:cNvSpPr>
              <a:spLocks noChangeAspect="1"/>
            </p:cNvSpPr>
            <p:nvPr>
              <p:custDataLst>
                <p:tags r:id="rId101"/>
              </p:custDataLst>
            </p:nvPr>
          </p:nvSpPr>
          <p:spPr>
            <a:xfrm>
              <a:off x="6251454" y="3397769"/>
              <a:ext cx="90730" cy="172049"/>
            </a:xfrm>
            <a:custGeom>
              <a:avLst/>
              <a:gdLst/>
              <a:ahLst/>
              <a:cxnLst/>
              <a:rect l="0" t="0" r="0" b="0"/>
              <a:pathLst>
                <a:path w="72246" h="133367">
                  <a:moveTo>
                    <a:pt x="28883" y="8426"/>
                  </a:moveTo>
                  <a:lnTo>
                    <a:pt x="29348" y="8638"/>
                  </a:lnTo>
                  <a:lnTo>
                    <a:pt x="30632" y="8579"/>
                  </a:lnTo>
                  <a:lnTo>
                    <a:pt x="32920" y="7579"/>
                  </a:lnTo>
                  <a:lnTo>
                    <a:pt x="34470" y="6738"/>
                  </a:lnTo>
                  <a:lnTo>
                    <a:pt x="35011" y="7084"/>
                  </a:lnTo>
                  <a:lnTo>
                    <a:pt x="39507" y="6609"/>
                  </a:lnTo>
                  <a:lnTo>
                    <a:pt x="40577" y="6994"/>
                  </a:lnTo>
                  <a:lnTo>
                    <a:pt x="41286" y="7419"/>
                  </a:lnTo>
                  <a:lnTo>
                    <a:pt x="43497" y="8001"/>
                  </a:lnTo>
                  <a:lnTo>
                    <a:pt x="45907" y="8062"/>
                  </a:lnTo>
                  <a:lnTo>
                    <a:pt x="48894" y="7248"/>
                  </a:lnTo>
                  <a:lnTo>
                    <a:pt x="50197" y="6430"/>
                  </a:lnTo>
                  <a:lnTo>
                    <a:pt x="50447" y="5524"/>
                  </a:lnTo>
                  <a:lnTo>
                    <a:pt x="50513" y="4839"/>
                  </a:lnTo>
                  <a:lnTo>
                    <a:pt x="50898" y="4402"/>
                  </a:lnTo>
                  <a:lnTo>
                    <a:pt x="51579" y="4151"/>
                  </a:lnTo>
                  <a:lnTo>
                    <a:pt x="52640" y="4600"/>
                  </a:lnTo>
                  <a:lnTo>
                    <a:pt x="54158" y="4961"/>
                  </a:lnTo>
                  <a:lnTo>
                    <a:pt x="57806" y="5103"/>
                  </a:lnTo>
                  <a:lnTo>
                    <a:pt x="58521" y="4602"/>
                  </a:lnTo>
                  <a:lnTo>
                    <a:pt x="59757" y="4752"/>
                  </a:lnTo>
                  <a:lnTo>
                    <a:pt x="61386" y="5387"/>
                  </a:lnTo>
                  <a:lnTo>
                    <a:pt x="63273" y="5180"/>
                  </a:lnTo>
                  <a:lnTo>
                    <a:pt x="64222" y="5957"/>
                  </a:lnTo>
                  <a:lnTo>
                    <a:pt x="64616" y="6990"/>
                  </a:lnTo>
                  <a:lnTo>
                    <a:pt x="64725" y="9232"/>
                  </a:lnTo>
                  <a:lnTo>
                    <a:pt x="64584" y="11496"/>
                  </a:lnTo>
                  <a:lnTo>
                    <a:pt x="64955" y="12331"/>
                  </a:lnTo>
                  <a:lnTo>
                    <a:pt x="66227" y="12546"/>
                  </a:lnTo>
                  <a:lnTo>
                    <a:pt x="68283" y="12520"/>
                  </a:lnTo>
                  <a:lnTo>
                    <a:pt x="70133" y="13134"/>
                  </a:lnTo>
                  <a:lnTo>
                    <a:pt x="71569" y="14202"/>
                  </a:lnTo>
                  <a:lnTo>
                    <a:pt x="72043" y="15296"/>
                  </a:lnTo>
                  <a:lnTo>
                    <a:pt x="72245" y="16047"/>
                  </a:lnTo>
                  <a:lnTo>
                    <a:pt x="71542" y="16473"/>
                  </a:lnTo>
                  <a:lnTo>
                    <a:pt x="70546" y="18082"/>
                  </a:lnTo>
                  <a:lnTo>
                    <a:pt x="68030" y="20184"/>
                  </a:lnTo>
                  <a:lnTo>
                    <a:pt x="64431" y="22076"/>
                  </a:lnTo>
                  <a:lnTo>
                    <a:pt x="61684" y="24428"/>
                  </a:lnTo>
                  <a:lnTo>
                    <a:pt x="59790" y="27241"/>
                  </a:lnTo>
                  <a:lnTo>
                    <a:pt x="57423" y="28434"/>
                  </a:lnTo>
                  <a:lnTo>
                    <a:pt x="56700" y="29076"/>
                  </a:lnTo>
                  <a:lnTo>
                    <a:pt x="56414" y="29836"/>
                  </a:lnTo>
                  <a:lnTo>
                    <a:pt x="57978" y="33276"/>
                  </a:lnTo>
                  <a:lnTo>
                    <a:pt x="58461" y="35924"/>
                  </a:lnTo>
                  <a:lnTo>
                    <a:pt x="58849" y="39163"/>
                  </a:lnTo>
                  <a:lnTo>
                    <a:pt x="58595" y="40080"/>
                  </a:lnTo>
                  <a:lnTo>
                    <a:pt x="58466" y="43641"/>
                  </a:lnTo>
                  <a:lnTo>
                    <a:pt x="58104" y="44686"/>
                  </a:lnTo>
                  <a:lnTo>
                    <a:pt x="58194" y="45530"/>
                  </a:lnTo>
                  <a:lnTo>
                    <a:pt x="58773" y="46439"/>
                  </a:lnTo>
                  <a:lnTo>
                    <a:pt x="59030" y="47306"/>
                  </a:lnTo>
                  <a:lnTo>
                    <a:pt x="57952" y="48414"/>
                  </a:lnTo>
                  <a:lnTo>
                    <a:pt x="55972" y="49698"/>
                  </a:lnTo>
                  <a:lnTo>
                    <a:pt x="54507" y="50828"/>
                  </a:lnTo>
                  <a:lnTo>
                    <a:pt x="54111" y="51884"/>
                  </a:lnTo>
                  <a:lnTo>
                    <a:pt x="54217" y="52545"/>
                  </a:lnTo>
                  <a:lnTo>
                    <a:pt x="56681" y="54784"/>
                  </a:lnTo>
                  <a:lnTo>
                    <a:pt x="57130" y="55697"/>
                  </a:lnTo>
                  <a:lnTo>
                    <a:pt x="56796" y="57905"/>
                  </a:lnTo>
                  <a:lnTo>
                    <a:pt x="55376" y="61518"/>
                  </a:lnTo>
                  <a:lnTo>
                    <a:pt x="54020" y="63715"/>
                  </a:lnTo>
                  <a:lnTo>
                    <a:pt x="53784" y="63933"/>
                  </a:lnTo>
                  <a:lnTo>
                    <a:pt x="52230" y="64554"/>
                  </a:lnTo>
                  <a:lnTo>
                    <a:pt x="44791" y="64581"/>
                  </a:lnTo>
                  <a:lnTo>
                    <a:pt x="42987" y="65077"/>
                  </a:lnTo>
                  <a:lnTo>
                    <a:pt x="43241" y="65515"/>
                  </a:lnTo>
                  <a:lnTo>
                    <a:pt x="44990" y="68335"/>
                  </a:lnTo>
                  <a:lnTo>
                    <a:pt x="46812" y="69837"/>
                  </a:lnTo>
                  <a:lnTo>
                    <a:pt x="47415" y="70179"/>
                  </a:lnTo>
                  <a:lnTo>
                    <a:pt x="48071" y="73474"/>
                  </a:lnTo>
                  <a:lnTo>
                    <a:pt x="51020" y="78731"/>
                  </a:lnTo>
                  <a:lnTo>
                    <a:pt x="53882" y="79458"/>
                  </a:lnTo>
                  <a:lnTo>
                    <a:pt x="54877" y="80768"/>
                  </a:lnTo>
                  <a:lnTo>
                    <a:pt x="54694" y="82609"/>
                  </a:lnTo>
                  <a:lnTo>
                    <a:pt x="53814" y="84630"/>
                  </a:lnTo>
                  <a:lnTo>
                    <a:pt x="52057" y="86698"/>
                  </a:lnTo>
                  <a:lnTo>
                    <a:pt x="49969" y="88155"/>
                  </a:lnTo>
                  <a:lnTo>
                    <a:pt x="48607" y="89598"/>
                  </a:lnTo>
                  <a:lnTo>
                    <a:pt x="48500" y="91279"/>
                  </a:lnTo>
                  <a:lnTo>
                    <a:pt x="48067" y="93405"/>
                  </a:lnTo>
                  <a:lnTo>
                    <a:pt x="47407" y="95088"/>
                  </a:lnTo>
                  <a:lnTo>
                    <a:pt x="47247" y="96222"/>
                  </a:lnTo>
                  <a:lnTo>
                    <a:pt x="52479" y="103327"/>
                  </a:lnTo>
                  <a:lnTo>
                    <a:pt x="55389" y="102982"/>
                  </a:lnTo>
                  <a:lnTo>
                    <a:pt x="55770" y="103150"/>
                  </a:lnTo>
                  <a:lnTo>
                    <a:pt x="55250" y="104842"/>
                  </a:lnTo>
                  <a:lnTo>
                    <a:pt x="54327" y="106824"/>
                  </a:lnTo>
                  <a:lnTo>
                    <a:pt x="53229" y="107201"/>
                  </a:lnTo>
                  <a:lnTo>
                    <a:pt x="50732" y="107808"/>
                  </a:lnTo>
                  <a:lnTo>
                    <a:pt x="48370" y="110369"/>
                  </a:lnTo>
                  <a:lnTo>
                    <a:pt x="46454" y="113443"/>
                  </a:lnTo>
                  <a:lnTo>
                    <a:pt x="45016" y="114929"/>
                  </a:lnTo>
                  <a:lnTo>
                    <a:pt x="43698" y="118580"/>
                  </a:lnTo>
                  <a:lnTo>
                    <a:pt x="43864" y="120161"/>
                  </a:lnTo>
                  <a:lnTo>
                    <a:pt x="44502" y="122600"/>
                  </a:lnTo>
                  <a:lnTo>
                    <a:pt x="45851" y="128938"/>
                  </a:lnTo>
                  <a:lnTo>
                    <a:pt x="43918" y="129221"/>
                  </a:lnTo>
                  <a:lnTo>
                    <a:pt x="36388" y="133359"/>
                  </a:lnTo>
                  <a:lnTo>
                    <a:pt x="34053" y="133366"/>
                  </a:lnTo>
                  <a:lnTo>
                    <a:pt x="29696" y="131544"/>
                  </a:lnTo>
                  <a:lnTo>
                    <a:pt x="22011" y="130959"/>
                  </a:lnTo>
                  <a:lnTo>
                    <a:pt x="19505" y="130417"/>
                  </a:lnTo>
                  <a:lnTo>
                    <a:pt x="16377" y="131606"/>
                  </a:lnTo>
                  <a:lnTo>
                    <a:pt x="13959" y="131579"/>
                  </a:lnTo>
                  <a:lnTo>
                    <a:pt x="12037" y="133097"/>
                  </a:lnTo>
                  <a:lnTo>
                    <a:pt x="10656" y="132683"/>
                  </a:lnTo>
                  <a:lnTo>
                    <a:pt x="12239" y="129278"/>
                  </a:lnTo>
                  <a:lnTo>
                    <a:pt x="14717" y="122529"/>
                  </a:lnTo>
                  <a:lnTo>
                    <a:pt x="14620" y="118403"/>
                  </a:lnTo>
                  <a:lnTo>
                    <a:pt x="15211" y="114813"/>
                  </a:lnTo>
                  <a:lnTo>
                    <a:pt x="14529" y="111254"/>
                  </a:lnTo>
                  <a:lnTo>
                    <a:pt x="13285" y="109030"/>
                  </a:lnTo>
                  <a:lnTo>
                    <a:pt x="14981" y="103254"/>
                  </a:lnTo>
                  <a:lnTo>
                    <a:pt x="14788" y="100277"/>
                  </a:lnTo>
                  <a:lnTo>
                    <a:pt x="13237" y="96498"/>
                  </a:lnTo>
                  <a:lnTo>
                    <a:pt x="17942" y="97074"/>
                  </a:lnTo>
                  <a:lnTo>
                    <a:pt x="16490" y="95579"/>
                  </a:lnTo>
                  <a:lnTo>
                    <a:pt x="15055" y="94659"/>
                  </a:lnTo>
                  <a:lnTo>
                    <a:pt x="13668" y="94870"/>
                  </a:lnTo>
                  <a:lnTo>
                    <a:pt x="12492" y="94814"/>
                  </a:lnTo>
                  <a:lnTo>
                    <a:pt x="8485" y="96279"/>
                  </a:lnTo>
                  <a:lnTo>
                    <a:pt x="6479" y="96717"/>
                  </a:lnTo>
                  <a:lnTo>
                    <a:pt x="5892" y="96462"/>
                  </a:lnTo>
                  <a:lnTo>
                    <a:pt x="6111" y="94123"/>
                  </a:lnTo>
                  <a:lnTo>
                    <a:pt x="5071" y="91089"/>
                  </a:lnTo>
                  <a:lnTo>
                    <a:pt x="6676" y="90288"/>
                  </a:lnTo>
                  <a:lnTo>
                    <a:pt x="8545" y="90059"/>
                  </a:lnTo>
                  <a:lnTo>
                    <a:pt x="10133" y="88764"/>
                  </a:lnTo>
                  <a:lnTo>
                    <a:pt x="11115" y="87318"/>
                  </a:lnTo>
                  <a:lnTo>
                    <a:pt x="10597" y="84734"/>
                  </a:lnTo>
                  <a:lnTo>
                    <a:pt x="11977" y="82277"/>
                  </a:lnTo>
                  <a:lnTo>
                    <a:pt x="15216" y="80206"/>
                  </a:lnTo>
                  <a:lnTo>
                    <a:pt x="13538" y="80522"/>
                  </a:lnTo>
                  <a:lnTo>
                    <a:pt x="11618" y="81812"/>
                  </a:lnTo>
                  <a:lnTo>
                    <a:pt x="8595" y="86499"/>
                  </a:lnTo>
                  <a:lnTo>
                    <a:pt x="7605" y="88870"/>
                  </a:lnTo>
                  <a:lnTo>
                    <a:pt x="5029" y="89643"/>
                  </a:lnTo>
                  <a:lnTo>
                    <a:pt x="2720" y="90027"/>
                  </a:lnTo>
                  <a:lnTo>
                    <a:pt x="1538" y="89779"/>
                  </a:lnTo>
                  <a:lnTo>
                    <a:pt x="124" y="89178"/>
                  </a:lnTo>
                  <a:lnTo>
                    <a:pt x="0" y="87425"/>
                  </a:lnTo>
                  <a:lnTo>
                    <a:pt x="110" y="86027"/>
                  </a:lnTo>
                  <a:lnTo>
                    <a:pt x="1068" y="83250"/>
                  </a:lnTo>
                  <a:lnTo>
                    <a:pt x="1446" y="79328"/>
                  </a:lnTo>
                  <a:lnTo>
                    <a:pt x="2806" y="75806"/>
                  </a:lnTo>
                  <a:lnTo>
                    <a:pt x="2709" y="74870"/>
                  </a:lnTo>
                  <a:lnTo>
                    <a:pt x="2321" y="73470"/>
                  </a:lnTo>
                  <a:lnTo>
                    <a:pt x="3540" y="72100"/>
                  </a:lnTo>
                  <a:lnTo>
                    <a:pt x="5049" y="71195"/>
                  </a:lnTo>
                  <a:lnTo>
                    <a:pt x="7329" y="68169"/>
                  </a:lnTo>
                  <a:lnTo>
                    <a:pt x="10518" y="60941"/>
                  </a:lnTo>
                  <a:lnTo>
                    <a:pt x="14194" y="53248"/>
                  </a:lnTo>
                  <a:lnTo>
                    <a:pt x="13896" y="52305"/>
                  </a:lnTo>
                  <a:lnTo>
                    <a:pt x="13115" y="51583"/>
                  </a:lnTo>
                  <a:lnTo>
                    <a:pt x="13424" y="49503"/>
                  </a:lnTo>
                  <a:lnTo>
                    <a:pt x="15640" y="40432"/>
                  </a:lnTo>
                  <a:lnTo>
                    <a:pt x="16543" y="39245"/>
                  </a:lnTo>
                  <a:lnTo>
                    <a:pt x="17582" y="36579"/>
                  </a:lnTo>
                  <a:lnTo>
                    <a:pt x="17817" y="32272"/>
                  </a:lnTo>
                  <a:lnTo>
                    <a:pt x="18224" y="29301"/>
                  </a:lnTo>
                  <a:lnTo>
                    <a:pt x="18130" y="27806"/>
                  </a:lnTo>
                  <a:lnTo>
                    <a:pt x="17803" y="26010"/>
                  </a:lnTo>
                  <a:lnTo>
                    <a:pt x="16393" y="22578"/>
                  </a:lnTo>
                  <a:lnTo>
                    <a:pt x="14905" y="15307"/>
                  </a:lnTo>
                  <a:lnTo>
                    <a:pt x="14791" y="12875"/>
                  </a:lnTo>
                  <a:lnTo>
                    <a:pt x="16016" y="11646"/>
                  </a:lnTo>
                  <a:lnTo>
                    <a:pt x="14005" y="11466"/>
                  </a:lnTo>
                  <a:lnTo>
                    <a:pt x="13094" y="9893"/>
                  </a:lnTo>
                  <a:lnTo>
                    <a:pt x="13301" y="8105"/>
                  </a:lnTo>
                  <a:lnTo>
                    <a:pt x="15536" y="5214"/>
                  </a:lnTo>
                  <a:lnTo>
                    <a:pt x="17618" y="3425"/>
                  </a:lnTo>
                  <a:lnTo>
                    <a:pt x="19682" y="2250"/>
                  </a:lnTo>
                  <a:lnTo>
                    <a:pt x="20822" y="1809"/>
                  </a:lnTo>
                  <a:lnTo>
                    <a:pt x="25588" y="593"/>
                  </a:lnTo>
                  <a:lnTo>
                    <a:pt x="26837" y="0"/>
                  </a:lnTo>
                  <a:lnTo>
                    <a:pt x="28009" y="99"/>
                  </a:lnTo>
                  <a:lnTo>
                    <a:pt x="28205" y="679"/>
                  </a:lnTo>
                  <a:lnTo>
                    <a:pt x="28882" y="1808"/>
                  </a:lnTo>
                  <a:lnTo>
                    <a:pt x="29640" y="2590"/>
                  </a:lnTo>
                  <a:lnTo>
                    <a:pt x="29846" y="3168"/>
                  </a:lnTo>
                  <a:lnTo>
                    <a:pt x="28003" y="5585"/>
                  </a:lnTo>
                  <a:lnTo>
                    <a:pt x="27750" y="6414"/>
                  </a:lnTo>
                  <a:lnTo>
                    <a:pt x="28712" y="7975"/>
                  </a:lnTo>
                  <a:close/>
                </a:path>
              </a:pathLst>
            </a:custGeom>
            <a:solidFill>
              <a:srgbClr val="A3BA1E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74" name="ee4p_RO_1_82333">
              <a:extLst>
                <a:ext uri="{FF2B5EF4-FFF2-40B4-BE49-F238E27FC236}">
                  <a16:creationId xmlns:a16="http://schemas.microsoft.com/office/drawing/2014/main" id="{AD0CAC64-EE91-EBA3-FE68-6C32AEFD9C4F}"/>
                </a:ext>
              </a:extLst>
            </p:cNvPr>
            <p:cNvSpPr>
              <a:spLocks noChangeAspect="1"/>
            </p:cNvSpPr>
            <p:nvPr>
              <p:custDataLst>
                <p:tags r:id="rId102"/>
              </p:custDataLst>
            </p:nvPr>
          </p:nvSpPr>
          <p:spPr>
            <a:xfrm>
              <a:off x="7076802" y="3181189"/>
              <a:ext cx="262812" cy="163616"/>
            </a:xfrm>
            <a:custGeom>
              <a:avLst/>
              <a:gdLst/>
              <a:ahLst/>
              <a:cxnLst/>
              <a:rect l="0" t="0" r="0" b="0"/>
              <a:pathLst>
                <a:path w="209271" h="126830">
                  <a:moveTo>
                    <a:pt x="176249" y="78400"/>
                  </a:moveTo>
                  <a:lnTo>
                    <a:pt x="178575" y="81236"/>
                  </a:lnTo>
                  <a:lnTo>
                    <a:pt x="181529" y="82742"/>
                  </a:lnTo>
                  <a:lnTo>
                    <a:pt x="188372" y="84333"/>
                  </a:lnTo>
                  <a:lnTo>
                    <a:pt x="188980" y="84146"/>
                  </a:lnTo>
                  <a:lnTo>
                    <a:pt x="189050" y="83846"/>
                  </a:lnTo>
                  <a:lnTo>
                    <a:pt x="188573" y="83435"/>
                  </a:lnTo>
                  <a:lnTo>
                    <a:pt x="188501" y="82905"/>
                  </a:lnTo>
                  <a:lnTo>
                    <a:pt x="188836" y="82257"/>
                  </a:lnTo>
                  <a:lnTo>
                    <a:pt x="189777" y="82224"/>
                  </a:lnTo>
                  <a:lnTo>
                    <a:pt x="191326" y="82804"/>
                  </a:lnTo>
                  <a:lnTo>
                    <a:pt x="194269" y="81964"/>
                  </a:lnTo>
                  <a:lnTo>
                    <a:pt x="198605" y="79704"/>
                  </a:lnTo>
                  <a:lnTo>
                    <a:pt x="202589" y="79245"/>
                  </a:lnTo>
                  <a:lnTo>
                    <a:pt x="206215" y="80586"/>
                  </a:lnTo>
                  <a:lnTo>
                    <a:pt x="208078" y="82146"/>
                  </a:lnTo>
                  <a:lnTo>
                    <a:pt x="209270" y="83626"/>
                  </a:lnTo>
                  <a:lnTo>
                    <a:pt x="208899" y="85454"/>
                  </a:lnTo>
                  <a:lnTo>
                    <a:pt x="208668" y="86591"/>
                  </a:lnTo>
                  <a:lnTo>
                    <a:pt x="207711" y="91297"/>
                  </a:lnTo>
                  <a:lnTo>
                    <a:pt x="207050" y="93049"/>
                  </a:lnTo>
                  <a:lnTo>
                    <a:pt x="205990" y="95016"/>
                  </a:lnTo>
                  <a:lnTo>
                    <a:pt x="194729" y="97358"/>
                  </a:lnTo>
                  <a:lnTo>
                    <a:pt x="195454" y="96233"/>
                  </a:lnTo>
                  <a:lnTo>
                    <a:pt x="195191" y="94260"/>
                  </a:lnTo>
                  <a:lnTo>
                    <a:pt x="194718" y="92770"/>
                  </a:lnTo>
                  <a:lnTo>
                    <a:pt x="195770" y="91422"/>
                  </a:lnTo>
                  <a:lnTo>
                    <a:pt x="193234" y="90933"/>
                  </a:lnTo>
                  <a:lnTo>
                    <a:pt x="192127" y="91674"/>
                  </a:lnTo>
                  <a:lnTo>
                    <a:pt x="191263" y="92962"/>
                  </a:lnTo>
                  <a:lnTo>
                    <a:pt x="192030" y="95928"/>
                  </a:lnTo>
                  <a:lnTo>
                    <a:pt x="190797" y="97566"/>
                  </a:lnTo>
                  <a:lnTo>
                    <a:pt x="190324" y="98483"/>
                  </a:lnTo>
                  <a:lnTo>
                    <a:pt x="190268" y="100647"/>
                  </a:lnTo>
                  <a:lnTo>
                    <a:pt x="189540" y="101583"/>
                  </a:lnTo>
                  <a:lnTo>
                    <a:pt x="189395" y="102602"/>
                  </a:lnTo>
                  <a:lnTo>
                    <a:pt x="191190" y="102338"/>
                  </a:lnTo>
                  <a:lnTo>
                    <a:pt x="190384" y="104205"/>
                  </a:lnTo>
                  <a:lnTo>
                    <a:pt x="187011" y="107790"/>
                  </a:lnTo>
                  <a:lnTo>
                    <a:pt x="185821" y="109923"/>
                  </a:lnTo>
                  <a:lnTo>
                    <a:pt x="186113" y="118372"/>
                  </a:lnTo>
                  <a:lnTo>
                    <a:pt x="184612" y="123412"/>
                  </a:lnTo>
                  <a:lnTo>
                    <a:pt x="184494" y="124901"/>
                  </a:lnTo>
                  <a:lnTo>
                    <a:pt x="180913" y="124949"/>
                  </a:lnTo>
                  <a:lnTo>
                    <a:pt x="179847" y="124833"/>
                  </a:lnTo>
                  <a:lnTo>
                    <a:pt x="176458" y="124075"/>
                  </a:lnTo>
                  <a:lnTo>
                    <a:pt x="172655" y="122736"/>
                  </a:lnTo>
                  <a:lnTo>
                    <a:pt x="170421" y="120137"/>
                  </a:lnTo>
                  <a:lnTo>
                    <a:pt x="168991" y="118277"/>
                  </a:lnTo>
                  <a:lnTo>
                    <a:pt x="165769" y="119118"/>
                  </a:lnTo>
                  <a:lnTo>
                    <a:pt x="165154" y="118893"/>
                  </a:lnTo>
                  <a:lnTo>
                    <a:pt x="164273" y="117995"/>
                  </a:lnTo>
                  <a:lnTo>
                    <a:pt x="161844" y="117392"/>
                  </a:lnTo>
                  <a:lnTo>
                    <a:pt x="158844" y="117380"/>
                  </a:lnTo>
                  <a:lnTo>
                    <a:pt x="152107" y="113978"/>
                  </a:lnTo>
                  <a:lnTo>
                    <a:pt x="151360" y="113402"/>
                  </a:lnTo>
                  <a:lnTo>
                    <a:pt x="146071" y="113977"/>
                  </a:lnTo>
                  <a:lnTo>
                    <a:pt x="138144" y="115662"/>
                  </a:lnTo>
                  <a:lnTo>
                    <a:pt x="132098" y="117738"/>
                  </a:lnTo>
                  <a:lnTo>
                    <a:pt x="125853" y="121436"/>
                  </a:lnTo>
                  <a:lnTo>
                    <a:pt x="123320" y="124237"/>
                  </a:lnTo>
                  <a:lnTo>
                    <a:pt x="120385" y="125724"/>
                  </a:lnTo>
                  <a:lnTo>
                    <a:pt x="116205" y="126829"/>
                  </a:lnTo>
                  <a:lnTo>
                    <a:pt x="108744" y="126410"/>
                  </a:lnTo>
                  <a:lnTo>
                    <a:pt x="100973" y="125005"/>
                  </a:lnTo>
                  <a:lnTo>
                    <a:pt x="92622" y="123493"/>
                  </a:lnTo>
                  <a:lnTo>
                    <a:pt x="88116" y="124328"/>
                  </a:lnTo>
                  <a:lnTo>
                    <a:pt x="82013" y="123702"/>
                  </a:lnTo>
                  <a:lnTo>
                    <a:pt x="72810" y="121895"/>
                  </a:lnTo>
                  <a:lnTo>
                    <a:pt x="65956" y="121346"/>
                  </a:lnTo>
                  <a:lnTo>
                    <a:pt x="59199" y="122411"/>
                  </a:lnTo>
                  <a:lnTo>
                    <a:pt x="58064" y="121598"/>
                  </a:lnTo>
                  <a:lnTo>
                    <a:pt x="57815" y="120666"/>
                  </a:lnTo>
                  <a:lnTo>
                    <a:pt x="58076" y="119345"/>
                  </a:lnTo>
                  <a:lnTo>
                    <a:pt x="59029" y="118281"/>
                  </a:lnTo>
                  <a:lnTo>
                    <a:pt x="60666" y="117476"/>
                  </a:lnTo>
                  <a:lnTo>
                    <a:pt x="61529" y="116657"/>
                  </a:lnTo>
                  <a:lnTo>
                    <a:pt x="61620" y="115824"/>
                  </a:lnTo>
                  <a:lnTo>
                    <a:pt x="59783" y="114489"/>
                  </a:lnTo>
                  <a:lnTo>
                    <a:pt x="56019" y="112648"/>
                  </a:lnTo>
                  <a:lnTo>
                    <a:pt x="54468" y="111493"/>
                  </a:lnTo>
                  <a:lnTo>
                    <a:pt x="54088" y="111208"/>
                  </a:lnTo>
                  <a:lnTo>
                    <a:pt x="53987" y="110172"/>
                  </a:lnTo>
                  <a:lnTo>
                    <a:pt x="53205" y="109359"/>
                  </a:lnTo>
                  <a:lnTo>
                    <a:pt x="51743" y="108764"/>
                  </a:lnTo>
                  <a:lnTo>
                    <a:pt x="50611" y="107688"/>
                  </a:lnTo>
                  <a:lnTo>
                    <a:pt x="49813" y="106127"/>
                  </a:lnTo>
                  <a:lnTo>
                    <a:pt x="49985" y="104654"/>
                  </a:lnTo>
                  <a:lnTo>
                    <a:pt x="51128" y="103274"/>
                  </a:lnTo>
                  <a:lnTo>
                    <a:pt x="52590" y="102675"/>
                  </a:lnTo>
                  <a:lnTo>
                    <a:pt x="54373" y="102861"/>
                  </a:lnTo>
                  <a:lnTo>
                    <a:pt x="55116" y="102469"/>
                  </a:lnTo>
                  <a:lnTo>
                    <a:pt x="54818" y="101501"/>
                  </a:lnTo>
                  <a:lnTo>
                    <a:pt x="53075" y="100263"/>
                  </a:lnTo>
                  <a:lnTo>
                    <a:pt x="49882" y="98757"/>
                  </a:lnTo>
                  <a:lnTo>
                    <a:pt x="46632" y="99578"/>
                  </a:lnTo>
                  <a:lnTo>
                    <a:pt x="43322" y="102721"/>
                  </a:lnTo>
                  <a:lnTo>
                    <a:pt x="40935" y="103231"/>
                  </a:lnTo>
                  <a:lnTo>
                    <a:pt x="39473" y="101110"/>
                  </a:lnTo>
                  <a:lnTo>
                    <a:pt x="36871" y="99850"/>
                  </a:lnTo>
                  <a:lnTo>
                    <a:pt x="33133" y="99454"/>
                  </a:lnTo>
                  <a:lnTo>
                    <a:pt x="30832" y="98643"/>
                  </a:lnTo>
                  <a:lnTo>
                    <a:pt x="29968" y="97417"/>
                  </a:lnTo>
                  <a:lnTo>
                    <a:pt x="28333" y="96471"/>
                  </a:lnTo>
                  <a:lnTo>
                    <a:pt x="24727" y="95473"/>
                  </a:lnTo>
                  <a:lnTo>
                    <a:pt x="24679" y="94514"/>
                  </a:lnTo>
                  <a:lnTo>
                    <a:pt x="25264" y="94289"/>
                  </a:lnTo>
                  <a:lnTo>
                    <a:pt x="26543" y="94198"/>
                  </a:lnTo>
                  <a:lnTo>
                    <a:pt x="28262" y="93996"/>
                  </a:lnTo>
                  <a:lnTo>
                    <a:pt x="28536" y="93453"/>
                  </a:lnTo>
                  <a:lnTo>
                    <a:pt x="28555" y="92957"/>
                  </a:lnTo>
                  <a:lnTo>
                    <a:pt x="27202" y="92325"/>
                  </a:lnTo>
                  <a:lnTo>
                    <a:pt x="25830" y="91895"/>
                  </a:lnTo>
                  <a:lnTo>
                    <a:pt x="25118" y="91466"/>
                  </a:lnTo>
                  <a:lnTo>
                    <a:pt x="24660" y="90992"/>
                  </a:lnTo>
                  <a:lnTo>
                    <a:pt x="24569" y="90494"/>
                  </a:lnTo>
                  <a:lnTo>
                    <a:pt x="24971" y="90156"/>
                  </a:lnTo>
                  <a:lnTo>
                    <a:pt x="25520" y="90133"/>
                  </a:lnTo>
                  <a:lnTo>
                    <a:pt x="26068" y="89839"/>
                  </a:lnTo>
                  <a:lnTo>
                    <a:pt x="26373" y="88685"/>
                  </a:lnTo>
                  <a:lnTo>
                    <a:pt x="27111" y="87736"/>
                  </a:lnTo>
                  <a:lnTo>
                    <a:pt x="27640" y="87396"/>
                  </a:lnTo>
                  <a:lnTo>
                    <a:pt x="27605" y="86694"/>
                  </a:lnTo>
                  <a:lnTo>
                    <a:pt x="27057" y="86038"/>
                  </a:lnTo>
                  <a:lnTo>
                    <a:pt x="26306" y="85472"/>
                  </a:lnTo>
                  <a:lnTo>
                    <a:pt x="25206" y="85129"/>
                  </a:lnTo>
                  <a:lnTo>
                    <a:pt x="21773" y="84137"/>
                  </a:lnTo>
                  <a:lnTo>
                    <a:pt x="20035" y="82754"/>
                  </a:lnTo>
                  <a:lnTo>
                    <a:pt x="18974" y="82704"/>
                  </a:lnTo>
                  <a:lnTo>
                    <a:pt x="17292" y="81937"/>
                  </a:lnTo>
                  <a:lnTo>
                    <a:pt x="15478" y="80736"/>
                  </a:lnTo>
                  <a:lnTo>
                    <a:pt x="13909" y="79029"/>
                  </a:lnTo>
                  <a:lnTo>
                    <a:pt x="12211" y="77921"/>
                  </a:lnTo>
                  <a:lnTo>
                    <a:pt x="11773" y="77467"/>
                  </a:lnTo>
                  <a:lnTo>
                    <a:pt x="11734" y="77036"/>
                  </a:lnTo>
                  <a:lnTo>
                    <a:pt x="12045" y="76559"/>
                  </a:lnTo>
                  <a:lnTo>
                    <a:pt x="12034" y="76037"/>
                  </a:lnTo>
                  <a:lnTo>
                    <a:pt x="11587" y="74360"/>
                  </a:lnTo>
                  <a:lnTo>
                    <a:pt x="11885" y="72585"/>
                  </a:lnTo>
                  <a:lnTo>
                    <a:pt x="11807" y="70919"/>
                  </a:lnTo>
                  <a:lnTo>
                    <a:pt x="11790" y="70168"/>
                  </a:lnTo>
                  <a:lnTo>
                    <a:pt x="11462" y="69939"/>
                  </a:lnTo>
                  <a:lnTo>
                    <a:pt x="11168" y="70190"/>
                  </a:lnTo>
                  <a:lnTo>
                    <a:pt x="10747" y="70509"/>
                  </a:lnTo>
                  <a:lnTo>
                    <a:pt x="10337" y="70568"/>
                  </a:lnTo>
                  <a:lnTo>
                    <a:pt x="9086" y="69353"/>
                  </a:lnTo>
                  <a:lnTo>
                    <a:pt x="7504" y="66869"/>
                  </a:lnTo>
                  <a:lnTo>
                    <a:pt x="6430" y="66041"/>
                  </a:lnTo>
                  <a:lnTo>
                    <a:pt x="4338" y="64902"/>
                  </a:lnTo>
                  <a:lnTo>
                    <a:pt x="2583" y="63944"/>
                  </a:lnTo>
                  <a:lnTo>
                    <a:pt x="1317" y="61867"/>
                  </a:lnTo>
                  <a:lnTo>
                    <a:pt x="0" y="60267"/>
                  </a:lnTo>
                  <a:lnTo>
                    <a:pt x="866" y="59592"/>
                  </a:lnTo>
                  <a:lnTo>
                    <a:pt x="5889" y="58653"/>
                  </a:lnTo>
                  <a:lnTo>
                    <a:pt x="8223" y="59578"/>
                  </a:lnTo>
                  <a:lnTo>
                    <a:pt x="9270" y="59242"/>
                  </a:lnTo>
                  <a:lnTo>
                    <a:pt x="10296" y="58491"/>
                  </a:lnTo>
                  <a:lnTo>
                    <a:pt x="10855" y="57893"/>
                  </a:lnTo>
                  <a:lnTo>
                    <a:pt x="10959" y="57255"/>
                  </a:lnTo>
                  <a:lnTo>
                    <a:pt x="11464" y="56459"/>
                  </a:lnTo>
                  <a:lnTo>
                    <a:pt x="13161" y="56086"/>
                  </a:lnTo>
                  <a:lnTo>
                    <a:pt x="17646" y="56570"/>
                  </a:lnTo>
                  <a:lnTo>
                    <a:pt x="19456" y="55457"/>
                  </a:lnTo>
                  <a:lnTo>
                    <a:pt x="20125" y="54850"/>
                  </a:lnTo>
                  <a:lnTo>
                    <a:pt x="20533" y="53510"/>
                  </a:lnTo>
                  <a:lnTo>
                    <a:pt x="21006" y="52433"/>
                  </a:lnTo>
                  <a:lnTo>
                    <a:pt x="22615" y="51857"/>
                  </a:lnTo>
                  <a:lnTo>
                    <a:pt x="22587" y="50874"/>
                  </a:lnTo>
                  <a:lnTo>
                    <a:pt x="22343" y="49802"/>
                  </a:lnTo>
                  <a:lnTo>
                    <a:pt x="23278" y="47411"/>
                  </a:lnTo>
                  <a:lnTo>
                    <a:pt x="23846" y="46429"/>
                  </a:lnTo>
                  <a:lnTo>
                    <a:pt x="24755" y="46069"/>
                  </a:lnTo>
                  <a:lnTo>
                    <a:pt x="25854" y="45316"/>
                  </a:lnTo>
                  <a:lnTo>
                    <a:pt x="27757" y="43746"/>
                  </a:lnTo>
                  <a:lnTo>
                    <a:pt x="27314" y="42381"/>
                  </a:lnTo>
                  <a:lnTo>
                    <a:pt x="27698" y="41368"/>
                  </a:lnTo>
                  <a:lnTo>
                    <a:pt x="29683" y="38899"/>
                  </a:lnTo>
                  <a:lnTo>
                    <a:pt x="31197" y="36517"/>
                  </a:lnTo>
                  <a:lnTo>
                    <a:pt x="31171" y="35324"/>
                  </a:lnTo>
                  <a:lnTo>
                    <a:pt x="31391" y="34281"/>
                  </a:lnTo>
                  <a:lnTo>
                    <a:pt x="32725" y="33138"/>
                  </a:lnTo>
                  <a:lnTo>
                    <a:pt x="34133" y="31648"/>
                  </a:lnTo>
                  <a:lnTo>
                    <a:pt x="35988" y="26992"/>
                  </a:lnTo>
                  <a:lnTo>
                    <a:pt x="36649" y="26208"/>
                  </a:lnTo>
                  <a:lnTo>
                    <a:pt x="37867" y="25320"/>
                  </a:lnTo>
                  <a:lnTo>
                    <a:pt x="38774" y="24439"/>
                  </a:lnTo>
                  <a:lnTo>
                    <a:pt x="38871" y="21373"/>
                  </a:lnTo>
                  <a:lnTo>
                    <a:pt x="39717" y="20486"/>
                  </a:lnTo>
                  <a:lnTo>
                    <a:pt x="41352" y="19492"/>
                  </a:lnTo>
                  <a:lnTo>
                    <a:pt x="42970" y="17890"/>
                  </a:lnTo>
                  <a:lnTo>
                    <a:pt x="44287" y="15997"/>
                  </a:lnTo>
                  <a:lnTo>
                    <a:pt x="45304" y="15113"/>
                  </a:lnTo>
                  <a:lnTo>
                    <a:pt x="46649" y="14877"/>
                  </a:lnTo>
                  <a:lnTo>
                    <a:pt x="48109" y="14133"/>
                  </a:lnTo>
                  <a:lnTo>
                    <a:pt x="49744" y="13854"/>
                  </a:lnTo>
                  <a:lnTo>
                    <a:pt x="51324" y="14220"/>
                  </a:lnTo>
                  <a:lnTo>
                    <a:pt x="52330" y="14030"/>
                  </a:lnTo>
                  <a:lnTo>
                    <a:pt x="53842" y="13109"/>
                  </a:lnTo>
                  <a:lnTo>
                    <a:pt x="57712" y="9629"/>
                  </a:lnTo>
                  <a:lnTo>
                    <a:pt x="58262" y="8933"/>
                  </a:lnTo>
                  <a:lnTo>
                    <a:pt x="59063" y="8454"/>
                  </a:lnTo>
                  <a:lnTo>
                    <a:pt x="62201" y="7261"/>
                  </a:lnTo>
                  <a:lnTo>
                    <a:pt x="62998" y="6059"/>
                  </a:lnTo>
                  <a:lnTo>
                    <a:pt x="64073" y="4978"/>
                  </a:lnTo>
                  <a:lnTo>
                    <a:pt x="65470" y="5059"/>
                  </a:lnTo>
                  <a:lnTo>
                    <a:pt x="70016" y="7728"/>
                  </a:lnTo>
                  <a:lnTo>
                    <a:pt x="74892" y="7563"/>
                  </a:lnTo>
                  <a:lnTo>
                    <a:pt x="75784" y="7662"/>
                  </a:lnTo>
                  <a:lnTo>
                    <a:pt x="76071" y="7717"/>
                  </a:lnTo>
                  <a:lnTo>
                    <a:pt x="76667" y="7936"/>
                  </a:lnTo>
                  <a:lnTo>
                    <a:pt x="83143" y="9256"/>
                  </a:lnTo>
                  <a:lnTo>
                    <a:pt x="84149" y="9109"/>
                  </a:lnTo>
                  <a:lnTo>
                    <a:pt x="84423" y="9003"/>
                  </a:lnTo>
                  <a:lnTo>
                    <a:pt x="87032" y="10095"/>
                  </a:lnTo>
                  <a:lnTo>
                    <a:pt x="89336" y="9950"/>
                  </a:lnTo>
                  <a:lnTo>
                    <a:pt x="91526" y="9193"/>
                  </a:lnTo>
                  <a:lnTo>
                    <a:pt x="93806" y="8937"/>
                  </a:lnTo>
                  <a:lnTo>
                    <a:pt x="95902" y="9390"/>
                  </a:lnTo>
                  <a:lnTo>
                    <a:pt x="97496" y="10927"/>
                  </a:lnTo>
                  <a:lnTo>
                    <a:pt x="101629" y="14184"/>
                  </a:lnTo>
                  <a:lnTo>
                    <a:pt x="102856" y="15396"/>
                  </a:lnTo>
                  <a:lnTo>
                    <a:pt x="104752" y="15217"/>
                  </a:lnTo>
                  <a:lnTo>
                    <a:pt x="106846" y="14610"/>
                  </a:lnTo>
                  <a:lnTo>
                    <a:pt x="108964" y="12432"/>
                  </a:lnTo>
                  <a:lnTo>
                    <a:pt x="115480" y="9961"/>
                  </a:lnTo>
                  <a:lnTo>
                    <a:pt x="120455" y="9350"/>
                  </a:lnTo>
                  <a:lnTo>
                    <a:pt x="125307" y="8360"/>
                  </a:lnTo>
                  <a:lnTo>
                    <a:pt x="130924" y="7656"/>
                  </a:lnTo>
                  <a:lnTo>
                    <a:pt x="132549" y="5629"/>
                  </a:lnTo>
                  <a:lnTo>
                    <a:pt x="133450" y="4248"/>
                  </a:lnTo>
                  <a:lnTo>
                    <a:pt x="134085" y="1690"/>
                  </a:lnTo>
                  <a:lnTo>
                    <a:pt x="137108" y="948"/>
                  </a:lnTo>
                  <a:lnTo>
                    <a:pt x="139984" y="425"/>
                  </a:lnTo>
                  <a:lnTo>
                    <a:pt x="141012" y="102"/>
                  </a:lnTo>
                  <a:lnTo>
                    <a:pt x="143109" y="0"/>
                  </a:lnTo>
                  <a:lnTo>
                    <a:pt x="144735" y="217"/>
                  </a:lnTo>
                  <a:lnTo>
                    <a:pt x="147249" y="1481"/>
                  </a:lnTo>
                  <a:lnTo>
                    <a:pt x="149013" y="3067"/>
                  </a:lnTo>
                  <a:lnTo>
                    <a:pt x="149708" y="4325"/>
                  </a:lnTo>
                  <a:lnTo>
                    <a:pt x="151215" y="6100"/>
                  </a:lnTo>
                  <a:lnTo>
                    <a:pt x="152800" y="8594"/>
                  </a:lnTo>
                  <a:lnTo>
                    <a:pt x="154543" y="11906"/>
                  </a:lnTo>
                  <a:lnTo>
                    <a:pt x="154925" y="13582"/>
                  </a:lnTo>
                  <a:lnTo>
                    <a:pt x="155584" y="15390"/>
                  </a:lnTo>
                  <a:lnTo>
                    <a:pt x="156888" y="17590"/>
                  </a:lnTo>
                  <a:lnTo>
                    <a:pt x="159371" y="20023"/>
                  </a:lnTo>
                  <a:lnTo>
                    <a:pt x="159717" y="20485"/>
                  </a:lnTo>
                  <a:lnTo>
                    <a:pt x="160844" y="22198"/>
                  </a:lnTo>
                  <a:lnTo>
                    <a:pt x="163016" y="25985"/>
                  </a:lnTo>
                  <a:lnTo>
                    <a:pt x="164832" y="27500"/>
                  </a:lnTo>
                  <a:lnTo>
                    <a:pt x="166419" y="29147"/>
                  </a:lnTo>
                  <a:lnTo>
                    <a:pt x="167179" y="30805"/>
                  </a:lnTo>
                  <a:lnTo>
                    <a:pt x="168317" y="32309"/>
                  </a:lnTo>
                  <a:lnTo>
                    <a:pt x="170980" y="34300"/>
                  </a:lnTo>
                  <a:lnTo>
                    <a:pt x="173137" y="36109"/>
                  </a:lnTo>
                  <a:lnTo>
                    <a:pt x="174867" y="41302"/>
                  </a:lnTo>
                  <a:lnTo>
                    <a:pt x="176076" y="43687"/>
                  </a:lnTo>
                  <a:lnTo>
                    <a:pt x="176845" y="45511"/>
                  </a:lnTo>
                  <a:lnTo>
                    <a:pt x="176473" y="49200"/>
                  </a:lnTo>
                  <a:lnTo>
                    <a:pt x="176953" y="50776"/>
                  </a:lnTo>
                  <a:lnTo>
                    <a:pt x="175964" y="53652"/>
                  </a:lnTo>
                  <a:lnTo>
                    <a:pt x="174184" y="59435"/>
                  </a:lnTo>
                  <a:lnTo>
                    <a:pt x="173755" y="64024"/>
                  </a:lnTo>
                  <a:lnTo>
                    <a:pt x="174062" y="66495"/>
                  </a:lnTo>
                  <a:lnTo>
                    <a:pt x="174105" y="68081"/>
                  </a:lnTo>
                  <a:lnTo>
                    <a:pt x="174534" y="69091"/>
                  </a:lnTo>
                  <a:lnTo>
                    <a:pt x="175005" y="71179"/>
                  </a:lnTo>
                  <a:lnTo>
                    <a:pt x="175083" y="72995"/>
                  </a:lnTo>
                  <a:lnTo>
                    <a:pt x="174444" y="73513"/>
                  </a:lnTo>
                  <a:lnTo>
                    <a:pt x="173548" y="73940"/>
                  </a:lnTo>
                  <a:lnTo>
                    <a:pt x="173202" y="74319"/>
                  </a:lnTo>
                  <a:lnTo>
                    <a:pt x="174025" y="75139"/>
                  </a:lnTo>
                  <a:lnTo>
                    <a:pt x="175143" y="76661"/>
                  </a:lnTo>
                  <a:close/>
                </a:path>
              </a:pathLst>
            </a:custGeom>
            <a:solidFill>
              <a:srgbClr val="A3BA1E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75" name="ee4p_IT_2_82333">
              <a:extLst>
                <a:ext uri="{FF2B5EF4-FFF2-40B4-BE49-F238E27FC236}">
                  <a16:creationId xmlns:a16="http://schemas.microsoft.com/office/drawing/2014/main" id="{02BC9F80-A605-064E-4041-2BB1AC0454F5}"/>
                </a:ext>
              </a:extLst>
            </p:cNvPr>
            <p:cNvSpPr>
              <a:spLocks noChangeAspect="1"/>
            </p:cNvSpPr>
            <p:nvPr>
              <p:custDataLst>
                <p:tags r:id="rId103"/>
              </p:custDataLst>
            </p:nvPr>
          </p:nvSpPr>
          <p:spPr>
            <a:xfrm>
              <a:off x="6698747" y="3224035"/>
              <a:ext cx="329292" cy="315034"/>
            </a:xfrm>
            <a:custGeom>
              <a:avLst/>
              <a:gdLst/>
              <a:ahLst/>
              <a:cxnLst/>
              <a:rect l="l" t="t" r="r" b="b"/>
              <a:pathLst>
                <a:path w="262208" h="244205">
                  <a:moveTo>
                    <a:pt x="129930" y="85000"/>
                  </a:moveTo>
                  <a:lnTo>
                    <a:pt x="128546" y="85198"/>
                  </a:lnTo>
                  <a:lnTo>
                    <a:pt x="127568" y="86492"/>
                  </a:lnTo>
                  <a:lnTo>
                    <a:pt x="128220" y="87586"/>
                  </a:lnTo>
                  <a:lnTo>
                    <a:pt x="129522" y="87389"/>
                  </a:lnTo>
                  <a:lnTo>
                    <a:pt x="130172" y="85994"/>
                  </a:lnTo>
                  <a:close/>
                  <a:moveTo>
                    <a:pt x="122539" y="0"/>
                  </a:moveTo>
                  <a:lnTo>
                    <a:pt x="123152" y="199"/>
                  </a:lnTo>
                  <a:lnTo>
                    <a:pt x="123243" y="593"/>
                  </a:lnTo>
                  <a:lnTo>
                    <a:pt x="122452" y="1507"/>
                  </a:lnTo>
                  <a:lnTo>
                    <a:pt x="121684" y="2719"/>
                  </a:lnTo>
                  <a:lnTo>
                    <a:pt x="122200" y="4100"/>
                  </a:lnTo>
                  <a:lnTo>
                    <a:pt x="124718" y="6870"/>
                  </a:lnTo>
                  <a:lnTo>
                    <a:pt x="126091" y="8988"/>
                  </a:lnTo>
                  <a:lnTo>
                    <a:pt x="127378" y="10579"/>
                  </a:lnTo>
                  <a:lnTo>
                    <a:pt x="129388" y="11417"/>
                  </a:lnTo>
                  <a:lnTo>
                    <a:pt x="132029" y="11929"/>
                  </a:lnTo>
                  <a:lnTo>
                    <a:pt x="134266" y="12114"/>
                  </a:lnTo>
                  <a:lnTo>
                    <a:pt x="136605" y="12714"/>
                  </a:lnTo>
                  <a:lnTo>
                    <a:pt x="144636" y="14193"/>
                  </a:lnTo>
                  <a:lnTo>
                    <a:pt x="148678" y="14602"/>
                  </a:lnTo>
                  <a:lnTo>
                    <a:pt x="151740" y="14668"/>
                  </a:lnTo>
                  <a:lnTo>
                    <a:pt x="156383" y="15648"/>
                  </a:lnTo>
                  <a:lnTo>
                    <a:pt x="155934" y="17241"/>
                  </a:lnTo>
                  <a:lnTo>
                    <a:pt x="154992" y="17639"/>
                  </a:lnTo>
                  <a:lnTo>
                    <a:pt x="153360" y="18567"/>
                  </a:lnTo>
                  <a:lnTo>
                    <a:pt x="151486" y="19839"/>
                  </a:lnTo>
                  <a:lnTo>
                    <a:pt x="149738" y="21271"/>
                  </a:lnTo>
                  <a:lnTo>
                    <a:pt x="149268" y="22820"/>
                  </a:lnTo>
                  <a:lnTo>
                    <a:pt x="149741" y="23835"/>
                  </a:lnTo>
                  <a:lnTo>
                    <a:pt x="150214" y="24185"/>
                  </a:lnTo>
                  <a:lnTo>
                    <a:pt x="150851" y="23874"/>
                  </a:lnTo>
                  <a:lnTo>
                    <a:pt x="151779" y="24066"/>
                  </a:lnTo>
                  <a:lnTo>
                    <a:pt x="152949" y="24620"/>
                  </a:lnTo>
                  <a:lnTo>
                    <a:pt x="154891" y="25161"/>
                  </a:lnTo>
                  <a:lnTo>
                    <a:pt x="154945" y="25694"/>
                  </a:lnTo>
                  <a:lnTo>
                    <a:pt x="154539" y="26376"/>
                  </a:lnTo>
                  <a:lnTo>
                    <a:pt x="153023" y="27592"/>
                  </a:lnTo>
                  <a:lnTo>
                    <a:pt x="151660" y="28962"/>
                  </a:lnTo>
                  <a:lnTo>
                    <a:pt x="151524" y="29800"/>
                  </a:lnTo>
                  <a:lnTo>
                    <a:pt x="151688" y="30410"/>
                  </a:lnTo>
                  <a:lnTo>
                    <a:pt x="152163" y="30778"/>
                  </a:lnTo>
                  <a:lnTo>
                    <a:pt x="154185" y="30613"/>
                  </a:lnTo>
                  <a:lnTo>
                    <a:pt x="154480" y="31113"/>
                  </a:lnTo>
                  <a:lnTo>
                    <a:pt x="153500" y="34631"/>
                  </a:lnTo>
                  <a:lnTo>
                    <a:pt x="153804" y="35231"/>
                  </a:lnTo>
                  <a:lnTo>
                    <a:pt x="155575" y="35792"/>
                  </a:lnTo>
                  <a:lnTo>
                    <a:pt x="156862" y="36638"/>
                  </a:lnTo>
                  <a:lnTo>
                    <a:pt x="159283" y="38865"/>
                  </a:lnTo>
                  <a:lnTo>
                    <a:pt x="160246" y="40669"/>
                  </a:lnTo>
                  <a:lnTo>
                    <a:pt x="159583" y="41273"/>
                  </a:lnTo>
                  <a:lnTo>
                    <a:pt x="158063" y="41573"/>
                  </a:lnTo>
                  <a:lnTo>
                    <a:pt x="156821" y="41418"/>
                  </a:lnTo>
                  <a:lnTo>
                    <a:pt x="158225" y="40328"/>
                  </a:lnTo>
                  <a:lnTo>
                    <a:pt x="154798" y="36372"/>
                  </a:lnTo>
                  <a:lnTo>
                    <a:pt x="153247" y="36379"/>
                  </a:lnTo>
                  <a:lnTo>
                    <a:pt x="151189" y="38052"/>
                  </a:lnTo>
                  <a:lnTo>
                    <a:pt x="145467" y="36360"/>
                  </a:lnTo>
                  <a:lnTo>
                    <a:pt x="144370" y="37043"/>
                  </a:lnTo>
                  <a:lnTo>
                    <a:pt x="143560" y="38384"/>
                  </a:lnTo>
                  <a:lnTo>
                    <a:pt x="141574" y="40046"/>
                  </a:lnTo>
                  <a:lnTo>
                    <a:pt x="138760" y="40781"/>
                  </a:lnTo>
                  <a:lnTo>
                    <a:pt x="135625" y="42609"/>
                  </a:lnTo>
                  <a:lnTo>
                    <a:pt x="132319" y="43903"/>
                  </a:lnTo>
                  <a:lnTo>
                    <a:pt x="129794" y="44879"/>
                  </a:lnTo>
                  <a:lnTo>
                    <a:pt x="128347" y="44707"/>
                  </a:lnTo>
                  <a:lnTo>
                    <a:pt x="130647" y="42592"/>
                  </a:lnTo>
                  <a:lnTo>
                    <a:pt x="129667" y="42554"/>
                  </a:lnTo>
                  <a:lnTo>
                    <a:pt x="126616" y="44046"/>
                  </a:lnTo>
                  <a:lnTo>
                    <a:pt x="124858" y="45308"/>
                  </a:lnTo>
                  <a:lnTo>
                    <a:pt x="124295" y="47427"/>
                  </a:lnTo>
                  <a:lnTo>
                    <a:pt x="123783" y="50918"/>
                  </a:lnTo>
                  <a:lnTo>
                    <a:pt x="125124" y="51844"/>
                  </a:lnTo>
                  <a:lnTo>
                    <a:pt x="127471" y="56439"/>
                  </a:lnTo>
                  <a:lnTo>
                    <a:pt x="130367" y="58402"/>
                  </a:lnTo>
                  <a:lnTo>
                    <a:pt x="129803" y="60275"/>
                  </a:lnTo>
                  <a:lnTo>
                    <a:pt x="129043" y="61754"/>
                  </a:lnTo>
                  <a:lnTo>
                    <a:pt x="127294" y="63033"/>
                  </a:lnTo>
                  <a:lnTo>
                    <a:pt x="125847" y="62084"/>
                  </a:lnTo>
                  <a:lnTo>
                    <a:pt x="124960" y="62108"/>
                  </a:lnTo>
                  <a:lnTo>
                    <a:pt x="124284" y="65101"/>
                  </a:lnTo>
                  <a:lnTo>
                    <a:pt x="125536" y="73077"/>
                  </a:lnTo>
                  <a:lnTo>
                    <a:pt x="127555" y="78657"/>
                  </a:lnTo>
                  <a:lnTo>
                    <a:pt x="129557" y="81088"/>
                  </a:lnTo>
                  <a:lnTo>
                    <a:pt x="134074" y="84865"/>
                  </a:lnTo>
                  <a:lnTo>
                    <a:pt x="138849" y="86854"/>
                  </a:lnTo>
                  <a:lnTo>
                    <a:pt x="147434" y="93204"/>
                  </a:lnTo>
                  <a:lnTo>
                    <a:pt x="152142" y="95210"/>
                  </a:lnTo>
                  <a:lnTo>
                    <a:pt x="153379" y="96299"/>
                  </a:lnTo>
                  <a:lnTo>
                    <a:pt x="156234" y="101182"/>
                  </a:lnTo>
                  <a:lnTo>
                    <a:pt x="158698" y="106813"/>
                  </a:lnTo>
                  <a:lnTo>
                    <a:pt x="161356" y="115626"/>
                  </a:lnTo>
                  <a:lnTo>
                    <a:pt x="163248" y="119958"/>
                  </a:lnTo>
                  <a:lnTo>
                    <a:pt x="167057" y="124847"/>
                  </a:lnTo>
                  <a:lnTo>
                    <a:pt x="174973" y="131831"/>
                  </a:lnTo>
                  <a:lnTo>
                    <a:pt x="182168" y="136928"/>
                  </a:lnTo>
                  <a:lnTo>
                    <a:pt x="188860" y="140074"/>
                  </a:lnTo>
                  <a:lnTo>
                    <a:pt x="194084" y="140626"/>
                  </a:lnTo>
                  <a:lnTo>
                    <a:pt x="206446" y="139930"/>
                  </a:lnTo>
                  <a:lnTo>
                    <a:pt x="208601" y="140231"/>
                  </a:lnTo>
                  <a:lnTo>
                    <a:pt x="210882" y="141078"/>
                  </a:lnTo>
                  <a:lnTo>
                    <a:pt x="211423" y="143257"/>
                  </a:lnTo>
                  <a:lnTo>
                    <a:pt x="210586" y="144727"/>
                  </a:lnTo>
                  <a:lnTo>
                    <a:pt x="207986" y="146256"/>
                  </a:lnTo>
                  <a:lnTo>
                    <a:pt x="205334" y="148371"/>
                  </a:lnTo>
                  <a:lnTo>
                    <a:pt x="205040" y="151248"/>
                  </a:lnTo>
                  <a:lnTo>
                    <a:pt x="207519" y="153273"/>
                  </a:lnTo>
                  <a:lnTo>
                    <a:pt x="219443" y="158639"/>
                  </a:lnTo>
                  <a:lnTo>
                    <a:pt x="231640" y="163114"/>
                  </a:lnTo>
                  <a:lnTo>
                    <a:pt x="235438" y="165396"/>
                  </a:lnTo>
                  <a:lnTo>
                    <a:pt x="239839" y="168940"/>
                  </a:lnTo>
                  <a:lnTo>
                    <a:pt x="250469" y="173806"/>
                  </a:lnTo>
                  <a:lnTo>
                    <a:pt x="252264" y="176172"/>
                  </a:lnTo>
                  <a:lnTo>
                    <a:pt x="258723" y="181254"/>
                  </a:lnTo>
                  <a:lnTo>
                    <a:pt x="261651" y="185170"/>
                  </a:lnTo>
                  <a:lnTo>
                    <a:pt x="262208" y="188204"/>
                  </a:lnTo>
                  <a:lnTo>
                    <a:pt x="260809" y="191281"/>
                  </a:lnTo>
                  <a:lnTo>
                    <a:pt x="260165" y="193451"/>
                  </a:lnTo>
                  <a:lnTo>
                    <a:pt x="259066" y="195592"/>
                  </a:lnTo>
                  <a:lnTo>
                    <a:pt x="256315" y="194781"/>
                  </a:lnTo>
                  <a:lnTo>
                    <a:pt x="253188" y="192582"/>
                  </a:lnTo>
                  <a:lnTo>
                    <a:pt x="248481" y="183625"/>
                  </a:lnTo>
                  <a:lnTo>
                    <a:pt x="239882" y="182716"/>
                  </a:lnTo>
                  <a:lnTo>
                    <a:pt x="238105" y="182054"/>
                  </a:lnTo>
                  <a:lnTo>
                    <a:pt x="235051" y="180515"/>
                  </a:lnTo>
                  <a:lnTo>
                    <a:pt x="234868" y="179499"/>
                  </a:lnTo>
                  <a:lnTo>
                    <a:pt x="234114" y="178229"/>
                  </a:lnTo>
                  <a:lnTo>
                    <a:pt x="233333" y="177800"/>
                  </a:lnTo>
                  <a:lnTo>
                    <a:pt x="230044" y="177520"/>
                  </a:lnTo>
                  <a:lnTo>
                    <a:pt x="227766" y="178972"/>
                  </a:lnTo>
                  <a:lnTo>
                    <a:pt x="225086" y="182414"/>
                  </a:lnTo>
                  <a:lnTo>
                    <a:pt x="222048" y="187359"/>
                  </a:lnTo>
                  <a:lnTo>
                    <a:pt x="218960" y="194596"/>
                  </a:lnTo>
                  <a:lnTo>
                    <a:pt x="218781" y="197514"/>
                  </a:lnTo>
                  <a:lnTo>
                    <a:pt x="220459" y="200339"/>
                  </a:lnTo>
                  <a:lnTo>
                    <a:pt x="225468" y="201914"/>
                  </a:lnTo>
                  <a:lnTo>
                    <a:pt x="229335" y="204425"/>
                  </a:lnTo>
                  <a:lnTo>
                    <a:pt x="231886" y="207045"/>
                  </a:lnTo>
                  <a:lnTo>
                    <a:pt x="232071" y="213368"/>
                  </a:lnTo>
                  <a:lnTo>
                    <a:pt x="233214" y="216950"/>
                  </a:lnTo>
                  <a:lnTo>
                    <a:pt x="231532" y="218985"/>
                  </a:lnTo>
                  <a:lnTo>
                    <a:pt x="228280" y="218457"/>
                  </a:lnTo>
                  <a:lnTo>
                    <a:pt x="223946" y="219751"/>
                  </a:lnTo>
                  <a:lnTo>
                    <a:pt x="220877" y="222063"/>
                  </a:lnTo>
                  <a:lnTo>
                    <a:pt x="219601" y="224265"/>
                  </a:lnTo>
                  <a:lnTo>
                    <a:pt x="219938" y="229965"/>
                  </a:lnTo>
                  <a:lnTo>
                    <a:pt x="219305" y="232139"/>
                  </a:lnTo>
                  <a:lnTo>
                    <a:pt x="213486" y="236239"/>
                  </a:lnTo>
                  <a:lnTo>
                    <a:pt x="210428" y="240429"/>
                  </a:lnTo>
                  <a:lnTo>
                    <a:pt x="209668" y="242166"/>
                  </a:lnTo>
                  <a:lnTo>
                    <a:pt x="208498" y="244135"/>
                  </a:lnTo>
                  <a:lnTo>
                    <a:pt x="201149" y="244205"/>
                  </a:lnTo>
                  <a:lnTo>
                    <a:pt x="199409" y="241767"/>
                  </a:lnTo>
                  <a:lnTo>
                    <a:pt x="199348" y="238144"/>
                  </a:lnTo>
                  <a:lnTo>
                    <a:pt x="200611" y="235912"/>
                  </a:lnTo>
                  <a:lnTo>
                    <a:pt x="203313" y="234867"/>
                  </a:lnTo>
                  <a:lnTo>
                    <a:pt x="205135" y="230224"/>
                  </a:lnTo>
                  <a:lnTo>
                    <a:pt x="204563" y="226865"/>
                  </a:lnTo>
                  <a:lnTo>
                    <a:pt x="205626" y="225375"/>
                  </a:lnTo>
                  <a:lnTo>
                    <a:pt x="206630" y="224321"/>
                  </a:lnTo>
                  <a:lnTo>
                    <a:pt x="208690" y="223707"/>
                  </a:lnTo>
                  <a:lnTo>
                    <a:pt x="211592" y="223118"/>
                  </a:lnTo>
                  <a:lnTo>
                    <a:pt x="211883" y="218423"/>
                  </a:lnTo>
                  <a:lnTo>
                    <a:pt x="209616" y="216285"/>
                  </a:lnTo>
                  <a:lnTo>
                    <a:pt x="208821" y="213293"/>
                  </a:lnTo>
                  <a:lnTo>
                    <a:pt x="207763" y="207746"/>
                  </a:lnTo>
                  <a:lnTo>
                    <a:pt x="204021" y="200661"/>
                  </a:lnTo>
                  <a:lnTo>
                    <a:pt x="202015" y="194325"/>
                  </a:lnTo>
                  <a:lnTo>
                    <a:pt x="200447" y="191195"/>
                  </a:lnTo>
                  <a:lnTo>
                    <a:pt x="198068" y="189561"/>
                  </a:lnTo>
                  <a:lnTo>
                    <a:pt x="193773" y="189579"/>
                  </a:lnTo>
                  <a:lnTo>
                    <a:pt x="191641" y="189113"/>
                  </a:lnTo>
                  <a:lnTo>
                    <a:pt x="184043" y="184700"/>
                  </a:lnTo>
                  <a:lnTo>
                    <a:pt x="183513" y="184028"/>
                  </a:lnTo>
                  <a:lnTo>
                    <a:pt x="183561" y="182856"/>
                  </a:lnTo>
                  <a:lnTo>
                    <a:pt x="184822" y="181080"/>
                  </a:lnTo>
                  <a:lnTo>
                    <a:pt x="183971" y="178676"/>
                  </a:lnTo>
                  <a:lnTo>
                    <a:pt x="183071" y="176405"/>
                  </a:lnTo>
                  <a:lnTo>
                    <a:pt x="181581" y="174467"/>
                  </a:lnTo>
                  <a:lnTo>
                    <a:pt x="179948" y="173459"/>
                  </a:lnTo>
                  <a:lnTo>
                    <a:pt x="176532" y="174079"/>
                  </a:lnTo>
                  <a:lnTo>
                    <a:pt x="175331" y="174561"/>
                  </a:lnTo>
                  <a:lnTo>
                    <a:pt x="173174" y="174395"/>
                  </a:lnTo>
                  <a:lnTo>
                    <a:pt x="171479" y="175257"/>
                  </a:lnTo>
                  <a:lnTo>
                    <a:pt x="170533" y="175284"/>
                  </a:lnTo>
                  <a:lnTo>
                    <a:pt x="173200" y="171877"/>
                  </a:lnTo>
                  <a:lnTo>
                    <a:pt x="172483" y="171074"/>
                  </a:lnTo>
                  <a:lnTo>
                    <a:pt x="169847" y="169674"/>
                  </a:lnTo>
                  <a:lnTo>
                    <a:pt x="166271" y="169462"/>
                  </a:lnTo>
                  <a:lnTo>
                    <a:pt x="165280" y="169293"/>
                  </a:lnTo>
                  <a:lnTo>
                    <a:pt x="164694" y="170165"/>
                  </a:lnTo>
                  <a:lnTo>
                    <a:pt x="163997" y="169684"/>
                  </a:lnTo>
                  <a:lnTo>
                    <a:pt x="164070" y="168159"/>
                  </a:lnTo>
                  <a:lnTo>
                    <a:pt x="159916" y="161328"/>
                  </a:lnTo>
                  <a:lnTo>
                    <a:pt x="157121" y="158544"/>
                  </a:lnTo>
                  <a:lnTo>
                    <a:pt x="155714" y="158047"/>
                  </a:lnTo>
                  <a:lnTo>
                    <a:pt x="153172" y="158635"/>
                  </a:lnTo>
                  <a:lnTo>
                    <a:pt x="148907" y="157414"/>
                  </a:lnTo>
                  <a:lnTo>
                    <a:pt x="146363" y="157141"/>
                  </a:lnTo>
                  <a:lnTo>
                    <a:pt x="144960" y="157435"/>
                  </a:lnTo>
                  <a:lnTo>
                    <a:pt x="142865" y="158328"/>
                  </a:lnTo>
                  <a:lnTo>
                    <a:pt x="141811" y="157738"/>
                  </a:lnTo>
                  <a:lnTo>
                    <a:pt x="141440" y="156822"/>
                  </a:lnTo>
                  <a:lnTo>
                    <a:pt x="137570" y="153977"/>
                  </a:lnTo>
                  <a:lnTo>
                    <a:pt x="132742" y="152368"/>
                  </a:lnTo>
                  <a:lnTo>
                    <a:pt x="123340" y="143293"/>
                  </a:lnTo>
                  <a:lnTo>
                    <a:pt x="120457" y="139892"/>
                  </a:lnTo>
                  <a:lnTo>
                    <a:pt x="114525" y="136145"/>
                  </a:lnTo>
                  <a:lnTo>
                    <a:pt x="110772" y="130679"/>
                  </a:lnTo>
                  <a:lnTo>
                    <a:pt x="107702" y="128672"/>
                  </a:lnTo>
                  <a:lnTo>
                    <a:pt x="103232" y="127064"/>
                  </a:lnTo>
                  <a:lnTo>
                    <a:pt x="102202" y="127265"/>
                  </a:lnTo>
                  <a:lnTo>
                    <a:pt x="100857" y="127868"/>
                  </a:lnTo>
                  <a:lnTo>
                    <a:pt x="99803" y="127954"/>
                  </a:lnTo>
                  <a:lnTo>
                    <a:pt x="98963" y="127242"/>
                  </a:lnTo>
                  <a:lnTo>
                    <a:pt x="99815" y="126509"/>
                  </a:lnTo>
                  <a:lnTo>
                    <a:pt x="100766" y="126176"/>
                  </a:lnTo>
                  <a:lnTo>
                    <a:pt x="100390" y="124081"/>
                  </a:lnTo>
                  <a:lnTo>
                    <a:pt x="95305" y="118644"/>
                  </a:lnTo>
                  <a:lnTo>
                    <a:pt x="92327" y="116890"/>
                  </a:lnTo>
                  <a:lnTo>
                    <a:pt x="91487" y="115810"/>
                  </a:lnTo>
                  <a:lnTo>
                    <a:pt x="90867" y="114331"/>
                  </a:lnTo>
                  <a:lnTo>
                    <a:pt x="90232" y="113357"/>
                  </a:lnTo>
                  <a:lnTo>
                    <a:pt x="88822" y="112798"/>
                  </a:lnTo>
                  <a:lnTo>
                    <a:pt x="87619" y="112894"/>
                  </a:lnTo>
                  <a:lnTo>
                    <a:pt x="85952" y="112521"/>
                  </a:lnTo>
                  <a:lnTo>
                    <a:pt x="86006" y="109905"/>
                  </a:lnTo>
                  <a:lnTo>
                    <a:pt x="86339" y="107893"/>
                  </a:lnTo>
                  <a:lnTo>
                    <a:pt x="86084" y="106184"/>
                  </a:lnTo>
                  <a:lnTo>
                    <a:pt x="84464" y="101686"/>
                  </a:lnTo>
                  <a:lnTo>
                    <a:pt x="81655" y="97867"/>
                  </a:lnTo>
                  <a:lnTo>
                    <a:pt x="80003" y="88722"/>
                  </a:lnTo>
                  <a:lnTo>
                    <a:pt x="78727" y="86142"/>
                  </a:lnTo>
                  <a:lnTo>
                    <a:pt x="75622" y="84182"/>
                  </a:lnTo>
                  <a:lnTo>
                    <a:pt x="68617" y="81983"/>
                  </a:lnTo>
                  <a:lnTo>
                    <a:pt x="58854" y="76070"/>
                  </a:lnTo>
                  <a:lnTo>
                    <a:pt x="56790" y="75968"/>
                  </a:lnTo>
                  <a:lnTo>
                    <a:pt x="50917" y="73666"/>
                  </a:lnTo>
                  <a:lnTo>
                    <a:pt x="47278" y="73271"/>
                  </a:lnTo>
                  <a:lnTo>
                    <a:pt x="42549" y="75339"/>
                  </a:lnTo>
                  <a:lnTo>
                    <a:pt x="36809" y="81026"/>
                  </a:lnTo>
                  <a:lnTo>
                    <a:pt x="32149" y="86915"/>
                  </a:lnTo>
                  <a:lnTo>
                    <a:pt x="30454" y="88055"/>
                  </a:lnTo>
                  <a:lnTo>
                    <a:pt x="24446" y="90059"/>
                  </a:lnTo>
                  <a:lnTo>
                    <a:pt x="19137" y="91016"/>
                  </a:lnTo>
                  <a:lnTo>
                    <a:pt x="19078" y="89509"/>
                  </a:lnTo>
                  <a:lnTo>
                    <a:pt x="18891" y="88376"/>
                  </a:lnTo>
                  <a:lnTo>
                    <a:pt x="19789" y="87127"/>
                  </a:lnTo>
                  <a:lnTo>
                    <a:pt x="21270" y="85657"/>
                  </a:lnTo>
                  <a:lnTo>
                    <a:pt x="22637" y="83812"/>
                  </a:lnTo>
                  <a:lnTo>
                    <a:pt x="23205" y="82471"/>
                  </a:lnTo>
                  <a:lnTo>
                    <a:pt x="22937" y="81581"/>
                  </a:lnTo>
                  <a:lnTo>
                    <a:pt x="22322" y="80258"/>
                  </a:lnTo>
                  <a:lnTo>
                    <a:pt x="21486" y="80162"/>
                  </a:lnTo>
                  <a:lnTo>
                    <a:pt x="16433" y="81273"/>
                  </a:lnTo>
                  <a:lnTo>
                    <a:pt x="15276" y="80986"/>
                  </a:lnTo>
                  <a:lnTo>
                    <a:pt x="11536" y="79259"/>
                  </a:lnTo>
                  <a:lnTo>
                    <a:pt x="7508" y="77134"/>
                  </a:lnTo>
                  <a:lnTo>
                    <a:pt x="6025" y="75622"/>
                  </a:lnTo>
                  <a:lnTo>
                    <a:pt x="5463" y="74093"/>
                  </a:lnTo>
                  <a:lnTo>
                    <a:pt x="5884" y="73111"/>
                  </a:lnTo>
                  <a:lnTo>
                    <a:pt x="5548" y="72157"/>
                  </a:lnTo>
                  <a:lnTo>
                    <a:pt x="4760" y="70868"/>
                  </a:lnTo>
                  <a:lnTo>
                    <a:pt x="5472" y="69403"/>
                  </a:lnTo>
                  <a:lnTo>
                    <a:pt x="6727" y="67576"/>
                  </a:lnTo>
                  <a:lnTo>
                    <a:pt x="7355" y="66337"/>
                  </a:lnTo>
                  <a:lnTo>
                    <a:pt x="8407" y="66015"/>
                  </a:lnTo>
                  <a:lnTo>
                    <a:pt x="8910" y="65259"/>
                  </a:lnTo>
                  <a:lnTo>
                    <a:pt x="8070" y="62243"/>
                  </a:lnTo>
                  <a:lnTo>
                    <a:pt x="7632" y="61760"/>
                  </a:lnTo>
                  <a:lnTo>
                    <a:pt x="6902" y="61385"/>
                  </a:lnTo>
                  <a:lnTo>
                    <a:pt x="5785" y="61343"/>
                  </a:lnTo>
                  <a:lnTo>
                    <a:pt x="3833" y="60719"/>
                  </a:lnTo>
                  <a:lnTo>
                    <a:pt x="2442" y="59675"/>
                  </a:lnTo>
                  <a:lnTo>
                    <a:pt x="2144" y="58265"/>
                  </a:lnTo>
                  <a:lnTo>
                    <a:pt x="1408" y="56909"/>
                  </a:lnTo>
                  <a:lnTo>
                    <a:pt x="156" y="55663"/>
                  </a:lnTo>
                  <a:lnTo>
                    <a:pt x="0" y="54301"/>
                  </a:lnTo>
                  <a:lnTo>
                    <a:pt x="1428" y="53580"/>
                  </a:lnTo>
                  <a:lnTo>
                    <a:pt x="3375" y="53552"/>
                  </a:lnTo>
                  <a:lnTo>
                    <a:pt x="4745" y="53817"/>
                  </a:lnTo>
                  <a:lnTo>
                    <a:pt x="7817" y="51629"/>
                  </a:lnTo>
                  <a:lnTo>
                    <a:pt x="8949" y="51436"/>
                  </a:lnTo>
                  <a:lnTo>
                    <a:pt x="9964" y="50961"/>
                  </a:lnTo>
                  <a:lnTo>
                    <a:pt x="10814" y="47971"/>
                  </a:lnTo>
                  <a:lnTo>
                    <a:pt x="11469" y="47073"/>
                  </a:lnTo>
                  <a:lnTo>
                    <a:pt x="11624" y="46546"/>
                  </a:lnTo>
                  <a:lnTo>
                    <a:pt x="11019" y="45922"/>
                  </a:lnTo>
                  <a:lnTo>
                    <a:pt x="8534" y="43813"/>
                  </a:lnTo>
                  <a:lnTo>
                    <a:pt x="7401" y="41612"/>
                  </a:lnTo>
                  <a:lnTo>
                    <a:pt x="5610" y="39142"/>
                  </a:lnTo>
                  <a:lnTo>
                    <a:pt x="3948" y="38050"/>
                  </a:lnTo>
                  <a:lnTo>
                    <a:pt x="3609" y="37201"/>
                  </a:lnTo>
                  <a:lnTo>
                    <a:pt x="3570" y="36121"/>
                  </a:lnTo>
                  <a:lnTo>
                    <a:pt x="3909" y="35171"/>
                  </a:lnTo>
                  <a:lnTo>
                    <a:pt x="6923" y="33687"/>
                  </a:lnTo>
                  <a:lnTo>
                    <a:pt x="8698" y="32103"/>
                  </a:lnTo>
                  <a:lnTo>
                    <a:pt x="9465" y="32710"/>
                  </a:lnTo>
                  <a:lnTo>
                    <a:pt x="11084" y="33354"/>
                  </a:lnTo>
                  <a:lnTo>
                    <a:pt x="15483" y="32473"/>
                  </a:lnTo>
                  <a:lnTo>
                    <a:pt x="18217" y="31588"/>
                  </a:lnTo>
                  <a:lnTo>
                    <a:pt x="20141" y="30657"/>
                  </a:lnTo>
                  <a:lnTo>
                    <a:pt x="21335" y="30822"/>
                  </a:lnTo>
                  <a:lnTo>
                    <a:pt x="25654" y="32212"/>
                  </a:lnTo>
                  <a:lnTo>
                    <a:pt x="27079" y="31505"/>
                  </a:lnTo>
                  <a:lnTo>
                    <a:pt x="30193" y="29615"/>
                  </a:lnTo>
                  <a:lnTo>
                    <a:pt x="30659" y="28621"/>
                  </a:lnTo>
                  <a:lnTo>
                    <a:pt x="33112" y="25606"/>
                  </a:lnTo>
                  <a:lnTo>
                    <a:pt x="33158" y="24869"/>
                  </a:lnTo>
                  <a:lnTo>
                    <a:pt x="32147" y="22975"/>
                  </a:lnTo>
                  <a:lnTo>
                    <a:pt x="32460" y="22559"/>
                  </a:lnTo>
                  <a:lnTo>
                    <a:pt x="35473" y="20615"/>
                  </a:lnTo>
                  <a:lnTo>
                    <a:pt x="36945" y="18890"/>
                  </a:lnTo>
                  <a:lnTo>
                    <a:pt x="38541" y="17734"/>
                  </a:lnTo>
                  <a:lnTo>
                    <a:pt x="39687" y="17708"/>
                  </a:lnTo>
                  <a:lnTo>
                    <a:pt x="40003" y="18101"/>
                  </a:lnTo>
                  <a:lnTo>
                    <a:pt x="40139" y="18908"/>
                  </a:lnTo>
                  <a:lnTo>
                    <a:pt x="40040" y="22232"/>
                  </a:lnTo>
                  <a:lnTo>
                    <a:pt x="40480" y="23255"/>
                  </a:lnTo>
                  <a:lnTo>
                    <a:pt x="42847" y="25637"/>
                  </a:lnTo>
                  <a:lnTo>
                    <a:pt x="44533" y="26993"/>
                  </a:lnTo>
                  <a:lnTo>
                    <a:pt x="48444" y="27923"/>
                  </a:lnTo>
                  <a:lnTo>
                    <a:pt x="48625" y="28368"/>
                  </a:lnTo>
                  <a:lnTo>
                    <a:pt x="47548" y="30160"/>
                  </a:lnTo>
                  <a:lnTo>
                    <a:pt x="49917" y="32299"/>
                  </a:lnTo>
                  <a:lnTo>
                    <a:pt x="50340" y="33864"/>
                  </a:lnTo>
                  <a:lnTo>
                    <a:pt x="51432" y="34744"/>
                  </a:lnTo>
                  <a:lnTo>
                    <a:pt x="52981" y="34312"/>
                  </a:lnTo>
                  <a:lnTo>
                    <a:pt x="53488" y="33488"/>
                  </a:lnTo>
                  <a:lnTo>
                    <a:pt x="52879" y="32039"/>
                  </a:lnTo>
                  <a:lnTo>
                    <a:pt x="52432" y="30521"/>
                  </a:lnTo>
                  <a:lnTo>
                    <a:pt x="52523" y="29643"/>
                  </a:lnTo>
                  <a:lnTo>
                    <a:pt x="52951" y="28633"/>
                  </a:lnTo>
                  <a:lnTo>
                    <a:pt x="54026" y="27224"/>
                  </a:lnTo>
                  <a:lnTo>
                    <a:pt x="56954" y="23993"/>
                  </a:lnTo>
                  <a:lnTo>
                    <a:pt x="58008" y="22123"/>
                  </a:lnTo>
                  <a:lnTo>
                    <a:pt x="58200" y="19228"/>
                  </a:lnTo>
                  <a:lnTo>
                    <a:pt x="58209" y="16899"/>
                  </a:lnTo>
                  <a:lnTo>
                    <a:pt x="59187" y="16334"/>
                  </a:lnTo>
                  <a:lnTo>
                    <a:pt x="61286" y="16747"/>
                  </a:lnTo>
                  <a:lnTo>
                    <a:pt x="61912" y="16701"/>
                  </a:lnTo>
                  <a:lnTo>
                    <a:pt x="62199" y="18131"/>
                  </a:lnTo>
                  <a:lnTo>
                    <a:pt x="63093" y="20405"/>
                  </a:lnTo>
                  <a:lnTo>
                    <a:pt x="64147" y="21585"/>
                  </a:lnTo>
                  <a:lnTo>
                    <a:pt x="65272" y="21865"/>
                  </a:lnTo>
                  <a:lnTo>
                    <a:pt x="66596" y="21871"/>
                  </a:lnTo>
                  <a:lnTo>
                    <a:pt x="69876" y="20481"/>
                  </a:lnTo>
                  <a:lnTo>
                    <a:pt x="72014" y="19879"/>
                  </a:lnTo>
                  <a:lnTo>
                    <a:pt x="73225" y="20044"/>
                  </a:lnTo>
                  <a:lnTo>
                    <a:pt x="73942" y="20990"/>
                  </a:lnTo>
                  <a:lnTo>
                    <a:pt x="75475" y="23471"/>
                  </a:lnTo>
                  <a:lnTo>
                    <a:pt x="76349" y="23751"/>
                  </a:lnTo>
                  <a:lnTo>
                    <a:pt x="77406" y="23467"/>
                  </a:lnTo>
                  <a:lnTo>
                    <a:pt x="77779" y="23044"/>
                  </a:lnTo>
                  <a:lnTo>
                    <a:pt x="77440" y="22090"/>
                  </a:lnTo>
                  <a:lnTo>
                    <a:pt x="76993" y="20015"/>
                  </a:lnTo>
                  <a:lnTo>
                    <a:pt x="76380" y="18410"/>
                  </a:lnTo>
                  <a:lnTo>
                    <a:pt x="75577" y="17657"/>
                  </a:lnTo>
                  <a:lnTo>
                    <a:pt x="75415" y="16677"/>
                  </a:lnTo>
                  <a:lnTo>
                    <a:pt x="75922" y="14912"/>
                  </a:lnTo>
                  <a:lnTo>
                    <a:pt x="76492" y="13436"/>
                  </a:lnTo>
                  <a:lnTo>
                    <a:pt x="77609" y="13034"/>
                  </a:lnTo>
                  <a:lnTo>
                    <a:pt x="78891" y="12847"/>
                  </a:lnTo>
                  <a:lnTo>
                    <a:pt x="80588" y="14410"/>
                  </a:lnTo>
                  <a:lnTo>
                    <a:pt x="82597" y="14904"/>
                  </a:lnTo>
                  <a:lnTo>
                    <a:pt x="84091" y="14821"/>
                  </a:lnTo>
                  <a:lnTo>
                    <a:pt x="84352" y="13909"/>
                  </a:lnTo>
                  <a:lnTo>
                    <a:pt x="84259" y="12909"/>
                  </a:lnTo>
                  <a:lnTo>
                    <a:pt x="83368" y="11625"/>
                  </a:lnTo>
                  <a:lnTo>
                    <a:pt x="83547" y="9683"/>
                  </a:lnTo>
                  <a:lnTo>
                    <a:pt x="84581" y="6060"/>
                  </a:lnTo>
                  <a:lnTo>
                    <a:pt x="85169" y="6334"/>
                  </a:lnTo>
                  <a:lnTo>
                    <a:pt x="87388" y="6373"/>
                  </a:lnTo>
                  <a:lnTo>
                    <a:pt x="89809" y="6577"/>
                  </a:lnTo>
                  <a:lnTo>
                    <a:pt x="91368" y="8056"/>
                  </a:lnTo>
                  <a:lnTo>
                    <a:pt x="92897" y="8559"/>
                  </a:lnTo>
                  <a:lnTo>
                    <a:pt x="95074" y="8719"/>
                  </a:lnTo>
                  <a:lnTo>
                    <a:pt x="96531" y="8510"/>
                  </a:lnTo>
                  <a:lnTo>
                    <a:pt x="97235" y="7954"/>
                  </a:lnTo>
                  <a:lnTo>
                    <a:pt x="98084" y="6222"/>
                  </a:lnTo>
                  <a:lnTo>
                    <a:pt x="99641" y="4074"/>
                  </a:lnTo>
                  <a:lnTo>
                    <a:pt x="102085" y="2972"/>
                  </a:lnTo>
                  <a:lnTo>
                    <a:pt x="106259" y="2766"/>
                  </a:lnTo>
                  <a:lnTo>
                    <a:pt x="108345" y="2366"/>
                  </a:lnTo>
                  <a:lnTo>
                    <a:pt x="110511" y="2389"/>
                  </a:lnTo>
                  <a:lnTo>
                    <a:pt x="112146" y="2721"/>
                  </a:lnTo>
                  <a:lnTo>
                    <a:pt x="113832" y="2682"/>
                  </a:lnTo>
                  <a:lnTo>
                    <a:pt x="118119" y="1185"/>
                  </a:lnTo>
                  <a:close/>
                </a:path>
              </a:pathLst>
            </a:custGeom>
            <a:solidFill>
              <a:srgbClr val="A3BA1E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76" name="ee4p_RS_1_82333">
              <a:extLst>
                <a:ext uri="{FF2B5EF4-FFF2-40B4-BE49-F238E27FC236}">
                  <a16:creationId xmlns:a16="http://schemas.microsoft.com/office/drawing/2014/main" id="{D4F3A3E2-AFD2-B5B9-E346-65F6C3558B12}"/>
                </a:ext>
              </a:extLst>
            </p:cNvPr>
            <p:cNvSpPr>
              <a:spLocks noChangeAspect="1"/>
            </p:cNvSpPr>
            <p:nvPr>
              <p:custDataLst>
                <p:tags r:id="rId104"/>
              </p:custDataLst>
            </p:nvPr>
          </p:nvSpPr>
          <p:spPr>
            <a:xfrm>
              <a:off x="7037848" y="3256774"/>
              <a:ext cx="114906" cy="137403"/>
            </a:xfrm>
            <a:custGeom>
              <a:avLst/>
              <a:gdLst/>
              <a:ahLst/>
              <a:cxnLst/>
              <a:rect l="0" t="0" r="0" b="0"/>
              <a:pathLst>
                <a:path w="91497" h="106511">
                  <a:moveTo>
                    <a:pt x="19580" y="478"/>
                  </a:moveTo>
                  <a:lnTo>
                    <a:pt x="22231" y="644"/>
                  </a:lnTo>
                  <a:lnTo>
                    <a:pt x="24214" y="213"/>
                  </a:lnTo>
                  <a:lnTo>
                    <a:pt x="29241" y="755"/>
                  </a:lnTo>
                  <a:lnTo>
                    <a:pt x="30318" y="1194"/>
                  </a:lnTo>
                  <a:lnTo>
                    <a:pt x="31018" y="1676"/>
                  </a:lnTo>
                  <a:lnTo>
                    <a:pt x="32335" y="3276"/>
                  </a:lnTo>
                  <a:lnTo>
                    <a:pt x="33601" y="5353"/>
                  </a:lnTo>
                  <a:lnTo>
                    <a:pt x="35356" y="6311"/>
                  </a:lnTo>
                  <a:lnTo>
                    <a:pt x="37448" y="7450"/>
                  </a:lnTo>
                  <a:lnTo>
                    <a:pt x="38522" y="8278"/>
                  </a:lnTo>
                  <a:lnTo>
                    <a:pt x="40104" y="10762"/>
                  </a:lnTo>
                  <a:lnTo>
                    <a:pt x="41355" y="11977"/>
                  </a:lnTo>
                  <a:lnTo>
                    <a:pt x="41765" y="11918"/>
                  </a:lnTo>
                  <a:lnTo>
                    <a:pt x="42186" y="11599"/>
                  </a:lnTo>
                  <a:lnTo>
                    <a:pt x="42480" y="11348"/>
                  </a:lnTo>
                  <a:lnTo>
                    <a:pt x="42808" y="11577"/>
                  </a:lnTo>
                  <a:lnTo>
                    <a:pt x="42825" y="12328"/>
                  </a:lnTo>
                  <a:lnTo>
                    <a:pt x="42903" y="13994"/>
                  </a:lnTo>
                  <a:lnTo>
                    <a:pt x="42605" y="15769"/>
                  </a:lnTo>
                  <a:lnTo>
                    <a:pt x="43052" y="17446"/>
                  </a:lnTo>
                  <a:lnTo>
                    <a:pt x="43063" y="17968"/>
                  </a:lnTo>
                  <a:lnTo>
                    <a:pt x="42752" y="18445"/>
                  </a:lnTo>
                  <a:lnTo>
                    <a:pt x="42791" y="18876"/>
                  </a:lnTo>
                  <a:lnTo>
                    <a:pt x="43229" y="19330"/>
                  </a:lnTo>
                  <a:lnTo>
                    <a:pt x="44927" y="20438"/>
                  </a:lnTo>
                  <a:lnTo>
                    <a:pt x="46496" y="22145"/>
                  </a:lnTo>
                  <a:lnTo>
                    <a:pt x="48310" y="23346"/>
                  </a:lnTo>
                  <a:lnTo>
                    <a:pt x="49992" y="24113"/>
                  </a:lnTo>
                  <a:lnTo>
                    <a:pt x="51053" y="24163"/>
                  </a:lnTo>
                  <a:lnTo>
                    <a:pt x="52791" y="25546"/>
                  </a:lnTo>
                  <a:lnTo>
                    <a:pt x="56224" y="26538"/>
                  </a:lnTo>
                  <a:lnTo>
                    <a:pt x="57324" y="26881"/>
                  </a:lnTo>
                  <a:lnTo>
                    <a:pt x="58075" y="27447"/>
                  </a:lnTo>
                  <a:lnTo>
                    <a:pt x="58623" y="28103"/>
                  </a:lnTo>
                  <a:lnTo>
                    <a:pt x="58658" y="28805"/>
                  </a:lnTo>
                  <a:lnTo>
                    <a:pt x="58129" y="29145"/>
                  </a:lnTo>
                  <a:lnTo>
                    <a:pt x="57391" y="30094"/>
                  </a:lnTo>
                  <a:lnTo>
                    <a:pt x="57086" y="31248"/>
                  </a:lnTo>
                  <a:lnTo>
                    <a:pt x="56538" y="31542"/>
                  </a:lnTo>
                  <a:lnTo>
                    <a:pt x="55989" y="31565"/>
                  </a:lnTo>
                  <a:lnTo>
                    <a:pt x="55587" y="31903"/>
                  </a:lnTo>
                  <a:lnTo>
                    <a:pt x="55678" y="32401"/>
                  </a:lnTo>
                  <a:lnTo>
                    <a:pt x="56136" y="32875"/>
                  </a:lnTo>
                  <a:lnTo>
                    <a:pt x="56848" y="33304"/>
                  </a:lnTo>
                  <a:lnTo>
                    <a:pt x="58220" y="33734"/>
                  </a:lnTo>
                  <a:lnTo>
                    <a:pt x="59573" y="34366"/>
                  </a:lnTo>
                  <a:lnTo>
                    <a:pt x="59554" y="34862"/>
                  </a:lnTo>
                  <a:lnTo>
                    <a:pt x="59280" y="35405"/>
                  </a:lnTo>
                  <a:lnTo>
                    <a:pt x="57561" y="35607"/>
                  </a:lnTo>
                  <a:lnTo>
                    <a:pt x="56282" y="35698"/>
                  </a:lnTo>
                  <a:lnTo>
                    <a:pt x="55697" y="35923"/>
                  </a:lnTo>
                  <a:lnTo>
                    <a:pt x="55745" y="36882"/>
                  </a:lnTo>
                  <a:lnTo>
                    <a:pt x="59351" y="37880"/>
                  </a:lnTo>
                  <a:lnTo>
                    <a:pt x="60986" y="38826"/>
                  </a:lnTo>
                  <a:lnTo>
                    <a:pt x="61850" y="40052"/>
                  </a:lnTo>
                  <a:lnTo>
                    <a:pt x="64151" y="40863"/>
                  </a:lnTo>
                  <a:lnTo>
                    <a:pt x="67889" y="41259"/>
                  </a:lnTo>
                  <a:lnTo>
                    <a:pt x="70491" y="42519"/>
                  </a:lnTo>
                  <a:lnTo>
                    <a:pt x="71953" y="44640"/>
                  </a:lnTo>
                  <a:lnTo>
                    <a:pt x="74340" y="44130"/>
                  </a:lnTo>
                  <a:lnTo>
                    <a:pt x="77650" y="40987"/>
                  </a:lnTo>
                  <a:lnTo>
                    <a:pt x="80900" y="40166"/>
                  </a:lnTo>
                  <a:lnTo>
                    <a:pt x="84093" y="41672"/>
                  </a:lnTo>
                  <a:lnTo>
                    <a:pt x="85836" y="42910"/>
                  </a:lnTo>
                  <a:lnTo>
                    <a:pt x="86134" y="43878"/>
                  </a:lnTo>
                  <a:lnTo>
                    <a:pt x="85391" y="44270"/>
                  </a:lnTo>
                  <a:lnTo>
                    <a:pt x="83608" y="44084"/>
                  </a:lnTo>
                  <a:lnTo>
                    <a:pt x="82146" y="44683"/>
                  </a:lnTo>
                  <a:lnTo>
                    <a:pt x="81003" y="46063"/>
                  </a:lnTo>
                  <a:lnTo>
                    <a:pt x="80831" y="47536"/>
                  </a:lnTo>
                  <a:lnTo>
                    <a:pt x="81629" y="49097"/>
                  </a:lnTo>
                  <a:lnTo>
                    <a:pt x="82761" y="50173"/>
                  </a:lnTo>
                  <a:lnTo>
                    <a:pt x="84223" y="50768"/>
                  </a:lnTo>
                  <a:lnTo>
                    <a:pt x="85005" y="51581"/>
                  </a:lnTo>
                  <a:lnTo>
                    <a:pt x="85106" y="52617"/>
                  </a:lnTo>
                  <a:lnTo>
                    <a:pt x="85486" y="52902"/>
                  </a:lnTo>
                  <a:lnTo>
                    <a:pt x="84655" y="53379"/>
                  </a:lnTo>
                  <a:lnTo>
                    <a:pt x="83750" y="54087"/>
                  </a:lnTo>
                  <a:lnTo>
                    <a:pt x="83238" y="55320"/>
                  </a:lnTo>
                  <a:lnTo>
                    <a:pt x="83106" y="57306"/>
                  </a:lnTo>
                  <a:lnTo>
                    <a:pt x="80267" y="58857"/>
                  </a:lnTo>
                  <a:lnTo>
                    <a:pt x="79200" y="59143"/>
                  </a:lnTo>
                  <a:lnTo>
                    <a:pt x="78719" y="60169"/>
                  </a:lnTo>
                  <a:lnTo>
                    <a:pt x="77976" y="63073"/>
                  </a:lnTo>
                  <a:lnTo>
                    <a:pt x="78069" y="65256"/>
                  </a:lnTo>
                  <a:lnTo>
                    <a:pt x="78451" y="66367"/>
                  </a:lnTo>
                  <a:lnTo>
                    <a:pt x="78626" y="67271"/>
                  </a:lnTo>
                  <a:lnTo>
                    <a:pt x="79543" y="68382"/>
                  </a:lnTo>
                  <a:lnTo>
                    <a:pt x="80379" y="70087"/>
                  </a:lnTo>
                  <a:lnTo>
                    <a:pt x="80932" y="72334"/>
                  </a:lnTo>
                  <a:lnTo>
                    <a:pt x="82158" y="74067"/>
                  </a:lnTo>
                  <a:lnTo>
                    <a:pt x="85307" y="75773"/>
                  </a:lnTo>
                  <a:lnTo>
                    <a:pt x="86868" y="76766"/>
                  </a:lnTo>
                  <a:lnTo>
                    <a:pt x="88021" y="78202"/>
                  </a:lnTo>
                  <a:lnTo>
                    <a:pt x="88902" y="79502"/>
                  </a:lnTo>
                  <a:lnTo>
                    <a:pt x="91496" y="81230"/>
                  </a:lnTo>
                  <a:lnTo>
                    <a:pt x="91299" y="82464"/>
                  </a:lnTo>
                  <a:lnTo>
                    <a:pt x="90732" y="83670"/>
                  </a:lnTo>
                  <a:lnTo>
                    <a:pt x="90133" y="84236"/>
                  </a:lnTo>
                  <a:lnTo>
                    <a:pt x="88842" y="85783"/>
                  </a:lnTo>
                  <a:lnTo>
                    <a:pt x="87583" y="86655"/>
                  </a:lnTo>
                  <a:lnTo>
                    <a:pt x="85510" y="89382"/>
                  </a:lnTo>
                  <a:lnTo>
                    <a:pt x="82236" y="89528"/>
                  </a:lnTo>
                  <a:lnTo>
                    <a:pt x="81455" y="89746"/>
                  </a:lnTo>
                  <a:lnTo>
                    <a:pt x="80217" y="90491"/>
                  </a:lnTo>
                  <a:lnTo>
                    <a:pt x="79608" y="91851"/>
                  </a:lnTo>
                  <a:lnTo>
                    <a:pt x="80191" y="92944"/>
                  </a:lnTo>
                  <a:lnTo>
                    <a:pt x="80140" y="94048"/>
                  </a:lnTo>
                  <a:lnTo>
                    <a:pt x="79542" y="96195"/>
                  </a:lnTo>
                  <a:lnTo>
                    <a:pt x="80334" y="98485"/>
                  </a:lnTo>
                  <a:lnTo>
                    <a:pt x="81487" y="99536"/>
                  </a:lnTo>
                  <a:lnTo>
                    <a:pt x="81669" y="100142"/>
                  </a:lnTo>
                  <a:lnTo>
                    <a:pt x="81472" y="101215"/>
                  </a:lnTo>
                  <a:lnTo>
                    <a:pt x="79751" y="103395"/>
                  </a:lnTo>
                  <a:lnTo>
                    <a:pt x="79228" y="104202"/>
                  </a:lnTo>
                  <a:lnTo>
                    <a:pt x="77503" y="104598"/>
                  </a:lnTo>
                  <a:lnTo>
                    <a:pt x="76913" y="104391"/>
                  </a:lnTo>
                  <a:lnTo>
                    <a:pt x="76022" y="103642"/>
                  </a:lnTo>
                  <a:lnTo>
                    <a:pt x="75197" y="103421"/>
                  </a:lnTo>
                  <a:lnTo>
                    <a:pt x="73139" y="104304"/>
                  </a:lnTo>
                  <a:lnTo>
                    <a:pt x="71046" y="104846"/>
                  </a:lnTo>
                  <a:lnTo>
                    <a:pt x="69399" y="104436"/>
                  </a:lnTo>
                  <a:lnTo>
                    <a:pt x="67775" y="104382"/>
                  </a:lnTo>
                  <a:lnTo>
                    <a:pt x="66645" y="104746"/>
                  </a:lnTo>
                  <a:lnTo>
                    <a:pt x="65797" y="104887"/>
                  </a:lnTo>
                  <a:lnTo>
                    <a:pt x="64130" y="105829"/>
                  </a:lnTo>
                  <a:lnTo>
                    <a:pt x="61454" y="106510"/>
                  </a:lnTo>
                  <a:lnTo>
                    <a:pt x="60221" y="106367"/>
                  </a:lnTo>
                  <a:lnTo>
                    <a:pt x="59759" y="105481"/>
                  </a:lnTo>
                  <a:lnTo>
                    <a:pt x="59258" y="104213"/>
                  </a:lnTo>
                  <a:lnTo>
                    <a:pt x="59502" y="103638"/>
                  </a:lnTo>
                  <a:lnTo>
                    <a:pt x="61269" y="102641"/>
                  </a:lnTo>
                  <a:lnTo>
                    <a:pt x="61472" y="101687"/>
                  </a:lnTo>
                  <a:lnTo>
                    <a:pt x="63940" y="97093"/>
                  </a:lnTo>
                  <a:lnTo>
                    <a:pt x="64415" y="95596"/>
                  </a:lnTo>
                  <a:lnTo>
                    <a:pt x="64432" y="95107"/>
                  </a:lnTo>
                  <a:lnTo>
                    <a:pt x="63789" y="94782"/>
                  </a:lnTo>
                  <a:lnTo>
                    <a:pt x="62433" y="94796"/>
                  </a:lnTo>
                  <a:lnTo>
                    <a:pt x="56421" y="92927"/>
                  </a:lnTo>
                  <a:lnTo>
                    <a:pt x="56695" y="90784"/>
                  </a:lnTo>
                  <a:lnTo>
                    <a:pt x="54929" y="89628"/>
                  </a:lnTo>
                  <a:lnTo>
                    <a:pt x="53026" y="88597"/>
                  </a:lnTo>
                  <a:lnTo>
                    <a:pt x="52707" y="87446"/>
                  </a:lnTo>
                  <a:lnTo>
                    <a:pt x="50593" y="85120"/>
                  </a:lnTo>
                  <a:lnTo>
                    <a:pt x="49045" y="83814"/>
                  </a:lnTo>
                  <a:lnTo>
                    <a:pt x="47069" y="83162"/>
                  </a:lnTo>
                  <a:lnTo>
                    <a:pt x="45367" y="82206"/>
                  </a:lnTo>
                  <a:lnTo>
                    <a:pt x="44343" y="81621"/>
                  </a:lnTo>
                  <a:lnTo>
                    <a:pt x="43888" y="80533"/>
                  </a:lnTo>
                  <a:lnTo>
                    <a:pt x="43888" y="79889"/>
                  </a:lnTo>
                  <a:lnTo>
                    <a:pt x="43374" y="79267"/>
                  </a:lnTo>
                  <a:lnTo>
                    <a:pt x="42551" y="79334"/>
                  </a:lnTo>
                  <a:lnTo>
                    <a:pt x="41162" y="80200"/>
                  </a:lnTo>
                  <a:lnTo>
                    <a:pt x="39450" y="80945"/>
                  </a:lnTo>
                  <a:lnTo>
                    <a:pt x="39152" y="81487"/>
                  </a:lnTo>
                  <a:lnTo>
                    <a:pt x="39770" y="82777"/>
                  </a:lnTo>
                  <a:lnTo>
                    <a:pt x="40213" y="83595"/>
                  </a:lnTo>
                  <a:lnTo>
                    <a:pt x="40012" y="84371"/>
                  </a:lnTo>
                  <a:lnTo>
                    <a:pt x="39470" y="85357"/>
                  </a:lnTo>
                  <a:lnTo>
                    <a:pt x="36177" y="87531"/>
                  </a:lnTo>
                  <a:lnTo>
                    <a:pt x="35807" y="88294"/>
                  </a:lnTo>
                  <a:lnTo>
                    <a:pt x="36436" y="89512"/>
                  </a:lnTo>
                  <a:lnTo>
                    <a:pt x="36038" y="90078"/>
                  </a:lnTo>
                  <a:lnTo>
                    <a:pt x="33285" y="90880"/>
                  </a:lnTo>
                  <a:lnTo>
                    <a:pt x="33359" y="90215"/>
                  </a:lnTo>
                  <a:lnTo>
                    <a:pt x="33188" y="89142"/>
                  </a:lnTo>
                  <a:lnTo>
                    <a:pt x="31607" y="88002"/>
                  </a:lnTo>
                  <a:lnTo>
                    <a:pt x="29383" y="87117"/>
                  </a:lnTo>
                  <a:lnTo>
                    <a:pt x="24434" y="84084"/>
                  </a:lnTo>
                  <a:lnTo>
                    <a:pt x="22531" y="83685"/>
                  </a:lnTo>
                  <a:lnTo>
                    <a:pt x="20832" y="83330"/>
                  </a:lnTo>
                  <a:lnTo>
                    <a:pt x="18396" y="81875"/>
                  </a:lnTo>
                  <a:lnTo>
                    <a:pt x="17146" y="81621"/>
                  </a:lnTo>
                  <a:lnTo>
                    <a:pt x="15756" y="80579"/>
                  </a:lnTo>
                  <a:lnTo>
                    <a:pt x="12728" y="77071"/>
                  </a:lnTo>
                  <a:lnTo>
                    <a:pt x="10154" y="75157"/>
                  </a:lnTo>
                  <a:lnTo>
                    <a:pt x="8396" y="74189"/>
                  </a:lnTo>
                  <a:lnTo>
                    <a:pt x="7904" y="73245"/>
                  </a:lnTo>
                  <a:lnTo>
                    <a:pt x="7796" y="72274"/>
                  </a:lnTo>
                  <a:lnTo>
                    <a:pt x="7856" y="71944"/>
                  </a:lnTo>
                  <a:lnTo>
                    <a:pt x="9187" y="70568"/>
                  </a:lnTo>
                  <a:lnTo>
                    <a:pt x="10210" y="70368"/>
                  </a:lnTo>
                  <a:lnTo>
                    <a:pt x="11527" y="70323"/>
                  </a:lnTo>
                  <a:lnTo>
                    <a:pt x="12395" y="71021"/>
                  </a:lnTo>
                  <a:lnTo>
                    <a:pt x="13537" y="71169"/>
                  </a:lnTo>
                  <a:lnTo>
                    <a:pt x="14173" y="70277"/>
                  </a:lnTo>
                  <a:lnTo>
                    <a:pt x="14507" y="68991"/>
                  </a:lnTo>
                  <a:lnTo>
                    <a:pt x="14354" y="67354"/>
                  </a:lnTo>
                  <a:lnTo>
                    <a:pt x="11609" y="63541"/>
                  </a:lnTo>
                  <a:lnTo>
                    <a:pt x="9247" y="60878"/>
                  </a:lnTo>
                  <a:lnTo>
                    <a:pt x="8977" y="60290"/>
                  </a:lnTo>
                  <a:lnTo>
                    <a:pt x="9487" y="59792"/>
                  </a:lnTo>
                  <a:lnTo>
                    <a:pt x="10309" y="59524"/>
                  </a:lnTo>
                  <a:lnTo>
                    <a:pt x="11193" y="59747"/>
                  </a:lnTo>
                  <a:lnTo>
                    <a:pt x="13497" y="59939"/>
                  </a:lnTo>
                  <a:lnTo>
                    <a:pt x="15710" y="59693"/>
                  </a:lnTo>
                  <a:lnTo>
                    <a:pt x="16466" y="59044"/>
                  </a:lnTo>
                  <a:lnTo>
                    <a:pt x="16468" y="58168"/>
                  </a:lnTo>
                  <a:lnTo>
                    <a:pt x="15658" y="57355"/>
                  </a:lnTo>
                  <a:lnTo>
                    <a:pt x="13071" y="55160"/>
                  </a:lnTo>
                  <a:lnTo>
                    <a:pt x="11052" y="53226"/>
                  </a:lnTo>
                  <a:lnTo>
                    <a:pt x="8679" y="51742"/>
                  </a:lnTo>
                  <a:lnTo>
                    <a:pt x="6917" y="51145"/>
                  </a:lnTo>
                  <a:lnTo>
                    <a:pt x="6396" y="50392"/>
                  </a:lnTo>
                  <a:lnTo>
                    <a:pt x="6179" y="49586"/>
                  </a:lnTo>
                  <a:lnTo>
                    <a:pt x="6375" y="48103"/>
                  </a:lnTo>
                  <a:lnTo>
                    <a:pt x="6487" y="46221"/>
                  </a:lnTo>
                  <a:lnTo>
                    <a:pt x="6906" y="45037"/>
                  </a:lnTo>
                  <a:lnTo>
                    <a:pt x="8493" y="42799"/>
                  </a:lnTo>
                  <a:lnTo>
                    <a:pt x="10014" y="40424"/>
                  </a:lnTo>
                  <a:lnTo>
                    <a:pt x="10955" y="38137"/>
                  </a:lnTo>
                  <a:lnTo>
                    <a:pt x="11450" y="36012"/>
                  </a:lnTo>
                  <a:lnTo>
                    <a:pt x="11268" y="35402"/>
                  </a:lnTo>
                  <a:lnTo>
                    <a:pt x="10473" y="34950"/>
                  </a:lnTo>
                  <a:lnTo>
                    <a:pt x="8795" y="34491"/>
                  </a:lnTo>
                  <a:lnTo>
                    <a:pt x="6468" y="34891"/>
                  </a:lnTo>
                  <a:lnTo>
                    <a:pt x="4490" y="35663"/>
                  </a:lnTo>
                  <a:lnTo>
                    <a:pt x="3717" y="35722"/>
                  </a:lnTo>
                  <a:lnTo>
                    <a:pt x="3460" y="34771"/>
                  </a:lnTo>
                  <a:lnTo>
                    <a:pt x="3771" y="34352"/>
                  </a:lnTo>
                  <a:lnTo>
                    <a:pt x="4390" y="34402"/>
                  </a:lnTo>
                  <a:lnTo>
                    <a:pt x="4898" y="34581"/>
                  </a:lnTo>
                  <a:lnTo>
                    <a:pt x="5444" y="34150"/>
                  </a:lnTo>
                  <a:lnTo>
                    <a:pt x="5770" y="32866"/>
                  </a:lnTo>
                  <a:lnTo>
                    <a:pt x="4950" y="28396"/>
                  </a:lnTo>
                  <a:lnTo>
                    <a:pt x="6427" y="27999"/>
                  </a:lnTo>
                  <a:lnTo>
                    <a:pt x="6451" y="27348"/>
                  </a:lnTo>
                  <a:lnTo>
                    <a:pt x="6587" y="26780"/>
                  </a:lnTo>
                  <a:lnTo>
                    <a:pt x="8113" y="27559"/>
                  </a:lnTo>
                  <a:lnTo>
                    <a:pt x="10260" y="27573"/>
                  </a:lnTo>
                  <a:lnTo>
                    <a:pt x="12141" y="27416"/>
                  </a:lnTo>
                  <a:lnTo>
                    <a:pt x="12425" y="26976"/>
                  </a:lnTo>
                  <a:lnTo>
                    <a:pt x="12404" y="26335"/>
                  </a:lnTo>
                  <a:lnTo>
                    <a:pt x="12013" y="25839"/>
                  </a:lnTo>
                  <a:lnTo>
                    <a:pt x="11348" y="25433"/>
                  </a:lnTo>
                  <a:lnTo>
                    <a:pt x="10862" y="24812"/>
                  </a:lnTo>
                  <a:lnTo>
                    <a:pt x="9592" y="24541"/>
                  </a:lnTo>
                  <a:lnTo>
                    <a:pt x="5617" y="22925"/>
                  </a:lnTo>
                  <a:lnTo>
                    <a:pt x="3663" y="21207"/>
                  </a:lnTo>
                  <a:lnTo>
                    <a:pt x="3728" y="19387"/>
                  </a:lnTo>
                  <a:lnTo>
                    <a:pt x="4295" y="18388"/>
                  </a:lnTo>
                  <a:lnTo>
                    <a:pt x="4980" y="18036"/>
                  </a:lnTo>
                  <a:lnTo>
                    <a:pt x="4777" y="17699"/>
                  </a:lnTo>
                  <a:lnTo>
                    <a:pt x="2535" y="16854"/>
                  </a:lnTo>
                  <a:lnTo>
                    <a:pt x="1743" y="15677"/>
                  </a:lnTo>
                  <a:lnTo>
                    <a:pt x="2393" y="14164"/>
                  </a:lnTo>
                  <a:lnTo>
                    <a:pt x="1227" y="11100"/>
                  </a:lnTo>
                  <a:lnTo>
                    <a:pt x="0" y="9209"/>
                  </a:lnTo>
                  <a:lnTo>
                    <a:pt x="1205" y="8387"/>
                  </a:lnTo>
                  <a:lnTo>
                    <a:pt x="1372" y="7226"/>
                  </a:lnTo>
                  <a:lnTo>
                    <a:pt x="1467" y="6561"/>
                  </a:lnTo>
                  <a:lnTo>
                    <a:pt x="1963" y="6570"/>
                  </a:lnTo>
                  <a:lnTo>
                    <a:pt x="3907" y="5789"/>
                  </a:lnTo>
                  <a:lnTo>
                    <a:pt x="4613" y="5155"/>
                  </a:lnTo>
                  <a:lnTo>
                    <a:pt x="5023" y="4413"/>
                  </a:lnTo>
                  <a:lnTo>
                    <a:pt x="5489" y="4230"/>
                  </a:lnTo>
                  <a:lnTo>
                    <a:pt x="6794" y="5035"/>
                  </a:lnTo>
                  <a:lnTo>
                    <a:pt x="8167" y="5106"/>
                  </a:lnTo>
                  <a:lnTo>
                    <a:pt x="9709" y="4597"/>
                  </a:lnTo>
                  <a:lnTo>
                    <a:pt x="10862" y="3889"/>
                  </a:lnTo>
                  <a:lnTo>
                    <a:pt x="12246" y="3301"/>
                  </a:lnTo>
                  <a:lnTo>
                    <a:pt x="12875" y="2896"/>
                  </a:lnTo>
                  <a:lnTo>
                    <a:pt x="13676" y="2263"/>
                  </a:lnTo>
                  <a:lnTo>
                    <a:pt x="15295" y="388"/>
                  </a:lnTo>
                  <a:lnTo>
                    <a:pt x="17124" y="0"/>
                  </a:lnTo>
                  <a:close/>
                </a:path>
              </a:pathLst>
            </a:custGeom>
            <a:solidFill>
              <a:srgbClr val="A3BA1E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77" name="ee4p_SK_1_82333">
              <a:extLst>
                <a:ext uri="{FF2B5EF4-FFF2-40B4-BE49-F238E27FC236}">
                  <a16:creationId xmlns:a16="http://schemas.microsoft.com/office/drawing/2014/main" id="{F6D3DF34-0957-65FB-9DF9-35ABA36BE779}"/>
                </a:ext>
              </a:extLst>
            </p:cNvPr>
            <p:cNvSpPr>
              <a:spLocks noChangeAspect="1"/>
            </p:cNvSpPr>
            <p:nvPr>
              <p:custDataLst>
                <p:tags r:id="rId105"/>
              </p:custDataLst>
            </p:nvPr>
          </p:nvSpPr>
          <p:spPr>
            <a:xfrm>
              <a:off x="6982967" y="3132114"/>
              <a:ext cx="157620" cy="67281"/>
            </a:xfrm>
            <a:custGeom>
              <a:avLst/>
              <a:gdLst/>
              <a:ahLst/>
              <a:cxnLst/>
              <a:rect l="0" t="0" r="0" b="0"/>
              <a:pathLst>
                <a:path w="125509" h="52154">
                  <a:moveTo>
                    <a:pt x="125508" y="15038"/>
                  </a:moveTo>
                  <a:lnTo>
                    <a:pt x="125186" y="16218"/>
                  </a:lnTo>
                  <a:lnTo>
                    <a:pt x="124281" y="17591"/>
                  </a:lnTo>
                  <a:lnTo>
                    <a:pt x="123150" y="19009"/>
                  </a:lnTo>
                  <a:lnTo>
                    <a:pt x="122208" y="20721"/>
                  </a:lnTo>
                  <a:lnTo>
                    <a:pt x="120951" y="24378"/>
                  </a:lnTo>
                  <a:lnTo>
                    <a:pt x="120124" y="26062"/>
                  </a:lnTo>
                  <a:lnTo>
                    <a:pt x="116756" y="29396"/>
                  </a:lnTo>
                  <a:lnTo>
                    <a:pt x="116512" y="34025"/>
                  </a:lnTo>
                  <a:lnTo>
                    <a:pt x="116058" y="34364"/>
                  </a:lnTo>
                  <a:lnTo>
                    <a:pt x="108444" y="35930"/>
                  </a:lnTo>
                  <a:lnTo>
                    <a:pt x="107438" y="35690"/>
                  </a:lnTo>
                  <a:lnTo>
                    <a:pt x="106401" y="34789"/>
                  </a:lnTo>
                  <a:lnTo>
                    <a:pt x="105827" y="34134"/>
                  </a:lnTo>
                  <a:lnTo>
                    <a:pt x="105471" y="33651"/>
                  </a:lnTo>
                  <a:lnTo>
                    <a:pt x="104810" y="32371"/>
                  </a:lnTo>
                  <a:lnTo>
                    <a:pt x="103938" y="31462"/>
                  </a:lnTo>
                  <a:lnTo>
                    <a:pt x="102644" y="30720"/>
                  </a:lnTo>
                  <a:lnTo>
                    <a:pt x="101465" y="29857"/>
                  </a:lnTo>
                  <a:lnTo>
                    <a:pt x="99940" y="29823"/>
                  </a:lnTo>
                  <a:lnTo>
                    <a:pt x="95827" y="31039"/>
                  </a:lnTo>
                  <a:lnTo>
                    <a:pt x="92972" y="31172"/>
                  </a:lnTo>
                  <a:lnTo>
                    <a:pt x="91067" y="30782"/>
                  </a:lnTo>
                  <a:lnTo>
                    <a:pt x="88535" y="30045"/>
                  </a:lnTo>
                  <a:lnTo>
                    <a:pt x="83594" y="29929"/>
                  </a:lnTo>
                  <a:lnTo>
                    <a:pt x="80208" y="30577"/>
                  </a:lnTo>
                  <a:lnTo>
                    <a:pt x="79875" y="31479"/>
                  </a:lnTo>
                  <a:lnTo>
                    <a:pt x="76753" y="37134"/>
                  </a:lnTo>
                  <a:lnTo>
                    <a:pt x="72216" y="39215"/>
                  </a:lnTo>
                  <a:lnTo>
                    <a:pt x="68275" y="41347"/>
                  </a:lnTo>
                  <a:lnTo>
                    <a:pt x="67131" y="41778"/>
                  </a:lnTo>
                  <a:lnTo>
                    <a:pt x="65172" y="41109"/>
                  </a:lnTo>
                  <a:lnTo>
                    <a:pt x="62942" y="39843"/>
                  </a:lnTo>
                  <a:lnTo>
                    <a:pt x="61089" y="39185"/>
                  </a:lnTo>
                  <a:lnTo>
                    <a:pt x="59737" y="39475"/>
                  </a:lnTo>
                  <a:lnTo>
                    <a:pt x="58260" y="40909"/>
                  </a:lnTo>
                  <a:lnTo>
                    <a:pt x="57586" y="42362"/>
                  </a:lnTo>
                  <a:lnTo>
                    <a:pt x="53123" y="43425"/>
                  </a:lnTo>
                  <a:lnTo>
                    <a:pt x="45362" y="44053"/>
                  </a:lnTo>
                  <a:lnTo>
                    <a:pt x="42658" y="45479"/>
                  </a:lnTo>
                  <a:lnTo>
                    <a:pt x="41734" y="47195"/>
                  </a:lnTo>
                  <a:lnTo>
                    <a:pt x="41695" y="48514"/>
                  </a:lnTo>
                  <a:lnTo>
                    <a:pt x="42352" y="49635"/>
                  </a:lnTo>
                  <a:lnTo>
                    <a:pt x="41525" y="50941"/>
                  </a:lnTo>
                  <a:lnTo>
                    <a:pt x="41162" y="51486"/>
                  </a:lnTo>
                  <a:lnTo>
                    <a:pt x="35679" y="51772"/>
                  </a:lnTo>
                  <a:lnTo>
                    <a:pt x="28368" y="52153"/>
                  </a:lnTo>
                  <a:lnTo>
                    <a:pt x="23997" y="52056"/>
                  </a:lnTo>
                  <a:lnTo>
                    <a:pt x="19883" y="51964"/>
                  </a:lnTo>
                  <a:lnTo>
                    <a:pt x="17083" y="50845"/>
                  </a:lnTo>
                  <a:lnTo>
                    <a:pt x="13664" y="48657"/>
                  </a:lnTo>
                  <a:lnTo>
                    <a:pt x="10052" y="45743"/>
                  </a:lnTo>
                  <a:lnTo>
                    <a:pt x="9704" y="45675"/>
                  </a:lnTo>
                  <a:lnTo>
                    <a:pt x="9167" y="45365"/>
                  </a:lnTo>
                  <a:lnTo>
                    <a:pt x="6897" y="45147"/>
                  </a:lnTo>
                  <a:lnTo>
                    <a:pt x="6294" y="45319"/>
                  </a:lnTo>
                  <a:lnTo>
                    <a:pt x="4936" y="44371"/>
                  </a:lnTo>
                  <a:lnTo>
                    <a:pt x="4537" y="43137"/>
                  </a:lnTo>
                  <a:lnTo>
                    <a:pt x="2431" y="39892"/>
                  </a:lnTo>
                  <a:lnTo>
                    <a:pt x="60" y="34547"/>
                  </a:lnTo>
                  <a:lnTo>
                    <a:pt x="0" y="33002"/>
                  </a:lnTo>
                  <a:lnTo>
                    <a:pt x="924" y="31241"/>
                  </a:lnTo>
                  <a:lnTo>
                    <a:pt x="1783" y="29895"/>
                  </a:lnTo>
                  <a:lnTo>
                    <a:pt x="1904" y="28826"/>
                  </a:lnTo>
                  <a:lnTo>
                    <a:pt x="2000" y="28535"/>
                  </a:lnTo>
                  <a:lnTo>
                    <a:pt x="2710" y="26316"/>
                  </a:lnTo>
                  <a:lnTo>
                    <a:pt x="4435" y="23362"/>
                  </a:lnTo>
                  <a:lnTo>
                    <a:pt x="6035" y="21645"/>
                  </a:lnTo>
                  <a:lnTo>
                    <a:pt x="7203" y="21078"/>
                  </a:lnTo>
                  <a:lnTo>
                    <a:pt x="9600" y="21595"/>
                  </a:lnTo>
                  <a:lnTo>
                    <a:pt x="13708" y="22023"/>
                  </a:lnTo>
                  <a:lnTo>
                    <a:pt x="16865" y="21622"/>
                  </a:lnTo>
                  <a:lnTo>
                    <a:pt x="19808" y="20304"/>
                  </a:lnTo>
                  <a:lnTo>
                    <a:pt x="21408" y="19150"/>
                  </a:lnTo>
                  <a:lnTo>
                    <a:pt x="22775" y="17937"/>
                  </a:lnTo>
                  <a:lnTo>
                    <a:pt x="23230" y="17150"/>
                  </a:lnTo>
                  <a:lnTo>
                    <a:pt x="23837" y="16772"/>
                  </a:lnTo>
                  <a:lnTo>
                    <a:pt x="26273" y="16071"/>
                  </a:lnTo>
                  <a:lnTo>
                    <a:pt x="27048" y="15254"/>
                  </a:lnTo>
                  <a:lnTo>
                    <a:pt x="27368" y="13706"/>
                  </a:lnTo>
                  <a:lnTo>
                    <a:pt x="27579" y="11978"/>
                  </a:lnTo>
                  <a:lnTo>
                    <a:pt x="28081" y="10698"/>
                  </a:lnTo>
                  <a:lnTo>
                    <a:pt x="28707" y="9759"/>
                  </a:lnTo>
                  <a:lnTo>
                    <a:pt x="33215" y="7501"/>
                  </a:lnTo>
                  <a:lnTo>
                    <a:pt x="33619" y="6708"/>
                  </a:lnTo>
                  <a:lnTo>
                    <a:pt x="34343" y="5934"/>
                  </a:lnTo>
                  <a:lnTo>
                    <a:pt x="35675" y="5069"/>
                  </a:lnTo>
                  <a:lnTo>
                    <a:pt x="36968" y="3819"/>
                  </a:lnTo>
                  <a:lnTo>
                    <a:pt x="38338" y="3051"/>
                  </a:lnTo>
                  <a:lnTo>
                    <a:pt x="40100" y="3137"/>
                  </a:lnTo>
                  <a:lnTo>
                    <a:pt x="41725" y="2978"/>
                  </a:lnTo>
                  <a:lnTo>
                    <a:pt x="42993" y="2541"/>
                  </a:lnTo>
                  <a:lnTo>
                    <a:pt x="43550" y="2496"/>
                  </a:lnTo>
                  <a:lnTo>
                    <a:pt x="45893" y="2855"/>
                  </a:lnTo>
                  <a:lnTo>
                    <a:pt x="46314" y="4290"/>
                  </a:lnTo>
                  <a:lnTo>
                    <a:pt x="46560" y="5782"/>
                  </a:lnTo>
                  <a:lnTo>
                    <a:pt x="50564" y="5674"/>
                  </a:lnTo>
                  <a:lnTo>
                    <a:pt x="52793" y="2478"/>
                  </a:lnTo>
                  <a:lnTo>
                    <a:pt x="53946" y="2092"/>
                  </a:lnTo>
                  <a:lnTo>
                    <a:pt x="55801" y="979"/>
                  </a:lnTo>
                  <a:lnTo>
                    <a:pt x="57025" y="0"/>
                  </a:lnTo>
                  <a:lnTo>
                    <a:pt x="57867" y="613"/>
                  </a:lnTo>
                  <a:lnTo>
                    <a:pt x="59085" y="2669"/>
                  </a:lnTo>
                  <a:lnTo>
                    <a:pt x="60374" y="4323"/>
                  </a:lnTo>
                  <a:lnTo>
                    <a:pt x="61117" y="4976"/>
                  </a:lnTo>
                  <a:lnTo>
                    <a:pt x="61197" y="5484"/>
                  </a:lnTo>
                  <a:lnTo>
                    <a:pt x="61946" y="5788"/>
                  </a:lnTo>
                  <a:lnTo>
                    <a:pt x="63404" y="5972"/>
                  </a:lnTo>
                  <a:lnTo>
                    <a:pt x="64373" y="6472"/>
                  </a:lnTo>
                  <a:lnTo>
                    <a:pt x="64663" y="8008"/>
                  </a:lnTo>
                  <a:lnTo>
                    <a:pt x="64684" y="9399"/>
                  </a:lnTo>
                  <a:lnTo>
                    <a:pt x="64229" y="10393"/>
                  </a:lnTo>
                  <a:lnTo>
                    <a:pt x="63991" y="11275"/>
                  </a:lnTo>
                  <a:lnTo>
                    <a:pt x="65000" y="11620"/>
                  </a:lnTo>
                  <a:lnTo>
                    <a:pt x="66474" y="11286"/>
                  </a:lnTo>
                  <a:lnTo>
                    <a:pt x="67517" y="10789"/>
                  </a:lnTo>
                  <a:lnTo>
                    <a:pt x="70646" y="11935"/>
                  </a:lnTo>
                  <a:lnTo>
                    <a:pt x="71752" y="9376"/>
                  </a:lnTo>
                  <a:lnTo>
                    <a:pt x="72991" y="8069"/>
                  </a:lnTo>
                  <a:lnTo>
                    <a:pt x="74602" y="7461"/>
                  </a:lnTo>
                  <a:lnTo>
                    <a:pt x="76062" y="6662"/>
                  </a:lnTo>
                  <a:lnTo>
                    <a:pt x="77399" y="6097"/>
                  </a:lnTo>
                  <a:lnTo>
                    <a:pt x="78321" y="6130"/>
                  </a:lnTo>
                  <a:lnTo>
                    <a:pt x="78718" y="5894"/>
                  </a:lnTo>
                  <a:lnTo>
                    <a:pt x="79865" y="5955"/>
                  </a:lnTo>
                  <a:lnTo>
                    <a:pt x="81193" y="6213"/>
                  </a:lnTo>
                  <a:lnTo>
                    <a:pt x="82996" y="5912"/>
                  </a:lnTo>
                  <a:lnTo>
                    <a:pt x="85492" y="6536"/>
                  </a:lnTo>
                  <a:lnTo>
                    <a:pt x="87051" y="7718"/>
                  </a:lnTo>
                  <a:lnTo>
                    <a:pt x="88576" y="8118"/>
                  </a:lnTo>
                  <a:lnTo>
                    <a:pt x="90318" y="8049"/>
                  </a:lnTo>
                  <a:lnTo>
                    <a:pt x="91510" y="7398"/>
                  </a:lnTo>
                  <a:lnTo>
                    <a:pt x="93240" y="5150"/>
                  </a:lnTo>
                  <a:lnTo>
                    <a:pt x="94495" y="5186"/>
                  </a:lnTo>
                  <a:lnTo>
                    <a:pt x="96460" y="4830"/>
                  </a:lnTo>
                  <a:lnTo>
                    <a:pt x="99234" y="4850"/>
                  </a:lnTo>
                  <a:lnTo>
                    <a:pt x="105628" y="5331"/>
                  </a:lnTo>
                  <a:lnTo>
                    <a:pt x="107231" y="6192"/>
                  </a:lnTo>
                  <a:lnTo>
                    <a:pt x="111167" y="7294"/>
                  </a:lnTo>
                  <a:lnTo>
                    <a:pt x="112882" y="8565"/>
                  </a:lnTo>
                  <a:lnTo>
                    <a:pt x="113644" y="10082"/>
                  </a:lnTo>
                  <a:lnTo>
                    <a:pt x="114041" y="11128"/>
                  </a:lnTo>
                  <a:lnTo>
                    <a:pt x="118075" y="12738"/>
                  </a:lnTo>
                  <a:lnTo>
                    <a:pt x="124056" y="14793"/>
                  </a:lnTo>
                  <a:close/>
                </a:path>
              </a:pathLst>
            </a:custGeom>
            <a:solidFill>
              <a:srgbClr val="A3BA1E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78" name="ee4p_SI_1_82333">
              <a:extLst>
                <a:ext uri="{FF2B5EF4-FFF2-40B4-BE49-F238E27FC236}">
                  <a16:creationId xmlns:a16="http://schemas.microsoft.com/office/drawing/2014/main" id="{23230ECE-3F1D-B23E-255E-7C82A228E0E1}"/>
                </a:ext>
              </a:extLst>
            </p:cNvPr>
            <p:cNvSpPr>
              <a:spLocks noChangeAspect="1"/>
            </p:cNvSpPr>
            <p:nvPr>
              <p:custDataLst>
                <p:tags r:id="rId106"/>
              </p:custDataLst>
            </p:nvPr>
          </p:nvSpPr>
          <p:spPr>
            <a:xfrm>
              <a:off x="6886205" y="3231912"/>
              <a:ext cx="87140" cy="51199"/>
            </a:xfrm>
            <a:custGeom>
              <a:avLst/>
              <a:gdLst/>
              <a:ahLst/>
              <a:cxnLst/>
              <a:rect l="0" t="0" r="0" b="0"/>
              <a:pathLst>
                <a:path w="69388" h="39688">
                  <a:moveTo>
                    <a:pt x="69387" y="10107"/>
                  </a:moveTo>
                  <a:lnTo>
                    <a:pt x="67429" y="9427"/>
                  </a:lnTo>
                  <a:lnTo>
                    <a:pt x="65075" y="9143"/>
                  </a:lnTo>
                  <a:lnTo>
                    <a:pt x="64632" y="9511"/>
                  </a:lnTo>
                  <a:lnTo>
                    <a:pt x="63686" y="9885"/>
                  </a:lnTo>
                  <a:lnTo>
                    <a:pt x="63207" y="10553"/>
                  </a:lnTo>
                  <a:lnTo>
                    <a:pt x="63574" y="13181"/>
                  </a:lnTo>
                  <a:lnTo>
                    <a:pt x="63002" y="13632"/>
                  </a:lnTo>
                  <a:lnTo>
                    <a:pt x="60326" y="13372"/>
                  </a:lnTo>
                  <a:lnTo>
                    <a:pt x="59443" y="13674"/>
                  </a:lnTo>
                  <a:lnTo>
                    <a:pt x="57988" y="15502"/>
                  </a:lnTo>
                  <a:lnTo>
                    <a:pt x="56498" y="16270"/>
                  </a:lnTo>
                  <a:lnTo>
                    <a:pt x="54602" y="16818"/>
                  </a:lnTo>
                  <a:lnTo>
                    <a:pt x="53203" y="17479"/>
                  </a:lnTo>
                  <a:lnTo>
                    <a:pt x="51432" y="18053"/>
                  </a:lnTo>
                  <a:lnTo>
                    <a:pt x="49922" y="18399"/>
                  </a:lnTo>
                  <a:lnTo>
                    <a:pt x="49327" y="19197"/>
                  </a:lnTo>
                  <a:lnTo>
                    <a:pt x="48964" y="20080"/>
                  </a:lnTo>
                  <a:lnTo>
                    <a:pt x="49059" y="20930"/>
                  </a:lnTo>
                  <a:lnTo>
                    <a:pt x="50592" y="22609"/>
                  </a:lnTo>
                  <a:lnTo>
                    <a:pt x="50799" y="24399"/>
                  </a:lnTo>
                  <a:lnTo>
                    <a:pt x="50633" y="26586"/>
                  </a:lnTo>
                  <a:lnTo>
                    <a:pt x="50281" y="27752"/>
                  </a:lnTo>
                  <a:lnTo>
                    <a:pt x="49676" y="28527"/>
                  </a:lnTo>
                  <a:lnTo>
                    <a:pt x="45902" y="29532"/>
                  </a:lnTo>
                  <a:lnTo>
                    <a:pt x="41987" y="31322"/>
                  </a:lnTo>
                  <a:lnTo>
                    <a:pt x="41896" y="31732"/>
                  </a:lnTo>
                  <a:lnTo>
                    <a:pt x="43682" y="33323"/>
                  </a:lnTo>
                  <a:lnTo>
                    <a:pt x="43753" y="33720"/>
                  </a:lnTo>
                  <a:lnTo>
                    <a:pt x="42276" y="34624"/>
                  </a:lnTo>
                  <a:lnTo>
                    <a:pt x="42131" y="35530"/>
                  </a:lnTo>
                  <a:lnTo>
                    <a:pt x="42300" y="36578"/>
                  </a:lnTo>
                  <a:lnTo>
                    <a:pt x="43084" y="37657"/>
                  </a:lnTo>
                  <a:lnTo>
                    <a:pt x="43367" y="38625"/>
                  </a:lnTo>
                  <a:lnTo>
                    <a:pt x="41214" y="39329"/>
                  </a:lnTo>
                  <a:lnTo>
                    <a:pt x="38303" y="39072"/>
                  </a:lnTo>
                  <a:lnTo>
                    <a:pt x="34857" y="37723"/>
                  </a:lnTo>
                  <a:lnTo>
                    <a:pt x="33649" y="37921"/>
                  </a:lnTo>
                  <a:lnTo>
                    <a:pt x="32479" y="38617"/>
                  </a:lnTo>
                  <a:lnTo>
                    <a:pt x="31285" y="38318"/>
                  </a:lnTo>
                  <a:lnTo>
                    <a:pt x="29970" y="37487"/>
                  </a:lnTo>
                  <a:lnTo>
                    <a:pt x="28111" y="35756"/>
                  </a:lnTo>
                  <a:lnTo>
                    <a:pt x="27206" y="34693"/>
                  </a:lnTo>
                  <a:lnTo>
                    <a:pt x="26834" y="33561"/>
                  </a:lnTo>
                  <a:lnTo>
                    <a:pt x="26327" y="33397"/>
                  </a:lnTo>
                  <a:lnTo>
                    <a:pt x="25556" y="33726"/>
                  </a:lnTo>
                  <a:lnTo>
                    <a:pt x="24919" y="35103"/>
                  </a:lnTo>
                  <a:lnTo>
                    <a:pt x="23198" y="37562"/>
                  </a:lnTo>
                  <a:lnTo>
                    <a:pt x="21928" y="38230"/>
                  </a:lnTo>
                  <a:lnTo>
                    <a:pt x="20006" y="38088"/>
                  </a:lnTo>
                  <a:lnTo>
                    <a:pt x="17314" y="38128"/>
                  </a:lnTo>
                  <a:lnTo>
                    <a:pt x="15640" y="38329"/>
                  </a:lnTo>
                  <a:lnTo>
                    <a:pt x="13589" y="37461"/>
                  </a:lnTo>
                  <a:lnTo>
                    <a:pt x="13092" y="37628"/>
                  </a:lnTo>
                  <a:lnTo>
                    <a:pt x="13088" y="38198"/>
                  </a:lnTo>
                  <a:lnTo>
                    <a:pt x="12325" y="39098"/>
                  </a:lnTo>
                  <a:lnTo>
                    <a:pt x="11067" y="39687"/>
                  </a:lnTo>
                  <a:lnTo>
                    <a:pt x="5241" y="38359"/>
                  </a:lnTo>
                  <a:lnTo>
                    <a:pt x="4416" y="37256"/>
                  </a:lnTo>
                  <a:lnTo>
                    <a:pt x="5729" y="36732"/>
                  </a:lnTo>
                  <a:lnTo>
                    <a:pt x="7553" y="35312"/>
                  </a:lnTo>
                  <a:lnTo>
                    <a:pt x="8795" y="35467"/>
                  </a:lnTo>
                  <a:lnTo>
                    <a:pt x="10315" y="35167"/>
                  </a:lnTo>
                  <a:lnTo>
                    <a:pt x="10978" y="34563"/>
                  </a:lnTo>
                  <a:lnTo>
                    <a:pt x="10015" y="32759"/>
                  </a:lnTo>
                  <a:lnTo>
                    <a:pt x="7594" y="30532"/>
                  </a:lnTo>
                  <a:lnTo>
                    <a:pt x="6307" y="29686"/>
                  </a:lnTo>
                  <a:lnTo>
                    <a:pt x="4536" y="29125"/>
                  </a:lnTo>
                  <a:lnTo>
                    <a:pt x="4232" y="28525"/>
                  </a:lnTo>
                  <a:lnTo>
                    <a:pt x="5212" y="25007"/>
                  </a:lnTo>
                  <a:lnTo>
                    <a:pt x="4917" y="24507"/>
                  </a:lnTo>
                  <a:lnTo>
                    <a:pt x="2895" y="24672"/>
                  </a:lnTo>
                  <a:lnTo>
                    <a:pt x="2420" y="24304"/>
                  </a:lnTo>
                  <a:lnTo>
                    <a:pt x="2256" y="23694"/>
                  </a:lnTo>
                  <a:lnTo>
                    <a:pt x="2392" y="22856"/>
                  </a:lnTo>
                  <a:lnTo>
                    <a:pt x="3755" y="21486"/>
                  </a:lnTo>
                  <a:lnTo>
                    <a:pt x="5271" y="20270"/>
                  </a:lnTo>
                  <a:lnTo>
                    <a:pt x="5677" y="19588"/>
                  </a:lnTo>
                  <a:lnTo>
                    <a:pt x="5623" y="19055"/>
                  </a:lnTo>
                  <a:lnTo>
                    <a:pt x="3681" y="18514"/>
                  </a:lnTo>
                  <a:lnTo>
                    <a:pt x="2511" y="17960"/>
                  </a:lnTo>
                  <a:lnTo>
                    <a:pt x="1583" y="17768"/>
                  </a:lnTo>
                  <a:lnTo>
                    <a:pt x="946" y="18079"/>
                  </a:lnTo>
                  <a:lnTo>
                    <a:pt x="473" y="17729"/>
                  </a:lnTo>
                  <a:lnTo>
                    <a:pt x="0" y="16714"/>
                  </a:lnTo>
                  <a:lnTo>
                    <a:pt x="470" y="15165"/>
                  </a:lnTo>
                  <a:lnTo>
                    <a:pt x="2218" y="13733"/>
                  </a:lnTo>
                  <a:lnTo>
                    <a:pt x="4092" y="12461"/>
                  </a:lnTo>
                  <a:lnTo>
                    <a:pt x="5724" y="11533"/>
                  </a:lnTo>
                  <a:lnTo>
                    <a:pt x="6666" y="11135"/>
                  </a:lnTo>
                  <a:lnTo>
                    <a:pt x="7115" y="9542"/>
                  </a:lnTo>
                  <a:lnTo>
                    <a:pt x="8087" y="9708"/>
                  </a:lnTo>
                  <a:lnTo>
                    <a:pt x="10019" y="9793"/>
                  </a:lnTo>
                  <a:lnTo>
                    <a:pt x="12174" y="10155"/>
                  </a:lnTo>
                  <a:lnTo>
                    <a:pt x="14183" y="10599"/>
                  </a:lnTo>
                  <a:lnTo>
                    <a:pt x="15949" y="11162"/>
                  </a:lnTo>
                  <a:lnTo>
                    <a:pt x="19659" y="11750"/>
                  </a:lnTo>
                  <a:lnTo>
                    <a:pt x="23034" y="12105"/>
                  </a:lnTo>
                  <a:lnTo>
                    <a:pt x="24051" y="12432"/>
                  </a:lnTo>
                  <a:lnTo>
                    <a:pt x="24882" y="12407"/>
                  </a:lnTo>
                  <a:lnTo>
                    <a:pt x="25906" y="12887"/>
                  </a:lnTo>
                  <a:lnTo>
                    <a:pt x="26511" y="12520"/>
                  </a:lnTo>
                  <a:lnTo>
                    <a:pt x="26949" y="11878"/>
                  </a:lnTo>
                  <a:lnTo>
                    <a:pt x="28789" y="11120"/>
                  </a:lnTo>
                  <a:lnTo>
                    <a:pt x="30482" y="10129"/>
                  </a:lnTo>
                  <a:lnTo>
                    <a:pt x="31672" y="8867"/>
                  </a:lnTo>
                  <a:lnTo>
                    <a:pt x="32337" y="7870"/>
                  </a:lnTo>
                  <a:lnTo>
                    <a:pt x="33501" y="7163"/>
                  </a:lnTo>
                  <a:lnTo>
                    <a:pt x="34742" y="6959"/>
                  </a:lnTo>
                  <a:lnTo>
                    <a:pt x="35876" y="6605"/>
                  </a:lnTo>
                  <a:lnTo>
                    <a:pt x="40659" y="6133"/>
                  </a:lnTo>
                  <a:lnTo>
                    <a:pt x="45573" y="6503"/>
                  </a:lnTo>
                  <a:lnTo>
                    <a:pt x="47919" y="5808"/>
                  </a:lnTo>
                  <a:lnTo>
                    <a:pt x="49849" y="4590"/>
                  </a:lnTo>
                  <a:lnTo>
                    <a:pt x="52671" y="4248"/>
                  </a:lnTo>
                  <a:lnTo>
                    <a:pt x="52818" y="4233"/>
                  </a:lnTo>
                  <a:lnTo>
                    <a:pt x="57036" y="5169"/>
                  </a:lnTo>
                  <a:lnTo>
                    <a:pt x="57360" y="4624"/>
                  </a:lnTo>
                  <a:lnTo>
                    <a:pt x="57541" y="4384"/>
                  </a:lnTo>
                  <a:lnTo>
                    <a:pt x="57461" y="1725"/>
                  </a:lnTo>
                  <a:lnTo>
                    <a:pt x="58796" y="514"/>
                  </a:lnTo>
                  <a:lnTo>
                    <a:pt x="60031" y="0"/>
                  </a:lnTo>
                  <a:lnTo>
                    <a:pt x="64244" y="168"/>
                  </a:lnTo>
                  <a:lnTo>
                    <a:pt x="64794" y="984"/>
                  </a:lnTo>
                  <a:lnTo>
                    <a:pt x="65015" y="2250"/>
                  </a:lnTo>
                  <a:lnTo>
                    <a:pt x="65390" y="3945"/>
                  </a:lnTo>
                  <a:lnTo>
                    <a:pt x="66092" y="4413"/>
                  </a:lnTo>
                  <a:lnTo>
                    <a:pt x="66476" y="5080"/>
                  </a:lnTo>
                  <a:lnTo>
                    <a:pt x="66403" y="6252"/>
                  </a:lnTo>
                  <a:lnTo>
                    <a:pt x="67226" y="7126"/>
                  </a:lnTo>
                  <a:lnTo>
                    <a:pt x="69154" y="9492"/>
                  </a:lnTo>
                  <a:close/>
                </a:path>
              </a:pathLst>
            </a:custGeom>
            <a:solidFill>
              <a:srgbClr val="A3BA1E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79" name="ee4p_SE_1_82333">
              <a:extLst>
                <a:ext uri="{FF2B5EF4-FFF2-40B4-BE49-F238E27FC236}">
                  <a16:creationId xmlns:a16="http://schemas.microsoft.com/office/drawing/2014/main" id="{CEFCC8F4-BFCF-28FE-A7FE-1EC127293C00}"/>
                </a:ext>
              </a:extLst>
            </p:cNvPr>
            <p:cNvSpPr>
              <a:spLocks noChangeAspect="1"/>
            </p:cNvSpPr>
            <p:nvPr>
              <p:custDataLst>
                <p:tags r:id="rId107"/>
              </p:custDataLst>
            </p:nvPr>
          </p:nvSpPr>
          <p:spPr>
            <a:xfrm>
              <a:off x="6824251" y="2303392"/>
              <a:ext cx="361232" cy="607983"/>
            </a:xfrm>
            <a:custGeom>
              <a:avLst/>
              <a:gdLst>
                <a:gd name="connsiteX0" fmla="*/ 129980 w 287641"/>
                <a:gd name="connsiteY0" fmla="*/ 408700 h 471291"/>
                <a:gd name="connsiteX1" fmla="*/ 131392 w 287641"/>
                <a:gd name="connsiteY1" fmla="*/ 409106 h 471291"/>
                <a:gd name="connsiteX2" fmla="*/ 132021 w 287641"/>
                <a:gd name="connsiteY2" fmla="*/ 409502 h 471291"/>
                <a:gd name="connsiteX3" fmla="*/ 130533 w 287641"/>
                <a:gd name="connsiteY3" fmla="*/ 410751 h 471291"/>
                <a:gd name="connsiteX4" fmla="*/ 130706 w 287641"/>
                <a:gd name="connsiteY4" fmla="*/ 412376 h 471291"/>
                <a:gd name="connsiteX5" fmla="*/ 130602 w 287641"/>
                <a:gd name="connsiteY5" fmla="*/ 413049 h 471291"/>
                <a:gd name="connsiteX6" fmla="*/ 126847 w 287641"/>
                <a:gd name="connsiteY6" fmla="*/ 420100 h 471291"/>
                <a:gd name="connsiteX7" fmla="*/ 125843 w 287641"/>
                <a:gd name="connsiteY7" fmla="*/ 424667 h 471291"/>
                <a:gd name="connsiteX8" fmla="*/ 124511 w 287641"/>
                <a:gd name="connsiteY8" fmla="*/ 425780 h 471291"/>
                <a:gd name="connsiteX9" fmla="*/ 118993 w 287641"/>
                <a:gd name="connsiteY9" fmla="*/ 441942 h 471291"/>
                <a:gd name="connsiteX10" fmla="*/ 117858 w 287641"/>
                <a:gd name="connsiteY10" fmla="*/ 443517 h 471291"/>
                <a:gd name="connsiteX11" fmla="*/ 116851 w 287641"/>
                <a:gd name="connsiteY11" fmla="*/ 443406 h 471291"/>
                <a:gd name="connsiteX12" fmla="*/ 116180 w 287641"/>
                <a:gd name="connsiteY12" fmla="*/ 441305 h 471291"/>
                <a:gd name="connsiteX13" fmla="*/ 116022 w 287641"/>
                <a:gd name="connsiteY13" fmla="*/ 435892 h 471291"/>
                <a:gd name="connsiteX14" fmla="*/ 116424 w 287641"/>
                <a:gd name="connsiteY14" fmla="*/ 433213 h 471291"/>
                <a:gd name="connsiteX15" fmla="*/ 121246 w 287641"/>
                <a:gd name="connsiteY15" fmla="*/ 423521 h 471291"/>
                <a:gd name="connsiteX16" fmla="*/ 123398 w 287641"/>
                <a:gd name="connsiteY16" fmla="*/ 422728 h 471291"/>
                <a:gd name="connsiteX17" fmla="*/ 126426 w 287641"/>
                <a:gd name="connsiteY17" fmla="*/ 416765 h 471291"/>
                <a:gd name="connsiteX18" fmla="*/ 127242 w 287641"/>
                <a:gd name="connsiteY18" fmla="*/ 414108 h 471291"/>
                <a:gd name="connsiteX19" fmla="*/ 128555 w 287641"/>
                <a:gd name="connsiteY19" fmla="*/ 411712 h 471291"/>
                <a:gd name="connsiteX20" fmla="*/ 129330 w 287641"/>
                <a:gd name="connsiteY20" fmla="*/ 409567 h 471291"/>
                <a:gd name="connsiteX21" fmla="*/ 171445 w 287641"/>
                <a:gd name="connsiteY21" fmla="*/ 390509 h 471291"/>
                <a:gd name="connsiteX22" fmla="*/ 172680 w 287641"/>
                <a:gd name="connsiteY22" fmla="*/ 391004 h 471291"/>
                <a:gd name="connsiteX23" fmla="*/ 175334 w 287641"/>
                <a:gd name="connsiteY23" fmla="*/ 393055 h 471291"/>
                <a:gd name="connsiteX24" fmla="*/ 173505 w 287641"/>
                <a:gd name="connsiteY24" fmla="*/ 393817 h 471291"/>
                <a:gd name="connsiteX25" fmla="*/ 172429 w 287641"/>
                <a:gd name="connsiteY25" fmla="*/ 396070 h 471291"/>
                <a:gd name="connsiteX26" fmla="*/ 170948 w 287641"/>
                <a:gd name="connsiteY26" fmla="*/ 396450 h 471291"/>
                <a:gd name="connsiteX27" fmla="*/ 169527 w 287641"/>
                <a:gd name="connsiteY27" fmla="*/ 397201 h 471291"/>
                <a:gd name="connsiteX28" fmla="*/ 169020 w 287641"/>
                <a:gd name="connsiteY28" fmla="*/ 404312 h 471291"/>
                <a:gd name="connsiteX29" fmla="*/ 171607 w 287641"/>
                <a:gd name="connsiteY29" fmla="*/ 407008 h 471291"/>
                <a:gd name="connsiteX30" fmla="*/ 170186 w 287641"/>
                <a:gd name="connsiteY30" fmla="*/ 407385 h 471291"/>
                <a:gd name="connsiteX31" fmla="*/ 168886 w 287641"/>
                <a:gd name="connsiteY31" fmla="*/ 408192 h 471291"/>
                <a:gd name="connsiteX32" fmla="*/ 167957 w 287641"/>
                <a:gd name="connsiteY32" fmla="*/ 409384 h 471291"/>
                <a:gd name="connsiteX33" fmla="*/ 167007 w 287641"/>
                <a:gd name="connsiteY33" fmla="*/ 411948 h 471291"/>
                <a:gd name="connsiteX34" fmla="*/ 163438 w 287641"/>
                <a:gd name="connsiteY34" fmla="*/ 413400 h 471291"/>
                <a:gd name="connsiteX35" fmla="*/ 162086 w 287641"/>
                <a:gd name="connsiteY35" fmla="*/ 414474 h 471291"/>
                <a:gd name="connsiteX36" fmla="*/ 160093 w 287641"/>
                <a:gd name="connsiteY36" fmla="*/ 416861 h 471291"/>
                <a:gd name="connsiteX37" fmla="*/ 159054 w 287641"/>
                <a:gd name="connsiteY37" fmla="*/ 420321 h 471291"/>
                <a:gd name="connsiteX38" fmla="*/ 157035 w 287641"/>
                <a:gd name="connsiteY38" fmla="*/ 421795 h 471291"/>
                <a:gd name="connsiteX39" fmla="*/ 154768 w 287641"/>
                <a:gd name="connsiteY39" fmla="*/ 422144 h 471291"/>
                <a:gd name="connsiteX40" fmla="*/ 156098 w 287641"/>
                <a:gd name="connsiteY40" fmla="*/ 419312 h 471291"/>
                <a:gd name="connsiteX41" fmla="*/ 157841 w 287641"/>
                <a:gd name="connsiteY41" fmla="*/ 417002 h 471291"/>
                <a:gd name="connsiteX42" fmla="*/ 156165 w 287641"/>
                <a:gd name="connsiteY42" fmla="*/ 415416 h 471291"/>
                <a:gd name="connsiteX43" fmla="*/ 155156 w 287641"/>
                <a:gd name="connsiteY43" fmla="*/ 412931 h 471291"/>
                <a:gd name="connsiteX44" fmla="*/ 153855 w 287641"/>
                <a:gd name="connsiteY44" fmla="*/ 411024 h 471291"/>
                <a:gd name="connsiteX45" fmla="*/ 154891 w 287641"/>
                <a:gd name="connsiteY45" fmla="*/ 408891 h 471291"/>
                <a:gd name="connsiteX46" fmla="*/ 154381 w 287641"/>
                <a:gd name="connsiteY46" fmla="*/ 405391 h 471291"/>
                <a:gd name="connsiteX47" fmla="*/ 154550 w 287641"/>
                <a:gd name="connsiteY47" fmla="*/ 401970 h 471291"/>
                <a:gd name="connsiteX48" fmla="*/ 156061 w 287641"/>
                <a:gd name="connsiteY48" fmla="*/ 400241 h 471291"/>
                <a:gd name="connsiteX49" fmla="*/ 157793 w 287641"/>
                <a:gd name="connsiteY49" fmla="*/ 398831 h 471291"/>
                <a:gd name="connsiteX50" fmla="*/ 160490 w 287641"/>
                <a:gd name="connsiteY50" fmla="*/ 395583 h 471291"/>
                <a:gd name="connsiteX51" fmla="*/ 163414 w 287641"/>
                <a:gd name="connsiteY51" fmla="*/ 393226 h 471291"/>
                <a:gd name="connsiteX52" fmla="*/ 167493 w 287641"/>
                <a:gd name="connsiteY52" fmla="*/ 392166 h 471291"/>
                <a:gd name="connsiteX53" fmla="*/ 169335 w 287641"/>
                <a:gd name="connsiteY53" fmla="*/ 393143 h 471291"/>
                <a:gd name="connsiteX54" fmla="*/ 170130 w 287641"/>
                <a:gd name="connsiteY54" fmla="*/ 390998 h 471291"/>
                <a:gd name="connsiteX55" fmla="*/ 176625 w 287641"/>
                <a:gd name="connsiteY55" fmla="*/ 388398 h 471291"/>
                <a:gd name="connsiteX56" fmla="*/ 179860 w 287641"/>
                <a:gd name="connsiteY56" fmla="*/ 388520 h 471291"/>
                <a:gd name="connsiteX57" fmla="*/ 180972 w 287641"/>
                <a:gd name="connsiteY57" fmla="*/ 388990 h 471291"/>
                <a:gd name="connsiteX58" fmla="*/ 177100 w 287641"/>
                <a:gd name="connsiteY58" fmla="*/ 390280 h 471291"/>
                <a:gd name="connsiteX59" fmla="*/ 176703 w 287641"/>
                <a:gd name="connsiteY59" fmla="*/ 392277 h 471291"/>
                <a:gd name="connsiteX60" fmla="*/ 175556 w 287641"/>
                <a:gd name="connsiteY60" fmla="*/ 392125 h 471291"/>
                <a:gd name="connsiteX61" fmla="*/ 174511 w 287641"/>
                <a:gd name="connsiteY61" fmla="*/ 390651 h 471291"/>
                <a:gd name="connsiteX62" fmla="*/ 161812 w 287641"/>
                <a:gd name="connsiteY62" fmla="*/ 351984 h 471291"/>
                <a:gd name="connsiteX63" fmla="*/ 162267 w 287641"/>
                <a:gd name="connsiteY63" fmla="*/ 352091 h 471291"/>
                <a:gd name="connsiteX64" fmla="*/ 160734 w 287641"/>
                <a:gd name="connsiteY64" fmla="*/ 354550 h 471291"/>
                <a:gd name="connsiteX65" fmla="*/ 159754 w 287641"/>
                <a:gd name="connsiteY65" fmla="*/ 354860 h 471291"/>
                <a:gd name="connsiteX66" fmla="*/ 159268 w 287641"/>
                <a:gd name="connsiteY66" fmla="*/ 354762 h 471291"/>
                <a:gd name="connsiteX67" fmla="*/ 159873 w 287641"/>
                <a:gd name="connsiteY67" fmla="*/ 353249 h 471291"/>
                <a:gd name="connsiteX68" fmla="*/ 160322 w 287641"/>
                <a:gd name="connsiteY68" fmla="*/ 352596 h 471291"/>
                <a:gd name="connsiteX69" fmla="*/ 165261 w 287641"/>
                <a:gd name="connsiteY69" fmla="*/ 337596 h 471291"/>
                <a:gd name="connsiteX70" fmla="*/ 166975 w 287641"/>
                <a:gd name="connsiteY70" fmla="*/ 338028 h 471291"/>
                <a:gd name="connsiteX71" fmla="*/ 166964 w 287641"/>
                <a:gd name="connsiteY71" fmla="*/ 338356 h 471291"/>
                <a:gd name="connsiteX72" fmla="*/ 165325 w 287641"/>
                <a:gd name="connsiteY72" fmla="*/ 339420 h 471291"/>
                <a:gd name="connsiteX73" fmla="*/ 164697 w 287641"/>
                <a:gd name="connsiteY73" fmla="*/ 340135 h 471291"/>
                <a:gd name="connsiteX74" fmla="*/ 164142 w 287641"/>
                <a:gd name="connsiteY74" fmla="*/ 341220 h 471291"/>
                <a:gd name="connsiteX75" fmla="*/ 163585 w 287641"/>
                <a:gd name="connsiteY75" fmla="*/ 339890 h 471291"/>
                <a:gd name="connsiteX76" fmla="*/ 163807 w 287641"/>
                <a:gd name="connsiteY76" fmla="*/ 339630 h 471291"/>
                <a:gd name="connsiteX77" fmla="*/ 164187 w 287641"/>
                <a:gd name="connsiteY77" fmla="*/ 338316 h 471291"/>
                <a:gd name="connsiteX78" fmla="*/ 209512 w 287641"/>
                <a:gd name="connsiteY78" fmla="*/ 0 h 471291"/>
                <a:gd name="connsiteX79" fmla="*/ 215548 w 287641"/>
                <a:gd name="connsiteY79" fmla="*/ 2210 h 471291"/>
                <a:gd name="connsiteX80" fmla="*/ 215812 w 287641"/>
                <a:gd name="connsiteY80" fmla="*/ 2688 h 471291"/>
                <a:gd name="connsiteX81" fmla="*/ 215855 w 287641"/>
                <a:gd name="connsiteY81" fmla="*/ 3839 h 471291"/>
                <a:gd name="connsiteX82" fmla="*/ 216066 w 287641"/>
                <a:gd name="connsiteY82" fmla="*/ 5031 h 471291"/>
                <a:gd name="connsiteX83" fmla="*/ 221923 w 287641"/>
                <a:gd name="connsiteY83" fmla="*/ 8050 h 471291"/>
                <a:gd name="connsiteX84" fmla="*/ 223611 w 287641"/>
                <a:gd name="connsiteY84" fmla="*/ 9646 h 471291"/>
                <a:gd name="connsiteX85" fmla="*/ 227207 w 287641"/>
                <a:gd name="connsiteY85" fmla="*/ 12069 h 471291"/>
                <a:gd name="connsiteX86" fmla="*/ 228159 w 287641"/>
                <a:gd name="connsiteY86" fmla="*/ 13376 h 471291"/>
                <a:gd name="connsiteX87" fmla="*/ 231489 w 287641"/>
                <a:gd name="connsiteY87" fmla="*/ 14904 h 471291"/>
                <a:gd name="connsiteX88" fmla="*/ 233877 w 287641"/>
                <a:gd name="connsiteY88" fmla="*/ 16536 h 471291"/>
                <a:gd name="connsiteX89" fmla="*/ 236667 w 287641"/>
                <a:gd name="connsiteY89" fmla="*/ 17859 h 471291"/>
                <a:gd name="connsiteX90" fmla="*/ 239923 w 287641"/>
                <a:gd name="connsiteY90" fmla="*/ 19914 h 471291"/>
                <a:gd name="connsiteX91" fmla="*/ 244294 w 287641"/>
                <a:gd name="connsiteY91" fmla="*/ 21549 h 471291"/>
                <a:gd name="connsiteX92" fmla="*/ 247986 w 287641"/>
                <a:gd name="connsiteY92" fmla="*/ 22082 h 471291"/>
                <a:gd name="connsiteX93" fmla="*/ 257280 w 287641"/>
                <a:gd name="connsiteY93" fmla="*/ 24881 h 471291"/>
                <a:gd name="connsiteX94" fmla="*/ 258865 w 287641"/>
                <a:gd name="connsiteY94" fmla="*/ 25787 h 471291"/>
                <a:gd name="connsiteX95" fmla="*/ 261547 w 287641"/>
                <a:gd name="connsiteY95" fmla="*/ 27732 h 471291"/>
                <a:gd name="connsiteX96" fmla="*/ 264255 w 287641"/>
                <a:gd name="connsiteY96" fmla="*/ 29982 h 471291"/>
                <a:gd name="connsiteX97" fmla="*/ 266127 w 287641"/>
                <a:gd name="connsiteY97" fmla="*/ 34594 h 471291"/>
                <a:gd name="connsiteX98" fmla="*/ 269136 w 287641"/>
                <a:gd name="connsiteY98" fmla="*/ 34834 h 471291"/>
                <a:gd name="connsiteX99" fmla="*/ 269952 w 287641"/>
                <a:gd name="connsiteY99" fmla="*/ 36419 h 471291"/>
                <a:gd name="connsiteX100" fmla="*/ 272578 w 287641"/>
                <a:gd name="connsiteY100" fmla="*/ 39132 h 471291"/>
                <a:gd name="connsiteX101" fmla="*/ 276218 w 287641"/>
                <a:gd name="connsiteY101" fmla="*/ 41522 h 471291"/>
                <a:gd name="connsiteX102" fmla="*/ 276087 w 287641"/>
                <a:gd name="connsiteY102" fmla="*/ 42326 h 471291"/>
                <a:gd name="connsiteX103" fmla="*/ 273189 w 287641"/>
                <a:gd name="connsiteY103" fmla="*/ 44525 h 471291"/>
                <a:gd name="connsiteX104" fmla="*/ 272878 w 287641"/>
                <a:gd name="connsiteY104" fmla="*/ 47502 h 471291"/>
                <a:gd name="connsiteX105" fmla="*/ 273152 w 287641"/>
                <a:gd name="connsiteY105" fmla="*/ 51297 h 471291"/>
                <a:gd name="connsiteX106" fmla="*/ 274061 w 287641"/>
                <a:gd name="connsiteY106" fmla="*/ 54386 h 471291"/>
                <a:gd name="connsiteX107" fmla="*/ 273966 w 287641"/>
                <a:gd name="connsiteY107" fmla="*/ 55288 h 471291"/>
                <a:gd name="connsiteX108" fmla="*/ 273247 w 287641"/>
                <a:gd name="connsiteY108" fmla="*/ 56351 h 471291"/>
                <a:gd name="connsiteX109" fmla="*/ 272383 w 287641"/>
                <a:gd name="connsiteY109" fmla="*/ 58019 h 471291"/>
                <a:gd name="connsiteX110" fmla="*/ 272075 w 287641"/>
                <a:gd name="connsiteY110" fmla="*/ 59473 h 471291"/>
                <a:gd name="connsiteX111" fmla="*/ 272150 w 287641"/>
                <a:gd name="connsiteY111" fmla="*/ 60186 h 471291"/>
                <a:gd name="connsiteX112" fmla="*/ 272442 w 287641"/>
                <a:gd name="connsiteY112" fmla="*/ 60573 h 471291"/>
                <a:gd name="connsiteX113" fmla="*/ 273968 w 287641"/>
                <a:gd name="connsiteY113" fmla="*/ 60602 h 471291"/>
                <a:gd name="connsiteX114" fmla="*/ 276704 w 287641"/>
                <a:gd name="connsiteY114" fmla="*/ 60945 h 471291"/>
                <a:gd name="connsiteX115" fmla="*/ 278313 w 287641"/>
                <a:gd name="connsiteY115" fmla="*/ 61590 h 471291"/>
                <a:gd name="connsiteX116" fmla="*/ 279226 w 287641"/>
                <a:gd name="connsiteY116" fmla="*/ 65128 h 471291"/>
                <a:gd name="connsiteX117" fmla="*/ 278918 w 287641"/>
                <a:gd name="connsiteY117" fmla="*/ 65807 h 471291"/>
                <a:gd name="connsiteX118" fmla="*/ 276611 w 287641"/>
                <a:gd name="connsiteY118" fmla="*/ 67406 h 471291"/>
                <a:gd name="connsiteX119" fmla="*/ 275935 w 287641"/>
                <a:gd name="connsiteY119" fmla="*/ 68675 h 471291"/>
                <a:gd name="connsiteX120" fmla="*/ 275869 w 287641"/>
                <a:gd name="connsiteY120" fmla="*/ 70538 h 471291"/>
                <a:gd name="connsiteX121" fmla="*/ 276277 w 287641"/>
                <a:gd name="connsiteY121" fmla="*/ 72584 h 471291"/>
                <a:gd name="connsiteX122" fmla="*/ 277069 w 287641"/>
                <a:gd name="connsiteY122" fmla="*/ 74871 h 471291"/>
                <a:gd name="connsiteX123" fmla="*/ 278874 w 287641"/>
                <a:gd name="connsiteY123" fmla="*/ 77315 h 471291"/>
                <a:gd name="connsiteX124" fmla="*/ 281314 w 287641"/>
                <a:gd name="connsiteY124" fmla="*/ 79867 h 471291"/>
                <a:gd name="connsiteX125" fmla="*/ 282917 w 287641"/>
                <a:gd name="connsiteY125" fmla="*/ 81958 h 471291"/>
                <a:gd name="connsiteX126" fmla="*/ 283675 w 287641"/>
                <a:gd name="connsiteY126" fmla="*/ 83430 h 471291"/>
                <a:gd name="connsiteX127" fmla="*/ 283951 w 287641"/>
                <a:gd name="connsiteY127" fmla="*/ 84458 h 471291"/>
                <a:gd name="connsiteX128" fmla="*/ 282852 w 287641"/>
                <a:gd name="connsiteY128" fmla="*/ 85750 h 471291"/>
                <a:gd name="connsiteX129" fmla="*/ 281863 w 287641"/>
                <a:gd name="connsiteY129" fmla="*/ 88303 h 471291"/>
                <a:gd name="connsiteX130" fmla="*/ 281679 w 287641"/>
                <a:gd name="connsiteY130" fmla="*/ 91223 h 471291"/>
                <a:gd name="connsiteX131" fmla="*/ 281230 w 287641"/>
                <a:gd name="connsiteY131" fmla="*/ 93125 h 471291"/>
                <a:gd name="connsiteX132" fmla="*/ 279081 w 287641"/>
                <a:gd name="connsiteY132" fmla="*/ 95739 h 471291"/>
                <a:gd name="connsiteX133" fmla="*/ 277596 w 287641"/>
                <a:gd name="connsiteY133" fmla="*/ 96665 h 471291"/>
                <a:gd name="connsiteX134" fmla="*/ 277173 w 287641"/>
                <a:gd name="connsiteY134" fmla="*/ 98043 h 471291"/>
                <a:gd name="connsiteX135" fmla="*/ 276991 w 287641"/>
                <a:gd name="connsiteY135" fmla="*/ 100353 h 471291"/>
                <a:gd name="connsiteX136" fmla="*/ 277427 w 287641"/>
                <a:gd name="connsiteY136" fmla="*/ 103166 h 471291"/>
                <a:gd name="connsiteX137" fmla="*/ 277577 w 287641"/>
                <a:gd name="connsiteY137" fmla="*/ 105065 h 471291"/>
                <a:gd name="connsiteX138" fmla="*/ 278034 w 287641"/>
                <a:gd name="connsiteY138" fmla="*/ 106431 h 471291"/>
                <a:gd name="connsiteX139" fmla="*/ 278708 w 287641"/>
                <a:gd name="connsiteY139" fmla="*/ 107322 h 471291"/>
                <a:gd name="connsiteX140" fmla="*/ 282155 w 287641"/>
                <a:gd name="connsiteY140" fmla="*/ 108897 h 471291"/>
                <a:gd name="connsiteX141" fmla="*/ 284085 w 287641"/>
                <a:gd name="connsiteY141" fmla="*/ 112118 h 471291"/>
                <a:gd name="connsiteX142" fmla="*/ 285288 w 287641"/>
                <a:gd name="connsiteY142" fmla="*/ 114698 h 471291"/>
                <a:gd name="connsiteX143" fmla="*/ 287641 w 287641"/>
                <a:gd name="connsiteY143" fmla="*/ 121435 h 471291"/>
                <a:gd name="connsiteX144" fmla="*/ 281783 w 287641"/>
                <a:gd name="connsiteY144" fmla="*/ 122275 h 471291"/>
                <a:gd name="connsiteX145" fmla="*/ 277380 w 287641"/>
                <a:gd name="connsiteY145" fmla="*/ 120588 h 471291"/>
                <a:gd name="connsiteX146" fmla="*/ 275184 w 287641"/>
                <a:gd name="connsiteY146" fmla="*/ 121433 h 471291"/>
                <a:gd name="connsiteX147" fmla="*/ 271342 w 287641"/>
                <a:gd name="connsiteY147" fmla="*/ 121469 h 471291"/>
                <a:gd name="connsiteX148" fmla="*/ 266980 w 287641"/>
                <a:gd name="connsiteY148" fmla="*/ 122133 h 471291"/>
                <a:gd name="connsiteX149" fmla="*/ 265510 w 287641"/>
                <a:gd name="connsiteY149" fmla="*/ 123452 h 471291"/>
                <a:gd name="connsiteX150" fmla="*/ 264354 w 287641"/>
                <a:gd name="connsiteY150" fmla="*/ 123982 h 471291"/>
                <a:gd name="connsiteX151" fmla="*/ 260308 w 287641"/>
                <a:gd name="connsiteY151" fmla="*/ 122120 h 471291"/>
                <a:gd name="connsiteX152" fmla="*/ 256488 w 287641"/>
                <a:gd name="connsiteY152" fmla="*/ 119040 h 471291"/>
                <a:gd name="connsiteX153" fmla="*/ 253696 w 287641"/>
                <a:gd name="connsiteY153" fmla="*/ 121389 h 471291"/>
                <a:gd name="connsiteX154" fmla="*/ 251889 w 287641"/>
                <a:gd name="connsiteY154" fmla="*/ 121834 h 471291"/>
                <a:gd name="connsiteX155" fmla="*/ 250265 w 287641"/>
                <a:gd name="connsiteY155" fmla="*/ 119708 h 471291"/>
                <a:gd name="connsiteX156" fmla="*/ 248846 w 287641"/>
                <a:gd name="connsiteY156" fmla="*/ 119363 h 471291"/>
                <a:gd name="connsiteX157" fmla="*/ 248079 w 287641"/>
                <a:gd name="connsiteY157" fmla="*/ 120072 h 471291"/>
                <a:gd name="connsiteX158" fmla="*/ 247408 w 287641"/>
                <a:gd name="connsiteY158" fmla="*/ 121949 h 471291"/>
                <a:gd name="connsiteX159" fmla="*/ 246339 w 287641"/>
                <a:gd name="connsiteY159" fmla="*/ 123425 h 471291"/>
                <a:gd name="connsiteX160" fmla="*/ 246060 w 287641"/>
                <a:gd name="connsiteY160" fmla="*/ 124359 h 471291"/>
                <a:gd name="connsiteX161" fmla="*/ 245875 w 287641"/>
                <a:gd name="connsiteY161" fmla="*/ 128120 h 471291"/>
                <a:gd name="connsiteX162" fmla="*/ 245596 w 287641"/>
                <a:gd name="connsiteY162" fmla="*/ 128991 h 471291"/>
                <a:gd name="connsiteX163" fmla="*/ 241886 w 287641"/>
                <a:gd name="connsiteY163" fmla="*/ 128505 h 471291"/>
                <a:gd name="connsiteX164" fmla="*/ 242109 w 287641"/>
                <a:gd name="connsiteY164" fmla="*/ 129491 h 471291"/>
                <a:gd name="connsiteX165" fmla="*/ 242916 w 287641"/>
                <a:gd name="connsiteY165" fmla="*/ 129987 h 471291"/>
                <a:gd name="connsiteX166" fmla="*/ 243242 w 287641"/>
                <a:gd name="connsiteY166" fmla="*/ 130612 h 471291"/>
                <a:gd name="connsiteX167" fmla="*/ 241897 w 287641"/>
                <a:gd name="connsiteY167" fmla="*/ 131433 h 471291"/>
                <a:gd name="connsiteX168" fmla="*/ 238213 w 287641"/>
                <a:gd name="connsiteY168" fmla="*/ 131356 h 471291"/>
                <a:gd name="connsiteX169" fmla="*/ 237837 w 287641"/>
                <a:gd name="connsiteY169" fmla="*/ 132227 h 471291"/>
                <a:gd name="connsiteX170" fmla="*/ 238874 w 287641"/>
                <a:gd name="connsiteY170" fmla="*/ 133603 h 471291"/>
                <a:gd name="connsiteX171" fmla="*/ 238066 w 287641"/>
                <a:gd name="connsiteY171" fmla="*/ 134807 h 471291"/>
                <a:gd name="connsiteX172" fmla="*/ 237317 w 287641"/>
                <a:gd name="connsiteY172" fmla="*/ 135281 h 471291"/>
                <a:gd name="connsiteX173" fmla="*/ 232918 w 287641"/>
                <a:gd name="connsiteY173" fmla="*/ 136028 h 471291"/>
                <a:gd name="connsiteX174" fmla="*/ 230372 w 287641"/>
                <a:gd name="connsiteY174" fmla="*/ 135857 h 471291"/>
                <a:gd name="connsiteX175" fmla="*/ 229645 w 287641"/>
                <a:gd name="connsiteY175" fmla="*/ 136636 h 471291"/>
                <a:gd name="connsiteX176" fmla="*/ 229441 w 287641"/>
                <a:gd name="connsiteY176" fmla="*/ 137647 h 471291"/>
                <a:gd name="connsiteX177" fmla="*/ 229923 w 287641"/>
                <a:gd name="connsiteY177" fmla="*/ 138639 h 471291"/>
                <a:gd name="connsiteX178" fmla="*/ 231046 w 287641"/>
                <a:gd name="connsiteY178" fmla="*/ 139167 h 471291"/>
                <a:gd name="connsiteX179" fmla="*/ 231415 w 287641"/>
                <a:gd name="connsiteY179" fmla="*/ 139796 h 471291"/>
                <a:gd name="connsiteX180" fmla="*/ 231338 w 287641"/>
                <a:gd name="connsiteY180" fmla="*/ 141158 h 471291"/>
                <a:gd name="connsiteX181" fmla="*/ 230403 w 287641"/>
                <a:gd name="connsiteY181" fmla="*/ 141405 h 471291"/>
                <a:gd name="connsiteX182" fmla="*/ 227749 w 287641"/>
                <a:gd name="connsiteY182" fmla="*/ 139012 h 471291"/>
                <a:gd name="connsiteX183" fmla="*/ 226941 w 287641"/>
                <a:gd name="connsiteY183" fmla="*/ 139135 h 471291"/>
                <a:gd name="connsiteX184" fmla="*/ 227548 w 287641"/>
                <a:gd name="connsiteY184" fmla="*/ 140380 h 471291"/>
                <a:gd name="connsiteX185" fmla="*/ 229064 w 287641"/>
                <a:gd name="connsiteY185" fmla="*/ 141736 h 471291"/>
                <a:gd name="connsiteX186" fmla="*/ 229940 w 287641"/>
                <a:gd name="connsiteY186" fmla="*/ 143120 h 471291"/>
                <a:gd name="connsiteX187" fmla="*/ 230707 w 287641"/>
                <a:gd name="connsiteY187" fmla="*/ 144785 h 471291"/>
                <a:gd name="connsiteX188" fmla="*/ 230558 w 287641"/>
                <a:gd name="connsiteY188" fmla="*/ 146046 h 471291"/>
                <a:gd name="connsiteX189" fmla="*/ 227263 w 287641"/>
                <a:gd name="connsiteY189" fmla="*/ 150112 h 471291"/>
                <a:gd name="connsiteX190" fmla="*/ 224363 w 287641"/>
                <a:gd name="connsiteY190" fmla="*/ 152677 h 471291"/>
                <a:gd name="connsiteX191" fmla="*/ 222199 w 287641"/>
                <a:gd name="connsiteY191" fmla="*/ 154984 h 471291"/>
                <a:gd name="connsiteX192" fmla="*/ 220923 w 287641"/>
                <a:gd name="connsiteY192" fmla="*/ 157427 h 471291"/>
                <a:gd name="connsiteX193" fmla="*/ 222400 w 287641"/>
                <a:gd name="connsiteY193" fmla="*/ 158658 h 471291"/>
                <a:gd name="connsiteX194" fmla="*/ 224043 w 287641"/>
                <a:gd name="connsiteY194" fmla="*/ 160431 h 471291"/>
                <a:gd name="connsiteX195" fmla="*/ 225198 w 287641"/>
                <a:gd name="connsiteY195" fmla="*/ 163837 h 471291"/>
                <a:gd name="connsiteX196" fmla="*/ 226576 w 287641"/>
                <a:gd name="connsiteY196" fmla="*/ 166868 h 471291"/>
                <a:gd name="connsiteX197" fmla="*/ 229357 w 287641"/>
                <a:gd name="connsiteY197" fmla="*/ 169760 h 471291"/>
                <a:gd name="connsiteX198" fmla="*/ 228798 w 287641"/>
                <a:gd name="connsiteY198" fmla="*/ 171430 h 471291"/>
                <a:gd name="connsiteX199" fmla="*/ 228150 w 287641"/>
                <a:gd name="connsiteY199" fmla="*/ 172728 h 471291"/>
                <a:gd name="connsiteX200" fmla="*/ 223523 w 287641"/>
                <a:gd name="connsiteY200" fmla="*/ 175583 h 471291"/>
                <a:gd name="connsiteX201" fmla="*/ 218276 w 287641"/>
                <a:gd name="connsiteY201" fmla="*/ 179878 h 471291"/>
                <a:gd name="connsiteX202" fmla="*/ 212620 w 287641"/>
                <a:gd name="connsiteY202" fmla="*/ 190827 h 471291"/>
                <a:gd name="connsiteX203" fmla="*/ 210739 w 287641"/>
                <a:gd name="connsiteY203" fmla="*/ 192290 h 471291"/>
                <a:gd name="connsiteX204" fmla="*/ 205788 w 287641"/>
                <a:gd name="connsiteY204" fmla="*/ 194137 h 471291"/>
                <a:gd name="connsiteX205" fmla="*/ 203967 w 287641"/>
                <a:gd name="connsiteY205" fmla="*/ 195923 h 471291"/>
                <a:gd name="connsiteX206" fmla="*/ 200281 w 287641"/>
                <a:gd name="connsiteY206" fmla="*/ 198045 h 471291"/>
                <a:gd name="connsiteX207" fmla="*/ 193846 w 287641"/>
                <a:gd name="connsiteY207" fmla="*/ 199865 h 471291"/>
                <a:gd name="connsiteX208" fmla="*/ 190927 w 287641"/>
                <a:gd name="connsiteY208" fmla="*/ 202400 h 471291"/>
                <a:gd name="connsiteX209" fmla="*/ 189609 w 287641"/>
                <a:gd name="connsiteY209" fmla="*/ 205019 h 471291"/>
                <a:gd name="connsiteX210" fmla="*/ 188143 w 287641"/>
                <a:gd name="connsiteY210" fmla="*/ 205205 h 471291"/>
                <a:gd name="connsiteX211" fmla="*/ 186690 w 287641"/>
                <a:gd name="connsiteY211" fmla="*/ 204182 h 471291"/>
                <a:gd name="connsiteX212" fmla="*/ 184751 w 287641"/>
                <a:gd name="connsiteY212" fmla="*/ 203420 h 471291"/>
                <a:gd name="connsiteX213" fmla="*/ 184498 w 287641"/>
                <a:gd name="connsiteY213" fmla="*/ 205128 h 471291"/>
                <a:gd name="connsiteX214" fmla="*/ 184580 w 287641"/>
                <a:gd name="connsiteY214" fmla="*/ 206381 h 471291"/>
                <a:gd name="connsiteX215" fmla="*/ 181477 w 287641"/>
                <a:gd name="connsiteY215" fmla="*/ 204524 h 471291"/>
                <a:gd name="connsiteX216" fmla="*/ 180013 w 287641"/>
                <a:gd name="connsiteY216" fmla="*/ 206227 h 471291"/>
                <a:gd name="connsiteX217" fmla="*/ 178869 w 287641"/>
                <a:gd name="connsiteY217" fmla="*/ 209070 h 471291"/>
                <a:gd name="connsiteX218" fmla="*/ 174403 w 287641"/>
                <a:gd name="connsiteY218" fmla="*/ 212891 h 471291"/>
                <a:gd name="connsiteX219" fmla="*/ 169590 w 287641"/>
                <a:gd name="connsiteY219" fmla="*/ 212204 h 471291"/>
                <a:gd name="connsiteX220" fmla="*/ 169050 w 287641"/>
                <a:gd name="connsiteY220" fmla="*/ 212878 h 471291"/>
                <a:gd name="connsiteX221" fmla="*/ 170331 w 287641"/>
                <a:gd name="connsiteY221" fmla="*/ 213366 h 471291"/>
                <a:gd name="connsiteX222" fmla="*/ 170525 w 287641"/>
                <a:gd name="connsiteY222" fmla="*/ 213976 h 471291"/>
                <a:gd name="connsiteX223" fmla="*/ 169651 w 287641"/>
                <a:gd name="connsiteY223" fmla="*/ 214301 h 471291"/>
                <a:gd name="connsiteX224" fmla="*/ 168327 w 287641"/>
                <a:gd name="connsiteY224" fmla="*/ 214267 h 471291"/>
                <a:gd name="connsiteX225" fmla="*/ 166284 w 287641"/>
                <a:gd name="connsiteY225" fmla="*/ 215021 h 471291"/>
                <a:gd name="connsiteX226" fmla="*/ 164941 w 287641"/>
                <a:gd name="connsiteY226" fmla="*/ 214962 h 471291"/>
                <a:gd name="connsiteX227" fmla="*/ 164304 w 287641"/>
                <a:gd name="connsiteY227" fmla="*/ 216765 h 471291"/>
                <a:gd name="connsiteX228" fmla="*/ 163265 w 287641"/>
                <a:gd name="connsiteY228" fmla="*/ 218950 h 471291"/>
                <a:gd name="connsiteX229" fmla="*/ 160546 w 287641"/>
                <a:gd name="connsiteY229" fmla="*/ 219854 h 471291"/>
                <a:gd name="connsiteX230" fmla="*/ 159143 w 287641"/>
                <a:gd name="connsiteY230" fmla="*/ 220040 h 471291"/>
                <a:gd name="connsiteX231" fmla="*/ 158450 w 287641"/>
                <a:gd name="connsiteY231" fmla="*/ 221281 h 471291"/>
                <a:gd name="connsiteX232" fmla="*/ 162632 w 287641"/>
                <a:gd name="connsiteY232" fmla="*/ 221541 h 471291"/>
                <a:gd name="connsiteX233" fmla="*/ 162298 w 287641"/>
                <a:gd name="connsiteY233" fmla="*/ 222591 h 471291"/>
                <a:gd name="connsiteX234" fmla="*/ 162203 w 287641"/>
                <a:gd name="connsiteY234" fmla="*/ 223640 h 471291"/>
                <a:gd name="connsiteX235" fmla="*/ 161771 w 287641"/>
                <a:gd name="connsiteY235" fmla="*/ 224765 h 471291"/>
                <a:gd name="connsiteX236" fmla="*/ 157016 w 287641"/>
                <a:gd name="connsiteY236" fmla="*/ 226384 h 471291"/>
                <a:gd name="connsiteX237" fmla="*/ 156284 w 287641"/>
                <a:gd name="connsiteY237" fmla="*/ 227659 h 471291"/>
                <a:gd name="connsiteX238" fmla="*/ 155291 w 287641"/>
                <a:gd name="connsiteY238" fmla="*/ 228449 h 471291"/>
                <a:gd name="connsiteX239" fmla="*/ 153176 w 287641"/>
                <a:gd name="connsiteY239" fmla="*/ 228404 h 471291"/>
                <a:gd name="connsiteX240" fmla="*/ 153254 w 287641"/>
                <a:gd name="connsiteY240" fmla="*/ 227668 h 471291"/>
                <a:gd name="connsiteX241" fmla="*/ 153600 w 287641"/>
                <a:gd name="connsiteY241" fmla="*/ 226835 h 471291"/>
                <a:gd name="connsiteX242" fmla="*/ 150449 w 287641"/>
                <a:gd name="connsiteY242" fmla="*/ 226910 h 471291"/>
                <a:gd name="connsiteX243" fmla="*/ 149467 w 287641"/>
                <a:gd name="connsiteY243" fmla="*/ 225080 h 471291"/>
                <a:gd name="connsiteX244" fmla="*/ 148869 w 287641"/>
                <a:gd name="connsiteY244" fmla="*/ 225549 h 471291"/>
                <a:gd name="connsiteX245" fmla="*/ 149223 w 287641"/>
                <a:gd name="connsiteY245" fmla="*/ 227026 h 471291"/>
                <a:gd name="connsiteX246" fmla="*/ 150048 w 287641"/>
                <a:gd name="connsiteY246" fmla="*/ 228561 h 471291"/>
                <a:gd name="connsiteX247" fmla="*/ 150965 w 287641"/>
                <a:gd name="connsiteY247" fmla="*/ 230809 h 471291"/>
                <a:gd name="connsiteX248" fmla="*/ 150220 w 287641"/>
                <a:gd name="connsiteY248" fmla="*/ 232230 h 471291"/>
                <a:gd name="connsiteX249" fmla="*/ 149387 w 287641"/>
                <a:gd name="connsiteY249" fmla="*/ 232934 h 471291"/>
                <a:gd name="connsiteX250" fmla="*/ 149994 w 287641"/>
                <a:gd name="connsiteY250" fmla="*/ 233584 h 471291"/>
                <a:gd name="connsiteX251" fmla="*/ 151676 w 287641"/>
                <a:gd name="connsiteY251" fmla="*/ 234079 h 471291"/>
                <a:gd name="connsiteX252" fmla="*/ 152356 w 287641"/>
                <a:gd name="connsiteY252" fmla="*/ 234966 h 471291"/>
                <a:gd name="connsiteX253" fmla="*/ 150361 w 287641"/>
                <a:gd name="connsiteY253" fmla="*/ 235726 h 471291"/>
                <a:gd name="connsiteX254" fmla="*/ 147871 w 287641"/>
                <a:gd name="connsiteY254" fmla="*/ 238333 h 471291"/>
                <a:gd name="connsiteX255" fmla="*/ 145290 w 287641"/>
                <a:gd name="connsiteY255" fmla="*/ 238397 h 471291"/>
                <a:gd name="connsiteX256" fmla="*/ 143712 w 287641"/>
                <a:gd name="connsiteY256" fmla="*/ 240117 h 471291"/>
                <a:gd name="connsiteX257" fmla="*/ 142036 w 287641"/>
                <a:gd name="connsiteY257" fmla="*/ 240111 h 471291"/>
                <a:gd name="connsiteX258" fmla="*/ 140674 w 287641"/>
                <a:gd name="connsiteY258" fmla="*/ 239028 h 471291"/>
                <a:gd name="connsiteX259" fmla="*/ 138490 w 287641"/>
                <a:gd name="connsiteY259" fmla="*/ 238138 h 471291"/>
                <a:gd name="connsiteX260" fmla="*/ 137787 w 287641"/>
                <a:gd name="connsiteY260" fmla="*/ 239707 h 471291"/>
                <a:gd name="connsiteX261" fmla="*/ 137674 w 287641"/>
                <a:gd name="connsiteY261" fmla="*/ 240954 h 471291"/>
                <a:gd name="connsiteX262" fmla="*/ 138905 w 287641"/>
                <a:gd name="connsiteY262" fmla="*/ 244105 h 471291"/>
                <a:gd name="connsiteX263" fmla="*/ 141255 w 287641"/>
                <a:gd name="connsiteY263" fmla="*/ 246541 h 471291"/>
                <a:gd name="connsiteX264" fmla="*/ 143431 w 287641"/>
                <a:gd name="connsiteY264" fmla="*/ 247592 h 471291"/>
                <a:gd name="connsiteX265" fmla="*/ 141865 w 287641"/>
                <a:gd name="connsiteY265" fmla="*/ 248301 h 471291"/>
                <a:gd name="connsiteX266" fmla="*/ 140700 w 287641"/>
                <a:gd name="connsiteY266" fmla="*/ 249875 h 471291"/>
                <a:gd name="connsiteX267" fmla="*/ 139294 w 287641"/>
                <a:gd name="connsiteY267" fmla="*/ 254783 h 471291"/>
                <a:gd name="connsiteX268" fmla="*/ 138529 w 287641"/>
                <a:gd name="connsiteY268" fmla="*/ 256712 h 471291"/>
                <a:gd name="connsiteX269" fmla="*/ 137700 w 287641"/>
                <a:gd name="connsiteY269" fmla="*/ 260113 h 471291"/>
                <a:gd name="connsiteX270" fmla="*/ 138225 w 287641"/>
                <a:gd name="connsiteY270" fmla="*/ 262978 h 471291"/>
                <a:gd name="connsiteX271" fmla="*/ 138646 w 287641"/>
                <a:gd name="connsiteY271" fmla="*/ 264385 h 471291"/>
                <a:gd name="connsiteX272" fmla="*/ 139711 w 287641"/>
                <a:gd name="connsiteY272" fmla="*/ 266294 h 471291"/>
                <a:gd name="connsiteX273" fmla="*/ 136817 w 287641"/>
                <a:gd name="connsiteY273" fmla="*/ 266048 h 471291"/>
                <a:gd name="connsiteX274" fmla="*/ 133761 w 287641"/>
                <a:gd name="connsiteY274" fmla="*/ 264933 h 471291"/>
                <a:gd name="connsiteX275" fmla="*/ 134187 w 287641"/>
                <a:gd name="connsiteY275" fmla="*/ 267248 h 471291"/>
                <a:gd name="connsiteX276" fmla="*/ 132310 w 287641"/>
                <a:gd name="connsiteY276" fmla="*/ 269981 h 471291"/>
                <a:gd name="connsiteX277" fmla="*/ 132660 w 287641"/>
                <a:gd name="connsiteY277" fmla="*/ 272389 h 471291"/>
                <a:gd name="connsiteX278" fmla="*/ 133051 w 287641"/>
                <a:gd name="connsiteY278" fmla="*/ 273956 h 471291"/>
                <a:gd name="connsiteX279" fmla="*/ 132470 w 287641"/>
                <a:gd name="connsiteY279" fmla="*/ 276546 h 471291"/>
                <a:gd name="connsiteX280" fmla="*/ 133353 w 287641"/>
                <a:gd name="connsiteY280" fmla="*/ 277359 h 471291"/>
                <a:gd name="connsiteX281" fmla="*/ 133833 w 287641"/>
                <a:gd name="connsiteY281" fmla="*/ 278899 h 471291"/>
                <a:gd name="connsiteX282" fmla="*/ 133042 w 287641"/>
                <a:gd name="connsiteY282" fmla="*/ 280036 h 471291"/>
                <a:gd name="connsiteX283" fmla="*/ 133394 w 287641"/>
                <a:gd name="connsiteY283" fmla="*/ 281014 h 471291"/>
                <a:gd name="connsiteX284" fmla="*/ 133526 w 287641"/>
                <a:gd name="connsiteY284" fmla="*/ 284473 h 471291"/>
                <a:gd name="connsiteX285" fmla="*/ 134126 w 287641"/>
                <a:gd name="connsiteY285" fmla="*/ 289873 h 471291"/>
                <a:gd name="connsiteX286" fmla="*/ 133906 w 287641"/>
                <a:gd name="connsiteY286" fmla="*/ 291014 h 471291"/>
                <a:gd name="connsiteX287" fmla="*/ 135586 w 287641"/>
                <a:gd name="connsiteY287" fmla="*/ 295695 h 471291"/>
                <a:gd name="connsiteX288" fmla="*/ 135195 w 287641"/>
                <a:gd name="connsiteY288" fmla="*/ 297333 h 471291"/>
                <a:gd name="connsiteX289" fmla="*/ 134969 w 287641"/>
                <a:gd name="connsiteY289" fmla="*/ 299419 h 471291"/>
                <a:gd name="connsiteX290" fmla="*/ 137376 w 287641"/>
                <a:gd name="connsiteY290" fmla="*/ 301421 h 471291"/>
                <a:gd name="connsiteX291" fmla="*/ 139525 w 287641"/>
                <a:gd name="connsiteY291" fmla="*/ 301389 h 471291"/>
                <a:gd name="connsiteX292" fmla="*/ 141702 w 287641"/>
                <a:gd name="connsiteY292" fmla="*/ 301358 h 471291"/>
                <a:gd name="connsiteX293" fmla="*/ 142533 w 287641"/>
                <a:gd name="connsiteY293" fmla="*/ 301860 h 471291"/>
                <a:gd name="connsiteX294" fmla="*/ 143367 w 287641"/>
                <a:gd name="connsiteY294" fmla="*/ 303275 h 471291"/>
                <a:gd name="connsiteX295" fmla="*/ 144038 w 287641"/>
                <a:gd name="connsiteY295" fmla="*/ 304945 h 471291"/>
                <a:gd name="connsiteX296" fmla="*/ 145830 w 287641"/>
                <a:gd name="connsiteY296" fmla="*/ 304807 h 471291"/>
                <a:gd name="connsiteX297" fmla="*/ 148691 w 287641"/>
                <a:gd name="connsiteY297" fmla="*/ 303448 h 471291"/>
                <a:gd name="connsiteX298" fmla="*/ 150553 w 287641"/>
                <a:gd name="connsiteY298" fmla="*/ 303124 h 471291"/>
                <a:gd name="connsiteX299" fmla="*/ 151782 w 287641"/>
                <a:gd name="connsiteY299" fmla="*/ 305736 h 471291"/>
                <a:gd name="connsiteX300" fmla="*/ 155124 w 287641"/>
                <a:gd name="connsiteY300" fmla="*/ 309182 h 471291"/>
                <a:gd name="connsiteX301" fmla="*/ 157070 w 287641"/>
                <a:gd name="connsiteY301" fmla="*/ 310724 h 471291"/>
                <a:gd name="connsiteX302" fmla="*/ 160376 w 287641"/>
                <a:gd name="connsiteY302" fmla="*/ 311535 h 471291"/>
                <a:gd name="connsiteX303" fmla="*/ 163859 w 287641"/>
                <a:gd name="connsiteY303" fmla="*/ 314308 h 471291"/>
                <a:gd name="connsiteX304" fmla="*/ 163371 w 287641"/>
                <a:gd name="connsiteY304" fmla="*/ 317646 h 471291"/>
                <a:gd name="connsiteX305" fmla="*/ 164824 w 287641"/>
                <a:gd name="connsiteY305" fmla="*/ 318760 h 471291"/>
                <a:gd name="connsiteX306" fmla="*/ 168934 w 287641"/>
                <a:gd name="connsiteY306" fmla="*/ 320076 h 471291"/>
                <a:gd name="connsiteX307" fmla="*/ 170387 w 287641"/>
                <a:gd name="connsiteY307" fmla="*/ 321849 h 471291"/>
                <a:gd name="connsiteX308" fmla="*/ 171084 w 287641"/>
                <a:gd name="connsiteY308" fmla="*/ 323359 h 471291"/>
                <a:gd name="connsiteX309" fmla="*/ 172166 w 287641"/>
                <a:gd name="connsiteY309" fmla="*/ 324611 h 471291"/>
                <a:gd name="connsiteX310" fmla="*/ 173431 w 287641"/>
                <a:gd name="connsiteY310" fmla="*/ 328388 h 471291"/>
                <a:gd name="connsiteX311" fmla="*/ 172991 w 287641"/>
                <a:gd name="connsiteY311" fmla="*/ 330712 h 471291"/>
                <a:gd name="connsiteX312" fmla="*/ 171335 w 287641"/>
                <a:gd name="connsiteY312" fmla="*/ 331510 h 471291"/>
                <a:gd name="connsiteX313" fmla="*/ 167424 w 287641"/>
                <a:gd name="connsiteY313" fmla="*/ 333997 h 471291"/>
                <a:gd name="connsiteX314" fmla="*/ 165681 w 287641"/>
                <a:gd name="connsiteY314" fmla="*/ 335851 h 471291"/>
                <a:gd name="connsiteX315" fmla="*/ 164314 w 287641"/>
                <a:gd name="connsiteY315" fmla="*/ 337006 h 471291"/>
                <a:gd name="connsiteX316" fmla="*/ 160430 w 287641"/>
                <a:gd name="connsiteY316" fmla="*/ 339479 h 471291"/>
                <a:gd name="connsiteX317" fmla="*/ 159007 w 287641"/>
                <a:gd name="connsiteY317" fmla="*/ 339923 h 471291"/>
                <a:gd name="connsiteX318" fmla="*/ 157644 w 287641"/>
                <a:gd name="connsiteY318" fmla="*/ 341207 h 471291"/>
                <a:gd name="connsiteX319" fmla="*/ 156327 w 287641"/>
                <a:gd name="connsiteY319" fmla="*/ 341769 h 471291"/>
                <a:gd name="connsiteX320" fmla="*/ 155148 w 287641"/>
                <a:gd name="connsiteY320" fmla="*/ 341446 h 471291"/>
                <a:gd name="connsiteX321" fmla="*/ 150740 w 287641"/>
                <a:gd name="connsiteY321" fmla="*/ 343770 h 471291"/>
                <a:gd name="connsiteX322" fmla="*/ 151084 w 287641"/>
                <a:gd name="connsiteY322" fmla="*/ 344762 h 471291"/>
                <a:gd name="connsiteX323" fmla="*/ 154464 w 287641"/>
                <a:gd name="connsiteY323" fmla="*/ 345182 h 471291"/>
                <a:gd name="connsiteX324" fmla="*/ 156187 w 287641"/>
                <a:gd name="connsiteY324" fmla="*/ 344684 h 471291"/>
                <a:gd name="connsiteX325" fmla="*/ 157513 w 287641"/>
                <a:gd name="connsiteY325" fmla="*/ 343516 h 471291"/>
                <a:gd name="connsiteX326" fmla="*/ 158961 w 287641"/>
                <a:gd name="connsiteY326" fmla="*/ 343248 h 471291"/>
                <a:gd name="connsiteX327" fmla="*/ 160283 w 287641"/>
                <a:gd name="connsiteY327" fmla="*/ 343468 h 471291"/>
                <a:gd name="connsiteX328" fmla="*/ 161684 w 287641"/>
                <a:gd name="connsiteY328" fmla="*/ 342548 h 471291"/>
                <a:gd name="connsiteX329" fmla="*/ 162784 w 287641"/>
                <a:gd name="connsiteY329" fmla="*/ 342180 h 471291"/>
                <a:gd name="connsiteX330" fmla="*/ 163920 w 287641"/>
                <a:gd name="connsiteY330" fmla="*/ 342621 h 471291"/>
                <a:gd name="connsiteX331" fmla="*/ 165187 w 287641"/>
                <a:gd name="connsiteY331" fmla="*/ 344828 h 471291"/>
                <a:gd name="connsiteX332" fmla="*/ 162557 w 287641"/>
                <a:gd name="connsiteY332" fmla="*/ 345976 h 471291"/>
                <a:gd name="connsiteX333" fmla="*/ 160691 w 287641"/>
                <a:gd name="connsiteY333" fmla="*/ 346028 h 471291"/>
                <a:gd name="connsiteX334" fmla="*/ 159780 w 287641"/>
                <a:gd name="connsiteY334" fmla="*/ 349640 h 471291"/>
                <a:gd name="connsiteX335" fmla="*/ 158650 w 287641"/>
                <a:gd name="connsiteY335" fmla="*/ 351190 h 471291"/>
                <a:gd name="connsiteX336" fmla="*/ 157841 w 287641"/>
                <a:gd name="connsiteY336" fmla="*/ 351935 h 471291"/>
                <a:gd name="connsiteX337" fmla="*/ 153701 w 287641"/>
                <a:gd name="connsiteY337" fmla="*/ 353469 h 471291"/>
                <a:gd name="connsiteX338" fmla="*/ 150970 w 287641"/>
                <a:gd name="connsiteY338" fmla="*/ 355412 h 471291"/>
                <a:gd name="connsiteX339" fmla="*/ 147750 w 287641"/>
                <a:gd name="connsiteY339" fmla="*/ 356975 h 471291"/>
                <a:gd name="connsiteX340" fmla="*/ 146344 w 287641"/>
                <a:gd name="connsiteY340" fmla="*/ 356635 h 471291"/>
                <a:gd name="connsiteX341" fmla="*/ 144226 w 287641"/>
                <a:gd name="connsiteY341" fmla="*/ 358223 h 471291"/>
                <a:gd name="connsiteX342" fmla="*/ 139518 w 287641"/>
                <a:gd name="connsiteY342" fmla="*/ 360101 h 471291"/>
                <a:gd name="connsiteX343" fmla="*/ 137106 w 287641"/>
                <a:gd name="connsiteY343" fmla="*/ 362629 h 471291"/>
                <a:gd name="connsiteX344" fmla="*/ 131693 w 287641"/>
                <a:gd name="connsiteY344" fmla="*/ 364888 h 471291"/>
                <a:gd name="connsiteX345" fmla="*/ 128935 w 287641"/>
                <a:gd name="connsiteY345" fmla="*/ 366724 h 471291"/>
                <a:gd name="connsiteX346" fmla="*/ 121444 w 287641"/>
                <a:gd name="connsiteY346" fmla="*/ 366820 h 471291"/>
                <a:gd name="connsiteX347" fmla="*/ 114290 w 287641"/>
                <a:gd name="connsiteY347" fmla="*/ 366417 h 471291"/>
                <a:gd name="connsiteX348" fmla="*/ 112044 w 287641"/>
                <a:gd name="connsiteY348" fmla="*/ 367290 h 471291"/>
                <a:gd name="connsiteX349" fmla="*/ 114340 w 287641"/>
                <a:gd name="connsiteY349" fmla="*/ 367560 h 471291"/>
                <a:gd name="connsiteX350" fmla="*/ 115948 w 287641"/>
                <a:gd name="connsiteY350" fmla="*/ 368416 h 471291"/>
                <a:gd name="connsiteX351" fmla="*/ 117877 w 287641"/>
                <a:gd name="connsiteY351" fmla="*/ 368059 h 471291"/>
                <a:gd name="connsiteX352" fmla="*/ 122410 w 287641"/>
                <a:gd name="connsiteY352" fmla="*/ 368487 h 471291"/>
                <a:gd name="connsiteX353" fmla="*/ 124742 w 287641"/>
                <a:gd name="connsiteY353" fmla="*/ 368953 h 471291"/>
                <a:gd name="connsiteX354" fmla="*/ 127735 w 287641"/>
                <a:gd name="connsiteY354" fmla="*/ 371949 h 471291"/>
                <a:gd name="connsiteX355" fmla="*/ 125534 w 287641"/>
                <a:gd name="connsiteY355" fmla="*/ 373013 h 471291"/>
                <a:gd name="connsiteX356" fmla="*/ 121723 w 287641"/>
                <a:gd name="connsiteY356" fmla="*/ 373829 h 471291"/>
                <a:gd name="connsiteX357" fmla="*/ 123152 w 287641"/>
                <a:gd name="connsiteY357" fmla="*/ 378067 h 471291"/>
                <a:gd name="connsiteX358" fmla="*/ 124331 w 287641"/>
                <a:gd name="connsiteY358" fmla="*/ 380919 h 471291"/>
                <a:gd name="connsiteX359" fmla="*/ 122788 w 287641"/>
                <a:gd name="connsiteY359" fmla="*/ 382639 h 471291"/>
                <a:gd name="connsiteX360" fmla="*/ 122673 w 287641"/>
                <a:gd name="connsiteY360" fmla="*/ 390443 h 471291"/>
                <a:gd name="connsiteX361" fmla="*/ 120507 w 287641"/>
                <a:gd name="connsiteY361" fmla="*/ 390592 h 471291"/>
                <a:gd name="connsiteX362" fmla="*/ 119587 w 287641"/>
                <a:gd name="connsiteY362" fmla="*/ 393812 h 471291"/>
                <a:gd name="connsiteX363" fmla="*/ 120269 w 287641"/>
                <a:gd name="connsiteY363" fmla="*/ 395452 h 471291"/>
                <a:gd name="connsiteX364" fmla="*/ 120216 w 287641"/>
                <a:gd name="connsiteY364" fmla="*/ 399257 h 471291"/>
                <a:gd name="connsiteX365" fmla="*/ 120667 w 287641"/>
                <a:gd name="connsiteY365" fmla="*/ 401599 h 471291"/>
                <a:gd name="connsiteX366" fmla="*/ 121729 w 287641"/>
                <a:gd name="connsiteY366" fmla="*/ 403752 h 471291"/>
                <a:gd name="connsiteX367" fmla="*/ 121256 w 287641"/>
                <a:gd name="connsiteY367" fmla="*/ 405996 h 471291"/>
                <a:gd name="connsiteX368" fmla="*/ 117832 w 287641"/>
                <a:gd name="connsiteY368" fmla="*/ 411238 h 471291"/>
                <a:gd name="connsiteX369" fmla="*/ 117910 w 287641"/>
                <a:gd name="connsiteY369" fmla="*/ 413693 h 471291"/>
                <a:gd name="connsiteX370" fmla="*/ 118525 w 287641"/>
                <a:gd name="connsiteY370" fmla="*/ 415150 h 471291"/>
                <a:gd name="connsiteX371" fmla="*/ 118980 w 287641"/>
                <a:gd name="connsiteY371" fmla="*/ 417477 h 471291"/>
                <a:gd name="connsiteX372" fmla="*/ 117424 w 287641"/>
                <a:gd name="connsiteY372" fmla="*/ 421945 h 471291"/>
                <a:gd name="connsiteX373" fmla="*/ 116324 w 287641"/>
                <a:gd name="connsiteY373" fmla="*/ 425671 h 471291"/>
                <a:gd name="connsiteX374" fmla="*/ 115018 w 287641"/>
                <a:gd name="connsiteY374" fmla="*/ 428802 h 471291"/>
                <a:gd name="connsiteX375" fmla="*/ 112094 w 287641"/>
                <a:gd name="connsiteY375" fmla="*/ 432553 h 471291"/>
                <a:gd name="connsiteX376" fmla="*/ 110639 w 287641"/>
                <a:gd name="connsiteY376" fmla="*/ 435353 h 471291"/>
                <a:gd name="connsiteX377" fmla="*/ 107233 w 287641"/>
                <a:gd name="connsiteY377" fmla="*/ 444067 h 471291"/>
                <a:gd name="connsiteX378" fmla="*/ 105545 w 287641"/>
                <a:gd name="connsiteY378" fmla="*/ 445792 h 471291"/>
                <a:gd name="connsiteX379" fmla="*/ 103474 w 287641"/>
                <a:gd name="connsiteY379" fmla="*/ 447117 h 471291"/>
                <a:gd name="connsiteX380" fmla="*/ 101166 w 287641"/>
                <a:gd name="connsiteY380" fmla="*/ 445891 h 471291"/>
                <a:gd name="connsiteX381" fmla="*/ 99049 w 287641"/>
                <a:gd name="connsiteY381" fmla="*/ 445223 h 471291"/>
                <a:gd name="connsiteX382" fmla="*/ 96464 w 287641"/>
                <a:gd name="connsiteY382" fmla="*/ 445304 h 471291"/>
                <a:gd name="connsiteX383" fmla="*/ 92416 w 287641"/>
                <a:gd name="connsiteY383" fmla="*/ 446309 h 471291"/>
                <a:gd name="connsiteX384" fmla="*/ 86326 w 287641"/>
                <a:gd name="connsiteY384" fmla="*/ 445641 h 471291"/>
                <a:gd name="connsiteX385" fmla="*/ 80375 w 287641"/>
                <a:gd name="connsiteY385" fmla="*/ 445963 h 471291"/>
                <a:gd name="connsiteX386" fmla="*/ 78870 w 287641"/>
                <a:gd name="connsiteY386" fmla="*/ 446831 h 471291"/>
                <a:gd name="connsiteX387" fmla="*/ 79772 w 287641"/>
                <a:gd name="connsiteY387" fmla="*/ 449981 h 471291"/>
                <a:gd name="connsiteX388" fmla="*/ 77579 w 287641"/>
                <a:gd name="connsiteY388" fmla="*/ 450394 h 471291"/>
                <a:gd name="connsiteX389" fmla="*/ 75434 w 287641"/>
                <a:gd name="connsiteY389" fmla="*/ 449498 h 471291"/>
                <a:gd name="connsiteX390" fmla="*/ 73547 w 287641"/>
                <a:gd name="connsiteY390" fmla="*/ 450567 h 471291"/>
                <a:gd name="connsiteX391" fmla="*/ 71970 w 287641"/>
                <a:gd name="connsiteY391" fmla="*/ 451739 h 471291"/>
                <a:gd name="connsiteX392" fmla="*/ 68874 w 287641"/>
                <a:gd name="connsiteY392" fmla="*/ 454516 h 471291"/>
                <a:gd name="connsiteX393" fmla="*/ 67837 w 287641"/>
                <a:gd name="connsiteY393" fmla="*/ 456225 h 471291"/>
                <a:gd name="connsiteX394" fmla="*/ 67570 w 287641"/>
                <a:gd name="connsiteY394" fmla="*/ 459439 h 471291"/>
                <a:gd name="connsiteX395" fmla="*/ 69196 w 287641"/>
                <a:gd name="connsiteY395" fmla="*/ 462318 h 471291"/>
                <a:gd name="connsiteX396" fmla="*/ 70638 w 287641"/>
                <a:gd name="connsiteY396" fmla="*/ 465684 h 471291"/>
                <a:gd name="connsiteX397" fmla="*/ 66924 w 287641"/>
                <a:gd name="connsiteY397" fmla="*/ 469739 h 471291"/>
                <a:gd name="connsiteX398" fmla="*/ 64851 w 287641"/>
                <a:gd name="connsiteY398" fmla="*/ 469876 h 471291"/>
                <a:gd name="connsiteX399" fmla="*/ 58800 w 287641"/>
                <a:gd name="connsiteY399" fmla="*/ 468752 h 471291"/>
                <a:gd name="connsiteX400" fmla="*/ 48077 w 287641"/>
                <a:gd name="connsiteY400" fmla="*/ 471291 h 471291"/>
                <a:gd name="connsiteX401" fmla="*/ 38446 w 287641"/>
                <a:gd name="connsiteY401" fmla="*/ 469283 h 471291"/>
                <a:gd name="connsiteX402" fmla="*/ 39657 w 287641"/>
                <a:gd name="connsiteY402" fmla="*/ 467112 h 471291"/>
                <a:gd name="connsiteX403" fmla="*/ 39617 w 287641"/>
                <a:gd name="connsiteY403" fmla="*/ 465514 h 471291"/>
                <a:gd name="connsiteX404" fmla="*/ 40161 w 287641"/>
                <a:gd name="connsiteY404" fmla="*/ 463055 h 471291"/>
                <a:gd name="connsiteX405" fmla="*/ 40484 w 287641"/>
                <a:gd name="connsiteY405" fmla="*/ 460536 h 471291"/>
                <a:gd name="connsiteX406" fmla="*/ 40394 w 287641"/>
                <a:gd name="connsiteY406" fmla="*/ 458849 h 471291"/>
                <a:gd name="connsiteX407" fmla="*/ 39688 w 287641"/>
                <a:gd name="connsiteY407" fmla="*/ 457050 h 471291"/>
                <a:gd name="connsiteX408" fmla="*/ 37313 w 287641"/>
                <a:gd name="connsiteY408" fmla="*/ 454694 h 471291"/>
                <a:gd name="connsiteX409" fmla="*/ 31961 w 287641"/>
                <a:gd name="connsiteY409" fmla="*/ 446722 h 471291"/>
                <a:gd name="connsiteX410" fmla="*/ 30378 w 287641"/>
                <a:gd name="connsiteY410" fmla="*/ 443349 h 471291"/>
                <a:gd name="connsiteX411" fmla="*/ 29277 w 287641"/>
                <a:gd name="connsiteY411" fmla="*/ 441942 h 471291"/>
                <a:gd name="connsiteX412" fmla="*/ 30070 w 287641"/>
                <a:gd name="connsiteY412" fmla="*/ 441866 h 471291"/>
                <a:gd name="connsiteX413" fmla="*/ 34477 w 287641"/>
                <a:gd name="connsiteY413" fmla="*/ 443679 h 471291"/>
                <a:gd name="connsiteX414" fmla="*/ 35505 w 287641"/>
                <a:gd name="connsiteY414" fmla="*/ 443456 h 471291"/>
                <a:gd name="connsiteX415" fmla="*/ 36585 w 287641"/>
                <a:gd name="connsiteY415" fmla="*/ 442775 h 471291"/>
                <a:gd name="connsiteX416" fmla="*/ 35270 w 287641"/>
                <a:gd name="connsiteY416" fmla="*/ 440179 h 471291"/>
                <a:gd name="connsiteX417" fmla="*/ 34140 w 287641"/>
                <a:gd name="connsiteY417" fmla="*/ 439003 h 471291"/>
                <a:gd name="connsiteX418" fmla="*/ 33374 w 287641"/>
                <a:gd name="connsiteY418" fmla="*/ 437243 h 471291"/>
                <a:gd name="connsiteX419" fmla="*/ 35954 w 287641"/>
                <a:gd name="connsiteY419" fmla="*/ 436767 h 471291"/>
                <a:gd name="connsiteX420" fmla="*/ 37818 w 287641"/>
                <a:gd name="connsiteY420" fmla="*/ 436872 h 471291"/>
                <a:gd name="connsiteX421" fmla="*/ 39191 w 287641"/>
                <a:gd name="connsiteY421" fmla="*/ 434890 h 471291"/>
                <a:gd name="connsiteX422" fmla="*/ 38399 w 287641"/>
                <a:gd name="connsiteY422" fmla="*/ 431681 h 471291"/>
                <a:gd name="connsiteX423" fmla="*/ 36397 w 287641"/>
                <a:gd name="connsiteY423" fmla="*/ 430693 h 471291"/>
                <a:gd name="connsiteX424" fmla="*/ 34725 w 287641"/>
                <a:gd name="connsiteY424" fmla="*/ 430263 h 471291"/>
                <a:gd name="connsiteX425" fmla="*/ 31521 w 287641"/>
                <a:gd name="connsiteY425" fmla="*/ 425210 h 471291"/>
                <a:gd name="connsiteX426" fmla="*/ 28178 w 287641"/>
                <a:gd name="connsiteY426" fmla="*/ 422589 h 471291"/>
                <a:gd name="connsiteX427" fmla="*/ 22216 w 287641"/>
                <a:gd name="connsiteY427" fmla="*/ 412449 h 471291"/>
                <a:gd name="connsiteX428" fmla="*/ 20035 w 287641"/>
                <a:gd name="connsiteY428" fmla="*/ 405461 h 471291"/>
                <a:gd name="connsiteX429" fmla="*/ 18008 w 287641"/>
                <a:gd name="connsiteY429" fmla="*/ 406126 h 471291"/>
                <a:gd name="connsiteX430" fmla="*/ 17023 w 287641"/>
                <a:gd name="connsiteY430" fmla="*/ 403076 h 471291"/>
                <a:gd name="connsiteX431" fmla="*/ 16317 w 287641"/>
                <a:gd name="connsiteY431" fmla="*/ 400184 h 471291"/>
                <a:gd name="connsiteX432" fmla="*/ 16176 w 287641"/>
                <a:gd name="connsiteY432" fmla="*/ 398055 h 471291"/>
                <a:gd name="connsiteX433" fmla="*/ 12998 w 287641"/>
                <a:gd name="connsiteY433" fmla="*/ 396834 h 471291"/>
                <a:gd name="connsiteX434" fmla="*/ 12868 w 287641"/>
                <a:gd name="connsiteY434" fmla="*/ 395340 h 471291"/>
                <a:gd name="connsiteX435" fmla="*/ 12296 w 287641"/>
                <a:gd name="connsiteY435" fmla="*/ 388660 h 471291"/>
                <a:gd name="connsiteX436" fmla="*/ 8886 w 287641"/>
                <a:gd name="connsiteY436" fmla="*/ 387761 h 471291"/>
                <a:gd name="connsiteX437" fmla="*/ 6681 w 287641"/>
                <a:gd name="connsiteY437" fmla="*/ 384002 h 471291"/>
                <a:gd name="connsiteX438" fmla="*/ 6288 w 287641"/>
                <a:gd name="connsiteY438" fmla="*/ 376872 h 471291"/>
                <a:gd name="connsiteX439" fmla="*/ 4043 w 287641"/>
                <a:gd name="connsiteY439" fmla="*/ 375571 h 471291"/>
                <a:gd name="connsiteX440" fmla="*/ 2235 w 287641"/>
                <a:gd name="connsiteY440" fmla="*/ 375932 h 471291"/>
                <a:gd name="connsiteX441" fmla="*/ 2320 w 287641"/>
                <a:gd name="connsiteY441" fmla="*/ 374160 h 471291"/>
                <a:gd name="connsiteX442" fmla="*/ 2751 w 287641"/>
                <a:gd name="connsiteY442" fmla="*/ 372496 h 471291"/>
                <a:gd name="connsiteX443" fmla="*/ 1696 w 287641"/>
                <a:gd name="connsiteY443" fmla="*/ 365889 h 471291"/>
                <a:gd name="connsiteX444" fmla="*/ 1343 w 287641"/>
                <a:gd name="connsiteY444" fmla="*/ 359841 h 471291"/>
                <a:gd name="connsiteX445" fmla="*/ 486 w 287641"/>
                <a:gd name="connsiteY445" fmla="*/ 358012 h 471291"/>
                <a:gd name="connsiteX446" fmla="*/ 0 w 287641"/>
                <a:gd name="connsiteY446" fmla="*/ 355868 h 471291"/>
                <a:gd name="connsiteX447" fmla="*/ 436 w 287641"/>
                <a:gd name="connsiteY447" fmla="*/ 354014 h 471291"/>
                <a:gd name="connsiteX448" fmla="*/ 1076 w 287641"/>
                <a:gd name="connsiteY448" fmla="*/ 352949 h 471291"/>
                <a:gd name="connsiteX449" fmla="*/ 3276 w 287641"/>
                <a:gd name="connsiteY449" fmla="*/ 352669 h 471291"/>
                <a:gd name="connsiteX450" fmla="*/ 5332 w 287641"/>
                <a:gd name="connsiteY450" fmla="*/ 354309 h 471291"/>
                <a:gd name="connsiteX451" fmla="*/ 7154 w 287641"/>
                <a:gd name="connsiteY451" fmla="*/ 358440 h 471291"/>
                <a:gd name="connsiteX452" fmla="*/ 8765 w 287641"/>
                <a:gd name="connsiteY452" fmla="*/ 358977 h 471291"/>
                <a:gd name="connsiteX453" fmla="*/ 10959 w 287641"/>
                <a:gd name="connsiteY453" fmla="*/ 357902 h 471291"/>
                <a:gd name="connsiteX454" fmla="*/ 12495 w 287641"/>
                <a:gd name="connsiteY454" fmla="*/ 354890 h 471291"/>
                <a:gd name="connsiteX455" fmla="*/ 13371 w 287641"/>
                <a:gd name="connsiteY455" fmla="*/ 350363 h 471291"/>
                <a:gd name="connsiteX456" fmla="*/ 14395 w 287641"/>
                <a:gd name="connsiteY456" fmla="*/ 346042 h 471291"/>
                <a:gd name="connsiteX457" fmla="*/ 13183 w 287641"/>
                <a:gd name="connsiteY457" fmla="*/ 341411 h 471291"/>
                <a:gd name="connsiteX458" fmla="*/ 11890 w 287641"/>
                <a:gd name="connsiteY458" fmla="*/ 337334 h 471291"/>
                <a:gd name="connsiteX459" fmla="*/ 11799 w 287641"/>
                <a:gd name="connsiteY459" fmla="*/ 336135 h 471291"/>
                <a:gd name="connsiteX460" fmla="*/ 15194 w 287641"/>
                <a:gd name="connsiteY460" fmla="*/ 332688 h 471291"/>
                <a:gd name="connsiteX461" fmla="*/ 16232 w 287641"/>
                <a:gd name="connsiteY461" fmla="*/ 329881 h 471291"/>
                <a:gd name="connsiteX462" fmla="*/ 17358 w 287641"/>
                <a:gd name="connsiteY462" fmla="*/ 327204 h 471291"/>
                <a:gd name="connsiteX463" fmla="*/ 18599 w 287641"/>
                <a:gd name="connsiteY463" fmla="*/ 326293 h 471291"/>
                <a:gd name="connsiteX464" fmla="*/ 20448 w 287641"/>
                <a:gd name="connsiteY464" fmla="*/ 326085 h 471291"/>
                <a:gd name="connsiteX465" fmla="*/ 22601 w 287641"/>
                <a:gd name="connsiteY465" fmla="*/ 325581 h 471291"/>
                <a:gd name="connsiteX466" fmla="*/ 25315 w 287641"/>
                <a:gd name="connsiteY466" fmla="*/ 323786 h 471291"/>
                <a:gd name="connsiteX467" fmla="*/ 27748 w 287641"/>
                <a:gd name="connsiteY467" fmla="*/ 321381 h 471291"/>
                <a:gd name="connsiteX468" fmla="*/ 29608 w 287641"/>
                <a:gd name="connsiteY468" fmla="*/ 319172 h 471291"/>
                <a:gd name="connsiteX469" fmla="*/ 30238 w 287641"/>
                <a:gd name="connsiteY469" fmla="*/ 314796 h 471291"/>
                <a:gd name="connsiteX470" fmla="*/ 30264 w 287641"/>
                <a:gd name="connsiteY470" fmla="*/ 312594 h 471291"/>
                <a:gd name="connsiteX471" fmla="*/ 31083 w 287641"/>
                <a:gd name="connsiteY471" fmla="*/ 310957 h 471291"/>
                <a:gd name="connsiteX472" fmla="*/ 31875 w 287641"/>
                <a:gd name="connsiteY472" fmla="*/ 307757 h 471291"/>
                <a:gd name="connsiteX473" fmla="*/ 31104 w 287641"/>
                <a:gd name="connsiteY473" fmla="*/ 304595 h 471291"/>
                <a:gd name="connsiteX474" fmla="*/ 28705 w 287641"/>
                <a:gd name="connsiteY474" fmla="*/ 299791 h 471291"/>
                <a:gd name="connsiteX475" fmla="*/ 25816 w 287641"/>
                <a:gd name="connsiteY475" fmla="*/ 293016 h 471291"/>
                <a:gd name="connsiteX476" fmla="*/ 25362 w 287641"/>
                <a:gd name="connsiteY476" fmla="*/ 289308 h 471291"/>
                <a:gd name="connsiteX477" fmla="*/ 26679 w 287641"/>
                <a:gd name="connsiteY477" fmla="*/ 288619 h 471291"/>
                <a:gd name="connsiteX478" fmla="*/ 29198 w 287641"/>
                <a:gd name="connsiteY478" fmla="*/ 288004 h 471291"/>
                <a:gd name="connsiteX479" fmla="*/ 33961 w 287641"/>
                <a:gd name="connsiteY479" fmla="*/ 287826 h 471291"/>
                <a:gd name="connsiteX480" fmla="*/ 34471 w 287641"/>
                <a:gd name="connsiteY480" fmla="*/ 287388 h 471291"/>
                <a:gd name="connsiteX481" fmla="*/ 34952 w 287641"/>
                <a:gd name="connsiteY481" fmla="*/ 285761 h 471291"/>
                <a:gd name="connsiteX482" fmla="*/ 36025 w 287641"/>
                <a:gd name="connsiteY482" fmla="*/ 283550 h 471291"/>
                <a:gd name="connsiteX483" fmla="*/ 37172 w 287641"/>
                <a:gd name="connsiteY483" fmla="*/ 281938 h 471291"/>
                <a:gd name="connsiteX484" fmla="*/ 37956 w 287641"/>
                <a:gd name="connsiteY484" fmla="*/ 279631 h 471291"/>
                <a:gd name="connsiteX485" fmla="*/ 38334 w 287641"/>
                <a:gd name="connsiteY485" fmla="*/ 277538 h 471291"/>
                <a:gd name="connsiteX486" fmla="*/ 35609 w 287641"/>
                <a:gd name="connsiteY486" fmla="*/ 274382 h 471291"/>
                <a:gd name="connsiteX487" fmla="*/ 32039 w 287641"/>
                <a:gd name="connsiteY487" fmla="*/ 271147 h 471291"/>
                <a:gd name="connsiteX488" fmla="*/ 29623 w 287641"/>
                <a:gd name="connsiteY488" fmla="*/ 270074 h 471291"/>
                <a:gd name="connsiteX489" fmla="*/ 25317 w 287641"/>
                <a:gd name="connsiteY489" fmla="*/ 267346 h 471291"/>
                <a:gd name="connsiteX490" fmla="*/ 22294 w 287641"/>
                <a:gd name="connsiteY490" fmla="*/ 265062 h 471291"/>
                <a:gd name="connsiteX491" fmla="*/ 24026 w 287641"/>
                <a:gd name="connsiteY491" fmla="*/ 256346 h 471291"/>
                <a:gd name="connsiteX492" fmla="*/ 25315 w 287641"/>
                <a:gd name="connsiteY492" fmla="*/ 249836 h 471291"/>
                <a:gd name="connsiteX493" fmla="*/ 25522 w 287641"/>
                <a:gd name="connsiteY493" fmla="*/ 248251 h 471291"/>
                <a:gd name="connsiteX494" fmla="*/ 25570 w 287641"/>
                <a:gd name="connsiteY494" fmla="*/ 245790 h 471291"/>
                <a:gd name="connsiteX495" fmla="*/ 21391 w 287641"/>
                <a:gd name="connsiteY495" fmla="*/ 235264 h 471291"/>
                <a:gd name="connsiteX496" fmla="*/ 21553 w 287641"/>
                <a:gd name="connsiteY496" fmla="*/ 232916 h 471291"/>
                <a:gd name="connsiteX497" fmla="*/ 21951 w 287641"/>
                <a:gd name="connsiteY497" fmla="*/ 230799 h 471291"/>
                <a:gd name="connsiteX498" fmla="*/ 21503 w 287641"/>
                <a:gd name="connsiteY498" fmla="*/ 227185 h 471291"/>
                <a:gd name="connsiteX499" fmla="*/ 21260 w 287641"/>
                <a:gd name="connsiteY499" fmla="*/ 223946 h 471291"/>
                <a:gd name="connsiteX500" fmla="*/ 21977 w 287641"/>
                <a:gd name="connsiteY500" fmla="*/ 222963 h 471291"/>
                <a:gd name="connsiteX501" fmla="*/ 23682 w 287641"/>
                <a:gd name="connsiteY501" fmla="*/ 221133 h 471291"/>
                <a:gd name="connsiteX502" fmla="*/ 22056 w 287641"/>
                <a:gd name="connsiteY502" fmla="*/ 218291 h 471291"/>
                <a:gd name="connsiteX503" fmla="*/ 21925 w 287641"/>
                <a:gd name="connsiteY503" fmla="*/ 218060 h 471291"/>
                <a:gd name="connsiteX504" fmla="*/ 18856 w 287641"/>
                <a:gd name="connsiteY504" fmla="*/ 211011 h 471291"/>
                <a:gd name="connsiteX505" fmla="*/ 23549 w 287641"/>
                <a:gd name="connsiteY505" fmla="*/ 204008 h 471291"/>
                <a:gd name="connsiteX506" fmla="*/ 22732 w 287641"/>
                <a:gd name="connsiteY506" fmla="*/ 200377 h 471291"/>
                <a:gd name="connsiteX507" fmla="*/ 25535 w 287641"/>
                <a:gd name="connsiteY507" fmla="*/ 197738 h 471291"/>
                <a:gd name="connsiteX508" fmla="*/ 30638 w 287641"/>
                <a:gd name="connsiteY508" fmla="*/ 191681 h 471291"/>
                <a:gd name="connsiteX509" fmla="*/ 33508 w 287641"/>
                <a:gd name="connsiteY509" fmla="*/ 188267 h 471291"/>
                <a:gd name="connsiteX510" fmla="*/ 34117 w 287641"/>
                <a:gd name="connsiteY510" fmla="*/ 187670 h 471291"/>
                <a:gd name="connsiteX511" fmla="*/ 36388 w 287641"/>
                <a:gd name="connsiteY511" fmla="*/ 186168 h 471291"/>
                <a:gd name="connsiteX512" fmla="*/ 40696 w 287641"/>
                <a:gd name="connsiteY512" fmla="*/ 184385 h 471291"/>
                <a:gd name="connsiteX513" fmla="*/ 45471 w 287641"/>
                <a:gd name="connsiteY513" fmla="*/ 183516 h 471291"/>
                <a:gd name="connsiteX514" fmla="*/ 47596 w 287641"/>
                <a:gd name="connsiteY514" fmla="*/ 183527 h 471291"/>
                <a:gd name="connsiteX515" fmla="*/ 55801 w 287641"/>
                <a:gd name="connsiteY515" fmla="*/ 184734 h 471291"/>
                <a:gd name="connsiteX516" fmla="*/ 62210 w 287641"/>
                <a:gd name="connsiteY516" fmla="*/ 185673 h 471291"/>
                <a:gd name="connsiteX517" fmla="*/ 63143 w 287641"/>
                <a:gd name="connsiteY517" fmla="*/ 184730 h 471291"/>
                <a:gd name="connsiteX518" fmla="*/ 64482 w 287641"/>
                <a:gd name="connsiteY518" fmla="*/ 182795 h 471291"/>
                <a:gd name="connsiteX519" fmla="*/ 66205 w 287641"/>
                <a:gd name="connsiteY519" fmla="*/ 180035 h 471291"/>
                <a:gd name="connsiteX520" fmla="*/ 66356 w 287641"/>
                <a:gd name="connsiteY520" fmla="*/ 176962 h 471291"/>
                <a:gd name="connsiteX521" fmla="*/ 65734 w 287641"/>
                <a:gd name="connsiteY521" fmla="*/ 172439 h 471291"/>
                <a:gd name="connsiteX522" fmla="*/ 64799 w 287641"/>
                <a:gd name="connsiteY522" fmla="*/ 169727 h 471291"/>
                <a:gd name="connsiteX523" fmla="*/ 60286 w 287641"/>
                <a:gd name="connsiteY523" fmla="*/ 167963 h 471291"/>
                <a:gd name="connsiteX524" fmla="*/ 55350 w 287641"/>
                <a:gd name="connsiteY524" fmla="*/ 165542 h 471291"/>
                <a:gd name="connsiteX525" fmla="*/ 61420 w 287641"/>
                <a:gd name="connsiteY525" fmla="*/ 157854 h 471291"/>
                <a:gd name="connsiteX526" fmla="*/ 65629 w 287641"/>
                <a:gd name="connsiteY526" fmla="*/ 152501 h 471291"/>
                <a:gd name="connsiteX527" fmla="*/ 70876 w 287641"/>
                <a:gd name="connsiteY527" fmla="*/ 144422 h 471291"/>
                <a:gd name="connsiteX528" fmla="*/ 72508 w 287641"/>
                <a:gd name="connsiteY528" fmla="*/ 141051 h 471291"/>
                <a:gd name="connsiteX529" fmla="*/ 73689 w 287641"/>
                <a:gd name="connsiteY529" fmla="*/ 139711 h 471291"/>
                <a:gd name="connsiteX530" fmla="*/ 75233 w 287641"/>
                <a:gd name="connsiteY530" fmla="*/ 127217 h 471291"/>
                <a:gd name="connsiteX531" fmla="*/ 76257 w 287641"/>
                <a:gd name="connsiteY531" fmla="*/ 123708 h 471291"/>
                <a:gd name="connsiteX532" fmla="*/ 77114 w 287641"/>
                <a:gd name="connsiteY532" fmla="*/ 121873 h 471291"/>
                <a:gd name="connsiteX533" fmla="*/ 77127 w 287641"/>
                <a:gd name="connsiteY533" fmla="*/ 119986 h 471291"/>
                <a:gd name="connsiteX534" fmla="*/ 76570 w 287641"/>
                <a:gd name="connsiteY534" fmla="*/ 116802 h 471291"/>
                <a:gd name="connsiteX535" fmla="*/ 75095 w 287641"/>
                <a:gd name="connsiteY535" fmla="*/ 109590 h 471291"/>
                <a:gd name="connsiteX536" fmla="*/ 83381 w 287641"/>
                <a:gd name="connsiteY536" fmla="*/ 108696 h 471291"/>
                <a:gd name="connsiteX537" fmla="*/ 86080 w 287641"/>
                <a:gd name="connsiteY537" fmla="*/ 108190 h 471291"/>
                <a:gd name="connsiteX538" fmla="*/ 88585 w 287641"/>
                <a:gd name="connsiteY538" fmla="*/ 107326 h 471291"/>
                <a:gd name="connsiteX539" fmla="*/ 93485 w 287641"/>
                <a:gd name="connsiteY539" fmla="*/ 105086 h 471291"/>
                <a:gd name="connsiteX540" fmla="*/ 95892 w 287641"/>
                <a:gd name="connsiteY540" fmla="*/ 103105 h 471291"/>
                <a:gd name="connsiteX541" fmla="*/ 94547 w 287641"/>
                <a:gd name="connsiteY541" fmla="*/ 96329 h 471291"/>
                <a:gd name="connsiteX542" fmla="*/ 97512 w 287641"/>
                <a:gd name="connsiteY542" fmla="*/ 94031 h 471291"/>
                <a:gd name="connsiteX543" fmla="*/ 104746 w 287641"/>
                <a:gd name="connsiteY543" fmla="*/ 86006 h 471291"/>
                <a:gd name="connsiteX544" fmla="*/ 112563 w 287641"/>
                <a:gd name="connsiteY544" fmla="*/ 78290 h 471291"/>
                <a:gd name="connsiteX545" fmla="*/ 116229 w 287641"/>
                <a:gd name="connsiteY545" fmla="*/ 75362 h 471291"/>
                <a:gd name="connsiteX546" fmla="*/ 116609 w 287641"/>
                <a:gd name="connsiteY546" fmla="*/ 73929 h 471291"/>
                <a:gd name="connsiteX547" fmla="*/ 116910 w 287641"/>
                <a:gd name="connsiteY547" fmla="*/ 71624 h 471291"/>
                <a:gd name="connsiteX548" fmla="*/ 115281 w 287641"/>
                <a:gd name="connsiteY548" fmla="*/ 67999 h 471291"/>
                <a:gd name="connsiteX549" fmla="*/ 113532 w 287641"/>
                <a:gd name="connsiteY549" fmla="*/ 65749 h 471291"/>
                <a:gd name="connsiteX550" fmla="*/ 110125 w 287641"/>
                <a:gd name="connsiteY550" fmla="*/ 61479 h 471291"/>
                <a:gd name="connsiteX551" fmla="*/ 111587 w 287641"/>
                <a:gd name="connsiteY551" fmla="*/ 58496 h 471291"/>
                <a:gd name="connsiteX552" fmla="*/ 114098 w 287641"/>
                <a:gd name="connsiteY552" fmla="*/ 57916 h 471291"/>
                <a:gd name="connsiteX553" fmla="*/ 117415 w 287641"/>
                <a:gd name="connsiteY553" fmla="*/ 56743 h 471291"/>
                <a:gd name="connsiteX554" fmla="*/ 120002 w 287641"/>
                <a:gd name="connsiteY554" fmla="*/ 54187 h 471291"/>
                <a:gd name="connsiteX555" fmla="*/ 120254 w 287641"/>
                <a:gd name="connsiteY555" fmla="*/ 53858 h 471291"/>
                <a:gd name="connsiteX556" fmla="*/ 124634 w 287641"/>
                <a:gd name="connsiteY556" fmla="*/ 43774 h 471291"/>
                <a:gd name="connsiteX557" fmla="*/ 133189 w 287641"/>
                <a:gd name="connsiteY557" fmla="*/ 38646 h 471291"/>
                <a:gd name="connsiteX558" fmla="*/ 136597 w 287641"/>
                <a:gd name="connsiteY558" fmla="*/ 35843 h 471291"/>
                <a:gd name="connsiteX559" fmla="*/ 141907 w 287641"/>
                <a:gd name="connsiteY559" fmla="*/ 37949 h 471291"/>
                <a:gd name="connsiteX560" fmla="*/ 149689 w 287641"/>
                <a:gd name="connsiteY560" fmla="*/ 41124 h 471291"/>
                <a:gd name="connsiteX561" fmla="*/ 153150 w 287641"/>
                <a:gd name="connsiteY561" fmla="*/ 36451 h 471291"/>
                <a:gd name="connsiteX562" fmla="*/ 154295 w 287641"/>
                <a:gd name="connsiteY562" fmla="*/ 34715 h 471291"/>
                <a:gd name="connsiteX563" fmla="*/ 155437 w 287641"/>
                <a:gd name="connsiteY563" fmla="*/ 32154 h 471291"/>
                <a:gd name="connsiteX564" fmla="*/ 154979 w 287641"/>
                <a:gd name="connsiteY564" fmla="*/ 27717 h 471291"/>
                <a:gd name="connsiteX565" fmla="*/ 154783 w 287641"/>
                <a:gd name="connsiteY565" fmla="*/ 21940 h 471291"/>
                <a:gd name="connsiteX566" fmla="*/ 155126 w 287641"/>
                <a:gd name="connsiteY566" fmla="*/ 19614 h 471291"/>
                <a:gd name="connsiteX567" fmla="*/ 158232 w 287641"/>
                <a:gd name="connsiteY567" fmla="*/ 18577 h 471291"/>
                <a:gd name="connsiteX568" fmla="*/ 159903 w 287641"/>
                <a:gd name="connsiteY568" fmla="*/ 18309 h 471291"/>
                <a:gd name="connsiteX569" fmla="*/ 168553 w 287641"/>
                <a:gd name="connsiteY569" fmla="*/ 20702 h 471291"/>
                <a:gd name="connsiteX570" fmla="*/ 170730 w 287641"/>
                <a:gd name="connsiteY570" fmla="*/ 20661 h 471291"/>
                <a:gd name="connsiteX571" fmla="*/ 174807 w 287641"/>
                <a:gd name="connsiteY571" fmla="*/ 20983 h 471291"/>
                <a:gd name="connsiteX572" fmla="*/ 179370 w 287641"/>
                <a:gd name="connsiteY572" fmla="*/ 22034 h 471291"/>
                <a:gd name="connsiteX573" fmla="*/ 188927 w 287641"/>
                <a:gd name="connsiteY573" fmla="*/ 24826 h 471291"/>
                <a:gd name="connsiteX574" fmla="*/ 192881 w 287641"/>
                <a:gd name="connsiteY574" fmla="*/ 25981 h 471291"/>
                <a:gd name="connsiteX575" fmla="*/ 195088 w 287641"/>
                <a:gd name="connsiteY575" fmla="*/ 26205 h 471291"/>
                <a:gd name="connsiteX576" fmla="*/ 196993 w 287641"/>
                <a:gd name="connsiteY576" fmla="*/ 24905 h 471291"/>
                <a:gd name="connsiteX577" fmla="*/ 201063 w 287641"/>
                <a:gd name="connsiteY577" fmla="*/ 21566 h 471291"/>
                <a:gd name="connsiteX578" fmla="*/ 195066 w 287641"/>
                <a:gd name="connsiteY578" fmla="*/ 19091 h 471291"/>
                <a:gd name="connsiteX579" fmla="*/ 199016 w 287641"/>
                <a:gd name="connsiteY579" fmla="*/ 16583 h 471291"/>
                <a:gd name="connsiteX580" fmla="*/ 201063 w 287641"/>
                <a:gd name="connsiteY580" fmla="*/ 14051 h 471291"/>
                <a:gd name="connsiteX581" fmla="*/ 202819 w 287641"/>
                <a:gd name="connsiteY581" fmla="*/ 10934 h 471291"/>
                <a:gd name="connsiteX582" fmla="*/ 203451 w 287641"/>
                <a:gd name="connsiteY582" fmla="*/ 7280 h 471291"/>
                <a:gd name="connsiteX583" fmla="*/ 203209 w 287641"/>
                <a:gd name="connsiteY583" fmla="*/ 5312 h 471291"/>
                <a:gd name="connsiteX584" fmla="*/ 201998 w 287641"/>
                <a:gd name="connsiteY584" fmla="*/ 3971 h 471291"/>
                <a:gd name="connsiteX585" fmla="*/ 198336 w 287641"/>
                <a:gd name="connsiteY585" fmla="*/ 619 h 471291"/>
                <a:gd name="connsiteX586" fmla="*/ 206634 w 287641"/>
                <a:gd name="connsiteY586" fmla="*/ 138 h 471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</a:cxnLst>
              <a:rect l="l" t="t" r="r" b="b"/>
              <a:pathLst>
                <a:path w="287641" h="471291">
                  <a:moveTo>
                    <a:pt x="129980" y="408700"/>
                  </a:moveTo>
                  <a:lnTo>
                    <a:pt x="131392" y="409106"/>
                  </a:lnTo>
                  <a:lnTo>
                    <a:pt x="132021" y="409502"/>
                  </a:lnTo>
                  <a:lnTo>
                    <a:pt x="130533" y="410751"/>
                  </a:lnTo>
                  <a:lnTo>
                    <a:pt x="130706" y="412376"/>
                  </a:lnTo>
                  <a:lnTo>
                    <a:pt x="130602" y="413049"/>
                  </a:lnTo>
                  <a:lnTo>
                    <a:pt x="126847" y="420100"/>
                  </a:lnTo>
                  <a:lnTo>
                    <a:pt x="125843" y="424667"/>
                  </a:lnTo>
                  <a:lnTo>
                    <a:pt x="124511" y="425780"/>
                  </a:lnTo>
                  <a:lnTo>
                    <a:pt x="118993" y="441942"/>
                  </a:lnTo>
                  <a:lnTo>
                    <a:pt x="117858" y="443517"/>
                  </a:lnTo>
                  <a:lnTo>
                    <a:pt x="116851" y="443406"/>
                  </a:lnTo>
                  <a:lnTo>
                    <a:pt x="116180" y="441305"/>
                  </a:lnTo>
                  <a:lnTo>
                    <a:pt x="116022" y="435892"/>
                  </a:lnTo>
                  <a:lnTo>
                    <a:pt x="116424" y="433213"/>
                  </a:lnTo>
                  <a:lnTo>
                    <a:pt x="121246" y="423521"/>
                  </a:lnTo>
                  <a:lnTo>
                    <a:pt x="123398" y="422728"/>
                  </a:lnTo>
                  <a:lnTo>
                    <a:pt x="126426" y="416765"/>
                  </a:lnTo>
                  <a:lnTo>
                    <a:pt x="127242" y="414108"/>
                  </a:lnTo>
                  <a:lnTo>
                    <a:pt x="128555" y="411712"/>
                  </a:lnTo>
                  <a:lnTo>
                    <a:pt x="129330" y="409567"/>
                  </a:lnTo>
                  <a:close/>
                  <a:moveTo>
                    <a:pt x="171445" y="390509"/>
                  </a:moveTo>
                  <a:lnTo>
                    <a:pt x="172680" y="391004"/>
                  </a:lnTo>
                  <a:lnTo>
                    <a:pt x="175334" y="393055"/>
                  </a:lnTo>
                  <a:lnTo>
                    <a:pt x="173505" y="393817"/>
                  </a:lnTo>
                  <a:lnTo>
                    <a:pt x="172429" y="396070"/>
                  </a:lnTo>
                  <a:lnTo>
                    <a:pt x="170948" y="396450"/>
                  </a:lnTo>
                  <a:lnTo>
                    <a:pt x="169527" y="397201"/>
                  </a:lnTo>
                  <a:lnTo>
                    <a:pt x="169020" y="404312"/>
                  </a:lnTo>
                  <a:lnTo>
                    <a:pt x="171607" y="407008"/>
                  </a:lnTo>
                  <a:lnTo>
                    <a:pt x="170186" y="407385"/>
                  </a:lnTo>
                  <a:lnTo>
                    <a:pt x="168886" y="408192"/>
                  </a:lnTo>
                  <a:lnTo>
                    <a:pt x="167957" y="409384"/>
                  </a:lnTo>
                  <a:lnTo>
                    <a:pt x="167007" y="411948"/>
                  </a:lnTo>
                  <a:lnTo>
                    <a:pt x="163438" y="413400"/>
                  </a:lnTo>
                  <a:lnTo>
                    <a:pt x="162086" y="414474"/>
                  </a:lnTo>
                  <a:lnTo>
                    <a:pt x="160093" y="416861"/>
                  </a:lnTo>
                  <a:lnTo>
                    <a:pt x="159054" y="420321"/>
                  </a:lnTo>
                  <a:lnTo>
                    <a:pt x="157035" y="421795"/>
                  </a:lnTo>
                  <a:lnTo>
                    <a:pt x="154768" y="422144"/>
                  </a:lnTo>
                  <a:lnTo>
                    <a:pt x="156098" y="419312"/>
                  </a:lnTo>
                  <a:lnTo>
                    <a:pt x="157841" y="417002"/>
                  </a:lnTo>
                  <a:lnTo>
                    <a:pt x="156165" y="415416"/>
                  </a:lnTo>
                  <a:lnTo>
                    <a:pt x="155156" y="412931"/>
                  </a:lnTo>
                  <a:lnTo>
                    <a:pt x="153855" y="411024"/>
                  </a:lnTo>
                  <a:lnTo>
                    <a:pt x="154891" y="408891"/>
                  </a:lnTo>
                  <a:lnTo>
                    <a:pt x="154381" y="405391"/>
                  </a:lnTo>
                  <a:lnTo>
                    <a:pt x="154550" y="401970"/>
                  </a:lnTo>
                  <a:lnTo>
                    <a:pt x="156061" y="400241"/>
                  </a:lnTo>
                  <a:lnTo>
                    <a:pt x="157793" y="398831"/>
                  </a:lnTo>
                  <a:lnTo>
                    <a:pt x="160490" y="395583"/>
                  </a:lnTo>
                  <a:lnTo>
                    <a:pt x="163414" y="393226"/>
                  </a:lnTo>
                  <a:lnTo>
                    <a:pt x="167493" y="392166"/>
                  </a:lnTo>
                  <a:lnTo>
                    <a:pt x="169335" y="393143"/>
                  </a:lnTo>
                  <a:lnTo>
                    <a:pt x="170130" y="390998"/>
                  </a:lnTo>
                  <a:close/>
                  <a:moveTo>
                    <a:pt x="176625" y="388398"/>
                  </a:moveTo>
                  <a:lnTo>
                    <a:pt x="179860" y="388520"/>
                  </a:lnTo>
                  <a:lnTo>
                    <a:pt x="180972" y="388990"/>
                  </a:lnTo>
                  <a:lnTo>
                    <a:pt x="177100" y="390280"/>
                  </a:lnTo>
                  <a:lnTo>
                    <a:pt x="176703" y="392277"/>
                  </a:lnTo>
                  <a:lnTo>
                    <a:pt x="175556" y="392125"/>
                  </a:lnTo>
                  <a:lnTo>
                    <a:pt x="174511" y="390651"/>
                  </a:lnTo>
                  <a:close/>
                  <a:moveTo>
                    <a:pt x="161812" y="351984"/>
                  </a:moveTo>
                  <a:lnTo>
                    <a:pt x="162267" y="352091"/>
                  </a:lnTo>
                  <a:lnTo>
                    <a:pt x="160734" y="354550"/>
                  </a:lnTo>
                  <a:lnTo>
                    <a:pt x="159754" y="354860"/>
                  </a:lnTo>
                  <a:lnTo>
                    <a:pt x="159268" y="354762"/>
                  </a:lnTo>
                  <a:lnTo>
                    <a:pt x="159873" y="353249"/>
                  </a:lnTo>
                  <a:lnTo>
                    <a:pt x="160322" y="352596"/>
                  </a:lnTo>
                  <a:close/>
                  <a:moveTo>
                    <a:pt x="165261" y="337596"/>
                  </a:moveTo>
                  <a:lnTo>
                    <a:pt x="166975" y="338028"/>
                  </a:lnTo>
                  <a:lnTo>
                    <a:pt x="166964" y="338356"/>
                  </a:lnTo>
                  <a:lnTo>
                    <a:pt x="165325" y="339420"/>
                  </a:lnTo>
                  <a:lnTo>
                    <a:pt x="164697" y="340135"/>
                  </a:lnTo>
                  <a:lnTo>
                    <a:pt x="164142" y="341220"/>
                  </a:lnTo>
                  <a:lnTo>
                    <a:pt x="163585" y="339890"/>
                  </a:lnTo>
                  <a:lnTo>
                    <a:pt x="163807" y="339630"/>
                  </a:lnTo>
                  <a:lnTo>
                    <a:pt x="164187" y="338316"/>
                  </a:lnTo>
                  <a:close/>
                  <a:moveTo>
                    <a:pt x="209512" y="0"/>
                  </a:moveTo>
                  <a:lnTo>
                    <a:pt x="215548" y="2210"/>
                  </a:lnTo>
                  <a:lnTo>
                    <a:pt x="215812" y="2688"/>
                  </a:lnTo>
                  <a:lnTo>
                    <a:pt x="215855" y="3839"/>
                  </a:lnTo>
                  <a:lnTo>
                    <a:pt x="216066" y="5031"/>
                  </a:lnTo>
                  <a:lnTo>
                    <a:pt x="221923" y="8050"/>
                  </a:lnTo>
                  <a:lnTo>
                    <a:pt x="223611" y="9646"/>
                  </a:lnTo>
                  <a:lnTo>
                    <a:pt x="227207" y="12069"/>
                  </a:lnTo>
                  <a:lnTo>
                    <a:pt x="228159" y="13376"/>
                  </a:lnTo>
                  <a:lnTo>
                    <a:pt x="231489" y="14904"/>
                  </a:lnTo>
                  <a:lnTo>
                    <a:pt x="233877" y="16536"/>
                  </a:lnTo>
                  <a:lnTo>
                    <a:pt x="236667" y="17859"/>
                  </a:lnTo>
                  <a:lnTo>
                    <a:pt x="239923" y="19914"/>
                  </a:lnTo>
                  <a:lnTo>
                    <a:pt x="244294" y="21549"/>
                  </a:lnTo>
                  <a:lnTo>
                    <a:pt x="247986" y="22082"/>
                  </a:lnTo>
                  <a:lnTo>
                    <a:pt x="257280" y="24881"/>
                  </a:lnTo>
                  <a:lnTo>
                    <a:pt x="258865" y="25787"/>
                  </a:lnTo>
                  <a:lnTo>
                    <a:pt x="261547" y="27732"/>
                  </a:lnTo>
                  <a:lnTo>
                    <a:pt x="264255" y="29982"/>
                  </a:lnTo>
                  <a:lnTo>
                    <a:pt x="266127" y="34594"/>
                  </a:lnTo>
                  <a:lnTo>
                    <a:pt x="269136" y="34834"/>
                  </a:lnTo>
                  <a:lnTo>
                    <a:pt x="269952" y="36419"/>
                  </a:lnTo>
                  <a:lnTo>
                    <a:pt x="272578" y="39132"/>
                  </a:lnTo>
                  <a:lnTo>
                    <a:pt x="276218" y="41522"/>
                  </a:lnTo>
                  <a:lnTo>
                    <a:pt x="276087" y="42326"/>
                  </a:lnTo>
                  <a:lnTo>
                    <a:pt x="273189" y="44525"/>
                  </a:lnTo>
                  <a:lnTo>
                    <a:pt x="272878" y="47502"/>
                  </a:lnTo>
                  <a:lnTo>
                    <a:pt x="273152" y="51297"/>
                  </a:lnTo>
                  <a:lnTo>
                    <a:pt x="274061" y="54386"/>
                  </a:lnTo>
                  <a:lnTo>
                    <a:pt x="273966" y="55288"/>
                  </a:lnTo>
                  <a:lnTo>
                    <a:pt x="273247" y="56351"/>
                  </a:lnTo>
                  <a:lnTo>
                    <a:pt x="272383" y="58019"/>
                  </a:lnTo>
                  <a:lnTo>
                    <a:pt x="272075" y="59473"/>
                  </a:lnTo>
                  <a:lnTo>
                    <a:pt x="272150" y="60186"/>
                  </a:lnTo>
                  <a:lnTo>
                    <a:pt x="272442" y="60573"/>
                  </a:lnTo>
                  <a:lnTo>
                    <a:pt x="273968" y="60602"/>
                  </a:lnTo>
                  <a:lnTo>
                    <a:pt x="276704" y="60945"/>
                  </a:lnTo>
                  <a:lnTo>
                    <a:pt x="278313" y="61590"/>
                  </a:lnTo>
                  <a:lnTo>
                    <a:pt x="279226" y="65128"/>
                  </a:lnTo>
                  <a:lnTo>
                    <a:pt x="278918" y="65807"/>
                  </a:lnTo>
                  <a:lnTo>
                    <a:pt x="276611" y="67406"/>
                  </a:lnTo>
                  <a:lnTo>
                    <a:pt x="275935" y="68675"/>
                  </a:lnTo>
                  <a:lnTo>
                    <a:pt x="275869" y="70538"/>
                  </a:lnTo>
                  <a:lnTo>
                    <a:pt x="276277" y="72584"/>
                  </a:lnTo>
                  <a:lnTo>
                    <a:pt x="277069" y="74871"/>
                  </a:lnTo>
                  <a:lnTo>
                    <a:pt x="278874" y="77315"/>
                  </a:lnTo>
                  <a:lnTo>
                    <a:pt x="281314" y="79867"/>
                  </a:lnTo>
                  <a:lnTo>
                    <a:pt x="282917" y="81958"/>
                  </a:lnTo>
                  <a:lnTo>
                    <a:pt x="283675" y="83430"/>
                  </a:lnTo>
                  <a:lnTo>
                    <a:pt x="283951" y="84458"/>
                  </a:lnTo>
                  <a:lnTo>
                    <a:pt x="282852" y="85750"/>
                  </a:lnTo>
                  <a:lnTo>
                    <a:pt x="281863" y="88303"/>
                  </a:lnTo>
                  <a:lnTo>
                    <a:pt x="281679" y="91223"/>
                  </a:lnTo>
                  <a:lnTo>
                    <a:pt x="281230" y="93125"/>
                  </a:lnTo>
                  <a:lnTo>
                    <a:pt x="279081" y="95739"/>
                  </a:lnTo>
                  <a:lnTo>
                    <a:pt x="277596" y="96665"/>
                  </a:lnTo>
                  <a:lnTo>
                    <a:pt x="277173" y="98043"/>
                  </a:lnTo>
                  <a:lnTo>
                    <a:pt x="276991" y="100353"/>
                  </a:lnTo>
                  <a:lnTo>
                    <a:pt x="277427" y="103166"/>
                  </a:lnTo>
                  <a:lnTo>
                    <a:pt x="277577" y="105065"/>
                  </a:lnTo>
                  <a:lnTo>
                    <a:pt x="278034" y="106431"/>
                  </a:lnTo>
                  <a:lnTo>
                    <a:pt x="278708" y="107322"/>
                  </a:lnTo>
                  <a:lnTo>
                    <a:pt x="282155" y="108897"/>
                  </a:lnTo>
                  <a:lnTo>
                    <a:pt x="284085" y="112118"/>
                  </a:lnTo>
                  <a:lnTo>
                    <a:pt x="285288" y="114698"/>
                  </a:lnTo>
                  <a:lnTo>
                    <a:pt x="287641" y="121435"/>
                  </a:lnTo>
                  <a:lnTo>
                    <a:pt x="281783" y="122275"/>
                  </a:lnTo>
                  <a:lnTo>
                    <a:pt x="277380" y="120588"/>
                  </a:lnTo>
                  <a:lnTo>
                    <a:pt x="275184" y="121433"/>
                  </a:lnTo>
                  <a:lnTo>
                    <a:pt x="271342" y="121469"/>
                  </a:lnTo>
                  <a:lnTo>
                    <a:pt x="266980" y="122133"/>
                  </a:lnTo>
                  <a:lnTo>
                    <a:pt x="265510" y="123452"/>
                  </a:lnTo>
                  <a:lnTo>
                    <a:pt x="264354" y="123982"/>
                  </a:lnTo>
                  <a:lnTo>
                    <a:pt x="260308" y="122120"/>
                  </a:lnTo>
                  <a:lnTo>
                    <a:pt x="256488" y="119040"/>
                  </a:lnTo>
                  <a:lnTo>
                    <a:pt x="253696" y="121389"/>
                  </a:lnTo>
                  <a:lnTo>
                    <a:pt x="251889" y="121834"/>
                  </a:lnTo>
                  <a:lnTo>
                    <a:pt x="250265" y="119708"/>
                  </a:lnTo>
                  <a:lnTo>
                    <a:pt x="248846" y="119363"/>
                  </a:lnTo>
                  <a:lnTo>
                    <a:pt x="248079" y="120072"/>
                  </a:lnTo>
                  <a:lnTo>
                    <a:pt x="247408" y="121949"/>
                  </a:lnTo>
                  <a:lnTo>
                    <a:pt x="246339" y="123425"/>
                  </a:lnTo>
                  <a:lnTo>
                    <a:pt x="246060" y="124359"/>
                  </a:lnTo>
                  <a:lnTo>
                    <a:pt x="245875" y="128120"/>
                  </a:lnTo>
                  <a:lnTo>
                    <a:pt x="245596" y="128991"/>
                  </a:lnTo>
                  <a:lnTo>
                    <a:pt x="241886" y="128505"/>
                  </a:lnTo>
                  <a:lnTo>
                    <a:pt x="242109" y="129491"/>
                  </a:lnTo>
                  <a:lnTo>
                    <a:pt x="242916" y="129987"/>
                  </a:lnTo>
                  <a:lnTo>
                    <a:pt x="243242" y="130612"/>
                  </a:lnTo>
                  <a:lnTo>
                    <a:pt x="241897" y="131433"/>
                  </a:lnTo>
                  <a:lnTo>
                    <a:pt x="238213" y="131356"/>
                  </a:lnTo>
                  <a:lnTo>
                    <a:pt x="237837" y="132227"/>
                  </a:lnTo>
                  <a:lnTo>
                    <a:pt x="238874" y="133603"/>
                  </a:lnTo>
                  <a:lnTo>
                    <a:pt x="238066" y="134807"/>
                  </a:lnTo>
                  <a:lnTo>
                    <a:pt x="237317" y="135281"/>
                  </a:lnTo>
                  <a:lnTo>
                    <a:pt x="232918" y="136028"/>
                  </a:lnTo>
                  <a:lnTo>
                    <a:pt x="230372" y="135857"/>
                  </a:lnTo>
                  <a:lnTo>
                    <a:pt x="229645" y="136636"/>
                  </a:lnTo>
                  <a:lnTo>
                    <a:pt x="229441" y="137647"/>
                  </a:lnTo>
                  <a:lnTo>
                    <a:pt x="229923" y="138639"/>
                  </a:lnTo>
                  <a:lnTo>
                    <a:pt x="231046" y="139167"/>
                  </a:lnTo>
                  <a:lnTo>
                    <a:pt x="231415" y="139796"/>
                  </a:lnTo>
                  <a:lnTo>
                    <a:pt x="231338" y="141158"/>
                  </a:lnTo>
                  <a:lnTo>
                    <a:pt x="230403" y="141405"/>
                  </a:lnTo>
                  <a:lnTo>
                    <a:pt x="227749" y="139012"/>
                  </a:lnTo>
                  <a:lnTo>
                    <a:pt x="226941" y="139135"/>
                  </a:lnTo>
                  <a:lnTo>
                    <a:pt x="227548" y="140380"/>
                  </a:lnTo>
                  <a:lnTo>
                    <a:pt x="229064" y="141736"/>
                  </a:lnTo>
                  <a:lnTo>
                    <a:pt x="229940" y="143120"/>
                  </a:lnTo>
                  <a:lnTo>
                    <a:pt x="230707" y="144785"/>
                  </a:lnTo>
                  <a:lnTo>
                    <a:pt x="230558" y="146046"/>
                  </a:lnTo>
                  <a:lnTo>
                    <a:pt x="227263" y="150112"/>
                  </a:lnTo>
                  <a:lnTo>
                    <a:pt x="224363" y="152677"/>
                  </a:lnTo>
                  <a:lnTo>
                    <a:pt x="222199" y="154984"/>
                  </a:lnTo>
                  <a:lnTo>
                    <a:pt x="220923" y="157427"/>
                  </a:lnTo>
                  <a:lnTo>
                    <a:pt x="222400" y="158658"/>
                  </a:lnTo>
                  <a:lnTo>
                    <a:pt x="224043" y="160431"/>
                  </a:lnTo>
                  <a:lnTo>
                    <a:pt x="225198" y="163837"/>
                  </a:lnTo>
                  <a:lnTo>
                    <a:pt x="226576" y="166868"/>
                  </a:lnTo>
                  <a:lnTo>
                    <a:pt x="229357" y="169760"/>
                  </a:lnTo>
                  <a:lnTo>
                    <a:pt x="228798" y="171430"/>
                  </a:lnTo>
                  <a:lnTo>
                    <a:pt x="228150" y="172728"/>
                  </a:lnTo>
                  <a:lnTo>
                    <a:pt x="223523" y="175583"/>
                  </a:lnTo>
                  <a:lnTo>
                    <a:pt x="218276" y="179878"/>
                  </a:lnTo>
                  <a:lnTo>
                    <a:pt x="212620" y="190827"/>
                  </a:lnTo>
                  <a:lnTo>
                    <a:pt x="210739" y="192290"/>
                  </a:lnTo>
                  <a:lnTo>
                    <a:pt x="205788" y="194137"/>
                  </a:lnTo>
                  <a:lnTo>
                    <a:pt x="203967" y="195923"/>
                  </a:lnTo>
                  <a:lnTo>
                    <a:pt x="200281" y="198045"/>
                  </a:lnTo>
                  <a:lnTo>
                    <a:pt x="193846" y="199865"/>
                  </a:lnTo>
                  <a:lnTo>
                    <a:pt x="190927" y="202400"/>
                  </a:lnTo>
                  <a:lnTo>
                    <a:pt x="189609" y="205019"/>
                  </a:lnTo>
                  <a:lnTo>
                    <a:pt x="188143" y="205205"/>
                  </a:lnTo>
                  <a:lnTo>
                    <a:pt x="186690" y="204182"/>
                  </a:lnTo>
                  <a:lnTo>
                    <a:pt x="184751" y="203420"/>
                  </a:lnTo>
                  <a:lnTo>
                    <a:pt x="184498" y="205128"/>
                  </a:lnTo>
                  <a:lnTo>
                    <a:pt x="184580" y="206381"/>
                  </a:lnTo>
                  <a:lnTo>
                    <a:pt x="181477" y="204524"/>
                  </a:lnTo>
                  <a:lnTo>
                    <a:pt x="180013" y="206227"/>
                  </a:lnTo>
                  <a:lnTo>
                    <a:pt x="178869" y="209070"/>
                  </a:lnTo>
                  <a:lnTo>
                    <a:pt x="174403" y="212891"/>
                  </a:lnTo>
                  <a:lnTo>
                    <a:pt x="169590" y="212204"/>
                  </a:lnTo>
                  <a:lnTo>
                    <a:pt x="169050" y="212878"/>
                  </a:lnTo>
                  <a:lnTo>
                    <a:pt x="170331" y="213366"/>
                  </a:lnTo>
                  <a:lnTo>
                    <a:pt x="170525" y="213976"/>
                  </a:lnTo>
                  <a:lnTo>
                    <a:pt x="169651" y="214301"/>
                  </a:lnTo>
                  <a:lnTo>
                    <a:pt x="168327" y="214267"/>
                  </a:lnTo>
                  <a:lnTo>
                    <a:pt x="166284" y="215021"/>
                  </a:lnTo>
                  <a:lnTo>
                    <a:pt x="164941" y="214962"/>
                  </a:lnTo>
                  <a:lnTo>
                    <a:pt x="164304" y="216765"/>
                  </a:lnTo>
                  <a:lnTo>
                    <a:pt x="163265" y="218950"/>
                  </a:lnTo>
                  <a:lnTo>
                    <a:pt x="160546" y="219854"/>
                  </a:lnTo>
                  <a:lnTo>
                    <a:pt x="159143" y="220040"/>
                  </a:lnTo>
                  <a:lnTo>
                    <a:pt x="158450" y="221281"/>
                  </a:lnTo>
                  <a:lnTo>
                    <a:pt x="162632" y="221541"/>
                  </a:lnTo>
                  <a:lnTo>
                    <a:pt x="162298" y="222591"/>
                  </a:lnTo>
                  <a:lnTo>
                    <a:pt x="162203" y="223640"/>
                  </a:lnTo>
                  <a:lnTo>
                    <a:pt x="161771" y="224765"/>
                  </a:lnTo>
                  <a:lnTo>
                    <a:pt x="157016" y="226384"/>
                  </a:lnTo>
                  <a:lnTo>
                    <a:pt x="156284" y="227659"/>
                  </a:lnTo>
                  <a:lnTo>
                    <a:pt x="155291" y="228449"/>
                  </a:lnTo>
                  <a:lnTo>
                    <a:pt x="153176" y="228404"/>
                  </a:lnTo>
                  <a:lnTo>
                    <a:pt x="153254" y="227668"/>
                  </a:lnTo>
                  <a:lnTo>
                    <a:pt x="153600" y="226835"/>
                  </a:lnTo>
                  <a:lnTo>
                    <a:pt x="150449" y="226910"/>
                  </a:lnTo>
                  <a:lnTo>
                    <a:pt x="149467" y="225080"/>
                  </a:lnTo>
                  <a:lnTo>
                    <a:pt x="148869" y="225549"/>
                  </a:lnTo>
                  <a:lnTo>
                    <a:pt x="149223" y="227026"/>
                  </a:lnTo>
                  <a:lnTo>
                    <a:pt x="150048" y="228561"/>
                  </a:lnTo>
                  <a:lnTo>
                    <a:pt x="150965" y="230809"/>
                  </a:lnTo>
                  <a:lnTo>
                    <a:pt x="150220" y="232230"/>
                  </a:lnTo>
                  <a:lnTo>
                    <a:pt x="149387" y="232934"/>
                  </a:lnTo>
                  <a:lnTo>
                    <a:pt x="149994" y="233584"/>
                  </a:lnTo>
                  <a:lnTo>
                    <a:pt x="151676" y="234079"/>
                  </a:lnTo>
                  <a:lnTo>
                    <a:pt x="152356" y="234966"/>
                  </a:lnTo>
                  <a:lnTo>
                    <a:pt x="150361" y="235726"/>
                  </a:lnTo>
                  <a:lnTo>
                    <a:pt x="147871" y="238333"/>
                  </a:lnTo>
                  <a:lnTo>
                    <a:pt x="145290" y="238397"/>
                  </a:lnTo>
                  <a:lnTo>
                    <a:pt x="143712" y="240117"/>
                  </a:lnTo>
                  <a:lnTo>
                    <a:pt x="142036" y="240111"/>
                  </a:lnTo>
                  <a:lnTo>
                    <a:pt x="140674" y="239028"/>
                  </a:lnTo>
                  <a:lnTo>
                    <a:pt x="138490" y="238138"/>
                  </a:lnTo>
                  <a:lnTo>
                    <a:pt x="137787" y="239707"/>
                  </a:lnTo>
                  <a:lnTo>
                    <a:pt x="137674" y="240954"/>
                  </a:lnTo>
                  <a:lnTo>
                    <a:pt x="138905" y="244105"/>
                  </a:lnTo>
                  <a:lnTo>
                    <a:pt x="141255" y="246541"/>
                  </a:lnTo>
                  <a:lnTo>
                    <a:pt x="143431" y="247592"/>
                  </a:lnTo>
                  <a:lnTo>
                    <a:pt x="141865" y="248301"/>
                  </a:lnTo>
                  <a:lnTo>
                    <a:pt x="140700" y="249875"/>
                  </a:lnTo>
                  <a:lnTo>
                    <a:pt x="139294" y="254783"/>
                  </a:lnTo>
                  <a:lnTo>
                    <a:pt x="138529" y="256712"/>
                  </a:lnTo>
                  <a:lnTo>
                    <a:pt x="137700" y="260113"/>
                  </a:lnTo>
                  <a:lnTo>
                    <a:pt x="138225" y="262978"/>
                  </a:lnTo>
                  <a:lnTo>
                    <a:pt x="138646" y="264385"/>
                  </a:lnTo>
                  <a:lnTo>
                    <a:pt x="139711" y="266294"/>
                  </a:lnTo>
                  <a:lnTo>
                    <a:pt x="136817" y="266048"/>
                  </a:lnTo>
                  <a:lnTo>
                    <a:pt x="133761" y="264933"/>
                  </a:lnTo>
                  <a:lnTo>
                    <a:pt x="134187" y="267248"/>
                  </a:lnTo>
                  <a:lnTo>
                    <a:pt x="132310" y="269981"/>
                  </a:lnTo>
                  <a:lnTo>
                    <a:pt x="132660" y="272389"/>
                  </a:lnTo>
                  <a:lnTo>
                    <a:pt x="133051" y="273956"/>
                  </a:lnTo>
                  <a:lnTo>
                    <a:pt x="132470" y="276546"/>
                  </a:lnTo>
                  <a:lnTo>
                    <a:pt x="133353" y="277359"/>
                  </a:lnTo>
                  <a:lnTo>
                    <a:pt x="133833" y="278899"/>
                  </a:lnTo>
                  <a:lnTo>
                    <a:pt x="133042" y="280036"/>
                  </a:lnTo>
                  <a:lnTo>
                    <a:pt x="133394" y="281014"/>
                  </a:lnTo>
                  <a:lnTo>
                    <a:pt x="133526" y="284473"/>
                  </a:lnTo>
                  <a:lnTo>
                    <a:pt x="134126" y="289873"/>
                  </a:lnTo>
                  <a:lnTo>
                    <a:pt x="133906" y="291014"/>
                  </a:lnTo>
                  <a:lnTo>
                    <a:pt x="135586" y="295695"/>
                  </a:lnTo>
                  <a:lnTo>
                    <a:pt x="135195" y="297333"/>
                  </a:lnTo>
                  <a:lnTo>
                    <a:pt x="134969" y="299419"/>
                  </a:lnTo>
                  <a:lnTo>
                    <a:pt x="137376" y="301421"/>
                  </a:lnTo>
                  <a:lnTo>
                    <a:pt x="139525" y="301389"/>
                  </a:lnTo>
                  <a:lnTo>
                    <a:pt x="141702" y="301358"/>
                  </a:lnTo>
                  <a:lnTo>
                    <a:pt x="142533" y="301860"/>
                  </a:lnTo>
                  <a:lnTo>
                    <a:pt x="143367" y="303275"/>
                  </a:lnTo>
                  <a:lnTo>
                    <a:pt x="144038" y="304945"/>
                  </a:lnTo>
                  <a:lnTo>
                    <a:pt x="145830" y="304807"/>
                  </a:lnTo>
                  <a:lnTo>
                    <a:pt x="148691" y="303448"/>
                  </a:lnTo>
                  <a:lnTo>
                    <a:pt x="150553" y="303124"/>
                  </a:lnTo>
                  <a:lnTo>
                    <a:pt x="151782" y="305736"/>
                  </a:lnTo>
                  <a:lnTo>
                    <a:pt x="155124" y="309182"/>
                  </a:lnTo>
                  <a:lnTo>
                    <a:pt x="157070" y="310724"/>
                  </a:lnTo>
                  <a:lnTo>
                    <a:pt x="160376" y="311535"/>
                  </a:lnTo>
                  <a:lnTo>
                    <a:pt x="163859" y="314308"/>
                  </a:lnTo>
                  <a:lnTo>
                    <a:pt x="163371" y="317646"/>
                  </a:lnTo>
                  <a:lnTo>
                    <a:pt x="164824" y="318760"/>
                  </a:lnTo>
                  <a:lnTo>
                    <a:pt x="168934" y="320076"/>
                  </a:lnTo>
                  <a:lnTo>
                    <a:pt x="170387" y="321849"/>
                  </a:lnTo>
                  <a:lnTo>
                    <a:pt x="171084" y="323359"/>
                  </a:lnTo>
                  <a:lnTo>
                    <a:pt x="172166" y="324611"/>
                  </a:lnTo>
                  <a:lnTo>
                    <a:pt x="173431" y="328388"/>
                  </a:lnTo>
                  <a:lnTo>
                    <a:pt x="172991" y="330712"/>
                  </a:lnTo>
                  <a:lnTo>
                    <a:pt x="171335" y="331510"/>
                  </a:lnTo>
                  <a:lnTo>
                    <a:pt x="167424" y="333997"/>
                  </a:lnTo>
                  <a:lnTo>
                    <a:pt x="165681" y="335851"/>
                  </a:lnTo>
                  <a:lnTo>
                    <a:pt x="164314" y="337006"/>
                  </a:lnTo>
                  <a:lnTo>
                    <a:pt x="160430" y="339479"/>
                  </a:lnTo>
                  <a:lnTo>
                    <a:pt x="159007" y="339923"/>
                  </a:lnTo>
                  <a:lnTo>
                    <a:pt x="157644" y="341207"/>
                  </a:lnTo>
                  <a:lnTo>
                    <a:pt x="156327" y="341769"/>
                  </a:lnTo>
                  <a:lnTo>
                    <a:pt x="155148" y="341446"/>
                  </a:lnTo>
                  <a:lnTo>
                    <a:pt x="150740" y="343770"/>
                  </a:lnTo>
                  <a:lnTo>
                    <a:pt x="151084" y="344762"/>
                  </a:lnTo>
                  <a:lnTo>
                    <a:pt x="154464" y="345182"/>
                  </a:lnTo>
                  <a:lnTo>
                    <a:pt x="156187" y="344684"/>
                  </a:lnTo>
                  <a:lnTo>
                    <a:pt x="157513" y="343516"/>
                  </a:lnTo>
                  <a:lnTo>
                    <a:pt x="158961" y="343248"/>
                  </a:lnTo>
                  <a:lnTo>
                    <a:pt x="160283" y="343468"/>
                  </a:lnTo>
                  <a:lnTo>
                    <a:pt x="161684" y="342548"/>
                  </a:lnTo>
                  <a:lnTo>
                    <a:pt x="162784" y="342180"/>
                  </a:lnTo>
                  <a:lnTo>
                    <a:pt x="163920" y="342621"/>
                  </a:lnTo>
                  <a:lnTo>
                    <a:pt x="165187" y="344828"/>
                  </a:lnTo>
                  <a:lnTo>
                    <a:pt x="162557" y="345976"/>
                  </a:lnTo>
                  <a:lnTo>
                    <a:pt x="160691" y="346028"/>
                  </a:lnTo>
                  <a:lnTo>
                    <a:pt x="159780" y="349640"/>
                  </a:lnTo>
                  <a:lnTo>
                    <a:pt x="158650" y="351190"/>
                  </a:lnTo>
                  <a:lnTo>
                    <a:pt x="157841" y="351935"/>
                  </a:lnTo>
                  <a:lnTo>
                    <a:pt x="153701" y="353469"/>
                  </a:lnTo>
                  <a:lnTo>
                    <a:pt x="150970" y="355412"/>
                  </a:lnTo>
                  <a:lnTo>
                    <a:pt x="147750" y="356975"/>
                  </a:lnTo>
                  <a:lnTo>
                    <a:pt x="146344" y="356635"/>
                  </a:lnTo>
                  <a:lnTo>
                    <a:pt x="144226" y="358223"/>
                  </a:lnTo>
                  <a:lnTo>
                    <a:pt x="139518" y="360101"/>
                  </a:lnTo>
                  <a:lnTo>
                    <a:pt x="137106" y="362629"/>
                  </a:lnTo>
                  <a:lnTo>
                    <a:pt x="131693" y="364888"/>
                  </a:lnTo>
                  <a:lnTo>
                    <a:pt x="128935" y="366724"/>
                  </a:lnTo>
                  <a:lnTo>
                    <a:pt x="121444" y="366820"/>
                  </a:lnTo>
                  <a:lnTo>
                    <a:pt x="114290" y="366417"/>
                  </a:lnTo>
                  <a:lnTo>
                    <a:pt x="112044" y="367290"/>
                  </a:lnTo>
                  <a:lnTo>
                    <a:pt x="114340" y="367560"/>
                  </a:lnTo>
                  <a:lnTo>
                    <a:pt x="115948" y="368416"/>
                  </a:lnTo>
                  <a:lnTo>
                    <a:pt x="117877" y="368059"/>
                  </a:lnTo>
                  <a:lnTo>
                    <a:pt x="122410" y="368487"/>
                  </a:lnTo>
                  <a:lnTo>
                    <a:pt x="124742" y="368953"/>
                  </a:lnTo>
                  <a:lnTo>
                    <a:pt x="127735" y="371949"/>
                  </a:lnTo>
                  <a:lnTo>
                    <a:pt x="125534" y="373013"/>
                  </a:lnTo>
                  <a:lnTo>
                    <a:pt x="121723" y="373829"/>
                  </a:lnTo>
                  <a:lnTo>
                    <a:pt x="123152" y="378067"/>
                  </a:lnTo>
                  <a:lnTo>
                    <a:pt x="124331" y="380919"/>
                  </a:lnTo>
                  <a:lnTo>
                    <a:pt x="122788" y="382639"/>
                  </a:lnTo>
                  <a:lnTo>
                    <a:pt x="122673" y="390443"/>
                  </a:lnTo>
                  <a:lnTo>
                    <a:pt x="120507" y="390592"/>
                  </a:lnTo>
                  <a:lnTo>
                    <a:pt x="119587" y="393812"/>
                  </a:lnTo>
                  <a:lnTo>
                    <a:pt x="120269" y="395452"/>
                  </a:lnTo>
                  <a:lnTo>
                    <a:pt x="120216" y="399257"/>
                  </a:lnTo>
                  <a:lnTo>
                    <a:pt x="120667" y="401599"/>
                  </a:lnTo>
                  <a:lnTo>
                    <a:pt x="121729" y="403752"/>
                  </a:lnTo>
                  <a:lnTo>
                    <a:pt x="121256" y="405996"/>
                  </a:lnTo>
                  <a:lnTo>
                    <a:pt x="117832" y="411238"/>
                  </a:lnTo>
                  <a:lnTo>
                    <a:pt x="117910" y="413693"/>
                  </a:lnTo>
                  <a:lnTo>
                    <a:pt x="118525" y="415150"/>
                  </a:lnTo>
                  <a:lnTo>
                    <a:pt x="118980" y="417477"/>
                  </a:lnTo>
                  <a:lnTo>
                    <a:pt x="117424" y="421945"/>
                  </a:lnTo>
                  <a:lnTo>
                    <a:pt x="116324" y="425671"/>
                  </a:lnTo>
                  <a:lnTo>
                    <a:pt x="115018" y="428802"/>
                  </a:lnTo>
                  <a:lnTo>
                    <a:pt x="112094" y="432553"/>
                  </a:lnTo>
                  <a:lnTo>
                    <a:pt x="110639" y="435353"/>
                  </a:lnTo>
                  <a:lnTo>
                    <a:pt x="107233" y="444067"/>
                  </a:lnTo>
                  <a:lnTo>
                    <a:pt x="105545" y="445792"/>
                  </a:lnTo>
                  <a:lnTo>
                    <a:pt x="103474" y="447117"/>
                  </a:lnTo>
                  <a:lnTo>
                    <a:pt x="101166" y="445891"/>
                  </a:lnTo>
                  <a:lnTo>
                    <a:pt x="99049" y="445223"/>
                  </a:lnTo>
                  <a:lnTo>
                    <a:pt x="96464" y="445304"/>
                  </a:lnTo>
                  <a:lnTo>
                    <a:pt x="92416" y="446309"/>
                  </a:lnTo>
                  <a:lnTo>
                    <a:pt x="86326" y="445641"/>
                  </a:lnTo>
                  <a:lnTo>
                    <a:pt x="80375" y="445963"/>
                  </a:lnTo>
                  <a:lnTo>
                    <a:pt x="78870" y="446831"/>
                  </a:lnTo>
                  <a:lnTo>
                    <a:pt x="79772" y="449981"/>
                  </a:lnTo>
                  <a:lnTo>
                    <a:pt x="77579" y="450394"/>
                  </a:lnTo>
                  <a:lnTo>
                    <a:pt x="75434" y="449498"/>
                  </a:lnTo>
                  <a:lnTo>
                    <a:pt x="73547" y="450567"/>
                  </a:lnTo>
                  <a:lnTo>
                    <a:pt x="71970" y="451739"/>
                  </a:lnTo>
                  <a:lnTo>
                    <a:pt x="68874" y="454516"/>
                  </a:lnTo>
                  <a:lnTo>
                    <a:pt x="67837" y="456225"/>
                  </a:lnTo>
                  <a:lnTo>
                    <a:pt x="67570" y="459439"/>
                  </a:lnTo>
                  <a:lnTo>
                    <a:pt x="69196" y="462318"/>
                  </a:lnTo>
                  <a:lnTo>
                    <a:pt x="70638" y="465684"/>
                  </a:lnTo>
                  <a:lnTo>
                    <a:pt x="66924" y="469739"/>
                  </a:lnTo>
                  <a:lnTo>
                    <a:pt x="64851" y="469876"/>
                  </a:lnTo>
                  <a:lnTo>
                    <a:pt x="58800" y="468752"/>
                  </a:lnTo>
                  <a:lnTo>
                    <a:pt x="48077" y="471291"/>
                  </a:lnTo>
                  <a:lnTo>
                    <a:pt x="38446" y="469283"/>
                  </a:lnTo>
                  <a:lnTo>
                    <a:pt x="39657" y="467112"/>
                  </a:lnTo>
                  <a:lnTo>
                    <a:pt x="39617" y="465514"/>
                  </a:lnTo>
                  <a:lnTo>
                    <a:pt x="40161" y="463055"/>
                  </a:lnTo>
                  <a:lnTo>
                    <a:pt x="40484" y="460536"/>
                  </a:lnTo>
                  <a:lnTo>
                    <a:pt x="40394" y="458849"/>
                  </a:lnTo>
                  <a:lnTo>
                    <a:pt x="39688" y="457050"/>
                  </a:lnTo>
                  <a:lnTo>
                    <a:pt x="37313" y="454694"/>
                  </a:lnTo>
                  <a:lnTo>
                    <a:pt x="31961" y="446722"/>
                  </a:lnTo>
                  <a:lnTo>
                    <a:pt x="30378" y="443349"/>
                  </a:lnTo>
                  <a:lnTo>
                    <a:pt x="29277" y="441942"/>
                  </a:lnTo>
                  <a:lnTo>
                    <a:pt x="30070" y="441866"/>
                  </a:lnTo>
                  <a:lnTo>
                    <a:pt x="34477" y="443679"/>
                  </a:lnTo>
                  <a:lnTo>
                    <a:pt x="35505" y="443456"/>
                  </a:lnTo>
                  <a:lnTo>
                    <a:pt x="36585" y="442775"/>
                  </a:lnTo>
                  <a:lnTo>
                    <a:pt x="35270" y="440179"/>
                  </a:lnTo>
                  <a:lnTo>
                    <a:pt x="34140" y="439003"/>
                  </a:lnTo>
                  <a:lnTo>
                    <a:pt x="33374" y="437243"/>
                  </a:lnTo>
                  <a:lnTo>
                    <a:pt x="35954" y="436767"/>
                  </a:lnTo>
                  <a:lnTo>
                    <a:pt x="37818" y="436872"/>
                  </a:lnTo>
                  <a:lnTo>
                    <a:pt x="39191" y="434890"/>
                  </a:lnTo>
                  <a:lnTo>
                    <a:pt x="38399" y="431681"/>
                  </a:lnTo>
                  <a:lnTo>
                    <a:pt x="36397" y="430693"/>
                  </a:lnTo>
                  <a:lnTo>
                    <a:pt x="34725" y="430263"/>
                  </a:lnTo>
                  <a:lnTo>
                    <a:pt x="31521" y="425210"/>
                  </a:lnTo>
                  <a:lnTo>
                    <a:pt x="28178" y="422589"/>
                  </a:lnTo>
                  <a:lnTo>
                    <a:pt x="22216" y="412449"/>
                  </a:lnTo>
                  <a:lnTo>
                    <a:pt x="20035" y="405461"/>
                  </a:lnTo>
                  <a:lnTo>
                    <a:pt x="18008" y="406126"/>
                  </a:lnTo>
                  <a:lnTo>
                    <a:pt x="17023" y="403076"/>
                  </a:lnTo>
                  <a:lnTo>
                    <a:pt x="16317" y="400184"/>
                  </a:lnTo>
                  <a:lnTo>
                    <a:pt x="16176" y="398055"/>
                  </a:lnTo>
                  <a:lnTo>
                    <a:pt x="12998" y="396834"/>
                  </a:lnTo>
                  <a:lnTo>
                    <a:pt x="12868" y="395340"/>
                  </a:lnTo>
                  <a:lnTo>
                    <a:pt x="12296" y="388660"/>
                  </a:lnTo>
                  <a:lnTo>
                    <a:pt x="8886" y="387761"/>
                  </a:lnTo>
                  <a:lnTo>
                    <a:pt x="6681" y="384002"/>
                  </a:lnTo>
                  <a:lnTo>
                    <a:pt x="6288" y="376872"/>
                  </a:lnTo>
                  <a:lnTo>
                    <a:pt x="4043" y="375571"/>
                  </a:lnTo>
                  <a:lnTo>
                    <a:pt x="2235" y="375932"/>
                  </a:lnTo>
                  <a:lnTo>
                    <a:pt x="2320" y="374160"/>
                  </a:lnTo>
                  <a:lnTo>
                    <a:pt x="2751" y="372496"/>
                  </a:lnTo>
                  <a:lnTo>
                    <a:pt x="1696" y="365889"/>
                  </a:lnTo>
                  <a:lnTo>
                    <a:pt x="1343" y="359841"/>
                  </a:lnTo>
                  <a:lnTo>
                    <a:pt x="486" y="358012"/>
                  </a:lnTo>
                  <a:lnTo>
                    <a:pt x="0" y="355868"/>
                  </a:lnTo>
                  <a:lnTo>
                    <a:pt x="436" y="354014"/>
                  </a:lnTo>
                  <a:lnTo>
                    <a:pt x="1076" y="352949"/>
                  </a:lnTo>
                  <a:lnTo>
                    <a:pt x="3276" y="352669"/>
                  </a:lnTo>
                  <a:lnTo>
                    <a:pt x="5332" y="354309"/>
                  </a:lnTo>
                  <a:lnTo>
                    <a:pt x="7154" y="358440"/>
                  </a:lnTo>
                  <a:lnTo>
                    <a:pt x="8765" y="358977"/>
                  </a:lnTo>
                  <a:lnTo>
                    <a:pt x="10959" y="357902"/>
                  </a:lnTo>
                  <a:lnTo>
                    <a:pt x="12495" y="354890"/>
                  </a:lnTo>
                  <a:lnTo>
                    <a:pt x="13371" y="350363"/>
                  </a:lnTo>
                  <a:lnTo>
                    <a:pt x="14395" y="346042"/>
                  </a:lnTo>
                  <a:lnTo>
                    <a:pt x="13183" y="341411"/>
                  </a:lnTo>
                  <a:lnTo>
                    <a:pt x="11890" y="337334"/>
                  </a:lnTo>
                  <a:lnTo>
                    <a:pt x="11799" y="336135"/>
                  </a:lnTo>
                  <a:lnTo>
                    <a:pt x="15194" y="332688"/>
                  </a:lnTo>
                  <a:lnTo>
                    <a:pt x="16232" y="329881"/>
                  </a:lnTo>
                  <a:lnTo>
                    <a:pt x="17358" y="327204"/>
                  </a:lnTo>
                  <a:lnTo>
                    <a:pt x="18599" y="326293"/>
                  </a:lnTo>
                  <a:lnTo>
                    <a:pt x="20448" y="326085"/>
                  </a:lnTo>
                  <a:lnTo>
                    <a:pt x="22601" y="325581"/>
                  </a:lnTo>
                  <a:lnTo>
                    <a:pt x="25315" y="323786"/>
                  </a:lnTo>
                  <a:lnTo>
                    <a:pt x="27748" y="321381"/>
                  </a:lnTo>
                  <a:lnTo>
                    <a:pt x="29608" y="319172"/>
                  </a:lnTo>
                  <a:lnTo>
                    <a:pt x="30238" y="314796"/>
                  </a:lnTo>
                  <a:lnTo>
                    <a:pt x="30264" y="312594"/>
                  </a:lnTo>
                  <a:lnTo>
                    <a:pt x="31083" y="310957"/>
                  </a:lnTo>
                  <a:lnTo>
                    <a:pt x="31875" y="307757"/>
                  </a:lnTo>
                  <a:lnTo>
                    <a:pt x="31104" y="304595"/>
                  </a:lnTo>
                  <a:lnTo>
                    <a:pt x="28705" y="299791"/>
                  </a:lnTo>
                  <a:lnTo>
                    <a:pt x="25816" y="293016"/>
                  </a:lnTo>
                  <a:lnTo>
                    <a:pt x="25362" y="289308"/>
                  </a:lnTo>
                  <a:lnTo>
                    <a:pt x="26679" y="288619"/>
                  </a:lnTo>
                  <a:lnTo>
                    <a:pt x="29198" y="288004"/>
                  </a:lnTo>
                  <a:lnTo>
                    <a:pt x="33961" y="287826"/>
                  </a:lnTo>
                  <a:lnTo>
                    <a:pt x="34471" y="287388"/>
                  </a:lnTo>
                  <a:lnTo>
                    <a:pt x="34952" y="285761"/>
                  </a:lnTo>
                  <a:lnTo>
                    <a:pt x="36025" y="283550"/>
                  </a:lnTo>
                  <a:lnTo>
                    <a:pt x="37172" y="281938"/>
                  </a:lnTo>
                  <a:lnTo>
                    <a:pt x="37956" y="279631"/>
                  </a:lnTo>
                  <a:lnTo>
                    <a:pt x="38334" y="277538"/>
                  </a:lnTo>
                  <a:lnTo>
                    <a:pt x="35609" y="274382"/>
                  </a:lnTo>
                  <a:lnTo>
                    <a:pt x="32039" y="271147"/>
                  </a:lnTo>
                  <a:lnTo>
                    <a:pt x="29623" y="270074"/>
                  </a:lnTo>
                  <a:lnTo>
                    <a:pt x="25317" y="267346"/>
                  </a:lnTo>
                  <a:lnTo>
                    <a:pt x="22294" y="265062"/>
                  </a:lnTo>
                  <a:lnTo>
                    <a:pt x="24026" y="256346"/>
                  </a:lnTo>
                  <a:lnTo>
                    <a:pt x="25315" y="249836"/>
                  </a:lnTo>
                  <a:lnTo>
                    <a:pt x="25522" y="248251"/>
                  </a:lnTo>
                  <a:lnTo>
                    <a:pt x="25570" y="245790"/>
                  </a:lnTo>
                  <a:lnTo>
                    <a:pt x="21391" y="235264"/>
                  </a:lnTo>
                  <a:lnTo>
                    <a:pt x="21553" y="232916"/>
                  </a:lnTo>
                  <a:lnTo>
                    <a:pt x="21951" y="230799"/>
                  </a:lnTo>
                  <a:lnTo>
                    <a:pt x="21503" y="227185"/>
                  </a:lnTo>
                  <a:lnTo>
                    <a:pt x="21260" y="223946"/>
                  </a:lnTo>
                  <a:lnTo>
                    <a:pt x="21977" y="222963"/>
                  </a:lnTo>
                  <a:lnTo>
                    <a:pt x="23682" y="221133"/>
                  </a:lnTo>
                  <a:lnTo>
                    <a:pt x="22056" y="218291"/>
                  </a:lnTo>
                  <a:lnTo>
                    <a:pt x="21925" y="218060"/>
                  </a:lnTo>
                  <a:lnTo>
                    <a:pt x="18856" y="211011"/>
                  </a:lnTo>
                  <a:lnTo>
                    <a:pt x="23549" y="204008"/>
                  </a:lnTo>
                  <a:lnTo>
                    <a:pt x="22732" y="200377"/>
                  </a:lnTo>
                  <a:lnTo>
                    <a:pt x="25535" y="197738"/>
                  </a:lnTo>
                  <a:lnTo>
                    <a:pt x="30638" y="191681"/>
                  </a:lnTo>
                  <a:lnTo>
                    <a:pt x="33508" y="188267"/>
                  </a:lnTo>
                  <a:lnTo>
                    <a:pt x="34117" y="187670"/>
                  </a:lnTo>
                  <a:lnTo>
                    <a:pt x="36388" y="186168"/>
                  </a:lnTo>
                  <a:lnTo>
                    <a:pt x="40696" y="184385"/>
                  </a:lnTo>
                  <a:lnTo>
                    <a:pt x="45471" y="183516"/>
                  </a:lnTo>
                  <a:lnTo>
                    <a:pt x="47596" y="183527"/>
                  </a:lnTo>
                  <a:lnTo>
                    <a:pt x="55801" y="184734"/>
                  </a:lnTo>
                  <a:lnTo>
                    <a:pt x="62210" y="185673"/>
                  </a:lnTo>
                  <a:lnTo>
                    <a:pt x="63143" y="184730"/>
                  </a:lnTo>
                  <a:lnTo>
                    <a:pt x="64482" y="182795"/>
                  </a:lnTo>
                  <a:lnTo>
                    <a:pt x="66205" y="180035"/>
                  </a:lnTo>
                  <a:lnTo>
                    <a:pt x="66356" y="176962"/>
                  </a:lnTo>
                  <a:lnTo>
                    <a:pt x="65734" y="172439"/>
                  </a:lnTo>
                  <a:lnTo>
                    <a:pt x="64799" y="169727"/>
                  </a:lnTo>
                  <a:lnTo>
                    <a:pt x="60286" y="167963"/>
                  </a:lnTo>
                  <a:lnTo>
                    <a:pt x="55350" y="165542"/>
                  </a:lnTo>
                  <a:lnTo>
                    <a:pt x="61420" y="157854"/>
                  </a:lnTo>
                  <a:lnTo>
                    <a:pt x="65629" y="152501"/>
                  </a:lnTo>
                  <a:lnTo>
                    <a:pt x="70876" y="144422"/>
                  </a:lnTo>
                  <a:lnTo>
                    <a:pt x="72508" y="141051"/>
                  </a:lnTo>
                  <a:lnTo>
                    <a:pt x="73689" y="139711"/>
                  </a:lnTo>
                  <a:lnTo>
                    <a:pt x="75233" y="127217"/>
                  </a:lnTo>
                  <a:lnTo>
                    <a:pt x="76257" y="123708"/>
                  </a:lnTo>
                  <a:lnTo>
                    <a:pt x="77114" y="121873"/>
                  </a:lnTo>
                  <a:lnTo>
                    <a:pt x="77127" y="119986"/>
                  </a:lnTo>
                  <a:lnTo>
                    <a:pt x="76570" y="116802"/>
                  </a:lnTo>
                  <a:lnTo>
                    <a:pt x="75095" y="109590"/>
                  </a:lnTo>
                  <a:lnTo>
                    <a:pt x="83381" y="108696"/>
                  </a:lnTo>
                  <a:lnTo>
                    <a:pt x="86080" y="108190"/>
                  </a:lnTo>
                  <a:lnTo>
                    <a:pt x="88585" y="107326"/>
                  </a:lnTo>
                  <a:lnTo>
                    <a:pt x="93485" y="105086"/>
                  </a:lnTo>
                  <a:lnTo>
                    <a:pt x="95892" y="103105"/>
                  </a:lnTo>
                  <a:lnTo>
                    <a:pt x="94547" y="96329"/>
                  </a:lnTo>
                  <a:lnTo>
                    <a:pt x="97512" y="94031"/>
                  </a:lnTo>
                  <a:lnTo>
                    <a:pt x="104746" y="86006"/>
                  </a:lnTo>
                  <a:lnTo>
                    <a:pt x="112563" y="78290"/>
                  </a:lnTo>
                  <a:lnTo>
                    <a:pt x="116229" y="75362"/>
                  </a:lnTo>
                  <a:lnTo>
                    <a:pt x="116609" y="73929"/>
                  </a:lnTo>
                  <a:lnTo>
                    <a:pt x="116910" y="71624"/>
                  </a:lnTo>
                  <a:lnTo>
                    <a:pt x="115281" y="67999"/>
                  </a:lnTo>
                  <a:lnTo>
                    <a:pt x="113532" y="65749"/>
                  </a:lnTo>
                  <a:lnTo>
                    <a:pt x="110125" y="61479"/>
                  </a:lnTo>
                  <a:lnTo>
                    <a:pt x="111587" y="58496"/>
                  </a:lnTo>
                  <a:lnTo>
                    <a:pt x="114098" y="57916"/>
                  </a:lnTo>
                  <a:lnTo>
                    <a:pt x="117415" y="56743"/>
                  </a:lnTo>
                  <a:lnTo>
                    <a:pt x="120002" y="54187"/>
                  </a:lnTo>
                  <a:lnTo>
                    <a:pt x="120254" y="53858"/>
                  </a:lnTo>
                  <a:lnTo>
                    <a:pt x="124634" y="43774"/>
                  </a:lnTo>
                  <a:lnTo>
                    <a:pt x="133189" y="38646"/>
                  </a:lnTo>
                  <a:lnTo>
                    <a:pt x="136597" y="35843"/>
                  </a:lnTo>
                  <a:lnTo>
                    <a:pt x="141907" y="37949"/>
                  </a:lnTo>
                  <a:lnTo>
                    <a:pt x="149689" y="41124"/>
                  </a:lnTo>
                  <a:lnTo>
                    <a:pt x="153150" y="36451"/>
                  </a:lnTo>
                  <a:lnTo>
                    <a:pt x="154295" y="34715"/>
                  </a:lnTo>
                  <a:lnTo>
                    <a:pt x="155437" y="32154"/>
                  </a:lnTo>
                  <a:lnTo>
                    <a:pt x="154979" y="27717"/>
                  </a:lnTo>
                  <a:lnTo>
                    <a:pt x="154783" y="21940"/>
                  </a:lnTo>
                  <a:lnTo>
                    <a:pt x="155126" y="19614"/>
                  </a:lnTo>
                  <a:lnTo>
                    <a:pt x="158232" y="18577"/>
                  </a:lnTo>
                  <a:lnTo>
                    <a:pt x="159903" y="18309"/>
                  </a:lnTo>
                  <a:lnTo>
                    <a:pt x="168553" y="20702"/>
                  </a:lnTo>
                  <a:lnTo>
                    <a:pt x="170730" y="20661"/>
                  </a:lnTo>
                  <a:lnTo>
                    <a:pt x="174807" y="20983"/>
                  </a:lnTo>
                  <a:lnTo>
                    <a:pt x="179370" y="22034"/>
                  </a:lnTo>
                  <a:lnTo>
                    <a:pt x="188927" y="24826"/>
                  </a:lnTo>
                  <a:lnTo>
                    <a:pt x="192881" y="25981"/>
                  </a:lnTo>
                  <a:lnTo>
                    <a:pt x="195088" y="26205"/>
                  </a:lnTo>
                  <a:lnTo>
                    <a:pt x="196993" y="24905"/>
                  </a:lnTo>
                  <a:lnTo>
                    <a:pt x="201063" y="21566"/>
                  </a:lnTo>
                  <a:lnTo>
                    <a:pt x="195066" y="19091"/>
                  </a:lnTo>
                  <a:lnTo>
                    <a:pt x="199016" y="16583"/>
                  </a:lnTo>
                  <a:lnTo>
                    <a:pt x="201063" y="14051"/>
                  </a:lnTo>
                  <a:lnTo>
                    <a:pt x="202819" y="10934"/>
                  </a:lnTo>
                  <a:lnTo>
                    <a:pt x="203451" y="7280"/>
                  </a:lnTo>
                  <a:lnTo>
                    <a:pt x="203209" y="5312"/>
                  </a:lnTo>
                  <a:lnTo>
                    <a:pt x="201998" y="3971"/>
                  </a:lnTo>
                  <a:lnTo>
                    <a:pt x="198336" y="619"/>
                  </a:lnTo>
                  <a:lnTo>
                    <a:pt x="206634" y="138"/>
                  </a:lnTo>
                  <a:close/>
                </a:path>
              </a:pathLst>
            </a:custGeom>
            <a:solidFill>
              <a:srgbClr val="A3BA1E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80" name="ee4p_UA_1_82333">
              <a:extLst>
                <a:ext uri="{FF2B5EF4-FFF2-40B4-BE49-F238E27FC236}">
                  <a16:creationId xmlns:a16="http://schemas.microsoft.com/office/drawing/2014/main" id="{0C6D47A1-82FF-FBC5-0135-5E507583A854}"/>
                </a:ext>
              </a:extLst>
            </p:cNvPr>
            <p:cNvSpPr>
              <a:spLocks noChangeAspect="1"/>
            </p:cNvSpPr>
            <p:nvPr>
              <p:custDataLst>
                <p:tags r:id="rId108"/>
              </p:custDataLst>
            </p:nvPr>
          </p:nvSpPr>
          <p:spPr>
            <a:xfrm>
              <a:off x="7129288" y="3028282"/>
              <a:ext cx="499750" cy="291493"/>
            </a:xfrm>
            <a:custGeom>
              <a:avLst/>
              <a:gdLst>
                <a:gd name="connsiteX0" fmla="*/ 207344 w 397940"/>
                <a:gd name="connsiteY0" fmla="*/ 171473 h 225957"/>
                <a:gd name="connsiteX1" fmla="*/ 209026 w 397940"/>
                <a:gd name="connsiteY1" fmla="*/ 173412 h 225957"/>
                <a:gd name="connsiteX2" fmla="*/ 210212 w 397940"/>
                <a:gd name="connsiteY2" fmla="*/ 174260 h 225957"/>
                <a:gd name="connsiteX3" fmla="*/ 218475 w 397940"/>
                <a:gd name="connsiteY3" fmla="*/ 176160 h 225957"/>
                <a:gd name="connsiteX4" fmla="*/ 221524 w 397940"/>
                <a:gd name="connsiteY4" fmla="*/ 177522 h 225957"/>
                <a:gd name="connsiteX5" fmla="*/ 218413 w 397940"/>
                <a:gd name="connsiteY5" fmla="*/ 177159 h 225957"/>
                <a:gd name="connsiteX6" fmla="*/ 211576 w 397940"/>
                <a:gd name="connsiteY6" fmla="*/ 175879 h 225957"/>
                <a:gd name="connsiteX7" fmla="*/ 208562 w 397940"/>
                <a:gd name="connsiteY7" fmla="*/ 174670 h 225957"/>
                <a:gd name="connsiteX8" fmla="*/ 207784 w 397940"/>
                <a:gd name="connsiteY8" fmla="*/ 173318 h 225957"/>
                <a:gd name="connsiteX9" fmla="*/ 246666 w 397940"/>
                <a:gd name="connsiteY9" fmla="*/ 0 h 225957"/>
                <a:gd name="connsiteX10" fmla="*/ 250309 w 397940"/>
                <a:gd name="connsiteY10" fmla="*/ 587 h 225957"/>
                <a:gd name="connsiteX11" fmla="*/ 253881 w 397940"/>
                <a:gd name="connsiteY11" fmla="*/ 622 h 225957"/>
                <a:gd name="connsiteX12" fmla="*/ 256576 w 397940"/>
                <a:gd name="connsiteY12" fmla="*/ 261 h 225957"/>
                <a:gd name="connsiteX13" fmla="*/ 258424 w 397940"/>
                <a:gd name="connsiteY13" fmla="*/ 1126 h 225957"/>
                <a:gd name="connsiteX14" fmla="*/ 260707 w 397940"/>
                <a:gd name="connsiteY14" fmla="*/ 3030 h 225957"/>
                <a:gd name="connsiteX15" fmla="*/ 262769 w 397940"/>
                <a:gd name="connsiteY15" fmla="*/ 5862 h 225957"/>
                <a:gd name="connsiteX16" fmla="*/ 264930 w 397940"/>
                <a:gd name="connsiteY16" fmla="*/ 11080 h 225957"/>
                <a:gd name="connsiteX17" fmla="*/ 271227 w 397940"/>
                <a:gd name="connsiteY17" fmla="*/ 16962 h 225957"/>
                <a:gd name="connsiteX18" fmla="*/ 271335 w 397940"/>
                <a:gd name="connsiteY18" fmla="*/ 18109 h 225957"/>
                <a:gd name="connsiteX19" fmla="*/ 270817 w 397940"/>
                <a:gd name="connsiteY19" fmla="*/ 18846 h 225957"/>
                <a:gd name="connsiteX20" fmla="*/ 267718 w 397940"/>
                <a:gd name="connsiteY20" fmla="*/ 19561 h 225957"/>
                <a:gd name="connsiteX21" fmla="*/ 265107 w 397940"/>
                <a:gd name="connsiteY21" fmla="*/ 19946 h 225957"/>
                <a:gd name="connsiteX22" fmla="*/ 264982 w 397940"/>
                <a:gd name="connsiteY22" fmla="*/ 20953 h 225957"/>
                <a:gd name="connsiteX23" fmla="*/ 265675 w 397940"/>
                <a:gd name="connsiteY23" fmla="*/ 22042 h 225957"/>
                <a:gd name="connsiteX24" fmla="*/ 266872 w 397940"/>
                <a:gd name="connsiteY24" fmla="*/ 23635 h 225957"/>
                <a:gd name="connsiteX25" fmla="*/ 267057 w 397940"/>
                <a:gd name="connsiteY25" fmla="*/ 25685 h 225957"/>
                <a:gd name="connsiteX26" fmla="*/ 266997 w 397940"/>
                <a:gd name="connsiteY26" fmla="*/ 27569 h 225957"/>
                <a:gd name="connsiteX27" fmla="*/ 267513 w 397940"/>
                <a:gd name="connsiteY27" fmla="*/ 29233 h 225957"/>
                <a:gd name="connsiteX28" fmla="*/ 268511 w 397940"/>
                <a:gd name="connsiteY28" fmla="*/ 29909 h 225957"/>
                <a:gd name="connsiteX29" fmla="*/ 268636 w 397940"/>
                <a:gd name="connsiteY29" fmla="*/ 30745 h 225957"/>
                <a:gd name="connsiteX30" fmla="*/ 267481 w 397940"/>
                <a:gd name="connsiteY30" fmla="*/ 31766 h 225957"/>
                <a:gd name="connsiteX31" fmla="*/ 267159 w 397940"/>
                <a:gd name="connsiteY31" fmla="*/ 32396 h 225957"/>
                <a:gd name="connsiteX32" fmla="*/ 267608 w 397940"/>
                <a:gd name="connsiteY32" fmla="*/ 32735 h 225957"/>
                <a:gd name="connsiteX33" fmla="*/ 273287 w 397940"/>
                <a:gd name="connsiteY33" fmla="*/ 32932 h 225957"/>
                <a:gd name="connsiteX34" fmla="*/ 276068 w 397940"/>
                <a:gd name="connsiteY34" fmla="*/ 33926 h 225957"/>
                <a:gd name="connsiteX35" fmla="*/ 278180 w 397940"/>
                <a:gd name="connsiteY35" fmla="*/ 34831 h 225957"/>
                <a:gd name="connsiteX36" fmla="*/ 279243 w 397940"/>
                <a:gd name="connsiteY36" fmla="*/ 34915 h 225957"/>
                <a:gd name="connsiteX37" fmla="*/ 281635 w 397940"/>
                <a:gd name="connsiteY37" fmla="*/ 34333 h 225957"/>
                <a:gd name="connsiteX38" fmla="*/ 284326 w 397940"/>
                <a:gd name="connsiteY38" fmla="*/ 33966 h 225957"/>
                <a:gd name="connsiteX39" fmla="*/ 285958 w 397940"/>
                <a:gd name="connsiteY39" fmla="*/ 33917 h 225957"/>
                <a:gd name="connsiteX40" fmla="*/ 286589 w 397940"/>
                <a:gd name="connsiteY40" fmla="*/ 34584 h 225957"/>
                <a:gd name="connsiteX41" fmla="*/ 287092 w 397940"/>
                <a:gd name="connsiteY41" fmla="*/ 36334 h 225957"/>
                <a:gd name="connsiteX42" fmla="*/ 288038 w 397940"/>
                <a:gd name="connsiteY42" fmla="*/ 38084 h 225957"/>
                <a:gd name="connsiteX43" fmla="*/ 288921 w 397940"/>
                <a:gd name="connsiteY43" fmla="*/ 38584 h 225957"/>
                <a:gd name="connsiteX44" fmla="*/ 290493 w 397940"/>
                <a:gd name="connsiteY44" fmla="*/ 38500 h 225957"/>
                <a:gd name="connsiteX45" fmla="*/ 291439 w 397940"/>
                <a:gd name="connsiteY45" fmla="*/ 38584 h 225957"/>
                <a:gd name="connsiteX46" fmla="*/ 291944 w 397940"/>
                <a:gd name="connsiteY46" fmla="*/ 39249 h 225957"/>
                <a:gd name="connsiteX47" fmla="*/ 291376 w 397940"/>
                <a:gd name="connsiteY47" fmla="*/ 40249 h 225957"/>
                <a:gd name="connsiteX48" fmla="*/ 291502 w 397940"/>
                <a:gd name="connsiteY48" fmla="*/ 41329 h 225957"/>
                <a:gd name="connsiteX49" fmla="*/ 292195 w 397940"/>
                <a:gd name="connsiteY49" fmla="*/ 42660 h 225957"/>
                <a:gd name="connsiteX50" fmla="*/ 293015 w 397940"/>
                <a:gd name="connsiteY50" fmla="*/ 45733 h 225957"/>
                <a:gd name="connsiteX51" fmla="*/ 293771 w 397940"/>
                <a:gd name="connsiteY51" fmla="*/ 46646 h 225957"/>
                <a:gd name="connsiteX52" fmla="*/ 294274 w 397940"/>
                <a:gd name="connsiteY52" fmla="*/ 47808 h 225957"/>
                <a:gd name="connsiteX53" fmla="*/ 294274 w 397940"/>
                <a:gd name="connsiteY53" fmla="*/ 49135 h 225957"/>
                <a:gd name="connsiteX54" fmla="*/ 293644 w 397940"/>
                <a:gd name="connsiteY54" fmla="*/ 50295 h 225957"/>
                <a:gd name="connsiteX55" fmla="*/ 293203 w 397940"/>
                <a:gd name="connsiteY55" fmla="*/ 51205 h 225957"/>
                <a:gd name="connsiteX56" fmla="*/ 293644 w 397940"/>
                <a:gd name="connsiteY56" fmla="*/ 53275 h 225957"/>
                <a:gd name="connsiteX57" fmla="*/ 295343 w 397940"/>
                <a:gd name="connsiteY57" fmla="*/ 55592 h 225957"/>
                <a:gd name="connsiteX58" fmla="*/ 296604 w 397940"/>
                <a:gd name="connsiteY58" fmla="*/ 56170 h 225957"/>
                <a:gd name="connsiteX59" fmla="*/ 297613 w 397940"/>
                <a:gd name="connsiteY59" fmla="*/ 58236 h 225957"/>
                <a:gd name="connsiteX60" fmla="*/ 299439 w 397940"/>
                <a:gd name="connsiteY60" fmla="*/ 58896 h 225957"/>
                <a:gd name="connsiteX61" fmla="*/ 302147 w 397940"/>
                <a:gd name="connsiteY61" fmla="*/ 57163 h 225957"/>
                <a:gd name="connsiteX62" fmla="*/ 304227 w 397940"/>
                <a:gd name="connsiteY62" fmla="*/ 56254 h 225957"/>
                <a:gd name="connsiteX63" fmla="*/ 306827 w 397940"/>
                <a:gd name="connsiteY63" fmla="*/ 56759 h 225957"/>
                <a:gd name="connsiteX64" fmla="*/ 309228 w 397940"/>
                <a:gd name="connsiteY64" fmla="*/ 57082 h 225957"/>
                <a:gd name="connsiteX65" fmla="*/ 310843 w 397940"/>
                <a:gd name="connsiteY65" fmla="*/ 58263 h 225957"/>
                <a:gd name="connsiteX66" fmla="*/ 312035 w 397940"/>
                <a:gd name="connsiteY66" fmla="*/ 59887 h 225957"/>
                <a:gd name="connsiteX67" fmla="*/ 313422 w 397940"/>
                <a:gd name="connsiteY67" fmla="*/ 60794 h 225957"/>
                <a:gd name="connsiteX68" fmla="*/ 314810 w 397940"/>
                <a:gd name="connsiteY68" fmla="*/ 60320 h 225957"/>
                <a:gd name="connsiteX69" fmla="*/ 317706 w 397940"/>
                <a:gd name="connsiteY69" fmla="*/ 60794 h 225957"/>
                <a:gd name="connsiteX70" fmla="*/ 319029 w 397940"/>
                <a:gd name="connsiteY70" fmla="*/ 62114 h 225957"/>
                <a:gd name="connsiteX71" fmla="*/ 320351 w 397940"/>
                <a:gd name="connsiteY71" fmla="*/ 62856 h 225957"/>
                <a:gd name="connsiteX72" fmla="*/ 322052 w 397940"/>
                <a:gd name="connsiteY72" fmla="*/ 61785 h 225957"/>
                <a:gd name="connsiteX73" fmla="*/ 323439 w 397940"/>
                <a:gd name="connsiteY73" fmla="*/ 60465 h 225957"/>
                <a:gd name="connsiteX74" fmla="*/ 328511 w 397940"/>
                <a:gd name="connsiteY74" fmla="*/ 59082 h 225957"/>
                <a:gd name="connsiteX75" fmla="*/ 331668 w 397940"/>
                <a:gd name="connsiteY75" fmla="*/ 58736 h 225957"/>
                <a:gd name="connsiteX76" fmla="*/ 332549 w 397940"/>
                <a:gd name="connsiteY76" fmla="*/ 58464 h 225957"/>
                <a:gd name="connsiteX77" fmla="*/ 334402 w 397940"/>
                <a:gd name="connsiteY77" fmla="*/ 57476 h 225957"/>
                <a:gd name="connsiteX78" fmla="*/ 336354 w 397940"/>
                <a:gd name="connsiteY78" fmla="*/ 56819 h 225957"/>
                <a:gd name="connsiteX79" fmla="*/ 338116 w 397940"/>
                <a:gd name="connsiteY79" fmla="*/ 56997 h 225957"/>
                <a:gd name="connsiteX80" fmla="*/ 339852 w 397940"/>
                <a:gd name="connsiteY80" fmla="*/ 59049 h 225957"/>
                <a:gd name="connsiteX81" fmla="*/ 341643 w 397940"/>
                <a:gd name="connsiteY81" fmla="*/ 60465 h 225957"/>
                <a:gd name="connsiteX82" fmla="*/ 342146 w 397940"/>
                <a:gd name="connsiteY82" fmla="*/ 62691 h 225957"/>
                <a:gd name="connsiteX83" fmla="*/ 344337 w 397940"/>
                <a:gd name="connsiteY83" fmla="*/ 65753 h 225957"/>
                <a:gd name="connsiteX84" fmla="*/ 349779 w 397940"/>
                <a:gd name="connsiteY84" fmla="*/ 69936 h 225957"/>
                <a:gd name="connsiteX85" fmla="*/ 351915 w 397940"/>
                <a:gd name="connsiteY85" fmla="*/ 71211 h 225957"/>
                <a:gd name="connsiteX86" fmla="*/ 353366 w 397940"/>
                <a:gd name="connsiteY86" fmla="*/ 70986 h 225957"/>
                <a:gd name="connsiteX87" fmla="*/ 354124 w 397940"/>
                <a:gd name="connsiteY87" fmla="*/ 70652 h 225957"/>
                <a:gd name="connsiteX88" fmla="*/ 354476 w 397940"/>
                <a:gd name="connsiteY88" fmla="*/ 70215 h 225957"/>
                <a:gd name="connsiteX89" fmla="*/ 354804 w 397940"/>
                <a:gd name="connsiteY89" fmla="*/ 68170 h 225957"/>
                <a:gd name="connsiteX90" fmla="*/ 355493 w 397940"/>
                <a:gd name="connsiteY90" fmla="*/ 67417 h 225957"/>
                <a:gd name="connsiteX91" fmla="*/ 356596 w 397940"/>
                <a:gd name="connsiteY91" fmla="*/ 67392 h 225957"/>
                <a:gd name="connsiteX92" fmla="*/ 360855 w 397940"/>
                <a:gd name="connsiteY92" fmla="*/ 69940 h 225957"/>
                <a:gd name="connsiteX93" fmla="*/ 363083 w 397940"/>
                <a:gd name="connsiteY93" fmla="*/ 70214 h 225957"/>
                <a:gd name="connsiteX94" fmla="*/ 365201 w 397940"/>
                <a:gd name="connsiteY94" fmla="*/ 70263 h 225957"/>
                <a:gd name="connsiteX95" fmla="*/ 368052 w 397940"/>
                <a:gd name="connsiteY95" fmla="*/ 72240 h 225957"/>
                <a:gd name="connsiteX96" fmla="*/ 371185 w 397940"/>
                <a:gd name="connsiteY96" fmla="*/ 73958 h 225957"/>
                <a:gd name="connsiteX97" fmla="*/ 373603 w 397940"/>
                <a:gd name="connsiteY97" fmla="*/ 74139 h 225957"/>
                <a:gd name="connsiteX98" fmla="*/ 375532 w 397940"/>
                <a:gd name="connsiteY98" fmla="*/ 73467 h 225957"/>
                <a:gd name="connsiteX99" fmla="*/ 376856 w 397940"/>
                <a:gd name="connsiteY99" fmla="*/ 73058 h 225957"/>
                <a:gd name="connsiteX100" fmla="*/ 377674 w 397940"/>
                <a:gd name="connsiteY100" fmla="*/ 73713 h 225957"/>
                <a:gd name="connsiteX101" fmla="*/ 378430 w 397940"/>
                <a:gd name="connsiteY101" fmla="*/ 75190 h 225957"/>
                <a:gd name="connsiteX102" fmla="*/ 379689 w 397940"/>
                <a:gd name="connsiteY102" fmla="*/ 76338 h 225957"/>
                <a:gd name="connsiteX103" fmla="*/ 381138 w 397940"/>
                <a:gd name="connsiteY103" fmla="*/ 76666 h 225957"/>
                <a:gd name="connsiteX104" fmla="*/ 383223 w 397940"/>
                <a:gd name="connsiteY104" fmla="*/ 76741 h 225957"/>
                <a:gd name="connsiteX105" fmla="*/ 386845 w 397940"/>
                <a:gd name="connsiteY105" fmla="*/ 78966 h 225957"/>
                <a:gd name="connsiteX106" fmla="*/ 390250 w 397940"/>
                <a:gd name="connsiteY106" fmla="*/ 81226 h 225957"/>
                <a:gd name="connsiteX107" fmla="*/ 392379 w 397940"/>
                <a:gd name="connsiteY107" fmla="*/ 81351 h 225957"/>
                <a:gd name="connsiteX108" fmla="*/ 394185 w 397940"/>
                <a:gd name="connsiteY108" fmla="*/ 80688 h 225957"/>
                <a:gd name="connsiteX109" fmla="*/ 395780 w 397940"/>
                <a:gd name="connsiteY109" fmla="*/ 80517 h 225957"/>
                <a:gd name="connsiteX110" fmla="*/ 396886 w 397940"/>
                <a:gd name="connsiteY110" fmla="*/ 81087 h 225957"/>
                <a:gd name="connsiteX111" fmla="*/ 397201 w 397940"/>
                <a:gd name="connsiteY111" fmla="*/ 82069 h 225957"/>
                <a:gd name="connsiteX112" fmla="*/ 396381 w 397940"/>
                <a:gd name="connsiteY112" fmla="*/ 83378 h 225957"/>
                <a:gd name="connsiteX113" fmla="*/ 396381 w 397940"/>
                <a:gd name="connsiteY113" fmla="*/ 85258 h 225957"/>
                <a:gd name="connsiteX114" fmla="*/ 397892 w 397940"/>
                <a:gd name="connsiteY114" fmla="*/ 87055 h 225957"/>
                <a:gd name="connsiteX115" fmla="*/ 397940 w 397940"/>
                <a:gd name="connsiteY115" fmla="*/ 88820 h 225957"/>
                <a:gd name="connsiteX116" fmla="*/ 397508 w 397940"/>
                <a:gd name="connsiteY116" fmla="*/ 90413 h 225957"/>
                <a:gd name="connsiteX117" fmla="*/ 396651 w 397940"/>
                <a:gd name="connsiteY117" fmla="*/ 91880 h 225957"/>
                <a:gd name="connsiteX118" fmla="*/ 394580 w 397940"/>
                <a:gd name="connsiteY118" fmla="*/ 93894 h 225957"/>
                <a:gd name="connsiteX119" fmla="*/ 392664 w 397940"/>
                <a:gd name="connsiteY119" fmla="*/ 95773 h 225957"/>
                <a:gd name="connsiteX120" fmla="*/ 389784 w 397940"/>
                <a:gd name="connsiteY120" fmla="*/ 96558 h 225957"/>
                <a:gd name="connsiteX121" fmla="*/ 388171 w 397940"/>
                <a:gd name="connsiteY121" fmla="*/ 97376 h 225957"/>
                <a:gd name="connsiteX122" fmla="*/ 388594 w 397940"/>
                <a:gd name="connsiteY122" fmla="*/ 98755 h 225957"/>
                <a:gd name="connsiteX123" fmla="*/ 389648 w 397940"/>
                <a:gd name="connsiteY123" fmla="*/ 100041 h 225957"/>
                <a:gd name="connsiteX124" fmla="*/ 392090 w 397940"/>
                <a:gd name="connsiteY124" fmla="*/ 101081 h 225957"/>
                <a:gd name="connsiteX125" fmla="*/ 394863 w 397940"/>
                <a:gd name="connsiteY125" fmla="*/ 101838 h 225957"/>
                <a:gd name="connsiteX126" fmla="*/ 395182 w 397940"/>
                <a:gd name="connsiteY126" fmla="*/ 102673 h 225957"/>
                <a:gd name="connsiteX127" fmla="*/ 394759 w 397940"/>
                <a:gd name="connsiteY127" fmla="*/ 103092 h 225957"/>
                <a:gd name="connsiteX128" fmla="*/ 392982 w 397940"/>
                <a:gd name="connsiteY128" fmla="*/ 103480 h 225957"/>
                <a:gd name="connsiteX129" fmla="*/ 390522 w 397940"/>
                <a:gd name="connsiteY129" fmla="*/ 103082 h 225957"/>
                <a:gd name="connsiteX130" fmla="*/ 389704 w 397940"/>
                <a:gd name="connsiteY130" fmla="*/ 103812 h 225957"/>
                <a:gd name="connsiteX131" fmla="*/ 388570 w 397940"/>
                <a:gd name="connsiteY131" fmla="*/ 105028 h 225957"/>
                <a:gd name="connsiteX132" fmla="*/ 387815 w 397940"/>
                <a:gd name="connsiteY132" fmla="*/ 107215 h 225957"/>
                <a:gd name="connsiteX133" fmla="*/ 387246 w 397940"/>
                <a:gd name="connsiteY133" fmla="*/ 109239 h 225957"/>
                <a:gd name="connsiteX134" fmla="*/ 389916 w 397940"/>
                <a:gd name="connsiteY134" fmla="*/ 109788 h 225957"/>
                <a:gd name="connsiteX135" fmla="*/ 391468 w 397940"/>
                <a:gd name="connsiteY135" fmla="*/ 110614 h 225957"/>
                <a:gd name="connsiteX136" fmla="*/ 391952 w 397940"/>
                <a:gd name="connsiteY136" fmla="*/ 112276 h 225957"/>
                <a:gd name="connsiteX137" fmla="*/ 392507 w 397940"/>
                <a:gd name="connsiteY137" fmla="*/ 114123 h 225957"/>
                <a:gd name="connsiteX138" fmla="*/ 392667 w 397940"/>
                <a:gd name="connsiteY138" fmla="*/ 115785 h 225957"/>
                <a:gd name="connsiteX139" fmla="*/ 391783 w 397940"/>
                <a:gd name="connsiteY139" fmla="*/ 116592 h 225957"/>
                <a:gd name="connsiteX140" fmla="*/ 391730 w 397940"/>
                <a:gd name="connsiteY140" fmla="*/ 117418 h 225957"/>
                <a:gd name="connsiteX141" fmla="*/ 392146 w 397940"/>
                <a:gd name="connsiteY141" fmla="*/ 117824 h 225957"/>
                <a:gd name="connsiteX142" fmla="*/ 393293 w 397940"/>
                <a:gd name="connsiteY142" fmla="*/ 118008 h 225957"/>
                <a:gd name="connsiteX143" fmla="*/ 394172 w 397940"/>
                <a:gd name="connsiteY143" fmla="*/ 118377 h 225957"/>
                <a:gd name="connsiteX144" fmla="*/ 394241 w 397940"/>
                <a:gd name="connsiteY144" fmla="*/ 119253 h 225957"/>
                <a:gd name="connsiteX145" fmla="*/ 392561 w 397940"/>
                <a:gd name="connsiteY145" fmla="*/ 121220 h 225957"/>
                <a:gd name="connsiteX146" fmla="*/ 390989 w 397940"/>
                <a:gd name="connsiteY146" fmla="*/ 124979 h 225957"/>
                <a:gd name="connsiteX147" fmla="*/ 390144 w 397940"/>
                <a:gd name="connsiteY147" fmla="*/ 126978 h 225957"/>
                <a:gd name="connsiteX148" fmla="*/ 390209 w 397940"/>
                <a:gd name="connsiteY148" fmla="*/ 129146 h 225957"/>
                <a:gd name="connsiteX149" fmla="*/ 389263 w 397940"/>
                <a:gd name="connsiteY149" fmla="*/ 130350 h 225957"/>
                <a:gd name="connsiteX150" fmla="*/ 387551 w 397940"/>
                <a:gd name="connsiteY150" fmla="*/ 130452 h 225957"/>
                <a:gd name="connsiteX151" fmla="*/ 381636 w 397940"/>
                <a:gd name="connsiteY151" fmla="*/ 130662 h 225957"/>
                <a:gd name="connsiteX152" fmla="*/ 376495 w 397940"/>
                <a:gd name="connsiteY152" fmla="*/ 130559 h 225957"/>
                <a:gd name="connsiteX153" fmla="*/ 374269 w 397940"/>
                <a:gd name="connsiteY153" fmla="*/ 130247 h 225957"/>
                <a:gd name="connsiteX154" fmla="*/ 370785 w 397940"/>
                <a:gd name="connsiteY154" fmla="*/ 130060 h 225957"/>
                <a:gd name="connsiteX155" fmla="*/ 369060 w 397940"/>
                <a:gd name="connsiteY155" fmla="*/ 130570 h 225957"/>
                <a:gd name="connsiteX156" fmla="*/ 366776 w 397940"/>
                <a:gd name="connsiteY156" fmla="*/ 134029 h 225957"/>
                <a:gd name="connsiteX157" fmla="*/ 365044 w 397940"/>
                <a:gd name="connsiteY157" fmla="*/ 135384 h 225957"/>
                <a:gd name="connsiteX158" fmla="*/ 362176 w 397940"/>
                <a:gd name="connsiteY158" fmla="*/ 136607 h 225957"/>
                <a:gd name="connsiteX159" fmla="*/ 359034 w 397940"/>
                <a:gd name="connsiteY159" fmla="*/ 136957 h 225957"/>
                <a:gd name="connsiteX160" fmla="*/ 357233 w 397940"/>
                <a:gd name="connsiteY160" fmla="*/ 138383 h 225957"/>
                <a:gd name="connsiteX161" fmla="*/ 356601 w 397940"/>
                <a:gd name="connsiteY161" fmla="*/ 140618 h 225957"/>
                <a:gd name="connsiteX162" fmla="*/ 356551 w 397940"/>
                <a:gd name="connsiteY162" fmla="*/ 142598 h 225957"/>
                <a:gd name="connsiteX163" fmla="*/ 356257 w 397940"/>
                <a:gd name="connsiteY163" fmla="*/ 143586 h 225957"/>
                <a:gd name="connsiteX164" fmla="*/ 355575 w 397940"/>
                <a:gd name="connsiteY164" fmla="*/ 144452 h 225957"/>
                <a:gd name="connsiteX165" fmla="*/ 355331 w 397940"/>
                <a:gd name="connsiteY165" fmla="*/ 145068 h 225957"/>
                <a:gd name="connsiteX166" fmla="*/ 355477 w 397940"/>
                <a:gd name="connsiteY166" fmla="*/ 145747 h 225957"/>
                <a:gd name="connsiteX167" fmla="*/ 356208 w 397940"/>
                <a:gd name="connsiteY167" fmla="*/ 145994 h 225957"/>
                <a:gd name="connsiteX168" fmla="*/ 357086 w 397940"/>
                <a:gd name="connsiteY168" fmla="*/ 146303 h 225957"/>
                <a:gd name="connsiteX169" fmla="*/ 357086 w 397940"/>
                <a:gd name="connsiteY169" fmla="*/ 146797 h 225957"/>
                <a:gd name="connsiteX170" fmla="*/ 356745 w 397940"/>
                <a:gd name="connsiteY170" fmla="*/ 147414 h 225957"/>
                <a:gd name="connsiteX171" fmla="*/ 355769 w 397940"/>
                <a:gd name="connsiteY171" fmla="*/ 148092 h 225957"/>
                <a:gd name="connsiteX172" fmla="*/ 355331 w 397940"/>
                <a:gd name="connsiteY172" fmla="*/ 149141 h 225957"/>
                <a:gd name="connsiteX173" fmla="*/ 355430 w 397940"/>
                <a:gd name="connsiteY173" fmla="*/ 150249 h 225957"/>
                <a:gd name="connsiteX174" fmla="*/ 355618 w 397940"/>
                <a:gd name="connsiteY174" fmla="*/ 151483 h 225957"/>
                <a:gd name="connsiteX175" fmla="*/ 354821 w 397940"/>
                <a:gd name="connsiteY175" fmla="*/ 151796 h 225957"/>
                <a:gd name="connsiteX176" fmla="*/ 347091 w 397940"/>
                <a:gd name="connsiteY176" fmla="*/ 151360 h 225957"/>
                <a:gd name="connsiteX177" fmla="*/ 340781 w 397940"/>
                <a:gd name="connsiteY177" fmla="*/ 151954 h 225957"/>
                <a:gd name="connsiteX178" fmla="*/ 336281 w 397940"/>
                <a:gd name="connsiteY178" fmla="*/ 156355 h 225957"/>
                <a:gd name="connsiteX179" fmla="*/ 333599 w 397940"/>
                <a:gd name="connsiteY179" fmla="*/ 156343 h 225957"/>
                <a:gd name="connsiteX180" fmla="*/ 329818 w 397940"/>
                <a:gd name="connsiteY180" fmla="*/ 157489 h 225957"/>
                <a:gd name="connsiteX181" fmla="*/ 327263 w 397940"/>
                <a:gd name="connsiteY181" fmla="*/ 158912 h 225957"/>
                <a:gd name="connsiteX182" fmla="*/ 324229 w 397940"/>
                <a:gd name="connsiteY182" fmla="*/ 161995 h 225957"/>
                <a:gd name="connsiteX183" fmla="*/ 321882 w 397940"/>
                <a:gd name="connsiteY183" fmla="*/ 160611 h 225957"/>
                <a:gd name="connsiteX184" fmla="*/ 319010 w 397940"/>
                <a:gd name="connsiteY184" fmla="*/ 160651 h 225957"/>
                <a:gd name="connsiteX185" fmla="*/ 316207 w 397940"/>
                <a:gd name="connsiteY185" fmla="*/ 161490 h 225957"/>
                <a:gd name="connsiteX186" fmla="*/ 312834 w 397940"/>
                <a:gd name="connsiteY186" fmla="*/ 163547 h 225957"/>
                <a:gd name="connsiteX187" fmla="*/ 310958 w 397940"/>
                <a:gd name="connsiteY187" fmla="*/ 163911 h 225957"/>
                <a:gd name="connsiteX188" fmla="*/ 307205 w 397940"/>
                <a:gd name="connsiteY188" fmla="*/ 163319 h 225957"/>
                <a:gd name="connsiteX189" fmla="*/ 302832 w 397940"/>
                <a:gd name="connsiteY189" fmla="*/ 164500 h 225957"/>
                <a:gd name="connsiteX190" fmla="*/ 293391 w 397940"/>
                <a:gd name="connsiteY190" fmla="*/ 171244 h 225957"/>
                <a:gd name="connsiteX191" fmla="*/ 290217 w 397940"/>
                <a:gd name="connsiteY191" fmla="*/ 176160 h 225957"/>
                <a:gd name="connsiteX192" fmla="*/ 289061 w 397940"/>
                <a:gd name="connsiteY192" fmla="*/ 177121 h 225957"/>
                <a:gd name="connsiteX193" fmla="*/ 287468 w 397940"/>
                <a:gd name="connsiteY193" fmla="*/ 178319 h 225957"/>
                <a:gd name="connsiteX194" fmla="*/ 285764 w 397940"/>
                <a:gd name="connsiteY194" fmla="*/ 178924 h 225957"/>
                <a:gd name="connsiteX195" fmla="*/ 284864 w 397940"/>
                <a:gd name="connsiteY195" fmla="*/ 178868 h 225957"/>
                <a:gd name="connsiteX196" fmla="*/ 289357 w 397940"/>
                <a:gd name="connsiteY196" fmla="*/ 175378 h 225957"/>
                <a:gd name="connsiteX197" fmla="*/ 290737 w 397940"/>
                <a:gd name="connsiteY197" fmla="*/ 174068 h 225957"/>
                <a:gd name="connsiteX198" fmla="*/ 290975 w 397940"/>
                <a:gd name="connsiteY198" fmla="*/ 173101 h 225957"/>
                <a:gd name="connsiteX199" fmla="*/ 290998 w 397940"/>
                <a:gd name="connsiteY199" fmla="*/ 171541 h 225957"/>
                <a:gd name="connsiteX200" fmla="*/ 289636 w 397940"/>
                <a:gd name="connsiteY200" fmla="*/ 169601 h 225957"/>
                <a:gd name="connsiteX201" fmla="*/ 285958 w 397940"/>
                <a:gd name="connsiteY201" fmla="*/ 174407 h 225957"/>
                <a:gd name="connsiteX202" fmla="*/ 283868 w 397940"/>
                <a:gd name="connsiteY202" fmla="*/ 175104 h 225957"/>
                <a:gd name="connsiteX203" fmla="*/ 281216 w 397940"/>
                <a:gd name="connsiteY203" fmla="*/ 176548 h 225957"/>
                <a:gd name="connsiteX204" fmla="*/ 281087 w 397940"/>
                <a:gd name="connsiteY204" fmla="*/ 179764 h 225957"/>
                <a:gd name="connsiteX205" fmla="*/ 281387 w 397940"/>
                <a:gd name="connsiteY205" fmla="*/ 182146 h 225957"/>
                <a:gd name="connsiteX206" fmla="*/ 282477 w 397940"/>
                <a:gd name="connsiteY206" fmla="*/ 185142 h 225957"/>
                <a:gd name="connsiteX207" fmla="*/ 285047 w 397940"/>
                <a:gd name="connsiteY207" fmla="*/ 190042 h 225957"/>
                <a:gd name="connsiteX208" fmla="*/ 290295 w 397940"/>
                <a:gd name="connsiteY208" fmla="*/ 197027 h 225957"/>
                <a:gd name="connsiteX209" fmla="*/ 292810 w 397940"/>
                <a:gd name="connsiteY209" fmla="*/ 199588 h 225957"/>
                <a:gd name="connsiteX210" fmla="*/ 294659 w 397940"/>
                <a:gd name="connsiteY210" fmla="*/ 200611 h 225957"/>
                <a:gd name="connsiteX211" fmla="*/ 296881 w 397940"/>
                <a:gd name="connsiteY211" fmla="*/ 200759 h 225957"/>
                <a:gd name="connsiteX212" fmla="*/ 301147 w 397940"/>
                <a:gd name="connsiteY212" fmla="*/ 198607 h 225957"/>
                <a:gd name="connsiteX213" fmla="*/ 302972 w 397940"/>
                <a:gd name="connsiteY213" fmla="*/ 198271 h 225957"/>
                <a:gd name="connsiteX214" fmla="*/ 306939 w 397940"/>
                <a:gd name="connsiteY214" fmla="*/ 199092 h 225957"/>
                <a:gd name="connsiteX215" fmla="*/ 308360 w 397940"/>
                <a:gd name="connsiteY215" fmla="*/ 197653 h 225957"/>
                <a:gd name="connsiteX216" fmla="*/ 310424 w 397940"/>
                <a:gd name="connsiteY216" fmla="*/ 196858 h 225957"/>
                <a:gd name="connsiteX217" fmla="*/ 313074 w 397940"/>
                <a:gd name="connsiteY217" fmla="*/ 196757 h 225957"/>
                <a:gd name="connsiteX218" fmla="*/ 316097 w 397940"/>
                <a:gd name="connsiteY218" fmla="*/ 197402 h 225957"/>
                <a:gd name="connsiteX219" fmla="*/ 319368 w 397940"/>
                <a:gd name="connsiteY219" fmla="*/ 198492 h 225957"/>
                <a:gd name="connsiteX220" fmla="*/ 318025 w 397940"/>
                <a:gd name="connsiteY220" fmla="*/ 200955 h 225957"/>
                <a:gd name="connsiteX221" fmla="*/ 316622 w 397940"/>
                <a:gd name="connsiteY221" fmla="*/ 202913 h 225957"/>
                <a:gd name="connsiteX222" fmla="*/ 316127 w 397940"/>
                <a:gd name="connsiteY222" fmla="*/ 205078 h 225957"/>
                <a:gd name="connsiteX223" fmla="*/ 315352 w 397940"/>
                <a:gd name="connsiteY223" fmla="*/ 207482 h 225957"/>
                <a:gd name="connsiteX224" fmla="*/ 311737 w 397940"/>
                <a:gd name="connsiteY224" fmla="*/ 208560 h 225957"/>
                <a:gd name="connsiteX225" fmla="*/ 307865 w 397940"/>
                <a:gd name="connsiteY225" fmla="*/ 208428 h 225957"/>
                <a:gd name="connsiteX226" fmla="*/ 303782 w 397940"/>
                <a:gd name="connsiteY226" fmla="*/ 209125 h 225957"/>
                <a:gd name="connsiteX227" fmla="*/ 302311 w 397940"/>
                <a:gd name="connsiteY227" fmla="*/ 208187 h 225957"/>
                <a:gd name="connsiteX228" fmla="*/ 301335 w 397940"/>
                <a:gd name="connsiteY228" fmla="*/ 207333 h 225957"/>
                <a:gd name="connsiteX229" fmla="*/ 299524 w 397940"/>
                <a:gd name="connsiteY229" fmla="*/ 206481 h 225957"/>
                <a:gd name="connsiteX230" fmla="*/ 297135 w 397940"/>
                <a:gd name="connsiteY230" fmla="*/ 206006 h 225957"/>
                <a:gd name="connsiteX231" fmla="*/ 294991 w 397940"/>
                <a:gd name="connsiteY231" fmla="*/ 206577 h 225957"/>
                <a:gd name="connsiteX232" fmla="*/ 292454 w 397940"/>
                <a:gd name="connsiteY232" fmla="*/ 209860 h 225957"/>
                <a:gd name="connsiteX233" fmla="*/ 287965 w 397940"/>
                <a:gd name="connsiteY233" fmla="*/ 212102 h 225957"/>
                <a:gd name="connsiteX234" fmla="*/ 286481 w 397940"/>
                <a:gd name="connsiteY234" fmla="*/ 214659 h 225957"/>
                <a:gd name="connsiteX235" fmla="*/ 282061 w 397940"/>
                <a:gd name="connsiteY235" fmla="*/ 214088 h 225957"/>
                <a:gd name="connsiteX236" fmla="*/ 278282 w 397940"/>
                <a:gd name="connsiteY236" fmla="*/ 214536 h 225957"/>
                <a:gd name="connsiteX237" fmla="*/ 272821 w 397940"/>
                <a:gd name="connsiteY237" fmla="*/ 216866 h 225957"/>
                <a:gd name="connsiteX238" fmla="*/ 268660 w 397940"/>
                <a:gd name="connsiteY238" fmla="*/ 221856 h 225957"/>
                <a:gd name="connsiteX239" fmla="*/ 264075 w 397940"/>
                <a:gd name="connsiteY239" fmla="*/ 224972 h 225957"/>
                <a:gd name="connsiteX240" fmla="*/ 260439 w 397940"/>
                <a:gd name="connsiteY240" fmla="*/ 225957 h 225957"/>
                <a:gd name="connsiteX241" fmla="*/ 257027 w 397940"/>
                <a:gd name="connsiteY241" fmla="*/ 225649 h 225957"/>
                <a:gd name="connsiteX242" fmla="*/ 254820 w 397940"/>
                <a:gd name="connsiteY242" fmla="*/ 224717 h 225957"/>
                <a:gd name="connsiteX243" fmla="*/ 250283 w 397940"/>
                <a:gd name="connsiteY243" fmla="*/ 221442 h 225957"/>
                <a:gd name="connsiteX244" fmla="*/ 250549 w 397940"/>
                <a:gd name="connsiteY244" fmla="*/ 220267 h 225957"/>
                <a:gd name="connsiteX245" fmla="*/ 251182 w 397940"/>
                <a:gd name="connsiteY245" fmla="*/ 219674 h 225957"/>
                <a:gd name="connsiteX246" fmla="*/ 252039 w 397940"/>
                <a:gd name="connsiteY246" fmla="*/ 217988 h 225957"/>
                <a:gd name="connsiteX247" fmla="*/ 253855 w 397940"/>
                <a:gd name="connsiteY247" fmla="*/ 211788 h 225957"/>
                <a:gd name="connsiteX248" fmla="*/ 253611 w 397940"/>
                <a:gd name="connsiteY248" fmla="*/ 209776 h 225957"/>
                <a:gd name="connsiteX249" fmla="*/ 252594 w 397940"/>
                <a:gd name="connsiteY249" fmla="*/ 206600 h 225957"/>
                <a:gd name="connsiteX250" fmla="*/ 248996 w 397940"/>
                <a:gd name="connsiteY250" fmla="*/ 204131 h 225957"/>
                <a:gd name="connsiteX251" fmla="*/ 246100 w 397940"/>
                <a:gd name="connsiteY251" fmla="*/ 204599 h 225957"/>
                <a:gd name="connsiteX252" fmla="*/ 244451 w 397940"/>
                <a:gd name="connsiteY252" fmla="*/ 203941 h 225957"/>
                <a:gd name="connsiteX253" fmla="*/ 238519 w 397940"/>
                <a:gd name="connsiteY253" fmla="*/ 199738 h 225957"/>
                <a:gd name="connsiteX254" fmla="*/ 235291 w 397940"/>
                <a:gd name="connsiteY254" fmla="*/ 199440 h 225957"/>
                <a:gd name="connsiteX255" fmla="*/ 231723 w 397940"/>
                <a:gd name="connsiteY255" fmla="*/ 200288 h 225957"/>
                <a:gd name="connsiteX256" fmla="*/ 230408 w 397940"/>
                <a:gd name="connsiteY256" fmla="*/ 199676 h 225957"/>
                <a:gd name="connsiteX257" fmla="*/ 229439 w 397940"/>
                <a:gd name="connsiteY257" fmla="*/ 198210 h 225957"/>
                <a:gd name="connsiteX258" fmla="*/ 236515 w 397940"/>
                <a:gd name="connsiteY258" fmla="*/ 193012 h 225957"/>
                <a:gd name="connsiteX259" fmla="*/ 243464 w 397940"/>
                <a:gd name="connsiteY259" fmla="*/ 188714 h 225957"/>
                <a:gd name="connsiteX260" fmla="*/ 246511 w 397940"/>
                <a:gd name="connsiteY260" fmla="*/ 188272 h 225957"/>
                <a:gd name="connsiteX261" fmla="*/ 250627 w 397940"/>
                <a:gd name="connsiteY261" fmla="*/ 186269 h 225957"/>
                <a:gd name="connsiteX262" fmla="*/ 255019 w 397940"/>
                <a:gd name="connsiteY262" fmla="*/ 183259 h 225957"/>
                <a:gd name="connsiteX263" fmla="*/ 254397 w 397940"/>
                <a:gd name="connsiteY263" fmla="*/ 180890 h 225957"/>
                <a:gd name="connsiteX264" fmla="*/ 253455 w 397940"/>
                <a:gd name="connsiteY264" fmla="*/ 179138 h 225957"/>
                <a:gd name="connsiteX265" fmla="*/ 251348 w 397940"/>
                <a:gd name="connsiteY265" fmla="*/ 179619 h 225957"/>
                <a:gd name="connsiteX266" fmla="*/ 249823 w 397940"/>
                <a:gd name="connsiteY266" fmla="*/ 180206 h 225957"/>
                <a:gd name="connsiteX267" fmla="*/ 246144 w 397940"/>
                <a:gd name="connsiteY267" fmla="*/ 178325 h 225957"/>
                <a:gd name="connsiteX268" fmla="*/ 244790 w 397940"/>
                <a:gd name="connsiteY268" fmla="*/ 176940 h 225957"/>
                <a:gd name="connsiteX269" fmla="*/ 239031 w 397940"/>
                <a:gd name="connsiteY269" fmla="*/ 178377 h 225957"/>
                <a:gd name="connsiteX270" fmla="*/ 235826 w 397940"/>
                <a:gd name="connsiteY270" fmla="*/ 178164 h 225957"/>
                <a:gd name="connsiteX271" fmla="*/ 228748 w 397940"/>
                <a:gd name="connsiteY271" fmla="*/ 179485 h 225957"/>
                <a:gd name="connsiteX272" fmla="*/ 225500 w 397940"/>
                <a:gd name="connsiteY272" fmla="*/ 178195 h 225957"/>
                <a:gd name="connsiteX273" fmla="*/ 218996 w 397940"/>
                <a:gd name="connsiteY273" fmla="*/ 174580 h 225957"/>
                <a:gd name="connsiteX274" fmla="*/ 216551 w 397940"/>
                <a:gd name="connsiteY274" fmla="*/ 173853 h 225957"/>
                <a:gd name="connsiteX275" fmla="*/ 214474 w 397940"/>
                <a:gd name="connsiteY275" fmla="*/ 174007 h 225957"/>
                <a:gd name="connsiteX276" fmla="*/ 213340 w 397940"/>
                <a:gd name="connsiteY276" fmla="*/ 172817 h 225957"/>
                <a:gd name="connsiteX277" fmla="*/ 214731 w 397940"/>
                <a:gd name="connsiteY277" fmla="*/ 172221 h 225957"/>
                <a:gd name="connsiteX278" fmla="*/ 216346 w 397940"/>
                <a:gd name="connsiteY278" fmla="*/ 172151 h 225957"/>
                <a:gd name="connsiteX279" fmla="*/ 218022 w 397940"/>
                <a:gd name="connsiteY279" fmla="*/ 171715 h 225957"/>
                <a:gd name="connsiteX280" fmla="*/ 218495 w 397940"/>
                <a:gd name="connsiteY280" fmla="*/ 171084 h 225957"/>
                <a:gd name="connsiteX281" fmla="*/ 218394 w 397940"/>
                <a:gd name="connsiteY281" fmla="*/ 169897 h 225957"/>
                <a:gd name="connsiteX282" fmla="*/ 215016 w 397940"/>
                <a:gd name="connsiteY282" fmla="*/ 168996 h 225957"/>
                <a:gd name="connsiteX283" fmla="*/ 211874 w 397940"/>
                <a:gd name="connsiteY283" fmla="*/ 168737 h 225957"/>
                <a:gd name="connsiteX284" fmla="*/ 209883 w 397940"/>
                <a:gd name="connsiteY284" fmla="*/ 167669 h 225957"/>
                <a:gd name="connsiteX285" fmla="*/ 208363 w 397940"/>
                <a:gd name="connsiteY285" fmla="*/ 166446 h 225957"/>
                <a:gd name="connsiteX286" fmla="*/ 211926 w 397940"/>
                <a:gd name="connsiteY286" fmla="*/ 166427 h 225957"/>
                <a:gd name="connsiteX287" fmla="*/ 215506 w 397940"/>
                <a:gd name="connsiteY287" fmla="*/ 167352 h 225957"/>
                <a:gd name="connsiteX288" fmla="*/ 221112 w 397940"/>
                <a:gd name="connsiteY288" fmla="*/ 167693 h 225957"/>
                <a:gd name="connsiteX289" fmla="*/ 226195 w 397940"/>
                <a:gd name="connsiteY289" fmla="*/ 168649 h 225957"/>
                <a:gd name="connsiteX290" fmla="*/ 227469 w 397940"/>
                <a:gd name="connsiteY290" fmla="*/ 167460 h 225957"/>
                <a:gd name="connsiteX291" fmla="*/ 230423 w 397940"/>
                <a:gd name="connsiteY291" fmla="*/ 165399 h 225957"/>
                <a:gd name="connsiteX292" fmla="*/ 230987 w 397940"/>
                <a:gd name="connsiteY292" fmla="*/ 164742 h 225957"/>
                <a:gd name="connsiteX293" fmla="*/ 226035 w 397940"/>
                <a:gd name="connsiteY293" fmla="*/ 166153 h 225957"/>
                <a:gd name="connsiteX294" fmla="*/ 221019 w 397940"/>
                <a:gd name="connsiteY294" fmla="*/ 165253 h 225957"/>
                <a:gd name="connsiteX295" fmla="*/ 219186 w 397940"/>
                <a:gd name="connsiteY295" fmla="*/ 163995 h 225957"/>
                <a:gd name="connsiteX296" fmla="*/ 217637 w 397940"/>
                <a:gd name="connsiteY296" fmla="*/ 162151 h 225957"/>
                <a:gd name="connsiteX297" fmla="*/ 216987 w 397940"/>
                <a:gd name="connsiteY297" fmla="*/ 160047 h 225957"/>
                <a:gd name="connsiteX298" fmla="*/ 217411 w 397940"/>
                <a:gd name="connsiteY298" fmla="*/ 158085 h 225957"/>
                <a:gd name="connsiteX299" fmla="*/ 216869 w 397940"/>
                <a:gd name="connsiteY299" fmla="*/ 154539 h 225957"/>
                <a:gd name="connsiteX300" fmla="*/ 215215 w 397940"/>
                <a:gd name="connsiteY300" fmla="*/ 151380 h 225957"/>
                <a:gd name="connsiteX301" fmla="*/ 214628 w 397940"/>
                <a:gd name="connsiteY301" fmla="*/ 149645 h 225957"/>
                <a:gd name="connsiteX302" fmla="*/ 212880 w 397940"/>
                <a:gd name="connsiteY302" fmla="*/ 148089 h 225957"/>
                <a:gd name="connsiteX303" fmla="*/ 214599 w 397940"/>
                <a:gd name="connsiteY303" fmla="*/ 151607 h 225957"/>
                <a:gd name="connsiteX304" fmla="*/ 215241 w 397940"/>
                <a:gd name="connsiteY304" fmla="*/ 153945 h 225957"/>
                <a:gd name="connsiteX305" fmla="*/ 216275 w 397940"/>
                <a:gd name="connsiteY305" fmla="*/ 156097 h 225957"/>
                <a:gd name="connsiteX306" fmla="*/ 216031 w 397940"/>
                <a:gd name="connsiteY306" fmla="*/ 161794 h 225957"/>
                <a:gd name="connsiteX307" fmla="*/ 215394 w 397940"/>
                <a:gd name="connsiteY307" fmla="*/ 163793 h 225957"/>
                <a:gd name="connsiteX308" fmla="*/ 213332 w 397940"/>
                <a:gd name="connsiteY308" fmla="*/ 164297 h 225957"/>
                <a:gd name="connsiteX309" fmla="*/ 210622 w 397940"/>
                <a:gd name="connsiteY309" fmla="*/ 163997 h 225957"/>
                <a:gd name="connsiteX310" fmla="*/ 207860 w 397940"/>
                <a:gd name="connsiteY310" fmla="*/ 163376 h 225957"/>
                <a:gd name="connsiteX311" fmla="*/ 208551 w 397940"/>
                <a:gd name="connsiteY311" fmla="*/ 160245 h 225957"/>
                <a:gd name="connsiteX312" fmla="*/ 207080 w 397940"/>
                <a:gd name="connsiteY312" fmla="*/ 161328 h 225957"/>
                <a:gd name="connsiteX313" fmla="*/ 205003 w 397940"/>
                <a:gd name="connsiteY313" fmla="*/ 164375 h 225957"/>
                <a:gd name="connsiteX314" fmla="*/ 203176 w 397940"/>
                <a:gd name="connsiteY314" fmla="*/ 164829 h 225957"/>
                <a:gd name="connsiteX315" fmla="*/ 199119 w 397940"/>
                <a:gd name="connsiteY315" fmla="*/ 164496 h 225957"/>
                <a:gd name="connsiteX316" fmla="*/ 191589 w 397940"/>
                <a:gd name="connsiteY316" fmla="*/ 166510 h 225957"/>
                <a:gd name="connsiteX317" fmla="*/ 191071 w 397940"/>
                <a:gd name="connsiteY317" fmla="*/ 168702 h 225957"/>
                <a:gd name="connsiteX318" fmla="*/ 189939 w 397940"/>
                <a:gd name="connsiteY318" fmla="*/ 171665 h 225957"/>
                <a:gd name="connsiteX319" fmla="*/ 188847 w 397940"/>
                <a:gd name="connsiteY319" fmla="*/ 173389 h 225957"/>
                <a:gd name="connsiteX320" fmla="*/ 188503 w 397940"/>
                <a:gd name="connsiteY320" fmla="*/ 174428 h 225957"/>
                <a:gd name="connsiteX321" fmla="*/ 185292 w 397940"/>
                <a:gd name="connsiteY321" fmla="*/ 178886 h 225957"/>
                <a:gd name="connsiteX322" fmla="*/ 184882 w 397940"/>
                <a:gd name="connsiteY322" fmla="*/ 179307 h 225957"/>
                <a:gd name="connsiteX323" fmla="*/ 178825 w 397940"/>
                <a:gd name="connsiteY323" fmla="*/ 185475 h 225957"/>
                <a:gd name="connsiteX324" fmla="*/ 178054 w 397940"/>
                <a:gd name="connsiteY324" fmla="*/ 185938 h 225957"/>
                <a:gd name="connsiteX325" fmla="*/ 174128 w 397940"/>
                <a:gd name="connsiteY325" fmla="*/ 187371 h 225957"/>
                <a:gd name="connsiteX326" fmla="*/ 171807 w 397940"/>
                <a:gd name="connsiteY326" fmla="*/ 188626 h 225957"/>
                <a:gd name="connsiteX327" fmla="*/ 170028 w 397940"/>
                <a:gd name="connsiteY327" fmla="*/ 189186 h 225957"/>
                <a:gd name="connsiteX328" fmla="*/ 167017 w 397940"/>
                <a:gd name="connsiteY328" fmla="*/ 188563 h 225957"/>
                <a:gd name="connsiteX329" fmla="*/ 165765 w 397940"/>
                <a:gd name="connsiteY329" fmla="*/ 189451 h 225957"/>
                <a:gd name="connsiteX330" fmla="*/ 165173 w 397940"/>
                <a:gd name="connsiteY330" fmla="*/ 190550 h 225957"/>
                <a:gd name="connsiteX331" fmla="*/ 165162 w 397940"/>
                <a:gd name="connsiteY331" fmla="*/ 192821 h 225957"/>
                <a:gd name="connsiteX332" fmla="*/ 166691 w 397940"/>
                <a:gd name="connsiteY332" fmla="*/ 194452 h 225957"/>
                <a:gd name="connsiteX333" fmla="*/ 167944 w 397940"/>
                <a:gd name="connsiteY333" fmla="*/ 199870 h 225957"/>
                <a:gd name="connsiteX334" fmla="*/ 167477 w 397940"/>
                <a:gd name="connsiteY334" fmla="*/ 202156 h 225957"/>
                <a:gd name="connsiteX335" fmla="*/ 166285 w 397940"/>
                <a:gd name="connsiteY335" fmla="*/ 200676 h 225957"/>
                <a:gd name="connsiteX336" fmla="*/ 164422 w 397940"/>
                <a:gd name="connsiteY336" fmla="*/ 199116 h 225957"/>
                <a:gd name="connsiteX337" fmla="*/ 160796 w 397940"/>
                <a:gd name="connsiteY337" fmla="*/ 197775 h 225957"/>
                <a:gd name="connsiteX338" fmla="*/ 156812 w 397940"/>
                <a:gd name="connsiteY338" fmla="*/ 198234 h 225957"/>
                <a:gd name="connsiteX339" fmla="*/ 152476 w 397940"/>
                <a:gd name="connsiteY339" fmla="*/ 200494 h 225957"/>
                <a:gd name="connsiteX340" fmla="*/ 149533 w 397940"/>
                <a:gd name="connsiteY340" fmla="*/ 201334 h 225957"/>
                <a:gd name="connsiteX341" fmla="*/ 147984 w 397940"/>
                <a:gd name="connsiteY341" fmla="*/ 200754 h 225957"/>
                <a:gd name="connsiteX342" fmla="*/ 147043 w 397940"/>
                <a:gd name="connsiteY342" fmla="*/ 200787 h 225957"/>
                <a:gd name="connsiteX343" fmla="*/ 146708 w 397940"/>
                <a:gd name="connsiteY343" fmla="*/ 201435 h 225957"/>
                <a:gd name="connsiteX344" fmla="*/ 146780 w 397940"/>
                <a:gd name="connsiteY344" fmla="*/ 201965 h 225957"/>
                <a:gd name="connsiteX345" fmla="*/ 147257 w 397940"/>
                <a:gd name="connsiteY345" fmla="*/ 202376 h 225957"/>
                <a:gd name="connsiteX346" fmla="*/ 147187 w 397940"/>
                <a:gd name="connsiteY346" fmla="*/ 202676 h 225957"/>
                <a:gd name="connsiteX347" fmla="*/ 146579 w 397940"/>
                <a:gd name="connsiteY347" fmla="*/ 202863 h 225957"/>
                <a:gd name="connsiteX348" fmla="*/ 139736 w 397940"/>
                <a:gd name="connsiteY348" fmla="*/ 201272 h 225957"/>
                <a:gd name="connsiteX349" fmla="*/ 136782 w 397940"/>
                <a:gd name="connsiteY349" fmla="*/ 199766 h 225957"/>
                <a:gd name="connsiteX350" fmla="*/ 134456 w 397940"/>
                <a:gd name="connsiteY350" fmla="*/ 196930 h 225957"/>
                <a:gd name="connsiteX351" fmla="*/ 135613 w 397940"/>
                <a:gd name="connsiteY351" fmla="*/ 196012 h 225957"/>
                <a:gd name="connsiteX352" fmla="*/ 136620 w 397940"/>
                <a:gd name="connsiteY352" fmla="*/ 195608 h 225957"/>
                <a:gd name="connsiteX353" fmla="*/ 140181 w 397940"/>
                <a:gd name="connsiteY353" fmla="*/ 195372 h 225957"/>
                <a:gd name="connsiteX354" fmla="*/ 140792 w 397940"/>
                <a:gd name="connsiteY354" fmla="*/ 195082 h 225957"/>
                <a:gd name="connsiteX355" fmla="*/ 140852 w 397940"/>
                <a:gd name="connsiteY355" fmla="*/ 194427 h 225957"/>
                <a:gd name="connsiteX356" fmla="*/ 141118 w 397940"/>
                <a:gd name="connsiteY356" fmla="*/ 193579 h 225957"/>
                <a:gd name="connsiteX357" fmla="*/ 141023 w 397940"/>
                <a:gd name="connsiteY357" fmla="*/ 192330 h 225957"/>
                <a:gd name="connsiteX358" fmla="*/ 140627 w 397940"/>
                <a:gd name="connsiteY358" fmla="*/ 191011 h 225957"/>
                <a:gd name="connsiteX359" fmla="*/ 142191 w 397940"/>
                <a:gd name="connsiteY359" fmla="*/ 189084 h 225957"/>
                <a:gd name="connsiteX360" fmla="*/ 144519 w 397940"/>
                <a:gd name="connsiteY360" fmla="*/ 187484 h 225957"/>
                <a:gd name="connsiteX361" fmla="*/ 145883 w 397940"/>
                <a:gd name="connsiteY361" fmla="*/ 185881 h 225957"/>
                <a:gd name="connsiteX362" fmla="*/ 146093 w 397940"/>
                <a:gd name="connsiteY362" fmla="*/ 183532 h 225957"/>
                <a:gd name="connsiteX363" fmla="*/ 148542 w 397940"/>
                <a:gd name="connsiteY363" fmla="*/ 182387 h 225957"/>
                <a:gd name="connsiteX364" fmla="*/ 150714 w 397940"/>
                <a:gd name="connsiteY364" fmla="*/ 180418 h 225957"/>
                <a:gd name="connsiteX365" fmla="*/ 151247 w 397940"/>
                <a:gd name="connsiteY365" fmla="*/ 178270 h 225957"/>
                <a:gd name="connsiteX366" fmla="*/ 152007 w 397940"/>
                <a:gd name="connsiteY366" fmla="*/ 176920 h 225957"/>
                <a:gd name="connsiteX367" fmla="*/ 150625 w 397940"/>
                <a:gd name="connsiteY367" fmla="*/ 173821 h 225957"/>
                <a:gd name="connsiteX368" fmla="*/ 150334 w 397940"/>
                <a:gd name="connsiteY368" fmla="*/ 171775 h 225957"/>
                <a:gd name="connsiteX369" fmla="*/ 150265 w 397940"/>
                <a:gd name="connsiteY369" fmla="*/ 170059 h 225957"/>
                <a:gd name="connsiteX370" fmla="*/ 150949 w 397940"/>
                <a:gd name="connsiteY370" fmla="*/ 169105 h 225957"/>
                <a:gd name="connsiteX371" fmla="*/ 152973 w 397940"/>
                <a:gd name="connsiteY371" fmla="*/ 168036 h 225957"/>
                <a:gd name="connsiteX372" fmla="*/ 155104 w 397940"/>
                <a:gd name="connsiteY372" fmla="*/ 167207 h 225957"/>
                <a:gd name="connsiteX373" fmla="*/ 155987 w 397940"/>
                <a:gd name="connsiteY373" fmla="*/ 167288 h 225957"/>
                <a:gd name="connsiteX374" fmla="*/ 156309 w 397940"/>
                <a:gd name="connsiteY374" fmla="*/ 167816 h 225957"/>
                <a:gd name="connsiteX375" fmla="*/ 156393 w 397940"/>
                <a:gd name="connsiteY375" fmla="*/ 171301 h 225957"/>
                <a:gd name="connsiteX376" fmla="*/ 156819 w 397940"/>
                <a:gd name="connsiteY376" fmla="*/ 171367 h 225957"/>
                <a:gd name="connsiteX377" fmla="*/ 157499 w 397940"/>
                <a:gd name="connsiteY377" fmla="*/ 170933 h 225957"/>
                <a:gd name="connsiteX378" fmla="*/ 158611 w 397940"/>
                <a:gd name="connsiteY378" fmla="*/ 168881 h 225957"/>
                <a:gd name="connsiteX379" fmla="*/ 159377 w 397940"/>
                <a:gd name="connsiteY379" fmla="*/ 169478 h 225957"/>
                <a:gd name="connsiteX380" fmla="*/ 160556 w 397940"/>
                <a:gd name="connsiteY380" fmla="*/ 169705 h 225957"/>
                <a:gd name="connsiteX381" fmla="*/ 161440 w 397940"/>
                <a:gd name="connsiteY381" fmla="*/ 169176 h 225957"/>
                <a:gd name="connsiteX382" fmla="*/ 162014 w 397940"/>
                <a:gd name="connsiteY382" fmla="*/ 169237 h 225957"/>
                <a:gd name="connsiteX383" fmla="*/ 162726 w 397940"/>
                <a:gd name="connsiteY383" fmla="*/ 169767 h 225957"/>
                <a:gd name="connsiteX384" fmla="*/ 164143 w 397940"/>
                <a:gd name="connsiteY384" fmla="*/ 170513 h 225957"/>
                <a:gd name="connsiteX385" fmla="*/ 165467 w 397940"/>
                <a:gd name="connsiteY385" fmla="*/ 170761 h 225957"/>
                <a:gd name="connsiteX386" fmla="*/ 166564 w 397940"/>
                <a:gd name="connsiteY386" fmla="*/ 170264 h 225957"/>
                <a:gd name="connsiteX387" fmla="*/ 167499 w 397940"/>
                <a:gd name="connsiteY387" fmla="*/ 169377 h 225957"/>
                <a:gd name="connsiteX388" fmla="*/ 168497 w 397940"/>
                <a:gd name="connsiteY388" fmla="*/ 169680 h 225957"/>
                <a:gd name="connsiteX389" fmla="*/ 170397 w 397940"/>
                <a:gd name="connsiteY389" fmla="*/ 172100 h 225957"/>
                <a:gd name="connsiteX390" fmla="*/ 171284 w 397940"/>
                <a:gd name="connsiteY390" fmla="*/ 171832 h 225957"/>
                <a:gd name="connsiteX391" fmla="*/ 175655 w 397940"/>
                <a:gd name="connsiteY391" fmla="*/ 171343 h 225957"/>
                <a:gd name="connsiteX392" fmla="*/ 176359 w 397940"/>
                <a:gd name="connsiteY392" fmla="*/ 170685 h 225957"/>
                <a:gd name="connsiteX393" fmla="*/ 176879 w 397940"/>
                <a:gd name="connsiteY393" fmla="*/ 170088 h 225957"/>
                <a:gd name="connsiteX394" fmla="*/ 172308 w 397940"/>
                <a:gd name="connsiteY394" fmla="*/ 166875 h 225957"/>
                <a:gd name="connsiteX395" fmla="*/ 172539 w 397940"/>
                <a:gd name="connsiteY395" fmla="*/ 164481 h 225957"/>
                <a:gd name="connsiteX396" fmla="*/ 172710 w 397940"/>
                <a:gd name="connsiteY396" fmla="*/ 161734 h 225957"/>
                <a:gd name="connsiteX397" fmla="*/ 172170 w 397940"/>
                <a:gd name="connsiteY397" fmla="*/ 160102 h 225957"/>
                <a:gd name="connsiteX398" fmla="*/ 171280 w 397940"/>
                <a:gd name="connsiteY398" fmla="*/ 158807 h 225957"/>
                <a:gd name="connsiteX399" fmla="*/ 167784 w 397940"/>
                <a:gd name="connsiteY399" fmla="*/ 157302 h 225957"/>
                <a:gd name="connsiteX400" fmla="*/ 165087 w 397940"/>
                <a:gd name="connsiteY400" fmla="*/ 155743 h 225957"/>
                <a:gd name="connsiteX401" fmla="*/ 164517 w 397940"/>
                <a:gd name="connsiteY401" fmla="*/ 155040 h 225957"/>
                <a:gd name="connsiteX402" fmla="*/ 164443 w 397940"/>
                <a:gd name="connsiteY402" fmla="*/ 154128 h 225957"/>
                <a:gd name="connsiteX403" fmla="*/ 164329 w 397940"/>
                <a:gd name="connsiteY403" fmla="*/ 152710 h 225957"/>
                <a:gd name="connsiteX404" fmla="*/ 163258 w 397940"/>
                <a:gd name="connsiteY404" fmla="*/ 151492 h 225957"/>
                <a:gd name="connsiteX405" fmla="*/ 163167 w 397940"/>
                <a:gd name="connsiteY405" fmla="*/ 150461 h 225957"/>
                <a:gd name="connsiteX406" fmla="*/ 163850 w 397940"/>
                <a:gd name="connsiteY406" fmla="*/ 148853 h 225957"/>
                <a:gd name="connsiteX407" fmla="*/ 164016 w 397940"/>
                <a:gd name="connsiteY407" fmla="*/ 147139 h 225957"/>
                <a:gd name="connsiteX408" fmla="*/ 163791 w 397940"/>
                <a:gd name="connsiteY408" fmla="*/ 146462 h 225957"/>
                <a:gd name="connsiteX409" fmla="*/ 163161 w 397940"/>
                <a:gd name="connsiteY409" fmla="*/ 145910 h 225957"/>
                <a:gd name="connsiteX410" fmla="*/ 161945 w 397940"/>
                <a:gd name="connsiteY410" fmla="*/ 145856 h 225957"/>
                <a:gd name="connsiteX411" fmla="*/ 160347 w 397940"/>
                <a:gd name="connsiteY411" fmla="*/ 144865 h 225957"/>
                <a:gd name="connsiteX412" fmla="*/ 159250 w 397940"/>
                <a:gd name="connsiteY412" fmla="*/ 143529 h 225957"/>
                <a:gd name="connsiteX413" fmla="*/ 156305 w 397940"/>
                <a:gd name="connsiteY413" fmla="*/ 141602 h 225957"/>
                <a:gd name="connsiteX414" fmla="*/ 155402 w 397940"/>
                <a:gd name="connsiteY414" fmla="*/ 141288 h 225957"/>
                <a:gd name="connsiteX415" fmla="*/ 154851 w 397940"/>
                <a:gd name="connsiteY415" fmla="*/ 140333 h 225957"/>
                <a:gd name="connsiteX416" fmla="*/ 154588 w 397940"/>
                <a:gd name="connsiteY416" fmla="*/ 139192 h 225957"/>
                <a:gd name="connsiteX417" fmla="*/ 155206 w 397940"/>
                <a:gd name="connsiteY417" fmla="*/ 137774 h 225957"/>
                <a:gd name="connsiteX418" fmla="*/ 155983 w 397940"/>
                <a:gd name="connsiteY418" fmla="*/ 135590 h 225957"/>
                <a:gd name="connsiteX419" fmla="*/ 156529 w 397940"/>
                <a:gd name="connsiteY419" fmla="*/ 133539 h 225957"/>
                <a:gd name="connsiteX420" fmla="*/ 156538 w 397940"/>
                <a:gd name="connsiteY420" fmla="*/ 132316 h 225957"/>
                <a:gd name="connsiteX421" fmla="*/ 156177 w 397940"/>
                <a:gd name="connsiteY421" fmla="*/ 129290 h 225957"/>
                <a:gd name="connsiteX422" fmla="*/ 154642 w 397940"/>
                <a:gd name="connsiteY422" fmla="*/ 126975 h 225957"/>
                <a:gd name="connsiteX423" fmla="*/ 153925 w 397940"/>
                <a:gd name="connsiteY423" fmla="*/ 126668 h 225957"/>
                <a:gd name="connsiteX424" fmla="*/ 152686 w 397940"/>
                <a:gd name="connsiteY424" fmla="*/ 127320 h 225957"/>
                <a:gd name="connsiteX425" fmla="*/ 151279 w 397940"/>
                <a:gd name="connsiteY425" fmla="*/ 127865 h 225957"/>
                <a:gd name="connsiteX426" fmla="*/ 150170 w 397940"/>
                <a:gd name="connsiteY426" fmla="*/ 127354 h 225957"/>
                <a:gd name="connsiteX427" fmla="*/ 148902 w 397940"/>
                <a:gd name="connsiteY427" fmla="*/ 126098 h 225957"/>
                <a:gd name="connsiteX428" fmla="*/ 146868 w 397940"/>
                <a:gd name="connsiteY428" fmla="*/ 122599 h 225957"/>
                <a:gd name="connsiteX429" fmla="*/ 143061 w 397940"/>
                <a:gd name="connsiteY429" fmla="*/ 121898 h 225957"/>
                <a:gd name="connsiteX430" fmla="*/ 141487 w 397940"/>
                <a:gd name="connsiteY430" fmla="*/ 121731 h 225957"/>
                <a:gd name="connsiteX431" fmla="*/ 139997 w 397940"/>
                <a:gd name="connsiteY431" fmla="*/ 123420 h 225957"/>
                <a:gd name="connsiteX432" fmla="*/ 139531 w 397940"/>
                <a:gd name="connsiteY432" fmla="*/ 122907 h 225957"/>
                <a:gd name="connsiteX433" fmla="*/ 139112 w 397940"/>
                <a:gd name="connsiteY433" fmla="*/ 121828 h 225957"/>
                <a:gd name="connsiteX434" fmla="*/ 138326 w 397940"/>
                <a:gd name="connsiteY434" fmla="*/ 121397 h 225957"/>
                <a:gd name="connsiteX435" fmla="*/ 137287 w 397940"/>
                <a:gd name="connsiteY435" fmla="*/ 121897 h 225957"/>
                <a:gd name="connsiteX436" fmla="*/ 136987 w 397940"/>
                <a:gd name="connsiteY436" fmla="*/ 121416 h 225957"/>
                <a:gd name="connsiteX437" fmla="*/ 137434 w 397940"/>
                <a:gd name="connsiteY437" fmla="*/ 119957 h 225957"/>
                <a:gd name="connsiteX438" fmla="*/ 136192 w 397940"/>
                <a:gd name="connsiteY438" fmla="*/ 119235 h 225957"/>
                <a:gd name="connsiteX439" fmla="*/ 133268 w 397940"/>
                <a:gd name="connsiteY439" fmla="*/ 119251 h 225957"/>
                <a:gd name="connsiteX440" fmla="*/ 131714 w 397940"/>
                <a:gd name="connsiteY440" fmla="*/ 118713 h 225957"/>
                <a:gd name="connsiteX441" fmla="*/ 131528 w 397940"/>
                <a:gd name="connsiteY441" fmla="*/ 117615 h 225957"/>
                <a:gd name="connsiteX442" fmla="*/ 130608 w 397940"/>
                <a:gd name="connsiteY442" fmla="*/ 116894 h 225957"/>
                <a:gd name="connsiteX443" fmla="*/ 128947 w 397940"/>
                <a:gd name="connsiteY443" fmla="*/ 116547 h 225957"/>
                <a:gd name="connsiteX444" fmla="*/ 127339 w 397940"/>
                <a:gd name="connsiteY444" fmla="*/ 115649 h 225957"/>
                <a:gd name="connsiteX445" fmla="*/ 125778 w 397940"/>
                <a:gd name="connsiteY445" fmla="*/ 114203 h 225957"/>
                <a:gd name="connsiteX446" fmla="*/ 123443 w 397940"/>
                <a:gd name="connsiteY446" fmla="*/ 113260 h 225957"/>
                <a:gd name="connsiteX447" fmla="*/ 120331 w 397940"/>
                <a:gd name="connsiteY447" fmla="*/ 112824 h 225957"/>
                <a:gd name="connsiteX448" fmla="*/ 120077 w 397940"/>
                <a:gd name="connsiteY448" fmla="*/ 112668 h 225957"/>
                <a:gd name="connsiteX449" fmla="*/ 119790 w 397940"/>
                <a:gd name="connsiteY449" fmla="*/ 112460 h 225957"/>
                <a:gd name="connsiteX450" fmla="*/ 117781 w 397940"/>
                <a:gd name="connsiteY450" fmla="*/ 113443 h 225957"/>
                <a:gd name="connsiteX451" fmla="*/ 116574 w 397940"/>
                <a:gd name="connsiteY451" fmla="*/ 114221 h 225957"/>
                <a:gd name="connsiteX452" fmla="*/ 115095 w 397940"/>
                <a:gd name="connsiteY452" fmla="*/ 113737 h 225957"/>
                <a:gd name="connsiteX453" fmla="*/ 112698 w 397940"/>
                <a:gd name="connsiteY453" fmla="*/ 115473 h 225957"/>
                <a:gd name="connsiteX454" fmla="*/ 107833 w 397940"/>
                <a:gd name="connsiteY454" fmla="*/ 115563 h 225957"/>
                <a:gd name="connsiteX455" fmla="*/ 105447 w 397940"/>
                <a:gd name="connsiteY455" fmla="*/ 115459 h 225957"/>
                <a:gd name="connsiteX456" fmla="*/ 104263 w 397940"/>
                <a:gd name="connsiteY456" fmla="*/ 115028 h 225957"/>
                <a:gd name="connsiteX457" fmla="*/ 99694 w 397940"/>
                <a:gd name="connsiteY457" fmla="*/ 117662 h 225957"/>
                <a:gd name="connsiteX458" fmla="*/ 99219 w 397940"/>
                <a:gd name="connsiteY458" fmla="*/ 118632 h 225957"/>
                <a:gd name="connsiteX459" fmla="*/ 98191 w 397940"/>
                <a:gd name="connsiteY459" fmla="*/ 118955 h 225957"/>
                <a:gd name="connsiteX460" fmla="*/ 95315 w 397940"/>
                <a:gd name="connsiteY460" fmla="*/ 119478 h 225957"/>
                <a:gd name="connsiteX461" fmla="*/ 92292 w 397940"/>
                <a:gd name="connsiteY461" fmla="*/ 120220 h 225957"/>
                <a:gd name="connsiteX462" fmla="*/ 91657 w 397940"/>
                <a:gd name="connsiteY462" fmla="*/ 122778 h 225957"/>
                <a:gd name="connsiteX463" fmla="*/ 90756 w 397940"/>
                <a:gd name="connsiteY463" fmla="*/ 124159 h 225957"/>
                <a:gd name="connsiteX464" fmla="*/ 89131 w 397940"/>
                <a:gd name="connsiteY464" fmla="*/ 126186 h 225957"/>
                <a:gd name="connsiteX465" fmla="*/ 83514 w 397940"/>
                <a:gd name="connsiteY465" fmla="*/ 126890 h 225957"/>
                <a:gd name="connsiteX466" fmla="*/ 78662 w 397940"/>
                <a:gd name="connsiteY466" fmla="*/ 127880 h 225957"/>
                <a:gd name="connsiteX467" fmla="*/ 73687 w 397940"/>
                <a:gd name="connsiteY467" fmla="*/ 128491 h 225957"/>
                <a:gd name="connsiteX468" fmla="*/ 67171 w 397940"/>
                <a:gd name="connsiteY468" fmla="*/ 130962 h 225957"/>
                <a:gd name="connsiteX469" fmla="*/ 65053 w 397940"/>
                <a:gd name="connsiteY469" fmla="*/ 133140 h 225957"/>
                <a:gd name="connsiteX470" fmla="*/ 62959 w 397940"/>
                <a:gd name="connsiteY470" fmla="*/ 133747 h 225957"/>
                <a:gd name="connsiteX471" fmla="*/ 61063 w 397940"/>
                <a:gd name="connsiteY471" fmla="*/ 133926 h 225957"/>
                <a:gd name="connsiteX472" fmla="*/ 59836 w 397940"/>
                <a:gd name="connsiteY472" fmla="*/ 132714 h 225957"/>
                <a:gd name="connsiteX473" fmla="*/ 55703 w 397940"/>
                <a:gd name="connsiteY473" fmla="*/ 129457 h 225957"/>
                <a:gd name="connsiteX474" fmla="*/ 54109 w 397940"/>
                <a:gd name="connsiteY474" fmla="*/ 127920 h 225957"/>
                <a:gd name="connsiteX475" fmla="*/ 52013 w 397940"/>
                <a:gd name="connsiteY475" fmla="*/ 127467 h 225957"/>
                <a:gd name="connsiteX476" fmla="*/ 49733 w 397940"/>
                <a:gd name="connsiteY476" fmla="*/ 127723 h 225957"/>
                <a:gd name="connsiteX477" fmla="*/ 47543 w 397940"/>
                <a:gd name="connsiteY477" fmla="*/ 128480 h 225957"/>
                <a:gd name="connsiteX478" fmla="*/ 45239 w 397940"/>
                <a:gd name="connsiteY478" fmla="*/ 128625 h 225957"/>
                <a:gd name="connsiteX479" fmla="*/ 42630 w 397940"/>
                <a:gd name="connsiteY479" fmla="*/ 127533 h 225957"/>
                <a:gd name="connsiteX480" fmla="*/ 42356 w 397940"/>
                <a:gd name="connsiteY480" fmla="*/ 127639 h 225957"/>
                <a:gd name="connsiteX481" fmla="*/ 41350 w 397940"/>
                <a:gd name="connsiteY481" fmla="*/ 127786 h 225957"/>
                <a:gd name="connsiteX482" fmla="*/ 34874 w 397940"/>
                <a:gd name="connsiteY482" fmla="*/ 126466 h 225957"/>
                <a:gd name="connsiteX483" fmla="*/ 34278 w 397940"/>
                <a:gd name="connsiteY483" fmla="*/ 126247 h 225957"/>
                <a:gd name="connsiteX484" fmla="*/ 33991 w 397940"/>
                <a:gd name="connsiteY484" fmla="*/ 126192 h 225957"/>
                <a:gd name="connsiteX485" fmla="*/ 33099 w 397940"/>
                <a:gd name="connsiteY485" fmla="*/ 126093 h 225957"/>
                <a:gd name="connsiteX486" fmla="*/ 28223 w 397940"/>
                <a:gd name="connsiteY486" fmla="*/ 126258 h 225957"/>
                <a:gd name="connsiteX487" fmla="*/ 23677 w 397940"/>
                <a:gd name="connsiteY487" fmla="*/ 123589 h 225957"/>
                <a:gd name="connsiteX488" fmla="*/ 22280 w 397940"/>
                <a:gd name="connsiteY488" fmla="*/ 123508 h 225957"/>
                <a:gd name="connsiteX489" fmla="*/ 21205 w 397940"/>
                <a:gd name="connsiteY489" fmla="*/ 124589 h 225957"/>
                <a:gd name="connsiteX490" fmla="*/ 20408 w 397940"/>
                <a:gd name="connsiteY490" fmla="*/ 125791 h 225957"/>
                <a:gd name="connsiteX491" fmla="*/ 17270 w 397940"/>
                <a:gd name="connsiteY491" fmla="*/ 126984 h 225957"/>
                <a:gd name="connsiteX492" fmla="*/ 16469 w 397940"/>
                <a:gd name="connsiteY492" fmla="*/ 127463 h 225957"/>
                <a:gd name="connsiteX493" fmla="*/ 16014 w 397940"/>
                <a:gd name="connsiteY493" fmla="*/ 127095 h 225957"/>
                <a:gd name="connsiteX494" fmla="*/ 15802 w 397940"/>
                <a:gd name="connsiteY494" fmla="*/ 126058 h 225957"/>
                <a:gd name="connsiteX495" fmla="*/ 16040 w 397940"/>
                <a:gd name="connsiteY495" fmla="*/ 125141 h 225957"/>
                <a:gd name="connsiteX496" fmla="*/ 15575 w 397940"/>
                <a:gd name="connsiteY496" fmla="*/ 124273 h 225957"/>
                <a:gd name="connsiteX497" fmla="*/ 14381 w 397940"/>
                <a:gd name="connsiteY497" fmla="*/ 123287 h 225957"/>
                <a:gd name="connsiteX498" fmla="*/ 14092 w 397940"/>
                <a:gd name="connsiteY498" fmla="*/ 122880 h 225957"/>
                <a:gd name="connsiteX499" fmla="*/ 12598 w 397940"/>
                <a:gd name="connsiteY499" fmla="*/ 122954 h 225957"/>
                <a:gd name="connsiteX500" fmla="*/ 12190 w 397940"/>
                <a:gd name="connsiteY500" fmla="*/ 123050 h 225957"/>
                <a:gd name="connsiteX501" fmla="*/ 12040 w 397940"/>
                <a:gd name="connsiteY501" fmla="*/ 123028 h 225957"/>
                <a:gd name="connsiteX502" fmla="*/ 9963 w 397940"/>
                <a:gd name="connsiteY502" fmla="*/ 122191 h 225957"/>
                <a:gd name="connsiteX503" fmla="*/ 8585 w 397940"/>
                <a:gd name="connsiteY503" fmla="*/ 120174 h 225957"/>
                <a:gd name="connsiteX504" fmla="*/ 6456 w 397940"/>
                <a:gd name="connsiteY504" fmla="*/ 119101 h 225957"/>
                <a:gd name="connsiteX505" fmla="*/ 4828 w 397940"/>
                <a:gd name="connsiteY505" fmla="*/ 118740 h 225957"/>
                <a:gd name="connsiteX506" fmla="*/ 4087 w 397940"/>
                <a:gd name="connsiteY506" fmla="*/ 117875 h 225957"/>
                <a:gd name="connsiteX507" fmla="*/ 3610 w 397940"/>
                <a:gd name="connsiteY507" fmla="*/ 116724 h 225957"/>
                <a:gd name="connsiteX508" fmla="*/ 3102 w 397940"/>
                <a:gd name="connsiteY508" fmla="*/ 115854 h 225957"/>
                <a:gd name="connsiteX509" fmla="*/ 3042 w 397940"/>
                <a:gd name="connsiteY509" fmla="*/ 115772 h 225957"/>
                <a:gd name="connsiteX510" fmla="*/ 2695 w 397940"/>
                <a:gd name="connsiteY510" fmla="*/ 114455 h 225957"/>
                <a:gd name="connsiteX511" fmla="*/ 2196 w 397940"/>
                <a:gd name="connsiteY511" fmla="*/ 114319 h 225957"/>
                <a:gd name="connsiteX512" fmla="*/ 2107 w 397940"/>
                <a:gd name="connsiteY512" fmla="*/ 114284 h 225957"/>
                <a:gd name="connsiteX513" fmla="*/ 0 w 397940"/>
                <a:gd name="connsiteY513" fmla="*/ 114513 h 225957"/>
                <a:gd name="connsiteX514" fmla="*/ 244 w 397940"/>
                <a:gd name="connsiteY514" fmla="*/ 109884 h 225957"/>
                <a:gd name="connsiteX515" fmla="*/ 3612 w 397940"/>
                <a:gd name="connsiteY515" fmla="*/ 106550 h 225957"/>
                <a:gd name="connsiteX516" fmla="*/ 4439 w 397940"/>
                <a:gd name="connsiteY516" fmla="*/ 104866 h 225957"/>
                <a:gd name="connsiteX517" fmla="*/ 5696 w 397940"/>
                <a:gd name="connsiteY517" fmla="*/ 101209 h 225957"/>
                <a:gd name="connsiteX518" fmla="*/ 6638 w 397940"/>
                <a:gd name="connsiteY518" fmla="*/ 99497 h 225957"/>
                <a:gd name="connsiteX519" fmla="*/ 7769 w 397940"/>
                <a:gd name="connsiteY519" fmla="*/ 98079 h 225957"/>
                <a:gd name="connsiteX520" fmla="*/ 8674 w 397940"/>
                <a:gd name="connsiteY520" fmla="*/ 96706 h 225957"/>
                <a:gd name="connsiteX521" fmla="*/ 8996 w 397940"/>
                <a:gd name="connsiteY521" fmla="*/ 95526 h 225957"/>
                <a:gd name="connsiteX522" fmla="*/ 9909 w 397940"/>
                <a:gd name="connsiteY522" fmla="*/ 95398 h 225957"/>
                <a:gd name="connsiteX523" fmla="*/ 12591 w 397940"/>
                <a:gd name="connsiteY523" fmla="*/ 96462 h 225957"/>
                <a:gd name="connsiteX524" fmla="*/ 14990 w 397940"/>
                <a:gd name="connsiteY524" fmla="*/ 97009 h 225957"/>
                <a:gd name="connsiteX525" fmla="*/ 15653 w 397940"/>
                <a:gd name="connsiteY525" fmla="*/ 96491 h 225957"/>
                <a:gd name="connsiteX526" fmla="*/ 15925 w 397940"/>
                <a:gd name="connsiteY526" fmla="*/ 95811 h 225957"/>
                <a:gd name="connsiteX527" fmla="*/ 15815 w 397940"/>
                <a:gd name="connsiteY527" fmla="*/ 95282 h 225957"/>
                <a:gd name="connsiteX528" fmla="*/ 13893 w 397940"/>
                <a:gd name="connsiteY528" fmla="*/ 93712 h 225957"/>
                <a:gd name="connsiteX529" fmla="*/ 12688 w 397940"/>
                <a:gd name="connsiteY529" fmla="*/ 92712 h 225957"/>
                <a:gd name="connsiteX530" fmla="*/ 12615 w 397940"/>
                <a:gd name="connsiteY530" fmla="*/ 92097 h 225957"/>
                <a:gd name="connsiteX531" fmla="*/ 13049 w 397940"/>
                <a:gd name="connsiteY531" fmla="*/ 90717 h 225957"/>
                <a:gd name="connsiteX532" fmla="*/ 13280 w 397940"/>
                <a:gd name="connsiteY532" fmla="*/ 89165 h 225957"/>
                <a:gd name="connsiteX533" fmla="*/ 13003 w 397940"/>
                <a:gd name="connsiteY533" fmla="*/ 87486 h 225957"/>
                <a:gd name="connsiteX534" fmla="*/ 11693 w 397940"/>
                <a:gd name="connsiteY534" fmla="*/ 83762 h 225957"/>
                <a:gd name="connsiteX535" fmla="*/ 11444 w 397940"/>
                <a:gd name="connsiteY535" fmla="*/ 82174 h 225957"/>
                <a:gd name="connsiteX536" fmla="*/ 12699 w 397940"/>
                <a:gd name="connsiteY536" fmla="*/ 80244 h 225957"/>
                <a:gd name="connsiteX537" fmla="*/ 16780 w 397940"/>
                <a:gd name="connsiteY537" fmla="*/ 75641 h 225957"/>
                <a:gd name="connsiteX538" fmla="*/ 18141 w 397940"/>
                <a:gd name="connsiteY538" fmla="*/ 73910 h 225957"/>
                <a:gd name="connsiteX539" fmla="*/ 20000 w 397940"/>
                <a:gd name="connsiteY539" fmla="*/ 71815 h 225957"/>
                <a:gd name="connsiteX540" fmla="*/ 25044 w 397940"/>
                <a:gd name="connsiteY540" fmla="*/ 66799 h 225957"/>
                <a:gd name="connsiteX541" fmla="*/ 28232 w 397940"/>
                <a:gd name="connsiteY541" fmla="*/ 63878 h 225957"/>
                <a:gd name="connsiteX542" fmla="*/ 30389 w 397940"/>
                <a:gd name="connsiteY542" fmla="*/ 62260 h 225957"/>
                <a:gd name="connsiteX543" fmla="*/ 33548 w 397940"/>
                <a:gd name="connsiteY543" fmla="*/ 59445 h 225957"/>
                <a:gd name="connsiteX544" fmla="*/ 34934 w 397940"/>
                <a:gd name="connsiteY544" fmla="*/ 57987 h 225957"/>
                <a:gd name="connsiteX545" fmla="*/ 40704 w 397940"/>
                <a:gd name="connsiteY545" fmla="*/ 57038 h 225957"/>
                <a:gd name="connsiteX546" fmla="*/ 41419 w 397940"/>
                <a:gd name="connsiteY546" fmla="*/ 55675 h 225957"/>
                <a:gd name="connsiteX547" fmla="*/ 42473 w 397940"/>
                <a:gd name="connsiteY547" fmla="*/ 54183 h 225957"/>
                <a:gd name="connsiteX548" fmla="*/ 43297 w 397940"/>
                <a:gd name="connsiteY548" fmla="*/ 53543 h 225957"/>
                <a:gd name="connsiteX549" fmla="*/ 43403 w 397940"/>
                <a:gd name="connsiteY549" fmla="*/ 51027 h 225957"/>
                <a:gd name="connsiteX550" fmla="*/ 42332 w 397940"/>
                <a:gd name="connsiteY550" fmla="*/ 47950 h 225957"/>
                <a:gd name="connsiteX551" fmla="*/ 41471 w 397940"/>
                <a:gd name="connsiteY551" fmla="*/ 46862 h 225957"/>
                <a:gd name="connsiteX552" fmla="*/ 40832 w 397940"/>
                <a:gd name="connsiteY552" fmla="*/ 46121 h 225957"/>
                <a:gd name="connsiteX553" fmla="*/ 41244 w 397940"/>
                <a:gd name="connsiteY553" fmla="*/ 45428 h 225957"/>
                <a:gd name="connsiteX554" fmla="*/ 41883 w 397940"/>
                <a:gd name="connsiteY554" fmla="*/ 45231 h 225957"/>
                <a:gd name="connsiteX555" fmla="*/ 42671 w 397940"/>
                <a:gd name="connsiteY555" fmla="*/ 45133 h 225957"/>
                <a:gd name="connsiteX556" fmla="*/ 43647 w 397940"/>
                <a:gd name="connsiteY556" fmla="*/ 44391 h 225957"/>
                <a:gd name="connsiteX557" fmla="*/ 43427 w 397940"/>
                <a:gd name="connsiteY557" fmla="*/ 43581 h 225957"/>
                <a:gd name="connsiteX558" fmla="*/ 40994 w 397940"/>
                <a:gd name="connsiteY558" fmla="*/ 41606 h 225957"/>
                <a:gd name="connsiteX559" fmla="*/ 39940 w 397940"/>
                <a:gd name="connsiteY559" fmla="*/ 40085 h 225957"/>
                <a:gd name="connsiteX560" fmla="*/ 38290 w 397940"/>
                <a:gd name="connsiteY560" fmla="*/ 36177 h 225957"/>
                <a:gd name="connsiteX561" fmla="*/ 34945 w 397940"/>
                <a:gd name="connsiteY561" fmla="*/ 32109 h 225957"/>
                <a:gd name="connsiteX562" fmla="*/ 33889 w 397940"/>
                <a:gd name="connsiteY562" fmla="*/ 30793 h 225957"/>
                <a:gd name="connsiteX563" fmla="*/ 33738 w 397940"/>
                <a:gd name="connsiteY563" fmla="*/ 29548 h 225957"/>
                <a:gd name="connsiteX564" fmla="*/ 34226 w 397940"/>
                <a:gd name="connsiteY564" fmla="*/ 28303 h 225957"/>
                <a:gd name="connsiteX565" fmla="*/ 33766 w 397940"/>
                <a:gd name="connsiteY565" fmla="*/ 26716 h 225957"/>
                <a:gd name="connsiteX566" fmla="*/ 32581 w 397940"/>
                <a:gd name="connsiteY566" fmla="*/ 24690 h 225957"/>
                <a:gd name="connsiteX567" fmla="*/ 32768 w 397940"/>
                <a:gd name="connsiteY567" fmla="*/ 24471 h 225957"/>
                <a:gd name="connsiteX568" fmla="*/ 32654 w 397940"/>
                <a:gd name="connsiteY568" fmla="*/ 21968 h 225957"/>
                <a:gd name="connsiteX569" fmla="*/ 33496 w 397940"/>
                <a:gd name="connsiteY569" fmla="*/ 21427 h 225957"/>
                <a:gd name="connsiteX570" fmla="*/ 34826 w 397940"/>
                <a:gd name="connsiteY570" fmla="*/ 21061 h 225957"/>
                <a:gd name="connsiteX571" fmla="*/ 36703 w 397940"/>
                <a:gd name="connsiteY571" fmla="*/ 21184 h 225957"/>
                <a:gd name="connsiteX572" fmla="*/ 38307 w 397940"/>
                <a:gd name="connsiteY572" fmla="*/ 21571 h 225957"/>
                <a:gd name="connsiteX573" fmla="*/ 40229 w 397940"/>
                <a:gd name="connsiteY573" fmla="*/ 22716 h 225957"/>
                <a:gd name="connsiteX574" fmla="*/ 40829 w 397940"/>
                <a:gd name="connsiteY574" fmla="*/ 22532 h 225957"/>
                <a:gd name="connsiteX575" fmla="*/ 44114 w 397940"/>
                <a:gd name="connsiteY575" fmla="*/ 20373 h 225957"/>
                <a:gd name="connsiteX576" fmla="*/ 47502 w 397940"/>
                <a:gd name="connsiteY576" fmla="*/ 17130 h 225957"/>
                <a:gd name="connsiteX577" fmla="*/ 48467 w 397940"/>
                <a:gd name="connsiteY577" fmla="*/ 15251 h 225957"/>
                <a:gd name="connsiteX578" fmla="*/ 49311 w 397940"/>
                <a:gd name="connsiteY578" fmla="*/ 14392 h 225957"/>
                <a:gd name="connsiteX579" fmla="*/ 52259 w 397940"/>
                <a:gd name="connsiteY579" fmla="*/ 13933 h 225957"/>
                <a:gd name="connsiteX580" fmla="*/ 54826 w 397940"/>
                <a:gd name="connsiteY580" fmla="*/ 13743 h 225957"/>
                <a:gd name="connsiteX581" fmla="*/ 56459 w 397940"/>
                <a:gd name="connsiteY581" fmla="*/ 13779 h 225957"/>
                <a:gd name="connsiteX582" fmla="*/ 60467 w 397940"/>
                <a:gd name="connsiteY582" fmla="*/ 13459 h 225957"/>
                <a:gd name="connsiteX583" fmla="*/ 62842 w 397940"/>
                <a:gd name="connsiteY583" fmla="*/ 13104 h 225957"/>
                <a:gd name="connsiteX584" fmla="*/ 64896 w 397940"/>
                <a:gd name="connsiteY584" fmla="*/ 12531 h 225957"/>
                <a:gd name="connsiteX585" fmla="*/ 69329 w 397940"/>
                <a:gd name="connsiteY585" fmla="*/ 12318 h 225957"/>
                <a:gd name="connsiteX586" fmla="*/ 76252 w 397940"/>
                <a:gd name="connsiteY586" fmla="*/ 12702 h 225957"/>
                <a:gd name="connsiteX587" fmla="*/ 80795 w 397940"/>
                <a:gd name="connsiteY587" fmla="*/ 12729 h 225957"/>
                <a:gd name="connsiteX588" fmla="*/ 83881 w 397940"/>
                <a:gd name="connsiteY588" fmla="*/ 13034 h 225957"/>
                <a:gd name="connsiteX589" fmla="*/ 91439 w 397940"/>
                <a:gd name="connsiteY589" fmla="*/ 14761 h 225957"/>
                <a:gd name="connsiteX590" fmla="*/ 94252 w 397940"/>
                <a:gd name="connsiteY590" fmla="*/ 15074 h 225957"/>
                <a:gd name="connsiteX591" fmla="*/ 95559 w 397940"/>
                <a:gd name="connsiteY591" fmla="*/ 15988 h 225957"/>
                <a:gd name="connsiteX592" fmla="*/ 98068 w 397940"/>
                <a:gd name="connsiteY592" fmla="*/ 16328 h 225957"/>
                <a:gd name="connsiteX593" fmla="*/ 102635 w 397940"/>
                <a:gd name="connsiteY593" fmla="*/ 17248 h 225957"/>
                <a:gd name="connsiteX594" fmla="*/ 106602 w 397940"/>
                <a:gd name="connsiteY594" fmla="*/ 17741 h 225957"/>
                <a:gd name="connsiteX595" fmla="*/ 109284 w 397940"/>
                <a:gd name="connsiteY595" fmla="*/ 17539 h 225957"/>
                <a:gd name="connsiteX596" fmla="*/ 110785 w 397940"/>
                <a:gd name="connsiteY596" fmla="*/ 17798 h 225957"/>
                <a:gd name="connsiteX597" fmla="*/ 113618 w 397940"/>
                <a:gd name="connsiteY597" fmla="*/ 21877 h 225957"/>
                <a:gd name="connsiteX598" fmla="*/ 114196 w 397940"/>
                <a:gd name="connsiteY598" fmla="*/ 22353 h 225957"/>
                <a:gd name="connsiteX599" fmla="*/ 115332 w 397940"/>
                <a:gd name="connsiteY599" fmla="*/ 22449 h 225957"/>
                <a:gd name="connsiteX600" fmla="*/ 117647 w 397940"/>
                <a:gd name="connsiteY600" fmla="*/ 22097 h 225957"/>
                <a:gd name="connsiteX601" fmla="*/ 120943 w 397940"/>
                <a:gd name="connsiteY601" fmla="*/ 22229 h 225957"/>
                <a:gd name="connsiteX602" fmla="*/ 122897 w 397940"/>
                <a:gd name="connsiteY602" fmla="*/ 23088 h 225957"/>
                <a:gd name="connsiteX603" fmla="*/ 122610 w 397940"/>
                <a:gd name="connsiteY603" fmla="*/ 25513 h 225957"/>
                <a:gd name="connsiteX604" fmla="*/ 123123 w 397940"/>
                <a:gd name="connsiteY604" fmla="*/ 25864 h 225957"/>
                <a:gd name="connsiteX605" fmla="*/ 124037 w 397940"/>
                <a:gd name="connsiteY605" fmla="*/ 25729 h 225957"/>
                <a:gd name="connsiteX606" fmla="*/ 125088 w 397940"/>
                <a:gd name="connsiteY606" fmla="*/ 24360 h 225957"/>
                <a:gd name="connsiteX607" fmla="*/ 125972 w 397940"/>
                <a:gd name="connsiteY607" fmla="*/ 22940 h 225957"/>
                <a:gd name="connsiteX608" fmla="*/ 126630 w 397940"/>
                <a:gd name="connsiteY608" fmla="*/ 22501 h 225957"/>
                <a:gd name="connsiteX609" fmla="*/ 129995 w 397940"/>
                <a:gd name="connsiteY609" fmla="*/ 23460 h 225957"/>
                <a:gd name="connsiteX610" fmla="*/ 131532 w 397940"/>
                <a:gd name="connsiteY610" fmla="*/ 23305 h 225957"/>
                <a:gd name="connsiteX611" fmla="*/ 132951 w 397940"/>
                <a:gd name="connsiteY611" fmla="*/ 22228 h 225957"/>
                <a:gd name="connsiteX612" fmla="*/ 133821 w 397940"/>
                <a:gd name="connsiteY612" fmla="*/ 22045 h 225957"/>
                <a:gd name="connsiteX613" fmla="*/ 136205 w 397940"/>
                <a:gd name="connsiteY613" fmla="*/ 22811 h 225957"/>
                <a:gd name="connsiteX614" fmla="*/ 139146 w 397940"/>
                <a:gd name="connsiteY614" fmla="*/ 23347 h 225957"/>
                <a:gd name="connsiteX615" fmla="*/ 141522 w 397940"/>
                <a:gd name="connsiteY615" fmla="*/ 23381 h 225957"/>
                <a:gd name="connsiteX616" fmla="*/ 143003 w 397940"/>
                <a:gd name="connsiteY616" fmla="*/ 23964 h 225957"/>
                <a:gd name="connsiteX617" fmla="*/ 144080 w 397940"/>
                <a:gd name="connsiteY617" fmla="*/ 26494 h 225957"/>
                <a:gd name="connsiteX618" fmla="*/ 145020 w 397940"/>
                <a:gd name="connsiteY618" fmla="*/ 27013 h 225957"/>
                <a:gd name="connsiteX619" fmla="*/ 145927 w 397940"/>
                <a:gd name="connsiteY619" fmla="*/ 27174 h 225957"/>
                <a:gd name="connsiteX620" fmla="*/ 147298 w 397940"/>
                <a:gd name="connsiteY620" fmla="*/ 24913 h 225957"/>
                <a:gd name="connsiteX621" fmla="*/ 148542 w 397940"/>
                <a:gd name="connsiteY621" fmla="*/ 24036 h 225957"/>
                <a:gd name="connsiteX622" fmla="*/ 150267 w 397940"/>
                <a:gd name="connsiteY622" fmla="*/ 23390 h 225957"/>
                <a:gd name="connsiteX623" fmla="*/ 151377 w 397940"/>
                <a:gd name="connsiteY623" fmla="*/ 23107 h 225957"/>
                <a:gd name="connsiteX624" fmla="*/ 152158 w 397940"/>
                <a:gd name="connsiteY624" fmla="*/ 22308 h 225957"/>
                <a:gd name="connsiteX625" fmla="*/ 153212 w 397940"/>
                <a:gd name="connsiteY625" fmla="*/ 21528 h 225957"/>
                <a:gd name="connsiteX626" fmla="*/ 154126 w 397940"/>
                <a:gd name="connsiteY626" fmla="*/ 21466 h 225957"/>
                <a:gd name="connsiteX627" fmla="*/ 154868 w 397940"/>
                <a:gd name="connsiteY627" fmla="*/ 21768 h 225957"/>
                <a:gd name="connsiteX628" fmla="*/ 155721 w 397940"/>
                <a:gd name="connsiteY628" fmla="*/ 22847 h 225957"/>
                <a:gd name="connsiteX629" fmla="*/ 156965 w 397940"/>
                <a:gd name="connsiteY629" fmla="*/ 25305 h 225957"/>
                <a:gd name="connsiteX630" fmla="*/ 158477 w 397940"/>
                <a:gd name="connsiteY630" fmla="*/ 27771 h 225957"/>
                <a:gd name="connsiteX631" fmla="*/ 159531 w 397940"/>
                <a:gd name="connsiteY631" fmla="*/ 28666 h 225957"/>
                <a:gd name="connsiteX632" fmla="*/ 162254 w 397940"/>
                <a:gd name="connsiteY632" fmla="*/ 27909 h 225957"/>
                <a:gd name="connsiteX633" fmla="*/ 164100 w 397940"/>
                <a:gd name="connsiteY633" fmla="*/ 27139 h 225957"/>
                <a:gd name="connsiteX634" fmla="*/ 167482 w 397940"/>
                <a:gd name="connsiteY634" fmla="*/ 26993 h 225957"/>
                <a:gd name="connsiteX635" fmla="*/ 171964 w 397940"/>
                <a:gd name="connsiteY635" fmla="*/ 26451 h 225957"/>
                <a:gd name="connsiteX636" fmla="*/ 175392 w 397940"/>
                <a:gd name="connsiteY636" fmla="*/ 25745 h 225957"/>
                <a:gd name="connsiteX637" fmla="*/ 177536 w 397940"/>
                <a:gd name="connsiteY637" fmla="*/ 25867 h 225957"/>
                <a:gd name="connsiteX638" fmla="*/ 178836 w 397940"/>
                <a:gd name="connsiteY638" fmla="*/ 26650 h 225957"/>
                <a:gd name="connsiteX639" fmla="*/ 180814 w 397940"/>
                <a:gd name="connsiteY639" fmla="*/ 28166 h 225957"/>
                <a:gd name="connsiteX640" fmla="*/ 181354 w 397940"/>
                <a:gd name="connsiteY640" fmla="*/ 30339 h 225957"/>
                <a:gd name="connsiteX641" fmla="*/ 183921 w 397940"/>
                <a:gd name="connsiteY641" fmla="*/ 31841 h 225957"/>
                <a:gd name="connsiteX642" fmla="*/ 186022 w 397940"/>
                <a:gd name="connsiteY642" fmla="*/ 32112 h 225957"/>
                <a:gd name="connsiteX643" fmla="*/ 186739 w 397940"/>
                <a:gd name="connsiteY643" fmla="*/ 30549 h 225957"/>
                <a:gd name="connsiteX644" fmla="*/ 187968 w 397940"/>
                <a:gd name="connsiteY644" fmla="*/ 29462 h 225957"/>
                <a:gd name="connsiteX645" fmla="*/ 187508 w 397940"/>
                <a:gd name="connsiteY645" fmla="*/ 27968 h 225957"/>
                <a:gd name="connsiteX646" fmla="*/ 187301 w 397940"/>
                <a:gd name="connsiteY646" fmla="*/ 26062 h 225957"/>
                <a:gd name="connsiteX647" fmla="*/ 186380 w 397940"/>
                <a:gd name="connsiteY647" fmla="*/ 24291 h 225957"/>
                <a:gd name="connsiteX648" fmla="*/ 185767 w 397940"/>
                <a:gd name="connsiteY648" fmla="*/ 22384 h 225957"/>
                <a:gd name="connsiteX649" fmla="*/ 186892 w 397940"/>
                <a:gd name="connsiteY649" fmla="*/ 19657 h 225957"/>
                <a:gd name="connsiteX650" fmla="*/ 188121 w 397940"/>
                <a:gd name="connsiteY650" fmla="*/ 17267 h 225957"/>
                <a:gd name="connsiteX651" fmla="*/ 188736 w 397940"/>
                <a:gd name="connsiteY651" fmla="*/ 15968 h 225957"/>
                <a:gd name="connsiteX652" fmla="*/ 190682 w 397940"/>
                <a:gd name="connsiteY652" fmla="*/ 13576 h 225957"/>
                <a:gd name="connsiteX653" fmla="*/ 192682 w 397940"/>
                <a:gd name="connsiteY653" fmla="*/ 11865 h 225957"/>
                <a:gd name="connsiteX654" fmla="*/ 195666 w 397940"/>
                <a:gd name="connsiteY654" fmla="*/ 9111 h 225957"/>
                <a:gd name="connsiteX655" fmla="*/ 197847 w 397940"/>
                <a:gd name="connsiteY655" fmla="*/ 8201 h 225957"/>
                <a:gd name="connsiteX656" fmla="*/ 199818 w 397940"/>
                <a:gd name="connsiteY656" fmla="*/ 8616 h 225957"/>
                <a:gd name="connsiteX657" fmla="*/ 200913 w 397940"/>
                <a:gd name="connsiteY657" fmla="*/ 8992 h 225957"/>
                <a:gd name="connsiteX658" fmla="*/ 203744 w 397940"/>
                <a:gd name="connsiteY658" fmla="*/ 7360 h 225957"/>
                <a:gd name="connsiteX659" fmla="*/ 208780 w 397940"/>
                <a:gd name="connsiteY659" fmla="*/ 7279 h 225957"/>
                <a:gd name="connsiteX660" fmla="*/ 212973 w 397940"/>
                <a:gd name="connsiteY660" fmla="*/ 7487 h 225957"/>
                <a:gd name="connsiteX661" fmla="*/ 213394 w 397940"/>
                <a:gd name="connsiteY661" fmla="*/ 7536 h 225957"/>
                <a:gd name="connsiteX662" fmla="*/ 215455 w 397940"/>
                <a:gd name="connsiteY662" fmla="*/ 8380 h 225957"/>
                <a:gd name="connsiteX663" fmla="*/ 217627 w 397940"/>
                <a:gd name="connsiteY663" fmla="*/ 9098 h 225957"/>
                <a:gd name="connsiteX664" fmla="*/ 219125 w 397940"/>
                <a:gd name="connsiteY664" fmla="*/ 9146 h 225957"/>
                <a:gd name="connsiteX665" fmla="*/ 220909 w 397940"/>
                <a:gd name="connsiteY665" fmla="*/ 8981 h 225957"/>
                <a:gd name="connsiteX666" fmla="*/ 223000 w 397940"/>
                <a:gd name="connsiteY666" fmla="*/ 8024 h 225957"/>
                <a:gd name="connsiteX667" fmla="*/ 224459 w 397940"/>
                <a:gd name="connsiteY667" fmla="*/ 7104 h 225957"/>
                <a:gd name="connsiteX668" fmla="*/ 226232 w 397940"/>
                <a:gd name="connsiteY668" fmla="*/ 2418 h 225957"/>
                <a:gd name="connsiteX669" fmla="*/ 226858 w 397940"/>
                <a:gd name="connsiteY669" fmla="*/ 1744 h 225957"/>
                <a:gd name="connsiteX670" fmla="*/ 227834 w 397940"/>
                <a:gd name="connsiteY670" fmla="*/ 1376 h 225957"/>
                <a:gd name="connsiteX671" fmla="*/ 229437 w 397940"/>
                <a:gd name="connsiteY671" fmla="*/ 1337 h 225957"/>
                <a:gd name="connsiteX672" fmla="*/ 232477 w 397940"/>
                <a:gd name="connsiteY672" fmla="*/ 2211 h 225957"/>
                <a:gd name="connsiteX673" fmla="*/ 236038 w 397940"/>
                <a:gd name="connsiteY673" fmla="*/ 2996 h 225957"/>
                <a:gd name="connsiteX674" fmla="*/ 238100 w 397940"/>
                <a:gd name="connsiteY674" fmla="*/ 2886 h 225957"/>
                <a:gd name="connsiteX675" fmla="*/ 243600 w 397940"/>
                <a:gd name="connsiteY675" fmla="*/ 390 h 2259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</a:cxnLst>
              <a:rect l="l" t="t" r="r" b="b"/>
              <a:pathLst>
                <a:path w="397940" h="225957">
                  <a:moveTo>
                    <a:pt x="207344" y="171473"/>
                  </a:moveTo>
                  <a:lnTo>
                    <a:pt x="209026" y="173412"/>
                  </a:lnTo>
                  <a:lnTo>
                    <a:pt x="210212" y="174260"/>
                  </a:lnTo>
                  <a:lnTo>
                    <a:pt x="218475" y="176160"/>
                  </a:lnTo>
                  <a:lnTo>
                    <a:pt x="221524" y="177522"/>
                  </a:lnTo>
                  <a:lnTo>
                    <a:pt x="218413" y="177159"/>
                  </a:lnTo>
                  <a:lnTo>
                    <a:pt x="211576" y="175879"/>
                  </a:lnTo>
                  <a:lnTo>
                    <a:pt x="208562" y="174670"/>
                  </a:lnTo>
                  <a:lnTo>
                    <a:pt x="207784" y="173318"/>
                  </a:lnTo>
                  <a:close/>
                  <a:moveTo>
                    <a:pt x="246666" y="0"/>
                  </a:moveTo>
                  <a:lnTo>
                    <a:pt x="250309" y="587"/>
                  </a:lnTo>
                  <a:lnTo>
                    <a:pt x="253881" y="622"/>
                  </a:lnTo>
                  <a:lnTo>
                    <a:pt x="256576" y="261"/>
                  </a:lnTo>
                  <a:lnTo>
                    <a:pt x="258424" y="1126"/>
                  </a:lnTo>
                  <a:lnTo>
                    <a:pt x="260707" y="3030"/>
                  </a:lnTo>
                  <a:lnTo>
                    <a:pt x="262769" y="5862"/>
                  </a:lnTo>
                  <a:lnTo>
                    <a:pt x="264930" y="11080"/>
                  </a:lnTo>
                  <a:lnTo>
                    <a:pt x="271227" y="16962"/>
                  </a:lnTo>
                  <a:lnTo>
                    <a:pt x="271335" y="18109"/>
                  </a:lnTo>
                  <a:lnTo>
                    <a:pt x="270817" y="18846"/>
                  </a:lnTo>
                  <a:lnTo>
                    <a:pt x="267718" y="19561"/>
                  </a:lnTo>
                  <a:lnTo>
                    <a:pt x="265107" y="19946"/>
                  </a:lnTo>
                  <a:lnTo>
                    <a:pt x="264982" y="20953"/>
                  </a:lnTo>
                  <a:lnTo>
                    <a:pt x="265675" y="22042"/>
                  </a:lnTo>
                  <a:lnTo>
                    <a:pt x="266872" y="23635"/>
                  </a:lnTo>
                  <a:lnTo>
                    <a:pt x="267057" y="25685"/>
                  </a:lnTo>
                  <a:lnTo>
                    <a:pt x="266997" y="27569"/>
                  </a:lnTo>
                  <a:lnTo>
                    <a:pt x="267513" y="29233"/>
                  </a:lnTo>
                  <a:lnTo>
                    <a:pt x="268511" y="29909"/>
                  </a:lnTo>
                  <a:lnTo>
                    <a:pt x="268636" y="30745"/>
                  </a:lnTo>
                  <a:lnTo>
                    <a:pt x="267481" y="31766"/>
                  </a:lnTo>
                  <a:lnTo>
                    <a:pt x="267159" y="32396"/>
                  </a:lnTo>
                  <a:lnTo>
                    <a:pt x="267608" y="32735"/>
                  </a:lnTo>
                  <a:lnTo>
                    <a:pt x="273287" y="32932"/>
                  </a:lnTo>
                  <a:lnTo>
                    <a:pt x="276068" y="33926"/>
                  </a:lnTo>
                  <a:lnTo>
                    <a:pt x="278180" y="34831"/>
                  </a:lnTo>
                  <a:lnTo>
                    <a:pt x="279243" y="34915"/>
                  </a:lnTo>
                  <a:lnTo>
                    <a:pt x="281635" y="34333"/>
                  </a:lnTo>
                  <a:lnTo>
                    <a:pt x="284326" y="33966"/>
                  </a:lnTo>
                  <a:lnTo>
                    <a:pt x="285958" y="33917"/>
                  </a:lnTo>
                  <a:lnTo>
                    <a:pt x="286589" y="34584"/>
                  </a:lnTo>
                  <a:lnTo>
                    <a:pt x="287092" y="36334"/>
                  </a:lnTo>
                  <a:lnTo>
                    <a:pt x="288038" y="38084"/>
                  </a:lnTo>
                  <a:lnTo>
                    <a:pt x="288921" y="38584"/>
                  </a:lnTo>
                  <a:lnTo>
                    <a:pt x="290493" y="38500"/>
                  </a:lnTo>
                  <a:lnTo>
                    <a:pt x="291439" y="38584"/>
                  </a:lnTo>
                  <a:lnTo>
                    <a:pt x="291944" y="39249"/>
                  </a:lnTo>
                  <a:lnTo>
                    <a:pt x="291376" y="40249"/>
                  </a:lnTo>
                  <a:lnTo>
                    <a:pt x="291502" y="41329"/>
                  </a:lnTo>
                  <a:lnTo>
                    <a:pt x="292195" y="42660"/>
                  </a:lnTo>
                  <a:lnTo>
                    <a:pt x="293015" y="45733"/>
                  </a:lnTo>
                  <a:lnTo>
                    <a:pt x="293771" y="46646"/>
                  </a:lnTo>
                  <a:lnTo>
                    <a:pt x="294274" y="47808"/>
                  </a:lnTo>
                  <a:lnTo>
                    <a:pt x="294274" y="49135"/>
                  </a:lnTo>
                  <a:lnTo>
                    <a:pt x="293644" y="50295"/>
                  </a:lnTo>
                  <a:lnTo>
                    <a:pt x="293203" y="51205"/>
                  </a:lnTo>
                  <a:lnTo>
                    <a:pt x="293644" y="53275"/>
                  </a:lnTo>
                  <a:lnTo>
                    <a:pt x="295343" y="55592"/>
                  </a:lnTo>
                  <a:lnTo>
                    <a:pt x="296604" y="56170"/>
                  </a:lnTo>
                  <a:lnTo>
                    <a:pt x="297613" y="58236"/>
                  </a:lnTo>
                  <a:lnTo>
                    <a:pt x="299439" y="58896"/>
                  </a:lnTo>
                  <a:lnTo>
                    <a:pt x="302147" y="57163"/>
                  </a:lnTo>
                  <a:lnTo>
                    <a:pt x="304227" y="56254"/>
                  </a:lnTo>
                  <a:lnTo>
                    <a:pt x="306827" y="56759"/>
                  </a:lnTo>
                  <a:lnTo>
                    <a:pt x="309228" y="57082"/>
                  </a:lnTo>
                  <a:lnTo>
                    <a:pt x="310843" y="58263"/>
                  </a:lnTo>
                  <a:lnTo>
                    <a:pt x="312035" y="59887"/>
                  </a:lnTo>
                  <a:lnTo>
                    <a:pt x="313422" y="60794"/>
                  </a:lnTo>
                  <a:lnTo>
                    <a:pt x="314810" y="60320"/>
                  </a:lnTo>
                  <a:lnTo>
                    <a:pt x="317706" y="60794"/>
                  </a:lnTo>
                  <a:lnTo>
                    <a:pt x="319029" y="62114"/>
                  </a:lnTo>
                  <a:lnTo>
                    <a:pt x="320351" y="62856"/>
                  </a:lnTo>
                  <a:lnTo>
                    <a:pt x="322052" y="61785"/>
                  </a:lnTo>
                  <a:lnTo>
                    <a:pt x="323439" y="60465"/>
                  </a:lnTo>
                  <a:lnTo>
                    <a:pt x="328511" y="59082"/>
                  </a:lnTo>
                  <a:lnTo>
                    <a:pt x="331668" y="58736"/>
                  </a:lnTo>
                  <a:lnTo>
                    <a:pt x="332549" y="58464"/>
                  </a:lnTo>
                  <a:lnTo>
                    <a:pt x="334402" y="57476"/>
                  </a:lnTo>
                  <a:lnTo>
                    <a:pt x="336354" y="56819"/>
                  </a:lnTo>
                  <a:lnTo>
                    <a:pt x="338116" y="56997"/>
                  </a:lnTo>
                  <a:lnTo>
                    <a:pt x="339852" y="59049"/>
                  </a:lnTo>
                  <a:lnTo>
                    <a:pt x="341643" y="60465"/>
                  </a:lnTo>
                  <a:lnTo>
                    <a:pt x="342146" y="62691"/>
                  </a:lnTo>
                  <a:lnTo>
                    <a:pt x="344337" y="65753"/>
                  </a:lnTo>
                  <a:lnTo>
                    <a:pt x="349779" y="69936"/>
                  </a:lnTo>
                  <a:lnTo>
                    <a:pt x="351915" y="71211"/>
                  </a:lnTo>
                  <a:lnTo>
                    <a:pt x="353366" y="70986"/>
                  </a:lnTo>
                  <a:lnTo>
                    <a:pt x="354124" y="70652"/>
                  </a:lnTo>
                  <a:lnTo>
                    <a:pt x="354476" y="70215"/>
                  </a:lnTo>
                  <a:lnTo>
                    <a:pt x="354804" y="68170"/>
                  </a:lnTo>
                  <a:lnTo>
                    <a:pt x="355493" y="67417"/>
                  </a:lnTo>
                  <a:lnTo>
                    <a:pt x="356596" y="67392"/>
                  </a:lnTo>
                  <a:lnTo>
                    <a:pt x="360855" y="69940"/>
                  </a:lnTo>
                  <a:lnTo>
                    <a:pt x="363083" y="70214"/>
                  </a:lnTo>
                  <a:lnTo>
                    <a:pt x="365201" y="70263"/>
                  </a:lnTo>
                  <a:lnTo>
                    <a:pt x="368052" y="72240"/>
                  </a:lnTo>
                  <a:lnTo>
                    <a:pt x="371185" y="73958"/>
                  </a:lnTo>
                  <a:lnTo>
                    <a:pt x="373603" y="74139"/>
                  </a:lnTo>
                  <a:lnTo>
                    <a:pt x="375532" y="73467"/>
                  </a:lnTo>
                  <a:lnTo>
                    <a:pt x="376856" y="73058"/>
                  </a:lnTo>
                  <a:lnTo>
                    <a:pt x="377674" y="73713"/>
                  </a:lnTo>
                  <a:lnTo>
                    <a:pt x="378430" y="75190"/>
                  </a:lnTo>
                  <a:lnTo>
                    <a:pt x="379689" y="76338"/>
                  </a:lnTo>
                  <a:lnTo>
                    <a:pt x="381138" y="76666"/>
                  </a:lnTo>
                  <a:lnTo>
                    <a:pt x="383223" y="76741"/>
                  </a:lnTo>
                  <a:lnTo>
                    <a:pt x="386845" y="78966"/>
                  </a:lnTo>
                  <a:lnTo>
                    <a:pt x="390250" y="81226"/>
                  </a:lnTo>
                  <a:lnTo>
                    <a:pt x="392379" y="81351"/>
                  </a:lnTo>
                  <a:lnTo>
                    <a:pt x="394185" y="80688"/>
                  </a:lnTo>
                  <a:lnTo>
                    <a:pt x="395780" y="80517"/>
                  </a:lnTo>
                  <a:lnTo>
                    <a:pt x="396886" y="81087"/>
                  </a:lnTo>
                  <a:lnTo>
                    <a:pt x="397201" y="82069"/>
                  </a:lnTo>
                  <a:lnTo>
                    <a:pt x="396381" y="83378"/>
                  </a:lnTo>
                  <a:lnTo>
                    <a:pt x="396381" y="85258"/>
                  </a:lnTo>
                  <a:lnTo>
                    <a:pt x="397892" y="87055"/>
                  </a:lnTo>
                  <a:lnTo>
                    <a:pt x="397940" y="88820"/>
                  </a:lnTo>
                  <a:lnTo>
                    <a:pt x="397508" y="90413"/>
                  </a:lnTo>
                  <a:lnTo>
                    <a:pt x="396651" y="91880"/>
                  </a:lnTo>
                  <a:lnTo>
                    <a:pt x="394580" y="93894"/>
                  </a:lnTo>
                  <a:lnTo>
                    <a:pt x="392664" y="95773"/>
                  </a:lnTo>
                  <a:lnTo>
                    <a:pt x="389784" y="96558"/>
                  </a:lnTo>
                  <a:lnTo>
                    <a:pt x="388171" y="97376"/>
                  </a:lnTo>
                  <a:lnTo>
                    <a:pt x="388594" y="98755"/>
                  </a:lnTo>
                  <a:lnTo>
                    <a:pt x="389648" y="100041"/>
                  </a:lnTo>
                  <a:lnTo>
                    <a:pt x="392090" y="101081"/>
                  </a:lnTo>
                  <a:lnTo>
                    <a:pt x="394863" y="101838"/>
                  </a:lnTo>
                  <a:lnTo>
                    <a:pt x="395182" y="102673"/>
                  </a:lnTo>
                  <a:lnTo>
                    <a:pt x="394759" y="103092"/>
                  </a:lnTo>
                  <a:lnTo>
                    <a:pt x="392982" y="103480"/>
                  </a:lnTo>
                  <a:lnTo>
                    <a:pt x="390522" y="103082"/>
                  </a:lnTo>
                  <a:lnTo>
                    <a:pt x="389704" y="103812"/>
                  </a:lnTo>
                  <a:lnTo>
                    <a:pt x="388570" y="105028"/>
                  </a:lnTo>
                  <a:lnTo>
                    <a:pt x="387815" y="107215"/>
                  </a:lnTo>
                  <a:lnTo>
                    <a:pt x="387246" y="109239"/>
                  </a:lnTo>
                  <a:lnTo>
                    <a:pt x="389916" y="109788"/>
                  </a:lnTo>
                  <a:lnTo>
                    <a:pt x="391468" y="110614"/>
                  </a:lnTo>
                  <a:lnTo>
                    <a:pt x="391952" y="112276"/>
                  </a:lnTo>
                  <a:lnTo>
                    <a:pt x="392507" y="114123"/>
                  </a:lnTo>
                  <a:lnTo>
                    <a:pt x="392667" y="115785"/>
                  </a:lnTo>
                  <a:lnTo>
                    <a:pt x="391783" y="116592"/>
                  </a:lnTo>
                  <a:lnTo>
                    <a:pt x="391730" y="117418"/>
                  </a:lnTo>
                  <a:lnTo>
                    <a:pt x="392146" y="117824"/>
                  </a:lnTo>
                  <a:lnTo>
                    <a:pt x="393293" y="118008"/>
                  </a:lnTo>
                  <a:lnTo>
                    <a:pt x="394172" y="118377"/>
                  </a:lnTo>
                  <a:lnTo>
                    <a:pt x="394241" y="119253"/>
                  </a:lnTo>
                  <a:lnTo>
                    <a:pt x="392561" y="121220"/>
                  </a:lnTo>
                  <a:lnTo>
                    <a:pt x="390989" y="124979"/>
                  </a:lnTo>
                  <a:lnTo>
                    <a:pt x="390144" y="126978"/>
                  </a:lnTo>
                  <a:lnTo>
                    <a:pt x="390209" y="129146"/>
                  </a:lnTo>
                  <a:lnTo>
                    <a:pt x="389263" y="130350"/>
                  </a:lnTo>
                  <a:lnTo>
                    <a:pt x="387551" y="130452"/>
                  </a:lnTo>
                  <a:lnTo>
                    <a:pt x="381636" y="130662"/>
                  </a:lnTo>
                  <a:lnTo>
                    <a:pt x="376495" y="130559"/>
                  </a:lnTo>
                  <a:lnTo>
                    <a:pt x="374269" y="130247"/>
                  </a:lnTo>
                  <a:lnTo>
                    <a:pt x="370785" y="130060"/>
                  </a:lnTo>
                  <a:lnTo>
                    <a:pt x="369060" y="130570"/>
                  </a:lnTo>
                  <a:lnTo>
                    <a:pt x="366776" y="134029"/>
                  </a:lnTo>
                  <a:lnTo>
                    <a:pt x="365044" y="135384"/>
                  </a:lnTo>
                  <a:lnTo>
                    <a:pt x="362176" y="136607"/>
                  </a:lnTo>
                  <a:lnTo>
                    <a:pt x="359034" y="136957"/>
                  </a:lnTo>
                  <a:lnTo>
                    <a:pt x="357233" y="138383"/>
                  </a:lnTo>
                  <a:lnTo>
                    <a:pt x="356601" y="140618"/>
                  </a:lnTo>
                  <a:lnTo>
                    <a:pt x="356551" y="142598"/>
                  </a:lnTo>
                  <a:lnTo>
                    <a:pt x="356257" y="143586"/>
                  </a:lnTo>
                  <a:lnTo>
                    <a:pt x="355575" y="144452"/>
                  </a:lnTo>
                  <a:lnTo>
                    <a:pt x="355331" y="145068"/>
                  </a:lnTo>
                  <a:lnTo>
                    <a:pt x="355477" y="145747"/>
                  </a:lnTo>
                  <a:lnTo>
                    <a:pt x="356208" y="145994"/>
                  </a:lnTo>
                  <a:lnTo>
                    <a:pt x="357086" y="146303"/>
                  </a:lnTo>
                  <a:lnTo>
                    <a:pt x="357086" y="146797"/>
                  </a:lnTo>
                  <a:lnTo>
                    <a:pt x="356745" y="147414"/>
                  </a:lnTo>
                  <a:lnTo>
                    <a:pt x="355769" y="148092"/>
                  </a:lnTo>
                  <a:lnTo>
                    <a:pt x="355331" y="149141"/>
                  </a:lnTo>
                  <a:lnTo>
                    <a:pt x="355430" y="150249"/>
                  </a:lnTo>
                  <a:lnTo>
                    <a:pt x="355618" y="151483"/>
                  </a:lnTo>
                  <a:lnTo>
                    <a:pt x="354821" y="151796"/>
                  </a:lnTo>
                  <a:lnTo>
                    <a:pt x="347091" y="151360"/>
                  </a:lnTo>
                  <a:lnTo>
                    <a:pt x="340781" y="151954"/>
                  </a:lnTo>
                  <a:lnTo>
                    <a:pt x="336281" y="156355"/>
                  </a:lnTo>
                  <a:lnTo>
                    <a:pt x="333599" y="156343"/>
                  </a:lnTo>
                  <a:lnTo>
                    <a:pt x="329818" y="157489"/>
                  </a:lnTo>
                  <a:lnTo>
                    <a:pt x="327263" y="158912"/>
                  </a:lnTo>
                  <a:lnTo>
                    <a:pt x="324229" y="161995"/>
                  </a:lnTo>
                  <a:lnTo>
                    <a:pt x="321882" y="160611"/>
                  </a:lnTo>
                  <a:lnTo>
                    <a:pt x="319010" y="160651"/>
                  </a:lnTo>
                  <a:lnTo>
                    <a:pt x="316207" y="161490"/>
                  </a:lnTo>
                  <a:lnTo>
                    <a:pt x="312834" y="163547"/>
                  </a:lnTo>
                  <a:lnTo>
                    <a:pt x="310958" y="163911"/>
                  </a:lnTo>
                  <a:lnTo>
                    <a:pt x="307205" y="163319"/>
                  </a:lnTo>
                  <a:lnTo>
                    <a:pt x="302832" y="164500"/>
                  </a:lnTo>
                  <a:lnTo>
                    <a:pt x="293391" y="171244"/>
                  </a:lnTo>
                  <a:lnTo>
                    <a:pt x="290217" y="176160"/>
                  </a:lnTo>
                  <a:lnTo>
                    <a:pt x="289061" y="177121"/>
                  </a:lnTo>
                  <a:lnTo>
                    <a:pt x="287468" y="178319"/>
                  </a:lnTo>
                  <a:lnTo>
                    <a:pt x="285764" y="178924"/>
                  </a:lnTo>
                  <a:lnTo>
                    <a:pt x="284864" y="178868"/>
                  </a:lnTo>
                  <a:lnTo>
                    <a:pt x="289357" y="175378"/>
                  </a:lnTo>
                  <a:lnTo>
                    <a:pt x="290737" y="174068"/>
                  </a:lnTo>
                  <a:lnTo>
                    <a:pt x="290975" y="173101"/>
                  </a:lnTo>
                  <a:lnTo>
                    <a:pt x="290998" y="171541"/>
                  </a:lnTo>
                  <a:lnTo>
                    <a:pt x="289636" y="169601"/>
                  </a:lnTo>
                  <a:lnTo>
                    <a:pt x="285958" y="174407"/>
                  </a:lnTo>
                  <a:lnTo>
                    <a:pt x="283868" y="175104"/>
                  </a:lnTo>
                  <a:lnTo>
                    <a:pt x="281216" y="176548"/>
                  </a:lnTo>
                  <a:lnTo>
                    <a:pt x="281087" y="179764"/>
                  </a:lnTo>
                  <a:lnTo>
                    <a:pt x="281387" y="182146"/>
                  </a:lnTo>
                  <a:lnTo>
                    <a:pt x="282477" y="185142"/>
                  </a:lnTo>
                  <a:lnTo>
                    <a:pt x="285047" y="190042"/>
                  </a:lnTo>
                  <a:lnTo>
                    <a:pt x="290295" y="197027"/>
                  </a:lnTo>
                  <a:lnTo>
                    <a:pt x="292810" y="199588"/>
                  </a:lnTo>
                  <a:lnTo>
                    <a:pt x="294659" y="200611"/>
                  </a:lnTo>
                  <a:lnTo>
                    <a:pt x="296881" y="200759"/>
                  </a:lnTo>
                  <a:lnTo>
                    <a:pt x="301147" y="198607"/>
                  </a:lnTo>
                  <a:lnTo>
                    <a:pt x="302972" y="198271"/>
                  </a:lnTo>
                  <a:lnTo>
                    <a:pt x="306939" y="199092"/>
                  </a:lnTo>
                  <a:lnTo>
                    <a:pt x="308360" y="197653"/>
                  </a:lnTo>
                  <a:lnTo>
                    <a:pt x="310424" y="196858"/>
                  </a:lnTo>
                  <a:lnTo>
                    <a:pt x="313074" y="196757"/>
                  </a:lnTo>
                  <a:lnTo>
                    <a:pt x="316097" y="197402"/>
                  </a:lnTo>
                  <a:lnTo>
                    <a:pt x="319368" y="198492"/>
                  </a:lnTo>
                  <a:lnTo>
                    <a:pt x="318025" y="200955"/>
                  </a:lnTo>
                  <a:lnTo>
                    <a:pt x="316622" y="202913"/>
                  </a:lnTo>
                  <a:lnTo>
                    <a:pt x="316127" y="205078"/>
                  </a:lnTo>
                  <a:lnTo>
                    <a:pt x="315352" y="207482"/>
                  </a:lnTo>
                  <a:lnTo>
                    <a:pt x="311737" y="208560"/>
                  </a:lnTo>
                  <a:lnTo>
                    <a:pt x="307865" y="208428"/>
                  </a:lnTo>
                  <a:lnTo>
                    <a:pt x="303782" y="209125"/>
                  </a:lnTo>
                  <a:lnTo>
                    <a:pt x="302311" y="208187"/>
                  </a:lnTo>
                  <a:lnTo>
                    <a:pt x="301335" y="207333"/>
                  </a:lnTo>
                  <a:lnTo>
                    <a:pt x="299524" y="206481"/>
                  </a:lnTo>
                  <a:lnTo>
                    <a:pt x="297135" y="206006"/>
                  </a:lnTo>
                  <a:lnTo>
                    <a:pt x="294991" y="206577"/>
                  </a:lnTo>
                  <a:lnTo>
                    <a:pt x="292454" y="209860"/>
                  </a:lnTo>
                  <a:lnTo>
                    <a:pt x="287965" y="212102"/>
                  </a:lnTo>
                  <a:lnTo>
                    <a:pt x="286481" y="214659"/>
                  </a:lnTo>
                  <a:lnTo>
                    <a:pt x="282061" y="214088"/>
                  </a:lnTo>
                  <a:lnTo>
                    <a:pt x="278282" y="214536"/>
                  </a:lnTo>
                  <a:lnTo>
                    <a:pt x="272821" y="216866"/>
                  </a:lnTo>
                  <a:lnTo>
                    <a:pt x="268660" y="221856"/>
                  </a:lnTo>
                  <a:lnTo>
                    <a:pt x="264075" y="224972"/>
                  </a:lnTo>
                  <a:lnTo>
                    <a:pt x="260439" y="225957"/>
                  </a:lnTo>
                  <a:lnTo>
                    <a:pt x="257027" y="225649"/>
                  </a:lnTo>
                  <a:lnTo>
                    <a:pt x="254820" y="224717"/>
                  </a:lnTo>
                  <a:lnTo>
                    <a:pt x="250283" y="221442"/>
                  </a:lnTo>
                  <a:lnTo>
                    <a:pt x="250549" y="220267"/>
                  </a:lnTo>
                  <a:lnTo>
                    <a:pt x="251182" y="219674"/>
                  </a:lnTo>
                  <a:lnTo>
                    <a:pt x="252039" y="217988"/>
                  </a:lnTo>
                  <a:lnTo>
                    <a:pt x="253855" y="211788"/>
                  </a:lnTo>
                  <a:lnTo>
                    <a:pt x="253611" y="209776"/>
                  </a:lnTo>
                  <a:lnTo>
                    <a:pt x="252594" y="206600"/>
                  </a:lnTo>
                  <a:lnTo>
                    <a:pt x="248996" y="204131"/>
                  </a:lnTo>
                  <a:lnTo>
                    <a:pt x="246100" y="204599"/>
                  </a:lnTo>
                  <a:lnTo>
                    <a:pt x="244451" y="203941"/>
                  </a:lnTo>
                  <a:lnTo>
                    <a:pt x="238519" y="199738"/>
                  </a:lnTo>
                  <a:lnTo>
                    <a:pt x="235291" y="199440"/>
                  </a:lnTo>
                  <a:lnTo>
                    <a:pt x="231723" y="200288"/>
                  </a:lnTo>
                  <a:lnTo>
                    <a:pt x="230408" y="199676"/>
                  </a:lnTo>
                  <a:lnTo>
                    <a:pt x="229439" y="198210"/>
                  </a:lnTo>
                  <a:lnTo>
                    <a:pt x="236515" y="193012"/>
                  </a:lnTo>
                  <a:lnTo>
                    <a:pt x="243464" y="188714"/>
                  </a:lnTo>
                  <a:lnTo>
                    <a:pt x="246511" y="188272"/>
                  </a:lnTo>
                  <a:lnTo>
                    <a:pt x="250627" y="186269"/>
                  </a:lnTo>
                  <a:lnTo>
                    <a:pt x="255019" y="183259"/>
                  </a:lnTo>
                  <a:lnTo>
                    <a:pt x="254397" y="180890"/>
                  </a:lnTo>
                  <a:lnTo>
                    <a:pt x="253455" y="179138"/>
                  </a:lnTo>
                  <a:lnTo>
                    <a:pt x="251348" y="179619"/>
                  </a:lnTo>
                  <a:lnTo>
                    <a:pt x="249823" y="180206"/>
                  </a:lnTo>
                  <a:lnTo>
                    <a:pt x="246144" y="178325"/>
                  </a:lnTo>
                  <a:lnTo>
                    <a:pt x="244790" y="176940"/>
                  </a:lnTo>
                  <a:lnTo>
                    <a:pt x="239031" y="178377"/>
                  </a:lnTo>
                  <a:lnTo>
                    <a:pt x="235826" y="178164"/>
                  </a:lnTo>
                  <a:lnTo>
                    <a:pt x="228748" y="179485"/>
                  </a:lnTo>
                  <a:lnTo>
                    <a:pt x="225500" y="178195"/>
                  </a:lnTo>
                  <a:lnTo>
                    <a:pt x="218996" y="174580"/>
                  </a:lnTo>
                  <a:lnTo>
                    <a:pt x="216551" y="173853"/>
                  </a:lnTo>
                  <a:lnTo>
                    <a:pt x="214474" y="174007"/>
                  </a:lnTo>
                  <a:lnTo>
                    <a:pt x="213340" y="172817"/>
                  </a:lnTo>
                  <a:lnTo>
                    <a:pt x="214731" y="172221"/>
                  </a:lnTo>
                  <a:lnTo>
                    <a:pt x="216346" y="172151"/>
                  </a:lnTo>
                  <a:lnTo>
                    <a:pt x="218022" y="171715"/>
                  </a:lnTo>
                  <a:lnTo>
                    <a:pt x="218495" y="171084"/>
                  </a:lnTo>
                  <a:lnTo>
                    <a:pt x="218394" y="169897"/>
                  </a:lnTo>
                  <a:lnTo>
                    <a:pt x="215016" y="168996"/>
                  </a:lnTo>
                  <a:lnTo>
                    <a:pt x="211874" y="168737"/>
                  </a:lnTo>
                  <a:lnTo>
                    <a:pt x="209883" y="167669"/>
                  </a:lnTo>
                  <a:lnTo>
                    <a:pt x="208363" y="166446"/>
                  </a:lnTo>
                  <a:lnTo>
                    <a:pt x="211926" y="166427"/>
                  </a:lnTo>
                  <a:lnTo>
                    <a:pt x="215506" y="167352"/>
                  </a:lnTo>
                  <a:lnTo>
                    <a:pt x="221112" y="167693"/>
                  </a:lnTo>
                  <a:lnTo>
                    <a:pt x="226195" y="168649"/>
                  </a:lnTo>
                  <a:lnTo>
                    <a:pt x="227469" y="167460"/>
                  </a:lnTo>
                  <a:lnTo>
                    <a:pt x="230423" y="165399"/>
                  </a:lnTo>
                  <a:lnTo>
                    <a:pt x="230987" y="164742"/>
                  </a:lnTo>
                  <a:lnTo>
                    <a:pt x="226035" y="166153"/>
                  </a:lnTo>
                  <a:lnTo>
                    <a:pt x="221019" y="165253"/>
                  </a:lnTo>
                  <a:lnTo>
                    <a:pt x="219186" y="163995"/>
                  </a:lnTo>
                  <a:lnTo>
                    <a:pt x="217637" y="162151"/>
                  </a:lnTo>
                  <a:lnTo>
                    <a:pt x="216987" y="160047"/>
                  </a:lnTo>
                  <a:lnTo>
                    <a:pt x="217411" y="158085"/>
                  </a:lnTo>
                  <a:lnTo>
                    <a:pt x="216869" y="154539"/>
                  </a:lnTo>
                  <a:lnTo>
                    <a:pt x="215215" y="151380"/>
                  </a:lnTo>
                  <a:lnTo>
                    <a:pt x="214628" y="149645"/>
                  </a:lnTo>
                  <a:lnTo>
                    <a:pt x="212880" y="148089"/>
                  </a:lnTo>
                  <a:lnTo>
                    <a:pt x="214599" y="151607"/>
                  </a:lnTo>
                  <a:lnTo>
                    <a:pt x="215241" y="153945"/>
                  </a:lnTo>
                  <a:lnTo>
                    <a:pt x="216275" y="156097"/>
                  </a:lnTo>
                  <a:lnTo>
                    <a:pt x="216031" y="161794"/>
                  </a:lnTo>
                  <a:lnTo>
                    <a:pt x="215394" y="163793"/>
                  </a:lnTo>
                  <a:lnTo>
                    <a:pt x="213332" y="164297"/>
                  </a:lnTo>
                  <a:lnTo>
                    <a:pt x="210622" y="163997"/>
                  </a:lnTo>
                  <a:lnTo>
                    <a:pt x="207860" y="163376"/>
                  </a:lnTo>
                  <a:lnTo>
                    <a:pt x="208551" y="160245"/>
                  </a:lnTo>
                  <a:lnTo>
                    <a:pt x="207080" y="161328"/>
                  </a:lnTo>
                  <a:lnTo>
                    <a:pt x="205003" y="164375"/>
                  </a:lnTo>
                  <a:lnTo>
                    <a:pt x="203176" y="164829"/>
                  </a:lnTo>
                  <a:lnTo>
                    <a:pt x="199119" y="164496"/>
                  </a:lnTo>
                  <a:lnTo>
                    <a:pt x="191589" y="166510"/>
                  </a:lnTo>
                  <a:lnTo>
                    <a:pt x="191071" y="168702"/>
                  </a:lnTo>
                  <a:lnTo>
                    <a:pt x="189939" y="171665"/>
                  </a:lnTo>
                  <a:lnTo>
                    <a:pt x="188847" y="173389"/>
                  </a:lnTo>
                  <a:lnTo>
                    <a:pt x="188503" y="174428"/>
                  </a:lnTo>
                  <a:lnTo>
                    <a:pt x="185292" y="178886"/>
                  </a:lnTo>
                  <a:lnTo>
                    <a:pt x="184882" y="179307"/>
                  </a:lnTo>
                  <a:lnTo>
                    <a:pt x="178825" y="185475"/>
                  </a:lnTo>
                  <a:lnTo>
                    <a:pt x="178054" y="185938"/>
                  </a:lnTo>
                  <a:lnTo>
                    <a:pt x="174128" y="187371"/>
                  </a:lnTo>
                  <a:lnTo>
                    <a:pt x="171807" y="188626"/>
                  </a:lnTo>
                  <a:lnTo>
                    <a:pt x="170028" y="189186"/>
                  </a:lnTo>
                  <a:lnTo>
                    <a:pt x="167017" y="188563"/>
                  </a:lnTo>
                  <a:lnTo>
                    <a:pt x="165765" y="189451"/>
                  </a:lnTo>
                  <a:lnTo>
                    <a:pt x="165173" y="190550"/>
                  </a:lnTo>
                  <a:lnTo>
                    <a:pt x="165162" y="192821"/>
                  </a:lnTo>
                  <a:lnTo>
                    <a:pt x="166691" y="194452"/>
                  </a:lnTo>
                  <a:lnTo>
                    <a:pt x="167944" y="199870"/>
                  </a:lnTo>
                  <a:lnTo>
                    <a:pt x="167477" y="202156"/>
                  </a:lnTo>
                  <a:lnTo>
                    <a:pt x="166285" y="200676"/>
                  </a:lnTo>
                  <a:lnTo>
                    <a:pt x="164422" y="199116"/>
                  </a:lnTo>
                  <a:lnTo>
                    <a:pt x="160796" y="197775"/>
                  </a:lnTo>
                  <a:lnTo>
                    <a:pt x="156812" y="198234"/>
                  </a:lnTo>
                  <a:lnTo>
                    <a:pt x="152476" y="200494"/>
                  </a:lnTo>
                  <a:lnTo>
                    <a:pt x="149533" y="201334"/>
                  </a:lnTo>
                  <a:lnTo>
                    <a:pt x="147984" y="200754"/>
                  </a:lnTo>
                  <a:lnTo>
                    <a:pt x="147043" y="200787"/>
                  </a:lnTo>
                  <a:lnTo>
                    <a:pt x="146708" y="201435"/>
                  </a:lnTo>
                  <a:lnTo>
                    <a:pt x="146780" y="201965"/>
                  </a:lnTo>
                  <a:lnTo>
                    <a:pt x="147257" y="202376"/>
                  </a:lnTo>
                  <a:lnTo>
                    <a:pt x="147187" y="202676"/>
                  </a:lnTo>
                  <a:lnTo>
                    <a:pt x="146579" y="202863"/>
                  </a:lnTo>
                  <a:lnTo>
                    <a:pt x="139736" y="201272"/>
                  </a:lnTo>
                  <a:lnTo>
                    <a:pt x="136782" y="199766"/>
                  </a:lnTo>
                  <a:lnTo>
                    <a:pt x="134456" y="196930"/>
                  </a:lnTo>
                  <a:lnTo>
                    <a:pt x="135613" y="196012"/>
                  </a:lnTo>
                  <a:lnTo>
                    <a:pt x="136620" y="195608"/>
                  </a:lnTo>
                  <a:lnTo>
                    <a:pt x="140181" y="195372"/>
                  </a:lnTo>
                  <a:lnTo>
                    <a:pt x="140792" y="195082"/>
                  </a:lnTo>
                  <a:lnTo>
                    <a:pt x="140852" y="194427"/>
                  </a:lnTo>
                  <a:lnTo>
                    <a:pt x="141118" y="193579"/>
                  </a:lnTo>
                  <a:lnTo>
                    <a:pt x="141023" y="192330"/>
                  </a:lnTo>
                  <a:lnTo>
                    <a:pt x="140627" y="191011"/>
                  </a:lnTo>
                  <a:lnTo>
                    <a:pt x="142191" y="189084"/>
                  </a:lnTo>
                  <a:lnTo>
                    <a:pt x="144519" y="187484"/>
                  </a:lnTo>
                  <a:lnTo>
                    <a:pt x="145883" y="185881"/>
                  </a:lnTo>
                  <a:lnTo>
                    <a:pt x="146093" y="183532"/>
                  </a:lnTo>
                  <a:lnTo>
                    <a:pt x="148542" y="182387"/>
                  </a:lnTo>
                  <a:lnTo>
                    <a:pt x="150714" y="180418"/>
                  </a:lnTo>
                  <a:lnTo>
                    <a:pt x="151247" y="178270"/>
                  </a:lnTo>
                  <a:lnTo>
                    <a:pt x="152007" y="176920"/>
                  </a:lnTo>
                  <a:lnTo>
                    <a:pt x="150625" y="173821"/>
                  </a:lnTo>
                  <a:lnTo>
                    <a:pt x="150334" y="171775"/>
                  </a:lnTo>
                  <a:lnTo>
                    <a:pt x="150265" y="170059"/>
                  </a:lnTo>
                  <a:lnTo>
                    <a:pt x="150949" y="169105"/>
                  </a:lnTo>
                  <a:lnTo>
                    <a:pt x="152973" y="168036"/>
                  </a:lnTo>
                  <a:lnTo>
                    <a:pt x="155104" y="167207"/>
                  </a:lnTo>
                  <a:lnTo>
                    <a:pt x="155987" y="167288"/>
                  </a:lnTo>
                  <a:lnTo>
                    <a:pt x="156309" y="167816"/>
                  </a:lnTo>
                  <a:lnTo>
                    <a:pt x="156393" y="171301"/>
                  </a:lnTo>
                  <a:lnTo>
                    <a:pt x="156819" y="171367"/>
                  </a:lnTo>
                  <a:lnTo>
                    <a:pt x="157499" y="170933"/>
                  </a:lnTo>
                  <a:lnTo>
                    <a:pt x="158611" y="168881"/>
                  </a:lnTo>
                  <a:lnTo>
                    <a:pt x="159377" y="169478"/>
                  </a:lnTo>
                  <a:lnTo>
                    <a:pt x="160556" y="169705"/>
                  </a:lnTo>
                  <a:lnTo>
                    <a:pt x="161440" y="169176"/>
                  </a:lnTo>
                  <a:lnTo>
                    <a:pt x="162014" y="169237"/>
                  </a:lnTo>
                  <a:lnTo>
                    <a:pt x="162726" y="169767"/>
                  </a:lnTo>
                  <a:lnTo>
                    <a:pt x="164143" y="170513"/>
                  </a:lnTo>
                  <a:lnTo>
                    <a:pt x="165467" y="170761"/>
                  </a:lnTo>
                  <a:lnTo>
                    <a:pt x="166564" y="170264"/>
                  </a:lnTo>
                  <a:lnTo>
                    <a:pt x="167499" y="169377"/>
                  </a:lnTo>
                  <a:lnTo>
                    <a:pt x="168497" y="169680"/>
                  </a:lnTo>
                  <a:lnTo>
                    <a:pt x="170397" y="172100"/>
                  </a:lnTo>
                  <a:lnTo>
                    <a:pt x="171284" y="171832"/>
                  </a:lnTo>
                  <a:lnTo>
                    <a:pt x="175655" y="171343"/>
                  </a:lnTo>
                  <a:lnTo>
                    <a:pt x="176359" y="170685"/>
                  </a:lnTo>
                  <a:lnTo>
                    <a:pt x="176879" y="170088"/>
                  </a:lnTo>
                  <a:lnTo>
                    <a:pt x="172308" y="166875"/>
                  </a:lnTo>
                  <a:lnTo>
                    <a:pt x="172539" y="164481"/>
                  </a:lnTo>
                  <a:lnTo>
                    <a:pt x="172710" y="161734"/>
                  </a:lnTo>
                  <a:lnTo>
                    <a:pt x="172170" y="160102"/>
                  </a:lnTo>
                  <a:lnTo>
                    <a:pt x="171280" y="158807"/>
                  </a:lnTo>
                  <a:lnTo>
                    <a:pt x="167784" y="157302"/>
                  </a:lnTo>
                  <a:lnTo>
                    <a:pt x="165087" y="155743"/>
                  </a:lnTo>
                  <a:lnTo>
                    <a:pt x="164517" y="155040"/>
                  </a:lnTo>
                  <a:lnTo>
                    <a:pt x="164443" y="154128"/>
                  </a:lnTo>
                  <a:lnTo>
                    <a:pt x="164329" y="152710"/>
                  </a:lnTo>
                  <a:lnTo>
                    <a:pt x="163258" y="151492"/>
                  </a:lnTo>
                  <a:lnTo>
                    <a:pt x="163167" y="150461"/>
                  </a:lnTo>
                  <a:lnTo>
                    <a:pt x="163850" y="148853"/>
                  </a:lnTo>
                  <a:lnTo>
                    <a:pt x="164016" y="147139"/>
                  </a:lnTo>
                  <a:lnTo>
                    <a:pt x="163791" y="146462"/>
                  </a:lnTo>
                  <a:lnTo>
                    <a:pt x="163161" y="145910"/>
                  </a:lnTo>
                  <a:lnTo>
                    <a:pt x="161945" y="145856"/>
                  </a:lnTo>
                  <a:lnTo>
                    <a:pt x="160347" y="144865"/>
                  </a:lnTo>
                  <a:lnTo>
                    <a:pt x="159250" y="143529"/>
                  </a:lnTo>
                  <a:lnTo>
                    <a:pt x="156305" y="141602"/>
                  </a:lnTo>
                  <a:lnTo>
                    <a:pt x="155402" y="141288"/>
                  </a:lnTo>
                  <a:lnTo>
                    <a:pt x="154851" y="140333"/>
                  </a:lnTo>
                  <a:lnTo>
                    <a:pt x="154588" y="139192"/>
                  </a:lnTo>
                  <a:lnTo>
                    <a:pt x="155206" y="137774"/>
                  </a:lnTo>
                  <a:lnTo>
                    <a:pt x="155983" y="135590"/>
                  </a:lnTo>
                  <a:lnTo>
                    <a:pt x="156529" y="133539"/>
                  </a:lnTo>
                  <a:lnTo>
                    <a:pt x="156538" y="132316"/>
                  </a:lnTo>
                  <a:lnTo>
                    <a:pt x="156177" y="129290"/>
                  </a:lnTo>
                  <a:lnTo>
                    <a:pt x="154642" y="126975"/>
                  </a:lnTo>
                  <a:lnTo>
                    <a:pt x="153925" y="126668"/>
                  </a:lnTo>
                  <a:lnTo>
                    <a:pt x="152686" y="127320"/>
                  </a:lnTo>
                  <a:lnTo>
                    <a:pt x="151279" y="127865"/>
                  </a:lnTo>
                  <a:lnTo>
                    <a:pt x="150170" y="127354"/>
                  </a:lnTo>
                  <a:lnTo>
                    <a:pt x="148902" y="126098"/>
                  </a:lnTo>
                  <a:lnTo>
                    <a:pt x="146868" y="122599"/>
                  </a:lnTo>
                  <a:lnTo>
                    <a:pt x="143061" y="121898"/>
                  </a:lnTo>
                  <a:lnTo>
                    <a:pt x="141487" y="121731"/>
                  </a:lnTo>
                  <a:lnTo>
                    <a:pt x="139997" y="123420"/>
                  </a:lnTo>
                  <a:lnTo>
                    <a:pt x="139531" y="122907"/>
                  </a:lnTo>
                  <a:lnTo>
                    <a:pt x="139112" y="121828"/>
                  </a:lnTo>
                  <a:lnTo>
                    <a:pt x="138326" y="121397"/>
                  </a:lnTo>
                  <a:lnTo>
                    <a:pt x="137287" y="121897"/>
                  </a:lnTo>
                  <a:lnTo>
                    <a:pt x="136987" y="121416"/>
                  </a:lnTo>
                  <a:lnTo>
                    <a:pt x="137434" y="119957"/>
                  </a:lnTo>
                  <a:lnTo>
                    <a:pt x="136192" y="119235"/>
                  </a:lnTo>
                  <a:lnTo>
                    <a:pt x="133268" y="119251"/>
                  </a:lnTo>
                  <a:lnTo>
                    <a:pt x="131714" y="118713"/>
                  </a:lnTo>
                  <a:lnTo>
                    <a:pt x="131528" y="117615"/>
                  </a:lnTo>
                  <a:lnTo>
                    <a:pt x="130608" y="116894"/>
                  </a:lnTo>
                  <a:lnTo>
                    <a:pt x="128947" y="116547"/>
                  </a:lnTo>
                  <a:lnTo>
                    <a:pt x="127339" y="115649"/>
                  </a:lnTo>
                  <a:lnTo>
                    <a:pt x="125778" y="114203"/>
                  </a:lnTo>
                  <a:lnTo>
                    <a:pt x="123443" y="113260"/>
                  </a:lnTo>
                  <a:lnTo>
                    <a:pt x="120331" y="112824"/>
                  </a:lnTo>
                  <a:lnTo>
                    <a:pt x="120077" y="112668"/>
                  </a:lnTo>
                  <a:lnTo>
                    <a:pt x="119790" y="112460"/>
                  </a:lnTo>
                  <a:lnTo>
                    <a:pt x="117781" y="113443"/>
                  </a:lnTo>
                  <a:lnTo>
                    <a:pt x="116574" y="114221"/>
                  </a:lnTo>
                  <a:lnTo>
                    <a:pt x="115095" y="113737"/>
                  </a:lnTo>
                  <a:lnTo>
                    <a:pt x="112698" y="115473"/>
                  </a:lnTo>
                  <a:lnTo>
                    <a:pt x="107833" y="115563"/>
                  </a:lnTo>
                  <a:lnTo>
                    <a:pt x="105447" y="115459"/>
                  </a:lnTo>
                  <a:lnTo>
                    <a:pt x="104263" y="115028"/>
                  </a:lnTo>
                  <a:lnTo>
                    <a:pt x="99694" y="117662"/>
                  </a:lnTo>
                  <a:lnTo>
                    <a:pt x="99219" y="118632"/>
                  </a:lnTo>
                  <a:lnTo>
                    <a:pt x="98191" y="118955"/>
                  </a:lnTo>
                  <a:lnTo>
                    <a:pt x="95315" y="119478"/>
                  </a:lnTo>
                  <a:lnTo>
                    <a:pt x="92292" y="120220"/>
                  </a:lnTo>
                  <a:lnTo>
                    <a:pt x="91657" y="122778"/>
                  </a:lnTo>
                  <a:lnTo>
                    <a:pt x="90756" y="124159"/>
                  </a:lnTo>
                  <a:lnTo>
                    <a:pt x="89131" y="126186"/>
                  </a:lnTo>
                  <a:lnTo>
                    <a:pt x="83514" y="126890"/>
                  </a:lnTo>
                  <a:lnTo>
                    <a:pt x="78662" y="127880"/>
                  </a:lnTo>
                  <a:lnTo>
                    <a:pt x="73687" y="128491"/>
                  </a:lnTo>
                  <a:lnTo>
                    <a:pt x="67171" y="130962"/>
                  </a:lnTo>
                  <a:lnTo>
                    <a:pt x="65053" y="133140"/>
                  </a:lnTo>
                  <a:lnTo>
                    <a:pt x="62959" y="133747"/>
                  </a:lnTo>
                  <a:lnTo>
                    <a:pt x="61063" y="133926"/>
                  </a:lnTo>
                  <a:lnTo>
                    <a:pt x="59836" y="132714"/>
                  </a:lnTo>
                  <a:lnTo>
                    <a:pt x="55703" y="129457"/>
                  </a:lnTo>
                  <a:lnTo>
                    <a:pt x="54109" y="127920"/>
                  </a:lnTo>
                  <a:lnTo>
                    <a:pt x="52013" y="127467"/>
                  </a:lnTo>
                  <a:lnTo>
                    <a:pt x="49733" y="127723"/>
                  </a:lnTo>
                  <a:lnTo>
                    <a:pt x="47543" y="128480"/>
                  </a:lnTo>
                  <a:lnTo>
                    <a:pt x="45239" y="128625"/>
                  </a:lnTo>
                  <a:lnTo>
                    <a:pt x="42630" y="127533"/>
                  </a:lnTo>
                  <a:lnTo>
                    <a:pt x="42356" y="127639"/>
                  </a:lnTo>
                  <a:lnTo>
                    <a:pt x="41350" y="127786"/>
                  </a:lnTo>
                  <a:lnTo>
                    <a:pt x="34874" y="126466"/>
                  </a:lnTo>
                  <a:lnTo>
                    <a:pt x="34278" y="126247"/>
                  </a:lnTo>
                  <a:lnTo>
                    <a:pt x="33991" y="126192"/>
                  </a:lnTo>
                  <a:lnTo>
                    <a:pt x="33099" y="126093"/>
                  </a:lnTo>
                  <a:lnTo>
                    <a:pt x="28223" y="126258"/>
                  </a:lnTo>
                  <a:lnTo>
                    <a:pt x="23677" y="123589"/>
                  </a:lnTo>
                  <a:lnTo>
                    <a:pt x="22280" y="123508"/>
                  </a:lnTo>
                  <a:lnTo>
                    <a:pt x="21205" y="124589"/>
                  </a:lnTo>
                  <a:lnTo>
                    <a:pt x="20408" y="125791"/>
                  </a:lnTo>
                  <a:lnTo>
                    <a:pt x="17270" y="126984"/>
                  </a:lnTo>
                  <a:lnTo>
                    <a:pt x="16469" y="127463"/>
                  </a:lnTo>
                  <a:lnTo>
                    <a:pt x="16014" y="127095"/>
                  </a:lnTo>
                  <a:lnTo>
                    <a:pt x="15802" y="126058"/>
                  </a:lnTo>
                  <a:lnTo>
                    <a:pt x="16040" y="125141"/>
                  </a:lnTo>
                  <a:lnTo>
                    <a:pt x="15575" y="124273"/>
                  </a:lnTo>
                  <a:lnTo>
                    <a:pt x="14381" y="123287"/>
                  </a:lnTo>
                  <a:lnTo>
                    <a:pt x="14092" y="122880"/>
                  </a:lnTo>
                  <a:lnTo>
                    <a:pt x="12598" y="122954"/>
                  </a:lnTo>
                  <a:lnTo>
                    <a:pt x="12190" y="123050"/>
                  </a:lnTo>
                  <a:lnTo>
                    <a:pt x="12040" y="123028"/>
                  </a:lnTo>
                  <a:lnTo>
                    <a:pt x="9963" y="122191"/>
                  </a:lnTo>
                  <a:lnTo>
                    <a:pt x="8585" y="120174"/>
                  </a:lnTo>
                  <a:lnTo>
                    <a:pt x="6456" y="119101"/>
                  </a:lnTo>
                  <a:lnTo>
                    <a:pt x="4828" y="118740"/>
                  </a:lnTo>
                  <a:lnTo>
                    <a:pt x="4087" y="117875"/>
                  </a:lnTo>
                  <a:lnTo>
                    <a:pt x="3610" y="116724"/>
                  </a:lnTo>
                  <a:lnTo>
                    <a:pt x="3102" y="115854"/>
                  </a:lnTo>
                  <a:lnTo>
                    <a:pt x="3042" y="115772"/>
                  </a:lnTo>
                  <a:lnTo>
                    <a:pt x="2695" y="114455"/>
                  </a:lnTo>
                  <a:lnTo>
                    <a:pt x="2196" y="114319"/>
                  </a:lnTo>
                  <a:lnTo>
                    <a:pt x="2107" y="114284"/>
                  </a:lnTo>
                  <a:lnTo>
                    <a:pt x="0" y="114513"/>
                  </a:lnTo>
                  <a:lnTo>
                    <a:pt x="244" y="109884"/>
                  </a:lnTo>
                  <a:lnTo>
                    <a:pt x="3612" y="106550"/>
                  </a:lnTo>
                  <a:lnTo>
                    <a:pt x="4439" y="104866"/>
                  </a:lnTo>
                  <a:lnTo>
                    <a:pt x="5696" y="101209"/>
                  </a:lnTo>
                  <a:lnTo>
                    <a:pt x="6638" y="99497"/>
                  </a:lnTo>
                  <a:lnTo>
                    <a:pt x="7769" y="98079"/>
                  </a:lnTo>
                  <a:lnTo>
                    <a:pt x="8674" y="96706"/>
                  </a:lnTo>
                  <a:lnTo>
                    <a:pt x="8996" y="95526"/>
                  </a:lnTo>
                  <a:lnTo>
                    <a:pt x="9909" y="95398"/>
                  </a:lnTo>
                  <a:lnTo>
                    <a:pt x="12591" y="96462"/>
                  </a:lnTo>
                  <a:lnTo>
                    <a:pt x="14990" y="97009"/>
                  </a:lnTo>
                  <a:lnTo>
                    <a:pt x="15653" y="96491"/>
                  </a:lnTo>
                  <a:lnTo>
                    <a:pt x="15925" y="95811"/>
                  </a:lnTo>
                  <a:lnTo>
                    <a:pt x="15815" y="95282"/>
                  </a:lnTo>
                  <a:lnTo>
                    <a:pt x="13893" y="93712"/>
                  </a:lnTo>
                  <a:lnTo>
                    <a:pt x="12688" y="92712"/>
                  </a:lnTo>
                  <a:lnTo>
                    <a:pt x="12615" y="92097"/>
                  </a:lnTo>
                  <a:lnTo>
                    <a:pt x="13049" y="90717"/>
                  </a:lnTo>
                  <a:lnTo>
                    <a:pt x="13280" y="89165"/>
                  </a:lnTo>
                  <a:lnTo>
                    <a:pt x="13003" y="87486"/>
                  </a:lnTo>
                  <a:lnTo>
                    <a:pt x="11693" y="83762"/>
                  </a:lnTo>
                  <a:lnTo>
                    <a:pt x="11444" y="82174"/>
                  </a:lnTo>
                  <a:lnTo>
                    <a:pt x="12699" y="80244"/>
                  </a:lnTo>
                  <a:lnTo>
                    <a:pt x="16780" y="75641"/>
                  </a:lnTo>
                  <a:lnTo>
                    <a:pt x="18141" y="73910"/>
                  </a:lnTo>
                  <a:lnTo>
                    <a:pt x="20000" y="71815"/>
                  </a:lnTo>
                  <a:lnTo>
                    <a:pt x="25044" y="66799"/>
                  </a:lnTo>
                  <a:lnTo>
                    <a:pt x="28232" y="63878"/>
                  </a:lnTo>
                  <a:lnTo>
                    <a:pt x="30389" y="62260"/>
                  </a:lnTo>
                  <a:lnTo>
                    <a:pt x="33548" y="59445"/>
                  </a:lnTo>
                  <a:lnTo>
                    <a:pt x="34934" y="57987"/>
                  </a:lnTo>
                  <a:lnTo>
                    <a:pt x="40704" y="57038"/>
                  </a:lnTo>
                  <a:lnTo>
                    <a:pt x="41419" y="55675"/>
                  </a:lnTo>
                  <a:lnTo>
                    <a:pt x="42473" y="54183"/>
                  </a:lnTo>
                  <a:lnTo>
                    <a:pt x="43297" y="53543"/>
                  </a:lnTo>
                  <a:lnTo>
                    <a:pt x="43403" y="51027"/>
                  </a:lnTo>
                  <a:lnTo>
                    <a:pt x="42332" y="47950"/>
                  </a:lnTo>
                  <a:lnTo>
                    <a:pt x="41471" y="46862"/>
                  </a:lnTo>
                  <a:lnTo>
                    <a:pt x="40832" y="46121"/>
                  </a:lnTo>
                  <a:lnTo>
                    <a:pt x="41244" y="45428"/>
                  </a:lnTo>
                  <a:lnTo>
                    <a:pt x="41883" y="45231"/>
                  </a:lnTo>
                  <a:lnTo>
                    <a:pt x="42671" y="45133"/>
                  </a:lnTo>
                  <a:lnTo>
                    <a:pt x="43647" y="44391"/>
                  </a:lnTo>
                  <a:lnTo>
                    <a:pt x="43427" y="43581"/>
                  </a:lnTo>
                  <a:lnTo>
                    <a:pt x="40994" y="41606"/>
                  </a:lnTo>
                  <a:lnTo>
                    <a:pt x="39940" y="40085"/>
                  </a:lnTo>
                  <a:lnTo>
                    <a:pt x="38290" y="36177"/>
                  </a:lnTo>
                  <a:lnTo>
                    <a:pt x="34945" y="32109"/>
                  </a:lnTo>
                  <a:lnTo>
                    <a:pt x="33889" y="30793"/>
                  </a:lnTo>
                  <a:lnTo>
                    <a:pt x="33738" y="29548"/>
                  </a:lnTo>
                  <a:lnTo>
                    <a:pt x="34226" y="28303"/>
                  </a:lnTo>
                  <a:lnTo>
                    <a:pt x="33766" y="26716"/>
                  </a:lnTo>
                  <a:lnTo>
                    <a:pt x="32581" y="24690"/>
                  </a:lnTo>
                  <a:lnTo>
                    <a:pt x="32768" y="24471"/>
                  </a:lnTo>
                  <a:lnTo>
                    <a:pt x="32654" y="21968"/>
                  </a:lnTo>
                  <a:lnTo>
                    <a:pt x="33496" y="21427"/>
                  </a:lnTo>
                  <a:lnTo>
                    <a:pt x="34826" y="21061"/>
                  </a:lnTo>
                  <a:lnTo>
                    <a:pt x="36703" y="21184"/>
                  </a:lnTo>
                  <a:lnTo>
                    <a:pt x="38307" y="21571"/>
                  </a:lnTo>
                  <a:lnTo>
                    <a:pt x="40229" y="22716"/>
                  </a:lnTo>
                  <a:lnTo>
                    <a:pt x="40829" y="22532"/>
                  </a:lnTo>
                  <a:lnTo>
                    <a:pt x="44114" y="20373"/>
                  </a:lnTo>
                  <a:lnTo>
                    <a:pt x="47502" y="17130"/>
                  </a:lnTo>
                  <a:lnTo>
                    <a:pt x="48467" y="15251"/>
                  </a:lnTo>
                  <a:lnTo>
                    <a:pt x="49311" y="14392"/>
                  </a:lnTo>
                  <a:lnTo>
                    <a:pt x="52259" y="13933"/>
                  </a:lnTo>
                  <a:lnTo>
                    <a:pt x="54826" y="13743"/>
                  </a:lnTo>
                  <a:lnTo>
                    <a:pt x="56459" y="13779"/>
                  </a:lnTo>
                  <a:lnTo>
                    <a:pt x="60467" y="13459"/>
                  </a:lnTo>
                  <a:lnTo>
                    <a:pt x="62842" y="13104"/>
                  </a:lnTo>
                  <a:lnTo>
                    <a:pt x="64896" y="12531"/>
                  </a:lnTo>
                  <a:lnTo>
                    <a:pt x="69329" y="12318"/>
                  </a:lnTo>
                  <a:lnTo>
                    <a:pt x="76252" y="12702"/>
                  </a:lnTo>
                  <a:lnTo>
                    <a:pt x="80795" y="12729"/>
                  </a:lnTo>
                  <a:lnTo>
                    <a:pt x="83881" y="13034"/>
                  </a:lnTo>
                  <a:lnTo>
                    <a:pt x="91439" y="14761"/>
                  </a:lnTo>
                  <a:lnTo>
                    <a:pt x="94252" y="15074"/>
                  </a:lnTo>
                  <a:lnTo>
                    <a:pt x="95559" y="15988"/>
                  </a:lnTo>
                  <a:lnTo>
                    <a:pt x="98068" y="16328"/>
                  </a:lnTo>
                  <a:lnTo>
                    <a:pt x="102635" y="17248"/>
                  </a:lnTo>
                  <a:lnTo>
                    <a:pt x="106602" y="17741"/>
                  </a:lnTo>
                  <a:lnTo>
                    <a:pt x="109284" y="17539"/>
                  </a:lnTo>
                  <a:lnTo>
                    <a:pt x="110785" y="17798"/>
                  </a:lnTo>
                  <a:lnTo>
                    <a:pt x="113618" y="21877"/>
                  </a:lnTo>
                  <a:lnTo>
                    <a:pt x="114196" y="22353"/>
                  </a:lnTo>
                  <a:lnTo>
                    <a:pt x="115332" y="22449"/>
                  </a:lnTo>
                  <a:lnTo>
                    <a:pt x="117647" y="22097"/>
                  </a:lnTo>
                  <a:lnTo>
                    <a:pt x="120943" y="22229"/>
                  </a:lnTo>
                  <a:lnTo>
                    <a:pt x="122897" y="23088"/>
                  </a:lnTo>
                  <a:lnTo>
                    <a:pt x="122610" y="25513"/>
                  </a:lnTo>
                  <a:lnTo>
                    <a:pt x="123123" y="25864"/>
                  </a:lnTo>
                  <a:lnTo>
                    <a:pt x="124037" y="25729"/>
                  </a:lnTo>
                  <a:lnTo>
                    <a:pt x="125088" y="24360"/>
                  </a:lnTo>
                  <a:lnTo>
                    <a:pt x="125972" y="22940"/>
                  </a:lnTo>
                  <a:lnTo>
                    <a:pt x="126630" y="22501"/>
                  </a:lnTo>
                  <a:lnTo>
                    <a:pt x="129995" y="23460"/>
                  </a:lnTo>
                  <a:lnTo>
                    <a:pt x="131532" y="23305"/>
                  </a:lnTo>
                  <a:lnTo>
                    <a:pt x="132951" y="22228"/>
                  </a:lnTo>
                  <a:lnTo>
                    <a:pt x="133821" y="22045"/>
                  </a:lnTo>
                  <a:lnTo>
                    <a:pt x="136205" y="22811"/>
                  </a:lnTo>
                  <a:lnTo>
                    <a:pt x="139146" y="23347"/>
                  </a:lnTo>
                  <a:lnTo>
                    <a:pt x="141522" y="23381"/>
                  </a:lnTo>
                  <a:lnTo>
                    <a:pt x="143003" y="23964"/>
                  </a:lnTo>
                  <a:lnTo>
                    <a:pt x="144080" y="26494"/>
                  </a:lnTo>
                  <a:lnTo>
                    <a:pt x="145020" y="27013"/>
                  </a:lnTo>
                  <a:lnTo>
                    <a:pt x="145927" y="27174"/>
                  </a:lnTo>
                  <a:lnTo>
                    <a:pt x="147298" y="24913"/>
                  </a:lnTo>
                  <a:lnTo>
                    <a:pt x="148542" y="24036"/>
                  </a:lnTo>
                  <a:lnTo>
                    <a:pt x="150267" y="23390"/>
                  </a:lnTo>
                  <a:lnTo>
                    <a:pt x="151377" y="23107"/>
                  </a:lnTo>
                  <a:lnTo>
                    <a:pt x="152158" y="22308"/>
                  </a:lnTo>
                  <a:lnTo>
                    <a:pt x="153212" y="21528"/>
                  </a:lnTo>
                  <a:lnTo>
                    <a:pt x="154126" y="21466"/>
                  </a:lnTo>
                  <a:lnTo>
                    <a:pt x="154868" y="21768"/>
                  </a:lnTo>
                  <a:lnTo>
                    <a:pt x="155721" y="22847"/>
                  </a:lnTo>
                  <a:lnTo>
                    <a:pt x="156965" y="25305"/>
                  </a:lnTo>
                  <a:lnTo>
                    <a:pt x="158477" y="27771"/>
                  </a:lnTo>
                  <a:lnTo>
                    <a:pt x="159531" y="28666"/>
                  </a:lnTo>
                  <a:lnTo>
                    <a:pt x="162254" y="27909"/>
                  </a:lnTo>
                  <a:lnTo>
                    <a:pt x="164100" y="27139"/>
                  </a:lnTo>
                  <a:lnTo>
                    <a:pt x="167482" y="26993"/>
                  </a:lnTo>
                  <a:lnTo>
                    <a:pt x="171964" y="26451"/>
                  </a:lnTo>
                  <a:lnTo>
                    <a:pt x="175392" y="25745"/>
                  </a:lnTo>
                  <a:lnTo>
                    <a:pt x="177536" y="25867"/>
                  </a:lnTo>
                  <a:lnTo>
                    <a:pt x="178836" y="26650"/>
                  </a:lnTo>
                  <a:lnTo>
                    <a:pt x="180814" y="28166"/>
                  </a:lnTo>
                  <a:lnTo>
                    <a:pt x="181354" y="30339"/>
                  </a:lnTo>
                  <a:lnTo>
                    <a:pt x="183921" y="31841"/>
                  </a:lnTo>
                  <a:lnTo>
                    <a:pt x="186022" y="32112"/>
                  </a:lnTo>
                  <a:lnTo>
                    <a:pt x="186739" y="30549"/>
                  </a:lnTo>
                  <a:lnTo>
                    <a:pt x="187968" y="29462"/>
                  </a:lnTo>
                  <a:lnTo>
                    <a:pt x="187508" y="27968"/>
                  </a:lnTo>
                  <a:lnTo>
                    <a:pt x="187301" y="26062"/>
                  </a:lnTo>
                  <a:lnTo>
                    <a:pt x="186380" y="24291"/>
                  </a:lnTo>
                  <a:lnTo>
                    <a:pt x="185767" y="22384"/>
                  </a:lnTo>
                  <a:lnTo>
                    <a:pt x="186892" y="19657"/>
                  </a:lnTo>
                  <a:lnTo>
                    <a:pt x="188121" y="17267"/>
                  </a:lnTo>
                  <a:lnTo>
                    <a:pt x="188736" y="15968"/>
                  </a:lnTo>
                  <a:lnTo>
                    <a:pt x="190682" y="13576"/>
                  </a:lnTo>
                  <a:lnTo>
                    <a:pt x="192682" y="11865"/>
                  </a:lnTo>
                  <a:lnTo>
                    <a:pt x="195666" y="9111"/>
                  </a:lnTo>
                  <a:lnTo>
                    <a:pt x="197847" y="8201"/>
                  </a:lnTo>
                  <a:lnTo>
                    <a:pt x="199818" y="8616"/>
                  </a:lnTo>
                  <a:lnTo>
                    <a:pt x="200913" y="8992"/>
                  </a:lnTo>
                  <a:lnTo>
                    <a:pt x="203744" y="7360"/>
                  </a:lnTo>
                  <a:lnTo>
                    <a:pt x="208780" y="7279"/>
                  </a:lnTo>
                  <a:lnTo>
                    <a:pt x="212973" y="7487"/>
                  </a:lnTo>
                  <a:lnTo>
                    <a:pt x="213394" y="7536"/>
                  </a:lnTo>
                  <a:lnTo>
                    <a:pt x="215455" y="8380"/>
                  </a:lnTo>
                  <a:lnTo>
                    <a:pt x="217627" y="9098"/>
                  </a:lnTo>
                  <a:lnTo>
                    <a:pt x="219125" y="9146"/>
                  </a:lnTo>
                  <a:lnTo>
                    <a:pt x="220909" y="8981"/>
                  </a:lnTo>
                  <a:lnTo>
                    <a:pt x="223000" y="8024"/>
                  </a:lnTo>
                  <a:lnTo>
                    <a:pt x="224459" y="7104"/>
                  </a:lnTo>
                  <a:lnTo>
                    <a:pt x="226232" y="2418"/>
                  </a:lnTo>
                  <a:lnTo>
                    <a:pt x="226858" y="1744"/>
                  </a:lnTo>
                  <a:lnTo>
                    <a:pt x="227834" y="1376"/>
                  </a:lnTo>
                  <a:lnTo>
                    <a:pt x="229437" y="1337"/>
                  </a:lnTo>
                  <a:lnTo>
                    <a:pt x="232477" y="2211"/>
                  </a:lnTo>
                  <a:lnTo>
                    <a:pt x="236038" y="2996"/>
                  </a:lnTo>
                  <a:lnTo>
                    <a:pt x="238100" y="2886"/>
                  </a:lnTo>
                  <a:lnTo>
                    <a:pt x="243600" y="390"/>
                  </a:lnTo>
                  <a:close/>
                </a:path>
              </a:pathLst>
            </a:custGeom>
            <a:solidFill>
              <a:srgbClr val="A3BA1E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81" name="ee4p_VA_1_82333">
              <a:extLst>
                <a:ext uri="{FF2B5EF4-FFF2-40B4-BE49-F238E27FC236}">
                  <a16:creationId xmlns:a16="http://schemas.microsoft.com/office/drawing/2014/main" id="{257FB7EF-309B-FD51-747F-8C2FCDC7EF40}"/>
                </a:ext>
              </a:extLst>
            </p:cNvPr>
            <p:cNvSpPr>
              <a:spLocks noChangeAspect="1"/>
            </p:cNvSpPr>
            <p:nvPr>
              <p:custDataLst>
                <p:tags r:id="rId109"/>
              </p:custDataLst>
            </p:nvPr>
          </p:nvSpPr>
          <p:spPr>
            <a:xfrm>
              <a:off x="6859805" y="3405688"/>
              <a:ext cx="324" cy="298"/>
            </a:xfrm>
            <a:custGeom>
              <a:avLst/>
              <a:gdLst/>
              <a:ahLst/>
              <a:cxnLst/>
              <a:rect l="0" t="0" r="0" b="0"/>
              <a:pathLst>
                <a:path w="258" h="231">
                  <a:moveTo>
                    <a:pt x="257" y="208"/>
                  </a:moveTo>
                  <a:lnTo>
                    <a:pt x="67" y="230"/>
                  </a:lnTo>
                  <a:lnTo>
                    <a:pt x="0" y="145"/>
                  </a:lnTo>
                  <a:lnTo>
                    <a:pt x="67" y="20"/>
                  </a:lnTo>
                  <a:lnTo>
                    <a:pt x="240" y="0"/>
                  </a:lnTo>
                  <a:close/>
                </a:path>
              </a:pathLst>
            </a:custGeom>
            <a:solidFill>
              <a:srgbClr val="A3BA1E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82" name="ee4p_AO_1_82333">
              <a:extLst>
                <a:ext uri="{FF2B5EF4-FFF2-40B4-BE49-F238E27FC236}">
                  <a16:creationId xmlns:a16="http://schemas.microsoft.com/office/drawing/2014/main" id="{D5A1B94A-556E-E4A7-65DC-E822C85B6BC9}"/>
                </a:ext>
              </a:extLst>
            </p:cNvPr>
            <p:cNvSpPr>
              <a:spLocks noChangeAspect="1"/>
            </p:cNvSpPr>
            <p:nvPr>
              <p:custDataLst>
                <p:tags r:id="rId110"/>
              </p:custDataLst>
            </p:nvPr>
          </p:nvSpPr>
          <p:spPr>
            <a:xfrm>
              <a:off x="6840798" y="4804106"/>
              <a:ext cx="341663" cy="393115"/>
            </a:xfrm>
            <a:custGeom>
              <a:avLst/>
              <a:gdLst>
                <a:gd name="connsiteX0" fmla="*/ 119729 w 728723"/>
                <a:gd name="connsiteY0" fmla="*/ 84696 h 816237"/>
                <a:gd name="connsiteX1" fmla="*/ 132401 w 728723"/>
                <a:gd name="connsiteY1" fmla="*/ 84817 h 816237"/>
                <a:gd name="connsiteX2" fmla="*/ 140412 w 728723"/>
                <a:gd name="connsiteY2" fmla="*/ 85288 h 816237"/>
                <a:gd name="connsiteX3" fmla="*/ 144976 w 728723"/>
                <a:gd name="connsiteY3" fmla="*/ 85934 h 816237"/>
                <a:gd name="connsiteX4" fmla="*/ 157284 w 728723"/>
                <a:gd name="connsiteY4" fmla="*/ 86925 h 816237"/>
                <a:gd name="connsiteX5" fmla="*/ 172641 w 728723"/>
                <a:gd name="connsiteY5" fmla="*/ 86700 h 816237"/>
                <a:gd name="connsiteX6" fmla="*/ 178062 w 728723"/>
                <a:gd name="connsiteY6" fmla="*/ 86175 h 816237"/>
                <a:gd name="connsiteX7" fmla="*/ 198194 w 728723"/>
                <a:gd name="connsiteY7" fmla="*/ 85845 h 816237"/>
                <a:gd name="connsiteX8" fmla="*/ 218074 w 728723"/>
                <a:gd name="connsiteY8" fmla="*/ 85511 h 816237"/>
                <a:gd name="connsiteX9" fmla="*/ 235959 w 728723"/>
                <a:gd name="connsiteY9" fmla="*/ 85213 h 816237"/>
                <a:gd name="connsiteX10" fmla="*/ 255694 w 728723"/>
                <a:gd name="connsiteY10" fmla="*/ 85277 h 816237"/>
                <a:gd name="connsiteX11" fmla="*/ 270801 w 728723"/>
                <a:gd name="connsiteY11" fmla="*/ 85318 h 816237"/>
                <a:gd name="connsiteX12" fmla="*/ 277685 w 728723"/>
                <a:gd name="connsiteY12" fmla="*/ 87372 h 816237"/>
                <a:gd name="connsiteX13" fmla="*/ 283942 w 728723"/>
                <a:gd name="connsiteY13" fmla="*/ 91272 h 816237"/>
                <a:gd name="connsiteX14" fmla="*/ 286789 w 728723"/>
                <a:gd name="connsiteY14" fmla="*/ 94808 h 816237"/>
                <a:gd name="connsiteX15" fmla="*/ 288142 w 728723"/>
                <a:gd name="connsiteY15" fmla="*/ 96369 h 816237"/>
                <a:gd name="connsiteX16" fmla="*/ 290009 w 728723"/>
                <a:gd name="connsiteY16" fmla="*/ 100114 h 816237"/>
                <a:gd name="connsiteX17" fmla="*/ 293430 w 728723"/>
                <a:gd name="connsiteY17" fmla="*/ 103068 h 816237"/>
                <a:gd name="connsiteX18" fmla="*/ 294643 w 728723"/>
                <a:gd name="connsiteY18" fmla="*/ 107654 h 816237"/>
                <a:gd name="connsiteX19" fmla="*/ 293649 w 728723"/>
                <a:gd name="connsiteY19" fmla="*/ 113871 h 816237"/>
                <a:gd name="connsiteX20" fmla="*/ 294147 w 728723"/>
                <a:gd name="connsiteY20" fmla="*/ 121347 h 816237"/>
                <a:gd name="connsiteX21" fmla="*/ 296138 w 728723"/>
                <a:gd name="connsiteY21" fmla="*/ 130076 h 816237"/>
                <a:gd name="connsiteX22" fmla="*/ 300289 w 728723"/>
                <a:gd name="connsiteY22" fmla="*/ 139242 h 816237"/>
                <a:gd name="connsiteX23" fmla="*/ 306587 w 728723"/>
                <a:gd name="connsiteY23" fmla="*/ 148850 h 816237"/>
                <a:gd name="connsiteX24" fmla="*/ 309335 w 728723"/>
                <a:gd name="connsiteY24" fmla="*/ 156473 h 816237"/>
                <a:gd name="connsiteX25" fmla="*/ 308520 w 728723"/>
                <a:gd name="connsiteY25" fmla="*/ 162122 h 816237"/>
                <a:gd name="connsiteX26" fmla="*/ 310457 w 728723"/>
                <a:gd name="connsiteY26" fmla="*/ 168101 h 816237"/>
                <a:gd name="connsiteX27" fmla="*/ 315136 w 728723"/>
                <a:gd name="connsiteY27" fmla="*/ 174390 h 816237"/>
                <a:gd name="connsiteX28" fmla="*/ 318560 w 728723"/>
                <a:gd name="connsiteY28" fmla="*/ 177722 h 816237"/>
                <a:gd name="connsiteX29" fmla="*/ 320544 w 728723"/>
                <a:gd name="connsiteY29" fmla="*/ 180240 h 816237"/>
                <a:gd name="connsiteX30" fmla="*/ 325872 w 728723"/>
                <a:gd name="connsiteY30" fmla="*/ 189888 h 816237"/>
                <a:gd name="connsiteX31" fmla="*/ 335721 w 728723"/>
                <a:gd name="connsiteY31" fmla="*/ 205295 h 816237"/>
                <a:gd name="connsiteX32" fmla="*/ 343108 w 728723"/>
                <a:gd name="connsiteY32" fmla="*/ 216856 h 816237"/>
                <a:gd name="connsiteX33" fmla="*/ 345688 w 728723"/>
                <a:gd name="connsiteY33" fmla="*/ 218235 h 816237"/>
                <a:gd name="connsiteX34" fmla="*/ 349465 w 728723"/>
                <a:gd name="connsiteY34" fmla="*/ 217740 h 816237"/>
                <a:gd name="connsiteX35" fmla="*/ 357487 w 728723"/>
                <a:gd name="connsiteY35" fmla="*/ 216588 h 816237"/>
                <a:gd name="connsiteX36" fmla="*/ 365440 w 728723"/>
                <a:gd name="connsiteY36" fmla="*/ 216366 h 816237"/>
                <a:gd name="connsiteX37" fmla="*/ 371107 w 728723"/>
                <a:gd name="connsiteY37" fmla="*/ 218747 h 816237"/>
                <a:gd name="connsiteX38" fmla="*/ 373381 w 728723"/>
                <a:gd name="connsiteY38" fmla="*/ 218340 h 816237"/>
                <a:gd name="connsiteX39" fmla="*/ 381929 w 728723"/>
                <a:gd name="connsiteY39" fmla="*/ 213751 h 816237"/>
                <a:gd name="connsiteX40" fmla="*/ 390422 w 728723"/>
                <a:gd name="connsiteY40" fmla="*/ 212350 h 816237"/>
                <a:gd name="connsiteX41" fmla="*/ 399294 w 728723"/>
                <a:gd name="connsiteY41" fmla="*/ 210457 h 816237"/>
                <a:gd name="connsiteX42" fmla="*/ 403914 w 728723"/>
                <a:gd name="connsiteY42" fmla="*/ 208515 h 816237"/>
                <a:gd name="connsiteX43" fmla="*/ 409287 w 728723"/>
                <a:gd name="connsiteY43" fmla="*/ 208520 h 816237"/>
                <a:gd name="connsiteX44" fmla="*/ 423794 w 728723"/>
                <a:gd name="connsiteY44" fmla="*/ 212222 h 816237"/>
                <a:gd name="connsiteX45" fmla="*/ 426524 w 728723"/>
                <a:gd name="connsiteY45" fmla="*/ 212420 h 816237"/>
                <a:gd name="connsiteX46" fmla="*/ 438266 w 728723"/>
                <a:gd name="connsiteY46" fmla="*/ 212420 h 816237"/>
                <a:gd name="connsiteX47" fmla="*/ 450001 w 728723"/>
                <a:gd name="connsiteY47" fmla="*/ 210341 h 816237"/>
                <a:gd name="connsiteX48" fmla="*/ 451726 w 728723"/>
                <a:gd name="connsiteY48" fmla="*/ 194846 h 816237"/>
                <a:gd name="connsiteX49" fmla="*/ 451831 w 728723"/>
                <a:gd name="connsiteY49" fmla="*/ 191779 h 816237"/>
                <a:gd name="connsiteX50" fmla="*/ 454654 w 728723"/>
                <a:gd name="connsiteY50" fmla="*/ 185959 h 816237"/>
                <a:gd name="connsiteX51" fmla="*/ 458238 w 728723"/>
                <a:gd name="connsiteY51" fmla="*/ 180886 h 816237"/>
                <a:gd name="connsiteX52" fmla="*/ 458685 w 728723"/>
                <a:gd name="connsiteY52" fmla="*/ 176037 h 816237"/>
                <a:gd name="connsiteX53" fmla="*/ 458471 w 728723"/>
                <a:gd name="connsiteY53" fmla="*/ 169413 h 816237"/>
                <a:gd name="connsiteX54" fmla="*/ 461066 w 728723"/>
                <a:gd name="connsiteY54" fmla="*/ 161375 h 816237"/>
                <a:gd name="connsiteX55" fmla="*/ 468928 w 728723"/>
                <a:gd name="connsiteY55" fmla="*/ 154984 h 816237"/>
                <a:gd name="connsiteX56" fmla="*/ 481654 w 728723"/>
                <a:gd name="connsiteY56" fmla="*/ 151963 h 816237"/>
                <a:gd name="connsiteX57" fmla="*/ 488894 w 728723"/>
                <a:gd name="connsiteY57" fmla="*/ 151376 h 816237"/>
                <a:gd name="connsiteX58" fmla="*/ 500299 w 728723"/>
                <a:gd name="connsiteY58" fmla="*/ 149581 h 816237"/>
                <a:gd name="connsiteX59" fmla="*/ 517605 w 728723"/>
                <a:gd name="connsiteY59" fmla="*/ 147768 h 816237"/>
                <a:gd name="connsiteX60" fmla="*/ 523991 w 728723"/>
                <a:gd name="connsiteY60" fmla="*/ 148012 h 816237"/>
                <a:gd name="connsiteX61" fmla="*/ 524505 w 728723"/>
                <a:gd name="connsiteY61" fmla="*/ 148920 h 816237"/>
                <a:gd name="connsiteX62" fmla="*/ 520846 w 728723"/>
                <a:gd name="connsiteY62" fmla="*/ 160025 h 816237"/>
                <a:gd name="connsiteX63" fmla="*/ 520782 w 728723"/>
                <a:gd name="connsiteY63" fmla="*/ 163657 h 816237"/>
                <a:gd name="connsiteX64" fmla="*/ 522116 w 728723"/>
                <a:gd name="connsiteY64" fmla="*/ 167327 h 816237"/>
                <a:gd name="connsiteX65" fmla="*/ 525043 w 728723"/>
                <a:gd name="connsiteY65" fmla="*/ 169309 h 816237"/>
                <a:gd name="connsiteX66" fmla="*/ 542998 w 728723"/>
                <a:gd name="connsiteY66" fmla="*/ 169528 h 816237"/>
                <a:gd name="connsiteX67" fmla="*/ 559546 w 728723"/>
                <a:gd name="connsiteY67" fmla="*/ 169740 h 816237"/>
                <a:gd name="connsiteX68" fmla="*/ 578528 w 728723"/>
                <a:gd name="connsiteY68" fmla="*/ 170436 h 816237"/>
                <a:gd name="connsiteX69" fmla="*/ 592757 w 728723"/>
                <a:gd name="connsiteY69" fmla="*/ 170959 h 816237"/>
                <a:gd name="connsiteX70" fmla="*/ 594568 w 728723"/>
                <a:gd name="connsiteY70" fmla="*/ 171505 h 816237"/>
                <a:gd name="connsiteX71" fmla="*/ 596014 w 728723"/>
                <a:gd name="connsiteY71" fmla="*/ 172338 h 816237"/>
                <a:gd name="connsiteX72" fmla="*/ 598119 w 728723"/>
                <a:gd name="connsiteY72" fmla="*/ 177840 h 816237"/>
                <a:gd name="connsiteX73" fmla="*/ 597645 w 728723"/>
                <a:gd name="connsiteY73" fmla="*/ 188597 h 816237"/>
                <a:gd name="connsiteX74" fmla="*/ 594474 w 728723"/>
                <a:gd name="connsiteY74" fmla="*/ 204312 h 816237"/>
                <a:gd name="connsiteX75" fmla="*/ 595706 w 728723"/>
                <a:gd name="connsiteY75" fmla="*/ 219004 h 816237"/>
                <a:gd name="connsiteX76" fmla="*/ 601334 w 728723"/>
                <a:gd name="connsiteY76" fmla="*/ 232667 h 816237"/>
                <a:gd name="connsiteX77" fmla="*/ 601896 w 728723"/>
                <a:gd name="connsiteY77" fmla="*/ 253680 h 816237"/>
                <a:gd name="connsiteX78" fmla="*/ 599911 w 728723"/>
                <a:gd name="connsiteY78" fmla="*/ 266221 h 816237"/>
                <a:gd name="connsiteX79" fmla="*/ 597402 w 728723"/>
                <a:gd name="connsiteY79" fmla="*/ 282038 h 816237"/>
                <a:gd name="connsiteX80" fmla="*/ 596435 w 728723"/>
                <a:gd name="connsiteY80" fmla="*/ 299976 h 816237"/>
                <a:gd name="connsiteX81" fmla="*/ 599009 w 728723"/>
                <a:gd name="connsiteY81" fmla="*/ 307474 h 816237"/>
                <a:gd name="connsiteX82" fmla="*/ 604459 w 728723"/>
                <a:gd name="connsiteY82" fmla="*/ 315327 h 816237"/>
                <a:gd name="connsiteX83" fmla="*/ 612782 w 728723"/>
                <a:gd name="connsiteY83" fmla="*/ 323529 h 816237"/>
                <a:gd name="connsiteX84" fmla="*/ 619213 w 728723"/>
                <a:gd name="connsiteY84" fmla="*/ 334163 h 816237"/>
                <a:gd name="connsiteX85" fmla="*/ 623758 w 728723"/>
                <a:gd name="connsiteY85" fmla="*/ 347234 h 816237"/>
                <a:gd name="connsiteX86" fmla="*/ 625414 w 728723"/>
                <a:gd name="connsiteY86" fmla="*/ 355470 h 816237"/>
                <a:gd name="connsiteX87" fmla="*/ 624182 w 728723"/>
                <a:gd name="connsiteY87" fmla="*/ 358859 h 816237"/>
                <a:gd name="connsiteX88" fmla="*/ 624275 w 728723"/>
                <a:gd name="connsiteY88" fmla="*/ 364741 h 816237"/>
                <a:gd name="connsiteX89" fmla="*/ 625687 w 728723"/>
                <a:gd name="connsiteY89" fmla="*/ 373111 h 816237"/>
                <a:gd name="connsiteX90" fmla="*/ 624112 w 728723"/>
                <a:gd name="connsiteY90" fmla="*/ 378661 h 816237"/>
                <a:gd name="connsiteX91" fmla="*/ 619556 w 728723"/>
                <a:gd name="connsiteY91" fmla="*/ 381388 h 816237"/>
                <a:gd name="connsiteX92" fmla="*/ 618040 w 728723"/>
                <a:gd name="connsiteY92" fmla="*/ 385151 h 816237"/>
                <a:gd name="connsiteX93" fmla="*/ 620335 w 728723"/>
                <a:gd name="connsiteY93" fmla="*/ 392365 h 816237"/>
                <a:gd name="connsiteX94" fmla="*/ 620895 w 728723"/>
                <a:gd name="connsiteY94" fmla="*/ 398916 h 816237"/>
                <a:gd name="connsiteX95" fmla="*/ 622700 w 728723"/>
                <a:gd name="connsiteY95" fmla="*/ 401416 h 816237"/>
                <a:gd name="connsiteX96" fmla="*/ 624013 w 728723"/>
                <a:gd name="connsiteY96" fmla="*/ 403242 h 816237"/>
                <a:gd name="connsiteX97" fmla="*/ 626156 w 728723"/>
                <a:gd name="connsiteY97" fmla="*/ 403513 h 816237"/>
                <a:gd name="connsiteX98" fmla="*/ 630776 w 728723"/>
                <a:gd name="connsiteY98" fmla="*/ 401164 h 816237"/>
                <a:gd name="connsiteX99" fmla="*/ 636294 w 728723"/>
                <a:gd name="connsiteY99" fmla="*/ 396803 h 816237"/>
                <a:gd name="connsiteX100" fmla="*/ 640730 w 728723"/>
                <a:gd name="connsiteY100" fmla="*/ 394955 h 816237"/>
                <a:gd name="connsiteX101" fmla="*/ 646976 w 728723"/>
                <a:gd name="connsiteY101" fmla="*/ 395188 h 816237"/>
                <a:gd name="connsiteX102" fmla="*/ 655756 w 728723"/>
                <a:gd name="connsiteY102" fmla="*/ 396417 h 816237"/>
                <a:gd name="connsiteX103" fmla="*/ 671246 w 728723"/>
                <a:gd name="connsiteY103" fmla="*/ 396873 h 816237"/>
                <a:gd name="connsiteX104" fmla="*/ 676014 w 728723"/>
                <a:gd name="connsiteY104" fmla="*/ 396088 h 816237"/>
                <a:gd name="connsiteX105" fmla="*/ 690433 w 728723"/>
                <a:gd name="connsiteY105" fmla="*/ 390195 h 816237"/>
                <a:gd name="connsiteX106" fmla="*/ 694209 w 728723"/>
                <a:gd name="connsiteY106" fmla="*/ 389767 h 816237"/>
                <a:gd name="connsiteX107" fmla="*/ 699896 w 728723"/>
                <a:gd name="connsiteY107" fmla="*/ 390324 h 816237"/>
                <a:gd name="connsiteX108" fmla="*/ 707975 w 728723"/>
                <a:gd name="connsiteY108" fmla="*/ 392062 h 816237"/>
                <a:gd name="connsiteX109" fmla="*/ 716120 w 728723"/>
                <a:gd name="connsiteY109" fmla="*/ 392424 h 816237"/>
                <a:gd name="connsiteX110" fmla="*/ 720106 w 728723"/>
                <a:gd name="connsiteY110" fmla="*/ 390600 h 816237"/>
                <a:gd name="connsiteX111" fmla="*/ 720470 w 728723"/>
                <a:gd name="connsiteY111" fmla="*/ 388216 h 816237"/>
                <a:gd name="connsiteX112" fmla="*/ 721734 w 728723"/>
                <a:gd name="connsiteY112" fmla="*/ 385103 h 816237"/>
                <a:gd name="connsiteX113" fmla="*/ 723973 w 728723"/>
                <a:gd name="connsiteY113" fmla="*/ 383922 h 816237"/>
                <a:gd name="connsiteX114" fmla="*/ 725262 w 728723"/>
                <a:gd name="connsiteY114" fmla="*/ 391775 h 816237"/>
                <a:gd name="connsiteX115" fmla="*/ 726553 w 728723"/>
                <a:gd name="connsiteY115" fmla="*/ 402682 h 816237"/>
                <a:gd name="connsiteX116" fmla="*/ 727474 w 728723"/>
                <a:gd name="connsiteY116" fmla="*/ 410528 h 816237"/>
                <a:gd name="connsiteX117" fmla="*/ 728409 w 728723"/>
                <a:gd name="connsiteY117" fmla="*/ 414037 h 816237"/>
                <a:gd name="connsiteX118" fmla="*/ 728723 w 728723"/>
                <a:gd name="connsiteY118" fmla="*/ 415912 h 816237"/>
                <a:gd name="connsiteX119" fmla="*/ 727691 w 728723"/>
                <a:gd name="connsiteY119" fmla="*/ 417937 h 816237"/>
                <a:gd name="connsiteX120" fmla="*/ 726826 w 728723"/>
                <a:gd name="connsiteY120" fmla="*/ 422648 h 816237"/>
                <a:gd name="connsiteX121" fmla="*/ 725176 w 728723"/>
                <a:gd name="connsiteY121" fmla="*/ 426822 h 816237"/>
                <a:gd name="connsiteX122" fmla="*/ 724239 w 728723"/>
                <a:gd name="connsiteY122" fmla="*/ 429741 h 816237"/>
                <a:gd name="connsiteX123" fmla="*/ 725002 w 728723"/>
                <a:gd name="connsiteY123" fmla="*/ 435093 h 816237"/>
                <a:gd name="connsiteX124" fmla="*/ 724383 w 728723"/>
                <a:gd name="connsiteY124" fmla="*/ 442772 h 816237"/>
                <a:gd name="connsiteX125" fmla="*/ 723724 w 728723"/>
                <a:gd name="connsiteY125" fmla="*/ 450878 h 816237"/>
                <a:gd name="connsiteX126" fmla="*/ 723521 w 728723"/>
                <a:gd name="connsiteY126" fmla="*/ 458683 h 816237"/>
                <a:gd name="connsiteX127" fmla="*/ 725749 w 728723"/>
                <a:gd name="connsiteY127" fmla="*/ 472681 h 816237"/>
                <a:gd name="connsiteX128" fmla="*/ 725441 w 728723"/>
                <a:gd name="connsiteY128" fmla="*/ 476977 h 816237"/>
                <a:gd name="connsiteX129" fmla="*/ 722685 w 728723"/>
                <a:gd name="connsiteY129" fmla="*/ 484290 h 816237"/>
                <a:gd name="connsiteX130" fmla="*/ 720590 w 728723"/>
                <a:gd name="connsiteY130" fmla="*/ 489848 h 816237"/>
                <a:gd name="connsiteX131" fmla="*/ 719238 w 728723"/>
                <a:gd name="connsiteY131" fmla="*/ 496292 h 816237"/>
                <a:gd name="connsiteX132" fmla="*/ 718994 w 728723"/>
                <a:gd name="connsiteY132" fmla="*/ 499649 h 816237"/>
                <a:gd name="connsiteX133" fmla="*/ 724067 w 728723"/>
                <a:gd name="connsiteY133" fmla="*/ 509155 h 816237"/>
                <a:gd name="connsiteX134" fmla="*/ 723765 w 728723"/>
                <a:gd name="connsiteY134" fmla="*/ 511054 h 816237"/>
                <a:gd name="connsiteX135" fmla="*/ 719883 w 728723"/>
                <a:gd name="connsiteY135" fmla="*/ 511643 h 816237"/>
                <a:gd name="connsiteX136" fmla="*/ 716669 w 728723"/>
                <a:gd name="connsiteY136" fmla="*/ 511806 h 816237"/>
                <a:gd name="connsiteX137" fmla="*/ 704388 w 728723"/>
                <a:gd name="connsiteY137" fmla="*/ 511806 h 816237"/>
                <a:gd name="connsiteX138" fmla="*/ 686787 w 728723"/>
                <a:gd name="connsiteY138" fmla="*/ 511806 h 816237"/>
                <a:gd name="connsiteX139" fmla="*/ 669187 w 728723"/>
                <a:gd name="connsiteY139" fmla="*/ 511806 h 816237"/>
                <a:gd name="connsiteX140" fmla="*/ 651586 w 728723"/>
                <a:gd name="connsiteY140" fmla="*/ 511806 h 816237"/>
                <a:gd name="connsiteX141" fmla="*/ 635397 w 728723"/>
                <a:gd name="connsiteY141" fmla="*/ 511806 h 816237"/>
                <a:gd name="connsiteX142" fmla="*/ 619912 w 728723"/>
                <a:gd name="connsiteY142" fmla="*/ 511806 h 816237"/>
                <a:gd name="connsiteX143" fmla="*/ 606251 w 728723"/>
                <a:gd name="connsiteY143" fmla="*/ 511806 h 816237"/>
                <a:gd name="connsiteX144" fmla="*/ 606257 w 728723"/>
                <a:gd name="connsiteY144" fmla="*/ 521195 h 816237"/>
                <a:gd name="connsiteX145" fmla="*/ 606262 w 728723"/>
                <a:gd name="connsiteY145" fmla="*/ 540534 h 816237"/>
                <a:gd name="connsiteX146" fmla="*/ 606262 w 728723"/>
                <a:gd name="connsiteY146" fmla="*/ 559897 h 816237"/>
                <a:gd name="connsiteX147" fmla="*/ 606276 w 728723"/>
                <a:gd name="connsiteY147" fmla="*/ 579268 h 816237"/>
                <a:gd name="connsiteX148" fmla="*/ 606281 w 728723"/>
                <a:gd name="connsiteY148" fmla="*/ 598661 h 816237"/>
                <a:gd name="connsiteX149" fmla="*/ 606286 w 728723"/>
                <a:gd name="connsiteY149" fmla="*/ 618067 h 816237"/>
                <a:gd name="connsiteX150" fmla="*/ 606292 w 728723"/>
                <a:gd name="connsiteY150" fmla="*/ 637495 h 816237"/>
                <a:gd name="connsiteX151" fmla="*/ 606297 w 728723"/>
                <a:gd name="connsiteY151" fmla="*/ 656938 h 816237"/>
                <a:gd name="connsiteX152" fmla="*/ 606302 w 728723"/>
                <a:gd name="connsiteY152" fmla="*/ 676403 h 816237"/>
                <a:gd name="connsiteX153" fmla="*/ 606302 w 728723"/>
                <a:gd name="connsiteY153" fmla="*/ 690455 h 816237"/>
                <a:gd name="connsiteX154" fmla="*/ 609884 w 728723"/>
                <a:gd name="connsiteY154" fmla="*/ 709121 h 816237"/>
                <a:gd name="connsiteX155" fmla="*/ 616425 w 728723"/>
                <a:gd name="connsiteY155" fmla="*/ 729457 h 816237"/>
                <a:gd name="connsiteX156" fmla="*/ 618988 w 728723"/>
                <a:gd name="connsiteY156" fmla="*/ 731343 h 816237"/>
                <a:gd name="connsiteX157" fmla="*/ 625569 w 728723"/>
                <a:gd name="connsiteY157" fmla="*/ 735079 h 816237"/>
                <a:gd name="connsiteX158" fmla="*/ 634714 w 728723"/>
                <a:gd name="connsiteY158" fmla="*/ 742727 h 816237"/>
                <a:gd name="connsiteX159" fmla="*/ 639840 w 728723"/>
                <a:gd name="connsiteY159" fmla="*/ 748520 h 816237"/>
                <a:gd name="connsiteX160" fmla="*/ 650263 w 728723"/>
                <a:gd name="connsiteY160" fmla="*/ 758578 h 816237"/>
                <a:gd name="connsiteX161" fmla="*/ 664116 w 728723"/>
                <a:gd name="connsiteY161" fmla="*/ 771411 h 816237"/>
                <a:gd name="connsiteX162" fmla="*/ 677487 w 728723"/>
                <a:gd name="connsiteY162" fmla="*/ 782921 h 816237"/>
                <a:gd name="connsiteX163" fmla="*/ 689276 w 728723"/>
                <a:gd name="connsiteY163" fmla="*/ 793070 h 816237"/>
                <a:gd name="connsiteX164" fmla="*/ 670772 w 728723"/>
                <a:gd name="connsiteY164" fmla="*/ 796624 h 816237"/>
                <a:gd name="connsiteX165" fmla="*/ 644461 w 728723"/>
                <a:gd name="connsiteY165" fmla="*/ 801684 h 816237"/>
                <a:gd name="connsiteX166" fmla="*/ 626705 w 728723"/>
                <a:gd name="connsiteY166" fmla="*/ 805096 h 816237"/>
                <a:gd name="connsiteX167" fmla="*/ 605180 w 728723"/>
                <a:gd name="connsiteY167" fmla="*/ 809232 h 816237"/>
                <a:gd name="connsiteX168" fmla="*/ 590826 w 728723"/>
                <a:gd name="connsiteY168" fmla="*/ 811836 h 816237"/>
                <a:gd name="connsiteX169" fmla="*/ 572965 w 728723"/>
                <a:gd name="connsiteY169" fmla="*/ 815071 h 816237"/>
                <a:gd name="connsiteX170" fmla="*/ 570112 w 728723"/>
                <a:gd name="connsiteY170" fmla="*/ 815002 h 816237"/>
                <a:gd name="connsiteX171" fmla="*/ 565323 w 728723"/>
                <a:gd name="connsiteY171" fmla="*/ 812768 h 816237"/>
                <a:gd name="connsiteX172" fmla="*/ 554995 w 728723"/>
                <a:gd name="connsiteY172" fmla="*/ 812326 h 816237"/>
                <a:gd name="connsiteX173" fmla="*/ 542842 w 728723"/>
                <a:gd name="connsiteY173" fmla="*/ 815401 h 816237"/>
                <a:gd name="connsiteX174" fmla="*/ 533199 w 728723"/>
                <a:gd name="connsiteY174" fmla="*/ 816237 h 816237"/>
                <a:gd name="connsiteX175" fmla="*/ 526069 w 728723"/>
                <a:gd name="connsiteY175" fmla="*/ 814828 h 816237"/>
                <a:gd name="connsiteX176" fmla="*/ 519110 w 728723"/>
                <a:gd name="connsiteY176" fmla="*/ 812128 h 816237"/>
                <a:gd name="connsiteX177" fmla="*/ 512320 w 728723"/>
                <a:gd name="connsiteY177" fmla="*/ 808147 h 816237"/>
                <a:gd name="connsiteX178" fmla="*/ 500553 w 728723"/>
                <a:gd name="connsiteY178" fmla="*/ 806696 h 816237"/>
                <a:gd name="connsiteX179" fmla="*/ 483820 w 728723"/>
                <a:gd name="connsiteY179" fmla="*/ 807778 h 816237"/>
                <a:gd name="connsiteX180" fmla="*/ 467682 w 728723"/>
                <a:gd name="connsiteY180" fmla="*/ 807001 h 816237"/>
                <a:gd name="connsiteX181" fmla="*/ 452155 w 728723"/>
                <a:gd name="connsiteY181" fmla="*/ 804363 h 816237"/>
                <a:gd name="connsiteX182" fmla="*/ 441036 w 728723"/>
                <a:gd name="connsiteY182" fmla="*/ 803323 h 816237"/>
                <a:gd name="connsiteX183" fmla="*/ 434345 w 728723"/>
                <a:gd name="connsiteY183" fmla="*/ 803886 h 816237"/>
                <a:gd name="connsiteX184" fmla="*/ 427167 w 728723"/>
                <a:gd name="connsiteY184" fmla="*/ 803021 h 816237"/>
                <a:gd name="connsiteX185" fmla="*/ 419509 w 728723"/>
                <a:gd name="connsiteY185" fmla="*/ 800747 h 816237"/>
                <a:gd name="connsiteX186" fmla="*/ 413118 w 728723"/>
                <a:gd name="connsiteY186" fmla="*/ 796892 h 816237"/>
                <a:gd name="connsiteX187" fmla="*/ 405425 w 728723"/>
                <a:gd name="connsiteY187" fmla="*/ 788757 h 816237"/>
                <a:gd name="connsiteX188" fmla="*/ 399409 w 728723"/>
                <a:gd name="connsiteY188" fmla="*/ 780990 h 816237"/>
                <a:gd name="connsiteX189" fmla="*/ 397853 w 728723"/>
                <a:gd name="connsiteY189" fmla="*/ 779881 h 816237"/>
                <a:gd name="connsiteX190" fmla="*/ 395951 w 728723"/>
                <a:gd name="connsiteY190" fmla="*/ 778697 h 816237"/>
                <a:gd name="connsiteX191" fmla="*/ 394065 w 728723"/>
                <a:gd name="connsiteY191" fmla="*/ 778343 h 816237"/>
                <a:gd name="connsiteX192" fmla="*/ 377030 w 728723"/>
                <a:gd name="connsiteY192" fmla="*/ 778137 h 816237"/>
                <a:gd name="connsiteX193" fmla="*/ 360835 w 728723"/>
                <a:gd name="connsiteY193" fmla="*/ 777939 h 816237"/>
                <a:gd name="connsiteX194" fmla="*/ 351565 w 728723"/>
                <a:gd name="connsiteY194" fmla="*/ 777928 h 816237"/>
                <a:gd name="connsiteX195" fmla="*/ 328907 w 728723"/>
                <a:gd name="connsiteY195" fmla="*/ 777893 h 816237"/>
                <a:gd name="connsiteX196" fmla="*/ 306246 w 728723"/>
                <a:gd name="connsiteY196" fmla="*/ 777856 h 816237"/>
                <a:gd name="connsiteX197" fmla="*/ 283583 w 728723"/>
                <a:gd name="connsiteY197" fmla="*/ 777821 h 816237"/>
                <a:gd name="connsiteX198" fmla="*/ 260923 w 728723"/>
                <a:gd name="connsiteY198" fmla="*/ 777783 h 816237"/>
                <a:gd name="connsiteX199" fmla="*/ 238262 w 728723"/>
                <a:gd name="connsiteY199" fmla="*/ 777749 h 816237"/>
                <a:gd name="connsiteX200" fmla="*/ 215599 w 728723"/>
                <a:gd name="connsiteY200" fmla="*/ 777719 h 816237"/>
                <a:gd name="connsiteX201" fmla="*/ 192939 w 728723"/>
                <a:gd name="connsiteY201" fmla="*/ 777684 h 816237"/>
                <a:gd name="connsiteX202" fmla="*/ 170275 w 728723"/>
                <a:gd name="connsiteY202" fmla="*/ 777647 h 816237"/>
                <a:gd name="connsiteX203" fmla="*/ 158238 w 728723"/>
                <a:gd name="connsiteY203" fmla="*/ 777628 h 816237"/>
                <a:gd name="connsiteX204" fmla="*/ 147052 w 728723"/>
                <a:gd name="connsiteY204" fmla="*/ 778244 h 816237"/>
                <a:gd name="connsiteX205" fmla="*/ 134710 w 728723"/>
                <a:gd name="connsiteY205" fmla="*/ 778922 h 816237"/>
                <a:gd name="connsiteX206" fmla="*/ 132928 w 728723"/>
                <a:gd name="connsiteY206" fmla="*/ 778635 h 816237"/>
                <a:gd name="connsiteX207" fmla="*/ 130001 w 728723"/>
                <a:gd name="connsiteY207" fmla="*/ 777695 h 816237"/>
                <a:gd name="connsiteX208" fmla="*/ 128000 w 728723"/>
                <a:gd name="connsiteY208" fmla="*/ 775986 h 816237"/>
                <a:gd name="connsiteX209" fmla="*/ 121354 w 728723"/>
                <a:gd name="connsiteY209" fmla="*/ 771572 h 816237"/>
                <a:gd name="connsiteX210" fmla="*/ 115571 w 728723"/>
                <a:gd name="connsiteY210" fmla="*/ 768224 h 816237"/>
                <a:gd name="connsiteX211" fmla="*/ 107715 w 728723"/>
                <a:gd name="connsiteY211" fmla="*/ 762596 h 816237"/>
                <a:gd name="connsiteX212" fmla="*/ 102637 w 728723"/>
                <a:gd name="connsiteY212" fmla="*/ 756427 h 816237"/>
                <a:gd name="connsiteX213" fmla="*/ 98356 w 728723"/>
                <a:gd name="connsiteY213" fmla="*/ 754464 h 816237"/>
                <a:gd name="connsiteX214" fmla="*/ 90773 w 728723"/>
                <a:gd name="connsiteY214" fmla="*/ 753352 h 816237"/>
                <a:gd name="connsiteX215" fmla="*/ 85076 w 728723"/>
                <a:gd name="connsiteY215" fmla="*/ 752262 h 816237"/>
                <a:gd name="connsiteX216" fmla="*/ 80440 w 728723"/>
                <a:gd name="connsiteY216" fmla="*/ 752018 h 816237"/>
                <a:gd name="connsiteX217" fmla="*/ 72265 w 728723"/>
                <a:gd name="connsiteY217" fmla="*/ 754930 h 816237"/>
                <a:gd name="connsiteX218" fmla="*/ 66112 w 728723"/>
                <a:gd name="connsiteY218" fmla="*/ 757804 h 816237"/>
                <a:gd name="connsiteX219" fmla="*/ 61722 w 728723"/>
                <a:gd name="connsiteY219" fmla="*/ 760584 h 816237"/>
                <a:gd name="connsiteX220" fmla="*/ 54104 w 728723"/>
                <a:gd name="connsiteY220" fmla="*/ 763775 h 816237"/>
                <a:gd name="connsiteX221" fmla="*/ 47684 w 728723"/>
                <a:gd name="connsiteY221" fmla="*/ 766954 h 816237"/>
                <a:gd name="connsiteX222" fmla="*/ 36498 w 728723"/>
                <a:gd name="connsiteY222" fmla="*/ 766539 h 816237"/>
                <a:gd name="connsiteX223" fmla="*/ 34079 w 728723"/>
                <a:gd name="connsiteY223" fmla="*/ 766997 h 816237"/>
                <a:gd name="connsiteX224" fmla="*/ 27857 w 728723"/>
                <a:gd name="connsiteY224" fmla="*/ 766788 h 816237"/>
                <a:gd name="connsiteX225" fmla="*/ 21991 w 728723"/>
                <a:gd name="connsiteY225" fmla="*/ 764018 h 816237"/>
                <a:gd name="connsiteX226" fmla="*/ 16045 w 728723"/>
                <a:gd name="connsiteY226" fmla="*/ 764262 h 816237"/>
                <a:gd name="connsiteX227" fmla="*/ 9445 w 728723"/>
                <a:gd name="connsiteY227" fmla="*/ 767800 h 816237"/>
                <a:gd name="connsiteX228" fmla="*/ 0 w 728723"/>
                <a:gd name="connsiteY228" fmla="*/ 769183 h 816237"/>
                <a:gd name="connsiteX229" fmla="*/ 2191 w 728723"/>
                <a:gd name="connsiteY229" fmla="*/ 746147 h 816237"/>
                <a:gd name="connsiteX230" fmla="*/ 4495 w 728723"/>
                <a:gd name="connsiteY230" fmla="*/ 735966 h 816237"/>
                <a:gd name="connsiteX231" fmla="*/ 4551 w 728723"/>
                <a:gd name="connsiteY231" fmla="*/ 723808 h 816237"/>
                <a:gd name="connsiteX232" fmla="*/ 3193 w 728723"/>
                <a:gd name="connsiteY232" fmla="*/ 692327 h 816237"/>
                <a:gd name="connsiteX233" fmla="*/ 1562 w 728723"/>
                <a:gd name="connsiteY233" fmla="*/ 688009 h 816237"/>
                <a:gd name="connsiteX234" fmla="*/ 464 w 728723"/>
                <a:gd name="connsiteY234" fmla="*/ 682947 h 816237"/>
                <a:gd name="connsiteX235" fmla="*/ 6316 w 728723"/>
                <a:gd name="connsiteY235" fmla="*/ 679090 h 816237"/>
                <a:gd name="connsiteX236" fmla="*/ 9289 w 728723"/>
                <a:gd name="connsiteY236" fmla="*/ 676143 h 816237"/>
                <a:gd name="connsiteX237" fmla="*/ 13315 w 728723"/>
                <a:gd name="connsiteY237" fmla="*/ 670933 h 816237"/>
                <a:gd name="connsiteX238" fmla="*/ 16173 w 728723"/>
                <a:gd name="connsiteY238" fmla="*/ 663637 h 816237"/>
                <a:gd name="connsiteX239" fmla="*/ 19556 w 728723"/>
                <a:gd name="connsiteY239" fmla="*/ 647547 h 816237"/>
                <a:gd name="connsiteX240" fmla="*/ 31829 w 728723"/>
                <a:gd name="connsiteY240" fmla="*/ 610570 h 816237"/>
                <a:gd name="connsiteX241" fmla="*/ 37661 w 728723"/>
                <a:gd name="connsiteY241" fmla="*/ 574404 h 816237"/>
                <a:gd name="connsiteX242" fmla="*/ 45051 w 728723"/>
                <a:gd name="connsiteY242" fmla="*/ 557285 h 816237"/>
                <a:gd name="connsiteX243" fmla="*/ 47823 w 728723"/>
                <a:gd name="connsiteY243" fmla="*/ 538126 h 816237"/>
                <a:gd name="connsiteX244" fmla="*/ 68384 w 728723"/>
                <a:gd name="connsiteY244" fmla="*/ 513419 h 816237"/>
                <a:gd name="connsiteX245" fmla="*/ 73451 w 728723"/>
                <a:gd name="connsiteY245" fmla="*/ 498245 h 816237"/>
                <a:gd name="connsiteX246" fmla="*/ 84082 w 728723"/>
                <a:gd name="connsiteY246" fmla="*/ 490812 h 816237"/>
                <a:gd name="connsiteX247" fmla="*/ 99144 w 728723"/>
                <a:gd name="connsiteY247" fmla="*/ 482886 h 816237"/>
                <a:gd name="connsiteX248" fmla="*/ 109863 w 728723"/>
                <a:gd name="connsiteY248" fmla="*/ 468800 h 816237"/>
                <a:gd name="connsiteX249" fmla="*/ 115049 w 728723"/>
                <a:gd name="connsiteY249" fmla="*/ 459044 h 816237"/>
                <a:gd name="connsiteX250" fmla="*/ 120961 w 728723"/>
                <a:gd name="connsiteY250" fmla="*/ 440362 h 816237"/>
                <a:gd name="connsiteX251" fmla="*/ 120896 w 728723"/>
                <a:gd name="connsiteY251" fmla="*/ 420867 h 816237"/>
                <a:gd name="connsiteX252" fmla="*/ 124641 w 728723"/>
                <a:gd name="connsiteY252" fmla="*/ 394866 h 816237"/>
                <a:gd name="connsiteX253" fmla="*/ 123819 w 728723"/>
                <a:gd name="connsiteY253" fmla="*/ 387391 h 816237"/>
                <a:gd name="connsiteX254" fmla="*/ 118215 w 728723"/>
                <a:gd name="connsiteY254" fmla="*/ 377054 h 816237"/>
                <a:gd name="connsiteX255" fmla="*/ 117173 w 728723"/>
                <a:gd name="connsiteY255" fmla="*/ 369653 h 816237"/>
                <a:gd name="connsiteX256" fmla="*/ 111969 w 728723"/>
                <a:gd name="connsiteY256" fmla="*/ 362392 h 816237"/>
                <a:gd name="connsiteX257" fmla="*/ 106397 w 728723"/>
                <a:gd name="connsiteY257" fmla="*/ 356906 h 816237"/>
                <a:gd name="connsiteX258" fmla="*/ 103789 w 728723"/>
                <a:gd name="connsiteY258" fmla="*/ 347116 h 816237"/>
                <a:gd name="connsiteX259" fmla="*/ 94124 w 728723"/>
                <a:gd name="connsiteY259" fmla="*/ 331672 h 816237"/>
                <a:gd name="connsiteX260" fmla="*/ 91475 w 728723"/>
                <a:gd name="connsiteY260" fmla="*/ 321375 h 816237"/>
                <a:gd name="connsiteX261" fmla="*/ 86847 w 728723"/>
                <a:gd name="connsiteY261" fmla="*/ 313988 h 816237"/>
                <a:gd name="connsiteX262" fmla="*/ 86107 w 728723"/>
                <a:gd name="connsiteY262" fmla="*/ 304873 h 816237"/>
                <a:gd name="connsiteX263" fmla="*/ 83665 w 728723"/>
                <a:gd name="connsiteY263" fmla="*/ 295251 h 816237"/>
                <a:gd name="connsiteX264" fmla="*/ 78948 w 728723"/>
                <a:gd name="connsiteY264" fmla="*/ 285737 h 816237"/>
                <a:gd name="connsiteX265" fmla="*/ 74359 w 728723"/>
                <a:gd name="connsiteY265" fmla="*/ 274849 h 816237"/>
                <a:gd name="connsiteX266" fmla="*/ 74359 w 728723"/>
                <a:gd name="connsiteY266" fmla="*/ 271444 h 816237"/>
                <a:gd name="connsiteX267" fmla="*/ 77217 w 728723"/>
                <a:gd name="connsiteY267" fmla="*/ 267341 h 816237"/>
                <a:gd name="connsiteX268" fmla="*/ 79941 w 728723"/>
                <a:gd name="connsiteY268" fmla="*/ 265994 h 816237"/>
                <a:gd name="connsiteX269" fmla="*/ 79020 w 728723"/>
                <a:gd name="connsiteY269" fmla="*/ 268056 h 816237"/>
                <a:gd name="connsiteX270" fmla="*/ 77207 w 728723"/>
                <a:gd name="connsiteY270" fmla="*/ 270499 h 816237"/>
                <a:gd name="connsiteX271" fmla="*/ 77633 w 728723"/>
                <a:gd name="connsiteY271" fmla="*/ 272390 h 816237"/>
                <a:gd name="connsiteX272" fmla="*/ 95707 w 728723"/>
                <a:gd name="connsiteY272" fmla="*/ 253311 h 816237"/>
                <a:gd name="connsiteX273" fmla="*/ 96854 w 728723"/>
                <a:gd name="connsiteY273" fmla="*/ 249582 h 816237"/>
                <a:gd name="connsiteX274" fmla="*/ 96246 w 728723"/>
                <a:gd name="connsiteY274" fmla="*/ 245412 h 816237"/>
                <a:gd name="connsiteX275" fmla="*/ 96147 w 728723"/>
                <a:gd name="connsiteY275" fmla="*/ 240309 h 816237"/>
                <a:gd name="connsiteX276" fmla="*/ 96864 w 728723"/>
                <a:gd name="connsiteY276" fmla="*/ 234373 h 816237"/>
                <a:gd name="connsiteX277" fmla="*/ 79824 w 728723"/>
                <a:gd name="connsiteY277" fmla="*/ 199234 h 816237"/>
                <a:gd name="connsiteX278" fmla="*/ 66292 w 728723"/>
                <a:gd name="connsiteY278" fmla="*/ 166577 h 816237"/>
                <a:gd name="connsiteX279" fmla="*/ 63988 w 728723"/>
                <a:gd name="connsiteY279" fmla="*/ 150088 h 816237"/>
                <a:gd name="connsiteX280" fmla="*/ 46093 w 728723"/>
                <a:gd name="connsiteY280" fmla="*/ 128405 h 816237"/>
                <a:gd name="connsiteX281" fmla="*/ 39037 w 728723"/>
                <a:gd name="connsiteY281" fmla="*/ 114316 h 816237"/>
                <a:gd name="connsiteX282" fmla="*/ 35017 w 728723"/>
                <a:gd name="connsiteY282" fmla="*/ 104437 h 816237"/>
                <a:gd name="connsiteX283" fmla="*/ 31998 w 728723"/>
                <a:gd name="connsiteY283" fmla="*/ 100693 h 816237"/>
                <a:gd name="connsiteX284" fmla="*/ 33137 w 728723"/>
                <a:gd name="connsiteY284" fmla="*/ 98807 h 816237"/>
                <a:gd name="connsiteX285" fmla="*/ 37746 w 728723"/>
                <a:gd name="connsiteY285" fmla="*/ 98311 h 816237"/>
                <a:gd name="connsiteX286" fmla="*/ 48002 w 728723"/>
                <a:gd name="connsiteY286" fmla="*/ 96032 h 816237"/>
                <a:gd name="connsiteX287" fmla="*/ 62046 w 728723"/>
                <a:gd name="connsiteY287" fmla="*/ 93535 h 816237"/>
                <a:gd name="connsiteX288" fmla="*/ 75024 w 728723"/>
                <a:gd name="connsiteY288" fmla="*/ 87814 h 816237"/>
                <a:gd name="connsiteX289" fmla="*/ 78484 w 728723"/>
                <a:gd name="connsiteY289" fmla="*/ 85269 h 816237"/>
                <a:gd name="connsiteX290" fmla="*/ 85365 w 728723"/>
                <a:gd name="connsiteY290" fmla="*/ 84761 h 816237"/>
                <a:gd name="connsiteX291" fmla="*/ 92370 w 728723"/>
                <a:gd name="connsiteY291" fmla="*/ 86282 h 816237"/>
                <a:gd name="connsiteX292" fmla="*/ 94968 w 728723"/>
                <a:gd name="connsiteY292" fmla="*/ 85184 h 816237"/>
                <a:gd name="connsiteX293" fmla="*/ 96449 w 728723"/>
                <a:gd name="connsiteY293" fmla="*/ 85090 h 816237"/>
                <a:gd name="connsiteX294" fmla="*/ 112888 w 728723"/>
                <a:gd name="connsiteY294" fmla="*/ 85085 h 816237"/>
                <a:gd name="connsiteX295" fmla="*/ 65454 w 728723"/>
                <a:gd name="connsiteY295" fmla="*/ 0 h 816237"/>
                <a:gd name="connsiteX296" fmla="*/ 67401 w 728723"/>
                <a:gd name="connsiteY296" fmla="*/ 961 h 816237"/>
                <a:gd name="connsiteX297" fmla="*/ 72753 w 728723"/>
                <a:gd name="connsiteY297" fmla="*/ 7291 h 816237"/>
                <a:gd name="connsiteX298" fmla="*/ 77293 w 728723"/>
                <a:gd name="connsiteY298" fmla="*/ 11295 h 816237"/>
                <a:gd name="connsiteX299" fmla="*/ 78756 w 728723"/>
                <a:gd name="connsiteY299" fmla="*/ 12217 h 816237"/>
                <a:gd name="connsiteX300" fmla="*/ 77842 w 728723"/>
                <a:gd name="connsiteY300" fmla="*/ 13186 h 816237"/>
                <a:gd name="connsiteX301" fmla="*/ 71333 w 728723"/>
                <a:gd name="connsiteY301" fmla="*/ 15811 h 816237"/>
                <a:gd name="connsiteX302" fmla="*/ 64358 w 728723"/>
                <a:gd name="connsiteY302" fmla="*/ 18262 h 816237"/>
                <a:gd name="connsiteX303" fmla="*/ 55187 w 728723"/>
                <a:gd name="connsiteY303" fmla="*/ 28280 h 816237"/>
                <a:gd name="connsiteX304" fmla="*/ 50532 w 728723"/>
                <a:gd name="connsiteY304" fmla="*/ 32616 h 816237"/>
                <a:gd name="connsiteX305" fmla="*/ 49187 w 728723"/>
                <a:gd name="connsiteY305" fmla="*/ 33696 h 816237"/>
                <a:gd name="connsiteX306" fmla="*/ 44995 w 728723"/>
                <a:gd name="connsiteY306" fmla="*/ 36090 h 816237"/>
                <a:gd name="connsiteX307" fmla="*/ 41958 w 728723"/>
                <a:gd name="connsiteY307" fmla="*/ 38145 h 816237"/>
                <a:gd name="connsiteX308" fmla="*/ 42062 w 728723"/>
                <a:gd name="connsiteY308" fmla="*/ 39281 h 816237"/>
                <a:gd name="connsiteX309" fmla="*/ 44087 w 728723"/>
                <a:gd name="connsiteY309" fmla="*/ 40590 h 816237"/>
                <a:gd name="connsiteX310" fmla="*/ 46158 w 728723"/>
                <a:gd name="connsiteY310" fmla="*/ 42741 h 816237"/>
                <a:gd name="connsiteX311" fmla="*/ 45954 w 728723"/>
                <a:gd name="connsiteY311" fmla="*/ 59112 h 816237"/>
                <a:gd name="connsiteX312" fmla="*/ 45051 w 728723"/>
                <a:gd name="connsiteY312" fmla="*/ 75224 h 816237"/>
                <a:gd name="connsiteX313" fmla="*/ 43918 w 728723"/>
                <a:gd name="connsiteY313" fmla="*/ 76590 h 816237"/>
                <a:gd name="connsiteX314" fmla="*/ 38085 w 728723"/>
                <a:gd name="connsiteY314" fmla="*/ 77123 h 816237"/>
                <a:gd name="connsiteX315" fmla="*/ 30338 w 728723"/>
                <a:gd name="connsiteY315" fmla="*/ 78237 h 816237"/>
                <a:gd name="connsiteX316" fmla="*/ 27874 w 728723"/>
                <a:gd name="connsiteY316" fmla="*/ 78963 h 816237"/>
                <a:gd name="connsiteX317" fmla="*/ 27006 w 728723"/>
                <a:gd name="connsiteY317" fmla="*/ 77372 h 816237"/>
                <a:gd name="connsiteX318" fmla="*/ 24427 w 728723"/>
                <a:gd name="connsiteY318" fmla="*/ 71477 h 816237"/>
                <a:gd name="connsiteX319" fmla="*/ 25884 w 728723"/>
                <a:gd name="connsiteY319" fmla="*/ 65889 h 816237"/>
                <a:gd name="connsiteX320" fmla="*/ 27451 w 728723"/>
                <a:gd name="connsiteY320" fmla="*/ 61708 h 816237"/>
                <a:gd name="connsiteX321" fmla="*/ 25710 w 728723"/>
                <a:gd name="connsiteY321" fmla="*/ 53185 h 816237"/>
                <a:gd name="connsiteX322" fmla="*/ 21767 w 728723"/>
                <a:gd name="connsiteY322" fmla="*/ 45607 h 816237"/>
                <a:gd name="connsiteX323" fmla="*/ 17586 w 728723"/>
                <a:gd name="connsiteY323" fmla="*/ 35986 h 816237"/>
                <a:gd name="connsiteX324" fmla="*/ 16305 w 728723"/>
                <a:gd name="connsiteY324" fmla="*/ 34154 h 816237"/>
                <a:gd name="connsiteX325" fmla="*/ 19811 w 728723"/>
                <a:gd name="connsiteY325" fmla="*/ 31057 h 816237"/>
                <a:gd name="connsiteX326" fmla="*/ 25115 w 728723"/>
                <a:gd name="connsiteY326" fmla="*/ 24262 h 816237"/>
                <a:gd name="connsiteX327" fmla="*/ 27319 w 728723"/>
                <a:gd name="connsiteY327" fmla="*/ 20756 h 816237"/>
                <a:gd name="connsiteX328" fmla="*/ 33456 w 728723"/>
                <a:gd name="connsiteY328" fmla="*/ 19979 h 816237"/>
                <a:gd name="connsiteX329" fmla="*/ 35751 w 728723"/>
                <a:gd name="connsiteY329" fmla="*/ 17520 h 816237"/>
                <a:gd name="connsiteX330" fmla="*/ 37372 w 728723"/>
                <a:gd name="connsiteY330" fmla="*/ 13580 h 816237"/>
                <a:gd name="connsiteX331" fmla="*/ 37996 w 728723"/>
                <a:gd name="connsiteY331" fmla="*/ 11290 h 816237"/>
                <a:gd name="connsiteX332" fmla="*/ 44920 w 728723"/>
                <a:gd name="connsiteY332" fmla="*/ 9412 h 816237"/>
                <a:gd name="connsiteX333" fmla="*/ 53226 w 728723"/>
                <a:gd name="connsiteY333" fmla="*/ 6069 h 816237"/>
                <a:gd name="connsiteX334" fmla="*/ 57831 w 728723"/>
                <a:gd name="connsiteY334" fmla="*/ 2424 h 816237"/>
                <a:gd name="connsiteX335" fmla="*/ 62497 w 728723"/>
                <a:gd name="connsiteY335" fmla="*/ 99 h 816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</a:cxnLst>
              <a:rect l="l" t="t" r="r" b="b"/>
              <a:pathLst>
                <a:path w="728723" h="816237">
                  <a:moveTo>
                    <a:pt x="119729" y="84696"/>
                  </a:moveTo>
                  <a:lnTo>
                    <a:pt x="132401" y="84817"/>
                  </a:lnTo>
                  <a:lnTo>
                    <a:pt x="140412" y="85288"/>
                  </a:lnTo>
                  <a:lnTo>
                    <a:pt x="144976" y="85934"/>
                  </a:lnTo>
                  <a:lnTo>
                    <a:pt x="157284" y="86925"/>
                  </a:lnTo>
                  <a:lnTo>
                    <a:pt x="172641" y="86700"/>
                  </a:lnTo>
                  <a:lnTo>
                    <a:pt x="178062" y="86175"/>
                  </a:lnTo>
                  <a:lnTo>
                    <a:pt x="198194" y="85845"/>
                  </a:lnTo>
                  <a:lnTo>
                    <a:pt x="218074" y="85511"/>
                  </a:lnTo>
                  <a:lnTo>
                    <a:pt x="235959" y="85213"/>
                  </a:lnTo>
                  <a:lnTo>
                    <a:pt x="255694" y="85277"/>
                  </a:lnTo>
                  <a:lnTo>
                    <a:pt x="270801" y="85318"/>
                  </a:lnTo>
                  <a:lnTo>
                    <a:pt x="277685" y="87372"/>
                  </a:lnTo>
                  <a:lnTo>
                    <a:pt x="283942" y="91272"/>
                  </a:lnTo>
                  <a:lnTo>
                    <a:pt x="286789" y="94808"/>
                  </a:lnTo>
                  <a:lnTo>
                    <a:pt x="288142" y="96369"/>
                  </a:lnTo>
                  <a:lnTo>
                    <a:pt x="290009" y="100114"/>
                  </a:lnTo>
                  <a:lnTo>
                    <a:pt x="293430" y="103068"/>
                  </a:lnTo>
                  <a:lnTo>
                    <a:pt x="294643" y="107654"/>
                  </a:lnTo>
                  <a:lnTo>
                    <a:pt x="293649" y="113871"/>
                  </a:lnTo>
                  <a:lnTo>
                    <a:pt x="294147" y="121347"/>
                  </a:lnTo>
                  <a:lnTo>
                    <a:pt x="296138" y="130076"/>
                  </a:lnTo>
                  <a:lnTo>
                    <a:pt x="300289" y="139242"/>
                  </a:lnTo>
                  <a:lnTo>
                    <a:pt x="306587" y="148850"/>
                  </a:lnTo>
                  <a:lnTo>
                    <a:pt x="309335" y="156473"/>
                  </a:lnTo>
                  <a:lnTo>
                    <a:pt x="308520" y="162122"/>
                  </a:lnTo>
                  <a:lnTo>
                    <a:pt x="310457" y="168101"/>
                  </a:lnTo>
                  <a:lnTo>
                    <a:pt x="315136" y="174390"/>
                  </a:lnTo>
                  <a:lnTo>
                    <a:pt x="318560" y="177722"/>
                  </a:lnTo>
                  <a:lnTo>
                    <a:pt x="320544" y="180240"/>
                  </a:lnTo>
                  <a:lnTo>
                    <a:pt x="325872" y="189888"/>
                  </a:lnTo>
                  <a:lnTo>
                    <a:pt x="335721" y="205295"/>
                  </a:lnTo>
                  <a:lnTo>
                    <a:pt x="343108" y="216856"/>
                  </a:lnTo>
                  <a:lnTo>
                    <a:pt x="345688" y="218235"/>
                  </a:lnTo>
                  <a:lnTo>
                    <a:pt x="349465" y="217740"/>
                  </a:lnTo>
                  <a:lnTo>
                    <a:pt x="357487" y="216588"/>
                  </a:lnTo>
                  <a:lnTo>
                    <a:pt x="365440" y="216366"/>
                  </a:lnTo>
                  <a:lnTo>
                    <a:pt x="371107" y="218747"/>
                  </a:lnTo>
                  <a:lnTo>
                    <a:pt x="373381" y="218340"/>
                  </a:lnTo>
                  <a:lnTo>
                    <a:pt x="381929" y="213751"/>
                  </a:lnTo>
                  <a:lnTo>
                    <a:pt x="390422" y="212350"/>
                  </a:lnTo>
                  <a:lnTo>
                    <a:pt x="399294" y="210457"/>
                  </a:lnTo>
                  <a:lnTo>
                    <a:pt x="403914" y="208515"/>
                  </a:lnTo>
                  <a:lnTo>
                    <a:pt x="409287" y="208520"/>
                  </a:lnTo>
                  <a:lnTo>
                    <a:pt x="423794" y="212222"/>
                  </a:lnTo>
                  <a:lnTo>
                    <a:pt x="426524" y="212420"/>
                  </a:lnTo>
                  <a:lnTo>
                    <a:pt x="438266" y="212420"/>
                  </a:lnTo>
                  <a:lnTo>
                    <a:pt x="450001" y="210341"/>
                  </a:lnTo>
                  <a:lnTo>
                    <a:pt x="451726" y="194846"/>
                  </a:lnTo>
                  <a:lnTo>
                    <a:pt x="451831" y="191779"/>
                  </a:lnTo>
                  <a:lnTo>
                    <a:pt x="454654" y="185959"/>
                  </a:lnTo>
                  <a:lnTo>
                    <a:pt x="458238" y="180886"/>
                  </a:lnTo>
                  <a:lnTo>
                    <a:pt x="458685" y="176037"/>
                  </a:lnTo>
                  <a:lnTo>
                    <a:pt x="458471" y="169413"/>
                  </a:lnTo>
                  <a:lnTo>
                    <a:pt x="461066" y="161375"/>
                  </a:lnTo>
                  <a:lnTo>
                    <a:pt x="468928" y="154984"/>
                  </a:lnTo>
                  <a:lnTo>
                    <a:pt x="481654" y="151963"/>
                  </a:lnTo>
                  <a:lnTo>
                    <a:pt x="488894" y="151376"/>
                  </a:lnTo>
                  <a:lnTo>
                    <a:pt x="500299" y="149581"/>
                  </a:lnTo>
                  <a:lnTo>
                    <a:pt x="517605" y="147768"/>
                  </a:lnTo>
                  <a:lnTo>
                    <a:pt x="523991" y="148012"/>
                  </a:lnTo>
                  <a:lnTo>
                    <a:pt x="524505" y="148920"/>
                  </a:lnTo>
                  <a:lnTo>
                    <a:pt x="520846" y="160025"/>
                  </a:lnTo>
                  <a:lnTo>
                    <a:pt x="520782" y="163657"/>
                  </a:lnTo>
                  <a:lnTo>
                    <a:pt x="522116" y="167327"/>
                  </a:lnTo>
                  <a:lnTo>
                    <a:pt x="525043" y="169309"/>
                  </a:lnTo>
                  <a:lnTo>
                    <a:pt x="542998" y="169528"/>
                  </a:lnTo>
                  <a:lnTo>
                    <a:pt x="559546" y="169740"/>
                  </a:lnTo>
                  <a:lnTo>
                    <a:pt x="578528" y="170436"/>
                  </a:lnTo>
                  <a:lnTo>
                    <a:pt x="592757" y="170959"/>
                  </a:lnTo>
                  <a:lnTo>
                    <a:pt x="594568" y="171505"/>
                  </a:lnTo>
                  <a:lnTo>
                    <a:pt x="596014" y="172338"/>
                  </a:lnTo>
                  <a:lnTo>
                    <a:pt x="598119" y="177840"/>
                  </a:lnTo>
                  <a:lnTo>
                    <a:pt x="597645" y="188597"/>
                  </a:lnTo>
                  <a:lnTo>
                    <a:pt x="594474" y="204312"/>
                  </a:lnTo>
                  <a:lnTo>
                    <a:pt x="595706" y="219004"/>
                  </a:lnTo>
                  <a:lnTo>
                    <a:pt x="601334" y="232667"/>
                  </a:lnTo>
                  <a:lnTo>
                    <a:pt x="601896" y="253680"/>
                  </a:lnTo>
                  <a:lnTo>
                    <a:pt x="599911" y="266221"/>
                  </a:lnTo>
                  <a:lnTo>
                    <a:pt x="597402" y="282038"/>
                  </a:lnTo>
                  <a:lnTo>
                    <a:pt x="596435" y="299976"/>
                  </a:lnTo>
                  <a:lnTo>
                    <a:pt x="599009" y="307474"/>
                  </a:lnTo>
                  <a:lnTo>
                    <a:pt x="604459" y="315327"/>
                  </a:lnTo>
                  <a:lnTo>
                    <a:pt x="612782" y="323529"/>
                  </a:lnTo>
                  <a:lnTo>
                    <a:pt x="619213" y="334163"/>
                  </a:lnTo>
                  <a:lnTo>
                    <a:pt x="623758" y="347234"/>
                  </a:lnTo>
                  <a:lnTo>
                    <a:pt x="625414" y="355470"/>
                  </a:lnTo>
                  <a:lnTo>
                    <a:pt x="624182" y="358859"/>
                  </a:lnTo>
                  <a:lnTo>
                    <a:pt x="624275" y="364741"/>
                  </a:lnTo>
                  <a:lnTo>
                    <a:pt x="625687" y="373111"/>
                  </a:lnTo>
                  <a:lnTo>
                    <a:pt x="624112" y="378661"/>
                  </a:lnTo>
                  <a:lnTo>
                    <a:pt x="619556" y="381388"/>
                  </a:lnTo>
                  <a:lnTo>
                    <a:pt x="618040" y="385151"/>
                  </a:lnTo>
                  <a:lnTo>
                    <a:pt x="620335" y="392365"/>
                  </a:lnTo>
                  <a:lnTo>
                    <a:pt x="620895" y="398916"/>
                  </a:lnTo>
                  <a:lnTo>
                    <a:pt x="622700" y="401416"/>
                  </a:lnTo>
                  <a:lnTo>
                    <a:pt x="624013" y="403242"/>
                  </a:lnTo>
                  <a:lnTo>
                    <a:pt x="626156" y="403513"/>
                  </a:lnTo>
                  <a:lnTo>
                    <a:pt x="630776" y="401164"/>
                  </a:lnTo>
                  <a:lnTo>
                    <a:pt x="636294" y="396803"/>
                  </a:lnTo>
                  <a:lnTo>
                    <a:pt x="640730" y="394955"/>
                  </a:lnTo>
                  <a:lnTo>
                    <a:pt x="646976" y="395188"/>
                  </a:lnTo>
                  <a:lnTo>
                    <a:pt x="655756" y="396417"/>
                  </a:lnTo>
                  <a:lnTo>
                    <a:pt x="671246" y="396873"/>
                  </a:lnTo>
                  <a:lnTo>
                    <a:pt x="676014" y="396088"/>
                  </a:lnTo>
                  <a:lnTo>
                    <a:pt x="690433" y="390195"/>
                  </a:lnTo>
                  <a:lnTo>
                    <a:pt x="694209" y="389767"/>
                  </a:lnTo>
                  <a:lnTo>
                    <a:pt x="699896" y="390324"/>
                  </a:lnTo>
                  <a:lnTo>
                    <a:pt x="707975" y="392062"/>
                  </a:lnTo>
                  <a:lnTo>
                    <a:pt x="716120" y="392424"/>
                  </a:lnTo>
                  <a:lnTo>
                    <a:pt x="720106" y="390600"/>
                  </a:lnTo>
                  <a:lnTo>
                    <a:pt x="720470" y="388216"/>
                  </a:lnTo>
                  <a:lnTo>
                    <a:pt x="721734" y="385103"/>
                  </a:lnTo>
                  <a:lnTo>
                    <a:pt x="723973" y="383922"/>
                  </a:lnTo>
                  <a:lnTo>
                    <a:pt x="725262" y="391775"/>
                  </a:lnTo>
                  <a:lnTo>
                    <a:pt x="726553" y="402682"/>
                  </a:lnTo>
                  <a:lnTo>
                    <a:pt x="727474" y="410528"/>
                  </a:lnTo>
                  <a:lnTo>
                    <a:pt x="728409" y="414037"/>
                  </a:lnTo>
                  <a:lnTo>
                    <a:pt x="728723" y="415912"/>
                  </a:lnTo>
                  <a:lnTo>
                    <a:pt x="727691" y="417937"/>
                  </a:lnTo>
                  <a:lnTo>
                    <a:pt x="726826" y="422648"/>
                  </a:lnTo>
                  <a:lnTo>
                    <a:pt x="725176" y="426822"/>
                  </a:lnTo>
                  <a:lnTo>
                    <a:pt x="724239" y="429741"/>
                  </a:lnTo>
                  <a:lnTo>
                    <a:pt x="725002" y="435093"/>
                  </a:lnTo>
                  <a:lnTo>
                    <a:pt x="724383" y="442772"/>
                  </a:lnTo>
                  <a:lnTo>
                    <a:pt x="723724" y="450878"/>
                  </a:lnTo>
                  <a:lnTo>
                    <a:pt x="723521" y="458683"/>
                  </a:lnTo>
                  <a:lnTo>
                    <a:pt x="725749" y="472681"/>
                  </a:lnTo>
                  <a:lnTo>
                    <a:pt x="725441" y="476977"/>
                  </a:lnTo>
                  <a:lnTo>
                    <a:pt x="722685" y="484290"/>
                  </a:lnTo>
                  <a:lnTo>
                    <a:pt x="720590" y="489848"/>
                  </a:lnTo>
                  <a:lnTo>
                    <a:pt x="719238" y="496292"/>
                  </a:lnTo>
                  <a:lnTo>
                    <a:pt x="718994" y="499649"/>
                  </a:lnTo>
                  <a:lnTo>
                    <a:pt x="724067" y="509155"/>
                  </a:lnTo>
                  <a:lnTo>
                    <a:pt x="723765" y="511054"/>
                  </a:lnTo>
                  <a:lnTo>
                    <a:pt x="719883" y="511643"/>
                  </a:lnTo>
                  <a:lnTo>
                    <a:pt x="716669" y="511806"/>
                  </a:lnTo>
                  <a:lnTo>
                    <a:pt x="704388" y="511806"/>
                  </a:lnTo>
                  <a:lnTo>
                    <a:pt x="686787" y="511806"/>
                  </a:lnTo>
                  <a:lnTo>
                    <a:pt x="669187" y="511806"/>
                  </a:lnTo>
                  <a:lnTo>
                    <a:pt x="651586" y="511806"/>
                  </a:lnTo>
                  <a:lnTo>
                    <a:pt x="635397" y="511806"/>
                  </a:lnTo>
                  <a:lnTo>
                    <a:pt x="619912" y="511806"/>
                  </a:lnTo>
                  <a:lnTo>
                    <a:pt x="606251" y="511806"/>
                  </a:lnTo>
                  <a:lnTo>
                    <a:pt x="606257" y="521195"/>
                  </a:lnTo>
                  <a:lnTo>
                    <a:pt x="606262" y="540534"/>
                  </a:lnTo>
                  <a:lnTo>
                    <a:pt x="606262" y="559897"/>
                  </a:lnTo>
                  <a:lnTo>
                    <a:pt x="606276" y="579268"/>
                  </a:lnTo>
                  <a:lnTo>
                    <a:pt x="606281" y="598661"/>
                  </a:lnTo>
                  <a:lnTo>
                    <a:pt x="606286" y="618067"/>
                  </a:lnTo>
                  <a:lnTo>
                    <a:pt x="606292" y="637495"/>
                  </a:lnTo>
                  <a:lnTo>
                    <a:pt x="606297" y="656938"/>
                  </a:lnTo>
                  <a:lnTo>
                    <a:pt x="606302" y="676403"/>
                  </a:lnTo>
                  <a:lnTo>
                    <a:pt x="606302" y="690455"/>
                  </a:lnTo>
                  <a:lnTo>
                    <a:pt x="609884" y="709121"/>
                  </a:lnTo>
                  <a:lnTo>
                    <a:pt x="616425" y="729457"/>
                  </a:lnTo>
                  <a:lnTo>
                    <a:pt x="618988" y="731343"/>
                  </a:lnTo>
                  <a:lnTo>
                    <a:pt x="625569" y="735079"/>
                  </a:lnTo>
                  <a:lnTo>
                    <a:pt x="634714" y="742727"/>
                  </a:lnTo>
                  <a:lnTo>
                    <a:pt x="639840" y="748520"/>
                  </a:lnTo>
                  <a:lnTo>
                    <a:pt x="650263" y="758578"/>
                  </a:lnTo>
                  <a:lnTo>
                    <a:pt x="664116" y="771411"/>
                  </a:lnTo>
                  <a:lnTo>
                    <a:pt x="677487" y="782921"/>
                  </a:lnTo>
                  <a:lnTo>
                    <a:pt x="689276" y="793070"/>
                  </a:lnTo>
                  <a:lnTo>
                    <a:pt x="670772" y="796624"/>
                  </a:lnTo>
                  <a:lnTo>
                    <a:pt x="644461" y="801684"/>
                  </a:lnTo>
                  <a:lnTo>
                    <a:pt x="626705" y="805096"/>
                  </a:lnTo>
                  <a:lnTo>
                    <a:pt x="605180" y="809232"/>
                  </a:lnTo>
                  <a:lnTo>
                    <a:pt x="590826" y="811836"/>
                  </a:lnTo>
                  <a:lnTo>
                    <a:pt x="572965" y="815071"/>
                  </a:lnTo>
                  <a:lnTo>
                    <a:pt x="570112" y="815002"/>
                  </a:lnTo>
                  <a:lnTo>
                    <a:pt x="565323" y="812768"/>
                  </a:lnTo>
                  <a:lnTo>
                    <a:pt x="554995" y="812326"/>
                  </a:lnTo>
                  <a:lnTo>
                    <a:pt x="542842" y="815401"/>
                  </a:lnTo>
                  <a:lnTo>
                    <a:pt x="533199" y="816237"/>
                  </a:lnTo>
                  <a:lnTo>
                    <a:pt x="526069" y="814828"/>
                  </a:lnTo>
                  <a:lnTo>
                    <a:pt x="519110" y="812128"/>
                  </a:lnTo>
                  <a:lnTo>
                    <a:pt x="512320" y="808147"/>
                  </a:lnTo>
                  <a:lnTo>
                    <a:pt x="500553" y="806696"/>
                  </a:lnTo>
                  <a:lnTo>
                    <a:pt x="483820" y="807778"/>
                  </a:lnTo>
                  <a:lnTo>
                    <a:pt x="467682" y="807001"/>
                  </a:lnTo>
                  <a:lnTo>
                    <a:pt x="452155" y="804363"/>
                  </a:lnTo>
                  <a:lnTo>
                    <a:pt x="441036" y="803323"/>
                  </a:lnTo>
                  <a:lnTo>
                    <a:pt x="434345" y="803886"/>
                  </a:lnTo>
                  <a:lnTo>
                    <a:pt x="427167" y="803021"/>
                  </a:lnTo>
                  <a:lnTo>
                    <a:pt x="419509" y="800747"/>
                  </a:lnTo>
                  <a:lnTo>
                    <a:pt x="413118" y="796892"/>
                  </a:lnTo>
                  <a:lnTo>
                    <a:pt x="405425" y="788757"/>
                  </a:lnTo>
                  <a:lnTo>
                    <a:pt x="399409" y="780990"/>
                  </a:lnTo>
                  <a:lnTo>
                    <a:pt x="397853" y="779881"/>
                  </a:lnTo>
                  <a:lnTo>
                    <a:pt x="395951" y="778697"/>
                  </a:lnTo>
                  <a:lnTo>
                    <a:pt x="394065" y="778343"/>
                  </a:lnTo>
                  <a:lnTo>
                    <a:pt x="377030" y="778137"/>
                  </a:lnTo>
                  <a:lnTo>
                    <a:pt x="360835" y="777939"/>
                  </a:lnTo>
                  <a:lnTo>
                    <a:pt x="351565" y="777928"/>
                  </a:lnTo>
                  <a:lnTo>
                    <a:pt x="328907" y="777893"/>
                  </a:lnTo>
                  <a:lnTo>
                    <a:pt x="306246" y="777856"/>
                  </a:lnTo>
                  <a:lnTo>
                    <a:pt x="283583" y="777821"/>
                  </a:lnTo>
                  <a:lnTo>
                    <a:pt x="260923" y="777783"/>
                  </a:lnTo>
                  <a:lnTo>
                    <a:pt x="238262" y="777749"/>
                  </a:lnTo>
                  <a:lnTo>
                    <a:pt x="215599" y="777719"/>
                  </a:lnTo>
                  <a:lnTo>
                    <a:pt x="192939" y="777684"/>
                  </a:lnTo>
                  <a:lnTo>
                    <a:pt x="170275" y="777647"/>
                  </a:lnTo>
                  <a:lnTo>
                    <a:pt x="158238" y="777628"/>
                  </a:lnTo>
                  <a:lnTo>
                    <a:pt x="147052" y="778244"/>
                  </a:lnTo>
                  <a:lnTo>
                    <a:pt x="134710" y="778922"/>
                  </a:lnTo>
                  <a:lnTo>
                    <a:pt x="132928" y="778635"/>
                  </a:lnTo>
                  <a:lnTo>
                    <a:pt x="130001" y="777695"/>
                  </a:lnTo>
                  <a:lnTo>
                    <a:pt x="128000" y="775986"/>
                  </a:lnTo>
                  <a:lnTo>
                    <a:pt x="121354" y="771572"/>
                  </a:lnTo>
                  <a:lnTo>
                    <a:pt x="115571" y="768224"/>
                  </a:lnTo>
                  <a:lnTo>
                    <a:pt x="107715" y="762596"/>
                  </a:lnTo>
                  <a:lnTo>
                    <a:pt x="102637" y="756427"/>
                  </a:lnTo>
                  <a:lnTo>
                    <a:pt x="98356" y="754464"/>
                  </a:lnTo>
                  <a:lnTo>
                    <a:pt x="90773" y="753352"/>
                  </a:lnTo>
                  <a:lnTo>
                    <a:pt x="85076" y="752262"/>
                  </a:lnTo>
                  <a:lnTo>
                    <a:pt x="80440" y="752018"/>
                  </a:lnTo>
                  <a:lnTo>
                    <a:pt x="72265" y="754930"/>
                  </a:lnTo>
                  <a:lnTo>
                    <a:pt x="66112" y="757804"/>
                  </a:lnTo>
                  <a:lnTo>
                    <a:pt x="61722" y="760584"/>
                  </a:lnTo>
                  <a:lnTo>
                    <a:pt x="54104" y="763775"/>
                  </a:lnTo>
                  <a:lnTo>
                    <a:pt x="47684" y="766954"/>
                  </a:lnTo>
                  <a:lnTo>
                    <a:pt x="36498" y="766539"/>
                  </a:lnTo>
                  <a:lnTo>
                    <a:pt x="34079" y="766997"/>
                  </a:lnTo>
                  <a:lnTo>
                    <a:pt x="27857" y="766788"/>
                  </a:lnTo>
                  <a:lnTo>
                    <a:pt x="21991" y="764018"/>
                  </a:lnTo>
                  <a:lnTo>
                    <a:pt x="16045" y="764262"/>
                  </a:lnTo>
                  <a:lnTo>
                    <a:pt x="9445" y="767800"/>
                  </a:lnTo>
                  <a:lnTo>
                    <a:pt x="0" y="769183"/>
                  </a:lnTo>
                  <a:lnTo>
                    <a:pt x="2191" y="746147"/>
                  </a:lnTo>
                  <a:lnTo>
                    <a:pt x="4495" y="735966"/>
                  </a:lnTo>
                  <a:lnTo>
                    <a:pt x="4551" y="723808"/>
                  </a:lnTo>
                  <a:lnTo>
                    <a:pt x="3193" y="692327"/>
                  </a:lnTo>
                  <a:lnTo>
                    <a:pt x="1562" y="688009"/>
                  </a:lnTo>
                  <a:lnTo>
                    <a:pt x="464" y="682947"/>
                  </a:lnTo>
                  <a:lnTo>
                    <a:pt x="6316" y="679090"/>
                  </a:lnTo>
                  <a:lnTo>
                    <a:pt x="9289" y="676143"/>
                  </a:lnTo>
                  <a:lnTo>
                    <a:pt x="13315" y="670933"/>
                  </a:lnTo>
                  <a:lnTo>
                    <a:pt x="16173" y="663637"/>
                  </a:lnTo>
                  <a:lnTo>
                    <a:pt x="19556" y="647547"/>
                  </a:lnTo>
                  <a:lnTo>
                    <a:pt x="31829" y="610570"/>
                  </a:lnTo>
                  <a:lnTo>
                    <a:pt x="37661" y="574404"/>
                  </a:lnTo>
                  <a:lnTo>
                    <a:pt x="45051" y="557285"/>
                  </a:lnTo>
                  <a:lnTo>
                    <a:pt x="47823" y="538126"/>
                  </a:lnTo>
                  <a:lnTo>
                    <a:pt x="68384" y="513419"/>
                  </a:lnTo>
                  <a:lnTo>
                    <a:pt x="73451" y="498245"/>
                  </a:lnTo>
                  <a:lnTo>
                    <a:pt x="84082" y="490812"/>
                  </a:lnTo>
                  <a:lnTo>
                    <a:pt x="99144" y="482886"/>
                  </a:lnTo>
                  <a:lnTo>
                    <a:pt x="109863" y="468800"/>
                  </a:lnTo>
                  <a:lnTo>
                    <a:pt x="115049" y="459044"/>
                  </a:lnTo>
                  <a:lnTo>
                    <a:pt x="120961" y="440362"/>
                  </a:lnTo>
                  <a:lnTo>
                    <a:pt x="120896" y="420867"/>
                  </a:lnTo>
                  <a:lnTo>
                    <a:pt x="124641" y="394866"/>
                  </a:lnTo>
                  <a:lnTo>
                    <a:pt x="123819" y="387391"/>
                  </a:lnTo>
                  <a:lnTo>
                    <a:pt x="118215" y="377054"/>
                  </a:lnTo>
                  <a:lnTo>
                    <a:pt x="117173" y="369653"/>
                  </a:lnTo>
                  <a:lnTo>
                    <a:pt x="111969" y="362392"/>
                  </a:lnTo>
                  <a:lnTo>
                    <a:pt x="106397" y="356906"/>
                  </a:lnTo>
                  <a:lnTo>
                    <a:pt x="103789" y="347116"/>
                  </a:lnTo>
                  <a:lnTo>
                    <a:pt x="94124" y="331672"/>
                  </a:lnTo>
                  <a:lnTo>
                    <a:pt x="91475" y="321375"/>
                  </a:lnTo>
                  <a:lnTo>
                    <a:pt x="86847" y="313988"/>
                  </a:lnTo>
                  <a:lnTo>
                    <a:pt x="86107" y="304873"/>
                  </a:lnTo>
                  <a:lnTo>
                    <a:pt x="83665" y="295251"/>
                  </a:lnTo>
                  <a:lnTo>
                    <a:pt x="78948" y="285737"/>
                  </a:lnTo>
                  <a:lnTo>
                    <a:pt x="74359" y="274849"/>
                  </a:lnTo>
                  <a:lnTo>
                    <a:pt x="74359" y="271444"/>
                  </a:lnTo>
                  <a:lnTo>
                    <a:pt x="77217" y="267341"/>
                  </a:lnTo>
                  <a:lnTo>
                    <a:pt x="79941" y="265994"/>
                  </a:lnTo>
                  <a:lnTo>
                    <a:pt x="79020" y="268056"/>
                  </a:lnTo>
                  <a:lnTo>
                    <a:pt x="77207" y="270499"/>
                  </a:lnTo>
                  <a:lnTo>
                    <a:pt x="77633" y="272390"/>
                  </a:lnTo>
                  <a:lnTo>
                    <a:pt x="95707" y="253311"/>
                  </a:lnTo>
                  <a:lnTo>
                    <a:pt x="96854" y="249582"/>
                  </a:lnTo>
                  <a:lnTo>
                    <a:pt x="96246" y="245412"/>
                  </a:lnTo>
                  <a:lnTo>
                    <a:pt x="96147" y="240309"/>
                  </a:lnTo>
                  <a:lnTo>
                    <a:pt x="96864" y="234373"/>
                  </a:lnTo>
                  <a:lnTo>
                    <a:pt x="79824" y="199234"/>
                  </a:lnTo>
                  <a:lnTo>
                    <a:pt x="66292" y="166577"/>
                  </a:lnTo>
                  <a:lnTo>
                    <a:pt x="63988" y="150088"/>
                  </a:lnTo>
                  <a:lnTo>
                    <a:pt x="46093" y="128405"/>
                  </a:lnTo>
                  <a:lnTo>
                    <a:pt x="39037" y="114316"/>
                  </a:lnTo>
                  <a:lnTo>
                    <a:pt x="35017" y="104437"/>
                  </a:lnTo>
                  <a:lnTo>
                    <a:pt x="31998" y="100693"/>
                  </a:lnTo>
                  <a:lnTo>
                    <a:pt x="33137" y="98807"/>
                  </a:lnTo>
                  <a:lnTo>
                    <a:pt x="37746" y="98311"/>
                  </a:lnTo>
                  <a:lnTo>
                    <a:pt x="48002" y="96032"/>
                  </a:lnTo>
                  <a:lnTo>
                    <a:pt x="62046" y="93535"/>
                  </a:lnTo>
                  <a:lnTo>
                    <a:pt x="75024" y="87814"/>
                  </a:lnTo>
                  <a:lnTo>
                    <a:pt x="78484" y="85269"/>
                  </a:lnTo>
                  <a:lnTo>
                    <a:pt x="85365" y="84761"/>
                  </a:lnTo>
                  <a:lnTo>
                    <a:pt x="92370" y="86282"/>
                  </a:lnTo>
                  <a:lnTo>
                    <a:pt x="94968" y="85184"/>
                  </a:lnTo>
                  <a:lnTo>
                    <a:pt x="96449" y="85090"/>
                  </a:lnTo>
                  <a:lnTo>
                    <a:pt x="112888" y="85085"/>
                  </a:lnTo>
                  <a:close/>
                  <a:moveTo>
                    <a:pt x="65454" y="0"/>
                  </a:moveTo>
                  <a:lnTo>
                    <a:pt x="67401" y="961"/>
                  </a:lnTo>
                  <a:lnTo>
                    <a:pt x="72753" y="7291"/>
                  </a:lnTo>
                  <a:lnTo>
                    <a:pt x="77293" y="11295"/>
                  </a:lnTo>
                  <a:lnTo>
                    <a:pt x="78756" y="12217"/>
                  </a:lnTo>
                  <a:lnTo>
                    <a:pt x="77842" y="13186"/>
                  </a:lnTo>
                  <a:lnTo>
                    <a:pt x="71333" y="15811"/>
                  </a:lnTo>
                  <a:lnTo>
                    <a:pt x="64358" y="18262"/>
                  </a:lnTo>
                  <a:lnTo>
                    <a:pt x="55187" y="28280"/>
                  </a:lnTo>
                  <a:lnTo>
                    <a:pt x="50532" y="32616"/>
                  </a:lnTo>
                  <a:lnTo>
                    <a:pt x="49187" y="33696"/>
                  </a:lnTo>
                  <a:lnTo>
                    <a:pt x="44995" y="36090"/>
                  </a:lnTo>
                  <a:lnTo>
                    <a:pt x="41958" y="38145"/>
                  </a:lnTo>
                  <a:lnTo>
                    <a:pt x="42062" y="39281"/>
                  </a:lnTo>
                  <a:lnTo>
                    <a:pt x="44087" y="40590"/>
                  </a:lnTo>
                  <a:lnTo>
                    <a:pt x="46158" y="42741"/>
                  </a:lnTo>
                  <a:lnTo>
                    <a:pt x="45954" y="59112"/>
                  </a:lnTo>
                  <a:lnTo>
                    <a:pt x="45051" y="75224"/>
                  </a:lnTo>
                  <a:lnTo>
                    <a:pt x="43918" y="76590"/>
                  </a:lnTo>
                  <a:lnTo>
                    <a:pt x="38085" y="77123"/>
                  </a:lnTo>
                  <a:lnTo>
                    <a:pt x="30338" y="78237"/>
                  </a:lnTo>
                  <a:lnTo>
                    <a:pt x="27874" y="78963"/>
                  </a:lnTo>
                  <a:lnTo>
                    <a:pt x="27006" y="77372"/>
                  </a:lnTo>
                  <a:lnTo>
                    <a:pt x="24427" y="71477"/>
                  </a:lnTo>
                  <a:lnTo>
                    <a:pt x="25884" y="65889"/>
                  </a:lnTo>
                  <a:lnTo>
                    <a:pt x="27451" y="61708"/>
                  </a:lnTo>
                  <a:lnTo>
                    <a:pt x="25710" y="53185"/>
                  </a:lnTo>
                  <a:lnTo>
                    <a:pt x="21767" y="45607"/>
                  </a:lnTo>
                  <a:lnTo>
                    <a:pt x="17586" y="35986"/>
                  </a:lnTo>
                  <a:lnTo>
                    <a:pt x="16305" y="34154"/>
                  </a:lnTo>
                  <a:lnTo>
                    <a:pt x="19811" y="31057"/>
                  </a:lnTo>
                  <a:lnTo>
                    <a:pt x="25115" y="24262"/>
                  </a:lnTo>
                  <a:lnTo>
                    <a:pt x="27319" y="20756"/>
                  </a:lnTo>
                  <a:lnTo>
                    <a:pt x="33456" y="19979"/>
                  </a:lnTo>
                  <a:lnTo>
                    <a:pt x="35751" y="17520"/>
                  </a:lnTo>
                  <a:lnTo>
                    <a:pt x="37372" y="13580"/>
                  </a:lnTo>
                  <a:lnTo>
                    <a:pt x="37996" y="11290"/>
                  </a:lnTo>
                  <a:lnTo>
                    <a:pt x="44920" y="9412"/>
                  </a:lnTo>
                  <a:lnTo>
                    <a:pt x="53226" y="6069"/>
                  </a:lnTo>
                  <a:lnTo>
                    <a:pt x="57831" y="2424"/>
                  </a:lnTo>
                  <a:lnTo>
                    <a:pt x="62497" y="99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83" name="ee4p_BI_1_82333">
              <a:extLst>
                <a:ext uri="{FF2B5EF4-FFF2-40B4-BE49-F238E27FC236}">
                  <a16:creationId xmlns:a16="http://schemas.microsoft.com/office/drawing/2014/main" id="{CD9E4EB8-B8D0-A5A4-88F8-74692F36224E}"/>
                </a:ext>
              </a:extLst>
            </p:cNvPr>
            <p:cNvSpPr>
              <a:spLocks noChangeAspect="1"/>
            </p:cNvSpPr>
            <p:nvPr>
              <p:custDataLst>
                <p:tags r:id="rId111"/>
              </p:custDataLst>
            </p:nvPr>
          </p:nvSpPr>
          <p:spPr>
            <a:xfrm>
              <a:off x="7320404" y="4743680"/>
              <a:ext cx="49910" cy="61198"/>
            </a:xfrm>
            <a:custGeom>
              <a:avLst/>
              <a:gdLst/>
              <a:ahLst/>
              <a:cxnLst/>
              <a:rect l="0" t="0" r="0" b="0"/>
              <a:pathLst>
                <a:path w="39742" h="47439">
                  <a:moveTo>
                    <a:pt x="34041" y="1927"/>
                  </a:moveTo>
                  <a:lnTo>
                    <a:pt x="33600" y="2506"/>
                  </a:lnTo>
                  <a:lnTo>
                    <a:pt x="31573" y="6648"/>
                  </a:lnTo>
                  <a:lnTo>
                    <a:pt x="31180" y="7271"/>
                  </a:lnTo>
                  <a:lnTo>
                    <a:pt x="31404" y="7653"/>
                  </a:lnTo>
                  <a:lnTo>
                    <a:pt x="32266" y="8438"/>
                  </a:lnTo>
                  <a:lnTo>
                    <a:pt x="31761" y="9741"/>
                  </a:lnTo>
                  <a:lnTo>
                    <a:pt x="31558" y="10091"/>
                  </a:lnTo>
                  <a:lnTo>
                    <a:pt x="31175" y="11307"/>
                  </a:lnTo>
                  <a:lnTo>
                    <a:pt x="31385" y="12425"/>
                  </a:lnTo>
                  <a:lnTo>
                    <a:pt x="31873" y="12838"/>
                  </a:lnTo>
                  <a:lnTo>
                    <a:pt x="33188" y="13378"/>
                  </a:lnTo>
                  <a:lnTo>
                    <a:pt x="35162" y="13769"/>
                  </a:lnTo>
                  <a:lnTo>
                    <a:pt x="37487" y="14698"/>
                  </a:lnTo>
                  <a:lnTo>
                    <a:pt x="39053" y="14867"/>
                  </a:lnTo>
                  <a:lnTo>
                    <a:pt x="39420" y="15537"/>
                  </a:lnTo>
                  <a:lnTo>
                    <a:pt x="39347" y="16737"/>
                  </a:lnTo>
                  <a:lnTo>
                    <a:pt x="39735" y="17778"/>
                  </a:lnTo>
                  <a:lnTo>
                    <a:pt x="39741" y="19641"/>
                  </a:lnTo>
                  <a:lnTo>
                    <a:pt x="39273" y="21280"/>
                  </a:lnTo>
                  <a:lnTo>
                    <a:pt x="36876" y="22049"/>
                  </a:lnTo>
                  <a:lnTo>
                    <a:pt x="35643" y="22890"/>
                  </a:lnTo>
                  <a:lnTo>
                    <a:pt x="35308" y="23312"/>
                  </a:lnTo>
                  <a:lnTo>
                    <a:pt x="35611" y="23805"/>
                  </a:lnTo>
                  <a:lnTo>
                    <a:pt x="35773" y="24469"/>
                  </a:lnTo>
                  <a:lnTo>
                    <a:pt x="33516" y="26103"/>
                  </a:lnTo>
                  <a:lnTo>
                    <a:pt x="31197" y="28237"/>
                  </a:lnTo>
                  <a:lnTo>
                    <a:pt x="30644" y="29677"/>
                  </a:lnTo>
                  <a:lnTo>
                    <a:pt x="30182" y="31379"/>
                  </a:lnTo>
                  <a:lnTo>
                    <a:pt x="29504" y="32464"/>
                  </a:lnTo>
                  <a:lnTo>
                    <a:pt x="27738" y="34030"/>
                  </a:lnTo>
                  <a:lnTo>
                    <a:pt x="25937" y="37183"/>
                  </a:lnTo>
                  <a:lnTo>
                    <a:pt x="25054" y="39231"/>
                  </a:lnTo>
                  <a:lnTo>
                    <a:pt x="20633" y="44148"/>
                  </a:lnTo>
                  <a:lnTo>
                    <a:pt x="16703" y="46601"/>
                  </a:lnTo>
                  <a:lnTo>
                    <a:pt x="15559" y="47438"/>
                  </a:lnTo>
                  <a:lnTo>
                    <a:pt x="8603" y="47293"/>
                  </a:lnTo>
                  <a:lnTo>
                    <a:pt x="8072" y="43979"/>
                  </a:lnTo>
                  <a:lnTo>
                    <a:pt x="7014" y="39454"/>
                  </a:lnTo>
                  <a:lnTo>
                    <a:pt x="4623" y="35366"/>
                  </a:lnTo>
                  <a:lnTo>
                    <a:pt x="4371" y="33660"/>
                  </a:lnTo>
                  <a:lnTo>
                    <a:pt x="4481" y="30364"/>
                  </a:lnTo>
                  <a:lnTo>
                    <a:pt x="4490" y="25731"/>
                  </a:lnTo>
                  <a:lnTo>
                    <a:pt x="4332" y="23243"/>
                  </a:lnTo>
                  <a:lnTo>
                    <a:pt x="4382" y="21427"/>
                  </a:lnTo>
                  <a:lnTo>
                    <a:pt x="4686" y="18271"/>
                  </a:lnTo>
                  <a:lnTo>
                    <a:pt x="4649" y="16387"/>
                  </a:lnTo>
                  <a:lnTo>
                    <a:pt x="3076" y="14212"/>
                  </a:lnTo>
                  <a:lnTo>
                    <a:pt x="1119" y="11900"/>
                  </a:lnTo>
                  <a:lnTo>
                    <a:pt x="54" y="10767"/>
                  </a:lnTo>
                  <a:lnTo>
                    <a:pt x="0" y="9853"/>
                  </a:lnTo>
                  <a:lnTo>
                    <a:pt x="5" y="9010"/>
                  </a:lnTo>
                  <a:lnTo>
                    <a:pt x="320" y="7779"/>
                  </a:lnTo>
                  <a:lnTo>
                    <a:pt x="1084" y="6407"/>
                  </a:lnTo>
                  <a:lnTo>
                    <a:pt x="1944" y="6255"/>
                  </a:lnTo>
                  <a:lnTo>
                    <a:pt x="4056" y="6800"/>
                  </a:lnTo>
                  <a:lnTo>
                    <a:pt x="6256" y="7967"/>
                  </a:lnTo>
                  <a:lnTo>
                    <a:pt x="7422" y="10588"/>
                  </a:lnTo>
                  <a:lnTo>
                    <a:pt x="8316" y="10966"/>
                  </a:lnTo>
                  <a:lnTo>
                    <a:pt x="9940" y="10962"/>
                  </a:lnTo>
                  <a:lnTo>
                    <a:pt x="14090" y="10616"/>
                  </a:lnTo>
                  <a:lnTo>
                    <a:pt x="15122" y="10659"/>
                  </a:lnTo>
                  <a:lnTo>
                    <a:pt x="17010" y="10033"/>
                  </a:lnTo>
                  <a:lnTo>
                    <a:pt x="18884" y="8926"/>
                  </a:lnTo>
                  <a:lnTo>
                    <a:pt x="19424" y="7781"/>
                  </a:lnTo>
                  <a:lnTo>
                    <a:pt x="19862" y="5214"/>
                  </a:lnTo>
                  <a:lnTo>
                    <a:pt x="20255" y="588"/>
                  </a:lnTo>
                  <a:lnTo>
                    <a:pt x="21212" y="534"/>
                  </a:lnTo>
                  <a:lnTo>
                    <a:pt x="23831" y="2180"/>
                  </a:lnTo>
                  <a:lnTo>
                    <a:pt x="24393" y="2292"/>
                  </a:lnTo>
                  <a:lnTo>
                    <a:pt x="24946" y="2234"/>
                  </a:lnTo>
                  <a:lnTo>
                    <a:pt x="25852" y="1418"/>
                  </a:lnTo>
                  <a:lnTo>
                    <a:pt x="26969" y="754"/>
                  </a:lnTo>
                  <a:lnTo>
                    <a:pt x="27791" y="772"/>
                  </a:lnTo>
                  <a:lnTo>
                    <a:pt x="30832" y="0"/>
                  </a:lnTo>
                  <a:lnTo>
                    <a:pt x="32462" y="1396"/>
                  </a:lnTo>
                  <a:lnTo>
                    <a:pt x="33495" y="1828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84" name="ee4p_BJ_1_82333">
              <a:extLst>
                <a:ext uri="{FF2B5EF4-FFF2-40B4-BE49-F238E27FC236}">
                  <a16:creationId xmlns:a16="http://schemas.microsoft.com/office/drawing/2014/main" id="{687D69C2-9EA0-AD0C-DCDF-32B552D382D5}"/>
                </a:ext>
              </a:extLst>
            </p:cNvPr>
            <p:cNvSpPr>
              <a:spLocks noChangeAspect="1"/>
            </p:cNvSpPr>
            <p:nvPr>
              <p:custDataLst>
                <p:tags r:id="rId112"/>
              </p:custDataLst>
            </p:nvPr>
          </p:nvSpPr>
          <p:spPr>
            <a:xfrm>
              <a:off x="6535899" y="4322660"/>
              <a:ext cx="85283" cy="177471"/>
            </a:xfrm>
            <a:custGeom>
              <a:avLst/>
              <a:gdLst/>
              <a:ahLst/>
              <a:cxnLst/>
              <a:rect l="0" t="0" r="0" b="0"/>
              <a:pathLst>
                <a:path w="67909" h="137570">
                  <a:moveTo>
                    <a:pt x="62622" y="15421"/>
                  </a:moveTo>
                  <a:lnTo>
                    <a:pt x="61705" y="16865"/>
                  </a:lnTo>
                  <a:lnTo>
                    <a:pt x="60303" y="19836"/>
                  </a:lnTo>
                  <a:lnTo>
                    <a:pt x="60243" y="22162"/>
                  </a:lnTo>
                  <a:lnTo>
                    <a:pt x="63583" y="27055"/>
                  </a:lnTo>
                  <a:lnTo>
                    <a:pt x="63968" y="27553"/>
                  </a:lnTo>
                  <a:lnTo>
                    <a:pt x="64831" y="28321"/>
                  </a:lnTo>
                  <a:lnTo>
                    <a:pt x="65298" y="29232"/>
                  </a:lnTo>
                  <a:lnTo>
                    <a:pt x="65691" y="31641"/>
                  </a:lnTo>
                  <a:lnTo>
                    <a:pt x="65928" y="34359"/>
                  </a:lnTo>
                  <a:lnTo>
                    <a:pt x="66191" y="36186"/>
                  </a:lnTo>
                  <a:lnTo>
                    <a:pt x="67803" y="38757"/>
                  </a:lnTo>
                  <a:lnTo>
                    <a:pt x="67908" y="39793"/>
                  </a:lnTo>
                  <a:lnTo>
                    <a:pt x="66788" y="43628"/>
                  </a:lnTo>
                  <a:lnTo>
                    <a:pt x="66522" y="44036"/>
                  </a:lnTo>
                  <a:lnTo>
                    <a:pt x="66228" y="44146"/>
                  </a:lnTo>
                  <a:lnTo>
                    <a:pt x="64499" y="43809"/>
                  </a:lnTo>
                  <a:lnTo>
                    <a:pt x="63754" y="44229"/>
                  </a:lnTo>
                  <a:lnTo>
                    <a:pt x="62814" y="45532"/>
                  </a:lnTo>
                  <a:lnTo>
                    <a:pt x="62236" y="46833"/>
                  </a:lnTo>
                  <a:lnTo>
                    <a:pt x="62205" y="47371"/>
                  </a:lnTo>
                  <a:lnTo>
                    <a:pt x="63739" y="49789"/>
                  </a:lnTo>
                  <a:lnTo>
                    <a:pt x="62769" y="53264"/>
                  </a:lnTo>
                  <a:lnTo>
                    <a:pt x="61778" y="55434"/>
                  </a:lnTo>
                  <a:lnTo>
                    <a:pt x="59998" y="56671"/>
                  </a:lnTo>
                  <a:lnTo>
                    <a:pt x="58407" y="56968"/>
                  </a:lnTo>
                  <a:lnTo>
                    <a:pt x="57295" y="57545"/>
                  </a:lnTo>
                  <a:lnTo>
                    <a:pt x="56647" y="58311"/>
                  </a:lnTo>
                  <a:lnTo>
                    <a:pt x="56742" y="60798"/>
                  </a:lnTo>
                  <a:lnTo>
                    <a:pt x="54397" y="63061"/>
                  </a:lnTo>
                  <a:lnTo>
                    <a:pt x="53097" y="64643"/>
                  </a:lnTo>
                  <a:lnTo>
                    <a:pt x="52466" y="65604"/>
                  </a:lnTo>
                  <a:lnTo>
                    <a:pt x="52730" y="68526"/>
                  </a:lnTo>
                  <a:lnTo>
                    <a:pt x="51899" y="71476"/>
                  </a:lnTo>
                  <a:lnTo>
                    <a:pt x="50450" y="73805"/>
                  </a:lnTo>
                  <a:lnTo>
                    <a:pt x="47202" y="74305"/>
                  </a:lnTo>
                  <a:lnTo>
                    <a:pt x="44477" y="74592"/>
                  </a:lnTo>
                  <a:lnTo>
                    <a:pt x="43550" y="80520"/>
                  </a:lnTo>
                  <a:lnTo>
                    <a:pt x="43589" y="84273"/>
                  </a:lnTo>
                  <a:lnTo>
                    <a:pt x="43345" y="88106"/>
                  </a:lnTo>
                  <a:lnTo>
                    <a:pt x="42892" y="89666"/>
                  </a:lnTo>
                  <a:lnTo>
                    <a:pt x="43077" y="91867"/>
                  </a:lnTo>
                  <a:lnTo>
                    <a:pt x="42875" y="96834"/>
                  </a:lnTo>
                  <a:lnTo>
                    <a:pt x="42514" y="100752"/>
                  </a:lnTo>
                  <a:lnTo>
                    <a:pt x="42993" y="101800"/>
                  </a:lnTo>
                  <a:lnTo>
                    <a:pt x="43274" y="104102"/>
                  </a:lnTo>
                  <a:lnTo>
                    <a:pt x="43250" y="106478"/>
                  </a:lnTo>
                  <a:lnTo>
                    <a:pt x="43950" y="108132"/>
                  </a:lnTo>
                  <a:lnTo>
                    <a:pt x="44706" y="109578"/>
                  </a:lnTo>
                  <a:lnTo>
                    <a:pt x="44680" y="110322"/>
                  </a:lnTo>
                  <a:lnTo>
                    <a:pt x="44278" y="110786"/>
                  </a:lnTo>
                  <a:lnTo>
                    <a:pt x="43939" y="111396"/>
                  </a:lnTo>
                  <a:lnTo>
                    <a:pt x="43941" y="116994"/>
                  </a:lnTo>
                  <a:lnTo>
                    <a:pt x="44077" y="118667"/>
                  </a:lnTo>
                  <a:lnTo>
                    <a:pt x="43878" y="119736"/>
                  </a:lnTo>
                  <a:lnTo>
                    <a:pt x="43296" y="120615"/>
                  </a:lnTo>
                  <a:lnTo>
                    <a:pt x="43525" y="123446"/>
                  </a:lnTo>
                  <a:lnTo>
                    <a:pt x="43993" y="125249"/>
                  </a:lnTo>
                  <a:lnTo>
                    <a:pt x="44473" y="126580"/>
                  </a:lnTo>
                  <a:lnTo>
                    <a:pt x="44010" y="127690"/>
                  </a:lnTo>
                  <a:lnTo>
                    <a:pt x="43611" y="129157"/>
                  </a:lnTo>
                  <a:lnTo>
                    <a:pt x="43000" y="132887"/>
                  </a:lnTo>
                  <a:lnTo>
                    <a:pt x="42965" y="134185"/>
                  </a:lnTo>
                  <a:lnTo>
                    <a:pt x="33688" y="135099"/>
                  </a:lnTo>
                  <a:lnTo>
                    <a:pt x="23324" y="136596"/>
                  </a:lnTo>
                  <a:lnTo>
                    <a:pt x="19000" y="137569"/>
                  </a:lnTo>
                  <a:lnTo>
                    <a:pt x="18741" y="136813"/>
                  </a:lnTo>
                  <a:lnTo>
                    <a:pt x="22434" y="135841"/>
                  </a:lnTo>
                  <a:lnTo>
                    <a:pt x="21665" y="132919"/>
                  </a:lnTo>
                  <a:lnTo>
                    <a:pt x="19368" y="129471"/>
                  </a:lnTo>
                  <a:lnTo>
                    <a:pt x="18467" y="128835"/>
                  </a:lnTo>
                  <a:lnTo>
                    <a:pt x="18003" y="127120"/>
                  </a:lnTo>
                  <a:lnTo>
                    <a:pt x="18564" y="125995"/>
                  </a:lnTo>
                  <a:lnTo>
                    <a:pt x="18296" y="125235"/>
                  </a:lnTo>
                  <a:lnTo>
                    <a:pt x="18102" y="122909"/>
                  </a:lnTo>
                  <a:lnTo>
                    <a:pt x="16973" y="120345"/>
                  </a:lnTo>
                  <a:lnTo>
                    <a:pt x="19046" y="120236"/>
                  </a:lnTo>
                  <a:lnTo>
                    <a:pt x="19046" y="111972"/>
                  </a:lnTo>
                  <a:lnTo>
                    <a:pt x="19044" y="104041"/>
                  </a:lnTo>
                  <a:lnTo>
                    <a:pt x="19044" y="97270"/>
                  </a:lnTo>
                  <a:lnTo>
                    <a:pt x="19044" y="91911"/>
                  </a:lnTo>
                  <a:lnTo>
                    <a:pt x="18646" y="85493"/>
                  </a:lnTo>
                  <a:lnTo>
                    <a:pt x="18584" y="80777"/>
                  </a:lnTo>
                  <a:lnTo>
                    <a:pt x="18504" y="74558"/>
                  </a:lnTo>
                  <a:lnTo>
                    <a:pt x="17755" y="72614"/>
                  </a:lnTo>
                  <a:lnTo>
                    <a:pt x="14615" y="69320"/>
                  </a:lnTo>
                  <a:lnTo>
                    <a:pt x="13762" y="67610"/>
                  </a:lnTo>
                  <a:lnTo>
                    <a:pt x="13611" y="65350"/>
                  </a:lnTo>
                  <a:lnTo>
                    <a:pt x="12907" y="63018"/>
                  </a:lnTo>
                  <a:lnTo>
                    <a:pt x="12863" y="58942"/>
                  </a:lnTo>
                  <a:lnTo>
                    <a:pt x="12814" y="54193"/>
                  </a:lnTo>
                  <a:lnTo>
                    <a:pt x="12531" y="53433"/>
                  </a:lnTo>
                  <a:lnTo>
                    <a:pt x="9128" y="51168"/>
                  </a:lnTo>
                  <a:lnTo>
                    <a:pt x="4310" y="47959"/>
                  </a:lnTo>
                  <a:lnTo>
                    <a:pt x="637" y="45512"/>
                  </a:lnTo>
                  <a:lnTo>
                    <a:pt x="367" y="45333"/>
                  </a:lnTo>
                  <a:lnTo>
                    <a:pt x="0" y="44728"/>
                  </a:lnTo>
                  <a:lnTo>
                    <a:pt x="533" y="37494"/>
                  </a:lnTo>
                  <a:lnTo>
                    <a:pt x="1293" y="36547"/>
                  </a:lnTo>
                  <a:lnTo>
                    <a:pt x="2464" y="33569"/>
                  </a:lnTo>
                  <a:lnTo>
                    <a:pt x="3032" y="31164"/>
                  </a:lnTo>
                  <a:lnTo>
                    <a:pt x="3565" y="31174"/>
                  </a:lnTo>
                  <a:lnTo>
                    <a:pt x="4303" y="30391"/>
                  </a:lnTo>
                  <a:lnTo>
                    <a:pt x="4902" y="29245"/>
                  </a:lnTo>
                  <a:lnTo>
                    <a:pt x="5539" y="29489"/>
                  </a:lnTo>
                  <a:lnTo>
                    <a:pt x="6610" y="29711"/>
                  </a:lnTo>
                  <a:lnTo>
                    <a:pt x="7102" y="29304"/>
                  </a:lnTo>
                  <a:lnTo>
                    <a:pt x="7035" y="28417"/>
                  </a:lnTo>
                  <a:lnTo>
                    <a:pt x="7389" y="27514"/>
                  </a:lnTo>
                  <a:lnTo>
                    <a:pt x="8230" y="27111"/>
                  </a:lnTo>
                  <a:lnTo>
                    <a:pt x="8450" y="26304"/>
                  </a:lnTo>
                  <a:lnTo>
                    <a:pt x="8456" y="25375"/>
                  </a:lnTo>
                  <a:lnTo>
                    <a:pt x="9184" y="25132"/>
                  </a:lnTo>
                  <a:lnTo>
                    <a:pt x="10421" y="25171"/>
                  </a:lnTo>
                  <a:lnTo>
                    <a:pt x="11434" y="24881"/>
                  </a:lnTo>
                  <a:lnTo>
                    <a:pt x="12250" y="24404"/>
                  </a:lnTo>
                  <a:lnTo>
                    <a:pt x="13300" y="22531"/>
                  </a:lnTo>
                  <a:lnTo>
                    <a:pt x="13889" y="21880"/>
                  </a:lnTo>
                  <a:lnTo>
                    <a:pt x="14071" y="21416"/>
                  </a:lnTo>
                  <a:lnTo>
                    <a:pt x="14669" y="21003"/>
                  </a:lnTo>
                  <a:lnTo>
                    <a:pt x="16319" y="20814"/>
                  </a:lnTo>
                  <a:lnTo>
                    <a:pt x="17646" y="20959"/>
                  </a:lnTo>
                  <a:lnTo>
                    <a:pt x="18499" y="22045"/>
                  </a:lnTo>
                  <a:lnTo>
                    <a:pt x="24196" y="21088"/>
                  </a:lnTo>
                  <a:lnTo>
                    <a:pt x="26910" y="21647"/>
                  </a:lnTo>
                  <a:lnTo>
                    <a:pt x="32449" y="16926"/>
                  </a:lnTo>
                  <a:lnTo>
                    <a:pt x="33695" y="15534"/>
                  </a:lnTo>
                  <a:lnTo>
                    <a:pt x="35377" y="12198"/>
                  </a:lnTo>
                  <a:lnTo>
                    <a:pt x="35950" y="10921"/>
                  </a:lnTo>
                  <a:lnTo>
                    <a:pt x="36470" y="8628"/>
                  </a:lnTo>
                  <a:lnTo>
                    <a:pt x="35377" y="4386"/>
                  </a:lnTo>
                  <a:lnTo>
                    <a:pt x="35438" y="3634"/>
                  </a:lnTo>
                  <a:lnTo>
                    <a:pt x="37722" y="2717"/>
                  </a:lnTo>
                  <a:lnTo>
                    <a:pt x="40577" y="2009"/>
                  </a:lnTo>
                  <a:lnTo>
                    <a:pt x="41683" y="1955"/>
                  </a:lnTo>
                  <a:lnTo>
                    <a:pt x="42410" y="1595"/>
                  </a:lnTo>
                  <a:lnTo>
                    <a:pt x="43453" y="679"/>
                  </a:lnTo>
                  <a:lnTo>
                    <a:pt x="45151" y="0"/>
                  </a:lnTo>
                  <a:lnTo>
                    <a:pt x="46144" y="229"/>
                  </a:lnTo>
                  <a:lnTo>
                    <a:pt x="46761" y="362"/>
                  </a:lnTo>
                  <a:lnTo>
                    <a:pt x="52764" y="5964"/>
                  </a:lnTo>
                  <a:lnTo>
                    <a:pt x="55369" y="8795"/>
                  </a:lnTo>
                  <a:lnTo>
                    <a:pt x="56070" y="10246"/>
                  </a:lnTo>
                  <a:lnTo>
                    <a:pt x="57416" y="11293"/>
                  </a:lnTo>
                  <a:lnTo>
                    <a:pt x="59402" y="11932"/>
                  </a:lnTo>
                  <a:lnTo>
                    <a:pt x="61214" y="13378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85" name="ee4p_BF_1_82333">
              <a:extLst>
                <a:ext uri="{FF2B5EF4-FFF2-40B4-BE49-F238E27FC236}">
                  <a16:creationId xmlns:a16="http://schemas.microsoft.com/office/drawing/2014/main" id="{64E0A750-DEB5-33D8-32AC-9B9D61066098}"/>
                </a:ext>
              </a:extLst>
            </p:cNvPr>
            <p:cNvSpPr>
              <a:spLocks noChangeAspect="1"/>
            </p:cNvSpPr>
            <p:nvPr>
              <p:custDataLst>
                <p:tags r:id="rId113"/>
              </p:custDataLst>
            </p:nvPr>
          </p:nvSpPr>
          <p:spPr>
            <a:xfrm>
              <a:off x="6361316" y="4244373"/>
              <a:ext cx="219732" cy="163694"/>
            </a:xfrm>
            <a:custGeom>
              <a:avLst/>
              <a:gdLst/>
              <a:ahLst/>
              <a:cxnLst/>
              <a:rect l="0" t="0" r="0" b="0"/>
              <a:pathLst>
                <a:path w="174968" h="126891">
                  <a:moveTo>
                    <a:pt x="126946" y="3762"/>
                  </a:moveTo>
                  <a:lnTo>
                    <a:pt x="126643" y="4811"/>
                  </a:lnTo>
                  <a:lnTo>
                    <a:pt x="126620" y="6669"/>
                  </a:lnTo>
                  <a:lnTo>
                    <a:pt x="126229" y="9603"/>
                  </a:lnTo>
                  <a:lnTo>
                    <a:pt x="125761" y="13118"/>
                  </a:lnTo>
                  <a:lnTo>
                    <a:pt x="127678" y="15393"/>
                  </a:lnTo>
                  <a:lnTo>
                    <a:pt x="129978" y="17839"/>
                  </a:lnTo>
                  <a:lnTo>
                    <a:pt x="130595" y="18792"/>
                  </a:lnTo>
                  <a:lnTo>
                    <a:pt x="129984" y="21200"/>
                  </a:lnTo>
                  <a:lnTo>
                    <a:pt x="130408" y="22612"/>
                  </a:lnTo>
                  <a:lnTo>
                    <a:pt x="131627" y="24963"/>
                  </a:lnTo>
                  <a:lnTo>
                    <a:pt x="133688" y="27946"/>
                  </a:lnTo>
                  <a:lnTo>
                    <a:pt x="135806" y="31017"/>
                  </a:lnTo>
                  <a:lnTo>
                    <a:pt x="137274" y="31423"/>
                  </a:lnTo>
                  <a:lnTo>
                    <a:pt x="138671" y="31668"/>
                  </a:lnTo>
                  <a:lnTo>
                    <a:pt x="139518" y="32219"/>
                  </a:lnTo>
                  <a:lnTo>
                    <a:pt x="140762" y="32751"/>
                  </a:lnTo>
                  <a:lnTo>
                    <a:pt x="141993" y="33099"/>
                  </a:lnTo>
                  <a:lnTo>
                    <a:pt x="143068" y="33770"/>
                  </a:lnTo>
                  <a:lnTo>
                    <a:pt x="143757" y="34428"/>
                  </a:lnTo>
                  <a:lnTo>
                    <a:pt x="144644" y="36321"/>
                  </a:lnTo>
                  <a:lnTo>
                    <a:pt x="147035" y="37570"/>
                  </a:lnTo>
                  <a:lnTo>
                    <a:pt x="148698" y="38804"/>
                  </a:lnTo>
                  <a:lnTo>
                    <a:pt x="148028" y="39432"/>
                  </a:lnTo>
                  <a:lnTo>
                    <a:pt x="145949" y="39181"/>
                  </a:lnTo>
                  <a:lnTo>
                    <a:pt x="143994" y="38639"/>
                  </a:lnTo>
                  <a:lnTo>
                    <a:pt x="143735" y="39547"/>
                  </a:lnTo>
                  <a:lnTo>
                    <a:pt x="143653" y="43014"/>
                  </a:lnTo>
                  <a:lnTo>
                    <a:pt x="143968" y="45903"/>
                  </a:lnTo>
                  <a:lnTo>
                    <a:pt x="144424" y="46287"/>
                  </a:lnTo>
                  <a:lnTo>
                    <a:pt x="146389" y="46820"/>
                  </a:lnTo>
                  <a:lnTo>
                    <a:pt x="151075" y="50570"/>
                  </a:lnTo>
                  <a:lnTo>
                    <a:pt x="155316" y="54116"/>
                  </a:lnTo>
                  <a:lnTo>
                    <a:pt x="156741" y="55038"/>
                  </a:lnTo>
                  <a:lnTo>
                    <a:pt x="159088" y="55388"/>
                  </a:lnTo>
                  <a:lnTo>
                    <a:pt x="161714" y="55535"/>
                  </a:lnTo>
                  <a:lnTo>
                    <a:pt x="162844" y="55207"/>
                  </a:lnTo>
                  <a:lnTo>
                    <a:pt x="165392" y="53420"/>
                  </a:lnTo>
                  <a:lnTo>
                    <a:pt x="166746" y="53223"/>
                  </a:lnTo>
                  <a:lnTo>
                    <a:pt x="167994" y="53273"/>
                  </a:lnTo>
                  <a:lnTo>
                    <a:pt x="168674" y="53559"/>
                  </a:lnTo>
                  <a:lnTo>
                    <a:pt x="169894" y="55015"/>
                  </a:lnTo>
                  <a:lnTo>
                    <a:pt x="171038" y="57216"/>
                  </a:lnTo>
                  <a:lnTo>
                    <a:pt x="171364" y="58841"/>
                  </a:lnTo>
                  <a:lnTo>
                    <a:pt x="171257" y="59712"/>
                  </a:lnTo>
                  <a:lnTo>
                    <a:pt x="170868" y="60041"/>
                  </a:lnTo>
                  <a:lnTo>
                    <a:pt x="168780" y="60462"/>
                  </a:lnTo>
                  <a:lnTo>
                    <a:pt x="167877" y="60792"/>
                  </a:lnTo>
                  <a:lnTo>
                    <a:pt x="167653" y="61267"/>
                  </a:lnTo>
                  <a:lnTo>
                    <a:pt x="167974" y="62358"/>
                  </a:lnTo>
                  <a:lnTo>
                    <a:pt x="168382" y="63063"/>
                  </a:lnTo>
                  <a:lnTo>
                    <a:pt x="170661" y="66238"/>
                  </a:lnTo>
                  <a:lnTo>
                    <a:pt x="173954" y="70510"/>
                  </a:lnTo>
                  <a:lnTo>
                    <a:pt x="174967" y="71607"/>
                  </a:lnTo>
                  <a:lnTo>
                    <a:pt x="174394" y="72884"/>
                  </a:lnTo>
                  <a:lnTo>
                    <a:pt x="172712" y="76220"/>
                  </a:lnTo>
                  <a:lnTo>
                    <a:pt x="171466" y="77612"/>
                  </a:lnTo>
                  <a:lnTo>
                    <a:pt x="165927" y="82333"/>
                  </a:lnTo>
                  <a:lnTo>
                    <a:pt x="163213" y="81774"/>
                  </a:lnTo>
                  <a:lnTo>
                    <a:pt x="157516" y="82731"/>
                  </a:lnTo>
                  <a:lnTo>
                    <a:pt x="156663" y="81645"/>
                  </a:lnTo>
                  <a:lnTo>
                    <a:pt x="155336" y="81500"/>
                  </a:lnTo>
                  <a:lnTo>
                    <a:pt x="153686" y="81689"/>
                  </a:lnTo>
                  <a:lnTo>
                    <a:pt x="153088" y="82102"/>
                  </a:lnTo>
                  <a:lnTo>
                    <a:pt x="152906" y="82566"/>
                  </a:lnTo>
                  <a:lnTo>
                    <a:pt x="152317" y="83217"/>
                  </a:lnTo>
                  <a:lnTo>
                    <a:pt x="151267" y="85090"/>
                  </a:lnTo>
                  <a:lnTo>
                    <a:pt x="150451" y="85567"/>
                  </a:lnTo>
                  <a:lnTo>
                    <a:pt x="149438" y="85857"/>
                  </a:lnTo>
                  <a:lnTo>
                    <a:pt x="148201" y="85818"/>
                  </a:lnTo>
                  <a:lnTo>
                    <a:pt x="147473" y="86061"/>
                  </a:lnTo>
                  <a:lnTo>
                    <a:pt x="147467" y="86990"/>
                  </a:lnTo>
                  <a:lnTo>
                    <a:pt x="147247" y="87797"/>
                  </a:lnTo>
                  <a:lnTo>
                    <a:pt x="146406" y="88200"/>
                  </a:lnTo>
                  <a:lnTo>
                    <a:pt x="146052" y="89103"/>
                  </a:lnTo>
                  <a:lnTo>
                    <a:pt x="146119" y="89990"/>
                  </a:lnTo>
                  <a:lnTo>
                    <a:pt x="145627" y="90397"/>
                  </a:lnTo>
                  <a:lnTo>
                    <a:pt x="144556" y="90175"/>
                  </a:lnTo>
                  <a:lnTo>
                    <a:pt x="143919" y="89931"/>
                  </a:lnTo>
                  <a:lnTo>
                    <a:pt x="143320" y="91077"/>
                  </a:lnTo>
                  <a:lnTo>
                    <a:pt x="142582" y="91860"/>
                  </a:lnTo>
                  <a:lnTo>
                    <a:pt x="142049" y="91850"/>
                  </a:lnTo>
                  <a:lnTo>
                    <a:pt x="136355" y="92078"/>
                  </a:lnTo>
                  <a:lnTo>
                    <a:pt x="134279" y="92697"/>
                  </a:lnTo>
                  <a:lnTo>
                    <a:pt x="133031" y="92706"/>
                  </a:lnTo>
                  <a:lnTo>
                    <a:pt x="132988" y="92187"/>
                  </a:lnTo>
                  <a:lnTo>
                    <a:pt x="132843" y="91878"/>
                  </a:lnTo>
                  <a:lnTo>
                    <a:pt x="125659" y="90141"/>
                  </a:lnTo>
                  <a:lnTo>
                    <a:pt x="120620" y="89112"/>
                  </a:lnTo>
                  <a:lnTo>
                    <a:pt x="115515" y="87964"/>
                  </a:lnTo>
                  <a:lnTo>
                    <a:pt x="115226" y="89038"/>
                  </a:lnTo>
                  <a:lnTo>
                    <a:pt x="114492" y="89731"/>
                  </a:lnTo>
                  <a:lnTo>
                    <a:pt x="113389" y="89782"/>
                  </a:lnTo>
                  <a:lnTo>
                    <a:pt x="112621" y="89612"/>
                  </a:lnTo>
                  <a:lnTo>
                    <a:pt x="112109" y="90439"/>
                  </a:lnTo>
                  <a:lnTo>
                    <a:pt x="111265" y="91529"/>
                  </a:lnTo>
                  <a:lnTo>
                    <a:pt x="110081" y="92064"/>
                  </a:lnTo>
                  <a:lnTo>
                    <a:pt x="108922" y="92736"/>
                  </a:lnTo>
                  <a:lnTo>
                    <a:pt x="108269" y="93324"/>
                  </a:lnTo>
                  <a:lnTo>
                    <a:pt x="107797" y="93338"/>
                  </a:lnTo>
                  <a:lnTo>
                    <a:pt x="106627" y="91946"/>
                  </a:lnTo>
                  <a:lnTo>
                    <a:pt x="105076" y="91805"/>
                  </a:lnTo>
                  <a:lnTo>
                    <a:pt x="102171" y="92041"/>
                  </a:lnTo>
                  <a:lnTo>
                    <a:pt x="100869" y="91661"/>
                  </a:lnTo>
                  <a:lnTo>
                    <a:pt x="99085" y="91474"/>
                  </a:lnTo>
                  <a:lnTo>
                    <a:pt x="94881" y="91761"/>
                  </a:lnTo>
                  <a:lnTo>
                    <a:pt x="88156" y="91192"/>
                  </a:lnTo>
                  <a:lnTo>
                    <a:pt x="87057" y="91500"/>
                  </a:lnTo>
                  <a:lnTo>
                    <a:pt x="86765" y="91752"/>
                  </a:lnTo>
                  <a:lnTo>
                    <a:pt x="80110" y="91818"/>
                  </a:lnTo>
                  <a:lnTo>
                    <a:pt x="72784" y="91891"/>
                  </a:lnTo>
                  <a:lnTo>
                    <a:pt x="66654" y="91952"/>
                  </a:lnTo>
                  <a:lnTo>
                    <a:pt x="61292" y="92004"/>
                  </a:lnTo>
                  <a:lnTo>
                    <a:pt x="61282" y="91767"/>
                  </a:lnTo>
                  <a:lnTo>
                    <a:pt x="59561" y="91735"/>
                  </a:lnTo>
                  <a:lnTo>
                    <a:pt x="59370" y="92203"/>
                  </a:lnTo>
                  <a:lnTo>
                    <a:pt x="57850" y="97784"/>
                  </a:lnTo>
                  <a:lnTo>
                    <a:pt x="57683" y="100817"/>
                  </a:lnTo>
                  <a:lnTo>
                    <a:pt x="58489" y="102703"/>
                  </a:lnTo>
                  <a:lnTo>
                    <a:pt x="59400" y="103895"/>
                  </a:lnTo>
                  <a:lnTo>
                    <a:pt x="60418" y="104391"/>
                  </a:lnTo>
                  <a:lnTo>
                    <a:pt x="60519" y="105073"/>
                  </a:lnTo>
                  <a:lnTo>
                    <a:pt x="59705" y="105944"/>
                  </a:lnTo>
                  <a:lnTo>
                    <a:pt x="59774" y="106840"/>
                  </a:lnTo>
                  <a:lnTo>
                    <a:pt x="60729" y="107762"/>
                  </a:lnTo>
                  <a:lnTo>
                    <a:pt x="60964" y="108731"/>
                  </a:lnTo>
                  <a:lnTo>
                    <a:pt x="60478" y="109750"/>
                  </a:lnTo>
                  <a:lnTo>
                    <a:pt x="60594" y="112195"/>
                  </a:lnTo>
                  <a:lnTo>
                    <a:pt x="61313" y="116068"/>
                  </a:lnTo>
                  <a:lnTo>
                    <a:pt x="61333" y="118578"/>
                  </a:lnTo>
                  <a:lnTo>
                    <a:pt x="60654" y="119725"/>
                  </a:lnTo>
                  <a:lnTo>
                    <a:pt x="60976" y="121684"/>
                  </a:lnTo>
                  <a:lnTo>
                    <a:pt x="62297" y="124454"/>
                  </a:lnTo>
                  <a:lnTo>
                    <a:pt x="62526" y="125627"/>
                  </a:lnTo>
                  <a:lnTo>
                    <a:pt x="62054" y="126167"/>
                  </a:lnTo>
                  <a:lnTo>
                    <a:pt x="60961" y="126890"/>
                  </a:lnTo>
                  <a:lnTo>
                    <a:pt x="59853" y="126865"/>
                  </a:lnTo>
                  <a:lnTo>
                    <a:pt x="58562" y="125190"/>
                  </a:lnTo>
                  <a:lnTo>
                    <a:pt x="57992" y="124438"/>
                  </a:lnTo>
                  <a:lnTo>
                    <a:pt x="56947" y="122740"/>
                  </a:lnTo>
                  <a:lnTo>
                    <a:pt x="56060" y="121030"/>
                  </a:lnTo>
                  <a:lnTo>
                    <a:pt x="54858" y="120282"/>
                  </a:lnTo>
                  <a:lnTo>
                    <a:pt x="53682" y="119585"/>
                  </a:lnTo>
                  <a:lnTo>
                    <a:pt x="52247" y="117419"/>
                  </a:lnTo>
                  <a:lnTo>
                    <a:pt x="50858" y="116385"/>
                  </a:lnTo>
                  <a:lnTo>
                    <a:pt x="49395" y="116681"/>
                  </a:lnTo>
                  <a:lnTo>
                    <a:pt x="47259" y="116277"/>
                  </a:lnTo>
                  <a:lnTo>
                    <a:pt x="42950" y="115741"/>
                  </a:lnTo>
                  <a:lnTo>
                    <a:pt x="38318" y="115900"/>
                  </a:lnTo>
                  <a:lnTo>
                    <a:pt x="36394" y="116397"/>
                  </a:lnTo>
                  <a:lnTo>
                    <a:pt x="34496" y="117185"/>
                  </a:lnTo>
                  <a:lnTo>
                    <a:pt x="29683" y="118924"/>
                  </a:lnTo>
                  <a:lnTo>
                    <a:pt x="27781" y="119782"/>
                  </a:lnTo>
                  <a:lnTo>
                    <a:pt x="26342" y="121959"/>
                  </a:lnTo>
                  <a:lnTo>
                    <a:pt x="24707" y="121908"/>
                  </a:lnTo>
                  <a:lnTo>
                    <a:pt x="23069" y="121211"/>
                  </a:lnTo>
                  <a:lnTo>
                    <a:pt x="22044" y="120224"/>
                  </a:lnTo>
                  <a:lnTo>
                    <a:pt x="19850" y="120445"/>
                  </a:lnTo>
                  <a:lnTo>
                    <a:pt x="17728" y="119486"/>
                  </a:lnTo>
                  <a:lnTo>
                    <a:pt x="15679" y="117597"/>
                  </a:lnTo>
                  <a:lnTo>
                    <a:pt x="14170" y="116977"/>
                  </a:lnTo>
                  <a:lnTo>
                    <a:pt x="12242" y="115612"/>
                  </a:lnTo>
                  <a:lnTo>
                    <a:pt x="11708" y="113013"/>
                  </a:lnTo>
                  <a:lnTo>
                    <a:pt x="10486" y="111185"/>
                  </a:lnTo>
                  <a:lnTo>
                    <a:pt x="9368" y="108655"/>
                  </a:lnTo>
                  <a:lnTo>
                    <a:pt x="7700" y="107515"/>
                  </a:lnTo>
                  <a:lnTo>
                    <a:pt x="5776" y="106911"/>
                  </a:lnTo>
                  <a:lnTo>
                    <a:pt x="3124" y="107037"/>
                  </a:lnTo>
                  <a:lnTo>
                    <a:pt x="1377" y="106019"/>
                  </a:lnTo>
                  <a:lnTo>
                    <a:pt x="0" y="104534"/>
                  </a:lnTo>
                  <a:lnTo>
                    <a:pt x="365" y="103251"/>
                  </a:lnTo>
                  <a:lnTo>
                    <a:pt x="985" y="101426"/>
                  </a:lnTo>
                  <a:lnTo>
                    <a:pt x="1058" y="99663"/>
                  </a:lnTo>
                  <a:lnTo>
                    <a:pt x="1469" y="96813"/>
                  </a:lnTo>
                  <a:lnTo>
                    <a:pt x="1216" y="93241"/>
                  </a:lnTo>
                  <a:lnTo>
                    <a:pt x="731" y="90751"/>
                  </a:lnTo>
                  <a:lnTo>
                    <a:pt x="2196" y="89714"/>
                  </a:lnTo>
                  <a:lnTo>
                    <a:pt x="3894" y="88784"/>
                  </a:lnTo>
                  <a:lnTo>
                    <a:pt x="4946" y="87090"/>
                  </a:lnTo>
                  <a:lnTo>
                    <a:pt x="6043" y="83287"/>
                  </a:lnTo>
                  <a:lnTo>
                    <a:pt x="6504" y="80002"/>
                  </a:lnTo>
                  <a:lnTo>
                    <a:pt x="6164" y="78786"/>
                  </a:lnTo>
                  <a:lnTo>
                    <a:pt x="5599" y="77820"/>
                  </a:lnTo>
                  <a:lnTo>
                    <a:pt x="5152" y="76398"/>
                  </a:lnTo>
                  <a:lnTo>
                    <a:pt x="4899" y="74669"/>
                  </a:lnTo>
                  <a:lnTo>
                    <a:pt x="5205" y="73157"/>
                  </a:lnTo>
                  <a:lnTo>
                    <a:pt x="6487" y="71759"/>
                  </a:lnTo>
                  <a:lnTo>
                    <a:pt x="8093" y="70591"/>
                  </a:lnTo>
                  <a:lnTo>
                    <a:pt x="9235" y="70027"/>
                  </a:lnTo>
                  <a:lnTo>
                    <a:pt x="12262" y="69449"/>
                  </a:lnTo>
                  <a:lnTo>
                    <a:pt x="16044" y="68578"/>
                  </a:lnTo>
                  <a:lnTo>
                    <a:pt x="18225" y="67590"/>
                  </a:lnTo>
                  <a:lnTo>
                    <a:pt x="19819" y="66602"/>
                  </a:lnTo>
                  <a:lnTo>
                    <a:pt x="20711" y="65821"/>
                  </a:lnTo>
                  <a:lnTo>
                    <a:pt x="21614" y="64218"/>
                  </a:lnTo>
                  <a:lnTo>
                    <a:pt x="23077" y="62977"/>
                  </a:lnTo>
                  <a:lnTo>
                    <a:pt x="24209" y="61724"/>
                  </a:lnTo>
                  <a:lnTo>
                    <a:pt x="24366" y="58234"/>
                  </a:lnTo>
                  <a:lnTo>
                    <a:pt x="24359" y="56246"/>
                  </a:lnTo>
                  <a:lnTo>
                    <a:pt x="23520" y="55151"/>
                  </a:lnTo>
                  <a:lnTo>
                    <a:pt x="23061" y="54211"/>
                  </a:lnTo>
                  <a:lnTo>
                    <a:pt x="28667" y="51482"/>
                  </a:lnTo>
                  <a:lnTo>
                    <a:pt x="28708" y="49554"/>
                  </a:lnTo>
                  <a:lnTo>
                    <a:pt x="27925" y="47400"/>
                  </a:lnTo>
                  <a:lnTo>
                    <a:pt x="26828" y="45665"/>
                  </a:lnTo>
                  <a:lnTo>
                    <a:pt x="26420" y="44169"/>
                  </a:lnTo>
                  <a:lnTo>
                    <a:pt x="27969" y="42408"/>
                  </a:lnTo>
                  <a:lnTo>
                    <a:pt x="29350" y="41085"/>
                  </a:lnTo>
                  <a:lnTo>
                    <a:pt x="30349" y="39959"/>
                  </a:lnTo>
                  <a:lnTo>
                    <a:pt x="32557" y="38244"/>
                  </a:lnTo>
                  <a:lnTo>
                    <a:pt x="34853" y="37798"/>
                  </a:lnTo>
                  <a:lnTo>
                    <a:pt x="36929" y="38444"/>
                  </a:lnTo>
                  <a:lnTo>
                    <a:pt x="43069" y="42478"/>
                  </a:lnTo>
                  <a:lnTo>
                    <a:pt x="44133" y="42736"/>
                  </a:lnTo>
                  <a:lnTo>
                    <a:pt x="45410" y="42429"/>
                  </a:lnTo>
                  <a:lnTo>
                    <a:pt x="47028" y="41365"/>
                  </a:lnTo>
                  <a:lnTo>
                    <a:pt x="49128" y="40531"/>
                  </a:lnTo>
                  <a:lnTo>
                    <a:pt x="49902" y="37831"/>
                  </a:lnTo>
                  <a:lnTo>
                    <a:pt x="49827" y="33854"/>
                  </a:lnTo>
                  <a:lnTo>
                    <a:pt x="50303" y="32032"/>
                  </a:lnTo>
                  <a:lnTo>
                    <a:pt x="51413" y="31705"/>
                  </a:lnTo>
                  <a:lnTo>
                    <a:pt x="54946" y="32465"/>
                  </a:lnTo>
                  <a:lnTo>
                    <a:pt x="55862" y="32510"/>
                  </a:lnTo>
                  <a:lnTo>
                    <a:pt x="56888" y="32255"/>
                  </a:lnTo>
                  <a:lnTo>
                    <a:pt x="57634" y="31556"/>
                  </a:lnTo>
                  <a:lnTo>
                    <a:pt x="57603" y="30274"/>
                  </a:lnTo>
                  <a:lnTo>
                    <a:pt x="57440" y="29139"/>
                  </a:lnTo>
                  <a:lnTo>
                    <a:pt x="58588" y="25445"/>
                  </a:lnTo>
                  <a:lnTo>
                    <a:pt x="60691" y="22672"/>
                  </a:lnTo>
                  <a:lnTo>
                    <a:pt x="64939" y="19202"/>
                  </a:lnTo>
                  <a:lnTo>
                    <a:pt x="66262" y="18510"/>
                  </a:lnTo>
                  <a:lnTo>
                    <a:pt x="67803" y="18153"/>
                  </a:lnTo>
                  <a:lnTo>
                    <a:pt x="75409" y="20536"/>
                  </a:lnTo>
                  <a:lnTo>
                    <a:pt x="76650" y="19946"/>
                  </a:lnTo>
                  <a:lnTo>
                    <a:pt x="78509" y="14037"/>
                  </a:lnTo>
                  <a:lnTo>
                    <a:pt x="80571" y="13473"/>
                  </a:lnTo>
                  <a:lnTo>
                    <a:pt x="83048" y="13371"/>
                  </a:lnTo>
                  <a:lnTo>
                    <a:pt x="84655" y="12864"/>
                  </a:lnTo>
                  <a:lnTo>
                    <a:pt x="85490" y="12450"/>
                  </a:lnTo>
                  <a:lnTo>
                    <a:pt x="89109" y="10209"/>
                  </a:lnTo>
                  <a:lnTo>
                    <a:pt x="95492" y="7150"/>
                  </a:lnTo>
                  <a:lnTo>
                    <a:pt x="98929" y="5839"/>
                  </a:lnTo>
                  <a:lnTo>
                    <a:pt x="99601" y="5346"/>
                  </a:lnTo>
                  <a:lnTo>
                    <a:pt x="102060" y="3176"/>
                  </a:lnTo>
                  <a:lnTo>
                    <a:pt x="105322" y="681"/>
                  </a:lnTo>
                  <a:lnTo>
                    <a:pt x="107400" y="183"/>
                  </a:lnTo>
                  <a:lnTo>
                    <a:pt x="110273" y="0"/>
                  </a:lnTo>
                  <a:lnTo>
                    <a:pt x="112087" y="412"/>
                  </a:lnTo>
                  <a:lnTo>
                    <a:pt x="112578" y="1116"/>
                  </a:lnTo>
                  <a:lnTo>
                    <a:pt x="113172" y="1478"/>
                  </a:lnTo>
                  <a:lnTo>
                    <a:pt x="116921" y="417"/>
                  </a:lnTo>
                  <a:lnTo>
                    <a:pt x="122299" y="2104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86" name="ee4p_BW_1_82333">
              <a:extLst>
                <a:ext uri="{FF2B5EF4-FFF2-40B4-BE49-F238E27FC236}">
                  <a16:creationId xmlns:a16="http://schemas.microsoft.com/office/drawing/2014/main" id="{61B47C9E-42AD-137E-E38E-42CB06B2C33C}"/>
                </a:ext>
              </a:extLst>
            </p:cNvPr>
            <p:cNvSpPr>
              <a:spLocks noChangeAspect="1"/>
            </p:cNvSpPr>
            <p:nvPr>
              <p:custDataLst>
                <p:tags r:id="rId114"/>
              </p:custDataLst>
            </p:nvPr>
          </p:nvSpPr>
          <p:spPr>
            <a:xfrm>
              <a:off x="7069458" y="5190387"/>
              <a:ext cx="260687" cy="271939"/>
            </a:xfrm>
            <a:custGeom>
              <a:avLst/>
              <a:gdLst/>
              <a:ahLst/>
              <a:cxnLst/>
              <a:rect l="0" t="0" r="0" b="0"/>
              <a:pathLst>
                <a:path w="207579" h="210799">
                  <a:moveTo>
                    <a:pt x="116784" y="136"/>
                  </a:moveTo>
                  <a:lnTo>
                    <a:pt x="116348" y="1265"/>
                  </a:lnTo>
                  <a:lnTo>
                    <a:pt x="116015" y="2912"/>
                  </a:lnTo>
                  <a:lnTo>
                    <a:pt x="116419" y="4140"/>
                  </a:lnTo>
                  <a:lnTo>
                    <a:pt x="117307" y="5788"/>
                  </a:lnTo>
                  <a:lnTo>
                    <a:pt x="118585" y="7233"/>
                  </a:lnTo>
                  <a:lnTo>
                    <a:pt x="119561" y="8089"/>
                  </a:lnTo>
                  <a:lnTo>
                    <a:pt x="120719" y="10213"/>
                  </a:lnTo>
                  <a:lnTo>
                    <a:pt x="121880" y="12871"/>
                  </a:lnTo>
                  <a:lnTo>
                    <a:pt x="123407" y="14941"/>
                  </a:lnTo>
                  <a:lnTo>
                    <a:pt x="127894" y="19686"/>
                  </a:lnTo>
                  <a:lnTo>
                    <a:pt x="128391" y="21386"/>
                  </a:lnTo>
                  <a:lnTo>
                    <a:pt x="129015" y="23070"/>
                  </a:lnTo>
                  <a:lnTo>
                    <a:pt x="131833" y="26313"/>
                  </a:lnTo>
                  <a:lnTo>
                    <a:pt x="132271" y="27389"/>
                  </a:lnTo>
                  <a:lnTo>
                    <a:pt x="132083" y="29591"/>
                  </a:lnTo>
                  <a:lnTo>
                    <a:pt x="134986" y="36200"/>
                  </a:lnTo>
                  <a:lnTo>
                    <a:pt x="136890" y="40065"/>
                  </a:lnTo>
                  <a:lnTo>
                    <a:pt x="138503" y="40778"/>
                  </a:lnTo>
                  <a:lnTo>
                    <a:pt x="143668" y="44896"/>
                  </a:lnTo>
                  <a:lnTo>
                    <a:pt x="148171" y="48210"/>
                  </a:lnTo>
                  <a:lnTo>
                    <a:pt x="153444" y="50449"/>
                  </a:lnTo>
                  <a:lnTo>
                    <a:pt x="157316" y="51923"/>
                  </a:lnTo>
                  <a:lnTo>
                    <a:pt x="159227" y="52999"/>
                  </a:lnTo>
                  <a:lnTo>
                    <a:pt x="160183" y="54031"/>
                  </a:lnTo>
                  <a:lnTo>
                    <a:pt x="160963" y="56016"/>
                  </a:lnTo>
                  <a:lnTo>
                    <a:pt x="161358" y="59466"/>
                  </a:lnTo>
                  <a:lnTo>
                    <a:pt x="161494" y="61699"/>
                  </a:lnTo>
                  <a:lnTo>
                    <a:pt x="165655" y="61609"/>
                  </a:lnTo>
                  <a:lnTo>
                    <a:pt x="169097" y="61811"/>
                  </a:lnTo>
                  <a:lnTo>
                    <a:pt x="170307" y="62259"/>
                  </a:lnTo>
                  <a:lnTo>
                    <a:pt x="170756" y="62896"/>
                  </a:lnTo>
                  <a:lnTo>
                    <a:pt x="170650" y="64369"/>
                  </a:lnTo>
                  <a:lnTo>
                    <a:pt x="170697" y="66564"/>
                  </a:lnTo>
                  <a:lnTo>
                    <a:pt x="170859" y="68333"/>
                  </a:lnTo>
                  <a:lnTo>
                    <a:pt x="170501" y="70224"/>
                  </a:lnTo>
                  <a:lnTo>
                    <a:pt x="170255" y="72452"/>
                  </a:lnTo>
                  <a:lnTo>
                    <a:pt x="170089" y="75210"/>
                  </a:lnTo>
                  <a:lnTo>
                    <a:pt x="170620" y="76291"/>
                  </a:lnTo>
                  <a:lnTo>
                    <a:pt x="173952" y="79770"/>
                  </a:lnTo>
                  <a:lnTo>
                    <a:pt x="175351" y="82026"/>
                  </a:lnTo>
                  <a:lnTo>
                    <a:pt x="176837" y="85443"/>
                  </a:lnTo>
                  <a:lnTo>
                    <a:pt x="177709" y="86542"/>
                  </a:lnTo>
                  <a:lnTo>
                    <a:pt x="178407" y="86978"/>
                  </a:lnTo>
                  <a:lnTo>
                    <a:pt x="181415" y="87356"/>
                  </a:lnTo>
                  <a:lnTo>
                    <a:pt x="189163" y="88790"/>
                  </a:lnTo>
                  <a:lnTo>
                    <a:pt x="193932" y="90095"/>
                  </a:lnTo>
                  <a:lnTo>
                    <a:pt x="197726" y="91449"/>
                  </a:lnTo>
                  <a:lnTo>
                    <a:pt x="199305" y="91806"/>
                  </a:lnTo>
                  <a:lnTo>
                    <a:pt x="200076" y="92164"/>
                  </a:lnTo>
                  <a:lnTo>
                    <a:pt x="200335" y="92499"/>
                  </a:lnTo>
                  <a:lnTo>
                    <a:pt x="199860" y="95481"/>
                  </a:lnTo>
                  <a:lnTo>
                    <a:pt x="200026" y="96439"/>
                  </a:lnTo>
                  <a:lnTo>
                    <a:pt x="200448" y="97299"/>
                  </a:lnTo>
                  <a:lnTo>
                    <a:pt x="201091" y="97975"/>
                  </a:lnTo>
                  <a:lnTo>
                    <a:pt x="201873" y="98399"/>
                  </a:lnTo>
                  <a:lnTo>
                    <a:pt x="204755" y="98718"/>
                  </a:lnTo>
                  <a:lnTo>
                    <a:pt x="206481" y="100534"/>
                  </a:lnTo>
                  <a:lnTo>
                    <a:pt x="207578" y="101375"/>
                  </a:lnTo>
                  <a:lnTo>
                    <a:pt x="202382" y="101824"/>
                  </a:lnTo>
                  <a:lnTo>
                    <a:pt x="199808" y="103336"/>
                  </a:lnTo>
                  <a:lnTo>
                    <a:pt x="198312" y="106048"/>
                  </a:lnTo>
                  <a:lnTo>
                    <a:pt x="195969" y="108041"/>
                  </a:lnTo>
                  <a:lnTo>
                    <a:pt x="192777" y="109310"/>
                  </a:lnTo>
                  <a:lnTo>
                    <a:pt x="189402" y="110182"/>
                  </a:lnTo>
                  <a:lnTo>
                    <a:pt x="185839" y="110657"/>
                  </a:lnTo>
                  <a:lnTo>
                    <a:pt x="182045" y="112990"/>
                  </a:lnTo>
                  <a:lnTo>
                    <a:pt x="178016" y="117182"/>
                  </a:lnTo>
                  <a:lnTo>
                    <a:pt x="175962" y="119821"/>
                  </a:lnTo>
                  <a:lnTo>
                    <a:pt x="175880" y="120907"/>
                  </a:lnTo>
                  <a:lnTo>
                    <a:pt x="174977" y="121847"/>
                  </a:lnTo>
                  <a:lnTo>
                    <a:pt x="173254" y="122641"/>
                  </a:lnTo>
                  <a:lnTo>
                    <a:pt x="172280" y="123596"/>
                  </a:lnTo>
                  <a:lnTo>
                    <a:pt x="172054" y="124712"/>
                  </a:lnTo>
                  <a:lnTo>
                    <a:pt x="171136" y="125245"/>
                  </a:lnTo>
                  <a:lnTo>
                    <a:pt x="169523" y="125199"/>
                  </a:lnTo>
                  <a:lnTo>
                    <a:pt x="168391" y="126015"/>
                  </a:lnTo>
                  <a:lnTo>
                    <a:pt x="167739" y="127694"/>
                  </a:lnTo>
                  <a:lnTo>
                    <a:pt x="166314" y="128715"/>
                  </a:lnTo>
                  <a:lnTo>
                    <a:pt x="164114" y="129071"/>
                  </a:lnTo>
                  <a:lnTo>
                    <a:pt x="162215" y="130020"/>
                  </a:lnTo>
                  <a:lnTo>
                    <a:pt x="160620" y="131557"/>
                  </a:lnTo>
                  <a:lnTo>
                    <a:pt x="159389" y="132337"/>
                  </a:lnTo>
                  <a:lnTo>
                    <a:pt x="158523" y="132360"/>
                  </a:lnTo>
                  <a:lnTo>
                    <a:pt x="157178" y="133610"/>
                  </a:lnTo>
                  <a:lnTo>
                    <a:pt x="154999" y="136570"/>
                  </a:lnTo>
                  <a:lnTo>
                    <a:pt x="154636" y="137947"/>
                  </a:lnTo>
                  <a:lnTo>
                    <a:pt x="151639" y="149125"/>
                  </a:lnTo>
                  <a:lnTo>
                    <a:pt x="150004" y="150445"/>
                  </a:lnTo>
                  <a:lnTo>
                    <a:pt x="146834" y="152752"/>
                  </a:lnTo>
                  <a:lnTo>
                    <a:pt x="144265" y="155516"/>
                  </a:lnTo>
                  <a:lnTo>
                    <a:pt x="143163" y="157146"/>
                  </a:lnTo>
                  <a:lnTo>
                    <a:pt x="141956" y="157871"/>
                  </a:lnTo>
                  <a:lnTo>
                    <a:pt x="136067" y="159231"/>
                  </a:lnTo>
                  <a:lnTo>
                    <a:pt x="133878" y="159958"/>
                  </a:lnTo>
                  <a:lnTo>
                    <a:pt x="131230" y="161016"/>
                  </a:lnTo>
                  <a:lnTo>
                    <a:pt x="130561" y="161969"/>
                  </a:lnTo>
                  <a:lnTo>
                    <a:pt x="129911" y="165431"/>
                  </a:lnTo>
                  <a:lnTo>
                    <a:pt x="128086" y="170403"/>
                  </a:lnTo>
                  <a:lnTo>
                    <a:pt x="126599" y="174075"/>
                  </a:lnTo>
                  <a:lnTo>
                    <a:pt x="125638" y="177271"/>
                  </a:lnTo>
                  <a:lnTo>
                    <a:pt x="123971" y="181243"/>
                  </a:lnTo>
                  <a:lnTo>
                    <a:pt x="122519" y="182578"/>
                  </a:lnTo>
                  <a:lnTo>
                    <a:pt x="120872" y="183798"/>
                  </a:lnTo>
                  <a:lnTo>
                    <a:pt x="118717" y="184400"/>
                  </a:lnTo>
                  <a:lnTo>
                    <a:pt x="115780" y="184785"/>
                  </a:lnTo>
                  <a:lnTo>
                    <a:pt x="113107" y="184672"/>
                  </a:lnTo>
                  <a:lnTo>
                    <a:pt x="111038" y="184732"/>
                  </a:lnTo>
                  <a:lnTo>
                    <a:pt x="108170" y="186137"/>
                  </a:lnTo>
                  <a:lnTo>
                    <a:pt x="105493" y="186229"/>
                  </a:lnTo>
                  <a:lnTo>
                    <a:pt x="101241" y="185419"/>
                  </a:lnTo>
                  <a:lnTo>
                    <a:pt x="97799" y="184632"/>
                  </a:lnTo>
                  <a:lnTo>
                    <a:pt x="96259" y="184469"/>
                  </a:lnTo>
                  <a:lnTo>
                    <a:pt x="93216" y="181872"/>
                  </a:lnTo>
                  <a:lnTo>
                    <a:pt x="91260" y="181918"/>
                  </a:lnTo>
                  <a:lnTo>
                    <a:pt x="88276" y="181711"/>
                  </a:lnTo>
                  <a:lnTo>
                    <a:pt x="86600" y="181116"/>
                  </a:lnTo>
                  <a:lnTo>
                    <a:pt x="85046" y="179789"/>
                  </a:lnTo>
                  <a:lnTo>
                    <a:pt x="81668" y="177178"/>
                  </a:lnTo>
                  <a:lnTo>
                    <a:pt x="78369" y="175067"/>
                  </a:lnTo>
                  <a:lnTo>
                    <a:pt x="75445" y="173817"/>
                  </a:lnTo>
                  <a:lnTo>
                    <a:pt x="72720" y="173232"/>
                  </a:lnTo>
                  <a:lnTo>
                    <a:pt x="70126" y="173753"/>
                  </a:lnTo>
                  <a:lnTo>
                    <a:pt x="68109" y="174309"/>
                  </a:lnTo>
                  <a:lnTo>
                    <a:pt x="67325" y="174588"/>
                  </a:lnTo>
                  <a:lnTo>
                    <a:pt x="65760" y="175677"/>
                  </a:lnTo>
                  <a:lnTo>
                    <a:pt x="64158" y="177743"/>
                  </a:lnTo>
                  <a:lnTo>
                    <a:pt x="62834" y="180980"/>
                  </a:lnTo>
                  <a:lnTo>
                    <a:pt x="62329" y="182963"/>
                  </a:lnTo>
                  <a:lnTo>
                    <a:pt x="60845" y="187173"/>
                  </a:lnTo>
                  <a:lnTo>
                    <a:pt x="58883" y="192231"/>
                  </a:lnTo>
                  <a:lnTo>
                    <a:pt x="57941" y="193687"/>
                  </a:lnTo>
                  <a:lnTo>
                    <a:pt x="56857" y="194769"/>
                  </a:lnTo>
                  <a:lnTo>
                    <a:pt x="55138" y="195731"/>
                  </a:lnTo>
                  <a:lnTo>
                    <a:pt x="49537" y="199754"/>
                  </a:lnTo>
                  <a:lnTo>
                    <a:pt x="46736" y="204291"/>
                  </a:lnTo>
                  <a:lnTo>
                    <a:pt x="44967" y="205612"/>
                  </a:lnTo>
                  <a:lnTo>
                    <a:pt x="42836" y="206231"/>
                  </a:lnTo>
                  <a:lnTo>
                    <a:pt x="41037" y="206621"/>
                  </a:lnTo>
                  <a:lnTo>
                    <a:pt x="40044" y="207374"/>
                  </a:lnTo>
                  <a:lnTo>
                    <a:pt x="38934" y="209673"/>
                  </a:lnTo>
                  <a:lnTo>
                    <a:pt x="37975" y="210482"/>
                  </a:lnTo>
                  <a:lnTo>
                    <a:pt x="36904" y="210798"/>
                  </a:lnTo>
                  <a:lnTo>
                    <a:pt x="33700" y="210524"/>
                  </a:lnTo>
                  <a:lnTo>
                    <a:pt x="32674" y="210290"/>
                  </a:lnTo>
                  <a:lnTo>
                    <a:pt x="24183" y="210740"/>
                  </a:lnTo>
                  <a:lnTo>
                    <a:pt x="21594" y="210012"/>
                  </a:lnTo>
                  <a:lnTo>
                    <a:pt x="19759" y="209719"/>
                  </a:lnTo>
                  <a:lnTo>
                    <a:pt x="16861" y="210670"/>
                  </a:lnTo>
                  <a:lnTo>
                    <a:pt x="15649" y="210044"/>
                  </a:lnTo>
                  <a:lnTo>
                    <a:pt x="14684" y="208137"/>
                  </a:lnTo>
                  <a:lnTo>
                    <a:pt x="14209" y="204308"/>
                  </a:lnTo>
                  <a:lnTo>
                    <a:pt x="14360" y="201058"/>
                  </a:lnTo>
                  <a:lnTo>
                    <a:pt x="15932" y="198599"/>
                  </a:lnTo>
                  <a:lnTo>
                    <a:pt x="17241" y="196800"/>
                  </a:lnTo>
                  <a:lnTo>
                    <a:pt x="18523" y="194450"/>
                  </a:lnTo>
                  <a:lnTo>
                    <a:pt x="18692" y="193401"/>
                  </a:lnTo>
                  <a:lnTo>
                    <a:pt x="18435" y="192453"/>
                  </a:lnTo>
                  <a:lnTo>
                    <a:pt x="18178" y="190524"/>
                  </a:lnTo>
                  <a:lnTo>
                    <a:pt x="18040" y="188552"/>
                  </a:lnTo>
                  <a:lnTo>
                    <a:pt x="16217" y="184241"/>
                  </a:lnTo>
                  <a:lnTo>
                    <a:pt x="13974" y="178528"/>
                  </a:lnTo>
                  <a:lnTo>
                    <a:pt x="10963" y="172165"/>
                  </a:lnTo>
                  <a:lnTo>
                    <a:pt x="10024" y="170417"/>
                  </a:lnTo>
                  <a:lnTo>
                    <a:pt x="8134" y="167658"/>
                  </a:lnTo>
                  <a:lnTo>
                    <a:pt x="1134" y="162416"/>
                  </a:lnTo>
                  <a:lnTo>
                    <a:pt x="69" y="161705"/>
                  </a:lnTo>
                  <a:lnTo>
                    <a:pt x="69" y="161122"/>
                  </a:lnTo>
                  <a:lnTo>
                    <a:pt x="63" y="156043"/>
                  </a:lnTo>
                  <a:lnTo>
                    <a:pt x="56" y="149317"/>
                  </a:lnTo>
                  <a:lnTo>
                    <a:pt x="50" y="142602"/>
                  </a:lnTo>
                  <a:lnTo>
                    <a:pt x="43" y="135897"/>
                  </a:lnTo>
                  <a:lnTo>
                    <a:pt x="35" y="129201"/>
                  </a:lnTo>
                  <a:lnTo>
                    <a:pt x="26" y="122514"/>
                  </a:lnTo>
                  <a:lnTo>
                    <a:pt x="20" y="115836"/>
                  </a:lnTo>
                  <a:lnTo>
                    <a:pt x="13" y="109167"/>
                  </a:lnTo>
                  <a:lnTo>
                    <a:pt x="7" y="102504"/>
                  </a:lnTo>
                  <a:lnTo>
                    <a:pt x="0" y="96878"/>
                  </a:lnTo>
                  <a:lnTo>
                    <a:pt x="5042" y="96878"/>
                  </a:lnTo>
                  <a:lnTo>
                    <a:pt x="11281" y="96878"/>
                  </a:lnTo>
                  <a:lnTo>
                    <a:pt x="18694" y="96878"/>
                  </a:lnTo>
                  <a:lnTo>
                    <a:pt x="21972" y="96878"/>
                  </a:lnTo>
                  <a:lnTo>
                    <a:pt x="22160" y="95990"/>
                  </a:lnTo>
                  <a:lnTo>
                    <a:pt x="22156" y="91867"/>
                  </a:lnTo>
                  <a:lnTo>
                    <a:pt x="22142" y="82420"/>
                  </a:lnTo>
                  <a:lnTo>
                    <a:pt x="22130" y="72991"/>
                  </a:lnTo>
                  <a:lnTo>
                    <a:pt x="22115" y="63578"/>
                  </a:lnTo>
                  <a:lnTo>
                    <a:pt x="22101" y="54182"/>
                  </a:lnTo>
                  <a:lnTo>
                    <a:pt x="22086" y="44798"/>
                  </a:lnTo>
                  <a:lnTo>
                    <a:pt x="22074" y="35432"/>
                  </a:lnTo>
                  <a:lnTo>
                    <a:pt x="22060" y="26080"/>
                  </a:lnTo>
                  <a:lnTo>
                    <a:pt x="22045" y="16741"/>
                  </a:lnTo>
                  <a:lnTo>
                    <a:pt x="22041" y="12130"/>
                  </a:lnTo>
                  <a:lnTo>
                    <a:pt x="27755" y="11855"/>
                  </a:lnTo>
                  <a:lnTo>
                    <a:pt x="34326" y="10914"/>
                  </a:lnTo>
                  <a:lnTo>
                    <a:pt x="44978" y="9383"/>
                  </a:lnTo>
                  <a:lnTo>
                    <a:pt x="54898" y="7489"/>
                  </a:lnTo>
                  <a:lnTo>
                    <a:pt x="61370" y="6381"/>
                  </a:lnTo>
                  <a:lnTo>
                    <a:pt x="69047" y="5065"/>
                  </a:lnTo>
                  <a:lnTo>
                    <a:pt x="71688" y="4840"/>
                  </a:lnTo>
                  <a:lnTo>
                    <a:pt x="72400" y="5019"/>
                  </a:lnTo>
                  <a:lnTo>
                    <a:pt x="73441" y="5471"/>
                  </a:lnTo>
                  <a:lnTo>
                    <a:pt x="77004" y="10124"/>
                  </a:lnTo>
                  <a:lnTo>
                    <a:pt x="79224" y="13675"/>
                  </a:lnTo>
                  <a:lnTo>
                    <a:pt x="79675" y="15196"/>
                  </a:lnTo>
                  <a:lnTo>
                    <a:pt x="80098" y="15356"/>
                  </a:lnTo>
                  <a:lnTo>
                    <a:pt x="81148" y="15115"/>
                  </a:lnTo>
                  <a:lnTo>
                    <a:pt x="82327" y="14541"/>
                  </a:lnTo>
                  <a:lnTo>
                    <a:pt x="85948" y="11003"/>
                  </a:lnTo>
                  <a:lnTo>
                    <a:pt x="86702" y="10082"/>
                  </a:lnTo>
                  <a:lnTo>
                    <a:pt x="89008" y="8366"/>
                  </a:lnTo>
                  <a:lnTo>
                    <a:pt x="91809" y="6617"/>
                  </a:lnTo>
                  <a:lnTo>
                    <a:pt x="94344" y="5382"/>
                  </a:lnTo>
                  <a:lnTo>
                    <a:pt x="96888" y="4350"/>
                  </a:lnTo>
                  <a:lnTo>
                    <a:pt x="98064" y="4606"/>
                  </a:lnTo>
                  <a:lnTo>
                    <a:pt x="99451" y="5498"/>
                  </a:lnTo>
                  <a:lnTo>
                    <a:pt x="100682" y="6051"/>
                  </a:lnTo>
                  <a:lnTo>
                    <a:pt x="106466" y="1758"/>
                  </a:lnTo>
                  <a:lnTo>
                    <a:pt x="109052" y="770"/>
                  </a:lnTo>
                  <a:lnTo>
                    <a:pt x="115838" y="0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87" name="ee4p_CF_1_82333">
              <a:extLst>
                <a:ext uri="{FF2B5EF4-FFF2-40B4-BE49-F238E27FC236}">
                  <a16:creationId xmlns:a16="http://schemas.microsoft.com/office/drawing/2014/main" id="{AF687761-7E2A-8B2B-DD5D-69A909FB4817}"/>
                </a:ext>
              </a:extLst>
            </p:cNvPr>
            <p:cNvSpPr>
              <a:spLocks noChangeAspect="1"/>
            </p:cNvSpPr>
            <p:nvPr>
              <p:custDataLst>
                <p:tags r:id="rId115"/>
              </p:custDataLst>
            </p:nvPr>
          </p:nvSpPr>
          <p:spPr>
            <a:xfrm>
              <a:off x="6915444" y="4362776"/>
              <a:ext cx="360230" cy="250149"/>
            </a:xfrm>
            <a:custGeom>
              <a:avLst/>
              <a:gdLst/>
              <a:ahLst/>
              <a:cxnLst/>
              <a:rect l="0" t="0" r="0" b="0"/>
              <a:pathLst>
                <a:path w="286843" h="193908">
                  <a:moveTo>
                    <a:pt x="186381" y="1713"/>
                  </a:moveTo>
                  <a:lnTo>
                    <a:pt x="187945" y="4495"/>
                  </a:lnTo>
                  <a:lnTo>
                    <a:pt x="188688" y="5468"/>
                  </a:lnTo>
                  <a:lnTo>
                    <a:pt x="195133" y="12041"/>
                  </a:lnTo>
                  <a:lnTo>
                    <a:pt x="196381" y="13602"/>
                  </a:lnTo>
                  <a:lnTo>
                    <a:pt x="199573" y="18376"/>
                  </a:lnTo>
                  <a:lnTo>
                    <a:pt x="201527" y="21596"/>
                  </a:lnTo>
                  <a:lnTo>
                    <a:pt x="203766" y="26222"/>
                  </a:lnTo>
                  <a:lnTo>
                    <a:pt x="203987" y="28734"/>
                  </a:lnTo>
                  <a:lnTo>
                    <a:pt x="203689" y="30886"/>
                  </a:lnTo>
                  <a:lnTo>
                    <a:pt x="203244" y="36982"/>
                  </a:lnTo>
                  <a:lnTo>
                    <a:pt x="202656" y="38738"/>
                  </a:lnTo>
                  <a:lnTo>
                    <a:pt x="199830" y="42019"/>
                  </a:lnTo>
                  <a:lnTo>
                    <a:pt x="199709" y="43496"/>
                  </a:lnTo>
                  <a:lnTo>
                    <a:pt x="200290" y="44726"/>
                  </a:lnTo>
                  <a:lnTo>
                    <a:pt x="201151" y="45231"/>
                  </a:lnTo>
                  <a:lnTo>
                    <a:pt x="201678" y="45842"/>
                  </a:lnTo>
                  <a:lnTo>
                    <a:pt x="201357" y="48681"/>
                  </a:lnTo>
                  <a:lnTo>
                    <a:pt x="202372" y="49795"/>
                  </a:lnTo>
                  <a:lnTo>
                    <a:pt x="204496" y="50538"/>
                  </a:lnTo>
                  <a:lnTo>
                    <a:pt x="209862" y="51045"/>
                  </a:lnTo>
                  <a:lnTo>
                    <a:pt x="212652" y="51455"/>
                  </a:lnTo>
                  <a:lnTo>
                    <a:pt x="214846" y="52027"/>
                  </a:lnTo>
                  <a:lnTo>
                    <a:pt x="215896" y="52300"/>
                  </a:lnTo>
                  <a:lnTo>
                    <a:pt x="216472" y="53305"/>
                  </a:lnTo>
                  <a:lnTo>
                    <a:pt x="215567" y="56581"/>
                  </a:lnTo>
                  <a:lnTo>
                    <a:pt x="216196" y="58629"/>
                  </a:lnTo>
                  <a:lnTo>
                    <a:pt x="218031" y="60360"/>
                  </a:lnTo>
                  <a:lnTo>
                    <a:pt x="219891" y="61094"/>
                  </a:lnTo>
                  <a:lnTo>
                    <a:pt x="221672" y="61516"/>
                  </a:lnTo>
                  <a:lnTo>
                    <a:pt x="227878" y="62583"/>
                  </a:lnTo>
                  <a:lnTo>
                    <a:pt x="230456" y="63785"/>
                  </a:lnTo>
                  <a:lnTo>
                    <a:pt x="233860" y="67628"/>
                  </a:lnTo>
                  <a:lnTo>
                    <a:pt x="238131" y="71119"/>
                  </a:lnTo>
                  <a:lnTo>
                    <a:pt x="239169" y="72973"/>
                  </a:lnTo>
                  <a:lnTo>
                    <a:pt x="238977" y="74654"/>
                  </a:lnTo>
                  <a:lnTo>
                    <a:pt x="237710" y="76694"/>
                  </a:lnTo>
                  <a:lnTo>
                    <a:pt x="237904" y="77536"/>
                  </a:lnTo>
                  <a:lnTo>
                    <a:pt x="239867" y="79579"/>
                  </a:lnTo>
                  <a:lnTo>
                    <a:pt x="242117" y="81670"/>
                  </a:lnTo>
                  <a:lnTo>
                    <a:pt x="246229" y="83997"/>
                  </a:lnTo>
                  <a:lnTo>
                    <a:pt x="253357" y="87637"/>
                  </a:lnTo>
                  <a:lnTo>
                    <a:pt x="256619" y="90074"/>
                  </a:lnTo>
                  <a:lnTo>
                    <a:pt x="257734" y="91920"/>
                  </a:lnTo>
                  <a:lnTo>
                    <a:pt x="259556" y="93928"/>
                  </a:lnTo>
                  <a:lnTo>
                    <a:pt x="262104" y="95765"/>
                  </a:lnTo>
                  <a:lnTo>
                    <a:pt x="263812" y="97181"/>
                  </a:lnTo>
                  <a:lnTo>
                    <a:pt x="262636" y="101177"/>
                  </a:lnTo>
                  <a:lnTo>
                    <a:pt x="262990" y="102488"/>
                  </a:lnTo>
                  <a:lnTo>
                    <a:pt x="263624" y="103628"/>
                  </a:lnTo>
                  <a:lnTo>
                    <a:pt x="265110" y="105198"/>
                  </a:lnTo>
                  <a:lnTo>
                    <a:pt x="265706" y="107222"/>
                  </a:lnTo>
                  <a:lnTo>
                    <a:pt x="267183" y="109747"/>
                  </a:lnTo>
                  <a:lnTo>
                    <a:pt x="268939" y="110894"/>
                  </a:lnTo>
                  <a:lnTo>
                    <a:pt x="271874" y="111322"/>
                  </a:lnTo>
                  <a:lnTo>
                    <a:pt x="273424" y="112492"/>
                  </a:lnTo>
                  <a:lnTo>
                    <a:pt x="276648" y="114502"/>
                  </a:lnTo>
                  <a:lnTo>
                    <a:pt x="279768" y="116234"/>
                  </a:lnTo>
                  <a:lnTo>
                    <a:pt x="281107" y="117430"/>
                  </a:lnTo>
                  <a:lnTo>
                    <a:pt x="281932" y="118490"/>
                  </a:lnTo>
                  <a:lnTo>
                    <a:pt x="282642" y="119740"/>
                  </a:lnTo>
                  <a:lnTo>
                    <a:pt x="282990" y="120989"/>
                  </a:lnTo>
                  <a:lnTo>
                    <a:pt x="283065" y="123689"/>
                  </a:lnTo>
                  <a:lnTo>
                    <a:pt x="283601" y="127040"/>
                  </a:lnTo>
                  <a:lnTo>
                    <a:pt x="285275" y="129330"/>
                  </a:lnTo>
                  <a:lnTo>
                    <a:pt x="286842" y="131040"/>
                  </a:lnTo>
                  <a:lnTo>
                    <a:pt x="280466" y="129075"/>
                  </a:lnTo>
                  <a:lnTo>
                    <a:pt x="279513" y="129032"/>
                  </a:lnTo>
                  <a:lnTo>
                    <a:pt x="278380" y="129374"/>
                  </a:lnTo>
                  <a:lnTo>
                    <a:pt x="275052" y="131783"/>
                  </a:lnTo>
                  <a:lnTo>
                    <a:pt x="273990" y="132078"/>
                  </a:lnTo>
                  <a:lnTo>
                    <a:pt x="272785" y="131866"/>
                  </a:lnTo>
                  <a:lnTo>
                    <a:pt x="269800" y="131572"/>
                  </a:lnTo>
                  <a:lnTo>
                    <a:pt x="259649" y="129667"/>
                  </a:lnTo>
                  <a:lnTo>
                    <a:pt x="251830" y="127836"/>
                  </a:lnTo>
                  <a:lnTo>
                    <a:pt x="249485" y="127172"/>
                  </a:lnTo>
                  <a:lnTo>
                    <a:pt x="245311" y="126542"/>
                  </a:lnTo>
                  <a:lnTo>
                    <a:pt x="242549" y="127788"/>
                  </a:lnTo>
                  <a:lnTo>
                    <a:pt x="239960" y="132071"/>
                  </a:lnTo>
                  <a:lnTo>
                    <a:pt x="239213" y="132916"/>
                  </a:lnTo>
                  <a:lnTo>
                    <a:pt x="235142" y="134183"/>
                  </a:lnTo>
                  <a:lnTo>
                    <a:pt x="233222" y="133838"/>
                  </a:lnTo>
                  <a:lnTo>
                    <a:pt x="228515" y="135011"/>
                  </a:lnTo>
                  <a:lnTo>
                    <a:pt x="221253" y="133240"/>
                  </a:lnTo>
                  <a:lnTo>
                    <a:pt x="218660" y="133591"/>
                  </a:lnTo>
                  <a:lnTo>
                    <a:pt x="216623" y="134484"/>
                  </a:lnTo>
                  <a:lnTo>
                    <a:pt x="211404" y="136425"/>
                  </a:lnTo>
                  <a:lnTo>
                    <a:pt x="208236" y="137531"/>
                  </a:lnTo>
                  <a:lnTo>
                    <a:pt x="204552" y="138541"/>
                  </a:lnTo>
                  <a:lnTo>
                    <a:pt x="201054" y="140081"/>
                  </a:lnTo>
                  <a:lnTo>
                    <a:pt x="198700" y="140927"/>
                  </a:lnTo>
                  <a:lnTo>
                    <a:pt x="196394" y="140918"/>
                  </a:lnTo>
                  <a:lnTo>
                    <a:pt x="194315" y="140044"/>
                  </a:lnTo>
                  <a:lnTo>
                    <a:pt x="192039" y="139292"/>
                  </a:lnTo>
                  <a:lnTo>
                    <a:pt x="189318" y="139138"/>
                  </a:lnTo>
                  <a:lnTo>
                    <a:pt x="186481" y="139581"/>
                  </a:lnTo>
                  <a:lnTo>
                    <a:pt x="184075" y="141291"/>
                  </a:lnTo>
                  <a:lnTo>
                    <a:pt x="183101" y="142508"/>
                  </a:lnTo>
                  <a:lnTo>
                    <a:pt x="181011" y="145747"/>
                  </a:lnTo>
                  <a:lnTo>
                    <a:pt x="178545" y="151017"/>
                  </a:lnTo>
                  <a:lnTo>
                    <a:pt x="177575" y="152078"/>
                  </a:lnTo>
                  <a:lnTo>
                    <a:pt x="177308" y="152181"/>
                  </a:lnTo>
                  <a:lnTo>
                    <a:pt x="176698" y="152628"/>
                  </a:lnTo>
                  <a:lnTo>
                    <a:pt x="165334" y="149993"/>
                  </a:lnTo>
                  <a:lnTo>
                    <a:pt x="160443" y="149384"/>
                  </a:lnTo>
                  <a:lnTo>
                    <a:pt x="157139" y="150194"/>
                  </a:lnTo>
                  <a:lnTo>
                    <a:pt x="152995" y="148720"/>
                  </a:lnTo>
                  <a:lnTo>
                    <a:pt x="151185" y="148460"/>
                  </a:lnTo>
                  <a:lnTo>
                    <a:pt x="150332" y="148924"/>
                  </a:lnTo>
                  <a:lnTo>
                    <a:pt x="148028" y="148259"/>
                  </a:lnTo>
                  <a:lnTo>
                    <a:pt x="144273" y="146466"/>
                  </a:lnTo>
                  <a:lnTo>
                    <a:pt x="140673" y="145709"/>
                  </a:lnTo>
                  <a:lnTo>
                    <a:pt x="137456" y="145967"/>
                  </a:lnTo>
                  <a:lnTo>
                    <a:pt x="135480" y="145368"/>
                  </a:lnTo>
                  <a:lnTo>
                    <a:pt x="133897" y="143621"/>
                  </a:lnTo>
                  <a:lnTo>
                    <a:pt x="131841" y="140416"/>
                  </a:lnTo>
                  <a:lnTo>
                    <a:pt x="128145" y="137237"/>
                  </a:lnTo>
                  <a:lnTo>
                    <a:pt x="123191" y="134686"/>
                  </a:lnTo>
                  <a:lnTo>
                    <a:pt x="120099" y="132767"/>
                  </a:lnTo>
                  <a:lnTo>
                    <a:pt x="118862" y="131481"/>
                  </a:lnTo>
                  <a:lnTo>
                    <a:pt x="116197" y="130770"/>
                  </a:lnTo>
                  <a:lnTo>
                    <a:pt x="112105" y="130635"/>
                  </a:lnTo>
                  <a:lnTo>
                    <a:pt x="108179" y="131892"/>
                  </a:lnTo>
                  <a:lnTo>
                    <a:pt x="102543" y="135868"/>
                  </a:lnTo>
                  <a:lnTo>
                    <a:pt x="97307" y="144022"/>
                  </a:lnTo>
                  <a:lnTo>
                    <a:pt x="94391" y="147142"/>
                  </a:lnTo>
                  <a:lnTo>
                    <a:pt x="92053" y="147948"/>
                  </a:lnTo>
                  <a:lnTo>
                    <a:pt x="91463" y="149912"/>
                  </a:lnTo>
                  <a:lnTo>
                    <a:pt x="92623" y="153035"/>
                  </a:lnTo>
                  <a:lnTo>
                    <a:pt x="92927" y="156629"/>
                  </a:lnTo>
                  <a:lnTo>
                    <a:pt x="92109" y="162732"/>
                  </a:lnTo>
                  <a:lnTo>
                    <a:pt x="92411" y="167166"/>
                  </a:lnTo>
                  <a:lnTo>
                    <a:pt x="91161" y="166462"/>
                  </a:lnTo>
                  <a:lnTo>
                    <a:pt x="89967" y="164383"/>
                  </a:lnTo>
                  <a:lnTo>
                    <a:pt x="89405" y="163965"/>
                  </a:lnTo>
                  <a:lnTo>
                    <a:pt x="85950" y="164899"/>
                  </a:lnTo>
                  <a:lnTo>
                    <a:pt x="84158" y="165743"/>
                  </a:lnTo>
                  <a:lnTo>
                    <a:pt x="83204" y="166568"/>
                  </a:lnTo>
                  <a:lnTo>
                    <a:pt x="82474" y="166692"/>
                  </a:lnTo>
                  <a:lnTo>
                    <a:pt x="81377" y="165557"/>
                  </a:lnTo>
                  <a:lnTo>
                    <a:pt x="80513" y="165353"/>
                  </a:lnTo>
                  <a:lnTo>
                    <a:pt x="79153" y="165563"/>
                  </a:lnTo>
                  <a:lnTo>
                    <a:pt x="77764" y="165542"/>
                  </a:lnTo>
                  <a:lnTo>
                    <a:pt x="76861" y="165395"/>
                  </a:lnTo>
                  <a:lnTo>
                    <a:pt x="76270" y="165496"/>
                  </a:lnTo>
                  <a:lnTo>
                    <a:pt x="74639" y="164824"/>
                  </a:lnTo>
                  <a:lnTo>
                    <a:pt x="68693" y="163110"/>
                  </a:lnTo>
                  <a:lnTo>
                    <a:pt x="67673" y="162541"/>
                  </a:lnTo>
                  <a:lnTo>
                    <a:pt x="66488" y="162601"/>
                  </a:lnTo>
                  <a:lnTo>
                    <a:pt x="63402" y="164094"/>
                  </a:lnTo>
                  <a:lnTo>
                    <a:pt x="61772" y="164509"/>
                  </a:lnTo>
                  <a:lnTo>
                    <a:pt x="56859" y="165433"/>
                  </a:lnTo>
                  <a:lnTo>
                    <a:pt x="51592" y="165885"/>
                  </a:lnTo>
                  <a:lnTo>
                    <a:pt x="49580" y="165909"/>
                  </a:lnTo>
                  <a:lnTo>
                    <a:pt x="48196" y="166569"/>
                  </a:lnTo>
                  <a:lnTo>
                    <a:pt x="47304" y="167505"/>
                  </a:lnTo>
                  <a:lnTo>
                    <a:pt x="46699" y="169576"/>
                  </a:lnTo>
                  <a:lnTo>
                    <a:pt x="45665" y="173133"/>
                  </a:lnTo>
                  <a:lnTo>
                    <a:pt x="45233" y="174101"/>
                  </a:lnTo>
                  <a:lnTo>
                    <a:pt x="45306" y="175521"/>
                  </a:lnTo>
                  <a:lnTo>
                    <a:pt x="45000" y="177906"/>
                  </a:lnTo>
                  <a:lnTo>
                    <a:pt x="44853" y="180045"/>
                  </a:lnTo>
                  <a:lnTo>
                    <a:pt x="45052" y="181479"/>
                  </a:lnTo>
                  <a:lnTo>
                    <a:pt x="43564" y="184372"/>
                  </a:lnTo>
                  <a:lnTo>
                    <a:pt x="41758" y="187873"/>
                  </a:lnTo>
                  <a:lnTo>
                    <a:pt x="40258" y="190882"/>
                  </a:lnTo>
                  <a:lnTo>
                    <a:pt x="38746" y="193907"/>
                  </a:lnTo>
                  <a:lnTo>
                    <a:pt x="37701" y="191834"/>
                  </a:lnTo>
                  <a:lnTo>
                    <a:pt x="37051" y="189406"/>
                  </a:lnTo>
                  <a:lnTo>
                    <a:pt x="36803" y="186624"/>
                  </a:lnTo>
                  <a:lnTo>
                    <a:pt x="36943" y="185884"/>
                  </a:lnTo>
                  <a:lnTo>
                    <a:pt x="36537" y="185058"/>
                  </a:lnTo>
                  <a:lnTo>
                    <a:pt x="36507" y="184878"/>
                  </a:lnTo>
                  <a:lnTo>
                    <a:pt x="36001" y="182779"/>
                  </a:lnTo>
                  <a:lnTo>
                    <a:pt x="36513" y="181316"/>
                  </a:lnTo>
                  <a:lnTo>
                    <a:pt x="36094" y="179779"/>
                  </a:lnTo>
                  <a:lnTo>
                    <a:pt x="34872" y="178272"/>
                  </a:lnTo>
                  <a:lnTo>
                    <a:pt x="33762" y="177120"/>
                  </a:lnTo>
                  <a:lnTo>
                    <a:pt x="33114" y="176078"/>
                  </a:lnTo>
                  <a:lnTo>
                    <a:pt x="32587" y="175634"/>
                  </a:lnTo>
                  <a:lnTo>
                    <a:pt x="31359" y="175474"/>
                  </a:lnTo>
                  <a:lnTo>
                    <a:pt x="29715" y="174941"/>
                  </a:lnTo>
                  <a:lnTo>
                    <a:pt x="27539" y="172672"/>
                  </a:lnTo>
                  <a:lnTo>
                    <a:pt x="25423" y="170467"/>
                  </a:lnTo>
                  <a:lnTo>
                    <a:pt x="22715" y="167644"/>
                  </a:lnTo>
                  <a:lnTo>
                    <a:pt x="20542" y="165202"/>
                  </a:lnTo>
                  <a:lnTo>
                    <a:pt x="17882" y="162213"/>
                  </a:lnTo>
                  <a:lnTo>
                    <a:pt x="15425" y="159450"/>
                  </a:lnTo>
                  <a:lnTo>
                    <a:pt x="13952" y="156786"/>
                  </a:lnTo>
                  <a:lnTo>
                    <a:pt x="13349" y="155255"/>
                  </a:lnTo>
                  <a:lnTo>
                    <a:pt x="14069" y="155108"/>
                  </a:lnTo>
                  <a:lnTo>
                    <a:pt x="15131" y="155075"/>
                  </a:lnTo>
                  <a:lnTo>
                    <a:pt x="15582" y="154799"/>
                  </a:lnTo>
                  <a:lnTo>
                    <a:pt x="15606" y="154086"/>
                  </a:lnTo>
                  <a:lnTo>
                    <a:pt x="14514" y="151985"/>
                  </a:lnTo>
                  <a:lnTo>
                    <a:pt x="13985" y="149307"/>
                  </a:lnTo>
                  <a:lnTo>
                    <a:pt x="13082" y="147675"/>
                  </a:lnTo>
                  <a:lnTo>
                    <a:pt x="10225" y="145164"/>
                  </a:lnTo>
                  <a:lnTo>
                    <a:pt x="7502" y="143254"/>
                  </a:lnTo>
                  <a:lnTo>
                    <a:pt x="6636" y="142272"/>
                  </a:lnTo>
                  <a:lnTo>
                    <a:pt x="6144" y="140872"/>
                  </a:lnTo>
                  <a:lnTo>
                    <a:pt x="5099" y="132008"/>
                  </a:lnTo>
                  <a:lnTo>
                    <a:pt x="4632" y="129491"/>
                  </a:lnTo>
                  <a:lnTo>
                    <a:pt x="3773" y="128388"/>
                  </a:lnTo>
                  <a:lnTo>
                    <a:pt x="3148" y="127881"/>
                  </a:lnTo>
                  <a:lnTo>
                    <a:pt x="2916" y="127255"/>
                  </a:lnTo>
                  <a:lnTo>
                    <a:pt x="3028" y="125678"/>
                  </a:lnTo>
                  <a:lnTo>
                    <a:pt x="3388" y="124266"/>
                  </a:lnTo>
                  <a:lnTo>
                    <a:pt x="3371" y="123713"/>
                  </a:lnTo>
                  <a:lnTo>
                    <a:pt x="4107" y="122475"/>
                  </a:lnTo>
                  <a:lnTo>
                    <a:pt x="4107" y="114276"/>
                  </a:lnTo>
                  <a:lnTo>
                    <a:pt x="3708" y="113857"/>
                  </a:lnTo>
                  <a:lnTo>
                    <a:pt x="3231" y="113147"/>
                  </a:lnTo>
                  <a:lnTo>
                    <a:pt x="2462" y="113201"/>
                  </a:lnTo>
                  <a:lnTo>
                    <a:pt x="1592" y="113127"/>
                  </a:lnTo>
                  <a:lnTo>
                    <a:pt x="724" y="111933"/>
                  </a:lnTo>
                  <a:lnTo>
                    <a:pt x="0" y="110424"/>
                  </a:lnTo>
                  <a:lnTo>
                    <a:pt x="212" y="109359"/>
                  </a:lnTo>
                  <a:lnTo>
                    <a:pt x="970" y="108469"/>
                  </a:lnTo>
                  <a:lnTo>
                    <a:pt x="1790" y="107690"/>
                  </a:lnTo>
                  <a:lnTo>
                    <a:pt x="2836" y="107040"/>
                  </a:lnTo>
                  <a:lnTo>
                    <a:pt x="5934" y="105729"/>
                  </a:lnTo>
                  <a:lnTo>
                    <a:pt x="6813" y="105074"/>
                  </a:lnTo>
                  <a:lnTo>
                    <a:pt x="7362" y="104262"/>
                  </a:lnTo>
                  <a:lnTo>
                    <a:pt x="7722" y="103166"/>
                  </a:lnTo>
                  <a:lnTo>
                    <a:pt x="9525" y="98948"/>
                  </a:lnTo>
                  <a:lnTo>
                    <a:pt x="12196" y="94737"/>
                  </a:lnTo>
                  <a:lnTo>
                    <a:pt x="13343" y="93868"/>
                  </a:lnTo>
                  <a:lnTo>
                    <a:pt x="14488" y="91081"/>
                  </a:lnTo>
                  <a:lnTo>
                    <a:pt x="16053" y="87667"/>
                  </a:lnTo>
                  <a:lnTo>
                    <a:pt x="16688" y="86082"/>
                  </a:lnTo>
                  <a:lnTo>
                    <a:pt x="17150" y="84498"/>
                  </a:lnTo>
                  <a:lnTo>
                    <a:pt x="18016" y="83222"/>
                  </a:lnTo>
                  <a:lnTo>
                    <a:pt x="20961" y="81120"/>
                  </a:lnTo>
                  <a:lnTo>
                    <a:pt x="23194" y="77438"/>
                  </a:lnTo>
                  <a:lnTo>
                    <a:pt x="25608" y="77632"/>
                  </a:lnTo>
                  <a:lnTo>
                    <a:pt x="28085" y="78224"/>
                  </a:lnTo>
                  <a:lnTo>
                    <a:pt x="31264" y="78516"/>
                  </a:lnTo>
                  <a:lnTo>
                    <a:pt x="33754" y="77798"/>
                  </a:lnTo>
                  <a:lnTo>
                    <a:pt x="35369" y="76363"/>
                  </a:lnTo>
                  <a:lnTo>
                    <a:pt x="38917" y="75222"/>
                  </a:lnTo>
                  <a:lnTo>
                    <a:pt x="43069" y="73885"/>
                  </a:lnTo>
                  <a:lnTo>
                    <a:pt x="43633" y="71910"/>
                  </a:lnTo>
                  <a:lnTo>
                    <a:pt x="44849" y="70872"/>
                  </a:lnTo>
                  <a:lnTo>
                    <a:pt x="46261" y="69961"/>
                  </a:lnTo>
                  <a:lnTo>
                    <a:pt x="46749" y="69838"/>
                  </a:lnTo>
                  <a:lnTo>
                    <a:pt x="46857" y="70497"/>
                  </a:lnTo>
                  <a:lnTo>
                    <a:pt x="47714" y="72555"/>
                  </a:lnTo>
                  <a:lnTo>
                    <a:pt x="49470" y="74592"/>
                  </a:lnTo>
                  <a:lnTo>
                    <a:pt x="52044" y="76833"/>
                  </a:lnTo>
                  <a:lnTo>
                    <a:pt x="52782" y="76692"/>
                  </a:lnTo>
                  <a:lnTo>
                    <a:pt x="54378" y="74994"/>
                  </a:lnTo>
                  <a:lnTo>
                    <a:pt x="58394" y="73946"/>
                  </a:lnTo>
                  <a:lnTo>
                    <a:pt x="59411" y="73477"/>
                  </a:lnTo>
                  <a:lnTo>
                    <a:pt x="62264" y="71006"/>
                  </a:lnTo>
                  <a:lnTo>
                    <a:pt x="65695" y="69414"/>
                  </a:lnTo>
                  <a:lnTo>
                    <a:pt x="66453" y="69272"/>
                  </a:lnTo>
                  <a:lnTo>
                    <a:pt x="67697" y="68852"/>
                  </a:lnTo>
                  <a:lnTo>
                    <a:pt x="71163" y="67210"/>
                  </a:lnTo>
                  <a:lnTo>
                    <a:pt x="73627" y="67428"/>
                  </a:lnTo>
                  <a:lnTo>
                    <a:pt x="77591" y="67169"/>
                  </a:lnTo>
                  <a:lnTo>
                    <a:pt x="84197" y="66392"/>
                  </a:lnTo>
                  <a:lnTo>
                    <a:pt x="88978" y="66132"/>
                  </a:lnTo>
                  <a:lnTo>
                    <a:pt x="91390" y="65824"/>
                  </a:lnTo>
                  <a:lnTo>
                    <a:pt x="91997" y="65493"/>
                  </a:lnTo>
                  <a:lnTo>
                    <a:pt x="92925" y="63113"/>
                  </a:lnTo>
                  <a:lnTo>
                    <a:pt x="93646" y="62445"/>
                  </a:lnTo>
                  <a:lnTo>
                    <a:pt x="95443" y="61420"/>
                  </a:lnTo>
                  <a:lnTo>
                    <a:pt x="98958" y="57829"/>
                  </a:lnTo>
                  <a:lnTo>
                    <a:pt x="101267" y="54798"/>
                  </a:lnTo>
                  <a:lnTo>
                    <a:pt x="101908" y="53780"/>
                  </a:lnTo>
                  <a:lnTo>
                    <a:pt x="101964" y="53705"/>
                  </a:lnTo>
                  <a:lnTo>
                    <a:pt x="102439" y="53515"/>
                  </a:lnTo>
                  <a:lnTo>
                    <a:pt x="103431" y="52238"/>
                  </a:lnTo>
                  <a:lnTo>
                    <a:pt x="102446" y="50917"/>
                  </a:lnTo>
                  <a:lnTo>
                    <a:pt x="98507" y="48230"/>
                  </a:lnTo>
                  <a:lnTo>
                    <a:pt x="98563" y="47864"/>
                  </a:lnTo>
                  <a:lnTo>
                    <a:pt x="98336" y="47402"/>
                  </a:lnTo>
                  <a:lnTo>
                    <a:pt x="98557" y="47034"/>
                  </a:lnTo>
                  <a:lnTo>
                    <a:pt x="100060" y="45939"/>
                  </a:lnTo>
                  <a:lnTo>
                    <a:pt x="102085" y="44687"/>
                  </a:lnTo>
                  <a:lnTo>
                    <a:pt x="104245" y="44221"/>
                  </a:lnTo>
                  <a:lnTo>
                    <a:pt x="109878" y="44317"/>
                  </a:lnTo>
                  <a:lnTo>
                    <a:pt x="114681" y="44051"/>
                  </a:lnTo>
                  <a:lnTo>
                    <a:pt x="115806" y="44111"/>
                  </a:lnTo>
                  <a:lnTo>
                    <a:pt x="119550" y="43476"/>
                  </a:lnTo>
                  <a:lnTo>
                    <a:pt x="122111" y="42901"/>
                  </a:lnTo>
                  <a:lnTo>
                    <a:pt x="124746" y="41607"/>
                  </a:lnTo>
                  <a:lnTo>
                    <a:pt x="130703" y="41743"/>
                  </a:lnTo>
                  <a:lnTo>
                    <a:pt x="135674" y="38447"/>
                  </a:lnTo>
                  <a:lnTo>
                    <a:pt x="137102" y="37858"/>
                  </a:lnTo>
                  <a:lnTo>
                    <a:pt x="137726" y="37342"/>
                  </a:lnTo>
                  <a:lnTo>
                    <a:pt x="137914" y="36837"/>
                  </a:lnTo>
                  <a:lnTo>
                    <a:pt x="140237" y="35532"/>
                  </a:lnTo>
                  <a:lnTo>
                    <a:pt x="142841" y="32822"/>
                  </a:lnTo>
                  <a:lnTo>
                    <a:pt x="144901" y="30387"/>
                  </a:lnTo>
                  <a:lnTo>
                    <a:pt x="145461" y="28670"/>
                  </a:lnTo>
                  <a:lnTo>
                    <a:pt x="151086" y="22835"/>
                  </a:lnTo>
                  <a:lnTo>
                    <a:pt x="153045" y="22957"/>
                  </a:lnTo>
                  <a:lnTo>
                    <a:pt x="154007" y="22237"/>
                  </a:lnTo>
                  <a:lnTo>
                    <a:pt x="156238" y="18345"/>
                  </a:lnTo>
                  <a:lnTo>
                    <a:pt x="156927" y="17627"/>
                  </a:lnTo>
                  <a:lnTo>
                    <a:pt x="157983" y="17387"/>
                  </a:lnTo>
                  <a:lnTo>
                    <a:pt x="159242" y="16946"/>
                  </a:lnTo>
                  <a:lnTo>
                    <a:pt x="160347" y="15794"/>
                  </a:lnTo>
                  <a:lnTo>
                    <a:pt x="161300" y="14080"/>
                  </a:lnTo>
                  <a:lnTo>
                    <a:pt x="161309" y="11956"/>
                  </a:lnTo>
                  <a:lnTo>
                    <a:pt x="160874" y="10251"/>
                  </a:lnTo>
                  <a:lnTo>
                    <a:pt x="160874" y="9426"/>
                  </a:lnTo>
                  <a:lnTo>
                    <a:pt x="161408" y="8668"/>
                  </a:lnTo>
                  <a:lnTo>
                    <a:pt x="162310" y="7905"/>
                  </a:lnTo>
                  <a:lnTo>
                    <a:pt x="166586" y="5807"/>
                  </a:lnTo>
                  <a:lnTo>
                    <a:pt x="167668" y="4792"/>
                  </a:lnTo>
                  <a:lnTo>
                    <a:pt x="168318" y="3882"/>
                  </a:lnTo>
                  <a:lnTo>
                    <a:pt x="169512" y="3718"/>
                  </a:lnTo>
                  <a:lnTo>
                    <a:pt x="170818" y="3807"/>
                  </a:lnTo>
                  <a:lnTo>
                    <a:pt x="171646" y="3241"/>
                  </a:lnTo>
                  <a:lnTo>
                    <a:pt x="172580" y="2284"/>
                  </a:lnTo>
                  <a:lnTo>
                    <a:pt x="175541" y="1001"/>
                  </a:lnTo>
                  <a:lnTo>
                    <a:pt x="178283" y="0"/>
                  </a:lnTo>
                  <a:lnTo>
                    <a:pt x="181162" y="423"/>
                  </a:lnTo>
                  <a:lnTo>
                    <a:pt x="183509" y="944"/>
                  </a:lnTo>
                  <a:lnTo>
                    <a:pt x="185437" y="1545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88" name="ee4p_CI_1_82333">
              <a:extLst>
                <a:ext uri="{FF2B5EF4-FFF2-40B4-BE49-F238E27FC236}">
                  <a16:creationId xmlns:a16="http://schemas.microsoft.com/office/drawing/2014/main" id="{7BA21F8A-490E-DCDF-C890-FE9B232C6E76}"/>
                </a:ext>
              </a:extLst>
            </p:cNvPr>
            <p:cNvSpPr>
              <a:spLocks noChangeAspect="1"/>
            </p:cNvSpPr>
            <p:nvPr>
              <p:custDataLst>
                <p:tags r:id="rId116"/>
              </p:custDataLst>
            </p:nvPr>
          </p:nvSpPr>
          <p:spPr>
            <a:xfrm>
              <a:off x="6275785" y="4370630"/>
              <a:ext cx="169329" cy="182859"/>
            </a:xfrm>
            <a:custGeom>
              <a:avLst/>
              <a:gdLst>
                <a:gd name="connsiteX0" fmla="*/ 319162 w 361156"/>
                <a:gd name="connsiteY0" fmla="*/ 332431 h 379676"/>
                <a:gd name="connsiteX1" fmla="*/ 326753 w 361156"/>
                <a:gd name="connsiteY1" fmla="*/ 333553 h 379676"/>
                <a:gd name="connsiteX2" fmla="*/ 325138 w 361156"/>
                <a:gd name="connsiteY2" fmla="*/ 335907 h 379676"/>
                <a:gd name="connsiteX3" fmla="*/ 317295 w 361156"/>
                <a:gd name="connsiteY3" fmla="*/ 334400 h 379676"/>
                <a:gd name="connsiteX4" fmla="*/ 138738 w 361156"/>
                <a:gd name="connsiteY4" fmla="*/ 0 h 379676"/>
                <a:gd name="connsiteX5" fmla="*/ 139384 w 361156"/>
                <a:gd name="connsiteY5" fmla="*/ 370 h 379676"/>
                <a:gd name="connsiteX6" fmla="*/ 140543 w 361156"/>
                <a:gd name="connsiteY6" fmla="*/ 7580 h 379676"/>
                <a:gd name="connsiteX7" fmla="*/ 140005 w 361156"/>
                <a:gd name="connsiteY7" fmla="*/ 9940 h 379676"/>
                <a:gd name="connsiteX8" fmla="*/ 141307 w 361156"/>
                <a:gd name="connsiteY8" fmla="*/ 14839 h 379676"/>
                <a:gd name="connsiteX9" fmla="*/ 142911 w 361156"/>
                <a:gd name="connsiteY9" fmla="*/ 19387 h 379676"/>
                <a:gd name="connsiteX10" fmla="*/ 142796 w 361156"/>
                <a:gd name="connsiteY10" fmla="*/ 21236 h 379676"/>
                <a:gd name="connsiteX11" fmla="*/ 141470 w 361156"/>
                <a:gd name="connsiteY11" fmla="*/ 24053 h 379676"/>
                <a:gd name="connsiteX12" fmla="*/ 139914 w 361156"/>
                <a:gd name="connsiteY12" fmla="*/ 26636 h 379676"/>
                <a:gd name="connsiteX13" fmla="*/ 140085 w 361156"/>
                <a:gd name="connsiteY13" fmla="*/ 27688 h 379676"/>
                <a:gd name="connsiteX14" fmla="*/ 142544 w 361156"/>
                <a:gd name="connsiteY14" fmla="*/ 29451 h 379676"/>
                <a:gd name="connsiteX15" fmla="*/ 147264 w 361156"/>
                <a:gd name="connsiteY15" fmla="*/ 31261 h 379676"/>
                <a:gd name="connsiteX16" fmla="*/ 152158 w 361156"/>
                <a:gd name="connsiteY16" fmla="*/ 31685 h 379676"/>
                <a:gd name="connsiteX17" fmla="*/ 154876 w 361156"/>
                <a:gd name="connsiteY17" fmla="*/ 29036 h 379676"/>
                <a:gd name="connsiteX18" fmla="*/ 157718 w 361156"/>
                <a:gd name="connsiteY18" fmla="*/ 26882 h 379676"/>
                <a:gd name="connsiteX19" fmla="*/ 159679 w 361156"/>
                <a:gd name="connsiteY19" fmla="*/ 24959 h 379676"/>
                <a:gd name="connsiteX20" fmla="*/ 160354 w 361156"/>
                <a:gd name="connsiteY20" fmla="*/ 22114 h 379676"/>
                <a:gd name="connsiteX21" fmla="*/ 163453 w 361156"/>
                <a:gd name="connsiteY21" fmla="*/ 20030 h 379676"/>
                <a:gd name="connsiteX22" fmla="*/ 172311 w 361156"/>
                <a:gd name="connsiteY22" fmla="*/ 17419 h 379676"/>
                <a:gd name="connsiteX23" fmla="*/ 180467 w 361156"/>
                <a:gd name="connsiteY23" fmla="*/ 17014 h 379676"/>
                <a:gd name="connsiteX24" fmla="*/ 182425 w 361156"/>
                <a:gd name="connsiteY24" fmla="*/ 17847 h 379676"/>
                <a:gd name="connsiteX25" fmla="*/ 186114 w 361156"/>
                <a:gd name="connsiteY25" fmla="*/ 21825 h 379676"/>
                <a:gd name="connsiteX26" fmla="*/ 190793 w 361156"/>
                <a:gd name="connsiteY26" fmla="*/ 24552 h 379676"/>
                <a:gd name="connsiteX27" fmla="*/ 197896 w 361156"/>
                <a:gd name="connsiteY27" fmla="*/ 24214 h 379676"/>
                <a:gd name="connsiteX28" fmla="*/ 203050 w 361156"/>
                <a:gd name="connsiteY28" fmla="*/ 25832 h 379676"/>
                <a:gd name="connsiteX29" fmla="*/ 207518 w 361156"/>
                <a:gd name="connsiteY29" fmla="*/ 28886 h 379676"/>
                <a:gd name="connsiteX30" fmla="*/ 210512 w 361156"/>
                <a:gd name="connsiteY30" fmla="*/ 35662 h 379676"/>
                <a:gd name="connsiteX31" fmla="*/ 213786 w 361156"/>
                <a:gd name="connsiteY31" fmla="*/ 40559 h 379676"/>
                <a:gd name="connsiteX32" fmla="*/ 215216 w 361156"/>
                <a:gd name="connsiteY32" fmla="*/ 47520 h 379676"/>
                <a:gd name="connsiteX33" fmla="*/ 220380 w 361156"/>
                <a:gd name="connsiteY33" fmla="*/ 51176 h 379676"/>
                <a:gd name="connsiteX34" fmla="*/ 224422 w 361156"/>
                <a:gd name="connsiteY34" fmla="*/ 52837 h 379676"/>
                <a:gd name="connsiteX35" fmla="*/ 229910 w 361156"/>
                <a:gd name="connsiteY35" fmla="*/ 57897 h 379676"/>
                <a:gd name="connsiteX36" fmla="*/ 235594 w 361156"/>
                <a:gd name="connsiteY36" fmla="*/ 60466 h 379676"/>
                <a:gd name="connsiteX37" fmla="*/ 241471 w 361156"/>
                <a:gd name="connsiteY37" fmla="*/ 59874 h 379676"/>
                <a:gd name="connsiteX38" fmla="*/ 244217 w 361156"/>
                <a:gd name="connsiteY38" fmla="*/ 62517 h 379676"/>
                <a:gd name="connsiteX39" fmla="*/ 248604 w 361156"/>
                <a:gd name="connsiteY39" fmla="*/ 64384 h 379676"/>
                <a:gd name="connsiteX40" fmla="*/ 252983 w 361156"/>
                <a:gd name="connsiteY40" fmla="*/ 64521 h 379676"/>
                <a:gd name="connsiteX41" fmla="*/ 256838 w 361156"/>
                <a:gd name="connsiteY41" fmla="*/ 58690 h 379676"/>
                <a:gd name="connsiteX42" fmla="*/ 261932 w 361156"/>
                <a:gd name="connsiteY42" fmla="*/ 56392 h 379676"/>
                <a:gd name="connsiteX43" fmla="*/ 274824 w 361156"/>
                <a:gd name="connsiteY43" fmla="*/ 51734 h 379676"/>
                <a:gd name="connsiteX44" fmla="*/ 279908 w 361156"/>
                <a:gd name="connsiteY44" fmla="*/ 49623 h 379676"/>
                <a:gd name="connsiteX45" fmla="*/ 285062 w 361156"/>
                <a:gd name="connsiteY45" fmla="*/ 48292 h 379676"/>
                <a:gd name="connsiteX46" fmla="*/ 297469 w 361156"/>
                <a:gd name="connsiteY46" fmla="*/ 47866 h 379676"/>
                <a:gd name="connsiteX47" fmla="*/ 309011 w 361156"/>
                <a:gd name="connsiteY47" fmla="*/ 49302 h 379676"/>
                <a:gd name="connsiteX48" fmla="*/ 314732 w 361156"/>
                <a:gd name="connsiteY48" fmla="*/ 50384 h 379676"/>
                <a:gd name="connsiteX49" fmla="*/ 318651 w 361156"/>
                <a:gd name="connsiteY49" fmla="*/ 49591 h 379676"/>
                <a:gd name="connsiteX50" fmla="*/ 322371 w 361156"/>
                <a:gd name="connsiteY50" fmla="*/ 52360 h 379676"/>
                <a:gd name="connsiteX51" fmla="*/ 326215 w 361156"/>
                <a:gd name="connsiteY51" fmla="*/ 58162 h 379676"/>
                <a:gd name="connsiteX52" fmla="*/ 329365 w 361156"/>
                <a:gd name="connsiteY52" fmla="*/ 60029 h 379676"/>
                <a:gd name="connsiteX53" fmla="*/ 332584 w 361156"/>
                <a:gd name="connsiteY53" fmla="*/ 62033 h 379676"/>
                <a:gd name="connsiteX54" fmla="*/ 334960 w 361156"/>
                <a:gd name="connsiteY54" fmla="*/ 66613 h 379676"/>
                <a:gd name="connsiteX55" fmla="*/ 337759 w 361156"/>
                <a:gd name="connsiteY55" fmla="*/ 71161 h 379676"/>
                <a:gd name="connsiteX56" fmla="*/ 339286 w 361156"/>
                <a:gd name="connsiteY56" fmla="*/ 73175 h 379676"/>
                <a:gd name="connsiteX57" fmla="*/ 342744 w 361156"/>
                <a:gd name="connsiteY57" fmla="*/ 77662 h 379676"/>
                <a:gd name="connsiteX58" fmla="*/ 345712 w 361156"/>
                <a:gd name="connsiteY58" fmla="*/ 77729 h 379676"/>
                <a:gd name="connsiteX59" fmla="*/ 348640 w 361156"/>
                <a:gd name="connsiteY59" fmla="*/ 75792 h 379676"/>
                <a:gd name="connsiteX60" fmla="*/ 349904 w 361156"/>
                <a:gd name="connsiteY60" fmla="*/ 74346 h 379676"/>
                <a:gd name="connsiteX61" fmla="*/ 350480 w 361156"/>
                <a:gd name="connsiteY61" fmla="*/ 77308 h 379676"/>
                <a:gd name="connsiteX62" fmla="*/ 349317 w 361156"/>
                <a:gd name="connsiteY62" fmla="*/ 82111 h 379676"/>
                <a:gd name="connsiteX63" fmla="*/ 349550 w 361156"/>
                <a:gd name="connsiteY63" fmla="*/ 85079 h 379676"/>
                <a:gd name="connsiteX64" fmla="*/ 351184 w 361156"/>
                <a:gd name="connsiteY64" fmla="*/ 86217 h 379676"/>
                <a:gd name="connsiteX65" fmla="*/ 350298 w 361156"/>
                <a:gd name="connsiteY65" fmla="*/ 90040 h 379676"/>
                <a:gd name="connsiteX66" fmla="*/ 346893 w 361156"/>
                <a:gd name="connsiteY66" fmla="*/ 96548 h 379676"/>
                <a:gd name="connsiteX67" fmla="*/ 346880 w 361156"/>
                <a:gd name="connsiteY67" fmla="*/ 100400 h 379676"/>
                <a:gd name="connsiteX68" fmla="*/ 350257 w 361156"/>
                <a:gd name="connsiteY68" fmla="*/ 101595 h 379676"/>
                <a:gd name="connsiteX69" fmla="*/ 352665 w 361156"/>
                <a:gd name="connsiteY69" fmla="*/ 105685 h 379676"/>
                <a:gd name="connsiteX70" fmla="*/ 354107 w 361156"/>
                <a:gd name="connsiteY70" fmla="*/ 112668 h 379676"/>
                <a:gd name="connsiteX71" fmla="*/ 355558 w 361156"/>
                <a:gd name="connsiteY71" fmla="*/ 115004 h 379676"/>
                <a:gd name="connsiteX72" fmla="*/ 355700 w 361156"/>
                <a:gd name="connsiteY72" fmla="*/ 116442 h 379676"/>
                <a:gd name="connsiteX73" fmla="*/ 358135 w 361156"/>
                <a:gd name="connsiteY73" fmla="*/ 133346 h 379676"/>
                <a:gd name="connsiteX74" fmla="*/ 361156 w 361156"/>
                <a:gd name="connsiteY74" fmla="*/ 150299 h 379676"/>
                <a:gd name="connsiteX75" fmla="*/ 359236 w 361156"/>
                <a:gd name="connsiteY75" fmla="*/ 152511 h 379676"/>
                <a:gd name="connsiteX76" fmla="*/ 356603 w 361156"/>
                <a:gd name="connsiteY76" fmla="*/ 153157 h 379676"/>
                <a:gd name="connsiteX77" fmla="*/ 354886 w 361156"/>
                <a:gd name="connsiteY77" fmla="*/ 153947 h 379676"/>
                <a:gd name="connsiteX78" fmla="*/ 354398 w 361156"/>
                <a:gd name="connsiteY78" fmla="*/ 155525 h 379676"/>
                <a:gd name="connsiteX79" fmla="*/ 355523 w 361156"/>
                <a:gd name="connsiteY79" fmla="*/ 157839 h 379676"/>
                <a:gd name="connsiteX80" fmla="*/ 354790 w 361156"/>
                <a:gd name="connsiteY80" fmla="*/ 159958 h 379676"/>
                <a:gd name="connsiteX81" fmla="*/ 351503 w 361156"/>
                <a:gd name="connsiteY81" fmla="*/ 161418 h 379676"/>
                <a:gd name="connsiteX82" fmla="*/ 344343 w 361156"/>
                <a:gd name="connsiteY82" fmla="*/ 166799 h 379676"/>
                <a:gd name="connsiteX83" fmla="*/ 343845 w 361156"/>
                <a:gd name="connsiteY83" fmla="*/ 168939 h 379676"/>
                <a:gd name="connsiteX84" fmla="*/ 341951 w 361156"/>
                <a:gd name="connsiteY84" fmla="*/ 173525 h 379676"/>
                <a:gd name="connsiteX85" fmla="*/ 340366 w 361156"/>
                <a:gd name="connsiteY85" fmla="*/ 176324 h 379676"/>
                <a:gd name="connsiteX86" fmla="*/ 338030 w 361156"/>
                <a:gd name="connsiteY86" fmla="*/ 181512 h 379676"/>
                <a:gd name="connsiteX87" fmla="*/ 334315 w 361156"/>
                <a:gd name="connsiteY87" fmla="*/ 195237 h 379676"/>
                <a:gd name="connsiteX88" fmla="*/ 332938 w 361156"/>
                <a:gd name="connsiteY88" fmla="*/ 206605 h 379676"/>
                <a:gd name="connsiteX89" fmla="*/ 332732 w 361156"/>
                <a:gd name="connsiteY89" fmla="*/ 210103 h 379676"/>
                <a:gd name="connsiteX90" fmla="*/ 331288 w 361156"/>
                <a:gd name="connsiteY90" fmla="*/ 212551 h 379676"/>
                <a:gd name="connsiteX91" fmla="*/ 329657 w 361156"/>
                <a:gd name="connsiteY91" fmla="*/ 216073 h 379676"/>
                <a:gd name="connsiteX92" fmla="*/ 321886 w 361156"/>
                <a:gd name="connsiteY92" fmla="*/ 225810 h 379676"/>
                <a:gd name="connsiteX93" fmla="*/ 317925 w 361156"/>
                <a:gd name="connsiteY93" fmla="*/ 233768 h 379676"/>
                <a:gd name="connsiteX94" fmla="*/ 318436 w 361156"/>
                <a:gd name="connsiteY94" fmla="*/ 237223 h 379676"/>
                <a:gd name="connsiteX95" fmla="*/ 318616 w 361156"/>
                <a:gd name="connsiteY95" fmla="*/ 240695 h 379676"/>
                <a:gd name="connsiteX96" fmla="*/ 317443 w 361156"/>
                <a:gd name="connsiteY96" fmla="*/ 243199 h 379676"/>
                <a:gd name="connsiteX97" fmla="*/ 317660 w 361156"/>
                <a:gd name="connsiteY97" fmla="*/ 249922 h 379676"/>
                <a:gd name="connsiteX98" fmla="*/ 318621 w 361156"/>
                <a:gd name="connsiteY98" fmla="*/ 255547 h 379676"/>
                <a:gd name="connsiteX99" fmla="*/ 320009 w 361156"/>
                <a:gd name="connsiteY99" fmla="*/ 261068 h 379676"/>
                <a:gd name="connsiteX100" fmla="*/ 325636 w 361156"/>
                <a:gd name="connsiteY100" fmla="*/ 276681 h 379676"/>
                <a:gd name="connsiteX101" fmla="*/ 328564 w 361156"/>
                <a:gd name="connsiteY101" fmla="*/ 286152 h 379676"/>
                <a:gd name="connsiteX102" fmla="*/ 330391 w 361156"/>
                <a:gd name="connsiteY102" fmla="*/ 293789 h 379676"/>
                <a:gd name="connsiteX103" fmla="*/ 331992 w 361156"/>
                <a:gd name="connsiteY103" fmla="*/ 298926 h 379676"/>
                <a:gd name="connsiteX104" fmla="*/ 333500 w 361156"/>
                <a:gd name="connsiteY104" fmla="*/ 301007 h 379676"/>
                <a:gd name="connsiteX105" fmla="*/ 334125 w 361156"/>
                <a:gd name="connsiteY105" fmla="*/ 302984 h 379676"/>
                <a:gd name="connsiteX106" fmla="*/ 342482 w 361156"/>
                <a:gd name="connsiteY106" fmla="*/ 304399 h 379676"/>
                <a:gd name="connsiteX107" fmla="*/ 344110 w 361156"/>
                <a:gd name="connsiteY107" fmla="*/ 305534 h 379676"/>
                <a:gd name="connsiteX108" fmla="*/ 346400 w 361156"/>
                <a:gd name="connsiteY108" fmla="*/ 315490 h 379676"/>
                <a:gd name="connsiteX109" fmla="*/ 345991 w 361156"/>
                <a:gd name="connsiteY109" fmla="*/ 319977 h 379676"/>
                <a:gd name="connsiteX110" fmla="*/ 344351 w 361156"/>
                <a:gd name="connsiteY110" fmla="*/ 321683 h 379676"/>
                <a:gd name="connsiteX111" fmla="*/ 344408 w 361156"/>
                <a:gd name="connsiteY111" fmla="*/ 325492 h 379676"/>
                <a:gd name="connsiteX112" fmla="*/ 344019 w 361156"/>
                <a:gd name="connsiteY112" fmla="*/ 330217 h 379676"/>
                <a:gd name="connsiteX113" fmla="*/ 342808 w 361156"/>
                <a:gd name="connsiteY113" fmla="*/ 332087 h 379676"/>
                <a:gd name="connsiteX114" fmla="*/ 338124 w 361156"/>
                <a:gd name="connsiteY114" fmla="*/ 332325 h 379676"/>
                <a:gd name="connsiteX115" fmla="*/ 334950 w 361156"/>
                <a:gd name="connsiteY115" fmla="*/ 334117 h 379676"/>
                <a:gd name="connsiteX116" fmla="*/ 330755 w 361156"/>
                <a:gd name="connsiteY116" fmla="*/ 333407 h 379676"/>
                <a:gd name="connsiteX117" fmla="*/ 330356 w 361156"/>
                <a:gd name="connsiteY117" fmla="*/ 332237 h 379676"/>
                <a:gd name="connsiteX118" fmla="*/ 328101 w 361156"/>
                <a:gd name="connsiteY118" fmla="*/ 331811 h 379676"/>
                <a:gd name="connsiteX119" fmla="*/ 321897 w 361156"/>
                <a:gd name="connsiteY119" fmla="*/ 329119 h 379676"/>
                <a:gd name="connsiteX120" fmla="*/ 322923 w 361156"/>
                <a:gd name="connsiteY120" fmla="*/ 320491 h 379676"/>
                <a:gd name="connsiteX121" fmla="*/ 320046 w 361156"/>
                <a:gd name="connsiteY121" fmla="*/ 320124 h 379676"/>
                <a:gd name="connsiteX122" fmla="*/ 317818 w 361156"/>
                <a:gd name="connsiteY122" fmla="*/ 321257 h 379676"/>
                <a:gd name="connsiteX123" fmla="*/ 313409 w 361156"/>
                <a:gd name="connsiteY123" fmla="*/ 331626 h 379676"/>
                <a:gd name="connsiteX124" fmla="*/ 311303 w 361156"/>
                <a:gd name="connsiteY124" fmla="*/ 333415 h 379676"/>
                <a:gd name="connsiteX125" fmla="*/ 280326 w 361156"/>
                <a:gd name="connsiteY125" fmla="*/ 328069 h 379676"/>
                <a:gd name="connsiteX126" fmla="*/ 273597 w 361156"/>
                <a:gd name="connsiteY126" fmla="*/ 323767 h 379676"/>
                <a:gd name="connsiteX127" fmla="*/ 265546 w 361156"/>
                <a:gd name="connsiteY127" fmla="*/ 322784 h 379676"/>
                <a:gd name="connsiteX128" fmla="*/ 251499 w 361156"/>
                <a:gd name="connsiteY128" fmla="*/ 323277 h 379676"/>
                <a:gd name="connsiteX129" fmla="*/ 239917 w 361156"/>
                <a:gd name="connsiteY129" fmla="*/ 324555 h 379676"/>
                <a:gd name="connsiteX130" fmla="*/ 236599 w 361156"/>
                <a:gd name="connsiteY130" fmla="*/ 327166 h 379676"/>
                <a:gd name="connsiteX131" fmla="*/ 265840 w 361156"/>
                <a:gd name="connsiteY131" fmla="*/ 325639 h 379676"/>
                <a:gd name="connsiteX132" fmla="*/ 268985 w 361156"/>
                <a:gd name="connsiteY132" fmla="*/ 325934 h 379676"/>
                <a:gd name="connsiteX133" fmla="*/ 270458 w 361156"/>
                <a:gd name="connsiteY133" fmla="*/ 327509 h 379676"/>
                <a:gd name="connsiteX134" fmla="*/ 233481 w 361156"/>
                <a:gd name="connsiteY134" fmla="*/ 330930 h 379676"/>
                <a:gd name="connsiteX135" fmla="*/ 219373 w 361156"/>
                <a:gd name="connsiteY135" fmla="*/ 332960 h 379676"/>
                <a:gd name="connsiteX136" fmla="*/ 215203 w 361156"/>
                <a:gd name="connsiteY136" fmla="*/ 332403 h 379676"/>
                <a:gd name="connsiteX137" fmla="*/ 212031 w 361156"/>
                <a:gd name="connsiteY137" fmla="*/ 329084 h 379676"/>
                <a:gd name="connsiteX138" fmla="*/ 196710 w 361156"/>
                <a:gd name="connsiteY138" fmla="*/ 328690 h 379676"/>
                <a:gd name="connsiteX139" fmla="*/ 193565 w 361156"/>
                <a:gd name="connsiteY139" fmla="*/ 329775 h 379676"/>
                <a:gd name="connsiteX140" fmla="*/ 191663 w 361156"/>
                <a:gd name="connsiteY140" fmla="*/ 332221 h 379676"/>
                <a:gd name="connsiteX141" fmla="*/ 197693 w 361156"/>
                <a:gd name="connsiteY141" fmla="*/ 331690 h 379676"/>
                <a:gd name="connsiteX142" fmla="*/ 207220 w 361156"/>
                <a:gd name="connsiteY142" fmla="*/ 331546 h 379676"/>
                <a:gd name="connsiteX143" fmla="*/ 209773 w 361156"/>
                <a:gd name="connsiteY143" fmla="*/ 333415 h 379676"/>
                <a:gd name="connsiteX144" fmla="*/ 179985 w 361156"/>
                <a:gd name="connsiteY144" fmla="*/ 335863 h 379676"/>
                <a:gd name="connsiteX145" fmla="*/ 159312 w 361156"/>
                <a:gd name="connsiteY145" fmla="*/ 340524 h 379676"/>
                <a:gd name="connsiteX146" fmla="*/ 150550 w 361156"/>
                <a:gd name="connsiteY146" fmla="*/ 343974 h 379676"/>
                <a:gd name="connsiteX147" fmla="*/ 121721 w 361156"/>
                <a:gd name="connsiteY147" fmla="*/ 355318 h 379676"/>
                <a:gd name="connsiteX148" fmla="*/ 104147 w 361156"/>
                <a:gd name="connsiteY148" fmla="*/ 360675 h 379676"/>
                <a:gd name="connsiteX149" fmla="*/ 99543 w 361156"/>
                <a:gd name="connsiteY149" fmla="*/ 362644 h 379676"/>
                <a:gd name="connsiteX150" fmla="*/ 91545 w 361156"/>
                <a:gd name="connsiteY150" fmla="*/ 368199 h 379676"/>
                <a:gd name="connsiteX151" fmla="*/ 81273 w 361156"/>
                <a:gd name="connsiteY151" fmla="*/ 371686 h 379676"/>
                <a:gd name="connsiteX152" fmla="*/ 69741 w 361156"/>
                <a:gd name="connsiteY152" fmla="*/ 378211 h 379676"/>
                <a:gd name="connsiteX153" fmla="*/ 62700 w 361156"/>
                <a:gd name="connsiteY153" fmla="*/ 379676 h 379676"/>
                <a:gd name="connsiteX154" fmla="*/ 61122 w 361156"/>
                <a:gd name="connsiteY154" fmla="*/ 377593 h 379676"/>
                <a:gd name="connsiteX155" fmla="*/ 60940 w 361156"/>
                <a:gd name="connsiteY155" fmla="*/ 366562 h 379676"/>
                <a:gd name="connsiteX156" fmla="*/ 59959 w 361156"/>
                <a:gd name="connsiteY156" fmla="*/ 351769 h 379676"/>
                <a:gd name="connsiteX157" fmla="*/ 60324 w 361156"/>
                <a:gd name="connsiteY157" fmla="*/ 346117 h 379676"/>
                <a:gd name="connsiteX158" fmla="*/ 61256 w 361156"/>
                <a:gd name="connsiteY158" fmla="*/ 340792 h 379676"/>
                <a:gd name="connsiteX159" fmla="*/ 61283 w 361156"/>
                <a:gd name="connsiteY159" fmla="*/ 336386 h 379676"/>
                <a:gd name="connsiteX160" fmla="*/ 64783 w 361156"/>
                <a:gd name="connsiteY160" fmla="*/ 334733 h 379676"/>
                <a:gd name="connsiteX161" fmla="*/ 65710 w 361156"/>
                <a:gd name="connsiteY161" fmla="*/ 332874 h 379676"/>
                <a:gd name="connsiteX162" fmla="*/ 66238 w 361156"/>
                <a:gd name="connsiteY162" fmla="*/ 327134 h 379676"/>
                <a:gd name="connsiteX163" fmla="*/ 69519 w 361156"/>
                <a:gd name="connsiteY163" fmla="*/ 321903 h 379676"/>
                <a:gd name="connsiteX164" fmla="*/ 69573 w 361156"/>
                <a:gd name="connsiteY164" fmla="*/ 312793 h 379676"/>
                <a:gd name="connsiteX165" fmla="*/ 70548 w 361156"/>
                <a:gd name="connsiteY165" fmla="*/ 310891 h 379676"/>
                <a:gd name="connsiteX166" fmla="*/ 71292 w 361156"/>
                <a:gd name="connsiteY166" fmla="*/ 308475 h 379676"/>
                <a:gd name="connsiteX167" fmla="*/ 69878 w 361156"/>
                <a:gd name="connsiteY167" fmla="*/ 302491 h 379676"/>
                <a:gd name="connsiteX168" fmla="*/ 68065 w 361156"/>
                <a:gd name="connsiteY168" fmla="*/ 291201 h 379676"/>
                <a:gd name="connsiteX169" fmla="*/ 67173 w 361156"/>
                <a:gd name="connsiteY169" fmla="*/ 290465 h 379676"/>
                <a:gd name="connsiteX170" fmla="*/ 66380 w 361156"/>
                <a:gd name="connsiteY170" fmla="*/ 290952 h 379676"/>
                <a:gd name="connsiteX171" fmla="*/ 64537 w 361156"/>
                <a:gd name="connsiteY171" fmla="*/ 291158 h 379676"/>
                <a:gd name="connsiteX172" fmla="*/ 57300 w 361156"/>
                <a:gd name="connsiteY172" fmla="*/ 287256 h 379676"/>
                <a:gd name="connsiteX173" fmla="*/ 51717 w 361156"/>
                <a:gd name="connsiteY173" fmla="*/ 286583 h 379676"/>
                <a:gd name="connsiteX174" fmla="*/ 47799 w 361156"/>
                <a:gd name="connsiteY174" fmla="*/ 283251 h 379676"/>
                <a:gd name="connsiteX175" fmla="*/ 47539 w 361156"/>
                <a:gd name="connsiteY175" fmla="*/ 279459 h 379676"/>
                <a:gd name="connsiteX176" fmla="*/ 45624 w 361156"/>
                <a:gd name="connsiteY176" fmla="*/ 277230 h 379676"/>
                <a:gd name="connsiteX177" fmla="*/ 44306 w 361156"/>
                <a:gd name="connsiteY177" fmla="*/ 272845 h 379676"/>
                <a:gd name="connsiteX178" fmla="*/ 42345 w 361156"/>
                <a:gd name="connsiteY178" fmla="*/ 267810 h 379676"/>
                <a:gd name="connsiteX179" fmla="*/ 36838 w 361156"/>
                <a:gd name="connsiteY179" fmla="*/ 264761 h 379676"/>
                <a:gd name="connsiteX180" fmla="*/ 31666 w 361156"/>
                <a:gd name="connsiteY180" fmla="*/ 264033 h 379676"/>
                <a:gd name="connsiteX181" fmla="*/ 27988 w 361156"/>
                <a:gd name="connsiteY181" fmla="*/ 264676 h 379676"/>
                <a:gd name="connsiteX182" fmla="*/ 23673 w 361156"/>
                <a:gd name="connsiteY182" fmla="*/ 264488 h 379676"/>
                <a:gd name="connsiteX183" fmla="*/ 18742 w 361156"/>
                <a:gd name="connsiteY183" fmla="*/ 262803 h 379676"/>
                <a:gd name="connsiteX184" fmla="*/ 15321 w 361156"/>
                <a:gd name="connsiteY184" fmla="*/ 260888 h 379676"/>
                <a:gd name="connsiteX185" fmla="*/ 12099 w 361156"/>
                <a:gd name="connsiteY185" fmla="*/ 257205 h 379676"/>
                <a:gd name="connsiteX186" fmla="*/ 9102 w 361156"/>
                <a:gd name="connsiteY186" fmla="*/ 254275 h 379676"/>
                <a:gd name="connsiteX187" fmla="*/ 6707 w 361156"/>
                <a:gd name="connsiteY187" fmla="*/ 254636 h 379676"/>
                <a:gd name="connsiteX188" fmla="*/ 3793 w 361156"/>
                <a:gd name="connsiteY188" fmla="*/ 253943 h 379676"/>
                <a:gd name="connsiteX189" fmla="*/ 930 w 361156"/>
                <a:gd name="connsiteY189" fmla="*/ 252606 h 379676"/>
                <a:gd name="connsiteX190" fmla="*/ 0 w 361156"/>
                <a:gd name="connsiteY190" fmla="*/ 251578 h 379676"/>
                <a:gd name="connsiteX191" fmla="*/ 11984 w 361156"/>
                <a:gd name="connsiteY191" fmla="*/ 239843 h 379676"/>
                <a:gd name="connsiteX192" fmla="*/ 16050 w 361156"/>
                <a:gd name="connsiteY192" fmla="*/ 234105 h 379676"/>
                <a:gd name="connsiteX193" fmla="*/ 16495 w 361156"/>
                <a:gd name="connsiteY193" fmla="*/ 230604 h 379676"/>
                <a:gd name="connsiteX194" fmla="*/ 16527 w 361156"/>
                <a:gd name="connsiteY194" fmla="*/ 227058 h 379676"/>
                <a:gd name="connsiteX195" fmla="*/ 17842 w 361156"/>
                <a:gd name="connsiteY195" fmla="*/ 223431 h 379676"/>
                <a:gd name="connsiteX196" fmla="*/ 18179 w 361156"/>
                <a:gd name="connsiteY196" fmla="*/ 217892 h 379676"/>
                <a:gd name="connsiteX197" fmla="*/ 11539 w 361156"/>
                <a:gd name="connsiteY197" fmla="*/ 197782 h 379676"/>
                <a:gd name="connsiteX198" fmla="*/ 9857 w 361156"/>
                <a:gd name="connsiteY198" fmla="*/ 191554 h 379676"/>
                <a:gd name="connsiteX199" fmla="*/ 8073 w 361156"/>
                <a:gd name="connsiteY199" fmla="*/ 189730 h 379676"/>
                <a:gd name="connsiteX200" fmla="*/ 6938 w 361156"/>
                <a:gd name="connsiteY200" fmla="*/ 189047 h 379676"/>
                <a:gd name="connsiteX201" fmla="*/ 10280 w 361156"/>
                <a:gd name="connsiteY201" fmla="*/ 186465 h 379676"/>
                <a:gd name="connsiteX202" fmla="*/ 14914 w 361156"/>
                <a:gd name="connsiteY202" fmla="*/ 187134 h 379676"/>
                <a:gd name="connsiteX203" fmla="*/ 22015 w 361156"/>
                <a:gd name="connsiteY203" fmla="*/ 189151 h 379676"/>
                <a:gd name="connsiteX204" fmla="*/ 23550 w 361156"/>
                <a:gd name="connsiteY204" fmla="*/ 187156 h 379676"/>
                <a:gd name="connsiteX205" fmla="*/ 28912 w 361156"/>
                <a:gd name="connsiteY205" fmla="*/ 176999 h 379676"/>
                <a:gd name="connsiteX206" fmla="*/ 28770 w 361156"/>
                <a:gd name="connsiteY206" fmla="*/ 173227 h 379676"/>
                <a:gd name="connsiteX207" fmla="*/ 28235 w 361156"/>
                <a:gd name="connsiteY207" fmla="*/ 170624 h 379676"/>
                <a:gd name="connsiteX208" fmla="*/ 31377 w 361156"/>
                <a:gd name="connsiteY208" fmla="*/ 163670 h 379676"/>
                <a:gd name="connsiteX209" fmla="*/ 33868 w 361156"/>
                <a:gd name="connsiteY209" fmla="*/ 160970 h 379676"/>
                <a:gd name="connsiteX210" fmla="*/ 35164 w 361156"/>
                <a:gd name="connsiteY210" fmla="*/ 158061 h 379676"/>
                <a:gd name="connsiteX211" fmla="*/ 34757 w 361156"/>
                <a:gd name="connsiteY211" fmla="*/ 154102 h 379676"/>
                <a:gd name="connsiteX212" fmla="*/ 32871 w 361156"/>
                <a:gd name="connsiteY212" fmla="*/ 152624 h 379676"/>
                <a:gd name="connsiteX213" fmla="*/ 30386 w 361156"/>
                <a:gd name="connsiteY213" fmla="*/ 152900 h 379676"/>
                <a:gd name="connsiteX214" fmla="*/ 27420 w 361156"/>
                <a:gd name="connsiteY214" fmla="*/ 151925 h 379676"/>
                <a:gd name="connsiteX215" fmla="*/ 22888 w 361156"/>
                <a:gd name="connsiteY215" fmla="*/ 149645 h 379676"/>
                <a:gd name="connsiteX216" fmla="*/ 20579 w 361156"/>
                <a:gd name="connsiteY216" fmla="*/ 147618 h 379676"/>
                <a:gd name="connsiteX217" fmla="*/ 21289 w 361156"/>
                <a:gd name="connsiteY217" fmla="*/ 138422 h 379676"/>
                <a:gd name="connsiteX218" fmla="*/ 21712 w 361156"/>
                <a:gd name="connsiteY218" fmla="*/ 135575 h 379676"/>
                <a:gd name="connsiteX219" fmla="*/ 23312 w 361156"/>
                <a:gd name="connsiteY219" fmla="*/ 133928 h 379676"/>
                <a:gd name="connsiteX220" fmla="*/ 25811 w 361156"/>
                <a:gd name="connsiteY220" fmla="*/ 133486 h 379676"/>
                <a:gd name="connsiteX221" fmla="*/ 32839 w 361156"/>
                <a:gd name="connsiteY221" fmla="*/ 133210 h 379676"/>
                <a:gd name="connsiteX222" fmla="*/ 38526 w 361156"/>
                <a:gd name="connsiteY222" fmla="*/ 134257 h 379676"/>
                <a:gd name="connsiteX223" fmla="*/ 43521 w 361156"/>
                <a:gd name="connsiteY223" fmla="*/ 134865 h 379676"/>
                <a:gd name="connsiteX224" fmla="*/ 46197 w 361156"/>
                <a:gd name="connsiteY224" fmla="*/ 134857 h 379676"/>
                <a:gd name="connsiteX225" fmla="*/ 48340 w 361156"/>
                <a:gd name="connsiteY225" fmla="*/ 137584 h 379676"/>
                <a:gd name="connsiteX226" fmla="*/ 51209 w 361156"/>
                <a:gd name="connsiteY226" fmla="*/ 140370 h 379676"/>
                <a:gd name="connsiteX227" fmla="*/ 53748 w 361156"/>
                <a:gd name="connsiteY227" fmla="*/ 140351 h 379676"/>
                <a:gd name="connsiteX228" fmla="*/ 54629 w 361156"/>
                <a:gd name="connsiteY228" fmla="*/ 138278 h 379676"/>
                <a:gd name="connsiteX229" fmla="*/ 54053 w 361156"/>
                <a:gd name="connsiteY229" fmla="*/ 129200 h 379676"/>
                <a:gd name="connsiteX230" fmla="*/ 52358 w 361156"/>
                <a:gd name="connsiteY230" fmla="*/ 124397 h 379676"/>
                <a:gd name="connsiteX231" fmla="*/ 48541 w 361156"/>
                <a:gd name="connsiteY231" fmla="*/ 119769 h 379676"/>
                <a:gd name="connsiteX232" fmla="*/ 38652 w 361156"/>
                <a:gd name="connsiteY232" fmla="*/ 115818 h 379676"/>
                <a:gd name="connsiteX233" fmla="*/ 38416 w 361156"/>
                <a:gd name="connsiteY233" fmla="*/ 110289 h 379676"/>
                <a:gd name="connsiteX234" fmla="*/ 39410 w 361156"/>
                <a:gd name="connsiteY234" fmla="*/ 104300 h 379676"/>
                <a:gd name="connsiteX235" fmla="*/ 41547 w 361156"/>
                <a:gd name="connsiteY235" fmla="*/ 102072 h 379676"/>
                <a:gd name="connsiteX236" fmla="*/ 48900 w 361156"/>
                <a:gd name="connsiteY236" fmla="*/ 98265 h 379676"/>
                <a:gd name="connsiteX237" fmla="*/ 47606 w 361156"/>
                <a:gd name="connsiteY237" fmla="*/ 96224 h 379676"/>
                <a:gd name="connsiteX238" fmla="*/ 45260 w 361156"/>
                <a:gd name="connsiteY238" fmla="*/ 94041 h 379676"/>
                <a:gd name="connsiteX239" fmla="*/ 40602 w 361156"/>
                <a:gd name="connsiteY239" fmla="*/ 91837 h 379676"/>
                <a:gd name="connsiteX240" fmla="*/ 41670 w 361156"/>
                <a:gd name="connsiteY240" fmla="*/ 84661 h 379676"/>
                <a:gd name="connsiteX241" fmla="*/ 41895 w 361156"/>
                <a:gd name="connsiteY241" fmla="*/ 78257 h 379676"/>
                <a:gd name="connsiteX242" fmla="*/ 37958 w 361156"/>
                <a:gd name="connsiteY242" fmla="*/ 78974 h 379676"/>
                <a:gd name="connsiteX243" fmla="*/ 33913 w 361156"/>
                <a:gd name="connsiteY243" fmla="*/ 79344 h 379676"/>
                <a:gd name="connsiteX244" fmla="*/ 30495 w 361156"/>
                <a:gd name="connsiteY244" fmla="*/ 77373 h 379676"/>
                <a:gd name="connsiteX245" fmla="*/ 27637 w 361156"/>
                <a:gd name="connsiteY245" fmla="*/ 73486 h 379676"/>
                <a:gd name="connsiteX246" fmla="*/ 27099 w 361156"/>
                <a:gd name="connsiteY246" fmla="*/ 62783 h 379676"/>
                <a:gd name="connsiteX247" fmla="*/ 27110 w 361156"/>
                <a:gd name="connsiteY247" fmla="*/ 50413 h 379676"/>
                <a:gd name="connsiteX248" fmla="*/ 26558 w 361156"/>
                <a:gd name="connsiteY248" fmla="*/ 44944 h 379676"/>
                <a:gd name="connsiteX249" fmla="*/ 27656 w 361156"/>
                <a:gd name="connsiteY249" fmla="*/ 42019 h 379676"/>
                <a:gd name="connsiteX250" fmla="*/ 31138 w 361156"/>
                <a:gd name="connsiteY250" fmla="*/ 39327 h 379676"/>
                <a:gd name="connsiteX251" fmla="*/ 34947 w 361156"/>
                <a:gd name="connsiteY251" fmla="*/ 35844 h 379676"/>
                <a:gd name="connsiteX252" fmla="*/ 36305 w 361156"/>
                <a:gd name="connsiteY252" fmla="*/ 33619 h 379676"/>
                <a:gd name="connsiteX253" fmla="*/ 38062 w 361156"/>
                <a:gd name="connsiteY253" fmla="*/ 33560 h 379676"/>
                <a:gd name="connsiteX254" fmla="*/ 42613 w 361156"/>
                <a:gd name="connsiteY254" fmla="*/ 32228 h 379676"/>
                <a:gd name="connsiteX255" fmla="*/ 46754 w 361156"/>
                <a:gd name="connsiteY255" fmla="*/ 29186 h 379676"/>
                <a:gd name="connsiteX256" fmla="*/ 50611 w 361156"/>
                <a:gd name="connsiteY256" fmla="*/ 22859 h 379676"/>
                <a:gd name="connsiteX257" fmla="*/ 55818 w 361156"/>
                <a:gd name="connsiteY257" fmla="*/ 17762 h 379676"/>
                <a:gd name="connsiteX258" fmla="*/ 61684 w 361156"/>
                <a:gd name="connsiteY258" fmla="*/ 18134 h 379676"/>
                <a:gd name="connsiteX259" fmla="*/ 63420 w 361156"/>
                <a:gd name="connsiteY259" fmla="*/ 17202 h 379676"/>
                <a:gd name="connsiteX260" fmla="*/ 65483 w 361156"/>
                <a:gd name="connsiteY260" fmla="*/ 17022 h 379676"/>
                <a:gd name="connsiteX261" fmla="*/ 67936 w 361156"/>
                <a:gd name="connsiteY261" fmla="*/ 20368 h 379676"/>
                <a:gd name="connsiteX262" fmla="*/ 70408 w 361156"/>
                <a:gd name="connsiteY262" fmla="*/ 22918 h 379676"/>
                <a:gd name="connsiteX263" fmla="*/ 72171 w 361156"/>
                <a:gd name="connsiteY263" fmla="*/ 22987 h 379676"/>
                <a:gd name="connsiteX264" fmla="*/ 73467 w 361156"/>
                <a:gd name="connsiteY264" fmla="*/ 27822 h 379676"/>
                <a:gd name="connsiteX265" fmla="*/ 84179 w 361156"/>
                <a:gd name="connsiteY265" fmla="*/ 29839 h 379676"/>
                <a:gd name="connsiteX266" fmla="*/ 88764 w 361156"/>
                <a:gd name="connsiteY266" fmla="*/ 31165 h 379676"/>
                <a:gd name="connsiteX267" fmla="*/ 92622 w 361156"/>
                <a:gd name="connsiteY267" fmla="*/ 34679 h 379676"/>
                <a:gd name="connsiteX268" fmla="*/ 93964 w 361156"/>
                <a:gd name="connsiteY268" fmla="*/ 34770 h 379676"/>
                <a:gd name="connsiteX269" fmla="*/ 95600 w 361156"/>
                <a:gd name="connsiteY269" fmla="*/ 34028 h 379676"/>
                <a:gd name="connsiteX270" fmla="*/ 96862 w 361156"/>
                <a:gd name="connsiteY270" fmla="*/ 32799 h 379676"/>
                <a:gd name="connsiteX271" fmla="*/ 97119 w 361156"/>
                <a:gd name="connsiteY271" fmla="*/ 31452 h 379676"/>
                <a:gd name="connsiteX272" fmla="*/ 95466 w 361156"/>
                <a:gd name="connsiteY272" fmla="*/ 28272 h 379676"/>
                <a:gd name="connsiteX273" fmla="*/ 96192 w 361156"/>
                <a:gd name="connsiteY273" fmla="*/ 25417 h 379676"/>
                <a:gd name="connsiteX274" fmla="*/ 97917 w 361156"/>
                <a:gd name="connsiteY274" fmla="*/ 22859 h 379676"/>
                <a:gd name="connsiteX275" fmla="*/ 100673 w 361156"/>
                <a:gd name="connsiteY275" fmla="*/ 22693 h 379676"/>
                <a:gd name="connsiteX276" fmla="*/ 104830 w 361156"/>
                <a:gd name="connsiteY276" fmla="*/ 21980 h 379676"/>
                <a:gd name="connsiteX277" fmla="*/ 109593 w 361156"/>
                <a:gd name="connsiteY277" fmla="*/ 21972 h 379676"/>
                <a:gd name="connsiteX278" fmla="*/ 113145 w 361156"/>
                <a:gd name="connsiteY278" fmla="*/ 22430 h 379676"/>
                <a:gd name="connsiteX279" fmla="*/ 114562 w 361156"/>
                <a:gd name="connsiteY279" fmla="*/ 19872 h 379676"/>
                <a:gd name="connsiteX280" fmla="*/ 113220 w 361156"/>
                <a:gd name="connsiteY280" fmla="*/ 12699 h 379676"/>
                <a:gd name="connsiteX281" fmla="*/ 113565 w 361156"/>
                <a:gd name="connsiteY281" fmla="*/ 8748 h 379676"/>
                <a:gd name="connsiteX282" fmla="*/ 114146 w 361156"/>
                <a:gd name="connsiteY282" fmla="*/ 5408 h 379676"/>
                <a:gd name="connsiteX283" fmla="*/ 115462 w 361156"/>
                <a:gd name="connsiteY283" fmla="*/ 4050 h 379676"/>
                <a:gd name="connsiteX284" fmla="*/ 120765 w 361156"/>
                <a:gd name="connsiteY284" fmla="*/ 8245 h 379676"/>
                <a:gd name="connsiteX285" fmla="*/ 125621 w 361156"/>
                <a:gd name="connsiteY285" fmla="*/ 9753 h 379676"/>
                <a:gd name="connsiteX286" fmla="*/ 129095 w 361156"/>
                <a:gd name="connsiteY286" fmla="*/ 9879 h 379676"/>
                <a:gd name="connsiteX287" fmla="*/ 130068 w 361156"/>
                <a:gd name="connsiteY287" fmla="*/ 9086 h 379676"/>
                <a:gd name="connsiteX288" fmla="*/ 128581 w 361156"/>
                <a:gd name="connsiteY288" fmla="*/ 4513 h 379676"/>
                <a:gd name="connsiteX289" fmla="*/ 128980 w 361156"/>
                <a:gd name="connsiteY289" fmla="*/ 3134 h 379676"/>
                <a:gd name="connsiteX290" fmla="*/ 130269 w 361156"/>
                <a:gd name="connsiteY290" fmla="*/ 2336 h 379676"/>
                <a:gd name="connsiteX291" fmla="*/ 132548 w 361156"/>
                <a:gd name="connsiteY291" fmla="*/ 1872 h 3796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</a:cxnLst>
              <a:rect l="l" t="t" r="r" b="b"/>
              <a:pathLst>
                <a:path w="361156" h="379676">
                  <a:moveTo>
                    <a:pt x="319162" y="332431"/>
                  </a:moveTo>
                  <a:lnTo>
                    <a:pt x="326753" y="333553"/>
                  </a:lnTo>
                  <a:lnTo>
                    <a:pt x="325138" y="335907"/>
                  </a:lnTo>
                  <a:lnTo>
                    <a:pt x="317295" y="334400"/>
                  </a:lnTo>
                  <a:close/>
                  <a:moveTo>
                    <a:pt x="138738" y="0"/>
                  </a:moveTo>
                  <a:lnTo>
                    <a:pt x="139384" y="370"/>
                  </a:lnTo>
                  <a:lnTo>
                    <a:pt x="140543" y="7580"/>
                  </a:lnTo>
                  <a:lnTo>
                    <a:pt x="140005" y="9940"/>
                  </a:lnTo>
                  <a:lnTo>
                    <a:pt x="141307" y="14839"/>
                  </a:lnTo>
                  <a:lnTo>
                    <a:pt x="142911" y="19387"/>
                  </a:lnTo>
                  <a:lnTo>
                    <a:pt x="142796" y="21236"/>
                  </a:lnTo>
                  <a:lnTo>
                    <a:pt x="141470" y="24053"/>
                  </a:lnTo>
                  <a:lnTo>
                    <a:pt x="139914" y="26636"/>
                  </a:lnTo>
                  <a:lnTo>
                    <a:pt x="140085" y="27688"/>
                  </a:lnTo>
                  <a:lnTo>
                    <a:pt x="142544" y="29451"/>
                  </a:lnTo>
                  <a:lnTo>
                    <a:pt x="147264" y="31261"/>
                  </a:lnTo>
                  <a:lnTo>
                    <a:pt x="152158" y="31685"/>
                  </a:lnTo>
                  <a:lnTo>
                    <a:pt x="154876" y="29036"/>
                  </a:lnTo>
                  <a:lnTo>
                    <a:pt x="157718" y="26882"/>
                  </a:lnTo>
                  <a:lnTo>
                    <a:pt x="159679" y="24959"/>
                  </a:lnTo>
                  <a:lnTo>
                    <a:pt x="160354" y="22114"/>
                  </a:lnTo>
                  <a:lnTo>
                    <a:pt x="163453" y="20030"/>
                  </a:lnTo>
                  <a:lnTo>
                    <a:pt x="172311" y="17419"/>
                  </a:lnTo>
                  <a:lnTo>
                    <a:pt x="180467" y="17014"/>
                  </a:lnTo>
                  <a:lnTo>
                    <a:pt x="182425" y="17847"/>
                  </a:lnTo>
                  <a:lnTo>
                    <a:pt x="186114" y="21825"/>
                  </a:lnTo>
                  <a:lnTo>
                    <a:pt x="190793" y="24552"/>
                  </a:lnTo>
                  <a:lnTo>
                    <a:pt x="197896" y="24214"/>
                  </a:lnTo>
                  <a:lnTo>
                    <a:pt x="203050" y="25832"/>
                  </a:lnTo>
                  <a:lnTo>
                    <a:pt x="207518" y="28886"/>
                  </a:lnTo>
                  <a:lnTo>
                    <a:pt x="210512" y="35662"/>
                  </a:lnTo>
                  <a:lnTo>
                    <a:pt x="213786" y="40559"/>
                  </a:lnTo>
                  <a:lnTo>
                    <a:pt x="215216" y="47520"/>
                  </a:lnTo>
                  <a:lnTo>
                    <a:pt x="220380" y="51176"/>
                  </a:lnTo>
                  <a:lnTo>
                    <a:pt x="224422" y="52837"/>
                  </a:lnTo>
                  <a:lnTo>
                    <a:pt x="229910" y="57897"/>
                  </a:lnTo>
                  <a:lnTo>
                    <a:pt x="235594" y="60466"/>
                  </a:lnTo>
                  <a:lnTo>
                    <a:pt x="241471" y="59874"/>
                  </a:lnTo>
                  <a:lnTo>
                    <a:pt x="244217" y="62517"/>
                  </a:lnTo>
                  <a:lnTo>
                    <a:pt x="248604" y="64384"/>
                  </a:lnTo>
                  <a:lnTo>
                    <a:pt x="252983" y="64521"/>
                  </a:lnTo>
                  <a:lnTo>
                    <a:pt x="256838" y="58690"/>
                  </a:lnTo>
                  <a:lnTo>
                    <a:pt x="261932" y="56392"/>
                  </a:lnTo>
                  <a:lnTo>
                    <a:pt x="274824" y="51734"/>
                  </a:lnTo>
                  <a:lnTo>
                    <a:pt x="279908" y="49623"/>
                  </a:lnTo>
                  <a:lnTo>
                    <a:pt x="285062" y="48292"/>
                  </a:lnTo>
                  <a:lnTo>
                    <a:pt x="297469" y="47866"/>
                  </a:lnTo>
                  <a:lnTo>
                    <a:pt x="309011" y="49302"/>
                  </a:lnTo>
                  <a:lnTo>
                    <a:pt x="314732" y="50384"/>
                  </a:lnTo>
                  <a:lnTo>
                    <a:pt x="318651" y="49591"/>
                  </a:lnTo>
                  <a:lnTo>
                    <a:pt x="322371" y="52360"/>
                  </a:lnTo>
                  <a:lnTo>
                    <a:pt x="326215" y="58162"/>
                  </a:lnTo>
                  <a:lnTo>
                    <a:pt x="329365" y="60029"/>
                  </a:lnTo>
                  <a:lnTo>
                    <a:pt x="332584" y="62033"/>
                  </a:lnTo>
                  <a:lnTo>
                    <a:pt x="334960" y="66613"/>
                  </a:lnTo>
                  <a:lnTo>
                    <a:pt x="337759" y="71161"/>
                  </a:lnTo>
                  <a:lnTo>
                    <a:pt x="339286" y="73175"/>
                  </a:lnTo>
                  <a:lnTo>
                    <a:pt x="342744" y="77662"/>
                  </a:lnTo>
                  <a:lnTo>
                    <a:pt x="345712" y="77729"/>
                  </a:lnTo>
                  <a:lnTo>
                    <a:pt x="348640" y="75792"/>
                  </a:lnTo>
                  <a:lnTo>
                    <a:pt x="349904" y="74346"/>
                  </a:lnTo>
                  <a:lnTo>
                    <a:pt x="350480" y="77308"/>
                  </a:lnTo>
                  <a:lnTo>
                    <a:pt x="349317" y="82111"/>
                  </a:lnTo>
                  <a:lnTo>
                    <a:pt x="349550" y="85079"/>
                  </a:lnTo>
                  <a:lnTo>
                    <a:pt x="351184" y="86217"/>
                  </a:lnTo>
                  <a:lnTo>
                    <a:pt x="350298" y="90040"/>
                  </a:lnTo>
                  <a:lnTo>
                    <a:pt x="346893" y="96548"/>
                  </a:lnTo>
                  <a:lnTo>
                    <a:pt x="346880" y="100400"/>
                  </a:lnTo>
                  <a:lnTo>
                    <a:pt x="350257" y="101595"/>
                  </a:lnTo>
                  <a:lnTo>
                    <a:pt x="352665" y="105685"/>
                  </a:lnTo>
                  <a:lnTo>
                    <a:pt x="354107" y="112668"/>
                  </a:lnTo>
                  <a:lnTo>
                    <a:pt x="355558" y="115004"/>
                  </a:lnTo>
                  <a:lnTo>
                    <a:pt x="355700" y="116442"/>
                  </a:lnTo>
                  <a:lnTo>
                    <a:pt x="358135" y="133346"/>
                  </a:lnTo>
                  <a:lnTo>
                    <a:pt x="361156" y="150299"/>
                  </a:lnTo>
                  <a:lnTo>
                    <a:pt x="359236" y="152511"/>
                  </a:lnTo>
                  <a:lnTo>
                    <a:pt x="356603" y="153157"/>
                  </a:lnTo>
                  <a:lnTo>
                    <a:pt x="354886" y="153947"/>
                  </a:lnTo>
                  <a:lnTo>
                    <a:pt x="354398" y="155525"/>
                  </a:lnTo>
                  <a:lnTo>
                    <a:pt x="355523" y="157839"/>
                  </a:lnTo>
                  <a:lnTo>
                    <a:pt x="354790" y="159958"/>
                  </a:lnTo>
                  <a:lnTo>
                    <a:pt x="351503" y="161418"/>
                  </a:lnTo>
                  <a:lnTo>
                    <a:pt x="344343" y="166799"/>
                  </a:lnTo>
                  <a:lnTo>
                    <a:pt x="343845" y="168939"/>
                  </a:lnTo>
                  <a:lnTo>
                    <a:pt x="341951" y="173525"/>
                  </a:lnTo>
                  <a:lnTo>
                    <a:pt x="340366" y="176324"/>
                  </a:lnTo>
                  <a:lnTo>
                    <a:pt x="338030" y="181512"/>
                  </a:lnTo>
                  <a:lnTo>
                    <a:pt x="334315" y="195237"/>
                  </a:lnTo>
                  <a:lnTo>
                    <a:pt x="332938" y="206605"/>
                  </a:lnTo>
                  <a:lnTo>
                    <a:pt x="332732" y="210103"/>
                  </a:lnTo>
                  <a:lnTo>
                    <a:pt x="331288" y="212551"/>
                  </a:lnTo>
                  <a:lnTo>
                    <a:pt x="329657" y="216073"/>
                  </a:lnTo>
                  <a:lnTo>
                    <a:pt x="321886" y="225810"/>
                  </a:lnTo>
                  <a:lnTo>
                    <a:pt x="317925" y="233768"/>
                  </a:lnTo>
                  <a:lnTo>
                    <a:pt x="318436" y="237223"/>
                  </a:lnTo>
                  <a:lnTo>
                    <a:pt x="318616" y="240695"/>
                  </a:lnTo>
                  <a:lnTo>
                    <a:pt x="317443" y="243199"/>
                  </a:lnTo>
                  <a:lnTo>
                    <a:pt x="317660" y="249922"/>
                  </a:lnTo>
                  <a:lnTo>
                    <a:pt x="318621" y="255547"/>
                  </a:lnTo>
                  <a:lnTo>
                    <a:pt x="320009" y="261068"/>
                  </a:lnTo>
                  <a:lnTo>
                    <a:pt x="325636" y="276681"/>
                  </a:lnTo>
                  <a:lnTo>
                    <a:pt x="328564" y="286152"/>
                  </a:lnTo>
                  <a:lnTo>
                    <a:pt x="330391" y="293789"/>
                  </a:lnTo>
                  <a:lnTo>
                    <a:pt x="331992" y="298926"/>
                  </a:lnTo>
                  <a:lnTo>
                    <a:pt x="333500" y="301007"/>
                  </a:lnTo>
                  <a:lnTo>
                    <a:pt x="334125" y="302984"/>
                  </a:lnTo>
                  <a:lnTo>
                    <a:pt x="342482" y="304399"/>
                  </a:lnTo>
                  <a:lnTo>
                    <a:pt x="344110" y="305534"/>
                  </a:lnTo>
                  <a:lnTo>
                    <a:pt x="346400" y="315490"/>
                  </a:lnTo>
                  <a:lnTo>
                    <a:pt x="345991" y="319977"/>
                  </a:lnTo>
                  <a:lnTo>
                    <a:pt x="344351" y="321683"/>
                  </a:lnTo>
                  <a:lnTo>
                    <a:pt x="344408" y="325492"/>
                  </a:lnTo>
                  <a:lnTo>
                    <a:pt x="344019" y="330217"/>
                  </a:lnTo>
                  <a:lnTo>
                    <a:pt x="342808" y="332087"/>
                  </a:lnTo>
                  <a:lnTo>
                    <a:pt x="338124" y="332325"/>
                  </a:lnTo>
                  <a:lnTo>
                    <a:pt x="334950" y="334117"/>
                  </a:lnTo>
                  <a:lnTo>
                    <a:pt x="330755" y="333407"/>
                  </a:lnTo>
                  <a:lnTo>
                    <a:pt x="330356" y="332237"/>
                  </a:lnTo>
                  <a:lnTo>
                    <a:pt x="328101" y="331811"/>
                  </a:lnTo>
                  <a:lnTo>
                    <a:pt x="321897" y="329119"/>
                  </a:lnTo>
                  <a:lnTo>
                    <a:pt x="322923" y="320491"/>
                  </a:lnTo>
                  <a:lnTo>
                    <a:pt x="320046" y="320124"/>
                  </a:lnTo>
                  <a:lnTo>
                    <a:pt x="317818" y="321257"/>
                  </a:lnTo>
                  <a:lnTo>
                    <a:pt x="313409" y="331626"/>
                  </a:lnTo>
                  <a:lnTo>
                    <a:pt x="311303" y="333415"/>
                  </a:lnTo>
                  <a:lnTo>
                    <a:pt x="280326" y="328069"/>
                  </a:lnTo>
                  <a:lnTo>
                    <a:pt x="273597" y="323767"/>
                  </a:lnTo>
                  <a:lnTo>
                    <a:pt x="265546" y="322784"/>
                  </a:lnTo>
                  <a:lnTo>
                    <a:pt x="251499" y="323277"/>
                  </a:lnTo>
                  <a:lnTo>
                    <a:pt x="239917" y="324555"/>
                  </a:lnTo>
                  <a:lnTo>
                    <a:pt x="236599" y="327166"/>
                  </a:lnTo>
                  <a:lnTo>
                    <a:pt x="265840" y="325639"/>
                  </a:lnTo>
                  <a:lnTo>
                    <a:pt x="268985" y="325934"/>
                  </a:lnTo>
                  <a:lnTo>
                    <a:pt x="270458" y="327509"/>
                  </a:lnTo>
                  <a:lnTo>
                    <a:pt x="233481" y="330930"/>
                  </a:lnTo>
                  <a:lnTo>
                    <a:pt x="219373" y="332960"/>
                  </a:lnTo>
                  <a:lnTo>
                    <a:pt x="215203" y="332403"/>
                  </a:lnTo>
                  <a:lnTo>
                    <a:pt x="212031" y="329084"/>
                  </a:lnTo>
                  <a:lnTo>
                    <a:pt x="196710" y="328690"/>
                  </a:lnTo>
                  <a:lnTo>
                    <a:pt x="193565" y="329775"/>
                  </a:lnTo>
                  <a:lnTo>
                    <a:pt x="191663" y="332221"/>
                  </a:lnTo>
                  <a:lnTo>
                    <a:pt x="197693" y="331690"/>
                  </a:lnTo>
                  <a:lnTo>
                    <a:pt x="207220" y="331546"/>
                  </a:lnTo>
                  <a:lnTo>
                    <a:pt x="209773" y="333415"/>
                  </a:lnTo>
                  <a:lnTo>
                    <a:pt x="179985" y="335863"/>
                  </a:lnTo>
                  <a:lnTo>
                    <a:pt x="159312" y="340524"/>
                  </a:lnTo>
                  <a:lnTo>
                    <a:pt x="150550" y="343974"/>
                  </a:lnTo>
                  <a:lnTo>
                    <a:pt x="121721" y="355318"/>
                  </a:lnTo>
                  <a:lnTo>
                    <a:pt x="104147" y="360675"/>
                  </a:lnTo>
                  <a:lnTo>
                    <a:pt x="99543" y="362644"/>
                  </a:lnTo>
                  <a:lnTo>
                    <a:pt x="91545" y="368199"/>
                  </a:lnTo>
                  <a:lnTo>
                    <a:pt x="81273" y="371686"/>
                  </a:lnTo>
                  <a:lnTo>
                    <a:pt x="69741" y="378211"/>
                  </a:lnTo>
                  <a:lnTo>
                    <a:pt x="62700" y="379676"/>
                  </a:lnTo>
                  <a:lnTo>
                    <a:pt x="61122" y="377593"/>
                  </a:lnTo>
                  <a:lnTo>
                    <a:pt x="60940" y="366562"/>
                  </a:lnTo>
                  <a:lnTo>
                    <a:pt x="59959" y="351769"/>
                  </a:lnTo>
                  <a:lnTo>
                    <a:pt x="60324" y="346117"/>
                  </a:lnTo>
                  <a:lnTo>
                    <a:pt x="61256" y="340792"/>
                  </a:lnTo>
                  <a:lnTo>
                    <a:pt x="61283" y="336386"/>
                  </a:lnTo>
                  <a:lnTo>
                    <a:pt x="64783" y="334733"/>
                  </a:lnTo>
                  <a:lnTo>
                    <a:pt x="65710" y="332874"/>
                  </a:lnTo>
                  <a:lnTo>
                    <a:pt x="66238" y="327134"/>
                  </a:lnTo>
                  <a:lnTo>
                    <a:pt x="69519" y="321903"/>
                  </a:lnTo>
                  <a:lnTo>
                    <a:pt x="69573" y="312793"/>
                  </a:lnTo>
                  <a:lnTo>
                    <a:pt x="70548" y="310891"/>
                  </a:lnTo>
                  <a:lnTo>
                    <a:pt x="71292" y="308475"/>
                  </a:lnTo>
                  <a:lnTo>
                    <a:pt x="69878" y="302491"/>
                  </a:lnTo>
                  <a:lnTo>
                    <a:pt x="68065" y="291201"/>
                  </a:lnTo>
                  <a:lnTo>
                    <a:pt x="67173" y="290465"/>
                  </a:lnTo>
                  <a:lnTo>
                    <a:pt x="66380" y="290952"/>
                  </a:lnTo>
                  <a:lnTo>
                    <a:pt x="64537" y="291158"/>
                  </a:lnTo>
                  <a:lnTo>
                    <a:pt x="57300" y="287256"/>
                  </a:lnTo>
                  <a:lnTo>
                    <a:pt x="51717" y="286583"/>
                  </a:lnTo>
                  <a:lnTo>
                    <a:pt x="47799" y="283251"/>
                  </a:lnTo>
                  <a:lnTo>
                    <a:pt x="47539" y="279459"/>
                  </a:lnTo>
                  <a:lnTo>
                    <a:pt x="45624" y="277230"/>
                  </a:lnTo>
                  <a:lnTo>
                    <a:pt x="44306" y="272845"/>
                  </a:lnTo>
                  <a:lnTo>
                    <a:pt x="42345" y="267810"/>
                  </a:lnTo>
                  <a:lnTo>
                    <a:pt x="36838" y="264761"/>
                  </a:lnTo>
                  <a:lnTo>
                    <a:pt x="31666" y="264033"/>
                  </a:lnTo>
                  <a:lnTo>
                    <a:pt x="27988" y="264676"/>
                  </a:lnTo>
                  <a:lnTo>
                    <a:pt x="23673" y="264488"/>
                  </a:lnTo>
                  <a:lnTo>
                    <a:pt x="18742" y="262803"/>
                  </a:lnTo>
                  <a:lnTo>
                    <a:pt x="15321" y="260888"/>
                  </a:lnTo>
                  <a:lnTo>
                    <a:pt x="12099" y="257205"/>
                  </a:lnTo>
                  <a:lnTo>
                    <a:pt x="9102" y="254275"/>
                  </a:lnTo>
                  <a:lnTo>
                    <a:pt x="6707" y="254636"/>
                  </a:lnTo>
                  <a:lnTo>
                    <a:pt x="3793" y="253943"/>
                  </a:lnTo>
                  <a:lnTo>
                    <a:pt x="930" y="252606"/>
                  </a:lnTo>
                  <a:lnTo>
                    <a:pt x="0" y="251578"/>
                  </a:lnTo>
                  <a:lnTo>
                    <a:pt x="11984" y="239843"/>
                  </a:lnTo>
                  <a:lnTo>
                    <a:pt x="16050" y="234105"/>
                  </a:lnTo>
                  <a:lnTo>
                    <a:pt x="16495" y="230604"/>
                  </a:lnTo>
                  <a:lnTo>
                    <a:pt x="16527" y="227058"/>
                  </a:lnTo>
                  <a:lnTo>
                    <a:pt x="17842" y="223431"/>
                  </a:lnTo>
                  <a:lnTo>
                    <a:pt x="18179" y="217892"/>
                  </a:lnTo>
                  <a:lnTo>
                    <a:pt x="11539" y="197782"/>
                  </a:lnTo>
                  <a:lnTo>
                    <a:pt x="9857" y="191554"/>
                  </a:lnTo>
                  <a:lnTo>
                    <a:pt x="8073" y="189730"/>
                  </a:lnTo>
                  <a:lnTo>
                    <a:pt x="6938" y="189047"/>
                  </a:lnTo>
                  <a:lnTo>
                    <a:pt x="10280" y="186465"/>
                  </a:lnTo>
                  <a:lnTo>
                    <a:pt x="14914" y="187134"/>
                  </a:lnTo>
                  <a:lnTo>
                    <a:pt x="22015" y="189151"/>
                  </a:lnTo>
                  <a:lnTo>
                    <a:pt x="23550" y="187156"/>
                  </a:lnTo>
                  <a:lnTo>
                    <a:pt x="28912" y="176999"/>
                  </a:lnTo>
                  <a:lnTo>
                    <a:pt x="28770" y="173227"/>
                  </a:lnTo>
                  <a:lnTo>
                    <a:pt x="28235" y="170624"/>
                  </a:lnTo>
                  <a:lnTo>
                    <a:pt x="31377" y="163670"/>
                  </a:lnTo>
                  <a:lnTo>
                    <a:pt x="33868" y="160970"/>
                  </a:lnTo>
                  <a:lnTo>
                    <a:pt x="35164" y="158061"/>
                  </a:lnTo>
                  <a:lnTo>
                    <a:pt x="34757" y="154102"/>
                  </a:lnTo>
                  <a:lnTo>
                    <a:pt x="32871" y="152624"/>
                  </a:lnTo>
                  <a:lnTo>
                    <a:pt x="30386" y="152900"/>
                  </a:lnTo>
                  <a:lnTo>
                    <a:pt x="27420" y="151925"/>
                  </a:lnTo>
                  <a:lnTo>
                    <a:pt x="22888" y="149645"/>
                  </a:lnTo>
                  <a:lnTo>
                    <a:pt x="20579" y="147618"/>
                  </a:lnTo>
                  <a:lnTo>
                    <a:pt x="21289" y="138422"/>
                  </a:lnTo>
                  <a:lnTo>
                    <a:pt x="21712" y="135575"/>
                  </a:lnTo>
                  <a:lnTo>
                    <a:pt x="23312" y="133928"/>
                  </a:lnTo>
                  <a:lnTo>
                    <a:pt x="25811" y="133486"/>
                  </a:lnTo>
                  <a:lnTo>
                    <a:pt x="32839" y="133210"/>
                  </a:lnTo>
                  <a:lnTo>
                    <a:pt x="38526" y="134257"/>
                  </a:lnTo>
                  <a:lnTo>
                    <a:pt x="43521" y="134865"/>
                  </a:lnTo>
                  <a:lnTo>
                    <a:pt x="46197" y="134857"/>
                  </a:lnTo>
                  <a:lnTo>
                    <a:pt x="48340" y="137584"/>
                  </a:lnTo>
                  <a:lnTo>
                    <a:pt x="51209" y="140370"/>
                  </a:lnTo>
                  <a:lnTo>
                    <a:pt x="53748" y="140351"/>
                  </a:lnTo>
                  <a:lnTo>
                    <a:pt x="54629" y="138278"/>
                  </a:lnTo>
                  <a:lnTo>
                    <a:pt x="54053" y="129200"/>
                  </a:lnTo>
                  <a:lnTo>
                    <a:pt x="52358" y="124397"/>
                  </a:lnTo>
                  <a:lnTo>
                    <a:pt x="48541" y="119769"/>
                  </a:lnTo>
                  <a:lnTo>
                    <a:pt x="38652" y="115818"/>
                  </a:lnTo>
                  <a:lnTo>
                    <a:pt x="38416" y="110289"/>
                  </a:lnTo>
                  <a:lnTo>
                    <a:pt x="39410" y="104300"/>
                  </a:lnTo>
                  <a:lnTo>
                    <a:pt x="41547" y="102072"/>
                  </a:lnTo>
                  <a:lnTo>
                    <a:pt x="48900" y="98265"/>
                  </a:lnTo>
                  <a:lnTo>
                    <a:pt x="47606" y="96224"/>
                  </a:lnTo>
                  <a:lnTo>
                    <a:pt x="45260" y="94041"/>
                  </a:lnTo>
                  <a:lnTo>
                    <a:pt x="40602" y="91837"/>
                  </a:lnTo>
                  <a:lnTo>
                    <a:pt x="41670" y="84661"/>
                  </a:lnTo>
                  <a:lnTo>
                    <a:pt x="41895" y="78257"/>
                  </a:lnTo>
                  <a:lnTo>
                    <a:pt x="37958" y="78974"/>
                  </a:lnTo>
                  <a:lnTo>
                    <a:pt x="33913" y="79344"/>
                  </a:lnTo>
                  <a:lnTo>
                    <a:pt x="30495" y="77373"/>
                  </a:lnTo>
                  <a:lnTo>
                    <a:pt x="27637" y="73486"/>
                  </a:lnTo>
                  <a:lnTo>
                    <a:pt x="27099" y="62783"/>
                  </a:lnTo>
                  <a:lnTo>
                    <a:pt x="27110" y="50413"/>
                  </a:lnTo>
                  <a:lnTo>
                    <a:pt x="26558" y="44944"/>
                  </a:lnTo>
                  <a:lnTo>
                    <a:pt x="27656" y="42019"/>
                  </a:lnTo>
                  <a:lnTo>
                    <a:pt x="31138" y="39327"/>
                  </a:lnTo>
                  <a:lnTo>
                    <a:pt x="34947" y="35844"/>
                  </a:lnTo>
                  <a:lnTo>
                    <a:pt x="36305" y="33619"/>
                  </a:lnTo>
                  <a:lnTo>
                    <a:pt x="38062" y="33560"/>
                  </a:lnTo>
                  <a:lnTo>
                    <a:pt x="42613" y="32228"/>
                  </a:lnTo>
                  <a:lnTo>
                    <a:pt x="46754" y="29186"/>
                  </a:lnTo>
                  <a:lnTo>
                    <a:pt x="50611" y="22859"/>
                  </a:lnTo>
                  <a:lnTo>
                    <a:pt x="55818" y="17762"/>
                  </a:lnTo>
                  <a:lnTo>
                    <a:pt x="61684" y="18134"/>
                  </a:lnTo>
                  <a:lnTo>
                    <a:pt x="63420" y="17202"/>
                  </a:lnTo>
                  <a:lnTo>
                    <a:pt x="65483" y="17022"/>
                  </a:lnTo>
                  <a:lnTo>
                    <a:pt x="67936" y="20368"/>
                  </a:lnTo>
                  <a:lnTo>
                    <a:pt x="70408" y="22918"/>
                  </a:lnTo>
                  <a:lnTo>
                    <a:pt x="72171" y="22987"/>
                  </a:lnTo>
                  <a:lnTo>
                    <a:pt x="73467" y="27822"/>
                  </a:lnTo>
                  <a:lnTo>
                    <a:pt x="84179" y="29839"/>
                  </a:lnTo>
                  <a:lnTo>
                    <a:pt x="88764" y="31165"/>
                  </a:lnTo>
                  <a:lnTo>
                    <a:pt x="92622" y="34679"/>
                  </a:lnTo>
                  <a:lnTo>
                    <a:pt x="93964" y="34770"/>
                  </a:lnTo>
                  <a:lnTo>
                    <a:pt x="95600" y="34028"/>
                  </a:lnTo>
                  <a:lnTo>
                    <a:pt x="96862" y="32799"/>
                  </a:lnTo>
                  <a:lnTo>
                    <a:pt x="97119" y="31452"/>
                  </a:lnTo>
                  <a:lnTo>
                    <a:pt x="95466" y="28272"/>
                  </a:lnTo>
                  <a:lnTo>
                    <a:pt x="96192" y="25417"/>
                  </a:lnTo>
                  <a:lnTo>
                    <a:pt x="97917" y="22859"/>
                  </a:lnTo>
                  <a:lnTo>
                    <a:pt x="100673" y="22693"/>
                  </a:lnTo>
                  <a:lnTo>
                    <a:pt x="104830" y="21980"/>
                  </a:lnTo>
                  <a:lnTo>
                    <a:pt x="109593" y="21972"/>
                  </a:lnTo>
                  <a:lnTo>
                    <a:pt x="113145" y="22430"/>
                  </a:lnTo>
                  <a:lnTo>
                    <a:pt x="114562" y="19872"/>
                  </a:lnTo>
                  <a:lnTo>
                    <a:pt x="113220" y="12699"/>
                  </a:lnTo>
                  <a:lnTo>
                    <a:pt x="113565" y="8748"/>
                  </a:lnTo>
                  <a:lnTo>
                    <a:pt x="114146" y="5408"/>
                  </a:lnTo>
                  <a:lnTo>
                    <a:pt x="115462" y="4050"/>
                  </a:lnTo>
                  <a:lnTo>
                    <a:pt x="120765" y="8245"/>
                  </a:lnTo>
                  <a:lnTo>
                    <a:pt x="125621" y="9753"/>
                  </a:lnTo>
                  <a:lnTo>
                    <a:pt x="129095" y="9879"/>
                  </a:lnTo>
                  <a:lnTo>
                    <a:pt x="130068" y="9086"/>
                  </a:lnTo>
                  <a:lnTo>
                    <a:pt x="128581" y="4513"/>
                  </a:lnTo>
                  <a:lnTo>
                    <a:pt x="128980" y="3134"/>
                  </a:lnTo>
                  <a:lnTo>
                    <a:pt x="130269" y="2336"/>
                  </a:lnTo>
                  <a:lnTo>
                    <a:pt x="132548" y="1872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89" name="ee4p_CM_1_82333">
              <a:extLst>
                <a:ext uri="{FF2B5EF4-FFF2-40B4-BE49-F238E27FC236}">
                  <a16:creationId xmlns:a16="http://schemas.microsoft.com/office/drawing/2014/main" id="{B54C0A78-342E-7039-DADA-54E9D80F1E23}"/>
                </a:ext>
              </a:extLst>
            </p:cNvPr>
            <p:cNvSpPr>
              <a:spLocks noChangeAspect="1"/>
            </p:cNvSpPr>
            <p:nvPr>
              <p:custDataLst>
                <p:tags r:id="rId117"/>
              </p:custDataLst>
            </p:nvPr>
          </p:nvSpPr>
          <p:spPr>
            <a:xfrm>
              <a:off x="6751652" y="4302528"/>
              <a:ext cx="212452" cy="327343"/>
            </a:xfrm>
            <a:custGeom>
              <a:avLst/>
              <a:gdLst/>
              <a:ahLst/>
              <a:cxnLst/>
              <a:rect l="0" t="0" r="0" b="0"/>
              <a:pathLst>
                <a:path w="169171" h="253747">
                  <a:moveTo>
                    <a:pt x="153618" y="124141"/>
                  </a:moveTo>
                  <a:lnTo>
                    <a:pt x="151385" y="127823"/>
                  </a:lnTo>
                  <a:lnTo>
                    <a:pt x="148440" y="129925"/>
                  </a:lnTo>
                  <a:lnTo>
                    <a:pt x="147574" y="131201"/>
                  </a:lnTo>
                  <a:lnTo>
                    <a:pt x="147112" y="132785"/>
                  </a:lnTo>
                  <a:lnTo>
                    <a:pt x="146477" y="134370"/>
                  </a:lnTo>
                  <a:lnTo>
                    <a:pt x="144912" y="137784"/>
                  </a:lnTo>
                  <a:lnTo>
                    <a:pt x="143767" y="140571"/>
                  </a:lnTo>
                  <a:lnTo>
                    <a:pt x="142620" y="141440"/>
                  </a:lnTo>
                  <a:lnTo>
                    <a:pt x="139949" y="145651"/>
                  </a:lnTo>
                  <a:lnTo>
                    <a:pt x="138146" y="149869"/>
                  </a:lnTo>
                  <a:lnTo>
                    <a:pt x="137786" y="150965"/>
                  </a:lnTo>
                  <a:lnTo>
                    <a:pt x="137237" y="151777"/>
                  </a:lnTo>
                  <a:lnTo>
                    <a:pt x="136358" y="152432"/>
                  </a:lnTo>
                  <a:lnTo>
                    <a:pt x="133260" y="153743"/>
                  </a:lnTo>
                  <a:lnTo>
                    <a:pt x="132214" y="154393"/>
                  </a:lnTo>
                  <a:lnTo>
                    <a:pt x="131394" y="155172"/>
                  </a:lnTo>
                  <a:lnTo>
                    <a:pt x="130636" y="156062"/>
                  </a:lnTo>
                  <a:lnTo>
                    <a:pt x="130424" y="157127"/>
                  </a:lnTo>
                  <a:lnTo>
                    <a:pt x="131148" y="158636"/>
                  </a:lnTo>
                  <a:lnTo>
                    <a:pt x="132016" y="159830"/>
                  </a:lnTo>
                  <a:lnTo>
                    <a:pt x="132886" y="159904"/>
                  </a:lnTo>
                  <a:lnTo>
                    <a:pt x="133655" y="159850"/>
                  </a:lnTo>
                  <a:lnTo>
                    <a:pt x="134132" y="160560"/>
                  </a:lnTo>
                  <a:lnTo>
                    <a:pt x="134531" y="160979"/>
                  </a:lnTo>
                  <a:lnTo>
                    <a:pt x="134531" y="169178"/>
                  </a:lnTo>
                  <a:lnTo>
                    <a:pt x="133795" y="170416"/>
                  </a:lnTo>
                  <a:lnTo>
                    <a:pt x="133812" y="170969"/>
                  </a:lnTo>
                  <a:lnTo>
                    <a:pt x="133452" y="172381"/>
                  </a:lnTo>
                  <a:lnTo>
                    <a:pt x="133340" y="173958"/>
                  </a:lnTo>
                  <a:lnTo>
                    <a:pt x="133572" y="174584"/>
                  </a:lnTo>
                  <a:lnTo>
                    <a:pt x="134197" y="175091"/>
                  </a:lnTo>
                  <a:lnTo>
                    <a:pt x="135056" y="176194"/>
                  </a:lnTo>
                  <a:lnTo>
                    <a:pt x="135523" y="178711"/>
                  </a:lnTo>
                  <a:lnTo>
                    <a:pt x="136568" y="187575"/>
                  </a:lnTo>
                  <a:lnTo>
                    <a:pt x="137060" y="188975"/>
                  </a:lnTo>
                  <a:lnTo>
                    <a:pt x="137926" y="189957"/>
                  </a:lnTo>
                  <a:lnTo>
                    <a:pt x="140649" y="191867"/>
                  </a:lnTo>
                  <a:lnTo>
                    <a:pt x="143506" y="194378"/>
                  </a:lnTo>
                  <a:lnTo>
                    <a:pt x="144409" y="196010"/>
                  </a:lnTo>
                  <a:lnTo>
                    <a:pt x="144938" y="198688"/>
                  </a:lnTo>
                  <a:lnTo>
                    <a:pt x="146030" y="200789"/>
                  </a:lnTo>
                  <a:lnTo>
                    <a:pt x="146006" y="201502"/>
                  </a:lnTo>
                  <a:lnTo>
                    <a:pt x="145555" y="201778"/>
                  </a:lnTo>
                  <a:lnTo>
                    <a:pt x="144493" y="201811"/>
                  </a:lnTo>
                  <a:lnTo>
                    <a:pt x="143773" y="201958"/>
                  </a:lnTo>
                  <a:lnTo>
                    <a:pt x="144376" y="203489"/>
                  </a:lnTo>
                  <a:lnTo>
                    <a:pt x="145849" y="206153"/>
                  </a:lnTo>
                  <a:lnTo>
                    <a:pt x="148306" y="208916"/>
                  </a:lnTo>
                  <a:lnTo>
                    <a:pt x="150966" y="211905"/>
                  </a:lnTo>
                  <a:lnTo>
                    <a:pt x="153139" y="214347"/>
                  </a:lnTo>
                  <a:lnTo>
                    <a:pt x="155847" y="217170"/>
                  </a:lnTo>
                  <a:lnTo>
                    <a:pt x="157963" y="219375"/>
                  </a:lnTo>
                  <a:lnTo>
                    <a:pt x="160139" y="221644"/>
                  </a:lnTo>
                  <a:lnTo>
                    <a:pt x="161783" y="222177"/>
                  </a:lnTo>
                  <a:lnTo>
                    <a:pt x="163011" y="222337"/>
                  </a:lnTo>
                  <a:lnTo>
                    <a:pt x="163538" y="222781"/>
                  </a:lnTo>
                  <a:lnTo>
                    <a:pt x="164186" y="223823"/>
                  </a:lnTo>
                  <a:lnTo>
                    <a:pt x="165296" y="224975"/>
                  </a:lnTo>
                  <a:lnTo>
                    <a:pt x="166518" y="226482"/>
                  </a:lnTo>
                  <a:lnTo>
                    <a:pt x="166937" y="228019"/>
                  </a:lnTo>
                  <a:lnTo>
                    <a:pt x="166425" y="229482"/>
                  </a:lnTo>
                  <a:lnTo>
                    <a:pt x="166931" y="231581"/>
                  </a:lnTo>
                  <a:lnTo>
                    <a:pt x="166961" y="231761"/>
                  </a:lnTo>
                  <a:lnTo>
                    <a:pt x="167367" y="232587"/>
                  </a:lnTo>
                  <a:lnTo>
                    <a:pt x="167227" y="233327"/>
                  </a:lnTo>
                  <a:lnTo>
                    <a:pt x="167475" y="236109"/>
                  </a:lnTo>
                  <a:lnTo>
                    <a:pt x="168125" y="238537"/>
                  </a:lnTo>
                  <a:lnTo>
                    <a:pt x="169170" y="240610"/>
                  </a:lnTo>
                  <a:lnTo>
                    <a:pt x="169153" y="240778"/>
                  </a:lnTo>
                  <a:lnTo>
                    <a:pt x="169019" y="242054"/>
                  </a:lnTo>
                  <a:lnTo>
                    <a:pt x="167673" y="242872"/>
                  </a:lnTo>
                  <a:lnTo>
                    <a:pt x="166886" y="244222"/>
                  </a:lnTo>
                  <a:lnTo>
                    <a:pt x="166655" y="246105"/>
                  </a:lnTo>
                  <a:lnTo>
                    <a:pt x="167058" y="248397"/>
                  </a:lnTo>
                  <a:lnTo>
                    <a:pt x="168099" y="251098"/>
                  </a:lnTo>
                  <a:lnTo>
                    <a:pt x="168125" y="252684"/>
                  </a:lnTo>
                  <a:lnTo>
                    <a:pt x="167758" y="252908"/>
                  </a:lnTo>
                  <a:lnTo>
                    <a:pt x="167112" y="253413"/>
                  </a:lnTo>
                  <a:lnTo>
                    <a:pt x="166428" y="253746"/>
                  </a:lnTo>
                  <a:lnTo>
                    <a:pt x="164566" y="251893"/>
                  </a:lnTo>
                  <a:lnTo>
                    <a:pt x="162497" y="250641"/>
                  </a:lnTo>
                  <a:lnTo>
                    <a:pt x="159401" y="248465"/>
                  </a:lnTo>
                  <a:lnTo>
                    <a:pt x="156276" y="247682"/>
                  </a:lnTo>
                  <a:lnTo>
                    <a:pt x="152234" y="247541"/>
                  </a:lnTo>
                  <a:lnTo>
                    <a:pt x="150494" y="247807"/>
                  </a:lnTo>
                  <a:lnTo>
                    <a:pt x="149247" y="246988"/>
                  </a:lnTo>
                  <a:lnTo>
                    <a:pt x="147503" y="246043"/>
                  </a:lnTo>
                  <a:lnTo>
                    <a:pt x="146542" y="245797"/>
                  </a:lnTo>
                  <a:lnTo>
                    <a:pt x="145205" y="246532"/>
                  </a:lnTo>
                  <a:lnTo>
                    <a:pt x="144281" y="246565"/>
                  </a:lnTo>
                  <a:lnTo>
                    <a:pt x="143145" y="246280"/>
                  </a:lnTo>
                  <a:lnTo>
                    <a:pt x="140845" y="246312"/>
                  </a:lnTo>
                  <a:lnTo>
                    <a:pt x="140632" y="245051"/>
                  </a:lnTo>
                  <a:lnTo>
                    <a:pt x="140239" y="244804"/>
                  </a:lnTo>
                  <a:lnTo>
                    <a:pt x="137760" y="244921"/>
                  </a:lnTo>
                  <a:lnTo>
                    <a:pt x="136995" y="243876"/>
                  </a:lnTo>
                  <a:lnTo>
                    <a:pt x="136663" y="243993"/>
                  </a:lnTo>
                  <a:lnTo>
                    <a:pt x="135687" y="243662"/>
                  </a:lnTo>
                  <a:lnTo>
                    <a:pt x="133691" y="242179"/>
                  </a:lnTo>
                  <a:lnTo>
                    <a:pt x="131595" y="243161"/>
                  </a:lnTo>
                  <a:lnTo>
                    <a:pt x="127237" y="243037"/>
                  </a:lnTo>
                  <a:lnTo>
                    <a:pt x="121651" y="243069"/>
                  </a:lnTo>
                  <a:lnTo>
                    <a:pt x="115866" y="243102"/>
                  </a:lnTo>
                  <a:lnTo>
                    <a:pt x="110575" y="243055"/>
                  </a:lnTo>
                  <a:lnTo>
                    <a:pt x="105270" y="243010"/>
                  </a:lnTo>
                  <a:lnTo>
                    <a:pt x="104747" y="241624"/>
                  </a:lnTo>
                  <a:lnTo>
                    <a:pt x="103650" y="240911"/>
                  </a:lnTo>
                  <a:lnTo>
                    <a:pt x="101672" y="240845"/>
                  </a:lnTo>
                  <a:lnTo>
                    <a:pt x="95848" y="241125"/>
                  </a:lnTo>
                  <a:lnTo>
                    <a:pt x="91387" y="240904"/>
                  </a:lnTo>
                  <a:lnTo>
                    <a:pt x="89964" y="240721"/>
                  </a:lnTo>
                  <a:lnTo>
                    <a:pt x="88381" y="240360"/>
                  </a:lnTo>
                  <a:lnTo>
                    <a:pt x="84656" y="240036"/>
                  </a:lnTo>
                  <a:lnTo>
                    <a:pt x="80059" y="240293"/>
                  </a:lnTo>
                  <a:lnTo>
                    <a:pt x="79014" y="240224"/>
                  </a:lnTo>
                  <a:lnTo>
                    <a:pt x="75334" y="240276"/>
                  </a:lnTo>
                  <a:lnTo>
                    <a:pt x="66914" y="239899"/>
                  </a:lnTo>
                  <a:lnTo>
                    <a:pt x="62259" y="239954"/>
                  </a:lnTo>
                  <a:lnTo>
                    <a:pt x="62367" y="240801"/>
                  </a:lnTo>
                  <a:lnTo>
                    <a:pt x="62071" y="241411"/>
                  </a:lnTo>
                  <a:lnTo>
                    <a:pt x="61823" y="242881"/>
                  </a:lnTo>
                  <a:lnTo>
                    <a:pt x="56690" y="242879"/>
                  </a:lnTo>
                  <a:lnTo>
                    <a:pt x="49931" y="242877"/>
                  </a:lnTo>
                  <a:lnTo>
                    <a:pt x="43548" y="242876"/>
                  </a:lnTo>
                  <a:lnTo>
                    <a:pt x="39231" y="242874"/>
                  </a:lnTo>
                  <a:lnTo>
                    <a:pt x="31997" y="242873"/>
                  </a:lnTo>
                  <a:lnTo>
                    <a:pt x="29570" y="241866"/>
                  </a:lnTo>
                  <a:lnTo>
                    <a:pt x="28836" y="241222"/>
                  </a:lnTo>
                  <a:lnTo>
                    <a:pt x="28691" y="240490"/>
                  </a:lnTo>
                  <a:lnTo>
                    <a:pt x="28598" y="239996"/>
                  </a:lnTo>
                  <a:lnTo>
                    <a:pt x="28037" y="239849"/>
                  </a:lnTo>
                  <a:lnTo>
                    <a:pt x="28501" y="234654"/>
                  </a:lnTo>
                  <a:lnTo>
                    <a:pt x="29514" y="230324"/>
                  </a:lnTo>
                  <a:lnTo>
                    <a:pt x="29909" y="226305"/>
                  </a:lnTo>
                  <a:lnTo>
                    <a:pt x="31302" y="222709"/>
                  </a:lnTo>
                  <a:lnTo>
                    <a:pt x="30564" y="219155"/>
                  </a:lnTo>
                  <a:lnTo>
                    <a:pt x="29704" y="217602"/>
                  </a:lnTo>
                  <a:lnTo>
                    <a:pt x="25191" y="212559"/>
                  </a:lnTo>
                  <a:lnTo>
                    <a:pt x="27262" y="210650"/>
                  </a:lnTo>
                  <a:lnTo>
                    <a:pt x="24535" y="210917"/>
                  </a:lnTo>
                  <a:lnTo>
                    <a:pt x="23949" y="209041"/>
                  </a:lnTo>
                  <a:lnTo>
                    <a:pt x="22628" y="206792"/>
                  </a:lnTo>
                  <a:lnTo>
                    <a:pt x="23437" y="206432"/>
                  </a:lnTo>
                  <a:lnTo>
                    <a:pt x="24219" y="205198"/>
                  </a:lnTo>
                  <a:lnTo>
                    <a:pt x="26685" y="205577"/>
                  </a:lnTo>
                  <a:lnTo>
                    <a:pt x="26607" y="204974"/>
                  </a:lnTo>
                  <a:lnTo>
                    <a:pt x="24480" y="203088"/>
                  </a:lnTo>
                  <a:lnTo>
                    <a:pt x="24686" y="202135"/>
                  </a:lnTo>
                  <a:lnTo>
                    <a:pt x="25562" y="201071"/>
                  </a:lnTo>
                  <a:lnTo>
                    <a:pt x="25135" y="200622"/>
                  </a:lnTo>
                  <a:lnTo>
                    <a:pt x="23606" y="201724"/>
                  </a:lnTo>
                  <a:lnTo>
                    <a:pt x="22504" y="201690"/>
                  </a:lnTo>
                  <a:lnTo>
                    <a:pt x="21647" y="200977"/>
                  </a:lnTo>
                  <a:lnTo>
                    <a:pt x="21025" y="200856"/>
                  </a:lnTo>
                  <a:lnTo>
                    <a:pt x="21403" y="202304"/>
                  </a:lnTo>
                  <a:lnTo>
                    <a:pt x="20546" y="203593"/>
                  </a:lnTo>
                  <a:lnTo>
                    <a:pt x="19734" y="204040"/>
                  </a:lnTo>
                  <a:lnTo>
                    <a:pt x="18341" y="203964"/>
                  </a:lnTo>
                  <a:lnTo>
                    <a:pt x="17206" y="203640"/>
                  </a:lnTo>
                  <a:lnTo>
                    <a:pt x="16905" y="202919"/>
                  </a:lnTo>
                  <a:lnTo>
                    <a:pt x="15839" y="202367"/>
                  </a:lnTo>
                  <a:lnTo>
                    <a:pt x="12848" y="201410"/>
                  </a:lnTo>
                  <a:lnTo>
                    <a:pt x="10332" y="200291"/>
                  </a:lnTo>
                  <a:lnTo>
                    <a:pt x="9823" y="197216"/>
                  </a:lnTo>
                  <a:lnTo>
                    <a:pt x="8827" y="195891"/>
                  </a:lnTo>
                  <a:lnTo>
                    <a:pt x="8419" y="194394"/>
                  </a:lnTo>
                  <a:lnTo>
                    <a:pt x="8181" y="192681"/>
                  </a:lnTo>
                  <a:lnTo>
                    <a:pt x="8523" y="190053"/>
                  </a:lnTo>
                  <a:lnTo>
                    <a:pt x="7886" y="189632"/>
                  </a:lnTo>
                  <a:lnTo>
                    <a:pt x="7156" y="189489"/>
                  </a:lnTo>
                  <a:lnTo>
                    <a:pt x="6065" y="189617"/>
                  </a:lnTo>
                  <a:lnTo>
                    <a:pt x="5066" y="189471"/>
                  </a:lnTo>
                  <a:lnTo>
                    <a:pt x="3871" y="188016"/>
                  </a:lnTo>
                  <a:lnTo>
                    <a:pt x="2820" y="187455"/>
                  </a:lnTo>
                  <a:lnTo>
                    <a:pt x="3468" y="190131"/>
                  </a:lnTo>
                  <a:lnTo>
                    <a:pt x="2729" y="190882"/>
                  </a:lnTo>
                  <a:lnTo>
                    <a:pt x="919" y="190663"/>
                  </a:lnTo>
                  <a:lnTo>
                    <a:pt x="148" y="189652"/>
                  </a:lnTo>
                  <a:lnTo>
                    <a:pt x="0" y="188899"/>
                  </a:lnTo>
                  <a:lnTo>
                    <a:pt x="833" y="185658"/>
                  </a:lnTo>
                  <a:lnTo>
                    <a:pt x="509" y="185589"/>
                  </a:lnTo>
                  <a:lnTo>
                    <a:pt x="1157" y="183869"/>
                  </a:lnTo>
                  <a:lnTo>
                    <a:pt x="2381" y="181782"/>
                  </a:lnTo>
                  <a:lnTo>
                    <a:pt x="4042" y="179125"/>
                  </a:lnTo>
                  <a:lnTo>
                    <a:pt x="5929" y="175786"/>
                  </a:lnTo>
                  <a:lnTo>
                    <a:pt x="7216" y="169882"/>
                  </a:lnTo>
                  <a:lnTo>
                    <a:pt x="8093" y="166202"/>
                  </a:lnTo>
                  <a:lnTo>
                    <a:pt x="8894" y="162845"/>
                  </a:lnTo>
                  <a:lnTo>
                    <a:pt x="10267" y="159812"/>
                  </a:lnTo>
                  <a:lnTo>
                    <a:pt x="11660" y="157785"/>
                  </a:lnTo>
                  <a:lnTo>
                    <a:pt x="15609" y="153855"/>
                  </a:lnTo>
                  <a:lnTo>
                    <a:pt x="18585" y="150892"/>
                  </a:lnTo>
                  <a:lnTo>
                    <a:pt x="20108" y="149699"/>
                  </a:lnTo>
                  <a:lnTo>
                    <a:pt x="21170" y="148694"/>
                  </a:lnTo>
                  <a:lnTo>
                    <a:pt x="23023" y="147545"/>
                  </a:lnTo>
                  <a:lnTo>
                    <a:pt x="24923" y="146178"/>
                  </a:lnTo>
                  <a:lnTo>
                    <a:pt x="26374" y="143557"/>
                  </a:lnTo>
                  <a:lnTo>
                    <a:pt x="27575" y="141110"/>
                  </a:lnTo>
                  <a:lnTo>
                    <a:pt x="28477" y="140582"/>
                  </a:lnTo>
                  <a:lnTo>
                    <a:pt x="29661" y="140153"/>
                  </a:lnTo>
                  <a:lnTo>
                    <a:pt x="33301" y="137529"/>
                  </a:lnTo>
                  <a:lnTo>
                    <a:pt x="35616" y="135862"/>
                  </a:lnTo>
                  <a:lnTo>
                    <a:pt x="36152" y="136689"/>
                  </a:lnTo>
                  <a:lnTo>
                    <a:pt x="36545" y="137720"/>
                  </a:lnTo>
                  <a:lnTo>
                    <a:pt x="36985" y="138191"/>
                  </a:lnTo>
                  <a:lnTo>
                    <a:pt x="38922" y="138520"/>
                  </a:lnTo>
                  <a:lnTo>
                    <a:pt x="41578" y="138499"/>
                  </a:lnTo>
                  <a:lnTo>
                    <a:pt x="43107" y="138198"/>
                  </a:lnTo>
                  <a:lnTo>
                    <a:pt x="43919" y="137327"/>
                  </a:lnTo>
                  <a:lnTo>
                    <a:pt x="44744" y="134950"/>
                  </a:lnTo>
                  <a:lnTo>
                    <a:pt x="45226" y="134500"/>
                  </a:lnTo>
                  <a:lnTo>
                    <a:pt x="45848" y="134381"/>
                  </a:lnTo>
                  <a:lnTo>
                    <a:pt x="48752" y="136043"/>
                  </a:lnTo>
                  <a:lnTo>
                    <a:pt x="51160" y="138409"/>
                  </a:lnTo>
                  <a:lnTo>
                    <a:pt x="53541" y="140746"/>
                  </a:lnTo>
                  <a:lnTo>
                    <a:pt x="54746" y="141578"/>
                  </a:lnTo>
                  <a:lnTo>
                    <a:pt x="55273" y="142493"/>
                  </a:lnTo>
                  <a:lnTo>
                    <a:pt x="56316" y="146765"/>
                  </a:lnTo>
                  <a:lnTo>
                    <a:pt x="56908" y="147827"/>
                  </a:lnTo>
                  <a:lnTo>
                    <a:pt x="57945" y="148266"/>
                  </a:lnTo>
                  <a:lnTo>
                    <a:pt x="59801" y="147986"/>
                  </a:lnTo>
                  <a:lnTo>
                    <a:pt x="61732" y="147228"/>
                  </a:lnTo>
                  <a:lnTo>
                    <a:pt x="63438" y="146134"/>
                  </a:lnTo>
                  <a:lnTo>
                    <a:pt x="65113" y="144725"/>
                  </a:lnTo>
                  <a:lnTo>
                    <a:pt x="66254" y="143445"/>
                  </a:lnTo>
                  <a:lnTo>
                    <a:pt x="66752" y="142507"/>
                  </a:lnTo>
                  <a:lnTo>
                    <a:pt x="67003" y="139012"/>
                  </a:lnTo>
                  <a:lnTo>
                    <a:pt x="67381" y="138251"/>
                  </a:lnTo>
                  <a:lnTo>
                    <a:pt x="69093" y="136859"/>
                  </a:lnTo>
                  <a:lnTo>
                    <a:pt x="71957" y="134534"/>
                  </a:lnTo>
                  <a:lnTo>
                    <a:pt x="73602" y="133196"/>
                  </a:lnTo>
                  <a:lnTo>
                    <a:pt x="73455" y="132716"/>
                  </a:lnTo>
                  <a:lnTo>
                    <a:pt x="72434" y="131295"/>
                  </a:lnTo>
                  <a:lnTo>
                    <a:pt x="71523" y="129732"/>
                  </a:lnTo>
                  <a:lnTo>
                    <a:pt x="72447" y="128114"/>
                  </a:lnTo>
                  <a:lnTo>
                    <a:pt x="73404" y="126876"/>
                  </a:lnTo>
                  <a:lnTo>
                    <a:pt x="77020" y="122674"/>
                  </a:lnTo>
                  <a:lnTo>
                    <a:pt x="77033" y="121290"/>
                  </a:lnTo>
                  <a:lnTo>
                    <a:pt x="77224" y="119604"/>
                  </a:lnTo>
                  <a:lnTo>
                    <a:pt x="80115" y="114828"/>
                  </a:lnTo>
                  <a:lnTo>
                    <a:pt x="81778" y="108488"/>
                  </a:lnTo>
                  <a:lnTo>
                    <a:pt x="81827" y="107265"/>
                  </a:lnTo>
                  <a:lnTo>
                    <a:pt x="83550" y="104206"/>
                  </a:lnTo>
                  <a:lnTo>
                    <a:pt x="85589" y="100290"/>
                  </a:lnTo>
                  <a:lnTo>
                    <a:pt x="89551" y="99654"/>
                  </a:lnTo>
                  <a:lnTo>
                    <a:pt x="91074" y="98682"/>
                  </a:lnTo>
                  <a:lnTo>
                    <a:pt x="92833" y="96947"/>
                  </a:lnTo>
                  <a:lnTo>
                    <a:pt x="93963" y="95338"/>
                  </a:lnTo>
                  <a:lnTo>
                    <a:pt x="94501" y="93806"/>
                  </a:lnTo>
                  <a:lnTo>
                    <a:pt x="94896" y="90846"/>
                  </a:lnTo>
                  <a:lnTo>
                    <a:pt x="95593" y="87473"/>
                  </a:lnTo>
                  <a:lnTo>
                    <a:pt x="96029" y="84513"/>
                  </a:lnTo>
                  <a:lnTo>
                    <a:pt x="97219" y="81775"/>
                  </a:lnTo>
                  <a:lnTo>
                    <a:pt x="99208" y="80391"/>
                  </a:lnTo>
                  <a:lnTo>
                    <a:pt x="102659" y="79246"/>
                  </a:lnTo>
                  <a:lnTo>
                    <a:pt x="103173" y="78708"/>
                  </a:lnTo>
                  <a:lnTo>
                    <a:pt x="103670" y="76892"/>
                  </a:lnTo>
                  <a:lnTo>
                    <a:pt x="104058" y="73124"/>
                  </a:lnTo>
                  <a:lnTo>
                    <a:pt x="104168" y="70848"/>
                  </a:lnTo>
                  <a:lnTo>
                    <a:pt x="104302" y="69863"/>
                  </a:lnTo>
                  <a:lnTo>
                    <a:pt x="104747" y="68163"/>
                  </a:lnTo>
                  <a:lnTo>
                    <a:pt x="107945" y="65143"/>
                  </a:lnTo>
                  <a:lnTo>
                    <a:pt x="109360" y="60410"/>
                  </a:lnTo>
                  <a:lnTo>
                    <a:pt x="110616" y="55452"/>
                  </a:lnTo>
                  <a:lnTo>
                    <a:pt x="114255" y="49457"/>
                  </a:lnTo>
                  <a:lnTo>
                    <a:pt x="118504" y="43484"/>
                  </a:lnTo>
                  <a:lnTo>
                    <a:pt x="120480" y="41877"/>
                  </a:lnTo>
                  <a:lnTo>
                    <a:pt x="122145" y="41135"/>
                  </a:lnTo>
                  <a:lnTo>
                    <a:pt x="124058" y="41056"/>
                  </a:lnTo>
                  <a:lnTo>
                    <a:pt x="125365" y="40617"/>
                  </a:lnTo>
                  <a:lnTo>
                    <a:pt x="129945" y="37639"/>
                  </a:lnTo>
                  <a:lnTo>
                    <a:pt x="131860" y="36632"/>
                  </a:lnTo>
                  <a:lnTo>
                    <a:pt x="133268" y="35598"/>
                  </a:lnTo>
                  <a:lnTo>
                    <a:pt x="133614" y="34699"/>
                  </a:lnTo>
                  <a:lnTo>
                    <a:pt x="133752" y="33383"/>
                  </a:lnTo>
                  <a:lnTo>
                    <a:pt x="133314" y="30301"/>
                  </a:lnTo>
                  <a:lnTo>
                    <a:pt x="134100" y="28034"/>
                  </a:lnTo>
                  <a:lnTo>
                    <a:pt x="134560" y="24519"/>
                  </a:lnTo>
                  <a:lnTo>
                    <a:pt x="134758" y="21781"/>
                  </a:lnTo>
                  <a:lnTo>
                    <a:pt x="134594" y="20832"/>
                  </a:lnTo>
                  <a:lnTo>
                    <a:pt x="133870" y="19521"/>
                  </a:lnTo>
                  <a:lnTo>
                    <a:pt x="133737" y="19237"/>
                  </a:lnTo>
                  <a:lnTo>
                    <a:pt x="132366" y="17528"/>
                  </a:lnTo>
                  <a:lnTo>
                    <a:pt x="130077" y="16498"/>
                  </a:lnTo>
                  <a:lnTo>
                    <a:pt x="126924" y="16220"/>
                  </a:lnTo>
                  <a:lnTo>
                    <a:pt x="125257" y="15608"/>
                  </a:lnTo>
                  <a:lnTo>
                    <a:pt x="124978" y="14184"/>
                  </a:lnTo>
                  <a:lnTo>
                    <a:pt x="124818" y="13356"/>
                  </a:lnTo>
                  <a:lnTo>
                    <a:pt x="124656" y="12458"/>
                  </a:lnTo>
                  <a:lnTo>
                    <a:pt x="124430" y="10466"/>
                  </a:lnTo>
                  <a:lnTo>
                    <a:pt x="122305" y="0"/>
                  </a:lnTo>
                  <a:lnTo>
                    <a:pt x="126304" y="26"/>
                  </a:lnTo>
                  <a:lnTo>
                    <a:pt x="131100" y="1276"/>
                  </a:lnTo>
                  <a:lnTo>
                    <a:pt x="132305" y="2221"/>
                  </a:lnTo>
                  <a:lnTo>
                    <a:pt x="132936" y="5806"/>
                  </a:lnTo>
                  <a:lnTo>
                    <a:pt x="134672" y="7834"/>
                  </a:lnTo>
                  <a:lnTo>
                    <a:pt x="137723" y="9504"/>
                  </a:lnTo>
                  <a:lnTo>
                    <a:pt x="139621" y="12952"/>
                  </a:lnTo>
                  <a:lnTo>
                    <a:pt x="140364" y="18175"/>
                  </a:lnTo>
                  <a:lnTo>
                    <a:pt x="142046" y="21295"/>
                  </a:lnTo>
                  <a:lnTo>
                    <a:pt x="142424" y="21788"/>
                  </a:lnTo>
                  <a:lnTo>
                    <a:pt x="144326" y="26301"/>
                  </a:lnTo>
                  <a:lnTo>
                    <a:pt x="144799" y="27682"/>
                  </a:lnTo>
                  <a:lnTo>
                    <a:pt x="144942" y="30398"/>
                  </a:lnTo>
                  <a:lnTo>
                    <a:pt x="144728" y="32231"/>
                  </a:lnTo>
                  <a:lnTo>
                    <a:pt x="145700" y="34501"/>
                  </a:lnTo>
                  <a:lnTo>
                    <a:pt x="144229" y="38369"/>
                  </a:lnTo>
                  <a:lnTo>
                    <a:pt x="143793" y="40744"/>
                  </a:lnTo>
                  <a:lnTo>
                    <a:pt x="143663" y="44075"/>
                  </a:lnTo>
                  <a:lnTo>
                    <a:pt x="144521" y="49951"/>
                  </a:lnTo>
                  <a:lnTo>
                    <a:pt x="145926" y="54481"/>
                  </a:lnTo>
                  <a:lnTo>
                    <a:pt x="147447" y="58147"/>
                  </a:lnTo>
                  <a:lnTo>
                    <a:pt x="149107" y="60988"/>
                  </a:lnTo>
                  <a:lnTo>
                    <a:pt x="151845" y="64127"/>
                  </a:lnTo>
                  <a:lnTo>
                    <a:pt x="154765" y="66995"/>
                  </a:lnTo>
                  <a:lnTo>
                    <a:pt x="157483" y="68797"/>
                  </a:lnTo>
                  <a:lnTo>
                    <a:pt x="154963" y="69857"/>
                  </a:lnTo>
                  <a:lnTo>
                    <a:pt x="150079" y="69992"/>
                  </a:lnTo>
                  <a:lnTo>
                    <a:pt x="147274" y="69384"/>
                  </a:lnTo>
                  <a:lnTo>
                    <a:pt x="145937" y="69354"/>
                  </a:lnTo>
                  <a:lnTo>
                    <a:pt x="144585" y="69731"/>
                  </a:lnTo>
                  <a:lnTo>
                    <a:pt x="139373" y="70273"/>
                  </a:lnTo>
                  <a:lnTo>
                    <a:pt x="134112" y="70019"/>
                  </a:lnTo>
                  <a:lnTo>
                    <a:pt x="129232" y="69305"/>
                  </a:lnTo>
                  <a:lnTo>
                    <a:pt x="126269" y="69424"/>
                  </a:lnTo>
                  <a:lnTo>
                    <a:pt x="123981" y="71164"/>
                  </a:lnTo>
                  <a:lnTo>
                    <a:pt x="122128" y="73785"/>
                  </a:lnTo>
                  <a:lnTo>
                    <a:pt x="120388" y="75857"/>
                  </a:lnTo>
                  <a:lnTo>
                    <a:pt x="121001" y="78151"/>
                  </a:lnTo>
                  <a:lnTo>
                    <a:pt x="122309" y="79422"/>
                  </a:lnTo>
                  <a:lnTo>
                    <a:pt x="124825" y="82216"/>
                  </a:lnTo>
                  <a:lnTo>
                    <a:pt x="127084" y="84924"/>
                  </a:lnTo>
                  <a:lnTo>
                    <a:pt x="128239" y="86743"/>
                  </a:lnTo>
                  <a:lnTo>
                    <a:pt x="132746" y="90717"/>
                  </a:lnTo>
                  <a:lnTo>
                    <a:pt x="137095" y="94273"/>
                  </a:lnTo>
                  <a:lnTo>
                    <a:pt x="137945" y="94864"/>
                  </a:lnTo>
                  <a:lnTo>
                    <a:pt x="139161" y="95507"/>
                  </a:lnTo>
                  <a:lnTo>
                    <a:pt x="139923" y="95767"/>
                  </a:lnTo>
                  <a:lnTo>
                    <a:pt x="142294" y="97802"/>
                  </a:lnTo>
                  <a:lnTo>
                    <a:pt x="145572" y="101142"/>
                  </a:lnTo>
                  <a:lnTo>
                    <a:pt x="148582" y="106374"/>
                  </a:lnTo>
                  <a:lnTo>
                    <a:pt x="150720" y="111683"/>
                  </a:lnTo>
                  <a:lnTo>
                    <a:pt x="152798" y="116844"/>
                  </a:lnTo>
                  <a:lnTo>
                    <a:pt x="153715" y="117714"/>
                  </a:lnTo>
                  <a:lnTo>
                    <a:pt x="155160" y="118267"/>
                  </a:lnTo>
                  <a:lnTo>
                    <a:pt x="155337" y="119376"/>
                  </a:lnTo>
                  <a:lnTo>
                    <a:pt x="155223" y="121012"/>
                  </a:lnTo>
                  <a:lnTo>
                    <a:pt x="154776" y="122348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90" name="ee4p_CD_1_82333">
              <a:extLst>
                <a:ext uri="{FF2B5EF4-FFF2-40B4-BE49-F238E27FC236}">
                  <a16:creationId xmlns:a16="http://schemas.microsoft.com/office/drawing/2014/main" id="{8F7FD215-3CCC-BFD3-8685-5B22F9566C65}"/>
                </a:ext>
              </a:extLst>
            </p:cNvPr>
            <p:cNvSpPr>
              <a:spLocks noChangeAspect="1"/>
            </p:cNvSpPr>
            <p:nvPr>
              <p:custDataLst>
                <p:tags r:id="rId118"/>
              </p:custDataLst>
            </p:nvPr>
          </p:nvSpPr>
          <p:spPr>
            <a:xfrm>
              <a:off x="6853866" y="4526020"/>
              <a:ext cx="529295" cy="537723"/>
            </a:xfrm>
            <a:custGeom>
              <a:avLst/>
              <a:gdLst/>
              <a:ahLst/>
              <a:cxnLst/>
              <a:rect l="0" t="0" r="0" b="0"/>
              <a:pathLst>
                <a:path w="421466" h="416827">
                  <a:moveTo>
                    <a:pt x="335875" y="4498"/>
                  </a:moveTo>
                  <a:lnTo>
                    <a:pt x="336670" y="6050"/>
                  </a:lnTo>
                  <a:lnTo>
                    <a:pt x="337814" y="7637"/>
                  </a:lnTo>
                  <a:lnTo>
                    <a:pt x="341643" y="10332"/>
                  </a:lnTo>
                  <a:lnTo>
                    <a:pt x="342861" y="11832"/>
                  </a:lnTo>
                  <a:lnTo>
                    <a:pt x="343794" y="13496"/>
                  </a:lnTo>
                  <a:lnTo>
                    <a:pt x="344383" y="14794"/>
                  </a:lnTo>
                  <a:lnTo>
                    <a:pt x="345567" y="15833"/>
                  </a:lnTo>
                  <a:lnTo>
                    <a:pt x="347225" y="16494"/>
                  </a:lnTo>
                  <a:lnTo>
                    <a:pt x="348642" y="17288"/>
                  </a:lnTo>
                  <a:lnTo>
                    <a:pt x="349507" y="18456"/>
                  </a:lnTo>
                  <a:lnTo>
                    <a:pt x="350807" y="19665"/>
                  </a:lnTo>
                  <a:lnTo>
                    <a:pt x="353317" y="21317"/>
                  </a:lnTo>
                  <a:lnTo>
                    <a:pt x="354537" y="21355"/>
                  </a:lnTo>
                  <a:lnTo>
                    <a:pt x="355947" y="21587"/>
                  </a:lnTo>
                  <a:lnTo>
                    <a:pt x="357188" y="22017"/>
                  </a:lnTo>
                  <a:lnTo>
                    <a:pt x="358523" y="21895"/>
                  </a:lnTo>
                  <a:lnTo>
                    <a:pt x="360673" y="20816"/>
                  </a:lnTo>
                  <a:lnTo>
                    <a:pt x="363211" y="19007"/>
                  </a:lnTo>
                  <a:lnTo>
                    <a:pt x="365146" y="17889"/>
                  </a:lnTo>
                  <a:lnTo>
                    <a:pt x="369840" y="18286"/>
                  </a:lnTo>
                  <a:lnTo>
                    <a:pt x="372451" y="19197"/>
                  </a:lnTo>
                  <a:lnTo>
                    <a:pt x="374530" y="20477"/>
                  </a:lnTo>
                  <a:lnTo>
                    <a:pt x="376154" y="20394"/>
                  </a:lnTo>
                  <a:lnTo>
                    <a:pt x="379691" y="18035"/>
                  </a:lnTo>
                  <a:lnTo>
                    <a:pt x="381566" y="15522"/>
                  </a:lnTo>
                  <a:lnTo>
                    <a:pt x="383388" y="14985"/>
                  </a:lnTo>
                  <a:lnTo>
                    <a:pt x="386148" y="16073"/>
                  </a:lnTo>
                  <a:lnTo>
                    <a:pt x="388426" y="18421"/>
                  </a:lnTo>
                  <a:lnTo>
                    <a:pt x="390424" y="21828"/>
                  </a:lnTo>
                  <a:lnTo>
                    <a:pt x="391834" y="23128"/>
                  </a:lnTo>
                  <a:lnTo>
                    <a:pt x="393766" y="25141"/>
                  </a:lnTo>
                  <a:lnTo>
                    <a:pt x="397603" y="29475"/>
                  </a:lnTo>
                  <a:lnTo>
                    <a:pt x="402596" y="31646"/>
                  </a:lnTo>
                  <a:lnTo>
                    <a:pt x="404533" y="32713"/>
                  </a:lnTo>
                  <a:lnTo>
                    <a:pt x="405166" y="33787"/>
                  </a:lnTo>
                  <a:lnTo>
                    <a:pt x="405533" y="35210"/>
                  </a:lnTo>
                  <a:lnTo>
                    <a:pt x="405662" y="36764"/>
                  </a:lnTo>
                  <a:lnTo>
                    <a:pt x="406267" y="37396"/>
                  </a:lnTo>
                  <a:lnTo>
                    <a:pt x="407614" y="37176"/>
                  </a:lnTo>
                  <a:lnTo>
                    <a:pt x="408770" y="36956"/>
                  </a:lnTo>
                  <a:lnTo>
                    <a:pt x="410037" y="37396"/>
                  </a:lnTo>
                  <a:lnTo>
                    <a:pt x="410916" y="38527"/>
                  </a:lnTo>
                  <a:lnTo>
                    <a:pt x="411356" y="39408"/>
                  </a:lnTo>
                  <a:lnTo>
                    <a:pt x="411836" y="40351"/>
                  </a:lnTo>
                  <a:lnTo>
                    <a:pt x="413090" y="40950"/>
                  </a:lnTo>
                  <a:lnTo>
                    <a:pt x="413337" y="42162"/>
                  </a:lnTo>
                  <a:lnTo>
                    <a:pt x="412477" y="43641"/>
                  </a:lnTo>
                  <a:lnTo>
                    <a:pt x="411598" y="44958"/>
                  </a:lnTo>
                  <a:lnTo>
                    <a:pt x="410525" y="47597"/>
                  </a:lnTo>
                  <a:lnTo>
                    <a:pt x="409966" y="50288"/>
                  </a:lnTo>
                  <a:lnTo>
                    <a:pt x="410685" y="51183"/>
                  </a:lnTo>
                  <a:lnTo>
                    <a:pt x="411456" y="51931"/>
                  </a:lnTo>
                  <a:lnTo>
                    <a:pt x="411866" y="52685"/>
                  </a:lnTo>
                  <a:lnTo>
                    <a:pt x="412106" y="53567"/>
                  </a:lnTo>
                  <a:lnTo>
                    <a:pt x="412015" y="54599"/>
                  </a:lnTo>
                  <a:lnTo>
                    <a:pt x="410309" y="58340"/>
                  </a:lnTo>
                  <a:lnTo>
                    <a:pt x="409433" y="61608"/>
                  </a:lnTo>
                  <a:lnTo>
                    <a:pt x="409405" y="63265"/>
                  </a:lnTo>
                  <a:lnTo>
                    <a:pt x="411648" y="64480"/>
                  </a:lnTo>
                  <a:lnTo>
                    <a:pt x="414563" y="64418"/>
                  </a:lnTo>
                  <a:lnTo>
                    <a:pt x="415485" y="65168"/>
                  </a:lnTo>
                  <a:lnTo>
                    <a:pt x="416407" y="66359"/>
                  </a:lnTo>
                  <a:lnTo>
                    <a:pt x="417222" y="66966"/>
                  </a:lnTo>
                  <a:lnTo>
                    <a:pt x="418448" y="66949"/>
                  </a:lnTo>
                  <a:lnTo>
                    <a:pt x="419305" y="67365"/>
                  </a:lnTo>
                  <a:lnTo>
                    <a:pt x="419638" y="68201"/>
                  </a:lnTo>
                  <a:lnTo>
                    <a:pt x="420631" y="69106"/>
                  </a:lnTo>
                  <a:lnTo>
                    <a:pt x="421465" y="70103"/>
                  </a:lnTo>
                  <a:lnTo>
                    <a:pt x="421067" y="71382"/>
                  </a:lnTo>
                  <a:lnTo>
                    <a:pt x="420994" y="72353"/>
                  </a:lnTo>
                  <a:lnTo>
                    <a:pt x="418916" y="75064"/>
                  </a:lnTo>
                  <a:lnTo>
                    <a:pt x="414136" y="80355"/>
                  </a:lnTo>
                  <a:lnTo>
                    <a:pt x="403866" y="90170"/>
                  </a:lnTo>
                  <a:lnTo>
                    <a:pt x="403859" y="90175"/>
                  </a:lnTo>
                  <a:lnTo>
                    <a:pt x="400394" y="91359"/>
                  </a:lnTo>
                  <a:lnTo>
                    <a:pt x="398603" y="93183"/>
                  </a:lnTo>
                  <a:lnTo>
                    <a:pt x="397338" y="96043"/>
                  </a:lnTo>
                  <a:lnTo>
                    <a:pt x="394341" y="98475"/>
                  </a:lnTo>
                  <a:lnTo>
                    <a:pt x="392030" y="99454"/>
                  </a:lnTo>
                  <a:lnTo>
                    <a:pt x="391782" y="100037"/>
                  </a:lnTo>
                  <a:lnTo>
                    <a:pt x="391609" y="102667"/>
                  </a:lnTo>
                  <a:lnTo>
                    <a:pt x="391844" y="106535"/>
                  </a:lnTo>
                  <a:lnTo>
                    <a:pt x="390760" y="108305"/>
                  </a:lnTo>
                  <a:lnTo>
                    <a:pt x="389195" y="111740"/>
                  </a:lnTo>
                  <a:lnTo>
                    <a:pt x="388381" y="113891"/>
                  </a:lnTo>
                  <a:lnTo>
                    <a:pt x="387759" y="114314"/>
                  </a:lnTo>
                  <a:lnTo>
                    <a:pt x="387051" y="115395"/>
                  </a:lnTo>
                  <a:lnTo>
                    <a:pt x="386612" y="118900"/>
                  </a:lnTo>
                  <a:lnTo>
                    <a:pt x="386314" y="120081"/>
                  </a:lnTo>
                  <a:lnTo>
                    <a:pt x="385183" y="127336"/>
                  </a:lnTo>
                  <a:lnTo>
                    <a:pt x="385506" y="129405"/>
                  </a:lnTo>
                  <a:lnTo>
                    <a:pt x="384630" y="132856"/>
                  </a:lnTo>
                  <a:lnTo>
                    <a:pt x="384591" y="134886"/>
                  </a:lnTo>
                  <a:lnTo>
                    <a:pt x="384228" y="137186"/>
                  </a:lnTo>
                  <a:lnTo>
                    <a:pt x="383606" y="139181"/>
                  </a:lnTo>
                  <a:lnTo>
                    <a:pt x="383654" y="142366"/>
                  </a:lnTo>
                  <a:lnTo>
                    <a:pt x="384006" y="147572"/>
                  </a:lnTo>
                  <a:lnTo>
                    <a:pt x="383939" y="148260"/>
                  </a:lnTo>
                  <a:lnTo>
                    <a:pt x="383073" y="148744"/>
                  </a:lnTo>
                  <a:lnTo>
                    <a:pt x="381529" y="150033"/>
                  </a:lnTo>
                  <a:lnTo>
                    <a:pt x="380069" y="150904"/>
                  </a:lnTo>
                  <a:lnTo>
                    <a:pt x="378957" y="151129"/>
                  </a:lnTo>
                  <a:lnTo>
                    <a:pt x="377111" y="153429"/>
                  </a:lnTo>
                  <a:lnTo>
                    <a:pt x="375528" y="155604"/>
                  </a:lnTo>
                  <a:lnTo>
                    <a:pt x="374349" y="157729"/>
                  </a:lnTo>
                  <a:lnTo>
                    <a:pt x="374042" y="158708"/>
                  </a:lnTo>
                  <a:lnTo>
                    <a:pt x="374291" y="161458"/>
                  </a:lnTo>
                  <a:lnTo>
                    <a:pt x="374455" y="164715"/>
                  </a:lnTo>
                  <a:lnTo>
                    <a:pt x="374090" y="166115"/>
                  </a:lnTo>
                  <a:lnTo>
                    <a:pt x="373535" y="166958"/>
                  </a:lnTo>
                  <a:lnTo>
                    <a:pt x="370950" y="168719"/>
                  </a:lnTo>
                  <a:lnTo>
                    <a:pt x="369251" y="169991"/>
                  </a:lnTo>
                  <a:lnTo>
                    <a:pt x="368447" y="170655"/>
                  </a:lnTo>
                  <a:lnTo>
                    <a:pt x="368033" y="171681"/>
                  </a:lnTo>
                  <a:lnTo>
                    <a:pt x="368780" y="174090"/>
                  </a:lnTo>
                  <a:lnTo>
                    <a:pt x="368836" y="175849"/>
                  </a:lnTo>
                  <a:lnTo>
                    <a:pt x="369452" y="176888"/>
                  </a:lnTo>
                  <a:lnTo>
                    <a:pt x="371499" y="177733"/>
                  </a:lnTo>
                  <a:lnTo>
                    <a:pt x="371494" y="178576"/>
                  </a:lnTo>
                  <a:lnTo>
                    <a:pt x="371548" y="179490"/>
                  </a:lnTo>
                  <a:lnTo>
                    <a:pt x="372613" y="180623"/>
                  </a:lnTo>
                  <a:lnTo>
                    <a:pt x="374570" y="182935"/>
                  </a:lnTo>
                  <a:lnTo>
                    <a:pt x="376143" y="185110"/>
                  </a:lnTo>
                  <a:lnTo>
                    <a:pt x="376180" y="186994"/>
                  </a:lnTo>
                  <a:lnTo>
                    <a:pt x="375876" y="190150"/>
                  </a:lnTo>
                  <a:lnTo>
                    <a:pt x="375826" y="191966"/>
                  </a:lnTo>
                  <a:lnTo>
                    <a:pt x="375984" y="194454"/>
                  </a:lnTo>
                  <a:lnTo>
                    <a:pt x="375975" y="199087"/>
                  </a:lnTo>
                  <a:lnTo>
                    <a:pt x="375865" y="202383"/>
                  </a:lnTo>
                  <a:lnTo>
                    <a:pt x="376117" y="204089"/>
                  </a:lnTo>
                  <a:lnTo>
                    <a:pt x="378508" y="208177"/>
                  </a:lnTo>
                  <a:lnTo>
                    <a:pt x="379566" y="212702"/>
                  </a:lnTo>
                  <a:lnTo>
                    <a:pt x="380097" y="216016"/>
                  </a:lnTo>
                  <a:lnTo>
                    <a:pt x="380119" y="217066"/>
                  </a:lnTo>
                  <a:lnTo>
                    <a:pt x="379309" y="220881"/>
                  </a:lnTo>
                  <a:lnTo>
                    <a:pt x="378383" y="224577"/>
                  </a:lnTo>
                  <a:lnTo>
                    <a:pt x="378333" y="225977"/>
                  </a:lnTo>
                  <a:lnTo>
                    <a:pt x="378761" y="227845"/>
                  </a:lnTo>
                  <a:lnTo>
                    <a:pt x="380471" y="232125"/>
                  </a:lnTo>
                  <a:lnTo>
                    <a:pt x="381717" y="235239"/>
                  </a:lnTo>
                  <a:lnTo>
                    <a:pt x="382319" y="237109"/>
                  </a:lnTo>
                  <a:lnTo>
                    <a:pt x="383174" y="239301"/>
                  </a:lnTo>
                  <a:lnTo>
                    <a:pt x="384319" y="242650"/>
                  </a:lnTo>
                  <a:lnTo>
                    <a:pt x="384604" y="244244"/>
                  </a:lnTo>
                  <a:lnTo>
                    <a:pt x="384369" y="245427"/>
                  </a:lnTo>
                  <a:lnTo>
                    <a:pt x="382034" y="249630"/>
                  </a:lnTo>
                  <a:lnTo>
                    <a:pt x="381797" y="250952"/>
                  </a:lnTo>
                  <a:lnTo>
                    <a:pt x="382376" y="254216"/>
                  </a:lnTo>
                  <a:lnTo>
                    <a:pt x="383140" y="257363"/>
                  </a:lnTo>
                  <a:lnTo>
                    <a:pt x="384241" y="259152"/>
                  </a:lnTo>
                  <a:lnTo>
                    <a:pt x="386873" y="264091"/>
                  </a:lnTo>
                  <a:lnTo>
                    <a:pt x="388830" y="265757"/>
                  </a:lnTo>
                  <a:lnTo>
                    <a:pt x="392449" y="268227"/>
                  </a:lnTo>
                  <a:lnTo>
                    <a:pt x="395643" y="270714"/>
                  </a:lnTo>
                  <a:lnTo>
                    <a:pt x="396871" y="272002"/>
                  </a:lnTo>
                  <a:lnTo>
                    <a:pt x="397996" y="273443"/>
                  </a:lnTo>
                  <a:lnTo>
                    <a:pt x="400218" y="277128"/>
                  </a:lnTo>
                  <a:lnTo>
                    <a:pt x="401574" y="280127"/>
                  </a:lnTo>
                  <a:lnTo>
                    <a:pt x="402287" y="282839"/>
                  </a:lnTo>
                  <a:lnTo>
                    <a:pt x="404032" y="286541"/>
                  </a:lnTo>
                  <a:lnTo>
                    <a:pt x="405651" y="289984"/>
                  </a:lnTo>
                  <a:lnTo>
                    <a:pt x="407750" y="294188"/>
                  </a:lnTo>
                  <a:lnTo>
                    <a:pt x="409234" y="297158"/>
                  </a:lnTo>
                  <a:lnTo>
                    <a:pt x="409903" y="299145"/>
                  </a:lnTo>
                  <a:lnTo>
                    <a:pt x="406073" y="299732"/>
                  </a:lnTo>
                  <a:lnTo>
                    <a:pt x="400536" y="300582"/>
                  </a:lnTo>
                  <a:lnTo>
                    <a:pt x="394429" y="301518"/>
                  </a:lnTo>
                  <a:lnTo>
                    <a:pt x="388124" y="302486"/>
                  </a:lnTo>
                  <a:lnTo>
                    <a:pt x="381879" y="303447"/>
                  </a:lnTo>
                  <a:lnTo>
                    <a:pt x="375949" y="304358"/>
                  </a:lnTo>
                  <a:lnTo>
                    <a:pt x="370568" y="305184"/>
                  </a:lnTo>
                  <a:lnTo>
                    <a:pt x="368929" y="305641"/>
                  </a:lnTo>
                  <a:lnTo>
                    <a:pt x="369732" y="307975"/>
                  </a:lnTo>
                  <a:lnTo>
                    <a:pt x="369363" y="310433"/>
                  </a:lnTo>
                  <a:lnTo>
                    <a:pt x="368296" y="312332"/>
                  </a:lnTo>
                  <a:lnTo>
                    <a:pt x="366616" y="314675"/>
                  </a:lnTo>
                  <a:lnTo>
                    <a:pt x="365848" y="315602"/>
                  </a:lnTo>
                  <a:lnTo>
                    <a:pt x="364133" y="317431"/>
                  </a:lnTo>
                  <a:lnTo>
                    <a:pt x="362701" y="318715"/>
                  </a:lnTo>
                  <a:lnTo>
                    <a:pt x="359777" y="320881"/>
                  </a:lnTo>
                  <a:lnTo>
                    <a:pt x="357929" y="322116"/>
                  </a:lnTo>
                  <a:lnTo>
                    <a:pt x="357918" y="323235"/>
                  </a:lnTo>
                  <a:lnTo>
                    <a:pt x="361021" y="328478"/>
                  </a:lnTo>
                  <a:lnTo>
                    <a:pt x="362429" y="332242"/>
                  </a:lnTo>
                  <a:lnTo>
                    <a:pt x="363001" y="335645"/>
                  </a:lnTo>
                  <a:lnTo>
                    <a:pt x="362976" y="337598"/>
                  </a:lnTo>
                  <a:lnTo>
                    <a:pt x="362857" y="341619"/>
                  </a:lnTo>
                  <a:lnTo>
                    <a:pt x="362716" y="346403"/>
                  </a:lnTo>
                  <a:lnTo>
                    <a:pt x="362500" y="348289"/>
                  </a:lnTo>
                  <a:lnTo>
                    <a:pt x="363343" y="351705"/>
                  </a:lnTo>
                  <a:lnTo>
                    <a:pt x="363196" y="354366"/>
                  </a:lnTo>
                  <a:lnTo>
                    <a:pt x="361103" y="357343"/>
                  </a:lnTo>
                  <a:lnTo>
                    <a:pt x="360522" y="360270"/>
                  </a:lnTo>
                  <a:lnTo>
                    <a:pt x="359469" y="364216"/>
                  </a:lnTo>
                  <a:lnTo>
                    <a:pt x="358007" y="369697"/>
                  </a:lnTo>
                  <a:lnTo>
                    <a:pt x="356968" y="372578"/>
                  </a:lnTo>
                  <a:lnTo>
                    <a:pt x="357547" y="374453"/>
                  </a:lnTo>
                  <a:lnTo>
                    <a:pt x="358069" y="375711"/>
                  </a:lnTo>
                  <a:lnTo>
                    <a:pt x="358618" y="377402"/>
                  </a:lnTo>
                  <a:lnTo>
                    <a:pt x="359739" y="379952"/>
                  </a:lnTo>
                  <a:lnTo>
                    <a:pt x="361045" y="381456"/>
                  </a:lnTo>
                  <a:lnTo>
                    <a:pt x="361775" y="382104"/>
                  </a:lnTo>
                  <a:lnTo>
                    <a:pt x="366083" y="385315"/>
                  </a:lnTo>
                  <a:lnTo>
                    <a:pt x="367865" y="386868"/>
                  </a:lnTo>
                  <a:lnTo>
                    <a:pt x="370594" y="389948"/>
                  </a:lnTo>
                  <a:lnTo>
                    <a:pt x="372604" y="391991"/>
                  </a:lnTo>
                  <a:lnTo>
                    <a:pt x="375409" y="392471"/>
                  </a:lnTo>
                  <a:lnTo>
                    <a:pt x="378782" y="393247"/>
                  </a:lnTo>
                  <a:lnTo>
                    <a:pt x="380635" y="393841"/>
                  </a:lnTo>
                  <a:lnTo>
                    <a:pt x="381918" y="393554"/>
                  </a:lnTo>
                  <a:lnTo>
                    <a:pt x="382345" y="392828"/>
                  </a:lnTo>
                  <a:lnTo>
                    <a:pt x="382287" y="391290"/>
                  </a:lnTo>
                  <a:lnTo>
                    <a:pt x="382060" y="390152"/>
                  </a:lnTo>
                  <a:lnTo>
                    <a:pt x="382419" y="389284"/>
                  </a:lnTo>
                  <a:lnTo>
                    <a:pt x="383559" y="388706"/>
                  </a:lnTo>
                  <a:lnTo>
                    <a:pt x="386483" y="388614"/>
                  </a:lnTo>
                  <a:lnTo>
                    <a:pt x="387757" y="387845"/>
                  </a:lnTo>
                  <a:lnTo>
                    <a:pt x="388763" y="387652"/>
                  </a:lnTo>
                  <a:lnTo>
                    <a:pt x="388767" y="391033"/>
                  </a:lnTo>
                  <a:lnTo>
                    <a:pt x="388772" y="394275"/>
                  </a:lnTo>
                  <a:lnTo>
                    <a:pt x="388774" y="398212"/>
                  </a:lnTo>
                  <a:lnTo>
                    <a:pt x="388778" y="402731"/>
                  </a:lnTo>
                  <a:lnTo>
                    <a:pt x="388785" y="406441"/>
                  </a:lnTo>
                  <a:lnTo>
                    <a:pt x="388789" y="410384"/>
                  </a:lnTo>
                  <a:lnTo>
                    <a:pt x="388793" y="414934"/>
                  </a:lnTo>
                  <a:lnTo>
                    <a:pt x="388767" y="415453"/>
                  </a:lnTo>
                  <a:lnTo>
                    <a:pt x="388323" y="416473"/>
                  </a:lnTo>
                  <a:lnTo>
                    <a:pt x="387161" y="416826"/>
                  </a:lnTo>
                  <a:lnTo>
                    <a:pt x="385593" y="415938"/>
                  </a:lnTo>
                  <a:lnTo>
                    <a:pt x="385502" y="415007"/>
                  </a:lnTo>
                  <a:lnTo>
                    <a:pt x="385118" y="413332"/>
                  </a:lnTo>
                  <a:lnTo>
                    <a:pt x="384386" y="412478"/>
                  </a:lnTo>
                  <a:lnTo>
                    <a:pt x="383436" y="412216"/>
                  </a:lnTo>
                  <a:lnTo>
                    <a:pt x="381827" y="412645"/>
                  </a:lnTo>
                  <a:lnTo>
                    <a:pt x="379624" y="413880"/>
                  </a:lnTo>
                  <a:lnTo>
                    <a:pt x="376791" y="414958"/>
                  </a:lnTo>
                  <a:lnTo>
                    <a:pt x="375645" y="415578"/>
                  </a:lnTo>
                  <a:lnTo>
                    <a:pt x="373649" y="415506"/>
                  </a:lnTo>
                  <a:lnTo>
                    <a:pt x="371496" y="414915"/>
                  </a:lnTo>
                  <a:lnTo>
                    <a:pt x="369905" y="413526"/>
                  </a:lnTo>
                  <a:lnTo>
                    <a:pt x="369449" y="411445"/>
                  </a:lnTo>
                  <a:lnTo>
                    <a:pt x="368059" y="409304"/>
                  </a:lnTo>
                  <a:lnTo>
                    <a:pt x="366165" y="406212"/>
                  </a:lnTo>
                  <a:lnTo>
                    <a:pt x="365213" y="404943"/>
                  </a:lnTo>
                  <a:lnTo>
                    <a:pt x="363950" y="403501"/>
                  </a:lnTo>
                  <a:lnTo>
                    <a:pt x="362678" y="403339"/>
                  </a:lnTo>
                  <a:lnTo>
                    <a:pt x="361250" y="402935"/>
                  </a:lnTo>
                  <a:lnTo>
                    <a:pt x="360373" y="400824"/>
                  </a:lnTo>
                  <a:lnTo>
                    <a:pt x="359560" y="398154"/>
                  </a:lnTo>
                  <a:lnTo>
                    <a:pt x="359052" y="397124"/>
                  </a:lnTo>
                  <a:lnTo>
                    <a:pt x="358199" y="395791"/>
                  </a:lnTo>
                  <a:lnTo>
                    <a:pt x="356979" y="394981"/>
                  </a:lnTo>
                  <a:lnTo>
                    <a:pt x="354316" y="393916"/>
                  </a:lnTo>
                  <a:lnTo>
                    <a:pt x="350592" y="392425"/>
                  </a:lnTo>
                  <a:lnTo>
                    <a:pt x="345916" y="390556"/>
                  </a:lnTo>
                  <a:lnTo>
                    <a:pt x="343692" y="390466"/>
                  </a:lnTo>
                  <a:lnTo>
                    <a:pt x="341205" y="390150"/>
                  </a:lnTo>
                  <a:lnTo>
                    <a:pt x="339646" y="389258"/>
                  </a:lnTo>
                  <a:lnTo>
                    <a:pt x="338752" y="388546"/>
                  </a:lnTo>
                  <a:lnTo>
                    <a:pt x="337726" y="385952"/>
                  </a:lnTo>
                  <a:lnTo>
                    <a:pt x="336325" y="382921"/>
                  </a:lnTo>
                  <a:lnTo>
                    <a:pt x="332222" y="379311"/>
                  </a:lnTo>
                  <a:lnTo>
                    <a:pt x="331300" y="375312"/>
                  </a:lnTo>
                  <a:lnTo>
                    <a:pt x="330477" y="374732"/>
                  </a:lnTo>
                  <a:lnTo>
                    <a:pt x="329067" y="375058"/>
                  </a:lnTo>
                  <a:lnTo>
                    <a:pt x="327976" y="375555"/>
                  </a:lnTo>
                  <a:lnTo>
                    <a:pt x="327546" y="376627"/>
                  </a:lnTo>
                  <a:lnTo>
                    <a:pt x="326445" y="380233"/>
                  </a:lnTo>
                  <a:lnTo>
                    <a:pt x="325843" y="381896"/>
                  </a:lnTo>
                  <a:lnTo>
                    <a:pt x="325428" y="382356"/>
                  </a:lnTo>
                  <a:lnTo>
                    <a:pt x="324534" y="382899"/>
                  </a:lnTo>
                  <a:lnTo>
                    <a:pt x="323066" y="383385"/>
                  </a:lnTo>
                  <a:lnTo>
                    <a:pt x="320980" y="383626"/>
                  </a:lnTo>
                  <a:lnTo>
                    <a:pt x="318032" y="383539"/>
                  </a:lnTo>
                  <a:lnTo>
                    <a:pt x="314346" y="382996"/>
                  </a:lnTo>
                  <a:lnTo>
                    <a:pt x="312355" y="382592"/>
                  </a:lnTo>
                  <a:lnTo>
                    <a:pt x="306976" y="381995"/>
                  </a:lnTo>
                  <a:lnTo>
                    <a:pt x="305419" y="381701"/>
                  </a:lnTo>
                  <a:lnTo>
                    <a:pt x="303221" y="380920"/>
                  </a:lnTo>
                  <a:lnTo>
                    <a:pt x="301636" y="380132"/>
                  </a:lnTo>
                  <a:lnTo>
                    <a:pt x="296417" y="378429"/>
                  </a:lnTo>
                  <a:lnTo>
                    <a:pt x="294052" y="378637"/>
                  </a:lnTo>
                  <a:lnTo>
                    <a:pt x="292904" y="377435"/>
                  </a:lnTo>
                  <a:lnTo>
                    <a:pt x="291873" y="376846"/>
                  </a:lnTo>
                  <a:lnTo>
                    <a:pt x="290459" y="375715"/>
                  </a:lnTo>
                  <a:lnTo>
                    <a:pt x="289824" y="374157"/>
                  </a:lnTo>
                  <a:lnTo>
                    <a:pt x="288982" y="370830"/>
                  </a:lnTo>
                  <a:lnTo>
                    <a:pt x="289185" y="369050"/>
                  </a:lnTo>
                  <a:lnTo>
                    <a:pt x="289794" y="367067"/>
                  </a:lnTo>
                  <a:lnTo>
                    <a:pt x="289118" y="366518"/>
                  </a:lnTo>
                  <a:lnTo>
                    <a:pt x="288172" y="366518"/>
                  </a:lnTo>
                  <a:lnTo>
                    <a:pt x="286821" y="367202"/>
                  </a:lnTo>
                  <a:lnTo>
                    <a:pt x="284413" y="367585"/>
                  </a:lnTo>
                  <a:lnTo>
                    <a:pt x="280010" y="368460"/>
                  </a:lnTo>
                  <a:lnTo>
                    <a:pt x="278451" y="368954"/>
                  </a:lnTo>
                  <a:lnTo>
                    <a:pt x="276721" y="369325"/>
                  </a:lnTo>
                  <a:lnTo>
                    <a:pt x="275397" y="369665"/>
                  </a:lnTo>
                  <a:lnTo>
                    <a:pt x="272087" y="371580"/>
                  </a:lnTo>
                  <a:lnTo>
                    <a:pt x="270938" y="371786"/>
                  </a:lnTo>
                  <a:lnTo>
                    <a:pt x="268978" y="371101"/>
                  </a:lnTo>
                  <a:lnTo>
                    <a:pt x="268031" y="370075"/>
                  </a:lnTo>
                  <a:lnTo>
                    <a:pt x="268978" y="368912"/>
                  </a:lnTo>
                  <a:lnTo>
                    <a:pt x="269383" y="367476"/>
                  </a:lnTo>
                  <a:lnTo>
                    <a:pt x="268707" y="364671"/>
                  </a:lnTo>
                  <a:lnTo>
                    <a:pt x="267695" y="363371"/>
                  </a:lnTo>
                  <a:lnTo>
                    <a:pt x="264760" y="362435"/>
                  </a:lnTo>
                  <a:lnTo>
                    <a:pt x="263639" y="362346"/>
                  </a:lnTo>
                  <a:lnTo>
                    <a:pt x="263167" y="360772"/>
                  </a:lnTo>
                  <a:lnTo>
                    <a:pt x="262355" y="359337"/>
                  </a:lnTo>
                  <a:lnTo>
                    <a:pt x="260681" y="359060"/>
                  </a:lnTo>
                  <a:lnTo>
                    <a:pt x="259880" y="358896"/>
                  </a:lnTo>
                  <a:lnTo>
                    <a:pt x="259044" y="359337"/>
                  </a:lnTo>
                  <a:lnTo>
                    <a:pt x="258572" y="360499"/>
                  </a:lnTo>
                  <a:lnTo>
                    <a:pt x="258436" y="361389"/>
                  </a:lnTo>
                  <a:lnTo>
                    <a:pt x="256948" y="362070"/>
                  </a:lnTo>
                  <a:lnTo>
                    <a:pt x="253907" y="361935"/>
                  </a:lnTo>
                  <a:lnTo>
                    <a:pt x="250891" y="361286"/>
                  </a:lnTo>
                  <a:lnTo>
                    <a:pt x="248768" y="361078"/>
                  </a:lnTo>
                  <a:lnTo>
                    <a:pt x="247358" y="361238"/>
                  </a:lnTo>
                  <a:lnTo>
                    <a:pt x="241975" y="363438"/>
                  </a:lnTo>
                  <a:lnTo>
                    <a:pt x="240195" y="363731"/>
                  </a:lnTo>
                  <a:lnTo>
                    <a:pt x="234412" y="363561"/>
                  </a:lnTo>
                  <a:lnTo>
                    <a:pt x="231134" y="363102"/>
                  </a:lnTo>
                  <a:lnTo>
                    <a:pt x="228802" y="363015"/>
                  </a:lnTo>
                  <a:lnTo>
                    <a:pt x="227146" y="363705"/>
                  </a:lnTo>
                  <a:lnTo>
                    <a:pt x="225086" y="365333"/>
                  </a:lnTo>
                  <a:lnTo>
                    <a:pt x="223361" y="366210"/>
                  </a:lnTo>
                  <a:lnTo>
                    <a:pt x="222561" y="366109"/>
                  </a:lnTo>
                  <a:lnTo>
                    <a:pt x="222071" y="365427"/>
                  </a:lnTo>
                  <a:lnTo>
                    <a:pt x="221397" y="364494"/>
                  </a:lnTo>
                  <a:lnTo>
                    <a:pt x="221188" y="362048"/>
                  </a:lnTo>
                  <a:lnTo>
                    <a:pt x="220331" y="359355"/>
                  </a:lnTo>
                  <a:lnTo>
                    <a:pt x="220897" y="357950"/>
                  </a:lnTo>
                  <a:lnTo>
                    <a:pt x="222598" y="356932"/>
                  </a:lnTo>
                  <a:lnTo>
                    <a:pt x="223186" y="354860"/>
                  </a:lnTo>
                  <a:lnTo>
                    <a:pt x="222659" y="351735"/>
                  </a:lnTo>
                  <a:lnTo>
                    <a:pt x="222624" y="349539"/>
                  </a:lnTo>
                  <a:lnTo>
                    <a:pt x="223084" y="348274"/>
                  </a:lnTo>
                  <a:lnTo>
                    <a:pt x="222466" y="345199"/>
                  </a:lnTo>
                  <a:lnTo>
                    <a:pt x="220769" y="340319"/>
                  </a:lnTo>
                  <a:lnTo>
                    <a:pt x="218368" y="336349"/>
                  </a:lnTo>
                  <a:lnTo>
                    <a:pt x="215261" y="333287"/>
                  </a:lnTo>
                  <a:lnTo>
                    <a:pt x="213226" y="330355"/>
                  </a:lnTo>
                  <a:lnTo>
                    <a:pt x="212265" y="327556"/>
                  </a:lnTo>
                  <a:lnTo>
                    <a:pt x="212626" y="320859"/>
                  </a:lnTo>
                  <a:lnTo>
                    <a:pt x="213563" y="314954"/>
                  </a:lnTo>
                  <a:lnTo>
                    <a:pt x="214304" y="310272"/>
                  </a:lnTo>
                  <a:lnTo>
                    <a:pt x="214094" y="302427"/>
                  </a:lnTo>
                  <a:lnTo>
                    <a:pt x="211993" y="297326"/>
                  </a:lnTo>
                  <a:lnTo>
                    <a:pt x="211533" y="291841"/>
                  </a:lnTo>
                  <a:lnTo>
                    <a:pt x="212717" y="285974"/>
                  </a:lnTo>
                  <a:lnTo>
                    <a:pt x="212894" y="281958"/>
                  </a:lnTo>
                  <a:lnTo>
                    <a:pt x="212108" y="279904"/>
                  </a:lnTo>
                  <a:lnTo>
                    <a:pt x="211568" y="279593"/>
                  </a:lnTo>
                  <a:lnTo>
                    <a:pt x="210892" y="279389"/>
                  </a:lnTo>
                  <a:lnTo>
                    <a:pt x="205580" y="279194"/>
                  </a:lnTo>
                  <a:lnTo>
                    <a:pt x="198493" y="278934"/>
                  </a:lnTo>
                  <a:lnTo>
                    <a:pt x="192315" y="278855"/>
                  </a:lnTo>
                  <a:lnTo>
                    <a:pt x="185612" y="278773"/>
                  </a:lnTo>
                  <a:lnTo>
                    <a:pt x="184519" y="278033"/>
                  </a:lnTo>
                  <a:lnTo>
                    <a:pt x="184021" y="276663"/>
                  </a:lnTo>
                  <a:lnTo>
                    <a:pt x="184045" y="275307"/>
                  </a:lnTo>
                  <a:lnTo>
                    <a:pt x="185411" y="271161"/>
                  </a:lnTo>
                  <a:lnTo>
                    <a:pt x="185219" y="270822"/>
                  </a:lnTo>
                  <a:lnTo>
                    <a:pt x="182835" y="270731"/>
                  </a:lnTo>
                  <a:lnTo>
                    <a:pt x="176374" y="271408"/>
                  </a:lnTo>
                  <a:lnTo>
                    <a:pt x="172116" y="272078"/>
                  </a:lnTo>
                  <a:lnTo>
                    <a:pt x="169413" y="272297"/>
                  </a:lnTo>
                  <a:lnTo>
                    <a:pt x="164662" y="273425"/>
                  </a:lnTo>
                  <a:lnTo>
                    <a:pt x="161727" y="275811"/>
                  </a:lnTo>
                  <a:lnTo>
                    <a:pt x="160758" y="278812"/>
                  </a:lnTo>
                  <a:lnTo>
                    <a:pt x="160838" y="281285"/>
                  </a:lnTo>
                  <a:lnTo>
                    <a:pt x="160671" y="283095"/>
                  </a:lnTo>
                  <a:lnTo>
                    <a:pt x="159333" y="284989"/>
                  </a:lnTo>
                  <a:lnTo>
                    <a:pt x="158279" y="287162"/>
                  </a:lnTo>
                  <a:lnTo>
                    <a:pt x="158240" y="288307"/>
                  </a:lnTo>
                  <a:lnTo>
                    <a:pt x="157596" y="294092"/>
                  </a:lnTo>
                  <a:lnTo>
                    <a:pt x="153215" y="294868"/>
                  </a:lnTo>
                  <a:lnTo>
                    <a:pt x="148831" y="294868"/>
                  </a:lnTo>
                  <a:lnTo>
                    <a:pt x="147812" y="294794"/>
                  </a:lnTo>
                  <a:lnTo>
                    <a:pt x="142396" y="293412"/>
                  </a:lnTo>
                  <a:lnTo>
                    <a:pt x="140390" y="293410"/>
                  </a:lnTo>
                  <a:lnTo>
                    <a:pt x="138665" y="294135"/>
                  </a:lnTo>
                  <a:lnTo>
                    <a:pt x="135353" y="294842"/>
                  </a:lnTo>
                  <a:lnTo>
                    <a:pt x="132182" y="295365"/>
                  </a:lnTo>
                  <a:lnTo>
                    <a:pt x="128991" y="297078"/>
                  </a:lnTo>
                  <a:lnTo>
                    <a:pt x="128142" y="297230"/>
                  </a:lnTo>
                  <a:lnTo>
                    <a:pt x="126026" y="296341"/>
                  </a:lnTo>
                  <a:lnTo>
                    <a:pt x="123057" y="296424"/>
                  </a:lnTo>
                  <a:lnTo>
                    <a:pt x="120062" y="296854"/>
                  </a:lnTo>
                  <a:lnTo>
                    <a:pt x="118652" y="297039"/>
                  </a:lnTo>
                  <a:lnTo>
                    <a:pt x="117689" y="296524"/>
                  </a:lnTo>
                  <a:lnTo>
                    <a:pt x="114931" y="292208"/>
                  </a:lnTo>
                  <a:lnTo>
                    <a:pt x="111254" y="286456"/>
                  </a:lnTo>
                  <a:lnTo>
                    <a:pt x="109265" y="282854"/>
                  </a:lnTo>
                  <a:lnTo>
                    <a:pt x="108524" y="281914"/>
                  </a:lnTo>
                  <a:lnTo>
                    <a:pt x="107246" y="280670"/>
                  </a:lnTo>
                  <a:lnTo>
                    <a:pt x="105499" y="278322"/>
                  </a:lnTo>
                  <a:lnTo>
                    <a:pt x="104776" y="276090"/>
                  </a:lnTo>
                  <a:lnTo>
                    <a:pt x="105080" y="273981"/>
                  </a:lnTo>
                  <a:lnTo>
                    <a:pt x="104054" y="271135"/>
                  </a:lnTo>
                  <a:lnTo>
                    <a:pt x="101703" y="267548"/>
                  </a:lnTo>
                  <a:lnTo>
                    <a:pt x="100153" y="264126"/>
                  </a:lnTo>
                  <a:lnTo>
                    <a:pt x="99410" y="260867"/>
                  </a:lnTo>
                  <a:lnTo>
                    <a:pt x="99224" y="258076"/>
                  </a:lnTo>
                  <a:lnTo>
                    <a:pt x="99595" y="255755"/>
                  </a:lnTo>
                  <a:lnTo>
                    <a:pt x="99142" y="254043"/>
                  </a:lnTo>
                  <a:lnTo>
                    <a:pt x="97865" y="252940"/>
                  </a:lnTo>
                  <a:lnTo>
                    <a:pt x="97168" y="251542"/>
                  </a:lnTo>
                  <a:lnTo>
                    <a:pt x="96663" y="250959"/>
                  </a:lnTo>
                  <a:lnTo>
                    <a:pt x="95600" y="249639"/>
                  </a:lnTo>
                  <a:lnTo>
                    <a:pt x="93264" y="248183"/>
                  </a:lnTo>
                  <a:lnTo>
                    <a:pt x="90694" y="247416"/>
                  </a:lnTo>
                  <a:lnTo>
                    <a:pt x="85054" y="247401"/>
                  </a:lnTo>
                  <a:lnTo>
                    <a:pt x="77686" y="247377"/>
                  </a:lnTo>
                  <a:lnTo>
                    <a:pt x="71009" y="247488"/>
                  </a:lnTo>
                  <a:lnTo>
                    <a:pt x="63587" y="247613"/>
                  </a:lnTo>
                  <a:lnTo>
                    <a:pt x="56071" y="247736"/>
                  </a:lnTo>
                  <a:lnTo>
                    <a:pt x="54047" y="247932"/>
                  </a:lnTo>
                  <a:lnTo>
                    <a:pt x="48314" y="248016"/>
                  </a:lnTo>
                  <a:lnTo>
                    <a:pt x="43719" y="247646"/>
                  </a:lnTo>
                  <a:lnTo>
                    <a:pt x="42015" y="247405"/>
                  </a:lnTo>
                  <a:lnTo>
                    <a:pt x="39024" y="247229"/>
                  </a:lnTo>
                  <a:lnTo>
                    <a:pt x="34293" y="247184"/>
                  </a:lnTo>
                  <a:lnTo>
                    <a:pt x="31739" y="247329"/>
                  </a:lnTo>
                  <a:lnTo>
                    <a:pt x="25602" y="247331"/>
                  </a:lnTo>
                  <a:lnTo>
                    <a:pt x="25049" y="247366"/>
                  </a:lnTo>
                  <a:lnTo>
                    <a:pt x="24079" y="247776"/>
                  </a:lnTo>
                  <a:lnTo>
                    <a:pt x="21464" y="247208"/>
                  </a:lnTo>
                  <a:lnTo>
                    <a:pt x="18895" y="247398"/>
                  </a:lnTo>
                  <a:lnTo>
                    <a:pt x="17461" y="246762"/>
                  </a:lnTo>
                  <a:lnTo>
                    <a:pt x="14311" y="247160"/>
                  </a:lnTo>
                  <a:lnTo>
                    <a:pt x="12779" y="247684"/>
                  </a:lnTo>
                  <a:lnTo>
                    <a:pt x="10326" y="249528"/>
                  </a:lnTo>
                  <a:lnTo>
                    <a:pt x="6653" y="250490"/>
                  </a:lnTo>
                  <a:lnTo>
                    <a:pt x="5291" y="250408"/>
                  </a:lnTo>
                  <a:lnTo>
                    <a:pt x="4379" y="250094"/>
                  </a:lnTo>
                  <a:lnTo>
                    <a:pt x="2241" y="248074"/>
                  </a:lnTo>
                  <a:lnTo>
                    <a:pt x="592" y="246123"/>
                  </a:lnTo>
                  <a:lnTo>
                    <a:pt x="0" y="245044"/>
                  </a:lnTo>
                  <a:lnTo>
                    <a:pt x="920" y="244773"/>
                  </a:lnTo>
                  <a:lnTo>
                    <a:pt x="3812" y="244357"/>
                  </a:lnTo>
                  <a:lnTo>
                    <a:pt x="5990" y="244158"/>
                  </a:lnTo>
                  <a:lnTo>
                    <a:pt x="6413" y="243648"/>
                  </a:lnTo>
                  <a:lnTo>
                    <a:pt x="6750" y="237633"/>
                  </a:lnTo>
                  <a:lnTo>
                    <a:pt x="6826" y="231521"/>
                  </a:lnTo>
                  <a:lnTo>
                    <a:pt x="6053" y="230718"/>
                  </a:lnTo>
                  <a:lnTo>
                    <a:pt x="5297" y="230229"/>
                  </a:lnTo>
                  <a:lnTo>
                    <a:pt x="5258" y="229805"/>
                  </a:lnTo>
                  <a:lnTo>
                    <a:pt x="6392" y="229038"/>
                  </a:lnTo>
                  <a:lnTo>
                    <a:pt x="7957" y="228144"/>
                  </a:lnTo>
                  <a:lnTo>
                    <a:pt x="8459" y="227741"/>
                  </a:lnTo>
                  <a:lnTo>
                    <a:pt x="10197" y="226122"/>
                  </a:lnTo>
                  <a:lnTo>
                    <a:pt x="13621" y="222382"/>
                  </a:lnTo>
                  <a:lnTo>
                    <a:pt x="16225" y="221467"/>
                  </a:lnTo>
                  <a:lnTo>
                    <a:pt x="18655" y="220487"/>
                  </a:lnTo>
                  <a:lnTo>
                    <a:pt x="18996" y="220125"/>
                  </a:lnTo>
                  <a:lnTo>
                    <a:pt x="19320" y="219398"/>
                  </a:lnTo>
                  <a:lnTo>
                    <a:pt x="20409" y="219450"/>
                  </a:lnTo>
                  <a:lnTo>
                    <a:pt x="20756" y="219805"/>
                  </a:lnTo>
                  <a:lnTo>
                    <a:pt x="21290" y="220593"/>
                  </a:lnTo>
                  <a:lnTo>
                    <a:pt x="22244" y="221701"/>
                  </a:lnTo>
                  <a:lnTo>
                    <a:pt x="23961" y="223017"/>
                  </a:lnTo>
                  <a:lnTo>
                    <a:pt x="25697" y="224439"/>
                  </a:lnTo>
                  <a:lnTo>
                    <a:pt x="26563" y="224616"/>
                  </a:lnTo>
                  <a:lnTo>
                    <a:pt x="27966" y="223897"/>
                  </a:lnTo>
                  <a:lnTo>
                    <a:pt x="29586" y="222828"/>
                  </a:lnTo>
                  <a:lnTo>
                    <a:pt x="31972" y="222047"/>
                  </a:lnTo>
                  <a:lnTo>
                    <a:pt x="32542" y="221320"/>
                  </a:lnTo>
                  <a:lnTo>
                    <a:pt x="32853" y="219762"/>
                  </a:lnTo>
                  <a:lnTo>
                    <a:pt x="33034" y="218098"/>
                  </a:lnTo>
                  <a:lnTo>
                    <a:pt x="33244" y="216131"/>
                  </a:lnTo>
                  <a:lnTo>
                    <a:pt x="33729" y="215865"/>
                  </a:lnTo>
                  <a:lnTo>
                    <a:pt x="34591" y="215674"/>
                  </a:lnTo>
                  <a:lnTo>
                    <a:pt x="36172" y="216229"/>
                  </a:lnTo>
                  <a:lnTo>
                    <a:pt x="36897" y="216799"/>
                  </a:lnTo>
                  <a:lnTo>
                    <a:pt x="38193" y="216799"/>
                  </a:lnTo>
                  <a:lnTo>
                    <a:pt x="39022" y="216280"/>
                  </a:lnTo>
                  <a:lnTo>
                    <a:pt x="40536" y="215311"/>
                  </a:lnTo>
                  <a:lnTo>
                    <a:pt x="42460" y="214924"/>
                  </a:lnTo>
                  <a:lnTo>
                    <a:pt x="44520" y="213996"/>
                  </a:lnTo>
                  <a:lnTo>
                    <a:pt x="46491" y="212799"/>
                  </a:lnTo>
                  <a:lnTo>
                    <a:pt x="47422" y="212695"/>
                  </a:lnTo>
                  <a:lnTo>
                    <a:pt x="48409" y="214253"/>
                  </a:lnTo>
                  <a:lnTo>
                    <a:pt x="49290" y="215346"/>
                  </a:lnTo>
                  <a:lnTo>
                    <a:pt x="49446" y="216021"/>
                  </a:lnTo>
                  <a:lnTo>
                    <a:pt x="48565" y="217319"/>
                  </a:lnTo>
                  <a:lnTo>
                    <a:pt x="47580" y="219035"/>
                  </a:lnTo>
                  <a:lnTo>
                    <a:pt x="48409" y="221164"/>
                  </a:lnTo>
                  <a:lnTo>
                    <a:pt x="48608" y="223233"/>
                  </a:lnTo>
                  <a:lnTo>
                    <a:pt x="48582" y="224480"/>
                  </a:lnTo>
                  <a:lnTo>
                    <a:pt x="49249" y="224986"/>
                  </a:lnTo>
                  <a:lnTo>
                    <a:pt x="49707" y="225226"/>
                  </a:lnTo>
                  <a:lnTo>
                    <a:pt x="50422" y="224932"/>
                  </a:lnTo>
                  <a:lnTo>
                    <a:pt x="51830" y="225023"/>
                  </a:lnTo>
                  <a:lnTo>
                    <a:pt x="53518" y="225672"/>
                  </a:lnTo>
                  <a:lnTo>
                    <a:pt x="55153" y="225599"/>
                  </a:lnTo>
                  <a:lnTo>
                    <a:pt x="56732" y="224800"/>
                  </a:lnTo>
                  <a:lnTo>
                    <a:pt x="59668" y="221694"/>
                  </a:lnTo>
                  <a:lnTo>
                    <a:pt x="63961" y="216276"/>
                  </a:lnTo>
                  <a:lnTo>
                    <a:pt x="67520" y="212877"/>
                  </a:lnTo>
                  <a:lnTo>
                    <a:pt x="70338" y="211489"/>
                  </a:lnTo>
                  <a:lnTo>
                    <a:pt x="72246" y="209868"/>
                  </a:lnTo>
                  <a:lnTo>
                    <a:pt x="73242" y="208012"/>
                  </a:lnTo>
                  <a:lnTo>
                    <a:pt x="74881" y="206749"/>
                  </a:lnTo>
                  <a:lnTo>
                    <a:pt x="78297" y="205744"/>
                  </a:lnTo>
                  <a:lnTo>
                    <a:pt x="80904" y="204608"/>
                  </a:lnTo>
                  <a:lnTo>
                    <a:pt x="83504" y="200887"/>
                  </a:lnTo>
                  <a:lnTo>
                    <a:pt x="86969" y="194199"/>
                  </a:lnTo>
                  <a:lnTo>
                    <a:pt x="87939" y="188228"/>
                  </a:lnTo>
                  <a:lnTo>
                    <a:pt x="88530" y="184595"/>
                  </a:lnTo>
                  <a:lnTo>
                    <a:pt x="88187" y="172081"/>
                  </a:lnTo>
                  <a:lnTo>
                    <a:pt x="87960" y="167973"/>
                  </a:lnTo>
                  <a:lnTo>
                    <a:pt x="88485" y="165733"/>
                  </a:lnTo>
                  <a:lnTo>
                    <a:pt x="89781" y="164193"/>
                  </a:lnTo>
                  <a:lnTo>
                    <a:pt x="93311" y="160933"/>
                  </a:lnTo>
                  <a:lnTo>
                    <a:pt x="95680" y="158263"/>
                  </a:lnTo>
                  <a:lnTo>
                    <a:pt x="97488" y="155140"/>
                  </a:lnTo>
                  <a:lnTo>
                    <a:pt x="100973" y="148006"/>
                  </a:lnTo>
                  <a:lnTo>
                    <a:pt x="102500" y="145708"/>
                  </a:lnTo>
                  <a:lnTo>
                    <a:pt x="103180" y="144678"/>
                  </a:lnTo>
                  <a:lnTo>
                    <a:pt x="105277" y="142777"/>
                  </a:lnTo>
                  <a:lnTo>
                    <a:pt x="108216" y="141108"/>
                  </a:lnTo>
                  <a:lnTo>
                    <a:pt x="112001" y="139674"/>
                  </a:lnTo>
                  <a:lnTo>
                    <a:pt x="117840" y="134706"/>
                  </a:lnTo>
                  <a:lnTo>
                    <a:pt x="122483" y="129709"/>
                  </a:lnTo>
                  <a:lnTo>
                    <a:pt x="121848" y="123706"/>
                  </a:lnTo>
                  <a:lnTo>
                    <a:pt x="122932" y="118728"/>
                  </a:lnTo>
                  <a:lnTo>
                    <a:pt x="125465" y="112392"/>
                  </a:lnTo>
                  <a:lnTo>
                    <a:pt x="126294" y="105688"/>
                  </a:lnTo>
                  <a:lnTo>
                    <a:pt x="125422" y="98621"/>
                  </a:lnTo>
                  <a:lnTo>
                    <a:pt x="125791" y="92845"/>
                  </a:lnTo>
                  <a:lnTo>
                    <a:pt x="128207" y="86121"/>
                  </a:lnTo>
                  <a:lnTo>
                    <a:pt x="129226" y="83628"/>
                  </a:lnTo>
                  <a:lnTo>
                    <a:pt x="129559" y="79546"/>
                  </a:lnTo>
                  <a:lnTo>
                    <a:pt x="129544" y="73045"/>
                  </a:lnTo>
                  <a:lnTo>
                    <a:pt x="132627" y="64160"/>
                  </a:lnTo>
                  <a:lnTo>
                    <a:pt x="135543" y="58839"/>
                  </a:lnTo>
                  <a:lnTo>
                    <a:pt x="138803" y="52886"/>
                  </a:lnTo>
                  <a:lnTo>
                    <a:pt x="140045" y="49288"/>
                  </a:lnTo>
                  <a:lnTo>
                    <a:pt x="141705" y="44484"/>
                  </a:lnTo>
                  <a:lnTo>
                    <a:pt x="141444" y="40624"/>
                  </a:lnTo>
                  <a:lnTo>
                    <a:pt x="141142" y="36190"/>
                  </a:lnTo>
                  <a:lnTo>
                    <a:pt x="141960" y="30087"/>
                  </a:lnTo>
                  <a:lnTo>
                    <a:pt x="141656" y="26493"/>
                  </a:lnTo>
                  <a:lnTo>
                    <a:pt x="140496" y="23370"/>
                  </a:lnTo>
                  <a:lnTo>
                    <a:pt x="141086" y="21406"/>
                  </a:lnTo>
                  <a:lnTo>
                    <a:pt x="143424" y="20600"/>
                  </a:lnTo>
                  <a:lnTo>
                    <a:pt x="146340" y="17480"/>
                  </a:lnTo>
                  <a:lnTo>
                    <a:pt x="151576" y="9326"/>
                  </a:lnTo>
                  <a:lnTo>
                    <a:pt x="157212" y="5350"/>
                  </a:lnTo>
                  <a:lnTo>
                    <a:pt x="161138" y="4093"/>
                  </a:lnTo>
                  <a:lnTo>
                    <a:pt x="165230" y="4228"/>
                  </a:lnTo>
                  <a:lnTo>
                    <a:pt x="167895" y="4939"/>
                  </a:lnTo>
                  <a:lnTo>
                    <a:pt x="169132" y="6225"/>
                  </a:lnTo>
                  <a:lnTo>
                    <a:pt x="172224" y="8144"/>
                  </a:lnTo>
                  <a:lnTo>
                    <a:pt x="177178" y="10695"/>
                  </a:lnTo>
                  <a:lnTo>
                    <a:pt x="180874" y="13874"/>
                  </a:lnTo>
                  <a:lnTo>
                    <a:pt x="182930" y="17079"/>
                  </a:lnTo>
                  <a:lnTo>
                    <a:pt x="184513" y="18826"/>
                  </a:lnTo>
                  <a:lnTo>
                    <a:pt x="186489" y="19425"/>
                  </a:lnTo>
                  <a:lnTo>
                    <a:pt x="189706" y="19167"/>
                  </a:lnTo>
                  <a:lnTo>
                    <a:pt x="193306" y="19924"/>
                  </a:lnTo>
                  <a:lnTo>
                    <a:pt x="197061" y="21717"/>
                  </a:lnTo>
                  <a:lnTo>
                    <a:pt x="199365" y="22382"/>
                  </a:lnTo>
                  <a:lnTo>
                    <a:pt x="200218" y="21918"/>
                  </a:lnTo>
                  <a:lnTo>
                    <a:pt x="202028" y="22178"/>
                  </a:lnTo>
                  <a:lnTo>
                    <a:pt x="206172" y="23652"/>
                  </a:lnTo>
                  <a:lnTo>
                    <a:pt x="209476" y="22842"/>
                  </a:lnTo>
                  <a:lnTo>
                    <a:pt x="214367" y="23451"/>
                  </a:lnTo>
                  <a:lnTo>
                    <a:pt x="225731" y="26086"/>
                  </a:lnTo>
                  <a:lnTo>
                    <a:pt x="226341" y="25639"/>
                  </a:lnTo>
                  <a:lnTo>
                    <a:pt x="226608" y="25536"/>
                  </a:lnTo>
                  <a:lnTo>
                    <a:pt x="227578" y="24475"/>
                  </a:lnTo>
                  <a:lnTo>
                    <a:pt x="230044" y="19205"/>
                  </a:lnTo>
                  <a:lnTo>
                    <a:pt x="232134" y="15966"/>
                  </a:lnTo>
                  <a:lnTo>
                    <a:pt x="233108" y="14749"/>
                  </a:lnTo>
                  <a:lnTo>
                    <a:pt x="235514" y="13039"/>
                  </a:lnTo>
                  <a:lnTo>
                    <a:pt x="238351" y="12596"/>
                  </a:lnTo>
                  <a:lnTo>
                    <a:pt x="241072" y="12750"/>
                  </a:lnTo>
                  <a:lnTo>
                    <a:pt x="243348" y="13502"/>
                  </a:lnTo>
                  <a:lnTo>
                    <a:pt x="245427" y="14376"/>
                  </a:lnTo>
                  <a:lnTo>
                    <a:pt x="247733" y="14385"/>
                  </a:lnTo>
                  <a:lnTo>
                    <a:pt x="250087" y="13539"/>
                  </a:lnTo>
                  <a:lnTo>
                    <a:pt x="253585" y="11999"/>
                  </a:lnTo>
                  <a:lnTo>
                    <a:pt x="257269" y="10989"/>
                  </a:lnTo>
                  <a:lnTo>
                    <a:pt x="260437" y="9883"/>
                  </a:lnTo>
                  <a:lnTo>
                    <a:pt x="265656" y="7942"/>
                  </a:lnTo>
                  <a:lnTo>
                    <a:pt x="267693" y="7049"/>
                  </a:lnTo>
                  <a:lnTo>
                    <a:pt x="270286" y="6698"/>
                  </a:lnTo>
                  <a:lnTo>
                    <a:pt x="277548" y="8469"/>
                  </a:lnTo>
                  <a:lnTo>
                    <a:pt x="282255" y="7296"/>
                  </a:lnTo>
                  <a:lnTo>
                    <a:pt x="284175" y="7641"/>
                  </a:lnTo>
                  <a:lnTo>
                    <a:pt x="288246" y="6374"/>
                  </a:lnTo>
                  <a:lnTo>
                    <a:pt x="288993" y="5529"/>
                  </a:lnTo>
                  <a:lnTo>
                    <a:pt x="291582" y="1246"/>
                  </a:lnTo>
                  <a:lnTo>
                    <a:pt x="294344" y="0"/>
                  </a:lnTo>
                  <a:lnTo>
                    <a:pt x="298518" y="630"/>
                  </a:lnTo>
                  <a:lnTo>
                    <a:pt x="300863" y="1294"/>
                  </a:lnTo>
                  <a:lnTo>
                    <a:pt x="308682" y="3125"/>
                  </a:lnTo>
                  <a:lnTo>
                    <a:pt x="318833" y="5030"/>
                  </a:lnTo>
                  <a:lnTo>
                    <a:pt x="321818" y="5324"/>
                  </a:lnTo>
                  <a:lnTo>
                    <a:pt x="323023" y="5536"/>
                  </a:lnTo>
                  <a:lnTo>
                    <a:pt x="324085" y="5241"/>
                  </a:lnTo>
                  <a:lnTo>
                    <a:pt x="327413" y="2832"/>
                  </a:lnTo>
                  <a:lnTo>
                    <a:pt x="328546" y="2490"/>
                  </a:lnTo>
                  <a:lnTo>
                    <a:pt x="329499" y="2533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91" name="ee4p_CG_1_82333">
              <a:extLst>
                <a:ext uri="{FF2B5EF4-FFF2-40B4-BE49-F238E27FC236}">
                  <a16:creationId xmlns:a16="http://schemas.microsoft.com/office/drawing/2014/main" id="{48AA08B7-5F36-5040-B746-9E17859ECB23}"/>
                </a:ext>
              </a:extLst>
            </p:cNvPr>
            <p:cNvSpPr>
              <a:spLocks noChangeAspect="1"/>
            </p:cNvSpPr>
            <p:nvPr>
              <p:custDataLst>
                <p:tags r:id="rId119"/>
              </p:custDataLst>
            </p:nvPr>
          </p:nvSpPr>
          <p:spPr>
            <a:xfrm>
              <a:off x="6823779" y="4572460"/>
              <a:ext cx="208048" cy="248096"/>
            </a:xfrm>
            <a:custGeom>
              <a:avLst/>
              <a:gdLst/>
              <a:ahLst/>
              <a:cxnLst/>
              <a:rect l="0" t="0" r="0" b="0"/>
              <a:pathLst>
                <a:path w="165664" h="192317">
                  <a:moveTo>
                    <a:pt x="165402" y="4625"/>
                  </a:moveTo>
                  <a:lnTo>
                    <a:pt x="165663" y="8485"/>
                  </a:lnTo>
                  <a:lnTo>
                    <a:pt x="164003" y="13289"/>
                  </a:lnTo>
                  <a:lnTo>
                    <a:pt x="162761" y="16887"/>
                  </a:lnTo>
                  <a:lnTo>
                    <a:pt x="159501" y="22840"/>
                  </a:lnTo>
                  <a:lnTo>
                    <a:pt x="156585" y="28161"/>
                  </a:lnTo>
                  <a:lnTo>
                    <a:pt x="153502" y="37046"/>
                  </a:lnTo>
                  <a:lnTo>
                    <a:pt x="153517" y="43547"/>
                  </a:lnTo>
                  <a:lnTo>
                    <a:pt x="153184" y="47629"/>
                  </a:lnTo>
                  <a:lnTo>
                    <a:pt x="152165" y="50122"/>
                  </a:lnTo>
                  <a:lnTo>
                    <a:pt x="149749" y="56846"/>
                  </a:lnTo>
                  <a:lnTo>
                    <a:pt x="149380" y="62622"/>
                  </a:lnTo>
                  <a:lnTo>
                    <a:pt x="150252" y="69689"/>
                  </a:lnTo>
                  <a:lnTo>
                    <a:pt x="149423" y="76393"/>
                  </a:lnTo>
                  <a:lnTo>
                    <a:pt x="146890" y="82729"/>
                  </a:lnTo>
                  <a:lnTo>
                    <a:pt x="145806" y="87707"/>
                  </a:lnTo>
                  <a:lnTo>
                    <a:pt x="146441" y="93710"/>
                  </a:lnTo>
                  <a:lnTo>
                    <a:pt x="141798" y="98707"/>
                  </a:lnTo>
                  <a:lnTo>
                    <a:pt x="135959" y="103675"/>
                  </a:lnTo>
                  <a:lnTo>
                    <a:pt x="132174" y="105109"/>
                  </a:lnTo>
                  <a:lnTo>
                    <a:pt x="129235" y="106778"/>
                  </a:lnTo>
                  <a:lnTo>
                    <a:pt x="127138" y="108679"/>
                  </a:lnTo>
                  <a:lnTo>
                    <a:pt x="126458" y="109709"/>
                  </a:lnTo>
                  <a:lnTo>
                    <a:pt x="124931" y="112007"/>
                  </a:lnTo>
                  <a:lnTo>
                    <a:pt x="121446" y="119141"/>
                  </a:lnTo>
                  <a:lnTo>
                    <a:pt x="119638" y="122264"/>
                  </a:lnTo>
                  <a:lnTo>
                    <a:pt x="117269" y="124934"/>
                  </a:lnTo>
                  <a:lnTo>
                    <a:pt x="113739" y="128194"/>
                  </a:lnTo>
                  <a:lnTo>
                    <a:pt x="112443" y="129734"/>
                  </a:lnTo>
                  <a:lnTo>
                    <a:pt x="111918" y="131974"/>
                  </a:lnTo>
                  <a:lnTo>
                    <a:pt x="112145" y="136082"/>
                  </a:lnTo>
                  <a:lnTo>
                    <a:pt x="112488" y="148596"/>
                  </a:lnTo>
                  <a:lnTo>
                    <a:pt x="111897" y="152229"/>
                  </a:lnTo>
                  <a:lnTo>
                    <a:pt x="110927" y="158200"/>
                  </a:lnTo>
                  <a:lnTo>
                    <a:pt x="107462" y="164888"/>
                  </a:lnTo>
                  <a:lnTo>
                    <a:pt x="104862" y="168609"/>
                  </a:lnTo>
                  <a:lnTo>
                    <a:pt x="102255" y="169745"/>
                  </a:lnTo>
                  <a:lnTo>
                    <a:pt x="98839" y="170750"/>
                  </a:lnTo>
                  <a:lnTo>
                    <a:pt x="97200" y="172013"/>
                  </a:lnTo>
                  <a:lnTo>
                    <a:pt x="96204" y="173869"/>
                  </a:lnTo>
                  <a:lnTo>
                    <a:pt x="94296" y="175490"/>
                  </a:lnTo>
                  <a:lnTo>
                    <a:pt x="91478" y="176878"/>
                  </a:lnTo>
                  <a:lnTo>
                    <a:pt x="87919" y="180277"/>
                  </a:lnTo>
                  <a:lnTo>
                    <a:pt x="83626" y="185695"/>
                  </a:lnTo>
                  <a:lnTo>
                    <a:pt x="80690" y="188801"/>
                  </a:lnTo>
                  <a:lnTo>
                    <a:pt x="79111" y="189600"/>
                  </a:lnTo>
                  <a:lnTo>
                    <a:pt x="77476" y="189673"/>
                  </a:lnTo>
                  <a:lnTo>
                    <a:pt x="75788" y="189024"/>
                  </a:lnTo>
                  <a:lnTo>
                    <a:pt x="74380" y="188933"/>
                  </a:lnTo>
                  <a:lnTo>
                    <a:pt x="73665" y="189227"/>
                  </a:lnTo>
                  <a:lnTo>
                    <a:pt x="73207" y="188987"/>
                  </a:lnTo>
                  <a:lnTo>
                    <a:pt x="72540" y="188481"/>
                  </a:lnTo>
                  <a:lnTo>
                    <a:pt x="72566" y="187234"/>
                  </a:lnTo>
                  <a:lnTo>
                    <a:pt x="72367" y="185165"/>
                  </a:lnTo>
                  <a:lnTo>
                    <a:pt x="71538" y="183036"/>
                  </a:lnTo>
                  <a:lnTo>
                    <a:pt x="72523" y="181320"/>
                  </a:lnTo>
                  <a:lnTo>
                    <a:pt x="73404" y="180022"/>
                  </a:lnTo>
                  <a:lnTo>
                    <a:pt x="73248" y="179347"/>
                  </a:lnTo>
                  <a:lnTo>
                    <a:pt x="72367" y="178254"/>
                  </a:lnTo>
                  <a:lnTo>
                    <a:pt x="71380" y="176696"/>
                  </a:lnTo>
                  <a:lnTo>
                    <a:pt x="70449" y="176800"/>
                  </a:lnTo>
                  <a:lnTo>
                    <a:pt x="68478" y="177997"/>
                  </a:lnTo>
                  <a:lnTo>
                    <a:pt x="66418" y="178925"/>
                  </a:lnTo>
                  <a:lnTo>
                    <a:pt x="64494" y="179312"/>
                  </a:lnTo>
                  <a:lnTo>
                    <a:pt x="62980" y="180281"/>
                  </a:lnTo>
                  <a:lnTo>
                    <a:pt x="62151" y="180800"/>
                  </a:lnTo>
                  <a:lnTo>
                    <a:pt x="60855" y="180800"/>
                  </a:lnTo>
                  <a:lnTo>
                    <a:pt x="60130" y="180230"/>
                  </a:lnTo>
                  <a:lnTo>
                    <a:pt x="58549" y="179675"/>
                  </a:lnTo>
                  <a:lnTo>
                    <a:pt x="57687" y="179866"/>
                  </a:lnTo>
                  <a:lnTo>
                    <a:pt x="57202" y="180132"/>
                  </a:lnTo>
                  <a:lnTo>
                    <a:pt x="56992" y="182099"/>
                  </a:lnTo>
                  <a:lnTo>
                    <a:pt x="56811" y="183763"/>
                  </a:lnTo>
                  <a:lnTo>
                    <a:pt x="56500" y="185321"/>
                  </a:lnTo>
                  <a:lnTo>
                    <a:pt x="55930" y="186048"/>
                  </a:lnTo>
                  <a:lnTo>
                    <a:pt x="53544" y="186829"/>
                  </a:lnTo>
                  <a:lnTo>
                    <a:pt x="51924" y="187898"/>
                  </a:lnTo>
                  <a:lnTo>
                    <a:pt x="50521" y="188617"/>
                  </a:lnTo>
                  <a:lnTo>
                    <a:pt x="49655" y="188440"/>
                  </a:lnTo>
                  <a:lnTo>
                    <a:pt x="47919" y="187018"/>
                  </a:lnTo>
                  <a:lnTo>
                    <a:pt x="46202" y="185702"/>
                  </a:lnTo>
                  <a:lnTo>
                    <a:pt x="45248" y="184594"/>
                  </a:lnTo>
                  <a:lnTo>
                    <a:pt x="44714" y="183806"/>
                  </a:lnTo>
                  <a:lnTo>
                    <a:pt x="44367" y="183451"/>
                  </a:lnTo>
                  <a:lnTo>
                    <a:pt x="43278" y="183399"/>
                  </a:lnTo>
                  <a:lnTo>
                    <a:pt x="42954" y="184126"/>
                  </a:lnTo>
                  <a:lnTo>
                    <a:pt x="42408" y="183782"/>
                  </a:lnTo>
                  <a:lnTo>
                    <a:pt x="40713" y="182287"/>
                  </a:lnTo>
                  <a:lnTo>
                    <a:pt x="38715" y="179924"/>
                  </a:lnTo>
                  <a:lnTo>
                    <a:pt x="37988" y="179565"/>
                  </a:lnTo>
                  <a:lnTo>
                    <a:pt x="36884" y="179602"/>
                  </a:lnTo>
                  <a:lnTo>
                    <a:pt x="35142" y="180470"/>
                  </a:lnTo>
                  <a:lnTo>
                    <a:pt x="33423" y="181831"/>
                  </a:lnTo>
                  <a:lnTo>
                    <a:pt x="30322" y="183079"/>
                  </a:lnTo>
                  <a:lnTo>
                    <a:pt x="27737" y="183780"/>
                  </a:lnTo>
                  <a:lnTo>
                    <a:pt x="27504" y="184635"/>
                  </a:lnTo>
                  <a:lnTo>
                    <a:pt x="26899" y="186106"/>
                  </a:lnTo>
                  <a:lnTo>
                    <a:pt x="26042" y="187024"/>
                  </a:lnTo>
                  <a:lnTo>
                    <a:pt x="23751" y="187314"/>
                  </a:lnTo>
                  <a:lnTo>
                    <a:pt x="22928" y="188623"/>
                  </a:lnTo>
                  <a:lnTo>
                    <a:pt x="20948" y="191160"/>
                  </a:lnTo>
                  <a:lnTo>
                    <a:pt x="19639" y="192316"/>
                  </a:lnTo>
                  <a:lnTo>
                    <a:pt x="19294" y="191822"/>
                  </a:lnTo>
                  <a:lnTo>
                    <a:pt x="18499" y="191210"/>
                  </a:lnTo>
                  <a:lnTo>
                    <a:pt x="16873" y="189245"/>
                  </a:lnTo>
                  <a:lnTo>
                    <a:pt x="15269" y="186801"/>
                  </a:lnTo>
                  <a:lnTo>
                    <a:pt x="14839" y="185687"/>
                  </a:lnTo>
                  <a:lnTo>
                    <a:pt x="14388" y="185053"/>
                  </a:lnTo>
                  <a:lnTo>
                    <a:pt x="14314" y="182598"/>
                  </a:lnTo>
                  <a:lnTo>
                    <a:pt x="11894" y="179684"/>
                  </a:lnTo>
                  <a:lnTo>
                    <a:pt x="5830" y="174501"/>
                  </a:lnTo>
                  <a:lnTo>
                    <a:pt x="5180" y="172956"/>
                  </a:lnTo>
                  <a:lnTo>
                    <a:pt x="0" y="168211"/>
                  </a:lnTo>
                  <a:lnTo>
                    <a:pt x="1323" y="164794"/>
                  </a:lnTo>
                  <a:lnTo>
                    <a:pt x="2306" y="163218"/>
                  </a:lnTo>
                  <a:lnTo>
                    <a:pt x="3496" y="162118"/>
                  </a:lnTo>
                  <a:lnTo>
                    <a:pt x="8272" y="159443"/>
                  </a:lnTo>
                  <a:lnTo>
                    <a:pt x="8991" y="159547"/>
                  </a:lnTo>
                  <a:lnTo>
                    <a:pt x="12284" y="163024"/>
                  </a:lnTo>
                  <a:lnTo>
                    <a:pt x="13338" y="163300"/>
                  </a:lnTo>
                  <a:lnTo>
                    <a:pt x="14511" y="163205"/>
                  </a:lnTo>
                  <a:lnTo>
                    <a:pt x="15897" y="163348"/>
                  </a:lnTo>
                  <a:lnTo>
                    <a:pt x="16577" y="162667"/>
                  </a:lnTo>
                  <a:lnTo>
                    <a:pt x="16685" y="161769"/>
                  </a:lnTo>
                  <a:lnTo>
                    <a:pt x="15683" y="160766"/>
                  </a:lnTo>
                  <a:lnTo>
                    <a:pt x="15538" y="159690"/>
                  </a:lnTo>
                  <a:lnTo>
                    <a:pt x="16243" y="158520"/>
                  </a:lnTo>
                  <a:lnTo>
                    <a:pt x="16642" y="157227"/>
                  </a:lnTo>
                  <a:lnTo>
                    <a:pt x="17670" y="155695"/>
                  </a:lnTo>
                  <a:lnTo>
                    <a:pt x="17778" y="154977"/>
                  </a:lnTo>
                  <a:lnTo>
                    <a:pt x="16692" y="154194"/>
                  </a:lnTo>
                  <a:lnTo>
                    <a:pt x="14465" y="152997"/>
                  </a:lnTo>
                  <a:lnTo>
                    <a:pt x="12941" y="151843"/>
                  </a:lnTo>
                  <a:lnTo>
                    <a:pt x="12358" y="150736"/>
                  </a:lnTo>
                  <a:lnTo>
                    <a:pt x="12777" y="149322"/>
                  </a:lnTo>
                  <a:lnTo>
                    <a:pt x="14003" y="148175"/>
                  </a:lnTo>
                  <a:lnTo>
                    <a:pt x="13930" y="147552"/>
                  </a:lnTo>
                  <a:lnTo>
                    <a:pt x="12850" y="146521"/>
                  </a:lnTo>
                  <a:lnTo>
                    <a:pt x="12062" y="145417"/>
                  </a:lnTo>
                  <a:lnTo>
                    <a:pt x="11252" y="144725"/>
                  </a:lnTo>
                  <a:lnTo>
                    <a:pt x="9013" y="144312"/>
                  </a:lnTo>
                  <a:lnTo>
                    <a:pt x="9440" y="142828"/>
                  </a:lnTo>
                  <a:lnTo>
                    <a:pt x="10267" y="140645"/>
                  </a:lnTo>
                  <a:lnTo>
                    <a:pt x="10464" y="138973"/>
                  </a:lnTo>
                  <a:lnTo>
                    <a:pt x="9840" y="134584"/>
                  </a:lnTo>
                  <a:lnTo>
                    <a:pt x="9896" y="133785"/>
                  </a:lnTo>
                  <a:lnTo>
                    <a:pt x="10509" y="133379"/>
                  </a:lnTo>
                  <a:lnTo>
                    <a:pt x="11846" y="133865"/>
                  </a:lnTo>
                  <a:lnTo>
                    <a:pt x="13191" y="134533"/>
                  </a:lnTo>
                  <a:lnTo>
                    <a:pt x="16854" y="133575"/>
                  </a:lnTo>
                  <a:lnTo>
                    <a:pt x="18134" y="133429"/>
                  </a:lnTo>
                  <a:lnTo>
                    <a:pt x="19194" y="134269"/>
                  </a:lnTo>
                  <a:lnTo>
                    <a:pt x="20658" y="134928"/>
                  </a:lnTo>
                  <a:lnTo>
                    <a:pt x="29104" y="133100"/>
                  </a:lnTo>
                  <a:lnTo>
                    <a:pt x="29268" y="131233"/>
                  </a:lnTo>
                  <a:lnTo>
                    <a:pt x="29752" y="129544"/>
                  </a:lnTo>
                  <a:lnTo>
                    <a:pt x="29814" y="128278"/>
                  </a:lnTo>
                  <a:lnTo>
                    <a:pt x="29462" y="127466"/>
                  </a:lnTo>
                  <a:lnTo>
                    <a:pt x="29045" y="126852"/>
                  </a:lnTo>
                  <a:lnTo>
                    <a:pt x="28795" y="125586"/>
                  </a:lnTo>
                  <a:lnTo>
                    <a:pt x="28788" y="124228"/>
                  </a:lnTo>
                  <a:lnTo>
                    <a:pt x="29596" y="123588"/>
                  </a:lnTo>
                  <a:lnTo>
                    <a:pt x="32289" y="121970"/>
                  </a:lnTo>
                  <a:lnTo>
                    <a:pt x="33129" y="122031"/>
                  </a:lnTo>
                  <a:lnTo>
                    <a:pt x="35014" y="122912"/>
                  </a:lnTo>
                  <a:lnTo>
                    <a:pt x="36781" y="124292"/>
                  </a:lnTo>
                  <a:lnTo>
                    <a:pt x="38348" y="127200"/>
                  </a:lnTo>
                  <a:lnTo>
                    <a:pt x="39434" y="129700"/>
                  </a:lnTo>
                  <a:lnTo>
                    <a:pt x="41168" y="132733"/>
                  </a:lnTo>
                  <a:lnTo>
                    <a:pt x="44852" y="133967"/>
                  </a:lnTo>
                  <a:lnTo>
                    <a:pt x="49247" y="134755"/>
                  </a:lnTo>
                  <a:lnTo>
                    <a:pt x="51626" y="134548"/>
                  </a:lnTo>
                  <a:lnTo>
                    <a:pt x="55023" y="131964"/>
                  </a:lnTo>
                  <a:lnTo>
                    <a:pt x="56947" y="129948"/>
                  </a:lnTo>
                  <a:lnTo>
                    <a:pt x="57571" y="128863"/>
                  </a:lnTo>
                  <a:lnTo>
                    <a:pt x="58690" y="129423"/>
                  </a:lnTo>
                  <a:lnTo>
                    <a:pt x="59955" y="132076"/>
                  </a:lnTo>
                  <a:lnTo>
                    <a:pt x="60771" y="133105"/>
                  </a:lnTo>
                  <a:lnTo>
                    <a:pt x="60974" y="134086"/>
                  </a:lnTo>
                  <a:lnTo>
                    <a:pt x="60402" y="135310"/>
                  </a:lnTo>
                  <a:lnTo>
                    <a:pt x="60957" y="136097"/>
                  </a:lnTo>
                  <a:lnTo>
                    <a:pt x="63322" y="136654"/>
                  </a:lnTo>
                  <a:lnTo>
                    <a:pt x="65390" y="136129"/>
                  </a:lnTo>
                  <a:lnTo>
                    <a:pt x="66327" y="135047"/>
                  </a:lnTo>
                  <a:lnTo>
                    <a:pt x="67876" y="133636"/>
                  </a:lnTo>
                  <a:lnTo>
                    <a:pt x="67889" y="132450"/>
                  </a:lnTo>
                  <a:lnTo>
                    <a:pt x="67059" y="131674"/>
                  </a:lnTo>
                  <a:lnTo>
                    <a:pt x="67059" y="130613"/>
                  </a:lnTo>
                  <a:lnTo>
                    <a:pt x="67919" y="129780"/>
                  </a:lnTo>
                  <a:lnTo>
                    <a:pt x="68757" y="127498"/>
                  </a:lnTo>
                  <a:lnTo>
                    <a:pt x="69018" y="125833"/>
                  </a:lnTo>
                  <a:lnTo>
                    <a:pt x="69834" y="124772"/>
                  </a:lnTo>
                  <a:lnTo>
                    <a:pt x="71387" y="124035"/>
                  </a:lnTo>
                  <a:lnTo>
                    <a:pt x="71948" y="123368"/>
                  </a:lnTo>
                  <a:lnTo>
                    <a:pt x="72816" y="119419"/>
                  </a:lnTo>
                  <a:lnTo>
                    <a:pt x="72367" y="117992"/>
                  </a:lnTo>
                  <a:lnTo>
                    <a:pt x="72367" y="116806"/>
                  </a:lnTo>
                  <a:lnTo>
                    <a:pt x="73347" y="115296"/>
                  </a:lnTo>
                  <a:lnTo>
                    <a:pt x="73531" y="112821"/>
                  </a:lnTo>
                  <a:lnTo>
                    <a:pt x="73119" y="108765"/>
                  </a:lnTo>
                  <a:lnTo>
                    <a:pt x="72833" y="105981"/>
                  </a:lnTo>
                  <a:lnTo>
                    <a:pt x="72538" y="103065"/>
                  </a:lnTo>
                  <a:lnTo>
                    <a:pt x="73296" y="99235"/>
                  </a:lnTo>
                  <a:lnTo>
                    <a:pt x="74084" y="95244"/>
                  </a:lnTo>
                  <a:lnTo>
                    <a:pt x="73942" y="94250"/>
                  </a:lnTo>
                  <a:lnTo>
                    <a:pt x="72849" y="93039"/>
                  </a:lnTo>
                  <a:lnTo>
                    <a:pt x="71501" y="91931"/>
                  </a:lnTo>
                  <a:lnTo>
                    <a:pt x="68029" y="91020"/>
                  </a:lnTo>
                  <a:lnTo>
                    <a:pt x="66738" y="89573"/>
                  </a:lnTo>
                  <a:lnTo>
                    <a:pt x="65732" y="88036"/>
                  </a:lnTo>
                  <a:lnTo>
                    <a:pt x="64993" y="87543"/>
                  </a:lnTo>
                  <a:lnTo>
                    <a:pt x="61203" y="86934"/>
                  </a:lnTo>
                  <a:lnTo>
                    <a:pt x="60363" y="86066"/>
                  </a:lnTo>
                  <a:lnTo>
                    <a:pt x="60704" y="83579"/>
                  </a:lnTo>
                  <a:lnTo>
                    <a:pt x="61039" y="79905"/>
                  </a:lnTo>
                  <a:lnTo>
                    <a:pt x="60905" y="77351"/>
                  </a:lnTo>
                  <a:lnTo>
                    <a:pt x="61581" y="75291"/>
                  </a:lnTo>
                  <a:lnTo>
                    <a:pt x="62343" y="73747"/>
                  </a:lnTo>
                  <a:lnTo>
                    <a:pt x="64017" y="72112"/>
                  </a:lnTo>
                  <a:lnTo>
                    <a:pt x="64906" y="70183"/>
                  </a:lnTo>
                  <a:lnTo>
                    <a:pt x="65392" y="69705"/>
                  </a:lnTo>
                  <a:lnTo>
                    <a:pt x="68564" y="69384"/>
                  </a:lnTo>
                  <a:lnTo>
                    <a:pt x="69718" y="68580"/>
                  </a:lnTo>
                  <a:lnTo>
                    <a:pt x="70627" y="67767"/>
                  </a:lnTo>
                  <a:lnTo>
                    <a:pt x="71009" y="66670"/>
                  </a:lnTo>
                  <a:lnTo>
                    <a:pt x="72095" y="64860"/>
                  </a:lnTo>
                  <a:lnTo>
                    <a:pt x="73065" y="63627"/>
                  </a:lnTo>
                  <a:lnTo>
                    <a:pt x="73168" y="62794"/>
                  </a:lnTo>
                  <a:lnTo>
                    <a:pt x="72963" y="61636"/>
                  </a:lnTo>
                  <a:lnTo>
                    <a:pt x="72002" y="59359"/>
                  </a:lnTo>
                  <a:lnTo>
                    <a:pt x="70853" y="57462"/>
                  </a:lnTo>
                  <a:lnTo>
                    <a:pt x="70158" y="56785"/>
                  </a:lnTo>
                  <a:lnTo>
                    <a:pt x="68759" y="52324"/>
                  </a:lnTo>
                  <a:lnTo>
                    <a:pt x="67457" y="51270"/>
                  </a:lnTo>
                  <a:lnTo>
                    <a:pt x="64922" y="50702"/>
                  </a:lnTo>
                  <a:lnTo>
                    <a:pt x="60171" y="50197"/>
                  </a:lnTo>
                  <a:lnTo>
                    <a:pt x="57293" y="51003"/>
                  </a:lnTo>
                  <a:lnTo>
                    <a:pt x="52918" y="52500"/>
                  </a:lnTo>
                  <a:lnTo>
                    <a:pt x="49579" y="53536"/>
                  </a:lnTo>
                  <a:lnTo>
                    <a:pt x="47407" y="54128"/>
                  </a:lnTo>
                  <a:lnTo>
                    <a:pt x="46128" y="53963"/>
                  </a:lnTo>
                  <a:lnTo>
                    <a:pt x="45550" y="53282"/>
                  </a:lnTo>
                  <a:lnTo>
                    <a:pt x="46394" y="52703"/>
                  </a:lnTo>
                  <a:lnTo>
                    <a:pt x="46815" y="51348"/>
                  </a:lnTo>
                  <a:lnTo>
                    <a:pt x="46271" y="49404"/>
                  </a:lnTo>
                  <a:lnTo>
                    <a:pt x="45427" y="47624"/>
                  </a:lnTo>
                  <a:lnTo>
                    <a:pt x="44943" y="45124"/>
                  </a:lnTo>
                  <a:lnTo>
                    <a:pt x="45153" y="42017"/>
                  </a:lnTo>
                  <a:lnTo>
                    <a:pt x="45977" y="39101"/>
                  </a:lnTo>
                  <a:lnTo>
                    <a:pt x="47728" y="35312"/>
                  </a:lnTo>
                  <a:lnTo>
                    <a:pt x="47837" y="33766"/>
                  </a:lnTo>
                  <a:lnTo>
                    <a:pt x="53142" y="33811"/>
                  </a:lnTo>
                  <a:lnTo>
                    <a:pt x="58433" y="33858"/>
                  </a:lnTo>
                  <a:lnTo>
                    <a:pt x="64218" y="33825"/>
                  </a:lnTo>
                  <a:lnTo>
                    <a:pt x="69804" y="33793"/>
                  </a:lnTo>
                  <a:lnTo>
                    <a:pt x="74162" y="33917"/>
                  </a:lnTo>
                  <a:lnTo>
                    <a:pt x="76258" y="32935"/>
                  </a:lnTo>
                  <a:lnTo>
                    <a:pt x="78254" y="34418"/>
                  </a:lnTo>
                  <a:lnTo>
                    <a:pt x="79230" y="34749"/>
                  </a:lnTo>
                  <a:lnTo>
                    <a:pt x="79562" y="34632"/>
                  </a:lnTo>
                  <a:lnTo>
                    <a:pt x="80327" y="35677"/>
                  </a:lnTo>
                  <a:lnTo>
                    <a:pt x="82806" y="35560"/>
                  </a:lnTo>
                  <a:lnTo>
                    <a:pt x="83199" y="35807"/>
                  </a:lnTo>
                  <a:lnTo>
                    <a:pt x="83412" y="37068"/>
                  </a:lnTo>
                  <a:lnTo>
                    <a:pt x="85712" y="37036"/>
                  </a:lnTo>
                  <a:lnTo>
                    <a:pt x="86848" y="37321"/>
                  </a:lnTo>
                  <a:lnTo>
                    <a:pt x="87772" y="37288"/>
                  </a:lnTo>
                  <a:lnTo>
                    <a:pt x="89109" y="36553"/>
                  </a:lnTo>
                  <a:lnTo>
                    <a:pt x="90070" y="36799"/>
                  </a:lnTo>
                  <a:lnTo>
                    <a:pt x="91814" y="37744"/>
                  </a:lnTo>
                  <a:lnTo>
                    <a:pt x="93061" y="38563"/>
                  </a:lnTo>
                  <a:lnTo>
                    <a:pt x="94801" y="38297"/>
                  </a:lnTo>
                  <a:lnTo>
                    <a:pt x="98843" y="38438"/>
                  </a:lnTo>
                  <a:lnTo>
                    <a:pt x="101968" y="39221"/>
                  </a:lnTo>
                  <a:lnTo>
                    <a:pt x="105064" y="41397"/>
                  </a:lnTo>
                  <a:lnTo>
                    <a:pt x="107133" y="42649"/>
                  </a:lnTo>
                  <a:lnTo>
                    <a:pt x="108995" y="44502"/>
                  </a:lnTo>
                  <a:lnTo>
                    <a:pt x="109679" y="44169"/>
                  </a:lnTo>
                  <a:lnTo>
                    <a:pt x="110325" y="43664"/>
                  </a:lnTo>
                  <a:lnTo>
                    <a:pt x="110692" y="43440"/>
                  </a:lnTo>
                  <a:lnTo>
                    <a:pt x="110666" y="41854"/>
                  </a:lnTo>
                  <a:lnTo>
                    <a:pt x="109625" y="39153"/>
                  </a:lnTo>
                  <a:lnTo>
                    <a:pt x="109222" y="36861"/>
                  </a:lnTo>
                  <a:lnTo>
                    <a:pt x="109453" y="34978"/>
                  </a:lnTo>
                  <a:lnTo>
                    <a:pt x="110240" y="33628"/>
                  </a:lnTo>
                  <a:lnTo>
                    <a:pt x="111586" y="32810"/>
                  </a:lnTo>
                  <a:lnTo>
                    <a:pt x="111720" y="31534"/>
                  </a:lnTo>
                  <a:lnTo>
                    <a:pt x="111737" y="31366"/>
                  </a:lnTo>
                  <a:lnTo>
                    <a:pt x="113249" y="28341"/>
                  </a:lnTo>
                  <a:lnTo>
                    <a:pt x="114749" y="25332"/>
                  </a:lnTo>
                  <a:lnTo>
                    <a:pt x="116555" y="21831"/>
                  </a:lnTo>
                  <a:lnTo>
                    <a:pt x="118043" y="18938"/>
                  </a:lnTo>
                  <a:lnTo>
                    <a:pt x="117844" y="17504"/>
                  </a:lnTo>
                  <a:lnTo>
                    <a:pt x="117991" y="15365"/>
                  </a:lnTo>
                  <a:lnTo>
                    <a:pt x="118297" y="12980"/>
                  </a:lnTo>
                  <a:lnTo>
                    <a:pt x="118224" y="11560"/>
                  </a:lnTo>
                  <a:lnTo>
                    <a:pt x="118656" y="10592"/>
                  </a:lnTo>
                  <a:lnTo>
                    <a:pt x="119690" y="7035"/>
                  </a:lnTo>
                  <a:lnTo>
                    <a:pt x="120295" y="4964"/>
                  </a:lnTo>
                  <a:lnTo>
                    <a:pt x="121187" y="4028"/>
                  </a:lnTo>
                  <a:lnTo>
                    <a:pt x="122571" y="3368"/>
                  </a:lnTo>
                  <a:lnTo>
                    <a:pt x="124583" y="3344"/>
                  </a:lnTo>
                  <a:lnTo>
                    <a:pt x="129850" y="2892"/>
                  </a:lnTo>
                  <a:lnTo>
                    <a:pt x="134763" y="1968"/>
                  </a:lnTo>
                  <a:lnTo>
                    <a:pt x="136393" y="1553"/>
                  </a:lnTo>
                  <a:lnTo>
                    <a:pt x="139479" y="60"/>
                  </a:lnTo>
                  <a:lnTo>
                    <a:pt x="140664" y="0"/>
                  </a:lnTo>
                  <a:lnTo>
                    <a:pt x="141684" y="569"/>
                  </a:lnTo>
                  <a:lnTo>
                    <a:pt x="147630" y="2283"/>
                  </a:lnTo>
                  <a:lnTo>
                    <a:pt x="149261" y="2955"/>
                  </a:lnTo>
                  <a:lnTo>
                    <a:pt x="149852" y="2854"/>
                  </a:lnTo>
                  <a:lnTo>
                    <a:pt x="150755" y="3001"/>
                  </a:lnTo>
                  <a:lnTo>
                    <a:pt x="152144" y="3022"/>
                  </a:lnTo>
                  <a:lnTo>
                    <a:pt x="153504" y="2812"/>
                  </a:lnTo>
                  <a:lnTo>
                    <a:pt x="154368" y="3016"/>
                  </a:lnTo>
                  <a:lnTo>
                    <a:pt x="155465" y="4151"/>
                  </a:lnTo>
                  <a:lnTo>
                    <a:pt x="156195" y="4027"/>
                  </a:lnTo>
                  <a:lnTo>
                    <a:pt x="157149" y="3202"/>
                  </a:lnTo>
                  <a:lnTo>
                    <a:pt x="158941" y="2358"/>
                  </a:lnTo>
                  <a:lnTo>
                    <a:pt x="162396" y="1424"/>
                  </a:lnTo>
                  <a:lnTo>
                    <a:pt x="162958" y="1842"/>
                  </a:lnTo>
                  <a:lnTo>
                    <a:pt x="164152" y="3921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92" name="ee4p_KM_1_82333">
              <a:extLst>
                <a:ext uri="{FF2B5EF4-FFF2-40B4-BE49-F238E27FC236}">
                  <a16:creationId xmlns:a16="http://schemas.microsoft.com/office/drawing/2014/main" id="{91A6E1D9-AED4-7BED-F140-0E860A7BAA3E}"/>
                </a:ext>
              </a:extLst>
            </p:cNvPr>
            <p:cNvSpPr>
              <a:spLocks noChangeAspect="1"/>
            </p:cNvSpPr>
            <p:nvPr>
              <p:custDataLst>
                <p:tags r:id="rId120"/>
              </p:custDataLst>
            </p:nvPr>
          </p:nvSpPr>
          <p:spPr>
            <a:xfrm>
              <a:off x="7715077" y="5003350"/>
              <a:ext cx="36103" cy="28917"/>
            </a:xfrm>
            <a:custGeom>
              <a:avLst/>
              <a:gdLst>
                <a:gd name="connsiteX0" fmla="*/ 23968 w 77004"/>
                <a:gd name="connsiteY0" fmla="*/ 52757 h 60041"/>
                <a:gd name="connsiteX1" fmla="*/ 28289 w 77004"/>
                <a:gd name="connsiteY1" fmla="*/ 53290 h 60041"/>
                <a:gd name="connsiteX2" fmla="*/ 33287 w 77004"/>
                <a:gd name="connsiteY2" fmla="*/ 56360 h 60041"/>
                <a:gd name="connsiteX3" fmla="*/ 37452 w 77004"/>
                <a:gd name="connsiteY3" fmla="*/ 60041 h 60041"/>
                <a:gd name="connsiteX4" fmla="*/ 25883 w 77004"/>
                <a:gd name="connsiteY4" fmla="*/ 58514 h 60041"/>
                <a:gd name="connsiteX5" fmla="*/ 24062 w 77004"/>
                <a:gd name="connsiteY5" fmla="*/ 55198 h 60041"/>
                <a:gd name="connsiteX6" fmla="*/ 72565 w 77004"/>
                <a:gd name="connsiteY6" fmla="*/ 42198 h 60041"/>
                <a:gd name="connsiteX7" fmla="*/ 74020 w 77004"/>
                <a:gd name="connsiteY7" fmla="*/ 42809 h 60041"/>
                <a:gd name="connsiteX8" fmla="*/ 77004 w 77004"/>
                <a:gd name="connsiteY8" fmla="*/ 51099 h 60041"/>
                <a:gd name="connsiteX9" fmla="*/ 76974 w 77004"/>
                <a:gd name="connsiteY9" fmla="*/ 57351 h 60041"/>
                <a:gd name="connsiteX10" fmla="*/ 75713 w 77004"/>
                <a:gd name="connsiteY10" fmla="*/ 59336 h 60041"/>
                <a:gd name="connsiteX11" fmla="*/ 73058 w 77004"/>
                <a:gd name="connsiteY11" fmla="*/ 58050 h 60041"/>
                <a:gd name="connsiteX12" fmla="*/ 68159 w 77004"/>
                <a:gd name="connsiteY12" fmla="*/ 53065 h 60041"/>
                <a:gd name="connsiteX13" fmla="*/ 58840 w 77004"/>
                <a:gd name="connsiteY13" fmla="*/ 48206 h 60041"/>
                <a:gd name="connsiteX14" fmla="*/ 63115 w 77004"/>
                <a:gd name="connsiteY14" fmla="*/ 47807 h 60041"/>
                <a:gd name="connsiteX15" fmla="*/ 65614 w 77004"/>
                <a:gd name="connsiteY15" fmla="*/ 48305 h 60041"/>
                <a:gd name="connsiteX16" fmla="*/ 68255 w 77004"/>
                <a:gd name="connsiteY16" fmla="*/ 47861 h 60041"/>
                <a:gd name="connsiteX17" fmla="*/ 69911 w 77004"/>
                <a:gd name="connsiteY17" fmla="*/ 45126 h 60041"/>
                <a:gd name="connsiteX18" fmla="*/ 70240 w 77004"/>
                <a:gd name="connsiteY18" fmla="*/ 43495 h 60041"/>
                <a:gd name="connsiteX19" fmla="*/ 6801 w 77004"/>
                <a:gd name="connsiteY19" fmla="*/ 0 h 60041"/>
                <a:gd name="connsiteX20" fmla="*/ 9849 w 77004"/>
                <a:gd name="connsiteY20" fmla="*/ 2408 h 60041"/>
                <a:gd name="connsiteX21" fmla="*/ 9046 w 77004"/>
                <a:gd name="connsiteY21" fmla="*/ 14743 h 60041"/>
                <a:gd name="connsiteX22" fmla="*/ 13087 w 77004"/>
                <a:gd name="connsiteY22" fmla="*/ 23049 h 60041"/>
                <a:gd name="connsiteX23" fmla="*/ 15686 w 77004"/>
                <a:gd name="connsiteY23" fmla="*/ 29628 h 60041"/>
                <a:gd name="connsiteX24" fmla="*/ 14164 w 77004"/>
                <a:gd name="connsiteY24" fmla="*/ 31979 h 60041"/>
                <a:gd name="connsiteX25" fmla="*/ 13037 w 77004"/>
                <a:gd name="connsiteY25" fmla="*/ 32778 h 60041"/>
                <a:gd name="connsiteX26" fmla="*/ 7629 w 77004"/>
                <a:gd name="connsiteY26" fmla="*/ 29352 h 60041"/>
                <a:gd name="connsiteX27" fmla="*/ 4540 w 77004"/>
                <a:gd name="connsiteY27" fmla="*/ 28543 h 60041"/>
                <a:gd name="connsiteX28" fmla="*/ 0 w 77004"/>
                <a:gd name="connsiteY28" fmla="*/ 23009 h 60041"/>
                <a:gd name="connsiteX29" fmla="*/ 1739 w 77004"/>
                <a:gd name="connsiteY29" fmla="*/ 3820 h 60041"/>
                <a:gd name="connsiteX30" fmla="*/ 3198 w 77004"/>
                <a:gd name="connsiteY30" fmla="*/ 1366 h 60041"/>
                <a:gd name="connsiteX31" fmla="*/ 4286 w 77004"/>
                <a:gd name="connsiteY31" fmla="*/ 365 h 600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77004" h="60041">
                  <a:moveTo>
                    <a:pt x="23968" y="52757"/>
                  </a:moveTo>
                  <a:lnTo>
                    <a:pt x="28289" y="53290"/>
                  </a:lnTo>
                  <a:lnTo>
                    <a:pt x="33287" y="56360"/>
                  </a:lnTo>
                  <a:lnTo>
                    <a:pt x="37452" y="60041"/>
                  </a:lnTo>
                  <a:lnTo>
                    <a:pt x="25883" y="58514"/>
                  </a:lnTo>
                  <a:lnTo>
                    <a:pt x="24062" y="55198"/>
                  </a:lnTo>
                  <a:close/>
                  <a:moveTo>
                    <a:pt x="72565" y="42198"/>
                  </a:moveTo>
                  <a:lnTo>
                    <a:pt x="74020" y="42809"/>
                  </a:lnTo>
                  <a:lnTo>
                    <a:pt x="77004" y="51099"/>
                  </a:lnTo>
                  <a:lnTo>
                    <a:pt x="76974" y="57351"/>
                  </a:lnTo>
                  <a:lnTo>
                    <a:pt x="75713" y="59336"/>
                  </a:lnTo>
                  <a:lnTo>
                    <a:pt x="73058" y="58050"/>
                  </a:lnTo>
                  <a:lnTo>
                    <a:pt x="68159" y="53065"/>
                  </a:lnTo>
                  <a:lnTo>
                    <a:pt x="58840" y="48206"/>
                  </a:lnTo>
                  <a:lnTo>
                    <a:pt x="63115" y="47807"/>
                  </a:lnTo>
                  <a:lnTo>
                    <a:pt x="65614" y="48305"/>
                  </a:lnTo>
                  <a:lnTo>
                    <a:pt x="68255" y="47861"/>
                  </a:lnTo>
                  <a:lnTo>
                    <a:pt x="69911" y="45126"/>
                  </a:lnTo>
                  <a:lnTo>
                    <a:pt x="70240" y="43495"/>
                  </a:lnTo>
                  <a:close/>
                  <a:moveTo>
                    <a:pt x="6801" y="0"/>
                  </a:moveTo>
                  <a:lnTo>
                    <a:pt x="9849" y="2408"/>
                  </a:lnTo>
                  <a:lnTo>
                    <a:pt x="9046" y="14743"/>
                  </a:lnTo>
                  <a:lnTo>
                    <a:pt x="13087" y="23049"/>
                  </a:lnTo>
                  <a:lnTo>
                    <a:pt x="15686" y="29628"/>
                  </a:lnTo>
                  <a:lnTo>
                    <a:pt x="14164" y="31979"/>
                  </a:lnTo>
                  <a:lnTo>
                    <a:pt x="13037" y="32778"/>
                  </a:lnTo>
                  <a:lnTo>
                    <a:pt x="7629" y="29352"/>
                  </a:lnTo>
                  <a:lnTo>
                    <a:pt x="4540" y="28543"/>
                  </a:lnTo>
                  <a:lnTo>
                    <a:pt x="0" y="23009"/>
                  </a:lnTo>
                  <a:lnTo>
                    <a:pt x="1739" y="3820"/>
                  </a:lnTo>
                  <a:lnTo>
                    <a:pt x="3198" y="1366"/>
                  </a:lnTo>
                  <a:lnTo>
                    <a:pt x="4286" y="365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93" name="ee4p_CV_1_82333">
              <a:extLst>
                <a:ext uri="{FF2B5EF4-FFF2-40B4-BE49-F238E27FC236}">
                  <a16:creationId xmlns:a16="http://schemas.microsoft.com/office/drawing/2014/main" id="{4FF583BD-AB01-E564-FF90-24AA8CB2CCB9}"/>
                </a:ext>
              </a:extLst>
            </p:cNvPr>
            <p:cNvSpPr>
              <a:spLocks noChangeAspect="1"/>
            </p:cNvSpPr>
            <p:nvPr>
              <p:custDataLst>
                <p:tags r:id="rId121"/>
              </p:custDataLst>
            </p:nvPr>
          </p:nvSpPr>
          <p:spPr>
            <a:xfrm>
              <a:off x="5810982" y="4182452"/>
              <a:ext cx="73857" cy="69492"/>
            </a:xfrm>
            <a:custGeom>
              <a:avLst/>
              <a:gdLst>
                <a:gd name="connsiteX0" fmla="*/ 56242 w 157528"/>
                <a:gd name="connsiteY0" fmla="*/ 130965 h 144288"/>
                <a:gd name="connsiteX1" fmla="*/ 59944 w 157528"/>
                <a:gd name="connsiteY1" fmla="*/ 132104 h 144288"/>
                <a:gd name="connsiteX2" fmla="*/ 61939 w 157528"/>
                <a:gd name="connsiteY2" fmla="*/ 137552 h 144288"/>
                <a:gd name="connsiteX3" fmla="*/ 61200 w 157528"/>
                <a:gd name="connsiteY3" fmla="*/ 141982 h 144288"/>
                <a:gd name="connsiteX4" fmla="*/ 56588 w 157528"/>
                <a:gd name="connsiteY4" fmla="*/ 144288 h 144288"/>
                <a:gd name="connsiteX5" fmla="*/ 53365 w 157528"/>
                <a:gd name="connsiteY5" fmla="*/ 143284 h 144288"/>
                <a:gd name="connsiteX6" fmla="*/ 50306 w 157528"/>
                <a:gd name="connsiteY6" fmla="*/ 140900 h 144288"/>
                <a:gd name="connsiteX7" fmla="*/ 48833 w 157528"/>
                <a:gd name="connsiteY7" fmla="*/ 137447 h 144288"/>
                <a:gd name="connsiteX8" fmla="*/ 50028 w 157528"/>
                <a:gd name="connsiteY8" fmla="*/ 134479 h 144288"/>
                <a:gd name="connsiteX9" fmla="*/ 126232 w 157528"/>
                <a:gd name="connsiteY9" fmla="*/ 113683 h 144288"/>
                <a:gd name="connsiteX10" fmla="*/ 130529 w 157528"/>
                <a:gd name="connsiteY10" fmla="*/ 114036 h 144288"/>
                <a:gd name="connsiteX11" fmla="*/ 131619 w 157528"/>
                <a:gd name="connsiteY11" fmla="*/ 117026 h 144288"/>
                <a:gd name="connsiteX12" fmla="*/ 131822 w 157528"/>
                <a:gd name="connsiteY12" fmla="*/ 123192 h 144288"/>
                <a:gd name="connsiteX13" fmla="*/ 127898 w 157528"/>
                <a:gd name="connsiteY13" fmla="*/ 125003 h 144288"/>
                <a:gd name="connsiteX14" fmla="*/ 126251 w 157528"/>
                <a:gd name="connsiteY14" fmla="*/ 125222 h 144288"/>
                <a:gd name="connsiteX15" fmla="*/ 123773 w 157528"/>
                <a:gd name="connsiteY15" fmla="*/ 122495 h 144288"/>
                <a:gd name="connsiteX16" fmla="*/ 124325 w 157528"/>
                <a:gd name="connsiteY16" fmla="*/ 118713 h 144288"/>
                <a:gd name="connsiteX17" fmla="*/ 124046 w 157528"/>
                <a:gd name="connsiteY17" fmla="*/ 117717 h 144288"/>
                <a:gd name="connsiteX18" fmla="*/ 94379 w 157528"/>
                <a:gd name="connsiteY18" fmla="*/ 113383 h 144288"/>
                <a:gd name="connsiteX19" fmla="*/ 96797 w 157528"/>
                <a:gd name="connsiteY19" fmla="*/ 114087 h 144288"/>
                <a:gd name="connsiteX20" fmla="*/ 97188 w 157528"/>
                <a:gd name="connsiteY20" fmla="*/ 116830 h 144288"/>
                <a:gd name="connsiteX21" fmla="*/ 104335 w 157528"/>
                <a:gd name="connsiteY21" fmla="*/ 123540 h 144288"/>
                <a:gd name="connsiteX22" fmla="*/ 106984 w 157528"/>
                <a:gd name="connsiteY22" fmla="*/ 124850 h 144288"/>
                <a:gd name="connsiteX23" fmla="*/ 112373 w 157528"/>
                <a:gd name="connsiteY23" fmla="*/ 132803 h 144288"/>
                <a:gd name="connsiteX24" fmla="*/ 108795 w 157528"/>
                <a:gd name="connsiteY24" fmla="*/ 138363 h 144288"/>
                <a:gd name="connsiteX25" fmla="*/ 100944 w 157528"/>
                <a:gd name="connsiteY25" fmla="*/ 137916 h 144288"/>
                <a:gd name="connsiteX26" fmla="*/ 96907 w 157528"/>
                <a:gd name="connsiteY26" fmla="*/ 135626 h 144288"/>
                <a:gd name="connsiteX27" fmla="*/ 92190 w 157528"/>
                <a:gd name="connsiteY27" fmla="*/ 128627 h 144288"/>
                <a:gd name="connsiteX28" fmla="*/ 92337 w 157528"/>
                <a:gd name="connsiteY28" fmla="*/ 123224 h 144288"/>
                <a:gd name="connsiteX29" fmla="*/ 93998 w 157528"/>
                <a:gd name="connsiteY29" fmla="*/ 118531 h 144288"/>
                <a:gd name="connsiteX30" fmla="*/ 93709 w 157528"/>
                <a:gd name="connsiteY30" fmla="*/ 114457 h 144288"/>
                <a:gd name="connsiteX31" fmla="*/ 143560 w 157528"/>
                <a:gd name="connsiteY31" fmla="*/ 58224 h 144288"/>
                <a:gd name="connsiteX32" fmla="*/ 148499 w 157528"/>
                <a:gd name="connsiteY32" fmla="*/ 59335 h 144288"/>
                <a:gd name="connsiteX33" fmla="*/ 150377 w 157528"/>
                <a:gd name="connsiteY33" fmla="*/ 58936 h 144288"/>
                <a:gd name="connsiteX34" fmla="*/ 153527 w 157528"/>
                <a:gd name="connsiteY34" fmla="*/ 59180 h 144288"/>
                <a:gd name="connsiteX35" fmla="*/ 156891 w 157528"/>
                <a:gd name="connsiteY35" fmla="*/ 62370 h 144288"/>
                <a:gd name="connsiteX36" fmla="*/ 157528 w 157528"/>
                <a:gd name="connsiteY36" fmla="*/ 65759 h 144288"/>
                <a:gd name="connsiteX37" fmla="*/ 155857 w 157528"/>
                <a:gd name="connsiteY37" fmla="*/ 70007 h 144288"/>
                <a:gd name="connsiteX38" fmla="*/ 149316 w 157528"/>
                <a:gd name="connsiteY38" fmla="*/ 73489 h 144288"/>
                <a:gd name="connsiteX39" fmla="*/ 145553 w 157528"/>
                <a:gd name="connsiteY39" fmla="*/ 73082 h 144288"/>
                <a:gd name="connsiteX40" fmla="*/ 141098 w 157528"/>
                <a:gd name="connsiteY40" fmla="*/ 69900 h 144288"/>
                <a:gd name="connsiteX41" fmla="*/ 143653 w 157528"/>
                <a:gd name="connsiteY41" fmla="*/ 63624 h 144288"/>
                <a:gd name="connsiteX42" fmla="*/ 57147 w 157528"/>
                <a:gd name="connsiteY42" fmla="*/ 31428 h 144288"/>
                <a:gd name="connsiteX43" fmla="*/ 63402 w 157528"/>
                <a:gd name="connsiteY43" fmla="*/ 33431 h 144288"/>
                <a:gd name="connsiteX44" fmla="*/ 74263 w 157528"/>
                <a:gd name="connsiteY44" fmla="*/ 34792 h 144288"/>
                <a:gd name="connsiteX45" fmla="*/ 76712 w 157528"/>
                <a:gd name="connsiteY45" fmla="*/ 36584 h 144288"/>
                <a:gd name="connsiteX46" fmla="*/ 77520 w 157528"/>
                <a:gd name="connsiteY46" fmla="*/ 37867 h 144288"/>
                <a:gd name="connsiteX47" fmla="*/ 73883 w 157528"/>
                <a:gd name="connsiteY47" fmla="*/ 38534 h 144288"/>
                <a:gd name="connsiteX48" fmla="*/ 65060 w 157528"/>
                <a:gd name="connsiteY48" fmla="*/ 36198 h 144288"/>
                <a:gd name="connsiteX49" fmla="*/ 62708 w 157528"/>
                <a:gd name="connsiteY49" fmla="*/ 37629 h 144288"/>
                <a:gd name="connsiteX50" fmla="*/ 60364 w 157528"/>
                <a:gd name="connsiteY50" fmla="*/ 42667 h 144288"/>
                <a:gd name="connsiteX51" fmla="*/ 55880 w 157528"/>
                <a:gd name="connsiteY51" fmla="*/ 35044 h 144288"/>
                <a:gd name="connsiteX52" fmla="*/ 56185 w 157528"/>
                <a:gd name="connsiteY52" fmla="*/ 32239 h 144288"/>
                <a:gd name="connsiteX53" fmla="*/ 144328 w 157528"/>
                <a:gd name="connsiteY53" fmla="*/ 21324 h 144288"/>
                <a:gd name="connsiteX54" fmla="*/ 144376 w 157528"/>
                <a:gd name="connsiteY54" fmla="*/ 28119 h 144288"/>
                <a:gd name="connsiteX55" fmla="*/ 145300 w 157528"/>
                <a:gd name="connsiteY55" fmla="*/ 32566 h 144288"/>
                <a:gd name="connsiteX56" fmla="*/ 143409 w 157528"/>
                <a:gd name="connsiteY56" fmla="*/ 35681 h 144288"/>
                <a:gd name="connsiteX57" fmla="*/ 141090 w 157528"/>
                <a:gd name="connsiteY57" fmla="*/ 31109 h 144288"/>
                <a:gd name="connsiteX58" fmla="*/ 139834 w 157528"/>
                <a:gd name="connsiteY58" fmla="*/ 30021 h 144288"/>
                <a:gd name="connsiteX59" fmla="*/ 139223 w 157528"/>
                <a:gd name="connsiteY59" fmla="*/ 23448 h 144288"/>
                <a:gd name="connsiteX60" fmla="*/ 142660 w 157528"/>
                <a:gd name="connsiteY60" fmla="*/ 21490 h 144288"/>
                <a:gd name="connsiteX61" fmla="*/ 23992 w 157528"/>
                <a:gd name="connsiteY61" fmla="*/ 16551 h 144288"/>
                <a:gd name="connsiteX62" fmla="*/ 26633 w 157528"/>
                <a:gd name="connsiteY62" fmla="*/ 21158 h 144288"/>
                <a:gd name="connsiteX63" fmla="*/ 26919 w 157528"/>
                <a:gd name="connsiteY63" fmla="*/ 22886 h 144288"/>
                <a:gd name="connsiteX64" fmla="*/ 22058 w 157528"/>
                <a:gd name="connsiteY64" fmla="*/ 24343 h 144288"/>
                <a:gd name="connsiteX65" fmla="*/ 19047 w 157528"/>
                <a:gd name="connsiteY65" fmla="*/ 24158 h 144288"/>
                <a:gd name="connsiteX66" fmla="*/ 14716 w 157528"/>
                <a:gd name="connsiteY66" fmla="*/ 22007 h 144288"/>
                <a:gd name="connsiteX67" fmla="*/ 16077 w 157528"/>
                <a:gd name="connsiteY67" fmla="*/ 19682 h 144288"/>
                <a:gd name="connsiteX68" fmla="*/ 20761 w 157528"/>
                <a:gd name="connsiteY68" fmla="*/ 17089 h 144288"/>
                <a:gd name="connsiteX69" fmla="*/ 13508 w 157528"/>
                <a:gd name="connsiteY69" fmla="*/ 0 h 144288"/>
                <a:gd name="connsiteX70" fmla="*/ 18174 w 157528"/>
                <a:gd name="connsiteY70" fmla="*/ 1047 h 144288"/>
                <a:gd name="connsiteX71" fmla="*/ 21431 w 157528"/>
                <a:gd name="connsiteY71" fmla="*/ 6032 h 144288"/>
                <a:gd name="connsiteX72" fmla="*/ 19216 w 157528"/>
                <a:gd name="connsiteY72" fmla="*/ 8799 h 144288"/>
                <a:gd name="connsiteX73" fmla="*/ 10170 w 157528"/>
                <a:gd name="connsiteY73" fmla="*/ 15064 h 144288"/>
                <a:gd name="connsiteX74" fmla="*/ 4401 w 157528"/>
                <a:gd name="connsiteY74" fmla="*/ 16317 h 144288"/>
                <a:gd name="connsiteX75" fmla="*/ 1969 w 157528"/>
                <a:gd name="connsiteY75" fmla="*/ 15715 h 144288"/>
                <a:gd name="connsiteX76" fmla="*/ 1162 w 157528"/>
                <a:gd name="connsiteY76" fmla="*/ 10866 h 144288"/>
                <a:gd name="connsiteX77" fmla="*/ 0 w 157528"/>
                <a:gd name="connsiteY77" fmla="*/ 7676 h 144288"/>
                <a:gd name="connsiteX78" fmla="*/ 262 w 157528"/>
                <a:gd name="connsiteY78" fmla="*/ 6257 h 144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157528" h="144288">
                  <a:moveTo>
                    <a:pt x="56242" y="130965"/>
                  </a:moveTo>
                  <a:lnTo>
                    <a:pt x="59944" y="132104"/>
                  </a:lnTo>
                  <a:lnTo>
                    <a:pt x="61939" y="137552"/>
                  </a:lnTo>
                  <a:lnTo>
                    <a:pt x="61200" y="141982"/>
                  </a:lnTo>
                  <a:lnTo>
                    <a:pt x="56588" y="144288"/>
                  </a:lnTo>
                  <a:lnTo>
                    <a:pt x="53365" y="143284"/>
                  </a:lnTo>
                  <a:lnTo>
                    <a:pt x="50306" y="140900"/>
                  </a:lnTo>
                  <a:lnTo>
                    <a:pt x="48833" y="137447"/>
                  </a:lnTo>
                  <a:lnTo>
                    <a:pt x="50028" y="134479"/>
                  </a:lnTo>
                  <a:close/>
                  <a:moveTo>
                    <a:pt x="126232" y="113683"/>
                  </a:moveTo>
                  <a:lnTo>
                    <a:pt x="130529" y="114036"/>
                  </a:lnTo>
                  <a:lnTo>
                    <a:pt x="131619" y="117026"/>
                  </a:lnTo>
                  <a:lnTo>
                    <a:pt x="131822" y="123192"/>
                  </a:lnTo>
                  <a:lnTo>
                    <a:pt x="127898" y="125003"/>
                  </a:lnTo>
                  <a:lnTo>
                    <a:pt x="126251" y="125222"/>
                  </a:lnTo>
                  <a:lnTo>
                    <a:pt x="123773" y="122495"/>
                  </a:lnTo>
                  <a:lnTo>
                    <a:pt x="124325" y="118713"/>
                  </a:lnTo>
                  <a:lnTo>
                    <a:pt x="124046" y="117717"/>
                  </a:lnTo>
                  <a:close/>
                  <a:moveTo>
                    <a:pt x="94379" y="113383"/>
                  </a:moveTo>
                  <a:lnTo>
                    <a:pt x="96797" y="114087"/>
                  </a:lnTo>
                  <a:lnTo>
                    <a:pt x="97188" y="116830"/>
                  </a:lnTo>
                  <a:lnTo>
                    <a:pt x="104335" y="123540"/>
                  </a:lnTo>
                  <a:lnTo>
                    <a:pt x="106984" y="124850"/>
                  </a:lnTo>
                  <a:lnTo>
                    <a:pt x="112373" y="132803"/>
                  </a:lnTo>
                  <a:lnTo>
                    <a:pt x="108795" y="138363"/>
                  </a:lnTo>
                  <a:lnTo>
                    <a:pt x="100944" y="137916"/>
                  </a:lnTo>
                  <a:lnTo>
                    <a:pt x="96907" y="135626"/>
                  </a:lnTo>
                  <a:lnTo>
                    <a:pt x="92190" y="128627"/>
                  </a:lnTo>
                  <a:lnTo>
                    <a:pt x="92337" y="123224"/>
                  </a:lnTo>
                  <a:lnTo>
                    <a:pt x="93998" y="118531"/>
                  </a:lnTo>
                  <a:lnTo>
                    <a:pt x="93709" y="114457"/>
                  </a:lnTo>
                  <a:close/>
                  <a:moveTo>
                    <a:pt x="143560" y="58224"/>
                  </a:moveTo>
                  <a:lnTo>
                    <a:pt x="148499" y="59335"/>
                  </a:lnTo>
                  <a:lnTo>
                    <a:pt x="150377" y="58936"/>
                  </a:lnTo>
                  <a:lnTo>
                    <a:pt x="153527" y="59180"/>
                  </a:lnTo>
                  <a:lnTo>
                    <a:pt x="156891" y="62370"/>
                  </a:lnTo>
                  <a:lnTo>
                    <a:pt x="157528" y="65759"/>
                  </a:lnTo>
                  <a:lnTo>
                    <a:pt x="155857" y="70007"/>
                  </a:lnTo>
                  <a:lnTo>
                    <a:pt x="149316" y="73489"/>
                  </a:lnTo>
                  <a:lnTo>
                    <a:pt x="145553" y="73082"/>
                  </a:lnTo>
                  <a:lnTo>
                    <a:pt x="141098" y="69900"/>
                  </a:lnTo>
                  <a:lnTo>
                    <a:pt x="143653" y="63624"/>
                  </a:lnTo>
                  <a:close/>
                  <a:moveTo>
                    <a:pt x="57147" y="31428"/>
                  </a:moveTo>
                  <a:lnTo>
                    <a:pt x="63402" y="33431"/>
                  </a:lnTo>
                  <a:lnTo>
                    <a:pt x="74263" y="34792"/>
                  </a:lnTo>
                  <a:lnTo>
                    <a:pt x="76712" y="36584"/>
                  </a:lnTo>
                  <a:lnTo>
                    <a:pt x="77520" y="37867"/>
                  </a:lnTo>
                  <a:lnTo>
                    <a:pt x="73883" y="38534"/>
                  </a:lnTo>
                  <a:lnTo>
                    <a:pt x="65060" y="36198"/>
                  </a:lnTo>
                  <a:lnTo>
                    <a:pt x="62708" y="37629"/>
                  </a:lnTo>
                  <a:lnTo>
                    <a:pt x="60364" y="42667"/>
                  </a:lnTo>
                  <a:lnTo>
                    <a:pt x="55880" y="35044"/>
                  </a:lnTo>
                  <a:lnTo>
                    <a:pt x="56185" y="32239"/>
                  </a:lnTo>
                  <a:close/>
                  <a:moveTo>
                    <a:pt x="144328" y="21324"/>
                  </a:moveTo>
                  <a:lnTo>
                    <a:pt x="144376" y="28119"/>
                  </a:lnTo>
                  <a:lnTo>
                    <a:pt x="145300" y="32566"/>
                  </a:lnTo>
                  <a:lnTo>
                    <a:pt x="143409" y="35681"/>
                  </a:lnTo>
                  <a:lnTo>
                    <a:pt x="141090" y="31109"/>
                  </a:lnTo>
                  <a:lnTo>
                    <a:pt x="139834" y="30021"/>
                  </a:lnTo>
                  <a:lnTo>
                    <a:pt x="139223" y="23448"/>
                  </a:lnTo>
                  <a:lnTo>
                    <a:pt x="142660" y="21490"/>
                  </a:lnTo>
                  <a:close/>
                  <a:moveTo>
                    <a:pt x="23992" y="16551"/>
                  </a:moveTo>
                  <a:lnTo>
                    <a:pt x="26633" y="21158"/>
                  </a:lnTo>
                  <a:lnTo>
                    <a:pt x="26919" y="22886"/>
                  </a:lnTo>
                  <a:lnTo>
                    <a:pt x="22058" y="24343"/>
                  </a:lnTo>
                  <a:lnTo>
                    <a:pt x="19047" y="24158"/>
                  </a:lnTo>
                  <a:lnTo>
                    <a:pt x="14716" y="22007"/>
                  </a:lnTo>
                  <a:lnTo>
                    <a:pt x="16077" y="19682"/>
                  </a:lnTo>
                  <a:lnTo>
                    <a:pt x="20761" y="17089"/>
                  </a:lnTo>
                  <a:close/>
                  <a:moveTo>
                    <a:pt x="13508" y="0"/>
                  </a:moveTo>
                  <a:lnTo>
                    <a:pt x="18174" y="1047"/>
                  </a:lnTo>
                  <a:lnTo>
                    <a:pt x="21431" y="6032"/>
                  </a:lnTo>
                  <a:lnTo>
                    <a:pt x="19216" y="8799"/>
                  </a:lnTo>
                  <a:lnTo>
                    <a:pt x="10170" y="15064"/>
                  </a:lnTo>
                  <a:lnTo>
                    <a:pt x="4401" y="16317"/>
                  </a:lnTo>
                  <a:lnTo>
                    <a:pt x="1969" y="15715"/>
                  </a:lnTo>
                  <a:lnTo>
                    <a:pt x="1162" y="10866"/>
                  </a:lnTo>
                  <a:lnTo>
                    <a:pt x="0" y="7676"/>
                  </a:lnTo>
                  <a:lnTo>
                    <a:pt x="262" y="6257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94" name="ee4p_DJ_1_82333">
              <a:extLst>
                <a:ext uri="{FF2B5EF4-FFF2-40B4-BE49-F238E27FC236}">
                  <a16:creationId xmlns:a16="http://schemas.microsoft.com/office/drawing/2014/main" id="{8A37EAF0-3AB0-331E-98DD-9FB09D8402BE}"/>
                </a:ext>
              </a:extLst>
            </p:cNvPr>
            <p:cNvSpPr>
              <a:spLocks noChangeAspect="1"/>
            </p:cNvSpPr>
            <p:nvPr>
              <p:custDataLst>
                <p:tags r:id="rId122"/>
              </p:custDataLst>
            </p:nvPr>
          </p:nvSpPr>
          <p:spPr>
            <a:xfrm>
              <a:off x="7674478" y="4313253"/>
              <a:ext cx="45685" cy="51119"/>
            </a:xfrm>
            <a:custGeom>
              <a:avLst/>
              <a:gdLst/>
              <a:ahLst/>
              <a:cxnLst/>
              <a:rect l="0" t="0" r="0" b="0"/>
              <a:pathLst>
                <a:path w="36378" h="39626">
                  <a:moveTo>
                    <a:pt x="32755" y="27116"/>
                  </a:moveTo>
                  <a:lnTo>
                    <a:pt x="30840" y="30119"/>
                  </a:lnTo>
                  <a:lnTo>
                    <a:pt x="28391" y="33956"/>
                  </a:lnTo>
                  <a:lnTo>
                    <a:pt x="25608" y="38320"/>
                  </a:lnTo>
                  <a:lnTo>
                    <a:pt x="23869" y="38351"/>
                  </a:lnTo>
                  <a:lnTo>
                    <a:pt x="22518" y="38098"/>
                  </a:lnTo>
                  <a:lnTo>
                    <a:pt x="21593" y="37357"/>
                  </a:lnTo>
                  <a:lnTo>
                    <a:pt x="19686" y="36552"/>
                  </a:lnTo>
                  <a:lnTo>
                    <a:pt x="17536" y="36498"/>
                  </a:lnTo>
                  <a:lnTo>
                    <a:pt x="15489" y="37252"/>
                  </a:lnTo>
                  <a:lnTo>
                    <a:pt x="12016" y="38188"/>
                  </a:lnTo>
                  <a:lnTo>
                    <a:pt x="8879" y="38493"/>
                  </a:lnTo>
                  <a:lnTo>
                    <a:pt x="6357" y="39013"/>
                  </a:lnTo>
                  <a:lnTo>
                    <a:pt x="4262" y="39625"/>
                  </a:lnTo>
                  <a:lnTo>
                    <a:pt x="2377" y="39294"/>
                  </a:lnTo>
                  <a:lnTo>
                    <a:pt x="742" y="38742"/>
                  </a:lnTo>
                  <a:lnTo>
                    <a:pt x="384" y="34102"/>
                  </a:lnTo>
                  <a:lnTo>
                    <a:pt x="0" y="29062"/>
                  </a:lnTo>
                  <a:lnTo>
                    <a:pt x="40" y="25115"/>
                  </a:lnTo>
                  <a:lnTo>
                    <a:pt x="619" y="22943"/>
                  </a:lnTo>
                  <a:lnTo>
                    <a:pt x="1127" y="22097"/>
                  </a:lnTo>
                  <a:lnTo>
                    <a:pt x="4089" y="19092"/>
                  </a:lnTo>
                  <a:lnTo>
                    <a:pt x="5113" y="17870"/>
                  </a:lnTo>
                  <a:lnTo>
                    <a:pt x="8501" y="12896"/>
                  </a:lnTo>
                  <a:lnTo>
                    <a:pt x="11403" y="8630"/>
                  </a:lnTo>
                  <a:lnTo>
                    <a:pt x="13573" y="5439"/>
                  </a:lnTo>
                  <a:lnTo>
                    <a:pt x="14238" y="4811"/>
                  </a:lnTo>
                  <a:lnTo>
                    <a:pt x="15154" y="4206"/>
                  </a:lnTo>
                  <a:lnTo>
                    <a:pt x="15804" y="4379"/>
                  </a:lnTo>
                  <a:lnTo>
                    <a:pt x="20021" y="7456"/>
                  </a:lnTo>
                  <a:lnTo>
                    <a:pt x="20764" y="7372"/>
                  </a:lnTo>
                  <a:lnTo>
                    <a:pt x="22174" y="6417"/>
                  </a:lnTo>
                  <a:lnTo>
                    <a:pt x="23452" y="3128"/>
                  </a:lnTo>
                  <a:lnTo>
                    <a:pt x="24351" y="1927"/>
                  </a:lnTo>
                  <a:lnTo>
                    <a:pt x="24735" y="1961"/>
                  </a:lnTo>
                  <a:lnTo>
                    <a:pt x="27441" y="1040"/>
                  </a:lnTo>
                  <a:lnTo>
                    <a:pt x="29896" y="0"/>
                  </a:lnTo>
                  <a:lnTo>
                    <a:pt x="30209" y="1082"/>
                  </a:lnTo>
                  <a:lnTo>
                    <a:pt x="33919" y="5496"/>
                  </a:lnTo>
                  <a:lnTo>
                    <a:pt x="35133" y="7670"/>
                  </a:lnTo>
                  <a:lnTo>
                    <a:pt x="36377" y="11644"/>
                  </a:lnTo>
                  <a:lnTo>
                    <a:pt x="35724" y="13858"/>
                  </a:lnTo>
                  <a:lnTo>
                    <a:pt x="34761" y="15299"/>
                  </a:lnTo>
                  <a:lnTo>
                    <a:pt x="33332" y="16588"/>
                  </a:lnTo>
                  <a:lnTo>
                    <a:pt x="28378" y="19737"/>
                  </a:lnTo>
                  <a:lnTo>
                    <a:pt x="22872" y="21747"/>
                  </a:lnTo>
                  <a:lnTo>
                    <a:pt x="19356" y="25765"/>
                  </a:lnTo>
                  <a:lnTo>
                    <a:pt x="16741" y="25494"/>
                  </a:lnTo>
                  <a:lnTo>
                    <a:pt x="17139" y="27015"/>
                  </a:lnTo>
                  <a:lnTo>
                    <a:pt x="18113" y="27184"/>
                  </a:lnTo>
                  <a:lnTo>
                    <a:pt x="19637" y="26897"/>
                  </a:lnTo>
                  <a:lnTo>
                    <a:pt x="22667" y="25729"/>
                  </a:lnTo>
                  <a:lnTo>
                    <a:pt x="25359" y="25170"/>
                  </a:lnTo>
                  <a:lnTo>
                    <a:pt x="28262" y="25129"/>
                  </a:lnTo>
                  <a:lnTo>
                    <a:pt x="30892" y="25632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95" name="ee4p_DZ_1_82333">
              <a:extLst>
                <a:ext uri="{FF2B5EF4-FFF2-40B4-BE49-F238E27FC236}">
                  <a16:creationId xmlns:a16="http://schemas.microsoft.com/office/drawing/2014/main" id="{03B23276-EC1A-0319-6100-65D8A6DC0544}"/>
                </a:ext>
              </a:extLst>
            </p:cNvPr>
            <p:cNvSpPr>
              <a:spLocks noChangeAspect="1"/>
            </p:cNvSpPr>
            <p:nvPr>
              <p:custDataLst>
                <p:tags r:id="rId123"/>
              </p:custDataLst>
            </p:nvPr>
          </p:nvSpPr>
          <p:spPr>
            <a:xfrm>
              <a:off x="6273570" y="3568869"/>
              <a:ext cx="573472" cy="560762"/>
            </a:xfrm>
            <a:custGeom>
              <a:avLst/>
              <a:gdLst/>
              <a:ahLst/>
              <a:cxnLst/>
              <a:rect l="0" t="0" r="0" b="0"/>
              <a:pathLst>
                <a:path w="456643" h="434686">
                  <a:moveTo>
                    <a:pt x="381653" y="3947"/>
                  </a:moveTo>
                  <a:lnTo>
                    <a:pt x="382119" y="5302"/>
                  </a:lnTo>
                  <a:lnTo>
                    <a:pt x="382199" y="6571"/>
                  </a:lnTo>
                  <a:lnTo>
                    <a:pt x="380109" y="7750"/>
                  </a:lnTo>
                  <a:lnTo>
                    <a:pt x="378727" y="8429"/>
                  </a:lnTo>
                  <a:lnTo>
                    <a:pt x="377077" y="11682"/>
                  </a:lnTo>
                  <a:lnTo>
                    <a:pt x="374007" y="13894"/>
                  </a:lnTo>
                  <a:lnTo>
                    <a:pt x="373495" y="14561"/>
                  </a:lnTo>
                  <a:lnTo>
                    <a:pt x="373521" y="15164"/>
                  </a:lnTo>
                  <a:lnTo>
                    <a:pt x="375598" y="16165"/>
                  </a:lnTo>
                  <a:lnTo>
                    <a:pt x="376289" y="17113"/>
                  </a:lnTo>
                  <a:lnTo>
                    <a:pt x="376615" y="18383"/>
                  </a:lnTo>
                  <a:lnTo>
                    <a:pt x="375687" y="22915"/>
                  </a:lnTo>
                  <a:lnTo>
                    <a:pt x="375101" y="26395"/>
                  </a:lnTo>
                  <a:lnTo>
                    <a:pt x="374337" y="30946"/>
                  </a:lnTo>
                  <a:lnTo>
                    <a:pt x="374367" y="32679"/>
                  </a:lnTo>
                  <a:lnTo>
                    <a:pt x="375160" y="34757"/>
                  </a:lnTo>
                  <a:lnTo>
                    <a:pt x="375937" y="36377"/>
                  </a:lnTo>
                  <a:lnTo>
                    <a:pt x="376179" y="38207"/>
                  </a:lnTo>
                  <a:lnTo>
                    <a:pt x="375900" y="42709"/>
                  </a:lnTo>
                  <a:lnTo>
                    <a:pt x="376861" y="45308"/>
                  </a:lnTo>
                  <a:lnTo>
                    <a:pt x="377621" y="47710"/>
                  </a:lnTo>
                  <a:lnTo>
                    <a:pt x="375805" y="50700"/>
                  </a:lnTo>
                  <a:lnTo>
                    <a:pt x="375026" y="53333"/>
                  </a:lnTo>
                  <a:lnTo>
                    <a:pt x="374536" y="57100"/>
                  </a:lnTo>
                  <a:lnTo>
                    <a:pt x="374335" y="59472"/>
                  </a:lnTo>
                  <a:lnTo>
                    <a:pt x="373167" y="61666"/>
                  </a:lnTo>
                  <a:lnTo>
                    <a:pt x="371633" y="63723"/>
                  </a:lnTo>
                  <a:lnTo>
                    <a:pt x="369912" y="65001"/>
                  </a:lnTo>
                  <a:lnTo>
                    <a:pt x="367785" y="66099"/>
                  </a:lnTo>
                  <a:lnTo>
                    <a:pt x="365328" y="67556"/>
                  </a:lnTo>
                  <a:lnTo>
                    <a:pt x="363344" y="71438"/>
                  </a:lnTo>
                  <a:lnTo>
                    <a:pt x="359053" y="74662"/>
                  </a:lnTo>
                  <a:lnTo>
                    <a:pt x="358154" y="75769"/>
                  </a:lnTo>
                  <a:lnTo>
                    <a:pt x="357751" y="78355"/>
                  </a:lnTo>
                  <a:lnTo>
                    <a:pt x="357852" y="81934"/>
                  </a:lnTo>
                  <a:lnTo>
                    <a:pt x="358608" y="84777"/>
                  </a:lnTo>
                  <a:lnTo>
                    <a:pt x="360668" y="88975"/>
                  </a:lnTo>
                  <a:lnTo>
                    <a:pt x="362473" y="93589"/>
                  </a:lnTo>
                  <a:lnTo>
                    <a:pt x="362963" y="95910"/>
                  </a:lnTo>
                  <a:lnTo>
                    <a:pt x="363656" y="96785"/>
                  </a:lnTo>
                  <a:lnTo>
                    <a:pt x="366190" y="98293"/>
                  </a:lnTo>
                  <a:lnTo>
                    <a:pt x="370575" y="100345"/>
                  </a:lnTo>
                  <a:lnTo>
                    <a:pt x="371392" y="101179"/>
                  </a:lnTo>
                  <a:lnTo>
                    <a:pt x="373568" y="104353"/>
                  </a:lnTo>
                  <a:lnTo>
                    <a:pt x="375630" y="110034"/>
                  </a:lnTo>
                  <a:lnTo>
                    <a:pt x="376276" y="113794"/>
                  </a:lnTo>
                  <a:lnTo>
                    <a:pt x="380295" y="116777"/>
                  </a:lnTo>
                  <a:lnTo>
                    <a:pt x="384004" y="119527"/>
                  </a:lnTo>
                  <a:lnTo>
                    <a:pt x="387567" y="121943"/>
                  </a:lnTo>
                  <a:lnTo>
                    <a:pt x="391435" y="124563"/>
                  </a:lnTo>
                  <a:lnTo>
                    <a:pt x="391990" y="125372"/>
                  </a:lnTo>
                  <a:lnTo>
                    <a:pt x="393279" y="130917"/>
                  </a:lnTo>
                  <a:lnTo>
                    <a:pt x="394560" y="136420"/>
                  </a:lnTo>
                  <a:lnTo>
                    <a:pt x="395970" y="142472"/>
                  </a:lnTo>
                  <a:lnTo>
                    <a:pt x="397382" y="148531"/>
                  </a:lnTo>
                  <a:lnTo>
                    <a:pt x="399049" y="155653"/>
                  </a:lnTo>
                  <a:lnTo>
                    <a:pt x="399995" y="159693"/>
                  </a:lnTo>
                  <a:lnTo>
                    <a:pt x="401144" y="164585"/>
                  </a:lnTo>
                  <a:lnTo>
                    <a:pt x="402487" y="170310"/>
                  </a:lnTo>
                  <a:lnTo>
                    <a:pt x="400325" y="171524"/>
                  </a:lnTo>
                  <a:lnTo>
                    <a:pt x="397876" y="173076"/>
                  </a:lnTo>
                  <a:lnTo>
                    <a:pt x="399662" y="176020"/>
                  </a:lnTo>
                  <a:lnTo>
                    <a:pt x="403094" y="180802"/>
                  </a:lnTo>
                  <a:lnTo>
                    <a:pt x="405171" y="184657"/>
                  </a:lnTo>
                  <a:lnTo>
                    <a:pt x="405890" y="186333"/>
                  </a:lnTo>
                  <a:lnTo>
                    <a:pt x="407510" y="191111"/>
                  </a:lnTo>
                  <a:lnTo>
                    <a:pt x="408822" y="195737"/>
                  </a:lnTo>
                  <a:lnTo>
                    <a:pt x="409163" y="197234"/>
                  </a:lnTo>
                  <a:lnTo>
                    <a:pt x="409647" y="200791"/>
                  </a:lnTo>
                  <a:lnTo>
                    <a:pt x="409051" y="210563"/>
                  </a:lnTo>
                  <a:lnTo>
                    <a:pt x="409993" y="222947"/>
                  </a:lnTo>
                  <a:lnTo>
                    <a:pt x="411271" y="229106"/>
                  </a:lnTo>
                  <a:lnTo>
                    <a:pt x="409265" y="234661"/>
                  </a:lnTo>
                  <a:lnTo>
                    <a:pt x="407546" y="239956"/>
                  </a:lnTo>
                  <a:lnTo>
                    <a:pt x="407656" y="242613"/>
                  </a:lnTo>
                  <a:lnTo>
                    <a:pt x="408604" y="246767"/>
                  </a:lnTo>
                  <a:lnTo>
                    <a:pt x="409526" y="249834"/>
                  </a:lnTo>
                  <a:lnTo>
                    <a:pt x="410794" y="251447"/>
                  </a:lnTo>
                  <a:lnTo>
                    <a:pt x="410545" y="256603"/>
                  </a:lnTo>
                  <a:lnTo>
                    <a:pt x="410019" y="258475"/>
                  </a:lnTo>
                  <a:lnTo>
                    <a:pt x="406162" y="261172"/>
                  </a:lnTo>
                  <a:lnTo>
                    <a:pt x="401882" y="263648"/>
                  </a:lnTo>
                  <a:lnTo>
                    <a:pt x="400699" y="265739"/>
                  </a:lnTo>
                  <a:lnTo>
                    <a:pt x="400355" y="268070"/>
                  </a:lnTo>
                  <a:lnTo>
                    <a:pt x="400928" y="269961"/>
                  </a:lnTo>
                  <a:lnTo>
                    <a:pt x="403869" y="274148"/>
                  </a:lnTo>
                  <a:lnTo>
                    <a:pt x="408287" y="280428"/>
                  </a:lnTo>
                  <a:lnTo>
                    <a:pt x="413143" y="287321"/>
                  </a:lnTo>
                  <a:lnTo>
                    <a:pt x="413549" y="289054"/>
                  </a:lnTo>
                  <a:lnTo>
                    <a:pt x="413750" y="293941"/>
                  </a:lnTo>
                  <a:lnTo>
                    <a:pt x="415771" y="300075"/>
                  </a:lnTo>
                  <a:lnTo>
                    <a:pt x="417963" y="302754"/>
                  </a:lnTo>
                  <a:lnTo>
                    <a:pt x="418786" y="304756"/>
                  </a:lnTo>
                  <a:lnTo>
                    <a:pt x="420332" y="306183"/>
                  </a:lnTo>
                  <a:lnTo>
                    <a:pt x="421882" y="307231"/>
                  </a:lnTo>
                  <a:lnTo>
                    <a:pt x="422835" y="307356"/>
                  </a:lnTo>
                  <a:lnTo>
                    <a:pt x="428300" y="305687"/>
                  </a:lnTo>
                  <a:lnTo>
                    <a:pt x="437633" y="308441"/>
                  </a:lnTo>
                  <a:lnTo>
                    <a:pt x="446465" y="311248"/>
                  </a:lnTo>
                  <a:lnTo>
                    <a:pt x="447113" y="311800"/>
                  </a:lnTo>
                  <a:lnTo>
                    <a:pt x="449043" y="315342"/>
                  </a:lnTo>
                  <a:lnTo>
                    <a:pt x="452200" y="321129"/>
                  </a:lnTo>
                  <a:lnTo>
                    <a:pt x="454545" y="325754"/>
                  </a:lnTo>
                  <a:lnTo>
                    <a:pt x="456642" y="329890"/>
                  </a:lnTo>
                  <a:lnTo>
                    <a:pt x="445191" y="337016"/>
                  </a:lnTo>
                  <a:lnTo>
                    <a:pt x="433742" y="344133"/>
                  </a:lnTo>
                  <a:lnTo>
                    <a:pt x="422290" y="351239"/>
                  </a:lnTo>
                  <a:lnTo>
                    <a:pt x="410839" y="358335"/>
                  </a:lnTo>
                  <a:lnTo>
                    <a:pt x="399390" y="365422"/>
                  </a:lnTo>
                  <a:lnTo>
                    <a:pt x="387941" y="372499"/>
                  </a:lnTo>
                  <a:lnTo>
                    <a:pt x="376490" y="379566"/>
                  </a:lnTo>
                  <a:lnTo>
                    <a:pt x="365038" y="386624"/>
                  </a:lnTo>
                  <a:lnTo>
                    <a:pt x="357444" y="391301"/>
                  </a:lnTo>
                  <a:lnTo>
                    <a:pt x="352616" y="395423"/>
                  </a:lnTo>
                  <a:lnTo>
                    <a:pt x="346556" y="400587"/>
                  </a:lnTo>
                  <a:lnTo>
                    <a:pt x="340836" y="405712"/>
                  </a:lnTo>
                  <a:lnTo>
                    <a:pt x="336334" y="409742"/>
                  </a:lnTo>
                  <a:lnTo>
                    <a:pt x="330503" y="414959"/>
                  </a:lnTo>
                  <a:lnTo>
                    <a:pt x="327569" y="417582"/>
                  </a:lnTo>
                  <a:lnTo>
                    <a:pt x="321067" y="423389"/>
                  </a:lnTo>
                  <a:lnTo>
                    <a:pt x="319115" y="424421"/>
                  </a:lnTo>
                  <a:lnTo>
                    <a:pt x="310499" y="426135"/>
                  </a:lnTo>
                  <a:lnTo>
                    <a:pt x="302598" y="427705"/>
                  </a:lnTo>
                  <a:lnTo>
                    <a:pt x="295299" y="429157"/>
                  </a:lnTo>
                  <a:lnTo>
                    <a:pt x="290311" y="430149"/>
                  </a:lnTo>
                  <a:lnTo>
                    <a:pt x="285489" y="431106"/>
                  </a:lnTo>
                  <a:lnTo>
                    <a:pt x="278469" y="432459"/>
                  </a:lnTo>
                  <a:lnTo>
                    <a:pt x="273457" y="433425"/>
                  </a:lnTo>
                  <a:lnTo>
                    <a:pt x="268046" y="434467"/>
                  </a:lnTo>
                  <a:lnTo>
                    <a:pt x="267208" y="434644"/>
                  </a:lnTo>
                  <a:lnTo>
                    <a:pt x="266225" y="434685"/>
                  </a:lnTo>
                  <a:lnTo>
                    <a:pt x="265495" y="434645"/>
                  </a:lnTo>
                  <a:lnTo>
                    <a:pt x="264003" y="434074"/>
                  </a:lnTo>
                  <a:lnTo>
                    <a:pt x="262196" y="432708"/>
                  </a:lnTo>
                  <a:lnTo>
                    <a:pt x="260991" y="432014"/>
                  </a:lnTo>
                  <a:lnTo>
                    <a:pt x="260688" y="430938"/>
                  </a:lnTo>
                  <a:lnTo>
                    <a:pt x="261392" y="429515"/>
                  </a:lnTo>
                  <a:lnTo>
                    <a:pt x="262263" y="428231"/>
                  </a:lnTo>
                  <a:lnTo>
                    <a:pt x="262597" y="427224"/>
                  </a:lnTo>
                  <a:lnTo>
                    <a:pt x="263200" y="426459"/>
                  </a:lnTo>
                  <a:lnTo>
                    <a:pt x="263969" y="425835"/>
                  </a:lnTo>
                  <a:lnTo>
                    <a:pt x="264001" y="424955"/>
                  </a:lnTo>
                  <a:lnTo>
                    <a:pt x="263364" y="423517"/>
                  </a:lnTo>
                  <a:lnTo>
                    <a:pt x="262802" y="421524"/>
                  </a:lnTo>
                  <a:lnTo>
                    <a:pt x="262826" y="417897"/>
                  </a:lnTo>
                  <a:lnTo>
                    <a:pt x="262841" y="416692"/>
                  </a:lnTo>
                  <a:lnTo>
                    <a:pt x="262848" y="416256"/>
                  </a:lnTo>
                  <a:lnTo>
                    <a:pt x="261224" y="414865"/>
                  </a:lnTo>
                  <a:lnTo>
                    <a:pt x="258177" y="413339"/>
                  </a:lnTo>
                  <a:lnTo>
                    <a:pt x="255374" y="412433"/>
                  </a:lnTo>
                  <a:lnTo>
                    <a:pt x="254096" y="412124"/>
                  </a:lnTo>
                  <a:lnTo>
                    <a:pt x="250997" y="411583"/>
                  </a:lnTo>
                  <a:lnTo>
                    <a:pt x="246717" y="410615"/>
                  </a:lnTo>
                  <a:lnTo>
                    <a:pt x="245212" y="409951"/>
                  </a:lnTo>
                  <a:lnTo>
                    <a:pt x="242442" y="406581"/>
                  </a:lnTo>
                  <a:lnTo>
                    <a:pt x="241081" y="405718"/>
                  </a:lnTo>
                  <a:lnTo>
                    <a:pt x="234657" y="405144"/>
                  </a:lnTo>
                  <a:lnTo>
                    <a:pt x="232526" y="404587"/>
                  </a:lnTo>
                  <a:lnTo>
                    <a:pt x="230775" y="403788"/>
                  </a:lnTo>
                  <a:lnTo>
                    <a:pt x="229276" y="402710"/>
                  </a:lnTo>
                  <a:lnTo>
                    <a:pt x="228434" y="400856"/>
                  </a:lnTo>
                  <a:lnTo>
                    <a:pt x="228183" y="399346"/>
                  </a:lnTo>
                  <a:lnTo>
                    <a:pt x="227622" y="398627"/>
                  </a:lnTo>
                  <a:lnTo>
                    <a:pt x="220537" y="394982"/>
                  </a:lnTo>
                  <a:lnTo>
                    <a:pt x="218738" y="393743"/>
                  </a:lnTo>
                  <a:lnTo>
                    <a:pt x="217784" y="392586"/>
                  </a:lnTo>
                  <a:lnTo>
                    <a:pt x="217747" y="390880"/>
                  </a:lnTo>
                  <a:lnTo>
                    <a:pt x="217939" y="388786"/>
                  </a:lnTo>
                  <a:lnTo>
                    <a:pt x="217639" y="386926"/>
                  </a:lnTo>
                  <a:lnTo>
                    <a:pt x="217337" y="386008"/>
                  </a:lnTo>
                  <a:lnTo>
                    <a:pt x="214106" y="383801"/>
                  </a:lnTo>
                  <a:lnTo>
                    <a:pt x="206864" y="378849"/>
                  </a:lnTo>
                  <a:lnTo>
                    <a:pt x="199623" y="373892"/>
                  </a:lnTo>
                  <a:lnTo>
                    <a:pt x="192383" y="368930"/>
                  </a:lnTo>
                  <a:lnTo>
                    <a:pt x="185140" y="363965"/>
                  </a:lnTo>
                  <a:lnTo>
                    <a:pt x="177900" y="358995"/>
                  </a:lnTo>
                  <a:lnTo>
                    <a:pt x="170658" y="354018"/>
                  </a:lnTo>
                  <a:lnTo>
                    <a:pt x="163417" y="349040"/>
                  </a:lnTo>
                  <a:lnTo>
                    <a:pt x="156176" y="344055"/>
                  </a:lnTo>
                  <a:lnTo>
                    <a:pt x="148935" y="339063"/>
                  </a:lnTo>
                  <a:lnTo>
                    <a:pt x="141693" y="334070"/>
                  </a:lnTo>
                  <a:lnTo>
                    <a:pt x="134451" y="329068"/>
                  </a:lnTo>
                  <a:lnTo>
                    <a:pt x="127210" y="324063"/>
                  </a:lnTo>
                  <a:lnTo>
                    <a:pt x="119969" y="319053"/>
                  </a:lnTo>
                  <a:lnTo>
                    <a:pt x="112727" y="314037"/>
                  </a:lnTo>
                  <a:lnTo>
                    <a:pt x="105487" y="309017"/>
                  </a:lnTo>
                  <a:lnTo>
                    <a:pt x="98244" y="303992"/>
                  </a:lnTo>
                  <a:lnTo>
                    <a:pt x="92127" y="299740"/>
                  </a:lnTo>
                  <a:lnTo>
                    <a:pt x="85369" y="295245"/>
                  </a:lnTo>
                  <a:lnTo>
                    <a:pt x="80352" y="291953"/>
                  </a:lnTo>
                  <a:lnTo>
                    <a:pt x="75365" y="288677"/>
                  </a:lnTo>
                  <a:lnTo>
                    <a:pt x="70016" y="285159"/>
                  </a:lnTo>
                  <a:lnTo>
                    <a:pt x="66532" y="282974"/>
                  </a:lnTo>
                  <a:lnTo>
                    <a:pt x="62374" y="280364"/>
                  </a:lnTo>
                  <a:lnTo>
                    <a:pt x="58216" y="277752"/>
                  </a:lnTo>
                  <a:lnTo>
                    <a:pt x="54057" y="275139"/>
                  </a:lnTo>
                  <a:lnTo>
                    <a:pt x="49899" y="272525"/>
                  </a:lnTo>
                  <a:lnTo>
                    <a:pt x="45741" y="269907"/>
                  </a:lnTo>
                  <a:lnTo>
                    <a:pt x="41582" y="267290"/>
                  </a:lnTo>
                  <a:lnTo>
                    <a:pt x="37424" y="264671"/>
                  </a:lnTo>
                  <a:lnTo>
                    <a:pt x="33266" y="262050"/>
                  </a:lnTo>
                  <a:lnTo>
                    <a:pt x="29107" y="259428"/>
                  </a:lnTo>
                  <a:lnTo>
                    <a:pt x="24948" y="256804"/>
                  </a:lnTo>
                  <a:lnTo>
                    <a:pt x="20791" y="254178"/>
                  </a:lnTo>
                  <a:lnTo>
                    <a:pt x="16633" y="251551"/>
                  </a:lnTo>
                  <a:lnTo>
                    <a:pt x="12474" y="248922"/>
                  </a:lnTo>
                  <a:lnTo>
                    <a:pt x="8316" y="246292"/>
                  </a:lnTo>
                  <a:lnTo>
                    <a:pt x="4158" y="243660"/>
                  </a:lnTo>
                  <a:lnTo>
                    <a:pt x="0" y="241027"/>
                  </a:lnTo>
                  <a:lnTo>
                    <a:pt x="0" y="236157"/>
                  </a:lnTo>
                  <a:lnTo>
                    <a:pt x="0" y="232192"/>
                  </a:lnTo>
                  <a:lnTo>
                    <a:pt x="0" y="226365"/>
                  </a:lnTo>
                  <a:lnTo>
                    <a:pt x="0" y="221304"/>
                  </a:lnTo>
                  <a:lnTo>
                    <a:pt x="0" y="216235"/>
                  </a:lnTo>
                  <a:lnTo>
                    <a:pt x="0" y="212746"/>
                  </a:lnTo>
                  <a:lnTo>
                    <a:pt x="0" y="209110"/>
                  </a:lnTo>
                  <a:lnTo>
                    <a:pt x="109" y="207462"/>
                  </a:lnTo>
                  <a:lnTo>
                    <a:pt x="518" y="206761"/>
                  </a:lnTo>
                  <a:lnTo>
                    <a:pt x="2764" y="205577"/>
                  </a:lnTo>
                  <a:lnTo>
                    <a:pt x="6281" y="202878"/>
                  </a:lnTo>
                  <a:lnTo>
                    <a:pt x="7581" y="201676"/>
                  </a:lnTo>
                  <a:lnTo>
                    <a:pt x="9246" y="200465"/>
                  </a:lnTo>
                  <a:lnTo>
                    <a:pt x="15134" y="196810"/>
                  </a:lnTo>
                  <a:lnTo>
                    <a:pt x="16352" y="195790"/>
                  </a:lnTo>
                  <a:lnTo>
                    <a:pt x="22072" y="191579"/>
                  </a:lnTo>
                  <a:lnTo>
                    <a:pt x="23411" y="190960"/>
                  </a:lnTo>
                  <a:lnTo>
                    <a:pt x="26482" y="190549"/>
                  </a:lnTo>
                  <a:lnTo>
                    <a:pt x="27765" y="189759"/>
                  </a:lnTo>
                  <a:lnTo>
                    <a:pt x="29488" y="188077"/>
                  </a:lnTo>
                  <a:lnTo>
                    <a:pt x="32028" y="186142"/>
                  </a:lnTo>
                  <a:lnTo>
                    <a:pt x="33680" y="185231"/>
                  </a:lnTo>
                  <a:lnTo>
                    <a:pt x="34073" y="185063"/>
                  </a:lnTo>
                  <a:lnTo>
                    <a:pt x="35123" y="184928"/>
                  </a:lnTo>
                  <a:lnTo>
                    <a:pt x="40416" y="185497"/>
                  </a:lnTo>
                  <a:lnTo>
                    <a:pt x="42637" y="185926"/>
                  </a:lnTo>
                  <a:lnTo>
                    <a:pt x="45286" y="186289"/>
                  </a:lnTo>
                  <a:lnTo>
                    <a:pt x="46117" y="186044"/>
                  </a:lnTo>
                  <a:lnTo>
                    <a:pt x="46826" y="185443"/>
                  </a:lnTo>
                  <a:lnTo>
                    <a:pt x="47824" y="184090"/>
                  </a:lnTo>
                  <a:lnTo>
                    <a:pt x="48042" y="182492"/>
                  </a:lnTo>
                  <a:lnTo>
                    <a:pt x="48103" y="181096"/>
                  </a:lnTo>
                  <a:lnTo>
                    <a:pt x="48259" y="180483"/>
                  </a:lnTo>
                  <a:lnTo>
                    <a:pt x="48726" y="180212"/>
                  </a:lnTo>
                  <a:lnTo>
                    <a:pt x="49878" y="180315"/>
                  </a:lnTo>
                  <a:lnTo>
                    <a:pt x="51427" y="180503"/>
                  </a:lnTo>
                  <a:lnTo>
                    <a:pt x="54585" y="180446"/>
                  </a:lnTo>
                  <a:lnTo>
                    <a:pt x="55653" y="180246"/>
                  </a:lnTo>
                  <a:lnTo>
                    <a:pt x="59239" y="179949"/>
                  </a:lnTo>
                  <a:lnTo>
                    <a:pt x="64310" y="179035"/>
                  </a:lnTo>
                  <a:lnTo>
                    <a:pt x="68327" y="177851"/>
                  </a:lnTo>
                  <a:lnTo>
                    <a:pt x="71523" y="176908"/>
                  </a:lnTo>
                  <a:lnTo>
                    <a:pt x="74953" y="174446"/>
                  </a:lnTo>
                  <a:lnTo>
                    <a:pt x="77463" y="171842"/>
                  </a:lnTo>
                  <a:lnTo>
                    <a:pt x="80078" y="167957"/>
                  </a:lnTo>
                  <a:lnTo>
                    <a:pt x="82148" y="164585"/>
                  </a:lnTo>
                  <a:lnTo>
                    <a:pt x="86344" y="162473"/>
                  </a:lnTo>
                  <a:lnTo>
                    <a:pt x="89857" y="161200"/>
                  </a:lnTo>
                  <a:lnTo>
                    <a:pt x="91858" y="160696"/>
                  </a:lnTo>
                  <a:lnTo>
                    <a:pt x="96420" y="158913"/>
                  </a:lnTo>
                  <a:lnTo>
                    <a:pt x="100269" y="156221"/>
                  </a:lnTo>
                  <a:lnTo>
                    <a:pt x="103882" y="153691"/>
                  </a:lnTo>
                  <a:lnTo>
                    <a:pt x="106653" y="153357"/>
                  </a:lnTo>
                  <a:lnTo>
                    <a:pt x="110148" y="152937"/>
                  </a:lnTo>
                  <a:lnTo>
                    <a:pt x="110926" y="152462"/>
                  </a:lnTo>
                  <a:lnTo>
                    <a:pt x="111809" y="151563"/>
                  </a:lnTo>
                  <a:lnTo>
                    <a:pt x="111861" y="149983"/>
                  </a:lnTo>
                  <a:lnTo>
                    <a:pt x="110800" y="148871"/>
                  </a:lnTo>
                  <a:lnTo>
                    <a:pt x="109525" y="148286"/>
                  </a:lnTo>
                  <a:lnTo>
                    <a:pt x="108622" y="147641"/>
                  </a:lnTo>
                  <a:lnTo>
                    <a:pt x="107720" y="147525"/>
                  </a:lnTo>
                  <a:lnTo>
                    <a:pt x="107243" y="146764"/>
                  </a:lnTo>
                  <a:lnTo>
                    <a:pt x="107508" y="145357"/>
                  </a:lnTo>
                  <a:lnTo>
                    <a:pt x="107646" y="144055"/>
                  </a:lnTo>
                  <a:lnTo>
                    <a:pt x="108221" y="142761"/>
                  </a:lnTo>
                  <a:lnTo>
                    <a:pt x="108060" y="140923"/>
                  </a:lnTo>
                  <a:lnTo>
                    <a:pt x="107160" y="139084"/>
                  </a:lnTo>
                  <a:lnTo>
                    <a:pt x="106885" y="137763"/>
                  </a:lnTo>
                  <a:lnTo>
                    <a:pt x="106949" y="136456"/>
                  </a:lnTo>
                  <a:lnTo>
                    <a:pt x="107389" y="135427"/>
                  </a:lnTo>
                  <a:lnTo>
                    <a:pt x="108685" y="134751"/>
                  </a:lnTo>
                  <a:lnTo>
                    <a:pt x="110187" y="134493"/>
                  </a:lnTo>
                  <a:lnTo>
                    <a:pt x="112302" y="134819"/>
                  </a:lnTo>
                  <a:lnTo>
                    <a:pt x="115946" y="134384"/>
                  </a:lnTo>
                  <a:lnTo>
                    <a:pt x="125286" y="131208"/>
                  </a:lnTo>
                  <a:lnTo>
                    <a:pt x="125931" y="130230"/>
                  </a:lnTo>
                  <a:lnTo>
                    <a:pt x="126530" y="128030"/>
                  </a:lnTo>
                  <a:lnTo>
                    <a:pt x="127200" y="126104"/>
                  </a:lnTo>
                  <a:lnTo>
                    <a:pt x="128165" y="125458"/>
                  </a:lnTo>
                  <a:lnTo>
                    <a:pt x="128691" y="125315"/>
                  </a:lnTo>
                  <a:lnTo>
                    <a:pt x="131804" y="124798"/>
                  </a:lnTo>
                  <a:lnTo>
                    <a:pt x="136213" y="124064"/>
                  </a:lnTo>
                  <a:lnTo>
                    <a:pt x="137868" y="123958"/>
                  </a:lnTo>
                  <a:lnTo>
                    <a:pt x="142669" y="124170"/>
                  </a:lnTo>
                  <a:lnTo>
                    <a:pt x="146173" y="124325"/>
                  </a:lnTo>
                  <a:lnTo>
                    <a:pt x="151829" y="124577"/>
                  </a:lnTo>
                  <a:lnTo>
                    <a:pt x="155850" y="124705"/>
                  </a:lnTo>
                  <a:lnTo>
                    <a:pt x="159346" y="124820"/>
                  </a:lnTo>
                  <a:lnTo>
                    <a:pt x="163807" y="124964"/>
                  </a:lnTo>
                  <a:lnTo>
                    <a:pt x="164899" y="124517"/>
                  </a:lnTo>
                  <a:lnTo>
                    <a:pt x="164899" y="123110"/>
                  </a:lnTo>
                  <a:lnTo>
                    <a:pt x="164099" y="120493"/>
                  </a:lnTo>
                  <a:lnTo>
                    <a:pt x="164581" y="118860"/>
                  </a:lnTo>
                  <a:lnTo>
                    <a:pt x="166299" y="117346"/>
                  </a:lnTo>
                  <a:lnTo>
                    <a:pt x="168446" y="115646"/>
                  </a:lnTo>
                  <a:lnTo>
                    <a:pt x="167440" y="113580"/>
                  </a:lnTo>
                  <a:lnTo>
                    <a:pt x="165733" y="112196"/>
                  </a:lnTo>
                  <a:lnTo>
                    <a:pt x="163341" y="110542"/>
                  </a:lnTo>
                  <a:lnTo>
                    <a:pt x="162108" y="109860"/>
                  </a:lnTo>
                  <a:lnTo>
                    <a:pt x="159944" y="107853"/>
                  </a:lnTo>
                  <a:lnTo>
                    <a:pt x="158617" y="105564"/>
                  </a:lnTo>
                  <a:lnTo>
                    <a:pt x="157717" y="100728"/>
                  </a:lnTo>
                  <a:lnTo>
                    <a:pt x="156073" y="98015"/>
                  </a:lnTo>
                  <a:lnTo>
                    <a:pt x="154877" y="94669"/>
                  </a:lnTo>
                  <a:lnTo>
                    <a:pt x="155937" y="88526"/>
                  </a:lnTo>
                  <a:lnTo>
                    <a:pt x="154351" y="84804"/>
                  </a:lnTo>
                  <a:lnTo>
                    <a:pt x="154104" y="83191"/>
                  </a:lnTo>
                  <a:lnTo>
                    <a:pt x="154091" y="81295"/>
                  </a:lnTo>
                  <a:lnTo>
                    <a:pt x="154578" y="78013"/>
                  </a:lnTo>
                  <a:lnTo>
                    <a:pt x="154263" y="73391"/>
                  </a:lnTo>
                  <a:lnTo>
                    <a:pt x="152387" y="68612"/>
                  </a:lnTo>
                  <a:lnTo>
                    <a:pt x="153270" y="66983"/>
                  </a:lnTo>
                  <a:lnTo>
                    <a:pt x="153680" y="66140"/>
                  </a:lnTo>
                  <a:lnTo>
                    <a:pt x="153544" y="65415"/>
                  </a:lnTo>
                  <a:lnTo>
                    <a:pt x="151838" y="63893"/>
                  </a:lnTo>
                  <a:lnTo>
                    <a:pt x="151107" y="62639"/>
                  </a:lnTo>
                  <a:lnTo>
                    <a:pt x="151488" y="61458"/>
                  </a:lnTo>
                  <a:lnTo>
                    <a:pt x="152378" y="59744"/>
                  </a:lnTo>
                  <a:lnTo>
                    <a:pt x="152302" y="59027"/>
                  </a:lnTo>
                  <a:lnTo>
                    <a:pt x="149532" y="56935"/>
                  </a:lnTo>
                  <a:lnTo>
                    <a:pt x="144869" y="53550"/>
                  </a:lnTo>
                  <a:lnTo>
                    <a:pt x="143564" y="52074"/>
                  </a:lnTo>
                  <a:lnTo>
                    <a:pt x="142926" y="50209"/>
                  </a:lnTo>
                  <a:lnTo>
                    <a:pt x="147390" y="50688"/>
                  </a:lnTo>
                  <a:lnTo>
                    <a:pt x="149700" y="50459"/>
                  </a:lnTo>
                  <a:lnTo>
                    <a:pt x="154999" y="48231"/>
                  </a:lnTo>
                  <a:lnTo>
                    <a:pt x="159198" y="45221"/>
                  </a:lnTo>
                  <a:lnTo>
                    <a:pt x="162469" y="43685"/>
                  </a:lnTo>
                  <a:lnTo>
                    <a:pt x="165354" y="40381"/>
                  </a:lnTo>
                  <a:lnTo>
                    <a:pt x="167956" y="38292"/>
                  </a:lnTo>
                  <a:lnTo>
                    <a:pt x="171720" y="36038"/>
                  </a:lnTo>
                  <a:lnTo>
                    <a:pt x="182585" y="31174"/>
                  </a:lnTo>
                  <a:lnTo>
                    <a:pt x="184250" y="31132"/>
                  </a:lnTo>
                  <a:lnTo>
                    <a:pt x="187824" y="32243"/>
                  </a:lnTo>
                  <a:lnTo>
                    <a:pt x="190940" y="31898"/>
                  </a:lnTo>
                  <a:lnTo>
                    <a:pt x="193067" y="30190"/>
                  </a:lnTo>
                  <a:lnTo>
                    <a:pt x="195360" y="26088"/>
                  </a:lnTo>
                  <a:lnTo>
                    <a:pt x="198911" y="23582"/>
                  </a:lnTo>
                  <a:lnTo>
                    <a:pt x="203393" y="21069"/>
                  </a:lnTo>
                  <a:lnTo>
                    <a:pt x="209494" y="18673"/>
                  </a:lnTo>
                  <a:lnTo>
                    <a:pt x="213493" y="16460"/>
                  </a:lnTo>
                  <a:lnTo>
                    <a:pt x="219807" y="14545"/>
                  </a:lnTo>
                  <a:lnTo>
                    <a:pt x="235668" y="13328"/>
                  </a:lnTo>
                  <a:lnTo>
                    <a:pt x="243813" y="12245"/>
                  </a:lnTo>
                  <a:lnTo>
                    <a:pt x="249352" y="12489"/>
                  </a:lnTo>
                  <a:lnTo>
                    <a:pt x="254949" y="8984"/>
                  </a:lnTo>
                  <a:lnTo>
                    <a:pt x="257743" y="7827"/>
                  </a:lnTo>
                  <a:lnTo>
                    <a:pt x="269853" y="7556"/>
                  </a:lnTo>
                  <a:lnTo>
                    <a:pt x="275569" y="4989"/>
                  </a:lnTo>
                  <a:lnTo>
                    <a:pt x="297219" y="4985"/>
                  </a:lnTo>
                  <a:lnTo>
                    <a:pt x="299866" y="5847"/>
                  </a:lnTo>
                  <a:lnTo>
                    <a:pt x="302466" y="7228"/>
                  </a:lnTo>
                  <a:lnTo>
                    <a:pt x="306893" y="10559"/>
                  </a:lnTo>
                  <a:lnTo>
                    <a:pt x="309100" y="11283"/>
                  </a:lnTo>
                  <a:lnTo>
                    <a:pt x="311956" y="10594"/>
                  </a:lnTo>
                  <a:lnTo>
                    <a:pt x="318610" y="7442"/>
                  </a:lnTo>
                  <a:lnTo>
                    <a:pt x="326111" y="5800"/>
                  </a:lnTo>
                  <a:lnTo>
                    <a:pt x="330188" y="3918"/>
                  </a:lnTo>
                  <a:lnTo>
                    <a:pt x="331929" y="1179"/>
                  </a:lnTo>
                  <a:lnTo>
                    <a:pt x="335438" y="169"/>
                  </a:lnTo>
                  <a:lnTo>
                    <a:pt x="337413" y="2273"/>
                  </a:lnTo>
                  <a:lnTo>
                    <a:pt x="345190" y="4398"/>
                  </a:lnTo>
                  <a:lnTo>
                    <a:pt x="349964" y="3790"/>
                  </a:lnTo>
                  <a:lnTo>
                    <a:pt x="352065" y="3151"/>
                  </a:lnTo>
                  <a:lnTo>
                    <a:pt x="351309" y="0"/>
                  </a:lnTo>
                  <a:lnTo>
                    <a:pt x="356353" y="842"/>
                  </a:lnTo>
                  <a:lnTo>
                    <a:pt x="360229" y="2357"/>
                  </a:lnTo>
                  <a:lnTo>
                    <a:pt x="364296" y="5394"/>
                  </a:lnTo>
                  <a:lnTo>
                    <a:pt x="366924" y="6001"/>
                  </a:lnTo>
                  <a:lnTo>
                    <a:pt x="371716" y="4629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96" name="ee4p_EG_1_82333">
              <a:extLst>
                <a:ext uri="{FF2B5EF4-FFF2-40B4-BE49-F238E27FC236}">
                  <a16:creationId xmlns:a16="http://schemas.microsoft.com/office/drawing/2014/main" id="{1F8138CB-6005-65E9-46E3-1B754624F89D}"/>
                </a:ext>
              </a:extLst>
            </p:cNvPr>
            <p:cNvSpPr>
              <a:spLocks noChangeAspect="1"/>
            </p:cNvSpPr>
            <p:nvPr>
              <p:custDataLst>
                <p:tags r:id="rId124"/>
              </p:custDataLst>
            </p:nvPr>
          </p:nvSpPr>
          <p:spPr>
            <a:xfrm>
              <a:off x="7200692" y="3743794"/>
              <a:ext cx="337903" cy="296381"/>
            </a:xfrm>
            <a:custGeom>
              <a:avLst/>
              <a:gdLst/>
              <a:ahLst/>
              <a:cxnLst/>
              <a:rect l="0" t="0" r="0" b="0"/>
              <a:pathLst>
                <a:path w="269065" h="229746">
                  <a:moveTo>
                    <a:pt x="209953" y="8122"/>
                  </a:moveTo>
                  <a:lnTo>
                    <a:pt x="210271" y="8862"/>
                  </a:lnTo>
                  <a:lnTo>
                    <a:pt x="210996" y="10911"/>
                  </a:lnTo>
                  <a:lnTo>
                    <a:pt x="212836" y="16109"/>
                  </a:lnTo>
                  <a:lnTo>
                    <a:pt x="214438" y="20180"/>
                  </a:lnTo>
                  <a:lnTo>
                    <a:pt x="216405" y="25809"/>
                  </a:lnTo>
                  <a:lnTo>
                    <a:pt x="217021" y="27969"/>
                  </a:lnTo>
                  <a:lnTo>
                    <a:pt x="217284" y="29458"/>
                  </a:lnTo>
                  <a:lnTo>
                    <a:pt x="220135" y="35632"/>
                  </a:lnTo>
                  <a:lnTo>
                    <a:pt x="221825" y="40704"/>
                  </a:lnTo>
                  <a:lnTo>
                    <a:pt x="223065" y="44815"/>
                  </a:lnTo>
                  <a:lnTo>
                    <a:pt x="224805" y="50810"/>
                  </a:lnTo>
                  <a:lnTo>
                    <a:pt x="225568" y="52899"/>
                  </a:lnTo>
                  <a:lnTo>
                    <a:pt x="224334" y="53990"/>
                  </a:lnTo>
                  <a:lnTo>
                    <a:pt x="221856" y="57884"/>
                  </a:lnTo>
                  <a:lnTo>
                    <a:pt x="219219" y="70220"/>
                  </a:lnTo>
                  <a:lnTo>
                    <a:pt x="215444" y="79831"/>
                  </a:lnTo>
                  <a:lnTo>
                    <a:pt x="215017" y="85838"/>
                  </a:lnTo>
                  <a:lnTo>
                    <a:pt x="214410" y="88003"/>
                  </a:lnTo>
                  <a:lnTo>
                    <a:pt x="212616" y="91041"/>
                  </a:lnTo>
                  <a:lnTo>
                    <a:pt x="210439" y="94020"/>
                  </a:lnTo>
                  <a:lnTo>
                    <a:pt x="206569" y="92478"/>
                  </a:lnTo>
                  <a:lnTo>
                    <a:pt x="200270" y="87246"/>
                  </a:lnTo>
                  <a:lnTo>
                    <a:pt x="196597" y="82270"/>
                  </a:lnTo>
                  <a:lnTo>
                    <a:pt x="192661" y="79052"/>
                  </a:lnTo>
                  <a:lnTo>
                    <a:pt x="188938" y="74786"/>
                  </a:lnTo>
                  <a:lnTo>
                    <a:pt x="187925" y="71714"/>
                  </a:lnTo>
                  <a:lnTo>
                    <a:pt x="187964" y="69742"/>
                  </a:lnTo>
                  <a:lnTo>
                    <a:pt x="186338" y="64923"/>
                  </a:lnTo>
                  <a:lnTo>
                    <a:pt x="185135" y="62642"/>
                  </a:lnTo>
                  <a:lnTo>
                    <a:pt x="180598" y="57508"/>
                  </a:lnTo>
                  <a:lnTo>
                    <a:pt x="179296" y="54765"/>
                  </a:lnTo>
                  <a:lnTo>
                    <a:pt x="178301" y="53559"/>
                  </a:lnTo>
                  <a:lnTo>
                    <a:pt x="177301" y="51827"/>
                  </a:lnTo>
                  <a:lnTo>
                    <a:pt x="175658" y="45145"/>
                  </a:lnTo>
                  <a:lnTo>
                    <a:pt x="173857" y="40899"/>
                  </a:lnTo>
                  <a:lnTo>
                    <a:pt x="171807" y="42074"/>
                  </a:lnTo>
                  <a:lnTo>
                    <a:pt x="172170" y="43861"/>
                  </a:lnTo>
                  <a:lnTo>
                    <a:pt x="170382" y="46332"/>
                  </a:lnTo>
                  <a:lnTo>
                    <a:pt x="169303" y="49199"/>
                  </a:lnTo>
                  <a:lnTo>
                    <a:pt x="170132" y="51537"/>
                  </a:lnTo>
                  <a:lnTo>
                    <a:pt x="173842" y="55095"/>
                  </a:lnTo>
                  <a:lnTo>
                    <a:pt x="174593" y="56648"/>
                  </a:lnTo>
                  <a:lnTo>
                    <a:pt x="175457" y="60015"/>
                  </a:lnTo>
                  <a:lnTo>
                    <a:pt x="175319" y="64587"/>
                  </a:lnTo>
                  <a:lnTo>
                    <a:pt x="175917" y="66138"/>
                  </a:lnTo>
                  <a:lnTo>
                    <a:pt x="178694" y="69530"/>
                  </a:lnTo>
                  <a:lnTo>
                    <a:pt x="179690" y="71542"/>
                  </a:lnTo>
                  <a:lnTo>
                    <a:pt x="180288" y="73276"/>
                  </a:lnTo>
                  <a:lnTo>
                    <a:pt x="181210" y="74846"/>
                  </a:lnTo>
                  <a:lnTo>
                    <a:pt x="183965" y="77795"/>
                  </a:lnTo>
                  <a:lnTo>
                    <a:pt x="187930" y="83401"/>
                  </a:lnTo>
                  <a:lnTo>
                    <a:pt x="191691" y="87176"/>
                  </a:lnTo>
                  <a:lnTo>
                    <a:pt x="194403" y="88997"/>
                  </a:lnTo>
                  <a:lnTo>
                    <a:pt x="195556" y="90822"/>
                  </a:lnTo>
                  <a:lnTo>
                    <a:pt x="195816" y="95526"/>
                  </a:lnTo>
                  <a:lnTo>
                    <a:pt x="195617" y="97766"/>
                  </a:lnTo>
                  <a:lnTo>
                    <a:pt x="197997" y="101983"/>
                  </a:lnTo>
                  <a:lnTo>
                    <a:pt x="198877" y="104115"/>
                  </a:lnTo>
                  <a:lnTo>
                    <a:pt x="201186" y="105853"/>
                  </a:lnTo>
                  <a:lnTo>
                    <a:pt x="202240" y="107835"/>
                  </a:lnTo>
                  <a:lnTo>
                    <a:pt x="203207" y="111059"/>
                  </a:lnTo>
                  <a:lnTo>
                    <a:pt x="204667" y="120574"/>
                  </a:lnTo>
                  <a:lnTo>
                    <a:pt x="206667" y="122907"/>
                  </a:lnTo>
                  <a:lnTo>
                    <a:pt x="212853" y="135376"/>
                  </a:lnTo>
                  <a:lnTo>
                    <a:pt x="218068" y="143252"/>
                  </a:lnTo>
                  <a:lnTo>
                    <a:pt x="220592" y="149120"/>
                  </a:lnTo>
                  <a:lnTo>
                    <a:pt x="224438" y="156254"/>
                  </a:lnTo>
                  <a:lnTo>
                    <a:pt x="231977" y="171879"/>
                  </a:lnTo>
                  <a:lnTo>
                    <a:pt x="236464" y="176692"/>
                  </a:lnTo>
                  <a:lnTo>
                    <a:pt x="238250" y="179392"/>
                  </a:lnTo>
                  <a:lnTo>
                    <a:pt x="241497" y="181471"/>
                  </a:lnTo>
                  <a:lnTo>
                    <a:pt x="245017" y="184473"/>
                  </a:lnTo>
                  <a:lnTo>
                    <a:pt x="241659" y="184180"/>
                  </a:lnTo>
                  <a:lnTo>
                    <a:pt x="240815" y="184361"/>
                  </a:lnTo>
                  <a:lnTo>
                    <a:pt x="239642" y="184875"/>
                  </a:lnTo>
                  <a:lnTo>
                    <a:pt x="239077" y="186695"/>
                  </a:lnTo>
                  <a:lnTo>
                    <a:pt x="238837" y="188182"/>
                  </a:lnTo>
                  <a:lnTo>
                    <a:pt x="239243" y="196053"/>
                  </a:lnTo>
                  <a:lnTo>
                    <a:pt x="240163" y="200054"/>
                  </a:lnTo>
                  <a:lnTo>
                    <a:pt x="243115" y="207629"/>
                  </a:lnTo>
                  <a:lnTo>
                    <a:pt x="245315" y="209899"/>
                  </a:lnTo>
                  <a:lnTo>
                    <a:pt x="246386" y="211367"/>
                  </a:lnTo>
                  <a:lnTo>
                    <a:pt x="247881" y="212439"/>
                  </a:lnTo>
                  <a:lnTo>
                    <a:pt x="254875" y="215018"/>
                  </a:lnTo>
                  <a:lnTo>
                    <a:pt x="258963" y="220474"/>
                  </a:lnTo>
                  <a:lnTo>
                    <a:pt x="268142" y="227360"/>
                  </a:lnTo>
                  <a:lnTo>
                    <a:pt x="269043" y="229260"/>
                  </a:lnTo>
                  <a:lnTo>
                    <a:pt x="269064" y="229702"/>
                  </a:lnTo>
                  <a:lnTo>
                    <a:pt x="261809" y="229704"/>
                  </a:lnTo>
                  <a:lnTo>
                    <a:pt x="254555" y="229705"/>
                  </a:lnTo>
                  <a:lnTo>
                    <a:pt x="247297" y="229706"/>
                  </a:lnTo>
                  <a:lnTo>
                    <a:pt x="240044" y="229708"/>
                  </a:lnTo>
                  <a:lnTo>
                    <a:pt x="232789" y="229709"/>
                  </a:lnTo>
                  <a:lnTo>
                    <a:pt x="225533" y="229710"/>
                  </a:lnTo>
                  <a:lnTo>
                    <a:pt x="218277" y="229711"/>
                  </a:lnTo>
                  <a:lnTo>
                    <a:pt x="211022" y="229712"/>
                  </a:lnTo>
                  <a:lnTo>
                    <a:pt x="203769" y="229713"/>
                  </a:lnTo>
                  <a:lnTo>
                    <a:pt x="196513" y="229714"/>
                  </a:lnTo>
                  <a:lnTo>
                    <a:pt x="189258" y="229715"/>
                  </a:lnTo>
                  <a:lnTo>
                    <a:pt x="182002" y="229716"/>
                  </a:lnTo>
                  <a:lnTo>
                    <a:pt x="174749" y="229719"/>
                  </a:lnTo>
                  <a:lnTo>
                    <a:pt x="167491" y="229719"/>
                  </a:lnTo>
                  <a:lnTo>
                    <a:pt x="160238" y="229721"/>
                  </a:lnTo>
                  <a:lnTo>
                    <a:pt x="152982" y="229722"/>
                  </a:lnTo>
                  <a:lnTo>
                    <a:pt x="148843" y="229722"/>
                  </a:lnTo>
                  <a:lnTo>
                    <a:pt x="149549" y="227662"/>
                  </a:lnTo>
                  <a:lnTo>
                    <a:pt x="149985" y="226196"/>
                  </a:lnTo>
                  <a:lnTo>
                    <a:pt x="149501" y="225181"/>
                  </a:lnTo>
                  <a:lnTo>
                    <a:pt x="148087" y="224928"/>
                  </a:lnTo>
                  <a:lnTo>
                    <a:pt x="147162" y="225248"/>
                  </a:lnTo>
                  <a:lnTo>
                    <a:pt x="144999" y="229573"/>
                  </a:lnTo>
                  <a:lnTo>
                    <a:pt x="143861" y="229745"/>
                  </a:lnTo>
                  <a:lnTo>
                    <a:pt x="141285" y="229745"/>
                  </a:lnTo>
                  <a:lnTo>
                    <a:pt x="132837" y="229744"/>
                  </a:lnTo>
                  <a:lnTo>
                    <a:pt x="124390" y="229742"/>
                  </a:lnTo>
                  <a:lnTo>
                    <a:pt x="115944" y="229739"/>
                  </a:lnTo>
                  <a:lnTo>
                    <a:pt x="107495" y="229739"/>
                  </a:lnTo>
                  <a:lnTo>
                    <a:pt x="99047" y="229737"/>
                  </a:lnTo>
                  <a:lnTo>
                    <a:pt x="90602" y="229736"/>
                  </a:lnTo>
                  <a:lnTo>
                    <a:pt x="82154" y="229735"/>
                  </a:lnTo>
                  <a:lnTo>
                    <a:pt x="73705" y="229733"/>
                  </a:lnTo>
                  <a:lnTo>
                    <a:pt x="65259" y="229731"/>
                  </a:lnTo>
                  <a:lnTo>
                    <a:pt x="56812" y="229730"/>
                  </a:lnTo>
                  <a:lnTo>
                    <a:pt x="48364" y="229729"/>
                  </a:lnTo>
                  <a:lnTo>
                    <a:pt x="39917" y="229728"/>
                  </a:lnTo>
                  <a:lnTo>
                    <a:pt x="31469" y="229726"/>
                  </a:lnTo>
                  <a:lnTo>
                    <a:pt x="23022" y="229725"/>
                  </a:lnTo>
                  <a:lnTo>
                    <a:pt x="14574" y="229723"/>
                  </a:lnTo>
                  <a:lnTo>
                    <a:pt x="6126" y="229722"/>
                  </a:lnTo>
                  <a:lnTo>
                    <a:pt x="6126" y="224510"/>
                  </a:lnTo>
                  <a:lnTo>
                    <a:pt x="6126" y="219293"/>
                  </a:lnTo>
                  <a:lnTo>
                    <a:pt x="6126" y="214071"/>
                  </a:lnTo>
                  <a:lnTo>
                    <a:pt x="6126" y="208843"/>
                  </a:lnTo>
                  <a:lnTo>
                    <a:pt x="6126" y="203610"/>
                  </a:lnTo>
                  <a:lnTo>
                    <a:pt x="6126" y="198371"/>
                  </a:lnTo>
                  <a:lnTo>
                    <a:pt x="6126" y="193126"/>
                  </a:lnTo>
                  <a:lnTo>
                    <a:pt x="6126" y="187876"/>
                  </a:lnTo>
                  <a:lnTo>
                    <a:pt x="6126" y="182620"/>
                  </a:lnTo>
                  <a:lnTo>
                    <a:pt x="6126" y="177359"/>
                  </a:lnTo>
                  <a:lnTo>
                    <a:pt x="6126" y="172092"/>
                  </a:lnTo>
                  <a:lnTo>
                    <a:pt x="6126" y="166819"/>
                  </a:lnTo>
                  <a:lnTo>
                    <a:pt x="6126" y="161540"/>
                  </a:lnTo>
                  <a:lnTo>
                    <a:pt x="6126" y="156255"/>
                  </a:lnTo>
                  <a:lnTo>
                    <a:pt x="6126" y="150964"/>
                  </a:lnTo>
                  <a:lnTo>
                    <a:pt x="6126" y="145667"/>
                  </a:lnTo>
                  <a:lnTo>
                    <a:pt x="6126" y="140364"/>
                  </a:lnTo>
                  <a:lnTo>
                    <a:pt x="6126" y="135054"/>
                  </a:lnTo>
                  <a:lnTo>
                    <a:pt x="6126" y="129738"/>
                  </a:lnTo>
                  <a:lnTo>
                    <a:pt x="6126" y="124416"/>
                  </a:lnTo>
                  <a:lnTo>
                    <a:pt x="6126" y="119087"/>
                  </a:lnTo>
                  <a:lnTo>
                    <a:pt x="6126" y="113752"/>
                  </a:lnTo>
                  <a:lnTo>
                    <a:pt x="6126" y="108408"/>
                  </a:lnTo>
                  <a:lnTo>
                    <a:pt x="6126" y="103060"/>
                  </a:lnTo>
                  <a:lnTo>
                    <a:pt x="6126" y="97704"/>
                  </a:lnTo>
                  <a:lnTo>
                    <a:pt x="6126" y="92342"/>
                  </a:lnTo>
                  <a:lnTo>
                    <a:pt x="6126" y="86973"/>
                  </a:lnTo>
                  <a:lnTo>
                    <a:pt x="6126" y="81597"/>
                  </a:lnTo>
                  <a:lnTo>
                    <a:pt x="6126" y="76214"/>
                  </a:lnTo>
                  <a:lnTo>
                    <a:pt x="6126" y="70824"/>
                  </a:lnTo>
                  <a:lnTo>
                    <a:pt x="6126" y="65426"/>
                  </a:lnTo>
                  <a:lnTo>
                    <a:pt x="6126" y="60022"/>
                  </a:lnTo>
                  <a:lnTo>
                    <a:pt x="5937" y="59011"/>
                  </a:lnTo>
                  <a:lnTo>
                    <a:pt x="4708" y="55338"/>
                  </a:lnTo>
                  <a:lnTo>
                    <a:pt x="3598" y="50657"/>
                  </a:lnTo>
                  <a:lnTo>
                    <a:pt x="2380" y="44896"/>
                  </a:lnTo>
                  <a:lnTo>
                    <a:pt x="2222" y="43027"/>
                  </a:lnTo>
                  <a:lnTo>
                    <a:pt x="186" y="37084"/>
                  </a:lnTo>
                  <a:lnTo>
                    <a:pt x="0" y="35399"/>
                  </a:lnTo>
                  <a:lnTo>
                    <a:pt x="514" y="34199"/>
                  </a:lnTo>
                  <a:lnTo>
                    <a:pt x="3855" y="29179"/>
                  </a:lnTo>
                  <a:lnTo>
                    <a:pt x="4861" y="26739"/>
                  </a:lnTo>
                  <a:lnTo>
                    <a:pt x="5710" y="23811"/>
                  </a:lnTo>
                  <a:lnTo>
                    <a:pt x="5986" y="21427"/>
                  </a:lnTo>
                  <a:lnTo>
                    <a:pt x="5004" y="17779"/>
                  </a:lnTo>
                  <a:lnTo>
                    <a:pt x="3855" y="14496"/>
                  </a:lnTo>
                  <a:lnTo>
                    <a:pt x="3466" y="11134"/>
                  </a:lnTo>
                  <a:lnTo>
                    <a:pt x="3306" y="7824"/>
                  </a:lnTo>
                  <a:lnTo>
                    <a:pt x="5015" y="5561"/>
                  </a:lnTo>
                  <a:lnTo>
                    <a:pt x="7064" y="3447"/>
                  </a:lnTo>
                  <a:lnTo>
                    <a:pt x="7828" y="2147"/>
                  </a:lnTo>
                  <a:lnTo>
                    <a:pt x="9039" y="687"/>
                  </a:lnTo>
                  <a:lnTo>
                    <a:pt x="9890" y="0"/>
                  </a:lnTo>
                  <a:lnTo>
                    <a:pt x="11549" y="2963"/>
                  </a:lnTo>
                  <a:lnTo>
                    <a:pt x="15015" y="3476"/>
                  </a:lnTo>
                  <a:lnTo>
                    <a:pt x="26315" y="833"/>
                  </a:lnTo>
                  <a:lnTo>
                    <a:pt x="38787" y="3493"/>
                  </a:lnTo>
                  <a:lnTo>
                    <a:pt x="45671" y="4513"/>
                  </a:lnTo>
                  <a:lnTo>
                    <a:pt x="56272" y="6772"/>
                  </a:lnTo>
                  <a:lnTo>
                    <a:pt x="62728" y="10803"/>
                  </a:lnTo>
                  <a:lnTo>
                    <a:pt x="64499" y="11315"/>
                  </a:lnTo>
                  <a:lnTo>
                    <a:pt x="69140" y="11235"/>
                  </a:lnTo>
                  <a:lnTo>
                    <a:pt x="72182" y="13614"/>
                  </a:lnTo>
                  <a:lnTo>
                    <a:pt x="84283" y="14759"/>
                  </a:lnTo>
                  <a:lnTo>
                    <a:pt x="90742" y="17384"/>
                  </a:lnTo>
                  <a:lnTo>
                    <a:pt x="94409" y="19476"/>
                  </a:lnTo>
                  <a:lnTo>
                    <a:pt x="96605" y="20120"/>
                  </a:lnTo>
                  <a:lnTo>
                    <a:pt x="98548" y="20016"/>
                  </a:lnTo>
                  <a:lnTo>
                    <a:pt x="101178" y="19228"/>
                  </a:lnTo>
                  <a:lnTo>
                    <a:pt x="104487" y="17755"/>
                  </a:lnTo>
                  <a:lnTo>
                    <a:pt x="108093" y="15707"/>
                  </a:lnTo>
                  <a:lnTo>
                    <a:pt x="115571" y="10443"/>
                  </a:lnTo>
                  <a:lnTo>
                    <a:pt x="118216" y="9517"/>
                  </a:lnTo>
                  <a:lnTo>
                    <a:pt x="119944" y="9755"/>
                  </a:lnTo>
                  <a:lnTo>
                    <a:pt x="122047" y="9689"/>
                  </a:lnTo>
                  <a:lnTo>
                    <a:pt x="122923" y="8262"/>
                  </a:lnTo>
                  <a:lnTo>
                    <a:pt x="124029" y="7281"/>
                  </a:lnTo>
                  <a:lnTo>
                    <a:pt x="124724" y="6165"/>
                  </a:lnTo>
                  <a:lnTo>
                    <a:pt x="125860" y="4825"/>
                  </a:lnTo>
                  <a:lnTo>
                    <a:pt x="129749" y="4449"/>
                  </a:lnTo>
                  <a:lnTo>
                    <a:pt x="137545" y="2155"/>
                  </a:lnTo>
                  <a:lnTo>
                    <a:pt x="136674" y="3243"/>
                  </a:lnTo>
                  <a:lnTo>
                    <a:pt x="129572" y="5817"/>
                  </a:lnTo>
                  <a:lnTo>
                    <a:pt x="132613" y="6138"/>
                  </a:lnTo>
                  <a:lnTo>
                    <a:pt x="135729" y="5258"/>
                  </a:lnTo>
                  <a:lnTo>
                    <a:pt x="139274" y="4698"/>
                  </a:lnTo>
                  <a:lnTo>
                    <a:pt x="139918" y="3604"/>
                  </a:lnTo>
                  <a:lnTo>
                    <a:pt x="140384" y="1551"/>
                  </a:lnTo>
                  <a:lnTo>
                    <a:pt x="141069" y="1263"/>
                  </a:lnTo>
                  <a:lnTo>
                    <a:pt x="143524" y="1648"/>
                  </a:lnTo>
                  <a:lnTo>
                    <a:pt x="150831" y="4809"/>
                  </a:lnTo>
                  <a:lnTo>
                    <a:pt x="152647" y="4870"/>
                  </a:lnTo>
                  <a:lnTo>
                    <a:pt x="157793" y="3146"/>
                  </a:lnTo>
                  <a:lnTo>
                    <a:pt x="158892" y="2777"/>
                  </a:lnTo>
                  <a:lnTo>
                    <a:pt x="160557" y="3738"/>
                  </a:lnTo>
                  <a:lnTo>
                    <a:pt x="164356" y="7671"/>
                  </a:lnTo>
                  <a:lnTo>
                    <a:pt x="163030" y="7588"/>
                  </a:lnTo>
                  <a:lnTo>
                    <a:pt x="158964" y="4217"/>
                  </a:lnTo>
                  <a:lnTo>
                    <a:pt x="158603" y="5897"/>
                  </a:lnTo>
                  <a:lnTo>
                    <a:pt x="156286" y="8855"/>
                  </a:lnTo>
                  <a:lnTo>
                    <a:pt x="159182" y="10133"/>
                  </a:lnTo>
                  <a:lnTo>
                    <a:pt x="161536" y="10613"/>
                  </a:lnTo>
                  <a:lnTo>
                    <a:pt x="162799" y="12260"/>
                  </a:lnTo>
                  <a:lnTo>
                    <a:pt x="163597" y="13727"/>
                  </a:lnTo>
                  <a:lnTo>
                    <a:pt x="165915" y="13087"/>
                  </a:lnTo>
                  <a:lnTo>
                    <a:pt x="167579" y="11092"/>
                  </a:lnTo>
                  <a:lnTo>
                    <a:pt x="166716" y="9978"/>
                  </a:lnTo>
                  <a:lnTo>
                    <a:pt x="166128" y="8826"/>
                  </a:lnTo>
                  <a:lnTo>
                    <a:pt x="166889" y="8797"/>
                  </a:lnTo>
                  <a:lnTo>
                    <a:pt x="168501" y="9746"/>
                  </a:lnTo>
                  <a:lnTo>
                    <a:pt x="173129" y="13533"/>
                  </a:lnTo>
                  <a:lnTo>
                    <a:pt x="174688" y="14313"/>
                  </a:lnTo>
                  <a:lnTo>
                    <a:pt x="176485" y="14185"/>
                  </a:lnTo>
                  <a:lnTo>
                    <a:pt x="180242" y="13120"/>
                  </a:lnTo>
                  <a:lnTo>
                    <a:pt x="181283" y="13285"/>
                  </a:lnTo>
                  <a:lnTo>
                    <a:pt x="186332" y="11890"/>
                  </a:lnTo>
                  <a:lnTo>
                    <a:pt x="186926" y="12912"/>
                  </a:lnTo>
                  <a:lnTo>
                    <a:pt x="187757" y="13929"/>
                  </a:lnTo>
                  <a:lnTo>
                    <a:pt x="191816" y="12797"/>
                  </a:lnTo>
                  <a:lnTo>
                    <a:pt x="198197" y="12810"/>
                  </a:lnTo>
                  <a:lnTo>
                    <a:pt x="203417" y="11578"/>
                  </a:lnTo>
                  <a:lnTo>
                    <a:pt x="209469" y="8578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97" name="ee4p_ER_1_82333">
              <a:extLst>
                <a:ext uri="{FF2B5EF4-FFF2-40B4-BE49-F238E27FC236}">
                  <a16:creationId xmlns:a16="http://schemas.microsoft.com/office/drawing/2014/main" id="{0FEC184A-0C86-1C87-867A-2D6111569A1F}"/>
                </a:ext>
              </a:extLst>
            </p:cNvPr>
            <p:cNvSpPr>
              <a:spLocks noChangeAspect="1"/>
            </p:cNvSpPr>
            <p:nvPr>
              <p:custDataLst>
                <p:tags r:id="rId125"/>
              </p:custDataLst>
            </p:nvPr>
          </p:nvSpPr>
          <p:spPr>
            <a:xfrm>
              <a:off x="7526247" y="4158589"/>
              <a:ext cx="185776" cy="164282"/>
            </a:xfrm>
            <a:custGeom>
              <a:avLst/>
              <a:gdLst>
                <a:gd name="connsiteX0" fmla="*/ 209077 w 396235"/>
                <a:gd name="connsiteY0" fmla="*/ 128906 h 341104"/>
                <a:gd name="connsiteX1" fmla="*/ 214161 w 396235"/>
                <a:gd name="connsiteY1" fmla="*/ 129750 h 341104"/>
                <a:gd name="connsiteX2" fmla="*/ 217369 w 396235"/>
                <a:gd name="connsiteY2" fmla="*/ 131997 h 341104"/>
                <a:gd name="connsiteX3" fmla="*/ 219483 w 396235"/>
                <a:gd name="connsiteY3" fmla="*/ 134619 h 341104"/>
                <a:gd name="connsiteX4" fmla="*/ 220002 w 396235"/>
                <a:gd name="connsiteY4" fmla="*/ 140635 h 341104"/>
                <a:gd name="connsiteX5" fmla="*/ 222448 w 396235"/>
                <a:gd name="connsiteY5" fmla="*/ 143866 h 341104"/>
                <a:gd name="connsiteX6" fmla="*/ 224160 w 396235"/>
                <a:gd name="connsiteY6" fmla="*/ 143547 h 341104"/>
                <a:gd name="connsiteX7" fmla="*/ 225501 w 396235"/>
                <a:gd name="connsiteY7" fmla="*/ 142473 h 341104"/>
                <a:gd name="connsiteX8" fmla="*/ 226450 w 396235"/>
                <a:gd name="connsiteY8" fmla="*/ 140191 h 341104"/>
                <a:gd name="connsiteX9" fmla="*/ 235817 w 396235"/>
                <a:gd name="connsiteY9" fmla="*/ 144699 h 341104"/>
                <a:gd name="connsiteX10" fmla="*/ 235273 w 396235"/>
                <a:gd name="connsiteY10" fmla="*/ 147691 h 341104"/>
                <a:gd name="connsiteX11" fmla="*/ 229685 w 396235"/>
                <a:gd name="connsiteY11" fmla="*/ 147843 h 341104"/>
                <a:gd name="connsiteX12" fmla="*/ 223235 w 396235"/>
                <a:gd name="connsiteY12" fmla="*/ 146582 h 341104"/>
                <a:gd name="connsiteX13" fmla="*/ 217273 w 396235"/>
                <a:gd name="connsiteY13" fmla="*/ 147021 h 341104"/>
                <a:gd name="connsiteX14" fmla="*/ 210170 w 396235"/>
                <a:gd name="connsiteY14" fmla="*/ 145714 h 341104"/>
                <a:gd name="connsiteX15" fmla="*/ 208528 w 396235"/>
                <a:gd name="connsiteY15" fmla="*/ 140635 h 341104"/>
                <a:gd name="connsiteX16" fmla="*/ 213057 w 396235"/>
                <a:gd name="connsiteY16" fmla="*/ 143094 h 341104"/>
                <a:gd name="connsiteX17" fmla="*/ 215398 w 396235"/>
                <a:gd name="connsiteY17" fmla="*/ 142473 h 341104"/>
                <a:gd name="connsiteX18" fmla="*/ 215813 w 396235"/>
                <a:gd name="connsiteY18" fmla="*/ 141822 h 341104"/>
                <a:gd name="connsiteX19" fmla="*/ 212604 w 396235"/>
                <a:gd name="connsiteY19" fmla="*/ 138383 h 341104"/>
                <a:gd name="connsiteX20" fmla="*/ 208080 w 396235"/>
                <a:gd name="connsiteY20" fmla="*/ 137700 h 341104"/>
                <a:gd name="connsiteX21" fmla="*/ 208394 w 396235"/>
                <a:gd name="connsiteY21" fmla="*/ 134997 h 341104"/>
                <a:gd name="connsiteX22" fmla="*/ 210419 w 396235"/>
                <a:gd name="connsiteY22" fmla="*/ 133934 h 341104"/>
                <a:gd name="connsiteX23" fmla="*/ 211667 w 396235"/>
                <a:gd name="connsiteY23" fmla="*/ 132616 h 341104"/>
                <a:gd name="connsiteX24" fmla="*/ 214490 w 396235"/>
                <a:gd name="connsiteY24" fmla="*/ 115842 h 341104"/>
                <a:gd name="connsiteX25" fmla="*/ 216167 w 396235"/>
                <a:gd name="connsiteY25" fmla="*/ 117181 h 341104"/>
                <a:gd name="connsiteX26" fmla="*/ 218158 w 396235"/>
                <a:gd name="connsiteY26" fmla="*/ 123055 h 341104"/>
                <a:gd name="connsiteX27" fmla="*/ 212374 w 396235"/>
                <a:gd name="connsiteY27" fmla="*/ 120814 h 341104"/>
                <a:gd name="connsiteX28" fmla="*/ 211407 w 396235"/>
                <a:gd name="connsiteY28" fmla="*/ 119597 h 341104"/>
                <a:gd name="connsiteX29" fmla="*/ 213952 w 396235"/>
                <a:gd name="connsiteY29" fmla="*/ 117270 h 341104"/>
                <a:gd name="connsiteX30" fmla="*/ 129280 w 396235"/>
                <a:gd name="connsiteY30" fmla="*/ 0 h 341104"/>
                <a:gd name="connsiteX31" fmla="*/ 147181 w 396235"/>
                <a:gd name="connsiteY31" fmla="*/ 35303 h 341104"/>
                <a:gd name="connsiteX32" fmla="*/ 154453 w 396235"/>
                <a:gd name="connsiteY32" fmla="*/ 56140 h 341104"/>
                <a:gd name="connsiteX33" fmla="*/ 160855 w 396235"/>
                <a:gd name="connsiteY33" fmla="*/ 77849 h 341104"/>
                <a:gd name="connsiteX34" fmla="*/ 165591 w 396235"/>
                <a:gd name="connsiteY34" fmla="*/ 110420 h 341104"/>
                <a:gd name="connsiteX35" fmla="*/ 170115 w 396235"/>
                <a:gd name="connsiteY35" fmla="*/ 126979 h 341104"/>
                <a:gd name="connsiteX36" fmla="*/ 177419 w 396235"/>
                <a:gd name="connsiteY36" fmla="*/ 135141 h 341104"/>
                <a:gd name="connsiteX37" fmla="*/ 182412 w 396235"/>
                <a:gd name="connsiteY37" fmla="*/ 150585 h 341104"/>
                <a:gd name="connsiteX38" fmla="*/ 186692 w 396235"/>
                <a:gd name="connsiteY38" fmla="*/ 151169 h 341104"/>
                <a:gd name="connsiteX39" fmla="*/ 189797 w 396235"/>
                <a:gd name="connsiteY39" fmla="*/ 155412 h 341104"/>
                <a:gd name="connsiteX40" fmla="*/ 195103 w 396235"/>
                <a:gd name="connsiteY40" fmla="*/ 169889 h 341104"/>
                <a:gd name="connsiteX41" fmla="*/ 198936 w 396235"/>
                <a:gd name="connsiteY41" fmla="*/ 175271 h 341104"/>
                <a:gd name="connsiteX42" fmla="*/ 200945 w 396235"/>
                <a:gd name="connsiteY42" fmla="*/ 170639 h 341104"/>
                <a:gd name="connsiteX43" fmla="*/ 200720 w 396235"/>
                <a:gd name="connsiteY43" fmla="*/ 167972 h 341104"/>
                <a:gd name="connsiteX44" fmla="*/ 199220 w 396235"/>
                <a:gd name="connsiteY44" fmla="*/ 163514 h 341104"/>
                <a:gd name="connsiteX45" fmla="*/ 200591 w 396235"/>
                <a:gd name="connsiteY45" fmla="*/ 157774 h 341104"/>
                <a:gd name="connsiteX46" fmla="*/ 203570 w 396235"/>
                <a:gd name="connsiteY46" fmla="*/ 154332 h 341104"/>
                <a:gd name="connsiteX47" fmla="*/ 210354 w 396235"/>
                <a:gd name="connsiteY47" fmla="*/ 159014 h 341104"/>
                <a:gd name="connsiteX48" fmla="*/ 214067 w 396235"/>
                <a:gd name="connsiteY48" fmla="*/ 162566 h 341104"/>
                <a:gd name="connsiteX49" fmla="*/ 215063 w 396235"/>
                <a:gd name="connsiteY49" fmla="*/ 169683 h 341104"/>
                <a:gd name="connsiteX50" fmla="*/ 216619 w 396235"/>
                <a:gd name="connsiteY50" fmla="*/ 173629 h 341104"/>
                <a:gd name="connsiteX51" fmla="*/ 223726 w 396235"/>
                <a:gd name="connsiteY51" fmla="*/ 181978 h 341104"/>
                <a:gd name="connsiteX52" fmla="*/ 229720 w 396235"/>
                <a:gd name="connsiteY52" fmla="*/ 184404 h 341104"/>
                <a:gd name="connsiteX53" fmla="*/ 237493 w 396235"/>
                <a:gd name="connsiteY53" fmla="*/ 185012 h 341104"/>
                <a:gd name="connsiteX54" fmla="*/ 243994 w 396235"/>
                <a:gd name="connsiteY54" fmla="*/ 186853 h 341104"/>
                <a:gd name="connsiteX55" fmla="*/ 249212 w 396235"/>
                <a:gd name="connsiteY55" fmla="*/ 189914 h 341104"/>
                <a:gd name="connsiteX56" fmla="*/ 258981 w 396235"/>
                <a:gd name="connsiteY56" fmla="*/ 198386 h 341104"/>
                <a:gd name="connsiteX57" fmla="*/ 281317 w 396235"/>
                <a:gd name="connsiteY57" fmla="*/ 205809 h 341104"/>
                <a:gd name="connsiteX58" fmla="*/ 299279 w 396235"/>
                <a:gd name="connsiteY58" fmla="*/ 228563 h 341104"/>
                <a:gd name="connsiteX59" fmla="*/ 309852 w 396235"/>
                <a:gd name="connsiteY59" fmla="*/ 244318 h 341104"/>
                <a:gd name="connsiteX60" fmla="*/ 344614 w 396235"/>
                <a:gd name="connsiteY60" fmla="*/ 268178 h 341104"/>
                <a:gd name="connsiteX61" fmla="*/ 350616 w 396235"/>
                <a:gd name="connsiteY61" fmla="*/ 279608 h 341104"/>
                <a:gd name="connsiteX62" fmla="*/ 353745 w 396235"/>
                <a:gd name="connsiteY62" fmla="*/ 290785 h 341104"/>
                <a:gd name="connsiteX63" fmla="*/ 361063 w 396235"/>
                <a:gd name="connsiteY63" fmla="*/ 290250 h 341104"/>
                <a:gd name="connsiteX64" fmla="*/ 373596 w 396235"/>
                <a:gd name="connsiteY64" fmla="*/ 302472 h 341104"/>
                <a:gd name="connsiteX65" fmla="*/ 377252 w 396235"/>
                <a:gd name="connsiteY65" fmla="*/ 311764 h 341104"/>
                <a:gd name="connsiteX66" fmla="*/ 387519 w 396235"/>
                <a:gd name="connsiteY66" fmla="*/ 315131 h 341104"/>
                <a:gd name="connsiteX67" fmla="*/ 389265 w 396235"/>
                <a:gd name="connsiteY67" fmla="*/ 309642 h 341104"/>
                <a:gd name="connsiteX68" fmla="*/ 394234 w 396235"/>
                <a:gd name="connsiteY68" fmla="*/ 314150 h 341104"/>
                <a:gd name="connsiteX69" fmla="*/ 396235 w 396235"/>
                <a:gd name="connsiteY69" fmla="*/ 321133 h 341104"/>
                <a:gd name="connsiteX70" fmla="*/ 389659 w 396235"/>
                <a:gd name="connsiteY70" fmla="*/ 323919 h 341104"/>
                <a:gd name="connsiteX71" fmla="*/ 382411 w 396235"/>
                <a:gd name="connsiteY71" fmla="*/ 326386 h 341104"/>
                <a:gd name="connsiteX72" fmla="*/ 381382 w 396235"/>
                <a:gd name="connsiteY72" fmla="*/ 326295 h 341104"/>
                <a:gd name="connsiteX73" fmla="*/ 378974 w 396235"/>
                <a:gd name="connsiteY73" fmla="*/ 329512 h 341104"/>
                <a:gd name="connsiteX74" fmla="*/ 375551 w 396235"/>
                <a:gd name="connsiteY74" fmla="*/ 338321 h 341104"/>
                <a:gd name="connsiteX75" fmla="*/ 371774 w 396235"/>
                <a:gd name="connsiteY75" fmla="*/ 340879 h 341104"/>
                <a:gd name="connsiteX76" fmla="*/ 369784 w 396235"/>
                <a:gd name="connsiteY76" fmla="*/ 341104 h 341104"/>
                <a:gd name="connsiteX77" fmla="*/ 358489 w 396235"/>
                <a:gd name="connsiteY77" fmla="*/ 332863 h 341104"/>
                <a:gd name="connsiteX78" fmla="*/ 356747 w 396235"/>
                <a:gd name="connsiteY78" fmla="*/ 332399 h 341104"/>
                <a:gd name="connsiteX79" fmla="*/ 354294 w 396235"/>
                <a:gd name="connsiteY79" fmla="*/ 334020 h 341104"/>
                <a:gd name="connsiteX80" fmla="*/ 352513 w 396235"/>
                <a:gd name="connsiteY80" fmla="*/ 335702 h 341104"/>
                <a:gd name="connsiteX81" fmla="*/ 347268 w 396235"/>
                <a:gd name="connsiteY81" fmla="*/ 329458 h 341104"/>
                <a:gd name="connsiteX82" fmla="*/ 343422 w 396235"/>
                <a:gd name="connsiteY82" fmla="*/ 323940 h 341104"/>
                <a:gd name="connsiteX83" fmla="*/ 338049 w 396235"/>
                <a:gd name="connsiteY83" fmla="*/ 317351 h 341104"/>
                <a:gd name="connsiteX84" fmla="*/ 332855 w 396235"/>
                <a:gd name="connsiteY84" fmla="*/ 314391 h 341104"/>
                <a:gd name="connsiteX85" fmla="*/ 327262 w 396235"/>
                <a:gd name="connsiteY85" fmla="*/ 310676 h 341104"/>
                <a:gd name="connsiteX86" fmla="*/ 321776 w 396235"/>
                <a:gd name="connsiteY86" fmla="*/ 302033 h 341104"/>
                <a:gd name="connsiteX87" fmla="*/ 316178 w 396235"/>
                <a:gd name="connsiteY87" fmla="*/ 292513 h 341104"/>
                <a:gd name="connsiteX88" fmla="*/ 307883 w 396235"/>
                <a:gd name="connsiteY88" fmla="*/ 284724 h 341104"/>
                <a:gd name="connsiteX89" fmla="*/ 292361 w 396235"/>
                <a:gd name="connsiteY89" fmla="*/ 273477 h 341104"/>
                <a:gd name="connsiteX90" fmla="*/ 278113 w 396235"/>
                <a:gd name="connsiteY90" fmla="*/ 259221 h 341104"/>
                <a:gd name="connsiteX91" fmla="*/ 267228 w 396235"/>
                <a:gd name="connsiteY91" fmla="*/ 244315 h 341104"/>
                <a:gd name="connsiteX92" fmla="*/ 260213 w 396235"/>
                <a:gd name="connsiteY92" fmla="*/ 236550 h 341104"/>
                <a:gd name="connsiteX93" fmla="*/ 257218 w 396235"/>
                <a:gd name="connsiteY93" fmla="*/ 234571 h 341104"/>
                <a:gd name="connsiteX94" fmla="*/ 242698 w 396235"/>
                <a:gd name="connsiteY94" fmla="*/ 229693 h 341104"/>
                <a:gd name="connsiteX95" fmla="*/ 232554 w 396235"/>
                <a:gd name="connsiteY95" fmla="*/ 222874 h 341104"/>
                <a:gd name="connsiteX96" fmla="*/ 224757 w 396235"/>
                <a:gd name="connsiteY96" fmla="*/ 217246 h 341104"/>
                <a:gd name="connsiteX97" fmla="*/ 219968 w 396235"/>
                <a:gd name="connsiteY97" fmla="*/ 215741 h 341104"/>
                <a:gd name="connsiteX98" fmla="*/ 215318 w 396235"/>
                <a:gd name="connsiteY98" fmla="*/ 215556 h 341104"/>
                <a:gd name="connsiteX99" fmla="*/ 205426 w 396235"/>
                <a:gd name="connsiteY99" fmla="*/ 216673 h 341104"/>
                <a:gd name="connsiteX100" fmla="*/ 197197 w 396235"/>
                <a:gd name="connsiteY100" fmla="*/ 213145 h 341104"/>
                <a:gd name="connsiteX101" fmla="*/ 193750 w 396235"/>
                <a:gd name="connsiteY101" fmla="*/ 213145 h 341104"/>
                <a:gd name="connsiteX102" fmla="*/ 188238 w 396235"/>
                <a:gd name="connsiteY102" fmla="*/ 212114 h 341104"/>
                <a:gd name="connsiteX103" fmla="*/ 183909 w 396235"/>
                <a:gd name="connsiteY103" fmla="*/ 210866 h 341104"/>
                <a:gd name="connsiteX104" fmla="*/ 178831 w 396235"/>
                <a:gd name="connsiteY104" fmla="*/ 212368 h 341104"/>
                <a:gd name="connsiteX105" fmla="*/ 168408 w 396235"/>
                <a:gd name="connsiteY105" fmla="*/ 214881 h 341104"/>
                <a:gd name="connsiteX106" fmla="*/ 164141 w 396235"/>
                <a:gd name="connsiteY106" fmla="*/ 214332 h 341104"/>
                <a:gd name="connsiteX107" fmla="*/ 161803 w 396235"/>
                <a:gd name="connsiteY107" fmla="*/ 210817 h 341104"/>
                <a:gd name="connsiteX108" fmla="*/ 160434 w 396235"/>
                <a:gd name="connsiteY108" fmla="*/ 208134 h 341104"/>
                <a:gd name="connsiteX109" fmla="*/ 156805 w 396235"/>
                <a:gd name="connsiteY109" fmla="*/ 205332 h 341104"/>
                <a:gd name="connsiteX110" fmla="*/ 153821 w 396235"/>
                <a:gd name="connsiteY110" fmla="*/ 205332 h 341104"/>
                <a:gd name="connsiteX111" fmla="*/ 152155 w 396235"/>
                <a:gd name="connsiteY111" fmla="*/ 207834 h 341104"/>
                <a:gd name="connsiteX112" fmla="*/ 141277 w 396235"/>
                <a:gd name="connsiteY112" fmla="*/ 214152 h 341104"/>
                <a:gd name="connsiteX113" fmla="*/ 123055 w 396235"/>
                <a:gd name="connsiteY113" fmla="*/ 217656 h 341104"/>
                <a:gd name="connsiteX114" fmla="*/ 118735 w 396235"/>
                <a:gd name="connsiteY114" fmla="*/ 217401 h 341104"/>
                <a:gd name="connsiteX115" fmla="*/ 115507 w 396235"/>
                <a:gd name="connsiteY115" fmla="*/ 214873 h 341104"/>
                <a:gd name="connsiteX116" fmla="*/ 106301 w 396235"/>
                <a:gd name="connsiteY116" fmla="*/ 204033 h 341104"/>
                <a:gd name="connsiteX117" fmla="*/ 103668 w 396235"/>
                <a:gd name="connsiteY117" fmla="*/ 202270 h 341104"/>
                <a:gd name="connsiteX118" fmla="*/ 101592 w 396235"/>
                <a:gd name="connsiteY118" fmla="*/ 202107 h 341104"/>
                <a:gd name="connsiteX119" fmla="*/ 97325 w 396235"/>
                <a:gd name="connsiteY119" fmla="*/ 200824 h 341104"/>
                <a:gd name="connsiteX120" fmla="*/ 93331 w 396235"/>
                <a:gd name="connsiteY120" fmla="*/ 198743 h 341104"/>
                <a:gd name="connsiteX121" fmla="*/ 89833 w 396235"/>
                <a:gd name="connsiteY121" fmla="*/ 194302 h 341104"/>
                <a:gd name="connsiteX122" fmla="*/ 86322 w 396235"/>
                <a:gd name="connsiteY122" fmla="*/ 191773 h 341104"/>
                <a:gd name="connsiteX123" fmla="*/ 82540 w 396235"/>
                <a:gd name="connsiteY123" fmla="*/ 200476 h 341104"/>
                <a:gd name="connsiteX124" fmla="*/ 75910 w 396235"/>
                <a:gd name="connsiteY124" fmla="*/ 215671 h 341104"/>
                <a:gd name="connsiteX125" fmla="*/ 72361 w 396235"/>
                <a:gd name="connsiteY125" fmla="*/ 223811 h 341104"/>
                <a:gd name="connsiteX126" fmla="*/ 67783 w 396235"/>
                <a:gd name="connsiteY126" fmla="*/ 234292 h 341104"/>
                <a:gd name="connsiteX127" fmla="*/ 66337 w 396235"/>
                <a:gd name="connsiteY127" fmla="*/ 234608 h 341104"/>
                <a:gd name="connsiteX128" fmla="*/ 63996 w 396235"/>
                <a:gd name="connsiteY128" fmla="*/ 233850 h 341104"/>
                <a:gd name="connsiteX129" fmla="*/ 54905 w 396235"/>
                <a:gd name="connsiteY129" fmla="*/ 220795 h 341104"/>
                <a:gd name="connsiteX130" fmla="*/ 49189 w 396235"/>
                <a:gd name="connsiteY130" fmla="*/ 215880 h 341104"/>
                <a:gd name="connsiteX131" fmla="*/ 44919 w 396235"/>
                <a:gd name="connsiteY131" fmla="*/ 216351 h 341104"/>
                <a:gd name="connsiteX132" fmla="*/ 41810 w 396235"/>
                <a:gd name="connsiteY132" fmla="*/ 218765 h 341104"/>
                <a:gd name="connsiteX133" fmla="*/ 39841 w 396235"/>
                <a:gd name="connsiteY133" fmla="*/ 223120 h 341104"/>
                <a:gd name="connsiteX134" fmla="*/ 37714 w 396235"/>
                <a:gd name="connsiteY134" fmla="*/ 225823 h 341104"/>
                <a:gd name="connsiteX135" fmla="*/ 35405 w 396235"/>
                <a:gd name="connsiteY135" fmla="*/ 226867 h 341104"/>
                <a:gd name="connsiteX136" fmla="*/ 30445 w 396235"/>
                <a:gd name="connsiteY136" fmla="*/ 226348 h 341104"/>
                <a:gd name="connsiteX137" fmla="*/ 22813 w 396235"/>
                <a:gd name="connsiteY137" fmla="*/ 224264 h 341104"/>
                <a:gd name="connsiteX138" fmla="*/ 14947 w 396235"/>
                <a:gd name="connsiteY138" fmla="*/ 224716 h 341104"/>
                <a:gd name="connsiteX139" fmla="*/ 6849 w 396235"/>
                <a:gd name="connsiteY139" fmla="*/ 227700 h 341104"/>
                <a:gd name="connsiteX140" fmla="*/ 5781 w 396235"/>
                <a:gd name="connsiteY140" fmla="*/ 227783 h 341104"/>
                <a:gd name="connsiteX141" fmla="*/ 3881 w 396235"/>
                <a:gd name="connsiteY141" fmla="*/ 210405 h 341104"/>
                <a:gd name="connsiteX142" fmla="*/ 2609 w 396235"/>
                <a:gd name="connsiteY142" fmla="*/ 198783 h 341104"/>
                <a:gd name="connsiteX143" fmla="*/ 1270 w 396235"/>
                <a:gd name="connsiteY143" fmla="*/ 186459 h 341104"/>
                <a:gd name="connsiteX144" fmla="*/ 0 w 396235"/>
                <a:gd name="connsiteY144" fmla="*/ 174831 h 341104"/>
                <a:gd name="connsiteX145" fmla="*/ 5631 w 396235"/>
                <a:gd name="connsiteY145" fmla="*/ 167680 h 341104"/>
                <a:gd name="connsiteX146" fmla="*/ 8250 w 396235"/>
                <a:gd name="connsiteY146" fmla="*/ 160892 h 341104"/>
                <a:gd name="connsiteX147" fmla="*/ 14955 w 396235"/>
                <a:gd name="connsiteY147" fmla="*/ 138800 h 341104"/>
                <a:gd name="connsiteX148" fmla="*/ 17636 w 396235"/>
                <a:gd name="connsiteY148" fmla="*/ 134401 h 341104"/>
                <a:gd name="connsiteX149" fmla="*/ 22907 w 396235"/>
                <a:gd name="connsiteY149" fmla="*/ 122557 h 341104"/>
                <a:gd name="connsiteX150" fmla="*/ 23641 w 396235"/>
                <a:gd name="connsiteY150" fmla="*/ 119134 h 341104"/>
                <a:gd name="connsiteX151" fmla="*/ 28845 w 396235"/>
                <a:gd name="connsiteY151" fmla="*/ 104190 h 341104"/>
                <a:gd name="connsiteX152" fmla="*/ 28355 w 396235"/>
                <a:gd name="connsiteY152" fmla="*/ 94258 h 341104"/>
                <a:gd name="connsiteX153" fmla="*/ 27308 w 396235"/>
                <a:gd name="connsiteY153" fmla="*/ 84211 h 341104"/>
                <a:gd name="connsiteX154" fmla="*/ 30147 w 396235"/>
                <a:gd name="connsiteY154" fmla="*/ 78262 h 341104"/>
                <a:gd name="connsiteX155" fmla="*/ 32692 w 396235"/>
                <a:gd name="connsiteY155" fmla="*/ 73499 h 341104"/>
                <a:gd name="connsiteX156" fmla="*/ 32520 w 396235"/>
                <a:gd name="connsiteY156" fmla="*/ 69482 h 341104"/>
                <a:gd name="connsiteX157" fmla="*/ 33670 w 396235"/>
                <a:gd name="connsiteY157" fmla="*/ 60099 h 341104"/>
                <a:gd name="connsiteX158" fmla="*/ 34487 w 396235"/>
                <a:gd name="connsiteY158" fmla="*/ 57763 h 341104"/>
                <a:gd name="connsiteX159" fmla="*/ 37599 w 396235"/>
                <a:gd name="connsiteY159" fmla="*/ 57618 h 341104"/>
                <a:gd name="connsiteX160" fmla="*/ 43995 w 396235"/>
                <a:gd name="connsiteY160" fmla="*/ 58829 h 341104"/>
                <a:gd name="connsiteX161" fmla="*/ 48691 w 396235"/>
                <a:gd name="connsiteY161" fmla="*/ 57886 h 341104"/>
                <a:gd name="connsiteX162" fmla="*/ 54118 w 396235"/>
                <a:gd name="connsiteY162" fmla="*/ 57873 h 341104"/>
                <a:gd name="connsiteX163" fmla="*/ 58299 w 396235"/>
                <a:gd name="connsiteY163" fmla="*/ 57591 h 341104"/>
                <a:gd name="connsiteX164" fmla="*/ 60779 w 396235"/>
                <a:gd name="connsiteY164" fmla="*/ 54728 h 341104"/>
                <a:gd name="connsiteX165" fmla="*/ 64170 w 396235"/>
                <a:gd name="connsiteY165" fmla="*/ 43784 h 341104"/>
                <a:gd name="connsiteX166" fmla="*/ 66380 w 396235"/>
                <a:gd name="connsiteY166" fmla="*/ 41590 h 341104"/>
                <a:gd name="connsiteX167" fmla="*/ 68067 w 396235"/>
                <a:gd name="connsiteY167" fmla="*/ 40926 h 341104"/>
                <a:gd name="connsiteX168" fmla="*/ 72851 w 396235"/>
                <a:gd name="connsiteY168" fmla="*/ 38898 h 341104"/>
                <a:gd name="connsiteX169" fmla="*/ 76952 w 396235"/>
                <a:gd name="connsiteY169" fmla="*/ 35710 h 341104"/>
                <a:gd name="connsiteX170" fmla="*/ 80295 w 396235"/>
                <a:gd name="connsiteY170" fmla="*/ 33420 h 341104"/>
                <a:gd name="connsiteX171" fmla="*/ 81532 w 396235"/>
                <a:gd name="connsiteY171" fmla="*/ 32962 h 341104"/>
                <a:gd name="connsiteX172" fmla="*/ 85065 w 396235"/>
                <a:gd name="connsiteY172" fmla="*/ 32673 h 341104"/>
                <a:gd name="connsiteX173" fmla="*/ 88596 w 396235"/>
                <a:gd name="connsiteY173" fmla="*/ 31326 h 341104"/>
                <a:gd name="connsiteX174" fmla="*/ 90227 w 396235"/>
                <a:gd name="connsiteY174" fmla="*/ 29777 h 341104"/>
                <a:gd name="connsiteX175" fmla="*/ 94679 w 396235"/>
                <a:gd name="connsiteY175" fmla="*/ 28551 h 341104"/>
                <a:gd name="connsiteX176" fmla="*/ 99042 w 396235"/>
                <a:gd name="connsiteY176" fmla="*/ 29242 h 341104"/>
                <a:gd name="connsiteX177" fmla="*/ 101980 w 396235"/>
                <a:gd name="connsiteY177" fmla="*/ 27894 h 341104"/>
                <a:gd name="connsiteX178" fmla="*/ 103936 w 396235"/>
                <a:gd name="connsiteY178" fmla="*/ 27021 h 341104"/>
                <a:gd name="connsiteX179" fmla="*/ 106156 w 396235"/>
                <a:gd name="connsiteY179" fmla="*/ 26952 h 341104"/>
                <a:gd name="connsiteX180" fmla="*/ 108197 w 396235"/>
                <a:gd name="connsiteY180" fmla="*/ 25682 h 341104"/>
                <a:gd name="connsiteX181" fmla="*/ 109014 w 396235"/>
                <a:gd name="connsiteY181" fmla="*/ 23732 h 341104"/>
                <a:gd name="connsiteX182" fmla="*/ 110348 w 396235"/>
                <a:gd name="connsiteY182" fmla="*/ 22492 h 341104"/>
                <a:gd name="connsiteX183" fmla="*/ 113755 w 396235"/>
                <a:gd name="connsiteY183" fmla="*/ 19647 h 341104"/>
                <a:gd name="connsiteX184" fmla="*/ 115317 w 396235"/>
                <a:gd name="connsiteY184" fmla="*/ 17587 h 341104"/>
                <a:gd name="connsiteX185" fmla="*/ 116019 w 396235"/>
                <a:gd name="connsiteY185" fmla="*/ 15514 h 341104"/>
                <a:gd name="connsiteX186" fmla="*/ 116707 w 396235"/>
                <a:gd name="connsiteY186" fmla="*/ 13856 h 341104"/>
                <a:gd name="connsiteX187" fmla="*/ 118204 w 396235"/>
                <a:gd name="connsiteY187" fmla="*/ 11073 h 341104"/>
                <a:gd name="connsiteX188" fmla="*/ 124148 w 396235"/>
                <a:gd name="connsiteY188" fmla="*/ 4069 h 3411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</a:cxnLst>
              <a:rect l="l" t="t" r="r" b="b"/>
              <a:pathLst>
                <a:path w="396235" h="341104">
                  <a:moveTo>
                    <a:pt x="209077" y="128906"/>
                  </a:moveTo>
                  <a:lnTo>
                    <a:pt x="214161" y="129750"/>
                  </a:lnTo>
                  <a:lnTo>
                    <a:pt x="217369" y="131997"/>
                  </a:lnTo>
                  <a:lnTo>
                    <a:pt x="219483" y="134619"/>
                  </a:lnTo>
                  <a:lnTo>
                    <a:pt x="220002" y="140635"/>
                  </a:lnTo>
                  <a:lnTo>
                    <a:pt x="222448" y="143866"/>
                  </a:lnTo>
                  <a:lnTo>
                    <a:pt x="224160" y="143547"/>
                  </a:lnTo>
                  <a:lnTo>
                    <a:pt x="225501" y="142473"/>
                  </a:lnTo>
                  <a:lnTo>
                    <a:pt x="226450" y="140191"/>
                  </a:lnTo>
                  <a:lnTo>
                    <a:pt x="235817" y="144699"/>
                  </a:lnTo>
                  <a:lnTo>
                    <a:pt x="235273" y="147691"/>
                  </a:lnTo>
                  <a:lnTo>
                    <a:pt x="229685" y="147843"/>
                  </a:lnTo>
                  <a:lnTo>
                    <a:pt x="223235" y="146582"/>
                  </a:lnTo>
                  <a:lnTo>
                    <a:pt x="217273" y="147021"/>
                  </a:lnTo>
                  <a:lnTo>
                    <a:pt x="210170" y="145714"/>
                  </a:lnTo>
                  <a:lnTo>
                    <a:pt x="208528" y="140635"/>
                  </a:lnTo>
                  <a:lnTo>
                    <a:pt x="213057" y="143094"/>
                  </a:lnTo>
                  <a:lnTo>
                    <a:pt x="215398" y="142473"/>
                  </a:lnTo>
                  <a:lnTo>
                    <a:pt x="215813" y="141822"/>
                  </a:lnTo>
                  <a:lnTo>
                    <a:pt x="212604" y="138383"/>
                  </a:lnTo>
                  <a:lnTo>
                    <a:pt x="208080" y="137700"/>
                  </a:lnTo>
                  <a:lnTo>
                    <a:pt x="208394" y="134997"/>
                  </a:lnTo>
                  <a:lnTo>
                    <a:pt x="210419" y="133934"/>
                  </a:lnTo>
                  <a:lnTo>
                    <a:pt x="211667" y="132616"/>
                  </a:lnTo>
                  <a:close/>
                  <a:moveTo>
                    <a:pt x="214490" y="115842"/>
                  </a:moveTo>
                  <a:lnTo>
                    <a:pt x="216167" y="117181"/>
                  </a:lnTo>
                  <a:lnTo>
                    <a:pt x="218158" y="123055"/>
                  </a:lnTo>
                  <a:lnTo>
                    <a:pt x="212374" y="120814"/>
                  </a:lnTo>
                  <a:lnTo>
                    <a:pt x="211407" y="119597"/>
                  </a:lnTo>
                  <a:lnTo>
                    <a:pt x="213952" y="117270"/>
                  </a:lnTo>
                  <a:close/>
                  <a:moveTo>
                    <a:pt x="129280" y="0"/>
                  </a:moveTo>
                  <a:lnTo>
                    <a:pt x="147181" y="35303"/>
                  </a:lnTo>
                  <a:lnTo>
                    <a:pt x="154453" y="56140"/>
                  </a:lnTo>
                  <a:lnTo>
                    <a:pt x="160855" y="77849"/>
                  </a:lnTo>
                  <a:lnTo>
                    <a:pt x="165591" y="110420"/>
                  </a:lnTo>
                  <a:lnTo>
                    <a:pt x="170115" y="126979"/>
                  </a:lnTo>
                  <a:lnTo>
                    <a:pt x="177419" y="135141"/>
                  </a:lnTo>
                  <a:lnTo>
                    <a:pt x="182412" y="150585"/>
                  </a:lnTo>
                  <a:lnTo>
                    <a:pt x="186692" y="151169"/>
                  </a:lnTo>
                  <a:lnTo>
                    <a:pt x="189797" y="155412"/>
                  </a:lnTo>
                  <a:lnTo>
                    <a:pt x="195103" y="169889"/>
                  </a:lnTo>
                  <a:lnTo>
                    <a:pt x="198936" y="175271"/>
                  </a:lnTo>
                  <a:lnTo>
                    <a:pt x="200945" y="170639"/>
                  </a:lnTo>
                  <a:lnTo>
                    <a:pt x="200720" y="167972"/>
                  </a:lnTo>
                  <a:lnTo>
                    <a:pt x="199220" y="163514"/>
                  </a:lnTo>
                  <a:lnTo>
                    <a:pt x="200591" y="157774"/>
                  </a:lnTo>
                  <a:lnTo>
                    <a:pt x="203570" y="154332"/>
                  </a:lnTo>
                  <a:lnTo>
                    <a:pt x="210354" y="159014"/>
                  </a:lnTo>
                  <a:lnTo>
                    <a:pt x="214067" y="162566"/>
                  </a:lnTo>
                  <a:lnTo>
                    <a:pt x="215063" y="169683"/>
                  </a:lnTo>
                  <a:lnTo>
                    <a:pt x="216619" y="173629"/>
                  </a:lnTo>
                  <a:lnTo>
                    <a:pt x="223726" y="181978"/>
                  </a:lnTo>
                  <a:lnTo>
                    <a:pt x="229720" y="184404"/>
                  </a:lnTo>
                  <a:lnTo>
                    <a:pt x="237493" y="185012"/>
                  </a:lnTo>
                  <a:lnTo>
                    <a:pt x="243994" y="186853"/>
                  </a:lnTo>
                  <a:lnTo>
                    <a:pt x="249212" y="189914"/>
                  </a:lnTo>
                  <a:lnTo>
                    <a:pt x="258981" y="198386"/>
                  </a:lnTo>
                  <a:lnTo>
                    <a:pt x="281317" y="205809"/>
                  </a:lnTo>
                  <a:lnTo>
                    <a:pt x="299279" y="228563"/>
                  </a:lnTo>
                  <a:lnTo>
                    <a:pt x="309852" y="244318"/>
                  </a:lnTo>
                  <a:lnTo>
                    <a:pt x="344614" y="268178"/>
                  </a:lnTo>
                  <a:lnTo>
                    <a:pt x="350616" y="279608"/>
                  </a:lnTo>
                  <a:lnTo>
                    <a:pt x="353745" y="290785"/>
                  </a:lnTo>
                  <a:lnTo>
                    <a:pt x="361063" y="290250"/>
                  </a:lnTo>
                  <a:lnTo>
                    <a:pt x="373596" y="302472"/>
                  </a:lnTo>
                  <a:lnTo>
                    <a:pt x="377252" y="311764"/>
                  </a:lnTo>
                  <a:lnTo>
                    <a:pt x="387519" y="315131"/>
                  </a:lnTo>
                  <a:lnTo>
                    <a:pt x="389265" y="309642"/>
                  </a:lnTo>
                  <a:lnTo>
                    <a:pt x="394234" y="314150"/>
                  </a:lnTo>
                  <a:lnTo>
                    <a:pt x="396235" y="321133"/>
                  </a:lnTo>
                  <a:lnTo>
                    <a:pt x="389659" y="323919"/>
                  </a:lnTo>
                  <a:lnTo>
                    <a:pt x="382411" y="326386"/>
                  </a:lnTo>
                  <a:lnTo>
                    <a:pt x="381382" y="326295"/>
                  </a:lnTo>
                  <a:lnTo>
                    <a:pt x="378974" y="329512"/>
                  </a:lnTo>
                  <a:lnTo>
                    <a:pt x="375551" y="338321"/>
                  </a:lnTo>
                  <a:lnTo>
                    <a:pt x="371774" y="340879"/>
                  </a:lnTo>
                  <a:lnTo>
                    <a:pt x="369784" y="341104"/>
                  </a:lnTo>
                  <a:lnTo>
                    <a:pt x="358489" y="332863"/>
                  </a:lnTo>
                  <a:lnTo>
                    <a:pt x="356747" y="332399"/>
                  </a:lnTo>
                  <a:lnTo>
                    <a:pt x="354294" y="334020"/>
                  </a:lnTo>
                  <a:lnTo>
                    <a:pt x="352513" y="335702"/>
                  </a:lnTo>
                  <a:lnTo>
                    <a:pt x="347268" y="329458"/>
                  </a:lnTo>
                  <a:lnTo>
                    <a:pt x="343422" y="323940"/>
                  </a:lnTo>
                  <a:lnTo>
                    <a:pt x="338049" y="317351"/>
                  </a:lnTo>
                  <a:lnTo>
                    <a:pt x="332855" y="314391"/>
                  </a:lnTo>
                  <a:lnTo>
                    <a:pt x="327262" y="310676"/>
                  </a:lnTo>
                  <a:lnTo>
                    <a:pt x="321776" y="302033"/>
                  </a:lnTo>
                  <a:lnTo>
                    <a:pt x="316178" y="292513"/>
                  </a:lnTo>
                  <a:lnTo>
                    <a:pt x="307883" y="284724"/>
                  </a:lnTo>
                  <a:lnTo>
                    <a:pt x="292361" y="273477"/>
                  </a:lnTo>
                  <a:lnTo>
                    <a:pt x="278113" y="259221"/>
                  </a:lnTo>
                  <a:lnTo>
                    <a:pt x="267228" y="244315"/>
                  </a:lnTo>
                  <a:lnTo>
                    <a:pt x="260213" y="236550"/>
                  </a:lnTo>
                  <a:lnTo>
                    <a:pt x="257218" y="234571"/>
                  </a:lnTo>
                  <a:lnTo>
                    <a:pt x="242698" y="229693"/>
                  </a:lnTo>
                  <a:lnTo>
                    <a:pt x="232554" y="222874"/>
                  </a:lnTo>
                  <a:lnTo>
                    <a:pt x="224757" y="217246"/>
                  </a:lnTo>
                  <a:lnTo>
                    <a:pt x="219968" y="215741"/>
                  </a:lnTo>
                  <a:lnTo>
                    <a:pt x="215318" y="215556"/>
                  </a:lnTo>
                  <a:lnTo>
                    <a:pt x="205426" y="216673"/>
                  </a:lnTo>
                  <a:lnTo>
                    <a:pt x="197197" y="213145"/>
                  </a:lnTo>
                  <a:lnTo>
                    <a:pt x="193750" y="213145"/>
                  </a:lnTo>
                  <a:lnTo>
                    <a:pt x="188238" y="212114"/>
                  </a:lnTo>
                  <a:lnTo>
                    <a:pt x="183909" y="210866"/>
                  </a:lnTo>
                  <a:lnTo>
                    <a:pt x="178831" y="212368"/>
                  </a:lnTo>
                  <a:lnTo>
                    <a:pt x="168408" y="214881"/>
                  </a:lnTo>
                  <a:lnTo>
                    <a:pt x="164141" y="214332"/>
                  </a:lnTo>
                  <a:lnTo>
                    <a:pt x="161803" y="210817"/>
                  </a:lnTo>
                  <a:lnTo>
                    <a:pt x="160434" y="208134"/>
                  </a:lnTo>
                  <a:lnTo>
                    <a:pt x="156805" y="205332"/>
                  </a:lnTo>
                  <a:lnTo>
                    <a:pt x="153821" y="205332"/>
                  </a:lnTo>
                  <a:lnTo>
                    <a:pt x="152155" y="207834"/>
                  </a:lnTo>
                  <a:lnTo>
                    <a:pt x="141277" y="214152"/>
                  </a:lnTo>
                  <a:lnTo>
                    <a:pt x="123055" y="217656"/>
                  </a:lnTo>
                  <a:lnTo>
                    <a:pt x="118735" y="217401"/>
                  </a:lnTo>
                  <a:lnTo>
                    <a:pt x="115507" y="214873"/>
                  </a:lnTo>
                  <a:lnTo>
                    <a:pt x="106301" y="204033"/>
                  </a:lnTo>
                  <a:lnTo>
                    <a:pt x="103668" y="202270"/>
                  </a:lnTo>
                  <a:lnTo>
                    <a:pt x="101592" y="202107"/>
                  </a:lnTo>
                  <a:lnTo>
                    <a:pt x="97325" y="200824"/>
                  </a:lnTo>
                  <a:lnTo>
                    <a:pt x="93331" y="198743"/>
                  </a:lnTo>
                  <a:lnTo>
                    <a:pt x="89833" y="194302"/>
                  </a:lnTo>
                  <a:lnTo>
                    <a:pt x="86322" y="191773"/>
                  </a:lnTo>
                  <a:lnTo>
                    <a:pt x="82540" y="200476"/>
                  </a:lnTo>
                  <a:lnTo>
                    <a:pt x="75910" y="215671"/>
                  </a:lnTo>
                  <a:lnTo>
                    <a:pt x="72361" y="223811"/>
                  </a:lnTo>
                  <a:lnTo>
                    <a:pt x="67783" y="234292"/>
                  </a:lnTo>
                  <a:lnTo>
                    <a:pt x="66337" y="234608"/>
                  </a:lnTo>
                  <a:lnTo>
                    <a:pt x="63996" y="233850"/>
                  </a:lnTo>
                  <a:lnTo>
                    <a:pt x="54905" y="220795"/>
                  </a:lnTo>
                  <a:lnTo>
                    <a:pt x="49189" y="215880"/>
                  </a:lnTo>
                  <a:lnTo>
                    <a:pt x="44919" y="216351"/>
                  </a:lnTo>
                  <a:lnTo>
                    <a:pt x="41810" y="218765"/>
                  </a:lnTo>
                  <a:lnTo>
                    <a:pt x="39841" y="223120"/>
                  </a:lnTo>
                  <a:lnTo>
                    <a:pt x="37714" y="225823"/>
                  </a:lnTo>
                  <a:lnTo>
                    <a:pt x="35405" y="226867"/>
                  </a:lnTo>
                  <a:lnTo>
                    <a:pt x="30445" y="226348"/>
                  </a:lnTo>
                  <a:lnTo>
                    <a:pt x="22813" y="224264"/>
                  </a:lnTo>
                  <a:lnTo>
                    <a:pt x="14947" y="224716"/>
                  </a:lnTo>
                  <a:lnTo>
                    <a:pt x="6849" y="227700"/>
                  </a:lnTo>
                  <a:lnTo>
                    <a:pt x="5781" y="227783"/>
                  </a:lnTo>
                  <a:lnTo>
                    <a:pt x="3881" y="210405"/>
                  </a:lnTo>
                  <a:lnTo>
                    <a:pt x="2609" y="198783"/>
                  </a:lnTo>
                  <a:lnTo>
                    <a:pt x="1270" y="186459"/>
                  </a:lnTo>
                  <a:lnTo>
                    <a:pt x="0" y="174831"/>
                  </a:lnTo>
                  <a:lnTo>
                    <a:pt x="5631" y="167680"/>
                  </a:lnTo>
                  <a:lnTo>
                    <a:pt x="8250" y="160892"/>
                  </a:lnTo>
                  <a:lnTo>
                    <a:pt x="14955" y="138800"/>
                  </a:lnTo>
                  <a:lnTo>
                    <a:pt x="17636" y="134401"/>
                  </a:lnTo>
                  <a:lnTo>
                    <a:pt x="22907" y="122557"/>
                  </a:lnTo>
                  <a:lnTo>
                    <a:pt x="23641" y="119134"/>
                  </a:lnTo>
                  <a:lnTo>
                    <a:pt x="28845" y="104190"/>
                  </a:lnTo>
                  <a:lnTo>
                    <a:pt x="28355" y="94258"/>
                  </a:lnTo>
                  <a:lnTo>
                    <a:pt x="27308" y="84211"/>
                  </a:lnTo>
                  <a:lnTo>
                    <a:pt x="30147" y="78262"/>
                  </a:lnTo>
                  <a:lnTo>
                    <a:pt x="32692" y="73499"/>
                  </a:lnTo>
                  <a:lnTo>
                    <a:pt x="32520" y="69482"/>
                  </a:lnTo>
                  <a:lnTo>
                    <a:pt x="33670" y="60099"/>
                  </a:lnTo>
                  <a:lnTo>
                    <a:pt x="34487" y="57763"/>
                  </a:lnTo>
                  <a:lnTo>
                    <a:pt x="37599" y="57618"/>
                  </a:lnTo>
                  <a:lnTo>
                    <a:pt x="43995" y="58829"/>
                  </a:lnTo>
                  <a:lnTo>
                    <a:pt x="48691" y="57886"/>
                  </a:lnTo>
                  <a:lnTo>
                    <a:pt x="54118" y="57873"/>
                  </a:lnTo>
                  <a:lnTo>
                    <a:pt x="58299" y="57591"/>
                  </a:lnTo>
                  <a:lnTo>
                    <a:pt x="60779" y="54728"/>
                  </a:lnTo>
                  <a:lnTo>
                    <a:pt x="64170" y="43784"/>
                  </a:lnTo>
                  <a:lnTo>
                    <a:pt x="66380" y="41590"/>
                  </a:lnTo>
                  <a:lnTo>
                    <a:pt x="68067" y="40926"/>
                  </a:lnTo>
                  <a:lnTo>
                    <a:pt x="72851" y="38898"/>
                  </a:lnTo>
                  <a:lnTo>
                    <a:pt x="76952" y="35710"/>
                  </a:lnTo>
                  <a:lnTo>
                    <a:pt x="80295" y="33420"/>
                  </a:lnTo>
                  <a:lnTo>
                    <a:pt x="81532" y="32962"/>
                  </a:lnTo>
                  <a:lnTo>
                    <a:pt x="85065" y="32673"/>
                  </a:lnTo>
                  <a:lnTo>
                    <a:pt x="88596" y="31326"/>
                  </a:lnTo>
                  <a:lnTo>
                    <a:pt x="90227" y="29777"/>
                  </a:lnTo>
                  <a:lnTo>
                    <a:pt x="94679" y="28551"/>
                  </a:lnTo>
                  <a:lnTo>
                    <a:pt x="99042" y="29242"/>
                  </a:lnTo>
                  <a:lnTo>
                    <a:pt x="101980" y="27894"/>
                  </a:lnTo>
                  <a:lnTo>
                    <a:pt x="103936" y="27021"/>
                  </a:lnTo>
                  <a:lnTo>
                    <a:pt x="106156" y="26952"/>
                  </a:lnTo>
                  <a:lnTo>
                    <a:pt x="108197" y="25682"/>
                  </a:lnTo>
                  <a:lnTo>
                    <a:pt x="109014" y="23732"/>
                  </a:lnTo>
                  <a:lnTo>
                    <a:pt x="110348" y="22492"/>
                  </a:lnTo>
                  <a:lnTo>
                    <a:pt x="113755" y="19647"/>
                  </a:lnTo>
                  <a:lnTo>
                    <a:pt x="115317" y="17587"/>
                  </a:lnTo>
                  <a:lnTo>
                    <a:pt x="116019" y="15514"/>
                  </a:lnTo>
                  <a:lnTo>
                    <a:pt x="116707" y="13856"/>
                  </a:lnTo>
                  <a:lnTo>
                    <a:pt x="118204" y="11073"/>
                  </a:lnTo>
                  <a:lnTo>
                    <a:pt x="124148" y="4069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98" name="ee4p_ET_1_82333">
              <a:extLst>
                <a:ext uri="{FF2B5EF4-FFF2-40B4-BE49-F238E27FC236}">
                  <a16:creationId xmlns:a16="http://schemas.microsoft.com/office/drawing/2014/main" id="{FC7826D4-A608-5306-8A09-944DA1A43E63}"/>
                </a:ext>
              </a:extLst>
            </p:cNvPr>
            <p:cNvSpPr>
              <a:spLocks noChangeAspect="1"/>
            </p:cNvSpPr>
            <p:nvPr>
              <p:custDataLst>
                <p:tags r:id="rId126"/>
              </p:custDataLst>
            </p:nvPr>
          </p:nvSpPr>
          <p:spPr>
            <a:xfrm>
              <a:off x="7431059" y="4250951"/>
              <a:ext cx="415967" cy="328115"/>
            </a:xfrm>
            <a:custGeom>
              <a:avLst/>
              <a:gdLst/>
              <a:ahLst/>
              <a:cxnLst/>
              <a:rect l="0" t="0" r="0" b="0"/>
              <a:pathLst>
                <a:path w="331225" h="254345">
                  <a:moveTo>
                    <a:pt x="120124" y="9568"/>
                  </a:moveTo>
                  <a:lnTo>
                    <a:pt x="121737" y="9663"/>
                  </a:lnTo>
                  <a:lnTo>
                    <a:pt x="128540" y="8355"/>
                  </a:lnTo>
                  <a:lnTo>
                    <a:pt x="132601" y="5996"/>
                  </a:lnTo>
                  <a:lnTo>
                    <a:pt x="133223" y="5062"/>
                  </a:lnTo>
                  <a:lnTo>
                    <a:pt x="134337" y="5062"/>
                  </a:lnTo>
                  <a:lnTo>
                    <a:pt x="135692" y="6108"/>
                  </a:lnTo>
                  <a:lnTo>
                    <a:pt x="136203" y="7110"/>
                  </a:lnTo>
                  <a:lnTo>
                    <a:pt x="137076" y="8422"/>
                  </a:lnTo>
                  <a:lnTo>
                    <a:pt x="138669" y="8627"/>
                  </a:lnTo>
                  <a:lnTo>
                    <a:pt x="142560" y="7689"/>
                  </a:lnTo>
                  <a:lnTo>
                    <a:pt x="144456" y="7128"/>
                  </a:lnTo>
                  <a:lnTo>
                    <a:pt x="146072" y="7594"/>
                  </a:lnTo>
                  <a:lnTo>
                    <a:pt x="148130" y="7979"/>
                  </a:lnTo>
                  <a:lnTo>
                    <a:pt x="149417" y="7979"/>
                  </a:lnTo>
                  <a:lnTo>
                    <a:pt x="152489" y="9296"/>
                  </a:lnTo>
                  <a:lnTo>
                    <a:pt x="156182" y="8879"/>
                  </a:lnTo>
                  <a:lnTo>
                    <a:pt x="157918" y="8948"/>
                  </a:lnTo>
                  <a:lnTo>
                    <a:pt x="159706" y="9510"/>
                  </a:lnTo>
                  <a:lnTo>
                    <a:pt x="162617" y="11611"/>
                  </a:lnTo>
                  <a:lnTo>
                    <a:pt x="166404" y="14157"/>
                  </a:lnTo>
                  <a:lnTo>
                    <a:pt x="171825" y="15978"/>
                  </a:lnTo>
                  <a:lnTo>
                    <a:pt x="172943" y="16717"/>
                  </a:lnTo>
                  <a:lnTo>
                    <a:pt x="175562" y="19616"/>
                  </a:lnTo>
                  <a:lnTo>
                    <a:pt x="179626" y="25181"/>
                  </a:lnTo>
                  <a:lnTo>
                    <a:pt x="184945" y="30503"/>
                  </a:lnTo>
                  <a:lnTo>
                    <a:pt x="190740" y="34702"/>
                  </a:lnTo>
                  <a:lnTo>
                    <a:pt x="193837" y="37610"/>
                  </a:lnTo>
                  <a:lnTo>
                    <a:pt x="195927" y="41164"/>
                  </a:lnTo>
                  <a:lnTo>
                    <a:pt x="197975" y="44391"/>
                  </a:lnTo>
                  <a:lnTo>
                    <a:pt x="200063" y="45778"/>
                  </a:lnTo>
                  <a:lnTo>
                    <a:pt x="202002" y="46883"/>
                  </a:lnTo>
                  <a:lnTo>
                    <a:pt x="204008" y="49343"/>
                  </a:lnTo>
                  <a:lnTo>
                    <a:pt x="205444" y="51403"/>
                  </a:lnTo>
                  <a:lnTo>
                    <a:pt x="207402" y="53734"/>
                  </a:lnTo>
                  <a:lnTo>
                    <a:pt x="205232" y="56925"/>
                  </a:lnTo>
                  <a:lnTo>
                    <a:pt x="202330" y="61191"/>
                  </a:lnTo>
                  <a:lnTo>
                    <a:pt x="198942" y="66165"/>
                  </a:lnTo>
                  <a:lnTo>
                    <a:pt x="197918" y="67387"/>
                  </a:lnTo>
                  <a:lnTo>
                    <a:pt x="194956" y="70392"/>
                  </a:lnTo>
                  <a:lnTo>
                    <a:pt x="194448" y="71238"/>
                  </a:lnTo>
                  <a:lnTo>
                    <a:pt x="193869" y="73410"/>
                  </a:lnTo>
                  <a:lnTo>
                    <a:pt x="193829" y="77357"/>
                  </a:lnTo>
                  <a:lnTo>
                    <a:pt x="194213" y="82397"/>
                  </a:lnTo>
                  <a:lnTo>
                    <a:pt x="194571" y="87037"/>
                  </a:lnTo>
                  <a:lnTo>
                    <a:pt x="196206" y="87589"/>
                  </a:lnTo>
                  <a:lnTo>
                    <a:pt x="198091" y="87920"/>
                  </a:lnTo>
                  <a:lnTo>
                    <a:pt x="200186" y="87308"/>
                  </a:lnTo>
                  <a:lnTo>
                    <a:pt x="202708" y="86788"/>
                  </a:lnTo>
                  <a:lnTo>
                    <a:pt x="205845" y="86483"/>
                  </a:lnTo>
                  <a:lnTo>
                    <a:pt x="209318" y="85547"/>
                  </a:lnTo>
                  <a:lnTo>
                    <a:pt x="211365" y="84793"/>
                  </a:lnTo>
                  <a:lnTo>
                    <a:pt x="213515" y="84847"/>
                  </a:lnTo>
                  <a:lnTo>
                    <a:pt x="215422" y="85652"/>
                  </a:lnTo>
                  <a:lnTo>
                    <a:pt x="216347" y="86393"/>
                  </a:lnTo>
                  <a:lnTo>
                    <a:pt x="217698" y="86646"/>
                  </a:lnTo>
                  <a:lnTo>
                    <a:pt x="219437" y="86615"/>
                  </a:lnTo>
                  <a:lnTo>
                    <a:pt x="219070" y="87489"/>
                  </a:lnTo>
                  <a:lnTo>
                    <a:pt x="218113" y="88765"/>
                  </a:lnTo>
                  <a:lnTo>
                    <a:pt x="216938" y="90045"/>
                  </a:lnTo>
                  <a:lnTo>
                    <a:pt x="215906" y="91367"/>
                  </a:lnTo>
                  <a:lnTo>
                    <a:pt x="213617" y="95068"/>
                  </a:lnTo>
                  <a:lnTo>
                    <a:pt x="213548" y="95546"/>
                  </a:lnTo>
                  <a:lnTo>
                    <a:pt x="213831" y="96271"/>
                  </a:lnTo>
                  <a:lnTo>
                    <a:pt x="215068" y="97966"/>
                  </a:lnTo>
                  <a:lnTo>
                    <a:pt x="216362" y="100696"/>
                  </a:lnTo>
                  <a:lnTo>
                    <a:pt x="217085" y="103204"/>
                  </a:lnTo>
                  <a:lnTo>
                    <a:pt x="217642" y="104417"/>
                  </a:lnTo>
                  <a:lnTo>
                    <a:pt x="219210" y="105807"/>
                  </a:lnTo>
                  <a:lnTo>
                    <a:pt x="221471" y="108671"/>
                  </a:lnTo>
                  <a:lnTo>
                    <a:pt x="222669" y="110600"/>
                  </a:lnTo>
                  <a:lnTo>
                    <a:pt x="225161" y="111632"/>
                  </a:lnTo>
                  <a:lnTo>
                    <a:pt x="225975" y="114083"/>
                  </a:lnTo>
                  <a:lnTo>
                    <a:pt x="227848" y="117678"/>
                  </a:lnTo>
                  <a:lnTo>
                    <a:pt x="229864" y="120551"/>
                  </a:lnTo>
                  <a:lnTo>
                    <a:pt x="231814" y="122800"/>
                  </a:lnTo>
                  <a:lnTo>
                    <a:pt x="233993" y="123664"/>
                  </a:lnTo>
                  <a:lnTo>
                    <a:pt x="234865" y="123738"/>
                  </a:lnTo>
                  <a:lnTo>
                    <a:pt x="239426" y="127899"/>
                  </a:lnTo>
                  <a:lnTo>
                    <a:pt x="242899" y="131064"/>
                  </a:lnTo>
                  <a:lnTo>
                    <a:pt x="243762" y="131572"/>
                  </a:lnTo>
                  <a:lnTo>
                    <a:pt x="250029" y="133644"/>
                  </a:lnTo>
                  <a:lnTo>
                    <a:pt x="257233" y="136027"/>
                  </a:lnTo>
                  <a:lnTo>
                    <a:pt x="263015" y="137941"/>
                  </a:lnTo>
                  <a:lnTo>
                    <a:pt x="270387" y="140377"/>
                  </a:lnTo>
                  <a:lnTo>
                    <a:pt x="277651" y="142778"/>
                  </a:lnTo>
                  <a:lnTo>
                    <a:pt x="284458" y="145074"/>
                  </a:lnTo>
                  <a:lnTo>
                    <a:pt x="294026" y="148300"/>
                  </a:lnTo>
                  <a:lnTo>
                    <a:pt x="301737" y="150900"/>
                  </a:lnTo>
                  <a:lnTo>
                    <a:pt x="307814" y="152948"/>
                  </a:lnTo>
                  <a:lnTo>
                    <a:pt x="309112" y="153595"/>
                  </a:lnTo>
                  <a:lnTo>
                    <a:pt x="316352" y="153595"/>
                  </a:lnTo>
                  <a:lnTo>
                    <a:pt x="323694" y="153595"/>
                  </a:lnTo>
                  <a:lnTo>
                    <a:pt x="331224" y="153595"/>
                  </a:lnTo>
                  <a:lnTo>
                    <a:pt x="325771" y="158884"/>
                  </a:lnTo>
                  <a:lnTo>
                    <a:pt x="319606" y="164862"/>
                  </a:lnTo>
                  <a:lnTo>
                    <a:pt x="313126" y="171144"/>
                  </a:lnTo>
                  <a:lnTo>
                    <a:pt x="308956" y="175185"/>
                  </a:lnTo>
                  <a:lnTo>
                    <a:pt x="302336" y="181600"/>
                  </a:lnTo>
                  <a:lnTo>
                    <a:pt x="296834" y="186929"/>
                  </a:lnTo>
                  <a:lnTo>
                    <a:pt x="291169" y="192759"/>
                  </a:lnTo>
                  <a:lnTo>
                    <a:pt x="286043" y="198029"/>
                  </a:lnTo>
                  <a:lnTo>
                    <a:pt x="279379" y="205327"/>
                  </a:lnTo>
                  <a:lnTo>
                    <a:pt x="275064" y="210047"/>
                  </a:lnTo>
                  <a:lnTo>
                    <a:pt x="268306" y="217447"/>
                  </a:lnTo>
                  <a:lnTo>
                    <a:pt x="264054" y="222095"/>
                  </a:lnTo>
                  <a:lnTo>
                    <a:pt x="263415" y="222363"/>
                  </a:lnTo>
                  <a:lnTo>
                    <a:pt x="257334" y="222012"/>
                  </a:lnTo>
                  <a:lnTo>
                    <a:pt x="251428" y="221670"/>
                  </a:lnTo>
                  <a:lnTo>
                    <a:pt x="243879" y="221231"/>
                  </a:lnTo>
                  <a:lnTo>
                    <a:pt x="243011" y="221241"/>
                  </a:lnTo>
                  <a:lnTo>
                    <a:pt x="240813" y="221679"/>
                  </a:lnTo>
                  <a:lnTo>
                    <a:pt x="239480" y="222108"/>
                  </a:lnTo>
                  <a:lnTo>
                    <a:pt x="234047" y="223359"/>
                  </a:lnTo>
                  <a:lnTo>
                    <a:pt x="233047" y="223684"/>
                  </a:lnTo>
                  <a:lnTo>
                    <a:pt x="228530" y="225677"/>
                  </a:lnTo>
                  <a:lnTo>
                    <a:pt x="223924" y="228024"/>
                  </a:lnTo>
                  <a:lnTo>
                    <a:pt x="221499" y="229822"/>
                  </a:lnTo>
                  <a:lnTo>
                    <a:pt x="219618" y="232437"/>
                  </a:lnTo>
                  <a:lnTo>
                    <a:pt x="218817" y="234303"/>
                  </a:lnTo>
                  <a:lnTo>
                    <a:pt x="217975" y="235120"/>
                  </a:lnTo>
                  <a:lnTo>
                    <a:pt x="216537" y="235833"/>
                  </a:lnTo>
                  <a:lnTo>
                    <a:pt x="206886" y="237600"/>
                  </a:lnTo>
                  <a:lnTo>
                    <a:pt x="204083" y="237835"/>
                  </a:lnTo>
                  <a:lnTo>
                    <a:pt x="199566" y="239246"/>
                  </a:lnTo>
                  <a:lnTo>
                    <a:pt x="197161" y="241608"/>
                  </a:lnTo>
                  <a:lnTo>
                    <a:pt x="196467" y="242794"/>
                  </a:lnTo>
                  <a:lnTo>
                    <a:pt x="193233" y="242765"/>
                  </a:lnTo>
                  <a:lnTo>
                    <a:pt x="187577" y="243114"/>
                  </a:lnTo>
                  <a:lnTo>
                    <a:pt x="185156" y="243492"/>
                  </a:lnTo>
                  <a:lnTo>
                    <a:pt x="183973" y="243562"/>
                  </a:lnTo>
                  <a:lnTo>
                    <a:pt x="181805" y="243551"/>
                  </a:lnTo>
                  <a:lnTo>
                    <a:pt x="180026" y="243121"/>
                  </a:lnTo>
                  <a:lnTo>
                    <a:pt x="178849" y="242479"/>
                  </a:lnTo>
                  <a:lnTo>
                    <a:pt x="177380" y="241028"/>
                  </a:lnTo>
                  <a:lnTo>
                    <a:pt x="174105" y="238085"/>
                  </a:lnTo>
                  <a:lnTo>
                    <a:pt x="171729" y="236253"/>
                  </a:lnTo>
                  <a:lnTo>
                    <a:pt x="166499" y="238367"/>
                  </a:lnTo>
                  <a:lnTo>
                    <a:pt x="161796" y="240469"/>
                  </a:lnTo>
                  <a:lnTo>
                    <a:pt x="155122" y="243454"/>
                  </a:lnTo>
                  <a:lnTo>
                    <a:pt x="151319" y="245590"/>
                  </a:lnTo>
                  <a:lnTo>
                    <a:pt x="150172" y="247743"/>
                  </a:lnTo>
                  <a:lnTo>
                    <a:pt x="147235" y="251649"/>
                  </a:lnTo>
                  <a:lnTo>
                    <a:pt x="144612" y="254054"/>
                  </a:lnTo>
                  <a:lnTo>
                    <a:pt x="143629" y="254344"/>
                  </a:lnTo>
                  <a:lnTo>
                    <a:pt x="137682" y="253842"/>
                  </a:lnTo>
                  <a:lnTo>
                    <a:pt x="135534" y="253353"/>
                  </a:lnTo>
                  <a:lnTo>
                    <a:pt x="131984" y="252916"/>
                  </a:lnTo>
                  <a:lnTo>
                    <a:pt x="127229" y="252066"/>
                  </a:lnTo>
                  <a:lnTo>
                    <a:pt x="124029" y="251156"/>
                  </a:lnTo>
                  <a:lnTo>
                    <a:pt x="120569" y="251051"/>
                  </a:lnTo>
                  <a:lnTo>
                    <a:pt x="115566" y="250738"/>
                  </a:lnTo>
                  <a:lnTo>
                    <a:pt x="112489" y="250077"/>
                  </a:lnTo>
                  <a:lnTo>
                    <a:pt x="109366" y="247909"/>
                  </a:lnTo>
                  <a:lnTo>
                    <a:pt x="105341" y="245298"/>
                  </a:lnTo>
                  <a:lnTo>
                    <a:pt x="101197" y="242612"/>
                  </a:lnTo>
                  <a:lnTo>
                    <a:pt x="96930" y="239846"/>
                  </a:lnTo>
                  <a:lnTo>
                    <a:pt x="91890" y="236663"/>
                  </a:lnTo>
                  <a:lnTo>
                    <a:pt x="86384" y="233186"/>
                  </a:lnTo>
                  <a:lnTo>
                    <a:pt x="85116" y="232835"/>
                  </a:lnTo>
                  <a:lnTo>
                    <a:pt x="84572" y="232773"/>
                  </a:lnTo>
                  <a:lnTo>
                    <a:pt x="78588" y="232615"/>
                  </a:lnTo>
                  <a:lnTo>
                    <a:pt x="72372" y="232450"/>
                  </a:lnTo>
                  <a:lnTo>
                    <a:pt x="68172" y="232339"/>
                  </a:lnTo>
                  <a:lnTo>
                    <a:pt x="66846" y="231932"/>
                  </a:lnTo>
                  <a:lnTo>
                    <a:pt x="65889" y="231141"/>
                  </a:lnTo>
                  <a:lnTo>
                    <a:pt x="64587" y="228570"/>
                  </a:lnTo>
                  <a:lnTo>
                    <a:pt x="62946" y="226735"/>
                  </a:lnTo>
                  <a:lnTo>
                    <a:pt x="61121" y="224400"/>
                  </a:lnTo>
                  <a:lnTo>
                    <a:pt x="60968" y="221242"/>
                  </a:lnTo>
                  <a:lnTo>
                    <a:pt x="61480" y="217805"/>
                  </a:lnTo>
                  <a:lnTo>
                    <a:pt x="61944" y="216666"/>
                  </a:lnTo>
                  <a:lnTo>
                    <a:pt x="61683" y="215532"/>
                  </a:lnTo>
                  <a:lnTo>
                    <a:pt x="61748" y="213969"/>
                  </a:lnTo>
                  <a:lnTo>
                    <a:pt x="60722" y="212519"/>
                  </a:lnTo>
                  <a:lnTo>
                    <a:pt x="54611" y="210853"/>
                  </a:lnTo>
                  <a:lnTo>
                    <a:pt x="53624" y="210982"/>
                  </a:lnTo>
                  <a:lnTo>
                    <a:pt x="52605" y="211606"/>
                  </a:lnTo>
                  <a:lnTo>
                    <a:pt x="51441" y="212055"/>
                  </a:lnTo>
                  <a:lnTo>
                    <a:pt x="50607" y="211630"/>
                  </a:lnTo>
                  <a:lnTo>
                    <a:pt x="50100" y="211009"/>
                  </a:lnTo>
                  <a:lnTo>
                    <a:pt x="50082" y="209992"/>
                  </a:lnTo>
                  <a:lnTo>
                    <a:pt x="50182" y="209230"/>
                  </a:lnTo>
                  <a:lnTo>
                    <a:pt x="49830" y="208814"/>
                  </a:lnTo>
                  <a:lnTo>
                    <a:pt x="47884" y="207258"/>
                  </a:lnTo>
                  <a:lnTo>
                    <a:pt x="46059" y="205219"/>
                  </a:lnTo>
                  <a:lnTo>
                    <a:pt x="44954" y="202961"/>
                  </a:lnTo>
                  <a:lnTo>
                    <a:pt x="43885" y="201111"/>
                  </a:lnTo>
                  <a:lnTo>
                    <a:pt x="43341" y="196967"/>
                  </a:lnTo>
                  <a:lnTo>
                    <a:pt x="41989" y="194420"/>
                  </a:lnTo>
                  <a:lnTo>
                    <a:pt x="40667" y="191306"/>
                  </a:lnTo>
                  <a:lnTo>
                    <a:pt x="38702" y="185362"/>
                  </a:lnTo>
                  <a:lnTo>
                    <a:pt x="37849" y="183309"/>
                  </a:lnTo>
                  <a:lnTo>
                    <a:pt x="36260" y="181935"/>
                  </a:lnTo>
                  <a:lnTo>
                    <a:pt x="34580" y="180654"/>
                  </a:lnTo>
                  <a:lnTo>
                    <a:pt x="32846" y="178021"/>
                  </a:lnTo>
                  <a:lnTo>
                    <a:pt x="28312" y="175701"/>
                  </a:lnTo>
                  <a:lnTo>
                    <a:pt x="26567" y="173885"/>
                  </a:lnTo>
                  <a:lnTo>
                    <a:pt x="23557" y="170748"/>
                  </a:lnTo>
                  <a:lnTo>
                    <a:pt x="22803" y="169164"/>
                  </a:lnTo>
                  <a:lnTo>
                    <a:pt x="22587" y="167586"/>
                  </a:lnTo>
                  <a:lnTo>
                    <a:pt x="21648" y="166105"/>
                  </a:lnTo>
                  <a:lnTo>
                    <a:pt x="19978" y="164439"/>
                  </a:lnTo>
                  <a:lnTo>
                    <a:pt x="14753" y="160848"/>
                  </a:lnTo>
                  <a:lnTo>
                    <a:pt x="13313" y="160416"/>
                  </a:lnTo>
                  <a:lnTo>
                    <a:pt x="11440" y="160030"/>
                  </a:lnTo>
                  <a:lnTo>
                    <a:pt x="8698" y="159675"/>
                  </a:lnTo>
                  <a:lnTo>
                    <a:pt x="5020" y="158854"/>
                  </a:lnTo>
                  <a:lnTo>
                    <a:pt x="1809" y="157451"/>
                  </a:lnTo>
                  <a:lnTo>
                    <a:pt x="347" y="156454"/>
                  </a:lnTo>
                  <a:lnTo>
                    <a:pt x="0" y="155765"/>
                  </a:lnTo>
                  <a:lnTo>
                    <a:pt x="302" y="154608"/>
                  </a:lnTo>
                  <a:lnTo>
                    <a:pt x="1466" y="152628"/>
                  </a:lnTo>
                  <a:lnTo>
                    <a:pt x="3677" y="147942"/>
                  </a:lnTo>
                  <a:lnTo>
                    <a:pt x="5204" y="144706"/>
                  </a:lnTo>
                  <a:lnTo>
                    <a:pt x="6239" y="143797"/>
                  </a:lnTo>
                  <a:lnTo>
                    <a:pt x="9076" y="143563"/>
                  </a:lnTo>
                  <a:lnTo>
                    <a:pt x="12082" y="143660"/>
                  </a:lnTo>
                  <a:lnTo>
                    <a:pt x="14282" y="143901"/>
                  </a:lnTo>
                  <a:lnTo>
                    <a:pt x="17383" y="143934"/>
                  </a:lnTo>
                  <a:lnTo>
                    <a:pt x="21104" y="143658"/>
                  </a:lnTo>
                  <a:lnTo>
                    <a:pt x="22572" y="142576"/>
                  </a:lnTo>
                  <a:lnTo>
                    <a:pt x="23744" y="141392"/>
                  </a:lnTo>
                  <a:lnTo>
                    <a:pt x="24226" y="140568"/>
                  </a:lnTo>
                  <a:lnTo>
                    <a:pt x="24386" y="138472"/>
                  </a:lnTo>
                  <a:lnTo>
                    <a:pt x="24382" y="136790"/>
                  </a:lnTo>
                  <a:lnTo>
                    <a:pt x="24148" y="130341"/>
                  </a:lnTo>
                  <a:lnTo>
                    <a:pt x="24006" y="126389"/>
                  </a:lnTo>
                  <a:lnTo>
                    <a:pt x="23842" y="121874"/>
                  </a:lnTo>
                  <a:lnTo>
                    <a:pt x="23863" y="120970"/>
                  </a:lnTo>
                  <a:lnTo>
                    <a:pt x="23889" y="119811"/>
                  </a:lnTo>
                  <a:lnTo>
                    <a:pt x="24796" y="114987"/>
                  </a:lnTo>
                  <a:lnTo>
                    <a:pt x="25653" y="112225"/>
                  </a:lnTo>
                  <a:lnTo>
                    <a:pt x="26232" y="110771"/>
                  </a:lnTo>
                  <a:lnTo>
                    <a:pt x="28581" y="106166"/>
                  </a:lnTo>
                  <a:lnTo>
                    <a:pt x="29018" y="104690"/>
                  </a:lnTo>
                  <a:lnTo>
                    <a:pt x="29098" y="103333"/>
                  </a:lnTo>
                  <a:lnTo>
                    <a:pt x="28232" y="97153"/>
                  </a:lnTo>
                  <a:lnTo>
                    <a:pt x="29741" y="94235"/>
                  </a:lnTo>
                  <a:lnTo>
                    <a:pt x="31676" y="91346"/>
                  </a:lnTo>
                  <a:lnTo>
                    <a:pt x="33369" y="90115"/>
                  </a:lnTo>
                  <a:lnTo>
                    <a:pt x="34781" y="89281"/>
                  </a:lnTo>
                  <a:lnTo>
                    <a:pt x="35442" y="89630"/>
                  </a:lnTo>
                  <a:lnTo>
                    <a:pt x="37061" y="90964"/>
                  </a:lnTo>
                  <a:lnTo>
                    <a:pt x="39191" y="92278"/>
                  </a:lnTo>
                  <a:lnTo>
                    <a:pt x="40184" y="91987"/>
                  </a:lnTo>
                  <a:lnTo>
                    <a:pt x="41646" y="90838"/>
                  </a:lnTo>
                  <a:lnTo>
                    <a:pt x="42732" y="89625"/>
                  </a:lnTo>
                  <a:lnTo>
                    <a:pt x="42588" y="87448"/>
                  </a:lnTo>
                  <a:lnTo>
                    <a:pt x="43565" y="82980"/>
                  </a:lnTo>
                  <a:lnTo>
                    <a:pt x="43380" y="80406"/>
                  </a:lnTo>
                  <a:lnTo>
                    <a:pt x="44423" y="77201"/>
                  </a:lnTo>
                  <a:lnTo>
                    <a:pt x="45567" y="72694"/>
                  </a:lnTo>
                  <a:lnTo>
                    <a:pt x="46077" y="69843"/>
                  </a:lnTo>
                  <a:lnTo>
                    <a:pt x="46731" y="68313"/>
                  </a:lnTo>
                  <a:lnTo>
                    <a:pt x="49830" y="65163"/>
                  </a:lnTo>
                  <a:lnTo>
                    <a:pt x="52490" y="60710"/>
                  </a:lnTo>
                  <a:lnTo>
                    <a:pt x="54190" y="57456"/>
                  </a:lnTo>
                  <a:lnTo>
                    <a:pt x="57429" y="52142"/>
                  </a:lnTo>
                  <a:lnTo>
                    <a:pt x="59068" y="50201"/>
                  </a:lnTo>
                  <a:lnTo>
                    <a:pt x="60402" y="49363"/>
                  </a:lnTo>
                  <a:lnTo>
                    <a:pt x="62393" y="48828"/>
                  </a:lnTo>
                  <a:lnTo>
                    <a:pt x="66086" y="48346"/>
                  </a:lnTo>
                  <a:lnTo>
                    <a:pt x="68737" y="47893"/>
                  </a:lnTo>
                  <a:lnTo>
                    <a:pt x="69128" y="47207"/>
                  </a:lnTo>
                  <a:lnTo>
                    <a:pt x="69353" y="46122"/>
                  </a:lnTo>
                  <a:lnTo>
                    <a:pt x="69392" y="43744"/>
                  </a:lnTo>
                  <a:lnTo>
                    <a:pt x="69901" y="39648"/>
                  </a:lnTo>
                  <a:lnTo>
                    <a:pt x="71052" y="35650"/>
                  </a:lnTo>
                  <a:lnTo>
                    <a:pt x="72409" y="32619"/>
                  </a:lnTo>
                  <a:lnTo>
                    <a:pt x="73145" y="31244"/>
                  </a:lnTo>
                  <a:lnTo>
                    <a:pt x="74017" y="29907"/>
                  </a:lnTo>
                  <a:lnTo>
                    <a:pt x="74998" y="27660"/>
                  </a:lnTo>
                  <a:lnTo>
                    <a:pt x="76246" y="22795"/>
                  </a:lnTo>
                  <a:lnTo>
                    <a:pt x="76177" y="19496"/>
                  </a:lnTo>
                  <a:lnTo>
                    <a:pt x="77954" y="13444"/>
                  </a:lnTo>
                  <a:lnTo>
                    <a:pt x="78353" y="13413"/>
                  </a:lnTo>
                  <a:lnTo>
                    <a:pt x="81376" y="12299"/>
                  </a:lnTo>
                  <a:lnTo>
                    <a:pt x="84313" y="12130"/>
                  </a:lnTo>
                  <a:lnTo>
                    <a:pt x="87162" y="12908"/>
                  </a:lnTo>
                  <a:lnTo>
                    <a:pt x="89014" y="13102"/>
                  </a:lnTo>
                  <a:lnTo>
                    <a:pt x="89876" y="12712"/>
                  </a:lnTo>
                  <a:lnTo>
                    <a:pt x="90670" y="11703"/>
                  </a:lnTo>
                  <a:lnTo>
                    <a:pt x="91405" y="10077"/>
                  </a:lnTo>
                  <a:lnTo>
                    <a:pt x="92566" y="9176"/>
                  </a:lnTo>
                  <a:lnTo>
                    <a:pt x="94160" y="9000"/>
                  </a:lnTo>
                  <a:lnTo>
                    <a:pt x="96294" y="10835"/>
                  </a:lnTo>
                  <a:lnTo>
                    <a:pt x="99688" y="15709"/>
                  </a:lnTo>
                  <a:lnTo>
                    <a:pt x="100562" y="15992"/>
                  </a:lnTo>
                  <a:lnTo>
                    <a:pt x="101102" y="15874"/>
                  </a:lnTo>
                  <a:lnTo>
                    <a:pt x="102811" y="11961"/>
                  </a:lnTo>
                  <a:lnTo>
                    <a:pt x="104136" y="8922"/>
                  </a:lnTo>
                  <a:lnTo>
                    <a:pt x="106611" y="3249"/>
                  </a:lnTo>
                  <a:lnTo>
                    <a:pt x="108023" y="0"/>
                  </a:lnTo>
                  <a:lnTo>
                    <a:pt x="109334" y="944"/>
                  </a:lnTo>
                  <a:lnTo>
                    <a:pt x="110640" y="2602"/>
                  </a:lnTo>
                  <a:lnTo>
                    <a:pt x="112131" y="3379"/>
                  </a:lnTo>
                  <a:lnTo>
                    <a:pt x="113724" y="3858"/>
                  </a:lnTo>
                  <a:lnTo>
                    <a:pt x="114499" y="3919"/>
                  </a:lnTo>
                  <a:lnTo>
                    <a:pt x="115482" y="4577"/>
                  </a:lnTo>
                  <a:lnTo>
                    <a:pt x="118919" y="8624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99" name="ee4p_GA_1_82333">
              <a:extLst>
                <a:ext uri="{FF2B5EF4-FFF2-40B4-BE49-F238E27FC236}">
                  <a16:creationId xmlns:a16="http://schemas.microsoft.com/office/drawing/2014/main" id="{FF17156B-9B1E-87F1-C5A2-0F38BC1612A5}"/>
                </a:ext>
              </a:extLst>
            </p:cNvPr>
            <p:cNvSpPr>
              <a:spLocks noChangeAspect="1"/>
            </p:cNvSpPr>
            <p:nvPr>
              <p:custDataLst>
                <p:tags r:id="rId127"/>
              </p:custDataLst>
            </p:nvPr>
          </p:nvSpPr>
          <p:spPr>
            <a:xfrm>
              <a:off x="6756381" y="4612007"/>
              <a:ext cx="160436" cy="177454"/>
            </a:xfrm>
            <a:custGeom>
              <a:avLst/>
              <a:gdLst/>
              <a:ahLst/>
              <a:cxnLst/>
              <a:rect l="0" t="0" r="0" b="0"/>
              <a:pathLst>
                <a:path w="127752" h="137557">
                  <a:moveTo>
                    <a:pt x="101504" y="3111"/>
                  </a:moveTo>
                  <a:lnTo>
                    <a:pt x="101395" y="4657"/>
                  </a:lnTo>
                  <a:lnTo>
                    <a:pt x="99644" y="8446"/>
                  </a:lnTo>
                  <a:lnTo>
                    <a:pt x="98820" y="11362"/>
                  </a:lnTo>
                  <a:lnTo>
                    <a:pt x="98610" y="14469"/>
                  </a:lnTo>
                  <a:lnTo>
                    <a:pt x="99094" y="16969"/>
                  </a:lnTo>
                  <a:lnTo>
                    <a:pt x="99938" y="18749"/>
                  </a:lnTo>
                  <a:lnTo>
                    <a:pt x="100482" y="20693"/>
                  </a:lnTo>
                  <a:lnTo>
                    <a:pt x="100061" y="22048"/>
                  </a:lnTo>
                  <a:lnTo>
                    <a:pt x="99217" y="22627"/>
                  </a:lnTo>
                  <a:lnTo>
                    <a:pt x="99795" y="23308"/>
                  </a:lnTo>
                  <a:lnTo>
                    <a:pt x="101074" y="23473"/>
                  </a:lnTo>
                  <a:lnTo>
                    <a:pt x="103246" y="22881"/>
                  </a:lnTo>
                  <a:lnTo>
                    <a:pt x="106585" y="21845"/>
                  </a:lnTo>
                  <a:lnTo>
                    <a:pt x="110960" y="20348"/>
                  </a:lnTo>
                  <a:lnTo>
                    <a:pt x="113838" y="19542"/>
                  </a:lnTo>
                  <a:lnTo>
                    <a:pt x="118589" y="20047"/>
                  </a:lnTo>
                  <a:lnTo>
                    <a:pt x="121124" y="20615"/>
                  </a:lnTo>
                  <a:lnTo>
                    <a:pt x="122426" y="21669"/>
                  </a:lnTo>
                  <a:lnTo>
                    <a:pt x="123825" y="26130"/>
                  </a:lnTo>
                  <a:lnTo>
                    <a:pt x="124520" y="26807"/>
                  </a:lnTo>
                  <a:lnTo>
                    <a:pt x="125669" y="28704"/>
                  </a:lnTo>
                  <a:lnTo>
                    <a:pt x="126630" y="30981"/>
                  </a:lnTo>
                  <a:lnTo>
                    <a:pt x="126835" y="32139"/>
                  </a:lnTo>
                  <a:lnTo>
                    <a:pt x="126732" y="32972"/>
                  </a:lnTo>
                  <a:lnTo>
                    <a:pt x="125762" y="34205"/>
                  </a:lnTo>
                  <a:lnTo>
                    <a:pt x="124676" y="36015"/>
                  </a:lnTo>
                  <a:lnTo>
                    <a:pt x="124294" y="37112"/>
                  </a:lnTo>
                  <a:lnTo>
                    <a:pt x="123385" y="37925"/>
                  </a:lnTo>
                  <a:lnTo>
                    <a:pt x="122231" y="38729"/>
                  </a:lnTo>
                  <a:lnTo>
                    <a:pt x="119059" y="39050"/>
                  </a:lnTo>
                  <a:lnTo>
                    <a:pt x="118573" y="39528"/>
                  </a:lnTo>
                  <a:lnTo>
                    <a:pt x="117684" y="41457"/>
                  </a:lnTo>
                  <a:lnTo>
                    <a:pt x="116010" y="43092"/>
                  </a:lnTo>
                  <a:lnTo>
                    <a:pt x="115248" y="44636"/>
                  </a:lnTo>
                  <a:lnTo>
                    <a:pt x="114572" y="46696"/>
                  </a:lnTo>
                  <a:lnTo>
                    <a:pt x="114706" y="49250"/>
                  </a:lnTo>
                  <a:lnTo>
                    <a:pt x="114371" y="52924"/>
                  </a:lnTo>
                  <a:lnTo>
                    <a:pt x="114030" y="55411"/>
                  </a:lnTo>
                  <a:lnTo>
                    <a:pt x="114870" y="56279"/>
                  </a:lnTo>
                  <a:lnTo>
                    <a:pt x="118660" y="56888"/>
                  </a:lnTo>
                  <a:lnTo>
                    <a:pt x="119399" y="57381"/>
                  </a:lnTo>
                  <a:lnTo>
                    <a:pt x="120405" y="58918"/>
                  </a:lnTo>
                  <a:lnTo>
                    <a:pt x="121696" y="60365"/>
                  </a:lnTo>
                  <a:lnTo>
                    <a:pt x="125168" y="61276"/>
                  </a:lnTo>
                  <a:lnTo>
                    <a:pt x="126516" y="62384"/>
                  </a:lnTo>
                  <a:lnTo>
                    <a:pt x="127609" y="63595"/>
                  </a:lnTo>
                  <a:lnTo>
                    <a:pt x="127751" y="64589"/>
                  </a:lnTo>
                  <a:lnTo>
                    <a:pt x="126963" y="68580"/>
                  </a:lnTo>
                  <a:lnTo>
                    <a:pt x="126205" y="72410"/>
                  </a:lnTo>
                  <a:lnTo>
                    <a:pt x="126500" y="75326"/>
                  </a:lnTo>
                  <a:lnTo>
                    <a:pt x="126786" y="78110"/>
                  </a:lnTo>
                  <a:lnTo>
                    <a:pt x="127198" y="82166"/>
                  </a:lnTo>
                  <a:lnTo>
                    <a:pt x="127014" y="84641"/>
                  </a:lnTo>
                  <a:lnTo>
                    <a:pt x="126034" y="86151"/>
                  </a:lnTo>
                  <a:lnTo>
                    <a:pt x="126034" y="87337"/>
                  </a:lnTo>
                  <a:lnTo>
                    <a:pt x="126483" y="88764"/>
                  </a:lnTo>
                  <a:lnTo>
                    <a:pt x="125615" y="92713"/>
                  </a:lnTo>
                  <a:lnTo>
                    <a:pt x="125054" y="93380"/>
                  </a:lnTo>
                  <a:lnTo>
                    <a:pt x="123501" y="94117"/>
                  </a:lnTo>
                  <a:lnTo>
                    <a:pt x="122685" y="95178"/>
                  </a:lnTo>
                  <a:lnTo>
                    <a:pt x="122424" y="96843"/>
                  </a:lnTo>
                  <a:lnTo>
                    <a:pt x="121586" y="99125"/>
                  </a:lnTo>
                  <a:lnTo>
                    <a:pt x="120726" y="99958"/>
                  </a:lnTo>
                  <a:lnTo>
                    <a:pt x="120726" y="101019"/>
                  </a:lnTo>
                  <a:lnTo>
                    <a:pt x="121556" y="101795"/>
                  </a:lnTo>
                  <a:lnTo>
                    <a:pt x="121543" y="102981"/>
                  </a:lnTo>
                  <a:lnTo>
                    <a:pt x="119994" y="104392"/>
                  </a:lnTo>
                  <a:lnTo>
                    <a:pt x="119057" y="105474"/>
                  </a:lnTo>
                  <a:lnTo>
                    <a:pt x="116989" y="105999"/>
                  </a:lnTo>
                  <a:lnTo>
                    <a:pt x="114624" y="105442"/>
                  </a:lnTo>
                  <a:lnTo>
                    <a:pt x="114069" y="104655"/>
                  </a:lnTo>
                  <a:lnTo>
                    <a:pt x="114641" y="103431"/>
                  </a:lnTo>
                  <a:lnTo>
                    <a:pt x="114438" y="102450"/>
                  </a:lnTo>
                  <a:lnTo>
                    <a:pt x="113622" y="101421"/>
                  </a:lnTo>
                  <a:lnTo>
                    <a:pt x="112357" y="98768"/>
                  </a:lnTo>
                  <a:lnTo>
                    <a:pt x="111238" y="98208"/>
                  </a:lnTo>
                  <a:lnTo>
                    <a:pt x="110614" y="99293"/>
                  </a:lnTo>
                  <a:lnTo>
                    <a:pt x="108690" y="101309"/>
                  </a:lnTo>
                  <a:lnTo>
                    <a:pt x="105293" y="103893"/>
                  </a:lnTo>
                  <a:lnTo>
                    <a:pt x="102914" y="104100"/>
                  </a:lnTo>
                  <a:lnTo>
                    <a:pt x="98519" y="103312"/>
                  </a:lnTo>
                  <a:lnTo>
                    <a:pt x="94835" y="102078"/>
                  </a:lnTo>
                  <a:lnTo>
                    <a:pt x="93101" y="99045"/>
                  </a:lnTo>
                  <a:lnTo>
                    <a:pt x="92015" y="96545"/>
                  </a:lnTo>
                  <a:lnTo>
                    <a:pt x="90448" y="93637"/>
                  </a:lnTo>
                  <a:lnTo>
                    <a:pt x="88681" y="92257"/>
                  </a:lnTo>
                  <a:lnTo>
                    <a:pt x="86796" y="91376"/>
                  </a:lnTo>
                  <a:lnTo>
                    <a:pt x="85956" y="91315"/>
                  </a:lnTo>
                  <a:lnTo>
                    <a:pt x="83263" y="92933"/>
                  </a:lnTo>
                  <a:lnTo>
                    <a:pt x="82455" y="93573"/>
                  </a:lnTo>
                  <a:lnTo>
                    <a:pt x="82462" y="94931"/>
                  </a:lnTo>
                  <a:lnTo>
                    <a:pt x="82712" y="96197"/>
                  </a:lnTo>
                  <a:lnTo>
                    <a:pt x="83129" y="96811"/>
                  </a:lnTo>
                  <a:lnTo>
                    <a:pt x="83481" y="97623"/>
                  </a:lnTo>
                  <a:lnTo>
                    <a:pt x="83419" y="98889"/>
                  </a:lnTo>
                  <a:lnTo>
                    <a:pt x="82935" y="100578"/>
                  </a:lnTo>
                  <a:lnTo>
                    <a:pt x="82771" y="102445"/>
                  </a:lnTo>
                  <a:lnTo>
                    <a:pt x="74325" y="104273"/>
                  </a:lnTo>
                  <a:lnTo>
                    <a:pt x="72861" y="103614"/>
                  </a:lnTo>
                  <a:lnTo>
                    <a:pt x="71801" y="102774"/>
                  </a:lnTo>
                  <a:lnTo>
                    <a:pt x="70521" y="102920"/>
                  </a:lnTo>
                  <a:lnTo>
                    <a:pt x="66858" y="103878"/>
                  </a:lnTo>
                  <a:lnTo>
                    <a:pt x="65513" y="103210"/>
                  </a:lnTo>
                  <a:lnTo>
                    <a:pt x="64176" y="102724"/>
                  </a:lnTo>
                  <a:lnTo>
                    <a:pt x="63563" y="103130"/>
                  </a:lnTo>
                  <a:lnTo>
                    <a:pt x="63507" y="103929"/>
                  </a:lnTo>
                  <a:lnTo>
                    <a:pt x="64131" y="108318"/>
                  </a:lnTo>
                  <a:lnTo>
                    <a:pt x="63934" y="109990"/>
                  </a:lnTo>
                  <a:lnTo>
                    <a:pt x="63107" y="112173"/>
                  </a:lnTo>
                  <a:lnTo>
                    <a:pt x="62680" y="113657"/>
                  </a:lnTo>
                  <a:lnTo>
                    <a:pt x="64919" y="114070"/>
                  </a:lnTo>
                  <a:lnTo>
                    <a:pt x="65729" y="114762"/>
                  </a:lnTo>
                  <a:lnTo>
                    <a:pt x="66517" y="115866"/>
                  </a:lnTo>
                  <a:lnTo>
                    <a:pt x="67597" y="116897"/>
                  </a:lnTo>
                  <a:lnTo>
                    <a:pt x="67670" y="117520"/>
                  </a:lnTo>
                  <a:lnTo>
                    <a:pt x="66444" y="118667"/>
                  </a:lnTo>
                  <a:lnTo>
                    <a:pt x="66025" y="120081"/>
                  </a:lnTo>
                  <a:lnTo>
                    <a:pt x="66608" y="121188"/>
                  </a:lnTo>
                  <a:lnTo>
                    <a:pt x="68132" y="122342"/>
                  </a:lnTo>
                  <a:lnTo>
                    <a:pt x="70359" y="123539"/>
                  </a:lnTo>
                  <a:lnTo>
                    <a:pt x="71445" y="124322"/>
                  </a:lnTo>
                  <a:lnTo>
                    <a:pt x="71337" y="125040"/>
                  </a:lnTo>
                  <a:lnTo>
                    <a:pt x="70309" y="126572"/>
                  </a:lnTo>
                  <a:lnTo>
                    <a:pt x="69910" y="127865"/>
                  </a:lnTo>
                  <a:lnTo>
                    <a:pt x="69205" y="129035"/>
                  </a:lnTo>
                  <a:lnTo>
                    <a:pt x="69350" y="130111"/>
                  </a:lnTo>
                  <a:lnTo>
                    <a:pt x="70352" y="131114"/>
                  </a:lnTo>
                  <a:lnTo>
                    <a:pt x="70244" y="132012"/>
                  </a:lnTo>
                  <a:lnTo>
                    <a:pt x="69564" y="132693"/>
                  </a:lnTo>
                  <a:lnTo>
                    <a:pt x="68178" y="132550"/>
                  </a:lnTo>
                  <a:lnTo>
                    <a:pt x="67005" y="132645"/>
                  </a:lnTo>
                  <a:lnTo>
                    <a:pt x="65951" y="132369"/>
                  </a:lnTo>
                  <a:lnTo>
                    <a:pt x="62658" y="128892"/>
                  </a:lnTo>
                  <a:lnTo>
                    <a:pt x="61939" y="128788"/>
                  </a:lnTo>
                  <a:lnTo>
                    <a:pt x="57163" y="131463"/>
                  </a:lnTo>
                  <a:lnTo>
                    <a:pt x="55973" y="132563"/>
                  </a:lnTo>
                  <a:lnTo>
                    <a:pt x="54990" y="134139"/>
                  </a:lnTo>
                  <a:lnTo>
                    <a:pt x="53667" y="137556"/>
                  </a:lnTo>
                  <a:lnTo>
                    <a:pt x="51496" y="135567"/>
                  </a:lnTo>
                  <a:lnTo>
                    <a:pt x="49622" y="131928"/>
                  </a:lnTo>
                  <a:lnTo>
                    <a:pt x="47439" y="129696"/>
                  </a:lnTo>
                  <a:lnTo>
                    <a:pt x="42844" y="126081"/>
                  </a:lnTo>
                  <a:lnTo>
                    <a:pt x="41622" y="123425"/>
                  </a:lnTo>
                  <a:lnTo>
                    <a:pt x="36364" y="117561"/>
                  </a:lnTo>
                  <a:lnTo>
                    <a:pt x="28812" y="111702"/>
                  </a:lnTo>
                  <a:lnTo>
                    <a:pt x="23358" y="106617"/>
                  </a:lnTo>
                  <a:lnTo>
                    <a:pt x="22530" y="105489"/>
                  </a:lnTo>
                  <a:lnTo>
                    <a:pt x="23451" y="105628"/>
                  </a:lnTo>
                  <a:lnTo>
                    <a:pt x="28719" y="108162"/>
                  </a:lnTo>
                  <a:lnTo>
                    <a:pt x="29439" y="107879"/>
                  </a:lnTo>
                  <a:lnTo>
                    <a:pt x="30047" y="107311"/>
                  </a:lnTo>
                  <a:lnTo>
                    <a:pt x="27771" y="105982"/>
                  </a:lnTo>
                  <a:lnTo>
                    <a:pt x="25599" y="104936"/>
                  </a:lnTo>
                  <a:lnTo>
                    <a:pt x="23561" y="104284"/>
                  </a:lnTo>
                  <a:lnTo>
                    <a:pt x="21520" y="104340"/>
                  </a:lnTo>
                  <a:lnTo>
                    <a:pt x="20376" y="103266"/>
                  </a:lnTo>
                  <a:lnTo>
                    <a:pt x="19633" y="101631"/>
                  </a:lnTo>
                  <a:lnTo>
                    <a:pt x="19257" y="100233"/>
                  </a:lnTo>
                  <a:lnTo>
                    <a:pt x="18354" y="98770"/>
                  </a:lnTo>
                  <a:lnTo>
                    <a:pt x="15458" y="95757"/>
                  </a:lnTo>
                  <a:lnTo>
                    <a:pt x="14757" y="94592"/>
                  </a:lnTo>
                  <a:lnTo>
                    <a:pt x="13174" y="93000"/>
                  </a:lnTo>
                  <a:lnTo>
                    <a:pt x="14137" y="92793"/>
                  </a:lnTo>
                  <a:lnTo>
                    <a:pt x="17240" y="94311"/>
                  </a:lnTo>
                  <a:lnTo>
                    <a:pt x="17516" y="93707"/>
                  </a:lnTo>
                  <a:lnTo>
                    <a:pt x="17249" y="92814"/>
                  </a:lnTo>
                  <a:lnTo>
                    <a:pt x="14131" y="91372"/>
                  </a:lnTo>
                  <a:lnTo>
                    <a:pt x="12438" y="91276"/>
                  </a:lnTo>
                  <a:lnTo>
                    <a:pt x="12047" y="90263"/>
                  </a:lnTo>
                  <a:lnTo>
                    <a:pt x="12278" y="89090"/>
                  </a:lnTo>
                  <a:lnTo>
                    <a:pt x="10047" y="84699"/>
                  </a:lnTo>
                  <a:lnTo>
                    <a:pt x="7732" y="81412"/>
                  </a:lnTo>
                  <a:lnTo>
                    <a:pt x="7367" y="79859"/>
                  </a:lnTo>
                  <a:lnTo>
                    <a:pt x="13614" y="87006"/>
                  </a:lnTo>
                  <a:lnTo>
                    <a:pt x="14450" y="87129"/>
                  </a:lnTo>
                  <a:lnTo>
                    <a:pt x="15549" y="87062"/>
                  </a:lnTo>
                  <a:lnTo>
                    <a:pt x="18136" y="86261"/>
                  </a:lnTo>
                  <a:lnTo>
                    <a:pt x="17644" y="85306"/>
                  </a:lnTo>
                  <a:lnTo>
                    <a:pt x="16478" y="84282"/>
                  </a:lnTo>
                  <a:lnTo>
                    <a:pt x="15346" y="84753"/>
                  </a:lnTo>
                  <a:lnTo>
                    <a:pt x="13876" y="84850"/>
                  </a:lnTo>
                  <a:lnTo>
                    <a:pt x="13105" y="84423"/>
                  </a:lnTo>
                  <a:lnTo>
                    <a:pt x="12759" y="83686"/>
                  </a:lnTo>
                  <a:lnTo>
                    <a:pt x="14230" y="80216"/>
                  </a:lnTo>
                  <a:lnTo>
                    <a:pt x="13593" y="80390"/>
                  </a:lnTo>
                  <a:lnTo>
                    <a:pt x="13124" y="81010"/>
                  </a:lnTo>
                  <a:lnTo>
                    <a:pt x="12317" y="81304"/>
                  </a:lnTo>
                  <a:lnTo>
                    <a:pt x="11071" y="81485"/>
                  </a:lnTo>
                  <a:lnTo>
                    <a:pt x="7993" y="79626"/>
                  </a:lnTo>
                  <a:lnTo>
                    <a:pt x="5279" y="74609"/>
                  </a:lnTo>
                  <a:lnTo>
                    <a:pt x="4560" y="73581"/>
                  </a:lnTo>
                  <a:lnTo>
                    <a:pt x="3835" y="71836"/>
                  </a:lnTo>
                  <a:lnTo>
                    <a:pt x="3120" y="71117"/>
                  </a:lnTo>
                  <a:lnTo>
                    <a:pt x="0" y="63984"/>
                  </a:lnTo>
                  <a:lnTo>
                    <a:pt x="1196" y="64513"/>
                  </a:lnTo>
                  <a:lnTo>
                    <a:pt x="2615" y="66580"/>
                  </a:lnTo>
                  <a:lnTo>
                    <a:pt x="5378" y="66146"/>
                  </a:lnTo>
                  <a:lnTo>
                    <a:pt x="6458" y="64949"/>
                  </a:lnTo>
                  <a:lnTo>
                    <a:pt x="7402" y="64994"/>
                  </a:lnTo>
                  <a:lnTo>
                    <a:pt x="8367" y="64720"/>
                  </a:lnTo>
                  <a:lnTo>
                    <a:pt x="9583" y="63593"/>
                  </a:lnTo>
                  <a:lnTo>
                    <a:pt x="13124" y="58682"/>
                  </a:lnTo>
                  <a:lnTo>
                    <a:pt x="14062" y="52203"/>
                  </a:lnTo>
                  <a:lnTo>
                    <a:pt x="13757" y="48354"/>
                  </a:lnTo>
                  <a:lnTo>
                    <a:pt x="13239" y="44535"/>
                  </a:lnTo>
                  <a:lnTo>
                    <a:pt x="14411" y="43318"/>
                  </a:lnTo>
                  <a:lnTo>
                    <a:pt x="14873" y="44122"/>
                  </a:lnTo>
                  <a:lnTo>
                    <a:pt x="15102" y="45478"/>
                  </a:lnTo>
                  <a:lnTo>
                    <a:pt x="15655" y="46483"/>
                  </a:lnTo>
                  <a:lnTo>
                    <a:pt x="16916" y="47382"/>
                  </a:lnTo>
                  <a:lnTo>
                    <a:pt x="19263" y="47622"/>
                  </a:lnTo>
                  <a:lnTo>
                    <a:pt x="22891" y="49037"/>
                  </a:lnTo>
                  <a:lnTo>
                    <a:pt x="24182" y="49937"/>
                  </a:lnTo>
                  <a:lnTo>
                    <a:pt x="24535" y="48138"/>
                  </a:lnTo>
                  <a:lnTo>
                    <a:pt x="28708" y="46604"/>
                  </a:lnTo>
                  <a:lnTo>
                    <a:pt x="27448" y="46053"/>
                  </a:lnTo>
                  <a:lnTo>
                    <a:pt x="23738" y="46659"/>
                  </a:lnTo>
                  <a:lnTo>
                    <a:pt x="18648" y="44371"/>
                  </a:lnTo>
                  <a:lnTo>
                    <a:pt x="16959" y="42913"/>
                  </a:lnTo>
                  <a:lnTo>
                    <a:pt x="15383" y="40153"/>
                  </a:lnTo>
                  <a:lnTo>
                    <a:pt x="13746" y="38707"/>
                  </a:lnTo>
                  <a:lnTo>
                    <a:pt x="13860" y="37408"/>
                  </a:lnTo>
                  <a:lnTo>
                    <a:pt x="17516" y="36214"/>
                  </a:lnTo>
                  <a:lnTo>
                    <a:pt x="18482" y="36350"/>
                  </a:lnTo>
                  <a:lnTo>
                    <a:pt x="18873" y="37776"/>
                  </a:lnTo>
                  <a:lnTo>
                    <a:pt x="19855" y="38362"/>
                  </a:lnTo>
                  <a:lnTo>
                    <a:pt x="20229" y="38167"/>
                  </a:lnTo>
                  <a:lnTo>
                    <a:pt x="20391" y="36948"/>
                  </a:lnTo>
                  <a:lnTo>
                    <a:pt x="20403" y="33680"/>
                  </a:lnTo>
                  <a:lnTo>
                    <a:pt x="19287" y="28995"/>
                  </a:lnTo>
                  <a:lnTo>
                    <a:pt x="19628" y="28095"/>
                  </a:lnTo>
                  <a:lnTo>
                    <a:pt x="20630" y="27770"/>
                  </a:lnTo>
                  <a:lnTo>
                    <a:pt x="21522" y="27150"/>
                  </a:lnTo>
                  <a:lnTo>
                    <a:pt x="22144" y="27034"/>
                  </a:lnTo>
                  <a:lnTo>
                    <a:pt x="23381" y="27150"/>
                  </a:lnTo>
                  <a:lnTo>
                    <a:pt x="24003" y="28234"/>
                  </a:lnTo>
                  <a:lnTo>
                    <a:pt x="24340" y="28830"/>
                  </a:lnTo>
                  <a:lnTo>
                    <a:pt x="25588" y="29107"/>
                  </a:lnTo>
                  <a:lnTo>
                    <a:pt x="26614" y="29685"/>
                  </a:lnTo>
                  <a:lnTo>
                    <a:pt x="27497" y="29529"/>
                  </a:lnTo>
                  <a:lnTo>
                    <a:pt x="28229" y="28853"/>
                  </a:lnTo>
                  <a:lnTo>
                    <a:pt x="29307" y="28714"/>
                  </a:lnTo>
                  <a:lnTo>
                    <a:pt x="32632" y="28723"/>
                  </a:lnTo>
                  <a:lnTo>
                    <a:pt x="35651" y="28734"/>
                  </a:lnTo>
                  <a:lnTo>
                    <a:pt x="41661" y="28755"/>
                  </a:lnTo>
                  <a:lnTo>
                    <a:pt x="47668" y="28774"/>
                  </a:lnTo>
                  <a:lnTo>
                    <a:pt x="53677" y="28794"/>
                  </a:lnTo>
                  <a:lnTo>
                    <a:pt x="58203" y="28809"/>
                  </a:lnTo>
                  <a:lnTo>
                    <a:pt x="58188" y="26132"/>
                  </a:lnTo>
                  <a:lnTo>
                    <a:pt x="58165" y="21999"/>
                  </a:lnTo>
                  <a:lnTo>
                    <a:pt x="58136" y="17117"/>
                  </a:lnTo>
                  <a:lnTo>
                    <a:pt x="58111" y="12432"/>
                  </a:lnTo>
                  <a:lnTo>
                    <a:pt x="58087" y="8103"/>
                  </a:lnTo>
                  <a:lnTo>
                    <a:pt x="58057" y="2982"/>
                  </a:lnTo>
                  <a:lnTo>
                    <a:pt x="58305" y="1512"/>
                  </a:lnTo>
                  <a:lnTo>
                    <a:pt x="58601" y="902"/>
                  </a:lnTo>
                  <a:lnTo>
                    <a:pt x="58493" y="55"/>
                  </a:lnTo>
                  <a:lnTo>
                    <a:pt x="63148" y="0"/>
                  </a:lnTo>
                  <a:lnTo>
                    <a:pt x="71568" y="377"/>
                  </a:lnTo>
                  <a:lnTo>
                    <a:pt x="75248" y="325"/>
                  </a:lnTo>
                  <a:lnTo>
                    <a:pt x="76293" y="394"/>
                  </a:lnTo>
                  <a:lnTo>
                    <a:pt x="80890" y="137"/>
                  </a:lnTo>
                  <a:lnTo>
                    <a:pt x="84615" y="461"/>
                  </a:lnTo>
                  <a:lnTo>
                    <a:pt x="86198" y="822"/>
                  </a:lnTo>
                  <a:lnTo>
                    <a:pt x="87621" y="1005"/>
                  </a:lnTo>
                  <a:lnTo>
                    <a:pt x="92082" y="1226"/>
                  </a:lnTo>
                  <a:lnTo>
                    <a:pt x="97906" y="946"/>
                  </a:lnTo>
                  <a:lnTo>
                    <a:pt x="99884" y="1012"/>
                  </a:lnTo>
                  <a:lnTo>
                    <a:pt x="100981" y="1725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00" name="ee4p_GH_1_82333">
              <a:extLst>
                <a:ext uri="{FF2B5EF4-FFF2-40B4-BE49-F238E27FC236}">
                  <a16:creationId xmlns:a16="http://schemas.microsoft.com/office/drawing/2014/main" id="{BFEE7F32-BDE5-CCF1-69FC-6DB6613F6F97}"/>
                </a:ext>
              </a:extLst>
            </p:cNvPr>
            <p:cNvSpPr>
              <a:spLocks noChangeAspect="1"/>
            </p:cNvSpPr>
            <p:nvPr>
              <p:custDataLst>
                <p:tags r:id="rId128"/>
              </p:custDataLst>
            </p:nvPr>
          </p:nvSpPr>
          <p:spPr>
            <a:xfrm>
              <a:off x="6424619" y="4357850"/>
              <a:ext cx="123051" cy="183890"/>
            </a:xfrm>
            <a:custGeom>
              <a:avLst/>
              <a:gdLst/>
              <a:ahLst/>
              <a:cxnLst/>
              <a:rect l="0" t="0" r="0" b="0"/>
              <a:pathLst>
                <a:path w="97983" h="142546">
                  <a:moveTo>
                    <a:pt x="70213" y="1148"/>
                  </a:moveTo>
                  <a:lnTo>
                    <a:pt x="71625" y="2492"/>
                  </a:lnTo>
                  <a:lnTo>
                    <a:pt x="71938" y="3265"/>
                  </a:lnTo>
                  <a:lnTo>
                    <a:pt x="71423" y="6166"/>
                  </a:lnTo>
                  <a:lnTo>
                    <a:pt x="70390" y="8196"/>
                  </a:lnTo>
                  <a:lnTo>
                    <a:pt x="69736" y="10099"/>
                  </a:lnTo>
                  <a:lnTo>
                    <a:pt x="69821" y="11048"/>
                  </a:lnTo>
                  <a:lnTo>
                    <a:pt x="70454" y="11997"/>
                  </a:lnTo>
                  <a:lnTo>
                    <a:pt x="72602" y="13489"/>
                  </a:lnTo>
                  <a:lnTo>
                    <a:pt x="73704" y="14456"/>
                  </a:lnTo>
                  <a:lnTo>
                    <a:pt x="75008" y="15928"/>
                  </a:lnTo>
                  <a:lnTo>
                    <a:pt x="76507" y="17364"/>
                  </a:lnTo>
                  <a:lnTo>
                    <a:pt x="79068" y="19231"/>
                  </a:lnTo>
                  <a:lnTo>
                    <a:pt x="80152" y="19568"/>
                  </a:lnTo>
                  <a:lnTo>
                    <a:pt x="80102" y="20089"/>
                  </a:lnTo>
                  <a:lnTo>
                    <a:pt x="79750" y="20806"/>
                  </a:lnTo>
                  <a:lnTo>
                    <a:pt x="79510" y="27764"/>
                  </a:lnTo>
                  <a:lnTo>
                    <a:pt x="79316" y="29557"/>
                  </a:lnTo>
                  <a:lnTo>
                    <a:pt x="79128" y="30464"/>
                  </a:lnTo>
                  <a:lnTo>
                    <a:pt x="78893" y="33061"/>
                  </a:lnTo>
                  <a:lnTo>
                    <a:pt x="78623" y="33431"/>
                  </a:lnTo>
                  <a:lnTo>
                    <a:pt x="78135" y="33402"/>
                  </a:lnTo>
                  <a:lnTo>
                    <a:pt x="77690" y="33500"/>
                  </a:lnTo>
                  <a:lnTo>
                    <a:pt x="77580" y="34018"/>
                  </a:lnTo>
                  <a:lnTo>
                    <a:pt x="77761" y="34548"/>
                  </a:lnTo>
                  <a:lnTo>
                    <a:pt x="79305" y="34923"/>
                  </a:lnTo>
                  <a:lnTo>
                    <a:pt x="78968" y="35315"/>
                  </a:lnTo>
                  <a:lnTo>
                    <a:pt x="77822" y="35671"/>
                  </a:lnTo>
                  <a:lnTo>
                    <a:pt x="77293" y="36451"/>
                  </a:lnTo>
                  <a:lnTo>
                    <a:pt x="77521" y="37345"/>
                  </a:lnTo>
                  <a:lnTo>
                    <a:pt x="76891" y="38060"/>
                  </a:lnTo>
                  <a:lnTo>
                    <a:pt x="77070" y="38543"/>
                  </a:lnTo>
                  <a:lnTo>
                    <a:pt x="77478" y="38897"/>
                  </a:lnTo>
                  <a:lnTo>
                    <a:pt x="78128" y="38767"/>
                  </a:lnTo>
                  <a:lnTo>
                    <a:pt x="79934" y="37569"/>
                  </a:lnTo>
                  <a:lnTo>
                    <a:pt x="80691" y="37437"/>
                  </a:lnTo>
                  <a:lnTo>
                    <a:pt x="81626" y="37686"/>
                  </a:lnTo>
                  <a:lnTo>
                    <a:pt x="83354" y="39511"/>
                  </a:lnTo>
                  <a:lnTo>
                    <a:pt x="83428" y="40407"/>
                  </a:lnTo>
                  <a:lnTo>
                    <a:pt x="82723" y="43464"/>
                  </a:lnTo>
                  <a:lnTo>
                    <a:pt x="82037" y="45825"/>
                  </a:lnTo>
                  <a:lnTo>
                    <a:pt x="81909" y="48970"/>
                  </a:lnTo>
                  <a:lnTo>
                    <a:pt x="82637" y="50737"/>
                  </a:lnTo>
                  <a:lnTo>
                    <a:pt x="82538" y="51706"/>
                  </a:lnTo>
                  <a:lnTo>
                    <a:pt x="81750" y="52546"/>
                  </a:lnTo>
                  <a:lnTo>
                    <a:pt x="79968" y="53759"/>
                  </a:lnTo>
                  <a:lnTo>
                    <a:pt x="80102" y="54590"/>
                  </a:lnTo>
                  <a:lnTo>
                    <a:pt x="80914" y="56133"/>
                  </a:lnTo>
                  <a:lnTo>
                    <a:pt x="82417" y="57858"/>
                  </a:lnTo>
                  <a:lnTo>
                    <a:pt x="85356" y="59988"/>
                  </a:lnTo>
                  <a:lnTo>
                    <a:pt x="86906" y="62766"/>
                  </a:lnTo>
                  <a:lnTo>
                    <a:pt x="86945" y="63893"/>
                  </a:lnTo>
                  <a:lnTo>
                    <a:pt x="86038" y="65023"/>
                  </a:lnTo>
                  <a:lnTo>
                    <a:pt x="84980" y="66001"/>
                  </a:lnTo>
                  <a:lnTo>
                    <a:pt x="84634" y="67420"/>
                  </a:lnTo>
                  <a:lnTo>
                    <a:pt x="85112" y="76710"/>
                  </a:lnTo>
                  <a:lnTo>
                    <a:pt x="82786" y="80743"/>
                  </a:lnTo>
                  <a:lnTo>
                    <a:pt x="82762" y="81894"/>
                  </a:lnTo>
                  <a:lnTo>
                    <a:pt x="82998" y="83228"/>
                  </a:lnTo>
                  <a:lnTo>
                    <a:pt x="83611" y="84037"/>
                  </a:lnTo>
                  <a:lnTo>
                    <a:pt x="84799" y="84257"/>
                  </a:lnTo>
                  <a:lnTo>
                    <a:pt x="85766" y="85039"/>
                  </a:lnTo>
                  <a:lnTo>
                    <a:pt x="85429" y="87864"/>
                  </a:lnTo>
                  <a:lnTo>
                    <a:pt x="84913" y="90751"/>
                  </a:lnTo>
                  <a:lnTo>
                    <a:pt x="84831" y="92143"/>
                  </a:lnTo>
                  <a:lnTo>
                    <a:pt x="84544" y="92807"/>
                  </a:lnTo>
                  <a:lnTo>
                    <a:pt x="83628" y="93350"/>
                  </a:lnTo>
                  <a:lnTo>
                    <a:pt x="83296" y="94257"/>
                  </a:lnTo>
                  <a:lnTo>
                    <a:pt x="83524" y="95379"/>
                  </a:lnTo>
                  <a:lnTo>
                    <a:pt x="83352" y="96210"/>
                  </a:lnTo>
                  <a:lnTo>
                    <a:pt x="83848" y="97286"/>
                  </a:lnTo>
                  <a:lnTo>
                    <a:pt x="84902" y="98626"/>
                  </a:lnTo>
                  <a:lnTo>
                    <a:pt x="86606" y="101949"/>
                  </a:lnTo>
                  <a:lnTo>
                    <a:pt x="87258" y="102211"/>
                  </a:lnTo>
                  <a:lnTo>
                    <a:pt x="87550" y="102909"/>
                  </a:lnTo>
                  <a:lnTo>
                    <a:pt x="87368" y="103587"/>
                  </a:lnTo>
                  <a:lnTo>
                    <a:pt x="88025" y="105057"/>
                  </a:lnTo>
                  <a:lnTo>
                    <a:pt x="89916" y="106526"/>
                  </a:lnTo>
                  <a:lnTo>
                    <a:pt x="91901" y="107810"/>
                  </a:lnTo>
                  <a:lnTo>
                    <a:pt x="93509" y="107993"/>
                  </a:lnTo>
                  <a:lnTo>
                    <a:pt x="93890" y="109142"/>
                  </a:lnTo>
                  <a:lnTo>
                    <a:pt x="94945" y="110605"/>
                  </a:lnTo>
                  <a:lnTo>
                    <a:pt x="95710" y="111245"/>
                  </a:lnTo>
                  <a:lnTo>
                    <a:pt x="96930" y="111662"/>
                  </a:lnTo>
                  <a:lnTo>
                    <a:pt x="97934" y="111884"/>
                  </a:lnTo>
                  <a:lnTo>
                    <a:pt x="97982" y="113118"/>
                  </a:lnTo>
                  <a:lnTo>
                    <a:pt x="96176" y="113962"/>
                  </a:lnTo>
                  <a:lnTo>
                    <a:pt x="94954" y="115235"/>
                  </a:lnTo>
                  <a:lnTo>
                    <a:pt x="94019" y="117179"/>
                  </a:lnTo>
                  <a:lnTo>
                    <a:pt x="92730" y="119312"/>
                  </a:lnTo>
                  <a:lnTo>
                    <a:pt x="88288" y="120425"/>
                  </a:lnTo>
                  <a:lnTo>
                    <a:pt x="86587" y="120433"/>
                  </a:lnTo>
                  <a:lnTo>
                    <a:pt x="77472" y="120486"/>
                  </a:lnTo>
                  <a:lnTo>
                    <a:pt x="68933" y="124682"/>
                  </a:lnTo>
                  <a:lnTo>
                    <a:pt x="64019" y="126177"/>
                  </a:lnTo>
                  <a:lnTo>
                    <a:pt x="60996" y="128539"/>
                  </a:lnTo>
                  <a:lnTo>
                    <a:pt x="56927" y="130218"/>
                  </a:lnTo>
                  <a:lnTo>
                    <a:pt x="54091" y="132254"/>
                  </a:lnTo>
                  <a:lnTo>
                    <a:pt x="48196" y="133231"/>
                  </a:lnTo>
                  <a:lnTo>
                    <a:pt x="38525" y="136438"/>
                  </a:lnTo>
                  <a:lnTo>
                    <a:pt x="35500" y="137704"/>
                  </a:lnTo>
                  <a:lnTo>
                    <a:pt x="32440" y="139931"/>
                  </a:lnTo>
                  <a:lnTo>
                    <a:pt x="27465" y="142545"/>
                  </a:lnTo>
                  <a:lnTo>
                    <a:pt x="25512" y="142509"/>
                  </a:lnTo>
                  <a:lnTo>
                    <a:pt x="21615" y="140071"/>
                  </a:lnTo>
                  <a:lnTo>
                    <a:pt x="18685" y="138846"/>
                  </a:lnTo>
                  <a:lnTo>
                    <a:pt x="11518" y="136976"/>
                  </a:lnTo>
                  <a:lnTo>
                    <a:pt x="6168" y="136254"/>
                  </a:lnTo>
                  <a:lnTo>
                    <a:pt x="3583" y="135452"/>
                  </a:lnTo>
                  <a:lnTo>
                    <a:pt x="2873" y="135314"/>
                  </a:lnTo>
                  <a:lnTo>
                    <a:pt x="3476" y="134435"/>
                  </a:lnTo>
                  <a:lnTo>
                    <a:pt x="4970" y="134380"/>
                  </a:lnTo>
                  <a:lnTo>
                    <a:pt x="6536" y="134645"/>
                  </a:lnTo>
                  <a:lnTo>
                    <a:pt x="7721" y="133976"/>
                  </a:lnTo>
                  <a:lnTo>
                    <a:pt x="9470" y="133887"/>
                  </a:lnTo>
                  <a:lnTo>
                    <a:pt x="9922" y="133189"/>
                  </a:lnTo>
                  <a:lnTo>
                    <a:pt x="10067" y="131425"/>
                  </a:lnTo>
                  <a:lnTo>
                    <a:pt x="10046" y="130003"/>
                  </a:lnTo>
                  <a:lnTo>
                    <a:pt x="10658" y="129366"/>
                  </a:lnTo>
                  <a:lnTo>
                    <a:pt x="10811" y="127691"/>
                  </a:lnTo>
                  <a:lnTo>
                    <a:pt x="9956" y="123974"/>
                  </a:lnTo>
                  <a:lnTo>
                    <a:pt x="9348" y="123550"/>
                  </a:lnTo>
                  <a:lnTo>
                    <a:pt x="6228" y="123022"/>
                  </a:lnTo>
                  <a:lnTo>
                    <a:pt x="5995" y="122284"/>
                  </a:lnTo>
                  <a:lnTo>
                    <a:pt x="5432" y="121507"/>
                  </a:lnTo>
                  <a:lnTo>
                    <a:pt x="4834" y="119589"/>
                  </a:lnTo>
                  <a:lnTo>
                    <a:pt x="4152" y="116738"/>
                  </a:lnTo>
                  <a:lnTo>
                    <a:pt x="3059" y="113202"/>
                  </a:lnTo>
                  <a:lnTo>
                    <a:pt x="958" y="107373"/>
                  </a:lnTo>
                  <a:lnTo>
                    <a:pt x="440" y="105312"/>
                  </a:lnTo>
                  <a:lnTo>
                    <a:pt x="81" y="103212"/>
                  </a:lnTo>
                  <a:lnTo>
                    <a:pt x="0" y="100702"/>
                  </a:lnTo>
                  <a:lnTo>
                    <a:pt x="438" y="99767"/>
                  </a:lnTo>
                  <a:lnTo>
                    <a:pt x="371" y="98471"/>
                  </a:lnTo>
                  <a:lnTo>
                    <a:pt x="180" y="97181"/>
                  </a:lnTo>
                  <a:lnTo>
                    <a:pt x="1659" y="94210"/>
                  </a:lnTo>
                  <a:lnTo>
                    <a:pt x="4560" y="90575"/>
                  </a:lnTo>
                  <a:lnTo>
                    <a:pt x="5169" y="89260"/>
                  </a:lnTo>
                  <a:lnTo>
                    <a:pt x="5708" y="88346"/>
                  </a:lnTo>
                  <a:lnTo>
                    <a:pt x="5785" y="87040"/>
                  </a:lnTo>
                  <a:lnTo>
                    <a:pt x="6299" y="82796"/>
                  </a:lnTo>
                  <a:lnTo>
                    <a:pt x="7686" y="77672"/>
                  </a:lnTo>
                  <a:lnTo>
                    <a:pt x="8558" y="75735"/>
                  </a:lnTo>
                  <a:lnTo>
                    <a:pt x="9150" y="74690"/>
                  </a:lnTo>
                  <a:lnTo>
                    <a:pt x="9857" y="72978"/>
                  </a:lnTo>
                  <a:lnTo>
                    <a:pt x="10043" y="72179"/>
                  </a:lnTo>
                  <a:lnTo>
                    <a:pt x="12716" y="70170"/>
                  </a:lnTo>
                  <a:lnTo>
                    <a:pt x="13943" y="69625"/>
                  </a:lnTo>
                  <a:lnTo>
                    <a:pt x="14217" y="68834"/>
                  </a:lnTo>
                  <a:lnTo>
                    <a:pt x="13797" y="67970"/>
                  </a:lnTo>
                  <a:lnTo>
                    <a:pt x="13979" y="67381"/>
                  </a:lnTo>
                  <a:lnTo>
                    <a:pt x="14620" y="67086"/>
                  </a:lnTo>
                  <a:lnTo>
                    <a:pt x="15603" y="66845"/>
                  </a:lnTo>
                  <a:lnTo>
                    <a:pt x="16320" y="66019"/>
                  </a:lnTo>
                  <a:lnTo>
                    <a:pt x="15192" y="59690"/>
                  </a:lnTo>
                  <a:lnTo>
                    <a:pt x="14283" y="53379"/>
                  </a:lnTo>
                  <a:lnTo>
                    <a:pt x="14230" y="52842"/>
                  </a:lnTo>
                  <a:lnTo>
                    <a:pt x="13688" y="51970"/>
                  </a:lnTo>
                  <a:lnTo>
                    <a:pt x="13150" y="49363"/>
                  </a:lnTo>
                  <a:lnTo>
                    <a:pt x="12251" y="47836"/>
                  </a:lnTo>
                  <a:lnTo>
                    <a:pt x="10990" y="47390"/>
                  </a:lnTo>
                  <a:lnTo>
                    <a:pt x="10995" y="45952"/>
                  </a:lnTo>
                  <a:lnTo>
                    <a:pt x="12266" y="43522"/>
                  </a:lnTo>
                  <a:lnTo>
                    <a:pt x="12597" y="42095"/>
                  </a:lnTo>
                  <a:lnTo>
                    <a:pt x="11987" y="41670"/>
                  </a:lnTo>
                  <a:lnTo>
                    <a:pt x="11900" y="40562"/>
                  </a:lnTo>
                  <a:lnTo>
                    <a:pt x="12334" y="38769"/>
                  </a:lnTo>
                  <a:lnTo>
                    <a:pt x="12119" y="37663"/>
                  </a:lnTo>
                  <a:lnTo>
                    <a:pt x="11890" y="36490"/>
                  </a:lnTo>
                  <a:lnTo>
                    <a:pt x="10569" y="33720"/>
                  </a:lnTo>
                  <a:lnTo>
                    <a:pt x="10247" y="31761"/>
                  </a:lnTo>
                  <a:lnTo>
                    <a:pt x="10926" y="30614"/>
                  </a:lnTo>
                  <a:lnTo>
                    <a:pt x="10906" y="28104"/>
                  </a:lnTo>
                  <a:lnTo>
                    <a:pt x="10187" y="24231"/>
                  </a:lnTo>
                  <a:lnTo>
                    <a:pt x="10071" y="21786"/>
                  </a:lnTo>
                  <a:lnTo>
                    <a:pt x="10557" y="20767"/>
                  </a:lnTo>
                  <a:lnTo>
                    <a:pt x="10322" y="19798"/>
                  </a:lnTo>
                  <a:lnTo>
                    <a:pt x="9367" y="18876"/>
                  </a:lnTo>
                  <a:lnTo>
                    <a:pt x="9298" y="17980"/>
                  </a:lnTo>
                  <a:lnTo>
                    <a:pt x="10112" y="17109"/>
                  </a:lnTo>
                  <a:lnTo>
                    <a:pt x="10011" y="16427"/>
                  </a:lnTo>
                  <a:lnTo>
                    <a:pt x="8993" y="15931"/>
                  </a:lnTo>
                  <a:lnTo>
                    <a:pt x="8082" y="14739"/>
                  </a:lnTo>
                  <a:lnTo>
                    <a:pt x="7276" y="12853"/>
                  </a:lnTo>
                  <a:lnTo>
                    <a:pt x="7443" y="9820"/>
                  </a:lnTo>
                  <a:lnTo>
                    <a:pt x="8963" y="4239"/>
                  </a:lnTo>
                  <a:lnTo>
                    <a:pt x="9154" y="3771"/>
                  </a:lnTo>
                  <a:lnTo>
                    <a:pt x="10875" y="3803"/>
                  </a:lnTo>
                  <a:lnTo>
                    <a:pt x="10885" y="4040"/>
                  </a:lnTo>
                  <a:lnTo>
                    <a:pt x="16247" y="3988"/>
                  </a:lnTo>
                  <a:lnTo>
                    <a:pt x="22377" y="3927"/>
                  </a:lnTo>
                  <a:lnTo>
                    <a:pt x="29703" y="3854"/>
                  </a:lnTo>
                  <a:lnTo>
                    <a:pt x="36358" y="3788"/>
                  </a:lnTo>
                  <a:lnTo>
                    <a:pt x="36650" y="3536"/>
                  </a:lnTo>
                  <a:lnTo>
                    <a:pt x="37749" y="3228"/>
                  </a:lnTo>
                  <a:lnTo>
                    <a:pt x="44474" y="3797"/>
                  </a:lnTo>
                  <a:lnTo>
                    <a:pt x="48678" y="3510"/>
                  </a:lnTo>
                  <a:lnTo>
                    <a:pt x="50462" y="3697"/>
                  </a:lnTo>
                  <a:lnTo>
                    <a:pt x="51764" y="4077"/>
                  </a:lnTo>
                  <a:lnTo>
                    <a:pt x="54669" y="3841"/>
                  </a:lnTo>
                  <a:lnTo>
                    <a:pt x="56220" y="3982"/>
                  </a:lnTo>
                  <a:lnTo>
                    <a:pt x="57390" y="5374"/>
                  </a:lnTo>
                  <a:lnTo>
                    <a:pt x="57862" y="5360"/>
                  </a:lnTo>
                  <a:lnTo>
                    <a:pt x="58515" y="4772"/>
                  </a:lnTo>
                  <a:lnTo>
                    <a:pt x="59674" y="4100"/>
                  </a:lnTo>
                  <a:lnTo>
                    <a:pt x="60858" y="3565"/>
                  </a:lnTo>
                  <a:lnTo>
                    <a:pt x="61702" y="2475"/>
                  </a:lnTo>
                  <a:lnTo>
                    <a:pt x="62214" y="1648"/>
                  </a:lnTo>
                  <a:lnTo>
                    <a:pt x="62982" y="1818"/>
                  </a:lnTo>
                  <a:lnTo>
                    <a:pt x="64085" y="1767"/>
                  </a:lnTo>
                  <a:lnTo>
                    <a:pt x="64819" y="1074"/>
                  </a:lnTo>
                  <a:lnTo>
                    <a:pt x="65108" y="0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01" name="ee4p_GN_1_82333">
              <a:extLst>
                <a:ext uri="{FF2B5EF4-FFF2-40B4-BE49-F238E27FC236}">
                  <a16:creationId xmlns:a16="http://schemas.microsoft.com/office/drawing/2014/main" id="{3A2CC355-AAD4-F2C5-E48E-523B1FD01305}"/>
                </a:ext>
              </a:extLst>
            </p:cNvPr>
            <p:cNvSpPr>
              <a:spLocks noChangeAspect="1"/>
            </p:cNvSpPr>
            <p:nvPr>
              <p:custDataLst>
                <p:tags r:id="rId129"/>
              </p:custDataLst>
            </p:nvPr>
          </p:nvSpPr>
          <p:spPr>
            <a:xfrm>
              <a:off x="6096738" y="4314258"/>
              <a:ext cx="204661" cy="157245"/>
            </a:xfrm>
            <a:custGeom>
              <a:avLst/>
              <a:gdLst/>
              <a:ahLst/>
              <a:cxnLst/>
              <a:rect l="0" t="0" r="0" b="0"/>
              <a:pathLst>
                <a:path w="162967" h="121892">
                  <a:moveTo>
                    <a:pt x="80970" y="6052"/>
                  </a:moveTo>
                  <a:lnTo>
                    <a:pt x="80337" y="6652"/>
                  </a:lnTo>
                  <a:lnTo>
                    <a:pt x="79684" y="7963"/>
                  </a:lnTo>
                  <a:lnTo>
                    <a:pt x="79087" y="9581"/>
                  </a:lnTo>
                  <a:lnTo>
                    <a:pt x="78476" y="10670"/>
                  </a:lnTo>
                  <a:lnTo>
                    <a:pt x="78692" y="11381"/>
                  </a:lnTo>
                  <a:lnTo>
                    <a:pt x="80412" y="12793"/>
                  </a:lnTo>
                  <a:lnTo>
                    <a:pt x="82833" y="14780"/>
                  </a:lnTo>
                  <a:lnTo>
                    <a:pt x="83816" y="15035"/>
                  </a:lnTo>
                  <a:lnTo>
                    <a:pt x="84944" y="14568"/>
                  </a:lnTo>
                  <a:lnTo>
                    <a:pt x="86723" y="12994"/>
                  </a:lnTo>
                  <a:lnTo>
                    <a:pt x="88125" y="11295"/>
                  </a:lnTo>
                  <a:lnTo>
                    <a:pt x="89480" y="10471"/>
                  </a:lnTo>
                  <a:lnTo>
                    <a:pt x="91058" y="10523"/>
                  </a:lnTo>
                  <a:lnTo>
                    <a:pt x="92319" y="11719"/>
                  </a:lnTo>
                  <a:lnTo>
                    <a:pt x="93860" y="14357"/>
                  </a:lnTo>
                  <a:lnTo>
                    <a:pt x="95263" y="16757"/>
                  </a:lnTo>
                  <a:lnTo>
                    <a:pt x="95443" y="16999"/>
                  </a:lnTo>
                  <a:lnTo>
                    <a:pt x="96010" y="17397"/>
                  </a:lnTo>
                  <a:lnTo>
                    <a:pt x="96715" y="17381"/>
                  </a:lnTo>
                  <a:lnTo>
                    <a:pt x="97459" y="16795"/>
                  </a:lnTo>
                  <a:lnTo>
                    <a:pt x="98006" y="16444"/>
                  </a:lnTo>
                  <a:lnTo>
                    <a:pt x="98658" y="15344"/>
                  </a:lnTo>
                  <a:lnTo>
                    <a:pt x="101393" y="12015"/>
                  </a:lnTo>
                  <a:lnTo>
                    <a:pt x="103451" y="11098"/>
                  </a:lnTo>
                  <a:lnTo>
                    <a:pt x="104177" y="10857"/>
                  </a:lnTo>
                  <a:lnTo>
                    <a:pt x="105615" y="10356"/>
                  </a:lnTo>
                  <a:lnTo>
                    <a:pt x="107998" y="11145"/>
                  </a:lnTo>
                  <a:lnTo>
                    <a:pt x="111458" y="12514"/>
                  </a:lnTo>
                  <a:lnTo>
                    <a:pt x="115658" y="14173"/>
                  </a:lnTo>
                  <a:lnTo>
                    <a:pt x="117132" y="14454"/>
                  </a:lnTo>
                  <a:lnTo>
                    <a:pt x="118001" y="14173"/>
                  </a:lnTo>
                  <a:lnTo>
                    <a:pt x="119249" y="11915"/>
                  </a:lnTo>
                  <a:lnTo>
                    <a:pt x="120809" y="11033"/>
                  </a:lnTo>
                  <a:lnTo>
                    <a:pt x="123041" y="9996"/>
                  </a:lnTo>
                  <a:lnTo>
                    <a:pt x="124850" y="9463"/>
                  </a:lnTo>
                  <a:lnTo>
                    <a:pt x="125887" y="9396"/>
                  </a:lnTo>
                  <a:lnTo>
                    <a:pt x="126283" y="8782"/>
                  </a:lnTo>
                  <a:lnTo>
                    <a:pt x="126474" y="7863"/>
                  </a:lnTo>
                  <a:lnTo>
                    <a:pt x="126269" y="6914"/>
                  </a:lnTo>
                  <a:lnTo>
                    <a:pt x="125101" y="5203"/>
                  </a:lnTo>
                  <a:lnTo>
                    <a:pt x="125063" y="4700"/>
                  </a:lnTo>
                  <a:lnTo>
                    <a:pt x="125730" y="4371"/>
                  </a:lnTo>
                  <a:lnTo>
                    <a:pt x="127171" y="4124"/>
                  </a:lnTo>
                  <a:lnTo>
                    <a:pt x="129039" y="4291"/>
                  </a:lnTo>
                  <a:lnTo>
                    <a:pt x="131141" y="5029"/>
                  </a:lnTo>
                  <a:lnTo>
                    <a:pt x="132853" y="6098"/>
                  </a:lnTo>
                  <a:lnTo>
                    <a:pt x="133829" y="7365"/>
                  </a:lnTo>
                  <a:lnTo>
                    <a:pt x="134892" y="10065"/>
                  </a:lnTo>
                  <a:lnTo>
                    <a:pt x="135710" y="12691"/>
                  </a:lnTo>
                  <a:lnTo>
                    <a:pt x="137823" y="16863"/>
                  </a:lnTo>
                  <a:lnTo>
                    <a:pt x="137784" y="19450"/>
                  </a:lnTo>
                  <a:lnTo>
                    <a:pt x="137740" y="22451"/>
                  </a:lnTo>
                  <a:lnTo>
                    <a:pt x="138676" y="23011"/>
                  </a:lnTo>
                  <a:lnTo>
                    <a:pt x="139707" y="23252"/>
                  </a:lnTo>
                  <a:lnTo>
                    <a:pt x="140186" y="23694"/>
                  </a:lnTo>
                  <a:lnTo>
                    <a:pt x="141214" y="25996"/>
                  </a:lnTo>
                  <a:lnTo>
                    <a:pt x="142182" y="26666"/>
                  </a:lnTo>
                  <a:lnTo>
                    <a:pt x="143341" y="26823"/>
                  </a:lnTo>
                  <a:lnTo>
                    <a:pt x="145509" y="28299"/>
                  </a:lnTo>
                  <a:lnTo>
                    <a:pt x="146907" y="28879"/>
                  </a:lnTo>
                  <a:lnTo>
                    <a:pt x="147105" y="29321"/>
                  </a:lnTo>
                  <a:lnTo>
                    <a:pt x="147057" y="29929"/>
                  </a:lnTo>
                  <a:lnTo>
                    <a:pt x="146513" y="30705"/>
                  </a:lnTo>
                  <a:lnTo>
                    <a:pt x="145667" y="31243"/>
                  </a:lnTo>
                  <a:lnTo>
                    <a:pt x="144412" y="32246"/>
                  </a:lnTo>
                  <a:lnTo>
                    <a:pt x="143373" y="33565"/>
                  </a:lnTo>
                  <a:lnTo>
                    <a:pt x="141236" y="36724"/>
                  </a:lnTo>
                  <a:lnTo>
                    <a:pt x="141175" y="37314"/>
                  </a:lnTo>
                  <a:lnTo>
                    <a:pt x="141629" y="37739"/>
                  </a:lnTo>
                  <a:lnTo>
                    <a:pt x="142513" y="37818"/>
                  </a:lnTo>
                  <a:lnTo>
                    <a:pt x="143456" y="37600"/>
                  </a:lnTo>
                  <a:lnTo>
                    <a:pt x="145420" y="36443"/>
                  </a:lnTo>
                  <a:lnTo>
                    <a:pt x="146973" y="36856"/>
                  </a:lnTo>
                  <a:lnTo>
                    <a:pt x="148456" y="37736"/>
                  </a:lnTo>
                  <a:lnTo>
                    <a:pt x="149002" y="38650"/>
                  </a:lnTo>
                  <a:lnTo>
                    <a:pt x="149143" y="39851"/>
                  </a:lnTo>
                  <a:lnTo>
                    <a:pt x="148804" y="41397"/>
                  </a:lnTo>
                  <a:lnTo>
                    <a:pt x="148750" y="43129"/>
                  </a:lnTo>
                  <a:lnTo>
                    <a:pt x="149249" y="46079"/>
                  </a:lnTo>
                  <a:lnTo>
                    <a:pt x="150021" y="49021"/>
                  </a:lnTo>
                  <a:lnTo>
                    <a:pt x="150798" y="50094"/>
                  </a:lnTo>
                  <a:lnTo>
                    <a:pt x="155756" y="52689"/>
                  </a:lnTo>
                  <a:lnTo>
                    <a:pt x="156233" y="53659"/>
                  </a:lnTo>
                  <a:lnTo>
                    <a:pt x="156482" y="54752"/>
                  </a:lnTo>
                  <a:lnTo>
                    <a:pt x="156125" y="56249"/>
                  </a:lnTo>
                  <a:lnTo>
                    <a:pt x="155618" y="57080"/>
                  </a:lnTo>
                  <a:lnTo>
                    <a:pt x="154196" y="58380"/>
                  </a:lnTo>
                  <a:lnTo>
                    <a:pt x="152896" y="59385"/>
                  </a:lnTo>
                  <a:lnTo>
                    <a:pt x="152486" y="60477"/>
                  </a:lnTo>
                  <a:lnTo>
                    <a:pt x="152692" y="62519"/>
                  </a:lnTo>
                  <a:lnTo>
                    <a:pt x="152688" y="67137"/>
                  </a:lnTo>
                  <a:lnTo>
                    <a:pt x="152889" y="71133"/>
                  </a:lnTo>
                  <a:lnTo>
                    <a:pt x="153956" y="72584"/>
                  </a:lnTo>
                  <a:lnTo>
                    <a:pt x="155232" y="73320"/>
                  </a:lnTo>
                  <a:lnTo>
                    <a:pt x="156742" y="73182"/>
                  </a:lnTo>
                  <a:lnTo>
                    <a:pt x="158212" y="72914"/>
                  </a:lnTo>
                  <a:lnTo>
                    <a:pt x="158128" y="75305"/>
                  </a:lnTo>
                  <a:lnTo>
                    <a:pt x="157729" y="77984"/>
                  </a:lnTo>
                  <a:lnTo>
                    <a:pt x="159468" y="78807"/>
                  </a:lnTo>
                  <a:lnTo>
                    <a:pt x="160344" y="79622"/>
                  </a:lnTo>
                  <a:lnTo>
                    <a:pt x="160827" y="80384"/>
                  </a:lnTo>
                  <a:lnTo>
                    <a:pt x="158082" y="81805"/>
                  </a:lnTo>
                  <a:lnTo>
                    <a:pt x="157284" y="82637"/>
                  </a:lnTo>
                  <a:lnTo>
                    <a:pt x="156913" y="84873"/>
                  </a:lnTo>
                  <a:lnTo>
                    <a:pt x="157001" y="86937"/>
                  </a:lnTo>
                  <a:lnTo>
                    <a:pt x="160693" y="88412"/>
                  </a:lnTo>
                  <a:lnTo>
                    <a:pt x="162118" y="90140"/>
                  </a:lnTo>
                  <a:lnTo>
                    <a:pt x="162751" y="91933"/>
                  </a:lnTo>
                  <a:lnTo>
                    <a:pt x="162966" y="95322"/>
                  </a:lnTo>
                  <a:lnTo>
                    <a:pt x="162637" y="96096"/>
                  </a:lnTo>
                  <a:lnTo>
                    <a:pt x="161689" y="96103"/>
                  </a:lnTo>
                  <a:lnTo>
                    <a:pt x="160618" y="95063"/>
                  </a:lnTo>
                  <a:lnTo>
                    <a:pt x="159818" y="94045"/>
                  </a:lnTo>
                  <a:lnTo>
                    <a:pt x="158819" y="94048"/>
                  </a:lnTo>
                  <a:lnTo>
                    <a:pt x="156954" y="93821"/>
                  </a:lnTo>
                  <a:lnTo>
                    <a:pt x="154831" y="93430"/>
                  </a:lnTo>
                  <a:lnTo>
                    <a:pt x="152207" y="93533"/>
                  </a:lnTo>
                  <a:lnTo>
                    <a:pt x="151274" y="93698"/>
                  </a:lnTo>
                  <a:lnTo>
                    <a:pt x="150677" y="94313"/>
                  </a:lnTo>
                  <a:lnTo>
                    <a:pt x="150519" y="95376"/>
                  </a:lnTo>
                  <a:lnTo>
                    <a:pt x="150254" y="98809"/>
                  </a:lnTo>
                  <a:lnTo>
                    <a:pt x="151116" y="99566"/>
                  </a:lnTo>
                  <a:lnTo>
                    <a:pt x="152808" y="100417"/>
                  </a:lnTo>
                  <a:lnTo>
                    <a:pt x="153915" y="100781"/>
                  </a:lnTo>
                  <a:lnTo>
                    <a:pt x="154843" y="100678"/>
                  </a:lnTo>
                  <a:lnTo>
                    <a:pt x="155547" y="101230"/>
                  </a:lnTo>
                  <a:lnTo>
                    <a:pt x="155699" y="102708"/>
                  </a:lnTo>
                  <a:lnTo>
                    <a:pt x="155215" y="103794"/>
                  </a:lnTo>
                  <a:lnTo>
                    <a:pt x="154285" y="104802"/>
                  </a:lnTo>
                  <a:lnTo>
                    <a:pt x="153112" y="107398"/>
                  </a:lnTo>
                  <a:lnTo>
                    <a:pt x="153312" y="108370"/>
                  </a:lnTo>
                  <a:lnTo>
                    <a:pt x="153365" y="109778"/>
                  </a:lnTo>
                  <a:lnTo>
                    <a:pt x="151363" y="113570"/>
                  </a:lnTo>
                  <a:lnTo>
                    <a:pt x="150790" y="114315"/>
                  </a:lnTo>
                  <a:lnTo>
                    <a:pt x="148139" y="113562"/>
                  </a:lnTo>
                  <a:lnTo>
                    <a:pt x="146409" y="113312"/>
                  </a:lnTo>
                  <a:lnTo>
                    <a:pt x="145161" y="114276"/>
                  </a:lnTo>
                  <a:lnTo>
                    <a:pt x="144369" y="113674"/>
                  </a:lnTo>
                  <a:lnTo>
                    <a:pt x="143437" y="112795"/>
                  </a:lnTo>
                  <a:lnTo>
                    <a:pt x="143117" y="111640"/>
                  </a:lnTo>
                  <a:lnTo>
                    <a:pt x="142488" y="111397"/>
                  </a:lnTo>
                  <a:lnTo>
                    <a:pt x="141328" y="111387"/>
                  </a:lnTo>
                  <a:lnTo>
                    <a:pt x="140255" y="112043"/>
                  </a:lnTo>
                  <a:lnTo>
                    <a:pt x="139788" y="113236"/>
                  </a:lnTo>
                  <a:lnTo>
                    <a:pt x="139717" y="114608"/>
                  </a:lnTo>
                  <a:lnTo>
                    <a:pt x="139549" y="115672"/>
                  </a:lnTo>
                  <a:lnTo>
                    <a:pt x="138910" y="116315"/>
                  </a:lnTo>
                  <a:lnTo>
                    <a:pt x="137610" y="117979"/>
                  </a:lnTo>
                  <a:lnTo>
                    <a:pt x="137000" y="119516"/>
                  </a:lnTo>
                  <a:lnTo>
                    <a:pt x="136245" y="120852"/>
                  </a:lnTo>
                  <a:lnTo>
                    <a:pt x="135167" y="120775"/>
                  </a:lnTo>
                  <a:lnTo>
                    <a:pt x="134668" y="120587"/>
                  </a:lnTo>
                  <a:lnTo>
                    <a:pt x="134323" y="120936"/>
                  </a:lnTo>
                  <a:lnTo>
                    <a:pt x="132648" y="121679"/>
                  </a:lnTo>
                  <a:lnTo>
                    <a:pt x="131205" y="121891"/>
                  </a:lnTo>
                  <a:lnTo>
                    <a:pt x="130824" y="121121"/>
                  </a:lnTo>
                  <a:lnTo>
                    <a:pt x="129983" y="120502"/>
                  </a:lnTo>
                  <a:lnTo>
                    <a:pt x="129047" y="119283"/>
                  </a:lnTo>
                  <a:lnTo>
                    <a:pt x="127983" y="118295"/>
                  </a:lnTo>
                  <a:lnTo>
                    <a:pt x="125948" y="117606"/>
                  </a:lnTo>
                  <a:lnTo>
                    <a:pt x="125145" y="117913"/>
                  </a:lnTo>
                  <a:lnTo>
                    <a:pt x="124184" y="117835"/>
                  </a:lnTo>
                  <a:lnTo>
                    <a:pt x="123549" y="117447"/>
                  </a:lnTo>
                  <a:lnTo>
                    <a:pt x="123639" y="116854"/>
                  </a:lnTo>
                  <a:lnTo>
                    <a:pt x="124706" y="115355"/>
                  </a:lnTo>
                  <a:lnTo>
                    <a:pt x="125314" y="113978"/>
                  </a:lnTo>
                  <a:lnTo>
                    <a:pt x="125647" y="112473"/>
                  </a:lnTo>
                  <a:lnTo>
                    <a:pt x="125642" y="111044"/>
                  </a:lnTo>
                  <a:lnTo>
                    <a:pt x="125073" y="109024"/>
                  </a:lnTo>
                  <a:lnTo>
                    <a:pt x="124157" y="107421"/>
                  </a:lnTo>
                  <a:lnTo>
                    <a:pt x="123934" y="106491"/>
                  </a:lnTo>
                  <a:lnTo>
                    <a:pt x="124041" y="105169"/>
                  </a:lnTo>
                  <a:lnTo>
                    <a:pt x="123830" y="103938"/>
                  </a:lnTo>
                  <a:lnTo>
                    <a:pt x="123533" y="103296"/>
                  </a:lnTo>
                  <a:lnTo>
                    <a:pt x="123387" y="102075"/>
                  </a:lnTo>
                  <a:lnTo>
                    <a:pt x="123100" y="100962"/>
                  </a:lnTo>
                  <a:lnTo>
                    <a:pt x="122561" y="100533"/>
                  </a:lnTo>
                  <a:lnTo>
                    <a:pt x="122258" y="98669"/>
                  </a:lnTo>
                  <a:lnTo>
                    <a:pt x="122345" y="96753"/>
                  </a:lnTo>
                  <a:lnTo>
                    <a:pt x="121557" y="96028"/>
                  </a:lnTo>
                  <a:lnTo>
                    <a:pt x="120313" y="95500"/>
                  </a:lnTo>
                  <a:lnTo>
                    <a:pt x="119582" y="94750"/>
                  </a:lnTo>
                  <a:lnTo>
                    <a:pt x="119132" y="93915"/>
                  </a:lnTo>
                  <a:lnTo>
                    <a:pt x="118683" y="93673"/>
                  </a:lnTo>
                  <a:lnTo>
                    <a:pt x="118301" y="93723"/>
                  </a:lnTo>
                  <a:lnTo>
                    <a:pt x="117953" y="94241"/>
                  </a:lnTo>
                  <a:lnTo>
                    <a:pt x="117539" y="94351"/>
                  </a:lnTo>
                  <a:lnTo>
                    <a:pt x="116817" y="92556"/>
                  </a:lnTo>
                  <a:lnTo>
                    <a:pt x="116514" y="92486"/>
                  </a:lnTo>
                  <a:lnTo>
                    <a:pt x="116011" y="92898"/>
                  </a:lnTo>
                  <a:lnTo>
                    <a:pt x="110270" y="94887"/>
                  </a:lnTo>
                  <a:lnTo>
                    <a:pt x="110019" y="94114"/>
                  </a:lnTo>
                  <a:lnTo>
                    <a:pt x="109534" y="93195"/>
                  </a:lnTo>
                  <a:lnTo>
                    <a:pt x="108433" y="92886"/>
                  </a:lnTo>
                  <a:lnTo>
                    <a:pt x="106540" y="93574"/>
                  </a:lnTo>
                  <a:lnTo>
                    <a:pt x="105431" y="93656"/>
                  </a:lnTo>
                  <a:lnTo>
                    <a:pt x="103731" y="93426"/>
                  </a:lnTo>
                  <a:lnTo>
                    <a:pt x="102971" y="93750"/>
                  </a:lnTo>
                  <a:lnTo>
                    <a:pt x="100716" y="96396"/>
                  </a:lnTo>
                  <a:lnTo>
                    <a:pt x="99361" y="97430"/>
                  </a:lnTo>
                  <a:lnTo>
                    <a:pt x="98337" y="97345"/>
                  </a:lnTo>
                  <a:lnTo>
                    <a:pt x="97262" y="97104"/>
                  </a:lnTo>
                  <a:lnTo>
                    <a:pt x="96503" y="97296"/>
                  </a:lnTo>
                  <a:lnTo>
                    <a:pt x="95946" y="96994"/>
                  </a:lnTo>
                  <a:lnTo>
                    <a:pt x="96167" y="96349"/>
                  </a:lnTo>
                  <a:lnTo>
                    <a:pt x="96715" y="95539"/>
                  </a:lnTo>
                  <a:lnTo>
                    <a:pt x="97796" y="92658"/>
                  </a:lnTo>
                  <a:lnTo>
                    <a:pt x="100568" y="89755"/>
                  </a:lnTo>
                  <a:lnTo>
                    <a:pt x="100625" y="89148"/>
                  </a:lnTo>
                  <a:lnTo>
                    <a:pt x="99492" y="87450"/>
                  </a:lnTo>
                  <a:lnTo>
                    <a:pt x="98301" y="85137"/>
                  </a:lnTo>
                  <a:lnTo>
                    <a:pt x="98298" y="82659"/>
                  </a:lnTo>
                  <a:lnTo>
                    <a:pt x="98073" y="80867"/>
                  </a:lnTo>
                  <a:lnTo>
                    <a:pt x="95621" y="80366"/>
                  </a:lnTo>
                  <a:lnTo>
                    <a:pt x="95175" y="80063"/>
                  </a:lnTo>
                  <a:lnTo>
                    <a:pt x="95110" y="79459"/>
                  </a:lnTo>
                  <a:lnTo>
                    <a:pt x="95745" y="77851"/>
                  </a:lnTo>
                  <a:lnTo>
                    <a:pt x="96488" y="76365"/>
                  </a:lnTo>
                  <a:lnTo>
                    <a:pt x="96597" y="75736"/>
                  </a:lnTo>
                  <a:lnTo>
                    <a:pt x="96424" y="75180"/>
                  </a:lnTo>
                  <a:lnTo>
                    <a:pt x="94919" y="73595"/>
                  </a:lnTo>
                  <a:lnTo>
                    <a:pt x="92570" y="70670"/>
                  </a:lnTo>
                  <a:lnTo>
                    <a:pt x="90397" y="67431"/>
                  </a:lnTo>
                  <a:lnTo>
                    <a:pt x="88531" y="64648"/>
                  </a:lnTo>
                  <a:lnTo>
                    <a:pt x="87023" y="63380"/>
                  </a:lnTo>
                  <a:lnTo>
                    <a:pt x="85582" y="61545"/>
                  </a:lnTo>
                  <a:lnTo>
                    <a:pt x="85033" y="60375"/>
                  </a:lnTo>
                  <a:lnTo>
                    <a:pt x="83530" y="59956"/>
                  </a:lnTo>
                  <a:lnTo>
                    <a:pt x="79146" y="59980"/>
                  </a:lnTo>
                  <a:lnTo>
                    <a:pt x="73880" y="60008"/>
                  </a:lnTo>
                  <a:lnTo>
                    <a:pt x="69435" y="60034"/>
                  </a:lnTo>
                  <a:lnTo>
                    <a:pt x="69177" y="61603"/>
                  </a:lnTo>
                  <a:lnTo>
                    <a:pt x="64321" y="62660"/>
                  </a:lnTo>
                  <a:lnTo>
                    <a:pt x="61327" y="61446"/>
                  </a:lnTo>
                  <a:lnTo>
                    <a:pt x="58005" y="62152"/>
                  </a:lnTo>
                  <a:lnTo>
                    <a:pt x="56380" y="62956"/>
                  </a:lnTo>
                  <a:lnTo>
                    <a:pt x="55874" y="64629"/>
                  </a:lnTo>
                  <a:lnTo>
                    <a:pt x="55133" y="66464"/>
                  </a:lnTo>
                  <a:lnTo>
                    <a:pt x="54426" y="67219"/>
                  </a:lnTo>
                  <a:lnTo>
                    <a:pt x="54122" y="68043"/>
                  </a:lnTo>
                  <a:lnTo>
                    <a:pt x="53711" y="68792"/>
                  </a:lnTo>
                  <a:lnTo>
                    <a:pt x="53059" y="69656"/>
                  </a:lnTo>
                  <a:lnTo>
                    <a:pt x="52335" y="71391"/>
                  </a:lnTo>
                  <a:lnTo>
                    <a:pt x="50755" y="73857"/>
                  </a:lnTo>
                  <a:lnTo>
                    <a:pt x="49091" y="75448"/>
                  </a:lnTo>
                  <a:lnTo>
                    <a:pt x="46268" y="76316"/>
                  </a:lnTo>
                  <a:lnTo>
                    <a:pt x="45387" y="78911"/>
                  </a:lnTo>
                  <a:lnTo>
                    <a:pt x="44737" y="79878"/>
                  </a:lnTo>
                  <a:lnTo>
                    <a:pt x="43647" y="80635"/>
                  </a:lnTo>
                  <a:lnTo>
                    <a:pt x="42485" y="81126"/>
                  </a:lnTo>
                  <a:lnTo>
                    <a:pt x="41413" y="80829"/>
                  </a:lnTo>
                  <a:lnTo>
                    <a:pt x="40177" y="80624"/>
                  </a:lnTo>
                  <a:lnTo>
                    <a:pt x="38885" y="81090"/>
                  </a:lnTo>
                  <a:lnTo>
                    <a:pt x="38665" y="80440"/>
                  </a:lnTo>
                  <a:lnTo>
                    <a:pt x="39398" y="78385"/>
                  </a:lnTo>
                  <a:lnTo>
                    <a:pt x="38814" y="77315"/>
                  </a:lnTo>
                  <a:lnTo>
                    <a:pt x="36598" y="75179"/>
                  </a:lnTo>
                  <a:lnTo>
                    <a:pt x="36388" y="74146"/>
                  </a:lnTo>
                  <a:lnTo>
                    <a:pt x="35709" y="72815"/>
                  </a:lnTo>
                  <a:lnTo>
                    <a:pt x="32791" y="70069"/>
                  </a:lnTo>
                  <a:lnTo>
                    <a:pt x="30069" y="70239"/>
                  </a:lnTo>
                  <a:lnTo>
                    <a:pt x="30826" y="67934"/>
                  </a:lnTo>
                  <a:lnTo>
                    <a:pt x="30792" y="64871"/>
                  </a:lnTo>
                  <a:lnTo>
                    <a:pt x="29867" y="63199"/>
                  </a:lnTo>
                  <a:lnTo>
                    <a:pt x="30104" y="61491"/>
                  </a:lnTo>
                  <a:lnTo>
                    <a:pt x="29599" y="61599"/>
                  </a:lnTo>
                  <a:lnTo>
                    <a:pt x="28690" y="62775"/>
                  </a:lnTo>
                  <a:lnTo>
                    <a:pt x="27222" y="62397"/>
                  </a:lnTo>
                  <a:lnTo>
                    <a:pt x="24247" y="60577"/>
                  </a:lnTo>
                  <a:lnTo>
                    <a:pt x="22761" y="58810"/>
                  </a:lnTo>
                  <a:lnTo>
                    <a:pt x="22583" y="57307"/>
                  </a:lnTo>
                  <a:lnTo>
                    <a:pt x="22249" y="56724"/>
                  </a:lnTo>
                  <a:lnTo>
                    <a:pt x="21337" y="57036"/>
                  </a:lnTo>
                  <a:lnTo>
                    <a:pt x="19476" y="57006"/>
                  </a:lnTo>
                  <a:lnTo>
                    <a:pt x="13805" y="54332"/>
                  </a:lnTo>
                  <a:lnTo>
                    <a:pt x="9766" y="47594"/>
                  </a:lnTo>
                  <a:lnTo>
                    <a:pt x="9676" y="46074"/>
                  </a:lnTo>
                  <a:lnTo>
                    <a:pt x="10256" y="43456"/>
                  </a:lnTo>
                  <a:lnTo>
                    <a:pt x="10121" y="42745"/>
                  </a:lnTo>
                  <a:lnTo>
                    <a:pt x="8267" y="44483"/>
                  </a:lnTo>
                  <a:lnTo>
                    <a:pt x="7913" y="43319"/>
                  </a:lnTo>
                  <a:lnTo>
                    <a:pt x="6497" y="40612"/>
                  </a:lnTo>
                  <a:lnTo>
                    <a:pt x="6087" y="39056"/>
                  </a:lnTo>
                  <a:lnTo>
                    <a:pt x="4726" y="38364"/>
                  </a:lnTo>
                  <a:lnTo>
                    <a:pt x="3637" y="38241"/>
                  </a:lnTo>
                  <a:lnTo>
                    <a:pt x="2795" y="38758"/>
                  </a:lnTo>
                  <a:lnTo>
                    <a:pt x="1685" y="41924"/>
                  </a:lnTo>
                  <a:lnTo>
                    <a:pt x="858" y="41903"/>
                  </a:lnTo>
                  <a:lnTo>
                    <a:pt x="0" y="41227"/>
                  </a:lnTo>
                  <a:lnTo>
                    <a:pt x="181" y="38865"/>
                  </a:lnTo>
                  <a:lnTo>
                    <a:pt x="1154" y="37701"/>
                  </a:lnTo>
                  <a:lnTo>
                    <a:pt x="2361" y="35911"/>
                  </a:lnTo>
                  <a:lnTo>
                    <a:pt x="6012" y="28448"/>
                  </a:lnTo>
                  <a:lnTo>
                    <a:pt x="7318" y="26737"/>
                  </a:lnTo>
                  <a:lnTo>
                    <a:pt x="8143" y="26142"/>
                  </a:lnTo>
                  <a:lnTo>
                    <a:pt x="9871" y="26072"/>
                  </a:lnTo>
                  <a:lnTo>
                    <a:pt x="13240" y="25073"/>
                  </a:lnTo>
                  <a:lnTo>
                    <a:pt x="15996" y="23424"/>
                  </a:lnTo>
                  <a:lnTo>
                    <a:pt x="17372" y="22749"/>
                  </a:lnTo>
                  <a:lnTo>
                    <a:pt x="20540" y="22928"/>
                  </a:lnTo>
                  <a:lnTo>
                    <a:pt x="24279" y="22644"/>
                  </a:lnTo>
                  <a:lnTo>
                    <a:pt x="29154" y="21044"/>
                  </a:lnTo>
                  <a:lnTo>
                    <a:pt x="29246" y="18845"/>
                  </a:lnTo>
                  <a:lnTo>
                    <a:pt x="29200" y="16026"/>
                  </a:lnTo>
                  <a:lnTo>
                    <a:pt x="29038" y="14909"/>
                  </a:lnTo>
                  <a:lnTo>
                    <a:pt x="27306" y="13903"/>
                  </a:lnTo>
                  <a:lnTo>
                    <a:pt x="26298" y="13033"/>
                  </a:lnTo>
                  <a:lnTo>
                    <a:pt x="25430" y="11921"/>
                  </a:lnTo>
                  <a:lnTo>
                    <a:pt x="24375" y="11129"/>
                  </a:lnTo>
                  <a:lnTo>
                    <a:pt x="24409" y="10297"/>
                  </a:lnTo>
                  <a:lnTo>
                    <a:pt x="25732" y="9587"/>
                  </a:lnTo>
                  <a:lnTo>
                    <a:pt x="26573" y="9226"/>
                  </a:lnTo>
                  <a:lnTo>
                    <a:pt x="28556" y="9240"/>
                  </a:lnTo>
                  <a:lnTo>
                    <a:pt x="29213" y="8826"/>
                  </a:lnTo>
                  <a:lnTo>
                    <a:pt x="29703" y="8110"/>
                  </a:lnTo>
                  <a:lnTo>
                    <a:pt x="30268" y="6299"/>
                  </a:lnTo>
                  <a:lnTo>
                    <a:pt x="30463" y="4388"/>
                  </a:lnTo>
                  <a:lnTo>
                    <a:pt x="29157" y="1822"/>
                  </a:lnTo>
                  <a:lnTo>
                    <a:pt x="29231" y="0"/>
                  </a:lnTo>
                  <a:lnTo>
                    <a:pt x="36384" y="262"/>
                  </a:lnTo>
                  <a:lnTo>
                    <a:pt x="37119" y="456"/>
                  </a:lnTo>
                  <a:lnTo>
                    <a:pt x="40313" y="771"/>
                  </a:lnTo>
                  <a:lnTo>
                    <a:pt x="42295" y="768"/>
                  </a:lnTo>
                  <a:lnTo>
                    <a:pt x="43523" y="907"/>
                  </a:lnTo>
                  <a:lnTo>
                    <a:pt x="44035" y="1322"/>
                  </a:lnTo>
                  <a:lnTo>
                    <a:pt x="43933" y="2086"/>
                  </a:lnTo>
                  <a:lnTo>
                    <a:pt x="43591" y="3091"/>
                  </a:lnTo>
                  <a:lnTo>
                    <a:pt x="44002" y="4131"/>
                  </a:lnTo>
                  <a:lnTo>
                    <a:pt x="45093" y="4408"/>
                  </a:lnTo>
                  <a:lnTo>
                    <a:pt x="45674" y="4093"/>
                  </a:lnTo>
                  <a:lnTo>
                    <a:pt x="46229" y="3583"/>
                  </a:lnTo>
                  <a:lnTo>
                    <a:pt x="46889" y="3181"/>
                  </a:lnTo>
                  <a:lnTo>
                    <a:pt x="47829" y="3456"/>
                  </a:lnTo>
                  <a:lnTo>
                    <a:pt x="49838" y="4986"/>
                  </a:lnTo>
                  <a:lnTo>
                    <a:pt x="51702" y="5407"/>
                  </a:lnTo>
                  <a:lnTo>
                    <a:pt x="53741" y="6236"/>
                  </a:lnTo>
                  <a:lnTo>
                    <a:pt x="55656" y="6694"/>
                  </a:lnTo>
                  <a:lnTo>
                    <a:pt x="57355" y="6636"/>
                  </a:lnTo>
                  <a:lnTo>
                    <a:pt x="58644" y="7496"/>
                  </a:lnTo>
                  <a:lnTo>
                    <a:pt x="61029" y="7767"/>
                  </a:lnTo>
                  <a:lnTo>
                    <a:pt x="64108" y="6676"/>
                  </a:lnTo>
                  <a:lnTo>
                    <a:pt x="66532" y="6195"/>
                  </a:lnTo>
                  <a:lnTo>
                    <a:pt x="69933" y="6076"/>
                  </a:lnTo>
                  <a:lnTo>
                    <a:pt x="71712" y="6436"/>
                  </a:lnTo>
                  <a:lnTo>
                    <a:pt x="76895" y="5560"/>
                  </a:lnTo>
                  <a:lnTo>
                    <a:pt x="79481" y="5756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02" name="ee4p_GM_1_82333">
              <a:extLst>
                <a:ext uri="{FF2B5EF4-FFF2-40B4-BE49-F238E27FC236}">
                  <a16:creationId xmlns:a16="http://schemas.microsoft.com/office/drawing/2014/main" id="{314B65D6-98EE-DFDD-59C3-678D6CB7BC2F}"/>
                </a:ext>
              </a:extLst>
            </p:cNvPr>
            <p:cNvSpPr>
              <a:spLocks noChangeAspect="1"/>
            </p:cNvSpPr>
            <p:nvPr>
              <p:custDataLst>
                <p:tags r:id="rId130"/>
              </p:custDataLst>
            </p:nvPr>
          </p:nvSpPr>
          <p:spPr>
            <a:xfrm>
              <a:off x="6047487" y="4281227"/>
              <a:ext cx="83256" cy="21719"/>
            </a:xfrm>
            <a:custGeom>
              <a:avLst/>
              <a:gdLst/>
              <a:ahLst/>
              <a:cxnLst/>
              <a:rect l="0" t="0" r="0" b="0"/>
              <a:pathLst>
                <a:path w="66295" h="16836">
                  <a:moveTo>
                    <a:pt x="1359" y="16835"/>
                  </a:moveTo>
                  <a:lnTo>
                    <a:pt x="1227" y="14939"/>
                  </a:lnTo>
                  <a:lnTo>
                    <a:pt x="0" y="10606"/>
                  </a:lnTo>
                  <a:lnTo>
                    <a:pt x="1645" y="8709"/>
                  </a:lnTo>
                  <a:lnTo>
                    <a:pt x="3438" y="7592"/>
                  </a:lnTo>
                  <a:lnTo>
                    <a:pt x="4644" y="8485"/>
                  </a:lnTo>
                  <a:lnTo>
                    <a:pt x="5008" y="10251"/>
                  </a:lnTo>
                  <a:lnTo>
                    <a:pt x="5934" y="11458"/>
                  </a:lnTo>
                  <a:lnTo>
                    <a:pt x="9097" y="12211"/>
                  </a:lnTo>
                  <a:lnTo>
                    <a:pt x="12231" y="11670"/>
                  </a:lnTo>
                  <a:lnTo>
                    <a:pt x="14146" y="11919"/>
                  </a:lnTo>
                  <a:lnTo>
                    <a:pt x="14083" y="10941"/>
                  </a:lnTo>
                  <a:lnTo>
                    <a:pt x="14736" y="9639"/>
                  </a:lnTo>
                  <a:lnTo>
                    <a:pt x="18538" y="9081"/>
                  </a:lnTo>
                  <a:lnTo>
                    <a:pt x="22561" y="8709"/>
                  </a:lnTo>
                  <a:lnTo>
                    <a:pt x="26692" y="7927"/>
                  </a:lnTo>
                  <a:lnTo>
                    <a:pt x="29929" y="7960"/>
                  </a:lnTo>
                  <a:lnTo>
                    <a:pt x="30898" y="7741"/>
                  </a:lnTo>
                  <a:lnTo>
                    <a:pt x="30662" y="7407"/>
                  </a:lnTo>
                  <a:lnTo>
                    <a:pt x="27757" y="7032"/>
                  </a:lnTo>
                  <a:lnTo>
                    <a:pt x="21557" y="7930"/>
                  </a:lnTo>
                  <a:lnTo>
                    <a:pt x="15243" y="8194"/>
                  </a:lnTo>
                  <a:lnTo>
                    <a:pt x="10459" y="10555"/>
                  </a:lnTo>
                  <a:lnTo>
                    <a:pt x="8497" y="10334"/>
                  </a:lnTo>
                  <a:lnTo>
                    <a:pt x="6517" y="7975"/>
                  </a:lnTo>
                  <a:lnTo>
                    <a:pt x="5805" y="5064"/>
                  </a:lnTo>
                  <a:lnTo>
                    <a:pt x="11411" y="4848"/>
                  </a:lnTo>
                  <a:lnTo>
                    <a:pt x="18203" y="4941"/>
                  </a:lnTo>
                  <a:lnTo>
                    <a:pt x="25598" y="5041"/>
                  </a:lnTo>
                  <a:lnTo>
                    <a:pt x="29081" y="5088"/>
                  </a:lnTo>
                  <a:lnTo>
                    <a:pt x="30912" y="1918"/>
                  </a:lnTo>
                  <a:lnTo>
                    <a:pt x="34390" y="518"/>
                  </a:lnTo>
                  <a:lnTo>
                    <a:pt x="37955" y="0"/>
                  </a:lnTo>
                  <a:lnTo>
                    <a:pt x="39809" y="138"/>
                  </a:lnTo>
                  <a:lnTo>
                    <a:pt x="41770" y="606"/>
                  </a:lnTo>
                  <a:lnTo>
                    <a:pt x="45524" y="3222"/>
                  </a:lnTo>
                  <a:lnTo>
                    <a:pt x="47865" y="3818"/>
                  </a:lnTo>
                  <a:lnTo>
                    <a:pt x="49840" y="4414"/>
                  </a:lnTo>
                  <a:lnTo>
                    <a:pt x="51252" y="5685"/>
                  </a:lnTo>
                  <a:lnTo>
                    <a:pt x="53497" y="6946"/>
                  </a:lnTo>
                  <a:lnTo>
                    <a:pt x="55264" y="7286"/>
                  </a:lnTo>
                  <a:lnTo>
                    <a:pt x="56315" y="7093"/>
                  </a:lnTo>
                  <a:lnTo>
                    <a:pt x="58062" y="6607"/>
                  </a:lnTo>
                  <a:lnTo>
                    <a:pt x="59213" y="6216"/>
                  </a:lnTo>
                  <a:lnTo>
                    <a:pt x="62962" y="6051"/>
                  </a:lnTo>
                  <a:lnTo>
                    <a:pt x="65717" y="7512"/>
                  </a:lnTo>
                  <a:lnTo>
                    <a:pt x="66294" y="9104"/>
                  </a:lnTo>
                  <a:lnTo>
                    <a:pt x="65834" y="10736"/>
                  </a:lnTo>
                  <a:lnTo>
                    <a:pt x="62133" y="11612"/>
                  </a:lnTo>
                  <a:lnTo>
                    <a:pt x="57006" y="12974"/>
                  </a:lnTo>
                  <a:lnTo>
                    <a:pt x="52764" y="12230"/>
                  </a:lnTo>
                  <a:lnTo>
                    <a:pt x="47605" y="10367"/>
                  </a:lnTo>
                  <a:lnTo>
                    <a:pt x="44590" y="9030"/>
                  </a:lnTo>
                  <a:lnTo>
                    <a:pt x="43334" y="8496"/>
                  </a:lnTo>
                  <a:lnTo>
                    <a:pt x="41450" y="7646"/>
                  </a:lnTo>
                  <a:lnTo>
                    <a:pt x="39806" y="6729"/>
                  </a:lnTo>
                  <a:lnTo>
                    <a:pt x="38219" y="6137"/>
                  </a:lnTo>
                  <a:lnTo>
                    <a:pt x="37009" y="5757"/>
                  </a:lnTo>
                  <a:lnTo>
                    <a:pt x="36114" y="6236"/>
                  </a:lnTo>
                  <a:lnTo>
                    <a:pt x="35660" y="7365"/>
                  </a:lnTo>
                  <a:lnTo>
                    <a:pt x="34943" y="8625"/>
                  </a:lnTo>
                  <a:lnTo>
                    <a:pt x="34021" y="9370"/>
                  </a:lnTo>
                  <a:lnTo>
                    <a:pt x="29696" y="9812"/>
                  </a:lnTo>
                  <a:lnTo>
                    <a:pt x="25815" y="10274"/>
                  </a:lnTo>
                  <a:lnTo>
                    <a:pt x="23732" y="10667"/>
                  </a:lnTo>
                  <a:lnTo>
                    <a:pt x="22342" y="10964"/>
                  </a:lnTo>
                  <a:lnTo>
                    <a:pt x="21903" y="14759"/>
                  </a:lnTo>
                  <a:lnTo>
                    <a:pt x="17507" y="14716"/>
                  </a:lnTo>
                  <a:lnTo>
                    <a:pt x="13190" y="14673"/>
                  </a:lnTo>
                  <a:lnTo>
                    <a:pt x="8711" y="14740"/>
                  </a:lnTo>
                  <a:lnTo>
                    <a:pt x="3892" y="14811"/>
                  </a:lnTo>
                  <a:lnTo>
                    <a:pt x="2659" y="15585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03" name="ee4p_GW_1_82333">
              <a:extLst>
                <a:ext uri="{FF2B5EF4-FFF2-40B4-BE49-F238E27FC236}">
                  <a16:creationId xmlns:a16="http://schemas.microsoft.com/office/drawing/2014/main" id="{4A4501C1-95D8-6C6D-E1FD-F4EF9FC052FB}"/>
                </a:ext>
              </a:extLst>
            </p:cNvPr>
            <p:cNvSpPr>
              <a:spLocks noChangeAspect="1"/>
            </p:cNvSpPr>
            <p:nvPr>
              <p:custDataLst>
                <p:tags r:id="rId131"/>
              </p:custDataLst>
            </p:nvPr>
          </p:nvSpPr>
          <p:spPr>
            <a:xfrm>
              <a:off x="6050625" y="4314084"/>
              <a:ext cx="84370" cy="50311"/>
            </a:xfrm>
            <a:custGeom>
              <a:avLst/>
              <a:gdLst>
                <a:gd name="connsiteX0" fmla="*/ 45849 w 179950"/>
                <a:gd name="connsiteY0" fmla="*/ 89321 h 104463"/>
                <a:gd name="connsiteX1" fmla="*/ 47540 w 179950"/>
                <a:gd name="connsiteY1" fmla="*/ 91207 h 104463"/>
                <a:gd name="connsiteX2" fmla="*/ 47770 w 179950"/>
                <a:gd name="connsiteY2" fmla="*/ 91984 h 104463"/>
                <a:gd name="connsiteX3" fmla="*/ 48324 w 179950"/>
                <a:gd name="connsiteY3" fmla="*/ 95935 h 104463"/>
                <a:gd name="connsiteX4" fmla="*/ 47775 w 179950"/>
                <a:gd name="connsiteY4" fmla="*/ 97595 h 104463"/>
                <a:gd name="connsiteX5" fmla="*/ 44293 w 179950"/>
                <a:gd name="connsiteY5" fmla="*/ 97341 h 104463"/>
                <a:gd name="connsiteX6" fmla="*/ 45083 w 179950"/>
                <a:gd name="connsiteY6" fmla="*/ 95656 h 104463"/>
                <a:gd name="connsiteX7" fmla="*/ 44323 w 179950"/>
                <a:gd name="connsiteY7" fmla="*/ 95163 h 104463"/>
                <a:gd name="connsiteX8" fmla="*/ 45330 w 179950"/>
                <a:gd name="connsiteY8" fmla="*/ 90103 h 104463"/>
                <a:gd name="connsiteX9" fmla="*/ 36981 w 179950"/>
                <a:gd name="connsiteY9" fmla="*/ 88960 h 104463"/>
                <a:gd name="connsiteX10" fmla="*/ 38170 w 179950"/>
                <a:gd name="connsiteY10" fmla="*/ 89054 h 104463"/>
                <a:gd name="connsiteX11" fmla="*/ 39032 w 179950"/>
                <a:gd name="connsiteY11" fmla="*/ 93832 h 104463"/>
                <a:gd name="connsiteX12" fmla="*/ 37881 w 179950"/>
                <a:gd name="connsiteY12" fmla="*/ 95838 h 104463"/>
                <a:gd name="connsiteX13" fmla="*/ 35376 w 179950"/>
                <a:gd name="connsiteY13" fmla="*/ 97314 h 104463"/>
                <a:gd name="connsiteX14" fmla="*/ 30638 w 179950"/>
                <a:gd name="connsiteY14" fmla="*/ 98203 h 104463"/>
                <a:gd name="connsiteX15" fmla="*/ 28477 w 179950"/>
                <a:gd name="connsiteY15" fmla="*/ 95228 h 104463"/>
                <a:gd name="connsiteX16" fmla="*/ 28155 w 179950"/>
                <a:gd name="connsiteY16" fmla="*/ 94079 h 104463"/>
                <a:gd name="connsiteX17" fmla="*/ 30633 w 179950"/>
                <a:gd name="connsiteY17" fmla="*/ 93077 h 104463"/>
                <a:gd name="connsiteX18" fmla="*/ 31742 w 179950"/>
                <a:gd name="connsiteY18" fmla="*/ 93037 h 104463"/>
                <a:gd name="connsiteX19" fmla="*/ 33627 w 179950"/>
                <a:gd name="connsiteY19" fmla="*/ 90875 h 104463"/>
                <a:gd name="connsiteX20" fmla="*/ 35952 w 179950"/>
                <a:gd name="connsiteY20" fmla="*/ 89426 h 104463"/>
                <a:gd name="connsiteX21" fmla="*/ 58892 w 179950"/>
                <a:gd name="connsiteY21" fmla="*/ 82786 h 104463"/>
                <a:gd name="connsiteX22" fmla="*/ 61592 w 179950"/>
                <a:gd name="connsiteY22" fmla="*/ 83102 h 104463"/>
                <a:gd name="connsiteX23" fmla="*/ 62395 w 179950"/>
                <a:gd name="connsiteY23" fmla="*/ 83702 h 104463"/>
                <a:gd name="connsiteX24" fmla="*/ 61873 w 179950"/>
                <a:gd name="connsiteY24" fmla="*/ 85419 h 104463"/>
                <a:gd name="connsiteX25" fmla="*/ 60692 w 179950"/>
                <a:gd name="connsiteY25" fmla="*/ 86831 h 104463"/>
                <a:gd name="connsiteX26" fmla="*/ 58439 w 179950"/>
                <a:gd name="connsiteY26" fmla="*/ 87958 h 104463"/>
                <a:gd name="connsiteX27" fmla="*/ 58439 w 179950"/>
                <a:gd name="connsiteY27" fmla="*/ 90414 h 104463"/>
                <a:gd name="connsiteX28" fmla="*/ 55932 w 179950"/>
                <a:gd name="connsiteY28" fmla="*/ 89951 h 104463"/>
                <a:gd name="connsiteX29" fmla="*/ 55203 w 179950"/>
                <a:gd name="connsiteY29" fmla="*/ 89214 h 104463"/>
                <a:gd name="connsiteX30" fmla="*/ 56690 w 179950"/>
                <a:gd name="connsiteY30" fmla="*/ 84768 h 104463"/>
                <a:gd name="connsiteX31" fmla="*/ 44258 w 179950"/>
                <a:gd name="connsiteY31" fmla="*/ 64995 h 104463"/>
                <a:gd name="connsiteX32" fmla="*/ 47173 w 179950"/>
                <a:gd name="connsiteY32" fmla="*/ 65547 h 104463"/>
                <a:gd name="connsiteX33" fmla="*/ 47973 w 179950"/>
                <a:gd name="connsiteY33" fmla="*/ 72945 h 104463"/>
                <a:gd name="connsiteX34" fmla="*/ 45196 w 179950"/>
                <a:gd name="connsiteY34" fmla="*/ 74828 h 104463"/>
                <a:gd name="connsiteX35" fmla="*/ 42325 w 179950"/>
                <a:gd name="connsiteY35" fmla="*/ 73944 h 104463"/>
                <a:gd name="connsiteX36" fmla="*/ 40787 w 179950"/>
                <a:gd name="connsiteY36" fmla="*/ 72265 h 104463"/>
                <a:gd name="connsiteX37" fmla="*/ 41015 w 179950"/>
                <a:gd name="connsiteY37" fmla="*/ 69257 h 104463"/>
                <a:gd name="connsiteX38" fmla="*/ 72811 w 179950"/>
                <a:gd name="connsiteY38" fmla="*/ 62954 h 104463"/>
                <a:gd name="connsiteX39" fmla="*/ 72696 w 179950"/>
                <a:gd name="connsiteY39" fmla="*/ 66841 h 104463"/>
                <a:gd name="connsiteX40" fmla="*/ 70219 w 179950"/>
                <a:gd name="connsiteY40" fmla="*/ 67663 h 104463"/>
                <a:gd name="connsiteX41" fmla="*/ 68609 w 179950"/>
                <a:gd name="connsiteY41" fmla="*/ 68673 h 104463"/>
                <a:gd name="connsiteX42" fmla="*/ 68054 w 179950"/>
                <a:gd name="connsiteY42" fmla="*/ 70068 h 104463"/>
                <a:gd name="connsiteX43" fmla="*/ 64687 w 179950"/>
                <a:gd name="connsiteY43" fmla="*/ 68885 h 104463"/>
                <a:gd name="connsiteX44" fmla="*/ 69608 w 179950"/>
                <a:gd name="connsiteY44" fmla="*/ 63835 h 104463"/>
                <a:gd name="connsiteX45" fmla="*/ 40864 w 179950"/>
                <a:gd name="connsiteY45" fmla="*/ 47683 h 104463"/>
                <a:gd name="connsiteX46" fmla="*/ 42961 w 179950"/>
                <a:gd name="connsiteY46" fmla="*/ 47962 h 104463"/>
                <a:gd name="connsiteX47" fmla="*/ 39889 w 179950"/>
                <a:gd name="connsiteY47" fmla="*/ 55306 h 104463"/>
                <a:gd name="connsiteX48" fmla="*/ 36091 w 179950"/>
                <a:gd name="connsiteY48" fmla="*/ 54498 h 104463"/>
                <a:gd name="connsiteX49" fmla="*/ 33431 w 179950"/>
                <a:gd name="connsiteY49" fmla="*/ 50126 h 104463"/>
                <a:gd name="connsiteX50" fmla="*/ 33131 w 179950"/>
                <a:gd name="connsiteY50" fmla="*/ 48275 h 104463"/>
                <a:gd name="connsiteX51" fmla="*/ 89772 w 179950"/>
                <a:gd name="connsiteY51" fmla="*/ 0 h 104463"/>
                <a:gd name="connsiteX52" fmla="*/ 103722 w 179950"/>
                <a:gd name="connsiteY52" fmla="*/ 59 h 104463"/>
                <a:gd name="connsiteX53" fmla="*/ 118673 w 179950"/>
                <a:gd name="connsiteY53" fmla="*/ 118 h 104463"/>
                <a:gd name="connsiteX54" fmla="*/ 139930 w 179950"/>
                <a:gd name="connsiteY54" fmla="*/ 212 h 104463"/>
                <a:gd name="connsiteX55" fmla="*/ 156776 w 179950"/>
                <a:gd name="connsiteY55" fmla="*/ 279 h 104463"/>
                <a:gd name="connsiteX56" fmla="*/ 176650 w 179950"/>
                <a:gd name="connsiteY56" fmla="*/ 362 h 104463"/>
                <a:gd name="connsiteX57" fmla="*/ 176452 w 179950"/>
                <a:gd name="connsiteY57" fmla="*/ 5242 h 104463"/>
                <a:gd name="connsiteX58" fmla="*/ 179950 w 179950"/>
                <a:gd name="connsiteY58" fmla="*/ 12115 h 104463"/>
                <a:gd name="connsiteX59" fmla="*/ 179428 w 179950"/>
                <a:gd name="connsiteY59" fmla="*/ 17234 h 104463"/>
                <a:gd name="connsiteX60" fmla="*/ 177915 w 179950"/>
                <a:gd name="connsiteY60" fmla="*/ 22085 h 104463"/>
                <a:gd name="connsiteX61" fmla="*/ 176602 w 179950"/>
                <a:gd name="connsiteY61" fmla="*/ 24003 h 104463"/>
                <a:gd name="connsiteX62" fmla="*/ 174842 w 179950"/>
                <a:gd name="connsiteY62" fmla="*/ 25112 h 104463"/>
                <a:gd name="connsiteX63" fmla="*/ 169531 w 179950"/>
                <a:gd name="connsiteY63" fmla="*/ 25074 h 104463"/>
                <a:gd name="connsiteX64" fmla="*/ 167278 w 179950"/>
                <a:gd name="connsiteY64" fmla="*/ 26041 h 104463"/>
                <a:gd name="connsiteX65" fmla="*/ 163735 w 179950"/>
                <a:gd name="connsiteY65" fmla="*/ 27943 h 104463"/>
                <a:gd name="connsiteX66" fmla="*/ 163643 w 179950"/>
                <a:gd name="connsiteY66" fmla="*/ 30171 h 104463"/>
                <a:gd name="connsiteX67" fmla="*/ 166469 w 179950"/>
                <a:gd name="connsiteY67" fmla="*/ 32293 h 104463"/>
                <a:gd name="connsiteX68" fmla="*/ 168794 w 179950"/>
                <a:gd name="connsiteY68" fmla="*/ 35271 h 104463"/>
                <a:gd name="connsiteX69" fmla="*/ 171494 w 179950"/>
                <a:gd name="connsiteY69" fmla="*/ 37602 h 104463"/>
                <a:gd name="connsiteX70" fmla="*/ 176134 w 179950"/>
                <a:gd name="connsiteY70" fmla="*/ 40296 h 104463"/>
                <a:gd name="connsiteX71" fmla="*/ 176567 w 179950"/>
                <a:gd name="connsiteY71" fmla="*/ 43288 h 104463"/>
                <a:gd name="connsiteX72" fmla="*/ 176691 w 179950"/>
                <a:gd name="connsiteY72" fmla="*/ 50839 h 104463"/>
                <a:gd name="connsiteX73" fmla="*/ 176444 w 179950"/>
                <a:gd name="connsiteY73" fmla="*/ 56729 h 104463"/>
                <a:gd name="connsiteX74" fmla="*/ 163386 w 179950"/>
                <a:gd name="connsiteY74" fmla="*/ 61015 h 104463"/>
                <a:gd name="connsiteX75" fmla="*/ 153371 w 179950"/>
                <a:gd name="connsiteY75" fmla="*/ 61775 h 104463"/>
                <a:gd name="connsiteX76" fmla="*/ 144886 w 179950"/>
                <a:gd name="connsiteY76" fmla="*/ 61296 h 104463"/>
                <a:gd name="connsiteX77" fmla="*/ 141200 w 179950"/>
                <a:gd name="connsiteY77" fmla="*/ 63104 h 104463"/>
                <a:gd name="connsiteX78" fmla="*/ 133818 w 179950"/>
                <a:gd name="connsiteY78" fmla="*/ 67521 h 104463"/>
                <a:gd name="connsiteX79" fmla="*/ 124794 w 179950"/>
                <a:gd name="connsiteY79" fmla="*/ 70197 h 104463"/>
                <a:gd name="connsiteX80" fmla="*/ 120165 w 179950"/>
                <a:gd name="connsiteY80" fmla="*/ 70384 h 104463"/>
                <a:gd name="connsiteX81" fmla="*/ 117955 w 179950"/>
                <a:gd name="connsiteY81" fmla="*/ 71978 h 104463"/>
                <a:gd name="connsiteX82" fmla="*/ 114457 w 179950"/>
                <a:gd name="connsiteY82" fmla="*/ 76561 h 104463"/>
                <a:gd name="connsiteX83" fmla="*/ 104678 w 179950"/>
                <a:gd name="connsiteY83" fmla="*/ 96551 h 104463"/>
                <a:gd name="connsiteX84" fmla="*/ 101445 w 179950"/>
                <a:gd name="connsiteY84" fmla="*/ 101346 h 104463"/>
                <a:gd name="connsiteX85" fmla="*/ 98839 w 179950"/>
                <a:gd name="connsiteY85" fmla="*/ 104463 h 104463"/>
                <a:gd name="connsiteX86" fmla="*/ 95833 w 179950"/>
                <a:gd name="connsiteY86" fmla="*/ 100215 h 104463"/>
                <a:gd name="connsiteX87" fmla="*/ 98153 w 179950"/>
                <a:gd name="connsiteY87" fmla="*/ 92367 h 104463"/>
                <a:gd name="connsiteX88" fmla="*/ 95654 w 179950"/>
                <a:gd name="connsiteY88" fmla="*/ 92482 h 104463"/>
                <a:gd name="connsiteX89" fmla="*/ 90664 w 179950"/>
                <a:gd name="connsiteY89" fmla="*/ 98825 h 104463"/>
                <a:gd name="connsiteX90" fmla="*/ 88232 w 179950"/>
                <a:gd name="connsiteY90" fmla="*/ 99026 h 104463"/>
                <a:gd name="connsiteX91" fmla="*/ 88553 w 179950"/>
                <a:gd name="connsiteY91" fmla="*/ 91510 h 104463"/>
                <a:gd name="connsiteX92" fmla="*/ 85786 w 179950"/>
                <a:gd name="connsiteY92" fmla="*/ 91231 h 104463"/>
                <a:gd name="connsiteX93" fmla="*/ 82582 w 179950"/>
                <a:gd name="connsiteY93" fmla="*/ 91764 h 104463"/>
                <a:gd name="connsiteX94" fmla="*/ 78104 w 179950"/>
                <a:gd name="connsiteY94" fmla="*/ 87854 h 104463"/>
                <a:gd name="connsiteX95" fmla="*/ 77662 w 179950"/>
                <a:gd name="connsiteY95" fmla="*/ 84918 h 104463"/>
                <a:gd name="connsiteX96" fmla="*/ 78021 w 179950"/>
                <a:gd name="connsiteY96" fmla="*/ 80823 h 104463"/>
                <a:gd name="connsiteX97" fmla="*/ 80750 w 179950"/>
                <a:gd name="connsiteY97" fmla="*/ 78208 h 104463"/>
                <a:gd name="connsiteX98" fmla="*/ 80381 w 179950"/>
                <a:gd name="connsiteY98" fmla="*/ 77113 h 104463"/>
                <a:gd name="connsiteX99" fmla="*/ 77745 w 179950"/>
                <a:gd name="connsiteY99" fmla="*/ 76805 h 104463"/>
                <a:gd name="connsiteX100" fmla="*/ 74793 w 179950"/>
                <a:gd name="connsiteY100" fmla="*/ 77509 h 104463"/>
                <a:gd name="connsiteX101" fmla="*/ 72988 w 179950"/>
                <a:gd name="connsiteY101" fmla="*/ 76274 h 104463"/>
                <a:gd name="connsiteX102" fmla="*/ 75972 w 179950"/>
                <a:gd name="connsiteY102" fmla="*/ 70960 h 104463"/>
                <a:gd name="connsiteX103" fmla="*/ 86426 w 179950"/>
                <a:gd name="connsiteY103" fmla="*/ 66495 h 104463"/>
                <a:gd name="connsiteX104" fmla="*/ 91687 w 179950"/>
                <a:gd name="connsiteY104" fmla="*/ 66037 h 104463"/>
                <a:gd name="connsiteX105" fmla="*/ 97084 w 179950"/>
                <a:gd name="connsiteY105" fmla="*/ 65025 h 104463"/>
                <a:gd name="connsiteX106" fmla="*/ 94138 w 179950"/>
                <a:gd name="connsiteY106" fmla="*/ 61197 h 104463"/>
                <a:gd name="connsiteX107" fmla="*/ 87741 w 179950"/>
                <a:gd name="connsiteY107" fmla="*/ 59686 h 104463"/>
                <a:gd name="connsiteX108" fmla="*/ 82628 w 179950"/>
                <a:gd name="connsiteY108" fmla="*/ 60742 h 104463"/>
                <a:gd name="connsiteX109" fmla="*/ 80083 w 179950"/>
                <a:gd name="connsiteY109" fmla="*/ 63519 h 104463"/>
                <a:gd name="connsiteX110" fmla="*/ 76925 w 179950"/>
                <a:gd name="connsiteY110" fmla="*/ 63977 h 104463"/>
                <a:gd name="connsiteX111" fmla="*/ 71659 w 179950"/>
                <a:gd name="connsiteY111" fmla="*/ 57463 h 104463"/>
                <a:gd name="connsiteX112" fmla="*/ 71758 w 179950"/>
                <a:gd name="connsiteY112" fmla="*/ 54187 h 104463"/>
                <a:gd name="connsiteX113" fmla="*/ 73716 w 179950"/>
                <a:gd name="connsiteY113" fmla="*/ 50317 h 104463"/>
                <a:gd name="connsiteX114" fmla="*/ 76765 w 179950"/>
                <a:gd name="connsiteY114" fmla="*/ 48578 h 104463"/>
                <a:gd name="connsiteX115" fmla="*/ 88899 w 179950"/>
                <a:gd name="connsiteY115" fmla="*/ 48626 h 104463"/>
                <a:gd name="connsiteX116" fmla="*/ 93503 w 179950"/>
                <a:gd name="connsiteY116" fmla="*/ 46443 h 104463"/>
                <a:gd name="connsiteX117" fmla="*/ 95362 w 179950"/>
                <a:gd name="connsiteY117" fmla="*/ 46044 h 104463"/>
                <a:gd name="connsiteX118" fmla="*/ 97124 w 179950"/>
                <a:gd name="connsiteY118" fmla="*/ 44060 h 104463"/>
                <a:gd name="connsiteX119" fmla="*/ 96752 w 179950"/>
                <a:gd name="connsiteY119" fmla="*/ 42739 h 104463"/>
                <a:gd name="connsiteX120" fmla="*/ 94781 w 179950"/>
                <a:gd name="connsiteY120" fmla="*/ 42661 h 104463"/>
                <a:gd name="connsiteX121" fmla="*/ 90246 w 179950"/>
                <a:gd name="connsiteY121" fmla="*/ 45243 h 104463"/>
                <a:gd name="connsiteX122" fmla="*/ 75637 w 179950"/>
                <a:gd name="connsiteY122" fmla="*/ 44268 h 104463"/>
                <a:gd name="connsiteX123" fmla="*/ 70974 w 179950"/>
                <a:gd name="connsiteY123" fmla="*/ 45827 h 104463"/>
                <a:gd name="connsiteX124" fmla="*/ 62847 w 179950"/>
                <a:gd name="connsiteY124" fmla="*/ 51784 h 104463"/>
                <a:gd name="connsiteX125" fmla="*/ 52856 w 179950"/>
                <a:gd name="connsiteY125" fmla="*/ 55082 h 104463"/>
                <a:gd name="connsiteX126" fmla="*/ 45608 w 179950"/>
                <a:gd name="connsiteY126" fmla="*/ 53692 h 104463"/>
                <a:gd name="connsiteX127" fmla="*/ 47919 w 179950"/>
                <a:gd name="connsiteY127" fmla="*/ 45701 h 104463"/>
                <a:gd name="connsiteX128" fmla="*/ 46885 w 179950"/>
                <a:gd name="connsiteY128" fmla="*/ 44614 h 104463"/>
                <a:gd name="connsiteX129" fmla="*/ 44598 w 179950"/>
                <a:gd name="connsiteY129" fmla="*/ 43302 h 104463"/>
                <a:gd name="connsiteX130" fmla="*/ 33959 w 179950"/>
                <a:gd name="connsiteY130" fmla="*/ 45843 h 104463"/>
                <a:gd name="connsiteX131" fmla="*/ 25910 w 179950"/>
                <a:gd name="connsiteY131" fmla="*/ 42190 h 104463"/>
                <a:gd name="connsiteX132" fmla="*/ 22728 w 179950"/>
                <a:gd name="connsiteY132" fmla="*/ 37776 h 104463"/>
                <a:gd name="connsiteX133" fmla="*/ 23274 w 179950"/>
                <a:gd name="connsiteY133" fmla="*/ 32239 h 104463"/>
                <a:gd name="connsiteX134" fmla="*/ 27072 w 179950"/>
                <a:gd name="connsiteY134" fmla="*/ 28497 h 104463"/>
                <a:gd name="connsiteX135" fmla="*/ 27672 w 179950"/>
                <a:gd name="connsiteY135" fmla="*/ 26630 h 104463"/>
                <a:gd name="connsiteX136" fmla="*/ 23660 w 179950"/>
                <a:gd name="connsiteY136" fmla="*/ 26274 h 104463"/>
                <a:gd name="connsiteX137" fmla="*/ 16286 w 179950"/>
                <a:gd name="connsiteY137" fmla="*/ 28610 h 104463"/>
                <a:gd name="connsiteX138" fmla="*/ 0 w 179950"/>
                <a:gd name="connsiteY138" fmla="*/ 19554 h 104463"/>
                <a:gd name="connsiteX139" fmla="*/ 3249 w 179950"/>
                <a:gd name="connsiteY139" fmla="*/ 18980 h 104463"/>
                <a:gd name="connsiteX140" fmla="*/ 11279 w 179950"/>
                <a:gd name="connsiteY140" fmla="*/ 19926 h 104463"/>
                <a:gd name="connsiteX141" fmla="*/ 17502 w 179950"/>
                <a:gd name="connsiteY141" fmla="*/ 18779 h 104463"/>
                <a:gd name="connsiteX142" fmla="*/ 21887 w 179950"/>
                <a:gd name="connsiteY142" fmla="*/ 16867 h 104463"/>
                <a:gd name="connsiteX143" fmla="*/ 27854 w 179950"/>
                <a:gd name="connsiteY143" fmla="*/ 14234 h 104463"/>
                <a:gd name="connsiteX144" fmla="*/ 33619 w 179950"/>
                <a:gd name="connsiteY144" fmla="*/ 13385 h 104463"/>
                <a:gd name="connsiteX145" fmla="*/ 51661 w 179950"/>
                <a:gd name="connsiteY145" fmla="*/ 14558 h 104463"/>
                <a:gd name="connsiteX146" fmla="*/ 67342 w 179950"/>
                <a:gd name="connsiteY146" fmla="*/ 11403 h 104463"/>
                <a:gd name="connsiteX147" fmla="*/ 79004 w 179950"/>
                <a:gd name="connsiteY147" fmla="*/ 5472 h 104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</a:cxnLst>
              <a:rect l="l" t="t" r="r" b="b"/>
              <a:pathLst>
                <a:path w="179950" h="104463">
                  <a:moveTo>
                    <a:pt x="45849" y="89321"/>
                  </a:moveTo>
                  <a:lnTo>
                    <a:pt x="47540" y="91207"/>
                  </a:lnTo>
                  <a:lnTo>
                    <a:pt x="47770" y="91984"/>
                  </a:lnTo>
                  <a:lnTo>
                    <a:pt x="48324" y="95935"/>
                  </a:lnTo>
                  <a:lnTo>
                    <a:pt x="47775" y="97595"/>
                  </a:lnTo>
                  <a:lnTo>
                    <a:pt x="44293" y="97341"/>
                  </a:lnTo>
                  <a:lnTo>
                    <a:pt x="45083" y="95656"/>
                  </a:lnTo>
                  <a:lnTo>
                    <a:pt x="44323" y="95163"/>
                  </a:lnTo>
                  <a:lnTo>
                    <a:pt x="45330" y="90103"/>
                  </a:lnTo>
                  <a:close/>
                  <a:moveTo>
                    <a:pt x="36981" y="88960"/>
                  </a:moveTo>
                  <a:lnTo>
                    <a:pt x="38170" y="89054"/>
                  </a:lnTo>
                  <a:lnTo>
                    <a:pt x="39032" y="93832"/>
                  </a:lnTo>
                  <a:lnTo>
                    <a:pt x="37881" y="95838"/>
                  </a:lnTo>
                  <a:lnTo>
                    <a:pt x="35376" y="97314"/>
                  </a:lnTo>
                  <a:lnTo>
                    <a:pt x="30638" y="98203"/>
                  </a:lnTo>
                  <a:lnTo>
                    <a:pt x="28477" y="95228"/>
                  </a:lnTo>
                  <a:lnTo>
                    <a:pt x="28155" y="94079"/>
                  </a:lnTo>
                  <a:lnTo>
                    <a:pt x="30633" y="93077"/>
                  </a:lnTo>
                  <a:lnTo>
                    <a:pt x="31742" y="93037"/>
                  </a:lnTo>
                  <a:lnTo>
                    <a:pt x="33627" y="90875"/>
                  </a:lnTo>
                  <a:lnTo>
                    <a:pt x="35952" y="89426"/>
                  </a:lnTo>
                  <a:close/>
                  <a:moveTo>
                    <a:pt x="58892" y="82786"/>
                  </a:moveTo>
                  <a:lnTo>
                    <a:pt x="61592" y="83102"/>
                  </a:lnTo>
                  <a:lnTo>
                    <a:pt x="62395" y="83702"/>
                  </a:lnTo>
                  <a:lnTo>
                    <a:pt x="61873" y="85419"/>
                  </a:lnTo>
                  <a:lnTo>
                    <a:pt x="60692" y="86831"/>
                  </a:lnTo>
                  <a:lnTo>
                    <a:pt x="58439" y="87958"/>
                  </a:lnTo>
                  <a:lnTo>
                    <a:pt x="58439" y="90414"/>
                  </a:lnTo>
                  <a:lnTo>
                    <a:pt x="55932" y="89951"/>
                  </a:lnTo>
                  <a:lnTo>
                    <a:pt x="55203" y="89214"/>
                  </a:lnTo>
                  <a:lnTo>
                    <a:pt x="56690" y="84768"/>
                  </a:lnTo>
                  <a:close/>
                  <a:moveTo>
                    <a:pt x="44258" y="64995"/>
                  </a:moveTo>
                  <a:lnTo>
                    <a:pt x="47173" y="65547"/>
                  </a:lnTo>
                  <a:lnTo>
                    <a:pt x="47973" y="72945"/>
                  </a:lnTo>
                  <a:lnTo>
                    <a:pt x="45196" y="74828"/>
                  </a:lnTo>
                  <a:lnTo>
                    <a:pt x="42325" y="73944"/>
                  </a:lnTo>
                  <a:lnTo>
                    <a:pt x="40787" y="72265"/>
                  </a:lnTo>
                  <a:lnTo>
                    <a:pt x="41015" y="69257"/>
                  </a:lnTo>
                  <a:close/>
                  <a:moveTo>
                    <a:pt x="72811" y="62954"/>
                  </a:moveTo>
                  <a:lnTo>
                    <a:pt x="72696" y="66841"/>
                  </a:lnTo>
                  <a:lnTo>
                    <a:pt x="70219" y="67663"/>
                  </a:lnTo>
                  <a:lnTo>
                    <a:pt x="68609" y="68673"/>
                  </a:lnTo>
                  <a:lnTo>
                    <a:pt x="68054" y="70068"/>
                  </a:lnTo>
                  <a:lnTo>
                    <a:pt x="64687" y="68885"/>
                  </a:lnTo>
                  <a:lnTo>
                    <a:pt x="69608" y="63835"/>
                  </a:lnTo>
                  <a:close/>
                  <a:moveTo>
                    <a:pt x="40864" y="47683"/>
                  </a:moveTo>
                  <a:lnTo>
                    <a:pt x="42961" y="47962"/>
                  </a:lnTo>
                  <a:lnTo>
                    <a:pt x="39889" y="55306"/>
                  </a:lnTo>
                  <a:lnTo>
                    <a:pt x="36091" y="54498"/>
                  </a:lnTo>
                  <a:lnTo>
                    <a:pt x="33431" y="50126"/>
                  </a:lnTo>
                  <a:lnTo>
                    <a:pt x="33131" y="48275"/>
                  </a:lnTo>
                  <a:close/>
                  <a:moveTo>
                    <a:pt x="89772" y="0"/>
                  </a:moveTo>
                  <a:lnTo>
                    <a:pt x="103722" y="59"/>
                  </a:lnTo>
                  <a:lnTo>
                    <a:pt x="118673" y="118"/>
                  </a:lnTo>
                  <a:lnTo>
                    <a:pt x="139930" y="212"/>
                  </a:lnTo>
                  <a:lnTo>
                    <a:pt x="156776" y="279"/>
                  </a:lnTo>
                  <a:lnTo>
                    <a:pt x="176650" y="362"/>
                  </a:lnTo>
                  <a:lnTo>
                    <a:pt x="176452" y="5242"/>
                  </a:lnTo>
                  <a:lnTo>
                    <a:pt x="179950" y="12115"/>
                  </a:lnTo>
                  <a:lnTo>
                    <a:pt x="179428" y="17234"/>
                  </a:lnTo>
                  <a:lnTo>
                    <a:pt x="177915" y="22085"/>
                  </a:lnTo>
                  <a:lnTo>
                    <a:pt x="176602" y="24003"/>
                  </a:lnTo>
                  <a:lnTo>
                    <a:pt x="174842" y="25112"/>
                  </a:lnTo>
                  <a:lnTo>
                    <a:pt x="169531" y="25074"/>
                  </a:lnTo>
                  <a:lnTo>
                    <a:pt x="167278" y="26041"/>
                  </a:lnTo>
                  <a:lnTo>
                    <a:pt x="163735" y="27943"/>
                  </a:lnTo>
                  <a:lnTo>
                    <a:pt x="163643" y="30171"/>
                  </a:lnTo>
                  <a:lnTo>
                    <a:pt x="166469" y="32293"/>
                  </a:lnTo>
                  <a:lnTo>
                    <a:pt x="168794" y="35271"/>
                  </a:lnTo>
                  <a:lnTo>
                    <a:pt x="171494" y="37602"/>
                  </a:lnTo>
                  <a:lnTo>
                    <a:pt x="176134" y="40296"/>
                  </a:lnTo>
                  <a:lnTo>
                    <a:pt x="176567" y="43288"/>
                  </a:lnTo>
                  <a:lnTo>
                    <a:pt x="176691" y="50839"/>
                  </a:lnTo>
                  <a:lnTo>
                    <a:pt x="176444" y="56729"/>
                  </a:lnTo>
                  <a:lnTo>
                    <a:pt x="163386" y="61015"/>
                  </a:lnTo>
                  <a:lnTo>
                    <a:pt x="153371" y="61775"/>
                  </a:lnTo>
                  <a:lnTo>
                    <a:pt x="144886" y="61296"/>
                  </a:lnTo>
                  <a:lnTo>
                    <a:pt x="141200" y="63104"/>
                  </a:lnTo>
                  <a:lnTo>
                    <a:pt x="133818" y="67521"/>
                  </a:lnTo>
                  <a:lnTo>
                    <a:pt x="124794" y="70197"/>
                  </a:lnTo>
                  <a:lnTo>
                    <a:pt x="120165" y="70384"/>
                  </a:lnTo>
                  <a:lnTo>
                    <a:pt x="117955" y="71978"/>
                  </a:lnTo>
                  <a:lnTo>
                    <a:pt x="114457" y="76561"/>
                  </a:lnTo>
                  <a:lnTo>
                    <a:pt x="104678" y="96551"/>
                  </a:lnTo>
                  <a:lnTo>
                    <a:pt x="101445" y="101346"/>
                  </a:lnTo>
                  <a:lnTo>
                    <a:pt x="98839" y="104463"/>
                  </a:lnTo>
                  <a:lnTo>
                    <a:pt x="95833" y="100215"/>
                  </a:lnTo>
                  <a:lnTo>
                    <a:pt x="98153" y="92367"/>
                  </a:lnTo>
                  <a:lnTo>
                    <a:pt x="95654" y="92482"/>
                  </a:lnTo>
                  <a:lnTo>
                    <a:pt x="90664" y="98825"/>
                  </a:lnTo>
                  <a:lnTo>
                    <a:pt x="88232" y="99026"/>
                  </a:lnTo>
                  <a:lnTo>
                    <a:pt x="88553" y="91510"/>
                  </a:lnTo>
                  <a:lnTo>
                    <a:pt x="85786" y="91231"/>
                  </a:lnTo>
                  <a:lnTo>
                    <a:pt x="82582" y="91764"/>
                  </a:lnTo>
                  <a:lnTo>
                    <a:pt x="78104" y="87854"/>
                  </a:lnTo>
                  <a:lnTo>
                    <a:pt x="77662" y="84918"/>
                  </a:lnTo>
                  <a:lnTo>
                    <a:pt x="78021" y="80823"/>
                  </a:lnTo>
                  <a:lnTo>
                    <a:pt x="80750" y="78208"/>
                  </a:lnTo>
                  <a:lnTo>
                    <a:pt x="80381" y="77113"/>
                  </a:lnTo>
                  <a:lnTo>
                    <a:pt x="77745" y="76805"/>
                  </a:lnTo>
                  <a:lnTo>
                    <a:pt x="74793" y="77509"/>
                  </a:lnTo>
                  <a:lnTo>
                    <a:pt x="72988" y="76274"/>
                  </a:lnTo>
                  <a:lnTo>
                    <a:pt x="75972" y="70960"/>
                  </a:lnTo>
                  <a:lnTo>
                    <a:pt x="86426" y="66495"/>
                  </a:lnTo>
                  <a:lnTo>
                    <a:pt x="91687" y="66037"/>
                  </a:lnTo>
                  <a:lnTo>
                    <a:pt x="97084" y="65025"/>
                  </a:lnTo>
                  <a:lnTo>
                    <a:pt x="94138" y="61197"/>
                  </a:lnTo>
                  <a:lnTo>
                    <a:pt x="87741" y="59686"/>
                  </a:lnTo>
                  <a:lnTo>
                    <a:pt x="82628" y="60742"/>
                  </a:lnTo>
                  <a:lnTo>
                    <a:pt x="80083" y="63519"/>
                  </a:lnTo>
                  <a:lnTo>
                    <a:pt x="76925" y="63977"/>
                  </a:lnTo>
                  <a:lnTo>
                    <a:pt x="71659" y="57463"/>
                  </a:lnTo>
                  <a:lnTo>
                    <a:pt x="71758" y="54187"/>
                  </a:lnTo>
                  <a:lnTo>
                    <a:pt x="73716" y="50317"/>
                  </a:lnTo>
                  <a:lnTo>
                    <a:pt x="76765" y="48578"/>
                  </a:lnTo>
                  <a:lnTo>
                    <a:pt x="88899" y="48626"/>
                  </a:lnTo>
                  <a:lnTo>
                    <a:pt x="93503" y="46443"/>
                  </a:lnTo>
                  <a:lnTo>
                    <a:pt x="95362" y="46044"/>
                  </a:lnTo>
                  <a:lnTo>
                    <a:pt x="97124" y="44060"/>
                  </a:lnTo>
                  <a:lnTo>
                    <a:pt x="96752" y="42739"/>
                  </a:lnTo>
                  <a:lnTo>
                    <a:pt x="94781" y="42661"/>
                  </a:lnTo>
                  <a:lnTo>
                    <a:pt x="90246" y="45243"/>
                  </a:lnTo>
                  <a:lnTo>
                    <a:pt x="75637" y="44268"/>
                  </a:lnTo>
                  <a:lnTo>
                    <a:pt x="70974" y="45827"/>
                  </a:lnTo>
                  <a:lnTo>
                    <a:pt x="62847" y="51784"/>
                  </a:lnTo>
                  <a:lnTo>
                    <a:pt x="52856" y="55082"/>
                  </a:lnTo>
                  <a:lnTo>
                    <a:pt x="45608" y="53692"/>
                  </a:lnTo>
                  <a:lnTo>
                    <a:pt x="47919" y="45701"/>
                  </a:lnTo>
                  <a:lnTo>
                    <a:pt x="46885" y="44614"/>
                  </a:lnTo>
                  <a:lnTo>
                    <a:pt x="44598" y="43302"/>
                  </a:lnTo>
                  <a:lnTo>
                    <a:pt x="33959" y="45843"/>
                  </a:lnTo>
                  <a:lnTo>
                    <a:pt x="25910" y="42190"/>
                  </a:lnTo>
                  <a:lnTo>
                    <a:pt x="22728" y="37776"/>
                  </a:lnTo>
                  <a:lnTo>
                    <a:pt x="23274" y="32239"/>
                  </a:lnTo>
                  <a:lnTo>
                    <a:pt x="27072" y="28497"/>
                  </a:lnTo>
                  <a:lnTo>
                    <a:pt x="27672" y="26630"/>
                  </a:lnTo>
                  <a:lnTo>
                    <a:pt x="23660" y="26274"/>
                  </a:lnTo>
                  <a:lnTo>
                    <a:pt x="16286" y="28610"/>
                  </a:lnTo>
                  <a:lnTo>
                    <a:pt x="0" y="19554"/>
                  </a:lnTo>
                  <a:lnTo>
                    <a:pt x="3249" y="18980"/>
                  </a:lnTo>
                  <a:lnTo>
                    <a:pt x="11279" y="19926"/>
                  </a:lnTo>
                  <a:lnTo>
                    <a:pt x="17502" y="18779"/>
                  </a:lnTo>
                  <a:lnTo>
                    <a:pt x="21887" y="16867"/>
                  </a:lnTo>
                  <a:lnTo>
                    <a:pt x="27854" y="14234"/>
                  </a:lnTo>
                  <a:lnTo>
                    <a:pt x="33619" y="13385"/>
                  </a:lnTo>
                  <a:lnTo>
                    <a:pt x="51661" y="14558"/>
                  </a:lnTo>
                  <a:lnTo>
                    <a:pt x="67342" y="11403"/>
                  </a:lnTo>
                  <a:lnTo>
                    <a:pt x="79004" y="5472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04" name="ee4p_GQ_1_82333">
              <a:extLst>
                <a:ext uri="{FF2B5EF4-FFF2-40B4-BE49-F238E27FC236}">
                  <a16:creationId xmlns:a16="http://schemas.microsoft.com/office/drawing/2014/main" id="{77B00845-F804-F0F7-CC80-B1EECF9066A1}"/>
                </a:ext>
              </a:extLst>
            </p:cNvPr>
            <p:cNvSpPr>
              <a:spLocks noChangeAspect="1"/>
            </p:cNvSpPr>
            <p:nvPr>
              <p:custDataLst>
                <p:tags r:id="rId132"/>
              </p:custDataLst>
            </p:nvPr>
          </p:nvSpPr>
          <p:spPr>
            <a:xfrm>
              <a:off x="6748915" y="4570433"/>
              <a:ext cx="80560" cy="79869"/>
            </a:xfrm>
            <a:custGeom>
              <a:avLst/>
              <a:gdLst>
                <a:gd name="connsiteX0" fmla="*/ 80935 w 171824"/>
                <a:gd name="connsiteY0" fmla="*/ 86187 h 165833"/>
                <a:gd name="connsiteX1" fmla="*/ 82438 w 171824"/>
                <a:gd name="connsiteY1" fmla="*/ 86581 h 165833"/>
                <a:gd name="connsiteX2" fmla="*/ 82687 w 171824"/>
                <a:gd name="connsiteY2" fmla="*/ 87904 h 165833"/>
                <a:gd name="connsiteX3" fmla="*/ 83075 w 171824"/>
                <a:gd name="connsiteY3" fmla="*/ 89865 h 165833"/>
                <a:gd name="connsiteX4" fmla="*/ 85042 w 171824"/>
                <a:gd name="connsiteY4" fmla="*/ 91590 h 165833"/>
                <a:gd name="connsiteX5" fmla="*/ 91542 w 171824"/>
                <a:gd name="connsiteY5" fmla="*/ 94287 h 165833"/>
                <a:gd name="connsiteX6" fmla="*/ 110919 w 171824"/>
                <a:gd name="connsiteY6" fmla="*/ 94290 h 165833"/>
                <a:gd name="connsiteX7" fmla="*/ 122482 w 171824"/>
                <a:gd name="connsiteY7" fmla="*/ 94295 h 165833"/>
                <a:gd name="connsiteX8" fmla="*/ 139579 w 171824"/>
                <a:gd name="connsiteY8" fmla="*/ 94298 h 165833"/>
                <a:gd name="connsiteX9" fmla="*/ 157684 w 171824"/>
                <a:gd name="connsiteY9" fmla="*/ 94303 h 165833"/>
                <a:gd name="connsiteX10" fmla="*/ 171433 w 171824"/>
                <a:gd name="connsiteY10" fmla="*/ 94308 h 165833"/>
                <a:gd name="connsiteX11" fmla="*/ 171513 w 171824"/>
                <a:gd name="connsiteY11" fmla="*/ 108025 h 165833"/>
                <a:gd name="connsiteX12" fmla="*/ 171577 w 171824"/>
                <a:gd name="connsiteY12" fmla="*/ 119621 h 165833"/>
                <a:gd name="connsiteX13" fmla="*/ 171644 w 171824"/>
                <a:gd name="connsiteY13" fmla="*/ 132170 h 165833"/>
                <a:gd name="connsiteX14" fmla="*/ 171722 w 171824"/>
                <a:gd name="connsiteY14" fmla="*/ 145246 h 165833"/>
                <a:gd name="connsiteX15" fmla="*/ 171783 w 171824"/>
                <a:gd name="connsiteY15" fmla="*/ 156317 h 165833"/>
                <a:gd name="connsiteX16" fmla="*/ 171824 w 171824"/>
                <a:gd name="connsiteY16" fmla="*/ 163487 h 165833"/>
                <a:gd name="connsiteX17" fmla="*/ 159701 w 171824"/>
                <a:gd name="connsiteY17" fmla="*/ 163447 h 165833"/>
                <a:gd name="connsiteX18" fmla="*/ 143605 w 171824"/>
                <a:gd name="connsiteY18" fmla="*/ 163393 h 165833"/>
                <a:gd name="connsiteX19" fmla="*/ 127515 w 171824"/>
                <a:gd name="connsiteY19" fmla="*/ 163342 h 165833"/>
                <a:gd name="connsiteX20" fmla="*/ 111417 w 171824"/>
                <a:gd name="connsiteY20" fmla="*/ 163286 h 165833"/>
                <a:gd name="connsiteX21" fmla="*/ 103331 w 171824"/>
                <a:gd name="connsiteY21" fmla="*/ 163257 h 165833"/>
                <a:gd name="connsiteX22" fmla="*/ 94425 w 171824"/>
                <a:gd name="connsiteY22" fmla="*/ 163233 h 165833"/>
                <a:gd name="connsiteX23" fmla="*/ 91537 w 171824"/>
                <a:gd name="connsiteY23" fmla="*/ 163605 h 165833"/>
                <a:gd name="connsiteX24" fmla="*/ 89576 w 171824"/>
                <a:gd name="connsiteY24" fmla="*/ 165416 h 165833"/>
                <a:gd name="connsiteX25" fmla="*/ 87211 w 171824"/>
                <a:gd name="connsiteY25" fmla="*/ 165833 h 165833"/>
                <a:gd name="connsiteX26" fmla="*/ 84463 w 171824"/>
                <a:gd name="connsiteY26" fmla="*/ 164285 h 165833"/>
                <a:gd name="connsiteX27" fmla="*/ 81120 w 171824"/>
                <a:gd name="connsiteY27" fmla="*/ 163543 h 165833"/>
                <a:gd name="connsiteX28" fmla="*/ 80217 w 171824"/>
                <a:gd name="connsiteY28" fmla="*/ 161947 h 165833"/>
                <a:gd name="connsiteX29" fmla="*/ 78551 w 171824"/>
                <a:gd name="connsiteY29" fmla="*/ 159043 h 165833"/>
                <a:gd name="connsiteX30" fmla="*/ 75238 w 171824"/>
                <a:gd name="connsiteY30" fmla="*/ 158733 h 165833"/>
                <a:gd name="connsiteX31" fmla="*/ 73572 w 171824"/>
                <a:gd name="connsiteY31" fmla="*/ 159043 h 165833"/>
                <a:gd name="connsiteX32" fmla="*/ 71183 w 171824"/>
                <a:gd name="connsiteY32" fmla="*/ 160704 h 165833"/>
                <a:gd name="connsiteX33" fmla="*/ 68499 w 171824"/>
                <a:gd name="connsiteY33" fmla="*/ 161575 h 165833"/>
                <a:gd name="connsiteX34" fmla="*/ 69008 w 171824"/>
                <a:gd name="connsiteY34" fmla="*/ 160243 h 165833"/>
                <a:gd name="connsiteX35" fmla="*/ 63704 w 171824"/>
                <a:gd name="connsiteY35" fmla="*/ 156670 h 165833"/>
                <a:gd name="connsiteX36" fmla="*/ 59882 w 171824"/>
                <a:gd name="connsiteY36" fmla="*/ 156322 h 165833"/>
                <a:gd name="connsiteX37" fmla="*/ 56365 w 171824"/>
                <a:gd name="connsiteY37" fmla="*/ 155221 h 165833"/>
                <a:gd name="connsiteX38" fmla="*/ 59218 w 171824"/>
                <a:gd name="connsiteY38" fmla="*/ 145913 h 165833"/>
                <a:gd name="connsiteX39" fmla="*/ 62780 w 171824"/>
                <a:gd name="connsiteY39" fmla="*/ 137685 h 165833"/>
                <a:gd name="connsiteX40" fmla="*/ 68113 w 171824"/>
                <a:gd name="connsiteY40" fmla="*/ 131468 h 165833"/>
                <a:gd name="connsiteX41" fmla="*/ 70947 w 171824"/>
                <a:gd name="connsiteY41" fmla="*/ 129971 h 165833"/>
                <a:gd name="connsiteX42" fmla="*/ 71866 w 171824"/>
                <a:gd name="connsiteY42" fmla="*/ 126885 h 165833"/>
                <a:gd name="connsiteX43" fmla="*/ 76082 w 171824"/>
                <a:gd name="connsiteY43" fmla="*/ 116749 h 165833"/>
                <a:gd name="connsiteX44" fmla="*/ 81305 w 171824"/>
                <a:gd name="connsiteY44" fmla="*/ 108523 h 165833"/>
                <a:gd name="connsiteX45" fmla="*/ 79684 w 171824"/>
                <a:gd name="connsiteY45" fmla="*/ 100185 h 165833"/>
                <a:gd name="connsiteX46" fmla="*/ 17855 w 171824"/>
                <a:gd name="connsiteY46" fmla="*/ 0 h 165833"/>
                <a:gd name="connsiteX47" fmla="*/ 19318 w 171824"/>
                <a:gd name="connsiteY47" fmla="*/ 236 h 165833"/>
                <a:gd name="connsiteX48" fmla="*/ 28178 w 171824"/>
                <a:gd name="connsiteY48" fmla="*/ 5 h 165833"/>
                <a:gd name="connsiteX49" fmla="*/ 30583 w 171824"/>
                <a:gd name="connsiteY49" fmla="*/ 3142 h 165833"/>
                <a:gd name="connsiteX50" fmla="*/ 30313 w 171824"/>
                <a:gd name="connsiteY50" fmla="*/ 7755 h 165833"/>
                <a:gd name="connsiteX51" fmla="*/ 21198 w 171824"/>
                <a:gd name="connsiteY51" fmla="*/ 21225 h 165833"/>
                <a:gd name="connsiteX52" fmla="*/ 19497 w 171824"/>
                <a:gd name="connsiteY52" fmla="*/ 26903 h 165833"/>
                <a:gd name="connsiteX53" fmla="*/ 15975 w 171824"/>
                <a:gd name="connsiteY53" fmla="*/ 31706 h 165833"/>
                <a:gd name="connsiteX54" fmla="*/ 12913 w 171824"/>
                <a:gd name="connsiteY54" fmla="*/ 32094 h 165833"/>
                <a:gd name="connsiteX55" fmla="*/ 2405 w 171824"/>
                <a:gd name="connsiteY55" fmla="*/ 29274 h 165833"/>
                <a:gd name="connsiteX56" fmla="*/ 630 w 171824"/>
                <a:gd name="connsiteY56" fmla="*/ 27562 h 165833"/>
                <a:gd name="connsiteX57" fmla="*/ 0 w 171824"/>
                <a:gd name="connsiteY57" fmla="*/ 25256 h 165833"/>
                <a:gd name="connsiteX58" fmla="*/ 1034 w 171824"/>
                <a:gd name="connsiteY58" fmla="*/ 19891 h 165833"/>
                <a:gd name="connsiteX59" fmla="*/ 1797 w 171824"/>
                <a:gd name="connsiteY59" fmla="*/ 18249 h 165833"/>
                <a:gd name="connsiteX60" fmla="*/ 6841 w 171824"/>
                <a:gd name="connsiteY60" fmla="*/ 17239 h 165833"/>
                <a:gd name="connsiteX61" fmla="*/ 8467 w 171824"/>
                <a:gd name="connsiteY61" fmla="*/ 16363 h 165833"/>
                <a:gd name="connsiteX62" fmla="*/ 11162 w 171824"/>
                <a:gd name="connsiteY62" fmla="*/ 10575 h 165833"/>
                <a:gd name="connsiteX63" fmla="*/ 12048 w 171824"/>
                <a:gd name="connsiteY63" fmla="*/ 5306 h 165833"/>
                <a:gd name="connsiteX64" fmla="*/ 14309 w 171824"/>
                <a:gd name="connsiteY64" fmla="*/ 1326 h 165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71824" h="165833">
                  <a:moveTo>
                    <a:pt x="80935" y="86187"/>
                  </a:moveTo>
                  <a:lnTo>
                    <a:pt x="82438" y="86581"/>
                  </a:lnTo>
                  <a:lnTo>
                    <a:pt x="82687" y="87904"/>
                  </a:lnTo>
                  <a:lnTo>
                    <a:pt x="83075" y="89865"/>
                  </a:lnTo>
                  <a:lnTo>
                    <a:pt x="85042" y="91590"/>
                  </a:lnTo>
                  <a:lnTo>
                    <a:pt x="91542" y="94287"/>
                  </a:lnTo>
                  <a:lnTo>
                    <a:pt x="110919" y="94290"/>
                  </a:lnTo>
                  <a:lnTo>
                    <a:pt x="122482" y="94295"/>
                  </a:lnTo>
                  <a:lnTo>
                    <a:pt x="139579" y="94298"/>
                  </a:lnTo>
                  <a:lnTo>
                    <a:pt x="157684" y="94303"/>
                  </a:lnTo>
                  <a:lnTo>
                    <a:pt x="171433" y="94308"/>
                  </a:lnTo>
                  <a:lnTo>
                    <a:pt x="171513" y="108025"/>
                  </a:lnTo>
                  <a:lnTo>
                    <a:pt x="171577" y="119621"/>
                  </a:lnTo>
                  <a:lnTo>
                    <a:pt x="171644" y="132170"/>
                  </a:lnTo>
                  <a:lnTo>
                    <a:pt x="171722" y="145246"/>
                  </a:lnTo>
                  <a:lnTo>
                    <a:pt x="171783" y="156317"/>
                  </a:lnTo>
                  <a:lnTo>
                    <a:pt x="171824" y="163487"/>
                  </a:lnTo>
                  <a:lnTo>
                    <a:pt x="159701" y="163447"/>
                  </a:lnTo>
                  <a:lnTo>
                    <a:pt x="143605" y="163393"/>
                  </a:lnTo>
                  <a:lnTo>
                    <a:pt x="127515" y="163342"/>
                  </a:lnTo>
                  <a:lnTo>
                    <a:pt x="111417" y="163286"/>
                  </a:lnTo>
                  <a:lnTo>
                    <a:pt x="103331" y="163257"/>
                  </a:lnTo>
                  <a:lnTo>
                    <a:pt x="94425" y="163233"/>
                  </a:lnTo>
                  <a:lnTo>
                    <a:pt x="91537" y="163605"/>
                  </a:lnTo>
                  <a:lnTo>
                    <a:pt x="89576" y="165416"/>
                  </a:lnTo>
                  <a:lnTo>
                    <a:pt x="87211" y="165833"/>
                  </a:lnTo>
                  <a:lnTo>
                    <a:pt x="84463" y="164285"/>
                  </a:lnTo>
                  <a:lnTo>
                    <a:pt x="81120" y="163543"/>
                  </a:lnTo>
                  <a:lnTo>
                    <a:pt x="80217" y="161947"/>
                  </a:lnTo>
                  <a:lnTo>
                    <a:pt x="78551" y="159043"/>
                  </a:lnTo>
                  <a:lnTo>
                    <a:pt x="75238" y="158733"/>
                  </a:lnTo>
                  <a:lnTo>
                    <a:pt x="73572" y="159043"/>
                  </a:lnTo>
                  <a:lnTo>
                    <a:pt x="71183" y="160704"/>
                  </a:lnTo>
                  <a:lnTo>
                    <a:pt x="68499" y="161575"/>
                  </a:lnTo>
                  <a:lnTo>
                    <a:pt x="69008" y="160243"/>
                  </a:lnTo>
                  <a:lnTo>
                    <a:pt x="63704" y="156670"/>
                  </a:lnTo>
                  <a:lnTo>
                    <a:pt x="59882" y="156322"/>
                  </a:lnTo>
                  <a:lnTo>
                    <a:pt x="56365" y="155221"/>
                  </a:lnTo>
                  <a:lnTo>
                    <a:pt x="59218" y="145913"/>
                  </a:lnTo>
                  <a:lnTo>
                    <a:pt x="62780" y="137685"/>
                  </a:lnTo>
                  <a:lnTo>
                    <a:pt x="68113" y="131468"/>
                  </a:lnTo>
                  <a:lnTo>
                    <a:pt x="70947" y="129971"/>
                  </a:lnTo>
                  <a:lnTo>
                    <a:pt x="71866" y="126885"/>
                  </a:lnTo>
                  <a:lnTo>
                    <a:pt x="76082" y="116749"/>
                  </a:lnTo>
                  <a:lnTo>
                    <a:pt x="81305" y="108523"/>
                  </a:lnTo>
                  <a:lnTo>
                    <a:pt x="79684" y="100185"/>
                  </a:lnTo>
                  <a:close/>
                  <a:moveTo>
                    <a:pt x="17855" y="0"/>
                  </a:moveTo>
                  <a:lnTo>
                    <a:pt x="19318" y="236"/>
                  </a:lnTo>
                  <a:lnTo>
                    <a:pt x="28178" y="5"/>
                  </a:lnTo>
                  <a:lnTo>
                    <a:pt x="30583" y="3142"/>
                  </a:lnTo>
                  <a:lnTo>
                    <a:pt x="30313" y="7755"/>
                  </a:lnTo>
                  <a:lnTo>
                    <a:pt x="21198" y="21225"/>
                  </a:lnTo>
                  <a:lnTo>
                    <a:pt x="19497" y="26903"/>
                  </a:lnTo>
                  <a:lnTo>
                    <a:pt x="15975" y="31706"/>
                  </a:lnTo>
                  <a:lnTo>
                    <a:pt x="12913" y="32094"/>
                  </a:lnTo>
                  <a:lnTo>
                    <a:pt x="2405" y="29274"/>
                  </a:lnTo>
                  <a:lnTo>
                    <a:pt x="630" y="27562"/>
                  </a:lnTo>
                  <a:lnTo>
                    <a:pt x="0" y="25256"/>
                  </a:lnTo>
                  <a:lnTo>
                    <a:pt x="1034" y="19891"/>
                  </a:lnTo>
                  <a:lnTo>
                    <a:pt x="1797" y="18249"/>
                  </a:lnTo>
                  <a:lnTo>
                    <a:pt x="6841" y="17239"/>
                  </a:lnTo>
                  <a:lnTo>
                    <a:pt x="8467" y="16363"/>
                  </a:lnTo>
                  <a:lnTo>
                    <a:pt x="11162" y="10575"/>
                  </a:lnTo>
                  <a:lnTo>
                    <a:pt x="12048" y="5306"/>
                  </a:lnTo>
                  <a:lnTo>
                    <a:pt x="14309" y="1326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05" name="ee4p_KE_1_82333">
              <a:extLst>
                <a:ext uri="{FF2B5EF4-FFF2-40B4-BE49-F238E27FC236}">
                  <a16:creationId xmlns:a16="http://schemas.microsoft.com/office/drawing/2014/main" id="{E55F1451-3CBD-89E8-7435-8AD230691AB9}"/>
                </a:ext>
              </a:extLst>
            </p:cNvPr>
            <p:cNvSpPr>
              <a:spLocks noChangeAspect="1"/>
            </p:cNvSpPr>
            <p:nvPr>
              <p:custDataLst>
                <p:tags r:id="rId133"/>
              </p:custDataLst>
            </p:nvPr>
          </p:nvSpPr>
          <p:spPr>
            <a:xfrm>
              <a:off x="7456082" y="4520865"/>
              <a:ext cx="221709" cy="290772"/>
            </a:xfrm>
            <a:custGeom>
              <a:avLst/>
              <a:gdLst>
                <a:gd name="connsiteX0" fmla="*/ 425616 w 472877"/>
                <a:gd name="connsiteY0" fmla="*/ 446254 h 603740"/>
                <a:gd name="connsiteX1" fmla="*/ 428260 w 472877"/>
                <a:gd name="connsiteY1" fmla="*/ 447232 h 603740"/>
                <a:gd name="connsiteX2" fmla="*/ 428769 w 472877"/>
                <a:gd name="connsiteY2" fmla="*/ 448228 h 603740"/>
                <a:gd name="connsiteX3" fmla="*/ 428624 w 472877"/>
                <a:gd name="connsiteY3" fmla="*/ 449131 h 603740"/>
                <a:gd name="connsiteX4" fmla="*/ 427518 w 472877"/>
                <a:gd name="connsiteY4" fmla="*/ 450023 h 603740"/>
                <a:gd name="connsiteX5" fmla="*/ 420192 w 472877"/>
                <a:gd name="connsiteY5" fmla="*/ 453476 h 603740"/>
                <a:gd name="connsiteX6" fmla="*/ 417993 w 472877"/>
                <a:gd name="connsiteY6" fmla="*/ 454003 h 603740"/>
                <a:gd name="connsiteX7" fmla="*/ 419126 w 472877"/>
                <a:gd name="connsiteY7" fmla="*/ 450596 h 603740"/>
                <a:gd name="connsiteX8" fmla="*/ 81045 w 472877"/>
                <a:gd name="connsiteY8" fmla="*/ 0 h 603740"/>
                <a:gd name="connsiteX9" fmla="*/ 80777 w 472877"/>
                <a:gd name="connsiteY9" fmla="*/ 2041 h 603740"/>
                <a:gd name="connsiteX10" fmla="*/ 80825 w 472877"/>
                <a:gd name="connsiteY10" fmla="*/ 4765 h 603740"/>
                <a:gd name="connsiteX11" fmla="*/ 82183 w 472877"/>
                <a:gd name="connsiteY11" fmla="*/ 6429 h 603740"/>
                <a:gd name="connsiteX12" fmla="*/ 84417 w 472877"/>
                <a:gd name="connsiteY12" fmla="*/ 7567 h 603740"/>
                <a:gd name="connsiteX13" fmla="*/ 87535 w 472877"/>
                <a:gd name="connsiteY13" fmla="*/ 6364 h 603740"/>
                <a:gd name="connsiteX14" fmla="*/ 90265 w 472877"/>
                <a:gd name="connsiteY14" fmla="*/ 4693 h 603740"/>
                <a:gd name="connsiteX15" fmla="*/ 92908 w 472877"/>
                <a:gd name="connsiteY15" fmla="*/ 4347 h 603740"/>
                <a:gd name="connsiteX16" fmla="*/ 109277 w 472877"/>
                <a:gd name="connsiteY16" fmla="*/ 8810 h 603740"/>
                <a:gd name="connsiteX17" fmla="*/ 112025 w 472877"/>
                <a:gd name="connsiteY17" fmla="*/ 12694 h 603740"/>
                <a:gd name="connsiteX18" fmla="*/ 111851 w 472877"/>
                <a:gd name="connsiteY18" fmla="*/ 16880 h 603740"/>
                <a:gd name="connsiteX19" fmla="*/ 112550 w 472877"/>
                <a:gd name="connsiteY19" fmla="*/ 19918 h 603740"/>
                <a:gd name="connsiteX20" fmla="*/ 111307 w 472877"/>
                <a:gd name="connsiteY20" fmla="*/ 22969 h 603740"/>
                <a:gd name="connsiteX21" fmla="*/ 109936 w 472877"/>
                <a:gd name="connsiteY21" fmla="*/ 32175 h 603740"/>
                <a:gd name="connsiteX22" fmla="*/ 110346 w 472877"/>
                <a:gd name="connsiteY22" fmla="*/ 40634 h 603740"/>
                <a:gd name="connsiteX23" fmla="*/ 115234 w 472877"/>
                <a:gd name="connsiteY23" fmla="*/ 46888 h 603740"/>
                <a:gd name="connsiteX24" fmla="*/ 119630 w 472877"/>
                <a:gd name="connsiteY24" fmla="*/ 51803 h 603740"/>
                <a:gd name="connsiteX25" fmla="*/ 123117 w 472877"/>
                <a:gd name="connsiteY25" fmla="*/ 58690 h 603740"/>
                <a:gd name="connsiteX26" fmla="*/ 125680 w 472877"/>
                <a:gd name="connsiteY26" fmla="*/ 60809 h 603740"/>
                <a:gd name="connsiteX27" fmla="*/ 129232 w 472877"/>
                <a:gd name="connsiteY27" fmla="*/ 61899 h 603740"/>
                <a:gd name="connsiteX28" fmla="*/ 140482 w 472877"/>
                <a:gd name="connsiteY28" fmla="*/ 62196 h 603740"/>
                <a:gd name="connsiteX29" fmla="*/ 157132 w 472877"/>
                <a:gd name="connsiteY29" fmla="*/ 62638 h 603740"/>
                <a:gd name="connsiteX30" fmla="*/ 173160 w 472877"/>
                <a:gd name="connsiteY30" fmla="*/ 63061 h 603740"/>
                <a:gd name="connsiteX31" fmla="*/ 174618 w 472877"/>
                <a:gd name="connsiteY31" fmla="*/ 63227 h 603740"/>
                <a:gd name="connsiteX32" fmla="*/ 178014 w 472877"/>
                <a:gd name="connsiteY32" fmla="*/ 64167 h 603740"/>
                <a:gd name="connsiteX33" fmla="*/ 192762 w 472877"/>
                <a:gd name="connsiteY33" fmla="*/ 73481 h 603740"/>
                <a:gd name="connsiteX34" fmla="*/ 206262 w 472877"/>
                <a:gd name="connsiteY34" fmla="*/ 82007 h 603740"/>
                <a:gd name="connsiteX35" fmla="*/ 217691 w 472877"/>
                <a:gd name="connsiteY35" fmla="*/ 89415 h 603740"/>
                <a:gd name="connsiteX36" fmla="*/ 228791 w 472877"/>
                <a:gd name="connsiteY36" fmla="*/ 96610 h 603740"/>
                <a:gd name="connsiteX37" fmla="*/ 239572 w 472877"/>
                <a:gd name="connsiteY37" fmla="*/ 103604 h 603740"/>
                <a:gd name="connsiteX38" fmla="*/ 247937 w 472877"/>
                <a:gd name="connsiteY38" fmla="*/ 109411 h 603740"/>
                <a:gd name="connsiteX39" fmla="*/ 256179 w 472877"/>
                <a:gd name="connsiteY39" fmla="*/ 111181 h 603740"/>
                <a:gd name="connsiteX40" fmla="*/ 269580 w 472877"/>
                <a:gd name="connsiteY40" fmla="*/ 112020 h 603740"/>
                <a:gd name="connsiteX41" fmla="*/ 278848 w 472877"/>
                <a:gd name="connsiteY41" fmla="*/ 112301 h 603740"/>
                <a:gd name="connsiteX42" fmla="*/ 287419 w 472877"/>
                <a:gd name="connsiteY42" fmla="*/ 114738 h 603740"/>
                <a:gd name="connsiteX43" fmla="*/ 300156 w 472877"/>
                <a:gd name="connsiteY43" fmla="*/ 117015 h 603740"/>
                <a:gd name="connsiteX44" fmla="*/ 309665 w 472877"/>
                <a:gd name="connsiteY44" fmla="*/ 118186 h 603740"/>
                <a:gd name="connsiteX45" fmla="*/ 315418 w 472877"/>
                <a:gd name="connsiteY45" fmla="*/ 119496 h 603740"/>
                <a:gd name="connsiteX46" fmla="*/ 331347 w 472877"/>
                <a:gd name="connsiteY46" fmla="*/ 120840 h 603740"/>
                <a:gd name="connsiteX47" fmla="*/ 333980 w 472877"/>
                <a:gd name="connsiteY47" fmla="*/ 120063 h 603740"/>
                <a:gd name="connsiteX48" fmla="*/ 341006 w 472877"/>
                <a:gd name="connsiteY48" fmla="*/ 113621 h 603740"/>
                <a:gd name="connsiteX49" fmla="*/ 348873 w 472877"/>
                <a:gd name="connsiteY49" fmla="*/ 103159 h 603740"/>
                <a:gd name="connsiteX50" fmla="*/ 351945 w 472877"/>
                <a:gd name="connsiteY50" fmla="*/ 97392 h 603740"/>
                <a:gd name="connsiteX51" fmla="*/ 362132 w 472877"/>
                <a:gd name="connsiteY51" fmla="*/ 91671 h 603740"/>
                <a:gd name="connsiteX52" fmla="*/ 380009 w 472877"/>
                <a:gd name="connsiteY52" fmla="*/ 83675 h 603740"/>
                <a:gd name="connsiteX53" fmla="*/ 392606 w 472877"/>
                <a:gd name="connsiteY53" fmla="*/ 78045 h 603740"/>
                <a:gd name="connsiteX54" fmla="*/ 406615 w 472877"/>
                <a:gd name="connsiteY54" fmla="*/ 72383 h 603740"/>
                <a:gd name="connsiteX55" fmla="*/ 412979 w 472877"/>
                <a:gd name="connsiteY55" fmla="*/ 77290 h 603740"/>
                <a:gd name="connsiteX56" fmla="*/ 421751 w 472877"/>
                <a:gd name="connsiteY56" fmla="*/ 85173 h 603740"/>
                <a:gd name="connsiteX57" fmla="*/ 425686 w 472877"/>
                <a:gd name="connsiteY57" fmla="*/ 89059 h 603740"/>
                <a:gd name="connsiteX58" fmla="*/ 428839 w 472877"/>
                <a:gd name="connsiteY58" fmla="*/ 90779 h 603740"/>
                <a:gd name="connsiteX59" fmla="*/ 433604 w 472877"/>
                <a:gd name="connsiteY59" fmla="*/ 91931 h 603740"/>
                <a:gd name="connsiteX60" fmla="*/ 439411 w 472877"/>
                <a:gd name="connsiteY60" fmla="*/ 91960 h 603740"/>
                <a:gd name="connsiteX61" fmla="*/ 442579 w 472877"/>
                <a:gd name="connsiteY61" fmla="*/ 91773 h 603740"/>
                <a:gd name="connsiteX62" fmla="*/ 449064 w 472877"/>
                <a:gd name="connsiteY62" fmla="*/ 90760 h 603740"/>
                <a:gd name="connsiteX63" fmla="*/ 464214 w 472877"/>
                <a:gd name="connsiteY63" fmla="*/ 89825 h 603740"/>
                <a:gd name="connsiteX64" fmla="*/ 472877 w 472877"/>
                <a:gd name="connsiteY64" fmla="*/ 89903 h 603740"/>
                <a:gd name="connsiteX65" fmla="*/ 465591 w 472877"/>
                <a:gd name="connsiteY65" fmla="*/ 100349 h 603740"/>
                <a:gd name="connsiteX66" fmla="*/ 456856 w 472877"/>
                <a:gd name="connsiteY66" fmla="*/ 112871 h 603740"/>
                <a:gd name="connsiteX67" fmla="*/ 440763 w 472877"/>
                <a:gd name="connsiteY67" fmla="*/ 135926 h 603740"/>
                <a:gd name="connsiteX68" fmla="*/ 428514 w 472877"/>
                <a:gd name="connsiteY68" fmla="*/ 148054 h 603740"/>
                <a:gd name="connsiteX69" fmla="*/ 419260 w 472877"/>
                <a:gd name="connsiteY69" fmla="*/ 157220 h 603740"/>
                <a:gd name="connsiteX70" fmla="*/ 418414 w 472877"/>
                <a:gd name="connsiteY70" fmla="*/ 158870 h 603740"/>
                <a:gd name="connsiteX71" fmla="*/ 418451 w 472877"/>
                <a:gd name="connsiteY71" fmla="*/ 169081 h 603740"/>
                <a:gd name="connsiteX72" fmla="*/ 418548 w 472877"/>
                <a:gd name="connsiteY72" fmla="*/ 194056 h 603740"/>
                <a:gd name="connsiteX73" fmla="*/ 418746 w 472877"/>
                <a:gd name="connsiteY73" fmla="*/ 243986 h 603740"/>
                <a:gd name="connsiteX74" fmla="*/ 418936 w 472877"/>
                <a:gd name="connsiteY74" fmla="*/ 293906 h 603740"/>
                <a:gd name="connsiteX75" fmla="*/ 419131 w 472877"/>
                <a:gd name="connsiteY75" fmla="*/ 343821 h 603740"/>
                <a:gd name="connsiteX76" fmla="*/ 419231 w 472877"/>
                <a:gd name="connsiteY76" fmla="*/ 368780 h 603740"/>
                <a:gd name="connsiteX77" fmla="*/ 419260 w 472877"/>
                <a:gd name="connsiteY77" fmla="*/ 377166 h 603740"/>
                <a:gd name="connsiteX78" fmla="*/ 427379 w 472877"/>
                <a:gd name="connsiteY78" fmla="*/ 387661 h 603740"/>
                <a:gd name="connsiteX79" fmla="*/ 435315 w 472877"/>
                <a:gd name="connsiteY79" fmla="*/ 397912 h 603740"/>
                <a:gd name="connsiteX80" fmla="*/ 445807 w 472877"/>
                <a:gd name="connsiteY80" fmla="*/ 411476 h 603740"/>
                <a:gd name="connsiteX81" fmla="*/ 451429 w 472877"/>
                <a:gd name="connsiteY81" fmla="*/ 418748 h 603740"/>
                <a:gd name="connsiteX82" fmla="*/ 452362 w 472877"/>
                <a:gd name="connsiteY82" fmla="*/ 421172 h 603740"/>
                <a:gd name="connsiteX83" fmla="*/ 452072 w 472877"/>
                <a:gd name="connsiteY83" fmla="*/ 426039 h 603740"/>
                <a:gd name="connsiteX84" fmla="*/ 443437 w 472877"/>
                <a:gd name="connsiteY84" fmla="*/ 436210 h 603740"/>
                <a:gd name="connsiteX85" fmla="*/ 436363 w 472877"/>
                <a:gd name="connsiteY85" fmla="*/ 440833 h 603740"/>
                <a:gd name="connsiteX86" fmla="*/ 426848 w 472877"/>
                <a:gd name="connsiteY86" fmla="*/ 443043 h 603740"/>
                <a:gd name="connsiteX87" fmla="*/ 423996 w 472877"/>
                <a:gd name="connsiteY87" fmla="*/ 442622 h 603740"/>
                <a:gd name="connsiteX88" fmla="*/ 420254 w 472877"/>
                <a:gd name="connsiteY88" fmla="*/ 441162 h 603740"/>
                <a:gd name="connsiteX89" fmla="*/ 418786 w 472877"/>
                <a:gd name="connsiteY89" fmla="*/ 443605 h 603740"/>
                <a:gd name="connsiteX90" fmla="*/ 417685 w 472877"/>
                <a:gd name="connsiteY90" fmla="*/ 447406 h 603740"/>
                <a:gd name="connsiteX91" fmla="*/ 415580 w 472877"/>
                <a:gd name="connsiteY91" fmla="*/ 446608 h 603740"/>
                <a:gd name="connsiteX92" fmla="*/ 413991 w 472877"/>
                <a:gd name="connsiteY92" fmla="*/ 445485 h 603740"/>
                <a:gd name="connsiteX93" fmla="*/ 414945 w 472877"/>
                <a:gd name="connsiteY93" fmla="*/ 452238 h 603740"/>
                <a:gd name="connsiteX94" fmla="*/ 415923 w 472877"/>
                <a:gd name="connsiteY94" fmla="*/ 455570 h 603740"/>
                <a:gd name="connsiteX95" fmla="*/ 414495 w 472877"/>
                <a:gd name="connsiteY95" fmla="*/ 460084 h 603740"/>
                <a:gd name="connsiteX96" fmla="*/ 409866 w 472877"/>
                <a:gd name="connsiteY96" fmla="*/ 464021 h 603740"/>
                <a:gd name="connsiteX97" fmla="*/ 409457 w 472877"/>
                <a:gd name="connsiteY97" fmla="*/ 467342 h 603740"/>
                <a:gd name="connsiteX98" fmla="*/ 399444 w 472877"/>
                <a:gd name="connsiteY98" fmla="*/ 476058 h 603740"/>
                <a:gd name="connsiteX99" fmla="*/ 385251 w 472877"/>
                <a:gd name="connsiteY99" fmla="*/ 477017 h 603740"/>
                <a:gd name="connsiteX100" fmla="*/ 377788 w 472877"/>
                <a:gd name="connsiteY100" fmla="*/ 481343 h 603740"/>
                <a:gd name="connsiteX101" fmla="*/ 374469 w 472877"/>
                <a:gd name="connsiteY101" fmla="*/ 484884 h 603740"/>
                <a:gd name="connsiteX102" fmla="*/ 371941 w 472877"/>
                <a:gd name="connsiteY102" fmla="*/ 492628 h 603740"/>
                <a:gd name="connsiteX103" fmla="*/ 372825 w 472877"/>
                <a:gd name="connsiteY103" fmla="*/ 504497 h 603740"/>
                <a:gd name="connsiteX104" fmla="*/ 368879 w 472877"/>
                <a:gd name="connsiteY104" fmla="*/ 513631 h 603740"/>
                <a:gd name="connsiteX105" fmla="*/ 368129 w 472877"/>
                <a:gd name="connsiteY105" fmla="*/ 518211 h 603740"/>
                <a:gd name="connsiteX106" fmla="*/ 360801 w 472877"/>
                <a:gd name="connsiteY106" fmla="*/ 524147 h 603740"/>
                <a:gd name="connsiteX107" fmla="*/ 357549 w 472877"/>
                <a:gd name="connsiteY107" fmla="*/ 529589 h 603740"/>
                <a:gd name="connsiteX108" fmla="*/ 355149 w 472877"/>
                <a:gd name="connsiteY108" fmla="*/ 535126 h 603740"/>
                <a:gd name="connsiteX109" fmla="*/ 353057 w 472877"/>
                <a:gd name="connsiteY109" fmla="*/ 537553 h 603740"/>
                <a:gd name="connsiteX110" fmla="*/ 350579 w 472877"/>
                <a:gd name="connsiteY110" fmla="*/ 549965 h 603740"/>
                <a:gd name="connsiteX111" fmla="*/ 347162 w 472877"/>
                <a:gd name="connsiteY111" fmla="*/ 557500 h 603740"/>
                <a:gd name="connsiteX112" fmla="*/ 346237 w 472877"/>
                <a:gd name="connsiteY112" fmla="*/ 559996 h 603740"/>
                <a:gd name="connsiteX113" fmla="*/ 345396 w 472877"/>
                <a:gd name="connsiteY113" fmla="*/ 562254 h 603740"/>
                <a:gd name="connsiteX114" fmla="*/ 342747 w 472877"/>
                <a:gd name="connsiteY114" fmla="*/ 566682 h 603740"/>
                <a:gd name="connsiteX115" fmla="*/ 341036 w 472877"/>
                <a:gd name="connsiteY115" fmla="*/ 569722 h 603740"/>
                <a:gd name="connsiteX116" fmla="*/ 339798 w 472877"/>
                <a:gd name="connsiteY116" fmla="*/ 571723 h 603740"/>
                <a:gd name="connsiteX117" fmla="*/ 331141 w 472877"/>
                <a:gd name="connsiteY117" fmla="*/ 591041 h 603740"/>
                <a:gd name="connsiteX118" fmla="*/ 324391 w 472877"/>
                <a:gd name="connsiteY118" fmla="*/ 599770 h 603740"/>
                <a:gd name="connsiteX119" fmla="*/ 319090 w 472877"/>
                <a:gd name="connsiteY119" fmla="*/ 598765 h 603740"/>
                <a:gd name="connsiteX120" fmla="*/ 315576 w 472877"/>
                <a:gd name="connsiteY120" fmla="*/ 602146 h 603740"/>
                <a:gd name="connsiteX121" fmla="*/ 315198 w 472877"/>
                <a:gd name="connsiteY121" fmla="*/ 603740 h 603740"/>
                <a:gd name="connsiteX122" fmla="*/ 313326 w 472877"/>
                <a:gd name="connsiteY122" fmla="*/ 602842 h 603740"/>
                <a:gd name="connsiteX123" fmla="*/ 308901 w 472877"/>
                <a:gd name="connsiteY123" fmla="*/ 599652 h 603740"/>
                <a:gd name="connsiteX124" fmla="*/ 299807 w 472877"/>
                <a:gd name="connsiteY124" fmla="*/ 593092 h 603740"/>
                <a:gd name="connsiteX125" fmla="*/ 290717 w 472877"/>
                <a:gd name="connsiteY125" fmla="*/ 586533 h 603740"/>
                <a:gd name="connsiteX126" fmla="*/ 281623 w 472877"/>
                <a:gd name="connsiteY126" fmla="*/ 579973 h 603740"/>
                <a:gd name="connsiteX127" fmla="*/ 272529 w 472877"/>
                <a:gd name="connsiteY127" fmla="*/ 573418 h 603740"/>
                <a:gd name="connsiteX128" fmla="*/ 263438 w 472877"/>
                <a:gd name="connsiteY128" fmla="*/ 566861 h 603740"/>
                <a:gd name="connsiteX129" fmla="*/ 254347 w 472877"/>
                <a:gd name="connsiteY129" fmla="*/ 560302 h 603740"/>
                <a:gd name="connsiteX130" fmla="*/ 245254 w 472877"/>
                <a:gd name="connsiteY130" fmla="*/ 553747 h 603740"/>
                <a:gd name="connsiteX131" fmla="*/ 236160 w 472877"/>
                <a:gd name="connsiteY131" fmla="*/ 547190 h 603740"/>
                <a:gd name="connsiteX132" fmla="*/ 230827 w 472877"/>
                <a:gd name="connsiteY132" fmla="*/ 543344 h 603740"/>
                <a:gd name="connsiteX133" fmla="*/ 228467 w 472877"/>
                <a:gd name="connsiteY133" fmla="*/ 541072 h 603740"/>
                <a:gd name="connsiteX134" fmla="*/ 226616 w 472877"/>
                <a:gd name="connsiteY134" fmla="*/ 536543 h 603740"/>
                <a:gd name="connsiteX135" fmla="*/ 225722 w 472877"/>
                <a:gd name="connsiteY135" fmla="*/ 535420 h 603740"/>
                <a:gd name="connsiteX136" fmla="*/ 223297 w 472877"/>
                <a:gd name="connsiteY136" fmla="*/ 533996 h 603740"/>
                <a:gd name="connsiteX137" fmla="*/ 220450 w 472877"/>
                <a:gd name="connsiteY137" fmla="*/ 533685 h 603740"/>
                <a:gd name="connsiteX138" fmla="*/ 219631 w 472877"/>
                <a:gd name="connsiteY138" fmla="*/ 532828 h 603740"/>
                <a:gd name="connsiteX139" fmla="*/ 219660 w 472877"/>
                <a:gd name="connsiteY139" fmla="*/ 530645 h 603740"/>
                <a:gd name="connsiteX140" fmla="*/ 220648 w 472877"/>
                <a:gd name="connsiteY140" fmla="*/ 527500 h 603740"/>
                <a:gd name="connsiteX141" fmla="*/ 223991 w 472877"/>
                <a:gd name="connsiteY141" fmla="*/ 521484 h 603740"/>
                <a:gd name="connsiteX142" fmla="*/ 224355 w 472877"/>
                <a:gd name="connsiteY142" fmla="*/ 517951 h 603740"/>
                <a:gd name="connsiteX143" fmla="*/ 223697 w 472877"/>
                <a:gd name="connsiteY143" fmla="*/ 513933 h 603740"/>
                <a:gd name="connsiteX144" fmla="*/ 222649 w 472877"/>
                <a:gd name="connsiteY144" fmla="*/ 507507 h 603740"/>
                <a:gd name="connsiteX145" fmla="*/ 221741 w 472877"/>
                <a:gd name="connsiteY145" fmla="*/ 506048 h 603740"/>
                <a:gd name="connsiteX146" fmla="*/ 215720 w 472877"/>
                <a:gd name="connsiteY146" fmla="*/ 502678 h 603740"/>
                <a:gd name="connsiteX147" fmla="*/ 203093 w 472877"/>
                <a:gd name="connsiteY147" fmla="*/ 495628 h 603740"/>
                <a:gd name="connsiteX148" fmla="*/ 190466 w 472877"/>
                <a:gd name="connsiteY148" fmla="*/ 488570 h 603740"/>
                <a:gd name="connsiteX149" fmla="*/ 177840 w 472877"/>
                <a:gd name="connsiteY149" fmla="*/ 481520 h 603740"/>
                <a:gd name="connsiteX150" fmla="*/ 165213 w 472877"/>
                <a:gd name="connsiteY150" fmla="*/ 474465 h 603740"/>
                <a:gd name="connsiteX151" fmla="*/ 152594 w 472877"/>
                <a:gd name="connsiteY151" fmla="*/ 467412 h 603740"/>
                <a:gd name="connsiteX152" fmla="*/ 139960 w 472877"/>
                <a:gd name="connsiteY152" fmla="*/ 460362 h 603740"/>
                <a:gd name="connsiteX153" fmla="*/ 127338 w 472877"/>
                <a:gd name="connsiteY153" fmla="*/ 453315 h 603740"/>
                <a:gd name="connsiteX154" fmla="*/ 114720 w 472877"/>
                <a:gd name="connsiteY154" fmla="*/ 446260 h 603740"/>
                <a:gd name="connsiteX155" fmla="*/ 102093 w 472877"/>
                <a:gd name="connsiteY155" fmla="*/ 439207 h 603740"/>
                <a:gd name="connsiteX156" fmla="*/ 89466 w 472877"/>
                <a:gd name="connsiteY156" fmla="*/ 432160 h 603740"/>
                <a:gd name="connsiteX157" fmla="*/ 76845 w 472877"/>
                <a:gd name="connsiteY157" fmla="*/ 425107 h 603740"/>
                <a:gd name="connsiteX158" fmla="*/ 64218 w 472877"/>
                <a:gd name="connsiteY158" fmla="*/ 418054 h 603740"/>
                <a:gd name="connsiteX159" fmla="*/ 51592 w 472877"/>
                <a:gd name="connsiteY159" fmla="*/ 411007 h 603740"/>
                <a:gd name="connsiteX160" fmla="*/ 38968 w 472877"/>
                <a:gd name="connsiteY160" fmla="*/ 403955 h 603740"/>
                <a:gd name="connsiteX161" fmla="*/ 26338 w 472877"/>
                <a:gd name="connsiteY161" fmla="*/ 396910 h 603740"/>
                <a:gd name="connsiteX162" fmla="*/ 13720 w 472877"/>
                <a:gd name="connsiteY162" fmla="*/ 389857 h 603740"/>
                <a:gd name="connsiteX163" fmla="*/ 8976 w 472877"/>
                <a:gd name="connsiteY163" fmla="*/ 387208 h 603740"/>
                <a:gd name="connsiteX164" fmla="*/ 4701 w 472877"/>
                <a:gd name="connsiteY164" fmla="*/ 384969 h 603740"/>
                <a:gd name="connsiteX165" fmla="*/ 190 w 472877"/>
                <a:gd name="connsiteY165" fmla="*/ 384969 h 603740"/>
                <a:gd name="connsiteX166" fmla="*/ 0 w 472877"/>
                <a:gd name="connsiteY166" fmla="*/ 374876 h 603740"/>
                <a:gd name="connsiteX167" fmla="*/ 1444 w 472877"/>
                <a:gd name="connsiteY167" fmla="*/ 349184 h 603740"/>
                <a:gd name="connsiteX168" fmla="*/ 1273 w 472877"/>
                <a:gd name="connsiteY168" fmla="*/ 326625 h 603740"/>
                <a:gd name="connsiteX169" fmla="*/ 2556 w 472877"/>
                <a:gd name="connsiteY169" fmla="*/ 315327 h 603740"/>
                <a:gd name="connsiteX170" fmla="*/ 8124 w 472877"/>
                <a:gd name="connsiteY170" fmla="*/ 308175 h 603740"/>
                <a:gd name="connsiteX171" fmla="*/ 10693 w 472877"/>
                <a:gd name="connsiteY171" fmla="*/ 302965 h 603740"/>
                <a:gd name="connsiteX172" fmla="*/ 12539 w 472877"/>
                <a:gd name="connsiteY172" fmla="*/ 295701 h 603740"/>
                <a:gd name="connsiteX173" fmla="*/ 15453 w 472877"/>
                <a:gd name="connsiteY173" fmla="*/ 289773 h 603740"/>
                <a:gd name="connsiteX174" fmla="*/ 22066 w 472877"/>
                <a:gd name="connsiteY174" fmla="*/ 284963 h 603740"/>
                <a:gd name="connsiteX175" fmla="*/ 23250 w 472877"/>
                <a:gd name="connsiteY175" fmla="*/ 282308 h 603740"/>
                <a:gd name="connsiteX176" fmla="*/ 30254 w 472877"/>
                <a:gd name="connsiteY176" fmla="*/ 274249 h 603740"/>
                <a:gd name="connsiteX177" fmla="*/ 34454 w 472877"/>
                <a:gd name="connsiteY177" fmla="*/ 263891 h 603740"/>
                <a:gd name="connsiteX178" fmla="*/ 37623 w 472877"/>
                <a:gd name="connsiteY178" fmla="*/ 260374 h 603740"/>
                <a:gd name="connsiteX179" fmla="*/ 41574 w 472877"/>
                <a:gd name="connsiteY179" fmla="*/ 257122 h 603740"/>
                <a:gd name="connsiteX180" fmla="*/ 44368 w 472877"/>
                <a:gd name="connsiteY180" fmla="*/ 255413 h 603740"/>
                <a:gd name="connsiteX181" fmla="*/ 48967 w 472877"/>
                <a:gd name="connsiteY181" fmla="*/ 253696 h 603740"/>
                <a:gd name="connsiteX182" fmla="*/ 52569 w 472877"/>
                <a:gd name="connsiteY182" fmla="*/ 252721 h 603740"/>
                <a:gd name="connsiteX183" fmla="*/ 53223 w 472877"/>
                <a:gd name="connsiteY183" fmla="*/ 251904 h 603740"/>
                <a:gd name="connsiteX184" fmla="*/ 53531 w 472877"/>
                <a:gd name="connsiteY184" fmla="*/ 250225 h 603740"/>
                <a:gd name="connsiteX185" fmla="*/ 52334 w 472877"/>
                <a:gd name="connsiteY185" fmla="*/ 243810 h 603740"/>
                <a:gd name="connsiteX186" fmla="*/ 53871 w 472877"/>
                <a:gd name="connsiteY186" fmla="*/ 241704 h 603740"/>
                <a:gd name="connsiteX187" fmla="*/ 56325 w 472877"/>
                <a:gd name="connsiteY187" fmla="*/ 237421 h 603740"/>
                <a:gd name="connsiteX188" fmla="*/ 59129 w 472877"/>
                <a:gd name="connsiteY188" fmla="*/ 233422 h 603740"/>
                <a:gd name="connsiteX189" fmla="*/ 61668 w 472877"/>
                <a:gd name="connsiteY189" fmla="*/ 230888 h 603740"/>
                <a:gd name="connsiteX190" fmla="*/ 63091 w 472877"/>
                <a:gd name="connsiteY190" fmla="*/ 228277 h 603740"/>
                <a:gd name="connsiteX191" fmla="*/ 63755 w 472877"/>
                <a:gd name="connsiteY191" fmla="*/ 223758 h 603740"/>
                <a:gd name="connsiteX192" fmla="*/ 63860 w 472877"/>
                <a:gd name="connsiteY192" fmla="*/ 220557 h 603740"/>
                <a:gd name="connsiteX193" fmla="*/ 63819 w 472877"/>
                <a:gd name="connsiteY193" fmla="*/ 215329 h 603740"/>
                <a:gd name="connsiteX194" fmla="*/ 63021 w 472877"/>
                <a:gd name="connsiteY194" fmla="*/ 203449 h 603740"/>
                <a:gd name="connsiteX195" fmla="*/ 60053 w 472877"/>
                <a:gd name="connsiteY195" fmla="*/ 193506 h 603740"/>
                <a:gd name="connsiteX196" fmla="*/ 58221 w 472877"/>
                <a:gd name="connsiteY196" fmla="*/ 182382 h 603740"/>
                <a:gd name="connsiteX197" fmla="*/ 59568 w 472877"/>
                <a:gd name="connsiteY197" fmla="*/ 178721 h 603740"/>
                <a:gd name="connsiteX198" fmla="*/ 57227 w 472877"/>
                <a:gd name="connsiteY198" fmla="*/ 172201 h 603740"/>
                <a:gd name="connsiteX199" fmla="*/ 56070 w 472877"/>
                <a:gd name="connsiteY199" fmla="*/ 171842 h 603740"/>
                <a:gd name="connsiteX200" fmla="*/ 54161 w 472877"/>
                <a:gd name="connsiteY200" fmla="*/ 170417 h 603740"/>
                <a:gd name="connsiteX201" fmla="*/ 51731 w 472877"/>
                <a:gd name="connsiteY201" fmla="*/ 164275 h 603740"/>
                <a:gd name="connsiteX202" fmla="*/ 49899 w 472877"/>
                <a:gd name="connsiteY202" fmla="*/ 158664 h 603740"/>
                <a:gd name="connsiteX203" fmla="*/ 48758 w 472877"/>
                <a:gd name="connsiteY203" fmla="*/ 157250 h 603740"/>
                <a:gd name="connsiteX204" fmla="*/ 40816 w 472877"/>
                <a:gd name="connsiteY204" fmla="*/ 152343 h 603740"/>
                <a:gd name="connsiteX205" fmla="*/ 36873 w 472877"/>
                <a:gd name="connsiteY205" fmla="*/ 140769 h 603740"/>
                <a:gd name="connsiteX206" fmla="*/ 32448 w 472877"/>
                <a:gd name="connsiteY206" fmla="*/ 138189 h 603740"/>
                <a:gd name="connsiteX207" fmla="*/ 30043 w 472877"/>
                <a:gd name="connsiteY207" fmla="*/ 126685 h 603740"/>
                <a:gd name="connsiteX208" fmla="*/ 29579 w 472877"/>
                <a:gd name="connsiteY208" fmla="*/ 123414 h 603740"/>
                <a:gd name="connsiteX209" fmla="*/ 32089 w 472877"/>
                <a:gd name="connsiteY209" fmla="*/ 111937 h 603740"/>
                <a:gd name="connsiteX210" fmla="*/ 31846 w 472877"/>
                <a:gd name="connsiteY210" fmla="*/ 109306 h 603740"/>
                <a:gd name="connsiteX211" fmla="*/ 29191 w 472877"/>
                <a:gd name="connsiteY211" fmla="*/ 106880 h 603740"/>
                <a:gd name="connsiteX212" fmla="*/ 21739 w 472877"/>
                <a:gd name="connsiteY212" fmla="*/ 104410 h 603740"/>
                <a:gd name="connsiteX213" fmla="*/ 15697 w 472877"/>
                <a:gd name="connsiteY213" fmla="*/ 99674 h 603740"/>
                <a:gd name="connsiteX214" fmla="*/ 16479 w 472877"/>
                <a:gd name="connsiteY214" fmla="*/ 98022 h 603740"/>
                <a:gd name="connsiteX215" fmla="*/ 16923 w 472877"/>
                <a:gd name="connsiteY215" fmla="*/ 96307 h 603740"/>
                <a:gd name="connsiteX216" fmla="*/ 13741 w 472877"/>
                <a:gd name="connsiteY216" fmla="*/ 95156 h 603740"/>
                <a:gd name="connsiteX217" fmla="*/ 4506 w 472877"/>
                <a:gd name="connsiteY217" fmla="*/ 75516 h 603740"/>
                <a:gd name="connsiteX218" fmla="*/ 16396 w 472877"/>
                <a:gd name="connsiteY218" fmla="*/ 63717 h 603740"/>
                <a:gd name="connsiteX219" fmla="*/ 28438 w 472877"/>
                <a:gd name="connsiteY219" fmla="*/ 51755 h 603740"/>
                <a:gd name="connsiteX220" fmla="*/ 43819 w 472877"/>
                <a:gd name="connsiteY220" fmla="*/ 36627 h 603740"/>
                <a:gd name="connsiteX221" fmla="*/ 57943 w 472877"/>
                <a:gd name="connsiteY221" fmla="*/ 22730 h 603740"/>
                <a:gd name="connsiteX222" fmla="*/ 70154 w 472877"/>
                <a:gd name="connsiteY222" fmla="*/ 10717 h 603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</a:cxnLst>
              <a:rect l="l" t="t" r="r" b="b"/>
              <a:pathLst>
                <a:path w="472877" h="603740">
                  <a:moveTo>
                    <a:pt x="425616" y="446254"/>
                  </a:moveTo>
                  <a:lnTo>
                    <a:pt x="428260" y="447232"/>
                  </a:lnTo>
                  <a:lnTo>
                    <a:pt x="428769" y="448228"/>
                  </a:lnTo>
                  <a:lnTo>
                    <a:pt x="428624" y="449131"/>
                  </a:lnTo>
                  <a:lnTo>
                    <a:pt x="427518" y="450023"/>
                  </a:lnTo>
                  <a:lnTo>
                    <a:pt x="420192" y="453476"/>
                  </a:lnTo>
                  <a:lnTo>
                    <a:pt x="417993" y="454003"/>
                  </a:lnTo>
                  <a:lnTo>
                    <a:pt x="419126" y="450596"/>
                  </a:lnTo>
                  <a:close/>
                  <a:moveTo>
                    <a:pt x="81045" y="0"/>
                  </a:moveTo>
                  <a:lnTo>
                    <a:pt x="80777" y="2041"/>
                  </a:lnTo>
                  <a:lnTo>
                    <a:pt x="80825" y="4765"/>
                  </a:lnTo>
                  <a:lnTo>
                    <a:pt x="82183" y="6429"/>
                  </a:lnTo>
                  <a:lnTo>
                    <a:pt x="84417" y="7567"/>
                  </a:lnTo>
                  <a:lnTo>
                    <a:pt x="87535" y="6364"/>
                  </a:lnTo>
                  <a:lnTo>
                    <a:pt x="90265" y="4693"/>
                  </a:lnTo>
                  <a:lnTo>
                    <a:pt x="92908" y="4347"/>
                  </a:lnTo>
                  <a:lnTo>
                    <a:pt x="109277" y="8810"/>
                  </a:lnTo>
                  <a:lnTo>
                    <a:pt x="112025" y="12694"/>
                  </a:lnTo>
                  <a:lnTo>
                    <a:pt x="111851" y="16880"/>
                  </a:lnTo>
                  <a:lnTo>
                    <a:pt x="112550" y="19918"/>
                  </a:lnTo>
                  <a:lnTo>
                    <a:pt x="111307" y="22969"/>
                  </a:lnTo>
                  <a:lnTo>
                    <a:pt x="109936" y="32175"/>
                  </a:lnTo>
                  <a:lnTo>
                    <a:pt x="110346" y="40634"/>
                  </a:lnTo>
                  <a:lnTo>
                    <a:pt x="115234" y="46888"/>
                  </a:lnTo>
                  <a:lnTo>
                    <a:pt x="119630" y="51803"/>
                  </a:lnTo>
                  <a:lnTo>
                    <a:pt x="123117" y="58690"/>
                  </a:lnTo>
                  <a:lnTo>
                    <a:pt x="125680" y="60809"/>
                  </a:lnTo>
                  <a:lnTo>
                    <a:pt x="129232" y="61899"/>
                  </a:lnTo>
                  <a:lnTo>
                    <a:pt x="140482" y="62196"/>
                  </a:lnTo>
                  <a:lnTo>
                    <a:pt x="157132" y="62638"/>
                  </a:lnTo>
                  <a:lnTo>
                    <a:pt x="173160" y="63061"/>
                  </a:lnTo>
                  <a:lnTo>
                    <a:pt x="174618" y="63227"/>
                  </a:lnTo>
                  <a:lnTo>
                    <a:pt x="178014" y="64167"/>
                  </a:lnTo>
                  <a:lnTo>
                    <a:pt x="192762" y="73481"/>
                  </a:lnTo>
                  <a:lnTo>
                    <a:pt x="206262" y="82007"/>
                  </a:lnTo>
                  <a:lnTo>
                    <a:pt x="217691" y="89415"/>
                  </a:lnTo>
                  <a:lnTo>
                    <a:pt x="228791" y="96610"/>
                  </a:lnTo>
                  <a:lnTo>
                    <a:pt x="239572" y="103604"/>
                  </a:lnTo>
                  <a:lnTo>
                    <a:pt x="247937" y="109411"/>
                  </a:lnTo>
                  <a:lnTo>
                    <a:pt x="256179" y="111181"/>
                  </a:lnTo>
                  <a:lnTo>
                    <a:pt x="269580" y="112020"/>
                  </a:lnTo>
                  <a:lnTo>
                    <a:pt x="278848" y="112301"/>
                  </a:lnTo>
                  <a:lnTo>
                    <a:pt x="287419" y="114738"/>
                  </a:lnTo>
                  <a:lnTo>
                    <a:pt x="300156" y="117015"/>
                  </a:lnTo>
                  <a:lnTo>
                    <a:pt x="309665" y="118186"/>
                  </a:lnTo>
                  <a:lnTo>
                    <a:pt x="315418" y="119496"/>
                  </a:lnTo>
                  <a:lnTo>
                    <a:pt x="331347" y="120840"/>
                  </a:lnTo>
                  <a:lnTo>
                    <a:pt x="333980" y="120063"/>
                  </a:lnTo>
                  <a:lnTo>
                    <a:pt x="341006" y="113621"/>
                  </a:lnTo>
                  <a:lnTo>
                    <a:pt x="348873" y="103159"/>
                  </a:lnTo>
                  <a:lnTo>
                    <a:pt x="351945" y="97392"/>
                  </a:lnTo>
                  <a:lnTo>
                    <a:pt x="362132" y="91671"/>
                  </a:lnTo>
                  <a:lnTo>
                    <a:pt x="380009" y="83675"/>
                  </a:lnTo>
                  <a:lnTo>
                    <a:pt x="392606" y="78045"/>
                  </a:lnTo>
                  <a:lnTo>
                    <a:pt x="406615" y="72383"/>
                  </a:lnTo>
                  <a:lnTo>
                    <a:pt x="412979" y="77290"/>
                  </a:lnTo>
                  <a:lnTo>
                    <a:pt x="421751" y="85173"/>
                  </a:lnTo>
                  <a:lnTo>
                    <a:pt x="425686" y="89059"/>
                  </a:lnTo>
                  <a:lnTo>
                    <a:pt x="428839" y="90779"/>
                  </a:lnTo>
                  <a:lnTo>
                    <a:pt x="433604" y="91931"/>
                  </a:lnTo>
                  <a:lnTo>
                    <a:pt x="439411" y="91960"/>
                  </a:lnTo>
                  <a:lnTo>
                    <a:pt x="442579" y="91773"/>
                  </a:lnTo>
                  <a:lnTo>
                    <a:pt x="449064" y="90760"/>
                  </a:lnTo>
                  <a:lnTo>
                    <a:pt x="464214" y="89825"/>
                  </a:lnTo>
                  <a:lnTo>
                    <a:pt x="472877" y="89903"/>
                  </a:lnTo>
                  <a:lnTo>
                    <a:pt x="465591" y="100349"/>
                  </a:lnTo>
                  <a:lnTo>
                    <a:pt x="456856" y="112871"/>
                  </a:lnTo>
                  <a:lnTo>
                    <a:pt x="440763" y="135926"/>
                  </a:lnTo>
                  <a:lnTo>
                    <a:pt x="428514" y="148054"/>
                  </a:lnTo>
                  <a:lnTo>
                    <a:pt x="419260" y="157220"/>
                  </a:lnTo>
                  <a:lnTo>
                    <a:pt x="418414" y="158870"/>
                  </a:lnTo>
                  <a:lnTo>
                    <a:pt x="418451" y="169081"/>
                  </a:lnTo>
                  <a:lnTo>
                    <a:pt x="418548" y="194056"/>
                  </a:lnTo>
                  <a:lnTo>
                    <a:pt x="418746" y="243986"/>
                  </a:lnTo>
                  <a:lnTo>
                    <a:pt x="418936" y="293906"/>
                  </a:lnTo>
                  <a:lnTo>
                    <a:pt x="419131" y="343821"/>
                  </a:lnTo>
                  <a:lnTo>
                    <a:pt x="419231" y="368780"/>
                  </a:lnTo>
                  <a:lnTo>
                    <a:pt x="419260" y="377166"/>
                  </a:lnTo>
                  <a:lnTo>
                    <a:pt x="427379" y="387661"/>
                  </a:lnTo>
                  <a:lnTo>
                    <a:pt x="435315" y="397912"/>
                  </a:lnTo>
                  <a:lnTo>
                    <a:pt x="445807" y="411476"/>
                  </a:lnTo>
                  <a:lnTo>
                    <a:pt x="451429" y="418748"/>
                  </a:lnTo>
                  <a:lnTo>
                    <a:pt x="452362" y="421172"/>
                  </a:lnTo>
                  <a:lnTo>
                    <a:pt x="452072" y="426039"/>
                  </a:lnTo>
                  <a:lnTo>
                    <a:pt x="443437" y="436210"/>
                  </a:lnTo>
                  <a:lnTo>
                    <a:pt x="436363" y="440833"/>
                  </a:lnTo>
                  <a:lnTo>
                    <a:pt x="426848" y="443043"/>
                  </a:lnTo>
                  <a:lnTo>
                    <a:pt x="423996" y="442622"/>
                  </a:lnTo>
                  <a:lnTo>
                    <a:pt x="420254" y="441162"/>
                  </a:lnTo>
                  <a:lnTo>
                    <a:pt x="418786" y="443605"/>
                  </a:lnTo>
                  <a:lnTo>
                    <a:pt x="417685" y="447406"/>
                  </a:lnTo>
                  <a:lnTo>
                    <a:pt x="415580" y="446608"/>
                  </a:lnTo>
                  <a:lnTo>
                    <a:pt x="413991" y="445485"/>
                  </a:lnTo>
                  <a:lnTo>
                    <a:pt x="414945" y="452238"/>
                  </a:lnTo>
                  <a:lnTo>
                    <a:pt x="415923" y="455570"/>
                  </a:lnTo>
                  <a:lnTo>
                    <a:pt x="414495" y="460084"/>
                  </a:lnTo>
                  <a:lnTo>
                    <a:pt x="409866" y="464021"/>
                  </a:lnTo>
                  <a:lnTo>
                    <a:pt x="409457" y="467342"/>
                  </a:lnTo>
                  <a:lnTo>
                    <a:pt x="399444" y="476058"/>
                  </a:lnTo>
                  <a:lnTo>
                    <a:pt x="385251" y="477017"/>
                  </a:lnTo>
                  <a:lnTo>
                    <a:pt x="377788" y="481343"/>
                  </a:lnTo>
                  <a:lnTo>
                    <a:pt x="374469" y="484884"/>
                  </a:lnTo>
                  <a:lnTo>
                    <a:pt x="371941" y="492628"/>
                  </a:lnTo>
                  <a:lnTo>
                    <a:pt x="372825" y="504497"/>
                  </a:lnTo>
                  <a:lnTo>
                    <a:pt x="368879" y="513631"/>
                  </a:lnTo>
                  <a:lnTo>
                    <a:pt x="368129" y="518211"/>
                  </a:lnTo>
                  <a:lnTo>
                    <a:pt x="360801" y="524147"/>
                  </a:lnTo>
                  <a:lnTo>
                    <a:pt x="357549" y="529589"/>
                  </a:lnTo>
                  <a:lnTo>
                    <a:pt x="355149" y="535126"/>
                  </a:lnTo>
                  <a:lnTo>
                    <a:pt x="353057" y="537553"/>
                  </a:lnTo>
                  <a:lnTo>
                    <a:pt x="350579" y="549965"/>
                  </a:lnTo>
                  <a:lnTo>
                    <a:pt x="347162" y="557500"/>
                  </a:lnTo>
                  <a:lnTo>
                    <a:pt x="346237" y="559996"/>
                  </a:lnTo>
                  <a:lnTo>
                    <a:pt x="345396" y="562254"/>
                  </a:lnTo>
                  <a:lnTo>
                    <a:pt x="342747" y="566682"/>
                  </a:lnTo>
                  <a:lnTo>
                    <a:pt x="341036" y="569722"/>
                  </a:lnTo>
                  <a:lnTo>
                    <a:pt x="339798" y="571723"/>
                  </a:lnTo>
                  <a:lnTo>
                    <a:pt x="331141" y="591041"/>
                  </a:lnTo>
                  <a:lnTo>
                    <a:pt x="324391" y="599770"/>
                  </a:lnTo>
                  <a:lnTo>
                    <a:pt x="319090" y="598765"/>
                  </a:lnTo>
                  <a:lnTo>
                    <a:pt x="315576" y="602146"/>
                  </a:lnTo>
                  <a:lnTo>
                    <a:pt x="315198" y="603740"/>
                  </a:lnTo>
                  <a:lnTo>
                    <a:pt x="313326" y="602842"/>
                  </a:lnTo>
                  <a:lnTo>
                    <a:pt x="308901" y="599652"/>
                  </a:lnTo>
                  <a:lnTo>
                    <a:pt x="299807" y="593092"/>
                  </a:lnTo>
                  <a:lnTo>
                    <a:pt x="290717" y="586533"/>
                  </a:lnTo>
                  <a:lnTo>
                    <a:pt x="281623" y="579973"/>
                  </a:lnTo>
                  <a:lnTo>
                    <a:pt x="272529" y="573418"/>
                  </a:lnTo>
                  <a:lnTo>
                    <a:pt x="263438" y="566861"/>
                  </a:lnTo>
                  <a:lnTo>
                    <a:pt x="254347" y="560302"/>
                  </a:lnTo>
                  <a:lnTo>
                    <a:pt x="245254" y="553747"/>
                  </a:lnTo>
                  <a:lnTo>
                    <a:pt x="236160" y="547190"/>
                  </a:lnTo>
                  <a:lnTo>
                    <a:pt x="230827" y="543344"/>
                  </a:lnTo>
                  <a:lnTo>
                    <a:pt x="228467" y="541072"/>
                  </a:lnTo>
                  <a:lnTo>
                    <a:pt x="226616" y="536543"/>
                  </a:lnTo>
                  <a:lnTo>
                    <a:pt x="225722" y="535420"/>
                  </a:lnTo>
                  <a:lnTo>
                    <a:pt x="223297" y="533996"/>
                  </a:lnTo>
                  <a:lnTo>
                    <a:pt x="220450" y="533685"/>
                  </a:lnTo>
                  <a:lnTo>
                    <a:pt x="219631" y="532828"/>
                  </a:lnTo>
                  <a:lnTo>
                    <a:pt x="219660" y="530645"/>
                  </a:lnTo>
                  <a:lnTo>
                    <a:pt x="220648" y="527500"/>
                  </a:lnTo>
                  <a:lnTo>
                    <a:pt x="223991" y="521484"/>
                  </a:lnTo>
                  <a:lnTo>
                    <a:pt x="224355" y="517951"/>
                  </a:lnTo>
                  <a:lnTo>
                    <a:pt x="223697" y="513933"/>
                  </a:lnTo>
                  <a:lnTo>
                    <a:pt x="222649" y="507507"/>
                  </a:lnTo>
                  <a:lnTo>
                    <a:pt x="221741" y="506048"/>
                  </a:lnTo>
                  <a:lnTo>
                    <a:pt x="215720" y="502678"/>
                  </a:lnTo>
                  <a:lnTo>
                    <a:pt x="203093" y="495628"/>
                  </a:lnTo>
                  <a:lnTo>
                    <a:pt x="190466" y="488570"/>
                  </a:lnTo>
                  <a:lnTo>
                    <a:pt x="177840" y="481520"/>
                  </a:lnTo>
                  <a:lnTo>
                    <a:pt x="165213" y="474465"/>
                  </a:lnTo>
                  <a:lnTo>
                    <a:pt x="152594" y="467412"/>
                  </a:lnTo>
                  <a:lnTo>
                    <a:pt x="139960" y="460362"/>
                  </a:lnTo>
                  <a:lnTo>
                    <a:pt x="127338" y="453315"/>
                  </a:lnTo>
                  <a:lnTo>
                    <a:pt x="114720" y="446260"/>
                  </a:lnTo>
                  <a:lnTo>
                    <a:pt x="102093" y="439207"/>
                  </a:lnTo>
                  <a:lnTo>
                    <a:pt x="89466" y="432160"/>
                  </a:lnTo>
                  <a:lnTo>
                    <a:pt x="76845" y="425107"/>
                  </a:lnTo>
                  <a:lnTo>
                    <a:pt x="64218" y="418054"/>
                  </a:lnTo>
                  <a:lnTo>
                    <a:pt x="51592" y="411007"/>
                  </a:lnTo>
                  <a:lnTo>
                    <a:pt x="38968" y="403955"/>
                  </a:lnTo>
                  <a:lnTo>
                    <a:pt x="26338" y="396910"/>
                  </a:lnTo>
                  <a:lnTo>
                    <a:pt x="13720" y="389857"/>
                  </a:lnTo>
                  <a:lnTo>
                    <a:pt x="8976" y="387208"/>
                  </a:lnTo>
                  <a:lnTo>
                    <a:pt x="4701" y="384969"/>
                  </a:lnTo>
                  <a:lnTo>
                    <a:pt x="190" y="384969"/>
                  </a:lnTo>
                  <a:lnTo>
                    <a:pt x="0" y="374876"/>
                  </a:lnTo>
                  <a:lnTo>
                    <a:pt x="1444" y="349184"/>
                  </a:lnTo>
                  <a:lnTo>
                    <a:pt x="1273" y="326625"/>
                  </a:lnTo>
                  <a:lnTo>
                    <a:pt x="2556" y="315327"/>
                  </a:lnTo>
                  <a:lnTo>
                    <a:pt x="8124" y="308175"/>
                  </a:lnTo>
                  <a:lnTo>
                    <a:pt x="10693" y="302965"/>
                  </a:lnTo>
                  <a:lnTo>
                    <a:pt x="12539" y="295701"/>
                  </a:lnTo>
                  <a:lnTo>
                    <a:pt x="15453" y="289773"/>
                  </a:lnTo>
                  <a:lnTo>
                    <a:pt x="22066" y="284963"/>
                  </a:lnTo>
                  <a:lnTo>
                    <a:pt x="23250" y="282308"/>
                  </a:lnTo>
                  <a:lnTo>
                    <a:pt x="30254" y="274249"/>
                  </a:lnTo>
                  <a:lnTo>
                    <a:pt x="34454" y="263891"/>
                  </a:lnTo>
                  <a:lnTo>
                    <a:pt x="37623" y="260374"/>
                  </a:lnTo>
                  <a:lnTo>
                    <a:pt x="41574" y="257122"/>
                  </a:lnTo>
                  <a:lnTo>
                    <a:pt x="44368" y="255413"/>
                  </a:lnTo>
                  <a:lnTo>
                    <a:pt x="48967" y="253696"/>
                  </a:lnTo>
                  <a:lnTo>
                    <a:pt x="52569" y="252721"/>
                  </a:lnTo>
                  <a:lnTo>
                    <a:pt x="53223" y="251904"/>
                  </a:lnTo>
                  <a:lnTo>
                    <a:pt x="53531" y="250225"/>
                  </a:lnTo>
                  <a:lnTo>
                    <a:pt x="52334" y="243810"/>
                  </a:lnTo>
                  <a:lnTo>
                    <a:pt x="53871" y="241704"/>
                  </a:lnTo>
                  <a:lnTo>
                    <a:pt x="56325" y="237421"/>
                  </a:lnTo>
                  <a:lnTo>
                    <a:pt x="59129" y="233422"/>
                  </a:lnTo>
                  <a:lnTo>
                    <a:pt x="61668" y="230888"/>
                  </a:lnTo>
                  <a:lnTo>
                    <a:pt x="63091" y="228277"/>
                  </a:lnTo>
                  <a:lnTo>
                    <a:pt x="63755" y="223758"/>
                  </a:lnTo>
                  <a:lnTo>
                    <a:pt x="63860" y="220557"/>
                  </a:lnTo>
                  <a:lnTo>
                    <a:pt x="63819" y="215329"/>
                  </a:lnTo>
                  <a:lnTo>
                    <a:pt x="63021" y="203449"/>
                  </a:lnTo>
                  <a:lnTo>
                    <a:pt x="60053" y="193506"/>
                  </a:lnTo>
                  <a:lnTo>
                    <a:pt x="58221" y="182382"/>
                  </a:lnTo>
                  <a:lnTo>
                    <a:pt x="59568" y="178721"/>
                  </a:lnTo>
                  <a:lnTo>
                    <a:pt x="57227" y="172201"/>
                  </a:lnTo>
                  <a:lnTo>
                    <a:pt x="56070" y="171842"/>
                  </a:lnTo>
                  <a:lnTo>
                    <a:pt x="54161" y="170417"/>
                  </a:lnTo>
                  <a:lnTo>
                    <a:pt x="51731" y="164275"/>
                  </a:lnTo>
                  <a:lnTo>
                    <a:pt x="49899" y="158664"/>
                  </a:lnTo>
                  <a:lnTo>
                    <a:pt x="48758" y="157250"/>
                  </a:lnTo>
                  <a:lnTo>
                    <a:pt x="40816" y="152343"/>
                  </a:lnTo>
                  <a:lnTo>
                    <a:pt x="36873" y="140769"/>
                  </a:lnTo>
                  <a:lnTo>
                    <a:pt x="32448" y="138189"/>
                  </a:lnTo>
                  <a:lnTo>
                    <a:pt x="30043" y="126685"/>
                  </a:lnTo>
                  <a:lnTo>
                    <a:pt x="29579" y="123414"/>
                  </a:lnTo>
                  <a:lnTo>
                    <a:pt x="32089" y="111937"/>
                  </a:lnTo>
                  <a:lnTo>
                    <a:pt x="31846" y="109306"/>
                  </a:lnTo>
                  <a:lnTo>
                    <a:pt x="29191" y="106880"/>
                  </a:lnTo>
                  <a:lnTo>
                    <a:pt x="21739" y="104410"/>
                  </a:lnTo>
                  <a:lnTo>
                    <a:pt x="15697" y="99674"/>
                  </a:lnTo>
                  <a:lnTo>
                    <a:pt x="16479" y="98022"/>
                  </a:lnTo>
                  <a:lnTo>
                    <a:pt x="16923" y="96307"/>
                  </a:lnTo>
                  <a:lnTo>
                    <a:pt x="13741" y="95156"/>
                  </a:lnTo>
                  <a:lnTo>
                    <a:pt x="4506" y="75516"/>
                  </a:lnTo>
                  <a:lnTo>
                    <a:pt x="16396" y="63717"/>
                  </a:lnTo>
                  <a:lnTo>
                    <a:pt x="28438" y="51755"/>
                  </a:lnTo>
                  <a:lnTo>
                    <a:pt x="43819" y="36627"/>
                  </a:lnTo>
                  <a:lnTo>
                    <a:pt x="57943" y="22730"/>
                  </a:lnTo>
                  <a:lnTo>
                    <a:pt x="70154" y="10717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06" name="ee4p_LR_1_82333">
              <a:extLst>
                <a:ext uri="{FF2B5EF4-FFF2-40B4-BE49-F238E27FC236}">
                  <a16:creationId xmlns:a16="http://schemas.microsoft.com/office/drawing/2014/main" id="{6F98F0A0-7674-35B9-993B-8D3FBC9DE33B}"/>
                </a:ext>
              </a:extLst>
            </p:cNvPr>
            <p:cNvSpPr>
              <a:spLocks noChangeAspect="1"/>
            </p:cNvSpPr>
            <p:nvPr>
              <p:custDataLst>
                <p:tags r:id="rId134"/>
              </p:custDataLst>
            </p:nvPr>
          </p:nvSpPr>
          <p:spPr>
            <a:xfrm>
              <a:off x="6195144" y="4433569"/>
              <a:ext cx="114068" cy="119922"/>
            </a:xfrm>
            <a:custGeom>
              <a:avLst/>
              <a:gdLst/>
              <a:ahLst/>
              <a:cxnLst/>
              <a:rect l="0" t="0" r="0" b="0"/>
              <a:pathLst>
                <a:path w="90830" h="92960">
                  <a:moveTo>
                    <a:pt x="66803" y="21790"/>
                  </a:moveTo>
                  <a:lnTo>
                    <a:pt x="67227" y="22045"/>
                  </a:lnTo>
                  <a:lnTo>
                    <a:pt x="67893" y="22726"/>
                  </a:lnTo>
                  <a:lnTo>
                    <a:pt x="68521" y="25051"/>
                  </a:lnTo>
                  <a:lnTo>
                    <a:pt x="71000" y="32559"/>
                  </a:lnTo>
                  <a:lnTo>
                    <a:pt x="70874" y="34627"/>
                  </a:lnTo>
                  <a:lnTo>
                    <a:pt x="70383" y="35981"/>
                  </a:lnTo>
                  <a:lnTo>
                    <a:pt x="70371" y="37305"/>
                  </a:lnTo>
                  <a:lnTo>
                    <a:pt x="70205" y="38612"/>
                  </a:lnTo>
                  <a:lnTo>
                    <a:pt x="68687" y="40754"/>
                  </a:lnTo>
                  <a:lnTo>
                    <a:pt x="64213" y="45135"/>
                  </a:lnTo>
                  <a:lnTo>
                    <a:pt x="64560" y="45519"/>
                  </a:lnTo>
                  <a:lnTo>
                    <a:pt x="65629" y="46018"/>
                  </a:lnTo>
                  <a:lnTo>
                    <a:pt x="66717" y="46277"/>
                  </a:lnTo>
                  <a:lnTo>
                    <a:pt x="67611" y="46142"/>
                  </a:lnTo>
                  <a:lnTo>
                    <a:pt x="68730" y="47236"/>
                  </a:lnTo>
                  <a:lnTo>
                    <a:pt x="69933" y="48611"/>
                  </a:lnTo>
                  <a:lnTo>
                    <a:pt x="71210" y="49326"/>
                  </a:lnTo>
                  <a:lnTo>
                    <a:pt x="73051" y="49955"/>
                  </a:lnTo>
                  <a:lnTo>
                    <a:pt x="74662" y="50025"/>
                  </a:lnTo>
                  <a:lnTo>
                    <a:pt x="76035" y="49785"/>
                  </a:lnTo>
                  <a:lnTo>
                    <a:pt x="77966" y="50057"/>
                  </a:lnTo>
                  <a:lnTo>
                    <a:pt x="80022" y="51195"/>
                  </a:lnTo>
                  <a:lnTo>
                    <a:pt x="80754" y="53075"/>
                  </a:lnTo>
                  <a:lnTo>
                    <a:pt x="81246" y="54712"/>
                  </a:lnTo>
                  <a:lnTo>
                    <a:pt x="81961" y="55544"/>
                  </a:lnTo>
                  <a:lnTo>
                    <a:pt x="82058" y="56960"/>
                  </a:lnTo>
                  <a:lnTo>
                    <a:pt x="83521" y="58204"/>
                  </a:lnTo>
                  <a:lnTo>
                    <a:pt x="85605" y="58455"/>
                  </a:lnTo>
                  <a:lnTo>
                    <a:pt x="88307" y="59912"/>
                  </a:lnTo>
                  <a:lnTo>
                    <a:pt x="88995" y="59835"/>
                  </a:lnTo>
                  <a:lnTo>
                    <a:pt x="89291" y="59653"/>
                  </a:lnTo>
                  <a:lnTo>
                    <a:pt x="89624" y="59928"/>
                  </a:lnTo>
                  <a:lnTo>
                    <a:pt x="90301" y="64143"/>
                  </a:lnTo>
                  <a:lnTo>
                    <a:pt x="90829" y="66377"/>
                  </a:lnTo>
                  <a:lnTo>
                    <a:pt x="90551" y="67279"/>
                  </a:lnTo>
                  <a:lnTo>
                    <a:pt x="90187" y="67989"/>
                  </a:lnTo>
                  <a:lnTo>
                    <a:pt x="90167" y="71390"/>
                  </a:lnTo>
                  <a:lnTo>
                    <a:pt x="88942" y="73343"/>
                  </a:lnTo>
                  <a:lnTo>
                    <a:pt x="88745" y="75486"/>
                  </a:lnTo>
                  <a:lnTo>
                    <a:pt x="88399" y="76180"/>
                  </a:lnTo>
                  <a:lnTo>
                    <a:pt x="87092" y="76797"/>
                  </a:lnTo>
                  <a:lnTo>
                    <a:pt x="87082" y="78442"/>
                  </a:lnTo>
                  <a:lnTo>
                    <a:pt x="86734" y="80430"/>
                  </a:lnTo>
                  <a:lnTo>
                    <a:pt x="86598" y="82540"/>
                  </a:lnTo>
                  <a:lnTo>
                    <a:pt x="86964" y="88063"/>
                  </a:lnTo>
                  <a:lnTo>
                    <a:pt x="87032" y="92181"/>
                  </a:lnTo>
                  <a:lnTo>
                    <a:pt x="87621" y="92959"/>
                  </a:lnTo>
                  <a:lnTo>
                    <a:pt x="85077" y="92616"/>
                  </a:lnTo>
                  <a:lnTo>
                    <a:pt x="77598" y="89473"/>
                  </a:lnTo>
                  <a:lnTo>
                    <a:pt x="71831" y="87671"/>
                  </a:lnTo>
                  <a:lnTo>
                    <a:pt x="52524" y="77374"/>
                  </a:lnTo>
                  <a:lnTo>
                    <a:pt x="47160" y="73241"/>
                  </a:lnTo>
                  <a:lnTo>
                    <a:pt x="40977" y="67084"/>
                  </a:lnTo>
                  <a:lnTo>
                    <a:pt x="27224" y="54684"/>
                  </a:lnTo>
                  <a:lnTo>
                    <a:pt x="24088" y="52693"/>
                  </a:lnTo>
                  <a:lnTo>
                    <a:pt x="20133" y="51726"/>
                  </a:lnTo>
                  <a:lnTo>
                    <a:pt x="17688" y="50670"/>
                  </a:lnTo>
                  <a:lnTo>
                    <a:pt x="15964" y="49523"/>
                  </a:lnTo>
                  <a:lnTo>
                    <a:pt x="14561" y="46084"/>
                  </a:lnTo>
                  <a:lnTo>
                    <a:pt x="11122" y="44035"/>
                  </a:lnTo>
                  <a:lnTo>
                    <a:pt x="4775" y="41129"/>
                  </a:lnTo>
                  <a:lnTo>
                    <a:pt x="0" y="36280"/>
                  </a:lnTo>
                  <a:lnTo>
                    <a:pt x="1172" y="35287"/>
                  </a:lnTo>
                  <a:lnTo>
                    <a:pt x="2894" y="32100"/>
                  </a:lnTo>
                  <a:lnTo>
                    <a:pt x="5304" y="29034"/>
                  </a:lnTo>
                  <a:lnTo>
                    <a:pt x="7550" y="27216"/>
                  </a:lnTo>
                  <a:lnTo>
                    <a:pt x="9334" y="25345"/>
                  </a:lnTo>
                  <a:lnTo>
                    <a:pt x="11218" y="23912"/>
                  </a:lnTo>
                  <a:lnTo>
                    <a:pt x="13919" y="22240"/>
                  </a:lnTo>
                  <a:lnTo>
                    <a:pt x="18049" y="17833"/>
                  </a:lnTo>
                  <a:lnTo>
                    <a:pt x="19018" y="17322"/>
                  </a:lnTo>
                  <a:lnTo>
                    <a:pt x="19679" y="14274"/>
                  </a:lnTo>
                  <a:lnTo>
                    <a:pt x="20712" y="10386"/>
                  </a:lnTo>
                  <a:lnTo>
                    <a:pt x="21908" y="9181"/>
                  </a:lnTo>
                  <a:lnTo>
                    <a:pt x="24721" y="8462"/>
                  </a:lnTo>
                  <a:lnTo>
                    <a:pt x="25379" y="7787"/>
                  </a:lnTo>
                  <a:lnTo>
                    <a:pt x="26377" y="5051"/>
                  </a:lnTo>
                  <a:lnTo>
                    <a:pt x="27017" y="1862"/>
                  </a:lnTo>
                  <a:lnTo>
                    <a:pt x="27073" y="1170"/>
                  </a:lnTo>
                  <a:lnTo>
                    <a:pt x="28182" y="1088"/>
                  </a:lnTo>
                  <a:lnTo>
                    <a:pt x="30075" y="400"/>
                  </a:lnTo>
                  <a:lnTo>
                    <a:pt x="31176" y="709"/>
                  </a:lnTo>
                  <a:lnTo>
                    <a:pt x="31661" y="1628"/>
                  </a:lnTo>
                  <a:lnTo>
                    <a:pt x="31912" y="2401"/>
                  </a:lnTo>
                  <a:lnTo>
                    <a:pt x="37653" y="412"/>
                  </a:lnTo>
                  <a:lnTo>
                    <a:pt x="38156" y="0"/>
                  </a:lnTo>
                  <a:lnTo>
                    <a:pt x="38459" y="70"/>
                  </a:lnTo>
                  <a:lnTo>
                    <a:pt x="39181" y="1865"/>
                  </a:lnTo>
                  <a:lnTo>
                    <a:pt x="39595" y="1755"/>
                  </a:lnTo>
                  <a:lnTo>
                    <a:pt x="39943" y="1237"/>
                  </a:lnTo>
                  <a:lnTo>
                    <a:pt x="40325" y="1187"/>
                  </a:lnTo>
                  <a:lnTo>
                    <a:pt x="40774" y="1429"/>
                  </a:lnTo>
                  <a:lnTo>
                    <a:pt x="41224" y="2264"/>
                  </a:lnTo>
                  <a:lnTo>
                    <a:pt x="41955" y="3014"/>
                  </a:lnTo>
                  <a:lnTo>
                    <a:pt x="43199" y="3542"/>
                  </a:lnTo>
                  <a:lnTo>
                    <a:pt x="43987" y="4267"/>
                  </a:lnTo>
                  <a:lnTo>
                    <a:pt x="43900" y="6183"/>
                  </a:lnTo>
                  <a:lnTo>
                    <a:pt x="44203" y="8047"/>
                  </a:lnTo>
                  <a:lnTo>
                    <a:pt x="44742" y="8476"/>
                  </a:lnTo>
                  <a:lnTo>
                    <a:pt x="45029" y="9589"/>
                  </a:lnTo>
                  <a:lnTo>
                    <a:pt x="45175" y="10810"/>
                  </a:lnTo>
                  <a:lnTo>
                    <a:pt x="45472" y="11452"/>
                  </a:lnTo>
                  <a:lnTo>
                    <a:pt x="45683" y="12683"/>
                  </a:lnTo>
                  <a:lnTo>
                    <a:pt x="45576" y="14005"/>
                  </a:lnTo>
                  <a:lnTo>
                    <a:pt x="45799" y="14935"/>
                  </a:lnTo>
                  <a:lnTo>
                    <a:pt x="46715" y="16538"/>
                  </a:lnTo>
                  <a:lnTo>
                    <a:pt x="47284" y="18558"/>
                  </a:lnTo>
                  <a:lnTo>
                    <a:pt x="47289" y="19987"/>
                  </a:lnTo>
                  <a:lnTo>
                    <a:pt x="46956" y="21492"/>
                  </a:lnTo>
                  <a:lnTo>
                    <a:pt x="46348" y="22869"/>
                  </a:lnTo>
                  <a:lnTo>
                    <a:pt x="45281" y="24368"/>
                  </a:lnTo>
                  <a:lnTo>
                    <a:pt x="45191" y="24961"/>
                  </a:lnTo>
                  <a:lnTo>
                    <a:pt x="45826" y="25349"/>
                  </a:lnTo>
                  <a:lnTo>
                    <a:pt x="46787" y="25427"/>
                  </a:lnTo>
                  <a:lnTo>
                    <a:pt x="47590" y="25120"/>
                  </a:lnTo>
                  <a:lnTo>
                    <a:pt x="49625" y="25809"/>
                  </a:lnTo>
                  <a:lnTo>
                    <a:pt x="50689" y="26797"/>
                  </a:lnTo>
                  <a:lnTo>
                    <a:pt x="51625" y="28016"/>
                  </a:lnTo>
                  <a:lnTo>
                    <a:pt x="52466" y="28635"/>
                  </a:lnTo>
                  <a:lnTo>
                    <a:pt x="52847" y="29405"/>
                  </a:lnTo>
                  <a:lnTo>
                    <a:pt x="54290" y="29193"/>
                  </a:lnTo>
                  <a:lnTo>
                    <a:pt x="55965" y="28450"/>
                  </a:lnTo>
                  <a:lnTo>
                    <a:pt x="56310" y="28101"/>
                  </a:lnTo>
                  <a:lnTo>
                    <a:pt x="56809" y="28289"/>
                  </a:lnTo>
                  <a:lnTo>
                    <a:pt x="57887" y="28366"/>
                  </a:lnTo>
                  <a:lnTo>
                    <a:pt x="58642" y="27030"/>
                  </a:lnTo>
                  <a:lnTo>
                    <a:pt x="59252" y="25493"/>
                  </a:lnTo>
                  <a:lnTo>
                    <a:pt x="60552" y="23829"/>
                  </a:lnTo>
                  <a:lnTo>
                    <a:pt x="61191" y="23186"/>
                  </a:lnTo>
                  <a:lnTo>
                    <a:pt x="61359" y="22122"/>
                  </a:lnTo>
                  <a:lnTo>
                    <a:pt x="61430" y="20750"/>
                  </a:lnTo>
                  <a:lnTo>
                    <a:pt x="61897" y="19557"/>
                  </a:lnTo>
                  <a:lnTo>
                    <a:pt x="62970" y="18901"/>
                  </a:lnTo>
                  <a:lnTo>
                    <a:pt x="64130" y="18911"/>
                  </a:lnTo>
                  <a:lnTo>
                    <a:pt x="64759" y="19154"/>
                  </a:lnTo>
                  <a:lnTo>
                    <a:pt x="65079" y="20309"/>
                  </a:lnTo>
                  <a:lnTo>
                    <a:pt x="66011" y="21188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07" name="ee4p_LY_1_82333">
              <a:extLst>
                <a:ext uri="{FF2B5EF4-FFF2-40B4-BE49-F238E27FC236}">
                  <a16:creationId xmlns:a16="http://schemas.microsoft.com/office/drawing/2014/main" id="{E327E92C-AA54-1AE9-0028-F683D67BA564}"/>
                </a:ext>
              </a:extLst>
            </p:cNvPr>
            <p:cNvSpPr>
              <a:spLocks noChangeAspect="1"/>
            </p:cNvSpPr>
            <p:nvPr>
              <p:custDataLst>
                <p:tags r:id="rId135"/>
              </p:custDataLst>
            </p:nvPr>
          </p:nvSpPr>
          <p:spPr>
            <a:xfrm>
              <a:off x="6773240" y="3695357"/>
              <a:ext cx="439874" cy="419184"/>
            </a:xfrm>
            <a:custGeom>
              <a:avLst/>
              <a:gdLst/>
              <a:ahLst/>
              <a:cxnLst/>
              <a:rect l="0" t="0" r="0" b="0"/>
              <a:pathLst>
                <a:path w="350262" h="324939">
                  <a:moveTo>
                    <a:pt x="350261" y="37547"/>
                  </a:moveTo>
                  <a:lnTo>
                    <a:pt x="349410" y="38234"/>
                  </a:lnTo>
                  <a:lnTo>
                    <a:pt x="348199" y="39694"/>
                  </a:lnTo>
                  <a:lnTo>
                    <a:pt x="347435" y="40994"/>
                  </a:lnTo>
                  <a:lnTo>
                    <a:pt x="345386" y="43108"/>
                  </a:lnTo>
                  <a:lnTo>
                    <a:pt x="343677" y="45371"/>
                  </a:lnTo>
                  <a:lnTo>
                    <a:pt x="343837" y="48681"/>
                  </a:lnTo>
                  <a:lnTo>
                    <a:pt x="344226" y="52043"/>
                  </a:lnTo>
                  <a:lnTo>
                    <a:pt x="345375" y="55326"/>
                  </a:lnTo>
                  <a:lnTo>
                    <a:pt x="346357" y="58974"/>
                  </a:lnTo>
                  <a:lnTo>
                    <a:pt x="346081" y="61358"/>
                  </a:lnTo>
                  <a:lnTo>
                    <a:pt x="345232" y="64286"/>
                  </a:lnTo>
                  <a:lnTo>
                    <a:pt x="344226" y="66726"/>
                  </a:lnTo>
                  <a:lnTo>
                    <a:pt x="340885" y="71746"/>
                  </a:lnTo>
                  <a:lnTo>
                    <a:pt x="340371" y="72946"/>
                  </a:lnTo>
                  <a:lnTo>
                    <a:pt x="340557" y="74631"/>
                  </a:lnTo>
                  <a:lnTo>
                    <a:pt x="342593" y="80574"/>
                  </a:lnTo>
                  <a:lnTo>
                    <a:pt x="342751" y="82443"/>
                  </a:lnTo>
                  <a:lnTo>
                    <a:pt x="343969" y="88204"/>
                  </a:lnTo>
                  <a:lnTo>
                    <a:pt x="345079" y="92885"/>
                  </a:lnTo>
                  <a:lnTo>
                    <a:pt x="346308" y="96558"/>
                  </a:lnTo>
                  <a:lnTo>
                    <a:pt x="346497" y="97569"/>
                  </a:lnTo>
                  <a:lnTo>
                    <a:pt x="346497" y="102973"/>
                  </a:lnTo>
                  <a:lnTo>
                    <a:pt x="346497" y="108371"/>
                  </a:lnTo>
                  <a:lnTo>
                    <a:pt x="346497" y="113761"/>
                  </a:lnTo>
                  <a:lnTo>
                    <a:pt x="346497" y="119144"/>
                  </a:lnTo>
                  <a:lnTo>
                    <a:pt x="346497" y="124520"/>
                  </a:lnTo>
                  <a:lnTo>
                    <a:pt x="346497" y="129889"/>
                  </a:lnTo>
                  <a:lnTo>
                    <a:pt x="346497" y="135251"/>
                  </a:lnTo>
                  <a:lnTo>
                    <a:pt x="346497" y="140607"/>
                  </a:lnTo>
                  <a:lnTo>
                    <a:pt x="346497" y="145955"/>
                  </a:lnTo>
                  <a:lnTo>
                    <a:pt x="346497" y="151299"/>
                  </a:lnTo>
                  <a:lnTo>
                    <a:pt x="346497" y="156634"/>
                  </a:lnTo>
                  <a:lnTo>
                    <a:pt x="346497" y="161963"/>
                  </a:lnTo>
                  <a:lnTo>
                    <a:pt x="346497" y="167285"/>
                  </a:lnTo>
                  <a:lnTo>
                    <a:pt x="346497" y="172601"/>
                  </a:lnTo>
                  <a:lnTo>
                    <a:pt x="346497" y="177911"/>
                  </a:lnTo>
                  <a:lnTo>
                    <a:pt x="346497" y="183214"/>
                  </a:lnTo>
                  <a:lnTo>
                    <a:pt x="346497" y="188511"/>
                  </a:lnTo>
                  <a:lnTo>
                    <a:pt x="346497" y="193802"/>
                  </a:lnTo>
                  <a:lnTo>
                    <a:pt x="346497" y="199087"/>
                  </a:lnTo>
                  <a:lnTo>
                    <a:pt x="346497" y="204366"/>
                  </a:lnTo>
                  <a:lnTo>
                    <a:pt x="346497" y="209639"/>
                  </a:lnTo>
                  <a:lnTo>
                    <a:pt x="346497" y="214906"/>
                  </a:lnTo>
                  <a:lnTo>
                    <a:pt x="346497" y="220167"/>
                  </a:lnTo>
                  <a:lnTo>
                    <a:pt x="346497" y="225423"/>
                  </a:lnTo>
                  <a:lnTo>
                    <a:pt x="346497" y="230673"/>
                  </a:lnTo>
                  <a:lnTo>
                    <a:pt x="346497" y="235918"/>
                  </a:lnTo>
                  <a:lnTo>
                    <a:pt x="346497" y="241157"/>
                  </a:lnTo>
                  <a:lnTo>
                    <a:pt x="346497" y="246390"/>
                  </a:lnTo>
                  <a:lnTo>
                    <a:pt x="346497" y="251618"/>
                  </a:lnTo>
                  <a:lnTo>
                    <a:pt x="346497" y="256840"/>
                  </a:lnTo>
                  <a:lnTo>
                    <a:pt x="346497" y="262057"/>
                  </a:lnTo>
                  <a:lnTo>
                    <a:pt x="346497" y="267269"/>
                  </a:lnTo>
                  <a:lnTo>
                    <a:pt x="346493" y="278816"/>
                  </a:lnTo>
                  <a:lnTo>
                    <a:pt x="346489" y="290338"/>
                  </a:lnTo>
                  <a:lnTo>
                    <a:pt x="346485" y="301836"/>
                  </a:lnTo>
                  <a:lnTo>
                    <a:pt x="346480" y="313311"/>
                  </a:lnTo>
                  <a:lnTo>
                    <a:pt x="346411" y="313352"/>
                  </a:lnTo>
                  <a:lnTo>
                    <a:pt x="346342" y="313393"/>
                  </a:lnTo>
                  <a:lnTo>
                    <a:pt x="346275" y="313433"/>
                  </a:lnTo>
                  <a:lnTo>
                    <a:pt x="346204" y="313475"/>
                  </a:lnTo>
                  <a:lnTo>
                    <a:pt x="340751" y="313473"/>
                  </a:lnTo>
                  <a:lnTo>
                    <a:pt x="335295" y="313470"/>
                  </a:lnTo>
                  <a:lnTo>
                    <a:pt x="329840" y="313466"/>
                  </a:lnTo>
                  <a:lnTo>
                    <a:pt x="324386" y="313464"/>
                  </a:lnTo>
                  <a:lnTo>
                    <a:pt x="324386" y="316335"/>
                  </a:lnTo>
                  <a:lnTo>
                    <a:pt x="324386" y="319204"/>
                  </a:lnTo>
                  <a:lnTo>
                    <a:pt x="324386" y="322071"/>
                  </a:lnTo>
                  <a:lnTo>
                    <a:pt x="324386" y="324938"/>
                  </a:lnTo>
                  <a:lnTo>
                    <a:pt x="313794" y="319504"/>
                  </a:lnTo>
                  <a:lnTo>
                    <a:pt x="303200" y="314066"/>
                  </a:lnTo>
                  <a:lnTo>
                    <a:pt x="292606" y="308622"/>
                  </a:lnTo>
                  <a:lnTo>
                    <a:pt x="282014" y="303173"/>
                  </a:lnTo>
                  <a:lnTo>
                    <a:pt x="271420" y="297719"/>
                  </a:lnTo>
                  <a:lnTo>
                    <a:pt x="260826" y="292258"/>
                  </a:lnTo>
                  <a:lnTo>
                    <a:pt x="250232" y="286794"/>
                  </a:lnTo>
                  <a:lnTo>
                    <a:pt x="239638" y="281322"/>
                  </a:lnTo>
                  <a:lnTo>
                    <a:pt x="229044" y="275846"/>
                  </a:lnTo>
                  <a:lnTo>
                    <a:pt x="218450" y="270364"/>
                  </a:lnTo>
                  <a:lnTo>
                    <a:pt x="207859" y="264876"/>
                  </a:lnTo>
                  <a:lnTo>
                    <a:pt x="197265" y="259383"/>
                  </a:lnTo>
                  <a:lnTo>
                    <a:pt x="186671" y="253884"/>
                  </a:lnTo>
                  <a:lnTo>
                    <a:pt x="176079" y="248379"/>
                  </a:lnTo>
                  <a:lnTo>
                    <a:pt x="165485" y="242868"/>
                  </a:lnTo>
                  <a:lnTo>
                    <a:pt x="154891" y="237351"/>
                  </a:lnTo>
                  <a:lnTo>
                    <a:pt x="147573" y="233537"/>
                  </a:lnTo>
                  <a:lnTo>
                    <a:pt x="139680" y="237259"/>
                  </a:lnTo>
                  <a:lnTo>
                    <a:pt x="133496" y="240176"/>
                  </a:lnTo>
                  <a:lnTo>
                    <a:pt x="125349" y="244011"/>
                  </a:lnTo>
                  <a:lnTo>
                    <a:pt x="125346" y="244009"/>
                  </a:lnTo>
                  <a:lnTo>
                    <a:pt x="115988" y="248988"/>
                  </a:lnTo>
                  <a:lnTo>
                    <a:pt x="108803" y="252806"/>
                  </a:lnTo>
                  <a:lnTo>
                    <a:pt x="108466" y="252778"/>
                  </a:lnTo>
                  <a:lnTo>
                    <a:pt x="108138" y="252683"/>
                  </a:lnTo>
                  <a:lnTo>
                    <a:pt x="100664" y="246203"/>
                  </a:lnTo>
                  <a:lnTo>
                    <a:pt x="94826" y="241136"/>
                  </a:lnTo>
                  <a:lnTo>
                    <a:pt x="92230" y="239722"/>
                  </a:lnTo>
                  <a:lnTo>
                    <a:pt x="81226" y="237131"/>
                  </a:lnTo>
                  <a:lnTo>
                    <a:pt x="70284" y="234554"/>
                  </a:lnTo>
                  <a:lnTo>
                    <a:pt x="58766" y="231840"/>
                  </a:lnTo>
                  <a:lnTo>
                    <a:pt x="56669" y="227704"/>
                  </a:lnTo>
                  <a:lnTo>
                    <a:pt x="54324" y="223079"/>
                  </a:lnTo>
                  <a:lnTo>
                    <a:pt x="51167" y="217292"/>
                  </a:lnTo>
                  <a:lnTo>
                    <a:pt x="49237" y="213750"/>
                  </a:lnTo>
                  <a:lnTo>
                    <a:pt x="48589" y="213198"/>
                  </a:lnTo>
                  <a:lnTo>
                    <a:pt x="39757" y="210391"/>
                  </a:lnTo>
                  <a:lnTo>
                    <a:pt x="30424" y="207637"/>
                  </a:lnTo>
                  <a:lnTo>
                    <a:pt x="24959" y="209306"/>
                  </a:lnTo>
                  <a:lnTo>
                    <a:pt x="24006" y="209181"/>
                  </a:lnTo>
                  <a:lnTo>
                    <a:pt x="22456" y="208133"/>
                  </a:lnTo>
                  <a:lnTo>
                    <a:pt x="20910" y="206706"/>
                  </a:lnTo>
                  <a:lnTo>
                    <a:pt x="20087" y="204704"/>
                  </a:lnTo>
                  <a:lnTo>
                    <a:pt x="17895" y="202025"/>
                  </a:lnTo>
                  <a:lnTo>
                    <a:pt x="15874" y="195891"/>
                  </a:lnTo>
                  <a:lnTo>
                    <a:pt x="15673" y="191004"/>
                  </a:lnTo>
                  <a:lnTo>
                    <a:pt x="15267" y="189271"/>
                  </a:lnTo>
                  <a:lnTo>
                    <a:pt x="10411" y="182378"/>
                  </a:lnTo>
                  <a:lnTo>
                    <a:pt x="5993" y="176098"/>
                  </a:lnTo>
                  <a:lnTo>
                    <a:pt x="3052" y="171911"/>
                  </a:lnTo>
                  <a:lnTo>
                    <a:pt x="2479" y="170020"/>
                  </a:lnTo>
                  <a:lnTo>
                    <a:pt x="2823" y="167689"/>
                  </a:lnTo>
                  <a:lnTo>
                    <a:pt x="4006" y="165598"/>
                  </a:lnTo>
                  <a:lnTo>
                    <a:pt x="8286" y="163122"/>
                  </a:lnTo>
                  <a:lnTo>
                    <a:pt x="12143" y="160425"/>
                  </a:lnTo>
                  <a:lnTo>
                    <a:pt x="12669" y="158553"/>
                  </a:lnTo>
                  <a:lnTo>
                    <a:pt x="12918" y="153397"/>
                  </a:lnTo>
                  <a:lnTo>
                    <a:pt x="11650" y="151784"/>
                  </a:lnTo>
                  <a:lnTo>
                    <a:pt x="10728" y="148717"/>
                  </a:lnTo>
                  <a:lnTo>
                    <a:pt x="9780" y="144563"/>
                  </a:lnTo>
                  <a:lnTo>
                    <a:pt x="9670" y="141906"/>
                  </a:lnTo>
                  <a:lnTo>
                    <a:pt x="11389" y="136611"/>
                  </a:lnTo>
                  <a:lnTo>
                    <a:pt x="13395" y="131056"/>
                  </a:lnTo>
                  <a:lnTo>
                    <a:pt x="12117" y="124897"/>
                  </a:lnTo>
                  <a:lnTo>
                    <a:pt x="11175" y="112513"/>
                  </a:lnTo>
                  <a:lnTo>
                    <a:pt x="11771" y="102741"/>
                  </a:lnTo>
                  <a:lnTo>
                    <a:pt x="11287" y="99184"/>
                  </a:lnTo>
                  <a:lnTo>
                    <a:pt x="10946" y="97687"/>
                  </a:lnTo>
                  <a:lnTo>
                    <a:pt x="9634" y="93061"/>
                  </a:lnTo>
                  <a:lnTo>
                    <a:pt x="8014" y="88283"/>
                  </a:lnTo>
                  <a:lnTo>
                    <a:pt x="7295" y="86607"/>
                  </a:lnTo>
                  <a:lnTo>
                    <a:pt x="5218" y="82752"/>
                  </a:lnTo>
                  <a:lnTo>
                    <a:pt x="1786" y="77970"/>
                  </a:lnTo>
                  <a:lnTo>
                    <a:pt x="0" y="75026"/>
                  </a:lnTo>
                  <a:lnTo>
                    <a:pt x="2449" y="73474"/>
                  </a:lnTo>
                  <a:lnTo>
                    <a:pt x="4611" y="72260"/>
                  </a:lnTo>
                  <a:lnTo>
                    <a:pt x="7247" y="70977"/>
                  </a:lnTo>
                  <a:lnTo>
                    <a:pt x="10994" y="69524"/>
                  </a:lnTo>
                  <a:lnTo>
                    <a:pt x="12931" y="68430"/>
                  </a:lnTo>
                  <a:lnTo>
                    <a:pt x="13760" y="67507"/>
                  </a:lnTo>
                  <a:lnTo>
                    <a:pt x="16574" y="63750"/>
                  </a:lnTo>
                  <a:lnTo>
                    <a:pt x="18038" y="61663"/>
                  </a:lnTo>
                  <a:lnTo>
                    <a:pt x="20037" y="58812"/>
                  </a:lnTo>
                  <a:lnTo>
                    <a:pt x="20914" y="56824"/>
                  </a:lnTo>
                  <a:lnTo>
                    <a:pt x="20936" y="54976"/>
                  </a:lnTo>
                  <a:lnTo>
                    <a:pt x="20633" y="52752"/>
                  </a:lnTo>
                  <a:lnTo>
                    <a:pt x="19070" y="47417"/>
                  </a:lnTo>
                  <a:lnTo>
                    <a:pt x="17794" y="42221"/>
                  </a:lnTo>
                  <a:lnTo>
                    <a:pt x="18787" y="40217"/>
                  </a:lnTo>
                  <a:lnTo>
                    <a:pt x="19586" y="39256"/>
                  </a:lnTo>
                  <a:lnTo>
                    <a:pt x="21324" y="36813"/>
                  </a:lnTo>
                  <a:lnTo>
                    <a:pt x="22020" y="36327"/>
                  </a:lnTo>
                  <a:lnTo>
                    <a:pt x="25772" y="35564"/>
                  </a:lnTo>
                  <a:lnTo>
                    <a:pt x="27274" y="33935"/>
                  </a:lnTo>
                  <a:lnTo>
                    <a:pt x="28420" y="31897"/>
                  </a:lnTo>
                  <a:lnTo>
                    <a:pt x="28716" y="30824"/>
                  </a:lnTo>
                  <a:lnTo>
                    <a:pt x="30355" y="29700"/>
                  </a:lnTo>
                  <a:lnTo>
                    <a:pt x="32314" y="28577"/>
                  </a:lnTo>
                  <a:lnTo>
                    <a:pt x="33525" y="27118"/>
                  </a:lnTo>
                  <a:lnTo>
                    <a:pt x="37479" y="24860"/>
                  </a:lnTo>
                  <a:lnTo>
                    <a:pt x="41085" y="22797"/>
                  </a:lnTo>
                  <a:lnTo>
                    <a:pt x="45281" y="20623"/>
                  </a:lnTo>
                  <a:lnTo>
                    <a:pt x="48530" y="18940"/>
                  </a:lnTo>
                  <a:lnTo>
                    <a:pt x="49215" y="17472"/>
                  </a:lnTo>
                  <a:lnTo>
                    <a:pt x="49168" y="16203"/>
                  </a:lnTo>
                  <a:lnTo>
                    <a:pt x="47401" y="13307"/>
                  </a:lnTo>
                  <a:lnTo>
                    <a:pt x="47401" y="9880"/>
                  </a:lnTo>
                  <a:lnTo>
                    <a:pt x="47518" y="7027"/>
                  </a:lnTo>
                  <a:lnTo>
                    <a:pt x="47695" y="5341"/>
                  </a:lnTo>
                  <a:lnTo>
                    <a:pt x="48474" y="652"/>
                  </a:lnTo>
                  <a:lnTo>
                    <a:pt x="48522" y="0"/>
                  </a:lnTo>
                  <a:lnTo>
                    <a:pt x="51895" y="1558"/>
                  </a:lnTo>
                  <a:lnTo>
                    <a:pt x="55352" y="2181"/>
                  </a:lnTo>
                  <a:lnTo>
                    <a:pt x="65665" y="7985"/>
                  </a:lnTo>
                  <a:lnTo>
                    <a:pt x="68919" y="8711"/>
                  </a:lnTo>
                  <a:lnTo>
                    <a:pt x="76138" y="9402"/>
                  </a:lnTo>
                  <a:lnTo>
                    <a:pt x="84642" y="7027"/>
                  </a:lnTo>
                  <a:lnTo>
                    <a:pt x="87857" y="6601"/>
                  </a:lnTo>
                  <a:lnTo>
                    <a:pt x="93448" y="8830"/>
                  </a:lnTo>
                  <a:lnTo>
                    <a:pt x="95912" y="9457"/>
                  </a:lnTo>
                  <a:lnTo>
                    <a:pt x="100060" y="9631"/>
                  </a:lnTo>
                  <a:lnTo>
                    <a:pt x="107143" y="11652"/>
                  </a:lnTo>
                  <a:lnTo>
                    <a:pt x="108943" y="12355"/>
                  </a:lnTo>
                  <a:lnTo>
                    <a:pt x="113072" y="15579"/>
                  </a:lnTo>
                  <a:lnTo>
                    <a:pt x="115052" y="16544"/>
                  </a:lnTo>
                  <a:lnTo>
                    <a:pt x="129717" y="19493"/>
                  </a:lnTo>
                  <a:lnTo>
                    <a:pt x="131714" y="21447"/>
                  </a:lnTo>
                  <a:lnTo>
                    <a:pt x="133753" y="25180"/>
                  </a:lnTo>
                  <a:lnTo>
                    <a:pt x="133841" y="29803"/>
                  </a:lnTo>
                  <a:lnTo>
                    <a:pt x="134969" y="33159"/>
                  </a:lnTo>
                  <a:lnTo>
                    <a:pt x="136789" y="37503"/>
                  </a:lnTo>
                  <a:lnTo>
                    <a:pt x="138987" y="40576"/>
                  </a:lnTo>
                  <a:lnTo>
                    <a:pt x="141423" y="43134"/>
                  </a:lnTo>
                  <a:lnTo>
                    <a:pt x="144215" y="44732"/>
                  </a:lnTo>
                  <a:lnTo>
                    <a:pt x="150645" y="47088"/>
                  </a:lnTo>
                  <a:lnTo>
                    <a:pt x="157897" y="47995"/>
                  </a:lnTo>
                  <a:lnTo>
                    <a:pt x="165206" y="48300"/>
                  </a:lnTo>
                  <a:lnTo>
                    <a:pt x="177759" y="51549"/>
                  </a:lnTo>
                  <a:lnTo>
                    <a:pt x="188400" y="55298"/>
                  </a:lnTo>
                  <a:lnTo>
                    <a:pt x="191028" y="57141"/>
                  </a:lnTo>
                  <a:lnTo>
                    <a:pt x="196360" y="58956"/>
                  </a:lnTo>
                  <a:lnTo>
                    <a:pt x="206960" y="67742"/>
                  </a:lnTo>
                  <a:lnTo>
                    <a:pt x="212855" y="70780"/>
                  </a:lnTo>
                  <a:lnTo>
                    <a:pt x="216997" y="71370"/>
                  </a:lnTo>
                  <a:lnTo>
                    <a:pt x="220711" y="70837"/>
                  </a:lnTo>
                  <a:lnTo>
                    <a:pt x="227304" y="67788"/>
                  </a:lnTo>
                  <a:lnTo>
                    <a:pt x="230033" y="65977"/>
                  </a:lnTo>
                  <a:lnTo>
                    <a:pt x="236665" y="58387"/>
                  </a:lnTo>
                  <a:lnTo>
                    <a:pt x="238839" y="54419"/>
                  </a:lnTo>
                  <a:lnTo>
                    <a:pt x="239712" y="51620"/>
                  </a:lnTo>
                  <a:lnTo>
                    <a:pt x="239494" y="48770"/>
                  </a:lnTo>
                  <a:lnTo>
                    <a:pt x="238669" y="46207"/>
                  </a:lnTo>
                  <a:lnTo>
                    <a:pt x="236816" y="43519"/>
                  </a:lnTo>
                  <a:lnTo>
                    <a:pt x="235516" y="39967"/>
                  </a:lnTo>
                  <a:lnTo>
                    <a:pt x="234745" y="33568"/>
                  </a:lnTo>
                  <a:lnTo>
                    <a:pt x="235786" y="29120"/>
                  </a:lnTo>
                  <a:lnTo>
                    <a:pt x="237058" y="26451"/>
                  </a:lnTo>
                  <a:lnTo>
                    <a:pt x="239059" y="23729"/>
                  </a:lnTo>
                  <a:lnTo>
                    <a:pt x="244568" y="18520"/>
                  </a:lnTo>
                  <a:lnTo>
                    <a:pt x="250107" y="14844"/>
                  </a:lnTo>
                  <a:lnTo>
                    <a:pt x="259863" y="10031"/>
                  </a:lnTo>
                  <a:lnTo>
                    <a:pt x="265533" y="9979"/>
                  </a:lnTo>
                  <a:lnTo>
                    <a:pt x="267876" y="9449"/>
                  </a:lnTo>
                  <a:lnTo>
                    <a:pt x="272547" y="6042"/>
                  </a:lnTo>
                  <a:lnTo>
                    <a:pt x="274437" y="5914"/>
                  </a:lnTo>
                  <a:lnTo>
                    <a:pt x="277047" y="6749"/>
                  </a:lnTo>
                  <a:lnTo>
                    <a:pt x="284741" y="6512"/>
                  </a:lnTo>
                  <a:lnTo>
                    <a:pt x="288129" y="7459"/>
                  </a:lnTo>
                  <a:lnTo>
                    <a:pt x="292172" y="9578"/>
                  </a:lnTo>
                  <a:lnTo>
                    <a:pt x="297272" y="10894"/>
                  </a:lnTo>
                  <a:lnTo>
                    <a:pt x="300872" y="12209"/>
                  </a:lnTo>
                  <a:lnTo>
                    <a:pt x="304714" y="13894"/>
                  </a:lnTo>
                  <a:lnTo>
                    <a:pt x="305577" y="18092"/>
                  </a:lnTo>
                  <a:lnTo>
                    <a:pt x="305152" y="19340"/>
                  </a:lnTo>
                  <a:lnTo>
                    <a:pt x="305059" y="20961"/>
                  </a:lnTo>
                  <a:lnTo>
                    <a:pt x="309041" y="23850"/>
                  </a:lnTo>
                  <a:lnTo>
                    <a:pt x="320348" y="25204"/>
                  </a:lnTo>
                  <a:lnTo>
                    <a:pt x="322576" y="25977"/>
                  </a:lnTo>
                  <a:lnTo>
                    <a:pt x="325683" y="28189"/>
                  </a:lnTo>
                  <a:lnTo>
                    <a:pt x="327689" y="28871"/>
                  </a:lnTo>
                  <a:lnTo>
                    <a:pt x="335431" y="29182"/>
                  </a:lnTo>
                  <a:lnTo>
                    <a:pt x="339944" y="28705"/>
                  </a:lnTo>
                  <a:lnTo>
                    <a:pt x="344248" y="29482"/>
                  </a:lnTo>
                  <a:lnTo>
                    <a:pt x="345843" y="30232"/>
                  </a:lnTo>
                  <a:lnTo>
                    <a:pt x="347487" y="31956"/>
                  </a:lnTo>
                  <a:lnTo>
                    <a:pt x="349478" y="36144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08" name="ee4p_LS_1_82333">
              <a:extLst>
                <a:ext uri="{FF2B5EF4-FFF2-40B4-BE49-F238E27FC236}">
                  <a16:creationId xmlns:a16="http://schemas.microsoft.com/office/drawing/2014/main" id="{43F30F16-7092-D75D-1839-2A01FEB10D01}"/>
                </a:ext>
              </a:extLst>
            </p:cNvPr>
            <p:cNvSpPr>
              <a:spLocks noChangeAspect="1"/>
            </p:cNvSpPr>
            <p:nvPr>
              <p:custDataLst>
                <p:tags r:id="rId136"/>
              </p:custDataLst>
            </p:nvPr>
          </p:nvSpPr>
          <p:spPr>
            <a:xfrm>
              <a:off x="7265909" y="5515542"/>
              <a:ext cx="64953" cy="64191"/>
            </a:xfrm>
            <a:custGeom>
              <a:avLst/>
              <a:gdLst/>
              <a:ahLst/>
              <a:cxnLst/>
              <a:rect l="0" t="0" r="0" b="0"/>
              <a:pathLst>
                <a:path w="51721" h="49759">
                  <a:moveTo>
                    <a:pt x="37263" y="36649"/>
                  </a:moveTo>
                  <a:lnTo>
                    <a:pt x="35272" y="37245"/>
                  </a:lnTo>
                  <a:lnTo>
                    <a:pt x="34996" y="37297"/>
                  </a:lnTo>
                  <a:lnTo>
                    <a:pt x="33719" y="37160"/>
                  </a:lnTo>
                  <a:lnTo>
                    <a:pt x="32016" y="37302"/>
                  </a:lnTo>
                  <a:lnTo>
                    <a:pt x="30677" y="37631"/>
                  </a:lnTo>
                  <a:lnTo>
                    <a:pt x="29638" y="37754"/>
                  </a:lnTo>
                  <a:lnTo>
                    <a:pt x="27943" y="39472"/>
                  </a:lnTo>
                  <a:lnTo>
                    <a:pt x="24864" y="44114"/>
                  </a:lnTo>
                  <a:lnTo>
                    <a:pt x="24043" y="45085"/>
                  </a:lnTo>
                  <a:lnTo>
                    <a:pt x="23814" y="46911"/>
                  </a:lnTo>
                  <a:lnTo>
                    <a:pt x="23099" y="48356"/>
                  </a:lnTo>
                  <a:lnTo>
                    <a:pt x="22225" y="49485"/>
                  </a:lnTo>
                  <a:lnTo>
                    <a:pt x="21370" y="49758"/>
                  </a:lnTo>
                  <a:lnTo>
                    <a:pt x="18798" y="49309"/>
                  </a:lnTo>
                  <a:lnTo>
                    <a:pt x="15509" y="48730"/>
                  </a:lnTo>
                  <a:lnTo>
                    <a:pt x="13596" y="47329"/>
                  </a:lnTo>
                  <a:lnTo>
                    <a:pt x="11894" y="45486"/>
                  </a:lnTo>
                  <a:lnTo>
                    <a:pt x="10996" y="44147"/>
                  </a:lnTo>
                  <a:lnTo>
                    <a:pt x="10057" y="43412"/>
                  </a:lnTo>
                  <a:lnTo>
                    <a:pt x="9735" y="43000"/>
                  </a:lnTo>
                  <a:lnTo>
                    <a:pt x="8396" y="42382"/>
                  </a:lnTo>
                  <a:lnTo>
                    <a:pt x="7891" y="42062"/>
                  </a:lnTo>
                  <a:lnTo>
                    <a:pt x="7446" y="41835"/>
                  </a:lnTo>
                  <a:lnTo>
                    <a:pt x="6906" y="40944"/>
                  </a:lnTo>
                  <a:lnTo>
                    <a:pt x="6589" y="40172"/>
                  </a:lnTo>
                  <a:lnTo>
                    <a:pt x="6714" y="38021"/>
                  </a:lnTo>
                  <a:lnTo>
                    <a:pt x="5770" y="36739"/>
                  </a:lnTo>
                  <a:lnTo>
                    <a:pt x="4157" y="34551"/>
                  </a:lnTo>
                  <a:lnTo>
                    <a:pt x="3136" y="32760"/>
                  </a:lnTo>
                  <a:lnTo>
                    <a:pt x="1741" y="30315"/>
                  </a:lnTo>
                  <a:lnTo>
                    <a:pt x="886" y="28224"/>
                  </a:lnTo>
                  <a:lnTo>
                    <a:pt x="0" y="26057"/>
                  </a:lnTo>
                  <a:lnTo>
                    <a:pt x="115" y="25128"/>
                  </a:lnTo>
                  <a:lnTo>
                    <a:pt x="961" y="24494"/>
                  </a:lnTo>
                  <a:lnTo>
                    <a:pt x="3442" y="23405"/>
                  </a:lnTo>
                  <a:lnTo>
                    <a:pt x="5369" y="22563"/>
                  </a:lnTo>
                  <a:lnTo>
                    <a:pt x="6747" y="21017"/>
                  </a:lnTo>
                  <a:lnTo>
                    <a:pt x="8251" y="18721"/>
                  </a:lnTo>
                  <a:lnTo>
                    <a:pt x="8984" y="17339"/>
                  </a:lnTo>
                  <a:lnTo>
                    <a:pt x="9713" y="16709"/>
                  </a:lnTo>
                  <a:lnTo>
                    <a:pt x="10512" y="15734"/>
                  </a:lnTo>
                  <a:lnTo>
                    <a:pt x="11907" y="13575"/>
                  </a:lnTo>
                  <a:lnTo>
                    <a:pt x="13460" y="11180"/>
                  </a:lnTo>
                  <a:lnTo>
                    <a:pt x="15120" y="8608"/>
                  </a:lnTo>
                  <a:lnTo>
                    <a:pt x="17217" y="7863"/>
                  </a:lnTo>
                  <a:lnTo>
                    <a:pt x="20081" y="7004"/>
                  </a:lnTo>
                  <a:lnTo>
                    <a:pt x="22834" y="4760"/>
                  </a:lnTo>
                  <a:lnTo>
                    <a:pt x="26112" y="2869"/>
                  </a:lnTo>
                  <a:lnTo>
                    <a:pt x="31402" y="818"/>
                  </a:lnTo>
                  <a:lnTo>
                    <a:pt x="33868" y="298"/>
                  </a:lnTo>
                  <a:lnTo>
                    <a:pt x="34805" y="0"/>
                  </a:lnTo>
                  <a:lnTo>
                    <a:pt x="35399" y="386"/>
                  </a:lnTo>
                  <a:lnTo>
                    <a:pt x="36030" y="1561"/>
                  </a:lnTo>
                  <a:lnTo>
                    <a:pt x="36928" y="2543"/>
                  </a:lnTo>
                  <a:lnTo>
                    <a:pt x="39016" y="4253"/>
                  </a:lnTo>
                  <a:lnTo>
                    <a:pt x="39901" y="4666"/>
                  </a:lnTo>
                  <a:lnTo>
                    <a:pt x="42057" y="7198"/>
                  </a:lnTo>
                  <a:lnTo>
                    <a:pt x="44363" y="8936"/>
                  </a:lnTo>
                  <a:lnTo>
                    <a:pt x="47017" y="10938"/>
                  </a:lnTo>
                  <a:lnTo>
                    <a:pt x="48824" y="11934"/>
                  </a:lnTo>
                  <a:lnTo>
                    <a:pt x="49744" y="12212"/>
                  </a:lnTo>
                  <a:lnTo>
                    <a:pt x="50509" y="13989"/>
                  </a:lnTo>
                  <a:lnTo>
                    <a:pt x="51281" y="15309"/>
                  </a:lnTo>
                  <a:lnTo>
                    <a:pt x="51720" y="16544"/>
                  </a:lnTo>
                  <a:lnTo>
                    <a:pt x="51631" y="17749"/>
                  </a:lnTo>
                  <a:lnTo>
                    <a:pt x="50793" y="20697"/>
                  </a:lnTo>
                  <a:lnTo>
                    <a:pt x="49571" y="23711"/>
                  </a:lnTo>
                  <a:lnTo>
                    <a:pt x="48591" y="24966"/>
                  </a:lnTo>
                  <a:lnTo>
                    <a:pt x="47395" y="25758"/>
                  </a:lnTo>
                  <a:lnTo>
                    <a:pt x="46224" y="26949"/>
                  </a:lnTo>
                  <a:lnTo>
                    <a:pt x="45777" y="29371"/>
                  </a:lnTo>
                  <a:lnTo>
                    <a:pt x="45248" y="32221"/>
                  </a:lnTo>
                  <a:lnTo>
                    <a:pt x="43721" y="33396"/>
                  </a:lnTo>
                  <a:lnTo>
                    <a:pt x="42534" y="34166"/>
                  </a:lnTo>
                  <a:lnTo>
                    <a:pt x="40893" y="35112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09" name="ee4p_MA_1_82333">
              <a:extLst>
                <a:ext uri="{FF2B5EF4-FFF2-40B4-BE49-F238E27FC236}">
                  <a16:creationId xmlns:a16="http://schemas.microsoft.com/office/drawing/2014/main" id="{A50CEC23-DC60-06E3-CCA7-96D65B055C50}"/>
                </a:ext>
              </a:extLst>
            </p:cNvPr>
            <p:cNvSpPr>
              <a:spLocks noChangeAspect="1"/>
            </p:cNvSpPr>
            <p:nvPr>
              <p:custDataLst>
                <p:tags r:id="rId137"/>
              </p:custDataLst>
            </p:nvPr>
          </p:nvSpPr>
          <p:spPr>
            <a:xfrm>
              <a:off x="6042536" y="3606862"/>
              <a:ext cx="442577" cy="450474"/>
            </a:xfrm>
            <a:custGeom>
              <a:avLst/>
              <a:gdLst/>
              <a:ahLst/>
              <a:cxnLst/>
              <a:rect l="0" t="0" r="0" b="0"/>
              <a:pathLst>
                <a:path w="352414" h="349194">
                  <a:moveTo>
                    <a:pt x="273632" y="18195"/>
                  </a:moveTo>
                  <a:lnTo>
                    <a:pt x="280229" y="19322"/>
                  </a:lnTo>
                  <a:lnTo>
                    <a:pt x="287914" y="17267"/>
                  </a:lnTo>
                  <a:lnTo>
                    <a:pt x="292213" y="17229"/>
                  </a:lnTo>
                  <a:lnTo>
                    <a:pt x="294308" y="16349"/>
                  </a:lnTo>
                  <a:lnTo>
                    <a:pt x="296578" y="17645"/>
                  </a:lnTo>
                  <a:lnTo>
                    <a:pt x="300909" y="18060"/>
                  </a:lnTo>
                  <a:lnTo>
                    <a:pt x="305082" y="17375"/>
                  </a:lnTo>
                  <a:lnTo>
                    <a:pt x="308243" y="15414"/>
                  </a:lnTo>
                  <a:lnTo>
                    <a:pt x="310252" y="13153"/>
                  </a:lnTo>
                  <a:lnTo>
                    <a:pt x="310567" y="14263"/>
                  </a:lnTo>
                  <a:lnTo>
                    <a:pt x="310663" y="15467"/>
                  </a:lnTo>
                  <a:lnTo>
                    <a:pt x="311275" y="16171"/>
                  </a:lnTo>
                  <a:lnTo>
                    <a:pt x="312523" y="19042"/>
                  </a:lnTo>
                  <a:lnTo>
                    <a:pt x="313177" y="20165"/>
                  </a:lnTo>
                  <a:lnTo>
                    <a:pt x="315577" y="19981"/>
                  </a:lnTo>
                  <a:lnTo>
                    <a:pt x="317668" y="20545"/>
                  </a:lnTo>
                  <a:lnTo>
                    <a:pt x="322380" y="20274"/>
                  </a:lnTo>
                  <a:lnTo>
                    <a:pt x="326893" y="20758"/>
                  </a:lnTo>
                  <a:lnTo>
                    <a:pt x="327531" y="22623"/>
                  </a:lnTo>
                  <a:lnTo>
                    <a:pt x="328836" y="24099"/>
                  </a:lnTo>
                  <a:lnTo>
                    <a:pt x="333499" y="27484"/>
                  </a:lnTo>
                  <a:lnTo>
                    <a:pt x="336269" y="29576"/>
                  </a:lnTo>
                  <a:lnTo>
                    <a:pt x="336345" y="30293"/>
                  </a:lnTo>
                  <a:lnTo>
                    <a:pt x="335455" y="32007"/>
                  </a:lnTo>
                  <a:lnTo>
                    <a:pt x="335074" y="33188"/>
                  </a:lnTo>
                  <a:lnTo>
                    <a:pt x="335805" y="34442"/>
                  </a:lnTo>
                  <a:lnTo>
                    <a:pt x="337511" y="35964"/>
                  </a:lnTo>
                  <a:lnTo>
                    <a:pt x="337647" y="36689"/>
                  </a:lnTo>
                  <a:lnTo>
                    <a:pt x="337237" y="37532"/>
                  </a:lnTo>
                  <a:lnTo>
                    <a:pt x="336354" y="39161"/>
                  </a:lnTo>
                  <a:lnTo>
                    <a:pt x="338230" y="43940"/>
                  </a:lnTo>
                  <a:lnTo>
                    <a:pt x="338545" y="48562"/>
                  </a:lnTo>
                  <a:lnTo>
                    <a:pt x="338058" y="51844"/>
                  </a:lnTo>
                  <a:lnTo>
                    <a:pt x="338071" y="53740"/>
                  </a:lnTo>
                  <a:lnTo>
                    <a:pt x="338318" y="55353"/>
                  </a:lnTo>
                  <a:lnTo>
                    <a:pt x="339904" y="59075"/>
                  </a:lnTo>
                  <a:lnTo>
                    <a:pt x="338844" y="65218"/>
                  </a:lnTo>
                  <a:lnTo>
                    <a:pt x="340040" y="68564"/>
                  </a:lnTo>
                  <a:lnTo>
                    <a:pt x="341684" y="71277"/>
                  </a:lnTo>
                  <a:lnTo>
                    <a:pt x="342584" y="76113"/>
                  </a:lnTo>
                  <a:lnTo>
                    <a:pt x="343911" y="78402"/>
                  </a:lnTo>
                  <a:lnTo>
                    <a:pt x="346075" y="80409"/>
                  </a:lnTo>
                  <a:lnTo>
                    <a:pt x="347308" y="81091"/>
                  </a:lnTo>
                  <a:lnTo>
                    <a:pt x="349700" y="82745"/>
                  </a:lnTo>
                  <a:lnTo>
                    <a:pt x="351407" y="84129"/>
                  </a:lnTo>
                  <a:lnTo>
                    <a:pt x="352413" y="86195"/>
                  </a:lnTo>
                  <a:lnTo>
                    <a:pt x="350266" y="87895"/>
                  </a:lnTo>
                  <a:lnTo>
                    <a:pt x="348548" y="89409"/>
                  </a:lnTo>
                  <a:lnTo>
                    <a:pt x="348066" y="91042"/>
                  </a:lnTo>
                  <a:lnTo>
                    <a:pt x="348866" y="93659"/>
                  </a:lnTo>
                  <a:lnTo>
                    <a:pt x="348866" y="95066"/>
                  </a:lnTo>
                  <a:lnTo>
                    <a:pt x="347774" y="95513"/>
                  </a:lnTo>
                  <a:lnTo>
                    <a:pt x="343313" y="95369"/>
                  </a:lnTo>
                  <a:lnTo>
                    <a:pt x="339817" y="95254"/>
                  </a:lnTo>
                  <a:lnTo>
                    <a:pt x="335796" y="95126"/>
                  </a:lnTo>
                  <a:lnTo>
                    <a:pt x="330140" y="94874"/>
                  </a:lnTo>
                  <a:lnTo>
                    <a:pt x="326636" y="94719"/>
                  </a:lnTo>
                  <a:lnTo>
                    <a:pt x="321835" y="94507"/>
                  </a:lnTo>
                  <a:lnTo>
                    <a:pt x="320180" y="94613"/>
                  </a:lnTo>
                  <a:lnTo>
                    <a:pt x="315771" y="95347"/>
                  </a:lnTo>
                  <a:lnTo>
                    <a:pt x="312658" y="95864"/>
                  </a:lnTo>
                  <a:lnTo>
                    <a:pt x="312132" y="96007"/>
                  </a:lnTo>
                  <a:lnTo>
                    <a:pt x="311167" y="96653"/>
                  </a:lnTo>
                  <a:lnTo>
                    <a:pt x="310497" y="98579"/>
                  </a:lnTo>
                  <a:lnTo>
                    <a:pt x="309898" y="100779"/>
                  </a:lnTo>
                  <a:lnTo>
                    <a:pt x="309253" y="101757"/>
                  </a:lnTo>
                  <a:lnTo>
                    <a:pt x="299913" y="104933"/>
                  </a:lnTo>
                  <a:lnTo>
                    <a:pt x="296269" y="105368"/>
                  </a:lnTo>
                  <a:lnTo>
                    <a:pt x="294154" y="105042"/>
                  </a:lnTo>
                  <a:lnTo>
                    <a:pt x="292652" y="105300"/>
                  </a:lnTo>
                  <a:lnTo>
                    <a:pt x="291356" y="105976"/>
                  </a:lnTo>
                  <a:lnTo>
                    <a:pt x="290916" y="107005"/>
                  </a:lnTo>
                  <a:lnTo>
                    <a:pt x="290852" y="108312"/>
                  </a:lnTo>
                  <a:lnTo>
                    <a:pt x="291127" y="109633"/>
                  </a:lnTo>
                  <a:lnTo>
                    <a:pt x="292027" y="111472"/>
                  </a:lnTo>
                  <a:lnTo>
                    <a:pt x="292188" y="113310"/>
                  </a:lnTo>
                  <a:lnTo>
                    <a:pt x="291613" y="114604"/>
                  </a:lnTo>
                  <a:lnTo>
                    <a:pt x="291475" y="115906"/>
                  </a:lnTo>
                  <a:lnTo>
                    <a:pt x="291210" y="117313"/>
                  </a:lnTo>
                  <a:lnTo>
                    <a:pt x="291687" y="118074"/>
                  </a:lnTo>
                  <a:lnTo>
                    <a:pt x="292589" y="118190"/>
                  </a:lnTo>
                  <a:lnTo>
                    <a:pt x="293492" y="118835"/>
                  </a:lnTo>
                  <a:lnTo>
                    <a:pt x="294767" y="119420"/>
                  </a:lnTo>
                  <a:lnTo>
                    <a:pt x="295828" y="120532"/>
                  </a:lnTo>
                  <a:lnTo>
                    <a:pt x="295776" y="122112"/>
                  </a:lnTo>
                  <a:lnTo>
                    <a:pt x="294893" y="123011"/>
                  </a:lnTo>
                  <a:lnTo>
                    <a:pt x="294115" y="123486"/>
                  </a:lnTo>
                  <a:lnTo>
                    <a:pt x="290620" y="123906"/>
                  </a:lnTo>
                  <a:lnTo>
                    <a:pt x="287849" y="124240"/>
                  </a:lnTo>
                  <a:lnTo>
                    <a:pt x="284236" y="126770"/>
                  </a:lnTo>
                  <a:lnTo>
                    <a:pt x="280387" y="129462"/>
                  </a:lnTo>
                  <a:lnTo>
                    <a:pt x="275825" y="131245"/>
                  </a:lnTo>
                  <a:lnTo>
                    <a:pt x="273824" y="131749"/>
                  </a:lnTo>
                  <a:lnTo>
                    <a:pt x="270311" y="133022"/>
                  </a:lnTo>
                  <a:lnTo>
                    <a:pt x="266115" y="135134"/>
                  </a:lnTo>
                  <a:lnTo>
                    <a:pt x="264045" y="138506"/>
                  </a:lnTo>
                  <a:lnTo>
                    <a:pt x="261430" y="142391"/>
                  </a:lnTo>
                  <a:lnTo>
                    <a:pt x="258920" y="144995"/>
                  </a:lnTo>
                  <a:lnTo>
                    <a:pt x="255490" y="147457"/>
                  </a:lnTo>
                  <a:lnTo>
                    <a:pt x="252294" y="148400"/>
                  </a:lnTo>
                  <a:lnTo>
                    <a:pt x="248277" y="149584"/>
                  </a:lnTo>
                  <a:lnTo>
                    <a:pt x="243206" y="150498"/>
                  </a:lnTo>
                  <a:lnTo>
                    <a:pt x="239620" y="150795"/>
                  </a:lnTo>
                  <a:lnTo>
                    <a:pt x="238552" y="150995"/>
                  </a:lnTo>
                  <a:lnTo>
                    <a:pt x="235394" y="151052"/>
                  </a:lnTo>
                  <a:lnTo>
                    <a:pt x="233845" y="150864"/>
                  </a:lnTo>
                  <a:lnTo>
                    <a:pt x="232693" y="150761"/>
                  </a:lnTo>
                  <a:lnTo>
                    <a:pt x="232226" y="151032"/>
                  </a:lnTo>
                  <a:lnTo>
                    <a:pt x="232070" y="151645"/>
                  </a:lnTo>
                  <a:lnTo>
                    <a:pt x="232009" y="153041"/>
                  </a:lnTo>
                  <a:lnTo>
                    <a:pt x="231791" y="154639"/>
                  </a:lnTo>
                  <a:lnTo>
                    <a:pt x="230793" y="155992"/>
                  </a:lnTo>
                  <a:lnTo>
                    <a:pt x="230084" y="156593"/>
                  </a:lnTo>
                  <a:lnTo>
                    <a:pt x="229253" y="156838"/>
                  </a:lnTo>
                  <a:lnTo>
                    <a:pt x="226604" y="156475"/>
                  </a:lnTo>
                  <a:lnTo>
                    <a:pt x="224383" y="156046"/>
                  </a:lnTo>
                  <a:lnTo>
                    <a:pt x="219090" y="155477"/>
                  </a:lnTo>
                  <a:lnTo>
                    <a:pt x="218040" y="155612"/>
                  </a:lnTo>
                  <a:lnTo>
                    <a:pt x="217647" y="155780"/>
                  </a:lnTo>
                  <a:lnTo>
                    <a:pt x="215995" y="156691"/>
                  </a:lnTo>
                  <a:lnTo>
                    <a:pt x="213455" y="158626"/>
                  </a:lnTo>
                  <a:lnTo>
                    <a:pt x="211732" y="160308"/>
                  </a:lnTo>
                  <a:lnTo>
                    <a:pt x="210449" y="161098"/>
                  </a:lnTo>
                  <a:lnTo>
                    <a:pt x="207378" y="161509"/>
                  </a:lnTo>
                  <a:lnTo>
                    <a:pt x="206039" y="162128"/>
                  </a:lnTo>
                  <a:lnTo>
                    <a:pt x="200319" y="166339"/>
                  </a:lnTo>
                  <a:lnTo>
                    <a:pt x="199101" y="167359"/>
                  </a:lnTo>
                  <a:lnTo>
                    <a:pt x="193213" y="171014"/>
                  </a:lnTo>
                  <a:lnTo>
                    <a:pt x="191548" y="172225"/>
                  </a:lnTo>
                  <a:lnTo>
                    <a:pt x="190248" y="173427"/>
                  </a:lnTo>
                  <a:lnTo>
                    <a:pt x="186731" y="176126"/>
                  </a:lnTo>
                  <a:lnTo>
                    <a:pt x="184485" y="177310"/>
                  </a:lnTo>
                  <a:lnTo>
                    <a:pt x="184076" y="178011"/>
                  </a:lnTo>
                  <a:lnTo>
                    <a:pt x="183967" y="179659"/>
                  </a:lnTo>
                  <a:lnTo>
                    <a:pt x="183967" y="183295"/>
                  </a:lnTo>
                  <a:lnTo>
                    <a:pt x="183967" y="186784"/>
                  </a:lnTo>
                  <a:lnTo>
                    <a:pt x="183967" y="191853"/>
                  </a:lnTo>
                  <a:lnTo>
                    <a:pt x="183967" y="196914"/>
                  </a:lnTo>
                  <a:lnTo>
                    <a:pt x="183967" y="202741"/>
                  </a:lnTo>
                  <a:lnTo>
                    <a:pt x="180993" y="202741"/>
                  </a:lnTo>
                  <a:lnTo>
                    <a:pt x="180994" y="202754"/>
                  </a:lnTo>
                  <a:lnTo>
                    <a:pt x="181080" y="203757"/>
                  </a:lnTo>
                  <a:lnTo>
                    <a:pt x="181729" y="205738"/>
                  </a:lnTo>
                  <a:lnTo>
                    <a:pt x="181954" y="207414"/>
                  </a:lnTo>
                  <a:lnTo>
                    <a:pt x="181631" y="208463"/>
                  </a:lnTo>
                  <a:lnTo>
                    <a:pt x="181328" y="209789"/>
                  </a:lnTo>
                  <a:lnTo>
                    <a:pt x="181458" y="211045"/>
                  </a:lnTo>
                  <a:lnTo>
                    <a:pt x="181954" y="212418"/>
                  </a:lnTo>
                  <a:lnTo>
                    <a:pt x="182408" y="213836"/>
                  </a:lnTo>
                  <a:lnTo>
                    <a:pt x="182408" y="214789"/>
                  </a:lnTo>
                  <a:lnTo>
                    <a:pt x="181501" y="215510"/>
                  </a:lnTo>
                  <a:lnTo>
                    <a:pt x="179418" y="215905"/>
                  </a:lnTo>
                  <a:lnTo>
                    <a:pt x="176923" y="216230"/>
                  </a:lnTo>
                  <a:lnTo>
                    <a:pt x="175098" y="216230"/>
                  </a:lnTo>
                  <a:lnTo>
                    <a:pt x="172356" y="215998"/>
                  </a:lnTo>
                  <a:lnTo>
                    <a:pt x="170650" y="216044"/>
                  </a:lnTo>
                  <a:lnTo>
                    <a:pt x="169160" y="216044"/>
                  </a:lnTo>
                  <a:lnTo>
                    <a:pt x="167832" y="216277"/>
                  </a:lnTo>
                  <a:lnTo>
                    <a:pt x="166190" y="217183"/>
                  </a:lnTo>
                  <a:lnTo>
                    <a:pt x="164365" y="218599"/>
                  </a:lnTo>
                  <a:lnTo>
                    <a:pt x="162076" y="220504"/>
                  </a:lnTo>
                  <a:lnTo>
                    <a:pt x="160705" y="221687"/>
                  </a:lnTo>
                  <a:lnTo>
                    <a:pt x="158880" y="221943"/>
                  </a:lnTo>
                  <a:lnTo>
                    <a:pt x="157057" y="221943"/>
                  </a:lnTo>
                  <a:lnTo>
                    <a:pt x="155275" y="220991"/>
                  </a:lnTo>
                  <a:lnTo>
                    <a:pt x="154130" y="220504"/>
                  </a:lnTo>
                  <a:lnTo>
                    <a:pt x="153375" y="220550"/>
                  </a:lnTo>
                  <a:lnTo>
                    <a:pt x="152132" y="221223"/>
                  </a:lnTo>
                  <a:lnTo>
                    <a:pt x="150664" y="221687"/>
                  </a:lnTo>
                  <a:lnTo>
                    <a:pt x="149292" y="221687"/>
                  </a:lnTo>
                  <a:lnTo>
                    <a:pt x="147004" y="220736"/>
                  </a:lnTo>
                  <a:lnTo>
                    <a:pt x="144262" y="219320"/>
                  </a:lnTo>
                  <a:lnTo>
                    <a:pt x="142663" y="218599"/>
                  </a:lnTo>
                  <a:lnTo>
                    <a:pt x="140386" y="218367"/>
                  </a:lnTo>
                  <a:lnTo>
                    <a:pt x="138097" y="217903"/>
                  </a:lnTo>
                  <a:lnTo>
                    <a:pt x="136498" y="218135"/>
                  </a:lnTo>
                  <a:lnTo>
                    <a:pt x="134448" y="218135"/>
                  </a:lnTo>
                  <a:lnTo>
                    <a:pt x="131705" y="219087"/>
                  </a:lnTo>
                  <a:lnTo>
                    <a:pt x="129416" y="219784"/>
                  </a:lnTo>
                  <a:lnTo>
                    <a:pt x="126911" y="220504"/>
                  </a:lnTo>
                  <a:lnTo>
                    <a:pt x="124060" y="221154"/>
                  </a:lnTo>
                  <a:lnTo>
                    <a:pt x="124752" y="223288"/>
                  </a:lnTo>
                  <a:lnTo>
                    <a:pt x="125735" y="224448"/>
                  </a:lnTo>
                  <a:lnTo>
                    <a:pt x="125735" y="225886"/>
                  </a:lnTo>
                  <a:lnTo>
                    <a:pt x="125269" y="227091"/>
                  </a:lnTo>
                  <a:lnTo>
                    <a:pt x="123898" y="228273"/>
                  </a:lnTo>
                  <a:lnTo>
                    <a:pt x="122333" y="229779"/>
                  </a:lnTo>
                  <a:lnTo>
                    <a:pt x="121427" y="230960"/>
                  </a:lnTo>
                  <a:lnTo>
                    <a:pt x="120509" y="232604"/>
                  </a:lnTo>
                  <a:lnTo>
                    <a:pt x="119828" y="233553"/>
                  </a:lnTo>
                  <a:lnTo>
                    <a:pt x="118651" y="235103"/>
                  </a:lnTo>
                  <a:lnTo>
                    <a:pt x="117605" y="237046"/>
                  </a:lnTo>
                  <a:lnTo>
                    <a:pt x="117280" y="238249"/>
                  </a:lnTo>
                  <a:lnTo>
                    <a:pt x="116859" y="239636"/>
                  </a:lnTo>
                  <a:lnTo>
                    <a:pt x="116049" y="240052"/>
                  </a:lnTo>
                  <a:lnTo>
                    <a:pt x="113263" y="240421"/>
                  </a:lnTo>
                  <a:lnTo>
                    <a:pt x="111493" y="240907"/>
                  </a:lnTo>
                  <a:lnTo>
                    <a:pt x="109949" y="241369"/>
                  </a:lnTo>
                  <a:lnTo>
                    <a:pt x="109373" y="242185"/>
                  </a:lnTo>
                  <a:lnTo>
                    <a:pt x="109280" y="242316"/>
                  </a:lnTo>
                  <a:lnTo>
                    <a:pt x="108836" y="243978"/>
                  </a:lnTo>
                  <a:lnTo>
                    <a:pt x="108836" y="245156"/>
                  </a:lnTo>
                  <a:lnTo>
                    <a:pt x="108395" y="246102"/>
                  </a:lnTo>
                  <a:lnTo>
                    <a:pt x="107735" y="248456"/>
                  </a:lnTo>
                  <a:lnTo>
                    <a:pt x="106851" y="250601"/>
                  </a:lnTo>
                  <a:lnTo>
                    <a:pt x="106181" y="253435"/>
                  </a:lnTo>
                  <a:lnTo>
                    <a:pt x="105522" y="255785"/>
                  </a:lnTo>
                  <a:lnTo>
                    <a:pt x="104638" y="259561"/>
                  </a:lnTo>
                  <a:lnTo>
                    <a:pt x="103752" y="263080"/>
                  </a:lnTo>
                  <a:lnTo>
                    <a:pt x="102650" y="266389"/>
                  </a:lnTo>
                  <a:lnTo>
                    <a:pt x="101765" y="268503"/>
                  </a:lnTo>
                  <a:lnTo>
                    <a:pt x="101095" y="269674"/>
                  </a:lnTo>
                  <a:lnTo>
                    <a:pt x="99551" y="271097"/>
                  </a:lnTo>
                  <a:lnTo>
                    <a:pt x="98223" y="272015"/>
                  </a:lnTo>
                  <a:lnTo>
                    <a:pt x="96680" y="273208"/>
                  </a:lnTo>
                  <a:lnTo>
                    <a:pt x="94908" y="274378"/>
                  </a:lnTo>
                  <a:lnTo>
                    <a:pt x="92480" y="275777"/>
                  </a:lnTo>
                  <a:lnTo>
                    <a:pt x="90482" y="276969"/>
                  </a:lnTo>
                  <a:lnTo>
                    <a:pt x="89670" y="277506"/>
                  </a:lnTo>
                  <a:lnTo>
                    <a:pt x="88712" y="278138"/>
                  </a:lnTo>
                  <a:lnTo>
                    <a:pt x="87167" y="279765"/>
                  </a:lnTo>
                  <a:lnTo>
                    <a:pt x="85839" y="282125"/>
                  </a:lnTo>
                  <a:lnTo>
                    <a:pt x="84954" y="284002"/>
                  </a:lnTo>
                  <a:lnTo>
                    <a:pt x="83409" y="287045"/>
                  </a:lnTo>
                  <a:lnTo>
                    <a:pt x="82308" y="288692"/>
                  </a:lnTo>
                  <a:lnTo>
                    <a:pt x="81640" y="289607"/>
                  </a:lnTo>
                  <a:lnTo>
                    <a:pt x="79868" y="290544"/>
                  </a:lnTo>
                  <a:lnTo>
                    <a:pt x="77882" y="291253"/>
                  </a:lnTo>
                  <a:lnTo>
                    <a:pt x="75668" y="292190"/>
                  </a:lnTo>
                  <a:lnTo>
                    <a:pt x="73898" y="293126"/>
                  </a:lnTo>
                  <a:lnTo>
                    <a:pt x="71469" y="294063"/>
                  </a:lnTo>
                  <a:lnTo>
                    <a:pt x="69925" y="294999"/>
                  </a:lnTo>
                  <a:lnTo>
                    <a:pt x="68812" y="296392"/>
                  </a:lnTo>
                  <a:lnTo>
                    <a:pt x="67928" y="298036"/>
                  </a:lnTo>
                  <a:lnTo>
                    <a:pt x="66827" y="300386"/>
                  </a:lnTo>
                  <a:lnTo>
                    <a:pt x="65940" y="302941"/>
                  </a:lnTo>
                  <a:lnTo>
                    <a:pt x="65499" y="304582"/>
                  </a:lnTo>
                  <a:lnTo>
                    <a:pt x="64170" y="310186"/>
                  </a:lnTo>
                  <a:lnTo>
                    <a:pt x="63727" y="313441"/>
                  </a:lnTo>
                  <a:lnTo>
                    <a:pt x="63285" y="315534"/>
                  </a:lnTo>
                  <a:lnTo>
                    <a:pt x="62625" y="318103"/>
                  </a:lnTo>
                  <a:lnTo>
                    <a:pt x="62184" y="322057"/>
                  </a:lnTo>
                  <a:lnTo>
                    <a:pt x="62184" y="325304"/>
                  </a:lnTo>
                  <a:lnTo>
                    <a:pt x="61740" y="327165"/>
                  </a:lnTo>
                  <a:lnTo>
                    <a:pt x="61514" y="328572"/>
                  </a:lnTo>
                  <a:lnTo>
                    <a:pt x="60412" y="330183"/>
                  </a:lnTo>
                  <a:lnTo>
                    <a:pt x="59527" y="331339"/>
                  </a:lnTo>
                  <a:lnTo>
                    <a:pt x="57984" y="332971"/>
                  </a:lnTo>
                  <a:lnTo>
                    <a:pt x="56655" y="333901"/>
                  </a:lnTo>
                  <a:lnTo>
                    <a:pt x="56213" y="334830"/>
                  </a:lnTo>
                  <a:lnTo>
                    <a:pt x="54884" y="335984"/>
                  </a:lnTo>
                  <a:lnTo>
                    <a:pt x="53557" y="337842"/>
                  </a:lnTo>
                  <a:lnTo>
                    <a:pt x="52455" y="338997"/>
                  </a:lnTo>
                  <a:lnTo>
                    <a:pt x="52671" y="339925"/>
                  </a:lnTo>
                  <a:lnTo>
                    <a:pt x="52899" y="341555"/>
                  </a:lnTo>
                  <a:lnTo>
                    <a:pt x="52228" y="343184"/>
                  </a:lnTo>
                  <a:lnTo>
                    <a:pt x="51570" y="345039"/>
                  </a:lnTo>
                  <a:lnTo>
                    <a:pt x="49799" y="347345"/>
                  </a:lnTo>
                  <a:lnTo>
                    <a:pt x="47812" y="348497"/>
                  </a:lnTo>
                  <a:lnTo>
                    <a:pt x="44930" y="348723"/>
                  </a:lnTo>
                  <a:lnTo>
                    <a:pt x="40956" y="348723"/>
                  </a:lnTo>
                  <a:lnTo>
                    <a:pt x="37858" y="348497"/>
                  </a:lnTo>
                  <a:lnTo>
                    <a:pt x="34100" y="348497"/>
                  </a:lnTo>
                  <a:lnTo>
                    <a:pt x="30786" y="348045"/>
                  </a:lnTo>
                  <a:lnTo>
                    <a:pt x="27688" y="347571"/>
                  </a:lnTo>
                  <a:lnTo>
                    <a:pt x="23931" y="347345"/>
                  </a:lnTo>
                  <a:lnTo>
                    <a:pt x="21273" y="347345"/>
                  </a:lnTo>
                  <a:lnTo>
                    <a:pt x="17960" y="347797"/>
                  </a:lnTo>
                  <a:lnTo>
                    <a:pt x="9333" y="347797"/>
                  </a:lnTo>
                  <a:lnTo>
                    <a:pt x="6017" y="348045"/>
                  </a:lnTo>
                  <a:lnTo>
                    <a:pt x="1149" y="348972"/>
                  </a:lnTo>
                  <a:lnTo>
                    <a:pt x="2" y="349192"/>
                  </a:lnTo>
                  <a:lnTo>
                    <a:pt x="0" y="349193"/>
                  </a:lnTo>
                  <a:lnTo>
                    <a:pt x="1597" y="338091"/>
                  </a:lnTo>
                  <a:lnTo>
                    <a:pt x="4639" y="332065"/>
                  </a:lnTo>
                  <a:lnTo>
                    <a:pt x="7056" y="329403"/>
                  </a:lnTo>
                  <a:lnTo>
                    <a:pt x="10806" y="328030"/>
                  </a:lnTo>
                  <a:lnTo>
                    <a:pt x="14248" y="321962"/>
                  </a:lnTo>
                  <a:lnTo>
                    <a:pt x="15452" y="316369"/>
                  </a:lnTo>
                  <a:lnTo>
                    <a:pt x="17717" y="313795"/>
                  </a:lnTo>
                  <a:lnTo>
                    <a:pt x="18427" y="311777"/>
                  </a:lnTo>
                  <a:lnTo>
                    <a:pt x="17531" y="310240"/>
                  </a:lnTo>
                  <a:lnTo>
                    <a:pt x="19667" y="307216"/>
                  </a:lnTo>
                  <a:lnTo>
                    <a:pt x="22253" y="302596"/>
                  </a:lnTo>
                  <a:lnTo>
                    <a:pt x="23449" y="299627"/>
                  </a:lnTo>
                  <a:lnTo>
                    <a:pt x="26471" y="295025"/>
                  </a:lnTo>
                  <a:lnTo>
                    <a:pt x="26840" y="294010"/>
                  </a:lnTo>
                  <a:lnTo>
                    <a:pt x="26566" y="292856"/>
                  </a:lnTo>
                  <a:lnTo>
                    <a:pt x="25382" y="293836"/>
                  </a:lnTo>
                  <a:lnTo>
                    <a:pt x="24114" y="295537"/>
                  </a:lnTo>
                  <a:lnTo>
                    <a:pt x="22607" y="296876"/>
                  </a:lnTo>
                  <a:lnTo>
                    <a:pt x="23223" y="295228"/>
                  </a:lnTo>
                  <a:lnTo>
                    <a:pt x="24406" y="292804"/>
                  </a:lnTo>
                  <a:lnTo>
                    <a:pt x="27094" y="290265"/>
                  </a:lnTo>
                  <a:lnTo>
                    <a:pt x="31327" y="287459"/>
                  </a:lnTo>
                  <a:lnTo>
                    <a:pt x="40121" y="277939"/>
                  </a:lnTo>
                  <a:lnTo>
                    <a:pt x="43433" y="276295"/>
                  </a:lnTo>
                  <a:lnTo>
                    <a:pt x="46409" y="272280"/>
                  </a:lnTo>
                  <a:lnTo>
                    <a:pt x="47475" y="268711"/>
                  </a:lnTo>
                  <a:lnTo>
                    <a:pt x="47766" y="260508"/>
                  </a:lnTo>
                  <a:lnTo>
                    <a:pt x="48827" y="256171"/>
                  </a:lnTo>
                  <a:lnTo>
                    <a:pt x="50770" y="252785"/>
                  </a:lnTo>
                  <a:lnTo>
                    <a:pt x="53087" y="246625"/>
                  </a:lnTo>
                  <a:lnTo>
                    <a:pt x="54845" y="243866"/>
                  </a:lnTo>
                  <a:lnTo>
                    <a:pt x="56000" y="238240"/>
                  </a:lnTo>
                  <a:lnTo>
                    <a:pt x="57253" y="236093"/>
                  </a:lnTo>
                  <a:lnTo>
                    <a:pt x="59495" y="235074"/>
                  </a:lnTo>
                  <a:lnTo>
                    <a:pt x="62682" y="232261"/>
                  </a:lnTo>
                  <a:lnTo>
                    <a:pt x="67464" y="230522"/>
                  </a:lnTo>
                  <a:lnTo>
                    <a:pt x="73129" y="226865"/>
                  </a:lnTo>
                  <a:lnTo>
                    <a:pt x="75785" y="224677"/>
                  </a:lnTo>
                  <a:lnTo>
                    <a:pt x="77554" y="221409"/>
                  </a:lnTo>
                  <a:lnTo>
                    <a:pt x="79455" y="214893"/>
                  </a:lnTo>
                  <a:lnTo>
                    <a:pt x="82853" y="208033"/>
                  </a:lnTo>
                  <a:lnTo>
                    <a:pt x="84594" y="202850"/>
                  </a:lnTo>
                  <a:lnTo>
                    <a:pt x="84625" y="202759"/>
                  </a:lnTo>
                  <a:lnTo>
                    <a:pt x="87616" y="200034"/>
                  </a:lnTo>
                  <a:lnTo>
                    <a:pt x="89646" y="196585"/>
                  </a:lnTo>
                  <a:lnTo>
                    <a:pt x="93079" y="195049"/>
                  </a:lnTo>
                  <a:lnTo>
                    <a:pt x="100260" y="194307"/>
                  </a:lnTo>
                  <a:lnTo>
                    <a:pt x="110936" y="191439"/>
                  </a:lnTo>
                  <a:lnTo>
                    <a:pt x="120520" y="187109"/>
                  </a:lnTo>
                  <a:lnTo>
                    <a:pt x="123229" y="185385"/>
                  </a:lnTo>
                  <a:lnTo>
                    <a:pt x="126128" y="181931"/>
                  </a:lnTo>
                  <a:lnTo>
                    <a:pt x="130951" y="177426"/>
                  </a:lnTo>
                  <a:lnTo>
                    <a:pt x="139953" y="172008"/>
                  </a:lnTo>
                  <a:lnTo>
                    <a:pt x="144096" y="168983"/>
                  </a:lnTo>
                  <a:lnTo>
                    <a:pt x="150417" y="161384"/>
                  </a:lnTo>
                  <a:lnTo>
                    <a:pt x="154621" y="155085"/>
                  </a:lnTo>
                  <a:lnTo>
                    <a:pt x="158112" y="151030"/>
                  </a:lnTo>
                  <a:lnTo>
                    <a:pt x="160526" y="147427"/>
                  </a:lnTo>
                  <a:lnTo>
                    <a:pt x="162214" y="143769"/>
                  </a:lnTo>
                  <a:lnTo>
                    <a:pt x="163171" y="137870"/>
                  </a:lnTo>
                  <a:lnTo>
                    <a:pt x="162528" y="135567"/>
                  </a:lnTo>
                  <a:lnTo>
                    <a:pt x="159869" y="131789"/>
                  </a:lnTo>
                  <a:lnTo>
                    <a:pt x="158083" y="130782"/>
                  </a:lnTo>
                  <a:lnTo>
                    <a:pt x="157606" y="128999"/>
                  </a:lnTo>
                  <a:lnTo>
                    <a:pt x="158558" y="125853"/>
                  </a:lnTo>
                  <a:lnTo>
                    <a:pt x="158538" y="120438"/>
                  </a:lnTo>
                  <a:lnTo>
                    <a:pt x="159083" y="111777"/>
                  </a:lnTo>
                  <a:lnTo>
                    <a:pt x="162040" y="104775"/>
                  </a:lnTo>
                  <a:lnTo>
                    <a:pt x="169282" y="95577"/>
                  </a:lnTo>
                  <a:lnTo>
                    <a:pt x="170628" y="91792"/>
                  </a:lnTo>
                  <a:lnTo>
                    <a:pt x="171456" y="85764"/>
                  </a:lnTo>
                  <a:lnTo>
                    <a:pt x="171529" y="83632"/>
                  </a:lnTo>
                  <a:lnTo>
                    <a:pt x="180586" y="75057"/>
                  </a:lnTo>
                  <a:lnTo>
                    <a:pt x="185892" y="68470"/>
                  </a:lnTo>
                  <a:lnTo>
                    <a:pt x="187737" y="66856"/>
                  </a:lnTo>
                  <a:lnTo>
                    <a:pt x="192418" y="63840"/>
                  </a:lnTo>
                  <a:lnTo>
                    <a:pt x="208755" y="57252"/>
                  </a:lnTo>
                  <a:lnTo>
                    <a:pt x="217990" y="52536"/>
                  </a:lnTo>
                  <a:lnTo>
                    <a:pt x="223379" y="49090"/>
                  </a:lnTo>
                  <a:lnTo>
                    <a:pt x="226590" y="45014"/>
                  </a:lnTo>
                  <a:lnTo>
                    <a:pt x="235493" y="28971"/>
                  </a:lnTo>
                  <a:lnTo>
                    <a:pt x="244240" y="6266"/>
                  </a:lnTo>
                  <a:lnTo>
                    <a:pt x="244964" y="3632"/>
                  </a:lnTo>
                  <a:lnTo>
                    <a:pt x="248875" y="2871"/>
                  </a:lnTo>
                  <a:lnTo>
                    <a:pt x="251641" y="2545"/>
                  </a:lnTo>
                  <a:lnTo>
                    <a:pt x="253865" y="1711"/>
                  </a:lnTo>
                  <a:lnTo>
                    <a:pt x="256627" y="0"/>
                  </a:lnTo>
                  <a:lnTo>
                    <a:pt x="259270" y="684"/>
                  </a:lnTo>
                  <a:lnTo>
                    <a:pt x="257947" y="1848"/>
                  </a:lnTo>
                  <a:lnTo>
                    <a:pt x="257947" y="4654"/>
                  </a:lnTo>
                  <a:lnTo>
                    <a:pt x="259826" y="7937"/>
                  </a:lnTo>
                  <a:lnTo>
                    <a:pt x="263083" y="11633"/>
                  </a:lnTo>
                  <a:lnTo>
                    <a:pt x="269013" y="16316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10" name="ee4p_MG_1_82333">
              <a:extLst>
                <a:ext uri="{FF2B5EF4-FFF2-40B4-BE49-F238E27FC236}">
                  <a16:creationId xmlns:a16="http://schemas.microsoft.com/office/drawing/2014/main" id="{5608FAA7-F277-3B79-20BE-EF463CE0FE05}"/>
                </a:ext>
              </a:extLst>
            </p:cNvPr>
            <p:cNvSpPr>
              <a:spLocks noChangeAspect="1"/>
            </p:cNvSpPr>
            <p:nvPr>
              <p:custDataLst>
                <p:tags r:id="rId138"/>
              </p:custDataLst>
            </p:nvPr>
          </p:nvSpPr>
          <p:spPr>
            <a:xfrm>
              <a:off x="7715923" y="5023911"/>
              <a:ext cx="200649" cy="399198"/>
            </a:xfrm>
            <a:custGeom>
              <a:avLst/>
              <a:gdLst>
                <a:gd name="connsiteX0" fmla="*/ 400733 w 427957"/>
                <a:gd name="connsiteY0" fmla="*/ 279043 h 828869"/>
                <a:gd name="connsiteX1" fmla="*/ 395603 w 427957"/>
                <a:gd name="connsiteY1" fmla="*/ 291689 h 828869"/>
                <a:gd name="connsiteX2" fmla="*/ 388944 w 427957"/>
                <a:gd name="connsiteY2" fmla="*/ 302875 h 828869"/>
                <a:gd name="connsiteX3" fmla="*/ 390819 w 427957"/>
                <a:gd name="connsiteY3" fmla="*/ 293532 h 828869"/>
                <a:gd name="connsiteX4" fmla="*/ 398536 w 427957"/>
                <a:gd name="connsiteY4" fmla="*/ 280085 h 828869"/>
                <a:gd name="connsiteX5" fmla="*/ 299205 w 427957"/>
                <a:gd name="connsiteY5" fmla="*/ 67301 h 828869"/>
                <a:gd name="connsiteX6" fmla="*/ 301705 w 427957"/>
                <a:gd name="connsiteY6" fmla="*/ 74011 h 828869"/>
                <a:gd name="connsiteX7" fmla="*/ 301180 w 427957"/>
                <a:gd name="connsiteY7" fmla="*/ 77284 h 828869"/>
                <a:gd name="connsiteX8" fmla="*/ 301260 w 427957"/>
                <a:gd name="connsiteY8" fmla="*/ 79484 h 828869"/>
                <a:gd name="connsiteX9" fmla="*/ 293462 w 427957"/>
                <a:gd name="connsiteY9" fmla="*/ 78573 h 828869"/>
                <a:gd name="connsiteX10" fmla="*/ 292238 w 427957"/>
                <a:gd name="connsiteY10" fmla="*/ 71022 h 828869"/>
                <a:gd name="connsiteX11" fmla="*/ 296055 w 427957"/>
                <a:gd name="connsiteY11" fmla="*/ 70786 h 828869"/>
                <a:gd name="connsiteX12" fmla="*/ 296886 w 427957"/>
                <a:gd name="connsiteY12" fmla="*/ 67684 h 828869"/>
                <a:gd name="connsiteX13" fmla="*/ 352400 w 427957"/>
                <a:gd name="connsiteY13" fmla="*/ 0 h 828869"/>
                <a:gd name="connsiteX14" fmla="*/ 355743 w 427957"/>
                <a:gd name="connsiteY14" fmla="*/ 35 h 828869"/>
                <a:gd name="connsiteX15" fmla="*/ 358625 w 427957"/>
                <a:gd name="connsiteY15" fmla="*/ 2665 h 828869"/>
                <a:gd name="connsiteX16" fmla="*/ 359694 w 427957"/>
                <a:gd name="connsiteY16" fmla="*/ 6555 h 828869"/>
                <a:gd name="connsiteX17" fmla="*/ 361695 w 427957"/>
                <a:gd name="connsiteY17" fmla="*/ 9418 h 828869"/>
                <a:gd name="connsiteX18" fmla="*/ 368554 w 427957"/>
                <a:gd name="connsiteY18" fmla="*/ 16157 h 828869"/>
                <a:gd name="connsiteX19" fmla="*/ 372021 w 427957"/>
                <a:gd name="connsiteY19" fmla="*/ 21190 h 828869"/>
                <a:gd name="connsiteX20" fmla="*/ 374739 w 427957"/>
                <a:gd name="connsiteY20" fmla="*/ 27479 h 828869"/>
                <a:gd name="connsiteX21" fmla="*/ 377913 w 427957"/>
                <a:gd name="connsiteY21" fmla="*/ 33520 h 828869"/>
                <a:gd name="connsiteX22" fmla="*/ 387816 w 427957"/>
                <a:gd name="connsiteY22" fmla="*/ 48118 h 828869"/>
                <a:gd name="connsiteX23" fmla="*/ 392051 w 427957"/>
                <a:gd name="connsiteY23" fmla="*/ 53737 h 828869"/>
                <a:gd name="connsiteX24" fmla="*/ 395664 w 427957"/>
                <a:gd name="connsiteY24" fmla="*/ 59713 h 828869"/>
                <a:gd name="connsiteX25" fmla="*/ 397424 w 427957"/>
                <a:gd name="connsiteY25" fmla="*/ 71638 h 828869"/>
                <a:gd name="connsiteX26" fmla="*/ 403716 w 427957"/>
                <a:gd name="connsiteY26" fmla="*/ 90190 h 828869"/>
                <a:gd name="connsiteX27" fmla="*/ 409662 w 427957"/>
                <a:gd name="connsiteY27" fmla="*/ 118087 h 828869"/>
                <a:gd name="connsiteX28" fmla="*/ 411484 w 427957"/>
                <a:gd name="connsiteY28" fmla="*/ 146742 h 828869"/>
                <a:gd name="connsiteX29" fmla="*/ 413308 w 427957"/>
                <a:gd name="connsiteY29" fmla="*/ 159904 h 828869"/>
                <a:gd name="connsiteX30" fmla="*/ 417933 w 427957"/>
                <a:gd name="connsiteY30" fmla="*/ 172295 h 828869"/>
                <a:gd name="connsiteX31" fmla="*/ 425506 w 427957"/>
                <a:gd name="connsiteY31" fmla="*/ 185166 h 828869"/>
                <a:gd name="connsiteX32" fmla="*/ 427957 w 427957"/>
                <a:gd name="connsiteY32" fmla="*/ 199488 h 828869"/>
                <a:gd name="connsiteX33" fmla="*/ 423331 w 427957"/>
                <a:gd name="connsiteY33" fmla="*/ 214252 h 828869"/>
                <a:gd name="connsiteX34" fmla="*/ 416632 w 427957"/>
                <a:gd name="connsiteY34" fmla="*/ 228172 h 828869"/>
                <a:gd name="connsiteX35" fmla="*/ 414904 w 427957"/>
                <a:gd name="connsiteY35" fmla="*/ 230787 h 828869"/>
                <a:gd name="connsiteX36" fmla="*/ 411746 w 427957"/>
                <a:gd name="connsiteY36" fmla="*/ 234362 h 828869"/>
                <a:gd name="connsiteX37" fmla="*/ 410321 w 427957"/>
                <a:gd name="connsiteY37" fmla="*/ 234204 h 828869"/>
                <a:gd name="connsiteX38" fmla="*/ 404961 w 427957"/>
                <a:gd name="connsiteY38" fmla="*/ 230610 h 828869"/>
                <a:gd name="connsiteX39" fmla="*/ 400576 w 427957"/>
                <a:gd name="connsiteY39" fmla="*/ 224728 h 828869"/>
                <a:gd name="connsiteX40" fmla="*/ 395019 w 427957"/>
                <a:gd name="connsiteY40" fmla="*/ 210880 h 828869"/>
                <a:gd name="connsiteX41" fmla="*/ 393004 w 427957"/>
                <a:gd name="connsiteY41" fmla="*/ 203856 h 828869"/>
                <a:gd name="connsiteX42" fmla="*/ 390679 w 427957"/>
                <a:gd name="connsiteY42" fmla="*/ 202747 h 828869"/>
                <a:gd name="connsiteX43" fmla="*/ 384189 w 427957"/>
                <a:gd name="connsiteY43" fmla="*/ 203358 h 828869"/>
                <a:gd name="connsiteX44" fmla="*/ 379488 w 427957"/>
                <a:gd name="connsiteY44" fmla="*/ 207730 h 828869"/>
                <a:gd name="connsiteX45" fmla="*/ 378631 w 427957"/>
                <a:gd name="connsiteY45" fmla="*/ 210483 h 828869"/>
                <a:gd name="connsiteX46" fmla="*/ 379644 w 427957"/>
                <a:gd name="connsiteY46" fmla="*/ 218291 h 828869"/>
                <a:gd name="connsiteX47" fmla="*/ 381425 w 427957"/>
                <a:gd name="connsiteY47" fmla="*/ 225317 h 828869"/>
                <a:gd name="connsiteX48" fmla="*/ 382218 w 427957"/>
                <a:gd name="connsiteY48" fmla="*/ 232447 h 828869"/>
                <a:gd name="connsiteX49" fmla="*/ 382357 w 427957"/>
                <a:gd name="connsiteY49" fmla="*/ 241428 h 828869"/>
                <a:gd name="connsiteX50" fmla="*/ 384103 w 427957"/>
                <a:gd name="connsiteY50" fmla="*/ 244144 h 828869"/>
                <a:gd name="connsiteX51" fmla="*/ 386688 w 427957"/>
                <a:gd name="connsiteY51" fmla="*/ 246429 h 828869"/>
                <a:gd name="connsiteX52" fmla="*/ 389361 w 427957"/>
                <a:gd name="connsiteY52" fmla="*/ 252311 h 828869"/>
                <a:gd name="connsiteX53" fmla="*/ 389836 w 427957"/>
                <a:gd name="connsiteY53" fmla="*/ 266339 h 828869"/>
                <a:gd name="connsiteX54" fmla="*/ 388194 w 427957"/>
                <a:gd name="connsiteY54" fmla="*/ 273429 h 828869"/>
                <a:gd name="connsiteX55" fmla="*/ 383611 w 427957"/>
                <a:gd name="connsiteY55" fmla="*/ 279515 h 828869"/>
                <a:gd name="connsiteX56" fmla="*/ 383884 w 427957"/>
                <a:gd name="connsiteY56" fmla="*/ 282884 h 828869"/>
                <a:gd name="connsiteX57" fmla="*/ 385577 w 427957"/>
                <a:gd name="connsiteY57" fmla="*/ 286340 h 828869"/>
                <a:gd name="connsiteX58" fmla="*/ 383953 w 427957"/>
                <a:gd name="connsiteY58" fmla="*/ 288429 h 828869"/>
                <a:gd name="connsiteX59" fmla="*/ 377862 w 427957"/>
                <a:gd name="connsiteY59" fmla="*/ 291075 h 828869"/>
                <a:gd name="connsiteX60" fmla="*/ 375393 w 427957"/>
                <a:gd name="connsiteY60" fmla="*/ 293406 h 828869"/>
                <a:gd name="connsiteX61" fmla="*/ 372096 w 427957"/>
                <a:gd name="connsiteY61" fmla="*/ 299606 h 828869"/>
                <a:gd name="connsiteX62" fmla="*/ 366752 w 427957"/>
                <a:gd name="connsiteY62" fmla="*/ 312271 h 828869"/>
                <a:gd name="connsiteX63" fmla="*/ 366029 w 427957"/>
                <a:gd name="connsiteY63" fmla="*/ 318739 h 828869"/>
                <a:gd name="connsiteX64" fmla="*/ 369377 w 427957"/>
                <a:gd name="connsiteY64" fmla="*/ 338448 h 828869"/>
                <a:gd name="connsiteX65" fmla="*/ 368439 w 427957"/>
                <a:gd name="connsiteY65" fmla="*/ 352441 h 828869"/>
                <a:gd name="connsiteX66" fmla="*/ 361633 w 427957"/>
                <a:gd name="connsiteY66" fmla="*/ 379224 h 828869"/>
                <a:gd name="connsiteX67" fmla="*/ 357722 w 427957"/>
                <a:gd name="connsiteY67" fmla="*/ 391944 h 828869"/>
                <a:gd name="connsiteX68" fmla="*/ 352181 w 427957"/>
                <a:gd name="connsiteY68" fmla="*/ 407161 h 828869"/>
                <a:gd name="connsiteX69" fmla="*/ 343698 w 427957"/>
                <a:gd name="connsiteY69" fmla="*/ 427250 h 828869"/>
                <a:gd name="connsiteX70" fmla="*/ 335287 w 427957"/>
                <a:gd name="connsiteY70" fmla="*/ 452495 h 828869"/>
                <a:gd name="connsiteX71" fmla="*/ 328143 w 427957"/>
                <a:gd name="connsiteY71" fmla="*/ 478517 h 828869"/>
                <a:gd name="connsiteX72" fmla="*/ 322861 w 427957"/>
                <a:gd name="connsiteY72" fmla="*/ 494179 h 828869"/>
                <a:gd name="connsiteX73" fmla="*/ 316864 w 427957"/>
                <a:gd name="connsiteY73" fmla="*/ 509615 h 828869"/>
                <a:gd name="connsiteX74" fmla="*/ 308662 w 427957"/>
                <a:gd name="connsiteY74" fmla="*/ 536955 h 828869"/>
                <a:gd name="connsiteX75" fmla="*/ 301687 w 427957"/>
                <a:gd name="connsiteY75" fmla="*/ 564750 h 828869"/>
                <a:gd name="connsiteX76" fmla="*/ 291327 w 427957"/>
                <a:gd name="connsiteY76" fmla="*/ 595393 h 828869"/>
                <a:gd name="connsiteX77" fmla="*/ 277029 w 427957"/>
                <a:gd name="connsiteY77" fmla="*/ 629641 h 828869"/>
                <a:gd name="connsiteX78" fmla="*/ 275486 w 427957"/>
                <a:gd name="connsiteY78" fmla="*/ 634117 h 828869"/>
                <a:gd name="connsiteX79" fmla="*/ 272518 w 427957"/>
                <a:gd name="connsiteY79" fmla="*/ 651653 h 828869"/>
                <a:gd name="connsiteX80" fmla="*/ 269309 w 427957"/>
                <a:gd name="connsiteY80" fmla="*/ 666889 h 828869"/>
                <a:gd name="connsiteX81" fmla="*/ 265479 w 427957"/>
                <a:gd name="connsiteY81" fmla="*/ 681996 h 828869"/>
                <a:gd name="connsiteX82" fmla="*/ 257462 w 427957"/>
                <a:gd name="connsiteY82" fmla="*/ 706995 h 828869"/>
                <a:gd name="connsiteX83" fmla="*/ 256549 w 427957"/>
                <a:gd name="connsiteY83" fmla="*/ 714714 h 828869"/>
                <a:gd name="connsiteX84" fmla="*/ 254732 w 427957"/>
                <a:gd name="connsiteY84" fmla="*/ 722123 h 828869"/>
                <a:gd name="connsiteX85" fmla="*/ 247010 w 427957"/>
                <a:gd name="connsiteY85" fmla="*/ 737841 h 828869"/>
                <a:gd name="connsiteX86" fmla="*/ 243748 w 427957"/>
                <a:gd name="connsiteY86" fmla="*/ 743693 h 828869"/>
                <a:gd name="connsiteX87" fmla="*/ 241442 w 427957"/>
                <a:gd name="connsiteY87" fmla="*/ 749918 h 828869"/>
                <a:gd name="connsiteX88" fmla="*/ 240145 w 427957"/>
                <a:gd name="connsiteY88" fmla="*/ 757809 h 828869"/>
                <a:gd name="connsiteX89" fmla="*/ 237842 w 427957"/>
                <a:gd name="connsiteY89" fmla="*/ 765430 h 828869"/>
                <a:gd name="connsiteX90" fmla="*/ 232187 w 427957"/>
                <a:gd name="connsiteY90" fmla="*/ 779452 h 828869"/>
                <a:gd name="connsiteX91" fmla="*/ 223752 w 427957"/>
                <a:gd name="connsiteY91" fmla="*/ 791535 h 828869"/>
                <a:gd name="connsiteX92" fmla="*/ 218020 w 427957"/>
                <a:gd name="connsiteY92" fmla="*/ 795930 h 828869"/>
                <a:gd name="connsiteX93" fmla="*/ 205603 w 427957"/>
                <a:gd name="connsiteY93" fmla="*/ 802311 h 828869"/>
                <a:gd name="connsiteX94" fmla="*/ 199311 w 427957"/>
                <a:gd name="connsiteY94" fmla="*/ 803604 h 828869"/>
                <a:gd name="connsiteX95" fmla="*/ 185358 w 427957"/>
                <a:gd name="connsiteY95" fmla="*/ 803752 h 828869"/>
                <a:gd name="connsiteX96" fmla="*/ 171853 w 427957"/>
                <a:gd name="connsiteY96" fmla="*/ 807387 h 828869"/>
                <a:gd name="connsiteX97" fmla="*/ 157769 w 427957"/>
                <a:gd name="connsiteY97" fmla="*/ 814388 h 828869"/>
                <a:gd name="connsiteX98" fmla="*/ 144224 w 427957"/>
                <a:gd name="connsiteY98" fmla="*/ 822419 h 828869"/>
                <a:gd name="connsiteX99" fmla="*/ 139035 w 427957"/>
                <a:gd name="connsiteY99" fmla="*/ 826227 h 828869"/>
                <a:gd name="connsiteX100" fmla="*/ 133314 w 427957"/>
                <a:gd name="connsiteY100" fmla="*/ 828405 h 828869"/>
                <a:gd name="connsiteX101" fmla="*/ 115413 w 427957"/>
                <a:gd name="connsiteY101" fmla="*/ 828869 h 828869"/>
                <a:gd name="connsiteX102" fmla="*/ 110051 w 427957"/>
                <a:gd name="connsiteY102" fmla="*/ 827136 h 828869"/>
                <a:gd name="connsiteX103" fmla="*/ 92145 w 427957"/>
                <a:gd name="connsiteY103" fmla="*/ 813938 h 828869"/>
                <a:gd name="connsiteX104" fmla="*/ 85210 w 427957"/>
                <a:gd name="connsiteY104" fmla="*/ 811763 h 828869"/>
                <a:gd name="connsiteX105" fmla="*/ 72061 w 427957"/>
                <a:gd name="connsiteY105" fmla="*/ 809955 h 828869"/>
                <a:gd name="connsiteX106" fmla="*/ 68089 w 427957"/>
                <a:gd name="connsiteY106" fmla="*/ 808836 h 828869"/>
                <a:gd name="connsiteX107" fmla="*/ 64484 w 427957"/>
                <a:gd name="connsiteY107" fmla="*/ 807116 h 828869"/>
                <a:gd name="connsiteX108" fmla="*/ 59169 w 427957"/>
                <a:gd name="connsiteY108" fmla="*/ 800227 h 828869"/>
                <a:gd name="connsiteX109" fmla="*/ 48624 w 427957"/>
                <a:gd name="connsiteY109" fmla="*/ 794409 h 828869"/>
                <a:gd name="connsiteX110" fmla="*/ 46090 w 427957"/>
                <a:gd name="connsiteY110" fmla="*/ 792588 h 828869"/>
                <a:gd name="connsiteX111" fmla="*/ 44488 w 427957"/>
                <a:gd name="connsiteY111" fmla="*/ 788575 h 828869"/>
                <a:gd name="connsiteX112" fmla="*/ 43395 w 427957"/>
                <a:gd name="connsiteY112" fmla="*/ 784255 h 828869"/>
                <a:gd name="connsiteX113" fmla="*/ 40666 w 427957"/>
                <a:gd name="connsiteY113" fmla="*/ 779423 h 828869"/>
                <a:gd name="connsiteX114" fmla="*/ 38641 w 427957"/>
                <a:gd name="connsiteY114" fmla="*/ 770227 h 828869"/>
                <a:gd name="connsiteX115" fmla="*/ 35207 w 427957"/>
                <a:gd name="connsiteY115" fmla="*/ 763796 h 828869"/>
                <a:gd name="connsiteX116" fmla="*/ 25489 w 427957"/>
                <a:gd name="connsiteY116" fmla="*/ 752452 h 828869"/>
                <a:gd name="connsiteX117" fmla="*/ 24453 w 427957"/>
                <a:gd name="connsiteY117" fmla="*/ 748834 h 828869"/>
                <a:gd name="connsiteX118" fmla="*/ 23673 w 427957"/>
                <a:gd name="connsiteY118" fmla="*/ 736810 h 828869"/>
                <a:gd name="connsiteX119" fmla="*/ 23984 w 427957"/>
                <a:gd name="connsiteY119" fmla="*/ 728680 h 828869"/>
                <a:gd name="connsiteX120" fmla="*/ 23036 w 427957"/>
                <a:gd name="connsiteY120" fmla="*/ 713809 h 828869"/>
                <a:gd name="connsiteX121" fmla="*/ 24142 w 427957"/>
                <a:gd name="connsiteY121" fmla="*/ 706818 h 828869"/>
                <a:gd name="connsiteX122" fmla="*/ 27549 w 427957"/>
                <a:gd name="connsiteY122" fmla="*/ 700523 h 828869"/>
                <a:gd name="connsiteX123" fmla="*/ 26154 w 427957"/>
                <a:gd name="connsiteY123" fmla="*/ 693717 h 828869"/>
                <a:gd name="connsiteX124" fmla="*/ 22532 w 427957"/>
                <a:gd name="connsiteY124" fmla="*/ 686565 h 828869"/>
                <a:gd name="connsiteX125" fmla="*/ 21174 w 427957"/>
                <a:gd name="connsiteY125" fmla="*/ 679170 h 828869"/>
                <a:gd name="connsiteX126" fmla="*/ 18501 w 427957"/>
                <a:gd name="connsiteY126" fmla="*/ 672441 h 828869"/>
                <a:gd name="connsiteX127" fmla="*/ 8333 w 427957"/>
                <a:gd name="connsiteY127" fmla="*/ 660326 h 828869"/>
                <a:gd name="connsiteX128" fmla="*/ 5944 w 427957"/>
                <a:gd name="connsiteY128" fmla="*/ 654369 h 828869"/>
                <a:gd name="connsiteX129" fmla="*/ 4291 w 427957"/>
                <a:gd name="connsiteY129" fmla="*/ 648201 h 828869"/>
                <a:gd name="connsiteX130" fmla="*/ 456 w 427957"/>
                <a:gd name="connsiteY130" fmla="*/ 628998 h 828869"/>
                <a:gd name="connsiteX131" fmla="*/ 0 w 427957"/>
                <a:gd name="connsiteY131" fmla="*/ 622326 h 828869"/>
                <a:gd name="connsiteX132" fmla="*/ 560 w 427957"/>
                <a:gd name="connsiteY132" fmla="*/ 608207 h 828869"/>
                <a:gd name="connsiteX133" fmla="*/ 1977 w 427957"/>
                <a:gd name="connsiteY133" fmla="*/ 600948 h 828869"/>
                <a:gd name="connsiteX134" fmla="*/ 4447 w 427957"/>
                <a:gd name="connsiteY134" fmla="*/ 595897 h 828869"/>
                <a:gd name="connsiteX135" fmla="*/ 5065 w 427957"/>
                <a:gd name="connsiteY135" fmla="*/ 592125 h 828869"/>
                <a:gd name="connsiteX136" fmla="*/ 6667 w 427957"/>
                <a:gd name="connsiteY136" fmla="*/ 588889 h 828869"/>
                <a:gd name="connsiteX137" fmla="*/ 9086 w 427957"/>
                <a:gd name="connsiteY137" fmla="*/ 586294 h 828869"/>
                <a:gd name="connsiteX138" fmla="*/ 10698 w 427957"/>
                <a:gd name="connsiteY138" fmla="*/ 583206 h 828869"/>
                <a:gd name="connsiteX139" fmla="*/ 14494 w 427957"/>
                <a:gd name="connsiteY139" fmla="*/ 565208 h 828869"/>
                <a:gd name="connsiteX140" fmla="*/ 19307 w 427957"/>
                <a:gd name="connsiteY140" fmla="*/ 561215 h 828869"/>
                <a:gd name="connsiteX141" fmla="*/ 26443 w 427957"/>
                <a:gd name="connsiteY141" fmla="*/ 558925 h 828869"/>
                <a:gd name="connsiteX142" fmla="*/ 32164 w 427957"/>
                <a:gd name="connsiteY142" fmla="*/ 554232 h 828869"/>
                <a:gd name="connsiteX143" fmla="*/ 35448 w 427957"/>
                <a:gd name="connsiteY143" fmla="*/ 547897 h 828869"/>
                <a:gd name="connsiteX144" fmla="*/ 38735 w 427957"/>
                <a:gd name="connsiteY144" fmla="*/ 534842 h 828869"/>
                <a:gd name="connsiteX145" fmla="*/ 47735 w 427957"/>
                <a:gd name="connsiteY145" fmla="*/ 521888 h 828869"/>
                <a:gd name="connsiteX146" fmla="*/ 50938 w 427957"/>
                <a:gd name="connsiteY146" fmla="*/ 515085 h 828869"/>
                <a:gd name="connsiteX147" fmla="*/ 58192 w 427957"/>
                <a:gd name="connsiteY147" fmla="*/ 504813 h 828869"/>
                <a:gd name="connsiteX148" fmla="*/ 64617 w 427957"/>
                <a:gd name="connsiteY148" fmla="*/ 490367 h 828869"/>
                <a:gd name="connsiteX149" fmla="*/ 66567 w 427957"/>
                <a:gd name="connsiteY149" fmla="*/ 483566 h 828869"/>
                <a:gd name="connsiteX150" fmla="*/ 67966 w 427957"/>
                <a:gd name="connsiteY150" fmla="*/ 476599 h 828869"/>
                <a:gd name="connsiteX151" fmla="*/ 69597 w 427957"/>
                <a:gd name="connsiteY151" fmla="*/ 461340 h 828869"/>
                <a:gd name="connsiteX152" fmla="*/ 70824 w 427957"/>
                <a:gd name="connsiteY152" fmla="*/ 453751 h 828869"/>
                <a:gd name="connsiteX153" fmla="*/ 70580 w 427957"/>
                <a:gd name="connsiteY153" fmla="*/ 446238 h 828869"/>
                <a:gd name="connsiteX154" fmla="*/ 66892 w 427957"/>
                <a:gd name="connsiteY154" fmla="*/ 438521 h 828869"/>
                <a:gd name="connsiteX155" fmla="*/ 58141 w 427957"/>
                <a:gd name="connsiteY155" fmla="*/ 424520 h 828869"/>
                <a:gd name="connsiteX156" fmla="*/ 57857 w 427957"/>
                <a:gd name="connsiteY156" fmla="*/ 421906 h 828869"/>
                <a:gd name="connsiteX157" fmla="*/ 58551 w 427957"/>
                <a:gd name="connsiteY157" fmla="*/ 411511 h 828869"/>
                <a:gd name="connsiteX158" fmla="*/ 57803 w 427957"/>
                <a:gd name="connsiteY158" fmla="*/ 403995 h 828869"/>
                <a:gd name="connsiteX159" fmla="*/ 54584 w 427957"/>
                <a:gd name="connsiteY159" fmla="*/ 396511 h 828869"/>
                <a:gd name="connsiteX160" fmla="*/ 50440 w 427957"/>
                <a:gd name="connsiteY160" fmla="*/ 389461 h 828869"/>
                <a:gd name="connsiteX161" fmla="*/ 46369 w 427957"/>
                <a:gd name="connsiteY161" fmla="*/ 376293 h 828869"/>
                <a:gd name="connsiteX162" fmla="*/ 44392 w 427957"/>
                <a:gd name="connsiteY162" fmla="*/ 354549 h 828869"/>
                <a:gd name="connsiteX163" fmla="*/ 44807 w 427957"/>
                <a:gd name="connsiteY163" fmla="*/ 346693 h 828869"/>
                <a:gd name="connsiteX164" fmla="*/ 43615 w 427957"/>
                <a:gd name="connsiteY164" fmla="*/ 339718 h 828869"/>
                <a:gd name="connsiteX165" fmla="*/ 40655 w 427957"/>
                <a:gd name="connsiteY165" fmla="*/ 333070 h 828869"/>
                <a:gd name="connsiteX166" fmla="*/ 42777 w 427957"/>
                <a:gd name="connsiteY166" fmla="*/ 321482 h 828869"/>
                <a:gd name="connsiteX167" fmla="*/ 68957 w 427957"/>
                <a:gd name="connsiteY167" fmla="*/ 279491 h 828869"/>
                <a:gd name="connsiteX168" fmla="*/ 69806 w 427957"/>
                <a:gd name="connsiteY168" fmla="*/ 274551 h 828869"/>
                <a:gd name="connsiteX169" fmla="*/ 68753 w 427957"/>
                <a:gd name="connsiteY169" fmla="*/ 261767 h 828869"/>
                <a:gd name="connsiteX170" fmla="*/ 69291 w 427957"/>
                <a:gd name="connsiteY170" fmla="*/ 254331 h 828869"/>
                <a:gd name="connsiteX171" fmla="*/ 70205 w 427957"/>
                <a:gd name="connsiteY171" fmla="*/ 251577 h 828869"/>
                <a:gd name="connsiteX172" fmla="*/ 72200 w 427957"/>
                <a:gd name="connsiteY172" fmla="*/ 249968 h 828869"/>
                <a:gd name="connsiteX173" fmla="*/ 76682 w 427957"/>
                <a:gd name="connsiteY173" fmla="*/ 249191 h 828869"/>
                <a:gd name="connsiteX174" fmla="*/ 97847 w 427957"/>
                <a:gd name="connsiteY174" fmla="*/ 247367 h 828869"/>
                <a:gd name="connsiteX175" fmla="*/ 100566 w 427957"/>
                <a:gd name="connsiteY175" fmla="*/ 246081 h 828869"/>
                <a:gd name="connsiteX176" fmla="*/ 105846 w 427957"/>
                <a:gd name="connsiteY176" fmla="*/ 242543 h 828869"/>
                <a:gd name="connsiteX177" fmla="*/ 113104 w 427957"/>
                <a:gd name="connsiteY177" fmla="*/ 235723 h 828869"/>
                <a:gd name="connsiteX178" fmla="*/ 116423 w 427957"/>
                <a:gd name="connsiteY178" fmla="*/ 233760 h 828869"/>
                <a:gd name="connsiteX179" fmla="*/ 119295 w 427957"/>
                <a:gd name="connsiteY179" fmla="*/ 234475 h 828869"/>
                <a:gd name="connsiteX180" fmla="*/ 121135 w 427957"/>
                <a:gd name="connsiteY180" fmla="*/ 237400 h 828869"/>
                <a:gd name="connsiteX181" fmla="*/ 123492 w 427957"/>
                <a:gd name="connsiteY181" fmla="*/ 238996 h 828869"/>
                <a:gd name="connsiteX182" fmla="*/ 132031 w 427957"/>
                <a:gd name="connsiteY182" fmla="*/ 235905 h 828869"/>
                <a:gd name="connsiteX183" fmla="*/ 135315 w 427957"/>
                <a:gd name="connsiteY183" fmla="*/ 235811 h 828869"/>
                <a:gd name="connsiteX184" fmla="*/ 138660 w 427957"/>
                <a:gd name="connsiteY184" fmla="*/ 236315 h 828869"/>
                <a:gd name="connsiteX185" fmla="*/ 140227 w 427957"/>
                <a:gd name="connsiteY185" fmla="*/ 233473 h 828869"/>
                <a:gd name="connsiteX186" fmla="*/ 141162 w 427957"/>
                <a:gd name="connsiteY186" fmla="*/ 229667 h 828869"/>
                <a:gd name="connsiteX187" fmla="*/ 142408 w 427957"/>
                <a:gd name="connsiteY187" fmla="*/ 226980 h 828869"/>
                <a:gd name="connsiteX188" fmla="*/ 144698 w 427957"/>
                <a:gd name="connsiteY188" fmla="*/ 225459 h 828869"/>
                <a:gd name="connsiteX189" fmla="*/ 155699 w 427957"/>
                <a:gd name="connsiteY189" fmla="*/ 224629 h 828869"/>
                <a:gd name="connsiteX190" fmla="*/ 162708 w 427957"/>
                <a:gd name="connsiteY190" fmla="*/ 223538 h 828869"/>
                <a:gd name="connsiteX191" fmla="*/ 171783 w 427957"/>
                <a:gd name="connsiteY191" fmla="*/ 220876 h 828869"/>
                <a:gd name="connsiteX192" fmla="*/ 173739 w 427957"/>
                <a:gd name="connsiteY192" fmla="*/ 221398 h 828869"/>
                <a:gd name="connsiteX193" fmla="*/ 181056 w 427957"/>
                <a:gd name="connsiteY193" fmla="*/ 230971 h 828869"/>
                <a:gd name="connsiteX194" fmla="*/ 183277 w 427957"/>
                <a:gd name="connsiteY194" fmla="*/ 231796 h 828869"/>
                <a:gd name="connsiteX195" fmla="*/ 186122 w 427957"/>
                <a:gd name="connsiteY195" fmla="*/ 232187 h 828869"/>
                <a:gd name="connsiteX196" fmla="*/ 188610 w 427957"/>
                <a:gd name="connsiteY196" fmla="*/ 230444 h 828869"/>
                <a:gd name="connsiteX197" fmla="*/ 182669 w 427957"/>
                <a:gd name="connsiteY197" fmla="*/ 225435 h 828869"/>
                <a:gd name="connsiteX198" fmla="*/ 181772 w 427957"/>
                <a:gd name="connsiteY198" fmla="*/ 222601 h 828869"/>
                <a:gd name="connsiteX199" fmla="*/ 182085 w 427957"/>
                <a:gd name="connsiteY199" fmla="*/ 219384 h 828869"/>
                <a:gd name="connsiteX200" fmla="*/ 185267 w 427957"/>
                <a:gd name="connsiteY200" fmla="*/ 212492 h 828869"/>
                <a:gd name="connsiteX201" fmla="*/ 190595 w 427957"/>
                <a:gd name="connsiteY201" fmla="*/ 207237 h 828869"/>
                <a:gd name="connsiteX202" fmla="*/ 202415 w 427957"/>
                <a:gd name="connsiteY202" fmla="*/ 199255 h 828869"/>
                <a:gd name="connsiteX203" fmla="*/ 214696 w 427957"/>
                <a:gd name="connsiteY203" fmla="*/ 190030 h 828869"/>
                <a:gd name="connsiteX204" fmla="*/ 218264 w 427957"/>
                <a:gd name="connsiteY204" fmla="*/ 189390 h 828869"/>
                <a:gd name="connsiteX205" fmla="*/ 221283 w 427957"/>
                <a:gd name="connsiteY205" fmla="*/ 190852 h 828869"/>
                <a:gd name="connsiteX206" fmla="*/ 223597 w 427957"/>
                <a:gd name="connsiteY206" fmla="*/ 201730 h 828869"/>
                <a:gd name="connsiteX207" fmla="*/ 223308 w 427957"/>
                <a:gd name="connsiteY207" fmla="*/ 203524 h 828869"/>
                <a:gd name="connsiteX208" fmla="*/ 225268 w 427957"/>
                <a:gd name="connsiteY208" fmla="*/ 203773 h 828869"/>
                <a:gd name="connsiteX209" fmla="*/ 227559 w 427957"/>
                <a:gd name="connsiteY209" fmla="*/ 202429 h 828869"/>
                <a:gd name="connsiteX210" fmla="*/ 229584 w 427957"/>
                <a:gd name="connsiteY210" fmla="*/ 198036 h 828869"/>
                <a:gd name="connsiteX211" fmla="*/ 229688 w 427957"/>
                <a:gd name="connsiteY211" fmla="*/ 194390 h 828869"/>
                <a:gd name="connsiteX212" fmla="*/ 228038 w 427957"/>
                <a:gd name="connsiteY212" fmla="*/ 190892 h 828869"/>
                <a:gd name="connsiteX213" fmla="*/ 227235 w 427957"/>
                <a:gd name="connsiteY213" fmla="*/ 187935 h 828869"/>
                <a:gd name="connsiteX214" fmla="*/ 227165 w 427957"/>
                <a:gd name="connsiteY214" fmla="*/ 185214 h 828869"/>
                <a:gd name="connsiteX215" fmla="*/ 233390 w 427957"/>
                <a:gd name="connsiteY215" fmla="*/ 178788 h 828869"/>
                <a:gd name="connsiteX216" fmla="*/ 238294 w 427957"/>
                <a:gd name="connsiteY216" fmla="*/ 172651 h 828869"/>
                <a:gd name="connsiteX217" fmla="*/ 240560 w 427957"/>
                <a:gd name="connsiteY217" fmla="*/ 165334 h 828869"/>
                <a:gd name="connsiteX218" fmla="*/ 242529 w 427957"/>
                <a:gd name="connsiteY218" fmla="*/ 161964 h 828869"/>
                <a:gd name="connsiteX219" fmla="*/ 247688 w 427957"/>
                <a:gd name="connsiteY219" fmla="*/ 158166 h 828869"/>
                <a:gd name="connsiteX220" fmla="*/ 249209 w 427957"/>
                <a:gd name="connsiteY220" fmla="*/ 158768 h 828869"/>
                <a:gd name="connsiteX221" fmla="*/ 250412 w 427957"/>
                <a:gd name="connsiteY221" fmla="*/ 161859 h 828869"/>
                <a:gd name="connsiteX222" fmla="*/ 251082 w 427957"/>
                <a:gd name="connsiteY222" fmla="*/ 165127 h 828869"/>
                <a:gd name="connsiteX223" fmla="*/ 249758 w 427957"/>
                <a:gd name="connsiteY223" fmla="*/ 168371 h 828869"/>
                <a:gd name="connsiteX224" fmla="*/ 247867 w 427957"/>
                <a:gd name="connsiteY224" fmla="*/ 171580 h 828869"/>
                <a:gd name="connsiteX225" fmla="*/ 247104 w 427957"/>
                <a:gd name="connsiteY225" fmla="*/ 175863 h 828869"/>
                <a:gd name="connsiteX226" fmla="*/ 250013 w 427957"/>
                <a:gd name="connsiteY226" fmla="*/ 176691 h 828869"/>
                <a:gd name="connsiteX227" fmla="*/ 252761 w 427957"/>
                <a:gd name="connsiteY227" fmla="*/ 175649 h 828869"/>
                <a:gd name="connsiteX228" fmla="*/ 256779 w 427957"/>
                <a:gd name="connsiteY228" fmla="*/ 167905 h 828869"/>
                <a:gd name="connsiteX229" fmla="*/ 261367 w 427957"/>
                <a:gd name="connsiteY229" fmla="*/ 160582 h 828869"/>
                <a:gd name="connsiteX230" fmla="*/ 264091 w 427957"/>
                <a:gd name="connsiteY230" fmla="*/ 156778 h 828869"/>
                <a:gd name="connsiteX231" fmla="*/ 267528 w 427957"/>
                <a:gd name="connsiteY231" fmla="*/ 154137 h 828869"/>
                <a:gd name="connsiteX232" fmla="*/ 273236 w 427957"/>
                <a:gd name="connsiteY232" fmla="*/ 154668 h 828869"/>
                <a:gd name="connsiteX233" fmla="*/ 278788 w 427957"/>
                <a:gd name="connsiteY233" fmla="*/ 156304 h 828869"/>
                <a:gd name="connsiteX234" fmla="*/ 269748 w 427957"/>
                <a:gd name="connsiteY234" fmla="*/ 148579 h 828869"/>
                <a:gd name="connsiteX235" fmla="*/ 267485 w 427957"/>
                <a:gd name="connsiteY235" fmla="*/ 138004 h 828869"/>
                <a:gd name="connsiteX236" fmla="*/ 278255 w 427957"/>
                <a:gd name="connsiteY236" fmla="*/ 119721 h 828869"/>
                <a:gd name="connsiteX237" fmla="*/ 278360 w 427957"/>
                <a:gd name="connsiteY237" fmla="*/ 115917 h 828869"/>
                <a:gd name="connsiteX238" fmla="*/ 279916 w 427957"/>
                <a:gd name="connsiteY238" fmla="*/ 114744 h 828869"/>
                <a:gd name="connsiteX239" fmla="*/ 280645 w 427957"/>
                <a:gd name="connsiteY239" fmla="*/ 113271 h 828869"/>
                <a:gd name="connsiteX240" fmla="*/ 275068 w 427957"/>
                <a:gd name="connsiteY240" fmla="*/ 107099 h 828869"/>
                <a:gd name="connsiteX241" fmla="*/ 274015 w 427957"/>
                <a:gd name="connsiteY241" fmla="*/ 104040 h 828869"/>
                <a:gd name="connsiteX242" fmla="*/ 274752 w 427957"/>
                <a:gd name="connsiteY242" fmla="*/ 99404 h 828869"/>
                <a:gd name="connsiteX243" fmla="*/ 277417 w 427957"/>
                <a:gd name="connsiteY243" fmla="*/ 95284 h 828869"/>
                <a:gd name="connsiteX244" fmla="*/ 279836 w 427957"/>
                <a:gd name="connsiteY244" fmla="*/ 92405 h 828869"/>
                <a:gd name="connsiteX245" fmla="*/ 283270 w 427957"/>
                <a:gd name="connsiteY245" fmla="*/ 91296 h 828869"/>
                <a:gd name="connsiteX246" fmla="*/ 285999 w 427957"/>
                <a:gd name="connsiteY246" fmla="*/ 92882 h 828869"/>
                <a:gd name="connsiteX247" fmla="*/ 291994 w 427957"/>
                <a:gd name="connsiteY247" fmla="*/ 97947 h 828869"/>
                <a:gd name="connsiteX248" fmla="*/ 296030 w 427957"/>
                <a:gd name="connsiteY248" fmla="*/ 98718 h 828869"/>
                <a:gd name="connsiteX249" fmla="*/ 300913 w 427957"/>
                <a:gd name="connsiteY249" fmla="*/ 93854 h 828869"/>
                <a:gd name="connsiteX250" fmla="*/ 304902 w 427957"/>
                <a:gd name="connsiteY250" fmla="*/ 87782 h 828869"/>
                <a:gd name="connsiteX251" fmla="*/ 310907 w 427957"/>
                <a:gd name="connsiteY251" fmla="*/ 83606 h 828869"/>
                <a:gd name="connsiteX252" fmla="*/ 317713 w 427957"/>
                <a:gd name="connsiteY252" fmla="*/ 81026 h 828869"/>
                <a:gd name="connsiteX253" fmla="*/ 328084 w 427957"/>
                <a:gd name="connsiteY253" fmla="*/ 71475 h 828869"/>
                <a:gd name="connsiteX254" fmla="*/ 334829 w 427957"/>
                <a:gd name="connsiteY254" fmla="*/ 51498 h 828869"/>
                <a:gd name="connsiteX255" fmla="*/ 335367 w 427957"/>
                <a:gd name="connsiteY255" fmla="*/ 45672 h 828869"/>
                <a:gd name="connsiteX256" fmla="*/ 333875 w 427957"/>
                <a:gd name="connsiteY256" fmla="*/ 38606 h 828869"/>
                <a:gd name="connsiteX257" fmla="*/ 331481 w 427957"/>
                <a:gd name="connsiteY257" fmla="*/ 31896 h 828869"/>
                <a:gd name="connsiteX258" fmla="*/ 327484 w 427957"/>
                <a:gd name="connsiteY258" fmla="*/ 23521 h 828869"/>
                <a:gd name="connsiteX259" fmla="*/ 328524 w 427957"/>
                <a:gd name="connsiteY259" fmla="*/ 21664 h 828869"/>
                <a:gd name="connsiteX260" fmla="*/ 334194 w 427957"/>
                <a:gd name="connsiteY260" fmla="*/ 22776 h 828869"/>
                <a:gd name="connsiteX261" fmla="*/ 336096 w 427957"/>
                <a:gd name="connsiteY261" fmla="*/ 21608 h 828869"/>
                <a:gd name="connsiteX262" fmla="*/ 342257 w 427957"/>
                <a:gd name="connsiteY262" fmla="*/ 14197 h 828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</a:cxnLst>
              <a:rect l="l" t="t" r="r" b="b"/>
              <a:pathLst>
                <a:path w="427957" h="828869">
                  <a:moveTo>
                    <a:pt x="400733" y="279043"/>
                  </a:moveTo>
                  <a:lnTo>
                    <a:pt x="395603" y="291689"/>
                  </a:lnTo>
                  <a:lnTo>
                    <a:pt x="388944" y="302875"/>
                  </a:lnTo>
                  <a:lnTo>
                    <a:pt x="390819" y="293532"/>
                  </a:lnTo>
                  <a:lnTo>
                    <a:pt x="398536" y="280085"/>
                  </a:lnTo>
                  <a:close/>
                  <a:moveTo>
                    <a:pt x="299205" y="67301"/>
                  </a:moveTo>
                  <a:lnTo>
                    <a:pt x="301705" y="74011"/>
                  </a:lnTo>
                  <a:lnTo>
                    <a:pt x="301180" y="77284"/>
                  </a:lnTo>
                  <a:lnTo>
                    <a:pt x="301260" y="79484"/>
                  </a:lnTo>
                  <a:lnTo>
                    <a:pt x="293462" y="78573"/>
                  </a:lnTo>
                  <a:lnTo>
                    <a:pt x="292238" y="71022"/>
                  </a:lnTo>
                  <a:lnTo>
                    <a:pt x="296055" y="70786"/>
                  </a:lnTo>
                  <a:lnTo>
                    <a:pt x="296886" y="67684"/>
                  </a:lnTo>
                  <a:close/>
                  <a:moveTo>
                    <a:pt x="352400" y="0"/>
                  </a:moveTo>
                  <a:lnTo>
                    <a:pt x="355743" y="35"/>
                  </a:lnTo>
                  <a:lnTo>
                    <a:pt x="358625" y="2665"/>
                  </a:lnTo>
                  <a:lnTo>
                    <a:pt x="359694" y="6555"/>
                  </a:lnTo>
                  <a:lnTo>
                    <a:pt x="361695" y="9418"/>
                  </a:lnTo>
                  <a:lnTo>
                    <a:pt x="368554" y="16157"/>
                  </a:lnTo>
                  <a:lnTo>
                    <a:pt x="372021" y="21190"/>
                  </a:lnTo>
                  <a:lnTo>
                    <a:pt x="374739" y="27479"/>
                  </a:lnTo>
                  <a:lnTo>
                    <a:pt x="377913" y="33520"/>
                  </a:lnTo>
                  <a:lnTo>
                    <a:pt x="387816" y="48118"/>
                  </a:lnTo>
                  <a:lnTo>
                    <a:pt x="392051" y="53737"/>
                  </a:lnTo>
                  <a:lnTo>
                    <a:pt x="395664" y="59713"/>
                  </a:lnTo>
                  <a:lnTo>
                    <a:pt x="397424" y="71638"/>
                  </a:lnTo>
                  <a:lnTo>
                    <a:pt x="403716" y="90190"/>
                  </a:lnTo>
                  <a:lnTo>
                    <a:pt x="409662" y="118087"/>
                  </a:lnTo>
                  <a:lnTo>
                    <a:pt x="411484" y="146742"/>
                  </a:lnTo>
                  <a:lnTo>
                    <a:pt x="413308" y="159904"/>
                  </a:lnTo>
                  <a:lnTo>
                    <a:pt x="417933" y="172295"/>
                  </a:lnTo>
                  <a:lnTo>
                    <a:pt x="425506" y="185166"/>
                  </a:lnTo>
                  <a:lnTo>
                    <a:pt x="427957" y="199488"/>
                  </a:lnTo>
                  <a:lnTo>
                    <a:pt x="423331" y="214252"/>
                  </a:lnTo>
                  <a:lnTo>
                    <a:pt x="416632" y="228172"/>
                  </a:lnTo>
                  <a:lnTo>
                    <a:pt x="414904" y="230787"/>
                  </a:lnTo>
                  <a:lnTo>
                    <a:pt x="411746" y="234362"/>
                  </a:lnTo>
                  <a:lnTo>
                    <a:pt x="410321" y="234204"/>
                  </a:lnTo>
                  <a:lnTo>
                    <a:pt x="404961" y="230610"/>
                  </a:lnTo>
                  <a:lnTo>
                    <a:pt x="400576" y="224728"/>
                  </a:lnTo>
                  <a:lnTo>
                    <a:pt x="395019" y="210880"/>
                  </a:lnTo>
                  <a:lnTo>
                    <a:pt x="393004" y="203856"/>
                  </a:lnTo>
                  <a:lnTo>
                    <a:pt x="390679" y="202747"/>
                  </a:lnTo>
                  <a:lnTo>
                    <a:pt x="384189" y="203358"/>
                  </a:lnTo>
                  <a:lnTo>
                    <a:pt x="379488" y="207730"/>
                  </a:lnTo>
                  <a:lnTo>
                    <a:pt x="378631" y="210483"/>
                  </a:lnTo>
                  <a:lnTo>
                    <a:pt x="379644" y="218291"/>
                  </a:lnTo>
                  <a:lnTo>
                    <a:pt x="381425" y="225317"/>
                  </a:lnTo>
                  <a:lnTo>
                    <a:pt x="382218" y="232447"/>
                  </a:lnTo>
                  <a:lnTo>
                    <a:pt x="382357" y="241428"/>
                  </a:lnTo>
                  <a:lnTo>
                    <a:pt x="384103" y="244144"/>
                  </a:lnTo>
                  <a:lnTo>
                    <a:pt x="386688" y="246429"/>
                  </a:lnTo>
                  <a:lnTo>
                    <a:pt x="389361" y="252311"/>
                  </a:lnTo>
                  <a:lnTo>
                    <a:pt x="389836" y="266339"/>
                  </a:lnTo>
                  <a:lnTo>
                    <a:pt x="388194" y="273429"/>
                  </a:lnTo>
                  <a:lnTo>
                    <a:pt x="383611" y="279515"/>
                  </a:lnTo>
                  <a:lnTo>
                    <a:pt x="383884" y="282884"/>
                  </a:lnTo>
                  <a:lnTo>
                    <a:pt x="385577" y="286340"/>
                  </a:lnTo>
                  <a:lnTo>
                    <a:pt x="383953" y="288429"/>
                  </a:lnTo>
                  <a:lnTo>
                    <a:pt x="377862" y="291075"/>
                  </a:lnTo>
                  <a:lnTo>
                    <a:pt x="375393" y="293406"/>
                  </a:lnTo>
                  <a:lnTo>
                    <a:pt x="372096" y="299606"/>
                  </a:lnTo>
                  <a:lnTo>
                    <a:pt x="366752" y="312271"/>
                  </a:lnTo>
                  <a:lnTo>
                    <a:pt x="366029" y="318739"/>
                  </a:lnTo>
                  <a:lnTo>
                    <a:pt x="369377" y="338448"/>
                  </a:lnTo>
                  <a:lnTo>
                    <a:pt x="368439" y="352441"/>
                  </a:lnTo>
                  <a:lnTo>
                    <a:pt x="361633" y="379224"/>
                  </a:lnTo>
                  <a:lnTo>
                    <a:pt x="357722" y="391944"/>
                  </a:lnTo>
                  <a:lnTo>
                    <a:pt x="352181" y="407161"/>
                  </a:lnTo>
                  <a:lnTo>
                    <a:pt x="343698" y="427250"/>
                  </a:lnTo>
                  <a:lnTo>
                    <a:pt x="335287" y="452495"/>
                  </a:lnTo>
                  <a:lnTo>
                    <a:pt x="328143" y="478517"/>
                  </a:lnTo>
                  <a:lnTo>
                    <a:pt x="322861" y="494179"/>
                  </a:lnTo>
                  <a:lnTo>
                    <a:pt x="316864" y="509615"/>
                  </a:lnTo>
                  <a:lnTo>
                    <a:pt x="308662" y="536955"/>
                  </a:lnTo>
                  <a:lnTo>
                    <a:pt x="301687" y="564750"/>
                  </a:lnTo>
                  <a:lnTo>
                    <a:pt x="291327" y="595393"/>
                  </a:lnTo>
                  <a:lnTo>
                    <a:pt x="277029" y="629641"/>
                  </a:lnTo>
                  <a:lnTo>
                    <a:pt x="275486" y="634117"/>
                  </a:lnTo>
                  <a:lnTo>
                    <a:pt x="272518" y="651653"/>
                  </a:lnTo>
                  <a:lnTo>
                    <a:pt x="269309" y="666889"/>
                  </a:lnTo>
                  <a:lnTo>
                    <a:pt x="265479" y="681996"/>
                  </a:lnTo>
                  <a:lnTo>
                    <a:pt x="257462" y="706995"/>
                  </a:lnTo>
                  <a:lnTo>
                    <a:pt x="256549" y="714714"/>
                  </a:lnTo>
                  <a:lnTo>
                    <a:pt x="254732" y="722123"/>
                  </a:lnTo>
                  <a:lnTo>
                    <a:pt x="247010" y="737841"/>
                  </a:lnTo>
                  <a:lnTo>
                    <a:pt x="243748" y="743693"/>
                  </a:lnTo>
                  <a:lnTo>
                    <a:pt x="241442" y="749918"/>
                  </a:lnTo>
                  <a:lnTo>
                    <a:pt x="240145" y="757809"/>
                  </a:lnTo>
                  <a:lnTo>
                    <a:pt x="237842" y="765430"/>
                  </a:lnTo>
                  <a:lnTo>
                    <a:pt x="232187" y="779452"/>
                  </a:lnTo>
                  <a:lnTo>
                    <a:pt x="223752" y="791535"/>
                  </a:lnTo>
                  <a:lnTo>
                    <a:pt x="218020" y="795930"/>
                  </a:lnTo>
                  <a:lnTo>
                    <a:pt x="205603" y="802311"/>
                  </a:lnTo>
                  <a:lnTo>
                    <a:pt x="199311" y="803604"/>
                  </a:lnTo>
                  <a:lnTo>
                    <a:pt x="185358" y="803752"/>
                  </a:lnTo>
                  <a:lnTo>
                    <a:pt x="171853" y="807387"/>
                  </a:lnTo>
                  <a:lnTo>
                    <a:pt x="157769" y="814388"/>
                  </a:lnTo>
                  <a:lnTo>
                    <a:pt x="144224" y="822419"/>
                  </a:lnTo>
                  <a:lnTo>
                    <a:pt x="139035" y="826227"/>
                  </a:lnTo>
                  <a:lnTo>
                    <a:pt x="133314" y="828405"/>
                  </a:lnTo>
                  <a:lnTo>
                    <a:pt x="115413" y="828869"/>
                  </a:lnTo>
                  <a:lnTo>
                    <a:pt x="110051" y="827136"/>
                  </a:lnTo>
                  <a:lnTo>
                    <a:pt x="92145" y="813938"/>
                  </a:lnTo>
                  <a:lnTo>
                    <a:pt x="85210" y="811763"/>
                  </a:lnTo>
                  <a:lnTo>
                    <a:pt x="72061" y="809955"/>
                  </a:lnTo>
                  <a:lnTo>
                    <a:pt x="68089" y="808836"/>
                  </a:lnTo>
                  <a:lnTo>
                    <a:pt x="64484" y="807116"/>
                  </a:lnTo>
                  <a:lnTo>
                    <a:pt x="59169" y="800227"/>
                  </a:lnTo>
                  <a:lnTo>
                    <a:pt x="48624" y="794409"/>
                  </a:lnTo>
                  <a:lnTo>
                    <a:pt x="46090" y="792588"/>
                  </a:lnTo>
                  <a:lnTo>
                    <a:pt x="44488" y="788575"/>
                  </a:lnTo>
                  <a:lnTo>
                    <a:pt x="43395" y="784255"/>
                  </a:lnTo>
                  <a:lnTo>
                    <a:pt x="40666" y="779423"/>
                  </a:lnTo>
                  <a:lnTo>
                    <a:pt x="38641" y="770227"/>
                  </a:lnTo>
                  <a:lnTo>
                    <a:pt x="35207" y="763796"/>
                  </a:lnTo>
                  <a:lnTo>
                    <a:pt x="25489" y="752452"/>
                  </a:lnTo>
                  <a:lnTo>
                    <a:pt x="24453" y="748834"/>
                  </a:lnTo>
                  <a:lnTo>
                    <a:pt x="23673" y="736810"/>
                  </a:lnTo>
                  <a:lnTo>
                    <a:pt x="23984" y="728680"/>
                  </a:lnTo>
                  <a:lnTo>
                    <a:pt x="23036" y="713809"/>
                  </a:lnTo>
                  <a:lnTo>
                    <a:pt x="24142" y="706818"/>
                  </a:lnTo>
                  <a:lnTo>
                    <a:pt x="27549" y="700523"/>
                  </a:lnTo>
                  <a:lnTo>
                    <a:pt x="26154" y="693717"/>
                  </a:lnTo>
                  <a:lnTo>
                    <a:pt x="22532" y="686565"/>
                  </a:lnTo>
                  <a:lnTo>
                    <a:pt x="21174" y="679170"/>
                  </a:lnTo>
                  <a:lnTo>
                    <a:pt x="18501" y="672441"/>
                  </a:lnTo>
                  <a:lnTo>
                    <a:pt x="8333" y="660326"/>
                  </a:lnTo>
                  <a:lnTo>
                    <a:pt x="5944" y="654369"/>
                  </a:lnTo>
                  <a:lnTo>
                    <a:pt x="4291" y="648201"/>
                  </a:lnTo>
                  <a:lnTo>
                    <a:pt x="456" y="628998"/>
                  </a:lnTo>
                  <a:lnTo>
                    <a:pt x="0" y="622326"/>
                  </a:lnTo>
                  <a:lnTo>
                    <a:pt x="560" y="608207"/>
                  </a:lnTo>
                  <a:lnTo>
                    <a:pt x="1977" y="600948"/>
                  </a:lnTo>
                  <a:lnTo>
                    <a:pt x="4447" y="595897"/>
                  </a:lnTo>
                  <a:lnTo>
                    <a:pt x="5065" y="592125"/>
                  </a:lnTo>
                  <a:lnTo>
                    <a:pt x="6667" y="588889"/>
                  </a:lnTo>
                  <a:lnTo>
                    <a:pt x="9086" y="586294"/>
                  </a:lnTo>
                  <a:lnTo>
                    <a:pt x="10698" y="583206"/>
                  </a:lnTo>
                  <a:lnTo>
                    <a:pt x="14494" y="565208"/>
                  </a:lnTo>
                  <a:lnTo>
                    <a:pt x="19307" y="561215"/>
                  </a:lnTo>
                  <a:lnTo>
                    <a:pt x="26443" y="558925"/>
                  </a:lnTo>
                  <a:lnTo>
                    <a:pt x="32164" y="554232"/>
                  </a:lnTo>
                  <a:lnTo>
                    <a:pt x="35448" y="547897"/>
                  </a:lnTo>
                  <a:lnTo>
                    <a:pt x="38735" y="534842"/>
                  </a:lnTo>
                  <a:lnTo>
                    <a:pt x="47735" y="521888"/>
                  </a:lnTo>
                  <a:lnTo>
                    <a:pt x="50938" y="515085"/>
                  </a:lnTo>
                  <a:lnTo>
                    <a:pt x="58192" y="504813"/>
                  </a:lnTo>
                  <a:lnTo>
                    <a:pt x="64617" y="490367"/>
                  </a:lnTo>
                  <a:lnTo>
                    <a:pt x="66567" y="483566"/>
                  </a:lnTo>
                  <a:lnTo>
                    <a:pt x="67966" y="476599"/>
                  </a:lnTo>
                  <a:lnTo>
                    <a:pt x="69597" y="461340"/>
                  </a:lnTo>
                  <a:lnTo>
                    <a:pt x="70824" y="453751"/>
                  </a:lnTo>
                  <a:lnTo>
                    <a:pt x="70580" y="446238"/>
                  </a:lnTo>
                  <a:lnTo>
                    <a:pt x="66892" y="438521"/>
                  </a:lnTo>
                  <a:lnTo>
                    <a:pt x="58141" y="424520"/>
                  </a:lnTo>
                  <a:lnTo>
                    <a:pt x="57857" y="421906"/>
                  </a:lnTo>
                  <a:lnTo>
                    <a:pt x="58551" y="411511"/>
                  </a:lnTo>
                  <a:lnTo>
                    <a:pt x="57803" y="403995"/>
                  </a:lnTo>
                  <a:lnTo>
                    <a:pt x="54584" y="396511"/>
                  </a:lnTo>
                  <a:lnTo>
                    <a:pt x="50440" y="389461"/>
                  </a:lnTo>
                  <a:lnTo>
                    <a:pt x="46369" y="376293"/>
                  </a:lnTo>
                  <a:lnTo>
                    <a:pt x="44392" y="354549"/>
                  </a:lnTo>
                  <a:lnTo>
                    <a:pt x="44807" y="346693"/>
                  </a:lnTo>
                  <a:lnTo>
                    <a:pt x="43615" y="339718"/>
                  </a:lnTo>
                  <a:lnTo>
                    <a:pt x="40655" y="333070"/>
                  </a:lnTo>
                  <a:lnTo>
                    <a:pt x="42777" y="321482"/>
                  </a:lnTo>
                  <a:lnTo>
                    <a:pt x="68957" y="279491"/>
                  </a:lnTo>
                  <a:lnTo>
                    <a:pt x="69806" y="274551"/>
                  </a:lnTo>
                  <a:lnTo>
                    <a:pt x="68753" y="261767"/>
                  </a:lnTo>
                  <a:lnTo>
                    <a:pt x="69291" y="254331"/>
                  </a:lnTo>
                  <a:lnTo>
                    <a:pt x="70205" y="251577"/>
                  </a:lnTo>
                  <a:lnTo>
                    <a:pt x="72200" y="249968"/>
                  </a:lnTo>
                  <a:lnTo>
                    <a:pt x="76682" y="249191"/>
                  </a:lnTo>
                  <a:lnTo>
                    <a:pt x="97847" y="247367"/>
                  </a:lnTo>
                  <a:lnTo>
                    <a:pt x="100566" y="246081"/>
                  </a:lnTo>
                  <a:lnTo>
                    <a:pt x="105846" y="242543"/>
                  </a:lnTo>
                  <a:lnTo>
                    <a:pt x="113104" y="235723"/>
                  </a:lnTo>
                  <a:lnTo>
                    <a:pt x="116423" y="233760"/>
                  </a:lnTo>
                  <a:lnTo>
                    <a:pt x="119295" y="234475"/>
                  </a:lnTo>
                  <a:lnTo>
                    <a:pt x="121135" y="237400"/>
                  </a:lnTo>
                  <a:lnTo>
                    <a:pt x="123492" y="238996"/>
                  </a:lnTo>
                  <a:lnTo>
                    <a:pt x="132031" y="235905"/>
                  </a:lnTo>
                  <a:lnTo>
                    <a:pt x="135315" y="235811"/>
                  </a:lnTo>
                  <a:lnTo>
                    <a:pt x="138660" y="236315"/>
                  </a:lnTo>
                  <a:lnTo>
                    <a:pt x="140227" y="233473"/>
                  </a:lnTo>
                  <a:lnTo>
                    <a:pt x="141162" y="229667"/>
                  </a:lnTo>
                  <a:lnTo>
                    <a:pt x="142408" y="226980"/>
                  </a:lnTo>
                  <a:lnTo>
                    <a:pt x="144698" y="225459"/>
                  </a:lnTo>
                  <a:lnTo>
                    <a:pt x="155699" y="224629"/>
                  </a:lnTo>
                  <a:lnTo>
                    <a:pt x="162708" y="223538"/>
                  </a:lnTo>
                  <a:lnTo>
                    <a:pt x="171783" y="220876"/>
                  </a:lnTo>
                  <a:lnTo>
                    <a:pt x="173739" y="221398"/>
                  </a:lnTo>
                  <a:lnTo>
                    <a:pt x="181056" y="230971"/>
                  </a:lnTo>
                  <a:lnTo>
                    <a:pt x="183277" y="231796"/>
                  </a:lnTo>
                  <a:lnTo>
                    <a:pt x="186122" y="232187"/>
                  </a:lnTo>
                  <a:lnTo>
                    <a:pt x="188610" y="230444"/>
                  </a:lnTo>
                  <a:lnTo>
                    <a:pt x="182669" y="225435"/>
                  </a:lnTo>
                  <a:lnTo>
                    <a:pt x="181772" y="222601"/>
                  </a:lnTo>
                  <a:lnTo>
                    <a:pt x="182085" y="219384"/>
                  </a:lnTo>
                  <a:lnTo>
                    <a:pt x="185267" y="212492"/>
                  </a:lnTo>
                  <a:lnTo>
                    <a:pt x="190595" y="207237"/>
                  </a:lnTo>
                  <a:lnTo>
                    <a:pt x="202415" y="199255"/>
                  </a:lnTo>
                  <a:lnTo>
                    <a:pt x="214696" y="190030"/>
                  </a:lnTo>
                  <a:lnTo>
                    <a:pt x="218264" y="189390"/>
                  </a:lnTo>
                  <a:lnTo>
                    <a:pt x="221283" y="190852"/>
                  </a:lnTo>
                  <a:lnTo>
                    <a:pt x="223597" y="201730"/>
                  </a:lnTo>
                  <a:lnTo>
                    <a:pt x="223308" y="203524"/>
                  </a:lnTo>
                  <a:lnTo>
                    <a:pt x="225268" y="203773"/>
                  </a:lnTo>
                  <a:lnTo>
                    <a:pt x="227559" y="202429"/>
                  </a:lnTo>
                  <a:lnTo>
                    <a:pt x="229584" y="198036"/>
                  </a:lnTo>
                  <a:lnTo>
                    <a:pt x="229688" y="194390"/>
                  </a:lnTo>
                  <a:lnTo>
                    <a:pt x="228038" y="190892"/>
                  </a:lnTo>
                  <a:lnTo>
                    <a:pt x="227235" y="187935"/>
                  </a:lnTo>
                  <a:lnTo>
                    <a:pt x="227165" y="185214"/>
                  </a:lnTo>
                  <a:lnTo>
                    <a:pt x="233390" y="178788"/>
                  </a:lnTo>
                  <a:lnTo>
                    <a:pt x="238294" y="172651"/>
                  </a:lnTo>
                  <a:lnTo>
                    <a:pt x="240560" y="165334"/>
                  </a:lnTo>
                  <a:lnTo>
                    <a:pt x="242529" y="161964"/>
                  </a:lnTo>
                  <a:lnTo>
                    <a:pt x="247688" y="158166"/>
                  </a:lnTo>
                  <a:lnTo>
                    <a:pt x="249209" y="158768"/>
                  </a:lnTo>
                  <a:lnTo>
                    <a:pt x="250412" y="161859"/>
                  </a:lnTo>
                  <a:lnTo>
                    <a:pt x="251082" y="165127"/>
                  </a:lnTo>
                  <a:lnTo>
                    <a:pt x="249758" y="168371"/>
                  </a:lnTo>
                  <a:lnTo>
                    <a:pt x="247867" y="171580"/>
                  </a:lnTo>
                  <a:lnTo>
                    <a:pt x="247104" y="175863"/>
                  </a:lnTo>
                  <a:lnTo>
                    <a:pt x="250013" y="176691"/>
                  </a:lnTo>
                  <a:lnTo>
                    <a:pt x="252761" y="175649"/>
                  </a:lnTo>
                  <a:lnTo>
                    <a:pt x="256779" y="167905"/>
                  </a:lnTo>
                  <a:lnTo>
                    <a:pt x="261367" y="160582"/>
                  </a:lnTo>
                  <a:lnTo>
                    <a:pt x="264091" y="156778"/>
                  </a:lnTo>
                  <a:lnTo>
                    <a:pt x="267528" y="154137"/>
                  </a:lnTo>
                  <a:lnTo>
                    <a:pt x="273236" y="154668"/>
                  </a:lnTo>
                  <a:lnTo>
                    <a:pt x="278788" y="156304"/>
                  </a:lnTo>
                  <a:lnTo>
                    <a:pt x="269748" y="148579"/>
                  </a:lnTo>
                  <a:lnTo>
                    <a:pt x="267485" y="138004"/>
                  </a:lnTo>
                  <a:lnTo>
                    <a:pt x="278255" y="119721"/>
                  </a:lnTo>
                  <a:lnTo>
                    <a:pt x="278360" y="115917"/>
                  </a:lnTo>
                  <a:lnTo>
                    <a:pt x="279916" y="114744"/>
                  </a:lnTo>
                  <a:lnTo>
                    <a:pt x="280645" y="113271"/>
                  </a:lnTo>
                  <a:lnTo>
                    <a:pt x="275068" y="107099"/>
                  </a:lnTo>
                  <a:lnTo>
                    <a:pt x="274015" y="104040"/>
                  </a:lnTo>
                  <a:lnTo>
                    <a:pt x="274752" y="99404"/>
                  </a:lnTo>
                  <a:lnTo>
                    <a:pt x="277417" y="95284"/>
                  </a:lnTo>
                  <a:lnTo>
                    <a:pt x="279836" y="92405"/>
                  </a:lnTo>
                  <a:lnTo>
                    <a:pt x="283270" y="91296"/>
                  </a:lnTo>
                  <a:lnTo>
                    <a:pt x="285999" y="92882"/>
                  </a:lnTo>
                  <a:lnTo>
                    <a:pt x="291994" y="97947"/>
                  </a:lnTo>
                  <a:lnTo>
                    <a:pt x="296030" y="98718"/>
                  </a:lnTo>
                  <a:lnTo>
                    <a:pt x="300913" y="93854"/>
                  </a:lnTo>
                  <a:lnTo>
                    <a:pt x="304902" y="87782"/>
                  </a:lnTo>
                  <a:lnTo>
                    <a:pt x="310907" y="83606"/>
                  </a:lnTo>
                  <a:lnTo>
                    <a:pt x="317713" y="81026"/>
                  </a:lnTo>
                  <a:lnTo>
                    <a:pt x="328084" y="71475"/>
                  </a:lnTo>
                  <a:lnTo>
                    <a:pt x="334829" y="51498"/>
                  </a:lnTo>
                  <a:lnTo>
                    <a:pt x="335367" y="45672"/>
                  </a:lnTo>
                  <a:lnTo>
                    <a:pt x="333875" y="38606"/>
                  </a:lnTo>
                  <a:lnTo>
                    <a:pt x="331481" y="31896"/>
                  </a:lnTo>
                  <a:lnTo>
                    <a:pt x="327484" y="23521"/>
                  </a:lnTo>
                  <a:lnTo>
                    <a:pt x="328524" y="21664"/>
                  </a:lnTo>
                  <a:lnTo>
                    <a:pt x="334194" y="22776"/>
                  </a:lnTo>
                  <a:lnTo>
                    <a:pt x="336096" y="21608"/>
                  </a:lnTo>
                  <a:lnTo>
                    <a:pt x="342257" y="14197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11" name="ee4p_ML_1_82333">
              <a:extLst>
                <a:ext uri="{FF2B5EF4-FFF2-40B4-BE49-F238E27FC236}">
                  <a16:creationId xmlns:a16="http://schemas.microsoft.com/office/drawing/2014/main" id="{CA6CA1A2-7B02-E000-671D-94C544E1C9C5}"/>
                </a:ext>
              </a:extLst>
            </p:cNvPr>
            <p:cNvSpPr>
              <a:spLocks noChangeAspect="1"/>
            </p:cNvSpPr>
            <p:nvPr>
              <p:custDataLst>
                <p:tags r:id="rId139"/>
              </p:custDataLst>
            </p:nvPr>
          </p:nvSpPr>
          <p:spPr>
            <a:xfrm>
              <a:off x="6173676" y="3949746"/>
              <a:ext cx="458619" cy="437631"/>
            </a:xfrm>
            <a:custGeom>
              <a:avLst/>
              <a:gdLst/>
              <a:ahLst/>
              <a:cxnLst/>
              <a:rect l="0" t="0" r="0" b="0"/>
              <a:pathLst>
                <a:path w="365188" h="339239">
                  <a:moveTo>
                    <a:pt x="365032" y="135861"/>
                  </a:moveTo>
                  <a:lnTo>
                    <a:pt x="365045" y="139865"/>
                  </a:lnTo>
                  <a:lnTo>
                    <a:pt x="365062" y="145904"/>
                  </a:lnTo>
                  <a:lnTo>
                    <a:pt x="365084" y="152624"/>
                  </a:lnTo>
                  <a:lnTo>
                    <a:pt x="365103" y="158820"/>
                  </a:lnTo>
                  <a:lnTo>
                    <a:pt x="365127" y="165873"/>
                  </a:lnTo>
                  <a:lnTo>
                    <a:pt x="365144" y="171536"/>
                  </a:lnTo>
                  <a:lnTo>
                    <a:pt x="365166" y="178229"/>
                  </a:lnTo>
                  <a:lnTo>
                    <a:pt x="365187" y="184876"/>
                  </a:lnTo>
                  <a:lnTo>
                    <a:pt x="364486" y="185642"/>
                  </a:lnTo>
                  <a:lnTo>
                    <a:pt x="364227" y="189384"/>
                  </a:lnTo>
                  <a:lnTo>
                    <a:pt x="364026" y="194302"/>
                  </a:lnTo>
                  <a:lnTo>
                    <a:pt x="362680" y="199390"/>
                  </a:lnTo>
                  <a:lnTo>
                    <a:pt x="360327" y="203135"/>
                  </a:lnTo>
                  <a:lnTo>
                    <a:pt x="359472" y="206700"/>
                  </a:lnTo>
                  <a:lnTo>
                    <a:pt x="358828" y="208739"/>
                  </a:lnTo>
                  <a:lnTo>
                    <a:pt x="357947" y="209846"/>
                  </a:lnTo>
                  <a:lnTo>
                    <a:pt x="357742" y="211179"/>
                  </a:lnTo>
                  <a:lnTo>
                    <a:pt x="357278" y="213053"/>
                  </a:lnTo>
                  <a:lnTo>
                    <a:pt x="356526" y="214267"/>
                  </a:lnTo>
                  <a:lnTo>
                    <a:pt x="355941" y="214894"/>
                  </a:lnTo>
                  <a:lnTo>
                    <a:pt x="353577" y="215627"/>
                  </a:lnTo>
                  <a:lnTo>
                    <a:pt x="349396" y="219218"/>
                  </a:lnTo>
                  <a:lnTo>
                    <a:pt x="349037" y="222087"/>
                  </a:lnTo>
                  <a:lnTo>
                    <a:pt x="344278" y="221300"/>
                  </a:lnTo>
                  <a:lnTo>
                    <a:pt x="339217" y="220483"/>
                  </a:lnTo>
                  <a:lnTo>
                    <a:pt x="338536" y="220536"/>
                  </a:lnTo>
                  <a:lnTo>
                    <a:pt x="338119" y="220911"/>
                  </a:lnTo>
                  <a:lnTo>
                    <a:pt x="337910" y="222435"/>
                  </a:lnTo>
                  <a:lnTo>
                    <a:pt x="331024" y="222686"/>
                  </a:lnTo>
                  <a:lnTo>
                    <a:pt x="325079" y="222900"/>
                  </a:lnTo>
                  <a:lnTo>
                    <a:pt x="317724" y="223150"/>
                  </a:lnTo>
                  <a:lnTo>
                    <a:pt x="312665" y="223323"/>
                  </a:lnTo>
                  <a:lnTo>
                    <a:pt x="306247" y="223668"/>
                  </a:lnTo>
                  <a:lnTo>
                    <a:pt x="300300" y="223989"/>
                  </a:lnTo>
                  <a:lnTo>
                    <a:pt x="296344" y="227295"/>
                  </a:lnTo>
                  <a:lnTo>
                    <a:pt x="292779" y="230443"/>
                  </a:lnTo>
                  <a:lnTo>
                    <a:pt x="292500" y="230551"/>
                  </a:lnTo>
                  <a:lnTo>
                    <a:pt x="287441" y="231167"/>
                  </a:lnTo>
                  <a:lnTo>
                    <a:pt x="281125" y="230621"/>
                  </a:lnTo>
                  <a:lnTo>
                    <a:pt x="277879" y="230595"/>
                  </a:lnTo>
                  <a:lnTo>
                    <a:pt x="276607" y="230968"/>
                  </a:lnTo>
                  <a:lnTo>
                    <a:pt x="276359" y="232148"/>
                  </a:lnTo>
                  <a:lnTo>
                    <a:pt x="271712" y="230490"/>
                  </a:lnTo>
                  <a:lnTo>
                    <a:pt x="266334" y="228803"/>
                  </a:lnTo>
                  <a:lnTo>
                    <a:pt x="262585" y="229864"/>
                  </a:lnTo>
                  <a:lnTo>
                    <a:pt x="261991" y="229502"/>
                  </a:lnTo>
                  <a:lnTo>
                    <a:pt x="261500" y="228798"/>
                  </a:lnTo>
                  <a:lnTo>
                    <a:pt x="259686" y="228386"/>
                  </a:lnTo>
                  <a:lnTo>
                    <a:pt x="256813" y="228569"/>
                  </a:lnTo>
                  <a:lnTo>
                    <a:pt x="254735" y="229067"/>
                  </a:lnTo>
                  <a:lnTo>
                    <a:pt x="251473" y="231562"/>
                  </a:lnTo>
                  <a:lnTo>
                    <a:pt x="249014" y="233732"/>
                  </a:lnTo>
                  <a:lnTo>
                    <a:pt x="248342" y="234225"/>
                  </a:lnTo>
                  <a:lnTo>
                    <a:pt x="244905" y="235536"/>
                  </a:lnTo>
                  <a:lnTo>
                    <a:pt x="238522" y="238595"/>
                  </a:lnTo>
                  <a:lnTo>
                    <a:pt x="234903" y="240836"/>
                  </a:lnTo>
                  <a:lnTo>
                    <a:pt x="234068" y="241250"/>
                  </a:lnTo>
                  <a:lnTo>
                    <a:pt x="232461" y="241757"/>
                  </a:lnTo>
                  <a:lnTo>
                    <a:pt x="229984" y="241859"/>
                  </a:lnTo>
                  <a:lnTo>
                    <a:pt x="227922" y="242423"/>
                  </a:lnTo>
                  <a:lnTo>
                    <a:pt x="226063" y="248332"/>
                  </a:lnTo>
                  <a:lnTo>
                    <a:pt x="224822" y="248922"/>
                  </a:lnTo>
                  <a:lnTo>
                    <a:pt x="217216" y="246539"/>
                  </a:lnTo>
                  <a:lnTo>
                    <a:pt x="215675" y="246896"/>
                  </a:lnTo>
                  <a:lnTo>
                    <a:pt x="214352" y="247588"/>
                  </a:lnTo>
                  <a:lnTo>
                    <a:pt x="210104" y="251058"/>
                  </a:lnTo>
                  <a:lnTo>
                    <a:pt x="208001" y="253831"/>
                  </a:lnTo>
                  <a:lnTo>
                    <a:pt x="206853" y="257525"/>
                  </a:lnTo>
                  <a:lnTo>
                    <a:pt x="207016" y="258660"/>
                  </a:lnTo>
                  <a:lnTo>
                    <a:pt x="207047" y="259942"/>
                  </a:lnTo>
                  <a:lnTo>
                    <a:pt x="206301" y="260641"/>
                  </a:lnTo>
                  <a:lnTo>
                    <a:pt x="205275" y="260896"/>
                  </a:lnTo>
                  <a:lnTo>
                    <a:pt x="204359" y="260851"/>
                  </a:lnTo>
                  <a:lnTo>
                    <a:pt x="200826" y="260091"/>
                  </a:lnTo>
                  <a:lnTo>
                    <a:pt x="199716" y="260418"/>
                  </a:lnTo>
                  <a:lnTo>
                    <a:pt x="199240" y="262240"/>
                  </a:lnTo>
                  <a:lnTo>
                    <a:pt x="199315" y="266217"/>
                  </a:lnTo>
                  <a:lnTo>
                    <a:pt x="198541" y="268917"/>
                  </a:lnTo>
                  <a:lnTo>
                    <a:pt x="196441" y="269751"/>
                  </a:lnTo>
                  <a:lnTo>
                    <a:pt x="194823" y="270815"/>
                  </a:lnTo>
                  <a:lnTo>
                    <a:pt x="193546" y="271122"/>
                  </a:lnTo>
                  <a:lnTo>
                    <a:pt x="192482" y="270864"/>
                  </a:lnTo>
                  <a:lnTo>
                    <a:pt x="186342" y="266830"/>
                  </a:lnTo>
                  <a:lnTo>
                    <a:pt x="184266" y="266184"/>
                  </a:lnTo>
                  <a:lnTo>
                    <a:pt x="181970" y="266630"/>
                  </a:lnTo>
                  <a:lnTo>
                    <a:pt x="179762" y="268345"/>
                  </a:lnTo>
                  <a:lnTo>
                    <a:pt x="178763" y="269471"/>
                  </a:lnTo>
                  <a:lnTo>
                    <a:pt x="177382" y="270794"/>
                  </a:lnTo>
                  <a:lnTo>
                    <a:pt x="175833" y="272555"/>
                  </a:lnTo>
                  <a:lnTo>
                    <a:pt x="176241" y="274051"/>
                  </a:lnTo>
                  <a:lnTo>
                    <a:pt x="177338" y="275786"/>
                  </a:lnTo>
                  <a:lnTo>
                    <a:pt x="178121" y="277940"/>
                  </a:lnTo>
                  <a:lnTo>
                    <a:pt x="178080" y="279868"/>
                  </a:lnTo>
                  <a:lnTo>
                    <a:pt x="172474" y="282597"/>
                  </a:lnTo>
                  <a:lnTo>
                    <a:pt x="172933" y="283537"/>
                  </a:lnTo>
                  <a:lnTo>
                    <a:pt x="173772" y="284632"/>
                  </a:lnTo>
                  <a:lnTo>
                    <a:pt x="173779" y="286620"/>
                  </a:lnTo>
                  <a:lnTo>
                    <a:pt x="173622" y="290110"/>
                  </a:lnTo>
                  <a:lnTo>
                    <a:pt x="172490" y="291363"/>
                  </a:lnTo>
                  <a:lnTo>
                    <a:pt x="171027" y="292604"/>
                  </a:lnTo>
                  <a:lnTo>
                    <a:pt x="170124" y="294207"/>
                  </a:lnTo>
                  <a:lnTo>
                    <a:pt x="169232" y="294988"/>
                  </a:lnTo>
                  <a:lnTo>
                    <a:pt x="167638" y="295976"/>
                  </a:lnTo>
                  <a:lnTo>
                    <a:pt x="165457" y="296964"/>
                  </a:lnTo>
                  <a:lnTo>
                    <a:pt x="161675" y="297835"/>
                  </a:lnTo>
                  <a:lnTo>
                    <a:pt x="158648" y="298413"/>
                  </a:lnTo>
                  <a:lnTo>
                    <a:pt x="157506" y="298977"/>
                  </a:lnTo>
                  <a:lnTo>
                    <a:pt x="155900" y="300145"/>
                  </a:lnTo>
                  <a:lnTo>
                    <a:pt x="154618" y="301543"/>
                  </a:lnTo>
                  <a:lnTo>
                    <a:pt x="154312" y="303055"/>
                  </a:lnTo>
                  <a:lnTo>
                    <a:pt x="154565" y="304784"/>
                  </a:lnTo>
                  <a:lnTo>
                    <a:pt x="155012" y="306206"/>
                  </a:lnTo>
                  <a:lnTo>
                    <a:pt x="155577" y="307172"/>
                  </a:lnTo>
                  <a:lnTo>
                    <a:pt x="155917" y="308388"/>
                  </a:lnTo>
                  <a:lnTo>
                    <a:pt x="155456" y="311673"/>
                  </a:lnTo>
                  <a:lnTo>
                    <a:pt x="154359" y="315476"/>
                  </a:lnTo>
                  <a:lnTo>
                    <a:pt x="153307" y="317170"/>
                  </a:lnTo>
                  <a:lnTo>
                    <a:pt x="151609" y="318100"/>
                  </a:lnTo>
                  <a:lnTo>
                    <a:pt x="150144" y="319137"/>
                  </a:lnTo>
                  <a:lnTo>
                    <a:pt x="150629" y="321627"/>
                  </a:lnTo>
                  <a:lnTo>
                    <a:pt x="150882" y="325199"/>
                  </a:lnTo>
                  <a:lnTo>
                    <a:pt x="150471" y="328049"/>
                  </a:lnTo>
                  <a:lnTo>
                    <a:pt x="150398" y="329812"/>
                  </a:lnTo>
                  <a:lnTo>
                    <a:pt x="149778" y="331637"/>
                  </a:lnTo>
                  <a:lnTo>
                    <a:pt x="149413" y="332920"/>
                  </a:lnTo>
                  <a:lnTo>
                    <a:pt x="148682" y="332609"/>
                  </a:lnTo>
                  <a:lnTo>
                    <a:pt x="145637" y="332760"/>
                  </a:lnTo>
                  <a:lnTo>
                    <a:pt x="142330" y="333735"/>
                  </a:lnTo>
                  <a:lnTo>
                    <a:pt x="141173" y="334513"/>
                  </a:lnTo>
                  <a:lnTo>
                    <a:pt x="140921" y="335575"/>
                  </a:lnTo>
                  <a:lnTo>
                    <a:pt x="140189" y="336293"/>
                  </a:lnTo>
                  <a:lnTo>
                    <a:pt x="139128" y="337097"/>
                  </a:lnTo>
                  <a:lnTo>
                    <a:pt x="138113" y="338086"/>
                  </a:lnTo>
                  <a:lnTo>
                    <a:pt x="136286" y="337928"/>
                  </a:lnTo>
                  <a:lnTo>
                    <a:pt x="134524" y="337252"/>
                  </a:lnTo>
                  <a:lnTo>
                    <a:pt x="133606" y="336594"/>
                  </a:lnTo>
                  <a:lnTo>
                    <a:pt x="133542" y="336201"/>
                  </a:lnTo>
                  <a:lnTo>
                    <a:pt x="134123" y="335237"/>
                  </a:lnTo>
                  <a:lnTo>
                    <a:pt x="134618" y="334185"/>
                  </a:lnTo>
                  <a:lnTo>
                    <a:pt x="134661" y="333495"/>
                  </a:lnTo>
                  <a:lnTo>
                    <a:pt x="134062" y="331797"/>
                  </a:lnTo>
                  <a:lnTo>
                    <a:pt x="133576" y="329968"/>
                  </a:lnTo>
                  <a:lnTo>
                    <a:pt x="133777" y="329087"/>
                  </a:lnTo>
                  <a:lnTo>
                    <a:pt x="133344" y="326395"/>
                  </a:lnTo>
                  <a:lnTo>
                    <a:pt x="133103" y="326257"/>
                  </a:lnTo>
                  <a:lnTo>
                    <a:pt x="130792" y="326956"/>
                  </a:lnTo>
                  <a:lnTo>
                    <a:pt x="129941" y="327129"/>
                  </a:lnTo>
                  <a:lnTo>
                    <a:pt x="129460" y="327427"/>
                  </a:lnTo>
                  <a:lnTo>
                    <a:pt x="129311" y="327942"/>
                  </a:lnTo>
                  <a:lnTo>
                    <a:pt x="129866" y="329649"/>
                  </a:lnTo>
                  <a:lnTo>
                    <a:pt x="129503" y="329945"/>
                  </a:lnTo>
                  <a:lnTo>
                    <a:pt x="128206" y="329898"/>
                  </a:lnTo>
                  <a:lnTo>
                    <a:pt x="126393" y="329335"/>
                  </a:lnTo>
                  <a:lnTo>
                    <a:pt x="124413" y="327769"/>
                  </a:lnTo>
                  <a:lnTo>
                    <a:pt x="123922" y="328276"/>
                  </a:lnTo>
                  <a:lnTo>
                    <a:pt x="123705" y="329523"/>
                  </a:lnTo>
                  <a:lnTo>
                    <a:pt x="123576" y="330998"/>
                  </a:lnTo>
                  <a:lnTo>
                    <a:pt x="124077" y="333676"/>
                  </a:lnTo>
                  <a:lnTo>
                    <a:pt x="123548" y="334631"/>
                  </a:lnTo>
                  <a:lnTo>
                    <a:pt x="122222" y="334460"/>
                  </a:lnTo>
                  <a:lnTo>
                    <a:pt x="120444" y="334463"/>
                  </a:lnTo>
                  <a:lnTo>
                    <a:pt x="118892" y="334729"/>
                  </a:lnTo>
                  <a:lnTo>
                    <a:pt x="117863" y="334791"/>
                  </a:lnTo>
                  <a:lnTo>
                    <a:pt x="117219" y="335746"/>
                  </a:lnTo>
                  <a:lnTo>
                    <a:pt x="116948" y="336812"/>
                  </a:lnTo>
                  <a:lnTo>
                    <a:pt x="117565" y="337999"/>
                  </a:lnTo>
                  <a:lnTo>
                    <a:pt x="117469" y="338502"/>
                  </a:lnTo>
                  <a:lnTo>
                    <a:pt x="116998" y="338961"/>
                  </a:lnTo>
                  <a:lnTo>
                    <a:pt x="116387" y="339238"/>
                  </a:lnTo>
                  <a:lnTo>
                    <a:pt x="115886" y="339204"/>
                  </a:lnTo>
                  <a:lnTo>
                    <a:pt x="114446" y="337892"/>
                  </a:lnTo>
                  <a:lnTo>
                    <a:pt x="112734" y="337397"/>
                  </a:lnTo>
                  <a:lnTo>
                    <a:pt x="108735" y="336644"/>
                  </a:lnTo>
                  <a:lnTo>
                    <a:pt x="108251" y="334839"/>
                  </a:lnTo>
                  <a:lnTo>
                    <a:pt x="107593" y="334813"/>
                  </a:lnTo>
                  <a:lnTo>
                    <a:pt x="106670" y="333861"/>
                  </a:lnTo>
                  <a:lnTo>
                    <a:pt x="105754" y="332612"/>
                  </a:lnTo>
                  <a:lnTo>
                    <a:pt x="104984" y="332679"/>
                  </a:lnTo>
                  <a:lnTo>
                    <a:pt x="104336" y="333027"/>
                  </a:lnTo>
                  <a:lnTo>
                    <a:pt x="102146" y="332888"/>
                  </a:lnTo>
                  <a:lnTo>
                    <a:pt x="100202" y="334791"/>
                  </a:lnTo>
                  <a:lnTo>
                    <a:pt x="98762" y="337153"/>
                  </a:lnTo>
                  <a:lnTo>
                    <a:pt x="97216" y="338289"/>
                  </a:lnTo>
                  <a:lnTo>
                    <a:pt x="95517" y="338786"/>
                  </a:lnTo>
                  <a:lnTo>
                    <a:pt x="94861" y="338808"/>
                  </a:lnTo>
                  <a:lnTo>
                    <a:pt x="95218" y="337311"/>
                  </a:lnTo>
                  <a:lnTo>
                    <a:pt x="94969" y="336218"/>
                  </a:lnTo>
                  <a:lnTo>
                    <a:pt x="94492" y="335248"/>
                  </a:lnTo>
                  <a:lnTo>
                    <a:pt x="89534" y="332653"/>
                  </a:lnTo>
                  <a:lnTo>
                    <a:pt x="88757" y="331580"/>
                  </a:lnTo>
                  <a:lnTo>
                    <a:pt x="87985" y="328638"/>
                  </a:lnTo>
                  <a:lnTo>
                    <a:pt x="87486" y="325688"/>
                  </a:lnTo>
                  <a:lnTo>
                    <a:pt x="87540" y="323956"/>
                  </a:lnTo>
                  <a:lnTo>
                    <a:pt x="87879" y="322410"/>
                  </a:lnTo>
                  <a:lnTo>
                    <a:pt x="87738" y="321209"/>
                  </a:lnTo>
                  <a:lnTo>
                    <a:pt x="87192" y="320295"/>
                  </a:lnTo>
                  <a:lnTo>
                    <a:pt x="85709" y="319415"/>
                  </a:lnTo>
                  <a:lnTo>
                    <a:pt x="84156" y="319002"/>
                  </a:lnTo>
                  <a:lnTo>
                    <a:pt x="82192" y="320159"/>
                  </a:lnTo>
                  <a:lnTo>
                    <a:pt x="81249" y="320377"/>
                  </a:lnTo>
                  <a:lnTo>
                    <a:pt x="80365" y="320298"/>
                  </a:lnTo>
                  <a:lnTo>
                    <a:pt x="79911" y="319873"/>
                  </a:lnTo>
                  <a:lnTo>
                    <a:pt x="79972" y="319283"/>
                  </a:lnTo>
                  <a:lnTo>
                    <a:pt x="82109" y="316124"/>
                  </a:lnTo>
                  <a:lnTo>
                    <a:pt x="83148" y="314805"/>
                  </a:lnTo>
                  <a:lnTo>
                    <a:pt x="84403" y="313802"/>
                  </a:lnTo>
                  <a:lnTo>
                    <a:pt x="85249" y="313264"/>
                  </a:lnTo>
                  <a:lnTo>
                    <a:pt x="85793" y="312488"/>
                  </a:lnTo>
                  <a:lnTo>
                    <a:pt x="85841" y="311880"/>
                  </a:lnTo>
                  <a:lnTo>
                    <a:pt x="85643" y="311438"/>
                  </a:lnTo>
                  <a:lnTo>
                    <a:pt x="84245" y="310858"/>
                  </a:lnTo>
                  <a:lnTo>
                    <a:pt x="82077" y="309382"/>
                  </a:lnTo>
                  <a:lnTo>
                    <a:pt x="80918" y="309225"/>
                  </a:lnTo>
                  <a:lnTo>
                    <a:pt x="79950" y="308555"/>
                  </a:lnTo>
                  <a:lnTo>
                    <a:pt x="78922" y="306253"/>
                  </a:lnTo>
                  <a:lnTo>
                    <a:pt x="78443" y="305811"/>
                  </a:lnTo>
                  <a:lnTo>
                    <a:pt x="77412" y="305570"/>
                  </a:lnTo>
                  <a:lnTo>
                    <a:pt x="76476" y="305010"/>
                  </a:lnTo>
                  <a:lnTo>
                    <a:pt x="76520" y="302009"/>
                  </a:lnTo>
                  <a:lnTo>
                    <a:pt x="76559" y="299422"/>
                  </a:lnTo>
                  <a:lnTo>
                    <a:pt x="74446" y="295250"/>
                  </a:lnTo>
                  <a:lnTo>
                    <a:pt x="73628" y="292624"/>
                  </a:lnTo>
                  <a:lnTo>
                    <a:pt x="72565" y="289924"/>
                  </a:lnTo>
                  <a:lnTo>
                    <a:pt x="71589" y="288657"/>
                  </a:lnTo>
                  <a:lnTo>
                    <a:pt x="69877" y="287588"/>
                  </a:lnTo>
                  <a:lnTo>
                    <a:pt x="67775" y="286850"/>
                  </a:lnTo>
                  <a:lnTo>
                    <a:pt x="65907" y="286683"/>
                  </a:lnTo>
                  <a:lnTo>
                    <a:pt x="64466" y="286930"/>
                  </a:lnTo>
                  <a:lnTo>
                    <a:pt x="63799" y="287259"/>
                  </a:lnTo>
                  <a:lnTo>
                    <a:pt x="63837" y="287762"/>
                  </a:lnTo>
                  <a:lnTo>
                    <a:pt x="65005" y="289473"/>
                  </a:lnTo>
                  <a:lnTo>
                    <a:pt x="65210" y="290422"/>
                  </a:lnTo>
                  <a:lnTo>
                    <a:pt x="65019" y="291341"/>
                  </a:lnTo>
                  <a:lnTo>
                    <a:pt x="64623" y="291955"/>
                  </a:lnTo>
                  <a:lnTo>
                    <a:pt x="63586" y="292022"/>
                  </a:lnTo>
                  <a:lnTo>
                    <a:pt x="61777" y="292555"/>
                  </a:lnTo>
                  <a:lnTo>
                    <a:pt x="59545" y="293592"/>
                  </a:lnTo>
                  <a:lnTo>
                    <a:pt x="57985" y="294474"/>
                  </a:lnTo>
                  <a:lnTo>
                    <a:pt x="56737" y="296732"/>
                  </a:lnTo>
                  <a:lnTo>
                    <a:pt x="55868" y="297013"/>
                  </a:lnTo>
                  <a:lnTo>
                    <a:pt x="54394" y="296732"/>
                  </a:lnTo>
                  <a:lnTo>
                    <a:pt x="50194" y="295073"/>
                  </a:lnTo>
                  <a:lnTo>
                    <a:pt x="46734" y="293704"/>
                  </a:lnTo>
                  <a:lnTo>
                    <a:pt x="44351" y="292915"/>
                  </a:lnTo>
                  <a:lnTo>
                    <a:pt x="42913" y="293416"/>
                  </a:lnTo>
                  <a:lnTo>
                    <a:pt x="42187" y="293657"/>
                  </a:lnTo>
                  <a:lnTo>
                    <a:pt x="40129" y="294574"/>
                  </a:lnTo>
                  <a:lnTo>
                    <a:pt x="37394" y="297903"/>
                  </a:lnTo>
                  <a:lnTo>
                    <a:pt x="36742" y="299003"/>
                  </a:lnTo>
                  <a:lnTo>
                    <a:pt x="36195" y="299354"/>
                  </a:lnTo>
                  <a:lnTo>
                    <a:pt x="35451" y="299940"/>
                  </a:lnTo>
                  <a:lnTo>
                    <a:pt x="34746" y="299956"/>
                  </a:lnTo>
                  <a:lnTo>
                    <a:pt x="34179" y="299558"/>
                  </a:lnTo>
                  <a:lnTo>
                    <a:pt x="33999" y="299316"/>
                  </a:lnTo>
                  <a:lnTo>
                    <a:pt x="32596" y="296916"/>
                  </a:lnTo>
                  <a:lnTo>
                    <a:pt x="31055" y="294278"/>
                  </a:lnTo>
                  <a:lnTo>
                    <a:pt x="29794" y="293082"/>
                  </a:lnTo>
                  <a:lnTo>
                    <a:pt x="28216" y="293030"/>
                  </a:lnTo>
                  <a:lnTo>
                    <a:pt x="26861" y="293854"/>
                  </a:lnTo>
                  <a:lnTo>
                    <a:pt x="25459" y="295553"/>
                  </a:lnTo>
                  <a:lnTo>
                    <a:pt x="23680" y="297127"/>
                  </a:lnTo>
                  <a:lnTo>
                    <a:pt x="22552" y="297594"/>
                  </a:lnTo>
                  <a:lnTo>
                    <a:pt x="21569" y="297339"/>
                  </a:lnTo>
                  <a:lnTo>
                    <a:pt x="19148" y="295352"/>
                  </a:lnTo>
                  <a:lnTo>
                    <a:pt x="17428" y="293940"/>
                  </a:lnTo>
                  <a:lnTo>
                    <a:pt x="17212" y="293229"/>
                  </a:lnTo>
                  <a:lnTo>
                    <a:pt x="17823" y="292140"/>
                  </a:lnTo>
                  <a:lnTo>
                    <a:pt x="18420" y="290522"/>
                  </a:lnTo>
                  <a:lnTo>
                    <a:pt x="19073" y="289211"/>
                  </a:lnTo>
                  <a:lnTo>
                    <a:pt x="19706" y="288611"/>
                  </a:lnTo>
                  <a:lnTo>
                    <a:pt x="19861" y="286931"/>
                  </a:lnTo>
                  <a:lnTo>
                    <a:pt x="18393" y="285748"/>
                  </a:lnTo>
                  <a:lnTo>
                    <a:pt x="18353" y="285169"/>
                  </a:lnTo>
                  <a:lnTo>
                    <a:pt x="18497" y="283600"/>
                  </a:lnTo>
                  <a:lnTo>
                    <a:pt x="19154" y="280277"/>
                  </a:lnTo>
                  <a:lnTo>
                    <a:pt x="19087" y="279010"/>
                  </a:lnTo>
                  <a:lnTo>
                    <a:pt x="19685" y="276535"/>
                  </a:lnTo>
                  <a:lnTo>
                    <a:pt x="18721" y="275420"/>
                  </a:lnTo>
                  <a:lnTo>
                    <a:pt x="18496" y="274597"/>
                  </a:lnTo>
                  <a:lnTo>
                    <a:pt x="17420" y="273276"/>
                  </a:lnTo>
                  <a:lnTo>
                    <a:pt x="16182" y="271403"/>
                  </a:lnTo>
                  <a:lnTo>
                    <a:pt x="15897" y="269902"/>
                  </a:lnTo>
                  <a:lnTo>
                    <a:pt x="15462" y="268708"/>
                  </a:lnTo>
                  <a:lnTo>
                    <a:pt x="14276" y="266912"/>
                  </a:lnTo>
                  <a:lnTo>
                    <a:pt x="13403" y="266631"/>
                  </a:lnTo>
                  <a:lnTo>
                    <a:pt x="11550" y="266357"/>
                  </a:lnTo>
                  <a:lnTo>
                    <a:pt x="11241" y="266975"/>
                  </a:lnTo>
                  <a:lnTo>
                    <a:pt x="10553" y="267870"/>
                  </a:lnTo>
                  <a:lnTo>
                    <a:pt x="9926" y="268128"/>
                  </a:lnTo>
                  <a:lnTo>
                    <a:pt x="8907" y="267032"/>
                  </a:lnTo>
                  <a:lnTo>
                    <a:pt x="8522" y="266092"/>
                  </a:lnTo>
                  <a:lnTo>
                    <a:pt x="8536" y="265234"/>
                  </a:lnTo>
                  <a:lnTo>
                    <a:pt x="7154" y="263738"/>
                  </a:lnTo>
                  <a:lnTo>
                    <a:pt x="5006" y="260987"/>
                  </a:lnTo>
                  <a:lnTo>
                    <a:pt x="5228" y="258717"/>
                  </a:lnTo>
                  <a:lnTo>
                    <a:pt x="6554" y="257496"/>
                  </a:lnTo>
                  <a:lnTo>
                    <a:pt x="6949" y="256575"/>
                  </a:lnTo>
                  <a:lnTo>
                    <a:pt x="7069" y="255531"/>
                  </a:lnTo>
                  <a:lnTo>
                    <a:pt x="6468" y="254281"/>
                  </a:lnTo>
                  <a:lnTo>
                    <a:pt x="5760" y="253291"/>
                  </a:lnTo>
                  <a:lnTo>
                    <a:pt x="5957" y="251101"/>
                  </a:lnTo>
                  <a:lnTo>
                    <a:pt x="5780" y="248064"/>
                  </a:lnTo>
                  <a:lnTo>
                    <a:pt x="4693" y="246537"/>
                  </a:lnTo>
                  <a:lnTo>
                    <a:pt x="3708" y="245429"/>
                  </a:lnTo>
                  <a:lnTo>
                    <a:pt x="2330" y="244225"/>
                  </a:lnTo>
                  <a:lnTo>
                    <a:pt x="1154" y="242376"/>
                  </a:lnTo>
                  <a:lnTo>
                    <a:pt x="1631" y="239836"/>
                  </a:lnTo>
                  <a:lnTo>
                    <a:pt x="2080" y="238097"/>
                  </a:lnTo>
                  <a:lnTo>
                    <a:pt x="0" y="234463"/>
                  </a:lnTo>
                  <a:lnTo>
                    <a:pt x="3890" y="235901"/>
                  </a:lnTo>
                  <a:lnTo>
                    <a:pt x="4402" y="235427"/>
                  </a:lnTo>
                  <a:lnTo>
                    <a:pt x="5727" y="234555"/>
                  </a:lnTo>
                  <a:lnTo>
                    <a:pt x="7511" y="232703"/>
                  </a:lnTo>
                  <a:lnTo>
                    <a:pt x="9016" y="230256"/>
                  </a:lnTo>
                  <a:lnTo>
                    <a:pt x="9693" y="227221"/>
                  </a:lnTo>
                  <a:lnTo>
                    <a:pt x="9991" y="224609"/>
                  </a:lnTo>
                  <a:lnTo>
                    <a:pt x="10661" y="222395"/>
                  </a:lnTo>
                  <a:lnTo>
                    <a:pt x="11508" y="220521"/>
                  </a:lnTo>
                  <a:lnTo>
                    <a:pt x="13372" y="218562"/>
                  </a:lnTo>
                  <a:lnTo>
                    <a:pt x="15122" y="217177"/>
                  </a:lnTo>
                  <a:lnTo>
                    <a:pt x="17201" y="215737"/>
                  </a:lnTo>
                  <a:lnTo>
                    <a:pt x="18251" y="215996"/>
                  </a:lnTo>
                  <a:lnTo>
                    <a:pt x="20232" y="218003"/>
                  </a:lnTo>
                  <a:lnTo>
                    <a:pt x="24572" y="222035"/>
                  </a:lnTo>
                  <a:lnTo>
                    <a:pt x="28153" y="225106"/>
                  </a:lnTo>
                  <a:lnTo>
                    <a:pt x="29461" y="226730"/>
                  </a:lnTo>
                  <a:lnTo>
                    <a:pt x="30625" y="226744"/>
                  </a:lnTo>
                  <a:lnTo>
                    <a:pt x="32405" y="223775"/>
                  </a:lnTo>
                  <a:lnTo>
                    <a:pt x="34243" y="221214"/>
                  </a:lnTo>
                  <a:lnTo>
                    <a:pt x="35026" y="220586"/>
                  </a:lnTo>
                  <a:lnTo>
                    <a:pt x="37459" y="220310"/>
                  </a:lnTo>
                  <a:lnTo>
                    <a:pt x="39524" y="220198"/>
                  </a:lnTo>
                  <a:lnTo>
                    <a:pt x="41323" y="220240"/>
                  </a:lnTo>
                  <a:lnTo>
                    <a:pt x="44633" y="220736"/>
                  </a:lnTo>
                  <a:lnTo>
                    <a:pt x="46145" y="221189"/>
                  </a:lnTo>
                  <a:lnTo>
                    <a:pt x="47565" y="221468"/>
                  </a:lnTo>
                  <a:lnTo>
                    <a:pt x="51724" y="221692"/>
                  </a:lnTo>
                  <a:lnTo>
                    <a:pt x="55845" y="221066"/>
                  </a:lnTo>
                  <a:lnTo>
                    <a:pt x="59764" y="220256"/>
                  </a:lnTo>
                  <a:lnTo>
                    <a:pt x="62659" y="219781"/>
                  </a:lnTo>
                  <a:lnTo>
                    <a:pt x="62804" y="218571"/>
                  </a:lnTo>
                  <a:lnTo>
                    <a:pt x="62641" y="217140"/>
                  </a:lnTo>
                  <a:lnTo>
                    <a:pt x="63109" y="216049"/>
                  </a:lnTo>
                  <a:lnTo>
                    <a:pt x="64020" y="215039"/>
                  </a:lnTo>
                  <a:lnTo>
                    <a:pt x="64789" y="214818"/>
                  </a:lnTo>
                  <a:lnTo>
                    <a:pt x="65124" y="218254"/>
                  </a:lnTo>
                  <a:lnTo>
                    <a:pt x="66047" y="218771"/>
                  </a:lnTo>
                  <a:lnTo>
                    <a:pt x="68632" y="218924"/>
                  </a:lnTo>
                  <a:lnTo>
                    <a:pt x="72827" y="218924"/>
                  </a:lnTo>
                  <a:lnTo>
                    <a:pt x="77337" y="218924"/>
                  </a:lnTo>
                  <a:lnTo>
                    <a:pt x="81847" y="218923"/>
                  </a:lnTo>
                  <a:lnTo>
                    <a:pt x="86357" y="218923"/>
                  </a:lnTo>
                  <a:lnTo>
                    <a:pt x="90867" y="218923"/>
                  </a:lnTo>
                  <a:lnTo>
                    <a:pt x="95376" y="218923"/>
                  </a:lnTo>
                  <a:lnTo>
                    <a:pt x="99885" y="218923"/>
                  </a:lnTo>
                  <a:lnTo>
                    <a:pt x="104396" y="218923"/>
                  </a:lnTo>
                  <a:lnTo>
                    <a:pt x="108905" y="218921"/>
                  </a:lnTo>
                  <a:lnTo>
                    <a:pt x="113415" y="218921"/>
                  </a:lnTo>
                  <a:lnTo>
                    <a:pt x="117925" y="218921"/>
                  </a:lnTo>
                  <a:lnTo>
                    <a:pt x="122435" y="218921"/>
                  </a:lnTo>
                  <a:lnTo>
                    <a:pt x="126945" y="218921"/>
                  </a:lnTo>
                  <a:lnTo>
                    <a:pt x="131453" y="218921"/>
                  </a:lnTo>
                  <a:lnTo>
                    <a:pt x="135963" y="218920"/>
                  </a:lnTo>
                  <a:lnTo>
                    <a:pt x="140473" y="218919"/>
                  </a:lnTo>
                  <a:lnTo>
                    <a:pt x="144983" y="218919"/>
                  </a:lnTo>
                  <a:lnTo>
                    <a:pt x="149657" y="218919"/>
                  </a:lnTo>
                  <a:lnTo>
                    <a:pt x="150915" y="212280"/>
                  </a:lnTo>
                  <a:lnTo>
                    <a:pt x="152066" y="206193"/>
                  </a:lnTo>
                  <a:lnTo>
                    <a:pt x="153031" y="201089"/>
                  </a:lnTo>
                  <a:lnTo>
                    <a:pt x="149721" y="197476"/>
                  </a:lnTo>
                  <a:lnTo>
                    <a:pt x="147088" y="194600"/>
                  </a:lnTo>
                  <a:lnTo>
                    <a:pt x="146478" y="189125"/>
                  </a:lnTo>
                  <a:lnTo>
                    <a:pt x="145848" y="183468"/>
                  </a:lnTo>
                  <a:lnTo>
                    <a:pt x="145220" y="177809"/>
                  </a:lnTo>
                  <a:lnTo>
                    <a:pt x="144589" y="172143"/>
                  </a:lnTo>
                  <a:lnTo>
                    <a:pt x="143960" y="166472"/>
                  </a:lnTo>
                  <a:lnTo>
                    <a:pt x="143330" y="160796"/>
                  </a:lnTo>
                  <a:lnTo>
                    <a:pt x="142701" y="155116"/>
                  </a:lnTo>
                  <a:lnTo>
                    <a:pt x="142071" y="149431"/>
                  </a:lnTo>
                  <a:lnTo>
                    <a:pt x="141441" y="143740"/>
                  </a:lnTo>
                  <a:lnTo>
                    <a:pt x="140812" y="138045"/>
                  </a:lnTo>
                  <a:lnTo>
                    <a:pt x="140181" y="132343"/>
                  </a:lnTo>
                  <a:lnTo>
                    <a:pt x="139552" y="126636"/>
                  </a:lnTo>
                  <a:lnTo>
                    <a:pt x="138923" y="120923"/>
                  </a:lnTo>
                  <a:lnTo>
                    <a:pt x="138293" y="115205"/>
                  </a:lnTo>
                  <a:lnTo>
                    <a:pt x="137664" y="109481"/>
                  </a:lnTo>
                  <a:lnTo>
                    <a:pt x="137033" y="103752"/>
                  </a:lnTo>
                  <a:lnTo>
                    <a:pt x="136405" y="98016"/>
                  </a:lnTo>
                  <a:lnTo>
                    <a:pt x="135774" y="92274"/>
                  </a:lnTo>
                  <a:lnTo>
                    <a:pt x="135145" y="86526"/>
                  </a:lnTo>
                  <a:lnTo>
                    <a:pt x="134516" y="80773"/>
                  </a:lnTo>
                  <a:lnTo>
                    <a:pt x="133886" y="75013"/>
                  </a:lnTo>
                  <a:lnTo>
                    <a:pt x="133256" y="69246"/>
                  </a:lnTo>
                  <a:lnTo>
                    <a:pt x="132626" y="63474"/>
                  </a:lnTo>
                  <a:lnTo>
                    <a:pt x="131997" y="57695"/>
                  </a:lnTo>
                  <a:lnTo>
                    <a:pt x="131367" y="51910"/>
                  </a:lnTo>
                  <a:lnTo>
                    <a:pt x="130737" y="46119"/>
                  </a:lnTo>
                  <a:lnTo>
                    <a:pt x="130108" y="40319"/>
                  </a:lnTo>
                  <a:lnTo>
                    <a:pt x="129479" y="34514"/>
                  </a:lnTo>
                  <a:lnTo>
                    <a:pt x="128849" y="28701"/>
                  </a:lnTo>
                  <a:lnTo>
                    <a:pt x="128219" y="22882"/>
                  </a:lnTo>
                  <a:lnTo>
                    <a:pt x="127590" y="17055"/>
                  </a:lnTo>
                  <a:lnTo>
                    <a:pt x="126960" y="11221"/>
                  </a:lnTo>
                  <a:lnTo>
                    <a:pt x="126331" y="5381"/>
                  </a:lnTo>
                  <a:lnTo>
                    <a:pt x="125741" y="23"/>
                  </a:lnTo>
                  <a:lnTo>
                    <a:pt x="132526" y="18"/>
                  </a:lnTo>
                  <a:lnTo>
                    <a:pt x="139766" y="15"/>
                  </a:lnTo>
                  <a:lnTo>
                    <a:pt x="146821" y="10"/>
                  </a:lnTo>
                  <a:lnTo>
                    <a:pt x="157166" y="5"/>
                  </a:lnTo>
                  <a:lnTo>
                    <a:pt x="164912" y="0"/>
                  </a:lnTo>
                  <a:lnTo>
                    <a:pt x="171670" y="4495"/>
                  </a:lnTo>
                  <a:lnTo>
                    <a:pt x="177787" y="8747"/>
                  </a:lnTo>
                  <a:lnTo>
                    <a:pt x="185030" y="13772"/>
                  </a:lnTo>
                  <a:lnTo>
                    <a:pt x="192270" y="18792"/>
                  </a:lnTo>
                  <a:lnTo>
                    <a:pt x="199512" y="23808"/>
                  </a:lnTo>
                  <a:lnTo>
                    <a:pt x="206753" y="28818"/>
                  </a:lnTo>
                  <a:lnTo>
                    <a:pt x="213994" y="33823"/>
                  </a:lnTo>
                  <a:lnTo>
                    <a:pt x="221236" y="38825"/>
                  </a:lnTo>
                  <a:lnTo>
                    <a:pt x="228478" y="43818"/>
                  </a:lnTo>
                  <a:lnTo>
                    <a:pt x="235719" y="48810"/>
                  </a:lnTo>
                  <a:lnTo>
                    <a:pt x="242960" y="53795"/>
                  </a:lnTo>
                  <a:lnTo>
                    <a:pt x="250201" y="58773"/>
                  </a:lnTo>
                  <a:lnTo>
                    <a:pt x="257443" y="63750"/>
                  </a:lnTo>
                  <a:lnTo>
                    <a:pt x="264683" y="68720"/>
                  </a:lnTo>
                  <a:lnTo>
                    <a:pt x="271926" y="73685"/>
                  </a:lnTo>
                  <a:lnTo>
                    <a:pt x="279166" y="78647"/>
                  </a:lnTo>
                  <a:lnTo>
                    <a:pt x="286407" y="83604"/>
                  </a:lnTo>
                  <a:lnTo>
                    <a:pt x="293649" y="88556"/>
                  </a:lnTo>
                  <a:lnTo>
                    <a:pt x="296880" y="90763"/>
                  </a:lnTo>
                  <a:lnTo>
                    <a:pt x="297182" y="91681"/>
                  </a:lnTo>
                  <a:lnTo>
                    <a:pt x="297482" y="93541"/>
                  </a:lnTo>
                  <a:lnTo>
                    <a:pt x="297290" y="95635"/>
                  </a:lnTo>
                  <a:lnTo>
                    <a:pt x="297327" y="97341"/>
                  </a:lnTo>
                  <a:lnTo>
                    <a:pt x="298281" y="98498"/>
                  </a:lnTo>
                  <a:lnTo>
                    <a:pt x="300080" y="99737"/>
                  </a:lnTo>
                  <a:lnTo>
                    <a:pt x="307165" y="103382"/>
                  </a:lnTo>
                  <a:lnTo>
                    <a:pt x="307726" y="104101"/>
                  </a:lnTo>
                  <a:lnTo>
                    <a:pt x="307977" y="105611"/>
                  </a:lnTo>
                  <a:lnTo>
                    <a:pt x="308819" y="107465"/>
                  </a:lnTo>
                  <a:lnTo>
                    <a:pt x="310318" y="108543"/>
                  </a:lnTo>
                  <a:lnTo>
                    <a:pt x="312069" y="109342"/>
                  </a:lnTo>
                  <a:lnTo>
                    <a:pt x="314200" y="109899"/>
                  </a:lnTo>
                  <a:lnTo>
                    <a:pt x="320624" y="110473"/>
                  </a:lnTo>
                  <a:lnTo>
                    <a:pt x="321985" y="111336"/>
                  </a:lnTo>
                  <a:lnTo>
                    <a:pt x="324755" y="114706"/>
                  </a:lnTo>
                  <a:lnTo>
                    <a:pt x="326260" y="115370"/>
                  </a:lnTo>
                  <a:lnTo>
                    <a:pt x="330540" y="116338"/>
                  </a:lnTo>
                  <a:lnTo>
                    <a:pt x="333639" y="116879"/>
                  </a:lnTo>
                  <a:lnTo>
                    <a:pt x="334917" y="117188"/>
                  </a:lnTo>
                  <a:lnTo>
                    <a:pt x="337720" y="118094"/>
                  </a:lnTo>
                  <a:lnTo>
                    <a:pt x="340767" y="119620"/>
                  </a:lnTo>
                  <a:lnTo>
                    <a:pt x="342391" y="121011"/>
                  </a:lnTo>
                  <a:lnTo>
                    <a:pt x="342384" y="121447"/>
                  </a:lnTo>
                  <a:lnTo>
                    <a:pt x="342369" y="122652"/>
                  </a:lnTo>
                  <a:lnTo>
                    <a:pt x="342345" y="126279"/>
                  </a:lnTo>
                  <a:lnTo>
                    <a:pt x="342907" y="128272"/>
                  </a:lnTo>
                  <a:lnTo>
                    <a:pt x="343544" y="129710"/>
                  </a:lnTo>
                  <a:lnTo>
                    <a:pt x="343512" y="130590"/>
                  </a:lnTo>
                  <a:lnTo>
                    <a:pt x="342743" y="131214"/>
                  </a:lnTo>
                  <a:lnTo>
                    <a:pt x="342140" y="131979"/>
                  </a:lnTo>
                  <a:lnTo>
                    <a:pt x="341806" y="132986"/>
                  </a:lnTo>
                  <a:lnTo>
                    <a:pt x="340935" y="134270"/>
                  </a:lnTo>
                  <a:lnTo>
                    <a:pt x="340231" y="135693"/>
                  </a:lnTo>
                  <a:lnTo>
                    <a:pt x="340534" y="136769"/>
                  </a:lnTo>
                  <a:lnTo>
                    <a:pt x="341739" y="137463"/>
                  </a:lnTo>
                  <a:lnTo>
                    <a:pt x="343546" y="138829"/>
                  </a:lnTo>
                  <a:lnTo>
                    <a:pt x="345038" y="139400"/>
                  </a:lnTo>
                  <a:lnTo>
                    <a:pt x="345768" y="139440"/>
                  </a:lnTo>
                  <a:lnTo>
                    <a:pt x="346751" y="139399"/>
                  </a:lnTo>
                  <a:lnTo>
                    <a:pt x="347589" y="139222"/>
                  </a:lnTo>
                  <a:lnTo>
                    <a:pt x="353000" y="138180"/>
                  </a:lnTo>
                  <a:lnTo>
                    <a:pt x="358012" y="137214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12" name="ee4p_MZ_1_82333">
              <a:extLst>
                <a:ext uri="{FF2B5EF4-FFF2-40B4-BE49-F238E27FC236}">
                  <a16:creationId xmlns:a16="http://schemas.microsoft.com/office/drawing/2014/main" id="{3F77A43B-7579-47B9-9937-5B758D19BEEC}"/>
                </a:ext>
              </a:extLst>
            </p:cNvPr>
            <p:cNvSpPr>
              <a:spLocks noChangeAspect="1"/>
            </p:cNvSpPr>
            <p:nvPr>
              <p:custDataLst>
                <p:tags r:id="rId140"/>
              </p:custDataLst>
            </p:nvPr>
          </p:nvSpPr>
          <p:spPr>
            <a:xfrm>
              <a:off x="7353939" y="4977258"/>
              <a:ext cx="294988" cy="485296"/>
            </a:xfrm>
            <a:custGeom>
              <a:avLst/>
              <a:gdLst>
                <a:gd name="connsiteX0" fmla="*/ 266124 w 629170"/>
                <a:gd name="connsiteY0" fmla="*/ 92249 h 1007635"/>
                <a:gd name="connsiteX1" fmla="*/ 264046 w 629170"/>
                <a:gd name="connsiteY1" fmla="*/ 92619 h 1007635"/>
                <a:gd name="connsiteX2" fmla="*/ 263312 w 629170"/>
                <a:gd name="connsiteY2" fmla="*/ 94941 h 1007635"/>
                <a:gd name="connsiteX3" fmla="*/ 262993 w 629170"/>
                <a:gd name="connsiteY3" fmla="*/ 98139 h 1007635"/>
                <a:gd name="connsiteX4" fmla="*/ 264303 w 629170"/>
                <a:gd name="connsiteY4" fmla="*/ 99214 h 1007635"/>
                <a:gd name="connsiteX5" fmla="*/ 266384 w 629170"/>
                <a:gd name="connsiteY5" fmla="*/ 98731 h 1007635"/>
                <a:gd name="connsiteX6" fmla="*/ 267962 w 629170"/>
                <a:gd name="connsiteY6" fmla="*/ 97395 h 1007635"/>
                <a:gd name="connsiteX7" fmla="*/ 268570 w 629170"/>
                <a:gd name="connsiteY7" fmla="*/ 95635 h 1007635"/>
                <a:gd name="connsiteX8" fmla="*/ 268554 w 629170"/>
                <a:gd name="connsiteY8" fmla="*/ 93934 h 1007635"/>
                <a:gd name="connsiteX9" fmla="*/ 267546 w 629170"/>
                <a:gd name="connsiteY9" fmla="*/ 92871 h 1007635"/>
                <a:gd name="connsiteX10" fmla="*/ 258807 w 629170"/>
                <a:gd name="connsiteY10" fmla="*/ 90350 h 1007635"/>
                <a:gd name="connsiteX11" fmla="*/ 256592 w 629170"/>
                <a:gd name="connsiteY11" fmla="*/ 91017 h 1007635"/>
                <a:gd name="connsiteX12" fmla="*/ 255858 w 629170"/>
                <a:gd name="connsiteY12" fmla="*/ 93206 h 1007635"/>
                <a:gd name="connsiteX13" fmla="*/ 258159 w 629170"/>
                <a:gd name="connsiteY13" fmla="*/ 96039 h 1007635"/>
                <a:gd name="connsiteX14" fmla="*/ 260605 w 629170"/>
                <a:gd name="connsiteY14" fmla="*/ 96088 h 1007635"/>
                <a:gd name="connsiteX15" fmla="*/ 261781 w 629170"/>
                <a:gd name="connsiteY15" fmla="*/ 92906 h 1007635"/>
                <a:gd name="connsiteX16" fmla="*/ 260752 w 629170"/>
                <a:gd name="connsiteY16" fmla="*/ 91170 h 1007635"/>
                <a:gd name="connsiteX17" fmla="*/ 606605 w 629170"/>
                <a:gd name="connsiteY17" fmla="*/ 0 h 1007635"/>
                <a:gd name="connsiteX18" fmla="*/ 609753 w 629170"/>
                <a:gd name="connsiteY18" fmla="*/ 6169 h 1007635"/>
                <a:gd name="connsiteX19" fmla="*/ 615380 w 629170"/>
                <a:gd name="connsiteY19" fmla="*/ 11805 h 1007635"/>
                <a:gd name="connsiteX20" fmla="*/ 612024 w 629170"/>
                <a:gd name="connsiteY20" fmla="*/ 15083 h 1007635"/>
                <a:gd name="connsiteX21" fmla="*/ 607972 w 629170"/>
                <a:gd name="connsiteY21" fmla="*/ 18013 h 1007635"/>
                <a:gd name="connsiteX22" fmla="*/ 614518 w 629170"/>
                <a:gd name="connsiteY22" fmla="*/ 21938 h 1007635"/>
                <a:gd name="connsiteX23" fmla="*/ 609718 w 629170"/>
                <a:gd name="connsiteY23" fmla="*/ 27865 h 1007635"/>
                <a:gd name="connsiteX24" fmla="*/ 609134 w 629170"/>
                <a:gd name="connsiteY24" fmla="*/ 31990 h 1007635"/>
                <a:gd name="connsiteX25" fmla="*/ 610353 w 629170"/>
                <a:gd name="connsiteY25" fmla="*/ 33605 h 1007635"/>
                <a:gd name="connsiteX26" fmla="*/ 611400 w 629170"/>
                <a:gd name="connsiteY26" fmla="*/ 36019 h 1007635"/>
                <a:gd name="connsiteX27" fmla="*/ 608255 w 629170"/>
                <a:gd name="connsiteY27" fmla="*/ 42809 h 1007635"/>
                <a:gd name="connsiteX28" fmla="*/ 604085 w 629170"/>
                <a:gd name="connsiteY28" fmla="*/ 48011 h 1007635"/>
                <a:gd name="connsiteX29" fmla="*/ 603008 w 629170"/>
                <a:gd name="connsiteY29" fmla="*/ 51991 h 1007635"/>
                <a:gd name="connsiteX30" fmla="*/ 606699 w 629170"/>
                <a:gd name="connsiteY30" fmla="*/ 59033 h 1007635"/>
                <a:gd name="connsiteX31" fmla="*/ 604800 w 629170"/>
                <a:gd name="connsiteY31" fmla="*/ 71509 h 1007635"/>
                <a:gd name="connsiteX32" fmla="*/ 608381 w 629170"/>
                <a:gd name="connsiteY32" fmla="*/ 82743 h 1007635"/>
                <a:gd name="connsiteX33" fmla="*/ 609380 w 629170"/>
                <a:gd name="connsiteY33" fmla="*/ 88507 h 1007635"/>
                <a:gd name="connsiteX34" fmla="*/ 610631 w 629170"/>
                <a:gd name="connsiteY34" fmla="*/ 92362 h 1007635"/>
                <a:gd name="connsiteX35" fmla="*/ 608850 w 629170"/>
                <a:gd name="connsiteY35" fmla="*/ 99262 h 1007635"/>
                <a:gd name="connsiteX36" fmla="*/ 609308 w 629170"/>
                <a:gd name="connsiteY36" fmla="*/ 110889 h 1007635"/>
                <a:gd name="connsiteX37" fmla="*/ 610133 w 629170"/>
                <a:gd name="connsiteY37" fmla="*/ 115689 h 1007635"/>
                <a:gd name="connsiteX38" fmla="*/ 608001 w 629170"/>
                <a:gd name="connsiteY38" fmla="*/ 121668 h 1007635"/>
                <a:gd name="connsiteX39" fmla="*/ 611625 w 629170"/>
                <a:gd name="connsiteY39" fmla="*/ 123736 h 1007635"/>
                <a:gd name="connsiteX40" fmla="*/ 613551 w 629170"/>
                <a:gd name="connsiteY40" fmla="*/ 130293 h 1007635"/>
                <a:gd name="connsiteX41" fmla="*/ 613031 w 629170"/>
                <a:gd name="connsiteY41" fmla="*/ 137686 h 1007635"/>
                <a:gd name="connsiteX42" fmla="*/ 611920 w 629170"/>
                <a:gd name="connsiteY42" fmla="*/ 141669 h 1007635"/>
                <a:gd name="connsiteX43" fmla="*/ 605663 w 629170"/>
                <a:gd name="connsiteY43" fmla="*/ 146495 h 1007635"/>
                <a:gd name="connsiteX44" fmla="*/ 604923 w 629170"/>
                <a:gd name="connsiteY44" fmla="*/ 148370 h 1007635"/>
                <a:gd name="connsiteX45" fmla="*/ 605020 w 629170"/>
                <a:gd name="connsiteY45" fmla="*/ 151212 h 1007635"/>
                <a:gd name="connsiteX46" fmla="*/ 612836 w 629170"/>
                <a:gd name="connsiteY46" fmla="*/ 151306 h 1007635"/>
                <a:gd name="connsiteX47" fmla="*/ 613101 w 629170"/>
                <a:gd name="connsiteY47" fmla="*/ 155704 h 1007635"/>
                <a:gd name="connsiteX48" fmla="*/ 612581 w 629170"/>
                <a:gd name="connsiteY48" fmla="*/ 159168 h 1007635"/>
                <a:gd name="connsiteX49" fmla="*/ 612881 w 629170"/>
                <a:gd name="connsiteY49" fmla="*/ 165687 h 1007635"/>
                <a:gd name="connsiteX50" fmla="*/ 611839 w 629170"/>
                <a:gd name="connsiteY50" fmla="*/ 169925 h 1007635"/>
                <a:gd name="connsiteX51" fmla="*/ 613674 w 629170"/>
                <a:gd name="connsiteY51" fmla="*/ 174762 h 1007635"/>
                <a:gd name="connsiteX52" fmla="*/ 611435 w 629170"/>
                <a:gd name="connsiteY52" fmla="*/ 180119 h 1007635"/>
                <a:gd name="connsiteX53" fmla="*/ 612212 w 629170"/>
                <a:gd name="connsiteY53" fmla="*/ 184252 h 1007635"/>
                <a:gd name="connsiteX54" fmla="*/ 612308 w 629170"/>
                <a:gd name="connsiteY54" fmla="*/ 189612 h 1007635"/>
                <a:gd name="connsiteX55" fmla="*/ 614124 w 629170"/>
                <a:gd name="connsiteY55" fmla="*/ 203171 h 1007635"/>
                <a:gd name="connsiteX56" fmla="*/ 614432 w 629170"/>
                <a:gd name="connsiteY56" fmla="*/ 219944 h 1007635"/>
                <a:gd name="connsiteX57" fmla="*/ 614837 w 629170"/>
                <a:gd name="connsiteY57" fmla="*/ 222633 h 1007635"/>
                <a:gd name="connsiteX58" fmla="*/ 617617 w 629170"/>
                <a:gd name="connsiteY58" fmla="*/ 224535 h 1007635"/>
                <a:gd name="connsiteX59" fmla="*/ 621533 w 629170"/>
                <a:gd name="connsiteY59" fmla="*/ 225478 h 1007635"/>
                <a:gd name="connsiteX60" fmla="*/ 621383 w 629170"/>
                <a:gd name="connsiteY60" fmla="*/ 230079 h 1007635"/>
                <a:gd name="connsiteX61" fmla="*/ 617052 w 629170"/>
                <a:gd name="connsiteY61" fmla="*/ 236087 h 1007635"/>
                <a:gd name="connsiteX62" fmla="*/ 616792 w 629170"/>
                <a:gd name="connsiteY62" fmla="*/ 239824 h 1007635"/>
                <a:gd name="connsiteX63" fmla="*/ 617416 w 629170"/>
                <a:gd name="connsiteY63" fmla="*/ 245074 h 1007635"/>
                <a:gd name="connsiteX64" fmla="*/ 622189 w 629170"/>
                <a:gd name="connsiteY64" fmla="*/ 237941 h 1007635"/>
                <a:gd name="connsiteX65" fmla="*/ 625050 w 629170"/>
                <a:gd name="connsiteY65" fmla="*/ 237976 h 1007635"/>
                <a:gd name="connsiteX66" fmla="*/ 627608 w 629170"/>
                <a:gd name="connsiteY66" fmla="*/ 240775 h 1007635"/>
                <a:gd name="connsiteX67" fmla="*/ 627249 w 629170"/>
                <a:gd name="connsiteY67" fmla="*/ 244884 h 1007635"/>
                <a:gd name="connsiteX68" fmla="*/ 628128 w 629170"/>
                <a:gd name="connsiteY68" fmla="*/ 246911 h 1007635"/>
                <a:gd name="connsiteX69" fmla="*/ 627753 w 629170"/>
                <a:gd name="connsiteY69" fmla="*/ 250897 h 1007635"/>
                <a:gd name="connsiteX70" fmla="*/ 629170 w 629170"/>
                <a:gd name="connsiteY70" fmla="*/ 255959 h 1007635"/>
                <a:gd name="connsiteX71" fmla="*/ 628615 w 629170"/>
                <a:gd name="connsiteY71" fmla="*/ 260368 h 1007635"/>
                <a:gd name="connsiteX72" fmla="*/ 625109 w 629170"/>
                <a:gd name="connsiteY72" fmla="*/ 263454 h 1007635"/>
                <a:gd name="connsiteX73" fmla="*/ 620649 w 629170"/>
                <a:gd name="connsiteY73" fmla="*/ 268736 h 1007635"/>
                <a:gd name="connsiteX74" fmla="*/ 619862 w 629170"/>
                <a:gd name="connsiteY74" fmla="*/ 273691 h 1007635"/>
                <a:gd name="connsiteX75" fmla="*/ 620274 w 629170"/>
                <a:gd name="connsiteY75" fmla="*/ 276941 h 1007635"/>
                <a:gd name="connsiteX76" fmla="*/ 617183 w 629170"/>
                <a:gd name="connsiteY76" fmla="*/ 277980 h 1007635"/>
                <a:gd name="connsiteX77" fmla="*/ 615739 w 629170"/>
                <a:gd name="connsiteY77" fmla="*/ 279986 h 1007635"/>
                <a:gd name="connsiteX78" fmla="*/ 617831 w 629170"/>
                <a:gd name="connsiteY78" fmla="*/ 284660 h 1007635"/>
                <a:gd name="connsiteX79" fmla="*/ 617705 w 629170"/>
                <a:gd name="connsiteY79" fmla="*/ 288796 h 1007635"/>
                <a:gd name="connsiteX80" fmla="*/ 612257 w 629170"/>
                <a:gd name="connsiteY80" fmla="*/ 301677 h 1007635"/>
                <a:gd name="connsiteX81" fmla="*/ 597739 w 629170"/>
                <a:gd name="connsiteY81" fmla="*/ 319302 h 1007635"/>
                <a:gd name="connsiteX82" fmla="*/ 591469 w 629170"/>
                <a:gd name="connsiteY82" fmla="*/ 325561 h 1007635"/>
                <a:gd name="connsiteX83" fmla="*/ 585592 w 629170"/>
                <a:gd name="connsiteY83" fmla="*/ 332376 h 1007635"/>
                <a:gd name="connsiteX84" fmla="*/ 585598 w 629170"/>
                <a:gd name="connsiteY84" fmla="*/ 335169 h 1007635"/>
                <a:gd name="connsiteX85" fmla="*/ 585024 w 629170"/>
                <a:gd name="connsiteY85" fmla="*/ 337602 h 1007635"/>
                <a:gd name="connsiteX86" fmla="*/ 578178 w 629170"/>
                <a:gd name="connsiteY86" fmla="*/ 347333 h 1007635"/>
                <a:gd name="connsiteX87" fmla="*/ 570844 w 629170"/>
                <a:gd name="connsiteY87" fmla="*/ 348929 h 1007635"/>
                <a:gd name="connsiteX88" fmla="*/ 566765 w 629170"/>
                <a:gd name="connsiteY88" fmla="*/ 351530 h 1007635"/>
                <a:gd name="connsiteX89" fmla="*/ 569947 w 629170"/>
                <a:gd name="connsiteY89" fmla="*/ 360112 h 1007635"/>
                <a:gd name="connsiteX90" fmla="*/ 565203 w 629170"/>
                <a:gd name="connsiteY90" fmla="*/ 362089 h 1007635"/>
                <a:gd name="connsiteX91" fmla="*/ 556961 w 629170"/>
                <a:gd name="connsiteY91" fmla="*/ 368855 h 1007635"/>
                <a:gd name="connsiteX92" fmla="*/ 534271 w 629170"/>
                <a:gd name="connsiteY92" fmla="*/ 381832 h 1007635"/>
                <a:gd name="connsiteX93" fmla="*/ 530685 w 629170"/>
                <a:gd name="connsiteY93" fmla="*/ 384843 h 1007635"/>
                <a:gd name="connsiteX94" fmla="*/ 524918 w 629170"/>
                <a:gd name="connsiteY94" fmla="*/ 392814 h 1007635"/>
                <a:gd name="connsiteX95" fmla="*/ 517319 w 629170"/>
                <a:gd name="connsiteY95" fmla="*/ 394748 h 1007635"/>
                <a:gd name="connsiteX96" fmla="*/ 513095 w 629170"/>
                <a:gd name="connsiteY96" fmla="*/ 397004 h 1007635"/>
                <a:gd name="connsiteX97" fmla="*/ 505565 w 629170"/>
                <a:gd name="connsiteY97" fmla="*/ 397831 h 1007635"/>
                <a:gd name="connsiteX98" fmla="*/ 502938 w 629170"/>
                <a:gd name="connsiteY98" fmla="*/ 397253 h 1007635"/>
                <a:gd name="connsiteX99" fmla="*/ 500372 w 629170"/>
                <a:gd name="connsiteY99" fmla="*/ 397534 h 1007635"/>
                <a:gd name="connsiteX100" fmla="*/ 498202 w 629170"/>
                <a:gd name="connsiteY100" fmla="*/ 399243 h 1007635"/>
                <a:gd name="connsiteX101" fmla="*/ 483245 w 629170"/>
                <a:gd name="connsiteY101" fmla="*/ 404838 h 1007635"/>
                <a:gd name="connsiteX102" fmla="*/ 469276 w 629170"/>
                <a:gd name="connsiteY102" fmla="*/ 409269 h 1007635"/>
                <a:gd name="connsiteX103" fmla="*/ 465840 w 629170"/>
                <a:gd name="connsiteY103" fmla="*/ 411294 h 1007635"/>
                <a:gd name="connsiteX104" fmla="*/ 463550 w 629170"/>
                <a:gd name="connsiteY104" fmla="*/ 414063 h 1007635"/>
                <a:gd name="connsiteX105" fmla="*/ 451183 w 629170"/>
                <a:gd name="connsiteY105" fmla="*/ 418443 h 1007635"/>
                <a:gd name="connsiteX106" fmla="*/ 431806 w 629170"/>
                <a:gd name="connsiteY106" fmla="*/ 429280 h 1007635"/>
                <a:gd name="connsiteX107" fmla="*/ 415946 w 629170"/>
                <a:gd name="connsiteY107" fmla="*/ 439614 h 1007635"/>
                <a:gd name="connsiteX108" fmla="*/ 404461 w 629170"/>
                <a:gd name="connsiteY108" fmla="*/ 449964 h 1007635"/>
                <a:gd name="connsiteX109" fmla="*/ 401434 w 629170"/>
                <a:gd name="connsiteY109" fmla="*/ 451534 h 1007635"/>
                <a:gd name="connsiteX110" fmla="*/ 397872 w 629170"/>
                <a:gd name="connsiteY110" fmla="*/ 455109 h 1007635"/>
                <a:gd name="connsiteX111" fmla="*/ 396680 w 629170"/>
                <a:gd name="connsiteY111" fmla="*/ 460408 h 1007635"/>
                <a:gd name="connsiteX112" fmla="*/ 395517 w 629170"/>
                <a:gd name="connsiteY112" fmla="*/ 463402 h 1007635"/>
                <a:gd name="connsiteX113" fmla="*/ 387021 w 629170"/>
                <a:gd name="connsiteY113" fmla="*/ 474315 h 1007635"/>
                <a:gd name="connsiteX114" fmla="*/ 374228 w 629170"/>
                <a:gd name="connsiteY114" fmla="*/ 487225 h 1007635"/>
                <a:gd name="connsiteX115" fmla="*/ 371734 w 629170"/>
                <a:gd name="connsiteY115" fmla="*/ 490755 h 1007635"/>
                <a:gd name="connsiteX116" fmla="*/ 366650 w 629170"/>
                <a:gd name="connsiteY116" fmla="*/ 497939 h 1007635"/>
                <a:gd name="connsiteX117" fmla="*/ 366147 w 629170"/>
                <a:gd name="connsiteY117" fmla="*/ 502646 h 1007635"/>
                <a:gd name="connsiteX118" fmla="*/ 361618 w 629170"/>
                <a:gd name="connsiteY118" fmla="*/ 504081 h 1007635"/>
                <a:gd name="connsiteX119" fmla="*/ 357806 w 629170"/>
                <a:gd name="connsiteY119" fmla="*/ 499573 h 1007635"/>
                <a:gd name="connsiteX120" fmla="*/ 356193 w 629170"/>
                <a:gd name="connsiteY120" fmla="*/ 508262 h 1007635"/>
                <a:gd name="connsiteX121" fmla="*/ 353086 w 629170"/>
                <a:gd name="connsiteY121" fmla="*/ 508881 h 1007635"/>
                <a:gd name="connsiteX122" fmla="*/ 349639 w 629170"/>
                <a:gd name="connsiteY122" fmla="*/ 507100 h 1007635"/>
                <a:gd name="connsiteX123" fmla="*/ 341054 w 629170"/>
                <a:gd name="connsiteY123" fmla="*/ 511404 h 1007635"/>
                <a:gd name="connsiteX124" fmla="*/ 333570 w 629170"/>
                <a:gd name="connsiteY124" fmla="*/ 516365 h 1007635"/>
                <a:gd name="connsiteX125" fmla="*/ 321581 w 629170"/>
                <a:gd name="connsiteY125" fmla="*/ 526833 h 1007635"/>
                <a:gd name="connsiteX126" fmla="*/ 304645 w 629170"/>
                <a:gd name="connsiteY126" fmla="*/ 547117 h 1007635"/>
                <a:gd name="connsiteX127" fmla="*/ 279919 w 629170"/>
                <a:gd name="connsiteY127" fmla="*/ 566730 h 1007635"/>
                <a:gd name="connsiteX128" fmla="*/ 276541 w 629170"/>
                <a:gd name="connsiteY128" fmla="*/ 567290 h 1007635"/>
                <a:gd name="connsiteX129" fmla="*/ 274262 w 629170"/>
                <a:gd name="connsiteY129" fmla="*/ 567212 h 1007635"/>
                <a:gd name="connsiteX130" fmla="*/ 266481 w 629170"/>
                <a:gd name="connsiteY130" fmla="*/ 560382 h 1007635"/>
                <a:gd name="connsiteX131" fmla="*/ 262243 w 629170"/>
                <a:gd name="connsiteY131" fmla="*/ 559875 h 1007635"/>
                <a:gd name="connsiteX132" fmla="*/ 266036 w 629170"/>
                <a:gd name="connsiteY132" fmla="*/ 563928 h 1007635"/>
                <a:gd name="connsiteX133" fmla="*/ 268541 w 629170"/>
                <a:gd name="connsiteY133" fmla="*/ 567300 h 1007635"/>
                <a:gd name="connsiteX134" fmla="*/ 267906 w 629170"/>
                <a:gd name="connsiteY134" fmla="*/ 573922 h 1007635"/>
                <a:gd name="connsiteX135" fmla="*/ 268200 w 629170"/>
                <a:gd name="connsiteY135" fmla="*/ 583862 h 1007635"/>
                <a:gd name="connsiteX136" fmla="*/ 265128 w 629170"/>
                <a:gd name="connsiteY136" fmla="*/ 603204 h 1007635"/>
                <a:gd name="connsiteX137" fmla="*/ 265541 w 629170"/>
                <a:gd name="connsiteY137" fmla="*/ 607441 h 1007635"/>
                <a:gd name="connsiteX138" fmla="*/ 269074 w 629170"/>
                <a:gd name="connsiteY138" fmla="*/ 612929 h 1007635"/>
                <a:gd name="connsiteX139" fmla="*/ 275725 w 629170"/>
                <a:gd name="connsiteY139" fmla="*/ 619655 h 1007635"/>
                <a:gd name="connsiteX140" fmla="*/ 281960 w 629170"/>
                <a:gd name="connsiteY140" fmla="*/ 628026 h 1007635"/>
                <a:gd name="connsiteX141" fmla="*/ 289972 w 629170"/>
                <a:gd name="connsiteY141" fmla="*/ 652090 h 1007635"/>
                <a:gd name="connsiteX142" fmla="*/ 290590 w 629170"/>
                <a:gd name="connsiteY142" fmla="*/ 664486 h 1007635"/>
                <a:gd name="connsiteX143" fmla="*/ 298862 w 629170"/>
                <a:gd name="connsiteY143" fmla="*/ 680338 h 1007635"/>
                <a:gd name="connsiteX144" fmla="*/ 299173 w 629170"/>
                <a:gd name="connsiteY144" fmla="*/ 687211 h 1007635"/>
                <a:gd name="connsiteX145" fmla="*/ 302510 w 629170"/>
                <a:gd name="connsiteY145" fmla="*/ 704332 h 1007635"/>
                <a:gd name="connsiteX146" fmla="*/ 302290 w 629170"/>
                <a:gd name="connsiteY146" fmla="*/ 718196 h 1007635"/>
                <a:gd name="connsiteX147" fmla="*/ 301706 w 629170"/>
                <a:gd name="connsiteY147" fmla="*/ 726690 h 1007635"/>
                <a:gd name="connsiteX148" fmla="*/ 305692 w 629170"/>
                <a:gd name="connsiteY148" fmla="*/ 730284 h 1007635"/>
                <a:gd name="connsiteX149" fmla="*/ 307163 w 629170"/>
                <a:gd name="connsiteY149" fmla="*/ 727043 h 1007635"/>
                <a:gd name="connsiteX150" fmla="*/ 306750 w 629170"/>
                <a:gd name="connsiteY150" fmla="*/ 721670 h 1007635"/>
                <a:gd name="connsiteX151" fmla="*/ 307814 w 629170"/>
                <a:gd name="connsiteY151" fmla="*/ 713051 h 1007635"/>
                <a:gd name="connsiteX152" fmla="*/ 310037 w 629170"/>
                <a:gd name="connsiteY152" fmla="*/ 709212 h 1007635"/>
                <a:gd name="connsiteX153" fmla="*/ 312252 w 629170"/>
                <a:gd name="connsiteY153" fmla="*/ 709761 h 1007635"/>
                <a:gd name="connsiteX154" fmla="*/ 312911 w 629170"/>
                <a:gd name="connsiteY154" fmla="*/ 713827 h 1007635"/>
                <a:gd name="connsiteX155" fmla="*/ 314403 w 629170"/>
                <a:gd name="connsiteY155" fmla="*/ 717435 h 1007635"/>
                <a:gd name="connsiteX156" fmla="*/ 315005 w 629170"/>
                <a:gd name="connsiteY156" fmla="*/ 720827 h 1007635"/>
                <a:gd name="connsiteX157" fmla="*/ 315107 w 629170"/>
                <a:gd name="connsiteY157" fmla="*/ 725426 h 1007635"/>
                <a:gd name="connsiteX158" fmla="*/ 312043 w 629170"/>
                <a:gd name="connsiteY158" fmla="*/ 742938 h 1007635"/>
                <a:gd name="connsiteX159" fmla="*/ 312962 w 629170"/>
                <a:gd name="connsiteY159" fmla="*/ 750066 h 1007635"/>
                <a:gd name="connsiteX160" fmla="*/ 317087 w 629170"/>
                <a:gd name="connsiteY160" fmla="*/ 761982 h 1007635"/>
                <a:gd name="connsiteX161" fmla="*/ 312292 w 629170"/>
                <a:gd name="connsiteY161" fmla="*/ 775847 h 1007635"/>
                <a:gd name="connsiteX162" fmla="*/ 305333 w 629170"/>
                <a:gd name="connsiteY162" fmla="*/ 808541 h 1007635"/>
                <a:gd name="connsiteX163" fmla="*/ 304945 w 629170"/>
                <a:gd name="connsiteY163" fmla="*/ 814203 h 1007635"/>
                <a:gd name="connsiteX164" fmla="*/ 306630 w 629170"/>
                <a:gd name="connsiteY164" fmla="*/ 816678 h 1007635"/>
                <a:gd name="connsiteX165" fmla="*/ 310377 w 629170"/>
                <a:gd name="connsiteY165" fmla="*/ 817517 h 1007635"/>
                <a:gd name="connsiteX166" fmla="*/ 311754 w 629170"/>
                <a:gd name="connsiteY166" fmla="*/ 813341 h 1007635"/>
                <a:gd name="connsiteX167" fmla="*/ 313953 w 629170"/>
                <a:gd name="connsiteY167" fmla="*/ 813373 h 1007635"/>
                <a:gd name="connsiteX168" fmla="*/ 315107 w 629170"/>
                <a:gd name="connsiteY168" fmla="*/ 815845 h 1007635"/>
                <a:gd name="connsiteX169" fmla="*/ 312008 w 629170"/>
                <a:gd name="connsiteY169" fmla="*/ 830963 h 1007635"/>
                <a:gd name="connsiteX170" fmla="*/ 308955 w 629170"/>
                <a:gd name="connsiteY170" fmla="*/ 837595 h 1007635"/>
                <a:gd name="connsiteX171" fmla="*/ 298104 w 629170"/>
                <a:gd name="connsiteY171" fmla="*/ 853867 h 1007635"/>
                <a:gd name="connsiteX172" fmla="*/ 292246 w 629170"/>
                <a:gd name="connsiteY172" fmla="*/ 860853 h 1007635"/>
                <a:gd name="connsiteX173" fmla="*/ 282539 w 629170"/>
                <a:gd name="connsiteY173" fmla="*/ 867721 h 1007635"/>
                <a:gd name="connsiteX174" fmla="*/ 259750 w 629170"/>
                <a:gd name="connsiteY174" fmla="*/ 878464 h 1007635"/>
                <a:gd name="connsiteX175" fmla="*/ 214067 w 629170"/>
                <a:gd name="connsiteY175" fmla="*/ 894008 h 1007635"/>
                <a:gd name="connsiteX176" fmla="*/ 195947 w 629170"/>
                <a:gd name="connsiteY176" fmla="*/ 901634 h 1007635"/>
                <a:gd name="connsiteX177" fmla="*/ 185131 w 629170"/>
                <a:gd name="connsiteY177" fmla="*/ 906182 h 1007635"/>
                <a:gd name="connsiteX178" fmla="*/ 162248 w 629170"/>
                <a:gd name="connsiteY178" fmla="*/ 920676 h 1007635"/>
                <a:gd name="connsiteX179" fmla="*/ 152241 w 629170"/>
                <a:gd name="connsiteY179" fmla="*/ 930404 h 1007635"/>
                <a:gd name="connsiteX180" fmla="*/ 148119 w 629170"/>
                <a:gd name="connsiteY180" fmla="*/ 941574 h 1007635"/>
                <a:gd name="connsiteX181" fmla="*/ 144168 w 629170"/>
                <a:gd name="connsiteY181" fmla="*/ 946695 h 1007635"/>
                <a:gd name="connsiteX182" fmla="*/ 140292 w 629170"/>
                <a:gd name="connsiteY182" fmla="*/ 953177 h 1007635"/>
                <a:gd name="connsiteX183" fmla="*/ 143669 w 629170"/>
                <a:gd name="connsiteY183" fmla="*/ 958746 h 1007635"/>
                <a:gd name="connsiteX184" fmla="*/ 146991 w 629170"/>
                <a:gd name="connsiteY184" fmla="*/ 962962 h 1007635"/>
                <a:gd name="connsiteX185" fmla="*/ 150907 w 629170"/>
                <a:gd name="connsiteY185" fmla="*/ 965788 h 1007635"/>
                <a:gd name="connsiteX186" fmla="*/ 152937 w 629170"/>
                <a:gd name="connsiteY186" fmla="*/ 968220 h 1007635"/>
                <a:gd name="connsiteX187" fmla="*/ 155597 w 629170"/>
                <a:gd name="connsiteY187" fmla="*/ 969913 h 1007635"/>
                <a:gd name="connsiteX188" fmla="*/ 158276 w 629170"/>
                <a:gd name="connsiteY188" fmla="*/ 961148 h 1007635"/>
                <a:gd name="connsiteX189" fmla="*/ 159599 w 629170"/>
                <a:gd name="connsiteY189" fmla="*/ 958424 h 1007635"/>
                <a:gd name="connsiteX190" fmla="*/ 161878 w 629170"/>
                <a:gd name="connsiteY190" fmla="*/ 958215 h 1007635"/>
                <a:gd name="connsiteX191" fmla="*/ 160617 w 629170"/>
                <a:gd name="connsiteY191" fmla="*/ 968916 h 1007635"/>
                <a:gd name="connsiteX192" fmla="*/ 157986 w 629170"/>
                <a:gd name="connsiteY192" fmla="*/ 1005650 h 1007635"/>
                <a:gd name="connsiteX193" fmla="*/ 157807 w 629170"/>
                <a:gd name="connsiteY193" fmla="*/ 1006850 h 1007635"/>
                <a:gd name="connsiteX194" fmla="*/ 151317 w 629170"/>
                <a:gd name="connsiteY194" fmla="*/ 1006957 h 1007635"/>
                <a:gd name="connsiteX195" fmla="*/ 140195 w 629170"/>
                <a:gd name="connsiteY195" fmla="*/ 1007260 h 1007635"/>
                <a:gd name="connsiteX196" fmla="*/ 133617 w 629170"/>
                <a:gd name="connsiteY196" fmla="*/ 1007434 h 1007635"/>
                <a:gd name="connsiteX197" fmla="*/ 126262 w 629170"/>
                <a:gd name="connsiteY197" fmla="*/ 1007635 h 1007635"/>
                <a:gd name="connsiteX198" fmla="*/ 117144 w 629170"/>
                <a:gd name="connsiteY198" fmla="*/ 1005843 h 1007635"/>
                <a:gd name="connsiteX199" fmla="*/ 112009 w 629170"/>
                <a:gd name="connsiteY199" fmla="*/ 1006223 h 1007635"/>
                <a:gd name="connsiteX200" fmla="*/ 111597 w 629170"/>
                <a:gd name="connsiteY200" fmla="*/ 985909 h 1007635"/>
                <a:gd name="connsiteX201" fmla="*/ 109939 w 629170"/>
                <a:gd name="connsiteY201" fmla="*/ 981449 h 1007635"/>
                <a:gd name="connsiteX202" fmla="*/ 108187 w 629170"/>
                <a:gd name="connsiteY202" fmla="*/ 974932 h 1007635"/>
                <a:gd name="connsiteX203" fmla="*/ 107774 w 629170"/>
                <a:gd name="connsiteY203" fmla="*/ 970751 h 1007635"/>
                <a:gd name="connsiteX204" fmla="*/ 108875 w 629170"/>
                <a:gd name="connsiteY204" fmla="*/ 966548 h 1007635"/>
                <a:gd name="connsiteX205" fmla="*/ 109400 w 629170"/>
                <a:gd name="connsiteY205" fmla="*/ 959897 h 1007635"/>
                <a:gd name="connsiteX206" fmla="*/ 108907 w 629170"/>
                <a:gd name="connsiteY206" fmla="*/ 954080 h 1007635"/>
                <a:gd name="connsiteX207" fmla="*/ 103454 w 629170"/>
                <a:gd name="connsiteY207" fmla="*/ 951160 h 1007635"/>
                <a:gd name="connsiteX208" fmla="*/ 102256 w 629170"/>
                <a:gd name="connsiteY208" fmla="*/ 950231 h 1007635"/>
                <a:gd name="connsiteX209" fmla="*/ 101075 w 629170"/>
                <a:gd name="connsiteY209" fmla="*/ 945656 h 1007635"/>
                <a:gd name="connsiteX210" fmla="*/ 100601 w 629170"/>
                <a:gd name="connsiteY210" fmla="*/ 938603 h 1007635"/>
                <a:gd name="connsiteX211" fmla="*/ 104407 w 629170"/>
                <a:gd name="connsiteY211" fmla="*/ 929619 h 1007635"/>
                <a:gd name="connsiteX212" fmla="*/ 104102 w 629170"/>
                <a:gd name="connsiteY212" fmla="*/ 912402 h 1007635"/>
                <a:gd name="connsiteX213" fmla="*/ 104552 w 629170"/>
                <a:gd name="connsiteY213" fmla="*/ 906343 h 1007635"/>
                <a:gd name="connsiteX214" fmla="*/ 104477 w 629170"/>
                <a:gd name="connsiteY214" fmla="*/ 894378 h 1007635"/>
                <a:gd name="connsiteX215" fmla="*/ 104397 w 629170"/>
                <a:gd name="connsiteY215" fmla="*/ 879897 h 1007635"/>
                <a:gd name="connsiteX216" fmla="*/ 104327 w 629170"/>
                <a:gd name="connsiteY216" fmla="*/ 866947 h 1007635"/>
                <a:gd name="connsiteX217" fmla="*/ 104482 w 629170"/>
                <a:gd name="connsiteY217" fmla="*/ 855774 h 1007635"/>
                <a:gd name="connsiteX218" fmla="*/ 103344 w 629170"/>
                <a:gd name="connsiteY218" fmla="*/ 850484 h 1007635"/>
                <a:gd name="connsiteX219" fmla="*/ 102396 w 629170"/>
                <a:gd name="connsiteY219" fmla="*/ 847583 h 1007635"/>
                <a:gd name="connsiteX220" fmla="*/ 99873 w 629170"/>
                <a:gd name="connsiteY220" fmla="*/ 841677 h 1007635"/>
                <a:gd name="connsiteX221" fmla="*/ 96929 w 629170"/>
                <a:gd name="connsiteY221" fmla="*/ 829375 h 1007635"/>
                <a:gd name="connsiteX222" fmla="*/ 93452 w 629170"/>
                <a:gd name="connsiteY222" fmla="*/ 820093 h 1007635"/>
                <a:gd name="connsiteX223" fmla="*/ 88976 w 629170"/>
                <a:gd name="connsiteY223" fmla="*/ 813973 h 1007635"/>
                <a:gd name="connsiteX224" fmla="*/ 87554 w 629170"/>
                <a:gd name="connsiteY224" fmla="*/ 810748 h 1007635"/>
                <a:gd name="connsiteX225" fmla="*/ 86108 w 629170"/>
                <a:gd name="connsiteY225" fmla="*/ 806436 h 1007635"/>
                <a:gd name="connsiteX226" fmla="*/ 81873 w 629170"/>
                <a:gd name="connsiteY226" fmla="*/ 798845 h 1007635"/>
                <a:gd name="connsiteX227" fmla="*/ 78409 w 629170"/>
                <a:gd name="connsiteY227" fmla="*/ 794425 h 1007635"/>
                <a:gd name="connsiteX228" fmla="*/ 77467 w 629170"/>
                <a:gd name="connsiteY228" fmla="*/ 790889 h 1007635"/>
                <a:gd name="connsiteX229" fmla="*/ 77587 w 629170"/>
                <a:gd name="connsiteY229" fmla="*/ 781742 h 1007635"/>
                <a:gd name="connsiteX230" fmla="*/ 73735 w 629170"/>
                <a:gd name="connsiteY230" fmla="*/ 765328 h 1007635"/>
                <a:gd name="connsiteX231" fmla="*/ 70931 w 629170"/>
                <a:gd name="connsiteY231" fmla="*/ 753374 h 1007635"/>
                <a:gd name="connsiteX232" fmla="*/ 66707 w 629170"/>
                <a:gd name="connsiteY232" fmla="*/ 740436 h 1007635"/>
                <a:gd name="connsiteX233" fmla="*/ 63873 w 629170"/>
                <a:gd name="connsiteY233" fmla="*/ 731779 h 1007635"/>
                <a:gd name="connsiteX234" fmla="*/ 63458 w 629170"/>
                <a:gd name="connsiteY234" fmla="*/ 730290 h 1007635"/>
                <a:gd name="connsiteX235" fmla="*/ 63144 w 629170"/>
                <a:gd name="connsiteY235" fmla="*/ 727014 h 1007635"/>
                <a:gd name="connsiteX236" fmla="*/ 71531 w 629170"/>
                <a:gd name="connsiteY236" fmla="*/ 720588 h 1007635"/>
                <a:gd name="connsiteX237" fmla="*/ 79941 w 629170"/>
                <a:gd name="connsiteY237" fmla="*/ 711551 h 1007635"/>
                <a:gd name="connsiteX238" fmla="*/ 89788 w 629170"/>
                <a:gd name="connsiteY238" fmla="*/ 700978 h 1007635"/>
                <a:gd name="connsiteX239" fmla="*/ 98565 w 629170"/>
                <a:gd name="connsiteY239" fmla="*/ 691545 h 1007635"/>
                <a:gd name="connsiteX240" fmla="*/ 106288 w 629170"/>
                <a:gd name="connsiteY240" fmla="*/ 683260 h 1007635"/>
                <a:gd name="connsiteX241" fmla="*/ 116855 w 629170"/>
                <a:gd name="connsiteY241" fmla="*/ 671932 h 1007635"/>
                <a:gd name="connsiteX242" fmla="*/ 127301 w 629170"/>
                <a:gd name="connsiteY242" fmla="*/ 660739 h 1007635"/>
                <a:gd name="connsiteX243" fmla="*/ 129749 w 629170"/>
                <a:gd name="connsiteY243" fmla="*/ 659311 h 1007635"/>
                <a:gd name="connsiteX244" fmla="*/ 130778 w 629170"/>
                <a:gd name="connsiteY244" fmla="*/ 658398 h 1007635"/>
                <a:gd name="connsiteX245" fmla="*/ 126267 w 629170"/>
                <a:gd name="connsiteY245" fmla="*/ 648458 h 1007635"/>
                <a:gd name="connsiteX246" fmla="*/ 133526 w 629170"/>
                <a:gd name="connsiteY246" fmla="*/ 636918 h 1007635"/>
                <a:gd name="connsiteX247" fmla="*/ 133920 w 629170"/>
                <a:gd name="connsiteY247" fmla="*/ 629426 h 1007635"/>
                <a:gd name="connsiteX248" fmla="*/ 133612 w 629170"/>
                <a:gd name="connsiteY248" fmla="*/ 622261 h 1007635"/>
                <a:gd name="connsiteX249" fmla="*/ 134485 w 629170"/>
                <a:gd name="connsiteY249" fmla="*/ 618972 h 1007635"/>
                <a:gd name="connsiteX250" fmla="*/ 136673 w 629170"/>
                <a:gd name="connsiteY250" fmla="*/ 616087 h 1007635"/>
                <a:gd name="connsiteX251" fmla="*/ 145156 w 629170"/>
                <a:gd name="connsiteY251" fmla="*/ 610098 h 1007635"/>
                <a:gd name="connsiteX252" fmla="*/ 151571 w 629170"/>
                <a:gd name="connsiteY252" fmla="*/ 600557 h 1007635"/>
                <a:gd name="connsiteX253" fmla="*/ 156829 w 629170"/>
                <a:gd name="connsiteY253" fmla="*/ 591654 h 1007635"/>
                <a:gd name="connsiteX254" fmla="*/ 164123 w 629170"/>
                <a:gd name="connsiteY254" fmla="*/ 577334 h 1007635"/>
                <a:gd name="connsiteX255" fmla="*/ 164841 w 629170"/>
                <a:gd name="connsiteY255" fmla="*/ 573964 h 1007635"/>
                <a:gd name="connsiteX256" fmla="*/ 164951 w 629170"/>
                <a:gd name="connsiteY256" fmla="*/ 570493 h 1007635"/>
                <a:gd name="connsiteX257" fmla="*/ 162931 w 629170"/>
                <a:gd name="connsiteY257" fmla="*/ 565666 h 1007635"/>
                <a:gd name="connsiteX258" fmla="*/ 158061 w 629170"/>
                <a:gd name="connsiteY258" fmla="*/ 557826 h 1007635"/>
                <a:gd name="connsiteX259" fmla="*/ 154526 w 629170"/>
                <a:gd name="connsiteY259" fmla="*/ 551068 h 1007635"/>
                <a:gd name="connsiteX260" fmla="*/ 151381 w 629170"/>
                <a:gd name="connsiteY260" fmla="*/ 540651 h 1007635"/>
                <a:gd name="connsiteX261" fmla="*/ 154539 w 629170"/>
                <a:gd name="connsiteY261" fmla="*/ 531595 h 1007635"/>
                <a:gd name="connsiteX262" fmla="*/ 155667 w 629170"/>
                <a:gd name="connsiteY262" fmla="*/ 526131 h 1007635"/>
                <a:gd name="connsiteX263" fmla="*/ 155653 w 629170"/>
                <a:gd name="connsiteY263" fmla="*/ 523182 h 1007635"/>
                <a:gd name="connsiteX264" fmla="*/ 154255 w 629170"/>
                <a:gd name="connsiteY264" fmla="*/ 520380 h 1007635"/>
                <a:gd name="connsiteX265" fmla="*/ 150703 w 629170"/>
                <a:gd name="connsiteY265" fmla="*/ 518264 h 1007635"/>
                <a:gd name="connsiteX266" fmla="*/ 147760 w 629170"/>
                <a:gd name="connsiteY266" fmla="*/ 516885 h 1007635"/>
                <a:gd name="connsiteX267" fmla="*/ 146766 w 629170"/>
                <a:gd name="connsiteY267" fmla="*/ 513145 h 1007635"/>
                <a:gd name="connsiteX268" fmla="*/ 146736 w 629170"/>
                <a:gd name="connsiteY268" fmla="*/ 508702 h 1007635"/>
                <a:gd name="connsiteX269" fmla="*/ 148084 w 629170"/>
                <a:gd name="connsiteY269" fmla="*/ 506245 h 1007635"/>
                <a:gd name="connsiteX270" fmla="*/ 155932 w 629170"/>
                <a:gd name="connsiteY270" fmla="*/ 502273 h 1007635"/>
                <a:gd name="connsiteX271" fmla="*/ 157713 w 629170"/>
                <a:gd name="connsiteY271" fmla="*/ 500120 h 1007635"/>
                <a:gd name="connsiteX272" fmla="*/ 158645 w 629170"/>
                <a:gd name="connsiteY272" fmla="*/ 497701 h 1007635"/>
                <a:gd name="connsiteX273" fmla="*/ 158726 w 629170"/>
                <a:gd name="connsiteY273" fmla="*/ 494256 h 1007635"/>
                <a:gd name="connsiteX274" fmla="*/ 161144 w 629170"/>
                <a:gd name="connsiteY274" fmla="*/ 485664 h 1007635"/>
                <a:gd name="connsiteX275" fmla="*/ 164139 w 629170"/>
                <a:gd name="connsiteY275" fmla="*/ 477513 h 1007635"/>
                <a:gd name="connsiteX276" fmla="*/ 164337 w 629170"/>
                <a:gd name="connsiteY276" fmla="*/ 474636 h 1007635"/>
                <a:gd name="connsiteX277" fmla="*/ 163279 w 629170"/>
                <a:gd name="connsiteY277" fmla="*/ 472121 h 1007635"/>
                <a:gd name="connsiteX278" fmla="*/ 162457 w 629170"/>
                <a:gd name="connsiteY278" fmla="*/ 467519 h 1007635"/>
                <a:gd name="connsiteX279" fmla="*/ 161918 w 629170"/>
                <a:gd name="connsiteY279" fmla="*/ 460582 h 1007635"/>
                <a:gd name="connsiteX280" fmla="*/ 161868 w 629170"/>
                <a:gd name="connsiteY280" fmla="*/ 441173 h 1007635"/>
                <a:gd name="connsiteX281" fmla="*/ 163410 w 629170"/>
                <a:gd name="connsiteY281" fmla="*/ 421148 h 1007635"/>
                <a:gd name="connsiteX282" fmla="*/ 162735 w 629170"/>
                <a:gd name="connsiteY282" fmla="*/ 409804 h 1007635"/>
                <a:gd name="connsiteX283" fmla="*/ 157702 w 629170"/>
                <a:gd name="connsiteY283" fmla="*/ 396771 h 1007635"/>
                <a:gd name="connsiteX284" fmla="*/ 157223 w 629170"/>
                <a:gd name="connsiteY284" fmla="*/ 387377 h 1007635"/>
                <a:gd name="connsiteX285" fmla="*/ 160871 w 629170"/>
                <a:gd name="connsiteY285" fmla="*/ 380823 h 1007635"/>
                <a:gd name="connsiteX286" fmla="*/ 161474 w 629170"/>
                <a:gd name="connsiteY286" fmla="*/ 376947 h 1007635"/>
                <a:gd name="connsiteX287" fmla="*/ 158801 w 629170"/>
                <a:gd name="connsiteY287" fmla="*/ 376451 h 1007635"/>
                <a:gd name="connsiteX288" fmla="*/ 153312 w 629170"/>
                <a:gd name="connsiteY288" fmla="*/ 376055 h 1007635"/>
                <a:gd name="connsiteX289" fmla="*/ 149257 w 629170"/>
                <a:gd name="connsiteY289" fmla="*/ 374836 h 1007635"/>
                <a:gd name="connsiteX290" fmla="*/ 142981 w 629170"/>
                <a:gd name="connsiteY290" fmla="*/ 369468 h 1007635"/>
                <a:gd name="connsiteX291" fmla="*/ 132090 w 629170"/>
                <a:gd name="connsiteY291" fmla="*/ 364982 h 1007635"/>
                <a:gd name="connsiteX292" fmla="*/ 119731 w 629170"/>
                <a:gd name="connsiteY292" fmla="*/ 360908 h 1007635"/>
                <a:gd name="connsiteX293" fmla="*/ 101758 w 629170"/>
                <a:gd name="connsiteY293" fmla="*/ 359694 h 1007635"/>
                <a:gd name="connsiteX294" fmla="*/ 86820 w 629170"/>
                <a:gd name="connsiteY294" fmla="*/ 346644 h 1007635"/>
                <a:gd name="connsiteX295" fmla="*/ 75107 w 629170"/>
                <a:gd name="connsiteY295" fmla="*/ 344550 h 1007635"/>
                <a:gd name="connsiteX296" fmla="*/ 71335 w 629170"/>
                <a:gd name="connsiteY296" fmla="*/ 342889 h 1007635"/>
                <a:gd name="connsiteX297" fmla="*/ 60085 w 629170"/>
                <a:gd name="connsiteY297" fmla="*/ 335068 h 1007635"/>
                <a:gd name="connsiteX298" fmla="*/ 42469 w 629170"/>
                <a:gd name="connsiteY298" fmla="*/ 334344 h 1007635"/>
                <a:gd name="connsiteX299" fmla="*/ 24190 w 629170"/>
                <a:gd name="connsiteY299" fmla="*/ 333586 h 1007635"/>
                <a:gd name="connsiteX300" fmla="*/ 12796 w 629170"/>
                <a:gd name="connsiteY300" fmla="*/ 333348 h 1007635"/>
                <a:gd name="connsiteX301" fmla="*/ 11111 w 629170"/>
                <a:gd name="connsiteY301" fmla="*/ 332309 h 1007635"/>
                <a:gd name="connsiteX302" fmla="*/ 10447 w 629170"/>
                <a:gd name="connsiteY302" fmla="*/ 321536 h 1007635"/>
                <a:gd name="connsiteX303" fmla="*/ 10326 w 629170"/>
                <a:gd name="connsiteY303" fmla="*/ 311965 h 1007635"/>
                <a:gd name="connsiteX304" fmla="*/ 9364 w 629170"/>
                <a:gd name="connsiteY304" fmla="*/ 303643 h 1007635"/>
                <a:gd name="connsiteX305" fmla="*/ 7629 w 629170"/>
                <a:gd name="connsiteY305" fmla="*/ 294174 h 1007635"/>
                <a:gd name="connsiteX306" fmla="*/ 4969 w 629170"/>
                <a:gd name="connsiteY306" fmla="*/ 290489 h 1007635"/>
                <a:gd name="connsiteX307" fmla="*/ 1800 w 629170"/>
                <a:gd name="connsiteY307" fmla="*/ 284084 h 1007635"/>
                <a:gd name="connsiteX308" fmla="*/ 190 w 629170"/>
                <a:gd name="connsiteY308" fmla="*/ 277040 h 1007635"/>
                <a:gd name="connsiteX309" fmla="*/ 0 w 629170"/>
                <a:gd name="connsiteY309" fmla="*/ 273627 h 1007635"/>
                <a:gd name="connsiteX310" fmla="*/ 598 w 629170"/>
                <a:gd name="connsiteY310" fmla="*/ 272403 h 1007635"/>
                <a:gd name="connsiteX311" fmla="*/ 13286 w 629170"/>
                <a:gd name="connsiteY311" fmla="*/ 267389 h 1007635"/>
                <a:gd name="connsiteX312" fmla="*/ 18713 w 629170"/>
                <a:gd name="connsiteY312" fmla="*/ 264906 h 1007635"/>
                <a:gd name="connsiteX313" fmla="*/ 26746 w 629170"/>
                <a:gd name="connsiteY313" fmla="*/ 262040 h 1007635"/>
                <a:gd name="connsiteX314" fmla="*/ 41068 w 629170"/>
                <a:gd name="connsiteY314" fmla="*/ 258057 h 1007635"/>
                <a:gd name="connsiteX315" fmla="*/ 53844 w 629170"/>
                <a:gd name="connsiteY315" fmla="*/ 254508 h 1007635"/>
                <a:gd name="connsiteX316" fmla="*/ 65552 w 629170"/>
                <a:gd name="connsiteY316" fmla="*/ 251063 h 1007635"/>
                <a:gd name="connsiteX317" fmla="*/ 77951 w 629170"/>
                <a:gd name="connsiteY317" fmla="*/ 247401 h 1007635"/>
                <a:gd name="connsiteX318" fmla="*/ 82995 w 629170"/>
                <a:gd name="connsiteY318" fmla="*/ 244956 h 1007635"/>
                <a:gd name="connsiteX319" fmla="*/ 89266 w 629170"/>
                <a:gd name="connsiteY319" fmla="*/ 242500 h 1007635"/>
                <a:gd name="connsiteX320" fmla="*/ 104263 w 629170"/>
                <a:gd name="connsiteY320" fmla="*/ 237563 h 1007635"/>
                <a:gd name="connsiteX321" fmla="*/ 108551 w 629170"/>
                <a:gd name="connsiteY321" fmla="*/ 235876 h 1007635"/>
                <a:gd name="connsiteX322" fmla="*/ 117163 w 629170"/>
                <a:gd name="connsiteY322" fmla="*/ 233114 h 1007635"/>
                <a:gd name="connsiteX323" fmla="*/ 121483 w 629170"/>
                <a:gd name="connsiteY323" fmla="*/ 232037 h 1007635"/>
                <a:gd name="connsiteX324" fmla="*/ 138090 w 629170"/>
                <a:gd name="connsiteY324" fmla="*/ 226391 h 1007635"/>
                <a:gd name="connsiteX325" fmla="*/ 157118 w 629170"/>
                <a:gd name="connsiteY325" fmla="*/ 219920 h 1007635"/>
                <a:gd name="connsiteX326" fmla="*/ 163788 w 629170"/>
                <a:gd name="connsiteY326" fmla="*/ 217656 h 1007635"/>
                <a:gd name="connsiteX327" fmla="*/ 176500 w 629170"/>
                <a:gd name="connsiteY327" fmla="*/ 213333 h 1007635"/>
                <a:gd name="connsiteX328" fmla="*/ 178975 w 629170"/>
                <a:gd name="connsiteY328" fmla="*/ 215125 h 1007635"/>
                <a:gd name="connsiteX329" fmla="*/ 187646 w 629170"/>
                <a:gd name="connsiteY329" fmla="*/ 230010 h 1007635"/>
                <a:gd name="connsiteX330" fmla="*/ 194476 w 629170"/>
                <a:gd name="connsiteY330" fmla="*/ 238750 h 1007635"/>
                <a:gd name="connsiteX331" fmla="*/ 202244 w 629170"/>
                <a:gd name="connsiteY331" fmla="*/ 246858 h 1007635"/>
                <a:gd name="connsiteX332" fmla="*/ 203540 w 629170"/>
                <a:gd name="connsiteY332" fmla="*/ 246461 h 1007635"/>
                <a:gd name="connsiteX333" fmla="*/ 205780 w 629170"/>
                <a:gd name="connsiteY333" fmla="*/ 244565 h 1007635"/>
                <a:gd name="connsiteX334" fmla="*/ 209647 w 629170"/>
                <a:gd name="connsiteY334" fmla="*/ 243780 h 1007635"/>
                <a:gd name="connsiteX335" fmla="*/ 221993 w 629170"/>
                <a:gd name="connsiteY335" fmla="*/ 241956 h 1007635"/>
                <a:gd name="connsiteX336" fmla="*/ 226707 w 629170"/>
                <a:gd name="connsiteY336" fmla="*/ 241844 h 1007635"/>
                <a:gd name="connsiteX337" fmla="*/ 229812 w 629170"/>
                <a:gd name="connsiteY337" fmla="*/ 239671 h 1007635"/>
                <a:gd name="connsiteX338" fmla="*/ 236144 w 629170"/>
                <a:gd name="connsiteY338" fmla="*/ 238123 h 1007635"/>
                <a:gd name="connsiteX339" fmla="*/ 243472 w 629170"/>
                <a:gd name="connsiteY339" fmla="*/ 237210 h 1007635"/>
                <a:gd name="connsiteX340" fmla="*/ 245990 w 629170"/>
                <a:gd name="connsiteY340" fmla="*/ 238190 h 1007635"/>
                <a:gd name="connsiteX341" fmla="*/ 253704 w 629170"/>
                <a:gd name="connsiteY341" fmla="*/ 248671 h 1007635"/>
                <a:gd name="connsiteX342" fmla="*/ 254821 w 629170"/>
                <a:gd name="connsiteY342" fmla="*/ 256693 h 1007635"/>
                <a:gd name="connsiteX343" fmla="*/ 256423 w 629170"/>
                <a:gd name="connsiteY343" fmla="*/ 268289 h 1007635"/>
                <a:gd name="connsiteX344" fmla="*/ 256806 w 629170"/>
                <a:gd name="connsiteY344" fmla="*/ 273954 h 1007635"/>
                <a:gd name="connsiteX345" fmla="*/ 256677 w 629170"/>
                <a:gd name="connsiteY345" fmla="*/ 281523 h 1007635"/>
                <a:gd name="connsiteX346" fmla="*/ 255810 w 629170"/>
                <a:gd name="connsiteY346" fmla="*/ 290998 h 1007635"/>
                <a:gd name="connsiteX347" fmla="*/ 249542 w 629170"/>
                <a:gd name="connsiteY347" fmla="*/ 301902 h 1007635"/>
                <a:gd name="connsiteX348" fmla="*/ 248344 w 629170"/>
                <a:gd name="connsiteY348" fmla="*/ 307339 h 1007635"/>
                <a:gd name="connsiteX349" fmla="*/ 244983 w 629170"/>
                <a:gd name="connsiteY349" fmla="*/ 315739 h 1007635"/>
                <a:gd name="connsiteX350" fmla="*/ 240542 w 629170"/>
                <a:gd name="connsiteY350" fmla="*/ 319878 h 1007635"/>
                <a:gd name="connsiteX351" fmla="*/ 238356 w 629170"/>
                <a:gd name="connsiteY351" fmla="*/ 323271 h 1007635"/>
                <a:gd name="connsiteX352" fmla="*/ 238482 w 629170"/>
                <a:gd name="connsiteY352" fmla="*/ 326799 h 1007635"/>
                <a:gd name="connsiteX353" fmla="*/ 240853 w 629170"/>
                <a:gd name="connsiteY353" fmla="*/ 329753 h 1007635"/>
                <a:gd name="connsiteX354" fmla="*/ 246046 w 629170"/>
                <a:gd name="connsiteY354" fmla="*/ 335073 h 1007635"/>
                <a:gd name="connsiteX355" fmla="*/ 247651 w 629170"/>
                <a:gd name="connsiteY355" fmla="*/ 338510 h 1007635"/>
                <a:gd name="connsiteX356" fmla="*/ 247182 w 629170"/>
                <a:gd name="connsiteY356" fmla="*/ 341582 h 1007635"/>
                <a:gd name="connsiteX357" fmla="*/ 247203 w 629170"/>
                <a:gd name="connsiteY357" fmla="*/ 345736 h 1007635"/>
                <a:gd name="connsiteX358" fmla="*/ 248441 w 629170"/>
                <a:gd name="connsiteY358" fmla="*/ 348626 h 1007635"/>
                <a:gd name="connsiteX359" fmla="*/ 249917 w 629170"/>
                <a:gd name="connsiteY359" fmla="*/ 350306 h 1007635"/>
                <a:gd name="connsiteX360" fmla="*/ 255060 w 629170"/>
                <a:gd name="connsiteY360" fmla="*/ 353027 h 1007635"/>
                <a:gd name="connsiteX361" fmla="*/ 260068 w 629170"/>
                <a:gd name="connsiteY361" fmla="*/ 359860 h 1007635"/>
                <a:gd name="connsiteX362" fmla="*/ 268720 w 629170"/>
                <a:gd name="connsiteY362" fmla="*/ 368108 h 1007635"/>
                <a:gd name="connsiteX363" fmla="*/ 279062 w 629170"/>
                <a:gd name="connsiteY363" fmla="*/ 379872 h 1007635"/>
                <a:gd name="connsiteX364" fmla="*/ 283916 w 629170"/>
                <a:gd name="connsiteY364" fmla="*/ 383474 h 1007635"/>
                <a:gd name="connsiteX365" fmla="*/ 287738 w 629170"/>
                <a:gd name="connsiteY365" fmla="*/ 384350 h 1007635"/>
                <a:gd name="connsiteX366" fmla="*/ 289648 w 629170"/>
                <a:gd name="connsiteY366" fmla="*/ 388288 h 1007635"/>
                <a:gd name="connsiteX367" fmla="*/ 288590 w 629170"/>
                <a:gd name="connsiteY367" fmla="*/ 392873 h 1007635"/>
                <a:gd name="connsiteX368" fmla="*/ 285611 w 629170"/>
                <a:gd name="connsiteY368" fmla="*/ 395498 h 1007635"/>
                <a:gd name="connsiteX369" fmla="*/ 286835 w 629170"/>
                <a:gd name="connsiteY369" fmla="*/ 399259 h 1007635"/>
                <a:gd name="connsiteX370" fmla="*/ 288520 w 629170"/>
                <a:gd name="connsiteY370" fmla="*/ 401230 h 1007635"/>
                <a:gd name="connsiteX371" fmla="*/ 290387 w 629170"/>
                <a:gd name="connsiteY371" fmla="*/ 402224 h 1007635"/>
                <a:gd name="connsiteX372" fmla="*/ 294935 w 629170"/>
                <a:gd name="connsiteY372" fmla="*/ 402457 h 1007635"/>
                <a:gd name="connsiteX373" fmla="*/ 299151 w 629170"/>
                <a:gd name="connsiteY373" fmla="*/ 401688 h 1007635"/>
                <a:gd name="connsiteX374" fmla="*/ 300209 w 629170"/>
                <a:gd name="connsiteY374" fmla="*/ 400379 h 1007635"/>
                <a:gd name="connsiteX375" fmla="*/ 299660 w 629170"/>
                <a:gd name="connsiteY375" fmla="*/ 382762 h 1007635"/>
                <a:gd name="connsiteX376" fmla="*/ 296617 w 629170"/>
                <a:gd name="connsiteY376" fmla="*/ 372500 h 1007635"/>
                <a:gd name="connsiteX377" fmla="*/ 293569 w 629170"/>
                <a:gd name="connsiteY377" fmla="*/ 368488 h 1007635"/>
                <a:gd name="connsiteX378" fmla="*/ 292910 w 629170"/>
                <a:gd name="connsiteY378" fmla="*/ 367692 h 1007635"/>
                <a:gd name="connsiteX379" fmla="*/ 293979 w 629170"/>
                <a:gd name="connsiteY379" fmla="*/ 364323 h 1007635"/>
                <a:gd name="connsiteX380" fmla="*/ 297386 w 629170"/>
                <a:gd name="connsiteY380" fmla="*/ 356445 h 1007635"/>
                <a:gd name="connsiteX381" fmla="*/ 300273 w 629170"/>
                <a:gd name="connsiteY381" fmla="*/ 348651 h 1007635"/>
                <a:gd name="connsiteX382" fmla="*/ 302106 w 629170"/>
                <a:gd name="connsiteY382" fmla="*/ 345369 h 1007635"/>
                <a:gd name="connsiteX383" fmla="*/ 304240 w 629170"/>
                <a:gd name="connsiteY383" fmla="*/ 343387 h 1007635"/>
                <a:gd name="connsiteX384" fmla="*/ 318504 w 629170"/>
                <a:gd name="connsiteY384" fmla="*/ 341279 h 1007635"/>
                <a:gd name="connsiteX385" fmla="*/ 324994 w 629170"/>
                <a:gd name="connsiteY385" fmla="*/ 339452 h 1007635"/>
                <a:gd name="connsiteX386" fmla="*/ 327739 w 629170"/>
                <a:gd name="connsiteY386" fmla="*/ 337173 h 1007635"/>
                <a:gd name="connsiteX387" fmla="*/ 329869 w 629170"/>
                <a:gd name="connsiteY387" fmla="*/ 331125 h 1007635"/>
                <a:gd name="connsiteX388" fmla="*/ 331570 w 629170"/>
                <a:gd name="connsiteY388" fmla="*/ 314229 h 1007635"/>
                <a:gd name="connsiteX389" fmla="*/ 332183 w 629170"/>
                <a:gd name="connsiteY389" fmla="*/ 298374 h 1007635"/>
                <a:gd name="connsiteX390" fmla="*/ 330707 w 629170"/>
                <a:gd name="connsiteY390" fmla="*/ 289080 h 1007635"/>
                <a:gd name="connsiteX391" fmla="*/ 332756 w 629170"/>
                <a:gd name="connsiteY391" fmla="*/ 275090 h 1007635"/>
                <a:gd name="connsiteX392" fmla="*/ 335885 w 629170"/>
                <a:gd name="connsiteY392" fmla="*/ 266438 h 1007635"/>
                <a:gd name="connsiteX393" fmla="*/ 334342 w 629170"/>
                <a:gd name="connsiteY393" fmla="*/ 264742 h 1007635"/>
                <a:gd name="connsiteX394" fmla="*/ 333182 w 629170"/>
                <a:gd name="connsiteY394" fmla="*/ 253072 h 1007635"/>
                <a:gd name="connsiteX395" fmla="*/ 323901 w 629170"/>
                <a:gd name="connsiteY395" fmla="*/ 240652 h 1007635"/>
                <a:gd name="connsiteX396" fmla="*/ 311938 w 629170"/>
                <a:gd name="connsiteY396" fmla="*/ 224669 h 1007635"/>
                <a:gd name="connsiteX397" fmla="*/ 305264 w 629170"/>
                <a:gd name="connsiteY397" fmla="*/ 216068 h 1007635"/>
                <a:gd name="connsiteX398" fmla="*/ 297665 w 629170"/>
                <a:gd name="connsiteY398" fmla="*/ 206299 h 1007635"/>
                <a:gd name="connsiteX399" fmla="*/ 283827 w 629170"/>
                <a:gd name="connsiteY399" fmla="*/ 191007 h 1007635"/>
                <a:gd name="connsiteX400" fmla="*/ 277490 w 629170"/>
                <a:gd name="connsiteY400" fmla="*/ 185471 h 1007635"/>
                <a:gd name="connsiteX401" fmla="*/ 274152 w 629170"/>
                <a:gd name="connsiteY401" fmla="*/ 183323 h 1007635"/>
                <a:gd name="connsiteX402" fmla="*/ 262967 w 629170"/>
                <a:gd name="connsiteY402" fmla="*/ 181555 h 1007635"/>
                <a:gd name="connsiteX403" fmla="*/ 259999 w 629170"/>
                <a:gd name="connsiteY403" fmla="*/ 178611 h 1007635"/>
                <a:gd name="connsiteX404" fmla="*/ 257165 w 629170"/>
                <a:gd name="connsiteY404" fmla="*/ 173926 h 1007635"/>
                <a:gd name="connsiteX405" fmla="*/ 256099 w 629170"/>
                <a:gd name="connsiteY405" fmla="*/ 165259 h 1007635"/>
                <a:gd name="connsiteX406" fmla="*/ 255914 w 629170"/>
                <a:gd name="connsiteY406" fmla="*/ 158774 h 1007635"/>
                <a:gd name="connsiteX407" fmla="*/ 254652 w 629170"/>
                <a:gd name="connsiteY407" fmla="*/ 147760 h 1007635"/>
                <a:gd name="connsiteX408" fmla="*/ 252381 w 629170"/>
                <a:gd name="connsiteY408" fmla="*/ 132173 h 1007635"/>
                <a:gd name="connsiteX409" fmla="*/ 251369 w 629170"/>
                <a:gd name="connsiteY409" fmla="*/ 127595 h 1007635"/>
                <a:gd name="connsiteX410" fmla="*/ 248186 w 629170"/>
                <a:gd name="connsiteY410" fmla="*/ 115880 h 1007635"/>
                <a:gd name="connsiteX411" fmla="*/ 245152 w 629170"/>
                <a:gd name="connsiteY411" fmla="*/ 104737 h 1007635"/>
                <a:gd name="connsiteX412" fmla="*/ 244972 w 629170"/>
                <a:gd name="connsiteY412" fmla="*/ 101983 h 1007635"/>
                <a:gd name="connsiteX413" fmla="*/ 246046 w 629170"/>
                <a:gd name="connsiteY413" fmla="*/ 99307 h 1007635"/>
                <a:gd name="connsiteX414" fmla="*/ 251194 w 629170"/>
                <a:gd name="connsiteY414" fmla="*/ 91111 h 1007635"/>
                <a:gd name="connsiteX415" fmla="*/ 254861 w 629170"/>
                <a:gd name="connsiteY415" fmla="*/ 85299 h 1007635"/>
                <a:gd name="connsiteX416" fmla="*/ 256586 w 629170"/>
                <a:gd name="connsiteY416" fmla="*/ 82122 h 1007635"/>
                <a:gd name="connsiteX417" fmla="*/ 259685 w 629170"/>
                <a:gd name="connsiteY417" fmla="*/ 73473 h 1007635"/>
                <a:gd name="connsiteX418" fmla="*/ 260414 w 629170"/>
                <a:gd name="connsiteY418" fmla="*/ 69281 h 1007635"/>
                <a:gd name="connsiteX419" fmla="*/ 262843 w 629170"/>
                <a:gd name="connsiteY419" fmla="*/ 67390 h 1007635"/>
                <a:gd name="connsiteX420" fmla="*/ 272735 w 629170"/>
                <a:gd name="connsiteY420" fmla="*/ 66610 h 1007635"/>
                <a:gd name="connsiteX421" fmla="*/ 280608 w 629170"/>
                <a:gd name="connsiteY421" fmla="*/ 66755 h 1007635"/>
                <a:gd name="connsiteX422" fmla="*/ 293823 w 629170"/>
                <a:gd name="connsiteY422" fmla="*/ 66557 h 1007635"/>
                <a:gd name="connsiteX423" fmla="*/ 307781 w 629170"/>
                <a:gd name="connsiteY423" fmla="*/ 67060 h 1007635"/>
                <a:gd name="connsiteX424" fmla="*/ 309742 w 629170"/>
                <a:gd name="connsiteY424" fmla="*/ 67443 h 1007635"/>
                <a:gd name="connsiteX425" fmla="*/ 312881 w 629170"/>
                <a:gd name="connsiteY425" fmla="*/ 68357 h 1007635"/>
                <a:gd name="connsiteX426" fmla="*/ 316433 w 629170"/>
                <a:gd name="connsiteY426" fmla="*/ 68209 h 1007635"/>
                <a:gd name="connsiteX427" fmla="*/ 320379 w 629170"/>
                <a:gd name="connsiteY427" fmla="*/ 66991 h 1007635"/>
                <a:gd name="connsiteX428" fmla="*/ 324745 w 629170"/>
                <a:gd name="connsiteY428" fmla="*/ 63996 h 1007635"/>
                <a:gd name="connsiteX429" fmla="*/ 329529 w 629170"/>
                <a:gd name="connsiteY429" fmla="*/ 59244 h 1007635"/>
                <a:gd name="connsiteX430" fmla="*/ 336983 w 629170"/>
                <a:gd name="connsiteY430" fmla="*/ 59351 h 1007635"/>
                <a:gd name="connsiteX431" fmla="*/ 347105 w 629170"/>
                <a:gd name="connsiteY431" fmla="*/ 64307 h 1007635"/>
                <a:gd name="connsiteX432" fmla="*/ 352628 w 629170"/>
                <a:gd name="connsiteY432" fmla="*/ 68625 h 1007635"/>
                <a:gd name="connsiteX433" fmla="*/ 353566 w 629170"/>
                <a:gd name="connsiteY433" fmla="*/ 72313 h 1007635"/>
                <a:gd name="connsiteX434" fmla="*/ 360340 w 629170"/>
                <a:gd name="connsiteY434" fmla="*/ 74453 h 1007635"/>
                <a:gd name="connsiteX435" fmla="*/ 372953 w 629170"/>
                <a:gd name="connsiteY435" fmla="*/ 75045 h 1007635"/>
                <a:gd name="connsiteX436" fmla="*/ 382146 w 629170"/>
                <a:gd name="connsiteY436" fmla="*/ 73127 h 1007635"/>
                <a:gd name="connsiteX437" fmla="*/ 387907 w 629170"/>
                <a:gd name="connsiteY437" fmla="*/ 68692 h 1007635"/>
                <a:gd name="connsiteX438" fmla="*/ 393921 w 629170"/>
                <a:gd name="connsiteY438" fmla="*/ 66345 h 1007635"/>
                <a:gd name="connsiteX439" fmla="*/ 400215 w 629170"/>
                <a:gd name="connsiteY439" fmla="*/ 66088 h 1007635"/>
                <a:gd name="connsiteX440" fmla="*/ 404970 w 629170"/>
                <a:gd name="connsiteY440" fmla="*/ 67601 h 1007635"/>
                <a:gd name="connsiteX441" fmla="*/ 408208 w 629170"/>
                <a:gd name="connsiteY441" fmla="*/ 70901 h 1007635"/>
                <a:gd name="connsiteX442" fmla="*/ 414396 w 629170"/>
                <a:gd name="connsiteY442" fmla="*/ 73261 h 1007635"/>
                <a:gd name="connsiteX443" fmla="*/ 423548 w 629170"/>
                <a:gd name="connsiteY443" fmla="*/ 74700 h 1007635"/>
                <a:gd name="connsiteX444" fmla="*/ 433547 w 629170"/>
                <a:gd name="connsiteY444" fmla="*/ 72575 h 1007635"/>
                <a:gd name="connsiteX445" fmla="*/ 444393 w 629170"/>
                <a:gd name="connsiteY445" fmla="*/ 66908 h 1007635"/>
                <a:gd name="connsiteX446" fmla="*/ 450583 w 629170"/>
                <a:gd name="connsiteY446" fmla="*/ 60985 h 1007635"/>
                <a:gd name="connsiteX447" fmla="*/ 452110 w 629170"/>
                <a:gd name="connsiteY447" fmla="*/ 54817 h 1007635"/>
                <a:gd name="connsiteX448" fmla="*/ 453901 w 629170"/>
                <a:gd name="connsiteY448" fmla="*/ 51072 h 1007635"/>
                <a:gd name="connsiteX449" fmla="*/ 455967 w 629170"/>
                <a:gd name="connsiteY449" fmla="*/ 49754 h 1007635"/>
                <a:gd name="connsiteX450" fmla="*/ 461715 w 629170"/>
                <a:gd name="connsiteY450" fmla="*/ 48999 h 1007635"/>
                <a:gd name="connsiteX451" fmla="*/ 471151 w 629170"/>
                <a:gd name="connsiteY451" fmla="*/ 48795 h 1007635"/>
                <a:gd name="connsiteX452" fmla="*/ 479356 w 629170"/>
                <a:gd name="connsiteY452" fmla="*/ 50740 h 1007635"/>
                <a:gd name="connsiteX453" fmla="*/ 489821 w 629170"/>
                <a:gd name="connsiteY453" fmla="*/ 56866 h 1007635"/>
                <a:gd name="connsiteX454" fmla="*/ 496426 w 629170"/>
                <a:gd name="connsiteY454" fmla="*/ 52789 h 1007635"/>
                <a:gd name="connsiteX455" fmla="*/ 507762 w 629170"/>
                <a:gd name="connsiteY455" fmla="*/ 45809 h 1007635"/>
                <a:gd name="connsiteX456" fmla="*/ 519180 w 629170"/>
                <a:gd name="connsiteY456" fmla="*/ 42112 h 1007635"/>
                <a:gd name="connsiteX457" fmla="*/ 530050 w 629170"/>
                <a:gd name="connsiteY457" fmla="*/ 42088 h 1007635"/>
                <a:gd name="connsiteX458" fmla="*/ 538967 w 629170"/>
                <a:gd name="connsiteY458" fmla="*/ 39431 h 1007635"/>
                <a:gd name="connsiteX459" fmla="*/ 545931 w 629170"/>
                <a:gd name="connsiteY459" fmla="*/ 34157 h 1007635"/>
                <a:gd name="connsiteX460" fmla="*/ 553294 w 629170"/>
                <a:gd name="connsiteY460" fmla="*/ 30798 h 1007635"/>
                <a:gd name="connsiteX461" fmla="*/ 561051 w 629170"/>
                <a:gd name="connsiteY461" fmla="*/ 29376 h 1007635"/>
                <a:gd name="connsiteX462" fmla="*/ 568316 w 629170"/>
                <a:gd name="connsiteY462" fmla="*/ 26837 h 1007635"/>
                <a:gd name="connsiteX463" fmla="*/ 578478 w 629170"/>
                <a:gd name="connsiteY463" fmla="*/ 21348 h 1007635"/>
                <a:gd name="connsiteX464" fmla="*/ 588994 w 629170"/>
                <a:gd name="connsiteY464" fmla="*/ 13361 h 1007635"/>
                <a:gd name="connsiteX465" fmla="*/ 599727 w 629170"/>
                <a:gd name="connsiteY465" fmla="*/ 5221 h 1007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</a:cxnLst>
              <a:rect l="l" t="t" r="r" b="b"/>
              <a:pathLst>
                <a:path w="629170" h="1007635">
                  <a:moveTo>
                    <a:pt x="266124" y="92249"/>
                  </a:moveTo>
                  <a:lnTo>
                    <a:pt x="264046" y="92619"/>
                  </a:lnTo>
                  <a:lnTo>
                    <a:pt x="263312" y="94941"/>
                  </a:lnTo>
                  <a:lnTo>
                    <a:pt x="262993" y="98139"/>
                  </a:lnTo>
                  <a:lnTo>
                    <a:pt x="264303" y="99214"/>
                  </a:lnTo>
                  <a:lnTo>
                    <a:pt x="266384" y="98731"/>
                  </a:lnTo>
                  <a:lnTo>
                    <a:pt x="267962" y="97395"/>
                  </a:lnTo>
                  <a:lnTo>
                    <a:pt x="268570" y="95635"/>
                  </a:lnTo>
                  <a:lnTo>
                    <a:pt x="268554" y="93934"/>
                  </a:lnTo>
                  <a:lnTo>
                    <a:pt x="267546" y="92871"/>
                  </a:lnTo>
                  <a:close/>
                  <a:moveTo>
                    <a:pt x="258807" y="90350"/>
                  </a:moveTo>
                  <a:lnTo>
                    <a:pt x="256592" y="91017"/>
                  </a:lnTo>
                  <a:lnTo>
                    <a:pt x="255858" y="93206"/>
                  </a:lnTo>
                  <a:lnTo>
                    <a:pt x="258159" y="96039"/>
                  </a:lnTo>
                  <a:lnTo>
                    <a:pt x="260605" y="96088"/>
                  </a:lnTo>
                  <a:lnTo>
                    <a:pt x="261781" y="92906"/>
                  </a:lnTo>
                  <a:lnTo>
                    <a:pt x="260752" y="91170"/>
                  </a:lnTo>
                  <a:close/>
                  <a:moveTo>
                    <a:pt x="606605" y="0"/>
                  </a:moveTo>
                  <a:lnTo>
                    <a:pt x="609753" y="6169"/>
                  </a:lnTo>
                  <a:lnTo>
                    <a:pt x="615380" y="11805"/>
                  </a:lnTo>
                  <a:lnTo>
                    <a:pt x="612024" y="15083"/>
                  </a:lnTo>
                  <a:lnTo>
                    <a:pt x="607972" y="18013"/>
                  </a:lnTo>
                  <a:lnTo>
                    <a:pt x="614518" y="21938"/>
                  </a:lnTo>
                  <a:lnTo>
                    <a:pt x="609718" y="27865"/>
                  </a:lnTo>
                  <a:lnTo>
                    <a:pt x="609134" y="31990"/>
                  </a:lnTo>
                  <a:lnTo>
                    <a:pt x="610353" y="33605"/>
                  </a:lnTo>
                  <a:lnTo>
                    <a:pt x="611400" y="36019"/>
                  </a:lnTo>
                  <a:lnTo>
                    <a:pt x="608255" y="42809"/>
                  </a:lnTo>
                  <a:lnTo>
                    <a:pt x="604085" y="48011"/>
                  </a:lnTo>
                  <a:lnTo>
                    <a:pt x="603008" y="51991"/>
                  </a:lnTo>
                  <a:lnTo>
                    <a:pt x="606699" y="59033"/>
                  </a:lnTo>
                  <a:lnTo>
                    <a:pt x="604800" y="71509"/>
                  </a:lnTo>
                  <a:lnTo>
                    <a:pt x="608381" y="82743"/>
                  </a:lnTo>
                  <a:lnTo>
                    <a:pt x="609380" y="88507"/>
                  </a:lnTo>
                  <a:lnTo>
                    <a:pt x="610631" y="92362"/>
                  </a:lnTo>
                  <a:lnTo>
                    <a:pt x="608850" y="99262"/>
                  </a:lnTo>
                  <a:lnTo>
                    <a:pt x="609308" y="110889"/>
                  </a:lnTo>
                  <a:lnTo>
                    <a:pt x="610133" y="115689"/>
                  </a:lnTo>
                  <a:lnTo>
                    <a:pt x="608001" y="121668"/>
                  </a:lnTo>
                  <a:lnTo>
                    <a:pt x="611625" y="123736"/>
                  </a:lnTo>
                  <a:lnTo>
                    <a:pt x="613551" y="130293"/>
                  </a:lnTo>
                  <a:lnTo>
                    <a:pt x="613031" y="137686"/>
                  </a:lnTo>
                  <a:lnTo>
                    <a:pt x="611920" y="141669"/>
                  </a:lnTo>
                  <a:lnTo>
                    <a:pt x="605663" y="146495"/>
                  </a:lnTo>
                  <a:lnTo>
                    <a:pt x="604923" y="148370"/>
                  </a:lnTo>
                  <a:lnTo>
                    <a:pt x="605020" y="151212"/>
                  </a:lnTo>
                  <a:lnTo>
                    <a:pt x="612836" y="151306"/>
                  </a:lnTo>
                  <a:lnTo>
                    <a:pt x="613101" y="155704"/>
                  </a:lnTo>
                  <a:lnTo>
                    <a:pt x="612581" y="159168"/>
                  </a:lnTo>
                  <a:lnTo>
                    <a:pt x="612881" y="165687"/>
                  </a:lnTo>
                  <a:lnTo>
                    <a:pt x="611839" y="169925"/>
                  </a:lnTo>
                  <a:lnTo>
                    <a:pt x="613674" y="174762"/>
                  </a:lnTo>
                  <a:lnTo>
                    <a:pt x="611435" y="180119"/>
                  </a:lnTo>
                  <a:lnTo>
                    <a:pt x="612212" y="184252"/>
                  </a:lnTo>
                  <a:lnTo>
                    <a:pt x="612308" y="189612"/>
                  </a:lnTo>
                  <a:lnTo>
                    <a:pt x="614124" y="203171"/>
                  </a:lnTo>
                  <a:lnTo>
                    <a:pt x="614432" y="219944"/>
                  </a:lnTo>
                  <a:lnTo>
                    <a:pt x="614837" y="222633"/>
                  </a:lnTo>
                  <a:lnTo>
                    <a:pt x="617617" y="224535"/>
                  </a:lnTo>
                  <a:lnTo>
                    <a:pt x="621533" y="225478"/>
                  </a:lnTo>
                  <a:lnTo>
                    <a:pt x="621383" y="230079"/>
                  </a:lnTo>
                  <a:lnTo>
                    <a:pt x="617052" y="236087"/>
                  </a:lnTo>
                  <a:lnTo>
                    <a:pt x="616792" y="239824"/>
                  </a:lnTo>
                  <a:lnTo>
                    <a:pt x="617416" y="245074"/>
                  </a:lnTo>
                  <a:lnTo>
                    <a:pt x="622189" y="237941"/>
                  </a:lnTo>
                  <a:lnTo>
                    <a:pt x="625050" y="237976"/>
                  </a:lnTo>
                  <a:lnTo>
                    <a:pt x="627608" y="240775"/>
                  </a:lnTo>
                  <a:lnTo>
                    <a:pt x="627249" y="244884"/>
                  </a:lnTo>
                  <a:lnTo>
                    <a:pt x="628128" y="246911"/>
                  </a:lnTo>
                  <a:lnTo>
                    <a:pt x="627753" y="250897"/>
                  </a:lnTo>
                  <a:lnTo>
                    <a:pt x="629170" y="255959"/>
                  </a:lnTo>
                  <a:lnTo>
                    <a:pt x="628615" y="260368"/>
                  </a:lnTo>
                  <a:lnTo>
                    <a:pt x="625109" y="263454"/>
                  </a:lnTo>
                  <a:lnTo>
                    <a:pt x="620649" y="268736"/>
                  </a:lnTo>
                  <a:lnTo>
                    <a:pt x="619862" y="273691"/>
                  </a:lnTo>
                  <a:lnTo>
                    <a:pt x="620274" y="276941"/>
                  </a:lnTo>
                  <a:lnTo>
                    <a:pt x="617183" y="277980"/>
                  </a:lnTo>
                  <a:lnTo>
                    <a:pt x="615739" y="279986"/>
                  </a:lnTo>
                  <a:lnTo>
                    <a:pt x="617831" y="284660"/>
                  </a:lnTo>
                  <a:lnTo>
                    <a:pt x="617705" y="288796"/>
                  </a:lnTo>
                  <a:lnTo>
                    <a:pt x="612257" y="301677"/>
                  </a:lnTo>
                  <a:lnTo>
                    <a:pt x="597739" y="319302"/>
                  </a:lnTo>
                  <a:lnTo>
                    <a:pt x="591469" y="325561"/>
                  </a:lnTo>
                  <a:lnTo>
                    <a:pt x="585592" y="332376"/>
                  </a:lnTo>
                  <a:lnTo>
                    <a:pt x="585598" y="335169"/>
                  </a:lnTo>
                  <a:lnTo>
                    <a:pt x="585024" y="337602"/>
                  </a:lnTo>
                  <a:lnTo>
                    <a:pt x="578178" y="347333"/>
                  </a:lnTo>
                  <a:lnTo>
                    <a:pt x="570844" y="348929"/>
                  </a:lnTo>
                  <a:lnTo>
                    <a:pt x="566765" y="351530"/>
                  </a:lnTo>
                  <a:lnTo>
                    <a:pt x="569947" y="360112"/>
                  </a:lnTo>
                  <a:lnTo>
                    <a:pt x="565203" y="362089"/>
                  </a:lnTo>
                  <a:lnTo>
                    <a:pt x="556961" y="368855"/>
                  </a:lnTo>
                  <a:lnTo>
                    <a:pt x="534271" y="381832"/>
                  </a:lnTo>
                  <a:lnTo>
                    <a:pt x="530685" y="384843"/>
                  </a:lnTo>
                  <a:lnTo>
                    <a:pt x="524918" y="392814"/>
                  </a:lnTo>
                  <a:lnTo>
                    <a:pt x="517319" y="394748"/>
                  </a:lnTo>
                  <a:lnTo>
                    <a:pt x="513095" y="397004"/>
                  </a:lnTo>
                  <a:lnTo>
                    <a:pt x="505565" y="397831"/>
                  </a:lnTo>
                  <a:lnTo>
                    <a:pt x="502938" y="397253"/>
                  </a:lnTo>
                  <a:lnTo>
                    <a:pt x="500372" y="397534"/>
                  </a:lnTo>
                  <a:lnTo>
                    <a:pt x="498202" y="399243"/>
                  </a:lnTo>
                  <a:lnTo>
                    <a:pt x="483245" y="404838"/>
                  </a:lnTo>
                  <a:lnTo>
                    <a:pt x="469276" y="409269"/>
                  </a:lnTo>
                  <a:lnTo>
                    <a:pt x="465840" y="411294"/>
                  </a:lnTo>
                  <a:lnTo>
                    <a:pt x="463550" y="414063"/>
                  </a:lnTo>
                  <a:lnTo>
                    <a:pt x="451183" y="418443"/>
                  </a:lnTo>
                  <a:lnTo>
                    <a:pt x="431806" y="429280"/>
                  </a:lnTo>
                  <a:lnTo>
                    <a:pt x="415946" y="439614"/>
                  </a:lnTo>
                  <a:lnTo>
                    <a:pt x="404461" y="449964"/>
                  </a:lnTo>
                  <a:lnTo>
                    <a:pt x="401434" y="451534"/>
                  </a:lnTo>
                  <a:lnTo>
                    <a:pt x="397872" y="455109"/>
                  </a:lnTo>
                  <a:lnTo>
                    <a:pt x="396680" y="460408"/>
                  </a:lnTo>
                  <a:lnTo>
                    <a:pt x="395517" y="463402"/>
                  </a:lnTo>
                  <a:lnTo>
                    <a:pt x="387021" y="474315"/>
                  </a:lnTo>
                  <a:lnTo>
                    <a:pt x="374228" y="487225"/>
                  </a:lnTo>
                  <a:lnTo>
                    <a:pt x="371734" y="490755"/>
                  </a:lnTo>
                  <a:lnTo>
                    <a:pt x="366650" y="497939"/>
                  </a:lnTo>
                  <a:lnTo>
                    <a:pt x="366147" y="502646"/>
                  </a:lnTo>
                  <a:lnTo>
                    <a:pt x="361618" y="504081"/>
                  </a:lnTo>
                  <a:lnTo>
                    <a:pt x="357806" y="499573"/>
                  </a:lnTo>
                  <a:lnTo>
                    <a:pt x="356193" y="508262"/>
                  </a:lnTo>
                  <a:lnTo>
                    <a:pt x="353086" y="508881"/>
                  </a:lnTo>
                  <a:lnTo>
                    <a:pt x="349639" y="507100"/>
                  </a:lnTo>
                  <a:lnTo>
                    <a:pt x="341054" y="511404"/>
                  </a:lnTo>
                  <a:lnTo>
                    <a:pt x="333570" y="516365"/>
                  </a:lnTo>
                  <a:lnTo>
                    <a:pt x="321581" y="526833"/>
                  </a:lnTo>
                  <a:lnTo>
                    <a:pt x="304645" y="547117"/>
                  </a:lnTo>
                  <a:lnTo>
                    <a:pt x="279919" y="566730"/>
                  </a:lnTo>
                  <a:lnTo>
                    <a:pt x="276541" y="567290"/>
                  </a:lnTo>
                  <a:lnTo>
                    <a:pt x="274262" y="567212"/>
                  </a:lnTo>
                  <a:lnTo>
                    <a:pt x="266481" y="560382"/>
                  </a:lnTo>
                  <a:lnTo>
                    <a:pt x="262243" y="559875"/>
                  </a:lnTo>
                  <a:lnTo>
                    <a:pt x="266036" y="563928"/>
                  </a:lnTo>
                  <a:lnTo>
                    <a:pt x="268541" y="567300"/>
                  </a:lnTo>
                  <a:lnTo>
                    <a:pt x="267906" y="573922"/>
                  </a:lnTo>
                  <a:lnTo>
                    <a:pt x="268200" y="583862"/>
                  </a:lnTo>
                  <a:lnTo>
                    <a:pt x="265128" y="603204"/>
                  </a:lnTo>
                  <a:lnTo>
                    <a:pt x="265541" y="607441"/>
                  </a:lnTo>
                  <a:lnTo>
                    <a:pt x="269074" y="612929"/>
                  </a:lnTo>
                  <a:lnTo>
                    <a:pt x="275725" y="619655"/>
                  </a:lnTo>
                  <a:lnTo>
                    <a:pt x="281960" y="628026"/>
                  </a:lnTo>
                  <a:lnTo>
                    <a:pt x="289972" y="652090"/>
                  </a:lnTo>
                  <a:lnTo>
                    <a:pt x="290590" y="664486"/>
                  </a:lnTo>
                  <a:lnTo>
                    <a:pt x="298862" y="680338"/>
                  </a:lnTo>
                  <a:lnTo>
                    <a:pt x="299173" y="687211"/>
                  </a:lnTo>
                  <a:lnTo>
                    <a:pt x="302510" y="704332"/>
                  </a:lnTo>
                  <a:lnTo>
                    <a:pt x="302290" y="718196"/>
                  </a:lnTo>
                  <a:lnTo>
                    <a:pt x="301706" y="726690"/>
                  </a:lnTo>
                  <a:lnTo>
                    <a:pt x="305692" y="730284"/>
                  </a:lnTo>
                  <a:lnTo>
                    <a:pt x="307163" y="727043"/>
                  </a:lnTo>
                  <a:lnTo>
                    <a:pt x="306750" y="721670"/>
                  </a:lnTo>
                  <a:lnTo>
                    <a:pt x="307814" y="713051"/>
                  </a:lnTo>
                  <a:lnTo>
                    <a:pt x="310037" y="709212"/>
                  </a:lnTo>
                  <a:lnTo>
                    <a:pt x="312252" y="709761"/>
                  </a:lnTo>
                  <a:lnTo>
                    <a:pt x="312911" y="713827"/>
                  </a:lnTo>
                  <a:lnTo>
                    <a:pt x="314403" y="717435"/>
                  </a:lnTo>
                  <a:lnTo>
                    <a:pt x="315005" y="720827"/>
                  </a:lnTo>
                  <a:lnTo>
                    <a:pt x="315107" y="725426"/>
                  </a:lnTo>
                  <a:lnTo>
                    <a:pt x="312043" y="742938"/>
                  </a:lnTo>
                  <a:lnTo>
                    <a:pt x="312962" y="750066"/>
                  </a:lnTo>
                  <a:lnTo>
                    <a:pt x="317087" y="761982"/>
                  </a:lnTo>
                  <a:lnTo>
                    <a:pt x="312292" y="775847"/>
                  </a:lnTo>
                  <a:lnTo>
                    <a:pt x="305333" y="808541"/>
                  </a:lnTo>
                  <a:lnTo>
                    <a:pt x="304945" y="814203"/>
                  </a:lnTo>
                  <a:lnTo>
                    <a:pt x="306630" y="816678"/>
                  </a:lnTo>
                  <a:lnTo>
                    <a:pt x="310377" y="817517"/>
                  </a:lnTo>
                  <a:lnTo>
                    <a:pt x="311754" y="813341"/>
                  </a:lnTo>
                  <a:lnTo>
                    <a:pt x="313953" y="813373"/>
                  </a:lnTo>
                  <a:lnTo>
                    <a:pt x="315107" y="815845"/>
                  </a:lnTo>
                  <a:lnTo>
                    <a:pt x="312008" y="830963"/>
                  </a:lnTo>
                  <a:lnTo>
                    <a:pt x="308955" y="837595"/>
                  </a:lnTo>
                  <a:lnTo>
                    <a:pt x="298104" y="853867"/>
                  </a:lnTo>
                  <a:lnTo>
                    <a:pt x="292246" y="860853"/>
                  </a:lnTo>
                  <a:lnTo>
                    <a:pt x="282539" y="867721"/>
                  </a:lnTo>
                  <a:lnTo>
                    <a:pt x="259750" y="878464"/>
                  </a:lnTo>
                  <a:lnTo>
                    <a:pt x="214067" y="894008"/>
                  </a:lnTo>
                  <a:lnTo>
                    <a:pt x="195947" y="901634"/>
                  </a:lnTo>
                  <a:lnTo>
                    <a:pt x="185131" y="906182"/>
                  </a:lnTo>
                  <a:lnTo>
                    <a:pt x="162248" y="920676"/>
                  </a:lnTo>
                  <a:lnTo>
                    <a:pt x="152241" y="930404"/>
                  </a:lnTo>
                  <a:lnTo>
                    <a:pt x="148119" y="941574"/>
                  </a:lnTo>
                  <a:lnTo>
                    <a:pt x="144168" y="946695"/>
                  </a:lnTo>
                  <a:lnTo>
                    <a:pt x="140292" y="953177"/>
                  </a:lnTo>
                  <a:lnTo>
                    <a:pt x="143669" y="958746"/>
                  </a:lnTo>
                  <a:lnTo>
                    <a:pt x="146991" y="962962"/>
                  </a:lnTo>
                  <a:lnTo>
                    <a:pt x="150907" y="965788"/>
                  </a:lnTo>
                  <a:lnTo>
                    <a:pt x="152937" y="968220"/>
                  </a:lnTo>
                  <a:lnTo>
                    <a:pt x="155597" y="969913"/>
                  </a:lnTo>
                  <a:lnTo>
                    <a:pt x="158276" y="961148"/>
                  </a:lnTo>
                  <a:lnTo>
                    <a:pt x="159599" y="958424"/>
                  </a:lnTo>
                  <a:lnTo>
                    <a:pt x="161878" y="958215"/>
                  </a:lnTo>
                  <a:lnTo>
                    <a:pt x="160617" y="968916"/>
                  </a:lnTo>
                  <a:lnTo>
                    <a:pt x="157986" y="1005650"/>
                  </a:lnTo>
                  <a:lnTo>
                    <a:pt x="157807" y="1006850"/>
                  </a:lnTo>
                  <a:lnTo>
                    <a:pt x="151317" y="1006957"/>
                  </a:lnTo>
                  <a:lnTo>
                    <a:pt x="140195" y="1007260"/>
                  </a:lnTo>
                  <a:lnTo>
                    <a:pt x="133617" y="1007434"/>
                  </a:lnTo>
                  <a:lnTo>
                    <a:pt x="126262" y="1007635"/>
                  </a:lnTo>
                  <a:lnTo>
                    <a:pt x="117144" y="1005843"/>
                  </a:lnTo>
                  <a:lnTo>
                    <a:pt x="112009" y="1006223"/>
                  </a:lnTo>
                  <a:lnTo>
                    <a:pt x="111597" y="985909"/>
                  </a:lnTo>
                  <a:lnTo>
                    <a:pt x="109939" y="981449"/>
                  </a:lnTo>
                  <a:lnTo>
                    <a:pt x="108187" y="974932"/>
                  </a:lnTo>
                  <a:lnTo>
                    <a:pt x="107774" y="970751"/>
                  </a:lnTo>
                  <a:lnTo>
                    <a:pt x="108875" y="966548"/>
                  </a:lnTo>
                  <a:lnTo>
                    <a:pt x="109400" y="959897"/>
                  </a:lnTo>
                  <a:lnTo>
                    <a:pt x="108907" y="954080"/>
                  </a:lnTo>
                  <a:lnTo>
                    <a:pt x="103454" y="951160"/>
                  </a:lnTo>
                  <a:lnTo>
                    <a:pt x="102256" y="950231"/>
                  </a:lnTo>
                  <a:lnTo>
                    <a:pt x="101075" y="945656"/>
                  </a:lnTo>
                  <a:lnTo>
                    <a:pt x="100601" y="938603"/>
                  </a:lnTo>
                  <a:lnTo>
                    <a:pt x="104407" y="929619"/>
                  </a:lnTo>
                  <a:lnTo>
                    <a:pt x="104102" y="912402"/>
                  </a:lnTo>
                  <a:lnTo>
                    <a:pt x="104552" y="906343"/>
                  </a:lnTo>
                  <a:lnTo>
                    <a:pt x="104477" y="894378"/>
                  </a:lnTo>
                  <a:lnTo>
                    <a:pt x="104397" y="879897"/>
                  </a:lnTo>
                  <a:lnTo>
                    <a:pt x="104327" y="866947"/>
                  </a:lnTo>
                  <a:lnTo>
                    <a:pt x="104482" y="855774"/>
                  </a:lnTo>
                  <a:lnTo>
                    <a:pt x="103344" y="850484"/>
                  </a:lnTo>
                  <a:lnTo>
                    <a:pt x="102396" y="847583"/>
                  </a:lnTo>
                  <a:lnTo>
                    <a:pt x="99873" y="841677"/>
                  </a:lnTo>
                  <a:lnTo>
                    <a:pt x="96929" y="829375"/>
                  </a:lnTo>
                  <a:lnTo>
                    <a:pt x="93452" y="820093"/>
                  </a:lnTo>
                  <a:lnTo>
                    <a:pt x="88976" y="813973"/>
                  </a:lnTo>
                  <a:lnTo>
                    <a:pt x="87554" y="810748"/>
                  </a:lnTo>
                  <a:lnTo>
                    <a:pt x="86108" y="806436"/>
                  </a:lnTo>
                  <a:lnTo>
                    <a:pt x="81873" y="798845"/>
                  </a:lnTo>
                  <a:lnTo>
                    <a:pt x="78409" y="794425"/>
                  </a:lnTo>
                  <a:lnTo>
                    <a:pt x="77467" y="790889"/>
                  </a:lnTo>
                  <a:lnTo>
                    <a:pt x="77587" y="781742"/>
                  </a:lnTo>
                  <a:lnTo>
                    <a:pt x="73735" y="765328"/>
                  </a:lnTo>
                  <a:lnTo>
                    <a:pt x="70931" y="753374"/>
                  </a:lnTo>
                  <a:lnTo>
                    <a:pt x="66707" y="740436"/>
                  </a:lnTo>
                  <a:lnTo>
                    <a:pt x="63873" y="731779"/>
                  </a:lnTo>
                  <a:lnTo>
                    <a:pt x="63458" y="730290"/>
                  </a:lnTo>
                  <a:lnTo>
                    <a:pt x="63144" y="727014"/>
                  </a:lnTo>
                  <a:lnTo>
                    <a:pt x="71531" y="720588"/>
                  </a:lnTo>
                  <a:lnTo>
                    <a:pt x="79941" y="711551"/>
                  </a:lnTo>
                  <a:lnTo>
                    <a:pt x="89788" y="700978"/>
                  </a:lnTo>
                  <a:lnTo>
                    <a:pt x="98565" y="691545"/>
                  </a:lnTo>
                  <a:lnTo>
                    <a:pt x="106288" y="683260"/>
                  </a:lnTo>
                  <a:lnTo>
                    <a:pt x="116855" y="671932"/>
                  </a:lnTo>
                  <a:lnTo>
                    <a:pt x="127301" y="660739"/>
                  </a:lnTo>
                  <a:lnTo>
                    <a:pt x="129749" y="659311"/>
                  </a:lnTo>
                  <a:lnTo>
                    <a:pt x="130778" y="658398"/>
                  </a:lnTo>
                  <a:lnTo>
                    <a:pt x="126267" y="648458"/>
                  </a:lnTo>
                  <a:lnTo>
                    <a:pt x="133526" y="636918"/>
                  </a:lnTo>
                  <a:lnTo>
                    <a:pt x="133920" y="629426"/>
                  </a:lnTo>
                  <a:lnTo>
                    <a:pt x="133612" y="622261"/>
                  </a:lnTo>
                  <a:lnTo>
                    <a:pt x="134485" y="618972"/>
                  </a:lnTo>
                  <a:lnTo>
                    <a:pt x="136673" y="616087"/>
                  </a:lnTo>
                  <a:lnTo>
                    <a:pt x="145156" y="610098"/>
                  </a:lnTo>
                  <a:lnTo>
                    <a:pt x="151571" y="600557"/>
                  </a:lnTo>
                  <a:lnTo>
                    <a:pt x="156829" y="591654"/>
                  </a:lnTo>
                  <a:lnTo>
                    <a:pt x="164123" y="577334"/>
                  </a:lnTo>
                  <a:lnTo>
                    <a:pt x="164841" y="573964"/>
                  </a:lnTo>
                  <a:lnTo>
                    <a:pt x="164951" y="570493"/>
                  </a:lnTo>
                  <a:lnTo>
                    <a:pt x="162931" y="565666"/>
                  </a:lnTo>
                  <a:lnTo>
                    <a:pt x="158061" y="557826"/>
                  </a:lnTo>
                  <a:lnTo>
                    <a:pt x="154526" y="551068"/>
                  </a:lnTo>
                  <a:lnTo>
                    <a:pt x="151381" y="540651"/>
                  </a:lnTo>
                  <a:lnTo>
                    <a:pt x="154539" y="531595"/>
                  </a:lnTo>
                  <a:lnTo>
                    <a:pt x="155667" y="526131"/>
                  </a:lnTo>
                  <a:lnTo>
                    <a:pt x="155653" y="523182"/>
                  </a:lnTo>
                  <a:lnTo>
                    <a:pt x="154255" y="520380"/>
                  </a:lnTo>
                  <a:lnTo>
                    <a:pt x="150703" y="518264"/>
                  </a:lnTo>
                  <a:lnTo>
                    <a:pt x="147760" y="516885"/>
                  </a:lnTo>
                  <a:lnTo>
                    <a:pt x="146766" y="513145"/>
                  </a:lnTo>
                  <a:lnTo>
                    <a:pt x="146736" y="508702"/>
                  </a:lnTo>
                  <a:lnTo>
                    <a:pt x="148084" y="506245"/>
                  </a:lnTo>
                  <a:lnTo>
                    <a:pt x="155932" y="502273"/>
                  </a:lnTo>
                  <a:lnTo>
                    <a:pt x="157713" y="500120"/>
                  </a:lnTo>
                  <a:lnTo>
                    <a:pt x="158645" y="497701"/>
                  </a:lnTo>
                  <a:lnTo>
                    <a:pt x="158726" y="494256"/>
                  </a:lnTo>
                  <a:lnTo>
                    <a:pt x="161144" y="485664"/>
                  </a:lnTo>
                  <a:lnTo>
                    <a:pt x="164139" y="477513"/>
                  </a:lnTo>
                  <a:lnTo>
                    <a:pt x="164337" y="474636"/>
                  </a:lnTo>
                  <a:lnTo>
                    <a:pt x="163279" y="472121"/>
                  </a:lnTo>
                  <a:lnTo>
                    <a:pt x="162457" y="467519"/>
                  </a:lnTo>
                  <a:lnTo>
                    <a:pt x="161918" y="460582"/>
                  </a:lnTo>
                  <a:lnTo>
                    <a:pt x="161868" y="441173"/>
                  </a:lnTo>
                  <a:lnTo>
                    <a:pt x="163410" y="421148"/>
                  </a:lnTo>
                  <a:lnTo>
                    <a:pt x="162735" y="409804"/>
                  </a:lnTo>
                  <a:lnTo>
                    <a:pt x="157702" y="396771"/>
                  </a:lnTo>
                  <a:lnTo>
                    <a:pt x="157223" y="387377"/>
                  </a:lnTo>
                  <a:lnTo>
                    <a:pt x="160871" y="380823"/>
                  </a:lnTo>
                  <a:lnTo>
                    <a:pt x="161474" y="376947"/>
                  </a:lnTo>
                  <a:lnTo>
                    <a:pt x="158801" y="376451"/>
                  </a:lnTo>
                  <a:lnTo>
                    <a:pt x="153312" y="376055"/>
                  </a:lnTo>
                  <a:lnTo>
                    <a:pt x="149257" y="374836"/>
                  </a:lnTo>
                  <a:lnTo>
                    <a:pt x="142981" y="369468"/>
                  </a:lnTo>
                  <a:lnTo>
                    <a:pt x="132090" y="364982"/>
                  </a:lnTo>
                  <a:lnTo>
                    <a:pt x="119731" y="360908"/>
                  </a:lnTo>
                  <a:lnTo>
                    <a:pt x="101758" y="359694"/>
                  </a:lnTo>
                  <a:lnTo>
                    <a:pt x="86820" y="346644"/>
                  </a:lnTo>
                  <a:lnTo>
                    <a:pt x="75107" y="344550"/>
                  </a:lnTo>
                  <a:lnTo>
                    <a:pt x="71335" y="342889"/>
                  </a:lnTo>
                  <a:lnTo>
                    <a:pt x="60085" y="335068"/>
                  </a:lnTo>
                  <a:lnTo>
                    <a:pt x="42469" y="334344"/>
                  </a:lnTo>
                  <a:lnTo>
                    <a:pt x="24190" y="333586"/>
                  </a:lnTo>
                  <a:lnTo>
                    <a:pt x="12796" y="333348"/>
                  </a:lnTo>
                  <a:lnTo>
                    <a:pt x="11111" y="332309"/>
                  </a:lnTo>
                  <a:lnTo>
                    <a:pt x="10447" y="321536"/>
                  </a:lnTo>
                  <a:lnTo>
                    <a:pt x="10326" y="311965"/>
                  </a:lnTo>
                  <a:lnTo>
                    <a:pt x="9364" y="303643"/>
                  </a:lnTo>
                  <a:lnTo>
                    <a:pt x="7629" y="294174"/>
                  </a:lnTo>
                  <a:lnTo>
                    <a:pt x="4969" y="290489"/>
                  </a:lnTo>
                  <a:lnTo>
                    <a:pt x="1800" y="284084"/>
                  </a:lnTo>
                  <a:lnTo>
                    <a:pt x="190" y="277040"/>
                  </a:lnTo>
                  <a:lnTo>
                    <a:pt x="0" y="273627"/>
                  </a:lnTo>
                  <a:lnTo>
                    <a:pt x="598" y="272403"/>
                  </a:lnTo>
                  <a:lnTo>
                    <a:pt x="13286" y="267389"/>
                  </a:lnTo>
                  <a:lnTo>
                    <a:pt x="18713" y="264906"/>
                  </a:lnTo>
                  <a:lnTo>
                    <a:pt x="26746" y="262040"/>
                  </a:lnTo>
                  <a:lnTo>
                    <a:pt x="41068" y="258057"/>
                  </a:lnTo>
                  <a:lnTo>
                    <a:pt x="53844" y="254508"/>
                  </a:lnTo>
                  <a:lnTo>
                    <a:pt x="65552" y="251063"/>
                  </a:lnTo>
                  <a:lnTo>
                    <a:pt x="77951" y="247401"/>
                  </a:lnTo>
                  <a:lnTo>
                    <a:pt x="82995" y="244956"/>
                  </a:lnTo>
                  <a:lnTo>
                    <a:pt x="89266" y="242500"/>
                  </a:lnTo>
                  <a:lnTo>
                    <a:pt x="104263" y="237563"/>
                  </a:lnTo>
                  <a:lnTo>
                    <a:pt x="108551" y="235876"/>
                  </a:lnTo>
                  <a:lnTo>
                    <a:pt x="117163" y="233114"/>
                  </a:lnTo>
                  <a:lnTo>
                    <a:pt x="121483" y="232037"/>
                  </a:lnTo>
                  <a:lnTo>
                    <a:pt x="138090" y="226391"/>
                  </a:lnTo>
                  <a:lnTo>
                    <a:pt x="157118" y="219920"/>
                  </a:lnTo>
                  <a:lnTo>
                    <a:pt x="163788" y="217656"/>
                  </a:lnTo>
                  <a:lnTo>
                    <a:pt x="176500" y="213333"/>
                  </a:lnTo>
                  <a:lnTo>
                    <a:pt x="178975" y="215125"/>
                  </a:lnTo>
                  <a:lnTo>
                    <a:pt x="187646" y="230010"/>
                  </a:lnTo>
                  <a:lnTo>
                    <a:pt x="194476" y="238750"/>
                  </a:lnTo>
                  <a:lnTo>
                    <a:pt x="202244" y="246858"/>
                  </a:lnTo>
                  <a:lnTo>
                    <a:pt x="203540" y="246461"/>
                  </a:lnTo>
                  <a:lnTo>
                    <a:pt x="205780" y="244565"/>
                  </a:lnTo>
                  <a:lnTo>
                    <a:pt x="209647" y="243780"/>
                  </a:lnTo>
                  <a:lnTo>
                    <a:pt x="221993" y="241956"/>
                  </a:lnTo>
                  <a:lnTo>
                    <a:pt x="226707" y="241844"/>
                  </a:lnTo>
                  <a:lnTo>
                    <a:pt x="229812" y="239671"/>
                  </a:lnTo>
                  <a:lnTo>
                    <a:pt x="236144" y="238123"/>
                  </a:lnTo>
                  <a:lnTo>
                    <a:pt x="243472" y="237210"/>
                  </a:lnTo>
                  <a:lnTo>
                    <a:pt x="245990" y="238190"/>
                  </a:lnTo>
                  <a:lnTo>
                    <a:pt x="253704" y="248671"/>
                  </a:lnTo>
                  <a:lnTo>
                    <a:pt x="254821" y="256693"/>
                  </a:lnTo>
                  <a:lnTo>
                    <a:pt x="256423" y="268289"/>
                  </a:lnTo>
                  <a:lnTo>
                    <a:pt x="256806" y="273954"/>
                  </a:lnTo>
                  <a:lnTo>
                    <a:pt x="256677" y="281523"/>
                  </a:lnTo>
                  <a:lnTo>
                    <a:pt x="255810" y="290998"/>
                  </a:lnTo>
                  <a:lnTo>
                    <a:pt x="249542" y="301902"/>
                  </a:lnTo>
                  <a:lnTo>
                    <a:pt x="248344" y="307339"/>
                  </a:lnTo>
                  <a:lnTo>
                    <a:pt x="244983" y="315739"/>
                  </a:lnTo>
                  <a:lnTo>
                    <a:pt x="240542" y="319878"/>
                  </a:lnTo>
                  <a:lnTo>
                    <a:pt x="238356" y="323271"/>
                  </a:lnTo>
                  <a:lnTo>
                    <a:pt x="238482" y="326799"/>
                  </a:lnTo>
                  <a:lnTo>
                    <a:pt x="240853" y="329753"/>
                  </a:lnTo>
                  <a:lnTo>
                    <a:pt x="246046" y="335073"/>
                  </a:lnTo>
                  <a:lnTo>
                    <a:pt x="247651" y="338510"/>
                  </a:lnTo>
                  <a:lnTo>
                    <a:pt x="247182" y="341582"/>
                  </a:lnTo>
                  <a:lnTo>
                    <a:pt x="247203" y="345736"/>
                  </a:lnTo>
                  <a:lnTo>
                    <a:pt x="248441" y="348626"/>
                  </a:lnTo>
                  <a:lnTo>
                    <a:pt x="249917" y="350306"/>
                  </a:lnTo>
                  <a:lnTo>
                    <a:pt x="255060" y="353027"/>
                  </a:lnTo>
                  <a:lnTo>
                    <a:pt x="260068" y="359860"/>
                  </a:lnTo>
                  <a:lnTo>
                    <a:pt x="268720" y="368108"/>
                  </a:lnTo>
                  <a:lnTo>
                    <a:pt x="279062" y="379872"/>
                  </a:lnTo>
                  <a:lnTo>
                    <a:pt x="283916" y="383474"/>
                  </a:lnTo>
                  <a:lnTo>
                    <a:pt x="287738" y="384350"/>
                  </a:lnTo>
                  <a:lnTo>
                    <a:pt x="289648" y="388288"/>
                  </a:lnTo>
                  <a:lnTo>
                    <a:pt x="288590" y="392873"/>
                  </a:lnTo>
                  <a:lnTo>
                    <a:pt x="285611" y="395498"/>
                  </a:lnTo>
                  <a:lnTo>
                    <a:pt x="286835" y="399259"/>
                  </a:lnTo>
                  <a:lnTo>
                    <a:pt x="288520" y="401230"/>
                  </a:lnTo>
                  <a:lnTo>
                    <a:pt x="290387" y="402224"/>
                  </a:lnTo>
                  <a:lnTo>
                    <a:pt x="294935" y="402457"/>
                  </a:lnTo>
                  <a:lnTo>
                    <a:pt x="299151" y="401688"/>
                  </a:lnTo>
                  <a:lnTo>
                    <a:pt x="300209" y="400379"/>
                  </a:lnTo>
                  <a:lnTo>
                    <a:pt x="299660" y="382762"/>
                  </a:lnTo>
                  <a:lnTo>
                    <a:pt x="296617" y="372500"/>
                  </a:lnTo>
                  <a:lnTo>
                    <a:pt x="293569" y="368488"/>
                  </a:lnTo>
                  <a:lnTo>
                    <a:pt x="292910" y="367692"/>
                  </a:lnTo>
                  <a:lnTo>
                    <a:pt x="293979" y="364323"/>
                  </a:lnTo>
                  <a:lnTo>
                    <a:pt x="297386" y="356445"/>
                  </a:lnTo>
                  <a:lnTo>
                    <a:pt x="300273" y="348651"/>
                  </a:lnTo>
                  <a:lnTo>
                    <a:pt x="302106" y="345369"/>
                  </a:lnTo>
                  <a:lnTo>
                    <a:pt x="304240" y="343387"/>
                  </a:lnTo>
                  <a:lnTo>
                    <a:pt x="318504" y="341279"/>
                  </a:lnTo>
                  <a:lnTo>
                    <a:pt x="324994" y="339452"/>
                  </a:lnTo>
                  <a:lnTo>
                    <a:pt x="327739" y="337173"/>
                  </a:lnTo>
                  <a:lnTo>
                    <a:pt x="329869" y="331125"/>
                  </a:lnTo>
                  <a:lnTo>
                    <a:pt x="331570" y="314229"/>
                  </a:lnTo>
                  <a:lnTo>
                    <a:pt x="332183" y="298374"/>
                  </a:lnTo>
                  <a:lnTo>
                    <a:pt x="330707" y="289080"/>
                  </a:lnTo>
                  <a:lnTo>
                    <a:pt x="332756" y="275090"/>
                  </a:lnTo>
                  <a:lnTo>
                    <a:pt x="335885" y="266438"/>
                  </a:lnTo>
                  <a:lnTo>
                    <a:pt x="334342" y="264742"/>
                  </a:lnTo>
                  <a:lnTo>
                    <a:pt x="333182" y="253072"/>
                  </a:lnTo>
                  <a:lnTo>
                    <a:pt x="323901" y="240652"/>
                  </a:lnTo>
                  <a:lnTo>
                    <a:pt x="311938" y="224669"/>
                  </a:lnTo>
                  <a:lnTo>
                    <a:pt x="305264" y="216068"/>
                  </a:lnTo>
                  <a:lnTo>
                    <a:pt x="297665" y="206299"/>
                  </a:lnTo>
                  <a:lnTo>
                    <a:pt x="283827" y="191007"/>
                  </a:lnTo>
                  <a:lnTo>
                    <a:pt x="277490" y="185471"/>
                  </a:lnTo>
                  <a:lnTo>
                    <a:pt x="274152" y="183323"/>
                  </a:lnTo>
                  <a:lnTo>
                    <a:pt x="262967" y="181555"/>
                  </a:lnTo>
                  <a:lnTo>
                    <a:pt x="259999" y="178611"/>
                  </a:lnTo>
                  <a:lnTo>
                    <a:pt x="257165" y="173926"/>
                  </a:lnTo>
                  <a:lnTo>
                    <a:pt x="256099" y="165259"/>
                  </a:lnTo>
                  <a:lnTo>
                    <a:pt x="255914" y="158774"/>
                  </a:lnTo>
                  <a:lnTo>
                    <a:pt x="254652" y="147760"/>
                  </a:lnTo>
                  <a:lnTo>
                    <a:pt x="252381" y="132173"/>
                  </a:lnTo>
                  <a:lnTo>
                    <a:pt x="251369" y="127595"/>
                  </a:lnTo>
                  <a:lnTo>
                    <a:pt x="248186" y="115880"/>
                  </a:lnTo>
                  <a:lnTo>
                    <a:pt x="245152" y="104737"/>
                  </a:lnTo>
                  <a:lnTo>
                    <a:pt x="244972" y="101983"/>
                  </a:lnTo>
                  <a:lnTo>
                    <a:pt x="246046" y="99307"/>
                  </a:lnTo>
                  <a:lnTo>
                    <a:pt x="251194" y="91111"/>
                  </a:lnTo>
                  <a:lnTo>
                    <a:pt x="254861" y="85299"/>
                  </a:lnTo>
                  <a:lnTo>
                    <a:pt x="256586" y="82122"/>
                  </a:lnTo>
                  <a:lnTo>
                    <a:pt x="259685" y="73473"/>
                  </a:lnTo>
                  <a:lnTo>
                    <a:pt x="260414" y="69281"/>
                  </a:lnTo>
                  <a:lnTo>
                    <a:pt x="262843" y="67390"/>
                  </a:lnTo>
                  <a:lnTo>
                    <a:pt x="272735" y="66610"/>
                  </a:lnTo>
                  <a:lnTo>
                    <a:pt x="280608" y="66755"/>
                  </a:lnTo>
                  <a:lnTo>
                    <a:pt x="293823" y="66557"/>
                  </a:lnTo>
                  <a:lnTo>
                    <a:pt x="307781" y="67060"/>
                  </a:lnTo>
                  <a:lnTo>
                    <a:pt x="309742" y="67443"/>
                  </a:lnTo>
                  <a:lnTo>
                    <a:pt x="312881" y="68357"/>
                  </a:lnTo>
                  <a:lnTo>
                    <a:pt x="316433" y="68209"/>
                  </a:lnTo>
                  <a:lnTo>
                    <a:pt x="320379" y="66991"/>
                  </a:lnTo>
                  <a:lnTo>
                    <a:pt x="324745" y="63996"/>
                  </a:lnTo>
                  <a:lnTo>
                    <a:pt x="329529" y="59244"/>
                  </a:lnTo>
                  <a:lnTo>
                    <a:pt x="336983" y="59351"/>
                  </a:lnTo>
                  <a:lnTo>
                    <a:pt x="347105" y="64307"/>
                  </a:lnTo>
                  <a:lnTo>
                    <a:pt x="352628" y="68625"/>
                  </a:lnTo>
                  <a:lnTo>
                    <a:pt x="353566" y="72313"/>
                  </a:lnTo>
                  <a:lnTo>
                    <a:pt x="360340" y="74453"/>
                  </a:lnTo>
                  <a:lnTo>
                    <a:pt x="372953" y="75045"/>
                  </a:lnTo>
                  <a:lnTo>
                    <a:pt x="382146" y="73127"/>
                  </a:lnTo>
                  <a:lnTo>
                    <a:pt x="387907" y="68692"/>
                  </a:lnTo>
                  <a:lnTo>
                    <a:pt x="393921" y="66345"/>
                  </a:lnTo>
                  <a:lnTo>
                    <a:pt x="400215" y="66088"/>
                  </a:lnTo>
                  <a:lnTo>
                    <a:pt x="404970" y="67601"/>
                  </a:lnTo>
                  <a:lnTo>
                    <a:pt x="408208" y="70901"/>
                  </a:lnTo>
                  <a:lnTo>
                    <a:pt x="414396" y="73261"/>
                  </a:lnTo>
                  <a:lnTo>
                    <a:pt x="423548" y="74700"/>
                  </a:lnTo>
                  <a:lnTo>
                    <a:pt x="433547" y="72575"/>
                  </a:lnTo>
                  <a:lnTo>
                    <a:pt x="444393" y="66908"/>
                  </a:lnTo>
                  <a:lnTo>
                    <a:pt x="450583" y="60985"/>
                  </a:lnTo>
                  <a:lnTo>
                    <a:pt x="452110" y="54817"/>
                  </a:lnTo>
                  <a:lnTo>
                    <a:pt x="453901" y="51072"/>
                  </a:lnTo>
                  <a:lnTo>
                    <a:pt x="455967" y="49754"/>
                  </a:lnTo>
                  <a:lnTo>
                    <a:pt x="461715" y="48999"/>
                  </a:lnTo>
                  <a:lnTo>
                    <a:pt x="471151" y="48795"/>
                  </a:lnTo>
                  <a:lnTo>
                    <a:pt x="479356" y="50740"/>
                  </a:lnTo>
                  <a:lnTo>
                    <a:pt x="489821" y="56866"/>
                  </a:lnTo>
                  <a:lnTo>
                    <a:pt x="496426" y="52789"/>
                  </a:lnTo>
                  <a:lnTo>
                    <a:pt x="507762" y="45809"/>
                  </a:lnTo>
                  <a:lnTo>
                    <a:pt x="519180" y="42112"/>
                  </a:lnTo>
                  <a:lnTo>
                    <a:pt x="530050" y="42088"/>
                  </a:lnTo>
                  <a:lnTo>
                    <a:pt x="538967" y="39431"/>
                  </a:lnTo>
                  <a:lnTo>
                    <a:pt x="545931" y="34157"/>
                  </a:lnTo>
                  <a:lnTo>
                    <a:pt x="553294" y="30798"/>
                  </a:lnTo>
                  <a:lnTo>
                    <a:pt x="561051" y="29376"/>
                  </a:lnTo>
                  <a:lnTo>
                    <a:pt x="568316" y="26837"/>
                  </a:lnTo>
                  <a:lnTo>
                    <a:pt x="578478" y="21348"/>
                  </a:lnTo>
                  <a:lnTo>
                    <a:pt x="588994" y="13361"/>
                  </a:lnTo>
                  <a:lnTo>
                    <a:pt x="599727" y="5221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13" name="ee4p_MR_1_82333">
              <a:extLst>
                <a:ext uri="{FF2B5EF4-FFF2-40B4-BE49-F238E27FC236}">
                  <a16:creationId xmlns:a16="http://schemas.microsoft.com/office/drawing/2014/main" id="{37994BB9-F440-8162-4672-DE35527D6445}"/>
                </a:ext>
              </a:extLst>
            </p:cNvPr>
            <p:cNvSpPr>
              <a:spLocks noChangeAspect="1"/>
            </p:cNvSpPr>
            <p:nvPr>
              <p:custDataLst>
                <p:tags r:id="rId141"/>
              </p:custDataLst>
            </p:nvPr>
          </p:nvSpPr>
          <p:spPr>
            <a:xfrm>
              <a:off x="6040846" y="3879803"/>
              <a:ext cx="339934" cy="374265"/>
            </a:xfrm>
            <a:custGeom>
              <a:avLst/>
              <a:gdLst>
                <a:gd name="connsiteX0" fmla="*/ 42663 w 725034"/>
                <a:gd name="connsiteY0" fmla="*/ 464647 h 777097"/>
                <a:gd name="connsiteX1" fmla="*/ 40904 w 725034"/>
                <a:gd name="connsiteY1" fmla="*/ 474482 h 777097"/>
                <a:gd name="connsiteX2" fmla="*/ 37100 w 725034"/>
                <a:gd name="connsiteY2" fmla="*/ 480463 h 777097"/>
                <a:gd name="connsiteX3" fmla="*/ 35418 w 725034"/>
                <a:gd name="connsiteY3" fmla="*/ 478179 h 777097"/>
                <a:gd name="connsiteX4" fmla="*/ 34764 w 725034"/>
                <a:gd name="connsiteY4" fmla="*/ 474244 h 777097"/>
                <a:gd name="connsiteX5" fmla="*/ 38129 w 725034"/>
                <a:gd name="connsiteY5" fmla="*/ 468606 h 777097"/>
                <a:gd name="connsiteX6" fmla="*/ 39722 w 725034"/>
                <a:gd name="connsiteY6" fmla="*/ 465692 h 777097"/>
                <a:gd name="connsiteX7" fmla="*/ 496370 w 725034"/>
                <a:gd name="connsiteY7" fmla="*/ 0 h 777097"/>
                <a:gd name="connsiteX8" fmla="*/ 507507 w 725034"/>
                <a:gd name="connsiteY8" fmla="*/ 7053 h 777097"/>
                <a:gd name="connsiteX9" fmla="*/ 518644 w 725034"/>
                <a:gd name="connsiteY9" fmla="*/ 14103 h 777097"/>
                <a:gd name="connsiteX10" fmla="*/ 529782 w 725034"/>
                <a:gd name="connsiteY10" fmla="*/ 21147 h 777097"/>
                <a:gd name="connsiteX11" fmla="*/ 540922 w 725034"/>
                <a:gd name="connsiteY11" fmla="*/ 28189 h 777097"/>
                <a:gd name="connsiteX12" fmla="*/ 552059 w 725034"/>
                <a:gd name="connsiteY12" fmla="*/ 35226 h 777097"/>
                <a:gd name="connsiteX13" fmla="*/ 563194 w 725034"/>
                <a:gd name="connsiteY13" fmla="*/ 42260 h 777097"/>
                <a:gd name="connsiteX14" fmla="*/ 574334 w 725034"/>
                <a:gd name="connsiteY14" fmla="*/ 49288 h 777097"/>
                <a:gd name="connsiteX15" fmla="*/ 585474 w 725034"/>
                <a:gd name="connsiteY15" fmla="*/ 56311 h 777097"/>
                <a:gd name="connsiteX16" fmla="*/ 596612 w 725034"/>
                <a:gd name="connsiteY16" fmla="*/ 63332 h 777097"/>
                <a:gd name="connsiteX17" fmla="*/ 607749 w 725034"/>
                <a:gd name="connsiteY17" fmla="*/ 70347 h 777097"/>
                <a:gd name="connsiteX18" fmla="*/ 618889 w 725034"/>
                <a:gd name="connsiteY18" fmla="*/ 77357 h 777097"/>
                <a:gd name="connsiteX19" fmla="*/ 630026 w 725034"/>
                <a:gd name="connsiteY19" fmla="*/ 84369 h 777097"/>
                <a:gd name="connsiteX20" fmla="*/ 641164 w 725034"/>
                <a:gd name="connsiteY20" fmla="*/ 91371 h 777097"/>
                <a:gd name="connsiteX21" fmla="*/ 652304 w 725034"/>
                <a:gd name="connsiteY21" fmla="*/ 98370 h 777097"/>
                <a:gd name="connsiteX22" fmla="*/ 663441 w 725034"/>
                <a:gd name="connsiteY22" fmla="*/ 105366 h 777097"/>
                <a:gd name="connsiteX23" fmla="*/ 674579 w 725034"/>
                <a:gd name="connsiteY23" fmla="*/ 112357 h 777097"/>
                <a:gd name="connsiteX24" fmla="*/ 683911 w 725034"/>
                <a:gd name="connsiteY24" fmla="*/ 118210 h 777097"/>
                <a:gd name="connsiteX25" fmla="*/ 698238 w 725034"/>
                <a:gd name="connsiteY25" fmla="*/ 127633 h 777097"/>
                <a:gd name="connsiteX26" fmla="*/ 711596 w 725034"/>
                <a:gd name="connsiteY26" fmla="*/ 136408 h 777097"/>
                <a:gd name="connsiteX27" fmla="*/ 725034 w 725034"/>
                <a:gd name="connsiteY27" fmla="*/ 145226 h 777097"/>
                <a:gd name="connsiteX28" fmla="*/ 704286 w 725034"/>
                <a:gd name="connsiteY28" fmla="*/ 145239 h 777097"/>
                <a:gd name="connsiteX29" fmla="*/ 676577 w 725034"/>
                <a:gd name="connsiteY29" fmla="*/ 145252 h 777097"/>
                <a:gd name="connsiteX30" fmla="*/ 657680 w 725034"/>
                <a:gd name="connsiteY30" fmla="*/ 145266 h 777097"/>
                <a:gd name="connsiteX31" fmla="*/ 638287 w 725034"/>
                <a:gd name="connsiteY31" fmla="*/ 145274 h 777097"/>
                <a:gd name="connsiteX32" fmla="*/ 620113 w 725034"/>
                <a:gd name="connsiteY32" fmla="*/ 145287 h 777097"/>
                <a:gd name="connsiteX33" fmla="*/ 621693 w 725034"/>
                <a:gd name="connsiteY33" fmla="*/ 159639 h 777097"/>
                <a:gd name="connsiteX34" fmla="*/ 623378 w 725034"/>
                <a:gd name="connsiteY34" fmla="*/ 175282 h 777097"/>
                <a:gd name="connsiteX35" fmla="*/ 625066 w 725034"/>
                <a:gd name="connsiteY35" fmla="*/ 190908 h 777097"/>
                <a:gd name="connsiteX36" fmla="*/ 626751 w 725034"/>
                <a:gd name="connsiteY36" fmla="*/ 206516 h 777097"/>
                <a:gd name="connsiteX37" fmla="*/ 628438 w 725034"/>
                <a:gd name="connsiteY37" fmla="*/ 222103 h 777097"/>
                <a:gd name="connsiteX38" fmla="*/ 630126 w 725034"/>
                <a:gd name="connsiteY38" fmla="*/ 237673 h 777097"/>
                <a:gd name="connsiteX39" fmla="*/ 631810 w 725034"/>
                <a:gd name="connsiteY39" fmla="*/ 253222 h 777097"/>
                <a:gd name="connsiteX40" fmla="*/ 633495 w 725034"/>
                <a:gd name="connsiteY40" fmla="*/ 268757 h 777097"/>
                <a:gd name="connsiteX41" fmla="*/ 635183 w 725034"/>
                <a:gd name="connsiteY41" fmla="*/ 284269 h 777097"/>
                <a:gd name="connsiteX42" fmla="*/ 636870 w 725034"/>
                <a:gd name="connsiteY42" fmla="*/ 299764 h 777097"/>
                <a:gd name="connsiteX43" fmla="*/ 638555 w 725034"/>
                <a:gd name="connsiteY43" fmla="*/ 315244 h 777097"/>
                <a:gd name="connsiteX44" fmla="*/ 640242 w 725034"/>
                <a:gd name="connsiteY44" fmla="*/ 330704 h 777097"/>
                <a:gd name="connsiteX45" fmla="*/ 641930 w 725034"/>
                <a:gd name="connsiteY45" fmla="*/ 346151 h 777097"/>
                <a:gd name="connsiteX46" fmla="*/ 643617 w 725034"/>
                <a:gd name="connsiteY46" fmla="*/ 361580 h 777097"/>
                <a:gd name="connsiteX47" fmla="*/ 645302 w 725034"/>
                <a:gd name="connsiteY47" fmla="*/ 376990 h 777097"/>
                <a:gd name="connsiteX48" fmla="*/ 646987 w 725034"/>
                <a:gd name="connsiteY48" fmla="*/ 392386 h 777097"/>
                <a:gd name="connsiteX49" fmla="*/ 648677 w 725034"/>
                <a:gd name="connsiteY49" fmla="*/ 407766 h 777097"/>
                <a:gd name="connsiteX50" fmla="*/ 650359 w 725034"/>
                <a:gd name="connsiteY50" fmla="*/ 423130 h 777097"/>
                <a:gd name="connsiteX51" fmla="*/ 652049 w 725034"/>
                <a:gd name="connsiteY51" fmla="*/ 438476 h 777097"/>
                <a:gd name="connsiteX52" fmla="*/ 653734 w 725034"/>
                <a:gd name="connsiteY52" fmla="*/ 453808 h 777097"/>
                <a:gd name="connsiteX53" fmla="*/ 655422 w 725034"/>
                <a:gd name="connsiteY53" fmla="*/ 469124 h 777097"/>
                <a:gd name="connsiteX54" fmla="*/ 657107 w 725034"/>
                <a:gd name="connsiteY54" fmla="*/ 484426 h 777097"/>
                <a:gd name="connsiteX55" fmla="*/ 658791 w 725034"/>
                <a:gd name="connsiteY55" fmla="*/ 499713 h 777097"/>
                <a:gd name="connsiteX56" fmla="*/ 660482 w 725034"/>
                <a:gd name="connsiteY56" fmla="*/ 514986 h 777097"/>
                <a:gd name="connsiteX57" fmla="*/ 662166 w 725034"/>
                <a:gd name="connsiteY57" fmla="*/ 530240 h 777097"/>
                <a:gd name="connsiteX58" fmla="*/ 663854 w 725034"/>
                <a:gd name="connsiteY58" fmla="*/ 545484 h 777097"/>
                <a:gd name="connsiteX59" fmla="*/ 665541 w 725034"/>
                <a:gd name="connsiteY59" fmla="*/ 560711 h 777097"/>
                <a:gd name="connsiteX60" fmla="*/ 667226 w 725034"/>
                <a:gd name="connsiteY60" fmla="*/ 575925 h 777097"/>
                <a:gd name="connsiteX61" fmla="*/ 668914 w 725034"/>
                <a:gd name="connsiteY61" fmla="*/ 591129 h 777097"/>
                <a:gd name="connsiteX62" fmla="*/ 670598 w 725034"/>
                <a:gd name="connsiteY62" fmla="*/ 606319 h 777097"/>
                <a:gd name="connsiteX63" fmla="*/ 672289 w 725034"/>
                <a:gd name="connsiteY63" fmla="*/ 621495 h 777097"/>
                <a:gd name="connsiteX64" fmla="*/ 673971 w 725034"/>
                <a:gd name="connsiteY64" fmla="*/ 636653 h 777097"/>
                <a:gd name="connsiteX65" fmla="*/ 675658 w 725034"/>
                <a:gd name="connsiteY65" fmla="*/ 651806 h 777097"/>
                <a:gd name="connsiteX66" fmla="*/ 677292 w 725034"/>
                <a:gd name="connsiteY66" fmla="*/ 666471 h 777097"/>
                <a:gd name="connsiteX67" fmla="*/ 684345 w 725034"/>
                <a:gd name="connsiteY67" fmla="*/ 674174 h 777097"/>
                <a:gd name="connsiteX68" fmla="*/ 693211 w 725034"/>
                <a:gd name="connsiteY68" fmla="*/ 683852 h 777097"/>
                <a:gd name="connsiteX69" fmla="*/ 690626 w 725034"/>
                <a:gd name="connsiteY69" fmla="*/ 697523 h 777097"/>
                <a:gd name="connsiteX70" fmla="*/ 687543 w 725034"/>
                <a:gd name="connsiteY70" fmla="*/ 713828 h 777097"/>
                <a:gd name="connsiteX71" fmla="*/ 684173 w 725034"/>
                <a:gd name="connsiteY71" fmla="*/ 731610 h 777097"/>
                <a:gd name="connsiteX72" fmla="*/ 671654 w 725034"/>
                <a:gd name="connsiteY72" fmla="*/ 731610 h 777097"/>
                <a:gd name="connsiteX73" fmla="*/ 659573 w 725034"/>
                <a:gd name="connsiteY73" fmla="*/ 731610 h 777097"/>
                <a:gd name="connsiteX74" fmla="*/ 647493 w 725034"/>
                <a:gd name="connsiteY74" fmla="*/ 731613 h 777097"/>
                <a:gd name="connsiteX75" fmla="*/ 635413 w 725034"/>
                <a:gd name="connsiteY75" fmla="*/ 731616 h 777097"/>
                <a:gd name="connsiteX76" fmla="*/ 623338 w 725034"/>
                <a:gd name="connsiteY76" fmla="*/ 731616 h 777097"/>
                <a:gd name="connsiteX77" fmla="*/ 611258 w 725034"/>
                <a:gd name="connsiteY77" fmla="*/ 731616 h 777097"/>
                <a:gd name="connsiteX78" fmla="*/ 599178 w 725034"/>
                <a:gd name="connsiteY78" fmla="*/ 731616 h 777097"/>
                <a:gd name="connsiteX79" fmla="*/ 587097 w 725034"/>
                <a:gd name="connsiteY79" fmla="*/ 731616 h 777097"/>
                <a:gd name="connsiteX80" fmla="*/ 575017 w 725034"/>
                <a:gd name="connsiteY80" fmla="*/ 731616 h 777097"/>
                <a:gd name="connsiteX81" fmla="*/ 562940 w 725034"/>
                <a:gd name="connsiteY81" fmla="*/ 731621 h 777097"/>
                <a:gd name="connsiteX82" fmla="*/ 550857 w 725034"/>
                <a:gd name="connsiteY82" fmla="*/ 731621 h 777097"/>
                <a:gd name="connsiteX83" fmla="*/ 538779 w 725034"/>
                <a:gd name="connsiteY83" fmla="*/ 731621 h 777097"/>
                <a:gd name="connsiteX84" fmla="*/ 526702 w 725034"/>
                <a:gd name="connsiteY84" fmla="*/ 731621 h 777097"/>
                <a:gd name="connsiteX85" fmla="*/ 514621 w 725034"/>
                <a:gd name="connsiteY85" fmla="*/ 731621 h 777097"/>
                <a:gd name="connsiteX86" fmla="*/ 502541 w 725034"/>
                <a:gd name="connsiteY86" fmla="*/ 731621 h 777097"/>
                <a:gd name="connsiteX87" fmla="*/ 490461 w 725034"/>
                <a:gd name="connsiteY87" fmla="*/ 731624 h 777097"/>
                <a:gd name="connsiteX88" fmla="*/ 478381 w 725034"/>
                <a:gd name="connsiteY88" fmla="*/ 731624 h 777097"/>
                <a:gd name="connsiteX89" fmla="*/ 467144 w 725034"/>
                <a:gd name="connsiteY89" fmla="*/ 731624 h 777097"/>
                <a:gd name="connsiteX90" fmla="*/ 460220 w 725034"/>
                <a:gd name="connsiteY90" fmla="*/ 731214 h 777097"/>
                <a:gd name="connsiteX91" fmla="*/ 457748 w 725034"/>
                <a:gd name="connsiteY91" fmla="*/ 729829 h 777097"/>
                <a:gd name="connsiteX92" fmla="*/ 456850 w 725034"/>
                <a:gd name="connsiteY92" fmla="*/ 720626 h 777097"/>
                <a:gd name="connsiteX93" fmla="*/ 454791 w 725034"/>
                <a:gd name="connsiteY93" fmla="*/ 721218 h 777097"/>
                <a:gd name="connsiteX94" fmla="*/ 452350 w 725034"/>
                <a:gd name="connsiteY94" fmla="*/ 723923 h 777097"/>
                <a:gd name="connsiteX95" fmla="*/ 451097 w 725034"/>
                <a:gd name="connsiteY95" fmla="*/ 726845 h 777097"/>
                <a:gd name="connsiteX96" fmla="*/ 451533 w 725034"/>
                <a:gd name="connsiteY96" fmla="*/ 730678 h 777097"/>
                <a:gd name="connsiteX97" fmla="*/ 451145 w 725034"/>
                <a:gd name="connsiteY97" fmla="*/ 733919 h 777097"/>
                <a:gd name="connsiteX98" fmla="*/ 443391 w 725034"/>
                <a:gd name="connsiteY98" fmla="*/ 735192 h 777097"/>
                <a:gd name="connsiteX99" fmla="*/ 432893 w 725034"/>
                <a:gd name="connsiteY99" fmla="*/ 737361 h 777097"/>
                <a:gd name="connsiteX100" fmla="*/ 421855 w 725034"/>
                <a:gd name="connsiteY100" fmla="*/ 739038 h 777097"/>
                <a:gd name="connsiteX101" fmla="*/ 410715 w 725034"/>
                <a:gd name="connsiteY101" fmla="*/ 738438 h 777097"/>
                <a:gd name="connsiteX102" fmla="*/ 406912 w 725034"/>
                <a:gd name="connsiteY102" fmla="*/ 737691 h 777097"/>
                <a:gd name="connsiteX103" fmla="*/ 402862 w 725034"/>
                <a:gd name="connsiteY103" fmla="*/ 736477 h 777097"/>
                <a:gd name="connsiteX104" fmla="*/ 393996 w 725034"/>
                <a:gd name="connsiteY104" fmla="*/ 735149 h 777097"/>
                <a:gd name="connsiteX105" fmla="*/ 389177 w 725034"/>
                <a:gd name="connsiteY105" fmla="*/ 735036 h 777097"/>
                <a:gd name="connsiteX106" fmla="*/ 383646 w 725034"/>
                <a:gd name="connsiteY106" fmla="*/ 735336 h 777097"/>
                <a:gd name="connsiteX107" fmla="*/ 377129 w 725034"/>
                <a:gd name="connsiteY107" fmla="*/ 736076 h 777097"/>
                <a:gd name="connsiteX108" fmla="*/ 375031 w 725034"/>
                <a:gd name="connsiteY108" fmla="*/ 737758 h 777097"/>
                <a:gd name="connsiteX109" fmla="*/ 370108 w 725034"/>
                <a:gd name="connsiteY109" fmla="*/ 744617 h 777097"/>
                <a:gd name="connsiteX110" fmla="*/ 365340 w 725034"/>
                <a:gd name="connsiteY110" fmla="*/ 752570 h 777097"/>
                <a:gd name="connsiteX111" fmla="*/ 362223 w 725034"/>
                <a:gd name="connsiteY111" fmla="*/ 752533 h 777097"/>
                <a:gd name="connsiteX112" fmla="*/ 358719 w 725034"/>
                <a:gd name="connsiteY112" fmla="*/ 748183 h 777097"/>
                <a:gd name="connsiteX113" fmla="*/ 349127 w 725034"/>
                <a:gd name="connsiteY113" fmla="*/ 739957 h 777097"/>
                <a:gd name="connsiteX114" fmla="*/ 337502 w 725034"/>
                <a:gd name="connsiteY114" fmla="*/ 729157 h 777097"/>
                <a:gd name="connsiteX115" fmla="*/ 332196 w 725034"/>
                <a:gd name="connsiteY115" fmla="*/ 723781 h 777097"/>
                <a:gd name="connsiteX116" fmla="*/ 329384 w 725034"/>
                <a:gd name="connsiteY116" fmla="*/ 723087 h 777097"/>
                <a:gd name="connsiteX117" fmla="*/ 323815 w 725034"/>
                <a:gd name="connsiteY117" fmla="*/ 726944 h 777097"/>
                <a:gd name="connsiteX118" fmla="*/ 319128 w 725034"/>
                <a:gd name="connsiteY118" fmla="*/ 730654 h 777097"/>
                <a:gd name="connsiteX119" fmla="*/ 314135 w 725034"/>
                <a:gd name="connsiteY119" fmla="*/ 735901 h 777097"/>
                <a:gd name="connsiteX120" fmla="*/ 311866 w 725034"/>
                <a:gd name="connsiteY120" fmla="*/ 740921 h 777097"/>
                <a:gd name="connsiteX121" fmla="*/ 310071 w 725034"/>
                <a:gd name="connsiteY121" fmla="*/ 746851 h 777097"/>
                <a:gd name="connsiteX122" fmla="*/ 309273 w 725034"/>
                <a:gd name="connsiteY122" fmla="*/ 753848 h 777097"/>
                <a:gd name="connsiteX123" fmla="*/ 307460 w 725034"/>
                <a:gd name="connsiteY123" fmla="*/ 761977 h 777097"/>
                <a:gd name="connsiteX124" fmla="*/ 303429 w 725034"/>
                <a:gd name="connsiteY124" fmla="*/ 768531 h 777097"/>
                <a:gd name="connsiteX125" fmla="*/ 298650 w 725034"/>
                <a:gd name="connsiteY125" fmla="*/ 773492 h 777097"/>
                <a:gd name="connsiteX126" fmla="*/ 295101 w 725034"/>
                <a:gd name="connsiteY126" fmla="*/ 775828 h 777097"/>
                <a:gd name="connsiteX127" fmla="*/ 293730 w 725034"/>
                <a:gd name="connsiteY127" fmla="*/ 777097 h 777097"/>
                <a:gd name="connsiteX128" fmla="*/ 283310 w 725034"/>
                <a:gd name="connsiteY128" fmla="*/ 773246 h 777097"/>
                <a:gd name="connsiteX129" fmla="*/ 282011 w 725034"/>
                <a:gd name="connsiteY129" fmla="*/ 772764 h 777097"/>
                <a:gd name="connsiteX130" fmla="*/ 275724 w 725034"/>
                <a:gd name="connsiteY130" fmla="*/ 768403 h 777097"/>
                <a:gd name="connsiteX131" fmla="*/ 272692 w 725034"/>
                <a:gd name="connsiteY131" fmla="*/ 763220 h 777097"/>
                <a:gd name="connsiteX132" fmla="*/ 267737 w 725034"/>
                <a:gd name="connsiteY132" fmla="*/ 759323 h 777097"/>
                <a:gd name="connsiteX133" fmla="*/ 260861 w 725034"/>
                <a:gd name="connsiteY133" fmla="*/ 756714 h 777097"/>
                <a:gd name="connsiteX134" fmla="*/ 256383 w 725034"/>
                <a:gd name="connsiteY134" fmla="*/ 753735 h 777097"/>
                <a:gd name="connsiteX135" fmla="*/ 254304 w 725034"/>
                <a:gd name="connsiteY135" fmla="*/ 750379 h 777097"/>
                <a:gd name="connsiteX136" fmla="*/ 251765 w 725034"/>
                <a:gd name="connsiteY136" fmla="*/ 748145 h 777097"/>
                <a:gd name="connsiteX137" fmla="*/ 249081 w 725034"/>
                <a:gd name="connsiteY137" fmla="*/ 746993 h 777097"/>
                <a:gd name="connsiteX138" fmla="*/ 248837 w 725034"/>
                <a:gd name="connsiteY138" fmla="*/ 745788 h 777097"/>
                <a:gd name="connsiteX139" fmla="*/ 249472 w 725034"/>
                <a:gd name="connsiteY139" fmla="*/ 744138 h 777097"/>
                <a:gd name="connsiteX140" fmla="*/ 248834 w 725034"/>
                <a:gd name="connsiteY140" fmla="*/ 741060 h 777097"/>
                <a:gd name="connsiteX141" fmla="*/ 244798 w 725034"/>
                <a:gd name="connsiteY141" fmla="*/ 734235 h 777097"/>
                <a:gd name="connsiteX142" fmla="*/ 241037 w 725034"/>
                <a:gd name="connsiteY142" fmla="*/ 731091 h 777097"/>
                <a:gd name="connsiteX143" fmla="*/ 237826 w 725034"/>
                <a:gd name="connsiteY143" fmla="*/ 731592 h 777097"/>
                <a:gd name="connsiteX144" fmla="*/ 236004 w 725034"/>
                <a:gd name="connsiteY144" fmla="*/ 730751 h 777097"/>
                <a:gd name="connsiteX145" fmla="*/ 234903 w 725034"/>
                <a:gd name="connsiteY145" fmla="*/ 729248 h 777097"/>
                <a:gd name="connsiteX146" fmla="*/ 234467 w 725034"/>
                <a:gd name="connsiteY146" fmla="*/ 727033 h 777097"/>
                <a:gd name="connsiteX147" fmla="*/ 232268 w 725034"/>
                <a:gd name="connsiteY147" fmla="*/ 725120 h 777097"/>
                <a:gd name="connsiteX148" fmla="*/ 228475 w 725034"/>
                <a:gd name="connsiteY148" fmla="*/ 724295 h 777097"/>
                <a:gd name="connsiteX149" fmla="*/ 225419 w 725034"/>
                <a:gd name="connsiteY149" fmla="*/ 719230 h 777097"/>
                <a:gd name="connsiteX150" fmla="*/ 223110 w 725034"/>
                <a:gd name="connsiteY150" fmla="*/ 709917 h 777097"/>
                <a:gd name="connsiteX151" fmla="*/ 220115 w 725034"/>
                <a:gd name="connsiteY151" fmla="*/ 702653 h 777097"/>
                <a:gd name="connsiteX152" fmla="*/ 216437 w 725034"/>
                <a:gd name="connsiteY152" fmla="*/ 697446 h 777097"/>
                <a:gd name="connsiteX153" fmla="*/ 213804 w 725034"/>
                <a:gd name="connsiteY153" fmla="*/ 695506 h 777097"/>
                <a:gd name="connsiteX154" fmla="*/ 211860 w 725034"/>
                <a:gd name="connsiteY154" fmla="*/ 695147 h 777097"/>
                <a:gd name="connsiteX155" fmla="*/ 211198 w 725034"/>
                <a:gd name="connsiteY155" fmla="*/ 694341 h 777097"/>
                <a:gd name="connsiteX156" fmla="*/ 210673 w 725034"/>
                <a:gd name="connsiteY156" fmla="*/ 692828 h 777097"/>
                <a:gd name="connsiteX157" fmla="*/ 207799 w 725034"/>
                <a:gd name="connsiteY157" fmla="*/ 692289 h 777097"/>
                <a:gd name="connsiteX158" fmla="*/ 203771 w 725034"/>
                <a:gd name="connsiteY158" fmla="*/ 693854 h 777097"/>
                <a:gd name="connsiteX159" fmla="*/ 200149 w 725034"/>
                <a:gd name="connsiteY159" fmla="*/ 693331 h 777097"/>
                <a:gd name="connsiteX160" fmla="*/ 198357 w 725034"/>
                <a:gd name="connsiteY160" fmla="*/ 690787 h 777097"/>
                <a:gd name="connsiteX161" fmla="*/ 195888 w 725034"/>
                <a:gd name="connsiteY161" fmla="*/ 690562 h 777097"/>
                <a:gd name="connsiteX162" fmla="*/ 192738 w 725034"/>
                <a:gd name="connsiteY162" fmla="*/ 692656 h 777097"/>
                <a:gd name="connsiteX163" fmla="*/ 189264 w 725034"/>
                <a:gd name="connsiteY163" fmla="*/ 692040 h 777097"/>
                <a:gd name="connsiteX164" fmla="*/ 185465 w 725034"/>
                <a:gd name="connsiteY164" fmla="*/ 688713 h 777097"/>
                <a:gd name="connsiteX165" fmla="*/ 183360 w 725034"/>
                <a:gd name="connsiteY165" fmla="*/ 685411 h 777097"/>
                <a:gd name="connsiteX166" fmla="*/ 182950 w 725034"/>
                <a:gd name="connsiteY166" fmla="*/ 682135 h 777097"/>
                <a:gd name="connsiteX167" fmla="*/ 176401 w 725034"/>
                <a:gd name="connsiteY167" fmla="*/ 675583 h 777097"/>
                <a:gd name="connsiteX168" fmla="*/ 163700 w 725034"/>
                <a:gd name="connsiteY168" fmla="*/ 665764 h 777097"/>
                <a:gd name="connsiteX169" fmla="*/ 149859 w 725034"/>
                <a:gd name="connsiteY169" fmla="*/ 661157 h 777097"/>
                <a:gd name="connsiteX170" fmla="*/ 134876 w 725034"/>
                <a:gd name="connsiteY170" fmla="*/ 661770 h 777097"/>
                <a:gd name="connsiteX171" fmla="*/ 126473 w 725034"/>
                <a:gd name="connsiteY171" fmla="*/ 661307 h 777097"/>
                <a:gd name="connsiteX172" fmla="*/ 124641 w 725034"/>
                <a:gd name="connsiteY172" fmla="*/ 659761 h 777097"/>
                <a:gd name="connsiteX173" fmla="*/ 122798 w 725034"/>
                <a:gd name="connsiteY173" fmla="*/ 659882 h 777097"/>
                <a:gd name="connsiteX174" fmla="*/ 120947 w 725034"/>
                <a:gd name="connsiteY174" fmla="*/ 661674 h 777097"/>
                <a:gd name="connsiteX175" fmla="*/ 118973 w 725034"/>
                <a:gd name="connsiteY175" fmla="*/ 662070 h 777097"/>
                <a:gd name="connsiteX176" fmla="*/ 116881 w 725034"/>
                <a:gd name="connsiteY176" fmla="*/ 661071 h 777097"/>
                <a:gd name="connsiteX177" fmla="*/ 115574 w 725034"/>
                <a:gd name="connsiteY177" fmla="*/ 661829 h 777097"/>
                <a:gd name="connsiteX178" fmla="*/ 115052 w 725034"/>
                <a:gd name="connsiteY178" fmla="*/ 664344 h 777097"/>
                <a:gd name="connsiteX179" fmla="*/ 109775 w 725034"/>
                <a:gd name="connsiteY179" fmla="*/ 665622 h 777097"/>
                <a:gd name="connsiteX180" fmla="*/ 99738 w 725034"/>
                <a:gd name="connsiteY180" fmla="*/ 665659 h 777097"/>
                <a:gd name="connsiteX181" fmla="*/ 91641 w 725034"/>
                <a:gd name="connsiteY181" fmla="*/ 667205 h 777097"/>
                <a:gd name="connsiteX182" fmla="*/ 85475 w 725034"/>
                <a:gd name="connsiteY182" fmla="*/ 670248 h 777097"/>
                <a:gd name="connsiteX183" fmla="*/ 76746 w 725034"/>
                <a:gd name="connsiteY183" fmla="*/ 671555 h 777097"/>
                <a:gd name="connsiteX184" fmla="*/ 65445 w 725034"/>
                <a:gd name="connsiteY184" fmla="*/ 671126 h 777097"/>
                <a:gd name="connsiteX185" fmla="*/ 58634 w 725034"/>
                <a:gd name="connsiteY185" fmla="*/ 670012 h 777097"/>
                <a:gd name="connsiteX186" fmla="*/ 56306 w 725034"/>
                <a:gd name="connsiteY186" fmla="*/ 668207 h 777097"/>
                <a:gd name="connsiteX187" fmla="*/ 53046 w 725034"/>
                <a:gd name="connsiteY187" fmla="*/ 667783 h 777097"/>
                <a:gd name="connsiteX188" fmla="*/ 48859 w 725034"/>
                <a:gd name="connsiteY188" fmla="*/ 668742 h 777097"/>
                <a:gd name="connsiteX189" fmla="*/ 45112 w 725034"/>
                <a:gd name="connsiteY189" fmla="*/ 673609 h 777097"/>
                <a:gd name="connsiteX190" fmla="*/ 41807 w 725034"/>
                <a:gd name="connsiteY190" fmla="*/ 682376 h 777097"/>
                <a:gd name="connsiteX191" fmla="*/ 39067 w 725034"/>
                <a:gd name="connsiteY191" fmla="*/ 687377 h 777097"/>
                <a:gd name="connsiteX192" fmla="*/ 36897 w 725034"/>
                <a:gd name="connsiteY192" fmla="*/ 688614 h 777097"/>
                <a:gd name="connsiteX193" fmla="*/ 34583 w 725034"/>
                <a:gd name="connsiteY193" fmla="*/ 695137 h 777097"/>
                <a:gd name="connsiteX194" fmla="*/ 33281 w 725034"/>
                <a:gd name="connsiteY194" fmla="*/ 706060 h 777097"/>
                <a:gd name="connsiteX195" fmla="*/ 31315 w 725034"/>
                <a:gd name="connsiteY195" fmla="*/ 710854 h 777097"/>
                <a:gd name="connsiteX196" fmla="*/ 31286 w 725034"/>
                <a:gd name="connsiteY196" fmla="*/ 683614 h 777097"/>
                <a:gd name="connsiteX197" fmla="*/ 34511 w 725034"/>
                <a:gd name="connsiteY197" fmla="*/ 673432 h 777097"/>
                <a:gd name="connsiteX198" fmla="*/ 35558 w 725034"/>
                <a:gd name="connsiteY198" fmla="*/ 664470 h 777097"/>
                <a:gd name="connsiteX199" fmla="*/ 42482 w 725034"/>
                <a:gd name="connsiteY199" fmla="*/ 644689 h 777097"/>
                <a:gd name="connsiteX200" fmla="*/ 50729 w 725034"/>
                <a:gd name="connsiteY200" fmla="*/ 628465 h 777097"/>
                <a:gd name="connsiteX201" fmla="*/ 58342 w 725034"/>
                <a:gd name="connsiteY201" fmla="*/ 606911 h 777097"/>
                <a:gd name="connsiteX202" fmla="*/ 61221 w 725034"/>
                <a:gd name="connsiteY202" fmla="*/ 586013 h 777097"/>
                <a:gd name="connsiteX203" fmla="*/ 60249 w 725034"/>
                <a:gd name="connsiteY203" fmla="*/ 565511 h 777097"/>
                <a:gd name="connsiteX204" fmla="*/ 57985 w 725034"/>
                <a:gd name="connsiteY204" fmla="*/ 547262 h 777097"/>
                <a:gd name="connsiteX205" fmla="*/ 54126 w 725034"/>
                <a:gd name="connsiteY205" fmla="*/ 535190 h 777097"/>
                <a:gd name="connsiteX206" fmla="*/ 50397 w 725034"/>
                <a:gd name="connsiteY206" fmla="*/ 517699 h 777097"/>
                <a:gd name="connsiteX207" fmla="*/ 44898 w 725034"/>
                <a:gd name="connsiteY207" fmla="*/ 508458 h 777097"/>
                <a:gd name="connsiteX208" fmla="*/ 34813 w 725034"/>
                <a:gd name="connsiteY208" fmla="*/ 500396 h 777097"/>
                <a:gd name="connsiteX209" fmla="*/ 32547 w 725034"/>
                <a:gd name="connsiteY209" fmla="*/ 495671 h 777097"/>
                <a:gd name="connsiteX210" fmla="*/ 34894 w 725034"/>
                <a:gd name="connsiteY210" fmla="*/ 493908 h 777097"/>
                <a:gd name="connsiteX211" fmla="*/ 41025 w 725034"/>
                <a:gd name="connsiteY211" fmla="*/ 492703 h 777097"/>
                <a:gd name="connsiteX212" fmla="*/ 44935 w 725034"/>
                <a:gd name="connsiteY212" fmla="*/ 486405 h 777097"/>
                <a:gd name="connsiteX213" fmla="*/ 36667 w 725034"/>
                <a:gd name="connsiteY213" fmla="*/ 488835 h 777097"/>
                <a:gd name="connsiteX214" fmla="*/ 46232 w 725034"/>
                <a:gd name="connsiteY214" fmla="*/ 469517 h 777097"/>
                <a:gd name="connsiteX215" fmla="*/ 49205 w 725034"/>
                <a:gd name="connsiteY215" fmla="*/ 456347 h 777097"/>
                <a:gd name="connsiteX216" fmla="*/ 48734 w 725034"/>
                <a:gd name="connsiteY216" fmla="*/ 447700 h 777097"/>
                <a:gd name="connsiteX217" fmla="*/ 50552 w 725034"/>
                <a:gd name="connsiteY217" fmla="*/ 442357 h 777097"/>
                <a:gd name="connsiteX218" fmla="*/ 43248 w 725034"/>
                <a:gd name="connsiteY218" fmla="*/ 430761 h 777097"/>
                <a:gd name="connsiteX219" fmla="*/ 37561 w 725034"/>
                <a:gd name="connsiteY219" fmla="*/ 416161 h 777097"/>
                <a:gd name="connsiteX220" fmla="*/ 34634 w 725034"/>
                <a:gd name="connsiteY220" fmla="*/ 413846 h 777097"/>
                <a:gd name="connsiteX221" fmla="*/ 31602 w 725034"/>
                <a:gd name="connsiteY221" fmla="*/ 412628 h 777097"/>
                <a:gd name="connsiteX222" fmla="*/ 31334 w 725034"/>
                <a:gd name="connsiteY222" fmla="*/ 416056 h 777097"/>
                <a:gd name="connsiteX223" fmla="*/ 29689 w 725034"/>
                <a:gd name="connsiteY223" fmla="*/ 419136 h 777097"/>
                <a:gd name="connsiteX224" fmla="*/ 26145 w 725034"/>
                <a:gd name="connsiteY224" fmla="*/ 417283 h 777097"/>
                <a:gd name="connsiteX225" fmla="*/ 19875 w 725034"/>
                <a:gd name="connsiteY225" fmla="*/ 406654 h 777097"/>
                <a:gd name="connsiteX226" fmla="*/ 11127 w 725034"/>
                <a:gd name="connsiteY226" fmla="*/ 389338 h 777097"/>
                <a:gd name="connsiteX227" fmla="*/ 8057 w 725034"/>
                <a:gd name="connsiteY227" fmla="*/ 387562 h 777097"/>
                <a:gd name="connsiteX228" fmla="*/ 5497 w 725034"/>
                <a:gd name="connsiteY228" fmla="*/ 389935 h 777097"/>
                <a:gd name="connsiteX229" fmla="*/ 3892 w 725034"/>
                <a:gd name="connsiteY229" fmla="*/ 392212 h 777097"/>
                <a:gd name="connsiteX230" fmla="*/ 943 w 725034"/>
                <a:gd name="connsiteY230" fmla="*/ 406654 h 777097"/>
                <a:gd name="connsiteX231" fmla="*/ 0 w 725034"/>
                <a:gd name="connsiteY231" fmla="*/ 400925 h 777097"/>
                <a:gd name="connsiteX232" fmla="*/ 1278 w 725034"/>
                <a:gd name="connsiteY232" fmla="*/ 394172 h 777097"/>
                <a:gd name="connsiteX233" fmla="*/ 3437 w 725034"/>
                <a:gd name="connsiteY233" fmla="*/ 385853 h 777097"/>
                <a:gd name="connsiteX234" fmla="*/ 5888 w 725034"/>
                <a:gd name="connsiteY234" fmla="*/ 374282 h 777097"/>
                <a:gd name="connsiteX235" fmla="*/ 13481 w 725034"/>
                <a:gd name="connsiteY235" fmla="*/ 374273 h 777097"/>
                <a:gd name="connsiteX236" fmla="*/ 27061 w 725034"/>
                <a:gd name="connsiteY236" fmla="*/ 374257 h 777097"/>
                <a:gd name="connsiteX237" fmla="*/ 40644 w 725034"/>
                <a:gd name="connsiteY237" fmla="*/ 374239 h 777097"/>
                <a:gd name="connsiteX238" fmla="*/ 54225 w 725034"/>
                <a:gd name="connsiteY238" fmla="*/ 374223 h 777097"/>
                <a:gd name="connsiteX239" fmla="*/ 67805 w 725034"/>
                <a:gd name="connsiteY239" fmla="*/ 374207 h 777097"/>
                <a:gd name="connsiteX240" fmla="*/ 81390 w 725034"/>
                <a:gd name="connsiteY240" fmla="*/ 374188 h 777097"/>
                <a:gd name="connsiteX241" fmla="*/ 94968 w 725034"/>
                <a:gd name="connsiteY241" fmla="*/ 374169 h 777097"/>
                <a:gd name="connsiteX242" fmla="*/ 108551 w 725034"/>
                <a:gd name="connsiteY242" fmla="*/ 374156 h 777097"/>
                <a:gd name="connsiteX243" fmla="*/ 122131 w 725034"/>
                <a:gd name="connsiteY243" fmla="*/ 374137 h 777097"/>
                <a:gd name="connsiteX244" fmla="*/ 135711 w 725034"/>
                <a:gd name="connsiteY244" fmla="*/ 374118 h 777097"/>
                <a:gd name="connsiteX245" fmla="*/ 149297 w 725034"/>
                <a:gd name="connsiteY245" fmla="*/ 374102 h 777097"/>
                <a:gd name="connsiteX246" fmla="*/ 162877 w 725034"/>
                <a:gd name="connsiteY246" fmla="*/ 374086 h 777097"/>
                <a:gd name="connsiteX247" fmla="*/ 176457 w 725034"/>
                <a:gd name="connsiteY247" fmla="*/ 374067 h 777097"/>
                <a:gd name="connsiteX248" fmla="*/ 190040 w 725034"/>
                <a:gd name="connsiteY248" fmla="*/ 374051 h 777097"/>
                <a:gd name="connsiteX249" fmla="*/ 203623 w 725034"/>
                <a:gd name="connsiteY249" fmla="*/ 374035 h 777097"/>
                <a:gd name="connsiteX250" fmla="*/ 217203 w 725034"/>
                <a:gd name="connsiteY250" fmla="*/ 374016 h 777097"/>
                <a:gd name="connsiteX251" fmla="*/ 230784 w 725034"/>
                <a:gd name="connsiteY251" fmla="*/ 374000 h 777097"/>
                <a:gd name="connsiteX252" fmla="*/ 239741 w 725034"/>
                <a:gd name="connsiteY252" fmla="*/ 373992 h 777097"/>
                <a:gd name="connsiteX253" fmla="*/ 239216 w 725034"/>
                <a:gd name="connsiteY253" fmla="*/ 365758 h 777097"/>
                <a:gd name="connsiteX254" fmla="*/ 238793 w 725034"/>
                <a:gd name="connsiteY254" fmla="*/ 359231 h 777097"/>
                <a:gd name="connsiteX255" fmla="*/ 238227 w 725034"/>
                <a:gd name="connsiteY255" fmla="*/ 350437 h 777097"/>
                <a:gd name="connsiteX256" fmla="*/ 237668 w 725034"/>
                <a:gd name="connsiteY256" fmla="*/ 341684 h 777097"/>
                <a:gd name="connsiteX257" fmla="*/ 237110 w 725034"/>
                <a:gd name="connsiteY257" fmla="*/ 332930 h 777097"/>
                <a:gd name="connsiteX258" fmla="*/ 236580 w 725034"/>
                <a:gd name="connsiteY258" fmla="*/ 324696 h 777097"/>
                <a:gd name="connsiteX259" fmla="*/ 236052 w 725034"/>
                <a:gd name="connsiteY259" fmla="*/ 316470 h 777097"/>
                <a:gd name="connsiteX260" fmla="*/ 235562 w 725034"/>
                <a:gd name="connsiteY260" fmla="*/ 308831 h 777097"/>
                <a:gd name="connsiteX261" fmla="*/ 235115 w 725034"/>
                <a:gd name="connsiteY261" fmla="*/ 301811 h 777097"/>
                <a:gd name="connsiteX262" fmla="*/ 234343 w 725034"/>
                <a:gd name="connsiteY262" fmla="*/ 297777 h 777097"/>
                <a:gd name="connsiteX263" fmla="*/ 231464 w 725034"/>
                <a:gd name="connsiteY263" fmla="*/ 289768 h 777097"/>
                <a:gd name="connsiteX264" fmla="*/ 230840 w 725034"/>
                <a:gd name="connsiteY264" fmla="*/ 285782 h 777097"/>
                <a:gd name="connsiteX265" fmla="*/ 231622 w 725034"/>
                <a:gd name="connsiteY265" fmla="*/ 281588 h 777097"/>
                <a:gd name="connsiteX266" fmla="*/ 233540 w 725034"/>
                <a:gd name="connsiteY266" fmla="*/ 277621 h 777097"/>
                <a:gd name="connsiteX267" fmla="*/ 238835 w 725034"/>
                <a:gd name="connsiteY267" fmla="*/ 270373 h 777097"/>
                <a:gd name="connsiteX268" fmla="*/ 246860 w 725034"/>
                <a:gd name="connsiteY268" fmla="*/ 264799 h 777097"/>
                <a:gd name="connsiteX269" fmla="*/ 256125 w 725034"/>
                <a:gd name="connsiteY269" fmla="*/ 258351 h 777097"/>
                <a:gd name="connsiteX270" fmla="*/ 263183 w 725034"/>
                <a:gd name="connsiteY270" fmla="*/ 253439 h 777097"/>
                <a:gd name="connsiteX271" fmla="*/ 266799 w 725034"/>
                <a:gd name="connsiteY271" fmla="*/ 252223 h 777097"/>
                <a:gd name="connsiteX272" fmla="*/ 277843 w 725034"/>
                <a:gd name="connsiteY272" fmla="*/ 250522 h 777097"/>
                <a:gd name="connsiteX273" fmla="*/ 286535 w 725034"/>
                <a:gd name="connsiteY273" fmla="*/ 246804 h 777097"/>
                <a:gd name="connsiteX274" fmla="*/ 294991 w 725034"/>
                <a:gd name="connsiteY274" fmla="*/ 243180 h 777097"/>
                <a:gd name="connsiteX275" fmla="*/ 298543 w 725034"/>
                <a:gd name="connsiteY275" fmla="*/ 241168 h 777097"/>
                <a:gd name="connsiteX276" fmla="*/ 298963 w 725034"/>
                <a:gd name="connsiteY276" fmla="*/ 234357 h 777097"/>
                <a:gd name="connsiteX277" fmla="*/ 298963 w 725034"/>
                <a:gd name="connsiteY277" fmla="*/ 226755 h 777097"/>
                <a:gd name="connsiteX278" fmla="*/ 298963 w 725034"/>
                <a:gd name="connsiteY278" fmla="*/ 218227 h 777097"/>
                <a:gd name="connsiteX279" fmla="*/ 298963 w 725034"/>
                <a:gd name="connsiteY279" fmla="*/ 209690 h 777097"/>
                <a:gd name="connsiteX280" fmla="*/ 298963 w 725034"/>
                <a:gd name="connsiteY280" fmla="*/ 201148 h 777097"/>
                <a:gd name="connsiteX281" fmla="*/ 298963 w 725034"/>
                <a:gd name="connsiteY281" fmla="*/ 192604 h 777097"/>
                <a:gd name="connsiteX282" fmla="*/ 298963 w 725034"/>
                <a:gd name="connsiteY282" fmla="*/ 184051 h 777097"/>
                <a:gd name="connsiteX283" fmla="*/ 298963 w 725034"/>
                <a:gd name="connsiteY283" fmla="*/ 175493 h 777097"/>
                <a:gd name="connsiteX284" fmla="*/ 298963 w 725034"/>
                <a:gd name="connsiteY284" fmla="*/ 166927 h 777097"/>
                <a:gd name="connsiteX285" fmla="*/ 298963 w 725034"/>
                <a:gd name="connsiteY285" fmla="*/ 158358 h 777097"/>
                <a:gd name="connsiteX286" fmla="*/ 298963 w 725034"/>
                <a:gd name="connsiteY286" fmla="*/ 149784 h 777097"/>
                <a:gd name="connsiteX287" fmla="*/ 298963 w 725034"/>
                <a:gd name="connsiteY287" fmla="*/ 141205 h 777097"/>
                <a:gd name="connsiteX288" fmla="*/ 298963 w 725034"/>
                <a:gd name="connsiteY288" fmla="*/ 132618 h 777097"/>
                <a:gd name="connsiteX289" fmla="*/ 298963 w 725034"/>
                <a:gd name="connsiteY289" fmla="*/ 124025 h 777097"/>
                <a:gd name="connsiteX290" fmla="*/ 298963 w 725034"/>
                <a:gd name="connsiteY290" fmla="*/ 115424 h 777097"/>
                <a:gd name="connsiteX291" fmla="*/ 298963 w 725034"/>
                <a:gd name="connsiteY291" fmla="*/ 106821 h 777097"/>
                <a:gd name="connsiteX292" fmla="*/ 298963 w 725034"/>
                <a:gd name="connsiteY292" fmla="*/ 98209 h 777097"/>
                <a:gd name="connsiteX293" fmla="*/ 298963 w 725034"/>
                <a:gd name="connsiteY293" fmla="*/ 89589 h 777097"/>
                <a:gd name="connsiteX294" fmla="*/ 298963 w 725034"/>
                <a:gd name="connsiteY294" fmla="*/ 82047 h 777097"/>
                <a:gd name="connsiteX295" fmla="*/ 307827 w 725034"/>
                <a:gd name="connsiteY295" fmla="*/ 82047 h 777097"/>
                <a:gd name="connsiteX296" fmla="*/ 318860 w 725034"/>
                <a:gd name="connsiteY296" fmla="*/ 82047 h 777097"/>
                <a:gd name="connsiteX297" fmla="*/ 329895 w 725034"/>
                <a:gd name="connsiteY297" fmla="*/ 82047 h 777097"/>
                <a:gd name="connsiteX298" fmla="*/ 340934 w 725034"/>
                <a:gd name="connsiteY298" fmla="*/ 82047 h 777097"/>
                <a:gd name="connsiteX299" fmla="*/ 351969 w 725034"/>
                <a:gd name="connsiteY299" fmla="*/ 82044 h 777097"/>
                <a:gd name="connsiteX300" fmla="*/ 363002 w 725034"/>
                <a:gd name="connsiteY300" fmla="*/ 82044 h 777097"/>
                <a:gd name="connsiteX301" fmla="*/ 374038 w 725034"/>
                <a:gd name="connsiteY301" fmla="*/ 82044 h 777097"/>
                <a:gd name="connsiteX302" fmla="*/ 385073 w 725034"/>
                <a:gd name="connsiteY302" fmla="*/ 82044 h 777097"/>
                <a:gd name="connsiteX303" fmla="*/ 396109 w 725034"/>
                <a:gd name="connsiteY303" fmla="*/ 82044 h 777097"/>
                <a:gd name="connsiteX304" fmla="*/ 407145 w 725034"/>
                <a:gd name="connsiteY304" fmla="*/ 82044 h 777097"/>
                <a:gd name="connsiteX305" fmla="*/ 418177 w 725034"/>
                <a:gd name="connsiteY305" fmla="*/ 82044 h 777097"/>
                <a:gd name="connsiteX306" fmla="*/ 429213 w 725034"/>
                <a:gd name="connsiteY306" fmla="*/ 82044 h 777097"/>
                <a:gd name="connsiteX307" fmla="*/ 440249 w 725034"/>
                <a:gd name="connsiteY307" fmla="*/ 82041 h 777097"/>
                <a:gd name="connsiteX308" fmla="*/ 451284 w 725034"/>
                <a:gd name="connsiteY308" fmla="*/ 82041 h 777097"/>
                <a:gd name="connsiteX309" fmla="*/ 462323 w 725034"/>
                <a:gd name="connsiteY309" fmla="*/ 82041 h 777097"/>
                <a:gd name="connsiteX310" fmla="*/ 473356 w 725034"/>
                <a:gd name="connsiteY310" fmla="*/ 82041 h 777097"/>
                <a:gd name="connsiteX311" fmla="*/ 484388 w 725034"/>
                <a:gd name="connsiteY311" fmla="*/ 82041 h 777097"/>
                <a:gd name="connsiteX312" fmla="*/ 496437 w 725034"/>
                <a:gd name="connsiteY312" fmla="*/ 82041 h 777097"/>
                <a:gd name="connsiteX313" fmla="*/ 496442 w 725034"/>
                <a:gd name="connsiteY313" fmla="*/ 74820 h 777097"/>
                <a:gd name="connsiteX314" fmla="*/ 496442 w 725034"/>
                <a:gd name="connsiteY314" fmla="*/ 64435 h 777097"/>
                <a:gd name="connsiteX315" fmla="*/ 496429 w 725034"/>
                <a:gd name="connsiteY315" fmla="*/ 50180 h 777097"/>
                <a:gd name="connsiteX316" fmla="*/ 496412 w 725034"/>
                <a:gd name="connsiteY316" fmla="*/ 35852 h 777097"/>
                <a:gd name="connsiteX317" fmla="*/ 496399 w 725034"/>
                <a:gd name="connsiteY317" fmla="*/ 23239 h 777097"/>
                <a:gd name="connsiteX318" fmla="*/ 496383 w 725034"/>
                <a:gd name="connsiteY318" fmla="*/ 10626 h 777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</a:cxnLst>
              <a:rect l="l" t="t" r="r" b="b"/>
              <a:pathLst>
                <a:path w="725034" h="777097">
                  <a:moveTo>
                    <a:pt x="42663" y="464647"/>
                  </a:moveTo>
                  <a:lnTo>
                    <a:pt x="40904" y="474482"/>
                  </a:lnTo>
                  <a:lnTo>
                    <a:pt x="37100" y="480463"/>
                  </a:lnTo>
                  <a:lnTo>
                    <a:pt x="35418" y="478179"/>
                  </a:lnTo>
                  <a:lnTo>
                    <a:pt x="34764" y="474244"/>
                  </a:lnTo>
                  <a:lnTo>
                    <a:pt x="38129" y="468606"/>
                  </a:lnTo>
                  <a:lnTo>
                    <a:pt x="39722" y="465692"/>
                  </a:lnTo>
                  <a:close/>
                  <a:moveTo>
                    <a:pt x="496370" y="0"/>
                  </a:moveTo>
                  <a:lnTo>
                    <a:pt x="507507" y="7053"/>
                  </a:lnTo>
                  <a:lnTo>
                    <a:pt x="518644" y="14103"/>
                  </a:lnTo>
                  <a:lnTo>
                    <a:pt x="529782" y="21147"/>
                  </a:lnTo>
                  <a:lnTo>
                    <a:pt x="540922" y="28189"/>
                  </a:lnTo>
                  <a:lnTo>
                    <a:pt x="552059" y="35226"/>
                  </a:lnTo>
                  <a:lnTo>
                    <a:pt x="563194" y="42260"/>
                  </a:lnTo>
                  <a:lnTo>
                    <a:pt x="574334" y="49288"/>
                  </a:lnTo>
                  <a:lnTo>
                    <a:pt x="585474" y="56311"/>
                  </a:lnTo>
                  <a:lnTo>
                    <a:pt x="596612" y="63332"/>
                  </a:lnTo>
                  <a:lnTo>
                    <a:pt x="607749" y="70347"/>
                  </a:lnTo>
                  <a:lnTo>
                    <a:pt x="618889" y="77357"/>
                  </a:lnTo>
                  <a:lnTo>
                    <a:pt x="630026" y="84369"/>
                  </a:lnTo>
                  <a:lnTo>
                    <a:pt x="641164" y="91371"/>
                  </a:lnTo>
                  <a:lnTo>
                    <a:pt x="652304" y="98370"/>
                  </a:lnTo>
                  <a:lnTo>
                    <a:pt x="663441" y="105366"/>
                  </a:lnTo>
                  <a:lnTo>
                    <a:pt x="674579" y="112357"/>
                  </a:lnTo>
                  <a:lnTo>
                    <a:pt x="683911" y="118210"/>
                  </a:lnTo>
                  <a:lnTo>
                    <a:pt x="698238" y="127633"/>
                  </a:lnTo>
                  <a:lnTo>
                    <a:pt x="711596" y="136408"/>
                  </a:lnTo>
                  <a:lnTo>
                    <a:pt x="725034" y="145226"/>
                  </a:lnTo>
                  <a:lnTo>
                    <a:pt x="704286" y="145239"/>
                  </a:lnTo>
                  <a:lnTo>
                    <a:pt x="676577" y="145252"/>
                  </a:lnTo>
                  <a:lnTo>
                    <a:pt x="657680" y="145266"/>
                  </a:lnTo>
                  <a:lnTo>
                    <a:pt x="638287" y="145274"/>
                  </a:lnTo>
                  <a:lnTo>
                    <a:pt x="620113" y="145287"/>
                  </a:lnTo>
                  <a:lnTo>
                    <a:pt x="621693" y="159639"/>
                  </a:lnTo>
                  <a:lnTo>
                    <a:pt x="623378" y="175282"/>
                  </a:lnTo>
                  <a:lnTo>
                    <a:pt x="625066" y="190908"/>
                  </a:lnTo>
                  <a:lnTo>
                    <a:pt x="626751" y="206516"/>
                  </a:lnTo>
                  <a:lnTo>
                    <a:pt x="628438" y="222103"/>
                  </a:lnTo>
                  <a:lnTo>
                    <a:pt x="630126" y="237673"/>
                  </a:lnTo>
                  <a:lnTo>
                    <a:pt x="631810" y="253222"/>
                  </a:lnTo>
                  <a:lnTo>
                    <a:pt x="633495" y="268757"/>
                  </a:lnTo>
                  <a:lnTo>
                    <a:pt x="635183" y="284269"/>
                  </a:lnTo>
                  <a:lnTo>
                    <a:pt x="636870" y="299764"/>
                  </a:lnTo>
                  <a:lnTo>
                    <a:pt x="638555" y="315244"/>
                  </a:lnTo>
                  <a:lnTo>
                    <a:pt x="640242" y="330704"/>
                  </a:lnTo>
                  <a:lnTo>
                    <a:pt x="641930" y="346151"/>
                  </a:lnTo>
                  <a:lnTo>
                    <a:pt x="643617" y="361580"/>
                  </a:lnTo>
                  <a:lnTo>
                    <a:pt x="645302" y="376990"/>
                  </a:lnTo>
                  <a:lnTo>
                    <a:pt x="646987" y="392386"/>
                  </a:lnTo>
                  <a:lnTo>
                    <a:pt x="648677" y="407766"/>
                  </a:lnTo>
                  <a:lnTo>
                    <a:pt x="650359" y="423130"/>
                  </a:lnTo>
                  <a:lnTo>
                    <a:pt x="652049" y="438476"/>
                  </a:lnTo>
                  <a:lnTo>
                    <a:pt x="653734" y="453808"/>
                  </a:lnTo>
                  <a:lnTo>
                    <a:pt x="655422" y="469124"/>
                  </a:lnTo>
                  <a:lnTo>
                    <a:pt x="657107" y="484426"/>
                  </a:lnTo>
                  <a:lnTo>
                    <a:pt x="658791" y="499713"/>
                  </a:lnTo>
                  <a:lnTo>
                    <a:pt x="660482" y="514986"/>
                  </a:lnTo>
                  <a:lnTo>
                    <a:pt x="662166" y="530240"/>
                  </a:lnTo>
                  <a:lnTo>
                    <a:pt x="663854" y="545484"/>
                  </a:lnTo>
                  <a:lnTo>
                    <a:pt x="665541" y="560711"/>
                  </a:lnTo>
                  <a:lnTo>
                    <a:pt x="667226" y="575925"/>
                  </a:lnTo>
                  <a:lnTo>
                    <a:pt x="668914" y="591129"/>
                  </a:lnTo>
                  <a:lnTo>
                    <a:pt x="670598" y="606319"/>
                  </a:lnTo>
                  <a:lnTo>
                    <a:pt x="672289" y="621495"/>
                  </a:lnTo>
                  <a:lnTo>
                    <a:pt x="673971" y="636653"/>
                  </a:lnTo>
                  <a:lnTo>
                    <a:pt x="675658" y="651806"/>
                  </a:lnTo>
                  <a:lnTo>
                    <a:pt x="677292" y="666471"/>
                  </a:lnTo>
                  <a:lnTo>
                    <a:pt x="684345" y="674174"/>
                  </a:lnTo>
                  <a:lnTo>
                    <a:pt x="693211" y="683852"/>
                  </a:lnTo>
                  <a:lnTo>
                    <a:pt x="690626" y="697523"/>
                  </a:lnTo>
                  <a:lnTo>
                    <a:pt x="687543" y="713828"/>
                  </a:lnTo>
                  <a:lnTo>
                    <a:pt x="684173" y="731610"/>
                  </a:lnTo>
                  <a:lnTo>
                    <a:pt x="671654" y="731610"/>
                  </a:lnTo>
                  <a:lnTo>
                    <a:pt x="659573" y="731610"/>
                  </a:lnTo>
                  <a:lnTo>
                    <a:pt x="647493" y="731613"/>
                  </a:lnTo>
                  <a:lnTo>
                    <a:pt x="635413" y="731616"/>
                  </a:lnTo>
                  <a:lnTo>
                    <a:pt x="623338" y="731616"/>
                  </a:lnTo>
                  <a:lnTo>
                    <a:pt x="611258" y="731616"/>
                  </a:lnTo>
                  <a:lnTo>
                    <a:pt x="599178" y="731616"/>
                  </a:lnTo>
                  <a:lnTo>
                    <a:pt x="587097" y="731616"/>
                  </a:lnTo>
                  <a:lnTo>
                    <a:pt x="575017" y="731616"/>
                  </a:lnTo>
                  <a:lnTo>
                    <a:pt x="562940" y="731621"/>
                  </a:lnTo>
                  <a:lnTo>
                    <a:pt x="550857" y="731621"/>
                  </a:lnTo>
                  <a:lnTo>
                    <a:pt x="538779" y="731621"/>
                  </a:lnTo>
                  <a:lnTo>
                    <a:pt x="526702" y="731621"/>
                  </a:lnTo>
                  <a:lnTo>
                    <a:pt x="514621" y="731621"/>
                  </a:lnTo>
                  <a:lnTo>
                    <a:pt x="502541" y="731621"/>
                  </a:lnTo>
                  <a:lnTo>
                    <a:pt x="490461" y="731624"/>
                  </a:lnTo>
                  <a:lnTo>
                    <a:pt x="478381" y="731624"/>
                  </a:lnTo>
                  <a:lnTo>
                    <a:pt x="467144" y="731624"/>
                  </a:lnTo>
                  <a:lnTo>
                    <a:pt x="460220" y="731214"/>
                  </a:lnTo>
                  <a:lnTo>
                    <a:pt x="457748" y="729829"/>
                  </a:lnTo>
                  <a:lnTo>
                    <a:pt x="456850" y="720626"/>
                  </a:lnTo>
                  <a:lnTo>
                    <a:pt x="454791" y="721218"/>
                  </a:lnTo>
                  <a:lnTo>
                    <a:pt x="452350" y="723923"/>
                  </a:lnTo>
                  <a:lnTo>
                    <a:pt x="451097" y="726845"/>
                  </a:lnTo>
                  <a:lnTo>
                    <a:pt x="451533" y="730678"/>
                  </a:lnTo>
                  <a:lnTo>
                    <a:pt x="451145" y="733919"/>
                  </a:lnTo>
                  <a:lnTo>
                    <a:pt x="443391" y="735192"/>
                  </a:lnTo>
                  <a:lnTo>
                    <a:pt x="432893" y="737361"/>
                  </a:lnTo>
                  <a:lnTo>
                    <a:pt x="421855" y="739038"/>
                  </a:lnTo>
                  <a:lnTo>
                    <a:pt x="410715" y="738438"/>
                  </a:lnTo>
                  <a:lnTo>
                    <a:pt x="406912" y="737691"/>
                  </a:lnTo>
                  <a:lnTo>
                    <a:pt x="402862" y="736477"/>
                  </a:lnTo>
                  <a:lnTo>
                    <a:pt x="393996" y="735149"/>
                  </a:lnTo>
                  <a:lnTo>
                    <a:pt x="389177" y="735036"/>
                  </a:lnTo>
                  <a:lnTo>
                    <a:pt x="383646" y="735336"/>
                  </a:lnTo>
                  <a:lnTo>
                    <a:pt x="377129" y="736076"/>
                  </a:lnTo>
                  <a:lnTo>
                    <a:pt x="375031" y="737758"/>
                  </a:lnTo>
                  <a:lnTo>
                    <a:pt x="370108" y="744617"/>
                  </a:lnTo>
                  <a:lnTo>
                    <a:pt x="365340" y="752570"/>
                  </a:lnTo>
                  <a:lnTo>
                    <a:pt x="362223" y="752533"/>
                  </a:lnTo>
                  <a:lnTo>
                    <a:pt x="358719" y="748183"/>
                  </a:lnTo>
                  <a:lnTo>
                    <a:pt x="349127" y="739957"/>
                  </a:lnTo>
                  <a:lnTo>
                    <a:pt x="337502" y="729157"/>
                  </a:lnTo>
                  <a:lnTo>
                    <a:pt x="332196" y="723781"/>
                  </a:lnTo>
                  <a:lnTo>
                    <a:pt x="329384" y="723087"/>
                  </a:lnTo>
                  <a:lnTo>
                    <a:pt x="323815" y="726944"/>
                  </a:lnTo>
                  <a:lnTo>
                    <a:pt x="319128" y="730654"/>
                  </a:lnTo>
                  <a:lnTo>
                    <a:pt x="314135" y="735901"/>
                  </a:lnTo>
                  <a:lnTo>
                    <a:pt x="311866" y="740921"/>
                  </a:lnTo>
                  <a:lnTo>
                    <a:pt x="310071" y="746851"/>
                  </a:lnTo>
                  <a:lnTo>
                    <a:pt x="309273" y="753848"/>
                  </a:lnTo>
                  <a:lnTo>
                    <a:pt x="307460" y="761977"/>
                  </a:lnTo>
                  <a:lnTo>
                    <a:pt x="303429" y="768531"/>
                  </a:lnTo>
                  <a:lnTo>
                    <a:pt x="298650" y="773492"/>
                  </a:lnTo>
                  <a:lnTo>
                    <a:pt x="295101" y="775828"/>
                  </a:lnTo>
                  <a:lnTo>
                    <a:pt x="293730" y="777097"/>
                  </a:lnTo>
                  <a:lnTo>
                    <a:pt x="283310" y="773246"/>
                  </a:lnTo>
                  <a:lnTo>
                    <a:pt x="282011" y="772764"/>
                  </a:lnTo>
                  <a:lnTo>
                    <a:pt x="275724" y="768403"/>
                  </a:lnTo>
                  <a:lnTo>
                    <a:pt x="272692" y="763220"/>
                  </a:lnTo>
                  <a:lnTo>
                    <a:pt x="267737" y="759323"/>
                  </a:lnTo>
                  <a:lnTo>
                    <a:pt x="260861" y="756714"/>
                  </a:lnTo>
                  <a:lnTo>
                    <a:pt x="256383" y="753735"/>
                  </a:lnTo>
                  <a:lnTo>
                    <a:pt x="254304" y="750379"/>
                  </a:lnTo>
                  <a:lnTo>
                    <a:pt x="251765" y="748145"/>
                  </a:lnTo>
                  <a:lnTo>
                    <a:pt x="249081" y="746993"/>
                  </a:lnTo>
                  <a:lnTo>
                    <a:pt x="248837" y="745788"/>
                  </a:lnTo>
                  <a:lnTo>
                    <a:pt x="249472" y="744138"/>
                  </a:lnTo>
                  <a:lnTo>
                    <a:pt x="248834" y="741060"/>
                  </a:lnTo>
                  <a:lnTo>
                    <a:pt x="244798" y="734235"/>
                  </a:lnTo>
                  <a:lnTo>
                    <a:pt x="241037" y="731091"/>
                  </a:lnTo>
                  <a:lnTo>
                    <a:pt x="237826" y="731592"/>
                  </a:lnTo>
                  <a:lnTo>
                    <a:pt x="236004" y="730751"/>
                  </a:lnTo>
                  <a:lnTo>
                    <a:pt x="234903" y="729248"/>
                  </a:lnTo>
                  <a:lnTo>
                    <a:pt x="234467" y="727033"/>
                  </a:lnTo>
                  <a:lnTo>
                    <a:pt x="232268" y="725120"/>
                  </a:lnTo>
                  <a:lnTo>
                    <a:pt x="228475" y="724295"/>
                  </a:lnTo>
                  <a:lnTo>
                    <a:pt x="225419" y="719230"/>
                  </a:lnTo>
                  <a:lnTo>
                    <a:pt x="223110" y="709917"/>
                  </a:lnTo>
                  <a:lnTo>
                    <a:pt x="220115" y="702653"/>
                  </a:lnTo>
                  <a:lnTo>
                    <a:pt x="216437" y="697446"/>
                  </a:lnTo>
                  <a:lnTo>
                    <a:pt x="213804" y="695506"/>
                  </a:lnTo>
                  <a:lnTo>
                    <a:pt x="211860" y="695147"/>
                  </a:lnTo>
                  <a:lnTo>
                    <a:pt x="211198" y="694341"/>
                  </a:lnTo>
                  <a:lnTo>
                    <a:pt x="210673" y="692828"/>
                  </a:lnTo>
                  <a:lnTo>
                    <a:pt x="207799" y="692289"/>
                  </a:lnTo>
                  <a:lnTo>
                    <a:pt x="203771" y="693854"/>
                  </a:lnTo>
                  <a:lnTo>
                    <a:pt x="200149" y="693331"/>
                  </a:lnTo>
                  <a:lnTo>
                    <a:pt x="198357" y="690787"/>
                  </a:lnTo>
                  <a:lnTo>
                    <a:pt x="195888" y="690562"/>
                  </a:lnTo>
                  <a:lnTo>
                    <a:pt x="192738" y="692656"/>
                  </a:lnTo>
                  <a:lnTo>
                    <a:pt x="189264" y="692040"/>
                  </a:lnTo>
                  <a:lnTo>
                    <a:pt x="185465" y="688713"/>
                  </a:lnTo>
                  <a:lnTo>
                    <a:pt x="183360" y="685411"/>
                  </a:lnTo>
                  <a:lnTo>
                    <a:pt x="182950" y="682135"/>
                  </a:lnTo>
                  <a:lnTo>
                    <a:pt x="176401" y="675583"/>
                  </a:lnTo>
                  <a:lnTo>
                    <a:pt x="163700" y="665764"/>
                  </a:lnTo>
                  <a:lnTo>
                    <a:pt x="149859" y="661157"/>
                  </a:lnTo>
                  <a:lnTo>
                    <a:pt x="134876" y="661770"/>
                  </a:lnTo>
                  <a:lnTo>
                    <a:pt x="126473" y="661307"/>
                  </a:lnTo>
                  <a:lnTo>
                    <a:pt x="124641" y="659761"/>
                  </a:lnTo>
                  <a:lnTo>
                    <a:pt x="122798" y="659882"/>
                  </a:lnTo>
                  <a:lnTo>
                    <a:pt x="120947" y="661674"/>
                  </a:lnTo>
                  <a:lnTo>
                    <a:pt x="118973" y="662070"/>
                  </a:lnTo>
                  <a:lnTo>
                    <a:pt x="116881" y="661071"/>
                  </a:lnTo>
                  <a:lnTo>
                    <a:pt x="115574" y="661829"/>
                  </a:lnTo>
                  <a:lnTo>
                    <a:pt x="115052" y="664344"/>
                  </a:lnTo>
                  <a:lnTo>
                    <a:pt x="109775" y="665622"/>
                  </a:lnTo>
                  <a:lnTo>
                    <a:pt x="99738" y="665659"/>
                  </a:lnTo>
                  <a:lnTo>
                    <a:pt x="91641" y="667205"/>
                  </a:lnTo>
                  <a:lnTo>
                    <a:pt x="85475" y="670248"/>
                  </a:lnTo>
                  <a:lnTo>
                    <a:pt x="76746" y="671555"/>
                  </a:lnTo>
                  <a:lnTo>
                    <a:pt x="65445" y="671126"/>
                  </a:lnTo>
                  <a:lnTo>
                    <a:pt x="58634" y="670012"/>
                  </a:lnTo>
                  <a:lnTo>
                    <a:pt x="56306" y="668207"/>
                  </a:lnTo>
                  <a:lnTo>
                    <a:pt x="53046" y="667783"/>
                  </a:lnTo>
                  <a:lnTo>
                    <a:pt x="48859" y="668742"/>
                  </a:lnTo>
                  <a:lnTo>
                    <a:pt x="45112" y="673609"/>
                  </a:lnTo>
                  <a:lnTo>
                    <a:pt x="41807" y="682376"/>
                  </a:lnTo>
                  <a:lnTo>
                    <a:pt x="39067" y="687377"/>
                  </a:lnTo>
                  <a:lnTo>
                    <a:pt x="36897" y="688614"/>
                  </a:lnTo>
                  <a:lnTo>
                    <a:pt x="34583" y="695137"/>
                  </a:lnTo>
                  <a:lnTo>
                    <a:pt x="33281" y="706060"/>
                  </a:lnTo>
                  <a:lnTo>
                    <a:pt x="31315" y="710854"/>
                  </a:lnTo>
                  <a:lnTo>
                    <a:pt x="31286" y="683614"/>
                  </a:lnTo>
                  <a:lnTo>
                    <a:pt x="34511" y="673432"/>
                  </a:lnTo>
                  <a:lnTo>
                    <a:pt x="35558" y="664470"/>
                  </a:lnTo>
                  <a:lnTo>
                    <a:pt x="42482" y="644689"/>
                  </a:lnTo>
                  <a:lnTo>
                    <a:pt x="50729" y="628465"/>
                  </a:lnTo>
                  <a:lnTo>
                    <a:pt x="58342" y="606911"/>
                  </a:lnTo>
                  <a:lnTo>
                    <a:pt x="61221" y="586013"/>
                  </a:lnTo>
                  <a:lnTo>
                    <a:pt x="60249" y="565511"/>
                  </a:lnTo>
                  <a:lnTo>
                    <a:pt x="57985" y="547262"/>
                  </a:lnTo>
                  <a:lnTo>
                    <a:pt x="54126" y="535190"/>
                  </a:lnTo>
                  <a:lnTo>
                    <a:pt x="50397" y="517699"/>
                  </a:lnTo>
                  <a:lnTo>
                    <a:pt x="44898" y="508458"/>
                  </a:lnTo>
                  <a:lnTo>
                    <a:pt x="34813" y="500396"/>
                  </a:lnTo>
                  <a:lnTo>
                    <a:pt x="32547" y="495671"/>
                  </a:lnTo>
                  <a:lnTo>
                    <a:pt x="34894" y="493908"/>
                  </a:lnTo>
                  <a:lnTo>
                    <a:pt x="41025" y="492703"/>
                  </a:lnTo>
                  <a:lnTo>
                    <a:pt x="44935" y="486405"/>
                  </a:lnTo>
                  <a:lnTo>
                    <a:pt x="36667" y="488835"/>
                  </a:lnTo>
                  <a:lnTo>
                    <a:pt x="46232" y="469517"/>
                  </a:lnTo>
                  <a:lnTo>
                    <a:pt x="49205" y="456347"/>
                  </a:lnTo>
                  <a:lnTo>
                    <a:pt x="48734" y="447700"/>
                  </a:lnTo>
                  <a:lnTo>
                    <a:pt x="50552" y="442357"/>
                  </a:lnTo>
                  <a:lnTo>
                    <a:pt x="43248" y="430761"/>
                  </a:lnTo>
                  <a:lnTo>
                    <a:pt x="37561" y="416161"/>
                  </a:lnTo>
                  <a:lnTo>
                    <a:pt x="34634" y="413846"/>
                  </a:lnTo>
                  <a:lnTo>
                    <a:pt x="31602" y="412628"/>
                  </a:lnTo>
                  <a:lnTo>
                    <a:pt x="31334" y="416056"/>
                  </a:lnTo>
                  <a:lnTo>
                    <a:pt x="29689" y="419136"/>
                  </a:lnTo>
                  <a:lnTo>
                    <a:pt x="26145" y="417283"/>
                  </a:lnTo>
                  <a:lnTo>
                    <a:pt x="19875" y="406654"/>
                  </a:lnTo>
                  <a:lnTo>
                    <a:pt x="11127" y="389338"/>
                  </a:lnTo>
                  <a:lnTo>
                    <a:pt x="8057" y="387562"/>
                  </a:lnTo>
                  <a:lnTo>
                    <a:pt x="5497" y="389935"/>
                  </a:lnTo>
                  <a:lnTo>
                    <a:pt x="3892" y="392212"/>
                  </a:lnTo>
                  <a:lnTo>
                    <a:pt x="943" y="406654"/>
                  </a:lnTo>
                  <a:lnTo>
                    <a:pt x="0" y="400925"/>
                  </a:lnTo>
                  <a:lnTo>
                    <a:pt x="1278" y="394172"/>
                  </a:lnTo>
                  <a:lnTo>
                    <a:pt x="3437" y="385853"/>
                  </a:lnTo>
                  <a:lnTo>
                    <a:pt x="5888" y="374282"/>
                  </a:lnTo>
                  <a:lnTo>
                    <a:pt x="13481" y="374273"/>
                  </a:lnTo>
                  <a:lnTo>
                    <a:pt x="27061" y="374257"/>
                  </a:lnTo>
                  <a:lnTo>
                    <a:pt x="40644" y="374239"/>
                  </a:lnTo>
                  <a:lnTo>
                    <a:pt x="54225" y="374223"/>
                  </a:lnTo>
                  <a:lnTo>
                    <a:pt x="67805" y="374207"/>
                  </a:lnTo>
                  <a:lnTo>
                    <a:pt x="81390" y="374188"/>
                  </a:lnTo>
                  <a:lnTo>
                    <a:pt x="94968" y="374169"/>
                  </a:lnTo>
                  <a:lnTo>
                    <a:pt x="108551" y="374156"/>
                  </a:lnTo>
                  <a:lnTo>
                    <a:pt x="122131" y="374137"/>
                  </a:lnTo>
                  <a:lnTo>
                    <a:pt x="135711" y="374118"/>
                  </a:lnTo>
                  <a:lnTo>
                    <a:pt x="149297" y="374102"/>
                  </a:lnTo>
                  <a:lnTo>
                    <a:pt x="162877" y="374086"/>
                  </a:lnTo>
                  <a:lnTo>
                    <a:pt x="176457" y="374067"/>
                  </a:lnTo>
                  <a:lnTo>
                    <a:pt x="190040" y="374051"/>
                  </a:lnTo>
                  <a:lnTo>
                    <a:pt x="203623" y="374035"/>
                  </a:lnTo>
                  <a:lnTo>
                    <a:pt x="217203" y="374016"/>
                  </a:lnTo>
                  <a:lnTo>
                    <a:pt x="230784" y="374000"/>
                  </a:lnTo>
                  <a:lnTo>
                    <a:pt x="239741" y="373992"/>
                  </a:lnTo>
                  <a:lnTo>
                    <a:pt x="239216" y="365758"/>
                  </a:lnTo>
                  <a:lnTo>
                    <a:pt x="238793" y="359231"/>
                  </a:lnTo>
                  <a:lnTo>
                    <a:pt x="238227" y="350437"/>
                  </a:lnTo>
                  <a:lnTo>
                    <a:pt x="237668" y="341684"/>
                  </a:lnTo>
                  <a:lnTo>
                    <a:pt x="237110" y="332930"/>
                  </a:lnTo>
                  <a:lnTo>
                    <a:pt x="236580" y="324696"/>
                  </a:lnTo>
                  <a:lnTo>
                    <a:pt x="236052" y="316470"/>
                  </a:lnTo>
                  <a:lnTo>
                    <a:pt x="235562" y="308831"/>
                  </a:lnTo>
                  <a:lnTo>
                    <a:pt x="235115" y="301811"/>
                  </a:lnTo>
                  <a:lnTo>
                    <a:pt x="234343" y="297777"/>
                  </a:lnTo>
                  <a:lnTo>
                    <a:pt x="231464" y="289768"/>
                  </a:lnTo>
                  <a:lnTo>
                    <a:pt x="230840" y="285782"/>
                  </a:lnTo>
                  <a:lnTo>
                    <a:pt x="231622" y="281588"/>
                  </a:lnTo>
                  <a:lnTo>
                    <a:pt x="233540" y="277621"/>
                  </a:lnTo>
                  <a:lnTo>
                    <a:pt x="238835" y="270373"/>
                  </a:lnTo>
                  <a:lnTo>
                    <a:pt x="246860" y="264799"/>
                  </a:lnTo>
                  <a:lnTo>
                    <a:pt x="256125" y="258351"/>
                  </a:lnTo>
                  <a:lnTo>
                    <a:pt x="263183" y="253439"/>
                  </a:lnTo>
                  <a:lnTo>
                    <a:pt x="266799" y="252223"/>
                  </a:lnTo>
                  <a:lnTo>
                    <a:pt x="277843" y="250522"/>
                  </a:lnTo>
                  <a:lnTo>
                    <a:pt x="286535" y="246804"/>
                  </a:lnTo>
                  <a:lnTo>
                    <a:pt x="294991" y="243180"/>
                  </a:lnTo>
                  <a:lnTo>
                    <a:pt x="298543" y="241168"/>
                  </a:lnTo>
                  <a:lnTo>
                    <a:pt x="298963" y="234357"/>
                  </a:lnTo>
                  <a:lnTo>
                    <a:pt x="298963" y="226755"/>
                  </a:lnTo>
                  <a:lnTo>
                    <a:pt x="298963" y="218227"/>
                  </a:lnTo>
                  <a:lnTo>
                    <a:pt x="298963" y="209690"/>
                  </a:lnTo>
                  <a:lnTo>
                    <a:pt x="298963" y="201148"/>
                  </a:lnTo>
                  <a:lnTo>
                    <a:pt x="298963" y="192604"/>
                  </a:lnTo>
                  <a:lnTo>
                    <a:pt x="298963" y="184051"/>
                  </a:lnTo>
                  <a:lnTo>
                    <a:pt x="298963" y="175493"/>
                  </a:lnTo>
                  <a:lnTo>
                    <a:pt x="298963" y="166927"/>
                  </a:lnTo>
                  <a:lnTo>
                    <a:pt x="298963" y="158358"/>
                  </a:lnTo>
                  <a:lnTo>
                    <a:pt x="298963" y="149784"/>
                  </a:lnTo>
                  <a:lnTo>
                    <a:pt x="298963" y="141205"/>
                  </a:lnTo>
                  <a:lnTo>
                    <a:pt x="298963" y="132618"/>
                  </a:lnTo>
                  <a:lnTo>
                    <a:pt x="298963" y="124025"/>
                  </a:lnTo>
                  <a:lnTo>
                    <a:pt x="298963" y="115424"/>
                  </a:lnTo>
                  <a:lnTo>
                    <a:pt x="298963" y="106821"/>
                  </a:lnTo>
                  <a:lnTo>
                    <a:pt x="298963" y="98209"/>
                  </a:lnTo>
                  <a:lnTo>
                    <a:pt x="298963" y="89589"/>
                  </a:lnTo>
                  <a:lnTo>
                    <a:pt x="298963" y="82047"/>
                  </a:lnTo>
                  <a:lnTo>
                    <a:pt x="307827" y="82047"/>
                  </a:lnTo>
                  <a:lnTo>
                    <a:pt x="318860" y="82047"/>
                  </a:lnTo>
                  <a:lnTo>
                    <a:pt x="329895" y="82047"/>
                  </a:lnTo>
                  <a:lnTo>
                    <a:pt x="340934" y="82047"/>
                  </a:lnTo>
                  <a:lnTo>
                    <a:pt x="351969" y="82044"/>
                  </a:lnTo>
                  <a:lnTo>
                    <a:pt x="363002" y="82044"/>
                  </a:lnTo>
                  <a:lnTo>
                    <a:pt x="374038" y="82044"/>
                  </a:lnTo>
                  <a:lnTo>
                    <a:pt x="385073" y="82044"/>
                  </a:lnTo>
                  <a:lnTo>
                    <a:pt x="396109" y="82044"/>
                  </a:lnTo>
                  <a:lnTo>
                    <a:pt x="407145" y="82044"/>
                  </a:lnTo>
                  <a:lnTo>
                    <a:pt x="418177" y="82044"/>
                  </a:lnTo>
                  <a:lnTo>
                    <a:pt x="429213" y="82044"/>
                  </a:lnTo>
                  <a:lnTo>
                    <a:pt x="440249" y="82041"/>
                  </a:lnTo>
                  <a:lnTo>
                    <a:pt x="451284" y="82041"/>
                  </a:lnTo>
                  <a:lnTo>
                    <a:pt x="462323" y="82041"/>
                  </a:lnTo>
                  <a:lnTo>
                    <a:pt x="473356" y="82041"/>
                  </a:lnTo>
                  <a:lnTo>
                    <a:pt x="484388" y="82041"/>
                  </a:lnTo>
                  <a:lnTo>
                    <a:pt x="496437" y="82041"/>
                  </a:lnTo>
                  <a:lnTo>
                    <a:pt x="496442" y="74820"/>
                  </a:lnTo>
                  <a:lnTo>
                    <a:pt x="496442" y="64435"/>
                  </a:lnTo>
                  <a:lnTo>
                    <a:pt x="496429" y="50180"/>
                  </a:lnTo>
                  <a:lnTo>
                    <a:pt x="496412" y="35852"/>
                  </a:lnTo>
                  <a:lnTo>
                    <a:pt x="496399" y="23239"/>
                  </a:lnTo>
                  <a:lnTo>
                    <a:pt x="496383" y="10626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14" name="ee4p_MU_1_82333">
              <a:extLst>
                <a:ext uri="{FF2B5EF4-FFF2-40B4-BE49-F238E27FC236}">
                  <a16:creationId xmlns:a16="http://schemas.microsoft.com/office/drawing/2014/main" id="{56A0443E-36F3-9164-A03A-3DC9DE799E3C}"/>
                </a:ext>
              </a:extLst>
            </p:cNvPr>
            <p:cNvSpPr>
              <a:spLocks noChangeAspect="1"/>
            </p:cNvSpPr>
            <p:nvPr>
              <p:custDataLst>
                <p:tags r:id="rId142"/>
              </p:custDataLst>
            </p:nvPr>
          </p:nvSpPr>
          <p:spPr>
            <a:xfrm>
              <a:off x="8106375" y="5255463"/>
              <a:ext cx="13173" cy="15544"/>
            </a:xfrm>
            <a:custGeom>
              <a:avLst/>
              <a:gdLst/>
              <a:ahLst/>
              <a:cxnLst/>
              <a:rect l="0" t="0" r="0" b="0"/>
              <a:pathLst>
                <a:path w="10489" h="12049">
                  <a:moveTo>
                    <a:pt x="7376" y="11395"/>
                  </a:moveTo>
                  <a:lnTo>
                    <a:pt x="4580" y="12048"/>
                  </a:lnTo>
                  <a:lnTo>
                    <a:pt x="1451" y="11830"/>
                  </a:lnTo>
                  <a:lnTo>
                    <a:pt x="235" y="10592"/>
                  </a:lnTo>
                  <a:lnTo>
                    <a:pt x="0" y="10076"/>
                  </a:lnTo>
                  <a:lnTo>
                    <a:pt x="1049" y="9588"/>
                  </a:lnTo>
                  <a:lnTo>
                    <a:pt x="982" y="8002"/>
                  </a:lnTo>
                  <a:lnTo>
                    <a:pt x="1505" y="5492"/>
                  </a:lnTo>
                  <a:lnTo>
                    <a:pt x="2174" y="4460"/>
                  </a:lnTo>
                  <a:lnTo>
                    <a:pt x="3731" y="3543"/>
                  </a:lnTo>
                  <a:lnTo>
                    <a:pt x="4364" y="1518"/>
                  </a:lnTo>
                  <a:lnTo>
                    <a:pt x="5707" y="166"/>
                  </a:lnTo>
                  <a:lnTo>
                    <a:pt x="7493" y="0"/>
                  </a:lnTo>
                  <a:lnTo>
                    <a:pt x="9277" y="2496"/>
                  </a:lnTo>
                  <a:lnTo>
                    <a:pt x="10488" y="5123"/>
                  </a:lnTo>
                  <a:lnTo>
                    <a:pt x="10237" y="7757"/>
                  </a:lnTo>
                  <a:lnTo>
                    <a:pt x="9006" y="8722"/>
                  </a:lnTo>
                  <a:lnTo>
                    <a:pt x="8601" y="10243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15" name="ee4p_MW_1_82333">
              <a:extLst>
                <a:ext uri="{FF2B5EF4-FFF2-40B4-BE49-F238E27FC236}">
                  <a16:creationId xmlns:a16="http://schemas.microsoft.com/office/drawing/2014/main" id="{6C173E40-A728-6412-46DE-74A25E0A9800}"/>
                </a:ext>
              </a:extLst>
            </p:cNvPr>
            <p:cNvSpPr>
              <a:spLocks noChangeAspect="1"/>
            </p:cNvSpPr>
            <p:nvPr>
              <p:custDataLst>
                <p:tags r:id="rId143"/>
              </p:custDataLst>
            </p:nvPr>
          </p:nvSpPr>
          <p:spPr>
            <a:xfrm>
              <a:off x="7421937" y="4946458"/>
              <a:ext cx="89483" cy="224630"/>
            </a:xfrm>
            <a:custGeom>
              <a:avLst/>
              <a:gdLst>
                <a:gd name="connsiteX0" fmla="*/ 121094 w 190855"/>
                <a:gd name="connsiteY0" fmla="*/ 156199 h 466408"/>
                <a:gd name="connsiteX1" fmla="*/ 122516 w 190855"/>
                <a:gd name="connsiteY1" fmla="*/ 156821 h 466408"/>
                <a:gd name="connsiteX2" fmla="*/ 123524 w 190855"/>
                <a:gd name="connsiteY2" fmla="*/ 157884 h 466408"/>
                <a:gd name="connsiteX3" fmla="*/ 123540 w 190855"/>
                <a:gd name="connsiteY3" fmla="*/ 159585 h 466408"/>
                <a:gd name="connsiteX4" fmla="*/ 122932 w 190855"/>
                <a:gd name="connsiteY4" fmla="*/ 161345 h 466408"/>
                <a:gd name="connsiteX5" fmla="*/ 121354 w 190855"/>
                <a:gd name="connsiteY5" fmla="*/ 162681 h 466408"/>
                <a:gd name="connsiteX6" fmla="*/ 119273 w 190855"/>
                <a:gd name="connsiteY6" fmla="*/ 163164 h 466408"/>
                <a:gd name="connsiteX7" fmla="*/ 117963 w 190855"/>
                <a:gd name="connsiteY7" fmla="*/ 162089 h 466408"/>
                <a:gd name="connsiteX8" fmla="*/ 118282 w 190855"/>
                <a:gd name="connsiteY8" fmla="*/ 158891 h 466408"/>
                <a:gd name="connsiteX9" fmla="*/ 119016 w 190855"/>
                <a:gd name="connsiteY9" fmla="*/ 156569 h 466408"/>
                <a:gd name="connsiteX10" fmla="*/ 113777 w 190855"/>
                <a:gd name="connsiteY10" fmla="*/ 154300 h 466408"/>
                <a:gd name="connsiteX11" fmla="*/ 115722 w 190855"/>
                <a:gd name="connsiteY11" fmla="*/ 155120 h 466408"/>
                <a:gd name="connsiteX12" fmla="*/ 116751 w 190855"/>
                <a:gd name="connsiteY12" fmla="*/ 156856 h 466408"/>
                <a:gd name="connsiteX13" fmla="*/ 115575 w 190855"/>
                <a:gd name="connsiteY13" fmla="*/ 160038 h 466408"/>
                <a:gd name="connsiteX14" fmla="*/ 113129 w 190855"/>
                <a:gd name="connsiteY14" fmla="*/ 159989 h 466408"/>
                <a:gd name="connsiteX15" fmla="*/ 110828 w 190855"/>
                <a:gd name="connsiteY15" fmla="*/ 157156 h 466408"/>
                <a:gd name="connsiteX16" fmla="*/ 111562 w 190855"/>
                <a:gd name="connsiteY16" fmla="*/ 154967 h 466408"/>
                <a:gd name="connsiteX17" fmla="*/ 17981 w 190855"/>
                <a:gd name="connsiteY17" fmla="*/ 0 h 466408"/>
                <a:gd name="connsiteX18" fmla="*/ 27249 w 190855"/>
                <a:gd name="connsiteY18" fmla="*/ 6030 h 466408"/>
                <a:gd name="connsiteX19" fmla="*/ 32863 w 190855"/>
                <a:gd name="connsiteY19" fmla="*/ 6303 h 466408"/>
                <a:gd name="connsiteX20" fmla="*/ 39118 w 190855"/>
                <a:gd name="connsiteY20" fmla="*/ 7417 h 466408"/>
                <a:gd name="connsiteX21" fmla="*/ 44451 w 190855"/>
                <a:gd name="connsiteY21" fmla="*/ 12729 h 466408"/>
                <a:gd name="connsiteX22" fmla="*/ 47226 w 190855"/>
                <a:gd name="connsiteY22" fmla="*/ 13428 h 466408"/>
                <a:gd name="connsiteX23" fmla="*/ 50767 w 190855"/>
                <a:gd name="connsiteY23" fmla="*/ 12699 h 466408"/>
                <a:gd name="connsiteX24" fmla="*/ 60841 w 190855"/>
                <a:gd name="connsiteY24" fmla="*/ 12139 h 466408"/>
                <a:gd name="connsiteX25" fmla="*/ 64901 w 190855"/>
                <a:gd name="connsiteY25" fmla="*/ 12903 h 466408"/>
                <a:gd name="connsiteX26" fmla="*/ 70114 w 190855"/>
                <a:gd name="connsiteY26" fmla="*/ 16013 h 466408"/>
                <a:gd name="connsiteX27" fmla="*/ 72166 w 190855"/>
                <a:gd name="connsiteY27" fmla="*/ 16441 h 466408"/>
                <a:gd name="connsiteX28" fmla="*/ 75428 w 190855"/>
                <a:gd name="connsiteY28" fmla="*/ 16562 h 466408"/>
                <a:gd name="connsiteX29" fmla="*/ 76007 w 190855"/>
                <a:gd name="connsiteY29" fmla="*/ 15729 h 466408"/>
                <a:gd name="connsiteX30" fmla="*/ 76341 w 190855"/>
                <a:gd name="connsiteY30" fmla="*/ 13883 h 466408"/>
                <a:gd name="connsiteX31" fmla="*/ 75763 w 190855"/>
                <a:gd name="connsiteY31" fmla="*/ 10176 h 466408"/>
                <a:gd name="connsiteX32" fmla="*/ 76505 w 190855"/>
                <a:gd name="connsiteY32" fmla="*/ 8170 h 466408"/>
                <a:gd name="connsiteX33" fmla="*/ 78490 w 190855"/>
                <a:gd name="connsiteY33" fmla="*/ 6000 h 466408"/>
                <a:gd name="connsiteX34" fmla="*/ 83994 w 190855"/>
                <a:gd name="connsiteY34" fmla="*/ 8531 h 466408"/>
                <a:gd name="connsiteX35" fmla="*/ 97756 w 190855"/>
                <a:gd name="connsiteY35" fmla="*/ 20113 h 466408"/>
                <a:gd name="connsiteX36" fmla="*/ 98166 w 190855"/>
                <a:gd name="connsiteY36" fmla="*/ 21605 h 466408"/>
                <a:gd name="connsiteX37" fmla="*/ 106941 w 190855"/>
                <a:gd name="connsiteY37" fmla="*/ 33104 h 466408"/>
                <a:gd name="connsiteX38" fmla="*/ 109796 w 190855"/>
                <a:gd name="connsiteY38" fmla="*/ 37969 h 466408"/>
                <a:gd name="connsiteX39" fmla="*/ 109796 w 190855"/>
                <a:gd name="connsiteY39" fmla="*/ 40540 h 466408"/>
                <a:gd name="connsiteX40" fmla="*/ 112504 w 190855"/>
                <a:gd name="connsiteY40" fmla="*/ 50587 h 466408"/>
                <a:gd name="connsiteX41" fmla="*/ 113099 w 190855"/>
                <a:gd name="connsiteY41" fmla="*/ 55299 h 466408"/>
                <a:gd name="connsiteX42" fmla="*/ 112494 w 190855"/>
                <a:gd name="connsiteY42" fmla="*/ 58883 h 466408"/>
                <a:gd name="connsiteX43" fmla="*/ 112604 w 190855"/>
                <a:gd name="connsiteY43" fmla="*/ 61751 h 466408"/>
                <a:gd name="connsiteX44" fmla="*/ 113667 w 190855"/>
                <a:gd name="connsiteY44" fmla="*/ 65858 h 466408"/>
                <a:gd name="connsiteX45" fmla="*/ 113313 w 190855"/>
                <a:gd name="connsiteY45" fmla="*/ 67588 h 466408"/>
                <a:gd name="connsiteX46" fmla="*/ 116450 w 190855"/>
                <a:gd name="connsiteY46" fmla="*/ 73604 h 466408"/>
                <a:gd name="connsiteX47" fmla="*/ 117947 w 190855"/>
                <a:gd name="connsiteY47" fmla="*/ 78664 h 466408"/>
                <a:gd name="connsiteX48" fmla="*/ 118261 w 190855"/>
                <a:gd name="connsiteY48" fmla="*/ 83600 h 466408"/>
                <a:gd name="connsiteX49" fmla="*/ 117385 w 190855"/>
                <a:gd name="connsiteY49" fmla="*/ 88416 h 466408"/>
                <a:gd name="connsiteX50" fmla="*/ 114621 w 190855"/>
                <a:gd name="connsiteY50" fmla="*/ 95450 h 466408"/>
                <a:gd name="connsiteX51" fmla="*/ 114146 w 190855"/>
                <a:gd name="connsiteY51" fmla="*/ 98281 h 466408"/>
                <a:gd name="connsiteX52" fmla="*/ 114754 w 190855"/>
                <a:gd name="connsiteY52" fmla="*/ 100858 h 466408"/>
                <a:gd name="connsiteX53" fmla="*/ 116541 w 190855"/>
                <a:gd name="connsiteY53" fmla="*/ 103657 h 466408"/>
                <a:gd name="connsiteX54" fmla="*/ 119528 w 190855"/>
                <a:gd name="connsiteY54" fmla="*/ 106673 h 466408"/>
                <a:gd name="connsiteX55" fmla="*/ 121775 w 190855"/>
                <a:gd name="connsiteY55" fmla="*/ 110314 h 466408"/>
                <a:gd name="connsiteX56" fmla="*/ 123296 w 190855"/>
                <a:gd name="connsiteY56" fmla="*/ 114588 h 466408"/>
                <a:gd name="connsiteX57" fmla="*/ 124582 w 190855"/>
                <a:gd name="connsiteY57" fmla="*/ 116522 h 466408"/>
                <a:gd name="connsiteX58" fmla="*/ 126184 w 190855"/>
                <a:gd name="connsiteY58" fmla="*/ 116477 h 466408"/>
                <a:gd name="connsiteX59" fmla="*/ 129128 w 190855"/>
                <a:gd name="connsiteY59" fmla="*/ 117136 h 466408"/>
                <a:gd name="connsiteX60" fmla="*/ 131498 w 190855"/>
                <a:gd name="connsiteY60" fmla="*/ 119632 h 466408"/>
                <a:gd name="connsiteX61" fmla="*/ 134246 w 190855"/>
                <a:gd name="connsiteY61" fmla="*/ 123827 h 466408"/>
                <a:gd name="connsiteX62" fmla="*/ 135173 w 190855"/>
                <a:gd name="connsiteY62" fmla="*/ 128643 h 466408"/>
                <a:gd name="connsiteX63" fmla="*/ 135577 w 190855"/>
                <a:gd name="connsiteY63" fmla="*/ 130705 h 466408"/>
                <a:gd name="connsiteX64" fmla="*/ 127705 w 190855"/>
                <a:gd name="connsiteY64" fmla="*/ 130561 h 466408"/>
                <a:gd name="connsiteX65" fmla="*/ 117813 w 190855"/>
                <a:gd name="connsiteY65" fmla="*/ 131340 h 466408"/>
                <a:gd name="connsiteX66" fmla="*/ 115384 w 190855"/>
                <a:gd name="connsiteY66" fmla="*/ 133231 h 466408"/>
                <a:gd name="connsiteX67" fmla="*/ 114655 w 190855"/>
                <a:gd name="connsiteY67" fmla="*/ 137423 h 466408"/>
                <a:gd name="connsiteX68" fmla="*/ 111556 w 190855"/>
                <a:gd name="connsiteY68" fmla="*/ 146072 h 466408"/>
                <a:gd name="connsiteX69" fmla="*/ 109831 w 190855"/>
                <a:gd name="connsiteY69" fmla="*/ 149249 h 466408"/>
                <a:gd name="connsiteX70" fmla="*/ 106164 w 190855"/>
                <a:gd name="connsiteY70" fmla="*/ 155061 h 466408"/>
                <a:gd name="connsiteX71" fmla="*/ 101016 w 190855"/>
                <a:gd name="connsiteY71" fmla="*/ 163258 h 466408"/>
                <a:gd name="connsiteX72" fmla="*/ 99942 w 190855"/>
                <a:gd name="connsiteY72" fmla="*/ 165934 h 466408"/>
                <a:gd name="connsiteX73" fmla="*/ 100122 w 190855"/>
                <a:gd name="connsiteY73" fmla="*/ 168687 h 466408"/>
                <a:gd name="connsiteX74" fmla="*/ 103156 w 190855"/>
                <a:gd name="connsiteY74" fmla="*/ 179830 h 466408"/>
                <a:gd name="connsiteX75" fmla="*/ 106338 w 190855"/>
                <a:gd name="connsiteY75" fmla="*/ 191546 h 466408"/>
                <a:gd name="connsiteX76" fmla="*/ 107351 w 190855"/>
                <a:gd name="connsiteY76" fmla="*/ 196123 h 466408"/>
                <a:gd name="connsiteX77" fmla="*/ 109622 w 190855"/>
                <a:gd name="connsiteY77" fmla="*/ 211710 h 466408"/>
                <a:gd name="connsiteX78" fmla="*/ 110884 w 190855"/>
                <a:gd name="connsiteY78" fmla="*/ 222724 h 466408"/>
                <a:gd name="connsiteX79" fmla="*/ 111069 w 190855"/>
                <a:gd name="connsiteY79" fmla="*/ 229209 h 466408"/>
                <a:gd name="connsiteX80" fmla="*/ 112135 w 190855"/>
                <a:gd name="connsiteY80" fmla="*/ 237877 h 466408"/>
                <a:gd name="connsiteX81" fmla="*/ 114969 w 190855"/>
                <a:gd name="connsiteY81" fmla="*/ 242561 h 466408"/>
                <a:gd name="connsiteX82" fmla="*/ 117937 w 190855"/>
                <a:gd name="connsiteY82" fmla="*/ 245505 h 466408"/>
                <a:gd name="connsiteX83" fmla="*/ 129122 w 190855"/>
                <a:gd name="connsiteY83" fmla="*/ 247273 h 466408"/>
                <a:gd name="connsiteX84" fmla="*/ 132460 w 190855"/>
                <a:gd name="connsiteY84" fmla="*/ 249421 h 466408"/>
                <a:gd name="connsiteX85" fmla="*/ 138797 w 190855"/>
                <a:gd name="connsiteY85" fmla="*/ 254958 h 466408"/>
                <a:gd name="connsiteX86" fmla="*/ 152634 w 190855"/>
                <a:gd name="connsiteY86" fmla="*/ 270250 h 466408"/>
                <a:gd name="connsiteX87" fmla="*/ 160233 w 190855"/>
                <a:gd name="connsiteY87" fmla="*/ 280018 h 466408"/>
                <a:gd name="connsiteX88" fmla="*/ 166908 w 190855"/>
                <a:gd name="connsiteY88" fmla="*/ 288619 h 466408"/>
                <a:gd name="connsiteX89" fmla="*/ 178871 w 190855"/>
                <a:gd name="connsiteY89" fmla="*/ 304602 h 466408"/>
                <a:gd name="connsiteX90" fmla="*/ 188152 w 190855"/>
                <a:gd name="connsiteY90" fmla="*/ 317022 h 466408"/>
                <a:gd name="connsiteX91" fmla="*/ 189312 w 190855"/>
                <a:gd name="connsiteY91" fmla="*/ 328693 h 466408"/>
                <a:gd name="connsiteX92" fmla="*/ 190855 w 190855"/>
                <a:gd name="connsiteY92" fmla="*/ 330388 h 466408"/>
                <a:gd name="connsiteX93" fmla="*/ 187726 w 190855"/>
                <a:gd name="connsiteY93" fmla="*/ 339040 h 466408"/>
                <a:gd name="connsiteX94" fmla="*/ 185677 w 190855"/>
                <a:gd name="connsiteY94" fmla="*/ 353030 h 466408"/>
                <a:gd name="connsiteX95" fmla="*/ 187153 w 190855"/>
                <a:gd name="connsiteY95" fmla="*/ 362325 h 466408"/>
                <a:gd name="connsiteX96" fmla="*/ 186539 w 190855"/>
                <a:gd name="connsiteY96" fmla="*/ 378179 h 466408"/>
                <a:gd name="connsiteX97" fmla="*/ 184839 w 190855"/>
                <a:gd name="connsiteY97" fmla="*/ 395075 h 466408"/>
                <a:gd name="connsiteX98" fmla="*/ 182709 w 190855"/>
                <a:gd name="connsiteY98" fmla="*/ 401123 h 466408"/>
                <a:gd name="connsiteX99" fmla="*/ 179964 w 190855"/>
                <a:gd name="connsiteY99" fmla="*/ 403403 h 466408"/>
                <a:gd name="connsiteX100" fmla="*/ 173473 w 190855"/>
                <a:gd name="connsiteY100" fmla="*/ 405230 h 466408"/>
                <a:gd name="connsiteX101" fmla="*/ 159210 w 190855"/>
                <a:gd name="connsiteY101" fmla="*/ 407338 h 466408"/>
                <a:gd name="connsiteX102" fmla="*/ 157075 w 190855"/>
                <a:gd name="connsiteY102" fmla="*/ 409320 h 466408"/>
                <a:gd name="connsiteX103" fmla="*/ 155243 w 190855"/>
                <a:gd name="connsiteY103" fmla="*/ 412601 h 466408"/>
                <a:gd name="connsiteX104" fmla="*/ 152356 w 190855"/>
                <a:gd name="connsiteY104" fmla="*/ 420395 h 466408"/>
                <a:gd name="connsiteX105" fmla="*/ 148949 w 190855"/>
                <a:gd name="connsiteY105" fmla="*/ 428273 h 466408"/>
                <a:gd name="connsiteX106" fmla="*/ 147880 w 190855"/>
                <a:gd name="connsiteY106" fmla="*/ 431643 h 466408"/>
                <a:gd name="connsiteX107" fmla="*/ 148539 w 190855"/>
                <a:gd name="connsiteY107" fmla="*/ 432438 h 466408"/>
                <a:gd name="connsiteX108" fmla="*/ 151587 w 190855"/>
                <a:gd name="connsiteY108" fmla="*/ 436451 h 466408"/>
                <a:gd name="connsiteX109" fmla="*/ 154630 w 190855"/>
                <a:gd name="connsiteY109" fmla="*/ 446712 h 466408"/>
                <a:gd name="connsiteX110" fmla="*/ 155179 w 190855"/>
                <a:gd name="connsiteY110" fmla="*/ 464329 h 466408"/>
                <a:gd name="connsiteX111" fmla="*/ 154121 w 190855"/>
                <a:gd name="connsiteY111" fmla="*/ 465639 h 466408"/>
                <a:gd name="connsiteX112" fmla="*/ 149905 w 190855"/>
                <a:gd name="connsiteY112" fmla="*/ 466408 h 466408"/>
                <a:gd name="connsiteX113" fmla="*/ 145357 w 190855"/>
                <a:gd name="connsiteY113" fmla="*/ 466175 h 466408"/>
                <a:gd name="connsiteX114" fmla="*/ 143490 w 190855"/>
                <a:gd name="connsiteY114" fmla="*/ 465181 h 466408"/>
                <a:gd name="connsiteX115" fmla="*/ 141805 w 190855"/>
                <a:gd name="connsiteY115" fmla="*/ 463209 h 466408"/>
                <a:gd name="connsiteX116" fmla="*/ 140581 w 190855"/>
                <a:gd name="connsiteY116" fmla="*/ 459449 h 466408"/>
                <a:gd name="connsiteX117" fmla="*/ 143560 w 190855"/>
                <a:gd name="connsiteY117" fmla="*/ 456824 h 466408"/>
                <a:gd name="connsiteX118" fmla="*/ 144618 w 190855"/>
                <a:gd name="connsiteY118" fmla="*/ 452238 h 466408"/>
                <a:gd name="connsiteX119" fmla="*/ 142708 w 190855"/>
                <a:gd name="connsiteY119" fmla="*/ 448301 h 466408"/>
                <a:gd name="connsiteX120" fmla="*/ 138885 w 190855"/>
                <a:gd name="connsiteY120" fmla="*/ 447425 h 466408"/>
                <a:gd name="connsiteX121" fmla="*/ 134032 w 190855"/>
                <a:gd name="connsiteY121" fmla="*/ 443822 h 466408"/>
                <a:gd name="connsiteX122" fmla="*/ 123690 w 190855"/>
                <a:gd name="connsiteY122" fmla="*/ 432058 h 466408"/>
                <a:gd name="connsiteX123" fmla="*/ 115038 w 190855"/>
                <a:gd name="connsiteY123" fmla="*/ 423811 h 466408"/>
                <a:gd name="connsiteX124" fmla="*/ 110029 w 190855"/>
                <a:gd name="connsiteY124" fmla="*/ 416978 h 466408"/>
                <a:gd name="connsiteX125" fmla="*/ 104887 w 190855"/>
                <a:gd name="connsiteY125" fmla="*/ 414256 h 466408"/>
                <a:gd name="connsiteX126" fmla="*/ 103411 w 190855"/>
                <a:gd name="connsiteY126" fmla="*/ 412577 h 466408"/>
                <a:gd name="connsiteX127" fmla="*/ 102173 w 190855"/>
                <a:gd name="connsiteY127" fmla="*/ 409687 h 466408"/>
                <a:gd name="connsiteX128" fmla="*/ 102152 w 190855"/>
                <a:gd name="connsiteY128" fmla="*/ 405532 h 466408"/>
                <a:gd name="connsiteX129" fmla="*/ 102621 w 190855"/>
                <a:gd name="connsiteY129" fmla="*/ 402460 h 466408"/>
                <a:gd name="connsiteX130" fmla="*/ 101016 w 190855"/>
                <a:gd name="connsiteY130" fmla="*/ 399023 h 466408"/>
                <a:gd name="connsiteX131" fmla="*/ 95822 w 190855"/>
                <a:gd name="connsiteY131" fmla="*/ 393704 h 466408"/>
                <a:gd name="connsiteX132" fmla="*/ 93452 w 190855"/>
                <a:gd name="connsiteY132" fmla="*/ 390749 h 466408"/>
                <a:gd name="connsiteX133" fmla="*/ 93326 w 190855"/>
                <a:gd name="connsiteY133" fmla="*/ 387222 h 466408"/>
                <a:gd name="connsiteX134" fmla="*/ 95512 w 190855"/>
                <a:gd name="connsiteY134" fmla="*/ 383828 h 466408"/>
                <a:gd name="connsiteX135" fmla="*/ 99953 w 190855"/>
                <a:gd name="connsiteY135" fmla="*/ 379690 h 466408"/>
                <a:gd name="connsiteX136" fmla="*/ 103314 w 190855"/>
                <a:gd name="connsiteY136" fmla="*/ 371290 h 466408"/>
                <a:gd name="connsiteX137" fmla="*/ 104512 w 190855"/>
                <a:gd name="connsiteY137" fmla="*/ 365852 h 466408"/>
                <a:gd name="connsiteX138" fmla="*/ 110779 w 190855"/>
                <a:gd name="connsiteY138" fmla="*/ 354948 h 466408"/>
                <a:gd name="connsiteX139" fmla="*/ 111647 w 190855"/>
                <a:gd name="connsiteY139" fmla="*/ 345474 h 466408"/>
                <a:gd name="connsiteX140" fmla="*/ 111776 w 190855"/>
                <a:gd name="connsiteY140" fmla="*/ 337904 h 466408"/>
                <a:gd name="connsiteX141" fmla="*/ 111393 w 190855"/>
                <a:gd name="connsiteY141" fmla="*/ 332239 h 466408"/>
                <a:gd name="connsiteX142" fmla="*/ 109791 w 190855"/>
                <a:gd name="connsiteY142" fmla="*/ 320644 h 466408"/>
                <a:gd name="connsiteX143" fmla="*/ 108674 w 190855"/>
                <a:gd name="connsiteY143" fmla="*/ 312621 h 466408"/>
                <a:gd name="connsiteX144" fmla="*/ 100960 w 190855"/>
                <a:gd name="connsiteY144" fmla="*/ 302140 h 466408"/>
                <a:gd name="connsiteX145" fmla="*/ 98442 w 190855"/>
                <a:gd name="connsiteY145" fmla="*/ 301160 h 466408"/>
                <a:gd name="connsiteX146" fmla="*/ 91114 w 190855"/>
                <a:gd name="connsiteY146" fmla="*/ 302073 h 466408"/>
                <a:gd name="connsiteX147" fmla="*/ 84782 w 190855"/>
                <a:gd name="connsiteY147" fmla="*/ 303622 h 466408"/>
                <a:gd name="connsiteX148" fmla="*/ 81677 w 190855"/>
                <a:gd name="connsiteY148" fmla="*/ 305794 h 466408"/>
                <a:gd name="connsiteX149" fmla="*/ 76963 w 190855"/>
                <a:gd name="connsiteY149" fmla="*/ 305906 h 466408"/>
                <a:gd name="connsiteX150" fmla="*/ 64617 w 190855"/>
                <a:gd name="connsiteY150" fmla="*/ 307730 h 466408"/>
                <a:gd name="connsiteX151" fmla="*/ 60750 w 190855"/>
                <a:gd name="connsiteY151" fmla="*/ 308515 h 466408"/>
                <a:gd name="connsiteX152" fmla="*/ 58510 w 190855"/>
                <a:gd name="connsiteY152" fmla="*/ 310412 h 466408"/>
                <a:gd name="connsiteX153" fmla="*/ 57214 w 190855"/>
                <a:gd name="connsiteY153" fmla="*/ 310808 h 466408"/>
                <a:gd name="connsiteX154" fmla="*/ 49446 w 190855"/>
                <a:gd name="connsiteY154" fmla="*/ 302700 h 466408"/>
                <a:gd name="connsiteX155" fmla="*/ 42616 w 190855"/>
                <a:gd name="connsiteY155" fmla="*/ 293960 h 466408"/>
                <a:gd name="connsiteX156" fmla="*/ 33945 w 190855"/>
                <a:gd name="connsiteY156" fmla="*/ 279075 h 466408"/>
                <a:gd name="connsiteX157" fmla="*/ 31470 w 190855"/>
                <a:gd name="connsiteY157" fmla="*/ 277283 h 466408"/>
                <a:gd name="connsiteX158" fmla="*/ 28288 w 190855"/>
                <a:gd name="connsiteY158" fmla="*/ 272909 h 466408"/>
                <a:gd name="connsiteX159" fmla="*/ 25658 w 190855"/>
                <a:gd name="connsiteY159" fmla="*/ 274010 h 466408"/>
                <a:gd name="connsiteX160" fmla="*/ 22031 w 190855"/>
                <a:gd name="connsiteY160" fmla="*/ 277083 h 466408"/>
                <a:gd name="connsiteX161" fmla="*/ 20071 w 190855"/>
                <a:gd name="connsiteY161" fmla="*/ 277908 h 466408"/>
                <a:gd name="connsiteX162" fmla="*/ 19053 w 190855"/>
                <a:gd name="connsiteY162" fmla="*/ 277814 h 466408"/>
                <a:gd name="connsiteX163" fmla="*/ 18410 w 190855"/>
                <a:gd name="connsiteY163" fmla="*/ 277042 h 466408"/>
                <a:gd name="connsiteX164" fmla="*/ 17601 w 190855"/>
                <a:gd name="connsiteY164" fmla="*/ 275076 h 466408"/>
                <a:gd name="connsiteX165" fmla="*/ 14802 w 190855"/>
                <a:gd name="connsiteY165" fmla="*/ 269465 h 466408"/>
                <a:gd name="connsiteX166" fmla="*/ 11655 w 190855"/>
                <a:gd name="connsiteY166" fmla="*/ 265452 h 466408"/>
                <a:gd name="connsiteX167" fmla="*/ 8328 w 190855"/>
                <a:gd name="connsiteY167" fmla="*/ 263896 h 466408"/>
                <a:gd name="connsiteX168" fmla="*/ 5609 w 190855"/>
                <a:gd name="connsiteY168" fmla="*/ 262053 h 466408"/>
                <a:gd name="connsiteX169" fmla="*/ 6806 w 190855"/>
                <a:gd name="connsiteY169" fmla="*/ 260267 h 466408"/>
                <a:gd name="connsiteX170" fmla="*/ 8073 w 190855"/>
                <a:gd name="connsiteY170" fmla="*/ 258986 h 466408"/>
                <a:gd name="connsiteX171" fmla="*/ 7524 w 190855"/>
                <a:gd name="connsiteY171" fmla="*/ 257674 h 466408"/>
                <a:gd name="connsiteX172" fmla="*/ 6003 w 190855"/>
                <a:gd name="connsiteY172" fmla="*/ 255748 h 466408"/>
                <a:gd name="connsiteX173" fmla="*/ 97 w 190855"/>
                <a:gd name="connsiteY173" fmla="*/ 252962 h 466408"/>
                <a:gd name="connsiteX174" fmla="*/ 0 w 190855"/>
                <a:gd name="connsiteY174" fmla="*/ 251760 h 466408"/>
                <a:gd name="connsiteX175" fmla="*/ 5213 w 190855"/>
                <a:gd name="connsiteY175" fmla="*/ 249338 h 466408"/>
                <a:gd name="connsiteX176" fmla="*/ 8507 w 190855"/>
                <a:gd name="connsiteY176" fmla="*/ 246472 h 466408"/>
                <a:gd name="connsiteX177" fmla="*/ 10747 w 190855"/>
                <a:gd name="connsiteY177" fmla="*/ 243716 h 466408"/>
                <a:gd name="connsiteX178" fmla="*/ 13580 w 190855"/>
                <a:gd name="connsiteY178" fmla="*/ 237689 h 466408"/>
                <a:gd name="connsiteX179" fmla="*/ 15881 w 190855"/>
                <a:gd name="connsiteY179" fmla="*/ 231684 h 466408"/>
                <a:gd name="connsiteX180" fmla="*/ 17601 w 190855"/>
                <a:gd name="connsiteY180" fmla="*/ 229731 h 466408"/>
                <a:gd name="connsiteX181" fmla="*/ 18196 w 190855"/>
                <a:gd name="connsiteY181" fmla="*/ 225748 h 466408"/>
                <a:gd name="connsiteX182" fmla="*/ 17807 w 190855"/>
                <a:gd name="connsiteY182" fmla="*/ 221254 h 466408"/>
                <a:gd name="connsiteX183" fmla="*/ 18954 w 190855"/>
                <a:gd name="connsiteY183" fmla="*/ 215543 h 466408"/>
                <a:gd name="connsiteX184" fmla="*/ 19521 w 190855"/>
                <a:gd name="connsiteY184" fmla="*/ 210135 h 466408"/>
                <a:gd name="connsiteX185" fmla="*/ 17775 w 190855"/>
                <a:gd name="connsiteY185" fmla="*/ 208035 h 466408"/>
                <a:gd name="connsiteX186" fmla="*/ 16299 w 190855"/>
                <a:gd name="connsiteY186" fmla="*/ 204403 h 466408"/>
                <a:gd name="connsiteX187" fmla="*/ 18051 w 190855"/>
                <a:gd name="connsiteY187" fmla="*/ 198202 h 466408"/>
                <a:gd name="connsiteX188" fmla="*/ 20799 w 190855"/>
                <a:gd name="connsiteY188" fmla="*/ 193938 h 466408"/>
                <a:gd name="connsiteX189" fmla="*/ 33940 w 190855"/>
                <a:gd name="connsiteY189" fmla="*/ 189489 h 466408"/>
                <a:gd name="connsiteX190" fmla="*/ 43090 w 190855"/>
                <a:gd name="connsiteY190" fmla="*/ 185479 h 466408"/>
                <a:gd name="connsiteX191" fmla="*/ 45029 w 190855"/>
                <a:gd name="connsiteY191" fmla="*/ 183711 h 466408"/>
                <a:gd name="connsiteX192" fmla="*/ 48139 w 190855"/>
                <a:gd name="connsiteY192" fmla="*/ 180280 h 466408"/>
                <a:gd name="connsiteX193" fmla="*/ 49864 w 190855"/>
                <a:gd name="connsiteY193" fmla="*/ 176934 h 466408"/>
                <a:gd name="connsiteX194" fmla="*/ 48627 w 190855"/>
                <a:gd name="connsiteY194" fmla="*/ 175930 h 466408"/>
                <a:gd name="connsiteX195" fmla="*/ 41437 w 190855"/>
                <a:gd name="connsiteY195" fmla="*/ 175847 h 466408"/>
                <a:gd name="connsiteX196" fmla="*/ 39667 w 190855"/>
                <a:gd name="connsiteY196" fmla="*/ 174561 h 466408"/>
                <a:gd name="connsiteX197" fmla="*/ 34465 w 190855"/>
                <a:gd name="connsiteY197" fmla="*/ 162800 h 466408"/>
                <a:gd name="connsiteX198" fmla="*/ 37347 w 190855"/>
                <a:gd name="connsiteY198" fmla="*/ 149321 h 466408"/>
                <a:gd name="connsiteX199" fmla="*/ 37591 w 190855"/>
                <a:gd name="connsiteY199" fmla="*/ 144026 h 466408"/>
                <a:gd name="connsiteX200" fmla="*/ 37521 w 190855"/>
                <a:gd name="connsiteY200" fmla="*/ 137471 h 466408"/>
                <a:gd name="connsiteX201" fmla="*/ 36595 w 190855"/>
                <a:gd name="connsiteY201" fmla="*/ 132687 h 466408"/>
                <a:gd name="connsiteX202" fmla="*/ 34328 w 190855"/>
                <a:gd name="connsiteY202" fmla="*/ 130679 h 466408"/>
                <a:gd name="connsiteX203" fmla="*/ 32928 w 190855"/>
                <a:gd name="connsiteY203" fmla="*/ 128110 h 466408"/>
                <a:gd name="connsiteX204" fmla="*/ 33305 w 190855"/>
                <a:gd name="connsiteY204" fmla="*/ 121079 h 466408"/>
                <a:gd name="connsiteX205" fmla="*/ 35416 w 190855"/>
                <a:gd name="connsiteY205" fmla="*/ 120254 h 466408"/>
                <a:gd name="connsiteX206" fmla="*/ 39986 w 190855"/>
                <a:gd name="connsiteY206" fmla="*/ 110970 h 466408"/>
                <a:gd name="connsiteX207" fmla="*/ 42013 w 190855"/>
                <a:gd name="connsiteY207" fmla="*/ 105500 h 466408"/>
                <a:gd name="connsiteX208" fmla="*/ 39581 w 190855"/>
                <a:gd name="connsiteY208" fmla="*/ 101139 h 466408"/>
                <a:gd name="connsiteX209" fmla="*/ 36889 w 190855"/>
                <a:gd name="connsiteY209" fmla="*/ 94907 h 466408"/>
                <a:gd name="connsiteX210" fmla="*/ 35676 w 190855"/>
                <a:gd name="connsiteY210" fmla="*/ 90945 h 466408"/>
                <a:gd name="connsiteX211" fmla="*/ 34998 w 190855"/>
                <a:gd name="connsiteY211" fmla="*/ 89646 h 466408"/>
                <a:gd name="connsiteX212" fmla="*/ 36860 w 190855"/>
                <a:gd name="connsiteY212" fmla="*/ 87187 h 466408"/>
                <a:gd name="connsiteX213" fmla="*/ 39948 w 190855"/>
                <a:gd name="connsiteY213" fmla="*/ 84811 h 466408"/>
                <a:gd name="connsiteX214" fmla="*/ 43398 w 190855"/>
                <a:gd name="connsiteY214" fmla="*/ 84158 h 466408"/>
                <a:gd name="connsiteX215" fmla="*/ 47046 w 190855"/>
                <a:gd name="connsiteY215" fmla="*/ 83041 h 466408"/>
                <a:gd name="connsiteX216" fmla="*/ 58556 w 190855"/>
                <a:gd name="connsiteY216" fmla="*/ 71504 h 466408"/>
                <a:gd name="connsiteX217" fmla="*/ 58701 w 190855"/>
                <a:gd name="connsiteY217" fmla="*/ 69265 h 466408"/>
                <a:gd name="connsiteX218" fmla="*/ 56606 w 190855"/>
                <a:gd name="connsiteY218" fmla="*/ 65400 h 466408"/>
                <a:gd name="connsiteX219" fmla="*/ 52315 w 190855"/>
                <a:gd name="connsiteY219" fmla="*/ 59576 h 466408"/>
                <a:gd name="connsiteX220" fmla="*/ 51361 w 190855"/>
                <a:gd name="connsiteY220" fmla="*/ 57198 h 466408"/>
                <a:gd name="connsiteX221" fmla="*/ 50847 w 190855"/>
                <a:gd name="connsiteY221" fmla="*/ 50204 h 466408"/>
                <a:gd name="connsiteX222" fmla="*/ 49141 w 190855"/>
                <a:gd name="connsiteY222" fmla="*/ 48112 h 466408"/>
                <a:gd name="connsiteX223" fmla="*/ 42830 w 190855"/>
                <a:gd name="connsiteY223" fmla="*/ 43395 h 466408"/>
                <a:gd name="connsiteX224" fmla="*/ 37971 w 190855"/>
                <a:gd name="connsiteY224" fmla="*/ 38437 h 466408"/>
                <a:gd name="connsiteX225" fmla="*/ 39487 w 190855"/>
                <a:gd name="connsiteY225" fmla="*/ 33412 h 466408"/>
                <a:gd name="connsiteX226" fmla="*/ 40310 w 190855"/>
                <a:gd name="connsiteY226" fmla="*/ 27924 h 466408"/>
                <a:gd name="connsiteX227" fmla="*/ 37907 w 190855"/>
                <a:gd name="connsiteY227" fmla="*/ 24911 h 466408"/>
                <a:gd name="connsiteX228" fmla="*/ 34328 w 190855"/>
                <a:gd name="connsiteY228" fmla="*/ 21788 h 466408"/>
                <a:gd name="connsiteX229" fmla="*/ 32119 w 190855"/>
                <a:gd name="connsiteY229" fmla="*/ 17210 h 466408"/>
                <a:gd name="connsiteX230" fmla="*/ 31112 w 190855"/>
                <a:gd name="connsiteY230" fmla="*/ 13814 h 466408"/>
                <a:gd name="connsiteX231" fmla="*/ 28288 w 190855"/>
                <a:gd name="connsiteY231" fmla="*/ 12458 h 466408"/>
                <a:gd name="connsiteX232" fmla="*/ 25709 w 190855"/>
                <a:gd name="connsiteY232" fmla="*/ 12407 h 466408"/>
                <a:gd name="connsiteX233" fmla="*/ 23813 w 190855"/>
                <a:gd name="connsiteY233" fmla="*/ 14531 h 466408"/>
                <a:gd name="connsiteX234" fmla="*/ 21758 w 190855"/>
                <a:gd name="connsiteY234" fmla="*/ 14344 h 466408"/>
                <a:gd name="connsiteX235" fmla="*/ 19283 w 190855"/>
                <a:gd name="connsiteY235" fmla="*/ 13615 h 466408"/>
                <a:gd name="connsiteX236" fmla="*/ 18463 w 190855"/>
                <a:gd name="connsiteY236" fmla="*/ 10674 h 466408"/>
                <a:gd name="connsiteX237" fmla="*/ 18330 w 190855"/>
                <a:gd name="connsiteY237" fmla="*/ 7487 h 466408"/>
                <a:gd name="connsiteX238" fmla="*/ 16623 w 190855"/>
                <a:gd name="connsiteY238" fmla="*/ 5328 h 466408"/>
                <a:gd name="connsiteX239" fmla="*/ 14981 w 190855"/>
                <a:gd name="connsiteY239" fmla="*/ 2328 h 466408"/>
                <a:gd name="connsiteX240" fmla="*/ 14778 w 190855"/>
                <a:gd name="connsiteY240" fmla="*/ 742 h 466408"/>
                <a:gd name="connsiteX241" fmla="*/ 15806 w 190855"/>
                <a:gd name="connsiteY241" fmla="*/ 281 h 466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</a:cxnLst>
              <a:rect l="l" t="t" r="r" b="b"/>
              <a:pathLst>
                <a:path w="190855" h="466408">
                  <a:moveTo>
                    <a:pt x="121094" y="156199"/>
                  </a:moveTo>
                  <a:lnTo>
                    <a:pt x="122516" y="156821"/>
                  </a:lnTo>
                  <a:lnTo>
                    <a:pt x="123524" y="157884"/>
                  </a:lnTo>
                  <a:lnTo>
                    <a:pt x="123540" y="159585"/>
                  </a:lnTo>
                  <a:lnTo>
                    <a:pt x="122932" y="161345"/>
                  </a:lnTo>
                  <a:lnTo>
                    <a:pt x="121354" y="162681"/>
                  </a:lnTo>
                  <a:lnTo>
                    <a:pt x="119273" y="163164"/>
                  </a:lnTo>
                  <a:lnTo>
                    <a:pt x="117963" y="162089"/>
                  </a:lnTo>
                  <a:lnTo>
                    <a:pt x="118282" y="158891"/>
                  </a:lnTo>
                  <a:lnTo>
                    <a:pt x="119016" y="156569"/>
                  </a:lnTo>
                  <a:close/>
                  <a:moveTo>
                    <a:pt x="113777" y="154300"/>
                  </a:moveTo>
                  <a:lnTo>
                    <a:pt x="115722" y="155120"/>
                  </a:lnTo>
                  <a:lnTo>
                    <a:pt x="116751" y="156856"/>
                  </a:lnTo>
                  <a:lnTo>
                    <a:pt x="115575" y="160038"/>
                  </a:lnTo>
                  <a:lnTo>
                    <a:pt x="113129" y="159989"/>
                  </a:lnTo>
                  <a:lnTo>
                    <a:pt x="110828" y="157156"/>
                  </a:lnTo>
                  <a:lnTo>
                    <a:pt x="111562" y="154967"/>
                  </a:lnTo>
                  <a:close/>
                  <a:moveTo>
                    <a:pt x="17981" y="0"/>
                  </a:moveTo>
                  <a:lnTo>
                    <a:pt x="27249" y="6030"/>
                  </a:lnTo>
                  <a:lnTo>
                    <a:pt x="32863" y="6303"/>
                  </a:lnTo>
                  <a:lnTo>
                    <a:pt x="39118" y="7417"/>
                  </a:lnTo>
                  <a:lnTo>
                    <a:pt x="44451" y="12729"/>
                  </a:lnTo>
                  <a:lnTo>
                    <a:pt x="47226" y="13428"/>
                  </a:lnTo>
                  <a:lnTo>
                    <a:pt x="50767" y="12699"/>
                  </a:lnTo>
                  <a:lnTo>
                    <a:pt x="60841" y="12139"/>
                  </a:lnTo>
                  <a:lnTo>
                    <a:pt x="64901" y="12903"/>
                  </a:lnTo>
                  <a:lnTo>
                    <a:pt x="70114" y="16013"/>
                  </a:lnTo>
                  <a:lnTo>
                    <a:pt x="72166" y="16441"/>
                  </a:lnTo>
                  <a:lnTo>
                    <a:pt x="75428" y="16562"/>
                  </a:lnTo>
                  <a:lnTo>
                    <a:pt x="76007" y="15729"/>
                  </a:lnTo>
                  <a:lnTo>
                    <a:pt x="76341" y="13883"/>
                  </a:lnTo>
                  <a:lnTo>
                    <a:pt x="75763" y="10176"/>
                  </a:lnTo>
                  <a:lnTo>
                    <a:pt x="76505" y="8170"/>
                  </a:lnTo>
                  <a:lnTo>
                    <a:pt x="78490" y="6000"/>
                  </a:lnTo>
                  <a:lnTo>
                    <a:pt x="83994" y="8531"/>
                  </a:lnTo>
                  <a:lnTo>
                    <a:pt x="97756" y="20113"/>
                  </a:lnTo>
                  <a:lnTo>
                    <a:pt x="98166" y="21605"/>
                  </a:lnTo>
                  <a:lnTo>
                    <a:pt x="106941" y="33104"/>
                  </a:lnTo>
                  <a:lnTo>
                    <a:pt x="109796" y="37969"/>
                  </a:lnTo>
                  <a:lnTo>
                    <a:pt x="109796" y="40540"/>
                  </a:lnTo>
                  <a:lnTo>
                    <a:pt x="112504" y="50587"/>
                  </a:lnTo>
                  <a:lnTo>
                    <a:pt x="113099" y="55299"/>
                  </a:lnTo>
                  <a:lnTo>
                    <a:pt x="112494" y="58883"/>
                  </a:lnTo>
                  <a:lnTo>
                    <a:pt x="112604" y="61751"/>
                  </a:lnTo>
                  <a:lnTo>
                    <a:pt x="113667" y="65858"/>
                  </a:lnTo>
                  <a:lnTo>
                    <a:pt x="113313" y="67588"/>
                  </a:lnTo>
                  <a:lnTo>
                    <a:pt x="116450" y="73604"/>
                  </a:lnTo>
                  <a:lnTo>
                    <a:pt x="117947" y="78664"/>
                  </a:lnTo>
                  <a:lnTo>
                    <a:pt x="118261" y="83600"/>
                  </a:lnTo>
                  <a:lnTo>
                    <a:pt x="117385" y="88416"/>
                  </a:lnTo>
                  <a:lnTo>
                    <a:pt x="114621" y="95450"/>
                  </a:lnTo>
                  <a:lnTo>
                    <a:pt x="114146" y="98281"/>
                  </a:lnTo>
                  <a:lnTo>
                    <a:pt x="114754" y="100858"/>
                  </a:lnTo>
                  <a:lnTo>
                    <a:pt x="116541" y="103657"/>
                  </a:lnTo>
                  <a:lnTo>
                    <a:pt x="119528" y="106673"/>
                  </a:lnTo>
                  <a:lnTo>
                    <a:pt x="121775" y="110314"/>
                  </a:lnTo>
                  <a:lnTo>
                    <a:pt x="123296" y="114588"/>
                  </a:lnTo>
                  <a:lnTo>
                    <a:pt x="124582" y="116522"/>
                  </a:lnTo>
                  <a:lnTo>
                    <a:pt x="126184" y="116477"/>
                  </a:lnTo>
                  <a:lnTo>
                    <a:pt x="129128" y="117136"/>
                  </a:lnTo>
                  <a:lnTo>
                    <a:pt x="131498" y="119632"/>
                  </a:lnTo>
                  <a:lnTo>
                    <a:pt x="134246" y="123827"/>
                  </a:lnTo>
                  <a:lnTo>
                    <a:pt x="135173" y="128643"/>
                  </a:lnTo>
                  <a:lnTo>
                    <a:pt x="135577" y="130705"/>
                  </a:lnTo>
                  <a:lnTo>
                    <a:pt x="127705" y="130561"/>
                  </a:lnTo>
                  <a:lnTo>
                    <a:pt x="117813" y="131340"/>
                  </a:lnTo>
                  <a:lnTo>
                    <a:pt x="115384" y="133231"/>
                  </a:lnTo>
                  <a:lnTo>
                    <a:pt x="114655" y="137423"/>
                  </a:lnTo>
                  <a:lnTo>
                    <a:pt x="111556" y="146072"/>
                  </a:lnTo>
                  <a:lnTo>
                    <a:pt x="109831" y="149249"/>
                  </a:lnTo>
                  <a:lnTo>
                    <a:pt x="106164" y="155061"/>
                  </a:lnTo>
                  <a:lnTo>
                    <a:pt x="101016" y="163258"/>
                  </a:lnTo>
                  <a:lnTo>
                    <a:pt x="99942" y="165934"/>
                  </a:lnTo>
                  <a:lnTo>
                    <a:pt x="100122" y="168687"/>
                  </a:lnTo>
                  <a:lnTo>
                    <a:pt x="103156" y="179830"/>
                  </a:lnTo>
                  <a:lnTo>
                    <a:pt x="106338" y="191546"/>
                  </a:lnTo>
                  <a:lnTo>
                    <a:pt x="107351" y="196123"/>
                  </a:lnTo>
                  <a:lnTo>
                    <a:pt x="109622" y="211710"/>
                  </a:lnTo>
                  <a:lnTo>
                    <a:pt x="110884" y="222724"/>
                  </a:lnTo>
                  <a:lnTo>
                    <a:pt x="111069" y="229209"/>
                  </a:lnTo>
                  <a:lnTo>
                    <a:pt x="112135" y="237877"/>
                  </a:lnTo>
                  <a:lnTo>
                    <a:pt x="114969" y="242561"/>
                  </a:lnTo>
                  <a:lnTo>
                    <a:pt x="117937" y="245505"/>
                  </a:lnTo>
                  <a:lnTo>
                    <a:pt x="129122" y="247273"/>
                  </a:lnTo>
                  <a:lnTo>
                    <a:pt x="132460" y="249421"/>
                  </a:lnTo>
                  <a:lnTo>
                    <a:pt x="138797" y="254958"/>
                  </a:lnTo>
                  <a:lnTo>
                    <a:pt x="152634" y="270250"/>
                  </a:lnTo>
                  <a:lnTo>
                    <a:pt x="160233" y="280018"/>
                  </a:lnTo>
                  <a:lnTo>
                    <a:pt x="166908" y="288619"/>
                  </a:lnTo>
                  <a:lnTo>
                    <a:pt x="178871" y="304602"/>
                  </a:lnTo>
                  <a:lnTo>
                    <a:pt x="188152" y="317022"/>
                  </a:lnTo>
                  <a:lnTo>
                    <a:pt x="189312" y="328693"/>
                  </a:lnTo>
                  <a:lnTo>
                    <a:pt x="190855" y="330388"/>
                  </a:lnTo>
                  <a:lnTo>
                    <a:pt x="187726" y="339040"/>
                  </a:lnTo>
                  <a:lnTo>
                    <a:pt x="185677" y="353030"/>
                  </a:lnTo>
                  <a:lnTo>
                    <a:pt x="187153" y="362325"/>
                  </a:lnTo>
                  <a:lnTo>
                    <a:pt x="186539" y="378179"/>
                  </a:lnTo>
                  <a:lnTo>
                    <a:pt x="184839" y="395075"/>
                  </a:lnTo>
                  <a:lnTo>
                    <a:pt x="182709" y="401123"/>
                  </a:lnTo>
                  <a:lnTo>
                    <a:pt x="179964" y="403403"/>
                  </a:lnTo>
                  <a:lnTo>
                    <a:pt x="173473" y="405230"/>
                  </a:lnTo>
                  <a:lnTo>
                    <a:pt x="159210" y="407338"/>
                  </a:lnTo>
                  <a:lnTo>
                    <a:pt x="157075" y="409320"/>
                  </a:lnTo>
                  <a:lnTo>
                    <a:pt x="155243" y="412601"/>
                  </a:lnTo>
                  <a:lnTo>
                    <a:pt x="152356" y="420395"/>
                  </a:lnTo>
                  <a:lnTo>
                    <a:pt x="148949" y="428273"/>
                  </a:lnTo>
                  <a:lnTo>
                    <a:pt x="147880" y="431643"/>
                  </a:lnTo>
                  <a:lnTo>
                    <a:pt x="148539" y="432438"/>
                  </a:lnTo>
                  <a:lnTo>
                    <a:pt x="151587" y="436451"/>
                  </a:lnTo>
                  <a:lnTo>
                    <a:pt x="154630" y="446712"/>
                  </a:lnTo>
                  <a:lnTo>
                    <a:pt x="155179" y="464329"/>
                  </a:lnTo>
                  <a:lnTo>
                    <a:pt x="154121" y="465639"/>
                  </a:lnTo>
                  <a:lnTo>
                    <a:pt x="149905" y="466408"/>
                  </a:lnTo>
                  <a:lnTo>
                    <a:pt x="145357" y="466175"/>
                  </a:lnTo>
                  <a:lnTo>
                    <a:pt x="143490" y="465181"/>
                  </a:lnTo>
                  <a:lnTo>
                    <a:pt x="141805" y="463209"/>
                  </a:lnTo>
                  <a:lnTo>
                    <a:pt x="140581" y="459449"/>
                  </a:lnTo>
                  <a:lnTo>
                    <a:pt x="143560" y="456824"/>
                  </a:lnTo>
                  <a:lnTo>
                    <a:pt x="144618" y="452238"/>
                  </a:lnTo>
                  <a:lnTo>
                    <a:pt x="142708" y="448301"/>
                  </a:lnTo>
                  <a:lnTo>
                    <a:pt x="138885" y="447425"/>
                  </a:lnTo>
                  <a:lnTo>
                    <a:pt x="134032" y="443822"/>
                  </a:lnTo>
                  <a:lnTo>
                    <a:pt x="123690" y="432058"/>
                  </a:lnTo>
                  <a:lnTo>
                    <a:pt x="115038" y="423811"/>
                  </a:lnTo>
                  <a:lnTo>
                    <a:pt x="110029" y="416978"/>
                  </a:lnTo>
                  <a:lnTo>
                    <a:pt x="104887" y="414256"/>
                  </a:lnTo>
                  <a:lnTo>
                    <a:pt x="103411" y="412577"/>
                  </a:lnTo>
                  <a:lnTo>
                    <a:pt x="102173" y="409687"/>
                  </a:lnTo>
                  <a:lnTo>
                    <a:pt x="102152" y="405532"/>
                  </a:lnTo>
                  <a:lnTo>
                    <a:pt x="102621" y="402460"/>
                  </a:lnTo>
                  <a:lnTo>
                    <a:pt x="101016" y="399023"/>
                  </a:lnTo>
                  <a:lnTo>
                    <a:pt x="95822" y="393704"/>
                  </a:lnTo>
                  <a:lnTo>
                    <a:pt x="93452" y="390749"/>
                  </a:lnTo>
                  <a:lnTo>
                    <a:pt x="93326" y="387222"/>
                  </a:lnTo>
                  <a:lnTo>
                    <a:pt x="95512" y="383828"/>
                  </a:lnTo>
                  <a:lnTo>
                    <a:pt x="99953" y="379690"/>
                  </a:lnTo>
                  <a:lnTo>
                    <a:pt x="103314" y="371290"/>
                  </a:lnTo>
                  <a:lnTo>
                    <a:pt x="104512" y="365852"/>
                  </a:lnTo>
                  <a:lnTo>
                    <a:pt x="110779" y="354948"/>
                  </a:lnTo>
                  <a:lnTo>
                    <a:pt x="111647" y="345474"/>
                  </a:lnTo>
                  <a:lnTo>
                    <a:pt x="111776" y="337904"/>
                  </a:lnTo>
                  <a:lnTo>
                    <a:pt x="111393" y="332239"/>
                  </a:lnTo>
                  <a:lnTo>
                    <a:pt x="109791" y="320644"/>
                  </a:lnTo>
                  <a:lnTo>
                    <a:pt x="108674" y="312621"/>
                  </a:lnTo>
                  <a:lnTo>
                    <a:pt x="100960" y="302140"/>
                  </a:lnTo>
                  <a:lnTo>
                    <a:pt x="98442" y="301160"/>
                  </a:lnTo>
                  <a:lnTo>
                    <a:pt x="91114" y="302073"/>
                  </a:lnTo>
                  <a:lnTo>
                    <a:pt x="84782" y="303622"/>
                  </a:lnTo>
                  <a:lnTo>
                    <a:pt x="81677" y="305794"/>
                  </a:lnTo>
                  <a:lnTo>
                    <a:pt x="76963" y="305906"/>
                  </a:lnTo>
                  <a:lnTo>
                    <a:pt x="64617" y="307730"/>
                  </a:lnTo>
                  <a:lnTo>
                    <a:pt x="60750" y="308515"/>
                  </a:lnTo>
                  <a:lnTo>
                    <a:pt x="58510" y="310412"/>
                  </a:lnTo>
                  <a:lnTo>
                    <a:pt x="57214" y="310808"/>
                  </a:lnTo>
                  <a:lnTo>
                    <a:pt x="49446" y="302700"/>
                  </a:lnTo>
                  <a:lnTo>
                    <a:pt x="42616" y="293960"/>
                  </a:lnTo>
                  <a:lnTo>
                    <a:pt x="33945" y="279075"/>
                  </a:lnTo>
                  <a:lnTo>
                    <a:pt x="31470" y="277283"/>
                  </a:lnTo>
                  <a:lnTo>
                    <a:pt x="28288" y="272909"/>
                  </a:lnTo>
                  <a:lnTo>
                    <a:pt x="25658" y="274010"/>
                  </a:lnTo>
                  <a:lnTo>
                    <a:pt x="22031" y="277083"/>
                  </a:lnTo>
                  <a:lnTo>
                    <a:pt x="20071" y="277908"/>
                  </a:lnTo>
                  <a:lnTo>
                    <a:pt x="19053" y="277814"/>
                  </a:lnTo>
                  <a:lnTo>
                    <a:pt x="18410" y="277042"/>
                  </a:lnTo>
                  <a:lnTo>
                    <a:pt x="17601" y="275076"/>
                  </a:lnTo>
                  <a:lnTo>
                    <a:pt x="14802" y="269465"/>
                  </a:lnTo>
                  <a:lnTo>
                    <a:pt x="11655" y="265452"/>
                  </a:lnTo>
                  <a:lnTo>
                    <a:pt x="8328" y="263896"/>
                  </a:lnTo>
                  <a:lnTo>
                    <a:pt x="5609" y="262053"/>
                  </a:lnTo>
                  <a:lnTo>
                    <a:pt x="6806" y="260267"/>
                  </a:lnTo>
                  <a:lnTo>
                    <a:pt x="8073" y="258986"/>
                  </a:lnTo>
                  <a:lnTo>
                    <a:pt x="7524" y="257674"/>
                  </a:lnTo>
                  <a:lnTo>
                    <a:pt x="6003" y="255748"/>
                  </a:lnTo>
                  <a:lnTo>
                    <a:pt x="97" y="252962"/>
                  </a:lnTo>
                  <a:lnTo>
                    <a:pt x="0" y="251760"/>
                  </a:lnTo>
                  <a:lnTo>
                    <a:pt x="5213" y="249338"/>
                  </a:lnTo>
                  <a:lnTo>
                    <a:pt x="8507" y="246472"/>
                  </a:lnTo>
                  <a:lnTo>
                    <a:pt x="10747" y="243716"/>
                  </a:lnTo>
                  <a:lnTo>
                    <a:pt x="13580" y="237689"/>
                  </a:lnTo>
                  <a:lnTo>
                    <a:pt x="15881" y="231684"/>
                  </a:lnTo>
                  <a:lnTo>
                    <a:pt x="17601" y="229731"/>
                  </a:lnTo>
                  <a:lnTo>
                    <a:pt x="18196" y="225748"/>
                  </a:lnTo>
                  <a:lnTo>
                    <a:pt x="17807" y="221254"/>
                  </a:lnTo>
                  <a:lnTo>
                    <a:pt x="18954" y="215543"/>
                  </a:lnTo>
                  <a:lnTo>
                    <a:pt x="19521" y="210135"/>
                  </a:lnTo>
                  <a:lnTo>
                    <a:pt x="17775" y="208035"/>
                  </a:lnTo>
                  <a:lnTo>
                    <a:pt x="16299" y="204403"/>
                  </a:lnTo>
                  <a:lnTo>
                    <a:pt x="18051" y="198202"/>
                  </a:lnTo>
                  <a:lnTo>
                    <a:pt x="20799" y="193938"/>
                  </a:lnTo>
                  <a:lnTo>
                    <a:pt x="33940" y="189489"/>
                  </a:lnTo>
                  <a:lnTo>
                    <a:pt x="43090" y="185479"/>
                  </a:lnTo>
                  <a:lnTo>
                    <a:pt x="45029" y="183711"/>
                  </a:lnTo>
                  <a:lnTo>
                    <a:pt x="48139" y="180280"/>
                  </a:lnTo>
                  <a:lnTo>
                    <a:pt x="49864" y="176934"/>
                  </a:lnTo>
                  <a:lnTo>
                    <a:pt x="48627" y="175930"/>
                  </a:lnTo>
                  <a:lnTo>
                    <a:pt x="41437" y="175847"/>
                  </a:lnTo>
                  <a:lnTo>
                    <a:pt x="39667" y="174561"/>
                  </a:lnTo>
                  <a:lnTo>
                    <a:pt x="34465" y="162800"/>
                  </a:lnTo>
                  <a:lnTo>
                    <a:pt x="37347" y="149321"/>
                  </a:lnTo>
                  <a:lnTo>
                    <a:pt x="37591" y="144026"/>
                  </a:lnTo>
                  <a:lnTo>
                    <a:pt x="37521" y="137471"/>
                  </a:lnTo>
                  <a:lnTo>
                    <a:pt x="36595" y="132687"/>
                  </a:lnTo>
                  <a:lnTo>
                    <a:pt x="34328" y="130679"/>
                  </a:lnTo>
                  <a:lnTo>
                    <a:pt x="32928" y="128110"/>
                  </a:lnTo>
                  <a:lnTo>
                    <a:pt x="33305" y="121079"/>
                  </a:lnTo>
                  <a:lnTo>
                    <a:pt x="35416" y="120254"/>
                  </a:lnTo>
                  <a:lnTo>
                    <a:pt x="39986" y="110970"/>
                  </a:lnTo>
                  <a:lnTo>
                    <a:pt x="42013" y="105500"/>
                  </a:lnTo>
                  <a:lnTo>
                    <a:pt x="39581" y="101139"/>
                  </a:lnTo>
                  <a:lnTo>
                    <a:pt x="36889" y="94907"/>
                  </a:lnTo>
                  <a:lnTo>
                    <a:pt x="35676" y="90945"/>
                  </a:lnTo>
                  <a:lnTo>
                    <a:pt x="34998" y="89646"/>
                  </a:lnTo>
                  <a:lnTo>
                    <a:pt x="36860" y="87187"/>
                  </a:lnTo>
                  <a:lnTo>
                    <a:pt x="39948" y="84811"/>
                  </a:lnTo>
                  <a:lnTo>
                    <a:pt x="43398" y="84158"/>
                  </a:lnTo>
                  <a:lnTo>
                    <a:pt x="47046" y="83041"/>
                  </a:lnTo>
                  <a:lnTo>
                    <a:pt x="58556" y="71504"/>
                  </a:lnTo>
                  <a:lnTo>
                    <a:pt x="58701" y="69265"/>
                  </a:lnTo>
                  <a:lnTo>
                    <a:pt x="56606" y="65400"/>
                  </a:lnTo>
                  <a:lnTo>
                    <a:pt x="52315" y="59576"/>
                  </a:lnTo>
                  <a:lnTo>
                    <a:pt x="51361" y="57198"/>
                  </a:lnTo>
                  <a:lnTo>
                    <a:pt x="50847" y="50204"/>
                  </a:lnTo>
                  <a:lnTo>
                    <a:pt x="49141" y="48112"/>
                  </a:lnTo>
                  <a:lnTo>
                    <a:pt x="42830" y="43395"/>
                  </a:lnTo>
                  <a:lnTo>
                    <a:pt x="37971" y="38437"/>
                  </a:lnTo>
                  <a:lnTo>
                    <a:pt x="39487" y="33412"/>
                  </a:lnTo>
                  <a:lnTo>
                    <a:pt x="40310" y="27924"/>
                  </a:lnTo>
                  <a:lnTo>
                    <a:pt x="37907" y="24911"/>
                  </a:lnTo>
                  <a:lnTo>
                    <a:pt x="34328" y="21788"/>
                  </a:lnTo>
                  <a:lnTo>
                    <a:pt x="32119" y="17210"/>
                  </a:lnTo>
                  <a:lnTo>
                    <a:pt x="31112" y="13814"/>
                  </a:lnTo>
                  <a:lnTo>
                    <a:pt x="28288" y="12458"/>
                  </a:lnTo>
                  <a:lnTo>
                    <a:pt x="25709" y="12407"/>
                  </a:lnTo>
                  <a:lnTo>
                    <a:pt x="23813" y="14531"/>
                  </a:lnTo>
                  <a:lnTo>
                    <a:pt x="21758" y="14344"/>
                  </a:lnTo>
                  <a:lnTo>
                    <a:pt x="19283" y="13615"/>
                  </a:lnTo>
                  <a:lnTo>
                    <a:pt x="18463" y="10674"/>
                  </a:lnTo>
                  <a:lnTo>
                    <a:pt x="18330" y="7487"/>
                  </a:lnTo>
                  <a:lnTo>
                    <a:pt x="16623" y="5328"/>
                  </a:lnTo>
                  <a:lnTo>
                    <a:pt x="14981" y="2328"/>
                  </a:lnTo>
                  <a:lnTo>
                    <a:pt x="14778" y="742"/>
                  </a:lnTo>
                  <a:lnTo>
                    <a:pt x="15806" y="281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16" name="ee4p_NA_1_82333">
              <a:extLst>
                <a:ext uri="{FF2B5EF4-FFF2-40B4-BE49-F238E27FC236}">
                  <a16:creationId xmlns:a16="http://schemas.microsoft.com/office/drawing/2014/main" id="{221EC58F-279B-9476-49D4-D98406C4CA0B}"/>
                </a:ext>
              </a:extLst>
            </p:cNvPr>
            <p:cNvSpPr>
              <a:spLocks noChangeAspect="1"/>
            </p:cNvSpPr>
            <p:nvPr>
              <p:custDataLst>
                <p:tags r:id="rId144"/>
              </p:custDataLst>
            </p:nvPr>
          </p:nvSpPr>
          <p:spPr>
            <a:xfrm>
              <a:off x="6840204" y="5166292"/>
              <a:ext cx="375918" cy="360315"/>
            </a:xfrm>
            <a:custGeom>
              <a:avLst/>
              <a:gdLst/>
              <a:ahLst/>
              <a:cxnLst/>
              <a:rect l="0" t="0" r="0" b="0"/>
              <a:pathLst>
                <a:path w="299335" h="279306">
                  <a:moveTo>
                    <a:pt x="257805" y="15326"/>
                  </a:moveTo>
                  <a:lnTo>
                    <a:pt x="262542" y="14386"/>
                  </a:lnTo>
                  <a:lnTo>
                    <a:pt x="267060" y="13491"/>
                  </a:lnTo>
                  <a:lnTo>
                    <a:pt x="272316" y="12597"/>
                  </a:lnTo>
                  <a:lnTo>
                    <a:pt x="276522" y="11882"/>
                  </a:lnTo>
                  <a:lnTo>
                    <a:pt x="277578" y="11688"/>
                  </a:lnTo>
                  <a:lnTo>
                    <a:pt x="287706" y="12525"/>
                  </a:lnTo>
                  <a:lnTo>
                    <a:pt x="292117" y="13111"/>
                  </a:lnTo>
                  <a:lnTo>
                    <a:pt x="293651" y="13683"/>
                  </a:lnTo>
                  <a:lnTo>
                    <a:pt x="295650" y="15183"/>
                  </a:lnTo>
                  <a:lnTo>
                    <a:pt x="299334" y="18814"/>
                  </a:lnTo>
                  <a:lnTo>
                    <a:pt x="298388" y="18678"/>
                  </a:lnTo>
                  <a:lnTo>
                    <a:pt x="291602" y="19448"/>
                  </a:lnTo>
                  <a:lnTo>
                    <a:pt x="289016" y="20436"/>
                  </a:lnTo>
                  <a:lnTo>
                    <a:pt x="283232" y="24729"/>
                  </a:lnTo>
                  <a:lnTo>
                    <a:pt x="282001" y="24176"/>
                  </a:lnTo>
                  <a:lnTo>
                    <a:pt x="280614" y="23284"/>
                  </a:lnTo>
                  <a:lnTo>
                    <a:pt x="279438" y="23028"/>
                  </a:lnTo>
                  <a:lnTo>
                    <a:pt x="276894" y="24060"/>
                  </a:lnTo>
                  <a:lnTo>
                    <a:pt x="274359" y="25295"/>
                  </a:lnTo>
                  <a:lnTo>
                    <a:pt x="271558" y="27044"/>
                  </a:lnTo>
                  <a:lnTo>
                    <a:pt x="269252" y="28760"/>
                  </a:lnTo>
                  <a:lnTo>
                    <a:pt x="268498" y="29681"/>
                  </a:lnTo>
                  <a:lnTo>
                    <a:pt x="264877" y="33219"/>
                  </a:lnTo>
                  <a:lnTo>
                    <a:pt x="263698" y="33793"/>
                  </a:lnTo>
                  <a:lnTo>
                    <a:pt x="262648" y="34034"/>
                  </a:lnTo>
                  <a:lnTo>
                    <a:pt x="262225" y="33874"/>
                  </a:lnTo>
                  <a:lnTo>
                    <a:pt x="261774" y="32353"/>
                  </a:lnTo>
                  <a:lnTo>
                    <a:pt x="259554" y="28802"/>
                  </a:lnTo>
                  <a:lnTo>
                    <a:pt x="255991" y="24149"/>
                  </a:lnTo>
                  <a:lnTo>
                    <a:pt x="254950" y="23697"/>
                  </a:lnTo>
                  <a:lnTo>
                    <a:pt x="254238" y="23518"/>
                  </a:lnTo>
                  <a:lnTo>
                    <a:pt x="251597" y="23743"/>
                  </a:lnTo>
                  <a:lnTo>
                    <a:pt x="243920" y="25059"/>
                  </a:lnTo>
                  <a:lnTo>
                    <a:pt x="237448" y="26167"/>
                  </a:lnTo>
                  <a:lnTo>
                    <a:pt x="227528" y="28061"/>
                  </a:lnTo>
                  <a:lnTo>
                    <a:pt x="216876" y="29592"/>
                  </a:lnTo>
                  <a:lnTo>
                    <a:pt x="210305" y="30533"/>
                  </a:lnTo>
                  <a:lnTo>
                    <a:pt x="204591" y="30808"/>
                  </a:lnTo>
                  <a:lnTo>
                    <a:pt x="204595" y="35419"/>
                  </a:lnTo>
                  <a:lnTo>
                    <a:pt x="204610" y="44758"/>
                  </a:lnTo>
                  <a:lnTo>
                    <a:pt x="204624" y="54110"/>
                  </a:lnTo>
                  <a:lnTo>
                    <a:pt x="204636" y="63476"/>
                  </a:lnTo>
                  <a:lnTo>
                    <a:pt x="204651" y="72860"/>
                  </a:lnTo>
                  <a:lnTo>
                    <a:pt x="204665" y="82256"/>
                  </a:lnTo>
                  <a:lnTo>
                    <a:pt x="204680" y="91669"/>
                  </a:lnTo>
                  <a:lnTo>
                    <a:pt x="204692" y="101098"/>
                  </a:lnTo>
                  <a:lnTo>
                    <a:pt x="204706" y="110545"/>
                  </a:lnTo>
                  <a:lnTo>
                    <a:pt x="204710" y="114668"/>
                  </a:lnTo>
                  <a:lnTo>
                    <a:pt x="204522" y="115556"/>
                  </a:lnTo>
                  <a:lnTo>
                    <a:pt x="201244" y="115556"/>
                  </a:lnTo>
                  <a:lnTo>
                    <a:pt x="193831" y="115556"/>
                  </a:lnTo>
                  <a:lnTo>
                    <a:pt x="187592" y="115556"/>
                  </a:lnTo>
                  <a:lnTo>
                    <a:pt x="182550" y="115556"/>
                  </a:lnTo>
                  <a:lnTo>
                    <a:pt x="182557" y="121182"/>
                  </a:lnTo>
                  <a:lnTo>
                    <a:pt x="182563" y="127845"/>
                  </a:lnTo>
                  <a:lnTo>
                    <a:pt x="182570" y="134514"/>
                  </a:lnTo>
                  <a:lnTo>
                    <a:pt x="182576" y="141192"/>
                  </a:lnTo>
                  <a:lnTo>
                    <a:pt x="182585" y="147879"/>
                  </a:lnTo>
                  <a:lnTo>
                    <a:pt x="182593" y="154575"/>
                  </a:lnTo>
                  <a:lnTo>
                    <a:pt x="182600" y="161280"/>
                  </a:lnTo>
                  <a:lnTo>
                    <a:pt x="182606" y="167995"/>
                  </a:lnTo>
                  <a:lnTo>
                    <a:pt x="182613" y="174721"/>
                  </a:lnTo>
                  <a:lnTo>
                    <a:pt x="182619" y="179800"/>
                  </a:lnTo>
                  <a:lnTo>
                    <a:pt x="182619" y="180383"/>
                  </a:lnTo>
                  <a:lnTo>
                    <a:pt x="182619" y="190266"/>
                  </a:lnTo>
                  <a:lnTo>
                    <a:pt x="182619" y="200755"/>
                  </a:lnTo>
                  <a:lnTo>
                    <a:pt x="182619" y="211267"/>
                  </a:lnTo>
                  <a:lnTo>
                    <a:pt x="182619" y="221806"/>
                  </a:lnTo>
                  <a:lnTo>
                    <a:pt x="182619" y="232371"/>
                  </a:lnTo>
                  <a:lnTo>
                    <a:pt x="182619" y="242959"/>
                  </a:lnTo>
                  <a:lnTo>
                    <a:pt x="182619" y="253576"/>
                  </a:lnTo>
                  <a:lnTo>
                    <a:pt x="182619" y="264220"/>
                  </a:lnTo>
                  <a:lnTo>
                    <a:pt x="182619" y="267598"/>
                  </a:lnTo>
                  <a:lnTo>
                    <a:pt x="180350" y="267554"/>
                  </a:lnTo>
                  <a:lnTo>
                    <a:pt x="175787" y="268861"/>
                  </a:lnTo>
                  <a:lnTo>
                    <a:pt x="172876" y="270557"/>
                  </a:lnTo>
                  <a:lnTo>
                    <a:pt x="171617" y="272645"/>
                  </a:lnTo>
                  <a:lnTo>
                    <a:pt x="169944" y="273914"/>
                  </a:lnTo>
                  <a:lnTo>
                    <a:pt x="167853" y="274367"/>
                  </a:lnTo>
                  <a:lnTo>
                    <a:pt x="166931" y="275434"/>
                  </a:lnTo>
                  <a:lnTo>
                    <a:pt x="167180" y="277121"/>
                  </a:lnTo>
                  <a:lnTo>
                    <a:pt x="166374" y="278412"/>
                  </a:lnTo>
                  <a:lnTo>
                    <a:pt x="164515" y="279305"/>
                  </a:lnTo>
                  <a:lnTo>
                    <a:pt x="161516" y="279044"/>
                  </a:lnTo>
                  <a:lnTo>
                    <a:pt x="157374" y="277631"/>
                  </a:lnTo>
                  <a:lnTo>
                    <a:pt x="152103" y="277297"/>
                  </a:lnTo>
                  <a:lnTo>
                    <a:pt x="145700" y="278042"/>
                  </a:lnTo>
                  <a:lnTo>
                    <a:pt x="141099" y="277692"/>
                  </a:lnTo>
                  <a:lnTo>
                    <a:pt x="138298" y="276241"/>
                  </a:lnTo>
                  <a:lnTo>
                    <a:pt x="135325" y="275415"/>
                  </a:lnTo>
                  <a:lnTo>
                    <a:pt x="132178" y="275209"/>
                  </a:lnTo>
                  <a:lnTo>
                    <a:pt x="130354" y="274601"/>
                  </a:lnTo>
                  <a:lnTo>
                    <a:pt x="126620" y="273522"/>
                  </a:lnTo>
                  <a:lnTo>
                    <a:pt x="125907" y="271673"/>
                  </a:lnTo>
                  <a:lnTo>
                    <a:pt x="125469" y="270271"/>
                  </a:lnTo>
                  <a:lnTo>
                    <a:pt x="124407" y="268795"/>
                  </a:lnTo>
                  <a:lnTo>
                    <a:pt x="124290" y="267608"/>
                  </a:lnTo>
                  <a:lnTo>
                    <a:pt x="125124" y="266704"/>
                  </a:lnTo>
                  <a:lnTo>
                    <a:pt x="125245" y="265248"/>
                  </a:lnTo>
                  <a:lnTo>
                    <a:pt x="124646" y="263240"/>
                  </a:lnTo>
                  <a:lnTo>
                    <a:pt x="123614" y="262262"/>
                  </a:lnTo>
                  <a:lnTo>
                    <a:pt x="122150" y="262316"/>
                  </a:lnTo>
                  <a:lnTo>
                    <a:pt x="121239" y="261549"/>
                  </a:lnTo>
                  <a:lnTo>
                    <a:pt x="120882" y="259962"/>
                  </a:lnTo>
                  <a:lnTo>
                    <a:pt x="120019" y="258758"/>
                  </a:lnTo>
                  <a:lnTo>
                    <a:pt x="117959" y="257534"/>
                  </a:lnTo>
                  <a:lnTo>
                    <a:pt x="115240" y="258457"/>
                  </a:lnTo>
                  <a:lnTo>
                    <a:pt x="113957" y="259852"/>
                  </a:lnTo>
                  <a:lnTo>
                    <a:pt x="113204" y="262031"/>
                  </a:lnTo>
                  <a:lnTo>
                    <a:pt x="112517" y="263123"/>
                  </a:lnTo>
                  <a:lnTo>
                    <a:pt x="112171" y="264951"/>
                  </a:lnTo>
                  <a:lnTo>
                    <a:pt x="112016" y="266243"/>
                  </a:lnTo>
                  <a:lnTo>
                    <a:pt x="111314" y="267619"/>
                  </a:lnTo>
                  <a:lnTo>
                    <a:pt x="110591" y="268179"/>
                  </a:lnTo>
                  <a:lnTo>
                    <a:pt x="109848" y="267926"/>
                  </a:lnTo>
                  <a:lnTo>
                    <a:pt x="108449" y="268476"/>
                  </a:lnTo>
                  <a:lnTo>
                    <a:pt x="105374" y="270515"/>
                  </a:lnTo>
                  <a:lnTo>
                    <a:pt x="104499" y="271588"/>
                  </a:lnTo>
                  <a:lnTo>
                    <a:pt x="102012" y="269643"/>
                  </a:lnTo>
                  <a:lnTo>
                    <a:pt x="94760" y="262338"/>
                  </a:lnTo>
                  <a:lnTo>
                    <a:pt x="92191" y="260441"/>
                  </a:lnTo>
                  <a:lnTo>
                    <a:pt x="88390" y="255974"/>
                  </a:lnTo>
                  <a:lnTo>
                    <a:pt x="80042" y="242145"/>
                  </a:lnTo>
                  <a:lnTo>
                    <a:pt x="78850" y="239487"/>
                  </a:lnTo>
                  <a:lnTo>
                    <a:pt x="77261" y="232826"/>
                  </a:lnTo>
                  <a:lnTo>
                    <a:pt x="75428" y="227894"/>
                  </a:lnTo>
                  <a:lnTo>
                    <a:pt x="75227" y="225051"/>
                  </a:lnTo>
                  <a:lnTo>
                    <a:pt x="76101" y="223445"/>
                  </a:lnTo>
                  <a:lnTo>
                    <a:pt x="75565" y="221257"/>
                  </a:lnTo>
                  <a:lnTo>
                    <a:pt x="74626" y="219308"/>
                  </a:lnTo>
                  <a:lnTo>
                    <a:pt x="71778" y="216755"/>
                  </a:lnTo>
                  <a:lnTo>
                    <a:pt x="70970" y="208236"/>
                  </a:lnTo>
                  <a:lnTo>
                    <a:pt x="69068" y="202741"/>
                  </a:lnTo>
                  <a:lnTo>
                    <a:pt x="69476" y="198206"/>
                  </a:lnTo>
                  <a:lnTo>
                    <a:pt x="68567" y="194078"/>
                  </a:lnTo>
                  <a:lnTo>
                    <a:pt x="68478" y="191434"/>
                  </a:lnTo>
                  <a:lnTo>
                    <a:pt x="68889" y="186414"/>
                  </a:lnTo>
                  <a:lnTo>
                    <a:pt x="67360" y="180647"/>
                  </a:lnTo>
                  <a:lnTo>
                    <a:pt x="64263" y="175010"/>
                  </a:lnTo>
                  <a:lnTo>
                    <a:pt x="61469" y="166891"/>
                  </a:lnTo>
                  <a:lnTo>
                    <a:pt x="61068" y="163340"/>
                  </a:lnTo>
                  <a:lnTo>
                    <a:pt x="61366" y="153806"/>
                  </a:lnTo>
                  <a:lnTo>
                    <a:pt x="60826" y="149922"/>
                  </a:lnTo>
                  <a:lnTo>
                    <a:pt x="60856" y="145358"/>
                  </a:lnTo>
                  <a:lnTo>
                    <a:pt x="59750" y="140634"/>
                  </a:lnTo>
                  <a:lnTo>
                    <a:pt x="59297" y="138058"/>
                  </a:lnTo>
                  <a:lnTo>
                    <a:pt x="60074" y="136019"/>
                  </a:lnTo>
                  <a:lnTo>
                    <a:pt x="60534" y="136663"/>
                  </a:lnTo>
                  <a:lnTo>
                    <a:pt x="61340" y="136970"/>
                  </a:lnTo>
                  <a:lnTo>
                    <a:pt x="61875" y="134264"/>
                  </a:lnTo>
                  <a:lnTo>
                    <a:pt x="62009" y="131875"/>
                  </a:lnTo>
                  <a:lnTo>
                    <a:pt x="60612" y="125981"/>
                  </a:lnTo>
                  <a:lnTo>
                    <a:pt x="57496" y="119960"/>
                  </a:lnTo>
                  <a:lnTo>
                    <a:pt x="49787" y="110163"/>
                  </a:lnTo>
                  <a:lnTo>
                    <a:pt x="47904" y="106434"/>
                  </a:lnTo>
                  <a:lnTo>
                    <a:pt x="46827" y="103346"/>
                  </a:lnTo>
                  <a:lnTo>
                    <a:pt x="38230" y="90480"/>
                  </a:lnTo>
                  <a:lnTo>
                    <a:pt x="34554" y="81419"/>
                  </a:lnTo>
                  <a:lnTo>
                    <a:pt x="31989" y="73603"/>
                  </a:lnTo>
                  <a:lnTo>
                    <a:pt x="29197" y="70003"/>
                  </a:lnTo>
                  <a:lnTo>
                    <a:pt x="16286" y="44718"/>
                  </a:lnTo>
                  <a:lnTo>
                    <a:pt x="13423" y="40695"/>
                  </a:lnTo>
                  <a:lnTo>
                    <a:pt x="8270" y="35886"/>
                  </a:lnTo>
                  <a:lnTo>
                    <a:pt x="7065" y="34280"/>
                  </a:lnTo>
                  <a:lnTo>
                    <a:pt x="5079" y="29703"/>
                  </a:lnTo>
                  <a:lnTo>
                    <a:pt x="1199" y="23565"/>
                  </a:lnTo>
                  <a:lnTo>
                    <a:pt x="261" y="17842"/>
                  </a:lnTo>
                  <a:lnTo>
                    <a:pt x="0" y="11364"/>
                  </a:lnTo>
                  <a:lnTo>
                    <a:pt x="473" y="6408"/>
                  </a:lnTo>
                  <a:lnTo>
                    <a:pt x="3999" y="5892"/>
                  </a:lnTo>
                  <a:lnTo>
                    <a:pt x="6463" y="4571"/>
                  </a:lnTo>
                  <a:lnTo>
                    <a:pt x="8683" y="4480"/>
                  </a:lnTo>
                  <a:lnTo>
                    <a:pt x="10873" y="5514"/>
                  </a:lnTo>
                  <a:lnTo>
                    <a:pt x="13196" y="5592"/>
                  </a:lnTo>
                  <a:lnTo>
                    <a:pt x="14099" y="5421"/>
                  </a:lnTo>
                  <a:lnTo>
                    <a:pt x="18275" y="5576"/>
                  </a:lnTo>
                  <a:lnTo>
                    <a:pt x="20672" y="4389"/>
                  </a:lnTo>
                  <a:lnTo>
                    <a:pt x="23516" y="3198"/>
                  </a:lnTo>
                  <a:lnTo>
                    <a:pt x="25155" y="2160"/>
                  </a:lnTo>
                  <a:lnTo>
                    <a:pt x="27452" y="1087"/>
                  </a:lnTo>
                  <a:lnTo>
                    <a:pt x="30504" y="0"/>
                  </a:lnTo>
                  <a:lnTo>
                    <a:pt x="32235" y="91"/>
                  </a:lnTo>
                  <a:lnTo>
                    <a:pt x="34362" y="498"/>
                  </a:lnTo>
                  <a:lnTo>
                    <a:pt x="37193" y="913"/>
                  </a:lnTo>
                  <a:lnTo>
                    <a:pt x="38791" y="1646"/>
                  </a:lnTo>
                  <a:lnTo>
                    <a:pt x="40687" y="3949"/>
                  </a:lnTo>
                  <a:lnTo>
                    <a:pt x="43620" y="6050"/>
                  </a:lnTo>
                  <a:lnTo>
                    <a:pt x="45779" y="7300"/>
                  </a:lnTo>
                  <a:lnTo>
                    <a:pt x="48260" y="8948"/>
                  </a:lnTo>
                  <a:lnTo>
                    <a:pt x="49007" y="9586"/>
                  </a:lnTo>
                  <a:lnTo>
                    <a:pt x="50100" y="9937"/>
                  </a:lnTo>
                  <a:lnTo>
                    <a:pt x="50765" y="10044"/>
                  </a:lnTo>
                  <a:lnTo>
                    <a:pt x="55373" y="9791"/>
                  </a:lnTo>
                  <a:lnTo>
                    <a:pt x="59549" y="9561"/>
                  </a:lnTo>
                  <a:lnTo>
                    <a:pt x="64043" y="9568"/>
                  </a:lnTo>
                  <a:lnTo>
                    <a:pt x="72504" y="9582"/>
                  </a:lnTo>
                  <a:lnTo>
                    <a:pt x="80964" y="9595"/>
                  </a:lnTo>
                  <a:lnTo>
                    <a:pt x="89425" y="9606"/>
                  </a:lnTo>
                  <a:lnTo>
                    <a:pt x="97885" y="9619"/>
                  </a:lnTo>
                  <a:lnTo>
                    <a:pt x="106345" y="9633"/>
                  </a:lnTo>
                  <a:lnTo>
                    <a:pt x="114806" y="9646"/>
                  </a:lnTo>
                  <a:lnTo>
                    <a:pt x="123266" y="9660"/>
                  </a:lnTo>
                  <a:lnTo>
                    <a:pt x="131725" y="9673"/>
                  </a:lnTo>
                  <a:lnTo>
                    <a:pt x="135186" y="9677"/>
                  </a:lnTo>
                  <a:lnTo>
                    <a:pt x="141232" y="9751"/>
                  </a:lnTo>
                  <a:lnTo>
                    <a:pt x="147592" y="9828"/>
                  </a:lnTo>
                  <a:lnTo>
                    <a:pt x="148296" y="9960"/>
                  </a:lnTo>
                  <a:lnTo>
                    <a:pt x="149006" y="10402"/>
                  </a:lnTo>
                  <a:lnTo>
                    <a:pt x="149587" y="10816"/>
                  </a:lnTo>
                  <a:lnTo>
                    <a:pt x="151833" y="13716"/>
                  </a:lnTo>
                  <a:lnTo>
                    <a:pt x="154705" y="16753"/>
                  </a:lnTo>
                  <a:lnTo>
                    <a:pt x="157091" y="18192"/>
                  </a:lnTo>
                  <a:lnTo>
                    <a:pt x="159950" y="19041"/>
                  </a:lnTo>
                  <a:lnTo>
                    <a:pt x="162630" y="19364"/>
                  </a:lnTo>
                  <a:lnTo>
                    <a:pt x="165128" y="19154"/>
                  </a:lnTo>
                  <a:lnTo>
                    <a:pt x="169279" y="19542"/>
                  </a:lnTo>
                  <a:lnTo>
                    <a:pt x="175076" y="20527"/>
                  </a:lnTo>
                  <a:lnTo>
                    <a:pt x="181101" y="20817"/>
                  </a:lnTo>
                  <a:lnTo>
                    <a:pt x="187348" y="20413"/>
                  </a:lnTo>
                  <a:lnTo>
                    <a:pt x="191741" y="20955"/>
                  </a:lnTo>
                  <a:lnTo>
                    <a:pt x="194276" y="22441"/>
                  </a:lnTo>
                  <a:lnTo>
                    <a:pt x="196874" y="23449"/>
                  </a:lnTo>
                  <a:lnTo>
                    <a:pt x="199536" y="23975"/>
                  </a:lnTo>
                  <a:lnTo>
                    <a:pt x="203136" y="23663"/>
                  </a:lnTo>
                  <a:lnTo>
                    <a:pt x="207673" y="22515"/>
                  </a:lnTo>
                  <a:lnTo>
                    <a:pt x="211529" y="22680"/>
                  </a:lnTo>
                  <a:lnTo>
                    <a:pt x="213317" y="23514"/>
                  </a:lnTo>
                  <a:lnTo>
                    <a:pt x="214382" y="23540"/>
                  </a:lnTo>
                  <a:lnTo>
                    <a:pt x="221050" y="22332"/>
                  </a:lnTo>
                  <a:lnTo>
                    <a:pt x="226409" y="21360"/>
                  </a:lnTo>
                  <a:lnTo>
                    <a:pt x="234445" y="19816"/>
                  </a:lnTo>
                  <a:lnTo>
                    <a:pt x="241074" y="18542"/>
                  </a:lnTo>
                  <a:lnTo>
                    <a:pt x="250897" y="16653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17" name="ee4p_NE_1_82333">
              <a:extLst>
                <a:ext uri="{FF2B5EF4-FFF2-40B4-BE49-F238E27FC236}">
                  <a16:creationId xmlns:a16="http://schemas.microsoft.com/office/drawing/2014/main" id="{157ED3E7-231F-1577-6A72-911E7D46BD1F}"/>
                </a:ext>
              </a:extLst>
            </p:cNvPr>
            <p:cNvSpPr>
              <a:spLocks noChangeAspect="1"/>
            </p:cNvSpPr>
            <p:nvPr>
              <p:custDataLst>
                <p:tags r:id="rId145"/>
              </p:custDataLst>
            </p:nvPr>
          </p:nvSpPr>
          <p:spPr>
            <a:xfrm>
              <a:off x="6519252" y="3994440"/>
              <a:ext cx="438738" cy="348116"/>
            </a:xfrm>
            <a:custGeom>
              <a:avLst/>
              <a:gdLst/>
              <a:ahLst/>
              <a:cxnLst/>
              <a:rect l="0" t="0" r="0" b="0"/>
              <a:pathLst>
                <a:path w="349357" h="269849">
                  <a:moveTo>
                    <a:pt x="327594" y="12171"/>
                  </a:moveTo>
                  <a:lnTo>
                    <a:pt x="330025" y="25619"/>
                  </a:lnTo>
                  <a:lnTo>
                    <a:pt x="331867" y="37140"/>
                  </a:lnTo>
                  <a:lnTo>
                    <a:pt x="331990" y="44469"/>
                  </a:lnTo>
                  <a:lnTo>
                    <a:pt x="332079" y="46378"/>
                  </a:lnTo>
                  <a:lnTo>
                    <a:pt x="332830" y="47673"/>
                  </a:lnTo>
                  <a:lnTo>
                    <a:pt x="334551" y="48967"/>
                  </a:lnTo>
                  <a:lnTo>
                    <a:pt x="341487" y="59534"/>
                  </a:lnTo>
                  <a:lnTo>
                    <a:pt x="340006" y="61369"/>
                  </a:lnTo>
                  <a:lnTo>
                    <a:pt x="341040" y="64637"/>
                  </a:lnTo>
                  <a:lnTo>
                    <a:pt x="342839" y="66043"/>
                  </a:lnTo>
                  <a:lnTo>
                    <a:pt x="348606" y="72325"/>
                  </a:lnTo>
                  <a:lnTo>
                    <a:pt x="349356" y="73561"/>
                  </a:lnTo>
                  <a:lnTo>
                    <a:pt x="349038" y="74552"/>
                  </a:lnTo>
                  <a:lnTo>
                    <a:pt x="345000" y="81931"/>
                  </a:lnTo>
                  <a:lnTo>
                    <a:pt x="344312" y="83737"/>
                  </a:lnTo>
                  <a:lnTo>
                    <a:pt x="343506" y="93131"/>
                  </a:lnTo>
                  <a:lnTo>
                    <a:pt x="342938" y="99749"/>
                  </a:lnTo>
                  <a:lnTo>
                    <a:pt x="342156" y="108821"/>
                  </a:lnTo>
                  <a:lnTo>
                    <a:pt x="341226" y="119660"/>
                  </a:lnTo>
                  <a:lnTo>
                    <a:pt x="340474" y="128792"/>
                  </a:lnTo>
                  <a:lnTo>
                    <a:pt x="339483" y="140849"/>
                  </a:lnTo>
                  <a:lnTo>
                    <a:pt x="338546" y="152233"/>
                  </a:lnTo>
                  <a:lnTo>
                    <a:pt x="332748" y="158473"/>
                  </a:lnTo>
                  <a:lnTo>
                    <a:pt x="322456" y="169536"/>
                  </a:lnTo>
                  <a:lnTo>
                    <a:pt x="314082" y="178525"/>
                  </a:lnTo>
                  <a:lnTo>
                    <a:pt x="309887" y="184535"/>
                  </a:lnTo>
                  <a:lnTo>
                    <a:pt x="301681" y="196268"/>
                  </a:lnTo>
                  <a:lnTo>
                    <a:pt x="298038" y="203844"/>
                  </a:lnTo>
                  <a:lnTo>
                    <a:pt x="295192" y="207800"/>
                  </a:lnTo>
                  <a:lnTo>
                    <a:pt x="293745" y="209490"/>
                  </a:lnTo>
                  <a:lnTo>
                    <a:pt x="295017" y="215045"/>
                  </a:lnTo>
                  <a:lnTo>
                    <a:pt x="297241" y="224731"/>
                  </a:lnTo>
                  <a:lnTo>
                    <a:pt x="293274" y="224795"/>
                  </a:lnTo>
                  <a:lnTo>
                    <a:pt x="290994" y="225491"/>
                  </a:lnTo>
                  <a:lnTo>
                    <a:pt x="288120" y="227694"/>
                  </a:lnTo>
                  <a:lnTo>
                    <a:pt x="284904" y="228561"/>
                  </a:lnTo>
                  <a:lnTo>
                    <a:pt x="280996" y="230486"/>
                  </a:lnTo>
                  <a:lnTo>
                    <a:pt x="278526" y="232031"/>
                  </a:lnTo>
                  <a:lnTo>
                    <a:pt x="276200" y="233242"/>
                  </a:lnTo>
                  <a:lnTo>
                    <a:pt x="273002" y="236216"/>
                  </a:lnTo>
                  <a:lnTo>
                    <a:pt x="271963" y="238478"/>
                  </a:lnTo>
                  <a:lnTo>
                    <a:pt x="268776" y="238930"/>
                  </a:lnTo>
                  <a:lnTo>
                    <a:pt x="264330" y="238553"/>
                  </a:lnTo>
                  <a:lnTo>
                    <a:pt x="261501" y="236273"/>
                  </a:lnTo>
                  <a:lnTo>
                    <a:pt x="254941" y="233891"/>
                  </a:lnTo>
                  <a:lnTo>
                    <a:pt x="250689" y="232927"/>
                  </a:lnTo>
                  <a:lnTo>
                    <a:pt x="248717" y="232633"/>
                  </a:lnTo>
                  <a:lnTo>
                    <a:pt x="238700" y="232230"/>
                  </a:lnTo>
                  <a:lnTo>
                    <a:pt x="228020" y="233159"/>
                  </a:lnTo>
                  <a:lnTo>
                    <a:pt x="222574" y="234266"/>
                  </a:lnTo>
                  <a:lnTo>
                    <a:pt x="221581" y="234511"/>
                  </a:lnTo>
                  <a:lnTo>
                    <a:pt x="218495" y="235950"/>
                  </a:lnTo>
                  <a:lnTo>
                    <a:pt x="215934" y="237545"/>
                  </a:lnTo>
                  <a:lnTo>
                    <a:pt x="209004" y="244842"/>
                  </a:lnTo>
                  <a:lnTo>
                    <a:pt x="199842" y="244599"/>
                  </a:lnTo>
                  <a:lnTo>
                    <a:pt x="194448" y="243790"/>
                  </a:lnTo>
                  <a:lnTo>
                    <a:pt x="189870" y="242651"/>
                  </a:lnTo>
                  <a:lnTo>
                    <a:pt x="183357" y="239245"/>
                  </a:lnTo>
                  <a:lnTo>
                    <a:pt x="175374" y="234038"/>
                  </a:lnTo>
                  <a:lnTo>
                    <a:pt x="172295" y="233327"/>
                  </a:lnTo>
                  <a:lnTo>
                    <a:pt x="169524" y="232918"/>
                  </a:lnTo>
                  <a:lnTo>
                    <a:pt x="168600" y="232987"/>
                  </a:lnTo>
                  <a:lnTo>
                    <a:pt x="159073" y="238176"/>
                  </a:lnTo>
                  <a:lnTo>
                    <a:pt x="157235" y="238062"/>
                  </a:lnTo>
                  <a:lnTo>
                    <a:pt x="154987" y="238645"/>
                  </a:lnTo>
                  <a:lnTo>
                    <a:pt x="153506" y="239932"/>
                  </a:lnTo>
                  <a:lnTo>
                    <a:pt x="152415" y="240582"/>
                  </a:lnTo>
                  <a:lnTo>
                    <a:pt x="151273" y="240686"/>
                  </a:lnTo>
                  <a:lnTo>
                    <a:pt x="149772" y="240402"/>
                  </a:lnTo>
                  <a:lnTo>
                    <a:pt x="148299" y="239614"/>
                  </a:lnTo>
                  <a:lnTo>
                    <a:pt x="146833" y="238165"/>
                  </a:lnTo>
                  <a:lnTo>
                    <a:pt x="142903" y="232393"/>
                  </a:lnTo>
                  <a:lnTo>
                    <a:pt x="142094" y="231384"/>
                  </a:lnTo>
                  <a:lnTo>
                    <a:pt x="140416" y="229667"/>
                  </a:lnTo>
                  <a:lnTo>
                    <a:pt x="137591" y="227006"/>
                  </a:lnTo>
                  <a:lnTo>
                    <a:pt x="135678" y="225763"/>
                  </a:lnTo>
                  <a:lnTo>
                    <a:pt x="134514" y="225443"/>
                  </a:lnTo>
                  <a:lnTo>
                    <a:pt x="133123" y="225653"/>
                  </a:lnTo>
                  <a:lnTo>
                    <a:pt x="125471" y="223362"/>
                  </a:lnTo>
                  <a:lnTo>
                    <a:pt x="117816" y="220941"/>
                  </a:lnTo>
                  <a:lnTo>
                    <a:pt x="116131" y="221249"/>
                  </a:lnTo>
                  <a:lnTo>
                    <a:pt x="114933" y="221752"/>
                  </a:lnTo>
                  <a:lnTo>
                    <a:pt x="112285" y="223546"/>
                  </a:lnTo>
                  <a:lnTo>
                    <a:pt x="109167" y="223872"/>
                  </a:lnTo>
                  <a:lnTo>
                    <a:pt x="105205" y="223728"/>
                  </a:lnTo>
                  <a:lnTo>
                    <a:pt x="103030" y="223489"/>
                  </a:lnTo>
                  <a:lnTo>
                    <a:pt x="99526" y="224087"/>
                  </a:lnTo>
                  <a:lnTo>
                    <a:pt x="97196" y="224794"/>
                  </a:lnTo>
                  <a:lnTo>
                    <a:pt x="94142" y="226017"/>
                  </a:lnTo>
                  <a:lnTo>
                    <a:pt x="90180" y="229314"/>
                  </a:lnTo>
                  <a:lnTo>
                    <a:pt x="89044" y="229741"/>
                  </a:lnTo>
                  <a:lnTo>
                    <a:pt x="88087" y="230290"/>
                  </a:lnTo>
                  <a:lnTo>
                    <a:pt x="86757" y="239339"/>
                  </a:lnTo>
                  <a:lnTo>
                    <a:pt x="85682" y="242055"/>
                  </a:lnTo>
                  <a:lnTo>
                    <a:pt x="83671" y="245642"/>
                  </a:lnTo>
                  <a:lnTo>
                    <a:pt x="79722" y="249076"/>
                  </a:lnTo>
                  <a:lnTo>
                    <a:pt x="77012" y="251147"/>
                  </a:lnTo>
                  <a:lnTo>
                    <a:pt x="76949" y="253947"/>
                  </a:lnTo>
                  <a:lnTo>
                    <a:pt x="76735" y="258517"/>
                  </a:lnTo>
                  <a:lnTo>
                    <a:pt x="76699" y="261659"/>
                  </a:lnTo>
                  <a:lnTo>
                    <a:pt x="76878" y="263704"/>
                  </a:lnTo>
                  <a:lnTo>
                    <a:pt x="76424" y="264678"/>
                  </a:lnTo>
                  <a:lnTo>
                    <a:pt x="76241" y="265567"/>
                  </a:lnTo>
                  <a:lnTo>
                    <a:pt x="76388" y="266902"/>
                  </a:lnTo>
                  <a:lnTo>
                    <a:pt x="77027" y="267531"/>
                  </a:lnTo>
                  <a:lnTo>
                    <a:pt x="77411" y="268365"/>
                  </a:lnTo>
                  <a:lnTo>
                    <a:pt x="77154" y="269052"/>
                  </a:lnTo>
                  <a:lnTo>
                    <a:pt x="75878" y="269848"/>
                  </a:lnTo>
                  <a:lnTo>
                    <a:pt x="74470" y="267805"/>
                  </a:lnTo>
                  <a:lnTo>
                    <a:pt x="72658" y="266359"/>
                  </a:lnTo>
                  <a:lnTo>
                    <a:pt x="70672" y="265720"/>
                  </a:lnTo>
                  <a:lnTo>
                    <a:pt x="69326" y="264673"/>
                  </a:lnTo>
                  <a:lnTo>
                    <a:pt x="68625" y="263222"/>
                  </a:lnTo>
                  <a:lnTo>
                    <a:pt x="66020" y="260391"/>
                  </a:lnTo>
                  <a:lnTo>
                    <a:pt x="60017" y="254789"/>
                  </a:lnTo>
                  <a:lnTo>
                    <a:pt x="59400" y="254656"/>
                  </a:lnTo>
                  <a:lnTo>
                    <a:pt x="58407" y="254427"/>
                  </a:lnTo>
                  <a:lnTo>
                    <a:pt x="56709" y="255106"/>
                  </a:lnTo>
                  <a:lnTo>
                    <a:pt x="55666" y="256022"/>
                  </a:lnTo>
                  <a:lnTo>
                    <a:pt x="54939" y="256382"/>
                  </a:lnTo>
                  <a:lnTo>
                    <a:pt x="53833" y="256436"/>
                  </a:lnTo>
                  <a:lnTo>
                    <a:pt x="50978" y="257144"/>
                  </a:lnTo>
                  <a:lnTo>
                    <a:pt x="48694" y="258061"/>
                  </a:lnTo>
                  <a:lnTo>
                    <a:pt x="48633" y="258813"/>
                  </a:lnTo>
                  <a:lnTo>
                    <a:pt x="49726" y="263055"/>
                  </a:lnTo>
                  <a:lnTo>
                    <a:pt x="49206" y="265348"/>
                  </a:lnTo>
                  <a:lnTo>
                    <a:pt x="48193" y="264251"/>
                  </a:lnTo>
                  <a:lnTo>
                    <a:pt x="44900" y="259979"/>
                  </a:lnTo>
                  <a:lnTo>
                    <a:pt x="42621" y="256804"/>
                  </a:lnTo>
                  <a:lnTo>
                    <a:pt x="42213" y="256099"/>
                  </a:lnTo>
                  <a:lnTo>
                    <a:pt x="41892" y="255008"/>
                  </a:lnTo>
                  <a:lnTo>
                    <a:pt x="42116" y="254533"/>
                  </a:lnTo>
                  <a:lnTo>
                    <a:pt x="43019" y="254203"/>
                  </a:lnTo>
                  <a:lnTo>
                    <a:pt x="45107" y="253782"/>
                  </a:lnTo>
                  <a:lnTo>
                    <a:pt x="45496" y="253453"/>
                  </a:lnTo>
                  <a:lnTo>
                    <a:pt x="45603" y="252582"/>
                  </a:lnTo>
                  <a:lnTo>
                    <a:pt x="45277" y="250957"/>
                  </a:lnTo>
                  <a:lnTo>
                    <a:pt x="44133" y="248756"/>
                  </a:lnTo>
                  <a:lnTo>
                    <a:pt x="42913" y="247300"/>
                  </a:lnTo>
                  <a:lnTo>
                    <a:pt x="42233" y="247014"/>
                  </a:lnTo>
                  <a:lnTo>
                    <a:pt x="40985" y="246964"/>
                  </a:lnTo>
                  <a:lnTo>
                    <a:pt x="39631" y="247161"/>
                  </a:lnTo>
                  <a:lnTo>
                    <a:pt x="37083" y="248948"/>
                  </a:lnTo>
                  <a:lnTo>
                    <a:pt x="35953" y="249276"/>
                  </a:lnTo>
                  <a:lnTo>
                    <a:pt x="33327" y="249129"/>
                  </a:lnTo>
                  <a:lnTo>
                    <a:pt x="30980" y="248779"/>
                  </a:lnTo>
                  <a:lnTo>
                    <a:pt x="29555" y="247857"/>
                  </a:lnTo>
                  <a:lnTo>
                    <a:pt x="25314" y="244311"/>
                  </a:lnTo>
                  <a:lnTo>
                    <a:pt x="20628" y="240561"/>
                  </a:lnTo>
                  <a:lnTo>
                    <a:pt x="18663" y="240028"/>
                  </a:lnTo>
                  <a:lnTo>
                    <a:pt x="18207" y="239644"/>
                  </a:lnTo>
                  <a:lnTo>
                    <a:pt x="17892" y="236755"/>
                  </a:lnTo>
                  <a:lnTo>
                    <a:pt x="17974" y="233288"/>
                  </a:lnTo>
                  <a:lnTo>
                    <a:pt x="18233" y="232380"/>
                  </a:lnTo>
                  <a:lnTo>
                    <a:pt x="20188" y="232922"/>
                  </a:lnTo>
                  <a:lnTo>
                    <a:pt x="22267" y="233173"/>
                  </a:lnTo>
                  <a:lnTo>
                    <a:pt x="22937" y="232545"/>
                  </a:lnTo>
                  <a:lnTo>
                    <a:pt x="21274" y="231311"/>
                  </a:lnTo>
                  <a:lnTo>
                    <a:pt x="18883" y="230062"/>
                  </a:lnTo>
                  <a:lnTo>
                    <a:pt x="17996" y="228169"/>
                  </a:lnTo>
                  <a:lnTo>
                    <a:pt x="17307" y="227511"/>
                  </a:lnTo>
                  <a:lnTo>
                    <a:pt x="16232" y="226840"/>
                  </a:lnTo>
                  <a:lnTo>
                    <a:pt x="15001" y="226492"/>
                  </a:lnTo>
                  <a:lnTo>
                    <a:pt x="13757" y="225960"/>
                  </a:lnTo>
                  <a:lnTo>
                    <a:pt x="12910" y="225409"/>
                  </a:lnTo>
                  <a:lnTo>
                    <a:pt x="11513" y="225164"/>
                  </a:lnTo>
                  <a:lnTo>
                    <a:pt x="10045" y="224758"/>
                  </a:lnTo>
                  <a:lnTo>
                    <a:pt x="7927" y="221687"/>
                  </a:lnTo>
                  <a:lnTo>
                    <a:pt x="5866" y="218704"/>
                  </a:lnTo>
                  <a:lnTo>
                    <a:pt x="4647" y="216353"/>
                  </a:lnTo>
                  <a:lnTo>
                    <a:pt x="4223" y="214941"/>
                  </a:lnTo>
                  <a:lnTo>
                    <a:pt x="4834" y="212533"/>
                  </a:lnTo>
                  <a:lnTo>
                    <a:pt x="4217" y="211580"/>
                  </a:lnTo>
                  <a:lnTo>
                    <a:pt x="1917" y="209134"/>
                  </a:lnTo>
                  <a:lnTo>
                    <a:pt x="0" y="206859"/>
                  </a:lnTo>
                  <a:lnTo>
                    <a:pt x="468" y="203344"/>
                  </a:lnTo>
                  <a:lnTo>
                    <a:pt x="859" y="200410"/>
                  </a:lnTo>
                  <a:lnTo>
                    <a:pt x="882" y="198552"/>
                  </a:lnTo>
                  <a:lnTo>
                    <a:pt x="1185" y="197503"/>
                  </a:lnTo>
                  <a:lnTo>
                    <a:pt x="1433" y="196323"/>
                  </a:lnTo>
                  <a:lnTo>
                    <a:pt x="2705" y="195950"/>
                  </a:lnTo>
                  <a:lnTo>
                    <a:pt x="5951" y="195976"/>
                  </a:lnTo>
                  <a:lnTo>
                    <a:pt x="12267" y="196522"/>
                  </a:lnTo>
                  <a:lnTo>
                    <a:pt x="17326" y="195906"/>
                  </a:lnTo>
                  <a:lnTo>
                    <a:pt x="17605" y="195798"/>
                  </a:lnTo>
                  <a:lnTo>
                    <a:pt x="21170" y="192650"/>
                  </a:lnTo>
                  <a:lnTo>
                    <a:pt x="25126" y="189344"/>
                  </a:lnTo>
                  <a:lnTo>
                    <a:pt x="31073" y="189023"/>
                  </a:lnTo>
                  <a:lnTo>
                    <a:pt x="37491" y="188678"/>
                  </a:lnTo>
                  <a:lnTo>
                    <a:pt x="42550" y="188505"/>
                  </a:lnTo>
                  <a:lnTo>
                    <a:pt x="49905" y="188255"/>
                  </a:lnTo>
                  <a:lnTo>
                    <a:pt x="55850" y="188041"/>
                  </a:lnTo>
                  <a:lnTo>
                    <a:pt x="62736" y="187790"/>
                  </a:lnTo>
                  <a:lnTo>
                    <a:pt x="62945" y="186266"/>
                  </a:lnTo>
                  <a:lnTo>
                    <a:pt x="63362" y="185891"/>
                  </a:lnTo>
                  <a:lnTo>
                    <a:pt x="64043" y="185838"/>
                  </a:lnTo>
                  <a:lnTo>
                    <a:pt x="69104" y="186655"/>
                  </a:lnTo>
                  <a:lnTo>
                    <a:pt x="73863" y="187442"/>
                  </a:lnTo>
                  <a:lnTo>
                    <a:pt x="74222" y="184573"/>
                  </a:lnTo>
                  <a:lnTo>
                    <a:pt x="78403" y="180982"/>
                  </a:lnTo>
                  <a:lnTo>
                    <a:pt x="80767" y="180249"/>
                  </a:lnTo>
                  <a:lnTo>
                    <a:pt x="81352" y="179622"/>
                  </a:lnTo>
                  <a:lnTo>
                    <a:pt x="82104" y="178408"/>
                  </a:lnTo>
                  <a:lnTo>
                    <a:pt x="82568" y="176534"/>
                  </a:lnTo>
                  <a:lnTo>
                    <a:pt x="82773" y="175201"/>
                  </a:lnTo>
                  <a:lnTo>
                    <a:pt x="83654" y="174094"/>
                  </a:lnTo>
                  <a:lnTo>
                    <a:pt x="84298" y="172055"/>
                  </a:lnTo>
                  <a:lnTo>
                    <a:pt x="85153" y="168490"/>
                  </a:lnTo>
                  <a:lnTo>
                    <a:pt x="87506" y="164745"/>
                  </a:lnTo>
                  <a:lnTo>
                    <a:pt x="88852" y="159657"/>
                  </a:lnTo>
                  <a:lnTo>
                    <a:pt x="89053" y="154739"/>
                  </a:lnTo>
                  <a:lnTo>
                    <a:pt x="89312" y="150997"/>
                  </a:lnTo>
                  <a:lnTo>
                    <a:pt x="90013" y="150231"/>
                  </a:lnTo>
                  <a:lnTo>
                    <a:pt x="89992" y="143584"/>
                  </a:lnTo>
                  <a:lnTo>
                    <a:pt x="89970" y="136891"/>
                  </a:lnTo>
                  <a:lnTo>
                    <a:pt x="89953" y="131228"/>
                  </a:lnTo>
                  <a:lnTo>
                    <a:pt x="89929" y="124175"/>
                  </a:lnTo>
                  <a:lnTo>
                    <a:pt x="89910" y="117979"/>
                  </a:lnTo>
                  <a:lnTo>
                    <a:pt x="89888" y="111259"/>
                  </a:lnTo>
                  <a:lnTo>
                    <a:pt x="89871" y="105220"/>
                  </a:lnTo>
                  <a:lnTo>
                    <a:pt x="89858" y="101216"/>
                  </a:lnTo>
                  <a:lnTo>
                    <a:pt x="94680" y="100259"/>
                  </a:lnTo>
                  <a:lnTo>
                    <a:pt x="99668" y="99267"/>
                  </a:lnTo>
                  <a:lnTo>
                    <a:pt x="106967" y="97815"/>
                  </a:lnTo>
                  <a:lnTo>
                    <a:pt x="114868" y="96245"/>
                  </a:lnTo>
                  <a:lnTo>
                    <a:pt x="123484" y="94531"/>
                  </a:lnTo>
                  <a:lnTo>
                    <a:pt x="125436" y="93499"/>
                  </a:lnTo>
                  <a:lnTo>
                    <a:pt x="131938" y="87692"/>
                  </a:lnTo>
                  <a:lnTo>
                    <a:pt x="134872" y="85069"/>
                  </a:lnTo>
                  <a:lnTo>
                    <a:pt x="140703" y="79852"/>
                  </a:lnTo>
                  <a:lnTo>
                    <a:pt x="145205" y="75822"/>
                  </a:lnTo>
                  <a:lnTo>
                    <a:pt x="150925" y="70697"/>
                  </a:lnTo>
                  <a:lnTo>
                    <a:pt x="156985" y="65533"/>
                  </a:lnTo>
                  <a:lnTo>
                    <a:pt x="161813" y="61411"/>
                  </a:lnTo>
                  <a:lnTo>
                    <a:pt x="169407" y="56734"/>
                  </a:lnTo>
                  <a:lnTo>
                    <a:pt x="180859" y="49676"/>
                  </a:lnTo>
                  <a:lnTo>
                    <a:pt x="192310" y="42609"/>
                  </a:lnTo>
                  <a:lnTo>
                    <a:pt x="203759" y="35532"/>
                  </a:lnTo>
                  <a:lnTo>
                    <a:pt x="215208" y="28445"/>
                  </a:lnTo>
                  <a:lnTo>
                    <a:pt x="226659" y="21349"/>
                  </a:lnTo>
                  <a:lnTo>
                    <a:pt x="238111" y="14243"/>
                  </a:lnTo>
                  <a:lnTo>
                    <a:pt x="249560" y="7126"/>
                  </a:lnTo>
                  <a:lnTo>
                    <a:pt x="261011" y="0"/>
                  </a:lnTo>
                  <a:lnTo>
                    <a:pt x="272529" y="2714"/>
                  </a:lnTo>
                  <a:lnTo>
                    <a:pt x="283471" y="5291"/>
                  </a:lnTo>
                  <a:lnTo>
                    <a:pt x="294475" y="7882"/>
                  </a:lnTo>
                  <a:lnTo>
                    <a:pt x="297071" y="9296"/>
                  </a:lnTo>
                  <a:lnTo>
                    <a:pt x="302909" y="14363"/>
                  </a:lnTo>
                  <a:lnTo>
                    <a:pt x="310383" y="20843"/>
                  </a:lnTo>
                  <a:lnTo>
                    <a:pt x="310711" y="20938"/>
                  </a:lnTo>
                  <a:lnTo>
                    <a:pt x="311048" y="20966"/>
                  </a:lnTo>
                  <a:lnTo>
                    <a:pt x="318233" y="17148"/>
                  </a:lnTo>
                  <a:lnTo>
                    <a:pt x="327591" y="12169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18" name="ee4p_NG_1_82333">
              <a:extLst>
                <a:ext uri="{FF2B5EF4-FFF2-40B4-BE49-F238E27FC236}">
                  <a16:creationId xmlns:a16="http://schemas.microsoft.com/office/drawing/2014/main" id="{6A5522DD-ECCA-27B8-3FD8-F03A84763B88}"/>
                </a:ext>
              </a:extLst>
            </p:cNvPr>
            <p:cNvSpPr>
              <a:spLocks noChangeAspect="1"/>
            </p:cNvSpPr>
            <p:nvPr>
              <p:custDataLst>
                <p:tags r:id="rId146"/>
              </p:custDataLst>
            </p:nvPr>
          </p:nvSpPr>
          <p:spPr>
            <a:xfrm>
              <a:off x="6589290" y="4279462"/>
              <a:ext cx="331597" cy="276140"/>
            </a:xfrm>
            <a:custGeom>
              <a:avLst/>
              <a:gdLst>
                <a:gd name="connsiteX0" fmla="*/ 268974 w 707252"/>
                <a:gd name="connsiteY0" fmla="*/ 558525 h 573359"/>
                <a:gd name="connsiteX1" fmla="*/ 271583 w 707252"/>
                <a:gd name="connsiteY1" fmla="*/ 560213 h 573359"/>
                <a:gd name="connsiteX2" fmla="*/ 274931 w 707252"/>
                <a:gd name="connsiteY2" fmla="*/ 560909 h 573359"/>
                <a:gd name="connsiteX3" fmla="*/ 273324 w 707252"/>
                <a:gd name="connsiteY3" fmla="*/ 565005 h 573359"/>
                <a:gd name="connsiteX4" fmla="*/ 267587 w 707252"/>
                <a:gd name="connsiteY4" fmla="*/ 566815 h 573359"/>
                <a:gd name="connsiteX5" fmla="*/ 263826 w 707252"/>
                <a:gd name="connsiteY5" fmla="*/ 566373 h 573359"/>
                <a:gd name="connsiteX6" fmla="*/ 166193 w 707252"/>
                <a:gd name="connsiteY6" fmla="*/ 0 h 573359"/>
                <a:gd name="connsiteX7" fmla="*/ 186697 w 707252"/>
                <a:gd name="connsiteY7" fmla="*/ 6485 h 573359"/>
                <a:gd name="connsiteX8" fmla="*/ 207194 w 707252"/>
                <a:gd name="connsiteY8" fmla="*/ 12621 h 573359"/>
                <a:gd name="connsiteX9" fmla="*/ 210920 w 707252"/>
                <a:gd name="connsiteY9" fmla="*/ 12059 h 573359"/>
                <a:gd name="connsiteX10" fmla="*/ 214037 w 707252"/>
                <a:gd name="connsiteY10" fmla="*/ 12916 h 573359"/>
                <a:gd name="connsiteX11" fmla="*/ 219161 w 707252"/>
                <a:gd name="connsiteY11" fmla="*/ 16246 h 573359"/>
                <a:gd name="connsiteX12" fmla="*/ 226728 w 707252"/>
                <a:gd name="connsiteY12" fmla="*/ 23373 h 573359"/>
                <a:gd name="connsiteX13" fmla="*/ 231223 w 707252"/>
                <a:gd name="connsiteY13" fmla="*/ 27972 h 573359"/>
                <a:gd name="connsiteX14" fmla="*/ 233390 w 707252"/>
                <a:gd name="connsiteY14" fmla="*/ 30675 h 573359"/>
                <a:gd name="connsiteX15" fmla="*/ 243917 w 707252"/>
                <a:gd name="connsiteY15" fmla="*/ 46135 h 573359"/>
                <a:gd name="connsiteX16" fmla="*/ 247843 w 707252"/>
                <a:gd name="connsiteY16" fmla="*/ 50017 h 573359"/>
                <a:gd name="connsiteX17" fmla="*/ 251789 w 707252"/>
                <a:gd name="connsiteY17" fmla="*/ 52127 h 573359"/>
                <a:gd name="connsiteX18" fmla="*/ 255809 w 707252"/>
                <a:gd name="connsiteY18" fmla="*/ 52888 h 573359"/>
                <a:gd name="connsiteX19" fmla="*/ 258868 w 707252"/>
                <a:gd name="connsiteY19" fmla="*/ 52609 h 573359"/>
                <a:gd name="connsiteX20" fmla="*/ 261791 w 707252"/>
                <a:gd name="connsiteY20" fmla="*/ 50868 h 573359"/>
                <a:gd name="connsiteX21" fmla="*/ 265757 w 707252"/>
                <a:gd name="connsiteY21" fmla="*/ 47421 h 573359"/>
                <a:gd name="connsiteX22" fmla="*/ 271779 w 707252"/>
                <a:gd name="connsiteY22" fmla="*/ 45860 h 573359"/>
                <a:gd name="connsiteX23" fmla="*/ 276702 w 707252"/>
                <a:gd name="connsiteY23" fmla="*/ 46165 h 573359"/>
                <a:gd name="connsiteX24" fmla="*/ 302220 w 707252"/>
                <a:gd name="connsiteY24" fmla="*/ 32266 h 573359"/>
                <a:gd name="connsiteX25" fmla="*/ 304695 w 707252"/>
                <a:gd name="connsiteY25" fmla="*/ 32081 h 573359"/>
                <a:gd name="connsiteX26" fmla="*/ 312118 w 707252"/>
                <a:gd name="connsiteY26" fmla="*/ 33177 h 573359"/>
                <a:gd name="connsiteX27" fmla="*/ 320365 w 707252"/>
                <a:gd name="connsiteY27" fmla="*/ 35081 h 573359"/>
                <a:gd name="connsiteX28" fmla="*/ 341748 w 707252"/>
                <a:gd name="connsiteY28" fmla="*/ 49028 h 573359"/>
                <a:gd name="connsiteX29" fmla="*/ 359193 w 707252"/>
                <a:gd name="connsiteY29" fmla="*/ 58151 h 573359"/>
                <a:gd name="connsiteX30" fmla="*/ 371456 w 707252"/>
                <a:gd name="connsiteY30" fmla="*/ 61202 h 573359"/>
                <a:gd name="connsiteX31" fmla="*/ 385904 w 707252"/>
                <a:gd name="connsiteY31" fmla="*/ 63369 h 573359"/>
                <a:gd name="connsiteX32" fmla="*/ 410444 w 707252"/>
                <a:gd name="connsiteY32" fmla="*/ 64020 h 573359"/>
                <a:gd name="connsiteX33" fmla="*/ 429007 w 707252"/>
                <a:gd name="connsiteY33" fmla="*/ 44475 h 573359"/>
                <a:gd name="connsiteX34" fmla="*/ 435867 w 707252"/>
                <a:gd name="connsiteY34" fmla="*/ 40202 h 573359"/>
                <a:gd name="connsiteX35" fmla="*/ 444133 w 707252"/>
                <a:gd name="connsiteY35" fmla="*/ 36348 h 573359"/>
                <a:gd name="connsiteX36" fmla="*/ 446792 w 707252"/>
                <a:gd name="connsiteY36" fmla="*/ 35692 h 573359"/>
                <a:gd name="connsiteX37" fmla="*/ 461380 w 707252"/>
                <a:gd name="connsiteY37" fmla="*/ 32727 h 573359"/>
                <a:gd name="connsiteX38" fmla="*/ 489987 w 707252"/>
                <a:gd name="connsiteY38" fmla="*/ 30238 h 573359"/>
                <a:gd name="connsiteX39" fmla="*/ 516818 w 707252"/>
                <a:gd name="connsiteY39" fmla="*/ 31318 h 573359"/>
                <a:gd name="connsiteX40" fmla="*/ 522100 w 707252"/>
                <a:gd name="connsiteY40" fmla="*/ 32105 h 573359"/>
                <a:gd name="connsiteX41" fmla="*/ 533489 w 707252"/>
                <a:gd name="connsiteY41" fmla="*/ 34687 h 573359"/>
                <a:gd name="connsiteX42" fmla="*/ 551060 w 707252"/>
                <a:gd name="connsiteY42" fmla="*/ 41068 h 573359"/>
                <a:gd name="connsiteX43" fmla="*/ 558638 w 707252"/>
                <a:gd name="connsiteY43" fmla="*/ 47175 h 573359"/>
                <a:gd name="connsiteX44" fmla="*/ 570547 w 707252"/>
                <a:gd name="connsiteY44" fmla="*/ 48185 h 573359"/>
                <a:gd name="connsiteX45" fmla="*/ 579083 w 707252"/>
                <a:gd name="connsiteY45" fmla="*/ 46974 h 573359"/>
                <a:gd name="connsiteX46" fmla="*/ 581866 w 707252"/>
                <a:gd name="connsiteY46" fmla="*/ 40915 h 573359"/>
                <a:gd name="connsiteX47" fmla="*/ 590432 w 707252"/>
                <a:gd name="connsiteY47" fmla="*/ 32949 h 573359"/>
                <a:gd name="connsiteX48" fmla="*/ 596662 w 707252"/>
                <a:gd name="connsiteY48" fmla="*/ 29705 h 573359"/>
                <a:gd name="connsiteX49" fmla="*/ 603278 w 707252"/>
                <a:gd name="connsiteY49" fmla="*/ 25567 h 573359"/>
                <a:gd name="connsiteX50" fmla="*/ 613746 w 707252"/>
                <a:gd name="connsiteY50" fmla="*/ 20411 h 573359"/>
                <a:gd name="connsiteX51" fmla="*/ 622360 w 707252"/>
                <a:gd name="connsiteY51" fmla="*/ 18088 h 573359"/>
                <a:gd name="connsiteX52" fmla="*/ 630059 w 707252"/>
                <a:gd name="connsiteY52" fmla="*/ 12188 h 573359"/>
                <a:gd name="connsiteX53" fmla="*/ 636166 w 707252"/>
                <a:gd name="connsiteY53" fmla="*/ 10323 h 573359"/>
                <a:gd name="connsiteX54" fmla="*/ 646791 w 707252"/>
                <a:gd name="connsiteY54" fmla="*/ 10152 h 573359"/>
                <a:gd name="connsiteX55" fmla="*/ 656097 w 707252"/>
                <a:gd name="connsiteY55" fmla="*/ 23124 h 573359"/>
                <a:gd name="connsiteX56" fmla="*/ 666098 w 707252"/>
                <a:gd name="connsiteY56" fmla="*/ 37050 h 573359"/>
                <a:gd name="connsiteX57" fmla="*/ 673896 w 707252"/>
                <a:gd name="connsiteY57" fmla="*/ 47893 h 573359"/>
                <a:gd name="connsiteX58" fmla="*/ 679588 w 707252"/>
                <a:gd name="connsiteY58" fmla="*/ 75926 h 573359"/>
                <a:gd name="connsiteX59" fmla="*/ 680193 w 707252"/>
                <a:gd name="connsiteY59" fmla="*/ 81262 h 573359"/>
                <a:gd name="connsiteX60" fmla="*/ 680627 w 707252"/>
                <a:gd name="connsiteY60" fmla="*/ 83667 h 573359"/>
                <a:gd name="connsiteX61" fmla="*/ 681055 w 707252"/>
                <a:gd name="connsiteY61" fmla="*/ 85885 h 573359"/>
                <a:gd name="connsiteX62" fmla="*/ 681803 w 707252"/>
                <a:gd name="connsiteY62" fmla="*/ 89699 h 573359"/>
                <a:gd name="connsiteX63" fmla="*/ 686268 w 707252"/>
                <a:gd name="connsiteY63" fmla="*/ 91339 h 573359"/>
                <a:gd name="connsiteX64" fmla="*/ 694713 w 707252"/>
                <a:gd name="connsiteY64" fmla="*/ 92083 h 573359"/>
                <a:gd name="connsiteX65" fmla="*/ 700844 w 707252"/>
                <a:gd name="connsiteY65" fmla="*/ 94842 h 573359"/>
                <a:gd name="connsiteX66" fmla="*/ 704517 w 707252"/>
                <a:gd name="connsiteY66" fmla="*/ 99420 h 573359"/>
                <a:gd name="connsiteX67" fmla="*/ 704873 w 707252"/>
                <a:gd name="connsiteY67" fmla="*/ 100181 h 573359"/>
                <a:gd name="connsiteX68" fmla="*/ 706812 w 707252"/>
                <a:gd name="connsiteY68" fmla="*/ 103692 h 573359"/>
                <a:gd name="connsiteX69" fmla="*/ 707252 w 707252"/>
                <a:gd name="connsiteY69" fmla="*/ 106234 h 573359"/>
                <a:gd name="connsiteX70" fmla="*/ 706721 w 707252"/>
                <a:gd name="connsiteY70" fmla="*/ 113568 h 573359"/>
                <a:gd name="connsiteX71" fmla="*/ 705489 w 707252"/>
                <a:gd name="connsiteY71" fmla="*/ 122983 h 573359"/>
                <a:gd name="connsiteX72" fmla="*/ 703384 w 707252"/>
                <a:gd name="connsiteY72" fmla="*/ 129055 h 573359"/>
                <a:gd name="connsiteX73" fmla="*/ 704557 w 707252"/>
                <a:gd name="connsiteY73" fmla="*/ 137311 h 573359"/>
                <a:gd name="connsiteX74" fmla="*/ 704187 w 707252"/>
                <a:gd name="connsiteY74" fmla="*/ 140836 h 573359"/>
                <a:gd name="connsiteX75" fmla="*/ 703261 w 707252"/>
                <a:gd name="connsiteY75" fmla="*/ 143244 h 573359"/>
                <a:gd name="connsiteX76" fmla="*/ 699489 w 707252"/>
                <a:gd name="connsiteY76" fmla="*/ 146013 h 573359"/>
                <a:gd name="connsiteX77" fmla="*/ 694360 w 707252"/>
                <a:gd name="connsiteY77" fmla="*/ 148710 h 573359"/>
                <a:gd name="connsiteX78" fmla="*/ 682092 w 707252"/>
                <a:gd name="connsiteY78" fmla="*/ 156687 h 573359"/>
                <a:gd name="connsiteX79" fmla="*/ 678591 w 707252"/>
                <a:gd name="connsiteY79" fmla="*/ 157863 h 573359"/>
                <a:gd name="connsiteX80" fmla="*/ 673467 w 707252"/>
                <a:gd name="connsiteY80" fmla="*/ 158075 h 573359"/>
                <a:gd name="connsiteX81" fmla="*/ 669007 w 707252"/>
                <a:gd name="connsiteY81" fmla="*/ 160062 h 573359"/>
                <a:gd name="connsiteX82" fmla="*/ 663714 w 707252"/>
                <a:gd name="connsiteY82" fmla="*/ 164367 h 573359"/>
                <a:gd name="connsiteX83" fmla="*/ 652333 w 707252"/>
                <a:gd name="connsiteY83" fmla="*/ 180366 h 573359"/>
                <a:gd name="connsiteX84" fmla="*/ 642586 w 707252"/>
                <a:gd name="connsiteY84" fmla="*/ 196423 h 573359"/>
                <a:gd name="connsiteX85" fmla="*/ 639222 w 707252"/>
                <a:gd name="connsiteY85" fmla="*/ 209704 h 573359"/>
                <a:gd name="connsiteX86" fmla="*/ 635432 w 707252"/>
                <a:gd name="connsiteY86" fmla="*/ 222381 h 573359"/>
                <a:gd name="connsiteX87" fmla="*/ 626866 w 707252"/>
                <a:gd name="connsiteY87" fmla="*/ 230470 h 573359"/>
                <a:gd name="connsiteX88" fmla="*/ 625674 w 707252"/>
                <a:gd name="connsiteY88" fmla="*/ 235024 h 573359"/>
                <a:gd name="connsiteX89" fmla="*/ 625315 w 707252"/>
                <a:gd name="connsiteY89" fmla="*/ 237662 h 573359"/>
                <a:gd name="connsiteX90" fmla="*/ 625020 w 707252"/>
                <a:gd name="connsiteY90" fmla="*/ 243759 h 573359"/>
                <a:gd name="connsiteX91" fmla="*/ 623981 w 707252"/>
                <a:gd name="connsiteY91" fmla="*/ 253852 h 573359"/>
                <a:gd name="connsiteX92" fmla="*/ 622650 w 707252"/>
                <a:gd name="connsiteY92" fmla="*/ 258716 h 573359"/>
                <a:gd name="connsiteX93" fmla="*/ 621273 w 707252"/>
                <a:gd name="connsiteY93" fmla="*/ 260157 h 573359"/>
                <a:gd name="connsiteX94" fmla="*/ 612029 w 707252"/>
                <a:gd name="connsiteY94" fmla="*/ 263224 h 573359"/>
                <a:gd name="connsiteX95" fmla="*/ 606702 w 707252"/>
                <a:gd name="connsiteY95" fmla="*/ 266931 h 573359"/>
                <a:gd name="connsiteX96" fmla="*/ 603514 w 707252"/>
                <a:gd name="connsiteY96" fmla="*/ 274265 h 573359"/>
                <a:gd name="connsiteX97" fmla="*/ 602346 w 707252"/>
                <a:gd name="connsiteY97" fmla="*/ 282193 h 573359"/>
                <a:gd name="connsiteX98" fmla="*/ 600479 w 707252"/>
                <a:gd name="connsiteY98" fmla="*/ 291228 h 573359"/>
                <a:gd name="connsiteX99" fmla="*/ 599421 w 707252"/>
                <a:gd name="connsiteY99" fmla="*/ 299156 h 573359"/>
                <a:gd name="connsiteX100" fmla="*/ 597980 w 707252"/>
                <a:gd name="connsiteY100" fmla="*/ 303260 h 573359"/>
                <a:gd name="connsiteX101" fmla="*/ 594953 w 707252"/>
                <a:gd name="connsiteY101" fmla="*/ 307570 h 573359"/>
                <a:gd name="connsiteX102" fmla="*/ 590242 w 707252"/>
                <a:gd name="connsiteY102" fmla="*/ 312217 h 573359"/>
                <a:gd name="connsiteX103" fmla="*/ 586163 w 707252"/>
                <a:gd name="connsiteY103" fmla="*/ 314821 h 573359"/>
                <a:gd name="connsiteX104" fmla="*/ 575550 w 707252"/>
                <a:gd name="connsiteY104" fmla="*/ 316524 h 573359"/>
                <a:gd name="connsiteX105" fmla="*/ 570089 w 707252"/>
                <a:gd name="connsiteY105" fmla="*/ 327013 h 573359"/>
                <a:gd name="connsiteX106" fmla="*/ 565473 w 707252"/>
                <a:gd name="connsiteY106" fmla="*/ 335207 h 573359"/>
                <a:gd name="connsiteX107" fmla="*/ 565342 w 707252"/>
                <a:gd name="connsiteY107" fmla="*/ 338483 h 573359"/>
                <a:gd name="connsiteX108" fmla="*/ 560888 w 707252"/>
                <a:gd name="connsiteY108" fmla="*/ 355465 h 573359"/>
                <a:gd name="connsiteX109" fmla="*/ 553144 w 707252"/>
                <a:gd name="connsiteY109" fmla="*/ 368258 h 573359"/>
                <a:gd name="connsiteX110" fmla="*/ 552632 w 707252"/>
                <a:gd name="connsiteY110" fmla="*/ 372774 h 573359"/>
                <a:gd name="connsiteX111" fmla="*/ 552598 w 707252"/>
                <a:gd name="connsiteY111" fmla="*/ 376481 h 573359"/>
                <a:gd name="connsiteX112" fmla="*/ 542912 w 707252"/>
                <a:gd name="connsiteY112" fmla="*/ 387736 h 573359"/>
                <a:gd name="connsiteX113" fmla="*/ 540349 w 707252"/>
                <a:gd name="connsiteY113" fmla="*/ 391052 h 573359"/>
                <a:gd name="connsiteX114" fmla="*/ 537874 w 707252"/>
                <a:gd name="connsiteY114" fmla="*/ 395386 h 573359"/>
                <a:gd name="connsiteX115" fmla="*/ 540314 w 707252"/>
                <a:gd name="connsiteY115" fmla="*/ 399573 h 573359"/>
                <a:gd name="connsiteX116" fmla="*/ 543049 w 707252"/>
                <a:gd name="connsiteY116" fmla="*/ 403379 h 573359"/>
                <a:gd name="connsiteX117" fmla="*/ 543442 w 707252"/>
                <a:gd name="connsiteY117" fmla="*/ 404664 h 573359"/>
                <a:gd name="connsiteX118" fmla="*/ 539036 w 707252"/>
                <a:gd name="connsiteY118" fmla="*/ 408248 h 573359"/>
                <a:gd name="connsiteX119" fmla="*/ 531365 w 707252"/>
                <a:gd name="connsiteY119" fmla="*/ 414476 h 573359"/>
                <a:gd name="connsiteX120" fmla="*/ 526779 w 707252"/>
                <a:gd name="connsiteY120" fmla="*/ 418205 h 573359"/>
                <a:gd name="connsiteX121" fmla="*/ 525767 w 707252"/>
                <a:gd name="connsiteY121" fmla="*/ 420243 h 573359"/>
                <a:gd name="connsiteX122" fmla="*/ 525094 w 707252"/>
                <a:gd name="connsiteY122" fmla="*/ 429604 h 573359"/>
                <a:gd name="connsiteX123" fmla="*/ 523760 w 707252"/>
                <a:gd name="connsiteY123" fmla="*/ 432117 h 573359"/>
                <a:gd name="connsiteX124" fmla="*/ 520704 w 707252"/>
                <a:gd name="connsiteY124" fmla="*/ 435545 h 573359"/>
                <a:gd name="connsiteX125" fmla="*/ 516218 w 707252"/>
                <a:gd name="connsiteY125" fmla="*/ 439320 h 573359"/>
                <a:gd name="connsiteX126" fmla="*/ 511648 w 707252"/>
                <a:gd name="connsiteY126" fmla="*/ 442250 h 573359"/>
                <a:gd name="connsiteX127" fmla="*/ 506476 w 707252"/>
                <a:gd name="connsiteY127" fmla="*/ 444280 h 573359"/>
                <a:gd name="connsiteX128" fmla="*/ 501504 w 707252"/>
                <a:gd name="connsiteY128" fmla="*/ 445030 h 573359"/>
                <a:gd name="connsiteX129" fmla="*/ 498727 w 707252"/>
                <a:gd name="connsiteY129" fmla="*/ 443854 h 573359"/>
                <a:gd name="connsiteX130" fmla="*/ 497141 w 707252"/>
                <a:gd name="connsiteY130" fmla="*/ 441010 h 573359"/>
                <a:gd name="connsiteX131" fmla="*/ 494347 w 707252"/>
                <a:gd name="connsiteY131" fmla="*/ 429567 h 573359"/>
                <a:gd name="connsiteX132" fmla="*/ 492936 w 707252"/>
                <a:gd name="connsiteY132" fmla="*/ 427116 h 573359"/>
                <a:gd name="connsiteX133" fmla="*/ 489708 w 707252"/>
                <a:gd name="connsiteY133" fmla="*/ 424888 h 573359"/>
                <a:gd name="connsiteX134" fmla="*/ 483330 w 707252"/>
                <a:gd name="connsiteY134" fmla="*/ 418628 h 573359"/>
                <a:gd name="connsiteX135" fmla="*/ 476881 w 707252"/>
                <a:gd name="connsiteY135" fmla="*/ 412290 h 573359"/>
                <a:gd name="connsiteX136" fmla="*/ 469102 w 707252"/>
                <a:gd name="connsiteY136" fmla="*/ 407839 h 573359"/>
                <a:gd name="connsiteX137" fmla="*/ 467436 w 707252"/>
                <a:gd name="connsiteY137" fmla="*/ 408157 h 573359"/>
                <a:gd name="connsiteX138" fmla="*/ 466145 w 707252"/>
                <a:gd name="connsiteY138" fmla="*/ 409363 h 573359"/>
                <a:gd name="connsiteX139" fmla="*/ 463935 w 707252"/>
                <a:gd name="connsiteY139" fmla="*/ 415730 h 573359"/>
                <a:gd name="connsiteX140" fmla="*/ 461760 w 707252"/>
                <a:gd name="connsiteY140" fmla="*/ 418063 h 573359"/>
                <a:gd name="connsiteX141" fmla="*/ 457665 w 707252"/>
                <a:gd name="connsiteY141" fmla="*/ 418869 h 573359"/>
                <a:gd name="connsiteX142" fmla="*/ 450550 w 707252"/>
                <a:gd name="connsiteY142" fmla="*/ 418925 h 573359"/>
                <a:gd name="connsiteX143" fmla="*/ 445362 w 707252"/>
                <a:gd name="connsiteY143" fmla="*/ 418044 h 573359"/>
                <a:gd name="connsiteX144" fmla="*/ 444184 w 707252"/>
                <a:gd name="connsiteY144" fmla="*/ 416782 h 573359"/>
                <a:gd name="connsiteX145" fmla="*/ 443131 w 707252"/>
                <a:gd name="connsiteY145" fmla="*/ 414021 h 573359"/>
                <a:gd name="connsiteX146" fmla="*/ 441695 w 707252"/>
                <a:gd name="connsiteY146" fmla="*/ 411806 h 573359"/>
                <a:gd name="connsiteX147" fmla="*/ 435494 w 707252"/>
                <a:gd name="connsiteY147" fmla="*/ 416271 h 573359"/>
                <a:gd name="connsiteX148" fmla="*/ 425744 w 707252"/>
                <a:gd name="connsiteY148" fmla="*/ 423299 h 573359"/>
                <a:gd name="connsiteX149" fmla="*/ 422573 w 707252"/>
                <a:gd name="connsiteY149" fmla="*/ 424448 h 573359"/>
                <a:gd name="connsiteX150" fmla="*/ 420157 w 707252"/>
                <a:gd name="connsiteY150" fmla="*/ 425863 h 573359"/>
                <a:gd name="connsiteX151" fmla="*/ 416940 w 707252"/>
                <a:gd name="connsiteY151" fmla="*/ 432417 h 573359"/>
                <a:gd name="connsiteX152" fmla="*/ 413053 w 707252"/>
                <a:gd name="connsiteY152" fmla="*/ 439437 h 573359"/>
                <a:gd name="connsiteX153" fmla="*/ 407964 w 707252"/>
                <a:gd name="connsiteY153" fmla="*/ 443099 h 573359"/>
                <a:gd name="connsiteX154" fmla="*/ 403001 w 707252"/>
                <a:gd name="connsiteY154" fmla="*/ 446177 h 573359"/>
                <a:gd name="connsiteX155" fmla="*/ 400156 w 707252"/>
                <a:gd name="connsiteY155" fmla="*/ 448869 h 573359"/>
                <a:gd name="connsiteX156" fmla="*/ 396077 w 707252"/>
                <a:gd name="connsiteY156" fmla="*/ 452064 h 573359"/>
                <a:gd name="connsiteX157" fmla="*/ 388105 w 707252"/>
                <a:gd name="connsiteY157" fmla="*/ 460001 h 573359"/>
                <a:gd name="connsiteX158" fmla="*/ 377528 w 707252"/>
                <a:gd name="connsiteY158" fmla="*/ 470527 h 573359"/>
                <a:gd name="connsiteX159" fmla="*/ 373797 w 707252"/>
                <a:gd name="connsiteY159" fmla="*/ 475957 h 573359"/>
                <a:gd name="connsiteX160" fmla="*/ 370119 w 707252"/>
                <a:gd name="connsiteY160" fmla="*/ 484081 h 573359"/>
                <a:gd name="connsiteX161" fmla="*/ 367973 w 707252"/>
                <a:gd name="connsiteY161" fmla="*/ 493073 h 573359"/>
                <a:gd name="connsiteX162" fmla="*/ 365624 w 707252"/>
                <a:gd name="connsiteY162" fmla="*/ 502930 h 573359"/>
                <a:gd name="connsiteX163" fmla="*/ 362177 w 707252"/>
                <a:gd name="connsiteY163" fmla="*/ 518744 h 573359"/>
                <a:gd name="connsiteX164" fmla="*/ 357123 w 707252"/>
                <a:gd name="connsiteY164" fmla="*/ 527688 h 573359"/>
                <a:gd name="connsiteX165" fmla="*/ 352674 w 707252"/>
                <a:gd name="connsiteY165" fmla="*/ 534804 h 573359"/>
                <a:gd name="connsiteX166" fmla="*/ 349395 w 707252"/>
                <a:gd name="connsiteY166" fmla="*/ 540395 h 573359"/>
                <a:gd name="connsiteX167" fmla="*/ 347659 w 707252"/>
                <a:gd name="connsiteY167" fmla="*/ 545002 h 573359"/>
                <a:gd name="connsiteX168" fmla="*/ 346941 w 707252"/>
                <a:gd name="connsiteY168" fmla="*/ 544846 h 573359"/>
                <a:gd name="connsiteX169" fmla="*/ 345230 w 707252"/>
                <a:gd name="connsiteY169" fmla="*/ 546812 h 573359"/>
                <a:gd name="connsiteX170" fmla="*/ 340285 w 707252"/>
                <a:gd name="connsiteY170" fmla="*/ 545535 h 573359"/>
                <a:gd name="connsiteX171" fmla="*/ 338051 w 707252"/>
                <a:gd name="connsiteY171" fmla="*/ 541528 h 573359"/>
                <a:gd name="connsiteX172" fmla="*/ 334998 w 707252"/>
                <a:gd name="connsiteY172" fmla="*/ 540874 h 573359"/>
                <a:gd name="connsiteX173" fmla="*/ 329705 w 707252"/>
                <a:gd name="connsiteY173" fmla="*/ 534984 h 573359"/>
                <a:gd name="connsiteX174" fmla="*/ 328585 w 707252"/>
                <a:gd name="connsiteY174" fmla="*/ 535964 h 573359"/>
                <a:gd name="connsiteX175" fmla="*/ 334165 w 707252"/>
                <a:gd name="connsiteY175" fmla="*/ 550886 h 573359"/>
                <a:gd name="connsiteX176" fmla="*/ 332094 w 707252"/>
                <a:gd name="connsiteY176" fmla="*/ 556731 h 573359"/>
                <a:gd name="connsiteX177" fmla="*/ 316425 w 707252"/>
                <a:gd name="connsiteY177" fmla="*/ 556865 h 573359"/>
                <a:gd name="connsiteX178" fmla="*/ 302938 w 707252"/>
                <a:gd name="connsiteY178" fmla="*/ 558828 h 573359"/>
                <a:gd name="connsiteX179" fmla="*/ 293665 w 707252"/>
                <a:gd name="connsiteY179" fmla="*/ 558646 h 573359"/>
                <a:gd name="connsiteX180" fmla="*/ 289010 w 707252"/>
                <a:gd name="connsiteY180" fmla="*/ 556533 h 573359"/>
                <a:gd name="connsiteX181" fmla="*/ 286945 w 707252"/>
                <a:gd name="connsiteY181" fmla="*/ 550940 h 573359"/>
                <a:gd name="connsiteX182" fmla="*/ 286152 w 707252"/>
                <a:gd name="connsiteY182" fmla="*/ 551516 h 573359"/>
                <a:gd name="connsiteX183" fmla="*/ 285683 w 707252"/>
                <a:gd name="connsiteY183" fmla="*/ 554516 h 573359"/>
                <a:gd name="connsiteX184" fmla="*/ 282745 w 707252"/>
                <a:gd name="connsiteY184" fmla="*/ 556873 h 573359"/>
                <a:gd name="connsiteX185" fmla="*/ 272352 w 707252"/>
                <a:gd name="connsiteY185" fmla="*/ 557320 h 573359"/>
                <a:gd name="connsiteX186" fmla="*/ 267753 w 707252"/>
                <a:gd name="connsiteY186" fmla="*/ 553498 h 573359"/>
                <a:gd name="connsiteX187" fmla="*/ 264030 w 707252"/>
                <a:gd name="connsiteY187" fmla="*/ 549223 h 573359"/>
                <a:gd name="connsiteX188" fmla="*/ 260044 w 707252"/>
                <a:gd name="connsiteY188" fmla="*/ 547321 h 573359"/>
                <a:gd name="connsiteX189" fmla="*/ 260657 w 707252"/>
                <a:gd name="connsiteY189" fmla="*/ 549121 h 573359"/>
                <a:gd name="connsiteX190" fmla="*/ 265232 w 707252"/>
                <a:gd name="connsiteY190" fmla="*/ 553292 h 573359"/>
                <a:gd name="connsiteX191" fmla="*/ 264670 w 707252"/>
                <a:gd name="connsiteY191" fmla="*/ 559294 h 573359"/>
                <a:gd name="connsiteX192" fmla="*/ 256302 w 707252"/>
                <a:gd name="connsiteY192" fmla="*/ 566243 h 573359"/>
                <a:gd name="connsiteX193" fmla="*/ 250961 w 707252"/>
                <a:gd name="connsiteY193" fmla="*/ 566636 h 573359"/>
                <a:gd name="connsiteX194" fmla="*/ 247683 w 707252"/>
                <a:gd name="connsiteY194" fmla="*/ 563644 h 573359"/>
                <a:gd name="connsiteX195" fmla="*/ 245982 w 707252"/>
                <a:gd name="connsiteY195" fmla="*/ 558756 h 573359"/>
                <a:gd name="connsiteX196" fmla="*/ 245127 w 707252"/>
                <a:gd name="connsiteY196" fmla="*/ 551527 h 573359"/>
                <a:gd name="connsiteX197" fmla="*/ 242928 w 707252"/>
                <a:gd name="connsiteY197" fmla="*/ 546812 h 573359"/>
                <a:gd name="connsiteX198" fmla="*/ 241750 w 707252"/>
                <a:gd name="connsiteY198" fmla="*/ 546812 h 573359"/>
                <a:gd name="connsiteX199" fmla="*/ 242834 w 707252"/>
                <a:gd name="connsiteY199" fmla="*/ 551128 h 573359"/>
                <a:gd name="connsiteX200" fmla="*/ 243199 w 707252"/>
                <a:gd name="connsiteY200" fmla="*/ 554652 h 573359"/>
                <a:gd name="connsiteX201" fmla="*/ 243252 w 707252"/>
                <a:gd name="connsiteY201" fmla="*/ 561981 h 573359"/>
                <a:gd name="connsiteX202" fmla="*/ 247238 w 707252"/>
                <a:gd name="connsiteY202" fmla="*/ 567665 h 573359"/>
                <a:gd name="connsiteX203" fmla="*/ 241117 w 707252"/>
                <a:gd name="connsiteY203" fmla="*/ 569433 h 573359"/>
                <a:gd name="connsiteX204" fmla="*/ 238637 w 707252"/>
                <a:gd name="connsiteY204" fmla="*/ 569500 h 573359"/>
                <a:gd name="connsiteX205" fmla="*/ 233773 w 707252"/>
                <a:gd name="connsiteY205" fmla="*/ 569631 h 573359"/>
                <a:gd name="connsiteX206" fmla="*/ 232841 w 707252"/>
                <a:gd name="connsiteY206" fmla="*/ 567520 h 573359"/>
                <a:gd name="connsiteX207" fmla="*/ 231911 w 707252"/>
                <a:gd name="connsiteY207" fmla="*/ 562809 h 573359"/>
                <a:gd name="connsiteX208" fmla="*/ 230631 w 707252"/>
                <a:gd name="connsiteY208" fmla="*/ 561574 h 573359"/>
                <a:gd name="connsiteX209" fmla="*/ 229128 w 707252"/>
                <a:gd name="connsiteY209" fmla="*/ 569561 h 573359"/>
                <a:gd name="connsiteX210" fmla="*/ 225895 w 707252"/>
                <a:gd name="connsiteY210" fmla="*/ 570124 h 573359"/>
                <a:gd name="connsiteX211" fmla="*/ 223651 w 707252"/>
                <a:gd name="connsiteY211" fmla="*/ 570051 h 573359"/>
                <a:gd name="connsiteX212" fmla="*/ 214037 w 707252"/>
                <a:gd name="connsiteY212" fmla="*/ 571790 h 573359"/>
                <a:gd name="connsiteX213" fmla="*/ 211897 w 707252"/>
                <a:gd name="connsiteY213" fmla="*/ 571458 h 573359"/>
                <a:gd name="connsiteX214" fmla="*/ 211439 w 707252"/>
                <a:gd name="connsiteY214" fmla="*/ 569971 h 573359"/>
                <a:gd name="connsiteX215" fmla="*/ 212586 w 707252"/>
                <a:gd name="connsiteY215" fmla="*/ 567764 h 573359"/>
                <a:gd name="connsiteX216" fmla="*/ 212331 w 707252"/>
                <a:gd name="connsiteY216" fmla="*/ 564177 h 573359"/>
                <a:gd name="connsiteX217" fmla="*/ 208994 w 707252"/>
                <a:gd name="connsiteY217" fmla="*/ 566944 h 573359"/>
                <a:gd name="connsiteX218" fmla="*/ 208455 w 707252"/>
                <a:gd name="connsiteY218" fmla="*/ 572476 h 573359"/>
                <a:gd name="connsiteX219" fmla="*/ 206545 w 707252"/>
                <a:gd name="connsiteY219" fmla="*/ 573359 h 573359"/>
                <a:gd name="connsiteX220" fmla="*/ 200816 w 707252"/>
                <a:gd name="connsiteY220" fmla="*/ 572575 h 573359"/>
                <a:gd name="connsiteX221" fmla="*/ 194546 w 707252"/>
                <a:gd name="connsiteY221" fmla="*/ 569727 h 573359"/>
                <a:gd name="connsiteX222" fmla="*/ 190739 w 707252"/>
                <a:gd name="connsiteY222" fmla="*/ 566810 h 573359"/>
                <a:gd name="connsiteX223" fmla="*/ 184354 w 707252"/>
                <a:gd name="connsiteY223" fmla="*/ 562763 h 573359"/>
                <a:gd name="connsiteX224" fmla="*/ 171866 w 707252"/>
                <a:gd name="connsiteY224" fmla="*/ 551411 h 573359"/>
                <a:gd name="connsiteX225" fmla="*/ 169841 w 707252"/>
                <a:gd name="connsiteY225" fmla="*/ 546309 h 573359"/>
                <a:gd name="connsiteX226" fmla="*/ 166268 w 707252"/>
                <a:gd name="connsiteY226" fmla="*/ 540041 h 573359"/>
                <a:gd name="connsiteX227" fmla="*/ 163595 w 707252"/>
                <a:gd name="connsiteY227" fmla="*/ 533685 h 573359"/>
                <a:gd name="connsiteX228" fmla="*/ 159754 w 707252"/>
                <a:gd name="connsiteY228" fmla="*/ 522810 h 573359"/>
                <a:gd name="connsiteX229" fmla="*/ 160935 w 707252"/>
                <a:gd name="connsiteY229" fmla="*/ 522022 h 573359"/>
                <a:gd name="connsiteX230" fmla="*/ 163831 w 707252"/>
                <a:gd name="connsiteY230" fmla="*/ 522955 h 573359"/>
                <a:gd name="connsiteX231" fmla="*/ 165242 w 707252"/>
                <a:gd name="connsiteY231" fmla="*/ 521334 h 573359"/>
                <a:gd name="connsiteX232" fmla="*/ 160049 w 707252"/>
                <a:gd name="connsiteY232" fmla="*/ 520150 h 573359"/>
                <a:gd name="connsiteX233" fmla="*/ 158969 w 707252"/>
                <a:gd name="connsiteY233" fmla="*/ 518891 h 573359"/>
                <a:gd name="connsiteX234" fmla="*/ 158621 w 707252"/>
                <a:gd name="connsiteY234" fmla="*/ 515074 h 573359"/>
                <a:gd name="connsiteX235" fmla="*/ 158846 w 707252"/>
                <a:gd name="connsiteY235" fmla="*/ 510414 h 573359"/>
                <a:gd name="connsiteX236" fmla="*/ 163067 w 707252"/>
                <a:gd name="connsiteY236" fmla="*/ 508774 h 573359"/>
                <a:gd name="connsiteX237" fmla="*/ 166718 w 707252"/>
                <a:gd name="connsiteY237" fmla="*/ 507987 h 573359"/>
                <a:gd name="connsiteX238" fmla="*/ 168553 w 707252"/>
                <a:gd name="connsiteY238" fmla="*/ 505150 h 573359"/>
                <a:gd name="connsiteX239" fmla="*/ 169611 w 707252"/>
                <a:gd name="connsiteY239" fmla="*/ 502308 h 573359"/>
                <a:gd name="connsiteX240" fmla="*/ 159904 w 707252"/>
                <a:gd name="connsiteY240" fmla="*/ 506613 h 573359"/>
                <a:gd name="connsiteX241" fmla="*/ 150818 w 707252"/>
                <a:gd name="connsiteY241" fmla="*/ 501738 h 573359"/>
                <a:gd name="connsiteX242" fmla="*/ 148852 w 707252"/>
                <a:gd name="connsiteY242" fmla="*/ 498783 h 573359"/>
                <a:gd name="connsiteX243" fmla="*/ 149835 w 707252"/>
                <a:gd name="connsiteY243" fmla="*/ 496517 h 573359"/>
                <a:gd name="connsiteX244" fmla="*/ 154172 w 707252"/>
                <a:gd name="connsiteY244" fmla="*/ 496172 h 573359"/>
                <a:gd name="connsiteX245" fmla="*/ 160378 w 707252"/>
                <a:gd name="connsiteY245" fmla="*/ 496351 h 573359"/>
                <a:gd name="connsiteX246" fmla="*/ 164099 w 707252"/>
                <a:gd name="connsiteY246" fmla="*/ 494139 h 573359"/>
                <a:gd name="connsiteX247" fmla="*/ 161814 w 707252"/>
                <a:gd name="connsiteY247" fmla="*/ 493367 h 573359"/>
                <a:gd name="connsiteX248" fmla="*/ 157799 w 707252"/>
                <a:gd name="connsiteY248" fmla="*/ 493450 h 573359"/>
                <a:gd name="connsiteX249" fmla="*/ 156317 w 707252"/>
                <a:gd name="connsiteY249" fmla="*/ 491988 h 573359"/>
                <a:gd name="connsiteX250" fmla="*/ 156441 w 707252"/>
                <a:gd name="connsiteY250" fmla="*/ 488447 h 573359"/>
                <a:gd name="connsiteX251" fmla="*/ 155139 w 707252"/>
                <a:gd name="connsiteY251" fmla="*/ 489232 h 573359"/>
                <a:gd name="connsiteX252" fmla="*/ 153414 w 707252"/>
                <a:gd name="connsiteY252" fmla="*/ 492366 h 573359"/>
                <a:gd name="connsiteX253" fmla="*/ 147291 w 707252"/>
                <a:gd name="connsiteY253" fmla="*/ 494674 h 573359"/>
                <a:gd name="connsiteX254" fmla="*/ 143709 w 707252"/>
                <a:gd name="connsiteY254" fmla="*/ 492366 h 573359"/>
                <a:gd name="connsiteX255" fmla="*/ 143345 w 707252"/>
                <a:gd name="connsiteY255" fmla="*/ 487223 h 573359"/>
                <a:gd name="connsiteX256" fmla="*/ 142566 w 707252"/>
                <a:gd name="connsiteY256" fmla="*/ 484908 h 573359"/>
                <a:gd name="connsiteX257" fmla="*/ 139544 w 707252"/>
                <a:gd name="connsiteY257" fmla="*/ 483100 h 573359"/>
                <a:gd name="connsiteX258" fmla="*/ 128822 w 707252"/>
                <a:gd name="connsiteY258" fmla="*/ 469501 h 573359"/>
                <a:gd name="connsiteX259" fmla="*/ 115352 w 707252"/>
                <a:gd name="connsiteY259" fmla="*/ 458155 h 573359"/>
                <a:gd name="connsiteX260" fmla="*/ 103371 w 707252"/>
                <a:gd name="connsiteY260" fmla="*/ 450342 h 573359"/>
                <a:gd name="connsiteX261" fmla="*/ 85280 w 707252"/>
                <a:gd name="connsiteY261" fmla="*/ 446608 h 573359"/>
                <a:gd name="connsiteX262" fmla="*/ 47418 w 707252"/>
                <a:gd name="connsiteY262" fmla="*/ 446755 h 573359"/>
                <a:gd name="connsiteX263" fmla="*/ 45294 w 707252"/>
                <a:gd name="connsiteY263" fmla="*/ 445676 h 573359"/>
                <a:gd name="connsiteX264" fmla="*/ 47614 w 707252"/>
                <a:gd name="connsiteY264" fmla="*/ 443878 h 573359"/>
                <a:gd name="connsiteX265" fmla="*/ 50941 w 707252"/>
                <a:gd name="connsiteY265" fmla="*/ 442681 h 573359"/>
                <a:gd name="connsiteX266" fmla="*/ 63115 w 707252"/>
                <a:gd name="connsiteY266" fmla="*/ 436352 h 573359"/>
                <a:gd name="connsiteX267" fmla="*/ 61063 w 707252"/>
                <a:gd name="connsiteY267" fmla="*/ 435513 h 573359"/>
                <a:gd name="connsiteX268" fmla="*/ 48407 w 707252"/>
                <a:gd name="connsiteY268" fmla="*/ 439475 h 573359"/>
                <a:gd name="connsiteX269" fmla="*/ 44073 w 707252"/>
                <a:gd name="connsiteY269" fmla="*/ 439853 h 573359"/>
                <a:gd name="connsiteX270" fmla="*/ 38469 w 707252"/>
                <a:gd name="connsiteY270" fmla="*/ 447468 h 573359"/>
                <a:gd name="connsiteX271" fmla="*/ 5119 w 707252"/>
                <a:gd name="connsiteY271" fmla="*/ 448729 h 573359"/>
                <a:gd name="connsiteX272" fmla="*/ 1208 w 707252"/>
                <a:gd name="connsiteY272" fmla="*/ 449115 h 573359"/>
                <a:gd name="connsiteX273" fmla="*/ 1302 w 707252"/>
                <a:gd name="connsiteY273" fmla="*/ 445638 h 573359"/>
                <a:gd name="connsiteX274" fmla="*/ 2938 w 707252"/>
                <a:gd name="connsiteY274" fmla="*/ 435647 h 573359"/>
                <a:gd name="connsiteX275" fmla="*/ 4007 w 707252"/>
                <a:gd name="connsiteY275" fmla="*/ 431718 h 573359"/>
                <a:gd name="connsiteX276" fmla="*/ 5247 w 707252"/>
                <a:gd name="connsiteY276" fmla="*/ 428745 h 573359"/>
                <a:gd name="connsiteX277" fmla="*/ 3962 w 707252"/>
                <a:gd name="connsiteY277" fmla="*/ 425179 h 573359"/>
                <a:gd name="connsiteX278" fmla="*/ 2708 w 707252"/>
                <a:gd name="connsiteY278" fmla="*/ 420350 h 573359"/>
                <a:gd name="connsiteX279" fmla="*/ 2095 w 707252"/>
                <a:gd name="connsiteY279" fmla="*/ 412767 h 573359"/>
                <a:gd name="connsiteX280" fmla="*/ 3654 w 707252"/>
                <a:gd name="connsiteY280" fmla="*/ 410413 h 573359"/>
                <a:gd name="connsiteX281" fmla="*/ 4187 w 707252"/>
                <a:gd name="connsiteY281" fmla="*/ 407549 h 573359"/>
                <a:gd name="connsiteX282" fmla="*/ 3822 w 707252"/>
                <a:gd name="connsiteY282" fmla="*/ 403068 h 573359"/>
                <a:gd name="connsiteX283" fmla="*/ 3817 w 707252"/>
                <a:gd name="connsiteY283" fmla="*/ 388074 h 573359"/>
                <a:gd name="connsiteX284" fmla="*/ 4725 w 707252"/>
                <a:gd name="connsiteY284" fmla="*/ 386440 h 573359"/>
                <a:gd name="connsiteX285" fmla="*/ 5802 w 707252"/>
                <a:gd name="connsiteY285" fmla="*/ 385197 h 573359"/>
                <a:gd name="connsiteX286" fmla="*/ 5871 w 707252"/>
                <a:gd name="connsiteY286" fmla="*/ 383204 h 573359"/>
                <a:gd name="connsiteX287" fmla="*/ 3847 w 707252"/>
                <a:gd name="connsiteY287" fmla="*/ 379331 h 573359"/>
                <a:gd name="connsiteX288" fmla="*/ 1972 w 707252"/>
                <a:gd name="connsiteY288" fmla="*/ 374900 h 573359"/>
                <a:gd name="connsiteX289" fmla="*/ 2036 w 707252"/>
                <a:gd name="connsiteY289" fmla="*/ 368536 h 573359"/>
                <a:gd name="connsiteX290" fmla="*/ 1283 w 707252"/>
                <a:gd name="connsiteY290" fmla="*/ 362370 h 573359"/>
                <a:gd name="connsiteX291" fmla="*/ 0 w 707252"/>
                <a:gd name="connsiteY291" fmla="*/ 359563 h 573359"/>
                <a:gd name="connsiteX292" fmla="*/ 967 w 707252"/>
                <a:gd name="connsiteY292" fmla="*/ 349069 h 573359"/>
                <a:gd name="connsiteX293" fmla="*/ 1508 w 707252"/>
                <a:gd name="connsiteY293" fmla="*/ 335764 h 573359"/>
                <a:gd name="connsiteX294" fmla="*/ 1013 w 707252"/>
                <a:gd name="connsiteY294" fmla="*/ 329869 h 573359"/>
                <a:gd name="connsiteX295" fmla="*/ 2226 w 707252"/>
                <a:gd name="connsiteY295" fmla="*/ 325690 h 573359"/>
                <a:gd name="connsiteX296" fmla="*/ 2880 w 707252"/>
                <a:gd name="connsiteY296" fmla="*/ 315423 h 573359"/>
                <a:gd name="connsiteX297" fmla="*/ 2775 w 707252"/>
                <a:gd name="connsiteY297" fmla="*/ 305371 h 573359"/>
                <a:gd name="connsiteX298" fmla="*/ 5258 w 707252"/>
                <a:gd name="connsiteY298" fmla="*/ 289492 h 573359"/>
                <a:gd name="connsiteX299" fmla="*/ 12557 w 707252"/>
                <a:gd name="connsiteY299" fmla="*/ 288724 h 573359"/>
                <a:gd name="connsiteX300" fmla="*/ 21257 w 707252"/>
                <a:gd name="connsiteY300" fmla="*/ 287384 h 573359"/>
                <a:gd name="connsiteX301" fmla="*/ 25138 w 707252"/>
                <a:gd name="connsiteY301" fmla="*/ 281146 h 573359"/>
                <a:gd name="connsiteX302" fmla="*/ 27364 w 707252"/>
                <a:gd name="connsiteY302" fmla="*/ 273244 h 573359"/>
                <a:gd name="connsiteX303" fmla="*/ 26657 w 707252"/>
                <a:gd name="connsiteY303" fmla="*/ 265417 h 573359"/>
                <a:gd name="connsiteX304" fmla="*/ 28347 w 707252"/>
                <a:gd name="connsiteY304" fmla="*/ 262843 h 573359"/>
                <a:gd name="connsiteX305" fmla="*/ 31829 w 707252"/>
                <a:gd name="connsiteY305" fmla="*/ 258606 h 573359"/>
                <a:gd name="connsiteX306" fmla="*/ 38110 w 707252"/>
                <a:gd name="connsiteY306" fmla="*/ 252544 h 573359"/>
                <a:gd name="connsiteX307" fmla="*/ 37856 w 707252"/>
                <a:gd name="connsiteY307" fmla="*/ 245883 h 573359"/>
                <a:gd name="connsiteX308" fmla="*/ 39592 w 707252"/>
                <a:gd name="connsiteY308" fmla="*/ 243831 h 573359"/>
                <a:gd name="connsiteX309" fmla="*/ 42570 w 707252"/>
                <a:gd name="connsiteY309" fmla="*/ 242286 h 573359"/>
                <a:gd name="connsiteX310" fmla="*/ 46832 w 707252"/>
                <a:gd name="connsiteY310" fmla="*/ 241490 h 573359"/>
                <a:gd name="connsiteX311" fmla="*/ 51600 w 707252"/>
                <a:gd name="connsiteY311" fmla="*/ 238177 h 573359"/>
                <a:gd name="connsiteX312" fmla="*/ 54254 w 707252"/>
                <a:gd name="connsiteY312" fmla="*/ 232364 h 573359"/>
                <a:gd name="connsiteX313" fmla="*/ 56852 w 707252"/>
                <a:gd name="connsiteY313" fmla="*/ 223056 h 573359"/>
                <a:gd name="connsiteX314" fmla="*/ 52743 w 707252"/>
                <a:gd name="connsiteY314" fmla="*/ 216580 h 573359"/>
                <a:gd name="connsiteX315" fmla="*/ 52826 w 707252"/>
                <a:gd name="connsiteY315" fmla="*/ 215138 h 573359"/>
                <a:gd name="connsiteX316" fmla="*/ 54375 w 707252"/>
                <a:gd name="connsiteY316" fmla="*/ 211654 h 573359"/>
                <a:gd name="connsiteX317" fmla="*/ 56892 w 707252"/>
                <a:gd name="connsiteY317" fmla="*/ 208164 h 573359"/>
                <a:gd name="connsiteX318" fmla="*/ 58888 w 707252"/>
                <a:gd name="connsiteY318" fmla="*/ 207039 h 573359"/>
                <a:gd name="connsiteX319" fmla="*/ 63519 w 707252"/>
                <a:gd name="connsiteY319" fmla="*/ 207941 h 573359"/>
                <a:gd name="connsiteX320" fmla="*/ 64307 w 707252"/>
                <a:gd name="connsiteY320" fmla="*/ 207647 h 573359"/>
                <a:gd name="connsiteX321" fmla="*/ 65019 w 707252"/>
                <a:gd name="connsiteY321" fmla="*/ 206554 h 573359"/>
                <a:gd name="connsiteX322" fmla="*/ 68019 w 707252"/>
                <a:gd name="connsiteY322" fmla="*/ 196281 h 573359"/>
                <a:gd name="connsiteX323" fmla="*/ 67738 w 707252"/>
                <a:gd name="connsiteY323" fmla="*/ 193506 h 573359"/>
                <a:gd name="connsiteX324" fmla="*/ 63420 w 707252"/>
                <a:gd name="connsiteY324" fmla="*/ 186620 h 573359"/>
                <a:gd name="connsiteX325" fmla="*/ 62716 w 707252"/>
                <a:gd name="connsiteY325" fmla="*/ 181726 h 573359"/>
                <a:gd name="connsiteX326" fmla="*/ 62081 w 707252"/>
                <a:gd name="connsiteY326" fmla="*/ 174446 h 573359"/>
                <a:gd name="connsiteX327" fmla="*/ 61028 w 707252"/>
                <a:gd name="connsiteY327" fmla="*/ 167993 h 573359"/>
                <a:gd name="connsiteX328" fmla="*/ 59777 w 707252"/>
                <a:gd name="connsiteY328" fmla="*/ 165553 h 573359"/>
                <a:gd name="connsiteX329" fmla="*/ 57466 w 707252"/>
                <a:gd name="connsiteY329" fmla="*/ 163496 h 573359"/>
                <a:gd name="connsiteX330" fmla="*/ 56434 w 707252"/>
                <a:gd name="connsiteY330" fmla="*/ 162162 h 573359"/>
                <a:gd name="connsiteX331" fmla="*/ 47488 w 707252"/>
                <a:gd name="connsiteY331" fmla="*/ 149056 h 573359"/>
                <a:gd name="connsiteX332" fmla="*/ 47649 w 707252"/>
                <a:gd name="connsiteY332" fmla="*/ 142826 h 573359"/>
                <a:gd name="connsiteX333" fmla="*/ 51404 w 707252"/>
                <a:gd name="connsiteY333" fmla="*/ 134868 h 573359"/>
                <a:gd name="connsiteX334" fmla="*/ 53860 w 707252"/>
                <a:gd name="connsiteY334" fmla="*/ 131000 h 573359"/>
                <a:gd name="connsiteX335" fmla="*/ 57278 w 707252"/>
                <a:gd name="connsiteY335" fmla="*/ 128868 h 573359"/>
                <a:gd name="connsiteX336" fmla="*/ 57967 w 707252"/>
                <a:gd name="connsiteY336" fmla="*/ 127028 h 573359"/>
                <a:gd name="connsiteX337" fmla="*/ 56938 w 707252"/>
                <a:gd name="connsiteY337" fmla="*/ 124794 h 573359"/>
                <a:gd name="connsiteX338" fmla="*/ 55226 w 707252"/>
                <a:gd name="connsiteY338" fmla="*/ 123109 h 573359"/>
                <a:gd name="connsiteX339" fmla="*/ 54833 w 707252"/>
                <a:gd name="connsiteY339" fmla="*/ 119533 h 573359"/>
                <a:gd name="connsiteX340" fmla="*/ 55323 w 707252"/>
                <a:gd name="connsiteY340" fmla="*/ 117152 h 573359"/>
                <a:gd name="connsiteX341" fmla="*/ 56539 w 707252"/>
                <a:gd name="connsiteY341" fmla="*/ 114543 h 573359"/>
                <a:gd name="connsiteX342" fmla="*/ 56059 w 707252"/>
                <a:gd name="connsiteY342" fmla="*/ 109065 h 573359"/>
                <a:gd name="connsiteX343" fmla="*/ 56156 w 707252"/>
                <a:gd name="connsiteY343" fmla="*/ 100649 h 573359"/>
                <a:gd name="connsiteX344" fmla="*/ 56729 w 707252"/>
                <a:gd name="connsiteY344" fmla="*/ 88408 h 573359"/>
                <a:gd name="connsiteX345" fmla="*/ 56898 w 707252"/>
                <a:gd name="connsiteY345" fmla="*/ 80908 h 573359"/>
                <a:gd name="connsiteX346" fmla="*/ 64157 w 707252"/>
                <a:gd name="connsiteY346" fmla="*/ 75361 h 573359"/>
                <a:gd name="connsiteX347" fmla="*/ 74734 w 707252"/>
                <a:gd name="connsiteY347" fmla="*/ 66163 h 573359"/>
                <a:gd name="connsiteX348" fmla="*/ 80121 w 707252"/>
                <a:gd name="connsiteY348" fmla="*/ 56555 h 573359"/>
                <a:gd name="connsiteX349" fmla="*/ 83000 w 707252"/>
                <a:gd name="connsiteY349" fmla="*/ 49280 h 573359"/>
                <a:gd name="connsiteX350" fmla="*/ 86563 w 707252"/>
                <a:gd name="connsiteY350" fmla="*/ 25042 h 573359"/>
                <a:gd name="connsiteX351" fmla="*/ 89126 w 707252"/>
                <a:gd name="connsiteY351" fmla="*/ 23571 h 573359"/>
                <a:gd name="connsiteX352" fmla="*/ 92169 w 707252"/>
                <a:gd name="connsiteY352" fmla="*/ 22428 h 573359"/>
                <a:gd name="connsiteX353" fmla="*/ 102781 w 707252"/>
                <a:gd name="connsiteY353" fmla="*/ 13596 h 573359"/>
                <a:gd name="connsiteX354" fmla="*/ 110962 w 707252"/>
                <a:gd name="connsiteY354" fmla="*/ 10321 h 573359"/>
                <a:gd name="connsiteX355" fmla="*/ 117203 w 707252"/>
                <a:gd name="connsiteY355" fmla="*/ 8427 h 573359"/>
                <a:gd name="connsiteX356" fmla="*/ 126588 w 707252"/>
                <a:gd name="connsiteY356" fmla="*/ 6825 h 573359"/>
                <a:gd name="connsiteX357" fmla="*/ 132414 w 707252"/>
                <a:gd name="connsiteY357" fmla="*/ 7465 h 573359"/>
                <a:gd name="connsiteX358" fmla="*/ 143026 w 707252"/>
                <a:gd name="connsiteY358" fmla="*/ 7851 h 573359"/>
                <a:gd name="connsiteX359" fmla="*/ 151378 w 707252"/>
                <a:gd name="connsiteY359" fmla="*/ 6978 h 573359"/>
                <a:gd name="connsiteX360" fmla="*/ 158471 w 707252"/>
                <a:gd name="connsiteY360" fmla="*/ 2172 h 573359"/>
                <a:gd name="connsiteX361" fmla="*/ 161680 w 707252"/>
                <a:gd name="connsiteY361" fmla="*/ 825 h 573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</a:cxnLst>
              <a:rect l="l" t="t" r="r" b="b"/>
              <a:pathLst>
                <a:path w="707252" h="573359">
                  <a:moveTo>
                    <a:pt x="268974" y="558525"/>
                  </a:moveTo>
                  <a:lnTo>
                    <a:pt x="271583" y="560213"/>
                  </a:lnTo>
                  <a:lnTo>
                    <a:pt x="274931" y="560909"/>
                  </a:lnTo>
                  <a:lnTo>
                    <a:pt x="273324" y="565005"/>
                  </a:lnTo>
                  <a:lnTo>
                    <a:pt x="267587" y="566815"/>
                  </a:lnTo>
                  <a:lnTo>
                    <a:pt x="263826" y="566373"/>
                  </a:lnTo>
                  <a:close/>
                  <a:moveTo>
                    <a:pt x="166193" y="0"/>
                  </a:moveTo>
                  <a:lnTo>
                    <a:pt x="186697" y="6485"/>
                  </a:lnTo>
                  <a:lnTo>
                    <a:pt x="207194" y="12621"/>
                  </a:lnTo>
                  <a:lnTo>
                    <a:pt x="210920" y="12059"/>
                  </a:lnTo>
                  <a:lnTo>
                    <a:pt x="214037" y="12916"/>
                  </a:lnTo>
                  <a:lnTo>
                    <a:pt x="219161" y="16246"/>
                  </a:lnTo>
                  <a:lnTo>
                    <a:pt x="226728" y="23373"/>
                  </a:lnTo>
                  <a:lnTo>
                    <a:pt x="231223" y="27972"/>
                  </a:lnTo>
                  <a:lnTo>
                    <a:pt x="233390" y="30675"/>
                  </a:lnTo>
                  <a:lnTo>
                    <a:pt x="243917" y="46135"/>
                  </a:lnTo>
                  <a:lnTo>
                    <a:pt x="247843" y="50017"/>
                  </a:lnTo>
                  <a:lnTo>
                    <a:pt x="251789" y="52127"/>
                  </a:lnTo>
                  <a:lnTo>
                    <a:pt x="255809" y="52888"/>
                  </a:lnTo>
                  <a:lnTo>
                    <a:pt x="258868" y="52609"/>
                  </a:lnTo>
                  <a:lnTo>
                    <a:pt x="261791" y="50868"/>
                  </a:lnTo>
                  <a:lnTo>
                    <a:pt x="265757" y="47421"/>
                  </a:lnTo>
                  <a:lnTo>
                    <a:pt x="271779" y="45860"/>
                  </a:lnTo>
                  <a:lnTo>
                    <a:pt x="276702" y="46165"/>
                  </a:lnTo>
                  <a:lnTo>
                    <a:pt x="302220" y="32266"/>
                  </a:lnTo>
                  <a:lnTo>
                    <a:pt x="304695" y="32081"/>
                  </a:lnTo>
                  <a:lnTo>
                    <a:pt x="312118" y="33177"/>
                  </a:lnTo>
                  <a:lnTo>
                    <a:pt x="320365" y="35081"/>
                  </a:lnTo>
                  <a:lnTo>
                    <a:pt x="341748" y="49028"/>
                  </a:lnTo>
                  <a:lnTo>
                    <a:pt x="359193" y="58151"/>
                  </a:lnTo>
                  <a:lnTo>
                    <a:pt x="371456" y="61202"/>
                  </a:lnTo>
                  <a:lnTo>
                    <a:pt x="385904" y="63369"/>
                  </a:lnTo>
                  <a:lnTo>
                    <a:pt x="410444" y="64020"/>
                  </a:lnTo>
                  <a:lnTo>
                    <a:pt x="429007" y="44475"/>
                  </a:lnTo>
                  <a:lnTo>
                    <a:pt x="435867" y="40202"/>
                  </a:lnTo>
                  <a:lnTo>
                    <a:pt x="444133" y="36348"/>
                  </a:lnTo>
                  <a:lnTo>
                    <a:pt x="446792" y="35692"/>
                  </a:lnTo>
                  <a:lnTo>
                    <a:pt x="461380" y="32727"/>
                  </a:lnTo>
                  <a:lnTo>
                    <a:pt x="489987" y="30238"/>
                  </a:lnTo>
                  <a:lnTo>
                    <a:pt x="516818" y="31318"/>
                  </a:lnTo>
                  <a:lnTo>
                    <a:pt x="522100" y="32105"/>
                  </a:lnTo>
                  <a:lnTo>
                    <a:pt x="533489" y="34687"/>
                  </a:lnTo>
                  <a:lnTo>
                    <a:pt x="551060" y="41068"/>
                  </a:lnTo>
                  <a:lnTo>
                    <a:pt x="558638" y="47175"/>
                  </a:lnTo>
                  <a:lnTo>
                    <a:pt x="570547" y="48185"/>
                  </a:lnTo>
                  <a:lnTo>
                    <a:pt x="579083" y="46974"/>
                  </a:lnTo>
                  <a:lnTo>
                    <a:pt x="581866" y="40915"/>
                  </a:lnTo>
                  <a:lnTo>
                    <a:pt x="590432" y="32949"/>
                  </a:lnTo>
                  <a:lnTo>
                    <a:pt x="596662" y="29705"/>
                  </a:lnTo>
                  <a:lnTo>
                    <a:pt x="603278" y="25567"/>
                  </a:lnTo>
                  <a:lnTo>
                    <a:pt x="613746" y="20411"/>
                  </a:lnTo>
                  <a:lnTo>
                    <a:pt x="622360" y="18088"/>
                  </a:lnTo>
                  <a:lnTo>
                    <a:pt x="630059" y="12188"/>
                  </a:lnTo>
                  <a:lnTo>
                    <a:pt x="636166" y="10323"/>
                  </a:lnTo>
                  <a:lnTo>
                    <a:pt x="646791" y="10152"/>
                  </a:lnTo>
                  <a:lnTo>
                    <a:pt x="656097" y="23124"/>
                  </a:lnTo>
                  <a:lnTo>
                    <a:pt x="666098" y="37050"/>
                  </a:lnTo>
                  <a:lnTo>
                    <a:pt x="673896" y="47893"/>
                  </a:lnTo>
                  <a:lnTo>
                    <a:pt x="679588" y="75926"/>
                  </a:lnTo>
                  <a:lnTo>
                    <a:pt x="680193" y="81262"/>
                  </a:lnTo>
                  <a:lnTo>
                    <a:pt x="680627" y="83667"/>
                  </a:lnTo>
                  <a:lnTo>
                    <a:pt x="681055" y="85885"/>
                  </a:lnTo>
                  <a:lnTo>
                    <a:pt x="681803" y="89699"/>
                  </a:lnTo>
                  <a:lnTo>
                    <a:pt x="686268" y="91339"/>
                  </a:lnTo>
                  <a:lnTo>
                    <a:pt x="694713" y="92083"/>
                  </a:lnTo>
                  <a:lnTo>
                    <a:pt x="700844" y="94842"/>
                  </a:lnTo>
                  <a:lnTo>
                    <a:pt x="704517" y="99420"/>
                  </a:lnTo>
                  <a:lnTo>
                    <a:pt x="704873" y="100181"/>
                  </a:lnTo>
                  <a:lnTo>
                    <a:pt x="706812" y="103692"/>
                  </a:lnTo>
                  <a:lnTo>
                    <a:pt x="707252" y="106234"/>
                  </a:lnTo>
                  <a:lnTo>
                    <a:pt x="706721" y="113568"/>
                  </a:lnTo>
                  <a:lnTo>
                    <a:pt x="705489" y="122983"/>
                  </a:lnTo>
                  <a:lnTo>
                    <a:pt x="703384" y="129055"/>
                  </a:lnTo>
                  <a:lnTo>
                    <a:pt x="704557" y="137311"/>
                  </a:lnTo>
                  <a:lnTo>
                    <a:pt x="704187" y="140836"/>
                  </a:lnTo>
                  <a:lnTo>
                    <a:pt x="703261" y="143244"/>
                  </a:lnTo>
                  <a:lnTo>
                    <a:pt x="699489" y="146013"/>
                  </a:lnTo>
                  <a:lnTo>
                    <a:pt x="694360" y="148710"/>
                  </a:lnTo>
                  <a:lnTo>
                    <a:pt x="682092" y="156687"/>
                  </a:lnTo>
                  <a:lnTo>
                    <a:pt x="678591" y="157863"/>
                  </a:lnTo>
                  <a:lnTo>
                    <a:pt x="673467" y="158075"/>
                  </a:lnTo>
                  <a:lnTo>
                    <a:pt x="669007" y="160062"/>
                  </a:lnTo>
                  <a:lnTo>
                    <a:pt x="663714" y="164367"/>
                  </a:lnTo>
                  <a:lnTo>
                    <a:pt x="652333" y="180366"/>
                  </a:lnTo>
                  <a:lnTo>
                    <a:pt x="642586" y="196423"/>
                  </a:lnTo>
                  <a:lnTo>
                    <a:pt x="639222" y="209704"/>
                  </a:lnTo>
                  <a:lnTo>
                    <a:pt x="635432" y="222381"/>
                  </a:lnTo>
                  <a:lnTo>
                    <a:pt x="626866" y="230470"/>
                  </a:lnTo>
                  <a:lnTo>
                    <a:pt x="625674" y="235024"/>
                  </a:lnTo>
                  <a:lnTo>
                    <a:pt x="625315" y="237662"/>
                  </a:lnTo>
                  <a:lnTo>
                    <a:pt x="625020" y="243759"/>
                  </a:lnTo>
                  <a:lnTo>
                    <a:pt x="623981" y="253852"/>
                  </a:lnTo>
                  <a:lnTo>
                    <a:pt x="622650" y="258716"/>
                  </a:lnTo>
                  <a:lnTo>
                    <a:pt x="621273" y="260157"/>
                  </a:lnTo>
                  <a:lnTo>
                    <a:pt x="612029" y="263224"/>
                  </a:lnTo>
                  <a:lnTo>
                    <a:pt x="606702" y="266931"/>
                  </a:lnTo>
                  <a:lnTo>
                    <a:pt x="603514" y="274265"/>
                  </a:lnTo>
                  <a:lnTo>
                    <a:pt x="602346" y="282193"/>
                  </a:lnTo>
                  <a:lnTo>
                    <a:pt x="600479" y="291228"/>
                  </a:lnTo>
                  <a:lnTo>
                    <a:pt x="599421" y="299156"/>
                  </a:lnTo>
                  <a:lnTo>
                    <a:pt x="597980" y="303260"/>
                  </a:lnTo>
                  <a:lnTo>
                    <a:pt x="594953" y="307570"/>
                  </a:lnTo>
                  <a:lnTo>
                    <a:pt x="590242" y="312217"/>
                  </a:lnTo>
                  <a:lnTo>
                    <a:pt x="586163" y="314821"/>
                  </a:lnTo>
                  <a:lnTo>
                    <a:pt x="575550" y="316524"/>
                  </a:lnTo>
                  <a:lnTo>
                    <a:pt x="570089" y="327013"/>
                  </a:lnTo>
                  <a:lnTo>
                    <a:pt x="565473" y="335207"/>
                  </a:lnTo>
                  <a:lnTo>
                    <a:pt x="565342" y="338483"/>
                  </a:lnTo>
                  <a:lnTo>
                    <a:pt x="560888" y="355465"/>
                  </a:lnTo>
                  <a:lnTo>
                    <a:pt x="553144" y="368258"/>
                  </a:lnTo>
                  <a:lnTo>
                    <a:pt x="552632" y="372774"/>
                  </a:lnTo>
                  <a:lnTo>
                    <a:pt x="552598" y="376481"/>
                  </a:lnTo>
                  <a:lnTo>
                    <a:pt x="542912" y="387736"/>
                  </a:lnTo>
                  <a:lnTo>
                    <a:pt x="540349" y="391052"/>
                  </a:lnTo>
                  <a:lnTo>
                    <a:pt x="537874" y="395386"/>
                  </a:lnTo>
                  <a:lnTo>
                    <a:pt x="540314" y="399573"/>
                  </a:lnTo>
                  <a:lnTo>
                    <a:pt x="543049" y="403379"/>
                  </a:lnTo>
                  <a:lnTo>
                    <a:pt x="543442" y="404664"/>
                  </a:lnTo>
                  <a:lnTo>
                    <a:pt x="539036" y="408248"/>
                  </a:lnTo>
                  <a:lnTo>
                    <a:pt x="531365" y="414476"/>
                  </a:lnTo>
                  <a:lnTo>
                    <a:pt x="526779" y="418205"/>
                  </a:lnTo>
                  <a:lnTo>
                    <a:pt x="525767" y="420243"/>
                  </a:lnTo>
                  <a:lnTo>
                    <a:pt x="525094" y="429604"/>
                  </a:lnTo>
                  <a:lnTo>
                    <a:pt x="523760" y="432117"/>
                  </a:lnTo>
                  <a:lnTo>
                    <a:pt x="520704" y="435545"/>
                  </a:lnTo>
                  <a:lnTo>
                    <a:pt x="516218" y="439320"/>
                  </a:lnTo>
                  <a:lnTo>
                    <a:pt x="511648" y="442250"/>
                  </a:lnTo>
                  <a:lnTo>
                    <a:pt x="506476" y="444280"/>
                  </a:lnTo>
                  <a:lnTo>
                    <a:pt x="501504" y="445030"/>
                  </a:lnTo>
                  <a:lnTo>
                    <a:pt x="498727" y="443854"/>
                  </a:lnTo>
                  <a:lnTo>
                    <a:pt x="497141" y="441010"/>
                  </a:lnTo>
                  <a:lnTo>
                    <a:pt x="494347" y="429567"/>
                  </a:lnTo>
                  <a:lnTo>
                    <a:pt x="492936" y="427116"/>
                  </a:lnTo>
                  <a:lnTo>
                    <a:pt x="489708" y="424888"/>
                  </a:lnTo>
                  <a:lnTo>
                    <a:pt x="483330" y="418628"/>
                  </a:lnTo>
                  <a:lnTo>
                    <a:pt x="476881" y="412290"/>
                  </a:lnTo>
                  <a:lnTo>
                    <a:pt x="469102" y="407839"/>
                  </a:lnTo>
                  <a:lnTo>
                    <a:pt x="467436" y="408157"/>
                  </a:lnTo>
                  <a:lnTo>
                    <a:pt x="466145" y="409363"/>
                  </a:lnTo>
                  <a:lnTo>
                    <a:pt x="463935" y="415730"/>
                  </a:lnTo>
                  <a:lnTo>
                    <a:pt x="461760" y="418063"/>
                  </a:lnTo>
                  <a:lnTo>
                    <a:pt x="457665" y="418869"/>
                  </a:lnTo>
                  <a:lnTo>
                    <a:pt x="450550" y="418925"/>
                  </a:lnTo>
                  <a:lnTo>
                    <a:pt x="445362" y="418044"/>
                  </a:lnTo>
                  <a:lnTo>
                    <a:pt x="444184" y="416782"/>
                  </a:lnTo>
                  <a:lnTo>
                    <a:pt x="443131" y="414021"/>
                  </a:lnTo>
                  <a:lnTo>
                    <a:pt x="441695" y="411806"/>
                  </a:lnTo>
                  <a:lnTo>
                    <a:pt x="435494" y="416271"/>
                  </a:lnTo>
                  <a:lnTo>
                    <a:pt x="425744" y="423299"/>
                  </a:lnTo>
                  <a:lnTo>
                    <a:pt x="422573" y="424448"/>
                  </a:lnTo>
                  <a:lnTo>
                    <a:pt x="420157" y="425863"/>
                  </a:lnTo>
                  <a:lnTo>
                    <a:pt x="416940" y="432417"/>
                  </a:lnTo>
                  <a:lnTo>
                    <a:pt x="413053" y="439437"/>
                  </a:lnTo>
                  <a:lnTo>
                    <a:pt x="407964" y="443099"/>
                  </a:lnTo>
                  <a:lnTo>
                    <a:pt x="403001" y="446177"/>
                  </a:lnTo>
                  <a:lnTo>
                    <a:pt x="400156" y="448869"/>
                  </a:lnTo>
                  <a:lnTo>
                    <a:pt x="396077" y="452064"/>
                  </a:lnTo>
                  <a:lnTo>
                    <a:pt x="388105" y="460001"/>
                  </a:lnTo>
                  <a:lnTo>
                    <a:pt x="377528" y="470527"/>
                  </a:lnTo>
                  <a:lnTo>
                    <a:pt x="373797" y="475957"/>
                  </a:lnTo>
                  <a:lnTo>
                    <a:pt x="370119" y="484081"/>
                  </a:lnTo>
                  <a:lnTo>
                    <a:pt x="367973" y="493073"/>
                  </a:lnTo>
                  <a:lnTo>
                    <a:pt x="365624" y="502930"/>
                  </a:lnTo>
                  <a:lnTo>
                    <a:pt x="362177" y="518744"/>
                  </a:lnTo>
                  <a:lnTo>
                    <a:pt x="357123" y="527688"/>
                  </a:lnTo>
                  <a:lnTo>
                    <a:pt x="352674" y="534804"/>
                  </a:lnTo>
                  <a:lnTo>
                    <a:pt x="349395" y="540395"/>
                  </a:lnTo>
                  <a:lnTo>
                    <a:pt x="347659" y="545002"/>
                  </a:lnTo>
                  <a:lnTo>
                    <a:pt x="346941" y="544846"/>
                  </a:lnTo>
                  <a:lnTo>
                    <a:pt x="345230" y="546812"/>
                  </a:lnTo>
                  <a:lnTo>
                    <a:pt x="340285" y="545535"/>
                  </a:lnTo>
                  <a:lnTo>
                    <a:pt x="338051" y="541528"/>
                  </a:lnTo>
                  <a:lnTo>
                    <a:pt x="334998" y="540874"/>
                  </a:lnTo>
                  <a:lnTo>
                    <a:pt x="329705" y="534984"/>
                  </a:lnTo>
                  <a:lnTo>
                    <a:pt x="328585" y="535964"/>
                  </a:lnTo>
                  <a:lnTo>
                    <a:pt x="334165" y="550886"/>
                  </a:lnTo>
                  <a:lnTo>
                    <a:pt x="332094" y="556731"/>
                  </a:lnTo>
                  <a:lnTo>
                    <a:pt x="316425" y="556865"/>
                  </a:lnTo>
                  <a:lnTo>
                    <a:pt x="302938" y="558828"/>
                  </a:lnTo>
                  <a:lnTo>
                    <a:pt x="293665" y="558646"/>
                  </a:lnTo>
                  <a:lnTo>
                    <a:pt x="289010" y="556533"/>
                  </a:lnTo>
                  <a:lnTo>
                    <a:pt x="286945" y="550940"/>
                  </a:lnTo>
                  <a:lnTo>
                    <a:pt x="286152" y="551516"/>
                  </a:lnTo>
                  <a:lnTo>
                    <a:pt x="285683" y="554516"/>
                  </a:lnTo>
                  <a:lnTo>
                    <a:pt x="282745" y="556873"/>
                  </a:lnTo>
                  <a:lnTo>
                    <a:pt x="272352" y="557320"/>
                  </a:lnTo>
                  <a:lnTo>
                    <a:pt x="267753" y="553498"/>
                  </a:lnTo>
                  <a:lnTo>
                    <a:pt x="264030" y="549223"/>
                  </a:lnTo>
                  <a:lnTo>
                    <a:pt x="260044" y="547321"/>
                  </a:lnTo>
                  <a:lnTo>
                    <a:pt x="260657" y="549121"/>
                  </a:lnTo>
                  <a:lnTo>
                    <a:pt x="265232" y="553292"/>
                  </a:lnTo>
                  <a:lnTo>
                    <a:pt x="264670" y="559294"/>
                  </a:lnTo>
                  <a:lnTo>
                    <a:pt x="256302" y="566243"/>
                  </a:lnTo>
                  <a:lnTo>
                    <a:pt x="250961" y="566636"/>
                  </a:lnTo>
                  <a:lnTo>
                    <a:pt x="247683" y="563644"/>
                  </a:lnTo>
                  <a:lnTo>
                    <a:pt x="245982" y="558756"/>
                  </a:lnTo>
                  <a:lnTo>
                    <a:pt x="245127" y="551527"/>
                  </a:lnTo>
                  <a:lnTo>
                    <a:pt x="242928" y="546812"/>
                  </a:lnTo>
                  <a:lnTo>
                    <a:pt x="241750" y="546812"/>
                  </a:lnTo>
                  <a:lnTo>
                    <a:pt x="242834" y="551128"/>
                  </a:lnTo>
                  <a:lnTo>
                    <a:pt x="243199" y="554652"/>
                  </a:lnTo>
                  <a:lnTo>
                    <a:pt x="243252" y="561981"/>
                  </a:lnTo>
                  <a:lnTo>
                    <a:pt x="247238" y="567665"/>
                  </a:lnTo>
                  <a:lnTo>
                    <a:pt x="241117" y="569433"/>
                  </a:lnTo>
                  <a:lnTo>
                    <a:pt x="238637" y="569500"/>
                  </a:lnTo>
                  <a:lnTo>
                    <a:pt x="233773" y="569631"/>
                  </a:lnTo>
                  <a:lnTo>
                    <a:pt x="232841" y="567520"/>
                  </a:lnTo>
                  <a:lnTo>
                    <a:pt x="231911" y="562809"/>
                  </a:lnTo>
                  <a:lnTo>
                    <a:pt x="230631" y="561574"/>
                  </a:lnTo>
                  <a:lnTo>
                    <a:pt x="229128" y="569561"/>
                  </a:lnTo>
                  <a:lnTo>
                    <a:pt x="225895" y="570124"/>
                  </a:lnTo>
                  <a:lnTo>
                    <a:pt x="223651" y="570051"/>
                  </a:lnTo>
                  <a:lnTo>
                    <a:pt x="214037" y="571790"/>
                  </a:lnTo>
                  <a:lnTo>
                    <a:pt x="211897" y="571458"/>
                  </a:lnTo>
                  <a:lnTo>
                    <a:pt x="211439" y="569971"/>
                  </a:lnTo>
                  <a:lnTo>
                    <a:pt x="212586" y="567764"/>
                  </a:lnTo>
                  <a:lnTo>
                    <a:pt x="212331" y="564177"/>
                  </a:lnTo>
                  <a:lnTo>
                    <a:pt x="208994" y="566944"/>
                  </a:lnTo>
                  <a:lnTo>
                    <a:pt x="208455" y="572476"/>
                  </a:lnTo>
                  <a:lnTo>
                    <a:pt x="206545" y="573359"/>
                  </a:lnTo>
                  <a:lnTo>
                    <a:pt x="200816" y="572575"/>
                  </a:lnTo>
                  <a:lnTo>
                    <a:pt x="194546" y="569727"/>
                  </a:lnTo>
                  <a:lnTo>
                    <a:pt x="190739" y="566810"/>
                  </a:lnTo>
                  <a:lnTo>
                    <a:pt x="184354" y="562763"/>
                  </a:lnTo>
                  <a:lnTo>
                    <a:pt x="171866" y="551411"/>
                  </a:lnTo>
                  <a:lnTo>
                    <a:pt x="169841" y="546309"/>
                  </a:lnTo>
                  <a:lnTo>
                    <a:pt x="166268" y="540041"/>
                  </a:lnTo>
                  <a:lnTo>
                    <a:pt x="163595" y="533685"/>
                  </a:lnTo>
                  <a:lnTo>
                    <a:pt x="159754" y="522810"/>
                  </a:lnTo>
                  <a:lnTo>
                    <a:pt x="160935" y="522022"/>
                  </a:lnTo>
                  <a:lnTo>
                    <a:pt x="163831" y="522955"/>
                  </a:lnTo>
                  <a:lnTo>
                    <a:pt x="165242" y="521334"/>
                  </a:lnTo>
                  <a:lnTo>
                    <a:pt x="160049" y="520150"/>
                  </a:lnTo>
                  <a:lnTo>
                    <a:pt x="158969" y="518891"/>
                  </a:lnTo>
                  <a:lnTo>
                    <a:pt x="158621" y="515074"/>
                  </a:lnTo>
                  <a:lnTo>
                    <a:pt x="158846" y="510414"/>
                  </a:lnTo>
                  <a:lnTo>
                    <a:pt x="163067" y="508774"/>
                  </a:lnTo>
                  <a:lnTo>
                    <a:pt x="166718" y="507987"/>
                  </a:lnTo>
                  <a:lnTo>
                    <a:pt x="168553" y="505150"/>
                  </a:lnTo>
                  <a:lnTo>
                    <a:pt x="169611" y="502308"/>
                  </a:lnTo>
                  <a:lnTo>
                    <a:pt x="159904" y="506613"/>
                  </a:lnTo>
                  <a:lnTo>
                    <a:pt x="150818" y="501738"/>
                  </a:lnTo>
                  <a:lnTo>
                    <a:pt x="148852" y="498783"/>
                  </a:lnTo>
                  <a:lnTo>
                    <a:pt x="149835" y="496517"/>
                  </a:lnTo>
                  <a:lnTo>
                    <a:pt x="154172" y="496172"/>
                  </a:lnTo>
                  <a:lnTo>
                    <a:pt x="160378" y="496351"/>
                  </a:lnTo>
                  <a:lnTo>
                    <a:pt x="164099" y="494139"/>
                  </a:lnTo>
                  <a:lnTo>
                    <a:pt x="161814" y="493367"/>
                  </a:lnTo>
                  <a:lnTo>
                    <a:pt x="157799" y="493450"/>
                  </a:lnTo>
                  <a:lnTo>
                    <a:pt x="156317" y="491988"/>
                  </a:lnTo>
                  <a:lnTo>
                    <a:pt x="156441" y="488447"/>
                  </a:lnTo>
                  <a:lnTo>
                    <a:pt x="155139" y="489232"/>
                  </a:lnTo>
                  <a:lnTo>
                    <a:pt x="153414" y="492366"/>
                  </a:lnTo>
                  <a:lnTo>
                    <a:pt x="147291" y="494674"/>
                  </a:lnTo>
                  <a:lnTo>
                    <a:pt x="143709" y="492366"/>
                  </a:lnTo>
                  <a:lnTo>
                    <a:pt x="143345" y="487223"/>
                  </a:lnTo>
                  <a:lnTo>
                    <a:pt x="142566" y="484908"/>
                  </a:lnTo>
                  <a:lnTo>
                    <a:pt x="139544" y="483100"/>
                  </a:lnTo>
                  <a:lnTo>
                    <a:pt x="128822" y="469501"/>
                  </a:lnTo>
                  <a:lnTo>
                    <a:pt x="115352" y="458155"/>
                  </a:lnTo>
                  <a:lnTo>
                    <a:pt x="103371" y="450342"/>
                  </a:lnTo>
                  <a:lnTo>
                    <a:pt x="85280" y="446608"/>
                  </a:lnTo>
                  <a:lnTo>
                    <a:pt x="47418" y="446755"/>
                  </a:lnTo>
                  <a:lnTo>
                    <a:pt x="45294" y="445676"/>
                  </a:lnTo>
                  <a:lnTo>
                    <a:pt x="47614" y="443878"/>
                  </a:lnTo>
                  <a:lnTo>
                    <a:pt x="50941" y="442681"/>
                  </a:lnTo>
                  <a:lnTo>
                    <a:pt x="63115" y="436352"/>
                  </a:lnTo>
                  <a:lnTo>
                    <a:pt x="61063" y="435513"/>
                  </a:lnTo>
                  <a:lnTo>
                    <a:pt x="48407" y="439475"/>
                  </a:lnTo>
                  <a:lnTo>
                    <a:pt x="44073" y="439853"/>
                  </a:lnTo>
                  <a:lnTo>
                    <a:pt x="38469" y="447468"/>
                  </a:lnTo>
                  <a:lnTo>
                    <a:pt x="5119" y="448729"/>
                  </a:lnTo>
                  <a:lnTo>
                    <a:pt x="1208" y="449115"/>
                  </a:lnTo>
                  <a:lnTo>
                    <a:pt x="1302" y="445638"/>
                  </a:lnTo>
                  <a:lnTo>
                    <a:pt x="2938" y="435647"/>
                  </a:lnTo>
                  <a:lnTo>
                    <a:pt x="4007" y="431718"/>
                  </a:lnTo>
                  <a:lnTo>
                    <a:pt x="5247" y="428745"/>
                  </a:lnTo>
                  <a:lnTo>
                    <a:pt x="3962" y="425179"/>
                  </a:lnTo>
                  <a:lnTo>
                    <a:pt x="2708" y="420350"/>
                  </a:lnTo>
                  <a:lnTo>
                    <a:pt x="2095" y="412767"/>
                  </a:lnTo>
                  <a:lnTo>
                    <a:pt x="3654" y="410413"/>
                  </a:lnTo>
                  <a:lnTo>
                    <a:pt x="4187" y="407549"/>
                  </a:lnTo>
                  <a:lnTo>
                    <a:pt x="3822" y="403068"/>
                  </a:lnTo>
                  <a:lnTo>
                    <a:pt x="3817" y="388074"/>
                  </a:lnTo>
                  <a:lnTo>
                    <a:pt x="4725" y="386440"/>
                  </a:lnTo>
                  <a:lnTo>
                    <a:pt x="5802" y="385197"/>
                  </a:lnTo>
                  <a:lnTo>
                    <a:pt x="5871" y="383204"/>
                  </a:lnTo>
                  <a:lnTo>
                    <a:pt x="3847" y="379331"/>
                  </a:lnTo>
                  <a:lnTo>
                    <a:pt x="1972" y="374900"/>
                  </a:lnTo>
                  <a:lnTo>
                    <a:pt x="2036" y="368536"/>
                  </a:lnTo>
                  <a:lnTo>
                    <a:pt x="1283" y="362370"/>
                  </a:lnTo>
                  <a:lnTo>
                    <a:pt x="0" y="359563"/>
                  </a:lnTo>
                  <a:lnTo>
                    <a:pt x="967" y="349069"/>
                  </a:lnTo>
                  <a:lnTo>
                    <a:pt x="1508" y="335764"/>
                  </a:lnTo>
                  <a:lnTo>
                    <a:pt x="1013" y="329869"/>
                  </a:lnTo>
                  <a:lnTo>
                    <a:pt x="2226" y="325690"/>
                  </a:lnTo>
                  <a:lnTo>
                    <a:pt x="2880" y="315423"/>
                  </a:lnTo>
                  <a:lnTo>
                    <a:pt x="2775" y="305371"/>
                  </a:lnTo>
                  <a:lnTo>
                    <a:pt x="5258" y="289492"/>
                  </a:lnTo>
                  <a:lnTo>
                    <a:pt x="12557" y="288724"/>
                  </a:lnTo>
                  <a:lnTo>
                    <a:pt x="21257" y="287384"/>
                  </a:lnTo>
                  <a:lnTo>
                    <a:pt x="25138" y="281146"/>
                  </a:lnTo>
                  <a:lnTo>
                    <a:pt x="27364" y="273244"/>
                  </a:lnTo>
                  <a:lnTo>
                    <a:pt x="26657" y="265417"/>
                  </a:lnTo>
                  <a:lnTo>
                    <a:pt x="28347" y="262843"/>
                  </a:lnTo>
                  <a:lnTo>
                    <a:pt x="31829" y="258606"/>
                  </a:lnTo>
                  <a:lnTo>
                    <a:pt x="38110" y="252544"/>
                  </a:lnTo>
                  <a:lnTo>
                    <a:pt x="37856" y="245883"/>
                  </a:lnTo>
                  <a:lnTo>
                    <a:pt x="39592" y="243831"/>
                  </a:lnTo>
                  <a:lnTo>
                    <a:pt x="42570" y="242286"/>
                  </a:lnTo>
                  <a:lnTo>
                    <a:pt x="46832" y="241490"/>
                  </a:lnTo>
                  <a:lnTo>
                    <a:pt x="51600" y="238177"/>
                  </a:lnTo>
                  <a:lnTo>
                    <a:pt x="54254" y="232364"/>
                  </a:lnTo>
                  <a:lnTo>
                    <a:pt x="56852" y="223056"/>
                  </a:lnTo>
                  <a:lnTo>
                    <a:pt x="52743" y="216580"/>
                  </a:lnTo>
                  <a:lnTo>
                    <a:pt x="52826" y="215138"/>
                  </a:lnTo>
                  <a:lnTo>
                    <a:pt x="54375" y="211654"/>
                  </a:lnTo>
                  <a:lnTo>
                    <a:pt x="56892" y="208164"/>
                  </a:lnTo>
                  <a:lnTo>
                    <a:pt x="58888" y="207039"/>
                  </a:lnTo>
                  <a:lnTo>
                    <a:pt x="63519" y="207941"/>
                  </a:lnTo>
                  <a:lnTo>
                    <a:pt x="64307" y="207647"/>
                  </a:lnTo>
                  <a:lnTo>
                    <a:pt x="65019" y="206554"/>
                  </a:lnTo>
                  <a:lnTo>
                    <a:pt x="68019" y="196281"/>
                  </a:lnTo>
                  <a:lnTo>
                    <a:pt x="67738" y="193506"/>
                  </a:lnTo>
                  <a:lnTo>
                    <a:pt x="63420" y="186620"/>
                  </a:lnTo>
                  <a:lnTo>
                    <a:pt x="62716" y="181726"/>
                  </a:lnTo>
                  <a:lnTo>
                    <a:pt x="62081" y="174446"/>
                  </a:lnTo>
                  <a:lnTo>
                    <a:pt x="61028" y="167993"/>
                  </a:lnTo>
                  <a:lnTo>
                    <a:pt x="59777" y="165553"/>
                  </a:lnTo>
                  <a:lnTo>
                    <a:pt x="57466" y="163496"/>
                  </a:lnTo>
                  <a:lnTo>
                    <a:pt x="56434" y="162162"/>
                  </a:lnTo>
                  <a:lnTo>
                    <a:pt x="47488" y="149056"/>
                  </a:lnTo>
                  <a:lnTo>
                    <a:pt x="47649" y="142826"/>
                  </a:lnTo>
                  <a:lnTo>
                    <a:pt x="51404" y="134868"/>
                  </a:lnTo>
                  <a:lnTo>
                    <a:pt x="53860" y="131000"/>
                  </a:lnTo>
                  <a:lnTo>
                    <a:pt x="57278" y="128868"/>
                  </a:lnTo>
                  <a:lnTo>
                    <a:pt x="57967" y="127028"/>
                  </a:lnTo>
                  <a:lnTo>
                    <a:pt x="56938" y="124794"/>
                  </a:lnTo>
                  <a:lnTo>
                    <a:pt x="55226" y="123109"/>
                  </a:lnTo>
                  <a:lnTo>
                    <a:pt x="54833" y="119533"/>
                  </a:lnTo>
                  <a:lnTo>
                    <a:pt x="55323" y="117152"/>
                  </a:lnTo>
                  <a:lnTo>
                    <a:pt x="56539" y="114543"/>
                  </a:lnTo>
                  <a:lnTo>
                    <a:pt x="56059" y="109065"/>
                  </a:lnTo>
                  <a:lnTo>
                    <a:pt x="56156" y="100649"/>
                  </a:lnTo>
                  <a:lnTo>
                    <a:pt x="56729" y="88408"/>
                  </a:lnTo>
                  <a:lnTo>
                    <a:pt x="56898" y="80908"/>
                  </a:lnTo>
                  <a:lnTo>
                    <a:pt x="64157" y="75361"/>
                  </a:lnTo>
                  <a:lnTo>
                    <a:pt x="74734" y="66163"/>
                  </a:lnTo>
                  <a:lnTo>
                    <a:pt x="80121" y="56555"/>
                  </a:lnTo>
                  <a:lnTo>
                    <a:pt x="83000" y="49280"/>
                  </a:lnTo>
                  <a:lnTo>
                    <a:pt x="86563" y="25042"/>
                  </a:lnTo>
                  <a:lnTo>
                    <a:pt x="89126" y="23571"/>
                  </a:lnTo>
                  <a:lnTo>
                    <a:pt x="92169" y="22428"/>
                  </a:lnTo>
                  <a:lnTo>
                    <a:pt x="102781" y="13596"/>
                  </a:lnTo>
                  <a:lnTo>
                    <a:pt x="110962" y="10321"/>
                  </a:lnTo>
                  <a:lnTo>
                    <a:pt x="117203" y="8427"/>
                  </a:lnTo>
                  <a:lnTo>
                    <a:pt x="126588" y="6825"/>
                  </a:lnTo>
                  <a:lnTo>
                    <a:pt x="132414" y="7465"/>
                  </a:lnTo>
                  <a:lnTo>
                    <a:pt x="143026" y="7851"/>
                  </a:lnTo>
                  <a:lnTo>
                    <a:pt x="151378" y="6978"/>
                  </a:lnTo>
                  <a:lnTo>
                    <a:pt x="158471" y="2172"/>
                  </a:lnTo>
                  <a:lnTo>
                    <a:pt x="161680" y="825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19" name="ee4p_RW_1_82333">
              <a:extLst>
                <a:ext uri="{FF2B5EF4-FFF2-40B4-BE49-F238E27FC236}">
                  <a16:creationId xmlns:a16="http://schemas.microsoft.com/office/drawing/2014/main" id="{27BEFEEF-93FD-E65B-2844-FB37B4D13531}"/>
                </a:ext>
              </a:extLst>
            </p:cNvPr>
            <p:cNvSpPr>
              <a:spLocks noChangeAspect="1"/>
            </p:cNvSpPr>
            <p:nvPr>
              <p:custDataLst>
                <p:tags r:id="rId147"/>
              </p:custDataLst>
            </p:nvPr>
          </p:nvSpPr>
          <p:spPr>
            <a:xfrm>
              <a:off x="7316058" y="4708015"/>
              <a:ext cx="56066" cy="49812"/>
            </a:xfrm>
            <a:custGeom>
              <a:avLst/>
              <a:gdLst/>
              <a:ahLst/>
              <a:cxnLst/>
              <a:rect l="0" t="0" r="0" b="0"/>
              <a:pathLst>
                <a:path w="44644" h="38613">
                  <a:moveTo>
                    <a:pt x="36537" y="93"/>
                  </a:moveTo>
                  <a:lnTo>
                    <a:pt x="35809" y="441"/>
                  </a:lnTo>
                  <a:lnTo>
                    <a:pt x="35658" y="1505"/>
                  </a:lnTo>
                  <a:lnTo>
                    <a:pt x="36496" y="3209"/>
                  </a:lnTo>
                  <a:lnTo>
                    <a:pt x="39234" y="6732"/>
                  </a:lnTo>
                  <a:lnTo>
                    <a:pt x="40976" y="7380"/>
                  </a:lnTo>
                  <a:lnTo>
                    <a:pt x="42114" y="8749"/>
                  </a:lnTo>
                  <a:lnTo>
                    <a:pt x="43228" y="11058"/>
                  </a:lnTo>
                  <a:lnTo>
                    <a:pt x="43559" y="13946"/>
                  </a:lnTo>
                  <a:lnTo>
                    <a:pt x="43099" y="17419"/>
                  </a:lnTo>
                  <a:lnTo>
                    <a:pt x="43373" y="20003"/>
                  </a:lnTo>
                  <a:lnTo>
                    <a:pt x="44380" y="21696"/>
                  </a:lnTo>
                  <a:lnTo>
                    <a:pt x="44643" y="23893"/>
                  </a:lnTo>
                  <a:lnTo>
                    <a:pt x="44166" y="26594"/>
                  </a:lnTo>
                  <a:lnTo>
                    <a:pt x="43585" y="28210"/>
                  </a:lnTo>
                  <a:lnTo>
                    <a:pt x="42898" y="28746"/>
                  </a:lnTo>
                  <a:lnTo>
                    <a:pt x="42121" y="28945"/>
                  </a:lnTo>
                  <a:lnTo>
                    <a:pt x="41067" y="28763"/>
                  </a:lnTo>
                  <a:lnTo>
                    <a:pt x="39780" y="28992"/>
                  </a:lnTo>
                  <a:lnTo>
                    <a:pt x="38381" y="29500"/>
                  </a:lnTo>
                  <a:lnTo>
                    <a:pt x="37502" y="29573"/>
                  </a:lnTo>
                  <a:lnTo>
                    <a:pt x="36956" y="29474"/>
                  </a:lnTo>
                  <a:lnTo>
                    <a:pt x="35923" y="29042"/>
                  </a:lnTo>
                  <a:lnTo>
                    <a:pt x="34293" y="27646"/>
                  </a:lnTo>
                  <a:lnTo>
                    <a:pt x="31252" y="28418"/>
                  </a:lnTo>
                  <a:lnTo>
                    <a:pt x="30430" y="28400"/>
                  </a:lnTo>
                  <a:lnTo>
                    <a:pt x="29313" y="29064"/>
                  </a:lnTo>
                  <a:lnTo>
                    <a:pt x="28407" y="29880"/>
                  </a:lnTo>
                  <a:lnTo>
                    <a:pt x="27854" y="29938"/>
                  </a:lnTo>
                  <a:lnTo>
                    <a:pt x="27292" y="29826"/>
                  </a:lnTo>
                  <a:lnTo>
                    <a:pt x="24673" y="28180"/>
                  </a:lnTo>
                  <a:lnTo>
                    <a:pt x="23716" y="28234"/>
                  </a:lnTo>
                  <a:lnTo>
                    <a:pt x="23323" y="32860"/>
                  </a:lnTo>
                  <a:lnTo>
                    <a:pt x="22885" y="35427"/>
                  </a:lnTo>
                  <a:lnTo>
                    <a:pt x="22345" y="36572"/>
                  </a:lnTo>
                  <a:lnTo>
                    <a:pt x="20471" y="37679"/>
                  </a:lnTo>
                  <a:lnTo>
                    <a:pt x="18583" y="38305"/>
                  </a:lnTo>
                  <a:lnTo>
                    <a:pt x="17551" y="38262"/>
                  </a:lnTo>
                  <a:lnTo>
                    <a:pt x="13401" y="38608"/>
                  </a:lnTo>
                  <a:lnTo>
                    <a:pt x="11777" y="38612"/>
                  </a:lnTo>
                  <a:lnTo>
                    <a:pt x="10883" y="38234"/>
                  </a:lnTo>
                  <a:lnTo>
                    <a:pt x="9717" y="35613"/>
                  </a:lnTo>
                  <a:lnTo>
                    <a:pt x="7517" y="34446"/>
                  </a:lnTo>
                  <a:lnTo>
                    <a:pt x="5405" y="33901"/>
                  </a:lnTo>
                  <a:lnTo>
                    <a:pt x="4545" y="34053"/>
                  </a:lnTo>
                  <a:lnTo>
                    <a:pt x="3781" y="35425"/>
                  </a:lnTo>
                  <a:lnTo>
                    <a:pt x="3466" y="36656"/>
                  </a:lnTo>
                  <a:lnTo>
                    <a:pt x="1419" y="35811"/>
                  </a:lnTo>
                  <a:lnTo>
                    <a:pt x="803" y="34772"/>
                  </a:lnTo>
                  <a:lnTo>
                    <a:pt x="747" y="33013"/>
                  </a:lnTo>
                  <a:lnTo>
                    <a:pt x="0" y="30604"/>
                  </a:lnTo>
                  <a:lnTo>
                    <a:pt x="414" y="29578"/>
                  </a:lnTo>
                  <a:lnTo>
                    <a:pt x="1218" y="28914"/>
                  </a:lnTo>
                  <a:lnTo>
                    <a:pt x="2917" y="27642"/>
                  </a:lnTo>
                  <a:lnTo>
                    <a:pt x="5502" y="25881"/>
                  </a:lnTo>
                  <a:lnTo>
                    <a:pt x="6057" y="25038"/>
                  </a:lnTo>
                  <a:lnTo>
                    <a:pt x="6422" y="23638"/>
                  </a:lnTo>
                  <a:lnTo>
                    <a:pt x="6258" y="20381"/>
                  </a:lnTo>
                  <a:lnTo>
                    <a:pt x="6009" y="17631"/>
                  </a:lnTo>
                  <a:lnTo>
                    <a:pt x="6316" y="16652"/>
                  </a:lnTo>
                  <a:lnTo>
                    <a:pt x="7495" y="14527"/>
                  </a:lnTo>
                  <a:lnTo>
                    <a:pt x="9078" y="12352"/>
                  </a:lnTo>
                  <a:lnTo>
                    <a:pt x="10924" y="10052"/>
                  </a:lnTo>
                  <a:lnTo>
                    <a:pt x="12036" y="9827"/>
                  </a:lnTo>
                  <a:lnTo>
                    <a:pt x="13496" y="8956"/>
                  </a:lnTo>
                  <a:lnTo>
                    <a:pt x="15040" y="7667"/>
                  </a:lnTo>
                  <a:lnTo>
                    <a:pt x="15906" y="7183"/>
                  </a:lnTo>
                  <a:lnTo>
                    <a:pt x="16629" y="7166"/>
                  </a:lnTo>
                  <a:lnTo>
                    <a:pt x="21399" y="6026"/>
                  </a:lnTo>
                  <a:lnTo>
                    <a:pt x="21874" y="6382"/>
                  </a:lnTo>
                  <a:lnTo>
                    <a:pt x="22643" y="8596"/>
                  </a:lnTo>
                  <a:lnTo>
                    <a:pt x="23049" y="8918"/>
                  </a:lnTo>
                  <a:lnTo>
                    <a:pt x="23714" y="8997"/>
                  </a:lnTo>
                  <a:lnTo>
                    <a:pt x="25051" y="8490"/>
                  </a:lnTo>
                  <a:lnTo>
                    <a:pt x="27506" y="6758"/>
                  </a:lnTo>
                  <a:lnTo>
                    <a:pt x="28577" y="5706"/>
                  </a:lnTo>
                  <a:lnTo>
                    <a:pt x="29838" y="4227"/>
                  </a:lnTo>
                  <a:lnTo>
                    <a:pt x="31449" y="2560"/>
                  </a:lnTo>
                  <a:lnTo>
                    <a:pt x="32347" y="1106"/>
                  </a:lnTo>
                  <a:lnTo>
                    <a:pt x="33226" y="255"/>
                  </a:lnTo>
                  <a:lnTo>
                    <a:pt x="34377" y="0"/>
                  </a:lnTo>
                  <a:lnTo>
                    <a:pt x="35651" y="65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20" name="ee4p_EH_1_82333">
              <a:extLst>
                <a:ext uri="{FF2B5EF4-FFF2-40B4-BE49-F238E27FC236}">
                  <a16:creationId xmlns:a16="http://schemas.microsoft.com/office/drawing/2014/main" id="{D763850F-A25A-B5C7-93E5-F5FFF2EF047E}"/>
                </a:ext>
              </a:extLst>
            </p:cNvPr>
            <p:cNvSpPr>
              <a:spLocks noChangeAspect="1"/>
            </p:cNvSpPr>
            <p:nvPr>
              <p:custDataLst>
                <p:tags r:id="rId148"/>
              </p:custDataLst>
            </p:nvPr>
          </p:nvSpPr>
          <p:spPr>
            <a:xfrm>
              <a:off x="6039879" y="3868405"/>
              <a:ext cx="233726" cy="207251"/>
            </a:xfrm>
            <a:custGeom>
              <a:avLst/>
              <a:gdLst/>
              <a:ahLst/>
              <a:cxnLst/>
              <a:rect l="0" t="0" r="0" b="0"/>
              <a:pathLst>
                <a:path w="186111" h="160655">
                  <a:moveTo>
                    <a:pt x="186083" y="8835"/>
                  </a:moveTo>
                  <a:lnTo>
                    <a:pt x="186088" y="12802"/>
                  </a:lnTo>
                  <a:lnTo>
                    <a:pt x="186094" y="17511"/>
                  </a:lnTo>
                  <a:lnTo>
                    <a:pt x="186099" y="22220"/>
                  </a:lnTo>
                  <a:lnTo>
                    <a:pt x="186105" y="27569"/>
                  </a:lnTo>
                  <a:lnTo>
                    <a:pt x="186110" y="32891"/>
                  </a:lnTo>
                  <a:lnTo>
                    <a:pt x="186110" y="36768"/>
                  </a:lnTo>
                  <a:lnTo>
                    <a:pt x="186108" y="39464"/>
                  </a:lnTo>
                  <a:lnTo>
                    <a:pt x="181610" y="39464"/>
                  </a:lnTo>
                  <a:lnTo>
                    <a:pt x="177491" y="39464"/>
                  </a:lnTo>
                  <a:lnTo>
                    <a:pt x="173372" y="39464"/>
                  </a:lnTo>
                  <a:lnTo>
                    <a:pt x="169251" y="39464"/>
                  </a:lnTo>
                  <a:lnTo>
                    <a:pt x="165131" y="39464"/>
                  </a:lnTo>
                  <a:lnTo>
                    <a:pt x="161011" y="39465"/>
                  </a:lnTo>
                  <a:lnTo>
                    <a:pt x="156891" y="39465"/>
                  </a:lnTo>
                  <a:lnTo>
                    <a:pt x="152772" y="39465"/>
                  </a:lnTo>
                  <a:lnTo>
                    <a:pt x="148652" y="39465"/>
                  </a:lnTo>
                  <a:lnTo>
                    <a:pt x="144532" y="39465"/>
                  </a:lnTo>
                  <a:lnTo>
                    <a:pt x="140412" y="39465"/>
                  </a:lnTo>
                  <a:lnTo>
                    <a:pt x="136292" y="39465"/>
                  </a:lnTo>
                  <a:lnTo>
                    <a:pt x="132173" y="39465"/>
                  </a:lnTo>
                  <a:lnTo>
                    <a:pt x="128053" y="39466"/>
                  </a:lnTo>
                  <a:lnTo>
                    <a:pt x="123932" y="39466"/>
                  </a:lnTo>
                  <a:lnTo>
                    <a:pt x="119812" y="39466"/>
                  </a:lnTo>
                  <a:lnTo>
                    <a:pt x="115693" y="39466"/>
                  </a:lnTo>
                  <a:lnTo>
                    <a:pt x="112384" y="39466"/>
                  </a:lnTo>
                  <a:lnTo>
                    <a:pt x="112384" y="42282"/>
                  </a:lnTo>
                  <a:lnTo>
                    <a:pt x="112384" y="45500"/>
                  </a:lnTo>
                  <a:lnTo>
                    <a:pt x="112384" y="48715"/>
                  </a:lnTo>
                  <a:lnTo>
                    <a:pt x="112384" y="51927"/>
                  </a:lnTo>
                  <a:lnTo>
                    <a:pt x="112384" y="55138"/>
                  </a:lnTo>
                  <a:lnTo>
                    <a:pt x="112384" y="58346"/>
                  </a:lnTo>
                  <a:lnTo>
                    <a:pt x="112384" y="61552"/>
                  </a:lnTo>
                  <a:lnTo>
                    <a:pt x="112384" y="64755"/>
                  </a:lnTo>
                  <a:lnTo>
                    <a:pt x="112384" y="67956"/>
                  </a:lnTo>
                  <a:lnTo>
                    <a:pt x="112384" y="71155"/>
                  </a:lnTo>
                  <a:lnTo>
                    <a:pt x="112384" y="74353"/>
                  </a:lnTo>
                  <a:lnTo>
                    <a:pt x="112384" y="77548"/>
                  </a:lnTo>
                  <a:lnTo>
                    <a:pt x="112384" y="80741"/>
                  </a:lnTo>
                  <a:lnTo>
                    <a:pt x="112384" y="83931"/>
                  </a:lnTo>
                  <a:lnTo>
                    <a:pt x="112384" y="87120"/>
                  </a:lnTo>
                  <a:lnTo>
                    <a:pt x="112384" y="90307"/>
                  </a:lnTo>
                  <a:lnTo>
                    <a:pt x="112384" y="93491"/>
                  </a:lnTo>
                  <a:lnTo>
                    <a:pt x="112384" y="96329"/>
                  </a:lnTo>
                  <a:lnTo>
                    <a:pt x="112227" y="98872"/>
                  </a:lnTo>
                  <a:lnTo>
                    <a:pt x="110901" y="99623"/>
                  </a:lnTo>
                  <a:lnTo>
                    <a:pt x="107744" y="100976"/>
                  </a:lnTo>
                  <a:lnTo>
                    <a:pt x="104499" y="102364"/>
                  </a:lnTo>
                  <a:lnTo>
                    <a:pt x="100376" y="102999"/>
                  </a:lnTo>
                  <a:lnTo>
                    <a:pt x="99026" y="103453"/>
                  </a:lnTo>
                  <a:lnTo>
                    <a:pt x="96391" y="105287"/>
                  </a:lnTo>
                  <a:lnTo>
                    <a:pt x="92932" y="107694"/>
                  </a:lnTo>
                  <a:lnTo>
                    <a:pt x="89936" y="109775"/>
                  </a:lnTo>
                  <a:lnTo>
                    <a:pt x="87959" y="112481"/>
                  </a:lnTo>
                  <a:lnTo>
                    <a:pt x="87243" y="113962"/>
                  </a:lnTo>
                  <a:lnTo>
                    <a:pt x="86951" y="115528"/>
                  </a:lnTo>
                  <a:lnTo>
                    <a:pt x="87184" y="117016"/>
                  </a:lnTo>
                  <a:lnTo>
                    <a:pt x="88259" y="120006"/>
                  </a:lnTo>
                  <a:lnTo>
                    <a:pt x="88547" y="121512"/>
                  </a:lnTo>
                  <a:lnTo>
                    <a:pt x="88714" y="124133"/>
                  </a:lnTo>
                  <a:lnTo>
                    <a:pt x="88897" y="126985"/>
                  </a:lnTo>
                  <a:lnTo>
                    <a:pt x="89094" y="130056"/>
                  </a:lnTo>
                  <a:lnTo>
                    <a:pt x="89292" y="133130"/>
                  </a:lnTo>
                  <a:lnTo>
                    <a:pt x="89500" y="136398"/>
                  </a:lnTo>
                  <a:lnTo>
                    <a:pt x="89709" y="139666"/>
                  </a:lnTo>
                  <a:lnTo>
                    <a:pt x="89920" y="142949"/>
                  </a:lnTo>
                  <a:lnTo>
                    <a:pt x="90078" y="145386"/>
                  </a:lnTo>
                  <a:lnTo>
                    <a:pt x="90274" y="148460"/>
                  </a:lnTo>
                  <a:lnTo>
                    <a:pt x="86930" y="148463"/>
                  </a:lnTo>
                  <a:lnTo>
                    <a:pt x="81860" y="148469"/>
                  </a:lnTo>
                  <a:lnTo>
                    <a:pt x="76790" y="148476"/>
                  </a:lnTo>
                  <a:lnTo>
                    <a:pt x="71719" y="148482"/>
                  </a:lnTo>
                  <a:lnTo>
                    <a:pt x="66648" y="148488"/>
                  </a:lnTo>
                  <a:lnTo>
                    <a:pt x="61578" y="148495"/>
                  </a:lnTo>
                  <a:lnTo>
                    <a:pt x="56508" y="148501"/>
                  </a:lnTo>
                  <a:lnTo>
                    <a:pt x="51436" y="148507"/>
                  </a:lnTo>
                  <a:lnTo>
                    <a:pt x="46366" y="148514"/>
                  </a:lnTo>
                  <a:lnTo>
                    <a:pt x="41296" y="148521"/>
                  </a:lnTo>
                  <a:lnTo>
                    <a:pt x="36225" y="148526"/>
                  </a:lnTo>
                  <a:lnTo>
                    <a:pt x="31156" y="148533"/>
                  </a:lnTo>
                  <a:lnTo>
                    <a:pt x="26084" y="148540"/>
                  </a:lnTo>
                  <a:lnTo>
                    <a:pt x="21014" y="148546"/>
                  </a:lnTo>
                  <a:lnTo>
                    <a:pt x="15944" y="148552"/>
                  </a:lnTo>
                  <a:lnTo>
                    <a:pt x="10873" y="148559"/>
                  </a:lnTo>
                  <a:lnTo>
                    <a:pt x="5803" y="148565"/>
                  </a:lnTo>
                  <a:lnTo>
                    <a:pt x="2968" y="148568"/>
                  </a:lnTo>
                  <a:lnTo>
                    <a:pt x="2053" y="152888"/>
                  </a:lnTo>
                  <a:lnTo>
                    <a:pt x="1247" y="155994"/>
                  </a:lnTo>
                  <a:lnTo>
                    <a:pt x="770" y="158515"/>
                  </a:lnTo>
                  <a:lnTo>
                    <a:pt x="1122" y="160654"/>
                  </a:lnTo>
                  <a:lnTo>
                    <a:pt x="0" y="159483"/>
                  </a:lnTo>
                  <a:lnTo>
                    <a:pt x="1971" y="147461"/>
                  </a:lnTo>
                  <a:lnTo>
                    <a:pt x="2116" y="146452"/>
                  </a:lnTo>
                  <a:lnTo>
                    <a:pt x="2118" y="146451"/>
                  </a:lnTo>
                  <a:lnTo>
                    <a:pt x="3265" y="146231"/>
                  </a:lnTo>
                  <a:lnTo>
                    <a:pt x="8133" y="145304"/>
                  </a:lnTo>
                  <a:lnTo>
                    <a:pt x="11449" y="145056"/>
                  </a:lnTo>
                  <a:lnTo>
                    <a:pt x="20076" y="145056"/>
                  </a:lnTo>
                  <a:lnTo>
                    <a:pt x="23389" y="144604"/>
                  </a:lnTo>
                  <a:lnTo>
                    <a:pt x="26047" y="144604"/>
                  </a:lnTo>
                  <a:lnTo>
                    <a:pt x="29804" y="144830"/>
                  </a:lnTo>
                  <a:lnTo>
                    <a:pt x="32902" y="145304"/>
                  </a:lnTo>
                  <a:lnTo>
                    <a:pt x="36216" y="145756"/>
                  </a:lnTo>
                  <a:lnTo>
                    <a:pt x="39974" y="145756"/>
                  </a:lnTo>
                  <a:lnTo>
                    <a:pt x="43072" y="145982"/>
                  </a:lnTo>
                  <a:lnTo>
                    <a:pt x="47046" y="145982"/>
                  </a:lnTo>
                  <a:lnTo>
                    <a:pt x="49928" y="145756"/>
                  </a:lnTo>
                  <a:lnTo>
                    <a:pt x="51915" y="144604"/>
                  </a:lnTo>
                  <a:lnTo>
                    <a:pt x="53686" y="142298"/>
                  </a:lnTo>
                  <a:lnTo>
                    <a:pt x="54344" y="140443"/>
                  </a:lnTo>
                  <a:lnTo>
                    <a:pt x="55015" y="138814"/>
                  </a:lnTo>
                  <a:lnTo>
                    <a:pt x="54787" y="137184"/>
                  </a:lnTo>
                  <a:lnTo>
                    <a:pt x="54571" y="136256"/>
                  </a:lnTo>
                  <a:lnTo>
                    <a:pt x="55673" y="135101"/>
                  </a:lnTo>
                  <a:lnTo>
                    <a:pt x="57000" y="133243"/>
                  </a:lnTo>
                  <a:lnTo>
                    <a:pt x="58329" y="132089"/>
                  </a:lnTo>
                  <a:lnTo>
                    <a:pt x="58771" y="131160"/>
                  </a:lnTo>
                  <a:lnTo>
                    <a:pt x="60100" y="130230"/>
                  </a:lnTo>
                  <a:lnTo>
                    <a:pt x="61643" y="128598"/>
                  </a:lnTo>
                  <a:lnTo>
                    <a:pt x="62528" y="127442"/>
                  </a:lnTo>
                  <a:lnTo>
                    <a:pt x="63630" y="125831"/>
                  </a:lnTo>
                  <a:lnTo>
                    <a:pt x="63856" y="124424"/>
                  </a:lnTo>
                  <a:lnTo>
                    <a:pt x="64300" y="122563"/>
                  </a:lnTo>
                  <a:lnTo>
                    <a:pt x="64300" y="119316"/>
                  </a:lnTo>
                  <a:lnTo>
                    <a:pt x="64741" y="115362"/>
                  </a:lnTo>
                  <a:lnTo>
                    <a:pt x="65401" y="112793"/>
                  </a:lnTo>
                  <a:lnTo>
                    <a:pt x="65843" y="110700"/>
                  </a:lnTo>
                  <a:lnTo>
                    <a:pt x="66286" y="107445"/>
                  </a:lnTo>
                  <a:lnTo>
                    <a:pt x="67615" y="101841"/>
                  </a:lnTo>
                  <a:lnTo>
                    <a:pt x="68056" y="100200"/>
                  </a:lnTo>
                  <a:lnTo>
                    <a:pt x="68943" y="97645"/>
                  </a:lnTo>
                  <a:lnTo>
                    <a:pt x="70044" y="95295"/>
                  </a:lnTo>
                  <a:lnTo>
                    <a:pt x="70928" y="93651"/>
                  </a:lnTo>
                  <a:lnTo>
                    <a:pt x="72041" y="92258"/>
                  </a:lnTo>
                  <a:lnTo>
                    <a:pt x="73585" y="91322"/>
                  </a:lnTo>
                  <a:lnTo>
                    <a:pt x="76014" y="90385"/>
                  </a:lnTo>
                  <a:lnTo>
                    <a:pt x="77784" y="89449"/>
                  </a:lnTo>
                  <a:lnTo>
                    <a:pt x="79998" y="88512"/>
                  </a:lnTo>
                  <a:lnTo>
                    <a:pt x="81984" y="87803"/>
                  </a:lnTo>
                  <a:lnTo>
                    <a:pt x="83756" y="86866"/>
                  </a:lnTo>
                  <a:lnTo>
                    <a:pt x="84424" y="85951"/>
                  </a:lnTo>
                  <a:lnTo>
                    <a:pt x="85525" y="84304"/>
                  </a:lnTo>
                  <a:lnTo>
                    <a:pt x="87070" y="81261"/>
                  </a:lnTo>
                  <a:lnTo>
                    <a:pt x="87955" y="79384"/>
                  </a:lnTo>
                  <a:lnTo>
                    <a:pt x="89283" y="77024"/>
                  </a:lnTo>
                  <a:lnTo>
                    <a:pt x="90828" y="75397"/>
                  </a:lnTo>
                  <a:lnTo>
                    <a:pt x="91786" y="74765"/>
                  </a:lnTo>
                  <a:lnTo>
                    <a:pt x="92598" y="74228"/>
                  </a:lnTo>
                  <a:lnTo>
                    <a:pt x="94596" y="73036"/>
                  </a:lnTo>
                  <a:lnTo>
                    <a:pt x="97024" y="71637"/>
                  </a:lnTo>
                  <a:lnTo>
                    <a:pt x="98796" y="70467"/>
                  </a:lnTo>
                  <a:lnTo>
                    <a:pt x="100339" y="69274"/>
                  </a:lnTo>
                  <a:lnTo>
                    <a:pt x="101667" y="68356"/>
                  </a:lnTo>
                  <a:lnTo>
                    <a:pt x="103211" y="66933"/>
                  </a:lnTo>
                  <a:lnTo>
                    <a:pt x="103881" y="65762"/>
                  </a:lnTo>
                  <a:lnTo>
                    <a:pt x="104766" y="63648"/>
                  </a:lnTo>
                  <a:lnTo>
                    <a:pt x="105868" y="60339"/>
                  </a:lnTo>
                  <a:lnTo>
                    <a:pt x="106754" y="56820"/>
                  </a:lnTo>
                  <a:lnTo>
                    <a:pt x="107638" y="53044"/>
                  </a:lnTo>
                  <a:lnTo>
                    <a:pt x="108297" y="50694"/>
                  </a:lnTo>
                  <a:lnTo>
                    <a:pt x="108967" y="47860"/>
                  </a:lnTo>
                  <a:lnTo>
                    <a:pt x="109851" y="45715"/>
                  </a:lnTo>
                  <a:lnTo>
                    <a:pt x="110511" y="43361"/>
                  </a:lnTo>
                  <a:lnTo>
                    <a:pt x="110952" y="42415"/>
                  </a:lnTo>
                  <a:lnTo>
                    <a:pt x="110952" y="41237"/>
                  </a:lnTo>
                  <a:lnTo>
                    <a:pt x="111396" y="39575"/>
                  </a:lnTo>
                  <a:lnTo>
                    <a:pt x="111489" y="39444"/>
                  </a:lnTo>
                  <a:lnTo>
                    <a:pt x="112065" y="38628"/>
                  </a:lnTo>
                  <a:lnTo>
                    <a:pt x="113609" y="38166"/>
                  </a:lnTo>
                  <a:lnTo>
                    <a:pt x="115379" y="37680"/>
                  </a:lnTo>
                  <a:lnTo>
                    <a:pt x="118165" y="37311"/>
                  </a:lnTo>
                  <a:lnTo>
                    <a:pt x="118975" y="36895"/>
                  </a:lnTo>
                  <a:lnTo>
                    <a:pt x="119396" y="35508"/>
                  </a:lnTo>
                  <a:lnTo>
                    <a:pt x="119721" y="34305"/>
                  </a:lnTo>
                  <a:lnTo>
                    <a:pt x="120767" y="32362"/>
                  </a:lnTo>
                  <a:lnTo>
                    <a:pt x="121944" y="30812"/>
                  </a:lnTo>
                  <a:lnTo>
                    <a:pt x="122625" y="29863"/>
                  </a:lnTo>
                  <a:lnTo>
                    <a:pt x="123543" y="28219"/>
                  </a:lnTo>
                  <a:lnTo>
                    <a:pt x="124449" y="27038"/>
                  </a:lnTo>
                  <a:lnTo>
                    <a:pt x="126014" y="25532"/>
                  </a:lnTo>
                  <a:lnTo>
                    <a:pt x="127385" y="24350"/>
                  </a:lnTo>
                  <a:lnTo>
                    <a:pt x="127851" y="23145"/>
                  </a:lnTo>
                  <a:lnTo>
                    <a:pt x="127851" y="21707"/>
                  </a:lnTo>
                  <a:lnTo>
                    <a:pt x="126868" y="20547"/>
                  </a:lnTo>
                  <a:lnTo>
                    <a:pt x="126176" y="18413"/>
                  </a:lnTo>
                  <a:lnTo>
                    <a:pt x="129027" y="17763"/>
                  </a:lnTo>
                  <a:lnTo>
                    <a:pt x="131532" y="17043"/>
                  </a:lnTo>
                  <a:lnTo>
                    <a:pt x="133821" y="16346"/>
                  </a:lnTo>
                  <a:lnTo>
                    <a:pt x="136564" y="15394"/>
                  </a:lnTo>
                  <a:lnTo>
                    <a:pt x="138614" y="15394"/>
                  </a:lnTo>
                  <a:lnTo>
                    <a:pt x="140213" y="15162"/>
                  </a:lnTo>
                  <a:lnTo>
                    <a:pt x="142502" y="15626"/>
                  </a:lnTo>
                  <a:lnTo>
                    <a:pt x="144779" y="15858"/>
                  </a:lnTo>
                  <a:lnTo>
                    <a:pt x="146378" y="16579"/>
                  </a:lnTo>
                  <a:lnTo>
                    <a:pt x="149120" y="17995"/>
                  </a:lnTo>
                  <a:lnTo>
                    <a:pt x="151408" y="18946"/>
                  </a:lnTo>
                  <a:lnTo>
                    <a:pt x="152780" y="18946"/>
                  </a:lnTo>
                  <a:lnTo>
                    <a:pt x="154248" y="18482"/>
                  </a:lnTo>
                  <a:lnTo>
                    <a:pt x="155491" y="17809"/>
                  </a:lnTo>
                  <a:lnTo>
                    <a:pt x="156246" y="17763"/>
                  </a:lnTo>
                  <a:lnTo>
                    <a:pt x="157391" y="18250"/>
                  </a:lnTo>
                  <a:lnTo>
                    <a:pt x="159173" y="19202"/>
                  </a:lnTo>
                  <a:lnTo>
                    <a:pt x="160996" y="19202"/>
                  </a:lnTo>
                  <a:lnTo>
                    <a:pt x="162821" y="18946"/>
                  </a:lnTo>
                  <a:lnTo>
                    <a:pt x="164192" y="17763"/>
                  </a:lnTo>
                  <a:lnTo>
                    <a:pt x="166481" y="15858"/>
                  </a:lnTo>
                  <a:lnTo>
                    <a:pt x="168306" y="14442"/>
                  </a:lnTo>
                  <a:lnTo>
                    <a:pt x="169948" y="13536"/>
                  </a:lnTo>
                  <a:lnTo>
                    <a:pt x="171276" y="13303"/>
                  </a:lnTo>
                  <a:lnTo>
                    <a:pt x="172766" y="13303"/>
                  </a:lnTo>
                  <a:lnTo>
                    <a:pt x="174472" y="13257"/>
                  </a:lnTo>
                  <a:lnTo>
                    <a:pt x="177214" y="13489"/>
                  </a:lnTo>
                  <a:lnTo>
                    <a:pt x="179039" y="13489"/>
                  </a:lnTo>
                  <a:lnTo>
                    <a:pt x="181534" y="13164"/>
                  </a:lnTo>
                  <a:lnTo>
                    <a:pt x="183617" y="12769"/>
                  </a:lnTo>
                  <a:lnTo>
                    <a:pt x="184524" y="12048"/>
                  </a:lnTo>
                  <a:lnTo>
                    <a:pt x="184524" y="11095"/>
                  </a:lnTo>
                  <a:lnTo>
                    <a:pt x="184070" y="9677"/>
                  </a:lnTo>
                  <a:lnTo>
                    <a:pt x="183574" y="8304"/>
                  </a:lnTo>
                  <a:lnTo>
                    <a:pt x="183444" y="7048"/>
                  </a:lnTo>
                  <a:lnTo>
                    <a:pt x="183747" y="5722"/>
                  </a:lnTo>
                  <a:lnTo>
                    <a:pt x="184070" y="4673"/>
                  </a:lnTo>
                  <a:lnTo>
                    <a:pt x="183845" y="2997"/>
                  </a:lnTo>
                  <a:lnTo>
                    <a:pt x="183196" y="1016"/>
                  </a:lnTo>
                  <a:lnTo>
                    <a:pt x="183110" y="13"/>
                  </a:lnTo>
                  <a:lnTo>
                    <a:pt x="183109" y="0"/>
                  </a:lnTo>
                  <a:lnTo>
                    <a:pt x="186083" y="0"/>
                  </a:lnTo>
                  <a:lnTo>
                    <a:pt x="186083" y="3965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21" name="ee4p_SD_1_82333">
              <a:extLst>
                <a:ext uri="{FF2B5EF4-FFF2-40B4-BE49-F238E27FC236}">
                  <a16:creationId xmlns:a16="http://schemas.microsoft.com/office/drawing/2014/main" id="{6246A3D0-F5A2-0A12-9ADD-87FF36D3D246}"/>
                </a:ext>
              </a:extLst>
            </p:cNvPr>
            <p:cNvSpPr>
              <a:spLocks noChangeAspect="1"/>
            </p:cNvSpPr>
            <p:nvPr>
              <p:custDataLst>
                <p:tags r:id="rId149"/>
              </p:custDataLst>
            </p:nvPr>
          </p:nvSpPr>
          <p:spPr>
            <a:xfrm>
              <a:off x="7120774" y="4033960"/>
              <a:ext cx="466087" cy="395935"/>
            </a:xfrm>
            <a:custGeom>
              <a:avLst/>
              <a:gdLst/>
              <a:ahLst/>
              <a:cxnLst/>
              <a:rect l="0" t="0" r="0" b="0"/>
              <a:pathLst>
                <a:path w="371135" h="306917">
                  <a:moveTo>
                    <a:pt x="213186" y="2734"/>
                  </a:moveTo>
                  <a:lnTo>
                    <a:pt x="212480" y="4794"/>
                  </a:lnTo>
                  <a:lnTo>
                    <a:pt x="216619" y="4794"/>
                  </a:lnTo>
                  <a:lnTo>
                    <a:pt x="223875" y="4793"/>
                  </a:lnTo>
                  <a:lnTo>
                    <a:pt x="231128" y="4791"/>
                  </a:lnTo>
                  <a:lnTo>
                    <a:pt x="238386" y="4791"/>
                  </a:lnTo>
                  <a:lnTo>
                    <a:pt x="245639" y="4788"/>
                  </a:lnTo>
                  <a:lnTo>
                    <a:pt x="252895" y="4787"/>
                  </a:lnTo>
                  <a:lnTo>
                    <a:pt x="260150" y="4786"/>
                  </a:lnTo>
                  <a:lnTo>
                    <a:pt x="267406" y="4785"/>
                  </a:lnTo>
                  <a:lnTo>
                    <a:pt x="274659" y="4784"/>
                  </a:lnTo>
                  <a:lnTo>
                    <a:pt x="281914" y="4783"/>
                  </a:lnTo>
                  <a:lnTo>
                    <a:pt x="289170" y="4782"/>
                  </a:lnTo>
                  <a:lnTo>
                    <a:pt x="296426" y="4781"/>
                  </a:lnTo>
                  <a:lnTo>
                    <a:pt x="303681" y="4780"/>
                  </a:lnTo>
                  <a:lnTo>
                    <a:pt x="310934" y="4778"/>
                  </a:lnTo>
                  <a:lnTo>
                    <a:pt x="318192" y="4777"/>
                  </a:lnTo>
                  <a:lnTo>
                    <a:pt x="325446" y="4776"/>
                  </a:lnTo>
                  <a:lnTo>
                    <a:pt x="332701" y="4774"/>
                  </a:lnTo>
                  <a:lnTo>
                    <a:pt x="332950" y="10059"/>
                  </a:lnTo>
                  <a:lnTo>
                    <a:pt x="333930" y="14281"/>
                  </a:lnTo>
                  <a:lnTo>
                    <a:pt x="337340" y="20310"/>
                  </a:lnTo>
                  <a:lnTo>
                    <a:pt x="340227" y="23551"/>
                  </a:lnTo>
                  <a:lnTo>
                    <a:pt x="341263" y="25338"/>
                  </a:lnTo>
                  <a:lnTo>
                    <a:pt x="341365" y="26167"/>
                  </a:lnTo>
                  <a:lnTo>
                    <a:pt x="341233" y="26935"/>
                  </a:lnTo>
                  <a:lnTo>
                    <a:pt x="340354" y="26052"/>
                  </a:lnTo>
                  <a:lnTo>
                    <a:pt x="338875" y="25448"/>
                  </a:lnTo>
                  <a:lnTo>
                    <a:pt x="338665" y="28266"/>
                  </a:lnTo>
                  <a:lnTo>
                    <a:pt x="339013" y="30272"/>
                  </a:lnTo>
                  <a:lnTo>
                    <a:pt x="339363" y="34033"/>
                  </a:lnTo>
                  <a:lnTo>
                    <a:pt x="340576" y="38074"/>
                  </a:lnTo>
                  <a:lnTo>
                    <a:pt x="339700" y="41804"/>
                  </a:lnTo>
                  <a:lnTo>
                    <a:pt x="339816" y="48118"/>
                  </a:lnTo>
                  <a:lnTo>
                    <a:pt x="341352" y="55681"/>
                  </a:lnTo>
                  <a:lnTo>
                    <a:pt x="341038" y="60506"/>
                  </a:lnTo>
                  <a:lnTo>
                    <a:pt x="343539" y="71745"/>
                  </a:lnTo>
                  <a:lnTo>
                    <a:pt x="345966" y="77974"/>
                  </a:lnTo>
                  <a:lnTo>
                    <a:pt x="347301" y="79508"/>
                  </a:lnTo>
                  <a:lnTo>
                    <a:pt x="348800" y="80325"/>
                  </a:lnTo>
                  <a:lnTo>
                    <a:pt x="351682" y="80854"/>
                  </a:lnTo>
                  <a:lnTo>
                    <a:pt x="355930" y="84021"/>
                  </a:lnTo>
                  <a:lnTo>
                    <a:pt x="359294" y="87363"/>
                  </a:lnTo>
                  <a:lnTo>
                    <a:pt x="360490" y="89111"/>
                  </a:lnTo>
                  <a:lnTo>
                    <a:pt x="362118" y="91028"/>
                  </a:lnTo>
                  <a:lnTo>
                    <a:pt x="363233" y="90686"/>
                  </a:lnTo>
                  <a:lnTo>
                    <a:pt x="363917" y="90176"/>
                  </a:lnTo>
                  <a:lnTo>
                    <a:pt x="365019" y="91722"/>
                  </a:lnTo>
                  <a:lnTo>
                    <a:pt x="370350" y="95059"/>
                  </a:lnTo>
                  <a:lnTo>
                    <a:pt x="371134" y="96609"/>
                  </a:lnTo>
                  <a:lnTo>
                    <a:pt x="369218" y="98128"/>
                  </a:lnTo>
                  <a:lnTo>
                    <a:pt x="366999" y="100743"/>
                  </a:lnTo>
                  <a:lnTo>
                    <a:pt x="366440" y="101782"/>
                  </a:lnTo>
                  <a:lnTo>
                    <a:pt x="366183" y="102401"/>
                  </a:lnTo>
                  <a:lnTo>
                    <a:pt x="365921" y="103175"/>
                  </a:lnTo>
                  <a:lnTo>
                    <a:pt x="365338" y="103944"/>
                  </a:lnTo>
                  <a:lnTo>
                    <a:pt x="364066" y="105006"/>
                  </a:lnTo>
                  <a:lnTo>
                    <a:pt x="363568" y="105469"/>
                  </a:lnTo>
                  <a:lnTo>
                    <a:pt x="363263" y="106197"/>
                  </a:lnTo>
                  <a:lnTo>
                    <a:pt x="362501" y="106671"/>
                  </a:lnTo>
                  <a:lnTo>
                    <a:pt x="361672" y="106697"/>
                  </a:lnTo>
                  <a:lnTo>
                    <a:pt x="360942" y="107023"/>
                  </a:lnTo>
                  <a:lnTo>
                    <a:pt x="359845" y="107526"/>
                  </a:lnTo>
                  <a:lnTo>
                    <a:pt x="358216" y="107268"/>
                  </a:lnTo>
                  <a:lnTo>
                    <a:pt x="356554" y="107726"/>
                  </a:lnTo>
                  <a:lnTo>
                    <a:pt x="355945" y="108304"/>
                  </a:lnTo>
                  <a:lnTo>
                    <a:pt x="354627" y="108807"/>
                  </a:lnTo>
                  <a:lnTo>
                    <a:pt x="353308" y="108915"/>
                  </a:lnTo>
                  <a:lnTo>
                    <a:pt x="352846" y="109086"/>
                  </a:lnTo>
                  <a:lnTo>
                    <a:pt x="351598" y="109941"/>
                  </a:lnTo>
                  <a:lnTo>
                    <a:pt x="350067" y="111131"/>
                  </a:lnTo>
                  <a:lnTo>
                    <a:pt x="348281" y="111888"/>
                  </a:lnTo>
                  <a:lnTo>
                    <a:pt x="347651" y="112136"/>
                  </a:lnTo>
                  <a:lnTo>
                    <a:pt x="346826" y="112955"/>
                  </a:lnTo>
                  <a:lnTo>
                    <a:pt x="345560" y="117041"/>
                  </a:lnTo>
                  <a:lnTo>
                    <a:pt x="344634" y="118110"/>
                  </a:lnTo>
                  <a:lnTo>
                    <a:pt x="343073" y="118215"/>
                  </a:lnTo>
                  <a:lnTo>
                    <a:pt x="341047" y="118220"/>
                  </a:lnTo>
                  <a:lnTo>
                    <a:pt x="339294" y="118572"/>
                  </a:lnTo>
                  <a:lnTo>
                    <a:pt x="336906" y="118120"/>
                  </a:lnTo>
                  <a:lnTo>
                    <a:pt x="335744" y="118174"/>
                  </a:lnTo>
                  <a:lnTo>
                    <a:pt x="335439" y="119046"/>
                  </a:lnTo>
                  <a:lnTo>
                    <a:pt x="335010" y="122549"/>
                  </a:lnTo>
                  <a:lnTo>
                    <a:pt x="335074" y="124049"/>
                  </a:lnTo>
                  <a:lnTo>
                    <a:pt x="334124" y="125827"/>
                  </a:lnTo>
                  <a:lnTo>
                    <a:pt x="333064" y="128048"/>
                  </a:lnTo>
                  <a:lnTo>
                    <a:pt x="333455" y="131799"/>
                  </a:lnTo>
                  <a:lnTo>
                    <a:pt x="333638" y="135507"/>
                  </a:lnTo>
                  <a:lnTo>
                    <a:pt x="331695" y="141086"/>
                  </a:lnTo>
                  <a:lnTo>
                    <a:pt x="331421" y="142364"/>
                  </a:lnTo>
                  <a:lnTo>
                    <a:pt x="329453" y="146786"/>
                  </a:lnTo>
                  <a:lnTo>
                    <a:pt x="328452" y="148428"/>
                  </a:lnTo>
                  <a:lnTo>
                    <a:pt x="325949" y="156676"/>
                  </a:lnTo>
                  <a:lnTo>
                    <a:pt x="324971" y="159210"/>
                  </a:lnTo>
                  <a:lnTo>
                    <a:pt x="322869" y="161880"/>
                  </a:lnTo>
                  <a:lnTo>
                    <a:pt x="323343" y="166221"/>
                  </a:lnTo>
                  <a:lnTo>
                    <a:pt x="323843" y="170822"/>
                  </a:lnTo>
                  <a:lnTo>
                    <a:pt x="324318" y="175161"/>
                  </a:lnTo>
                  <a:lnTo>
                    <a:pt x="325027" y="181649"/>
                  </a:lnTo>
                  <a:lnTo>
                    <a:pt x="323250" y="187701"/>
                  </a:lnTo>
                  <a:lnTo>
                    <a:pt x="323319" y="191000"/>
                  </a:lnTo>
                  <a:lnTo>
                    <a:pt x="322071" y="195865"/>
                  </a:lnTo>
                  <a:lnTo>
                    <a:pt x="321090" y="198112"/>
                  </a:lnTo>
                  <a:lnTo>
                    <a:pt x="320218" y="199449"/>
                  </a:lnTo>
                  <a:lnTo>
                    <a:pt x="319482" y="200824"/>
                  </a:lnTo>
                  <a:lnTo>
                    <a:pt x="318125" y="203855"/>
                  </a:lnTo>
                  <a:lnTo>
                    <a:pt x="316974" y="207853"/>
                  </a:lnTo>
                  <a:lnTo>
                    <a:pt x="316465" y="211949"/>
                  </a:lnTo>
                  <a:lnTo>
                    <a:pt x="316426" y="214327"/>
                  </a:lnTo>
                  <a:lnTo>
                    <a:pt x="316201" y="215412"/>
                  </a:lnTo>
                  <a:lnTo>
                    <a:pt x="315810" y="216098"/>
                  </a:lnTo>
                  <a:lnTo>
                    <a:pt x="313159" y="216551"/>
                  </a:lnTo>
                  <a:lnTo>
                    <a:pt x="309466" y="217033"/>
                  </a:lnTo>
                  <a:lnTo>
                    <a:pt x="307475" y="217568"/>
                  </a:lnTo>
                  <a:lnTo>
                    <a:pt x="306141" y="218406"/>
                  </a:lnTo>
                  <a:lnTo>
                    <a:pt x="304502" y="220347"/>
                  </a:lnTo>
                  <a:lnTo>
                    <a:pt x="301263" y="225661"/>
                  </a:lnTo>
                  <a:lnTo>
                    <a:pt x="299563" y="228915"/>
                  </a:lnTo>
                  <a:lnTo>
                    <a:pt x="296903" y="233368"/>
                  </a:lnTo>
                  <a:lnTo>
                    <a:pt x="293804" y="236518"/>
                  </a:lnTo>
                  <a:lnTo>
                    <a:pt x="293150" y="238048"/>
                  </a:lnTo>
                  <a:lnTo>
                    <a:pt x="292640" y="240899"/>
                  </a:lnTo>
                  <a:lnTo>
                    <a:pt x="291496" y="245406"/>
                  </a:lnTo>
                  <a:lnTo>
                    <a:pt x="290453" y="248611"/>
                  </a:lnTo>
                  <a:lnTo>
                    <a:pt x="290638" y="251185"/>
                  </a:lnTo>
                  <a:lnTo>
                    <a:pt x="289661" y="255653"/>
                  </a:lnTo>
                  <a:lnTo>
                    <a:pt x="289805" y="257830"/>
                  </a:lnTo>
                  <a:lnTo>
                    <a:pt x="288719" y="259043"/>
                  </a:lnTo>
                  <a:lnTo>
                    <a:pt x="287257" y="260192"/>
                  </a:lnTo>
                  <a:lnTo>
                    <a:pt x="286264" y="260483"/>
                  </a:lnTo>
                  <a:lnTo>
                    <a:pt x="284134" y="259169"/>
                  </a:lnTo>
                  <a:lnTo>
                    <a:pt x="282515" y="257835"/>
                  </a:lnTo>
                  <a:lnTo>
                    <a:pt x="281854" y="257486"/>
                  </a:lnTo>
                  <a:lnTo>
                    <a:pt x="280442" y="258320"/>
                  </a:lnTo>
                  <a:lnTo>
                    <a:pt x="278749" y="259551"/>
                  </a:lnTo>
                  <a:lnTo>
                    <a:pt x="276814" y="262440"/>
                  </a:lnTo>
                  <a:lnTo>
                    <a:pt x="275305" y="265358"/>
                  </a:lnTo>
                  <a:lnTo>
                    <a:pt x="276171" y="271538"/>
                  </a:lnTo>
                  <a:lnTo>
                    <a:pt x="276091" y="272895"/>
                  </a:lnTo>
                  <a:lnTo>
                    <a:pt x="275654" y="274371"/>
                  </a:lnTo>
                  <a:lnTo>
                    <a:pt x="273305" y="278976"/>
                  </a:lnTo>
                  <a:lnTo>
                    <a:pt x="272726" y="280430"/>
                  </a:lnTo>
                  <a:lnTo>
                    <a:pt x="271869" y="283192"/>
                  </a:lnTo>
                  <a:lnTo>
                    <a:pt x="270962" y="288016"/>
                  </a:lnTo>
                  <a:lnTo>
                    <a:pt x="270936" y="289175"/>
                  </a:lnTo>
                  <a:lnTo>
                    <a:pt x="270936" y="289175"/>
                  </a:lnTo>
                  <a:lnTo>
                    <a:pt x="270906" y="289175"/>
                  </a:lnTo>
                  <a:lnTo>
                    <a:pt x="266797" y="289159"/>
                  </a:lnTo>
                  <a:lnTo>
                    <a:pt x="266730" y="289130"/>
                  </a:lnTo>
                  <a:lnTo>
                    <a:pt x="266663" y="289066"/>
                  </a:lnTo>
                  <a:lnTo>
                    <a:pt x="266602" y="288959"/>
                  </a:lnTo>
                  <a:lnTo>
                    <a:pt x="266529" y="288813"/>
                  </a:lnTo>
                  <a:lnTo>
                    <a:pt x="266367" y="288179"/>
                  </a:lnTo>
                  <a:lnTo>
                    <a:pt x="266285" y="287193"/>
                  </a:lnTo>
                  <a:lnTo>
                    <a:pt x="266423" y="285488"/>
                  </a:lnTo>
                  <a:lnTo>
                    <a:pt x="266885" y="283461"/>
                  </a:lnTo>
                  <a:lnTo>
                    <a:pt x="268306" y="280612"/>
                  </a:lnTo>
                  <a:lnTo>
                    <a:pt x="268380" y="280376"/>
                  </a:lnTo>
                  <a:lnTo>
                    <a:pt x="268397" y="280243"/>
                  </a:lnTo>
                  <a:lnTo>
                    <a:pt x="268397" y="280089"/>
                  </a:lnTo>
                  <a:lnTo>
                    <a:pt x="268265" y="279581"/>
                  </a:lnTo>
                  <a:lnTo>
                    <a:pt x="268101" y="279141"/>
                  </a:lnTo>
                  <a:lnTo>
                    <a:pt x="268019" y="278476"/>
                  </a:lnTo>
                  <a:lnTo>
                    <a:pt x="268265" y="276997"/>
                  </a:lnTo>
                  <a:lnTo>
                    <a:pt x="268289" y="276538"/>
                  </a:lnTo>
                  <a:lnTo>
                    <a:pt x="268254" y="275947"/>
                  </a:lnTo>
                  <a:lnTo>
                    <a:pt x="268144" y="275573"/>
                  </a:lnTo>
                  <a:lnTo>
                    <a:pt x="267153" y="273105"/>
                  </a:lnTo>
                  <a:lnTo>
                    <a:pt x="266825" y="272713"/>
                  </a:lnTo>
                  <a:lnTo>
                    <a:pt x="257248" y="264851"/>
                  </a:lnTo>
                  <a:lnTo>
                    <a:pt x="255497" y="262719"/>
                  </a:lnTo>
                  <a:lnTo>
                    <a:pt x="255309" y="262572"/>
                  </a:lnTo>
                  <a:lnTo>
                    <a:pt x="255073" y="262459"/>
                  </a:lnTo>
                  <a:lnTo>
                    <a:pt x="250211" y="260668"/>
                  </a:lnTo>
                  <a:lnTo>
                    <a:pt x="249973" y="260488"/>
                  </a:lnTo>
                  <a:lnTo>
                    <a:pt x="250003" y="260225"/>
                  </a:lnTo>
                  <a:lnTo>
                    <a:pt x="250154" y="259884"/>
                  </a:lnTo>
                  <a:lnTo>
                    <a:pt x="250740" y="258850"/>
                  </a:lnTo>
                  <a:lnTo>
                    <a:pt x="250821" y="258576"/>
                  </a:lnTo>
                  <a:lnTo>
                    <a:pt x="250904" y="258157"/>
                  </a:lnTo>
                  <a:lnTo>
                    <a:pt x="248712" y="241561"/>
                  </a:lnTo>
                  <a:lnTo>
                    <a:pt x="248718" y="241234"/>
                  </a:lnTo>
                  <a:lnTo>
                    <a:pt x="248818" y="241017"/>
                  </a:lnTo>
                  <a:lnTo>
                    <a:pt x="248900" y="240884"/>
                  </a:lnTo>
                  <a:lnTo>
                    <a:pt x="249189" y="240531"/>
                  </a:lnTo>
                  <a:lnTo>
                    <a:pt x="249442" y="240164"/>
                  </a:lnTo>
                  <a:lnTo>
                    <a:pt x="249731" y="239524"/>
                  </a:lnTo>
                  <a:lnTo>
                    <a:pt x="249804" y="239283"/>
                  </a:lnTo>
                  <a:lnTo>
                    <a:pt x="250107" y="236315"/>
                  </a:lnTo>
                  <a:lnTo>
                    <a:pt x="250083" y="233714"/>
                  </a:lnTo>
                  <a:lnTo>
                    <a:pt x="251366" y="229376"/>
                  </a:lnTo>
                  <a:lnTo>
                    <a:pt x="251504" y="227531"/>
                  </a:lnTo>
                  <a:lnTo>
                    <a:pt x="240947" y="227400"/>
                  </a:lnTo>
                  <a:lnTo>
                    <a:pt x="240882" y="227495"/>
                  </a:lnTo>
                  <a:lnTo>
                    <a:pt x="240873" y="227609"/>
                  </a:lnTo>
                  <a:lnTo>
                    <a:pt x="240901" y="227739"/>
                  </a:lnTo>
                  <a:lnTo>
                    <a:pt x="240917" y="227878"/>
                  </a:lnTo>
                  <a:lnTo>
                    <a:pt x="240908" y="228169"/>
                  </a:lnTo>
                  <a:lnTo>
                    <a:pt x="240824" y="228707"/>
                  </a:lnTo>
                  <a:lnTo>
                    <a:pt x="240802" y="228991"/>
                  </a:lnTo>
                  <a:lnTo>
                    <a:pt x="240813" y="229281"/>
                  </a:lnTo>
                  <a:lnTo>
                    <a:pt x="240973" y="230320"/>
                  </a:lnTo>
                  <a:lnTo>
                    <a:pt x="241251" y="231103"/>
                  </a:lnTo>
                  <a:lnTo>
                    <a:pt x="241296" y="231363"/>
                  </a:lnTo>
                  <a:lnTo>
                    <a:pt x="241310" y="231648"/>
                  </a:lnTo>
                  <a:lnTo>
                    <a:pt x="241275" y="232188"/>
                  </a:lnTo>
                  <a:lnTo>
                    <a:pt x="226583" y="232254"/>
                  </a:lnTo>
                  <a:lnTo>
                    <a:pt x="232400" y="238771"/>
                  </a:lnTo>
                  <a:lnTo>
                    <a:pt x="232469" y="238904"/>
                  </a:lnTo>
                  <a:lnTo>
                    <a:pt x="232571" y="239258"/>
                  </a:lnTo>
                  <a:lnTo>
                    <a:pt x="232611" y="239518"/>
                  </a:lnTo>
                  <a:lnTo>
                    <a:pt x="232722" y="241810"/>
                  </a:lnTo>
                  <a:lnTo>
                    <a:pt x="232409" y="245435"/>
                  </a:lnTo>
                  <a:lnTo>
                    <a:pt x="232478" y="247765"/>
                  </a:lnTo>
                  <a:lnTo>
                    <a:pt x="232817" y="249279"/>
                  </a:lnTo>
                  <a:lnTo>
                    <a:pt x="234391" y="252255"/>
                  </a:lnTo>
                  <a:lnTo>
                    <a:pt x="234289" y="252811"/>
                  </a:lnTo>
                  <a:lnTo>
                    <a:pt x="233920" y="253512"/>
                  </a:lnTo>
                  <a:lnTo>
                    <a:pt x="223503" y="262354"/>
                  </a:lnTo>
                  <a:lnTo>
                    <a:pt x="223214" y="262771"/>
                  </a:lnTo>
                  <a:lnTo>
                    <a:pt x="221763" y="266455"/>
                  </a:lnTo>
                  <a:lnTo>
                    <a:pt x="220385" y="268598"/>
                  </a:lnTo>
                  <a:lnTo>
                    <a:pt x="219772" y="269211"/>
                  </a:lnTo>
                  <a:lnTo>
                    <a:pt x="217353" y="272218"/>
                  </a:lnTo>
                  <a:lnTo>
                    <a:pt x="207845" y="281639"/>
                  </a:lnTo>
                  <a:lnTo>
                    <a:pt x="206288" y="282271"/>
                  </a:lnTo>
                  <a:lnTo>
                    <a:pt x="201553" y="282529"/>
                  </a:lnTo>
                  <a:lnTo>
                    <a:pt x="199048" y="282597"/>
                  </a:lnTo>
                  <a:lnTo>
                    <a:pt x="198763" y="282668"/>
                  </a:lnTo>
                  <a:lnTo>
                    <a:pt x="198338" y="282831"/>
                  </a:lnTo>
                  <a:lnTo>
                    <a:pt x="198077" y="283074"/>
                  </a:lnTo>
                  <a:lnTo>
                    <a:pt x="197768" y="283256"/>
                  </a:lnTo>
                  <a:lnTo>
                    <a:pt x="197463" y="283158"/>
                  </a:lnTo>
                  <a:lnTo>
                    <a:pt x="197109" y="282902"/>
                  </a:lnTo>
                  <a:lnTo>
                    <a:pt x="191255" y="277627"/>
                  </a:lnTo>
                  <a:lnTo>
                    <a:pt x="180827" y="270961"/>
                  </a:lnTo>
                  <a:lnTo>
                    <a:pt x="179830" y="271568"/>
                  </a:lnTo>
                  <a:lnTo>
                    <a:pt x="173928" y="274434"/>
                  </a:lnTo>
                  <a:lnTo>
                    <a:pt x="172710" y="275178"/>
                  </a:lnTo>
                  <a:lnTo>
                    <a:pt x="172036" y="275704"/>
                  </a:lnTo>
                  <a:lnTo>
                    <a:pt x="172002" y="278912"/>
                  </a:lnTo>
                  <a:lnTo>
                    <a:pt x="170974" y="280544"/>
                  </a:lnTo>
                  <a:lnTo>
                    <a:pt x="169111" y="282323"/>
                  </a:lnTo>
                  <a:lnTo>
                    <a:pt x="164008" y="283451"/>
                  </a:lnTo>
                  <a:lnTo>
                    <a:pt x="161354" y="284419"/>
                  </a:lnTo>
                  <a:lnTo>
                    <a:pt x="158639" y="285859"/>
                  </a:lnTo>
                  <a:lnTo>
                    <a:pt x="158197" y="286219"/>
                  </a:lnTo>
                  <a:lnTo>
                    <a:pt x="158197" y="286215"/>
                  </a:lnTo>
                  <a:lnTo>
                    <a:pt x="157152" y="287213"/>
                  </a:lnTo>
                  <a:lnTo>
                    <a:pt x="155098" y="289229"/>
                  </a:lnTo>
                  <a:lnTo>
                    <a:pt x="154876" y="290797"/>
                  </a:lnTo>
                  <a:lnTo>
                    <a:pt x="155211" y="292196"/>
                  </a:lnTo>
                  <a:lnTo>
                    <a:pt x="137618" y="292139"/>
                  </a:lnTo>
                  <a:lnTo>
                    <a:pt x="136454" y="291020"/>
                  </a:lnTo>
                  <a:lnTo>
                    <a:pt x="134012" y="286093"/>
                  </a:lnTo>
                  <a:lnTo>
                    <a:pt x="133902" y="286050"/>
                  </a:lnTo>
                  <a:lnTo>
                    <a:pt x="132109" y="286356"/>
                  </a:lnTo>
                  <a:lnTo>
                    <a:pt x="116065" y="285777"/>
                  </a:lnTo>
                  <a:lnTo>
                    <a:pt x="113772" y="286294"/>
                  </a:lnTo>
                  <a:lnTo>
                    <a:pt x="109187" y="288334"/>
                  </a:lnTo>
                  <a:lnTo>
                    <a:pt x="106877" y="288670"/>
                  </a:lnTo>
                  <a:lnTo>
                    <a:pt x="104504" y="287740"/>
                  </a:lnTo>
                  <a:lnTo>
                    <a:pt x="96061" y="277918"/>
                  </a:lnTo>
                  <a:lnTo>
                    <a:pt x="94236" y="276745"/>
                  </a:lnTo>
                  <a:lnTo>
                    <a:pt x="93573" y="276113"/>
                  </a:lnTo>
                  <a:lnTo>
                    <a:pt x="92325" y="274401"/>
                  </a:lnTo>
                  <a:lnTo>
                    <a:pt x="90524" y="273376"/>
                  </a:lnTo>
                  <a:lnTo>
                    <a:pt x="89913" y="272629"/>
                  </a:lnTo>
                  <a:lnTo>
                    <a:pt x="89721" y="271582"/>
                  </a:lnTo>
                  <a:lnTo>
                    <a:pt x="89775" y="269427"/>
                  </a:lnTo>
                  <a:lnTo>
                    <a:pt x="89177" y="268077"/>
                  </a:lnTo>
                  <a:lnTo>
                    <a:pt x="87846" y="267763"/>
                  </a:lnTo>
                  <a:lnTo>
                    <a:pt x="76505" y="270043"/>
                  </a:lnTo>
                  <a:lnTo>
                    <a:pt x="74881" y="269788"/>
                  </a:lnTo>
                  <a:lnTo>
                    <a:pt x="72499" y="270192"/>
                  </a:lnTo>
                  <a:lnTo>
                    <a:pt x="71681" y="270595"/>
                  </a:lnTo>
                  <a:lnTo>
                    <a:pt x="70722" y="271891"/>
                  </a:lnTo>
                  <a:lnTo>
                    <a:pt x="70528" y="273229"/>
                  </a:lnTo>
                  <a:lnTo>
                    <a:pt x="70558" y="274584"/>
                  </a:lnTo>
                  <a:lnTo>
                    <a:pt x="70265" y="275923"/>
                  </a:lnTo>
                  <a:lnTo>
                    <a:pt x="69401" y="277406"/>
                  </a:lnTo>
                  <a:lnTo>
                    <a:pt x="66168" y="280738"/>
                  </a:lnTo>
                  <a:lnTo>
                    <a:pt x="65451" y="282188"/>
                  </a:lnTo>
                  <a:lnTo>
                    <a:pt x="65604" y="285856"/>
                  </a:lnTo>
                  <a:lnTo>
                    <a:pt x="65393" y="287706"/>
                  </a:lnTo>
                  <a:lnTo>
                    <a:pt x="64901" y="288564"/>
                  </a:lnTo>
                  <a:lnTo>
                    <a:pt x="63493" y="289974"/>
                  </a:lnTo>
                  <a:lnTo>
                    <a:pt x="62983" y="290786"/>
                  </a:lnTo>
                  <a:lnTo>
                    <a:pt x="62746" y="291927"/>
                  </a:lnTo>
                  <a:lnTo>
                    <a:pt x="62668" y="294340"/>
                  </a:lnTo>
                  <a:lnTo>
                    <a:pt x="62417" y="295473"/>
                  </a:lnTo>
                  <a:lnTo>
                    <a:pt x="60653" y="298313"/>
                  </a:lnTo>
                  <a:lnTo>
                    <a:pt x="60237" y="299314"/>
                  </a:lnTo>
                  <a:lnTo>
                    <a:pt x="60135" y="301363"/>
                  </a:lnTo>
                  <a:lnTo>
                    <a:pt x="59850" y="301986"/>
                  </a:lnTo>
                  <a:lnTo>
                    <a:pt x="54726" y="303605"/>
                  </a:lnTo>
                  <a:lnTo>
                    <a:pt x="52810" y="304639"/>
                  </a:lnTo>
                  <a:lnTo>
                    <a:pt x="51636" y="306233"/>
                  </a:lnTo>
                  <a:lnTo>
                    <a:pt x="51346" y="306916"/>
                  </a:lnTo>
                  <a:lnTo>
                    <a:pt x="51346" y="306916"/>
                  </a:lnTo>
                  <a:lnTo>
                    <a:pt x="49152" y="306344"/>
                  </a:lnTo>
                  <a:lnTo>
                    <a:pt x="46362" y="305934"/>
                  </a:lnTo>
                  <a:lnTo>
                    <a:pt x="40996" y="305427"/>
                  </a:lnTo>
                  <a:lnTo>
                    <a:pt x="38872" y="304684"/>
                  </a:lnTo>
                  <a:lnTo>
                    <a:pt x="37857" y="303570"/>
                  </a:lnTo>
                  <a:lnTo>
                    <a:pt x="38178" y="300731"/>
                  </a:lnTo>
                  <a:lnTo>
                    <a:pt x="37651" y="300120"/>
                  </a:lnTo>
                  <a:lnTo>
                    <a:pt x="36790" y="299615"/>
                  </a:lnTo>
                  <a:lnTo>
                    <a:pt x="36209" y="298385"/>
                  </a:lnTo>
                  <a:lnTo>
                    <a:pt x="36330" y="296908"/>
                  </a:lnTo>
                  <a:lnTo>
                    <a:pt x="39156" y="293627"/>
                  </a:lnTo>
                  <a:lnTo>
                    <a:pt x="39744" y="291871"/>
                  </a:lnTo>
                  <a:lnTo>
                    <a:pt x="40189" y="285775"/>
                  </a:lnTo>
                  <a:lnTo>
                    <a:pt x="40487" y="283623"/>
                  </a:lnTo>
                  <a:lnTo>
                    <a:pt x="40266" y="281111"/>
                  </a:lnTo>
                  <a:lnTo>
                    <a:pt x="38027" y="276485"/>
                  </a:lnTo>
                  <a:lnTo>
                    <a:pt x="36073" y="273265"/>
                  </a:lnTo>
                  <a:lnTo>
                    <a:pt x="32881" y="268491"/>
                  </a:lnTo>
                  <a:lnTo>
                    <a:pt x="31633" y="266930"/>
                  </a:lnTo>
                  <a:lnTo>
                    <a:pt x="25188" y="260357"/>
                  </a:lnTo>
                  <a:lnTo>
                    <a:pt x="24445" y="259384"/>
                  </a:lnTo>
                  <a:lnTo>
                    <a:pt x="22881" y="256602"/>
                  </a:lnTo>
                  <a:lnTo>
                    <a:pt x="23650" y="254156"/>
                  </a:lnTo>
                  <a:lnTo>
                    <a:pt x="24598" y="250507"/>
                  </a:lnTo>
                  <a:lnTo>
                    <a:pt x="24710" y="248825"/>
                  </a:lnTo>
                  <a:lnTo>
                    <a:pt x="24265" y="247085"/>
                  </a:lnTo>
                  <a:lnTo>
                    <a:pt x="22637" y="245778"/>
                  </a:lnTo>
                  <a:lnTo>
                    <a:pt x="21186" y="245628"/>
                  </a:lnTo>
                  <a:lnTo>
                    <a:pt x="20536" y="244959"/>
                  </a:lnTo>
                  <a:lnTo>
                    <a:pt x="19284" y="243999"/>
                  </a:lnTo>
                  <a:lnTo>
                    <a:pt x="18038" y="243254"/>
                  </a:lnTo>
                  <a:lnTo>
                    <a:pt x="16934" y="241822"/>
                  </a:lnTo>
                  <a:lnTo>
                    <a:pt x="16166" y="239813"/>
                  </a:lnTo>
                  <a:lnTo>
                    <a:pt x="16710" y="232626"/>
                  </a:lnTo>
                  <a:lnTo>
                    <a:pt x="16343" y="231665"/>
                  </a:lnTo>
                  <a:lnTo>
                    <a:pt x="14695" y="231401"/>
                  </a:lnTo>
                  <a:lnTo>
                    <a:pt x="14311" y="230885"/>
                  </a:lnTo>
                  <a:lnTo>
                    <a:pt x="14377" y="229506"/>
                  </a:lnTo>
                  <a:lnTo>
                    <a:pt x="13488" y="225407"/>
                  </a:lnTo>
                  <a:lnTo>
                    <a:pt x="12492" y="222016"/>
                  </a:lnTo>
                  <a:lnTo>
                    <a:pt x="13028" y="220143"/>
                  </a:lnTo>
                  <a:lnTo>
                    <a:pt x="11655" y="217582"/>
                  </a:lnTo>
                  <a:lnTo>
                    <a:pt x="9025" y="216480"/>
                  </a:lnTo>
                  <a:lnTo>
                    <a:pt x="6543" y="216815"/>
                  </a:lnTo>
                  <a:lnTo>
                    <a:pt x="3878" y="217325"/>
                  </a:lnTo>
                  <a:lnTo>
                    <a:pt x="2274" y="217184"/>
                  </a:lnTo>
                  <a:lnTo>
                    <a:pt x="1168" y="216707"/>
                  </a:lnTo>
                  <a:lnTo>
                    <a:pt x="400" y="215767"/>
                  </a:lnTo>
                  <a:lnTo>
                    <a:pt x="0" y="214659"/>
                  </a:lnTo>
                  <a:lnTo>
                    <a:pt x="365" y="212991"/>
                  </a:lnTo>
                  <a:lnTo>
                    <a:pt x="1823" y="209929"/>
                  </a:lnTo>
                  <a:lnTo>
                    <a:pt x="3647" y="207409"/>
                  </a:lnTo>
                  <a:lnTo>
                    <a:pt x="7357" y="205115"/>
                  </a:lnTo>
                  <a:lnTo>
                    <a:pt x="8344" y="203894"/>
                  </a:lnTo>
                  <a:lnTo>
                    <a:pt x="8908" y="202538"/>
                  </a:lnTo>
                  <a:lnTo>
                    <a:pt x="9007" y="200981"/>
                  </a:lnTo>
                  <a:lnTo>
                    <a:pt x="8759" y="199342"/>
                  </a:lnTo>
                  <a:lnTo>
                    <a:pt x="8338" y="197846"/>
                  </a:lnTo>
                  <a:lnTo>
                    <a:pt x="7245" y="195857"/>
                  </a:lnTo>
                  <a:lnTo>
                    <a:pt x="6243" y="193517"/>
                  </a:lnTo>
                  <a:lnTo>
                    <a:pt x="6217" y="191951"/>
                  </a:lnTo>
                  <a:lnTo>
                    <a:pt x="6699" y="190817"/>
                  </a:lnTo>
                  <a:lnTo>
                    <a:pt x="7692" y="189455"/>
                  </a:lnTo>
                  <a:lnTo>
                    <a:pt x="9659" y="187920"/>
                  </a:lnTo>
                  <a:lnTo>
                    <a:pt x="10132" y="187613"/>
                  </a:lnTo>
                  <a:lnTo>
                    <a:pt x="11367" y="186790"/>
                  </a:lnTo>
                  <a:lnTo>
                    <a:pt x="12447" y="186189"/>
                  </a:lnTo>
                  <a:lnTo>
                    <a:pt x="15140" y="184567"/>
                  </a:lnTo>
                  <a:lnTo>
                    <a:pt x="15773" y="183791"/>
                  </a:lnTo>
                  <a:lnTo>
                    <a:pt x="15544" y="182858"/>
                  </a:lnTo>
                  <a:lnTo>
                    <a:pt x="14883" y="182095"/>
                  </a:lnTo>
                  <a:lnTo>
                    <a:pt x="13799" y="181031"/>
                  </a:lnTo>
                  <a:lnTo>
                    <a:pt x="13579" y="179724"/>
                  </a:lnTo>
                  <a:lnTo>
                    <a:pt x="13261" y="177488"/>
                  </a:lnTo>
                  <a:lnTo>
                    <a:pt x="12702" y="176067"/>
                  </a:lnTo>
                  <a:lnTo>
                    <a:pt x="12300" y="175022"/>
                  </a:lnTo>
                  <a:lnTo>
                    <a:pt x="13067" y="174238"/>
                  </a:lnTo>
                  <a:lnTo>
                    <a:pt x="14207" y="173151"/>
                  </a:lnTo>
                  <a:lnTo>
                    <a:pt x="15628" y="172487"/>
                  </a:lnTo>
                  <a:lnTo>
                    <a:pt x="17834" y="171915"/>
                  </a:lnTo>
                  <a:lnTo>
                    <a:pt x="18698" y="171138"/>
                  </a:lnTo>
                  <a:lnTo>
                    <a:pt x="18953" y="169644"/>
                  </a:lnTo>
                  <a:lnTo>
                    <a:pt x="18882" y="168224"/>
                  </a:lnTo>
                  <a:lnTo>
                    <a:pt x="19672" y="167163"/>
                  </a:lnTo>
                  <a:lnTo>
                    <a:pt x="20741" y="164896"/>
                  </a:lnTo>
                  <a:lnTo>
                    <a:pt x="21601" y="163862"/>
                  </a:lnTo>
                  <a:lnTo>
                    <a:pt x="23039" y="162682"/>
                  </a:lnTo>
                  <a:lnTo>
                    <a:pt x="24479" y="161201"/>
                  </a:lnTo>
                  <a:lnTo>
                    <a:pt x="25120" y="159482"/>
                  </a:lnTo>
                  <a:lnTo>
                    <a:pt x="25302" y="157826"/>
                  </a:lnTo>
                  <a:lnTo>
                    <a:pt x="24514" y="152806"/>
                  </a:lnTo>
                  <a:lnTo>
                    <a:pt x="26179" y="150706"/>
                  </a:lnTo>
                  <a:lnTo>
                    <a:pt x="28301" y="148968"/>
                  </a:lnTo>
                  <a:lnTo>
                    <a:pt x="31359" y="149089"/>
                  </a:lnTo>
                  <a:lnTo>
                    <a:pt x="36103" y="148709"/>
                  </a:lnTo>
                  <a:lnTo>
                    <a:pt x="39331" y="147984"/>
                  </a:lnTo>
                  <a:lnTo>
                    <a:pt x="41635" y="148007"/>
                  </a:lnTo>
                  <a:lnTo>
                    <a:pt x="46894" y="148946"/>
                  </a:lnTo>
                  <a:lnTo>
                    <a:pt x="47319" y="148721"/>
                  </a:lnTo>
                  <a:lnTo>
                    <a:pt x="47442" y="148538"/>
                  </a:lnTo>
                  <a:lnTo>
                    <a:pt x="47721" y="147209"/>
                  </a:lnTo>
                  <a:lnTo>
                    <a:pt x="47718" y="143856"/>
                  </a:lnTo>
                  <a:lnTo>
                    <a:pt x="47710" y="133736"/>
                  </a:lnTo>
                  <a:lnTo>
                    <a:pt x="47701" y="123602"/>
                  </a:lnTo>
                  <a:lnTo>
                    <a:pt x="47695" y="113452"/>
                  </a:lnTo>
                  <a:lnTo>
                    <a:pt x="47686" y="103287"/>
                  </a:lnTo>
                  <a:lnTo>
                    <a:pt x="47677" y="93105"/>
                  </a:lnTo>
                  <a:lnTo>
                    <a:pt x="47669" y="82908"/>
                  </a:lnTo>
                  <a:lnTo>
                    <a:pt x="47660" y="72694"/>
                  </a:lnTo>
                  <a:lnTo>
                    <a:pt x="47652" y="62463"/>
                  </a:lnTo>
                  <a:lnTo>
                    <a:pt x="47652" y="59596"/>
                  </a:lnTo>
                  <a:lnTo>
                    <a:pt x="47652" y="56729"/>
                  </a:lnTo>
                  <a:lnTo>
                    <a:pt x="47652" y="53860"/>
                  </a:lnTo>
                  <a:lnTo>
                    <a:pt x="47652" y="50989"/>
                  </a:lnTo>
                  <a:lnTo>
                    <a:pt x="53106" y="50991"/>
                  </a:lnTo>
                  <a:lnTo>
                    <a:pt x="58561" y="50995"/>
                  </a:lnTo>
                  <a:lnTo>
                    <a:pt x="64017" y="50998"/>
                  </a:lnTo>
                  <a:lnTo>
                    <a:pt x="69470" y="51000"/>
                  </a:lnTo>
                  <a:lnTo>
                    <a:pt x="69541" y="50958"/>
                  </a:lnTo>
                  <a:lnTo>
                    <a:pt x="69608" y="50918"/>
                  </a:lnTo>
                  <a:lnTo>
                    <a:pt x="69677" y="50877"/>
                  </a:lnTo>
                  <a:lnTo>
                    <a:pt x="69746" y="50836"/>
                  </a:lnTo>
                  <a:lnTo>
                    <a:pt x="69751" y="39361"/>
                  </a:lnTo>
                  <a:lnTo>
                    <a:pt x="69755" y="27863"/>
                  </a:lnTo>
                  <a:lnTo>
                    <a:pt x="69759" y="16341"/>
                  </a:lnTo>
                  <a:lnTo>
                    <a:pt x="69763" y="4794"/>
                  </a:lnTo>
                  <a:lnTo>
                    <a:pt x="78211" y="4795"/>
                  </a:lnTo>
                  <a:lnTo>
                    <a:pt x="86659" y="4797"/>
                  </a:lnTo>
                  <a:lnTo>
                    <a:pt x="95106" y="4798"/>
                  </a:lnTo>
                  <a:lnTo>
                    <a:pt x="103554" y="4800"/>
                  </a:lnTo>
                  <a:lnTo>
                    <a:pt x="112001" y="4801"/>
                  </a:lnTo>
                  <a:lnTo>
                    <a:pt x="120449" y="4802"/>
                  </a:lnTo>
                  <a:lnTo>
                    <a:pt x="128896" y="4803"/>
                  </a:lnTo>
                  <a:lnTo>
                    <a:pt x="137342" y="4805"/>
                  </a:lnTo>
                  <a:lnTo>
                    <a:pt x="145791" y="4807"/>
                  </a:lnTo>
                  <a:lnTo>
                    <a:pt x="154239" y="4808"/>
                  </a:lnTo>
                  <a:lnTo>
                    <a:pt x="162684" y="4809"/>
                  </a:lnTo>
                  <a:lnTo>
                    <a:pt x="171132" y="4811"/>
                  </a:lnTo>
                  <a:lnTo>
                    <a:pt x="179581" y="4811"/>
                  </a:lnTo>
                  <a:lnTo>
                    <a:pt x="188027" y="4814"/>
                  </a:lnTo>
                  <a:lnTo>
                    <a:pt x="196474" y="4816"/>
                  </a:lnTo>
                  <a:lnTo>
                    <a:pt x="204922" y="4817"/>
                  </a:lnTo>
                  <a:lnTo>
                    <a:pt x="207498" y="4817"/>
                  </a:lnTo>
                  <a:lnTo>
                    <a:pt x="208636" y="4645"/>
                  </a:lnTo>
                  <a:lnTo>
                    <a:pt x="210799" y="320"/>
                  </a:lnTo>
                  <a:lnTo>
                    <a:pt x="211724" y="0"/>
                  </a:lnTo>
                  <a:lnTo>
                    <a:pt x="213138" y="253"/>
                  </a:lnTo>
                  <a:lnTo>
                    <a:pt x="213622" y="1268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22" name="ee4p_SS_1_82333">
              <a:extLst>
                <a:ext uri="{FF2B5EF4-FFF2-40B4-BE49-F238E27FC236}">
                  <a16:creationId xmlns:a16="http://schemas.microsoft.com/office/drawing/2014/main" id="{D31354AE-2F9A-9BF3-73B3-57E491801485}"/>
                </a:ext>
              </a:extLst>
            </p:cNvPr>
            <p:cNvSpPr>
              <a:spLocks noChangeAspect="1"/>
            </p:cNvSpPr>
            <p:nvPr>
              <p:custDataLst>
                <p:tags r:id="rId150"/>
              </p:custDataLst>
            </p:nvPr>
          </p:nvSpPr>
          <p:spPr>
            <a:xfrm>
              <a:off x="7185257" y="4327315"/>
              <a:ext cx="308824" cy="250761"/>
            </a:xfrm>
            <a:custGeom>
              <a:avLst/>
              <a:gdLst/>
              <a:ahLst/>
              <a:cxnLst/>
              <a:rect l="0" t="0" r="0" b="0"/>
              <a:pathLst>
                <a:path w="245910" h="194383">
                  <a:moveTo>
                    <a:pt x="216960" y="53212"/>
                  </a:moveTo>
                  <a:lnTo>
                    <a:pt x="215539" y="56061"/>
                  </a:lnTo>
                  <a:lnTo>
                    <a:pt x="215077" y="58088"/>
                  </a:lnTo>
                  <a:lnTo>
                    <a:pt x="214939" y="59793"/>
                  </a:lnTo>
                  <a:lnTo>
                    <a:pt x="215021" y="60779"/>
                  </a:lnTo>
                  <a:lnTo>
                    <a:pt x="215183" y="61413"/>
                  </a:lnTo>
                  <a:lnTo>
                    <a:pt x="215256" y="61559"/>
                  </a:lnTo>
                  <a:lnTo>
                    <a:pt x="215317" y="61666"/>
                  </a:lnTo>
                  <a:lnTo>
                    <a:pt x="215384" y="61730"/>
                  </a:lnTo>
                  <a:lnTo>
                    <a:pt x="215451" y="61759"/>
                  </a:lnTo>
                  <a:lnTo>
                    <a:pt x="219560" y="61775"/>
                  </a:lnTo>
                  <a:lnTo>
                    <a:pt x="219590" y="61775"/>
                  </a:lnTo>
                  <a:lnTo>
                    <a:pt x="219590" y="61775"/>
                  </a:lnTo>
                  <a:lnTo>
                    <a:pt x="219569" y="62679"/>
                  </a:lnTo>
                  <a:lnTo>
                    <a:pt x="219733" y="67194"/>
                  </a:lnTo>
                  <a:lnTo>
                    <a:pt x="219875" y="71146"/>
                  </a:lnTo>
                  <a:lnTo>
                    <a:pt x="220109" y="77595"/>
                  </a:lnTo>
                  <a:lnTo>
                    <a:pt x="220113" y="79277"/>
                  </a:lnTo>
                  <a:lnTo>
                    <a:pt x="219953" y="81373"/>
                  </a:lnTo>
                  <a:lnTo>
                    <a:pt x="219471" y="82197"/>
                  </a:lnTo>
                  <a:lnTo>
                    <a:pt x="218299" y="83381"/>
                  </a:lnTo>
                  <a:lnTo>
                    <a:pt x="216831" y="84463"/>
                  </a:lnTo>
                  <a:lnTo>
                    <a:pt x="213110" y="84739"/>
                  </a:lnTo>
                  <a:lnTo>
                    <a:pt x="210009" y="84706"/>
                  </a:lnTo>
                  <a:lnTo>
                    <a:pt x="207809" y="84465"/>
                  </a:lnTo>
                  <a:lnTo>
                    <a:pt x="204803" y="84368"/>
                  </a:lnTo>
                  <a:lnTo>
                    <a:pt x="201966" y="84602"/>
                  </a:lnTo>
                  <a:lnTo>
                    <a:pt x="200931" y="85511"/>
                  </a:lnTo>
                  <a:lnTo>
                    <a:pt x="199404" y="88747"/>
                  </a:lnTo>
                  <a:lnTo>
                    <a:pt x="197193" y="93433"/>
                  </a:lnTo>
                  <a:lnTo>
                    <a:pt x="196029" y="95413"/>
                  </a:lnTo>
                  <a:lnTo>
                    <a:pt x="195727" y="96570"/>
                  </a:lnTo>
                  <a:lnTo>
                    <a:pt x="196074" y="97259"/>
                  </a:lnTo>
                  <a:lnTo>
                    <a:pt x="197536" y="98256"/>
                  </a:lnTo>
                  <a:lnTo>
                    <a:pt x="200747" y="99659"/>
                  </a:lnTo>
                  <a:lnTo>
                    <a:pt x="204425" y="100480"/>
                  </a:lnTo>
                  <a:lnTo>
                    <a:pt x="207167" y="100835"/>
                  </a:lnTo>
                  <a:lnTo>
                    <a:pt x="209040" y="101221"/>
                  </a:lnTo>
                  <a:lnTo>
                    <a:pt x="210480" y="101653"/>
                  </a:lnTo>
                  <a:lnTo>
                    <a:pt x="215705" y="105244"/>
                  </a:lnTo>
                  <a:lnTo>
                    <a:pt x="217375" y="106910"/>
                  </a:lnTo>
                  <a:lnTo>
                    <a:pt x="218314" y="108391"/>
                  </a:lnTo>
                  <a:lnTo>
                    <a:pt x="218530" y="109969"/>
                  </a:lnTo>
                  <a:lnTo>
                    <a:pt x="219284" y="111553"/>
                  </a:lnTo>
                  <a:lnTo>
                    <a:pt x="222294" y="114690"/>
                  </a:lnTo>
                  <a:lnTo>
                    <a:pt x="224039" y="116506"/>
                  </a:lnTo>
                  <a:lnTo>
                    <a:pt x="228573" y="118826"/>
                  </a:lnTo>
                  <a:lnTo>
                    <a:pt x="230307" y="121459"/>
                  </a:lnTo>
                  <a:lnTo>
                    <a:pt x="231987" y="122740"/>
                  </a:lnTo>
                  <a:lnTo>
                    <a:pt x="233576" y="124114"/>
                  </a:lnTo>
                  <a:lnTo>
                    <a:pt x="234429" y="126167"/>
                  </a:lnTo>
                  <a:lnTo>
                    <a:pt x="236394" y="132111"/>
                  </a:lnTo>
                  <a:lnTo>
                    <a:pt x="237716" y="135225"/>
                  </a:lnTo>
                  <a:lnTo>
                    <a:pt x="239068" y="137772"/>
                  </a:lnTo>
                  <a:lnTo>
                    <a:pt x="239612" y="141916"/>
                  </a:lnTo>
                  <a:lnTo>
                    <a:pt x="240681" y="143766"/>
                  </a:lnTo>
                  <a:lnTo>
                    <a:pt x="241786" y="146024"/>
                  </a:lnTo>
                  <a:lnTo>
                    <a:pt x="243611" y="148063"/>
                  </a:lnTo>
                  <a:lnTo>
                    <a:pt x="245557" y="149619"/>
                  </a:lnTo>
                  <a:lnTo>
                    <a:pt x="245909" y="150035"/>
                  </a:lnTo>
                  <a:lnTo>
                    <a:pt x="241843" y="154036"/>
                  </a:lnTo>
                  <a:lnTo>
                    <a:pt x="237284" y="158521"/>
                  </a:lnTo>
                  <a:lnTo>
                    <a:pt x="232011" y="163709"/>
                  </a:lnTo>
                  <a:lnTo>
                    <a:pt x="226269" y="169357"/>
                  </a:lnTo>
                  <a:lnTo>
                    <a:pt x="221773" y="173823"/>
                  </a:lnTo>
                  <a:lnTo>
                    <a:pt x="217334" y="178228"/>
                  </a:lnTo>
                  <a:lnTo>
                    <a:pt x="212149" y="183432"/>
                  </a:lnTo>
                  <a:lnTo>
                    <a:pt x="208321" y="187275"/>
                  </a:lnTo>
                  <a:lnTo>
                    <a:pt x="207681" y="187820"/>
                  </a:lnTo>
                  <a:lnTo>
                    <a:pt x="206571" y="188530"/>
                  </a:lnTo>
                  <a:lnTo>
                    <a:pt x="202922" y="188546"/>
                  </a:lnTo>
                  <a:lnTo>
                    <a:pt x="199158" y="188095"/>
                  </a:lnTo>
                  <a:lnTo>
                    <a:pt x="195690" y="185759"/>
                  </a:lnTo>
                  <a:lnTo>
                    <a:pt x="192170" y="187568"/>
                  </a:lnTo>
                  <a:lnTo>
                    <a:pt x="189938" y="188139"/>
                  </a:lnTo>
                  <a:lnTo>
                    <a:pt x="188607" y="188350"/>
                  </a:lnTo>
                  <a:lnTo>
                    <a:pt x="185463" y="188643"/>
                  </a:lnTo>
                  <a:lnTo>
                    <a:pt x="181063" y="189612"/>
                  </a:lnTo>
                  <a:lnTo>
                    <a:pt x="179067" y="190827"/>
                  </a:lnTo>
                  <a:lnTo>
                    <a:pt x="177988" y="191790"/>
                  </a:lnTo>
                  <a:lnTo>
                    <a:pt x="177093" y="193556"/>
                  </a:lnTo>
                  <a:lnTo>
                    <a:pt x="176644" y="193740"/>
                  </a:lnTo>
                  <a:lnTo>
                    <a:pt x="175837" y="193530"/>
                  </a:lnTo>
                  <a:lnTo>
                    <a:pt x="174705" y="192822"/>
                  </a:lnTo>
                  <a:lnTo>
                    <a:pt x="172351" y="191796"/>
                  </a:lnTo>
                  <a:lnTo>
                    <a:pt x="171168" y="189548"/>
                  </a:lnTo>
                  <a:lnTo>
                    <a:pt x="170071" y="188189"/>
                  </a:lnTo>
                  <a:lnTo>
                    <a:pt x="169173" y="187477"/>
                  </a:lnTo>
                  <a:lnTo>
                    <a:pt x="165433" y="189717"/>
                  </a:lnTo>
                  <a:lnTo>
                    <a:pt x="163626" y="190245"/>
                  </a:lnTo>
                  <a:lnTo>
                    <a:pt x="162140" y="190181"/>
                  </a:lnTo>
                  <a:lnTo>
                    <a:pt x="159430" y="188916"/>
                  </a:lnTo>
                  <a:lnTo>
                    <a:pt x="156435" y="187846"/>
                  </a:lnTo>
                  <a:lnTo>
                    <a:pt x="154895" y="187854"/>
                  </a:lnTo>
                  <a:lnTo>
                    <a:pt x="152589" y="189195"/>
                  </a:lnTo>
                  <a:lnTo>
                    <a:pt x="149965" y="191209"/>
                  </a:lnTo>
                  <a:lnTo>
                    <a:pt x="148611" y="193200"/>
                  </a:lnTo>
                  <a:lnTo>
                    <a:pt x="147957" y="194382"/>
                  </a:lnTo>
                  <a:lnTo>
                    <a:pt x="147477" y="193439"/>
                  </a:lnTo>
                  <a:lnTo>
                    <a:pt x="147037" y="192558"/>
                  </a:lnTo>
                  <a:lnTo>
                    <a:pt x="146158" y="191427"/>
                  </a:lnTo>
                  <a:lnTo>
                    <a:pt x="144891" y="190987"/>
                  </a:lnTo>
                  <a:lnTo>
                    <a:pt x="143735" y="191207"/>
                  </a:lnTo>
                  <a:lnTo>
                    <a:pt x="142388" y="191427"/>
                  </a:lnTo>
                  <a:lnTo>
                    <a:pt x="141783" y="190795"/>
                  </a:lnTo>
                  <a:lnTo>
                    <a:pt x="141654" y="189241"/>
                  </a:lnTo>
                  <a:lnTo>
                    <a:pt x="141287" y="187818"/>
                  </a:lnTo>
                  <a:lnTo>
                    <a:pt x="140654" y="186744"/>
                  </a:lnTo>
                  <a:lnTo>
                    <a:pt x="138717" y="185677"/>
                  </a:lnTo>
                  <a:lnTo>
                    <a:pt x="133724" y="183506"/>
                  </a:lnTo>
                  <a:lnTo>
                    <a:pt x="129887" y="179172"/>
                  </a:lnTo>
                  <a:lnTo>
                    <a:pt x="127955" y="177159"/>
                  </a:lnTo>
                  <a:lnTo>
                    <a:pt x="126545" y="175859"/>
                  </a:lnTo>
                  <a:lnTo>
                    <a:pt x="124547" y="172452"/>
                  </a:lnTo>
                  <a:lnTo>
                    <a:pt x="122269" y="170104"/>
                  </a:lnTo>
                  <a:lnTo>
                    <a:pt x="119509" y="169016"/>
                  </a:lnTo>
                  <a:lnTo>
                    <a:pt x="117687" y="169553"/>
                  </a:lnTo>
                  <a:lnTo>
                    <a:pt x="115812" y="172066"/>
                  </a:lnTo>
                  <a:lnTo>
                    <a:pt x="112275" y="174425"/>
                  </a:lnTo>
                  <a:lnTo>
                    <a:pt x="110651" y="174508"/>
                  </a:lnTo>
                  <a:lnTo>
                    <a:pt x="108572" y="173228"/>
                  </a:lnTo>
                  <a:lnTo>
                    <a:pt x="105961" y="172317"/>
                  </a:lnTo>
                  <a:lnTo>
                    <a:pt x="101267" y="171920"/>
                  </a:lnTo>
                  <a:lnTo>
                    <a:pt x="99332" y="173038"/>
                  </a:lnTo>
                  <a:lnTo>
                    <a:pt x="96794" y="174847"/>
                  </a:lnTo>
                  <a:lnTo>
                    <a:pt x="94644" y="175926"/>
                  </a:lnTo>
                  <a:lnTo>
                    <a:pt x="93309" y="176048"/>
                  </a:lnTo>
                  <a:lnTo>
                    <a:pt x="92068" y="175618"/>
                  </a:lnTo>
                  <a:lnTo>
                    <a:pt x="90658" y="175386"/>
                  </a:lnTo>
                  <a:lnTo>
                    <a:pt x="89438" y="175348"/>
                  </a:lnTo>
                  <a:lnTo>
                    <a:pt x="86928" y="173696"/>
                  </a:lnTo>
                  <a:lnTo>
                    <a:pt x="85628" y="172487"/>
                  </a:lnTo>
                  <a:lnTo>
                    <a:pt x="84763" y="171319"/>
                  </a:lnTo>
                  <a:lnTo>
                    <a:pt x="83346" y="170525"/>
                  </a:lnTo>
                  <a:lnTo>
                    <a:pt x="81688" y="169864"/>
                  </a:lnTo>
                  <a:lnTo>
                    <a:pt x="80504" y="168825"/>
                  </a:lnTo>
                  <a:lnTo>
                    <a:pt x="79915" y="167527"/>
                  </a:lnTo>
                  <a:lnTo>
                    <a:pt x="78982" y="165863"/>
                  </a:lnTo>
                  <a:lnTo>
                    <a:pt x="77764" y="164363"/>
                  </a:lnTo>
                  <a:lnTo>
                    <a:pt x="73935" y="161668"/>
                  </a:lnTo>
                  <a:lnTo>
                    <a:pt x="72791" y="160081"/>
                  </a:lnTo>
                  <a:lnTo>
                    <a:pt x="71996" y="158529"/>
                  </a:lnTo>
                  <a:lnTo>
                    <a:pt x="70429" y="156819"/>
                  </a:lnTo>
                  <a:lnTo>
                    <a:pt x="68755" y="154529"/>
                  </a:lnTo>
                  <a:lnTo>
                    <a:pt x="68219" y="151178"/>
                  </a:lnTo>
                  <a:lnTo>
                    <a:pt x="68144" y="148478"/>
                  </a:lnTo>
                  <a:lnTo>
                    <a:pt x="67796" y="147229"/>
                  </a:lnTo>
                  <a:lnTo>
                    <a:pt x="67086" y="145979"/>
                  </a:lnTo>
                  <a:lnTo>
                    <a:pt x="66261" y="144919"/>
                  </a:lnTo>
                  <a:lnTo>
                    <a:pt x="64922" y="143723"/>
                  </a:lnTo>
                  <a:lnTo>
                    <a:pt x="61802" y="141991"/>
                  </a:lnTo>
                  <a:lnTo>
                    <a:pt x="58578" y="139981"/>
                  </a:lnTo>
                  <a:lnTo>
                    <a:pt x="57028" y="138811"/>
                  </a:lnTo>
                  <a:lnTo>
                    <a:pt x="54093" y="138383"/>
                  </a:lnTo>
                  <a:lnTo>
                    <a:pt x="52337" y="137236"/>
                  </a:lnTo>
                  <a:lnTo>
                    <a:pt x="50860" y="134711"/>
                  </a:lnTo>
                  <a:lnTo>
                    <a:pt x="50264" y="132687"/>
                  </a:lnTo>
                  <a:lnTo>
                    <a:pt x="48778" y="131117"/>
                  </a:lnTo>
                  <a:lnTo>
                    <a:pt x="48144" y="129977"/>
                  </a:lnTo>
                  <a:lnTo>
                    <a:pt x="47790" y="128666"/>
                  </a:lnTo>
                  <a:lnTo>
                    <a:pt x="48966" y="124670"/>
                  </a:lnTo>
                  <a:lnTo>
                    <a:pt x="47258" y="123254"/>
                  </a:lnTo>
                  <a:lnTo>
                    <a:pt x="44710" y="121417"/>
                  </a:lnTo>
                  <a:lnTo>
                    <a:pt x="42888" y="119409"/>
                  </a:lnTo>
                  <a:lnTo>
                    <a:pt x="41773" y="117563"/>
                  </a:lnTo>
                  <a:lnTo>
                    <a:pt x="38511" y="115126"/>
                  </a:lnTo>
                  <a:lnTo>
                    <a:pt x="31383" y="111486"/>
                  </a:lnTo>
                  <a:lnTo>
                    <a:pt x="27271" y="109159"/>
                  </a:lnTo>
                  <a:lnTo>
                    <a:pt x="25021" y="107068"/>
                  </a:lnTo>
                  <a:lnTo>
                    <a:pt x="23058" y="105025"/>
                  </a:lnTo>
                  <a:lnTo>
                    <a:pt x="22864" y="104183"/>
                  </a:lnTo>
                  <a:lnTo>
                    <a:pt x="24131" y="102143"/>
                  </a:lnTo>
                  <a:lnTo>
                    <a:pt x="24323" y="100462"/>
                  </a:lnTo>
                  <a:lnTo>
                    <a:pt x="23285" y="98608"/>
                  </a:lnTo>
                  <a:lnTo>
                    <a:pt x="19014" y="95117"/>
                  </a:lnTo>
                  <a:lnTo>
                    <a:pt x="15610" y="91274"/>
                  </a:lnTo>
                  <a:lnTo>
                    <a:pt x="13032" y="90072"/>
                  </a:lnTo>
                  <a:lnTo>
                    <a:pt x="6826" y="89005"/>
                  </a:lnTo>
                  <a:lnTo>
                    <a:pt x="5045" y="88583"/>
                  </a:lnTo>
                  <a:lnTo>
                    <a:pt x="3185" y="87849"/>
                  </a:lnTo>
                  <a:lnTo>
                    <a:pt x="1350" y="86118"/>
                  </a:lnTo>
                  <a:lnTo>
                    <a:pt x="721" y="84070"/>
                  </a:lnTo>
                  <a:lnTo>
                    <a:pt x="1626" y="80794"/>
                  </a:lnTo>
                  <a:lnTo>
                    <a:pt x="1050" y="79789"/>
                  </a:lnTo>
                  <a:lnTo>
                    <a:pt x="0" y="79516"/>
                  </a:lnTo>
                  <a:lnTo>
                    <a:pt x="0" y="79516"/>
                  </a:lnTo>
                  <a:lnTo>
                    <a:pt x="290" y="78833"/>
                  </a:lnTo>
                  <a:lnTo>
                    <a:pt x="1464" y="77239"/>
                  </a:lnTo>
                  <a:lnTo>
                    <a:pt x="3380" y="76205"/>
                  </a:lnTo>
                  <a:lnTo>
                    <a:pt x="8504" y="74586"/>
                  </a:lnTo>
                  <a:lnTo>
                    <a:pt x="8789" y="73963"/>
                  </a:lnTo>
                  <a:lnTo>
                    <a:pt x="8891" y="71914"/>
                  </a:lnTo>
                  <a:lnTo>
                    <a:pt x="9307" y="70913"/>
                  </a:lnTo>
                  <a:lnTo>
                    <a:pt x="11071" y="68073"/>
                  </a:lnTo>
                  <a:lnTo>
                    <a:pt x="11322" y="66940"/>
                  </a:lnTo>
                  <a:lnTo>
                    <a:pt x="11400" y="64527"/>
                  </a:lnTo>
                  <a:lnTo>
                    <a:pt x="11637" y="63386"/>
                  </a:lnTo>
                  <a:lnTo>
                    <a:pt x="12147" y="62574"/>
                  </a:lnTo>
                  <a:lnTo>
                    <a:pt x="13555" y="61164"/>
                  </a:lnTo>
                  <a:lnTo>
                    <a:pt x="14047" y="60306"/>
                  </a:lnTo>
                  <a:lnTo>
                    <a:pt x="14258" y="58456"/>
                  </a:lnTo>
                  <a:lnTo>
                    <a:pt x="14105" y="54788"/>
                  </a:lnTo>
                  <a:lnTo>
                    <a:pt x="14822" y="53338"/>
                  </a:lnTo>
                  <a:lnTo>
                    <a:pt x="18055" y="50006"/>
                  </a:lnTo>
                  <a:lnTo>
                    <a:pt x="18919" y="48523"/>
                  </a:lnTo>
                  <a:lnTo>
                    <a:pt x="19212" y="47184"/>
                  </a:lnTo>
                  <a:lnTo>
                    <a:pt x="19182" y="45829"/>
                  </a:lnTo>
                  <a:lnTo>
                    <a:pt x="19376" y="44491"/>
                  </a:lnTo>
                  <a:lnTo>
                    <a:pt x="20335" y="43195"/>
                  </a:lnTo>
                  <a:lnTo>
                    <a:pt x="21153" y="42792"/>
                  </a:lnTo>
                  <a:lnTo>
                    <a:pt x="23535" y="42388"/>
                  </a:lnTo>
                  <a:lnTo>
                    <a:pt x="25159" y="42643"/>
                  </a:lnTo>
                  <a:lnTo>
                    <a:pt x="36500" y="40363"/>
                  </a:lnTo>
                  <a:lnTo>
                    <a:pt x="37831" y="40677"/>
                  </a:lnTo>
                  <a:lnTo>
                    <a:pt x="38429" y="42027"/>
                  </a:lnTo>
                  <a:lnTo>
                    <a:pt x="38375" y="44182"/>
                  </a:lnTo>
                  <a:lnTo>
                    <a:pt x="38567" y="45229"/>
                  </a:lnTo>
                  <a:lnTo>
                    <a:pt x="39178" y="45976"/>
                  </a:lnTo>
                  <a:lnTo>
                    <a:pt x="40979" y="47001"/>
                  </a:lnTo>
                  <a:lnTo>
                    <a:pt x="42227" y="48713"/>
                  </a:lnTo>
                  <a:lnTo>
                    <a:pt x="42890" y="49345"/>
                  </a:lnTo>
                  <a:lnTo>
                    <a:pt x="44715" y="50518"/>
                  </a:lnTo>
                  <a:lnTo>
                    <a:pt x="53158" y="60340"/>
                  </a:lnTo>
                  <a:lnTo>
                    <a:pt x="55531" y="61270"/>
                  </a:lnTo>
                  <a:lnTo>
                    <a:pt x="57841" y="60934"/>
                  </a:lnTo>
                  <a:lnTo>
                    <a:pt x="62426" y="58894"/>
                  </a:lnTo>
                  <a:lnTo>
                    <a:pt x="64719" y="58377"/>
                  </a:lnTo>
                  <a:lnTo>
                    <a:pt x="80763" y="58956"/>
                  </a:lnTo>
                  <a:lnTo>
                    <a:pt x="82556" y="58650"/>
                  </a:lnTo>
                  <a:lnTo>
                    <a:pt x="82666" y="58693"/>
                  </a:lnTo>
                  <a:lnTo>
                    <a:pt x="85108" y="63620"/>
                  </a:lnTo>
                  <a:lnTo>
                    <a:pt x="86272" y="64739"/>
                  </a:lnTo>
                  <a:lnTo>
                    <a:pt x="103865" y="64796"/>
                  </a:lnTo>
                  <a:lnTo>
                    <a:pt x="103530" y="63397"/>
                  </a:lnTo>
                  <a:lnTo>
                    <a:pt x="103752" y="61829"/>
                  </a:lnTo>
                  <a:lnTo>
                    <a:pt x="105806" y="59813"/>
                  </a:lnTo>
                  <a:lnTo>
                    <a:pt x="106851" y="58815"/>
                  </a:lnTo>
                  <a:lnTo>
                    <a:pt x="106851" y="58819"/>
                  </a:lnTo>
                  <a:lnTo>
                    <a:pt x="107293" y="58459"/>
                  </a:lnTo>
                  <a:lnTo>
                    <a:pt x="110008" y="57019"/>
                  </a:lnTo>
                  <a:lnTo>
                    <a:pt x="112662" y="56051"/>
                  </a:lnTo>
                  <a:lnTo>
                    <a:pt x="117765" y="54923"/>
                  </a:lnTo>
                  <a:lnTo>
                    <a:pt x="119628" y="53144"/>
                  </a:lnTo>
                  <a:lnTo>
                    <a:pt x="120656" y="51512"/>
                  </a:lnTo>
                  <a:lnTo>
                    <a:pt x="120690" y="48304"/>
                  </a:lnTo>
                  <a:lnTo>
                    <a:pt x="121364" y="47778"/>
                  </a:lnTo>
                  <a:lnTo>
                    <a:pt x="122582" y="47034"/>
                  </a:lnTo>
                  <a:lnTo>
                    <a:pt x="128484" y="44168"/>
                  </a:lnTo>
                  <a:lnTo>
                    <a:pt x="129481" y="43561"/>
                  </a:lnTo>
                  <a:lnTo>
                    <a:pt x="139909" y="50227"/>
                  </a:lnTo>
                  <a:lnTo>
                    <a:pt x="145763" y="55502"/>
                  </a:lnTo>
                  <a:lnTo>
                    <a:pt x="146117" y="55758"/>
                  </a:lnTo>
                  <a:lnTo>
                    <a:pt x="146422" y="55856"/>
                  </a:lnTo>
                  <a:lnTo>
                    <a:pt x="146731" y="55674"/>
                  </a:lnTo>
                  <a:lnTo>
                    <a:pt x="146992" y="55431"/>
                  </a:lnTo>
                  <a:lnTo>
                    <a:pt x="147417" y="55268"/>
                  </a:lnTo>
                  <a:lnTo>
                    <a:pt x="147702" y="55197"/>
                  </a:lnTo>
                  <a:lnTo>
                    <a:pt x="150207" y="55129"/>
                  </a:lnTo>
                  <a:lnTo>
                    <a:pt x="154942" y="54871"/>
                  </a:lnTo>
                  <a:lnTo>
                    <a:pt x="156499" y="54239"/>
                  </a:lnTo>
                  <a:lnTo>
                    <a:pt x="166007" y="44818"/>
                  </a:lnTo>
                  <a:lnTo>
                    <a:pt x="168426" y="41811"/>
                  </a:lnTo>
                  <a:lnTo>
                    <a:pt x="169039" y="41198"/>
                  </a:lnTo>
                  <a:lnTo>
                    <a:pt x="170417" y="39055"/>
                  </a:lnTo>
                  <a:lnTo>
                    <a:pt x="171868" y="35371"/>
                  </a:lnTo>
                  <a:lnTo>
                    <a:pt x="172157" y="34954"/>
                  </a:lnTo>
                  <a:lnTo>
                    <a:pt x="182574" y="26112"/>
                  </a:lnTo>
                  <a:lnTo>
                    <a:pt x="182943" y="25411"/>
                  </a:lnTo>
                  <a:lnTo>
                    <a:pt x="183045" y="24855"/>
                  </a:lnTo>
                  <a:lnTo>
                    <a:pt x="181471" y="21879"/>
                  </a:lnTo>
                  <a:lnTo>
                    <a:pt x="181132" y="20365"/>
                  </a:lnTo>
                  <a:lnTo>
                    <a:pt x="181063" y="18035"/>
                  </a:lnTo>
                  <a:lnTo>
                    <a:pt x="181376" y="14410"/>
                  </a:lnTo>
                  <a:lnTo>
                    <a:pt x="181265" y="12118"/>
                  </a:lnTo>
                  <a:lnTo>
                    <a:pt x="181225" y="11858"/>
                  </a:lnTo>
                  <a:lnTo>
                    <a:pt x="181123" y="11504"/>
                  </a:lnTo>
                  <a:lnTo>
                    <a:pt x="181054" y="11371"/>
                  </a:lnTo>
                  <a:lnTo>
                    <a:pt x="175237" y="4854"/>
                  </a:lnTo>
                  <a:lnTo>
                    <a:pt x="189929" y="4788"/>
                  </a:lnTo>
                  <a:lnTo>
                    <a:pt x="189964" y="4248"/>
                  </a:lnTo>
                  <a:lnTo>
                    <a:pt x="189950" y="3963"/>
                  </a:lnTo>
                  <a:lnTo>
                    <a:pt x="189905" y="3703"/>
                  </a:lnTo>
                  <a:lnTo>
                    <a:pt x="189627" y="2920"/>
                  </a:lnTo>
                  <a:lnTo>
                    <a:pt x="189467" y="1881"/>
                  </a:lnTo>
                  <a:lnTo>
                    <a:pt x="189456" y="1591"/>
                  </a:lnTo>
                  <a:lnTo>
                    <a:pt x="189478" y="1307"/>
                  </a:lnTo>
                  <a:lnTo>
                    <a:pt x="189562" y="769"/>
                  </a:lnTo>
                  <a:lnTo>
                    <a:pt x="189571" y="478"/>
                  </a:lnTo>
                  <a:lnTo>
                    <a:pt x="189555" y="339"/>
                  </a:lnTo>
                  <a:lnTo>
                    <a:pt x="189527" y="209"/>
                  </a:lnTo>
                  <a:lnTo>
                    <a:pt x="189536" y="95"/>
                  </a:lnTo>
                  <a:lnTo>
                    <a:pt x="189601" y="0"/>
                  </a:lnTo>
                  <a:lnTo>
                    <a:pt x="200158" y="131"/>
                  </a:lnTo>
                  <a:lnTo>
                    <a:pt x="200020" y="1976"/>
                  </a:lnTo>
                  <a:lnTo>
                    <a:pt x="198737" y="6314"/>
                  </a:lnTo>
                  <a:lnTo>
                    <a:pt x="198761" y="8915"/>
                  </a:lnTo>
                  <a:lnTo>
                    <a:pt x="198458" y="11883"/>
                  </a:lnTo>
                  <a:lnTo>
                    <a:pt x="198385" y="12124"/>
                  </a:lnTo>
                  <a:lnTo>
                    <a:pt x="198096" y="12764"/>
                  </a:lnTo>
                  <a:lnTo>
                    <a:pt x="197843" y="13131"/>
                  </a:lnTo>
                  <a:lnTo>
                    <a:pt x="197554" y="13484"/>
                  </a:lnTo>
                  <a:lnTo>
                    <a:pt x="197472" y="13617"/>
                  </a:lnTo>
                  <a:lnTo>
                    <a:pt x="197372" y="13834"/>
                  </a:lnTo>
                  <a:lnTo>
                    <a:pt x="197366" y="14161"/>
                  </a:lnTo>
                  <a:lnTo>
                    <a:pt x="199558" y="30757"/>
                  </a:lnTo>
                  <a:lnTo>
                    <a:pt x="199475" y="31176"/>
                  </a:lnTo>
                  <a:lnTo>
                    <a:pt x="199394" y="31450"/>
                  </a:lnTo>
                  <a:lnTo>
                    <a:pt x="198808" y="32484"/>
                  </a:lnTo>
                  <a:lnTo>
                    <a:pt x="198657" y="32825"/>
                  </a:lnTo>
                  <a:lnTo>
                    <a:pt x="198627" y="33088"/>
                  </a:lnTo>
                  <a:lnTo>
                    <a:pt x="198865" y="33268"/>
                  </a:lnTo>
                  <a:lnTo>
                    <a:pt x="203727" y="35059"/>
                  </a:lnTo>
                  <a:lnTo>
                    <a:pt x="203963" y="35172"/>
                  </a:lnTo>
                  <a:lnTo>
                    <a:pt x="204151" y="35319"/>
                  </a:lnTo>
                  <a:lnTo>
                    <a:pt x="205902" y="37451"/>
                  </a:lnTo>
                  <a:lnTo>
                    <a:pt x="215479" y="45313"/>
                  </a:lnTo>
                  <a:lnTo>
                    <a:pt x="215807" y="45705"/>
                  </a:lnTo>
                  <a:lnTo>
                    <a:pt x="216798" y="48173"/>
                  </a:lnTo>
                  <a:lnTo>
                    <a:pt x="216908" y="48547"/>
                  </a:lnTo>
                  <a:lnTo>
                    <a:pt x="216943" y="49138"/>
                  </a:lnTo>
                  <a:lnTo>
                    <a:pt x="216919" y="49597"/>
                  </a:lnTo>
                  <a:lnTo>
                    <a:pt x="216673" y="51076"/>
                  </a:lnTo>
                  <a:lnTo>
                    <a:pt x="216755" y="51741"/>
                  </a:lnTo>
                  <a:lnTo>
                    <a:pt x="216919" y="52181"/>
                  </a:lnTo>
                  <a:lnTo>
                    <a:pt x="217051" y="52689"/>
                  </a:lnTo>
                  <a:lnTo>
                    <a:pt x="217051" y="52843"/>
                  </a:lnTo>
                  <a:lnTo>
                    <a:pt x="217034" y="52976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23" name="ee4p_SN_1_82333">
              <a:extLst>
                <a:ext uri="{FF2B5EF4-FFF2-40B4-BE49-F238E27FC236}">
                  <a16:creationId xmlns:a16="http://schemas.microsoft.com/office/drawing/2014/main" id="{96B5A613-6B01-FFED-875D-18DA85FAE8C3}"/>
                </a:ext>
              </a:extLst>
            </p:cNvPr>
            <p:cNvSpPr>
              <a:spLocks noChangeAspect="1"/>
            </p:cNvSpPr>
            <p:nvPr>
              <p:custDataLst>
                <p:tags r:id="rId151"/>
              </p:custDataLst>
            </p:nvPr>
          </p:nvSpPr>
          <p:spPr>
            <a:xfrm>
              <a:off x="6027747" y="4197556"/>
              <a:ext cx="170873" cy="126723"/>
            </a:xfrm>
            <a:custGeom>
              <a:avLst/>
              <a:gdLst/>
              <a:ahLst/>
              <a:cxnLst/>
              <a:rect l="0" t="0" r="0" b="0"/>
              <a:pathLst>
                <a:path w="136062" h="98232">
                  <a:moveTo>
                    <a:pt x="116200" y="42368"/>
                  </a:moveTo>
                  <a:lnTo>
                    <a:pt x="118280" y="46002"/>
                  </a:lnTo>
                  <a:lnTo>
                    <a:pt x="117831" y="47741"/>
                  </a:lnTo>
                  <a:lnTo>
                    <a:pt x="117354" y="50281"/>
                  </a:lnTo>
                  <a:lnTo>
                    <a:pt x="118530" y="52130"/>
                  </a:lnTo>
                  <a:lnTo>
                    <a:pt x="119908" y="53334"/>
                  </a:lnTo>
                  <a:lnTo>
                    <a:pt x="120893" y="54442"/>
                  </a:lnTo>
                  <a:lnTo>
                    <a:pt x="121980" y="55969"/>
                  </a:lnTo>
                  <a:lnTo>
                    <a:pt x="122157" y="59006"/>
                  </a:lnTo>
                  <a:lnTo>
                    <a:pt x="121960" y="61196"/>
                  </a:lnTo>
                  <a:lnTo>
                    <a:pt x="122668" y="62186"/>
                  </a:lnTo>
                  <a:lnTo>
                    <a:pt x="123269" y="63436"/>
                  </a:lnTo>
                  <a:lnTo>
                    <a:pt x="123149" y="64480"/>
                  </a:lnTo>
                  <a:lnTo>
                    <a:pt x="122754" y="65401"/>
                  </a:lnTo>
                  <a:lnTo>
                    <a:pt x="121428" y="66622"/>
                  </a:lnTo>
                  <a:lnTo>
                    <a:pt x="121206" y="68892"/>
                  </a:lnTo>
                  <a:lnTo>
                    <a:pt x="123354" y="71643"/>
                  </a:lnTo>
                  <a:lnTo>
                    <a:pt x="124736" y="73139"/>
                  </a:lnTo>
                  <a:lnTo>
                    <a:pt x="124722" y="73997"/>
                  </a:lnTo>
                  <a:lnTo>
                    <a:pt x="125107" y="74937"/>
                  </a:lnTo>
                  <a:lnTo>
                    <a:pt x="126126" y="76033"/>
                  </a:lnTo>
                  <a:lnTo>
                    <a:pt x="126753" y="75775"/>
                  </a:lnTo>
                  <a:lnTo>
                    <a:pt x="127441" y="74880"/>
                  </a:lnTo>
                  <a:lnTo>
                    <a:pt x="127750" y="74262"/>
                  </a:lnTo>
                  <a:lnTo>
                    <a:pt x="129603" y="74536"/>
                  </a:lnTo>
                  <a:lnTo>
                    <a:pt x="130476" y="74817"/>
                  </a:lnTo>
                  <a:lnTo>
                    <a:pt x="131662" y="76613"/>
                  </a:lnTo>
                  <a:lnTo>
                    <a:pt x="132097" y="77807"/>
                  </a:lnTo>
                  <a:lnTo>
                    <a:pt x="132382" y="79308"/>
                  </a:lnTo>
                  <a:lnTo>
                    <a:pt x="133620" y="81181"/>
                  </a:lnTo>
                  <a:lnTo>
                    <a:pt x="134696" y="82502"/>
                  </a:lnTo>
                  <a:lnTo>
                    <a:pt x="134921" y="83325"/>
                  </a:lnTo>
                  <a:lnTo>
                    <a:pt x="135885" y="84440"/>
                  </a:lnTo>
                  <a:lnTo>
                    <a:pt x="135287" y="86915"/>
                  </a:lnTo>
                  <a:lnTo>
                    <a:pt x="135354" y="88182"/>
                  </a:lnTo>
                  <a:lnTo>
                    <a:pt x="134697" y="91505"/>
                  </a:lnTo>
                  <a:lnTo>
                    <a:pt x="134553" y="93074"/>
                  </a:lnTo>
                  <a:lnTo>
                    <a:pt x="134593" y="93653"/>
                  </a:lnTo>
                  <a:lnTo>
                    <a:pt x="136061" y="94836"/>
                  </a:lnTo>
                  <a:lnTo>
                    <a:pt x="135906" y="96516"/>
                  </a:lnTo>
                  <a:lnTo>
                    <a:pt x="134417" y="96220"/>
                  </a:lnTo>
                  <a:lnTo>
                    <a:pt x="131831" y="96024"/>
                  </a:lnTo>
                  <a:lnTo>
                    <a:pt x="126648" y="96900"/>
                  </a:lnTo>
                  <a:lnTo>
                    <a:pt x="124869" y="96540"/>
                  </a:lnTo>
                  <a:lnTo>
                    <a:pt x="121468" y="96659"/>
                  </a:lnTo>
                  <a:lnTo>
                    <a:pt x="119044" y="97140"/>
                  </a:lnTo>
                  <a:lnTo>
                    <a:pt x="115965" y="98231"/>
                  </a:lnTo>
                  <a:lnTo>
                    <a:pt x="113580" y="97960"/>
                  </a:lnTo>
                  <a:lnTo>
                    <a:pt x="112291" y="97100"/>
                  </a:lnTo>
                  <a:lnTo>
                    <a:pt x="110592" y="97158"/>
                  </a:lnTo>
                  <a:lnTo>
                    <a:pt x="108677" y="96700"/>
                  </a:lnTo>
                  <a:lnTo>
                    <a:pt x="106638" y="95871"/>
                  </a:lnTo>
                  <a:lnTo>
                    <a:pt x="104774" y="95450"/>
                  </a:lnTo>
                  <a:lnTo>
                    <a:pt x="102765" y="93920"/>
                  </a:lnTo>
                  <a:lnTo>
                    <a:pt x="101825" y="93645"/>
                  </a:lnTo>
                  <a:lnTo>
                    <a:pt x="101165" y="94047"/>
                  </a:lnTo>
                  <a:lnTo>
                    <a:pt x="100610" y="94557"/>
                  </a:lnTo>
                  <a:lnTo>
                    <a:pt x="100029" y="94872"/>
                  </a:lnTo>
                  <a:lnTo>
                    <a:pt x="98938" y="94595"/>
                  </a:lnTo>
                  <a:lnTo>
                    <a:pt x="98527" y="93555"/>
                  </a:lnTo>
                  <a:lnTo>
                    <a:pt x="98869" y="92550"/>
                  </a:lnTo>
                  <a:lnTo>
                    <a:pt x="98971" y="91786"/>
                  </a:lnTo>
                  <a:lnTo>
                    <a:pt x="98459" y="91371"/>
                  </a:lnTo>
                  <a:lnTo>
                    <a:pt x="97231" y="91232"/>
                  </a:lnTo>
                  <a:lnTo>
                    <a:pt x="95249" y="91235"/>
                  </a:lnTo>
                  <a:lnTo>
                    <a:pt x="92055" y="90920"/>
                  </a:lnTo>
                  <a:lnTo>
                    <a:pt x="91320" y="90726"/>
                  </a:lnTo>
                  <a:lnTo>
                    <a:pt x="84167" y="90464"/>
                  </a:lnTo>
                  <a:lnTo>
                    <a:pt x="76747" y="90433"/>
                  </a:lnTo>
                  <a:lnTo>
                    <a:pt x="70458" y="90408"/>
                  </a:lnTo>
                  <a:lnTo>
                    <a:pt x="62522" y="90373"/>
                  </a:lnTo>
                  <a:lnTo>
                    <a:pt x="56940" y="90351"/>
                  </a:lnTo>
                  <a:lnTo>
                    <a:pt x="51732" y="90329"/>
                  </a:lnTo>
                  <a:lnTo>
                    <a:pt x="47712" y="92372"/>
                  </a:lnTo>
                  <a:lnTo>
                    <a:pt x="43358" y="94586"/>
                  </a:lnTo>
                  <a:lnTo>
                    <a:pt x="37504" y="95764"/>
                  </a:lnTo>
                  <a:lnTo>
                    <a:pt x="30768" y="95326"/>
                  </a:lnTo>
                  <a:lnTo>
                    <a:pt x="28616" y="95643"/>
                  </a:lnTo>
                  <a:lnTo>
                    <a:pt x="26388" y="96626"/>
                  </a:lnTo>
                  <a:lnTo>
                    <a:pt x="24751" y="97340"/>
                  </a:lnTo>
                  <a:lnTo>
                    <a:pt x="22428" y="97768"/>
                  </a:lnTo>
                  <a:lnTo>
                    <a:pt x="19430" y="97415"/>
                  </a:lnTo>
                  <a:lnTo>
                    <a:pt x="18217" y="97629"/>
                  </a:lnTo>
                  <a:lnTo>
                    <a:pt x="17464" y="96621"/>
                  </a:lnTo>
                  <a:lnTo>
                    <a:pt x="16601" y="94987"/>
                  </a:lnTo>
                  <a:lnTo>
                    <a:pt x="17144" y="93791"/>
                  </a:lnTo>
                  <a:lnTo>
                    <a:pt x="18972" y="93021"/>
                  </a:lnTo>
                  <a:lnTo>
                    <a:pt x="21723" y="92015"/>
                  </a:lnTo>
                  <a:lnTo>
                    <a:pt x="23164" y="92532"/>
                  </a:lnTo>
                  <a:lnTo>
                    <a:pt x="24007" y="92557"/>
                  </a:lnTo>
                  <a:lnTo>
                    <a:pt x="24163" y="91912"/>
                  </a:lnTo>
                  <a:lnTo>
                    <a:pt x="23894" y="91567"/>
                  </a:lnTo>
                  <a:lnTo>
                    <a:pt x="21821" y="90691"/>
                  </a:lnTo>
                  <a:lnTo>
                    <a:pt x="20741" y="89535"/>
                  </a:lnTo>
                  <a:lnTo>
                    <a:pt x="19852" y="90212"/>
                  </a:lnTo>
                  <a:lnTo>
                    <a:pt x="19085" y="91630"/>
                  </a:lnTo>
                  <a:lnTo>
                    <a:pt x="18446" y="92053"/>
                  </a:lnTo>
                  <a:lnTo>
                    <a:pt x="17507" y="92451"/>
                  </a:lnTo>
                  <a:lnTo>
                    <a:pt x="16975" y="91486"/>
                  </a:lnTo>
                  <a:lnTo>
                    <a:pt x="16744" y="90548"/>
                  </a:lnTo>
                  <a:lnTo>
                    <a:pt x="17174" y="89825"/>
                  </a:lnTo>
                  <a:lnTo>
                    <a:pt x="16953" y="85759"/>
                  </a:lnTo>
                  <a:lnTo>
                    <a:pt x="17209" y="83591"/>
                  </a:lnTo>
                  <a:lnTo>
                    <a:pt x="17077" y="81694"/>
                  </a:lnTo>
                  <a:lnTo>
                    <a:pt x="18377" y="80444"/>
                  </a:lnTo>
                  <a:lnTo>
                    <a:pt x="19610" y="79670"/>
                  </a:lnTo>
                  <a:lnTo>
                    <a:pt x="24429" y="79599"/>
                  </a:lnTo>
                  <a:lnTo>
                    <a:pt x="28908" y="79532"/>
                  </a:lnTo>
                  <a:lnTo>
                    <a:pt x="33225" y="79575"/>
                  </a:lnTo>
                  <a:lnTo>
                    <a:pt x="37621" y="79618"/>
                  </a:lnTo>
                  <a:lnTo>
                    <a:pt x="38060" y="75823"/>
                  </a:lnTo>
                  <a:lnTo>
                    <a:pt x="39450" y="75526"/>
                  </a:lnTo>
                  <a:lnTo>
                    <a:pt x="41533" y="75133"/>
                  </a:lnTo>
                  <a:lnTo>
                    <a:pt x="45414" y="74671"/>
                  </a:lnTo>
                  <a:lnTo>
                    <a:pt x="49739" y="74229"/>
                  </a:lnTo>
                  <a:lnTo>
                    <a:pt x="50661" y="73484"/>
                  </a:lnTo>
                  <a:lnTo>
                    <a:pt x="51378" y="72224"/>
                  </a:lnTo>
                  <a:lnTo>
                    <a:pt x="51832" y="71095"/>
                  </a:lnTo>
                  <a:lnTo>
                    <a:pt x="52727" y="70616"/>
                  </a:lnTo>
                  <a:lnTo>
                    <a:pt x="53937" y="70996"/>
                  </a:lnTo>
                  <a:lnTo>
                    <a:pt x="55524" y="71588"/>
                  </a:lnTo>
                  <a:lnTo>
                    <a:pt x="57168" y="72505"/>
                  </a:lnTo>
                  <a:lnTo>
                    <a:pt x="59052" y="73355"/>
                  </a:lnTo>
                  <a:lnTo>
                    <a:pt x="60308" y="73889"/>
                  </a:lnTo>
                  <a:lnTo>
                    <a:pt x="63323" y="75226"/>
                  </a:lnTo>
                  <a:lnTo>
                    <a:pt x="68482" y="77089"/>
                  </a:lnTo>
                  <a:lnTo>
                    <a:pt x="72724" y="77833"/>
                  </a:lnTo>
                  <a:lnTo>
                    <a:pt x="77851" y="76471"/>
                  </a:lnTo>
                  <a:lnTo>
                    <a:pt x="81552" y="75595"/>
                  </a:lnTo>
                  <a:lnTo>
                    <a:pt x="82012" y="73963"/>
                  </a:lnTo>
                  <a:lnTo>
                    <a:pt x="81435" y="72371"/>
                  </a:lnTo>
                  <a:lnTo>
                    <a:pt x="78680" y="70910"/>
                  </a:lnTo>
                  <a:lnTo>
                    <a:pt x="74931" y="71075"/>
                  </a:lnTo>
                  <a:lnTo>
                    <a:pt x="73780" y="71466"/>
                  </a:lnTo>
                  <a:lnTo>
                    <a:pt x="72033" y="71952"/>
                  </a:lnTo>
                  <a:lnTo>
                    <a:pt x="70982" y="72145"/>
                  </a:lnTo>
                  <a:lnTo>
                    <a:pt x="69215" y="71805"/>
                  </a:lnTo>
                  <a:lnTo>
                    <a:pt x="66970" y="70544"/>
                  </a:lnTo>
                  <a:lnTo>
                    <a:pt x="65558" y="69273"/>
                  </a:lnTo>
                  <a:lnTo>
                    <a:pt x="63583" y="68677"/>
                  </a:lnTo>
                  <a:lnTo>
                    <a:pt x="61242" y="68081"/>
                  </a:lnTo>
                  <a:lnTo>
                    <a:pt x="57488" y="65465"/>
                  </a:lnTo>
                  <a:lnTo>
                    <a:pt x="55527" y="64997"/>
                  </a:lnTo>
                  <a:lnTo>
                    <a:pt x="53673" y="64859"/>
                  </a:lnTo>
                  <a:lnTo>
                    <a:pt x="50108" y="65377"/>
                  </a:lnTo>
                  <a:lnTo>
                    <a:pt x="46630" y="66777"/>
                  </a:lnTo>
                  <a:lnTo>
                    <a:pt x="44799" y="69947"/>
                  </a:lnTo>
                  <a:lnTo>
                    <a:pt x="41316" y="69900"/>
                  </a:lnTo>
                  <a:lnTo>
                    <a:pt x="33921" y="69800"/>
                  </a:lnTo>
                  <a:lnTo>
                    <a:pt x="27129" y="69707"/>
                  </a:lnTo>
                  <a:lnTo>
                    <a:pt x="21523" y="69923"/>
                  </a:lnTo>
                  <a:lnTo>
                    <a:pt x="20959" y="67620"/>
                  </a:lnTo>
                  <a:lnTo>
                    <a:pt x="19631" y="65786"/>
                  </a:lnTo>
                  <a:lnTo>
                    <a:pt x="17474" y="64221"/>
                  </a:lnTo>
                  <a:lnTo>
                    <a:pt x="16998" y="62768"/>
                  </a:lnTo>
                  <a:lnTo>
                    <a:pt x="17729" y="61500"/>
                  </a:lnTo>
                  <a:lnTo>
                    <a:pt x="19813" y="60457"/>
                  </a:lnTo>
                  <a:lnTo>
                    <a:pt x="20289" y="59712"/>
                  </a:lnTo>
                  <a:lnTo>
                    <a:pt x="19197" y="59823"/>
                  </a:lnTo>
                  <a:lnTo>
                    <a:pt x="17546" y="60494"/>
                  </a:lnTo>
                  <a:lnTo>
                    <a:pt x="16449" y="60532"/>
                  </a:lnTo>
                  <a:lnTo>
                    <a:pt x="16316" y="58522"/>
                  </a:lnTo>
                  <a:lnTo>
                    <a:pt x="14486" y="55927"/>
                  </a:lnTo>
                  <a:lnTo>
                    <a:pt x="12423" y="51531"/>
                  </a:lnTo>
                  <a:lnTo>
                    <a:pt x="10088" y="49729"/>
                  </a:lnTo>
                  <a:lnTo>
                    <a:pt x="8128" y="46172"/>
                  </a:lnTo>
                  <a:lnTo>
                    <a:pt x="6081" y="44806"/>
                  </a:lnTo>
                  <a:lnTo>
                    <a:pt x="4198" y="44169"/>
                  </a:lnTo>
                  <a:lnTo>
                    <a:pt x="2591" y="44300"/>
                  </a:lnTo>
                  <a:lnTo>
                    <a:pt x="2004" y="45924"/>
                  </a:lnTo>
                  <a:lnTo>
                    <a:pt x="0" y="43585"/>
                  </a:lnTo>
                  <a:lnTo>
                    <a:pt x="2738" y="42748"/>
                  </a:lnTo>
                  <a:lnTo>
                    <a:pt x="8590" y="39814"/>
                  </a:lnTo>
                  <a:lnTo>
                    <a:pt x="15307" y="31403"/>
                  </a:lnTo>
                  <a:lnTo>
                    <a:pt x="21336" y="21431"/>
                  </a:lnTo>
                  <a:lnTo>
                    <a:pt x="22121" y="19075"/>
                  </a:lnTo>
                  <a:lnTo>
                    <a:pt x="22855" y="17285"/>
                  </a:lnTo>
                  <a:lnTo>
                    <a:pt x="23341" y="13207"/>
                  </a:lnTo>
                  <a:lnTo>
                    <a:pt x="24205" y="10772"/>
                  </a:lnTo>
                  <a:lnTo>
                    <a:pt x="25015" y="10310"/>
                  </a:lnTo>
                  <a:lnTo>
                    <a:pt x="26038" y="8443"/>
                  </a:lnTo>
                  <a:lnTo>
                    <a:pt x="27272" y="5170"/>
                  </a:lnTo>
                  <a:lnTo>
                    <a:pt x="28671" y="3353"/>
                  </a:lnTo>
                  <a:lnTo>
                    <a:pt x="30234" y="2995"/>
                  </a:lnTo>
                  <a:lnTo>
                    <a:pt x="31451" y="3153"/>
                  </a:lnTo>
                  <a:lnTo>
                    <a:pt x="32320" y="3827"/>
                  </a:lnTo>
                  <a:lnTo>
                    <a:pt x="34863" y="4243"/>
                  </a:lnTo>
                  <a:lnTo>
                    <a:pt x="39082" y="4403"/>
                  </a:lnTo>
                  <a:lnTo>
                    <a:pt x="42341" y="3915"/>
                  </a:lnTo>
                  <a:lnTo>
                    <a:pt x="44643" y="2779"/>
                  </a:lnTo>
                  <a:lnTo>
                    <a:pt x="47666" y="2202"/>
                  </a:lnTo>
                  <a:lnTo>
                    <a:pt x="51413" y="2188"/>
                  </a:lnTo>
                  <a:lnTo>
                    <a:pt x="53383" y="1711"/>
                  </a:lnTo>
                  <a:lnTo>
                    <a:pt x="53578" y="772"/>
                  </a:lnTo>
                  <a:lnTo>
                    <a:pt x="54066" y="489"/>
                  </a:lnTo>
                  <a:lnTo>
                    <a:pt x="54847" y="862"/>
                  </a:lnTo>
                  <a:lnTo>
                    <a:pt x="55584" y="714"/>
                  </a:lnTo>
                  <a:lnTo>
                    <a:pt x="56275" y="45"/>
                  </a:lnTo>
                  <a:lnTo>
                    <a:pt x="56963" y="0"/>
                  </a:lnTo>
                  <a:lnTo>
                    <a:pt x="57647" y="577"/>
                  </a:lnTo>
                  <a:lnTo>
                    <a:pt x="60784" y="750"/>
                  </a:lnTo>
                  <a:lnTo>
                    <a:pt x="66378" y="521"/>
                  </a:lnTo>
                  <a:lnTo>
                    <a:pt x="71545" y="2241"/>
                  </a:lnTo>
                  <a:lnTo>
                    <a:pt x="76287" y="5907"/>
                  </a:lnTo>
                  <a:lnTo>
                    <a:pt x="78732" y="8353"/>
                  </a:lnTo>
                  <a:lnTo>
                    <a:pt x="78885" y="9576"/>
                  </a:lnTo>
                  <a:lnTo>
                    <a:pt x="79671" y="10809"/>
                  </a:lnTo>
                  <a:lnTo>
                    <a:pt x="81089" y="12051"/>
                  </a:lnTo>
                  <a:lnTo>
                    <a:pt x="82386" y="12281"/>
                  </a:lnTo>
                  <a:lnTo>
                    <a:pt x="83562" y="11499"/>
                  </a:lnTo>
                  <a:lnTo>
                    <a:pt x="84484" y="11583"/>
                  </a:lnTo>
                  <a:lnTo>
                    <a:pt x="85153" y="12533"/>
                  </a:lnTo>
                  <a:lnTo>
                    <a:pt x="86505" y="12728"/>
                  </a:lnTo>
                  <a:lnTo>
                    <a:pt x="88009" y="12144"/>
                  </a:lnTo>
                  <a:lnTo>
                    <a:pt x="89082" y="12345"/>
                  </a:lnTo>
                  <a:lnTo>
                    <a:pt x="89278" y="12910"/>
                  </a:lnTo>
                  <a:lnTo>
                    <a:pt x="89525" y="13211"/>
                  </a:lnTo>
                  <a:lnTo>
                    <a:pt x="90251" y="13345"/>
                  </a:lnTo>
                  <a:lnTo>
                    <a:pt x="91234" y="14069"/>
                  </a:lnTo>
                  <a:lnTo>
                    <a:pt x="92607" y="16013"/>
                  </a:lnTo>
                  <a:lnTo>
                    <a:pt x="93725" y="18725"/>
                  </a:lnTo>
                  <a:lnTo>
                    <a:pt x="94587" y="22202"/>
                  </a:lnTo>
                  <a:lnTo>
                    <a:pt x="95728" y="24093"/>
                  </a:lnTo>
                  <a:lnTo>
                    <a:pt x="97144" y="24401"/>
                  </a:lnTo>
                  <a:lnTo>
                    <a:pt x="97965" y="25115"/>
                  </a:lnTo>
                  <a:lnTo>
                    <a:pt x="98128" y="25942"/>
                  </a:lnTo>
                  <a:lnTo>
                    <a:pt x="98539" y="26503"/>
                  </a:lnTo>
                  <a:lnTo>
                    <a:pt x="99219" y="26817"/>
                  </a:lnTo>
                  <a:lnTo>
                    <a:pt x="100418" y="26630"/>
                  </a:lnTo>
                  <a:lnTo>
                    <a:pt x="101822" y="27804"/>
                  </a:lnTo>
                  <a:lnTo>
                    <a:pt x="103329" y="30352"/>
                  </a:lnTo>
                  <a:lnTo>
                    <a:pt x="103567" y="31501"/>
                  </a:lnTo>
                  <a:lnTo>
                    <a:pt x="103330" y="32117"/>
                  </a:lnTo>
                  <a:lnTo>
                    <a:pt x="103421" y="32567"/>
                  </a:lnTo>
                  <a:lnTo>
                    <a:pt x="104423" y="32997"/>
                  </a:lnTo>
                  <a:lnTo>
                    <a:pt x="105371" y="33831"/>
                  </a:lnTo>
                  <a:lnTo>
                    <a:pt x="106147" y="35084"/>
                  </a:lnTo>
                  <a:lnTo>
                    <a:pt x="107819" y="36196"/>
                  </a:lnTo>
                  <a:lnTo>
                    <a:pt x="110386" y="37170"/>
                  </a:lnTo>
                  <a:lnTo>
                    <a:pt x="112236" y="38625"/>
                  </a:lnTo>
                  <a:lnTo>
                    <a:pt x="113368" y="40560"/>
                  </a:lnTo>
                  <a:lnTo>
                    <a:pt x="115715" y="42188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24" name="ee4p_SL_1_82333">
              <a:extLst>
                <a:ext uri="{FF2B5EF4-FFF2-40B4-BE49-F238E27FC236}">
                  <a16:creationId xmlns:a16="http://schemas.microsoft.com/office/drawing/2014/main" id="{A5260BE9-6B3E-5717-23AF-603568227AD9}"/>
                </a:ext>
              </a:extLst>
            </p:cNvPr>
            <p:cNvSpPr>
              <a:spLocks noChangeAspect="1"/>
            </p:cNvSpPr>
            <p:nvPr>
              <p:custDataLst>
                <p:tags r:id="rId152"/>
              </p:custDataLst>
            </p:nvPr>
          </p:nvSpPr>
          <p:spPr>
            <a:xfrm>
              <a:off x="6145572" y="4391604"/>
              <a:ext cx="83571" cy="88768"/>
            </a:xfrm>
            <a:custGeom>
              <a:avLst/>
              <a:gdLst>
                <a:gd name="connsiteX0" fmla="*/ 40125 w 178246"/>
                <a:gd name="connsiteY0" fmla="*/ 140811 h 184310"/>
                <a:gd name="connsiteX1" fmla="*/ 44330 w 178246"/>
                <a:gd name="connsiteY1" fmla="*/ 142587 h 184310"/>
                <a:gd name="connsiteX2" fmla="*/ 46208 w 178246"/>
                <a:gd name="connsiteY2" fmla="*/ 144074 h 184310"/>
                <a:gd name="connsiteX3" fmla="*/ 46909 w 178246"/>
                <a:gd name="connsiteY3" fmla="*/ 146892 h 184310"/>
                <a:gd name="connsiteX4" fmla="*/ 45404 w 178246"/>
                <a:gd name="connsiteY4" fmla="*/ 152774 h 184310"/>
                <a:gd name="connsiteX5" fmla="*/ 44542 w 178246"/>
                <a:gd name="connsiteY5" fmla="*/ 154327 h 184310"/>
                <a:gd name="connsiteX6" fmla="*/ 40602 w 178246"/>
                <a:gd name="connsiteY6" fmla="*/ 150500 h 184310"/>
                <a:gd name="connsiteX7" fmla="*/ 20202 w 178246"/>
                <a:gd name="connsiteY7" fmla="*/ 144762 h 184310"/>
                <a:gd name="connsiteX8" fmla="*/ 25958 w 178246"/>
                <a:gd name="connsiteY8" fmla="*/ 141714 h 184310"/>
                <a:gd name="connsiteX9" fmla="*/ 119584 w 178246"/>
                <a:gd name="connsiteY9" fmla="*/ 0 h 184310"/>
                <a:gd name="connsiteX10" fmla="*/ 123610 w 178246"/>
                <a:gd name="connsiteY10" fmla="*/ 1122 h 184310"/>
                <a:gd name="connsiteX11" fmla="*/ 125080 w 178246"/>
                <a:gd name="connsiteY11" fmla="*/ 4256 h 184310"/>
                <a:gd name="connsiteX12" fmla="*/ 128940 w 178246"/>
                <a:gd name="connsiteY12" fmla="*/ 9171 h 184310"/>
                <a:gd name="connsiteX13" fmla="*/ 132979 w 178246"/>
                <a:gd name="connsiteY13" fmla="*/ 12568 h 184310"/>
                <a:gd name="connsiteX14" fmla="*/ 137977 w 178246"/>
                <a:gd name="connsiteY14" fmla="*/ 20022 h 184310"/>
                <a:gd name="connsiteX15" fmla="*/ 143798 w 178246"/>
                <a:gd name="connsiteY15" fmla="*/ 28698 h 184310"/>
                <a:gd name="connsiteX16" fmla="*/ 150090 w 178246"/>
                <a:gd name="connsiteY16" fmla="*/ 36533 h 184310"/>
                <a:gd name="connsiteX17" fmla="*/ 154121 w 178246"/>
                <a:gd name="connsiteY17" fmla="*/ 40778 h 184310"/>
                <a:gd name="connsiteX18" fmla="*/ 154584 w 178246"/>
                <a:gd name="connsiteY18" fmla="*/ 42267 h 184310"/>
                <a:gd name="connsiteX19" fmla="*/ 154292 w 178246"/>
                <a:gd name="connsiteY19" fmla="*/ 43952 h 184310"/>
                <a:gd name="connsiteX20" fmla="*/ 152302 w 178246"/>
                <a:gd name="connsiteY20" fmla="*/ 47933 h 184310"/>
                <a:gd name="connsiteX21" fmla="*/ 150601 w 178246"/>
                <a:gd name="connsiteY21" fmla="*/ 52240 h 184310"/>
                <a:gd name="connsiteX22" fmla="*/ 150775 w 178246"/>
                <a:gd name="connsiteY22" fmla="*/ 53858 h 184310"/>
                <a:gd name="connsiteX23" fmla="*/ 151970 w 178246"/>
                <a:gd name="connsiteY23" fmla="*/ 54669 h 184310"/>
                <a:gd name="connsiteX24" fmla="*/ 158538 w 178246"/>
                <a:gd name="connsiteY24" fmla="*/ 56011 h 184310"/>
                <a:gd name="connsiteX25" fmla="*/ 159140 w 178246"/>
                <a:gd name="connsiteY25" fmla="*/ 60811 h 184310"/>
                <a:gd name="connsiteX26" fmla="*/ 159148 w 178246"/>
                <a:gd name="connsiteY26" fmla="*/ 67448 h 184310"/>
                <a:gd name="connsiteX27" fmla="*/ 162339 w 178246"/>
                <a:gd name="connsiteY27" fmla="*/ 73644 h 184310"/>
                <a:gd name="connsiteX28" fmla="*/ 165373 w 178246"/>
                <a:gd name="connsiteY28" fmla="*/ 78192 h 184310"/>
                <a:gd name="connsiteX29" fmla="*/ 165221 w 178246"/>
                <a:gd name="connsiteY29" fmla="*/ 79818 h 184310"/>
                <a:gd name="connsiteX30" fmla="*/ 157796 w 178246"/>
                <a:gd name="connsiteY30" fmla="*/ 87594 h 184310"/>
                <a:gd name="connsiteX31" fmla="*/ 154900 w 178246"/>
                <a:gd name="connsiteY31" fmla="*/ 95311 h 184310"/>
                <a:gd name="connsiteX32" fmla="*/ 153432 w 178246"/>
                <a:gd name="connsiteY32" fmla="*/ 97480 h 184310"/>
                <a:gd name="connsiteX33" fmla="*/ 152840 w 178246"/>
                <a:gd name="connsiteY33" fmla="*/ 99208 h 184310"/>
                <a:gd name="connsiteX34" fmla="*/ 154332 w 178246"/>
                <a:gd name="connsiteY34" fmla="*/ 100017 h 184310"/>
                <a:gd name="connsiteX35" fmla="*/ 156365 w 178246"/>
                <a:gd name="connsiteY35" fmla="*/ 99503 h 184310"/>
                <a:gd name="connsiteX36" fmla="*/ 159245 w 178246"/>
                <a:gd name="connsiteY36" fmla="*/ 100148 h 184310"/>
                <a:gd name="connsiteX37" fmla="*/ 161988 w 178246"/>
                <a:gd name="connsiteY37" fmla="*/ 100376 h 184310"/>
                <a:gd name="connsiteX38" fmla="*/ 165617 w 178246"/>
                <a:gd name="connsiteY38" fmla="*/ 97606 h 184310"/>
                <a:gd name="connsiteX39" fmla="*/ 171657 w 178246"/>
                <a:gd name="connsiteY39" fmla="*/ 90519 h 184310"/>
                <a:gd name="connsiteX40" fmla="*/ 173693 w 178246"/>
                <a:gd name="connsiteY40" fmla="*/ 89651 h 184310"/>
                <a:gd name="connsiteX41" fmla="*/ 178246 w 178246"/>
                <a:gd name="connsiteY41" fmla="*/ 90267 h 184310"/>
                <a:gd name="connsiteX42" fmla="*/ 178096 w 178246"/>
                <a:gd name="connsiteY42" fmla="*/ 92120 h 184310"/>
                <a:gd name="connsiteX43" fmla="*/ 176382 w 178246"/>
                <a:gd name="connsiteY43" fmla="*/ 100662 h 184310"/>
                <a:gd name="connsiteX44" fmla="*/ 173709 w 178246"/>
                <a:gd name="connsiteY44" fmla="*/ 107991 h 184310"/>
                <a:gd name="connsiteX45" fmla="*/ 171947 w 178246"/>
                <a:gd name="connsiteY45" fmla="*/ 109799 h 184310"/>
                <a:gd name="connsiteX46" fmla="*/ 164412 w 178246"/>
                <a:gd name="connsiteY46" fmla="*/ 111725 h 184310"/>
                <a:gd name="connsiteX47" fmla="*/ 161208 w 178246"/>
                <a:gd name="connsiteY47" fmla="*/ 114952 h 184310"/>
                <a:gd name="connsiteX48" fmla="*/ 158441 w 178246"/>
                <a:gd name="connsiteY48" fmla="*/ 125367 h 184310"/>
                <a:gd name="connsiteX49" fmla="*/ 156671 w 178246"/>
                <a:gd name="connsiteY49" fmla="*/ 133531 h 184310"/>
                <a:gd name="connsiteX50" fmla="*/ 154075 w 178246"/>
                <a:gd name="connsiteY50" fmla="*/ 134899 h 184310"/>
                <a:gd name="connsiteX51" fmla="*/ 143013 w 178246"/>
                <a:gd name="connsiteY51" fmla="*/ 146704 h 184310"/>
                <a:gd name="connsiteX52" fmla="*/ 135778 w 178246"/>
                <a:gd name="connsiteY52" fmla="*/ 151182 h 184310"/>
                <a:gd name="connsiteX53" fmla="*/ 130732 w 178246"/>
                <a:gd name="connsiteY53" fmla="*/ 155021 h 184310"/>
                <a:gd name="connsiteX54" fmla="*/ 125953 w 178246"/>
                <a:gd name="connsiteY54" fmla="*/ 160032 h 184310"/>
                <a:gd name="connsiteX55" fmla="*/ 119937 w 178246"/>
                <a:gd name="connsiteY55" fmla="*/ 164902 h 184310"/>
                <a:gd name="connsiteX56" fmla="*/ 113482 w 178246"/>
                <a:gd name="connsiteY56" fmla="*/ 173114 h 184310"/>
                <a:gd name="connsiteX57" fmla="*/ 108870 w 178246"/>
                <a:gd name="connsiteY57" fmla="*/ 181651 h 184310"/>
                <a:gd name="connsiteX58" fmla="*/ 105730 w 178246"/>
                <a:gd name="connsiteY58" fmla="*/ 184310 h 184310"/>
                <a:gd name="connsiteX59" fmla="*/ 103362 w 178246"/>
                <a:gd name="connsiteY59" fmla="*/ 181905 h 184310"/>
                <a:gd name="connsiteX60" fmla="*/ 92351 w 178246"/>
                <a:gd name="connsiteY60" fmla="*/ 173476 h 184310"/>
                <a:gd name="connsiteX61" fmla="*/ 80756 w 178246"/>
                <a:gd name="connsiteY61" fmla="*/ 167824 h 184310"/>
                <a:gd name="connsiteX62" fmla="*/ 56033 w 178246"/>
                <a:gd name="connsiteY62" fmla="*/ 158401 h 184310"/>
                <a:gd name="connsiteX63" fmla="*/ 47799 w 178246"/>
                <a:gd name="connsiteY63" fmla="*/ 155755 h 184310"/>
                <a:gd name="connsiteX64" fmla="*/ 48093 w 178246"/>
                <a:gd name="connsiteY64" fmla="*/ 152406 h 184310"/>
                <a:gd name="connsiteX65" fmla="*/ 50933 w 178246"/>
                <a:gd name="connsiteY65" fmla="*/ 146302 h 184310"/>
                <a:gd name="connsiteX66" fmla="*/ 46328 w 178246"/>
                <a:gd name="connsiteY66" fmla="*/ 139113 h 184310"/>
                <a:gd name="connsiteX67" fmla="*/ 48117 w 178246"/>
                <a:gd name="connsiteY67" fmla="*/ 133895 h 184310"/>
                <a:gd name="connsiteX68" fmla="*/ 46328 w 178246"/>
                <a:gd name="connsiteY68" fmla="*/ 133890 h 184310"/>
                <a:gd name="connsiteX69" fmla="*/ 42790 w 178246"/>
                <a:gd name="connsiteY69" fmla="*/ 137034 h 184310"/>
                <a:gd name="connsiteX70" fmla="*/ 35244 w 178246"/>
                <a:gd name="connsiteY70" fmla="*/ 136124 h 184310"/>
                <a:gd name="connsiteX71" fmla="*/ 30249 w 178246"/>
                <a:gd name="connsiteY71" fmla="*/ 131642 h 184310"/>
                <a:gd name="connsiteX72" fmla="*/ 26167 w 178246"/>
                <a:gd name="connsiteY72" fmla="*/ 129998 h 184310"/>
                <a:gd name="connsiteX73" fmla="*/ 24386 w 178246"/>
                <a:gd name="connsiteY73" fmla="*/ 127737 h 184310"/>
                <a:gd name="connsiteX74" fmla="*/ 21769 w 178246"/>
                <a:gd name="connsiteY74" fmla="*/ 115906 h 184310"/>
                <a:gd name="connsiteX75" fmla="*/ 19886 w 178246"/>
                <a:gd name="connsiteY75" fmla="*/ 110533 h 184310"/>
                <a:gd name="connsiteX76" fmla="*/ 16101 w 178246"/>
                <a:gd name="connsiteY76" fmla="*/ 107217 h 184310"/>
                <a:gd name="connsiteX77" fmla="*/ 8513 w 178246"/>
                <a:gd name="connsiteY77" fmla="*/ 106402 h 184310"/>
                <a:gd name="connsiteX78" fmla="*/ 5384 w 178246"/>
                <a:gd name="connsiteY78" fmla="*/ 99173 h 184310"/>
                <a:gd name="connsiteX79" fmla="*/ 1181 w 178246"/>
                <a:gd name="connsiteY79" fmla="*/ 93572 h 184310"/>
                <a:gd name="connsiteX80" fmla="*/ 1862 w 178246"/>
                <a:gd name="connsiteY80" fmla="*/ 90122 h 184310"/>
                <a:gd name="connsiteX81" fmla="*/ 5293 w 178246"/>
                <a:gd name="connsiteY81" fmla="*/ 90320 h 184310"/>
                <a:gd name="connsiteX82" fmla="*/ 7980 w 178246"/>
                <a:gd name="connsiteY82" fmla="*/ 92825 h 184310"/>
                <a:gd name="connsiteX83" fmla="*/ 12300 w 178246"/>
                <a:gd name="connsiteY83" fmla="*/ 93870 h 184310"/>
                <a:gd name="connsiteX84" fmla="*/ 17676 w 178246"/>
                <a:gd name="connsiteY84" fmla="*/ 87803 h 184310"/>
                <a:gd name="connsiteX85" fmla="*/ 22492 w 178246"/>
                <a:gd name="connsiteY85" fmla="*/ 84516 h 184310"/>
                <a:gd name="connsiteX86" fmla="*/ 23606 w 178246"/>
                <a:gd name="connsiteY86" fmla="*/ 81639 h 184310"/>
                <a:gd name="connsiteX87" fmla="*/ 23020 w 178246"/>
                <a:gd name="connsiteY87" fmla="*/ 80062 h 184310"/>
                <a:gd name="connsiteX88" fmla="*/ 20095 w 178246"/>
                <a:gd name="connsiteY88" fmla="*/ 82513 h 184310"/>
                <a:gd name="connsiteX89" fmla="*/ 12107 w 178246"/>
                <a:gd name="connsiteY89" fmla="*/ 81880 h 184310"/>
                <a:gd name="connsiteX90" fmla="*/ 10130 w 178246"/>
                <a:gd name="connsiteY90" fmla="*/ 84088 h 184310"/>
                <a:gd name="connsiteX91" fmla="*/ 6565 w 178246"/>
                <a:gd name="connsiteY91" fmla="*/ 84795 h 184310"/>
                <a:gd name="connsiteX92" fmla="*/ 3806 w 178246"/>
                <a:gd name="connsiteY92" fmla="*/ 77694 h 184310"/>
                <a:gd name="connsiteX93" fmla="*/ 3938 w 178246"/>
                <a:gd name="connsiteY93" fmla="*/ 73515 h 184310"/>
                <a:gd name="connsiteX94" fmla="*/ 5079 w 178246"/>
                <a:gd name="connsiteY94" fmla="*/ 68911 h 184310"/>
                <a:gd name="connsiteX95" fmla="*/ 13128 w 178246"/>
                <a:gd name="connsiteY95" fmla="*/ 68121 h 184310"/>
                <a:gd name="connsiteX96" fmla="*/ 13813 w 178246"/>
                <a:gd name="connsiteY96" fmla="*/ 66640 h 184310"/>
                <a:gd name="connsiteX97" fmla="*/ 8231 w 178246"/>
                <a:gd name="connsiteY97" fmla="*/ 65651 h 184310"/>
                <a:gd name="connsiteX98" fmla="*/ 1246 w 178246"/>
                <a:gd name="connsiteY98" fmla="*/ 60297 h 184310"/>
                <a:gd name="connsiteX99" fmla="*/ 0 w 178246"/>
                <a:gd name="connsiteY99" fmla="*/ 56608 h 184310"/>
                <a:gd name="connsiteX100" fmla="*/ 3461 w 178246"/>
                <a:gd name="connsiteY100" fmla="*/ 55360 h 184310"/>
                <a:gd name="connsiteX101" fmla="*/ 6771 w 178246"/>
                <a:gd name="connsiteY101" fmla="*/ 55909 h 184310"/>
                <a:gd name="connsiteX102" fmla="*/ 9643 w 178246"/>
                <a:gd name="connsiteY102" fmla="*/ 56705 h 184310"/>
                <a:gd name="connsiteX103" fmla="*/ 12755 w 178246"/>
                <a:gd name="connsiteY103" fmla="*/ 55390 h 184310"/>
                <a:gd name="connsiteX104" fmla="*/ 15675 w 178246"/>
                <a:gd name="connsiteY104" fmla="*/ 53362 h 184310"/>
                <a:gd name="connsiteX105" fmla="*/ 17416 w 178246"/>
                <a:gd name="connsiteY105" fmla="*/ 50772 h 184310"/>
                <a:gd name="connsiteX106" fmla="*/ 19776 w 178246"/>
                <a:gd name="connsiteY106" fmla="*/ 43821 h 184310"/>
                <a:gd name="connsiteX107" fmla="*/ 27337 w 178246"/>
                <a:gd name="connsiteY107" fmla="*/ 41496 h 184310"/>
                <a:gd name="connsiteX108" fmla="*/ 31794 w 178246"/>
                <a:gd name="connsiteY108" fmla="*/ 37235 h 184310"/>
                <a:gd name="connsiteX109" fmla="*/ 36027 w 178246"/>
                <a:gd name="connsiteY109" fmla="*/ 30629 h 184310"/>
                <a:gd name="connsiteX110" fmla="*/ 37966 w 178246"/>
                <a:gd name="connsiteY110" fmla="*/ 25982 h 184310"/>
                <a:gd name="connsiteX111" fmla="*/ 39712 w 178246"/>
                <a:gd name="connsiteY111" fmla="*/ 23668 h 184310"/>
                <a:gd name="connsiteX112" fmla="*/ 40813 w 178246"/>
                <a:gd name="connsiteY112" fmla="*/ 21661 h 184310"/>
                <a:gd name="connsiteX113" fmla="*/ 41627 w 178246"/>
                <a:gd name="connsiteY113" fmla="*/ 19454 h 184310"/>
                <a:gd name="connsiteX114" fmla="*/ 43521 w 178246"/>
                <a:gd name="connsiteY114" fmla="*/ 17432 h 184310"/>
                <a:gd name="connsiteX115" fmla="*/ 45506 w 178246"/>
                <a:gd name="connsiteY115" fmla="*/ 12517 h 184310"/>
                <a:gd name="connsiteX116" fmla="*/ 46861 w 178246"/>
                <a:gd name="connsiteY116" fmla="*/ 8036 h 184310"/>
                <a:gd name="connsiteX117" fmla="*/ 51214 w 178246"/>
                <a:gd name="connsiteY117" fmla="*/ 5882 h 184310"/>
                <a:gd name="connsiteX118" fmla="*/ 60112 w 178246"/>
                <a:gd name="connsiteY118" fmla="*/ 3991 h 184310"/>
                <a:gd name="connsiteX119" fmla="*/ 68132 w 178246"/>
                <a:gd name="connsiteY119" fmla="*/ 7243 h 184310"/>
                <a:gd name="connsiteX120" fmla="*/ 81139 w 178246"/>
                <a:gd name="connsiteY120" fmla="*/ 4412 h 184310"/>
                <a:gd name="connsiteX121" fmla="*/ 81830 w 178246"/>
                <a:gd name="connsiteY121" fmla="*/ 209 h 184310"/>
                <a:gd name="connsiteX122" fmla="*/ 93736 w 178246"/>
                <a:gd name="connsiteY122" fmla="*/ 139 h 184310"/>
                <a:gd name="connsiteX123" fmla="*/ 107841 w 178246"/>
                <a:gd name="connsiteY123" fmla="*/ 64 h 184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</a:cxnLst>
              <a:rect l="l" t="t" r="r" b="b"/>
              <a:pathLst>
                <a:path w="178246" h="184310">
                  <a:moveTo>
                    <a:pt x="40125" y="140811"/>
                  </a:moveTo>
                  <a:lnTo>
                    <a:pt x="44330" y="142587"/>
                  </a:lnTo>
                  <a:lnTo>
                    <a:pt x="46208" y="144074"/>
                  </a:lnTo>
                  <a:lnTo>
                    <a:pt x="46909" y="146892"/>
                  </a:lnTo>
                  <a:lnTo>
                    <a:pt x="45404" y="152774"/>
                  </a:lnTo>
                  <a:lnTo>
                    <a:pt x="44542" y="154327"/>
                  </a:lnTo>
                  <a:lnTo>
                    <a:pt x="40602" y="150500"/>
                  </a:lnTo>
                  <a:lnTo>
                    <a:pt x="20202" y="144762"/>
                  </a:lnTo>
                  <a:lnTo>
                    <a:pt x="25958" y="141714"/>
                  </a:lnTo>
                  <a:close/>
                  <a:moveTo>
                    <a:pt x="119584" y="0"/>
                  </a:moveTo>
                  <a:lnTo>
                    <a:pt x="123610" y="1122"/>
                  </a:lnTo>
                  <a:lnTo>
                    <a:pt x="125080" y="4256"/>
                  </a:lnTo>
                  <a:lnTo>
                    <a:pt x="128940" y="9171"/>
                  </a:lnTo>
                  <a:lnTo>
                    <a:pt x="132979" y="12568"/>
                  </a:lnTo>
                  <a:lnTo>
                    <a:pt x="137977" y="20022"/>
                  </a:lnTo>
                  <a:lnTo>
                    <a:pt x="143798" y="28698"/>
                  </a:lnTo>
                  <a:lnTo>
                    <a:pt x="150090" y="36533"/>
                  </a:lnTo>
                  <a:lnTo>
                    <a:pt x="154121" y="40778"/>
                  </a:lnTo>
                  <a:lnTo>
                    <a:pt x="154584" y="42267"/>
                  </a:lnTo>
                  <a:lnTo>
                    <a:pt x="154292" y="43952"/>
                  </a:lnTo>
                  <a:lnTo>
                    <a:pt x="152302" y="47933"/>
                  </a:lnTo>
                  <a:lnTo>
                    <a:pt x="150601" y="52240"/>
                  </a:lnTo>
                  <a:lnTo>
                    <a:pt x="150775" y="53858"/>
                  </a:lnTo>
                  <a:lnTo>
                    <a:pt x="151970" y="54669"/>
                  </a:lnTo>
                  <a:lnTo>
                    <a:pt x="158538" y="56011"/>
                  </a:lnTo>
                  <a:lnTo>
                    <a:pt x="159140" y="60811"/>
                  </a:lnTo>
                  <a:lnTo>
                    <a:pt x="159148" y="67448"/>
                  </a:lnTo>
                  <a:lnTo>
                    <a:pt x="162339" y="73644"/>
                  </a:lnTo>
                  <a:lnTo>
                    <a:pt x="165373" y="78192"/>
                  </a:lnTo>
                  <a:lnTo>
                    <a:pt x="165221" y="79818"/>
                  </a:lnTo>
                  <a:lnTo>
                    <a:pt x="157796" y="87594"/>
                  </a:lnTo>
                  <a:lnTo>
                    <a:pt x="154900" y="95311"/>
                  </a:lnTo>
                  <a:lnTo>
                    <a:pt x="153432" y="97480"/>
                  </a:lnTo>
                  <a:lnTo>
                    <a:pt x="152840" y="99208"/>
                  </a:lnTo>
                  <a:lnTo>
                    <a:pt x="154332" y="100017"/>
                  </a:lnTo>
                  <a:lnTo>
                    <a:pt x="156365" y="99503"/>
                  </a:lnTo>
                  <a:lnTo>
                    <a:pt x="159245" y="100148"/>
                  </a:lnTo>
                  <a:lnTo>
                    <a:pt x="161988" y="100376"/>
                  </a:lnTo>
                  <a:lnTo>
                    <a:pt x="165617" y="97606"/>
                  </a:lnTo>
                  <a:lnTo>
                    <a:pt x="171657" y="90519"/>
                  </a:lnTo>
                  <a:lnTo>
                    <a:pt x="173693" y="89651"/>
                  </a:lnTo>
                  <a:lnTo>
                    <a:pt x="178246" y="90267"/>
                  </a:lnTo>
                  <a:lnTo>
                    <a:pt x="178096" y="92120"/>
                  </a:lnTo>
                  <a:lnTo>
                    <a:pt x="176382" y="100662"/>
                  </a:lnTo>
                  <a:lnTo>
                    <a:pt x="173709" y="107991"/>
                  </a:lnTo>
                  <a:lnTo>
                    <a:pt x="171947" y="109799"/>
                  </a:lnTo>
                  <a:lnTo>
                    <a:pt x="164412" y="111725"/>
                  </a:lnTo>
                  <a:lnTo>
                    <a:pt x="161208" y="114952"/>
                  </a:lnTo>
                  <a:lnTo>
                    <a:pt x="158441" y="125367"/>
                  </a:lnTo>
                  <a:lnTo>
                    <a:pt x="156671" y="133531"/>
                  </a:lnTo>
                  <a:lnTo>
                    <a:pt x="154075" y="134899"/>
                  </a:lnTo>
                  <a:lnTo>
                    <a:pt x="143013" y="146704"/>
                  </a:lnTo>
                  <a:lnTo>
                    <a:pt x="135778" y="151182"/>
                  </a:lnTo>
                  <a:lnTo>
                    <a:pt x="130732" y="155021"/>
                  </a:lnTo>
                  <a:lnTo>
                    <a:pt x="125953" y="160032"/>
                  </a:lnTo>
                  <a:lnTo>
                    <a:pt x="119937" y="164902"/>
                  </a:lnTo>
                  <a:lnTo>
                    <a:pt x="113482" y="173114"/>
                  </a:lnTo>
                  <a:lnTo>
                    <a:pt x="108870" y="181651"/>
                  </a:lnTo>
                  <a:lnTo>
                    <a:pt x="105730" y="184310"/>
                  </a:lnTo>
                  <a:lnTo>
                    <a:pt x="103362" y="181905"/>
                  </a:lnTo>
                  <a:lnTo>
                    <a:pt x="92351" y="173476"/>
                  </a:lnTo>
                  <a:lnTo>
                    <a:pt x="80756" y="167824"/>
                  </a:lnTo>
                  <a:lnTo>
                    <a:pt x="56033" y="158401"/>
                  </a:lnTo>
                  <a:lnTo>
                    <a:pt x="47799" y="155755"/>
                  </a:lnTo>
                  <a:lnTo>
                    <a:pt x="48093" y="152406"/>
                  </a:lnTo>
                  <a:lnTo>
                    <a:pt x="50933" y="146302"/>
                  </a:lnTo>
                  <a:lnTo>
                    <a:pt x="46328" y="139113"/>
                  </a:lnTo>
                  <a:lnTo>
                    <a:pt x="48117" y="133895"/>
                  </a:lnTo>
                  <a:lnTo>
                    <a:pt x="46328" y="133890"/>
                  </a:lnTo>
                  <a:lnTo>
                    <a:pt x="42790" y="137034"/>
                  </a:lnTo>
                  <a:lnTo>
                    <a:pt x="35244" y="136124"/>
                  </a:lnTo>
                  <a:lnTo>
                    <a:pt x="30249" y="131642"/>
                  </a:lnTo>
                  <a:lnTo>
                    <a:pt x="26167" y="129998"/>
                  </a:lnTo>
                  <a:lnTo>
                    <a:pt x="24386" y="127737"/>
                  </a:lnTo>
                  <a:lnTo>
                    <a:pt x="21769" y="115906"/>
                  </a:lnTo>
                  <a:lnTo>
                    <a:pt x="19886" y="110533"/>
                  </a:lnTo>
                  <a:lnTo>
                    <a:pt x="16101" y="107217"/>
                  </a:lnTo>
                  <a:lnTo>
                    <a:pt x="8513" y="106402"/>
                  </a:lnTo>
                  <a:lnTo>
                    <a:pt x="5384" y="99173"/>
                  </a:lnTo>
                  <a:lnTo>
                    <a:pt x="1181" y="93572"/>
                  </a:lnTo>
                  <a:lnTo>
                    <a:pt x="1862" y="90122"/>
                  </a:lnTo>
                  <a:lnTo>
                    <a:pt x="5293" y="90320"/>
                  </a:lnTo>
                  <a:lnTo>
                    <a:pt x="7980" y="92825"/>
                  </a:lnTo>
                  <a:lnTo>
                    <a:pt x="12300" y="93870"/>
                  </a:lnTo>
                  <a:lnTo>
                    <a:pt x="17676" y="87803"/>
                  </a:lnTo>
                  <a:lnTo>
                    <a:pt x="22492" y="84516"/>
                  </a:lnTo>
                  <a:lnTo>
                    <a:pt x="23606" y="81639"/>
                  </a:lnTo>
                  <a:lnTo>
                    <a:pt x="23020" y="80062"/>
                  </a:lnTo>
                  <a:lnTo>
                    <a:pt x="20095" y="82513"/>
                  </a:lnTo>
                  <a:lnTo>
                    <a:pt x="12107" y="81880"/>
                  </a:lnTo>
                  <a:lnTo>
                    <a:pt x="10130" y="84088"/>
                  </a:lnTo>
                  <a:lnTo>
                    <a:pt x="6565" y="84795"/>
                  </a:lnTo>
                  <a:lnTo>
                    <a:pt x="3806" y="77694"/>
                  </a:lnTo>
                  <a:lnTo>
                    <a:pt x="3938" y="73515"/>
                  </a:lnTo>
                  <a:lnTo>
                    <a:pt x="5079" y="68911"/>
                  </a:lnTo>
                  <a:lnTo>
                    <a:pt x="13128" y="68121"/>
                  </a:lnTo>
                  <a:lnTo>
                    <a:pt x="13813" y="66640"/>
                  </a:lnTo>
                  <a:lnTo>
                    <a:pt x="8231" y="65651"/>
                  </a:lnTo>
                  <a:lnTo>
                    <a:pt x="1246" y="60297"/>
                  </a:lnTo>
                  <a:lnTo>
                    <a:pt x="0" y="56608"/>
                  </a:lnTo>
                  <a:lnTo>
                    <a:pt x="3461" y="55360"/>
                  </a:lnTo>
                  <a:lnTo>
                    <a:pt x="6771" y="55909"/>
                  </a:lnTo>
                  <a:lnTo>
                    <a:pt x="9643" y="56705"/>
                  </a:lnTo>
                  <a:lnTo>
                    <a:pt x="12755" y="55390"/>
                  </a:lnTo>
                  <a:lnTo>
                    <a:pt x="15675" y="53362"/>
                  </a:lnTo>
                  <a:lnTo>
                    <a:pt x="17416" y="50772"/>
                  </a:lnTo>
                  <a:lnTo>
                    <a:pt x="19776" y="43821"/>
                  </a:lnTo>
                  <a:lnTo>
                    <a:pt x="27337" y="41496"/>
                  </a:lnTo>
                  <a:lnTo>
                    <a:pt x="31794" y="37235"/>
                  </a:lnTo>
                  <a:lnTo>
                    <a:pt x="36027" y="30629"/>
                  </a:lnTo>
                  <a:lnTo>
                    <a:pt x="37966" y="25982"/>
                  </a:lnTo>
                  <a:lnTo>
                    <a:pt x="39712" y="23668"/>
                  </a:lnTo>
                  <a:lnTo>
                    <a:pt x="40813" y="21661"/>
                  </a:lnTo>
                  <a:lnTo>
                    <a:pt x="41627" y="19454"/>
                  </a:lnTo>
                  <a:lnTo>
                    <a:pt x="43521" y="17432"/>
                  </a:lnTo>
                  <a:lnTo>
                    <a:pt x="45506" y="12517"/>
                  </a:lnTo>
                  <a:lnTo>
                    <a:pt x="46861" y="8036"/>
                  </a:lnTo>
                  <a:lnTo>
                    <a:pt x="51214" y="5882"/>
                  </a:lnTo>
                  <a:lnTo>
                    <a:pt x="60112" y="3991"/>
                  </a:lnTo>
                  <a:lnTo>
                    <a:pt x="68132" y="7243"/>
                  </a:lnTo>
                  <a:lnTo>
                    <a:pt x="81139" y="4412"/>
                  </a:lnTo>
                  <a:lnTo>
                    <a:pt x="81830" y="209"/>
                  </a:lnTo>
                  <a:lnTo>
                    <a:pt x="93736" y="139"/>
                  </a:lnTo>
                  <a:lnTo>
                    <a:pt x="107841" y="64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25" name="ee4p_SO_1_82333">
              <a:extLst>
                <a:ext uri="{FF2B5EF4-FFF2-40B4-BE49-F238E27FC236}">
                  <a16:creationId xmlns:a16="http://schemas.microsoft.com/office/drawing/2014/main" id="{59ABB8EC-0BA0-440C-C116-F773F9890B36}"/>
                </a:ext>
              </a:extLst>
            </p:cNvPr>
            <p:cNvSpPr>
              <a:spLocks noChangeAspect="1"/>
            </p:cNvSpPr>
            <p:nvPr>
              <p:custDataLst>
                <p:tags r:id="rId153"/>
              </p:custDataLst>
            </p:nvPr>
          </p:nvSpPr>
          <p:spPr>
            <a:xfrm>
              <a:off x="7652256" y="4334242"/>
              <a:ext cx="289518" cy="391812"/>
            </a:xfrm>
            <a:custGeom>
              <a:avLst/>
              <a:gdLst>
                <a:gd name="connsiteX0" fmla="*/ 135133 w 617505"/>
                <a:gd name="connsiteY0" fmla="*/ 29051 h 813530"/>
                <a:gd name="connsiteX1" fmla="*/ 146696 w 617505"/>
                <a:gd name="connsiteY1" fmla="*/ 38249 h 813530"/>
                <a:gd name="connsiteX2" fmla="*/ 157946 w 617505"/>
                <a:gd name="connsiteY2" fmla="*/ 56897 h 813530"/>
                <a:gd name="connsiteX3" fmla="*/ 171071 w 617505"/>
                <a:gd name="connsiteY3" fmla="*/ 71948 h 813530"/>
                <a:gd name="connsiteX4" fmla="*/ 189162 w 617505"/>
                <a:gd name="connsiteY4" fmla="*/ 85933 h 813530"/>
                <a:gd name="connsiteX5" fmla="*/ 196335 w 617505"/>
                <a:gd name="connsiteY5" fmla="*/ 90655 h 813530"/>
                <a:gd name="connsiteX6" fmla="*/ 202686 w 617505"/>
                <a:gd name="connsiteY6" fmla="*/ 93149 h 813530"/>
                <a:gd name="connsiteX7" fmla="*/ 235642 w 617505"/>
                <a:gd name="connsiteY7" fmla="*/ 92760 h 813530"/>
                <a:gd name="connsiteX8" fmla="*/ 259021 w 617505"/>
                <a:gd name="connsiteY8" fmla="*/ 80005 h 813530"/>
                <a:gd name="connsiteX9" fmla="*/ 280238 w 617505"/>
                <a:gd name="connsiteY9" fmla="*/ 70772 h 813530"/>
                <a:gd name="connsiteX10" fmla="*/ 287392 w 617505"/>
                <a:gd name="connsiteY10" fmla="*/ 68854 h 813530"/>
                <a:gd name="connsiteX11" fmla="*/ 299700 w 617505"/>
                <a:gd name="connsiteY11" fmla="*/ 71383 h 813530"/>
                <a:gd name="connsiteX12" fmla="*/ 313285 w 617505"/>
                <a:gd name="connsiteY12" fmla="*/ 72138 h 813530"/>
                <a:gd name="connsiteX13" fmla="*/ 325508 w 617505"/>
                <a:gd name="connsiteY13" fmla="*/ 74948 h 813530"/>
                <a:gd name="connsiteX14" fmla="*/ 331714 w 617505"/>
                <a:gd name="connsiteY14" fmla="*/ 74241 h 813530"/>
                <a:gd name="connsiteX15" fmla="*/ 355904 w 617505"/>
                <a:gd name="connsiteY15" fmla="*/ 63492 h 813530"/>
                <a:gd name="connsiteX16" fmla="*/ 371104 w 617505"/>
                <a:gd name="connsiteY16" fmla="*/ 53032 h 813530"/>
                <a:gd name="connsiteX17" fmla="*/ 381462 w 617505"/>
                <a:gd name="connsiteY17" fmla="*/ 48591 h 813530"/>
                <a:gd name="connsiteX18" fmla="*/ 385542 w 617505"/>
                <a:gd name="connsiteY18" fmla="*/ 48543 h 813530"/>
                <a:gd name="connsiteX19" fmla="*/ 399677 w 617505"/>
                <a:gd name="connsiteY19" fmla="*/ 52309 h 813530"/>
                <a:gd name="connsiteX20" fmla="*/ 417845 w 617505"/>
                <a:gd name="connsiteY20" fmla="*/ 50670 h 813530"/>
                <a:gd name="connsiteX21" fmla="*/ 442699 w 617505"/>
                <a:gd name="connsiteY21" fmla="*/ 41627 h 813530"/>
                <a:gd name="connsiteX22" fmla="*/ 450617 w 617505"/>
                <a:gd name="connsiteY22" fmla="*/ 39805 h 813530"/>
                <a:gd name="connsiteX23" fmla="*/ 456649 w 617505"/>
                <a:gd name="connsiteY23" fmla="*/ 39677 h 813530"/>
                <a:gd name="connsiteX24" fmla="*/ 470195 w 617505"/>
                <a:gd name="connsiteY24" fmla="*/ 43740 h 813530"/>
                <a:gd name="connsiteX25" fmla="*/ 472295 w 617505"/>
                <a:gd name="connsiteY25" fmla="*/ 43526 h 813530"/>
                <a:gd name="connsiteX26" fmla="*/ 472289 w 617505"/>
                <a:gd name="connsiteY26" fmla="*/ 60082 h 813530"/>
                <a:gd name="connsiteX27" fmla="*/ 472289 w 617505"/>
                <a:gd name="connsiteY27" fmla="*/ 76145 h 813530"/>
                <a:gd name="connsiteX28" fmla="*/ 472284 w 617505"/>
                <a:gd name="connsiteY28" fmla="*/ 92969 h 813530"/>
                <a:gd name="connsiteX29" fmla="*/ 472278 w 617505"/>
                <a:gd name="connsiteY29" fmla="*/ 120478 h 813530"/>
                <a:gd name="connsiteX30" fmla="*/ 472278 w 617505"/>
                <a:gd name="connsiteY30" fmla="*/ 130397 h 813530"/>
                <a:gd name="connsiteX31" fmla="*/ 472265 w 617505"/>
                <a:gd name="connsiteY31" fmla="*/ 144952 h 813530"/>
                <a:gd name="connsiteX32" fmla="*/ 472265 w 617505"/>
                <a:gd name="connsiteY32" fmla="*/ 151667 h 813530"/>
                <a:gd name="connsiteX33" fmla="*/ 463707 w 617505"/>
                <a:gd name="connsiteY33" fmla="*/ 164752 h 813530"/>
                <a:gd name="connsiteX34" fmla="*/ 453226 w 617505"/>
                <a:gd name="connsiteY34" fmla="*/ 180759 h 813530"/>
                <a:gd name="connsiteX35" fmla="*/ 442091 w 617505"/>
                <a:gd name="connsiteY35" fmla="*/ 197767 h 813530"/>
                <a:gd name="connsiteX36" fmla="*/ 432861 w 617505"/>
                <a:gd name="connsiteY36" fmla="*/ 211862 h 813530"/>
                <a:gd name="connsiteX37" fmla="*/ 424212 w 617505"/>
                <a:gd name="connsiteY37" fmla="*/ 225051 h 813530"/>
                <a:gd name="connsiteX38" fmla="*/ 415416 w 617505"/>
                <a:gd name="connsiteY38" fmla="*/ 238470 h 813530"/>
                <a:gd name="connsiteX39" fmla="*/ 395246 w 617505"/>
                <a:gd name="connsiteY39" fmla="*/ 238470 h 813530"/>
                <a:gd name="connsiteX40" fmla="*/ 375580 w 617505"/>
                <a:gd name="connsiteY40" fmla="*/ 238470 h 813530"/>
                <a:gd name="connsiteX41" fmla="*/ 356188 w 617505"/>
                <a:gd name="connsiteY41" fmla="*/ 238470 h 813530"/>
                <a:gd name="connsiteX42" fmla="*/ 352711 w 617505"/>
                <a:gd name="connsiteY42" fmla="*/ 236737 h 813530"/>
                <a:gd name="connsiteX43" fmla="*/ 336433 w 617505"/>
                <a:gd name="connsiteY43" fmla="*/ 231252 h 813530"/>
                <a:gd name="connsiteX44" fmla="*/ 315779 w 617505"/>
                <a:gd name="connsiteY44" fmla="*/ 224288 h 813530"/>
                <a:gd name="connsiteX45" fmla="*/ 290151 w 617505"/>
                <a:gd name="connsiteY45" fmla="*/ 215647 h 813530"/>
                <a:gd name="connsiteX46" fmla="*/ 271918 w 617505"/>
                <a:gd name="connsiteY46" fmla="*/ 209497 h 813530"/>
                <a:gd name="connsiteX47" fmla="*/ 252461 w 617505"/>
                <a:gd name="connsiteY47" fmla="*/ 203065 h 813530"/>
                <a:gd name="connsiteX48" fmla="*/ 232715 w 617505"/>
                <a:gd name="connsiteY48" fmla="*/ 196541 h 813530"/>
                <a:gd name="connsiteX49" fmla="*/ 217227 w 617505"/>
                <a:gd name="connsiteY49" fmla="*/ 191414 h 813530"/>
                <a:gd name="connsiteX50" fmla="*/ 197931 w 617505"/>
                <a:gd name="connsiteY50" fmla="*/ 185031 h 813530"/>
                <a:gd name="connsiteX51" fmla="*/ 181145 w 617505"/>
                <a:gd name="connsiteY51" fmla="*/ 179481 h 813530"/>
                <a:gd name="connsiteX52" fmla="*/ 178833 w 617505"/>
                <a:gd name="connsiteY52" fmla="*/ 178120 h 813530"/>
                <a:gd name="connsiteX53" fmla="*/ 169531 w 617505"/>
                <a:gd name="connsiteY53" fmla="*/ 169643 h 813530"/>
                <a:gd name="connsiteX54" fmla="*/ 157314 w 617505"/>
                <a:gd name="connsiteY54" fmla="*/ 158497 h 813530"/>
                <a:gd name="connsiteX55" fmla="*/ 154978 w 617505"/>
                <a:gd name="connsiteY55" fmla="*/ 158299 h 813530"/>
                <a:gd name="connsiteX56" fmla="*/ 149142 w 617505"/>
                <a:gd name="connsiteY56" fmla="*/ 155985 h 813530"/>
                <a:gd name="connsiteX57" fmla="*/ 143918 w 617505"/>
                <a:gd name="connsiteY57" fmla="*/ 149961 h 813530"/>
                <a:gd name="connsiteX58" fmla="*/ 138518 w 617505"/>
                <a:gd name="connsiteY58" fmla="*/ 142265 h 813530"/>
                <a:gd name="connsiteX59" fmla="*/ 133502 w 617505"/>
                <a:gd name="connsiteY59" fmla="*/ 132636 h 813530"/>
                <a:gd name="connsiteX60" fmla="*/ 131321 w 617505"/>
                <a:gd name="connsiteY60" fmla="*/ 126071 h 813530"/>
                <a:gd name="connsiteX61" fmla="*/ 124646 w 617505"/>
                <a:gd name="connsiteY61" fmla="*/ 123306 h 813530"/>
                <a:gd name="connsiteX62" fmla="*/ 121437 w 617505"/>
                <a:gd name="connsiteY62" fmla="*/ 118140 h 813530"/>
                <a:gd name="connsiteX63" fmla="*/ 115381 w 617505"/>
                <a:gd name="connsiteY63" fmla="*/ 110468 h 813530"/>
                <a:gd name="connsiteX64" fmla="*/ 111181 w 617505"/>
                <a:gd name="connsiteY64" fmla="*/ 106745 h 813530"/>
                <a:gd name="connsiteX65" fmla="*/ 109689 w 617505"/>
                <a:gd name="connsiteY65" fmla="*/ 103496 h 813530"/>
                <a:gd name="connsiteX66" fmla="*/ 107753 w 617505"/>
                <a:gd name="connsiteY66" fmla="*/ 96778 h 813530"/>
                <a:gd name="connsiteX67" fmla="*/ 104287 w 617505"/>
                <a:gd name="connsiteY67" fmla="*/ 89466 h 813530"/>
                <a:gd name="connsiteX68" fmla="*/ 100973 w 617505"/>
                <a:gd name="connsiteY68" fmla="*/ 84926 h 813530"/>
                <a:gd name="connsiteX69" fmla="*/ 100215 w 617505"/>
                <a:gd name="connsiteY69" fmla="*/ 82984 h 813530"/>
                <a:gd name="connsiteX70" fmla="*/ 100400 w 617505"/>
                <a:gd name="connsiteY70" fmla="*/ 81703 h 813530"/>
                <a:gd name="connsiteX71" fmla="*/ 106531 w 617505"/>
                <a:gd name="connsiteY71" fmla="*/ 71790 h 813530"/>
                <a:gd name="connsiteX72" fmla="*/ 109296 w 617505"/>
                <a:gd name="connsiteY72" fmla="*/ 68249 h 813530"/>
                <a:gd name="connsiteX73" fmla="*/ 112443 w 617505"/>
                <a:gd name="connsiteY73" fmla="*/ 64820 h 813530"/>
                <a:gd name="connsiteX74" fmla="*/ 115006 w 617505"/>
                <a:gd name="connsiteY74" fmla="*/ 61403 h 813530"/>
                <a:gd name="connsiteX75" fmla="*/ 115989 w 617505"/>
                <a:gd name="connsiteY75" fmla="*/ 59062 h 813530"/>
                <a:gd name="connsiteX76" fmla="*/ 123444 w 617505"/>
                <a:gd name="connsiteY76" fmla="*/ 47372 h 813530"/>
                <a:gd name="connsiteX77" fmla="*/ 130003 w 617505"/>
                <a:gd name="connsiteY77" fmla="*/ 37095 h 813530"/>
                <a:gd name="connsiteX78" fmla="*/ 582089 w 617505"/>
                <a:gd name="connsiteY78" fmla="*/ 0 h 813530"/>
                <a:gd name="connsiteX79" fmla="*/ 605722 w 617505"/>
                <a:gd name="connsiteY79" fmla="*/ 8513 h 813530"/>
                <a:gd name="connsiteX80" fmla="*/ 609485 w 617505"/>
                <a:gd name="connsiteY80" fmla="*/ 9188 h 813530"/>
                <a:gd name="connsiteX81" fmla="*/ 608122 w 617505"/>
                <a:gd name="connsiteY81" fmla="*/ 14333 h 813530"/>
                <a:gd name="connsiteX82" fmla="*/ 607313 w 617505"/>
                <a:gd name="connsiteY82" fmla="*/ 19578 h 813530"/>
                <a:gd name="connsiteX83" fmla="*/ 602464 w 617505"/>
                <a:gd name="connsiteY83" fmla="*/ 28730 h 813530"/>
                <a:gd name="connsiteX84" fmla="*/ 599381 w 617505"/>
                <a:gd name="connsiteY84" fmla="*/ 38898 h 813530"/>
                <a:gd name="connsiteX85" fmla="*/ 601631 w 617505"/>
                <a:gd name="connsiteY85" fmla="*/ 54423 h 813530"/>
                <a:gd name="connsiteX86" fmla="*/ 602719 w 617505"/>
                <a:gd name="connsiteY86" fmla="*/ 79580 h 813530"/>
                <a:gd name="connsiteX87" fmla="*/ 602164 w 617505"/>
                <a:gd name="connsiteY87" fmla="*/ 83231 h 813530"/>
                <a:gd name="connsiteX88" fmla="*/ 600603 w 617505"/>
                <a:gd name="connsiteY88" fmla="*/ 86828 h 813530"/>
                <a:gd name="connsiteX89" fmla="*/ 599949 w 617505"/>
                <a:gd name="connsiteY89" fmla="*/ 89659 h 813530"/>
                <a:gd name="connsiteX90" fmla="*/ 597399 w 617505"/>
                <a:gd name="connsiteY90" fmla="*/ 90653 h 813530"/>
                <a:gd name="connsiteX91" fmla="*/ 596277 w 617505"/>
                <a:gd name="connsiteY91" fmla="*/ 92279 h 813530"/>
                <a:gd name="connsiteX92" fmla="*/ 598133 w 617505"/>
                <a:gd name="connsiteY92" fmla="*/ 92927 h 813530"/>
                <a:gd name="connsiteX93" fmla="*/ 605542 w 617505"/>
                <a:gd name="connsiteY93" fmla="*/ 90187 h 813530"/>
                <a:gd name="connsiteX94" fmla="*/ 605381 w 617505"/>
                <a:gd name="connsiteY94" fmla="*/ 87187 h 813530"/>
                <a:gd name="connsiteX95" fmla="*/ 605821 w 617505"/>
                <a:gd name="connsiteY95" fmla="*/ 85703 h 813530"/>
                <a:gd name="connsiteX96" fmla="*/ 611904 w 617505"/>
                <a:gd name="connsiteY96" fmla="*/ 89051 h 813530"/>
                <a:gd name="connsiteX97" fmla="*/ 616254 w 617505"/>
                <a:gd name="connsiteY97" fmla="*/ 90455 h 813530"/>
                <a:gd name="connsiteX98" fmla="*/ 617505 w 617505"/>
                <a:gd name="connsiteY98" fmla="*/ 93607 h 813530"/>
                <a:gd name="connsiteX99" fmla="*/ 617167 w 617505"/>
                <a:gd name="connsiteY99" fmla="*/ 95766 h 813530"/>
                <a:gd name="connsiteX100" fmla="*/ 610272 w 617505"/>
                <a:gd name="connsiteY100" fmla="*/ 94772 h 813530"/>
                <a:gd name="connsiteX101" fmla="*/ 606758 w 617505"/>
                <a:gd name="connsiteY101" fmla="*/ 93101 h 813530"/>
                <a:gd name="connsiteX102" fmla="*/ 596518 w 617505"/>
                <a:gd name="connsiteY102" fmla="*/ 95849 h 813530"/>
                <a:gd name="connsiteX103" fmla="*/ 590248 w 617505"/>
                <a:gd name="connsiteY103" fmla="*/ 98817 h 813530"/>
                <a:gd name="connsiteX104" fmla="*/ 588375 w 617505"/>
                <a:gd name="connsiteY104" fmla="*/ 103751 h 813530"/>
                <a:gd name="connsiteX105" fmla="*/ 586910 w 617505"/>
                <a:gd name="connsiteY105" fmla="*/ 123427 h 813530"/>
                <a:gd name="connsiteX106" fmla="*/ 584489 w 617505"/>
                <a:gd name="connsiteY106" fmla="*/ 136204 h 813530"/>
                <a:gd name="connsiteX107" fmla="*/ 584025 w 617505"/>
                <a:gd name="connsiteY107" fmla="*/ 153076 h 813530"/>
                <a:gd name="connsiteX108" fmla="*/ 575743 w 617505"/>
                <a:gd name="connsiteY108" fmla="*/ 164246 h 813530"/>
                <a:gd name="connsiteX109" fmla="*/ 572950 w 617505"/>
                <a:gd name="connsiteY109" fmla="*/ 172121 h 813530"/>
                <a:gd name="connsiteX110" fmla="*/ 560618 w 617505"/>
                <a:gd name="connsiteY110" fmla="*/ 187884 h 813530"/>
                <a:gd name="connsiteX111" fmla="*/ 554186 w 617505"/>
                <a:gd name="connsiteY111" fmla="*/ 201349 h 813530"/>
                <a:gd name="connsiteX112" fmla="*/ 552086 w 617505"/>
                <a:gd name="connsiteY112" fmla="*/ 207922 h 813530"/>
                <a:gd name="connsiteX113" fmla="*/ 541252 w 617505"/>
                <a:gd name="connsiteY113" fmla="*/ 226385 h 813530"/>
                <a:gd name="connsiteX114" fmla="*/ 526399 w 617505"/>
                <a:gd name="connsiteY114" fmla="*/ 240525 h 813530"/>
                <a:gd name="connsiteX115" fmla="*/ 521021 w 617505"/>
                <a:gd name="connsiteY115" fmla="*/ 258581 h 813530"/>
                <a:gd name="connsiteX116" fmla="*/ 515688 w 617505"/>
                <a:gd name="connsiteY116" fmla="*/ 269898 h 813530"/>
                <a:gd name="connsiteX117" fmla="*/ 509696 w 617505"/>
                <a:gd name="connsiteY117" fmla="*/ 280173 h 813530"/>
                <a:gd name="connsiteX118" fmla="*/ 496576 w 617505"/>
                <a:gd name="connsiteY118" fmla="*/ 298414 h 813530"/>
                <a:gd name="connsiteX119" fmla="*/ 489850 w 617505"/>
                <a:gd name="connsiteY119" fmla="*/ 311100 h 813530"/>
                <a:gd name="connsiteX120" fmla="*/ 481421 w 617505"/>
                <a:gd name="connsiteY120" fmla="*/ 333077 h 813530"/>
                <a:gd name="connsiteX121" fmla="*/ 478855 w 617505"/>
                <a:gd name="connsiteY121" fmla="*/ 347003 h 813530"/>
                <a:gd name="connsiteX122" fmla="*/ 455147 w 617505"/>
                <a:gd name="connsiteY122" fmla="*/ 387369 h 813530"/>
                <a:gd name="connsiteX123" fmla="*/ 430563 w 617505"/>
                <a:gd name="connsiteY123" fmla="*/ 419538 h 813530"/>
                <a:gd name="connsiteX124" fmla="*/ 415242 w 617505"/>
                <a:gd name="connsiteY124" fmla="*/ 446583 h 813530"/>
                <a:gd name="connsiteX125" fmla="*/ 387768 w 617505"/>
                <a:gd name="connsiteY125" fmla="*/ 477957 h 813530"/>
                <a:gd name="connsiteX126" fmla="*/ 350298 w 617505"/>
                <a:gd name="connsiteY126" fmla="*/ 518438 h 813530"/>
                <a:gd name="connsiteX127" fmla="*/ 301278 w 617505"/>
                <a:gd name="connsiteY127" fmla="*/ 566480 h 813530"/>
                <a:gd name="connsiteX128" fmla="*/ 287957 w 617505"/>
                <a:gd name="connsiteY128" fmla="*/ 576278 h 813530"/>
                <a:gd name="connsiteX129" fmla="*/ 234295 w 617505"/>
                <a:gd name="connsiteY129" fmla="*/ 605887 h 813530"/>
                <a:gd name="connsiteX130" fmla="*/ 199498 w 617505"/>
                <a:gd name="connsiteY130" fmla="*/ 630720 h 813530"/>
                <a:gd name="connsiteX131" fmla="*/ 181729 w 617505"/>
                <a:gd name="connsiteY131" fmla="*/ 647605 h 813530"/>
                <a:gd name="connsiteX132" fmla="*/ 163065 w 617505"/>
                <a:gd name="connsiteY132" fmla="*/ 662300 h 813530"/>
                <a:gd name="connsiteX133" fmla="*/ 148263 w 617505"/>
                <a:gd name="connsiteY133" fmla="*/ 676290 h 813530"/>
                <a:gd name="connsiteX134" fmla="*/ 103513 w 617505"/>
                <a:gd name="connsiteY134" fmla="*/ 723515 h 813530"/>
                <a:gd name="connsiteX135" fmla="*/ 98898 w 617505"/>
                <a:gd name="connsiteY135" fmla="*/ 727964 h 813530"/>
                <a:gd name="connsiteX136" fmla="*/ 94548 w 617505"/>
                <a:gd name="connsiteY136" fmla="*/ 732151 h 813530"/>
                <a:gd name="connsiteX137" fmla="*/ 88912 w 617505"/>
                <a:gd name="connsiteY137" fmla="*/ 740152 h 813530"/>
                <a:gd name="connsiteX138" fmla="*/ 84993 w 617505"/>
                <a:gd name="connsiteY138" fmla="*/ 743320 h 813530"/>
                <a:gd name="connsiteX139" fmla="*/ 74303 w 617505"/>
                <a:gd name="connsiteY139" fmla="*/ 756820 h 813530"/>
                <a:gd name="connsiteX140" fmla="*/ 67628 w 617505"/>
                <a:gd name="connsiteY140" fmla="*/ 763819 h 813530"/>
                <a:gd name="connsiteX141" fmla="*/ 60144 w 617505"/>
                <a:gd name="connsiteY141" fmla="*/ 770743 h 813530"/>
                <a:gd name="connsiteX142" fmla="*/ 56968 w 617505"/>
                <a:gd name="connsiteY142" fmla="*/ 775632 h 813530"/>
                <a:gd name="connsiteX143" fmla="*/ 54718 w 617505"/>
                <a:gd name="connsiteY143" fmla="*/ 781259 h 813530"/>
                <a:gd name="connsiteX144" fmla="*/ 52227 w 617505"/>
                <a:gd name="connsiteY144" fmla="*/ 784391 h 813530"/>
                <a:gd name="connsiteX145" fmla="*/ 45477 w 617505"/>
                <a:gd name="connsiteY145" fmla="*/ 797818 h 813530"/>
                <a:gd name="connsiteX146" fmla="*/ 39541 w 617505"/>
                <a:gd name="connsiteY146" fmla="*/ 806609 h 813530"/>
                <a:gd name="connsiteX147" fmla="*/ 33659 w 617505"/>
                <a:gd name="connsiteY147" fmla="*/ 813530 h 813530"/>
                <a:gd name="connsiteX148" fmla="*/ 33948 w 617505"/>
                <a:gd name="connsiteY148" fmla="*/ 808664 h 813530"/>
                <a:gd name="connsiteX149" fmla="*/ 33016 w 617505"/>
                <a:gd name="connsiteY149" fmla="*/ 806239 h 813530"/>
                <a:gd name="connsiteX150" fmla="*/ 27394 w 617505"/>
                <a:gd name="connsiteY150" fmla="*/ 798967 h 813530"/>
                <a:gd name="connsiteX151" fmla="*/ 16902 w 617505"/>
                <a:gd name="connsiteY151" fmla="*/ 785403 h 813530"/>
                <a:gd name="connsiteX152" fmla="*/ 8965 w 617505"/>
                <a:gd name="connsiteY152" fmla="*/ 775152 h 813530"/>
                <a:gd name="connsiteX153" fmla="*/ 847 w 617505"/>
                <a:gd name="connsiteY153" fmla="*/ 764658 h 813530"/>
                <a:gd name="connsiteX154" fmla="*/ 817 w 617505"/>
                <a:gd name="connsiteY154" fmla="*/ 756271 h 813530"/>
                <a:gd name="connsiteX155" fmla="*/ 718 w 617505"/>
                <a:gd name="connsiteY155" fmla="*/ 731313 h 813530"/>
                <a:gd name="connsiteX156" fmla="*/ 523 w 617505"/>
                <a:gd name="connsiteY156" fmla="*/ 681398 h 813530"/>
                <a:gd name="connsiteX157" fmla="*/ 332 w 617505"/>
                <a:gd name="connsiteY157" fmla="*/ 631478 h 813530"/>
                <a:gd name="connsiteX158" fmla="*/ 134 w 617505"/>
                <a:gd name="connsiteY158" fmla="*/ 581547 h 813530"/>
                <a:gd name="connsiteX159" fmla="*/ 38 w 617505"/>
                <a:gd name="connsiteY159" fmla="*/ 556572 h 813530"/>
                <a:gd name="connsiteX160" fmla="*/ 0 w 617505"/>
                <a:gd name="connsiteY160" fmla="*/ 546362 h 813530"/>
                <a:gd name="connsiteX161" fmla="*/ 847 w 617505"/>
                <a:gd name="connsiteY161" fmla="*/ 544712 h 813530"/>
                <a:gd name="connsiteX162" fmla="*/ 10101 w 617505"/>
                <a:gd name="connsiteY162" fmla="*/ 535546 h 813530"/>
                <a:gd name="connsiteX163" fmla="*/ 22350 w 617505"/>
                <a:gd name="connsiteY163" fmla="*/ 523417 h 813530"/>
                <a:gd name="connsiteX164" fmla="*/ 38443 w 617505"/>
                <a:gd name="connsiteY164" fmla="*/ 500363 h 813530"/>
                <a:gd name="connsiteX165" fmla="*/ 47178 w 617505"/>
                <a:gd name="connsiteY165" fmla="*/ 487841 h 813530"/>
                <a:gd name="connsiteX166" fmla="*/ 54463 w 617505"/>
                <a:gd name="connsiteY166" fmla="*/ 477395 h 813530"/>
                <a:gd name="connsiteX167" fmla="*/ 56322 w 617505"/>
                <a:gd name="connsiteY167" fmla="*/ 474218 h 813530"/>
                <a:gd name="connsiteX168" fmla="*/ 62764 w 617505"/>
                <a:gd name="connsiteY168" fmla="*/ 467891 h 813530"/>
                <a:gd name="connsiteX169" fmla="*/ 74863 w 617505"/>
                <a:gd name="connsiteY169" fmla="*/ 464112 h 813530"/>
                <a:gd name="connsiteX170" fmla="*/ 82371 w 617505"/>
                <a:gd name="connsiteY170" fmla="*/ 463482 h 813530"/>
                <a:gd name="connsiteX171" fmla="*/ 108222 w 617505"/>
                <a:gd name="connsiteY171" fmla="*/ 458749 h 813530"/>
                <a:gd name="connsiteX172" fmla="*/ 112073 w 617505"/>
                <a:gd name="connsiteY172" fmla="*/ 456839 h 813530"/>
                <a:gd name="connsiteX173" fmla="*/ 114329 w 617505"/>
                <a:gd name="connsiteY173" fmla="*/ 454651 h 813530"/>
                <a:gd name="connsiteX174" fmla="*/ 116474 w 617505"/>
                <a:gd name="connsiteY174" fmla="*/ 449653 h 813530"/>
                <a:gd name="connsiteX175" fmla="*/ 121513 w 617505"/>
                <a:gd name="connsiteY175" fmla="*/ 442648 h 813530"/>
                <a:gd name="connsiteX176" fmla="*/ 128008 w 617505"/>
                <a:gd name="connsiteY176" fmla="*/ 437832 h 813530"/>
                <a:gd name="connsiteX177" fmla="*/ 140345 w 617505"/>
                <a:gd name="connsiteY177" fmla="*/ 431546 h 813530"/>
                <a:gd name="connsiteX178" fmla="*/ 152444 w 617505"/>
                <a:gd name="connsiteY178" fmla="*/ 426208 h 813530"/>
                <a:gd name="connsiteX179" fmla="*/ 155123 w 617505"/>
                <a:gd name="connsiteY179" fmla="*/ 425337 h 813530"/>
                <a:gd name="connsiteX180" fmla="*/ 169676 w 617505"/>
                <a:gd name="connsiteY180" fmla="*/ 421986 h 813530"/>
                <a:gd name="connsiteX181" fmla="*/ 173246 w 617505"/>
                <a:gd name="connsiteY181" fmla="*/ 420837 h 813530"/>
                <a:gd name="connsiteX182" fmla="*/ 179133 w 617505"/>
                <a:gd name="connsiteY182" fmla="*/ 419664 h 813530"/>
                <a:gd name="connsiteX183" fmla="*/ 181458 w 617505"/>
                <a:gd name="connsiteY183" fmla="*/ 419637 h 813530"/>
                <a:gd name="connsiteX184" fmla="*/ 201679 w 617505"/>
                <a:gd name="connsiteY184" fmla="*/ 420813 h 813530"/>
                <a:gd name="connsiteX185" fmla="*/ 217498 w 617505"/>
                <a:gd name="connsiteY185" fmla="*/ 421729 h 813530"/>
                <a:gd name="connsiteX186" fmla="*/ 233787 w 617505"/>
                <a:gd name="connsiteY186" fmla="*/ 422669 h 813530"/>
                <a:gd name="connsiteX187" fmla="*/ 235498 w 617505"/>
                <a:gd name="connsiteY187" fmla="*/ 421951 h 813530"/>
                <a:gd name="connsiteX188" fmla="*/ 246887 w 617505"/>
                <a:gd name="connsiteY188" fmla="*/ 409501 h 813530"/>
                <a:gd name="connsiteX189" fmla="*/ 264989 w 617505"/>
                <a:gd name="connsiteY189" fmla="*/ 389680 h 813530"/>
                <a:gd name="connsiteX190" fmla="*/ 276547 w 617505"/>
                <a:gd name="connsiteY190" fmla="*/ 377037 h 813530"/>
                <a:gd name="connsiteX191" fmla="*/ 294397 w 617505"/>
                <a:gd name="connsiteY191" fmla="*/ 357489 h 813530"/>
                <a:gd name="connsiteX192" fmla="*/ 308127 w 617505"/>
                <a:gd name="connsiteY192" fmla="*/ 343374 h 813530"/>
                <a:gd name="connsiteX193" fmla="*/ 323301 w 617505"/>
                <a:gd name="connsiteY193" fmla="*/ 327758 h 813530"/>
                <a:gd name="connsiteX194" fmla="*/ 338038 w 617505"/>
                <a:gd name="connsiteY194" fmla="*/ 313484 h 813530"/>
                <a:gd name="connsiteX195" fmla="*/ 355770 w 617505"/>
                <a:gd name="connsiteY195" fmla="*/ 296301 h 813530"/>
                <a:gd name="connsiteX196" fmla="*/ 366940 w 617505"/>
                <a:gd name="connsiteY196" fmla="*/ 285477 h 813530"/>
                <a:gd name="connsiteX197" fmla="*/ 384297 w 617505"/>
                <a:gd name="connsiteY197" fmla="*/ 268650 h 813530"/>
                <a:gd name="connsiteX198" fmla="*/ 400810 w 617505"/>
                <a:gd name="connsiteY198" fmla="*/ 252638 h 813530"/>
                <a:gd name="connsiteX199" fmla="*/ 415416 w 617505"/>
                <a:gd name="connsiteY199" fmla="*/ 238471 h 813530"/>
                <a:gd name="connsiteX200" fmla="*/ 424213 w 617505"/>
                <a:gd name="connsiteY200" fmla="*/ 225051 h 813530"/>
                <a:gd name="connsiteX201" fmla="*/ 432862 w 617505"/>
                <a:gd name="connsiteY201" fmla="*/ 211862 h 813530"/>
                <a:gd name="connsiteX202" fmla="*/ 442092 w 617505"/>
                <a:gd name="connsiteY202" fmla="*/ 197768 h 813530"/>
                <a:gd name="connsiteX203" fmla="*/ 453227 w 617505"/>
                <a:gd name="connsiteY203" fmla="*/ 180759 h 813530"/>
                <a:gd name="connsiteX204" fmla="*/ 463708 w 617505"/>
                <a:gd name="connsiteY204" fmla="*/ 164752 h 813530"/>
                <a:gd name="connsiteX205" fmla="*/ 472266 w 617505"/>
                <a:gd name="connsiteY205" fmla="*/ 151667 h 813530"/>
                <a:gd name="connsiteX206" fmla="*/ 472266 w 617505"/>
                <a:gd name="connsiteY206" fmla="*/ 144952 h 813530"/>
                <a:gd name="connsiteX207" fmla="*/ 472279 w 617505"/>
                <a:gd name="connsiteY207" fmla="*/ 130397 h 813530"/>
                <a:gd name="connsiteX208" fmla="*/ 472279 w 617505"/>
                <a:gd name="connsiteY208" fmla="*/ 120478 h 813530"/>
                <a:gd name="connsiteX209" fmla="*/ 472284 w 617505"/>
                <a:gd name="connsiteY209" fmla="*/ 92970 h 813530"/>
                <a:gd name="connsiteX210" fmla="*/ 472290 w 617505"/>
                <a:gd name="connsiteY210" fmla="*/ 76146 h 813530"/>
                <a:gd name="connsiteX211" fmla="*/ 472290 w 617505"/>
                <a:gd name="connsiteY211" fmla="*/ 60083 h 813530"/>
                <a:gd name="connsiteX212" fmla="*/ 472295 w 617505"/>
                <a:gd name="connsiteY212" fmla="*/ 43526 h 813530"/>
                <a:gd name="connsiteX213" fmla="*/ 479613 w 617505"/>
                <a:gd name="connsiteY213" fmla="*/ 42785 h 813530"/>
                <a:gd name="connsiteX214" fmla="*/ 498931 w 617505"/>
                <a:gd name="connsiteY214" fmla="*/ 38475 h 813530"/>
                <a:gd name="connsiteX215" fmla="*/ 513963 w 617505"/>
                <a:gd name="connsiteY215" fmla="*/ 31982 h 813530"/>
                <a:gd name="connsiteX216" fmla="*/ 541680 w 617505"/>
                <a:gd name="connsiteY216" fmla="*/ 27281 h 813530"/>
                <a:gd name="connsiteX217" fmla="*/ 562774 w 617505"/>
                <a:gd name="connsiteY217" fmla="*/ 15383 h 813530"/>
                <a:gd name="connsiteX218" fmla="*/ 566454 w 617505"/>
                <a:gd name="connsiteY218" fmla="*/ 9640 h 813530"/>
                <a:gd name="connsiteX219" fmla="*/ 572826 w 617505"/>
                <a:gd name="connsiteY219" fmla="*/ 2397 h 813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</a:cxnLst>
              <a:rect l="l" t="t" r="r" b="b"/>
              <a:pathLst>
                <a:path w="617505" h="813530">
                  <a:moveTo>
                    <a:pt x="135133" y="29051"/>
                  </a:moveTo>
                  <a:lnTo>
                    <a:pt x="146696" y="38249"/>
                  </a:lnTo>
                  <a:lnTo>
                    <a:pt x="157946" y="56897"/>
                  </a:lnTo>
                  <a:lnTo>
                    <a:pt x="171071" y="71948"/>
                  </a:lnTo>
                  <a:lnTo>
                    <a:pt x="189162" y="85933"/>
                  </a:lnTo>
                  <a:lnTo>
                    <a:pt x="196335" y="90655"/>
                  </a:lnTo>
                  <a:lnTo>
                    <a:pt x="202686" y="93149"/>
                  </a:lnTo>
                  <a:lnTo>
                    <a:pt x="235642" y="92760"/>
                  </a:lnTo>
                  <a:lnTo>
                    <a:pt x="259021" y="80005"/>
                  </a:lnTo>
                  <a:lnTo>
                    <a:pt x="280238" y="70772"/>
                  </a:lnTo>
                  <a:lnTo>
                    <a:pt x="287392" y="68854"/>
                  </a:lnTo>
                  <a:lnTo>
                    <a:pt x="299700" y="71383"/>
                  </a:lnTo>
                  <a:lnTo>
                    <a:pt x="313285" y="72138"/>
                  </a:lnTo>
                  <a:lnTo>
                    <a:pt x="325508" y="74948"/>
                  </a:lnTo>
                  <a:lnTo>
                    <a:pt x="331714" y="74241"/>
                  </a:lnTo>
                  <a:lnTo>
                    <a:pt x="355904" y="63492"/>
                  </a:lnTo>
                  <a:lnTo>
                    <a:pt x="371104" y="53032"/>
                  </a:lnTo>
                  <a:lnTo>
                    <a:pt x="381462" y="48591"/>
                  </a:lnTo>
                  <a:lnTo>
                    <a:pt x="385542" y="48543"/>
                  </a:lnTo>
                  <a:lnTo>
                    <a:pt x="399677" y="52309"/>
                  </a:lnTo>
                  <a:lnTo>
                    <a:pt x="417845" y="50670"/>
                  </a:lnTo>
                  <a:lnTo>
                    <a:pt x="442699" y="41627"/>
                  </a:lnTo>
                  <a:lnTo>
                    <a:pt x="450617" y="39805"/>
                  </a:lnTo>
                  <a:lnTo>
                    <a:pt x="456649" y="39677"/>
                  </a:lnTo>
                  <a:lnTo>
                    <a:pt x="470195" y="43740"/>
                  </a:lnTo>
                  <a:lnTo>
                    <a:pt x="472295" y="43526"/>
                  </a:lnTo>
                  <a:lnTo>
                    <a:pt x="472289" y="60082"/>
                  </a:lnTo>
                  <a:lnTo>
                    <a:pt x="472289" y="76145"/>
                  </a:lnTo>
                  <a:lnTo>
                    <a:pt x="472284" y="92969"/>
                  </a:lnTo>
                  <a:lnTo>
                    <a:pt x="472278" y="120478"/>
                  </a:lnTo>
                  <a:lnTo>
                    <a:pt x="472278" y="130397"/>
                  </a:lnTo>
                  <a:lnTo>
                    <a:pt x="472265" y="144952"/>
                  </a:lnTo>
                  <a:lnTo>
                    <a:pt x="472265" y="151667"/>
                  </a:lnTo>
                  <a:lnTo>
                    <a:pt x="463707" y="164752"/>
                  </a:lnTo>
                  <a:lnTo>
                    <a:pt x="453226" y="180759"/>
                  </a:lnTo>
                  <a:lnTo>
                    <a:pt x="442091" y="197767"/>
                  </a:lnTo>
                  <a:lnTo>
                    <a:pt x="432861" y="211862"/>
                  </a:lnTo>
                  <a:lnTo>
                    <a:pt x="424212" y="225051"/>
                  </a:lnTo>
                  <a:lnTo>
                    <a:pt x="415416" y="238470"/>
                  </a:lnTo>
                  <a:lnTo>
                    <a:pt x="395246" y="238470"/>
                  </a:lnTo>
                  <a:lnTo>
                    <a:pt x="375580" y="238470"/>
                  </a:lnTo>
                  <a:lnTo>
                    <a:pt x="356188" y="238470"/>
                  </a:lnTo>
                  <a:lnTo>
                    <a:pt x="352711" y="236737"/>
                  </a:lnTo>
                  <a:lnTo>
                    <a:pt x="336433" y="231252"/>
                  </a:lnTo>
                  <a:lnTo>
                    <a:pt x="315779" y="224288"/>
                  </a:lnTo>
                  <a:lnTo>
                    <a:pt x="290151" y="215647"/>
                  </a:lnTo>
                  <a:lnTo>
                    <a:pt x="271918" y="209497"/>
                  </a:lnTo>
                  <a:lnTo>
                    <a:pt x="252461" y="203065"/>
                  </a:lnTo>
                  <a:lnTo>
                    <a:pt x="232715" y="196541"/>
                  </a:lnTo>
                  <a:lnTo>
                    <a:pt x="217227" y="191414"/>
                  </a:lnTo>
                  <a:lnTo>
                    <a:pt x="197931" y="185031"/>
                  </a:lnTo>
                  <a:lnTo>
                    <a:pt x="181145" y="179481"/>
                  </a:lnTo>
                  <a:lnTo>
                    <a:pt x="178833" y="178120"/>
                  </a:lnTo>
                  <a:lnTo>
                    <a:pt x="169531" y="169643"/>
                  </a:lnTo>
                  <a:lnTo>
                    <a:pt x="157314" y="158497"/>
                  </a:lnTo>
                  <a:lnTo>
                    <a:pt x="154978" y="158299"/>
                  </a:lnTo>
                  <a:lnTo>
                    <a:pt x="149142" y="155985"/>
                  </a:lnTo>
                  <a:lnTo>
                    <a:pt x="143918" y="149961"/>
                  </a:lnTo>
                  <a:lnTo>
                    <a:pt x="138518" y="142265"/>
                  </a:lnTo>
                  <a:lnTo>
                    <a:pt x="133502" y="132636"/>
                  </a:lnTo>
                  <a:lnTo>
                    <a:pt x="131321" y="126071"/>
                  </a:lnTo>
                  <a:lnTo>
                    <a:pt x="124646" y="123306"/>
                  </a:lnTo>
                  <a:lnTo>
                    <a:pt x="121437" y="118140"/>
                  </a:lnTo>
                  <a:lnTo>
                    <a:pt x="115381" y="110468"/>
                  </a:lnTo>
                  <a:lnTo>
                    <a:pt x="111181" y="106745"/>
                  </a:lnTo>
                  <a:lnTo>
                    <a:pt x="109689" y="103496"/>
                  </a:lnTo>
                  <a:lnTo>
                    <a:pt x="107753" y="96778"/>
                  </a:lnTo>
                  <a:lnTo>
                    <a:pt x="104287" y="89466"/>
                  </a:lnTo>
                  <a:lnTo>
                    <a:pt x="100973" y="84926"/>
                  </a:lnTo>
                  <a:lnTo>
                    <a:pt x="100215" y="82984"/>
                  </a:lnTo>
                  <a:lnTo>
                    <a:pt x="100400" y="81703"/>
                  </a:lnTo>
                  <a:lnTo>
                    <a:pt x="106531" y="71790"/>
                  </a:lnTo>
                  <a:lnTo>
                    <a:pt x="109296" y="68249"/>
                  </a:lnTo>
                  <a:lnTo>
                    <a:pt x="112443" y="64820"/>
                  </a:lnTo>
                  <a:lnTo>
                    <a:pt x="115006" y="61403"/>
                  </a:lnTo>
                  <a:lnTo>
                    <a:pt x="115989" y="59062"/>
                  </a:lnTo>
                  <a:lnTo>
                    <a:pt x="123444" y="47372"/>
                  </a:lnTo>
                  <a:lnTo>
                    <a:pt x="130003" y="37095"/>
                  </a:lnTo>
                  <a:close/>
                  <a:moveTo>
                    <a:pt x="582089" y="0"/>
                  </a:moveTo>
                  <a:lnTo>
                    <a:pt x="605722" y="8513"/>
                  </a:lnTo>
                  <a:lnTo>
                    <a:pt x="609485" y="9188"/>
                  </a:lnTo>
                  <a:lnTo>
                    <a:pt x="608122" y="14333"/>
                  </a:lnTo>
                  <a:lnTo>
                    <a:pt x="607313" y="19578"/>
                  </a:lnTo>
                  <a:lnTo>
                    <a:pt x="602464" y="28730"/>
                  </a:lnTo>
                  <a:lnTo>
                    <a:pt x="599381" y="38898"/>
                  </a:lnTo>
                  <a:lnTo>
                    <a:pt x="601631" y="54423"/>
                  </a:lnTo>
                  <a:lnTo>
                    <a:pt x="602719" y="79580"/>
                  </a:lnTo>
                  <a:lnTo>
                    <a:pt x="602164" y="83231"/>
                  </a:lnTo>
                  <a:lnTo>
                    <a:pt x="600603" y="86828"/>
                  </a:lnTo>
                  <a:lnTo>
                    <a:pt x="599949" y="89659"/>
                  </a:lnTo>
                  <a:lnTo>
                    <a:pt x="597399" y="90653"/>
                  </a:lnTo>
                  <a:lnTo>
                    <a:pt x="596277" y="92279"/>
                  </a:lnTo>
                  <a:lnTo>
                    <a:pt x="598133" y="92927"/>
                  </a:lnTo>
                  <a:lnTo>
                    <a:pt x="605542" y="90187"/>
                  </a:lnTo>
                  <a:lnTo>
                    <a:pt x="605381" y="87187"/>
                  </a:lnTo>
                  <a:lnTo>
                    <a:pt x="605821" y="85703"/>
                  </a:lnTo>
                  <a:lnTo>
                    <a:pt x="611904" y="89051"/>
                  </a:lnTo>
                  <a:lnTo>
                    <a:pt x="616254" y="90455"/>
                  </a:lnTo>
                  <a:lnTo>
                    <a:pt x="617505" y="93607"/>
                  </a:lnTo>
                  <a:lnTo>
                    <a:pt x="617167" y="95766"/>
                  </a:lnTo>
                  <a:lnTo>
                    <a:pt x="610272" y="94772"/>
                  </a:lnTo>
                  <a:lnTo>
                    <a:pt x="606758" y="93101"/>
                  </a:lnTo>
                  <a:lnTo>
                    <a:pt x="596518" y="95849"/>
                  </a:lnTo>
                  <a:lnTo>
                    <a:pt x="590248" y="98817"/>
                  </a:lnTo>
                  <a:lnTo>
                    <a:pt x="588375" y="103751"/>
                  </a:lnTo>
                  <a:lnTo>
                    <a:pt x="586910" y="123427"/>
                  </a:lnTo>
                  <a:lnTo>
                    <a:pt x="584489" y="136204"/>
                  </a:lnTo>
                  <a:lnTo>
                    <a:pt x="584025" y="153076"/>
                  </a:lnTo>
                  <a:lnTo>
                    <a:pt x="575743" y="164246"/>
                  </a:lnTo>
                  <a:lnTo>
                    <a:pt x="572950" y="172121"/>
                  </a:lnTo>
                  <a:lnTo>
                    <a:pt x="560618" y="187884"/>
                  </a:lnTo>
                  <a:lnTo>
                    <a:pt x="554186" y="201349"/>
                  </a:lnTo>
                  <a:lnTo>
                    <a:pt x="552086" y="207922"/>
                  </a:lnTo>
                  <a:lnTo>
                    <a:pt x="541252" y="226385"/>
                  </a:lnTo>
                  <a:lnTo>
                    <a:pt x="526399" y="240525"/>
                  </a:lnTo>
                  <a:lnTo>
                    <a:pt x="521021" y="258581"/>
                  </a:lnTo>
                  <a:lnTo>
                    <a:pt x="515688" y="269898"/>
                  </a:lnTo>
                  <a:lnTo>
                    <a:pt x="509696" y="280173"/>
                  </a:lnTo>
                  <a:lnTo>
                    <a:pt x="496576" y="298414"/>
                  </a:lnTo>
                  <a:lnTo>
                    <a:pt x="489850" y="311100"/>
                  </a:lnTo>
                  <a:lnTo>
                    <a:pt x="481421" y="333077"/>
                  </a:lnTo>
                  <a:lnTo>
                    <a:pt x="478855" y="347003"/>
                  </a:lnTo>
                  <a:lnTo>
                    <a:pt x="455147" y="387369"/>
                  </a:lnTo>
                  <a:lnTo>
                    <a:pt x="430563" y="419538"/>
                  </a:lnTo>
                  <a:lnTo>
                    <a:pt x="415242" y="446583"/>
                  </a:lnTo>
                  <a:lnTo>
                    <a:pt x="387768" y="477957"/>
                  </a:lnTo>
                  <a:lnTo>
                    <a:pt x="350298" y="518438"/>
                  </a:lnTo>
                  <a:lnTo>
                    <a:pt x="301278" y="566480"/>
                  </a:lnTo>
                  <a:lnTo>
                    <a:pt x="287957" y="576278"/>
                  </a:lnTo>
                  <a:lnTo>
                    <a:pt x="234295" y="605887"/>
                  </a:lnTo>
                  <a:lnTo>
                    <a:pt x="199498" y="630720"/>
                  </a:lnTo>
                  <a:lnTo>
                    <a:pt x="181729" y="647605"/>
                  </a:lnTo>
                  <a:lnTo>
                    <a:pt x="163065" y="662300"/>
                  </a:lnTo>
                  <a:lnTo>
                    <a:pt x="148263" y="676290"/>
                  </a:lnTo>
                  <a:lnTo>
                    <a:pt x="103513" y="723515"/>
                  </a:lnTo>
                  <a:lnTo>
                    <a:pt x="98898" y="727964"/>
                  </a:lnTo>
                  <a:lnTo>
                    <a:pt x="94548" y="732151"/>
                  </a:lnTo>
                  <a:lnTo>
                    <a:pt x="88912" y="740152"/>
                  </a:lnTo>
                  <a:lnTo>
                    <a:pt x="84993" y="743320"/>
                  </a:lnTo>
                  <a:lnTo>
                    <a:pt x="74303" y="756820"/>
                  </a:lnTo>
                  <a:lnTo>
                    <a:pt x="67628" y="763819"/>
                  </a:lnTo>
                  <a:lnTo>
                    <a:pt x="60144" y="770743"/>
                  </a:lnTo>
                  <a:lnTo>
                    <a:pt x="56968" y="775632"/>
                  </a:lnTo>
                  <a:lnTo>
                    <a:pt x="54718" y="781259"/>
                  </a:lnTo>
                  <a:lnTo>
                    <a:pt x="52227" y="784391"/>
                  </a:lnTo>
                  <a:lnTo>
                    <a:pt x="45477" y="797818"/>
                  </a:lnTo>
                  <a:lnTo>
                    <a:pt x="39541" y="806609"/>
                  </a:lnTo>
                  <a:lnTo>
                    <a:pt x="33659" y="813530"/>
                  </a:lnTo>
                  <a:lnTo>
                    <a:pt x="33948" y="808664"/>
                  </a:lnTo>
                  <a:lnTo>
                    <a:pt x="33016" y="806239"/>
                  </a:lnTo>
                  <a:lnTo>
                    <a:pt x="27394" y="798967"/>
                  </a:lnTo>
                  <a:lnTo>
                    <a:pt x="16902" y="785403"/>
                  </a:lnTo>
                  <a:lnTo>
                    <a:pt x="8965" y="775152"/>
                  </a:lnTo>
                  <a:lnTo>
                    <a:pt x="847" y="764658"/>
                  </a:lnTo>
                  <a:lnTo>
                    <a:pt x="817" y="756271"/>
                  </a:lnTo>
                  <a:lnTo>
                    <a:pt x="718" y="731313"/>
                  </a:lnTo>
                  <a:lnTo>
                    <a:pt x="523" y="681398"/>
                  </a:lnTo>
                  <a:lnTo>
                    <a:pt x="332" y="631478"/>
                  </a:lnTo>
                  <a:lnTo>
                    <a:pt x="134" y="581547"/>
                  </a:lnTo>
                  <a:lnTo>
                    <a:pt x="38" y="556572"/>
                  </a:lnTo>
                  <a:lnTo>
                    <a:pt x="0" y="546362"/>
                  </a:lnTo>
                  <a:lnTo>
                    <a:pt x="847" y="544712"/>
                  </a:lnTo>
                  <a:lnTo>
                    <a:pt x="10101" y="535546"/>
                  </a:lnTo>
                  <a:lnTo>
                    <a:pt x="22350" y="523417"/>
                  </a:lnTo>
                  <a:lnTo>
                    <a:pt x="38443" y="500363"/>
                  </a:lnTo>
                  <a:lnTo>
                    <a:pt x="47178" y="487841"/>
                  </a:lnTo>
                  <a:lnTo>
                    <a:pt x="54463" y="477395"/>
                  </a:lnTo>
                  <a:lnTo>
                    <a:pt x="56322" y="474218"/>
                  </a:lnTo>
                  <a:lnTo>
                    <a:pt x="62764" y="467891"/>
                  </a:lnTo>
                  <a:lnTo>
                    <a:pt x="74863" y="464112"/>
                  </a:lnTo>
                  <a:lnTo>
                    <a:pt x="82371" y="463482"/>
                  </a:lnTo>
                  <a:lnTo>
                    <a:pt x="108222" y="458749"/>
                  </a:lnTo>
                  <a:lnTo>
                    <a:pt x="112073" y="456839"/>
                  </a:lnTo>
                  <a:lnTo>
                    <a:pt x="114329" y="454651"/>
                  </a:lnTo>
                  <a:lnTo>
                    <a:pt x="116474" y="449653"/>
                  </a:lnTo>
                  <a:lnTo>
                    <a:pt x="121513" y="442648"/>
                  </a:lnTo>
                  <a:lnTo>
                    <a:pt x="128008" y="437832"/>
                  </a:lnTo>
                  <a:lnTo>
                    <a:pt x="140345" y="431546"/>
                  </a:lnTo>
                  <a:lnTo>
                    <a:pt x="152444" y="426208"/>
                  </a:lnTo>
                  <a:lnTo>
                    <a:pt x="155123" y="425337"/>
                  </a:lnTo>
                  <a:lnTo>
                    <a:pt x="169676" y="421986"/>
                  </a:lnTo>
                  <a:lnTo>
                    <a:pt x="173246" y="420837"/>
                  </a:lnTo>
                  <a:lnTo>
                    <a:pt x="179133" y="419664"/>
                  </a:lnTo>
                  <a:lnTo>
                    <a:pt x="181458" y="419637"/>
                  </a:lnTo>
                  <a:lnTo>
                    <a:pt x="201679" y="420813"/>
                  </a:lnTo>
                  <a:lnTo>
                    <a:pt x="217498" y="421729"/>
                  </a:lnTo>
                  <a:lnTo>
                    <a:pt x="233787" y="422669"/>
                  </a:lnTo>
                  <a:lnTo>
                    <a:pt x="235498" y="421951"/>
                  </a:lnTo>
                  <a:lnTo>
                    <a:pt x="246887" y="409501"/>
                  </a:lnTo>
                  <a:lnTo>
                    <a:pt x="264989" y="389680"/>
                  </a:lnTo>
                  <a:lnTo>
                    <a:pt x="276547" y="377037"/>
                  </a:lnTo>
                  <a:lnTo>
                    <a:pt x="294397" y="357489"/>
                  </a:lnTo>
                  <a:lnTo>
                    <a:pt x="308127" y="343374"/>
                  </a:lnTo>
                  <a:lnTo>
                    <a:pt x="323301" y="327758"/>
                  </a:lnTo>
                  <a:lnTo>
                    <a:pt x="338038" y="313484"/>
                  </a:lnTo>
                  <a:lnTo>
                    <a:pt x="355770" y="296301"/>
                  </a:lnTo>
                  <a:lnTo>
                    <a:pt x="366940" y="285477"/>
                  </a:lnTo>
                  <a:lnTo>
                    <a:pt x="384297" y="268650"/>
                  </a:lnTo>
                  <a:lnTo>
                    <a:pt x="400810" y="252638"/>
                  </a:lnTo>
                  <a:lnTo>
                    <a:pt x="415416" y="238471"/>
                  </a:lnTo>
                  <a:lnTo>
                    <a:pt x="424213" y="225051"/>
                  </a:lnTo>
                  <a:lnTo>
                    <a:pt x="432862" y="211862"/>
                  </a:lnTo>
                  <a:lnTo>
                    <a:pt x="442092" y="197768"/>
                  </a:lnTo>
                  <a:lnTo>
                    <a:pt x="453227" y="180759"/>
                  </a:lnTo>
                  <a:lnTo>
                    <a:pt x="463708" y="164752"/>
                  </a:lnTo>
                  <a:lnTo>
                    <a:pt x="472266" y="151667"/>
                  </a:lnTo>
                  <a:lnTo>
                    <a:pt x="472266" y="144952"/>
                  </a:lnTo>
                  <a:lnTo>
                    <a:pt x="472279" y="130397"/>
                  </a:lnTo>
                  <a:lnTo>
                    <a:pt x="472279" y="120478"/>
                  </a:lnTo>
                  <a:lnTo>
                    <a:pt x="472284" y="92970"/>
                  </a:lnTo>
                  <a:lnTo>
                    <a:pt x="472290" y="76146"/>
                  </a:lnTo>
                  <a:lnTo>
                    <a:pt x="472290" y="60083"/>
                  </a:lnTo>
                  <a:lnTo>
                    <a:pt x="472295" y="43526"/>
                  </a:lnTo>
                  <a:lnTo>
                    <a:pt x="479613" y="42785"/>
                  </a:lnTo>
                  <a:lnTo>
                    <a:pt x="498931" y="38475"/>
                  </a:lnTo>
                  <a:lnTo>
                    <a:pt x="513963" y="31982"/>
                  </a:lnTo>
                  <a:lnTo>
                    <a:pt x="541680" y="27281"/>
                  </a:lnTo>
                  <a:lnTo>
                    <a:pt x="562774" y="15383"/>
                  </a:lnTo>
                  <a:lnTo>
                    <a:pt x="566454" y="9640"/>
                  </a:lnTo>
                  <a:lnTo>
                    <a:pt x="572826" y="2397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26" name="ee4p_ST_1_82333">
              <a:extLst>
                <a:ext uri="{FF2B5EF4-FFF2-40B4-BE49-F238E27FC236}">
                  <a16:creationId xmlns:a16="http://schemas.microsoft.com/office/drawing/2014/main" id="{BAB4404C-E71D-CB8E-BE0B-2D419E918428}"/>
                </a:ext>
              </a:extLst>
            </p:cNvPr>
            <p:cNvSpPr>
              <a:spLocks noChangeAspect="1"/>
            </p:cNvSpPr>
            <p:nvPr>
              <p:custDataLst>
                <p:tags r:id="rId154"/>
              </p:custDataLst>
            </p:nvPr>
          </p:nvSpPr>
          <p:spPr>
            <a:xfrm>
              <a:off x="6694317" y="4629217"/>
              <a:ext cx="27330" cy="47121"/>
            </a:xfrm>
            <a:custGeom>
              <a:avLst/>
              <a:gdLst>
                <a:gd name="connsiteX0" fmla="*/ 12956 w 58290"/>
                <a:gd name="connsiteY0" fmla="*/ 76692 h 97839"/>
                <a:gd name="connsiteX1" fmla="*/ 16679 w 58290"/>
                <a:gd name="connsiteY1" fmla="*/ 81358 h 97839"/>
                <a:gd name="connsiteX2" fmla="*/ 16692 w 58290"/>
                <a:gd name="connsiteY2" fmla="*/ 86225 h 97839"/>
                <a:gd name="connsiteX3" fmla="*/ 11360 w 58290"/>
                <a:gd name="connsiteY3" fmla="*/ 93497 h 97839"/>
                <a:gd name="connsiteX4" fmla="*/ 5253 w 58290"/>
                <a:gd name="connsiteY4" fmla="*/ 97839 h 97839"/>
                <a:gd name="connsiteX5" fmla="*/ 3054 w 58290"/>
                <a:gd name="connsiteY5" fmla="*/ 96717 h 97839"/>
                <a:gd name="connsiteX6" fmla="*/ 1706 w 58290"/>
                <a:gd name="connsiteY6" fmla="*/ 93693 h 97839"/>
                <a:gd name="connsiteX7" fmla="*/ 0 w 58290"/>
                <a:gd name="connsiteY7" fmla="*/ 87179 h 97839"/>
                <a:gd name="connsiteX8" fmla="*/ 555 w 58290"/>
                <a:gd name="connsiteY8" fmla="*/ 84053 h 97839"/>
                <a:gd name="connsiteX9" fmla="*/ 3327 w 58290"/>
                <a:gd name="connsiteY9" fmla="*/ 80490 h 97839"/>
                <a:gd name="connsiteX10" fmla="*/ 9340 w 58290"/>
                <a:gd name="connsiteY10" fmla="*/ 76939 h 97839"/>
                <a:gd name="connsiteX11" fmla="*/ 56046 w 58290"/>
                <a:gd name="connsiteY11" fmla="*/ 0 h 97839"/>
                <a:gd name="connsiteX12" fmla="*/ 57382 w 58290"/>
                <a:gd name="connsiteY12" fmla="*/ 951 h 97839"/>
                <a:gd name="connsiteX13" fmla="*/ 58175 w 58290"/>
                <a:gd name="connsiteY13" fmla="*/ 2199 h 97839"/>
                <a:gd name="connsiteX14" fmla="*/ 58290 w 58290"/>
                <a:gd name="connsiteY14" fmla="*/ 4028 h 97839"/>
                <a:gd name="connsiteX15" fmla="*/ 56600 w 58290"/>
                <a:gd name="connsiteY15" fmla="*/ 7783 h 97839"/>
                <a:gd name="connsiteX16" fmla="*/ 54398 w 58290"/>
                <a:gd name="connsiteY16" fmla="*/ 9334 h 97839"/>
                <a:gd name="connsiteX17" fmla="*/ 51776 w 58290"/>
                <a:gd name="connsiteY17" fmla="*/ 8030 h 97839"/>
                <a:gd name="connsiteX18" fmla="*/ 51082 w 58290"/>
                <a:gd name="connsiteY18" fmla="*/ 5670 h 97839"/>
                <a:gd name="connsiteX19" fmla="*/ 54455 w 58290"/>
                <a:gd name="connsiteY19" fmla="*/ 1122 h 97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58290" h="97839">
                  <a:moveTo>
                    <a:pt x="12956" y="76692"/>
                  </a:moveTo>
                  <a:lnTo>
                    <a:pt x="16679" y="81358"/>
                  </a:lnTo>
                  <a:lnTo>
                    <a:pt x="16692" y="86225"/>
                  </a:lnTo>
                  <a:lnTo>
                    <a:pt x="11360" y="93497"/>
                  </a:lnTo>
                  <a:lnTo>
                    <a:pt x="5253" y="97839"/>
                  </a:lnTo>
                  <a:lnTo>
                    <a:pt x="3054" y="96717"/>
                  </a:lnTo>
                  <a:lnTo>
                    <a:pt x="1706" y="93693"/>
                  </a:lnTo>
                  <a:lnTo>
                    <a:pt x="0" y="87179"/>
                  </a:lnTo>
                  <a:lnTo>
                    <a:pt x="555" y="84053"/>
                  </a:lnTo>
                  <a:lnTo>
                    <a:pt x="3327" y="80490"/>
                  </a:lnTo>
                  <a:lnTo>
                    <a:pt x="9340" y="76939"/>
                  </a:lnTo>
                  <a:close/>
                  <a:moveTo>
                    <a:pt x="56046" y="0"/>
                  </a:moveTo>
                  <a:lnTo>
                    <a:pt x="57382" y="951"/>
                  </a:lnTo>
                  <a:lnTo>
                    <a:pt x="58175" y="2199"/>
                  </a:lnTo>
                  <a:lnTo>
                    <a:pt x="58290" y="4028"/>
                  </a:lnTo>
                  <a:lnTo>
                    <a:pt x="56600" y="7783"/>
                  </a:lnTo>
                  <a:lnTo>
                    <a:pt x="54398" y="9334"/>
                  </a:lnTo>
                  <a:lnTo>
                    <a:pt x="51776" y="8030"/>
                  </a:lnTo>
                  <a:lnTo>
                    <a:pt x="51082" y="5670"/>
                  </a:lnTo>
                  <a:lnTo>
                    <a:pt x="54455" y="1122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27" name="ee4p_SZ_1_82333">
              <a:extLst>
                <a:ext uri="{FF2B5EF4-FFF2-40B4-BE49-F238E27FC236}">
                  <a16:creationId xmlns:a16="http://schemas.microsoft.com/office/drawing/2014/main" id="{442DAACB-E0B8-E473-7C6B-D96B5A5F1681}"/>
                </a:ext>
              </a:extLst>
            </p:cNvPr>
            <p:cNvSpPr>
              <a:spLocks noChangeAspect="1"/>
            </p:cNvSpPr>
            <p:nvPr>
              <p:custDataLst>
                <p:tags r:id="rId155"/>
              </p:custDataLst>
            </p:nvPr>
          </p:nvSpPr>
          <p:spPr>
            <a:xfrm>
              <a:off x="7369648" y="5428362"/>
              <a:ext cx="36808" cy="47953"/>
            </a:xfrm>
            <a:custGeom>
              <a:avLst/>
              <a:gdLst/>
              <a:ahLst/>
              <a:cxnLst/>
              <a:rect l="0" t="0" r="0" b="0"/>
              <a:pathLst>
                <a:path w="29309" h="37172">
                  <a:moveTo>
                    <a:pt x="25667" y="5073"/>
                  </a:moveTo>
                  <a:lnTo>
                    <a:pt x="26114" y="5420"/>
                  </a:lnTo>
                  <a:lnTo>
                    <a:pt x="28150" y="6510"/>
                  </a:lnTo>
                  <a:lnTo>
                    <a:pt x="28334" y="8682"/>
                  </a:lnTo>
                  <a:lnTo>
                    <a:pt x="28138" y="11165"/>
                  </a:lnTo>
                  <a:lnTo>
                    <a:pt x="27727" y="12734"/>
                  </a:lnTo>
                  <a:lnTo>
                    <a:pt x="27881" y="14295"/>
                  </a:lnTo>
                  <a:lnTo>
                    <a:pt x="28535" y="16728"/>
                  </a:lnTo>
                  <a:lnTo>
                    <a:pt x="29154" y="18393"/>
                  </a:lnTo>
                  <a:lnTo>
                    <a:pt x="29308" y="25977"/>
                  </a:lnTo>
                  <a:lnTo>
                    <a:pt x="28617" y="25629"/>
                  </a:lnTo>
                  <a:lnTo>
                    <a:pt x="27360" y="25304"/>
                  </a:lnTo>
                  <a:lnTo>
                    <a:pt x="26695" y="25455"/>
                  </a:lnTo>
                  <a:lnTo>
                    <a:pt x="26086" y="28857"/>
                  </a:lnTo>
                  <a:lnTo>
                    <a:pt x="25619" y="33925"/>
                  </a:lnTo>
                  <a:lnTo>
                    <a:pt x="25892" y="37074"/>
                  </a:lnTo>
                  <a:lnTo>
                    <a:pt x="21119" y="37171"/>
                  </a:lnTo>
                  <a:lnTo>
                    <a:pt x="15082" y="36827"/>
                  </a:lnTo>
                  <a:lnTo>
                    <a:pt x="10759" y="35466"/>
                  </a:lnTo>
                  <a:lnTo>
                    <a:pt x="6101" y="32465"/>
                  </a:lnTo>
                  <a:lnTo>
                    <a:pt x="3330" y="27792"/>
                  </a:lnTo>
                  <a:lnTo>
                    <a:pt x="2119" y="24858"/>
                  </a:lnTo>
                  <a:lnTo>
                    <a:pt x="426" y="24689"/>
                  </a:lnTo>
                  <a:lnTo>
                    <a:pt x="152" y="24190"/>
                  </a:lnTo>
                  <a:lnTo>
                    <a:pt x="0" y="20615"/>
                  </a:lnTo>
                  <a:lnTo>
                    <a:pt x="35" y="16862"/>
                  </a:lnTo>
                  <a:lnTo>
                    <a:pt x="350" y="15867"/>
                  </a:lnTo>
                  <a:lnTo>
                    <a:pt x="3488" y="11253"/>
                  </a:lnTo>
                  <a:lnTo>
                    <a:pt x="5436" y="8389"/>
                  </a:lnTo>
                  <a:lnTo>
                    <a:pt x="6647" y="5619"/>
                  </a:lnTo>
                  <a:lnTo>
                    <a:pt x="9284" y="2372"/>
                  </a:lnTo>
                  <a:lnTo>
                    <a:pt x="12111" y="298"/>
                  </a:lnTo>
                  <a:lnTo>
                    <a:pt x="13160" y="0"/>
                  </a:lnTo>
                  <a:lnTo>
                    <a:pt x="13879" y="86"/>
                  </a:lnTo>
                  <a:lnTo>
                    <a:pt x="18861" y="2938"/>
                  </a:lnTo>
                  <a:lnTo>
                    <a:pt x="23970" y="5641"/>
                  </a:lnTo>
                  <a:lnTo>
                    <a:pt x="25080" y="5337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28" name="ee4p_TD_1_82333">
              <a:extLst>
                <a:ext uri="{FF2B5EF4-FFF2-40B4-BE49-F238E27FC236}">
                  <a16:creationId xmlns:a16="http://schemas.microsoft.com/office/drawing/2014/main" id="{05253E8E-7950-494A-8CBA-41C8A3B24C28}"/>
                </a:ext>
              </a:extLst>
            </p:cNvPr>
            <p:cNvSpPr>
              <a:spLocks noChangeAspect="1"/>
            </p:cNvSpPr>
            <p:nvPr>
              <p:custDataLst>
                <p:tags r:id="rId156"/>
              </p:custDataLst>
            </p:nvPr>
          </p:nvSpPr>
          <p:spPr>
            <a:xfrm>
              <a:off x="6888149" y="3996629"/>
              <a:ext cx="292556" cy="467438"/>
            </a:xfrm>
            <a:custGeom>
              <a:avLst/>
              <a:gdLst/>
              <a:ahLst/>
              <a:cxnLst/>
              <a:rect l="0" t="0" r="0" b="0"/>
              <a:pathLst>
                <a:path w="232956" h="362344">
                  <a:moveTo>
                    <a:pt x="232886" y="91401"/>
                  </a:moveTo>
                  <a:lnTo>
                    <a:pt x="232894" y="101632"/>
                  </a:lnTo>
                  <a:lnTo>
                    <a:pt x="232903" y="111846"/>
                  </a:lnTo>
                  <a:lnTo>
                    <a:pt x="232911" y="122043"/>
                  </a:lnTo>
                  <a:lnTo>
                    <a:pt x="232920" y="132225"/>
                  </a:lnTo>
                  <a:lnTo>
                    <a:pt x="232929" y="142390"/>
                  </a:lnTo>
                  <a:lnTo>
                    <a:pt x="232935" y="152540"/>
                  </a:lnTo>
                  <a:lnTo>
                    <a:pt x="232944" y="162674"/>
                  </a:lnTo>
                  <a:lnTo>
                    <a:pt x="232952" y="172794"/>
                  </a:lnTo>
                  <a:lnTo>
                    <a:pt x="232955" y="176147"/>
                  </a:lnTo>
                  <a:lnTo>
                    <a:pt x="232676" y="177476"/>
                  </a:lnTo>
                  <a:lnTo>
                    <a:pt x="232553" y="177659"/>
                  </a:lnTo>
                  <a:lnTo>
                    <a:pt x="232128" y="177884"/>
                  </a:lnTo>
                  <a:lnTo>
                    <a:pt x="226869" y="176945"/>
                  </a:lnTo>
                  <a:lnTo>
                    <a:pt x="224565" y="176922"/>
                  </a:lnTo>
                  <a:lnTo>
                    <a:pt x="221337" y="177647"/>
                  </a:lnTo>
                  <a:lnTo>
                    <a:pt x="216593" y="178027"/>
                  </a:lnTo>
                  <a:lnTo>
                    <a:pt x="213535" y="177906"/>
                  </a:lnTo>
                  <a:lnTo>
                    <a:pt x="211413" y="179644"/>
                  </a:lnTo>
                  <a:lnTo>
                    <a:pt x="209748" y="181744"/>
                  </a:lnTo>
                  <a:lnTo>
                    <a:pt x="210536" y="186764"/>
                  </a:lnTo>
                  <a:lnTo>
                    <a:pt x="210354" y="188420"/>
                  </a:lnTo>
                  <a:lnTo>
                    <a:pt x="209713" y="190139"/>
                  </a:lnTo>
                  <a:lnTo>
                    <a:pt x="208273" y="191620"/>
                  </a:lnTo>
                  <a:lnTo>
                    <a:pt x="206835" y="192800"/>
                  </a:lnTo>
                  <a:lnTo>
                    <a:pt x="205975" y="193834"/>
                  </a:lnTo>
                  <a:lnTo>
                    <a:pt x="204906" y="196101"/>
                  </a:lnTo>
                  <a:lnTo>
                    <a:pt x="204116" y="197162"/>
                  </a:lnTo>
                  <a:lnTo>
                    <a:pt x="204187" y="198582"/>
                  </a:lnTo>
                  <a:lnTo>
                    <a:pt x="203932" y="200076"/>
                  </a:lnTo>
                  <a:lnTo>
                    <a:pt x="203068" y="200853"/>
                  </a:lnTo>
                  <a:lnTo>
                    <a:pt x="200862" y="201425"/>
                  </a:lnTo>
                  <a:lnTo>
                    <a:pt x="199441" y="202089"/>
                  </a:lnTo>
                  <a:lnTo>
                    <a:pt x="198301" y="203176"/>
                  </a:lnTo>
                  <a:lnTo>
                    <a:pt x="197534" y="203960"/>
                  </a:lnTo>
                  <a:lnTo>
                    <a:pt x="197936" y="205005"/>
                  </a:lnTo>
                  <a:lnTo>
                    <a:pt x="198495" y="206426"/>
                  </a:lnTo>
                  <a:lnTo>
                    <a:pt x="198813" y="208662"/>
                  </a:lnTo>
                  <a:lnTo>
                    <a:pt x="199033" y="209969"/>
                  </a:lnTo>
                  <a:lnTo>
                    <a:pt x="200117" y="211033"/>
                  </a:lnTo>
                  <a:lnTo>
                    <a:pt x="200778" y="211796"/>
                  </a:lnTo>
                  <a:lnTo>
                    <a:pt x="201007" y="212729"/>
                  </a:lnTo>
                  <a:lnTo>
                    <a:pt x="200374" y="213505"/>
                  </a:lnTo>
                  <a:lnTo>
                    <a:pt x="197681" y="215127"/>
                  </a:lnTo>
                  <a:lnTo>
                    <a:pt x="196601" y="215728"/>
                  </a:lnTo>
                  <a:lnTo>
                    <a:pt x="195366" y="216551"/>
                  </a:lnTo>
                  <a:lnTo>
                    <a:pt x="194893" y="216858"/>
                  </a:lnTo>
                  <a:lnTo>
                    <a:pt x="192926" y="218393"/>
                  </a:lnTo>
                  <a:lnTo>
                    <a:pt x="191933" y="219755"/>
                  </a:lnTo>
                  <a:lnTo>
                    <a:pt x="191451" y="220889"/>
                  </a:lnTo>
                  <a:lnTo>
                    <a:pt x="191477" y="222455"/>
                  </a:lnTo>
                  <a:lnTo>
                    <a:pt x="192479" y="224795"/>
                  </a:lnTo>
                  <a:lnTo>
                    <a:pt x="193572" y="226784"/>
                  </a:lnTo>
                  <a:lnTo>
                    <a:pt x="193993" y="228280"/>
                  </a:lnTo>
                  <a:lnTo>
                    <a:pt x="194241" y="229919"/>
                  </a:lnTo>
                  <a:lnTo>
                    <a:pt x="194142" y="231476"/>
                  </a:lnTo>
                  <a:lnTo>
                    <a:pt x="193578" y="232832"/>
                  </a:lnTo>
                  <a:lnTo>
                    <a:pt x="192591" y="234053"/>
                  </a:lnTo>
                  <a:lnTo>
                    <a:pt x="188881" y="236347"/>
                  </a:lnTo>
                  <a:lnTo>
                    <a:pt x="187057" y="238867"/>
                  </a:lnTo>
                  <a:lnTo>
                    <a:pt x="185599" y="241929"/>
                  </a:lnTo>
                  <a:lnTo>
                    <a:pt x="185234" y="243597"/>
                  </a:lnTo>
                  <a:lnTo>
                    <a:pt x="185634" y="244705"/>
                  </a:lnTo>
                  <a:lnTo>
                    <a:pt x="186402" y="245645"/>
                  </a:lnTo>
                  <a:lnTo>
                    <a:pt x="187508" y="246122"/>
                  </a:lnTo>
                  <a:lnTo>
                    <a:pt x="189112" y="246263"/>
                  </a:lnTo>
                  <a:lnTo>
                    <a:pt x="191777" y="245753"/>
                  </a:lnTo>
                  <a:lnTo>
                    <a:pt x="194259" y="245418"/>
                  </a:lnTo>
                  <a:lnTo>
                    <a:pt x="196889" y="246520"/>
                  </a:lnTo>
                  <a:lnTo>
                    <a:pt x="198262" y="249081"/>
                  </a:lnTo>
                  <a:lnTo>
                    <a:pt x="197726" y="250954"/>
                  </a:lnTo>
                  <a:lnTo>
                    <a:pt x="198722" y="254345"/>
                  </a:lnTo>
                  <a:lnTo>
                    <a:pt x="199611" y="258444"/>
                  </a:lnTo>
                  <a:lnTo>
                    <a:pt x="199545" y="259823"/>
                  </a:lnTo>
                  <a:lnTo>
                    <a:pt x="199929" y="260339"/>
                  </a:lnTo>
                  <a:lnTo>
                    <a:pt x="201577" y="260603"/>
                  </a:lnTo>
                  <a:lnTo>
                    <a:pt x="201944" y="261564"/>
                  </a:lnTo>
                  <a:lnTo>
                    <a:pt x="201400" y="268751"/>
                  </a:lnTo>
                  <a:lnTo>
                    <a:pt x="202168" y="270760"/>
                  </a:lnTo>
                  <a:lnTo>
                    <a:pt x="203272" y="272192"/>
                  </a:lnTo>
                  <a:lnTo>
                    <a:pt x="204518" y="272937"/>
                  </a:lnTo>
                  <a:lnTo>
                    <a:pt x="205770" y="273897"/>
                  </a:lnTo>
                  <a:lnTo>
                    <a:pt x="206420" y="274566"/>
                  </a:lnTo>
                  <a:lnTo>
                    <a:pt x="207871" y="274716"/>
                  </a:lnTo>
                  <a:lnTo>
                    <a:pt x="209499" y="276023"/>
                  </a:lnTo>
                  <a:lnTo>
                    <a:pt x="209944" y="277763"/>
                  </a:lnTo>
                  <a:lnTo>
                    <a:pt x="209832" y="279445"/>
                  </a:lnTo>
                  <a:lnTo>
                    <a:pt x="208884" y="283094"/>
                  </a:lnTo>
                  <a:lnTo>
                    <a:pt x="208115" y="285540"/>
                  </a:lnTo>
                  <a:lnTo>
                    <a:pt x="207171" y="285372"/>
                  </a:lnTo>
                  <a:lnTo>
                    <a:pt x="205243" y="284771"/>
                  </a:lnTo>
                  <a:lnTo>
                    <a:pt x="202896" y="284250"/>
                  </a:lnTo>
                  <a:lnTo>
                    <a:pt x="200017" y="283827"/>
                  </a:lnTo>
                  <a:lnTo>
                    <a:pt x="197275" y="284828"/>
                  </a:lnTo>
                  <a:lnTo>
                    <a:pt x="194314" y="286111"/>
                  </a:lnTo>
                  <a:lnTo>
                    <a:pt x="193380" y="287068"/>
                  </a:lnTo>
                  <a:lnTo>
                    <a:pt x="192552" y="287634"/>
                  </a:lnTo>
                  <a:lnTo>
                    <a:pt x="191246" y="287545"/>
                  </a:lnTo>
                  <a:lnTo>
                    <a:pt x="190052" y="287709"/>
                  </a:lnTo>
                  <a:lnTo>
                    <a:pt x="189402" y="288619"/>
                  </a:lnTo>
                  <a:lnTo>
                    <a:pt x="188320" y="289634"/>
                  </a:lnTo>
                  <a:lnTo>
                    <a:pt x="184044" y="291732"/>
                  </a:lnTo>
                  <a:lnTo>
                    <a:pt x="183142" y="292495"/>
                  </a:lnTo>
                  <a:lnTo>
                    <a:pt x="182608" y="293253"/>
                  </a:lnTo>
                  <a:lnTo>
                    <a:pt x="182608" y="294078"/>
                  </a:lnTo>
                  <a:lnTo>
                    <a:pt x="183043" y="295783"/>
                  </a:lnTo>
                  <a:lnTo>
                    <a:pt x="183034" y="297907"/>
                  </a:lnTo>
                  <a:lnTo>
                    <a:pt x="182081" y="299621"/>
                  </a:lnTo>
                  <a:lnTo>
                    <a:pt x="180976" y="300773"/>
                  </a:lnTo>
                  <a:lnTo>
                    <a:pt x="179717" y="301214"/>
                  </a:lnTo>
                  <a:lnTo>
                    <a:pt x="178661" y="301454"/>
                  </a:lnTo>
                  <a:lnTo>
                    <a:pt x="177972" y="302172"/>
                  </a:lnTo>
                  <a:lnTo>
                    <a:pt x="175741" y="306064"/>
                  </a:lnTo>
                  <a:lnTo>
                    <a:pt x="174779" y="306784"/>
                  </a:lnTo>
                  <a:lnTo>
                    <a:pt x="172820" y="306662"/>
                  </a:lnTo>
                  <a:lnTo>
                    <a:pt x="167195" y="312497"/>
                  </a:lnTo>
                  <a:lnTo>
                    <a:pt x="166635" y="314214"/>
                  </a:lnTo>
                  <a:lnTo>
                    <a:pt x="164575" y="316649"/>
                  </a:lnTo>
                  <a:lnTo>
                    <a:pt x="161971" y="319359"/>
                  </a:lnTo>
                  <a:lnTo>
                    <a:pt x="159648" y="320664"/>
                  </a:lnTo>
                  <a:lnTo>
                    <a:pt x="159460" y="321169"/>
                  </a:lnTo>
                  <a:lnTo>
                    <a:pt x="158836" y="321685"/>
                  </a:lnTo>
                  <a:lnTo>
                    <a:pt x="157408" y="322274"/>
                  </a:lnTo>
                  <a:lnTo>
                    <a:pt x="152437" y="325570"/>
                  </a:lnTo>
                  <a:lnTo>
                    <a:pt x="146480" y="325434"/>
                  </a:lnTo>
                  <a:lnTo>
                    <a:pt x="143845" y="326728"/>
                  </a:lnTo>
                  <a:lnTo>
                    <a:pt x="141284" y="327303"/>
                  </a:lnTo>
                  <a:lnTo>
                    <a:pt x="137540" y="327938"/>
                  </a:lnTo>
                  <a:lnTo>
                    <a:pt x="136415" y="327878"/>
                  </a:lnTo>
                  <a:lnTo>
                    <a:pt x="131612" y="328144"/>
                  </a:lnTo>
                  <a:lnTo>
                    <a:pt x="125979" y="328048"/>
                  </a:lnTo>
                  <a:lnTo>
                    <a:pt x="123819" y="328514"/>
                  </a:lnTo>
                  <a:lnTo>
                    <a:pt x="121794" y="329766"/>
                  </a:lnTo>
                  <a:lnTo>
                    <a:pt x="120291" y="330861"/>
                  </a:lnTo>
                  <a:lnTo>
                    <a:pt x="120070" y="331229"/>
                  </a:lnTo>
                  <a:lnTo>
                    <a:pt x="120297" y="331691"/>
                  </a:lnTo>
                  <a:lnTo>
                    <a:pt x="120241" y="332057"/>
                  </a:lnTo>
                  <a:lnTo>
                    <a:pt x="124180" y="334744"/>
                  </a:lnTo>
                  <a:lnTo>
                    <a:pt x="125165" y="336065"/>
                  </a:lnTo>
                  <a:lnTo>
                    <a:pt x="124173" y="337342"/>
                  </a:lnTo>
                  <a:lnTo>
                    <a:pt x="123698" y="337532"/>
                  </a:lnTo>
                  <a:lnTo>
                    <a:pt x="123642" y="337607"/>
                  </a:lnTo>
                  <a:lnTo>
                    <a:pt x="123001" y="338625"/>
                  </a:lnTo>
                  <a:lnTo>
                    <a:pt x="120692" y="341656"/>
                  </a:lnTo>
                  <a:lnTo>
                    <a:pt x="117177" y="345247"/>
                  </a:lnTo>
                  <a:lnTo>
                    <a:pt x="115380" y="346272"/>
                  </a:lnTo>
                  <a:lnTo>
                    <a:pt x="114659" y="346940"/>
                  </a:lnTo>
                  <a:lnTo>
                    <a:pt x="113731" y="349320"/>
                  </a:lnTo>
                  <a:lnTo>
                    <a:pt x="113124" y="349651"/>
                  </a:lnTo>
                  <a:lnTo>
                    <a:pt x="110712" y="349959"/>
                  </a:lnTo>
                  <a:lnTo>
                    <a:pt x="105931" y="350219"/>
                  </a:lnTo>
                  <a:lnTo>
                    <a:pt x="99325" y="350996"/>
                  </a:lnTo>
                  <a:lnTo>
                    <a:pt x="95361" y="351255"/>
                  </a:lnTo>
                  <a:lnTo>
                    <a:pt x="92897" y="351037"/>
                  </a:lnTo>
                  <a:lnTo>
                    <a:pt x="89431" y="352679"/>
                  </a:lnTo>
                  <a:lnTo>
                    <a:pt x="88187" y="353099"/>
                  </a:lnTo>
                  <a:lnTo>
                    <a:pt x="87429" y="353241"/>
                  </a:lnTo>
                  <a:lnTo>
                    <a:pt x="83998" y="354833"/>
                  </a:lnTo>
                  <a:lnTo>
                    <a:pt x="81145" y="357304"/>
                  </a:lnTo>
                  <a:lnTo>
                    <a:pt x="80128" y="357773"/>
                  </a:lnTo>
                  <a:lnTo>
                    <a:pt x="76112" y="358821"/>
                  </a:lnTo>
                  <a:lnTo>
                    <a:pt x="74516" y="360519"/>
                  </a:lnTo>
                  <a:lnTo>
                    <a:pt x="73778" y="360660"/>
                  </a:lnTo>
                  <a:lnTo>
                    <a:pt x="71204" y="358419"/>
                  </a:lnTo>
                  <a:lnTo>
                    <a:pt x="69448" y="356382"/>
                  </a:lnTo>
                  <a:lnTo>
                    <a:pt x="68591" y="354324"/>
                  </a:lnTo>
                  <a:lnTo>
                    <a:pt x="68483" y="353665"/>
                  </a:lnTo>
                  <a:lnTo>
                    <a:pt x="67995" y="353788"/>
                  </a:lnTo>
                  <a:lnTo>
                    <a:pt x="66583" y="354699"/>
                  </a:lnTo>
                  <a:lnTo>
                    <a:pt x="65367" y="355737"/>
                  </a:lnTo>
                  <a:lnTo>
                    <a:pt x="64803" y="357712"/>
                  </a:lnTo>
                  <a:lnTo>
                    <a:pt x="60651" y="359049"/>
                  </a:lnTo>
                  <a:lnTo>
                    <a:pt x="57103" y="360190"/>
                  </a:lnTo>
                  <a:lnTo>
                    <a:pt x="55488" y="361625"/>
                  </a:lnTo>
                  <a:lnTo>
                    <a:pt x="52998" y="362343"/>
                  </a:lnTo>
                  <a:lnTo>
                    <a:pt x="49819" y="362051"/>
                  </a:lnTo>
                  <a:lnTo>
                    <a:pt x="47342" y="361459"/>
                  </a:lnTo>
                  <a:lnTo>
                    <a:pt x="44928" y="361265"/>
                  </a:lnTo>
                  <a:lnTo>
                    <a:pt x="46086" y="359472"/>
                  </a:lnTo>
                  <a:lnTo>
                    <a:pt x="46533" y="358136"/>
                  </a:lnTo>
                  <a:lnTo>
                    <a:pt x="46647" y="356500"/>
                  </a:lnTo>
                  <a:lnTo>
                    <a:pt x="46470" y="355391"/>
                  </a:lnTo>
                  <a:lnTo>
                    <a:pt x="45025" y="354838"/>
                  </a:lnTo>
                  <a:lnTo>
                    <a:pt x="44108" y="353968"/>
                  </a:lnTo>
                  <a:lnTo>
                    <a:pt x="42030" y="348807"/>
                  </a:lnTo>
                  <a:lnTo>
                    <a:pt x="39892" y="343498"/>
                  </a:lnTo>
                  <a:lnTo>
                    <a:pt x="36882" y="338266"/>
                  </a:lnTo>
                  <a:lnTo>
                    <a:pt x="33604" y="334926"/>
                  </a:lnTo>
                  <a:lnTo>
                    <a:pt x="31233" y="332891"/>
                  </a:lnTo>
                  <a:lnTo>
                    <a:pt x="30471" y="332631"/>
                  </a:lnTo>
                  <a:lnTo>
                    <a:pt x="29255" y="331988"/>
                  </a:lnTo>
                  <a:lnTo>
                    <a:pt x="28405" y="331397"/>
                  </a:lnTo>
                  <a:lnTo>
                    <a:pt x="24056" y="327841"/>
                  </a:lnTo>
                  <a:lnTo>
                    <a:pt x="19549" y="323867"/>
                  </a:lnTo>
                  <a:lnTo>
                    <a:pt x="18394" y="322048"/>
                  </a:lnTo>
                  <a:lnTo>
                    <a:pt x="16135" y="319340"/>
                  </a:lnTo>
                  <a:lnTo>
                    <a:pt x="13619" y="316546"/>
                  </a:lnTo>
                  <a:lnTo>
                    <a:pt x="12311" y="315275"/>
                  </a:lnTo>
                  <a:lnTo>
                    <a:pt x="11698" y="312981"/>
                  </a:lnTo>
                  <a:lnTo>
                    <a:pt x="13438" y="310909"/>
                  </a:lnTo>
                  <a:lnTo>
                    <a:pt x="15291" y="308288"/>
                  </a:lnTo>
                  <a:lnTo>
                    <a:pt x="17579" y="306548"/>
                  </a:lnTo>
                  <a:lnTo>
                    <a:pt x="20542" y="306429"/>
                  </a:lnTo>
                  <a:lnTo>
                    <a:pt x="25422" y="307143"/>
                  </a:lnTo>
                  <a:lnTo>
                    <a:pt x="30683" y="307397"/>
                  </a:lnTo>
                  <a:lnTo>
                    <a:pt x="35895" y="306855"/>
                  </a:lnTo>
                  <a:lnTo>
                    <a:pt x="37247" y="306478"/>
                  </a:lnTo>
                  <a:lnTo>
                    <a:pt x="38584" y="306508"/>
                  </a:lnTo>
                  <a:lnTo>
                    <a:pt x="41389" y="307116"/>
                  </a:lnTo>
                  <a:lnTo>
                    <a:pt x="46273" y="306981"/>
                  </a:lnTo>
                  <a:lnTo>
                    <a:pt x="48793" y="305921"/>
                  </a:lnTo>
                  <a:lnTo>
                    <a:pt x="46075" y="304119"/>
                  </a:lnTo>
                  <a:lnTo>
                    <a:pt x="43155" y="301251"/>
                  </a:lnTo>
                  <a:lnTo>
                    <a:pt x="40417" y="298112"/>
                  </a:lnTo>
                  <a:lnTo>
                    <a:pt x="38757" y="295271"/>
                  </a:lnTo>
                  <a:lnTo>
                    <a:pt x="37236" y="291605"/>
                  </a:lnTo>
                  <a:lnTo>
                    <a:pt x="35831" y="287075"/>
                  </a:lnTo>
                  <a:lnTo>
                    <a:pt x="34973" y="281199"/>
                  </a:lnTo>
                  <a:lnTo>
                    <a:pt x="35103" y="277868"/>
                  </a:lnTo>
                  <a:lnTo>
                    <a:pt x="35539" y="275493"/>
                  </a:lnTo>
                  <a:lnTo>
                    <a:pt x="37010" y="271625"/>
                  </a:lnTo>
                  <a:lnTo>
                    <a:pt x="36038" y="269355"/>
                  </a:lnTo>
                  <a:lnTo>
                    <a:pt x="36252" y="267522"/>
                  </a:lnTo>
                  <a:lnTo>
                    <a:pt x="36109" y="264806"/>
                  </a:lnTo>
                  <a:lnTo>
                    <a:pt x="35636" y="263425"/>
                  </a:lnTo>
                  <a:lnTo>
                    <a:pt x="33734" y="258912"/>
                  </a:lnTo>
                  <a:lnTo>
                    <a:pt x="33356" y="258419"/>
                  </a:lnTo>
                  <a:lnTo>
                    <a:pt x="31674" y="255299"/>
                  </a:lnTo>
                  <a:lnTo>
                    <a:pt x="30931" y="250076"/>
                  </a:lnTo>
                  <a:lnTo>
                    <a:pt x="29033" y="246628"/>
                  </a:lnTo>
                  <a:lnTo>
                    <a:pt x="25982" y="244958"/>
                  </a:lnTo>
                  <a:lnTo>
                    <a:pt x="24246" y="242930"/>
                  </a:lnTo>
                  <a:lnTo>
                    <a:pt x="23615" y="239345"/>
                  </a:lnTo>
                  <a:lnTo>
                    <a:pt x="22410" y="238400"/>
                  </a:lnTo>
                  <a:lnTo>
                    <a:pt x="17614" y="237150"/>
                  </a:lnTo>
                  <a:lnTo>
                    <a:pt x="13615" y="237124"/>
                  </a:lnTo>
                  <a:lnTo>
                    <a:pt x="10704" y="233076"/>
                  </a:lnTo>
                  <a:lnTo>
                    <a:pt x="6970" y="227877"/>
                  </a:lnTo>
                  <a:lnTo>
                    <a:pt x="3496" y="223034"/>
                  </a:lnTo>
                  <a:lnTo>
                    <a:pt x="1272" y="213348"/>
                  </a:lnTo>
                  <a:lnTo>
                    <a:pt x="0" y="207793"/>
                  </a:lnTo>
                  <a:lnTo>
                    <a:pt x="1447" y="206103"/>
                  </a:lnTo>
                  <a:lnTo>
                    <a:pt x="4293" y="202147"/>
                  </a:lnTo>
                  <a:lnTo>
                    <a:pt x="7936" y="194571"/>
                  </a:lnTo>
                  <a:lnTo>
                    <a:pt x="16142" y="182838"/>
                  </a:lnTo>
                  <a:lnTo>
                    <a:pt x="20337" y="176828"/>
                  </a:lnTo>
                  <a:lnTo>
                    <a:pt x="28711" y="167839"/>
                  </a:lnTo>
                  <a:lnTo>
                    <a:pt x="39003" y="156776"/>
                  </a:lnTo>
                  <a:lnTo>
                    <a:pt x="44801" y="150536"/>
                  </a:lnTo>
                  <a:lnTo>
                    <a:pt x="45738" y="139152"/>
                  </a:lnTo>
                  <a:lnTo>
                    <a:pt x="46729" y="127095"/>
                  </a:lnTo>
                  <a:lnTo>
                    <a:pt x="47481" y="117963"/>
                  </a:lnTo>
                  <a:lnTo>
                    <a:pt x="48411" y="107124"/>
                  </a:lnTo>
                  <a:lnTo>
                    <a:pt x="49193" y="98052"/>
                  </a:lnTo>
                  <a:lnTo>
                    <a:pt x="49761" y="91434"/>
                  </a:lnTo>
                  <a:lnTo>
                    <a:pt x="50567" y="82040"/>
                  </a:lnTo>
                  <a:lnTo>
                    <a:pt x="51255" y="80234"/>
                  </a:lnTo>
                  <a:lnTo>
                    <a:pt x="55293" y="72855"/>
                  </a:lnTo>
                  <a:lnTo>
                    <a:pt x="55611" y="71864"/>
                  </a:lnTo>
                  <a:lnTo>
                    <a:pt x="54861" y="70628"/>
                  </a:lnTo>
                  <a:lnTo>
                    <a:pt x="49094" y="64346"/>
                  </a:lnTo>
                  <a:lnTo>
                    <a:pt x="47295" y="62940"/>
                  </a:lnTo>
                  <a:lnTo>
                    <a:pt x="46261" y="59672"/>
                  </a:lnTo>
                  <a:lnTo>
                    <a:pt x="47742" y="57837"/>
                  </a:lnTo>
                  <a:lnTo>
                    <a:pt x="40806" y="47270"/>
                  </a:lnTo>
                  <a:lnTo>
                    <a:pt x="39085" y="45976"/>
                  </a:lnTo>
                  <a:lnTo>
                    <a:pt x="38334" y="44681"/>
                  </a:lnTo>
                  <a:lnTo>
                    <a:pt x="38245" y="42772"/>
                  </a:lnTo>
                  <a:lnTo>
                    <a:pt x="38122" y="35443"/>
                  </a:lnTo>
                  <a:lnTo>
                    <a:pt x="36280" y="23922"/>
                  </a:lnTo>
                  <a:lnTo>
                    <a:pt x="33849" y="10474"/>
                  </a:lnTo>
                  <a:lnTo>
                    <a:pt x="41996" y="6639"/>
                  </a:lnTo>
                  <a:lnTo>
                    <a:pt x="48180" y="3722"/>
                  </a:lnTo>
                  <a:lnTo>
                    <a:pt x="56073" y="0"/>
                  </a:lnTo>
                  <a:lnTo>
                    <a:pt x="63391" y="3814"/>
                  </a:lnTo>
                  <a:lnTo>
                    <a:pt x="73985" y="9331"/>
                  </a:lnTo>
                  <a:lnTo>
                    <a:pt x="84579" y="14842"/>
                  </a:lnTo>
                  <a:lnTo>
                    <a:pt x="95171" y="20347"/>
                  </a:lnTo>
                  <a:lnTo>
                    <a:pt x="105765" y="25846"/>
                  </a:lnTo>
                  <a:lnTo>
                    <a:pt x="116359" y="31339"/>
                  </a:lnTo>
                  <a:lnTo>
                    <a:pt x="126950" y="36827"/>
                  </a:lnTo>
                  <a:lnTo>
                    <a:pt x="137544" y="42309"/>
                  </a:lnTo>
                  <a:lnTo>
                    <a:pt x="148138" y="47785"/>
                  </a:lnTo>
                  <a:lnTo>
                    <a:pt x="158732" y="53257"/>
                  </a:lnTo>
                  <a:lnTo>
                    <a:pt x="169326" y="58721"/>
                  </a:lnTo>
                  <a:lnTo>
                    <a:pt x="179920" y="64182"/>
                  </a:lnTo>
                  <a:lnTo>
                    <a:pt x="190514" y="69636"/>
                  </a:lnTo>
                  <a:lnTo>
                    <a:pt x="201106" y="75085"/>
                  </a:lnTo>
                  <a:lnTo>
                    <a:pt x="211700" y="80529"/>
                  </a:lnTo>
                  <a:lnTo>
                    <a:pt x="222294" y="85967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29" name="ee4p_TG_1_82333">
              <a:extLst>
                <a:ext uri="{FF2B5EF4-FFF2-40B4-BE49-F238E27FC236}">
                  <a16:creationId xmlns:a16="http://schemas.microsoft.com/office/drawing/2014/main" id="{051F4AA4-8A30-FDFA-5C70-9AC1F386CE87}"/>
                </a:ext>
              </a:extLst>
            </p:cNvPr>
            <p:cNvSpPr>
              <a:spLocks noChangeAspect="1"/>
            </p:cNvSpPr>
            <p:nvPr>
              <p:custDataLst>
                <p:tags r:id="rId157"/>
              </p:custDataLst>
            </p:nvPr>
          </p:nvSpPr>
          <p:spPr>
            <a:xfrm>
              <a:off x="6512196" y="4359331"/>
              <a:ext cx="51878" cy="144447"/>
            </a:xfrm>
            <a:custGeom>
              <a:avLst/>
              <a:gdLst/>
              <a:ahLst/>
              <a:cxnLst/>
              <a:rect l="0" t="0" r="0" b="0"/>
              <a:pathLst>
                <a:path w="41309" h="111971">
                  <a:moveTo>
                    <a:pt x="21906" y="2738"/>
                  </a:moveTo>
                  <a:lnTo>
                    <a:pt x="21338" y="5143"/>
                  </a:lnTo>
                  <a:lnTo>
                    <a:pt x="20167" y="8121"/>
                  </a:lnTo>
                  <a:lnTo>
                    <a:pt x="19407" y="9068"/>
                  </a:lnTo>
                  <a:lnTo>
                    <a:pt x="18874" y="16302"/>
                  </a:lnTo>
                  <a:lnTo>
                    <a:pt x="19241" y="16907"/>
                  </a:lnTo>
                  <a:lnTo>
                    <a:pt x="19511" y="17086"/>
                  </a:lnTo>
                  <a:lnTo>
                    <a:pt x="23184" y="19533"/>
                  </a:lnTo>
                  <a:lnTo>
                    <a:pt x="28002" y="22742"/>
                  </a:lnTo>
                  <a:lnTo>
                    <a:pt x="31405" y="25007"/>
                  </a:lnTo>
                  <a:lnTo>
                    <a:pt x="31688" y="25767"/>
                  </a:lnTo>
                  <a:lnTo>
                    <a:pt x="31737" y="30516"/>
                  </a:lnTo>
                  <a:lnTo>
                    <a:pt x="31781" y="34592"/>
                  </a:lnTo>
                  <a:lnTo>
                    <a:pt x="32485" y="36924"/>
                  </a:lnTo>
                  <a:lnTo>
                    <a:pt x="32636" y="39184"/>
                  </a:lnTo>
                  <a:lnTo>
                    <a:pt x="33489" y="40894"/>
                  </a:lnTo>
                  <a:lnTo>
                    <a:pt x="36629" y="44188"/>
                  </a:lnTo>
                  <a:lnTo>
                    <a:pt x="37378" y="46132"/>
                  </a:lnTo>
                  <a:lnTo>
                    <a:pt x="37458" y="52351"/>
                  </a:lnTo>
                  <a:lnTo>
                    <a:pt x="37520" y="57067"/>
                  </a:lnTo>
                  <a:lnTo>
                    <a:pt x="37918" y="63485"/>
                  </a:lnTo>
                  <a:lnTo>
                    <a:pt x="37918" y="68844"/>
                  </a:lnTo>
                  <a:lnTo>
                    <a:pt x="37918" y="75615"/>
                  </a:lnTo>
                  <a:lnTo>
                    <a:pt x="37920" y="83546"/>
                  </a:lnTo>
                  <a:lnTo>
                    <a:pt x="37920" y="91810"/>
                  </a:lnTo>
                  <a:lnTo>
                    <a:pt x="35847" y="91919"/>
                  </a:lnTo>
                  <a:lnTo>
                    <a:pt x="36976" y="94483"/>
                  </a:lnTo>
                  <a:lnTo>
                    <a:pt x="37170" y="96809"/>
                  </a:lnTo>
                  <a:lnTo>
                    <a:pt x="37438" y="97569"/>
                  </a:lnTo>
                  <a:lnTo>
                    <a:pt x="36877" y="98694"/>
                  </a:lnTo>
                  <a:lnTo>
                    <a:pt x="37341" y="100409"/>
                  </a:lnTo>
                  <a:lnTo>
                    <a:pt x="38242" y="101045"/>
                  </a:lnTo>
                  <a:lnTo>
                    <a:pt x="40539" y="104493"/>
                  </a:lnTo>
                  <a:lnTo>
                    <a:pt x="41308" y="107415"/>
                  </a:lnTo>
                  <a:lnTo>
                    <a:pt x="37615" y="108387"/>
                  </a:lnTo>
                  <a:lnTo>
                    <a:pt x="37874" y="109143"/>
                  </a:lnTo>
                  <a:lnTo>
                    <a:pt x="30975" y="110695"/>
                  </a:lnTo>
                  <a:lnTo>
                    <a:pt x="28246" y="111970"/>
                  </a:lnTo>
                  <a:lnTo>
                    <a:pt x="28198" y="110736"/>
                  </a:lnTo>
                  <a:lnTo>
                    <a:pt x="27194" y="110514"/>
                  </a:lnTo>
                  <a:lnTo>
                    <a:pt x="25974" y="110097"/>
                  </a:lnTo>
                  <a:lnTo>
                    <a:pt x="25209" y="109457"/>
                  </a:lnTo>
                  <a:lnTo>
                    <a:pt x="24154" y="107994"/>
                  </a:lnTo>
                  <a:lnTo>
                    <a:pt x="23773" y="106845"/>
                  </a:lnTo>
                  <a:lnTo>
                    <a:pt x="22165" y="106662"/>
                  </a:lnTo>
                  <a:lnTo>
                    <a:pt x="20180" y="105378"/>
                  </a:lnTo>
                  <a:lnTo>
                    <a:pt x="18289" y="103909"/>
                  </a:lnTo>
                  <a:lnTo>
                    <a:pt x="17632" y="102439"/>
                  </a:lnTo>
                  <a:lnTo>
                    <a:pt x="17814" y="101761"/>
                  </a:lnTo>
                  <a:lnTo>
                    <a:pt x="17522" y="101063"/>
                  </a:lnTo>
                  <a:lnTo>
                    <a:pt x="16870" y="100801"/>
                  </a:lnTo>
                  <a:lnTo>
                    <a:pt x="15166" y="97478"/>
                  </a:lnTo>
                  <a:lnTo>
                    <a:pt x="14112" y="96138"/>
                  </a:lnTo>
                  <a:lnTo>
                    <a:pt x="13616" y="95062"/>
                  </a:lnTo>
                  <a:lnTo>
                    <a:pt x="13788" y="94231"/>
                  </a:lnTo>
                  <a:lnTo>
                    <a:pt x="13560" y="93109"/>
                  </a:lnTo>
                  <a:lnTo>
                    <a:pt x="13892" y="92202"/>
                  </a:lnTo>
                  <a:lnTo>
                    <a:pt x="14808" y="91659"/>
                  </a:lnTo>
                  <a:lnTo>
                    <a:pt x="15095" y="90995"/>
                  </a:lnTo>
                  <a:lnTo>
                    <a:pt x="15177" y="89603"/>
                  </a:lnTo>
                  <a:lnTo>
                    <a:pt x="15693" y="86716"/>
                  </a:lnTo>
                  <a:lnTo>
                    <a:pt x="16030" y="83891"/>
                  </a:lnTo>
                  <a:lnTo>
                    <a:pt x="15063" y="83109"/>
                  </a:lnTo>
                  <a:lnTo>
                    <a:pt x="13875" y="82889"/>
                  </a:lnTo>
                  <a:lnTo>
                    <a:pt x="13262" y="82080"/>
                  </a:lnTo>
                  <a:lnTo>
                    <a:pt x="13026" y="80746"/>
                  </a:lnTo>
                  <a:lnTo>
                    <a:pt x="13050" y="79595"/>
                  </a:lnTo>
                  <a:lnTo>
                    <a:pt x="15376" y="75562"/>
                  </a:lnTo>
                  <a:lnTo>
                    <a:pt x="14898" y="66272"/>
                  </a:lnTo>
                  <a:lnTo>
                    <a:pt x="15244" y="64853"/>
                  </a:lnTo>
                  <a:lnTo>
                    <a:pt x="16302" y="63875"/>
                  </a:lnTo>
                  <a:lnTo>
                    <a:pt x="17209" y="62745"/>
                  </a:lnTo>
                  <a:lnTo>
                    <a:pt x="17170" y="61618"/>
                  </a:lnTo>
                  <a:lnTo>
                    <a:pt x="15620" y="58840"/>
                  </a:lnTo>
                  <a:lnTo>
                    <a:pt x="12681" y="56710"/>
                  </a:lnTo>
                  <a:lnTo>
                    <a:pt x="11178" y="54985"/>
                  </a:lnTo>
                  <a:lnTo>
                    <a:pt x="10366" y="53442"/>
                  </a:lnTo>
                  <a:lnTo>
                    <a:pt x="10232" y="52611"/>
                  </a:lnTo>
                  <a:lnTo>
                    <a:pt x="12014" y="51398"/>
                  </a:lnTo>
                  <a:lnTo>
                    <a:pt x="12802" y="50558"/>
                  </a:lnTo>
                  <a:lnTo>
                    <a:pt x="12901" y="49589"/>
                  </a:lnTo>
                  <a:lnTo>
                    <a:pt x="12173" y="47822"/>
                  </a:lnTo>
                  <a:lnTo>
                    <a:pt x="12301" y="44677"/>
                  </a:lnTo>
                  <a:lnTo>
                    <a:pt x="12987" y="42316"/>
                  </a:lnTo>
                  <a:lnTo>
                    <a:pt x="13692" y="39259"/>
                  </a:lnTo>
                  <a:lnTo>
                    <a:pt x="13618" y="38363"/>
                  </a:lnTo>
                  <a:lnTo>
                    <a:pt x="11890" y="36538"/>
                  </a:lnTo>
                  <a:lnTo>
                    <a:pt x="10955" y="36289"/>
                  </a:lnTo>
                  <a:lnTo>
                    <a:pt x="10198" y="36421"/>
                  </a:lnTo>
                  <a:lnTo>
                    <a:pt x="8392" y="37619"/>
                  </a:lnTo>
                  <a:lnTo>
                    <a:pt x="7742" y="37749"/>
                  </a:lnTo>
                  <a:lnTo>
                    <a:pt x="7334" y="37395"/>
                  </a:lnTo>
                  <a:lnTo>
                    <a:pt x="7155" y="36912"/>
                  </a:lnTo>
                  <a:lnTo>
                    <a:pt x="7785" y="36197"/>
                  </a:lnTo>
                  <a:lnTo>
                    <a:pt x="7557" y="35303"/>
                  </a:lnTo>
                  <a:lnTo>
                    <a:pt x="8086" y="34523"/>
                  </a:lnTo>
                  <a:lnTo>
                    <a:pt x="9232" y="34167"/>
                  </a:lnTo>
                  <a:lnTo>
                    <a:pt x="9569" y="33775"/>
                  </a:lnTo>
                  <a:lnTo>
                    <a:pt x="8025" y="33400"/>
                  </a:lnTo>
                  <a:lnTo>
                    <a:pt x="7844" y="32870"/>
                  </a:lnTo>
                  <a:lnTo>
                    <a:pt x="7954" y="32352"/>
                  </a:lnTo>
                  <a:lnTo>
                    <a:pt x="8399" y="32254"/>
                  </a:lnTo>
                  <a:lnTo>
                    <a:pt x="8887" y="32283"/>
                  </a:lnTo>
                  <a:lnTo>
                    <a:pt x="9157" y="31913"/>
                  </a:lnTo>
                  <a:lnTo>
                    <a:pt x="9392" y="29316"/>
                  </a:lnTo>
                  <a:lnTo>
                    <a:pt x="9580" y="28409"/>
                  </a:lnTo>
                  <a:lnTo>
                    <a:pt x="9774" y="26616"/>
                  </a:lnTo>
                  <a:lnTo>
                    <a:pt x="10014" y="19658"/>
                  </a:lnTo>
                  <a:lnTo>
                    <a:pt x="10366" y="18941"/>
                  </a:lnTo>
                  <a:lnTo>
                    <a:pt x="10416" y="18420"/>
                  </a:lnTo>
                  <a:lnTo>
                    <a:pt x="9332" y="18083"/>
                  </a:lnTo>
                  <a:lnTo>
                    <a:pt x="6771" y="16216"/>
                  </a:lnTo>
                  <a:lnTo>
                    <a:pt x="5272" y="14780"/>
                  </a:lnTo>
                  <a:lnTo>
                    <a:pt x="3968" y="13308"/>
                  </a:lnTo>
                  <a:lnTo>
                    <a:pt x="2866" y="12341"/>
                  </a:lnTo>
                  <a:lnTo>
                    <a:pt x="718" y="10849"/>
                  </a:lnTo>
                  <a:lnTo>
                    <a:pt x="85" y="9900"/>
                  </a:lnTo>
                  <a:lnTo>
                    <a:pt x="0" y="8951"/>
                  </a:lnTo>
                  <a:lnTo>
                    <a:pt x="654" y="7048"/>
                  </a:lnTo>
                  <a:lnTo>
                    <a:pt x="1687" y="5018"/>
                  </a:lnTo>
                  <a:lnTo>
                    <a:pt x="2202" y="2117"/>
                  </a:lnTo>
                  <a:lnTo>
                    <a:pt x="1889" y="1344"/>
                  </a:lnTo>
                  <a:lnTo>
                    <a:pt x="477" y="0"/>
                  </a:lnTo>
                  <a:lnTo>
                    <a:pt x="5516" y="1029"/>
                  </a:lnTo>
                  <a:lnTo>
                    <a:pt x="12700" y="2766"/>
                  </a:lnTo>
                  <a:lnTo>
                    <a:pt x="12845" y="3075"/>
                  </a:lnTo>
                  <a:lnTo>
                    <a:pt x="12888" y="3594"/>
                  </a:lnTo>
                  <a:lnTo>
                    <a:pt x="14136" y="3585"/>
                  </a:lnTo>
                  <a:lnTo>
                    <a:pt x="16212" y="2966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30" name="ee4p_TN_1_82333">
              <a:extLst>
                <a:ext uri="{FF2B5EF4-FFF2-40B4-BE49-F238E27FC236}">
                  <a16:creationId xmlns:a16="http://schemas.microsoft.com/office/drawing/2014/main" id="{26016013-D8DA-E261-E170-13BB6C610BF1}"/>
                </a:ext>
              </a:extLst>
            </p:cNvPr>
            <p:cNvSpPr>
              <a:spLocks noChangeAspect="1"/>
            </p:cNvSpPr>
            <p:nvPr>
              <p:custDataLst>
                <p:tags r:id="rId158"/>
              </p:custDataLst>
            </p:nvPr>
          </p:nvSpPr>
          <p:spPr>
            <a:xfrm>
              <a:off x="6722849" y="3560718"/>
              <a:ext cx="112197" cy="227857"/>
            </a:xfrm>
            <a:custGeom>
              <a:avLst/>
              <a:gdLst>
                <a:gd name="connsiteX0" fmla="*/ 202938 w 239302"/>
                <a:gd name="connsiteY0" fmla="*/ 232350 h 473106"/>
                <a:gd name="connsiteX1" fmla="*/ 208617 w 239302"/>
                <a:gd name="connsiteY1" fmla="*/ 236995 h 473106"/>
                <a:gd name="connsiteX2" fmla="*/ 209549 w 239302"/>
                <a:gd name="connsiteY2" fmla="*/ 238211 h 473106"/>
                <a:gd name="connsiteX3" fmla="*/ 209788 w 239302"/>
                <a:gd name="connsiteY3" fmla="*/ 239539 h 473106"/>
                <a:gd name="connsiteX4" fmla="*/ 207149 w 239302"/>
                <a:gd name="connsiteY4" fmla="*/ 242140 h 473106"/>
                <a:gd name="connsiteX5" fmla="*/ 205049 w 239302"/>
                <a:gd name="connsiteY5" fmla="*/ 243726 h 473106"/>
                <a:gd name="connsiteX6" fmla="*/ 203493 w 239302"/>
                <a:gd name="connsiteY6" fmla="*/ 244034 h 473106"/>
                <a:gd name="connsiteX7" fmla="*/ 200630 w 239302"/>
                <a:gd name="connsiteY7" fmla="*/ 245844 h 473106"/>
                <a:gd name="connsiteX8" fmla="*/ 199114 w 239302"/>
                <a:gd name="connsiteY8" fmla="*/ 246045 h 473106"/>
                <a:gd name="connsiteX9" fmla="*/ 194812 w 239302"/>
                <a:gd name="connsiteY9" fmla="*/ 244018 h 473106"/>
                <a:gd name="connsiteX10" fmla="*/ 193167 w 239302"/>
                <a:gd name="connsiteY10" fmla="*/ 244031 h 473106"/>
                <a:gd name="connsiteX11" fmla="*/ 191099 w 239302"/>
                <a:gd name="connsiteY11" fmla="*/ 242606 h 473106"/>
                <a:gd name="connsiteX12" fmla="*/ 191798 w 239302"/>
                <a:gd name="connsiteY12" fmla="*/ 234846 h 473106"/>
                <a:gd name="connsiteX13" fmla="*/ 192468 w 239302"/>
                <a:gd name="connsiteY13" fmla="*/ 232647 h 473106"/>
                <a:gd name="connsiteX14" fmla="*/ 222655 w 239302"/>
                <a:gd name="connsiteY14" fmla="*/ 170447 h 473106"/>
                <a:gd name="connsiteX15" fmla="*/ 224206 w 239302"/>
                <a:gd name="connsiteY15" fmla="*/ 171661 h 473106"/>
                <a:gd name="connsiteX16" fmla="*/ 224026 w 239302"/>
                <a:gd name="connsiteY16" fmla="*/ 174902 h 473106"/>
                <a:gd name="connsiteX17" fmla="*/ 214881 w 239302"/>
                <a:gd name="connsiteY17" fmla="*/ 179731 h 473106"/>
                <a:gd name="connsiteX18" fmla="*/ 216622 w 239302"/>
                <a:gd name="connsiteY18" fmla="*/ 175520 h 473106"/>
                <a:gd name="connsiteX19" fmla="*/ 129851 w 239302"/>
                <a:gd name="connsiteY19" fmla="*/ 0 h 473106"/>
                <a:gd name="connsiteX20" fmla="*/ 134051 w 239302"/>
                <a:gd name="connsiteY20" fmla="*/ 691 h 473106"/>
                <a:gd name="connsiteX21" fmla="*/ 138762 w 239302"/>
                <a:gd name="connsiteY21" fmla="*/ 2146 h 473106"/>
                <a:gd name="connsiteX22" fmla="*/ 137404 w 239302"/>
                <a:gd name="connsiteY22" fmla="*/ 5855 h 473106"/>
                <a:gd name="connsiteX23" fmla="*/ 135535 w 239302"/>
                <a:gd name="connsiteY23" fmla="*/ 8804 h 473106"/>
                <a:gd name="connsiteX24" fmla="*/ 138277 w 239302"/>
                <a:gd name="connsiteY24" fmla="*/ 13993 h 473106"/>
                <a:gd name="connsiteX25" fmla="*/ 142194 w 239302"/>
                <a:gd name="connsiteY25" fmla="*/ 10835 h 473106"/>
                <a:gd name="connsiteX26" fmla="*/ 141186 w 239302"/>
                <a:gd name="connsiteY26" fmla="*/ 8708 h 473106"/>
                <a:gd name="connsiteX27" fmla="*/ 140961 w 239302"/>
                <a:gd name="connsiteY27" fmla="*/ 5888 h 473106"/>
                <a:gd name="connsiteX28" fmla="*/ 147626 w 239302"/>
                <a:gd name="connsiteY28" fmla="*/ 5641 h 473106"/>
                <a:gd name="connsiteX29" fmla="*/ 153508 w 239302"/>
                <a:gd name="connsiteY29" fmla="*/ 6086 h 473106"/>
                <a:gd name="connsiteX30" fmla="*/ 159963 w 239302"/>
                <a:gd name="connsiteY30" fmla="*/ 9185 h 473106"/>
                <a:gd name="connsiteX31" fmla="*/ 159510 w 239302"/>
                <a:gd name="connsiteY31" fmla="*/ 20909 h 473106"/>
                <a:gd name="connsiteX32" fmla="*/ 168117 w 239302"/>
                <a:gd name="connsiteY32" fmla="*/ 32384 h 473106"/>
                <a:gd name="connsiteX33" fmla="*/ 165700 w 239302"/>
                <a:gd name="connsiteY33" fmla="*/ 38089 h 473106"/>
                <a:gd name="connsiteX34" fmla="*/ 172750 w 239302"/>
                <a:gd name="connsiteY34" fmla="*/ 41467 h 473106"/>
                <a:gd name="connsiteX35" fmla="*/ 179021 w 239302"/>
                <a:gd name="connsiteY35" fmla="*/ 37419 h 473106"/>
                <a:gd name="connsiteX36" fmla="*/ 182165 w 239302"/>
                <a:gd name="connsiteY36" fmla="*/ 31425 h 473106"/>
                <a:gd name="connsiteX37" fmla="*/ 193713 w 239302"/>
                <a:gd name="connsiteY37" fmla="*/ 27967 h 473106"/>
                <a:gd name="connsiteX38" fmla="*/ 204679 w 239302"/>
                <a:gd name="connsiteY38" fmla="*/ 19178 h 473106"/>
                <a:gd name="connsiteX39" fmla="*/ 210751 w 239302"/>
                <a:gd name="connsiteY39" fmla="*/ 18276 h 473106"/>
                <a:gd name="connsiteX40" fmla="*/ 212122 w 239302"/>
                <a:gd name="connsiteY40" fmla="*/ 25486 h 473106"/>
                <a:gd name="connsiteX41" fmla="*/ 215061 w 239302"/>
                <a:gd name="connsiteY41" fmla="*/ 31792 h 473106"/>
                <a:gd name="connsiteX42" fmla="*/ 210906 w 239302"/>
                <a:gd name="connsiteY42" fmla="*/ 34012 h 473106"/>
                <a:gd name="connsiteX43" fmla="*/ 205613 w 239302"/>
                <a:gd name="connsiteY43" fmla="*/ 40706 h 473106"/>
                <a:gd name="connsiteX44" fmla="*/ 195604 w 239302"/>
                <a:gd name="connsiteY44" fmla="*/ 57677 h 473106"/>
                <a:gd name="connsiteX45" fmla="*/ 186376 w 239302"/>
                <a:gd name="connsiteY45" fmla="*/ 62662 h 473106"/>
                <a:gd name="connsiteX46" fmla="*/ 179466 w 239302"/>
                <a:gd name="connsiteY46" fmla="*/ 69187 h 473106"/>
                <a:gd name="connsiteX47" fmla="*/ 177234 w 239302"/>
                <a:gd name="connsiteY47" fmla="*/ 73826 h 473106"/>
                <a:gd name="connsiteX48" fmla="*/ 176557 w 239302"/>
                <a:gd name="connsiteY48" fmla="*/ 79223 h 473106"/>
                <a:gd name="connsiteX49" fmla="*/ 178287 w 239302"/>
                <a:gd name="connsiteY49" fmla="*/ 88880 h 473106"/>
                <a:gd name="connsiteX50" fmla="*/ 183325 w 239302"/>
                <a:gd name="connsiteY50" fmla="*/ 98686 h 473106"/>
                <a:gd name="connsiteX51" fmla="*/ 189138 w 239302"/>
                <a:gd name="connsiteY51" fmla="*/ 104611 h 473106"/>
                <a:gd name="connsiteX52" fmla="*/ 194747 w 239302"/>
                <a:gd name="connsiteY52" fmla="*/ 106462 h 473106"/>
                <a:gd name="connsiteX53" fmla="*/ 207813 w 239302"/>
                <a:gd name="connsiteY53" fmla="*/ 115783 h 473106"/>
                <a:gd name="connsiteX54" fmla="*/ 207601 w 239302"/>
                <a:gd name="connsiteY54" fmla="*/ 121325 h 473106"/>
                <a:gd name="connsiteX55" fmla="*/ 209428 w 239302"/>
                <a:gd name="connsiteY55" fmla="*/ 127906 h 473106"/>
                <a:gd name="connsiteX56" fmla="*/ 210121 w 239302"/>
                <a:gd name="connsiteY56" fmla="*/ 135896 h 473106"/>
                <a:gd name="connsiteX57" fmla="*/ 214672 w 239302"/>
                <a:gd name="connsiteY57" fmla="*/ 142268 h 473106"/>
                <a:gd name="connsiteX58" fmla="*/ 204944 w 239302"/>
                <a:gd name="connsiteY58" fmla="*/ 156146 h 473106"/>
                <a:gd name="connsiteX59" fmla="*/ 199635 w 239302"/>
                <a:gd name="connsiteY59" fmla="*/ 166158 h 473106"/>
                <a:gd name="connsiteX60" fmla="*/ 189253 w 239302"/>
                <a:gd name="connsiteY60" fmla="*/ 179945 h 473106"/>
                <a:gd name="connsiteX61" fmla="*/ 180009 w 239302"/>
                <a:gd name="connsiteY61" fmla="*/ 188891 h 473106"/>
                <a:gd name="connsiteX62" fmla="*/ 160199 w 239302"/>
                <a:gd name="connsiteY62" fmla="*/ 202163 h 473106"/>
                <a:gd name="connsiteX63" fmla="*/ 155340 w 239302"/>
                <a:gd name="connsiteY63" fmla="*/ 206567 h 473106"/>
                <a:gd name="connsiteX64" fmla="*/ 152171 w 239302"/>
                <a:gd name="connsiteY64" fmla="*/ 211134 h 473106"/>
                <a:gd name="connsiteX65" fmla="*/ 150701 w 239302"/>
                <a:gd name="connsiteY65" fmla="*/ 215888 h 473106"/>
                <a:gd name="connsiteX66" fmla="*/ 151234 w 239302"/>
                <a:gd name="connsiteY66" fmla="*/ 221486 h 473106"/>
                <a:gd name="connsiteX67" fmla="*/ 157745 w 239302"/>
                <a:gd name="connsiteY67" fmla="*/ 235217 h 473106"/>
                <a:gd name="connsiteX68" fmla="*/ 166410 w 239302"/>
                <a:gd name="connsiteY68" fmla="*/ 243314 h 473106"/>
                <a:gd name="connsiteX69" fmla="*/ 175239 w 239302"/>
                <a:gd name="connsiteY69" fmla="*/ 247685 h 473106"/>
                <a:gd name="connsiteX70" fmla="*/ 190571 w 239302"/>
                <a:gd name="connsiteY70" fmla="*/ 245923 h 473106"/>
                <a:gd name="connsiteX71" fmla="*/ 190046 w 239302"/>
                <a:gd name="connsiteY71" fmla="*/ 251194 h 473106"/>
                <a:gd name="connsiteX72" fmla="*/ 191139 w 239302"/>
                <a:gd name="connsiteY72" fmla="*/ 257518 h 473106"/>
                <a:gd name="connsiteX73" fmla="*/ 197380 w 239302"/>
                <a:gd name="connsiteY73" fmla="*/ 257221 h 473106"/>
                <a:gd name="connsiteX74" fmla="*/ 201542 w 239302"/>
                <a:gd name="connsiteY74" fmla="*/ 256238 h 473106"/>
                <a:gd name="connsiteX75" fmla="*/ 205072 w 239302"/>
                <a:gd name="connsiteY75" fmla="*/ 250088 h 473106"/>
                <a:gd name="connsiteX76" fmla="*/ 212567 w 239302"/>
                <a:gd name="connsiteY76" fmla="*/ 254299 h 473106"/>
                <a:gd name="connsiteX77" fmla="*/ 216459 w 239302"/>
                <a:gd name="connsiteY77" fmla="*/ 267148 h 473106"/>
                <a:gd name="connsiteX78" fmla="*/ 222804 w 239302"/>
                <a:gd name="connsiteY78" fmla="*/ 271149 h 473106"/>
                <a:gd name="connsiteX79" fmla="*/ 223546 w 239302"/>
                <a:gd name="connsiteY79" fmla="*/ 272641 h 473106"/>
                <a:gd name="connsiteX80" fmla="*/ 221307 w 239302"/>
                <a:gd name="connsiteY80" fmla="*/ 273619 h 473106"/>
                <a:gd name="connsiteX81" fmla="*/ 219561 w 239302"/>
                <a:gd name="connsiteY81" fmla="*/ 275100 h 473106"/>
                <a:gd name="connsiteX82" fmla="*/ 221436 w 239302"/>
                <a:gd name="connsiteY82" fmla="*/ 276134 h 473106"/>
                <a:gd name="connsiteX83" fmla="*/ 227583 w 239302"/>
                <a:gd name="connsiteY83" fmla="*/ 277733 h 473106"/>
                <a:gd name="connsiteX84" fmla="*/ 231285 w 239302"/>
                <a:gd name="connsiteY84" fmla="*/ 276710 h 473106"/>
                <a:gd name="connsiteX85" fmla="*/ 237445 w 239302"/>
                <a:gd name="connsiteY85" fmla="*/ 279555 h 473106"/>
                <a:gd name="connsiteX86" fmla="*/ 237317 w 239302"/>
                <a:gd name="connsiteY86" fmla="*/ 281301 h 473106"/>
                <a:gd name="connsiteX87" fmla="*/ 235230 w 239302"/>
                <a:gd name="connsiteY87" fmla="*/ 293861 h 473106"/>
                <a:gd name="connsiteX88" fmla="*/ 234756 w 239302"/>
                <a:gd name="connsiteY88" fmla="*/ 298377 h 473106"/>
                <a:gd name="connsiteX89" fmla="*/ 234443 w 239302"/>
                <a:gd name="connsiteY89" fmla="*/ 306019 h 473106"/>
                <a:gd name="connsiteX90" fmla="*/ 234443 w 239302"/>
                <a:gd name="connsiteY90" fmla="*/ 315198 h 473106"/>
                <a:gd name="connsiteX91" fmla="*/ 239176 w 239302"/>
                <a:gd name="connsiteY91" fmla="*/ 322955 h 473106"/>
                <a:gd name="connsiteX92" fmla="*/ 239302 w 239302"/>
                <a:gd name="connsiteY92" fmla="*/ 326354 h 473106"/>
                <a:gd name="connsiteX93" fmla="*/ 237467 w 239302"/>
                <a:gd name="connsiteY93" fmla="*/ 330286 h 473106"/>
                <a:gd name="connsiteX94" fmla="*/ 228764 w 239302"/>
                <a:gd name="connsiteY94" fmla="*/ 334794 h 473106"/>
                <a:gd name="connsiteX95" fmla="*/ 217525 w 239302"/>
                <a:gd name="connsiteY95" fmla="*/ 340617 h 473106"/>
                <a:gd name="connsiteX96" fmla="*/ 207866 w 239302"/>
                <a:gd name="connsiteY96" fmla="*/ 346143 h 473106"/>
                <a:gd name="connsiteX97" fmla="*/ 197275 w 239302"/>
                <a:gd name="connsiteY97" fmla="*/ 352191 h 473106"/>
                <a:gd name="connsiteX98" fmla="*/ 194031 w 239302"/>
                <a:gd name="connsiteY98" fmla="*/ 356099 h 473106"/>
                <a:gd name="connsiteX99" fmla="*/ 188784 w 239302"/>
                <a:gd name="connsiteY99" fmla="*/ 359107 h 473106"/>
                <a:gd name="connsiteX100" fmla="*/ 184394 w 239302"/>
                <a:gd name="connsiteY100" fmla="*/ 362118 h 473106"/>
                <a:gd name="connsiteX101" fmla="*/ 183601 w 239302"/>
                <a:gd name="connsiteY101" fmla="*/ 364992 h 473106"/>
                <a:gd name="connsiteX102" fmla="*/ 180532 w 239302"/>
                <a:gd name="connsiteY102" fmla="*/ 370451 h 473106"/>
                <a:gd name="connsiteX103" fmla="*/ 176508 w 239302"/>
                <a:gd name="connsiteY103" fmla="*/ 374814 h 473106"/>
                <a:gd name="connsiteX104" fmla="*/ 166458 w 239302"/>
                <a:gd name="connsiteY104" fmla="*/ 376858 h 473106"/>
                <a:gd name="connsiteX105" fmla="*/ 164594 w 239302"/>
                <a:gd name="connsiteY105" fmla="*/ 378160 h 473106"/>
                <a:gd name="connsiteX106" fmla="*/ 159939 w 239302"/>
                <a:gd name="connsiteY106" fmla="*/ 384704 h 473106"/>
                <a:gd name="connsiteX107" fmla="*/ 157799 w 239302"/>
                <a:gd name="connsiteY107" fmla="*/ 387278 h 473106"/>
                <a:gd name="connsiteX108" fmla="*/ 155139 w 239302"/>
                <a:gd name="connsiteY108" fmla="*/ 392646 h 473106"/>
                <a:gd name="connsiteX109" fmla="*/ 158557 w 239302"/>
                <a:gd name="connsiteY109" fmla="*/ 406563 h 473106"/>
                <a:gd name="connsiteX110" fmla="*/ 162743 w 239302"/>
                <a:gd name="connsiteY110" fmla="*/ 420853 h 473106"/>
                <a:gd name="connsiteX111" fmla="*/ 163555 w 239302"/>
                <a:gd name="connsiteY111" fmla="*/ 426810 h 473106"/>
                <a:gd name="connsiteX112" fmla="*/ 163496 w 239302"/>
                <a:gd name="connsiteY112" fmla="*/ 431760 h 473106"/>
                <a:gd name="connsiteX113" fmla="*/ 161147 w 239302"/>
                <a:gd name="connsiteY113" fmla="*/ 437085 h 473106"/>
                <a:gd name="connsiteX114" fmla="*/ 155793 w 239302"/>
                <a:gd name="connsiteY114" fmla="*/ 444722 h 473106"/>
                <a:gd name="connsiteX115" fmla="*/ 151871 w 239302"/>
                <a:gd name="connsiteY115" fmla="*/ 450312 h 473106"/>
                <a:gd name="connsiteX116" fmla="*/ 144334 w 239302"/>
                <a:gd name="connsiteY116" fmla="*/ 460375 h 473106"/>
                <a:gd name="connsiteX117" fmla="*/ 142113 w 239302"/>
                <a:gd name="connsiteY117" fmla="*/ 462848 h 473106"/>
                <a:gd name="connsiteX118" fmla="*/ 136925 w 239302"/>
                <a:gd name="connsiteY118" fmla="*/ 465778 h 473106"/>
                <a:gd name="connsiteX119" fmla="*/ 126888 w 239302"/>
                <a:gd name="connsiteY119" fmla="*/ 469670 h 473106"/>
                <a:gd name="connsiteX120" fmla="*/ 119828 w 239302"/>
                <a:gd name="connsiteY120" fmla="*/ 473106 h 473106"/>
                <a:gd name="connsiteX121" fmla="*/ 116230 w 239302"/>
                <a:gd name="connsiteY121" fmla="*/ 457772 h 473106"/>
                <a:gd name="connsiteX122" fmla="*/ 113153 w 239302"/>
                <a:gd name="connsiteY122" fmla="*/ 444668 h 473106"/>
                <a:gd name="connsiteX123" fmla="*/ 110619 w 239302"/>
                <a:gd name="connsiteY123" fmla="*/ 433847 h 473106"/>
                <a:gd name="connsiteX124" fmla="*/ 106154 w 239302"/>
                <a:gd name="connsiteY124" fmla="*/ 414770 h 473106"/>
                <a:gd name="connsiteX125" fmla="*/ 102371 w 239302"/>
                <a:gd name="connsiteY125" fmla="*/ 398541 h 473106"/>
                <a:gd name="connsiteX126" fmla="*/ 98595 w 239302"/>
                <a:gd name="connsiteY126" fmla="*/ 382330 h 473106"/>
                <a:gd name="connsiteX127" fmla="*/ 95164 w 239302"/>
                <a:gd name="connsiteY127" fmla="*/ 367590 h 473106"/>
                <a:gd name="connsiteX128" fmla="*/ 91711 w 239302"/>
                <a:gd name="connsiteY128" fmla="*/ 352738 h 473106"/>
                <a:gd name="connsiteX129" fmla="*/ 90224 w 239302"/>
                <a:gd name="connsiteY129" fmla="*/ 350571 h 473106"/>
                <a:gd name="connsiteX130" fmla="*/ 79864 w 239302"/>
                <a:gd name="connsiteY130" fmla="*/ 343553 h 473106"/>
                <a:gd name="connsiteX131" fmla="*/ 70320 w 239302"/>
                <a:gd name="connsiteY131" fmla="*/ 337082 h 473106"/>
                <a:gd name="connsiteX132" fmla="*/ 60385 w 239302"/>
                <a:gd name="connsiteY132" fmla="*/ 329716 h 473106"/>
                <a:gd name="connsiteX133" fmla="*/ 49620 w 239302"/>
                <a:gd name="connsiteY133" fmla="*/ 321726 h 473106"/>
                <a:gd name="connsiteX134" fmla="*/ 47890 w 239302"/>
                <a:gd name="connsiteY134" fmla="*/ 311654 h 473106"/>
                <a:gd name="connsiteX135" fmla="*/ 42367 w 239302"/>
                <a:gd name="connsiteY135" fmla="*/ 296438 h 473106"/>
                <a:gd name="connsiteX136" fmla="*/ 36538 w 239302"/>
                <a:gd name="connsiteY136" fmla="*/ 287936 h 473106"/>
                <a:gd name="connsiteX137" fmla="*/ 34350 w 239302"/>
                <a:gd name="connsiteY137" fmla="*/ 285702 h 473106"/>
                <a:gd name="connsiteX138" fmla="*/ 22604 w 239302"/>
                <a:gd name="connsiteY138" fmla="*/ 280206 h 473106"/>
                <a:gd name="connsiteX139" fmla="*/ 15817 w 239302"/>
                <a:gd name="connsiteY139" fmla="*/ 276166 h 473106"/>
                <a:gd name="connsiteX140" fmla="*/ 13961 w 239302"/>
                <a:gd name="connsiteY140" fmla="*/ 273823 h 473106"/>
                <a:gd name="connsiteX141" fmla="*/ 12648 w 239302"/>
                <a:gd name="connsiteY141" fmla="*/ 267606 h 473106"/>
                <a:gd name="connsiteX142" fmla="*/ 7813 w 239302"/>
                <a:gd name="connsiteY142" fmla="*/ 255247 h 473106"/>
                <a:gd name="connsiteX143" fmla="*/ 2296 w 239302"/>
                <a:gd name="connsiteY143" fmla="*/ 244002 h 473106"/>
                <a:gd name="connsiteX144" fmla="*/ 271 w 239302"/>
                <a:gd name="connsiteY144" fmla="*/ 236387 h 473106"/>
                <a:gd name="connsiteX145" fmla="*/ 0 w 239302"/>
                <a:gd name="connsiteY145" fmla="*/ 226801 h 473106"/>
                <a:gd name="connsiteX146" fmla="*/ 1080 w 239302"/>
                <a:gd name="connsiteY146" fmla="*/ 219874 h 473106"/>
                <a:gd name="connsiteX147" fmla="*/ 3488 w 239302"/>
                <a:gd name="connsiteY147" fmla="*/ 216909 h 473106"/>
                <a:gd name="connsiteX148" fmla="*/ 14981 w 239302"/>
                <a:gd name="connsiteY148" fmla="*/ 208273 h 473106"/>
                <a:gd name="connsiteX149" fmla="*/ 20295 w 239302"/>
                <a:gd name="connsiteY149" fmla="*/ 197875 h 473106"/>
                <a:gd name="connsiteX150" fmla="*/ 26877 w 239302"/>
                <a:gd name="connsiteY150" fmla="*/ 193972 h 473106"/>
                <a:gd name="connsiteX151" fmla="*/ 32574 w 239302"/>
                <a:gd name="connsiteY151" fmla="*/ 191031 h 473106"/>
                <a:gd name="connsiteX152" fmla="*/ 37184 w 239302"/>
                <a:gd name="connsiteY152" fmla="*/ 187608 h 473106"/>
                <a:gd name="connsiteX153" fmla="*/ 41293 w 239302"/>
                <a:gd name="connsiteY153" fmla="*/ 182098 h 473106"/>
                <a:gd name="connsiteX154" fmla="*/ 44421 w 239302"/>
                <a:gd name="connsiteY154" fmla="*/ 176222 h 473106"/>
                <a:gd name="connsiteX155" fmla="*/ 44960 w 239302"/>
                <a:gd name="connsiteY155" fmla="*/ 169868 h 473106"/>
                <a:gd name="connsiteX156" fmla="*/ 46272 w 239302"/>
                <a:gd name="connsiteY156" fmla="*/ 159778 h 473106"/>
                <a:gd name="connsiteX157" fmla="*/ 48359 w 239302"/>
                <a:gd name="connsiteY157" fmla="*/ 152725 h 473106"/>
                <a:gd name="connsiteX158" fmla="*/ 53223 w 239302"/>
                <a:gd name="connsiteY158" fmla="*/ 144717 h 473106"/>
                <a:gd name="connsiteX159" fmla="*/ 51187 w 239302"/>
                <a:gd name="connsiteY159" fmla="*/ 138283 h 473106"/>
                <a:gd name="connsiteX160" fmla="*/ 48613 w 239302"/>
                <a:gd name="connsiteY160" fmla="*/ 131321 h 473106"/>
                <a:gd name="connsiteX161" fmla="*/ 49360 w 239302"/>
                <a:gd name="connsiteY161" fmla="*/ 119262 h 473106"/>
                <a:gd name="connsiteX162" fmla="*/ 48712 w 239302"/>
                <a:gd name="connsiteY162" fmla="*/ 114361 h 473106"/>
                <a:gd name="connsiteX163" fmla="*/ 46631 w 239302"/>
                <a:gd name="connsiteY163" fmla="*/ 110021 h 473106"/>
                <a:gd name="connsiteX164" fmla="*/ 44507 w 239302"/>
                <a:gd name="connsiteY164" fmla="*/ 104455 h 473106"/>
                <a:gd name="connsiteX165" fmla="*/ 44426 w 239302"/>
                <a:gd name="connsiteY165" fmla="*/ 99813 h 473106"/>
                <a:gd name="connsiteX166" fmla="*/ 46473 w 239302"/>
                <a:gd name="connsiteY166" fmla="*/ 87623 h 473106"/>
                <a:gd name="connsiteX167" fmla="*/ 48043 w 239302"/>
                <a:gd name="connsiteY167" fmla="*/ 78302 h 473106"/>
                <a:gd name="connsiteX168" fmla="*/ 50528 w 239302"/>
                <a:gd name="connsiteY168" fmla="*/ 66163 h 473106"/>
                <a:gd name="connsiteX169" fmla="*/ 49655 w 239302"/>
                <a:gd name="connsiteY169" fmla="*/ 62761 h 473106"/>
                <a:gd name="connsiteX170" fmla="*/ 47804 w 239302"/>
                <a:gd name="connsiteY170" fmla="*/ 60222 h 473106"/>
                <a:gd name="connsiteX171" fmla="*/ 42241 w 239302"/>
                <a:gd name="connsiteY171" fmla="*/ 57541 h 473106"/>
                <a:gd name="connsiteX172" fmla="*/ 42171 w 239302"/>
                <a:gd name="connsiteY172" fmla="*/ 55925 h 473106"/>
                <a:gd name="connsiteX173" fmla="*/ 43543 w 239302"/>
                <a:gd name="connsiteY173" fmla="*/ 54139 h 473106"/>
                <a:gd name="connsiteX174" fmla="*/ 51766 w 239302"/>
                <a:gd name="connsiteY174" fmla="*/ 48214 h 473106"/>
                <a:gd name="connsiteX175" fmla="*/ 56185 w 239302"/>
                <a:gd name="connsiteY175" fmla="*/ 39501 h 473106"/>
                <a:gd name="connsiteX176" fmla="*/ 59887 w 239302"/>
                <a:gd name="connsiteY176" fmla="*/ 37682 h 473106"/>
                <a:gd name="connsiteX177" fmla="*/ 65485 w 239302"/>
                <a:gd name="connsiteY177" fmla="*/ 34524 h 473106"/>
                <a:gd name="connsiteX178" fmla="*/ 65271 w 239302"/>
                <a:gd name="connsiteY178" fmla="*/ 31125 h 473106"/>
                <a:gd name="connsiteX179" fmla="*/ 64023 w 239302"/>
                <a:gd name="connsiteY179" fmla="*/ 27495 h 473106"/>
                <a:gd name="connsiteX180" fmla="*/ 78650 w 239302"/>
                <a:gd name="connsiteY180" fmla="*/ 23381 h 473106"/>
                <a:gd name="connsiteX181" fmla="*/ 92589 w 239302"/>
                <a:gd name="connsiteY181" fmla="*/ 12595 h 473106"/>
                <a:gd name="connsiteX182" fmla="*/ 97513 w 239302"/>
                <a:gd name="connsiteY182" fmla="*/ 9951 h 473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</a:cxnLst>
              <a:rect l="l" t="t" r="r" b="b"/>
              <a:pathLst>
                <a:path w="239302" h="473106">
                  <a:moveTo>
                    <a:pt x="202938" y="232350"/>
                  </a:moveTo>
                  <a:lnTo>
                    <a:pt x="208617" y="236995"/>
                  </a:lnTo>
                  <a:lnTo>
                    <a:pt x="209549" y="238211"/>
                  </a:lnTo>
                  <a:lnTo>
                    <a:pt x="209788" y="239539"/>
                  </a:lnTo>
                  <a:lnTo>
                    <a:pt x="207149" y="242140"/>
                  </a:lnTo>
                  <a:lnTo>
                    <a:pt x="205049" y="243726"/>
                  </a:lnTo>
                  <a:lnTo>
                    <a:pt x="203493" y="244034"/>
                  </a:lnTo>
                  <a:lnTo>
                    <a:pt x="200630" y="245844"/>
                  </a:lnTo>
                  <a:lnTo>
                    <a:pt x="199114" y="246045"/>
                  </a:lnTo>
                  <a:lnTo>
                    <a:pt x="194812" y="244018"/>
                  </a:lnTo>
                  <a:lnTo>
                    <a:pt x="193167" y="244031"/>
                  </a:lnTo>
                  <a:lnTo>
                    <a:pt x="191099" y="242606"/>
                  </a:lnTo>
                  <a:lnTo>
                    <a:pt x="191798" y="234846"/>
                  </a:lnTo>
                  <a:lnTo>
                    <a:pt x="192468" y="232647"/>
                  </a:lnTo>
                  <a:close/>
                  <a:moveTo>
                    <a:pt x="222655" y="170447"/>
                  </a:moveTo>
                  <a:lnTo>
                    <a:pt x="224206" y="171661"/>
                  </a:lnTo>
                  <a:lnTo>
                    <a:pt x="224026" y="174902"/>
                  </a:lnTo>
                  <a:lnTo>
                    <a:pt x="214881" y="179731"/>
                  </a:lnTo>
                  <a:lnTo>
                    <a:pt x="216622" y="175520"/>
                  </a:lnTo>
                  <a:close/>
                  <a:moveTo>
                    <a:pt x="129851" y="0"/>
                  </a:moveTo>
                  <a:lnTo>
                    <a:pt x="134051" y="691"/>
                  </a:lnTo>
                  <a:lnTo>
                    <a:pt x="138762" y="2146"/>
                  </a:lnTo>
                  <a:lnTo>
                    <a:pt x="137404" y="5855"/>
                  </a:lnTo>
                  <a:lnTo>
                    <a:pt x="135535" y="8804"/>
                  </a:lnTo>
                  <a:lnTo>
                    <a:pt x="138277" y="13993"/>
                  </a:lnTo>
                  <a:lnTo>
                    <a:pt x="142194" y="10835"/>
                  </a:lnTo>
                  <a:lnTo>
                    <a:pt x="141186" y="8708"/>
                  </a:lnTo>
                  <a:lnTo>
                    <a:pt x="140961" y="5888"/>
                  </a:lnTo>
                  <a:lnTo>
                    <a:pt x="147626" y="5641"/>
                  </a:lnTo>
                  <a:lnTo>
                    <a:pt x="153508" y="6086"/>
                  </a:lnTo>
                  <a:lnTo>
                    <a:pt x="159963" y="9185"/>
                  </a:lnTo>
                  <a:lnTo>
                    <a:pt x="159510" y="20909"/>
                  </a:lnTo>
                  <a:lnTo>
                    <a:pt x="168117" y="32384"/>
                  </a:lnTo>
                  <a:lnTo>
                    <a:pt x="165700" y="38089"/>
                  </a:lnTo>
                  <a:lnTo>
                    <a:pt x="172750" y="41467"/>
                  </a:lnTo>
                  <a:lnTo>
                    <a:pt x="179021" y="37419"/>
                  </a:lnTo>
                  <a:lnTo>
                    <a:pt x="182165" y="31425"/>
                  </a:lnTo>
                  <a:lnTo>
                    <a:pt x="193713" y="27967"/>
                  </a:lnTo>
                  <a:lnTo>
                    <a:pt x="204679" y="19178"/>
                  </a:lnTo>
                  <a:lnTo>
                    <a:pt x="210751" y="18276"/>
                  </a:lnTo>
                  <a:lnTo>
                    <a:pt x="212122" y="25486"/>
                  </a:lnTo>
                  <a:lnTo>
                    <a:pt x="215061" y="31792"/>
                  </a:lnTo>
                  <a:lnTo>
                    <a:pt x="210906" y="34012"/>
                  </a:lnTo>
                  <a:lnTo>
                    <a:pt x="205613" y="40706"/>
                  </a:lnTo>
                  <a:lnTo>
                    <a:pt x="195604" y="57677"/>
                  </a:lnTo>
                  <a:lnTo>
                    <a:pt x="186376" y="62662"/>
                  </a:lnTo>
                  <a:lnTo>
                    <a:pt x="179466" y="69187"/>
                  </a:lnTo>
                  <a:lnTo>
                    <a:pt x="177234" y="73826"/>
                  </a:lnTo>
                  <a:lnTo>
                    <a:pt x="176557" y="79223"/>
                  </a:lnTo>
                  <a:lnTo>
                    <a:pt x="178287" y="88880"/>
                  </a:lnTo>
                  <a:lnTo>
                    <a:pt x="183325" y="98686"/>
                  </a:lnTo>
                  <a:lnTo>
                    <a:pt x="189138" y="104611"/>
                  </a:lnTo>
                  <a:lnTo>
                    <a:pt x="194747" y="106462"/>
                  </a:lnTo>
                  <a:lnTo>
                    <a:pt x="207813" y="115783"/>
                  </a:lnTo>
                  <a:lnTo>
                    <a:pt x="207601" y="121325"/>
                  </a:lnTo>
                  <a:lnTo>
                    <a:pt x="209428" y="127906"/>
                  </a:lnTo>
                  <a:lnTo>
                    <a:pt x="210121" y="135896"/>
                  </a:lnTo>
                  <a:lnTo>
                    <a:pt x="214672" y="142268"/>
                  </a:lnTo>
                  <a:lnTo>
                    <a:pt x="204944" y="156146"/>
                  </a:lnTo>
                  <a:lnTo>
                    <a:pt x="199635" y="166158"/>
                  </a:lnTo>
                  <a:lnTo>
                    <a:pt x="189253" y="179945"/>
                  </a:lnTo>
                  <a:lnTo>
                    <a:pt x="180009" y="188891"/>
                  </a:lnTo>
                  <a:lnTo>
                    <a:pt x="160199" y="202163"/>
                  </a:lnTo>
                  <a:lnTo>
                    <a:pt x="155340" y="206567"/>
                  </a:lnTo>
                  <a:lnTo>
                    <a:pt x="152171" y="211134"/>
                  </a:lnTo>
                  <a:lnTo>
                    <a:pt x="150701" y="215888"/>
                  </a:lnTo>
                  <a:lnTo>
                    <a:pt x="151234" y="221486"/>
                  </a:lnTo>
                  <a:lnTo>
                    <a:pt x="157745" y="235217"/>
                  </a:lnTo>
                  <a:lnTo>
                    <a:pt x="166410" y="243314"/>
                  </a:lnTo>
                  <a:lnTo>
                    <a:pt x="175239" y="247685"/>
                  </a:lnTo>
                  <a:lnTo>
                    <a:pt x="190571" y="245923"/>
                  </a:lnTo>
                  <a:lnTo>
                    <a:pt x="190046" y="251194"/>
                  </a:lnTo>
                  <a:lnTo>
                    <a:pt x="191139" y="257518"/>
                  </a:lnTo>
                  <a:lnTo>
                    <a:pt x="197380" y="257221"/>
                  </a:lnTo>
                  <a:lnTo>
                    <a:pt x="201542" y="256238"/>
                  </a:lnTo>
                  <a:lnTo>
                    <a:pt x="205072" y="250088"/>
                  </a:lnTo>
                  <a:lnTo>
                    <a:pt x="212567" y="254299"/>
                  </a:lnTo>
                  <a:lnTo>
                    <a:pt x="216459" y="267148"/>
                  </a:lnTo>
                  <a:lnTo>
                    <a:pt x="222804" y="271149"/>
                  </a:lnTo>
                  <a:lnTo>
                    <a:pt x="223546" y="272641"/>
                  </a:lnTo>
                  <a:lnTo>
                    <a:pt x="221307" y="273619"/>
                  </a:lnTo>
                  <a:lnTo>
                    <a:pt x="219561" y="275100"/>
                  </a:lnTo>
                  <a:lnTo>
                    <a:pt x="221436" y="276134"/>
                  </a:lnTo>
                  <a:lnTo>
                    <a:pt x="227583" y="277733"/>
                  </a:lnTo>
                  <a:lnTo>
                    <a:pt x="231285" y="276710"/>
                  </a:lnTo>
                  <a:lnTo>
                    <a:pt x="237445" y="279555"/>
                  </a:lnTo>
                  <a:lnTo>
                    <a:pt x="237317" y="281301"/>
                  </a:lnTo>
                  <a:lnTo>
                    <a:pt x="235230" y="293861"/>
                  </a:lnTo>
                  <a:lnTo>
                    <a:pt x="234756" y="298377"/>
                  </a:lnTo>
                  <a:lnTo>
                    <a:pt x="234443" y="306019"/>
                  </a:lnTo>
                  <a:lnTo>
                    <a:pt x="234443" y="315198"/>
                  </a:lnTo>
                  <a:lnTo>
                    <a:pt x="239176" y="322955"/>
                  </a:lnTo>
                  <a:lnTo>
                    <a:pt x="239302" y="326354"/>
                  </a:lnTo>
                  <a:lnTo>
                    <a:pt x="237467" y="330286"/>
                  </a:lnTo>
                  <a:lnTo>
                    <a:pt x="228764" y="334794"/>
                  </a:lnTo>
                  <a:lnTo>
                    <a:pt x="217525" y="340617"/>
                  </a:lnTo>
                  <a:lnTo>
                    <a:pt x="207866" y="346143"/>
                  </a:lnTo>
                  <a:lnTo>
                    <a:pt x="197275" y="352191"/>
                  </a:lnTo>
                  <a:lnTo>
                    <a:pt x="194031" y="356099"/>
                  </a:lnTo>
                  <a:lnTo>
                    <a:pt x="188784" y="359107"/>
                  </a:lnTo>
                  <a:lnTo>
                    <a:pt x="184394" y="362118"/>
                  </a:lnTo>
                  <a:lnTo>
                    <a:pt x="183601" y="364992"/>
                  </a:lnTo>
                  <a:lnTo>
                    <a:pt x="180532" y="370451"/>
                  </a:lnTo>
                  <a:lnTo>
                    <a:pt x="176508" y="374814"/>
                  </a:lnTo>
                  <a:lnTo>
                    <a:pt x="166458" y="376858"/>
                  </a:lnTo>
                  <a:lnTo>
                    <a:pt x="164594" y="378160"/>
                  </a:lnTo>
                  <a:lnTo>
                    <a:pt x="159939" y="384704"/>
                  </a:lnTo>
                  <a:lnTo>
                    <a:pt x="157799" y="387278"/>
                  </a:lnTo>
                  <a:lnTo>
                    <a:pt x="155139" y="392646"/>
                  </a:lnTo>
                  <a:lnTo>
                    <a:pt x="158557" y="406563"/>
                  </a:lnTo>
                  <a:lnTo>
                    <a:pt x="162743" y="420853"/>
                  </a:lnTo>
                  <a:lnTo>
                    <a:pt x="163555" y="426810"/>
                  </a:lnTo>
                  <a:lnTo>
                    <a:pt x="163496" y="431760"/>
                  </a:lnTo>
                  <a:lnTo>
                    <a:pt x="161147" y="437085"/>
                  </a:lnTo>
                  <a:lnTo>
                    <a:pt x="155793" y="444722"/>
                  </a:lnTo>
                  <a:lnTo>
                    <a:pt x="151871" y="450312"/>
                  </a:lnTo>
                  <a:lnTo>
                    <a:pt x="144334" y="460375"/>
                  </a:lnTo>
                  <a:lnTo>
                    <a:pt x="142113" y="462848"/>
                  </a:lnTo>
                  <a:lnTo>
                    <a:pt x="136925" y="465778"/>
                  </a:lnTo>
                  <a:lnTo>
                    <a:pt x="126888" y="469670"/>
                  </a:lnTo>
                  <a:lnTo>
                    <a:pt x="119828" y="473106"/>
                  </a:lnTo>
                  <a:lnTo>
                    <a:pt x="116230" y="457772"/>
                  </a:lnTo>
                  <a:lnTo>
                    <a:pt x="113153" y="444668"/>
                  </a:lnTo>
                  <a:lnTo>
                    <a:pt x="110619" y="433847"/>
                  </a:lnTo>
                  <a:lnTo>
                    <a:pt x="106154" y="414770"/>
                  </a:lnTo>
                  <a:lnTo>
                    <a:pt x="102371" y="398541"/>
                  </a:lnTo>
                  <a:lnTo>
                    <a:pt x="98595" y="382330"/>
                  </a:lnTo>
                  <a:lnTo>
                    <a:pt x="95164" y="367590"/>
                  </a:lnTo>
                  <a:lnTo>
                    <a:pt x="91711" y="352738"/>
                  </a:lnTo>
                  <a:lnTo>
                    <a:pt x="90224" y="350571"/>
                  </a:lnTo>
                  <a:lnTo>
                    <a:pt x="79864" y="343553"/>
                  </a:lnTo>
                  <a:lnTo>
                    <a:pt x="70320" y="337082"/>
                  </a:lnTo>
                  <a:lnTo>
                    <a:pt x="60385" y="329716"/>
                  </a:lnTo>
                  <a:lnTo>
                    <a:pt x="49620" y="321726"/>
                  </a:lnTo>
                  <a:lnTo>
                    <a:pt x="47890" y="311654"/>
                  </a:lnTo>
                  <a:lnTo>
                    <a:pt x="42367" y="296438"/>
                  </a:lnTo>
                  <a:lnTo>
                    <a:pt x="36538" y="287936"/>
                  </a:lnTo>
                  <a:lnTo>
                    <a:pt x="34350" y="285702"/>
                  </a:lnTo>
                  <a:lnTo>
                    <a:pt x="22604" y="280206"/>
                  </a:lnTo>
                  <a:lnTo>
                    <a:pt x="15817" y="276166"/>
                  </a:lnTo>
                  <a:lnTo>
                    <a:pt x="13961" y="273823"/>
                  </a:lnTo>
                  <a:lnTo>
                    <a:pt x="12648" y="267606"/>
                  </a:lnTo>
                  <a:lnTo>
                    <a:pt x="7813" y="255247"/>
                  </a:lnTo>
                  <a:lnTo>
                    <a:pt x="2296" y="244002"/>
                  </a:lnTo>
                  <a:lnTo>
                    <a:pt x="271" y="236387"/>
                  </a:lnTo>
                  <a:lnTo>
                    <a:pt x="0" y="226801"/>
                  </a:lnTo>
                  <a:lnTo>
                    <a:pt x="1080" y="219874"/>
                  </a:lnTo>
                  <a:lnTo>
                    <a:pt x="3488" y="216909"/>
                  </a:lnTo>
                  <a:lnTo>
                    <a:pt x="14981" y="208273"/>
                  </a:lnTo>
                  <a:lnTo>
                    <a:pt x="20295" y="197875"/>
                  </a:lnTo>
                  <a:lnTo>
                    <a:pt x="26877" y="193972"/>
                  </a:lnTo>
                  <a:lnTo>
                    <a:pt x="32574" y="191031"/>
                  </a:lnTo>
                  <a:lnTo>
                    <a:pt x="37184" y="187608"/>
                  </a:lnTo>
                  <a:lnTo>
                    <a:pt x="41293" y="182098"/>
                  </a:lnTo>
                  <a:lnTo>
                    <a:pt x="44421" y="176222"/>
                  </a:lnTo>
                  <a:lnTo>
                    <a:pt x="44960" y="169868"/>
                  </a:lnTo>
                  <a:lnTo>
                    <a:pt x="46272" y="159778"/>
                  </a:lnTo>
                  <a:lnTo>
                    <a:pt x="48359" y="152725"/>
                  </a:lnTo>
                  <a:lnTo>
                    <a:pt x="53223" y="144717"/>
                  </a:lnTo>
                  <a:lnTo>
                    <a:pt x="51187" y="138283"/>
                  </a:lnTo>
                  <a:lnTo>
                    <a:pt x="48613" y="131321"/>
                  </a:lnTo>
                  <a:lnTo>
                    <a:pt x="49360" y="119262"/>
                  </a:lnTo>
                  <a:lnTo>
                    <a:pt x="48712" y="114361"/>
                  </a:lnTo>
                  <a:lnTo>
                    <a:pt x="46631" y="110021"/>
                  </a:lnTo>
                  <a:lnTo>
                    <a:pt x="44507" y="104455"/>
                  </a:lnTo>
                  <a:lnTo>
                    <a:pt x="44426" y="99813"/>
                  </a:lnTo>
                  <a:lnTo>
                    <a:pt x="46473" y="87623"/>
                  </a:lnTo>
                  <a:lnTo>
                    <a:pt x="48043" y="78302"/>
                  </a:lnTo>
                  <a:lnTo>
                    <a:pt x="50528" y="66163"/>
                  </a:lnTo>
                  <a:lnTo>
                    <a:pt x="49655" y="62761"/>
                  </a:lnTo>
                  <a:lnTo>
                    <a:pt x="47804" y="60222"/>
                  </a:lnTo>
                  <a:lnTo>
                    <a:pt x="42241" y="57541"/>
                  </a:lnTo>
                  <a:lnTo>
                    <a:pt x="42171" y="55925"/>
                  </a:lnTo>
                  <a:lnTo>
                    <a:pt x="43543" y="54139"/>
                  </a:lnTo>
                  <a:lnTo>
                    <a:pt x="51766" y="48214"/>
                  </a:lnTo>
                  <a:lnTo>
                    <a:pt x="56185" y="39501"/>
                  </a:lnTo>
                  <a:lnTo>
                    <a:pt x="59887" y="37682"/>
                  </a:lnTo>
                  <a:lnTo>
                    <a:pt x="65485" y="34524"/>
                  </a:lnTo>
                  <a:lnTo>
                    <a:pt x="65271" y="31125"/>
                  </a:lnTo>
                  <a:lnTo>
                    <a:pt x="64023" y="27495"/>
                  </a:lnTo>
                  <a:lnTo>
                    <a:pt x="78650" y="23381"/>
                  </a:lnTo>
                  <a:lnTo>
                    <a:pt x="92589" y="12595"/>
                  </a:lnTo>
                  <a:lnTo>
                    <a:pt x="97513" y="9951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31" name="ee4p_TZ_1_82333">
              <a:extLst>
                <a:ext uri="{FF2B5EF4-FFF2-40B4-BE49-F238E27FC236}">
                  <a16:creationId xmlns:a16="http://schemas.microsoft.com/office/drawing/2014/main" id="{2737D8C5-46A9-EA62-473B-E9D3A2292B6F}"/>
                </a:ext>
              </a:extLst>
            </p:cNvPr>
            <p:cNvSpPr>
              <a:spLocks noChangeAspect="1"/>
            </p:cNvSpPr>
            <p:nvPr>
              <p:custDataLst>
                <p:tags r:id="rId159"/>
              </p:custDataLst>
            </p:nvPr>
          </p:nvSpPr>
          <p:spPr>
            <a:xfrm>
              <a:off x="7328993" y="4706071"/>
              <a:ext cx="309354" cy="307330"/>
            </a:xfrm>
            <a:custGeom>
              <a:avLst/>
              <a:gdLst>
                <a:gd name="connsiteX0" fmla="*/ 626855 w 659812"/>
                <a:gd name="connsiteY0" fmla="*/ 394984 h 638119"/>
                <a:gd name="connsiteX1" fmla="*/ 626297 w 659812"/>
                <a:gd name="connsiteY1" fmla="*/ 399685 h 638119"/>
                <a:gd name="connsiteX2" fmla="*/ 621956 w 659812"/>
                <a:gd name="connsiteY2" fmla="*/ 409965 h 638119"/>
                <a:gd name="connsiteX3" fmla="*/ 618249 w 659812"/>
                <a:gd name="connsiteY3" fmla="*/ 410635 h 638119"/>
                <a:gd name="connsiteX4" fmla="*/ 615257 w 659812"/>
                <a:gd name="connsiteY4" fmla="*/ 414540 h 638119"/>
                <a:gd name="connsiteX5" fmla="*/ 612053 w 659812"/>
                <a:gd name="connsiteY5" fmla="*/ 415320 h 638119"/>
                <a:gd name="connsiteX6" fmla="*/ 610805 w 659812"/>
                <a:gd name="connsiteY6" fmla="*/ 414564 h 638119"/>
                <a:gd name="connsiteX7" fmla="*/ 608836 w 659812"/>
                <a:gd name="connsiteY7" fmla="*/ 412079 h 638119"/>
                <a:gd name="connsiteX8" fmla="*/ 612254 w 659812"/>
                <a:gd name="connsiteY8" fmla="*/ 409960 h 638119"/>
                <a:gd name="connsiteX9" fmla="*/ 615570 w 659812"/>
                <a:gd name="connsiteY9" fmla="*/ 405846 h 638119"/>
                <a:gd name="connsiteX10" fmla="*/ 623268 w 659812"/>
                <a:gd name="connsiteY10" fmla="*/ 399814 h 638119"/>
                <a:gd name="connsiteX11" fmla="*/ 625893 w 659812"/>
                <a:gd name="connsiteY11" fmla="*/ 395833 h 638119"/>
                <a:gd name="connsiteX12" fmla="*/ 591425 w 659812"/>
                <a:gd name="connsiteY12" fmla="*/ 280334 h 638119"/>
                <a:gd name="connsiteX13" fmla="*/ 594283 w 659812"/>
                <a:gd name="connsiteY13" fmla="*/ 285657 h 638119"/>
                <a:gd name="connsiteX14" fmla="*/ 594937 w 659812"/>
                <a:gd name="connsiteY14" fmla="*/ 293955 h 638119"/>
                <a:gd name="connsiteX15" fmla="*/ 598791 w 659812"/>
                <a:gd name="connsiteY15" fmla="*/ 303718 h 638119"/>
                <a:gd name="connsiteX16" fmla="*/ 602021 w 659812"/>
                <a:gd name="connsiteY16" fmla="*/ 306737 h 638119"/>
                <a:gd name="connsiteX17" fmla="*/ 602533 w 659812"/>
                <a:gd name="connsiteY17" fmla="*/ 307235 h 638119"/>
                <a:gd name="connsiteX18" fmla="*/ 607068 w 659812"/>
                <a:gd name="connsiteY18" fmla="*/ 319889 h 638119"/>
                <a:gd name="connsiteX19" fmla="*/ 606481 w 659812"/>
                <a:gd name="connsiteY19" fmla="*/ 322257 h 638119"/>
                <a:gd name="connsiteX20" fmla="*/ 603283 w 659812"/>
                <a:gd name="connsiteY20" fmla="*/ 323708 h 638119"/>
                <a:gd name="connsiteX21" fmla="*/ 601611 w 659812"/>
                <a:gd name="connsiteY21" fmla="*/ 323832 h 638119"/>
                <a:gd name="connsiteX22" fmla="*/ 599621 w 659812"/>
                <a:gd name="connsiteY22" fmla="*/ 321812 h 638119"/>
                <a:gd name="connsiteX23" fmla="*/ 598218 w 659812"/>
                <a:gd name="connsiteY23" fmla="*/ 317537 h 638119"/>
                <a:gd name="connsiteX24" fmla="*/ 595788 w 659812"/>
                <a:gd name="connsiteY24" fmla="*/ 318552 h 638119"/>
                <a:gd name="connsiteX25" fmla="*/ 591647 w 659812"/>
                <a:gd name="connsiteY25" fmla="*/ 313449 h 638119"/>
                <a:gd name="connsiteX26" fmla="*/ 587547 w 659812"/>
                <a:gd name="connsiteY26" fmla="*/ 313206 h 638119"/>
                <a:gd name="connsiteX27" fmla="*/ 583925 w 659812"/>
                <a:gd name="connsiteY27" fmla="*/ 307115 h 638119"/>
                <a:gd name="connsiteX28" fmla="*/ 585342 w 659812"/>
                <a:gd name="connsiteY28" fmla="*/ 301803 h 638119"/>
                <a:gd name="connsiteX29" fmla="*/ 584520 w 659812"/>
                <a:gd name="connsiteY29" fmla="*/ 292760 h 638119"/>
                <a:gd name="connsiteX30" fmla="*/ 588939 w 659812"/>
                <a:gd name="connsiteY30" fmla="*/ 288126 h 638119"/>
                <a:gd name="connsiteX31" fmla="*/ 624361 w 659812"/>
                <a:gd name="connsiteY31" fmla="*/ 231882 h 638119"/>
                <a:gd name="connsiteX32" fmla="*/ 624715 w 659812"/>
                <a:gd name="connsiteY32" fmla="*/ 234874 h 638119"/>
                <a:gd name="connsiteX33" fmla="*/ 623807 w 659812"/>
                <a:gd name="connsiteY33" fmla="*/ 237689 h 638119"/>
                <a:gd name="connsiteX34" fmla="*/ 624002 w 659812"/>
                <a:gd name="connsiteY34" fmla="*/ 246668 h 638119"/>
                <a:gd name="connsiteX35" fmla="*/ 623649 w 659812"/>
                <a:gd name="connsiteY35" fmla="*/ 252622 h 638119"/>
                <a:gd name="connsiteX36" fmla="*/ 620265 w 659812"/>
                <a:gd name="connsiteY36" fmla="*/ 260878 h 638119"/>
                <a:gd name="connsiteX37" fmla="*/ 617507 w 659812"/>
                <a:gd name="connsiteY37" fmla="*/ 263811 h 638119"/>
                <a:gd name="connsiteX38" fmla="*/ 615037 w 659812"/>
                <a:gd name="connsiteY38" fmla="*/ 262959 h 638119"/>
                <a:gd name="connsiteX39" fmla="*/ 613015 w 659812"/>
                <a:gd name="connsiteY39" fmla="*/ 261601 h 638119"/>
                <a:gd name="connsiteX40" fmla="*/ 611434 w 659812"/>
                <a:gd name="connsiteY40" fmla="*/ 259340 h 638119"/>
                <a:gd name="connsiteX41" fmla="*/ 614651 w 659812"/>
                <a:gd name="connsiteY41" fmla="*/ 244201 h 638119"/>
                <a:gd name="connsiteX42" fmla="*/ 613015 w 659812"/>
                <a:gd name="connsiteY42" fmla="*/ 233122 h 638119"/>
                <a:gd name="connsiteX43" fmla="*/ 619371 w 659812"/>
                <a:gd name="connsiteY43" fmla="*/ 234183 h 638119"/>
                <a:gd name="connsiteX44" fmla="*/ 87998 w 659812"/>
                <a:gd name="connsiteY44" fmla="*/ 0 h 638119"/>
                <a:gd name="connsiteX45" fmla="*/ 88856 w 659812"/>
                <a:gd name="connsiteY45" fmla="*/ 241 h 638119"/>
                <a:gd name="connsiteX46" fmla="*/ 90104 w 659812"/>
                <a:gd name="connsiteY46" fmla="*/ 421 h 638119"/>
                <a:gd name="connsiteX47" fmla="*/ 96321 w 659812"/>
                <a:gd name="connsiteY47" fmla="*/ 421 h 638119"/>
                <a:gd name="connsiteX48" fmla="*/ 106853 w 659812"/>
                <a:gd name="connsiteY48" fmla="*/ 421 h 638119"/>
                <a:gd name="connsiteX49" fmla="*/ 117382 w 659812"/>
                <a:gd name="connsiteY49" fmla="*/ 421 h 638119"/>
                <a:gd name="connsiteX50" fmla="*/ 127914 w 659812"/>
                <a:gd name="connsiteY50" fmla="*/ 421 h 638119"/>
                <a:gd name="connsiteX51" fmla="*/ 138441 w 659812"/>
                <a:gd name="connsiteY51" fmla="*/ 421 h 638119"/>
                <a:gd name="connsiteX52" fmla="*/ 148968 w 659812"/>
                <a:gd name="connsiteY52" fmla="*/ 421 h 638119"/>
                <a:gd name="connsiteX53" fmla="*/ 159500 w 659812"/>
                <a:gd name="connsiteY53" fmla="*/ 421 h 638119"/>
                <a:gd name="connsiteX54" fmla="*/ 170026 w 659812"/>
                <a:gd name="connsiteY54" fmla="*/ 421 h 638119"/>
                <a:gd name="connsiteX55" fmla="*/ 180553 w 659812"/>
                <a:gd name="connsiteY55" fmla="*/ 421 h 638119"/>
                <a:gd name="connsiteX56" fmla="*/ 191088 w 659812"/>
                <a:gd name="connsiteY56" fmla="*/ 421 h 638119"/>
                <a:gd name="connsiteX57" fmla="*/ 201614 w 659812"/>
                <a:gd name="connsiteY57" fmla="*/ 421 h 638119"/>
                <a:gd name="connsiteX58" fmla="*/ 212141 w 659812"/>
                <a:gd name="connsiteY58" fmla="*/ 421 h 638119"/>
                <a:gd name="connsiteX59" fmla="*/ 222673 w 659812"/>
                <a:gd name="connsiteY59" fmla="*/ 421 h 638119"/>
                <a:gd name="connsiteX60" fmla="*/ 233200 w 659812"/>
                <a:gd name="connsiteY60" fmla="*/ 421 h 638119"/>
                <a:gd name="connsiteX61" fmla="*/ 243726 w 659812"/>
                <a:gd name="connsiteY61" fmla="*/ 421 h 638119"/>
                <a:gd name="connsiteX62" fmla="*/ 254261 w 659812"/>
                <a:gd name="connsiteY62" fmla="*/ 421 h 638119"/>
                <a:gd name="connsiteX63" fmla="*/ 264788 w 659812"/>
                <a:gd name="connsiteY63" fmla="*/ 421 h 638119"/>
                <a:gd name="connsiteX64" fmla="*/ 271254 w 659812"/>
                <a:gd name="connsiteY64" fmla="*/ 421 h 638119"/>
                <a:gd name="connsiteX65" fmla="*/ 275764 w 659812"/>
                <a:gd name="connsiteY65" fmla="*/ 421 h 638119"/>
                <a:gd name="connsiteX66" fmla="*/ 280039 w 659812"/>
                <a:gd name="connsiteY66" fmla="*/ 2660 h 638119"/>
                <a:gd name="connsiteX67" fmla="*/ 284783 w 659812"/>
                <a:gd name="connsiteY67" fmla="*/ 5309 h 638119"/>
                <a:gd name="connsiteX68" fmla="*/ 297402 w 659812"/>
                <a:gd name="connsiteY68" fmla="*/ 12362 h 638119"/>
                <a:gd name="connsiteX69" fmla="*/ 310031 w 659812"/>
                <a:gd name="connsiteY69" fmla="*/ 19406 h 638119"/>
                <a:gd name="connsiteX70" fmla="*/ 322655 w 659812"/>
                <a:gd name="connsiteY70" fmla="*/ 26459 h 638119"/>
                <a:gd name="connsiteX71" fmla="*/ 335282 w 659812"/>
                <a:gd name="connsiteY71" fmla="*/ 33506 h 638119"/>
                <a:gd name="connsiteX72" fmla="*/ 347908 w 659812"/>
                <a:gd name="connsiteY72" fmla="*/ 40559 h 638119"/>
                <a:gd name="connsiteX73" fmla="*/ 360530 w 659812"/>
                <a:gd name="connsiteY73" fmla="*/ 47611 h 638119"/>
                <a:gd name="connsiteX74" fmla="*/ 373156 w 659812"/>
                <a:gd name="connsiteY74" fmla="*/ 54659 h 638119"/>
                <a:gd name="connsiteX75" fmla="*/ 385783 w 659812"/>
                <a:gd name="connsiteY75" fmla="*/ 61711 h 638119"/>
                <a:gd name="connsiteX76" fmla="*/ 398402 w 659812"/>
                <a:gd name="connsiteY76" fmla="*/ 68766 h 638119"/>
                <a:gd name="connsiteX77" fmla="*/ 411023 w 659812"/>
                <a:gd name="connsiteY77" fmla="*/ 75814 h 638119"/>
                <a:gd name="connsiteX78" fmla="*/ 423658 w 659812"/>
                <a:gd name="connsiteY78" fmla="*/ 82864 h 638119"/>
                <a:gd name="connsiteX79" fmla="*/ 436276 w 659812"/>
                <a:gd name="connsiteY79" fmla="*/ 89916 h 638119"/>
                <a:gd name="connsiteX80" fmla="*/ 448903 w 659812"/>
                <a:gd name="connsiteY80" fmla="*/ 96972 h 638119"/>
                <a:gd name="connsiteX81" fmla="*/ 461530 w 659812"/>
                <a:gd name="connsiteY81" fmla="*/ 104022 h 638119"/>
                <a:gd name="connsiteX82" fmla="*/ 474156 w 659812"/>
                <a:gd name="connsiteY82" fmla="*/ 111079 h 638119"/>
                <a:gd name="connsiteX83" fmla="*/ 486783 w 659812"/>
                <a:gd name="connsiteY83" fmla="*/ 118130 h 638119"/>
                <a:gd name="connsiteX84" fmla="*/ 492804 w 659812"/>
                <a:gd name="connsiteY84" fmla="*/ 121499 h 638119"/>
                <a:gd name="connsiteX85" fmla="*/ 493712 w 659812"/>
                <a:gd name="connsiteY85" fmla="*/ 122959 h 638119"/>
                <a:gd name="connsiteX86" fmla="*/ 494760 w 659812"/>
                <a:gd name="connsiteY86" fmla="*/ 129385 h 638119"/>
                <a:gd name="connsiteX87" fmla="*/ 495419 w 659812"/>
                <a:gd name="connsiteY87" fmla="*/ 133403 h 638119"/>
                <a:gd name="connsiteX88" fmla="*/ 495054 w 659812"/>
                <a:gd name="connsiteY88" fmla="*/ 136936 h 638119"/>
                <a:gd name="connsiteX89" fmla="*/ 491711 w 659812"/>
                <a:gd name="connsiteY89" fmla="*/ 142952 h 638119"/>
                <a:gd name="connsiteX90" fmla="*/ 490723 w 659812"/>
                <a:gd name="connsiteY90" fmla="*/ 146096 h 638119"/>
                <a:gd name="connsiteX91" fmla="*/ 490694 w 659812"/>
                <a:gd name="connsiteY91" fmla="*/ 148279 h 638119"/>
                <a:gd name="connsiteX92" fmla="*/ 491513 w 659812"/>
                <a:gd name="connsiteY92" fmla="*/ 149136 h 638119"/>
                <a:gd name="connsiteX93" fmla="*/ 494361 w 659812"/>
                <a:gd name="connsiteY93" fmla="*/ 149447 h 638119"/>
                <a:gd name="connsiteX94" fmla="*/ 496785 w 659812"/>
                <a:gd name="connsiteY94" fmla="*/ 150872 h 638119"/>
                <a:gd name="connsiteX95" fmla="*/ 497679 w 659812"/>
                <a:gd name="connsiteY95" fmla="*/ 151994 h 638119"/>
                <a:gd name="connsiteX96" fmla="*/ 499530 w 659812"/>
                <a:gd name="connsiteY96" fmla="*/ 156524 h 638119"/>
                <a:gd name="connsiteX97" fmla="*/ 501890 w 659812"/>
                <a:gd name="connsiteY97" fmla="*/ 158795 h 638119"/>
                <a:gd name="connsiteX98" fmla="*/ 507223 w 659812"/>
                <a:gd name="connsiteY98" fmla="*/ 162642 h 638119"/>
                <a:gd name="connsiteX99" fmla="*/ 516317 w 659812"/>
                <a:gd name="connsiteY99" fmla="*/ 169199 h 638119"/>
                <a:gd name="connsiteX100" fmla="*/ 525410 w 659812"/>
                <a:gd name="connsiteY100" fmla="*/ 175753 h 638119"/>
                <a:gd name="connsiteX101" fmla="*/ 534501 w 659812"/>
                <a:gd name="connsiteY101" fmla="*/ 182313 h 638119"/>
                <a:gd name="connsiteX102" fmla="*/ 543592 w 659812"/>
                <a:gd name="connsiteY102" fmla="*/ 188870 h 638119"/>
                <a:gd name="connsiteX103" fmla="*/ 552686 w 659812"/>
                <a:gd name="connsiteY103" fmla="*/ 195424 h 638119"/>
                <a:gd name="connsiteX104" fmla="*/ 561779 w 659812"/>
                <a:gd name="connsiteY104" fmla="*/ 201984 h 638119"/>
                <a:gd name="connsiteX105" fmla="*/ 570870 w 659812"/>
                <a:gd name="connsiteY105" fmla="*/ 208544 h 638119"/>
                <a:gd name="connsiteX106" fmla="*/ 579964 w 659812"/>
                <a:gd name="connsiteY106" fmla="*/ 215104 h 638119"/>
                <a:gd name="connsiteX107" fmla="*/ 584389 w 659812"/>
                <a:gd name="connsiteY107" fmla="*/ 218294 h 638119"/>
                <a:gd name="connsiteX108" fmla="*/ 586261 w 659812"/>
                <a:gd name="connsiteY108" fmla="*/ 219191 h 638119"/>
                <a:gd name="connsiteX109" fmla="*/ 585083 w 659812"/>
                <a:gd name="connsiteY109" fmla="*/ 224181 h 638119"/>
                <a:gd name="connsiteX110" fmla="*/ 580425 w 659812"/>
                <a:gd name="connsiteY110" fmla="*/ 236294 h 638119"/>
                <a:gd name="connsiteX111" fmla="*/ 580160 w 659812"/>
                <a:gd name="connsiteY111" fmla="*/ 241337 h 638119"/>
                <a:gd name="connsiteX112" fmla="*/ 578338 w 659812"/>
                <a:gd name="connsiteY112" fmla="*/ 247276 h 638119"/>
                <a:gd name="connsiteX113" fmla="*/ 576578 w 659812"/>
                <a:gd name="connsiteY113" fmla="*/ 251202 h 638119"/>
                <a:gd name="connsiteX114" fmla="*/ 571837 w 659812"/>
                <a:gd name="connsiteY114" fmla="*/ 268249 h 638119"/>
                <a:gd name="connsiteX115" fmla="*/ 567857 w 659812"/>
                <a:gd name="connsiteY115" fmla="*/ 274629 h 638119"/>
                <a:gd name="connsiteX116" fmla="*/ 562420 w 659812"/>
                <a:gd name="connsiteY116" fmla="*/ 289583 h 638119"/>
                <a:gd name="connsiteX117" fmla="*/ 561560 w 659812"/>
                <a:gd name="connsiteY117" fmla="*/ 301023 h 638119"/>
                <a:gd name="connsiteX118" fmla="*/ 564554 w 659812"/>
                <a:gd name="connsiteY118" fmla="*/ 309035 h 638119"/>
                <a:gd name="connsiteX119" fmla="*/ 565666 w 659812"/>
                <a:gd name="connsiteY119" fmla="*/ 316548 h 638119"/>
                <a:gd name="connsiteX120" fmla="*/ 572028 w 659812"/>
                <a:gd name="connsiteY120" fmla="*/ 323912 h 638119"/>
                <a:gd name="connsiteX121" fmla="*/ 577117 w 659812"/>
                <a:gd name="connsiteY121" fmla="*/ 326542 h 638119"/>
                <a:gd name="connsiteX122" fmla="*/ 580559 w 659812"/>
                <a:gd name="connsiteY122" fmla="*/ 329912 h 638119"/>
                <a:gd name="connsiteX123" fmla="*/ 586655 w 659812"/>
                <a:gd name="connsiteY123" fmla="*/ 337602 h 638119"/>
                <a:gd name="connsiteX124" fmla="*/ 590143 w 659812"/>
                <a:gd name="connsiteY124" fmla="*/ 345319 h 638119"/>
                <a:gd name="connsiteX125" fmla="*/ 601103 w 659812"/>
                <a:gd name="connsiteY125" fmla="*/ 349106 h 638119"/>
                <a:gd name="connsiteX126" fmla="*/ 605472 w 659812"/>
                <a:gd name="connsiteY126" fmla="*/ 357760 h 638119"/>
                <a:gd name="connsiteX127" fmla="*/ 603881 w 659812"/>
                <a:gd name="connsiteY127" fmla="*/ 363717 h 638119"/>
                <a:gd name="connsiteX128" fmla="*/ 598797 w 659812"/>
                <a:gd name="connsiteY128" fmla="*/ 368654 h 638119"/>
                <a:gd name="connsiteX129" fmla="*/ 594043 w 659812"/>
                <a:gd name="connsiteY129" fmla="*/ 376652 h 638119"/>
                <a:gd name="connsiteX130" fmla="*/ 590212 w 659812"/>
                <a:gd name="connsiteY130" fmla="*/ 387160 h 638119"/>
                <a:gd name="connsiteX131" fmla="*/ 590127 w 659812"/>
                <a:gd name="connsiteY131" fmla="*/ 403234 h 638119"/>
                <a:gd name="connsiteX132" fmla="*/ 592701 w 659812"/>
                <a:gd name="connsiteY132" fmla="*/ 400791 h 638119"/>
                <a:gd name="connsiteX133" fmla="*/ 598500 w 659812"/>
                <a:gd name="connsiteY133" fmla="*/ 404729 h 638119"/>
                <a:gd name="connsiteX134" fmla="*/ 599247 w 659812"/>
                <a:gd name="connsiteY134" fmla="*/ 416573 h 638119"/>
                <a:gd name="connsiteX135" fmla="*/ 593266 w 659812"/>
                <a:gd name="connsiteY135" fmla="*/ 430362 h 638119"/>
                <a:gd name="connsiteX136" fmla="*/ 591426 w 659812"/>
                <a:gd name="connsiteY136" fmla="*/ 436810 h 638119"/>
                <a:gd name="connsiteX137" fmla="*/ 591131 w 659812"/>
                <a:gd name="connsiteY137" fmla="*/ 442349 h 638119"/>
                <a:gd name="connsiteX138" fmla="*/ 595476 w 659812"/>
                <a:gd name="connsiteY138" fmla="*/ 458870 h 638119"/>
                <a:gd name="connsiteX139" fmla="*/ 602051 w 659812"/>
                <a:gd name="connsiteY139" fmla="*/ 467286 h 638119"/>
                <a:gd name="connsiteX140" fmla="*/ 601561 w 659812"/>
                <a:gd name="connsiteY140" fmla="*/ 469919 h 638119"/>
                <a:gd name="connsiteX141" fmla="*/ 599855 w 659812"/>
                <a:gd name="connsiteY141" fmla="*/ 472129 h 638119"/>
                <a:gd name="connsiteX142" fmla="*/ 611110 w 659812"/>
                <a:gd name="connsiteY142" fmla="*/ 487027 h 638119"/>
                <a:gd name="connsiteX143" fmla="*/ 610173 w 659812"/>
                <a:gd name="connsiteY143" fmla="*/ 499989 h 638119"/>
                <a:gd name="connsiteX144" fmla="*/ 614389 w 659812"/>
                <a:gd name="connsiteY144" fmla="*/ 510084 h 638119"/>
                <a:gd name="connsiteX145" fmla="*/ 616240 w 659812"/>
                <a:gd name="connsiteY145" fmla="*/ 518832 h 638119"/>
                <a:gd name="connsiteX146" fmla="*/ 619017 w 659812"/>
                <a:gd name="connsiteY146" fmla="*/ 525547 h 638119"/>
                <a:gd name="connsiteX147" fmla="*/ 619548 w 659812"/>
                <a:gd name="connsiteY147" fmla="*/ 530178 h 638119"/>
                <a:gd name="connsiteX148" fmla="*/ 616079 w 659812"/>
                <a:gd name="connsiteY148" fmla="*/ 535316 h 638119"/>
                <a:gd name="connsiteX149" fmla="*/ 624286 w 659812"/>
                <a:gd name="connsiteY149" fmla="*/ 536602 h 638119"/>
                <a:gd name="connsiteX150" fmla="*/ 629110 w 659812"/>
                <a:gd name="connsiteY150" fmla="*/ 540807 h 638119"/>
                <a:gd name="connsiteX151" fmla="*/ 631384 w 659812"/>
                <a:gd name="connsiteY151" fmla="*/ 544833 h 638119"/>
                <a:gd name="connsiteX152" fmla="*/ 637312 w 659812"/>
                <a:gd name="connsiteY152" fmla="*/ 544659 h 638119"/>
                <a:gd name="connsiteX153" fmla="*/ 640523 w 659812"/>
                <a:gd name="connsiteY153" fmla="*/ 547410 h 638119"/>
                <a:gd name="connsiteX154" fmla="*/ 645149 w 659812"/>
                <a:gd name="connsiteY154" fmla="*/ 549684 h 638119"/>
                <a:gd name="connsiteX155" fmla="*/ 655381 w 659812"/>
                <a:gd name="connsiteY155" fmla="*/ 556439 h 638119"/>
                <a:gd name="connsiteX156" fmla="*/ 658151 w 659812"/>
                <a:gd name="connsiteY156" fmla="*/ 559835 h 638119"/>
                <a:gd name="connsiteX157" fmla="*/ 659158 w 659812"/>
                <a:gd name="connsiteY157" fmla="*/ 561793 h 638119"/>
                <a:gd name="connsiteX158" fmla="*/ 659812 w 659812"/>
                <a:gd name="connsiteY158" fmla="*/ 563074 h 638119"/>
                <a:gd name="connsiteX159" fmla="*/ 652933 w 659812"/>
                <a:gd name="connsiteY159" fmla="*/ 568294 h 638119"/>
                <a:gd name="connsiteX160" fmla="*/ 642200 w 659812"/>
                <a:gd name="connsiteY160" fmla="*/ 576434 h 638119"/>
                <a:gd name="connsiteX161" fmla="*/ 631684 w 659812"/>
                <a:gd name="connsiteY161" fmla="*/ 584422 h 638119"/>
                <a:gd name="connsiteX162" fmla="*/ 621522 w 659812"/>
                <a:gd name="connsiteY162" fmla="*/ 589910 h 638119"/>
                <a:gd name="connsiteX163" fmla="*/ 614258 w 659812"/>
                <a:gd name="connsiteY163" fmla="*/ 592449 h 638119"/>
                <a:gd name="connsiteX164" fmla="*/ 606500 w 659812"/>
                <a:gd name="connsiteY164" fmla="*/ 593872 h 638119"/>
                <a:gd name="connsiteX165" fmla="*/ 599137 w 659812"/>
                <a:gd name="connsiteY165" fmla="*/ 597231 h 638119"/>
                <a:gd name="connsiteX166" fmla="*/ 592173 w 659812"/>
                <a:gd name="connsiteY166" fmla="*/ 602505 h 638119"/>
                <a:gd name="connsiteX167" fmla="*/ 583256 w 659812"/>
                <a:gd name="connsiteY167" fmla="*/ 605162 h 638119"/>
                <a:gd name="connsiteX168" fmla="*/ 572387 w 659812"/>
                <a:gd name="connsiteY168" fmla="*/ 605186 h 638119"/>
                <a:gd name="connsiteX169" fmla="*/ 560968 w 659812"/>
                <a:gd name="connsiteY169" fmla="*/ 608882 h 638119"/>
                <a:gd name="connsiteX170" fmla="*/ 549632 w 659812"/>
                <a:gd name="connsiteY170" fmla="*/ 615862 h 638119"/>
                <a:gd name="connsiteX171" fmla="*/ 543027 w 659812"/>
                <a:gd name="connsiteY171" fmla="*/ 619939 h 638119"/>
                <a:gd name="connsiteX172" fmla="*/ 532562 w 659812"/>
                <a:gd name="connsiteY172" fmla="*/ 613813 h 638119"/>
                <a:gd name="connsiteX173" fmla="*/ 524358 w 659812"/>
                <a:gd name="connsiteY173" fmla="*/ 611869 h 638119"/>
                <a:gd name="connsiteX174" fmla="*/ 514921 w 659812"/>
                <a:gd name="connsiteY174" fmla="*/ 612072 h 638119"/>
                <a:gd name="connsiteX175" fmla="*/ 509173 w 659812"/>
                <a:gd name="connsiteY175" fmla="*/ 612828 h 638119"/>
                <a:gd name="connsiteX176" fmla="*/ 507108 w 659812"/>
                <a:gd name="connsiteY176" fmla="*/ 614146 h 638119"/>
                <a:gd name="connsiteX177" fmla="*/ 505316 w 659812"/>
                <a:gd name="connsiteY177" fmla="*/ 617890 h 638119"/>
                <a:gd name="connsiteX178" fmla="*/ 503789 w 659812"/>
                <a:gd name="connsiteY178" fmla="*/ 624059 h 638119"/>
                <a:gd name="connsiteX179" fmla="*/ 497599 w 659812"/>
                <a:gd name="connsiteY179" fmla="*/ 629981 h 638119"/>
                <a:gd name="connsiteX180" fmla="*/ 486753 w 659812"/>
                <a:gd name="connsiteY180" fmla="*/ 635649 h 638119"/>
                <a:gd name="connsiteX181" fmla="*/ 476754 w 659812"/>
                <a:gd name="connsiteY181" fmla="*/ 637773 h 638119"/>
                <a:gd name="connsiteX182" fmla="*/ 467602 w 659812"/>
                <a:gd name="connsiteY182" fmla="*/ 636335 h 638119"/>
                <a:gd name="connsiteX183" fmla="*/ 461414 w 659812"/>
                <a:gd name="connsiteY183" fmla="*/ 633975 h 638119"/>
                <a:gd name="connsiteX184" fmla="*/ 458176 w 659812"/>
                <a:gd name="connsiteY184" fmla="*/ 630675 h 638119"/>
                <a:gd name="connsiteX185" fmla="*/ 453422 w 659812"/>
                <a:gd name="connsiteY185" fmla="*/ 629161 h 638119"/>
                <a:gd name="connsiteX186" fmla="*/ 447127 w 659812"/>
                <a:gd name="connsiteY186" fmla="*/ 629419 h 638119"/>
                <a:gd name="connsiteX187" fmla="*/ 441114 w 659812"/>
                <a:gd name="connsiteY187" fmla="*/ 631765 h 638119"/>
                <a:gd name="connsiteX188" fmla="*/ 435352 w 659812"/>
                <a:gd name="connsiteY188" fmla="*/ 636201 h 638119"/>
                <a:gd name="connsiteX189" fmla="*/ 426159 w 659812"/>
                <a:gd name="connsiteY189" fmla="*/ 638119 h 638119"/>
                <a:gd name="connsiteX190" fmla="*/ 413546 w 659812"/>
                <a:gd name="connsiteY190" fmla="*/ 637527 h 638119"/>
                <a:gd name="connsiteX191" fmla="*/ 406772 w 659812"/>
                <a:gd name="connsiteY191" fmla="*/ 635386 h 638119"/>
                <a:gd name="connsiteX192" fmla="*/ 405835 w 659812"/>
                <a:gd name="connsiteY192" fmla="*/ 631698 h 638119"/>
                <a:gd name="connsiteX193" fmla="*/ 400311 w 659812"/>
                <a:gd name="connsiteY193" fmla="*/ 627380 h 638119"/>
                <a:gd name="connsiteX194" fmla="*/ 390189 w 659812"/>
                <a:gd name="connsiteY194" fmla="*/ 622425 h 638119"/>
                <a:gd name="connsiteX195" fmla="*/ 382735 w 659812"/>
                <a:gd name="connsiteY195" fmla="*/ 622318 h 638119"/>
                <a:gd name="connsiteX196" fmla="*/ 377951 w 659812"/>
                <a:gd name="connsiteY196" fmla="*/ 627070 h 638119"/>
                <a:gd name="connsiteX197" fmla="*/ 373585 w 659812"/>
                <a:gd name="connsiteY197" fmla="*/ 630064 h 638119"/>
                <a:gd name="connsiteX198" fmla="*/ 369639 w 659812"/>
                <a:gd name="connsiteY198" fmla="*/ 631283 h 638119"/>
                <a:gd name="connsiteX199" fmla="*/ 366088 w 659812"/>
                <a:gd name="connsiteY199" fmla="*/ 631430 h 638119"/>
                <a:gd name="connsiteX200" fmla="*/ 362948 w 659812"/>
                <a:gd name="connsiteY200" fmla="*/ 630517 h 638119"/>
                <a:gd name="connsiteX201" fmla="*/ 360988 w 659812"/>
                <a:gd name="connsiteY201" fmla="*/ 630134 h 638119"/>
                <a:gd name="connsiteX202" fmla="*/ 347030 w 659812"/>
                <a:gd name="connsiteY202" fmla="*/ 629630 h 638119"/>
                <a:gd name="connsiteX203" fmla="*/ 333814 w 659812"/>
                <a:gd name="connsiteY203" fmla="*/ 629828 h 638119"/>
                <a:gd name="connsiteX204" fmla="*/ 333409 w 659812"/>
                <a:gd name="connsiteY204" fmla="*/ 627766 h 638119"/>
                <a:gd name="connsiteX205" fmla="*/ 332483 w 659812"/>
                <a:gd name="connsiteY205" fmla="*/ 622950 h 638119"/>
                <a:gd name="connsiteX206" fmla="*/ 329734 w 659812"/>
                <a:gd name="connsiteY206" fmla="*/ 618755 h 638119"/>
                <a:gd name="connsiteX207" fmla="*/ 327364 w 659812"/>
                <a:gd name="connsiteY207" fmla="*/ 616259 h 638119"/>
                <a:gd name="connsiteX208" fmla="*/ 324420 w 659812"/>
                <a:gd name="connsiteY208" fmla="*/ 615600 h 638119"/>
                <a:gd name="connsiteX209" fmla="*/ 322818 w 659812"/>
                <a:gd name="connsiteY209" fmla="*/ 615646 h 638119"/>
                <a:gd name="connsiteX210" fmla="*/ 321533 w 659812"/>
                <a:gd name="connsiteY210" fmla="*/ 613712 h 638119"/>
                <a:gd name="connsiteX211" fmla="*/ 320011 w 659812"/>
                <a:gd name="connsiteY211" fmla="*/ 609437 h 638119"/>
                <a:gd name="connsiteX212" fmla="*/ 317764 w 659812"/>
                <a:gd name="connsiteY212" fmla="*/ 605797 h 638119"/>
                <a:gd name="connsiteX213" fmla="*/ 314777 w 659812"/>
                <a:gd name="connsiteY213" fmla="*/ 602780 h 638119"/>
                <a:gd name="connsiteX214" fmla="*/ 312991 w 659812"/>
                <a:gd name="connsiteY214" fmla="*/ 599981 h 638119"/>
                <a:gd name="connsiteX215" fmla="*/ 312383 w 659812"/>
                <a:gd name="connsiteY215" fmla="*/ 597405 h 638119"/>
                <a:gd name="connsiteX216" fmla="*/ 312857 w 659812"/>
                <a:gd name="connsiteY216" fmla="*/ 594573 h 638119"/>
                <a:gd name="connsiteX217" fmla="*/ 315621 w 659812"/>
                <a:gd name="connsiteY217" fmla="*/ 587540 h 638119"/>
                <a:gd name="connsiteX218" fmla="*/ 316497 w 659812"/>
                <a:gd name="connsiteY218" fmla="*/ 582724 h 638119"/>
                <a:gd name="connsiteX219" fmla="*/ 316184 w 659812"/>
                <a:gd name="connsiteY219" fmla="*/ 577787 h 638119"/>
                <a:gd name="connsiteX220" fmla="*/ 314686 w 659812"/>
                <a:gd name="connsiteY220" fmla="*/ 572727 h 638119"/>
                <a:gd name="connsiteX221" fmla="*/ 311550 w 659812"/>
                <a:gd name="connsiteY221" fmla="*/ 566711 h 638119"/>
                <a:gd name="connsiteX222" fmla="*/ 311903 w 659812"/>
                <a:gd name="connsiteY222" fmla="*/ 564981 h 638119"/>
                <a:gd name="connsiteX223" fmla="*/ 310840 w 659812"/>
                <a:gd name="connsiteY223" fmla="*/ 560875 h 638119"/>
                <a:gd name="connsiteX224" fmla="*/ 310730 w 659812"/>
                <a:gd name="connsiteY224" fmla="*/ 558006 h 638119"/>
                <a:gd name="connsiteX225" fmla="*/ 311336 w 659812"/>
                <a:gd name="connsiteY225" fmla="*/ 554422 h 638119"/>
                <a:gd name="connsiteX226" fmla="*/ 310741 w 659812"/>
                <a:gd name="connsiteY226" fmla="*/ 549710 h 638119"/>
                <a:gd name="connsiteX227" fmla="*/ 308033 w 659812"/>
                <a:gd name="connsiteY227" fmla="*/ 539663 h 638119"/>
                <a:gd name="connsiteX228" fmla="*/ 308033 w 659812"/>
                <a:gd name="connsiteY228" fmla="*/ 537092 h 638119"/>
                <a:gd name="connsiteX229" fmla="*/ 305178 w 659812"/>
                <a:gd name="connsiteY229" fmla="*/ 532228 h 638119"/>
                <a:gd name="connsiteX230" fmla="*/ 296403 w 659812"/>
                <a:gd name="connsiteY230" fmla="*/ 520729 h 638119"/>
                <a:gd name="connsiteX231" fmla="*/ 295993 w 659812"/>
                <a:gd name="connsiteY231" fmla="*/ 519237 h 638119"/>
                <a:gd name="connsiteX232" fmla="*/ 282230 w 659812"/>
                <a:gd name="connsiteY232" fmla="*/ 507655 h 638119"/>
                <a:gd name="connsiteX233" fmla="*/ 276726 w 659812"/>
                <a:gd name="connsiteY233" fmla="*/ 505123 h 638119"/>
                <a:gd name="connsiteX234" fmla="*/ 274741 w 659812"/>
                <a:gd name="connsiteY234" fmla="*/ 507293 h 638119"/>
                <a:gd name="connsiteX235" fmla="*/ 273999 w 659812"/>
                <a:gd name="connsiteY235" fmla="*/ 509299 h 638119"/>
                <a:gd name="connsiteX236" fmla="*/ 274578 w 659812"/>
                <a:gd name="connsiteY236" fmla="*/ 513006 h 638119"/>
                <a:gd name="connsiteX237" fmla="*/ 274243 w 659812"/>
                <a:gd name="connsiteY237" fmla="*/ 514852 h 638119"/>
                <a:gd name="connsiteX238" fmla="*/ 273664 w 659812"/>
                <a:gd name="connsiteY238" fmla="*/ 515685 h 638119"/>
                <a:gd name="connsiteX239" fmla="*/ 270402 w 659812"/>
                <a:gd name="connsiteY239" fmla="*/ 515564 h 638119"/>
                <a:gd name="connsiteX240" fmla="*/ 268350 w 659812"/>
                <a:gd name="connsiteY240" fmla="*/ 515136 h 638119"/>
                <a:gd name="connsiteX241" fmla="*/ 263138 w 659812"/>
                <a:gd name="connsiteY241" fmla="*/ 512026 h 638119"/>
                <a:gd name="connsiteX242" fmla="*/ 259077 w 659812"/>
                <a:gd name="connsiteY242" fmla="*/ 511263 h 638119"/>
                <a:gd name="connsiteX243" fmla="*/ 249003 w 659812"/>
                <a:gd name="connsiteY243" fmla="*/ 511822 h 638119"/>
                <a:gd name="connsiteX244" fmla="*/ 245462 w 659812"/>
                <a:gd name="connsiteY244" fmla="*/ 512551 h 638119"/>
                <a:gd name="connsiteX245" fmla="*/ 242687 w 659812"/>
                <a:gd name="connsiteY245" fmla="*/ 511852 h 638119"/>
                <a:gd name="connsiteX246" fmla="*/ 237354 w 659812"/>
                <a:gd name="connsiteY246" fmla="*/ 506540 h 638119"/>
                <a:gd name="connsiteX247" fmla="*/ 231100 w 659812"/>
                <a:gd name="connsiteY247" fmla="*/ 505426 h 638119"/>
                <a:gd name="connsiteX248" fmla="*/ 225486 w 659812"/>
                <a:gd name="connsiteY248" fmla="*/ 505153 h 638119"/>
                <a:gd name="connsiteX249" fmla="*/ 216218 w 659812"/>
                <a:gd name="connsiteY249" fmla="*/ 499123 h 638119"/>
                <a:gd name="connsiteX250" fmla="*/ 214043 w 659812"/>
                <a:gd name="connsiteY250" fmla="*/ 499405 h 638119"/>
                <a:gd name="connsiteX251" fmla="*/ 213014 w 659812"/>
                <a:gd name="connsiteY251" fmla="*/ 499865 h 638119"/>
                <a:gd name="connsiteX252" fmla="*/ 209658 w 659812"/>
                <a:gd name="connsiteY252" fmla="*/ 498280 h 638119"/>
                <a:gd name="connsiteX253" fmla="*/ 203342 w 659812"/>
                <a:gd name="connsiteY253" fmla="*/ 494779 h 638119"/>
                <a:gd name="connsiteX254" fmla="*/ 194564 w 659812"/>
                <a:gd name="connsiteY254" fmla="*/ 491685 h 638119"/>
                <a:gd name="connsiteX255" fmla="*/ 187381 w 659812"/>
                <a:gd name="connsiteY255" fmla="*/ 488232 h 638119"/>
                <a:gd name="connsiteX256" fmla="*/ 184185 w 659812"/>
                <a:gd name="connsiteY256" fmla="*/ 484868 h 638119"/>
                <a:gd name="connsiteX257" fmla="*/ 177443 w 659812"/>
                <a:gd name="connsiteY257" fmla="*/ 483585 h 638119"/>
                <a:gd name="connsiteX258" fmla="*/ 171612 w 659812"/>
                <a:gd name="connsiteY258" fmla="*/ 483031 h 638119"/>
                <a:gd name="connsiteX259" fmla="*/ 166215 w 659812"/>
                <a:gd name="connsiteY259" fmla="*/ 479913 h 638119"/>
                <a:gd name="connsiteX260" fmla="*/ 160622 w 659812"/>
                <a:gd name="connsiteY260" fmla="*/ 479557 h 638119"/>
                <a:gd name="connsiteX261" fmla="*/ 155128 w 659812"/>
                <a:gd name="connsiteY261" fmla="*/ 478758 h 638119"/>
                <a:gd name="connsiteX262" fmla="*/ 153901 w 659812"/>
                <a:gd name="connsiteY262" fmla="*/ 476693 h 638119"/>
                <a:gd name="connsiteX263" fmla="*/ 153711 w 659812"/>
                <a:gd name="connsiteY263" fmla="*/ 472083 h 638119"/>
                <a:gd name="connsiteX264" fmla="*/ 151785 w 659812"/>
                <a:gd name="connsiteY264" fmla="*/ 470875 h 638119"/>
                <a:gd name="connsiteX265" fmla="*/ 147754 w 659812"/>
                <a:gd name="connsiteY265" fmla="*/ 469700 h 638119"/>
                <a:gd name="connsiteX266" fmla="*/ 143410 w 659812"/>
                <a:gd name="connsiteY266" fmla="*/ 469756 h 638119"/>
                <a:gd name="connsiteX267" fmla="*/ 140760 w 659812"/>
                <a:gd name="connsiteY267" fmla="*/ 470420 h 638119"/>
                <a:gd name="connsiteX268" fmla="*/ 139199 w 659812"/>
                <a:gd name="connsiteY268" fmla="*/ 470088 h 638119"/>
                <a:gd name="connsiteX269" fmla="*/ 135596 w 659812"/>
                <a:gd name="connsiteY269" fmla="*/ 467372 h 638119"/>
                <a:gd name="connsiteX270" fmla="*/ 132245 w 659812"/>
                <a:gd name="connsiteY270" fmla="*/ 463922 h 638119"/>
                <a:gd name="connsiteX271" fmla="*/ 130981 w 659812"/>
                <a:gd name="connsiteY271" fmla="*/ 458420 h 638119"/>
                <a:gd name="connsiteX272" fmla="*/ 125908 w 659812"/>
                <a:gd name="connsiteY272" fmla="*/ 454879 h 638119"/>
                <a:gd name="connsiteX273" fmla="*/ 120066 w 659812"/>
                <a:gd name="connsiteY273" fmla="*/ 452083 h 638119"/>
                <a:gd name="connsiteX274" fmla="*/ 103823 w 659812"/>
                <a:gd name="connsiteY274" fmla="*/ 452372 h 638119"/>
                <a:gd name="connsiteX275" fmla="*/ 101279 w 659812"/>
                <a:gd name="connsiteY275" fmla="*/ 451523 h 638119"/>
                <a:gd name="connsiteX276" fmla="*/ 97427 w 659812"/>
                <a:gd name="connsiteY276" fmla="*/ 448737 h 638119"/>
                <a:gd name="connsiteX277" fmla="*/ 92903 w 659812"/>
                <a:gd name="connsiteY277" fmla="*/ 444130 h 638119"/>
                <a:gd name="connsiteX278" fmla="*/ 89271 w 659812"/>
                <a:gd name="connsiteY278" fmla="*/ 438872 h 638119"/>
                <a:gd name="connsiteX279" fmla="*/ 86078 w 659812"/>
                <a:gd name="connsiteY279" fmla="*/ 431731 h 638119"/>
                <a:gd name="connsiteX280" fmla="*/ 84562 w 659812"/>
                <a:gd name="connsiteY280" fmla="*/ 427429 h 638119"/>
                <a:gd name="connsiteX281" fmla="*/ 82770 w 659812"/>
                <a:gd name="connsiteY281" fmla="*/ 422107 h 638119"/>
                <a:gd name="connsiteX282" fmla="*/ 78795 w 659812"/>
                <a:gd name="connsiteY282" fmla="*/ 414152 h 638119"/>
                <a:gd name="connsiteX283" fmla="*/ 73173 w 659812"/>
                <a:gd name="connsiteY283" fmla="*/ 402891 h 638119"/>
                <a:gd name="connsiteX284" fmla="*/ 68836 w 659812"/>
                <a:gd name="connsiteY284" fmla="*/ 393669 h 638119"/>
                <a:gd name="connsiteX285" fmla="*/ 64162 w 659812"/>
                <a:gd name="connsiteY285" fmla="*/ 383753 h 638119"/>
                <a:gd name="connsiteX286" fmla="*/ 62252 w 659812"/>
                <a:gd name="connsiteY286" fmla="*/ 376489 h 638119"/>
                <a:gd name="connsiteX287" fmla="*/ 58620 w 659812"/>
                <a:gd name="connsiteY287" fmla="*/ 368456 h 638119"/>
                <a:gd name="connsiteX288" fmla="*/ 52668 w 659812"/>
                <a:gd name="connsiteY288" fmla="*/ 358585 h 638119"/>
                <a:gd name="connsiteX289" fmla="*/ 49655 w 659812"/>
                <a:gd name="connsiteY289" fmla="*/ 354726 h 638119"/>
                <a:gd name="connsiteX290" fmla="*/ 46366 w 659812"/>
                <a:gd name="connsiteY290" fmla="*/ 351276 h 638119"/>
                <a:gd name="connsiteX291" fmla="*/ 37811 w 659812"/>
                <a:gd name="connsiteY291" fmla="*/ 344614 h 638119"/>
                <a:gd name="connsiteX292" fmla="*/ 28117 w 659812"/>
                <a:gd name="connsiteY292" fmla="*/ 337998 h 638119"/>
                <a:gd name="connsiteX293" fmla="*/ 22875 w 659812"/>
                <a:gd name="connsiteY293" fmla="*/ 333536 h 638119"/>
                <a:gd name="connsiteX294" fmla="*/ 15825 w 659812"/>
                <a:gd name="connsiteY294" fmla="*/ 320306 h 638119"/>
                <a:gd name="connsiteX295" fmla="*/ 12876 w 659812"/>
                <a:gd name="connsiteY295" fmla="*/ 315514 h 638119"/>
                <a:gd name="connsiteX296" fmla="*/ 10830 w 659812"/>
                <a:gd name="connsiteY296" fmla="*/ 307085 h 638119"/>
                <a:gd name="connsiteX297" fmla="*/ 9279 w 659812"/>
                <a:gd name="connsiteY297" fmla="*/ 298342 h 638119"/>
                <a:gd name="connsiteX298" fmla="*/ 9914 w 659812"/>
                <a:gd name="connsiteY298" fmla="*/ 294801 h 638119"/>
                <a:gd name="connsiteX299" fmla="*/ 16168 w 659812"/>
                <a:gd name="connsiteY299" fmla="*/ 283543 h 638119"/>
                <a:gd name="connsiteX300" fmla="*/ 16797 w 659812"/>
                <a:gd name="connsiteY300" fmla="*/ 280374 h 638119"/>
                <a:gd name="connsiteX301" fmla="*/ 16034 w 659812"/>
                <a:gd name="connsiteY301" fmla="*/ 276105 h 638119"/>
                <a:gd name="connsiteX302" fmla="*/ 12967 w 659812"/>
                <a:gd name="connsiteY302" fmla="*/ 267134 h 638119"/>
                <a:gd name="connsiteX303" fmla="*/ 10677 w 659812"/>
                <a:gd name="connsiteY303" fmla="*/ 261263 h 638119"/>
                <a:gd name="connsiteX304" fmla="*/ 9064 w 659812"/>
                <a:gd name="connsiteY304" fmla="*/ 256254 h 638119"/>
                <a:gd name="connsiteX305" fmla="*/ 5727 w 659812"/>
                <a:gd name="connsiteY305" fmla="*/ 247913 h 638119"/>
                <a:gd name="connsiteX306" fmla="*/ 1147 w 659812"/>
                <a:gd name="connsiteY306" fmla="*/ 236449 h 638119"/>
                <a:gd name="connsiteX307" fmla="*/ 0 w 659812"/>
                <a:gd name="connsiteY307" fmla="*/ 231445 h 638119"/>
                <a:gd name="connsiteX308" fmla="*/ 134 w 659812"/>
                <a:gd name="connsiteY308" fmla="*/ 227695 h 638119"/>
                <a:gd name="connsiteX309" fmla="*/ 2615 w 659812"/>
                <a:gd name="connsiteY309" fmla="*/ 217796 h 638119"/>
                <a:gd name="connsiteX310" fmla="*/ 4784 w 659812"/>
                <a:gd name="connsiteY310" fmla="*/ 207577 h 638119"/>
                <a:gd name="connsiteX311" fmla="*/ 4725 w 659812"/>
                <a:gd name="connsiteY311" fmla="*/ 204764 h 638119"/>
                <a:gd name="connsiteX312" fmla="*/ 23357 w 659812"/>
                <a:gd name="connsiteY312" fmla="*/ 205153 h 638119"/>
                <a:gd name="connsiteX313" fmla="*/ 26421 w 659812"/>
                <a:gd name="connsiteY313" fmla="*/ 202911 h 638119"/>
                <a:gd name="connsiteX314" fmla="*/ 36948 w 659812"/>
                <a:gd name="connsiteY314" fmla="*/ 196340 h 638119"/>
                <a:gd name="connsiteX315" fmla="*/ 48790 w 659812"/>
                <a:gd name="connsiteY315" fmla="*/ 183170 h 638119"/>
                <a:gd name="connsiteX316" fmla="*/ 51155 w 659812"/>
                <a:gd name="connsiteY316" fmla="*/ 177684 h 638119"/>
                <a:gd name="connsiteX317" fmla="*/ 55979 w 659812"/>
                <a:gd name="connsiteY317" fmla="*/ 169239 h 638119"/>
                <a:gd name="connsiteX318" fmla="*/ 60709 w 659812"/>
                <a:gd name="connsiteY318" fmla="*/ 165044 h 638119"/>
                <a:gd name="connsiteX319" fmla="*/ 62526 w 659812"/>
                <a:gd name="connsiteY319" fmla="*/ 162138 h 638119"/>
                <a:gd name="connsiteX320" fmla="*/ 63763 w 659812"/>
                <a:gd name="connsiteY320" fmla="*/ 157579 h 638119"/>
                <a:gd name="connsiteX321" fmla="*/ 65244 w 659812"/>
                <a:gd name="connsiteY321" fmla="*/ 153722 h 638119"/>
                <a:gd name="connsiteX322" fmla="*/ 71456 w 659812"/>
                <a:gd name="connsiteY322" fmla="*/ 148006 h 638119"/>
                <a:gd name="connsiteX323" fmla="*/ 77501 w 659812"/>
                <a:gd name="connsiteY323" fmla="*/ 143629 h 638119"/>
                <a:gd name="connsiteX324" fmla="*/ 77067 w 659812"/>
                <a:gd name="connsiteY324" fmla="*/ 141851 h 638119"/>
                <a:gd name="connsiteX325" fmla="*/ 76256 w 659812"/>
                <a:gd name="connsiteY325" fmla="*/ 140530 h 638119"/>
                <a:gd name="connsiteX326" fmla="*/ 77153 w 659812"/>
                <a:gd name="connsiteY326" fmla="*/ 139400 h 638119"/>
                <a:gd name="connsiteX327" fmla="*/ 80456 w 659812"/>
                <a:gd name="connsiteY327" fmla="*/ 137147 h 638119"/>
                <a:gd name="connsiteX328" fmla="*/ 86876 w 659812"/>
                <a:gd name="connsiteY328" fmla="*/ 135087 h 638119"/>
                <a:gd name="connsiteX329" fmla="*/ 88130 w 659812"/>
                <a:gd name="connsiteY329" fmla="*/ 130697 h 638119"/>
                <a:gd name="connsiteX330" fmla="*/ 88114 w 659812"/>
                <a:gd name="connsiteY330" fmla="*/ 125707 h 638119"/>
                <a:gd name="connsiteX331" fmla="*/ 87074 w 659812"/>
                <a:gd name="connsiteY331" fmla="*/ 122919 h 638119"/>
                <a:gd name="connsiteX332" fmla="*/ 87270 w 659812"/>
                <a:gd name="connsiteY332" fmla="*/ 119705 h 638119"/>
                <a:gd name="connsiteX333" fmla="*/ 86287 w 659812"/>
                <a:gd name="connsiteY333" fmla="*/ 117910 h 638119"/>
                <a:gd name="connsiteX334" fmla="*/ 82092 w 659812"/>
                <a:gd name="connsiteY334" fmla="*/ 117457 h 638119"/>
                <a:gd name="connsiteX335" fmla="*/ 75865 w 659812"/>
                <a:gd name="connsiteY335" fmla="*/ 114969 h 638119"/>
                <a:gd name="connsiteX336" fmla="*/ 70577 w 659812"/>
                <a:gd name="connsiteY336" fmla="*/ 113921 h 638119"/>
                <a:gd name="connsiteX337" fmla="*/ 67055 w 659812"/>
                <a:gd name="connsiteY337" fmla="*/ 112475 h 638119"/>
                <a:gd name="connsiteX338" fmla="*/ 65748 w 659812"/>
                <a:gd name="connsiteY338" fmla="*/ 111369 h 638119"/>
                <a:gd name="connsiteX339" fmla="*/ 65185 w 659812"/>
                <a:gd name="connsiteY339" fmla="*/ 108374 h 638119"/>
                <a:gd name="connsiteX340" fmla="*/ 66211 w 659812"/>
                <a:gd name="connsiteY340" fmla="*/ 105117 h 638119"/>
                <a:gd name="connsiteX341" fmla="*/ 66755 w 659812"/>
                <a:gd name="connsiteY341" fmla="*/ 104180 h 638119"/>
                <a:gd name="connsiteX342" fmla="*/ 68108 w 659812"/>
                <a:gd name="connsiteY342" fmla="*/ 100689 h 638119"/>
                <a:gd name="connsiteX343" fmla="*/ 65799 w 659812"/>
                <a:gd name="connsiteY343" fmla="*/ 98587 h 638119"/>
                <a:gd name="connsiteX344" fmla="*/ 65199 w 659812"/>
                <a:gd name="connsiteY344" fmla="*/ 97564 h 638119"/>
                <a:gd name="connsiteX345" fmla="*/ 66251 w 659812"/>
                <a:gd name="connsiteY345" fmla="*/ 95895 h 638119"/>
                <a:gd name="connsiteX346" fmla="*/ 71681 w 659812"/>
                <a:gd name="connsiteY346" fmla="*/ 84800 h 638119"/>
                <a:gd name="connsiteX347" fmla="*/ 72862 w 659812"/>
                <a:gd name="connsiteY347" fmla="*/ 83249 h 638119"/>
                <a:gd name="connsiteX348" fmla="*/ 75216 w 659812"/>
                <a:gd name="connsiteY348" fmla="*/ 83054 h 638119"/>
                <a:gd name="connsiteX349" fmla="*/ 78964 w 659812"/>
                <a:gd name="connsiteY349" fmla="*/ 81693 h 638119"/>
                <a:gd name="connsiteX350" fmla="*/ 82411 w 659812"/>
                <a:gd name="connsiteY350" fmla="*/ 81080 h 638119"/>
                <a:gd name="connsiteX351" fmla="*/ 85234 w 659812"/>
                <a:gd name="connsiteY351" fmla="*/ 81567 h 638119"/>
                <a:gd name="connsiteX352" fmla="*/ 87315 w 659812"/>
                <a:gd name="connsiteY352" fmla="*/ 81034 h 638119"/>
                <a:gd name="connsiteX353" fmla="*/ 89156 w 659812"/>
                <a:gd name="connsiteY353" fmla="*/ 79599 h 638119"/>
                <a:gd name="connsiteX354" fmla="*/ 90712 w 659812"/>
                <a:gd name="connsiteY354" fmla="*/ 75270 h 638119"/>
                <a:gd name="connsiteX355" fmla="*/ 91990 w 659812"/>
                <a:gd name="connsiteY355" fmla="*/ 68035 h 638119"/>
                <a:gd name="connsiteX356" fmla="*/ 91285 w 659812"/>
                <a:gd name="connsiteY356" fmla="*/ 62150 h 638119"/>
                <a:gd name="connsiteX357" fmla="*/ 88588 w 659812"/>
                <a:gd name="connsiteY357" fmla="*/ 57616 h 638119"/>
                <a:gd name="connsiteX358" fmla="*/ 87854 w 659812"/>
                <a:gd name="connsiteY358" fmla="*/ 50694 h 638119"/>
                <a:gd name="connsiteX359" fmla="*/ 89086 w 659812"/>
                <a:gd name="connsiteY359" fmla="*/ 41392 h 638119"/>
                <a:gd name="connsiteX360" fmla="*/ 88199 w 659812"/>
                <a:gd name="connsiteY360" fmla="*/ 33656 h 638119"/>
                <a:gd name="connsiteX361" fmla="*/ 85215 w 659812"/>
                <a:gd name="connsiteY361" fmla="*/ 27471 h 638119"/>
                <a:gd name="connsiteX362" fmla="*/ 82167 w 659812"/>
                <a:gd name="connsiteY362" fmla="*/ 23804 h 638119"/>
                <a:gd name="connsiteX363" fmla="*/ 77501 w 659812"/>
                <a:gd name="connsiteY363" fmla="*/ 22069 h 638119"/>
                <a:gd name="connsiteX364" fmla="*/ 70167 w 659812"/>
                <a:gd name="connsiteY364" fmla="*/ 12632 h 638119"/>
                <a:gd name="connsiteX365" fmla="*/ 67923 w 659812"/>
                <a:gd name="connsiteY365" fmla="*/ 8068 h 638119"/>
                <a:gd name="connsiteX366" fmla="*/ 68327 w 659812"/>
                <a:gd name="connsiteY366" fmla="*/ 5218 h 638119"/>
                <a:gd name="connsiteX367" fmla="*/ 70277 w 659812"/>
                <a:gd name="connsiteY367" fmla="*/ 4286 h 638119"/>
                <a:gd name="connsiteX368" fmla="*/ 70867 w 659812"/>
                <a:gd name="connsiteY368" fmla="*/ 4002 h 638119"/>
                <a:gd name="connsiteX369" fmla="*/ 75533 w 659812"/>
                <a:gd name="connsiteY369" fmla="*/ 4430 h 638119"/>
                <a:gd name="connsiteX370" fmla="*/ 79917 w 659812"/>
                <a:gd name="connsiteY370" fmla="*/ 3343 h 638119"/>
                <a:gd name="connsiteX371" fmla="*/ 84018 w 659812"/>
                <a:gd name="connsiteY371" fmla="*/ 745 h 6381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</a:cxnLst>
              <a:rect l="l" t="t" r="r" b="b"/>
              <a:pathLst>
                <a:path w="659812" h="638119">
                  <a:moveTo>
                    <a:pt x="626855" y="394984"/>
                  </a:moveTo>
                  <a:lnTo>
                    <a:pt x="626297" y="399685"/>
                  </a:lnTo>
                  <a:lnTo>
                    <a:pt x="621956" y="409965"/>
                  </a:lnTo>
                  <a:lnTo>
                    <a:pt x="618249" y="410635"/>
                  </a:lnTo>
                  <a:lnTo>
                    <a:pt x="615257" y="414540"/>
                  </a:lnTo>
                  <a:lnTo>
                    <a:pt x="612053" y="415320"/>
                  </a:lnTo>
                  <a:lnTo>
                    <a:pt x="610805" y="414564"/>
                  </a:lnTo>
                  <a:lnTo>
                    <a:pt x="608836" y="412079"/>
                  </a:lnTo>
                  <a:lnTo>
                    <a:pt x="612254" y="409960"/>
                  </a:lnTo>
                  <a:lnTo>
                    <a:pt x="615570" y="405846"/>
                  </a:lnTo>
                  <a:lnTo>
                    <a:pt x="623268" y="399814"/>
                  </a:lnTo>
                  <a:lnTo>
                    <a:pt x="625893" y="395833"/>
                  </a:lnTo>
                  <a:close/>
                  <a:moveTo>
                    <a:pt x="591425" y="280334"/>
                  </a:moveTo>
                  <a:lnTo>
                    <a:pt x="594283" y="285657"/>
                  </a:lnTo>
                  <a:lnTo>
                    <a:pt x="594937" y="293955"/>
                  </a:lnTo>
                  <a:lnTo>
                    <a:pt x="598791" y="303718"/>
                  </a:lnTo>
                  <a:lnTo>
                    <a:pt x="602021" y="306737"/>
                  </a:lnTo>
                  <a:lnTo>
                    <a:pt x="602533" y="307235"/>
                  </a:lnTo>
                  <a:lnTo>
                    <a:pt x="607068" y="319889"/>
                  </a:lnTo>
                  <a:lnTo>
                    <a:pt x="606481" y="322257"/>
                  </a:lnTo>
                  <a:lnTo>
                    <a:pt x="603283" y="323708"/>
                  </a:lnTo>
                  <a:lnTo>
                    <a:pt x="601611" y="323832"/>
                  </a:lnTo>
                  <a:lnTo>
                    <a:pt x="599621" y="321812"/>
                  </a:lnTo>
                  <a:lnTo>
                    <a:pt x="598218" y="317537"/>
                  </a:lnTo>
                  <a:lnTo>
                    <a:pt x="595788" y="318552"/>
                  </a:lnTo>
                  <a:lnTo>
                    <a:pt x="591647" y="313449"/>
                  </a:lnTo>
                  <a:lnTo>
                    <a:pt x="587547" y="313206"/>
                  </a:lnTo>
                  <a:lnTo>
                    <a:pt x="583925" y="307115"/>
                  </a:lnTo>
                  <a:lnTo>
                    <a:pt x="585342" y="301803"/>
                  </a:lnTo>
                  <a:lnTo>
                    <a:pt x="584520" y="292760"/>
                  </a:lnTo>
                  <a:lnTo>
                    <a:pt x="588939" y="288126"/>
                  </a:lnTo>
                  <a:close/>
                  <a:moveTo>
                    <a:pt x="624361" y="231882"/>
                  </a:moveTo>
                  <a:lnTo>
                    <a:pt x="624715" y="234874"/>
                  </a:lnTo>
                  <a:lnTo>
                    <a:pt x="623807" y="237689"/>
                  </a:lnTo>
                  <a:lnTo>
                    <a:pt x="624002" y="246668"/>
                  </a:lnTo>
                  <a:lnTo>
                    <a:pt x="623649" y="252622"/>
                  </a:lnTo>
                  <a:lnTo>
                    <a:pt x="620265" y="260878"/>
                  </a:lnTo>
                  <a:lnTo>
                    <a:pt x="617507" y="263811"/>
                  </a:lnTo>
                  <a:lnTo>
                    <a:pt x="615037" y="262959"/>
                  </a:lnTo>
                  <a:lnTo>
                    <a:pt x="613015" y="261601"/>
                  </a:lnTo>
                  <a:lnTo>
                    <a:pt x="611434" y="259340"/>
                  </a:lnTo>
                  <a:lnTo>
                    <a:pt x="614651" y="244201"/>
                  </a:lnTo>
                  <a:lnTo>
                    <a:pt x="613015" y="233122"/>
                  </a:lnTo>
                  <a:lnTo>
                    <a:pt x="619371" y="234183"/>
                  </a:lnTo>
                  <a:close/>
                  <a:moveTo>
                    <a:pt x="87998" y="0"/>
                  </a:moveTo>
                  <a:lnTo>
                    <a:pt x="88856" y="241"/>
                  </a:lnTo>
                  <a:lnTo>
                    <a:pt x="90104" y="421"/>
                  </a:lnTo>
                  <a:lnTo>
                    <a:pt x="96321" y="421"/>
                  </a:lnTo>
                  <a:lnTo>
                    <a:pt x="106853" y="421"/>
                  </a:lnTo>
                  <a:lnTo>
                    <a:pt x="117382" y="421"/>
                  </a:lnTo>
                  <a:lnTo>
                    <a:pt x="127914" y="421"/>
                  </a:lnTo>
                  <a:lnTo>
                    <a:pt x="138441" y="421"/>
                  </a:lnTo>
                  <a:lnTo>
                    <a:pt x="148968" y="421"/>
                  </a:lnTo>
                  <a:lnTo>
                    <a:pt x="159500" y="421"/>
                  </a:lnTo>
                  <a:lnTo>
                    <a:pt x="170026" y="421"/>
                  </a:lnTo>
                  <a:lnTo>
                    <a:pt x="180553" y="421"/>
                  </a:lnTo>
                  <a:lnTo>
                    <a:pt x="191088" y="421"/>
                  </a:lnTo>
                  <a:lnTo>
                    <a:pt x="201614" y="421"/>
                  </a:lnTo>
                  <a:lnTo>
                    <a:pt x="212141" y="421"/>
                  </a:lnTo>
                  <a:lnTo>
                    <a:pt x="222673" y="421"/>
                  </a:lnTo>
                  <a:lnTo>
                    <a:pt x="233200" y="421"/>
                  </a:lnTo>
                  <a:lnTo>
                    <a:pt x="243726" y="421"/>
                  </a:lnTo>
                  <a:lnTo>
                    <a:pt x="254261" y="421"/>
                  </a:lnTo>
                  <a:lnTo>
                    <a:pt x="264788" y="421"/>
                  </a:lnTo>
                  <a:lnTo>
                    <a:pt x="271254" y="421"/>
                  </a:lnTo>
                  <a:lnTo>
                    <a:pt x="275764" y="421"/>
                  </a:lnTo>
                  <a:lnTo>
                    <a:pt x="280039" y="2660"/>
                  </a:lnTo>
                  <a:lnTo>
                    <a:pt x="284783" y="5309"/>
                  </a:lnTo>
                  <a:lnTo>
                    <a:pt x="297402" y="12362"/>
                  </a:lnTo>
                  <a:lnTo>
                    <a:pt x="310031" y="19406"/>
                  </a:lnTo>
                  <a:lnTo>
                    <a:pt x="322655" y="26459"/>
                  </a:lnTo>
                  <a:lnTo>
                    <a:pt x="335282" y="33506"/>
                  </a:lnTo>
                  <a:lnTo>
                    <a:pt x="347908" y="40559"/>
                  </a:lnTo>
                  <a:lnTo>
                    <a:pt x="360530" y="47611"/>
                  </a:lnTo>
                  <a:lnTo>
                    <a:pt x="373156" y="54659"/>
                  </a:lnTo>
                  <a:lnTo>
                    <a:pt x="385783" y="61711"/>
                  </a:lnTo>
                  <a:lnTo>
                    <a:pt x="398402" y="68766"/>
                  </a:lnTo>
                  <a:lnTo>
                    <a:pt x="411023" y="75814"/>
                  </a:lnTo>
                  <a:lnTo>
                    <a:pt x="423658" y="82864"/>
                  </a:lnTo>
                  <a:lnTo>
                    <a:pt x="436276" y="89916"/>
                  </a:lnTo>
                  <a:lnTo>
                    <a:pt x="448903" y="96972"/>
                  </a:lnTo>
                  <a:lnTo>
                    <a:pt x="461530" y="104022"/>
                  </a:lnTo>
                  <a:lnTo>
                    <a:pt x="474156" y="111079"/>
                  </a:lnTo>
                  <a:lnTo>
                    <a:pt x="486783" y="118130"/>
                  </a:lnTo>
                  <a:lnTo>
                    <a:pt x="492804" y="121499"/>
                  </a:lnTo>
                  <a:lnTo>
                    <a:pt x="493712" y="122959"/>
                  </a:lnTo>
                  <a:lnTo>
                    <a:pt x="494760" y="129385"/>
                  </a:lnTo>
                  <a:lnTo>
                    <a:pt x="495419" y="133403"/>
                  </a:lnTo>
                  <a:lnTo>
                    <a:pt x="495054" y="136936"/>
                  </a:lnTo>
                  <a:lnTo>
                    <a:pt x="491711" y="142952"/>
                  </a:lnTo>
                  <a:lnTo>
                    <a:pt x="490723" y="146096"/>
                  </a:lnTo>
                  <a:lnTo>
                    <a:pt x="490694" y="148279"/>
                  </a:lnTo>
                  <a:lnTo>
                    <a:pt x="491513" y="149136"/>
                  </a:lnTo>
                  <a:lnTo>
                    <a:pt x="494361" y="149447"/>
                  </a:lnTo>
                  <a:lnTo>
                    <a:pt x="496785" y="150872"/>
                  </a:lnTo>
                  <a:lnTo>
                    <a:pt x="497679" y="151994"/>
                  </a:lnTo>
                  <a:lnTo>
                    <a:pt x="499530" y="156524"/>
                  </a:lnTo>
                  <a:lnTo>
                    <a:pt x="501890" y="158795"/>
                  </a:lnTo>
                  <a:lnTo>
                    <a:pt x="507223" y="162642"/>
                  </a:lnTo>
                  <a:lnTo>
                    <a:pt x="516317" y="169199"/>
                  </a:lnTo>
                  <a:lnTo>
                    <a:pt x="525410" y="175753"/>
                  </a:lnTo>
                  <a:lnTo>
                    <a:pt x="534501" y="182313"/>
                  </a:lnTo>
                  <a:lnTo>
                    <a:pt x="543592" y="188870"/>
                  </a:lnTo>
                  <a:lnTo>
                    <a:pt x="552686" y="195424"/>
                  </a:lnTo>
                  <a:lnTo>
                    <a:pt x="561779" y="201984"/>
                  </a:lnTo>
                  <a:lnTo>
                    <a:pt x="570870" y="208544"/>
                  </a:lnTo>
                  <a:lnTo>
                    <a:pt x="579964" y="215104"/>
                  </a:lnTo>
                  <a:lnTo>
                    <a:pt x="584389" y="218294"/>
                  </a:lnTo>
                  <a:lnTo>
                    <a:pt x="586261" y="219191"/>
                  </a:lnTo>
                  <a:lnTo>
                    <a:pt x="585083" y="224181"/>
                  </a:lnTo>
                  <a:lnTo>
                    <a:pt x="580425" y="236294"/>
                  </a:lnTo>
                  <a:lnTo>
                    <a:pt x="580160" y="241337"/>
                  </a:lnTo>
                  <a:lnTo>
                    <a:pt x="578338" y="247276"/>
                  </a:lnTo>
                  <a:lnTo>
                    <a:pt x="576578" y="251202"/>
                  </a:lnTo>
                  <a:lnTo>
                    <a:pt x="571837" y="268249"/>
                  </a:lnTo>
                  <a:lnTo>
                    <a:pt x="567857" y="274629"/>
                  </a:lnTo>
                  <a:lnTo>
                    <a:pt x="562420" y="289583"/>
                  </a:lnTo>
                  <a:lnTo>
                    <a:pt x="561560" y="301023"/>
                  </a:lnTo>
                  <a:lnTo>
                    <a:pt x="564554" y="309035"/>
                  </a:lnTo>
                  <a:lnTo>
                    <a:pt x="565666" y="316548"/>
                  </a:lnTo>
                  <a:lnTo>
                    <a:pt x="572028" y="323912"/>
                  </a:lnTo>
                  <a:lnTo>
                    <a:pt x="577117" y="326542"/>
                  </a:lnTo>
                  <a:lnTo>
                    <a:pt x="580559" y="329912"/>
                  </a:lnTo>
                  <a:lnTo>
                    <a:pt x="586655" y="337602"/>
                  </a:lnTo>
                  <a:lnTo>
                    <a:pt x="590143" y="345319"/>
                  </a:lnTo>
                  <a:lnTo>
                    <a:pt x="601103" y="349106"/>
                  </a:lnTo>
                  <a:lnTo>
                    <a:pt x="605472" y="357760"/>
                  </a:lnTo>
                  <a:lnTo>
                    <a:pt x="603881" y="363717"/>
                  </a:lnTo>
                  <a:lnTo>
                    <a:pt x="598797" y="368654"/>
                  </a:lnTo>
                  <a:lnTo>
                    <a:pt x="594043" y="376652"/>
                  </a:lnTo>
                  <a:lnTo>
                    <a:pt x="590212" y="387160"/>
                  </a:lnTo>
                  <a:lnTo>
                    <a:pt x="590127" y="403234"/>
                  </a:lnTo>
                  <a:lnTo>
                    <a:pt x="592701" y="400791"/>
                  </a:lnTo>
                  <a:lnTo>
                    <a:pt x="598500" y="404729"/>
                  </a:lnTo>
                  <a:lnTo>
                    <a:pt x="599247" y="416573"/>
                  </a:lnTo>
                  <a:lnTo>
                    <a:pt x="593266" y="430362"/>
                  </a:lnTo>
                  <a:lnTo>
                    <a:pt x="591426" y="436810"/>
                  </a:lnTo>
                  <a:lnTo>
                    <a:pt x="591131" y="442349"/>
                  </a:lnTo>
                  <a:lnTo>
                    <a:pt x="595476" y="458870"/>
                  </a:lnTo>
                  <a:lnTo>
                    <a:pt x="602051" y="467286"/>
                  </a:lnTo>
                  <a:lnTo>
                    <a:pt x="601561" y="469919"/>
                  </a:lnTo>
                  <a:lnTo>
                    <a:pt x="599855" y="472129"/>
                  </a:lnTo>
                  <a:lnTo>
                    <a:pt x="611110" y="487027"/>
                  </a:lnTo>
                  <a:lnTo>
                    <a:pt x="610173" y="499989"/>
                  </a:lnTo>
                  <a:lnTo>
                    <a:pt x="614389" y="510084"/>
                  </a:lnTo>
                  <a:lnTo>
                    <a:pt x="616240" y="518832"/>
                  </a:lnTo>
                  <a:lnTo>
                    <a:pt x="619017" y="525547"/>
                  </a:lnTo>
                  <a:lnTo>
                    <a:pt x="619548" y="530178"/>
                  </a:lnTo>
                  <a:lnTo>
                    <a:pt x="616079" y="535316"/>
                  </a:lnTo>
                  <a:lnTo>
                    <a:pt x="624286" y="536602"/>
                  </a:lnTo>
                  <a:lnTo>
                    <a:pt x="629110" y="540807"/>
                  </a:lnTo>
                  <a:lnTo>
                    <a:pt x="631384" y="544833"/>
                  </a:lnTo>
                  <a:lnTo>
                    <a:pt x="637312" y="544659"/>
                  </a:lnTo>
                  <a:lnTo>
                    <a:pt x="640523" y="547410"/>
                  </a:lnTo>
                  <a:lnTo>
                    <a:pt x="645149" y="549684"/>
                  </a:lnTo>
                  <a:lnTo>
                    <a:pt x="655381" y="556439"/>
                  </a:lnTo>
                  <a:lnTo>
                    <a:pt x="658151" y="559835"/>
                  </a:lnTo>
                  <a:lnTo>
                    <a:pt x="659158" y="561793"/>
                  </a:lnTo>
                  <a:lnTo>
                    <a:pt x="659812" y="563074"/>
                  </a:lnTo>
                  <a:lnTo>
                    <a:pt x="652933" y="568294"/>
                  </a:lnTo>
                  <a:lnTo>
                    <a:pt x="642200" y="576434"/>
                  </a:lnTo>
                  <a:lnTo>
                    <a:pt x="631684" y="584422"/>
                  </a:lnTo>
                  <a:lnTo>
                    <a:pt x="621522" y="589910"/>
                  </a:lnTo>
                  <a:lnTo>
                    <a:pt x="614258" y="592449"/>
                  </a:lnTo>
                  <a:lnTo>
                    <a:pt x="606500" y="593872"/>
                  </a:lnTo>
                  <a:lnTo>
                    <a:pt x="599137" y="597231"/>
                  </a:lnTo>
                  <a:lnTo>
                    <a:pt x="592173" y="602505"/>
                  </a:lnTo>
                  <a:lnTo>
                    <a:pt x="583256" y="605162"/>
                  </a:lnTo>
                  <a:lnTo>
                    <a:pt x="572387" y="605186"/>
                  </a:lnTo>
                  <a:lnTo>
                    <a:pt x="560968" y="608882"/>
                  </a:lnTo>
                  <a:lnTo>
                    <a:pt x="549632" y="615862"/>
                  </a:lnTo>
                  <a:lnTo>
                    <a:pt x="543027" y="619939"/>
                  </a:lnTo>
                  <a:lnTo>
                    <a:pt x="532562" y="613813"/>
                  </a:lnTo>
                  <a:lnTo>
                    <a:pt x="524358" y="611869"/>
                  </a:lnTo>
                  <a:lnTo>
                    <a:pt x="514921" y="612072"/>
                  </a:lnTo>
                  <a:lnTo>
                    <a:pt x="509173" y="612828"/>
                  </a:lnTo>
                  <a:lnTo>
                    <a:pt x="507108" y="614146"/>
                  </a:lnTo>
                  <a:lnTo>
                    <a:pt x="505316" y="617890"/>
                  </a:lnTo>
                  <a:lnTo>
                    <a:pt x="503789" y="624059"/>
                  </a:lnTo>
                  <a:lnTo>
                    <a:pt x="497599" y="629981"/>
                  </a:lnTo>
                  <a:lnTo>
                    <a:pt x="486753" y="635649"/>
                  </a:lnTo>
                  <a:lnTo>
                    <a:pt x="476754" y="637773"/>
                  </a:lnTo>
                  <a:lnTo>
                    <a:pt x="467602" y="636335"/>
                  </a:lnTo>
                  <a:lnTo>
                    <a:pt x="461414" y="633975"/>
                  </a:lnTo>
                  <a:lnTo>
                    <a:pt x="458176" y="630675"/>
                  </a:lnTo>
                  <a:lnTo>
                    <a:pt x="453422" y="629161"/>
                  </a:lnTo>
                  <a:lnTo>
                    <a:pt x="447127" y="629419"/>
                  </a:lnTo>
                  <a:lnTo>
                    <a:pt x="441114" y="631765"/>
                  </a:lnTo>
                  <a:lnTo>
                    <a:pt x="435352" y="636201"/>
                  </a:lnTo>
                  <a:lnTo>
                    <a:pt x="426159" y="638119"/>
                  </a:lnTo>
                  <a:lnTo>
                    <a:pt x="413546" y="637527"/>
                  </a:lnTo>
                  <a:lnTo>
                    <a:pt x="406772" y="635386"/>
                  </a:lnTo>
                  <a:lnTo>
                    <a:pt x="405835" y="631698"/>
                  </a:lnTo>
                  <a:lnTo>
                    <a:pt x="400311" y="627380"/>
                  </a:lnTo>
                  <a:lnTo>
                    <a:pt x="390189" y="622425"/>
                  </a:lnTo>
                  <a:lnTo>
                    <a:pt x="382735" y="622318"/>
                  </a:lnTo>
                  <a:lnTo>
                    <a:pt x="377951" y="627070"/>
                  </a:lnTo>
                  <a:lnTo>
                    <a:pt x="373585" y="630064"/>
                  </a:lnTo>
                  <a:lnTo>
                    <a:pt x="369639" y="631283"/>
                  </a:lnTo>
                  <a:lnTo>
                    <a:pt x="366088" y="631430"/>
                  </a:lnTo>
                  <a:lnTo>
                    <a:pt x="362948" y="630517"/>
                  </a:lnTo>
                  <a:lnTo>
                    <a:pt x="360988" y="630134"/>
                  </a:lnTo>
                  <a:lnTo>
                    <a:pt x="347030" y="629630"/>
                  </a:lnTo>
                  <a:lnTo>
                    <a:pt x="333814" y="629828"/>
                  </a:lnTo>
                  <a:lnTo>
                    <a:pt x="333409" y="627766"/>
                  </a:lnTo>
                  <a:lnTo>
                    <a:pt x="332483" y="622950"/>
                  </a:lnTo>
                  <a:lnTo>
                    <a:pt x="329734" y="618755"/>
                  </a:lnTo>
                  <a:lnTo>
                    <a:pt x="327364" y="616259"/>
                  </a:lnTo>
                  <a:lnTo>
                    <a:pt x="324420" y="615600"/>
                  </a:lnTo>
                  <a:lnTo>
                    <a:pt x="322818" y="615646"/>
                  </a:lnTo>
                  <a:lnTo>
                    <a:pt x="321533" y="613712"/>
                  </a:lnTo>
                  <a:lnTo>
                    <a:pt x="320011" y="609437"/>
                  </a:lnTo>
                  <a:lnTo>
                    <a:pt x="317764" y="605797"/>
                  </a:lnTo>
                  <a:lnTo>
                    <a:pt x="314777" y="602780"/>
                  </a:lnTo>
                  <a:lnTo>
                    <a:pt x="312991" y="599981"/>
                  </a:lnTo>
                  <a:lnTo>
                    <a:pt x="312383" y="597405"/>
                  </a:lnTo>
                  <a:lnTo>
                    <a:pt x="312857" y="594573"/>
                  </a:lnTo>
                  <a:lnTo>
                    <a:pt x="315621" y="587540"/>
                  </a:lnTo>
                  <a:lnTo>
                    <a:pt x="316497" y="582724"/>
                  </a:lnTo>
                  <a:lnTo>
                    <a:pt x="316184" y="577787"/>
                  </a:lnTo>
                  <a:lnTo>
                    <a:pt x="314686" y="572727"/>
                  </a:lnTo>
                  <a:lnTo>
                    <a:pt x="311550" y="566711"/>
                  </a:lnTo>
                  <a:lnTo>
                    <a:pt x="311903" y="564981"/>
                  </a:lnTo>
                  <a:lnTo>
                    <a:pt x="310840" y="560875"/>
                  </a:lnTo>
                  <a:lnTo>
                    <a:pt x="310730" y="558006"/>
                  </a:lnTo>
                  <a:lnTo>
                    <a:pt x="311336" y="554422"/>
                  </a:lnTo>
                  <a:lnTo>
                    <a:pt x="310741" y="549710"/>
                  </a:lnTo>
                  <a:lnTo>
                    <a:pt x="308033" y="539663"/>
                  </a:lnTo>
                  <a:lnTo>
                    <a:pt x="308033" y="537092"/>
                  </a:lnTo>
                  <a:lnTo>
                    <a:pt x="305178" y="532228"/>
                  </a:lnTo>
                  <a:lnTo>
                    <a:pt x="296403" y="520729"/>
                  </a:lnTo>
                  <a:lnTo>
                    <a:pt x="295993" y="519237"/>
                  </a:lnTo>
                  <a:lnTo>
                    <a:pt x="282230" y="507655"/>
                  </a:lnTo>
                  <a:lnTo>
                    <a:pt x="276726" y="505123"/>
                  </a:lnTo>
                  <a:lnTo>
                    <a:pt x="274741" y="507293"/>
                  </a:lnTo>
                  <a:lnTo>
                    <a:pt x="273999" y="509299"/>
                  </a:lnTo>
                  <a:lnTo>
                    <a:pt x="274578" y="513006"/>
                  </a:lnTo>
                  <a:lnTo>
                    <a:pt x="274243" y="514852"/>
                  </a:lnTo>
                  <a:lnTo>
                    <a:pt x="273664" y="515685"/>
                  </a:lnTo>
                  <a:lnTo>
                    <a:pt x="270402" y="515564"/>
                  </a:lnTo>
                  <a:lnTo>
                    <a:pt x="268350" y="515136"/>
                  </a:lnTo>
                  <a:lnTo>
                    <a:pt x="263138" y="512026"/>
                  </a:lnTo>
                  <a:lnTo>
                    <a:pt x="259077" y="511263"/>
                  </a:lnTo>
                  <a:lnTo>
                    <a:pt x="249003" y="511822"/>
                  </a:lnTo>
                  <a:lnTo>
                    <a:pt x="245462" y="512551"/>
                  </a:lnTo>
                  <a:lnTo>
                    <a:pt x="242687" y="511852"/>
                  </a:lnTo>
                  <a:lnTo>
                    <a:pt x="237354" y="506540"/>
                  </a:lnTo>
                  <a:lnTo>
                    <a:pt x="231100" y="505426"/>
                  </a:lnTo>
                  <a:lnTo>
                    <a:pt x="225486" y="505153"/>
                  </a:lnTo>
                  <a:lnTo>
                    <a:pt x="216218" y="499123"/>
                  </a:lnTo>
                  <a:lnTo>
                    <a:pt x="214043" y="499405"/>
                  </a:lnTo>
                  <a:lnTo>
                    <a:pt x="213014" y="499865"/>
                  </a:lnTo>
                  <a:lnTo>
                    <a:pt x="209658" y="498280"/>
                  </a:lnTo>
                  <a:lnTo>
                    <a:pt x="203342" y="494779"/>
                  </a:lnTo>
                  <a:lnTo>
                    <a:pt x="194564" y="491685"/>
                  </a:lnTo>
                  <a:lnTo>
                    <a:pt x="187381" y="488232"/>
                  </a:lnTo>
                  <a:lnTo>
                    <a:pt x="184185" y="484868"/>
                  </a:lnTo>
                  <a:lnTo>
                    <a:pt x="177443" y="483585"/>
                  </a:lnTo>
                  <a:lnTo>
                    <a:pt x="171612" y="483031"/>
                  </a:lnTo>
                  <a:lnTo>
                    <a:pt x="166215" y="479913"/>
                  </a:lnTo>
                  <a:lnTo>
                    <a:pt x="160622" y="479557"/>
                  </a:lnTo>
                  <a:lnTo>
                    <a:pt x="155128" y="478758"/>
                  </a:lnTo>
                  <a:lnTo>
                    <a:pt x="153901" y="476693"/>
                  </a:lnTo>
                  <a:lnTo>
                    <a:pt x="153711" y="472083"/>
                  </a:lnTo>
                  <a:lnTo>
                    <a:pt x="151785" y="470875"/>
                  </a:lnTo>
                  <a:lnTo>
                    <a:pt x="147754" y="469700"/>
                  </a:lnTo>
                  <a:lnTo>
                    <a:pt x="143410" y="469756"/>
                  </a:lnTo>
                  <a:lnTo>
                    <a:pt x="140760" y="470420"/>
                  </a:lnTo>
                  <a:lnTo>
                    <a:pt x="139199" y="470088"/>
                  </a:lnTo>
                  <a:lnTo>
                    <a:pt x="135596" y="467372"/>
                  </a:lnTo>
                  <a:lnTo>
                    <a:pt x="132245" y="463922"/>
                  </a:lnTo>
                  <a:lnTo>
                    <a:pt x="130981" y="458420"/>
                  </a:lnTo>
                  <a:lnTo>
                    <a:pt x="125908" y="454879"/>
                  </a:lnTo>
                  <a:lnTo>
                    <a:pt x="120066" y="452083"/>
                  </a:lnTo>
                  <a:lnTo>
                    <a:pt x="103823" y="452372"/>
                  </a:lnTo>
                  <a:lnTo>
                    <a:pt x="101279" y="451523"/>
                  </a:lnTo>
                  <a:lnTo>
                    <a:pt x="97427" y="448737"/>
                  </a:lnTo>
                  <a:lnTo>
                    <a:pt x="92903" y="444130"/>
                  </a:lnTo>
                  <a:lnTo>
                    <a:pt x="89271" y="438872"/>
                  </a:lnTo>
                  <a:lnTo>
                    <a:pt x="86078" y="431731"/>
                  </a:lnTo>
                  <a:lnTo>
                    <a:pt x="84562" y="427429"/>
                  </a:lnTo>
                  <a:lnTo>
                    <a:pt x="82770" y="422107"/>
                  </a:lnTo>
                  <a:lnTo>
                    <a:pt x="78795" y="414152"/>
                  </a:lnTo>
                  <a:lnTo>
                    <a:pt x="73173" y="402891"/>
                  </a:lnTo>
                  <a:lnTo>
                    <a:pt x="68836" y="393669"/>
                  </a:lnTo>
                  <a:lnTo>
                    <a:pt x="64162" y="383753"/>
                  </a:lnTo>
                  <a:lnTo>
                    <a:pt x="62252" y="376489"/>
                  </a:lnTo>
                  <a:lnTo>
                    <a:pt x="58620" y="368456"/>
                  </a:lnTo>
                  <a:lnTo>
                    <a:pt x="52668" y="358585"/>
                  </a:lnTo>
                  <a:lnTo>
                    <a:pt x="49655" y="354726"/>
                  </a:lnTo>
                  <a:lnTo>
                    <a:pt x="46366" y="351276"/>
                  </a:lnTo>
                  <a:lnTo>
                    <a:pt x="37811" y="344614"/>
                  </a:lnTo>
                  <a:lnTo>
                    <a:pt x="28117" y="337998"/>
                  </a:lnTo>
                  <a:lnTo>
                    <a:pt x="22875" y="333536"/>
                  </a:lnTo>
                  <a:lnTo>
                    <a:pt x="15825" y="320306"/>
                  </a:lnTo>
                  <a:lnTo>
                    <a:pt x="12876" y="315514"/>
                  </a:lnTo>
                  <a:lnTo>
                    <a:pt x="10830" y="307085"/>
                  </a:lnTo>
                  <a:lnTo>
                    <a:pt x="9279" y="298342"/>
                  </a:lnTo>
                  <a:lnTo>
                    <a:pt x="9914" y="294801"/>
                  </a:lnTo>
                  <a:lnTo>
                    <a:pt x="16168" y="283543"/>
                  </a:lnTo>
                  <a:lnTo>
                    <a:pt x="16797" y="280374"/>
                  </a:lnTo>
                  <a:lnTo>
                    <a:pt x="16034" y="276105"/>
                  </a:lnTo>
                  <a:lnTo>
                    <a:pt x="12967" y="267134"/>
                  </a:lnTo>
                  <a:lnTo>
                    <a:pt x="10677" y="261263"/>
                  </a:lnTo>
                  <a:lnTo>
                    <a:pt x="9064" y="256254"/>
                  </a:lnTo>
                  <a:lnTo>
                    <a:pt x="5727" y="247913"/>
                  </a:lnTo>
                  <a:lnTo>
                    <a:pt x="1147" y="236449"/>
                  </a:lnTo>
                  <a:lnTo>
                    <a:pt x="0" y="231445"/>
                  </a:lnTo>
                  <a:lnTo>
                    <a:pt x="134" y="227695"/>
                  </a:lnTo>
                  <a:lnTo>
                    <a:pt x="2615" y="217796"/>
                  </a:lnTo>
                  <a:lnTo>
                    <a:pt x="4784" y="207577"/>
                  </a:lnTo>
                  <a:lnTo>
                    <a:pt x="4725" y="204764"/>
                  </a:lnTo>
                  <a:lnTo>
                    <a:pt x="23357" y="205153"/>
                  </a:lnTo>
                  <a:lnTo>
                    <a:pt x="26421" y="202911"/>
                  </a:lnTo>
                  <a:lnTo>
                    <a:pt x="36948" y="196340"/>
                  </a:lnTo>
                  <a:lnTo>
                    <a:pt x="48790" y="183170"/>
                  </a:lnTo>
                  <a:lnTo>
                    <a:pt x="51155" y="177684"/>
                  </a:lnTo>
                  <a:lnTo>
                    <a:pt x="55979" y="169239"/>
                  </a:lnTo>
                  <a:lnTo>
                    <a:pt x="60709" y="165044"/>
                  </a:lnTo>
                  <a:lnTo>
                    <a:pt x="62526" y="162138"/>
                  </a:lnTo>
                  <a:lnTo>
                    <a:pt x="63763" y="157579"/>
                  </a:lnTo>
                  <a:lnTo>
                    <a:pt x="65244" y="153722"/>
                  </a:lnTo>
                  <a:lnTo>
                    <a:pt x="71456" y="148006"/>
                  </a:lnTo>
                  <a:lnTo>
                    <a:pt x="77501" y="143629"/>
                  </a:lnTo>
                  <a:lnTo>
                    <a:pt x="77067" y="141851"/>
                  </a:lnTo>
                  <a:lnTo>
                    <a:pt x="76256" y="140530"/>
                  </a:lnTo>
                  <a:lnTo>
                    <a:pt x="77153" y="139400"/>
                  </a:lnTo>
                  <a:lnTo>
                    <a:pt x="80456" y="137147"/>
                  </a:lnTo>
                  <a:lnTo>
                    <a:pt x="86876" y="135087"/>
                  </a:lnTo>
                  <a:lnTo>
                    <a:pt x="88130" y="130697"/>
                  </a:lnTo>
                  <a:lnTo>
                    <a:pt x="88114" y="125707"/>
                  </a:lnTo>
                  <a:lnTo>
                    <a:pt x="87074" y="122919"/>
                  </a:lnTo>
                  <a:lnTo>
                    <a:pt x="87270" y="119705"/>
                  </a:lnTo>
                  <a:lnTo>
                    <a:pt x="86287" y="117910"/>
                  </a:lnTo>
                  <a:lnTo>
                    <a:pt x="82092" y="117457"/>
                  </a:lnTo>
                  <a:lnTo>
                    <a:pt x="75865" y="114969"/>
                  </a:lnTo>
                  <a:lnTo>
                    <a:pt x="70577" y="113921"/>
                  </a:lnTo>
                  <a:lnTo>
                    <a:pt x="67055" y="112475"/>
                  </a:lnTo>
                  <a:lnTo>
                    <a:pt x="65748" y="111369"/>
                  </a:lnTo>
                  <a:lnTo>
                    <a:pt x="65185" y="108374"/>
                  </a:lnTo>
                  <a:lnTo>
                    <a:pt x="66211" y="105117"/>
                  </a:lnTo>
                  <a:lnTo>
                    <a:pt x="66755" y="104180"/>
                  </a:lnTo>
                  <a:lnTo>
                    <a:pt x="68108" y="100689"/>
                  </a:lnTo>
                  <a:lnTo>
                    <a:pt x="65799" y="98587"/>
                  </a:lnTo>
                  <a:lnTo>
                    <a:pt x="65199" y="97564"/>
                  </a:lnTo>
                  <a:lnTo>
                    <a:pt x="66251" y="95895"/>
                  </a:lnTo>
                  <a:lnTo>
                    <a:pt x="71681" y="84800"/>
                  </a:lnTo>
                  <a:lnTo>
                    <a:pt x="72862" y="83249"/>
                  </a:lnTo>
                  <a:lnTo>
                    <a:pt x="75216" y="83054"/>
                  </a:lnTo>
                  <a:lnTo>
                    <a:pt x="78964" y="81693"/>
                  </a:lnTo>
                  <a:lnTo>
                    <a:pt x="82411" y="81080"/>
                  </a:lnTo>
                  <a:lnTo>
                    <a:pt x="85234" y="81567"/>
                  </a:lnTo>
                  <a:lnTo>
                    <a:pt x="87315" y="81034"/>
                  </a:lnTo>
                  <a:lnTo>
                    <a:pt x="89156" y="79599"/>
                  </a:lnTo>
                  <a:lnTo>
                    <a:pt x="90712" y="75270"/>
                  </a:lnTo>
                  <a:lnTo>
                    <a:pt x="91990" y="68035"/>
                  </a:lnTo>
                  <a:lnTo>
                    <a:pt x="91285" y="62150"/>
                  </a:lnTo>
                  <a:lnTo>
                    <a:pt x="88588" y="57616"/>
                  </a:lnTo>
                  <a:lnTo>
                    <a:pt x="87854" y="50694"/>
                  </a:lnTo>
                  <a:lnTo>
                    <a:pt x="89086" y="41392"/>
                  </a:lnTo>
                  <a:lnTo>
                    <a:pt x="88199" y="33656"/>
                  </a:lnTo>
                  <a:lnTo>
                    <a:pt x="85215" y="27471"/>
                  </a:lnTo>
                  <a:lnTo>
                    <a:pt x="82167" y="23804"/>
                  </a:lnTo>
                  <a:lnTo>
                    <a:pt x="77501" y="22069"/>
                  </a:lnTo>
                  <a:lnTo>
                    <a:pt x="70167" y="12632"/>
                  </a:lnTo>
                  <a:lnTo>
                    <a:pt x="67923" y="8068"/>
                  </a:lnTo>
                  <a:lnTo>
                    <a:pt x="68327" y="5218"/>
                  </a:lnTo>
                  <a:lnTo>
                    <a:pt x="70277" y="4286"/>
                  </a:lnTo>
                  <a:lnTo>
                    <a:pt x="70867" y="4002"/>
                  </a:lnTo>
                  <a:lnTo>
                    <a:pt x="75533" y="4430"/>
                  </a:lnTo>
                  <a:lnTo>
                    <a:pt x="79917" y="3343"/>
                  </a:lnTo>
                  <a:lnTo>
                    <a:pt x="84018" y="745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32" name="ee4p_UG_1_82333">
              <a:extLst>
                <a:ext uri="{FF2B5EF4-FFF2-40B4-BE49-F238E27FC236}">
                  <a16:creationId xmlns:a16="http://schemas.microsoft.com/office/drawing/2014/main" id="{F3DD2126-DEDF-7375-A15F-83C9291CDC86}"/>
                </a:ext>
              </a:extLst>
            </p:cNvPr>
            <p:cNvSpPr>
              <a:spLocks noChangeAspect="1"/>
            </p:cNvSpPr>
            <p:nvPr>
              <p:custDataLst>
                <p:tags r:id="rId160"/>
              </p:custDataLst>
            </p:nvPr>
          </p:nvSpPr>
          <p:spPr>
            <a:xfrm>
              <a:off x="7335615" y="4557235"/>
              <a:ext cx="150409" cy="162387"/>
            </a:xfrm>
            <a:custGeom>
              <a:avLst/>
              <a:gdLst/>
              <a:ahLst/>
              <a:cxnLst/>
              <a:rect l="0" t="0" r="0" b="0"/>
              <a:pathLst>
                <a:path w="119767" h="125878">
                  <a:moveTo>
                    <a:pt x="95996" y="115530"/>
                  </a:moveTo>
                  <a:lnTo>
                    <a:pt x="93582" y="115530"/>
                  </a:lnTo>
                  <a:lnTo>
                    <a:pt x="89652" y="115530"/>
                  </a:lnTo>
                  <a:lnTo>
                    <a:pt x="85719" y="115530"/>
                  </a:lnTo>
                  <a:lnTo>
                    <a:pt x="81789" y="115530"/>
                  </a:lnTo>
                  <a:lnTo>
                    <a:pt x="77859" y="115530"/>
                  </a:lnTo>
                  <a:lnTo>
                    <a:pt x="73927" y="115530"/>
                  </a:lnTo>
                  <a:lnTo>
                    <a:pt x="69997" y="115530"/>
                  </a:lnTo>
                  <a:lnTo>
                    <a:pt x="66067" y="115530"/>
                  </a:lnTo>
                  <a:lnTo>
                    <a:pt x="62134" y="115530"/>
                  </a:lnTo>
                  <a:lnTo>
                    <a:pt x="58204" y="115530"/>
                  </a:lnTo>
                  <a:lnTo>
                    <a:pt x="54274" y="115530"/>
                  </a:lnTo>
                  <a:lnTo>
                    <a:pt x="50342" y="115530"/>
                  </a:lnTo>
                  <a:lnTo>
                    <a:pt x="46412" y="115530"/>
                  </a:lnTo>
                  <a:lnTo>
                    <a:pt x="42482" y="115530"/>
                  </a:lnTo>
                  <a:lnTo>
                    <a:pt x="38550" y="115530"/>
                  </a:lnTo>
                  <a:lnTo>
                    <a:pt x="34619" y="115530"/>
                  </a:lnTo>
                  <a:lnTo>
                    <a:pt x="30687" y="115530"/>
                  </a:lnTo>
                  <a:lnTo>
                    <a:pt x="28366" y="115530"/>
                  </a:lnTo>
                  <a:lnTo>
                    <a:pt x="27900" y="115463"/>
                  </a:lnTo>
                  <a:lnTo>
                    <a:pt x="27580" y="115373"/>
                  </a:lnTo>
                  <a:lnTo>
                    <a:pt x="26094" y="115651"/>
                  </a:lnTo>
                  <a:lnTo>
                    <a:pt x="24563" y="116621"/>
                  </a:lnTo>
                  <a:lnTo>
                    <a:pt x="22926" y="117027"/>
                  </a:lnTo>
                  <a:lnTo>
                    <a:pt x="21184" y="116867"/>
                  </a:lnTo>
                  <a:lnTo>
                    <a:pt x="20964" y="116973"/>
                  </a:lnTo>
                  <a:lnTo>
                    <a:pt x="20078" y="116945"/>
                  </a:lnTo>
                  <a:lnTo>
                    <a:pt x="18804" y="116880"/>
                  </a:lnTo>
                  <a:lnTo>
                    <a:pt x="17653" y="117135"/>
                  </a:lnTo>
                  <a:lnTo>
                    <a:pt x="16774" y="117986"/>
                  </a:lnTo>
                  <a:lnTo>
                    <a:pt x="15876" y="119440"/>
                  </a:lnTo>
                  <a:lnTo>
                    <a:pt x="14265" y="121107"/>
                  </a:lnTo>
                  <a:lnTo>
                    <a:pt x="13004" y="122586"/>
                  </a:lnTo>
                  <a:lnTo>
                    <a:pt x="11933" y="123638"/>
                  </a:lnTo>
                  <a:lnTo>
                    <a:pt x="9478" y="125370"/>
                  </a:lnTo>
                  <a:lnTo>
                    <a:pt x="8141" y="125877"/>
                  </a:lnTo>
                  <a:lnTo>
                    <a:pt x="7476" y="125798"/>
                  </a:lnTo>
                  <a:lnTo>
                    <a:pt x="7070" y="125476"/>
                  </a:lnTo>
                  <a:lnTo>
                    <a:pt x="6301" y="123262"/>
                  </a:lnTo>
                  <a:lnTo>
                    <a:pt x="5826" y="122906"/>
                  </a:lnTo>
                  <a:lnTo>
                    <a:pt x="1056" y="124046"/>
                  </a:lnTo>
                  <a:lnTo>
                    <a:pt x="333" y="124063"/>
                  </a:lnTo>
                  <a:lnTo>
                    <a:pt x="400" y="123375"/>
                  </a:lnTo>
                  <a:lnTo>
                    <a:pt x="48" y="118169"/>
                  </a:lnTo>
                  <a:lnTo>
                    <a:pt x="0" y="114984"/>
                  </a:lnTo>
                  <a:lnTo>
                    <a:pt x="622" y="112989"/>
                  </a:lnTo>
                  <a:lnTo>
                    <a:pt x="985" y="110689"/>
                  </a:lnTo>
                  <a:lnTo>
                    <a:pt x="1024" y="108659"/>
                  </a:lnTo>
                  <a:lnTo>
                    <a:pt x="1900" y="105208"/>
                  </a:lnTo>
                  <a:lnTo>
                    <a:pt x="1577" y="103139"/>
                  </a:lnTo>
                  <a:lnTo>
                    <a:pt x="2708" y="95884"/>
                  </a:lnTo>
                  <a:lnTo>
                    <a:pt x="3006" y="94703"/>
                  </a:lnTo>
                  <a:lnTo>
                    <a:pt x="3445" y="91198"/>
                  </a:lnTo>
                  <a:lnTo>
                    <a:pt x="4153" y="90117"/>
                  </a:lnTo>
                  <a:lnTo>
                    <a:pt x="4775" y="89694"/>
                  </a:lnTo>
                  <a:lnTo>
                    <a:pt x="5589" y="87543"/>
                  </a:lnTo>
                  <a:lnTo>
                    <a:pt x="7154" y="84108"/>
                  </a:lnTo>
                  <a:lnTo>
                    <a:pt x="8238" y="82338"/>
                  </a:lnTo>
                  <a:lnTo>
                    <a:pt x="8003" y="78470"/>
                  </a:lnTo>
                  <a:lnTo>
                    <a:pt x="8176" y="75840"/>
                  </a:lnTo>
                  <a:lnTo>
                    <a:pt x="8424" y="75257"/>
                  </a:lnTo>
                  <a:lnTo>
                    <a:pt x="10735" y="74278"/>
                  </a:lnTo>
                  <a:lnTo>
                    <a:pt x="13732" y="71846"/>
                  </a:lnTo>
                  <a:lnTo>
                    <a:pt x="14997" y="68986"/>
                  </a:lnTo>
                  <a:lnTo>
                    <a:pt x="16788" y="67162"/>
                  </a:lnTo>
                  <a:lnTo>
                    <a:pt x="20253" y="65978"/>
                  </a:lnTo>
                  <a:lnTo>
                    <a:pt x="20260" y="65973"/>
                  </a:lnTo>
                  <a:lnTo>
                    <a:pt x="30530" y="56158"/>
                  </a:lnTo>
                  <a:lnTo>
                    <a:pt x="35310" y="50867"/>
                  </a:lnTo>
                  <a:lnTo>
                    <a:pt x="37388" y="48156"/>
                  </a:lnTo>
                  <a:lnTo>
                    <a:pt x="37461" y="47185"/>
                  </a:lnTo>
                  <a:lnTo>
                    <a:pt x="37859" y="45906"/>
                  </a:lnTo>
                  <a:lnTo>
                    <a:pt x="37025" y="44909"/>
                  </a:lnTo>
                  <a:lnTo>
                    <a:pt x="36032" y="44004"/>
                  </a:lnTo>
                  <a:lnTo>
                    <a:pt x="35699" y="43168"/>
                  </a:lnTo>
                  <a:lnTo>
                    <a:pt x="34842" y="42752"/>
                  </a:lnTo>
                  <a:lnTo>
                    <a:pt x="33616" y="42769"/>
                  </a:lnTo>
                  <a:lnTo>
                    <a:pt x="32801" y="42162"/>
                  </a:lnTo>
                  <a:lnTo>
                    <a:pt x="31879" y="40971"/>
                  </a:lnTo>
                  <a:lnTo>
                    <a:pt x="30957" y="40221"/>
                  </a:lnTo>
                  <a:lnTo>
                    <a:pt x="28042" y="40283"/>
                  </a:lnTo>
                  <a:lnTo>
                    <a:pt x="25799" y="39068"/>
                  </a:lnTo>
                  <a:lnTo>
                    <a:pt x="25827" y="37411"/>
                  </a:lnTo>
                  <a:lnTo>
                    <a:pt x="26703" y="34143"/>
                  </a:lnTo>
                  <a:lnTo>
                    <a:pt x="28409" y="30402"/>
                  </a:lnTo>
                  <a:lnTo>
                    <a:pt x="28500" y="29370"/>
                  </a:lnTo>
                  <a:lnTo>
                    <a:pt x="28260" y="28488"/>
                  </a:lnTo>
                  <a:lnTo>
                    <a:pt x="27850" y="27734"/>
                  </a:lnTo>
                  <a:lnTo>
                    <a:pt x="27079" y="26986"/>
                  </a:lnTo>
                  <a:lnTo>
                    <a:pt x="26360" y="26091"/>
                  </a:lnTo>
                  <a:lnTo>
                    <a:pt x="26919" y="23400"/>
                  </a:lnTo>
                  <a:lnTo>
                    <a:pt x="27992" y="20761"/>
                  </a:lnTo>
                  <a:lnTo>
                    <a:pt x="28871" y="19444"/>
                  </a:lnTo>
                  <a:lnTo>
                    <a:pt x="29731" y="17965"/>
                  </a:lnTo>
                  <a:lnTo>
                    <a:pt x="29484" y="16753"/>
                  </a:lnTo>
                  <a:lnTo>
                    <a:pt x="28230" y="16154"/>
                  </a:lnTo>
                  <a:lnTo>
                    <a:pt x="28884" y="14972"/>
                  </a:lnTo>
                  <a:lnTo>
                    <a:pt x="30238" y="12981"/>
                  </a:lnTo>
                  <a:lnTo>
                    <a:pt x="32862" y="10967"/>
                  </a:lnTo>
                  <a:lnTo>
                    <a:pt x="35168" y="9626"/>
                  </a:lnTo>
                  <a:lnTo>
                    <a:pt x="36708" y="9618"/>
                  </a:lnTo>
                  <a:lnTo>
                    <a:pt x="39703" y="10688"/>
                  </a:lnTo>
                  <a:lnTo>
                    <a:pt x="42413" y="11953"/>
                  </a:lnTo>
                  <a:lnTo>
                    <a:pt x="43899" y="12017"/>
                  </a:lnTo>
                  <a:lnTo>
                    <a:pt x="45706" y="11489"/>
                  </a:lnTo>
                  <a:lnTo>
                    <a:pt x="49446" y="9249"/>
                  </a:lnTo>
                  <a:lnTo>
                    <a:pt x="50344" y="9961"/>
                  </a:lnTo>
                  <a:lnTo>
                    <a:pt x="51441" y="11320"/>
                  </a:lnTo>
                  <a:lnTo>
                    <a:pt x="52624" y="13568"/>
                  </a:lnTo>
                  <a:lnTo>
                    <a:pt x="54978" y="14594"/>
                  </a:lnTo>
                  <a:lnTo>
                    <a:pt x="56110" y="15302"/>
                  </a:lnTo>
                  <a:lnTo>
                    <a:pt x="56917" y="15512"/>
                  </a:lnTo>
                  <a:lnTo>
                    <a:pt x="57366" y="15328"/>
                  </a:lnTo>
                  <a:lnTo>
                    <a:pt x="58261" y="13562"/>
                  </a:lnTo>
                  <a:lnTo>
                    <a:pt x="59340" y="12599"/>
                  </a:lnTo>
                  <a:lnTo>
                    <a:pt x="61336" y="11384"/>
                  </a:lnTo>
                  <a:lnTo>
                    <a:pt x="65736" y="10415"/>
                  </a:lnTo>
                  <a:lnTo>
                    <a:pt x="68880" y="10122"/>
                  </a:lnTo>
                  <a:lnTo>
                    <a:pt x="70211" y="9911"/>
                  </a:lnTo>
                  <a:lnTo>
                    <a:pt x="72443" y="9340"/>
                  </a:lnTo>
                  <a:lnTo>
                    <a:pt x="75963" y="7531"/>
                  </a:lnTo>
                  <a:lnTo>
                    <a:pt x="79431" y="9867"/>
                  </a:lnTo>
                  <a:lnTo>
                    <a:pt x="83195" y="10318"/>
                  </a:lnTo>
                  <a:lnTo>
                    <a:pt x="86844" y="10302"/>
                  </a:lnTo>
                  <a:lnTo>
                    <a:pt x="87954" y="9592"/>
                  </a:lnTo>
                  <a:lnTo>
                    <a:pt x="88594" y="9047"/>
                  </a:lnTo>
                  <a:lnTo>
                    <a:pt x="92422" y="5204"/>
                  </a:lnTo>
                  <a:lnTo>
                    <a:pt x="97607" y="0"/>
                  </a:lnTo>
                  <a:lnTo>
                    <a:pt x="101055" y="7332"/>
                  </a:lnTo>
                  <a:lnTo>
                    <a:pt x="102243" y="7762"/>
                  </a:lnTo>
                  <a:lnTo>
                    <a:pt x="102077" y="8402"/>
                  </a:lnTo>
                  <a:lnTo>
                    <a:pt x="101785" y="9019"/>
                  </a:lnTo>
                  <a:lnTo>
                    <a:pt x="104041" y="10787"/>
                  </a:lnTo>
                  <a:lnTo>
                    <a:pt x="106823" y="11709"/>
                  </a:lnTo>
                  <a:lnTo>
                    <a:pt x="107814" y="12615"/>
                  </a:lnTo>
                  <a:lnTo>
                    <a:pt x="107905" y="13597"/>
                  </a:lnTo>
                  <a:lnTo>
                    <a:pt x="106968" y="17882"/>
                  </a:lnTo>
                  <a:lnTo>
                    <a:pt x="107141" y="19103"/>
                  </a:lnTo>
                  <a:lnTo>
                    <a:pt x="108039" y="23398"/>
                  </a:lnTo>
                  <a:lnTo>
                    <a:pt x="109691" y="24361"/>
                  </a:lnTo>
                  <a:lnTo>
                    <a:pt x="111163" y="28682"/>
                  </a:lnTo>
                  <a:lnTo>
                    <a:pt x="114128" y="30514"/>
                  </a:lnTo>
                  <a:lnTo>
                    <a:pt x="114554" y="31042"/>
                  </a:lnTo>
                  <a:lnTo>
                    <a:pt x="115238" y="33137"/>
                  </a:lnTo>
                  <a:lnTo>
                    <a:pt x="116145" y="35430"/>
                  </a:lnTo>
                  <a:lnTo>
                    <a:pt x="116858" y="35962"/>
                  </a:lnTo>
                  <a:lnTo>
                    <a:pt x="117290" y="36096"/>
                  </a:lnTo>
                  <a:lnTo>
                    <a:pt x="118164" y="38530"/>
                  </a:lnTo>
                  <a:lnTo>
                    <a:pt x="117661" y="39897"/>
                  </a:lnTo>
                  <a:lnTo>
                    <a:pt x="118345" y="44050"/>
                  </a:lnTo>
                  <a:lnTo>
                    <a:pt x="119453" y="47762"/>
                  </a:lnTo>
                  <a:lnTo>
                    <a:pt x="119751" y="52197"/>
                  </a:lnTo>
                  <a:lnTo>
                    <a:pt x="119766" y="54149"/>
                  </a:lnTo>
                  <a:lnTo>
                    <a:pt x="119727" y="55344"/>
                  </a:lnTo>
                  <a:lnTo>
                    <a:pt x="119479" y="57031"/>
                  </a:lnTo>
                  <a:lnTo>
                    <a:pt x="118948" y="58006"/>
                  </a:lnTo>
                  <a:lnTo>
                    <a:pt x="118000" y="58952"/>
                  </a:lnTo>
                  <a:lnTo>
                    <a:pt x="116953" y="60445"/>
                  </a:lnTo>
                  <a:lnTo>
                    <a:pt x="116037" y="62044"/>
                  </a:lnTo>
                  <a:lnTo>
                    <a:pt x="115463" y="62830"/>
                  </a:lnTo>
                  <a:lnTo>
                    <a:pt x="115910" y="65225"/>
                  </a:lnTo>
                  <a:lnTo>
                    <a:pt x="115795" y="65852"/>
                  </a:lnTo>
                  <a:lnTo>
                    <a:pt x="115551" y="66157"/>
                  </a:lnTo>
                  <a:lnTo>
                    <a:pt x="114206" y="66521"/>
                  </a:lnTo>
                  <a:lnTo>
                    <a:pt x="112489" y="67162"/>
                  </a:lnTo>
                  <a:lnTo>
                    <a:pt x="111446" y="67800"/>
                  </a:lnTo>
                  <a:lnTo>
                    <a:pt x="109971" y="69014"/>
                  </a:lnTo>
                  <a:lnTo>
                    <a:pt x="108788" y="70327"/>
                  </a:lnTo>
                  <a:lnTo>
                    <a:pt x="107220" y="74194"/>
                  </a:lnTo>
                  <a:lnTo>
                    <a:pt x="104605" y="77203"/>
                  </a:lnTo>
                  <a:lnTo>
                    <a:pt x="104163" y="78194"/>
                  </a:lnTo>
                  <a:lnTo>
                    <a:pt x="101694" y="79990"/>
                  </a:lnTo>
                  <a:lnTo>
                    <a:pt x="100606" y="82203"/>
                  </a:lnTo>
                  <a:lnTo>
                    <a:pt x="99917" y="84915"/>
                  </a:lnTo>
                  <a:lnTo>
                    <a:pt x="98958" y="86860"/>
                  </a:lnTo>
                  <a:lnTo>
                    <a:pt x="96879" y="89530"/>
                  </a:lnTo>
                  <a:lnTo>
                    <a:pt x="96400" y="93748"/>
                  </a:lnTo>
                  <a:lnTo>
                    <a:pt x="96464" y="102170"/>
                  </a:lnTo>
                  <a:lnTo>
                    <a:pt x="95925" y="111762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33" name="ee4p_ZA_1_82333">
              <a:extLst>
                <a:ext uri="{FF2B5EF4-FFF2-40B4-BE49-F238E27FC236}">
                  <a16:creationId xmlns:a16="http://schemas.microsoft.com/office/drawing/2014/main" id="{216C26C1-554C-0837-5D77-9F4C69B6FED3}"/>
                </a:ext>
              </a:extLst>
            </p:cNvPr>
            <p:cNvSpPr>
              <a:spLocks noChangeAspect="1"/>
            </p:cNvSpPr>
            <p:nvPr>
              <p:custDataLst>
                <p:tags r:id="rId161"/>
              </p:custDataLst>
            </p:nvPr>
          </p:nvSpPr>
          <p:spPr>
            <a:xfrm>
              <a:off x="6971437" y="5319736"/>
              <a:ext cx="456489" cy="391718"/>
            </a:xfrm>
            <a:custGeom>
              <a:avLst/>
              <a:gdLst/>
              <a:ahLst/>
              <a:cxnLst/>
              <a:rect l="l" t="t" r="r" b="b"/>
              <a:pathLst>
                <a:path w="363492" h="303648">
                  <a:moveTo>
                    <a:pt x="269286" y="151782"/>
                  </a:moveTo>
                  <a:lnTo>
                    <a:pt x="268349" y="152080"/>
                  </a:lnTo>
                  <a:lnTo>
                    <a:pt x="265883" y="152600"/>
                  </a:lnTo>
                  <a:lnTo>
                    <a:pt x="260593" y="154651"/>
                  </a:lnTo>
                  <a:lnTo>
                    <a:pt x="257315" y="156542"/>
                  </a:lnTo>
                  <a:lnTo>
                    <a:pt x="254562" y="158786"/>
                  </a:lnTo>
                  <a:lnTo>
                    <a:pt x="251698" y="159645"/>
                  </a:lnTo>
                  <a:lnTo>
                    <a:pt x="249601" y="160390"/>
                  </a:lnTo>
                  <a:lnTo>
                    <a:pt x="247941" y="162962"/>
                  </a:lnTo>
                  <a:lnTo>
                    <a:pt x="246388" y="165357"/>
                  </a:lnTo>
                  <a:lnTo>
                    <a:pt x="244993" y="167516"/>
                  </a:lnTo>
                  <a:lnTo>
                    <a:pt x="244194" y="168491"/>
                  </a:lnTo>
                  <a:lnTo>
                    <a:pt x="243465" y="169121"/>
                  </a:lnTo>
                  <a:lnTo>
                    <a:pt x="242732" y="170503"/>
                  </a:lnTo>
                  <a:lnTo>
                    <a:pt x="241228" y="172799"/>
                  </a:lnTo>
                  <a:lnTo>
                    <a:pt x="239850" y="174345"/>
                  </a:lnTo>
                  <a:lnTo>
                    <a:pt x="237923" y="175187"/>
                  </a:lnTo>
                  <a:lnTo>
                    <a:pt x="235442" y="176276"/>
                  </a:lnTo>
                  <a:lnTo>
                    <a:pt x="234596" y="176910"/>
                  </a:lnTo>
                  <a:lnTo>
                    <a:pt x="234481" y="177839"/>
                  </a:lnTo>
                  <a:lnTo>
                    <a:pt x="235367" y="180006"/>
                  </a:lnTo>
                  <a:lnTo>
                    <a:pt x="236222" y="182097"/>
                  </a:lnTo>
                  <a:lnTo>
                    <a:pt x="237617" y="184542"/>
                  </a:lnTo>
                  <a:lnTo>
                    <a:pt x="238638" y="186333"/>
                  </a:lnTo>
                  <a:lnTo>
                    <a:pt x="240251" y="188521"/>
                  </a:lnTo>
                  <a:lnTo>
                    <a:pt x="241195" y="189803"/>
                  </a:lnTo>
                  <a:lnTo>
                    <a:pt x="241070" y="191954"/>
                  </a:lnTo>
                  <a:lnTo>
                    <a:pt x="241387" y="192726"/>
                  </a:lnTo>
                  <a:lnTo>
                    <a:pt x="241927" y="193617"/>
                  </a:lnTo>
                  <a:lnTo>
                    <a:pt x="242372" y="193844"/>
                  </a:lnTo>
                  <a:lnTo>
                    <a:pt x="242877" y="194164"/>
                  </a:lnTo>
                  <a:lnTo>
                    <a:pt x="244216" y="194782"/>
                  </a:lnTo>
                  <a:lnTo>
                    <a:pt x="244538" y="195194"/>
                  </a:lnTo>
                  <a:lnTo>
                    <a:pt x="245477" y="195929"/>
                  </a:lnTo>
                  <a:lnTo>
                    <a:pt x="246375" y="197268"/>
                  </a:lnTo>
                  <a:lnTo>
                    <a:pt x="248077" y="199111"/>
                  </a:lnTo>
                  <a:lnTo>
                    <a:pt x="249990" y="200512"/>
                  </a:lnTo>
                  <a:lnTo>
                    <a:pt x="253279" y="201091"/>
                  </a:lnTo>
                  <a:lnTo>
                    <a:pt x="255851" y="201540"/>
                  </a:lnTo>
                  <a:lnTo>
                    <a:pt x="256706" y="201267"/>
                  </a:lnTo>
                  <a:lnTo>
                    <a:pt x="257580" y="200138"/>
                  </a:lnTo>
                  <a:lnTo>
                    <a:pt x="258295" y="198693"/>
                  </a:lnTo>
                  <a:lnTo>
                    <a:pt x="258524" y="196867"/>
                  </a:lnTo>
                  <a:lnTo>
                    <a:pt x="259345" y="195896"/>
                  </a:lnTo>
                  <a:lnTo>
                    <a:pt x="262424" y="191254"/>
                  </a:lnTo>
                  <a:lnTo>
                    <a:pt x="264119" y="189536"/>
                  </a:lnTo>
                  <a:lnTo>
                    <a:pt x="265158" y="189413"/>
                  </a:lnTo>
                  <a:lnTo>
                    <a:pt x="266497" y="189084"/>
                  </a:lnTo>
                  <a:lnTo>
                    <a:pt x="268200" y="188942"/>
                  </a:lnTo>
                  <a:lnTo>
                    <a:pt x="269477" y="189079"/>
                  </a:lnTo>
                  <a:lnTo>
                    <a:pt x="269753" y="189027"/>
                  </a:lnTo>
                  <a:lnTo>
                    <a:pt x="271744" y="188431"/>
                  </a:lnTo>
                  <a:lnTo>
                    <a:pt x="275374" y="186894"/>
                  </a:lnTo>
                  <a:lnTo>
                    <a:pt x="277015" y="185948"/>
                  </a:lnTo>
                  <a:lnTo>
                    <a:pt x="278202" y="185178"/>
                  </a:lnTo>
                  <a:lnTo>
                    <a:pt x="279729" y="184003"/>
                  </a:lnTo>
                  <a:lnTo>
                    <a:pt x="280258" y="181153"/>
                  </a:lnTo>
                  <a:lnTo>
                    <a:pt x="280705" y="178731"/>
                  </a:lnTo>
                  <a:lnTo>
                    <a:pt x="281876" y="177540"/>
                  </a:lnTo>
                  <a:lnTo>
                    <a:pt x="283072" y="176748"/>
                  </a:lnTo>
                  <a:lnTo>
                    <a:pt x="284052" y="175493"/>
                  </a:lnTo>
                  <a:lnTo>
                    <a:pt x="285274" y="172479"/>
                  </a:lnTo>
                  <a:lnTo>
                    <a:pt x="286112" y="169531"/>
                  </a:lnTo>
                  <a:lnTo>
                    <a:pt x="286201" y="168326"/>
                  </a:lnTo>
                  <a:lnTo>
                    <a:pt x="285762" y="167091"/>
                  </a:lnTo>
                  <a:lnTo>
                    <a:pt x="284990" y="165771"/>
                  </a:lnTo>
                  <a:lnTo>
                    <a:pt x="284225" y="163994"/>
                  </a:lnTo>
                  <a:lnTo>
                    <a:pt x="283305" y="163716"/>
                  </a:lnTo>
                  <a:lnTo>
                    <a:pt x="281498" y="162720"/>
                  </a:lnTo>
                  <a:lnTo>
                    <a:pt x="278844" y="160718"/>
                  </a:lnTo>
                  <a:lnTo>
                    <a:pt x="276538" y="158980"/>
                  </a:lnTo>
                  <a:lnTo>
                    <a:pt x="274382" y="156448"/>
                  </a:lnTo>
                  <a:lnTo>
                    <a:pt x="273497" y="156035"/>
                  </a:lnTo>
                  <a:lnTo>
                    <a:pt x="271409" y="154325"/>
                  </a:lnTo>
                  <a:lnTo>
                    <a:pt x="270511" y="153343"/>
                  </a:lnTo>
                  <a:lnTo>
                    <a:pt x="269880" y="152168"/>
                  </a:lnTo>
                  <a:close/>
                  <a:moveTo>
                    <a:pt x="292223" y="0"/>
                  </a:moveTo>
                  <a:lnTo>
                    <a:pt x="297514" y="880"/>
                  </a:lnTo>
                  <a:lnTo>
                    <a:pt x="303884" y="3363"/>
                  </a:lnTo>
                  <a:lnTo>
                    <a:pt x="309848" y="4243"/>
                  </a:lnTo>
                  <a:lnTo>
                    <a:pt x="315409" y="3520"/>
                  </a:lnTo>
                  <a:lnTo>
                    <a:pt x="319930" y="3354"/>
                  </a:lnTo>
                  <a:lnTo>
                    <a:pt x="323409" y="3751"/>
                  </a:lnTo>
                  <a:lnTo>
                    <a:pt x="326148" y="4613"/>
                  </a:lnTo>
                  <a:lnTo>
                    <a:pt x="328151" y="5941"/>
                  </a:lnTo>
                  <a:lnTo>
                    <a:pt x="328268" y="7164"/>
                  </a:lnTo>
                  <a:lnTo>
                    <a:pt x="328423" y="7720"/>
                  </a:lnTo>
                  <a:lnTo>
                    <a:pt x="329481" y="10952"/>
                  </a:lnTo>
                  <a:lnTo>
                    <a:pt x="331058" y="15782"/>
                  </a:lnTo>
                  <a:lnTo>
                    <a:pt x="332105" y="20245"/>
                  </a:lnTo>
                  <a:lnTo>
                    <a:pt x="333543" y="26373"/>
                  </a:lnTo>
                  <a:lnTo>
                    <a:pt x="333498" y="29788"/>
                  </a:lnTo>
                  <a:lnTo>
                    <a:pt x="333850" y="31108"/>
                  </a:lnTo>
                  <a:lnTo>
                    <a:pt x="335143" y="32758"/>
                  </a:lnTo>
                  <a:lnTo>
                    <a:pt x="336724" y="35592"/>
                  </a:lnTo>
                  <a:lnTo>
                    <a:pt x="337264" y="37202"/>
                  </a:lnTo>
                  <a:lnTo>
                    <a:pt x="337795" y="38406"/>
                  </a:lnTo>
                  <a:lnTo>
                    <a:pt x="339466" y="40691"/>
                  </a:lnTo>
                  <a:lnTo>
                    <a:pt x="340764" y="44156"/>
                  </a:lnTo>
                  <a:lnTo>
                    <a:pt x="341863" y="48749"/>
                  </a:lnTo>
                  <a:lnTo>
                    <a:pt x="342805" y="50954"/>
                  </a:lnTo>
                  <a:lnTo>
                    <a:pt x="343159" y="52037"/>
                  </a:lnTo>
                  <a:lnTo>
                    <a:pt x="343584" y="54012"/>
                  </a:lnTo>
                  <a:lnTo>
                    <a:pt x="343526" y="58183"/>
                  </a:lnTo>
                  <a:lnTo>
                    <a:pt x="343552" y="63018"/>
                  </a:lnTo>
                  <a:lnTo>
                    <a:pt x="343582" y="68424"/>
                  </a:lnTo>
                  <a:lnTo>
                    <a:pt x="343610" y="72891"/>
                  </a:lnTo>
                  <a:lnTo>
                    <a:pt x="343442" y="75153"/>
                  </a:lnTo>
                  <a:lnTo>
                    <a:pt x="343556" y="81581"/>
                  </a:lnTo>
                  <a:lnTo>
                    <a:pt x="342135" y="84935"/>
                  </a:lnTo>
                  <a:lnTo>
                    <a:pt x="342312" y="87568"/>
                  </a:lnTo>
                  <a:lnTo>
                    <a:pt x="342753" y="89276"/>
                  </a:lnTo>
                  <a:lnTo>
                    <a:pt x="342166" y="89540"/>
                  </a:lnTo>
                  <a:lnTo>
                    <a:pt x="341056" y="89844"/>
                  </a:lnTo>
                  <a:lnTo>
                    <a:pt x="335947" y="87141"/>
                  </a:lnTo>
                  <a:lnTo>
                    <a:pt x="330965" y="84289"/>
                  </a:lnTo>
                  <a:lnTo>
                    <a:pt x="330246" y="84203"/>
                  </a:lnTo>
                  <a:lnTo>
                    <a:pt x="329197" y="84501"/>
                  </a:lnTo>
                  <a:lnTo>
                    <a:pt x="326370" y="86575"/>
                  </a:lnTo>
                  <a:lnTo>
                    <a:pt x="323733" y="89822"/>
                  </a:lnTo>
                  <a:lnTo>
                    <a:pt x="322522" y="92592"/>
                  </a:lnTo>
                  <a:lnTo>
                    <a:pt x="320574" y="95456"/>
                  </a:lnTo>
                  <a:lnTo>
                    <a:pt x="317436" y="100070"/>
                  </a:lnTo>
                  <a:lnTo>
                    <a:pt x="317121" y="101065"/>
                  </a:lnTo>
                  <a:lnTo>
                    <a:pt x="317086" y="104818"/>
                  </a:lnTo>
                  <a:lnTo>
                    <a:pt x="317238" y="108393"/>
                  </a:lnTo>
                  <a:lnTo>
                    <a:pt x="317512" y="108892"/>
                  </a:lnTo>
                  <a:lnTo>
                    <a:pt x="319205" y="109061"/>
                  </a:lnTo>
                  <a:lnTo>
                    <a:pt x="320416" y="111995"/>
                  </a:lnTo>
                  <a:lnTo>
                    <a:pt x="323187" y="116668"/>
                  </a:lnTo>
                  <a:lnTo>
                    <a:pt x="327845" y="119669"/>
                  </a:lnTo>
                  <a:lnTo>
                    <a:pt x="332168" y="121030"/>
                  </a:lnTo>
                  <a:lnTo>
                    <a:pt x="338205" y="121374"/>
                  </a:lnTo>
                  <a:lnTo>
                    <a:pt x="342978" y="121277"/>
                  </a:lnTo>
                  <a:lnTo>
                    <a:pt x="342705" y="118128"/>
                  </a:lnTo>
                  <a:lnTo>
                    <a:pt x="343172" y="113060"/>
                  </a:lnTo>
                  <a:lnTo>
                    <a:pt x="343781" y="109658"/>
                  </a:lnTo>
                  <a:lnTo>
                    <a:pt x="344446" y="109507"/>
                  </a:lnTo>
                  <a:lnTo>
                    <a:pt x="345703" y="109832"/>
                  </a:lnTo>
                  <a:lnTo>
                    <a:pt x="346394" y="110180"/>
                  </a:lnTo>
                  <a:lnTo>
                    <a:pt x="348311" y="110038"/>
                  </a:lnTo>
                  <a:lnTo>
                    <a:pt x="351715" y="110707"/>
                  </a:lnTo>
                  <a:lnTo>
                    <a:pt x="354461" y="110632"/>
                  </a:lnTo>
                  <a:lnTo>
                    <a:pt x="356917" y="110567"/>
                  </a:lnTo>
                  <a:lnTo>
                    <a:pt x="361069" y="110454"/>
                  </a:lnTo>
                  <a:lnTo>
                    <a:pt x="363492" y="110414"/>
                  </a:lnTo>
                  <a:lnTo>
                    <a:pt x="362674" y="115903"/>
                  </a:lnTo>
                  <a:lnTo>
                    <a:pt x="359506" y="124511"/>
                  </a:lnTo>
                  <a:lnTo>
                    <a:pt x="358426" y="128464"/>
                  </a:lnTo>
                  <a:lnTo>
                    <a:pt x="355722" y="142624"/>
                  </a:lnTo>
                  <a:lnTo>
                    <a:pt x="352194" y="149779"/>
                  </a:lnTo>
                  <a:lnTo>
                    <a:pt x="350216" y="152736"/>
                  </a:lnTo>
                  <a:lnTo>
                    <a:pt x="344500" y="157974"/>
                  </a:lnTo>
                  <a:lnTo>
                    <a:pt x="342911" y="159037"/>
                  </a:lnTo>
                  <a:lnTo>
                    <a:pt x="341499" y="159718"/>
                  </a:lnTo>
                  <a:lnTo>
                    <a:pt x="338994" y="160319"/>
                  </a:lnTo>
                  <a:lnTo>
                    <a:pt x="329197" y="170939"/>
                  </a:lnTo>
                  <a:lnTo>
                    <a:pt x="325543" y="176071"/>
                  </a:lnTo>
                  <a:lnTo>
                    <a:pt x="322302" y="183564"/>
                  </a:lnTo>
                  <a:lnTo>
                    <a:pt x="319080" y="187683"/>
                  </a:lnTo>
                  <a:lnTo>
                    <a:pt x="314346" y="196486"/>
                  </a:lnTo>
                  <a:lnTo>
                    <a:pt x="310116" y="203297"/>
                  </a:lnTo>
                  <a:lnTo>
                    <a:pt x="306057" y="209515"/>
                  </a:lnTo>
                  <a:lnTo>
                    <a:pt x="299036" y="218097"/>
                  </a:lnTo>
                  <a:lnTo>
                    <a:pt x="295920" y="220581"/>
                  </a:lnTo>
                  <a:lnTo>
                    <a:pt x="293817" y="221719"/>
                  </a:lnTo>
                  <a:lnTo>
                    <a:pt x="288239" y="226714"/>
                  </a:lnTo>
                  <a:lnTo>
                    <a:pt x="280388" y="234758"/>
                  </a:lnTo>
                  <a:lnTo>
                    <a:pt x="274376" y="241903"/>
                  </a:lnTo>
                  <a:lnTo>
                    <a:pt x="265387" y="250029"/>
                  </a:lnTo>
                  <a:lnTo>
                    <a:pt x="260183" y="253592"/>
                  </a:lnTo>
                  <a:lnTo>
                    <a:pt x="252368" y="260615"/>
                  </a:lnTo>
                  <a:lnTo>
                    <a:pt x="250189" y="261654"/>
                  </a:lnTo>
                  <a:lnTo>
                    <a:pt x="241381" y="268196"/>
                  </a:lnTo>
                  <a:lnTo>
                    <a:pt x="235049" y="272174"/>
                  </a:lnTo>
                  <a:lnTo>
                    <a:pt x="224794" y="276791"/>
                  </a:lnTo>
                  <a:lnTo>
                    <a:pt x="220722" y="278085"/>
                  </a:lnTo>
                  <a:lnTo>
                    <a:pt x="210994" y="276888"/>
                  </a:lnTo>
                  <a:lnTo>
                    <a:pt x="206932" y="277527"/>
                  </a:lnTo>
                  <a:lnTo>
                    <a:pt x="203540" y="280320"/>
                  </a:lnTo>
                  <a:lnTo>
                    <a:pt x="203224" y="284334"/>
                  </a:lnTo>
                  <a:lnTo>
                    <a:pt x="201810" y="284936"/>
                  </a:lnTo>
                  <a:lnTo>
                    <a:pt x="199666" y="284757"/>
                  </a:lnTo>
                  <a:lnTo>
                    <a:pt x="192866" y="283081"/>
                  </a:lnTo>
                  <a:lnTo>
                    <a:pt x="189178" y="283402"/>
                  </a:lnTo>
                  <a:lnTo>
                    <a:pt x="187025" y="285543"/>
                  </a:lnTo>
                  <a:lnTo>
                    <a:pt x="185291" y="288260"/>
                  </a:lnTo>
                  <a:lnTo>
                    <a:pt x="180168" y="288399"/>
                  </a:lnTo>
                  <a:lnTo>
                    <a:pt x="171047" y="285587"/>
                  </a:lnTo>
                  <a:lnTo>
                    <a:pt x="160320" y="283878"/>
                  </a:lnTo>
                  <a:lnTo>
                    <a:pt x="157836" y="283688"/>
                  </a:lnTo>
                  <a:lnTo>
                    <a:pt x="152636" y="285772"/>
                  </a:lnTo>
                  <a:lnTo>
                    <a:pt x="150818" y="286075"/>
                  </a:lnTo>
                  <a:lnTo>
                    <a:pt x="143243" y="285629"/>
                  </a:lnTo>
                  <a:lnTo>
                    <a:pt x="139041" y="284312"/>
                  </a:lnTo>
                  <a:lnTo>
                    <a:pt x="135022" y="284307"/>
                  </a:lnTo>
                  <a:lnTo>
                    <a:pt x="131941" y="285395"/>
                  </a:lnTo>
                  <a:lnTo>
                    <a:pt x="128205" y="285777"/>
                  </a:lnTo>
                  <a:lnTo>
                    <a:pt x="118110" y="293335"/>
                  </a:lnTo>
                  <a:lnTo>
                    <a:pt x="112897" y="293344"/>
                  </a:lnTo>
                  <a:lnTo>
                    <a:pt x="108399" y="294221"/>
                  </a:lnTo>
                  <a:lnTo>
                    <a:pt x="106169" y="294192"/>
                  </a:lnTo>
                  <a:lnTo>
                    <a:pt x="101995" y="293135"/>
                  </a:lnTo>
                  <a:lnTo>
                    <a:pt x="100440" y="293206"/>
                  </a:lnTo>
                  <a:lnTo>
                    <a:pt x="98065" y="293680"/>
                  </a:lnTo>
                  <a:lnTo>
                    <a:pt x="95685" y="295012"/>
                  </a:lnTo>
                  <a:lnTo>
                    <a:pt x="90269" y="295590"/>
                  </a:lnTo>
                  <a:lnTo>
                    <a:pt x="88164" y="296725"/>
                  </a:lnTo>
                  <a:lnTo>
                    <a:pt x="79008" y="303648"/>
                  </a:lnTo>
                  <a:lnTo>
                    <a:pt x="76922" y="303372"/>
                  </a:lnTo>
                  <a:lnTo>
                    <a:pt x="75235" y="302920"/>
                  </a:lnTo>
                  <a:lnTo>
                    <a:pt x="70481" y="302837"/>
                  </a:lnTo>
                  <a:lnTo>
                    <a:pt x="65097" y="299148"/>
                  </a:lnTo>
                  <a:lnTo>
                    <a:pt x="63035" y="299382"/>
                  </a:lnTo>
                  <a:lnTo>
                    <a:pt x="63588" y="298277"/>
                  </a:lnTo>
                  <a:lnTo>
                    <a:pt x="63754" y="296321"/>
                  </a:lnTo>
                  <a:lnTo>
                    <a:pt x="62618" y="294939"/>
                  </a:lnTo>
                  <a:lnTo>
                    <a:pt x="61849" y="294323"/>
                  </a:lnTo>
                  <a:lnTo>
                    <a:pt x="59737" y="294437"/>
                  </a:lnTo>
                  <a:lnTo>
                    <a:pt x="58615" y="292772"/>
                  </a:lnTo>
                  <a:lnTo>
                    <a:pt x="55382" y="292614"/>
                  </a:lnTo>
                  <a:lnTo>
                    <a:pt x="54263" y="293035"/>
                  </a:lnTo>
                  <a:lnTo>
                    <a:pt x="52711" y="293120"/>
                  </a:lnTo>
                  <a:lnTo>
                    <a:pt x="52573" y="291436"/>
                  </a:lnTo>
                  <a:lnTo>
                    <a:pt x="52696" y="290376"/>
                  </a:lnTo>
                  <a:lnTo>
                    <a:pt x="52601" y="288746"/>
                  </a:lnTo>
                  <a:lnTo>
                    <a:pt x="52212" y="286749"/>
                  </a:lnTo>
                  <a:lnTo>
                    <a:pt x="50960" y="286112"/>
                  </a:lnTo>
                  <a:lnTo>
                    <a:pt x="49998" y="285845"/>
                  </a:lnTo>
                  <a:lnTo>
                    <a:pt x="47710" y="285981"/>
                  </a:lnTo>
                  <a:lnTo>
                    <a:pt x="46133" y="286194"/>
                  </a:lnTo>
                  <a:lnTo>
                    <a:pt x="45393" y="286775"/>
                  </a:lnTo>
                  <a:lnTo>
                    <a:pt x="44546" y="288238"/>
                  </a:lnTo>
                  <a:lnTo>
                    <a:pt x="44535" y="292692"/>
                  </a:lnTo>
                  <a:lnTo>
                    <a:pt x="43402" y="291414"/>
                  </a:lnTo>
                  <a:lnTo>
                    <a:pt x="42113" y="288746"/>
                  </a:lnTo>
                  <a:lnTo>
                    <a:pt x="41700" y="285903"/>
                  </a:lnTo>
                  <a:lnTo>
                    <a:pt x="42164" y="282543"/>
                  </a:lnTo>
                  <a:lnTo>
                    <a:pt x="44611" y="281269"/>
                  </a:lnTo>
                  <a:lnTo>
                    <a:pt x="44421" y="279001"/>
                  </a:lnTo>
                  <a:lnTo>
                    <a:pt x="43903" y="277036"/>
                  </a:lnTo>
                  <a:lnTo>
                    <a:pt x="41171" y="272007"/>
                  </a:lnTo>
                  <a:lnTo>
                    <a:pt x="40104" y="269709"/>
                  </a:lnTo>
                  <a:lnTo>
                    <a:pt x="37785" y="268152"/>
                  </a:lnTo>
                  <a:lnTo>
                    <a:pt x="35982" y="264406"/>
                  </a:lnTo>
                  <a:lnTo>
                    <a:pt x="34164" y="263047"/>
                  </a:lnTo>
                  <a:lnTo>
                    <a:pt x="33408" y="260429"/>
                  </a:lnTo>
                  <a:lnTo>
                    <a:pt x="31635" y="258334"/>
                  </a:lnTo>
                  <a:lnTo>
                    <a:pt x="31035" y="255027"/>
                  </a:lnTo>
                  <a:lnTo>
                    <a:pt x="32013" y="253130"/>
                  </a:lnTo>
                  <a:lnTo>
                    <a:pt x="33559" y="252097"/>
                  </a:lnTo>
                  <a:lnTo>
                    <a:pt x="35135" y="253736"/>
                  </a:lnTo>
                  <a:lnTo>
                    <a:pt x="37092" y="253096"/>
                  </a:lnTo>
                  <a:lnTo>
                    <a:pt x="39875" y="250707"/>
                  </a:lnTo>
                  <a:lnTo>
                    <a:pt x="41521" y="247084"/>
                  </a:lnTo>
                  <a:lnTo>
                    <a:pt x="41622" y="241296"/>
                  </a:lnTo>
                  <a:lnTo>
                    <a:pt x="41199" y="237685"/>
                  </a:lnTo>
                  <a:lnTo>
                    <a:pt x="38990" y="228373"/>
                  </a:lnTo>
                  <a:lnTo>
                    <a:pt x="37947" y="226236"/>
                  </a:lnTo>
                  <a:lnTo>
                    <a:pt x="32970" y="219589"/>
                  </a:lnTo>
                  <a:lnTo>
                    <a:pt x="27196" y="210707"/>
                  </a:lnTo>
                  <a:lnTo>
                    <a:pt x="19890" y="196744"/>
                  </a:lnTo>
                  <a:lnTo>
                    <a:pt x="16396" y="188379"/>
                  </a:lnTo>
                  <a:lnTo>
                    <a:pt x="11110" y="171549"/>
                  </a:lnTo>
                  <a:lnTo>
                    <a:pt x="6455" y="162057"/>
                  </a:lnTo>
                  <a:lnTo>
                    <a:pt x="734" y="153216"/>
                  </a:lnTo>
                  <a:lnTo>
                    <a:pt x="0" y="152642"/>
                  </a:lnTo>
                  <a:lnTo>
                    <a:pt x="875" y="151569"/>
                  </a:lnTo>
                  <a:lnTo>
                    <a:pt x="3950" y="149530"/>
                  </a:lnTo>
                  <a:lnTo>
                    <a:pt x="5349" y="148980"/>
                  </a:lnTo>
                  <a:lnTo>
                    <a:pt x="6092" y="149233"/>
                  </a:lnTo>
                  <a:lnTo>
                    <a:pt x="6815" y="148673"/>
                  </a:lnTo>
                  <a:lnTo>
                    <a:pt x="7517" y="147297"/>
                  </a:lnTo>
                  <a:lnTo>
                    <a:pt x="7672" y="146005"/>
                  </a:lnTo>
                  <a:lnTo>
                    <a:pt x="8018" y="144177"/>
                  </a:lnTo>
                  <a:lnTo>
                    <a:pt x="8705" y="143085"/>
                  </a:lnTo>
                  <a:lnTo>
                    <a:pt x="9458" y="140906"/>
                  </a:lnTo>
                  <a:lnTo>
                    <a:pt x="10741" y="139511"/>
                  </a:lnTo>
                  <a:lnTo>
                    <a:pt x="13460" y="138588"/>
                  </a:lnTo>
                  <a:lnTo>
                    <a:pt x="15520" y="139812"/>
                  </a:lnTo>
                  <a:lnTo>
                    <a:pt x="16383" y="141016"/>
                  </a:lnTo>
                  <a:lnTo>
                    <a:pt x="16740" y="142603"/>
                  </a:lnTo>
                  <a:lnTo>
                    <a:pt x="17651" y="143370"/>
                  </a:lnTo>
                  <a:lnTo>
                    <a:pt x="19115" y="143316"/>
                  </a:lnTo>
                  <a:lnTo>
                    <a:pt x="20147" y="144294"/>
                  </a:lnTo>
                  <a:lnTo>
                    <a:pt x="20746" y="146302"/>
                  </a:lnTo>
                  <a:lnTo>
                    <a:pt x="20625" y="147758"/>
                  </a:lnTo>
                  <a:lnTo>
                    <a:pt x="19791" y="148662"/>
                  </a:lnTo>
                  <a:lnTo>
                    <a:pt x="19908" y="149849"/>
                  </a:lnTo>
                  <a:lnTo>
                    <a:pt x="20970" y="151325"/>
                  </a:lnTo>
                  <a:lnTo>
                    <a:pt x="21408" y="152727"/>
                  </a:lnTo>
                  <a:lnTo>
                    <a:pt x="22121" y="154576"/>
                  </a:lnTo>
                  <a:lnTo>
                    <a:pt x="25855" y="155655"/>
                  </a:lnTo>
                  <a:lnTo>
                    <a:pt x="27679" y="156263"/>
                  </a:lnTo>
                  <a:lnTo>
                    <a:pt x="30826" y="156469"/>
                  </a:lnTo>
                  <a:lnTo>
                    <a:pt x="33799" y="157295"/>
                  </a:lnTo>
                  <a:lnTo>
                    <a:pt x="36600" y="158746"/>
                  </a:lnTo>
                  <a:lnTo>
                    <a:pt x="41201" y="159096"/>
                  </a:lnTo>
                  <a:lnTo>
                    <a:pt x="47604" y="158351"/>
                  </a:lnTo>
                  <a:lnTo>
                    <a:pt x="52875" y="158685"/>
                  </a:lnTo>
                  <a:lnTo>
                    <a:pt x="57017" y="160098"/>
                  </a:lnTo>
                  <a:lnTo>
                    <a:pt x="60016" y="160359"/>
                  </a:lnTo>
                  <a:lnTo>
                    <a:pt x="61875" y="159466"/>
                  </a:lnTo>
                  <a:lnTo>
                    <a:pt x="62681" y="158175"/>
                  </a:lnTo>
                  <a:lnTo>
                    <a:pt x="62432" y="156488"/>
                  </a:lnTo>
                  <a:lnTo>
                    <a:pt x="63354" y="155421"/>
                  </a:lnTo>
                  <a:lnTo>
                    <a:pt x="65445" y="154968"/>
                  </a:lnTo>
                  <a:lnTo>
                    <a:pt x="67118" y="153699"/>
                  </a:lnTo>
                  <a:lnTo>
                    <a:pt x="68377" y="151611"/>
                  </a:lnTo>
                  <a:lnTo>
                    <a:pt x="71288" y="149915"/>
                  </a:lnTo>
                  <a:lnTo>
                    <a:pt x="75851" y="148608"/>
                  </a:lnTo>
                  <a:lnTo>
                    <a:pt x="78120" y="148652"/>
                  </a:lnTo>
                  <a:lnTo>
                    <a:pt x="78120" y="145274"/>
                  </a:lnTo>
                  <a:lnTo>
                    <a:pt x="78120" y="134630"/>
                  </a:lnTo>
                  <a:lnTo>
                    <a:pt x="78120" y="124013"/>
                  </a:lnTo>
                  <a:lnTo>
                    <a:pt x="78120" y="113425"/>
                  </a:lnTo>
                  <a:lnTo>
                    <a:pt x="78120" y="102860"/>
                  </a:lnTo>
                  <a:lnTo>
                    <a:pt x="78120" y="92321"/>
                  </a:lnTo>
                  <a:lnTo>
                    <a:pt x="78120" y="81809"/>
                  </a:lnTo>
                  <a:lnTo>
                    <a:pt x="78120" y="71320"/>
                  </a:lnTo>
                  <a:lnTo>
                    <a:pt x="78120" y="61437"/>
                  </a:lnTo>
                  <a:lnTo>
                    <a:pt x="79185" y="62148"/>
                  </a:lnTo>
                  <a:lnTo>
                    <a:pt x="86185" y="67390"/>
                  </a:lnTo>
                  <a:lnTo>
                    <a:pt x="88075" y="70149"/>
                  </a:lnTo>
                  <a:lnTo>
                    <a:pt x="89014" y="71897"/>
                  </a:lnTo>
                  <a:lnTo>
                    <a:pt x="92025" y="78260"/>
                  </a:lnTo>
                  <a:lnTo>
                    <a:pt x="94268" y="83973"/>
                  </a:lnTo>
                  <a:lnTo>
                    <a:pt x="96091" y="88284"/>
                  </a:lnTo>
                  <a:lnTo>
                    <a:pt x="96229" y="90256"/>
                  </a:lnTo>
                  <a:lnTo>
                    <a:pt x="96486" y="92185"/>
                  </a:lnTo>
                  <a:lnTo>
                    <a:pt x="96743" y="93133"/>
                  </a:lnTo>
                  <a:lnTo>
                    <a:pt x="96574" y="94182"/>
                  </a:lnTo>
                  <a:lnTo>
                    <a:pt x="95292" y="96532"/>
                  </a:lnTo>
                  <a:lnTo>
                    <a:pt x="93983" y="98331"/>
                  </a:lnTo>
                  <a:lnTo>
                    <a:pt x="92411" y="100790"/>
                  </a:lnTo>
                  <a:lnTo>
                    <a:pt x="92260" y="104040"/>
                  </a:lnTo>
                  <a:lnTo>
                    <a:pt x="92735" y="107869"/>
                  </a:lnTo>
                  <a:lnTo>
                    <a:pt x="93700" y="109776"/>
                  </a:lnTo>
                  <a:lnTo>
                    <a:pt x="94912" y="110402"/>
                  </a:lnTo>
                  <a:lnTo>
                    <a:pt x="97810" y="109451"/>
                  </a:lnTo>
                  <a:lnTo>
                    <a:pt x="99645" y="109744"/>
                  </a:lnTo>
                  <a:lnTo>
                    <a:pt x="102234" y="110472"/>
                  </a:lnTo>
                  <a:lnTo>
                    <a:pt x="110725" y="110022"/>
                  </a:lnTo>
                  <a:lnTo>
                    <a:pt x="111751" y="110256"/>
                  </a:lnTo>
                  <a:lnTo>
                    <a:pt x="114955" y="110530"/>
                  </a:lnTo>
                  <a:lnTo>
                    <a:pt x="116026" y="110214"/>
                  </a:lnTo>
                  <a:lnTo>
                    <a:pt x="116985" y="109405"/>
                  </a:lnTo>
                  <a:lnTo>
                    <a:pt x="118095" y="107106"/>
                  </a:lnTo>
                  <a:lnTo>
                    <a:pt x="119088" y="106353"/>
                  </a:lnTo>
                  <a:lnTo>
                    <a:pt x="120887" y="105963"/>
                  </a:lnTo>
                  <a:lnTo>
                    <a:pt x="123018" y="105344"/>
                  </a:lnTo>
                  <a:lnTo>
                    <a:pt x="124787" y="104023"/>
                  </a:lnTo>
                  <a:lnTo>
                    <a:pt x="127588" y="99486"/>
                  </a:lnTo>
                  <a:lnTo>
                    <a:pt x="133189" y="95463"/>
                  </a:lnTo>
                  <a:lnTo>
                    <a:pt x="134908" y="94501"/>
                  </a:lnTo>
                  <a:lnTo>
                    <a:pt x="135992" y="93419"/>
                  </a:lnTo>
                  <a:lnTo>
                    <a:pt x="136934" y="91963"/>
                  </a:lnTo>
                  <a:lnTo>
                    <a:pt x="138896" y="86905"/>
                  </a:lnTo>
                  <a:lnTo>
                    <a:pt x="140380" y="82695"/>
                  </a:lnTo>
                  <a:lnTo>
                    <a:pt x="140885" y="80712"/>
                  </a:lnTo>
                  <a:lnTo>
                    <a:pt x="142209" y="77475"/>
                  </a:lnTo>
                  <a:lnTo>
                    <a:pt x="143811" y="75409"/>
                  </a:lnTo>
                  <a:lnTo>
                    <a:pt x="145376" y="74320"/>
                  </a:lnTo>
                  <a:lnTo>
                    <a:pt x="146160" y="74041"/>
                  </a:lnTo>
                  <a:lnTo>
                    <a:pt x="148177" y="73485"/>
                  </a:lnTo>
                  <a:lnTo>
                    <a:pt x="150771" y="72964"/>
                  </a:lnTo>
                  <a:lnTo>
                    <a:pt x="153496" y="73549"/>
                  </a:lnTo>
                  <a:lnTo>
                    <a:pt x="156420" y="74799"/>
                  </a:lnTo>
                  <a:lnTo>
                    <a:pt x="159719" y="76910"/>
                  </a:lnTo>
                  <a:lnTo>
                    <a:pt x="163097" y="79521"/>
                  </a:lnTo>
                  <a:lnTo>
                    <a:pt x="164651" y="80848"/>
                  </a:lnTo>
                  <a:lnTo>
                    <a:pt x="166327" y="81443"/>
                  </a:lnTo>
                  <a:lnTo>
                    <a:pt x="169311" y="81650"/>
                  </a:lnTo>
                  <a:lnTo>
                    <a:pt x="171267" y="81604"/>
                  </a:lnTo>
                  <a:lnTo>
                    <a:pt x="174310" y="84201"/>
                  </a:lnTo>
                  <a:lnTo>
                    <a:pt x="175850" y="84364"/>
                  </a:lnTo>
                  <a:lnTo>
                    <a:pt x="179292" y="85151"/>
                  </a:lnTo>
                  <a:lnTo>
                    <a:pt x="183544" y="85961"/>
                  </a:lnTo>
                  <a:lnTo>
                    <a:pt x="186221" y="85869"/>
                  </a:lnTo>
                  <a:lnTo>
                    <a:pt x="189089" y="84464"/>
                  </a:lnTo>
                  <a:lnTo>
                    <a:pt x="191158" y="84404"/>
                  </a:lnTo>
                  <a:lnTo>
                    <a:pt x="193831" y="84517"/>
                  </a:lnTo>
                  <a:lnTo>
                    <a:pt x="196768" y="84132"/>
                  </a:lnTo>
                  <a:lnTo>
                    <a:pt x="198923" y="83530"/>
                  </a:lnTo>
                  <a:lnTo>
                    <a:pt x="200570" y="82310"/>
                  </a:lnTo>
                  <a:lnTo>
                    <a:pt x="202022" y="80975"/>
                  </a:lnTo>
                  <a:lnTo>
                    <a:pt x="203689" y="77003"/>
                  </a:lnTo>
                  <a:lnTo>
                    <a:pt x="204650" y="73807"/>
                  </a:lnTo>
                  <a:lnTo>
                    <a:pt x="206137" y="70135"/>
                  </a:lnTo>
                  <a:lnTo>
                    <a:pt x="207962" y="65163"/>
                  </a:lnTo>
                  <a:lnTo>
                    <a:pt x="208612" y="61701"/>
                  </a:lnTo>
                  <a:lnTo>
                    <a:pt x="209281" y="60748"/>
                  </a:lnTo>
                  <a:lnTo>
                    <a:pt x="211929" y="59690"/>
                  </a:lnTo>
                  <a:lnTo>
                    <a:pt x="214118" y="58963"/>
                  </a:lnTo>
                  <a:lnTo>
                    <a:pt x="220007" y="57603"/>
                  </a:lnTo>
                  <a:lnTo>
                    <a:pt x="221214" y="56878"/>
                  </a:lnTo>
                  <a:lnTo>
                    <a:pt x="222316" y="55248"/>
                  </a:lnTo>
                  <a:lnTo>
                    <a:pt x="224885" y="52484"/>
                  </a:lnTo>
                  <a:lnTo>
                    <a:pt x="228055" y="50177"/>
                  </a:lnTo>
                  <a:lnTo>
                    <a:pt x="229690" y="48857"/>
                  </a:lnTo>
                  <a:lnTo>
                    <a:pt x="232687" y="37679"/>
                  </a:lnTo>
                  <a:lnTo>
                    <a:pt x="233050" y="36302"/>
                  </a:lnTo>
                  <a:lnTo>
                    <a:pt x="235229" y="33342"/>
                  </a:lnTo>
                  <a:lnTo>
                    <a:pt x="236574" y="32092"/>
                  </a:lnTo>
                  <a:lnTo>
                    <a:pt x="237440" y="32069"/>
                  </a:lnTo>
                  <a:lnTo>
                    <a:pt x="238671" y="31289"/>
                  </a:lnTo>
                  <a:lnTo>
                    <a:pt x="240266" y="29752"/>
                  </a:lnTo>
                  <a:lnTo>
                    <a:pt x="242165" y="28803"/>
                  </a:lnTo>
                  <a:lnTo>
                    <a:pt x="244365" y="28447"/>
                  </a:lnTo>
                  <a:lnTo>
                    <a:pt x="245790" y="27426"/>
                  </a:lnTo>
                  <a:lnTo>
                    <a:pt x="246442" y="25747"/>
                  </a:lnTo>
                  <a:lnTo>
                    <a:pt x="247574" y="24931"/>
                  </a:lnTo>
                  <a:lnTo>
                    <a:pt x="249187" y="24977"/>
                  </a:lnTo>
                  <a:lnTo>
                    <a:pt x="250105" y="24444"/>
                  </a:lnTo>
                  <a:lnTo>
                    <a:pt x="250331" y="23328"/>
                  </a:lnTo>
                  <a:lnTo>
                    <a:pt x="251305" y="22373"/>
                  </a:lnTo>
                  <a:lnTo>
                    <a:pt x="253028" y="21579"/>
                  </a:lnTo>
                  <a:lnTo>
                    <a:pt x="253931" y="20639"/>
                  </a:lnTo>
                  <a:lnTo>
                    <a:pt x="254013" y="19553"/>
                  </a:lnTo>
                  <a:lnTo>
                    <a:pt x="256067" y="16914"/>
                  </a:lnTo>
                  <a:lnTo>
                    <a:pt x="260096" y="12722"/>
                  </a:lnTo>
                  <a:lnTo>
                    <a:pt x="263890" y="10389"/>
                  </a:lnTo>
                  <a:lnTo>
                    <a:pt x="267453" y="9914"/>
                  </a:lnTo>
                  <a:lnTo>
                    <a:pt x="270828" y="9042"/>
                  </a:lnTo>
                  <a:lnTo>
                    <a:pt x="274020" y="7773"/>
                  </a:lnTo>
                  <a:lnTo>
                    <a:pt x="276363" y="5780"/>
                  </a:lnTo>
                  <a:lnTo>
                    <a:pt x="277859" y="3068"/>
                  </a:lnTo>
                  <a:lnTo>
                    <a:pt x="280433" y="1556"/>
                  </a:lnTo>
                  <a:lnTo>
                    <a:pt x="285629" y="1107"/>
                  </a:lnTo>
                  <a:lnTo>
                    <a:pt x="285907" y="1080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34" name="ee4p_ZM_1_82333">
              <a:extLst>
                <a:ext uri="{FF2B5EF4-FFF2-40B4-BE49-F238E27FC236}">
                  <a16:creationId xmlns:a16="http://schemas.microsoft.com/office/drawing/2014/main" id="{B5BABA08-2682-65C8-08D1-7C2E97BCB4C0}"/>
                </a:ext>
              </a:extLst>
            </p:cNvPr>
            <p:cNvSpPr>
              <a:spLocks noChangeAspect="1"/>
            </p:cNvSpPr>
            <p:nvPr>
              <p:custDataLst>
                <p:tags r:id="rId162"/>
              </p:custDataLst>
            </p:nvPr>
          </p:nvSpPr>
          <p:spPr>
            <a:xfrm>
              <a:off x="7125040" y="4911929"/>
              <a:ext cx="324419" cy="285936"/>
            </a:xfrm>
            <a:custGeom>
              <a:avLst/>
              <a:gdLst/>
              <a:ahLst/>
              <a:cxnLst/>
              <a:rect l="0" t="0" r="0" b="0"/>
              <a:pathLst>
                <a:path w="258328" h="221649">
                  <a:moveTo>
                    <a:pt x="241929" y="27043"/>
                  </a:moveTo>
                  <a:lnTo>
                    <a:pt x="242005" y="27635"/>
                  </a:lnTo>
                  <a:lnTo>
                    <a:pt x="242618" y="28755"/>
                  </a:lnTo>
                  <a:lnTo>
                    <a:pt x="243255" y="29561"/>
                  </a:lnTo>
                  <a:lnTo>
                    <a:pt x="243305" y="30751"/>
                  </a:lnTo>
                  <a:lnTo>
                    <a:pt x="243611" y="31849"/>
                  </a:lnTo>
                  <a:lnTo>
                    <a:pt x="244535" y="32121"/>
                  </a:lnTo>
                  <a:lnTo>
                    <a:pt x="245302" y="32191"/>
                  </a:lnTo>
                  <a:lnTo>
                    <a:pt x="246010" y="31398"/>
                  </a:lnTo>
                  <a:lnTo>
                    <a:pt x="246973" y="31417"/>
                  </a:lnTo>
                  <a:lnTo>
                    <a:pt x="248027" y="31923"/>
                  </a:lnTo>
                  <a:lnTo>
                    <a:pt x="248403" y="33191"/>
                  </a:lnTo>
                  <a:lnTo>
                    <a:pt x="249228" y="34900"/>
                  </a:lnTo>
                  <a:lnTo>
                    <a:pt x="250564" y="36066"/>
                  </a:lnTo>
                  <a:lnTo>
                    <a:pt x="251461" y="37191"/>
                  </a:lnTo>
                  <a:lnTo>
                    <a:pt x="251154" y="39240"/>
                  </a:lnTo>
                  <a:lnTo>
                    <a:pt x="250588" y="41116"/>
                  </a:lnTo>
                  <a:lnTo>
                    <a:pt x="252402" y="42967"/>
                  </a:lnTo>
                  <a:lnTo>
                    <a:pt x="254758" y="44728"/>
                  </a:lnTo>
                  <a:lnTo>
                    <a:pt x="255395" y="45509"/>
                  </a:lnTo>
                  <a:lnTo>
                    <a:pt x="255587" y="48120"/>
                  </a:lnTo>
                  <a:lnTo>
                    <a:pt x="255943" y="49008"/>
                  </a:lnTo>
                  <a:lnTo>
                    <a:pt x="257545" y="51182"/>
                  </a:lnTo>
                  <a:lnTo>
                    <a:pt x="258327" y="52625"/>
                  </a:lnTo>
                  <a:lnTo>
                    <a:pt x="258273" y="53461"/>
                  </a:lnTo>
                  <a:lnTo>
                    <a:pt x="253976" y="57768"/>
                  </a:lnTo>
                  <a:lnTo>
                    <a:pt x="252614" y="58185"/>
                  </a:lnTo>
                  <a:lnTo>
                    <a:pt x="251326" y="58429"/>
                  </a:lnTo>
                  <a:lnTo>
                    <a:pt x="250173" y="59316"/>
                  </a:lnTo>
                  <a:lnTo>
                    <a:pt x="249478" y="60234"/>
                  </a:lnTo>
                  <a:lnTo>
                    <a:pt x="249731" y="60719"/>
                  </a:lnTo>
                  <a:lnTo>
                    <a:pt x="250184" y="62198"/>
                  </a:lnTo>
                  <a:lnTo>
                    <a:pt x="251189" y="64525"/>
                  </a:lnTo>
                  <a:lnTo>
                    <a:pt x="252097" y="66153"/>
                  </a:lnTo>
                  <a:lnTo>
                    <a:pt x="251340" y="68195"/>
                  </a:lnTo>
                  <a:lnTo>
                    <a:pt x="249634" y="71661"/>
                  </a:lnTo>
                  <a:lnTo>
                    <a:pt x="248846" y="71969"/>
                  </a:lnTo>
                  <a:lnTo>
                    <a:pt x="248705" y="74594"/>
                  </a:lnTo>
                  <a:lnTo>
                    <a:pt x="249228" y="75553"/>
                  </a:lnTo>
                  <a:lnTo>
                    <a:pt x="250074" y="76303"/>
                  </a:lnTo>
                  <a:lnTo>
                    <a:pt x="250420" y="78089"/>
                  </a:lnTo>
                  <a:lnTo>
                    <a:pt x="250446" y="80536"/>
                  </a:lnTo>
                  <a:lnTo>
                    <a:pt x="250355" y="82513"/>
                  </a:lnTo>
                  <a:lnTo>
                    <a:pt x="249279" y="87545"/>
                  </a:lnTo>
                  <a:lnTo>
                    <a:pt x="251221" y="91936"/>
                  </a:lnTo>
                  <a:lnTo>
                    <a:pt x="251882" y="92416"/>
                  </a:lnTo>
                  <a:lnTo>
                    <a:pt x="254566" y="92447"/>
                  </a:lnTo>
                  <a:lnTo>
                    <a:pt x="255028" y="92822"/>
                  </a:lnTo>
                  <a:lnTo>
                    <a:pt x="254384" y="94071"/>
                  </a:lnTo>
                  <a:lnTo>
                    <a:pt x="253223" y="95352"/>
                  </a:lnTo>
                  <a:lnTo>
                    <a:pt x="252499" y="96012"/>
                  </a:lnTo>
                  <a:lnTo>
                    <a:pt x="249083" y="97509"/>
                  </a:lnTo>
                  <a:lnTo>
                    <a:pt x="244177" y="99170"/>
                  </a:lnTo>
                  <a:lnTo>
                    <a:pt x="243151" y="100762"/>
                  </a:lnTo>
                  <a:lnTo>
                    <a:pt x="242497" y="103077"/>
                  </a:lnTo>
                  <a:lnTo>
                    <a:pt x="243048" y="104433"/>
                  </a:lnTo>
                  <a:lnTo>
                    <a:pt x="243700" y="105217"/>
                  </a:lnTo>
                  <a:lnTo>
                    <a:pt x="243488" y="107236"/>
                  </a:lnTo>
                  <a:lnTo>
                    <a:pt x="243060" y="109368"/>
                  </a:lnTo>
                  <a:lnTo>
                    <a:pt x="243205" y="111046"/>
                  </a:lnTo>
                  <a:lnTo>
                    <a:pt x="242983" y="112533"/>
                  </a:lnTo>
                  <a:lnTo>
                    <a:pt x="242341" y="113262"/>
                  </a:lnTo>
                  <a:lnTo>
                    <a:pt x="241482" y="115504"/>
                  </a:lnTo>
                  <a:lnTo>
                    <a:pt x="240424" y="117754"/>
                  </a:lnTo>
                  <a:lnTo>
                    <a:pt x="239588" y="118783"/>
                  </a:lnTo>
                  <a:lnTo>
                    <a:pt x="238358" y="119853"/>
                  </a:lnTo>
                  <a:lnTo>
                    <a:pt x="236412" y="120757"/>
                  </a:lnTo>
                  <a:lnTo>
                    <a:pt x="236448" y="121206"/>
                  </a:lnTo>
                  <a:lnTo>
                    <a:pt x="238653" y="122246"/>
                  </a:lnTo>
                  <a:lnTo>
                    <a:pt x="239221" y="122965"/>
                  </a:lnTo>
                  <a:lnTo>
                    <a:pt x="239426" y="123455"/>
                  </a:lnTo>
                  <a:lnTo>
                    <a:pt x="238953" y="123933"/>
                  </a:lnTo>
                  <a:lnTo>
                    <a:pt x="238506" y="124600"/>
                  </a:lnTo>
                  <a:lnTo>
                    <a:pt x="239521" y="125288"/>
                  </a:lnTo>
                  <a:lnTo>
                    <a:pt x="240763" y="125869"/>
                  </a:lnTo>
                  <a:lnTo>
                    <a:pt x="241938" y="127367"/>
                  </a:lnTo>
                  <a:lnTo>
                    <a:pt x="242983" y="129462"/>
                  </a:lnTo>
                  <a:lnTo>
                    <a:pt x="243285" y="130196"/>
                  </a:lnTo>
                  <a:lnTo>
                    <a:pt x="243525" y="130484"/>
                  </a:lnTo>
                  <a:lnTo>
                    <a:pt x="243905" y="130519"/>
                  </a:lnTo>
                  <a:lnTo>
                    <a:pt x="244637" y="130211"/>
                  </a:lnTo>
                  <a:lnTo>
                    <a:pt x="245991" y="129064"/>
                  </a:lnTo>
                  <a:lnTo>
                    <a:pt x="246973" y="128653"/>
                  </a:lnTo>
                  <a:lnTo>
                    <a:pt x="248161" y="130286"/>
                  </a:lnTo>
                  <a:lnTo>
                    <a:pt x="243415" y="131900"/>
                  </a:lnTo>
                  <a:lnTo>
                    <a:pt x="240925" y="132745"/>
                  </a:lnTo>
                  <a:lnTo>
                    <a:pt x="233821" y="135161"/>
                  </a:lnTo>
                  <a:lnTo>
                    <a:pt x="227621" y="137269"/>
                  </a:lnTo>
                  <a:lnTo>
                    <a:pt x="226008" y="137671"/>
                  </a:lnTo>
                  <a:lnTo>
                    <a:pt x="222793" y="138702"/>
                  </a:lnTo>
                  <a:lnTo>
                    <a:pt x="221192" y="139332"/>
                  </a:lnTo>
                  <a:lnTo>
                    <a:pt x="215593" y="141175"/>
                  </a:lnTo>
                  <a:lnTo>
                    <a:pt x="213252" y="142092"/>
                  </a:lnTo>
                  <a:lnTo>
                    <a:pt x="211369" y="143005"/>
                  </a:lnTo>
                  <a:lnTo>
                    <a:pt x="206740" y="144372"/>
                  </a:lnTo>
                  <a:lnTo>
                    <a:pt x="202369" y="145658"/>
                  </a:lnTo>
                  <a:lnTo>
                    <a:pt x="197599" y="146983"/>
                  </a:lnTo>
                  <a:lnTo>
                    <a:pt x="192252" y="148470"/>
                  </a:lnTo>
                  <a:lnTo>
                    <a:pt x="189253" y="149540"/>
                  </a:lnTo>
                  <a:lnTo>
                    <a:pt x="187227" y="150467"/>
                  </a:lnTo>
                  <a:lnTo>
                    <a:pt x="182490" y="152339"/>
                  </a:lnTo>
                  <a:lnTo>
                    <a:pt x="182267" y="152796"/>
                  </a:lnTo>
                  <a:lnTo>
                    <a:pt x="182338" y="154070"/>
                  </a:lnTo>
                  <a:lnTo>
                    <a:pt x="182939" y="156700"/>
                  </a:lnTo>
                  <a:lnTo>
                    <a:pt x="184122" y="159091"/>
                  </a:lnTo>
                  <a:lnTo>
                    <a:pt x="185115" y="160467"/>
                  </a:lnTo>
                  <a:lnTo>
                    <a:pt x="185763" y="164002"/>
                  </a:lnTo>
                  <a:lnTo>
                    <a:pt x="186122" y="167109"/>
                  </a:lnTo>
                  <a:lnTo>
                    <a:pt x="182906" y="167118"/>
                  </a:lnTo>
                  <a:lnTo>
                    <a:pt x="177251" y="167131"/>
                  </a:lnTo>
                  <a:lnTo>
                    <a:pt x="171384" y="167144"/>
                  </a:lnTo>
                  <a:lnTo>
                    <a:pt x="166027" y="168326"/>
                  </a:lnTo>
                  <a:lnTo>
                    <a:pt x="161617" y="170131"/>
                  </a:lnTo>
                  <a:lnTo>
                    <a:pt x="156370" y="172958"/>
                  </a:lnTo>
                  <a:lnTo>
                    <a:pt x="154655" y="174067"/>
                  </a:lnTo>
                  <a:lnTo>
                    <a:pt x="153329" y="174921"/>
                  </a:lnTo>
                  <a:lnTo>
                    <a:pt x="152500" y="176017"/>
                  </a:lnTo>
                  <a:lnTo>
                    <a:pt x="152083" y="178425"/>
                  </a:lnTo>
                  <a:lnTo>
                    <a:pt x="152083" y="182144"/>
                  </a:lnTo>
                  <a:lnTo>
                    <a:pt x="151552" y="184822"/>
                  </a:lnTo>
                  <a:lnTo>
                    <a:pt x="149956" y="187275"/>
                  </a:lnTo>
                  <a:lnTo>
                    <a:pt x="149959" y="187270"/>
                  </a:lnTo>
                  <a:lnTo>
                    <a:pt x="141980" y="190243"/>
                  </a:lnTo>
                  <a:lnTo>
                    <a:pt x="136760" y="192674"/>
                  </a:lnTo>
                  <a:lnTo>
                    <a:pt x="131640" y="195549"/>
                  </a:lnTo>
                  <a:lnTo>
                    <a:pt x="127756" y="199284"/>
                  </a:lnTo>
                  <a:lnTo>
                    <a:pt x="125106" y="203876"/>
                  </a:lnTo>
                  <a:lnTo>
                    <a:pt x="120710" y="209567"/>
                  </a:lnTo>
                  <a:lnTo>
                    <a:pt x="116240" y="214501"/>
                  </a:lnTo>
                  <a:lnTo>
                    <a:pt x="111487" y="219750"/>
                  </a:lnTo>
                  <a:lnTo>
                    <a:pt x="106160" y="221648"/>
                  </a:lnTo>
                  <a:lnTo>
                    <a:pt x="101686" y="221215"/>
                  </a:lnTo>
                  <a:lnTo>
                    <a:pt x="96287" y="219086"/>
                  </a:lnTo>
                  <a:lnTo>
                    <a:pt x="92001" y="218685"/>
                  </a:lnTo>
                  <a:lnTo>
                    <a:pt x="88824" y="220011"/>
                  </a:lnTo>
                  <a:lnTo>
                    <a:pt x="85892" y="219603"/>
                  </a:lnTo>
                  <a:lnTo>
                    <a:pt x="83201" y="217464"/>
                  </a:lnTo>
                  <a:lnTo>
                    <a:pt x="80947" y="216686"/>
                  </a:lnTo>
                  <a:lnTo>
                    <a:pt x="79122" y="217265"/>
                  </a:lnTo>
                  <a:lnTo>
                    <a:pt x="76792" y="217165"/>
                  </a:lnTo>
                  <a:lnTo>
                    <a:pt x="72525" y="215989"/>
                  </a:lnTo>
                  <a:lnTo>
                    <a:pt x="68841" y="212358"/>
                  </a:lnTo>
                  <a:lnTo>
                    <a:pt x="66842" y="210858"/>
                  </a:lnTo>
                  <a:lnTo>
                    <a:pt x="65308" y="210286"/>
                  </a:lnTo>
                  <a:lnTo>
                    <a:pt x="60897" y="209700"/>
                  </a:lnTo>
                  <a:lnTo>
                    <a:pt x="50769" y="208863"/>
                  </a:lnTo>
                  <a:lnTo>
                    <a:pt x="49713" y="209057"/>
                  </a:lnTo>
                  <a:lnTo>
                    <a:pt x="45507" y="209772"/>
                  </a:lnTo>
                  <a:lnTo>
                    <a:pt x="40251" y="210666"/>
                  </a:lnTo>
                  <a:lnTo>
                    <a:pt x="35733" y="211561"/>
                  </a:lnTo>
                  <a:lnTo>
                    <a:pt x="30996" y="212501"/>
                  </a:lnTo>
                  <a:lnTo>
                    <a:pt x="26595" y="208712"/>
                  </a:lnTo>
                  <a:lnTo>
                    <a:pt x="21603" y="204415"/>
                  </a:lnTo>
                  <a:lnTo>
                    <a:pt x="16431" y="199624"/>
                  </a:lnTo>
                  <a:lnTo>
                    <a:pt x="12540" y="195869"/>
                  </a:lnTo>
                  <a:lnTo>
                    <a:pt x="10626" y="193706"/>
                  </a:lnTo>
                  <a:lnTo>
                    <a:pt x="7212" y="190851"/>
                  </a:lnTo>
                  <a:lnTo>
                    <a:pt x="4755" y="189456"/>
                  </a:lnTo>
                  <a:lnTo>
                    <a:pt x="3798" y="188752"/>
                  </a:lnTo>
                  <a:lnTo>
                    <a:pt x="1356" y="181160"/>
                  </a:lnTo>
                  <a:lnTo>
                    <a:pt x="19" y="174191"/>
                  </a:lnTo>
                  <a:lnTo>
                    <a:pt x="19" y="168945"/>
                  </a:lnTo>
                  <a:lnTo>
                    <a:pt x="17" y="161678"/>
                  </a:lnTo>
                  <a:lnTo>
                    <a:pt x="15" y="154419"/>
                  </a:lnTo>
                  <a:lnTo>
                    <a:pt x="13" y="147166"/>
                  </a:lnTo>
                  <a:lnTo>
                    <a:pt x="11" y="139921"/>
                  </a:lnTo>
                  <a:lnTo>
                    <a:pt x="9" y="132681"/>
                  </a:lnTo>
                  <a:lnTo>
                    <a:pt x="4" y="125449"/>
                  </a:lnTo>
                  <a:lnTo>
                    <a:pt x="4" y="118220"/>
                  </a:lnTo>
                  <a:lnTo>
                    <a:pt x="2" y="111000"/>
                  </a:lnTo>
                  <a:lnTo>
                    <a:pt x="0" y="107495"/>
                  </a:lnTo>
                  <a:lnTo>
                    <a:pt x="5100" y="107495"/>
                  </a:lnTo>
                  <a:lnTo>
                    <a:pt x="10881" y="107495"/>
                  </a:lnTo>
                  <a:lnTo>
                    <a:pt x="16925" y="107495"/>
                  </a:lnTo>
                  <a:lnTo>
                    <a:pt x="23496" y="107495"/>
                  </a:lnTo>
                  <a:lnTo>
                    <a:pt x="30067" y="107495"/>
                  </a:lnTo>
                  <a:lnTo>
                    <a:pt x="36638" y="107495"/>
                  </a:lnTo>
                  <a:lnTo>
                    <a:pt x="41223" y="107495"/>
                  </a:lnTo>
                  <a:lnTo>
                    <a:pt x="42423" y="107434"/>
                  </a:lnTo>
                  <a:lnTo>
                    <a:pt x="43872" y="107214"/>
                  </a:lnTo>
                  <a:lnTo>
                    <a:pt x="43985" y="106505"/>
                  </a:lnTo>
                  <a:lnTo>
                    <a:pt x="42091" y="102956"/>
                  </a:lnTo>
                  <a:lnTo>
                    <a:pt x="42182" y="101703"/>
                  </a:lnTo>
                  <a:lnTo>
                    <a:pt x="42687" y="99297"/>
                  </a:lnTo>
                  <a:lnTo>
                    <a:pt x="43469" y="97222"/>
                  </a:lnTo>
                  <a:lnTo>
                    <a:pt x="44498" y="94492"/>
                  </a:lnTo>
                  <a:lnTo>
                    <a:pt x="44613" y="92888"/>
                  </a:lnTo>
                  <a:lnTo>
                    <a:pt x="43781" y="87662"/>
                  </a:lnTo>
                  <a:lnTo>
                    <a:pt x="43857" y="84748"/>
                  </a:lnTo>
                  <a:lnTo>
                    <a:pt x="44103" y="81722"/>
                  </a:lnTo>
                  <a:lnTo>
                    <a:pt x="44334" y="78855"/>
                  </a:lnTo>
                  <a:lnTo>
                    <a:pt x="44049" y="76857"/>
                  </a:lnTo>
                  <a:lnTo>
                    <a:pt x="44399" y="75767"/>
                  </a:lnTo>
                  <a:lnTo>
                    <a:pt x="45015" y="74209"/>
                  </a:lnTo>
                  <a:lnTo>
                    <a:pt x="45338" y="72450"/>
                  </a:lnTo>
                  <a:lnTo>
                    <a:pt x="45723" y="71694"/>
                  </a:lnTo>
                  <a:lnTo>
                    <a:pt x="45606" y="70994"/>
                  </a:lnTo>
                  <a:lnTo>
                    <a:pt x="45257" y="69684"/>
                  </a:lnTo>
                  <a:lnTo>
                    <a:pt x="44913" y="66755"/>
                  </a:lnTo>
                  <a:lnTo>
                    <a:pt x="44431" y="62683"/>
                  </a:lnTo>
                  <a:lnTo>
                    <a:pt x="43950" y="59751"/>
                  </a:lnTo>
                  <a:lnTo>
                    <a:pt x="44751" y="59915"/>
                  </a:lnTo>
                  <a:lnTo>
                    <a:pt x="46425" y="60192"/>
                  </a:lnTo>
                  <a:lnTo>
                    <a:pt x="47237" y="61627"/>
                  </a:lnTo>
                  <a:lnTo>
                    <a:pt x="47709" y="63201"/>
                  </a:lnTo>
                  <a:lnTo>
                    <a:pt x="48830" y="63290"/>
                  </a:lnTo>
                  <a:lnTo>
                    <a:pt x="51765" y="64226"/>
                  </a:lnTo>
                  <a:lnTo>
                    <a:pt x="52777" y="65526"/>
                  </a:lnTo>
                  <a:lnTo>
                    <a:pt x="53453" y="68331"/>
                  </a:lnTo>
                  <a:lnTo>
                    <a:pt x="53048" y="69767"/>
                  </a:lnTo>
                  <a:lnTo>
                    <a:pt x="52101" y="70930"/>
                  </a:lnTo>
                  <a:lnTo>
                    <a:pt x="53048" y="71956"/>
                  </a:lnTo>
                  <a:lnTo>
                    <a:pt x="55008" y="72641"/>
                  </a:lnTo>
                  <a:lnTo>
                    <a:pt x="56157" y="72435"/>
                  </a:lnTo>
                  <a:lnTo>
                    <a:pt x="59467" y="70520"/>
                  </a:lnTo>
                  <a:lnTo>
                    <a:pt x="60791" y="70180"/>
                  </a:lnTo>
                  <a:lnTo>
                    <a:pt x="62521" y="69809"/>
                  </a:lnTo>
                  <a:lnTo>
                    <a:pt x="64080" y="69315"/>
                  </a:lnTo>
                  <a:lnTo>
                    <a:pt x="68483" y="68440"/>
                  </a:lnTo>
                  <a:lnTo>
                    <a:pt x="70891" y="68057"/>
                  </a:lnTo>
                  <a:lnTo>
                    <a:pt x="72242" y="67373"/>
                  </a:lnTo>
                  <a:lnTo>
                    <a:pt x="73188" y="67373"/>
                  </a:lnTo>
                  <a:lnTo>
                    <a:pt x="73864" y="67922"/>
                  </a:lnTo>
                  <a:lnTo>
                    <a:pt x="73255" y="69905"/>
                  </a:lnTo>
                  <a:lnTo>
                    <a:pt x="73052" y="71685"/>
                  </a:lnTo>
                  <a:lnTo>
                    <a:pt x="73894" y="75012"/>
                  </a:lnTo>
                  <a:lnTo>
                    <a:pt x="74529" y="76570"/>
                  </a:lnTo>
                  <a:lnTo>
                    <a:pt x="75943" y="77701"/>
                  </a:lnTo>
                  <a:lnTo>
                    <a:pt x="76974" y="78290"/>
                  </a:lnTo>
                  <a:lnTo>
                    <a:pt x="78122" y="79492"/>
                  </a:lnTo>
                  <a:lnTo>
                    <a:pt x="80487" y="79284"/>
                  </a:lnTo>
                  <a:lnTo>
                    <a:pt x="85706" y="80987"/>
                  </a:lnTo>
                  <a:lnTo>
                    <a:pt x="87291" y="81775"/>
                  </a:lnTo>
                  <a:lnTo>
                    <a:pt x="89489" y="82556"/>
                  </a:lnTo>
                  <a:lnTo>
                    <a:pt x="91046" y="82850"/>
                  </a:lnTo>
                  <a:lnTo>
                    <a:pt x="96425" y="83447"/>
                  </a:lnTo>
                  <a:lnTo>
                    <a:pt x="98416" y="83851"/>
                  </a:lnTo>
                  <a:lnTo>
                    <a:pt x="102102" y="84394"/>
                  </a:lnTo>
                  <a:lnTo>
                    <a:pt x="105050" y="84481"/>
                  </a:lnTo>
                  <a:lnTo>
                    <a:pt x="107136" y="84240"/>
                  </a:lnTo>
                  <a:lnTo>
                    <a:pt x="108604" y="83754"/>
                  </a:lnTo>
                  <a:lnTo>
                    <a:pt x="109498" y="83211"/>
                  </a:lnTo>
                  <a:lnTo>
                    <a:pt x="109913" y="82751"/>
                  </a:lnTo>
                  <a:lnTo>
                    <a:pt x="110515" y="81088"/>
                  </a:lnTo>
                  <a:lnTo>
                    <a:pt x="111616" y="77482"/>
                  </a:lnTo>
                  <a:lnTo>
                    <a:pt x="112046" y="76410"/>
                  </a:lnTo>
                  <a:lnTo>
                    <a:pt x="113137" y="75913"/>
                  </a:lnTo>
                  <a:lnTo>
                    <a:pt x="114547" y="75587"/>
                  </a:lnTo>
                  <a:lnTo>
                    <a:pt x="115370" y="76167"/>
                  </a:lnTo>
                  <a:lnTo>
                    <a:pt x="116292" y="80166"/>
                  </a:lnTo>
                  <a:lnTo>
                    <a:pt x="120395" y="83776"/>
                  </a:lnTo>
                  <a:lnTo>
                    <a:pt x="121796" y="86807"/>
                  </a:lnTo>
                  <a:lnTo>
                    <a:pt x="122822" y="89401"/>
                  </a:lnTo>
                  <a:lnTo>
                    <a:pt x="123716" y="90113"/>
                  </a:lnTo>
                  <a:lnTo>
                    <a:pt x="125275" y="91005"/>
                  </a:lnTo>
                  <a:lnTo>
                    <a:pt x="127762" y="91321"/>
                  </a:lnTo>
                  <a:lnTo>
                    <a:pt x="129986" y="91411"/>
                  </a:lnTo>
                  <a:lnTo>
                    <a:pt x="134662" y="93280"/>
                  </a:lnTo>
                  <a:lnTo>
                    <a:pt x="138386" y="94771"/>
                  </a:lnTo>
                  <a:lnTo>
                    <a:pt x="141049" y="95836"/>
                  </a:lnTo>
                  <a:lnTo>
                    <a:pt x="142269" y="96646"/>
                  </a:lnTo>
                  <a:lnTo>
                    <a:pt x="143122" y="97979"/>
                  </a:lnTo>
                  <a:lnTo>
                    <a:pt x="143630" y="99009"/>
                  </a:lnTo>
                  <a:lnTo>
                    <a:pt x="144443" y="101679"/>
                  </a:lnTo>
                  <a:lnTo>
                    <a:pt x="145320" y="103790"/>
                  </a:lnTo>
                  <a:lnTo>
                    <a:pt x="146748" y="104194"/>
                  </a:lnTo>
                  <a:lnTo>
                    <a:pt x="148020" y="104356"/>
                  </a:lnTo>
                  <a:lnTo>
                    <a:pt x="149283" y="105798"/>
                  </a:lnTo>
                  <a:lnTo>
                    <a:pt x="150235" y="107067"/>
                  </a:lnTo>
                  <a:lnTo>
                    <a:pt x="152129" y="110159"/>
                  </a:lnTo>
                  <a:lnTo>
                    <a:pt x="153519" y="112300"/>
                  </a:lnTo>
                  <a:lnTo>
                    <a:pt x="153975" y="114381"/>
                  </a:lnTo>
                  <a:lnTo>
                    <a:pt x="155566" y="115770"/>
                  </a:lnTo>
                  <a:lnTo>
                    <a:pt x="157719" y="116361"/>
                  </a:lnTo>
                  <a:lnTo>
                    <a:pt x="159715" y="116433"/>
                  </a:lnTo>
                  <a:lnTo>
                    <a:pt x="160861" y="115813"/>
                  </a:lnTo>
                  <a:lnTo>
                    <a:pt x="163694" y="114735"/>
                  </a:lnTo>
                  <a:lnTo>
                    <a:pt x="165897" y="113500"/>
                  </a:lnTo>
                  <a:lnTo>
                    <a:pt x="167506" y="113071"/>
                  </a:lnTo>
                  <a:lnTo>
                    <a:pt x="168456" y="113333"/>
                  </a:lnTo>
                  <a:lnTo>
                    <a:pt x="169188" y="114187"/>
                  </a:lnTo>
                  <a:lnTo>
                    <a:pt x="169572" y="115862"/>
                  </a:lnTo>
                  <a:lnTo>
                    <a:pt x="169663" y="116793"/>
                  </a:lnTo>
                  <a:lnTo>
                    <a:pt x="171231" y="117681"/>
                  </a:lnTo>
                  <a:lnTo>
                    <a:pt x="172393" y="117328"/>
                  </a:lnTo>
                  <a:lnTo>
                    <a:pt x="172837" y="116308"/>
                  </a:lnTo>
                  <a:lnTo>
                    <a:pt x="172863" y="115789"/>
                  </a:lnTo>
                  <a:lnTo>
                    <a:pt x="172859" y="111239"/>
                  </a:lnTo>
                  <a:lnTo>
                    <a:pt x="172855" y="107296"/>
                  </a:lnTo>
                  <a:lnTo>
                    <a:pt x="172848" y="103586"/>
                  </a:lnTo>
                  <a:lnTo>
                    <a:pt x="172844" y="99067"/>
                  </a:lnTo>
                  <a:lnTo>
                    <a:pt x="172842" y="95130"/>
                  </a:lnTo>
                  <a:lnTo>
                    <a:pt x="172837" y="91888"/>
                  </a:lnTo>
                  <a:lnTo>
                    <a:pt x="172833" y="88507"/>
                  </a:lnTo>
                  <a:lnTo>
                    <a:pt x="171827" y="88700"/>
                  </a:lnTo>
                  <a:lnTo>
                    <a:pt x="170553" y="89469"/>
                  </a:lnTo>
                  <a:lnTo>
                    <a:pt x="167629" y="89561"/>
                  </a:lnTo>
                  <a:lnTo>
                    <a:pt x="166489" y="90139"/>
                  </a:lnTo>
                  <a:lnTo>
                    <a:pt x="166130" y="91007"/>
                  </a:lnTo>
                  <a:lnTo>
                    <a:pt x="166357" y="92145"/>
                  </a:lnTo>
                  <a:lnTo>
                    <a:pt x="166415" y="93683"/>
                  </a:lnTo>
                  <a:lnTo>
                    <a:pt x="165988" y="94409"/>
                  </a:lnTo>
                  <a:lnTo>
                    <a:pt x="164705" y="94696"/>
                  </a:lnTo>
                  <a:lnTo>
                    <a:pt x="162852" y="94102"/>
                  </a:lnTo>
                  <a:lnTo>
                    <a:pt x="159479" y="93326"/>
                  </a:lnTo>
                  <a:lnTo>
                    <a:pt x="156674" y="92846"/>
                  </a:lnTo>
                  <a:lnTo>
                    <a:pt x="154664" y="90803"/>
                  </a:lnTo>
                  <a:lnTo>
                    <a:pt x="151935" y="87723"/>
                  </a:lnTo>
                  <a:lnTo>
                    <a:pt x="150153" y="86170"/>
                  </a:lnTo>
                  <a:lnTo>
                    <a:pt x="145845" y="82959"/>
                  </a:lnTo>
                  <a:lnTo>
                    <a:pt x="145115" y="82311"/>
                  </a:lnTo>
                  <a:lnTo>
                    <a:pt x="143809" y="80807"/>
                  </a:lnTo>
                  <a:lnTo>
                    <a:pt x="142688" y="78257"/>
                  </a:lnTo>
                  <a:lnTo>
                    <a:pt x="142139" y="76566"/>
                  </a:lnTo>
                  <a:lnTo>
                    <a:pt x="141617" y="75308"/>
                  </a:lnTo>
                  <a:lnTo>
                    <a:pt x="141038" y="73433"/>
                  </a:lnTo>
                  <a:lnTo>
                    <a:pt x="142077" y="70552"/>
                  </a:lnTo>
                  <a:lnTo>
                    <a:pt x="143539" y="65071"/>
                  </a:lnTo>
                  <a:lnTo>
                    <a:pt x="144592" y="61125"/>
                  </a:lnTo>
                  <a:lnTo>
                    <a:pt x="145173" y="58198"/>
                  </a:lnTo>
                  <a:lnTo>
                    <a:pt x="147266" y="55221"/>
                  </a:lnTo>
                  <a:lnTo>
                    <a:pt x="147413" y="52560"/>
                  </a:lnTo>
                  <a:lnTo>
                    <a:pt x="146570" y="49144"/>
                  </a:lnTo>
                  <a:lnTo>
                    <a:pt x="146786" y="47258"/>
                  </a:lnTo>
                  <a:lnTo>
                    <a:pt x="146927" y="42474"/>
                  </a:lnTo>
                  <a:lnTo>
                    <a:pt x="147046" y="38453"/>
                  </a:lnTo>
                  <a:lnTo>
                    <a:pt x="147071" y="36500"/>
                  </a:lnTo>
                  <a:lnTo>
                    <a:pt x="146499" y="33097"/>
                  </a:lnTo>
                  <a:lnTo>
                    <a:pt x="145091" y="29333"/>
                  </a:lnTo>
                  <a:lnTo>
                    <a:pt x="141988" y="24090"/>
                  </a:lnTo>
                  <a:lnTo>
                    <a:pt x="141999" y="22971"/>
                  </a:lnTo>
                  <a:lnTo>
                    <a:pt x="143847" y="21736"/>
                  </a:lnTo>
                  <a:lnTo>
                    <a:pt x="146771" y="19570"/>
                  </a:lnTo>
                  <a:lnTo>
                    <a:pt x="148203" y="18286"/>
                  </a:lnTo>
                  <a:lnTo>
                    <a:pt x="149918" y="16457"/>
                  </a:lnTo>
                  <a:lnTo>
                    <a:pt x="150686" y="15530"/>
                  </a:lnTo>
                  <a:lnTo>
                    <a:pt x="152366" y="13187"/>
                  </a:lnTo>
                  <a:lnTo>
                    <a:pt x="153433" y="11288"/>
                  </a:lnTo>
                  <a:lnTo>
                    <a:pt x="153802" y="8830"/>
                  </a:lnTo>
                  <a:lnTo>
                    <a:pt x="152999" y="6496"/>
                  </a:lnTo>
                  <a:lnTo>
                    <a:pt x="154638" y="6039"/>
                  </a:lnTo>
                  <a:lnTo>
                    <a:pt x="160019" y="5213"/>
                  </a:lnTo>
                  <a:lnTo>
                    <a:pt x="165949" y="4302"/>
                  </a:lnTo>
                  <a:lnTo>
                    <a:pt x="172194" y="3341"/>
                  </a:lnTo>
                  <a:lnTo>
                    <a:pt x="178499" y="2373"/>
                  </a:lnTo>
                  <a:lnTo>
                    <a:pt x="184606" y="1437"/>
                  </a:lnTo>
                  <a:lnTo>
                    <a:pt x="190143" y="587"/>
                  </a:lnTo>
                  <a:lnTo>
                    <a:pt x="193973" y="0"/>
                  </a:lnTo>
                  <a:lnTo>
                    <a:pt x="194539" y="1606"/>
                  </a:lnTo>
                  <a:lnTo>
                    <a:pt x="195731" y="4272"/>
                  </a:lnTo>
                  <a:lnTo>
                    <a:pt x="197087" y="6235"/>
                  </a:lnTo>
                  <a:lnTo>
                    <a:pt x="198776" y="7955"/>
                  </a:lnTo>
                  <a:lnTo>
                    <a:pt x="200214" y="8995"/>
                  </a:lnTo>
                  <a:lnTo>
                    <a:pt x="201164" y="9312"/>
                  </a:lnTo>
                  <a:lnTo>
                    <a:pt x="207228" y="9204"/>
                  </a:lnTo>
                  <a:lnTo>
                    <a:pt x="209409" y="10248"/>
                  </a:lnTo>
                  <a:lnTo>
                    <a:pt x="211303" y="11570"/>
                  </a:lnTo>
                  <a:lnTo>
                    <a:pt x="211775" y="13624"/>
                  </a:lnTo>
                  <a:lnTo>
                    <a:pt x="213026" y="14912"/>
                  </a:lnTo>
                  <a:lnTo>
                    <a:pt x="214371" y="15926"/>
                  </a:lnTo>
                  <a:lnTo>
                    <a:pt x="214954" y="16050"/>
                  </a:lnTo>
                  <a:lnTo>
                    <a:pt x="215943" y="15802"/>
                  </a:lnTo>
                  <a:lnTo>
                    <a:pt x="217565" y="15781"/>
                  </a:lnTo>
                  <a:lnTo>
                    <a:pt x="219070" y="16220"/>
                  </a:lnTo>
                  <a:lnTo>
                    <a:pt x="219789" y="16671"/>
                  </a:lnTo>
                  <a:lnTo>
                    <a:pt x="219860" y="18392"/>
                  </a:lnTo>
                  <a:lnTo>
                    <a:pt x="220318" y="19163"/>
                  </a:lnTo>
                  <a:lnTo>
                    <a:pt x="222369" y="19461"/>
                  </a:lnTo>
                  <a:lnTo>
                    <a:pt x="224457" y="19594"/>
                  </a:lnTo>
                  <a:lnTo>
                    <a:pt x="226472" y="20758"/>
                  </a:lnTo>
                  <a:lnTo>
                    <a:pt x="228649" y="20965"/>
                  </a:lnTo>
                  <a:lnTo>
                    <a:pt x="231166" y="21444"/>
                  </a:lnTo>
                  <a:lnTo>
                    <a:pt x="232359" y="22700"/>
                  </a:lnTo>
                  <a:lnTo>
                    <a:pt x="235041" y="23989"/>
                  </a:lnTo>
                  <a:lnTo>
                    <a:pt x="238318" y="25144"/>
                  </a:lnTo>
                  <a:lnTo>
                    <a:pt x="240676" y="26451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35" name="ee4p_ZW_1_82333">
              <a:extLst>
                <a:ext uri="{FF2B5EF4-FFF2-40B4-BE49-F238E27FC236}">
                  <a16:creationId xmlns:a16="http://schemas.microsoft.com/office/drawing/2014/main" id="{078A61D6-8D42-31BD-0B14-A7AAACE525A2}"/>
                </a:ext>
              </a:extLst>
            </p:cNvPr>
            <p:cNvSpPr>
              <a:spLocks noChangeAspect="1"/>
            </p:cNvSpPr>
            <p:nvPr>
              <p:custDataLst>
                <p:tags r:id="rId163"/>
              </p:custDataLst>
            </p:nvPr>
          </p:nvSpPr>
          <p:spPr>
            <a:xfrm>
              <a:off x="7215155" y="5127506"/>
              <a:ext cx="216123" cy="199897"/>
            </a:xfrm>
            <a:custGeom>
              <a:avLst/>
              <a:gdLst/>
              <a:ahLst/>
              <a:cxnLst/>
              <a:rect l="0" t="0" r="0" b="0"/>
              <a:pathLst>
                <a:path w="172094" h="154954">
                  <a:moveTo>
                    <a:pt x="134085" y="154953"/>
                  </a:moveTo>
                  <a:lnTo>
                    <a:pt x="132082" y="153625"/>
                  </a:lnTo>
                  <a:lnTo>
                    <a:pt x="129343" y="152763"/>
                  </a:lnTo>
                  <a:lnTo>
                    <a:pt x="125864" y="152366"/>
                  </a:lnTo>
                  <a:lnTo>
                    <a:pt x="121343" y="152532"/>
                  </a:lnTo>
                  <a:lnTo>
                    <a:pt x="115782" y="153255"/>
                  </a:lnTo>
                  <a:lnTo>
                    <a:pt x="109818" y="152375"/>
                  </a:lnTo>
                  <a:lnTo>
                    <a:pt x="103448" y="149892"/>
                  </a:lnTo>
                  <a:lnTo>
                    <a:pt x="98157" y="149012"/>
                  </a:lnTo>
                  <a:lnTo>
                    <a:pt x="91841" y="150092"/>
                  </a:lnTo>
                  <a:lnTo>
                    <a:pt x="91563" y="150119"/>
                  </a:lnTo>
                  <a:lnTo>
                    <a:pt x="90466" y="149278"/>
                  </a:lnTo>
                  <a:lnTo>
                    <a:pt x="88740" y="147462"/>
                  </a:lnTo>
                  <a:lnTo>
                    <a:pt x="85858" y="147143"/>
                  </a:lnTo>
                  <a:lnTo>
                    <a:pt x="85076" y="146719"/>
                  </a:lnTo>
                  <a:lnTo>
                    <a:pt x="84433" y="146043"/>
                  </a:lnTo>
                  <a:lnTo>
                    <a:pt x="84011" y="145183"/>
                  </a:lnTo>
                  <a:lnTo>
                    <a:pt x="83845" y="144225"/>
                  </a:lnTo>
                  <a:lnTo>
                    <a:pt x="84320" y="141243"/>
                  </a:lnTo>
                  <a:lnTo>
                    <a:pt x="84061" y="140908"/>
                  </a:lnTo>
                  <a:lnTo>
                    <a:pt x="83290" y="140550"/>
                  </a:lnTo>
                  <a:lnTo>
                    <a:pt x="81711" y="140193"/>
                  </a:lnTo>
                  <a:lnTo>
                    <a:pt x="77917" y="138839"/>
                  </a:lnTo>
                  <a:lnTo>
                    <a:pt x="73148" y="137534"/>
                  </a:lnTo>
                  <a:lnTo>
                    <a:pt x="65400" y="136100"/>
                  </a:lnTo>
                  <a:lnTo>
                    <a:pt x="62392" y="135722"/>
                  </a:lnTo>
                  <a:lnTo>
                    <a:pt x="61694" y="135286"/>
                  </a:lnTo>
                  <a:lnTo>
                    <a:pt x="60822" y="134187"/>
                  </a:lnTo>
                  <a:lnTo>
                    <a:pt x="59336" y="130770"/>
                  </a:lnTo>
                  <a:lnTo>
                    <a:pt x="57937" y="128514"/>
                  </a:lnTo>
                  <a:lnTo>
                    <a:pt x="54605" y="125035"/>
                  </a:lnTo>
                  <a:lnTo>
                    <a:pt x="54074" y="123954"/>
                  </a:lnTo>
                  <a:lnTo>
                    <a:pt x="54240" y="121196"/>
                  </a:lnTo>
                  <a:lnTo>
                    <a:pt x="54486" y="118968"/>
                  </a:lnTo>
                  <a:lnTo>
                    <a:pt x="54844" y="117077"/>
                  </a:lnTo>
                  <a:lnTo>
                    <a:pt x="54682" y="115308"/>
                  </a:lnTo>
                  <a:lnTo>
                    <a:pt x="54635" y="113113"/>
                  </a:lnTo>
                  <a:lnTo>
                    <a:pt x="54741" y="111640"/>
                  </a:lnTo>
                  <a:lnTo>
                    <a:pt x="54292" y="111003"/>
                  </a:lnTo>
                  <a:lnTo>
                    <a:pt x="53082" y="110555"/>
                  </a:lnTo>
                  <a:lnTo>
                    <a:pt x="49640" y="110353"/>
                  </a:lnTo>
                  <a:lnTo>
                    <a:pt x="45479" y="110443"/>
                  </a:lnTo>
                  <a:lnTo>
                    <a:pt x="45343" y="108210"/>
                  </a:lnTo>
                  <a:lnTo>
                    <a:pt x="44948" y="104760"/>
                  </a:lnTo>
                  <a:lnTo>
                    <a:pt x="44168" y="102775"/>
                  </a:lnTo>
                  <a:lnTo>
                    <a:pt x="43212" y="101743"/>
                  </a:lnTo>
                  <a:lnTo>
                    <a:pt x="41301" y="100667"/>
                  </a:lnTo>
                  <a:lnTo>
                    <a:pt x="37429" y="99193"/>
                  </a:lnTo>
                  <a:lnTo>
                    <a:pt x="32156" y="96954"/>
                  </a:lnTo>
                  <a:lnTo>
                    <a:pt x="27653" y="93640"/>
                  </a:lnTo>
                  <a:lnTo>
                    <a:pt x="22488" y="89522"/>
                  </a:lnTo>
                  <a:lnTo>
                    <a:pt x="20875" y="88809"/>
                  </a:lnTo>
                  <a:lnTo>
                    <a:pt x="18971" y="84944"/>
                  </a:lnTo>
                  <a:lnTo>
                    <a:pt x="16068" y="78335"/>
                  </a:lnTo>
                  <a:lnTo>
                    <a:pt x="16256" y="76133"/>
                  </a:lnTo>
                  <a:lnTo>
                    <a:pt x="15818" y="75057"/>
                  </a:lnTo>
                  <a:lnTo>
                    <a:pt x="13000" y="71814"/>
                  </a:lnTo>
                  <a:lnTo>
                    <a:pt x="12376" y="70130"/>
                  </a:lnTo>
                  <a:lnTo>
                    <a:pt x="11879" y="68430"/>
                  </a:lnTo>
                  <a:lnTo>
                    <a:pt x="7392" y="63685"/>
                  </a:lnTo>
                  <a:lnTo>
                    <a:pt x="5865" y="61615"/>
                  </a:lnTo>
                  <a:lnTo>
                    <a:pt x="4704" y="58957"/>
                  </a:lnTo>
                  <a:lnTo>
                    <a:pt x="3546" y="56833"/>
                  </a:lnTo>
                  <a:lnTo>
                    <a:pt x="2570" y="55977"/>
                  </a:lnTo>
                  <a:lnTo>
                    <a:pt x="1292" y="54532"/>
                  </a:lnTo>
                  <a:lnTo>
                    <a:pt x="404" y="52884"/>
                  </a:lnTo>
                  <a:lnTo>
                    <a:pt x="0" y="51656"/>
                  </a:lnTo>
                  <a:lnTo>
                    <a:pt x="333" y="50009"/>
                  </a:lnTo>
                  <a:lnTo>
                    <a:pt x="769" y="48880"/>
                  </a:lnTo>
                  <a:lnTo>
                    <a:pt x="5036" y="50056"/>
                  </a:lnTo>
                  <a:lnTo>
                    <a:pt x="7366" y="50156"/>
                  </a:lnTo>
                  <a:lnTo>
                    <a:pt x="9191" y="49577"/>
                  </a:lnTo>
                  <a:lnTo>
                    <a:pt x="11445" y="50355"/>
                  </a:lnTo>
                  <a:lnTo>
                    <a:pt x="14136" y="52494"/>
                  </a:lnTo>
                  <a:lnTo>
                    <a:pt x="17068" y="52902"/>
                  </a:lnTo>
                  <a:lnTo>
                    <a:pt x="20245" y="51576"/>
                  </a:lnTo>
                  <a:lnTo>
                    <a:pt x="24531" y="51977"/>
                  </a:lnTo>
                  <a:lnTo>
                    <a:pt x="29930" y="54106"/>
                  </a:lnTo>
                  <a:lnTo>
                    <a:pt x="34404" y="54539"/>
                  </a:lnTo>
                  <a:lnTo>
                    <a:pt x="39731" y="52641"/>
                  </a:lnTo>
                  <a:lnTo>
                    <a:pt x="44484" y="47392"/>
                  </a:lnTo>
                  <a:lnTo>
                    <a:pt x="48954" y="42458"/>
                  </a:lnTo>
                  <a:lnTo>
                    <a:pt x="53350" y="36767"/>
                  </a:lnTo>
                  <a:lnTo>
                    <a:pt x="56000" y="32175"/>
                  </a:lnTo>
                  <a:lnTo>
                    <a:pt x="59884" y="28440"/>
                  </a:lnTo>
                  <a:lnTo>
                    <a:pt x="65004" y="25565"/>
                  </a:lnTo>
                  <a:lnTo>
                    <a:pt x="70224" y="23134"/>
                  </a:lnTo>
                  <a:lnTo>
                    <a:pt x="78203" y="20161"/>
                  </a:lnTo>
                  <a:lnTo>
                    <a:pt x="78200" y="20166"/>
                  </a:lnTo>
                  <a:lnTo>
                    <a:pt x="79796" y="17713"/>
                  </a:lnTo>
                  <a:lnTo>
                    <a:pt x="80327" y="15035"/>
                  </a:lnTo>
                  <a:lnTo>
                    <a:pt x="80327" y="11316"/>
                  </a:lnTo>
                  <a:lnTo>
                    <a:pt x="80744" y="8908"/>
                  </a:lnTo>
                  <a:lnTo>
                    <a:pt x="81573" y="7812"/>
                  </a:lnTo>
                  <a:lnTo>
                    <a:pt x="82899" y="6958"/>
                  </a:lnTo>
                  <a:lnTo>
                    <a:pt x="84614" y="5849"/>
                  </a:lnTo>
                  <a:lnTo>
                    <a:pt x="89861" y="3022"/>
                  </a:lnTo>
                  <a:lnTo>
                    <a:pt x="94271" y="1217"/>
                  </a:lnTo>
                  <a:lnTo>
                    <a:pt x="99628" y="35"/>
                  </a:lnTo>
                  <a:lnTo>
                    <a:pt x="105495" y="22"/>
                  </a:lnTo>
                  <a:lnTo>
                    <a:pt x="111150" y="9"/>
                  </a:lnTo>
                  <a:lnTo>
                    <a:pt x="114366" y="0"/>
                  </a:lnTo>
                  <a:lnTo>
                    <a:pt x="114411" y="3573"/>
                  </a:lnTo>
                  <a:lnTo>
                    <a:pt x="114659" y="7595"/>
                  </a:lnTo>
                  <a:lnTo>
                    <a:pt x="115288" y="7983"/>
                  </a:lnTo>
                  <a:lnTo>
                    <a:pt x="119542" y="8072"/>
                  </a:lnTo>
                  <a:lnTo>
                    <a:pt x="126366" y="8355"/>
                  </a:lnTo>
                  <a:lnTo>
                    <a:pt x="132943" y="8625"/>
                  </a:lnTo>
                  <a:lnTo>
                    <a:pt x="137143" y="11545"/>
                  </a:lnTo>
                  <a:lnTo>
                    <a:pt x="138551" y="12165"/>
                  </a:lnTo>
                  <a:lnTo>
                    <a:pt x="142924" y="12947"/>
                  </a:lnTo>
                  <a:lnTo>
                    <a:pt x="148501" y="17819"/>
                  </a:lnTo>
                  <a:lnTo>
                    <a:pt x="155211" y="18272"/>
                  </a:lnTo>
                  <a:lnTo>
                    <a:pt x="159825" y="19793"/>
                  </a:lnTo>
                  <a:lnTo>
                    <a:pt x="163891" y="21468"/>
                  </a:lnTo>
                  <a:lnTo>
                    <a:pt x="166234" y="23472"/>
                  </a:lnTo>
                  <a:lnTo>
                    <a:pt x="167748" y="23927"/>
                  </a:lnTo>
                  <a:lnTo>
                    <a:pt x="169797" y="24075"/>
                  </a:lnTo>
                  <a:lnTo>
                    <a:pt x="170795" y="24260"/>
                  </a:lnTo>
                  <a:lnTo>
                    <a:pt x="170570" y="25707"/>
                  </a:lnTo>
                  <a:lnTo>
                    <a:pt x="169208" y="28154"/>
                  </a:lnTo>
                  <a:lnTo>
                    <a:pt x="169387" y="31661"/>
                  </a:lnTo>
                  <a:lnTo>
                    <a:pt x="171266" y="36527"/>
                  </a:lnTo>
                  <a:lnTo>
                    <a:pt x="171518" y="40762"/>
                  </a:lnTo>
                  <a:lnTo>
                    <a:pt x="170942" y="48238"/>
                  </a:lnTo>
                  <a:lnTo>
                    <a:pt x="170961" y="55484"/>
                  </a:lnTo>
                  <a:lnTo>
                    <a:pt x="171162" y="58074"/>
                  </a:lnTo>
                  <a:lnTo>
                    <a:pt x="171469" y="59792"/>
                  </a:lnTo>
                  <a:lnTo>
                    <a:pt x="171864" y="60731"/>
                  </a:lnTo>
                  <a:lnTo>
                    <a:pt x="171790" y="61805"/>
                  </a:lnTo>
                  <a:lnTo>
                    <a:pt x="170672" y="64848"/>
                  </a:lnTo>
                  <a:lnTo>
                    <a:pt x="169769" y="68056"/>
                  </a:lnTo>
                  <a:lnTo>
                    <a:pt x="169739" y="69342"/>
                  </a:lnTo>
                  <a:lnTo>
                    <a:pt x="169391" y="70245"/>
                  </a:lnTo>
                  <a:lnTo>
                    <a:pt x="168726" y="71049"/>
                  </a:lnTo>
                  <a:lnTo>
                    <a:pt x="165796" y="72532"/>
                  </a:lnTo>
                  <a:lnTo>
                    <a:pt x="165293" y="73449"/>
                  </a:lnTo>
                  <a:lnTo>
                    <a:pt x="165304" y="75108"/>
                  </a:lnTo>
                  <a:lnTo>
                    <a:pt x="165675" y="76504"/>
                  </a:lnTo>
                  <a:lnTo>
                    <a:pt x="166774" y="77019"/>
                  </a:lnTo>
                  <a:lnTo>
                    <a:pt x="168100" y="77809"/>
                  </a:lnTo>
                  <a:lnTo>
                    <a:pt x="168622" y="78855"/>
                  </a:lnTo>
                  <a:lnTo>
                    <a:pt x="168627" y="79956"/>
                  </a:lnTo>
                  <a:lnTo>
                    <a:pt x="168206" y="81996"/>
                  </a:lnTo>
                  <a:lnTo>
                    <a:pt x="167027" y="85377"/>
                  </a:lnTo>
                  <a:lnTo>
                    <a:pt x="168201" y="89266"/>
                  </a:lnTo>
                  <a:lnTo>
                    <a:pt x="169521" y="91789"/>
                  </a:lnTo>
                  <a:lnTo>
                    <a:pt x="171339" y="94716"/>
                  </a:lnTo>
                  <a:lnTo>
                    <a:pt x="172093" y="96518"/>
                  </a:lnTo>
                  <a:lnTo>
                    <a:pt x="172052" y="97814"/>
                  </a:lnTo>
                  <a:lnTo>
                    <a:pt x="171784" y="99072"/>
                  </a:lnTo>
                  <a:lnTo>
                    <a:pt x="169061" y="104418"/>
                  </a:lnTo>
                  <a:lnTo>
                    <a:pt x="167098" y="107742"/>
                  </a:lnTo>
                  <a:lnTo>
                    <a:pt x="164703" y="111304"/>
                  </a:lnTo>
                  <a:lnTo>
                    <a:pt x="161536" y="113540"/>
                  </a:lnTo>
                  <a:lnTo>
                    <a:pt x="160719" y="114617"/>
                  </a:lnTo>
                  <a:lnTo>
                    <a:pt x="160393" y="115845"/>
                  </a:lnTo>
                  <a:lnTo>
                    <a:pt x="160508" y="118520"/>
                  </a:lnTo>
                  <a:lnTo>
                    <a:pt x="160361" y="121317"/>
                  </a:lnTo>
                  <a:lnTo>
                    <a:pt x="157651" y="125625"/>
                  </a:lnTo>
                  <a:lnTo>
                    <a:pt x="159335" y="129336"/>
                  </a:lnTo>
                  <a:lnTo>
                    <a:pt x="158951" y="129677"/>
                  </a:lnTo>
                  <a:lnTo>
                    <a:pt x="158037" y="130210"/>
                  </a:lnTo>
                  <a:lnTo>
                    <a:pt x="154137" y="134389"/>
                  </a:lnTo>
                  <a:lnTo>
                    <a:pt x="150192" y="138618"/>
                  </a:lnTo>
                  <a:lnTo>
                    <a:pt x="147309" y="141711"/>
                  </a:lnTo>
                  <a:lnTo>
                    <a:pt x="144032" y="145233"/>
                  </a:lnTo>
                  <a:lnTo>
                    <a:pt x="140356" y="149180"/>
                  </a:lnTo>
                  <a:lnTo>
                    <a:pt x="137216" y="152554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36" name="ee4p_IC_1_82333">
              <a:extLst>
                <a:ext uri="{FF2B5EF4-FFF2-40B4-BE49-F238E27FC236}">
                  <a16:creationId xmlns:a16="http://schemas.microsoft.com/office/drawing/2014/main" id="{BFEEF071-3839-53AD-45F3-E5F59271FF55}"/>
                </a:ext>
              </a:extLst>
            </p:cNvPr>
            <p:cNvSpPr>
              <a:spLocks noChangeAspect="1"/>
            </p:cNvSpPr>
            <p:nvPr>
              <p:custDataLst>
                <p:tags r:id="rId164"/>
              </p:custDataLst>
            </p:nvPr>
          </p:nvSpPr>
          <p:spPr>
            <a:xfrm>
              <a:off x="6010394" y="3819505"/>
              <a:ext cx="131560" cy="49210"/>
            </a:xfrm>
            <a:custGeom>
              <a:avLst/>
              <a:gdLst>
                <a:gd name="connsiteX0" fmla="*/ 13979 w 280599"/>
                <a:gd name="connsiteY0" fmla="*/ 89142 h 102175"/>
                <a:gd name="connsiteX1" fmla="*/ 16146 w 280599"/>
                <a:gd name="connsiteY1" fmla="*/ 91738 h 102175"/>
                <a:gd name="connsiteX2" fmla="*/ 10411 w 280599"/>
                <a:gd name="connsiteY2" fmla="*/ 102175 h 102175"/>
                <a:gd name="connsiteX3" fmla="*/ 3195 w 280599"/>
                <a:gd name="connsiteY3" fmla="*/ 98270 h 102175"/>
                <a:gd name="connsiteX4" fmla="*/ 1457 w 280599"/>
                <a:gd name="connsiteY4" fmla="*/ 96961 h 102175"/>
                <a:gd name="connsiteX5" fmla="*/ 0 w 280599"/>
                <a:gd name="connsiteY5" fmla="*/ 94815 h 102175"/>
                <a:gd name="connsiteX6" fmla="*/ 6940 w 280599"/>
                <a:gd name="connsiteY6" fmla="*/ 94392 h 102175"/>
                <a:gd name="connsiteX7" fmla="*/ 162585 w 280599"/>
                <a:gd name="connsiteY7" fmla="*/ 69334 h 102175"/>
                <a:gd name="connsiteX8" fmla="*/ 163469 w 280599"/>
                <a:gd name="connsiteY8" fmla="*/ 70103 h 102175"/>
                <a:gd name="connsiteX9" fmla="*/ 163108 w 280599"/>
                <a:gd name="connsiteY9" fmla="*/ 75029 h 102175"/>
                <a:gd name="connsiteX10" fmla="*/ 164500 w 280599"/>
                <a:gd name="connsiteY10" fmla="*/ 80005 h 102175"/>
                <a:gd name="connsiteX11" fmla="*/ 164144 w 280599"/>
                <a:gd name="connsiteY11" fmla="*/ 87570 h 102175"/>
                <a:gd name="connsiteX12" fmla="*/ 161326 w 280599"/>
                <a:gd name="connsiteY12" fmla="*/ 91668 h 102175"/>
                <a:gd name="connsiteX13" fmla="*/ 154062 w 280599"/>
                <a:gd name="connsiteY13" fmla="*/ 95744 h 102175"/>
                <a:gd name="connsiteX14" fmla="*/ 148354 w 280599"/>
                <a:gd name="connsiteY14" fmla="*/ 95013 h 102175"/>
                <a:gd name="connsiteX15" fmla="*/ 145124 w 280599"/>
                <a:gd name="connsiteY15" fmla="*/ 93369 h 102175"/>
                <a:gd name="connsiteX16" fmla="*/ 139379 w 280599"/>
                <a:gd name="connsiteY16" fmla="*/ 86747 h 102175"/>
                <a:gd name="connsiteX17" fmla="*/ 139250 w 280599"/>
                <a:gd name="connsiteY17" fmla="*/ 79898 h 102175"/>
                <a:gd name="connsiteX18" fmla="*/ 144495 w 280599"/>
                <a:gd name="connsiteY18" fmla="*/ 75433 h 102175"/>
                <a:gd name="connsiteX19" fmla="*/ 146755 w 280599"/>
                <a:gd name="connsiteY19" fmla="*/ 69672 h 102175"/>
                <a:gd name="connsiteX20" fmla="*/ 160376 w 280599"/>
                <a:gd name="connsiteY20" fmla="*/ 70772 h 102175"/>
                <a:gd name="connsiteX21" fmla="*/ 161565 w 280599"/>
                <a:gd name="connsiteY21" fmla="*/ 69661 h 102175"/>
                <a:gd name="connsiteX22" fmla="*/ 53421 w 280599"/>
                <a:gd name="connsiteY22" fmla="*/ 66522 h 102175"/>
                <a:gd name="connsiteX23" fmla="*/ 56040 w 280599"/>
                <a:gd name="connsiteY23" fmla="*/ 66774 h 102175"/>
                <a:gd name="connsiteX24" fmla="*/ 61060 w 280599"/>
                <a:gd name="connsiteY24" fmla="*/ 69552 h 102175"/>
                <a:gd name="connsiteX25" fmla="*/ 62592 w 280599"/>
                <a:gd name="connsiteY25" fmla="*/ 72426 h 102175"/>
                <a:gd name="connsiteX26" fmla="*/ 62750 w 280599"/>
                <a:gd name="connsiteY26" fmla="*/ 74199 h 102175"/>
                <a:gd name="connsiteX27" fmla="*/ 57800 w 280599"/>
                <a:gd name="connsiteY27" fmla="*/ 78139 h 102175"/>
                <a:gd name="connsiteX28" fmla="*/ 55387 w 280599"/>
                <a:gd name="connsiteY28" fmla="*/ 78680 h 102175"/>
                <a:gd name="connsiteX29" fmla="*/ 52513 w 280599"/>
                <a:gd name="connsiteY29" fmla="*/ 77095 h 102175"/>
                <a:gd name="connsiteX30" fmla="*/ 49494 w 280599"/>
                <a:gd name="connsiteY30" fmla="*/ 72005 h 102175"/>
                <a:gd name="connsiteX31" fmla="*/ 51540 w 280599"/>
                <a:gd name="connsiteY31" fmla="*/ 68244 h 102175"/>
                <a:gd name="connsiteX32" fmla="*/ 120643 w 280599"/>
                <a:gd name="connsiteY32" fmla="*/ 42586 h 102175"/>
                <a:gd name="connsiteX33" fmla="*/ 120910 w 280599"/>
                <a:gd name="connsiteY33" fmla="*/ 45650 h 102175"/>
                <a:gd name="connsiteX34" fmla="*/ 108155 w 280599"/>
                <a:gd name="connsiteY34" fmla="*/ 55181 h 102175"/>
                <a:gd name="connsiteX35" fmla="*/ 103197 w 280599"/>
                <a:gd name="connsiteY35" fmla="*/ 69840 h 102175"/>
                <a:gd name="connsiteX36" fmla="*/ 98574 w 280599"/>
                <a:gd name="connsiteY36" fmla="*/ 75578 h 102175"/>
                <a:gd name="connsiteX37" fmla="*/ 95818 w 280599"/>
                <a:gd name="connsiteY37" fmla="*/ 77490 h 102175"/>
                <a:gd name="connsiteX38" fmla="*/ 88993 w 280599"/>
                <a:gd name="connsiteY38" fmla="*/ 79086 h 102175"/>
                <a:gd name="connsiteX39" fmla="*/ 80895 w 280599"/>
                <a:gd name="connsiteY39" fmla="*/ 69985 h 102175"/>
                <a:gd name="connsiteX40" fmla="*/ 76674 w 280599"/>
                <a:gd name="connsiteY40" fmla="*/ 60744 h 102175"/>
                <a:gd name="connsiteX41" fmla="*/ 74346 w 280599"/>
                <a:gd name="connsiteY41" fmla="*/ 57768 h 102175"/>
                <a:gd name="connsiteX42" fmla="*/ 78032 w 280599"/>
                <a:gd name="connsiteY42" fmla="*/ 55424 h 102175"/>
                <a:gd name="connsiteX43" fmla="*/ 83424 w 280599"/>
                <a:gd name="connsiteY43" fmla="*/ 55829 h 102175"/>
                <a:gd name="connsiteX44" fmla="*/ 94985 w 280599"/>
                <a:gd name="connsiteY44" fmla="*/ 53860 h 102175"/>
                <a:gd name="connsiteX45" fmla="*/ 97320 w 280599"/>
                <a:gd name="connsiteY45" fmla="*/ 53075 h 102175"/>
                <a:gd name="connsiteX46" fmla="*/ 109071 w 280599"/>
                <a:gd name="connsiteY46" fmla="*/ 43727 h 102175"/>
                <a:gd name="connsiteX47" fmla="*/ 253158 w 280599"/>
                <a:gd name="connsiteY47" fmla="*/ 31735 h 102175"/>
                <a:gd name="connsiteX48" fmla="*/ 254878 w 280599"/>
                <a:gd name="connsiteY48" fmla="*/ 32163 h 102175"/>
                <a:gd name="connsiteX49" fmla="*/ 256661 w 280599"/>
                <a:gd name="connsiteY49" fmla="*/ 35177 h 102175"/>
                <a:gd name="connsiteX50" fmla="*/ 256635 w 280599"/>
                <a:gd name="connsiteY50" fmla="*/ 41994 h 102175"/>
                <a:gd name="connsiteX51" fmla="*/ 254537 w 280599"/>
                <a:gd name="connsiteY51" fmla="*/ 53292 h 102175"/>
                <a:gd name="connsiteX52" fmla="*/ 250686 w 280599"/>
                <a:gd name="connsiteY52" fmla="*/ 63296 h 102175"/>
                <a:gd name="connsiteX53" fmla="*/ 234767 w 280599"/>
                <a:gd name="connsiteY53" fmla="*/ 68696 h 102175"/>
                <a:gd name="connsiteX54" fmla="*/ 226724 w 280599"/>
                <a:gd name="connsiteY54" fmla="*/ 75957 h 102175"/>
                <a:gd name="connsiteX55" fmla="*/ 218669 w 280599"/>
                <a:gd name="connsiteY55" fmla="*/ 74267 h 102175"/>
                <a:gd name="connsiteX56" fmla="*/ 217295 w 280599"/>
                <a:gd name="connsiteY56" fmla="*/ 73078 h 102175"/>
                <a:gd name="connsiteX57" fmla="*/ 225363 w 280599"/>
                <a:gd name="connsiteY57" fmla="*/ 71233 h 102175"/>
                <a:gd name="connsiteX58" fmla="*/ 232683 w 280599"/>
                <a:gd name="connsiteY58" fmla="*/ 65709 h 102175"/>
                <a:gd name="connsiteX59" fmla="*/ 237384 w 280599"/>
                <a:gd name="connsiteY59" fmla="*/ 53463 h 102175"/>
                <a:gd name="connsiteX60" fmla="*/ 244742 w 280599"/>
                <a:gd name="connsiteY60" fmla="*/ 39920 h 102175"/>
                <a:gd name="connsiteX61" fmla="*/ 246223 w 280599"/>
                <a:gd name="connsiteY61" fmla="*/ 34180 h 102175"/>
                <a:gd name="connsiteX62" fmla="*/ 249137 w 280599"/>
                <a:gd name="connsiteY62" fmla="*/ 31944 h 102175"/>
                <a:gd name="connsiteX63" fmla="*/ 21499 w 280599"/>
                <a:gd name="connsiteY63" fmla="*/ 25165 h 102175"/>
                <a:gd name="connsiteX64" fmla="*/ 24641 w 280599"/>
                <a:gd name="connsiteY64" fmla="*/ 29041 h 102175"/>
                <a:gd name="connsiteX65" fmla="*/ 25704 w 280599"/>
                <a:gd name="connsiteY65" fmla="*/ 33037 h 102175"/>
                <a:gd name="connsiteX66" fmla="*/ 24223 w 280599"/>
                <a:gd name="connsiteY66" fmla="*/ 35346 h 102175"/>
                <a:gd name="connsiteX67" fmla="*/ 24649 w 280599"/>
                <a:gd name="connsiteY67" fmla="*/ 40012 h 102175"/>
                <a:gd name="connsiteX68" fmla="*/ 23843 w 280599"/>
                <a:gd name="connsiteY68" fmla="*/ 43029 h 102175"/>
                <a:gd name="connsiteX69" fmla="*/ 19324 w 280599"/>
                <a:gd name="connsiteY69" fmla="*/ 47904 h 102175"/>
                <a:gd name="connsiteX70" fmla="*/ 17837 w 280599"/>
                <a:gd name="connsiteY70" fmla="*/ 48388 h 102175"/>
                <a:gd name="connsiteX71" fmla="*/ 16490 w 280599"/>
                <a:gd name="connsiteY71" fmla="*/ 43318 h 102175"/>
                <a:gd name="connsiteX72" fmla="*/ 9464 w 280599"/>
                <a:gd name="connsiteY72" fmla="*/ 30862 h 102175"/>
                <a:gd name="connsiteX73" fmla="*/ 13726 w 280599"/>
                <a:gd name="connsiteY73" fmla="*/ 25307 h 102175"/>
                <a:gd name="connsiteX74" fmla="*/ 278194 w 280599"/>
                <a:gd name="connsiteY74" fmla="*/ 0 h 102175"/>
                <a:gd name="connsiteX75" fmla="*/ 280599 w 280599"/>
                <a:gd name="connsiteY75" fmla="*/ 2561 h 102175"/>
                <a:gd name="connsiteX76" fmla="*/ 278775 w 280599"/>
                <a:gd name="connsiteY76" fmla="*/ 5539 h 102175"/>
                <a:gd name="connsiteX77" fmla="*/ 277345 w 280599"/>
                <a:gd name="connsiteY77" fmla="*/ 14871 h 102175"/>
                <a:gd name="connsiteX78" fmla="*/ 272797 w 280599"/>
                <a:gd name="connsiteY78" fmla="*/ 17860 h 102175"/>
                <a:gd name="connsiteX79" fmla="*/ 263245 w 280599"/>
                <a:gd name="connsiteY79" fmla="*/ 21015 h 102175"/>
                <a:gd name="connsiteX80" fmla="*/ 259216 w 280599"/>
                <a:gd name="connsiteY80" fmla="*/ 25250 h 102175"/>
                <a:gd name="connsiteX81" fmla="*/ 254719 w 280599"/>
                <a:gd name="connsiteY81" fmla="*/ 23729 h 102175"/>
                <a:gd name="connsiteX82" fmla="*/ 256867 w 280599"/>
                <a:gd name="connsiteY82" fmla="*/ 14437 h 102175"/>
                <a:gd name="connsiteX83" fmla="*/ 258967 w 280599"/>
                <a:gd name="connsiteY83" fmla="*/ 11681 h 102175"/>
                <a:gd name="connsiteX84" fmla="*/ 267145 w 280599"/>
                <a:gd name="connsiteY84" fmla="*/ 7626 h 102175"/>
                <a:gd name="connsiteX85" fmla="*/ 273959 w 280599"/>
                <a:gd name="connsiteY85" fmla="*/ 5994 h 102175"/>
                <a:gd name="connsiteX86" fmla="*/ 275952 w 280599"/>
                <a:gd name="connsiteY86" fmla="*/ 1677 h 102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280599" h="102175">
                  <a:moveTo>
                    <a:pt x="13979" y="89142"/>
                  </a:moveTo>
                  <a:lnTo>
                    <a:pt x="16146" y="91738"/>
                  </a:lnTo>
                  <a:lnTo>
                    <a:pt x="10411" y="102175"/>
                  </a:lnTo>
                  <a:lnTo>
                    <a:pt x="3195" y="98270"/>
                  </a:lnTo>
                  <a:lnTo>
                    <a:pt x="1457" y="96961"/>
                  </a:lnTo>
                  <a:lnTo>
                    <a:pt x="0" y="94815"/>
                  </a:lnTo>
                  <a:lnTo>
                    <a:pt x="6940" y="94392"/>
                  </a:lnTo>
                  <a:close/>
                  <a:moveTo>
                    <a:pt x="162585" y="69334"/>
                  </a:moveTo>
                  <a:lnTo>
                    <a:pt x="163469" y="70103"/>
                  </a:lnTo>
                  <a:lnTo>
                    <a:pt x="163108" y="75029"/>
                  </a:lnTo>
                  <a:lnTo>
                    <a:pt x="164500" y="80005"/>
                  </a:lnTo>
                  <a:lnTo>
                    <a:pt x="164144" y="87570"/>
                  </a:lnTo>
                  <a:lnTo>
                    <a:pt x="161326" y="91668"/>
                  </a:lnTo>
                  <a:lnTo>
                    <a:pt x="154062" y="95744"/>
                  </a:lnTo>
                  <a:lnTo>
                    <a:pt x="148354" y="95013"/>
                  </a:lnTo>
                  <a:lnTo>
                    <a:pt x="145124" y="93369"/>
                  </a:lnTo>
                  <a:lnTo>
                    <a:pt x="139379" y="86747"/>
                  </a:lnTo>
                  <a:lnTo>
                    <a:pt x="139250" y="79898"/>
                  </a:lnTo>
                  <a:lnTo>
                    <a:pt x="144495" y="75433"/>
                  </a:lnTo>
                  <a:lnTo>
                    <a:pt x="146755" y="69672"/>
                  </a:lnTo>
                  <a:lnTo>
                    <a:pt x="160376" y="70772"/>
                  </a:lnTo>
                  <a:lnTo>
                    <a:pt x="161565" y="69661"/>
                  </a:lnTo>
                  <a:close/>
                  <a:moveTo>
                    <a:pt x="53421" y="66522"/>
                  </a:moveTo>
                  <a:lnTo>
                    <a:pt x="56040" y="66774"/>
                  </a:lnTo>
                  <a:lnTo>
                    <a:pt x="61060" y="69552"/>
                  </a:lnTo>
                  <a:lnTo>
                    <a:pt x="62592" y="72426"/>
                  </a:lnTo>
                  <a:lnTo>
                    <a:pt x="62750" y="74199"/>
                  </a:lnTo>
                  <a:lnTo>
                    <a:pt x="57800" y="78139"/>
                  </a:lnTo>
                  <a:lnTo>
                    <a:pt x="55387" y="78680"/>
                  </a:lnTo>
                  <a:lnTo>
                    <a:pt x="52513" y="77095"/>
                  </a:lnTo>
                  <a:lnTo>
                    <a:pt x="49494" y="72005"/>
                  </a:lnTo>
                  <a:lnTo>
                    <a:pt x="51540" y="68244"/>
                  </a:lnTo>
                  <a:close/>
                  <a:moveTo>
                    <a:pt x="120643" y="42586"/>
                  </a:moveTo>
                  <a:lnTo>
                    <a:pt x="120910" y="45650"/>
                  </a:lnTo>
                  <a:lnTo>
                    <a:pt x="108155" y="55181"/>
                  </a:lnTo>
                  <a:lnTo>
                    <a:pt x="103197" y="69840"/>
                  </a:lnTo>
                  <a:lnTo>
                    <a:pt x="98574" y="75578"/>
                  </a:lnTo>
                  <a:lnTo>
                    <a:pt x="95818" y="77490"/>
                  </a:lnTo>
                  <a:lnTo>
                    <a:pt x="88993" y="79086"/>
                  </a:lnTo>
                  <a:lnTo>
                    <a:pt x="80895" y="69985"/>
                  </a:lnTo>
                  <a:lnTo>
                    <a:pt x="76674" y="60744"/>
                  </a:lnTo>
                  <a:lnTo>
                    <a:pt x="74346" y="57768"/>
                  </a:lnTo>
                  <a:lnTo>
                    <a:pt x="78032" y="55424"/>
                  </a:lnTo>
                  <a:lnTo>
                    <a:pt x="83424" y="55829"/>
                  </a:lnTo>
                  <a:lnTo>
                    <a:pt x="94985" y="53860"/>
                  </a:lnTo>
                  <a:lnTo>
                    <a:pt x="97320" y="53075"/>
                  </a:lnTo>
                  <a:lnTo>
                    <a:pt x="109071" y="43727"/>
                  </a:lnTo>
                  <a:close/>
                  <a:moveTo>
                    <a:pt x="253158" y="31735"/>
                  </a:moveTo>
                  <a:lnTo>
                    <a:pt x="254878" y="32163"/>
                  </a:lnTo>
                  <a:lnTo>
                    <a:pt x="256661" y="35177"/>
                  </a:lnTo>
                  <a:lnTo>
                    <a:pt x="256635" y="41994"/>
                  </a:lnTo>
                  <a:lnTo>
                    <a:pt x="254537" y="53292"/>
                  </a:lnTo>
                  <a:lnTo>
                    <a:pt x="250686" y="63296"/>
                  </a:lnTo>
                  <a:lnTo>
                    <a:pt x="234767" y="68696"/>
                  </a:lnTo>
                  <a:lnTo>
                    <a:pt x="226724" y="75957"/>
                  </a:lnTo>
                  <a:lnTo>
                    <a:pt x="218669" y="74267"/>
                  </a:lnTo>
                  <a:lnTo>
                    <a:pt x="217295" y="73078"/>
                  </a:lnTo>
                  <a:lnTo>
                    <a:pt x="225363" y="71233"/>
                  </a:lnTo>
                  <a:lnTo>
                    <a:pt x="232683" y="65709"/>
                  </a:lnTo>
                  <a:lnTo>
                    <a:pt x="237384" y="53463"/>
                  </a:lnTo>
                  <a:lnTo>
                    <a:pt x="244742" y="39920"/>
                  </a:lnTo>
                  <a:lnTo>
                    <a:pt x="246223" y="34180"/>
                  </a:lnTo>
                  <a:lnTo>
                    <a:pt x="249137" y="31944"/>
                  </a:lnTo>
                  <a:close/>
                  <a:moveTo>
                    <a:pt x="21499" y="25165"/>
                  </a:moveTo>
                  <a:lnTo>
                    <a:pt x="24641" y="29041"/>
                  </a:lnTo>
                  <a:lnTo>
                    <a:pt x="25704" y="33037"/>
                  </a:lnTo>
                  <a:lnTo>
                    <a:pt x="24223" y="35346"/>
                  </a:lnTo>
                  <a:lnTo>
                    <a:pt x="24649" y="40012"/>
                  </a:lnTo>
                  <a:lnTo>
                    <a:pt x="23843" y="43029"/>
                  </a:lnTo>
                  <a:lnTo>
                    <a:pt x="19324" y="47904"/>
                  </a:lnTo>
                  <a:lnTo>
                    <a:pt x="17837" y="48388"/>
                  </a:lnTo>
                  <a:lnTo>
                    <a:pt x="16490" y="43318"/>
                  </a:lnTo>
                  <a:lnTo>
                    <a:pt x="9464" y="30862"/>
                  </a:lnTo>
                  <a:lnTo>
                    <a:pt x="13726" y="25307"/>
                  </a:lnTo>
                  <a:close/>
                  <a:moveTo>
                    <a:pt x="278194" y="0"/>
                  </a:moveTo>
                  <a:lnTo>
                    <a:pt x="280599" y="2561"/>
                  </a:lnTo>
                  <a:lnTo>
                    <a:pt x="278775" y="5539"/>
                  </a:lnTo>
                  <a:lnTo>
                    <a:pt x="277345" y="14871"/>
                  </a:lnTo>
                  <a:lnTo>
                    <a:pt x="272797" y="17860"/>
                  </a:lnTo>
                  <a:lnTo>
                    <a:pt x="263245" y="21015"/>
                  </a:lnTo>
                  <a:lnTo>
                    <a:pt x="259216" y="25250"/>
                  </a:lnTo>
                  <a:lnTo>
                    <a:pt x="254719" y="23729"/>
                  </a:lnTo>
                  <a:lnTo>
                    <a:pt x="256867" y="14437"/>
                  </a:lnTo>
                  <a:lnTo>
                    <a:pt x="258967" y="11681"/>
                  </a:lnTo>
                  <a:lnTo>
                    <a:pt x="267145" y="7626"/>
                  </a:lnTo>
                  <a:lnTo>
                    <a:pt x="273959" y="5994"/>
                  </a:lnTo>
                  <a:lnTo>
                    <a:pt x="275952" y="1677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37" name="ee4p_RE_1_82333">
              <a:extLst>
                <a:ext uri="{FF2B5EF4-FFF2-40B4-BE49-F238E27FC236}">
                  <a16:creationId xmlns:a16="http://schemas.microsoft.com/office/drawing/2014/main" id="{A11617C4-CA73-5962-10E0-2F5C505563C2}"/>
                </a:ext>
              </a:extLst>
            </p:cNvPr>
            <p:cNvSpPr>
              <a:spLocks noChangeAspect="1"/>
            </p:cNvSpPr>
            <p:nvPr>
              <p:custDataLst>
                <p:tags r:id="rId165"/>
              </p:custDataLst>
            </p:nvPr>
          </p:nvSpPr>
          <p:spPr>
            <a:xfrm>
              <a:off x="8048479" y="5281480"/>
              <a:ext cx="16835" cy="15022"/>
            </a:xfrm>
            <a:custGeom>
              <a:avLst/>
              <a:gdLst>
                <a:gd name="connsiteX0" fmla="*/ 12892 w 35907"/>
                <a:gd name="connsiteY0" fmla="*/ 0 h 31192"/>
                <a:gd name="connsiteX1" fmla="*/ 21541 w 35907"/>
                <a:gd name="connsiteY1" fmla="*/ 895 h 31192"/>
                <a:gd name="connsiteX2" fmla="*/ 25417 w 35907"/>
                <a:gd name="connsiteY2" fmla="*/ 2542 h 31192"/>
                <a:gd name="connsiteX3" fmla="*/ 29992 w 35907"/>
                <a:gd name="connsiteY3" fmla="*/ 9672 h 31192"/>
                <a:gd name="connsiteX4" fmla="*/ 35907 w 35907"/>
                <a:gd name="connsiteY4" fmla="*/ 16918 h 31192"/>
                <a:gd name="connsiteX5" fmla="*/ 34924 w 35907"/>
                <a:gd name="connsiteY5" fmla="*/ 25540 h 31192"/>
                <a:gd name="connsiteX6" fmla="*/ 33437 w 35907"/>
                <a:gd name="connsiteY6" fmla="*/ 29351 h 31192"/>
                <a:gd name="connsiteX7" fmla="*/ 25074 w 35907"/>
                <a:gd name="connsiteY7" fmla="*/ 31192 h 31192"/>
                <a:gd name="connsiteX8" fmla="*/ 19238 w 35907"/>
                <a:gd name="connsiteY8" fmla="*/ 30527 h 31192"/>
                <a:gd name="connsiteX9" fmla="*/ 7693 w 35907"/>
                <a:gd name="connsiteY9" fmla="*/ 25280 h 31192"/>
                <a:gd name="connsiteX10" fmla="*/ 4594 w 35907"/>
                <a:gd name="connsiteY10" fmla="*/ 21795 h 31192"/>
                <a:gd name="connsiteX11" fmla="*/ 0 w 35907"/>
                <a:gd name="connsiteY11" fmla="*/ 11954 h 31192"/>
                <a:gd name="connsiteX12" fmla="*/ 1018 w 35907"/>
                <a:gd name="connsiteY12" fmla="*/ 8494 h 31192"/>
                <a:gd name="connsiteX13" fmla="*/ 4650 w 35907"/>
                <a:gd name="connsiteY13" fmla="*/ 2408 h 31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5907" h="31192">
                  <a:moveTo>
                    <a:pt x="12892" y="0"/>
                  </a:moveTo>
                  <a:lnTo>
                    <a:pt x="21541" y="895"/>
                  </a:lnTo>
                  <a:lnTo>
                    <a:pt x="25417" y="2542"/>
                  </a:lnTo>
                  <a:lnTo>
                    <a:pt x="29992" y="9672"/>
                  </a:lnTo>
                  <a:lnTo>
                    <a:pt x="35907" y="16918"/>
                  </a:lnTo>
                  <a:lnTo>
                    <a:pt x="34924" y="25540"/>
                  </a:lnTo>
                  <a:lnTo>
                    <a:pt x="33437" y="29351"/>
                  </a:lnTo>
                  <a:lnTo>
                    <a:pt x="25074" y="31192"/>
                  </a:lnTo>
                  <a:lnTo>
                    <a:pt x="19238" y="30527"/>
                  </a:lnTo>
                  <a:lnTo>
                    <a:pt x="7693" y="25280"/>
                  </a:lnTo>
                  <a:lnTo>
                    <a:pt x="4594" y="21795"/>
                  </a:lnTo>
                  <a:lnTo>
                    <a:pt x="0" y="11954"/>
                  </a:lnTo>
                  <a:lnTo>
                    <a:pt x="1018" y="8494"/>
                  </a:lnTo>
                  <a:lnTo>
                    <a:pt x="4650" y="2408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38" name="ee4p_YT_1_82333">
              <a:extLst>
                <a:ext uri="{FF2B5EF4-FFF2-40B4-BE49-F238E27FC236}">
                  <a16:creationId xmlns:a16="http://schemas.microsoft.com/office/drawing/2014/main" id="{80CACC54-23B7-5F8F-2F8F-F51C544ED6EE}"/>
                </a:ext>
              </a:extLst>
            </p:cNvPr>
            <p:cNvSpPr>
              <a:spLocks noChangeAspect="1"/>
            </p:cNvSpPr>
            <p:nvPr>
              <p:custDataLst>
                <p:tags r:id="rId166"/>
              </p:custDataLst>
            </p:nvPr>
          </p:nvSpPr>
          <p:spPr>
            <a:xfrm>
              <a:off x="7765504" y="5040515"/>
              <a:ext cx="5013" cy="9622"/>
            </a:xfrm>
            <a:custGeom>
              <a:avLst/>
              <a:gdLst>
                <a:gd name="connsiteX0" fmla="*/ 2949 w 10692"/>
                <a:gd name="connsiteY0" fmla="*/ 0 h 19979"/>
                <a:gd name="connsiteX1" fmla="*/ 5458 w 10692"/>
                <a:gd name="connsiteY1" fmla="*/ 3377 h 19979"/>
                <a:gd name="connsiteX2" fmla="*/ 6881 w 10692"/>
                <a:gd name="connsiteY2" fmla="*/ 3608 h 19979"/>
                <a:gd name="connsiteX3" fmla="*/ 10692 w 10692"/>
                <a:gd name="connsiteY3" fmla="*/ 5965 h 19979"/>
                <a:gd name="connsiteX4" fmla="*/ 9575 w 10692"/>
                <a:gd name="connsiteY4" fmla="*/ 10309 h 19979"/>
                <a:gd name="connsiteX5" fmla="*/ 9830 w 10692"/>
                <a:gd name="connsiteY5" fmla="*/ 11732 h 19979"/>
                <a:gd name="connsiteX6" fmla="*/ 8102 w 10692"/>
                <a:gd name="connsiteY6" fmla="*/ 16082 h 19979"/>
                <a:gd name="connsiteX7" fmla="*/ 8153 w 10692"/>
                <a:gd name="connsiteY7" fmla="*/ 19486 h 19979"/>
                <a:gd name="connsiteX8" fmla="*/ 4441 w 10692"/>
                <a:gd name="connsiteY8" fmla="*/ 19979 h 19979"/>
                <a:gd name="connsiteX9" fmla="*/ 2670 w 10692"/>
                <a:gd name="connsiteY9" fmla="*/ 18385 h 19979"/>
                <a:gd name="connsiteX10" fmla="*/ 1588 w 10692"/>
                <a:gd name="connsiteY10" fmla="*/ 14601 h 19979"/>
                <a:gd name="connsiteX11" fmla="*/ 2705 w 10692"/>
                <a:gd name="connsiteY11" fmla="*/ 10955 h 19979"/>
                <a:gd name="connsiteX12" fmla="*/ 3018 w 10692"/>
                <a:gd name="connsiteY12" fmla="*/ 8009 h 19979"/>
                <a:gd name="connsiteX13" fmla="*/ 0 w 10692"/>
                <a:gd name="connsiteY13" fmla="*/ 2903 h 199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692" h="19979">
                  <a:moveTo>
                    <a:pt x="2949" y="0"/>
                  </a:moveTo>
                  <a:lnTo>
                    <a:pt x="5458" y="3377"/>
                  </a:lnTo>
                  <a:lnTo>
                    <a:pt x="6881" y="3608"/>
                  </a:lnTo>
                  <a:lnTo>
                    <a:pt x="10692" y="5965"/>
                  </a:lnTo>
                  <a:lnTo>
                    <a:pt x="9575" y="10309"/>
                  </a:lnTo>
                  <a:lnTo>
                    <a:pt x="9830" y="11732"/>
                  </a:lnTo>
                  <a:lnTo>
                    <a:pt x="8102" y="16082"/>
                  </a:lnTo>
                  <a:lnTo>
                    <a:pt x="8153" y="19486"/>
                  </a:lnTo>
                  <a:lnTo>
                    <a:pt x="4441" y="19979"/>
                  </a:lnTo>
                  <a:lnTo>
                    <a:pt x="2670" y="18385"/>
                  </a:lnTo>
                  <a:lnTo>
                    <a:pt x="1588" y="14601"/>
                  </a:lnTo>
                  <a:lnTo>
                    <a:pt x="2705" y="10955"/>
                  </a:lnTo>
                  <a:lnTo>
                    <a:pt x="3018" y="8009"/>
                  </a:lnTo>
                  <a:lnTo>
                    <a:pt x="0" y="2903"/>
                  </a:lnTo>
                  <a:close/>
                </a:path>
              </a:pathLst>
            </a:custGeom>
            <a:solidFill>
              <a:srgbClr val="00A633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39" name="ee4p_AR_1_82333">
              <a:extLst>
                <a:ext uri="{FF2B5EF4-FFF2-40B4-BE49-F238E27FC236}">
                  <a16:creationId xmlns:a16="http://schemas.microsoft.com/office/drawing/2014/main" id="{9F3C3542-E554-D250-43F4-1C4FC9DCE16A}"/>
                </a:ext>
              </a:extLst>
            </p:cNvPr>
            <p:cNvSpPr>
              <a:spLocks noChangeAspect="1"/>
            </p:cNvSpPr>
            <p:nvPr>
              <p:custDataLst>
                <p:tags r:id="rId167"/>
              </p:custDataLst>
            </p:nvPr>
          </p:nvSpPr>
          <p:spPr>
            <a:xfrm>
              <a:off x="4471535" y="5307546"/>
              <a:ext cx="552825" cy="1120152"/>
            </a:xfrm>
            <a:custGeom>
              <a:avLst/>
              <a:gdLst>
                <a:gd name="connsiteX0" fmla="*/ 228894 w 504788"/>
                <a:gd name="connsiteY0" fmla="*/ 984590 h 995706"/>
                <a:gd name="connsiteX1" fmla="*/ 231694 w 504788"/>
                <a:gd name="connsiteY1" fmla="*/ 985403 h 995706"/>
                <a:gd name="connsiteX2" fmla="*/ 237229 w 504788"/>
                <a:gd name="connsiteY2" fmla="*/ 984792 h 995706"/>
                <a:gd name="connsiteX3" fmla="*/ 240150 w 504788"/>
                <a:gd name="connsiteY3" fmla="*/ 984782 h 995706"/>
                <a:gd name="connsiteX4" fmla="*/ 241427 w 504788"/>
                <a:gd name="connsiteY4" fmla="*/ 985070 h 995706"/>
                <a:gd name="connsiteX5" fmla="*/ 241998 w 504788"/>
                <a:gd name="connsiteY5" fmla="*/ 985509 h 995706"/>
                <a:gd name="connsiteX6" fmla="*/ 245814 w 504788"/>
                <a:gd name="connsiteY6" fmla="*/ 984826 h 995706"/>
                <a:gd name="connsiteX7" fmla="*/ 247500 w 504788"/>
                <a:gd name="connsiteY7" fmla="*/ 984902 h 995706"/>
                <a:gd name="connsiteX8" fmla="*/ 247065 w 504788"/>
                <a:gd name="connsiteY8" fmla="*/ 986408 h 995706"/>
                <a:gd name="connsiteX9" fmla="*/ 243550 w 504788"/>
                <a:gd name="connsiteY9" fmla="*/ 987908 h 995706"/>
                <a:gd name="connsiteX10" fmla="*/ 242102 w 504788"/>
                <a:gd name="connsiteY10" fmla="*/ 987272 h 995706"/>
                <a:gd name="connsiteX11" fmla="*/ 234633 w 504788"/>
                <a:gd name="connsiteY11" fmla="*/ 987410 h 995706"/>
                <a:gd name="connsiteX12" fmla="*/ 231327 w 504788"/>
                <a:gd name="connsiteY12" fmla="*/ 988951 h 995706"/>
                <a:gd name="connsiteX13" fmla="*/ 229922 w 504788"/>
                <a:gd name="connsiteY13" fmla="*/ 988938 h 995706"/>
                <a:gd name="connsiteX14" fmla="*/ 226660 w 504788"/>
                <a:gd name="connsiteY14" fmla="*/ 991141 h 995706"/>
                <a:gd name="connsiteX15" fmla="*/ 224273 w 504788"/>
                <a:gd name="connsiteY15" fmla="*/ 989749 h 995706"/>
                <a:gd name="connsiteX16" fmla="*/ 223617 w 504788"/>
                <a:gd name="connsiteY16" fmla="*/ 988467 h 995706"/>
                <a:gd name="connsiteX17" fmla="*/ 225344 w 504788"/>
                <a:gd name="connsiteY17" fmla="*/ 986644 h 995706"/>
                <a:gd name="connsiteX18" fmla="*/ 226970 w 504788"/>
                <a:gd name="connsiteY18" fmla="*/ 986607 h 995706"/>
                <a:gd name="connsiteX19" fmla="*/ 228079 w 504788"/>
                <a:gd name="connsiteY19" fmla="*/ 985872 h 995706"/>
                <a:gd name="connsiteX20" fmla="*/ 125422 w 504788"/>
                <a:gd name="connsiteY20" fmla="*/ 913099 h 995706"/>
                <a:gd name="connsiteX21" fmla="*/ 126911 w 504788"/>
                <a:gd name="connsiteY21" fmla="*/ 914545 h 995706"/>
                <a:gd name="connsiteX22" fmla="*/ 132806 w 504788"/>
                <a:gd name="connsiteY22" fmla="*/ 921572 h 995706"/>
                <a:gd name="connsiteX23" fmla="*/ 134341 w 504788"/>
                <a:gd name="connsiteY23" fmla="*/ 924451 h 995706"/>
                <a:gd name="connsiteX24" fmla="*/ 135307 w 504788"/>
                <a:gd name="connsiteY24" fmla="*/ 927812 h 995706"/>
                <a:gd name="connsiteX25" fmla="*/ 132951 w 504788"/>
                <a:gd name="connsiteY25" fmla="*/ 925674 h 995706"/>
                <a:gd name="connsiteX26" fmla="*/ 130463 w 504788"/>
                <a:gd name="connsiteY26" fmla="*/ 926899 h 995706"/>
                <a:gd name="connsiteX27" fmla="*/ 129237 w 504788"/>
                <a:gd name="connsiteY27" fmla="*/ 928909 h 995706"/>
                <a:gd name="connsiteX28" fmla="*/ 128189 w 504788"/>
                <a:gd name="connsiteY28" fmla="*/ 931093 h 995706"/>
                <a:gd name="connsiteX29" fmla="*/ 128197 w 504788"/>
                <a:gd name="connsiteY29" fmla="*/ 932629 h 995706"/>
                <a:gd name="connsiteX30" fmla="*/ 129008 w 504788"/>
                <a:gd name="connsiteY30" fmla="*/ 933975 h 995706"/>
                <a:gd name="connsiteX31" fmla="*/ 131427 w 504788"/>
                <a:gd name="connsiteY31" fmla="*/ 935146 h 995706"/>
                <a:gd name="connsiteX32" fmla="*/ 137309 w 504788"/>
                <a:gd name="connsiteY32" fmla="*/ 935543 h 995706"/>
                <a:gd name="connsiteX33" fmla="*/ 137741 w 504788"/>
                <a:gd name="connsiteY33" fmla="*/ 935977 h 995706"/>
                <a:gd name="connsiteX34" fmla="*/ 141179 w 504788"/>
                <a:gd name="connsiteY34" fmla="*/ 944439 h 995706"/>
                <a:gd name="connsiteX35" fmla="*/ 142909 w 504788"/>
                <a:gd name="connsiteY35" fmla="*/ 946330 h 995706"/>
                <a:gd name="connsiteX36" fmla="*/ 144917 w 504788"/>
                <a:gd name="connsiteY36" fmla="*/ 947834 h 995706"/>
                <a:gd name="connsiteX37" fmla="*/ 149557 w 504788"/>
                <a:gd name="connsiteY37" fmla="*/ 952164 h 995706"/>
                <a:gd name="connsiteX38" fmla="*/ 154007 w 504788"/>
                <a:gd name="connsiteY38" fmla="*/ 956846 h 995706"/>
                <a:gd name="connsiteX39" fmla="*/ 159290 w 504788"/>
                <a:gd name="connsiteY39" fmla="*/ 961291 h 995706"/>
                <a:gd name="connsiteX40" fmla="*/ 164990 w 504788"/>
                <a:gd name="connsiteY40" fmla="*/ 964714 h 995706"/>
                <a:gd name="connsiteX41" fmla="*/ 170172 w 504788"/>
                <a:gd name="connsiteY41" fmla="*/ 967311 h 995706"/>
                <a:gd name="connsiteX42" fmla="*/ 175117 w 504788"/>
                <a:gd name="connsiteY42" fmla="*/ 970489 h 995706"/>
                <a:gd name="connsiteX43" fmla="*/ 180392 w 504788"/>
                <a:gd name="connsiteY43" fmla="*/ 974944 h 995706"/>
                <a:gd name="connsiteX44" fmla="*/ 186133 w 504788"/>
                <a:gd name="connsiteY44" fmla="*/ 978181 h 995706"/>
                <a:gd name="connsiteX45" fmla="*/ 192297 w 504788"/>
                <a:gd name="connsiteY45" fmla="*/ 980474 h 995706"/>
                <a:gd name="connsiteX46" fmla="*/ 198521 w 504788"/>
                <a:gd name="connsiteY46" fmla="*/ 982385 h 995706"/>
                <a:gd name="connsiteX47" fmla="*/ 208101 w 504788"/>
                <a:gd name="connsiteY47" fmla="*/ 981638 h 995706"/>
                <a:gd name="connsiteX48" fmla="*/ 211076 w 504788"/>
                <a:gd name="connsiteY48" fmla="*/ 981847 h 995706"/>
                <a:gd name="connsiteX49" fmla="*/ 212926 w 504788"/>
                <a:gd name="connsiteY49" fmla="*/ 983253 h 995706"/>
                <a:gd name="connsiteX50" fmla="*/ 211066 w 504788"/>
                <a:gd name="connsiteY50" fmla="*/ 987142 h 995706"/>
                <a:gd name="connsiteX51" fmla="*/ 208691 w 504788"/>
                <a:gd name="connsiteY51" fmla="*/ 990274 h 995706"/>
                <a:gd name="connsiteX52" fmla="*/ 205518 w 504788"/>
                <a:gd name="connsiteY52" fmla="*/ 991566 h 995706"/>
                <a:gd name="connsiteX53" fmla="*/ 202166 w 504788"/>
                <a:gd name="connsiteY53" fmla="*/ 992041 h 995706"/>
                <a:gd name="connsiteX54" fmla="*/ 199138 w 504788"/>
                <a:gd name="connsiteY54" fmla="*/ 991979 h 995706"/>
                <a:gd name="connsiteX55" fmla="*/ 196115 w 504788"/>
                <a:gd name="connsiteY55" fmla="*/ 991401 h 995706"/>
                <a:gd name="connsiteX56" fmla="*/ 193280 w 504788"/>
                <a:gd name="connsiteY56" fmla="*/ 991732 h 995706"/>
                <a:gd name="connsiteX57" fmla="*/ 190571 w 504788"/>
                <a:gd name="connsiteY57" fmla="*/ 993049 h 995706"/>
                <a:gd name="connsiteX58" fmla="*/ 187746 w 504788"/>
                <a:gd name="connsiteY58" fmla="*/ 993703 h 995706"/>
                <a:gd name="connsiteX59" fmla="*/ 184837 w 504788"/>
                <a:gd name="connsiteY59" fmla="*/ 993789 h 995706"/>
                <a:gd name="connsiteX60" fmla="*/ 181999 w 504788"/>
                <a:gd name="connsiteY60" fmla="*/ 994905 h 995706"/>
                <a:gd name="connsiteX61" fmla="*/ 179147 w 504788"/>
                <a:gd name="connsiteY61" fmla="*/ 995706 h 995706"/>
                <a:gd name="connsiteX62" fmla="*/ 176192 w 504788"/>
                <a:gd name="connsiteY62" fmla="*/ 995042 h 995706"/>
                <a:gd name="connsiteX63" fmla="*/ 168515 w 504788"/>
                <a:gd name="connsiteY63" fmla="*/ 991928 h 995706"/>
                <a:gd name="connsiteX64" fmla="*/ 163529 w 504788"/>
                <a:gd name="connsiteY64" fmla="*/ 991186 h 995706"/>
                <a:gd name="connsiteX65" fmla="*/ 146637 w 504788"/>
                <a:gd name="connsiteY65" fmla="*/ 989947 h 995706"/>
                <a:gd name="connsiteX66" fmla="*/ 141215 w 504788"/>
                <a:gd name="connsiteY66" fmla="*/ 989236 h 995706"/>
                <a:gd name="connsiteX67" fmla="*/ 135813 w 504788"/>
                <a:gd name="connsiteY67" fmla="*/ 988152 h 995706"/>
                <a:gd name="connsiteX68" fmla="*/ 132984 w 504788"/>
                <a:gd name="connsiteY68" fmla="*/ 988107 h 995706"/>
                <a:gd name="connsiteX69" fmla="*/ 128945 w 504788"/>
                <a:gd name="connsiteY69" fmla="*/ 988807 h 995706"/>
                <a:gd name="connsiteX70" fmla="*/ 125708 w 504788"/>
                <a:gd name="connsiteY70" fmla="*/ 988721 h 995706"/>
                <a:gd name="connsiteX71" fmla="*/ 124831 w 504788"/>
                <a:gd name="connsiteY71" fmla="*/ 989419 h 995706"/>
                <a:gd name="connsiteX72" fmla="*/ 124977 w 504788"/>
                <a:gd name="connsiteY72" fmla="*/ 981488 h 995706"/>
                <a:gd name="connsiteX73" fmla="*/ 125172 w 504788"/>
                <a:gd name="connsiteY73" fmla="*/ 970853 h 995706"/>
                <a:gd name="connsiteX74" fmla="*/ 125212 w 504788"/>
                <a:gd name="connsiteY74" fmla="*/ 961400 h 995706"/>
                <a:gd name="connsiteX75" fmla="*/ 125251 w 504788"/>
                <a:gd name="connsiteY75" fmla="*/ 952225 h 995706"/>
                <a:gd name="connsiteX76" fmla="*/ 125292 w 504788"/>
                <a:gd name="connsiteY76" fmla="*/ 942757 h 995706"/>
                <a:gd name="connsiteX77" fmla="*/ 125334 w 504788"/>
                <a:gd name="connsiteY77" fmla="*/ 933319 h 995706"/>
                <a:gd name="connsiteX78" fmla="*/ 125377 w 504788"/>
                <a:gd name="connsiteY78" fmla="*/ 923267 h 995706"/>
                <a:gd name="connsiteX79" fmla="*/ 291174 w 504788"/>
                <a:gd name="connsiteY79" fmla="*/ 482721 h 995706"/>
                <a:gd name="connsiteX80" fmla="*/ 294379 w 504788"/>
                <a:gd name="connsiteY80" fmla="*/ 483491 h 995706"/>
                <a:gd name="connsiteX81" fmla="*/ 295889 w 504788"/>
                <a:gd name="connsiteY81" fmla="*/ 484186 h 995706"/>
                <a:gd name="connsiteX82" fmla="*/ 296683 w 504788"/>
                <a:gd name="connsiteY82" fmla="*/ 485262 h 995706"/>
                <a:gd name="connsiteX83" fmla="*/ 296932 w 504788"/>
                <a:gd name="connsiteY83" fmla="*/ 487133 h 995706"/>
                <a:gd name="connsiteX84" fmla="*/ 295612 w 504788"/>
                <a:gd name="connsiteY84" fmla="*/ 486912 h 995706"/>
                <a:gd name="connsiteX85" fmla="*/ 292478 w 504788"/>
                <a:gd name="connsiteY85" fmla="*/ 485114 h 995706"/>
                <a:gd name="connsiteX86" fmla="*/ 291421 w 504788"/>
                <a:gd name="connsiteY86" fmla="*/ 483431 h 995706"/>
                <a:gd name="connsiteX87" fmla="*/ 186524 w 504788"/>
                <a:gd name="connsiteY87" fmla="*/ 0 h 995706"/>
                <a:gd name="connsiteX88" fmla="*/ 187679 w 504788"/>
                <a:gd name="connsiteY88" fmla="*/ 82 h 995706"/>
                <a:gd name="connsiteX89" fmla="*/ 189608 w 504788"/>
                <a:gd name="connsiteY89" fmla="*/ 864 h 995706"/>
                <a:gd name="connsiteX90" fmla="*/ 190622 w 504788"/>
                <a:gd name="connsiteY90" fmla="*/ 2045 h 995706"/>
                <a:gd name="connsiteX91" fmla="*/ 195653 w 504788"/>
                <a:gd name="connsiteY91" fmla="*/ 5775 h 995706"/>
                <a:gd name="connsiteX92" fmla="*/ 197914 w 504788"/>
                <a:gd name="connsiteY92" fmla="*/ 7901 h 995706"/>
                <a:gd name="connsiteX93" fmla="*/ 200065 w 504788"/>
                <a:gd name="connsiteY93" fmla="*/ 8184 h 995706"/>
                <a:gd name="connsiteX94" fmla="*/ 204309 w 504788"/>
                <a:gd name="connsiteY94" fmla="*/ 7765 h 995706"/>
                <a:gd name="connsiteX95" fmla="*/ 205169 w 504788"/>
                <a:gd name="connsiteY95" fmla="*/ 7862 h 995706"/>
                <a:gd name="connsiteX96" fmla="*/ 215997 w 504788"/>
                <a:gd name="connsiteY96" fmla="*/ 7983 h 995706"/>
                <a:gd name="connsiteX97" fmla="*/ 217651 w 504788"/>
                <a:gd name="connsiteY97" fmla="*/ 8168 h 995706"/>
                <a:gd name="connsiteX98" fmla="*/ 221443 w 504788"/>
                <a:gd name="connsiteY98" fmla="*/ 9081 h 995706"/>
                <a:gd name="connsiteX99" fmla="*/ 223584 w 504788"/>
                <a:gd name="connsiteY99" fmla="*/ 9809 h 995706"/>
                <a:gd name="connsiteX100" fmla="*/ 225068 w 504788"/>
                <a:gd name="connsiteY100" fmla="*/ 10188 h 995706"/>
                <a:gd name="connsiteX101" fmla="*/ 227467 w 504788"/>
                <a:gd name="connsiteY101" fmla="*/ 11340 h 995706"/>
                <a:gd name="connsiteX102" fmla="*/ 229542 w 504788"/>
                <a:gd name="connsiteY102" fmla="*/ 15143 h 995706"/>
                <a:gd name="connsiteX103" fmla="*/ 230706 w 504788"/>
                <a:gd name="connsiteY103" fmla="*/ 18175 h 995706"/>
                <a:gd name="connsiteX104" fmla="*/ 231524 w 504788"/>
                <a:gd name="connsiteY104" fmla="*/ 20841 h 995706"/>
                <a:gd name="connsiteX105" fmla="*/ 233337 w 504788"/>
                <a:gd name="connsiteY105" fmla="*/ 25529 h 995706"/>
                <a:gd name="connsiteX106" fmla="*/ 234572 w 504788"/>
                <a:gd name="connsiteY106" fmla="*/ 27308 h 995706"/>
                <a:gd name="connsiteX107" fmla="*/ 235012 w 504788"/>
                <a:gd name="connsiteY107" fmla="*/ 26444 h 995706"/>
                <a:gd name="connsiteX108" fmla="*/ 236065 w 504788"/>
                <a:gd name="connsiteY108" fmla="*/ 21322 h 995706"/>
                <a:gd name="connsiteX109" fmla="*/ 237519 w 504788"/>
                <a:gd name="connsiteY109" fmla="*/ 18335 h 995706"/>
                <a:gd name="connsiteX110" fmla="*/ 239478 w 504788"/>
                <a:gd name="connsiteY110" fmla="*/ 14990 h 995706"/>
                <a:gd name="connsiteX111" fmla="*/ 243426 w 504788"/>
                <a:gd name="connsiteY111" fmla="*/ 7181 h 995706"/>
                <a:gd name="connsiteX112" fmla="*/ 244806 w 504788"/>
                <a:gd name="connsiteY112" fmla="*/ 6011 h 995706"/>
                <a:gd name="connsiteX113" fmla="*/ 246344 w 504788"/>
                <a:gd name="connsiteY113" fmla="*/ 5442 h 995706"/>
                <a:gd name="connsiteX114" fmla="*/ 247419 w 504788"/>
                <a:gd name="connsiteY114" fmla="*/ 5396 h 995706"/>
                <a:gd name="connsiteX115" fmla="*/ 248510 w 504788"/>
                <a:gd name="connsiteY115" fmla="*/ 5975 h 995706"/>
                <a:gd name="connsiteX116" fmla="*/ 249998 w 504788"/>
                <a:gd name="connsiteY116" fmla="*/ 5983 h 995706"/>
                <a:gd name="connsiteX117" fmla="*/ 251053 w 504788"/>
                <a:gd name="connsiteY117" fmla="*/ 5364 h 995706"/>
                <a:gd name="connsiteX118" fmla="*/ 261402 w 504788"/>
                <a:gd name="connsiteY118" fmla="*/ 5265 h 995706"/>
                <a:gd name="connsiteX119" fmla="*/ 272149 w 504788"/>
                <a:gd name="connsiteY119" fmla="*/ 5177 h 995706"/>
                <a:gd name="connsiteX120" fmla="*/ 272378 w 504788"/>
                <a:gd name="connsiteY120" fmla="*/ 5226 h 995706"/>
                <a:gd name="connsiteX121" fmla="*/ 272865 w 504788"/>
                <a:gd name="connsiteY121" fmla="*/ 6570 h 995706"/>
                <a:gd name="connsiteX122" fmla="*/ 274653 w 504788"/>
                <a:gd name="connsiteY122" fmla="*/ 9504 h 995706"/>
                <a:gd name="connsiteX123" fmla="*/ 276663 w 504788"/>
                <a:gd name="connsiteY123" fmla="*/ 11051 h 995706"/>
                <a:gd name="connsiteX124" fmla="*/ 277027 w 504788"/>
                <a:gd name="connsiteY124" fmla="*/ 11470 h 995706"/>
                <a:gd name="connsiteX125" fmla="*/ 277668 w 504788"/>
                <a:gd name="connsiteY125" fmla="*/ 12211 h 995706"/>
                <a:gd name="connsiteX126" fmla="*/ 277660 w 504788"/>
                <a:gd name="connsiteY126" fmla="*/ 12981 h 995706"/>
                <a:gd name="connsiteX127" fmla="*/ 279801 w 504788"/>
                <a:gd name="connsiteY127" fmla="*/ 14557 h 995706"/>
                <a:gd name="connsiteX128" fmla="*/ 284087 w 504788"/>
                <a:gd name="connsiteY128" fmla="*/ 16944 h 995706"/>
                <a:gd name="connsiteX129" fmla="*/ 288103 w 504788"/>
                <a:gd name="connsiteY129" fmla="*/ 21564 h 995706"/>
                <a:gd name="connsiteX130" fmla="*/ 291845 w 504788"/>
                <a:gd name="connsiteY130" fmla="*/ 28423 h 995706"/>
                <a:gd name="connsiteX131" fmla="*/ 295358 w 504788"/>
                <a:gd name="connsiteY131" fmla="*/ 33495 h 995706"/>
                <a:gd name="connsiteX132" fmla="*/ 298641 w 504788"/>
                <a:gd name="connsiteY132" fmla="*/ 36778 h 995706"/>
                <a:gd name="connsiteX133" fmla="*/ 301659 w 504788"/>
                <a:gd name="connsiteY133" fmla="*/ 39098 h 995706"/>
                <a:gd name="connsiteX134" fmla="*/ 304410 w 504788"/>
                <a:gd name="connsiteY134" fmla="*/ 40454 h 995706"/>
                <a:gd name="connsiteX135" fmla="*/ 305881 w 504788"/>
                <a:gd name="connsiteY135" fmla="*/ 41552 h 995706"/>
                <a:gd name="connsiteX136" fmla="*/ 306071 w 504788"/>
                <a:gd name="connsiteY136" fmla="*/ 42396 h 995706"/>
                <a:gd name="connsiteX137" fmla="*/ 308646 w 504788"/>
                <a:gd name="connsiteY137" fmla="*/ 44151 h 995706"/>
                <a:gd name="connsiteX138" fmla="*/ 313605 w 504788"/>
                <a:gd name="connsiteY138" fmla="*/ 46817 h 995706"/>
                <a:gd name="connsiteX139" fmla="*/ 316741 w 504788"/>
                <a:gd name="connsiteY139" fmla="*/ 49481 h 995706"/>
                <a:gd name="connsiteX140" fmla="*/ 318055 w 504788"/>
                <a:gd name="connsiteY140" fmla="*/ 52141 h 995706"/>
                <a:gd name="connsiteX141" fmla="*/ 322951 w 504788"/>
                <a:gd name="connsiteY141" fmla="*/ 54889 h 995706"/>
                <a:gd name="connsiteX142" fmla="*/ 331432 w 504788"/>
                <a:gd name="connsiteY142" fmla="*/ 57720 h 995706"/>
                <a:gd name="connsiteX143" fmla="*/ 337598 w 504788"/>
                <a:gd name="connsiteY143" fmla="*/ 59072 h 995706"/>
                <a:gd name="connsiteX144" fmla="*/ 341448 w 504788"/>
                <a:gd name="connsiteY144" fmla="*/ 58943 h 995706"/>
                <a:gd name="connsiteX145" fmla="*/ 346972 w 504788"/>
                <a:gd name="connsiteY145" fmla="*/ 61210 h 995706"/>
                <a:gd name="connsiteX146" fmla="*/ 354170 w 504788"/>
                <a:gd name="connsiteY146" fmla="*/ 65865 h 995706"/>
                <a:gd name="connsiteX147" fmla="*/ 358562 w 504788"/>
                <a:gd name="connsiteY147" fmla="*/ 69099 h 995706"/>
                <a:gd name="connsiteX148" fmla="*/ 360146 w 504788"/>
                <a:gd name="connsiteY148" fmla="*/ 70898 h 995706"/>
                <a:gd name="connsiteX149" fmla="*/ 364854 w 504788"/>
                <a:gd name="connsiteY149" fmla="*/ 73816 h 995706"/>
                <a:gd name="connsiteX150" fmla="*/ 376600 w 504788"/>
                <a:gd name="connsiteY150" fmla="*/ 79860 h 995706"/>
                <a:gd name="connsiteX151" fmla="*/ 381782 w 504788"/>
                <a:gd name="connsiteY151" fmla="*/ 81376 h 995706"/>
                <a:gd name="connsiteX152" fmla="*/ 384238 w 504788"/>
                <a:gd name="connsiteY152" fmla="*/ 82757 h 995706"/>
                <a:gd name="connsiteX153" fmla="*/ 385693 w 504788"/>
                <a:gd name="connsiteY153" fmla="*/ 84515 h 995706"/>
                <a:gd name="connsiteX154" fmla="*/ 387131 w 504788"/>
                <a:gd name="connsiteY154" fmla="*/ 85050 h 995706"/>
                <a:gd name="connsiteX155" fmla="*/ 388549 w 504788"/>
                <a:gd name="connsiteY155" fmla="*/ 84367 h 995706"/>
                <a:gd name="connsiteX156" fmla="*/ 391498 w 504788"/>
                <a:gd name="connsiteY156" fmla="*/ 84997 h 995706"/>
                <a:gd name="connsiteX157" fmla="*/ 395977 w 504788"/>
                <a:gd name="connsiteY157" fmla="*/ 86942 h 995706"/>
                <a:gd name="connsiteX158" fmla="*/ 399480 w 504788"/>
                <a:gd name="connsiteY158" fmla="*/ 89296 h 995706"/>
                <a:gd name="connsiteX159" fmla="*/ 403988 w 504788"/>
                <a:gd name="connsiteY159" fmla="*/ 94483 h 995706"/>
                <a:gd name="connsiteX160" fmla="*/ 405426 w 504788"/>
                <a:gd name="connsiteY160" fmla="*/ 96556 h 995706"/>
                <a:gd name="connsiteX161" fmla="*/ 406036 w 504788"/>
                <a:gd name="connsiteY161" fmla="*/ 98412 h 995706"/>
                <a:gd name="connsiteX162" fmla="*/ 405819 w 504788"/>
                <a:gd name="connsiteY162" fmla="*/ 100048 h 995706"/>
                <a:gd name="connsiteX163" fmla="*/ 404446 w 504788"/>
                <a:gd name="connsiteY163" fmla="*/ 101794 h 995706"/>
                <a:gd name="connsiteX164" fmla="*/ 401919 w 504788"/>
                <a:gd name="connsiteY164" fmla="*/ 103647 h 995706"/>
                <a:gd name="connsiteX165" fmla="*/ 401176 w 504788"/>
                <a:gd name="connsiteY165" fmla="*/ 104457 h 995706"/>
                <a:gd name="connsiteX166" fmla="*/ 401118 w 504788"/>
                <a:gd name="connsiteY166" fmla="*/ 105240 h 995706"/>
                <a:gd name="connsiteX167" fmla="*/ 400475 w 504788"/>
                <a:gd name="connsiteY167" fmla="*/ 106803 h 995706"/>
                <a:gd name="connsiteX168" fmla="*/ 398376 w 504788"/>
                <a:gd name="connsiteY168" fmla="*/ 110143 h 995706"/>
                <a:gd name="connsiteX169" fmla="*/ 397843 w 504788"/>
                <a:gd name="connsiteY169" fmla="*/ 111698 h 995706"/>
                <a:gd name="connsiteX170" fmla="*/ 397732 w 504788"/>
                <a:gd name="connsiteY170" fmla="*/ 112844 h 995706"/>
                <a:gd name="connsiteX171" fmla="*/ 396401 w 504788"/>
                <a:gd name="connsiteY171" fmla="*/ 114103 h 995706"/>
                <a:gd name="connsiteX172" fmla="*/ 392868 w 504788"/>
                <a:gd name="connsiteY172" fmla="*/ 116427 h 995706"/>
                <a:gd name="connsiteX173" fmla="*/ 392140 w 504788"/>
                <a:gd name="connsiteY173" fmla="*/ 117557 h 995706"/>
                <a:gd name="connsiteX174" fmla="*/ 391965 w 504788"/>
                <a:gd name="connsiteY174" fmla="*/ 118771 h 995706"/>
                <a:gd name="connsiteX175" fmla="*/ 391519 w 504788"/>
                <a:gd name="connsiteY175" fmla="*/ 119492 h 995706"/>
                <a:gd name="connsiteX176" fmla="*/ 391036 w 504788"/>
                <a:gd name="connsiteY176" fmla="*/ 119795 h 995706"/>
                <a:gd name="connsiteX177" fmla="*/ 390356 w 504788"/>
                <a:gd name="connsiteY177" fmla="*/ 121012 h 995706"/>
                <a:gd name="connsiteX178" fmla="*/ 389810 w 504788"/>
                <a:gd name="connsiteY178" fmla="*/ 123023 h 995706"/>
                <a:gd name="connsiteX179" fmla="*/ 389756 w 504788"/>
                <a:gd name="connsiteY179" fmla="*/ 125610 h 995706"/>
                <a:gd name="connsiteX180" fmla="*/ 390193 w 504788"/>
                <a:gd name="connsiteY180" fmla="*/ 128766 h 995706"/>
                <a:gd name="connsiteX181" fmla="*/ 390107 w 504788"/>
                <a:gd name="connsiteY181" fmla="*/ 129783 h 995706"/>
                <a:gd name="connsiteX182" fmla="*/ 389327 w 504788"/>
                <a:gd name="connsiteY182" fmla="*/ 130329 h 995706"/>
                <a:gd name="connsiteX183" fmla="*/ 388889 w 504788"/>
                <a:gd name="connsiteY183" fmla="*/ 131059 h 995706"/>
                <a:gd name="connsiteX184" fmla="*/ 388732 w 504788"/>
                <a:gd name="connsiteY184" fmla="*/ 132535 h 995706"/>
                <a:gd name="connsiteX185" fmla="*/ 388069 w 504788"/>
                <a:gd name="connsiteY185" fmla="*/ 133614 h 995706"/>
                <a:gd name="connsiteX186" fmla="*/ 386903 w 504788"/>
                <a:gd name="connsiteY186" fmla="*/ 134301 h 995706"/>
                <a:gd name="connsiteX187" fmla="*/ 386473 w 504788"/>
                <a:gd name="connsiteY187" fmla="*/ 135091 h 995706"/>
                <a:gd name="connsiteX188" fmla="*/ 386779 w 504788"/>
                <a:gd name="connsiteY188" fmla="*/ 135982 h 995706"/>
                <a:gd name="connsiteX189" fmla="*/ 385920 w 504788"/>
                <a:gd name="connsiteY189" fmla="*/ 136866 h 995706"/>
                <a:gd name="connsiteX190" fmla="*/ 383895 w 504788"/>
                <a:gd name="connsiteY190" fmla="*/ 137737 h 995706"/>
                <a:gd name="connsiteX191" fmla="*/ 382655 w 504788"/>
                <a:gd name="connsiteY191" fmla="*/ 139004 h 995706"/>
                <a:gd name="connsiteX192" fmla="*/ 382198 w 504788"/>
                <a:gd name="connsiteY192" fmla="*/ 140669 h 995706"/>
                <a:gd name="connsiteX193" fmla="*/ 381071 w 504788"/>
                <a:gd name="connsiteY193" fmla="*/ 142155 h 995706"/>
                <a:gd name="connsiteX194" fmla="*/ 379273 w 504788"/>
                <a:gd name="connsiteY194" fmla="*/ 143469 h 995706"/>
                <a:gd name="connsiteX195" fmla="*/ 378686 w 504788"/>
                <a:gd name="connsiteY195" fmla="*/ 145215 h 995706"/>
                <a:gd name="connsiteX196" fmla="*/ 379621 w 504788"/>
                <a:gd name="connsiteY196" fmla="*/ 148445 h 995706"/>
                <a:gd name="connsiteX197" fmla="*/ 390692 w 504788"/>
                <a:gd name="connsiteY197" fmla="*/ 147327 h 995706"/>
                <a:gd name="connsiteX198" fmla="*/ 399720 w 504788"/>
                <a:gd name="connsiteY198" fmla="*/ 148506 h 995706"/>
                <a:gd name="connsiteX199" fmla="*/ 410394 w 504788"/>
                <a:gd name="connsiteY199" fmla="*/ 151618 h 995706"/>
                <a:gd name="connsiteX200" fmla="*/ 417479 w 504788"/>
                <a:gd name="connsiteY200" fmla="*/ 152701 h 995706"/>
                <a:gd name="connsiteX201" fmla="*/ 420974 w 504788"/>
                <a:gd name="connsiteY201" fmla="*/ 151762 h 995706"/>
                <a:gd name="connsiteX202" fmla="*/ 423567 w 504788"/>
                <a:gd name="connsiteY202" fmla="*/ 151895 h 995706"/>
                <a:gd name="connsiteX203" fmla="*/ 425255 w 504788"/>
                <a:gd name="connsiteY203" fmla="*/ 153099 h 995706"/>
                <a:gd name="connsiteX204" fmla="*/ 427523 w 504788"/>
                <a:gd name="connsiteY204" fmla="*/ 153348 h 995706"/>
                <a:gd name="connsiteX205" fmla="*/ 430372 w 504788"/>
                <a:gd name="connsiteY205" fmla="*/ 152641 h 995706"/>
                <a:gd name="connsiteX206" fmla="*/ 432726 w 504788"/>
                <a:gd name="connsiteY206" fmla="*/ 153188 h 995706"/>
                <a:gd name="connsiteX207" fmla="*/ 434586 w 504788"/>
                <a:gd name="connsiteY207" fmla="*/ 154990 h 995706"/>
                <a:gd name="connsiteX208" fmla="*/ 436276 w 504788"/>
                <a:gd name="connsiteY208" fmla="*/ 154542 h 995706"/>
                <a:gd name="connsiteX209" fmla="*/ 437797 w 504788"/>
                <a:gd name="connsiteY209" fmla="*/ 151845 h 995706"/>
                <a:gd name="connsiteX210" fmla="*/ 439542 w 504788"/>
                <a:gd name="connsiteY210" fmla="*/ 149877 h 995706"/>
                <a:gd name="connsiteX211" fmla="*/ 441511 w 504788"/>
                <a:gd name="connsiteY211" fmla="*/ 148640 h 995706"/>
                <a:gd name="connsiteX212" fmla="*/ 443964 w 504788"/>
                <a:gd name="connsiteY212" fmla="*/ 148264 h 995706"/>
                <a:gd name="connsiteX213" fmla="*/ 446902 w 504788"/>
                <a:gd name="connsiteY213" fmla="*/ 148754 h 995706"/>
                <a:gd name="connsiteX214" fmla="*/ 449246 w 504788"/>
                <a:gd name="connsiteY214" fmla="*/ 149744 h 995706"/>
                <a:gd name="connsiteX215" fmla="*/ 450996 w 504788"/>
                <a:gd name="connsiteY215" fmla="*/ 151234 h 995706"/>
                <a:gd name="connsiteX216" fmla="*/ 452907 w 504788"/>
                <a:gd name="connsiteY216" fmla="*/ 151191 h 995706"/>
                <a:gd name="connsiteX217" fmla="*/ 454979 w 504788"/>
                <a:gd name="connsiteY217" fmla="*/ 149613 h 995706"/>
                <a:gd name="connsiteX218" fmla="*/ 455971 w 504788"/>
                <a:gd name="connsiteY218" fmla="*/ 147727 h 995706"/>
                <a:gd name="connsiteX219" fmla="*/ 455883 w 504788"/>
                <a:gd name="connsiteY219" fmla="*/ 145530 h 995706"/>
                <a:gd name="connsiteX220" fmla="*/ 456704 w 504788"/>
                <a:gd name="connsiteY220" fmla="*/ 143957 h 995706"/>
                <a:gd name="connsiteX221" fmla="*/ 458432 w 504788"/>
                <a:gd name="connsiteY221" fmla="*/ 143011 h 995706"/>
                <a:gd name="connsiteX222" fmla="*/ 459602 w 504788"/>
                <a:gd name="connsiteY222" fmla="*/ 141729 h 995706"/>
                <a:gd name="connsiteX223" fmla="*/ 460209 w 504788"/>
                <a:gd name="connsiteY223" fmla="*/ 140117 h 995706"/>
                <a:gd name="connsiteX224" fmla="*/ 462260 w 504788"/>
                <a:gd name="connsiteY224" fmla="*/ 139132 h 995706"/>
                <a:gd name="connsiteX225" fmla="*/ 465753 w 504788"/>
                <a:gd name="connsiteY225" fmla="*/ 138778 h 995706"/>
                <a:gd name="connsiteX226" fmla="*/ 467581 w 504788"/>
                <a:gd name="connsiteY226" fmla="*/ 137987 h 995706"/>
                <a:gd name="connsiteX227" fmla="*/ 467740 w 504788"/>
                <a:gd name="connsiteY227" fmla="*/ 136757 h 995706"/>
                <a:gd name="connsiteX228" fmla="*/ 468774 w 504788"/>
                <a:gd name="connsiteY228" fmla="*/ 135626 h 995706"/>
                <a:gd name="connsiteX229" fmla="*/ 470682 w 504788"/>
                <a:gd name="connsiteY229" fmla="*/ 134594 h 995706"/>
                <a:gd name="connsiteX230" fmla="*/ 471987 w 504788"/>
                <a:gd name="connsiteY230" fmla="*/ 133306 h 995706"/>
                <a:gd name="connsiteX231" fmla="*/ 472689 w 504788"/>
                <a:gd name="connsiteY231" fmla="*/ 131759 h 995706"/>
                <a:gd name="connsiteX232" fmla="*/ 473844 w 504788"/>
                <a:gd name="connsiteY232" fmla="*/ 130785 h 995706"/>
                <a:gd name="connsiteX233" fmla="*/ 475453 w 504788"/>
                <a:gd name="connsiteY233" fmla="*/ 130390 h 995706"/>
                <a:gd name="connsiteX234" fmla="*/ 477238 w 504788"/>
                <a:gd name="connsiteY234" fmla="*/ 127142 h 995706"/>
                <a:gd name="connsiteX235" fmla="*/ 479199 w 504788"/>
                <a:gd name="connsiteY235" fmla="*/ 121050 h 995706"/>
                <a:gd name="connsiteX236" fmla="*/ 480361 w 504788"/>
                <a:gd name="connsiteY236" fmla="*/ 112823 h 995706"/>
                <a:gd name="connsiteX237" fmla="*/ 480768 w 504788"/>
                <a:gd name="connsiteY237" fmla="*/ 101181 h 995706"/>
                <a:gd name="connsiteX238" fmla="*/ 482746 w 504788"/>
                <a:gd name="connsiteY238" fmla="*/ 101192 h 995706"/>
                <a:gd name="connsiteX239" fmla="*/ 483667 w 504788"/>
                <a:gd name="connsiteY239" fmla="*/ 102053 h 995706"/>
                <a:gd name="connsiteX240" fmla="*/ 485126 w 504788"/>
                <a:gd name="connsiteY240" fmla="*/ 102505 h 995706"/>
                <a:gd name="connsiteX241" fmla="*/ 486663 w 504788"/>
                <a:gd name="connsiteY241" fmla="*/ 101522 h 995706"/>
                <a:gd name="connsiteX242" fmla="*/ 487968 w 504788"/>
                <a:gd name="connsiteY242" fmla="*/ 101068 h 995706"/>
                <a:gd name="connsiteX243" fmla="*/ 490042 w 504788"/>
                <a:gd name="connsiteY243" fmla="*/ 101028 h 995706"/>
                <a:gd name="connsiteX244" fmla="*/ 491157 w 504788"/>
                <a:gd name="connsiteY244" fmla="*/ 99924 h 995706"/>
                <a:gd name="connsiteX245" fmla="*/ 492464 w 504788"/>
                <a:gd name="connsiteY245" fmla="*/ 99746 h 995706"/>
                <a:gd name="connsiteX246" fmla="*/ 493360 w 504788"/>
                <a:gd name="connsiteY246" fmla="*/ 100346 h 995706"/>
                <a:gd name="connsiteX247" fmla="*/ 494228 w 504788"/>
                <a:gd name="connsiteY247" fmla="*/ 101068 h 995706"/>
                <a:gd name="connsiteX248" fmla="*/ 496072 w 504788"/>
                <a:gd name="connsiteY248" fmla="*/ 101231 h 995706"/>
                <a:gd name="connsiteX249" fmla="*/ 497531 w 504788"/>
                <a:gd name="connsiteY249" fmla="*/ 103118 h 995706"/>
                <a:gd name="connsiteX250" fmla="*/ 499144 w 504788"/>
                <a:gd name="connsiteY250" fmla="*/ 103693 h 995706"/>
                <a:gd name="connsiteX251" fmla="*/ 499827 w 504788"/>
                <a:gd name="connsiteY251" fmla="*/ 105859 h 995706"/>
                <a:gd name="connsiteX252" fmla="*/ 500866 w 504788"/>
                <a:gd name="connsiteY252" fmla="*/ 111571 h 995706"/>
                <a:gd name="connsiteX253" fmla="*/ 502801 w 504788"/>
                <a:gd name="connsiteY253" fmla="*/ 114938 h 995706"/>
                <a:gd name="connsiteX254" fmla="*/ 504718 w 504788"/>
                <a:gd name="connsiteY254" fmla="*/ 118776 h 995706"/>
                <a:gd name="connsiteX255" fmla="*/ 504788 w 504788"/>
                <a:gd name="connsiteY255" fmla="*/ 120490 h 995706"/>
                <a:gd name="connsiteX256" fmla="*/ 503714 w 504788"/>
                <a:gd name="connsiteY256" fmla="*/ 122219 h 995706"/>
                <a:gd name="connsiteX257" fmla="*/ 503530 w 504788"/>
                <a:gd name="connsiteY257" fmla="*/ 124702 h 995706"/>
                <a:gd name="connsiteX258" fmla="*/ 502860 w 504788"/>
                <a:gd name="connsiteY258" fmla="*/ 130777 h 995706"/>
                <a:gd name="connsiteX259" fmla="*/ 502639 w 504788"/>
                <a:gd name="connsiteY259" fmla="*/ 133013 h 995706"/>
                <a:gd name="connsiteX260" fmla="*/ 503302 w 504788"/>
                <a:gd name="connsiteY260" fmla="*/ 134541 h 995706"/>
                <a:gd name="connsiteX261" fmla="*/ 503552 w 504788"/>
                <a:gd name="connsiteY261" fmla="*/ 136669 h 995706"/>
                <a:gd name="connsiteX262" fmla="*/ 502507 w 504788"/>
                <a:gd name="connsiteY262" fmla="*/ 139273 h 995706"/>
                <a:gd name="connsiteX263" fmla="*/ 500487 w 504788"/>
                <a:gd name="connsiteY263" fmla="*/ 143168 h 995706"/>
                <a:gd name="connsiteX264" fmla="*/ 498524 w 504788"/>
                <a:gd name="connsiteY264" fmla="*/ 144218 h 995706"/>
                <a:gd name="connsiteX265" fmla="*/ 498022 w 504788"/>
                <a:gd name="connsiteY265" fmla="*/ 144260 h 995706"/>
                <a:gd name="connsiteX266" fmla="*/ 495366 w 504788"/>
                <a:gd name="connsiteY266" fmla="*/ 146516 h 995706"/>
                <a:gd name="connsiteX267" fmla="*/ 493497 w 504788"/>
                <a:gd name="connsiteY267" fmla="*/ 147361 h 995706"/>
                <a:gd name="connsiteX268" fmla="*/ 492417 w 504788"/>
                <a:gd name="connsiteY268" fmla="*/ 146791 h 995706"/>
                <a:gd name="connsiteX269" fmla="*/ 491180 w 504788"/>
                <a:gd name="connsiteY269" fmla="*/ 147769 h 995706"/>
                <a:gd name="connsiteX270" fmla="*/ 489788 w 504788"/>
                <a:gd name="connsiteY270" fmla="*/ 150294 h 995706"/>
                <a:gd name="connsiteX271" fmla="*/ 488092 w 504788"/>
                <a:gd name="connsiteY271" fmla="*/ 151429 h 995706"/>
                <a:gd name="connsiteX272" fmla="*/ 485020 w 504788"/>
                <a:gd name="connsiteY272" fmla="*/ 152056 h 995706"/>
                <a:gd name="connsiteX273" fmla="*/ 484104 w 504788"/>
                <a:gd name="connsiteY273" fmla="*/ 152352 h 995706"/>
                <a:gd name="connsiteX274" fmla="*/ 482312 w 504788"/>
                <a:gd name="connsiteY274" fmla="*/ 152263 h 995706"/>
                <a:gd name="connsiteX275" fmla="*/ 480778 w 504788"/>
                <a:gd name="connsiteY275" fmla="*/ 152894 h 995706"/>
                <a:gd name="connsiteX276" fmla="*/ 479500 w 504788"/>
                <a:gd name="connsiteY276" fmla="*/ 154245 h 995706"/>
                <a:gd name="connsiteX277" fmla="*/ 478134 w 504788"/>
                <a:gd name="connsiteY277" fmla="*/ 154747 h 995706"/>
                <a:gd name="connsiteX278" fmla="*/ 476680 w 504788"/>
                <a:gd name="connsiteY278" fmla="*/ 154408 h 995706"/>
                <a:gd name="connsiteX279" fmla="*/ 475361 w 504788"/>
                <a:gd name="connsiteY279" fmla="*/ 154902 h 995706"/>
                <a:gd name="connsiteX280" fmla="*/ 474179 w 504788"/>
                <a:gd name="connsiteY280" fmla="*/ 156233 h 995706"/>
                <a:gd name="connsiteX281" fmla="*/ 473493 w 504788"/>
                <a:gd name="connsiteY281" fmla="*/ 157676 h 995706"/>
                <a:gd name="connsiteX282" fmla="*/ 473304 w 504788"/>
                <a:gd name="connsiteY282" fmla="*/ 159226 h 995706"/>
                <a:gd name="connsiteX283" fmla="*/ 472146 w 504788"/>
                <a:gd name="connsiteY283" fmla="*/ 160284 h 995706"/>
                <a:gd name="connsiteX284" fmla="*/ 470015 w 504788"/>
                <a:gd name="connsiteY284" fmla="*/ 160848 h 995706"/>
                <a:gd name="connsiteX285" fmla="*/ 469278 w 504788"/>
                <a:gd name="connsiteY285" fmla="*/ 161629 h 995706"/>
                <a:gd name="connsiteX286" fmla="*/ 469408 w 504788"/>
                <a:gd name="connsiteY286" fmla="*/ 162715 h 995706"/>
                <a:gd name="connsiteX287" fmla="*/ 468453 w 504788"/>
                <a:gd name="connsiteY287" fmla="*/ 163561 h 995706"/>
                <a:gd name="connsiteX288" fmla="*/ 464847 w 504788"/>
                <a:gd name="connsiteY288" fmla="*/ 164438 h 995706"/>
                <a:gd name="connsiteX289" fmla="*/ 462243 w 504788"/>
                <a:gd name="connsiteY289" fmla="*/ 166005 h 995706"/>
                <a:gd name="connsiteX290" fmla="*/ 460636 w 504788"/>
                <a:gd name="connsiteY290" fmla="*/ 168249 h 995706"/>
                <a:gd name="connsiteX291" fmla="*/ 458941 w 504788"/>
                <a:gd name="connsiteY291" fmla="*/ 169664 h 995706"/>
                <a:gd name="connsiteX292" fmla="*/ 456260 w 504788"/>
                <a:gd name="connsiteY292" fmla="*/ 170532 h 995706"/>
                <a:gd name="connsiteX293" fmla="*/ 452632 w 504788"/>
                <a:gd name="connsiteY293" fmla="*/ 172814 h 995706"/>
                <a:gd name="connsiteX294" fmla="*/ 452111 w 504788"/>
                <a:gd name="connsiteY294" fmla="*/ 174224 h 995706"/>
                <a:gd name="connsiteX295" fmla="*/ 453493 w 504788"/>
                <a:gd name="connsiteY295" fmla="*/ 175525 h 995706"/>
                <a:gd name="connsiteX296" fmla="*/ 453988 w 504788"/>
                <a:gd name="connsiteY296" fmla="*/ 176682 h 995706"/>
                <a:gd name="connsiteX297" fmla="*/ 453601 w 504788"/>
                <a:gd name="connsiteY297" fmla="*/ 177691 h 995706"/>
                <a:gd name="connsiteX298" fmla="*/ 452467 w 504788"/>
                <a:gd name="connsiteY298" fmla="*/ 177827 h 995706"/>
                <a:gd name="connsiteX299" fmla="*/ 450588 w 504788"/>
                <a:gd name="connsiteY299" fmla="*/ 177089 h 995706"/>
                <a:gd name="connsiteX300" fmla="*/ 449249 w 504788"/>
                <a:gd name="connsiteY300" fmla="*/ 176936 h 995706"/>
                <a:gd name="connsiteX301" fmla="*/ 448448 w 504788"/>
                <a:gd name="connsiteY301" fmla="*/ 177371 h 995706"/>
                <a:gd name="connsiteX302" fmla="*/ 448069 w 504788"/>
                <a:gd name="connsiteY302" fmla="*/ 178185 h 995706"/>
                <a:gd name="connsiteX303" fmla="*/ 448114 w 504788"/>
                <a:gd name="connsiteY303" fmla="*/ 179384 h 995706"/>
                <a:gd name="connsiteX304" fmla="*/ 447442 w 504788"/>
                <a:gd name="connsiteY304" fmla="*/ 180199 h 995706"/>
                <a:gd name="connsiteX305" fmla="*/ 446054 w 504788"/>
                <a:gd name="connsiteY305" fmla="*/ 180631 h 995706"/>
                <a:gd name="connsiteX306" fmla="*/ 445174 w 504788"/>
                <a:gd name="connsiteY306" fmla="*/ 181622 h 995706"/>
                <a:gd name="connsiteX307" fmla="*/ 444803 w 504788"/>
                <a:gd name="connsiteY307" fmla="*/ 183170 h 995706"/>
                <a:gd name="connsiteX308" fmla="*/ 443063 w 504788"/>
                <a:gd name="connsiteY308" fmla="*/ 185122 h 995706"/>
                <a:gd name="connsiteX309" fmla="*/ 439953 w 504788"/>
                <a:gd name="connsiteY309" fmla="*/ 187473 h 995706"/>
                <a:gd name="connsiteX310" fmla="*/ 437497 w 504788"/>
                <a:gd name="connsiteY310" fmla="*/ 190650 h 995706"/>
                <a:gd name="connsiteX311" fmla="*/ 435699 w 504788"/>
                <a:gd name="connsiteY311" fmla="*/ 194643 h 995706"/>
                <a:gd name="connsiteX312" fmla="*/ 433602 w 504788"/>
                <a:gd name="connsiteY312" fmla="*/ 197270 h 995706"/>
                <a:gd name="connsiteX313" fmla="*/ 431201 w 504788"/>
                <a:gd name="connsiteY313" fmla="*/ 198529 h 995706"/>
                <a:gd name="connsiteX314" fmla="*/ 429548 w 504788"/>
                <a:gd name="connsiteY314" fmla="*/ 200322 h 995706"/>
                <a:gd name="connsiteX315" fmla="*/ 428644 w 504788"/>
                <a:gd name="connsiteY315" fmla="*/ 202651 h 995706"/>
                <a:gd name="connsiteX316" fmla="*/ 426084 w 504788"/>
                <a:gd name="connsiteY316" fmla="*/ 206261 h 995706"/>
                <a:gd name="connsiteX317" fmla="*/ 421871 w 504788"/>
                <a:gd name="connsiteY317" fmla="*/ 211157 h 995706"/>
                <a:gd name="connsiteX318" fmla="*/ 418049 w 504788"/>
                <a:gd name="connsiteY318" fmla="*/ 214519 h 995706"/>
                <a:gd name="connsiteX319" fmla="*/ 414618 w 504788"/>
                <a:gd name="connsiteY319" fmla="*/ 216346 h 995706"/>
                <a:gd name="connsiteX320" fmla="*/ 412691 w 504788"/>
                <a:gd name="connsiteY320" fmla="*/ 218408 h 995706"/>
                <a:gd name="connsiteX321" fmla="*/ 412265 w 504788"/>
                <a:gd name="connsiteY321" fmla="*/ 220709 h 995706"/>
                <a:gd name="connsiteX322" fmla="*/ 410039 w 504788"/>
                <a:gd name="connsiteY322" fmla="*/ 223330 h 995706"/>
                <a:gd name="connsiteX323" fmla="*/ 406017 w 504788"/>
                <a:gd name="connsiteY323" fmla="*/ 226275 h 995706"/>
                <a:gd name="connsiteX324" fmla="*/ 404876 w 504788"/>
                <a:gd name="connsiteY324" fmla="*/ 227604 h 995706"/>
                <a:gd name="connsiteX325" fmla="*/ 403941 w 504788"/>
                <a:gd name="connsiteY325" fmla="*/ 228692 h 995706"/>
                <a:gd name="connsiteX326" fmla="*/ 403811 w 504788"/>
                <a:gd name="connsiteY326" fmla="*/ 230585 h 995706"/>
                <a:gd name="connsiteX327" fmla="*/ 402244 w 504788"/>
                <a:gd name="connsiteY327" fmla="*/ 233073 h 995706"/>
                <a:gd name="connsiteX328" fmla="*/ 399238 w 504788"/>
                <a:gd name="connsiteY328" fmla="*/ 236156 h 995706"/>
                <a:gd name="connsiteX329" fmla="*/ 398191 w 504788"/>
                <a:gd name="connsiteY329" fmla="*/ 238824 h 995706"/>
                <a:gd name="connsiteX330" fmla="*/ 399559 w 504788"/>
                <a:gd name="connsiteY330" fmla="*/ 242196 h 995706"/>
                <a:gd name="connsiteX331" fmla="*/ 399761 w 504788"/>
                <a:gd name="connsiteY331" fmla="*/ 246284 h 995706"/>
                <a:gd name="connsiteX332" fmla="*/ 399165 w 504788"/>
                <a:gd name="connsiteY332" fmla="*/ 247928 h 995706"/>
                <a:gd name="connsiteX333" fmla="*/ 397841 w 504788"/>
                <a:gd name="connsiteY333" fmla="*/ 248485 h 995706"/>
                <a:gd name="connsiteX334" fmla="*/ 397538 w 504788"/>
                <a:gd name="connsiteY334" fmla="*/ 249540 h 995706"/>
                <a:gd name="connsiteX335" fmla="*/ 398253 w 504788"/>
                <a:gd name="connsiteY335" fmla="*/ 251100 h 995706"/>
                <a:gd name="connsiteX336" fmla="*/ 398295 w 504788"/>
                <a:gd name="connsiteY336" fmla="*/ 253149 h 995706"/>
                <a:gd name="connsiteX337" fmla="*/ 397662 w 504788"/>
                <a:gd name="connsiteY337" fmla="*/ 255692 h 995706"/>
                <a:gd name="connsiteX338" fmla="*/ 396268 w 504788"/>
                <a:gd name="connsiteY338" fmla="*/ 258604 h 995706"/>
                <a:gd name="connsiteX339" fmla="*/ 394111 w 504788"/>
                <a:gd name="connsiteY339" fmla="*/ 261885 h 995706"/>
                <a:gd name="connsiteX340" fmla="*/ 393593 w 504788"/>
                <a:gd name="connsiteY340" fmla="*/ 264079 h 995706"/>
                <a:gd name="connsiteX341" fmla="*/ 394713 w 504788"/>
                <a:gd name="connsiteY341" fmla="*/ 265184 h 995706"/>
                <a:gd name="connsiteX342" fmla="*/ 395263 w 504788"/>
                <a:gd name="connsiteY342" fmla="*/ 266356 h 995706"/>
                <a:gd name="connsiteX343" fmla="*/ 395241 w 504788"/>
                <a:gd name="connsiteY343" fmla="*/ 267603 h 995706"/>
                <a:gd name="connsiteX344" fmla="*/ 394781 w 504788"/>
                <a:gd name="connsiteY344" fmla="*/ 269408 h 995706"/>
                <a:gd name="connsiteX345" fmla="*/ 393884 w 504788"/>
                <a:gd name="connsiteY345" fmla="*/ 271773 h 995706"/>
                <a:gd name="connsiteX346" fmla="*/ 392528 w 504788"/>
                <a:gd name="connsiteY346" fmla="*/ 273531 h 995706"/>
                <a:gd name="connsiteX347" fmla="*/ 390711 w 504788"/>
                <a:gd name="connsiteY347" fmla="*/ 274678 h 995706"/>
                <a:gd name="connsiteX348" fmla="*/ 390166 w 504788"/>
                <a:gd name="connsiteY348" fmla="*/ 276126 h 995706"/>
                <a:gd name="connsiteX349" fmla="*/ 390891 w 504788"/>
                <a:gd name="connsiteY349" fmla="*/ 277877 h 995706"/>
                <a:gd name="connsiteX350" fmla="*/ 390993 w 504788"/>
                <a:gd name="connsiteY350" fmla="*/ 279706 h 995706"/>
                <a:gd name="connsiteX351" fmla="*/ 390471 w 504788"/>
                <a:gd name="connsiteY351" fmla="*/ 281605 h 995706"/>
                <a:gd name="connsiteX352" fmla="*/ 390779 w 504788"/>
                <a:gd name="connsiteY352" fmla="*/ 283457 h 995706"/>
                <a:gd name="connsiteX353" fmla="*/ 391922 w 504788"/>
                <a:gd name="connsiteY353" fmla="*/ 285261 h 995706"/>
                <a:gd name="connsiteX354" fmla="*/ 391839 w 504788"/>
                <a:gd name="connsiteY354" fmla="*/ 287316 h 995706"/>
                <a:gd name="connsiteX355" fmla="*/ 389857 w 504788"/>
                <a:gd name="connsiteY355" fmla="*/ 291539 h 995706"/>
                <a:gd name="connsiteX356" fmla="*/ 389380 w 504788"/>
                <a:gd name="connsiteY356" fmla="*/ 294144 h 995706"/>
                <a:gd name="connsiteX357" fmla="*/ 390622 w 504788"/>
                <a:gd name="connsiteY357" fmla="*/ 305316 h 995706"/>
                <a:gd name="connsiteX358" fmla="*/ 389867 w 504788"/>
                <a:gd name="connsiteY358" fmla="*/ 306884 h 995706"/>
                <a:gd name="connsiteX359" fmla="*/ 388609 w 504788"/>
                <a:gd name="connsiteY359" fmla="*/ 308686 h 995706"/>
                <a:gd name="connsiteX360" fmla="*/ 387126 w 504788"/>
                <a:gd name="connsiteY360" fmla="*/ 308816 h 995706"/>
                <a:gd name="connsiteX361" fmla="*/ 385425 w 504788"/>
                <a:gd name="connsiteY361" fmla="*/ 308504 h 995706"/>
                <a:gd name="connsiteX362" fmla="*/ 384196 w 504788"/>
                <a:gd name="connsiteY362" fmla="*/ 309627 h 995706"/>
                <a:gd name="connsiteX363" fmla="*/ 383425 w 504788"/>
                <a:gd name="connsiteY363" fmla="*/ 314571 h 995706"/>
                <a:gd name="connsiteX364" fmla="*/ 381082 w 504788"/>
                <a:gd name="connsiteY364" fmla="*/ 325294 h 995706"/>
                <a:gd name="connsiteX365" fmla="*/ 381506 w 504788"/>
                <a:gd name="connsiteY365" fmla="*/ 327842 h 995706"/>
                <a:gd name="connsiteX366" fmla="*/ 383380 w 504788"/>
                <a:gd name="connsiteY366" fmla="*/ 331980 h 995706"/>
                <a:gd name="connsiteX367" fmla="*/ 384068 w 504788"/>
                <a:gd name="connsiteY367" fmla="*/ 334617 h 995706"/>
                <a:gd name="connsiteX368" fmla="*/ 384587 w 504788"/>
                <a:gd name="connsiteY368" fmla="*/ 336609 h 995706"/>
                <a:gd name="connsiteX369" fmla="*/ 385006 w 504788"/>
                <a:gd name="connsiteY369" fmla="*/ 340382 h 995706"/>
                <a:gd name="connsiteX370" fmla="*/ 383916 w 504788"/>
                <a:gd name="connsiteY370" fmla="*/ 342082 h 995706"/>
                <a:gd name="connsiteX371" fmla="*/ 382908 w 504788"/>
                <a:gd name="connsiteY371" fmla="*/ 342381 h 995706"/>
                <a:gd name="connsiteX372" fmla="*/ 381634 w 504788"/>
                <a:gd name="connsiteY372" fmla="*/ 343330 h 995706"/>
                <a:gd name="connsiteX373" fmla="*/ 383137 w 504788"/>
                <a:gd name="connsiteY373" fmla="*/ 347938 h 995706"/>
                <a:gd name="connsiteX374" fmla="*/ 384336 w 504788"/>
                <a:gd name="connsiteY374" fmla="*/ 350062 h 995706"/>
                <a:gd name="connsiteX375" fmla="*/ 387773 w 504788"/>
                <a:gd name="connsiteY375" fmla="*/ 354411 h 995706"/>
                <a:gd name="connsiteX376" fmla="*/ 400953 w 504788"/>
                <a:gd name="connsiteY376" fmla="*/ 360462 h 995706"/>
                <a:gd name="connsiteX377" fmla="*/ 406423 w 504788"/>
                <a:gd name="connsiteY377" fmla="*/ 364034 h 995706"/>
                <a:gd name="connsiteX378" fmla="*/ 412615 w 504788"/>
                <a:gd name="connsiteY378" fmla="*/ 368906 h 995706"/>
                <a:gd name="connsiteX379" fmla="*/ 415987 w 504788"/>
                <a:gd name="connsiteY379" fmla="*/ 373914 h 995706"/>
                <a:gd name="connsiteX380" fmla="*/ 416285 w 504788"/>
                <a:gd name="connsiteY380" fmla="*/ 378047 h 995706"/>
                <a:gd name="connsiteX381" fmla="*/ 411341 w 504788"/>
                <a:gd name="connsiteY381" fmla="*/ 384231 h 995706"/>
                <a:gd name="connsiteX382" fmla="*/ 410794 w 504788"/>
                <a:gd name="connsiteY382" fmla="*/ 389431 h 995706"/>
                <a:gd name="connsiteX383" fmla="*/ 411809 w 504788"/>
                <a:gd name="connsiteY383" fmla="*/ 393089 h 995706"/>
                <a:gd name="connsiteX384" fmla="*/ 413595 w 504788"/>
                <a:gd name="connsiteY384" fmla="*/ 396488 h 995706"/>
                <a:gd name="connsiteX385" fmla="*/ 418383 w 504788"/>
                <a:gd name="connsiteY385" fmla="*/ 400912 h 995706"/>
                <a:gd name="connsiteX386" fmla="*/ 421908 w 504788"/>
                <a:gd name="connsiteY386" fmla="*/ 402530 h 995706"/>
                <a:gd name="connsiteX387" fmla="*/ 426668 w 504788"/>
                <a:gd name="connsiteY387" fmla="*/ 402354 h 995706"/>
                <a:gd name="connsiteX388" fmla="*/ 427481 w 504788"/>
                <a:gd name="connsiteY388" fmla="*/ 403590 h 995706"/>
                <a:gd name="connsiteX389" fmla="*/ 427969 w 504788"/>
                <a:gd name="connsiteY389" fmla="*/ 404676 h 995706"/>
                <a:gd name="connsiteX390" fmla="*/ 428726 w 504788"/>
                <a:gd name="connsiteY390" fmla="*/ 413651 h 995706"/>
                <a:gd name="connsiteX391" fmla="*/ 428631 w 504788"/>
                <a:gd name="connsiteY391" fmla="*/ 417028 h 995706"/>
                <a:gd name="connsiteX392" fmla="*/ 427233 w 504788"/>
                <a:gd name="connsiteY392" fmla="*/ 420130 h 995706"/>
                <a:gd name="connsiteX393" fmla="*/ 418092 w 504788"/>
                <a:gd name="connsiteY393" fmla="*/ 434404 h 995706"/>
                <a:gd name="connsiteX394" fmla="*/ 410280 w 504788"/>
                <a:gd name="connsiteY394" fmla="*/ 443142 h 995706"/>
                <a:gd name="connsiteX395" fmla="*/ 407452 w 504788"/>
                <a:gd name="connsiteY395" fmla="*/ 447977 h 995706"/>
                <a:gd name="connsiteX396" fmla="*/ 406445 w 504788"/>
                <a:gd name="connsiteY396" fmla="*/ 453161 h 995706"/>
                <a:gd name="connsiteX397" fmla="*/ 403945 w 504788"/>
                <a:gd name="connsiteY397" fmla="*/ 455633 h 995706"/>
                <a:gd name="connsiteX398" fmla="*/ 390414 w 504788"/>
                <a:gd name="connsiteY398" fmla="*/ 463478 h 995706"/>
                <a:gd name="connsiteX399" fmla="*/ 369419 w 504788"/>
                <a:gd name="connsiteY399" fmla="*/ 470493 h 995706"/>
                <a:gd name="connsiteX400" fmla="*/ 352455 w 504788"/>
                <a:gd name="connsiteY400" fmla="*/ 474141 h 995706"/>
                <a:gd name="connsiteX401" fmla="*/ 348599 w 504788"/>
                <a:gd name="connsiteY401" fmla="*/ 475370 h 995706"/>
                <a:gd name="connsiteX402" fmla="*/ 321325 w 504788"/>
                <a:gd name="connsiteY402" fmla="*/ 479390 h 995706"/>
                <a:gd name="connsiteX403" fmla="*/ 316044 w 504788"/>
                <a:gd name="connsiteY403" fmla="*/ 479954 h 995706"/>
                <a:gd name="connsiteX404" fmla="*/ 309181 w 504788"/>
                <a:gd name="connsiteY404" fmla="*/ 479596 h 995706"/>
                <a:gd name="connsiteX405" fmla="*/ 303611 w 504788"/>
                <a:gd name="connsiteY405" fmla="*/ 480128 h 995706"/>
                <a:gd name="connsiteX406" fmla="*/ 297389 w 504788"/>
                <a:gd name="connsiteY406" fmla="*/ 479031 h 995706"/>
                <a:gd name="connsiteX407" fmla="*/ 291837 w 504788"/>
                <a:gd name="connsiteY407" fmla="*/ 477767 h 995706"/>
                <a:gd name="connsiteX408" fmla="*/ 288734 w 504788"/>
                <a:gd name="connsiteY408" fmla="*/ 474633 h 995706"/>
                <a:gd name="connsiteX409" fmla="*/ 285045 w 504788"/>
                <a:gd name="connsiteY409" fmla="*/ 474241 h 995706"/>
                <a:gd name="connsiteX410" fmla="*/ 284038 w 504788"/>
                <a:gd name="connsiteY410" fmla="*/ 475806 h 995706"/>
                <a:gd name="connsiteX411" fmla="*/ 285835 w 504788"/>
                <a:gd name="connsiteY411" fmla="*/ 479810 h 995706"/>
                <a:gd name="connsiteX412" fmla="*/ 284960 w 504788"/>
                <a:gd name="connsiteY412" fmla="*/ 484630 h 995706"/>
                <a:gd name="connsiteX413" fmla="*/ 286052 w 504788"/>
                <a:gd name="connsiteY413" fmla="*/ 487382 h 995706"/>
                <a:gd name="connsiteX414" fmla="*/ 288231 w 504788"/>
                <a:gd name="connsiteY414" fmla="*/ 487933 h 995706"/>
                <a:gd name="connsiteX415" fmla="*/ 290326 w 504788"/>
                <a:gd name="connsiteY415" fmla="*/ 489358 h 995706"/>
                <a:gd name="connsiteX416" fmla="*/ 292173 w 504788"/>
                <a:gd name="connsiteY416" fmla="*/ 491262 h 995706"/>
                <a:gd name="connsiteX417" fmla="*/ 288986 w 504788"/>
                <a:gd name="connsiteY417" fmla="*/ 491459 h 995706"/>
                <a:gd name="connsiteX418" fmla="*/ 290222 w 504788"/>
                <a:gd name="connsiteY418" fmla="*/ 492979 h 995706"/>
                <a:gd name="connsiteX419" fmla="*/ 291586 w 504788"/>
                <a:gd name="connsiteY419" fmla="*/ 493871 h 995706"/>
                <a:gd name="connsiteX420" fmla="*/ 291434 w 504788"/>
                <a:gd name="connsiteY420" fmla="*/ 497052 h 995706"/>
                <a:gd name="connsiteX421" fmla="*/ 290197 w 504788"/>
                <a:gd name="connsiteY421" fmla="*/ 504717 h 995706"/>
                <a:gd name="connsiteX422" fmla="*/ 287094 w 504788"/>
                <a:gd name="connsiteY422" fmla="*/ 506362 h 995706"/>
                <a:gd name="connsiteX423" fmla="*/ 286258 w 504788"/>
                <a:gd name="connsiteY423" fmla="*/ 506805 h 995706"/>
                <a:gd name="connsiteX424" fmla="*/ 285318 w 504788"/>
                <a:gd name="connsiteY424" fmla="*/ 508460 h 995706"/>
                <a:gd name="connsiteX425" fmla="*/ 283343 w 504788"/>
                <a:gd name="connsiteY425" fmla="*/ 515817 h 995706"/>
                <a:gd name="connsiteX426" fmla="*/ 282705 w 504788"/>
                <a:gd name="connsiteY426" fmla="*/ 520594 h 995706"/>
                <a:gd name="connsiteX427" fmla="*/ 283553 w 504788"/>
                <a:gd name="connsiteY427" fmla="*/ 523679 h 995706"/>
                <a:gd name="connsiteX428" fmla="*/ 287287 w 504788"/>
                <a:gd name="connsiteY428" fmla="*/ 530165 h 995706"/>
                <a:gd name="connsiteX429" fmla="*/ 285878 w 504788"/>
                <a:gd name="connsiteY429" fmla="*/ 534379 h 995706"/>
                <a:gd name="connsiteX430" fmla="*/ 283516 w 504788"/>
                <a:gd name="connsiteY430" fmla="*/ 536673 h 995706"/>
                <a:gd name="connsiteX431" fmla="*/ 273299 w 504788"/>
                <a:gd name="connsiteY431" fmla="*/ 541389 h 995706"/>
                <a:gd name="connsiteX432" fmla="*/ 269215 w 504788"/>
                <a:gd name="connsiteY432" fmla="*/ 543275 h 995706"/>
                <a:gd name="connsiteX433" fmla="*/ 262780 w 504788"/>
                <a:gd name="connsiteY433" fmla="*/ 544568 h 995706"/>
                <a:gd name="connsiteX434" fmla="*/ 252410 w 504788"/>
                <a:gd name="connsiteY434" fmla="*/ 544789 h 995706"/>
                <a:gd name="connsiteX435" fmla="*/ 248576 w 504788"/>
                <a:gd name="connsiteY435" fmla="*/ 544494 h 995706"/>
                <a:gd name="connsiteX436" fmla="*/ 239697 w 504788"/>
                <a:gd name="connsiteY436" fmla="*/ 540202 h 995706"/>
                <a:gd name="connsiteX437" fmla="*/ 233097 w 504788"/>
                <a:gd name="connsiteY437" fmla="*/ 537628 h 995706"/>
                <a:gd name="connsiteX438" fmla="*/ 227062 w 504788"/>
                <a:gd name="connsiteY438" fmla="*/ 535580 h 995706"/>
                <a:gd name="connsiteX439" fmla="*/ 221192 w 504788"/>
                <a:gd name="connsiteY439" fmla="*/ 534353 h 995706"/>
                <a:gd name="connsiteX440" fmla="*/ 222031 w 504788"/>
                <a:gd name="connsiteY440" fmla="*/ 533736 h 995706"/>
                <a:gd name="connsiteX441" fmla="*/ 222424 w 504788"/>
                <a:gd name="connsiteY441" fmla="*/ 532630 h 995706"/>
                <a:gd name="connsiteX442" fmla="*/ 220773 w 504788"/>
                <a:gd name="connsiteY442" fmla="*/ 532006 h 995706"/>
                <a:gd name="connsiteX443" fmla="*/ 219572 w 504788"/>
                <a:gd name="connsiteY443" fmla="*/ 531871 h 995706"/>
                <a:gd name="connsiteX444" fmla="*/ 215703 w 504788"/>
                <a:gd name="connsiteY444" fmla="*/ 534097 h 995706"/>
                <a:gd name="connsiteX445" fmla="*/ 214081 w 504788"/>
                <a:gd name="connsiteY445" fmla="*/ 536367 h 995706"/>
                <a:gd name="connsiteX446" fmla="*/ 213613 w 504788"/>
                <a:gd name="connsiteY446" fmla="*/ 538367 h 995706"/>
                <a:gd name="connsiteX447" fmla="*/ 213534 w 504788"/>
                <a:gd name="connsiteY447" fmla="*/ 543155 h 995706"/>
                <a:gd name="connsiteX448" fmla="*/ 214221 w 504788"/>
                <a:gd name="connsiteY448" fmla="*/ 547176 h 995706"/>
                <a:gd name="connsiteX449" fmla="*/ 217001 w 504788"/>
                <a:gd name="connsiteY449" fmla="*/ 557110 h 995706"/>
                <a:gd name="connsiteX450" fmla="*/ 217285 w 504788"/>
                <a:gd name="connsiteY450" fmla="*/ 562519 h 995706"/>
                <a:gd name="connsiteX451" fmla="*/ 215965 w 504788"/>
                <a:gd name="connsiteY451" fmla="*/ 569354 h 995706"/>
                <a:gd name="connsiteX452" fmla="*/ 217809 w 504788"/>
                <a:gd name="connsiteY452" fmla="*/ 573378 h 995706"/>
                <a:gd name="connsiteX453" fmla="*/ 220049 w 504788"/>
                <a:gd name="connsiteY453" fmla="*/ 575199 h 995706"/>
                <a:gd name="connsiteX454" fmla="*/ 225083 w 504788"/>
                <a:gd name="connsiteY454" fmla="*/ 576998 h 995706"/>
                <a:gd name="connsiteX455" fmla="*/ 227037 w 504788"/>
                <a:gd name="connsiteY455" fmla="*/ 578225 h 995706"/>
                <a:gd name="connsiteX456" fmla="*/ 229185 w 504788"/>
                <a:gd name="connsiteY456" fmla="*/ 578029 h 995706"/>
                <a:gd name="connsiteX457" fmla="*/ 229845 w 504788"/>
                <a:gd name="connsiteY457" fmla="*/ 578506 h 995706"/>
                <a:gd name="connsiteX458" fmla="*/ 229527 w 504788"/>
                <a:gd name="connsiteY458" fmla="*/ 579391 h 995706"/>
                <a:gd name="connsiteX459" fmla="*/ 228263 w 504788"/>
                <a:gd name="connsiteY459" fmla="*/ 581124 h 995706"/>
                <a:gd name="connsiteX460" fmla="*/ 228342 w 504788"/>
                <a:gd name="connsiteY460" fmla="*/ 582959 h 995706"/>
                <a:gd name="connsiteX461" fmla="*/ 232160 w 504788"/>
                <a:gd name="connsiteY461" fmla="*/ 583502 h 995706"/>
                <a:gd name="connsiteX462" fmla="*/ 236111 w 504788"/>
                <a:gd name="connsiteY462" fmla="*/ 583132 h 995706"/>
                <a:gd name="connsiteX463" fmla="*/ 240262 w 504788"/>
                <a:gd name="connsiteY463" fmla="*/ 582320 h 995706"/>
                <a:gd name="connsiteX464" fmla="*/ 241242 w 504788"/>
                <a:gd name="connsiteY464" fmla="*/ 581046 h 995706"/>
                <a:gd name="connsiteX465" fmla="*/ 241269 w 504788"/>
                <a:gd name="connsiteY465" fmla="*/ 578381 h 995706"/>
                <a:gd name="connsiteX466" fmla="*/ 236407 w 504788"/>
                <a:gd name="connsiteY466" fmla="*/ 577912 h 995706"/>
                <a:gd name="connsiteX467" fmla="*/ 237026 w 504788"/>
                <a:gd name="connsiteY467" fmla="*/ 576920 h 995706"/>
                <a:gd name="connsiteX468" fmla="*/ 240709 w 504788"/>
                <a:gd name="connsiteY468" fmla="*/ 575839 h 995706"/>
                <a:gd name="connsiteX469" fmla="*/ 245537 w 504788"/>
                <a:gd name="connsiteY469" fmla="*/ 574065 h 995706"/>
                <a:gd name="connsiteX470" fmla="*/ 248005 w 504788"/>
                <a:gd name="connsiteY470" fmla="*/ 573738 h 995706"/>
                <a:gd name="connsiteX471" fmla="*/ 249680 w 504788"/>
                <a:gd name="connsiteY471" fmla="*/ 574928 h 995706"/>
                <a:gd name="connsiteX472" fmla="*/ 250813 w 504788"/>
                <a:gd name="connsiteY472" fmla="*/ 576017 h 995706"/>
                <a:gd name="connsiteX473" fmla="*/ 252205 w 504788"/>
                <a:gd name="connsiteY473" fmla="*/ 578887 h 995706"/>
                <a:gd name="connsiteX474" fmla="*/ 253066 w 504788"/>
                <a:gd name="connsiteY474" fmla="*/ 582668 h 995706"/>
                <a:gd name="connsiteX475" fmla="*/ 253104 w 504788"/>
                <a:gd name="connsiteY475" fmla="*/ 587225 h 995706"/>
                <a:gd name="connsiteX476" fmla="*/ 252523 w 504788"/>
                <a:gd name="connsiteY476" fmla="*/ 591520 h 995706"/>
                <a:gd name="connsiteX477" fmla="*/ 251835 w 504788"/>
                <a:gd name="connsiteY477" fmla="*/ 593050 h 995706"/>
                <a:gd name="connsiteX478" fmla="*/ 250618 w 504788"/>
                <a:gd name="connsiteY478" fmla="*/ 594876 h 995706"/>
                <a:gd name="connsiteX479" fmla="*/ 241938 w 504788"/>
                <a:gd name="connsiteY479" fmla="*/ 597208 h 995706"/>
                <a:gd name="connsiteX480" fmla="*/ 239507 w 504788"/>
                <a:gd name="connsiteY480" fmla="*/ 596599 h 995706"/>
                <a:gd name="connsiteX481" fmla="*/ 237244 w 504788"/>
                <a:gd name="connsiteY481" fmla="*/ 593352 h 995706"/>
                <a:gd name="connsiteX482" fmla="*/ 236533 w 504788"/>
                <a:gd name="connsiteY482" fmla="*/ 589997 h 995706"/>
                <a:gd name="connsiteX483" fmla="*/ 234598 w 504788"/>
                <a:gd name="connsiteY483" fmla="*/ 587737 h 995706"/>
                <a:gd name="connsiteX484" fmla="*/ 230451 w 504788"/>
                <a:gd name="connsiteY484" fmla="*/ 585938 h 995706"/>
                <a:gd name="connsiteX485" fmla="*/ 226326 w 504788"/>
                <a:gd name="connsiteY485" fmla="*/ 586488 h 995706"/>
                <a:gd name="connsiteX486" fmla="*/ 222232 w 504788"/>
                <a:gd name="connsiteY486" fmla="*/ 589603 h 995706"/>
                <a:gd name="connsiteX487" fmla="*/ 218207 w 504788"/>
                <a:gd name="connsiteY487" fmla="*/ 590616 h 995706"/>
                <a:gd name="connsiteX488" fmla="*/ 216782 w 504788"/>
                <a:gd name="connsiteY488" fmla="*/ 593454 h 995706"/>
                <a:gd name="connsiteX489" fmla="*/ 226866 w 504788"/>
                <a:gd name="connsiteY489" fmla="*/ 598060 h 995706"/>
                <a:gd name="connsiteX490" fmla="*/ 231624 w 504788"/>
                <a:gd name="connsiteY490" fmla="*/ 599339 h 995706"/>
                <a:gd name="connsiteX491" fmla="*/ 233175 w 504788"/>
                <a:gd name="connsiteY491" fmla="*/ 599295 h 995706"/>
                <a:gd name="connsiteX492" fmla="*/ 234728 w 504788"/>
                <a:gd name="connsiteY492" fmla="*/ 599901 h 995706"/>
                <a:gd name="connsiteX493" fmla="*/ 233294 w 504788"/>
                <a:gd name="connsiteY493" fmla="*/ 601611 h 995706"/>
                <a:gd name="connsiteX494" fmla="*/ 231860 w 504788"/>
                <a:gd name="connsiteY494" fmla="*/ 602674 h 995706"/>
                <a:gd name="connsiteX495" fmla="*/ 224685 w 504788"/>
                <a:gd name="connsiteY495" fmla="*/ 605023 h 995706"/>
                <a:gd name="connsiteX496" fmla="*/ 221522 w 504788"/>
                <a:gd name="connsiteY496" fmla="*/ 606665 h 995706"/>
                <a:gd name="connsiteX497" fmla="*/ 217830 w 504788"/>
                <a:gd name="connsiteY497" fmla="*/ 609889 h 995706"/>
                <a:gd name="connsiteX498" fmla="*/ 212652 w 504788"/>
                <a:gd name="connsiteY498" fmla="*/ 616939 h 995706"/>
                <a:gd name="connsiteX499" fmla="*/ 211065 w 504788"/>
                <a:gd name="connsiteY499" fmla="*/ 618477 h 995706"/>
                <a:gd name="connsiteX500" fmla="*/ 210273 w 504788"/>
                <a:gd name="connsiteY500" fmla="*/ 620274 h 995706"/>
                <a:gd name="connsiteX501" fmla="*/ 209739 w 504788"/>
                <a:gd name="connsiteY501" fmla="*/ 625147 h 995706"/>
                <a:gd name="connsiteX502" fmla="*/ 211414 w 504788"/>
                <a:gd name="connsiteY502" fmla="*/ 633247 h 995706"/>
                <a:gd name="connsiteX503" fmla="*/ 209644 w 504788"/>
                <a:gd name="connsiteY503" fmla="*/ 636648 h 995706"/>
                <a:gd name="connsiteX504" fmla="*/ 210732 w 504788"/>
                <a:gd name="connsiteY504" fmla="*/ 640425 h 995706"/>
                <a:gd name="connsiteX505" fmla="*/ 210115 w 504788"/>
                <a:gd name="connsiteY505" fmla="*/ 642948 h 995706"/>
                <a:gd name="connsiteX506" fmla="*/ 208303 w 504788"/>
                <a:gd name="connsiteY506" fmla="*/ 646582 h 995706"/>
                <a:gd name="connsiteX507" fmla="*/ 201043 w 504788"/>
                <a:gd name="connsiteY507" fmla="*/ 652326 h 995706"/>
                <a:gd name="connsiteX508" fmla="*/ 199756 w 504788"/>
                <a:gd name="connsiteY508" fmla="*/ 656539 h 995706"/>
                <a:gd name="connsiteX509" fmla="*/ 202272 w 504788"/>
                <a:gd name="connsiteY509" fmla="*/ 659023 h 995706"/>
                <a:gd name="connsiteX510" fmla="*/ 202105 w 504788"/>
                <a:gd name="connsiteY510" fmla="*/ 661197 h 995706"/>
                <a:gd name="connsiteX511" fmla="*/ 201267 w 504788"/>
                <a:gd name="connsiteY511" fmla="*/ 663165 h 995706"/>
                <a:gd name="connsiteX512" fmla="*/ 198251 w 504788"/>
                <a:gd name="connsiteY512" fmla="*/ 663144 h 995706"/>
                <a:gd name="connsiteX513" fmla="*/ 187286 w 504788"/>
                <a:gd name="connsiteY513" fmla="*/ 661815 h 995706"/>
                <a:gd name="connsiteX514" fmla="*/ 183289 w 504788"/>
                <a:gd name="connsiteY514" fmla="*/ 663973 h 995706"/>
                <a:gd name="connsiteX515" fmla="*/ 179591 w 504788"/>
                <a:gd name="connsiteY515" fmla="*/ 666607 h 995706"/>
                <a:gd name="connsiteX516" fmla="*/ 178581 w 504788"/>
                <a:gd name="connsiteY516" fmla="*/ 667870 h 995706"/>
                <a:gd name="connsiteX517" fmla="*/ 177273 w 504788"/>
                <a:gd name="connsiteY517" fmla="*/ 668659 h 995706"/>
                <a:gd name="connsiteX518" fmla="*/ 169731 w 504788"/>
                <a:gd name="connsiteY518" fmla="*/ 670063 h 995706"/>
                <a:gd name="connsiteX519" fmla="*/ 168236 w 504788"/>
                <a:gd name="connsiteY519" fmla="*/ 670996 h 995706"/>
                <a:gd name="connsiteX520" fmla="*/ 160219 w 504788"/>
                <a:gd name="connsiteY520" fmla="*/ 681065 h 995706"/>
                <a:gd name="connsiteX521" fmla="*/ 156785 w 504788"/>
                <a:gd name="connsiteY521" fmla="*/ 687325 h 995706"/>
                <a:gd name="connsiteX522" fmla="*/ 152637 w 504788"/>
                <a:gd name="connsiteY522" fmla="*/ 693477 h 995706"/>
                <a:gd name="connsiteX523" fmla="*/ 151548 w 504788"/>
                <a:gd name="connsiteY523" fmla="*/ 696087 h 995706"/>
                <a:gd name="connsiteX524" fmla="*/ 151312 w 504788"/>
                <a:gd name="connsiteY524" fmla="*/ 699709 h 995706"/>
                <a:gd name="connsiteX525" fmla="*/ 151890 w 504788"/>
                <a:gd name="connsiteY525" fmla="*/ 702971 h 995706"/>
                <a:gd name="connsiteX526" fmla="*/ 152466 w 504788"/>
                <a:gd name="connsiteY526" fmla="*/ 705381 h 995706"/>
                <a:gd name="connsiteX527" fmla="*/ 153909 w 504788"/>
                <a:gd name="connsiteY527" fmla="*/ 708476 h 995706"/>
                <a:gd name="connsiteX528" fmla="*/ 156948 w 504788"/>
                <a:gd name="connsiteY528" fmla="*/ 712011 h 995706"/>
                <a:gd name="connsiteX529" fmla="*/ 172409 w 504788"/>
                <a:gd name="connsiteY529" fmla="*/ 726445 h 995706"/>
                <a:gd name="connsiteX530" fmla="*/ 175616 w 504788"/>
                <a:gd name="connsiteY530" fmla="*/ 727708 h 995706"/>
                <a:gd name="connsiteX531" fmla="*/ 192144 w 504788"/>
                <a:gd name="connsiteY531" fmla="*/ 729259 h 995706"/>
                <a:gd name="connsiteX532" fmla="*/ 195819 w 504788"/>
                <a:gd name="connsiteY532" fmla="*/ 731277 h 995706"/>
                <a:gd name="connsiteX533" fmla="*/ 197963 w 504788"/>
                <a:gd name="connsiteY533" fmla="*/ 734485 h 995706"/>
                <a:gd name="connsiteX534" fmla="*/ 198748 w 504788"/>
                <a:gd name="connsiteY534" fmla="*/ 737316 h 995706"/>
                <a:gd name="connsiteX535" fmla="*/ 197802 w 504788"/>
                <a:gd name="connsiteY535" fmla="*/ 744504 h 995706"/>
                <a:gd name="connsiteX536" fmla="*/ 196816 w 504788"/>
                <a:gd name="connsiteY536" fmla="*/ 746752 h 995706"/>
                <a:gd name="connsiteX537" fmla="*/ 194989 w 504788"/>
                <a:gd name="connsiteY537" fmla="*/ 748796 h 995706"/>
                <a:gd name="connsiteX538" fmla="*/ 191077 w 504788"/>
                <a:gd name="connsiteY538" fmla="*/ 751433 h 995706"/>
                <a:gd name="connsiteX539" fmla="*/ 186396 w 504788"/>
                <a:gd name="connsiteY539" fmla="*/ 752836 h 995706"/>
                <a:gd name="connsiteX540" fmla="*/ 187736 w 504788"/>
                <a:gd name="connsiteY540" fmla="*/ 753832 h 995706"/>
                <a:gd name="connsiteX541" fmla="*/ 189639 w 504788"/>
                <a:gd name="connsiteY541" fmla="*/ 753690 h 995706"/>
                <a:gd name="connsiteX542" fmla="*/ 193775 w 504788"/>
                <a:gd name="connsiteY542" fmla="*/ 752836 h 995706"/>
                <a:gd name="connsiteX543" fmla="*/ 195564 w 504788"/>
                <a:gd name="connsiteY543" fmla="*/ 753690 h 995706"/>
                <a:gd name="connsiteX544" fmla="*/ 196924 w 504788"/>
                <a:gd name="connsiteY544" fmla="*/ 756530 h 995706"/>
                <a:gd name="connsiteX545" fmla="*/ 194335 w 504788"/>
                <a:gd name="connsiteY545" fmla="*/ 757684 h 995706"/>
                <a:gd name="connsiteX546" fmla="*/ 193542 w 504788"/>
                <a:gd name="connsiteY546" fmla="*/ 759061 h 995706"/>
                <a:gd name="connsiteX547" fmla="*/ 191672 w 504788"/>
                <a:gd name="connsiteY547" fmla="*/ 761163 h 995706"/>
                <a:gd name="connsiteX548" fmla="*/ 182134 w 504788"/>
                <a:gd name="connsiteY548" fmla="*/ 769534 h 995706"/>
                <a:gd name="connsiteX549" fmla="*/ 176987 w 504788"/>
                <a:gd name="connsiteY549" fmla="*/ 772041 h 995706"/>
                <a:gd name="connsiteX550" fmla="*/ 172258 w 504788"/>
                <a:gd name="connsiteY550" fmla="*/ 775404 h 995706"/>
                <a:gd name="connsiteX551" fmla="*/ 165912 w 504788"/>
                <a:gd name="connsiteY551" fmla="*/ 778817 h 995706"/>
                <a:gd name="connsiteX552" fmla="*/ 163431 w 504788"/>
                <a:gd name="connsiteY552" fmla="*/ 780778 h 995706"/>
                <a:gd name="connsiteX553" fmla="*/ 160074 w 504788"/>
                <a:gd name="connsiteY553" fmla="*/ 784900 h 995706"/>
                <a:gd name="connsiteX554" fmla="*/ 154927 w 504788"/>
                <a:gd name="connsiteY554" fmla="*/ 789394 h 995706"/>
                <a:gd name="connsiteX555" fmla="*/ 149386 w 504788"/>
                <a:gd name="connsiteY555" fmla="*/ 799054 h 995706"/>
                <a:gd name="connsiteX556" fmla="*/ 149161 w 504788"/>
                <a:gd name="connsiteY556" fmla="*/ 800936 h 995706"/>
                <a:gd name="connsiteX557" fmla="*/ 149966 w 504788"/>
                <a:gd name="connsiteY557" fmla="*/ 802191 h 995706"/>
                <a:gd name="connsiteX558" fmla="*/ 146885 w 504788"/>
                <a:gd name="connsiteY558" fmla="*/ 819214 h 995706"/>
                <a:gd name="connsiteX559" fmla="*/ 145808 w 504788"/>
                <a:gd name="connsiteY559" fmla="*/ 821222 h 995706"/>
                <a:gd name="connsiteX560" fmla="*/ 143576 w 504788"/>
                <a:gd name="connsiteY560" fmla="*/ 823367 h 995706"/>
                <a:gd name="connsiteX561" fmla="*/ 137702 w 504788"/>
                <a:gd name="connsiteY561" fmla="*/ 826908 h 995706"/>
                <a:gd name="connsiteX562" fmla="*/ 134873 w 504788"/>
                <a:gd name="connsiteY562" fmla="*/ 827345 h 995706"/>
                <a:gd name="connsiteX563" fmla="*/ 131134 w 504788"/>
                <a:gd name="connsiteY563" fmla="*/ 825294 h 995706"/>
                <a:gd name="connsiteX564" fmla="*/ 129023 w 504788"/>
                <a:gd name="connsiteY564" fmla="*/ 823150 h 995706"/>
                <a:gd name="connsiteX565" fmla="*/ 126959 w 504788"/>
                <a:gd name="connsiteY565" fmla="*/ 819482 h 995706"/>
                <a:gd name="connsiteX566" fmla="*/ 124467 w 504788"/>
                <a:gd name="connsiteY566" fmla="*/ 815702 h 995706"/>
                <a:gd name="connsiteX567" fmla="*/ 124338 w 504788"/>
                <a:gd name="connsiteY567" fmla="*/ 817053 h 995706"/>
                <a:gd name="connsiteX568" fmla="*/ 125205 w 504788"/>
                <a:gd name="connsiteY568" fmla="*/ 819350 h 995706"/>
                <a:gd name="connsiteX569" fmla="*/ 124618 w 504788"/>
                <a:gd name="connsiteY569" fmla="*/ 821755 h 995706"/>
                <a:gd name="connsiteX570" fmla="*/ 118244 w 504788"/>
                <a:gd name="connsiteY570" fmla="*/ 822846 h 995706"/>
                <a:gd name="connsiteX571" fmla="*/ 116556 w 504788"/>
                <a:gd name="connsiteY571" fmla="*/ 823982 h 995706"/>
                <a:gd name="connsiteX572" fmla="*/ 122309 w 504788"/>
                <a:gd name="connsiteY572" fmla="*/ 823474 h 995706"/>
                <a:gd name="connsiteX573" fmla="*/ 126233 w 504788"/>
                <a:gd name="connsiteY573" fmla="*/ 824194 h 995706"/>
                <a:gd name="connsiteX574" fmla="*/ 127890 w 504788"/>
                <a:gd name="connsiteY574" fmla="*/ 825078 h 995706"/>
                <a:gd name="connsiteX575" fmla="*/ 129382 w 504788"/>
                <a:gd name="connsiteY575" fmla="*/ 826908 h 995706"/>
                <a:gd name="connsiteX576" fmla="*/ 130698 w 504788"/>
                <a:gd name="connsiteY576" fmla="*/ 829112 h 995706"/>
                <a:gd name="connsiteX577" fmla="*/ 129593 w 504788"/>
                <a:gd name="connsiteY577" fmla="*/ 830333 h 995706"/>
                <a:gd name="connsiteX578" fmla="*/ 126451 w 504788"/>
                <a:gd name="connsiteY578" fmla="*/ 831345 h 995706"/>
                <a:gd name="connsiteX579" fmla="*/ 122380 w 504788"/>
                <a:gd name="connsiteY579" fmla="*/ 833202 h 995706"/>
                <a:gd name="connsiteX580" fmla="*/ 117573 w 504788"/>
                <a:gd name="connsiteY580" fmla="*/ 836565 h 995706"/>
                <a:gd name="connsiteX581" fmla="*/ 114902 w 504788"/>
                <a:gd name="connsiteY581" fmla="*/ 840451 h 995706"/>
                <a:gd name="connsiteX582" fmla="*/ 113751 w 504788"/>
                <a:gd name="connsiteY582" fmla="*/ 843249 h 995706"/>
                <a:gd name="connsiteX583" fmla="*/ 112453 w 504788"/>
                <a:gd name="connsiteY583" fmla="*/ 848901 h 995706"/>
                <a:gd name="connsiteX584" fmla="*/ 112108 w 504788"/>
                <a:gd name="connsiteY584" fmla="*/ 852642 h 995706"/>
                <a:gd name="connsiteX585" fmla="*/ 110076 w 504788"/>
                <a:gd name="connsiteY585" fmla="*/ 855523 h 995706"/>
                <a:gd name="connsiteX586" fmla="*/ 106945 w 504788"/>
                <a:gd name="connsiteY586" fmla="*/ 858121 h 995706"/>
                <a:gd name="connsiteX587" fmla="*/ 107118 w 504788"/>
                <a:gd name="connsiteY587" fmla="*/ 858712 h 995706"/>
                <a:gd name="connsiteX588" fmla="*/ 109243 w 504788"/>
                <a:gd name="connsiteY588" fmla="*/ 857384 h 995706"/>
                <a:gd name="connsiteX589" fmla="*/ 110940 w 504788"/>
                <a:gd name="connsiteY589" fmla="*/ 856966 h 995706"/>
                <a:gd name="connsiteX590" fmla="*/ 112399 w 504788"/>
                <a:gd name="connsiteY590" fmla="*/ 860428 h 995706"/>
                <a:gd name="connsiteX591" fmla="*/ 114371 w 504788"/>
                <a:gd name="connsiteY591" fmla="*/ 867363 h 995706"/>
                <a:gd name="connsiteX592" fmla="*/ 115287 w 504788"/>
                <a:gd name="connsiteY592" fmla="*/ 872174 h 995706"/>
                <a:gd name="connsiteX593" fmla="*/ 115143 w 504788"/>
                <a:gd name="connsiteY593" fmla="*/ 873605 h 995706"/>
                <a:gd name="connsiteX594" fmla="*/ 114559 w 504788"/>
                <a:gd name="connsiteY594" fmla="*/ 875567 h 995706"/>
                <a:gd name="connsiteX595" fmla="*/ 110508 w 504788"/>
                <a:gd name="connsiteY595" fmla="*/ 876042 h 995706"/>
                <a:gd name="connsiteX596" fmla="*/ 106896 w 504788"/>
                <a:gd name="connsiteY596" fmla="*/ 875982 h 995706"/>
                <a:gd name="connsiteX597" fmla="*/ 104236 w 504788"/>
                <a:gd name="connsiteY597" fmla="*/ 876825 h 995706"/>
                <a:gd name="connsiteX598" fmla="*/ 105665 w 504788"/>
                <a:gd name="connsiteY598" fmla="*/ 877695 h 995706"/>
                <a:gd name="connsiteX599" fmla="*/ 108101 w 504788"/>
                <a:gd name="connsiteY599" fmla="*/ 877386 h 995706"/>
                <a:gd name="connsiteX600" fmla="*/ 111470 w 504788"/>
                <a:gd name="connsiteY600" fmla="*/ 879452 h 995706"/>
                <a:gd name="connsiteX601" fmla="*/ 115213 w 504788"/>
                <a:gd name="connsiteY601" fmla="*/ 878571 h 995706"/>
                <a:gd name="connsiteX602" fmla="*/ 116917 w 504788"/>
                <a:gd name="connsiteY602" fmla="*/ 879953 h 995706"/>
                <a:gd name="connsiteX603" fmla="*/ 118147 w 504788"/>
                <a:gd name="connsiteY603" fmla="*/ 881220 h 995706"/>
                <a:gd name="connsiteX604" fmla="*/ 123877 w 504788"/>
                <a:gd name="connsiteY604" fmla="*/ 891323 h 995706"/>
                <a:gd name="connsiteX605" fmla="*/ 128881 w 504788"/>
                <a:gd name="connsiteY605" fmla="*/ 897586 h 995706"/>
                <a:gd name="connsiteX606" fmla="*/ 131411 w 504788"/>
                <a:gd name="connsiteY606" fmla="*/ 901310 h 995706"/>
                <a:gd name="connsiteX607" fmla="*/ 130153 w 504788"/>
                <a:gd name="connsiteY607" fmla="*/ 902999 h 995706"/>
                <a:gd name="connsiteX608" fmla="*/ 129706 w 504788"/>
                <a:gd name="connsiteY608" fmla="*/ 900744 h 995706"/>
                <a:gd name="connsiteX609" fmla="*/ 126440 w 504788"/>
                <a:gd name="connsiteY609" fmla="*/ 900163 h 995706"/>
                <a:gd name="connsiteX610" fmla="*/ 123259 w 504788"/>
                <a:gd name="connsiteY610" fmla="*/ 899555 h 995706"/>
                <a:gd name="connsiteX611" fmla="*/ 117951 w 504788"/>
                <a:gd name="connsiteY611" fmla="*/ 897944 h 995706"/>
                <a:gd name="connsiteX612" fmla="*/ 110809 w 504788"/>
                <a:gd name="connsiteY612" fmla="*/ 895499 h 995706"/>
                <a:gd name="connsiteX613" fmla="*/ 103653 w 504788"/>
                <a:gd name="connsiteY613" fmla="*/ 895499 h 995706"/>
                <a:gd name="connsiteX614" fmla="*/ 97969 w 504788"/>
                <a:gd name="connsiteY614" fmla="*/ 893436 h 995706"/>
                <a:gd name="connsiteX615" fmla="*/ 91689 w 504788"/>
                <a:gd name="connsiteY615" fmla="*/ 891156 h 995706"/>
                <a:gd name="connsiteX616" fmla="*/ 78438 w 504788"/>
                <a:gd name="connsiteY616" fmla="*/ 890955 h 995706"/>
                <a:gd name="connsiteX617" fmla="*/ 66766 w 504788"/>
                <a:gd name="connsiteY617" fmla="*/ 890816 h 995706"/>
                <a:gd name="connsiteX618" fmla="*/ 54808 w 504788"/>
                <a:gd name="connsiteY618" fmla="*/ 890674 h 995706"/>
                <a:gd name="connsiteX619" fmla="*/ 47155 w 504788"/>
                <a:gd name="connsiteY619" fmla="*/ 890584 h 995706"/>
                <a:gd name="connsiteX620" fmla="*/ 42032 w 504788"/>
                <a:gd name="connsiteY620" fmla="*/ 890525 h 995706"/>
                <a:gd name="connsiteX621" fmla="*/ 40701 w 504788"/>
                <a:gd name="connsiteY621" fmla="*/ 889663 h 995706"/>
                <a:gd name="connsiteX622" fmla="*/ 41149 w 504788"/>
                <a:gd name="connsiteY622" fmla="*/ 886825 h 995706"/>
                <a:gd name="connsiteX623" fmla="*/ 39248 w 504788"/>
                <a:gd name="connsiteY623" fmla="*/ 884736 h 995706"/>
                <a:gd name="connsiteX624" fmla="*/ 36495 w 504788"/>
                <a:gd name="connsiteY624" fmla="*/ 882213 h 995706"/>
                <a:gd name="connsiteX625" fmla="*/ 33148 w 504788"/>
                <a:gd name="connsiteY625" fmla="*/ 880425 h 995706"/>
                <a:gd name="connsiteX626" fmla="*/ 31486 w 504788"/>
                <a:gd name="connsiteY626" fmla="*/ 878035 h 995706"/>
                <a:gd name="connsiteX627" fmla="*/ 29632 w 504788"/>
                <a:gd name="connsiteY627" fmla="*/ 875352 h 995706"/>
                <a:gd name="connsiteX628" fmla="*/ 30678 w 504788"/>
                <a:gd name="connsiteY628" fmla="*/ 872976 h 995706"/>
                <a:gd name="connsiteX629" fmla="*/ 32280 w 504788"/>
                <a:gd name="connsiteY629" fmla="*/ 867208 h 995706"/>
                <a:gd name="connsiteX630" fmla="*/ 32314 w 504788"/>
                <a:gd name="connsiteY630" fmla="*/ 864668 h 995706"/>
                <a:gd name="connsiteX631" fmla="*/ 30861 w 504788"/>
                <a:gd name="connsiteY631" fmla="*/ 862892 h 995706"/>
                <a:gd name="connsiteX632" fmla="*/ 30414 w 504788"/>
                <a:gd name="connsiteY632" fmla="*/ 860375 h 995706"/>
                <a:gd name="connsiteX633" fmla="*/ 30861 w 504788"/>
                <a:gd name="connsiteY633" fmla="*/ 859194 h 995706"/>
                <a:gd name="connsiteX634" fmla="*/ 32174 w 504788"/>
                <a:gd name="connsiteY634" fmla="*/ 858297 h 995706"/>
                <a:gd name="connsiteX635" fmla="*/ 32962 w 504788"/>
                <a:gd name="connsiteY635" fmla="*/ 854174 h 995706"/>
                <a:gd name="connsiteX636" fmla="*/ 32345 w 504788"/>
                <a:gd name="connsiteY636" fmla="*/ 850137 h 995706"/>
                <a:gd name="connsiteX637" fmla="*/ 31342 w 504788"/>
                <a:gd name="connsiteY637" fmla="*/ 846541 h 995706"/>
                <a:gd name="connsiteX638" fmla="*/ 30014 w 504788"/>
                <a:gd name="connsiteY638" fmla="*/ 844954 h 995706"/>
                <a:gd name="connsiteX639" fmla="*/ 28301 w 504788"/>
                <a:gd name="connsiteY639" fmla="*/ 844202 h 995706"/>
                <a:gd name="connsiteX640" fmla="*/ 27042 w 504788"/>
                <a:gd name="connsiteY640" fmla="*/ 844063 h 995706"/>
                <a:gd name="connsiteX641" fmla="*/ 24237 w 504788"/>
                <a:gd name="connsiteY641" fmla="*/ 845401 h 995706"/>
                <a:gd name="connsiteX642" fmla="*/ 19591 w 504788"/>
                <a:gd name="connsiteY642" fmla="*/ 845069 h 995706"/>
                <a:gd name="connsiteX643" fmla="*/ 18012 w 504788"/>
                <a:gd name="connsiteY643" fmla="*/ 845584 h 995706"/>
                <a:gd name="connsiteX644" fmla="*/ 15738 w 504788"/>
                <a:gd name="connsiteY644" fmla="*/ 847030 h 995706"/>
                <a:gd name="connsiteX645" fmla="*/ 12523 w 504788"/>
                <a:gd name="connsiteY645" fmla="*/ 849162 h 995706"/>
                <a:gd name="connsiteX646" fmla="*/ 10734 w 504788"/>
                <a:gd name="connsiteY646" fmla="*/ 848425 h 995706"/>
                <a:gd name="connsiteX647" fmla="*/ 10187 w 504788"/>
                <a:gd name="connsiteY647" fmla="*/ 846147 h 995706"/>
                <a:gd name="connsiteX648" fmla="*/ 8992 w 504788"/>
                <a:gd name="connsiteY648" fmla="*/ 844170 h 995706"/>
                <a:gd name="connsiteX649" fmla="*/ 8232 w 504788"/>
                <a:gd name="connsiteY649" fmla="*/ 842428 h 995706"/>
                <a:gd name="connsiteX650" fmla="*/ 7661 w 504788"/>
                <a:gd name="connsiteY650" fmla="*/ 839567 h 995706"/>
                <a:gd name="connsiteX651" fmla="*/ 6708 w 504788"/>
                <a:gd name="connsiteY651" fmla="*/ 835886 h 995706"/>
                <a:gd name="connsiteX652" fmla="*/ 4809 w 504788"/>
                <a:gd name="connsiteY652" fmla="*/ 831543 h 995706"/>
                <a:gd name="connsiteX653" fmla="*/ 1902 w 504788"/>
                <a:gd name="connsiteY653" fmla="*/ 828031 h 995706"/>
                <a:gd name="connsiteX654" fmla="*/ 1738 w 504788"/>
                <a:gd name="connsiteY654" fmla="*/ 824883 h 995706"/>
                <a:gd name="connsiteX655" fmla="*/ 1202 w 504788"/>
                <a:gd name="connsiteY655" fmla="*/ 820935 h 995706"/>
                <a:gd name="connsiteX656" fmla="*/ 2684 w 504788"/>
                <a:gd name="connsiteY656" fmla="*/ 817089 h 995706"/>
                <a:gd name="connsiteX657" fmla="*/ 1818 w 504788"/>
                <a:gd name="connsiteY657" fmla="*/ 813904 h 995706"/>
                <a:gd name="connsiteX658" fmla="*/ 0 w 504788"/>
                <a:gd name="connsiteY658" fmla="*/ 810109 h 995706"/>
                <a:gd name="connsiteX659" fmla="*/ 559 w 504788"/>
                <a:gd name="connsiteY659" fmla="*/ 806190 h 995706"/>
                <a:gd name="connsiteX660" fmla="*/ 2349 w 504788"/>
                <a:gd name="connsiteY660" fmla="*/ 804013 h 995706"/>
                <a:gd name="connsiteX661" fmla="*/ 2909 w 504788"/>
                <a:gd name="connsiteY661" fmla="*/ 801261 h 995706"/>
                <a:gd name="connsiteX662" fmla="*/ 11183 w 504788"/>
                <a:gd name="connsiteY662" fmla="*/ 800827 h 995706"/>
                <a:gd name="connsiteX663" fmla="*/ 10837 w 504788"/>
                <a:gd name="connsiteY663" fmla="*/ 797129 h 995706"/>
                <a:gd name="connsiteX664" fmla="*/ 12215 w 504788"/>
                <a:gd name="connsiteY664" fmla="*/ 794143 h 995706"/>
                <a:gd name="connsiteX665" fmla="*/ 13759 w 504788"/>
                <a:gd name="connsiteY665" fmla="*/ 791441 h 995706"/>
                <a:gd name="connsiteX666" fmla="*/ 15076 w 504788"/>
                <a:gd name="connsiteY666" fmla="*/ 790211 h 995706"/>
                <a:gd name="connsiteX667" fmla="*/ 18024 w 504788"/>
                <a:gd name="connsiteY667" fmla="*/ 789139 h 995706"/>
                <a:gd name="connsiteX668" fmla="*/ 21497 w 504788"/>
                <a:gd name="connsiteY668" fmla="*/ 787580 h 995706"/>
                <a:gd name="connsiteX669" fmla="*/ 23455 w 504788"/>
                <a:gd name="connsiteY669" fmla="*/ 785794 h 995706"/>
                <a:gd name="connsiteX670" fmla="*/ 24389 w 504788"/>
                <a:gd name="connsiteY670" fmla="*/ 784202 h 995706"/>
                <a:gd name="connsiteX671" fmla="*/ 24964 w 504788"/>
                <a:gd name="connsiteY671" fmla="*/ 782141 h 995706"/>
                <a:gd name="connsiteX672" fmla="*/ 25112 w 504788"/>
                <a:gd name="connsiteY672" fmla="*/ 779950 h 995706"/>
                <a:gd name="connsiteX673" fmla="*/ 24542 w 504788"/>
                <a:gd name="connsiteY673" fmla="*/ 775287 h 995706"/>
                <a:gd name="connsiteX674" fmla="*/ 25190 w 504788"/>
                <a:gd name="connsiteY674" fmla="*/ 773857 h 995706"/>
                <a:gd name="connsiteX675" fmla="*/ 27338 w 504788"/>
                <a:gd name="connsiteY675" fmla="*/ 771971 h 995706"/>
                <a:gd name="connsiteX676" fmla="*/ 30974 w 504788"/>
                <a:gd name="connsiteY676" fmla="*/ 770296 h 995706"/>
                <a:gd name="connsiteX677" fmla="*/ 32539 w 504788"/>
                <a:gd name="connsiteY677" fmla="*/ 765858 h 995706"/>
                <a:gd name="connsiteX678" fmla="*/ 31643 w 504788"/>
                <a:gd name="connsiteY678" fmla="*/ 761999 h 995706"/>
                <a:gd name="connsiteX679" fmla="*/ 29625 w 504788"/>
                <a:gd name="connsiteY679" fmla="*/ 758951 h 995706"/>
                <a:gd name="connsiteX680" fmla="*/ 27060 w 504788"/>
                <a:gd name="connsiteY680" fmla="*/ 757573 h 995706"/>
                <a:gd name="connsiteX681" fmla="*/ 26836 w 504788"/>
                <a:gd name="connsiteY681" fmla="*/ 754438 h 995706"/>
                <a:gd name="connsiteX682" fmla="*/ 27995 w 504788"/>
                <a:gd name="connsiteY682" fmla="*/ 751461 h 995706"/>
                <a:gd name="connsiteX683" fmla="*/ 29507 w 504788"/>
                <a:gd name="connsiteY683" fmla="*/ 748279 h 995706"/>
                <a:gd name="connsiteX684" fmla="*/ 31310 w 504788"/>
                <a:gd name="connsiteY684" fmla="*/ 744623 h 995706"/>
                <a:gd name="connsiteX685" fmla="*/ 31196 w 504788"/>
                <a:gd name="connsiteY685" fmla="*/ 742067 h 995706"/>
                <a:gd name="connsiteX686" fmla="*/ 32795 w 504788"/>
                <a:gd name="connsiteY686" fmla="*/ 740575 h 995706"/>
                <a:gd name="connsiteX687" fmla="*/ 37346 w 504788"/>
                <a:gd name="connsiteY687" fmla="*/ 737247 h 995706"/>
                <a:gd name="connsiteX688" fmla="*/ 38911 w 504788"/>
                <a:gd name="connsiteY688" fmla="*/ 733993 h 995706"/>
                <a:gd name="connsiteX689" fmla="*/ 40513 w 504788"/>
                <a:gd name="connsiteY689" fmla="*/ 733110 h 995706"/>
                <a:gd name="connsiteX690" fmla="*/ 42378 w 504788"/>
                <a:gd name="connsiteY690" fmla="*/ 732719 h 995706"/>
                <a:gd name="connsiteX691" fmla="*/ 42490 w 504788"/>
                <a:gd name="connsiteY691" fmla="*/ 730881 h 995706"/>
                <a:gd name="connsiteX692" fmla="*/ 41129 w 504788"/>
                <a:gd name="connsiteY692" fmla="*/ 729059 h 995706"/>
                <a:gd name="connsiteX693" fmla="*/ 40907 w 504788"/>
                <a:gd name="connsiteY693" fmla="*/ 726770 h 995706"/>
                <a:gd name="connsiteX694" fmla="*/ 41068 w 504788"/>
                <a:gd name="connsiteY694" fmla="*/ 724235 h 995706"/>
                <a:gd name="connsiteX695" fmla="*/ 41485 w 504788"/>
                <a:gd name="connsiteY695" fmla="*/ 720862 h 995706"/>
                <a:gd name="connsiteX696" fmla="*/ 43608 w 504788"/>
                <a:gd name="connsiteY696" fmla="*/ 719595 h 995706"/>
                <a:gd name="connsiteX697" fmla="*/ 46746 w 504788"/>
                <a:gd name="connsiteY697" fmla="*/ 716859 h 995706"/>
                <a:gd name="connsiteX698" fmla="*/ 47584 w 504788"/>
                <a:gd name="connsiteY698" fmla="*/ 715120 h 995706"/>
                <a:gd name="connsiteX699" fmla="*/ 47696 w 504788"/>
                <a:gd name="connsiteY699" fmla="*/ 712796 h 995706"/>
                <a:gd name="connsiteX700" fmla="*/ 46781 w 504788"/>
                <a:gd name="connsiteY700" fmla="*/ 708001 h 995706"/>
                <a:gd name="connsiteX701" fmla="*/ 46000 w 504788"/>
                <a:gd name="connsiteY701" fmla="*/ 704568 h 995706"/>
                <a:gd name="connsiteX702" fmla="*/ 45607 w 504788"/>
                <a:gd name="connsiteY702" fmla="*/ 703302 h 995706"/>
                <a:gd name="connsiteX703" fmla="*/ 44175 w 504788"/>
                <a:gd name="connsiteY703" fmla="*/ 700978 h 995706"/>
                <a:gd name="connsiteX704" fmla="*/ 43121 w 504788"/>
                <a:gd name="connsiteY704" fmla="*/ 699511 h 995706"/>
                <a:gd name="connsiteX705" fmla="*/ 44804 w 504788"/>
                <a:gd name="connsiteY705" fmla="*/ 697679 h 995706"/>
                <a:gd name="connsiteX706" fmla="*/ 47969 w 504788"/>
                <a:gd name="connsiteY706" fmla="*/ 695750 h 995706"/>
                <a:gd name="connsiteX707" fmla="*/ 49311 w 504788"/>
                <a:gd name="connsiteY707" fmla="*/ 692958 h 995706"/>
                <a:gd name="connsiteX708" fmla="*/ 48081 w 504788"/>
                <a:gd name="connsiteY708" fmla="*/ 690585 h 995706"/>
                <a:gd name="connsiteX709" fmla="*/ 46292 w 504788"/>
                <a:gd name="connsiteY709" fmla="*/ 689332 h 995706"/>
                <a:gd name="connsiteX710" fmla="*/ 45733 w 504788"/>
                <a:gd name="connsiteY710" fmla="*/ 685709 h 995706"/>
                <a:gd name="connsiteX711" fmla="*/ 46404 w 504788"/>
                <a:gd name="connsiteY711" fmla="*/ 681118 h 995706"/>
                <a:gd name="connsiteX712" fmla="*/ 47746 w 504788"/>
                <a:gd name="connsiteY712" fmla="*/ 679727 h 995706"/>
                <a:gd name="connsiteX713" fmla="*/ 52441 w 504788"/>
                <a:gd name="connsiteY713" fmla="*/ 679031 h 995706"/>
                <a:gd name="connsiteX714" fmla="*/ 52890 w 504788"/>
                <a:gd name="connsiteY714" fmla="*/ 676668 h 995706"/>
                <a:gd name="connsiteX715" fmla="*/ 56468 w 504788"/>
                <a:gd name="connsiteY715" fmla="*/ 673341 h 995706"/>
                <a:gd name="connsiteX716" fmla="*/ 56355 w 504788"/>
                <a:gd name="connsiteY716" fmla="*/ 670152 h 995706"/>
                <a:gd name="connsiteX717" fmla="*/ 54080 w 504788"/>
                <a:gd name="connsiteY717" fmla="*/ 668198 h 995706"/>
                <a:gd name="connsiteX718" fmla="*/ 51853 w 504788"/>
                <a:gd name="connsiteY718" fmla="*/ 665048 h 995706"/>
                <a:gd name="connsiteX719" fmla="*/ 50205 w 504788"/>
                <a:gd name="connsiteY719" fmla="*/ 662268 h 995706"/>
                <a:gd name="connsiteX720" fmla="*/ 44726 w 504788"/>
                <a:gd name="connsiteY720" fmla="*/ 660747 h 995706"/>
                <a:gd name="connsiteX721" fmla="*/ 38911 w 504788"/>
                <a:gd name="connsiteY721" fmla="*/ 659918 h 995706"/>
                <a:gd name="connsiteX722" fmla="*/ 38130 w 504788"/>
                <a:gd name="connsiteY722" fmla="*/ 657297 h 995706"/>
                <a:gd name="connsiteX723" fmla="*/ 38353 w 504788"/>
                <a:gd name="connsiteY723" fmla="*/ 655779 h 995706"/>
                <a:gd name="connsiteX724" fmla="*/ 41058 w 504788"/>
                <a:gd name="connsiteY724" fmla="*/ 656392 h 995706"/>
                <a:gd name="connsiteX725" fmla="*/ 45475 w 504788"/>
                <a:gd name="connsiteY725" fmla="*/ 655858 h 995706"/>
                <a:gd name="connsiteX726" fmla="*/ 48802 w 504788"/>
                <a:gd name="connsiteY726" fmla="*/ 655733 h 995706"/>
                <a:gd name="connsiteX727" fmla="*/ 51116 w 504788"/>
                <a:gd name="connsiteY727" fmla="*/ 655470 h 995706"/>
                <a:gd name="connsiteX728" fmla="*/ 53783 w 504788"/>
                <a:gd name="connsiteY728" fmla="*/ 655088 h 995706"/>
                <a:gd name="connsiteX729" fmla="*/ 56244 w 504788"/>
                <a:gd name="connsiteY729" fmla="*/ 656194 h 995706"/>
                <a:gd name="connsiteX730" fmla="*/ 58704 w 504788"/>
                <a:gd name="connsiteY730" fmla="*/ 655503 h 995706"/>
                <a:gd name="connsiteX731" fmla="*/ 59709 w 504788"/>
                <a:gd name="connsiteY731" fmla="*/ 651368 h 995706"/>
                <a:gd name="connsiteX732" fmla="*/ 61276 w 504788"/>
                <a:gd name="connsiteY732" fmla="*/ 649168 h 995706"/>
                <a:gd name="connsiteX733" fmla="*/ 61499 w 504788"/>
                <a:gd name="connsiteY733" fmla="*/ 647103 h 995706"/>
                <a:gd name="connsiteX734" fmla="*/ 59934 w 504788"/>
                <a:gd name="connsiteY734" fmla="*/ 645456 h 995706"/>
                <a:gd name="connsiteX735" fmla="*/ 57066 w 504788"/>
                <a:gd name="connsiteY735" fmla="*/ 644948 h 995706"/>
                <a:gd name="connsiteX736" fmla="*/ 44533 w 504788"/>
                <a:gd name="connsiteY736" fmla="*/ 643645 h 995706"/>
                <a:gd name="connsiteX737" fmla="*/ 44151 w 504788"/>
                <a:gd name="connsiteY737" fmla="*/ 641996 h 995706"/>
                <a:gd name="connsiteX738" fmla="*/ 44260 w 504788"/>
                <a:gd name="connsiteY738" fmla="*/ 639235 h 995706"/>
                <a:gd name="connsiteX739" fmla="*/ 44733 w 504788"/>
                <a:gd name="connsiteY739" fmla="*/ 636416 h 995706"/>
                <a:gd name="connsiteX740" fmla="*/ 44726 w 504788"/>
                <a:gd name="connsiteY740" fmla="*/ 635028 h 995706"/>
                <a:gd name="connsiteX741" fmla="*/ 45872 w 504788"/>
                <a:gd name="connsiteY741" fmla="*/ 633805 h 995706"/>
                <a:gd name="connsiteX742" fmla="*/ 47165 w 504788"/>
                <a:gd name="connsiteY742" fmla="*/ 631253 h 995706"/>
                <a:gd name="connsiteX743" fmla="*/ 48081 w 504788"/>
                <a:gd name="connsiteY743" fmla="*/ 629550 h 995706"/>
                <a:gd name="connsiteX744" fmla="*/ 47171 w 504788"/>
                <a:gd name="connsiteY744" fmla="*/ 627343 h 995706"/>
                <a:gd name="connsiteX745" fmla="*/ 45174 w 504788"/>
                <a:gd name="connsiteY745" fmla="*/ 624087 h 995706"/>
                <a:gd name="connsiteX746" fmla="*/ 46628 w 504788"/>
                <a:gd name="connsiteY746" fmla="*/ 622585 h 995706"/>
                <a:gd name="connsiteX747" fmla="*/ 46745 w 504788"/>
                <a:gd name="connsiteY747" fmla="*/ 620793 h 995706"/>
                <a:gd name="connsiteX748" fmla="*/ 46292 w 504788"/>
                <a:gd name="connsiteY748" fmla="*/ 619042 h 995706"/>
                <a:gd name="connsiteX749" fmla="*/ 44218 w 504788"/>
                <a:gd name="connsiteY749" fmla="*/ 617096 h 995706"/>
                <a:gd name="connsiteX750" fmla="*/ 42378 w 504788"/>
                <a:gd name="connsiteY750" fmla="*/ 614410 h 995706"/>
                <a:gd name="connsiteX751" fmla="*/ 42378 w 504788"/>
                <a:gd name="connsiteY751" fmla="*/ 611553 h 995706"/>
                <a:gd name="connsiteX752" fmla="*/ 44528 w 504788"/>
                <a:gd name="connsiteY752" fmla="*/ 610795 h 995706"/>
                <a:gd name="connsiteX753" fmla="*/ 45956 w 504788"/>
                <a:gd name="connsiteY753" fmla="*/ 609921 h 995706"/>
                <a:gd name="connsiteX754" fmla="*/ 46292 w 504788"/>
                <a:gd name="connsiteY754" fmla="*/ 608155 h 995706"/>
                <a:gd name="connsiteX755" fmla="*/ 45510 w 504788"/>
                <a:gd name="connsiteY755" fmla="*/ 605985 h 995706"/>
                <a:gd name="connsiteX756" fmla="*/ 42541 w 504788"/>
                <a:gd name="connsiteY756" fmla="*/ 605323 h 995706"/>
                <a:gd name="connsiteX757" fmla="*/ 38582 w 504788"/>
                <a:gd name="connsiteY757" fmla="*/ 603989 h 995706"/>
                <a:gd name="connsiteX758" fmla="*/ 37372 w 504788"/>
                <a:gd name="connsiteY758" fmla="*/ 602872 h 995706"/>
                <a:gd name="connsiteX759" fmla="*/ 36256 w 504788"/>
                <a:gd name="connsiteY759" fmla="*/ 600549 h 995706"/>
                <a:gd name="connsiteX760" fmla="*/ 37088 w 504788"/>
                <a:gd name="connsiteY760" fmla="*/ 594001 h 995706"/>
                <a:gd name="connsiteX761" fmla="*/ 36672 w 504788"/>
                <a:gd name="connsiteY761" fmla="*/ 590064 h 995706"/>
                <a:gd name="connsiteX762" fmla="*/ 36324 w 504788"/>
                <a:gd name="connsiteY762" fmla="*/ 587886 h 995706"/>
                <a:gd name="connsiteX763" fmla="*/ 37296 w 504788"/>
                <a:gd name="connsiteY763" fmla="*/ 586213 h 995706"/>
                <a:gd name="connsiteX764" fmla="*/ 38613 w 504788"/>
                <a:gd name="connsiteY764" fmla="*/ 584707 h 995706"/>
                <a:gd name="connsiteX765" fmla="*/ 37988 w 504788"/>
                <a:gd name="connsiteY765" fmla="*/ 581202 h 995706"/>
                <a:gd name="connsiteX766" fmla="*/ 36809 w 504788"/>
                <a:gd name="connsiteY766" fmla="*/ 579364 h 995706"/>
                <a:gd name="connsiteX767" fmla="*/ 37225 w 504788"/>
                <a:gd name="connsiteY767" fmla="*/ 577945 h 995706"/>
                <a:gd name="connsiteX768" fmla="*/ 38336 w 504788"/>
                <a:gd name="connsiteY768" fmla="*/ 576527 h 995706"/>
                <a:gd name="connsiteX769" fmla="*/ 39306 w 504788"/>
                <a:gd name="connsiteY769" fmla="*/ 574777 h 995706"/>
                <a:gd name="connsiteX770" fmla="*/ 40138 w 504788"/>
                <a:gd name="connsiteY770" fmla="*/ 574359 h 995706"/>
                <a:gd name="connsiteX771" fmla="*/ 41386 w 504788"/>
                <a:gd name="connsiteY771" fmla="*/ 575360 h 995706"/>
                <a:gd name="connsiteX772" fmla="*/ 43498 w 504788"/>
                <a:gd name="connsiteY772" fmla="*/ 574773 h 995706"/>
                <a:gd name="connsiteX773" fmla="*/ 46030 w 504788"/>
                <a:gd name="connsiteY773" fmla="*/ 573359 h 995706"/>
                <a:gd name="connsiteX774" fmla="*/ 46308 w 504788"/>
                <a:gd name="connsiteY774" fmla="*/ 571693 h 995706"/>
                <a:gd name="connsiteX775" fmla="*/ 45800 w 504788"/>
                <a:gd name="connsiteY775" fmla="*/ 569313 h 995706"/>
                <a:gd name="connsiteX776" fmla="*/ 43912 w 504788"/>
                <a:gd name="connsiteY776" fmla="*/ 563335 h 995706"/>
                <a:gd name="connsiteX777" fmla="*/ 42218 w 504788"/>
                <a:gd name="connsiteY777" fmla="*/ 559643 h 995706"/>
                <a:gd name="connsiteX778" fmla="*/ 42565 w 504788"/>
                <a:gd name="connsiteY778" fmla="*/ 558316 h 995706"/>
                <a:gd name="connsiteX779" fmla="*/ 43236 w 504788"/>
                <a:gd name="connsiteY779" fmla="*/ 556918 h 995706"/>
                <a:gd name="connsiteX780" fmla="*/ 42702 w 504788"/>
                <a:gd name="connsiteY780" fmla="*/ 551853 h 995706"/>
                <a:gd name="connsiteX781" fmla="*/ 42870 w 504788"/>
                <a:gd name="connsiteY781" fmla="*/ 548798 h 995706"/>
                <a:gd name="connsiteX782" fmla="*/ 42994 w 504788"/>
                <a:gd name="connsiteY782" fmla="*/ 539804 h 995706"/>
                <a:gd name="connsiteX783" fmla="*/ 43187 w 504788"/>
                <a:gd name="connsiteY783" fmla="*/ 536739 h 995706"/>
                <a:gd name="connsiteX784" fmla="*/ 41456 w 504788"/>
                <a:gd name="connsiteY784" fmla="*/ 533612 h 995706"/>
                <a:gd name="connsiteX785" fmla="*/ 41690 w 504788"/>
                <a:gd name="connsiteY785" fmla="*/ 530678 h 995706"/>
                <a:gd name="connsiteX786" fmla="*/ 42916 w 504788"/>
                <a:gd name="connsiteY786" fmla="*/ 528541 h 995706"/>
                <a:gd name="connsiteX787" fmla="*/ 44064 w 504788"/>
                <a:gd name="connsiteY787" fmla="*/ 525650 h 995706"/>
                <a:gd name="connsiteX788" fmla="*/ 44922 w 504788"/>
                <a:gd name="connsiteY788" fmla="*/ 523091 h 995706"/>
                <a:gd name="connsiteX789" fmla="*/ 45823 w 504788"/>
                <a:gd name="connsiteY789" fmla="*/ 521942 h 995706"/>
                <a:gd name="connsiteX790" fmla="*/ 47348 w 504788"/>
                <a:gd name="connsiteY790" fmla="*/ 521367 h 995706"/>
                <a:gd name="connsiteX791" fmla="*/ 47694 w 504788"/>
                <a:gd name="connsiteY791" fmla="*/ 519973 h 995706"/>
                <a:gd name="connsiteX792" fmla="*/ 47001 w 504788"/>
                <a:gd name="connsiteY792" fmla="*/ 518906 h 995706"/>
                <a:gd name="connsiteX793" fmla="*/ 45026 w 504788"/>
                <a:gd name="connsiteY793" fmla="*/ 517247 h 995706"/>
                <a:gd name="connsiteX794" fmla="*/ 44576 w 504788"/>
                <a:gd name="connsiteY794" fmla="*/ 515220 h 995706"/>
                <a:gd name="connsiteX795" fmla="*/ 44990 w 504788"/>
                <a:gd name="connsiteY795" fmla="*/ 513665 h 995706"/>
                <a:gd name="connsiteX796" fmla="*/ 45961 w 504788"/>
                <a:gd name="connsiteY796" fmla="*/ 512764 h 995706"/>
                <a:gd name="connsiteX797" fmla="*/ 47465 w 504788"/>
                <a:gd name="connsiteY797" fmla="*/ 512774 h 995706"/>
                <a:gd name="connsiteX798" fmla="*/ 48595 w 504788"/>
                <a:gd name="connsiteY798" fmla="*/ 510556 h 995706"/>
                <a:gd name="connsiteX799" fmla="*/ 48916 w 504788"/>
                <a:gd name="connsiteY799" fmla="*/ 507817 h 995706"/>
                <a:gd name="connsiteX800" fmla="*/ 49150 w 504788"/>
                <a:gd name="connsiteY800" fmla="*/ 506551 h 995706"/>
                <a:gd name="connsiteX801" fmla="*/ 48283 w 504788"/>
                <a:gd name="connsiteY801" fmla="*/ 504953 h 995706"/>
                <a:gd name="connsiteX802" fmla="*/ 47656 w 504788"/>
                <a:gd name="connsiteY802" fmla="*/ 501186 h 995706"/>
                <a:gd name="connsiteX803" fmla="*/ 47070 w 504788"/>
                <a:gd name="connsiteY803" fmla="*/ 499045 h 995706"/>
                <a:gd name="connsiteX804" fmla="*/ 47764 w 504788"/>
                <a:gd name="connsiteY804" fmla="*/ 498149 h 995706"/>
                <a:gd name="connsiteX805" fmla="*/ 48734 w 504788"/>
                <a:gd name="connsiteY805" fmla="*/ 497823 h 995706"/>
                <a:gd name="connsiteX806" fmla="*/ 50440 w 504788"/>
                <a:gd name="connsiteY806" fmla="*/ 498326 h 995706"/>
                <a:gd name="connsiteX807" fmla="*/ 51647 w 504788"/>
                <a:gd name="connsiteY807" fmla="*/ 498067 h 995706"/>
                <a:gd name="connsiteX808" fmla="*/ 51854 w 504788"/>
                <a:gd name="connsiteY808" fmla="*/ 496927 h 995706"/>
                <a:gd name="connsiteX809" fmla="*/ 51993 w 504788"/>
                <a:gd name="connsiteY809" fmla="*/ 495706 h 995706"/>
                <a:gd name="connsiteX810" fmla="*/ 52450 w 504788"/>
                <a:gd name="connsiteY810" fmla="*/ 494874 h 995706"/>
                <a:gd name="connsiteX811" fmla="*/ 53525 w 504788"/>
                <a:gd name="connsiteY811" fmla="*/ 492111 h 995706"/>
                <a:gd name="connsiteX812" fmla="*/ 54675 w 504788"/>
                <a:gd name="connsiteY812" fmla="*/ 488688 h 995706"/>
                <a:gd name="connsiteX813" fmla="*/ 54945 w 504788"/>
                <a:gd name="connsiteY813" fmla="*/ 486274 h 995706"/>
                <a:gd name="connsiteX814" fmla="*/ 54534 w 504788"/>
                <a:gd name="connsiteY814" fmla="*/ 479738 h 995706"/>
                <a:gd name="connsiteX815" fmla="*/ 55143 w 504788"/>
                <a:gd name="connsiteY815" fmla="*/ 478238 h 995706"/>
                <a:gd name="connsiteX816" fmla="*/ 56370 w 504788"/>
                <a:gd name="connsiteY816" fmla="*/ 476870 h 995706"/>
                <a:gd name="connsiteX817" fmla="*/ 58080 w 504788"/>
                <a:gd name="connsiteY817" fmla="*/ 475583 h 995706"/>
                <a:gd name="connsiteX818" fmla="*/ 60323 w 504788"/>
                <a:gd name="connsiteY818" fmla="*/ 474517 h 995706"/>
                <a:gd name="connsiteX819" fmla="*/ 63116 w 504788"/>
                <a:gd name="connsiteY819" fmla="*/ 472982 h 995706"/>
                <a:gd name="connsiteX820" fmla="*/ 66552 w 504788"/>
                <a:gd name="connsiteY820" fmla="*/ 472419 h 995706"/>
                <a:gd name="connsiteX821" fmla="*/ 67938 w 504788"/>
                <a:gd name="connsiteY821" fmla="*/ 470721 h 995706"/>
                <a:gd name="connsiteX822" fmla="*/ 68910 w 504788"/>
                <a:gd name="connsiteY822" fmla="*/ 468459 h 995706"/>
                <a:gd name="connsiteX823" fmla="*/ 69188 w 504788"/>
                <a:gd name="connsiteY823" fmla="*/ 466600 h 995706"/>
                <a:gd name="connsiteX824" fmla="*/ 67869 w 504788"/>
                <a:gd name="connsiteY824" fmla="*/ 465309 h 995706"/>
                <a:gd name="connsiteX825" fmla="*/ 66137 w 504788"/>
                <a:gd name="connsiteY825" fmla="*/ 463775 h 995706"/>
                <a:gd name="connsiteX826" fmla="*/ 65312 w 504788"/>
                <a:gd name="connsiteY826" fmla="*/ 459911 h 995706"/>
                <a:gd name="connsiteX827" fmla="*/ 64864 w 504788"/>
                <a:gd name="connsiteY827" fmla="*/ 456349 h 995706"/>
                <a:gd name="connsiteX828" fmla="*/ 64610 w 504788"/>
                <a:gd name="connsiteY828" fmla="*/ 451854 h 995706"/>
                <a:gd name="connsiteX829" fmla="*/ 62886 w 504788"/>
                <a:gd name="connsiteY829" fmla="*/ 447997 h 995706"/>
                <a:gd name="connsiteX830" fmla="*/ 61076 w 504788"/>
                <a:gd name="connsiteY830" fmla="*/ 443662 h 995706"/>
                <a:gd name="connsiteX831" fmla="*/ 60590 w 504788"/>
                <a:gd name="connsiteY831" fmla="*/ 439812 h 995706"/>
                <a:gd name="connsiteX832" fmla="*/ 61196 w 504788"/>
                <a:gd name="connsiteY832" fmla="*/ 437707 h 995706"/>
                <a:gd name="connsiteX833" fmla="*/ 61907 w 504788"/>
                <a:gd name="connsiteY833" fmla="*/ 434367 h 995706"/>
                <a:gd name="connsiteX834" fmla="*/ 61144 w 504788"/>
                <a:gd name="connsiteY834" fmla="*/ 432850 h 995706"/>
                <a:gd name="connsiteX835" fmla="*/ 60244 w 504788"/>
                <a:gd name="connsiteY835" fmla="*/ 430131 h 995706"/>
                <a:gd name="connsiteX836" fmla="*/ 61179 w 504788"/>
                <a:gd name="connsiteY836" fmla="*/ 428001 h 995706"/>
                <a:gd name="connsiteX837" fmla="*/ 62323 w 504788"/>
                <a:gd name="connsiteY837" fmla="*/ 424700 h 995706"/>
                <a:gd name="connsiteX838" fmla="*/ 62185 w 504788"/>
                <a:gd name="connsiteY838" fmla="*/ 423024 h 995706"/>
                <a:gd name="connsiteX839" fmla="*/ 61284 w 504788"/>
                <a:gd name="connsiteY839" fmla="*/ 419037 h 995706"/>
                <a:gd name="connsiteX840" fmla="*/ 60452 w 504788"/>
                <a:gd name="connsiteY840" fmla="*/ 416807 h 995706"/>
                <a:gd name="connsiteX841" fmla="*/ 61284 w 504788"/>
                <a:gd name="connsiteY841" fmla="*/ 414418 h 995706"/>
                <a:gd name="connsiteX842" fmla="*/ 62601 w 504788"/>
                <a:gd name="connsiteY842" fmla="*/ 412190 h 995706"/>
                <a:gd name="connsiteX843" fmla="*/ 63641 w 504788"/>
                <a:gd name="connsiteY843" fmla="*/ 410998 h 995706"/>
                <a:gd name="connsiteX844" fmla="*/ 63468 w 504788"/>
                <a:gd name="connsiteY844" fmla="*/ 409078 h 995706"/>
                <a:gd name="connsiteX845" fmla="*/ 63918 w 504788"/>
                <a:gd name="connsiteY845" fmla="*/ 407500 h 995706"/>
                <a:gd name="connsiteX846" fmla="*/ 65884 w 504788"/>
                <a:gd name="connsiteY846" fmla="*/ 406442 h 995706"/>
                <a:gd name="connsiteX847" fmla="*/ 67731 w 504788"/>
                <a:gd name="connsiteY847" fmla="*/ 404485 h 995706"/>
                <a:gd name="connsiteX848" fmla="*/ 69048 w 504788"/>
                <a:gd name="connsiteY848" fmla="*/ 404247 h 995706"/>
                <a:gd name="connsiteX849" fmla="*/ 70643 w 504788"/>
                <a:gd name="connsiteY849" fmla="*/ 404247 h 995706"/>
                <a:gd name="connsiteX850" fmla="*/ 71682 w 504788"/>
                <a:gd name="connsiteY850" fmla="*/ 403692 h 995706"/>
                <a:gd name="connsiteX851" fmla="*/ 72099 w 504788"/>
                <a:gd name="connsiteY851" fmla="*/ 402184 h 995706"/>
                <a:gd name="connsiteX852" fmla="*/ 72376 w 504788"/>
                <a:gd name="connsiteY852" fmla="*/ 400519 h 995706"/>
                <a:gd name="connsiteX853" fmla="*/ 74913 w 504788"/>
                <a:gd name="connsiteY853" fmla="*/ 398453 h 995706"/>
                <a:gd name="connsiteX854" fmla="*/ 76396 w 504788"/>
                <a:gd name="connsiteY854" fmla="*/ 396554 h 995706"/>
                <a:gd name="connsiteX855" fmla="*/ 79100 w 504788"/>
                <a:gd name="connsiteY855" fmla="*/ 396157 h 995706"/>
                <a:gd name="connsiteX856" fmla="*/ 80418 w 504788"/>
                <a:gd name="connsiteY856" fmla="*/ 394102 h 995706"/>
                <a:gd name="connsiteX857" fmla="*/ 80446 w 504788"/>
                <a:gd name="connsiteY857" fmla="*/ 391462 h 995706"/>
                <a:gd name="connsiteX858" fmla="*/ 80140 w 504788"/>
                <a:gd name="connsiteY858" fmla="*/ 388802 h 995706"/>
                <a:gd name="connsiteX859" fmla="*/ 81042 w 504788"/>
                <a:gd name="connsiteY859" fmla="*/ 385719 h 995706"/>
                <a:gd name="connsiteX860" fmla="*/ 80038 w 504788"/>
                <a:gd name="connsiteY860" fmla="*/ 381024 h 995706"/>
                <a:gd name="connsiteX861" fmla="*/ 80140 w 504788"/>
                <a:gd name="connsiteY861" fmla="*/ 378540 h 995706"/>
                <a:gd name="connsiteX862" fmla="*/ 79100 w 504788"/>
                <a:gd name="connsiteY862" fmla="*/ 376491 h 995706"/>
                <a:gd name="connsiteX863" fmla="*/ 79308 w 504788"/>
                <a:gd name="connsiteY863" fmla="*/ 374284 h 995706"/>
                <a:gd name="connsiteX864" fmla="*/ 78753 w 504788"/>
                <a:gd name="connsiteY864" fmla="*/ 372867 h 995706"/>
                <a:gd name="connsiteX865" fmla="*/ 77183 w 504788"/>
                <a:gd name="connsiteY865" fmla="*/ 372342 h 995706"/>
                <a:gd name="connsiteX866" fmla="*/ 76604 w 504788"/>
                <a:gd name="connsiteY866" fmla="*/ 370585 h 995706"/>
                <a:gd name="connsiteX867" fmla="*/ 77367 w 504788"/>
                <a:gd name="connsiteY867" fmla="*/ 369720 h 995706"/>
                <a:gd name="connsiteX868" fmla="*/ 78850 w 504788"/>
                <a:gd name="connsiteY868" fmla="*/ 369054 h 995706"/>
                <a:gd name="connsiteX869" fmla="*/ 80713 w 504788"/>
                <a:gd name="connsiteY869" fmla="*/ 367709 h 995706"/>
                <a:gd name="connsiteX870" fmla="*/ 82107 w 504788"/>
                <a:gd name="connsiteY870" fmla="*/ 361244 h 995706"/>
                <a:gd name="connsiteX871" fmla="*/ 82768 w 504788"/>
                <a:gd name="connsiteY871" fmla="*/ 359326 h 995706"/>
                <a:gd name="connsiteX872" fmla="*/ 83410 w 504788"/>
                <a:gd name="connsiteY872" fmla="*/ 357019 h 995706"/>
                <a:gd name="connsiteX873" fmla="*/ 83330 w 504788"/>
                <a:gd name="connsiteY873" fmla="*/ 355823 h 995706"/>
                <a:gd name="connsiteX874" fmla="*/ 84224 w 504788"/>
                <a:gd name="connsiteY874" fmla="*/ 354100 h 995706"/>
                <a:gd name="connsiteX875" fmla="*/ 85339 w 504788"/>
                <a:gd name="connsiteY875" fmla="*/ 351482 h 995706"/>
                <a:gd name="connsiteX876" fmla="*/ 87100 w 504788"/>
                <a:gd name="connsiteY876" fmla="*/ 348953 h 995706"/>
                <a:gd name="connsiteX877" fmla="*/ 88109 w 504788"/>
                <a:gd name="connsiteY877" fmla="*/ 347213 h 995706"/>
                <a:gd name="connsiteX878" fmla="*/ 89084 w 504788"/>
                <a:gd name="connsiteY878" fmla="*/ 344868 h 995706"/>
                <a:gd name="connsiteX879" fmla="*/ 89361 w 504788"/>
                <a:gd name="connsiteY879" fmla="*/ 343460 h 995706"/>
                <a:gd name="connsiteX880" fmla="*/ 90610 w 504788"/>
                <a:gd name="connsiteY880" fmla="*/ 342760 h 995706"/>
                <a:gd name="connsiteX881" fmla="*/ 92042 w 504788"/>
                <a:gd name="connsiteY881" fmla="*/ 342579 h 995706"/>
                <a:gd name="connsiteX882" fmla="*/ 93730 w 504788"/>
                <a:gd name="connsiteY882" fmla="*/ 342136 h 995706"/>
                <a:gd name="connsiteX883" fmla="*/ 94423 w 504788"/>
                <a:gd name="connsiteY883" fmla="*/ 341276 h 995706"/>
                <a:gd name="connsiteX884" fmla="*/ 94298 w 504788"/>
                <a:gd name="connsiteY884" fmla="*/ 340025 h 995706"/>
                <a:gd name="connsiteX885" fmla="*/ 94192 w 504788"/>
                <a:gd name="connsiteY885" fmla="*/ 337260 h 995706"/>
                <a:gd name="connsiteX886" fmla="*/ 93687 w 504788"/>
                <a:gd name="connsiteY886" fmla="*/ 332875 h 995706"/>
                <a:gd name="connsiteX887" fmla="*/ 93361 w 504788"/>
                <a:gd name="connsiteY887" fmla="*/ 327224 h 995706"/>
                <a:gd name="connsiteX888" fmla="*/ 93659 w 504788"/>
                <a:gd name="connsiteY888" fmla="*/ 323517 h 995706"/>
                <a:gd name="connsiteX889" fmla="*/ 94770 w 504788"/>
                <a:gd name="connsiteY889" fmla="*/ 319788 h 995706"/>
                <a:gd name="connsiteX890" fmla="*/ 95809 w 504788"/>
                <a:gd name="connsiteY890" fmla="*/ 317768 h 995706"/>
                <a:gd name="connsiteX891" fmla="*/ 95532 w 504788"/>
                <a:gd name="connsiteY891" fmla="*/ 316217 h 995706"/>
                <a:gd name="connsiteX892" fmla="*/ 95255 w 504788"/>
                <a:gd name="connsiteY892" fmla="*/ 314510 h 995706"/>
                <a:gd name="connsiteX893" fmla="*/ 93314 w 504788"/>
                <a:gd name="connsiteY893" fmla="*/ 313579 h 995706"/>
                <a:gd name="connsiteX894" fmla="*/ 91467 w 504788"/>
                <a:gd name="connsiteY894" fmla="*/ 314385 h 995706"/>
                <a:gd name="connsiteX895" fmla="*/ 90179 w 504788"/>
                <a:gd name="connsiteY895" fmla="*/ 314161 h 995706"/>
                <a:gd name="connsiteX896" fmla="*/ 88530 w 504788"/>
                <a:gd name="connsiteY896" fmla="*/ 312184 h 995706"/>
                <a:gd name="connsiteX897" fmla="*/ 88045 w 504788"/>
                <a:gd name="connsiteY897" fmla="*/ 310092 h 995706"/>
                <a:gd name="connsiteX898" fmla="*/ 88321 w 504788"/>
                <a:gd name="connsiteY898" fmla="*/ 307225 h 995706"/>
                <a:gd name="connsiteX899" fmla="*/ 89612 w 504788"/>
                <a:gd name="connsiteY899" fmla="*/ 305440 h 995706"/>
                <a:gd name="connsiteX900" fmla="*/ 90124 w 504788"/>
                <a:gd name="connsiteY900" fmla="*/ 303201 h 995706"/>
                <a:gd name="connsiteX901" fmla="*/ 89361 w 504788"/>
                <a:gd name="connsiteY901" fmla="*/ 302505 h 995706"/>
                <a:gd name="connsiteX902" fmla="*/ 87736 w 504788"/>
                <a:gd name="connsiteY902" fmla="*/ 301020 h 995706"/>
                <a:gd name="connsiteX903" fmla="*/ 86194 w 504788"/>
                <a:gd name="connsiteY903" fmla="*/ 295897 h 995706"/>
                <a:gd name="connsiteX904" fmla="*/ 86380 w 504788"/>
                <a:gd name="connsiteY904" fmla="*/ 291539 h 995706"/>
                <a:gd name="connsiteX905" fmla="*/ 84855 w 504788"/>
                <a:gd name="connsiteY905" fmla="*/ 290382 h 995706"/>
                <a:gd name="connsiteX906" fmla="*/ 84144 w 504788"/>
                <a:gd name="connsiteY906" fmla="*/ 286980 h 995706"/>
                <a:gd name="connsiteX907" fmla="*/ 82567 w 504788"/>
                <a:gd name="connsiteY907" fmla="*/ 285762 h 995706"/>
                <a:gd name="connsiteX908" fmla="*/ 81943 w 504788"/>
                <a:gd name="connsiteY908" fmla="*/ 283221 h 995706"/>
                <a:gd name="connsiteX909" fmla="*/ 81458 w 504788"/>
                <a:gd name="connsiteY909" fmla="*/ 280605 h 995706"/>
                <a:gd name="connsiteX910" fmla="*/ 81666 w 504788"/>
                <a:gd name="connsiteY910" fmla="*/ 279448 h 995706"/>
                <a:gd name="connsiteX911" fmla="*/ 83304 w 504788"/>
                <a:gd name="connsiteY911" fmla="*/ 279130 h 995706"/>
                <a:gd name="connsiteX912" fmla="*/ 84231 w 504788"/>
                <a:gd name="connsiteY912" fmla="*/ 277068 h 995706"/>
                <a:gd name="connsiteX913" fmla="*/ 83537 w 504788"/>
                <a:gd name="connsiteY913" fmla="*/ 275912 h 995706"/>
                <a:gd name="connsiteX914" fmla="*/ 82289 w 504788"/>
                <a:gd name="connsiteY914" fmla="*/ 274913 h 995706"/>
                <a:gd name="connsiteX915" fmla="*/ 80695 w 504788"/>
                <a:gd name="connsiteY915" fmla="*/ 274990 h 995706"/>
                <a:gd name="connsiteX916" fmla="*/ 79268 w 504788"/>
                <a:gd name="connsiteY916" fmla="*/ 273813 h 995706"/>
                <a:gd name="connsiteX917" fmla="*/ 77353 w 504788"/>
                <a:gd name="connsiteY917" fmla="*/ 268887 h 995706"/>
                <a:gd name="connsiteX918" fmla="*/ 75843 w 504788"/>
                <a:gd name="connsiteY918" fmla="*/ 266168 h 995706"/>
                <a:gd name="connsiteX919" fmla="*/ 76320 w 504788"/>
                <a:gd name="connsiteY919" fmla="*/ 262203 h 995706"/>
                <a:gd name="connsiteX920" fmla="*/ 76617 w 504788"/>
                <a:gd name="connsiteY920" fmla="*/ 259107 h 995706"/>
                <a:gd name="connsiteX921" fmla="*/ 77267 w 504788"/>
                <a:gd name="connsiteY921" fmla="*/ 256461 h 995706"/>
                <a:gd name="connsiteX922" fmla="*/ 77506 w 504788"/>
                <a:gd name="connsiteY922" fmla="*/ 254381 h 995706"/>
                <a:gd name="connsiteX923" fmla="*/ 78685 w 504788"/>
                <a:gd name="connsiteY923" fmla="*/ 253385 h 995706"/>
                <a:gd name="connsiteX924" fmla="*/ 79793 w 504788"/>
                <a:gd name="connsiteY924" fmla="*/ 253846 h 995706"/>
                <a:gd name="connsiteX925" fmla="*/ 80833 w 504788"/>
                <a:gd name="connsiteY925" fmla="*/ 253616 h 995706"/>
                <a:gd name="connsiteX926" fmla="*/ 81792 w 504788"/>
                <a:gd name="connsiteY926" fmla="*/ 251921 h 995706"/>
                <a:gd name="connsiteX927" fmla="*/ 82844 w 504788"/>
                <a:gd name="connsiteY927" fmla="*/ 250865 h 995706"/>
                <a:gd name="connsiteX928" fmla="*/ 82774 w 504788"/>
                <a:gd name="connsiteY928" fmla="*/ 250026 h 995706"/>
                <a:gd name="connsiteX929" fmla="*/ 82151 w 504788"/>
                <a:gd name="connsiteY929" fmla="*/ 249108 h 995706"/>
                <a:gd name="connsiteX930" fmla="*/ 81854 w 504788"/>
                <a:gd name="connsiteY930" fmla="*/ 247505 h 995706"/>
                <a:gd name="connsiteX931" fmla="*/ 82586 w 504788"/>
                <a:gd name="connsiteY931" fmla="*/ 245598 h 995706"/>
                <a:gd name="connsiteX932" fmla="*/ 83850 w 504788"/>
                <a:gd name="connsiteY932" fmla="*/ 241227 h 995706"/>
                <a:gd name="connsiteX933" fmla="*/ 85764 w 504788"/>
                <a:gd name="connsiteY933" fmla="*/ 236419 h 995706"/>
                <a:gd name="connsiteX934" fmla="*/ 86588 w 504788"/>
                <a:gd name="connsiteY934" fmla="*/ 234625 h 995706"/>
                <a:gd name="connsiteX935" fmla="*/ 86380 w 504788"/>
                <a:gd name="connsiteY935" fmla="*/ 233104 h 995706"/>
                <a:gd name="connsiteX936" fmla="*/ 86796 w 504788"/>
                <a:gd name="connsiteY936" fmla="*/ 232419 h 995706"/>
                <a:gd name="connsiteX937" fmla="*/ 88095 w 504788"/>
                <a:gd name="connsiteY937" fmla="*/ 233179 h 995706"/>
                <a:gd name="connsiteX938" fmla="*/ 91788 w 504788"/>
                <a:gd name="connsiteY938" fmla="*/ 232342 h 995706"/>
                <a:gd name="connsiteX939" fmla="*/ 93036 w 504788"/>
                <a:gd name="connsiteY939" fmla="*/ 230213 h 995706"/>
                <a:gd name="connsiteX940" fmla="*/ 93520 w 504788"/>
                <a:gd name="connsiteY940" fmla="*/ 228313 h 995706"/>
                <a:gd name="connsiteX941" fmla="*/ 94629 w 504788"/>
                <a:gd name="connsiteY941" fmla="*/ 227249 h 995706"/>
                <a:gd name="connsiteX942" fmla="*/ 94145 w 504788"/>
                <a:gd name="connsiteY942" fmla="*/ 225730 h 995706"/>
                <a:gd name="connsiteX943" fmla="*/ 92620 w 504788"/>
                <a:gd name="connsiteY943" fmla="*/ 225274 h 995706"/>
                <a:gd name="connsiteX944" fmla="*/ 91697 w 504788"/>
                <a:gd name="connsiteY944" fmla="*/ 224564 h 995706"/>
                <a:gd name="connsiteX945" fmla="*/ 92064 w 504788"/>
                <a:gd name="connsiteY945" fmla="*/ 222844 h 995706"/>
                <a:gd name="connsiteX946" fmla="*/ 92605 w 504788"/>
                <a:gd name="connsiteY946" fmla="*/ 218894 h 995706"/>
                <a:gd name="connsiteX947" fmla="*/ 92517 w 504788"/>
                <a:gd name="connsiteY947" fmla="*/ 215985 h 995706"/>
                <a:gd name="connsiteX948" fmla="*/ 91123 w 504788"/>
                <a:gd name="connsiteY948" fmla="*/ 209789 h 995706"/>
                <a:gd name="connsiteX949" fmla="*/ 90001 w 504788"/>
                <a:gd name="connsiteY949" fmla="*/ 203665 h 995706"/>
                <a:gd name="connsiteX950" fmla="*/ 90792 w 504788"/>
                <a:gd name="connsiteY950" fmla="*/ 201619 h 995706"/>
                <a:gd name="connsiteX951" fmla="*/ 93208 w 504788"/>
                <a:gd name="connsiteY951" fmla="*/ 198826 h 995706"/>
                <a:gd name="connsiteX952" fmla="*/ 95046 w 504788"/>
                <a:gd name="connsiteY952" fmla="*/ 197567 h 995706"/>
                <a:gd name="connsiteX953" fmla="*/ 95377 w 504788"/>
                <a:gd name="connsiteY953" fmla="*/ 195974 h 995706"/>
                <a:gd name="connsiteX954" fmla="*/ 97194 w 504788"/>
                <a:gd name="connsiteY954" fmla="*/ 188760 h 995706"/>
                <a:gd name="connsiteX955" fmla="*/ 97403 w 504788"/>
                <a:gd name="connsiteY955" fmla="*/ 184828 h 995706"/>
                <a:gd name="connsiteX956" fmla="*/ 98596 w 504788"/>
                <a:gd name="connsiteY956" fmla="*/ 182650 h 995706"/>
                <a:gd name="connsiteX957" fmla="*/ 99380 w 504788"/>
                <a:gd name="connsiteY957" fmla="*/ 178568 h 995706"/>
                <a:gd name="connsiteX958" fmla="*/ 102671 w 504788"/>
                <a:gd name="connsiteY958" fmla="*/ 175053 h 995706"/>
                <a:gd name="connsiteX959" fmla="*/ 103641 w 504788"/>
                <a:gd name="connsiteY959" fmla="*/ 172724 h 995706"/>
                <a:gd name="connsiteX960" fmla="*/ 104959 w 504788"/>
                <a:gd name="connsiteY960" fmla="*/ 172500 h 995706"/>
                <a:gd name="connsiteX961" fmla="*/ 105653 w 504788"/>
                <a:gd name="connsiteY961" fmla="*/ 171748 h 995706"/>
                <a:gd name="connsiteX962" fmla="*/ 107398 w 504788"/>
                <a:gd name="connsiteY962" fmla="*/ 169155 h 995706"/>
                <a:gd name="connsiteX963" fmla="*/ 109667 w 504788"/>
                <a:gd name="connsiteY963" fmla="*/ 166490 h 995706"/>
                <a:gd name="connsiteX964" fmla="*/ 111616 w 504788"/>
                <a:gd name="connsiteY964" fmla="*/ 165148 h 995706"/>
                <a:gd name="connsiteX965" fmla="*/ 112101 w 504788"/>
                <a:gd name="connsiteY965" fmla="*/ 163049 h 995706"/>
                <a:gd name="connsiteX966" fmla="*/ 113033 w 504788"/>
                <a:gd name="connsiteY966" fmla="*/ 160184 h 995706"/>
                <a:gd name="connsiteX967" fmla="*/ 114969 w 504788"/>
                <a:gd name="connsiteY967" fmla="*/ 155434 h 995706"/>
                <a:gd name="connsiteX968" fmla="*/ 116052 w 504788"/>
                <a:gd name="connsiteY968" fmla="*/ 152125 h 995706"/>
                <a:gd name="connsiteX969" fmla="*/ 117509 w 504788"/>
                <a:gd name="connsiteY969" fmla="*/ 150926 h 995706"/>
                <a:gd name="connsiteX970" fmla="*/ 119205 w 504788"/>
                <a:gd name="connsiteY970" fmla="*/ 146596 h 995706"/>
                <a:gd name="connsiteX971" fmla="*/ 119934 w 504788"/>
                <a:gd name="connsiteY971" fmla="*/ 144059 h 995706"/>
                <a:gd name="connsiteX972" fmla="*/ 121875 w 504788"/>
                <a:gd name="connsiteY972" fmla="*/ 143013 h 995706"/>
                <a:gd name="connsiteX973" fmla="*/ 123400 w 504788"/>
                <a:gd name="connsiteY973" fmla="*/ 142715 h 995706"/>
                <a:gd name="connsiteX974" fmla="*/ 124857 w 504788"/>
                <a:gd name="connsiteY974" fmla="*/ 143912 h 995706"/>
                <a:gd name="connsiteX975" fmla="*/ 126381 w 504788"/>
                <a:gd name="connsiteY975" fmla="*/ 143685 h 995706"/>
                <a:gd name="connsiteX976" fmla="*/ 127769 w 504788"/>
                <a:gd name="connsiteY976" fmla="*/ 142193 h 995706"/>
                <a:gd name="connsiteX977" fmla="*/ 131116 w 504788"/>
                <a:gd name="connsiteY977" fmla="*/ 141177 h 995706"/>
                <a:gd name="connsiteX978" fmla="*/ 132622 w 504788"/>
                <a:gd name="connsiteY978" fmla="*/ 140627 h 995706"/>
                <a:gd name="connsiteX979" fmla="*/ 133315 w 504788"/>
                <a:gd name="connsiteY979" fmla="*/ 139135 h 995706"/>
                <a:gd name="connsiteX980" fmla="*/ 133315 w 504788"/>
                <a:gd name="connsiteY980" fmla="*/ 136526 h 995706"/>
                <a:gd name="connsiteX981" fmla="*/ 131928 w 504788"/>
                <a:gd name="connsiteY981" fmla="*/ 134589 h 995706"/>
                <a:gd name="connsiteX982" fmla="*/ 129094 w 504788"/>
                <a:gd name="connsiteY982" fmla="*/ 130882 h 995706"/>
                <a:gd name="connsiteX983" fmla="*/ 126659 w 504788"/>
                <a:gd name="connsiteY983" fmla="*/ 126747 h 995706"/>
                <a:gd name="connsiteX984" fmla="*/ 126394 w 504788"/>
                <a:gd name="connsiteY984" fmla="*/ 125443 h 995706"/>
                <a:gd name="connsiteX985" fmla="*/ 126379 w 504788"/>
                <a:gd name="connsiteY985" fmla="*/ 124020 h 995706"/>
                <a:gd name="connsiteX986" fmla="*/ 126795 w 504788"/>
                <a:gd name="connsiteY986" fmla="*/ 122223 h 995706"/>
                <a:gd name="connsiteX987" fmla="*/ 127960 w 504788"/>
                <a:gd name="connsiteY987" fmla="*/ 120185 h 995706"/>
                <a:gd name="connsiteX988" fmla="*/ 130884 w 504788"/>
                <a:gd name="connsiteY988" fmla="*/ 116838 h 995706"/>
                <a:gd name="connsiteX989" fmla="*/ 130574 w 504788"/>
                <a:gd name="connsiteY989" fmla="*/ 114442 h 995706"/>
                <a:gd name="connsiteX990" fmla="*/ 128442 w 504788"/>
                <a:gd name="connsiteY990" fmla="*/ 105647 h 995706"/>
                <a:gd name="connsiteX991" fmla="*/ 127654 w 504788"/>
                <a:gd name="connsiteY991" fmla="*/ 103224 h 995706"/>
                <a:gd name="connsiteX992" fmla="*/ 126174 w 504788"/>
                <a:gd name="connsiteY992" fmla="*/ 98735 h 995706"/>
                <a:gd name="connsiteX993" fmla="*/ 126381 w 504788"/>
                <a:gd name="connsiteY993" fmla="*/ 96959 h 995706"/>
                <a:gd name="connsiteX994" fmla="*/ 127682 w 504788"/>
                <a:gd name="connsiteY994" fmla="*/ 92006 h 995706"/>
                <a:gd name="connsiteX995" fmla="*/ 128809 w 504788"/>
                <a:gd name="connsiteY995" fmla="*/ 90014 h 995706"/>
                <a:gd name="connsiteX996" fmla="*/ 130474 w 504788"/>
                <a:gd name="connsiteY996" fmla="*/ 89645 h 995706"/>
                <a:gd name="connsiteX997" fmla="*/ 131373 w 504788"/>
                <a:gd name="connsiteY997" fmla="*/ 88979 h 995706"/>
                <a:gd name="connsiteX998" fmla="*/ 131652 w 504788"/>
                <a:gd name="connsiteY998" fmla="*/ 88094 h 995706"/>
                <a:gd name="connsiteX999" fmla="*/ 130542 w 504788"/>
                <a:gd name="connsiteY999" fmla="*/ 86989 h 995706"/>
                <a:gd name="connsiteX1000" fmla="*/ 130058 w 504788"/>
                <a:gd name="connsiteY1000" fmla="*/ 85585 h 995706"/>
                <a:gd name="connsiteX1001" fmla="*/ 129570 w 504788"/>
                <a:gd name="connsiteY1001" fmla="*/ 83596 h 995706"/>
                <a:gd name="connsiteX1002" fmla="*/ 128030 w 504788"/>
                <a:gd name="connsiteY1002" fmla="*/ 82895 h 995706"/>
                <a:gd name="connsiteX1003" fmla="*/ 127144 w 504788"/>
                <a:gd name="connsiteY1003" fmla="*/ 81236 h 995706"/>
                <a:gd name="connsiteX1004" fmla="*/ 127144 w 504788"/>
                <a:gd name="connsiteY1004" fmla="*/ 78801 h 995706"/>
                <a:gd name="connsiteX1005" fmla="*/ 128533 w 504788"/>
                <a:gd name="connsiteY1005" fmla="*/ 75634 h 995706"/>
                <a:gd name="connsiteX1006" fmla="*/ 130058 w 504788"/>
                <a:gd name="connsiteY1006" fmla="*/ 74750 h 995706"/>
                <a:gd name="connsiteX1007" fmla="*/ 130680 w 504788"/>
                <a:gd name="connsiteY1007" fmla="*/ 73353 h 995706"/>
                <a:gd name="connsiteX1008" fmla="*/ 132314 w 504788"/>
                <a:gd name="connsiteY1008" fmla="*/ 72065 h 995706"/>
                <a:gd name="connsiteX1009" fmla="*/ 133801 w 504788"/>
                <a:gd name="connsiteY1009" fmla="*/ 71071 h 995706"/>
                <a:gd name="connsiteX1010" fmla="*/ 135048 w 504788"/>
                <a:gd name="connsiteY1010" fmla="*/ 69233 h 995706"/>
                <a:gd name="connsiteX1011" fmla="*/ 140193 w 504788"/>
                <a:gd name="connsiteY1011" fmla="*/ 66982 h 995706"/>
                <a:gd name="connsiteX1012" fmla="*/ 144279 w 504788"/>
                <a:gd name="connsiteY1012" fmla="*/ 65235 h 995706"/>
                <a:gd name="connsiteX1013" fmla="*/ 152252 w 504788"/>
                <a:gd name="connsiteY1013" fmla="*/ 61892 h 995706"/>
                <a:gd name="connsiteX1014" fmla="*/ 157719 w 504788"/>
                <a:gd name="connsiteY1014" fmla="*/ 59605 h 995706"/>
                <a:gd name="connsiteX1015" fmla="*/ 158242 w 504788"/>
                <a:gd name="connsiteY1015" fmla="*/ 58020 h 995706"/>
                <a:gd name="connsiteX1016" fmla="*/ 158659 w 504788"/>
                <a:gd name="connsiteY1016" fmla="*/ 56944 h 995706"/>
                <a:gd name="connsiteX1017" fmla="*/ 161194 w 504788"/>
                <a:gd name="connsiteY1017" fmla="*/ 48879 h 995706"/>
                <a:gd name="connsiteX1018" fmla="*/ 164475 w 504788"/>
                <a:gd name="connsiteY1018" fmla="*/ 38465 h 995706"/>
                <a:gd name="connsiteX1019" fmla="*/ 166528 w 504788"/>
                <a:gd name="connsiteY1019" fmla="*/ 31948 h 995706"/>
                <a:gd name="connsiteX1020" fmla="*/ 161810 w 504788"/>
                <a:gd name="connsiteY1020" fmla="*/ 27148 h 995706"/>
                <a:gd name="connsiteX1021" fmla="*/ 162645 w 504788"/>
                <a:gd name="connsiteY1021" fmla="*/ 25871 h 995706"/>
                <a:gd name="connsiteX1022" fmla="*/ 165346 w 504788"/>
                <a:gd name="connsiteY1022" fmla="*/ 22590 h 995706"/>
                <a:gd name="connsiteX1023" fmla="*/ 165901 w 504788"/>
                <a:gd name="connsiteY1023" fmla="*/ 19960 h 995706"/>
                <a:gd name="connsiteX1024" fmla="*/ 166976 w 504788"/>
                <a:gd name="connsiteY1024" fmla="*/ 18829 h 995706"/>
                <a:gd name="connsiteX1025" fmla="*/ 171814 w 504788"/>
                <a:gd name="connsiteY1025" fmla="*/ 16158 h 995706"/>
                <a:gd name="connsiteX1026" fmla="*/ 172647 w 504788"/>
                <a:gd name="connsiteY1026" fmla="*/ 14383 h 995706"/>
                <a:gd name="connsiteX1027" fmla="*/ 173074 w 504788"/>
                <a:gd name="connsiteY1027" fmla="*/ 12419 h 995706"/>
                <a:gd name="connsiteX1028" fmla="*/ 174061 w 504788"/>
                <a:gd name="connsiteY1028" fmla="*/ 11007 h 995706"/>
                <a:gd name="connsiteX1029" fmla="*/ 175905 w 504788"/>
                <a:gd name="connsiteY1029" fmla="*/ 10716 h 995706"/>
                <a:gd name="connsiteX1030" fmla="*/ 179252 w 504788"/>
                <a:gd name="connsiteY1030" fmla="*/ 9465 h 995706"/>
                <a:gd name="connsiteX1031" fmla="*/ 182848 w 504788"/>
                <a:gd name="connsiteY1031" fmla="*/ 8278 h 995706"/>
                <a:gd name="connsiteX1032" fmla="*/ 183930 w 504788"/>
                <a:gd name="connsiteY1032" fmla="*/ 6663 h 995706"/>
                <a:gd name="connsiteX1033" fmla="*/ 184953 w 504788"/>
                <a:gd name="connsiteY1033" fmla="*/ 3853 h 995706"/>
                <a:gd name="connsiteX1034" fmla="*/ 185829 w 504788"/>
                <a:gd name="connsiteY1034" fmla="*/ 742 h 995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</a:cxnLst>
              <a:rect l="l" t="t" r="r" b="b"/>
              <a:pathLst>
                <a:path w="504788" h="995706">
                  <a:moveTo>
                    <a:pt x="228894" y="984590"/>
                  </a:moveTo>
                  <a:lnTo>
                    <a:pt x="231694" y="985403"/>
                  </a:lnTo>
                  <a:lnTo>
                    <a:pt x="237229" y="984792"/>
                  </a:lnTo>
                  <a:lnTo>
                    <a:pt x="240150" y="984782"/>
                  </a:lnTo>
                  <a:lnTo>
                    <a:pt x="241427" y="985070"/>
                  </a:lnTo>
                  <a:lnTo>
                    <a:pt x="241998" y="985509"/>
                  </a:lnTo>
                  <a:lnTo>
                    <a:pt x="245814" y="984826"/>
                  </a:lnTo>
                  <a:lnTo>
                    <a:pt x="247500" y="984902"/>
                  </a:lnTo>
                  <a:lnTo>
                    <a:pt x="247065" y="986408"/>
                  </a:lnTo>
                  <a:lnTo>
                    <a:pt x="243550" y="987908"/>
                  </a:lnTo>
                  <a:lnTo>
                    <a:pt x="242102" y="987272"/>
                  </a:lnTo>
                  <a:lnTo>
                    <a:pt x="234633" y="987410"/>
                  </a:lnTo>
                  <a:lnTo>
                    <a:pt x="231327" y="988951"/>
                  </a:lnTo>
                  <a:lnTo>
                    <a:pt x="229922" y="988938"/>
                  </a:lnTo>
                  <a:lnTo>
                    <a:pt x="226660" y="991141"/>
                  </a:lnTo>
                  <a:lnTo>
                    <a:pt x="224273" y="989749"/>
                  </a:lnTo>
                  <a:lnTo>
                    <a:pt x="223617" y="988467"/>
                  </a:lnTo>
                  <a:lnTo>
                    <a:pt x="225344" y="986644"/>
                  </a:lnTo>
                  <a:lnTo>
                    <a:pt x="226970" y="986607"/>
                  </a:lnTo>
                  <a:lnTo>
                    <a:pt x="228079" y="985872"/>
                  </a:lnTo>
                  <a:close/>
                  <a:moveTo>
                    <a:pt x="125422" y="913099"/>
                  </a:moveTo>
                  <a:lnTo>
                    <a:pt x="126911" y="914545"/>
                  </a:lnTo>
                  <a:lnTo>
                    <a:pt x="132806" y="921572"/>
                  </a:lnTo>
                  <a:lnTo>
                    <a:pt x="134341" y="924451"/>
                  </a:lnTo>
                  <a:lnTo>
                    <a:pt x="135307" y="927812"/>
                  </a:lnTo>
                  <a:lnTo>
                    <a:pt x="132951" y="925674"/>
                  </a:lnTo>
                  <a:lnTo>
                    <a:pt x="130463" y="926899"/>
                  </a:lnTo>
                  <a:lnTo>
                    <a:pt x="129237" y="928909"/>
                  </a:lnTo>
                  <a:lnTo>
                    <a:pt x="128189" y="931093"/>
                  </a:lnTo>
                  <a:lnTo>
                    <a:pt x="128197" y="932629"/>
                  </a:lnTo>
                  <a:lnTo>
                    <a:pt x="129008" y="933975"/>
                  </a:lnTo>
                  <a:lnTo>
                    <a:pt x="131427" y="935146"/>
                  </a:lnTo>
                  <a:lnTo>
                    <a:pt x="137309" y="935543"/>
                  </a:lnTo>
                  <a:lnTo>
                    <a:pt x="137741" y="935977"/>
                  </a:lnTo>
                  <a:lnTo>
                    <a:pt x="141179" y="944439"/>
                  </a:lnTo>
                  <a:lnTo>
                    <a:pt x="142909" y="946330"/>
                  </a:lnTo>
                  <a:lnTo>
                    <a:pt x="144917" y="947834"/>
                  </a:lnTo>
                  <a:lnTo>
                    <a:pt x="149557" y="952164"/>
                  </a:lnTo>
                  <a:lnTo>
                    <a:pt x="154007" y="956846"/>
                  </a:lnTo>
                  <a:lnTo>
                    <a:pt x="159290" y="961291"/>
                  </a:lnTo>
                  <a:lnTo>
                    <a:pt x="164990" y="964714"/>
                  </a:lnTo>
                  <a:lnTo>
                    <a:pt x="170172" y="967311"/>
                  </a:lnTo>
                  <a:lnTo>
                    <a:pt x="175117" y="970489"/>
                  </a:lnTo>
                  <a:lnTo>
                    <a:pt x="180392" y="974944"/>
                  </a:lnTo>
                  <a:lnTo>
                    <a:pt x="186133" y="978181"/>
                  </a:lnTo>
                  <a:lnTo>
                    <a:pt x="192297" y="980474"/>
                  </a:lnTo>
                  <a:lnTo>
                    <a:pt x="198521" y="982385"/>
                  </a:lnTo>
                  <a:lnTo>
                    <a:pt x="208101" y="981638"/>
                  </a:lnTo>
                  <a:lnTo>
                    <a:pt x="211076" y="981847"/>
                  </a:lnTo>
                  <a:lnTo>
                    <a:pt x="212926" y="983253"/>
                  </a:lnTo>
                  <a:lnTo>
                    <a:pt x="211066" y="987142"/>
                  </a:lnTo>
                  <a:lnTo>
                    <a:pt x="208691" y="990274"/>
                  </a:lnTo>
                  <a:lnTo>
                    <a:pt x="205518" y="991566"/>
                  </a:lnTo>
                  <a:lnTo>
                    <a:pt x="202166" y="992041"/>
                  </a:lnTo>
                  <a:lnTo>
                    <a:pt x="199138" y="991979"/>
                  </a:lnTo>
                  <a:lnTo>
                    <a:pt x="196115" y="991401"/>
                  </a:lnTo>
                  <a:lnTo>
                    <a:pt x="193280" y="991732"/>
                  </a:lnTo>
                  <a:lnTo>
                    <a:pt x="190571" y="993049"/>
                  </a:lnTo>
                  <a:lnTo>
                    <a:pt x="187746" y="993703"/>
                  </a:lnTo>
                  <a:lnTo>
                    <a:pt x="184837" y="993789"/>
                  </a:lnTo>
                  <a:lnTo>
                    <a:pt x="181999" y="994905"/>
                  </a:lnTo>
                  <a:lnTo>
                    <a:pt x="179147" y="995706"/>
                  </a:lnTo>
                  <a:lnTo>
                    <a:pt x="176192" y="995042"/>
                  </a:lnTo>
                  <a:lnTo>
                    <a:pt x="168515" y="991928"/>
                  </a:lnTo>
                  <a:lnTo>
                    <a:pt x="163529" y="991186"/>
                  </a:lnTo>
                  <a:lnTo>
                    <a:pt x="146637" y="989947"/>
                  </a:lnTo>
                  <a:lnTo>
                    <a:pt x="141215" y="989236"/>
                  </a:lnTo>
                  <a:lnTo>
                    <a:pt x="135813" y="988152"/>
                  </a:lnTo>
                  <a:lnTo>
                    <a:pt x="132984" y="988107"/>
                  </a:lnTo>
                  <a:lnTo>
                    <a:pt x="128945" y="988807"/>
                  </a:lnTo>
                  <a:lnTo>
                    <a:pt x="125708" y="988721"/>
                  </a:lnTo>
                  <a:lnTo>
                    <a:pt x="124831" y="989419"/>
                  </a:lnTo>
                  <a:lnTo>
                    <a:pt x="124977" y="981488"/>
                  </a:lnTo>
                  <a:lnTo>
                    <a:pt x="125172" y="970853"/>
                  </a:lnTo>
                  <a:lnTo>
                    <a:pt x="125212" y="961400"/>
                  </a:lnTo>
                  <a:lnTo>
                    <a:pt x="125251" y="952225"/>
                  </a:lnTo>
                  <a:lnTo>
                    <a:pt x="125292" y="942757"/>
                  </a:lnTo>
                  <a:lnTo>
                    <a:pt x="125334" y="933319"/>
                  </a:lnTo>
                  <a:lnTo>
                    <a:pt x="125377" y="923267"/>
                  </a:lnTo>
                  <a:close/>
                  <a:moveTo>
                    <a:pt x="291174" y="482721"/>
                  </a:moveTo>
                  <a:lnTo>
                    <a:pt x="294379" y="483491"/>
                  </a:lnTo>
                  <a:lnTo>
                    <a:pt x="295889" y="484186"/>
                  </a:lnTo>
                  <a:lnTo>
                    <a:pt x="296683" y="485262"/>
                  </a:lnTo>
                  <a:lnTo>
                    <a:pt x="296932" y="487133"/>
                  </a:lnTo>
                  <a:lnTo>
                    <a:pt x="295612" y="486912"/>
                  </a:lnTo>
                  <a:lnTo>
                    <a:pt x="292478" y="485114"/>
                  </a:lnTo>
                  <a:lnTo>
                    <a:pt x="291421" y="483431"/>
                  </a:lnTo>
                  <a:close/>
                  <a:moveTo>
                    <a:pt x="186524" y="0"/>
                  </a:moveTo>
                  <a:lnTo>
                    <a:pt x="187679" y="82"/>
                  </a:lnTo>
                  <a:lnTo>
                    <a:pt x="189608" y="864"/>
                  </a:lnTo>
                  <a:lnTo>
                    <a:pt x="190622" y="2045"/>
                  </a:lnTo>
                  <a:lnTo>
                    <a:pt x="195653" y="5775"/>
                  </a:lnTo>
                  <a:lnTo>
                    <a:pt x="197914" y="7901"/>
                  </a:lnTo>
                  <a:lnTo>
                    <a:pt x="200065" y="8184"/>
                  </a:lnTo>
                  <a:lnTo>
                    <a:pt x="204309" y="7765"/>
                  </a:lnTo>
                  <a:lnTo>
                    <a:pt x="205169" y="7862"/>
                  </a:lnTo>
                  <a:lnTo>
                    <a:pt x="215997" y="7983"/>
                  </a:lnTo>
                  <a:lnTo>
                    <a:pt x="217651" y="8168"/>
                  </a:lnTo>
                  <a:lnTo>
                    <a:pt x="221443" y="9081"/>
                  </a:lnTo>
                  <a:lnTo>
                    <a:pt x="223584" y="9809"/>
                  </a:lnTo>
                  <a:lnTo>
                    <a:pt x="225068" y="10188"/>
                  </a:lnTo>
                  <a:lnTo>
                    <a:pt x="227467" y="11340"/>
                  </a:lnTo>
                  <a:lnTo>
                    <a:pt x="229542" y="15143"/>
                  </a:lnTo>
                  <a:lnTo>
                    <a:pt x="230706" y="18175"/>
                  </a:lnTo>
                  <a:lnTo>
                    <a:pt x="231524" y="20841"/>
                  </a:lnTo>
                  <a:lnTo>
                    <a:pt x="233337" y="25529"/>
                  </a:lnTo>
                  <a:lnTo>
                    <a:pt x="234572" y="27308"/>
                  </a:lnTo>
                  <a:lnTo>
                    <a:pt x="235012" y="26444"/>
                  </a:lnTo>
                  <a:lnTo>
                    <a:pt x="236065" y="21322"/>
                  </a:lnTo>
                  <a:lnTo>
                    <a:pt x="237519" y="18335"/>
                  </a:lnTo>
                  <a:lnTo>
                    <a:pt x="239478" y="14990"/>
                  </a:lnTo>
                  <a:lnTo>
                    <a:pt x="243426" y="7181"/>
                  </a:lnTo>
                  <a:lnTo>
                    <a:pt x="244806" y="6011"/>
                  </a:lnTo>
                  <a:lnTo>
                    <a:pt x="246344" y="5442"/>
                  </a:lnTo>
                  <a:lnTo>
                    <a:pt x="247419" y="5396"/>
                  </a:lnTo>
                  <a:lnTo>
                    <a:pt x="248510" y="5975"/>
                  </a:lnTo>
                  <a:lnTo>
                    <a:pt x="249998" y="5983"/>
                  </a:lnTo>
                  <a:lnTo>
                    <a:pt x="251053" y="5364"/>
                  </a:lnTo>
                  <a:lnTo>
                    <a:pt x="261402" y="5265"/>
                  </a:lnTo>
                  <a:lnTo>
                    <a:pt x="272149" y="5177"/>
                  </a:lnTo>
                  <a:lnTo>
                    <a:pt x="272378" y="5226"/>
                  </a:lnTo>
                  <a:lnTo>
                    <a:pt x="272865" y="6570"/>
                  </a:lnTo>
                  <a:lnTo>
                    <a:pt x="274653" y="9504"/>
                  </a:lnTo>
                  <a:lnTo>
                    <a:pt x="276663" y="11051"/>
                  </a:lnTo>
                  <a:lnTo>
                    <a:pt x="277027" y="11470"/>
                  </a:lnTo>
                  <a:lnTo>
                    <a:pt x="277668" y="12211"/>
                  </a:lnTo>
                  <a:lnTo>
                    <a:pt x="277660" y="12981"/>
                  </a:lnTo>
                  <a:lnTo>
                    <a:pt x="279801" y="14557"/>
                  </a:lnTo>
                  <a:lnTo>
                    <a:pt x="284087" y="16944"/>
                  </a:lnTo>
                  <a:lnTo>
                    <a:pt x="288103" y="21564"/>
                  </a:lnTo>
                  <a:lnTo>
                    <a:pt x="291845" y="28423"/>
                  </a:lnTo>
                  <a:lnTo>
                    <a:pt x="295358" y="33495"/>
                  </a:lnTo>
                  <a:lnTo>
                    <a:pt x="298641" y="36778"/>
                  </a:lnTo>
                  <a:lnTo>
                    <a:pt x="301659" y="39098"/>
                  </a:lnTo>
                  <a:lnTo>
                    <a:pt x="304410" y="40454"/>
                  </a:lnTo>
                  <a:lnTo>
                    <a:pt x="305881" y="41552"/>
                  </a:lnTo>
                  <a:lnTo>
                    <a:pt x="306071" y="42396"/>
                  </a:lnTo>
                  <a:lnTo>
                    <a:pt x="308646" y="44151"/>
                  </a:lnTo>
                  <a:lnTo>
                    <a:pt x="313605" y="46817"/>
                  </a:lnTo>
                  <a:lnTo>
                    <a:pt x="316741" y="49481"/>
                  </a:lnTo>
                  <a:lnTo>
                    <a:pt x="318055" y="52141"/>
                  </a:lnTo>
                  <a:lnTo>
                    <a:pt x="322951" y="54889"/>
                  </a:lnTo>
                  <a:lnTo>
                    <a:pt x="331432" y="57720"/>
                  </a:lnTo>
                  <a:lnTo>
                    <a:pt x="337598" y="59072"/>
                  </a:lnTo>
                  <a:lnTo>
                    <a:pt x="341448" y="58943"/>
                  </a:lnTo>
                  <a:lnTo>
                    <a:pt x="346972" y="61210"/>
                  </a:lnTo>
                  <a:lnTo>
                    <a:pt x="354170" y="65865"/>
                  </a:lnTo>
                  <a:lnTo>
                    <a:pt x="358562" y="69099"/>
                  </a:lnTo>
                  <a:lnTo>
                    <a:pt x="360146" y="70898"/>
                  </a:lnTo>
                  <a:lnTo>
                    <a:pt x="364854" y="73816"/>
                  </a:lnTo>
                  <a:lnTo>
                    <a:pt x="376600" y="79860"/>
                  </a:lnTo>
                  <a:lnTo>
                    <a:pt x="381782" y="81376"/>
                  </a:lnTo>
                  <a:lnTo>
                    <a:pt x="384238" y="82757"/>
                  </a:lnTo>
                  <a:lnTo>
                    <a:pt x="385693" y="84515"/>
                  </a:lnTo>
                  <a:lnTo>
                    <a:pt x="387131" y="85050"/>
                  </a:lnTo>
                  <a:lnTo>
                    <a:pt x="388549" y="84367"/>
                  </a:lnTo>
                  <a:lnTo>
                    <a:pt x="391498" y="84997"/>
                  </a:lnTo>
                  <a:lnTo>
                    <a:pt x="395977" y="86942"/>
                  </a:lnTo>
                  <a:lnTo>
                    <a:pt x="399480" y="89296"/>
                  </a:lnTo>
                  <a:lnTo>
                    <a:pt x="403988" y="94483"/>
                  </a:lnTo>
                  <a:lnTo>
                    <a:pt x="405426" y="96556"/>
                  </a:lnTo>
                  <a:lnTo>
                    <a:pt x="406036" y="98412"/>
                  </a:lnTo>
                  <a:lnTo>
                    <a:pt x="405819" y="100048"/>
                  </a:lnTo>
                  <a:lnTo>
                    <a:pt x="404446" y="101794"/>
                  </a:lnTo>
                  <a:lnTo>
                    <a:pt x="401919" y="103647"/>
                  </a:lnTo>
                  <a:lnTo>
                    <a:pt x="401176" y="104457"/>
                  </a:lnTo>
                  <a:lnTo>
                    <a:pt x="401118" y="105240"/>
                  </a:lnTo>
                  <a:lnTo>
                    <a:pt x="400475" y="106803"/>
                  </a:lnTo>
                  <a:lnTo>
                    <a:pt x="398376" y="110143"/>
                  </a:lnTo>
                  <a:lnTo>
                    <a:pt x="397843" y="111698"/>
                  </a:lnTo>
                  <a:lnTo>
                    <a:pt x="397732" y="112844"/>
                  </a:lnTo>
                  <a:lnTo>
                    <a:pt x="396401" y="114103"/>
                  </a:lnTo>
                  <a:lnTo>
                    <a:pt x="392868" y="116427"/>
                  </a:lnTo>
                  <a:lnTo>
                    <a:pt x="392140" y="117557"/>
                  </a:lnTo>
                  <a:lnTo>
                    <a:pt x="391965" y="118771"/>
                  </a:lnTo>
                  <a:lnTo>
                    <a:pt x="391519" y="119492"/>
                  </a:lnTo>
                  <a:lnTo>
                    <a:pt x="391036" y="119795"/>
                  </a:lnTo>
                  <a:lnTo>
                    <a:pt x="390356" y="121012"/>
                  </a:lnTo>
                  <a:lnTo>
                    <a:pt x="389810" y="123023"/>
                  </a:lnTo>
                  <a:lnTo>
                    <a:pt x="389756" y="125610"/>
                  </a:lnTo>
                  <a:lnTo>
                    <a:pt x="390193" y="128766"/>
                  </a:lnTo>
                  <a:lnTo>
                    <a:pt x="390107" y="129783"/>
                  </a:lnTo>
                  <a:lnTo>
                    <a:pt x="389327" y="130329"/>
                  </a:lnTo>
                  <a:lnTo>
                    <a:pt x="388889" y="131059"/>
                  </a:lnTo>
                  <a:lnTo>
                    <a:pt x="388732" y="132535"/>
                  </a:lnTo>
                  <a:lnTo>
                    <a:pt x="388069" y="133614"/>
                  </a:lnTo>
                  <a:lnTo>
                    <a:pt x="386903" y="134301"/>
                  </a:lnTo>
                  <a:lnTo>
                    <a:pt x="386473" y="135091"/>
                  </a:lnTo>
                  <a:lnTo>
                    <a:pt x="386779" y="135982"/>
                  </a:lnTo>
                  <a:lnTo>
                    <a:pt x="385920" y="136866"/>
                  </a:lnTo>
                  <a:lnTo>
                    <a:pt x="383895" y="137737"/>
                  </a:lnTo>
                  <a:lnTo>
                    <a:pt x="382655" y="139004"/>
                  </a:lnTo>
                  <a:lnTo>
                    <a:pt x="382198" y="140669"/>
                  </a:lnTo>
                  <a:lnTo>
                    <a:pt x="381071" y="142155"/>
                  </a:lnTo>
                  <a:lnTo>
                    <a:pt x="379273" y="143469"/>
                  </a:lnTo>
                  <a:lnTo>
                    <a:pt x="378686" y="145215"/>
                  </a:lnTo>
                  <a:lnTo>
                    <a:pt x="379621" y="148445"/>
                  </a:lnTo>
                  <a:lnTo>
                    <a:pt x="390692" y="147327"/>
                  </a:lnTo>
                  <a:lnTo>
                    <a:pt x="399720" y="148506"/>
                  </a:lnTo>
                  <a:lnTo>
                    <a:pt x="410394" y="151618"/>
                  </a:lnTo>
                  <a:lnTo>
                    <a:pt x="417479" y="152701"/>
                  </a:lnTo>
                  <a:lnTo>
                    <a:pt x="420974" y="151762"/>
                  </a:lnTo>
                  <a:lnTo>
                    <a:pt x="423567" y="151895"/>
                  </a:lnTo>
                  <a:lnTo>
                    <a:pt x="425255" y="153099"/>
                  </a:lnTo>
                  <a:lnTo>
                    <a:pt x="427523" y="153348"/>
                  </a:lnTo>
                  <a:lnTo>
                    <a:pt x="430372" y="152641"/>
                  </a:lnTo>
                  <a:lnTo>
                    <a:pt x="432726" y="153188"/>
                  </a:lnTo>
                  <a:lnTo>
                    <a:pt x="434586" y="154990"/>
                  </a:lnTo>
                  <a:lnTo>
                    <a:pt x="436276" y="154542"/>
                  </a:lnTo>
                  <a:lnTo>
                    <a:pt x="437797" y="151845"/>
                  </a:lnTo>
                  <a:lnTo>
                    <a:pt x="439542" y="149877"/>
                  </a:lnTo>
                  <a:lnTo>
                    <a:pt x="441511" y="148640"/>
                  </a:lnTo>
                  <a:lnTo>
                    <a:pt x="443964" y="148264"/>
                  </a:lnTo>
                  <a:lnTo>
                    <a:pt x="446902" y="148754"/>
                  </a:lnTo>
                  <a:lnTo>
                    <a:pt x="449246" y="149744"/>
                  </a:lnTo>
                  <a:lnTo>
                    <a:pt x="450996" y="151234"/>
                  </a:lnTo>
                  <a:lnTo>
                    <a:pt x="452907" y="151191"/>
                  </a:lnTo>
                  <a:lnTo>
                    <a:pt x="454979" y="149613"/>
                  </a:lnTo>
                  <a:lnTo>
                    <a:pt x="455971" y="147727"/>
                  </a:lnTo>
                  <a:lnTo>
                    <a:pt x="455883" y="145530"/>
                  </a:lnTo>
                  <a:lnTo>
                    <a:pt x="456704" y="143957"/>
                  </a:lnTo>
                  <a:lnTo>
                    <a:pt x="458432" y="143011"/>
                  </a:lnTo>
                  <a:lnTo>
                    <a:pt x="459602" y="141729"/>
                  </a:lnTo>
                  <a:lnTo>
                    <a:pt x="460209" y="140117"/>
                  </a:lnTo>
                  <a:lnTo>
                    <a:pt x="462260" y="139132"/>
                  </a:lnTo>
                  <a:lnTo>
                    <a:pt x="465753" y="138778"/>
                  </a:lnTo>
                  <a:lnTo>
                    <a:pt x="467581" y="137987"/>
                  </a:lnTo>
                  <a:lnTo>
                    <a:pt x="467740" y="136757"/>
                  </a:lnTo>
                  <a:lnTo>
                    <a:pt x="468774" y="135626"/>
                  </a:lnTo>
                  <a:lnTo>
                    <a:pt x="470682" y="134594"/>
                  </a:lnTo>
                  <a:lnTo>
                    <a:pt x="471987" y="133306"/>
                  </a:lnTo>
                  <a:lnTo>
                    <a:pt x="472689" y="131759"/>
                  </a:lnTo>
                  <a:lnTo>
                    <a:pt x="473844" y="130785"/>
                  </a:lnTo>
                  <a:lnTo>
                    <a:pt x="475453" y="130390"/>
                  </a:lnTo>
                  <a:lnTo>
                    <a:pt x="477238" y="127142"/>
                  </a:lnTo>
                  <a:lnTo>
                    <a:pt x="479199" y="121050"/>
                  </a:lnTo>
                  <a:lnTo>
                    <a:pt x="480361" y="112823"/>
                  </a:lnTo>
                  <a:lnTo>
                    <a:pt x="480768" y="101181"/>
                  </a:lnTo>
                  <a:lnTo>
                    <a:pt x="482746" y="101192"/>
                  </a:lnTo>
                  <a:lnTo>
                    <a:pt x="483667" y="102053"/>
                  </a:lnTo>
                  <a:lnTo>
                    <a:pt x="485126" y="102505"/>
                  </a:lnTo>
                  <a:lnTo>
                    <a:pt x="486663" y="101522"/>
                  </a:lnTo>
                  <a:lnTo>
                    <a:pt x="487968" y="101068"/>
                  </a:lnTo>
                  <a:lnTo>
                    <a:pt x="490042" y="101028"/>
                  </a:lnTo>
                  <a:lnTo>
                    <a:pt x="491157" y="99924"/>
                  </a:lnTo>
                  <a:lnTo>
                    <a:pt x="492464" y="99746"/>
                  </a:lnTo>
                  <a:lnTo>
                    <a:pt x="493360" y="100346"/>
                  </a:lnTo>
                  <a:lnTo>
                    <a:pt x="494228" y="101068"/>
                  </a:lnTo>
                  <a:lnTo>
                    <a:pt x="496072" y="101231"/>
                  </a:lnTo>
                  <a:lnTo>
                    <a:pt x="497531" y="103118"/>
                  </a:lnTo>
                  <a:lnTo>
                    <a:pt x="499144" y="103693"/>
                  </a:lnTo>
                  <a:lnTo>
                    <a:pt x="499827" y="105859"/>
                  </a:lnTo>
                  <a:lnTo>
                    <a:pt x="500866" y="111571"/>
                  </a:lnTo>
                  <a:lnTo>
                    <a:pt x="502801" y="114938"/>
                  </a:lnTo>
                  <a:lnTo>
                    <a:pt x="504718" y="118776"/>
                  </a:lnTo>
                  <a:lnTo>
                    <a:pt x="504788" y="120490"/>
                  </a:lnTo>
                  <a:lnTo>
                    <a:pt x="503714" y="122219"/>
                  </a:lnTo>
                  <a:lnTo>
                    <a:pt x="503530" y="124702"/>
                  </a:lnTo>
                  <a:lnTo>
                    <a:pt x="502860" y="130777"/>
                  </a:lnTo>
                  <a:lnTo>
                    <a:pt x="502639" y="133013"/>
                  </a:lnTo>
                  <a:lnTo>
                    <a:pt x="503302" y="134541"/>
                  </a:lnTo>
                  <a:lnTo>
                    <a:pt x="503552" y="136669"/>
                  </a:lnTo>
                  <a:lnTo>
                    <a:pt x="502507" y="139273"/>
                  </a:lnTo>
                  <a:lnTo>
                    <a:pt x="500487" y="143168"/>
                  </a:lnTo>
                  <a:lnTo>
                    <a:pt x="498524" y="144218"/>
                  </a:lnTo>
                  <a:lnTo>
                    <a:pt x="498022" y="144260"/>
                  </a:lnTo>
                  <a:lnTo>
                    <a:pt x="495366" y="146516"/>
                  </a:lnTo>
                  <a:lnTo>
                    <a:pt x="493497" y="147361"/>
                  </a:lnTo>
                  <a:lnTo>
                    <a:pt x="492417" y="146791"/>
                  </a:lnTo>
                  <a:lnTo>
                    <a:pt x="491180" y="147769"/>
                  </a:lnTo>
                  <a:lnTo>
                    <a:pt x="489788" y="150294"/>
                  </a:lnTo>
                  <a:lnTo>
                    <a:pt x="488092" y="151429"/>
                  </a:lnTo>
                  <a:lnTo>
                    <a:pt x="485020" y="152056"/>
                  </a:lnTo>
                  <a:lnTo>
                    <a:pt x="484104" y="152352"/>
                  </a:lnTo>
                  <a:lnTo>
                    <a:pt x="482312" y="152263"/>
                  </a:lnTo>
                  <a:lnTo>
                    <a:pt x="480778" y="152894"/>
                  </a:lnTo>
                  <a:lnTo>
                    <a:pt x="479500" y="154245"/>
                  </a:lnTo>
                  <a:lnTo>
                    <a:pt x="478134" y="154747"/>
                  </a:lnTo>
                  <a:lnTo>
                    <a:pt x="476680" y="154408"/>
                  </a:lnTo>
                  <a:lnTo>
                    <a:pt x="475361" y="154902"/>
                  </a:lnTo>
                  <a:lnTo>
                    <a:pt x="474179" y="156233"/>
                  </a:lnTo>
                  <a:lnTo>
                    <a:pt x="473493" y="157676"/>
                  </a:lnTo>
                  <a:lnTo>
                    <a:pt x="473304" y="159226"/>
                  </a:lnTo>
                  <a:lnTo>
                    <a:pt x="472146" y="160284"/>
                  </a:lnTo>
                  <a:lnTo>
                    <a:pt x="470015" y="160848"/>
                  </a:lnTo>
                  <a:lnTo>
                    <a:pt x="469278" y="161629"/>
                  </a:lnTo>
                  <a:lnTo>
                    <a:pt x="469408" y="162715"/>
                  </a:lnTo>
                  <a:lnTo>
                    <a:pt x="468453" y="163561"/>
                  </a:lnTo>
                  <a:lnTo>
                    <a:pt x="464847" y="164438"/>
                  </a:lnTo>
                  <a:lnTo>
                    <a:pt x="462243" y="166005"/>
                  </a:lnTo>
                  <a:lnTo>
                    <a:pt x="460636" y="168249"/>
                  </a:lnTo>
                  <a:lnTo>
                    <a:pt x="458941" y="169664"/>
                  </a:lnTo>
                  <a:lnTo>
                    <a:pt x="456260" y="170532"/>
                  </a:lnTo>
                  <a:lnTo>
                    <a:pt x="452632" y="172814"/>
                  </a:lnTo>
                  <a:lnTo>
                    <a:pt x="452111" y="174224"/>
                  </a:lnTo>
                  <a:lnTo>
                    <a:pt x="453493" y="175525"/>
                  </a:lnTo>
                  <a:lnTo>
                    <a:pt x="453988" y="176682"/>
                  </a:lnTo>
                  <a:lnTo>
                    <a:pt x="453601" y="177691"/>
                  </a:lnTo>
                  <a:lnTo>
                    <a:pt x="452467" y="177827"/>
                  </a:lnTo>
                  <a:lnTo>
                    <a:pt x="450588" y="177089"/>
                  </a:lnTo>
                  <a:lnTo>
                    <a:pt x="449249" y="176936"/>
                  </a:lnTo>
                  <a:lnTo>
                    <a:pt x="448448" y="177371"/>
                  </a:lnTo>
                  <a:lnTo>
                    <a:pt x="448069" y="178185"/>
                  </a:lnTo>
                  <a:lnTo>
                    <a:pt x="448114" y="179384"/>
                  </a:lnTo>
                  <a:lnTo>
                    <a:pt x="447442" y="180199"/>
                  </a:lnTo>
                  <a:lnTo>
                    <a:pt x="446054" y="180631"/>
                  </a:lnTo>
                  <a:lnTo>
                    <a:pt x="445174" y="181622"/>
                  </a:lnTo>
                  <a:lnTo>
                    <a:pt x="444803" y="183170"/>
                  </a:lnTo>
                  <a:lnTo>
                    <a:pt x="443063" y="185122"/>
                  </a:lnTo>
                  <a:lnTo>
                    <a:pt x="439953" y="187473"/>
                  </a:lnTo>
                  <a:lnTo>
                    <a:pt x="437497" y="190650"/>
                  </a:lnTo>
                  <a:lnTo>
                    <a:pt x="435699" y="194643"/>
                  </a:lnTo>
                  <a:lnTo>
                    <a:pt x="433602" y="197270"/>
                  </a:lnTo>
                  <a:lnTo>
                    <a:pt x="431201" y="198529"/>
                  </a:lnTo>
                  <a:lnTo>
                    <a:pt x="429548" y="200322"/>
                  </a:lnTo>
                  <a:lnTo>
                    <a:pt x="428644" y="202651"/>
                  </a:lnTo>
                  <a:lnTo>
                    <a:pt x="426084" y="206261"/>
                  </a:lnTo>
                  <a:lnTo>
                    <a:pt x="421871" y="211157"/>
                  </a:lnTo>
                  <a:lnTo>
                    <a:pt x="418049" y="214519"/>
                  </a:lnTo>
                  <a:lnTo>
                    <a:pt x="414618" y="216346"/>
                  </a:lnTo>
                  <a:lnTo>
                    <a:pt x="412691" y="218408"/>
                  </a:lnTo>
                  <a:lnTo>
                    <a:pt x="412265" y="220709"/>
                  </a:lnTo>
                  <a:lnTo>
                    <a:pt x="410039" y="223330"/>
                  </a:lnTo>
                  <a:lnTo>
                    <a:pt x="406017" y="226275"/>
                  </a:lnTo>
                  <a:lnTo>
                    <a:pt x="404876" y="227604"/>
                  </a:lnTo>
                  <a:lnTo>
                    <a:pt x="403941" y="228692"/>
                  </a:lnTo>
                  <a:lnTo>
                    <a:pt x="403811" y="230585"/>
                  </a:lnTo>
                  <a:lnTo>
                    <a:pt x="402244" y="233073"/>
                  </a:lnTo>
                  <a:lnTo>
                    <a:pt x="399238" y="236156"/>
                  </a:lnTo>
                  <a:lnTo>
                    <a:pt x="398191" y="238824"/>
                  </a:lnTo>
                  <a:lnTo>
                    <a:pt x="399559" y="242196"/>
                  </a:lnTo>
                  <a:lnTo>
                    <a:pt x="399761" y="246284"/>
                  </a:lnTo>
                  <a:lnTo>
                    <a:pt x="399165" y="247928"/>
                  </a:lnTo>
                  <a:lnTo>
                    <a:pt x="397841" y="248485"/>
                  </a:lnTo>
                  <a:lnTo>
                    <a:pt x="397538" y="249540"/>
                  </a:lnTo>
                  <a:lnTo>
                    <a:pt x="398253" y="251100"/>
                  </a:lnTo>
                  <a:lnTo>
                    <a:pt x="398295" y="253149"/>
                  </a:lnTo>
                  <a:lnTo>
                    <a:pt x="397662" y="255692"/>
                  </a:lnTo>
                  <a:lnTo>
                    <a:pt x="396268" y="258604"/>
                  </a:lnTo>
                  <a:lnTo>
                    <a:pt x="394111" y="261885"/>
                  </a:lnTo>
                  <a:lnTo>
                    <a:pt x="393593" y="264079"/>
                  </a:lnTo>
                  <a:lnTo>
                    <a:pt x="394713" y="265184"/>
                  </a:lnTo>
                  <a:lnTo>
                    <a:pt x="395263" y="266356"/>
                  </a:lnTo>
                  <a:lnTo>
                    <a:pt x="395241" y="267603"/>
                  </a:lnTo>
                  <a:lnTo>
                    <a:pt x="394781" y="269408"/>
                  </a:lnTo>
                  <a:lnTo>
                    <a:pt x="393884" y="271773"/>
                  </a:lnTo>
                  <a:lnTo>
                    <a:pt x="392528" y="273531"/>
                  </a:lnTo>
                  <a:lnTo>
                    <a:pt x="390711" y="274678"/>
                  </a:lnTo>
                  <a:lnTo>
                    <a:pt x="390166" y="276126"/>
                  </a:lnTo>
                  <a:lnTo>
                    <a:pt x="390891" y="277877"/>
                  </a:lnTo>
                  <a:lnTo>
                    <a:pt x="390993" y="279706"/>
                  </a:lnTo>
                  <a:lnTo>
                    <a:pt x="390471" y="281605"/>
                  </a:lnTo>
                  <a:lnTo>
                    <a:pt x="390779" y="283457"/>
                  </a:lnTo>
                  <a:lnTo>
                    <a:pt x="391922" y="285261"/>
                  </a:lnTo>
                  <a:lnTo>
                    <a:pt x="391839" y="287316"/>
                  </a:lnTo>
                  <a:lnTo>
                    <a:pt x="389857" y="291539"/>
                  </a:lnTo>
                  <a:lnTo>
                    <a:pt x="389380" y="294144"/>
                  </a:lnTo>
                  <a:lnTo>
                    <a:pt x="390622" y="305316"/>
                  </a:lnTo>
                  <a:lnTo>
                    <a:pt x="389867" y="306884"/>
                  </a:lnTo>
                  <a:lnTo>
                    <a:pt x="388609" y="308686"/>
                  </a:lnTo>
                  <a:lnTo>
                    <a:pt x="387126" y="308816"/>
                  </a:lnTo>
                  <a:lnTo>
                    <a:pt x="385425" y="308504"/>
                  </a:lnTo>
                  <a:lnTo>
                    <a:pt x="384196" y="309627"/>
                  </a:lnTo>
                  <a:lnTo>
                    <a:pt x="383425" y="314571"/>
                  </a:lnTo>
                  <a:lnTo>
                    <a:pt x="381082" y="325294"/>
                  </a:lnTo>
                  <a:lnTo>
                    <a:pt x="381506" y="327842"/>
                  </a:lnTo>
                  <a:lnTo>
                    <a:pt x="383380" y="331980"/>
                  </a:lnTo>
                  <a:lnTo>
                    <a:pt x="384068" y="334617"/>
                  </a:lnTo>
                  <a:lnTo>
                    <a:pt x="384587" y="336609"/>
                  </a:lnTo>
                  <a:lnTo>
                    <a:pt x="385006" y="340382"/>
                  </a:lnTo>
                  <a:lnTo>
                    <a:pt x="383916" y="342082"/>
                  </a:lnTo>
                  <a:lnTo>
                    <a:pt x="382908" y="342381"/>
                  </a:lnTo>
                  <a:lnTo>
                    <a:pt x="381634" y="343330"/>
                  </a:lnTo>
                  <a:lnTo>
                    <a:pt x="383137" y="347938"/>
                  </a:lnTo>
                  <a:lnTo>
                    <a:pt x="384336" y="350062"/>
                  </a:lnTo>
                  <a:lnTo>
                    <a:pt x="387773" y="354411"/>
                  </a:lnTo>
                  <a:lnTo>
                    <a:pt x="400953" y="360462"/>
                  </a:lnTo>
                  <a:lnTo>
                    <a:pt x="406423" y="364034"/>
                  </a:lnTo>
                  <a:lnTo>
                    <a:pt x="412615" y="368906"/>
                  </a:lnTo>
                  <a:lnTo>
                    <a:pt x="415987" y="373914"/>
                  </a:lnTo>
                  <a:lnTo>
                    <a:pt x="416285" y="378047"/>
                  </a:lnTo>
                  <a:lnTo>
                    <a:pt x="411341" y="384231"/>
                  </a:lnTo>
                  <a:lnTo>
                    <a:pt x="410794" y="389431"/>
                  </a:lnTo>
                  <a:lnTo>
                    <a:pt x="411809" y="393089"/>
                  </a:lnTo>
                  <a:lnTo>
                    <a:pt x="413595" y="396488"/>
                  </a:lnTo>
                  <a:lnTo>
                    <a:pt x="418383" y="400912"/>
                  </a:lnTo>
                  <a:lnTo>
                    <a:pt x="421908" y="402530"/>
                  </a:lnTo>
                  <a:lnTo>
                    <a:pt x="426668" y="402354"/>
                  </a:lnTo>
                  <a:lnTo>
                    <a:pt x="427481" y="403590"/>
                  </a:lnTo>
                  <a:lnTo>
                    <a:pt x="427969" y="404676"/>
                  </a:lnTo>
                  <a:lnTo>
                    <a:pt x="428726" y="413651"/>
                  </a:lnTo>
                  <a:lnTo>
                    <a:pt x="428631" y="417028"/>
                  </a:lnTo>
                  <a:lnTo>
                    <a:pt x="427233" y="420130"/>
                  </a:lnTo>
                  <a:lnTo>
                    <a:pt x="418092" y="434404"/>
                  </a:lnTo>
                  <a:lnTo>
                    <a:pt x="410280" y="443142"/>
                  </a:lnTo>
                  <a:lnTo>
                    <a:pt x="407452" y="447977"/>
                  </a:lnTo>
                  <a:lnTo>
                    <a:pt x="406445" y="453161"/>
                  </a:lnTo>
                  <a:lnTo>
                    <a:pt x="403945" y="455633"/>
                  </a:lnTo>
                  <a:lnTo>
                    <a:pt x="390414" y="463478"/>
                  </a:lnTo>
                  <a:lnTo>
                    <a:pt x="369419" y="470493"/>
                  </a:lnTo>
                  <a:lnTo>
                    <a:pt x="352455" y="474141"/>
                  </a:lnTo>
                  <a:lnTo>
                    <a:pt x="348599" y="475370"/>
                  </a:lnTo>
                  <a:lnTo>
                    <a:pt x="321325" y="479390"/>
                  </a:lnTo>
                  <a:lnTo>
                    <a:pt x="316044" y="479954"/>
                  </a:lnTo>
                  <a:lnTo>
                    <a:pt x="309181" y="479596"/>
                  </a:lnTo>
                  <a:lnTo>
                    <a:pt x="303611" y="480128"/>
                  </a:lnTo>
                  <a:lnTo>
                    <a:pt x="297389" y="479031"/>
                  </a:lnTo>
                  <a:lnTo>
                    <a:pt x="291837" y="477767"/>
                  </a:lnTo>
                  <a:lnTo>
                    <a:pt x="288734" y="474633"/>
                  </a:lnTo>
                  <a:lnTo>
                    <a:pt x="285045" y="474241"/>
                  </a:lnTo>
                  <a:lnTo>
                    <a:pt x="284038" y="475806"/>
                  </a:lnTo>
                  <a:lnTo>
                    <a:pt x="285835" y="479810"/>
                  </a:lnTo>
                  <a:lnTo>
                    <a:pt x="284960" y="484630"/>
                  </a:lnTo>
                  <a:lnTo>
                    <a:pt x="286052" y="487382"/>
                  </a:lnTo>
                  <a:lnTo>
                    <a:pt x="288231" y="487933"/>
                  </a:lnTo>
                  <a:lnTo>
                    <a:pt x="290326" y="489358"/>
                  </a:lnTo>
                  <a:lnTo>
                    <a:pt x="292173" y="491262"/>
                  </a:lnTo>
                  <a:lnTo>
                    <a:pt x="288986" y="491459"/>
                  </a:lnTo>
                  <a:lnTo>
                    <a:pt x="290222" y="492979"/>
                  </a:lnTo>
                  <a:lnTo>
                    <a:pt x="291586" y="493871"/>
                  </a:lnTo>
                  <a:lnTo>
                    <a:pt x="291434" y="497052"/>
                  </a:lnTo>
                  <a:lnTo>
                    <a:pt x="290197" y="504717"/>
                  </a:lnTo>
                  <a:lnTo>
                    <a:pt x="287094" y="506362"/>
                  </a:lnTo>
                  <a:lnTo>
                    <a:pt x="286258" y="506805"/>
                  </a:lnTo>
                  <a:lnTo>
                    <a:pt x="285318" y="508460"/>
                  </a:lnTo>
                  <a:lnTo>
                    <a:pt x="283343" y="515817"/>
                  </a:lnTo>
                  <a:lnTo>
                    <a:pt x="282705" y="520594"/>
                  </a:lnTo>
                  <a:lnTo>
                    <a:pt x="283553" y="523679"/>
                  </a:lnTo>
                  <a:lnTo>
                    <a:pt x="287287" y="530165"/>
                  </a:lnTo>
                  <a:lnTo>
                    <a:pt x="285878" y="534379"/>
                  </a:lnTo>
                  <a:lnTo>
                    <a:pt x="283516" y="536673"/>
                  </a:lnTo>
                  <a:lnTo>
                    <a:pt x="273299" y="541389"/>
                  </a:lnTo>
                  <a:lnTo>
                    <a:pt x="269215" y="543275"/>
                  </a:lnTo>
                  <a:lnTo>
                    <a:pt x="262780" y="544568"/>
                  </a:lnTo>
                  <a:lnTo>
                    <a:pt x="252410" y="544789"/>
                  </a:lnTo>
                  <a:lnTo>
                    <a:pt x="248576" y="544494"/>
                  </a:lnTo>
                  <a:lnTo>
                    <a:pt x="239697" y="540202"/>
                  </a:lnTo>
                  <a:lnTo>
                    <a:pt x="233097" y="537628"/>
                  </a:lnTo>
                  <a:lnTo>
                    <a:pt x="227062" y="535580"/>
                  </a:lnTo>
                  <a:lnTo>
                    <a:pt x="221192" y="534353"/>
                  </a:lnTo>
                  <a:lnTo>
                    <a:pt x="222031" y="533736"/>
                  </a:lnTo>
                  <a:lnTo>
                    <a:pt x="222424" y="532630"/>
                  </a:lnTo>
                  <a:lnTo>
                    <a:pt x="220773" y="532006"/>
                  </a:lnTo>
                  <a:lnTo>
                    <a:pt x="219572" y="531871"/>
                  </a:lnTo>
                  <a:lnTo>
                    <a:pt x="215703" y="534097"/>
                  </a:lnTo>
                  <a:lnTo>
                    <a:pt x="214081" y="536367"/>
                  </a:lnTo>
                  <a:lnTo>
                    <a:pt x="213613" y="538367"/>
                  </a:lnTo>
                  <a:lnTo>
                    <a:pt x="213534" y="543155"/>
                  </a:lnTo>
                  <a:lnTo>
                    <a:pt x="214221" y="547176"/>
                  </a:lnTo>
                  <a:lnTo>
                    <a:pt x="217001" y="557110"/>
                  </a:lnTo>
                  <a:lnTo>
                    <a:pt x="217285" y="562519"/>
                  </a:lnTo>
                  <a:lnTo>
                    <a:pt x="215965" y="569354"/>
                  </a:lnTo>
                  <a:lnTo>
                    <a:pt x="217809" y="573378"/>
                  </a:lnTo>
                  <a:lnTo>
                    <a:pt x="220049" y="575199"/>
                  </a:lnTo>
                  <a:lnTo>
                    <a:pt x="225083" y="576998"/>
                  </a:lnTo>
                  <a:lnTo>
                    <a:pt x="227037" y="578225"/>
                  </a:lnTo>
                  <a:lnTo>
                    <a:pt x="229185" y="578029"/>
                  </a:lnTo>
                  <a:lnTo>
                    <a:pt x="229845" y="578506"/>
                  </a:lnTo>
                  <a:lnTo>
                    <a:pt x="229527" y="579391"/>
                  </a:lnTo>
                  <a:lnTo>
                    <a:pt x="228263" y="581124"/>
                  </a:lnTo>
                  <a:lnTo>
                    <a:pt x="228342" y="582959"/>
                  </a:lnTo>
                  <a:lnTo>
                    <a:pt x="232160" y="583502"/>
                  </a:lnTo>
                  <a:lnTo>
                    <a:pt x="236111" y="583132"/>
                  </a:lnTo>
                  <a:lnTo>
                    <a:pt x="240262" y="582320"/>
                  </a:lnTo>
                  <a:lnTo>
                    <a:pt x="241242" y="581046"/>
                  </a:lnTo>
                  <a:lnTo>
                    <a:pt x="241269" y="578381"/>
                  </a:lnTo>
                  <a:lnTo>
                    <a:pt x="236407" y="577912"/>
                  </a:lnTo>
                  <a:lnTo>
                    <a:pt x="237026" y="576920"/>
                  </a:lnTo>
                  <a:lnTo>
                    <a:pt x="240709" y="575839"/>
                  </a:lnTo>
                  <a:lnTo>
                    <a:pt x="245537" y="574065"/>
                  </a:lnTo>
                  <a:lnTo>
                    <a:pt x="248005" y="573738"/>
                  </a:lnTo>
                  <a:lnTo>
                    <a:pt x="249680" y="574928"/>
                  </a:lnTo>
                  <a:lnTo>
                    <a:pt x="250813" y="576017"/>
                  </a:lnTo>
                  <a:lnTo>
                    <a:pt x="252205" y="578887"/>
                  </a:lnTo>
                  <a:lnTo>
                    <a:pt x="253066" y="582668"/>
                  </a:lnTo>
                  <a:lnTo>
                    <a:pt x="253104" y="587225"/>
                  </a:lnTo>
                  <a:lnTo>
                    <a:pt x="252523" y="591520"/>
                  </a:lnTo>
                  <a:lnTo>
                    <a:pt x="251835" y="593050"/>
                  </a:lnTo>
                  <a:lnTo>
                    <a:pt x="250618" y="594876"/>
                  </a:lnTo>
                  <a:lnTo>
                    <a:pt x="241938" y="597208"/>
                  </a:lnTo>
                  <a:lnTo>
                    <a:pt x="239507" y="596599"/>
                  </a:lnTo>
                  <a:lnTo>
                    <a:pt x="237244" y="593352"/>
                  </a:lnTo>
                  <a:lnTo>
                    <a:pt x="236533" y="589997"/>
                  </a:lnTo>
                  <a:lnTo>
                    <a:pt x="234598" y="587737"/>
                  </a:lnTo>
                  <a:lnTo>
                    <a:pt x="230451" y="585938"/>
                  </a:lnTo>
                  <a:lnTo>
                    <a:pt x="226326" y="586488"/>
                  </a:lnTo>
                  <a:lnTo>
                    <a:pt x="222232" y="589603"/>
                  </a:lnTo>
                  <a:lnTo>
                    <a:pt x="218207" y="590616"/>
                  </a:lnTo>
                  <a:lnTo>
                    <a:pt x="216782" y="593454"/>
                  </a:lnTo>
                  <a:lnTo>
                    <a:pt x="226866" y="598060"/>
                  </a:lnTo>
                  <a:lnTo>
                    <a:pt x="231624" y="599339"/>
                  </a:lnTo>
                  <a:lnTo>
                    <a:pt x="233175" y="599295"/>
                  </a:lnTo>
                  <a:lnTo>
                    <a:pt x="234728" y="599901"/>
                  </a:lnTo>
                  <a:lnTo>
                    <a:pt x="233294" y="601611"/>
                  </a:lnTo>
                  <a:lnTo>
                    <a:pt x="231860" y="602674"/>
                  </a:lnTo>
                  <a:lnTo>
                    <a:pt x="224685" y="605023"/>
                  </a:lnTo>
                  <a:lnTo>
                    <a:pt x="221522" y="606665"/>
                  </a:lnTo>
                  <a:lnTo>
                    <a:pt x="217830" y="609889"/>
                  </a:lnTo>
                  <a:lnTo>
                    <a:pt x="212652" y="616939"/>
                  </a:lnTo>
                  <a:lnTo>
                    <a:pt x="211065" y="618477"/>
                  </a:lnTo>
                  <a:lnTo>
                    <a:pt x="210273" y="620274"/>
                  </a:lnTo>
                  <a:lnTo>
                    <a:pt x="209739" y="625147"/>
                  </a:lnTo>
                  <a:lnTo>
                    <a:pt x="211414" y="633247"/>
                  </a:lnTo>
                  <a:lnTo>
                    <a:pt x="209644" y="636648"/>
                  </a:lnTo>
                  <a:lnTo>
                    <a:pt x="210732" y="640425"/>
                  </a:lnTo>
                  <a:lnTo>
                    <a:pt x="210115" y="642948"/>
                  </a:lnTo>
                  <a:lnTo>
                    <a:pt x="208303" y="646582"/>
                  </a:lnTo>
                  <a:lnTo>
                    <a:pt x="201043" y="652326"/>
                  </a:lnTo>
                  <a:lnTo>
                    <a:pt x="199756" y="656539"/>
                  </a:lnTo>
                  <a:lnTo>
                    <a:pt x="202272" y="659023"/>
                  </a:lnTo>
                  <a:lnTo>
                    <a:pt x="202105" y="661197"/>
                  </a:lnTo>
                  <a:lnTo>
                    <a:pt x="201267" y="663165"/>
                  </a:lnTo>
                  <a:lnTo>
                    <a:pt x="198251" y="663144"/>
                  </a:lnTo>
                  <a:lnTo>
                    <a:pt x="187286" y="661815"/>
                  </a:lnTo>
                  <a:lnTo>
                    <a:pt x="183289" y="663973"/>
                  </a:lnTo>
                  <a:lnTo>
                    <a:pt x="179591" y="666607"/>
                  </a:lnTo>
                  <a:lnTo>
                    <a:pt x="178581" y="667870"/>
                  </a:lnTo>
                  <a:lnTo>
                    <a:pt x="177273" y="668659"/>
                  </a:lnTo>
                  <a:lnTo>
                    <a:pt x="169731" y="670063"/>
                  </a:lnTo>
                  <a:lnTo>
                    <a:pt x="168236" y="670996"/>
                  </a:lnTo>
                  <a:lnTo>
                    <a:pt x="160219" y="681065"/>
                  </a:lnTo>
                  <a:lnTo>
                    <a:pt x="156785" y="687325"/>
                  </a:lnTo>
                  <a:lnTo>
                    <a:pt x="152637" y="693477"/>
                  </a:lnTo>
                  <a:lnTo>
                    <a:pt x="151548" y="696087"/>
                  </a:lnTo>
                  <a:lnTo>
                    <a:pt x="151312" y="699709"/>
                  </a:lnTo>
                  <a:lnTo>
                    <a:pt x="151890" y="702971"/>
                  </a:lnTo>
                  <a:lnTo>
                    <a:pt x="152466" y="705381"/>
                  </a:lnTo>
                  <a:lnTo>
                    <a:pt x="153909" y="708476"/>
                  </a:lnTo>
                  <a:lnTo>
                    <a:pt x="156948" y="712011"/>
                  </a:lnTo>
                  <a:lnTo>
                    <a:pt x="172409" y="726445"/>
                  </a:lnTo>
                  <a:lnTo>
                    <a:pt x="175616" y="727708"/>
                  </a:lnTo>
                  <a:lnTo>
                    <a:pt x="192144" y="729259"/>
                  </a:lnTo>
                  <a:lnTo>
                    <a:pt x="195819" y="731277"/>
                  </a:lnTo>
                  <a:lnTo>
                    <a:pt x="197963" y="734485"/>
                  </a:lnTo>
                  <a:lnTo>
                    <a:pt x="198748" y="737316"/>
                  </a:lnTo>
                  <a:lnTo>
                    <a:pt x="197802" y="744504"/>
                  </a:lnTo>
                  <a:lnTo>
                    <a:pt x="196816" y="746752"/>
                  </a:lnTo>
                  <a:lnTo>
                    <a:pt x="194989" y="748796"/>
                  </a:lnTo>
                  <a:lnTo>
                    <a:pt x="191077" y="751433"/>
                  </a:lnTo>
                  <a:lnTo>
                    <a:pt x="186396" y="752836"/>
                  </a:lnTo>
                  <a:lnTo>
                    <a:pt x="187736" y="753832"/>
                  </a:lnTo>
                  <a:lnTo>
                    <a:pt x="189639" y="753690"/>
                  </a:lnTo>
                  <a:lnTo>
                    <a:pt x="193775" y="752836"/>
                  </a:lnTo>
                  <a:lnTo>
                    <a:pt x="195564" y="753690"/>
                  </a:lnTo>
                  <a:lnTo>
                    <a:pt x="196924" y="756530"/>
                  </a:lnTo>
                  <a:lnTo>
                    <a:pt x="194335" y="757684"/>
                  </a:lnTo>
                  <a:lnTo>
                    <a:pt x="193542" y="759061"/>
                  </a:lnTo>
                  <a:lnTo>
                    <a:pt x="191672" y="761163"/>
                  </a:lnTo>
                  <a:lnTo>
                    <a:pt x="182134" y="769534"/>
                  </a:lnTo>
                  <a:lnTo>
                    <a:pt x="176987" y="772041"/>
                  </a:lnTo>
                  <a:lnTo>
                    <a:pt x="172258" y="775404"/>
                  </a:lnTo>
                  <a:lnTo>
                    <a:pt x="165912" y="778817"/>
                  </a:lnTo>
                  <a:lnTo>
                    <a:pt x="163431" y="780778"/>
                  </a:lnTo>
                  <a:lnTo>
                    <a:pt x="160074" y="784900"/>
                  </a:lnTo>
                  <a:lnTo>
                    <a:pt x="154927" y="789394"/>
                  </a:lnTo>
                  <a:lnTo>
                    <a:pt x="149386" y="799054"/>
                  </a:lnTo>
                  <a:lnTo>
                    <a:pt x="149161" y="800936"/>
                  </a:lnTo>
                  <a:lnTo>
                    <a:pt x="149966" y="802191"/>
                  </a:lnTo>
                  <a:lnTo>
                    <a:pt x="146885" y="819214"/>
                  </a:lnTo>
                  <a:lnTo>
                    <a:pt x="145808" y="821222"/>
                  </a:lnTo>
                  <a:lnTo>
                    <a:pt x="143576" y="823367"/>
                  </a:lnTo>
                  <a:lnTo>
                    <a:pt x="137702" y="826908"/>
                  </a:lnTo>
                  <a:lnTo>
                    <a:pt x="134873" y="827345"/>
                  </a:lnTo>
                  <a:lnTo>
                    <a:pt x="131134" y="825294"/>
                  </a:lnTo>
                  <a:lnTo>
                    <a:pt x="129023" y="823150"/>
                  </a:lnTo>
                  <a:lnTo>
                    <a:pt x="126959" y="819482"/>
                  </a:lnTo>
                  <a:lnTo>
                    <a:pt x="124467" y="815702"/>
                  </a:lnTo>
                  <a:lnTo>
                    <a:pt x="124338" y="817053"/>
                  </a:lnTo>
                  <a:lnTo>
                    <a:pt x="125205" y="819350"/>
                  </a:lnTo>
                  <a:lnTo>
                    <a:pt x="124618" y="821755"/>
                  </a:lnTo>
                  <a:lnTo>
                    <a:pt x="118244" y="822846"/>
                  </a:lnTo>
                  <a:lnTo>
                    <a:pt x="116556" y="823982"/>
                  </a:lnTo>
                  <a:lnTo>
                    <a:pt x="122309" y="823474"/>
                  </a:lnTo>
                  <a:lnTo>
                    <a:pt x="126233" y="824194"/>
                  </a:lnTo>
                  <a:lnTo>
                    <a:pt x="127890" y="825078"/>
                  </a:lnTo>
                  <a:lnTo>
                    <a:pt x="129382" y="826908"/>
                  </a:lnTo>
                  <a:lnTo>
                    <a:pt x="130698" y="829112"/>
                  </a:lnTo>
                  <a:lnTo>
                    <a:pt x="129593" y="830333"/>
                  </a:lnTo>
                  <a:lnTo>
                    <a:pt x="126451" y="831345"/>
                  </a:lnTo>
                  <a:lnTo>
                    <a:pt x="122380" y="833202"/>
                  </a:lnTo>
                  <a:lnTo>
                    <a:pt x="117573" y="836565"/>
                  </a:lnTo>
                  <a:lnTo>
                    <a:pt x="114902" y="840451"/>
                  </a:lnTo>
                  <a:lnTo>
                    <a:pt x="113751" y="843249"/>
                  </a:lnTo>
                  <a:lnTo>
                    <a:pt x="112453" y="848901"/>
                  </a:lnTo>
                  <a:lnTo>
                    <a:pt x="112108" y="852642"/>
                  </a:lnTo>
                  <a:lnTo>
                    <a:pt x="110076" y="855523"/>
                  </a:lnTo>
                  <a:lnTo>
                    <a:pt x="106945" y="858121"/>
                  </a:lnTo>
                  <a:lnTo>
                    <a:pt x="107118" y="858712"/>
                  </a:lnTo>
                  <a:lnTo>
                    <a:pt x="109243" y="857384"/>
                  </a:lnTo>
                  <a:lnTo>
                    <a:pt x="110940" y="856966"/>
                  </a:lnTo>
                  <a:lnTo>
                    <a:pt x="112399" y="860428"/>
                  </a:lnTo>
                  <a:lnTo>
                    <a:pt x="114371" y="867363"/>
                  </a:lnTo>
                  <a:lnTo>
                    <a:pt x="115287" y="872174"/>
                  </a:lnTo>
                  <a:lnTo>
                    <a:pt x="115143" y="873605"/>
                  </a:lnTo>
                  <a:lnTo>
                    <a:pt x="114559" y="875567"/>
                  </a:lnTo>
                  <a:lnTo>
                    <a:pt x="110508" y="876042"/>
                  </a:lnTo>
                  <a:lnTo>
                    <a:pt x="106896" y="875982"/>
                  </a:lnTo>
                  <a:lnTo>
                    <a:pt x="104236" y="876825"/>
                  </a:lnTo>
                  <a:lnTo>
                    <a:pt x="105665" y="877695"/>
                  </a:lnTo>
                  <a:lnTo>
                    <a:pt x="108101" y="877386"/>
                  </a:lnTo>
                  <a:lnTo>
                    <a:pt x="111470" y="879452"/>
                  </a:lnTo>
                  <a:lnTo>
                    <a:pt x="115213" y="878571"/>
                  </a:lnTo>
                  <a:lnTo>
                    <a:pt x="116917" y="879953"/>
                  </a:lnTo>
                  <a:lnTo>
                    <a:pt x="118147" y="881220"/>
                  </a:lnTo>
                  <a:lnTo>
                    <a:pt x="123877" y="891323"/>
                  </a:lnTo>
                  <a:lnTo>
                    <a:pt x="128881" y="897586"/>
                  </a:lnTo>
                  <a:lnTo>
                    <a:pt x="131411" y="901310"/>
                  </a:lnTo>
                  <a:lnTo>
                    <a:pt x="130153" y="902999"/>
                  </a:lnTo>
                  <a:lnTo>
                    <a:pt x="129706" y="900744"/>
                  </a:lnTo>
                  <a:lnTo>
                    <a:pt x="126440" y="900163"/>
                  </a:lnTo>
                  <a:lnTo>
                    <a:pt x="123259" y="899555"/>
                  </a:lnTo>
                  <a:lnTo>
                    <a:pt x="117951" y="897944"/>
                  </a:lnTo>
                  <a:lnTo>
                    <a:pt x="110809" y="895499"/>
                  </a:lnTo>
                  <a:lnTo>
                    <a:pt x="103653" y="895499"/>
                  </a:lnTo>
                  <a:lnTo>
                    <a:pt x="97969" y="893436"/>
                  </a:lnTo>
                  <a:lnTo>
                    <a:pt x="91689" y="891156"/>
                  </a:lnTo>
                  <a:lnTo>
                    <a:pt x="78438" y="890955"/>
                  </a:lnTo>
                  <a:lnTo>
                    <a:pt x="66766" y="890816"/>
                  </a:lnTo>
                  <a:lnTo>
                    <a:pt x="54808" y="890674"/>
                  </a:lnTo>
                  <a:lnTo>
                    <a:pt x="47155" y="890584"/>
                  </a:lnTo>
                  <a:lnTo>
                    <a:pt x="42032" y="890525"/>
                  </a:lnTo>
                  <a:lnTo>
                    <a:pt x="40701" y="889663"/>
                  </a:lnTo>
                  <a:lnTo>
                    <a:pt x="41149" y="886825"/>
                  </a:lnTo>
                  <a:lnTo>
                    <a:pt x="39248" y="884736"/>
                  </a:lnTo>
                  <a:lnTo>
                    <a:pt x="36495" y="882213"/>
                  </a:lnTo>
                  <a:lnTo>
                    <a:pt x="33148" y="880425"/>
                  </a:lnTo>
                  <a:lnTo>
                    <a:pt x="31486" y="878035"/>
                  </a:lnTo>
                  <a:lnTo>
                    <a:pt x="29632" y="875352"/>
                  </a:lnTo>
                  <a:lnTo>
                    <a:pt x="30678" y="872976"/>
                  </a:lnTo>
                  <a:lnTo>
                    <a:pt x="32280" y="867208"/>
                  </a:lnTo>
                  <a:lnTo>
                    <a:pt x="32314" y="864668"/>
                  </a:lnTo>
                  <a:lnTo>
                    <a:pt x="30861" y="862892"/>
                  </a:lnTo>
                  <a:lnTo>
                    <a:pt x="30414" y="860375"/>
                  </a:lnTo>
                  <a:lnTo>
                    <a:pt x="30861" y="859194"/>
                  </a:lnTo>
                  <a:lnTo>
                    <a:pt x="32174" y="858297"/>
                  </a:lnTo>
                  <a:lnTo>
                    <a:pt x="32962" y="854174"/>
                  </a:lnTo>
                  <a:lnTo>
                    <a:pt x="32345" y="850137"/>
                  </a:lnTo>
                  <a:lnTo>
                    <a:pt x="31342" y="846541"/>
                  </a:lnTo>
                  <a:lnTo>
                    <a:pt x="30014" y="844954"/>
                  </a:lnTo>
                  <a:lnTo>
                    <a:pt x="28301" y="844202"/>
                  </a:lnTo>
                  <a:lnTo>
                    <a:pt x="27042" y="844063"/>
                  </a:lnTo>
                  <a:lnTo>
                    <a:pt x="24237" y="845401"/>
                  </a:lnTo>
                  <a:lnTo>
                    <a:pt x="19591" y="845069"/>
                  </a:lnTo>
                  <a:lnTo>
                    <a:pt x="18012" y="845584"/>
                  </a:lnTo>
                  <a:lnTo>
                    <a:pt x="15738" y="847030"/>
                  </a:lnTo>
                  <a:lnTo>
                    <a:pt x="12523" y="849162"/>
                  </a:lnTo>
                  <a:lnTo>
                    <a:pt x="10734" y="848425"/>
                  </a:lnTo>
                  <a:lnTo>
                    <a:pt x="10187" y="846147"/>
                  </a:lnTo>
                  <a:lnTo>
                    <a:pt x="8992" y="844170"/>
                  </a:lnTo>
                  <a:lnTo>
                    <a:pt x="8232" y="842428"/>
                  </a:lnTo>
                  <a:lnTo>
                    <a:pt x="7661" y="839567"/>
                  </a:lnTo>
                  <a:lnTo>
                    <a:pt x="6708" y="835886"/>
                  </a:lnTo>
                  <a:lnTo>
                    <a:pt x="4809" y="831543"/>
                  </a:lnTo>
                  <a:lnTo>
                    <a:pt x="1902" y="828031"/>
                  </a:lnTo>
                  <a:lnTo>
                    <a:pt x="1738" y="824883"/>
                  </a:lnTo>
                  <a:lnTo>
                    <a:pt x="1202" y="820935"/>
                  </a:lnTo>
                  <a:lnTo>
                    <a:pt x="2684" y="817089"/>
                  </a:lnTo>
                  <a:lnTo>
                    <a:pt x="1818" y="813904"/>
                  </a:lnTo>
                  <a:lnTo>
                    <a:pt x="0" y="810109"/>
                  </a:lnTo>
                  <a:lnTo>
                    <a:pt x="559" y="806190"/>
                  </a:lnTo>
                  <a:lnTo>
                    <a:pt x="2349" y="804013"/>
                  </a:lnTo>
                  <a:lnTo>
                    <a:pt x="2909" y="801261"/>
                  </a:lnTo>
                  <a:lnTo>
                    <a:pt x="11183" y="800827"/>
                  </a:lnTo>
                  <a:lnTo>
                    <a:pt x="10837" y="797129"/>
                  </a:lnTo>
                  <a:lnTo>
                    <a:pt x="12215" y="794143"/>
                  </a:lnTo>
                  <a:lnTo>
                    <a:pt x="13759" y="791441"/>
                  </a:lnTo>
                  <a:lnTo>
                    <a:pt x="15076" y="790211"/>
                  </a:lnTo>
                  <a:lnTo>
                    <a:pt x="18024" y="789139"/>
                  </a:lnTo>
                  <a:lnTo>
                    <a:pt x="21497" y="787580"/>
                  </a:lnTo>
                  <a:lnTo>
                    <a:pt x="23455" y="785794"/>
                  </a:lnTo>
                  <a:lnTo>
                    <a:pt x="24389" y="784202"/>
                  </a:lnTo>
                  <a:lnTo>
                    <a:pt x="24964" y="782141"/>
                  </a:lnTo>
                  <a:lnTo>
                    <a:pt x="25112" y="779950"/>
                  </a:lnTo>
                  <a:lnTo>
                    <a:pt x="24542" y="775287"/>
                  </a:lnTo>
                  <a:lnTo>
                    <a:pt x="25190" y="773857"/>
                  </a:lnTo>
                  <a:lnTo>
                    <a:pt x="27338" y="771971"/>
                  </a:lnTo>
                  <a:lnTo>
                    <a:pt x="30974" y="770296"/>
                  </a:lnTo>
                  <a:lnTo>
                    <a:pt x="32539" y="765858"/>
                  </a:lnTo>
                  <a:lnTo>
                    <a:pt x="31643" y="761999"/>
                  </a:lnTo>
                  <a:lnTo>
                    <a:pt x="29625" y="758951"/>
                  </a:lnTo>
                  <a:lnTo>
                    <a:pt x="27060" y="757573"/>
                  </a:lnTo>
                  <a:lnTo>
                    <a:pt x="26836" y="754438"/>
                  </a:lnTo>
                  <a:lnTo>
                    <a:pt x="27995" y="751461"/>
                  </a:lnTo>
                  <a:lnTo>
                    <a:pt x="29507" y="748279"/>
                  </a:lnTo>
                  <a:lnTo>
                    <a:pt x="31310" y="744623"/>
                  </a:lnTo>
                  <a:lnTo>
                    <a:pt x="31196" y="742067"/>
                  </a:lnTo>
                  <a:lnTo>
                    <a:pt x="32795" y="740575"/>
                  </a:lnTo>
                  <a:lnTo>
                    <a:pt x="37346" y="737247"/>
                  </a:lnTo>
                  <a:lnTo>
                    <a:pt x="38911" y="733993"/>
                  </a:lnTo>
                  <a:lnTo>
                    <a:pt x="40513" y="733110"/>
                  </a:lnTo>
                  <a:lnTo>
                    <a:pt x="42378" y="732719"/>
                  </a:lnTo>
                  <a:lnTo>
                    <a:pt x="42490" y="730881"/>
                  </a:lnTo>
                  <a:lnTo>
                    <a:pt x="41129" y="729059"/>
                  </a:lnTo>
                  <a:lnTo>
                    <a:pt x="40907" y="726770"/>
                  </a:lnTo>
                  <a:lnTo>
                    <a:pt x="41068" y="724235"/>
                  </a:lnTo>
                  <a:lnTo>
                    <a:pt x="41485" y="720862"/>
                  </a:lnTo>
                  <a:lnTo>
                    <a:pt x="43608" y="719595"/>
                  </a:lnTo>
                  <a:lnTo>
                    <a:pt x="46746" y="716859"/>
                  </a:lnTo>
                  <a:lnTo>
                    <a:pt x="47584" y="715120"/>
                  </a:lnTo>
                  <a:lnTo>
                    <a:pt x="47696" y="712796"/>
                  </a:lnTo>
                  <a:lnTo>
                    <a:pt x="46781" y="708001"/>
                  </a:lnTo>
                  <a:lnTo>
                    <a:pt x="46000" y="704568"/>
                  </a:lnTo>
                  <a:lnTo>
                    <a:pt x="45607" y="703302"/>
                  </a:lnTo>
                  <a:lnTo>
                    <a:pt x="44175" y="700978"/>
                  </a:lnTo>
                  <a:lnTo>
                    <a:pt x="43121" y="699511"/>
                  </a:lnTo>
                  <a:lnTo>
                    <a:pt x="44804" y="697679"/>
                  </a:lnTo>
                  <a:lnTo>
                    <a:pt x="47969" y="695750"/>
                  </a:lnTo>
                  <a:lnTo>
                    <a:pt x="49311" y="692958"/>
                  </a:lnTo>
                  <a:lnTo>
                    <a:pt x="48081" y="690585"/>
                  </a:lnTo>
                  <a:lnTo>
                    <a:pt x="46292" y="689332"/>
                  </a:lnTo>
                  <a:lnTo>
                    <a:pt x="45733" y="685709"/>
                  </a:lnTo>
                  <a:lnTo>
                    <a:pt x="46404" y="681118"/>
                  </a:lnTo>
                  <a:lnTo>
                    <a:pt x="47746" y="679727"/>
                  </a:lnTo>
                  <a:lnTo>
                    <a:pt x="52441" y="679031"/>
                  </a:lnTo>
                  <a:lnTo>
                    <a:pt x="52890" y="676668"/>
                  </a:lnTo>
                  <a:lnTo>
                    <a:pt x="56468" y="673341"/>
                  </a:lnTo>
                  <a:lnTo>
                    <a:pt x="56355" y="670152"/>
                  </a:lnTo>
                  <a:lnTo>
                    <a:pt x="54080" y="668198"/>
                  </a:lnTo>
                  <a:lnTo>
                    <a:pt x="51853" y="665048"/>
                  </a:lnTo>
                  <a:lnTo>
                    <a:pt x="50205" y="662268"/>
                  </a:lnTo>
                  <a:lnTo>
                    <a:pt x="44726" y="660747"/>
                  </a:lnTo>
                  <a:lnTo>
                    <a:pt x="38911" y="659918"/>
                  </a:lnTo>
                  <a:lnTo>
                    <a:pt x="38130" y="657297"/>
                  </a:lnTo>
                  <a:lnTo>
                    <a:pt x="38353" y="655779"/>
                  </a:lnTo>
                  <a:lnTo>
                    <a:pt x="41058" y="656392"/>
                  </a:lnTo>
                  <a:lnTo>
                    <a:pt x="45475" y="655858"/>
                  </a:lnTo>
                  <a:lnTo>
                    <a:pt x="48802" y="655733"/>
                  </a:lnTo>
                  <a:lnTo>
                    <a:pt x="51116" y="655470"/>
                  </a:lnTo>
                  <a:lnTo>
                    <a:pt x="53783" y="655088"/>
                  </a:lnTo>
                  <a:lnTo>
                    <a:pt x="56244" y="656194"/>
                  </a:lnTo>
                  <a:lnTo>
                    <a:pt x="58704" y="655503"/>
                  </a:lnTo>
                  <a:lnTo>
                    <a:pt x="59709" y="651368"/>
                  </a:lnTo>
                  <a:lnTo>
                    <a:pt x="61276" y="649168"/>
                  </a:lnTo>
                  <a:lnTo>
                    <a:pt x="61499" y="647103"/>
                  </a:lnTo>
                  <a:lnTo>
                    <a:pt x="59934" y="645456"/>
                  </a:lnTo>
                  <a:lnTo>
                    <a:pt x="57066" y="644948"/>
                  </a:lnTo>
                  <a:lnTo>
                    <a:pt x="44533" y="643645"/>
                  </a:lnTo>
                  <a:lnTo>
                    <a:pt x="44151" y="641996"/>
                  </a:lnTo>
                  <a:lnTo>
                    <a:pt x="44260" y="639235"/>
                  </a:lnTo>
                  <a:lnTo>
                    <a:pt x="44733" y="636416"/>
                  </a:lnTo>
                  <a:lnTo>
                    <a:pt x="44726" y="635028"/>
                  </a:lnTo>
                  <a:lnTo>
                    <a:pt x="45872" y="633805"/>
                  </a:lnTo>
                  <a:lnTo>
                    <a:pt x="47165" y="631253"/>
                  </a:lnTo>
                  <a:lnTo>
                    <a:pt x="48081" y="629550"/>
                  </a:lnTo>
                  <a:lnTo>
                    <a:pt x="47171" y="627343"/>
                  </a:lnTo>
                  <a:lnTo>
                    <a:pt x="45174" y="624087"/>
                  </a:lnTo>
                  <a:lnTo>
                    <a:pt x="46628" y="622585"/>
                  </a:lnTo>
                  <a:lnTo>
                    <a:pt x="46745" y="620793"/>
                  </a:lnTo>
                  <a:lnTo>
                    <a:pt x="46292" y="619042"/>
                  </a:lnTo>
                  <a:lnTo>
                    <a:pt x="44218" y="617096"/>
                  </a:lnTo>
                  <a:lnTo>
                    <a:pt x="42378" y="614410"/>
                  </a:lnTo>
                  <a:lnTo>
                    <a:pt x="42378" y="611553"/>
                  </a:lnTo>
                  <a:lnTo>
                    <a:pt x="44528" y="610795"/>
                  </a:lnTo>
                  <a:lnTo>
                    <a:pt x="45956" y="609921"/>
                  </a:lnTo>
                  <a:lnTo>
                    <a:pt x="46292" y="608155"/>
                  </a:lnTo>
                  <a:lnTo>
                    <a:pt x="45510" y="605985"/>
                  </a:lnTo>
                  <a:lnTo>
                    <a:pt x="42541" y="605323"/>
                  </a:lnTo>
                  <a:lnTo>
                    <a:pt x="38582" y="603989"/>
                  </a:lnTo>
                  <a:lnTo>
                    <a:pt x="37372" y="602872"/>
                  </a:lnTo>
                  <a:lnTo>
                    <a:pt x="36256" y="600549"/>
                  </a:lnTo>
                  <a:lnTo>
                    <a:pt x="37088" y="594001"/>
                  </a:lnTo>
                  <a:lnTo>
                    <a:pt x="36672" y="590064"/>
                  </a:lnTo>
                  <a:lnTo>
                    <a:pt x="36324" y="587886"/>
                  </a:lnTo>
                  <a:lnTo>
                    <a:pt x="37296" y="586213"/>
                  </a:lnTo>
                  <a:lnTo>
                    <a:pt x="38613" y="584707"/>
                  </a:lnTo>
                  <a:lnTo>
                    <a:pt x="37988" y="581202"/>
                  </a:lnTo>
                  <a:lnTo>
                    <a:pt x="36809" y="579364"/>
                  </a:lnTo>
                  <a:lnTo>
                    <a:pt x="37225" y="577945"/>
                  </a:lnTo>
                  <a:lnTo>
                    <a:pt x="38336" y="576527"/>
                  </a:lnTo>
                  <a:lnTo>
                    <a:pt x="39306" y="574777"/>
                  </a:lnTo>
                  <a:lnTo>
                    <a:pt x="40138" y="574359"/>
                  </a:lnTo>
                  <a:lnTo>
                    <a:pt x="41386" y="575360"/>
                  </a:lnTo>
                  <a:lnTo>
                    <a:pt x="43498" y="574773"/>
                  </a:lnTo>
                  <a:lnTo>
                    <a:pt x="46030" y="573359"/>
                  </a:lnTo>
                  <a:lnTo>
                    <a:pt x="46308" y="571693"/>
                  </a:lnTo>
                  <a:lnTo>
                    <a:pt x="45800" y="569313"/>
                  </a:lnTo>
                  <a:lnTo>
                    <a:pt x="43912" y="563335"/>
                  </a:lnTo>
                  <a:lnTo>
                    <a:pt x="42218" y="559643"/>
                  </a:lnTo>
                  <a:lnTo>
                    <a:pt x="42565" y="558316"/>
                  </a:lnTo>
                  <a:lnTo>
                    <a:pt x="43236" y="556918"/>
                  </a:lnTo>
                  <a:lnTo>
                    <a:pt x="42702" y="551853"/>
                  </a:lnTo>
                  <a:lnTo>
                    <a:pt x="42870" y="548798"/>
                  </a:lnTo>
                  <a:lnTo>
                    <a:pt x="42994" y="539804"/>
                  </a:lnTo>
                  <a:lnTo>
                    <a:pt x="43187" y="536739"/>
                  </a:lnTo>
                  <a:lnTo>
                    <a:pt x="41456" y="533612"/>
                  </a:lnTo>
                  <a:lnTo>
                    <a:pt x="41690" y="530678"/>
                  </a:lnTo>
                  <a:lnTo>
                    <a:pt x="42916" y="528541"/>
                  </a:lnTo>
                  <a:lnTo>
                    <a:pt x="44064" y="525650"/>
                  </a:lnTo>
                  <a:lnTo>
                    <a:pt x="44922" y="523091"/>
                  </a:lnTo>
                  <a:lnTo>
                    <a:pt x="45823" y="521942"/>
                  </a:lnTo>
                  <a:lnTo>
                    <a:pt x="47348" y="521367"/>
                  </a:lnTo>
                  <a:lnTo>
                    <a:pt x="47694" y="519973"/>
                  </a:lnTo>
                  <a:lnTo>
                    <a:pt x="47001" y="518906"/>
                  </a:lnTo>
                  <a:lnTo>
                    <a:pt x="45026" y="517247"/>
                  </a:lnTo>
                  <a:lnTo>
                    <a:pt x="44576" y="515220"/>
                  </a:lnTo>
                  <a:lnTo>
                    <a:pt x="44990" y="513665"/>
                  </a:lnTo>
                  <a:lnTo>
                    <a:pt x="45961" y="512764"/>
                  </a:lnTo>
                  <a:lnTo>
                    <a:pt x="47465" y="512774"/>
                  </a:lnTo>
                  <a:lnTo>
                    <a:pt x="48595" y="510556"/>
                  </a:lnTo>
                  <a:lnTo>
                    <a:pt x="48916" y="507817"/>
                  </a:lnTo>
                  <a:lnTo>
                    <a:pt x="49150" y="506551"/>
                  </a:lnTo>
                  <a:lnTo>
                    <a:pt x="48283" y="504953"/>
                  </a:lnTo>
                  <a:lnTo>
                    <a:pt x="47656" y="501186"/>
                  </a:lnTo>
                  <a:lnTo>
                    <a:pt x="47070" y="499045"/>
                  </a:lnTo>
                  <a:lnTo>
                    <a:pt x="47764" y="498149"/>
                  </a:lnTo>
                  <a:lnTo>
                    <a:pt x="48734" y="497823"/>
                  </a:lnTo>
                  <a:lnTo>
                    <a:pt x="50440" y="498326"/>
                  </a:lnTo>
                  <a:lnTo>
                    <a:pt x="51647" y="498067"/>
                  </a:lnTo>
                  <a:lnTo>
                    <a:pt x="51854" y="496927"/>
                  </a:lnTo>
                  <a:lnTo>
                    <a:pt x="51993" y="495706"/>
                  </a:lnTo>
                  <a:lnTo>
                    <a:pt x="52450" y="494874"/>
                  </a:lnTo>
                  <a:lnTo>
                    <a:pt x="53525" y="492111"/>
                  </a:lnTo>
                  <a:lnTo>
                    <a:pt x="54675" y="488688"/>
                  </a:lnTo>
                  <a:lnTo>
                    <a:pt x="54945" y="486274"/>
                  </a:lnTo>
                  <a:lnTo>
                    <a:pt x="54534" y="479738"/>
                  </a:lnTo>
                  <a:lnTo>
                    <a:pt x="55143" y="478238"/>
                  </a:lnTo>
                  <a:lnTo>
                    <a:pt x="56370" y="476870"/>
                  </a:lnTo>
                  <a:lnTo>
                    <a:pt x="58080" y="475583"/>
                  </a:lnTo>
                  <a:lnTo>
                    <a:pt x="60323" y="474517"/>
                  </a:lnTo>
                  <a:lnTo>
                    <a:pt x="63116" y="472982"/>
                  </a:lnTo>
                  <a:lnTo>
                    <a:pt x="66552" y="472419"/>
                  </a:lnTo>
                  <a:lnTo>
                    <a:pt x="67938" y="470721"/>
                  </a:lnTo>
                  <a:lnTo>
                    <a:pt x="68910" y="468459"/>
                  </a:lnTo>
                  <a:lnTo>
                    <a:pt x="69188" y="466600"/>
                  </a:lnTo>
                  <a:lnTo>
                    <a:pt x="67869" y="465309"/>
                  </a:lnTo>
                  <a:lnTo>
                    <a:pt x="66137" y="463775"/>
                  </a:lnTo>
                  <a:lnTo>
                    <a:pt x="65312" y="459911"/>
                  </a:lnTo>
                  <a:lnTo>
                    <a:pt x="64864" y="456349"/>
                  </a:lnTo>
                  <a:lnTo>
                    <a:pt x="64610" y="451854"/>
                  </a:lnTo>
                  <a:lnTo>
                    <a:pt x="62886" y="447997"/>
                  </a:lnTo>
                  <a:lnTo>
                    <a:pt x="61076" y="443662"/>
                  </a:lnTo>
                  <a:lnTo>
                    <a:pt x="60590" y="439812"/>
                  </a:lnTo>
                  <a:lnTo>
                    <a:pt x="61196" y="437707"/>
                  </a:lnTo>
                  <a:lnTo>
                    <a:pt x="61907" y="434367"/>
                  </a:lnTo>
                  <a:lnTo>
                    <a:pt x="61144" y="432850"/>
                  </a:lnTo>
                  <a:lnTo>
                    <a:pt x="60244" y="430131"/>
                  </a:lnTo>
                  <a:lnTo>
                    <a:pt x="61179" y="428001"/>
                  </a:lnTo>
                  <a:lnTo>
                    <a:pt x="62323" y="424700"/>
                  </a:lnTo>
                  <a:lnTo>
                    <a:pt x="62185" y="423024"/>
                  </a:lnTo>
                  <a:lnTo>
                    <a:pt x="61284" y="419037"/>
                  </a:lnTo>
                  <a:lnTo>
                    <a:pt x="60452" y="416807"/>
                  </a:lnTo>
                  <a:lnTo>
                    <a:pt x="61284" y="414418"/>
                  </a:lnTo>
                  <a:lnTo>
                    <a:pt x="62601" y="412190"/>
                  </a:lnTo>
                  <a:lnTo>
                    <a:pt x="63641" y="410998"/>
                  </a:lnTo>
                  <a:lnTo>
                    <a:pt x="63468" y="409078"/>
                  </a:lnTo>
                  <a:lnTo>
                    <a:pt x="63918" y="407500"/>
                  </a:lnTo>
                  <a:lnTo>
                    <a:pt x="65884" y="406442"/>
                  </a:lnTo>
                  <a:lnTo>
                    <a:pt x="67731" y="404485"/>
                  </a:lnTo>
                  <a:lnTo>
                    <a:pt x="69048" y="404247"/>
                  </a:lnTo>
                  <a:lnTo>
                    <a:pt x="70643" y="404247"/>
                  </a:lnTo>
                  <a:lnTo>
                    <a:pt x="71682" y="403692"/>
                  </a:lnTo>
                  <a:lnTo>
                    <a:pt x="72099" y="402184"/>
                  </a:lnTo>
                  <a:lnTo>
                    <a:pt x="72376" y="400519"/>
                  </a:lnTo>
                  <a:lnTo>
                    <a:pt x="74913" y="398453"/>
                  </a:lnTo>
                  <a:lnTo>
                    <a:pt x="76396" y="396554"/>
                  </a:lnTo>
                  <a:lnTo>
                    <a:pt x="79100" y="396157"/>
                  </a:lnTo>
                  <a:lnTo>
                    <a:pt x="80418" y="394102"/>
                  </a:lnTo>
                  <a:lnTo>
                    <a:pt x="80446" y="391462"/>
                  </a:lnTo>
                  <a:lnTo>
                    <a:pt x="80140" y="388802"/>
                  </a:lnTo>
                  <a:lnTo>
                    <a:pt x="81042" y="385719"/>
                  </a:lnTo>
                  <a:lnTo>
                    <a:pt x="80038" y="381024"/>
                  </a:lnTo>
                  <a:lnTo>
                    <a:pt x="80140" y="378540"/>
                  </a:lnTo>
                  <a:lnTo>
                    <a:pt x="79100" y="376491"/>
                  </a:lnTo>
                  <a:lnTo>
                    <a:pt x="79308" y="374284"/>
                  </a:lnTo>
                  <a:lnTo>
                    <a:pt x="78753" y="372867"/>
                  </a:lnTo>
                  <a:lnTo>
                    <a:pt x="77183" y="372342"/>
                  </a:lnTo>
                  <a:lnTo>
                    <a:pt x="76604" y="370585"/>
                  </a:lnTo>
                  <a:lnTo>
                    <a:pt x="77367" y="369720"/>
                  </a:lnTo>
                  <a:lnTo>
                    <a:pt x="78850" y="369054"/>
                  </a:lnTo>
                  <a:lnTo>
                    <a:pt x="80713" y="367709"/>
                  </a:lnTo>
                  <a:lnTo>
                    <a:pt x="82107" y="361244"/>
                  </a:lnTo>
                  <a:lnTo>
                    <a:pt x="82768" y="359326"/>
                  </a:lnTo>
                  <a:lnTo>
                    <a:pt x="83410" y="357019"/>
                  </a:lnTo>
                  <a:lnTo>
                    <a:pt x="83330" y="355823"/>
                  </a:lnTo>
                  <a:lnTo>
                    <a:pt x="84224" y="354100"/>
                  </a:lnTo>
                  <a:lnTo>
                    <a:pt x="85339" y="351482"/>
                  </a:lnTo>
                  <a:lnTo>
                    <a:pt x="87100" y="348953"/>
                  </a:lnTo>
                  <a:lnTo>
                    <a:pt x="88109" y="347213"/>
                  </a:lnTo>
                  <a:lnTo>
                    <a:pt x="89084" y="344868"/>
                  </a:lnTo>
                  <a:lnTo>
                    <a:pt x="89361" y="343460"/>
                  </a:lnTo>
                  <a:lnTo>
                    <a:pt x="90610" y="342760"/>
                  </a:lnTo>
                  <a:lnTo>
                    <a:pt x="92042" y="342579"/>
                  </a:lnTo>
                  <a:lnTo>
                    <a:pt x="93730" y="342136"/>
                  </a:lnTo>
                  <a:lnTo>
                    <a:pt x="94423" y="341276"/>
                  </a:lnTo>
                  <a:lnTo>
                    <a:pt x="94298" y="340025"/>
                  </a:lnTo>
                  <a:lnTo>
                    <a:pt x="94192" y="337260"/>
                  </a:lnTo>
                  <a:lnTo>
                    <a:pt x="93687" y="332875"/>
                  </a:lnTo>
                  <a:lnTo>
                    <a:pt x="93361" y="327224"/>
                  </a:lnTo>
                  <a:lnTo>
                    <a:pt x="93659" y="323517"/>
                  </a:lnTo>
                  <a:lnTo>
                    <a:pt x="94770" y="319788"/>
                  </a:lnTo>
                  <a:lnTo>
                    <a:pt x="95809" y="317768"/>
                  </a:lnTo>
                  <a:lnTo>
                    <a:pt x="95532" y="316217"/>
                  </a:lnTo>
                  <a:lnTo>
                    <a:pt x="95255" y="314510"/>
                  </a:lnTo>
                  <a:lnTo>
                    <a:pt x="93314" y="313579"/>
                  </a:lnTo>
                  <a:lnTo>
                    <a:pt x="91467" y="314385"/>
                  </a:lnTo>
                  <a:lnTo>
                    <a:pt x="90179" y="314161"/>
                  </a:lnTo>
                  <a:lnTo>
                    <a:pt x="88530" y="312184"/>
                  </a:lnTo>
                  <a:lnTo>
                    <a:pt x="88045" y="310092"/>
                  </a:lnTo>
                  <a:lnTo>
                    <a:pt x="88321" y="307225"/>
                  </a:lnTo>
                  <a:lnTo>
                    <a:pt x="89612" y="305440"/>
                  </a:lnTo>
                  <a:lnTo>
                    <a:pt x="90124" y="303201"/>
                  </a:lnTo>
                  <a:lnTo>
                    <a:pt x="89361" y="302505"/>
                  </a:lnTo>
                  <a:lnTo>
                    <a:pt x="87736" y="301020"/>
                  </a:lnTo>
                  <a:lnTo>
                    <a:pt x="86194" y="295897"/>
                  </a:lnTo>
                  <a:lnTo>
                    <a:pt x="86380" y="291539"/>
                  </a:lnTo>
                  <a:lnTo>
                    <a:pt x="84855" y="290382"/>
                  </a:lnTo>
                  <a:lnTo>
                    <a:pt x="84144" y="286980"/>
                  </a:lnTo>
                  <a:lnTo>
                    <a:pt x="82567" y="285762"/>
                  </a:lnTo>
                  <a:lnTo>
                    <a:pt x="81943" y="283221"/>
                  </a:lnTo>
                  <a:lnTo>
                    <a:pt x="81458" y="280605"/>
                  </a:lnTo>
                  <a:lnTo>
                    <a:pt x="81666" y="279448"/>
                  </a:lnTo>
                  <a:lnTo>
                    <a:pt x="83304" y="279130"/>
                  </a:lnTo>
                  <a:lnTo>
                    <a:pt x="84231" y="277068"/>
                  </a:lnTo>
                  <a:lnTo>
                    <a:pt x="83537" y="275912"/>
                  </a:lnTo>
                  <a:lnTo>
                    <a:pt x="82289" y="274913"/>
                  </a:lnTo>
                  <a:lnTo>
                    <a:pt x="80695" y="274990"/>
                  </a:lnTo>
                  <a:lnTo>
                    <a:pt x="79268" y="273813"/>
                  </a:lnTo>
                  <a:lnTo>
                    <a:pt x="77353" y="268887"/>
                  </a:lnTo>
                  <a:lnTo>
                    <a:pt x="75843" y="266168"/>
                  </a:lnTo>
                  <a:lnTo>
                    <a:pt x="76320" y="262203"/>
                  </a:lnTo>
                  <a:lnTo>
                    <a:pt x="76617" y="259107"/>
                  </a:lnTo>
                  <a:lnTo>
                    <a:pt x="77267" y="256461"/>
                  </a:lnTo>
                  <a:lnTo>
                    <a:pt x="77506" y="254381"/>
                  </a:lnTo>
                  <a:lnTo>
                    <a:pt x="78685" y="253385"/>
                  </a:lnTo>
                  <a:lnTo>
                    <a:pt x="79793" y="253846"/>
                  </a:lnTo>
                  <a:lnTo>
                    <a:pt x="80833" y="253616"/>
                  </a:lnTo>
                  <a:lnTo>
                    <a:pt x="81792" y="251921"/>
                  </a:lnTo>
                  <a:lnTo>
                    <a:pt x="82844" y="250865"/>
                  </a:lnTo>
                  <a:lnTo>
                    <a:pt x="82774" y="250026"/>
                  </a:lnTo>
                  <a:lnTo>
                    <a:pt x="82151" y="249108"/>
                  </a:lnTo>
                  <a:lnTo>
                    <a:pt x="81854" y="247505"/>
                  </a:lnTo>
                  <a:lnTo>
                    <a:pt x="82586" y="245598"/>
                  </a:lnTo>
                  <a:lnTo>
                    <a:pt x="83850" y="241227"/>
                  </a:lnTo>
                  <a:lnTo>
                    <a:pt x="85764" y="236419"/>
                  </a:lnTo>
                  <a:lnTo>
                    <a:pt x="86588" y="234625"/>
                  </a:lnTo>
                  <a:lnTo>
                    <a:pt x="86380" y="233104"/>
                  </a:lnTo>
                  <a:lnTo>
                    <a:pt x="86796" y="232419"/>
                  </a:lnTo>
                  <a:lnTo>
                    <a:pt x="88095" y="233179"/>
                  </a:lnTo>
                  <a:lnTo>
                    <a:pt x="91788" y="232342"/>
                  </a:lnTo>
                  <a:lnTo>
                    <a:pt x="93036" y="230213"/>
                  </a:lnTo>
                  <a:lnTo>
                    <a:pt x="93520" y="228313"/>
                  </a:lnTo>
                  <a:lnTo>
                    <a:pt x="94629" y="227249"/>
                  </a:lnTo>
                  <a:lnTo>
                    <a:pt x="94145" y="225730"/>
                  </a:lnTo>
                  <a:lnTo>
                    <a:pt x="92620" y="225274"/>
                  </a:lnTo>
                  <a:lnTo>
                    <a:pt x="91697" y="224564"/>
                  </a:lnTo>
                  <a:lnTo>
                    <a:pt x="92064" y="222844"/>
                  </a:lnTo>
                  <a:lnTo>
                    <a:pt x="92605" y="218894"/>
                  </a:lnTo>
                  <a:lnTo>
                    <a:pt x="92517" y="215985"/>
                  </a:lnTo>
                  <a:lnTo>
                    <a:pt x="91123" y="209789"/>
                  </a:lnTo>
                  <a:lnTo>
                    <a:pt x="90001" y="203665"/>
                  </a:lnTo>
                  <a:lnTo>
                    <a:pt x="90792" y="201619"/>
                  </a:lnTo>
                  <a:lnTo>
                    <a:pt x="93208" y="198826"/>
                  </a:lnTo>
                  <a:lnTo>
                    <a:pt x="95046" y="197567"/>
                  </a:lnTo>
                  <a:lnTo>
                    <a:pt x="95377" y="195974"/>
                  </a:lnTo>
                  <a:lnTo>
                    <a:pt x="97194" y="188760"/>
                  </a:lnTo>
                  <a:lnTo>
                    <a:pt x="97403" y="184828"/>
                  </a:lnTo>
                  <a:lnTo>
                    <a:pt x="98596" y="182650"/>
                  </a:lnTo>
                  <a:lnTo>
                    <a:pt x="99380" y="178568"/>
                  </a:lnTo>
                  <a:lnTo>
                    <a:pt x="102671" y="175053"/>
                  </a:lnTo>
                  <a:lnTo>
                    <a:pt x="103641" y="172724"/>
                  </a:lnTo>
                  <a:lnTo>
                    <a:pt x="104959" y="172500"/>
                  </a:lnTo>
                  <a:lnTo>
                    <a:pt x="105653" y="171748"/>
                  </a:lnTo>
                  <a:lnTo>
                    <a:pt x="107398" y="169155"/>
                  </a:lnTo>
                  <a:lnTo>
                    <a:pt x="109667" y="166490"/>
                  </a:lnTo>
                  <a:lnTo>
                    <a:pt x="111616" y="165148"/>
                  </a:lnTo>
                  <a:lnTo>
                    <a:pt x="112101" y="163049"/>
                  </a:lnTo>
                  <a:lnTo>
                    <a:pt x="113033" y="160184"/>
                  </a:lnTo>
                  <a:lnTo>
                    <a:pt x="114969" y="155434"/>
                  </a:lnTo>
                  <a:lnTo>
                    <a:pt x="116052" y="152125"/>
                  </a:lnTo>
                  <a:lnTo>
                    <a:pt x="117509" y="150926"/>
                  </a:lnTo>
                  <a:lnTo>
                    <a:pt x="119205" y="146596"/>
                  </a:lnTo>
                  <a:lnTo>
                    <a:pt x="119934" y="144059"/>
                  </a:lnTo>
                  <a:lnTo>
                    <a:pt x="121875" y="143013"/>
                  </a:lnTo>
                  <a:lnTo>
                    <a:pt x="123400" y="142715"/>
                  </a:lnTo>
                  <a:lnTo>
                    <a:pt x="124857" y="143912"/>
                  </a:lnTo>
                  <a:lnTo>
                    <a:pt x="126381" y="143685"/>
                  </a:lnTo>
                  <a:lnTo>
                    <a:pt x="127769" y="142193"/>
                  </a:lnTo>
                  <a:lnTo>
                    <a:pt x="131116" y="141177"/>
                  </a:lnTo>
                  <a:lnTo>
                    <a:pt x="132622" y="140627"/>
                  </a:lnTo>
                  <a:lnTo>
                    <a:pt x="133315" y="139135"/>
                  </a:lnTo>
                  <a:lnTo>
                    <a:pt x="133315" y="136526"/>
                  </a:lnTo>
                  <a:lnTo>
                    <a:pt x="131928" y="134589"/>
                  </a:lnTo>
                  <a:lnTo>
                    <a:pt x="129094" y="130882"/>
                  </a:lnTo>
                  <a:lnTo>
                    <a:pt x="126659" y="126747"/>
                  </a:lnTo>
                  <a:lnTo>
                    <a:pt x="126394" y="125443"/>
                  </a:lnTo>
                  <a:lnTo>
                    <a:pt x="126379" y="124020"/>
                  </a:lnTo>
                  <a:lnTo>
                    <a:pt x="126795" y="122223"/>
                  </a:lnTo>
                  <a:lnTo>
                    <a:pt x="127960" y="120185"/>
                  </a:lnTo>
                  <a:lnTo>
                    <a:pt x="130884" y="116838"/>
                  </a:lnTo>
                  <a:lnTo>
                    <a:pt x="130574" y="114442"/>
                  </a:lnTo>
                  <a:lnTo>
                    <a:pt x="128442" y="105647"/>
                  </a:lnTo>
                  <a:lnTo>
                    <a:pt x="127654" y="103224"/>
                  </a:lnTo>
                  <a:lnTo>
                    <a:pt x="126174" y="98735"/>
                  </a:lnTo>
                  <a:lnTo>
                    <a:pt x="126381" y="96959"/>
                  </a:lnTo>
                  <a:lnTo>
                    <a:pt x="127682" y="92006"/>
                  </a:lnTo>
                  <a:lnTo>
                    <a:pt x="128809" y="90014"/>
                  </a:lnTo>
                  <a:lnTo>
                    <a:pt x="130474" y="89645"/>
                  </a:lnTo>
                  <a:lnTo>
                    <a:pt x="131373" y="88979"/>
                  </a:lnTo>
                  <a:lnTo>
                    <a:pt x="131652" y="88094"/>
                  </a:lnTo>
                  <a:lnTo>
                    <a:pt x="130542" y="86989"/>
                  </a:lnTo>
                  <a:lnTo>
                    <a:pt x="130058" y="85585"/>
                  </a:lnTo>
                  <a:lnTo>
                    <a:pt x="129570" y="83596"/>
                  </a:lnTo>
                  <a:lnTo>
                    <a:pt x="128030" y="82895"/>
                  </a:lnTo>
                  <a:lnTo>
                    <a:pt x="127144" y="81236"/>
                  </a:lnTo>
                  <a:lnTo>
                    <a:pt x="127144" y="78801"/>
                  </a:lnTo>
                  <a:lnTo>
                    <a:pt x="128533" y="75634"/>
                  </a:lnTo>
                  <a:lnTo>
                    <a:pt x="130058" y="74750"/>
                  </a:lnTo>
                  <a:lnTo>
                    <a:pt x="130680" y="73353"/>
                  </a:lnTo>
                  <a:lnTo>
                    <a:pt x="132314" y="72065"/>
                  </a:lnTo>
                  <a:lnTo>
                    <a:pt x="133801" y="71071"/>
                  </a:lnTo>
                  <a:lnTo>
                    <a:pt x="135048" y="69233"/>
                  </a:lnTo>
                  <a:lnTo>
                    <a:pt x="140193" y="66982"/>
                  </a:lnTo>
                  <a:lnTo>
                    <a:pt x="144279" y="65235"/>
                  </a:lnTo>
                  <a:lnTo>
                    <a:pt x="152252" y="61892"/>
                  </a:lnTo>
                  <a:lnTo>
                    <a:pt x="157719" y="59605"/>
                  </a:lnTo>
                  <a:lnTo>
                    <a:pt x="158242" y="58020"/>
                  </a:lnTo>
                  <a:lnTo>
                    <a:pt x="158659" y="56944"/>
                  </a:lnTo>
                  <a:lnTo>
                    <a:pt x="161194" y="48879"/>
                  </a:lnTo>
                  <a:lnTo>
                    <a:pt x="164475" y="38465"/>
                  </a:lnTo>
                  <a:lnTo>
                    <a:pt x="166528" y="31948"/>
                  </a:lnTo>
                  <a:lnTo>
                    <a:pt x="161810" y="27148"/>
                  </a:lnTo>
                  <a:lnTo>
                    <a:pt x="162645" y="25871"/>
                  </a:lnTo>
                  <a:lnTo>
                    <a:pt x="165346" y="22590"/>
                  </a:lnTo>
                  <a:lnTo>
                    <a:pt x="165901" y="19960"/>
                  </a:lnTo>
                  <a:lnTo>
                    <a:pt x="166976" y="18829"/>
                  </a:lnTo>
                  <a:lnTo>
                    <a:pt x="171814" y="16158"/>
                  </a:lnTo>
                  <a:lnTo>
                    <a:pt x="172647" y="14383"/>
                  </a:lnTo>
                  <a:lnTo>
                    <a:pt x="173074" y="12419"/>
                  </a:lnTo>
                  <a:lnTo>
                    <a:pt x="174061" y="11007"/>
                  </a:lnTo>
                  <a:lnTo>
                    <a:pt x="175905" y="10716"/>
                  </a:lnTo>
                  <a:lnTo>
                    <a:pt x="179252" y="9465"/>
                  </a:lnTo>
                  <a:lnTo>
                    <a:pt x="182848" y="8278"/>
                  </a:lnTo>
                  <a:lnTo>
                    <a:pt x="183930" y="6663"/>
                  </a:lnTo>
                  <a:lnTo>
                    <a:pt x="184953" y="3853"/>
                  </a:lnTo>
                  <a:lnTo>
                    <a:pt x="185829" y="742"/>
                  </a:lnTo>
                  <a:close/>
                </a:path>
              </a:pathLst>
            </a:custGeom>
            <a:solidFill>
              <a:srgbClr val="007CBC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40" name="ee4p_AG_1_82333">
              <a:extLst>
                <a:ext uri="{FF2B5EF4-FFF2-40B4-BE49-F238E27FC236}">
                  <a16:creationId xmlns:a16="http://schemas.microsoft.com/office/drawing/2014/main" id="{D3A96DD5-117C-A5AC-95F2-B63D1281777E}"/>
                </a:ext>
              </a:extLst>
            </p:cNvPr>
            <p:cNvSpPr>
              <a:spLocks noChangeAspect="1"/>
            </p:cNvSpPr>
            <p:nvPr>
              <p:custDataLst>
                <p:tags r:id="rId168"/>
              </p:custDataLst>
            </p:nvPr>
          </p:nvSpPr>
          <p:spPr>
            <a:xfrm>
              <a:off x="4796136" y="4165250"/>
              <a:ext cx="5586" cy="21066"/>
            </a:xfrm>
            <a:custGeom>
              <a:avLst/>
              <a:gdLst>
                <a:gd name="connsiteX0" fmla="*/ 1771 w 5100"/>
                <a:gd name="connsiteY0" fmla="*/ 14243 h 18726"/>
                <a:gd name="connsiteX1" fmla="*/ 3768 w 5100"/>
                <a:gd name="connsiteY1" fmla="*/ 15039 h 18726"/>
                <a:gd name="connsiteX2" fmla="*/ 4537 w 5100"/>
                <a:gd name="connsiteY2" fmla="*/ 15911 h 18726"/>
                <a:gd name="connsiteX3" fmla="*/ 5100 w 5100"/>
                <a:gd name="connsiteY3" fmla="*/ 16084 h 18726"/>
                <a:gd name="connsiteX4" fmla="*/ 5089 w 5100"/>
                <a:gd name="connsiteY4" fmla="*/ 16830 h 18726"/>
                <a:gd name="connsiteX5" fmla="*/ 4873 w 5100"/>
                <a:gd name="connsiteY5" fmla="*/ 17376 h 18726"/>
                <a:gd name="connsiteX6" fmla="*/ 4337 w 5100"/>
                <a:gd name="connsiteY6" fmla="*/ 17687 h 18726"/>
                <a:gd name="connsiteX7" fmla="*/ 3524 w 5100"/>
                <a:gd name="connsiteY7" fmla="*/ 18726 h 18726"/>
                <a:gd name="connsiteX8" fmla="*/ 696 w 5100"/>
                <a:gd name="connsiteY8" fmla="*/ 18305 h 18726"/>
                <a:gd name="connsiteX9" fmla="*/ 129 w 5100"/>
                <a:gd name="connsiteY9" fmla="*/ 17006 h 18726"/>
                <a:gd name="connsiteX10" fmla="*/ 0 w 5100"/>
                <a:gd name="connsiteY10" fmla="*/ 16092 h 18726"/>
                <a:gd name="connsiteX11" fmla="*/ 879 w 5100"/>
                <a:gd name="connsiteY11" fmla="*/ 0 h 18726"/>
                <a:gd name="connsiteX12" fmla="*/ 1704 w 5100"/>
                <a:gd name="connsiteY12" fmla="*/ 450 h 18726"/>
                <a:gd name="connsiteX13" fmla="*/ 2799 w 5100"/>
                <a:gd name="connsiteY13" fmla="*/ 617 h 18726"/>
                <a:gd name="connsiteX14" fmla="*/ 3487 w 5100"/>
                <a:gd name="connsiteY14" fmla="*/ 1379 h 18726"/>
                <a:gd name="connsiteX15" fmla="*/ 3550 w 5100"/>
                <a:gd name="connsiteY15" fmla="*/ 3637 h 18726"/>
                <a:gd name="connsiteX16" fmla="*/ 3172 w 5100"/>
                <a:gd name="connsiteY16" fmla="*/ 4324 h 18726"/>
                <a:gd name="connsiteX17" fmla="*/ 1098 w 5100"/>
                <a:gd name="connsiteY17" fmla="*/ 3083 h 18726"/>
                <a:gd name="connsiteX18" fmla="*/ 465 w 5100"/>
                <a:gd name="connsiteY18" fmla="*/ 749 h 18726"/>
                <a:gd name="connsiteX19" fmla="*/ 532 w 5100"/>
                <a:gd name="connsiteY19" fmla="*/ 256 h 18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5100" h="18726">
                  <a:moveTo>
                    <a:pt x="1771" y="14243"/>
                  </a:moveTo>
                  <a:lnTo>
                    <a:pt x="3768" y="15039"/>
                  </a:lnTo>
                  <a:lnTo>
                    <a:pt x="4537" y="15911"/>
                  </a:lnTo>
                  <a:lnTo>
                    <a:pt x="5100" y="16084"/>
                  </a:lnTo>
                  <a:lnTo>
                    <a:pt x="5089" y="16830"/>
                  </a:lnTo>
                  <a:lnTo>
                    <a:pt x="4873" y="17376"/>
                  </a:lnTo>
                  <a:lnTo>
                    <a:pt x="4337" y="17687"/>
                  </a:lnTo>
                  <a:lnTo>
                    <a:pt x="3524" y="18726"/>
                  </a:lnTo>
                  <a:lnTo>
                    <a:pt x="696" y="18305"/>
                  </a:lnTo>
                  <a:lnTo>
                    <a:pt x="129" y="17006"/>
                  </a:lnTo>
                  <a:lnTo>
                    <a:pt x="0" y="16092"/>
                  </a:lnTo>
                  <a:close/>
                  <a:moveTo>
                    <a:pt x="879" y="0"/>
                  </a:moveTo>
                  <a:lnTo>
                    <a:pt x="1704" y="450"/>
                  </a:lnTo>
                  <a:lnTo>
                    <a:pt x="2799" y="617"/>
                  </a:lnTo>
                  <a:lnTo>
                    <a:pt x="3487" y="1379"/>
                  </a:lnTo>
                  <a:lnTo>
                    <a:pt x="3550" y="3637"/>
                  </a:lnTo>
                  <a:lnTo>
                    <a:pt x="3172" y="4324"/>
                  </a:lnTo>
                  <a:lnTo>
                    <a:pt x="1098" y="3083"/>
                  </a:lnTo>
                  <a:lnTo>
                    <a:pt x="465" y="749"/>
                  </a:lnTo>
                  <a:lnTo>
                    <a:pt x="532" y="256"/>
                  </a:lnTo>
                  <a:close/>
                </a:path>
              </a:pathLst>
            </a:custGeom>
            <a:solidFill>
              <a:srgbClr val="007CBC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41" name="ee4p_BS_1_82333">
              <a:extLst>
                <a:ext uri="{FF2B5EF4-FFF2-40B4-BE49-F238E27FC236}">
                  <a16:creationId xmlns:a16="http://schemas.microsoft.com/office/drawing/2014/main" id="{C776081B-BBC1-F0C0-294C-5E5547A719CD}"/>
                </a:ext>
              </a:extLst>
            </p:cNvPr>
            <p:cNvSpPr>
              <a:spLocks noChangeAspect="1"/>
            </p:cNvSpPr>
            <p:nvPr>
              <p:custDataLst>
                <p:tags r:id="rId169"/>
              </p:custDataLst>
            </p:nvPr>
          </p:nvSpPr>
          <p:spPr>
            <a:xfrm>
              <a:off x="4321319" y="3888515"/>
              <a:ext cx="173235" cy="181325"/>
            </a:xfrm>
            <a:custGeom>
              <a:avLst/>
              <a:gdLst>
                <a:gd name="connsiteX0" fmla="*/ 150291 w 158182"/>
                <a:gd name="connsiteY0" fmla="*/ 151217 h 161181"/>
                <a:gd name="connsiteX1" fmla="*/ 151479 w 158182"/>
                <a:gd name="connsiteY1" fmla="*/ 151585 h 161181"/>
                <a:gd name="connsiteX2" fmla="*/ 151094 w 158182"/>
                <a:gd name="connsiteY2" fmla="*/ 154426 h 161181"/>
                <a:gd name="connsiteX3" fmla="*/ 150285 w 158182"/>
                <a:gd name="connsiteY3" fmla="*/ 156369 h 161181"/>
                <a:gd name="connsiteX4" fmla="*/ 147602 w 158182"/>
                <a:gd name="connsiteY4" fmla="*/ 160076 h 161181"/>
                <a:gd name="connsiteX5" fmla="*/ 141612 w 158182"/>
                <a:gd name="connsiteY5" fmla="*/ 161009 h 161181"/>
                <a:gd name="connsiteX6" fmla="*/ 135013 w 158182"/>
                <a:gd name="connsiteY6" fmla="*/ 161181 h 161181"/>
                <a:gd name="connsiteX7" fmla="*/ 134503 w 158182"/>
                <a:gd name="connsiteY7" fmla="*/ 160170 h 161181"/>
                <a:gd name="connsiteX8" fmla="*/ 134359 w 158182"/>
                <a:gd name="connsiteY8" fmla="*/ 159282 h 161181"/>
                <a:gd name="connsiteX9" fmla="*/ 134841 w 158182"/>
                <a:gd name="connsiteY9" fmla="*/ 157892 h 161181"/>
                <a:gd name="connsiteX10" fmla="*/ 134796 w 158182"/>
                <a:gd name="connsiteY10" fmla="*/ 157345 h 161181"/>
                <a:gd name="connsiteX11" fmla="*/ 134523 w 158182"/>
                <a:gd name="connsiteY11" fmla="*/ 156786 h 161181"/>
                <a:gd name="connsiteX12" fmla="*/ 136939 w 158182"/>
                <a:gd name="connsiteY12" fmla="*/ 156187 h 161181"/>
                <a:gd name="connsiteX13" fmla="*/ 138510 w 158182"/>
                <a:gd name="connsiteY13" fmla="*/ 154467 h 161181"/>
                <a:gd name="connsiteX14" fmla="*/ 141010 w 158182"/>
                <a:gd name="connsiteY14" fmla="*/ 154177 h 161181"/>
                <a:gd name="connsiteX15" fmla="*/ 144128 w 158182"/>
                <a:gd name="connsiteY15" fmla="*/ 155387 h 161181"/>
                <a:gd name="connsiteX16" fmla="*/ 145807 w 158182"/>
                <a:gd name="connsiteY16" fmla="*/ 155430 h 161181"/>
                <a:gd name="connsiteX17" fmla="*/ 148293 w 158182"/>
                <a:gd name="connsiteY17" fmla="*/ 154097 h 161181"/>
                <a:gd name="connsiteX18" fmla="*/ 151907 w 158182"/>
                <a:gd name="connsiteY18" fmla="*/ 144631 h 161181"/>
                <a:gd name="connsiteX19" fmla="*/ 153902 w 158182"/>
                <a:gd name="connsiteY19" fmla="*/ 146088 h 161181"/>
                <a:gd name="connsiteX20" fmla="*/ 150524 w 158182"/>
                <a:gd name="connsiteY20" fmla="*/ 147391 h 161181"/>
                <a:gd name="connsiteX21" fmla="*/ 150185 w 158182"/>
                <a:gd name="connsiteY21" fmla="*/ 145859 h 161181"/>
                <a:gd name="connsiteX22" fmla="*/ 148544 w 158182"/>
                <a:gd name="connsiteY22" fmla="*/ 120856 h 161181"/>
                <a:gd name="connsiteX23" fmla="*/ 150734 w 158182"/>
                <a:gd name="connsiteY23" fmla="*/ 121556 h 161181"/>
                <a:gd name="connsiteX24" fmla="*/ 152308 w 158182"/>
                <a:gd name="connsiteY24" fmla="*/ 121941 h 161181"/>
                <a:gd name="connsiteX25" fmla="*/ 153163 w 158182"/>
                <a:gd name="connsiteY25" fmla="*/ 121913 h 161181"/>
                <a:gd name="connsiteX26" fmla="*/ 156065 w 158182"/>
                <a:gd name="connsiteY26" fmla="*/ 122714 h 161181"/>
                <a:gd name="connsiteX27" fmla="*/ 157793 w 158182"/>
                <a:gd name="connsiteY27" fmla="*/ 123813 h 161181"/>
                <a:gd name="connsiteX28" fmla="*/ 158182 w 158182"/>
                <a:gd name="connsiteY28" fmla="*/ 124264 h 161181"/>
                <a:gd name="connsiteX29" fmla="*/ 157254 w 158182"/>
                <a:gd name="connsiteY29" fmla="*/ 125245 h 161181"/>
                <a:gd name="connsiteX30" fmla="*/ 154585 w 158182"/>
                <a:gd name="connsiteY30" fmla="*/ 123389 h 161181"/>
                <a:gd name="connsiteX31" fmla="*/ 152255 w 158182"/>
                <a:gd name="connsiteY31" fmla="*/ 123150 h 161181"/>
                <a:gd name="connsiteX32" fmla="*/ 148980 w 158182"/>
                <a:gd name="connsiteY32" fmla="*/ 123194 h 161181"/>
                <a:gd name="connsiteX33" fmla="*/ 147669 w 158182"/>
                <a:gd name="connsiteY33" fmla="*/ 122845 h 161181"/>
                <a:gd name="connsiteX34" fmla="*/ 130224 w 158182"/>
                <a:gd name="connsiteY34" fmla="*/ 113501 h 161181"/>
                <a:gd name="connsiteX35" fmla="*/ 129525 w 158182"/>
                <a:gd name="connsiteY35" fmla="*/ 114844 h 161181"/>
                <a:gd name="connsiteX36" fmla="*/ 130564 w 158182"/>
                <a:gd name="connsiteY36" fmla="*/ 118640 h 161181"/>
                <a:gd name="connsiteX37" fmla="*/ 127062 w 158182"/>
                <a:gd name="connsiteY37" fmla="*/ 123365 h 161181"/>
                <a:gd name="connsiteX38" fmla="*/ 124062 w 158182"/>
                <a:gd name="connsiteY38" fmla="*/ 124828 h 161181"/>
                <a:gd name="connsiteX39" fmla="*/ 121176 w 158182"/>
                <a:gd name="connsiteY39" fmla="*/ 127290 h 161181"/>
                <a:gd name="connsiteX40" fmla="*/ 119397 w 158182"/>
                <a:gd name="connsiteY40" fmla="*/ 128092 h 161181"/>
                <a:gd name="connsiteX41" fmla="*/ 119792 w 158182"/>
                <a:gd name="connsiteY41" fmla="*/ 126711 h 161181"/>
                <a:gd name="connsiteX42" fmla="*/ 123204 w 158182"/>
                <a:gd name="connsiteY42" fmla="*/ 124371 h 161181"/>
                <a:gd name="connsiteX43" fmla="*/ 125091 w 158182"/>
                <a:gd name="connsiteY43" fmla="*/ 122314 h 161181"/>
                <a:gd name="connsiteX44" fmla="*/ 126163 w 158182"/>
                <a:gd name="connsiteY44" fmla="*/ 121584 h 161181"/>
                <a:gd name="connsiteX45" fmla="*/ 126546 w 158182"/>
                <a:gd name="connsiteY45" fmla="*/ 121019 h 161181"/>
                <a:gd name="connsiteX46" fmla="*/ 128041 w 158182"/>
                <a:gd name="connsiteY46" fmla="*/ 120258 h 161181"/>
                <a:gd name="connsiteX47" fmla="*/ 128792 w 158182"/>
                <a:gd name="connsiteY47" fmla="*/ 118933 h 161181"/>
                <a:gd name="connsiteX48" fmla="*/ 128585 w 158182"/>
                <a:gd name="connsiteY48" fmla="*/ 117851 h 161181"/>
                <a:gd name="connsiteX49" fmla="*/ 127017 w 158182"/>
                <a:gd name="connsiteY49" fmla="*/ 116063 h 161181"/>
                <a:gd name="connsiteX50" fmla="*/ 127040 w 158182"/>
                <a:gd name="connsiteY50" fmla="*/ 114803 h 161181"/>
                <a:gd name="connsiteX51" fmla="*/ 127579 w 158182"/>
                <a:gd name="connsiteY51" fmla="*/ 113915 h 161181"/>
                <a:gd name="connsiteX52" fmla="*/ 118634 w 158182"/>
                <a:gd name="connsiteY52" fmla="*/ 110603 h 161181"/>
                <a:gd name="connsiteX53" fmla="*/ 120802 w 158182"/>
                <a:gd name="connsiteY53" fmla="*/ 111352 h 161181"/>
                <a:gd name="connsiteX54" fmla="*/ 121971 w 158182"/>
                <a:gd name="connsiteY54" fmla="*/ 112731 h 161181"/>
                <a:gd name="connsiteX55" fmla="*/ 124960 w 158182"/>
                <a:gd name="connsiteY55" fmla="*/ 113703 h 161181"/>
                <a:gd name="connsiteX56" fmla="*/ 125537 w 158182"/>
                <a:gd name="connsiteY56" fmla="*/ 114181 h 161181"/>
                <a:gd name="connsiteX57" fmla="*/ 123919 w 158182"/>
                <a:gd name="connsiteY57" fmla="*/ 115252 h 161181"/>
                <a:gd name="connsiteX58" fmla="*/ 120277 w 158182"/>
                <a:gd name="connsiteY58" fmla="*/ 113928 h 161181"/>
                <a:gd name="connsiteX59" fmla="*/ 119456 w 158182"/>
                <a:gd name="connsiteY59" fmla="*/ 114018 h 161181"/>
                <a:gd name="connsiteX60" fmla="*/ 118732 w 158182"/>
                <a:gd name="connsiteY60" fmla="*/ 112610 h 161181"/>
                <a:gd name="connsiteX61" fmla="*/ 118457 w 158182"/>
                <a:gd name="connsiteY61" fmla="*/ 111565 h 161181"/>
                <a:gd name="connsiteX62" fmla="*/ 93050 w 158182"/>
                <a:gd name="connsiteY62" fmla="*/ 88430 h 161181"/>
                <a:gd name="connsiteX63" fmla="*/ 95570 w 158182"/>
                <a:gd name="connsiteY63" fmla="*/ 91688 h 161181"/>
                <a:gd name="connsiteX64" fmla="*/ 96618 w 158182"/>
                <a:gd name="connsiteY64" fmla="*/ 94584 h 161181"/>
                <a:gd name="connsiteX65" fmla="*/ 98303 w 158182"/>
                <a:gd name="connsiteY65" fmla="*/ 97418 h 161181"/>
                <a:gd name="connsiteX66" fmla="*/ 99434 w 158182"/>
                <a:gd name="connsiteY66" fmla="*/ 102303 h 161181"/>
                <a:gd name="connsiteX67" fmla="*/ 102657 w 158182"/>
                <a:gd name="connsiteY67" fmla="*/ 103963 h 161181"/>
                <a:gd name="connsiteX68" fmla="*/ 104978 w 158182"/>
                <a:gd name="connsiteY68" fmla="*/ 106322 h 161181"/>
                <a:gd name="connsiteX69" fmla="*/ 105107 w 158182"/>
                <a:gd name="connsiteY69" fmla="*/ 109141 h 161181"/>
                <a:gd name="connsiteX70" fmla="*/ 104945 w 158182"/>
                <a:gd name="connsiteY70" fmla="*/ 109826 h 161181"/>
                <a:gd name="connsiteX71" fmla="*/ 101738 w 158182"/>
                <a:gd name="connsiteY71" fmla="*/ 104487 h 161181"/>
                <a:gd name="connsiteX72" fmla="*/ 97712 w 158182"/>
                <a:gd name="connsiteY72" fmla="*/ 103189 h 161181"/>
                <a:gd name="connsiteX73" fmla="*/ 95399 w 158182"/>
                <a:gd name="connsiteY73" fmla="*/ 101899 h 161181"/>
                <a:gd name="connsiteX74" fmla="*/ 95879 w 158182"/>
                <a:gd name="connsiteY74" fmla="*/ 101166 h 161181"/>
                <a:gd name="connsiteX75" fmla="*/ 97484 w 158182"/>
                <a:gd name="connsiteY75" fmla="*/ 100848 h 161181"/>
                <a:gd name="connsiteX76" fmla="*/ 97751 w 158182"/>
                <a:gd name="connsiteY76" fmla="*/ 99154 h 161181"/>
                <a:gd name="connsiteX77" fmla="*/ 97066 w 158182"/>
                <a:gd name="connsiteY77" fmla="*/ 97323 h 161181"/>
                <a:gd name="connsiteX78" fmla="*/ 94945 w 158182"/>
                <a:gd name="connsiteY78" fmla="*/ 93621 h 161181"/>
                <a:gd name="connsiteX79" fmla="*/ 93753 w 158182"/>
                <a:gd name="connsiteY79" fmla="*/ 91113 h 161181"/>
                <a:gd name="connsiteX80" fmla="*/ 93206 w 158182"/>
                <a:gd name="connsiteY80" fmla="*/ 90534 h 161181"/>
                <a:gd name="connsiteX81" fmla="*/ 75441 w 158182"/>
                <a:gd name="connsiteY81" fmla="*/ 88349 h 161181"/>
                <a:gd name="connsiteX82" fmla="*/ 77007 w 158182"/>
                <a:gd name="connsiteY82" fmla="*/ 88992 h 161181"/>
                <a:gd name="connsiteX83" fmla="*/ 80586 w 158182"/>
                <a:gd name="connsiteY83" fmla="*/ 91803 h 161181"/>
                <a:gd name="connsiteX84" fmla="*/ 81937 w 158182"/>
                <a:gd name="connsiteY84" fmla="*/ 93210 h 161181"/>
                <a:gd name="connsiteX85" fmla="*/ 84211 w 158182"/>
                <a:gd name="connsiteY85" fmla="*/ 94278 h 161181"/>
                <a:gd name="connsiteX86" fmla="*/ 83152 w 158182"/>
                <a:gd name="connsiteY86" fmla="*/ 94436 h 161181"/>
                <a:gd name="connsiteX87" fmla="*/ 81258 w 158182"/>
                <a:gd name="connsiteY87" fmla="*/ 93728 h 161181"/>
                <a:gd name="connsiteX88" fmla="*/ 76822 w 158182"/>
                <a:gd name="connsiteY88" fmla="*/ 90469 h 161181"/>
                <a:gd name="connsiteX89" fmla="*/ 74764 w 158182"/>
                <a:gd name="connsiteY89" fmla="*/ 90188 h 161181"/>
                <a:gd name="connsiteX90" fmla="*/ 114449 w 158182"/>
                <a:gd name="connsiteY90" fmla="*/ 76130 h 161181"/>
                <a:gd name="connsiteX91" fmla="*/ 114996 w 158182"/>
                <a:gd name="connsiteY91" fmla="*/ 76162 h 161181"/>
                <a:gd name="connsiteX92" fmla="*/ 115529 w 158182"/>
                <a:gd name="connsiteY92" fmla="*/ 77705 h 161181"/>
                <a:gd name="connsiteX93" fmla="*/ 113520 w 158182"/>
                <a:gd name="connsiteY93" fmla="*/ 80614 h 161181"/>
                <a:gd name="connsiteX94" fmla="*/ 112449 w 158182"/>
                <a:gd name="connsiteY94" fmla="*/ 80366 h 161181"/>
                <a:gd name="connsiteX95" fmla="*/ 113058 w 158182"/>
                <a:gd name="connsiteY95" fmla="*/ 76710 h 161181"/>
                <a:gd name="connsiteX96" fmla="*/ 32563 w 158182"/>
                <a:gd name="connsiteY96" fmla="*/ 71807 h 161181"/>
                <a:gd name="connsiteX97" fmla="*/ 33672 w 158182"/>
                <a:gd name="connsiteY97" fmla="*/ 72830 h 161181"/>
                <a:gd name="connsiteX98" fmla="*/ 33712 w 158182"/>
                <a:gd name="connsiteY98" fmla="*/ 73446 h 161181"/>
                <a:gd name="connsiteX99" fmla="*/ 31199 w 158182"/>
                <a:gd name="connsiteY99" fmla="*/ 75142 h 161181"/>
                <a:gd name="connsiteX100" fmla="*/ 33024 w 158182"/>
                <a:gd name="connsiteY100" fmla="*/ 76352 h 161181"/>
                <a:gd name="connsiteX101" fmla="*/ 34746 w 158182"/>
                <a:gd name="connsiteY101" fmla="*/ 73721 h 161181"/>
                <a:gd name="connsiteX102" fmla="*/ 36111 w 158182"/>
                <a:gd name="connsiteY102" fmla="*/ 75857 h 161181"/>
                <a:gd name="connsiteX103" fmla="*/ 36859 w 158182"/>
                <a:gd name="connsiteY103" fmla="*/ 79864 h 161181"/>
                <a:gd name="connsiteX104" fmla="*/ 36737 w 158182"/>
                <a:gd name="connsiteY104" fmla="*/ 80562 h 161181"/>
                <a:gd name="connsiteX105" fmla="*/ 36862 w 158182"/>
                <a:gd name="connsiteY105" fmla="*/ 81160 h 161181"/>
                <a:gd name="connsiteX106" fmla="*/ 37131 w 158182"/>
                <a:gd name="connsiteY106" fmla="*/ 81926 h 161181"/>
                <a:gd name="connsiteX107" fmla="*/ 37196 w 158182"/>
                <a:gd name="connsiteY107" fmla="*/ 83037 h 161181"/>
                <a:gd name="connsiteX108" fmla="*/ 35802 w 158182"/>
                <a:gd name="connsiteY108" fmla="*/ 86532 h 161181"/>
                <a:gd name="connsiteX109" fmla="*/ 30793 w 158182"/>
                <a:gd name="connsiteY109" fmla="*/ 86173 h 161181"/>
                <a:gd name="connsiteX110" fmla="*/ 30678 w 158182"/>
                <a:gd name="connsiteY110" fmla="*/ 83227 h 161181"/>
                <a:gd name="connsiteX111" fmla="*/ 29905 w 158182"/>
                <a:gd name="connsiteY111" fmla="*/ 82658 h 161181"/>
                <a:gd name="connsiteX112" fmla="*/ 28739 w 158182"/>
                <a:gd name="connsiteY112" fmla="*/ 78449 h 161181"/>
                <a:gd name="connsiteX113" fmla="*/ 27173 w 158182"/>
                <a:gd name="connsiteY113" fmla="*/ 77091 h 161181"/>
                <a:gd name="connsiteX114" fmla="*/ 24996 w 158182"/>
                <a:gd name="connsiteY114" fmla="*/ 73627 h 161181"/>
                <a:gd name="connsiteX115" fmla="*/ 26260 w 158182"/>
                <a:gd name="connsiteY115" fmla="*/ 72734 h 161181"/>
                <a:gd name="connsiteX116" fmla="*/ 27946 w 158182"/>
                <a:gd name="connsiteY116" fmla="*/ 73032 h 161181"/>
                <a:gd name="connsiteX117" fmla="*/ 28808 w 158182"/>
                <a:gd name="connsiteY117" fmla="*/ 72614 h 161181"/>
                <a:gd name="connsiteX118" fmla="*/ 31144 w 158182"/>
                <a:gd name="connsiteY118" fmla="*/ 72281 h 161181"/>
                <a:gd name="connsiteX119" fmla="*/ 83069 w 158182"/>
                <a:gd name="connsiteY119" fmla="*/ 60772 h 161181"/>
                <a:gd name="connsiteX120" fmla="*/ 84491 w 158182"/>
                <a:gd name="connsiteY120" fmla="*/ 61221 h 161181"/>
                <a:gd name="connsiteX121" fmla="*/ 87712 w 158182"/>
                <a:gd name="connsiteY121" fmla="*/ 67449 h 161181"/>
                <a:gd name="connsiteX122" fmla="*/ 87923 w 158182"/>
                <a:gd name="connsiteY122" fmla="*/ 68047 h 161181"/>
                <a:gd name="connsiteX123" fmla="*/ 93242 w 158182"/>
                <a:gd name="connsiteY123" fmla="*/ 74160 h 161181"/>
                <a:gd name="connsiteX124" fmla="*/ 93410 w 158182"/>
                <a:gd name="connsiteY124" fmla="*/ 75526 h 161181"/>
                <a:gd name="connsiteX125" fmla="*/ 91712 w 158182"/>
                <a:gd name="connsiteY125" fmla="*/ 75250 h 161181"/>
                <a:gd name="connsiteX126" fmla="*/ 89204 w 158182"/>
                <a:gd name="connsiteY126" fmla="*/ 75783 h 161181"/>
                <a:gd name="connsiteX127" fmla="*/ 88301 w 158182"/>
                <a:gd name="connsiteY127" fmla="*/ 75798 h 161181"/>
                <a:gd name="connsiteX128" fmla="*/ 88864 w 158182"/>
                <a:gd name="connsiteY128" fmla="*/ 74862 h 161181"/>
                <a:gd name="connsiteX129" fmla="*/ 90605 w 158182"/>
                <a:gd name="connsiteY129" fmla="*/ 73597 h 161181"/>
                <a:gd name="connsiteX130" fmla="*/ 90692 w 158182"/>
                <a:gd name="connsiteY130" fmla="*/ 72392 h 161181"/>
                <a:gd name="connsiteX131" fmla="*/ 88539 w 158182"/>
                <a:gd name="connsiteY131" fmla="*/ 70653 h 161181"/>
                <a:gd name="connsiteX132" fmla="*/ 86031 w 158182"/>
                <a:gd name="connsiteY132" fmla="*/ 66327 h 161181"/>
                <a:gd name="connsiteX133" fmla="*/ 84858 w 158182"/>
                <a:gd name="connsiteY133" fmla="*/ 65300 h 161181"/>
                <a:gd name="connsiteX134" fmla="*/ 84300 w 158182"/>
                <a:gd name="connsiteY134" fmla="*/ 63672 h 161181"/>
                <a:gd name="connsiteX135" fmla="*/ 82196 w 158182"/>
                <a:gd name="connsiteY135" fmla="*/ 61926 h 161181"/>
                <a:gd name="connsiteX136" fmla="*/ 82637 w 158182"/>
                <a:gd name="connsiteY136" fmla="*/ 60992 h 161181"/>
                <a:gd name="connsiteX137" fmla="*/ 42004 w 158182"/>
                <a:gd name="connsiteY137" fmla="*/ 50376 h 161181"/>
                <a:gd name="connsiteX138" fmla="*/ 43360 w 158182"/>
                <a:gd name="connsiteY138" fmla="*/ 51111 h 161181"/>
                <a:gd name="connsiteX139" fmla="*/ 43524 w 158182"/>
                <a:gd name="connsiteY139" fmla="*/ 51433 h 161181"/>
                <a:gd name="connsiteX140" fmla="*/ 41536 w 158182"/>
                <a:gd name="connsiteY140" fmla="*/ 52242 h 161181"/>
                <a:gd name="connsiteX141" fmla="*/ 38672 w 158182"/>
                <a:gd name="connsiteY141" fmla="*/ 52803 h 161181"/>
                <a:gd name="connsiteX142" fmla="*/ 36625 w 158182"/>
                <a:gd name="connsiteY142" fmla="*/ 52250 h 161181"/>
                <a:gd name="connsiteX143" fmla="*/ 36100 w 158182"/>
                <a:gd name="connsiteY143" fmla="*/ 51806 h 161181"/>
                <a:gd name="connsiteX144" fmla="*/ 36977 w 158182"/>
                <a:gd name="connsiteY144" fmla="*/ 51059 h 161181"/>
                <a:gd name="connsiteX145" fmla="*/ 38906 w 158182"/>
                <a:gd name="connsiteY145" fmla="*/ 50438 h 161181"/>
                <a:gd name="connsiteX146" fmla="*/ 20865 w 158182"/>
                <a:gd name="connsiteY146" fmla="*/ 47154 h 161181"/>
                <a:gd name="connsiteX147" fmla="*/ 24148 w 158182"/>
                <a:gd name="connsiteY147" fmla="*/ 48754 h 161181"/>
                <a:gd name="connsiteX148" fmla="*/ 25620 w 158182"/>
                <a:gd name="connsiteY148" fmla="*/ 50327 h 161181"/>
                <a:gd name="connsiteX149" fmla="*/ 25668 w 158182"/>
                <a:gd name="connsiteY149" fmla="*/ 52487 h 161181"/>
                <a:gd name="connsiteX150" fmla="*/ 27049 w 158182"/>
                <a:gd name="connsiteY150" fmla="*/ 54159 h 161181"/>
                <a:gd name="connsiteX151" fmla="*/ 29046 w 158182"/>
                <a:gd name="connsiteY151" fmla="*/ 58161 h 161181"/>
                <a:gd name="connsiteX152" fmla="*/ 31488 w 158182"/>
                <a:gd name="connsiteY152" fmla="*/ 60505 h 161181"/>
                <a:gd name="connsiteX153" fmla="*/ 31433 w 158182"/>
                <a:gd name="connsiteY153" fmla="*/ 63768 h 161181"/>
                <a:gd name="connsiteX154" fmla="*/ 31710 w 158182"/>
                <a:gd name="connsiteY154" fmla="*/ 66206 h 161181"/>
                <a:gd name="connsiteX155" fmla="*/ 31453 w 158182"/>
                <a:gd name="connsiteY155" fmla="*/ 67075 h 161181"/>
                <a:gd name="connsiteX156" fmla="*/ 28710 w 158182"/>
                <a:gd name="connsiteY156" fmla="*/ 68703 h 161181"/>
                <a:gd name="connsiteX157" fmla="*/ 28005 w 158182"/>
                <a:gd name="connsiteY157" fmla="*/ 69614 h 161181"/>
                <a:gd name="connsiteX158" fmla="*/ 25419 w 158182"/>
                <a:gd name="connsiteY158" fmla="*/ 70532 h 161181"/>
                <a:gd name="connsiteX159" fmla="*/ 23853 w 158182"/>
                <a:gd name="connsiteY159" fmla="*/ 71810 h 161181"/>
                <a:gd name="connsiteX160" fmla="*/ 23070 w 158182"/>
                <a:gd name="connsiteY160" fmla="*/ 69733 h 161181"/>
                <a:gd name="connsiteX161" fmla="*/ 21551 w 158182"/>
                <a:gd name="connsiteY161" fmla="*/ 68450 h 161181"/>
                <a:gd name="connsiteX162" fmla="*/ 21295 w 158182"/>
                <a:gd name="connsiteY162" fmla="*/ 66268 h 161181"/>
                <a:gd name="connsiteX163" fmla="*/ 20134 w 158182"/>
                <a:gd name="connsiteY163" fmla="*/ 67005 h 161181"/>
                <a:gd name="connsiteX164" fmla="*/ 18460 w 158182"/>
                <a:gd name="connsiteY164" fmla="*/ 66555 h 161181"/>
                <a:gd name="connsiteX165" fmla="*/ 15699 w 158182"/>
                <a:gd name="connsiteY165" fmla="*/ 64902 h 161181"/>
                <a:gd name="connsiteX166" fmla="*/ 13955 w 158182"/>
                <a:gd name="connsiteY166" fmla="*/ 62657 h 161181"/>
                <a:gd name="connsiteX167" fmla="*/ 16398 w 158182"/>
                <a:gd name="connsiteY167" fmla="*/ 62267 h 161181"/>
                <a:gd name="connsiteX168" fmla="*/ 16904 w 158182"/>
                <a:gd name="connsiteY168" fmla="*/ 63662 h 161181"/>
                <a:gd name="connsiteX169" fmla="*/ 18838 w 158182"/>
                <a:gd name="connsiteY169" fmla="*/ 61950 h 161181"/>
                <a:gd name="connsiteX170" fmla="*/ 18398 w 158182"/>
                <a:gd name="connsiteY170" fmla="*/ 61048 h 161181"/>
                <a:gd name="connsiteX171" fmla="*/ 18050 w 158182"/>
                <a:gd name="connsiteY171" fmla="*/ 60932 h 161181"/>
                <a:gd name="connsiteX172" fmla="*/ 17416 w 158182"/>
                <a:gd name="connsiteY172" fmla="*/ 59253 h 161181"/>
                <a:gd name="connsiteX173" fmla="*/ 20325 w 158182"/>
                <a:gd name="connsiteY173" fmla="*/ 54853 h 161181"/>
                <a:gd name="connsiteX174" fmla="*/ 20952 w 158182"/>
                <a:gd name="connsiteY174" fmla="*/ 52013 h 161181"/>
                <a:gd name="connsiteX175" fmla="*/ 19632 w 158182"/>
                <a:gd name="connsiteY175" fmla="*/ 47453 h 161181"/>
                <a:gd name="connsiteX176" fmla="*/ 57681 w 158182"/>
                <a:gd name="connsiteY176" fmla="*/ 37352 h 161181"/>
                <a:gd name="connsiteX177" fmla="*/ 59254 w 158182"/>
                <a:gd name="connsiteY177" fmla="*/ 39448 h 161181"/>
                <a:gd name="connsiteX178" fmla="*/ 63427 w 158182"/>
                <a:gd name="connsiteY178" fmla="*/ 42498 h 161181"/>
                <a:gd name="connsiteX179" fmla="*/ 66988 w 158182"/>
                <a:gd name="connsiteY179" fmla="*/ 43650 h 161181"/>
                <a:gd name="connsiteX180" fmla="*/ 70837 w 158182"/>
                <a:gd name="connsiteY180" fmla="*/ 47465 h 161181"/>
                <a:gd name="connsiteX181" fmla="*/ 72495 w 158182"/>
                <a:gd name="connsiteY181" fmla="*/ 48824 h 161181"/>
                <a:gd name="connsiteX182" fmla="*/ 72791 w 158182"/>
                <a:gd name="connsiteY182" fmla="*/ 50060 h 161181"/>
                <a:gd name="connsiteX183" fmla="*/ 72142 w 158182"/>
                <a:gd name="connsiteY183" fmla="*/ 55702 h 161181"/>
                <a:gd name="connsiteX184" fmla="*/ 71277 w 158182"/>
                <a:gd name="connsiteY184" fmla="*/ 59095 h 161181"/>
                <a:gd name="connsiteX185" fmla="*/ 71407 w 158182"/>
                <a:gd name="connsiteY185" fmla="*/ 62069 h 161181"/>
                <a:gd name="connsiteX186" fmla="*/ 70503 w 158182"/>
                <a:gd name="connsiteY186" fmla="*/ 61189 h 161181"/>
                <a:gd name="connsiteX187" fmla="*/ 69589 w 158182"/>
                <a:gd name="connsiteY187" fmla="*/ 59242 h 161181"/>
                <a:gd name="connsiteX188" fmla="*/ 68091 w 158182"/>
                <a:gd name="connsiteY188" fmla="*/ 58122 h 161181"/>
                <a:gd name="connsiteX189" fmla="*/ 67592 w 158182"/>
                <a:gd name="connsiteY189" fmla="*/ 57535 h 161181"/>
                <a:gd name="connsiteX190" fmla="*/ 70285 w 158182"/>
                <a:gd name="connsiteY190" fmla="*/ 57405 h 161181"/>
                <a:gd name="connsiteX191" fmla="*/ 70524 w 158182"/>
                <a:gd name="connsiteY191" fmla="*/ 54337 h 161181"/>
                <a:gd name="connsiteX192" fmla="*/ 71837 w 158182"/>
                <a:gd name="connsiteY192" fmla="*/ 51917 h 161181"/>
                <a:gd name="connsiteX193" fmla="*/ 71639 w 158182"/>
                <a:gd name="connsiteY193" fmla="*/ 49396 h 161181"/>
                <a:gd name="connsiteX194" fmla="*/ 68495 w 158182"/>
                <a:gd name="connsiteY194" fmla="*/ 46620 h 161181"/>
                <a:gd name="connsiteX195" fmla="*/ 66342 w 158182"/>
                <a:gd name="connsiteY195" fmla="*/ 44175 h 161181"/>
                <a:gd name="connsiteX196" fmla="*/ 63030 w 158182"/>
                <a:gd name="connsiteY196" fmla="*/ 43393 h 161181"/>
                <a:gd name="connsiteX197" fmla="*/ 59966 w 158182"/>
                <a:gd name="connsiteY197" fmla="*/ 40956 h 161181"/>
                <a:gd name="connsiteX198" fmla="*/ 58139 w 158182"/>
                <a:gd name="connsiteY198" fmla="*/ 40657 h 161181"/>
                <a:gd name="connsiteX199" fmla="*/ 55911 w 158182"/>
                <a:gd name="connsiteY199" fmla="*/ 41086 h 161181"/>
                <a:gd name="connsiteX200" fmla="*/ 56715 w 158182"/>
                <a:gd name="connsiteY200" fmla="*/ 39634 h 161181"/>
                <a:gd name="connsiteX201" fmla="*/ 57272 w 158182"/>
                <a:gd name="connsiteY201" fmla="*/ 37711 h 161181"/>
                <a:gd name="connsiteX202" fmla="*/ 9851 w 158182"/>
                <a:gd name="connsiteY202" fmla="*/ 3873 h 161181"/>
                <a:gd name="connsiteX203" fmla="*/ 12494 w 158182"/>
                <a:gd name="connsiteY203" fmla="*/ 5749 h 161181"/>
                <a:gd name="connsiteX204" fmla="*/ 15566 w 158182"/>
                <a:gd name="connsiteY204" fmla="*/ 6596 h 161181"/>
                <a:gd name="connsiteX205" fmla="*/ 17211 w 158182"/>
                <a:gd name="connsiteY205" fmla="*/ 6480 h 161181"/>
                <a:gd name="connsiteX206" fmla="*/ 18198 w 158182"/>
                <a:gd name="connsiteY206" fmla="*/ 5923 h 161181"/>
                <a:gd name="connsiteX207" fmla="*/ 22743 w 158182"/>
                <a:gd name="connsiteY207" fmla="*/ 6150 h 161181"/>
                <a:gd name="connsiteX208" fmla="*/ 26413 w 158182"/>
                <a:gd name="connsiteY208" fmla="*/ 5336 h 161181"/>
                <a:gd name="connsiteX209" fmla="*/ 26958 w 158182"/>
                <a:gd name="connsiteY209" fmla="*/ 6782 h 161181"/>
                <a:gd name="connsiteX210" fmla="*/ 26865 w 158182"/>
                <a:gd name="connsiteY210" fmla="*/ 7538 h 161181"/>
                <a:gd name="connsiteX211" fmla="*/ 19061 w 158182"/>
                <a:gd name="connsiteY211" fmla="*/ 8245 h 161181"/>
                <a:gd name="connsiteX212" fmla="*/ 11903 w 158182"/>
                <a:gd name="connsiteY212" fmla="*/ 10368 h 161181"/>
                <a:gd name="connsiteX213" fmla="*/ 7979 w 158182"/>
                <a:gd name="connsiteY213" fmla="*/ 11804 h 161181"/>
                <a:gd name="connsiteX214" fmla="*/ 6136 w 158182"/>
                <a:gd name="connsiteY214" fmla="*/ 11964 h 161181"/>
                <a:gd name="connsiteX215" fmla="*/ 4726 w 158182"/>
                <a:gd name="connsiteY215" fmla="*/ 11208 h 161181"/>
                <a:gd name="connsiteX216" fmla="*/ 0 w 158182"/>
                <a:gd name="connsiteY216" fmla="*/ 6826 h 161181"/>
                <a:gd name="connsiteX217" fmla="*/ 1263 w 158182"/>
                <a:gd name="connsiteY217" fmla="*/ 7264 h 161181"/>
                <a:gd name="connsiteX218" fmla="*/ 4756 w 158182"/>
                <a:gd name="connsiteY218" fmla="*/ 9740 h 161181"/>
                <a:gd name="connsiteX219" fmla="*/ 6925 w 158182"/>
                <a:gd name="connsiteY219" fmla="*/ 9289 h 161181"/>
                <a:gd name="connsiteX220" fmla="*/ 8935 w 158182"/>
                <a:gd name="connsiteY220" fmla="*/ 7651 h 161181"/>
                <a:gd name="connsiteX221" fmla="*/ 9242 w 158182"/>
                <a:gd name="connsiteY221" fmla="*/ 6414 h 161181"/>
                <a:gd name="connsiteX222" fmla="*/ 8942 w 158182"/>
                <a:gd name="connsiteY222" fmla="*/ 5828 h 161181"/>
                <a:gd name="connsiteX223" fmla="*/ 28479 w 158182"/>
                <a:gd name="connsiteY223" fmla="*/ 0 h 161181"/>
                <a:gd name="connsiteX224" fmla="*/ 30380 w 158182"/>
                <a:gd name="connsiteY224" fmla="*/ 120 h 161181"/>
                <a:gd name="connsiteX225" fmla="*/ 33308 w 158182"/>
                <a:gd name="connsiteY225" fmla="*/ 713 h 161181"/>
                <a:gd name="connsiteX226" fmla="*/ 36812 w 158182"/>
                <a:gd name="connsiteY226" fmla="*/ 1000 h 161181"/>
                <a:gd name="connsiteX227" fmla="*/ 38954 w 158182"/>
                <a:gd name="connsiteY227" fmla="*/ 2825 h 161181"/>
                <a:gd name="connsiteX228" fmla="*/ 41000 w 158182"/>
                <a:gd name="connsiteY228" fmla="*/ 5245 h 161181"/>
                <a:gd name="connsiteX229" fmla="*/ 42846 w 158182"/>
                <a:gd name="connsiteY229" fmla="*/ 6223 h 161181"/>
                <a:gd name="connsiteX230" fmla="*/ 43608 w 158182"/>
                <a:gd name="connsiteY230" fmla="*/ 6846 h 161181"/>
                <a:gd name="connsiteX231" fmla="*/ 43522 w 158182"/>
                <a:gd name="connsiteY231" fmla="*/ 7548 h 161181"/>
                <a:gd name="connsiteX232" fmla="*/ 43829 w 158182"/>
                <a:gd name="connsiteY232" fmla="*/ 8206 h 161181"/>
                <a:gd name="connsiteX233" fmla="*/ 46239 w 158182"/>
                <a:gd name="connsiteY233" fmla="*/ 9337 h 161181"/>
                <a:gd name="connsiteX234" fmla="*/ 48667 w 158182"/>
                <a:gd name="connsiteY234" fmla="*/ 11162 h 161181"/>
                <a:gd name="connsiteX235" fmla="*/ 49379 w 158182"/>
                <a:gd name="connsiteY235" fmla="*/ 16512 h 161181"/>
                <a:gd name="connsiteX236" fmla="*/ 46109 w 158182"/>
                <a:gd name="connsiteY236" fmla="*/ 19040 h 161181"/>
                <a:gd name="connsiteX237" fmla="*/ 45507 w 158182"/>
                <a:gd name="connsiteY237" fmla="*/ 26772 h 161181"/>
                <a:gd name="connsiteX238" fmla="*/ 44628 w 158182"/>
                <a:gd name="connsiteY238" fmla="*/ 28161 h 161181"/>
                <a:gd name="connsiteX239" fmla="*/ 44101 w 158182"/>
                <a:gd name="connsiteY239" fmla="*/ 28399 h 161181"/>
                <a:gd name="connsiteX240" fmla="*/ 41900 w 158182"/>
                <a:gd name="connsiteY240" fmla="*/ 25683 h 161181"/>
                <a:gd name="connsiteX241" fmla="*/ 40127 w 158182"/>
                <a:gd name="connsiteY241" fmla="*/ 24893 h 161181"/>
                <a:gd name="connsiteX242" fmla="*/ 42897 w 158182"/>
                <a:gd name="connsiteY242" fmla="*/ 22972 h 161181"/>
                <a:gd name="connsiteX243" fmla="*/ 44093 w 158182"/>
                <a:gd name="connsiteY243" fmla="*/ 21321 h 161181"/>
                <a:gd name="connsiteX244" fmla="*/ 44067 w 158182"/>
                <a:gd name="connsiteY244" fmla="*/ 17717 h 161181"/>
                <a:gd name="connsiteX245" fmla="*/ 44744 w 158182"/>
                <a:gd name="connsiteY245" fmla="*/ 15741 h 161181"/>
                <a:gd name="connsiteX246" fmla="*/ 44515 w 158182"/>
                <a:gd name="connsiteY246" fmla="*/ 14031 h 161181"/>
                <a:gd name="connsiteX247" fmla="*/ 45125 w 158182"/>
                <a:gd name="connsiteY247" fmla="*/ 12284 h 161181"/>
                <a:gd name="connsiteX248" fmla="*/ 44299 w 158182"/>
                <a:gd name="connsiteY248" fmla="*/ 10320 h 161181"/>
                <a:gd name="connsiteX249" fmla="*/ 41984 w 158182"/>
                <a:gd name="connsiteY249" fmla="*/ 8763 h 161181"/>
                <a:gd name="connsiteX250" fmla="*/ 37403 w 158182"/>
                <a:gd name="connsiteY250" fmla="*/ 2564 h 161181"/>
                <a:gd name="connsiteX251" fmla="*/ 30166 w 158182"/>
                <a:gd name="connsiteY251" fmla="*/ 1058 h 161181"/>
                <a:gd name="connsiteX252" fmla="*/ 26419 w 158182"/>
                <a:gd name="connsiteY252" fmla="*/ 995 h 161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</a:cxnLst>
              <a:rect l="l" t="t" r="r" b="b"/>
              <a:pathLst>
                <a:path w="158182" h="161181">
                  <a:moveTo>
                    <a:pt x="150291" y="151217"/>
                  </a:moveTo>
                  <a:lnTo>
                    <a:pt x="151479" y="151585"/>
                  </a:lnTo>
                  <a:lnTo>
                    <a:pt x="151094" y="154426"/>
                  </a:lnTo>
                  <a:lnTo>
                    <a:pt x="150285" y="156369"/>
                  </a:lnTo>
                  <a:lnTo>
                    <a:pt x="147602" y="160076"/>
                  </a:lnTo>
                  <a:lnTo>
                    <a:pt x="141612" y="161009"/>
                  </a:lnTo>
                  <a:lnTo>
                    <a:pt x="135013" y="161181"/>
                  </a:lnTo>
                  <a:lnTo>
                    <a:pt x="134503" y="160170"/>
                  </a:lnTo>
                  <a:lnTo>
                    <a:pt x="134359" y="159282"/>
                  </a:lnTo>
                  <a:lnTo>
                    <a:pt x="134841" y="157892"/>
                  </a:lnTo>
                  <a:lnTo>
                    <a:pt x="134796" y="157345"/>
                  </a:lnTo>
                  <a:lnTo>
                    <a:pt x="134523" y="156786"/>
                  </a:lnTo>
                  <a:lnTo>
                    <a:pt x="136939" y="156187"/>
                  </a:lnTo>
                  <a:lnTo>
                    <a:pt x="138510" y="154467"/>
                  </a:lnTo>
                  <a:lnTo>
                    <a:pt x="141010" y="154177"/>
                  </a:lnTo>
                  <a:lnTo>
                    <a:pt x="144128" y="155387"/>
                  </a:lnTo>
                  <a:lnTo>
                    <a:pt x="145807" y="155430"/>
                  </a:lnTo>
                  <a:lnTo>
                    <a:pt x="148293" y="154097"/>
                  </a:lnTo>
                  <a:close/>
                  <a:moveTo>
                    <a:pt x="151907" y="144631"/>
                  </a:moveTo>
                  <a:lnTo>
                    <a:pt x="153902" y="146088"/>
                  </a:lnTo>
                  <a:lnTo>
                    <a:pt x="150524" y="147391"/>
                  </a:lnTo>
                  <a:lnTo>
                    <a:pt x="150185" y="145859"/>
                  </a:lnTo>
                  <a:close/>
                  <a:moveTo>
                    <a:pt x="148544" y="120856"/>
                  </a:moveTo>
                  <a:lnTo>
                    <a:pt x="150734" y="121556"/>
                  </a:lnTo>
                  <a:lnTo>
                    <a:pt x="152308" y="121941"/>
                  </a:lnTo>
                  <a:lnTo>
                    <a:pt x="153163" y="121913"/>
                  </a:lnTo>
                  <a:lnTo>
                    <a:pt x="156065" y="122714"/>
                  </a:lnTo>
                  <a:lnTo>
                    <a:pt x="157793" y="123813"/>
                  </a:lnTo>
                  <a:lnTo>
                    <a:pt x="158182" y="124264"/>
                  </a:lnTo>
                  <a:lnTo>
                    <a:pt x="157254" y="125245"/>
                  </a:lnTo>
                  <a:lnTo>
                    <a:pt x="154585" y="123389"/>
                  </a:lnTo>
                  <a:lnTo>
                    <a:pt x="152255" y="123150"/>
                  </a:lnTo>
                  <a:lnTo>
                    <a:pt x="148980" y="123194"/>
                  </a:lnTo>
                  <a:lnTo>
                    <a:pt x="147669" y="122845"/>
                  </a:lnTo>
                  <a:close/>
                  <a:moveTo>
                    <a:pt x="130224" y="113501"/>
                  </a:moveTo>
                  <a:lnTo>
                    <a:pt x="129525" y="114844"/>
                  </a:lnTo>
                  <a:lnTo>
                    <a:pt x="130564" y="118640"/>
                  </a:lnTo>
                  <a:lnTo>
                    <a:pt x="127062" y="123365"/>
                  </a:lnTo>
                  <a:lnTo>
                    <a:pt x="124062" y="124828"/>
                  </a:lnTo>
                  <a:lnTo>
                    <a:pt x="121176" y="127290"/>
                  </a:lnTo>
                  <a:lnTo>
                    <a:pt x="119397" y="128092"/>
                  </a:lnTo>
                  <a:lnTo>
                    <a:pt x="119792" y="126711"/>
                  </a:lnTo>
                  <a:lnTo>
                    <a:pt x="123204" y="124371"/>
                  </a:lnTo>
                  <a:lnTo>
                    <a:pt x="125091" y="122314"/>
                  </a:lnTo>
                  <a:lnTo>
                    <a:pt x="126163" y="121584"/>
                  </a:lnTo>
                  <a:lnTo>
                    <a:pt x="126546" y="121019"/>
                  </a:lnTo>
                  <a:lnTo>
                    <a:pt x="128041" y="120258"/>
                  </a:lnTo>
                  <a:lnTo>
                    <a:pt x="128792" y="118933"/>
                  </a:lnTo>
                  <a:lnTo>
                    <a:pt x="128585" y="117851"/>
                  </a:lnTo>
                  <a:lnTo>
                    <a:pt x="127017" y="116063"/>
                  </a:lnTo>
                  <a:lnTo>
                    <a:pt x="127040" y="114803"/>
                  </a:lnTo>
                  <a:lnTo>
                    <a:pt x="127579" y="113915"/>
                  </a:lnTo>
                  <a:close/>
                  <a:moveTo>
                    <a:pt x="118634" y="110603"/>
                  </a:moveTo>
                  <a:lnTo>
                    <a:pt x="120802" y="111352"/>
                  </a:lnTo>
                  <a:lnTo>
                    <a:pt x="121971" y="112731"/>
                  </a:lnTo>
                  <a:lnTo>
                    <a:pt x="124960" y="113703"/>
                  </a:lnTo>
                  <a:lnTo>
                    <a:pt x="125537" y="114181"/>
                  </a:lnTo>
                  <a:lnTo>
                    <a:pt x="123919" y="115252"/>
                  </a:lnTo>
                  <a:lnTo>
                    <a:pt x="120277" y="113928"/>
                  </a:lnTo>
                  <a:lnTo>
                    <a:pt x="119456" y="114018"/>
                  </a:lnTo>
                  <a:lnTo>
                    <a:pt x="118732" y="112610"/>
                  </a:lnTo>
                  <a:lnTo>
                    <a:pt x="118457" y="111565"/>
                  </a:lnTo>
                  <a:close/>
                  <a:moveTo>
                    <a:pt x="93050" y="88430"/>
                  </a:moveTo>
                  <a:lnTo>
                    <a:pt x="95570" y="91688"/>
                  </a:lnTo>
                  <a:lnTo>
                    <a:pt x="96618" y="94584"/>
                  </a:lnTo>
                  <a:lnTo>
                    <a:pt x="98303" y="97418"/>
                  </a:lnTo>
                  <a:lnTo>
                    <a:pt x="99434" y="102303"/>
                  </a:lnTo>
                  <a:lnTo>
                    <a:pt x="102657" y="103963"/>
                  </a:lnTo>
                  <a:lnTo>
                    <a:pt x="104978" y="106322"/>
                  </a:lnTo>
                  <a:lnTo>
                    <a:pt x="105107" y="109141"/>
                  </a:lnTo>
                  <a:lnTo>
                    <a:pt x="104945" y="109826"/>
                  </a:lnTo>
                  <a:lnTo>
                    <a:pt x="101738" y="104487"/>
                  </a:lnTo>
                  <a:lnTo>
                    <a:pt x="97712" y="103189"/>
                  </a:lnTo>
                  <a:lnTo>
                    <a:pt x="95399" y="101899"/>
                  </a:lnTo>
                  <a:lnTo>
                    <a:pt x="95879" y="101166"/>
                  </a:lnTo>
                  <a:lnTo>
                    <a:pt x="97484" y="100848"/>
                  </a:lnTo>
                  <a:lnTo>
                    <a:pt x="97751" y="99154"/>
                  </a:lnTo>
                  <a:lnTo>
                    <a:pt x="97066" y="97323"/>
                  </a:lnTo>
                  <a:lnTo>
                    <a:pt x="94945" y="93621"/>
                  </a:lnTo>
                  <a:lnTo>
                    <a:pt x="93753" y="91113"/>
                  </a:lnTo>
                  <a:lnTo>
                    <a:pt x="93206" y="90534"/>
                  </a:lnTo>
                  <a:close/>
                  <a:moveTo>
                    <a:pt x="75441" y="88349"/>
                  </a:moveTo>
                  <a:lnTo>
                    <a:pt x="77007" y="88992"/>
                  </a:lnTo>
                  <a:lnTo>
                    <a:pt x="80586" y="91803"/>
                  </a:lnTo>
                  <a:lnTo>
                    <a:pt x="81937" y="93210"/>
                  </a:lnTo>
                  <a:lnTo>
                    <a:pt x="84211" y="94278"/>
                  </a:lnTo>
                  <a:lnTo>
                    <a:pt x="83152" y="94436"/>
                  </a:lnTo>
                  <a:lnTo>
                    <a:pt x="81258" y="93728"/>
                  </a:lnTo>
                  <a:lnTo>
                    <a:pt x="76822" y="90469"/>
                  </a:lnTo>
                  <a:lnTo>
                    <a:pt x="74764" y="90188"/>
                  </a:lnTo>
                  <a:close/>
                  <a:moveTo>
                    <a:pt x="114449" y="76130"/>
                  </a:moveTo>
                  <a:lnTo>
                    <a:pt x="114996" y="76162"/>
                  </a:lnTo>
                  <a:lnTo>
                    <a:pt x="115529" y="77705"/>
                  </a:lnTo>
                  <a:lnTo>
                    <a:pt x="113520" y="80614"/>
                  </a:lnTo>
                  <a:lnTo>
                    <a:pt x="112449" y="80366"/>
                  </a:lnTo>
                  <a:lnTo>
                    <a:pt x="113058" y="76710"/>
                  </a:lnTo>
                  <a:close/>
                  <a:moveTo>
                    <a:pt x="32563" y="71807"/>
                  </a:moveTo>
                  <a:lnTo>
                    <a:pt x="33672" y="72830"/>
                  </a:lnTo>
                  <a:lnTo>
                    <a:pt x="33712" y="73446"/>
                  </a:lnTo>
                  <a:lnTo>
                    <a:pt x="31199" y="75142"/>
                  </a:lnTo>
                  <a:lnTo>
                    <a:pt x="33024" y="76352"/>
                  </a:lnTo>
                  <a:lnTo>
                    <a:pt x="34746" y="73721"/>
                  </a:lnTo>
                  <a:lnTo>
                    <a:pt x="36111" y="75857"/>
                  </a:lnTo>
                  <a:lnTo>
                    <a:pt x="36859" y="79864"/>
                  </a:lnTo>
                  <a:lnTo>
                    <a:pt x="36737" y="80562"/>
                  </a:lnTo>
                  <a:lnTo>
                    <a:pt x="36862" y="81160"/>
                  </a:lnTo>
                  <a:lnTo>
                    <a:pt x="37131" y="81926"/>
                  </a:lnTo>
                  <a:lnTo>
                    <a:pt x="37196" y="83037"/>
                  </a:lnTo>
                  <a:lnTo>
                    <a:pt x="35802" y="86532"/>
                  </a:lnTo>
                  <a:lnTo>
                    <a:pt x="30793" y="86173"/>
                  </a:lnTo>
                  <a:lnTo>
                    <a:pt x="30678" y="83227"/>
                  </a:lnTo>
                  <a:lnTo>
                    <a:pt x="29905" y="82658"/>
                  </a:lnTo>
                  <a:lnTo>
                    <a:pt x="28739" y="78449"/>
                  </a:lnTo>
                  <a:lnTo>
                    <a:pt x="27173" y="77091"/>
                  </a:lnTo>
                  <a:lnTo>
                    <a:pt x="24996" y="73627"/>
                  </a:lnTo>
                  <a:lnTo>
                    <a:pt x="26260" y="72734"/>
                  </a:lnTo>
                  <a:lnTo>
                    <a:pt x="27946" y="73032"/>
                  </a:lnTo>
                  <a:lnTo>
                    <a:pt x="28808" y="72614"/>
                  </a:lnTo>
                  <a:lnTo>
                    <a:pt x="31144" y="72281"/>
                  </a:lnTo>
                  <a:close/>
                  <a:moveTo>
                    <a:pt x="83069" y="60772"/>
                  </a:moveTo>
                  <a:lnTo>
                    <a:pt x="84491" y="61221"/>
                  </a:lnTo>
                  <a:lnTo>
                    <a:pt x="87712" y="67449"/>
                  </a:lnTo>
                  <a:lnTo>
                    <a:pt x="87923" y="68047"/>
                  </a:lnTo>
                  <a:lnTo>
                    <a:pt x="93242" y="74160"/>
                  </a:lnTo>
                  <a:lnTo>
                    <a:pt x="93410" y="75526"/>
                  </a:lnTo>
                  <a:lnTo>
                    <a:pt x="91712" y="75250"/>
                  </a:lnTo>
                  <a:lnTo>
                    <a:pt x="89204" y="75783"/>
                  </a:lnTo>
                  <a:lnTo>
                    <a:pt x="88301" y="75798"/>
                  </a:lnTo>
                  <a:lnTo>
                    <a:pt x="88864" y="74862"/>
                  </a:lnTo>
                  <a:lnTo>
                    <a:pt x="90605" y="73597"/>
                  </a:lnTo>
                  <a:lnTo>
                    <a:pt x="90692" y="72392"/>
                  </a:lnTo>
                  <a:lnTo>
                    <a:pt x="88539" y="70653"/>
                  </a:lnTo>
                  <a:lnTo>
                    <a:pt x="86031" y="66327"/>
                  </a:lnTo>
                  <a:lnTo>
                    <a:pt x="84858" y="65300"/>
                  </a:lnTo>
                  <a:lnTo>
                    <a:pt x="84300" y="63672"/>
                  </a:lnTo>
                  <a:lnTo>
                    <a:pt x="82196" y="61926"/>
                  </a:lnTo>
                  <a:lnTo>
                    <a:pt x="82637" y="60992"/>
                  </a:lnTo>
                  <a:close/>
                  <a:moveTo>
                    <a:pt x="42004" y="50376"/>
                  </a:moveTo>
                  <a:lnTo>
                    <a:pt x="43360" y="51111"/>
                  </a:lnTo>
                  <a:lnTo>
                    <a:pt x="43524" y="51433"/>
                  </a:lnTo>
                  <a:lnTo>
                    <a:pt x="41536" y="52242"/>
                  </a:lnTo>
                  <a:lnTo>
                    <a:pt x="38672" y="52803"/>
                  </a:lnTo>
                  <a:lnTo>
                    <a:pt x="36625" y="52250"/>
                  </a:lnTo>
                  <a:lnTo>
                    <a:pt x="36100" y="51806"/>
                  </a:lnTo>
                  <a:lnTo>
                    <a:pt x="36977" y="51059"/>
                  </a:lnTo>
                  <a:lnTo>
                    <a:pt x="38906" y="50438"/>
                  </a:lnTo>
                  <a:close/>
                  <a:moveTo>
                    <a:pt x="20865" y="47154"/>
                  </a:moveTo>
                  <a:lnTo>
                    <a:pt x="24148" y="48754"/>
                  </a:lnTo>
                  <a:lnTo>
                    <a:pt x="25620" y="50327"/>
                  </a:lnTo>
                  <a:lnTo>
                    <a:pt x="25668" y="52487"/>
                  </a:lnTo>
                  <a:lnTo>
                    <a:pt x="27049" y="54159"/>
                  </a:lnTo>
                  <a:lnTo>
                    <a:pt x="29046" y="58161"/>
                  </a:lnTo>
                  <a:lnTo>
                    <a:pt x="31488" y="60505"/>
                  </a:lnTo>
                  <a:lnTo>
                    <a:pt x="31433" y="63768"/>
                  </a:lnTo>
                  <a:lnTo>
                    <a:pt x="31710" y="66206"/>
                  </a:lnTo>
                  <a:lnTo>
                    <a:pt x="31453" y="67075"/>
                  </a:lnTo>
                  <a:lnTo>
                    <a:pt x="28710" y="68703"/>
                  </a:lnTo>
                  <a:lnTo>
                    <a:pt x="28005" y="69614"/>
                  </a:lnTo>
                  <a:lnTo>
                    <a:pt x="25419" y="70532"/>
                  </a:lnTo>
                  <a:lnTo>
                    <a:pt x="23853" y="71810"/>
                  </a:lnTo>
                  <a:lnTo>
                    <a:pt x="23070" y="69733"/>
                  </a:lnTo>
                  <a:lnTo>
                    <a:pt x="21551" y="68450"/>
                  </a:lnTo>
                  <a:lnTo>
                    <a:pt x="21295" y="66268"/>
                  </a:lnTo>
                  <a:lnTo>
                    <a:pt x="20134" y="67005"/>
                  </a:lnTo>
                  <a:lnTo>
                    <a:pt x="18460" y="66555"/>
                  </a:lnTo>
                  <a:lnTo>
                    <a:pt x="15699" y="64902"/>
                  </a:lnTo>
                  <a:lnTo>
                    <a:pt x="13955" y="62657"/>
                  </a:lnTo>
                  <a:lnTo>
                    <a:pt x="16398" y="62267"/>
                  </a:lnTo>
                  <a:lnTo>
                    <a:pt x="16904" y="63662"/>
                  </a:lnTo>
                  <a:lnTo>
                    <a:pt x="18838" y="61950"/>
                  </a:lnTo>
                  <a:lnTo>
                    <a:pt x="18398" y="61048"/>
                  </a:lnTo>
                  <a:lnTo>
                    <a:pt x="18050" y="60932"/>
                  </a:lnTo>
                  <a:lnTo>
                    <a:pt x="17416" y="59253"/>
                  </a:lnTo>
                  <a:lnTo>
                    <a:pt x="20325" y="54853"/>
                  </a:lnTo>
                  <a:lnTo>
                    <a:pt x="20952" y="52013"/>
                  </a:lnTo>
                  <a:lnTo>
                    <a:pt x="19632" y="47453"/>
                  </a:lnTo>
                  <a:close/>
                  <a:moveTo>
                    <a:pt x="57681" y="37352"/>
                  </a:moveTo>
                  <a:lnTo>
                    <a:pt x="59254" y="39448"/>
                  </a:lnTo>
                  <a:lnTo>
                    <a:pt x="63427" y="42498"/>
                  </a:lnTo>
                  <a:lnTo>
                    <a:pt x="66988" y="43650"/>
                  </a:lnTo>
                  <a:lnTo>
                    <a:pt x="70837" y="47465"/>
                  </a:lnTo>
                  <a:lnTo>
                    <a:pt x="72495" y="48824"/>
                  </a:lnTo>
                  <a:lnTo>
                    <a:pt x="72791" y="50060"/>
                  </a:lnTo>
                  <a:lnTo>
                    <a:pt x="72142" y="55702"/>
                  </a:lnTo>
                  <a:lnTo>
                    <a:pt x="71277" y="59095"/>
                  </a:lnTo>
                  <a:lnTo>
                    <a:pt x="71407" y="62069"/>
                  </a:lnTo>
                  <a:lnTo>
                    <a:pt x="70503" y="61189"/>
                  </a:lnTo>
                  <a:lnTo>
                    <a:pt x="69589" y="59242"/>
                  </a:lnTo>
                  <a:lnTo>
                    <a:pt x="68091" y="58122"/>
                  </a:lnTo>
                  <a:lnTo>
                    <a:pt x="67592" y="57535"/>
                  </a:lnTo>
                  <a:lnTo>
                    <a:pt x="70285" y="57405"/>
                  </a:lnTo>
                  <a:lnTo>
                    <a:pt x="70524" y="54337"/>
                  </a:lnTo>
                  <a:lnTo>
                    <a:pt x="71837" y="51917"/>
                  </a:lnTo>
                  <a:lnTo>
                    <a:pt x="71639" y="49396"/>
                  </a:lnTo>
                  <a:lnTo>
                    <a:pt x="68495" y="46620"/>
                  </a:lnTo>
                  <a:lnTo>
                    <a:pt x="66342" y="44175"/>
                  </a:lnTo>
                  <a:lnTo>
                    <a:pt x="63030" y="43393"/>
                  </a:lnTo>
                  <a:lnTo>
                    <a:pt x="59966" y="40956"/>
                  </a:lnTo>
                  <a:lnTo>
                    <a:pt x="58139" y="40657"/>
                  </a:lnTo>
                  <a:lnTo>
                    <a:pt x="55911" y="41086"/>
                  </a:lnTo>
                  <a:lnTo>
                    <a:pt x="56715" y="39634"/>
                  </a:lnTo>
                  <a:lnTo>
                    <a:pt x="57272" y="37711"/>
                  </a:lnTo>
                  <a:close/>
                  <a:moveTo>
                    <a:pt x="9851" y="3873"/>
                  </a:moveTo>
                  <a:lnTo>
                    <a:pt x="12494" y="5749"/>
                  </a:lnTo>
                  <a:lnTo>
                    <a:pt x="15566" y="6596"/>
                  </a:lnTo>
                  <a:lnTo>
                    <a:pt x="17211" y="6480"/>
                  </a:lnTo>
                  <a:lnTo>
                    <a:pt x="18198" y="5923"/>
                  </a:lnTo>
                  <a:lnTo>
                    <a:pt x="22743" y="6150"/>
                  </a:lnTo>
                  <a:lnTo>
                    <a:pt x="26413" y="5336"/>
                  </a:lnTo>
                  <a:lnTo>
                    <a:pt x="26958" y="6782"/>
                  </a:lnTo>
                  <a:lnTo>
                    <a:pt x="26865" y="7538"/>
                  </a:lnTo>
                  <a:lnTo>
                    <a:pt x="19061" y="8245"/>
                  </a:lnTo>
                  <a:lnTo>
                    <a:pt x="11903" y="10368"/>
                  </a:lnTo>
                  <a:lnTo>
                    <a:pt x="7979" y="11804"/>
                  </a:lnTo>
                  <a:lnTo>
                    <a:pt x="6136" y="11964"/>
                  </a:lnTo>
                  <a:lnTo>
                    <a:pt x="4726" y="11208"/>
                  </a:lnTo>
                  <a:lnTo>
                    <a:pt x="0" y="6826"/>
                  </a:lnTo>
                  <a:lnTo>
                    <a:pt x="1263" y="7264"/>
                  </a:lnTo>
                  <a:lnTo>
                    <a:pt x="4756" y="9740"/>
                  </a:lnTo>
                  <a:lnTo>
                    <a:pt x="6925" y="9289"/>
                  </a:lnTo>
                  <a:lnTo>
                    <a:pt x="8935" y="7651"/>
                  </a:lnTo>
                  <a:lnTo>
                    <a:pt x="9242" y="6414"/>
                  </a:lnTo>
                  <a:lnTo>
                    <a:pt x="8942" y="5828"/>
                  </a:lnTo>
                  <a:close/>
                  <a:moveTo>
                    <a:pt x="28479" y="0"/>
                  </a:moveTo>
                  <a:lnTo>
                    <a:pt x="30380" y="120"/>
                  </a:lnTo>
                  <a:lnTo>
                    <a:pt x="33308" y="713"/>
                  </a:lnTo>
                  <a:lnTo>
                    <a:pt x="36812" y="1000"/>
                  </a:lnTo>
                  <a:lnTo>
                    <a:pt x="38954" y="2825"/>
                  </a:lnTo>
                  <a:lnTo>
                    <a:pt x="41000" y="5245"/>
                  </a:lnTo>
                  <a:lnTo>
                    <a:pt x="42846" y="6223"/>
                  </a:lnTo>
                  <a:lnTo>
                    <a:pt x="43608" y="6846"/>
                  </a:lnTo>
                  <a:lnTo>
                    <a:pt x="43522" y="7548"/>
                  </a:lnTo>
                  <a:lnTo>
                    <a:pt x="43829" y="8206"/>
                  </a:lnTo>
                  <a:lnTo>
                    <a:pt x="46239" y="9337"/>
                  </a:lnTo>
                  <a:lnTo>
                    <a:pt x="48667" y="11162"/>
                  </a:lnTo>
                  <a:lnTo>
                    <a:pt x="49379" y="16512"/>
                  </a:lnTo>
                  <a:lnTo>
                    <a:pt x="46109" y="19040"/>
                  </a:lnTo>
                  <a:lnTo>
                    <a:pt x="45507" y="26772"/>
                  </a:lnTo>
                  <a:lnTo>
                    <a:pt x="44628" y="28161"/>
                  </a:lnTo>
                  <a:lnTo>
                    <a:pt x="44101" y="28399"/>
                  </a:lnTo>
                  <a:lnTo>
                    <a:pt x="41900" y="25683"/>
                  </a:lnTo>
                  <a:lnTo>
                    <a:pt x="40127" y="24893"/>
                  </a:lnTo>
                  <a:lnTo>
                    <a:pt x="42897" y="22972"/>
                  </a:lnTo>
                  <a:lnTo>
                    <a:pt x="44093" y="21321"/>
                  </a:lnTo>
                  <a:lnTo>
                    <a:pt x="44067" y="17717"/>
                  </a:lnTo>
                  <a:lnTo>
                    <a:pt x="44744" y="15741"/>
                  </a:lnTo>
                  <a:lnTo>
                    <a:pt x="44515" y="14031"/>
                  </a:lnTo>
                  <a:lnTo>
                    <a:pt x="45125" y="12284"/>
                  </a:lnTo>
                  <a:lnTo>
                    <a:pt x="44299" y="10320"/>
                  </a:lnTo>
                  <a:lnTo>
                    <a:pt x="41984" y="8763"/>
                  </a:lnTo>
                  <a:lnTo>
                    <a:pt x="37403" y="2564"/>
                  </a:lnTo>
                  <a:lnTo>
                    <a:pt x="30166" y="1058"/>
                  </a:lnTo>
                  <a:lnTo>
                    <a:pt x="26419" y="995"/>
                  </a:lnTo>
                  <a:close/>
                </a:path>
              </a:pathLst>
            </a:custGeom>
            <a:solidFill>
              <a:srgbClr val="007CBC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42" name="ee4p_BZ_1_82333">
              <a:extLst>
                <a:ext uri="{FF2B5EF4-FFF2-40B4-BE49-F238E27FC236}">
                  <a16:creationId xmlns:a16="http://schemas.microsoft.com/office/drawing/2014/main" id="{EDAFE0C6-0095-5E0F-C2F4-C634A3E99774}"/>
                </a:ext>
              </a:extLst>
            </p:cNvPr>
            <p:cNvSpPr>
              <a:spLocks noChangeAspect="1"/>
            </p:cNvSpPr>
            <p:nvPr>
              <p:custDataLst>
                <p:tags r:id="rId170"/>
              </p:custDataLst>
            </p:nvPr>
          </p:nvSpPr>
          <p:spPr>
            <a:xfrm>
              <a:off x="4036633" y="4142617"/>
              <a:ext cx="40235" cy="76172"/>
            </a:xfrm>
            <a:custGeom>
              <a:avLst/>
              <a:gdLst>
                <a:gd name="connsiteX0" fmla="*/ 35781 w 36738"/>
                <a:gd name="connsiteY0" fmla="*/ 24506 h 67709"/>
                <a:gd name="connsiteX1" fmla="*/ 36738 w 36738"/>
                <a:gd name="connsiteY1" fmla="*/ 25083 h 67709"/>
                <a:gd name="connsiteX2" fmla="*/ 36497 w 36738"/>
                <a:gd name="connsiteY2" fmla="*/ 26249 h 67709"/>
                <a:gd name="connsiteX3" fmla="*/ 35108 w 36738"/>
                <a:gd name="connsiteY3" fmla="*/ 27732 h 67709"/>
                <a:gd name="connsiteX4" fmla="*/ 33155 w 36738"/>
                <a:gd name="connsiteY4" fmla="*/ 31385 h 67709"/>
                <a:gd name="connsiteX5" fmla="*/ 33031 w 36738"/>
                <a:gd name="connsiteY5" fmla="*/ 30342 h 67709"/>
                <a:gd name="connsiteX6" fmla="*/ 33843 w 36738"/>
                <a:gd name="connsiteY6" fmla="*/ 27638 h 67709"/>
                <a:gd name="connsiteX7" fmla="*/ 34944 w 36738"/>
                <a:gd name="connsiteY7" fmla="*/ 26688 h 67709"/>
                <a:gd name="connsiteX8" fmla="*/ 35626 w 36738"/>
                <a:gd name="connsiteY8" fmla="*/ 25688 h 67709"/>
                <a:gd name="connsiteX9" fmla="*/ 33957 w 36738"/>
                <a:gd name="connsiteY9" fmla="*/ 8581 h 67709"/>
                <a:gd name="connsiteX10" fmla="*/ 34957 w 36738"/>
                <a:gd name="connsiteY10" fmla="*/ 8604 h 67709"/>
                <a:gd name="connsiteX11" fmla="*/ 35219 w 36738"/>
                <a:gd name="connsiteY11" fmla="*/ 8962 h 67709"/>
                <a:gd name="connsiteX12" fmla="*/ 32632 w 36738"/>
                <a:gd name="connsiteY12" fmla="*/ 14603 h 67709"/>
                <a:gd name="connsiteX13" fmla="*/ 31427 w 36738"/>
                <a:gd name="connsiteY13" fmla="*/ 15090 h 67709"/>
                <a:gd name="connsiteX14" fmla="*/ 32418 w 36738"/>
                <a:gd name="connsiteY14" fmla="*/ 13580 h 67709"/>
                <a:gd name="connsiteX15" fmla="*/ 32562 w 36738"/>
                <a:gd name="connsiteY15" fmla="*/ 12610 h 67709"/>
                <a:gd name="connsiteX16" fmla="*/ 21936 w 36738"/>
                <a:gd name="connsiteY16" fmla="*/ 0 h 67709"/>
                <a:gd name="connsiteX17" fmla="*/ 23883 w 36738"/>
                <a:gd name="connsiteY17" fmla="*/ 260 h 67709"/>
                <a:gd name="connsiteX18" fmla="*/ 22523 w 36738"/>
                <a:gd name="connsiteY18" fmla="*/ 3237 h 67709"/>
                <a:gd name="connsiteX19" fmla="*/ 23883 w 36738"/>
                <a:gd name="connsiteY19" fmla="*/ 3624 h 67709"/>
                <a:gd name="connsiteX20" fmla="*/ 25110 w 36738"/>
                <a:gd name="connsiteY20" fmla="*/ 3346 h 67709"/>
                <a:gd name="connsiteX21" fmla="*/ 28076 w 36738"/>
                <a:gd name="connsiteY21" fmla="*/ 3451 h 67709"/>
                <a:gd name="connsiteX22" fmla="*/ 29217 w 36738"/>
                <a:gd name="connsiteY22" fmla="*/ 6715 h 67709"/>
                <a:gd name="connsiteX23" fmla="*/ 28914 w 36738"/>
                <a:gd name="connsiteY23" fmla="*/ 9452 h 67709"/>
                <a:gd name="connsiteX24" fmla="*/ 26119 w 36738"/>
                <a:gd name="connsiteY24" fmla="*/ 16665 h 67709"/>
                <a:gd name="connsiteX25" fmla="*/ 25764 w 36738"/>
                <a:gd name="connsiteY25" fmla="*/ 19143 h 67709"/>
                <a:gd name="connsiteX26" fmla="*/ 24489 w 36738"/>
                <a:gd name="connsiteY26" fmla="*/ 22844 h 67709"/>
                <a:gd name="connsiteX27" fmla="*/ 26220 w 36738"/>
                <a:gd name="connsiteY27" fmla="*/ 25282 h 67709"/>
                <a:gd name="connsiteX28" fmla="*/ 24604 w 36738"/>
                <a:gd name="connsiteY28" fmla="*/ 28522 h 67709"/>
                <a:gd name="connsiteX29" fmla="*/ 24056 w 36738"/>
                <a:gd name="connsiteY29" fmla="*/ 30608 h 67709"/>
                <a:gd name="connsiteX30" fmla="*/ 23925 w 36738"/>
                <a:gd name="connsiteY30" fmla="*/ 33756 h 67709"/>
                <a:gd name="connsiteX31" fmla="*/ 24740 w 36738"/>
                <a:gd name="connsiteY31" fmla="*/ 39735 h 67709"/>
                <a:gd name="connsiteX32" fmla="*/ 23432 w 36738"/>
                <a:gd name="connsiteY32" fmla="*/ 48344 h 67709"/>
                <a:gd name="connsiteX33" fmla="*/ 21121 w 36738"/>
                <a:gd name="connsiteY33" fmla="*/ 52100 h 67709"/>
                <a:gd name="connsiteX34" fmla="*/ 19687 w 36738"/>
                <a:gd name="connsiteY34" fmla="*/ 53528 h 67709"/>
                <a:gd name="connsiteX35" fmla="*/ 17122 w 36738"/>
                <a:gd name="connsiteY35" fmla="*/ 57260 h 67709"/>
                <a:gd name="connsiteX36" fmla="*/ 13753 w 36738"/>
                <a:gd name="connsiteY36" fmla="*/ 58372 h 67709"/>
                <a:gd name="connsiteX37" fmla="*/ 9088 w 36738"/>
                <a:gd name="connsiteY37" fmla="*/ 64382 h 67709"/>
                <a:gd name="connsiteX38" fmla="*/ 8261 w 36738"/>
                <a:gd name="connsiteY38" fmla="*/ 65959 h 67709"/>
                <a:gd name="connsiteX39" fmla="*/ 8709 w 36738"/>
                <a:gd name="connsiteY39" fmla="*/ 67659 h 67709"/>
                <a:gd name="connsiteX40" fmla="*/ 7617 w 36738"/>
                <a:gd name="connsiteY40" fmla="*/ 67679 h 67709"/>
                <a:gd name="connsiteX41" fmla="*/ 3143 w 36738"/>
                <a:gd name="connsiteY41" fmla="*/ 67397 h 67709"/>
                <a:gd name="connsiteX42" fmla="*/ 120 w 36738"/>
                <a:gd name="connsiteY42" fmla="*/ 67709 h 67709"/>
                <a:gd name="connsiteX43" fmla="*/ 0 w 36738"/>
                <a:gd name="connsiteY43" fmla="*/ 67560 h 67709"/>
                <a:gd name="connsiteX44" fmla="*/ 251 w 36738"/>
                <a:gd name="connsiteY44" fmla="*/ 61100 h 67709"/>
                <a:gd name="connsiteX45" fmla="*/ 636 w 36738"/>
                <a:gd name="connsiteY45" fmla="*/ 51097 h 67709"/>
                <a:gd name="connsiteX46" fmla="*/ 920 w 36738"/>
                <a:gd name="connsiteY46" fmla="*/ 43752 h 67709"/>
                <a:gd name="connsiteX47" fmla="*/ 1195 w 36738"/>
                <a:gd name="connsiteY47" fmla="*/ 36561 h 67709"/>
                <a:gd name="connsiteX48" fmla="*/ 1404 w 36738"/>
                <a:gd name="connsiteY48" fmla="*/ 31170 h 67709"/>
                <a:gd name="connsiteX49" fmla="*/ 1685 w 36738"/>
                <a:gd name="connsiteY49" fmla="*/ 23827 h 67709"/>
                <a:gd name="connsiteX50" fmla="*/ 1929 w 36738"/>
                <a:gd name="connsiteY50" fmla="*/ 17483 h 67709"/>
                <a:gd name="connsiteX51" fmla="*/ 1906 w 36738"/>
                <a:gd name="connsiteY51" fmla="*/ 15204 h 67709"/>
                <a:gd name="connsiteX52" fmla="*/ 2637 w 36738"/>
                <a:gd name="connsiteY52" fmla="*/ 13402 h 67709"/>
                <a:gd name="connsiteX53" fmla="*/ 4744 w 36738"/>
                <a:gd name="connsiteY53" fmla="*/ 12645 h 67709"/>
                <a:gd name="connsiteX54" fmla="*/ 7478 w 36738"/>
                <a:gd name="connsiteY54" fmla="*/ 14217 h 67709"/>
                <a:gd name="connsiteX55" fmla="*/ 8614 w 36738"/>
                <a:gd name="connsiteY55" fmla="*/ 14874 h 67709"/>
                <a:gd name="connsiteX56" fmla="*/ 9639 w 36738"/>
                <a:gd name="connsiteY56" fmla="*/ 14501 h 67709"/>
                <a:gd name="connsiteX57" fmla="*/ 10933 w 36738"/>
                <a:gd name="connsiteY57" fmla="*/ 13541 h 67709"/>
                <a:gd name="connsiteX58" fmla="*/ 12523 w 36738"/>
                <a:gd name="connsiteY58" fmla="*/ 10762 h 67709"/>
                <a:gd name="connsiteX59" fmla="*/ 16516 w 36738"/>
                <a:gd name="connsiteY59" fmla="*/ 5028 h 67709"/>
                <a:gd name="connsiteX60" fmla="*/ 18118 w 36738"/>
                <a:gd name="connsiteY60" fmla="*/ 955 h 67709"/>
                <a:gd name="connsiteX61" fmla="*/ 19682 w 36738"/>
                <a:gd name="connsiteY61" fmla="*/ 146 h 677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36738" h="67709">
                  <a:moveTo>
                    <a:pt x="35781" y="24506"/>
                  </a:moveTo>
                  <a:lnTo>
                    <a:pt x="36738" y="25083"/>
                  </a:lnTo>
                  <a:lnTo>
                    <a:pt x="36497" y="26249"/>
                  </a:lnTo>
                  <a:lnTo>
                    <a:pt x="35108" y="27732"/>
                  </a:lnTo>
                  <a:lnTo>
                    <a:pt x="33155" y="31385"/>
                  </a:lnTo>
                  <a:lnTo>
                    <a:pt x="33031" y="30342"/>
                  </a:lnTo>
                  <a:lnTo>
                    <a:pt x="33843" y="27638"/>
                  </a:lnTo>
                  <a:lnTo>
                    <a:pt x="34944" y="26688"/>
                  </a:lnTo>
                  <a:lnTo>
                    <a:pt x="35626" y="25688"/>
                  </a:lnTo>
                  <a:close/>
                  <a:moveTo>
                    <a:pt x="33957" y="8581"/>
                  </a:moveTo>
                  <a:lnTo>
                    <a:pt x="34957" y="8604"/>
                  </a:lnTo>
                  <a:lnTo>
                    <a:pt x="35219" y="8962"/>
                  </a:lnTo>
                  <a:lnTo>
                    <a:pt x="32632" y="14603"/>
                  </a:lnTo>
                  <a:lnTo>
                    <a:pt x="31427" y="15090"/>
                  </a:lnTo>
                  <a:lnTo>
                    <a:pt x="32418" y="13580"/>
                  </a:lnTo>
                  <a:lnTo>
                    <a:pt x="32562" y="12610"/>
                  </a:lnTo>
                  <a:close/>
                  <a:moveTo>
                    <a:pt x="21936" y="0"/>
                  </a:moveTo>
                  <a:lnTo>
                    <a:pt x="23883" y="260"/>
                  </a:lnTo>
                  <a:lnTo>
                    <a:pt x="22523" y="3237"/>
                  </a:lnTo>
                  <a:lnTo>
                    <a:pt x="23883" y="3624"/>
                  </a:lnTo>
                  <a:lnTo>
                    <a:pt x="25110" y="3346"/>
                  </a:lnTo>
                  <a:lnTo>
                    <a:pt x="28076" y="3451"/>
                  </a:lnTo>
                  <a:lnTo>
                    <a:pt x="29217" y="6715"/>
                  </a:lnTo>
                  <a:lnTo>
                    <a:pt x="28914" y="9452"/>
                  </a:lnTo>
                  <a:lnTo>
                    <a:pt x="26119" y="16665"/>
                  </a:lnTo>
                  <a:lnTo>
                    <a:pt x="25764" y="19143"/>
                  </a:lnTo>
                  <a:lnTo>
                    <a:pt x="24489" y="22844"/>
                  </a:lnTo>
                  <a:lnTo>
                    <a:pt x="26220" y="25282"/>
                  </a:lnTo>
                  <a:lnTo>
                    <a:pt x="24604" y="28522"/>
                  </a:lnTo>
                  <a:lnTo>
                    <a:pt x="24056" y="30608"/>
                  </a:lnTo>
                  <a:lnTo>
                    <a:pt x="23925" y="33756"/>
                  </a:lnTo>
                  <a:lnTo>
                    <a:pt x="24740" y="39735"/>
                  </a:lnTo>
                  <a:lnTo>
                    <a:pt x="23432" y="48344"/>
                  </a:lnTo>
                  <a:lnTo>
                    <a:pt x="21121" y="52100"/>
                  </a:lnTo>
                  <a:lnTo>
                    <a:pt x="19687" y="53528"/>
                  </a:lnTo>
                  <a:lnTo>
                    <a:pt x="17122" y="57260"/>
                  </a:lnTo>
                  <a:lnTo>
                    <a:pt x="13753" y="58372"/>
                  </a:lnTo>
                  <a:lnTo>
                    <a:pt x="9088" y="64382"/>
                  </a:lnTo>
                  <a:lnTo>
                    <a:pt x="8261" y="65959"/>
                  </a:lnTo>
                  <a:lnTo>
                    <a:pt x="8709" y="67659"/>
                  </a:lnTo>
                  <a:lnTo>
                    <a:pt x="7617" y="67679"/>
                  </a:lnTo>
                  <a:lnTo>
                    <a:pt x="3143" y="67397"/>
                  </a:lnTo>
                  <a:lnTo>
                    <a:pt x="120" y="67709"/>
                  </a:lnTo>
                  <a:lnTo>
                    <a:pt x="0" y="67560"/>
                  </a:lnTo>
                  <a:lnTo>
                    <a:pt x="251" y="61100"/>
                  </a:lnTo>
                  <a:lnTo>
                    <a:pt x="636" y="51097"/>
                  </a:lnTo>
                  <a:lnTo>
                    <a:pt x="920" y="43752"/>
                  </a:lnTo>
                  <a:lnTo>
                    <a:pt x="1195" y="36561"/>
                  </a:lnTo>
                  <a:lnTo>
                    <a:pt x="1404" y="31170"/>
                  </a:lnTo>
                  <a:lnTo>
                    <a:pt x="1685" y="23827"/>
                  </a:lnTo>
                  <a:lnTo>
                    <a:pt x="1929" y="17483"/>
                  </a:lnTo>
                  <a:lnTo>
                    <a:pt x="1906" y="15204"/>
                  </a:lnTo>
                  <a:lnTo>
                    <a:pt x="2637" y="13402"/>
                  </a:lnTo>
                  <a:lnTo>
                    <a:pt x="4744" y="12645"/>
                  </a:lnTo>
                  <a:lnTo>
                    <a:pt x="7478" y="14217"/>
                  </a:lnTo>
                  <a:lnTo>
                    <a:pt x="8614" y="14874"/>
                  </a:lnTo>
                  <a:lnTo>
                    <a:pt x="9639" y="14501"/>
                  </a:lnTo>
                  <a:lnTo>
                    <a:pt x="10933" y="13541"/>
                  </a:lnTo>
                  <a:lnTo>
                    <a:pt x="12523" y="10762"/>
                  </a:lnTo>
                  <a:lnTo>
                    <a:pt x="16516" y="5028"/>
                  </a:lnTo>
                  <a:lnTo>
                    <a:pt x="18118" y="955"/>
                  </a:lnTo>
                  <a:lnTo>
                    <a:pt x="19682" y="146"/>
                  </a:lnTo>
                  <a:close/>
                </a:path>
              </a:pathLst>
            </a:custGeom>
            <a:solidFill>
              <a:srgbClr val="007CBC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43" name="ee4p_BO_1_82333">
              <a:extLst>
                <a:ext uri="{FF2B5EF4-FFF2-40B4-BE49-F238E27FC236}">
                  <a16:creationId xmlns:a16="http://schemas.microsoft.com/office/drawing/2014/main" id="{B7DAF9BD-2E99-EBF6-AB1F-E35BCEA4CEDC}"/>
                </a:ext>
              </a:extLst>
            </p:cNvPr>
            <p:cNvSpPr>
              <a:spLocks noChangeAspect="1"/>
            </p:cNvSpPr>
            <p:nvPr>
              <p:custDataLst>
                <p:tags r:id="rId171"/>
              </p:custDataLst>
            </p:nvPr>
          </p:nvSpPr>
          <p:spPr>
            <a:xfrm>
              <a:off x="4580684" y="4953633"/>
              <a:ext cx="337400" cy="386561"/>
            </a:xfrm>
            <a:custGeom>
              <a:avLst/>
              <a:gdLst/>
              <a:ahLst/>
              <a:cxnLst/>
              <a:rect l="0" t="0" r="0" b="0"/>
              <a:pathLst>
                <a:path w="268664" h="299651">
                  <a:moveTo>
                    <a:pt x="253979" y="236513"/>
                  </a:moveTo>
                  <a:lnTo>
                    <a:pt x="254417" y="232698"/>
                  </a:lnTo>
                  <a:lnTo>
                    <a:pt x="253973" y="229388"/>
                  </a:lnTo>
                  <a:lnTo>
                    <a:pt x="253528" y="228537"/>
                  </a:lnTo>
                  <a:lnTo>
                    <a:pt x="247026" y="224590"/>
                  </a:lnTo>
                  <a:lnTo>
                    <a:pt x="241124" y="221011"/>
                  </a:lnTo>
                  <a:lnTo>
                    <a:pt x="233398" y="216329"/>
                  </a:lnTo>
                  <a:lnTo>
                    <a:pt x="223440" y="216457"/>
                  </a:lnTo>
                  <a:lnTo>
                    <a:pt x="213124" y="216589"/>
                  </a:lnTo>
                  <a:lnTo>
                    <a:pt x="203301" y="218682"/>
                  </a:lnTo>
                  <a:lnTo>
                    <a:pt x="193635" y="220742"/>
                  </a:lnTo>
                  <a:lnTo>
                    <a:pt x="189053" y="221717"/>
                  </a:lnTo>
                  <a:lnTo>
                    <a:pt x="179858" y="223679"/>
                  </a:lnTo>
                  <a:lnTo>
                    <a:pt x="174440" y="224572"/>
                  </a:lnTo>
                  <a:lnTo>
                    <a:pt x="173023" y="228344"/>
                  </a:lnTo>
                  <a:lnTo>
                    <a:pt x="170900" y="233999"/>
                  </a:lnTo>
                  <a:lnTo>
                    <a:pt x="168802" y="237305"/>
                  </a:lnTo>
                  <a:lnTo>
                    <a:pt x="166374" y="240779"/>
                  </a:lnTo>
                  <a:lnTo>
                    <a:pt x="162953" y="245679"/>
                  </a:lnTo>
                  <a:lnTo>
                    <a:pt x="162949" y="251637"/>
                  </a:lnTo>
                  <a:lnTo>
                    <a:pt x="162946" y="257300"/>
                  </a:lnTo>
                  <a:lnTo>
                    <a:pt x="160540" y="265293"/>
                  </a:lnTo>
                  <a:lnTo>
                    <a:pt x="158497" y="272090"/>
                  </a:lnTo>
                  <a:lnTo>
                    <a:pt x="156527" y="278660"/>
                  </a:lnTo>
                  <a:lnTo>
                    <a:pt x="155165" y="283192"/>
                  </a:lnTo>
                  <a:lnTo>
                    <a:pt x="154669" y="284347"/>
                  </a:lnTo>
                  <a:lnTo>
                    <a:pt x="154352" y="283981"/>
                  </a:lnTo>
                  <a:lnTo>
                    <a:pt x="152599" y="282632"/>
                  </a:lnTo>
                  <a:lnTo>
                    <a:pt x="151040" y="280074"/>
                  </a:lnTo>
                  <a:lnTo>
                    <a:pt x="150615" y="278902"/>
                  </a:lnTo>
                  <a:lnTo>
                    <a:pt x="150415" y="278859"/>
                  </a:lnTo>
                  <a:lnTo>
                    <a:pt x="141043" y="278936"/>
                  </a:lnTo>
                  <a:lnTo>
                    <a:pt x="132018" y="279022"/>
                  </a:lnTo>
                  <a:lnTo>
                    <a:pt x="131098" y="279562"/>
                  </a:lnTo>
                  <a:lnTo>
                    <a:pt x="129801" y="279555"/>
                  </a:lnTo>
                  <a:lnTo>
                    <a:pt x="128849" y="279050"/>
                  </a:lnTo>
                  <a:lnTo>
                    <a:pt x="127912" y="279090"/>
                  </a:lnTo>
                  <a:lnTo>
                    <a:pt x="126571" y="279586"/>
                  </a:lnTo>
                  <a:lnTo>
                    <a:pt x="125367" y="280606"/>
                  </a:lnTo>
                  <a:lnTo>
                    <a:pt x="121924" y="287416"/>
                  </a:lnTo>
                  <a:lnTo>
                    <a:pt x="120216" y="290333"/>
                  </a:lnTo>
                  <a:lnTo>
                    <a:pt x="118948" y="292938"/>
                  </a:lnTo>
                  <a:lnTo>
                    <a:pt x="118030" y="297405"/>
                  </a:lnTo>
                  <a:lnTo>
                    <a:pt x="117646" y="298158"/>
                  </a:lnTo>
                  <a:lnTo>
                    <a:pt x="116569" y="296607"/>
                  </a:lnTo>
                  <a:lnTo>
                    <a:pt x="114988" y="292519"/>
                  </a:lnTo>
                  <a:lnTo>
                    <a:pt x="114275" y="290194"/>
                  </a:lnTo>
                  <a:lnTo>
                    <a:pt x="113260" y="287550"/>
                  </a:lnTo>
                  <a:lnTo>
                    <a:pt x="111450" y="284233"/>
                  </a:lnTo>
                  <a:lnTo>
                    <a:pt x="109358" y="283229"/>
                  </a:lnTo>
                  <a:lnTo>
                    <a:pt x="108064" y="282898"/>
                  </a:lnTo>
                  <a:lnTo>
                    <a:pt x="106197" y="282263"/>
                  </a:lnTo>
                  <a:lnTo>
                    <a:pt x="102890" y="281467"/>
                  </a:lnTo>
                  <a:lnTo>
                    <a:pt x="101448" y="281306"/>
                  </a:lnTo>
                  <a:lnTo>
                    <a:pt x="92005" y="281200"/>
                  </a:lnTo>
                  <a:lnTo>
                    <a:pt x="91255" y="281116"/>
                  </a:lnTo>
                  <a:lnTo>
                    <a:pt x="87554" y="281481"/>
                  </a:lnTo>
                  <a:lnTo>
                    <a:pt x="85678" y="281234"/>
                  </a:lnTo>
                  <a:lnTo>
                    <a:pt x="83707" y="279380"/>
                  </a:lnTo>
                  <a:lnTo>
                    <a:pt x="79319" y="276128"/>
                  </a:lnTo>
                  <a:lnTo>
                    <a:pt x="78435" y="275098"/>
                  </a:lnTo>
                  <a:lnTo>
                    <a:pt x="76753" y="274416"/>
                  </a:lnTo>
                  <a:lnTo>
                    <a:pt x="75746" y="274344"/>
                  </a:lnTo>
                  <a:lnTo>
                    <a:pt x="75140" y="274991"/>
                  </a:lnTo>
                  <a:lnTo>
                    <a:pt x="74376" y="277704"/>
                  </a:lnTo>
                  <a:lnTo>
                    <a:pt x="73484" y="280155"/>
                  </a:lnTo>
                  <a:lnTo>
                    <a:pt x="72540" y="281563"/>
                  </a:lnTo>
                  <a:lnTo>
                    <a:pt x="69404" y="282598"/>
                  </a:lnTo>
                  <a:lnTo>
                    <a:pt x="66485" y="283689"/>
                  </a:lnTo>
                  <a:lnTo>
                    <a:pt x="64877" y="283943"/>
                  </a:lnTo>
                  <a:lnTo>
                    <a:pt x="64017" y="285174"/>
                  </a:lnTo>
                  <a:lnTo>
                    <a:pt x="63644" y="286887"/>
                  </a:lnTo>
                  <a:lnTo>
                    <a:pt x="62918" y="288435"/>
                  </a:lnTo>
                  <a:lnTo>
                    <a:pt x="58699" y="290764"/>
                  </a:lnTo>
                  <a:lnTo>
                    <a:pt x="57761" y="291750"/>
                  </a:lnTo>
                  <a:lnTo>
                    <a:pt x="57277" y="294044"/>
                  </a:lnTo>
                  <a:lnTo>
                    <a:pt x="54922" y="296905"/>
                  </a:lnTo>
                  <a:lnTo>
                    <a:pt x="54194" y="298019"/>
                  </a:lnTo>
                  <a:lnTo>
                    <a:pt x="50492" y="298799"/>
                  </a:lnTo>
                  <a:lnTo>
                    <a:pt x="45679" y="299650"/>
                  </a:lnTo>
                  <a:lnTo>
                    <a:pt x="42862" y="299591"/>
                  </a:lnTo>
                  <a:lnTo>
                    <a:pt x="40936" y="299365"/>
                  </a:lnTo>
                  <a:lnTo>
                    <a:pt x="40359" y="298858"/>
                  </a:lnTo>
                  <a:lnTo>
                    <a:pt x="39056" y="298049"/>
                  </a:lnTo>
                  <a:lnTo>
                    <a:pt x="38841" y="297146"/>
                  </a:lnTo>
                  <a:lnTo>
                    <a:pt x="38823" y="295866"/>
                  </a:lnTo>
                  <a:lnTo>
                    <a:pt x="39183" y="293571"/>
                  </a:lnTo>
                  <a:lnTo>
                    <a:pt x="39005" y="290380"/>
                  </a:lnTo>
                  <a:lnTo>
                    <a:pt x="37487" y="286669"/>
                  </a:lnTo>
                  <a:lnTo>
                    <a:pt x="37608" y="285474"/>
                  </a:lnTo>
                  <a:lnTo>
                    <a:pt x="37410" y="283657"/>
                  </a:lnTo>
                  <a:lnTo>
                    <a:pt x="36647" y="280248"/>
                  </a:lnTo>
                  <a:lnTo>
                    <a:pt x="34693" y="278524"/>
                  </a:lnTo>
                  <a:lnTo>
                    <a:pt x="34139" y="275691"/>
                  </a:lnTo>
                  <a:lnTo>
                    <a:pt x="33910" y="273196"/>
                  </a:lnTo>
                  <a:lnTo>
                    <a:pt x="32268" y="270081"/>
                  </a:lnTo>
                  <a:lnTo>
                    <a:pt x="32001" y="266116"/>
                  </a:lnTo>
                  <a:lnTo>
                    <a:pt x="32034" y="262716"/>
                  </a:lnTo>
                  <a:lnTo>
                    <a:pt x="29450" y="258771"/>
                  </a:lnTo>
                  <a:lnTo>
                    <a:pt x="26761" y="254580"/>
                  </a:lnTo>
                  <a:lnTo>
                    <a:pt x="24586" y="254012"/>
                  </a:lnTo>
                  <a:lnTo>
                    <a:pt x="24046" y="253511"/>
                  </a:lnTo>
                  <a:lnTo>
                    <a:pt x="23810" y="252307"/>
                  </a:lnTo>
                  <a:lnTo>
                    <a:pt x="23764" y="250445"/>
                  </a:lnTo>
                  <a:lnTo>
                    <a:pt x="23937" y="249314"/>
                  </a:lnTo>
                  <a:lnTo>
                    <a:pt x="25613" y="247483"/>
                  </a:lnTo>
                  <a:lnTo>
                    <a:pt x="25681" y="247199"/>
                  </a:lnTo>
                  <a:lnTo>
                    <a:pt x="25338" y="246821"/>
                  </a:lnTo>
                  <a:lnTo>
                    <a:pt x="21005" y="244076"/>
                  </a:lnTo>
                  <a:lnTo>
                    <a:pt x="19913" y="243284"/>
                  </a:lnTo>
                  <a:lnTo>
                    <a:pt x="19573" y="242307"/>
                  </a:lnTo>
                  <a:lnTo>
                    <a:pt x="19602" y="241428"/>
                  </a:lnTo>
                  <a:lnTo>
                    <a:pt x="20640" y="240528"/>
                  </a:lnTo>
                  <a:lnTo>
                    <a:pt x="21165" y="239862"/>
                  </a:lnTo>
                  <a:lnTo>
                    <a:pt x="20148" y="237908"/>
                  </a:lnTo>
                  <a:lnTo>
                    <a:pt x="20248" y="236141"/>
                  </a:lnTo>
                  <a:lnTo>
                    <a:pt x="19600" y="235383"/>
                  </a:lnTo>
                  <a:lnTo>
                    <a:pt x="19678" y="234814"/>
                  </a:lnTo>
                  <a:lnTo>
                    <a:pt x="20304" y="234327"/>
                  </a:lnTo>
                  <a:lnTo>
                    <a:pt x="23119" y="233759"/>
                  </a:lnTo>
                  <a:lnTo>
                    <a:pt x="23992" y="231968"/>
                  </a:lnTo>
                  <a:lnTo>
                    <a:pt x="24022" y="230479"/>
                  </a:lnTo>
                  <a:lnTo>
                    <a:pt x="23604" y="229426"/>
                  </a:lnTo>
                  <a:lnTo>
                    <a:pt x="20996" y="226764"/>
                  </a:lnTo>
                  <a:lnTo>
                    <a:pt x="20950" y="226313"/>
                  </a:lnTo>
                  <a:lnTo>
                    <a:pt x="23670" y="222616"/>
                  </a:lnTo>
                  <a:lnTo>
                    <a:pt x="25622" y="220188"/>
                  </a:lnTo>
                  <a:lnTo>
                    <a:pt x="26155" y="219692"/>
                  </a:lnTo>
                  <a:lnTo>
                    <a:pt x="25994" y="219168"/>
                  </a:lnTo>
                  <a:lnTo>
                    <a:pt x="25511" y="218525"/>
                  </a:lnTo>
                  <a:lnTo>
                    <a:pt x="24276" y="217588"/>
                  </a:lnTo>
                  <a:lnTo>
                    <a:pt x="22669" y="216569"/>
                  </a:lnTo>
                  <a:lnTo>
                    <a:pt x="21339" y="215323"/>
                  </a:lnTo>
                  <a:lnTo>
                    <a:pt x="19606" y="213485"/>
                  </a:lnTo>
                  <a:lnTo>
                    <a:pt x="17419" y="211906"/>
                  </a:lnTo>
                  <a:lnTo>
                    <a:pt x="15804" y="210344"/>
                  </a:lnTo>
                  <a:lnTo>
                    <a:pt x="14979" y="209033"/>
                  </a:lnTo>
                  <a:lnTo>
                    <a:pt x="14962" y="207697"/>
                  </a:lnTo>
                  <a:lnTo>
                    <a:pt x="14746" y="205483"/>
                  </a:lnTo>
                  <a:lnTo>
                    <a:pt x="13686" y="201895"/>
                  </a:lnTo>
                  <a:lnTo>
                    <a:pt x="13407" y="199467"/>
                  </a:lnTo>
                  <a:lnTo>
                    <a:pt x="12948" y="196789"/>
                  </a:lnTo>
                  <a:lnTo>
                    <a:pt x="12488" y="195043"/>
                  </a:lnTo>
                  <a:lnTo>
                    <a:pt x="12238" y="193347"/>
                  </a:lnTo>
                  <a:lnTo>
                    <a:pt x="11484" y="191519"/>
                  </a:lnTo>
                  <a:lnTo>
                    <a:pt x="11062" y="190185"/>
                  </a:lnTo>
                  <a:lnTo>
                    <a:pt x="11668" y="189242"/>
                  </a:lnTo>
                  <a:lnTo>
                    <a:pt x="12279" y="188510"/>
                  </a:lnTo>
                  <a:lnTo>
                    <a:pt x="12201" y="188049"/>
                  </a:lnTo>
                  <a:lnTo>
                    <a:pt x="8036" y="186093"/>
                  </a:lnTo>
                  <a:lnTo>
                    <a:pt x="7349" y="185598"/>
                  </a:lnTo>
                  <a:lnTo>
                    <a:pt x="6362" y="181685"/>
                  </a:lnTo>
                  <a:lnTo>
                    <a:pt x="3333" y="178216"/>
                  </a:lnTo>
                  <a:lnTo>
                    <a:pt x="2980" y="175629"/>
                  </a:lnTo>
                  <a:lnTo>
                    <a:pt x="2977" y="175602"/>
                  </a:lnTo>
                  <a:lnTo>
                    <a:pt x="2979" y="174588"/>
                  </a:lnTo>
                  <a:lnTo>
                    <a:pt x="2737" y="172962"/>
                  </a:lnTo>
                  <a:lnTo>
                    <a:pt x="1811" y="171684"/>
                  </a:lnTo>
                  <a:lnTo>
                    <a:pt x="439" y="170808"/>
                  </a:lnTo>
                  <a:lnTo>
                    <a:pt x="0" y="169763"/>
                  </a:lnTo>
                  <a:lnTo>
                    <a:pt x="461" y="168663"/>
                  </a:lnTo>
                  <a:lnTo>
                    <a:pt x="3149" y="166491"/>
                  </a:lnTo>
                  <a:lnTo>
                    <a:pt x="4586" y="166117"/>
                  </a:lnTo>
                  <a:lnTo>
                    <a:pt x="4967" y="165017"/>
                  </a:lnTo>
                  <a:lnTo>
                    <a:pt x="5842" y="164138"/>
                  </a:lnTo>
                  <a:lnTo>
                    <a:pt x="8369" y="160944"/>
                  </a:lnTo>
                  <a:lnTo>
                    <a:pt x="9860" y="158841"/>
                  </a:lnTo>
                  <a:lnTo>
                    <a:pt x="11348" y="157582"/>
                  </a:lnTo>
                  <a:lnTo>
                    <a:pt x="13072" y="156701"/>
                  </a:lnTo>
                  <a:lnTo>
                    <a:pt x="13821" y="155971"/>
                  </a:lnTo>
                  <a:lnTo>
                    <a:pt x="13430" y="153710"/>
                  </a:lnTo>
                  <a:lnTo>
                    <a:pt x="13551" y="152195"/>
                  </a:lnTo>
                  <a:lnTo>
                    <a:pt x="14140" y="151235"/>
                  </a:lnTo>
                  <a:lnTo>
                    <a:pt x="15870" y="150222"/>
                  </a:lnTo>
                  <a:lnTo>
                    <a:pt x="17423" y="149444"/>
                  </a:lnTo>
                  <a:lnTo>
                    <a:pt x="17755" y="149060"/>
                  </a:lnTo>
                  <a:lnTo>
                    <a:pt x="17621" y="148491"/>
                  </a:lnTo>
                  <a:lnTo>
                    <a:pt x="16192" y="147336"/>
                  </a:lnTo>
                  <a:lnTo>
                    <a:pt x="13256" y="146332"/>
                  </a:lnTo>
                  <a:lnTo>
                    <a:pt x="11311" y="146429"/>
                  </a:lnTo>
                  <a:lnTo>
                    <a:pt x="10122" y="145541"/>
                  </a:lnTo>
                  <a:lnTo>
                    <a:pt x="9467" y="144776"/>
                  </a:lnTo>
                  <a:lnTo>
                    <a:pt x="5613" y="135431"/>
                  </a:lnTo>
                  <a:lnTo>
                    <a:pt x="4971" y="133250"/>
                  </a:lnTo>
                  <a:lnTo>
                    <a:pt x="5024" y="132407"/>
                  </a:lnTo>
                  <a:lnTo>
                    <a:pt x="7603" y="127788"/>
                  </a:lnTo>
                  <a:lnTo>
                    <a:pt x="8655" y="126283"/>
                  </a:lnTo>
                  <a:lnTo>
                    <a:pt x="10465" y="124105"/>
                  </a:lnTo>
                  <a:lnTo>
                    <a:pt x="10141" y="123248"/>
                  </a:lnTo>
                  <a:lnTo>
                    <a:pt x="6966" y="119635"/>
                  </a:lnTo>
                  <a:lnTo>
                    <a:pt x="5993" y="117917"/>
                  </a:lnTo>
                  <a:lnTo>
                    <a:pt x="6014" y="116211"/>
                  </a:lnTo>
                  <a:lnTo>
                    <a:pt x="6330" y="114128"/>
                  </a:lnTo>
                  <a:lnTo>
                    <a:pt x="8175" y="113012"/>
                  </a:lnTo>
                  <a:lnTo>
                    <a:pt x="8699" y="111322"/>
                  </a:lnTo>
                  <a:lnTo>
                    <a:pt x="9084" y="109650"/>
                  </a:lnTo>
                  <a:lnTo>
                    <a:pt x="9872" y="109097"/>
                  </a:lnTo>
                  <a:lnTo>
                    <a:pt x="10681" y="108158"/>
                  </a:lnTo>
                  <a:lnTo>
                    <a:pt x="11631" y="106789"/>
                  </a:lnTo>
                  <a:lnTo>
                    <a:pt x="13111" y="105599"/>
                  </a:lnTo>
                  <a:lnTo>
                    <a:pt x="13988" y="104689"/>
                  </a:lnTo>
                  <a:lnTo>
                    <a:pt x="14179" y="102157"/>
                  </a:lnTo>
                  <a:lnTo>
                    <a:pt x="14902" y="101465"/>
                  </a:lnTo>
                  <a:lnTo>
                    <a:pt x="16925" y="100664"/>
                  </a:lnTo>
                  <a:lnTo>
                    <a:pt x="17133" y="100007"/>
                  </a:lnTo>
                  <a:lnTo>
                    <a:pt x="16673" y="98307"/>
                  </a:lnTo>
                  <a:lnTo>
                    <a:pt x="15661" y="96510"/>
                  </a:lnTo>
                  <a:lnTo>
                    <a:pt x="14847" y="95639"/>
                  </a:lnTo>
                  <a:lnTo>
                    <a:pt x="13769" y="91229"/>
                  </a:lnTo>
                  <a:lnTo>
                    <a:pt x="12639" y="89034"/>
                  </a:lnTo>
                  <a:lnTo>
                    <a:pt x="13110" y="88158"/>
                  </a:lnTo>
                  <a:lnTo>
                    <a:pt x="13891" y="87044"/>
                  </a:lnTo>
                  <a:lnTo>
                    <a:pt x="14645" y="84836"/>
                  </a:lnTo>
                  <a:lnTo>
                    <a:pt x="14892" y="82269"/>
                  </a:lnTo>
                  <a:lnTo>
                    <a:pt x="14709" y="72828"/>
                  </a:lnTo>
                  <a:lnTo>
                    <a:pt x="14751" y="70974"/>
                  </a:lnTo>
                  <a:lnTo>
                    <a:pt x="15743" y="69670"/>
                  </a:lnTo>
                  <a:lnTo>
                    <a:pt x="17204" y="68167"/>
                  </a:lnTo>
                  <a:lnTo>
                    <a:pt x="18440" y="67592"/>
                  </a:lnTo>
                  <a:lnTo>
                    <a:pt x="19606" y="66640"/>
                  </a:lnTo>
                  <a:lnTo>
                    <a:pt x="19521" y="64855"/>
                  </a:lnTo>
                  <a:lnTo>
                    <a:pt x="20290" y="63800"/>
                  </a:lnTo>
                  <a:lnTo>
                    <a:pt x="21238" y="62480"/>
                  </a:lnTo>
                  <a:lnTo>
                    <a:pt x="18287" y="57282"/>
                  </a:lnTo>
                  <a:lnTo>
                    <a:pt x="15693" y="52714"/>
                  </a:lnTo>
                  <a:lnTo>
                    <a:pt x="13257" y="48428"/>
                  </a:lnTo>
                  <a:lnTo>
                    <a:pt x="10437" y="43466"/>
                  </a:lnTo>
                  <a:lnTo>
                    <a:pt x="8580" y="40202"/>
                  </a:lnTo>
                  <a:lnTo>
                    <a:pt x="6273" y="36147"/>
                  </a:lnTo>
                  <a:lnTo>
                    <a:pt x="4248" y="32592"/>
                  </a:lnTo>
                  <a:lnTo>
                    <a:pt x="1484" y="27736"/>
                  </a:lnTo>
                  <a:lnTo>
                    <a:pt x="4051" y="27655"/>
                  </a:lnTo>
                  <a:lnTo>
                    <a:pt x="9225" y="27823"/>
                  </a:lnTo>
                  <a:lnTo>
                    <a:pt x="14242" y="28689"/>
                  </a:lnTo>
                  <a:lnTo>
                    <a:pt x="17632" y="29064"/>
                  </a:lnTo>
                  <a:lnTo>
                    <a:pt x="19053" y="29814"/>
                  </a:lnTo>
                  <a:lnTo>
                    <a:pt x="19366" y="31001"/>
                  </a:lnTo>
                  <a:lnTo>
                    <a:pt x="20304" y="31556"/>
                  </a:lnTo>
                  <a:lnTo>
                    <a:pt x="21390" y="31340"/>
                  </a:lnTo>
                  <a:lnTo>
                    <a:pt x="22622" y="31259"/>
                  </a:lnTo>
                  <a:lnTo>
                    <a:pt x="25371" y="30041"/>
                  </a:lnTo>
                  <a:lnTo>
                    <a:pt x="27590" y="29235"/>
                  </a:lnTo>
                  <a:lnTo>
                    <a:pt x="29511" y="28260"/>
                  </a:lnTo>
                  <a:lnTo>
                    <a:pt x="30495" y="27319"/>
                  </a:lnTo>
                  <a:lnTo>
                    <a:pt x="32882" y="24007"/>
                  </a:lnTo>
                  <a:lnTo>
                    <a:pt x="34805" y="22175"/>
                  </a:lnTo>
                  <a:lnTo>
                    <a:pt x="36574" y="21533"/>
                  </a:lnTo>
                  <a:lnTo>
                    <a:pt x="40039" y="21273"/>
                  </a:lnTo>
                  <a:lnTo>
                    <a:pt x="41129" y="21793"/>
                  </a:lnTo>
                  <a:lnTo>
                    <a:pt x="42543" y="21727"/>
                  </a:lnTo>
                  <a:lnTo>
                    <a:pt x="43762" y="19845"/>
                  </a:lnTo>
                  <a:lnTo>
                    <a:pt x="45624" y="17767"/>
                  </a:lnTo>
                  <a:lnTo>
                    <a:pt x="49283" y="15172"/>
                  </a:lnTo>
                  <a:lnTo>
                    <a:pt x="51146" y="14458"/>
                  </a:lnTo>
                  <a:lnTo>
                    <a:pt x="52301" y="13550"/>
                  </a:lnTo>
                  <a:lnTo>
                    <a:pt x="54291" y="13419"/>
                  </a:lnTo>
                  <a:lnTo>
                    <a:pt x="56037" y="12471"/>
                  </a:lnTo>
                  <a:lnTo>
                    <a:pt x="64473" y="5916"/>
                  </a:lnTo>
                  <a:lnTo>
                    <a:pt x="67893" y="4228"/>
                  </a:lnTo>
                  <a:lnTo>
                    <a:pt x="70025" y="3921"/>
                  </a:lnTo>
                  <a:lnTo>
                    <a:pt x="71787" y="3520"/>
                  </a:lnTo>
                  <a:lnTo>
                    <a:pt x="74787" y="2580"/>
                  </a:lnTo>
                  <a:lnTo>
                    <a:pt x="82280" y="1674"/>
                  </a:lnTo>
                  <a:lnTo>
                    <a:pt x="87098" y="1294"/>
                  </a:lnTo>
                  <a:lnTo>
                    <a:pt x="88639" y="2201"/>
                  </a:lnTo>
                  <a:lnTo>
                    <a:pt x="90373" y="1942"/>
                  </a:lnTo>
                  <a:lnTo>
                    <a:pt x="91848" y="475"/>
                  </a:lnTo>
                  <a:lnTo>
                    <a:pt x="93069" y="0"/>
                  </a:lnTo>
                  <a:lnTo>
                    <a:pt x="93967" y="43"/>
                  </a:lnTo>
                  <a:lnTo>
                    <a:pt x="95255" y="1781"/>
                  </a:lnTo>
                  <a:lnTo>
                    <a:pt x="95887" y="3620"/>
                  </a:lnTo>
                  <a:lnTo>
                    <a:pt x="95471" y="5024"/>
                  </a:lnTo>
                  <a:lnTo>
                    <a:pt x="95550" y="7065"/>
                  </a:lnTo>
                  <a:lnTo>
                    <a:pt x="96125" y="9741"/>
                  </a:lnTo>
                  <a:lnTo>
                    <a:pt x="95804" y="12115"/>
                  </a:lnTo>
                  <a:lnTo>
                    <a:pt x="93982" y="15226"/>
                  </a:lnTo>
                  <a:lnTo>
                    <a:pt x="93066" y="16494"/>
                  </a:lnTo>
                  <a:lnTo>
                    <a:pt x="92840" y="17800"/>
                  </a:lnTo>
                  <a:lnTo>
                    <a:pt x="92998" y="19561"/>
                  </a:lnTo>
                  <a:lnTo>
                    <a:pt x="93831" y="22435"/>
                  </a:lnTo>
                  <a:lnTo>
                    <a:pt x="95341" y="26417"/>
                  </a:lnTo>
                  <a:lnTo>
                    <a:pt x="95567" y="29371"/>
                  </a:lnTo>
                  <a:lnTo>
                    <a:pt x="94510" y="31285"/>
                  </a:lnTo>
                  <a:lnTo>
                    <a:pt x="94024" y="32939"/>
                  </a:lnTo>
                  <a:lnTo>
                    <a:pt x="94105" y="34328"/>
                  </a:lnTo>
                  <a:lnTo>
                    <a:pt x="94482" y="35305"/>
                  </a:lnTo>
                  <a:lnTo>
                    <a:pt x="95156" y="35867"/>
                  </a:lnTo>
                  <a:lnTo>
                    <a:pt x="95530" y="36980"/>
                  </a:lnTo>
                  <a:lnTo>
                    <a:pt x="95606" y="38646"/>
                  </a:lnTo>
                  <a:lnTo>
                    <a:pt x="96485" y="40256"/>
                  </a:lnTo>
                  <a:lnTo>
                    <a:pt x="98167" y="41814"/>
                  </a:lnTo>
                  <a:lnTo>
                    <a:pt x="98848" y="43300"/>
                  </a:lnTo>
                  <a:lnTo>
                    <a:pt x="98531" y="44716"/>
                  </a:lnTo>
                  <a:lnTo>
                    <a:pt x="98620" y="45600"/>
                  </a:lnTo>
                  <a:lnTo>
                    <a:pt x="99114" y="45950"/>
                  </a:lnTo>
                  <a:lnTo>
                    <a:pt x="99572" y="45663"/>
                  </a:lnTo>
                  <a:lnTo>
                    <a:pt x="100181" y="45276"/>
                  </a:lnTo>
                  <a:lnTo>
                    <a:pt x="100730" y="45414"/>
                  </a:lnTo>
                  <a:lnTo>
                    <a:pt x="101906" y="47391"/>
                  </a:lnTo>
                  <a:lnTo>
                    <a:pt x="102057" y="47794"/>
                  </a:lnTo>
                  <a:lnTo>
                    <a:pt x="102700" y="49423"/>
                  </a:lnTo>
                  <a:lnTo>
                    <a:pt x="102892" y="50660"/>
                  </a:lnTo>
                  <a:lnTo>
                    <a:pt x="104621" y="51350"/>
                  </a:lnTo>
                  <a:lnTo>
                    <a:pt x="106489" y="51895"/>
                  </a:lnTo>
                  <a:lnTo>
                    <a:pt x="107515" y="52548"/>
                  </a:lnTo>
                  <a:lnTo>
                    <a:pt x="109581" y="54502"/>
                  </a:lnTo>
                  <a:lnTo>
                    <a:pt x="111314" y="55790"/>
                  </a:lnTo>
                  <a:lnTo>
                    <a:pt x="113486" y="56846"/>
                  </a:lnTo>
                  <a:lnTo>
                    <a:pt x="114208" y="58534"/>
                  </a:lnTo>
                  <a:lnTo>
                    <a:pt x="115541" y="61083"/>
                  </a:lnTo>
                  <a:lnTo>
                    <a:pt x="119200" y="62061"/>
                  </a:lnTo>
                  <a:lnTo>
                    <a:pt x="123476" y="62550"/>
                  </a:lnTo>
                  <a:lnTo>
                    <a:pt x="126197" y="63102"/>
                  </a:lnTo>
                  <a:lnTo>
                    <a:pt x="129525" y="61749"/>
                  </a:lnTo>
                  <a:lnTo>
                    <a:pt x="131725" y="61942"/>
                  </a:lnTo>
                  <a:lnTo>
                    <a:pt x="134001" y="62861"/>
                  </a:lnTo>
                  <a:lnTo>
                    <a:pt x="134969" y="63484"/>
                  </a:lnTo>
                  <a:lnTo>
                    <a:pt x="136664" y="64798"/>
                  </a:lnTo>
                  <a:lnTo>
                    <a:pt x="139285" y="66480"/>
                  </a:lnTo>
                  <a:lnTo>
                    <a:pt x="141428" y="67105"/>
                  </a:lnTo>
                  <a:lnTo>
                    <a:pt x="142956" y="66168"/>
                  </a:lnTo>
                  <a:lnTo>
                    <a:pt x="144368" y="65842"/>
                  </a:lnTo>
                  <a:lnTo>
                    <a:pt x="145459" y="66234"/>
                  </a:lnTo>
                  <a:lnTo>
                    <a:pt x="146036" y="68059"/>
                  </a:lnTo>
                  <a:lnTo>
                    <a:pt x="146615" y="69299"/>
                  </a:lnTo>
                  <a:lnTo>
                    <a:pt x="147882" y="70232"/>
                  </a:lnTo>
                  <a:lnTo>
                    <a:pt x="150596" y="72629"/>
                  </a:lnTo>
                  <a:lnTo>
                    <a:pt x="152137" y="73608"/>
                  </a:lnTo>
                  <a:lnTo>
                    <a:pt x="153871" y="73542"/>
                  </a:lnTo>
                  <a:lnTo>
                    <a:pt x="157443" y="75114"/>
                  </a:lnTo>
                  <a:lnTo>
                    <a:pt x="161261" y="76647"/>
                  </a:lnTo>
                  <a:lnTo>
                    <a:pt x="163227" y="76900"/>
                  </a:lnTo>
                  <a:lnTo>
                    <a:pt x="165170" y="76676"/>
                  </a:lnTo>
                  <a:lnTo>
                    <a:pt x="166454" y="77262"/>
                  </a:lnTo>
                  <a:lnTo>
                    <a:pt x="166968" y="79111"/>
                  </a:lnTo>
                  <a:lnTo>
                    <a:pt x="170285" y="82807"/>
                  </a:lnTo>
                  <a:lnTo>
                    <a:pt x="171847" y="84251"/>
                  </a:lnTo>
                  <a:lnTo>
                    <a:pt x="173708" y="85493"/>
                  </a:lnTo>
                  <a:lnTo>
                    <a:pt x="178446" y="85476"/>
                  </a:lnTo>
                  <a:lnTo>
                    <a:pt x="179863" y="85845"/>
                  </a:lnTo>
                  <a:lnTo>
                    <a:pt x="181975" y="85515"/>
                  </a:lnTo>
                  <a:lnTo>
                    <a:pt x="188320" y="84884"/>
                  </a:lnTo>
                  <a:lnTo>
                    <a:pt x="189472" y="84687"/>
                  </a:lnTo>
                  <a:lnTo>
                    <a:pt x="193066" y="86300"/>
                  </a:lnTo>
                  <a:lnTo>
                    <a:pt x="197314" y="88618"/>
                  </a:lnTo>
                  <a:lnTo>
                    <a:pt x="200124" y="90441"/>
                  </a:lnTo>
                  <a:lnTo>
                    <a:pt x="202086" y="91444"/>
                  </a:lnTo>
                  <a:lnTo>
                    <a:pt x="203112" y="93079"/>
                  </a:lnTo>
                  <a:lnTo>
                    <a:pt x="203948" y="94783"/>
                  </a:lnTo>
                  <a:lnTo>
                    <a:pt x="204333" y="96614"/>
                  </a:lnTo>
                  <a:lnTo>
                    <a:pt x="203822" y="98435"/>
                  </a:lnTo>
                  <a:lnTo>
                    <a:pt x="203050" y="99166"/>
                  </a:lnTo>
                  <a:lnTo>
                    <a:pt x="202792" y="100346"/>
                  </a:lnTo>
                  <a:lnTo>
                    <a:pt x="203112" y="102113"/>
                  </a:lnTo>
                  <a:lnTo>
                    <a:pt x="204526" y="103686"/>
                  </a:lnTo>
                  <a:lnTo>
                    <a:pt x="205046" y="105625"/>
                  </a:lnTo>
                  <a:lnTo>
                    <a:pt x="205813" y="109051"/>
                  </a:lnTo>
                  <a:lnTo>
                    <a:pt x="206679" y="110136"/>
                  </a:lnTo>
                  <a:lnTo>
                    <a:pt x="207243" y="120761"/>
                  </a:lnTo>
                  <a:lnTo>
                    <a:pt x="204398" y="120851"/>
                  </a:lnTo>
                  <a:lnTo>
                    <a:pt x="200391" y="120977"/>
                  </a:lnTo>
                  <a:lnTo>
                    <a:pt x="201558" y="121991"/>
                  </a:lnTo>
                  <a:lnTo>
                    <a:pt x="204874" y="125952"/>
                  </a:lnTo>
                  <a:lnTo>
                    <a:pt x="207929" y="129603"/>
                  </a:lnTo>
                  <a:lnTo>
                    <a:pt x="208414" y="135471"/>
                  </a:lnTo>
                  <a:lnTo>
                    <a:pt x="208718" y="139171"/>
                  </a:lnTo>
                  <a:lnTo>
                    <a:pt x="209148" y="144391"/>
                  </a:lnTo>
                  <a:lnTo>
                    <a:pt x="209405" y="147504"/>
                  </a:lnTo>
                  <a:lnTo>
                    <a:pt x="217021" y="147786"/>
                  </a:lnTo>
                  <a:lnTo>
                    <a:pt x="225797" y="148109"/>
                  </a:lnTo>
                  <a:lnTo>
                    <a:pt x="236344" y="148499"/>
                  </a:lnTo>
                  <a:lnTo>
                    <a:pt x="245617" y="148841"/>
                  </a:lnTo>
                  <a:lnTo>
                    <a:pt x="246531" y="148805"/>
                  </a:lnTo>
                  <a:lnTo>
                    <a:pt x="248143" y="148380"/>
                  </a:lnTo>
                  <a:lnTo>
                    <a:pt x="249211" y="147828"/>
                  </a:lnTo>
                  <a:lnTo>
                    <a:pt x="249869" y="147846"/>
                  </a:lnTo>
                  <a:lnTo>
                    <a:pt x="249981" y="149107"/>
                  </a:lnTo>
                  <a:lnTo>
                    <a:pt x="249755" y="150703"/>
                  </a:lnTo>
                  <a:lnTo>
                    <a:pt x="249764" y="152533"/>
                  </a:lnTo>
                  <a:lnTo>
                    <a:pt x="247106" y="156153"/>
                  </a:lnTo>
                  <a:lnTo>
                    <a:pt x="246939" y="157300"/>
                  </a:lnTo>
                  <a:lnTo>
                    <a:pt x="247344" y="162076"/>
                  </a:lnTo>
                  <a:lnTo>
                    <a:pt x="248282" y="165940"/>
                  </a:lnTo>
                  <a:lnTo>
                    <a:pt x="248755" y="169438"/>
                  </a:lnTo>
                  <a:lnTo>
                    <a:pt x="249822" y="170528"/>
                  </a:lnTo>
                  <a:lnTo>
                    <a:pt x="252966" y="172372"/>
                  </a:lnTo>
                  <a:lnTo>
                    <a:pt x="257713" y="175785"/>
                  </a:lnTo>
                  <a:lnTo>
                    <a:pt x="259611" y="176228"/>
                  </a:lnTo>
                  <a:lnTo>
                    <a:pt x="261216" y="175767"/>
                  </a:lnTo>
                  <a:lnTo>
                    <a:pt x="262180" y="177156"/>
                  </a:lnTo>
                  <a:lnTo>
                    <a:pt x="262372" y="179407"/>
                  </a:lnTo>
                  <a:lnTo>
                    <a:pt x="264993" y="185694"/>
                  </a:lnTo>
                  <a:lnTo>
                    <a:pt x="266655" y="189688"/>
                  </a:lnTo>
                  <a:lnTo>
                    <a:pt x="267417" y="191077"/>
                  </a:lnTo>
                  <a:lnTo>
                    <a:pt x="268663" y="191798"/>
                  </a:lnTo>
                  <a:lnTo>
                    <a:pt x="268431" y="192316"/>
                  </a:lnTo>
                  <a:lnTo>
                    <a:pt x="267393" y="192525"/>
                  </a:lnTo>
                  <a:lnTo>
                    <a:pt x="266931" y="193275"/>
                  </a:lnTo>
                  <a:lnTo>
                    <a:pt x="265490" y="197749"/>
                  </a:lnTo>
                  <a:lnTo>
                    <a:pt x="263592" y="203657"/>
                  </a:lnTo>
                  <a:lnTo>
                    <a:pt x="262308" y="207802"/>
                  </a:lnTo>
                  <a:lnTo>
                    <a:pt x="263463" y="207869"/>
                  </a:lnTo>
                  <a:lnTo>
                    <a:pt x="263513" y="209020"/>
                  </a:lnTo>
                  <a:lnTo>
                    <a:pt x="263774" y="210776"/>
                  </a:lnTo>
                  <a:lnTo>
                    <a:pt x="262344" y="210993"/>
                  </a:lnTo>
                  <a:lnTo>
                    <a:pt x="261925" y="211622"/>
                  </a:lnTo>
                  <a:lnTo>
                    <a:pt x="260286" y="215028"/>
                  </a:lnTo>
                  <a:lnTo>
                    <a:pt x="258138" y="219495"/>
                  </a:lnTo>
                  <a:lnTo>
                    <a:pt x="255919" y="224112"/>
                  </a:lnTo>
                  <a:lnTo>
                    <a:pt x="254604" y="226851"/>
                  </a:lnTo>
                  <a:lnTo>
                    <a:pt x="256850" y="228878"/>
                  </a:lnTo>
                  <a:lnTo>
                    <a:pt x="260591" y="232256"/>
                  </a:lnTo>
                  <a:lnTo>
                    <a:pt x="259997" y="233195"/>
                  </a:lnTo>
                  <a:lnTo>
                    <a:pt x="258392" y="233662"/>
                  </a:lnTo>
                  <a:lnTo>
                    <a:pt x="257044" y="233994"/>
                  </a:lnTo>
                  <a:lnTo>
                    <a:pt x="256016" y="235264"/>
                  </a:lnTo>
                  <a:lnTo>
                    <a:pt x="255439" y="236201"/>
                  </a:lnTo>
                  <a:close/>
                </a:path>
              </a:pathLst>
            </a:custGeom>
            <a:solidFill>
              <a:srgbClr val="007CBC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44" name="ee4p_BR_1_82333">
              <a:extLst>
                <a:ext uri="{FF2B5EF4-FFF2-40B4-BE49-F238E27FC236}">
                  <a16:creationId xmlns:a16="http://schemas.microsoft.com/office/drawing/2014/main" id="{AAF15CEE-23DA-5D5A-16A7-5FC06A074A5C}"/>
                </a:ext>
              </a:extLst>
            </p:cNvPr>
            <p:cNvSpPr>
              <a:spLocks noChangeAspect="1"/>
            </p:cNvSpPr>
            <p:nvPr>
              <p:custDataLst>
                <p:tags r:id="rId172"/>
              </p:custDataLst>
            </p:nvPr>
          </p:nvSpPr>
          <p:spPr>
            <a:xfrm>
              <a:off x="4459713" y="4525664"/>
              <a:ext cx="1088464" cy="1150352"/>
            </a:xfrm>
            <a:custGeom>
              <a:avLst/>
              <a:gdLst>
                <a:gd name="connsiteX0" fmla="*/ 648799 w 993885"/>
                <a:gd name="connsiteY0" fmla="*/ 845793 h 1022551"/>
                <a:gd name="connsiteX1" fmla="*/ 649736 w 993885"/>
                <a:gd name="connsiteY1" fmla="*/ 847211 h 1022551"/>
                <a:gd name="connsiteX2" fmla="*/ 648933 w 993885"/>
                <a:gd name="connsiteY2" fmla="*/ 850350 h 1022551"/>
                <a:gd name="connsiteX3" fmla="*/ 646723 w 993885"/>
                <a:gd name="connsiteY3" fmla="*/ 854202 h 1022551"/>
                <a:gd name="connsiteX4" fmla="*/ 646999 w 993885"/>
                <a:gd name="connsiteY4" fmla="*/ 855845 h 1022551"/>
                <a:gd name="connsiteX5" fmla="*/ 645257 w 993885"/>
                <a:gd name="connsiteY5" fmla="*/ 857083 h 1022551"/>
                <a:gd name="connsiteX6" fmla="*/ 645571 w 993885"/>
                <a:gd name="connsiteY6" fmla="*/ 850583 h 1022551"/>
                <a:gd name="connsiteX7" fmla="*/ 646509 w 993885"/>
                <a:gd name="connsiteY7" fmla="*/ 848415 h 1022551"/>
                <a:gd name="connsiteX8" fmla="*/ 647535 w 993885"/>
                <a:gd name="connsiteY8" fmla="*/ 846797 h 1022551"/>
                <a:gd name="connsiteX9" fmla="*/ 645633 w 993885"/>
                <a:gd name="connsiteY9" fmla="*/ 812307 h 1022551"/>
                <a:gd name="connsiteX10" fmla="*/ 646702 w 993885"/>
                <a:gd name="connsiteY10" fmla="*/ 813622 h 1022551"/>
                <a:gd name="connsiteX11" fmla="*/ 645852 w 993885"/>
                <a:gd name="connsiteY11" fmla="*/ 816187 h 1022551"/>
                <a:gd name="connsiteX12" fmla="*/ 644915 w 993885"/>
                <a:gd name="connsiteY12" fmla="*/ 817995 h 1022551"/>
                <a:gd name="connsiteX13" fmla="*/ 644500 w 993885"/>
                <a:gd name="connsiteY13" fmla="*/ 818590 h 1022551"/>
                <a:gd name="connsiteX14" fmla="*/ 644027 w 993885"/>
                <a:gd name="connsiteY14" fmla="*/ 818921 h 1022551"/>
                <a:gd name="connsiteX15" fmla="*/ 642437 w 993885"/>
                <a:gd name="connsiteY15" fmla="*/ 815548 h 1022551"/>
                <a:gd name="connsiteX16" fmla="*/ 727721 w 993885"/>
                <a:gd name="connsiteY16" fmla="*/ 746405 h 1022551"/>
                <a:gd name="connsiteX17" fmla="*/ 728484 w 993885"/>
                <a:gd name="connsiteY17" fmla="*/ 747060 h 1022551"/>
                <a:gd name="connsiteX18" fmla="*/ 729071 w 993885"/>
                <a:gd name="connsiteY18" fmla="*/ 747882 h 1022551"/>
                <a:gd name="connsiteX19" fmla="*/ 729476 w 993885"/>
                <a:gd name="connsiteY19" fmla="*/ 749030 h 1022551"/>
                <a:gd name="connsiteX20" fmla="*/ 729042 w 993885"/>
                <a:gd name="connsiteY20" fmla="*/ 749771 h 1022551"/>
                <a:gd name="connsiteX21" fmla="*/ 728788 w 993885"/>
                <a:gd name="connsiteY21" fmla="*/ 750741 h 1022551"/>
                <a:gd name="connsiteX22" fmla="*/ 728772 w 993885"/>
                <a:gd name="connsiteY22" fmla="*/ 752140 h 1022551"/>
                <a:gd name="connsiteX23" fmla="*/ 727716 w 993885"/>
                <a:gd name="connsiteY23" fmla="*/ 751428 h 1022551"/>
                <a:gd name="connsiteX24" fmla="*/ 724919 w 993885"/>
                <a:gd name="connsiteY24" fmla="*/ 751970 h 1022551"/>
                <a:gd name="connsiteX25" fmla="*/ 723941 w 993885"/>
                <a:gd name="connsiteY25" fmla="*/ 750914 h 1022551"/>
                <a:gd name="connsiteX26" fmla="*/ 754587 w 993885"/>
                <a:gd name="connsiteY26" fmla="*/ 728911 h 1022551"/>
                <a:gd name="connsiteX27" fmla="*/ 755156 w 993885"/>
                <a:gd name="connsiteY27" fmla="*/ 729146 h 1022551"/>
                <a:gd name="connsiteX28" fmla="*/ 755886 w 993885"/>
                <a:gd name="connsiteY28" fmla="*/ 729959 h 1022551"/>
                <a:gd name="connsiteX29" fmla="*/ 757467 w 993885"/>
                <a:gd name="connsiteY29" fmla="*/ 730724 h 1022551"/>
                <a:gd name="connsiteX30" fmla="*/ 758259 w 993885"/>
                <a:gd name="connsiteY30" fmla="*/ 731457 h 1022551"/>
                <a:gd name="connsiteX31" fmla="*/ 756796 w 993885"/>
                <a:gd name="connsiteY31" fmla="*/ 731385 h 1022551"/>
                <a:gd name="connsiteX32" fmla="*/ 755154 w 993885"/>
                <a:gd name="connsiteY32" fmla="*/ 732033 h 1022551"/>
                <a:gd name="connsiteX33" fmla="*/ 752629 w 993885"/>
                <a:gd name="connsiteY33" fmla="*/ 732607 h 1022551"/>
                <a:gd name="connsiteX34" fmla="*/ 751612 w 993885"/>
                <a:gd name="connsiteY34" fmla="*/ 731530 h 1022551"/>
                <a:gd name="connsiteX35" fmla="*/ 753795 w 993885"/>
                <a:gd name="connsiteY35" fmla="*/ 730037 h 1022551"/>
                <a:gd name="connsiteX36" fmla="*/ 888031 w 993885"/>
                <a:gd name="connsiteY36" fmla="*/ 475177 h 1022551"/>
                <a:gd name="connsiteX37" fmla="*/ 889882 w 993885"/>
                <a:gd name="connsiteY37" fmla="*/ 475246 h 1022551"/>
                <a:gd name="connsiteX38" fmla="*/ 889972 w 993885"/>
                <a:gd name="connsiteY38" fmla="*/ 477113 h 1022551"/>
                <a:gd name="connsiteX39" fmla="*/ 889102 w 993885"/>
                <a:gd name="connsiteY39" fmla="*/ 478633 h 1022551"/>
                <a:gd name="connsiteX40" fmla="*/ 888095 w 993885"/>
                <a:gd name="connsiteY40" fmla="*/ 478406 h 1022551"/>
                <a:gd name="connsiteX41" fmla="*/ 887699 w 993885"/>
                <a:gd name="connsiteY41" fmla="*/ 477388 h 1022551"/>
                <a:gd name="connsiteX42" fmla="*/ 886964 w 993885"/>
                <a:gd name="connsiteY42" fmla="*/ 476395 h 1022551"/>
                <a:gd name="connsiteX43" fmla="*/ 887360 w 993885"/>
                <a:gd name="connsiteY43" fmla="*/ 475619 h 1022551"/>
                <a:gd name="connsiteX44" fmla="*/ 895942 w 993885"/>
                <a:gd name="connsiteY44" fmla="*/ 461812 h 1022551"/>
                <a:gd name="connsiteX45" fmla="*/ 897301 w 993885"/>
                <a:gd name="connsiteY45" fmla="*/ 462942 h 1022551"/>
                <a:gd name="connsiteX46" fmla="*/ 897662 w 993885"/>
                <a:gd name="connsiteY46" fmla="*/ 464191 h 1022551"/>
                <a:gd name="connsiteX47" fmla="*/ 897639 w 993885"/>
                <a:gd name="connsiteY47" fmla="*/ 464709 h 1022551"/>
                <a:gd name="connsiteX48" fmla="*/ 894022 w 993885"/>
                <a:gd name="connsiteY48" fmla="*/ 467404 h 1022551"/>
                <a:gd name="connsiteX49" fmla="*/ 893029 w 993885"/>
                <a:gd name="connsiteY49" fmla="*/ 467960 h 1022551"/>
                <a:gd name="connsiteX50" fmla="*/ 892928 w 993885"/>
                <a:gd name="connsiteY50" fmla="*/ 466321 h 1022551"/>
                <a:gd name="connsiteX51" fmla="*/ 895518 w 993885"/>
                <a:gd name="connsiteY51" fmla="*/ 464254 h 1022551"/>
                <a:gd name="connsiteX52" fmla="*/ 748536 w 993885"/>
                <a:gd name="connsiteY52" fmla="*/ 202367 h 1022551"/>
                <a:gd name="connsiteX53" fmla="*/ 748388 w 993885"/>
                <a:gd name="connsiteY53" fmla="*/ 204199 h 1022551"/>
                <a:gd name="connsiteX54" fmla="*/ 748509 w 993885"/>
                <a:gd name="connsiteY54" fmla="*/ 204762 h 1022551"/>
                <a:gd name="connsiteX55" fmla="*/ 748083 w 993885"/>
                <a:gd name="connsiteY55" fmla="*/ 208002 h 1022551"/>
                <a:gd name="connsiteX56" fmla="*/ 745588 w 993885"/>
                <a:gd name="connsiteY56" fmla="*/ 210488 h 1022551"/>
                <a:gd name="connsiteX57" fmla="*/ 746410 w 993885"/>
                <a:gd name="connsiteY57" fmla="*/ 207604 h 1022551"/>
                <a:gd name="connsiteX58" fmla="*/ 745990 w 993885"/>
                <a:gd name="connsiteY58" fmla="*/ 205616 h 1022551"/>
                <a:gd name="connsiteX59" fmla="*/ 746314 w 993885"/>
                <a:gd name="connsiteY59" fmla="*/ 204077 h 1022551"/>
                <a:gd name="connsiteX60" fmla="*/ 748017 w 993885"/>
                <a:gd name="connsiteY60" fmla="*/ 202587 h 1022551"/>
                <a:gd name="connsiteX61" fmla="*/ 735929 w 993885"/>
                <a:gd name="connsiteY61" fmla="*/ 165578 h 1022551"/>
                <a:gd name="connsiteX62" fmla="*/ 738220 w 993885"/>
                <a:gd name="connsiteY62" fmla="*/ 165821 h 1022551"/>
                <a:gd name="connsiteX63" fmla="*/ 738352 w 993885"/>
                <a:gd name="connsiteY63" fmla="*/ 166861 h 1022551"/>
                <a:gd name="connsiteX64" fmla="*/ 736728 w 993885"/>
                <a:gd name="connsiteY64" fmla="*/ 168083 h 1022551"/>
                <a:gd name="connsiteX65" fmla="*/ 736203 w 993885"/>
                <a:gd name="connsiteY65" fmla="*/ 168711 h 1022551"/>
                <a:gd name="connsiteX66" fmla="*/ 734859 w 993885"/>
                <a:gd name="connsiteY66" fmla="*/ 168243 h 1022551"/>
                <a:gd name="connsiteX67" fmla="*/ 735103 w 993885"/>
                <a:gd name="connsiteY67" fmla="*/ 167543 h 1022551"/>
                <a:gd name="connsiteX68" fmla="*/ 735499 w 993885"/>
                <a:gd name="connsiteY68" fmla="*/ 167614 h 1022551"/>
                <a:gd name="connsiteX69" fmla="*/ 576810 w 993885"/>
                <a:gd name="connsiteY69" fmla="*/ 147171 h 1022551"/>
                <a:gd name="connsiteX70" fmla="*/ 579174 w 993885"/>
                <a:gd name="connsiteY70" fmla="*/ 150349 h 1022551"/>
                <a:gd name="connsiteX71" fmla="*/ 576243 w 993885"/>
                <a:gd name="connsiteY71" fmla="*/ 159353 h 1022551"/>
                <a:gd name="connsiteX72" fmla="*/ 575386 w 993885"/>
                <a:gd name="connsiteY72" fmla="*/ 159405 h 1022551"/>
                <a:gd name="connsiteX73" fmla="*/ 571456 w 993885"/>
                <a:gd name="connsiteY73" fmla="*/ 164154 h 1022551"/>
                <a:gd name="connsiteX74" fmla="*/ 567081 w 993885"/>
                <a:gd name="connsiteY74" fmla="*/ 167471 h 1022551"/>
                <a:gd name="connsiteX75" fmla="*/ 562141 w 993885"/>
                <a:gd name="connsiteY75" fmla="*/ 169801 h 1022551"/>
                <a:gd name="connsiteX76" fmla="*/ 559456 w 993885"/>
                <a:gd name="connsiteY76" fmla="*/ 170279 h 1022551"/>
                <a:gd name="connsiteX77" fmla="*/ 562912 w 993885"/>
                <a:gd name="connsiteY77" fmla="*/ 163937 h 1022551"/>
                <a:gd name="connsiteX78" fmla="*/ 566007 w 993885"/>
                <a:gd name="connsiteY78" fmla="*/ 160985 h 1022551"/>
                <a:gd name="connsiteX79" fmla="*/ 566051 w 993885"/>
                <a:gd name="connsiteY79" fmla="*/ 155125 h 1022551"/>
                <a:gd name="connsiteX80" fmla="*/ 569404 w 993885"/>
                <a:gd name="connsiteY80" fmla="*/ 149915 h 1022551"/>
                <a:gd name="connsiteX81" fmla="*/ 572488 w 993885"/>
                <a:gd name="connsiteY81" fmla="*/ 147793 h 1022551"/>
                <a:gd name="connsiteX82" fmla="*/ 602312 w 993885"/>
                <a:gd name="connsiteY82" fmla="*/ 136394 h 1022551"/>
                <a:gd name="connsiteX83" fmla="*/ 618023 w 993885"/>
                <a:gd name="connsiteY83" fmla="*/ 139254 h 1022551"/>
                <a:gd name="connsiteX84" fmla="*/ 620392 w 993885"/>
                <a:gd name="connsiteY84" fmla="*/ 139367 h 1022551"/>
                <a:gd name="connsiteX85" fmla="*/ 623747 w 993885"/>
                <a:gd name="connsiteY85" fmla="*/ 138886 h 1022551"/>
                <a:gd name="connsiteX86" fmla="*/ 625994 w 993885"/>
                <a:gd name="connsiteY86" fmla="*/ 137699 h 1022551"/>
                <a:gd name="connsiteX87" fmla="*/ 628509 w 993885"/>
                <a:gd name="connsiteY87" fmla="*/ 137466 h 1022551"/>
                <a:gd name="connsiteX88" fmla="*/ 630997 w 993885"/>
                <a:gd name="connsiteY88" fmla="*/ 137590 h 1022551"/>
                <a:gd name="connsiteX89" fmla="*/ 639375 w 993885"/>
                <a:gd name="connsiteY89" fmla="*/ 138908 h 1022551"/>
                <a:gd name="connsiteX90" fmla="*/ 644409 w 993885"/>
                <a:gd name="connsiteY90" fmla="*/ 139316 h 1022551"/>
                <a:gd name="connsiteX91" fmla="*/ 646250 w 993885"/>
                <a:gd name="connsiteY91" fmla="*/ 139737 h 1022551"/>
                <a:gd name="connsiteX92" fmla="*/ 648049 w 993885"/>
                <a:gd name="connsiteY92" fmla="*/ 140337 h 1022551"/>
                <a:gd name="connsiteX93" fmla="*/ 649363 w 993885"/>
                <a:gd name="connsiteY93" fmla="*/ 140983 h 1022551"/>
                <a:gd name="connsiteX94" fmla="*/ 649692 w 993885"/>
                <a:gd name="connsiteY94" fmla="*/ 142389 h 1022551"/>
                <a:gd name="connsiteX95" fmla="*/ 648466 w 993885"/>
                <a:gd name="connsiteY95" fmla="*/ 144638 h 1022551"/>
                <a:gd name="connsiteX96" fmla="*/ 647555 w 993885"/>
                <a:gd name="connsiteY96" fmla="*/ 147003 h 1022551"/>
                <a:gd name="connsiteX97" fmla="*/ 646706 w 993885"/>
                <a:gd name="connsiteY97" fmla="*/ 150304 h 1022551"/>
                <a:gd name="connsiteX98" fmla="*/ 646050 w 993885"/>
                <a:gd name="connsiteY98" fmla="*/ 150975 h 1022551"/>
                <a:gd name="connsiteX99" fmla="*/ 644952 w 993885"/>
                <a:gd name="connsiteY99" fmla="*/ 150799 h 1022551"/>
                <a:gd name="connsiteX100" fmla="*/ 645635 w 993885"/>
                <a:gd name="connsiteY100" fmla="*/ 153753 h 1022551"/>
                <a:gd name="connsiteX101" fmla="*/ 645386 w 993885"/>
                <a:gd name="connsiteY101" fmla="*/ 154934 h 1022551"/>
                <a:gd name="connsiteX102" fmla="*/ 644843 w 993885"/>
                <a:gd name="connsiteY102" fmla="*/ 156083 h 1022551"/>
                <a:gd name="connsiteX103" fmla="*/ 643495 w 993885"/>
                <a:gd name="connsiteY103" fmla="*/ 158469 h 1022551"/>
                <a:gd name="connsiteX104" fmla="*/ 641454 w 993885"/>
                <a:gd name="connsiteY104" fmla="*/ 161504 h 1022551"/>
                <a:gd name="connsiteX105" fmla="*/ 640847 w 993885"/>
                <a:gd name="connsiteY105" fmla="*/ 162140 h 1022551"/>
                <a:gd name="connsiteX106" fmla="*/ 639292 w 993885"/>
                <a:gd name="connsiteY106" fmla="*/ 163197 h 1022551"/>
                <a:gd name="connsiteX107" fmla="*/ 638028 w 993885"/>
                <a:gd name="connsiteY107" fmla="*/ 164546 h 1022551"/>
                <a:gd name="connsiteX108" fmla="*/ 638299 w 993885"/>
                <a:gd name="connsiteY108" fmla="*/ 165813 h 1022551"/>
                <a:gd name="connsiteX109" fmla="*/ 638931 w 993885"/>
                <a:gd name="connsiteY109" fmla="*/ 167092 h 1022551"/>
                <a:gd name="connsiteX110" fmla="*/ 638182 w 993885"/>
                <a:gd name="connsiteY110" fmla="*/ 168692 h 1022551"/>
                <a:gd name="connsiteX111" fmla="*/ 635766 w 993885"/>
                <a:gd name="connsiteY111" fmla="*/ 171032 h 1022551"/>
                <a:gd name="connsiteX112" fmla="*/ 634319 w 993885"/>
                <a:gd name="connsiteY112" fmla="*/ 171599 h 1022551"/>
                <a:gd name="connsiteX113" fmla="*/ 632988 w 993885"/>
                <a:gd name="connsiteY113" fmla="*/ 171837 h 1022551"/>
                <a:gd name="connsiteX114" fmla="*/ 631761 w 993885"/>
                <a:gd name="connsiteY114" fmla="*/ 171609 h 1022551"/>
                <a:gd name="connsiteX115" fmla="*/ 629583 w 993885"/>
                <a:gd name="connsiteY115" fmla="*/ 169264 h 1022551"/>
                <a:gd name="connsiteX116" fmla="*/ 629356 w 993885"/>
                <a:gd name="connsiteY116" fmla="*/ 171099 h 1022551"/>
                <a:gd name="connsiteX117" fmla="*/ 628770 w 993885"/>
                <a:gd name="connsiteY117" fmla="*/ 172977 h 1022551"/>
                <a:gd name="connsiteX118" fmla="*/ 628030 w 993885"/>
                <a:gd name="connsiteY118" fmla="*/ 174004 h 1022551"/>
                <a:gd name="connsiteX119" fmla="*/ 625220 w 993885"/>
                <a:gd name="connsiteY119" fmla="*/ 173895 h 1022551"/>
                <a:gd name="connsiteX120" fmla="*/ 623653 w 993885"/>
                <a:gd name="connsiteY120" fmla="*/ 172890 h 1022551"/>
                <a:gd name="connsiteX121" fmla="*/ 621117 w 993885"/>
                <a:gd name="connsiteY121" fmla="*/ 171775 h 1022551"/>
                <a:gd name="connsiteX122" fmla="*/ 620634 w 993885"/>
                <a:gd name="connsiteY122" fmla="*/ 174789 h 1022551"/>
                <a:gd name="connsiteX123" fmla="*/ 619056 w 993885"/>
                <a:gd name="connsiteY123" fmla="*/ 176868 h 1022551"/>
                <a:gd name="connsiteX124" fmla="*/ 617467 w 993885"/>
                <a:gd name="connsiteY124" fmla="*/ 177519 h 1022551"/>
                <a:gd name="connsiteX125" fmla="*/ 614977 w 993885"/>
                <a:gd name="connsiteY125" fmla="*/ 177957 h 1022551"/>
                <a:gd name="connsiteX126" fmla="*/ 613547 w 993885"/>
                <a:gd name="connsiteY126" fmla="*/ 178841 h 1022551"/>
                <a:gd name="connsiteX127" fmla="*/ 610855 w 993885"/>
                <a:gd name="connsiteY127" fmla="*/ 178151 h 1022551"/>
                <a:gd name="connsiteX128" fmla="*/ 608354 w 993885"/>
                <a:gd name="connsiteY128" fmla="*/ 176768 h 1022551"/>
                <a:gd name="connsiteX129" fmla="*/ 606940 w 993885"/>
                <a:gd name="connsiteY129" fmla="*/ 176649 h 1022551"/>
                <a:gd name="connsiteX130" fmla="*/ 605836 w 993885"/>
                <a:gd name="connsiteY130" fmla="*/ 177767 h 1022551"/>
                <a:gd name="connsiteX131" fmla="*/ 600025 w 993885"/>
                <a:gd name="connsiteY131" fmla="*/ 177972 h 1022551"/>
                <a:gd name="connsiteX132" fmla="*/ 597362 w 993885"/>
                <a:gd name="connsiteY132" fmla="*/ 179106 h 1022551"/>
                <a:gd name="connsiteX133" fmla="*/ 595735 w 993885"/>
                <a:gd name="connsiteY133" fmla="*/ 178785 h 1022551"/>
                <a:gd name="connsiteX134" fmla="*/ 593341 w 993885"/>
                <a:gd name="connsiteY134" fmla="*/ 176496 h 1022551"/>
                <a:gd name="connsiteX135" fmla="*/ 592957 w 993885"/>
                <a:gd name="connsiteY135" fmla="*/ 174973 h 1022551"/>
                <a:gd name="connsiteX136" fmla="*/ 591531 w 993885"/>
                <a:gd name="connsiteY136" fmla="*/ 171886 h 1022551"/>
                <a:gd name="connsiteX137" fmla="*/ 590253 w 993885"/>
                <a:gd name="connsiteY137" fmla="*/ 168220 h 1022551"/>
                <a:gd name="connsiteX138" fmla="*/ 589341 w 993885"/>
                <a:gd name="connsiteY138" fmla="*/ 164893 h 1022551"/>
                <a:gd name="connsiteX139" fmla="*/ 590109 w 993885"/>
                <a:gd name="connsiteY139" fmla="*/ 162014 h 1022551"/>
                <a:gd name="connsiteX140" fmla="*/ 591661 w 993885"/>
                <a:gd name="connsiteY140" fmla="*/ 162112 h 1022551"/>
                <a:gd name="connsiteX141" fmla="*/ 593497 w 993885"/>
                <a:gd name="connsiteY141" fmla="*/ 162539 h 1022551"/>
                <a:gd name="connsiteX142" fmla="*/ 593887 w 993885"/>
                <a:gd name="connsiteY142" fmla="*/ 162336 h 1022551"/>
                <a:gd name="connsiteX143" fmla="*/ 593977 w 993885"/>
                <a:gd name="connsiteY143" fmla="*/ 161416 h 1022551"/>
                <a:gd name="connsiteX144" fmla="*/ 593572 w 993885"/>
                <a:gd name="connsiteY144" fmla="*/ 160650 h 1022551"/>
                <a:gd name="connsiteX145" fmla="*/ 590614 w 993885"/>
                <a:gd name="connsiteY145" fmla="*/ 160771 h 1022551"/>
                <a:gd name="connsiteX146" fmla="*/ 588745 w 993885"/>
                <a:gd name="connsiteY146" fmla="*/ 159063 h 1022551"/>
                <a:gd name="connsiteX147" fmla="*/ 588420 w 993885"/>
                <a:gd name="connsiteY147" fmla="*/ 156423 h 1022551"/>
                <a:gd name="connsiteX148" fmla="*/ 588804 w 993885"/>
                <a:gd name="connsiteY148" fmla="*/ 150935 h 1022551"/>
                <a:gd name="connsiteX149" fmla="*/ 589048 w 993885"/>
                <a:gd name="connsiteY149" fmla="*/ 149809 h 1022551"/>
                <a:gd name="connsiteX150" fmla="*/ 590352 w 993885"/>
                <a:gd name="connsiteY150" fmla="*/ 148235 h 1022551"/>
                <a:gd name="connsiteX151" fmla="*/ 590779 w 993885"/>
                <a:gd name="connsiteY151" fmla="*/ 146844 h 1022551"/>
                <a:gd name="connsiteX152" fmla="*/ 590456 w 993885"/>
                <a:gd name="connsiteY152" fmla="*/ 145366 h 1022551"/>
                <a:gd name="connsiteX153" fmla="*/ 591016 w 993885"/>
                <a:gd name="connsiteY153" fmla="*/ 142684 h 1022551"/>
                <a:gd name="connsiteX154" fmla="*/ 592239 w 993885"/>
                <a:gd name="connsiteY154" fmla="*/ 140361 h 1022551"/>
                <a:gd name="connsiteX155" fmla="*/ 596903 w 993885"/>
                <a:gd name="connsiteY155" fmla="*/ 137434 h 1022551"/>
                <a:gd name="connsiteX156" fmla="*/ 589202 w 993885"/>
                <a:gd name="connsiteY156" fmla="*/ 134479 h 1022551"/>
                <a:gd name="connsiteX157" fmla="*/ 591694 w 993885"/>
                <a:gd name="connsiteY157" fmla="*/ 134914 h 1022551"/>
                <a:gd name="connsiteX158" fmla="*/ 592109 w 993885"/>
                <a:gd name="connsiteY158" fmla="*/ 136127 h 1022551"/>
                <a:gd name="connsiteX159" fmla="*/ 592052 w 993885"/>
                <a:gd name="connsiteY159" fmla="*/ 136781 h 1022551"/>
                <a:gd name="connsiteX160" fmla="*/ 585117 w 993885"/>
                <a:gd name="connsiteY160" fmla="*/ 141742 h 1022551"/>
                <a:gd name="connsiteX161" fmla="*/ 582768 w 993885"/>
                <a:gd name="connsiteY161" fmla="*/ 140114 h 1022551"/>
                <a:gd name="connsiteX162" fmla="*/ 582284 w 993885"/>
                <a:gd name="connsiteY162" fmla="*/ 139170 h 1022551"/>
                <a:gd name="connsiteX163" fmla="*/ 582683 w 993885"/>
                <a:gd name="connsiteY163" fmla="*/ 138220 h 1022551"/>
                <a:gd name="connsiteX164" fmla="*/ 582597 w 993885"/>
                <a:gd name="connsiteY164" fmla="*/ 137814 h 1022551"/>
                <a:gd name="connsiteX165" fmla="*/ 583375 w 993885"/>
                <a:gd name="connsiteY165" fmla="*/ 136112 h 1022551"/>
                <a:gd name="connsiteX166" fmla="*/ 587252 w 993885"/>
                <a:gd name="connsiteY166" fmla="*/ 134715 h 1022551"/>
                <a:gd name="connsiteX167" fmla="*/ 621197 w 993885"/>
                <a:gd name="connsiteY167" fmla="*/ 131321 h 1022551"/>
                <a:gd name="connsiteX168" fmla="*/ 623808 w 993885"/>
                <a:gd name="connsiteY168" fmla="*/ 131992 h 1022551"/>
                <a:gd name="connsiteX169" fmla="*/ 624522 w 993885"/>
                <a:gd name="connsiteY169" fmla="*/ 133415 h 1022551"/>
                <a:gd name="connsiteX170" fmla="*/ 624305 w 993885"/>
                <a:gd name="connsiteY170" fmla="*/ 134850 h 1022551"/>
                <a:gd name="connsiteX171" fmla="*/ 622707 w 993885"/>
                <a:gd name="connsiteY171" fmla="*/ 136293 h 1022551"/>
                <a:gd name="connsiteX172" fmla="*/ 615990 w 993885"/>
                <a:gd name="connsiteY172" fmla="*/ 137088 h 1022551"/>
                <a:gd name="connsiteX173" fmla="*/ 612915 w 993885"/>
                <a:gd name="connsiteY173" fmla="*/ 135823 h 1022551"/>
                <a:gd name="connsiteX174" fmla="*/ 613609 w 993885"/>
                <a:gd name="connsiteY174" fmla="*/ 134758 h 1022551"/>
                <a:gd name="connsiteX175" fmla="*/ 615901 w 993885"/>
                <a:gd name="connsiteY175" fmla="*/ 133060 h 1022551"/>
                <a:gd name="connsiteX176" fmla="*/ 618693 w 993885"/>
                <a:gd name="connsiteY176" fmla="*/ 131853 h 1022551"/>
                <a:gd name="connsiteX177" fmla="*/ 611674 w 993885"/>
                <a:gd name="connsiteY177" fmla="*/ 125720 h 1022551"/>
                <a:gd name="connsiteX178" fmla="*/ 615244 w 993885"/>
                <a:gd name="connsiteY178" fmla="*/ 126643 h 1022551"/>
                <a:gd name="connsiteX179" fmla="*/ 616283 w 993885"/>
                <a:gd name="connsiteY179" fmla="*/ 127967 h 1022551"/>
                <a:gd name="connsiteX180" fmla="*/ 612689 w 993885"/>
                <a:gd name="connsiteY180" fmla="*/ 133268 h 1022551"/>
                <a:gd name="connsiteX181" fmla="*/ 610709 w 993885"/>
                <a:gd name="connsiteY181" fmla="*/ 134030 h 1022551"/>
                <a:gd name="connsiteX182" fmla="*/ 608543 w 993885"/>
                <a:gd name="connsiteY182" fmla="*/ 134185 h 1022551"/>
                <a:gd name="connsiteX183" fmla="*/ 605738 w 993885"/>
                <a:gd name="connsiteY183" fmla="*/ 132605 h 1022551"/>
                <a:gd name="connsiteX184" fmla="*/ 601364 w 993885"/>
                <a:gd name="connsiteY184" fmla="*/ 132718 h 1022551"/>
                <a:gd name="connsiteX185" fmla="*/ 599999 w 993885"/>
                <a:gd name="connsiteY185" fmla="*/ 132344 h 1022551"/>
                <a:gd name="connsiteX186" fmla="*/ 599855 w 993885"/>
                <a:gd name="connsiteY186" fmla="*/ 130033 h 1022551"/>
                <a:gd name="connsiteX187" fmla="*/ 601692 w 993885"/>
                <a:gd name="connsiteY187" fmla="*/ 127566 h 1022551"/>
                <a:gd name="connsiteX188" fmla="*/ 605361 w 993885"/>
                <a:gd name="connsiteY188" fmla="*/ 127699 h 1022551"/>
                <a:gd name="connsiteX189" fmla="*/ 599154 w 993885"/>
                <a:gd name="connsiteY189" fmla="*/ 118461 h 1022551"/>
                <a:gd name="connsiteX190" fmla="*/ 599707 w 993885"/>
                <a:gd name="connsiteY190" fmla="*/ 118693 h 1022551"/>
                <a:gd name="connsiteX191" fmla="*/ 599920 w 993885"/>
                <a:gd name="connsiteY191" fmla="*/ 123767 h 1022551"/>
                <a:gd name="connsiteX192" fmla="*/ 600180 w 993885"/>
                <a:gd name="connsiteY192" fmla="*/ 126876 h 1022551"/>
                <a:gd name="connsiteX193" fmla="*/ 597801 w 993885"/>
                <a:gd name="connsiteY193" fmla="*/ 129912 h 1022551"/>
                <a:gd name="connsiteX194" fmla="*/ 597349 w 993885"/>
                <a:gd name="connsiteY194" fmla="*/ 133638 h 1022551"/>
                <a:gd name="connsiteX195" fmla="*/ 592785 w 993885"/>
                <a:gd name="connsiteY195" fmla="*/ 132064 h 1022551"/>
                <a:gd name="connsiteX196" fmla="*/ 593127 w 993885"/>
                <a:gd name="connsiteY196" fmla="*/ 128251 h 1022551"/>
                <a:gd name="connsiteX197" fmla="*/ 595263 w 993885"/>
                <a:gd name="connsiteY197" fmla="*/ 127182 h 1022551"/>
                <a:gd name="connsiteX198" fmla="*/ 597155 w 993885"/>
                <a:gd name="connsiteY198" fmla="*/ 125155 h 1022551"/>
                <a:gd name="connsiteX199" fmla="*/ 597802 w 993885"/>
                <a:gd name="connsiteY199" fmla="*/ 122669 h 1022551"/>
                <a:gd name="connsiteX200" fmla="*/ 597841 w 993885"/>
                <a:gd name="connsiteY200" fmla="*/ 119288 h 1022551"/>
                <a:gd name="connsiteX201" fmla="*/ 598543 w 993885"/>
                <a:gd name="connsiteY201" fmla="*/ 118701 h 1022551"/>
                <a:gd name="connsiteX202" fmla="*/ 607114 w 993885"/>
                <a:gd name="connsiteY202" fmla="*/ 117265 h 1022551"/>
                <a:gd name="connsiteX203" fmla="*/ 607674 w 993885"/>
                <a:gd name="connsiteY203" fmla="*/ 118360 h 1022551"/>
                <a:gd name="connsiteX204" fmla="*/ 607592 w 993885"/>
                <a:gd name="connsiteY204" fmla="*/ 120187 h 1022551"/>
                <a:gd name="connsiteX205" fmla="*/ 604729 w 993885"/>
                <a:gd name="connsiteY205" fmla="*/ 123478 h 1022551"/>
                <a:gd name="connsiteX206" fmla="*/ 601980 w 993885"/>
                <a:gd name="connsiteY206" fmla="*/ 124336 h 1022551"/>
                <a:gd name="connsiteX207" fmla="*/ 601468 w 993885"/>
                <a:gd name="connsiteY207" fmla="*/ 123533 h 1022551"/>
                <a:gd name="connsiteX208" fmla="*/ 601464 w 993885"/>
                <a:gd name="connsiteY208" fmla="*/ 120347 h 1022551"/>
                <a:gd name="connsiteX209" fmla="*/ 602237 w 993885"/>
                <a:gd name="connsiteY209" fmla="*/ 118599 h 1022551"/>
                <a:gd name="connsiteX210" fmla="*/ 605746 w 993885"/>
                <a:gd name="connsiteY210" fmla="*/ 118109 h 1022551"/>
                <a:gd name="connsiteX211" fmla="*/ 606106 w 993885"/>
                <a:gd name="connsiteY211" fmla="*/ 117596 h 1022551"/>
                <a:gd name="connsiteX212" fmla="*/ 597988 w 993885"/>
                <a:gd name="connsiteY212" fmla="*/ 78627 h 1022551"/>
                <a:gd name="connsiteX213" fmla="*/ 599411 w 993885"/>
                <a:gd name="connsiteY213" fmla="*/ 78806 h 1022551"/>
                <a:gd name="connsiteX214" fmla="*/ 599934 w 993885"/>
                <a:gd name="connsiteY214" fmla="*/ 79128 h 1022551"/>
                <a:gd name="connsiteX215" fmla="*/ 601200 w 993885"/>
                <a:gd name="connsiteY215" fmla="*/ 83242 h 1022551"/>
                <a:gd name="connsiteX216" fmla="*/ 601026 w 993885"/>
                <a:gd name="connsiteY216" fmla="*/ 84283 h 1022551"/>
                <a:gd name="connsiteX217" fmla="*/ 598495 w 993885"/>
                <a:gd name="connsiteY217" fmla="*/ 85441 h 1022551"/>
                <a:gd name="connsiteX218" fmla="*/ 597041 w 993885"/>
                <a:gd name="connsiteY218" fmla="*/ 84994 h 1022551"/>
                <a:gd name="connsiteX219" fmla="*/ 595700 w 993885"/>
                <a:gd name="connsiteY219" fmla="*/ 81975 h 1022551"/>
                <a:gd name="connsiteX220" fmla="*/ 596156 w 993885"/>
                <a:gd name="connsiteY220" fmla="*/ 79461 h 1022551"/>
                <a:gd name="connsiteX221" fmla="*/ 348915 w 993885"/>
                <a:gd name="connsiteY221" fmla="*/ 0 h 1022551"/>
                <a:gd name="connsiteX222" fmla="*/ 350434 w 993885"/>
                <a:gd name="connsiteY222" fmla="*/ 488 h 1022551"/>
                <a:gd name="connsiteX223" fmla="*/ 351441 w 993885"/>
                <a:gd name="connsiteY223" fmla="*/ 488 h 1022551"/>
                <a:gd name="connsiteX224" fmla="*/ 352355 w 993885"/>
                <a:gd name="connsiteY224" fmla="*/ 1621 h 1022551"/>
                <a:gd name="connsiteX225" fmla="*/ 353063 w 993885"/>
                <a:gd name="connsiteY225" fmla="*/ 2898 h 1022551"/>
                <a:gd name="connsiteX226" fmla="*/ 355279 w 993885"/>
                <a:gd name="connsiteY226" fmla="*/ 4452 h 1022551"/>
                <a:gd name="connsiteX227" fmla="*/ 355058 w 993885"/>
                <a:gd name="connsiteY227" fmla="*/ 6816 h 1022551"/>
                <a:gd name="connsiteX228" fmla="*/ 354650 w 993885"/>
                <a:gd name="connsiteY228" fmla="*/ 8909 h 1022551"/>
                <a:gd name="connsiteX229" fmla="*/ 354364 w 993885"/>
                <a:gd name="connsiteY229" fmla="*/ 11318 h 1022551"/>
                <a:gd name="connsiteX230" fmla="*/ 354236 w 993885"/>
                <a:gd name="connsiteY230" fmla="*/ 13153 h 1022551"/>
                <a:gd name="connsiteX231" fmla="*/ 353294 w 993885"/>
                <a:gd name="connsiteY231" fmla="*/ 15030 h 1022551"/>
                <a:gd name="connsiteX232" fmla="*/ 351884 w 993885"/>
                <a:gd name="connsiteY232" fmla="*/ 16782 h 1022551"/>
                <a:gd name="connsiteX233" fmla="*/ 351469 w 993885"/>
                <a:gd name="connsiteY233" fmla="*/ 17496 h 1022551"/>
                <a:gd name="connsiteX234" fmla="*/ 351274 w 993885"/>
                <a:gd name="connsiteY234" fmla="*/ 18419 h 1022551"/>
                <a:gd name="connsiteX235" fmla="*/ 352224 w 993885"/>
                <a:gd name="connsiteY235" fmla="*/ 18981 h 1022551"/>
                <a:gd name="connsiteX236" fmla="*/ 353901 w 993885"/>
                <a:gd name="connsiteY236" fmla="*/ 19148 h 1022551"/>
                <a:gd name="connsiteX237" fmla="*/ 355997 w 993885"/>
                <a:gd name="connsiteY237" fmla="*/ 19220 h 1022551"/>
                <a:gd name="connsiteX238" fmla="*/ 357422 w 993885"/>
                <a:gd name="connsiteY238" fmla="*/ 19764 h 1022551"/>
                <a:gd name="connsiteX239" fmla="*/ 359268 w 993885"/>
                <a:gd name="connsiteY239" fmla="*/ 19876 h 1022551"/>
                <a:gd name="connsiteX240" fmla="*/ 361488 w 993885"/>
                <a:gd name="connsiteY240" fmla="*/ 21382 h 1022551"/>
                <a:gd name="connsiteX241" fmla="*/ 362567 w 993885"/>
                <a:gd name="connsiteY241" fmla="*/ 22284 h 1022551"/>
                <a:gd name="connsiteX242" fmla="*/ 362657 w 993885"/>
                <a:gd name="connsiteY242" fmla="*/ 22985 h 1022551"/>
                <a:gd name="connsiteX243" fmla="*/ 361952 w 993885"/>
                <a:gd name="connsiteY243" fmla="*/ 24659 h 1022551"/>
                <a:gd name="connsiteX244" fmla="*/ 361671 w 993885"/>
                <a:gd name="connsiteY244" fmla="*/ 26205 h 1022551"/>
                <a:gd name="connsiteX245" fmla="*/ 362220 w 993885"/>
                <a:gd name="connsiteY245" fmla="*/ 27186 h 1022551"/>
                <a:gd name="connsiteX246" fmla="*/ 362872 w 993885"/>
                <a:gd name="connsiteY246" fmla="*/ 27891 h 1022551"/>
                <a:gd name="connsiteX247" fmla="*/ 364672 w 993885"/>
                <a:gd name="connsiteY247" fmla="*/ 31377 h 1022551"/>
                <a:gd name="connsiteX248" fmla="*/ 365529 w 993885"/>
                <a:gd name="connsiteY248" fmla="*/ 32590 h 1022551"/>
                <a:gd name="connsiteX249" fmla="*/ 366256 w 993885"/>
                <a:gd name="connsiteY249" fmla="*/ 32981 h 1022551"/>
                <a:gd name="connsiteX250" fmla="*/ 366424 w 993885"/>
                <a:gd name="connsiteY250" fmla="*/ 33653 h 1022551"/>
                <a:gd name="connsiteX251" fmla="*/ 365808 w 993885"/>
                <a:gd name="connsiteY251" fmla="*/ 34925 h 1022551"/>
                <a:gd name="connsiteX252" fmla="*/ 365072 w 993885"/>
                <a:gd name="connsiteY252" fmla="*/ 36544 h 1022551"/>
                <a:gd name="connsiteX253" fmla="*/ 363405 w 993885"/>
                <a:gd name="connsiteY253" fmla="*/ 38244 h 1022551"/>
                <a:gd name="connsiteX254" fmla="*/ 363181 w 993885"/>
                <a:gd name="connsiteY254" fmla="*/ 39587 h 1022551"/>
                <a:gd name="connsiteX255" fmla="*/ 361846 w 993885"/>
                <a:gd name="connsiteY255" fmla="*/ 40432 h 1022551"/>
                <a:gd name="connsiteX256" fmla="*/ 358734 w 993885"/>
                <a:gd name="connsiteY256" fmla="*/ 42439 h 1022551"/>
                <a:gd name="connsiteX257" fmla="*/ 359276 w 993885"/>
                <a:gd name="connsiteY257" fmla="*/ 45621 h 1022551"/>
                <a:gd name="connsiteX258" fmla="*/ 359383 w 993885"/>
                <a:gd name="connsiteY258" fmla="*/ 47235 h 1022551"/>
                <a:gd name="connsiteX259" fmla="*/ 359324 w 993885"/>
                <a:gd name="connsiteY259" fmla="*/ 48488 h 1022551"/>
                <a:gd name="connsiteX260" fmla="*/ 358262 w 993885"/>
                <a:gd name="connsiteY260" fmla="*/ 50167 h 1022551"/>
                <a:gd name="connsiteX261" fmla="*/ 356420 w 993885"/>
                <a:gd name="connsiteY261" fmla="*/ 55122 h 1022551"/>
                <a:gd name="connsiteX262" fmla="*/ 355745 w 993885"/>
                <a:gd name="connsiteY262" fmla="*/ 57593 h 1022551"/>
                <a:gd name="connsiteX263" fmla="*/ 355146 w 993885"/>
                <a:gd name="connsiteY263" fmla="*/ 63305 h 1022551"/>
                <a:gd name="connsiteX264" fmla="*/ 355186 w 993885"/>
                <a:gd name="connsiteY264" fmla="*/ 65219 h 1022551"/>
                <a:gd name="connsiteX265" fmla="*/ 356036 w 993885"/>
                <a:gd name="connsiteY265" fmla="*/ 67797 h 1022551"/>
                <a:gd name="connsiteX266" fmla="*/ 357841 w 993885"/>
                <a:gd name="connsiteY266" fmla="*/ 73516 h 1022551"/>
                <a:gd name="connsiteX267" fmla="*/ 358868 w 993885"/>
                <a:gd name="connsiteY267" fmla="*/ 74427 h 1022551"/>
                <a:gd name="connsiteX268" fmla="*/ 361249 w 993885"/>
                <a:gd name="connsiteY268" fmla="*/ 75770 h 1022551"/>
                <a:gd name="connsiteX269" fmla="*/ 361546 w 993885"/>
                <a:gd name="connsiteY269" fmla="*/ 79639 h 1022551"/>
                <a:gd name="connsiteX270" fmla="*/ 361336 w 993885"/>
                <a:gd name="connsiteY270" fmla="*/ 83677 h 1022551"/>
                <a:gd name="connsiteX271" fmla="*/ 361224 w 993885"/>
                <a:gd name="connsiteY271" fmla="*/ 85244 h 1022551"/>
                <a:gd name="connsiteX272" fmla="*/ 361617 w 993885"/>
                <a:gd name="connsiteY272" fmla="*/ 85916 h 1022551"/>
                <a:gd name="connsiteX273" fmla="*/ 362686 w 993885"/>
                <a:gd name="connsiteY273" fmla="*/ 86237 h 1022551"/>
                <a:gd name="connsiteX274" fmla="*/ 363447 w 993885"/>
                <a:gd name="connsiteY274" fmla="*/ 86723 h 1022551"/>
                <a:gd name="connsiteX275" fmla="*/ 363568 w 993885"/>
                <a:gd name="connsiteY275" fmla="*/ 87918 h 1022551"/>
                <a:gd name="connsiteX276" fmla="*/ 363495 w 993885"/>
                <a:gd name="connsiteY276" fmla="*/ 89159 h 1022551"/>
                <a:gd name="connsiteX277" fmla="*/ 365271 w 993885"/>
                <a:gd name="connsiteY277" fmla="*/ 89875 h 1022551"/>
                <a:gd name="connsiteX278" fmla="*/ 366815 w 993885"/>
                <a:gd name="connsiteY278" fmla="*/ 90333 h 1022551"/>
                <a:gd name="connsiteX279" fmla="*/ 368242 w 993885"/>
                <a:gd name="connsiteY279" fmla="*/ 92047 h 1022551"/>
                <a:gd name="connsiteX280" fmla="*/ 370822 w 993885"/>
                <a:gd name="connsiteY280" fmla="*/ 94712 h 1022551"/>
                <a:gd name="connsiteX281" fmla="*/ 371847 w 993885"/>
                <a:gd name="connsiteY281" fmla="*/ 95197 h 1022551"/>
                <a:gd name="connsiteX282" fmla="*/ 372361 w 993885"/>
                <a:gd name="connsiteY282" fmla="*/ 96304 h 1022551"/>
                <a:gd name="connsiteX283" fmla="*/ 374536 w 993885"/>
                <a:gd name="connsiteY283" fmla="*/ 98550 h 1022551"/>
                <a:gd name="connsiteX284" fmla="*/ 377854 w 993885"/>
                <a:gd name="connsiteY284" fmla="*/ 99371 h 1022551"/>
                <a:gd name="connsiteX285" fmla="*/ 381197 w 993885"/>
                <a:gd name="connsiteY285" fmla="*/ 100361 h 1022551"/>
                <a:gd name="connsiteX286" fmla="*/ 382514 w 993885"/>
                <a:gd name="connsiteY286" fmla="*/ 101775 h 1022551"/>
                <a:gd name="connsiteX287" fmla="*/ 383885 w 993885"/>
                <a:gd name="connsiteY287" fmla="*/ 102923 h 1022551"/>
                <a:gd name="connsiteX288" fmla="*/ 384917 w 993885"/>
                <a:gd name="connsiteY288" fmla="*/ 102982 h 1022551"/>
                <a:gd name="connsiteX289" fmla="*/ 385795 w 993885"/>
                <a:gd name="connsiteY289" fmla="*/ 102799 h 1022551"/>
                <a:gd name="connsiteX290" fmla="*/ 387237 w 993885"/>
                <a:gd name="connsiteY290" fmla="*/ 101809 h 1022551"/>
                <a:gd name="connsiteX291" fmla="*/ 388395 w 993885"/>
                <a:gd name="connsiteY291" fmla="*/ 100959 h 1022551"/>
                <a:gd name="connsiteX292" fmla="*/ 390412 w 993885"/>
                <a:gd name="connsiteY292" fmla="*/ 101007 h 1022551"/>
                <a:gd name="connsiteX293" fmla="*/ 392776 w 993885"/>
                <a:gd name="connsiteY293" fmla="*/ 100867 h 1022551"/>
                <a:gd name="connsiteX294" fmla="*/ 393186 w 993885"/>
                <a:gd name="connsiteY294" fmla="*/ 100167 h 1022551"/>
                <a:gd name="connsiteX295" fmla="*/ 393410 w 993885"/>
                <a:gd name="connsiteY295" fmla="*/ 99267 h 1022551"/>
                <a:gd name="connsiteX296" fmla="*/ 392924 w 993885"/>
                <a:gd name="connsiteY296" fmla="*/ 96961 h 1022551"/>
                <a:gd name="connsiteX297" fmla="*/ 393763 w 993885"/>
                <a:gd name="connsiteY297" fmla="*/ 96262 h 1022551"/>
                <a:gd name="connsiteX298" fmla="*/ 395718 w 993885"/>
                <a:gd name="connsiteY298" fmla="*/ 95869 h 1022551"/>
                <a:gd name="connsiteX299" fmla="*/ 396110 w 993885"/>
                <a:gd name="connsiteY299" fmla="*/ 94639 h 1022551"/>
                <a:gd name="connsiteX300" fmla="*/ 396559 w 993885"/>
                <a:gd name="connsiteY300" fmla="*/ 93968 h 1022551"/>
                <a:gd name="connsiteX301" fmla="*/ 397117 w 993885"/>
                <a:gd name="connsiteY301" fmla="*/ 93185 h 1022551"/>
                <a:gd name="connsiteX302" fmla="*/ 397788 w 993885"/>
                <a:gd name="connsiteY302" fmla="*/ 93074 h 1022551"/>
                <a:gd name="connsiteX303" fmla="*/ 398626 w 993885"/>
                <a:gd name="connsiteY303" fmla="*/ 93521 h 1022551"/>
                <a:gd name="connsiteX304" fmla="*/ 399912 w 993885"/>
                <a:gd name="connsiteY304" fmla="*/ 93801 h 1022551"/>
                <a:gd name="connsiteX305" fmla="*/ 401366 w 993885"/>
                <a:gd name="connsiteY305" fmla="*/ 94192 h 1022551"/>
                <a:gd name="connsiteX306" fmla="*/ 402148 w 993885"/>
                <a:gd name="connsiteY306" fmla="*/ 94975 h 1022551"/>
                <a:gd name="connsiteX307" fmla="*/ 403440 w 993885"/>
                <a:gd name="connsiteY307" fmla="*/ 95041 h 1022551"/>
                <a:gd name="connsiteX308" fmla="*/ 404876 w 993885"/>
                <a:gd name="connsiteY308" fmla="*/ 94892 h 1022551"/>
                <a:gd name="connsiteX309" fmla="*/ 405456 w 993885"/>
                <a:gd name="connsiteY309" fmla="*/ 94392 h 1022551"/>
                <a:gd name="connsiteX310" fmla="*/ 405879 w 993885"/>
                <a:gd name="connsiteY310" fmla="*/ 93521 h 1022551"/>
                <a:gd name="connsiteX311" fmla="*/ 406191 w 993885"/>
                <a:gd name="connsiteY311" fmla="*/ 91641 h 1022551"/>
                <a:gd name="connsiteX312" fmla="*/ 407116 w 993885"/>
                <a:gd name="connsiteY312" fmla="*/ 91586 h 1022551"/>
                <a:gd name="connsiteX313" fmla="*/ 408964 w 993885"/>
                <a:gd name="connsiteY313" fmla="*/ 91163 h 1022551"/>
                <a:gd name="connsiteX314" fmla="*/ 410936 w 993885"/>
                <a:gd name="connsiteY314" fmla="*/ 90333 h 1022551"/>
                <a:gd name="connsiteX315" fmla="*/ 413572 w 993885"/>
                <a:gd name="connsiteY315" fmla="*/ 90211 h 1022551"/>
                <a:gd name="connsiteX316" fmla="*/ 416039 w 993885"/>
                <a:gd name="connsiteY316" fmla="*/ 90230 h 1022551"/>
                <a:gd name="connsiteX317" fmla="*/ 417273 w 993885"/>
                <a:gd name="connsiteY317" fmla="*/ 89673 h 1022551"/>
                <a:gd name="connsiteX318" fmla="*/ 418422 w 993885"/>
                <a:gd name="connsiteY318" fmla="*/ 88460 h 1022551"/>
                <a:gd name="connsiteX319" fmla="*/ 420647 w 993885"/>
                <a:gd name="connsiteY319" fmla="*/ 85033 h 1022551"/>
                <a:gd name="connsiteX320" fmla="*/ 421811 w 993885"/>
                <a:gd name="connsiteY320" fmla="*/ 84243 h 1022551"/>
                <a:gd name="connsiteX321" fmla="*/ 423062 w 993885"/>
                <a:gd name="connsiteY321" fmla="*/ 83650 h 1022551"/>
                <a:gd name="connsiteX322" fmla="*/ 424124 w 993885"/>
                <a:gd name="connsiteY322" fmla="*/ 83758 h 1022551"/>
                <a:gd name="connsiteX323" fmla="*/ 426304 w 993885"/>
                <a:gd name="connsiteY323" fmla="*/ 83191 h 1022551"/>
                <a:gd name="connsiteX324" fmla="*/ 428097 w 993885"/>
                <a:gd name="connsiteY324" fmla="*/ 82369 h 1022551"/>
                <a:gd name="connsiteX325" fmla="*/ 428762 w 993885"/>
                <a:gd name="connsiteY325" fmla="*/ 82577 h 1022551"/>
                <a:gd name="connsiteX326" fmla="*/ 430158 w 993885"/>
                <a:gd name="connsiteY326" fmla="*/ 84336 h 1022551"/>
                <a:gd name="connsiteX327" fmla="*/ 430856 w 993885"/>
                <a:gd name="connsiteY327" fmla="*/ 84721 h 1022551"/>
                <a:gd name="connsiteX328" fmla="*/ 431884 w 993885"/>
                <a:gd name="connsiteY328" fmla="*/ 84844 h 1022551"/>
                <a:gd name="connsiteX329" fmla="*/ 435251 w 993885"/>
                <a:gd name="connsiteY329" fmla="*/ 85736 h 1022551"/>
                <a:gd name="connsiteX330" fmla="*/ 437038 w 993885"/>
                <a:gd name="connsiteY330" fmla="*/ 85458 h 1022551"/>
                <a:gd name="connsiteX331" fmla="*/ 438976 w 993885"/>
                <a:gd name="connsiteY331" fmla="*/ 84898 h 1022551"/>
                <a:gd name="connsiteX332" fmla="*/ 440837 w 993885"/>
                <a:gd name="connsiteY332" fmla="*/ 84685 h 1022551"/>
                <a:gd name="connsiteX333" fmla="*/ 442178 w 993885"/>
                <a:gd name="connsiteY333" fmla="*/ 85076 h 1022551"/>
                <a:gd name="connsiteX334" fmla="*/ 443143 w 993885"/>
                <a:gd name="connsiteY334" fmla="*/ 84568 h 1022551"/>
                <a:gd name="connsiteX335" fmla="*/ 444226 w 993885"/>
                <a:gd name="connsiteY335" fmla="*/ 84191 h 1022551"/>
                <a:gd name="connsiteX336" fmla="*/ 444986 w 993885"/>
                <a:gd name="connsiteY336" fmla="*/ 84440 h 1022551"/>
                <a:gd name="connsiteX337" fmla="*/ 446684 w 993885"/>
                <a:gd name="connsiteY337" fmla="*/ 84654 h 1022551"/>
                <a:gd name="connsiteX338" fmla="*/ 450708 w 993885"/>
                <a:gd name="connsiteY338" fmla="*/ 85633 h 1022551"/>
                <a:gd name="connsiteX339" fmla="*/ 455962 w 993885"/>
                <a:gd name="connsiteY339" fmla="*/ 86725 h 1022551"/>
                <a:gd name="connsiteX340" fmla="*/ 457398 w 993885"/>
                <a:gd name="connsiteY340" fmla="*/ 86349 h 1022551"/>
                <a:gd name="connsiteX341" fmla="*/ 458252 w 993885"/>
                <a:gd name="connsiteY341" fmla="*/ 85578 h 1022551"/>
                <a:gd name="connsiteX342" fmla="*/ 458455 w 993885"/>
                <a:gd name="connsiteY342" fmla="*/ 83316 h 1022551"/>
                <a:gd name="connsiteX343" fmla="*/ 458615 w 993885"/>
                <a:gd name="connsiteY343" fmla="*/ 81721 h 1022551"/>
                <a:gd name="connsiteX344" fmla="*/ 457432 w 993885"/>
                <a:gd name="connsiteY344" fmla="*/ 80311 h 1022551"/>
                <a:gd name="connsiteX345" fmla="*/ 455959 w 993885"/>
                <a:gd name="connsiteY345" fmla="*/ 78712 h 1022551"/>
                <a:gd name="connsiteX346" fmla="*/ 454601 w 993885"/>
                <a:gd name="connsiteY346" fmla="*/ 76718 h 1022551"/>
                <a:gd name="connsiteX347" fmla="*/ 452976 w 993885"/>
                <a:gd name="connsiteY347" fmla="*/ 76153 h 1022551"/>
                <a:gd name="connsiteX348" fmla="*/ 453186 w 993885"/>
                <a:gd name="connsiteY348" fmla="*/ 75125 h 1022551"/>
                <a:gd name="connsiteX349" fmla="*/ 454242 w 993885"/>
                <a:gd name="connsiteY349" fmla="*/ 74066 h 1022551"/>
                <a:gd name="connsiteX350" fmla="*/ 455324 w 993885"/>
                <a:gd name="connsiteY350" fmla="*/ 73480 h 1022551"/>
                <a:gd name="connsiteX351" fmla="*/ 455952 w 993885"/>
                <a:gd name="connsiteY351" fmla="*/ 72760 h 1022551"/>
                <a:gd name="connsiteX352" fmla="*/ 456632 w 993885"/>
                <a:gd name="connsiteY352" fmla="*/ 70103 h 1022551"/>
                <a:gd name="connsiteX353" fmla="*/ 457087 w 993885"/>
                <a:gd name="connsiteY353" fmla="*/ 69634 h 1022551"/>
                <a:gd name="connsiteX354" fmla="*/ 457546 w 993885"/>
                <a:gd name="connsiteY354" fmla="*/ 69520 h 1022551"/>
                <a:gd name="connsiteX355" fmla="*/ 458092 w 993885"/>
                <a:gd name="connsiteY355" fmla="*/ 69618 h 1022551"/>
                <a:gd name="connsiteX356" fmla="*/ 459162 w 993885"/>
                <a:gd name="connsiteY356" fmla="*/ 70306 h 1022551"/>
                <a:gd name="connsiteX357" fmla="*/ 463300 w 993885"/>
                <a:gd name="connsiteY357" fmla="*/ 72420 h 1022551"/>
                <a:gd name="connsiteX358" fmla="*/ 465115 w 993885"/>
                <a:gd name="connsiteY358" fmla="*/ 72100 h 1022551"/>
                <a:gd name="connsiteX359" fmla="*/ 472053 w 993885"/>
                <a:gd name="connsiteY359" fmla="*/ 71545 h 1022551"/>
                <a:gd name="connsiteX360" fmla="*/ 473102 w 993885"/>
                <a:gd name="connsiteY360" fmla="*/ 70324 h 1022551"/>
                <a:gd name="connsiteX361" fmla="*/ 474571 w 993885"/>
                <a:gd name="connsiteY361" fmla="*/ 70048 h 1022551"/>
                <a:gd name="connsiteX362" fmla="*/ 477065 w 993885"/>
                <a:gd name="connsiteY362" fmla="*/ 68833 h 1022551"/>
                <a:gd name="connsiteX363" fmla="*/ 478050 w 993885"/>
                <a:gd name="connsiteY363" fmla="*/ 68751 h 1022551"/>
                <a:gd name="connsiteX364" fmla="*/ 478931 w 993885"/>
                <a:gd name="connsiteY364" fmla="*/ 69044 h 1022551"/>
                <a:gd name="connsiteX365" fmla="*/ 480041 w 993885"/>
                <a:gd name="connsiteY365" fmla="*/ 68813 h 1022551"/>
                <a:gd name="connsiteX366" fmla="*/ 481676 w 993885"/>
                <a:gd name="connsiteY366" fmla="*/ 67681 h 1022551"/>
                <a:gd name="connsiteX367" fmla="*/ 482366 w 993885"/>
                <a:gd name="connsiteY367" fmla="*/ 67561 h 1022551"/>
                <a:gd name="connsiteX368" fmla="*/ 482626 w 993885"/>
                <a:gd name="connsiteY368" fmla="*/ 68813 h 1022551"/>
                <a:gd name="connsiteX369" fmla="*/ 483687 w 993885"/>
                <a:gd name="connsiteY369" fmla="*/ 70106 h 1022551"/>
                <a:gd name="connsiteX370" fmla="*/ 484966 w 993885"/>
                <a:gd name="connsiteY370" fmla="*/ 71299 h 1022551"/>
                <a:gd name="connsiteX371" fmla="*/ 485586 w 993885"/>
                <a:gd name="connsiteY371" fmla="*/ 71573 h 1022551"/>
                <a:gd name="connsiteX372" fmla="*/ 487736 w 993885"/>
                <a:gd name="connsiteY372" fmla="*/ 71187 h 1022551"/>
                <a:gd name="connsiteX373" fmla="*/ 488867 w 993885"/>
                <a:gd name="connsiteY373" fmla="*/ 71520 h 1022551"/>
                <a:gd name="connsiteX374" fmla="*/ 489357 w 993885"/>
                <a:gd name="connsiteY374" fmla="*/ 72629 h 1022551"/>
                <a:gd name="connsiteX375" fmla="*/ 489497 w 993885"/>
                <a:gd name="connsiteY375" fmla="*/ 73596 h 1022551"/>
                <a:gd name="connsiteX376" fmla="*/ 490398 w 993885"/>
                <a:gd name="connsiteY376" fmla="*/ 74415 h 1022551"/>
                <a:gd name="connsiteX377" fmla="*/ 491554 w 993885"/>
                <a:gd name="connsiteY377" fmla="*/ 74435 h 1022551"/>
                <a:gd name="connsiteX378" fmla="*/ 492171 w 993885"/>
                <a:gd name="connsiteY378" fmla="*/ 74764 h 1022551"/>
                <a:gd name="connsiteX379" fmla="*/ 493222 w 993885"/>
                <a:gd name="connsiteY379" fmla="*/ 75289 h 1022551"/>
                <a:gd name="connsiteX380" fmla="*/ 494119 w 993885"/>
                <a:gd name="connsiteY380" fmla="*/ 76497 h 1022551"/>
                <a:gd name="connsiteX381" fmla="*/ 496198 w 993885"/>
                <a:gd name="connsiteY381" fmla="*/ 77459 h 1022551"/>
                <a:gd name="connsiteX382" fmla="*/ 499750 w 993885"/>
                <a:gd name="connsiteY382" fmla="*/ 78811 h 1022551"/>
                <a:gd name="connsiteX383" fmla="*/ 501400 w 993885"/>
                <a:gd name="connsiteY383" fmla="*/ 78835 h 1022551"/>
                <a:gd name="connsiteX384" fmla="*/ 502937 w 993885"/>
                <a:gd name="connsiteY384" fmla="*/ 79247 h 1022551"/>
                <a:gd name="connsiteX385" fmla="*/ 503883 w 993885"/>
                <a:gd name="connsiteY385" fmla="*/ 79654 h 1022551"/>
                <a:gd name="connsiteX386" fmla="*/ 504905 w 993885"/>
                <a:gd name="connsiteY386" fmla="*/ 78906 h 1022551"/>
                <a:gd name="connsiteX387" fmla="*/ 508538 w 993885"/>
                <a:gd name="connsiteY387" fmla="*/ 76825 h 1022551"/>
                <a:gd name="connsiteX388" fmla="*/ 510309 w 993885"/>
                <a:gd name="connsiteY388" fmla="*/ 75664 h 1022551"/>
                <a:gd name="connsiteX389" fmla="*/ 511503 w 993885"/>
                <a:gd name="connsiteY389" fmla="*/ 74785 h 1022551"/>
                <a:gd name="connsiteX390" fmla="*/ 512398 w 993885"/>
                <a:gd name="connsiteY390" fmla="*/ 73946 h 1022551"/>
                <a:gd name="connsiteX391" fmla="*/ 513069 w 993885"/>
                <a:gd name="connsiteY391" fmla="*/ 73722 h 1022551"/>
                <a:gd name="connsiteX392" fmla="*/ 513516 w 993885"/>
                <a:gd name="connsiteY392" fmla="*/ 74225 h 1022551"/>
                <a:gd name="connsiteX393" fmla="*/ 513907 w 993885"/>
                <a:gd name="connsiteY393" fmla="*/ 74897 h 1022551"/>
                <a:gd name="connsiteX394" fmla="*/ 515201 w 993885"/>
                <a:gd name="connsiteY394" fmla="*/ 75293 h 1022551"/>
                <a:gd name="connsiteX395" fmla="*/ 518237 w 993885"/>
                <a:gd name="connsiteY395" fmla="*/ 76079 h 1022551"/>
                <a:gd name="connsiteX396" fmla="*/ 519631 w 993885"/>
                <a:gd name="connsiteY396" fmla="*/ 76303 h 1022551"/>
                <a:gd name="connsiteX397" fmla="*/ 521588 w 993885"/>
                <a:gd name="connsiteY397" fmla="*/ 75634 h 1022551"/>
                <a:gd name="connsiteX398" fmla="*/ 523256 w 993885"/>
                <a:gd name="connsiteY398" fmla="*/ 74499 h 1022551"/>
                <a:gd name="connsiteX399" fmla="*/ 524057 w 993885"/>
                <a:gd name="connsiteY399" fmla="*/ 74105 h 1022551"/>
                <a:gd name="connsiteX400" fmla="*/ 525298 w 993885"/>
                <a:gd name="connsiteY400" fmla="*/ 75235 h 1022551"/>
                <a:gd name="connsiteX401" fmla="*/ 526142 w 993885"/>
                <a:gd name="connsiteY401" fmla="*/ 76832 h 1022551"/>
                <a:gd name="connsiteX402" fmla="*/ 526710 w 993885"/>
                <a:gd name="connsiteY402" fmla="*/ 77526 h 1022551"/>
                <a:gd name="connsiteX403" fmla="*/ 527971 w 993885"/>
                <a:gd name="connsiteY403" fmla="*/ 77362 h 1022551"/>
                <a:gd name="connsiteX404" fmla="*/ 530451 w 993885"/>
                <a:gd name="connsiteY404" fmla="*/ 77607 h 1022551"/>
                <a:gd name="connsiteX405" fmla="*/ 532290 w 993885"/>
                <a:gd name="connsiteY405" fmla="*/ 78114 h 1022551"/>
                <a:gd name="connsiteX406" fmla="*/ 533429 w 993885"/>
                <a:gd name="connsiteY406" fmla="*/ 78068 h 1022551"/>
                <a:gd name="connsiteX407" fmla="*/ 534985 w 993885"/>
                <a:gd name="connsiteY407" fmla="*/ 77358 h 1022551"/>
                <a:gd name="connsiteX408" fmla="*/ 535822 w 993885"/>
                <a:gd name="connsiteY408" fmla="*/ 75959 h 1022551"/>
                <a:gd name="connsiteX409" fmla="*/ 538030 w 993885"/>
                <a:gd name="connsiteY409" fmla="*/ 74677 h 1022551"/>
                <a:gd name="connsiteX410" fmla="*/ 540128 w 993885"/>
                <a:gd name="connsiteY410" fmla="*/ 73498 h 1022551"/>
                <a:gd name="connsiteX411" fmla="*/ 541331 w 993885"/>
                <a:gd name="connsiteY411" fmla="*/ 71924 h 1022551"/>
                <a:gd name="connsiteX412" fmla="*/ 543111 w 993885"/>
                <a:gd name="connsiteY412" fmla="*/ 69306 h 1022551"/>
                <a:gd name="connsiteX413" fmla="*/ 543707 w 993885"/>
                <a:gd name="connsiteY413" fmla="*/ 68183 h 1022551"/>
                <a:gd name="connsiteX414" fmla="*/ 543829 w 993885"/>
                <a:gd name="connsiteY414" fmla="*/ 66293 h 1022551"/>
                <a:gd name="connsiteX415" fmla="*/ 546334 w 993885"/>
                <a:gd name="connsiteY415" fmla="*/ 60799 h 1022551"/>
                <a:gd name="connsiteX416" fmla="*/ 547284 w 993885"/>
                <a:gd name="connsiteY416" fmla="*/ 59791 h 1022551"/>
                <a:gd name="connsiteX417" fmla="*/ 547842 w 993885"/>
                <a:gd name="connsiteY417" fmla="*/ 58057 h 1022551"/>
                <a:gd name="connsiteX418" fmla="*/ 548850 w 993885"/>
                <a:gd name="connsiteY418" fmla="*/ 56043 h 1022551"/>
                <a:gd name="connsiteX419" fmla="*/ 548850 w 993885"/>
                <a:gd name="connsiteY419" fmla="*/ 54364 h 1022551"/>
                <a:gd name="connsiteX420" fmla="*/ 549579 w 993885"/>
                <a:gd name="connsiteY420" fmla="*/ 52739 h 1022551"/>
                <a:gd name="connsiteX421" fmla="*/ 551016 w 993885"/>
                <a:gd name="connsiteY421" fmla="*/ 51334 h 1022551"/>
                <a:gd name="connsiteX422" fmla="*/ 552076 w 993885"/>
                <a:gd name="connsiteY422" fmla="*/ 50456 h 1022551"/>
                <a:gd name="connsiteX423" fmla="*/ 553771 w 993885"/>
                <a:gd name="connsiteY423" fmla="*/ 48095 h 1022551"/>
                <a:gd name="connsiteX424" fmla="*/ 554949 w 993885"/>
                <a:gd name="connsiteY424" fmla="*/ 45871 h 1022551"/>
                <a:gd name="connsiteX425" fmla="*/ 557906 w 993885"/>
                <a:gd name="connsiteY425" fmla="*/ 40931 h 1022551"/>
                <a:gd name="connsiteX426" fmla="*/ 558132 w 993885"/>
                <a:gd name="connsiteY426" fmla="*/ 39532 h 1022551"/>
                <a:gd name="connsiteX427" fmla="*/ 559305 w 993885"/>
                <a:gd name="connsiteY427" fmla="*/ 38692 h 1022551"/>
                <a:gd name="connsiteX428" fmla="*/ 559696 w 993885"/>
                <a:gd name="connsiteY428" fmla="*/ 37629 h 1022551"/>
                <a:gd name="connsiteX429" fmla="*/ 560949 w 993885"/>
                <a:gd name="connsiteY429" fmla="*/ 36318 h 1022551"/>
                <a:gd name="connsiteX430" fmla="*/ 562268 w 993885"/>
                <a:gd name="connsiteY430" fmla="*/ 35277 h 1022551"/>
                <a:gd name="connsiteX431" fmla="*/ 562831 w 993885"/>
                <a:gd name="connsiteY431" fmla="*/ 33744 h 1022551"/>
                <a:gd name="connsiteX432" fmla="*/ 563799 w 993885"/>
                <a:gd name="connsiteY432" fmla="*/ 32151 h 1022551"/>
                <a:gd name="connsiteX433" fmla="*/ 565920 w 993885"/>
                <a:gd name="connsiteY433" fmla="*/ 30956 h 1022551"/>
                <a:gd name="connsiteX434" fmla="*/ 566703 w 993885"/>
                <a:gd name="connsiteY434" fmla="*/ 30409 h 1022551"/>
                <a:gd name="connsiteX435" fmla="*/ 569106 w 993885"/>
                <a:gd name="connsiteY435" fmla="*/ 26027 h 1022551"/>
                <a:gd name="connsiteX436" fmla="*/ 569379 w 993885"/>
                <a:gd name="connsiteY436" fmla="*/ 24069 h 1022551"/>
                <a:gd name="connsiteX437" fmla="*/ 571547 w 993885"/>
                <a:gd name="connsiteY437" fmla="*/ 23995 h 1022551"/>
                <a:gd name="connsiteX438" fmla="*/ 574956 w 993885"/>
                <a:gd name="connsiteY438" fmla="*/ 26257 h 1022551"/>
                <a:gd name="connsiteX439" fmla="*/ 577673 w 993885"/>
                <a:gd name="connsiteY439" fmla="*/ 29588 h 1022551"/>
                <a:gd name="connsiteX440" fmla="*/ 581316 w 993885"/>
                <a:gd name="connsiteY440" fmla="*/ 40302 h 1022551"/>
                <a:gd name="connsiteX441" fmla="*/ 581921 w 993885"/>
                <a:gd name="connsiteY441" fmla="*/ 50198 h 1022551"/>
                <a:gd name="connsiteX442" fmla="*/ 583398 w 993885"/>
                <a:gd name="connsiteY442" fmla="*/ 55383 h 1022551"/>
                <a:gd name="connsiteX443" fmla="*/ 587631 w 993885"/>
                <a:gd name="connsiteY443" fmla="*/ 66187 h 1022551"/>
                <a:gd name="connsiteX444" fmla="*/ 587903 w 993885"/>
                <a:gd name="connsiteY444" fmla="*/ 68185 h 1022551"/>
                <a:gd name="connsiteX445" fmla="*/ 588583 w 993885"/>
                <a:gd name="connsiteY445" fmla="*/ 70603 h 1022551"/>
                <a:gd name="connsiteX446" fmla="*/ 589920 w 993885"/>
                <a:gd name="connsiteY446" fmla="*/ 73165 h 1022551"/>
                <a:gd name="connsiteX447" fmla="*/ 591396 w 993885"/>
                <a:gd name="connsiteY447" fmla="*/ 77388 h 1022551"/>
                <a:gd name="connsiteX448" fmla="*/ 591451 w 993885"/>
                <a:gd name="connsiteY448" fmla="*/ 78172 h 1022551"/>
                <a:gd name="connsiteX449" fmla="*/ 590491 w 993885"/>
                <a:gd name="connsiteY449" fmla="*/ 79323 h 1022551"/>
                <a:gd name="connsiteX450" fmla="*/ 591898 w 993885"/>
                <a:gd name="connsiteY450" fmla="*/ 79402 h 1022551"/>
                <a:gd name="connsiteX451" fmla="*/ 593172 w 993885"/>
                <a:gd name="connsiteY451" fmla="*/ 80082 h 1022551"/>
                <a:gd name="connsiteX452" fmla="*/ 594004 w 993885"/>
                <a:gd name="connsiteY452" fmla="*/ 82760 h 1022551"/>
                <a:gd name="connsiteX453" fmla="*/ 595055 w 993885"/>
                <a:gd name="connsiteY453" fmla="*/ 84568 h 1022551"/>
                <a:gd name="connsiteX454" fmla="*/ 596970 w 993885"/>
                <a:gd name="connsiteY454" fmla="*/ 87047 h 1022551"/>
                <a:gd name="connsiteX455" fmla="*/ 600890 w 993885"/>
                <a:gd name="connsiteY455" fmla="*/ 87856 h 1022551"/>
                <a:gd name="connsiteX456" fmla="*/ 603849 w 993885"/>
                <a:gd name="connsiteY456" fmla="*/ 88152 h 1022551"/>
                <a:gd name="connsiteX457" fmla="*/ 607219 w 993885"/>
                <a:gd name="connsiteY457" fmla="*/ 89554 h 1022551"/>
                <a:gd name="connsiteX458" fmla="*/ 609693 w 993885"/>
                <a:gd name="connsiteY458" fmla="*/ 91351 h 1022551"/>
                <a:gd name="connsiteX459" fmla="*/ 611609 w 993885"/>
                <a:gd name="connsiteY459" fmla="*/ 97437 h 1022551"/>
                <a:gd name="connsiteX460" fmla="*/ 610984 w 993885"/>
                <a:gd name="connsiteY460" fmla="*/ 101262 h 1022551"/>
                <a:gd name="connsiteX461" fmla="*/ 611171 w 993885"/>
                <a:gd name="connsiteY461" fmla="*/ 103953 h 1022551"/>
                <a:gd name="connsiteX462" fmla="*/ 610180 w 993885"/>
                <a:gd name="connsiteY462" fmla="*/ 105006 h 1022551"/>
                <a:gd name="connsiteX463" fmla="*/ 607408 w 993885"/>
                <a:gd name="connsiteY463" fmla="*/ 106768 h 1022551"/>
                <a:gd name="connsiteX464" fmla="*/ 606806 w 993885"/>
                <a:gd name="connsiteY464" fmla="*/ 107704 h 1022551"/>
                <a:gd name="connsiteX465" fmla="*/ 601140 w 993885"/>
                <a:gd name="connsiteY465" fmla="*/ 112251 h 1022551"/>
                <a:gd name="connsiteX466" fmla="*/ 599902 w 993885"/>
                <a:gd name="connsiteY466" fmla="*/ 114399 h 1022551"/>
                <a:gd name="connsiteX467" fmla="*/ 596867 w 993885"/>
                <a:gd name="connsiteY467" fmla="*/ 117283 h 1022551"/>
                <a:gd name="connsiteX468" fmla="*/ 593861 w 993885"/>
                <a:gd name="connsiteY468" fmla="*/ 122781 h 1022551"/>
                <a:gd name="connsiteX469" fmla="*/ 589460 w 993885"/>
                <a:gd name="connsiteY469" fmla="*/ 127800 h 1022551"/>
                <a:gd name="connsiteX470" fmla="*/ 587906 w 993885"/>
                <a:gd name="connsiteY470" fmla="*/ 129067 h 1022551"/>
                <a:gd name="connsiteX471" fmla="*/ 585528 w 993885"/>
                <a:gd name="connsiteY471" fmla="*/ 129362 h 1022551"/>
                <a:gd name="connsiteX472" fmla="*/ 584084 w 993885"/>
                <a:gd name="connsiteY472" fmla="*/ 130140 h 1022551"/>
                <a:gd name="connsiteX473" fmla="*/ 580665 w 993885"/>
                <a:gd name="connsiteY473" fmla="*/ 134235 h 1022551"/>
                <a:gd name="connsiteX474" fmla="*/ 576077 w 993885"/>
                <a:gd name="connsiteY474" fmla="*/ 135603 h 1022551"/>
                <a:gd name="connsiteX475" fmla="*/ 575655 w 993885"/>
                <a:gd name="connsiteY475" fmla="*/ 137977 h 1022551"/>
                <a:gd name="connsiteX476" fmla="*/ 573002 w 993885"/>
                <a:gd name="connsiteY476" fmla="*/ 143400 h 1022551"/>
                <a:gd name="connsiteX477" fmla="*/ 570665 w 993885"/>
                <a:gd name="connsiteY477" fmla="*/ 146362 h 1022551"/>
                <a:gd name="connsiteX478" fmla="*/ 569176 w 993885"/>
                <a:gd name="connsiteY478" fmla="*/ 147367 h 1022551"/>
                <a:gd name="connsiteX479" fmla="*/ 565434 w 993885"/>
                <a:gd name="connsiteY479" fmla="*/ 152773 h 1022551"/>
                <a:gd name="connsiteX480" fmla="*/ 564955 w 993885"/>
                <a:gd name="connsiteY480" fmla="*/ 155135 h 1022551"/>
                <a:gd name="connsiteX481" fmla="*/ 564978 w 993885"/>
                <a:gd name="connsiteY481" fmla="*/ 159268 h 1022551"/>
                <a:gd name="connsiteX482" fmla="*/ 562479 w 993885"/>
                <a:gd name="connsiteY482" fmla="*/ 161787 h 1022551"/>
                <a:gd name="connsiteX483" fmla="*/ 559880 w 993885"/>
                <a:gd name="connsiteY483" fmla="*/ 163387 h 1022551"/>
                <a:gd name="connsiteX484" fmla="*/ 559555 w 993885"/>
                <a:gd name="connsiteY484" fmla="*/ 166923 h 1022551"/>
                <a:gd name="connsiteX485" fmla="*/ 558379 w 993885"/>
                <a:gd name="connsiteY485" fmla="*/ 168132 h 1022551"/>
                <a:gd name="connsiteX486" fmla="*/ 557375 w 993885"/>
                <a:gd name="connsiteY486" fmla="*/ 168920 h 1022551"/>
                <a:gd name="connsiteX487" fmla="*/ 552080 w 993885"/>
                <a:gd name="connsiteY487" fmla="*/ 167993 h 1022551"/>
                <a:gd name="connsiteX488" fmla="*/ 543861 w 993885"/>
                <a:gd name="connsiteY488" fmla="*/ 171837 h 1022551"/>
                <a:gd name="connsiteX489" fmla="*/ 541052 w 993885"/>
                <a:gd name="connsiteY489" fmla="*/ 172792 h 1022551"/>
                <a:gd name="connsiteX490" fmla="*/ 550025 w 993885"/>
                <a:gd name="connsiteY490" fmla="*/ 172991 h 1022551"/>
                <a:gd name="connsiteX491" fmla="*/ 552906 w 993885"/>
                <a:gd name="connsiteY491" fmla="*/ 175034 h 1022551"/>
                <a:gd name="connsiteX492" fmla="*/ 559223 w 993885"/>
                <a:gd name="connsiteY492" fmla="*/ 173680 h 1022551"/>
                <a:gd name="connsiteX493" fmla="*/ 566863 w 993885"/>
                <a:gd name="connsiteY493" fmla="*/ 168801 h 1022551"/>
                <a:gd name="connsiteX494" fmla="*/ 569780 w 993885"/>
                <a:gd name="connsiteY494" fmla="*/ 167780 h 1022551"/>
                <a:gd name="connsiteX495" fmla="*/ 575710 w 993885"/>
                <a:gd name="connsiteY495" fmla="*/ 164470 h 1022551"/>
                <a:gd name="connsiteX496" fmla="*/ 578119 w 993885"/>
                <a:gd name="connsiteY496" fmla="*/ 162262 h 1022551"/>
                <a:gd name="connsiteX497" fmla="*/ 582515 w 993885"/>
                <a:gd name="connsiteY497" fmla="*/ 159615 h 1022551"/>
                <a:gd name="connsiteX498" fmla="*/ 583451 w 993885"/>
                <a:gd name="connsiteY498" fmla="*/ 158454 h 1022551"/>
                <a:gd name="connsiteX499" fmla="*/ 585914 w 993885"/>
                <a:gd name="connsiteY499" fmla="*/ 157218 h 1022551"/>
                <a:gd name="connsiteX500" fmla="*/ 587249 w 993885"/>
                <a:gd name="connsiteY500" fmla="*/ 158791 h 1022551"/>
                <a:gd name="connsiteX501" fmla="*/ 587352 w 993885"/>
                <a:gd name="connsiteY501" fmla="*/ 159786 h 1022551"/>
                <a:gd name="connsiteX502" fmla="*/ 585332 w 993885"/>
                <a:gd name="connsiteY502" fmla="*/ 161722 h 1022551"/>
                <a:gd name="connsiteX503" fmla="*/ 585857 w 993885"/>
                <a:gd name="connsiteY503" fmla="*/ 162971 h 1022551"/>
                <a:gd name="connsiteX504" fmla="*/ 587191 w 993885"/>
                <a:gd name="connsiteY504" fmla="*/ 164538 h 1022551"/>
                <a:gd name="connsiteX505" fmla="*/ 587673 w 993885"/>
                <a:gd name="connsiteY505" fmla="*/ 166698 h 1022551"/>
                <a:gd name="connsiteX506" fmla="*/ 587848 w 993885"/>
                <a:gd name="connsiteY506" fmla="*/ 168342 h 1022551"/>
                <a:gd name="connsiteX507" fmla="*/ 588672 w 993885"/>
                <a:gd name="connsiteY507" fmla="*/ 171225 h 1022551"/>
                <a:gd name="connsiteX508" fmla="*/ 591390 w 993885"/>
                <a:gd name="connsiteY508" fmla="*/ 175129 h 1022551"/>
                <a:gd name="connsiteX509" fmla="*/ 591483 w 993885"/>
                <a:gd name="connsiteY509" fmla="*/ 176419 h 1022551"/>
                <a:gd name="connsiteX510" fmla="*/ 591109 w 993885"/>
                <a:gd name="connsiteY510" fmla="*/ 178118 h 1022551"/>
                <a:gd name="connsiteX511" fmla="*/ 592409 w 993885"/>
                <a:gd name="connsiteY511" fmla="*/ 179522 h 1022551"/>
                <a:gd name="connsiteX512" fmla="*/ 593758 w 993885"/>
                <a:gd name="connsiteY512" fmla="*/ 180355 h 1022551"/>
                <a:gd name="connsiteX513" fmla="*/ 598381 w 993885"/>
                <a:gd name="connsiteY513" fmla="*/ 184557 h 1022551"/>
                <a:gd name="connsiteX514" fmla="*/ 602002 w 993885"/>
                <a:gd name="connsiteY514" fmla="*/ 182208 h 1022551"/>
                <a:gd name="connsiteX515" fmla="*/ 604227 w 993885"/>
                <a:gd name="connsiteY515" fmla="*/ 181529 h 1022551"/>
                <a:gd name="connsiteX516" fmla="*/ 605649 w 993885"/>
                <a:gd name="connsiteY516" fmla="*/ 180549 h 1022551"/>
                <a:gd name="connsiteX517" fmla="*/ 608626 w 993885"/>
                <a:gd name="connsiteY517" fmla="*/ 179896 h 1022551"/>
                <a:gd name="connsiteX518" fmla="*/ 611066 w 993885"/>
                <a:gd name="connsiteY518" fmla="*/ 180880 h 1022551"/>
                <a:gd name="connsiteX519" fmla="*/ 615718 w 993885"/>
                <a:gd name="connsiteY519" fmla="*/ 182294 h 1022551"/>
                <a:gd name="connsiteX520" fmla="*/ 619120 w 993885"/>
                <a:gd name="connsiteY520" fmla="*/ 180794 h 1022551"/>
                <a:gd name="connsiteX521" fmla="*/ 626009 w 993885"/>
                <a:gd name="connsiteY521" fmla="*/ 177357 h 1022551"/>
                <a:gd name="connsiteX522" fmla="*/ 623855 w 993885"/>
                <a:gd name="connsiteY522" fmla="*/ 183442 h 1022551"/>
                <a:gd name="connsiteX523" fmla="*/ 622295 w 993885"/>
                <a:gd name="connsiteY523" fmla="*/ 189021 h 1022551"/>
                <a:gd name="connsiteX524" fmla="*/ 621107 w 993885"/>
                <a:gd name="connsiteY524" fmla="*/ 191272 h 1022551"/>
                <a:gd name="connsiteX525" fmla="*/ 619932 w 993885"/>
                <a:gd name="connsiteY525" fmla="*/ 197352 h 1022551"/>
                <a:gd name="connsiteX526" fmla="*/ 618766 w 993885"/>
                <a:gd name="connsiteY526" fmla="*/ 198975 h 1022551"/>
                <a:gd name="connsiteX527" fmla="*/ 617823 w 993885"/>
                <a:gd name="connsiteY527" fmla="*/ 200829 h 1022551"/>
                <a:gd name="connsiteX528" fmla="*/ 619361 w 993885"/>
                <a:gd name="connsiteY528" fmla="*/ 200182 h 1022551"/>
                <a:gd name="connsiteX529" fmla="*/ 620677 w 993885"/>
                <a:gd name="connsiteY529" fmla="*/ 199305 h 1022551"/>
                <a:gd name="connsiteX530" fmla="*/ 622362 w 993885"/>
                <a:gd name="connsiteY530" fmla="*/ 196963 h 1022551"/>
                <a:gd name="connsiteX531" fmla="*/ 623625 w 993885"/>
                <a:gd name="connsiteY531" fmla="*/ 192898 h 1022551"/>
                <a:gd name="connsiteX532" fmla="*/ 628611 w 993885"/>
                <a:gd name="connsiteY532" fmla="*/ 182044 h 1022551"/>
                <a:gd name="connsiteX533" fmla="*/ 630038 w 993885"/>
                <a:gd name="connsiteY533" fmla="*/ 181081 h 1022551"/>
                <a:gd name="connsiteX534" fmla="*/ 634183 w 993885"/>
                <a:gd name="connsiteY534" fmla="*/ 179845 h 1022551"/>
                <a:gd name="connsiteX535" fmla="*/ 641316 w 993885"/>
                <a:gd name="connsiteY535" fmla="*/ 171169 h 1022551"/>
                <a:gd name="connsiteX536" fmla="*/ 644105 w 993885"/>
                <a:gd name="connsiteY536" fmla="*/ 171196 h 1022551"/>
                <a:gd name="connsiteX537" fmla="*/ 645890 w 993885"/>
                <a:gd name="connsiteY537" fmla="*/ 173193 h 1022551"/>
                <a:gd name="connsiteX538" fmla="*/ 647580 w 993885"/>
                <a:gd name="connsiteY538" fmla="*/ 174370 h 1022551"/>
                <a:gd name="connsiteX539" fmla="*/ 648014 w 993885"/>
                <a:gd name="connsiteY539" fmla="*/ 171998 h 1022551"/>
                <a:gd name="connsiteX540" fmla="*/ 650449 w 993885"/>
                <a:gd name="connsiteY540" fmla="*/ 171028 h 1022551"/>
                <a:gd name="connsiteX541" fmla="*/ 647872 w 993885"/>
                <a:gd name="connsiteY541" fmla="*/ 169853 h 1022551"/>
                <a:gd name="connsiteX542" fmla="*/ 647451 w 993885"/>
                <a:gd name="connsiteY542" fmla="*/ 168788 h 1022551"/>
                <a:gd name="connsiteX543" fmla="*/ 647205 w 993885"/>
                <a:gd name="connsiteY543" fmla="*/ 167013 h 1022551"/>
                <a:gd name="connsiteX544" fmla="*/ 648959 w 993885"/>
                <a:gd name="connsiteY544" fmla="*/ 164613 h 1022551"/>
                <a:gd name="connsiteX545" fmla="*/ 647914 w 993885"/>
                <a:gd name="connsiteY545" fmla="*/ 162490 h 1022551"/>
                <a:gd name="connsiteX546" fmla="*/ 651547 w 993885"/>
                <a:gd name="connsiteY546" fmla="*/ 159810 h 1022551"/>
                <a:gd name="connsiteX547" fmla="*/ 651266 w 993885"/>
                <a:gd name="connsiteY547" fmla="*/ 157800 h 1022551"/>
                <a:gd name="connsiteX548" fmla="*/ 652563 w 993885"/>
                <a:gd name="connsiteY548" fmla="*/ 156141 h 1022551"/>
                <a:gd name="connsiteX549" fmla="*/ 654203 w 993885"/>
                <a:gd name="connsiteY549" fmla="*/ 154437 h 1022551"/>
                <a:gd name="connsiteX550" fmla="*/ 656061 w 993885"/>
                <a:gd name="connsiteY550" fmla="*/ 153607 h 1022551"/>
                <a:gd name="connsiteX551" fmla="*/ 656401 w 993885"/>
                <a:gd name="connsiteY551" fmla="*/ 152143 h 1022551"/>
                <a:gd name="connsiteX552" fmla="*/ 657573 w 993885"/>
                <a:gd name="connsiteY552" fmla="*/ 151539 h 1022551"/>
                <a:gd name="connsiteX553" fmla="*/ 658493 w 993885"/>
                <a:gd name="connsiteY553" fmla="*/ 151321 h 1022551"/>
                <a:gd name="connsiteX554" fmla="*/ 660309 w 993885"/>
                <a:gd name="connsiteY554" fmla="*/ 152959 h 1022551"/>
                <a:gd name="connsiteX555" fmla="*/ 662276 w 993885"/>
                <a:gd name="connsiteY555" fmla="*/ 151024 h 1022551"/>
                <a:gd name="connsiteX556" fmla="*/ 664196 w 993885"/>
                <a:gd name="connsiteY556" fmla="*/ 150266 h 1022551"/>
                <a:gd name="connsiteX557" fmla="*/ 665056 w 993885"/>
                <a:gd name="connsiteY557" fmla="*/ 150603 h 1022551"/>
                <a:gd name="connsiteX558" fmla="*/ 666127 w 993885"/>
                <a:gd name="connsiteY558" fmla="*/ 151458 h 1022551"/>
                <a:gd name="connsiteX559" fmla="*/ 667252 w 993885"/>
                <a:gd name="connsiteY559" fmla="*/ 151821 h 1022551"/>
                <a:gd name="connsiteX560" fmla="*/ 668166 w 993885"/>
                <a:gd name="connsiteY560" fmla="*/ 151669 h 1022551"/>
                <a:gd name="connsiteX561" fmla="*/ 670543 w 993885"/>
                <a:gd name="connsiteY561" fmla="*/ 150430 h 1022551"/>
                <a:gd name="connsiteX562" fmla="*/ 672739 w 993885"/>
                <a:gd name="connsiteY562" fmla="*/ 152423 h 1022551"/>
                <a:gd name="connsiteX563" fmla="*/ 674059 w 993885"/>
                <a:gd name="connsiteY563" fmla="*/ 152865 h 1022551"/>
                <a:gd name="connsiteX564" fmla="*/ 673698 w 993885"/>
                <a:gd name="connsiteY564" fmla="*/ 151748 h 1022551"/>
                <a:gd name="connsiteX565" fmla="*/ 673002 w 993885"/>
                <a:gd name="connsiteY565" fmla="*/ 150710 h 1022551"/>
                <a:gd name="connsiteX566" fmla="*/ 673542 w 993885"/>
                <a:gd name="connsiteY566" fmla="*/ 149865 h 1022551"/>
                <a:gd name="connsiteX567" fmla="*/ 674581 w 993885"/>
                <a:gd name="connsiteY567" fmla="*/ 149333 h 1022551"/>
                <a:gd name="connsiteX568" fmla="*/ 677865 w 993885"/>
                <a:gd name="connsiteY568" fmla="*/ 149809 h 1022551"/>
                <a:gd name="connsiteX569" fmla="*/ 679590 w 993885"/>
                <a:gd name="connsiteY569" fmla="*/ 150697 h 1022551"/>
                <a:gd name="connsiteX570" fmla="*/ 681458 w 993885"/>
                <a:gd name="connsiteY570" fmla="*/ 152344 h 1022551"/>
                <a:gd name="connsiteX571" fmla="*/ 684052 w 993885"/>
                <a:gd name="connsiteY571" fmla="*/ 152466 h 1022551"/>
                <a:gd name="connsiteX572" fmla="*/ 686087 w 993885"/>
                <a:gd name="connsiteY572" fmla="*/ 152293 h 1022551"/>
                <a:gd name="connsiteX573" fmla="*/ 687371 w 993885"/>
                <a:gd name="connsiteY573" fmla="*/ 153219 h 1022551"/>
                <a:gd name="connsiteX574" fmla="*/ 689462 w 993885"/>
                <a:gd name="connsiteY574" fmla="*/ 153213 h 1022551"/>
                <a:gd name="connsiteX575" fmla="*/ 690509 w 993885"/>
                <a:gd name="connsiteY575" fmla="*/ 154655 h 1022551"/>
                <a:gd name="connsiteX576" fmla="*/ 693691 w 993885"/>
                <a:gd name="connsiteY576" fmla="*/ 156680 h 1022551"/>
                <a:gd name="connsiteX577" fmla="*/ 694380 w 993885"/>
                <a:gd name="connsiteY577" fmla="*/ 158055 h 1022551"/>
                <a:gd name="connsiteX578" fmla="*/ 696940 w 993885"/>
                <a:gd name="connsiteY578" fmla="*/ 158721 h 1022551"/>
                <a:gd name="connsiteX579" fmla="*/ 699338 w 993885"/>
                <a:gd name="connsiteY579" fmla="*/ 159563 h 1022551"/>
                <a:gd name="connsiteX580" fmla="*/ 701896 w 993885"/>
                <a:gd name="connsiteY580" fmla="*/ 159793 h 1022551"/>
                <a:gd name="connsiteX581" fmla="*/ 704475 w 993885"/>
                <a:gd name="connsiteY581" fmla="*/ 159593 h 1022551"/>
                <a:gd name="connsiteX582" fmla="*/ 704580 w 993885"/>
                <a:gd name="connsiteY582" fmla="*/ 161331 h 1022551"/>
                <a:gd name="connsiteX583" fmla="*/ 706472 w 993885"/>
                <a:gd name="connsiteY583" fmla="*/ 161801 h 1022551"/>
                <a:gd name="connsiteX584" fmla="*/ 708900 w 993885"/>
                <a:gd name="connsiteY584" fmla="*/ 161414 h 1022551"/>
                <a:gd name="connsiteX585" fmla="*/ 710735 w 993885"/>
                <a:gd name="connsiteY585" fmla="*/ 163552 h 1022551"/>
                <a:gd name="connsiteX586" fmla="*/ 715640 w 993885"/>
                <a:gd name="connsiteY586" fmla="*/ 165160 h 1022551"/>
                <a:gd name="connsiteX587" fmla="*/ 719039 w 993885"/>
                <a:gd name="connsiteY587" fmla="*/ 167622 h 1022551"/>
                <a:gd name="connsiteX588" fmla="*/ 721266 w 993885"/>
                <a:gd name="connsiteY588" fmla="*/ 167186 h 1022551"/>
                <a:gd name="connsiteX589" fmla="*/ 723760 w 993885"/>
                <a:gd name="connsiteY589" fmla="*/ 167835 h 1022551"/>
                <a:gd name="connsiteX590" fmla="*/ 726437 w 993885"/>
                <a:gd name="connsiteY590" fmla="*/ 173189 h 1022551"/>
                <a:gd name="connsiteX591" fmla="*/ 727042 w 993885"/>
                <a:gd name="connsiteY591" fmla="*/ 176992 h 1022551"/>
                <a:gd name="connsiteX592" fmla="*/ 728235 w 993885"/>
                <a:gd name="connsiteY592" fmla="*/ 176466 h 1022551"/>
                <a:gd name="connsiteX593" fmla="*/ 729338 w 993885"/>
                <a:gd name="connsiteY593" fmla="*/ 174765 h 1022551"/>
                <a:gd name="connsiteX594" fmla="*/ 730771 w 993885"/>
                <a:gd name="connsiteY594" fmla="*/ 171658 h 1022551"/>
                <a:gd name="connsiteX595" fmla="*/ 733451 w 993885"/>
                <a:gd name="connsiteY595" fmla="*/ 170629 h 1022551"/>
                <a:gd name="connsiteX596" fmla="*/ 734734 w 993885"/>
                <a:gd name="connsiteY596" fmla="*/ 171822 h 1022551"/>
                <a:gd name="connsiteX597" fmla="*/ 737422 w 993885"/>
                <a:gd name="connsiteY597" fmla="*/ 173734 h 1022551"/>
                <a:gd name="connsiteX598" fmla="*/ 739740 w 993885"/>
                <a:gd name="connsiteY598" fmla="*/ 175835 h 1022551"/>
                <a:gd name="connsiteX599" fmla="*/ 740717 w 993885"/>
                <a:gd name="connsiteY599" fmla="*/ 177182 h 1022551"/>
                <a:gd name="connsiteX600" fmla="*/ 742459 w 993885"/>
                <a:gd name="connsiteY600" fmla="*/ 177402 h 1022551"/>
                <a:gd name="connsiteX601" fmla="*/ 741004 w 993885"/>
                <a:gd name="connsiteY601" fmla="*/ 179059 h 1022551"/>
                <a:gd name="connsiteX602" fmla="*/ 742464 w 993885"/>
                <a:gd name="connsiteY602" fmla="*/ 178894 h 1022551"/>
                <a:gd name="connsiteX603" fmla="*/ 744230 w 993885"/>
                <a:gd name="connsiteY603" fmla="*/ 177714 h 1022551"/>
                <a:gd name="connsiteX604" fmla="*/ 745742 w 993885"/>
                <a:gd name="connsiteY604" fmla="*/ 180150 h 1022551"/>
                <a:gd name="connsiteX605" fmla="*/ 746881 w 993885"/>
                <a:gd name="connsiteY605" fmla="*/ 182800 h 1022551"/>
                <a:gd name="connsiteX606" fmla="*/ 747108 w 993885"/>
                <a:gd name="connsiteY606" fmla="*/ 185500 h 1022551"/>
                <a:gd name="connsiteX607" fmla="*/ 746037 w 993885"/>
                <a:gd name="connsiteY607" fmla="*/ 187051 h 1022551"/>
                <a:gd name="connsiteX608" fmla="*/ 745093 w 993885"/>
                <a:gd name="connsiteY608" fmla="*/ 188022 h 1022551"/>
                <a:gd name="connsiteX609" fmla="*/ 744044 w 993885"/>
                <a:gd name="connsiteY609" fmla="*/ 189935 h 1022551"/>
                <a:gd name="connsiteX610" fmla="*/ 742805 w 993885"/>
                <a:gd name="connsiteY610" fmla="*/ 190279 h 1022551"/>
                <a:gd name="connsiteX611" fmla="*/ 741567 w 993885"/>
                <a:gd name="connsiteY611" fmla="*/ 190898 h 1022551"/>
                <a:gd name="connsiteX612" fmla="*/ 742978 w 993885"/>
                <a:gd name="connsiteY612" fmla="*/ 192290 h 1022551"/>
                <a:gd name="connsiteX613" fmla="*/ 743948 w 993885"/>
                <a:gd name="connsiteY613" fmla="*/ 193631 h 1022551"/>
                <a:gd name="connsiteX614" fmla="*/ 746063 w 993885"/>
                <a:gd name="connsiteY614" fmla="*/ 190008 h 1022551"/>
                <a:gd name="connsiteX615" fmla="*/ 747550 w 993885"/>
                <a:gd name="connsiteY615" fmla="*/ 188991 h 1022551"/>
                <a:gd name="connsiteX616" fmla="*/ 749703 w 993885"/>
                <a:gd name="connsiteY616" fmla="*/ 188426 h 1022551"/>
                <a:gd name="connsiteX617" fmla="*/ 750822 w 993885"/>
                <a:gd name="connsiteY617" fmla="*/ 191002 h 1022551"/>
                <a:gd name="connsiteX618" fmla="*/ 751063 w 993885"/>
                <a:gd name="connsiteY618" fmla="*/ 193436 h 1022551"/>
                <a:gd name="connsiteX619" fmla="*/ 747556 w 993885"/>
                <a:gd name="connsiteY619" fmla="*/ 194448 h 1022551"/>
                <a:gd name="connsiteX620" fmla="*/ 747542 w 993885"/>
                <a:gd name="connsiteY620" fmla="*/ 196371 h 1022551"/>
                <a:gd name="connsiteX621" fmla="*/ 746494 w 993885"/>
                <a:gd name="connsiteY621" fmla="*/ 197462 h 1022551"/>
                <a:gd name="connsiteX622" fmla="*/ 745809 w 993885"/>
                <a:gd name="connsiteY622" fmla="*/ 198711 h 1022551"/>
                <a:gd name="connsiteX623" fmla="*/ 745257 w 993885"/>
                <a:gd name="connsiteY623" fmla="*/ 201334 h 1022551"/>
                <a:gd name="connsiteX624" fmla="*/ 744542 w 993885"/>
                <a:gd name="connsiteY624" fmla="*/ 203507 h 1022551"/>
                <a:gd name="connsiteX625" fmla="*/ 742453 w 993885"/>
                <a:gd name="connsiteY625" fmla="*/ 213145 h 1022551"/>
                <a:gd name="connsiteX626" fmla="*/ 742411 w 993885"/>
                <a:gd name="connsiteY626" fmla="*/ 214731 h 1022551"/>
                <a:gd name="connsiteX627" fmla="*/ 744956 w 993885"/>
                <a:gd name="connsiteY627" fmla="*/ 213034 h 1022551"/>
                <a:gd name="connsiteX628" fmla="*/ 749650 w 993885"/>
                <a:gd name="connsiteY628" fmla="*/ 208124 h 1022551"/>
                <a:gd name="connsiteX629" fmla="*/ 751080 w 993885"/>
                <a:gd name="connsiteY629" fmla="*/ 202895 h 1022551"/>
                <a:gd name="connsiteX630" fmla="*/ 752931 w 993885"/>
                <a:gd name="connsiteY630" fmla="*/ 197739 h 1022551"/>
                <a:gd name="connsiteX631" fmla="*/ 754948 w 993885"/>
                <a:gd name="connsiteY631" fmla="*/ 196118 h 1022551"/>
                <a:gd name="connsiteX632" fmla="*/ 756196 w 993885"/>
                <a:gd name="connsiteY632" fmla="*/ 196117 h 1022551"/>
                <a:gd name="connsiteX633" fmla="*/ 758068 w 993885"/>
                <a:gd name="connsiteY633" fmla="*/ 196681 h 1022551"/>
                <a:gd name="connsiteX634" fmla="*/ 758175 w 993885"/>
                <a:gd name="connsiteY634" fmla="*/ 198371 h 1022551"/>
                <a:gd name="connsiteX635" fmla="*/ 757888 w 993885"/>
                <a:gd name="connsiteY635" fmla="*/ 199347 h 1022551"/>
                <a:gd name="connsiteX636" fmla="*/ 755886 w 993885"/>
                <a:gd name="connsiteY636" fmla="*/ 201911 h 1022551"/>
                <a:gd name="connsiteX637" fmla="*/ 755034 w 993885"/>
                <a:gd name="connsiteY637" fmla="*/ 203317 h 1022551"/>
                <a:gd name="connsiteX638" fmla="*/ 755859 w 993885"/>
                <a:gd name="connsiteY638" fmla="*/ 204702 h 1022551"/>
                <a:gd name="connsiteX639" fmla="*/ 760408 w 993885"/>
                <a:gd name="connsiteY639" fmla="*/ 200455 h 1022551"/>
                <a:gd name="connsiteX640" fmla="*/ 762446 w 993885"/>
                <a:gd name="connsiteY640" fmla="*/ 198965 h 1022551"/>
                <a:gd name="connsiteX641" fmla="*/ 764181 w 993885"/>
                <a:gd name="connsiteY641" fmla="*/ 199268 h 1022551"/>
                <a:gd name="connsiteX642" fmla="*/ 767626 w 993885"/>
                <a:gd name="connsiteY642" fmla="*/ 197308 h 1022551"/>
                <a:gd name="connsiteX643" fmla="*/ 774560 w 993885"/>
                <a:gd name="connsiteY643" fmla="*/ 196899 h 1022551"/>
                <a:gd name="connsiteX644" fmla="*/ 775081 w 993885"/>
                <a:gd name="connsiteY644" fmla="*/ 194657 h 1022551"/>
                <a:gd name="connsiteX645" fmla="*/ 776464 w 993885"/>
                <a:gd name="connsiteY645" fmla="*/ 193703 h 1022551"/>
                <a:gd name="connsiteX646" fmla="*/ 780276 w 993885"/>
                <a:gd name="connsiteY646" fmla="*/ 193955 h 1022551"/>
                <a:gd name="connsiteX647" fmla="*/ 787706 w 993885"/>
                <a:gd name="connsiteY647" fmla="*/ 195960 h 1022551"/>
                <a:gd name="connsiteX648" fmla="*/ 790354 w 993885"/>
                <a:gd name="connsiteY648" fmla="*/ 197597 h 1022551"/>
                <a:gd name="connsiteX649" fmla="*/ 794319 w 993885"/>
                <a:gd name="connsiteY649" fmla="*/ 199121 h 1022551"/>
                <a:gd name="connsiteX650" fmla="*/ 796407 w 993885"/>
                <a:gd name="connsiteY650" fmla="*/ 200933 h 1022551"/>
                <a:gd name="connsiteX651" fmla="*/ 805128 w 993885"/>
                <a:gd name="connsiteY651" fmla="*/ 204256 h 1022551"/>
                <a:gd name="connsiteX652" fmla="*/ 811460 w 993885"/>
                <a:gd name="connsiteY652" fmla="*/ 204613 h 1022551"/>
                <a:gd name="connsiteX653" fmla="*/ 814598 w 993885"/>
                <a:gd name="connsiteY653" fmla="*/ 203104 h 1022551"/>
                <a:gd name="connsiteX654" fmla="*/ 818509 w 993885"/>
                <a:gd name="connsiteY654" fmla="*/ 204685 h 1022551"/>
                <a:gd name="connsiteX655" fmla="*/ 820582 w 993885"/>
                <a:gd name="connsiteY655" fmla="*/ 206453 h 1022551"/>
                <a:gd name="connsiteX656" fmla="*/ 824644 w 993885"/>
                <a:gd name="connsiteY656" fmla="*/ 207415 h 1022551"/>
                <a:gd name="connsiteX657" fmla="*/ 828745 w 993885"/>
                <a:gd name="connsiteY657" fmla="*/ 207916 h 1022551"/>
                <a:gd name="connsiteX658" fmla="*/ 831881 w 993885"/>
                <a:gd name="connsiteY658" fmla="*/ 206645 h 1022551"/>
                <a:gd name="connsiteX659" fmla="*/ 839969 w 993885"/>
                <a:gd name="connsiteY659" fmla="*/ 206226 h 1022551"/>
                <a:gd name="connsiteX660" fmla="*/ 850137 w 993885"/>
                <a:gd name="connsiteY660" fmla="*/ 204348 h 1022551"/>
                <a:gd name="connsiteX661" fmla="*/ 856202 w 993885"/>
                <a:gd name="connsiteY661" fmla="*/ 204794 h 1022551"/>
                <a:gd name="connsiteX662" fmla="*/ 863065 w 993885"/>
                <a:gd name="connsiteY662" fmla="*/ 206021 h 1022551"/>
                <a:gd name="connsiteX663" fmla="*/ 867956 w 993885"/>
                <a:gd name="connsiteY663" fmla="*/ 209175 h 1022551"/>
                <a:gd name="connsiteX664" fmla="*/ 872074 w 993885"/>
                <a:gd name="connsiteY664" fmla="*/ 210962 h 1022551"/>
                <a:gd name="connsiteX665" fmla="*/ 874564 w 993885"/>
                <a:gd name="connsiteY665" fmla="*/ 212721 h 1022551"/>
                <a:gd name="connsiteX666" fmla="*/ 878584 w 993885"/>
                <a:gd name="connsiteY666" fmla="*/ 214543 h 1022551"/>
                <a:gd name="connsiteX667" fmla="*/ 887162 w 993885"/>
                <a:gd name="connsiteY667" fmla="*/ 219440 h 1022551"/>
                <a:gd name="connsiteX668" fmla="*/ 890163 w 993885"/>
                <a:gd name="connsiteY668" fmla="*/ 222270 h 1022551"/>
                <a:gd name="connsiteX669" fmla="*/ 895483 w 993885"/>
                <a:gd name="connsiteY669" fmla="*/ 226129 h 1022551"/>
                <a:gd name="connsiteX670" fmla="*/ 900818 w 993885"/>
                <a:gd name="connsiteY670" fmla="*/ 227748 h 1022551"/>
                <a:gd name="connsiteX671" fmla="*/ 903706 w 993885"/>
                <a:gd name="connsiteY671" fmla="*/ 231784 h 1022551"/>
                <a:gd name="connsiteX672" fmla="*/ 905989 w 993885"/>
                <a:gd name="connsiteY672" fmla="*/ 233602 h 1022551"/>
                <a:gd name="connsiteX673" fmla="*/ 911645 w 993885"/>
                <a:gd name="connsiteY673" fmla="*/ 240418 h 1022551"/>
                <a:gd name="connsiteX674" fmla="*/ 918064 w 993885"/>
                <a:gd name="connsiteY674" fmla="*/ 245190 h 1022551"/>
                <a:gd name="connsiteX675" fmla="*/ 922358 w 993885"/>
                <a:gd name="connsiteY675" fmla="*/ 249962 h 1022551"/>
                <a:gd name="connsiteX676" fmla="*/ 930595 w 993885"/>
                <a:gd name="connsiteY676" fmla="*/ 253036 h 1022551"/>
                <a:gd name="connsiteX677" fmla="*/ 933811 w 993885"/>
                <a:gd name="connsiteY677" fmla="*/ 258101 h 1022551"/>
                <a:gd name="connsiteX678" fmla="*/ 939384 w 993885"/>
                <a:gd name="connsiteY678" fmla="*/ 258719 h 1022551"/>
                <a:gd name="connsiteX679" fmla="*/ 941760 w 993885"/>
                <a:gd name="connsiteY679" fmla="*/ 259479 h 1022551"/>
                <a:gd name="connsiteX680" fmla="*/ 944645 w 993885"/>
                <a:gd name="connsiteY680" fmla="*/ 261616 h 1022551"/>
                <a:gd name="connsiteX681" fmla="*/ 948617 w 993885"/>
                <a:gd name="connsiteY681" fmla="*/ 262808 h 1022551"/>
                <a:gd name="connsiteX682" fmla="*/ 953790 w 993885"/>
                <a:gd name="connsiteY682" fmla="*/ 262470 h 1022551"/>
                <a:gd name="connsiteX683" fmla="*/ 959494 w 993885"/>
                <a:gd name="connsiteY683" fmla="*/ 262711 h 1022551"/>
                <a:gd name="connsiteX684" fmla="*/ 964106 w 993885"/>
                <a:gd name="connsiteY684" fmla="*/ 261710 h 1022551"/>
                <a:gd name="connsiteX685" fmla="*/ 975020 w 993885"/>
                <a:gd name="connsiteY685" fmla="*/ 263617 h 1022551"/>
                <a:gd name="connsiteX686" fmla="*/ 976738 w 993885"/>
                <a:gd name="connsiteY686" fmla="*/ 264548 h 1022551"/>
                <a:gd name="connsiteX687" fmla="*/ 978997 w 993885"/>
                <a:gd name="connsiteY687" fmla="*/ 266705 h 1022551"/>
                <a:gd name="connsiteX688" fmla="*/ 982982 w 993885"/>
                <a:gd name="connsiteY688" fmla="*/ 274737 h 1022551"/>
                <a:gd name="connsiteX689" fmla="*/ 985358 w 993885"/>
                <a:gd name="connsiteY689" fmla="*/ 283653 h 1022551"/>
                <a:gd name="connsiteX690" fmla="*/ 986531 w 993885"/>
                <a:gd name="connsiteY690" fmla="*/ 290477 h 1022551"/>
                <a:gd name="connsiteX691" fmla="*/ 989251 w 993885"/>
                <a:gd name="connsiteY691" fmla="*/ 295781 h 1022551"/>
                <a:gd name="connsiteX692" fmla="*/ 990737 w 993885"/>
                <a:gd name="connsiteY692" fmla="*/ 305745 h 1022551"/>
                <a:gd name="connsiteX693" fmla="*/ 991998 w 993885"/>
                <a:gd name="connsiteY693" fmla="*/ 308883 h 1022551"/>
                <a:gd name="connsiteX694" fmla="*/ 992097 w 993885"/>
                <a:gd name="connsiteY694" fmla="*/ 311295 h 1022551"/>
                <a:gd name="connsiteX695" fmla="*/ 993164 w 993885"/>
                <a:gd name="connsiteY695" fmla="*/ 311842 h 1022551"/>
                <a:gd name="connsiteX696" fmla="*/ 993885 w 993885"/>
                <a:gd name="connsiteY696" fmla="*/ 318570 h 1022551"/>
                <a:gd name="connsiteX697" fmla="*/ 993602 w 993885"/>
                <a:gd name="connsiteY697" fmla="*/ 321283 h 1022551"/>
                <a:gd name="connsiteX698" fmla="*/ 992558 w 993885"/>
                <a:gd name="connsiteY698" fmla="*/ 324813 h 1022551"/>
                <a:gd name="connsiteX699" fmla="*/ 992480 w 993885"/>
                <a:gd name="connsiteY699" fmla="*/ 326387 h 1022551"/>
                <a:gd name="connsiteX700" fmla="*/ 992634 w 993885"/>
                <a:gd name="connsiteY700" fmla="*/ 327388 h 1022551"/>
                <a:gd name="connsiteX701" fmla="*/ 992172 w 993885"/>
                <a:gd name="connsiteY701" fmla="*/ 328862 h 1022551"/>
                <a:gd name="connsiteX702" fmla="*/ 992030 w 993885"/>
                <a:gd name="connsiteY702" fmla="*/ 330275 h 1022551"/>
                <a:gd name="connsiteX703" fmla="*/ 993087 w 993885"/>
                <a:gd name="connsiteY703" fmla="*/ 333445 h 1022551"/>
                <a:gd name="connsiteX704" fmla="*/ 993144 w 993885"/>
                <a:gd name="connsiteY704" fmla="*/ 335990 h 1022551"/>
                <a:gd name="connsiteX705" fmla="*/ 991728 w 993885"/>
                <a:gd name="connsiteY705" fmla="*/ 339069 h 1022551"/>
                <a:gd name="connsiteX706" fmla="*/ 989798 w 993885"/>
                <a:gd name="connsiteY706" fmla="*/ 347121 h 1022551"/>
                <a:gd name="connsiteX707" fmla="*/ 984952 w 993885"/>
                <a:gd name="connsiteY707" fmla="*/ 360479 h 1022551"/>
                <a:gd name="connsiteX708" fmla="*/ 980309 w 993885"/>
                <a:gd name="connsiteY708" fmla="*/ 368150 h 1022551"/>
                <a:gd name="connsiteX709" fmla="*/ 973813 w 993885"/>
                <a:gd name="connsiteY709" fmla="*/ 376077 h 1022551"/>
                <a:gd name="connsiteX710" fmla="*/ 969580 w 993885"/>
                <a:gd name="connsiteY710" fmla="*/ 380220 h 1022551"/>
                <a:gd name="connsiteX711" fmla="*/ 967903 w 993885"/>
                <a:gd name="connsiteY711" fmla="*/ 380642 h 1022551"/>
                <a:gd name="connsiteX712" fmla="*/ 966364 w 993885"/>
                <a:gd name="connsiteY712" fmla="*/ 379823 h 1022551"/>
                <a:gd name="connsiteX713" fmla="*/ 967455 w 993885"/>
                <a:gd name="connsiteY713" fmla="*/ 382010 h 1022551"/>
                <a:gd name="connsiteX714" fmla="*/ 966500 w 993885"/>
                <a:gd name="connsiteY714" fmla="*/ 383934 h 1022551"/>
                <a:gd name="connsiteX715" fmla="*/ 962201 w 993885"/>
                <a:gd name="connsiteY715" fmla="*/ 389776 h 1022551"/>
                <a:gd name="connsiteX716" fmla="*/ 957927 w 993885"/>
                <a:gd name="connsiteY716" fmla="*/ 393600 h 1022551"/>
                <a:gd name="connsiteX717" fmla="*/ 953495 w 993885"/>
                <a:gd name="connsiteY717" fmla="*/ 400236 h 1022551"/>
                <a:gd name="connsiteX718" fmla="*/ 953158 w 993885"/>
                <a:gd name="connsiteY718" fmla="*/ 400386 h 1022551"/>
                <a:gd name="connsiteX719" fmla="*/ 947476 w 993885"/>
                <a:gd name="connsiteY719" fmla="*/ 402949 h 1022551"/>
                <a:gd name="connsiteX720" fmla="*/ 944114 w 993885"/>
                <a:gd name="connsiteY720" fmla="*/ 405045 h 1022551"/>
                <a:gd name="connsiteX721" fmla="*/ 939817 w 993885"/>
                <a:gd name="connsiteY721" fmla="*/ 408859 h 1022551"/>
                <a:gd name="connsiteX722" fmla="*/ 935871 w 993885"/>
                <a:gd name="connsiteY722" fmla="*/ 414872 h 1022551"/>
                <a:gd name="connsiteX723" fmla="*/ 935057 w 993885"/>
                <a:gd name="connsiteY723" fmla="*/ 415647 h 1022551"/>
                <a:gd name="connsiteX724" fmla="*/ 933604 w 993885"/>
                <a:gd name="connsiteY724" fmla="*/ 415222 h 1022551"/>
                <a:gd name="connsiteX725" fmla="*/ 933644 w 993885"/>
                <a:gd name="connsiteY725" fmla="*/ 418278 h 1022551"/>
                <a:gd name="connsiteX726" fmla="*/ 930248 w 993885"/>
                <a:gd name="connsiteY726" fmla="*/ 423117 h 1022551"/>
                <a:gd name="connsiteX727" fmla="*/ 929212 w 993885"/>
                <a:gd name="connsiteY727" fmla="*/ 423834 h 1022551"/>
                <a:gd name="connsiteX728" fmla="*/ 929241 w 993885"/>
                <a:gd name="connsiteY728" fmla="*/ 422463 h 1022551"/>
                <a:gd name="connsiteX729" fmla="*/ 929830 w 993885"/>
                <a:gd name="connsiteY729" fmla="*/ 421419 h 1022551"/>
                <a:gd name="connsiteX730" fmla="*/ 930105 w 993885"/>
                <a:gd name="connsiteY730" fmla="*/ 420308 h 1022551"/>
                <a:gd name="connsiteX731" fmla="*/ 930080 w 993885"/>
                <a:gd name="connsiteY731" fmla="*/ 418987 h 1022551"/>
                <a:gd name="connsiteX732" fmla="*/ 929131 w 993885"/>
                <a:gd name="connsiteY732" fmla="*/ 419948 h 1022551"/>
                <a:gd name="connsiteX733" fmla="*/ 927121 w 993885"/>
                <a:gd name="connsiteY733" fmla="*/ 423573 h 1022551"/>
                <a:gd name="connsiteX734" fmla="*/ 927797 w 993885"/>
                <a:gd name="connsiteY734" fmla="*/ 426232 h 1022551"/>
                <a:gd name="connsiteX735" fmla="*/ 926339 w 993885"/>
                <a:gd name="connsiteY735" fmla="*/ 430249 h 1022551"/>
                <a:gd name="connsiteX736" fmla="*/ 920776 w 993885"/>
                <a:gd name="connsiteY736" fmla="*/ 441725 h 1022551"/>
                <a:gd name="connsiteX737" fmla="*/ 913966 w 993885"/>
                <a:gd name="connsiteY737" fmla="*/ 451388 h 1022551"/>
                <a:gd name="connsiteX738" fmla="*/ 912395 w 993885"/>
                <a:gd name="connsiteY738" fmla="*/ 454370 h 1022551"/>
                <a:gd name="connsiteX739" fmla="*/ 906804 w 993885"/>
                <a:gd name="connsiteY739" fmla="*/ 460886 h 1022551"/>
                <a:gd name="connsiteX740" fmla="*/ 902696 w 993885"/>
                <a:gd name="connsiteY740" fmla="*/ 464030 h 1022551"/>
                <a:gd name="connsiteX741" fmla="*/ 901541 w 993885"/>
                <a:gd name="connsiteY741" fmla="*/ 464053 h 1022551"/>
                <a:gd name="connsiteX742" fmla="*/ 900232 w 993885"/>
                <a:gd name="connsiteY742" fmla="*/ 463784 h 1022551"/>
                <a:gd name="connsiteX743" fmla="*/ 899573 w 993885"/>
                <a:gd name="connsiteY743" fmla="*/ 458775 h 1022551"/>
                <a:gd name="connsiteX744" fmla="*/ 896299 w 993885"/>
                <a:gd name="connsiteY744" fmla="*/ 455744 h 1022551"/>
                <a:gd name="connsiteX745" fmla="*/ 895362 w 993885"/>
                <a:gd name="connsiteY745" fmla="*/ 455210 h 1022551"/>
                <a:gd name="connsiteX746" fmla="*/ 894021 w 993885"/>
                <a:gd name="connsiteY746" fmla="*/ 458421 h 1022551"/>
                <a:gd name="connsiteX747" fmla="*/ 892903 w 993885"/>
                <a:gd name="connsiteY747" fmla="*/ 459301 h 1022551"/>
                <a:gd name="connsiteX748" fmla="*/ 891286 w 993885"/>
                <a:gd name="connsiteY748" fmla="*/ 459492 h 1022551"/>
                <a:gd name="connsiteX749" fmla="*/ 893014 w 993885"/>
                <a:gd name="connsiteY749" fmla="*/ 460892 h 1022551"/>
                <a:gd name="connsiteX750" fmla="*/ 893518 w 993885"/>
                <a:gd name="connsiteY750" fmla="*/ 462510 h 1022551"/>
                <a:gd name="connsiteX751" fmla="*/ 891757 w 993885"/>
                <a:gd name="connsiteY751" fmla="*/ 465749 h 1022551"/>
                <a:gd name="connsiteX752" fmla="*/ 891702 w 993885"/>
                <a:gd name="connsiteY752" fmla="*/ 468696 h 1022551"/>
                <a:gd name="connsiteX753" fmla="*/ 888561 w 993885"/>
                <a:gd name="connsiteY753" fmla="*/ 471943 h 1022551"/>
                <a:gd name="connsiteX754" fmla="*/ 886742 w 993885"/>
                <a:gd name="connsiteY754" fmla="*/ 474319 h 1022551"/>
                <a:gd name="connsiteX755" fmla="*/ 885818 w 993885"/>
                <a:gd name="connsiteY755" fmla="*/ 477296 h 1022551"/>
                <a:gd name="connsiteX756" fmla="*/ 885261 w 993885"/>
                <a:gd name="connsiteY756" fmla="*/ 480076 h 1022551"/>
                <a:gd name="connsiteX757" fmla="*/ 886642 w 993885"/>
                <a:gd name="connsiteY757" fmla="*/ 479317 h 1022551"/>
                <a:gd name="connsiteX758" fmla="*/ 887296 w 993885"/>
                <a:gd name="connsiteY758" fmla="*/ 479902 h 1022551"/>
                <a:gd name="connsiteX759" fmla="*/ 887815 w 993885"/>
                <a:gd name="connsiteY759" fmla="*/ 480769 h 1022551"/>
                <a:gd name="connsiteX760" fmla="*/ 887496 w 993885"/>
                <a:gd name="connsiteY760" fmla="*/ 482048 h 1022551"/>
                <a:gd name="connsiteX761" fmla="*/ 886483 w 993885"/>
                <a:gd name="connsiteY761" fmla="*/ 484464 h 1022551"/>
                <a:gd name="connsiteX762" fmla="*/ 886642 w 993885"/>
                <a:gd name="connsiteY762" fmla="*/ 490483 h 1022551"/>
                <a:gd name="connsiteX763" fmla="*/ 886306 w 993885"/>
                <a:gd name="connsiteY763" fmla="*/ 491851 h 1022551"/>
                <a:gd name="connsiteX764" fmla="*/ 887311 w 993885"/>
                <a:gd name="connsiteY764" fmla="*/ 493330 h 1022551"/>
                <a:gd name="connsiteX765" fmla="*/ 888375 w 993885"/>
                <a:gd name="connsiteY765" fmla="*/ 490803 h 1022551"/>
                <a:gd name="connsiteX766" fmla="*/ 888989 w 993885"/>
                <a:gd name="connsiteY766" fmla="*/ 491508 h 1022551"/>
                <a:gd name="connsiteX767" fmla="*/ 886015 w 993885"/>
                <a:gd name="connsiteY767" fmla="*/ 507656 h 1022551"/>
                <a:gd name="connsiteX768" fmla="*/ 887187 w 993885"/>
                <a:gd name="connsiteY768" fmla="*/ 514932 h 1022551"/>
                <a:gd name="connsiteX769" fmla="*/ 887623 w 993885"/>
                <a:gd name="connsiteY769" fmla="*/ 523183 h 1022551"/>
                <a:gd name="connsiteX770" fmla="*/ 888966 w 993885"/>
                <a:gd name="connsiteY770" fmla="*/ 531243 h 1022551"/>
                <a:gd name="connsiteX771" fmla="*/ 890436 w 993885"/>
                <a:gd name="connsiteY771" fmla="*/ 538455 h 1022551"/>
                <a:gd name="connsiteX772" fmla="*/ 890553 w 993885"/>
                <a:gd name="connsiteY772" fmla="*/ 539034 h 1022551"/>
                <a:gd name="connsiteX773" fmla="*/ 888521 w 993885"/>
                <a:gd name="connsiteY773" fmla="*/ 547414 h 1022551"/>
                <a:gd name="connsiteX774" fmla="*/ 885924 w 993885"/>
                <a:gd name="connsiteY774" fmla="*/ 555689 h 1022551"/>
                <a:gd name="connsiteX775" fmla="*/ 884356 w 993885"/>
                <a:gd name="connsiteY775" fmla="*/ 562442 h 1022551"/>
                <a:gd name="connsiteX776" fmla="*/ 883369 w 993885"/>
                <a:gd name="connsiteY776" fmla="*/ 569744 h 1022551"/>
                <a:gd name="connsiteX777" fmla="*/ 882381 w 993885"/>
                <a:gd name="connsiteY777" fmla="*/ 573255 h 1022551"/>
                <a:gd name="connsiteX778" fmla="*/ 882068 w 993885"/>
                <a:gd name="connsiteY778" fmla="*/ 576850 h 1022551"/>
                <a:gd name="connsiteX779" fmla="*/ 883200 w 993885"/>
                <a:gd name="connsiteY779" fmla="*/ 585376 h 1022551"/>
                <a:gd name="connsiteX780" fmla="*/ 883621 w 993885"/>
                <a:gd name="connsiteY780" fmla="*/ 586993 h 1022551"/>
                <a:gd name="connsiteX781" fmla="*/ 880468 w 993885"/>
                <a:gd name="connsiteY781" fmla="*/ 590799 h 1022551"/>
                <a:gd name="connsiteX782" fmla="*/ 877064 w 993885"/>
                <a:gd name="connsiteY782" fmla="*/ 592646 h 1022551"/>
                <a:gd name="connsiteX783" fmla="*/ 875184 w 993885"/>
                <a:gd name="connsiteY783" fmla="*/ 594482 h 1022551"/>
                <a:gd name="connsiteX784" fmla="*/ 871024 w 993885"/>
                <a:gd name="connsiteY784" fmla="*/ 601349 h 1022551"/>
                <a:gd name="connsiteX785" fmla="*/ 868768 w 993885"/>
                <a:gd name="connsiteY785" fmla="*/ 611510 h 1022551"/>
                <a:gd name="connsiteX786" fmla="*/ 868714 w 993885"/>
                <a:gd name="connsiteY786" fmla="*/ 616921 h 1022551"/>
                <a:gd name="connsiteX787" fmla="*/ 869781 w 993885"/>
                <a:gd name="connsiteY787" fmla="*/ 628270 h 1022551"/>
                <a:gd name="connsiteX788" fmla="*/ 868980 w 993885"/>
                <a:gd name="connsiteY788" fmla="*/ 632903 h 1022551"/>
                <a:gd name="connsiteX789" fmla="*/ 867664 w 993885"/>
                <a:gd name="connsiteY789" fmla="*/ 636007 h 1022551"/>
                <a:gd name="connsiteX790" fmla="*/ 866107 w 993885"/>
                <a:gd name="connsiteY790" fmla="*/ 638044 h 1022551"/>
                <a:gd name="connsiteX791" fmla="*/ 862136 w 993885"/>
                <a:gd name="connsiteY791" fmla="*/ 640491 h 1022551"/>
                <a:gd name="connsiteX792" fmla="*/ 858577 w 993885"/>
                <a:gd name="connsiteY792" fmla="*/ 646456 h 1022551"/>
                <a:gd name="connsiteX793" fmla="*/ 857030 w 993885"/>
                <a:gd name="connsiteY793" fmla="*/ 652731 h 1022551"/>
                <a:gd name="connsiteX794" fmla="*/ 854592 w 993885"/>
                <a:gd name="connsiteY794" fmla="*/ 655017 h 1022551"/>
                <a:gd name="connsiteX795" fmla="*/ 854093 w 993885"/>
                <a:gd name="connsiteY795" fmla="*/ 658534 h 1022551"/>
                <a:gd name="connsiteX796" fmla="*/ 852131 w 993885"/>
                <a:gd name="connsiteY796" fmla="*/ 662331 h 1022551"/>
                <a:gd name="connsiteX797" fmla="*/ 847043 w 993885"/>
                <a:gd name="connsiteY797" fmla="*/ 668002 h 1022551"/>
                <a:gd name="connsiteX798" fmla="*/ 843735 w 993885"/>
                <a:gd name="connsiteY798" fmla="*/ 669653 h 1022551"/>
                <a:gd name="connsiteX799" fmla="*/ 842157 w 993885"/>
                <a:gd name="connsiteY799" fmla="*/ 671237 h 1022551"/>
                <a:gd name="connsiteX800" fmla="*/ 841156 w 993885"/>
                <a:gd name="connsiteY800" fmla="*/ 674555 h 1022551"/>
                <a:gd name="connsiteX801" fmla="*/ 837967 w 993885"/>
                <a:gd name="connsiteY801" fmla="*/ 680030 h 1022551"/>
                <a:gd name="connsiteX802" fmla="*/ 835615 w 993885"/>
                <a:gd name="connsiteY802" fmla="*/ 687132 h 1022551"/>
                <a:gd name="connsiteX803" fmla="*/ 836227 w 993885"/>
                <a:gd name="connsiteY803" fmla="*/ 689554 h 1022551"/>
                <a:gd name="connsiteX804" fmla="*/ 836266 w 993885"/>
                <a:gd name="connsiteY804" fmla="*/ 689926 h 1022551"/>
                <a:gd name="connsiteX805" fmla="*/ 837122 w 993885"/>
                <a:gd name="connsiteY805" fmla="*/ 698149 h 1022551"/>
                <a:gd name="connsiteX806" fmla="*/ 836806 w 993885"/>
                <a:gd name="connsiteY806" fmla="*/ 700243 h 1022551"/>
                <a:gd name="connsiteX807" fmla="*/ 833707 w 993885"/>
                <a:gd name="connsiteY807" fmla="*/ 702514 h 1022551"/>
                <a:gd name="connsiteX808" fmla="*/ 822033 w 993885"/>
                <a:gd name="connsiteY808" fmla="*/ 706754 h 1022551"/>
                <a:gd name="connsiteX809" fmla="*/ 818924 w 993885"/>
                <a:gd name="connsiteY809" fmla="*/ 708512 h 1022551"/>
                <a:gd name="connsiteX810" fmla="*/ 811953 w 993885"/>
                <a:gd name="connsiteY810" fmla="*/ 715735 h 1022551"/>
                <a:gd name="connsiteX811" fmla="*/ 811519 w 993885"/>
                <a:gd name="connsiteY811" fmla="*/ 717441 h 1022551"/>
                <a:gd name="connsiteX812" fmla="*/ 811809 w 993885"/>
                <a:gd name="connsiteY812" fmla="*/ 719876 h 1022551"/>
                <a:gd name="connsiteX813" fmla="*/ 812956 w 993885"/>
                <a:gd name="connsiteY813" fmla="*/ 721276 h 1022551"/>
                <a:gd name="connsiteX814" fmla="*/ 811775 w 993885"/>
                <a:gd name="connsiteY814" fmla="*/ 722793 h 1022551"/>
                <a:gd name="connsiteX815" fmla="*/ 810382 w 993885"/>
                <a:gd name="connsiteY815" fmla="*/ 725517 h 1022551"/>
                <a:gd name="connsiteX816" fmla="*/ 808352 w 993885"/>
                <a:gd name="connsiteY816" fmla="*/ 725349 h 1022551"/>
                <a:gd name="connsiteX817" fmla="*/ 796724 w 993885"/>
                <a:gd name="connsiteY817" fmla="*/ 725355 h 1022551"/>
                <a:gd name="connsiteX818" fmla="*/ 790429 w 993885"/>
                <a:gd name="connsiteY818" fmla="*/ 726218 h 1022551"/>
                <a:gd name="connsiteX819" fmla="*/ 787158 w 993885"/>
                <a:gd name="connsiteY819" fmla="*/ 726051 h 1022551"/>
                <a:gd name="connsiteX820" fmla="*/ 785690 w 993885"/>
                <a:gd name="connsiteY820" fmla="*/ 725396 h 1022551"/>
                <a:gd name="connsiteX821" fmla="*/ 784043 w 993885"/>
                <a:gd name="connsiteY821" fmla="*/ 724326 h 1022551"/>
                <a:gd name="connsiteX822" fmla="*/ 783548 w 993885"/>
                <a:gd name="connsiteY822" fmla="*/ 722926 h 1022551"/>
                <a:gd name="connsiteX823" fmla="*/ 784441 w 993885"/>
                <a:gd name="connsiteY823" fmla="*/ 720806 h 1022551"/>
                <a:gd name="connsiteX824" fmla="*/ 783914 w 993885"/>
                <a:gd name="connsiteY824" fmla="*/ 719542 h 1022551"/>
                <a:gd name="connsiteX825" fmla="*/ 782188 w 993885"/>
                <a:gd name="connsiteY825" fmla="*/ 719591 h 1022551"/>
                <a:gd name="connsiteX826" fmla="*/ 780295 w 993885"/>
                <a:gd name="connsiteY826" fmla="*/ 720191 h 1022551"/>
                <a:gd name="connsiteX827" fmla="*/ 779966 w 993885"/>
                <a:gd name="connsiteY827" fmla="*/ 721458 h 1022551"/>
                <a:gd name="connsiteX828" fmla="*/ 780101 w 993885"/>
                <a:gd name="connsiteY828" fmla="*/ 722357 h 1022551"/>
                <a:gd name="connsiteX829" fmla="*/ 780805 w 993885"/>
                <a:gd name="connsiteY829" fmla="*/ 723675 h 1022551"/>
                <a:gd name="connsiteX830" fmla="*/ 781192 w 993885"/>
                <a:gd name="connsiteY830" fmla="*/ 725289 h 1022551"/>
                <a:gd name="connsiteX831" fmla="*/ 780416 w 993885"/>
                <a:gd name="connsiteY831" fmla="*/ 726695 h 1022551"/>
                <a:gd name="connsiteX832" fmla="*/ 776732 w 993885"/>
                <a:gd name="connsiteY832" fmla="*/ 726878 h 1022551"/>
                <a:gd name="connsiteX833" fmla="*/ 772591 w 993885"/>
                <a:gd name="connsiteY833" fmla="*/ 728170 h 1022551"/>
                <a:gd name="connsiteX834" fmla="*/ 767425 w 993885"/>
                <a:gd name="connsiteY834" fmla="*/ 728710 h 1022551"/>
                <a:gd name="connsiteX835" fmla="*/ 763310 w 993885"/>
                <a:gd name="connsiteY835" fmla="*/ 729642 h 1022551"/>
                <a:gd name="connsiteX836" fmla="*/ 761408 w 993885"/>
                <a:gd name="connsiteY836" fmla="*/ 728462 h 1022551"/>
                <a:gd name="connsiteX837" fmla="*/ 763310 w 993885"/>
                <a:gd name="connsiteY837" fmla="*/ 727872 h 1022551"/>
                <a:gd name="connsiteX838" fmla="*/ 766033 w 993885"/>
                <a:gd name="connsiteY838" fmla="*/ 728160 h 1022551"/>
                <a:gd name="connsiteX839" fmla="*/ 768961 w 993885"/>
                <a:gd name="connsiteY839" fmla="*/ 727184 h 1022551"/>
                <a:gd name="connsiteX840" fmla="*/ 768277 w 993885"/>
                <a:gd name="connsiteY840" fmla="*/ 726030 h 1022551"/>
                <a:gd name="connsiteX841" fmla="*/ 764137 w 993885"/>
                <a:gd name="connsiteY841" fmla="*/ 724541 h 1022551"/>
                <a:gd name="connsiteX842" fmla="*/ 759541 w 993885"/>
                <a:gd name="connsiteY842" fmla="*/ 725453 h 1022551"/>
                <a:gd name="connsiteX843" fmla="*/ 756992 w 993885"/>
                <a:gd name="connsiteY843" fmla="*/ 727225 h 1022551"/>
                <a:gd name="connsiteX844" fmla="*/ 751416 w 993885"/>
                <a:gd name="connsiteY844" fmla="*/ 727063 h 1022551"/>
                <a:gd name="connsiteX845" fmla="*/ 744586 w 993885"/>
                <a:gd name="connsiteY845" fmla="*/ 728413 h 1022551"/>
                <a:gd name="connsiteX846" fmla="*/ 743472 w 993885"/>
                <a:gd name="connsiteY846" fmla="*/ 729789 h 1022551"/>
                <a:gd name="connsiteX847" fmla="*/ 743658 w 993885"/>
                <a:gd name="connsiteY847" fmla="*/ 732455 h 1022551"/>
                <a:gd name="connsiteX848" fmla="*/ 744995 w 993885"/>
                <a:gd name="connsiteY848" fmla="*/ 733040 h 1022551"/>
                <a:gd name="connsiteX849" fmla="*/ 746299 w 993885"/>
                <a:gd name="connsiteY849" fmla="*/ 734258 h 1022551"/>
                <a:gd name="connsiteX850" fmla="*/ 745047 w 993885"/>
                <a:gd name="connsiteY850" fmla="*/ 735392 h 1022551"/>
                <a:gd name="connsiteX851" fmla="*/ 743827 w 993885"/>
                <a:gd name="connsiteY851" fmla="*/ 735893 h 1022551"/>
                <a:gd name="connsiteX852" fmla="*/ 736614 w 993885"/>
                <a:gd name="connsiteY852" fmla="*/ 737133 h 1022551"/>
                <a:gd name="connsiteX853" fmla="*/ 729925 w 993885"/>
                <a:gd name="connsiteY853" fmla="*/ 742332 h 1022551"/>
                <a:gd name="connsiteX854" fmla="*/ 727137 w 993885"/>
                <a:gd name="connsiteY854" fmla="*/ 742979 h 1022551"/>
                <a:gd name="connsiteX855" fmla="*/ 724655 w 993885"/>
                <a:gd name="connsiteY855" fmla="*/ 745274 h 1022551"/>
                <a:gd name="connsiteX856" fmla="*/ 724399 w 993885"/>
                <a:gd name="connsiteY856" fmla="*/ 747235 h 1022551"/>
                <a:gd name="connsiteX857" fmla="*/ 723615 w 993885"/>
                <a:gd name="connsiteY857" fmla="*/ 748416 h 1022551"/>
                <a:gd name="connsiteX858" fmla="*/ 722023 w 993885"/>
                <a:gd name="connsiteY858" fmla="*/ 748477 h 1022551"/>
                <a:gd name="connsiteX859" fmla="*/ 718535 w 993885"/>
                <a:gd name="connsiteY859" fmla="*/ 747406 h 1022551"/>
                <a:gd name="connsiteX860" fmla="*/ 714009 w 993885"/>
                <a:gd name="connsiteY860" fmla="*/ 747374 h 1022551"/>
                <a:gd name="connsiteX861" fmla="*/ 710740 w 993885"/>
                <a:gd name="connsiteY861" fmla="*/ 748228 h 1022551"/>
                <a:gd name="connsiteX862" fmla="*/ 694037 w 993885"/>
                <a:gd name="connsiteY862" fmla="*/ 756680 h 1022551"/>
                <a:gd name="connsiteX863" fmla="*/ 688040 w 993885"/>
                <a:gd name="connsiteY863" fmla="*/ 760065 h 1022551"/>
                <a:gd name="connsiteX864" fmla="*/ 681196 w 993885"/>
                <a:gd name="connsiteY864" fmla="*/ 766974 h 1022551"/>
                <a:gd name="connsiteX865" fmla="*/ 669660 w 993885"/>
                <a:gd name="connsiteY865" fmla="*/ 774728 h 1022551"/>
                <a:gd name="connsiteX866" fmla="*/ 663600 w 993885"/>
                <a:gd name="connsiteY866" fmla="*/ 779362 h 1022551"/>
                <a:gd name="connsiteX867" fmla="*/ 662449 w 993885"/>
                <a:gd name="connsiteY867" fmla="*/ 780564 h 1022551"/>
                <a:gd name="connsiteX868" fmla="*/ 661492 w 993885"/>
                <a:gd name="connsiteY868" fmla="*/ 780630 h 1022551"/>
                <a:gd name="connsiteX869" fmla="*/ 659593 w 993885"/>
                <a:gd name="connsiteY869" fmla="*/ 781597 h 1022551"/>
                <a:gd name="connsiteX870" fmla="*/ 660349 w 993885"/>
                <a:gd name="connsiteY870" fmla="*/ 782398 h 1022551"/>
                <a:gd name="connsiteX871" fmla="*/ 661643 w 993885"/>
                <a:gd name="connsiteY871" fmla="*/ 782472 h 1022551"/>
                <a:gd name="connsiteX872" fmla="*/ 661109 w 993885"/>
                <a:gd name="connsiteY872" fmla="*/ 785175 h 1022551"/>
                <a:gd name="connsiteX873" fmla="*/ 658701 w 993885"/>
                <a:gd name="connsiteY873" fmla="*/ 787024 h 1022551"/>
                <a:gd name="connsiteX874" fmla="*/ 654179 w 993885"/>
                <a:gd name="connsiteY874" fmla="*/ 791883 h 1022551"/>
                <a:gd name="connsiteX875" fmla="*/ 653172 w 993885"/>
                <a:gd name="connsiteY875" fmla="*/ 791526 h 1022551"/>
                <a:gd name="connsiteX876" fmla="*/ 654604 w 993885"/>
                <a:gd name="connsiteY876" fmla="*/ 789000 h 1022551"/>
                <a:gd name="connsiteX877" fmla="*/ 652384 w 993885"/>
                <a:gd name="connsiteY877" fmla="*/ 788905 h 1022551"/>
                <a:gd name="connsiteX878" fmla="*/ 649113 w 993885"/>
                <a:gd name="connsiteY878" fmla="*/ 787978 h 1022551"/>
                <a:gd name="connsiteX879" fmla="*/ 647693 w 993885"/>
                <a:gd name="connsiteY879" fmla="*/ 789024 h 1022551"/>
                <a:gd name="connsiteX880" fmla="*/ 648476 w 993885"/>
                <a:gd name="connsiteY880" fmla="*/ 791526 h 1022551"/>
                <a:gd name="connsiteX881" fmla="*/ 647245 w 993885"/>
                <a:gd name="connsiteY881" fmla="*/ 792598 h 1022551"/>
                <a:gd name="connsiteX882" fmla="*/ 645014 w 993885"/>
                <a:gd name="connsiteY882" fmla="*/ 792720 h 1022551"/>
                <a:gd name="connsiteX883" fmla="*/ 642990 w 993885"/>
                <a:gd name="connsiteY883" fmla="*/ 792424 h 1022551"/>
                <a:gd name="connsiteX884" fmla="*/ 640764 w 993885"/>
                <a:gd name="connsiteY884" fmla="*/ 790592 h 1022551"/>
                <a:gd name="connsiteX885" fmla="*/ 641768 w 993885"/>
                <a:gd name="connsiteY885" fmla="*/ 793911 h 1022551"/>
                <a:gd name="connsiteX886" fmla="*/ 646462 w 993885"/>
                <a:gd name="connsiteY886" fmla="*/ 794718 h 1022551"/>
                <a:gd name="connsiteX887" fmla="*/ 648419 w 993885"/>
                <a:gd name="connsiteY887" fmla="*/ 795500 h 1022551"/>
                <a:gd name="connsiteX888" fmla="*/ 649147 w 993885"/>
                <a:gd name="connsiteY888" fmla="*/ 796776 h 1022551"/>
                <a:gd name="connsiteX889" fmla="*/ 645496 w 993885"/>
                <a:gd name="connsiteY889" fmla="*/ 802695 h 1022551"/>
                <a:gd name="connsiteX890" fmla="*/ 642437 w 993885"/>
                <a:gd name="connsiteY890" fmla="*/ 803465 h 1022551"/>
                <a:gd name="connsiteX891" fmla="*/ 642102 w 993885"/>
                <a:gd name="connsiteY891" fmla="*/ 804301 h 1022551"/>
                <a:gd name="connsiteX892" fmla="*/ 643779 w 993885"/>
                <a:gd name="connsiteY892" fmla="*/ 804296 h 1022551"/>
                <a:gd name="connsiteX893" fmla="*/ 644705 w 993885"/>
                <a:gd name="connsiteY893" fmla="*/ 805935 h 1022551"/>
                <a:gd name="connsiteX894" fmla="*/ 643613 w 993885"/>
                <a:gd name="connsiteY894" fmla="*/ 812554 h 1022551"/>
                <a:gd name="connsiteX895" fmla="*/ 642102 w 993885"/>
                <a:gd name="connsiteY895" fmla="*/ 813814 h 1022551"/>
                <a:gd name="connsiteX896" fmla="*/ 641221 w 993885"/>
                <a:gd name="connsiteY896" fmla="*/ 813845 h 1022551"/>
                <a:gd name="connsiteX897" fmla="*/ 640346 w 993885"/>
                <a:gd name="connsiteY897" fmla="*/ 814978 h 1022551"/>
                <a:gd name="connsiteX898" fmla="*/ 641552 w 993885"/>
                <a:gd name="connsiteY898" fmla="*/ 817143 h 1022551"/>
                <a:gd name="connsiteX899" fmla="*/ 642796 w 993885"/>
                <a:gd name="connsiteY899" fmla="*/ 818722 h 1022551"/>
                <a:gd name="connsiteX900" fmla="*/ 642630 w 993885"/>
                <a:gd name="connsiteY900" fmla="*/ 821786 h 1022551"/>
                <a:gd name="connsiteX901" fmla="*/ 642166 w 993885"/>
                <a:gd name="connsiteY901" fmla="*/ 824324 h 1022551"/>
                <a:gd name="connsiteX902" fmla="*/ 642135 w 993885"/>
                <a:gd name="connsiteY902" fmla="*/ 826788 h 1022551"/>
                <a:gd name="connsiteX903" fmla="*/ 643708 w 993885"/>
                <a:gd name="connsiteY903" fmla="*/ 831560 h 1022551"/>
                <a:gd name="connsiteX904" fmla="*/ 644272 w 993885"/>
                <a:gd name="connsiteY904" fmla="*/ 836465 h 1022551"/>
                <a:gd name="connsiteX905" fmla="*/ 644907 w 993885"/>
                <a:gd name="connsiteY905" fmla="*/ 838250 h 1022551"/>
                <a:gd name="connsiteX906" fmla="*/ 645267 w 993885"/>
                <a:gd name="connsiteY906" fmla="*/ 840231 h 1022551"/>
                <a:gd name="connsiteX907" fmla="*/ 644219 w 993885"/>
                <a:gd name="connsiteY907" fmla="*/ 842084 h 1022551"/>
                <a:gd name="connsiteX908" fmla="*/ 644816 w 993885"/>
                <a:gd name="connsiteY908" fmla="*/ 845059 h 1022551"/>
                <a:gd name="connsiteX909" fmla="*/ 643026 w 993885"/>
                <a:gd name="connsiteY909" fmla="*/ 850121 h 1022551"/>
                <a:gd name="connsiteX910" fmla="*/ 643961 w 993885"/>
                <a:gd name="connsiteY910" fmla="*/ 857440 h 1022551"/>
                <a:gd name="connsiteX911" fmla="*/ 643577 w 993885"/>
                <a:gd name="connsiteY911" fmla="*/ 864304 h 1022551"/>
                <a:gd name="connsiteX912" fmla="*/ 642876 w 993885"/>
                <a:gd name="connsiteY912" fmla="*/ 867917 h 1022551"/>
                <a:gd name="connsiteX913" fmla="*/ 641741 w 993885"/>
                <a:gd name="connsiteY913" fmla="*/ 870745 h 1022551"/>
                <a:gd name="connsiteX914" fmla="*/ 639103 w 993885"/>
                <a:gd name="connsiteY914" fmla="*/ 874387 h 1022551"/>
                <a:gd name="connsiteX915" fmla="*/ 639043 w 993885"/>
                <a:gd name="connsiteY915" fmla="*/ 878035 h 1022551"/>
                <a:gd name="connsiteX916" fmla="*/ 633364 w 993885"/>
                <a:gd name="connsiteY916" fmla="*/ 881430 h 1022551"/>
                <a:gd name="connsiteX917" fmla="*/ 627084 w 993885"/>
                <a:gd name="connsiteY917" fmla="*/ 886184 h 1022551"/>
                <a:gd name="connsiteX918" fmla="*/ 621287 w 993885"/>
                <a:gd name="connsiteY918" fmla="*/ 891817 h 1022551"/>
                <a:gd name="connsiteX919" fmla="*/ 615047 w 993885"/>
                <a:gd name="connsiteY919" fmla="*/ 899767 h 1022551"/>
                <a:gd name="connsiteX920" fmla="*/ 607760 w 993885"/>
                <a:gd name="connsiteY920" fmla="*/ 911887 h 1022551"/>
                <a:gd name="connsiteX921" fmla="*/ 601012 w 993885"/>
                <a:gd name="connsiteY921" fmla="*/ 929241 h 1022551"/>
                <a:gd name="connsiteX922" fmla="*/ 592886 w 993885"/>
                <a:gd name="connsiteY922" fmla="*/ 942393 h 1022551"/>
                <a:gd name="connsiteX923" fmla="*/ 589635 w 993885"/>
                <a:gd name="connsiteY923" fmla="*/ 947153 h 1022551"/>
                <a:gd name="connsiteX924" fmla="*/ 585243 w 993885"/>
                <a:gd name="connsiteY924" fmla="*/ 952475 h 1022551"/>
                <a:gd name="connsiteX925" fmla="*/ 579402 w 993885"/>
                <a:gd name="connsiteY925" fmla="*/ 958690 h 1022551"/>
                <a:gd name="connsiteX926" fmla="*/ 571576 w 993885"/>
                <a:gd name="connsiteY926" fmla="*/ 964917 h 1022551"/>
                <a:gd name="connsiteX927" fmla="*/ 563012 w 993885"/>
                <a:gd name="connsiteY927" fmla="*/ 970473 h 1022551"/>
                <a:gd name="connsiteX928" fmla="*/ 559917 w 993885"/>
                <a:gd name="connsiteY928" fmla="*/ 972981 h 1022551"/>
                <a:gd name="connsiteX929" fmla="*/ 556899 w 993885"/>
                <a:gd name="connsiteY929" fmla="*/ 976506 h 1022551"/>
                <a:gd name="connsiteX930" fmla="*/ 556145 w 993885"/>
                <a:gd name="connsiteY930" fmla="*/ 975049 h 1022551"/>
                <a:gd name="connsiteX931" fmla="*/ 556799 w 993885"/>
                <a:gd name="connsiteY931" fmla="*/ 972644 h 1022551"/>
                <a:gd name="connsiteX932" fmla="*/ 556383 w 993885"/>
                <a:gd name="connsiteY932" fmla="*/ 970843 h 1022551"/>
                <a:gd name="connsiteX933" fmla="*/ 556290 w 993885"/>
                <a:gd name="connsiteY933" fmla="*/ 968509 h 1022551"/>
                <a:gd name="connsiteX934" fmla="*/ 558017 w 993885"/>
                <a:gd name="connsiteY934" fmla="*/ 968077 h 1022551"/>
                <a:gd name="connsiteX935" fmla="*/ 560603 w 993885"/>
                <a:gd name="connsiteY935" fmla="*/ 969559 h 1022551"/>
                <a:gd name="connsiteX936" fmla="*/ 561919 w 993885"/>
                <a:gd name="connsiteY936" fmla="*/ 968556 h 1022551"/>
                <a:gd name="connsiteX937" fmla="*/ 562878 w 993885"/>
                <a:gd name="connsiteY937" fmla="*/ 967562 h 1022551"/>
                <a:gd name="connsiteX938" fmla="*/ 565991 w 993885"/>
                <a:gd name="connsiteY938" fmla="*/ 966943 h 1022551"/>
                <a:gd name="connsiteX939" fmla="*/ 571936 w 993885"/>
                <a:gd name="connsiteY939" fmla="*/ 960847 h 1022551"/>
                <a:gd name="connsiteX940" fmla="*/ 576348 w 993885"/>
                <a:gd name="connsiteY940" fmla="*/ 958594 h 1022551"/>
                <a:gd name="connsiteX941" fmla="*/ 578830 w 993885"/>
                <a:gd name="connsiteY941" fmla="*/ 954751 h 1022551"/>
                <a:gd name="connsiteX942" fmla="*/ 579255 w 993885"/>
                <a:gd name="connsiteY942" fmla="*/ 952710 h 1022551"/>
                <a:gd name="connsiteX943" fmla="*/ 579157 w 993885"/>
                <a:gd name="connsiteY943" fmla="*/ 948573 h 1022551"/>
                <a:gd name="connsiteX944" fmla="*/ 580563 w 993885"/>
                <a:gd name="connsiteY944" fmla="*/ 947524 h 1022551"/>
                <a:gd name="connsiteX945" fmla="*/ 583755 w 993885"/>
                <a:gd name="connsiteY945" fmla="*/ 947885 h 1022551"/>
                <a:gd name="connsiteX946" fmla="*/ 584406 w 993885"/>
                <a:gd name="connsiteY946" fmla="*/ 946708 h 1022551"/>
                <a:gd name="connsiteX947" fmla="*/ 584129 w 993885"/>
                <a:gd name="connsiteY947" fmla="*/ 945404 h 1022551"/>
                <a:gd name="connsiteX948" fmla="*/ 584750 w 993885"/>
                <a:gd name="connsiteY948" fmla="*/ 942563 h 1022551"/>
                <a:gd name="connsiteX949" fmla="*/ 589077 w 993885"/>
                <a:gd name="connsiteY949" fmla="*/ 940041 h 1022551"/>
                <a:gd name="connsiteX950" fmla="*/ 591127 w 993885"/>
                <a:gd name="connsiteY950" fmla="*/ 936997 h 1022551"/>
                <a:gd name="connsiteX951" fmla="*/ 590443 w 993885"/>
                <a:gd name="connsiteY951" fmla="*/ 929247 h 1022551"/>
                <a:gd name="connsiteX952" fmla="*/ 591236 w 993885"/>
                <a:gd name="connsiteY952" fmla="*/ 928899 h 1022551"/>
                <a:gd name="connsiteX953" fmla="*/ 593016 w 993885"/>
                <a:gd name="connsiteY953" fmla="*/ 930106 h 1022551"/>
                <a:gd name="connsiteX954" fmla="*/ 593851 w 993885"/>
                <a:gd name="connsiteY954" fmla="*/ 929605 h 1022551"/>
                <a:gd name="connsiteX955" fmla="*/ 594748 w 993885"/>
                <a:gd name="connsiteY955" fmla="*/ 926212 h 1022551"/>
                <a:gd name="connsiteX956" fmla="*/ 594317 w 993885"/>
                <a:gd name="connsiteY956" fmla="*/ 924453 h 1022551"/>
                <a:gd name="connsiteX957" fmla="*/ 592221 w 993885"/>
                <a:gd name="connsiteY957" fmla="*/ 923986 h 1022551"/>
                <a:gd name="connsiteX958" fmla="*/ 584977 w 993885"/>
                <a:gd name="connsiteY958" fmla="*/ 927809 h 1022551"/>
                <a:gd name="connsiteX959" fmla="*/ 582618 w 993885"/>
                <a:gd name="connsiteY959" fmla="*/ 927652 h 1022551"/>
                <a:gd name="connsiteX960" fmla="*/ 582226 w 993885"/>
                <a:gd name="connsiteY960" fmla="*/ 924649 h 1022551"/>
                <a:gd name="connsiteX961" fmla="*/ 578704 w 993885"/>
                <a:gd name="connsiteY961" fmla="*/ 923269 h 1022551"/>
                <a:gd name="connsiteX962" fmla="*/ 577327 w 993885"/>
                <a:gd name="connsiteY962" fmla="*/ 920779 h 1022551"/>
                <a:gd name="connsiteX963" fmla="*/ 576914 w 993885"/>
                <a:gd name="connsiteY963" fmla="*/ 919072 h 1022551"/>
                <a:gd name="connsiteX964" fmla="*/ 575692 w 993885"/>
                <a:gd name="connsiteY964" fmla="*/ 918375 h 1022551"/>
                <a:gd name="connsiteX965" fmla="*/ 575769 w 993885"/>
                <a:gd name="connsiteY965" fmla="*/ 921323 h 1022551"/>
                <a:gd name="connsiteX966" fmla="*/ 576105 w 993885"/>
                <a:gd name="connsiteY966" fmla="*/ 924189 h 1022551"/>
                <a:gd name="connsiteX967" fmla="*/ 579262 w 993885"/>
                <a:gd name="connsiteY967" fmla="*/ 927529 h 1022551"/>
                <a:gd name="connsiteX968" fmla="*/ 578494 w 993885"/>
                <a:gd name="connsiteY968" fmla="*/ 928855 h 1022551"/>
                <a:gd name="connsiteX969" fmla="*/ 576997 w 993885"/>
                <a:gd name="connsiteY969" fmla="*/ 930404 h 1022551"/>
                <a:gd name="connsiteX970" fmla="*/ 575955 w 993885"/>
                <a:gd name="connsiteY970" fmla="*/ 933848 h 1022551"/>
                <a:gd name="connsiteX971" fmla="*/ 576072 w 993885"/>
                <a:gd name="connsiteY971" fmla="*/ 938318 h 1022551"/>
                <a:gd name="connsiteX972" fmla="*/ 575227 w 993885"/>
                <a:gd name="connsiteY972" fmla="*/ 936955 h 1022551"/>
                <a:gd name="connsiteX973" fmla="*/ 574144 w 993885"/>
                <a:gd name="connsiteY973" fmla="*/ 936169 h 1022551"/>
                <a:gd name="connsiteX974" fmla="*/ 573704 w 993885"/>
                <a:gd name="connsiteY974" fmla="*/ 940976 h 1022551"/>
                <a:gd name="connsiteX975" fmla="*/ 571608 w 993885"/>
                <a:gd name="connsiteY975" fmla="*/ 942816 h 1022551"/>
                <a:gd name="connsiteX976" fmla="*/ 570945 w 993885"/>
                <a:gd name="connsiteY976" fmla="*/ 944624 h 1022551"/>
                <a:gd name="connsiteX977" fmla="*/ 571493 w 993885"/>
                <a:gd name="connsiteY977" fmla="*/ 946722 h 1022551"/>
                <a:gd name="connsiteX978" fmla="*/ 570412 w 993885"/>
                <a:gd name="connsiteY978" fmla="*/ 948171 h 1022551"/>
                <a:gd name="connsiteX979" fmla="*/ 565072 w 993885"/>
                <a:gd name="connsiteY979" fmla="*/ 952066 h 1022551"/>
                <a:gd name="connsiteX980" fmla="*/ 559750 w 993885"/>
                <a:gd name="connsiteY980" fmla="*/ 954727 h 1022551"/>
                <a:gd name="connsiteX981" fmla="*/ 558591 w 993885"/>
                <a:gd name="connsiteY981" fmla="*/ 955985 h 1022551"/>
                <a:gd name="connsiteX982" fmla="*/ 558024 w 993885"/>
                <a:gd name="connsiteY982" fmla="*/ 958959 h 1022551"/>
                <a:gd name="connsiteX983" fmla="*/ 557210 w 993885"/>
                <a:gd name="connsiteY983" fmla="*/ 962016 h 1022551"/>
                <a:gd name="connsiteX984" fmla="*/ 554855 w 993885"/>
                <a:gd name="connsiteY984" fmla="*/ 964706 h 1022551"/>
                <a:gd name="connsiteX985" fmla="*/ 552985 w 993885"/>
                <a:gd name="connsiteY985" fmla="*/ 970058 h 1022551"/>
                <a:gd name="connsiteX986" fmla="*/ 553037 w 993885"/>
                <a:gd name="connsiteY986" fmla="*/ 972364 h 1022551"/>
                <a:gd name="connsiteX987" fmla="*/ 553657 w 993885"/>
                <a:gd name="connsiteY987" fmla="*/ 975764 h 1022551"/>
                <a:gd name="connsiteX988" fmla="*/ 554663 w 993885"/>
                <a:gd name="connsiteY988" fmla="*/ 977995 h 1022551"/>
                <a:gd name="connsiteX989" fmla="*/ 553071 w 993885"/>
                <a:gd name="connsiteY989" fmla="*/ 979488 h 1022551"/>
                <a:gd name="connsiteX990" fmla="*/ 550930 w 993885"/>
                <a:gd name="connsiteY990" fmla="*/ 982387 h 1022551"/>
                <a:gd name="connsiteX991" fmla="*/ 549230 w 993885"/>
                <a:gd name="connsiteY991" fmla="*/ 985658 h 1022551"/>
                <a:gd name="connsiteX992" fmla="*/ 544999 w 993885"/>
                <a:gd name="connsiteY992" fmla="*/ 997959 h 1022551"/>
                <a:gd name="connsiteX993" fmla="*/ 541355 w 993885"/>
                <a:gd name="connsiteY993" fmla="*/ 1005389 h 1022551"/>
                <a:gd name="connsiteX994" fmla="*/ 538549 w 993885"/>
                <a:gd name="connsiteY994" fmla="*/ 1009036 h 1022551"/>
                <a:gd name="connsiteX995" fmla="*/ 534544 w 993885"/>
                <a:gd name="connsiteY995" fmla="*/ 1012882 h 1022551"/>
                <a:gd name="connsiteX996" fmla="*/ 523139 w 993885"/>
                <a:gd name="connsiteY996" fmla="*/ 1022551 h 1022551"/>
                <a:gd name="connsiteX997" fmla="*/ 522456 w 993885"/>
                <a:gd name="connsiteY997" fmla="*/ 1022413 h 1022551"/>
                <a:gd name="connsiteX998" fmla="*/ 520783 w 993885"/>
                <a:gd name="connsiteY998" fmla="*/ 1021633 h 1022551"/>
                <a:gd name="connsiteX999" fmla="*/ 519381 w 993885"/>
                <a:gd name="connsiteY999" fmla="*/ 1020704 h 1022551"/>
                <a:gd name="connsiteX1000" fmla="*/ 519064 w 993885"/>
                <a:gd name="connsiteY1000" fmla="*/ 1020084 h 1022551"/>
                <a:gd name="connsiteX1001" fmla="*/ 518905 w 993885"/>
                <a:gd name="connsiteY1001" fmla="*/ 1019158 h 1022551"/>
                <a:gd name="connsiteX1002" fmla="*/ 519089 w 993885"/>
                <a:gd name="connsiteY1002" fmla="*/ 1015674 h 1022551"/>
                <a:gd name="connsiteX1003" fmla="*/ 519064 w 993885"/>
                <a:gd name="connsiteY1003" fmla="*/ 1006327 h 1022551"/>
                <a:gd name="connsiteX1004" fmla="*/ 519558 w 993885"/>
                <a:gd name="connsiteY1004" fmla="*/ 1004565 h 1022551"/>
                <a:gd name="connsiteX1005" fmla="*/ 520293 w 993885"/>
                <a:gd name="connsiteY1005" fmla="*/ 1003428 h 1022551"/>
                <a:gd name="connsiteX1006" fmla="*/ 522516 w 993885"/>
                <a:gd name="connsiteY1006" fmla="*/ 1001779 h 1022551"/>
                <a:gd name="connsiteX1007" fmla="*/ 524674 w 993885"/>
                <a:gd name="connsiteY1007" fmla="*/ 999422 h 1022551"/>
                <a:gd name="connsiteX1008" fmla="*/ 527109 w 993885"/>
                <a:gd name="connsiteY1008" fmla="*/ 996425 h 1022551"/>
                <a:gd name="connsiteX1009" fmla="*/ 529352 w 993885"/>
                <a:gd name="connsiteY1009" fmla="*/ 994040 h 1022551"/>
                <a:gd name="connsiteX1010" fmla="*/ 528549 w 993885"/>
                <a:gd name="connsiteY1010" fmla="*/ 992441 h 1022551"/>
                <a:gd name="connsiteX1011" fmla="*/ 526674 w 993885"/>
                <a:gd name="connsiteY1011" fmla="*/ 990896 h 1022551"/>
                <a:gd name="connsiteX1012" fmla="*/ 523339 w 993885"/>
                <a:gd name="connsiteY1012" fmla="*/ 989647 h 1022551"/>
                <a:gd name="connsiteX1013" fmla="*/ 520127 w 993885"/>
                <a:gd name="connsiteY1013" fmla="*/ 987448 h 1022551"/>
                <a:gd name="connsiteX1014" fmla="*/ 517280 w 993885"/>
                <a:gd name="connsiteY1014" fmla="*/ 984622 h 1022551"/>
                <a:gd name="connsiteX1015" fmla="*/ 515963 w 993885"/>
                <a:gd name="connsiteY1015" fmla="*/ 981682 h 1022551"/>
                <a:gd name="connsiteX1016" fmla="*/ 514759 w 993885"/>
                <a:gd name="connsiteY1016" fmla="*/ 978517 h 1022551"/>
                <a:gd name="connsiteX1017" fmla="*/ 513606 w 993885"/>
                <a:gd name="connsiteY1017" fmla="*/ 976016 h 1022551"/>
                <a:gd name="connsiteX1018" fmla="*/ 513223 w 993885"/>
                <a:gd name="connsiteY1018" fmla="*/ 974873 h 1022551"/>
                <a:gd name="connsiteX1019" fmla="*/ 512098 w 993885"/>
                <a:gd name="connsiteY1019" fmla="*/ 974398 h 1022551"/>
                <a:gd name="connsiteX1020" fmla="*/ 510311 w 993885"/>
                <a:gd name="connsiteY1020" fmla="*/ 973122 h 1022551"/>
                <a:gd name="connsiteX1021" fmla="*/ 509194 w 993885"/>
                <a:gd name="connsiteY1021" fmla="*/ 971935 h 1022551"/>
                <a:gd name="connsiteX1022" fmla="*/ 507557 w 993885"/>
                <a:gd name="connsiteY1022" fmla="*/ 971255 h 1022551"/>
                <a:gd name="connsiteX1023" fmla="*/ 504634 w 993885"/>
                <a:gd name="connsiteY1023" fmla="*/ 970508 h 1022551"/>
                <a:gd name="connsiteX1024" fmla="*/ 501588 w 993885"/>
                <a:gd name="connsiteY1024" fmla="*/ 969205 h 1022551"/>
                <a:gd name="connsiteX1025" fmla="*/ 497800 w 993885"/>
                <a:gd name="connsiteY1025" fmla="*/ 966112 h 1022551"/>
                <a:gd name="connsiteX1026" fmla="*/ 495068 w 993885"/>
                <a:gd name="connsiteY1026" fmla="*/ 962681 h 1022551"/>
                <a:gd name="connsiteX1027" fmla="*/ 493719 w 993885"/>
                <a:gd name="connsiteY1027" fmla="*/ 960417 h 1022551"/>
                <a:gd name="connsiteX1028" fmla="*/ 492280 w 993885"/>
                <a:gd name="connsiteY1028" fmla="*/ 958824 h 1022551"/>
                <a:gd name="connsiteX1029" fmla="*/ 484462 w 993885"/>
                <a:gd name="connsiteY1029" fmla="*/ 956193 h 1022551"/>
                <a:gd name="connsiteX1030" fmla="*/ 480910 w 993885"/>
                <a:gd name="connsiteY1030" fmla="*/ 953052 h 1022551"/>
                <a:gd name="connsiteX1031" fmla="*/ 479513 w 993885"/>
                <a:gd name="connsiteY1031" fmla="*/ 954030 h 1022551"/>
                <a:gd name="connsiteX1032" fmla="*/ 477424 w 993885"/>
                <a:gd name="connsiteY1032" fmla="*/ 953068 h 1022551"/>
                <a:gd name="connsiteX1033" fmla="*/ 475367 w 993885"/>
                <a:gd name="connsiteY1033" fmla="*/ 951558 h 1022551"/>
                <a:gd name="connsiteX1034" fmla="*/ 474750 w 993885"/>
                <a:gd name="connsiteY1034" fmla="*/ 950398 h 1022551"/>
                <a:gd name="connsiteX1035" fmla="*/ 473881 w 993885"/>
                <a:gd name="connsiteY1035" fmla="*/ 949212 h 1022551"/>
                <a:gd name="connsiteX1036" fmla="*/ 473063 w 993885"/>
                <a:gd name="connsiteY1036" fmla="*/ 947849 h 1022551"/>
                <a:gd name="connsiteX1037" fmla="*/ 472542 w 993885"/>
                <a:gd name="connsiteY1037" fmla="*/ 946542 h 1022551"/>
                <a:gd name="connsiteX1038" fmla="*/ 470425 w 993885"/>
                <a:gd name="connsiteY1038" fmla="*/ 944259 h 1022551"/>
                <a:gd name="connsiteX1039" fmla="*/ 467692 w 993885"/>
                <a:gd name="connsiteY1039" fmla="*/ 941789 h 1022551"/>
                <a:gd name="connsiteX1040" fmla="*/ 466534 w 993885"/>
                <a:gd name="connsiteY1040" fmla="*/ 941086 h 1022551"/>
                <a:gd name="connsiteX1041" fmla="*/ 465922 w 993885"/>
                <a:gd name="connsiteY1041" fmla="*/ 941290 h 1022551"/>
                <a:gd name="connsiteX1042" fmla="*/ 465330 w 993885"/>
                <a:gd name="connsiteY1042" fmla="*/ 942238 h 1022551"/>
                <a:gd name="connsiteX1043" fmla="*/ 464956 w 993885"/>
                <a:gd name="connsiteY1043" fmla="*/ 943155 h 1022551"/>
                <a:gd name="connsiteX1044" fmla="*/ 463924 w 993885"/>
                <a:gd name="connsiteY1044" fmla="*/ 943760 h 1022551"/>
                <a:gd name="connsiteX1045" fmla="*/ 462647 w 993885"/>
                <a:gd name="connsiteY1045" fmla="*/ 944891 h 1022551"/>
                <a:gd name="connsiteX1046" fmla="*/ 461343 w 993885"/>
                <a:gd name="connsiteY1046" fmla="*/ 946277 h 1022551"/>
                <a:gd name="connsiteX1047" fmla="*/ 459671 w 993885"/>
                <a:gd name="connsiteY1047" fmla="*/ 947197 h 1022551"/>
                <a:gd name="connsiteX1048" fmla="*/ 457685 w 993885"/>
                <a:gd name="connsiteY1048" fmla="*/ 947511 h 1022551"/>
                <a:gd name="connsiteX1049" fmla="*/ 456349 w 993885"/>
                <a:gd name="connsiteY1049" fmla="*/ 947464 h 1022551"/>
                <a:gd name="connsiteX1050" fmla="*/ 456075 w 993885"/>
                <a:gd name="connsiteY1050" fmla="*/ 946918 h 1022551"/>
                <a:gd name="connsiteX1051" fmla="*/ 456000 w 993885"/>
                <a:gd name="connsiteY1051" fmla="*/ 945025 h 1022551"/>
                <a:gd name="connsiteX1052" fmla="*/ 456493 w 993885"/>
                <a:gd name="connsiteY1052" fmla="*/ 940706 h 1022551"/>
                <a:gd name="connsiteX1053" fmla="*/ 455330 w 993885"/>
                <a:gd name="connsiteY1053" fmla="*/ 939045 h 1022551"/>
                <a:gd name="connsiteX1054" fmla="*/ 453784 w 993885"/>
                <a:gd name="connsiteY1054" fmla="*/ 937264 h 1022551"/>
                <a:gd name="connsiteX1055" fmla="*/ 452000 w 993885"/>
                <a:gd name="connsiteY1055" fmla="*/ 934884 h 1022551"/>
                <a:gd name="connsiteX1056" fmla="*/ 446142 w 993885"/>
                <a:gd name="connsiteY1056" fmla="*/ 929845 h 1022551"/>
                <a:gd name="connsiteX1057" fmla="*/ 438169 w 993885"/>
                <a:gd name="connsiteY1057" fmla="*/ 922598 h 1022551"/>
                <a:gd name="connsiteX1058" fmla="*/ 435353 w 993885"/>
                <a:gd name="connsiteY1058" fmla="*/ 920385 h 1022551"/>
                <a:gd name="connsiteX1059" fmla="*/ 432702 w 993885"/>
                <a:gd name="connsiteY1059" fmla="*/ 920214 h 1022551"/>
                <a:gd name="connsiteX1060" fmla="*/ 430282 w 993885"/>
                <a:gd name="connsiteY1060" fmla="*/ 920461 h 1022551"/>
                <a:gd name="connsiteX1061" fmla="*/ 428056 w 993885"/>
                <a:gd name="connsiteY1061" fmla="*/ 921419 h 1022551"/>
                <a:gd name="connsiteX1062" fmla="*/ 426372 w 993885"/>
                <a:gd name="connsiteY1062" fmla="*/ 924765 h 1022551"/>
                <a:gd name="connsiteX1063" fmla="*/ 425674 w 993885"/>
                <a:gd name="connsiteY1063" fmla="*/ 925281 h 1022551"/>
                <a:gd name="connsiteX1064" fmla="*/ 421378 w 993885"/>
                <a:gd name="connsiteY1064" fmla="*/ 925205 h 1022551"/>
                <a:gd name="connsiteX1065" fmla="*/ 417107 w 993885"/>
                <a:gd name="connsiteY1065" fmla="*/ 924664 h 1022551"/>
                <a:gd name="connsiteX1066" fmla="*/ 415672 w 993885"/>
                <a:gd name="connsiteY1066" fmla="*/ 922623 h 1022551"/>
                <a:gd name="connsiteX1067" fmla="*/ 416813 w 993885"/>
                <a:gd name="connsiteY1067" fmla="*/ 921294 h 1022551"/>
                <a:gd name="connsiteX1068" fmla="*/ 420836 w 993885"/>
                <a:gd name="connsiteY1068" fmla="*/ 918349 h 1022551"/>
                <a:gd name="connsiteX1069" fmla="*/ 423062 w 993885"/>
                <a:gd name="connsiteY1069" fmla="*/ 915727 h 1022551"/>
                <a:gd name="connsiteX1070" fmla="*/ 423487 w 993885"/>
                <a:gd name="connsiteY1070" fmla="*/ 913427 h 1022551"/>
                <a:gd name="connsiteX1071" fmla="*/ 425415 w 993885"/>
                <a:gd name="connsiteY1071" fmla="*/ 911364 h 1022551"/>
                <a:gd name="connsiteX1072" fmla="*/ 428846 w 993885"/>
                <a:gd name="connsiteY1072" fmla="*/ 909537 h 1022551"/>
                <a:gd name="connsiteX1073" fmla="*/ 432668 w 993885"/>
                <a:gd name="connsiteY1073" fmla="*/ 906175 h 1022551"/>
                <a:gd name="connsiteX1074" fmla="*/ 436881 w 993885"/>
                <a:gd name="connsiteY1074" fmla="*/ 901280 h 1022551"/>
                <a:gd name="connsiteX1075" fmla="*/ 439440 w 993885"/>
                <a:gd name="connsiteY1075" fmla="*/ 897670 h 1022551"/>
                <a:gd name="connsiteX1076" fmla="*/ 440345 w 993885"/>
                <a:gd name="connsiteY1076" fmla="*/ 895341 h 1022551"/>
                <a:gd name="connsiteX1077" fmla="*/ 441998 w 993885"/>
                <a:gd name="connsiteY1077" fmla="*/ 893548 h 1022551"/>
                <a:gd name="connsiteX1078" fmla="*/ 444399 w 993885"/>
                <a:gd name="connsiteY1078" fmla="*/ 892288 h 1022551"/>
                <a:gd name="connsiteX1079" fmla="*/ 446496 w 993885"/>
                <a:gd name="connsiteY1079" fmla="*/ 889661 h 1022551"/>
                <a:gd name="connsiteX1080" fmla="*/ 448294 w 993885"/>
                <a:gd name="connsiteY1080" fmla="*/ 885668 h 1022551"/>
                <a:gd name="connsiteX1081" fmla="*/ 450749 w 993885"/>
                <a:gd name="connsiteY1081" fmla="*/ 882492 h 1022551"/>
                <a:gd name="connsiteX1082" fmla="*/ 453859 w 993885"/>
                <a:gd name="connsiteY1082" fmla="*/ 880140 h 1022551"/>
                <a:gd name="connsiteX1083" fmla="*/ 455600 w 993885"/>
                <a:gd name="connsiteY1083" fmla="*/ 878188 h 1022551"/>
                <a:gd name="connsiteX1084" fmla="*/ 455970 w 993885"/>
                <a:gd name="connsiteY1084" fmla="*/ 876640 h 1022551"/>
                <a:gd name="connsiteX1085" fmla="*/ 456851 w 993885"/>
                <a:gd name="connsiteY1085" fmla="*/ 875650 h 1022551"/>
                <a:gd name="connsiteX1086" fmla="*/ 458239 w 993885"/>
                <a:gd name="connsiteY1086" fmla="*/ 875217 h 1022551"/>
                <a:gd name="connsiteX1087" fmla="*/ 458911 w 993885"/>
                <a:gd name="connsiteY1087" fmla="*/ 874403 h 1022551"/>
                <a:gd name="connsiteX1088" fmla="*/ 458866 w 993885"/>
                <a:gd name="connsiteY1088" fmla="*/ 873204 h 1022551"/>
                <a:gd name="connsiteX1089" fmla="*/ 459244 w 993885"/>
                <a:gd name="connsiteY1089" fmla="*/ 872389 h 1022551"/>
                <a:gd name="connsiteX1090" fmla="*/ 460046 w 993885"/>
                <a:gd name="connsiteY1090" fmla="*/ 871955 h 1022551"/>
                <a:gd name="connsiteX1091" fmla="*/ 461385 w 993885"/>
                <a:gd name="connsiteY1091" fmla="*/ 872107 h 1022551"/>
                <a:gd name="connsiteX1092" fmla="*/ 463264 w 993885"/>
                <a:gd name="connsiteY1092" fmla="*/ 872846 h 1022551"/>
                <a:gd name="connsiteX1093" fmla="*/ 464398 w 993885"/>
                <a:gd name="connsiteY1093" fmla="*/ 872709 h 1022551"/>
                <a:gd name="connsiteX1094" fmla="*/ 464785 w 993885"/>
                <a:gd name="connsiteY1094" fmla="*/ 871700 h 1022551"/>
                <a:gd name="connsiteX1095" fmla="*/ 464290 w 993885"/>
                <a:gd name="connsiteY1095" fmla="*/ 870543 h 1022551"/>
                <a:gd name="connsiteX1096" fmla="*/ 462908 w 993885"/>
                <a:gd name="connsiteY1096" fmla="*/ 869243 h 1022551"/>
                <a:gd name="connsiteX1097" fmla="*/ 463429 w 993885"/>
                <a:gd name="connsiteY1097" fmla="*/ 867832 h 1022551"/>
                <a:gd name="connsiteX1098" fmla="*/ 467057 w 993885"/>
                <a:gd name="connsiteY1098" fmla="*/ 865550 h 1022551"/>
                <a:gd name="connsiteX1099" fmla="*/ 469738 w 993885"/>
                <a:gd name="connsiteY1099" fmla="*/ 864682 h 1022551"/>
                <a:gd name="connsiteX1100" fmla="*/ 471433 w 993885"/>
                <a:gd name="connsiteY1100" fmla="*/ 863267 h 1022551"/>
                <a:gd name="connsiteX1101" fmla="*/ 473039 w 993885"/>
                <a:gd name="connsiteY1101" fmla="*/ 861023 h 1022551"/>
                <a:gd name="connsiteX1102" fmla="*/ 475643 w 993885"/>
                <a:gd name="connsiteY1102" fmla="*/ 859457 h 1022551"/>
                <a:gd name="connsiteX1103" fmla="*/ 479250 w 993885"/>
                <a:gd name="connsiteY1103" fmla="*/ 858579 h 1022551"/>
                <a:gd name="connsiteX1104" fmla="*/ 480205 w 993885"/>
                <a:gd name="connsiteY1104" fmla="*/ 857733 h 1022551"/>
                <a:gd name="connsiteX1105" fmla="*/ 480074 w 993885"/>
                <a:gd name="connsiteY1105" fmla="*/ 856647 h 1022551"/>
                <a:gd name="connsiteX1106" fmla="*/ 480812 w 993885"/>
                <a:gd name="connsiteY1106" fmla="*/ 855866 h 1022551"/>
                <a:gd name="connsiteX1107" fmla="*/ 482942 w 993885"/>
                <a:gd name="connsiteY1107" fmla="*/ 855302 h 1022551"/>
                <a:gd name="connsiteX1108" fmla="*/ 484101 w 993885"/>
                <a:gd name="connsiteY1108" fmla="*/ 854245 h 1022551"/>
                <a:gd name="connsiteX1109" fmla="*/ 484290 w 993885"/>
                <a:gd name="connsiteY1109" fmla="*/ 852695 h 1022551"/>
                <a:gd name="connsiteX1110" fmla="*/ 484975 w 993885"/>
                <a:gd name="connsiteY1110" fmla="*/ 851252 h 1022551"/>
                <a:gd name="connsiteX1111" fmla="*/ 486158 w 993885"/>
                <a:gd name="connsiteY1111" fmla="*/ 849921 h 1022551"/>
                <a:gd name="connsiteX1112" fmla="*/ 487476 w 993885"/>
                <a:gd name="connsiteY1112" fmla="*/ 849426 h 1022551"/>
                <a:gd name="connsiteX1113" fmla="*/ 488931 w 993885"/>
                <a:gd name="connsiteY1113" fmla="*/ 849766 h 1022551"/>
                <a:gd name="connsiteX1114" fmla="*/ 490296 w 993885"/>
                <a:gd name="connsiteY1114" fmla="*/ 849264 h 1022551"/>
                <a:gd name="connsiteX1115" fmla="*/ 491575 w 993885"/>
                <a:gd name="connsiteY1115" fmla="*/ 847913 h 1022551"/>
                <a:gd name="connsiteX1116" fmla="*/ 493109 w 993885"/>
                <a:gd name="connsiteY1116" fmla="*/ 847282 h 1022551"/>
                <a:gd name="connsiteX1117" fmla="*/ 494900 w 993885"/>
                <a:gd name="connsiteY1117" fmla="*/ 847370 h 1022551"/>
                <a:gd name="connsiteX1118" fmla="*/ 495817 w 993885"/>
                <a:gd name="connsiteY1118" fmla="*/ 847074 h 1022551"/>
                <a:gd name="connsiteX1119" fmla="*/ 498889 w 993885"/>
                <a:gd name="connsiteY1119" fmla="*/ 846447 h 1022551"/>
                <a:gd name="connsiteX1120" fmla="*/ 500585 w 993885"/>
                <a:gd name="connsiteY1120" fmla="*/ 845313 h 1022551"/>
                <a:gd name="connsiteX1121" fmla="*/ 501977 w 993885"/>
                <a:gd name="connsiteY1121" fmla="*/ 842788 h 1022551"/>
                <a:gd name="connsiteX1122" fmla="*/ 503214 w 993885"/>
                <a:gd name="connsiteY1122" fmla="*/ 841810 h 1022551"/>
                <a:gd name="connsiteX1123" fmla="*/ 504294 w 993885"/>
                <a:gd name="connsiteY1123" fmla="*/ 842380 h 1022551"/>
                <a:gd name="connsiteX1124" fmla="*/ 506162 w 993885"/>
                <a:gd name="connsiteY1124" fmla="*/ 841535 h 1022551"/>
                <a:gd name="connsiteX1125" fmla="*/ 508819 w 993885"/>
                <a:gd name="connsiteY1125" fmla="*/ 839279 h 1022551"/>
                <a:gd name="connsiteX1126" fmla="*/ 509320 w 993885"/>
                <a:gd name="connsiteY1126" fmla="*/ 839237 h 1022551"/>
                <a:gd name="connsiteX1127" fmla="*/ 511284 w 993885"/>
                <a:gd name="connsiteY1127" fmla="*/ 838186 h 1022551"/>
                <a:gd name="connsiteX1128" fmla="*/ 513304 w 993885"/>
                <a:gd name="connsiteY1128" fmla="*/ 834292 h 1022551"/>
                <a:gd name="connsiteX1129" fmla="*/ 514349 w 993885"/>
                <a:gd name="connsiteY1129" fmla="*/ 831688 h 1022551"/>
                <a:gd name="connsiteX1130" fmla="*/ 514099 w 993885"/>
                <a:gd name="connsiteY1130" fmla="*/ 829559 h 1022551"/>
                <a:gd name="connsiteX1131" fmla="*/ 513436 w 993885"/>
                <a:gd name="connsiteY1131" fmla="*/ 828032 h 1022551"/>
                <a:gd name="connsiteX1132" fmla="*/ 513657 w 993885"/>
                <a:gd name="connsiteY1132" fmla="*/ 825796 h 1022551"/>
                <a:gd name="connsiteX1133" fmla="*/ 514327 w 993885"/>
                <a:gd name="connsiteY1133" fmla="*/ 819721 h 1022551"/>
                <a:gd name="connsiteX1134" fmla="*/ 514510 w 993885"/>
                <a:gd name="connsiteY1134" fmla="*/ 817238 h 1022551"/>
                <a:gd name="connsiteX1135" fmla="*/ 515585 w 993885"/>
                <a:gd name="connsiteY1135" fmla="*/ 815509 h 1022551"/>
                <a:gd name="connsiteX1136" fmla="*/ 515515 w 993885"/>
                <a:gd name="connsiteY1136" fmla="*/ 813794 h 1022551"/>
                <a:gd name="connsiteX1137" fmla="*/ 513598 w 993885"/>
                <a:gd name="connsiteY1137" fmla="*/ 809956 h 1022551"/>
                <a:gd name="connsiteX1138" fmla="*/ 511663 w 993885"/>
                <a:gd name="connsiteY1138" fmla="*/ 806590 h 1022551"/>
                <a:gd name="connsiteX1139" fmla="*/ 510624 w 993885"/>
                <a:gd name="connsiteY1139" fmla="*/ 800878 h 1022551"/>
                <a:gd name="connsiteX1140" fmla="*/ 509941 w 993885"/>
                <a:gd name="connsiteY1140" fmla="*/ 798712 h 1022551"/>
                <a:gd name="connsiteX1141" fmla="*/ 508327 w 993885"/>
                <a:gd name="connsiteY1141" fmla="*/ 798137 h 1022551"/>
                <a:gd name="connsiteX1142" fmla="*/ 506869 w 993885"/>
                <a:gd name="connsiteY1142" fmla="*/ 796250 h 1022551"/>
                <a:gd name="connsiteX1143" fmla="*/ 505025 w 993885"/>
                <a:gd name="connsiteY1143" fmla="*/ 796087 h 1022551"/>
                <a:gd name="connsiteX1144" fmla="*/ 504157 w 993885"/>
                <a:gd name="connsiteY1144" fmla="*/ 795364 h 1022551"/>
                <a:gd name="connsiteX1145" fmla="*/ 503261 w 993885"/>
                <a:gd name="connsiteY1145" fmla="*/ 794765 h 1022551"/>
                <a:gd name="connsiteX1146" fmla="*/ 501954 w 993885"/>
                <a:gd name="connsiteY1146" fmla="*/ 794942 h 1022551"/>
                <a:gd name="connsiteX1147" fmla="*/ 500839 w 993885"/>
                <a:gd name="connsiteY1147" fmla="*/ 796047 h 1022551"/>
                <a:gd name="connsiteX1148" fmla="*/ 498765 w 993885"/>
                <a:gd name="connsiteY1148" fmla="*/ 796087 h 1022551"/>
                <a:gd name="connsiteX1149" fmla="*/ 497460 w 993885"/>
                <a:gd name="connsiteY1149" fmla="*/ 796541 h 1022551"/>
                <a:gd name="connsiteX1150" fmla="*/ 495923 w 993885"/>
                <a:gd name="connsiteY1150" fmla="*/ 797524 h 1022551"/>
                <a:gd name="connsiteX1151" fmla="*/ 494463 w 993885"/>
                <a:gd name="connsiteY1151" fmla="*/ 797072 h 1022551"/>
                <a:gd name="connsiteX1152" fmla="*/ 493543 w 993885"/>
                <a:gd name="connsiteY1152" fmla="*/ 796211 h 1022551"/>
                <a:gd name="connsiteX1153" fmla="*/ 491565 w 993885"/>
                <a:gd name="connsiteY1153" fmla="*/ 796199 h 1022551"/>
                <a:gd name="connsiteX1154" fmla="*/ 491700 w 993885"/>
                <a:gd name="connsiteY1154" fmla="*/ 792321 h 1022551"/>
                <a:gd name="connsiteX1155" fmla="*/ 495184 w 993885"/>
                <a:gd name="connsiteY1155" fmla="*/ 786577 h 1022551"/>
                <a:gd name="connsiteX1156" fmla="*/ 496119 w 993885"/>
                <a:gd name="connsiteY1156" fmla="*/ 783906 h 1022551"/>
                <a:gd name="connsiteX1157" fmla="*/ 495666 w 993885"/>
                <a:gd name="connsiteY1157" fmla="*/ 782393 h 1022551"/>
                <a:gd name="connsiteX1158" fmla="*/ 496709 w 993885"/>
                <a:gd name="connsiteY1158" fmla="*/ 777058 h 1022551"/>
                <a:gd name="connsiteX1159" fmla="*/ 499245 w 993885"/>
                <a:gd name="connsiteY1159" fmla="*/ 767914 h 1022551"/>
                <a:gd name="connsiteX1160" fmla="*/ 500055 w 993885"/>
                <a:gd name="connsiteY1160" fmla="*/ 761940 h 1022551"/>
                <a:gd name="connsiteX1161" fmla="*/ 499135 w 993885"/>
                <a:gd name="connsiteY1161" fmla="*/ 759122 h 1022551"/>
                <a:gd name="connsiteX1162" fmla="*/ 499111 w 993885"/>
                <a:gd name="connsiteY1162" fmla="*/ 757157 h 1022551"/>
                <a:gd name="connsiteX1163" fmla="*/ 500413 w 993885"/>
                <a:gd name="connsiteY1163" fmla="*/ 755484 h 1022551"/>
                <a:gd name="connsiteX1164" fmla="*/ 501049 w 993885"/>
                <a:gd name="connsiteY1164" fmla="*/ 754985 h 1022551"/>
                <a:gd name="connsiteX1165" fmla="*/ 497779 w 993885"/>
                <a:gd name="connsiteY1165" fmla="*/ 752943 h 1022551"/>
                <a:gd name="connsiteX1166" fmla="*/ 496018 w 993885"/>
                <a:gd name="connsiteY1166" fmla="*/ 751079 h 1022551"/>
                <a:gd name="connsiteX1167" fmla="*/ 493752 w 993885"/>
                <a:gd name="connsiteY1167" fmla="*/ 749748 h 1022551"/>
                <a:gd name="connsiteX1168" fmla="*/ 491320 w 993885"/>
                <a:gd name="connsiteY1168" fmla="*/ 748684 h 1022551"/>
                <a:gd name="connsiteX1169" fmla="*/ 490147 w 993885"/>
                <a:gd name="connsiteY1169" fmla="*/ 749126 h 1022551"/>
                <a:gd name="connsiteX1170" fmla="*/ 488889 w 993885"/>
                <a:gd name="connsiteY1170" fmla="*/ 749748 h 1022551"/>
                <a:gd name="connsiteX1171" fmla="*/ 486457 w 993885"/>
                <a:gd name="connsiteY1171" fmla="*/ 750723 h 1022551"/>
                <a:gd name="connsiteX1172" fmla="*/ 483689 w 993885"/>
                <a:gd name="connsiteY1172" fmla="*/ 752411 h 1022551"/>
                <a:gd name="connsiteX1173" fmla="*/ 482264 w 993885"/>
                <a:gd name="connsiteY1173" fmla="*/ 753032 h 1022551"/>
                <a:gd name="connsiteX1174" fmla="*/ 479748 w 993885"/>
                <a:gd name="connsiteY1174" fmla="*/ 753654 h 1022551"/>
                <a:gd name="connsiteX1175" fmla="*/ 476897 w 993885"/>
                <a:gd name="connsiteY1175" fmla="*/ 754186 h 1022551"/>
                <a:gd name="connsiteX1176" fmla="*/ 474550 w 993885"/>
                <a:gd name="connsiteY1176" fmla="*/ 753831 h 1022551"/>
                <a:gd name="connsiteX1177" fmla="*/ 472536 w 993885"/>
                <a:gd name="connsiteY1177" fmla="*/ 753475 h 1022551"/>
                <a:gd name="connsiteX1178" fmla="*/ 471278 w 993885"/>
                <a:gd name="connsiteY1178" fmla="*/ 752411 h 1022551"/>
                <a:gd name="connsiteX1179" fmla="*/ 470607 w 993885"/>
                <a:gd name="connsiteY1179" fmla="*/ 750101 h 1022551"/>
                <a:gd name="connsiteX1180" fmla="*/ 470607 w 993885"/>
                <a:gd name="connsiteY1180" fmla="*/ 748149 h 1022551"/>
                <a:gd name="connsiteX1181" fmla="*/ 470189 w 993885"/>
                <a:gd name="connsiteY1181" fmla="*/ 745310 h 1022551"/>
                <a:gd name="connsiteX1182" fmla="*/ 468678 w 993885"/>
                <a:gd name="connsiteY1182" fmla="*/ 743716 h 1022551"/>
                <a:gd name="connsiteX1183" fmla="*/ 468175 w 993885"/>
                <a:gd name="connsiteY1183" fmla="*/ 742476 h 1022551"/>
                <a:gd name="connsiteX1184" fmla="*/ 468091 w 993885"/>
                <a:gd name="connsiteY1184" fmla="*/ 740969 h 1022551"/>
                <a:gd name="connsiteX1185" fmla="*/ 468260 w 993885"/>
                <a:gd name="connsiteY1185" fmla="*/ 739287 h 1022551"/>
                <a:gd name="connsiteX1186" fmla="*/ 468678 w 993885"/>
                <a:gd name="connsiteY1186" fmla="*/ 738048 h 1022551"/>
                <a:gd name="connsiteX1187" fmla="*/ 468427 w 993885"/>
                <a:gd name="connsiteY1187" fmla="*/ 736542 h 1022551"/>
                <a:gd name="connsiteX1188" fmla="*/ 467755 w 993885"/>
                <a:gd name="connsiteY1188" fmla="*/ 735478 h 1022551"/>
                <a:gd name="connsiteX1189" fmla="*/ 467924 w 993885"/>
                <a:gd name="connsiteY1189" fmla="*/ 733620 h 1022551"/>
                <a:gd name="connsiteX1190" fmla="*/ 467589 w 993885"/>
                <a:gd name="connsiteY1190" fmla="*/ 731055 h 1022551"/>
                <a:gd name="connsiteX1191" fmla="*/ 466582 w 993885"/>
                <a:gd name="connsiteY1191" fmla="*/ 729462 h 1022551"/>
                <a:gd name="connsiteX1192" fmla="*/ 466078 w 993885"/>
                <a:gd name="connsiteY1192" fmla="*/ 727607 h 1022551"/>
                <a:gd name="connsiteX1193" fmla="*/ 466078 w 993885"/>
                <a:gd name="connsiteY1193" fmla="*/ 725750 h 1022551"/>
                <a:gd name="connsiteX1194" fmla="*/ 465324 w 993885"/>
                <a:gd name="connsiteY1194" fmla="*/ 723896 h 1022551"/>
                <a:gd name="connsiteX1195" fmla="*/ 465239 w 993885"/>
                <a:gd name="connsiteY1195" fmla="*/ 721864 h 1022551"/>
                <a:gd name="connsiteX1196" fmla="*/ 465911 w 993885"/>
                <a:gd name="connsiteY1196" fmla="*/ 720011 h 1022551"/>
                <a:gd name="connsiteX1197" fmla="*/ 466162 w 993885"/>
                <a:gd name="connsiteY1197" fmla="*/ 718158 h 1022551"/>
                <a:gd name="connsiteX1198" fmla="*/ 465408 w 993885"/>
                <a:gd name="connsiteY1198" fmla="*/ 716835 h 1022551"/>
                <a:gd name="connsiteX1199" fmla="*/ 463982 w 993885"/>
                <a:gd name="connsiteY1199" fmla="*/ 716040 h 1022551"/>
                <a:gd name="connsiteX1200" fmla="*/ 462892 w 993885"/>
                <a:gd name="connsiteY1200" fmla="*/ 713923 h 1022551"/>
                <a:gd name="connsiteX1201" fmla="*/ 462723 w 993885"/>
                <a:gd name="connsiteY1201" fmla="*/ 711189 h 1022551"/>
                <a:gd name="connsiteX1202" fmla="*/ 461550 w 993885"/>
                <a:gd name="connsiteY1202" fmla="*/ 709691 h 1022551"/>
                <a:gd name="connsiteX1203" fmla="*/ 460292 w 993885"/>
                <a:gd name="connsiteY1203" fmla="*/ 708458 h 1022551"/>
                <a:gd name="connsiteX1204" fmla="*/ 458867 w 993885"/>
                <a:gd name="connsiteY1204" fmla="*/ 708458 h 1022551"/>
                <a:gd name="connsiteX1205" fmla="*/ 456686 w 993885"/>
                <a:gd name="connsiteY1205" fmla="*/ 707753 h 1022551"/>
                <a:gd name="connsiteX1206" fmla="*/ 454757 w 993885"/>
                <a:gd name="connsiteY1206" fmla="*/ 707841 h 1022551"/>
                <a:gd name="connsiteX1207" fmla="*/ 451654 w 993885"/>
                <a:gd name="connsiteY1207" fmla="*/ 707753 h 1022551"/>
                <a:gd name="connsiteX1208" fmla="*/ 450229 w 993885"/>
                <a:gd name="connsiteY1208" fmla="*/ 707314 h 1022551"/>
                <a:gd name="connsiteX1209" fmla="*/ 449475 w 993885"/>
                <a:gd name="connsiteY1209" fmla="*/ 706342 h 1022551"/>
                <a:gd name="connsiteX1210" fmla="*/ 447545 w 993885"/>
                <a:gd name="connsiteY1210" fmla="*/ 705022 h 1022551"/>
                <a:gd name="connsiteX1211" fmla="*/ 446455 w 993885"/>
                <a:gd name="connsiteY1211" fmla="*/ 702735 h 1022551"/>
                <a:gd name="connsiteX1212" fmla="*/ 445113 w 993885"/>
                <a:gd name="connsiteY1212" fmla="*/ 702295 h 1022551"/>
                <a:gd name="connsiteX1213" fmla="*/ 443186 w 993885"/>
                <a:gd name="connsiteY1213" fmla="*/ 702997 h 1022551"/>
                <a:gd name="connsiteX1214" fmla="*/ 442515 w 993885"/>
                <a:gd name="connsiteY1214" fmla="*/ 703878 h 1022551"/>
                <a:gd name="connsiteX1215" fmla="*/ 441759 w 993885"/>
                <a:gd name="connsiteY1215" fmla="*/ 705111 h 1022551"/>
                <a:gd name="connsiteX1216" fmla="*/ 440417 w 993885"/>
                <a:gd name="connsiteY1216" fmla="*/ 706520 h 1022551"/>
                <a:gd name="connsiteX1217" fmla="*/ 438657 w 993885"/>
                <a:gd name="connsiteY1217" fmla="*/ 706432 h 1022551"/>
                <a:gd name="connsiteX1218" fmla="*/ 436812 w 993885"/>
                <a:gd name="connsiteY1218" fmla="*/ 707224 h 1022551"/>
                <a:gd name="connsiteX1219" fmla="*/ 435050 w 993885"/>
                <a:gd name="connsiteY1219" fmla="*/ 707314 h 1022551"/>
                <a:gd name="connsiteX1220" fmla="*/ 432702 w 993885"/>
                <a:gd name="connsiteY1220" fmla="*/ 707490 h 1022551"/>
                <a:gd name="connsiteX1221" fmla="*/ 430354 w 993885"/>
                <a:gd name="connsiteY1221" fmla="*/ 706785 h 1022551"/>
                <a:gd name="connsiteX1222" fmla="*/ 427503 w 993885"/>
                <a:gd name="connsiteY1222" fmla="*/ 705991 h 1022551"/>
                <a:gd name="connsiteX1223" fmla="*/ 425071 w 993885"/>
                <a:gd name="connsiteY1223" fmla="*/ 705464 h 1022551"/>
                <a:gd name="connsiteX1224" fmla="*/ 422722 w 993885"/>
                <a:gd name="connsiteY1224" fmla="*/ 705991 h 1022551"/>
                <a:gd name="connsiteX1225" fmla="*/ 421130 w 993885"/>
                <a:gd name="connsiteY1225" fmla="*/ 705550 h 1022551"/>
                <a:gd name="connsiteX1226" fmla="*/ 419032 w 993885"/>
                <a:gd name="connsiteY1226" fmla="*/ 705287 h 1022551"/>
                <a:gd name="connsiteX1227" fmla="*/ 416685 w 993885"/>
                <a:gd name="connsiteY1227" fmla="*/ 705111 h 1022551"/>
                <a:gd name="connsiteX1228" fmla="*/ 414840 w 993885"/>
                <a:gd name="connsiteY1228" fmla="*/ 703701 h 1022551"/>
                <a:gd name="connsiteX1229" fmla="*/ 412827 w 993885"/>
                <a:gd name="connsiteY1229" fmla="*/ 702909 h 1022551"/>
                <a:gd name="connsiteX1230" fmla="*/ 411738 w 993885"/>
                <a:gd name="connsiteY1230" fmla="*/ 703174 h 1022551"/>
                <a:gd name="connsiteX1231" fmla="*/ 410311 w 993885"/>
                <a:gd name="connsiteY1231" fmla="*/ 704055 h 1022551"/>
                <a:gd name="connsiteX1232" fmla="*/ 408802 w 993885"/>
                <a:gd name="connsiteY1232" fmla="*/ 703878 h 1022551"/>
                <a:gd name="connsiteX1233" fmla="*/ 406874 w 993885"/>
                <a:gd name="connsiteY1233" fmla="*/ 703174 h 1022551"/>
                <a:gd name="connsiteX1234" fmla="*/ 406118 w 993885"/>
                <a:gd name="connsiteY1234" fmla="*/ 701503 h 1022551"/>
                <a:gd name="connsiteX1235" fmla="*/ 406286 w 993885"/>
                <a:gd name="connsiteY1235" fmla="*/ 700446 h 1022551"/>
                <a:gd name="connsiteX1236" fmla="*/ 406706 w 993885"/>
                <a:gd name="connsiteY1236" fmla="*/ 699391 h 1022551"/>
                <a:gd name="connsiteX1237" fmla="*/ 407460 w 993885"/>
                <a:gd name="connsiteY1237" fmla="*/ 697894 h 1022551"/>
                <a:gd name="connsiteX1238" fmla="*/ 407040 w 993885"/>
                <a:gd name="connsiteY1238" fmla="*/ 696311 h 1022551"/>
                <a:gd name="connsiteX1239" fmla="*/ 407208 w 993885"/>
                <a:gd name="connsiteY1239" fmla="*/ 694906 h 1022551"/>
                <a:gd name="connsiteX1240" fmla="*/ 407544 w 993885"/>
                <a:gd name="connsiteY1240" fmla="*/ 693674 h 1022551"/>
                <a:gd name="connsiteX1241" fmla="*/ 407879 w 993885"/>
                <a:gd name="connsiteY1241" fmla="*/ 692270 h 1022551"/>
                <a:gd name="connsiteX1242" fmla="*/ 407627 w 993885"/>
                <a:gd name="connsiteY1242" fmla="*/ 690952 h 1022551"/>
                <a:gd name="connsiteX1243" fmla="*/ 407544 w 993885"/>
                <a:gd name="connsiteY1243" fmla="*/ 689546 h 1022551"/>
                <a:gd name="connsiteX1244" fmla="*/ 407376 w 993885"/>
                <a:gd name="connsiteY1244" fmla="*/ 688230 h 1022551"/>
                <a:gd name="connsiteX1245" fmla="*/ 407125 w 993885"/>
                <a:gd name="connsiteY1245" fmla="*/ 686824 h 1022551"/>
                <a:gd name="connsiteX1246" fmla="*/ 408130 w 993885"/>
                <a:gd name="connsiteY1246" fmla="*/ 684806 h 1022551"/>
                <a:gd name="connsiteX1247" fmla="*/ 408969 w 993885"/>
                <a:gd name="connsiteY1247" fmla="*/ 683137 h 1022551"/>
                <a:gd name="connsiteX1248" fmla="*/ 408466 w 993885"/>
                <a:gd name="connsiteY1248" fmla="*/ 681736 h 1022551"/>
                <a:gd name="connsiteX1249" fmla="*/ 408634 w 993885"/>
                <a:gd name="connsiteY1249" fmla="*/ 680769 h 1022551"/>
                <a:gd name="connsiteX1250" fmla="*/ 409305 w 993885"/>
                <a:gd name="connsiteY1250" fmla="*/ 679190 h 1022551"/>
                <a:gd name="connsiteX1251" fmla="*/ 410143 w 993885"/>
                <a:gd name="connsiteY1251" fmla="*/ 677265 h 1022551"/>
                <a:gd name="connsiteX1252" fmla="*/ 410060 w 993885"/>
                <a:gd name="connsiteY1252" fmla="*/ 673671 h 1022551"/>
                <a:gd name="connsiteX1253" fmla="*/ 409305 w 993885"/>
                <a:gd name="connsiteY1253" fmla="*/ 671568 h 1022551"/>
                <a:gd name="connsiteX1254" fmla="*/ 408488 w 993885"/>
                <a:gd name="connsiteY1254" fmla="*/ 670999 h 1022551"/>
                <a:gd name="connsiteX1255" fmla="*/ 408278 w 993885"/>
                <a:gd name="connsiteY1255" fmla="*/ 670363 h 1022551"/>
                <a:gd name="connsiteX1256" fmla="*/ 408676 w 993885"/>
                <a:gd name="connsiteY1256" fmla="*/ 669534 h 1022551"/>
                <a:gd name="connsiteX1257" fmla="*/ 408243 w 993885"/>
                <a:gd name="connsiteY1257" fmla="*/ 668678 h 1022551"/>
                <a:gd name="connsiteX1258" fmla="*/ 408075 w 993885"/>
                <a:gd name="connsiteY1258" fmla="*/ 667804 h 1022551"/>
                <a:gd name="connsiteX1259" fmla="*/ 408509 w 993885"/>
                <a:gd name="connsiteY1259" fmla="*/ 667040 h 1022551"/>
                <a:gd name="connsiteX1260" fmla="*/ 407907 w 993885"/>
                <a:gd name="connsiteY1260" fmla="*/ 665528 h 1022551"/>
                <a:gd name="connsiteX1261" fmla="*/ 406706 w 993885"/>
                <a:gd name="connsiteY1261" fmla="*/ 665091 h 1022551"/>
                <a:gd name="connsiteX1262" fmla="*/ 406286 w 993885"/>
                <a:gd name="connsiteY1262" fmla="*/ 664654 h 1022551"/>
                <a:gd name="connsiteX1263" fmla="*/ 405867 w 993885"/>
                <a:gd name="connsiteY1263" fmla="*/ 662992 h 1022551"/>
                <a:gd name="connsiteX1264" fmla="*/ 405531 w 993885"/>
                <a:gd name="connsiteY1264" fmla="*/ 661069 h 1022551"/>
                <a:gd name="connsiteX1265" fmla="*/ 405698 w 993885"/>
                <a:gd name="connsiteY1265" fmla="*/ 659581 h 1022551"/>
                <a:gd name="connsiteX1266" fmla="*/ 405111 w 993885"/>
                <a:gd name="connsiteY1266" fmla="*/ 658271 h 1022551"/>
                <a:gd name="connsiteX1267" fmla="*/ 404273 w 993885"/>
                <a:gd name="connsiteY1267" fmla="*/ 657486 h 1022551"/>
                <a:gd name="connsiteX1268" fmla="*/ 403435 w 993885"/>
                <a:gd name="connsiteY1268" fmla="*/ 656088 h 1022551"/>
                <a:gd name="connsiteX1269" fmla="*/ 402595 w 993885"/>
                <a:gd name="connsiteY1269" fmla="*/ 655039 h 1022551"/>
                <a:gd name="connsiteX1270" fmla="*/ 402261 w 993885"/>
                <a:gd name="connsiteY1270" fmla="*/ 653555 h 1022551"/>
                <a:gd name="connsiteX1271" fmla="*/ 401704 w 993885"/>
                <a:gd name="connsiteY1271" fmla="*/ 651637 h 1022551"/>
                <a:gd name="connsiteX1272" fmla="*/ 403378 w 993885"/>
                <a:gd name="connsiteY1272" fmla="*/ 651279 h 1022551"/>
                <a:gd name="connsiteX1273" fmla="*/ 404040 w 993885"/>
                <a:gd name="connsiteY1273" fmla="*/ 650205 h 1022551"/>
                <a:gd name="connsiteX1274" fmla="*/ 405219 w 993885"/>
                <a:gd name="connsiteY1274" fmla="*/ 648748 h 1022551"/>
                <a:gd name="connsiteX1275" fmla="*/ 406765 w 993885"/>
                <a:gd name="connsiteY1275" fmla="*/ 648368 h 1022551"/>
                <a:gd name="connsiteX1276" fmla="*/ 408605 w 993885"/>
                <a:gd name="connsiteY1276" fmla="*/ 647832 h 1022551"/>
                <a:gd name="connsiteX1277" fmla="*/ 409286 w 993885"/>
                <a:gd name="connsiteY1277" fmla="*/ 646755 h 1022551"/>
                <a:gd name="connsiteX1278" fmla="*/ 404996 w 993885"/>
                <a:gd name="connsiteY1278" fmla="*/ 642882 h 1022551"/>
                <a:gd name="connsiteX1279" fmla="*/ 402421 w 993885"/>
                <a:gd name="connsiteY1279" fmla="*/ 640557 h 1022551"/>
                <a:gd name="connsiteX1280" fmla="*/ 403929 w 993885"/>
                <a:gd name="connsiteY1280" fmla="*/ 637416 h 1022551"/>
                <a:gd name="connsiteX1281" fmla="*/ 406473 w 993885"/>
                <a:gd name="connsiteY1281" fmla="*/ 632122 h 1022551"/>
                <a:gd name="connsiteX1282" fmla="*/ 408937 w 993885"/>
                <a:gd name="connsiteY1282" fmla="*/ 627000 h 1022551"/>
                <a:gd name="connsiteX1283" fmla="*/ 410816 w 993885"/>
                <a:gd name="connsiteY1283" fmla="*/ 623094 h 1022551"/>
                <a:gd name="connsiteX1284" fmla="*/ 411296 w 993885"/>
                <a:gd name="connsiteY1284" fmla="*/ 622373 h 1022551"/>
                <a:gd name="connsiteX1285" fmla="*/ 412936 w 993885"/>
                <a:gd name="connsiteY1285" fmla="*/ 622124 h 1022551"/>
                <a:gd name="connsiteX1286" fmla="*/ 412637 w 993885"/>
                <a:gd name="connsiteY1286" fmla="*/ 620110 h 1022551"/>
                <a:gd name="connsiteX1287" fmla="*/ 412580 w 993885"/>
                <a:gd name="connsiteY1287" fmla="*/ 618790 h 1022551"/>
                <a:gd name="connsiteX1288" fmla="*/ 411255 w 993885"/>
                <a:gd name="connsiteY1288" fmla="*/ 618713 h 1022551"/>
                <a:gd name="connsiteX1289" fmla="*/ 412728 w 993885"/>
                <a:gd name="connsiteY1289" fmla="*/ 613960 h 1022551"/>
                <a:gd name="connsiteX1290" fmla="*/ 414904 w 993885"/>
                <a:gd name="connsiteY1290" fmla="*/ 607185 h 1022551"/>
                <a:gd name="connsiteX1291" fmla="*/ 416556 w 993885"/>
                <a:gd name="connsiteY1291" fmla="*/ 602055 h 1022551"/>
                <a:gd name="connsiteX1292" fmla="*/ 417086 w 993885"/>
                <a:gd name="connsiteY1292" fmla="*/ 601195 h 1022551"/>
                <a:gd name="connsiteX1293" fmla="*/ 418277 w 993885"/>
                <a:gd name="connsiteY1293" fmla="*/ 600955 h 1022551"/>
                <a:gd name="connsiteX1294" fmla="*/ 418543 w 993885"/>
                <a:gd name="connsiteY1294" fmla="*/ 600361 h 1022551"/>
                <a:gd name="connsiteX1295" fmla="*/ 417114 w 993885"/>
                <a:gd name="connsiteY1295" fmla="*/ 599535 h 1022551"/>
                <a:gd name="connsiteX1296" fmla="*/ 416240 w 993885"/>
                <a:gd name="connsiteY1296" fmla="*/ 597942 h 1022551"/>
                <a:gd name="connsiteX1297" fmla="*/ 414334 w 993885"/>
                <a:gd name="connsiteY1297" fmla="*/ 593362 h 1022551"/>
                <a:gd name="connsiteX1298" fmla="*/ 411329 w 993885"/>
                <a:gd name="connsiteY1298" fmla="*/ 586152 h 1022551"/>
                <a:gd name="connsiteX1299" fmla="*/ 411108 w 993885"/>
                <a:gd name="connsiteY1299" fmla="*/ 583571 h 1022551"/>
                <a:gd name="connsiteX1300" fmla="*/ 410003 w 993885"/>
                <a:gd name="connsiteY1300" fmla="*/ 581978 h 1022551"/>
                <a:gd name="connsiteX1301" fmla="*/ 408162 w 993885"/>
                <a:gd name="connsiteY1301" fmla="*/ 582507 h 1022551"/>
                <a:gd name="connsiteX1302" fmla="*/ 405986 w 993885"/>
                <a:gd name="connsiteY1302" fmla="*/ 581999 h 1022551"/>
                <a:gd name="connsiteX1303" fmla="*/ 400543 w 993885"/>
                <a:gd name="connsiteY1303" fmla="*/ 578085 h 1022551"/>
                <a:gd name="connsiteX1304" fmla="*/ 396937 w 993885"/>
                <a:gd name="connsiteY1304" fmla="*/ 575971 h 1022551"/>
                <a:gd name="connsiteX1305" fmla="*/ 395714 w 993885"/>
                <a:gd name="connsiteY1305" fmla="*/ 574721 h 1022551"/>
                <a:gd name="connsiteX1306" fmla="*/ 395171 w 993885"/>
                <a:gd name="connsiteY1306" fmla="*/ 570710 h 1022551"/>
                <a:gd name="connsiteX1307" fmla="*/ 394096 w 993885"/>
                <a:gd name="connsiteY1307" fmla="*/ 566279 h 1022551"/>
                <a:gd name="connsiteX1308" fmla="*/ 393631 w 993885"/>
                <a:gd name="connsiteY1308" fmla="*/ 560802 h 1022551"/>
                <a:gd name="connsiteX1309" fmla="*/ 393823 w 993885"/>
                <a:gd name="connsiteY1309" fmla="*/ 559487 h 1022551"/>
                <a:gd name="connsiteX1310" fmla="*/ 396871 w 993885"/>
                <a:gd name="connsiteY1310" fmla="*/ 555335 h 1022551"/>
                <a:gd name="connsiteX1311" fmla="*/ 396860 w 993885"/>
                <a:gd name="connsiteY1311" fmla="*/ 553237 h 1022551"/>
                <a:gd name="connsiteX1312" fmla="*/ 397120 w 993885"/>
                <a:gd name="connsiteY1312" fmla="*/ 551407 h 1022551"/>
                <a:gd name="connsiteX1313" fmla="*/ 396991 w 993885"/>
                <a:gd name="connsiteY1313" fmla="*/ 549961 h 1022551"/>
                <a:gd name="connsiteX1314" fmla="*/ 396237 w 993885"/>
                <a:gd name="connsiteY1314" fmla="*/ 549940 h 1022551"/>
                <a:gd name="connsiteX1315" fmla="*/ 395012 w 993885"/>
                <a:gd name="connsiteY1315" fmla="*/ 550573 h 1022551"/>
                <a:gd name="connsiteX1316" fmla="*/ 393163 w 993885"/>
                <a:gd name="connsiteY1316" fmla="*/ 551060 h 1022551"/>
                <a:gd name="connsiteX1317" fmla="*/ 392115 w 993885"/>
                <a:gd name="connsiteY1317" fmla="*/ 551102 h 1022551"/>
                <a:gd name="connsiteX1318" fmla="*/ 381482 w 993885"/>
                <a:gd name="connsiteY1318" fmla="*/ 550710 h 1022551"/>
                <a:gd name="connsiteX1319" fmla="*/ 369387 w 993885"/>
                <a:gd name="connsiteY1319" fmla="*/ 550262 h 1022551"/>
                <a:gd name="connsiteX1320" fmla="*/ 359324 w 993885"/>
                <a:gd name="connsiteY1320" fmla="*/ 549892 h 1022551"/>
                <a:gd name="connsiteX1321" fmla="*/ 350590 w 993885"/>
                <a:gd name="connsiteY1321" fmla="*/ 549569 h 1022551"/>
                <a:gd name="connsiteX1322" fmla="*/ 350296 w 993885"/>
                <a:gd name="connsiteY1322" fmla="*/ 545999 h 1022551"/>
                <a:gd name="connsiteX1323" fmla="*/ 349802 w 993885"/>
                <a:gd name="connsiteY1323" fmla="*/ 540013 h 1022551"/>
                <a:gd name="connsiteX1324" fmla="*/ 349454 w 993885"/>
                <a:gd name="connsiteY1324" fmla="*/ 535770 h 1022551"/>
                <a:gd name="connsiteX1325" fmla="*/ 348898 w 993885"/>
                <a:gd name="connsiteY1325" fmla="*/ 529041 h 1022551"/>
                <a:gd name="connsiteX1326" fmla="*/ 345394 w 993885"/>
                <a:gd name="connsiteY1326" fmla="*/ 524855 h 1022551"/>
                <a:gd name="connsiteX1327" fmla="*/ 341592 w 993885"/>
                <a:gd name="connsiteY1327" fmla="*/ 520312 h 1022551"/>
                <a:gd name="connsiteX1328" fmla="*/ 340254 w 993885"/>
                <a:gd name="connsiteY1328" fmla="*/ 519150 h 1022551"/>
                <a:gd name="connsiteX1329" fmla="*/ 344849 w 993885"/>
                <a:gd name="connsiteY1329" fmla="*/ 519005 h 1022551"/>
                <a:gd name="connsiteX1330" fmla="*/ 348111 w 993885"/>
                <a:gd name="connsiteY1330" fmla="*/ 518902 h 1022551"/>
                <a:gd name="connsiteX1331" fmla="*/ 347464 w 993885"/>
                <a:gd name="connsiteY1331" fmla="*/ 506718 h 1022551"/>
                <a:gd name="connsiteX1332" fmla="*/ 346471 w 993885"/>
                <a:gd name="connsiteY1332" fmla="*/ 505474 h 1022551"/>
                <a:gd name="connsiteX1333" fmla="*/ 345592 w 993885"/>
                <a:gd name="connsiteY1333" fmla="*/ 501545 h 1022551"/>
                <a:gd name="connsiteX1334" fmla="*/ 344995 w 993885"/>
                <a:gd name="connsiteY1334" fmla="*/ 499322 h 1022551"/>
                <a:gd name="connsiteX1335" fmla="*/ 343374 w 993885"/>
                <a:gd name="connsiteY1335" fmla="*/ 497518 h 1022551"/>
                <a:gd name="connsiteX1336" fmla="*/ 343007 w 993885"/>
                <a:gd name="connsiteY1336" fmla="*/ 495492 h 1022551"/>
                <a:gd name="connsiteX1337" fmla="*/ 343303 w 993885"/>
                <a:gd name="connsiteY1337" fmla="*/ 494139 h 1022551"/>
                <a:gd name="connsiteX1338" fmla="*/ 344188 w 993885"/>
                <a:gd name="connsiteY1338" fmla="*/ 493300 h 1022551"/>
                <a:gd name="connsiteX1339" fmla="*/ 344774 w 993885"/>
                <a:gd name="connsiteY1339" fmla="*/ 491212 h 1022551"/>
                <a:gd name="connsiteX1340" fmla="*/ 344333 w 993885"/>
                <a:gd name="connsiteY1340" fmla="*/ 489112 h 1022551"/>
                <a:gd name="connsiteX1341" fmla="*/ 343374 w 993885"/>
                <a:gd name="connsiteY1341" fmla="*/ 487158 h 1022551"/>
                <a:gd name="connsiteX1342" fmla="*/ 342197 w 993885"/>
                <a:gd name="connsiteY1342" fmla="*/ 485284 h 1022551"/>
                <a:gd name="connsiteX1343" fmla="*/ 339948 w 993885"/>
                <a:gd name="connsiteY1343" fmla="*/ 484133 h 1022551"/>
                <a:gd name="connsiteX1344" fmla="*/ 336725 w 993885"/>
                <a:gd name="connsiteY1344" fmla="*/ 482043 h 1022551"/>
                <a:gd name="connsiteX1345" fmla="*/ 331854 w 993885"/>
                <a:gd name="connsiteY1345" fmla="*/ 479385 h 1022551"/>
                <a:gd name="connsiteX1346" fmla="*/ 327733 w 993885"/>
                <a:gd name="connsiteY1346" fmla="*/ 477535 h 1022551"/>
                <a:gd name="connsiteX1347" fmla="*/ 326412 w 993885"/>
                <a:gd name="connsiteY1347" fmla="*/ 477761 h 1022551"/>
                <a:gd name="connsiteX1348" fmla="*/ 319136 w 993885"/>
                <a:gd name="connsiteY1348" fmla="*/ 478485 h 1022551"/>
                <a:gd name="connsiteX1349" fmla="*/ 316714 w 993885"/>
                <a:gd name="connsiteY1349" fmla="*/ 478863 h 1022551"/>
                <a:gd name="connsiteX1350" fmla="*/ 315089 w 993885"/>
                <a:gd name="connsiteY1350" fmla="*/ 478440 h 1022551"/>
                <a:gd name="connsiteX1351" fmla="*/ 309656 w 993885"/>
                <a:gd name="connsiteY1351" fmla="*/ 478459 h 1022551"/>
                <a:gd name="connsiteX1352" fmla="*/ 307522 w 993885"/>
                <a:gd name="connsiteY1352" fmla="*/ 477035 h 1022551"/>
                <a:gd name="connsiteX1353" fmla="*/ 305731 w 993885"/>
                <a:gd name="connsiteY1353" fmla="*/ 475379 h 1022551"/>
                <a:gd name="connsiteX1354" fmla="*/ 301927 w 993885"/>
                <a:gd name="connsiteY1354" fmla="*/ 471141 h 1022551"/>
                <a:gd name="connsiteX1355" fmla="*/ 301338 w 993885"/>
                <a:gd name="connsiteY1355" fmla="*/ 469021 h 1022551"/>
                <a:gd name="connsiteX1356" fmla="*/ 299865 w 993885"/>
                <a:gd name="connsiteY1356" fmla="*/ 468349 h 1022551"/>
                <a:gd name="connsiteX1357" fmla="*/ 297637 w 993885"/>
                <a:gd name="connsiteY1357" fmla="*/ 468606 h 1022551"/>
                <a:gd name="connsiteX1358" fmla="*/ 295383 w 993885"/>
                <a:gd name="connsiteY1358" fmla="*/ 468316 h 1022551"/>
                <a:gd name="connsiteX1359" fmla="*/ 291004 w 993885"/>
                <a:gd name="connsiteY1359" fmla="*/ 466558 h 1022551"/>
                <a:gd name="connsiteX1360" fmla="*/ 286908 w 993885"/>
                <a:gd name="connsiteY1360" fmla="*/ 464755 h 1022551"/>
                <a:gd name="connsiteX1361" fmla="*/ 284920 w 993885"/>
                <a:gd name="connsiteY1361" fmla="*/ 464831 h 1022551"/>
                <a:gd name="connsiteX1362" fmla="*/ 283153 w 993885"/>
                <a:gd name="connsiteY1362" fmla="*/ 463708 h 1022551"/>
                <a:gd name="connsiteX1363" fmla="*/ 280041 w 993885"/>
                <a:gd name="connsiteY1363" fmla="*/ 460959 h 1022551"/>
                <a:gd name="connsiteX1364" fmla="*/ 278588 w 993885"/>
                <a:gd name="connsiteY1364" fmla="*/ 459889 h 1022551"/>
                <a:gd name="connsiteX1365" fmla="*/ 277924 w 993885"/>
                <a:gd name="connsiteY1365" fmla="*/ 458468 h 1022551"/>
                <a:gd name="connsiteX1366" fmla="*/ 277262 w 993885"/>
                <a:gd name="connsiteY1366" fmla="*/ 456375 h 1022551"/>
                <a:gd name="connsiteX1367" fmla="*/ 276011 w 993885"/>
                <a:gd name="connsiteY1367" fmla="*/ 455925 h 1022551"/>
                <a:gd name="connsiteX1368" fmla="*/ 274392 w 993885"/>
                <a:gd name="connsiteY1368" fmla="*/ 456299 h 1022551"/>
                <a:gd name="connsiteX1369" fmla="*/ 272640 w 993885"/>
                <a:gd name="connsiteY1369" fmla="*/ 457374 h 1022551"/>
                <a:gd name="connsiteX1370" fmla="*/ 270182 w 993885"/>
                <a:gd name="connsiteY1370" fmla="*/ 456657 h 1022551"/>
                <a:gd name="connsiteX1371" fmla="*/ 267177 w 993885"/>
                <a:gd name="connsiteY1371" fmla="*/ 454728 h 1022551"/>
                <a:gd name="connsiteX1372" fmla="*/ 265233 w 993885"/>
                <a:gd name="connsiteY1372" fmla="*/ 453221 h 1022551"/>
                <a:gd name="connsiteX1373" fmla="*/ 264123 w 993885"/>
                <a:gd name="connsiteY1373" fmla="*/ 452507 h 1022551"/>
                <a:gd name="connsiteX1374" fmla="*/ 261513 w 993885"/>
                <a:gd name="connsiteY1374" fmla="*/ 451453 h 1022551"/>
                <a:gd name="connsiteX1375" fmla="*/ 258990 w 993885"/>
                <a:gd name="connsiteY1375" fmla="*/ 451232 h 1022551"/>
                <a:gd name="connsiteX1376" fmla="*/ 255174 w 993885"/>
                <a:gd name="connsiteY1376" fmla="*/ 452783 h 1022551"/>
                <a:gd name="connsiteX1377" fmla="*/ 252054 w 993885"/>
                <a:gd name="connsiteY1377" fmla="*/ 452150 h 1022551"/>
                <a:gd name="connsiteX1378" fmla="*/ 247150 w 993885"/>
                <a:gd name="connsiteY1378" fmla="*/ 451590 h 1022551"/>
                <a:gd name="connsiteX1379" fmla="*/ 242955 w 993885"/>
                <a:gd name="connsiteY1379" fmla="*/ 450468 h 1022551"/>
                <a:gd name="connsiteX1380" fmla="*/ 241426 w 993885"/>
                <a:gd name="connsiteY1380" fmla="*/ 447545 h 1022551"/>
                <a:gd name="connsiteX1381" fmla="*/ 240598 w 993885"/>
                <a:gd name="connsiteY1381" fmla="*/ 445609 h 1022551"/>
                <a:gd name="connsiteX1382" fmla="*/ 238107 w 993885"/>
                <a:gd name="connsiteY1382" fmla="*/ 444398 h 1022551"/>
                <a:gd name="connsiteX1383" fmla="*/ 236120 w 993885"/>
                <a:gd name="connsiteY1383" fmla="*/ 442921 h 1022551"/>
                <a:gd name="connsiteX1384" fmla="*/ 233751 w 993885"/>
                <a:gd name="connsiteY1384" fmla="*/ 440681 h 1022551"/>
                <a:gd name="connsiteX1385" fmla="*/ 232574 w 993885"/>
                <a:gd name="connsiteY1385" fmla="*/ 439932 h 1022551"/>
                <a:gd name="connsiteX1386" fmla="*/ 230432 w 993885"/>
                <a:gd name="connsiteY1386" fmla="*/ 439307 h 1022551"/>
                <a:gd name="connsiteX1387" fmla="*/ 228450 w 993885"/>
                <a:gd name="connsiteY1387" fmla="*/ 438516 h 1022551"/>
                <a:gd name="connsiteX1388" fmla="*/ 228230 w 993885"/>
                <a:gd name="connsiteY1388" fmla="*/ 437097 h 1022551"/>
                <a:gd name="connsiteX1389" fmla="*/ 227492 w 993885"/>
                <a:gd name="connsiteY1389" fmla="*/ 435229 h 1022551"/>
                <a:gd name="connsiteX1390" fmla="*/ 227319 w 993885"/>
                <a:gd name="connsiteY1390" fmla="*/ 434767 h 1022551"/>
                <a:gd name="connsiteX1391" fmla="*/ 225971 w 993885"/>
                <a:gd name="connsiteY1391" fmla="*/ 432500 h 1022551"/>
                <a:gd name="connsiteX1392" fmla="*/ 225341 w 993885"/>
                <a:gd name="connsiteY1392" fmla="*/ 432342 h 1022551"/>
                <a:gd name="connsiteX1393" fmla="*/ 224643 w 993885"/>
                <a:gd name="connsiteY1393" fmla="*/ 432786 h 1022551"/>
                <a:gd name="connsiteX1394" fmla="*/ 224117 w 993885"/>
                <a:gd name="connsiteY1394" fmla="*/ 433115 h 1022551"/>
                <a:gd name="connsiteX1395" fmla="*/ 223551 w 993885"/>
                <a:gd name="connsiteY1395" fmla="*/ 432713 h 1022551"/>
                <a:gd name="connsiteX1396" fmla="*/ 223449 w 993885"/>
                <a:gd name="connsiteY1396" fmla="*/ 431700 h 1022551"/>
                <a:gd name="connsiteX1397" fmla="*/ 223812 w 993885"/>
                <a:gd name="connsiteY1397" fmla="*/ 430076 h 1022551"/>
                <a:gd name="connsiteX1398" fmla="*/ 223031 w 993885"/>
                <a:gd name="connsiteY1398" fmla="*/ 428372 h 1022551"/>
                <a:gd name="connsiteX1399" fmla="*/ 221103 w 993885"/>
                <a:gd name="connsiteY1399" fmla="*/ 426585 h 1022551"/>
                <a:gd name="connsiteX1400" fmla="*/ 220095 w 993885"/>
                <a:gd name="connsiteY1400" fmla="*/ 424739 h 1022551"/>
                <a:gd name="connsiteX1401" fmla="*/ 220008 w 993885"/>
                <a:gd name="connsiteY1401" fmla="*/ 422829 h 1022551"/>
                <a:gd name="connsiteX1402" fmla="*/ 219579 w 993885"/>
                <a:gd name="connsiteY1402" fmla="*/ 421552 h 1022551"/>
                <a:gd name="connsiteX1403" fmla="*/ 218806 w 993885"/>
                <a:gd name="connsiteY1403" fmla="*/ 420908 h 1022551"/>
                <a:gd name="connsiteX1404" fmla="*/ 218374 w 993885"/>
                <a:gd name="connsiteY1404" fmla="*/ 419788 h 1022551"/>
                <a:gd name="connsiteX1405" fmla="*/ 218281 w 993885"/>
                <a:gd name="connsiteY1405" fmla="*/ 418195 h 1022551"/>
                <a:gd name="connsiteX1406" fmla="*/ 218838 w 993885"/>
                <a:gd name="connsiteY1406" fmla="*/ 416298 h 1022551"/>
                <a:gd name="connsiteX1407" fmla="*/ 220050 w 993885"/>
                <a:gd name="connsiteY1407" fmla="*/ 414103 h 1022551"/>
                <a:gd name="connsiteX1408" fmla="*/ 219791 w 993885"/>
                <a:gd name="connsiteY1408" fmla="*/ 410716 h 1022551"/>
                <a:gd name="connsiteX1409" fmla="*/ 218059 w 993885"/>
                <a:gd name="connsiteY1409" fmla="*/ 406150 h 1022551"/>
                <a:gd name="connsiteX1410" fmla="*/ 217104 w 993885"/>
                <a:gd name="connsiteY1410" fmla="*/ 402854 h 1022551"/>
                <a:gd name="connsiteX1411" fmla="*/ 216923 w 993885"/>
                <a:gd name="connsiteY1411" fmla="*/ 400835 h 1022551"/>
                <a:gd name="connsiteX1412" fmla="*/ 217182 w 993885"/>
                <a:gd name="connsiteY1412" fmla="*/ 399337 h 1022551"/>
                <a:gd name="connsiteX1413" fmla="*/ 218232 w 993885"/>
                <a:gd name="connsiteY1413" fmla="*/ 397883 h 1022551"/>
                <a:gd name="connsiteX1414" fmla="*/ 220322 w 993885"/>
                <a:gd name="connsiteY1414" fmla="*/ 394316 h 1022551"/>
                <a:gd name="connsiteX1415" fmla="*/ 220690 w 993885"/>
                <a:gd name="connsiteY1415" fmla="*/ 391593 h 1022551"/>
                <a:gd name="connsiteX1416" fmla="*/ 220031 w 993885"/>
                <a:gd name="connsiteY1416" fmla="*/ 388525 h 1022551"/>
                <a:gd name="connsiteX1417" fmla="*/ 219940 w 993885"/>
                <a:gd name="connsiteY1417" fmla="*/ 386184 h 1022551"/>
                <a:gd name="connsiteX1418" fmla="*/ 220417 w 993885"/>
                <a:gd name="connsiteY1418" fmla="*/ 384574 h 1022551"/>
                <a:gd name="connsiteX1419" fmla="*/ 219692 w 993885"/>
                <a:gd name="connsiteY1419" fmla="*/ 382465 h 1022551"/>
                <a:gd name="connsiteX1420" fmla="*/ 218215 w 993885"/>
                <a:gd name="connsiteY1420" fmla="*/ 380472 h 1022551"/>
                <a:gd name="connsiteX1421" fmla="*/ 217186 w 993885"/>
                <a:gd name="connsiteY1421" fmla="*/ 380423 h 1022551"/>
                <a:gd name="connsiteX1422" fmla="*/ 215785 w 993885"/>
                <a:gd name="connsiteY1422" fmla="*/ 380968 h 1022551"/>
                <a:gd name="connsiteX1423" fmla="*/ 214094 w 993885"/>
                <a:gd name="connsiteY1423" fmla="*/ 382650 h 1022551"/>
                <a:gd name="connsiteX1424" fmla="*/ 212106 w 993885"/>
                <a:gd name="connsiteY1424" fmla="*/ 382947 h 1022551"/>
                <a:gd name="connsiteX1425" fmla="*/ 210338 w 993885"/>
                <a:gd name="connsiteY1425" fmla="*/ 381907 h 1022551"/>
                <a:gd name="connsiteX1426" fmla="*/ 204814 w 993885"/>
                <a:gd name="connsiteY1426" fmla="*/ 382343 h 1022551"/>
                <a:gd name="connsiteX1427" fmla="*/ 196221 w 993885"/>
                <a:gd name="connsiteY1427" fmla="*/ 383382 h 1022551"/>
                <a:gd name="connsiteX1428" fmla="*/ 192781 w 993885"/>
                <a:gd name="connsiteY1428" fmla="*/ 384459 h 1022551"/>
                <a:gd name="connsiteX1429" fmla="*/ 190760 w 993885"/>
                <a:gd name="connsiteY1429" fmla="*/ 384919 h 1022551"/>
                <a:gd name="connsiteX1430" fmla="*/ 188316 w 993885"/>
                <a:gd name="connsiteY1430" fmla="*/ 385271 h 1022551"/>
                <a:gd name="connsiteX1431" fmla="*/ 184394 w 993885"/>
                <a:gd name="connsiteY1431" fmla="*/ 387207 h 1022551"/>
                <a:gd name="connsiteX1432" fmla="*/ 174720 w 993885"/>
                <a:gd name="connsiteY1432" fmla="*/ 394724 h 1022551"/>
                <a:gd name="connsiteX1433" fmla="*/ 172718 w 993885"/>
                <a:gd name="connsiteY1433" fmla="*/ 395811 h 1022551"/>
                <a:gd name="connsiteX1434" fmla="*/ 170436 w 993885"/>
                <a:gd name="connsiteY1434" fmla="*/ 395961 h 1022551"/>
                <a:gd name="connsiteX1435" fmla="*/ 169112 w 993885"/>
                <a:gd name="connsiteY1435" fmla="*/ 397002 h 1022551"/>
                <a:gd name="connsiteX1436" fmla="*/ 166975 w 993885"/>
                <a:gd name="connsiteY1436" fmla="*/ 397821 h 1022551"/>
                <a:gd name="connsiteX1437" fmla="*/ 162779 w 993885"/>
                <a:gd name="connsiteY1437" fmla="*/ 400797 h 1022551"/>
                <a:gd name="connsiteX1438" fmla="*/ 160644 w 993885"/>
                <a:gd name="connsiteY1438" fmla="*/ 403180 h 1022551"/>
                <a:gd name="connsiteX1439" fmla="*/ 159246 w 993885"/>
                <a:gd name="connsiteY1439" fmla="*/ 405338 h 1022551"/>
                <a:gd name="connsiteX1440" fmla="*/ 157625 w 993885"/>
                <a:gd name="connsiteY1440" fmla="*/ 405413 h 1022551"/>
                <a:gd name="connsiteX1441" fmla="*/ 156375 w 993885"/>
                <a:gd name="connsiteY1441" fmla="*/ 404817 h 1022551"/>
                <a:gd name="connsiteX1442" fmla="*/ 152402 w 993885"/>
                <a:gd name="connsiteY1442" fmla="*/ 405115 h 1022551"/>
                <a:gd name="connsiteX1443" fmla="*/ 150373 w 993885"/>
                <a:gd name="connsiteY1443" fmla="*/ 405852 h 1022551"/>
                <a:gd name="connsiteX1444" fmla="*/ 148168 w 993885"/>
                <a:gd name="connsiteY1444" fmla="*/ 407952 h 1022551"/>
                <a:gd name="connsiteX1445" fmla="*/ 145431 w 993885"/>
                <a:gd name="connsiteY1445" fmla="*/ 411750 h 1022551"/>
                <a:gd name="connsiteX1446" fmla="*/ 144302 w 993885"/>
                <a:gd name="connsiteY1446" fmla="*/ 412829 h 1022551"/>
                <a:gd name="connsiteX1447" fmla="*/ 142099 w 993885"/>
                <a:gd name="connsiteY1447" fmla="*/ 413947 h 1022551"/>
                <a:gd name="connsiteX1448" fmla="*/ 139555 w 993885"/>
                <a:gd name="connsiteY1448" fmla="*/ 414872 h 1022551"/>
                <a:gd name="connsiteX1449" fmla="*/ 136403 w 993885"/>
                <a:gd name="connsiteY1449" fmla="*/ 416268 h 1022551"/>
                <a:gd name="connsiteX1450" fmla="*/ 134990 w 993885"/>
                <a:gd name="connsiteY1450" fmla="*/ 416361 h 1022551"/>
                <a:gd name="connsiteX1451" fmla="*/ 133744 w 993885"/>
                <a:gd name="connsiteY1451" fmla="*/ 416609 h 1022551"/>
                <a:gd name="connsiteX1452" fmla="*/ 132669 w 993885"/>
                <a:gd name="connsiteY1452" fmla="*/ 415972 h 1022551"/>
                <a:gd name="connsiteX1453" fmla="*/ 132310 w 993885"/>
                <a:gd name="connsiteY1453" fmla="*/ 414611 h 1022551"/>
                <a:gd name="connsiteX1454" fmla="*/ 130680 w 993885"/>
                <a:gd name="connsiteY1454" fmla="*/ 413751 h 1022551"/>
                <a:gd name="connsiteX1455" fmla="*/ 126793 w 993885"/>
                <a:gd name="connsiteY1455" fmla="*/ 413321 h 1022551"/>
                <a:gd name="connsiteX1456" fmla="*/ 121040 w 993885"/>
                <a:gd name="connsiteY1456" fmla="*/ 412328 h 1022551"/>
                <a:gd name="connsiteX1457" fmla="*/ 115107 w 993885"/>
                <a:gd name="connsiteY1457" fmla="*/ 412136 h 1022551"/>
                <a:gd name="connsiteX1458" fmla="*/ 112163 w 993885"/>
                <a:gd name="connsiteY1458" fmla="*/ 412228 h 1022551"/>
                <a:gd name="connsiteX1459" fmla="*/ 109744 w 993885"/>
                <a:gd name="connsiteY1459" fmla="*/ 412289 h 1022551"/>
                <a:gd name="connsiteX1460" fmla="*/ 105541 w 993885"/>
                <a:gd name="connsiteY1460" fmla="*/ 411757 h 1022551"/>
                <a:gd name="connsiteX1461" fmla="*/ 102484 w 993885"/>
                <a:gd name="connsiteY1461" fmla="*/ 411668 h 1022551"/>
                <a:gd name="connsiteX1462" fmla="*/ 99797 w 993885"/>
                <a:gd name="connsiteY1462" fmla="*/ 413015 h 1022551"/>
                <a:gd name="connsiteX1463" fmla="*/ 95898 w 993885"/>
                <a:gd name="connsiteY1463" fmla="*/ 414689 h 1022551"/>
                <a:gd name="connsiteX1464" fmla="*/ 94115 w 993885"/>
                <a:gd name="connsiteY1464" fmla="*/ 415115 h 1022551"/>
                <a:gd name="connsiteX1465" fmla="*/ 92807 w 993885"/>
                <a:gd name="connsiteY1465" fmla="*/ 415178 h 1022551"/>
                <a:gd name="connsiteX1466" fmla="*/ 91531 w 993885"/>
                <a:gd name="connsiteY1466" fmla="*/ 414969 h 1022551"/>
                <a:gd name="connsiteX1467" fmla="*/ 90045 w 993885"/>
                <a:gd name="connsiteY1467" fmla="*/ 414103 h 1022551"/>
                <a:gd name="connsiteX1468" fmla="*/ 87957 w 993885"/>
                <a:gd name="connsiteY1468" fmla="*/ 412103 h 1022551"/>
                <a:gd name="connsiteX1469" fmla="*/ 86353 w 993885"/>
                <a:gd name="connsiteY1469" fmla="*/ 412872 h 1022551"/>
                <a:gd name="connsiteX1470" fmla="*/ 85191 w 993885"/>
                <a:gd name="connsiteY1470" fmla="*/ 413729 h 1022551"/>
                <a:gd name="connsiteX1471" fmla="*/ 85211 w 993885"/>
                <a:gd name="connsiteY1471" fmla="*/ 409382 h 1022551"/>
                <a:gd name="connsiteX1472" fmla="*/ 85242 w 993885"/>
                <a:gd name="connsiteY1472" fmla="*/ 402849 h 1022551"/>
                <a:gd name="connsiteX1473" fmla="*/ 85267 w 993885"/>
                <a:gd name="connsiteY1473" fmla="*/ 397089 h 1022551"/>
                <a:gd name="connsiteX1474" fmla="*/ 85288 w 993885"/>
                <a:gd name="connsiteY1474" fmla="*/ 392484 h 1022551"/>
                <a:gd name="connsiteX1475" fmla="*/ 85312 w 993885"/>
                <a:gd name="connsiteY1475" fmla="*/ 387112 h 1022551"/>
                <a:gd name="connsiteX1476" fmla="*/ 85329 w 993885"/>
                <a:gd name="connsiteY1476" fmla="*/ 383322 h 1022551"/>
                <a:gd name="connsiteX1477" fmla="*/ 86422 w 993885"/>
                <a:gd name="connsiteY1477" fmla="*/ 381882 h 1022551"/>
                <a:gd name="connsiteX1478" fmla="*/ 87095 w 993885"/>
                <a:gd name="connsiteY1478" fmla="*/ 380273 h 1022551"/>
                <a:gd name="connsiteX1479" fmla="*/ 86285 w 993885"/>
                <a:gd name="connsiteY1479" fmla="*/ 378122 h 1022551"/>
                <a:gd name="connsiteX1480" fmla="*/ 86462 w 993885"/>
                <a:gd name="connsiteY1480" fmla="*/ 376149 h 1022551"/>
                <a:gd name="connsiteX1481" fmla="*/ 87021 w 993885"/>
                <a:gd name="connsiteY1481" fmla="*/ 374778 h 1022551"/>
                <a:gd name="connsiteX1482" fmla="*/ 87758 w 993885"/>
                <a:gd name="connsiteY1482" fmla="*/ 373439 h 1022551"/>
                <a:gd name="connsiteX1483" fmla="*/ 86064 w 993885"/>
                <a:gd name="connsiteY1483" fmla="*/ 374109 h 1022551"/>
                <a:gd name="connsiteX1484" fmla="*/ 85329 w 993885"/>
                <a:gd name="connsiteY1484" fmla="*/ 374481 h 1022551"/>
                <a:gd name="connsiteX1485" fmla="*/ 84427 w 993885"/>
                <a:gd name="connsiteY1485" fmla="*/ 375498 h 1022551"/>
                <a:gd name="connsiteX1486" fmla="*/ 82245 w 993885"/>
                <a:gd name="connsiteY1486" fmla="*/ 376872 h 1022551"/>
                <a:gd name="connsiteX1487" fmla="*/ 80781 w 993885"/>
                <a:gd name="connsiteY1487" fmla="*/ 378243 h 1022551"/>
                <a:gd name="connsiteX1488" fmla="*/ 79051 w 993885"/>
                <a:gd name="connsiteY1488" fmla="*/ 379363 h 1022551"/>
                <a:gd name="connsiteX1489" fmla="*/ 76864 w 993885"/>
                <a:gd name="connsiteY1489" fmla="*/ 381837 h 1022551"/>
                <a:gd name="connsiteX1490" fmla="*/ 75063 w 993885"/>
                <a:gd name="connsiteY1490" fmla="*/ 383195 h 1022551"/>
                <a:gd name="connsiteX1491" fmla="*/ 73199 w 993885"/>
                <a:gd name="connsiteY1491" fmla="*/ 384057 h 1022551"/>
                <a:gd name="connsiteX1492" fmla="*/ 70089 w 993885"/>
                <a:gd name="connsiteY1492" fmla="*/ 386965 h 1022551"/>
                <a:gd name="connsiteX1493" fmla="*/ 67516 w 993885"/>
                <a:gd name="connsiteY1493" fmla="*/ 387542 h 1022551"/>
                <a:gd name="connsiteX1494" fmla="*/ 60705 w 993885"/>
                <a:gd name="connsiteY1494" fmla="*/ 387989 h 1022551"/>
                <a:gd name="connsiteX1495" fmla="*/ 53620 w 993885"/>
                <a:gd name="connsiteY1495" fmla="*/ 387978 h 1022551"/>
                <a:gd name="connsiteX1496" fmla="*/ 47141 w 993885"/>
                <a:gd name="connsiteY1496" fmla="*/ 387967 h 1022551"/>
                <a:gd name="connsiteX1497" fmla="*/ 46161 w 993885"/>
                <a:gd name="connsiteY1497" fmla="*/ 387929 h 1022551"/>
                <a:gd name="connsiteX1498" fmla="*/ 46225 w 993885"/>
                <a:gd name="connsiteY1498" fmla="*/ 385534 h 1022551"/>
                <a:gd name="connsiteX1499" fmla="*/ 46383 w 993885"/>
                <a:gd name="connsiteY1499" fmla="*/ 383843 h 1022551"/>
                <a:gd name="connsiteX1500" fmla="*/ 44174 w 993885"/>
                <a:gd name="connsiteY1500" fmla="*/ 382057 h 1022551"/>
                <a:gd name="connsiteX1501" fmla="*/ 44025 w 993885"/>
                <a:gd name="connsiteY1501" fmla="*/ 379860 h 1022551"/>
                <a:gd name="connsiteX1502" fmla="*/ 43437 w 993885"/>
                <a:gd name="connsiteY1502" fmla="*/ 378344 h 1022551"/>
                <a:gd name="connsiteX1503" fmla="*/ 42701 w 993885"/>
                <a:gd name="connsiteY1503" fmla="*/ 376487 h 1022551"/>
                <a:gd name="connsiteX1504" fmla="*/ 41155 w 993885"/>
                <a:gd name="connsiteY1504" fmla="*/ 375297 h 1022551"/>
                <a:gd name="connsiteX1505" fmla="*/ 38982 w 993885"/>
                <a:gd name="connsiteY1505" fmla="*/ 374838 h 1022551"/>
                <a:gd name="connsiteX1506" fmla="*/ 35413 w 993885"/>
                <a:gd name="connsiteY1506" fmla="*/ 373811 h 1022551"/>
                <a:gd name="connsiteX1507" fmla="*/ 30119 w 993885"/>
                <a:gd name="connsiteY1507" fmla="*/ 372745 h 1022551"/>
                <a:gd name="connsiteX1508" fmla="*/ 25060 w 993885"/>
                <a:gd name="connsiteY1508" fmla="*/ 372670 h 1022551"/>
                <a:gd name="connsiteX1509" fmla="*/ 20099 w 993885"/>
                <a:gd name="connsiteY1509" fmla="*/ 372772 h 1022551"/>
                <a:gd name="connsiteX1510" fmla="*/ 23131 w 993885"/>
                <a:gd name="connsiteY1510" fmla="*/ 369046 h 1022551"/>
                <a:gd name="connsiteX1511" fmla="*/ 26160 w 993885"/>
                <a:gd name="connsiteY1511" fmla="*/ 365324 h 1022551"/>
                <a:gd name="connsiteX1512" fmla="*/ 26067 w 993885"/>
                <a:gd name="connsiteY1512" fmla="*/ 362079 h 1022551"/>
                <a:gd name="connsiteX1513" fmla="*/ 23622 w 993885"/>
                <a:gd name="connsiteY1513" fmla="*/ 359258 h 1022551"/>
                <a:gd name="connsiteX1514" fmla="*/ 22302 w 993885"/>
                <a:gd name="connsiteY1514" fmla="*/ 357502 h 1022551"/>
                <a:gd name="connsiteX1515" fmla="*/ 20258 w 993885"/>
                <a:gd name="connsiteY1515" fmla="*/ 355082 h 1022551"/>
                <a:gd name="connsiteX1516" fmla="*/ 17740 w 993885"/>
                <a:gd name="connsiteY1516" fmla="*/ 353413 h 1022551"/>
                <a:gd name="connsiteX1517" fmla="*/ 16364 w 993885"/>
                <a:gd name="connsiteY1517" fmla="*/ 351191 h 1022551"/>
                <a:gd name="connsiteX1518" fmla="*/ 16491 w 993885"/>
                <a:gd name="connsiteY1518" fmla="*/ 349841 h 1022551"/>
                <a:gd name="connsiteX1519" fmla="*/ 16271 w 993885"/>
                <a:gd name="connsiteY1519" fmla="*/ 348951 h 1022551"/>
                <a:gd name="connsiteX1520" fmla="*/ 15314 w 993885"/>
                <a:gd name="connsiteY1520" fmla="*/ 348432 h 1022551"/>
                <a:gd name="connsiteX1521" fmla="*/ 14356 w 993885"/>
                <a:gd name="connsiteY1521" fmla="*/ 347618 h 1022551"/>
                <a:gd name="connsiteX1522" fmla="*/ 13032 w 993885"/>
                <a:gd name="connsiteY1522" fmla="*/ 346727 h 1022551"/>
                <a:gd name="connsiteX1523" fmla="*/ 11486 w 993885"/>
                <a:gd name="connsiteY1523" fmla="*/ 345542 h 1022551"/>
                <a:gd name="connsiteX1524" fmla="*/ 11486 w 993885"/>
                <a:gd name="connsiteY1524" fmla="*/ 344356 h 1022551"/>
                <a:gd name="connsiteX1525" fmla="*/ 10896 w 993885"/>
                <a:gd name="connsiteY1525" fmla="*/ 343095 h 1022551"/>
                <a:gd name="connsiteX1526" fmla="*/ 9939 w 993885"/>
                <a:gd name="connsiteY1526" fmla="*/ 341615 h 1022551"/>
                <a:gd name="connsiteX1527" fmla="*/ 9939 w 993885"/>
                <a:gd name="connsiteY1527" fmla="*/ 340428 h 1022551"/>
                <a:gd name="connsiteX1528" fmla="*/ 9056 w 993885"/>
                <a:gd name="connsiteY1528" fmla="*/ 338576 h 1022551"/>
                <a:gd name="connsiteX1529" fmla="*/ 8100 w 993885"/>
                <a:gd name="connsiteY1529" fmla="*/ 337243 h 1022551"/>
                <a:gd name="connsiteX1530" fmla="*/ 7142 w 993885"/>
                <a:gd name="connsiteY1530" fmla="*/ 336353 h 1022551"/>
                <a:gd name="connsiteX1531" fmla="*/ 5743 w 993885"/>
                <a:gd name="connsiteY1531" fmla="*/ 335096 h 1022551"/>
                <a:gd name="connsiteX1532" fmla="*/ 5816 w 993885"/>
                <a:gd name="connsiteY1532" fmla="*/ 334057 h 1022551"/>
                <a:gd name="connsiteX1533" fmla="*/ 6847 w 993885"/>
                <a:gd name="connsiteY1533" fmla="*/ 333538 h 1022551"/>
                <a:gd name="connsiteX1534" fmla="*/ 7290 w 993885"/>
                <a:gd name="connsiteY1534" fmla="*/ 332355 h 1022551"/>
                <a:gd name="connsiteX1535" fmla="*/ 7142 w 993885"/>
                <a:gd name="connsiteY1535" fmla="*/ 331169 h 1022551"/>
                <a:gd name="connsiteX1536" fmla="*/ 5963 w 993885"/>
                <a:gd name="connsiteY1536" fmla="*/ 330430 h 1022551"/>
                <a:gd name="connsiteX1537" fmla="*/ 4564 w 993885"/>
                <a:gd name="connsiteY1537" fmla="*/ 330058 h 1022551"/>
                <a:gd name="connsiteX1538" fmla="*/ 2725 w 993885"/>
                <a:gd name="connsiteY1538" fmla="*/ 327911 h 1022551"/>
                <a:gd name="connsiteX1539" fmla="*/ 1399 w 993885"/>
                <a:gd name="connsiteY1539" fmla="*/ 326801 h 1022551"/>
                <a:gd name="connsiteX1540" fmla="*/ 516 w 993885"/>
                <a:gd name="connsiteY1540" fmla="*/ 326133 h 1022551"/>
                <a:gd name="connsiteX1541" fmla="*/ 0 w 993885"/>
                <a:gd name="connsiteY1541" fmla="*/ 325393 h 1022551"/>
                <a:gd name="connsiteX1542" fmla="*/ 516 w 993885"/>
                <a:gd name="connsiteY1542" fmla="*/ 324876 h 1022551"/>
                <a:gd name="connsiteX1543" fmla="*/ 1106 w 993885"/>
                <a:gd name="connsiteY1543" fmla="*/ 324134 h 1022551"/>
                <a:gd name="connsiteX1544" fmla="*/ 1252 w 993885"/>
                <a:gd name="connsiteY1544" fmla="*/ 322951 h 1022551"/>
                <a:gd name="connsiteX1545" fmla="*/ 958 w 993885"/>
                <a:gd name="connsiteY1545" fmla="*/ 321841 h 1022551"/>
                <a:gd name="connsiteX1546" fmla="*/ 958 w 993885"/>
                <a:gd name="connsiteY1546" fmla="*/ 320877 h 1022551"/>
                <a:gd name="connsiteX1547" fmla="*/ 1842 w 993885"/>
                <a:gd name="connsiteY1547" fmla="*/ 320580 h 1022551"/>
                <a:gd name="connsiteX1548" fmla="*/ 2798 w 993885"/>
                <a:gd name="connsiteY1548" fmla="*/ 320731 h 1022551"/>
                <a:gd name="connsiteX1549" fmla="*/ 3755 w 993885"/>
                <a:gd name="connsiteY1549" fmla="*/ 320138 h 1022551"/>
                <a:gd name="connsiteX1550" fmla="*/ 5007 w 993885"/>
                <a:gd name="connsiteY1550" fmla="*/ 319916 h 1022551"/>
                <a:gd name="connsiteX1551" fmla="*/ 6406 w 993885"/>
                <a:gd name="connsiteY1551" fmla="*/ 319767 h 1022551"/>
                <a:gd name="connsiteX1552" fmla="*/ 7142 w 993885"/>
                <a:gd name="connsiteY1552" fmla="*/ 319102 h 1022551"/>
                <a:gd name="connsiteX1553" fmla="*/ 7067 w 993885"/>
                <a:gd name="connsiteY1553" fmla="*/ 317918 h 1022551"/>
                <a:gd name="connsiteX1554" fmla="*/ 6185 w 993885"/>
                <a:gd name="connsiteY1554" fmla="*/ 315623 h 1022551"/>
                <a:gd name="connsiteX1555" fmla="*/ 5302 w 993885"/>
                <a:gd name="connsiteY1555" fmla="*/ 314662 h 1022551"/>
                <a:gd name="connsiteX1556" fmla="*/ 5007 w 993885"/>
                <a:gd name="connsiteY1556" fmla="*/ 313256 h 1022551"/>
                <a:gd name="connsiteX1557" fmla="*/ 5726 w 993885"/>
                <a:gd name="connsiteY1557" fmla="*/ 310547 h 1022551"/>
                <a:gd name="connsiteX1558" fmla="*/ 6187 w 993885"/>
                <a:gd name="connsiteY1558" fmla="*/ 308820 h 1022551"/>
                <a:gd name="connsiteX1559" fmla="*/ 7798 w 993885"/>
                <a:gd name="connsiteY1559" fmla="*/ 306987 h 1022551"/>
                <a:gd name="connsiteX1560" fmla="*/ 12733 w 993885"/>
                <a:gd name="connsiteY1560" fmla="*/ 303056 h 1022551"/>
                <a:gd name="connsiteX1561" fmla="*/ 17156 w 993885"/>
                <a:gd name="connsiteY1561" fmla="*/ 300388 h 1022551"/>
                <a:gd name="connsiteX1562" fmla="*/ 19316 w 993885"/>
                <a:gd name="connsiteY1562" fmla="*/ 300117 h 1022551"/>
                <a:gd name="connsiteX1563" fmla="*/ 20910 w 993885"/>
                <a:gd name="connsiteY1563" fmla="*/ 299128 h 1022551"/>
                <a:gd name="connsiteX1564" fmla="*/ 21927 w 993885"/>
                <a:gd name="connsiteY1564" fmla="*/ 297616 h 1022551"/>
                <a:gd name="connsiteX1565" fmla="*/ 22206 w 993885"/>
                <a:gd name="connsiteY1565" fmla="*/ 295963 h 1022551"/>
                <a:gd name="connsiteX1566" fmla="*/ 21977 w 993885"/>
                <a:gd name="connsiteY1566" fmla="*/ 294523 h 1022551"/>
                <a:gd name="connsiteX1567" fmla="*/ 21156 w 993885"/>
                <a:gd name="connsiteY1567" fmla="*/ 292393 h 1022551"/>
                <a:gd name="connsiteX1568" fmla="*/ 20173 w 993885"/>
                <a:gd name="connsiteY1568" fmla="*/ 289741 h 1022551"/>
                <a:gd name="connsiteX1569" fmla="*/ 19436 w 993885"/>
                <a:gd name="connsiteY1569" fmla="*/ 288265 h 1022551"/>
                <a:gd name="connsiteX1570" fmla="*/ 20100 w 993885"/>
                <a:gd name="connsiteY1570" fmla="*/ 286491 h 1022551"/>
                <a:gd name="connsiteX1571" fmla="*/ 21279 w 993885"/>
                <a:gd name="connsiteY1571" fmla="*/ 284065 h 1022551"/>
                <a:gd name="connsiteX1572" fmla="*/ 23683 w 993885"/>
                <a:gd name="connsiteY1572" fmla="*/ 280405 h 1022551"/>
                <a:gd name="connsiteX1573" fmla="*/ 25920 w 993885"/>
                <a:gd name="connsiteY1573" fmla="*/ 276471 h 1022551"/>
                <a:gd name="connsiteX1574" fmla="*/ 26164 w 993885"/>
                <a:gd name="connsiteY1574" fmla="*/ 275321 h 1022551"/>
                <a:gd name="connsiteX1575" fmla="*/ 26450 w 993885"/>
                <a:gd name="connsiteY1575" fmla="*/ 272918 h 1022551"/>
                <a:gd name="connsiteX1576" fmla="*/ 27481 w 993885"/>
                <a:gd name="connsiteY1576" fmla="*/ 268019 h 1022551"/>
                <a:gd name="connsiteX1577" fmla="*/ 28051 w 993885"/>
                <a:gd name="connsiteY1577" fmla="*/ 265367 h 1022551"/>
                <a:gd name="connsiteX1578" fmla="*/ 27755 w 993885"/>
                <a:gd name="connsiteY1578" fmla="*/ 264337 h 1022551"/>
                <a:gd name="connsiteX1579" fmla="*/ 28273 w 993885"/>
                <a:gd name="connsiteY1579" fmla="*/ 263449 h 1022551"/>
                <a:gd name="connsiteX1580" fmla="*/ 29670 w 993885"/>
                <a:gd name="connsiteY1580" fmla="*/ 262711 h 1022551"/>
                <a:gd name="connsiteX1581" fmla="*/ 33049 w 993885"/>
                <a:gd name="connsiteY1581" fmla="*/ 262036 h 1022551"/>
                <a:gd name="connsiteX1582" fmla="*/ 35340 w 993885"/>
                <a:gd name="connsiteY1582" fmla="*/ 260571 h 1022551"/>
                <a:gd name="connsiteX1583" fmla="*/ 38873 w 993885"/>
                <a:gd name="connsiteY1583" fmla="*/ 257818 h 1022551"/>
                <a:gd name="connsiteX1584" fmla="*/ 41819 w 993885"/>
                <a:gd name="connsiteY1584" fmla="*/ 254889 h 1022551"/>
                <a:gd name="connsiteX1585" fmla="*/ 44254 w 993885"/>
                <a:gd name="connsiteY1585" fmla="*/ 253947 h 1022551"/>
                <a:gd name="connsiteX1586" fmla="*/ 48673 w 993885"/>
                <a:gd name="connsiteY1586" fmla="*/ 251237 h 1022551"/>
                <a:gd name="connsiteX1587" fmla="*/ 51212 w 993885"/>
                <a:gd name="connsiteY1587" fmla="*/ 249517 h 1022551"/>
                <a:gd name="connsiteX1588" fmla="*/ 52207 w 993885"/>
                <a:gd name="connsiteY1588" fmla="*/ 248977 h 1022551"/>
                <a:gd name="connsiteX1589" fmla="*/ 54702 w 993885"/>
                <a:gd name="connsiteY1589" fmla="*/ 247734 h 1022551"/>
                <a:gd name="connsiteX1590" fmla="*/ 59174 w 993885"/>
                <a:gd name="connsiteY1590" fmla="*/ 247299 h 1022551"/>
                <a:gd name="connsiteX1591" fmla="*/ 62902 w 993885"/>
                <a:gd name="connsiteY1591" fmla="*/ 246853 h 1022551"/>
                <a:gd name="connsiteX1592" fmla="*/ 65009 w 993885"/>
                <a:gd name="connsiteY1592" fmla="*/ 246037 h 1022551"/>
                <a:gd name="connsiteX1593" fmla="*/ 68089 w 993885"/>
                <a:gd name="connsiteY1593" fmla="*/ 245698 h 1022551"/>
                <a:gd name="connsiteX1594" fmla="*/ 70163 w 993885"/>
                <a:gd name="connsiteY1594" fmla="*/ 244781 h 1022551"/>
                <a:gd name="connsiteX1595" fmla="*/ 72465 w 993885"/>
                <a:gd name="connsiteY1595" fmla="*/ 244756 h 1022551"/>
                <a:gd name="connsiteX1596" fmla="*/ 76789 w 993885"/>
                <a:gd name="connsiteY1596" fmla="*/ 243824 h 1022551"/>
                <a:gd name="connsiteX1597" fmla="*/ 78262 w 993885"/>
                <a:gd name="connsiteY1597" fmla="*/ 242422 h 1022551"/>
                <a:gd name="connsiteX1598" fmla="*/ 79520 w 993885"/>
                <a:gd name="connsiteY1598" fmla="*/ 240753 h 1022551"/>
                <a:gd name="connsiteX1599" fmla="*/ 81205 w 993885"/>
                <a:gd name="connsiteY1599" fmla="*/ 239324 h 1022551"/>
                <a:gd name="connsiteX1600" fmla="*/ 83182 w 993885"/>
                <a:gd name="connsiteY1600" fmla="*/ 238957 h 1022551"/>
                <a:gd name="connsiteX1601" fmla="*/ 85388 w 993885"/>
                <a:gd name="connsiteY1601" fmla="*/ 239205 h 1022551"/>
                <a:gd name="connsiteX1602" fmla="*/ 88022 w 993885"/>
                <a:gd name="connsiteY1602" fmla="*/ 239177 h 1022551"/>
                <a:gd name="connsiteX1603" fmla="*/ 91218 w 993885"/>
                <a:gd name="connsiteY1603" fmla="*/ 238733 h 1022551"/>
                <a:gd name="connsiteX1604" fmla="*/ 92764 w 993885"/>
                <a:gd name="connsiteY1604" fmla="*/ 239840 h 1022551"/>
                <a:gd name="connsiteX1605" fmla="*/ 93443 w 993885"/>
                <a:gd name="connsiteY1605" fmla="*/ 241194 h 1022551"/>
                <a:gd name="connsiteX1606" fmla="*/ 95414 w 993885"/>
                <a:gd name="connsiteY1606" fmla="*/ 242571 h 1022551"/>
                <a:gd name="connsiteX1607" fmla="*/ 96813 w 993885"/>
                <a:gd name="connsiteY1607" fmla="*/ 242495 h 1022551"/>
                <a:gd name="connsiteX1608" fmla="*/ 98212 w 993885"/>
                <a:gd name="connsiteY1608" fmla="*/ 242201 h 1022551"/>
                <a:gd name="connsiteX1609" fmla="*/ 100126 w 993885"/>
                <a:gd name="connsiteY1609" fmla="*/ 243382 h 1022551"/>
                <a:gd name="connsiteX1610" fmla="*/ 101378 w 993885"/>
                <a:gd name="connsiteY1610" fmla="*/ 243233 h 1022551"/>
                <a:gd name="connsiteX1611" fmla="*/ 102188 w 993885"/>
                <a:gd name="connsiteY1611" fmla="*/ 242571 h 1022551"/>
                <a:gd name="connsiteX1612" fmla="*/ 102343 w 993885"/>
                <a:gd name="connsiteY1612" fmla="*/ 240913 h 1022551"/>
                <a:gd name="connsiteX1613" fmla="*/ 102792 w 993885"/>
                <a:gd name="connsiteY1613" fmla="*/ 240015 h 1022551"/>
                <a:gd name="connsiteX1614" fmla="*/ 103734 w 993885"/>
                <a:gd name="connsiteY1614" fmla="*/ 234834 h 1022551"/>
                <a:gd name="connsiteX1615" fmla="*/ 105287 w 993885"/>
                <a:gd name="connsiteY1615" fmla="*/ 226285 h 1022551"/>
                <a:gd name="connsiteX1616" fmla="*/ 106698 w 993885"/>
                <a:gd name="connsiteY1616" fmla="*/ 218534 h 1022551"/>
                <a:gd name="connsiteX1617" fmla="*/ 108259 w 993885"/>
                <a:gd name="connsiteY1617" fmla="*/ 209958 h 1022551"/>
                <a:gd name="connsiteX1618" fmla="*/ 109870 w 993885"/>
                <a:gd name="connsiteY1618" fmla="*/ 201101 h 1022551"/>
                <a:gd name="connsiteX1619" fmla="*/ 111502 w 993885"/>
                <a:gd name="connsiteY1619" fmla="*/ 192134 h 1022551"/>
                <a:gd name="connsiteX1620" fmla="*/ 112842 w 993885"/>
                <a:gd name="connsiteY1620" fmla="*/ 184777 h 1022551"/>
                <a:gd name="connsiteX1621" fmla="*/ 113993 w 993885"/>
                <a:gd name="connsiteY1621" fmla="*/ 178453 h 1022551"/>
                <a:gd name="connsiteX1622" fmla="*/ 114699 w 993885"/>
                <a:gd name="connsiteY1622" fmla="*/ 174573 h 1022551"/>
                <a:gd name="connsiteX1623" fmla="*/ 115807 w 993885"/>
                <a:gd name="connsiteY1623" fmla="*/ 169494 h 1022551"/>
                <a:gd name="connsiteX1624" fmla="*/ 116239 w 993885"/>
                <a:gd name="connsiteY1624" fmla="*/ 165031 h 1022551"/>
                <a:gd name="connsiteX1625" fmla="*/ 116686 w 993885"/>
                <a:gd name="connsiteY1625" fmla="*/ 163744 h 1022551"/>
                <a:gd name="connsiteX1626" fmla="*/ 116403 w 993885"/>
                <a:gd name="connsiteY1626" fmla="*/ 162661 h 1022551"/>
                <a:gd name="connsiteX1627" fmla="*/ 115446 w 993885"/>
                <a:gd name="connsiteY1627" fmla="*/ 161123 h 1022551"/>
                <a:gd name="connsiteX1628" fmla="*/ 115457 w 993885"/>
                <a:gd name="connsiteY1628" fmla="*/ 160447 h 1022551"/>
                <a:gd name="connsiteX1629" fmla="*/ 115568 w 993885"/>
                <a:gd name="connsiteY1629" fmla="*/ 159550 h 1022551"/>
                <a:gd name="connsiteX1630" fmla="*/ 115457 w 993885"/>
                <a:gd name="connsiteY1630" fmla="*/ 158768 h 1022551"/>
                <a:gd name="connsiteX1631" fmla="*/ 114450 w 993885"/>
                <a:gd name="connsiteY1631" fmla="*/ 157931 h 1022551"/>
                <a:gd name="connsiteX1632" fmla="*/ 113668 w 993885"/>
                <a:gd name="connsiteY1632" fmla="*/ 157425 h 1022551"/>
                <a:gd name="connsiteX1633" fmla="*/ 113052 w 993885"/>
                <a:gd name="connsiteY1633" fmla="*/ 156700 h 1022551"/>
                <a:gd name="connsiteX1634" fmla="*/ 112772 w 993885"/>
                <a:gd name="connsiteY1634" fmla="*/ 155693 h 1022551"/>
                <a:gd name="connsiteX1635" fmla="*/ 112270 w 993885"/>
                <a:gd name="connsiteY1635" fmla="*/ 154687 h 1022551"/>
                <a:gd name="connsiteX1636" fmla="*/ 112046 w 993885"/>
                <a:gd name="connsiteY1636" fmla="*/ 153624 h 1022551"/>
                <a:gd name="connsiteX1637" fmla="*/ 111319 w 993885"/>
                <a:gd name="connsiteY1637" fmla="*/ 152786 h 1022551"/>
                <a:gd name="connsiteX1638" fmla="*/ 111096 w 993885"/>
                <a:gd name="connsiteY1638" fmla="*/ 151723 h 1022551"/>
                <a:gd name="connsiteX1639" fmla="*/ 111599 w 993885"/>
                <a:gd name="connsiteY1639" fmla="*/ 150717 h 1022551"/>
                <a:gd name="connsiteX1640" fmla="*/ 111823 w 993885"/>
                <a:gd name="connsiteY1640" fmla="*/ 149655 h 1022551"/>
                <a:gd name="connsiteX1641" fmla="*/ 111599 w 993885"/>
                <a:gd name="connsiteY1641" fmla="*/ 148647 h 1022551"/>
                <a:gd name="connsiteX1642" fmla="*/ 111319 w 993885"/>
                <a:gd name="connsiteY1642" fmla="*/ 147473 h 1022551"/>
                <a:gd name="connsiteX1643" fmla="*/ 110760 w 993885"/>
                <a:gd name="connsiteY1643" fmla="*/ 146356 h 1022551"/>
                <a:gd name="connsiteX1644" fmla="*/ 109910 w 993885"/>
                <a:gd name="connsiteY1644" fmla="*/ 145676 h 1022551"/>
                <a:gd name="connsiteX1645" fmla="*/ 107881 w 993885"/>
                <a:gd name="connsiteY1645" fmla="*/ 144918 h 1022551"/>
                <a:gd name="connsiteX1646" fmla="*/ 105841 w 993885"/>
                <a:gd name="connsiteY1646" fmla="*/ 143113 h 1022551"/>
                <a:gd name="connsiteX1647" fmla="*/ 103437 w 993885"/>
                <a:gd name="connsiteY1647" fmla="*/ 141494 h 1022551"/>
                <a:gd name="connsiteX1648" fmla="*/ 100361 w 993885"/>
                <a:gd name="connsiteY1648" fmla="*/ 138418 h 1022551"/>
                <a:gd name="connsiteX1649" fmla="*/ 99690 w 993885"/>
                <a:gd name="connsiteY1649" fmla="*/ 136964 h 1022551"/>
                <a:gd name="connsiteX1650" fmla="*/ 99680 w 993885"/>
                <a:gd name="connsiteY1650" fmla="*/ 132973 h 1022551"/>
                <a:gd name="connsiteX1651" fmla="*/ 99812 w 993885"/>
                <a:gd name="connsiteY1651" fmla="*/ 128641 h 1022551"/>
                <a:gd name="connsiteX1652" fmla="*/ 100010 w 993885"/>
                <a:gd name="connsiteY1652" fmla="*/ 122099 h 1022551"/>
                <a:gd name="connsiteX1653" fmla="*/ 100111 w 993885"/>
                <a:gd name="connsiteY1653" fmla="*/ 118772 h 1022551"/>
                <a:gd name="connsiteX1654" fmla="*/ 101847 w 993885"/>
                <a:gd name="connsiteY1654" fmla="*/ 118588 h 1022551"/>
                <a:gd name="connsiteX1655" fmla="*/ 103378 w 993885"/>
                <a:gd name="connsiteY1655" fmla="*/ 118498 h 1022551"/>
                <a:gd name="connsiteX1656" fmla="*/ 104976 w 993885"/>
                <a:gd name="connsiteY1656" fmla="*/ 118267 h 1022551"/>
                <a:gd name="connsiteX1657" fmla="*/ 106369 w 993885"/>
                <a:gd name="connsiteY1657" fmla="*/ 118040 h 1022551"/>
                <a:gd name="connsiteX1658" fmla="*/ 107646 w 993885"/>
                <a:gd name="connsiteY1658" fmla="*/ 117561 h 1022551"/>
                <a:gd name="connsiteX1659" fmla="*/ 108606 w 993885"/>
                <a:gd name="connsiteY1659" fmla="*/ 116967 h 1022551"/>
                <a:gd name="connsiteX1660" fmla="*/ 109749 w 993885"/>
                <a:gd name="connsiteY1660" fmla="*/ 116579 h 1022551"/>
                <a:gd name="connsiteX1661" fmla="*/ 110639 w 993885"/>
                <a:gd name="connsiteY1661" fmla="*/ 116716 h 1022551"/>
                <a:gd name="connsiteX1662" fmla="*/ 111529 w 993885"/>
                <a:gd name="connsiteY1662" fmla="*/ 116192 h 1022551"/>
                <a:gd name="connsiteX1663" fmla="*/ 112513 w 993885"/>
                <a:gd name="connsiteY1663" fmla="*/ 115688 h 1022551"/>
                <a:gd name="connsiteX1664" fmla="*/ 113470 w 993885"/>
                <a:gd name="connsiteY1664" fmla="*/ 115278 h 1022551"/>
                <a:gd name="connsiteX1665" fmla="*/ 114864 w 993885"/>
                <a:gd name="connsiteY1665" fmla="*/ 114935 h 1022551"/>
                <a:gd name="connsiteX1666" fmla="*/ 116165 w 993885"/>
                <a:gd name="connsiteY1666" fmla="*/ 115734 h 1022551"/>
                <a:gd name="connsiteX1667" fmla="*/ 116896 w 993885"/>
                <a:gd name="connsiteY1667" fmla="*/ 116533 h 1022551"/>
                <a:gd name="connsiteX1668" fmla="*/ 117741 w 993885"/>
                <a:gd name="connsiteY1668" fmla="*/ 116921 h 1022551"/>
                <a:gd name="connsiteX1669" fmla="*/ 118539 w 993885"/>
                <a:gd name="connsiteY1669" fmla="*/ 116830 h 1022551"/>
                <a:gd name="connsiteX1670" fmla="*/ 119088 w 993885"/>
                <a:gd name="connsiteY1670" fmla="*/ 116899 h 1022551"/>
                <a:gd name="connsiteX1671" fmla="*/ 119658 w 993885"/>
                <a:gd name="connsiteY1671" fmla="*/ 117538 h 1022551"/>
                <a:gd name="connsiteX1672" fmla="*/ 120389 w 993885"/>
                <a:gd name="connsiteY1672" fmla="*/ 117584 h 1022551"/>
                <a:gd name="connsiteX1673" fmla="*/ 121439 w 993885"/>
                <a:gd name="connsiteY1673" fmla="*/ 117470 h 1022551"/>
                <a:gd name="connsiteX1674" fmla="*/ 122421 w 993885"/>
                <a:gd name="connsiteY1674" fmla="*/ 117333 h 1022551"/>
                <a:gd name="connsiteX1675" fmla="*/ 122878 w 993885"/>
                <a:gd name="connsiteY1675" fmla="*/ 117150 h 1022551"/>
                <a:gd name="connsiteX1676" fmla="*/ 122947 w 993885"/>
                <a:gd name="connsiteY1676" fmla="*/ 116739 h 1022551"/>
                <a:gd name="connsiteX1677" fmla="*/ 122696 w 993885"/>
                <a:gd name="connsiteY1677" fmla="*/ 116031 h 1022551"/>
                <a:gd name="connsiteX1678" fmla="*/ 122353 w 993885"/>
                <a:gd name="connsiteY1678" fmla="*/ 115368 h 1022551"/>
                <a:gd name="connsiteX1679" fmla="*/ 122626 w 993885"/>
                <a:gd name="connsiteY1679" fmla="*/ 114342 h 1022551"/>
                <a:gd name="connsiteX1680" fmla="*/ 122650 w 993885"/>
                <a:gd name="connsiteY1680" fmla="*/ 113108 h 1022551"/>
                <a:gd name="connsiteX1681" fmla="*/ 122696 w 993885"/>
                <a:gd name="connsiteY1681" fmla="*/ 111534 h 1022551"/>
                <a:gd name="connsiteX1682" fmla="*/ 121919 w 993885"/>
                <a:gd name="connsiteY1682" fmla="*/ 110665 h 1022551"/>
                <a:gd name="connsiteX1683" fmla="*/ 121143 w 993885"/>
                <a:gd name="connsiteY1683" fmla="*/ 109021 h 1022551"/>
                <a:gd name="connsiteX1684" fmla="*/ 120275 w 993885"/>
                <a:gd name="connsiteY1684" fmla="*/ 107695 h 1022551"/>
                <a:gd name="connsiteX1685" fmla="*/ 118929 w 993885"/>
                <a:gd name="connsiteY1685" fmla="*/ 106806 h 1022551"/>
                <a:gd name="connsiteX1686" fmla="*/ 117672 w 993885"/>
                <a:gd name="connsiteY1686" fmla="*/ 106463 h 1022551"/>
                <a:gd name="connsiteX1687" fmla="*/ 116622 w 993885"/>
                <a:gd name="connsiteY1687" fmla="*/ 107011 h 1022551"/>
                <a:gd name="connsiteX1688" fmla="*/ 115640 w 993885"/>
                <a:gd name="connsiteY1688" fmla="*/ 107101 h 1022551"/>
                <a:gd name="connsiteX1689" fmla="*/ 114910 w 993885"/>
                <a:gd name="connsiteY1689" fmla="*/ 106600 h 1022551"/>
                <a:gd name="connsiteX1690" fmla="*/ 113722 w 993885"/>
                <a:gd name="connsiteY1690" fmla="*/ 106577 h 1022551"/>
                <a:gd name="connsiteX1691" fmla="*/ 112443 w 993885"/>
                <a:gd name="connsiteY1691" fmla="*/ 106418 h 1022551"/>
                <a:gd name="connsiteX1692" fmla="*/ 111091 w 993885"/>
                <a:gd name="connsiteY1692" fmla="*/ 106229 h 1022551"/>
                <a:gd name="connsiteX1693" fmla="*/ 108654 w 993885"/>
                <a:gd name="connsiteY1693" fmla="*/ 106588 h 1022551"/>
                <a:gd name="connsiteX1694" fmla="*/ 107784 w 993885"/>
                <a:gd name="connsiteY1694" fmla="*/ 106143 h 1022551"/>
                <a:gd name="connsiteX1695" fmla="*/ 106597 w 993885"/>
                <a:gd name="connsiteY1695" fmla="*/ 106097 h 1022551"/>
                <a:gd name="connsiteX1696" fmla="*/ 105228 w 993885"/>
                <a:gd name="connsiteY1696" fmla="*/ 106576 h 1022551"/>
                <a:gd name="connsiteX1697" fmla="*/ 105262 w 993885"/>
                <a:gd name="connsiteY1697" fmla="*/ 100254 h 1022551"/>
                <a:gd name="connsiteX1698" fmla="*/ 105295 w 993885"/>
                <a:gd name="connsiteY1698" fmla="*/ 94293 h 1022551"/>
                <a:gd name="connsiteX1699" fmla="*/ 105317 w 993885"/>
                <a:gd name="connsiteY1699" fmla="*/ 90112 h 1022551"/>
                <a:gd name="connsiteX1700" fmla="*/ 106551 w 993885"/>
                <a:gd name="connsiteY1700" fmla="*/ 90202 h 1022551"/>
                <a:gd name="connsiteX1701" fmla="*/ 108081 w 993885"/>
                <a:gd name="connsiteY1701" fmla="*/ 89449 h 1022551"/>
                <a:gd name="connsiteX1702" fmla="*/ 110353 w 993885"/>
                <a:gd name="connsiteY1702" fmla="*/ 89332 h 1022551"/>
                <a:gd name="connsiteX1703" fmla="*/ 112097 w 993885"/>
                <a:gd name="connsiteY1703" fmla="*/ 88538 h 1022551"/>
                <a:gd name="connsiteX1704" fmla="*/ 113068 w 993885"/>
                <a:gd name="connsiteY1704" fmla="*/ 88475 h 1022551"/>
                <a:gd name="connsiteX1705" fmla="*/ 114913 w 993885"/>
                <a:gd name="connsiteY1705" fmla="*/ 88864 h 1022551"/>
                <a:gd name="connsiteX1706" fmla="*/ 116836 w 993885"/>
                <a:gd name="connsiteY1706" fmla="*/ 89679 h 1022551"/>
                <a:gd name="connsiteX1707" fmla="*/ 118728 w 993885"/>
                <a:gd name="connsiteY1707" fmla="*/ 89794 h 1022551"/>
                <a:gd name="connsiteX1708" fmla="*/ 123684 w 993885"/>
                <a:gd name="connsiteY1708" fmla="*/ 89793 h 1022551"/>
                <a:gd name="connsiteX1709" fmla="*/ 129036 w 993885"/>
                <a:gd name="connsiteY1709" fmla="*/ 89791 h 1022551"/>
                <a:gd name="connsiteX1710" fmla="*/ 134987 w 993885"/>
                <a:gd name="connsiteY1710" fmla="*/ 89788 h 1022551"/>
                <a:gd name="connsiteX1711" fmla="*/ 140947 w 993885"/>
                <a:gd name="connsiteY1711" fmla="*/ 89786 h 1022551"/>
                <a:gd name="connsiteX1712" fmla="*/ 146118 w 993885"/>
                <a:gd name="connsiteY1712" fmla="*/ 89783 h 1022551"/>
                <a:gd name="connsiteX1713" fmla="*/ 147714 w 993885"/>
                <a:gd name="connsiteY1713" fmla="*/ 89831 h 1022551"/>
                <a:gd name="connsiteX1714" fmla="*/ 146783 w 993885"/>
                <a:gd name="connsiteY1714" fmla="*/ 88442 h 1022551"/>
                <a:gd name="connsiteX1715" fmla="*/ 145701 w 993885"/>
                <a:gd name="connsiteY1715" fmla="*/ 86642 h 1022551"/>
                <a:gd name="connsiteX1716" fmla="*/ 146120 w 993885"/>
                <a:gd name="connsiteY1716" fmla="*/ 85226 h 1022551"/>
                <a:gd name="connsiteX1717" fmla="*/ 146654 w 993885"/>
                <a:gd name="connsiteY1717" fmla="*/ 83799 h 1022551"/>
                <a:gd name="connsiteX1718" fmla="*/ 147277 w 993885"/>
                <a:gd name="connsiteY1718" fmla="*/ 83052 h 1022551"/>
                <a:gd name="connsiteX1719" fmla="*/ 148888 w 993885"/>
                <a:gd name="connsiteY1719" fmla="*/ 83846 h 1022551"/>
                <a:gd name="connsiteX1720" fmla="*/ 150238 w 993885"/>
                <a:gd name="connsiteY1720" fmla="*/ 86272 h 1022551"/>
                <a:gd name="connsiteX1721" fmla="*/ 151358 w 993885"/>
                <a:gd name="connsiteY1721" fmla="*/ 88100 h 1022551"/>
                <a:gd name="connsiteX1722" fmla="*/ 152451 w 993885"/>
                <a:gd name="connsiteY1722" fmla="*/ 89001 h 1022551"/>
                <a:gd name="connsiteX1723" fmla="*/ 153809 w 993885"/>
                <a:gd name="connsiteY1723" fmla="*/ 89104 h 1022551"/>
                <a:gd name="connsiteX1724" fmla="*/ 155347 w 993885"/>
                <a:gd name="connsiteY1724" fmla="*/ 88796 h 1022551"/>
                <a:gd name="connsiteX1725" fmla="*/ 156880 w 993885"/>
                <a:gd name="connsiteY1725" fmla="*/ 88048 h 1022551"/>
                <a:gd name="connsiteX1726" fmla="*/ 159497 w 993885"/>
                <a:gd name="connsiteY1726" fmla="*/ 84699 h 1022551"/>
                <a:gd name="connsiteX1727" fmla="*/ 162099 w 993885"/>
                <a:gd name="connsiteY1727" fmla="*/ 81835 h 1022551"/>
                <a:gd name="connsiteX1728" fmla="*/ 163448 w 993885"/>
                <a:gd name="connsiteY1728" fmla="*/ 80873 h 1022551"/>
                <a:gd name="connsiteX1729" fmla="*/ 164878 w 993885"/>
                <a:gd name="connsiteY1729" fmla="*/ 79986 h 1022551"/>
                <a:gd name="connsiteX1730" fmla="*/ 165940 w 993885"/>
                <a:gd name="connsiteY1730" fmla="*/ 79651 h 1022551"/>
                <a:gd name="connsiteX1731" fmla="*/ 167394 w 993885"/>
                <a:gd name="connsiteY1731" fmla="*/ 79764 h 1022551"/>
                <a:gd name="connsiteX1732" fmla="*/ 168623 w 993885"/>
                <a:gd name="connsiteY1732" fmla="*/ 80547 h 1022551"/>
                <a:gd name="connsiteX1733" fmla="*/ 169418 w 993885"/>
                <a:gd name="connsiteY1733" fmla="*/ 81910 h 1022551"/>
                <a:gd name="connsiteX1734" fmla="*/ 172329 w 993885"/>
                <a:gd name="connsiteY1734" fmla="*/ 86660 h 1022551"/>
                <a:gd name="connsiteX1735" fmla="*/ 174524 w 993885"/>
                <a:gd name="connsiteY1735" fmla="*/ 90241 h 1022551"/>
                <a:gd name="connsiteX1736" fmla="*/ 175263 w 993885"/>
                <a:gd name="connsiteY1736" fmla="*/ 92475 h 1022551"/>
                <a:gd name="connsiteX1737" fmla="*/ 175310 w 993885"/>
                <a:gd name="connsiteY1737" fmla="*/ 97927 h 1022551"/>
                <a:gd name="connsiteX1738" fmla="*/ 175173 w 993885"/>
                <a:gd name="connsiteY1738" fmla="*/ 102760 h 1022551"/>
                <a:gd name="connsiteX1739" fmla="*/ 175461 w 993885"/>
                <a:gd name="connsiteY1739" fmla="*/ 103384 h 1022551"/>
                <a:gd name="connsiteX1740" fmla="*/ 175893 w 993885"/>
                <a:gd name="connsiteY1740" fmla="*/ 103563 h 1022551"/>
                <a:gd name="connsiteX1741" fmla="*/ 180691 w 993885"/>
                <a:gd name="connsiteY1741" fmla="*/ 102430 h 1022551"/>
                <a:gd name="connsiteX1742" fmla="*/ 187207 w 993885"/>
                <a:gd name="connsiteY1742" fmla="*/ 108285 h 1022551"/>
                <a:gd name="connsiteX1743" fmla="*/ 192020 w 993885"/>
                <a:gd name="connsiteY1743" fmla="*/ 112608 h 1022551"/>
                <a:gd name="connsiteX1744" fmla="*/ 194102 w 993885"/>
                <a:gd name="connsiteY1744" fmla="*/ 113990 h 1022551"/>
                <a:gd name="connsiteX1745" fmla="*/ 195254 w 993885"/>
                <a:gd name="connsiteY1745" fmla="*/ 114376 h 1022551"/>
                <a:gd name="connsiteX1746" fmla="*/ 198056 w 993885"/>
                <a:gd name="connsiteY1746" fmla="*/ 114088 h 1022551"/>
                <a:gd name="connsiteX1747" fmla="*/ 201381 w 993885"/>
                <a:gd name="connsiteY1747" fmla="*/ 113529 h 1022551"/>
                <a:gd name="connsiteX1748" fmla="*/ 202997 w 993885"/>
                <a:gd name="connsiteY1748" fmla="*/ 112910 h 1022551"/>
                <a:gd name="connsiteX1749" fmla="*/ 204784 w 993885"/>
                <a:gd name="connsiteY1749" fmla="*/ 111556 h 1022551"/>
                <a:gd name="connsiteX1750" fmla="*/ 207688 w 993885"/>
                <a:gd name="connsiteY1750" fmla="*/ 109677 h 1022551"/>
                <a:gd name="connsiteX1751" fmla="*/ 210052 w 993885"/>
                <a:gd name="connsiteY1751" fmla="*/ 108644 h 1022551"/>
                <a:gd name="connsiteX1752" fmla="*/ 210982 w 993885"/>
                <a:gd name="connsiteY1752" fmla="*/ 108505 h 1022551"/>
                <a:gd name="connsiteX1753" fmla="*/ 211914 w 993885"/>
                <a:gd name="connsiteY1753" fmla="*/ 108838 h 1022551"/>
                <a:gd name="connsiteX1754" fmla="*/ 213908 w 993885"/>
                <a:gd name="connsiteY1754" fmla="*/ 109960 h 1022551"/>
                <a:gd name="connsiteX1755" fmla="*/ 214999 w 993885"/>
                <a:gd name="connsiteY1755" fmla="*/ 112056 h 1022551"/>
                <a:gd name="connsiteX1756" fmla="*/ 213992 w 993885"/>
                <a:gd name="connsiteY1756" fmla="*/ 114489 h 1022551"/>
                <a:gd name="connsiteX1757" fmla="*/ 214160 w 993885"/>
                <a:gd name="connsiteY1757" fmla="*/ 115998 h 1022551"/>
                <a:gd name="connsiteX1758" fmla="*/ 216257 w 993885"/>
                <a:gd name="connsiteY1758" fmla="*/ 115915 h 1022551"/>
                <a:gd name="connsiteX1759" fmla="*/ 217934 w 993885"/>
                <a:gd name="connsiteY1759" fmla="*/ 113399 h 1022551"/>
                <a:gd name="connsiteX1760" fmla="*/ 219111 w 993885"/>
                <a:gd name="connsiteY1760" fmla="*/ 111417 h 1022551"/>
                <a:gd name="connsiteX1761" fmla="*/ 221567 w 993885"/>
                <a:gd name="connsiteY1761" fmla="*/ 109813 h 1022551"/>
                <a:gd name="connsiteX1762" fmla="*/ 223959 w 993885"/>
                <a:gd name="connsiteY1762" fmla="*/ 107522 h 1022551"/>
                <a:gd name="connsiteX1763" fmla="*/ 225629 w 993885"/>
                <a:gd name="connsiteY1763" fmla="*/ 105345 h 1022551"/>
                <a:gd name="connsiteX1764" fmla="*/ 227586 w 993885"/>
                <a:gd name="connsiteY1764" fmla="*/ 104067 h 1022551"/>
                <a:gd name="connsiteX1765" fmla="*/ 230540 w 993885"/>
                <a:gd name="connsiteY1765" fmla="*/ 102513 h 1022551"/>
                <a:gd name="connsiteX1766" fmla="*/ 232876 w 993885"/>
                <a:gd name="connsiteY1766" fmla="*/ 101565 h 1022551"/>
                <a:gd name="connsiteX1767" fmla="*/ 235067 w 993885"/>
                <a:gd name="connsiteY1767" fmla="*/ 101661 h 1022551"/>
                <a:gd name="connsiteX1768" fmla="*/ 236693 w 993885"/>
                <a:gd name="connsiteY1768" fmla="*/ 100634 h 1022551"/>
                <a:gd name="connsiteX1769" fmla="*/ 238799 w 993885"/>
                <a:gd name="connsiteY1769" fmla="*/ 98706 h 1022551"/>
                <a:gd name="connsiteX1770" fmla="*/ 240272 w 993885"/>
                <a:gd name="connsiteY1770" fmla="*/ 97156 h 1022551"/>
                <a:gd name="connsiteX1771" fmla="*/ 241293 w 993885"/>
                <a:gd name="connsiteY1771" fmla="*/ 96603 h 1022551"/>
                <a:gd name="connsiteX1772" fmla="*/ 243344 w 993885"/>
                <a:gd name="connsiteY1772" fmla="*/ 96753 h 1022551"/>
                <a:gd name="connsiteX1773" fmla="*/ 245903 w 993885"/>
                <a:gd name="connsiteY1773" fmla="*/ 96540 h 1022551"/>
                <a:gd name="connsiteX1774" fmla="*/ 248418 w 993885"/>
                <a:gd name="connsiteY1774" fmla="*/ 94657 h 1022551"/>
                <a:gd name="connsiteX1775" fmla="*/ 250705 w 993885"/>
                <a:gd name="connsiteY1775" fmla="*/ 92380 h 1022551"/>
                <a:gd name="connsiteX1776" fmla="*/ 251917 w 993885"/>
                <a:gd name="connsiteY1776" fmla="*/ 88545 h 1022551"/>
                <a:gd name="connsiteX1777" fmla="*/ 252718 w 993885"/>
                <a:gd name="connsiteY1777" fmla="*/ 85148 h 1022551"/>
                <a:gd name="connsiteX1778" fmla="*/ 253401 w 993885"/>
                <a:gd name="connsiteY1778" fmla="*/ 84458 h 1022551"/>
                <a:gd name="connsiteX1779" fmla="*/ 254231 w 993885"/>
                <a:gd name="connsiteY1779" fmla="*/ 83915 h 1022551"/>
                <a:gd name="connsiteX1780" fmla="*/ 255211 w 993885"/>
                <a:gd name="connsiteY1780" fmla="*/ 83560 h 1022551"/>
                <a:gd name="connsiteX1781" fmla="*/ 257560 w 993885"/>
                <a:gd name="connsiteY1781" fmla="*/ 83314 h 1022551"/>
                <a:gd name="connsiteX1782" fmla="*/ 261677 w 993885"/>
                <a:gd name="connsiteY1782" fmla="*/ 81502 h 1022551"/>
                <a:gd name="connsiteX1783" fmla="*/ 264513 w 993885"/>
                <a:gd name="connsiteY1783" fmla="*/ 79667 h 1022551"/>
                <a:gd name="connsiteX1784" fmla="*/ 267210 w 993885"/>
                <a:gd name="connsiteY1784" fmla="*/ 79273 h 1022551"/>
                <a:gd name="connsiteX1785" fmla="*/ 268006 w 993885"/>
                <a:gd name="connsiteY1785" fmla="*/ 78778 h 1022551"/>
                <a:gd name="connsiteX1786" fmla="*/ 268984 w 993885"/>
                <a:gd name="connsiteY1786" fmla="*/ 77079 h 1022551"/>
                <a:gd name="connsiteX1787" fmla="*/ 269468 w 993885"/>
                <a:gd name="connsiteY1787" fmla="*/ 74087 h 1022551"/>
                <a:gd name="connsiteX1788" fmla="*/ 269103 w 993885"/>
                <a:gd name="connsiteY1788" fmla="*/ 72274 h 1022551"/>
                <a:gd name="connsiteX1789" fmla="*/ 264149 w 993885"/>
                <a:gd name="connsiteY1789" fmla="*/ 71715 h 1022551"/>
                <a:gd name="connsiteX1790" fmla="*/ 260905 w 993885"/>
                <a:gd name="connsiteY1790" fmla="*/ 71713 h 1022551"/>
                <a:gd name="connsiteX1791" fmla="*/ 255540 w 993885"/>
                <a:gd name="connsiteY1791" fmla="*/ 71246 h 1022551"/>
                <a:gd name="connsiteX1792" fmla="*/ 252985 w 993885"/>
                <a:gd name="connsiteY1792" fmla="*/ 70499 h 1022551"/>
                <a:gd name="connsiteX1793" fmla="*/ 252436 w 993885"/>
                <a:gd name="connsiteY1793" fmla="*/ 69979 h 1022551"/>
                <a:gd name="connsiteX1794" fmla="*/ 252378 w 993885"/>
                <a:gd name="connsiteY1794" fmla="*/ 69403 h 1022551"/>
                <a:gd name="connsiteX1795" fmla="*/ 252889 w 993885"/>
                <a:gd name="connsiteY1795" fmla="*/ 68110 h 1022551"/>
                <a:gd name="connsiteX1796" fmla="*/ 253387 w 993885"/>
                <a:gd name="connsiteY1796" fmla="*/ 65679 h 1022551"/>
                <a:gd name="connsiteX1797" fmla="*/ 252658 w 993885"/>
                <a:gd name="connsiteY1797" fmla="*/ 62389 h 1022551"/>
                <a:gd name="connsiteX1798" fmla="*/ 249977 w 993885"/>
                <a:gd name="connsiteY1798" fmla="*/ 57227 h 1022551"/>
                <a:gd name="connsiteX1799" fmla="*/ 248068 w 993885"/>
                <a:gd name="connsiteY1799" fmla="*/ 52156 h 1022551"/>
                <a:gd name="connsiteX1800" fmla="*/ 247817 w 993885"/>
                <a:gd name="connsiteY1800" fmla="*/ 48621 h 1022551"/>
                <a:gd name="connsiteX1801" fmla="*/ 247859 w 993885"/>
                <a:gd name="connsiteY1801" fmla="*/ 44883 h 1022551"/>
                <a:gd name="connsiteX1802" fmla="*/ 248010 w 993885"/>
                <a:gd name="connsiteY1802" fmla="*/ 42441 h 1022551"/>
                <a:gd name="connsiteX1803" fmla="*/ 246637 w 993885"/>
                <a:gd name="connsiteY1803" fmla="*/ 40530 h 1022551"/>
                <a:gd name="connsiteX1804" fmla="*/ 239216 w 993885"/>
                <a:gd name="connsiteY1804" fmla="*/ 34510 h 1022551"/>
                <a:gd name="connsiteX1805" fmla="*/ 236653 w 993885"/>
                <a:gd name="connsiteY1805" fmla="*/ 31665 h 1022551"/>
                <a:gd name="connsiteX1806" fmla="*/ 235801 w 993885"/>
                <a:gd name="connsiteY1806" fmla="*/ 29697 h 1022551"/>
                <a:gd name="connsiteX1807" fmla="*/ 232878 w 993885"/>
                <a:gd name="connsiteY1807" fmla="*/ 26065 h 1022551"/>
                <a:gd name="connsiteX1808" fmla="*/ 233619 w 993885"/>
                <a:gd name="connsiteY1808" fmla="*/ 24954 h 1022551"/>
                <a:gd name="connsiteX1809" fmla="*/ 235303 w 993885"/>
                <a:gd name="connsiteY1809" fmla="*/ 24995 h 1022551"/>
                <a:gd name="connsiteX1810" fmla="*/ 236742 w 993885"/>
                <a:gd name="connsiteY1810" fmla="*/ 25942 h 1022551"/>
                <a:gd name="connsiteX1811" fmla="*/ 238056 w 993885"/>
                <a:gd name="connsiteY1811" fmla="*/ 27960 h 1022551"/>
                <a:gd name="connsiteX1812" fmla="*/ 239002 w 993885"/>
                <a:gd name="connsiteY1812" fmla="*/ 28412 h 1022551"/>
                <a:gd name="connsiteX1813" fmla="*/ 240291 w 993885"/>
                <a:gd name="connsiteY1813" fmla="*/ 28409 h 1022551"/>
                <a:gd name="connsiteX1814" fmla="*/ 247134 w 993885"/>
                <a:gd name="connsiteY1814" fmla="*/ 28401 h 1022551"/>
                <a:gd name="connsiteX1815" fmla="*/ 248736 w 993885"/>
                <a:gd name="connsiteY1815" fmla="*/ 28743 h 1022551"/>
                <a:gd name="connsiteX1816" fmla="*/ 249704 w 993885"/>
                <a:gd name="connsiteY1816" fmla="*/ 29422 h 1022551"/>
                <a:gd name="connsiteX1817" fmla="*/ 250530 w 993885"/>
                <a:gd name="connsiteY1817" fmla="*/ 30263 h 1022551"/>
                <a:gd name="connsiteX1818" fmla="*/ 251756 w 993885"/>
                <a:gd name="connsiteY1818" fmla="*/ 32615 h 1022551"/>
                <a:gd name="connsiteX1819" fmla="*/ 253072 w 993885"/>
                <a:gd name="connsiteY1819" fmla="*/ 33765 h 1022551"/>
                <a:gd name="connsiteX1820" fmla="*/ 255781 w 993885"/>
                <a:gd name="connsiteY1820" fmla="*/ 33725 h 1022551"/>
                <a:gd name="connsiteX1821" fmla="*/ 260033 w 993885"/>
                <a:gd name="connsiteY1821" fmla="*/ 33677 h 1022551"/>
                <a:gd name="connsiteX1822" fmla="*/ 262417 w 993885"/>
                <a:gd name="connsiteY1822" fmla="*/ 33467 h 1022551"/>
                <a:gd name="connsiteX1823" fmla="*/ 263844 w 993885"/>
                <a:gd name="connsiteY1823" fmla="*/ 34122 h 1022551"/>
                <a:gd name="connsiteX1824" fmla="*/ 265615 w 993885"/>
                <a:gd name="connsiteY1824" fmla="*/ 34664 h 1022551"/>
                <a:gd name="connsiteX1825" fmla="*/ 269343 w 993885"/>
                <a:gd name="connsiteY1825" fmla="*/ 33416 h 1022551"/>
                <a:gd name="connsiteX1826" fmla="*/ 270385 w 993885"/>
                <a:gd name="connsiteY1826" fmla="*/ 33389 h 1022551"/>
                <a:gd name="connsiteX1827" fmla="*/ 271500 w 993885"/>
                <a:gd name="connsiteY1827" fmla="*/ 33939 h 1022551"/>
                <a:gd name="connsiteX1828" fmla="*/ 275519 w 993885"/>
                <a:gd name="connsiteY1828" fmla="*/ 38149 h 1022551"/>
                <a:gd name="connsiteX1829" fmla="*/ 277824 w 993885"/>
                <a:gd name="connsiteY1829" fmla="*/ 39927 h 1022551"/>
                <a:gd name="connsiteX1830" fmla="*/ 279768 w 993885"/>
                <a:gd name="connsiteY1830" fmla="*/ 42275 h 1022551"/>
                <a:gd name="connsiteX1831" fmla="*/ 282600 w 993885"/>
                <a:gd name="connsiteY1831" fmla="*/ 42288 h 1022551"/>
                <a:gd name="connsiteX1832" fmla="*/ 284942 w 993885"/>
                <a:gd name="connsiteY1832" fmla="*/ 40270 h 1022551"/>
                <a:gd name="connsiteX1833" fmla="*/ 285568 w 993885"/>
                <a:gd name="connsiteY1833" fmla="*/ 33480 h 1022551"/>
                <a:gd name="connsiteX1834" fmla="*/ 286273 w 993885"/>
                <a:gd name="connsiteY1834" fmla="*/ 31510 h 1022551"/>
                <a:gd name="connsiteX1835" fmla="*/ 287459 w 993885"/>
                <a:gd name="connsiteY1835" fmla="*/ 30958 h 1022551"/>
                <a:gd name="connsiteX1836" fmla="*/ 288868 w 993885"/>
                <a:gd name="connsiteY1836" fmla="*/ 30891 h 1022551"/>
                <a:gd name="connsiteX1837" fmla="*/ 290537 w 993885"/>
                <a:gd name="connsiteY1837" fmla="*/ 29823 h 1022551"/>
                <a:gd name="connsiteX1838" fmla="*/ 292347 w 993885"/>
                <a:gd name="connsiteY1838" fmla="*/ 28447 h 1022551"/>
                <a:gd name="connsiteX1839" fmla="*/ 293917 w 993885"/>
                <a:gd name="connsiteY1839" fmla="*/ 27984 h 1022551"/>
                <a:gd name="connsiteX1840" fmla="*/ 300447 w 993885"/>
                <a:gd name="connsiteY1840" fmla="*/ 29466 h 1022551"/>
                <a:gd name="connsiteX1841" fmla="*/ 302261 w 993885"/>
                <a:gd name="connsiteY1841" fmla="*/ 28757 h 1022551"/>
                <a:gd name="connsiteX1842" fmla="*/ 308873 w 993885"/>
                <a:gd name="connsiteY1842" fmla="*/ 26961 h 1022551"/>
                <a:gd name="connsiteX1843" fmla="*/ 315633 w 993885"/>
                <a:gd name="connsiteY1843" fmla="*/ 24655 h 1022551"/>
                <a:gd name="connsiteX1844" fmla="*/ 317530 w 993885"/>
                <a:gd name="connsiteY1844" fmla="*/ 21748 h 1022551"/>
                <a:gd name="connsiteX1845" fmla="*/ 320366 w 993885"/>
                <a:gd name="connsiteY1845" fmla="*/ 20967 h 1022551"/>
                <a:gd name="connsiteX1846" fmla="*/ 322584 w 993885"/>
                <a:gd name="connsiteY1846" fmla="*/ 18835 h 1022551"/>
                <a:gd name="connsiteX1847" fmla="*/ 324375 w 993885"/>
                <a:gd name="connsiteY1847" fmla="*/ 19060 h 1022551"/>
                <a:gd name="connsiteX1848" fmla="*/ 327088 w 993885"/>
                <a:gd name="connsiteY1848" fmla="*/ 19145 h 1022551"/>
                <a:gd name="connsiteX1849" fmla="*/ 328766 w 993885"/>
                <a:gd name="connsiteY1849" fmla="*/ 18773 h 1022551"/>
                <a:gd name="connsiteX1850" fmla="*/ 329614 w 993885"/>
                <a:gd name="connsiteY1850" fmla="*/ 18368 h 1022551"/>
                <a:gd name="connsiteX1851" fmla="*/ 330538 w 993885"/>
                <a:gd name="connsiteY1851" fmla="*/ 17366 h 1022551"/>
                <a:gd name="connsiteX1852" fmla="*/ 332063 w 993885"/>
                <a:gd name="connsiteY1852" fmla="*/ 14518 h 1022551"/>
                <a:gd name="connsiteX1853" fmla="*/ 333910 w 993885"/>
                <a:gd name="connsiteY1853" fmla="*/ 13440 h 1022551"/>
                <a:gd name="connsiteX1854" fmla="*/ 336234 w 993885"/>
                <a:gd name="connsiteY1854" fmla="*/ 12299 h 1022551"/>
                <a:gd name="connsiteX1855" fmla="*/ 337822 w 993885"/>
                <a:gd name="connsiteY1855" fmla="*/ 10953 h 1022551"/>
                <a:gd name="connsiteX1856" fmla="*/ 339129 w 993885"/>
                <a:gd name="connsiteY1856" fmla="*/ 9290 h 1022551"/>
                <a:gd name="connsiteX1857" fmla="*/ 339731 w 993885"/>
                <a:gd name="connsiteY1857" fmla="*/ 7845 h 1022551"/>
                <a:gd name="connsiteX1858" fmla="*/ 339715 w 993885"/>
                <a:gd name="connsiteY1858" fmla="*/ 6696 h 1022551"/>
                <a:gd name="connsiteX1859" fmla="*/ 338941 w 993885"/>
                <a:gd name="connsiteY1859" fmla="*/ 4475 h 1022551"/>
                <a:gd name="connsiteX1860" fmla="*/ 338004 w 993885"/>
                <a:gd name="connsiteY1860" fmla="*/ 2380 h 1022551"/>
                <a:gd name="connsiteX1861" fmla="*/ 336989 w 993885"/>
                <a:gd name="connsiteY1861" fmla="*/ 1688 h 1022551"/>
                <a:gd name="connsiteX1862" fmla="*/ 336224 w 993885"/>
                <a:gd name="connsiteY1862" fmla="*/ 1422 h 1022551"/>
                <a:gd name="connsiteX1863" fmla="*/ 338526 w 993885"/>
                <a:gd name="connsiteY1863" fmla="*/ 936 h 1022551"/>
                <a:gd name="connsiteX1864" fmla="*/ 340427 w 993885"/>
                <a:gd name="connsiteY1864" fmla="*/ 1665 h 1022551"/>
                <a:gd name="connsiteX1865" fmla="*/ 343390 w 993885"/>
                <a:gd name="connsiteY1865" fmla="*/ 1777 h 1022551"/>
                <a:gd name="connsiteX1866" fmla="*/ 344677 w 993885"/>
                <a:gd name="connsiteY1866" fmla="*/ 1216 h 1022551"/>
                <a:gd name="connsiteX1867" fmla="*/ 346542 w 993885"/>
                <a:gd name="connsiteY1867" fmla="*/ 1491 h 1022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</a:cxnLst>
              <a:rect l="l" t="t" r="r" b="b"/>
              <a:pathLst>
                <a:path w="993885" h="1022551">
                  <a:moveTo>
                    <a:pt x="648799" y="845793"/>
                  </a:moveTo>
                  <a:lnTo>
                    <a:pt x="649736" y="847211"/>
                  </a:lnTo>
                  <a:lnTo>
                    <a:pt x="648933" y="850350"/>
                  </a:lnTo>
                  <a:lnTo>
                    <a:pt x="646723" y="854202"/>
                  </a:lnTo>
                  <a:lnTo>
                    <a:pt x="646999" y="855845"/>
                  </a:lnTo>
                  <a:lnTo>
                    <a:pt x="645257" y="857083"/>
                  </a:lnTo>
                  <a:lnTo>
                    <a:pt x="645571" y="850583"/>
                  </a:lnTo>
                  <a:lnTo>
                    <a:pt x="646509" y="848415"/>
                  </a:lnTo>
                  <a:lnTo>
                    <a:pt x="647535" y="846797"/>
                  </a:lnTo>
                  <a:close/>
                  <a:moveTo>
                    <a:pt x="645633" y="812307"/>
                  </a:moveTo>
                  <a:lnTo>
                    <a:pt x="646702" y="813622"/>
                  </a:lnTo>
                  <a:lnTo>
                    <a:pt x="645852" y="816187"/>
                  </a:lnTo>
                  <a:lnTo>
                    <a:pt x="644915" y="817995"/>
                  </a:lnTo>
                  <a:lnTo>
                    <a:pt x="644500" y="818590"/>
                  </a:lnTo>
                  <a:lnTo>
                    <a:pt x="644027" y="818921"/>
                  </a:lnTo>
                  <a:lnTo>
                    <a:pt x="642437" y="815548"/>
                  </a:lnTo>
                  <a:close/>
                  <a:moveTo>
                    <a:pt x="727721" y="746405"/>
                  </a:moveTo>
                  <a:lnTo>
                    <a:pt x="728484" y="747060"/>
                  </a:lnTo>
                  <a:lnTo>
                    <a:pt x="729071" y="747882"/>
                  </a:lnTo>
                  <a:lnTo>
                    <a:pt x="729476" y="749030"/>
                  </a:lnTo>
                  <a:lnTo>
                    <a:pt x="729042" y="749771"/>
                  </a:lnTo>
                  <a:lnTo>
                    <a:pt x="728788" y="750741"/>
                  </a:lnTo>
                  <a:lnTo>
                    <a:pt x="728772" y="752140"/>
                  </a:lnTo>
                  <a:lnTo>
                    <a:pt x="727716" y="751428"/>
                  </a:lnTo>
                  <a:lnTo>
                    <a:pt x="724919" y="751970"/>
                  </a:lnTo>
                  <a:lnTo>
                    <a:pt x="723941" y="750914"/>
                  </a:lnTo>
                  <a:close/>
                  <a:moveTo>
                    <a:pt x="754587" y="728911"/>
                  </a:moveTo>
                  <a:lnTo>
                    <a:pt x="755156" y="729146"/>
                  </a:lnTo>
                  <a:lnTo>
                    <a:pt x="755886" y="729959"/>
                  </a:lnTo>
                  <a:lnTo>
                    <a:pt x="757467" y="730724"/>
                  </a:lnTo>
                  <a:lnTo>
                    <a:pt x="758259" y="731457"/>
                  </a:lnTo>
                  <a:lnTo>
                    <a:pt x="756796" y="731385"/>
                  </a:lnTo>
                  <a:lnTo>
                    <a:pt x="755154" y="732033"/>
                  </a:lnTo>
                  <a:lnTo>
                    <a:pt x="752629" y="732607"/>
                  </a:lnTo>
                  <a:lnTo>
                    <a:pt x="751612" y="731530"/>
                  </a:lnTo>
                  <a:lnTo>
                    <a:pt x="753795" y="730037"/>
                  </a:lnTo>
                  <a:close/>
                  <a:moveTo>
                    <a:pt x="888031" y="475177"/>
                  </a:moveTo>
                  <a:lnTo>
                    <a:pt x="889882" y="475246"/>
                  </a:lnTo>
                  <a:lnTo>
                    <a:pt x="889972" y="477113"/>
                  </a:lnTo>
                  <a:lnTo>
                    <a:pt x="889102" y="478633"/>
                  </a:lnTo>
                  <a:lnTo>
                    <a:pt x="888095" y="478406"/>
                  </a:lnTo>
                  <a:lnTo>
                    <a:pt x="887699" y="477388"/>
                  </a:lnTo>
                  <a:lnTo>
                    <a:pt x="886964" y="476395"/>
                  </a:lnTo>
                  <a:lnTo>
                    <a:pt x="887360" y="475619"/>
                  </a:lnTo>
                  <a:close/>
                  <a:moveTo>
                    <a:pt x="895942" y="461812"/>
                  </a:moveTo>
                  <a:lnTo>
                    <a:pt x="897301" y="462942"/>
                  </a:lnTo>
                  <a:lnTo>
                    <a:pt x="897662" y="464191"/>
                  </a:lnTo>
                  <a:lnTo>
                    <a:pt x="897639" y="464709"/>
                  </a:lnTo>
                  <a:lnTo>
                    <a:pt x="894022" y="467404"/>
                  </a:lnTo>
                  <a:lnTo>
                    <a:pt x="893029" y="467960"/>
                  </a:lnTo>
                  <a:lnTo>
                    <a:pt x="892928" y="466321"/>
                  </a:lnTo>
                  <a:lnTo>
                    <a:pt x="895518" y="464254"/>
                  </a:lnTo>
                  <a:close/>
                  <a:moveTo>
                    <a:pt x="748536" y="202367"/>
                  </a:moveTo>
                  <a:lnTo>
                    <a:pt x="748388" y="204199"/>
                  </a:lnTo>
                  <a:lnTo>
                    <a:pt x="748509" y="204762"/>
                  </a:lnTo>
                  <a:lnTo>
                    <a:pt x="748083" y="208002"/>
                  </a:lnTo>
                  <a:lnTo>
                    <a:pt x="745588" y="210488"/>
                  </a:lnTo>
                  <a:lnTo>
                    <a:pt x="746410" y="207604"/>
                  </a:lnTo>
                  <a:lnTo>
                    <a:pt x="745990" y="205616"/>
                  </a:lnTo>
                  <a:lnTo>
                    <a:pt x="746314" y="204077"/>
                  </a:lnTo>
                  <a:lnTo>
                    <a:pt x="748017" y="202587"/>
                  </a:lnTo>
                  <a:close/>
                  <a:moveTo>
                    <a:pt x="735929" y="165578"/>
                  </a:moveTo>
                  <a:lnTo>
                    <a:pt x="738220" y="165821"/>
                  </a:lnTo>
                  <a:lnTo>
                    <a:pt x="738352" y="166861"/>
                  </a:lnTo>
                  <a:lnTo>
                    <a:pt x="736728" y="168083"/>
                  </a:lnTo>
                  <a:lnTo>
                    <a:pt x="736203" y="168711"/>
                  </a:lnTo>
                  <a:lnTo>
                    <a:pt x="734859" y="168243"/>
                  </a:lnTo>
                  <a:lnTo>
                    <a:pt x="735103" y="167543"/>
                  </a:lnTo>
                  <a:lnTo>
                    <a:pt x="735499" y="167614"/>
                  </a:lnTo>
                  <a:close/>
                  <a:moveTo>
                    <a:pt x="576810" y="147171"/>
                  </a:moveTo>
                  <a:lnTo>
                    <a:pt x="579174" y="150349"/>
                  </a:lnTo>
                  <a:lnTo>
                    <a:pt x="576243" y="159353"/>
                  </a:lnTo>
                  <a:lnTo>
                    <a:pt x="575386" y="159405"/>
                  </a:lnTo>
                  <a:lnTo>
                    <a:pt x="571456" y="164154"/>
                  </a:lnTo>
                  <a:lnTo>
                    <a:pt x="567081" y="167471"/>
                  </a:lnTo>
                  <a:lnTo>
                    <a:pt x="562141" y="169801"/>
                  </a:lnTo>
                  <a:lnTo>
                    <a:pt x="559456" y="170279"/>
                  </a:lnTo>
                  <a:lnTo>
                    <a:pt x="562912" y="163937"/>
                  </a:lnTo>
                  <a:lnTo>
                    <a:pt x="566007" y="160985"/>
                  </a:lnTo>
                  <a:lnTo>
                    <a:pt x="566051" y="155125"/>
                  </a:lnTo>
                  <a:lnTo>
                    <a:pt x="569404" y="149915"/>
                  </a:lnTo>
                  <a:lnTo>
                    <a:pt x="572488" y="147793"/>
                  </a:lnTo>
                  <a:close/>
                  <a:moveTo>
                    <a:pt x="602312" y="136394"/>
                  </a:moveTo>
                  <a:lnTo>
                    <a:pt x="618023" y="139254"/>
                  </a:lnTo>
                  <a:lnTo>
                    <a:pt x="620392" y="139367"/>
                  </a:lnTo>
                  <a:lnTo>
                    <a:pt x="623747" y="138886"/>
                  </a:lnTo>
                  <a:lnTo>
                    <a:pt x="625994" y="137699"/>
                  </a:lnTo>
                  <a:lnTo>
                    <a:pt x="628509" y="137466"/>
                  </a:lnTo>
                  <a:lnTo>
                    <a:pt x="630997" y="137590"/>
                  </a:lnTo>
                  <a:lnTo>
                    <a:pt x="639375" y="138908"/>
                  </a:lnTo>
                  <a:lnTo>
                    <a:pt x="644409" y="139316"/>
                  </a:lnTo>
                  <a:lnTo>
                    <a:pt x="646250" y="139737"/>
                  </a:lnTo>
                  <a:lnTo>
                    <a:pt x="648049" y="140337"/>
                  </a:lnTo>
                  <a:lnTo>
                    <a:pt x="649363" y="140983"/>
                  </a:lnTo>
                  <a:lnTo>
                    <a:pt x="649692" y="142389"/>
                  </a:lnTo>
                  <a:lnTo>
                    <a:pt x="648466" y="144638"/>
                  </a:lnTo>
                  <a:lnTo>
                    <a:pt x="647555" y="147003"/>
                  </a:lnTo>
                  <a:lnTo>
                    <a:pt x="646706" y="150304"/>
                  </a:lnTo>
                  <a:lnTo>
                    <a:pt x="646050" y="150975"/>
                  </a:lnTo>
                  <a:lnTo>
                    <a:pt x="644952" y="150799"/>
                  </a:lnTo>
                  <a:lnTo>
                    <a:pt x="645635" y="153753"/>
                  </a:lnTo>
                  <a:lnTo>
                    <a:pt x="645386" y="154934"/>
                  </a:lnTo>
                  <a:lnTo>
                    <a:pt x="644843" y="156083"/>
                  </a:lnTo>
                  <a:lnTo>
                    <a:pt x="643495" y="158469"/>
                  </a:lnTo>
                  <a:lnTo>
                    <a:pt x="641454" y="161504"/>
                  </a:lnTo>
                  <a:lnTo>
                    <a:pt x="640847" y="162140"/>
                  </a:lnTo>
                  <a:lnTo>
                    <a:pt x="639292" y="163197"/>
                  </a:lnTo>
                  <a:lnTo>
                    <a:pt x="638028" y="164546"/>
                  </a:lnTo>
                  <a:lnTo>
                    <a:pt x="638299" y="165813"/>
                  </a:lnTo>
                  <a:lnTo>
                    <a:pt x="638931" y="167092"/>
                  </a:lnTo>
                  <a:lnTo>
                    <a:pt x="638182" y="168692"/>
                  </a:lnTo>
                  <a:lnTo>
                    <a:pt x="635766" y="171032"/>
                  </a:lnTo>
                  <a:lnTo>
                    <a:pt x="634319" y="171599"/>
                  </a:lnTo>
                  <a:lnTo>
                    <a:pt x="632988" y="171837"/>
                  </a:lnTo>
                  <a:lnTo>
                    <a:pt x="631761" y="171609"/>
                  </a:lnTo>
                  <a:lnTo>
                    <a:pt x="629583" y="169264"/>
                  </a:lnTo>
                  <a:lnTo>
                    <a:pt x="629356" y="171099"/>
                  </a:lnTo>
                  <a:lnTo>
                    <a:pt x="628770" y="172977"/>
                  </a:lnTo>
                  <a:lnTo>
                    <a:pt x="628030" y="174004"/>
                  </a:lnTo>
                  <a:lnTo>
                    <a:pt x="625220" y="173895"/>
                  </a:lnTo>
                  <a:lnTo>
                    <a:pt x="623653" y="172890"/>
                  </a:lnTo>
                  <a:lnTo>
                    <a:pt x="621117" y="171775"/>
                  </a:lnTo>
                  <a:lnTo>
                    <a:pt x="620634" y="174789"/>
                  </a:lnTo>
                  <a:lnTo>
                    <a:pt x="619056" y="176868"/>
                  </a:lnTo>
                  <a:lnTo>
                    <a:pt x="617467" y="177519"/>
                  </a:lnTo>
                  <a:lnTo>
                    <a:pt x="614977" y="177957"/>
                  </a:lnTo>
                  <a:lnTo>
                    <a:pt x="613547" y="178841"/>
                  </a:lnTo>
                  <a:lnTo>
                    <a:pt x="610855" y="178151"/>
                  </a:lnTo>
                  <a:lnTo>
                    <a:pt x="608354" y="176768"/>
                  </a:lnTo>
                  <a:lnTo>
                    <a:pt x="606940" y="176649"/>
                  </a:lnTo>
                  <a:lnTo>
                    <a:pt x="605836" y="177767"/>
                  </a:lnTo>
                  <a:lnTo>
                    <a:pt x="600025" y="177972"/>
                  </a:lnTo>
                  <a:lnTo>
                    <a:pt x="597362" y="179106"/>
                  </a:lnTo>
                  <a:lnTo>
                    <a:pt x="595735" y="178785"/>
                  </a:lnTo>
                  <a:lnTo>
                    <a:pt x="593341" y="176496"/>
                  </a:lnTo>
                  <a:lnTo>
                    <a:pt x="592957" y="174973"/>
                  </a:lnTo>
                  <a:lnTo>
                    <a:pt x="591531" y="171886"/>
                  </a:lnTo>
                  <a:lnTo>
                    <a:pt x="590253" y="168220"/>
                  </a:lnTo>
                  <a:lnTo>
                    <a:pt x="589341" y="164893"/>
                  </a:lnTo>
                  <a:lnTo>
                    <a:pt x="590109" y="162014"/>
                  </a:lnTo>
                  <a:lnTo>
                    <a:pt x="591661" y="162112"/>
                  </a:lnTo>
                  <a:lnTo>
                    <a:pt x="593497" y="162539"/>
                  </a:lnTo>
                  <a:lnTo>
                    <a:pt x="593887" y="162336"/>
                  </a:lnTo>
                  <a:lnTo>
                    <a:pt x="593977" y="161416"/>
                  </a:lnTo>
                  <a:lnTo>
                    <a:pt x="593572" y="160650"/>
                  </a:lnTo>
                  <a:lnTo>
                    <a:pt x="590614" y="160771"/>
                  </a:lnTo>
                  <a:lnTo>
                    <a:pt x="588745" y="159063"/>
                  </a:lnTo>
                  <a:lnTo>
                    <a:pt x="588420" y="156423"/>
                  </a:lnTo>
                  <a:lnTo>
                    <a:pt x="588804" y="150935"/>
                  </a:lnTo>
                  <a:lnTo>
                    <a:pt x="589048" y="149809"/>
                  </a:lnTo>
                  <a:lnTo>
                    <a:pt x="590352" y="148235"/>
                  </a:lnTo>
                  <a:lnTo>
                    <a:pt x="590779" y="146844"/>
                  </a:lnTo>
                  <a:lnTo>
                    <a:pt x="590456" y="145366"/>
                  </a:lnTo>
                  <a:lnTo>
                    <a:pt x="591016" y="142684"/>
                  </a:lnTo>
                  <a:lnTo>
                    <a:pt x="592239" y="140361"/>
                  </a:lnTo>
                  <a:lnTo>
                    <a:pt x="596903" y="137434"/>
                  </a:lnTo>
                  <a:close/>
                  <a:moveTo>
                    <a:pt x="589202" y="134479"/>
                  </a:moveTo>
                  <a:lnTo>
                    <a:pt x="591694" y="134914"/>
                  </a:lnTo>
                  <a:lnTo>
                    <a:pt x="592109" y="136127"/>
                  </a:lnTo>
                  <a:lnTo>
                    <a:pt x="592052" y="136781"/>
                  </a:lnTo>
                  <a:lnTo>
                    <a:pt x="585117" y="141742"/>
                  </a:lnTo>
                  <a:lnTo>
                    <a:pt x="582768" y="140114"/>
                  </a:lnTo>
                  <a:lnTo>
                    <a:pt x="582284" y="139170"/>
                  </a:lnTo>
                  <a:lnTo>
                    <a:pt x="582683" y="138220"/>
                  </a:lnTo>
                  <a:lnTo>
                    <a:pt x="582597" y="137814"/>
                  </a:lnTo>
                  <a:lnTo>
                    <a:pt x="583375" y="136112"/>
                  </a:lnTo>
                  <a:lnTo>
                    <a:pt x="587252" y="134715"/>
                  </a:lnTo>
                  <a:close/>
                  <a:moveTo>
                    <a:pt x="621197" y="131321"/>
                  </a:moveTo>
                  <a:lnTo>
                    <a:pt x="623808" y="131992"/>
                  </a:lnTo>
                  <a:lnTo>
                    <a:pt x="624522" y="133415"/>
                  </a:lnTo>
                  <a:lnTo>
                    <a:pt x="624305" y="134850"/>
                  </a:lnTo>
                  <a:lnTo>
                    <a:pt x="622707" y="136293"/>
                  </a:lnTo>
                  <a:lnTo>
                    <a:pt x="615990" y="137088"/>
                  </a:lnTo>
                  <a:lnTo>
                    <a:pt x="612915" y="135823"/>
                  </a:lnTo>
                  <a:lnTo>
                    <a:pt x="613609" y="134758"/>
                  </a:lnTo>
                  <a:lnTo>
                    <a:pt x="615901" y="133060"/>
                  </a:lnTo>
                  <a:lnTo>
                    <a:pt x="618693" y="131853"/>
                  </a:lnTo>
                  <a:close/>
                  <a:moveTo>
                    <a:pt x="611674" y="125720"/>
                  </a:moveTo>
                  <a:lnTo>
                    <a:pt x="615244" y="126643"/>
                  </a:lnTo>
                  <a:lnTo>
                    <a:pt x="616283" y="127967"/>
                  </a:lnTo>
                  <a:lnTo>
                    <a:pt x="612689" y="133268"/>
                  </a:lnTo>
                  <a:lnTo>
                    <a:pt x="610709" y="134030"/>
                  </a:lnTo>
                  <a:lnTo>
                    <a:pt x="608543" y="134185"/>
                  </a:lnTo>
                  <a:lnTo>
                    <a:pt x="605738" y="132605"/>
                  </a:lnTo>
                  <a:lnTo>
                    <a:pt x="601364" y="132718"/>
                  </a:lnTo>
                  <a:lnTo>
                    <a:pt x="599999" y="132344"/>
                  </a:lnTo>
                  <a:lnTo>
                    <a:pt x="599855" y="130033"/>
                  </a:lnTo>
                  <a:lnTo>
                    <a:pt x="601692" y="127566"/>
                  </a:lnTo>
                  <a:lnTo>
                    <a:pt x="605361" y="127699"/>
                  </a:lnTo>
                  <a:close/>
                  <a:moveTo>
                    <a:pt x="599154" y="118461"/>
                  </a:moveTo>
                  <a:lnTo>
                    <a:pt x="599707" y="118693"/>
                  </a:lnTo>
                  <a:lnTo>
                    <a:pt x="599920" y="123767"/>
                  </a:lnTo>
                  <a:lnTo>
                    <a:pt x="600180" y="126876"/>
                  </a:lnTo>
                  <a:lnTo>
                    <a:pt x="597801" y="129912"/>
                  </a:lnTo>
                  <a:lnTo>
                    <a:pt x="597349" y="133638"/>
                  </a:lnTo>
                  <a:lnTo>
                    <a:pt x="592785" y="132064"/>
                  </a:lnTo>
                  <a:lnTo>
                    <a:pt x="593127" y="128251"/>
                  </a:lnTo>
                  <a:lnTo>
                    <a:pt x="595263" y="127182"/>
                  </a:lnTo>
                  <a:lnTo>
                    <a:pt x="597155" y="125155"/>
                  </a:lnTo>
                  <a:lnTo>
                    <a:pt x="597802" y="122669"/>
                  </a:lnTo>
                  <a:lnTo>
                    <a:pt x="597841" y="119288"/>
                  </a:lnTo>
                  <a:lnTo>
                    <a:pt x="598543" y="118701"/>
                  </a:lnTo>
                  <a:close/>
                  <a:moveTo>
                    <a:pt x="607114" y="117265"/>
                  </a:moveTo>
                  <a:lnTo>
                    <a:pt x="607674" y="118360"/>
                  </a:lnTo>
                  <a:lnTo>
                    <a:pt x="607592" y="120187"/>
                  </a:lnTo>
                  <a:lnTo>
                    <a:pt x="604729" y="123478"/>
                  </a:lnTo>
                  <a:lnTo>
                    <a:pt x="601980" y="124336"/>
                  </a:lnTo>
                  <a:lnTo>
                    <a:pt x="601468" y="123533"/>
                  </a:lnTo>
                  <a:lnTo>
                    <a:pt x="601464" y="120347"/>
                  </a:lnTo>
                  <a:lnTo>
                    <a:pt x="602237" y="118599"/>
                  </a:lnTo>
                  <a:lnTo>
                    <a:pt x="605746" y="118109"/>
                  </a:lnTo>
                  <a:lnTo>
                    <a:pt x="606106" y="117596"/>
                  </a:lnTo>
                  <a:close/>
                  <a:moveTo>
                    <a:pt x="597988" y="78627"/>
                  </a:moveTo>
                  <a:lnTo>
                    <a:pt x="599411" y="78806"/>
                  </a:lnTo>
                  <a:lnTo>
                    <a:pt x="599934" y="79128"/>
                  </a:lnTo>
                  <a:lnTo>
                    <a:pt x="601200" y="83242"/>
                  </a:lnTo>
                  <a:lnTo>
                    <a:pt x="601026" y="84283"/>
                  </a:lnTo>
                  <a:lnTo>
                    <a:pt x="598495" y="85441"/>
                  </a:lnTo>
                  <a:lnTo>
                    <a:pt x="597041" y="84994"/>
                  </a:lnTo>
                  <a:lnTo>
                    <a:pt x="595700" y="81975"/>
                  </a:lnTo>
                  <a:lnTo>
                    <a:pt x="596156" y="79461"/>
                  </a:lnTo>
                  <a:close/>
                  <a:moveTo>
                    <a:pt x="348915" y="0"/>
                  </a:moveTo>
                  <a:lnTo>
                    <a:pt x="350434" y="488"/>
                  </a:lnTo>
                  <a:lnTo>
                    <a:pt x="351441" y="488"/>
                  </a:lnTo>
                  <a:lnTo>
                    <a:pt x="352355" y="1621"/>
                  </a:lnTo>
                  <a:lnTo>
                    <a:pt x="353063" y="2898"/>
                  </a:lnTo>
                  <a:lnTo>
                    <a:pt x="355279" y="4452"/>
                  </a:lnTo>
                  <a:lnTo>
                    <a:pt x="355058" y="6816"/>
                  </a:lnTo>
                  <a:lnTo>
                    <a:pt x="354650" y="8909"/>
                  </a:lnTo>
                  <a:lnTo>
                    <a:pt x="354364" y="11318"/>
                  </a:lnTo>
                  <a:lnTo>
                    <a:pt x="354236" y="13153"/>
                  </a:lnTo>
                  <a:lnTo>
                    <a:pt x="353294" y="15030"/>
                  </a:lnTo>
                  <a:lnTo>
                    <a:pt x="351884" y="16782"/>
                  </a:lnTo>
                  <a:lnTo>
                    <a:pt x="351469" y="17496"/>
                  </a:lnTo>
                  <a:lnTo>
                    <a:pt x="351274" y="18419"/>
                  </a:lnTo>
                  <a:lnTo>
                    <a:pt x="352224" y="18981"/>
                  </a:lnTo>
                  <a:lnTo>
                    <a:pt x="353901" y="19148"/>
                  </a:lnTo>
                  <a:lnTo>
                    <a:pt x="355997" y="19220"/>
                  </a:lnTo>
                  <a:lnTo>
                    <a:pt x="357422" y="19764"/>
                  </a:lnTo>
                  <a:lnTo>
                    <a:pt x="359268" y="19876"/>
                  </a:lnTo>
                  <a:lnTo>
                    <a:pt x="361488" y="21382"/>
                  </a:lnTo>
                  <a:lnTo>
                    <a:pt x="362567" y="22284"/>
                  </a:lnTo>
                  <a:lnTo>
                    <a:pt x="362657" y="22985"/>
                  </a:lnTo>
                  <a:lnTo>
                    <a:pt x="361952" y="24659"/>
                  </a:lnTo>
                  <a:lnTo>
                    <a:pt x="361671" y="26205"/>
                  </a:lnTo>
                  <a:lnTo>
                    <a:pt x="362220" y="27186"/>
                  </a:lnTo>
                  <a:lnTo>
                    <a:pt x="362872" y="27891"/>
                  </a:lnTo>
                  <a:lnTo>
                    <a:pt x="364672" y="31377"/>
                  </a:lnTo>
                  <a:lnTo>
                    <a:pt x="365529" y="32590"/>
                  </a:lnTo>
                  <a:lnTo>
                    <a:pt x="366256" y="32981"/>
                  </a:lnTo>
                  <a:lnTo>
                    <a:pt x="366424" y="33653"/>
                  </a:lnTo>
                  <a:lnTo>
                    <a:pt x="365808" y="34925"/>
                  </a:lnTo>
                  <a:lnTo>
                    <a:pt x="365072" y="36544"/>
                  </a:lnTo>
                  <a:lnTo>
                    <a:pt x="363405" y="38244"/>
                  </a:lnTo>
                  <a:lnTo>
                    <a:pt x="363181" y="39587"/>
                  </a:lnTo>
                  <a:lnTo>
                    <a:pt x="361846" y="40432"/>
                  </a:lnTo>
                  <a:lnTo>
                    <a:pt x="358734" y="42439"/>
                  </a:lnTo>
                  <a:lnTo>
                    <a:pt x="359276" y="45621"/>
                  </a:lnTo>
                  <a:lnTo>
                    <a:pt x="359383" y="47235"/>
                  </a:lnTo>
                  <a:lnTo>
                    <a:pt x="359324" y="48488"/>
                  </a:lnTo>
                  <a:lnTo>
                    <a:pt x="358262" y="50167"/>
                  </a:lnTo>
                  <a:lnTo>
                    <a:pt x="356420" y="55122"/>
                  </a:lnTo>
                  <a:lnTo>
                    <a:pt x="355745" y="57593"/>
                  </a:lnTo>
                  <a:lnTo>
                    <a:pt x="355146" y="63305"/>
                  </a:lnTo>
                  <a:lnTo>
                    <a:pt x="355186" y="65219"/>
                  </a:lnTo>
                  <a:lnTo>
                    <a:pt x="356036" y="67797"/>
                  </a:lnTo>
                  <a:lnTo>
                    <a:pt x="357841" y="73516"/>
                  </a:lnTo>
                  <a:lnTo>
                    <a:pt x="358868" y="74427"/>
                  </a:lnTo>
                  <a:lnTo>
                    <a:pt x="361249" y="75770"/>
                  </a:lnTo>
                  <a:lnTo>
                    <a:pt x="361546" y="79639"/>
                  </a:lnTo>
                  <a:lnTo>
                    <a:pt x="361336" y="83677"/>
                  </a:lnTo>
                  <a:lnTo>
                    <a:pt x="361224" y="85244"/>
                  </a:lnTo>
                  <a:lnTo>
                    <a:pt x="361617" y="85916"/>
                  </a:lnTo>
                  <a:lnTo>
                    <a:pt x="362686" y="86237"/>
                  </a:lnTo>
                  <a:lnTo>
                    <a:pt x="363447" y="86723"/>
                  </a:lnTo>
                  <a:lnTo>
                    <a:pt x="363568" y="87918"/>
                  </a:lnTo>
                  <a:lnTo>
                    <a:pt x="363495" y="89159"/>
                  </a:lnTo>
                  <a:lnTo>
                    <a:pt x="365271" y="89875"/>
                  </a:lnTo>
                  <a:lnTo>
                    <a:pt x="366815" y="90333"/>
                  </a:lnTo>
                  <a:lnTo>
                    <a:pt x="368242" y="92047"/>
                  </a:lnTo>
                  <a:lnTo>
                    <a:pt x="370822" y="94712"/>
                  </a:lnTo>
                  <a:lnTo>
                    <a:pt x="371847" y="95197"/>
                  </a:lnTo>
                  <a:lnTo>
                    <a:pt x="372361" y="96304"/>
                  </a:lnTo>
                  <a:lnTo>
                    <a:pt x="374536" y="98550"/>
                  </a:lnTo>
                  <a:lnTo>
                    <a:pt x="377854" y="99371"/>
                  </a:lnTo>
                  <a:lnTo>
                    <a:pt x="381197" y="100361"/>
                  </a:lnTo>
                  <a:lnTo>
                    <a:pt x="382514" y="101775"/>
                  </a:lnTo>
                  <a:lnTo>
                    <a:pt x="383885" y="102923"/>
                  </a:lnTo>
                  <a:lnTo>
                    <a:pt x="384917" y="102982"/>
                  </a:lnTo>
                  <a:lnTo>
                    <a:pt x="385795" y="102799"/>
                  </a:lnTo>
                  <a:lnTo>
                    <a:pt x="387237" y="101809"/>
                  </a:lnTo>
                  <a:lnTo>
                    <a:pt x="388395" y="100959"/>
                  </a:lnTo>
                  <a:lnTo>
                    <a:pt x="390412" y="101007"/>
                  </a:lnTo>
                  <a:lnTo>
                    <a:pt x="392776" y="100867"/>
                  </a:lnTo>
                  <a:lnTo>
                    <a:pt x="393186" y="100167"/>
                  </a:lnTo>
                  <a:lnTo>
                    <a:pt x="393410" y="99267"/>
                  </a:lnTo>
                  <a:lnTo>
                    <a:pt x="392924" y="96961"/>
                  </a:lnTo>
                  <a:lnTo>
                    <a:pt x="393763" y="96262"/>
                  </a:lnTo>
                  <a:lnTo>
                    <a:pt x="395718" y="95869"/>
                  </a:lnTo>
                  <a:lnTo>
                    <a:pt x="396110" y="94639"/>
                  </a:lnTo>
                  <a:lnTo>
                    <a:pt x="396559" y="93968"/>
                  </a:lnTo>
                  <a:lnTo>
                    <a:pt x="397117" y="93185"/>
                  </a:lnTo>
                  <a:lnTo>
                    <a:pt x="397788" y="93074"/>
                  </a:lnTo>
                  <a:lnTo>
                    <a:pt x="398626" y="93521"/>
                  </a:lnTo>
                  <a:lnTo>
                    <a:pt x="399912" y="93801"/>
                  </a:lnTo>
                  <a:lnTo>
                    <a:pt x="401366" y="94192"/>
                  </a:lnTo>
                  <a:lnTo>
                    <a:pt x="402148" y="94975"/>
                  </a:lnTo>
                  <a:lnTo>
                    <a:pt x="403440" y="95041"/>
                  </a:lnTo>
                  <a:lnTo>
                    <a:pt x="404876" y="94892"/>
                  </a:lnTo>
                  <a:lnTo>
                    <a:pt x="405456" y="94392"/>
                  </a:lnTo>
                  <a:lnTo>
                    <a:pt x="405879" y="93521"/>
                  </a:lnTo>
                  <a:lnTo>
                    <a:pt x="406191" y="91641"/>
                  </a:lnTo>
                  <a:lnTo>
                    <a:pt x="407116" y="91586"/>
                  </a:lnTo>
                  <a:lnTo>
                    <a:pt x="408964" y="91163"/>
                  </a:lnTo>
                  <a:lnTo>
                    <a:pt x="410936" y="90333"/>
                  </a:lnTo>
                  <a:lnTo>
                    <a:pt x="413572" y="90211"/>
                  </a:lnTo>
                  <a:lnTo>
                    <a:pt x="416039" y="90230"/>
                  </a:lnTo>
                  <a:lnTo>
                    <a:pt x="417273" y="89673"/>
                  </a:lnTo>
                  <a:lnTo>
                    <a:pt x="418422" y="88460"/>
                  </a:lnTo>
                  <a:lnTo>
                    <a:pt x="420647" y="85033"/>
                  </a:lnTo>
                  <a:lnTo>
                    <a:pt x="421811" y="84243"/>
                  </a:lnTo>
                  <a:lnTo>
                    <a:pt x="423062" y="83650"/>
                  </a:lnTo>
                  <a:lnTo>
                    <a:pt x="424124" y="83758"/>
                  </a:lnTo>
                  <a:lnTo>
                    <a:pt x="426304" y="83191"/>
                  </a:lnTo>
                  <a:lnTo>
                    <a:pt x="428097" y="82369"/>
                  </a:lnTo>
                  <a:lnTo>
                    <a:pt x="428762" y="82577"/>
                  </a:lnTo>
                  <a:lnTo>
                    <a:pt x="430158" y="84336"/>
                  </a:lnTo>
                  <a:lnTo>
                    <a:pt x="430856" y="84721"/>
                  </a:lnTo>
                  <a:lnTo>
                    <a:pt x="431884" y="84844"/>
                  </a:lnTo>
                  <a:lnTo>
                    <a:pt x="435251" y="85736"/>
                  </a:lnTo>
                  <a:lnTo>
                    <a:pt x="437038" y="85458"/>
                  </a:lnTo>
                  <a:lnTo>
                    <a:pt x="438976" y="84898"/>
                  </a:lnTo>
                  <a:lnTo>
                    <a:pt x="440837" y="84685"/>
                  </a:lnTo>
                  <a:lnTo>
                    <a:pt x="442178" y="85076"/>
                  </a:lnTo>
                  <a:lnTo>
                    <a:pt x="443143" y="84568"/>
                  </a:lnTo>
                  <a:lnTo>
                    <a:pt x="444226" y="84191"/>
                  </a:lnTo>
                  <a:lnTo>
                    <a:pt x="444986" y="84440"/>
                  </a:lnTo>
                  <a:lnTo>
                    <a:pt x="446684" y="84654"/>
                  </a:lnTo>
                  <a:lnTo>
                    <a:pt x="450708" y="85633"/>
                  </a:lnTo>
                  <a:lnTo>
                    <a:pt x="455962" y="86725"/>
                  </a:lnTo>
                  <a:lnTo>
                    <a:pt x="457398" y="86349"/>
                  </a:lnTo>
                  <a:lnTo>
                    <a:pt x="458252" y="85578"/>
                  </a:lnTo>
                  <a:lnTo>
                    <a:pt x="458455" y="83316"/>
                  </a:lnTo>
                  <a:lnTo>
                    <a:pt x="458615" y="81721"/>
                  </a:lnTo>
                  <a:lnTo>
                    <a:pt x="457432" y="80311"/>
                  </a:lnTo>
                  <a:lnTo>
                    <a:pt x="455959" y="78712"/>
                  </a:lnTo>
                  <a:lnTo>
                    <a:pt x="454601" y="76718"/>
                  </a:lnTo>
                  <a:lnTo>
                    <a:pt x="452976" y="76153"/>
                  </a:lnTo>
                  <a:lnTo>
                    <a:pt x="453186" y="75125"/>
                  </a:lnTo>
                  <a:lnTo>
                    <a:pt x="454242" y="74066"/>
                  </a:lnTo>
                  <a:lnTo>
                    <a:pt x="455324" y="73480"/>
                  </a:lnTo>
                  <a:lnTo>
                    <a:pt x="455952" y="72760"/>
                  </a:lnTo>
                  <a:lnTo>
                    <a:pt x="456632" y="70103"/>
                  </a:lnTo>
                  <a:lnTo>
                    <a:pt x="457087" y="69634"/>
                  </a:lnTo>
                  <a:lnTo>
                    <a:pt x="457546" y="69520"/>
                  </a:lnTo>
                  <a:lnTo>
                    <a:pt x="458092" y="69618"/>
                  </a:lnTo>
                  <a:lnTo>
                    <a:pt x="459162" y="70306"/>
                  </a:lnTo>
                  <a:lnTo>
                    <a:pt x="463300" y="72420"/>
                  </a:lnTo>
                  <a:lnTo>
                    <a:pt x="465115" y="72100"/>
                  </a:lnTo>
                  <a:lnTo>
                    <a:pt x="472053" y="71545"/>
                  </a:lnTo>
                  <a:lnTo>
                    <a:pt x="473102" y="70324"/>
                  </a:lnTo>
                  <a:lnTo>
                    <a:pt x="474571" y="70048"/>
                  </a:lnTo>
                  <a:lnTo>
                    <a:pt x="477065" y="68833"/>
                  </a:lnTo>
                  <a:lnTo>
                    <a:pt x="478050" y="68751"/>
                  </a:lnTo>
                  <a:lnTo>
                    <a:pt x="478931" y="69044"/>
                  </a:lnTo>
                  <a:lnTo>
                    <a:pt x="480041" y="68813"/>
                  </a:lnTo>
                  <a:lnTo>
                    <a:pt x="481676" y="67681"/>
                  </a:lnTo>
                  <a:lnTo>
                    <a:pt x="482366" y="67561"/>
                  </a:lnTo>
                  <a:lnTo>
                    <a:pt x="482626" y="68813"/>
                  </a:lnTo>
                  <a:lnTo>
                    <a:pt x="483687" y="70106"/>
                  </a:lnTo>
                  <a:lnTo>
                    <a:pt x="484966" y="71299"/>
                  </a:lnTo>
                  <a:lnTo>
                    <a:pt x="485586" y="71573"/>
                  </a:lnTo>
                  <a:lnTo>
                    <a:pt x="487736" y="71187"/>
                  </a:lnTo>
                  <a:lnTo>
                    <a:pt x="488867" y="71520"/>
                  </a:lnTo>
                  <a:lnTo>
                    <a:pt x="489357" y="72629"/>
                  </a:lnTo>
                  <a:lnTo>
                    <a:pt x="489497" y="73596"/>
                  </a:lnTo>
                  <a:lnTo>
                    <a:pt x="490398" y="74415"/>
                  </a:lnTo>
                  <a:lnTo>
                    <a:pt x="491554" y="74435"/>
                  </a:lnTo>
                  <a:lnTo>
                    <a:pt x="492171" y="74764"/>
                  </a:lnTo>
                  <a:lnTo>
                    <a:pt x="493222" y="75289"/>
                  </a:lnTo>
                  <a:lnTo>
                    <a:pt x="494119" y="76497"/>
                  </a:lnTo>
                  <a:lnTo>
                    <a:pt x="496198" y="77459"/>
                  </a:lnTo>
                  <a:lnTo>
                    <a:pt x="499750" y="78811"/>
                  </a:lnTo>
                  <a:lnTo>
                    <a:pt x="501400" y="78835"/>
                  </a:lnTo>
                  <a:lnTo>
                    <a:pt x="502937" y="79247"/>
                  </a:lnTo>
                  <a:lnTo>
                    <a:pt x="503883" y="79654"/>
                  </a:lnTo>
                  <a:lnTo>
                    <a:pt x="504905" y="78906"/>
                  </a:lnTo>
                  <a:lnTo>
                    <a:pt x="508538" y="76825"/>
                  </a:lnTo>
                  <a:lnTo>
                    <a:pt x="510309" y="75664"/>
                  </a:lnTo>
                  <a:lnTo>
                    <a:pt x="511503" y="74785"/>
                  </a:lnTo>
                  <a:lnTo>
                    <a:pt x="512398" y="73946"/>
                  </a:lnTo>
                  <a:lnTo>
                    <a:pt x="513069" y="73722"/>
                  </a:lnTo>
                  <a:lnTo>
                    <a:pt x="513516" y="74225"/>
                  </a:lnTo>
                  <a:lnTo>
                    <a:pt x="513907" y="74897"/>
                  </a:lnTo>
                  <a:lnTo>
                    <a:pt x="515201" y="75293"/>
                  </a:lnTo>
                  <a:lnTo>
                    <a:pt x="518237" y="76079"/>
                  </a:lnTo>
                  <a:lnTo>
                    <a:pt x="519631" y="76303"/>
                  </a:lnTo>
                  <a:lnTo>
                    <a:pt x="521588" y="75634"/>
                  </a:lnTo>
                  <a:lnTo>
                    <a:pt x="523256" y="74499"/>
                  </a:lnTo>
                  <a:lnTo>
                    <a:pt x="524057" y="74105"/>
                  </a:lnTo>
                  <a:lnTo>
                    <a:pt x="525298" y="75235"/>
                  </a:lnTo>
                  <a:lnTo>
                    <a:pt x="526142" y="76832"/>
                  </a:lnTo>
                  <a:lnTo>
                    <a:pt x="526710" y="77526"/>
                  </a:lnTo>
                  <a:lnTo>
                    <a:pt x="527971" y="77362"/>
                  </a:lnTo>
                  <a:lnTo>
                    <a:pt x="530451" y="77607"/>
                  </a:lnTo>
                  <a:lnTo>
                    <a:pt x="532290" y="78114"/>
                  </a:lnTo>
                  <a:lnTo>
                    <a:pt x="533429" y="78068"/>
                  </a:lnTo>
                  <a:lnTo>
                    <a:pt x="534985" y="77358"/>
                  </a:lnTo>
                  <a:lnTo>
                    <a:pt x="535822" y="75959"/>
                  </a:lnTo>
                  <a:lnTo>
                    <a:pt x="538030" y="74677"/>
                  </a:lnTo>
                  <a:lnTo>
                    <a:pt x="540128" y="73498"/>
                  </a:lnTo>
                  <a:lnTo>
                    <a:pt x="541331" y="71924"/>
                  </a:lnTo>
                  <a:lnTo>
                    <a:pt x="543111" y="69306"/>
                  </a:lnTo>
                  <a:lnTo>
                    <a:pt x="543707" y="68183"/>
                  </a:lnTo>
                  <a:lnTo>
                    <a:pt x="543829" y="66293"/>
                  </a:lnTo>
                  <a:lnTo>
                    <a:pt x="546334" y="60799"/>
                  </a:lnTo>
                  <a:lnTo>
                    <a:pt x="547284" y="59791"/>
                  </a:lnTo>
                  <a:lnTo>
                    <a:pt x="547842" y="58057"/>
                  </a:lnTo>
                  <a:lnTo>
                    <a:pt x="548850" y="56043"/>
                  </a:lnTo>
                  <a:lnTo>
                    <a:pt x="548850" y="54364"/>
                  </a:lnTo>
                  <a:lnTo>
                    <a:pt x="549579" y="52739"/>
                  </a:lnTo>
                  <a:lnTo>
                    <a:pt x="551016" y="51334"/>
                  </a:lnTo>
                  <a:lnTo>
                    <a:pt x="552076" y="50456"/>
                  </a:lnTo>
                  <a:lnTo>
                    <a:pt x="553771" y="48095"/>
                  </a:lnTo>
                  <a:lnTo>
                    <a:pt x="554949" y="45871"/>
                  </a:lnTo>
                  <a:lnTo>
                    <a:pt x="557906" y="40931"/>
                  </a:lnTo>
                  <a:lnTo>
                    <a:pt x="558132" y="39532"/>
                  </a:lnTo>
                  <a:lnTo>
                    <a:pt x="559305" y="38692"/>
                  </a:lnTo>
                  <a:lnTo>
                    <a:pt x="559696" y="37629"/>
                  </a:lnTo>
                  <a:lnTo>
                    <a:pt x="560949" y="36318"/>
                  </a:lnTo>
                  <a:lnTo>
                    <a:pt x="562268" y="35277"/>
                  </a:lnTo>
                  <a:lnTo>
                    <a:pt x="562831" y="33744"/>
                  </a:lnTo>
                  <a:lnTo>
                    <a:pt x="563799" y="32151"/>
                  </a:lnTo>
                  <a:lnTo>
                    <a:pt x="565920" y="30956"/>
                  </a:lnTo>
                  <a:lnTo>
                    <a:pt x="566703" y="30409"/>
                  </a:lnTo>
                  <a:lnTo>
                    <a:pt x="569106" y="26027"/>
                  </a:lnTo>
                  <a:lnTo>
                    <a:pt x="569379" y="24069"/>
                  </a:lnTo>
                  <a:lnTo>
                    <a:pt x="571547" y="23995"/>
                  </a:lnTo>
                  <a:lnTo>
                    <a:pt x="574956" y="26257"/>
                  </a:lnTo>
                  <a:lnTo>
                    <a:pt x="577673" y="29588"/>
                  </a:lnTo>
                  <a:lnTo>
                    <a:pt x="581316" y="40302"/>
                  </a:lnTo>
                  <a:lnTo>
                    <a:pt x="581921" y="50198"/>
                  </a:lnTo>
                  <a:lnTo>
                    <a:pt x="583398" y="55383"/>
                  </a:lnTo>
                  <a:lnTo>
                    <a:pt x="587631" y="66187"/>
                  </a:lnTo>
                  <a:lnTo>
                    <a:pt x="587903" y="68185"/>
                  </a:lnTo>
                  <a:lnTo>
                    <a:pt x="588583" y="70603"/>
                  </a:lnTo>
                  <a:lnTo>
                    <a:pt x="589920" y="73165"/>
                  </a:lnTo>
                  <a:lnTo>
                    <a:pt x="591396" y="77388"/>
                  </a:lnTo>
                  <a:lnTo>
                    <a:pt x="591451" y="78172"/>
                  </a:lnTo>
                  <a:lnTo>
                    <a:pt x="590491" y="79323"/>
                  </a:lnTo>
                  <a:lnTo>
                    <a:pt x="591898" y="79402"/>
                  </a:lnTo>
                  <a:lnTo>
                    <a:pt x="593172" y="80082"/>
                  </a:lnTo>
                  <a:lnTo>
                    <a:pt x="594004" y="82760"/>
                  </a:lnTo>
                  <a:lnTo>
                    <a:pt x="595055" y="84568"/>
                  </a:lnTo>
                  <a:lnTo>
                    <a:pt x="596970" y="87047"/>
                  </a:lnTo>
                  <a:lnTo>
                    <a:pt x="600890" y="87856"/>
                  </a:lnTo>
                  <a:lnTo>
                    <a:pt x="603849" y="88152"/>
                  </a:lnTo>
                  <a:lnTo>
                    <a:pt x="607219" y="89554"/>
                  </a:lnTo>
                  <a:lnTo>
                    <a:pt x="609693" y="91351"/>
                  </a:lnTo>
                  <a:lnTo>
                    <a:pt x="611609" y="97437"/>
                  </a:lnTo>
                  <a:lnTo>
                    <a:pt x="610984" y="101262"/>
                  </a:lnTo>
                  <a:lnTo>
                    <a:pt x="611171" y="103953"/>
                  </a:lnTo>
                  <a:lnTo>
                    <a:pt x="610180" y="105006"/>
                  </a:lnTo>
                  <a:lnTo>
                    <a:pt x="607408" y="106768"/>
                  </a:lnTo>
                  <a:lnTo>
                    <a:pt x="606806" y="107704"/>
                  </a:lnTo>
                  <a:lnTo>
                    <a:pt x="601140" y="112251"/>
                  </a:lnTo>
                  <a:lnTo>
                    <a:pt x="599902" y="114399"/>
                  </a:lnTo>
                  <a:lnTo>
                    <a:pt x="596867" y="117283"/>
                  </a:lnTo>
                  <a:lnTo>
                    <a:pt x="593861" y="122781"/>
                  </a:lnTo>
                  <a:lnTo>
                    <a:pt x="589460" y="127800"/>
                  </a:lnTo>
                  <a:lnTo>
                    <a:pt x="587906" y="129067"/>
                  </a:lnTo>
                  <a:lnTo>
                    <a:pt x="585528" y="129362"/>
                  </a:lnTo>
                  <a:lnTo>
                    <a:pt x="584084" y="130140"/>
                  </a:lnTo>
                  <a:lnTo>
                    <a:pt x="580665" y="134235"/>
                  </a:lnTo>
                  <a:lnTo>
                    <a:pt x="576077" y="135603"/>
                  </a:lnTo>
                  <a:lnTo>
                    <a:pt x="575655" y="137977"/>
                  </a:lnTo>
                  <a:lnTo>
                    <a:pt x="573002" y="143400"/>
                  </a:lnTo>
                  <a:lnTo>
                    <a:pt x="570665" y="146362"/>
                  </a:lnTo>
                  <a:lnTo>
                    <a:pt x="569176" y="147367"/>
                  </a:lnTo>
                  <a:lnTo>
                    <a:pt x="565434" y="152773"/>
                  </a:lnTo>
                  <a:lnTo>
                    <a:pt x="564955" y="155135"/>
                  </a:lnTo>
                  <a:lnTo>
                    <a:pt x="564978" y="159268"/>
                  </a:lnTo>
                  <a:lnTo>
                    <a:pt x="562479" y="161787"/>
                  </a:lnTo>
                  <a:lnTo>
                    <a:pt x="559880" y="163387"/>
                  </a:lnTo>
                  <a:lnTo>
                    <a:pt x="559555" y="166923"/>
                  </a:lnTo>
                  <a:lnTo>
                    <a:pt x="558379" y="168132"/>
                  </a:lnTo>
                  <a:lnTo>
                    <a:pt x="557375" y="168920"/>
                  </a:lnTo>
                  <a:lnTo>
                    <a:pt x="552080" y="167993"/>
                  </a:lnTo>
                  <a:lnTo>
                    <a:pt x="543861" y="171837"/>
                  </a:lnTo>
                  <a:lnTo>
                    <a:pt x="541052" y="172792"/>
                  </a:lnTo>
                  <a:lnTo>
                    <a:pt x="550025" y="172991"/>
                  </a:lnTo>
                  <a:lnTo>
                    <a:pt x="552906" y="175034"/>
                  </a:lnTo>
                  <a:lnTo>
                    <a:pt x="559223" y="173680"/>
                  </a:lnTo>
                  <a:lnTo>
                    <a:pt x="566863" y="168801"/>
                  </a:lnTo>
                  <a:lnTo>
                    <a:pt x="569780" y="167780"/>
                  </a:lnTo>
                  <a:lnTo>
                    <a:pt x="575710" y="164470"/>
                  </a:lnTo>
                  <a:lnTo>
                    <a:pt x="578119" y="162262"/>
                  </a:lnTo>
                  <a:lnTo>
                    <a:pt x="582515" y="159615"/>
                  </a:lnTo>
                  <a:lnTo>
                    <a:pt x="583451" y="158454"/>
                  </a:lnTo>
                  <a:lnTo>
                    <a:pt x="585914" y="157218"/>
                  </a:lnTo>
                  <a:lnTo>
                    <a:pt x="587249" y="158791"/>
                  </a:lnTo>
                  <a:lnTo>
                    <a:pt x="587352" y="159786"/>
                  </a:lnTo>
                  <a:lnTo>
                    <a:pt x="585332" y="161722"/>
                  </a:lnTo>
                  <a:lnTo>
                    <a:pt x="585857" y="162971"/>
                  </a:lnTo>
                  <a:lnTo>
                    <a:pt x="587191" y="164538"/>
                  </a:lnTo>
                  <a:lnTo>
                    <a:pt x="587673" y="166698"/>
                  </a:lnTo>
                  <a:lnTo>
                    <a:pt x="587848" y="168342"/>
                  </a:lnTo>
                  <a:lnTo>
                    <a:pt x="588672" y="171225"/>
                  </a:lnTo>
                  <a:lnTo>
                    <a:pt x="591390" y="175129"/>
                  </a:lnTo>
                  <a:lnTo>
                    <a:pt x="591483" y="176419"/>
                  </a:lnTo>
                  <a:lnTo>
                    <a:pt x="591109" y="178118"/>
                  </a:lnTo>
                  <a:lnTo>
                    <a:pt x="592409" y="179522"/>
                  </a:lnTo>
                  <a:lnTo>
                    <a:pt x="593758" y="180355"/>
                  </a:lnTo>
                  <a:lnTo>
                    <a:pt x="598381" y="184557"/>
                  </a:lnTo>
                  <a:lnTo>
                    <a:pt x="602002" y="182208"/>
                  </a:lnTo>
                  <a:lnTo>
                    <a:pt x="604227" y="181529"/>
                  </a:lnTo>
                  <a:lnTo>
                    <a:pt x="605649" y="180549"/>
                  </a:lnTo>
                  <a:lnTo>
                    <a:pt x="608626" y="179896"/>
                  </a:lnTo>
                  <a:lnTo>
                    <a:pt x="611066" y="180880"/>
                  </a:lnTo>
                  <a:lnTo>
                    <a:pt x="615718" y="182294"/>
                  </a:lnTo>
                  <a:lnTo>
                    <a:pt x="619120" y="180794"/>
                  </a:lnTo>
                  <a:lnTo>
                    <a:pt x="626009" y="177357"/>
                  </a:lnTo>
                  <a:lnTo>
                    <a:pt x="623855" y="183442"/>
                  </a:lnTo>
                  <a:lnTo>
                    <a:pt x="622295" y="189021"/>
                  </a:lnTo>
                  <a:lnTo>
                    <a:pt x="621107" y="191272"/>
                  </a:lnTo>
                  <a:lnTo>
                    <a:pt x="619932" y="197352"/>
                  </a:lnTo>
                  <a:lnTo>
                    <a:pt x="618766" y="198975"/>
                  </a:lnTo>
                  <a:lnTo>
                    <a:pt x="617823" y="200829"/>
                  </a:lnTo>
                  <a:lnTo>
                    <a:pt x="619361" y="200182"/>
                  </a:lnTo>
                  <a:lnTo>
                    <a:pt x="620677" y="199305"/>
                  </a:lnTo>
                  <a:lnTo>
                    <a:pt x="622362" y="196963"/>
                  </a:lnTo>
                  <a:lnTo>
                    <a:pt x="623625" y="192898"/>
                  </a:lnTo>
                  <a:lnTo>
                    <a:pt x="628611" y="182044"/>
                  </a:lnTo>
                  <a:lnTo>
                    <a:pt x="630038" y="181081"/>
                  </a:lnTo>
                  <a:lnTo>
                    <a:pt x="634183" y="179845"/>
                  </a:lnTo>
                  <a:lnTo>
                    <a:pt x="641316" y="171169"/>
                  </a:lnTo>
                  <a:lnTo>
                    <a:pt x="644105" y="171196"/>
                  </a:lnTo>
                  <a:lnTo>
                    <a:pt x="645890" y="173193"/>
                  </a:lnTo>
                  <a:lnTo>
                    <a:pt x="647580" y="174370"/>
                  </a:lnTo>
                  <a:lnTo>
                    <a:pt x="648014" y="171998"/>
                  </a:lnTo>
                  <a:lnTo>
                    <a:pt x="650449" y="171028"/>
                  </a:lnTo>
                  <a:lnTo>
                    <a:pt x="647872" y="169853"/>
                  </a:lnTo>
                  <a:lnTo>
                    <a:pt x="647451" y="168788"/>
                  </a:lnTo>
                  <a:lnTo>
                    <a:pt x="647205" y="167013"/>
                  </a:lnTo>
                  <a:lnTo>
                    <a:pt x="648959" y="164613"/>
                  </a:lnTo>
                  <a:lnTo>
                    <a:pt x="647914" y="162490"/>
                  </a:lnTo>
                  <a:lnTo>
                    <a:pt x="651547" y="159810"/>
                  </a:lnTo>
                  <a:lnTo>
                    <a:pt x="651266" y="157800"/>
                  </a:lnTo>
                  <a:lnTo>
                    <a:pt x="652563" y="156141"/>
                  </a:lnTo>
                  <a:lnTo>
                    <a:pt x="654203" y="154437"/>
                  </a:lnTo>
                  <a:lnTo>
                    <a:pt x="656061" y="153607"/>
                  </a:lnTo>
                  <a:lnTo>
                    <a:pt x="656401" y="152143"/>
                  </a:lnTo>
                  <a:lnTo>
                    <a:pt x="657573" y="151539"/>
                  </a:lnTo>
                  <a:lnTo>
                    <a:pt x="658493" y="151321"/>
                  </a:lnTo>
                  <a:lnTo>
                    <a:pt x="660309" y="152959"/>
                  </a:lnTo>
                  <a:lnTo>
                    <a:pt x="662276" y="151024"/>
                  </a:lnTo>
                  <a:lnTo>
                    <a:pt x="664196" y="150266"/>
                  </a:lnTo>
                  <a:lnTo>
                    <a:pt x="665056" y="150603"/>
                  </a:lnTo>
                  <a:lnTo>
                    <a:pt x="666127" y="151458"/>
                  </a:lnTo>
                  <a:lnTo>
                    <a:pt x="667252" y="151821"/>
                  </a:lnTo>
                  <a:lnTo>
                    <a:pt x="668166" y="151669"/>
                  </a:lnTo>
                  <a:lnTo>
                    <a:pt x="670543" y="150430"/>
                  </a:lnTo>
                  <a:lnTo>
                    <a:pt x="672739" y="152423"/>
                  </a:lnTo>
                  <a:lnTo>
                    <a:pt x="674059" y="152865"/>
                  </a:lnTo>
                  <a:lnTo>
                    <a:pt x="673698" y="151748"/>
                  </a:lnTo>
                  <a:lnTo>
                    <a:pt x="673002" y="150710"/>
                  </a:lnTo>
                  <a:lnTo>
                    <a:pt x="673542" y="149865"/>
                  </a:lnTo>
                  <a:lnTo>
                    <a:pt x="674581" y="149333"/>
                  </a:lnTo>
                  <a:lnTo>
                    <a:pt x="677865" y="149809"/>
                  </a:lnTo>
                  <a:lnTo>
                    <a:pt x="679590" y="150697"/>
                  </a:lnTo>
                  <a:lnTo>
                    <a:pt x="681458" y="152344"/>
                  </a:lnTo>
                  <a:lnTo>
                    <a:pt x="684052" y="152466"/>
                  </a:lnTo>
                  <a:lnTo>
                    <a:pt x="686087" y="152293"/>
                  </a:lnTo>
                  <a:lnTo>
                    <a:pt x="687371" y="153219"/>
                  </a:lnTo>
                  <a:lnTo>
                    <a:pt x="689462" y="153213"/>
                  </a:lnTo>
                  <a:lnTo>
                    <a:pt x="690509" y="154655"/>
                  </a:lnTo>
                  <a:lnTo>
                    <a:pt x="693691" y="156680"/>
                  </a:lnTo>
                  <a:lnTo>
                    <a:pt x="694380" y="158055"/>
                  </a:lnTo>
                  <a:lnTo>
                    <a:pt x="696940" y="158721"/>
                  </a:lnTo>
                  <a:lnTo>
                    <a:pt x="699338" y="159563"/>
                  </a:lnTo>
                  <a:lnTo>
                    <a:pt x="701896" y="159793"/>
                  </a:lnTo>
                  <a:lnTo>
                    <a:pt x="704475" y="159593"/>
                  </a:lnTo>
                  <a:lnTo>
                    <a:pt x="704580" y="161331"/>
                  </a:lnTo>
                  <a:lnTo>
                    <a:pt x="706472" y="161801"/>
                  </a:lnTo>
                  <a:lnTo>
                    <a:pt x="708900" y="161414"/>
                  </a:lnTo>
                  <a:lnTo>
                    <a:pt x="710735" y="163552"/>
                  </a:lnTo>
                  <a:lnTo>
                    <a:pt x="715640" y="165160"/>
                  </a:lnTo>
                  <a:lnTo>
                    <a:pt x="719039" y="167622"/>
                  </a:lnTo>
                  <a:lnTo>
                    <a:pt x="721266" y="167186"/>
                  </a:lnTo>
                  <a:lnTo>
                    <a:pt x="723760" y="167835"/>
                  </a:lnTo>
                  <a:lnTo>
                    <a:pt x="726437" y="173189"/>
                  </a:lnTo>
                  <a:lnTo>
                    <a:pt x="727042" y="176992"/>
                  </a:lnTo>
                  <a:lnTo>
                    <a:pt x="728235" y="176466"/>
                  </a:lnTo>
                  <a:lnTo>
                    <a:pt x="729338" y="174765"/>
                  </a:lnTo>
                  <a:lnTo>
                    <a:pt x="730771" y="171658"/>
                  </a:lnTo>
                  <a:lnTo>
                    <a:pt x="733451" y="170629"/>
                  </a:lnTo>
                  <a:lnTo>
                    <a:pt x="734734" y="171822"/>
                  </a:lnTo>
                  <a:lnTo>
                    <a:pt x="737422" y="173734"/>
                  </a:lnTo>
                  <a:lnTo>
                    <a:pt x="739740" y="175835"/>
                  </a:lnTo>
                  <a:lnTo>
                    <a:pt x="740717" y="177182"/>
                  </a:lnTo>
                  <a:lnTo>
                    <a:pt x="742459" y="177402"/>
                  </a:lnTo>
                  <a:lnTo>
                    <a:pt x="741004" y="179059"/>
                  </a:lnTo>
                  <a:lnTo>
                    <a:pt x="742464" y="178894"/>
                  </a:lnTo>
                  <a:lnTo>
                    <a:pt x="744230" y="177714"/>
                  </a:lnTo>
                  <a:lnTo>
                    <a:pt x="745742" y="180150"/>
                  </a:lnTo>
                  <a:lnTo>
                    <a:pt x="746881" y="182800"/>
                  </a:lnTo>
                  <a:lnTo>
                    <a:pt x="747108" y="185500"/>
                  </a:lnTo>
                  <a:lnTo>
                    <a:pt x="746037" y="187051"/>
                  </a:lnTo>
                  <a:lnTo>
                    <a:pt x="745093" y="188022"/>
                  </a:lnTo>
                  <a:lnTo>
                    <a:pt x="744044" y="189935"/>
                  </a:lnTo>
                  <a:lnTo>
                    <a:pt x="742805" y="190279"/>
                  </a:lnTo>
                  <a:lnTo>
                    <a:pt x="741567" y="190898"/>
                  </a:lnTo>
                  <a:lnTo>
                    <a:pt x="742978" y="192290"/>
                  </a:lnTo>
                  <a:lnTo>
                    <a:pt x="743948" y="193631"/>
                  </a:lnTo>
                  <a:lnTo>
                    <a:pt x="746063" y="190008"/>
                  </a:lnTo>
                  <a:lnTo>
                    <a:pt x="747550" y="188991"/>
                  </a:lnTo>
                  <a:lnTo>
                    <a:pt x="749703" y="188426"/>
                  </a:lnTo>
                  <a:lnTo>
                    <a:pt x="750822" y="191002"/>
                  </a:lnTo>
                  <a:lnTo>
                    <a:pt x="751063" y="193436"/>
                  </a:lnTo>
                  <a:lnTo>
                    <a:pt x="747556" y="194448"/>
                  </a:lnTo>
                  <a:lnTo>
                    <a:pt x="747542" y="196371"/>
                  </a:lnTo>
                  <a:lnTo>
                    <a:pt x="746494" y="197462"/>
                  </a:lnTo>
                  <a:lnTo>
                    <a:pt x="745809" y="198711"/>
                  </a:lnTo>
                  <a:lnTo>
                    <a:pt x="745257" y="201334"/>
                  </a:lnTo>
                  <a:lnTo>
                    <a:pt x="744542" y="203507"/>
                  </a:lnTo>
                  <a:lnTo>
                    <a:pt x="742453" y="213145"/>
                  </a:lnTo>
                  <a:lnTo>
                    <a:pt x="742411" y="214731"/>
                  </a:lnTo>
                  <a:lnTo>
                    <a:pt x="744956" y="213034"/>
                  </a:lnTo>
                  <a:lnTo>
                    <a:pt x="749650" y="208124"/>
                  </a:lnTo>
                  <a:lnTo>
                    <a:pt x="751080" y="202895"/>
                  </a:lnTo>
                  <a:lnTo>
                    <a:pt x="752931" y="197739"/>
                  </a:lnTo>
                  <a:lnTo>
                    <a:pt x="754948" y="196118"/>
                  </a:lnTo>
                  <a:lnTo>
                    <a:pt x="756196" y="196117"/>
                  </a:lnTo>
                  <a:lnTo>
                    <a:pt x="758068" y="196681"/>
                  </a:lnTo>
                  <a:lnTo>
                    <a:pt x="758175" y="198371"/>
                  </a:lnTo>
                  <a:lnTo>
                    <a:pt x="757888" y="199347"/>
                  </a:lnTo>
                  <a:lnTo>
                    <a:pt x="755886" y="201911"/>
                  </a:lnTo>
                  <a:lnTo>
                    <a:pt x="755034" y="203317"/>
                  </a:lnTo>
                  <a:lnTo>
                    <a:pt x="755859" y="204702"/>
                  </a:lnTo>
                  <a:lnTo>
                    <a:pt x="760408" y="200455"/>
                  </a:lnTo>
                  <a:lnTo>
                    <a:pt x="762446" y="198965"/>
                  </a:lnTo>
                  <a:lnTo>
                    <a:pt x="764181" y="199268"/>
                  </a:lnTo>
                  <a:lnTo>
                    <a:pt x="767626" y="197308"/>
                  </a:lnTo>
                  <a:lnTo>
                    <a:pt x="774560" y="196899"/>
                  </a:lnTo>
                  <a:lnTo>
                    <a:pt x="775081" y="194657"/>
                  </a:lnTo>
                  <a:lnTo>
                    <a:pt x="776464" y="193703"/>
                  </a:lnTo>
                  <a:lnTo>
                    <a:pt x="780276" y="193955"/>
                  </a:lnTo>
                  <a:lnTo>
                    <a:pt x="787706" y="195960"/>
                  </a:lnTo>
                  <a:lnTo>
                    <a:pt x="790354" y="197597"/>
                  </a:lnTo>
                  <a:lnTo>
                    <a:pt x="794319" y="199121"/>
                  </a:lnTo>
                  <a:lnTo>
                    <a:pt x="796407" y="200933"/>
                  </a:lnTo>
                  <a:lnTo>
                    <a:pt x="805128" y="204256"/>
                  </a:lnTo>
                  <a:lnTo>
                    <a:pt x="811460" y="204613"/>
                  </a:lnTo>
                  <a:lnTo>
                    <a:pt x="814598" y="203104"/>
                  </a:lnTo>
                  <a:lnTo>
                    <a:pt x="818509" y="204685"/>
                  </a:lnTo>
                  <a:lnTo>
                    <a:pt x="820582" y="206453"/>
                  </a:lnTo>
                  <a:lnTo>
                    <a:pt x="824644" y="207415"/>
                  </a:lnTo>
                  <a:lnTo>
                    <a:pt x="828745" y="207916"/>
                  </a:lnTo>
                  <a:lnTo>
                    <a:pt x="831881" y="206645"/>
                  </a:lnTo>
                  <a:lnTo>
                    <a:pt x="839969" y="206226"/>
                  </a:lnTo>
                  <a:lnTo>
                    <a:pt x="850137" y="204348"/>
                  </a:lnTo>
                  <a:lnTo>
                    <a:pt x="856202" y="204794"/>
                  </a:lnTo>
                  <a:lnTo>
                    <a:pt x="863065" y="206021"/>
                  </a:lnTo>
                  <a:lnTo>
                    <a:pt x="867956" y="209175"/>
                  </a:lnTo>
                  <a:lnTo>
                    <a:pt x="872074" y="210962"/>
                  </a:lnTo>
                  <a:lnTo>
                    <a:pt x="874564" y="212721"/>
                  </a:lnTo>
                  <a:lnTo>
                    <a:pt x="878584" y="214543"/>
                  </a:lnTo>
                  <a:lnTo>
                    <a:pt x="887162" y="219440"/>
                  </a:lnTo>
                  <a:lnTo>
                    <a:pt x="890163" y="222270"/>
                  </a:lnTo>
                  <a:lnTo>
                    <a:pt x="895483" y="226129"/>
                  </a:lnTo>
                  <a:lnTo>
                    <a:pt x="900818" y="227748"/>
                  </a:lnTo>
                  <a:lnTo>
                    <a:pt x="903706" y="231784"/>
                  </a:lnTo>
                  <a:lnTo>
                    <a:pt x="905989" y="233602"/>
                  </a:lnTo>
                  <a:lnTo>
                    <a:pt x="911645" y="240418"/>
                  </a:lnTo>
                  <a:lnTo>
                    <a:pt x="918064" y="245190"/>
                  </a:lnTo>
                  <a:lnTo>
                    <a:pt x="922358" y="249962"/>
                  </a:lnTo>
                  <a:lnTo>
                    <a:pt x="930595" y="253036"/>
                  </a:lnTo>
                  <a:lnTo>
                    <a:pt x="933811" y="258101"/>
                  </a:lnTo>
                  <a:lnTo>
                    <a:pt x="939384" y="258719"/>
                  </a:lnTo>
                  <a:lnTo>
                    <a:pt x="941760" y="259479"/>
                  </a:lnTo>
                  <a:lnTo>
                    <a:pt x="944645" y="261616"/>
                  </a:lnTo>
                  <a:lnTo>
                    <a:pt x="948617" y="262808"/>
                  </a:lnTo>
                  <a:lnTo>
                    <a:pt x="953790" y="262470"/>
                  </a:lnTo>
                  <a:lnTo>
                    <a:pt x="959494" y="262711"/>
                  </a:lnTo>
                  <a:lnTo>
                    <a:pt x="964106" y="261710"/>
                  </a:lnTo>
                  <a:lnTo>
                    <a:pt x="975020" y="263617"/>
                  </a:lnTo>
                  <a:lnTo>
                    <a:pt x="976738" y="264548"/>
                  </a:lnTo>
                  <a:lnTo>
                    <a:pt x="978997" y="266705"/>
                  </a:lnTo>
                  <a:lnTo>
                    <a:pt x="982982" y="274737"/>
                  </a:lnTo>
                  <a:lnTo>
                    <a:pt x="985358" y="283653"/>
                  </a:lnTo>
                  <a:lnTo>
                    <a:pt x="986531" y="290477"/>
                  </a:lnTo>
                  <a:lnTo>
                    <a:pt x="989251" y="295781"/>
                  </a:lnTo>
                  <a:lnTo>
                    <a:pt x="990737" y="305745"/>
                  </a:lnTo>
                  <a:lnTo>
                    <a:pt x="991998" y="308883"/>
                  </a:lnTo>
                  <a:lnTo>
                    <a:pt x="992097" y="311295"/>
                  </a:lnTo>
                  <a:lnTo>
                    <a:pt x="993164" y="311842"/>
                  </a:lnTo>
                  <a:lnTo>
                    <a:pt x="993885" y="318570"/>
                  </a:lnTo>
                  <a:lnTo>
                    <a:pt x="993602" y="321283"/>
                  </a:lnTo>
                  <a:lnTo>
                    <a:pt x="992558" y="324813"/>
                  </a:lnTo>
                  <a:lnTo>
                    <a:pt x="992480" y="326387"/>
                  </a:lnTo>
                  <a:lnTo>
                    <a:pt x="992634" y="327388"/>
                  </a:lnTo>
                  <a:lnTo>
                    <a:pt x="992172" y="328862"/>
                  </a:lnTo>
                  <a:lnTo>
                    <a:pt x="992030" y="330275"/>
                  </a:lnTo>
                  <a:lnTo>
                    <a:pt x="993087" y="333445"/>
                  </a:lnTo>
                  <a:lnTo>
                    <a:pt x="993144" y="335990"/>
                  </a:lnTo>
                  <a:lnTo>
                    <a:pt x="991728" y="339069"/>
                  </a:lnTo>
                  <a:lnTo>
                    <a:pt x="989798" y="347121"/>
                  </a:lnTo>
                  <a:lnTo>
                    <a:pt x="984952" y="360479"/>
                  </a:lnTo>
                  <a:lnTo>
                    <a:pt x="980309" y="368150"/>
                  </a:lnTo>
                  <a:lnTo>
                    <a:pt x="973813" y="376077"/>
                  </a:lnTo>
                  <a:lnTo>
                    <a:pt x="969580" y="380220"/>
                  </a:lnTo>
                  <a:lnTo>
                    <a:pt x="967903" y="380642"/>
                  </a:lnTo>
                  <a:lnTo>
                    <a:pt x="966364" y="379823"/>
                  </a:lnTo>
                  <a:lnTo>
                    <a:pt x="967455" y="382010"/>
                  </a:lnTo>
                  <a:lnTo>
                    <a:pt x="966500" y="383934"/>
                  </a:lnTo>
                  <a:lnTo>
                    <a:pt x="962201" y="389776"/>
                  </a:lnTo>
                  <a:lnTo>
                    <a:pt x="957927" y="393600"/>
                  </a:lnTo>
                  <a:lnTo>
                    <a:pt x="953495" y="400236"/>
                  </a:lnTo>
                  <a:lnTo>
                    <a:pt x="953158" y="400386"/>
                  </a:lnTo>
                  <a:lnTo>
                    <a:pt x="947476" y="402949"/>
                  </a:lnTo>
                  <a:lnTo>
                    <a:pt x="944114" y="405045"/>
                  </a:lnTo>
                  <a:lnTo>
                    <a:pt x="939817" y="408859"/>
                  </a:lnTo>
                  <a:lnTo>
                    <a:pt x="935871" y="414872"/>
                  </a:lnTo>
                  <a:lnTo>
                    <a:pt x="935057" y="415647"/>
                  </a:lnTo>
                  <a:lnTo>
                    <a:pt x="933604" y="415222"/>
                  </a:lnTo>
                  <a:lnTo>
                    <a:pt x="933644" y="418278"/>
                  </a:lnTo>
                  <a:lnTo>
                    <a:pt x="930248" y="423117"/>
                  </a:lnTo>
                  <a:lnTo>
                    <a:pt x="929212" y="423834"/>
                  </a:lnTo>
                  <a:lnTo>
                    <a:pt x="929241" y="422463"/>
                  </a:lnTo>
                  <a:lnTo>
                    <a:pt x="929830" y="421419"/>
                  </a:lnTo>
                  <a:lnTo>
                    <a:pt x="930105" y="420308"/>
                  </a:lnTo>
                  <a:lnTo>
                    <a:pt x="930080" y="418987"/>
                  </a:lnTo>
                  <a:lnTo>
                    <a:pt x="929131" y="419948"/>
                  </a:lnTo>
                  <a:lnTo>
                    <a:pt x="927121" y="423573"/>
                  </a:lnTo>
                  <a:lnTo>
                    <a:pt x="927797" y="426232"/>
                  </a:lnTo>
                  <a:lnTo>
                    <a:pt x="926339" y="430249"/>
                  </a:lnTo>
                  <a:lnTo>
                    <a:pt x="920776" y="441725"/>
                  </a:lnTo>
                  <a:lnTo>
                    <a:pt x="913966" y="451388"/>
                  </a:lnTo>
                  <a:lnTo>
                    <a:pt x="912395" y="454370"/>
                  </a:lnTo>
                  <a:lnTo>
                    <a:pt x="906804" y="460886"/>
                  </a:lnTo>
                  <a:lnTo>
                    <a:pt x="902696" y="464030"/>
                  </a:lnTo>
                  <a:lnTo>
                    <a:pt x="901541" y="464053"/>
                  </a:lnTo>
                  <a:lnTo>
                    <a:pt x="900232" y="463784"/>
                  </a:lnTo>
                  <a:lnTo>
                    <a:pt x="899573" y="458775"/>
                  </a:lnTo>
                  <a:lnTo>
                    <a:pt x="896299" y="455744"/>
                  </a:lnTo>
                  <a:lnTo>
                    <a:pt x="895362" y="455210"/>
                  </a:lnTo>
                  <a:lnTo>
                    <a:pt x="894021" y="458421"/>
                  </a:lnTo>
                  <a:lnTo>
                    <a:pt x="892903" y="459301"/>
                  </a:lnTo>
                  <a:lnTo>
                    <a:pt x="891286" y="459492"/>
                  </a:lnTo>
                  <a:lnTo>
                    <a:pt x="893014" y="460892"/>
                  </a:lnTo>
                  <a:lnTo>
                    <a:pt x="893518" y="462510"/>
                  </a:lnTo>
                  <a:lnTo>
                    <a:pt x="891757" y="465749"/>
                  </a:lnTo>
                  <a:lnTo>
                    <a:pt x="891702" y="468696"/>
                  </a:lnTo>
                  <a:lnTo>
                    <a:pt x="888561" y="471943"/>
                  </a:lnTo>
                  <a:lnTo>
                    <a:pt x="886742" y="474319"/>
                  </a:lnTo>
                  <a:lnTo>
                    <a:pt x="885818" y="477296"/>
                  </a:lnTo>
                  <a:lnTo>
                    <a:pt x="885261" y="480076"/>
                  </a:lnTo>
                  <a:lnTo>
                    <a:pt x="886642" y="479317"/>
                  </a:lnTo>
                  <a:lnTo>
                    <a:pt x="887296" y="479902"/>
                  </a:lnTo>
                  <a:lnTo>
                    <a:pt x="887815" y="480769"/>
                  </a:lnTo>
                  <a:lnTo>
                    <a:pt x="887496" y="482048"/>
                  </a:lnTo>
                  <a:lnTo>
                    <a:pt x="886483" y="484464"/>
                  </a:lnTo>
                  <a:lnTo>
                    <a:pt x="886642" y="490483"/>
                  </a:lnTo>
                  <a:lnTo>
                    <a:pt x="886306" y="491851"/>
                  </a:lnTo>
                  <a:lnTo>
                    <a:pt x="887311" y="493330"/>
                  </a:lnTo>
                  <a:lnTo>
                    <a:pt x="888375" y="490803"/>
                  </a:lnTo>
                  <a:lnTo>
                    <a:pt x="888989" y="491508"/>
                  </a:lnTo>
                  <a:lnTo>
                    <a:pt x="886015" y="507656"/>
                  </a:lnTo>
                  <a:lnTo>
                    <a:pt x="887187" y="514932"/>
                  </a:lnTo>
                  <a:lnTo>
                    <a:pt x="887623" y="523183"/>
                  </a:lnTo>
                  <a:lnTo>
                    <a:pt x="888966" y="531243"/>
                  </a:lnTo>
                  <a:lnTo>
                    <a:pt x="890436" y="538455"/>
                  </a:lnTo>
                  <a:lnTo>
                    <a:pt x="890553" y="539034"/>
                  </a:lnTo>
                  <a:lnTo>
                    <a:pt x="888521" y="547414"/>
                  </a:lnTo>
                  <a:lnTo>
                    <a:pt x="885924" y="555689"/>
                  </a:lnTo>
                  <a:lnTo>
                    <a:pt x="884356" y="562442"/>
                  </a:lnTo>
                  <a:lnTo>
                    <a:pt x="883369" y="569744"/>
                  </a:lnTo>
                  <a:lnTo>
                    <a:pt x="882381" y="573255"/>
                  </a:lnTo>
                  <a:lnTo>
                    <a:pt x="882068" y="576850"/>
                  </a:lnTo>
                  <a:lnTo>
                    <a:pt x="883200" y="585376"/>
                  </a:lnTo>
                  <a:lnTo>
                    <a:pt x="883621" y="586993"/>
                  </a:lnTo>
                  <a:lnTo>
                    <a:pt x="880468" y="590799"/>
                  </a:lnTo>
                  <a:lnTo>
                    <a:pt x="877064" y="592646"/>
                  </a:lnTo>
                  <a:lnTo>
                    <a:pt x="875184" y="594482"/>
                  </a:lnTo>
                  <a:lnTo>
                    <a:pt x="871024" y="601349"/>
                  </a:lnTo>
                  <a:lnTo>
                    <a:pt x="868768" y="611510"/>
                  </a:lnTo>
                  <a:lnTo>
                    <a:pt x="868714" y="616921"/>
                  </a:lnTo>
                  <a:lnTo>
                    <a:pt x="869781" y="628270"/>
                  </a:lnTo>
                  <a:lnTo>
                    <a:pt x="868980" y="632903"/>
                  </a:lnTo>
                  <a:lnTo>
                    <a:pt x="867664" y="636007"/>
                  </a:lnTo>
                  <a:lnTo>
                    <a:pt x="866107" y="638044"/>
                  </a:lnTo>
                  <a:lnTo>
                    <a:pt x="862136" y="640491"/>
                  </a:lnTo>
                  <a:lnTo>
                    <a:pt x="858577" y="646456"/>
                  </a:lnTo>
                  <a:lnTo>
                    <a:pt x="857030" y="652731"/>
                  </a:lnTo>
                  <a:lnTo>
                    <a:pt x="854592" y="655017"/>
                  </a:lnTo>
                  <a:lnTo>
                    <a:pt x="854093" y="658534"/>
                  </a:lnTo>
                  <a:lnTo>
                    <a:pt x="852131" y="662331"/>
                  </a:lnTo>
                  <a:lnTo>
                    <a:pt x="847043" y="668002"/>
                  </a:lnTo>
                  <a:lnTo>
                    <a:pt x="843735" y="669653"/>
                  </a:lnTo>
                  <a:lnTo>
                    <a:pt x="842157" y="671237"/>
                  </a:lnTo>
                  <a:lnTo>
                    <a:pt x="841156" y="674555"/>
                  </a:lnTo>
                  <a:lnTo>
                    <a:pt x="837967" y="680030"/>
                  </a:lnTo>
                  <a:lnTo>
                    <a:pt x="835615" y="687132"/>
                  </a:lnTo>
                  <a:lnTo>
                    <a:pt x="836227" y="689554"/>
                  </a:lnTo>
                  <a:lnTo>
                    <a:pt x="836266" y="689926"/>
                  </a:lnTo>
                  <a:lnTo>
                    <a:pt x="837122" y="698149"/>
                  </a:lnTo>
                  <a:lnTo>
                    <a:pt x="836806" y="700243"/>
                  </a:lnTo>
                  <a:lnTo>
                    <a:pt x="833707" y="702514"/>
                  </a:lnTo>
                  <a:lnTo>
                    <a:pt x="822033" y="706754"/>
                  </a:lnTo>
                  <a:lnTo>
                    <a:pt x="818924" y="708512"/>
                  </a:lnTo>
                  <a:lnTo>
                    <a:pt x="811953" y="715735"/>
                  </a:lnTo>
                  <a:lnTo>
                    <a:pt x="811519" y="717441"/>
                  </a:lnTo>
                  <a:lnTo>
                    <a:pt x="811809" y="719876"/>
                  </a:lnTo>
                  <a:lnTo>
                    <a:pt x="812956" y="721276"/>
                  </a:lnTo>
                  <a:lnTo>
                    <a:pt x="811775" y="722793"/>
                  </a:lnTo>
                  <a:lnTo>
                    <a:pt x="810382" y="725517"/>
                  </a:lnTo>
                  <a:lnTo>
                    <a:pt x="808352" y="725349"/>
                  </a:lnTo>
                  <a:lnTo>
                    <a:pt x="796724" y="725355"/>
                  </a:lnTo>
                  <a:lnTo>
                    <a:pt x="790429" y="726218"/>
                  </a:lnTo>
                  <a:lnTo>
                    <a:pt x="787158" y="726051"/>
                  </a:lnTo>
                  <a:lnTo>
                    <a:pt x="785690" y="725396"/>
                  </a:lnTo>
                  <a:lnTo>
                    <a:pt x="784043" y="724326"/>
                  </a:lnTo>
                  <a:lnTo>
                    <a:pt x="783548" y="722926"/>
                  </a:lnTo>
                  <a:lnTo>
                    <a:pt x="784441" y="720806"/>
                  </a:lnTo>
                  <a:lnTo>
                    <a:pt x="783914" y="719542"/>
                  </a:lnTo>
                  <a:lnTo>
                    <a:pt x="782188" y="719591"/>
                  </a:lnTo>
                  <a:lnTo>
                    <a:pt x="780295" y="720191"/>
                  </a:lnTo>
                  <a:lnTo>
                    <a:pt x="779966" y="721458"/>
                  </a:lnTo>
                  <a:lnTo>
                    <a:pt x="780101" y="722357"/>
                  </a:lnTo>
                  <a:lnTo>
                    <a:pt x="780805" y="723675"/>
                  </a:lnTo>
                  <a:lnTo>
                    <a:pt x="781192" y="725289"/>
                  </a:lnTo>
                  <a:lnTo>
                    <a:pt x="780416" y="726695"/>
                  </a:lnTo>
                  <a:lnTo>
                    <a:pt x="776732" y="726878"/>
                  </a:lnTo>
                  <a:lnTo>
                    <a:pt x="772591" y="728170"/>
                  </a:lnTo>
                  <a:lnTo>
                    <a:pt x="767425" y="728710"/>
                  </a:lnTo>
                  <a:lnTo>
                    <a:pt x="763310" y="729642"/>
                  </a:lnTo>
                  <a:lnTo>
                    <a:pt x="761408" y="728462"/>
                  </a:lnTo>
                  <a:lnTo>
                    <a:pt x="763310" y="727872"/>
                  </a:lnTo>
                  <a:lnTo>
                    <a:pt x="766033" y="728160"/>
                  </a:lnTo>
                  <a:lnTo>
                    <a:pt x="768961" y="727184"/>
                  </a:lnTo>
                  <a:lnTo>
                    <a:pt x="768277" y="726030"/>
                  </a:lnTo>
                  <a:lnTo>
                    <a:pt x="764137" y="724541"/>
                  </a:lnTo>
                  <a:lnTo>
                    <a:pt x="759541" y="725453"/>
                  </a:lnTo>
                  <a:lnTo>
                    <a:pt x="756992" y="727225"/>
                  </a:lnTo>
                  <a:lnTo>
                    <a:pt x="751416" y="727063"/>
                  </a:lnTo>
                  <a:lnTo>
                    <a:pt x="744586" y="728413"/>
                  </a:lnTo>
                  <a:lnTo>
                    <a:pt x="743472" y="729789"/>
                  </a:lnTo>
                  <a:lnTo>
                    <a:pt x="743658" y="732455"/>
                  </a:lnTo>
                  <a:lnTo>
                    <a:pt x="744995" y="733040"/>
                  </a:lnTo>
                  <a:lnTo>
                    <a:pt x="746299" y="734258"/>
                  </a:lnTo>
                  <a:lnTo>
                    <a:pt x="745047" y="735392"/>
                  </a:lnTo>
                  <a:lnTo>
                    <a:pt x="743827" y="735893"/>
                  </a:lnTo>
                  <a:lnTo>
                    <a:pt x="736614" y="737133"/>
                  </a:lnTo>
                  <a:lnTo>
                    <a:pt x="729925" y="742332"/>
                  </a:lnTo>
                  <a:lnTo>
                    <a:pt x="727137" y="742979"/>
                  </a:lnTo>
                  <a:lnTo>
                    <a:pt x="724655" y="745274"/>
                  </a:lnTo>
                  <a:lnTo>
                    <a:pt x="724399" y="747235"/>
                  </a:lnTo>
                  <a:lnTo>
                    <a:pt x="723615" y="748416"/>
                  </a:lnTo>
                  <a:lnTo>
                    <a:pt x="722023" y="748477"/>
                  </a:lnTo>
                  <a:lnTo>
                    <a:pt x="718535" y="747406"/>
                  </a:lnTo>
                  <a:lnTo>
                    <a:pt x="714009" y="747374"/>
                  </a:lnTo>
                  <a:lnTo>
                    <a:pt x="710740" y="748228"/>
                  </a:lnTo>
                  <a:lnTo>
                    <a:pt x="694037" y="756680"/>
                  </a:lnTo>
                  <a:lnTo>
                    <a:pt x="688040" y="760065"/>
                  </a:lnTo>
                  <a:lnTo>
                    <a:pt x="681196" y="766974"/>
                  </a:lnTo>
                  <a:lnTo>
                    <a:pt x="669660" y="774728"/>
                  </a:lnTo>
                  <a:lnTo>
                    <a:pt x="663600" y="779362"/>
                  </a:lnTo>
                  <a:lnTo>
                    <a:pt x="662449" y="780564"/>
                  </a:lnTo>
                  <a:lnTo>
                    <a:pt x="661492" y="780630"/>
                  </a:lnTo>
                  <a:lnTo>
                    <a:pt x="659593" y="781597"/>
                  </a:lnTo>
                  <a:lnTo>
                    <a:pt x="660349" y="782398"/>
                  </a:lnTo>
                  <a:lnTo>
                    <a:pt x="661643" y="782472"/>
                  </a:lnTo>
                  <a:lnTo>
                    <a:pt x="661109" y="785175"/>
                  </a:lnTo>
                  <a:lnTo>
                    <a:pt x="658701" y="787024"/>
                  </a:lnTo>
                  <a:lnTo>
                    <a:pt x="654179" y="791883"/>
                  </a:lnTo>
                  <a:lnTo>
                    <a:pt x="653172" y="791526"/>
                  </a:lnTo>
                  <a:lnTo>
                    <a:pt x="654604" y="789000"/>
                  </a:lnTo>
                  <a:lnTo>
                    <a:pt x="652384" y="788905"/>
                  </a:lnTo>
                  <a:lnTo>
                    <a:pt x="649113" y="787978"/>
                  </a:lnTo>
                  <a:lnTo>
                    <a:pt x="647693" y="789024"/>
                  </a:lnTo>
                  <a:lnTo>
                    <a:pt x="648476" y="791526"/>
                  </a:lnTo>
                  <a:lnTo>
                    <a:pt x="647245" y="792598"/>
                  </a:lnTo>
                  <a:lnTo>
                    <a:pt x="645014" y="792720"/>
                  </a:lnTo>
                  <a:lnTo>
                    <a:pt x="642990" y="792424"/>
                  </a:lnTo>
                  <a:lnTo>
                    <a:pt x="640764" y="790592"/>
                  </a:lnTo>
                  <a:lnTo>
                    <a:pt x="641768" y="793911"/>
                  </a:lnTo>
                  <a:lnTo>
                    <a:pt x="646462" y="794718"/>
                  </a:lnTo>
                  <a:lnTo>
                    <a:pt x="648419" y="795500"/>
                  </a:lnTo>
                  <a:lnTo>
                    <a:pt x="649147" y="796776"/>
                  </a:lnTo>
                  <a:lnTo>
                    <a:pt x="645496" y="802695"/>
                  </a:lnTo>
                  <a:lnTo>
                    <a:pt x="642437" y="803465"/>
                  </a:lnTo>
                  <a:lnTo>
                    <a:pt x="642102" y="804301"/>
                  </a:lnTo>
                  <a:lnTo>
                    <a:pt x="643779" y="804296"/>
                  </a:lnTo>
                  <a:lnTo>
                    <a:pt x="644705" y="805935"/>
                  </a:lnTo>
                  <a:lnTo>
                    <a:pt x="643613" y="812554"/>
                  </a:lnTo>
                  <a:lnTo>
                    <a:pt x="642102" y="813814"/>
                  </a:lnTo>
                  <a:lnTo>
                    <a:pt x="641221" y="813845"/>
                  </a:lnTo>
                  <a:lnTo>
                    <a:pt x="640346" y="814978"/>
                  </a:lnTo>
                  <a:lnTo>
                    <a:pt x="641552" y="817143"/>
                  </a:lnTo>
                  <a:lnTo>
                    <a:pt x="642796" y="818722"/>
                  </a:lnTo>
                  <a:lnTo>
                    <a:pt x="642630" y="821786"/>
                  </a:lnTo>
                  <a:lnTo>
                    <a:pt x="642166" y="824324"/>
                  </a:lnTo>
                  <a:lnTo>
                    <a:pt x="642135" y="826788"/>
                  </a:lnTo>
                  <a:lnTo>
                    <a:pt x="643708" y="831560"/>
                  </a:lnTo>
                  <a:lnTo>
                    <a:pt x="644272" y="836465"/>
                  </a:lnTo>
                  <a:lnTo>
                    <a:pt x="644907" y="838250"/>
                  </a:lnTo>
                  <a:lnTo>
                    <a:pt x="645267" y="840231"/>
                  </a:lnTo>
                  <a:lnTo>
                    <a:pt x="644219" y="842084"/>
                  </a:lnTo>
                  <a:lnTo>
                    <a:pt x="644816" y="845059"/>
                  </a:lnTo>
                  <a:lnTo>
                    <a:pt x="643026" y="850121"/>
                  </a:lnTo>
                  <a:lnTo>
                    <a:pt x="643961" y="857440"/>
                  </a:lnTo>
                  <a:lnTo>
                    <a:pt x="643577" y="864304"/>
                  </a:lnTo>
                  <a:lnTo>
                    <a:pt x="642876" y="867917"/>
                  </a:lnTo>
                  <a:lnTo>
                    <a:pt x="641741" y="870745"/>
                  </a:lnTo>
                  <a:lnTo>
                    <a:pt x="639103" y="874387"/>
                  </a:lnTo>
                  <a:lnTo>
                    <a:pt x="639043" y="878035"/>
                  </a:lnTo>
                  <a:lnTo>
                    <a:pt x="633364" y="881430"/>
                  </a:lnTo>
                  <a:lnTo>
                    <a:pt x="627084" y="886184"/>
                  </a:lnTo>
                  <a:lnTo>
                    <a:pt x="621287" y="891817"/>
                  </a:lnTo>
                  <a:lnTo>
                    <a:pt x="615047" y="899767"/>
                  </a:lnTo>
                  <a:lnTo>
                    <a:pt x="607760" y="911887"/>
                  </a:lnTo>
                  <a:lnTo>
                    <a:pt x="601012" y="929241"/>
                  </a:lnTo>
                  <a:lnTo>
                    <a:pt x="592886" y="942393"/>
                  </a:lnTo>
                  <a:lnTo>
                    <a:pt x="589635" y="947153"/>
                  </a:lnTo>
                  <a:lnTo>
                    <a:pt x="585243" y="952475"/>
                  </a:lnTo>
                  <a:lnTo>
                    <a:pt x="579402" y="958690"/>
                  </a:lnTo>
                  <a:lnTo>
                    <a:pt x="571576" y="964917"/>
                  </a:lnTo>
                  <a:lnTo>
                    <a:pt x="563012" y="970473"/>
                  </a:lnTo>
                  <a:lnTo>
                    <a:pt x="559917" y="972981"/>
                  </a:lnTo>
                  <a:lnTo>
                    <a:pt x="556899" y="976506"/>
                  </a:lnTo>
                  <a:lnTo>
                    <a:pt x="556145" y="975049"/>
                  </a:lnTo>
                  <a:lnTo>
                    <a:pt x="556799" y="972644"/>
                  </a:lnTo>
                  <a:lnTo>
                    <a:pt x="556383" y="970843"/>
                  </a:lnTo>
                  <a:lnTo>
                    <a:pt x="556290" y="968509"/>
                  </a:lnTo>
                  <a:lnTo>
                    <a:pt x="558017" y="968077"/>
                  </a:lnTo>
                  <a:lnTo>
                    <a:pt x="560603" y="969559"/>
                  </a:lnTo>
                  <a:lnTo>
                    <a:pt x="561919" y="968556"/>
                  </a:lnTo>
                  <a:lnTo>
                    <a:pt x="562878" y="967562"/>
                  </a:lnTo>
                  <a:lnTo>
                    <a:pt x="565991" y="966943"/>
                  </a:lnTo>
                  <a:lnTo>
                    <a:pt x="571936" y="960847"/>
                  </a:lnTo>
                  <a:lnTo>
                    <a:pt x="576348" y="958594"/>
                  </a:lnTo>
                  <a:lnTo>
                    <a:pt x="578830" y="954751"/>
                  </a:lnTo>
                  <a:lnTo>
                    <a:pt x="579255" y="952710"/>
                  </a:lnTo>
                  <a:lnTo>
                    <a:pt x="579157" y="948573"/>
                  </a:lnTo>
                  <a:lnTo>
                    <a:pt x="580563" y="947524"/>
                  </a:lnTo>
                  <a:lnTo>
                    <a:pt x="583755" y="947885"/>
                  </a:lnTo>
                  <a:lnTo>
                    <a:pt x="584406" y="946708"/>
                  </a:lnTo>
                  <a:lnTo>
                    <a:pt x="584129" y="945404"/>
                  </a:lnTo>
                  <a:lnTo>
                    <a:pt x="584750" y="942563"/>
                  </a:lnTo>
                  <a:lnTo>
                    <a:pt x="589077" y="940041"/>
                  </a:lnTo>
                  <a:lnTo>
                    <a:pt x="591127" y="936997"/>
                  </a:lnTo>
                  <a:lnTo>
                    <a:pt x="590443" y="929247"/>
                  </a:lnTo>
                  <a:lnTo>
                    <a:pt x="591236" y="928899"/>
                  </a:lnTo>
                  <a:lnTo>
                    <a:pt x="593016" y="930106"/>
                  </a:lnTo>
                  <a:lnTo>
                    <a:pt x="593851" y="929605"/>
                  </a:lnTo>
                  <a:lnTo>
                    <a:pt x="594748" y="926212"/>
                  </a:lnTo>
                  <a:lnTo>
                    <a:pt x="594317" y="924453"/>
                  </a:lnTo>
                  <a:lnTo>
                    <a:pt x="592221" y="923986"/>
                  </a:lnTo>
                  <a:lnTo>
                    <a:pt x="584977" y="927809"/>
                  </a:lnTo>
                  <a:lnTo>
                    <a:pt x="582618" y="927652"/>
                  </a:lnTo>
                  <a:lnTo>
                    <a:pt x="582226" y="924649"/>
                  </a:lnTo>
                  <a:lnTo>
                    <a:pt x="578704" y="923269"/>
                  </a:lnTo>
                  <a:lnTo>
                    <a:pt x="577327" y="920779"/>
                  </a:lnTo>
                  <a:lnTo>
                    <a:pt x="576914" y="919072"/>
                  </a:lnTo>
                  <a:lnTo>
                    <a:pt x="575692" y="918375"/>
                  </a:lnTo>
                  <a:lnTo>
                    <a:pt x="575769" y="921323"/>
                  </a:lnTo>
                  <a:lnTo>
                    <a:pt x="576105" y="924189"/>
                  </a:lnTo>
                  <a:lnTo>
                    <a:pt x="579262" y="927529"/>
                  </a:lnTo>
                  <a:lnTo>
                    <a:pt x="578494" y="928855"/>
                  </a:lnTo>
                  <a:lnTo>
                    <a:pt x="576997" y="930404"/>
                  </a:lnTo>
                  <a:lnTo>
                    <a:pt x="575955" y="933848"/>
                  </a:lnTo>
                  <a:lnTo>
                    <a:pt x="576072" y="938318"/>
                  </a:lnTo>
                  <a:lnTo>
                    <a:pt x="575227" y="936955"/>
                  </a:lnTo>
                  <a:lnTo>
                    <a:pt x="574144" y="936169"/>
                  </a:lnTo>
                  <a:lnTo>
                    <a:pt x="573704" y="940976"/>
                  </a:lnTo>
                  <a:lnTo>
                    <a:pt x="571608" y="942816"/>
                  </a:lnTo>
                  <a:lnTo>
                    <a:pt x="570945" y="944624"/>
                  </a:lnTo>
                  <a:lnTo>
                    <a:pt x="571493" y="946722"/>
                  </a:lnTo>
                  <a:lnTo>
                    <a:pt x="570412" y="948171"/>
                  </a:lnTo>
                  <a:lnTo>
                    <a:pt x="565072" y="952066"/>
                  </a:lnTo>
                  <a:lnTo>
                    <a:pt x="559750" y="954727"/>
                  </a:lnTo>
                  <a:lnTo>
                    <a:pt x="558591" y="955985"/>
                  </a:lnTo>
                  <a:lnTo>
                    <a:pt x="558024" y="958959"/>
                  </a:lnTo>
                  <a:lnTo>
                    <a:pt x="557210" y="962016"/>
                  </a:lnTo>
                  <a:lnTo>
                    <a:pt x="554855" y="964706"/>
                  </a:lnTo>
                  <a:lnTo>
                    <a:pt x="552985" y="970058"/>
                  </a:lnTo>
                  <a:lnTo>
                    <a:pt x="553037" y="972364"/>
                  </a:lnTo>
                  <a:lnTo>
                    <a:pt x="553657" y="975764"/>
                  </a:lnTo>
                  <a:lnTo>
                    <a:pt x="554663" y="977995"/>
                  </a:lnTo>
                  <a:lnTo>
                    <a:pt x="553071" y="979488"/>
                  </a:lnTo>
                  <a:lnTo>
                    <a:pt x="550930" y="982387"/>
                  </a:lnTo>
                  <a:lnTo>
                    <a:pt x="549230" y="985658"/>
                  </a:lnTo>
                  <a:lnTo>
                    <a:pt x="544999" y="997959"/>
                  </a:lnTo>
                  <a:lnTo>
                    <a:pt x="541355" y="1005389"/>
                  </a:lnTo>
                  <a:lnTo>
                    <a:pt x="538549" y="1009036"/>
                  </a:lnTo>
                  <a:lnTo>
                    <a:pt x="534544" y="1012882"/>
                  </a:lnTo>
                  <a:lnTo>
                    <a:pt x="523139" y="1022551"/>
                  </a:lnTo>
                  <a:lnTo>
                    <a:pt x="522456" y="1022413"/>
                  </a:lnTo>
                  <a:lnTo>
                    <a:pt x="520783" y="1021633"/>
                  </a:lnTo>
                  <a:lnTo>
                    <a:pt x="519381" y="1020704"/>
                  </a:lnTo>
                  <a:lnTo>
                    <a:pt x="519064" y="1020084"/>
                  </a:lnTo>
                  <a:lnTo>
                    <a:pt x="518905" y="1019158"/>
                  </a:lnTo>
                  <a:lnTo>
                    <a:pt x="519089" y="1015674"/>
                  </a:lnTo>
                  <a:lnTo>
                    <a:pt x="519064" y="1006327"/>
                  </a:lnTo>
                  <a:lnTo>
                    <a:pt x="519558" y="1004565"/>
                  </a:lnTo>
                  <a:lnTo>
                    <a:pt x="520293" y="1003428"/>
                  </a:lnTo>
                  <a:lnTo>
                    <a:pt x="522516" y="1001779"/>
                  </a:lnTo>
                  <a:lnTo>
                    <a:pt x="524674" y="999422"/>
                  </a:lnTo>
                  <a:lnTo>
                    <a:pt x="527109" y="996425"/>
                  </a:lnTo>
                  <a:lnTo>
                    <a:pt x="529352" y="994040"/>
                  </a:lnTo>
                  <a:lnTo>
                    <a:pt x="528549" y="992441"/>
                  </a:lnTo>
                  <a:lnTo>
                    <a:pt x="526674" y="990896"/>
                  </a:lnTo>
                  <a:lnTo>
                    <a:pt x="523339" y="989647"/>
                  </a:lnTo>
                  <a:lnTo>
                    <a:pt x="520127" y="987448"/>
                  </a:lnTo>
                  <a:lnTo>
                    <a:pt x="517280" y="984622"/>
                  </a:lnTo>
                  <a:lnTo>
                    <a:pt x="515963" y="981682"/>
                  </a:lnTo>
                  <a:lnTo>
                    <a:pt x="514759" y="978517"/>
                  </a:lnTo>
                  <a:lnTo>
                    <a:pt x="513606" y="976016"/>
                  </a:lnTo>
                  <a:lnTo>
                    <a:pt x="513223" y="974873"/>
                  </a:lnTo>
                  <a:lnTo>
                    <a:pt x="512098" y="974398"/>
                  </a:lnTo>
                  <a:lnTo>
                    <a:pt x="510311" y="973122"/>
                  </a:lnTo>
                  <a:lnTo>
                    <a:pt x="509194" y="971935"/>
                  </a:lnTo>
                  <a:lnTo>
                    <a:pt x="507557" y="971255"/>
                  </a:lnTo>
                  <a:lnTo>
                    <a:pt x="504634" y="970508"/>
                  </a:lnTo>
                  <a:lnTo>
                    <a:pt x="501588" y="969205"/>
                  </a:lnTo>
                  <a:lnTo>
                    <a:pt x="497800" y="966112"/>
                  </a:lnTo>
                  <a:lnTo>
                    <a:pt x="495068" y="962681"/>
                  </a:lnTo>
                  <a:lnTo>
                    <a:pt x="493719" y="960417"/>
                  </a:lnTo>
                  <a:lnTo>
                    <a:pt x="492280" y="958824"/>
                  </a:lnTo>
                  <a:lnTo>
                    <a:pt x="484462" y="956193"/>
                  </a:lnTo>
                  <a:lnTo>
                    <a:pt x="480910" y="953052"/>
                  </a:lnTo>
                  <a:lnTo>
                    <a:pt x="479513" y="954030"/>
                  </a:lnTo>
                  <a:lnTo>
                    <a:pt x="477424" y="953068"/>
                  </a:lnTo>
                  <a:lnTo>
                    <a:pt x="475367" y="951558"/>
                  </a:lnTo>
                  <a:lnTo>
                    <a:pt x="474750" y="950398"/>
                  </a:lnTo>
                  <a:lnTo>
                    <a:pt x="473881" y="949212"/>
                  </a:lnTo>
                  <a:lnTo>
                    <a:pt x="473063" y="947849"/>
                  </a:lnTo>
                  <a:lnTo>
                    <a:pt x="472542" y="946542"/>
                  </a:lnTo>
                  <a:lnTo>
                    <a:pt x="470425" y="944259"/>
                  </a:lnTo>
                  <a:lnTo>
                    <a:pt x="467692" y="941789"/>
                  </a:lnTo>
                  <a:lnTo>
                    <a:pt x="466534" y="941086"/>
                  </a:lnTo>
                  <a:lnTo>
                    <a:pt x="465922" y="941290"/>
                  </a:lnTo>
                  <a:lnTo>
                    <a:pt x="465330" y="942238"/>
                  </a:lnTo>
                  <a:lnTo>
                    <a:pt x="464956" y="943155"/>
                  </a:lnTo>
                  <a:lnTo>
                    <a:pt x="463924" y="943760"/>
                  </a:lnTo>
                  <a:lnTo>
                    <a:pt x="462647" y="944891"/>
                  </a:lnTo>
                  <a:lnTo>
                    <a:pt x="461343" y="946277"/>
                  </a:lnTo>
                  <a:lnTo>
                    <a:pt x="459671" y="947197"/>
                  </a:lnTo>
                  <a:lnTo>
                    <a:pt x="457685" y="947511"/>
                  </a:lnTo>
                  <a:lnTo>
                    <a:pt x="456349" y="947464"/>
                  </a:lnTo>
                  <a:lnTo>
                    <a:pt x="456075" y="946918"/>
                  </a:lnTo>
                  <a:lnTo>
                    <a:pt x="456000" y="945025"/>
                  </a:lnTo>
                  <a:lnTo>
                    <a:pt x="456493" y="940706"/>
                  </a:lnTo>
                  <a:lnTo>
                    <a:pt x="455330" y="939045"/>
                  </a:lnTo>
                  <a:lnTo>
                    <a:pt x="453784" y="937264"/>
                  </a:lnTo>
                  <a:lnTo>
                    <a:pt x="452000" y="934884"/>
                  </a:lnTo>
                  <a:lnTo>
                    <a:pt x="446142" y="929845"/>
                  </a:lnTo>
                  <a:lnTo>
                    <a:pt x="438169" y="922598"/>
                  </a:lnTo>
                  <a:lnTo>
                    <a:pt x="435353" y="920385"/>
                  </a:lnTo>
                  <a:lnTo>
                    <a:pt x="432702" y="920214"/>
                  </a:lnTo>
                  <a:lnTo>
                    <a:pt x="430282" y="920461"/>
                  </a:lnTo>
                  <a:lnTo>
                    <a:pt x="428056" y="921419"/>
                  </a:lnTo>
                  <a:lnTo>
                    <a:pt x="426372" y="924765"/>
                  </a:lnTo>
                  <a:lnTo>
                    <a:pt x="425674" y="925281"/>
                  </a:lnTo>
                  <a:lnTo>
                    <a:pt x="421378" y="925205"/>
                  </a:lnTo>
                  <a:lnTo>
                    <a:pt x="417107" y="924664"/>
                  </a:lnTo>
                  <a:lnTo>
                    <a:pt x="415672" y="922623"/>
                  </a:lnTo>
                  <a:lnTo>
                    <a:pt x="416813" y="921294"/>
                  </a:lnTo>
                  <a:lnTo>
                    <a:pt x="420836" y="918349"/>
                  </a:lnTo>
                  <a:lnTo>
                    <a:pt x="423062" y="915727"/>
                  </a:lnTo>
                  <a:lnTo>
                    <a:pt x="423487" y="913427"/>
                  </a:lnTo>
                  <a:lnTo>
                    <a:pt x="425415" y="911364"/>
                  </a:lnTo>
                  <a:lnTo>
                    <a:pt x="428846" y="909537"/>
                  </a:lnTo>
                  <a:lnTo>
                    <a:pt x="432668" y="906175"/>
                  </a:lnTo>
                  <a:lnTo>
                    <a:pt x="436881" y="901280"/>
                  </a:lnTo>
                  <a:lnTo>
                    <a:pt x="439440" y="897670"/>
                  </a:lnTo>
                  <a:lnTo>
                    <a:pt x="440345" y="895341"/>
                  </a:lnTo>
                  <a:lnTo>
                    <a:pt x="441998" y="893548"/>
                  </a:lnTo>
                  <a:lnTo>
                    <a:pt x="444399" y="892288"/>
                  </a:lnTo>
                  <a:lnTo>
                    <a:pt x="446496" y="889661"/>
                  </a:lnTo>
                  <a:lnTo>
                    <a:pt x="448294" y="885668"/>
                  </a:lnTo>
                  <a:lnTo>
                    <a:pt x="450749" y="882492"/>
                  </a:lnTo>
                  <a:lnTo>
                    <a:pt x="453859" y="880140"/>
                  </a:lnTo>
                  <a:lnTo>
                    <a:pt x="455600" y="878188"/>
                  </a:lnTo>
                  <a:lnTo>
                    <a:pt x="455970" y="876640"/>
                  </a:lnTo>
                  <a:lnTo>
                    <a:pt x="456851" y="875650"/>
                  </a:lnTo>
                  <a:lnTo>
                    <a:pt x="458239" y="875217"/>
                  </a:lnTo>
                  <a:lnTo>
                    <a:pt x="458911" y="874403"/>
                  </a:lnTo>
                  <a:lnTo>
                    <a:pt x="458866" y="873204"/>
                  </a:lnTo>
                  <a:lnTo>
                    <a:pt x="459244" y="872389"/>
                  </a:lnTo>
                  <a:lnTo>
                    <a:pt x="460046" y="871955"/>
                  </a:lnTo>
                  <a:lnTo>
                    <a:pt x="461385" y="872107"/>
                  </a:lnTo>
                  <a:lnTo>
                    <a:pt x="463264" y="872846"/>
                  </a:lnTo>
                  <a:lnTo>
                    <a:pt x="464398" y="872709"/>
                  </a:lnTo>
                  <a:lnTo>
                    <a:pt x="464785" y="871700"/>
                  </a:lnTo>
                  <a:lnTo>
                    <a:pt x="464290" y="870543"/>
                  </a:lnTo>
                  <a:lnTo>
                    <a:pt x="462908" y="869243"/>
                  </a:lnTo>
                  <a:lnTo>
                    <a:pt x="463429" y="867832"/>
                  </a:lnTo>
                  <a:lnTo>
                    <a:pt x="467057" y="865550"/>
                  </a:lnTo>
                  <a:lnTo>
                    <a:pt x="469738" y="864682"/>
                  </a:lnTo>
                  <a:lnTo>
                    <a:pt x="471433" y="863267"/>
                  </a:lnTo>
                  <a:lnTo>
                    <a:pt x="473039" y="861023"/>
                  </a:lnTo>
                  <a:lnTo>
                    <a:pt x="475643" y="859457"/>
                  </a:lnTo>
                  <a:lnTo>
                    <a:pt x="479250" y="858579"/>
                  </a:lnTo>
                  <a:lnTo>
                    <a:pt x="480205" y="857733"/>
                  </a:lnTo>
                  <a:lnTo>
                    <a:pt x="480074" y="856647"/>
                  </a:lnTo>
                  <a:lnTo>
                    <a:pt x="480812" y="855866"/>
                  </a:lnTo>
                  <a:lnTo>
                    <a:pt x="482942" y="855302"/>
                  </a:lnTo>
                  <a:lnTo>
                    <a:pt x="484101" y="854245"/>
                  </a:lnTo>
                  <a:lnTo>
                    <a:pt x="484290" y="852695"/>
                  </a:lnTo>
                  <a:lnTo>
                    <a:pt x="484975" y="851252"/>
                  </a:lnTo>
                  <a:lnTo>
                    <a:pt x="486158" y="849921"/>
                  </a:lnTo>
                  <a:lnTo>
                    <a:pt x="487476" y="849426"/>
                  </a:lnTo>
                  <a:lnTo>
                    <a:pt x="488931" y="849766"/>
                  </a:lnTo>
                  <a:lnTo>
                    <a:pt x="490296" y="849264"/>
                  </a:lnTo>
                  <a:lnTo>
                    <a:pt x="491575" y="847913"/>
                  </a:lnTo>
                  <a:lnTo>
                    <a:pt x="493109" y="847282"/>
                  </a:lnTo>
                  <a:lnTo>
                    <a:pt x="494900" y="847370"/>
                  </a:lnTo>
                  <a:lnTo>
                    <a:pt x="495817" y="847074"/>
                  </a:lnTo>
                  <a:lnTo>
                    <a:pt x="498889" y="846447"/>
                  </a:lnTo>
                  <a:lnTo>
                    <a:pt x="500585" y="845313"/>
                  </a:lnTo>
                  <a:lnTo>
                    <a:pt x="501977" y="842788"/>
                  </a:lnTo>
                  <a:lnTo>
                    <a:pt x="503214" y="841810"/>
                  </a:lnTo>
                  <a:lnTo>
                    <a:pt x="504294" y="842380"/>
                  </a:lnTo>
                  <a:lnTo>
                    <a:pt x="506162" y="841535"/>
                  </a:lnTo>
                  <a:lnTo>
                    <a:pt x="508819" y="839279"/>
                  </a:lnTo>
                  <a:lnTo>
                    <a:pt x="509320" y="839237"/>
                  </a:lnTo>
                  <a:lnTo>
                    <a:pt x="511284" y="838186"/>
                  </a:lnTo>
                  <a:lnTo>
                    <a:pt x="513304" y="834292"/>
                  </a:lnTo>
                  <a:lnTo>
                    <a:pt x="514349" y="831688"/>
                  </a:lnTo>
                  <a:lnTo>
                    <a:pt x="514099" y="829559"/>
                  </a:lnTo>
                  <a:lnTo>
                    <a:pt x="513436" y="828032"/>
                  </a:lnTo>
                  <a:lnTo>
                    <a:pt x="513657" y="825796"/>
                  </a:lnTo>
                  <a:lnTo>
                    <a:pt x="514327" y="819721"/>
                  </a:lnTo>
                  <a:lnTo>
                    <a:pt x="514510" y="817238"/>
                  </a:lnTo>
                  <a:lnTo>
                    <a:pt x="515585" y="815509"/>
                  </a:lnTo>
                  <a:lnTo>
                    <a:pt x="515515" y="813794"/>
                  </a:lnTo>
                  <a:lnTo>
                    <a:pt x="513598" y="809956"/>
                  </a:lnTo>
                  <a:lnTo>
                    <a:pt x="511663" y="806590"/>
                  </a:lnTo>
                  <a:lnTo>
                    <a:pt x="510624" y="800878"/>
                  </a:lnTo>
                  <a:lnTo>
                    <a:pt x="509941" y="798712"/>
                  </a:lnTo>
                  <a:lnTo>
                    <a:pt x="508327" y="798137"/>
                  </a:lnTo>
                  <a:lnTo>
                    <a:pt x="506869" y="796250"/>
                  </a:lnTo>
                  <a:lnTo>
                    <a:pt x="505025" y="796087"/>
                  </a:lnTo>
                  <a:lnTo>
                    <a:pt x="504157" y="795364"/>
                  </a:lnTo>
                  <a:lnTo>
                    <a:pt x="503261" y="794765"/>
                  </a:lnTo>
                  <a:lnTo>
                    <a:pt x="501954" y="794942"/>
                  </a:lnTo>
                  <a:lnTo>
                    <a:pt x="500839" y="796047"/>
                  </a:lnTo>
                  <a:lnTo>
                    <a:pt x="498765" y="796087"/>
                  </a:lnTo>
                  <a:lnTo>
                    <a:pt x="497460" y="796541"/>
                  </a:lnTo>
                  <a:lnTo>
                    <a:pt x="495923" y="797524"/>
                  </a:lnTo>
                  <a:lnTo>
                    <a:pt x="494463" y="797072"/>
                  </a:lnTo>
                  <a:lnTo>
                    <a:pt x="493543" y="796211"/>
                  </a:lnTo>
                  <a:lnTo>
                    <a:pt x="491565" y="796199"/>
                  </a:lnTo>
                  <a:lnTo>
                    <a:pt x="491700" y="792321"/>
                  </a:lnTo>
                  <a:lnTo>
                    <a:pt x="495184" y="786577"/>
                  </a:lnTo>
                  <a:lnTo>
                    <a:pt x="496119" y="783906"/>
                  </a:lnTo>
                  <a:lnTo>
                    <a:pt x="495666" y="782393"/>
                  </a:lnTo>
                  <a:lnTo>
                    <a:pt x="496709" y="777058"/>
                  </a:lnTo>
                  <a:lnTo>
                    <a:pt x="499245" y="767914"/>
                  </a:lnTo>
                  <a:lnTo>
                    <a:pt x="500055" y="761940"/>
                  </a:lnTo>
                  <a:lnTo>
                    <a:pt x="499135" y="759122"/>
                  </a:lnTo>
                  <a:lnTo>
                    <a:pt x="499111" y="757157"/>
                  </a:lnTo>
                  <a:lnTo>
                    <a:pt x="500413" y="755484"/>
                  </a:lnTo>
                  <a:lnTo>
                    <a:pt x="501049" y="754985"/>
                  </a:lnTo>
                  <a:lnTo>
                    <a:pt x="497779" y="752943"/>
                  </a:lnTo>
                  <a:lnTo>
                    <a:pt x="496018" y="751079"/>
                  </a:lnTo>
                  <a:lnTo>
                    <a:pt x="493752" y="749748"/>
                  </a:lnTo>
                  <a:lnTo>
                    <a:pt x="491320" y="748684"/>
                  </a:lnTo>
                  <a:lnTo>
                    <a:pt x="490147" y="749126"/>
                  </a:lnTo>
                  <a:lnTo>
                    <a:pt x="488889" y="749748"/>
                  </a:lnTo>
                  <a:lnTo>
                    <a:pt x="486457" y="750723"/>
                  </a:lnTo>
                  <a:lnTo>
                    <a:pt x="483689" y="752411"/>
                  </a:lnTo>
                  <a:lnTo>
                    <a:pt x="482264" y="753032"/>
                  </a:lnTo>
                  <a:lnTo>
                    <a:pt x="479748" y="753654"/>
                  </a:lnTo>
                  <a:lnTo>
                    <a:pt x="476897" y="754186"/>
                  </a:lnTo>
                  <a:lnTo>
                    <a:pt x="474550" y="753831"/>
                  </a:lnTo>
                  <a:lnTo>
                    <a:pt x="472536" y="753475"/>
                  </a:lnTo>
                  <a:lnTo>
                    <a:pt x="471278" y="752411"/>
                  </a:lnTo>
                  <a:lnTo>
                    <a:pt x="470607" y="750101"/>
                  </a:lnTo>
                  <a:lnTo>
                    <a:pt x="470607" y="748149"/>
                  </a:lnTo>
                  <a:lnTo>
                    <a:pt x="470189" y="745310"/>
                  </a:lnTo>
                  <a:lnTo>
                    <a:pt x="468678" y="743716"/>
                  </a:lnTo>
                  <a:lnTo>
                    <a:pt x="468175" y="742476"/>
                  </a:lnTo>
                  <a:lnTo>
                    <a:pt x="468091" y="740969"/>
                  </a:lnTo>
                  <a:lnTo>
                    <a:pt x="468260" y="739287"/>
                  </a:lnTo>
                  <a:lnTo>
                    <a:pt x="468678" y="738048"/>
                  </a:lnTo>
                  <a:lnTo>
                    <a:pt x="468427" y="736542"/>
                  </a:lnTo>
                  <a:lnTo>
                    <a:pt x="467755" y="735478"/>
                  </a:lnTo>
                  <a:lnTo>
                    <a:pt x="467924" y="733620"/>
                  </a:lnTo>
                  <a:lnTo>
                    <a:pt x="467589" y="731055"/>
                  </a:lnTo>
                  <a:lnTo>
                    <a:pt x="466582" y="729462"/>
                  </a:lnTo>
                  <a:lnTo>
                    <a:pt x="466078" y="727607"/>
                  </a:lnTo>
                  <a:lnTo>
                    <a:pt x="466078" y="725750"/>
                  </a:lnTo>
                  <a:lnTo>
                    <a:pt x="465324" y="723896"/>
                  </a:lnTo>
                  <a:lnTo>
                    <a:pt x="465239" y="721864"/>
                  </a:lnTo>
                  <a:lnTo>
                    <a:pt x="465911" y="720011"/>
                  </a:lnTo>
                  <a:lnTo>
                    <a:pt x="466162" y="718158"/>
                  </a:lnTo>
                  <a:lnTo>
                    <a:pt x="465408" y="716835"/>
                  </a:lnTo>
                  <a:lnTo>
                    <a:pt x="463982" y="716040"/>
                  </a:lnTo>
                  <a:lnTo>
                    <a:pt x="462892" y="713923"/>
                  </a:lnTo>
                  <a:lnTo>
                    <a:pt x="462723" y="711189"/>
                  </a:lnTo>
                  <a:lnTo>
                    <a:pt x="461550" y="709691"/>
                  </a:lnTo>
                  <a:lnTo>
                    <a:pt x="460292" y="708458"/>
                  </a:lnTo>
                  <a:lnTo>
                    <a:pt x="458867" y="708458"/>
                  </a:lnTo>
                  <a:lnTo>
                    <a:pt x="456686" y="707753"/>
                  </a:lnTo>
                  <a:lnTo>
                    <a:pt x="454757" y="707841"/>
                  </a:lnTo>
                  <a:lnTo>
                    <a:pt x="451654" y="707753"/>
                  </a:lnTo>
                  <a:lnTo>
                    <a:pt x="450229" y="707314"/>
                  </a:lnTo>
                  <a:lnTo>
                    <a:pt x="449475" y="706342"/>
                  </a:lnTo>
                  <a:lnTo>
                    <a:pt x="447545" y="705022"/>
                  </a:lnTo>
                  <a:lnTo>
                    <a:pt x="446455" y="702735"/>
                  </a:lnTo>
                  <a:lnTo>
                    <a:pt x="445113" y="702295"/>
                  </a:lnTo>
                  <a:lnTo>
                    <a:pt x="443186" y="702997"/>
                  </a:lnTo>
                  <a:lnTo>
                    <a:pt x="442515" y="703878"/>
                  </a:lnTo>
                  <a:lnTo>
                    <a:pt x="441759" y="705111"/>
                  </a:lnTo>
                  <a:lnTo>
                    <a:pt x="440417" y="706520"/>
                  </a:lnTo>
                  <a:lnTo>
                    <a:pt x="438657" y="706432"/>
                  </a:lnTo>
                  <a:lnTo>
                    <a:pt x="436812" y="707224"/>
                  </a:lnTo>
                  <a:lnTo>
                    <a:pt x="435050" y="707314"/>
                  </a:lnTo>
                  <a:lnTo>
                    <a:pt x="432702" y="707490"/>
                  </a:lnTo>
                  <a:lnTo>
                    <a:pt x="430354" y="706785"/>
                  </a:lnTo>
                  <a:lnTo>
                    <a:pt x="427503" y="705991"/>
                  </a:lnTo>
                  <a:lnTo>
                    <a:pt x="425071" y="705464"/>
                  </a:lnTo>
                  <a:lnTo>
                    <a:pt x="422722" y="705991"/>
                  </a:lnTo>
                  <a:lnTo>
                    <a:pt x="421130" y="705550"/>
                  </a:lnTo>
                  <a:lnTo>
                    <a:pt x="419032" y="705287"/>
                  </a:lnTo>
                  <a:lnTo>
                    <a:pt x="416685" y="705111"/>
                  </a:lnTo>
                  <a:lnTo>
                    <a:pt x="414840" y="703701"/>
                  </a:lnTo>
                  <a:lnTo>
                    <a:pt x="412827" y="702909"/>
                  </a:lnTo>
                  <a:lnTo>
                    <a:pt x="411738" y="703174"/>
                  </a:lnTo>
                  <a:lnTo>
                    <a:pt x="410311" y="704055"/>
                  </a:lnTo>
                  <a:lnTo>
                    <a:pt x="408802" y="703878"/>
                  </a:lnTo>
                  <a:lnTo>
                    <a:pt x="406874" y="703174"/>
                  </a:lnTo>
                  <a:lnTo>
                    <a:pt x="406118" y="701503"/>
                  </a:lnTo>
                  <a:lnTo>
                    <a:pt x="406286" y="700446"/>
                  </a:lnTo>
                  <a:lnTo>
                    <a:pt x="406706" y="699391"/>
                  </a:lnTo>
                  <a:lnTo>
                    <a:pt x="407460" y="697894"/>
                  </a:lnTo>
                  <a:lnTo>
                    <a:pt x="407040" y="696311"/>
                  </a:lnTo>
                  <a:lnTo>
                    <a:pt x="407208" y="694906"/>
                  </a:lnTo>
                  <a:lnTo>
                    <a:pt x="407544" y="693674"/>
                  </a:lnTo>
                  <a:lnTo>
                    <a:pt x="407879" y="692270"/>
                  </a:lnTo>
                  <a:lnTo>
                    <a:pt x="407627" y="690952"/>
                  </a:lnTo>
                  <a:lnTo>
                    <a:pt x="407544" y="689546"/>
                  </a:lnTo>
                  <a:lnTo>
                    <a:pt x="407376" y="688230"/>
                  </a:lnTo>
                  <a:lnTo>
                    <a:pt x="407125" y="686824"/>
                  </a:lnTo>
                  <a:lnTo>
                    <a:pt x="408130" y="684806"/>
                  </a:lnTo>
                  <a:lnTo>
                    <a:pt x="408969" y="683137"/>
                  </a:lnTo>
                  <a:lnTo>
                    <a:pt x="408466" y="681736"/>
                  </a:lnTo>
                  <a:lnTo>
                    <a:pt x="408634" y="680769"/>
                  </a:lnTo>
                  <a:lnTo>
                    <a:pt x="409305" y="679190"/>
                  </a:lnTo>
                  <a:lnTo>
                    <a:pt x="410143" y="677265"/>
                  </a:lnTo>
                  <a:lnTo>
                    <a:pt x="410060" y="673671"/>
                  </a:lnTo>
                  <a:lnTo>
                    <a:pt x="409305" y="671568"/>
                  </a:lnTo>
                  <a:lnTo>
                    <a:pt x="408488" y="670999"/>
                  </a:lnTo>
                  <a:lnTo>
                    <a:pt x="408278" y="670363"/>
                  </a:lnTo>
                  <a:lnTo>
                    <a:pt x="408676" y="669534"/>
                  </a:lnTo>
                  <a:lnTo>
                    <a:pt x="408243" y="668678"/>
                  </a:lnTo>
                  <a:lnTo>
                    <a:pt x="408075" y="667804"/>
                  </a:lnTo>
                  <a:lnTo>
                    <a:pt x="408509" y="667040"/>
                  </a:lnTo>
                  <a:lnTo>
                    <a:pt x="407907" y="665528"/>
                  </a:lnTo>
                  <a:lnTo>
                    <a:pt x="406706" y="665091"/>
                  </a:lnTo>
                  <a:lnTo>
                    <a:pt x="406286" y="664654"/>
                  </a:lnTo>
                  <a:lnTo>
                    <a:pt x="405867" y="662992"/>
                  </a:lnTo>
                  <a:lnTo>
                    <a:pt x="405531" y="661069"/>
                  </a:lnTo>
                  <a:lnTo>
                    <a:pt x="405698" y="659581"/>
                  </a:lnTo>
                  <a:lnTo>
                    <a:pt x="405111" y="658271"/>
                  </a:lnTo>
                  <a:lnTo>
                    <a:pt x="404273" y="657486"/>
                  </a:lnTo>
                  <a:lnTo>
                    <a:pt x="403435" y="656088"/>
                  </a:lnTo>
                  <a:lnTo>
                    <a:pt x="402595" y="655039"/>
                  </a:lnTo>
                  <a:lnTo>
                    <a:pt x="402261" y="653555"/>
                  </a:lnTo>
                  <a:lnTo>
                    <a:pt x="401704" y="651637"/>
                  </a:lnTo>
                  <a:lnTo>
                    <a:pt x="403378" y="651279"/>
                  </a:lnTo>
                  <a:lnTo>
                    <a:pt x="404040" y="650205"/>
                  </a:lnTo>
                  <a:lnTo>
                    <a:pt x="405219" y="648748"/>
                  </a:lnTo>
                  <a:lnTo>
                    <a:pt x="406765" y="648368"/>
                  </a:lnTo>
                  <a:lnTo>
                    <a:pt x="408605" y="647832"/>
                  </a:lnTo>
                  <a:lnTo>
                    <a:pt x="409286" y="646755"/>
                  </a:lnTo>
                  <a:lnTo>
                    <a:pt x="404996" y="642882"/>
                  </a:lnTo>
                  <a:lnTo>
                    <a:pt x="402421" y="640557"/>
                  </a:lnTo>
                  <a:lnTo>
                    <a:pt x="403929" y="637416"/>
                  </a:lnTo>
                  <a:lnTo>
                    <a:pt x="406473" y="632122"/>
                  </a:lnTo>
                  <a:lnTo>
                    <a:pt x="408937" y="627000"/>
                  </a:lnTo>
                  <a:lnTo>
                    <a:pt x="410816" y="623094"/>
                  </a:lnTo>
                  <a:lnTo>
                    <a:pt x="411296" y="622373"/>
                  </a:lnTo>
                  <a:lnTo>
                    <a:pt x="412936" y="622124"/>
                  </a:lnTo>
                  <a:lnTo>
                    <a:pt x="412637" y="620110"/>
                  </a:lnTo>
                  <a:lnTo>
                    <a:pt x="412580" y="618790"/>
                  </a:lnTo>
                  <a:lnTo>
                    <a:pt x="411255" y="618713"/>
                  </a:lnTo>
                  <a:lnTo>
                    <a:pt x="412728" y="613960"/>
                  </a:lnTo>
                  <a:lnTo>
                    <a:pt x="414904" y="607185"/>
                  </a:lnTo>
                  <a:lnTo>
                    <a:pt x="416556" y="602055"/>
                  </a:lnTo>
                  <a:lnTo>
                    <a:pt x="417086" y="601195"/>
                  </a:lnTo>
                  <a:lnTo>
                    <a:pt x="418277" y="600955"/>
                  </a:lnTo>
                  <a:lnTo>
                    <a:pt x="418543" y="600361"/>
                  </a:lnTo>
                  <a:lnTo>
                    <a:pt x="417114" y="599535"/>
                  </a:lnTo>
                  <a:lnTo>
                    <a:pt x="416240" y="597942"/>
                  </a:lnTo>
                  <a:lnTo>
                    <a:pt x="414334" y="593362"/>
                  </a:lnTo>
                  <a:lnTo>
                    <a:pt x="411329" y="586152"/>
                  </a:lnTo>
                  <a:lnTo>
                    <a:pt x="411108" y="583571"/>
                  </a:lnTo>
                  <a:lnTo>
                    <a:pt x="410003" y="581978"/>
                  </a:lnTo>
                  <a:lnTo>
                    <a:pt x="408162" y="582507"/>
                  </a:lnTo>
                  <a:lnTo>
                    <a:pt x="405986" y="581999"/>
                  </a:lnTo>
                  <a:lnTo>
                    <a:pt x="400543" y="578085"/>
                  </a:lnTo>
                  <a:lnTo>
                    <a:pt x="396937" y="575971"/>
                  </a:lnTo>
                  <a:lnTo>
                    <a:pt x="395714" y="574721"/>
                  </a:lnTo>
                  <a:lnTo>
                    <a:pt x="395171" y="570710"/>
                  </a:lnTo>
                  <a:lnTo>
                    <a:pt x="394096" y="566279"/>
                  </a:lnTo>
                  <a:lnTo>
                    <a:pt x="393631" y="560802"/>
                  </a:lnTo>
                  <a:lnTo>
                    <a:pt x="393823" y="559487"/>
                  </a:lnTo>
                  <a:lnTo>
                    <a:pt x="396871" y="555335"/>
                  </a:lnTo>
                  <a:lnTo>
                    <a:pt x="396860" y="553237"/>
                  </a:lnTo>
                  <a:lnTo>
                    <a:pt x="397120" y="551407"/>
                  </a:lnTo>
                  <a:lnTo>
                    <a:pt x="396991" y="549961"/>
                  </a:lnTo>
                  <a:lnTo>
                    <a:pt x="396237" y="549940"/>
                  </a:lnTo>
                  <a:lnTo>
                    <a:pt x="395012" y="550573"/>
                  </a:lnTo>
                  <a:lnTo>
                    <a:pt x="393163" y="551060"/>
                  </a:lnTo>
                  <a:lnTo>
                    <a:pt x="392115" y="551102"/>
                  </a:lnTo>
                  <a:lnTo>
                    <a:pt x="381482" y="550710"/>
                  </a:lnTo>
                  <a:lnTo>
                    <a:pt x="369387" y="550262"/>
                  </a:lnTo>
                  <a:lnTo>
                    <a:pt x="359324" y="549892"/>
                  </a:lnTo>
                  <a:lnTo>
                    <a:pt x="350590" y="549569"/>
                  </a:lnTo>
                  <a:lnTo>
                    <a:pt x="350296" y="545999"/>
                  </a:lnTo>
                  <a:lnTo>
                    <a:pt x="349802" y="540013"/>
                  </a:lnTo>
                  <a:lnTo>
                    <a:pt x="349454" y="535770"/>
                  </a:lnTo>
                  <a:lnTo>
                    <a:pt x="348898" y="529041"/>
                  </a:lnTo>
                  <a:lnTo>
                    <a:pt x="345394" y="524855"/>
                  </a:lnTo>
                  <a:lnTo>
                    <a:pt x="341592" y="520312"/>
                  </a:lnTo>
                  <a:lnTo>
                    <a:pt x="340254" y="519150"/>
                  </a:lnTo>
                  <a:lnTo>
                    <a:pt x="344849" y="519005"/>
                  </a:lnTo>
                  <a:lnTo>
                    <a:pt x="348111" y="518902"/>
                  </a:lnTo>
                  <a:lnTo>
                    <a:pt x="347464" y="506718"/>
                  </a:lnTo>
                  <a:lnTo>
                    <a:pt x="346471" y="505474"/>
                  </a:lnTo>
                  <a:lnTo>
                    <a:pt x="345592" y="501545"/>
                  </a:lnTo>
                  <a:lnTo>
                    <a:pt x="344995" y="499322"/>
                  </a:lnTo>
                  <a:lnTo>
                    <a:pt x="343374" y="497518"/>
                  </a:lnTo>
                  <a:lnTo>
                    <a:pt x="343007" y="495492"/>
                  </a:lnTo>
                  <a:lnTo>
                    <a:pt x="343303" y="494139"/>
                  </a:lnTo>
                  <a:lnTo>
                    <a:pt x="344188" y="493300"/>
                  </a:lnTo>
                  <a:lnTo>
                    <a:pt x="344774" y="491212"/>
                  </a:lnTo>
                  <a:lnTo>
                    <a:pt x="344333" y="489112"/>
                  </a:lnTo>
                  <a:lnTo>
                    <a:pt x="343374" y="487158"/>
                  </a:lnTo>
                  <a:lnTo>
                    <a:pt x="342197" y="485284"/>
                  </a:lnTo>
                  <a:lnTo>
                    <a:pt x="339948" y="484133"/>
                  </a:lnTo>
                  <a:lnTo>
                    <a:pt x="336725" y="482043"/>
                  </a:lnTo>
                  <a:lnTo>
                    <a:pt x="331854" y="479385"/>
                  </a:lnTo>
                  <a:lnTo>
                    <a:pt x="327733" y="477535"/>
                  </a:lnTo>
                  <a:lnTo>
                    <a:pt x="326412" y="477761"/>
                  </a:lnTo>
                  <a:lnTo>
                    <a:pt x="319136" y="478485"/>
                  </a:lnTo>
                  <a:lnTo>
                    <a:pt x="316714" y="478863"/>
                  </a:lnTo>
                  <a:lnTo>
                    <a:pt x="315089" y="478440"/>
                  </a:lnTo>
                  <a:lnTo>
                    <a:pt x="309656" y="478459"/>
                  </a:lnTo>
                  <a:lnTo>
                    <a:pt x="307522" y="477035"/>
                  </a:lnTo>
                  <a:lnTo>
                    <a:pt x="305731" y="475379"/>
                  </a:lnTo>
                  <a:lnTo>
                    <a:pt x="301927" y="471141"/>
                  </a:lnTo>
                  <a:lnTo>
                    <a:pt x="301338" y="469021"/>
                  </a:lnTo>
                  <a:lnTo>
                    <a:pt x="299865" y="468349"/>
                  </a:lnTo>
                  <a:lnTo>
                    <a:pt x="297637" y="468606"/>
                  </a:lnTo>
                  <a:lnTo>
                    <a:pt x="295383" y="468316"/>
                  </a:lnTo>
                  <a:lnTo>
                    <a:pt x="291004" y="466558"/>
                  </a:lnTo>
                  <a:lnTo>
                    <a:pt x="286908" y="464755"/>
                  </a:lnTo>
                  <a:lnTo>
                    <a:pt x="284920" y="464831"/>
                  </a:lnTo>
                  <a:lnTo>
                    <a:pt x="283153" y="463708"/>
                  </a:lnTo>
                  <a:lnTo>
                    <a:pt x="280041" y="460959"/>
                  </a:lnTo>
                  <a:lnTo>
                    <a:pt x="278588" y="459889"/>
                  </a:lnTo>
                  <a:lnTo>
                    <a:pt x="277924" y="458468"/>
                  </a:lnTo>
                  <a:lnTo>
                    <a:pt x="277262" y="456375"/>
                  </a:lnTo>
                  <a:lnTo>
                    <a:pt x="276011" y="455925"/>
                  </a:lnTo>
                  <a:lnTo>
                    <a:pt x="274392" y="456299"/>
                  </a:lnTo>
                  <a:lnTo>
                    <a:pt x="272640" y="457374"/>
                  </a:lnTo>
                  <a:lnTo>
                    <a:pt x="270182" y="456657"/>
                  </a:lnTo>
                  <a:lnTo>
                    <a:pt x="267177" y="454728"/>
                  </a:lnTo>
                  <a:lnTo>
                    <a:pt x="265233" y="453221"/>
                  </a:lnTo>
                  <a:lnTo>
                    <a:pt x="264123" y="452507"/>
                  </a:lnTo>
                  <a:lnTo>
                    <a:pt x="261513" y="451453"/>
                  </a:lnTo>
                  <a:lnTo>
                    <a:pt x="258990" y="451232"/>
                  </a:lnTo>
                  <a:lnTo>
                    <a:pt x="255174" y="452783"/>
                  </a:lnTo>
                  <a:lnTo>
                    <a:pt x="252054" y="452150"/>
                  </a:lnTo>
                  <a:lnTo>
                    <a:pt x="247150" y="451590"/>
                  </a:lnTo>
                  <a:lnTo>
                    <a:pt x="242955" y="450468"/>
                  </a:lnTo>
                  <a:lnTo>
                    <a:pt x="241426" y="447545"/>
                  </a:lnTo>
                  <a:lnTo>
                    <a:pt x="240598" y="445609"/>
                  </a:lnTo>
                  <a:lnTo>
                    <a:pt x="238107" y="444398"/>
                  </a:lnTo>
                  <a:lnTo>
                    <a:pt x="236120" y="442921"/>
                  </a:lnTo>
                  <a:lnTo>
                    <a:pt x="233751" y="440681"/>
                  </a:lnTo>
                  <a:lnTo>
                    <a:pt x="232574" y="439932"/>
                  </a:lnTo>
                  <a:lnTo>
                    <a:pt x="230432" y="439307"/>
                  </a:lnTo>
                  <a:lnTo>
                    <a:pt x="228450" y="438516"/>
                  </a:lnTo>
                  <a:lnTo>
                    <a:pt x="228230" y="437097"/>
                  </a:lnTo>
                  <a:lnTo>
                    <a:pt x="227492" y="435229"/>
                  </a:lnTo>
                  <a:lnTo>
                    <a:pt x="227319" y="434767"/>
                  </a:lnTo>
                  <a:lnTo>
                    <a:pt x="225971" y="432500"/>
                  </a:lnTo>
                  <a:lnTo>
                    <a:pt x="225341" y="432342"/>
                  </a:lnTo>
                  <a:lnTo>
                    <a:pt x="224643" y="432786"/>
                  </a:lnTo>
                  <a:lnTo>
                    <a:pt x="224117" y="433115"/>
                  </a:lnTo>
                  <a:lnTo>
                    <a:pt x="223551" y="432713"/>
                  </a:lnTo>
                  <a:lnTo>
                    <a:pt x="223449" y="431700"/>
                  </a:lnTo>
                  <a:lnTo>
                    <a:pt x="223812" y="430076"/>
                  </a:lnTo>
                  <a:lnTo>
                    <a:pt x="223031" y="428372"/>
                  </a:lnTo>
                  <a:lnTo>
                    <a:pt x="221103" y="426585"/>
                  </a:lnTo>
                  <a:lnTo>
                    <a:pt x="220095" y="424739"/>
                  </a:lnTo>
                  <a:lnTo>
                    <a:pt x="220008" y="422829"/>
                  </a:lnTo>
                  <a:lnTo>
                    <a:pt x="219579" y="421552"/>
                  </a:lnTo>
                  <a:lnTo>
                    <a:pt x="218806" y="420908"/>
                  </a:lnTo>
                  <a:lnTo>
                    <a:pt x="218374" y="419788"/>
                  </a:lnTo>
                  <a:lnTo>
                    <a:pt x="218281" y="418195"/>
                  </a:lnTo>
                  <a:lnTo>
                    <a:pt x="218838" y="416298"/>
                  </a:lnTo>
                  <a:lnTo>
                    <a:pt x="220050" y="414103"/>
                  </a:lnTo>
                  <a:lnTo>
                    <a:pt x="219791" y="410716"/>
                  </a:lnTo>
                  <a:lnTo>
                    <a:pt x="218059" y="406150"/>
                  </a:lnTo>
                  <a:lnTo>
                    <a:pt x="217104" y="402854"/>
                  </a:lnTo>
                  <a:lnTo>
                    <a:pt x="216923" y="400835"/>
                  </a:lnTo>
                  <a:lnTo>
                    <a:pt x="217182" y="399337"/>
                  </a:lnTo>
                  <a:lnTo>
                    <a:pt x="218232" y="397883"/>
                  </a:lnTo>
                  <a:lnTo>
                    <a:pt x="220322" y="394316"/>
                  </a:lnTo>
                  <a:lnTo>
                    <a:pt x="220690" y="391593"/>
                  </a:lnTo>
                  <a:lnTo>
                    <a:pt x="220031" y="388525"/>
                  </a:lnTo>
                  <a:lnTo>
                    <a:pt x="219940" y="386184"/>
                  </a:lnTo>
                  <a:lnTo>
                    <a:pt x="220417" y="384574"/>
                  </a:lnTo>
                  <a:lnTo>
                    <a:pt x="219692" y="382465"/>
                  </a:lnTo>
                  <a:lnTo>
                    <a:pt x="218215" y="380472"/>
                  </a:lnTo>
                  <a:lnTo>
                    <a:pt x="217186" y="380423"/>
                  </a:lnTo>
                  <a:lnTo>
                    <a:pt x="215785" y="380968"/>
                  </a:lnTo>
                  <a:lnTo>
                    <a:pt x="214094" y="382650"/>
                  </a:lnTo>
                  <a:lnTo>
                    <a:pt x="212106" y="382947"/>
                  </a:lnTo>
                  <a:lnTo>
                    <a:pt x="210338" y="381907"/>
                  </a:lnTo>
                  <a:lnTo>
                    <a:pt x="204814" y="382343"/>
                  </a:lnTo>
                  <a:lnTo>
                    <a:pt x="196221" y="383382"/>
                  </a:lnTo>
                  <a:lnTo>
                    <a:pt x="192781" y="384459"/>
                  </a:lnTo>
                  <a:lnTo>
                    <a:pt x="190760" y="384919"/>
                  </a:lnTo>
                  <a:lnTo>
                    <a:pt x="188316" y="385271"/>
                  </a:lnTo>
                  <a:lnTo>
                    <a:pt x="184394" y="387207"/>
                  </a:lnTo>
                  <a:lnTo>
                    <a:pt x="174720" y="394724"/>
                  </a:lnTo>
                  <a:lnTo>
                    <a:pt x="172718" y="395811"/>
                  </a:lnTo>
                  <a:lnTo>
                    <a:pt x="170436" y="395961"/>
                  </a:lnTo>
                  <a:lnTo>
                    <a:pt x="169112" y="397002"/>
                  </a:lnTo>
                  <a:lnTo>
                    <a:pt x="166975" y="397821"/>
                  </a:lnTo>
                  <a:lnTo>
                    <a:pt x="162779" y="400797"/>
                  </a:lnTo>
                  <a:lnTo>
                    <a:pt x="160644" y="403180"/>
                  </a:lnTo>
                  <a:lnTo>
                    <a:pt x="159246" y="405338"/>
                  </a:lnTo>
                  <a:lnTo>
                    <a:pt x="157625" y="405413"/>
                  </a:lnTo>
                  <a:lnTo>
                    <a:pt x="156375" y="404817"/>
                  </a:lnTo>
                  <a:lnTo>
                    <a:pt x="152402" y="405115"/>
                  </a:lnTo>
                  <a:lnTo>
                    <a:pt x="150373" y="405852"/>
                  </a:lnTo>
                  <a:lnTo>
                    <a:pt x="148168" y="407952"/>
                  </a:lnTo>
                  <a:lnTo>
                    <a:pt x="145431" y="411750"/>
                  </a:lnTo>
                  <a:lnTo>
                    <a:pt x="144302" y="412829"/>
                  </a:lnTo>
                  <a:lnTo>
                    <a:pt x="142099" y="413947"/>
                  </a:lnTo>
                  <a:lnTo>
                    <a:pt x="139555" y="414872"/>
                  </a:lnTo>
                  <a:lnTo>
                    <a:pt x="136403" y="416268"/>
                  </a:lnTo>
                  <a:lnTo>
                    <a:pt x="134990" y="416361"/>
                  </a:lnTo>
                  <a:lnTo>
                    <a:pt x="133744" y="416609"/>
                  </a:lnTo>
                  <a:lnTo>
                    <a:pt x="132669" y="415972"/>
                  </a:lnTo>
                  <a:lnTo>
                    <a:pt x="132310" y="414611"/>
                  </a:lnTo>
                  <a:lnTo>
                    <a:pt x="130680" y="413751"/>
                  </a:lnTo>
                  <a:lnTo>
                    <a:pt x="126793" y="413321"/>
                  </a:lnTo>
                  <a:lnTo>
                    <a:pt x="121040" y="412328"/>
                  </a:lnTo>
                  <a:lnTo>
                    <a:pt x="115107" y="412136"/>
                  </a:lnTo>
                  <a:lnTo>
                    <a:pt x="112163" y="412228"/>
                  </a:lnTo>
                  <a:lnTo>
                    <a:pt x="109744" y="412289"/>
                  </a:lnTo>
                  <a:lnTo>
                    <a:pt x="105541" y="411757"/>
                  </a:lnTo>
                  <a:lnTo>
                    <a:pt x="102484" y="411668"/>
                  </a:lnTo>
                  <a:lnTo>
                    <a:pt x="99797" y="413015"/>
                  </a:lnTo>
                  <a:lnTo>
                    <a:pt x="95898" y="414689"/>
                  </a:lnTo>
                  <a:lnTo>
                    <a:pt x="94115" y="415115"/>
                  </a:lnTo>
                  <a:lnTo>
                    <a:pt x="92807" y="415178"/>
                  </a:lnTo>
                  <a:lnTo>
                    <a:pt x="91531" y="414969"/>
                  </a:lnTo>
                  <a:lnTo>
                    <a:pt x="90045" y="414103"/>
                  </a:lnTo>
                  <a:lnTo>
                    <a:pt x="87957" y="412103"/>
                  </a:lnTo>
                  <a:lnTo>
                    <a:pt x="86353" y="412872"/>
                  </a:lnTo>
                  <a:lnTo>
                    <a:pt x="85191" y="413729"/>
                  </a:lnTo>
                  <a:lnTo>
                    <a:pt x="85211" y="409382"/>
                  </a:lnTo>
                  <a:lnTo>
                    <a:pt x="85242" y="402849"/>
                  </a:lnTo>
                  <a:lnTo>
                    <a:pt x="85267" y="397089"/>
                  </a:lnTo>
                  <a:lnTo>
                    <a:pt x="85288" y="392484"/>
                  </a:lnTo>
                  <a:lnTo>
                    <a:pt x="85312" y="387112"/>
                  </a:lnTo>
                  <a:lnTo>
                    <a:pt x="85329" y="383322"/>
                  </a:lnTo>
                  <a:lnTo>
                    <a:pt x="86422" y="381882"/>
                  </a:lnTo>
                  <a:lnTo>
                    <a:pt x="87095" y="380273"/>
                  </a:lnTo>
                  <a:lnTo>
                    <a:pt x="86285" y="378122"/>
                  </a:lnTo>
                  <a:lnTo>
                    <a:pt x="86462" y="376149"/>
                  </a:lnTo>
                  <a:lnTo>
                    <a:pt x="87021" y="374778"/>
                  </a:lnTo>
                  <a:lnTo>
                    <a:pt x="87758" y="373439"/>
                  </a:lnTo>
                  <a:lnTo>
                    <a:pt x="86064" y="374109"/>
                  </a:lnTo>
                  <a:lnTo>
                    <a:pt x="85329" y="374481"/>
                  </a:lnTo>
                  <a:lnTo>
                    <a:pt x="84427" y="375498"/>
                  </a:lnTo>
                  <a:lnTo>
                    <a:pt x="82245" y="376872"/>
                  </a:lnTo>
                  <a:lnTo>
                    <a:pt x="80781" y="378243"/>
                  </a:lnTo>
                  <a:lnTo>
                    <a:pt x="79051" y="379363"/>
                  </a:lnTo>
                  <a:lnTo>
                    <a:pt x="76864" y="381837"/>
                  </a:lnTo>
                  <a:lnTo>
                    <a:pt x="75063" y="383195"/>
                  </a:lnTo>
                  <a:lnTo>
                    <a:pt x="73199" y="384057"/>
                  </a:lnTo>
                  <a:lnTo>
                    <a:pt x="70089" y="386965"/>
                  </a:lnTo>
                  <a:lnTo>
                    <a:pt x="67516" y="387542"/>
                  </a:lnTo>
                  <a:lnTo>
                    <a:pt x="60705" y="387989"/>
                  </a:lnTo>
                  <a:lnTo>
                    <a:pt x="53620" y="387978"/>
                  </a:lnTo>
                  <a:lnTo>
                    <a:pt x="47141" y="387967"/>
                  </a:lnTo>
                  <a:lnTo>
                    <a:pt x="46161" y="387929"/>
                  </a:lnTo>
                  <a:lnTo>
                    <a:pt x="46225" y="385534"/>
                  </a:lnTo>
                  <a:lnTo>
                    <a:pt x="46383" y="383843"/>
                  </a:lnTo>
                  <a:lnTo>
                    <a:pt x="44174" y="382057"/>
                  </a:lnTo>
                  <a:lnTo>
                    <a:pt x="44025" y="379860"/>
                  </a:lnTo>
                  <a:lnTo>
                    <a:pt x="43437" y="378344"/>
                  </a:lnTo>
                  <a:lnTo>
                    <a:pt x="42701" y="376487"/>
                  </a:lnTo>
                  <a:lnTo>
                    <a:pt x="41155" y="375297"/>
                  </a:lnTo>
                  <a:lnTo>
                    <a:pt x="38982" y="374838"/>
                  </a:lnTo>
                  <a:lnTo>
                    <a:pt x="35413" y="373811"/>
                  </a:lnTo>
                  <a:lnTo>
                    <a:pt x="30119" y="372745"/>
                  </a:lnTo>
                  <a:lnTo>
                    <a:pt x="25060" y="372670"/>
                  </a:lnTo>
                  <a:lnTo>
                    <a:pt x="20099" y="372772"/>
                  </a:lnTo>
                  <a:lnTo>
                    <a:pt x="23131" y="369046"/>
                  </a:lnTo>
                  <a:lnTo>
                    <a:pt x="26160" y="365324"/>
                  </a:lnTo>
                  <a:lnTo>
                    <a:pt x="26067" y="362079"/>
                  </a:lnTo>
                  <a:lnTo>
                    <a:pt x="23622" y="359258"/>
                  </a:lnTo>
                  <a:lnTo>
                    <a:pt x="22302" y="357502"/>
                  </a:lnTo>
                  <a:lnTo>
                    <a:pt x="20258" y="355082"/>
                  </a:lnTo>
                  <a:lnTo>
                    <a:pt x="17740" y="353413"/>
                  </a:lnTo>
                  <a:lnTo>
                    <a:pt x="16364" y="351191"/>
                  </a:lnTo>
                  <a:lnTo>
                    <a:pt x="16491" y="349841"/>
                  </a:lnTo>
                  <a:lnTo>
                    <a:pt x="16271" y="348951"/>
                  </a:lnTo>
                  <a:lnTo>
                    <a:pt x="15314" y="348432"/>
                  </a:lnTo>
                  <a:lnTo>
                    <a:pt x="14356" y="347618"/>
                  </a:lnTo>
                  <a:lnTo>
                    <a:pt x="13032" y="346727"/>
                  </a:lnTo>
                  <a:lnTo>
                    <a:pt x="11486" y="345542"/>
                  </a:lnTo>
                  <a:lnTo>
                    <a:pt x="11486" y="344356"/>
                  </a:lnTo>
                  <a:lnTo>
                    <a:pt x="10896" y="343095"/>
                  </a:lnTo>
                  <a:lnTo>
                    <a:pt x="9939" y="341615"/>
                  </a:lnTo>
                  <a:lnTo>
                    <a:pt x="9939" y="340428"/>
                  </a:lnTo>
                  <a:lnTo>
                    <a:pt x="9056" y="338576"/>
                  </a:lnTo>
                  <a:lnTo>
                    <a:pt x="8100" y="337243"/>
                  </a:lnTo>
                  <a:lnTo>
                    <a:pt x="7142" y="336353"/>
                  </a:lnTo>
                  <a:lnTo>
                    <a:pt x="5743" y="335096"/>
                  </a:lnTo>
                  <a:lnTo>
                    <a:pt x="5816" y="334057"/>
                  </a:lnTo>
                  <a:lnTo>
                    <a:pt x="6847" y="333538"/>
                  </a:lnTo>
                  <a:lnTo>
                    <a:pt x="7290" y="332355"/>
                  </a:lnTo>
                  <a:lnTo>
                    <a:pt x="7142" y="331169"/>
                  </a:lnTo>
                  <a:lnTo>
                    <a:pt x="5963" y="330430"/>
                  </a:lnTo>
                  <a:lnTo>
                    <a:pt x="4564" y="330058"/>
                  </a:lnTo>
                  <a:lnTo>
                    <a:pt x="2725" y="327911"/>
                  </a:lnTo>
                  <a:lnTo>
                    <a:pt x="1399" y="326801"/>
                  </a:lnTo>
                  <a:lnTo>
                    <a:pt x="516" y="326133"/>
                  </a:lnTo>
                  <a:lnTo>
                    <a:pt x="0" y="325393"/>
                  </a:lnTo>
                  <a:lnTo>
                    <a:pt x="516" y="324876"/>
                  </a:lnTo>
                  <a:lnTo>
                    <a:pt x="1106" y="324134"/>
                  </a:lnTo>
                  <a:lnTo>
                    <a:pt x="1252" y="322951"/>
                  </a:lnTo>
                  <a:lnTo>
                    <a:pt x="958" y="321841"/>
                  </a:lnTo>
                  <a:lnTo>
                    <a:pt x="958" y="320877"/>
                  </a:lnTo>
                  <a:lnTo>
                    <a:pt x="1842" y="320580"/>
                  </a:lnTo>
                  <a:lnTo>
                    <a:pt x="2798" y="320731"/>
                  </a:lnTo>
                  <a:lnTo>
                    <a:pt x="3755" y="320138"/>
                  </a:lnTo>
                  <a:lnTo>
                    <a:pt x="5007" y="319916"/>
                  </a:lnTo>
                  <a:lnTo>
                    <a:pt x="6406" y="319767"/>
                  </a:lnTo>
                  <a:lnTo>
                    <a:pt x="7142" y="319102"/>
                  </a:lnTo>
                  <a:lnTo>
                    <a:pt x="7067" y="317918"/>
                  </a:lnTo>
                  <a:lnTo>
                    <a:pt x="6185" y="315623"/>
                  </a:lnTo>
                  <a:lnTo>
                    <a:pt x="5302" y="314662"/>
                  </a:lnTo>
                  <a:lnTo>
                    <a:pt x="5007" y="313256"/>
                  </a:lnTo>
                  <a:lnTo>
                    <a:pt x="5726" y="310547"/>
                  </a:lnTo>
                  <a:lnTo>
                    <a:pt x="6187" y="308820"/>
                  </a:lnTo>
                  <a:lnTo>
                    <a:pt x="7798" y="306987"/>
                  </a:lnTo>
                  <a:lnTo>
                    <a:pt x="12733" y="303056"/>
                  </a:lnTo>
                  <a:lnTo>
                    <a:pt x="17156" y="300388"/>
                  </a:lnTo>
                  <a:lnTo>
                    <a:pt x="19316" y="300117"/>
                  </a:lnTo>
                  <a:lnTo>
                    <a:pt x="20910" y="299128"/>
                  </a:lnTo>
                  <a:lnTo>
                    <a:pt x="21927" y="297616"/>
                  </a:lnTo>
                  <a:lnTo>
                    <a:pt x="22206" y="295963"/>
                  </a:lnTo>
                  <a:lnTo>
                    <a:pt x="21977" y="294523"/>
                  </a:lnTo>
                  <a:lnTo>
                    <a:pt x="21156" y="292393"/>
                  </a:lnTo>
                  <a:lnTo>
                    <a:pt x="20173" y="289741"/>
                  </a:lnTo>
                  <a:lnTo>
                    <a:pt x="19436" y="288265"/>
                  </a:lnTo>
                  <a:lnTo>
                    <a:pt x="20100" y="286491"/>
                  </a:lnTo>
                  <a:lnTo>
                    <a:pt x="21279" y="284065"/>
                  </a:lnTo>
                  <a:lnTo>
                    <a:pt x="23683" y="280405"/>
                  </a:lnTo>
                  <a:lnTo>
                    <a:pt x="25920" y="276471"/>
                  </a:lnTo>
                  <a:lnTo>
                    <a:pt x="26164" y="275321"/>
                  </a:lnTo>
                  <a:lnTo>
                    <a:pt x="26450" y="272918"/>
                  </a:lnTo>
                  <a:lnTo>
                    <a:pt x="27481" y="268019"/>
                  </a:lnTo>
                  <a:lnTo>
                    <a:pt x="28051" y="265367"/>
                  </a:lnTo>
                  <a:lnTo>
                    <a:pt x="27755" y="264337"/>
                  </a:lnTo>
                  <a:lnTo>
                    <a:pt x="28273" y="263449"/>
                  </a:lnTo>
                  <a:lnTo>
                    <a:pt x="29670" y="262711"/>
                  </a:lnTo>
                  <a:lnTo>
                    <a:pt x="33049" y="262036"/>
                  </a:lnTo>
                  <a:lnTo>
                    <a:pt x="35340" y="260571"/>
                  </a:lnTo>
                  <a:lnTo>
                    <a:pt x="38873" y="257818"/>
                  </a:lnTo>
                  <a:lnTo>
                    <a:pt x="41819" y="254889"/>
                  </a:lnTo>
                  <a:lnTo>
                    <a:pt x="44254" y="253947"/>
                  </a:lnTo>
                  <a:lnTo>
                    <a:pt x="48673" y="251237"/>
                  </a:lnTo>
                  <a:lnTo>
                    <a:pt x="51212" y="249517"/>
                  </a:lnTo>
                  <a:lnTo>
                    <a:pt x="52207" y="248977"/>
                  </a:lnTo>
                  <a:lnTo>
                    <a:pt x="54702" y="247734"/>
                  </a:lnTo>
                  <a:lnTo>
                    <a:pt x="59174" y="247299"/>
                  </a:lnTo>
                  <a:lnTo>
                    <a:pt x="62902" y="246853"/>
                  </a:lnTo>
                  <a:lnTo>
                    <a:pt x="65009" y="246037"/>
                  </a:lnTo>
                  <a:lnTo>
                    <a:pt x="68089" y="245698"/>
                  </a:lnTo>
                  <a:lnTo>
                    <a:pt x="70163" y="244781"/>
                  </a:lnTo>
                  <a:lnTo>
                    <a:pt x="72465" y="244756"/>
                  </a:lnTo>
                  <a:lnTo>
                    <a:pt x="76789" y="243824"/>
                  </a:lnTo>
                  <a:lnTo>
                    <a:pt x="78262" y="242422"/>
                  </a:lnTo>
                  <a:lnTo>
                    <a:pt x="79520" y="240753"/>
                  </a:lnTo>
                  <a:lnTo>
                    <a:pt x="81205" y="239324"/>
                  </a:lnTo>
                  <a:lnTo>
                    <a:pt x="83182" y="238957"/>
                  </a:lnTo>
                  <a:lnTo>
                    <a:pt x="85388" y="239205"/>
                  </a:lnTo>
                  <a:lnTo>
                    <a:pt x="88022" y="239177"/>
                  </a:lnTo>
                  <a:lnTo>
                    <a:pt x="91218" y="238733"/>
                  </a:lnTo>
                  <a:lnTo>
                    <a:pt x="92764" y="239840"/>
                  </a:lnTo>
                  <a:lnTo>
                    <a:pt x="93443" y="241194"/>
                  </a:lnTo>
                  <a:lnTo>
                    <a:pt x="95414" y="242571"/>
                  </a:lnTo>
                  <a:lnTo>
                    <a:pt x="96813" y="242495"/>
                  </a:lnTo>
                  <a:lnTo>
                    <a:pt x="98212" y="242201"/>
                  </a:lnTo>
                  <a:lnTo>
                    <a:pt x="100126" y="243382"/>
                  </a:lnTo>
                  <a:lnTo>
                    <a:pt x="101378" y="243233"/>
                  </a:lnTo>
                  <a:lnTo>
                    <a:pt x="102188" y="242571"/>
                  </a:lnTo>
                  <a:lnTo>
                    <a:pt x="102343" y="240913"/>
                  </a:lnTo>
                  <a:lnTo>
                    <a:pt x="102792" y="240015"/>
                  </a:lnTo>
                  <a:lnTo>
                    <a:pt x="103734" y="234834"/>
                  </a:lnTo>
                  <a:lnTo>
                    <a:pt x="105287" y="226285"/>
                  </a:lnTo>
                  <a:lnTo>
                    <a:pt x="106698" y="218534"/>
                  </a:lnTo>
                  <a:lnTo>
                    <a:pt x="108259" y="209958"/>
                  </a:lnTo>
                  <a:lnTo>
                    <a:pt x="109870" y="201101"/>
                  </a:lnTo>
                  <a:lnTo>
                    <a:pt x="111502" y="192134"/>
                  </a:lnTo>
                  <a:lnTo>
                    <a:pt x="112842" y="184777"/>
                  </a:lnTo>
                  <a:lnTo>
                    <a:pt x="113993" y="178453"/>
                  </a:lnTo>
                  <a:lnTo>
                    <a:pt x="114699" y="174573"/>
                  </a:lnTo>
                  <a:lnTo>
                    <a:pt x="115807" y="169494"/>
                  </a:lnTo>
                  <a:lnTo>
                    <a:pt x="116239" y="165031"/>
                  </a:lnTo>
                  <a:lnTo>
                    <a:pt x="116686" y="163744"/>
                  </a:lnTo>
                  <a:lnTo>
                    <a:pt x="116403" y="162661"/>
                  </a:lnTo>
                  <a:lnTo>
                    <a:pt x="115446" y="161123"/>
                  </a:lnTo>
                  <a:lnTo>
                    <a:pt x="115457" y="160447"/>
                  </a:lnTo>
                  <a:lnTo>
                    <a:pt x="115568" y="159550"/>
                  </a:lnTo>
                  <a:lnTo>
                    <a:pt x="115457" y="158768"/>
                  </a:lnTo>
                  <a:lnTo>
                    <a:pt x="114450" y="157931"/>
                  </a:lnTo>
                  <a:lnTo>
                    <a:pt x="113668" y="157425"/>
                  </a:lnTo>
                  <a:lnTo>
                    <a:pt x="113052" y="156700"/>
                  </a:lnTo>
                  <a:lnTo>
                    <a:pt x="112772" y="155693"/>
                  </a:lnTo>
                  <a:lnTo>
                    <a:pt x="112270" y="154687"/>
                  </a:lnTo>
                  <a:lnTo>
                    <a:pt x="112046" y="153624"/>
                  </a:lnTo>
                  <a:lnTo>
                    <a:pt x="111319" y="152786"/>
                  </a:lnTo>
                  <a:lnTo>
                    <a:pt x="111096" y="151723"/>
                  </a:lnTo>
                  <a:lnTo>
                    <a:pt x="111599" y="150717"/>
                  </a:lnTo>
                  <a:lnTo>
                    <a:pt x="111823" y="149655"/>
                  </a:lnTo>
                  <a:lnTo>
                    <a:pt x="111599" y="148647"/>
                  </a:lnTo>
                  <a:lnTo>
                    <a:pt x="111319" y="147473"/>
                  </a:lnTo>
                  <a:lnTo>
                    <a:pt x="110760" y="146356"/>
                  </a:lnTo>
                  <a:lnTo>
                    <a:pt x="109910" y="145676"/>
                  </a:lnTo>
                  <a:lnTo>
                    <a:pt x="107881" y="144918"/>
                  </a:lnTo>
                  <a:lnTo>
                    <a:pt x="105841" y="143113"/>
                  </a:lnTo>
                  <a:lnTo>
                    <a:pt x="103437" y="141494"/>
                  </a:lnTo>
                  <a:lnTo>
                    <a:pt x="100361" y="138418"/>
                  </a:lnTo>
                  <a:lnTo>
                    <a:pt x="99690" y="136964"/>
                  </a:lnTo>
                  <a:lnTo>
                    <a:pt x="99680" y="132973"/>
                  </a:lnTo>
                  <a:lnTo>
                    <a:pt x="99812" y="128641"/>
                  </a:lnTo>
                  <a:lnTo>
                    <a:pt x="100010" y="122099"/>
                  </a:lnTo>
                  <a:lnTo>
                    <a:pt x="100111" y="118772"/>
                  </a:lnTo>
                  <a:lnTo>
                    <a:pt x="101847" y="118588"/>
                  </a:lnTo>
                  <a:lnTo>
                    <a:pt x="103378" y="118498"/>
                  </a:lnTo>
                  <a:lnTo>
                    <a:pt x="104976" y="118267"/>
                  </a:lnTo>
                  <a:lnTo>
                    <a:pt x="106369" y="118040"/>
                  </a:lnTo>
                  <a:lnTo>
                    <a:pt x="107646" y="117561"/>
                  </a:lnTo>
                  <a:lnTo>
                    <a:pt x="108606" y="116967"/>
                  </a:lnTo>
                  <a:lnTo>
                    <a:pt x="109749" y="116579"/>
                  </a:lnTo>
                  <a:lnTo>
                    <a:pt x="110639" y="116716"/>
                  </a:lnTo>
                  <a:lnTo>
                    <a:pt x="111529" y="116192"/>
                  </a:lnTo>
                  <a:lnTo>
                    <a:pt x="112513" y="115688"/>
                  </a:lnTo>
                  <a:lnTo>
                    <a:pt x="113470" y="115278"/>
                  </a:lnTo>
                  <a:lnTo>
                    <a:pt x="114864" y="114935"/>
                  </a:lnTo>
                  <a:lnTo>
                    <a:pt x="116165" y="115734"/>
                  </a:lnTo>
                  <a:lnTo>
                    <a:pt x="116896" y="116533"/>
                  </a:lnTo>
                  <a:lnTo>
                    <a:pt x="117741" y="116921"/>
                  </a:lnTo>
                  <a:lnTo>
                    <a:pt x="118539" y="116830"/>
                  </a:lnTo>
                  <a:lnTo>
                    <a:pt x="119088" y="116899"/>
                  </a:lnTo>
                  <a:lnTo>
                    <a:pt x="119658" y="117538"/>
                  </a:lnTo>
                  <a:lnTo>
                    <a:pt x="120389" y="117584"/>
                  </a:lnTo>
                  <a:lnTo>
                    <a:pt x="121439" y="117470"/>
                  </a:lnTo>
                  <a:lnTo>
                    <a:pt x="122421" y="117333"/>
                  </a:lnTo>
                  <a:lnTo>
                    <a:pt x="122878" y="117150"/>
                  </a:lnTo>
                  <a:lnTo>
                    <a:pt x="122947" y="116739"/>
                  </a:lnTo>
                  <a:lnTo>
                    <a:pt x="122696" y="116031"/>
                  </a:lnTo>
                  <a:lnTo>
                    <a:pt x="122353" y="115368"/>
                  </a:lnTo>
                  <a:lnTo>
                    <a:pt x="122626" y="114342"/>
                  </a:lnTo>
                  <a:lnTo>
                    <a:pt x="122650" y="113108"/>
                  </a:lnTo>
                  <a:lnTo>
                    <a:pt x="122696" y="111534"/>
                  </a:lnTo>
                  <a:lnTo>
                    <a:pt x="121919" y="110665"/>
                  </a:lnTo>
                  <a:lnTo>
                    <a:pt x="121143" y="109021"/>
                  </a:lnTo>
                  <a:lnTo>
                    <a:pt x="120275" y="107695"/>
                  </a:lnTo>
                  <a:lnTo>
                    <a:pt x="118929" y="106806"/>
                  </a:lnTo>
                  <a:lnTo>
                    <a:pt x="117672" y="106463"/>
                  </a:lnTo>
                  <a:lnTo>
                    <a:pt x="116622" y="107011"/>
                  </a:lnTo>
                  <a:lnTo>
                    <a:pt x="115640" y="107101"/>
                  </a:lnTo>
                  <a:lnTo>
                    <a:pt x="114910" y="106600"/>
                  </a:lnTo>
                  <a:lnTo>
                    <a:pt x="113722" y="106577"/>
                  </a:lnTo>
                  <a:lnTo>
                    <a:pt x="112443" y="106418"/>
                  </a:lnTo>
                  <a:lnTo>
                    <a:pt x="111091" y="106229"/>
                  </a:lnTo>
                  <a:lnTo>
                    <a:pt x="108654" y="106588"/>
                  </a:lnTo>
                  <a:lnTo>
                    <a:pt x="107784" y="106143"/>
                  </a:lnTo>
                  <a:lnTo>
                    <a:pt x="106597" y="106097"/>
                  </a:lnTo>
                  <a:lnTo>
                    <a:pt x="105228" y="106576"/>
                  </a:lnTo>
                  <a:lnTo>
                    <a:pt x="105262" y="100254"/>
                  </a:lnTo>
                  <a:lnTo>
                    <a:pt x="105295" y="94293"/>
                  </a:lnTo>
                  <a:lnTo>
                    <a:pt x="105317" y="90112"/>
                  </a:lnTo>
                  <a:lnTo>
                    <a:pt x="106551" y="90202"/>
                  </a:lnTo>
                  <a:lnTo>
                    <a:pt x="108081" y="89449"/>
                  </a:lnTo>
                  <a:lnTo>
                    <a:pt x="110353" y="89332"/>
                  </a:lnTo>
                  <a:lnTo>
                    <a:pt x="112097" y="88538"/>
                  </a:lnTo>
                  <a:lnTo>
                    <a:pt x="113068" y="88475"/>
                  </a:lnTo>
                  <a:lnTo>
                    <a:pt x="114913" y="88864"/>
                  </a:lnTo>
                  <a:lnTo>
                    <a:pt x="116836" y="89679"/>
                  </a:lnTo>
                  <a:lnTo>
                    <a:pt x="118728" y="89794"/>
                  </a:lnTo>
                  <a:lnTo>
                    <a:pt x="123684" y="89793"/>
                  </a:lnTo>
                  <a:lnTo>
                    <a:pt x="129036" y="89791"/>
                  </a:lnTo>
                  <a:lnTo>
                    <a:pt x="134987" y="89788"/>
                  </a:lnTo>
                  <a:lnTo>
                    <a:pt x="140947" y="89786"/>
                  </a:lnTo>
                  <a:lnTo>
                    <a:pt x="146118" y="89783"/>
                  </a:lnTo>
                  <a:lnTo>
                    <a:pt x="147714" y="89831"/>
                  </a:lnTo>
                  <a:lnTo>
                    <a:pt x="146783" y="88442"/>
                  </a:lnTo>
                  <a:lnTo>
                    <a:pt x="145701" y="86642"/>
                  </a:lnTo>
                  <a:lnTo>
                    <a:pt x="146120" y="85226"/>
                  </a:lnTo>
                  <a:lnTo>
                    <a:pt x="146654" y="83799"/>
                  </a:lnTo>
                  <a:lnTo>
                    <a:pt x="147277" y="83052"/>
                  </a:lnTo>
                  <a:lnTo>
                    <a:pt x="148888" y="83846"/>
                  </a:lnTo>
                  <a:lnTo>
                    <a:pt x="150238" y="86272"/>
                  </a:lnTo>
                  <a:lnTo>
                    <a:pt x="151358" y="88100"/>
                  </a:lnTo>
                  <a:lnTo>
                    <a:pt x="152451" y="89001"/>
                  </a:lnTo>
                  <a:lnTo>
                    <a:pt x="153809" y="89104"/>
                  </a:lnTo>
                  <a:lnTo>
                    <a:pt x="155347" y="88796"/>
                  </a:lnTo>
                  <a:lnTo>
                    <a:pt x="156880" y="88048"/>
                  </a:lnTo>
                  <a:lnTo>
                    <a:pt x="159497" y="84699"/>
                  </a:lnTo>
                  <a:lnTo>
                    <a:pt x="162099" y="81835"/>
                  </a:lnTo>
                  <a:lnTo>
                    <a:pt x="163448" y="80873"/>
                  </a:lnTo>
                  <a:lnTo>
                    <a:pt x="164878" y="79986"/>
                  </a:lnTo>
                  <a:lnTo>
                    <a:pt x="165940" y="79651"/>
                  </a:lnTo>
                  <a:lnTo>
                    <a:pt x="167394" y="79764"/>
                  </a:lnTo>
                  <a:lnTo>
                    <a:pt x="168623" y="80547"/>
                  </a:lnTo>
                  <a:lnTo>
                    <a:pt x="169418" y="81910"/>
                  </a:lnTo>
                  <a:lnTo>
                    <a:pt x="172329" y="86660"/>
                  </a:lnTo>
                  <a:lnTo>
                    <a:pt x="174524" y="90241"/>
                  </a:lnTo>
                  <a:lnTo>
                    <a:pt x="175263" y="92475"/>
                  </a:lnTo>
                  <a:lnTo>
                    <a:pt x="175310" y="97927"/>
                  </a:lnTo>
                  <a:lnTo>
                    <a:pt x="175173" y="102760"/>
                  </a:lnTo>
                  <a:lnTo>
                    <a:pt x="175461" y="103384"/>
                  </a:lnTo>
                  <a:lnTo>
                    <a:pt x="175893" y="103563"/>
                  </a:lnTo>
                  <a:lnTo>
                    <a:pt x="180691" y="102430"/>
                  </a:lnTo>
                  <a:lnTo>
                    <a:pt x="187207" y="108285"/>
                  </a:lnTo>
                  <a:lnTo>
                    <a:pt x="192020" y="112608"/>
                  </a:lnTo>
                  <a:lnTo>
                    <a:pt x="194102" y="113990"/>
                  </a:lnTo>
                  <a:lnTo>
                    <a:pt x="195254" y="114376"/>
                  </a:lnTo>
                  <a:lnTo>
                    <a:pt x="198056" y="114088"/>
                  </a:lnTo>
                  <a:lnTo>
                    <a:pt x="201381" y="113529"/>
                  </a:lnTo>
                  <a:lnTo>
                    <a:pt x="202997" y="112910"/>
                  </a:lnTo>
                  <a:lnTo>
                    <a:pt x="204784" y="111556"/>
                  </a:lnTo>
                  <a:lnTo>
                    <a:pt x="207688" y="109677"/>
                  </a:lnTo>
                  <a:lnTo>
                    <a:pt x="210052" y="108644"/>
                  </a:lnTo>
                  <a:lnTo>
                    <a:pt x="210982" y="108505"/>
                  </a:lnTo>
                  <a:lnTo>
                    <a:pt x="211914" y="108838"/>
                  </a:lnTo>
                  <a:lnTo>
                    <a:pt x="213908" y="109960"/>
                  </a:lnTo>
                  <a:lnTo>
                    <a:pt x="214999" y="112056"/>
                  </a:lnTo>
                  <a:lnTo>
                    <a:pt x="213992" y="114489"/>
                  </a:lnTo>
                  <a:lnTo>
                    <a:pt x="214160" y="115998"/>
                  </a:lnTo>
                  <a:lnTo>
                    <a:pt x="216257" y="115915"/>
                  </a:lnTo>
                  <a:lnTo>
                    <a:pt x="217934" y="113399"/>
                  </a:lnTo>
                  <a:lnTo>
                    <a:pt x="219111" y="111417"/>
                  </a:lnTo>
                  <a:lnTo>
                    <a:pt x="221567" y="109813"/>
                  </a:lnTo>
                  <a:lnTo>
                    <a:pt x="223959" y="107522"/>
                  </a:lnTo>
                  <a:lnTo>
                    <a:pt x="225629" y="105345"/>
                  </a:lnTo>
                  <a:lnTo>
                    <a:pt x="227586" y="104067"/>
                  </a:lnTo>
                  <a:lnTo>
                    <a:pt x="230540" y="102513"/>
                  </a:lnTo>
                  <a:lnTo>
                    <a:pt x="232876" y="101565"/>
                  </a:lnTo>
                  <a:lnTo>
                    <a:pt x="235067" y="101661"/>
                  </a:lnTo>
                  <a:lnTo>
                    <a:pt x="236693" y="100634"/>
                  </a:lnTo>
                  <a:lnTo>
                    <a:pt x="238799" y="98706"/>
                  </a:lnTo>
                  <a:lnTo>
                    <a:pt x="240272" y="97156"/>
                  </a:lnTo>
                  <a:lnTo>
                    <a:pt x="241293" y="96603"/>
                  </a:lnTo>
                  <a:lnTo>
                    <a:pt x="243344" y="96753"/>
                  </a:lnTo>
                  <a:lnTo>
                    <a:pt x="245903" y="96540"/>
                  </a:lnTo>
                  <a:lnTo>
                    <a:pt x="248418" y="94657"/>
                  </a:lnTo>
                  <a:lnTo>
                    <a:pt x="250705" y="92380"/>
                  </a:lnTo>
                  <a:lnTo>
                    <a:pt x="251917" y="88545"/>
                  </a:lnTo>
                  <a:lnTo>
                    <a:pt x="252718" y="85148"/>
                  </a:lnTo>
                  <a:lnTo>
                    <a:pt x="253401" y="84458"/>
                  </a:lnTo>
                  <a:lnTo>
                    <a:pt x="254231" y="83915"/>
                  </a:lnTo>
                  <a:lnTo>
                    <a:pt x="255211" y="83560"/>
                  </a:lnTo>
                  <a:lnTo>
                    <a:pt x="257560" y="83314"/>
                  </a:lnTo>
                  <a:lnTo>
                    <a:pt x="261677" y="81502"/>
                  </a:lnTo>
                  <a:lnTo>
                    <a:pt x="264513" y="79667"/>
                  </a:lnTo>
                  <a:lnTo>
                    <a:pt x="267210" y="79273"/>
                  </a:lnTo>
                  <a:lnTo>
                    <a:pt x="268006" y="78778"/>
                  </a:lnTo>
                  <a:lnTo>
                    <a:pt x="268984" y="77079"/>
                  </a:lnTo>
                  <a:lnTo>
                    <a:pt x="269468" y="74087"/>
                  </a:lnTo>
                  <a:lnTo>
                    <a:pt x="269103" y="72274"/>
                  </a:lnTo>
                  <a:lnTo>
                    <a:pt x="264149" y="71715"/>
                  </a:lnTo>
                  <a:lnTo>
                    <a:pt x="260905" y="71713"/>
                  </a:lnTo>
                  <a:lnTo>
                    <a:pt x="255540" y="71246"/>
                  </a:lnTo>
                  <a:lnTo>
                    <a:pt x="252985" y="70499"/>
                  </a:lnTo>
                  <a:lnTo>
                    <a:pt x="252436" y="69979"/>
                  </a:lnTo>
                  <a:lnTo>
                    <a:pt x="252378" y="69403"/>
                  </a:lnTo>
                  <a:lnTo>
                    <a:pt x="252889" y="68110"/>
                  </a:lnTo>
                  <a:lnTo>
                    <a:pt x="253387" y="65679"/>
                  </a:lnTo>
                  <a:lnTo>
                    <a:pt x="252658" y="62389"/>
                  </a:lnTo>
                  <a:lnTo>
                    <a:pt x="249977" y="57227"/>
                  </a:lnTo>
                  <a:lnTo>
                    <a:pt x="248068" y="52156"/>
                  </a:lnTo>
                  <a:lnTo>
                    <a:pt x="247817" y="48621"/>
                  </a:lnTo>
                  <a:lnTo>
                    <a:pt x="247859" y="44883"/>
                  </a:lnTo>
                  <a:lnTo>
                    <a:pt x="248010" y="42441"/>
                  </a:lnTo>
                  <a:lnTo>
                    <a:pt x="246637" y="40530"/>
                  </a:lnTo>
                  <a:lnTo>
                    <a:pt x="239216" y="34510"/>
                  </a:lnTo>
                  <a:lnTo>
                    <a:pt x="236653" y="31665"/>
                  </a:lnTo>
                  <a:lnTo>
                    <a:pt x="235801" y="29697"/>
                  </a:lnTo>
                  <a:lnTo>
                    <a:pt x="232878" y="26065"/>
                  </a:lnTo>
                  <a:lnTo>
                    <a:pt x="233619" y="24954"/>
                  </a:lnTo>
                  <a:lnTo>
                    <a:pt x="235303" y="24995"/>
                  </a:lnTo>
                  <a:lnTo>
                    <a:pt x="236742" y="25942"/>
                  </a:lnTo>
                  <a:lnTo>
                    <a:pt x="238056" y="27960"/>
                  </a:lnTo>
                  <a:lnTo>
                    <a:pt x="239002" y="28412"/>
                  </a:lnTo>
                  <a:lnTo>
                    <a:pt x="240291" y="28409"/>
                  </a:lnTo>
                  <a:lnTo>
                    <a:pt x="247134" y="28401"/>
                  </a:lnTo>
                  <a:lnTo>
                    <a:pt x="248736" y="28743"/>
                  </a:lnTo>
                  <a:lnTo>
                    <a:pt x="249704" y="29422"/>
                  </a:lnTo>
                  <a:lnTo>
                    <a:pt x="250530" y="30263"/>
                  </a:lnTo>
                  <a:lnTo>
                    <a:pt x="251756" y="32615"/>
                  </a:lnTo>
                  <a:lnTo>
                    <a:pt x="253072" y="33765"/>
                  </a:lnTo>
                  <a:lnTo>
                    <a:pt x="255781" y="33725"/>
                  </a:lnTo>
                  <a:lnTo>
                    <a:pt x="260033" y="33677"/>
                  </a:lnTo>
                  <a:lnTo>
                    <a:pt x="262417" y="33467"/>
                  </a:lnTo>
                  <a:lnTo>
                    <a:pt x="263844" y="34122"/>
                  </a:lnTo>
                  <a:lnTo>
                    <a:pt x="265615" y="34664"/>
                  </a:lnTo>
                  <a:lnTo>
                    <a:pt x="269343" y="33416"/>
                  </a:lnTo>
                  <a:lnTo>
                    <a:pt x="270385" y="33389"/>
                  </a:lnTo>
                  <a:lnTo>
                    <a:pt x="271500" y="33939"/>
                  </a:lnTo>
                  <a:lnTo>
                    <a:pt x="275519" y="38149"/>
                  </a:lnTo>
                  <a:lnTo>
                    <a:pt x="277824" y="39927"/>
                  </a:lnTo>
                  <a:lnTo>
                    <a:pt x="279768" y="42275"/>
                  </a:lnTo>
                  <a:lnTo>
                    <a:pt x="282600" y="42288"/>
                  </a:lnTo>
                  <a:lnTo>
                    <a:pt x="284942" y="40270"/>
                  </a:lnTo>
                  <a:lnTo>
                    <a:pt x="285568" y="33480"/>
                  </a:lnTo>
                  <a:lnTo>
                    <a:pt x="286273" y="31510"/>
                  </a:lnTo>
                  <a:lnTo>
                    <a:pt x="287459" y="30958"/>
                  </a:lnTo>
                  <a:lnTo>
                    <a:pt x="288868" y="30891"/>
                  </a:lnTo>
                  <a:lnTo>
                    <a:pt x="290537" y="29823"/>
                  </a:lnTo>
                  <a:lnTo>
                    <a:pt x="292347" y="28447"/>
                  </a:lnTo>
                  <a:lnTo>
                    <a:pt x="293917" y="27984"/>
                  </a:lnTo>
                  <a:lnTo>
                    <a:pt x="300447" y="29466"/>
                  </a:lnTo>
                  <a:lnTo>
                    <a:pt x="302261" y="28757"/>
                  </a:lnTo>
                  <a:lnTo>
                    <a:pt x="308873" y="26961"/>
                  </a:lnTo>
                  <a:lnTo>
                    <a:pt x="315633" y="24655"/>
                  </a:lnTo>
                  <a:lnTo>
                    <a:pt x="317530" y="21748"/>
                  </a:lnTo>
                  <a:lnTo>
                    <a:pt x="320366" y="20967"/>
                  </a:lnTo>
                  <a:lnTo>
                    <a:pt x="322584" y="18835"/>
                  </a:lnTo>
                  <a:lnTo>
                    <a:pt x="324375" y="19060"/>
                  </a:lnTo>
                  <a:lnTo>
                    <a:pt x="327088" y="19145"/>
                  </a:lnTo>
                  <a:lnTo>
                    <a:pt x="328766" y="18773"/>
                  </a:lnTo>
                  <a:lnTo>
                    <a:pt x="329614" y="18368"/>
                  </a:lnTo>
                  <a:lnTo>
                    <a:pt x="330538" y="17366"/>
                  </a:lnTo>
                  <a:lnTo>
                    <a:pt x="332063" y="14518"/>
                  </a:lnTo>
                  <a:lnTo>
                    <a:pt x="333910" y="13440"/>
                  </a:lnTo>
                  <a:lnTo>
                    <a:pt x="336234" y="12299"/>
                  </a:lnTo>
                  <a:lnTo>
                    <a:pt x="337822" y="10953"/>
                  </a:lnTo>
                  <a:lnTo>
                    <a:pt x="339129" y="9290"/>
                  </a:lnTo>
                  <a:lnTo>
                    <a:pt x="339731" y="7845"/>
                  </a:lnTo>
                  <a:lnTo>
                    <a:pt x="339715" y="6696"/>
                  </a:lnTo>
                  <a:lnTo>
                    <a:pt x="338941" y="4475"/>
                  </a:lnTo>
                  <a:lnTo>
                    <a:pt x="338004" y="2380"/>
                  </a:lnTo>
                  <a:lnTo>
                    <a:pt x="336989" y="1688"/>
                  </a:lnTo>
                  <a:lnTo>
                    <a:pt x="336224" y="1422"/>
                  </a:lnTo>
                  <a:lnTo>
                    <a:pt x="338526" y="936"/>
                  </a:lnTo>
                  <a:lnTo>
                    <a:pt x="340427" y="1665"/>
                  </a:lnTo>
                  <a:lnTo>
                    <a:pt x="343390" y="1777"/>
                  </a:lnTo>
                  <a:lnTo>
                    <a:pt x="344677" y="1216"/>
                  </a:lnTo>
                  <a:lnTo>
                    <a:pt x="346542" y="1491"/>
                  </a:lnTo>
                  <a:close/>
                </a:path>
              </a:pathLst>
            </a:custGeom>
            <a:solidFill>
              <a:srgbClr val="007CBC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45" name="ee4p_BB_1_82333">
              <a:extLst>
                <a:ext uri="{FF2B5EF4-FFF2-40B4-BE49-F238E27FC236}">
                  <a16:creationId xmlns:a16="http://schemas.microsoft.com/office/drawing/2014/main" id="{A7092C20-5967-3F09-FB69-C5B29544B81D}"/>
                </a:ext>
              </a:extLst>
            </p:cNvPr>
            <p:cNvSpPr>
              <a:spLocks noChangeAspect="1"/>
            </p:cNvSpPr>
            <p:nvPr>
              <p:custDataLst>
                <p:tags r:id="rId173"/>
              </p:custDataLst>
            </p:nvPr>
          </p:nvSpPr>
          <p:spPr>
            <a:xfrm>
              <a:off x="4858351" y="4293683"/>
              <a:ext cx="6085" cy="7414"/>
            </a:xfrm>
            <a:custGeom>
              <a:avLst/>
              <a:gdLst/>
              <a:ahLst/>
              <a:cxnLst/>
              <a:rect l="0" t="0" r="0" b="0"/>
              <a:pathLst>
                <a:path w="4845" h="5747">
                  <a:moveTo>
                    <a:pt x="3391" y="5301"/>
                  </a:moveTo>
                  <a:lnTo>
                    <a:pt x="2760" y="5746"/>
                  </a:lnTo>
                  <a:lnTo>
                    <a:pt x="782" y="4848"/>
                  </a:lnTo>
                  <a:lnTo>
                    <a:pt x="86" y="3765"/>
                  </a:lnTo>
                  <a:lnTo>
                    <a:pt x="0" y="327"/>
                  </a:lnTo>
                  <a:lnTo>
                    <a:pt x="1218" y="0"/>
                  </a:lnTo>
                  <a:lnTo>
                    <a:pt x="3511" y="2718"/>
                  </a:lnTo>
                  <a:lnTo>
                    <a:pt x="4844" y="3709"/>
                  </a:lnTo>
                  <a:close/>
                </a:path>
              </a:pathLst>
            </a:custGeom>
            <a:solidFill>
              <a:srgbClr val="007CBC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46" name="ee4p_CA_1_82333">
              <a:extLst>
                <a:ext uri="{FF2B5EF4-FFF2-40B4-BE49-F238E27FC236}">
                  <a16:creationId xmlns:a16="http://schemas.microsoft.com/office/drawing/2014/main" id="{BCACEFBB-8F5C-1336-5A8C-DB715D762E27}"/>
                </a:ext>
              </a:extLst>
            </p:cNvPr>
            <p:cNvSpPr>
              <a:spLocks noChangeAspect="1"/>
            </p:cNvSpPr>
            <p:nvPr>
              <p:custDataLst>
                <p:tags r:id="rId174"/>
              </p:custDataLst>
            </p:nvPr>
          </p:nvSpPr>
          <p:spPr>
            <a:xfrm>
              <a:off x="2599162" y="1468489"/>
              <a:ext cx="2453380" cy="1945108"/>
            </a:xfrm>
            <a:custGeom>
              <a:avLst/>
              <a:gdLst>
                <a:gd name="connsiteX0" fmla="*/ 2060840 w 2240198"/>
                <a:gd name="connsiteY0" fmla="*/ 1657574 h 1729012"/>
                <a:gd name="connsiteX1" fmla="*/ 2059307 w 2240198"/>
                <a:gd name="connsiteY1" fmla="*/ 1659536 h 1729012"/>
                <a:gd name="connsiteX2" fmla="*/ 2055892 w 2240198"/>
                <a:gd name="connsiteY2" fmla="*/ 1660643 h 1729012"/>
                <a:gd name="connsiteX3" fmla="*/ 2052965 w 2240198"/>
                <a:gd name="connsiteY3" fmla="*/ 1660558 h 1729012"/>
                <a:gd name="connsiteX4" fmla="*/ 2051025 w 2240198"/>
                <a:gd name="connsiteY4" fmla="*/ 1659551 h 1729012"/>
                <a:gd name="connsiteX5" fmla="*/ 2050943 w 2240198"/>
                <a:gd name="connsiteY5" fmla="*/ 1659110 h 1729012"/>
                <a:gd name="connsiteX6" fmla="*/ 2055544 w 2240198"/>
                <a:gd name="connsiteY6" fmla="*/ 1659536 h 1729012"/>
                <a:gd name="connsiteX7" fmla="*/ 2057310 w 2240198"/>
                <a:gd name="connsiteY7" fmla="*/ 1659302 h 1729012"/>
                <a:gd name="connsiteX8" fmla="*/ 1896449 w 2240198"/>
                <a:gd name="connsiteY8" fmla="*/ 1645474 h 1729012"/>
                <a:gd name="connsiteX9" fmla="*/ 1894841 w 2240198"/>
                <a:gd name="connsiteY9" fmla="*/ 1648580 h 1729012"/>
                <a:gd name="connsiteX10" fmla="*/ 1893565 w 2240198"/>
                <a:gd name="connsiteY10" fmla="*/ 1649668 h 1729012"/>
                <a:gd name="connsiteX11" fmla="*/ 1893875 w 2240198"/>
                <a:gd name="connsiteY11" fmla="*/ 1648601 h 1729012"/>
                <a:gd name="connsiteX12" fmla="*/ 1895432 w 2240198"/>
                <a:gd name="connsiteY12" fmla="*/ 1645880 h 1729012"/>
                <a:gd name="connsiteX13" fmla="*/ 1881444 w 2240198"/>
                <a:gd name="connsiteY13" fmla="*/ 1632571 h 1729012"/>
                <a:gd name="connsiteX14" fmla="*/ 1882882 w 2240198"/>
                <a:gd name="connsiteY14" fmla="*/ 1633008 h 1729012"/>
                <a:gd name="connsiteX15" fmla="*/ 1882680 w 2240198"/>
                <a:gd name="connsiteY15" fmla="*/ 1635560 h 1729012"/>
                <a:gd name="connsiteX16" fmla="*/ 1882449 w 2240198"/>
                <a:gd name="connsiteY16" fmla="*/ 1636436 h 1729012"/>
                <a:gd name="connsiteX17" fmla="*/ 1879037 w 2240198"/>
                <a:gd name="connsiteY17" fmla="*/ 1638087 h 1729012"/>
                <a:gd name="connsiteX18" fmla="*/ 1880364 w 2240198"/>
                <a:gd name="connsiteY18" fmla="*/ 1633868 h 1729012"/>
                <a:gd name="connsiteX19" fmla="*/ 2027907 w 2240198"/>
                <a:gd name="connsiteY19" fmla="*/ 1608328 h 1729012"/>
                <a:gd name="connsiteX20" fmla="*/ 2030785 w 2240198"/>
                <a:gd name="connsiteY20" fmla="*/ 1608646 h 1729012"/>
                <a:gd name="connsiteX21" fmla="*/ 2029757 w 2240198"/>
                <a:gd name="connsiteY21" fmla="*/ 1610278 h 1729012"/>
                <a:gd name="connsiteX22" fmla="*/ 2029540 w 2240198"/>
                <a:gd name="connsiteY22" fmla="*/ 1611083 h 1729012"/>
                <a:gd name="connsiteX23" fmla="*/ 2028493 w 2240198"/>
                <a:gd name="connsiteY23" fmla="*/ 1611342 h 1729012"/>
                <a:gd name="connsiteX24" fmla="*/ 2028249 w 2240198"/>
                <a:gd name="connsiteY24" fmla="*/ 1610891 h 1729012"/>
                <a:gd name="connsiteX25" fmla="*/ 2026634 w 2240198"/>
                <a:gd name="connsiteY25" fmla="*/ 1609591 h 1729012"/>
                <a:gd name="connsiteX26" fmla="*/ 2026493 w 2240198"/>
                <a:gd name="connsiteY26" fmla="*/ 1608944 h 1729012"/>
                <a:gd name="connsiteX27" fmla="*/ 1709776 w 2240198"/>
                <a:gd name="connsiteY27" fmla="*/ 1604634 h 1729012"/>
                <a:gd name="connsiteX28" fmla="*/ 1706658 w 2240198"/>
                <a:gd name="connsiteY28" fmla="*/ 1608072 h 1729012"/>
                <a:gd name="connsiteX29" fmla="*/ 1703600 w 2240198"/>
                <a:gd name="connsiteY29" fmla="*/ 1608722 h 1729012"/>
                <a:gd name="connsiteX30" fmla="*/ 1702540 w 2240198"/>
                <a:gd name="connsiteY30" fmla="*/ 1608448 h 1729012"/>
                <a:gd name="connsiteX31" fmla="*/ 1705914 w 2240198"/>
                <a:gd name="connsiteY31" fmla="*/ 1605348 h 1729012"/>
                <a:gd name="connsiteX32" fmla="*/ 1712217 w 2240198"/>
                <a:gd name="connsiteY32" fmla="*/ 1604310 h 1729012"/>
                <a:gd name="connsiteX33" fmla="*/ 1710624 w 2240198"/>
                <a:gd name="connsiteY33" fmla="*/ 1609303 h 1729012"/>
                <a:gd name="connsiteX34" fmla="*/ 1710301 w 2240198"/>
                <a:gd name="connsiteY34" fmla="*/ 1611086 h 1729012"/>
                <a:gd name="connsiteX35" fmla="*/ 1709924 w 2240198"/>
                <a:gd name="connsiteY35" fmla="*/ 1611739 h 1729012"/>
                <a:gd name="connsiteX36" fmla="*/ 1707970 w 2240198"/>
                <a:gd name="connsiteY36" fmla="*/ 1612368 h 1729012"/>
                <a:gd name="connsiteX37" fmla="*/ 1704628 w 2240198"/>
                <a:gd name="connsiteY37" fmla="*/ 1611785 h 1729012"/>
                <a:gd name="connsiteX38" fmla="*/ 1700955 w 2240198"/>
                <a:gd name="connsiteY38" fmla="*/ 1612594 h 1729012"/>
                <a:gd name="connsiteX39" fmla="*/ 1699932 w 2240198"/>
                <a:gd name="connsiteY39" fmla="*/ 1612611 h 1729012"/>
                <a:gd name="connsiteX40" fmla="*/ 1702661 w 2240198"/>
                <a:gd name="connsiteY40" fmla="*/ 1610271 h 1729012"/>
                <a:gd name="connsiteX41" fmla="*/ 1706857 w 2240198"/>
                <a:gd name="connsiteY41" fmla="*/ 1608830 h 1729012"/>
                <a:gd name="connsiteX42" fmla="*/ 1711041 w 2240198"/>
                <a:gd name="connsiteY42" fmla="*/ 1604423 h 1729012"/>
                <a:gd name="connsiteX43" fmla="*/ 1778054 w 2240198"/>
                <a:gd name="connsiteY43" fmla="*/ 1563265 h 1729012"/>
                <a:gd name="connsiteX44" fmla="*/ 1779419 w 2240198"/>
                <a:gd name="connsiteY44" fmla="*/ 1563289 h 1729012"/>
                <a:gd name="connsiteX45" fmla="*/ 1777196 w 2240198"/>
                <a:gd name="connsiteY45" fmla="*/ 1565714 h 1729012"/>
                <a:gd name="connsiteX46" fmla="*/ 1774349 w 2240198"/>
                <a:gd name="connsiteY46" fmla="*/ 1567204 h 1729012"/>
                <a:gd name="connsiteX47" fmla="*/ 1772044 w 2240198"/>
                <a:gd name="connsiteY47" fmla="*/ 1567463 h 1729012"/>
                <a:gd name="connsiteX48" fmla="*/ 1772594 w 2240198"/>
                <a:gd name="connsiteY48" fmla="*/ 1566353 h 1729012"/>
                <a:gd name="connsiteX49" fmla="*/ 1775741 w 2240198"/>
                <a:gd name="connsiteY49" fmla="*/ 1564375 h 1729012"/>
                <a:gd name="connsiteX50" fmla="*/ 2041521 w 2240198"/>
                <a:gd name="connsiteY50" fmla="*/ 1562829 h 1729012"/>
                <a:gd name="connsiteX51" fmla="*/ 2043571 w 2240198"/>
                <a:gd name="connsiteY51" fmla="*/ 1563028 h 1729012"/>
                <a:gd name="connsiteX52" fmla="*/ 2042984 w 2240198"/>
                <a:gd name="connsiteY52" fmla="*/ 1564327 h 1729012"/>
                <a:gd name="connsiteX53" fmla="*/ 2043134 w 2240198"/>
                <a:gd name="connsiteY53" fmla="*/ 1565597 h 1729012"/>
                <a:gd name="connsiteX54" fmla="*/ 2045510 w 2240198"/>
                <a:gd name="connsiteY54" fmla="*/ 1570561 h 1729012"/>
                <a:gd name="connsiteX55" fmla="*/ 2045480 w 2240198"/>
                <a:gd name="connsiteY55" fmla="*/ 1571545 h 1729012"/>
                <a:gd name="connsiteX56" fmla="*/ 2044183 w 2240198"/>
                <a:gd name="connsiteY56" fmla="*/ 1575490 h 1729012"/>
                <a:gd name="connsiteX57" fmla="*/ 2041689 w 2240198"/>
                <a:gd name="connsiteY57" fmla="*/ 1581851 h 1729012"/>
                <a:gd name="connsiteX58" fmla="*/ 2041048 w 2240198"/>
                <a:gd name="connsiteY58" fmla="*/ 1585353 h 1729012"/>
                <a:gd name="connsiteX59" fmla="*/ 2041382 w 2240198"/>
                <a:gd name="connsiteY59" fmla="*/ 1586404 h 1729012"/>
                <a:gd name="connsiteX60" fmla="*/ 2040370 w 2240198"/>
                <a:gd name="connsiteY60" fmla="*/ 1588173 h 1729012"/>
                <a:gd name="connsiteX61" fmla="*/ 2039295 w 2240198"/>
                <a:gd name="connsiteY61" fmla="*/ 1589518 h 1729012"/>
                <a:gd name="connsiteX62" fmla="*/ 2035036 w 2240198"/>
                <a:gd name="connsiteY62" fmla="*/ 1592038 h 1729012"/>
                <a:gd name="connsiteX63" fmla="*/ 2032862 w 2240198"/>
                <a:gd name="connsiteY63" fmla="*/ 1592627 h 1729012"/>
                <a:gd name="connsiteX64" fmla="*/ 2030792 w 2240198"/>
                <a:gd name="connsiteY64" fmla="*/ 1593562 h 1729012"/>
                <a:gd name="connsiteX65" fmla="*/ 2025899 w 2240198"/>
                <a:gd name="connsiteY65" fmla="*/ 1596725 h 1729012"/>
                <a:gd name="connsiteX66" fmla="*/ 2026757 w 2240198"/>
                <a:gd name="connsiteY66" fmla="*/ 1596966 h 1729012"/>
                <a:gd name="connsiteX67" fmla="*/ 2030174 w 2240198"/>
                <a:gd name="connsiteY67" fmla="*/ 1595431 h 1729012"/>
                <a:gd name="connsiteX68" fmla="*/ 2031982 w 2240198"/>
                <a:gd name="connsiteY68" fmla="*/ 1595497 h 1729012"/>
                <a:gd name="connsiteX69" fmla="*/ 2031902 w 2240198"/>
                <a:gd name="connsiteY69" fmla="*/ 1596600 h 1729012"/>
                <a:gd name="connsiteX70" fmla="*/ 2028964 w 2240198"/>
                <a:gd name="connsiteY70" fmla="*/ 1597800 h 1729012"/>
                <a:gd name="connsiteX71" fmla="*/ 2027613 w 2240198"/>
                <a:gd name="connsiteY71" fmla="*/ 1598702 h 1729012"/>
                <a:gd name="connsiteX72" fmla="*/ 2029310 w 2240198"/>
                <a:gd name="connsiteY72" fmla="*/ 1599537 h 1729012"/>
                <a:gd name="connsiteX73" fmla="*/ 2029287 w 2240198"/>
                <a:gd name="connsiteY73" fmla="*/ 1600101 h 1729012"/>
                <a:gd name="connsiteX74" fmla="*/ 2027247 w 2240198"/>
                <a:gd name="connsiteY74" fmla="*/ 1601459 h 1729012"/>
                <a:gd name="connsiteX75" fmla="*/ 2026230 w 2240198"/>
                <a:gd name="connsiteY75" fmla="*/ 1602931 h 1729012"/>
                <a:gd name="connsiteX76" fmla="*/ 2027069 w 2240198"/>
                <a:gd name="connsiteY76" fmla="*/ 1604353 h 1729012"/>
                <a:gd name="connsiteX77" fmla="*/ 2030331 w 2240198"/>
                <a:gd name="connsiteY77" fmla="*/ 1602953 h 1729012"/>
                <a:gd name="connsiteX78" fmla="*/ 2031669 w 2240198"/>
                <a:gd name="connsiteY78" fmla="*/ 1602940 h 1729012"/>
                <a:gd name="connsiteX79" fmla="*/ 2033482 w 2240198"/>
                <a:gd name="connsiteY79" fmla="*/ 1603257 h 1729012"/>
                <a:gd name="connsiteX80" fmla="*/ 2035211 w 2240198"/>
                <a:gd name="connsiteY80" fmla="*/ 1602836 h 1729012"/>
                <a:gd name="connsiteX81" fmla="*/ 2036195 w 2240198"/>
                <a:gd name="connsiteY81" fmla="*/ 1602143 h 1729012"/>
                <a:gd name="connsiteX82" fmla="*/ 2041944 w 2240198"/>
                <a:gd name="connsiteY82" fmla="*/ 1596668 h 1729012"/>
                <a:gd name="connsiteX83" fmla="*/ 2042243 w 2240198"/>
                <a:gd name="connsiteY83" fmla="*/ 1595966 h 1729012"/>
                <a:gd name="connsiteX84" fmla="*/ 2036048 w 2240198"/>
                <a:gd name="connsiteY84" fmla="*/ 1597098 h 1729012"/>
                <a:gd name="connsiteX85" fmla="*/ 2035328 w 2240198"/>
                <a:gd name="connsiteY85" fmla="*/ 1596349 h 1729012"/>
                <a:gd name="connsiteX86" fmla="*/ 2039388 w 2240198"/>
                <a:gd name="connsiteY86" fmla="*/ 1593028 h 1729012"/>
                <a:gd name="connsiteX87" fmla="*/ 2039069 w 2240198"/>
                <a:gd name="connsiteY87" fmla="*/ 1591278 h 1729012"/>
                <a:gd name="connsiteX88" fmla="*/ 2041118 w 2240198"/>
                <a:gd name="connsiteY88" fmla="*/ 1588512 h 1729012"/>
                <a:gd name="connsiteX89" fmla="*/ 2042996 w 2240198"/>
                <a:gd name="connsiteY89" fmla="*/ 1586869 h 1729012"/>
                <a:gd name="connsiteX90" fmla="*/ 2044375 w 2240198"/>
                <a:gd name="connsiteY90" fmla="*/ 1585949 h 1729012"/>
                <a:gd name="connsiteX91" fmla="*/ 2046367 w 2240198"/>
                <a:gd name="connsiteY91" fmla="*/ 1585103 h 1729012"/>
                <a:gd name="connsiteX92" fmla="*/ 2047738 w 2240198"/>
                <a:gd name="connsiteY92" fmla="*/ 1586409 h 1729012"/>
                <a:gd name="connsiteX93" fmla="*/ 2048180 w 2240198"/>
                <a:gd name="connsiteY93" fmla="*/ 1588776 h 1729012"/>
                <a:gd name="connsiteX94" fmla="*/ 2051576 w 2240198"/>
                <a:gd name="connsiteY94" fmla="*/ 1588444 h 1729012"/>
                <a:gd name="connsiteX95" fmla="*/ 2054899 w 2240198"/>
                <a:gd name="connsiteY95" fmla="*/ 1588920 h 1729012"/>
                <a:gd name="connsiteX96" fmla="*/ 2057344 w 2240198"/>
                <a:gd name="connsiteY96" fmla="*/ 1589919 h 1729012"/>
                <a:gd name="connsiteX97" fmla="*/ 2057725 w 2240198"/>
                <a:gd name="connsiteY97" fmla="*/ 1590494 h 1729012"/>
                <a:gd name="connsiteX98" fmla="*/ 2057756 w 2240198"/>
                <a:gd name="connsiteY98" fmla="*/ 1591396 h 1729012"/>
                <a:gd name="connsiteX99" fmla="*/ 2056942 w 2240198"/>
                <a:gd name="connsiteY99" fmla="*/ 1593022 h 1729012"/>
                <a:gd name="connsiteX100" fmla="*/ 2055594 w 2240198"/>
                <a:gd name="connsiteY100" fmla="*/ 1594359 h 1729012"/>
                <a:gd name="connsiteX101" fmla="*/ 2058282 w 2240198"/>
                <a:gd name="connsiteY101" fmla="*/ 1596078 h 1729012"/>
                <a:gd name="connsiteX102" fmla="*/ 2057923 w 2240198"/>
                <a:gd name="connsiteY102" fmla="*/ 1596825 h 1729012"/>
                <a:gd name="connsiteX103" fmla="*/ 2053521 w 2240198"/>
                <a:gd name="connsiteY103" fmla="*/ 1598757 h 1729012"/>
                <a:gd name="connsiteX104" fmla="*/ 2051020 w 2240198"/>
                <a:gd name="connsiteY104" fmla="*/ 1600704 h 1729012"/>
                <a:gd name="connsiteX105" fmla="*/ 2048722 w 2240198"/>
                <a:gd name="connsiteY105" fmla="*/ 1603101 h 1729012"/>
                <a:gd name="connsiteX106" fmla="*/ 2044132 w 2240198"/>
                <a:gd name="connsiteY106" fmla="*/ 1605891 h 1729012"/>
                <a:gd name="connsiteX107" fmla="*/ 2036858 w 2240198"/>
                <a:gd name="connsiteY107" fmla="*/ 1607904 h 1729012"/>
                <a:gd name="connsiteX108" fmla="*/ 2034557 w 2240198"/>
                <a:gd name="connsiteY108" fmla="*/ 1607904 h 1729012"/>
                <a:gd name="connsiteX109" fmla="*/ 2031822 w 2240198"/>
                <a:gd name="connsiteY109" fmla="*/ 1607277 h 1729012"/>
                <a:gd name="connsiteX110" fmla="*/ 2029107 w 2240198"/>
                <a:gd name="connsiteY110" fmla="*/ 1607420 h 1729012"/>
                <a:gd name="connsiteX111" fmla="*/ 2026444 w 2240198"/>
                <a:gd name="connsiteY111" fmla="*/ 1608170 h 1729012"/>
                <a:gd name="connsiteX112" fmla="*/ 2023838 w 2240198"/>
                <a:gd name="connsiteY112" fmla="*/ 1608088 h 1729012"/>
                <a:gd name="connsiteX113" fmla="*/ 2022573 w 2240198"/>
                <a:gd name="connsiteY113" fmla="*/ 1608481 h 1729012"/>
                <a:gd name="connsiteX114" fmla="*/ 2021372 w 2240198"/>
                <a:gd name="connsiteY114" fmla="*/ 1608439 h 1729012"/>
                <a:gd name="connsiteX115" fmla="*/ 2020364 w 2240198"/>
                <a:gd name="connsiteY115" fmla="*/ 1607662 h 1729012"/>
                <a:gd name="connsiteX116" fmla="*/ 2018211 w 2240198"/>
                <a:gd name="connsiteY116" fmla="*/ 1605435 h 1729012"/>
                <a:gd name="connsiteX117" fmla="*/ 2017160 w 2240198"/>
                <a:gd name="connsiteY117" fmla="*/ 1603948 h 1729012"/>
                <a:gd name="connsiteX118" fmla="*/ 2016006 w 2240198"/>
                <a:gd name="connsiteY118" fmla="*/ 1596827 h 1729012"/>
                <a:gd name="connsiteX119" fmla="*/ 2016379 w 2240198"/>
                <a:gd name="connsiteY119" fmla="*/ 1593082 h 1729012"/>
                <a:gd name="connsiteX120" fmla="*/ 2018203 w 2240198"/>
                <a:gd name="connsiteY120" fmla="*/ 1589575 h 1729012"/>
                <a:gd name="connsiteX121" fmla="*/ 2020903 w 2240198"/>
                <a:gd name="connsiteY121" fmla="*/ 1587243 h 1729012"/>
                <a:gd name="connsiteX122" fmla="*/ 2022467 w 2240198"/>
                <a:gd name="connsiteY122" fmla="*/ 1585379 h 1729012"/>
                <a:gd name="connsiteX123" fmla="*/ 2029009 w 2240198"/>
                <a:gd name="connsiteY123" fmla="*/ 1574305 h 1729012"/>
                <a:gd name="connsiteX124" fmla="*/ 2030290 w 2240198"/>
                <a:gd name="connsiteY124" fmla="*/ 1571786 h 1729012"/>
                <a:gd name="connsiteX125" fmla="*/ 2031857 w 2240198"/>
                <a:gd name="connsiteY125" fmla="*/ 1569637 h 1729012"/>
                <a:gd name="connsiteX126" fmla="*/ 2034659 w 2240198"/>
                <a:gd name="connsiteY126" fmla="*/ 1567509 h 1729012"/>
                <a:gd name="connsiteX127" fmla="*/ 2038286 w 2240198"/>
                <a:gd name="connsiteY127" fmla="*/ 1563915 h 1729012"/>
                <a:gd name="connsiteX128" fmla="*/ 2039442 w 2240198"/>
                <a:gd name="connsiteY128" fmla="*/ 1563178 h 1729012"/>
                <a:gd name="connsiteX129" fmla="*/ 1952660 w 2240198"/>
                <a:gd name="connsiteY129" fmla="*/ 1561168 h 1729012"/>
                <a:gd name="connsiteX130" fmla="*/ 1952565 w 2240198"/>
                <a:gd name="connsiteY130" fmla="*/ 1563724 h 1729012"/>
                <a:gd name="connsiteX131" fmla="*/ 1952965 w 2240198"/>
                <a:gd name="connsiteY131" fmla="*/ 1565924 h 1729012"/>
                <a:gd name="connsiteX132" fmla="*/ 1950267 w 2240198"/>
                <a:gd name="connsiteY132" fmla="*/ 1570318 h 1729012"/>
                <a:gd name="connsiteX133" fmla="*/ 1954955 w 2240198"/>
                <a:gd name="connsiteY133" fmla="*/ 1574667 h 1729012"/>
                <a:gd name="connsiteX134" fmla="*/ 1955557 w 2240198"/>
                <a:gd name="connsiteY134" fmla="*/ 1575628 h 1729012"/>
                <a:gd name="connsiteX135" fmla="*/ 1955952 w 2240198"/>
                <a:gd name="connsiteY135" fmla="*/ 1576795 h 1729012"/>
                <a:gd name="connsiteX136" fmla="*/ 1955649 w 2240198"/>
                <a:gd name="connsiteY136" fmla="*/ 1577868 h 1729012"/>
                <a:gd name="connsiteX137" fmla="*/ 1954890 w 2240198"/>
                <a:gd name="connsiteY137" fmla="*/ 1578820 h 1729012"/>
                <a:gd name="connsiteX138" fmla="*/ 1956716 w 2240198"/>
                <a:gd name="connsiteY138" fmla="*/ 1579293 h 1729012"/>
                <a:gd name="connsiteX139" fmla="*/ 1957281 w 2240198"/>
                <a:gd name="connsiteY139" fmla="*/ 1580095 h 1729012"/>
                <a:gd name="connsiteX140" fmla="*/ 1957967 w 2240198"/>
                <a:gd name="connsiteY140" fmla="*/ 1580543 h 1729012"/>
                <a:gd name="connsiteX141" fmla="*/ 1959164 w 2240198"/>
                <a:gd name="connsiteY141" fmla="*/ 1579720 h 1729012"/>
                <a:gd name="connsiteX142" fmla="*/ 1960573 w 2240198"/>
                <a:gd name="connsiteY142" fmla="*/ 1577127 h 1729012"/>
                <a:gd name="connsiteX143" fmla="*/ 1964303 w 2240198"/>
                <a:gd name="connsiteY143" fmla="*/ 1577806 h 1729012"/>
                <a:gd name="connsiteX144" fmla="*/ 1966277 w 2240198"/>
                <a:gd name="connsiteY144" fmla="*/ 1578975 h 1729012"/>
                <a:gd name="connsiteX145" fmla="*/ 1967377 w 2240198"/>
                <a:gd name="connsiteY145" fmla="*/ 1578717 h 1729012"/>
                <a:gd name="connsiteX146" fmla="*/ 1968504 w 2240198"/>
                <a:gd name="connsiteY146" fmla="*/ 1578836 h 1729012"/>
                <a:gd name="connsiteX147" fmla="*/ 1970598 w 2240198"/>
                <a:gd name="connsiteY147" fmla="*/ 1580366 h 1729012"/>
                <a:gd name="connsiteX148" fmla="*/ 1974571 w 2240198"/>
                <a:gd name="connsiteY148" fmla="*/ 1581574 h 1729012"/>
                <a:gd name="connsiteX149" fmla="*/ 1978765 w 2240198"/>
                <a:gd name="connsiteY149" fmla="*/ 1581399 h 1729012"/>
                <a:gd name="connsiteX150" fmla="*/ 1985154 w 2240198"/>
                <a:gd name="connsiteY150" fmla="*/ 1580681 h 1729012"/>
                <a:gd name="connsiteX151" fmla="*/ 1985917 w 2240198"/>
                <a:gd name="connsiteY151" fmla="*/ 1580391 h 1729012"/>
                <a:gd name="connsiteX152" fmla="*/ 1992481 w 2240198"/>
                <a:gd name="connsiteY152" fmla="*/ 1579791 h 1729012"/>
                <a:gd name="connsiteX153" fmla="*/ 1999060 w 2240198"/>
                <a:gd name="connsiteY153" fmla="*/ 1579507 h 1729012"/>
                <a:gd name="connsiteX154" fmla="*/ 2001325 w 2240198"/>
                <a:gd name="connsiteY154" fmla="*/ 1580190 h 1729012"/>
                <a:gd name="connsiteX155" fmla="*/ 2002171 w 2240198"/>
                <a:gd name="connsiteY155" fmla="*/ 1580827 h 1729012"/>
                <a:gd name="connsiteX156" fmla="*/ 2002606 w 2240198"/>
                <a:gd name="connsiteY156" fmla="*/ 1581595 h 1729012"/>
                <a:gd name="connsiteX157" fmla="*/ 1998853 w 2240198"/>
                <a:gd name="connsiteY157" fmla="*/ 1583700 h 1729012"/>
                <a:gd name="connsiteX158" fmla="*/ 1995095 w 2240198"/>
                <a:gd name="connsiteY158" fmla="*/ 1586147 h 1729012"/>
                <a:gd name="connsiteX159" fmla="*/ 1989870 w 2240198"/>
                <a:gd name="connsiteY159" fmla="*/ 1588543 h 1729012"/>
                <a:gd name="connsiteX160" fmla="*/ 1989211 w 2240198"/>
                <a:gd name="connsiteY160" fmla="*/ 1589715 h 1729012"/>
                <a:gd name="connsiteX161" fmla="*/ 1989536 w 2240198"/>
                <a:gd name="connsiteY161" fmla="*/ 1591871 h 1729012"/>
                <a:gd name="connsiteX162" fmla="*/ 1989433 w 2240198"/>
                <a:gd name="connsiteY162" fmla="*/ 1594067 h 1729012"/>
                <a:gd name="connsiteX163" fmla="*/ 1990465 w 2240198"/>
                <a:gd name="connsiteY163" fmla="*/ 1594248 h 1729012"/>
                <a:gd name="connsiteX164" fmla="*/ 1991086 w 2240198"/>
                <a:gd name="connsiteY164" fmla="*/ 1594983 h 1729012"/>
                <a:gd name="connsiteX165" fmla="*/ 1989735 w 2240198"/>
                <a:gd name="connsiteY165" fmla="*/ 1595693 h 1729012"/>
                <a:gd name="connsiteX166" fmla="*/ 1984364 w 2240198"/>
                <a:gd name="connsiteY166" fmla="*/ 1596023 h 1729012"/>
                <a:gd name="connsiteX167" fmla="*/ 1982800 w 2240198"/>
                <a:gd name="connsiteY167" fmla="*/ 1595823 h 1729012"/>
                <a:gd name="connsiteX168" fmla="*/ 1980937 w 2240198"/>
                <a:gd name="connsiteY168" fmla="*/ 1594931 h 1729012"/>
                <a:gd name="connsiteX169" fmla="*/ 1980299 w 2240198"/>
                <a:gd name="connsiteY169" fmla="*/ 1592812 h 1729012"/>
                <a:gd name="connsiteX170" fmla="*/ 1977989 w 2240198"/>
                <a:gd name="connsiteY170" fmla="*/ 1593123 h 1729012"/>
                <a:gd name="connsiteX171" fmla="*/ 1977292 w 2240198"/>
                <a:gd name="connsiteY171" fmla="*/ 1592864 h 1729012"/>
                <a:gd name="connsiteX172" fmla="*/ 1980526 w 2240198"/>
                <a:gd name="connsiteY172" fmla="*/ 1591058 h 1729012"/>
                <a:gd name="connsiteX173" fmla="*/ 1979053 w 2240198"/>
                <a:gd name="connsiteY173" fmla="*/ 1588787 h 1729012"/>
                <a:gd name="connsiteX174" fmla="*/ 1977470 w 2240198"/>
                <a:gd name="connsiteY174" fmla="*/ 1588953 h 1729012"/>
                <a:gd name="connsiteX175" fmla="*/ 1976423 w 2240198"/>
                <a:gd name="connsiteY175" fmla="*/ 1587875 h 1729012"/>
                <a:gd name="connsiteX176" fmla="*/ 1976509 w 2240198"/>
                <a:gd name="connsiteY176" fmla="*/ 1586418 h 1729012"/>
                <a:gd name="connsiteX177" fmla="*/ 1977976 w 2240198"/>
                <a:gd name="connsiteY177" fmla="*/ 1585709 h 1729012"/>
                <a:gd name="connsiteX178" fmla="*/ 1978398 w 2240198"/>
                <a:gd name="connsiteY178" fmla="*/ 1584940 h 1729012"/>
                <a:gd name="connsiteX179" fmla="*/ 1976410 w 2240198"/>
                <a:gd name="connsiteY179" fmla="*/ 1585606 h 1729012"/>
                <a:gd name="connsiteX180" fmla="*/ 1974886 w 2240198"/>
                <a:gd name="connsiteY180" fmla="*/ 1586957 h 1729012"/>
                <a:gd name="connsiteX181" fmla="*/ 1972914 w 2240198"/>
                <a:gd name="connsiteY181" fmla="*/ 1587468 h 1729012"/>
                <a:gd name="connsiteX182" fmla="*/ 1970986 w 2240198"/>
                <a:gd name="connsiteY182" fmla="*/ 1588635 h 1729012"/>
                <a:gd name="connsiteX183" fmla="*/ 1973978 w 2240198"/>
                <a:gd name="connsiteY183" fmla="*/ 1589004 h 1729012"/>
                <a:gd name="connsiteX184" fmla="*/ 1972440 w 2240198"/>
                <a:gd name="connsiteY184" fmla="*/ 1589907 h 1729012"/>
                <a:gd name="connsiteX185" fmla="*/ 1970838 w 2240198"/>
                <a:gd name="connsiteY185" fmla="*/ 1590116 h 1729012"/>
                <a:gd name="connsiteX186" fmla="*/ 1963426 w 2240198"/>
                <a:gd name="connsiteY186" fmla="*/ 1588341 h 1729012"/>
                <a:gd name="connsiteX187" fmla="*/ 1961599 w 2240198"/>
                <a:gd name="connsiteY187" fmla="*/ 1587667 h 1729012"/>
                <a:gd name="connsiteX188" fmla="*/ 1959297 w 2240198"/>
                <a:gd name="connsiteY188" fmla="*/ 1585807 h 1729012"/>
                <a:gd name="connsiteX189" fmla="*/ 1957554 w 2240198"/>
                <a:gd name="connsiteY189" fmla="*/ 1583320 h 1729012"/>
                <a:gd name="connsiteX190" fmla="*/ 1958499 w 2240198"/>
                <a:gd name="connsiteY190" fmla="*/ 1583223 h 1729012"/>
                <a:gd name="connsiteX191" fmla="*/ 1958821 w 2240198"/>
                <a:gd name="connsiteY191" fmla="*/ 1582777 h 1729012"/>
                <a:gd name="connsiteX192" fmla="*/ 1958616 w 2240198"/>
                <a:gd name="connsiteY192" fmla="*/ 1582356 h 1729012"/>
                <a:gd name="connsiteX193" fmla="*/ 1956031 w 2240198"/>
                <a:gd name="connsiteY193" fmla="*/ 1582021 h 1729012"/>
                <a:gd name="connsiteX194" fmla="*/ 1951996 w 2240198"/>
                <a:gd name="connsiteY194" fmla="*/ 1582127 h 1729012"/>
                <a:gd name="connsiteX195" fmla="*/ 1949685 w 2240198"/>
                <a:gd name="connsiteY195" fmla="*/ 1581472 h 1729012"/>
                <a:gd name="connsiteX196" fmla="*/ 1949794 w 2240198"/>
                <a:gd name="connsiteY196" fmla="*/ 1577121 h 1729012"/>
                <a:gd name="connsiteX197" fmla="*/ 1949047 w 2240198"/>
                <a:gd name="connsiteY197" fmla="*/ 1575923 h 1729012"/>
                <a:gd name="connsiteX198" fmla="*/ 1946521 w 2240198"/>
                <a:gd name="connsiteY198" fmla="*/ 1574912 h 1729012"/>
                <a:gd name="connsiteX199" fmla="*/ 1942657 w 2240198"/>
                <a:gd name="connsiteY199" fmla="*/ 1574611 h 1729012"/>
                <a:gd name="connsiteX200" fmla="*/ 1942274 w 2240198"/>
                <a:gd name="connsiteY200" fmla="*/ 1572993 h 1729012"/>
                <a:gd name="connsiteX201" fmla="*/ 1943505 w 2240198"/>
                <a:gd name="connsiteY201" fmla="*/ 1570516 h 1729012"/>
                <a:gd name="connsiteX202" fmla="*/ 1945397 w 2240198"/>
                <a:gd name="connsiteY202" fmla="*/ 1568391 h 1729012"/>
                <a:gd name="connsiteX203" fmla="*/ 1946836 w 2240198"/>
                <a:gd name="connsiteY203" fmla="*/ 1566299 h 1729012"/>
                <a:gd name="connsiteX204" fmla="*/ 1948517 w 2240198"/>
                <a:gd name="connsiteY204" fmla="*/ 1564583 h 1729012"/>
                <a:gd name="connsiteX205" fmla="*/ 2016544 w 2240198"/>
                <a:gd name="connsiteY205" fmla="*/ 1542368 h 1729012"/>
                <a:gd name="connsiteX206" fmla="*/ 2018536 w 2240198"/>
                <a:gd name="connsiteY206" fmla="*/ 1542663 h 1729012"/>
                <a:gd name="connsiteX207" fmla="*/ 2016506 w 2240198"/>
                <a:gd name="connsiteY207" fmla="*/ 1545035 h 1729012"/>
                <a:gd name="connsiteX208" fmla="*/ 2013801 w 2240198"/>
                <a:gd name="connsiteY208" fmla="*/ 1545164 h 1729012"/>
                <a:gd name="connsiteX209" fmla="*/ 2011219 w 2240198"/>
                <a:gd name="connsiteY209" fmla="*/ 1547136 h 1729012"/>
                <a:gd name="connsiteX210" fmla="*/ 2009525 w 2240198"/>
                <a:gd name="connsiteY210" fmla="*/ 1549321 h 1729012"/>
                <a:gd name="connsiteX211" fmla="*/ 2007488 w 2240198"/>
                <a:gd name="connsiteY211" fmla="*/ 1550567 h 1729012"/>
                <a:gd name="connsiteX212" fmla="*/ 2006083 w 2240198"/>
                <a:gd name="connsiteY212" fmla="*/ 1552090 h 1729012"/>
                <a:gd name="connsiteX213" fmla="*/ 2005386 w 2240198"/>
                <a:gd name="connsiteY213" fmla="*/ 1554021 h 1729012"/>
                <a:gd name="connsiteX214" fmla="*/ 2006284 w 2240198"/>
                <a:gd name="connsiteY214" fmla="*/ 1554630 h 1729012"/>
                <a:gd name="connsiteX215" fmla="*/ 2007887 w 2240198"/>
                <a:gd name="connsiteY215" fmla="*/ 1554565 h 1729012"/>
                <a:gd name="connsiteX216" fmla="*/ 2008975 w 2240198"/>
                <a:gd name="connsiteY216" fmla="*/ 1554813 h 1729012"/>
                <a:gd name="connsiteX217" fmla="*/ 2007425 w 2240198"/>
                <a:gd name="connsiteY217" fmla="*/ 1556007 h 1729012"/>
                <a:gd name="connsiteX218" fmla="*/ 2004456 w 2240198"/>
                <a:gd name="connsiteY218" fmla="*/ 1556123 h 1729012"/>
                <a:gd name="connsiteX219" fmla="*/ 2002997 w 2240198"/>
                <a:gd name="connsiteY219" fmla="*/ 1555633 h 1729012"/>
                <a:gd name="connsiteX220" fmla="*/ 2005117 w 2240198"/>
                <a:gd name="connsiteY220" fmla="*/ 1549502 h 1729012"/>
                <a:gd name="connsiteX221" fmla="*/ 2007587 w 2240198"/>
                <a:gd name="connsiteY221" fmla="*/ 1548089 h 1729012"/>
                <a:gd name="connsiteX222" fmla="*/ 2012646 w 2240198"/>
                <a:gd name="connsiteY222" fmla="*/ 1544073 h 1729012"/>
                <a:gd name="connsiteX223" fmla="*/ 2014668 w 2240198"/>
                <a:gd name="connsiteY223" fmla="*/ 1542851 h 1729012"/>
                <a:gd name="connsiteX224" fmla="*/ 2202810 w 2240198"/>
                <a:gd name="connsiteY224" fmla="*/ 1542367 h 1729012"/>
                <a:gd name="connsiteX225" fmla="*/ 2202318 w 2240198"/>
                <a:gd name="connsiteY225" fmla="*/ 1544742 h 1729012"/>
                <a:gd name="connsiteX226" fmla="*/ 2200300 w 2240198"/>
                <a:gd name="connsiteY226" fmla="*/ 1548982 h 1729012"/>
                <a:gd name="connsiteX227" fmla="*/ 2199059 w 2240198"/>
                <a:gd name="connsiteY227" fmla="*/ 1550101 h 1729012"/>
                <a:gd name="connsiteX228" fmla="*/ 2197794 w 2240198"/>
                <a:gd name="connsiteY228" fmla="*/ 1550051 h 1729012"/>
                <a:gd name="connsiteX229" fmla="*/ 2197943 w 2240198"/>
                <a:gd name="connsiteY229" fmla="*/ 1549072 h 1729012"/>
                <a:gd name="connsiteX230" fmla="*/ 2199501 w 2240198"/>
                <a:gd name="connsiteY230" fmla="*/ 1547171 h 1729012"/>
                <a:gd name="connsiteX231" fmla="*/ 2200294 w 2240198"/>
                <a:gd name="connsiteY231" fmla="*/ 1545809 h 1729012"/>
                <a:gd name="connsiteX232" fmla="*/ 2200323 w 2240198"/>
                <a:gd name="connsiteY232" fmla="*/ 1544986 h 1729012"/>
                <a:gd name="connsiteX233" fmla="*/ 2200610 w 2240198"/>
                <a:gd name="connsiteY233" fmla="*/ 1544356 h 1729012"/>
                <a:gd name="connsiteX234" fmla="*/ 2201791 w 2240198"/>
                <a:gd name="connsiteY234" fmla="*/ 1543648 h 1729012"/>
                <a:gd name="connsiteX235" fmla="*/ 1939600 w 2240198"/>
                <a:gd name="connsiteY235" fmla="*/ 1534624 h 1729012"/>
                <a:gd name="connsiteX236" fmla="*/ 1938958 w 2240198"/>
                <a:gd name="connsiteY236" fmla="*/ 1536981 h 1729012"/>
                <a:gd name="connsiteX237" fmla="*/ 1936742 w 2240198"/>
                <a:gd name="connsiteY237" fmla="*/ 1538978 h 1729012"/>
                <a:gd name="connsiteX238" fmla="*/ 1935643 w 2240198"/>
                <a:gd name="connsiteY238" fmla="*/ 1539117 h 1729012"/>
                <a:gd name="connsiteX239" fmla="*/ 1935138 w 2240198"/>
                <a:gd name="connsiteY239" fmla="*/ 1538923 h 1729012"/>
                <a:gd name="connsiteX240" fmla="*/ 1935748 w 2240198"/>
                <a:gd name="connsiteY240" fmla="*/ 1537633 h 1729012"/>
                <a:gd name="connsiteX241" fmla="*/ 1935677 w 2240198"/>
                <a:gd name="connsiteY241" fmla="*/ 1535390 h 1729012"/>
                <a:gd name="connsiteX242" fmla="*/ 1937507 w 2240198"/>
                <a:gd name="connsiteY242" fmla="*/ 1535085 h 1729012"/>
                <a:gd name="connsiteX243" fmla="*/ 1938174 w 2240198"/>
                <a:gd name="connsiteY243" fmla="*/ 1535286 h 1729012"/>
                <a:gd name="connsiteX244" fmla="*/ 1939813 w 2240198"/>
                <a:gd name="connsiteY244" fmla="*/ 1530517 h 1729012"/>
                <a:gd name="connsiteX245" fmla="*/ 1940294 w 2240198"/>
                <a:gd name="connsiteY245" fmla="*/ 1530737 h 1729012"/>
                <a:gd name="connsiteX246" fmla="*/ 1940425 w 2240198"/>
                <a:gd name="connsiteY246" fmla="*/ 1532292 h 1729012"/>
                <a:gd name="connsiteX247" fmla="*/ 1937503 w 2240198"/>
                <a:gd name="connsiteY247" fmla="*/ 1533963 h 1729012"/>
                <a:gd name="connsiteX248" fmla="*/ 1938785 w 2240198"/>
                <a:gd name="connsiteY248" fmla="*/ 1531448 h 1729012"/>
                <a:gd name="connsiteX249" fmla="*/ 1939322 w 2240198"/>
                <a:gd name="connsiteY249" fmla="*/ 1530798 h 1729012"/>
                <a:gd name="connsiteX250" fmla="*/ 441704 w 2240198"/>
                <a:gd name="connsiteY250" fmla="*/ 1500853 h 1729012"/>
                <a:gd name="connsiteX251" fmla="*/ 442404 w 2240198"/>
                <a:gd name="connsiteY251" fmla="*/ 1500974 h 1729012"/>
                <a:gd name="connsiteX252" fmla="*/ 444606 w 2240198"/>
                <a:gd name="connsiteY252" fmla="*/ 1502761 h 1729012"/>
                <a:gd name="connsiteX253" fmla="*/ 444107 w 2240198"/>
                <a:gd name="connsiteY253" fmla="*/ 1503470 h 1729012"/>
                <a:gd name="connsiteX254" fmla="*/ 445751 w 2240198"/>
                <a:gd name="connsiteY254" fmla="*/ 1505178 h 1729012"/>
                <a:gd name="connsiteX255" fmla="*/ 446156 w 2240198"/>
                <a:gd name="connsiteY255" fmla="*/ 1506396 h 1729012"/>
                <a:gd name="connsiteX256" fmla="*/ 445430 w 2240198"/>
                <a:gd name="connsiteY256" fmla="*/ 1506448 h 1729012"/>
                <a:gd name="connsiteX257" fmla="*/ 444368 w 2240198"/>
                <a:gd name="connsiteY257" fmla="*/ 1507286 h 1729012"/>
                <a:gd name="connsiteX258" fmla="*/ 443801 w 2240198"/>
                <a:gd name="connsiteY258" fmla="*/ 1507175 h 1729012"/>
                <a:gd name="connsiteX259" fmla="*/ 443347 w 2240198"/>
                <a:gd name="connsiteY259" fmla="*/ 1506589 h 1729012"/>
                <a:gd name="connsiteX260" fmla="*/ 438993 w 2240198"/>
                <a:gd name="connsiteY260" fmla="*/ 1495311 h 1729012"/>
                <a:gd name="connsiteX261" fmla="*/ 444239 w 2240198"/>
                <a:gd name="connsiteY261" fmla="*/ 1499907 h 1729012"/>
                <a:gd name="connsiteX262" fmla="*/ 446887 w 2240198"/>
                <a:gd name="connsiteY262" fmla="*/ 1501426 h 1729012"/>
                <a:gd name="connsiteX263" fmla="*/ 447028 w 2240198"/>
                <a:gd name="connsiteY263" fmla="*/ 1502149 h 1729012"/>
                <a:gd name="connsiteX264" fmla="*/ 446711 w 2240198"/>
                <a:gd name="connsiteY264" fmla="*/ 1502506 h 1729012"/>
                <a:gd name="connsiteX265" fmla="*/ 442750 w 2240198"/>
                <a:gd name="connsiteY265" fmla="*/ 1500194 h 1729012"/>
                <a:gd name="connsiteX266" fmla="*/ 440099 w 2240198"/>
                <a:gd name="connsiteY266" fmla="*/ 1497161 h 1729012"/>
                <a:gd name="connsiteX267" fmla="*/ 1913868 w 2240198"/>
                <a:gd name="connsiteY267" fmla="*/ 1489703 h 1729012"/>
                <a:gd name="connsiteX268" fmla="*/ 1917094 w 2240198"/>
                <a:gd name="connsiteY268" fmla="*/ 1489838 h 1729012"/>
                <a:gd name="connsiteX269" fmla="*/ 1931289 w 2240198"/>
                <a:gd name="connsiteY269" fmla="*/ 1492144 h 1729012"/>
                <a:gd name="connsiteX270" fmla="*/ 1938100 w 2240198"/>
                <a:gd name="connsiteY270" fmla="*/ 1494995 h 1729012"/>
                <a:gd name="connsiteX271" fmla="*/ 1945857 w 2240198"/>
                <a:gd name="connsiteY271" fmla="*/ 1500981 h 1729012"/>
                <a:gd name="connsiteX272" fmla="*/ 1947013 w 2240198"/>
                <a:gd name="connsiteY272" fmla="*/ 1502558 h 1729012"/>
                <a:gd name="connsiteX273" fmla="*/ 1947201 w 2240198"/>
                <a:gd name="connsiteY273" fmla="*/ 1504760 h 1729012"/>
                <a:gd name="connsiteX274" fmla="*/ 1943095 w 2240198"/>
                <a:gd name="connsiteY274" fmla="*/ 1503690 h 1729012"/>
                <a:gd name="connsiteX275" fmla="*/ 1939470 w 2240198"/>
                <a:gd name="connsiteY275" fmla="*/ 1503620 h 1729012"/>
                <a:gd name="connsiteX276" fmla="*/ 1941984 w 2240198"/>
                <a:gd name="connsiteY276" fmla="*/ 1504844 h 1729012"/>
                <a:gd name="connsiteX277" fmla="*/ 1946255 w 2240198"/>
                <a:gd name="connsiteY277" fmla="*/ 1508515 h 1729012"/>
                <a:gd name="connsiteX278" fmla="*/ 1946061 w 2240198"/>
                <a:gd name="connsiteY278" fmla="*/ 1513100 h 1729012"/>
                <a:gd name="connsiteX279" fmla="*/ 1943650 w 2240198"/>
                <a:gd name="connsiteY279" fmla="*/ 1517237 h 1729012"/>
                <a:gd name="connsiteX280" fmla="*/ 1936440 w 2240198"/>
                <a:gd name="connsiteY280" fmla="*/ 1519275 h 1729012"/>
                <a:gd name="connsiteX281" fmla="*/ 1934600 w 2240198"/>
                <a:gd name="connsiteY281" fmla="*/ 1520896 h 1729012"/>
                <a:gd name="connsiteX282" fmla="*/ 1933110 w 2240198"/>
                <a:gd name="connsiteY282" fmla="*/ 1523574 h 1729012"/>
                <a:gd name="connsiteX283" fmla="*/ 1931651 w 2240198"/>
                <a:gd name="connsiteY283" fmla="*/ 1524598 h 1729012"/>
                <a:gd name="connsiteX284" fmla="*/ 1928155 w 2240198"/>
                <a:gd name="connsiteY284" fmla="*/ 1525786 h 1729012"/>
                <a:gd name="connsiteX285" fmla="*/ 1926224 w 2240198"/>
                <a:gd name="connsiteY285" fmla="*/ 1527523 h 1729012"/>
                <a:gd name="connsiteX286" fmla="*/ 1920561 w 2240198"/>
                <a:gd name="connsiteY286" fmla="*/ 1530275 h 1729012"/>
                <a:gd name="connsiteX287" fmla="*/ 1918010 w 2240198"/>
                <a:gd name="connsiteY287" fmla="*/ 1530602 h 1729012"/>
                <a:gd name="connsiteX288" fmla="*/ 1915072 w 2240198"/>
                <a:gd name="connsiteY288" fmla="*/ 1529943 h 1729012"/>
                <a:gd name="connsiteX289" fmla="*/ 1908003 w 2240198"/>
                <a:gd name="connsiteY289" fmla="*/ 1527348 h 1729012"/>
                <a:gd name="connsiteX290" fmla="*/ 1903641 w 2240198"/>
                <a:gd name="connsiteY290" fmla="*/ 1524845 h 1729012"/>
                <a:gd name="connsiteX291" fmla="*/ 1901464 w 2240198"/>
                <a:gd name="connsiteY291" fmla="*/ 1526212 h 1729012"/>
                <a:gd name="connsiteX292" fmla="*/ 1899675 w 2240198"/>
                <a:gd name="connsiteY292" fmla="*/ 1527638 h 1729012"/>
                <a:gd name="connsiteX293" fmla="*/ 1895478 w 2240198"/>
                <a:gd name="connsiteY293" fmla="*/ 1527163 h 1729012"/>
                <a:gd name="connsiteX294" fmla="*/ 1893561 w 2240198"/>
                <a:gd name="connsiteY294" fmla="*/ 1527793 h 1729012"/>
                <a:gd name="connsiteX295" fmla="*/ 1890399 w 2240198"/>
                <a:gd name="connsiteY295" fmla="*/ 1527090 h 1729012"/>
                <a:gd name="connsiteX296" fmla="*/ 1883922 w 2240198"/>
                <a:gd name="connsiteY296" fmla="*/ 1530235 h 1729012"/>
                <a:gd name="connsiteX297" fmla="*/ 1885769 w 2240198"/>
                <a:gd name="connsiteY297" fmla="*/ 1530603 h 1729012"/>
                <a:gd name="connsiteX298" fmla="*/ 1890910 w 2240198"/>
                <a:gd name="connsiteY298" fmla="*/ 1528796 h 1729012"/>
                <a:gd name="connsiteX299" fmla="*/ 1892664 w 2240198"/>
                <a:gd name="connsiteY299" fmla="*/ 1529000 h 1729012"/>
                <a:gd name="connsiteX300" fmla="*/ 1896453 w 2240198"/>
                <a:gd name="connsiteY300" fmla="*/ 1531332 h 1729012"/>
                <a:gd name="connsiteX301" fmla="*/ 1905602 w 2240198"/>
                <a:gd name="connsiteY301" fmla="*/ 1533839 h 1729012"/>
                <a:gd name="connsiteX302" fmla="*/ 1907977 w 2240198"/>
                <a:gd name="connsiteY302" fmla="*/ 1535496 h 1729012"/>
                <a:gd name="connsiteX303" fmla="*/ 1910240 w 2240198"/>
                <a:gd name="connsiteY303" fmla="*/ 1540777 h 1729012"/>
                <a:gd name="connsiteX304" fmla="*/ 1911742 w 2240198"/>
                <a:gd name="connsiteY304" fmla="*/ 1541620 h 1729012"/>
                <a:gd name="connsiteX305" fmla="*/ 1914880 w 2240198"/>
                <a:gd name="connsiteY305" fmla="*/ 1541072 h 1729012"/>
                <a:gd name="connsiteX306" fmla="*/ 1918417 w 2240198"/>
                <a:gd name="connsiteY306" fmla="*/ 1538462 h 1729012"/>
                <a:gd name="connsiteX307" fmla="*/ 1921353 w 2240198"/>
                <a:gd name="connsiteY307" fmla="*/ 1537063 h 1729012"/>
                <a:gd name="connsiteX308" fmla="*/ 1927097 w 2240198"/>
                <a:gd name="connsiteY308" fmla="*/ 1535914 h 1729012"/>
                <a:gd name="connsiteX309" fmla="*/ 1925963 w 2240198"/>
                <a:gd name="connsiteY309" fmla="*/ 1537651 h 1729012"/>
                <a:gd name="connsiteX310" fmla="*/ 1930334 w 2240198"/>
                <a:gd name="connsiteY310" fmla="*/ 1537516 h 1729012"/>
                <a:gd name="connsiteX311" fmla="*/ 1934664 w 2240198"/>
                <a:gd name="connsiteY311" fmla="*/ 1539851 h 1729012"/>
                <a:gd name="connsiteX312" fmla="*/ 1933064 w 2240198"/>
                <a:gd name="connsiteY312" fmla="*/ 1541507 h 1729012"/>
                <a:gd name="connsiteX313" fmla="*/ 1930888 w 2240198"/>
                <a:gd name="connsiteY313" fmla="*/ 1544845 h 1729012"/>
                <a:gd name="connsiteX314" fmla="*/ 1929365 w 2240198"/>
                <a:gd name="connsiteY314" fmla="*/ 1551319 h 1729012"/>
                <a:gd name="connsiteX315" fmla="*/ 1924955 w 2240198"/>
                <a:gd name="connsiteY315" fmla="*/ 1555649 h 1729012"/>
                <a:gd name="connsiteX316" fmla="*/ 1919053 w 2240198"/>
                <a:gd name="connsiteY316" fmla="*/ 1559900 h 1729012"/>
                <a:gd name="connsiteX317" fmla="*/ 1920541 w 2240198"/>
                <a:gd name="connsiteY317" fmla="*/ 1560924 h 1729012"/>
                <a:gd name="connsiteX318" fmla="*/ 1922268 w 2240198"/>
                <a:gd name="connsiteY318" fmla="*/ 1561554 h 1729012"/>
                <a:gd name="connsiteX319" fmla="*/ 1926065 w 2240198"/>
                <a:gd name="connsiteY319" fmla="*/ 1560296 h 1729012"/>
                <a:gd name="connsiteX320" fmla="*/ 1928599 w 2240198"/>
                <a:gd name="connsiteY320" fmla="*/ 1560381 h 1729012"/>
                <a:gd name="connsiteX321" fmla="*/ 1931414 w 2240198"/>
                <a:gd name="connsiteY321" fmla="*/ 1561194 h 1729012"/>
                <a:gd name="connsiteX322" fmla="*/ 1930541 w 2240198"/>
                <a:gd name="connsiteY322" fmla="*/ 1564491 h 1729012"/>
                <a:gd name="connsiteX323" fmla="*/ 1929529 w 2240198"/>
                <a:gd name="connsiteY323" fmla="*/ 1566725 h 1729012"/>
                <a:gd name="connsiteX324" fmla="*/ 1930117 w 2240198"/>
                <a:gd name="connsiteY324" fmla="*/ 1568805 h 1729012"/>
                <a:gd name="connsiteX325" fmla="*/ 1931787 w 2240198"/>
                <a:gd name="connsiteY325" fmla="*/ 1572769 h 1729012"/>
                <a:gd name="connsiteX326" fmla="*/ 1934090 w 2240198"/>
                <a:gd name="connsiteY326" fmla="*/ 1573637 h 1729012"/>
                <a:gd name="connsiteX327" fmla="*/ 1935013 w 2240198"/>
                <a:gd name="connsiteY327" fmla="*/ 1578708 h 1729012"/>
                <a:gd name="connsiteX328" fmla="*/ 1936233 w 2240198"/>
                <a:gd name="connsiteY328" fmla="*/ 1581468 h 1729012"/>
                <a:gd name="connsiteX329" fmla="*/ 1936069 w 2240198"/>
                <a:gd name="connsiteY329" fmla="*/ 1583681 h 1729012"/>
                <a:gd name="connsiteX330" fmla="*/ 1938376 w 2240198"/>
                <a:gd name="connsiteY330" fmla="*/ 1585096 h 1729012"/>
                <a:gd name="connsiteX331" fmla="*/ 1938765 w 2240198"/>
                <a:gd name="connsiteY331" fmla="*/ 1587354 h 1729012"/>
                <a:gd name="connsiteX332" fmla="*/ 1947124 w 2240198"/>
                <a:gd name="connsiteY332" fmla="*/ 1587993 h 1729012"/>
                <a:gd name="connsiteX333" fmla="*/ 1948818 w 2240198"/>
                <a:gd name="connsiteY333" fmla="*/ 1588861 h 1729012"/>
                <a:gd name="connsiteX334" fmla="*/ 1954627 w 2240198"/>
                <a:gd name="connsiteY334" fmla="*/ 1589719 h 1729012"/>
                <a:gd name="connsiteX335" fmla="*/ 1955725 w 2240198"/>
                <a:gd name="connsiteY335" fmla="*/ 1590341 h 1729012"/>
                <a:gd name="connsiteX336" fmla="*/ 1956757 w 2240198"/>
                <a:gd name="connsiteY336" fmla="*/ 1591579 h 1729012"/>
                <a:gd name="connsiteX337" fmla="*/ 1951066 w 2240198"/>
                <a:gd name="connsiteY337" fmla="*/ 1594299 h 1729012"/>
                <a:gd name="connsiteX338" fmla="*/ 1955673 w 2240198"/>
                <a:gd name="connsiteY338" fmla="*/ 1596265 h 1729012"/>
                <a:gd name="connsiteX339" fmla="*/ 1960030 w 2240198"/>
                <a:gd name="connsiteY339" fmla="*/ 1599468 h 1729012"/>
                <a:gd name="connsiteX340" fmla="*/ 1963457 w 2240198"/>
                <a:gd name="connsiteY340" fmla="*/ 1598837 h 1729012"/>
                <a:gd name="connsiteX341" fmla="*/ 1964940 w 2240198"/>
                <a:gd name="connsiteY341" fmla="*/ 1598940 h 1729012"/>
                <a:gd name="connsiteX342" fmla="*/ 1968774 w 2240198"/>
                <a:gd name="connsiteY342" fmla="*/ 1600945 h 1729012"/>
                <a:gd name="connsiteX343" fmla="*/ 1969842 w 2240198"/>
                <a:gd name="connsiteY343" fmla="*/ 1601937 h 1729012"/>
                <a:gd name="connsiteX344" fmla="*/ 1970428 w 2240198"/>
                <a:gd name="connsiteY344" fmla="*/ 1602819 h 1729012"/>
                <a:gd name="connsiteX345" fmla="*/ 1972352 w 2240198"/>
                <a:gd name="connsiteY345" fmla="*/ 1602630 h 1729012"/>
                <a:gd name="connsiteX346" fmla="*/ 1975116 w 2240198"/>
                <a:gd name="connsiteY346" fmla="*/ 1601857 h 1729012"/>
                <a:gd name="connsiteX347" fmla="*/ 1980114 w 2240198"/>
                <a:gd name="connsiteY347" fmla="*/ 1602048 h 1729012"/>
                <a:gd name="connsiteX348" fmla="*/ 1985442 w 2240198"/>
                <a:gd name="connsiteY348" fmla="*/ 1603179 h 1729012"/>
                <a:gd name="connsiteX349" fmla="*/ 1984994 w 2240198"/>
                <a:gd name="connsiteY349" fmla="*/ 1604902 h 1729012"/>
                <a:gd name="connsiteX350" fmla="*/ 1984189 w 2240198"/>
                <a:gd name="connsiteY350" fmla="*/ 1606094 h 1729012"/>
                <a:gd name="connsiteX351" fmla="*/ 1988358 w 2240198"/>
                <a:gd name="connsiteY351" fmla="*/ 1605701 h 1729012"/>
                <a:gd name="connsiteX352" fmla="*/ 1990960 w 2240198"/>
                <a:gd name="connsiteY352" fmla="*/ 1606926 h 1729012"/>
                <a:gd name="connsiteX353" fmla="*/ 1991867 w 2240198"/>
                <a:gd name="connsiteY353" fmla="*/ 1606337 h 1729012"/>
                <a:gd name="connsiteX354" fmla="*/ 1992510 w 2240198"/>
                <a:gd name="connsiteY354" fmla="*/ 1605576 h 1729012"/>
                <a:gd name="connsiteX355" fmla="*/ 1997688 w 2240198"/>
                <a:gd name="connsiteY355" fmla="*/ 1603485 h 1729012"/>
                <a:gd name="connsiteX356" fmla="*/ 2004336 w 2240198"/>
                <a:gd name="connsiteY356" fmla="*/ 1599146 h 1729012"/>
                <a:gd name="connsiteX357" fmla="*/ 2005146 w 2240198"/>
                <a:gd name="connsiteY357" fmla="*/ 1599684 h 1729012"/>
                <a:gd name="connsiteX358" fmla="*/ 2005449 w 2240198"/>
                <a:gd name="connsiteY358" fmla="*/ 1601329 h 1729012"/>
                <a:gd name="connsiteX359" fmla="*/ 2006321 w 2240198"/>
                <a:gd name="connsiteY359" fmla="*/ 1604011 h 1729012"/>
                <a:gd name="connsiteX360" fmla="*/ 2008875 w 2240198"/>
                <a:gd name="connsiteY360" fmla="*/ 1605860 h 1729012"/>
                <a:gd name="connsiteX361" fmla="*/ 2011908 w 2240198"/>
                <a:gd name="connsiteY361" fmla="*/ 1606284 h 1729012"/>
                <a:gd name="connsiteX362" fmla="*/ 2016082 w 2240198"/>
                <a:gd name="connsiteY362" fmla="*/ 1604870 h 1729012"/>
                <a:gd name="connsiteX363" fmla="*/ 2017721 w 2240198"/>
                <a:gd name="connsiteY363" fmla="*/ 1606092 h 1729012"/>
                <a:gd name="connsiteX364" fmla="*/ 2019677 w 2240198"/>
                <a:gd name="connsiteY364" fmla="*/ 1608445 h 1729012"/>
                <a:gd name="connsiteX365" fmla="*/ 2021540 w 2240198"/>
                <a:gd name="connsiteY365" fmla="*/ 1611523 h 1729012"/>
                <a:gd name="connsiteX366" fmla="*/ 2021415 w 2240198"/>
                <a:gd name="connsiteY366" fmla="*/ 1612623 h 1729012"/>
                <a:gd name="connsiteX367" fmla="*/ 2019027 w 2240198"/>
                <a:gd name="connsiteY367" fmla="*/ 1613582 h 1729012"/>
                <a:gd name="connsiteX368" fmla="*/ 2016876 w 2240198"/>
                <a:gd name="connsiteY368" fmla="*/ 1614964 h 1729012"/>
                <a:gd name="connsiteX369" fmla="*/ 2025858 w 2240198"/>
                <a:gd name="connsiteY369" fmla="*/ 1615531 h 1729012"/>
                <a:gd name="connsiteX370" fmla="*/ 2026770 w 2240198"/>
                <a:gd name="connsiteY370" fmla="*/ 1616112 h 1729012"/>
                <a:gd name="connsiteX371" fmla="*/ 2027765 w 2240198"/>
                <a:gd name="connsiteY371" fmla="*/ 1617320 h 1729012"/>
                <a:gd name="connsiteX372" fmla="*/ 2026849 w 2240198"/>
                <a:gd name="connsiteY372" fmla="*/ 1618544 h 1729012"/>
                <a:gd name="connsiteX373" fmla="*/ 2026001 w 2240198"/>
                <a:gd name="connsiteY373" fmla="*/ 1619153 h 1729012"/>
                <a:gd name="connsiteX374" fmla="*/ 2024372 w 2240198"/>
                <a:gd name="connsiteY374" fmla="*/ 1618441 h 1729012"/>
                <a:gd name="connsiteX375" fmla="*/ 2021369 w 2240198"/>
                <a:gd name="connsiteY375" fmla="*/ 1619089 h 1729012"/>
                <a:gd name="connsiteX376" fmla="*/ 2018745 w 2240198"/>
                <a:gd name="connsiteY376" fmla="*/ 1620672 h 1729012"/>
                <a:gd name="connsiteX377" fmla="*/ 2015940 w 2240198"/>
                <a:gd name="connsiteY377" fmla="*/ 1621553 h 1729012"/>
                <a:gd name="connsiteX378" fmla="*/ 2014143 w 2240198"/>
                <a:gd name="connsiteY378" fmla="*/ 1621654 h 1729012"/>
                <a:gd name="connsiteX379" fmla="*/ 2012149 w 2240198"/>
                <a:gd name="connsiteY379" fmla="*/ 1622384 h 1729012"/>
                <a:gd name="connsiteX380" fmla="*/ 2010328 w 2240198"/>
                <a:gd name="connsiteY380" fmla="*/ 1623515 h 1729012"/>
                <a:gd name="connsiteX381" fmla="*/ 2008434 w 2240198"/>
                <a:gd name="connsiteY381" fmla="*/ 1623831 h 1729012"/>
                <a:gd name="connsiteX382" fmla="*/ 2002528 w 2240198"/>
                <a:gd name="connsiteY382" fmla="*/ 1626651 h 1729012"/>
                <a:gd name="connsiteX383" fmla="*/ 1996488 w 2240198"/>
                <a:gd name="connsiteY383" fmla="*/ 1628469 h 1729012"/>
                <a:gd name="connsiteX384" fmla="*/ 1990175 w 2240198"/>
                <a:gd name="connsiteY384" fmla="*/ 1631375 h 1729012"/>
                <a:gd name="connsiteX385" fmla="*/ 1983733 w 2240198"/>
                <a:gd name="connsiteY385" fmla="*/ 1633206 h 1729012"/>
                <a:gd name="connsiteX386" fmla="*/ 1977045 w 2240198"/>
                <a:gd name="connsiteY386" fmla="*/ 1635404 h 1729012"/>
                <a:gd name="connsiteX387" fmla="*/ 1975589 w 2240198"/>
                <a:gd name="connsiteY387" fmla="*/ 1635599 h 1729012"/>
                <a:gd name="connsiteX388" fmla="*/ 1973904 w 2240198"/>
                <a:gd name="connsiteY388" fmla="*/ 1635513 h 1729012"/>
                <a:gd name="connsiteX389" fmla="*/ 1970085 w 2240198"/>
                <a:gd name="connsiteY389" fmla="*/ 1637660 h 1729012"/>
                <a:gd name="connsiteX390" fmla="*/ 1968196 w 2240198"/>
                <a:gd name="connsiteY390" fmla="*/ 1637368 h 1729012"/>
                <a:gd name="connsiteX391" fmla="*/ 1966268 w 2240198"/>
                <a:gd name="connsiteY391" fmla="*/ 1637742 h 1729012"/>
                <a:gd name="connsiteX392" fmla="*/ 1964050 w 2240198"/>
                <a:gd name="connsiteY392" fmla="*/ 1637270 h 1729012"/>
                <a:gd name="connsiteX393" fmla="*/ 1962536 w 2240198"/>
                <a:gd name="connsiteY393" fmla="*/ 1636391 h 1729012"/>
                <a:gd name="connsiteX394" fmla="*/ 1963697 w 2240198"/>
                <a:gd name="connsiteY394" fmla="*/ 1638658 h 1729012"/>
                <a:gd name="connsiteX395" fmla="*/ 1964037 w 2240198"/>
                <a:gd name="connsiteY395" fmla="*/ 1640744 h 1729012"/>
                <a:gd name="connsiteX396" fmla="*/ 1963457 w 2240198"/>
                <a:gd name="connsiteY396" fmla="*/ 1641658 h 1729012"/>
                <a:gd name="connsiteX397" fmla="*/ 1962391 w 2240198"/>
                <a:gd name="connsiteY397" fmla="*/ 1642734 h 1729012"/>
                <a:gd name="connsiteX398" fmla="*/ 1958553 w 2240198"/>
                <a:gd name="connsiteY398" fmla="*/ 1642533 h 1729012"/>
                <a:gd name="connsiteX399" fmla="*/ 1957044 w 2240198"/>
                <a:gd name="connsiteY399" fmla="*/ 1641778 h 1729012"/>
                <a:gd name="connsiteX400" fmla="*/ 1955251 w 2240198"/>
                <a:gd name="connsiteY400" fmla="*/ 1640664 h 1729012"/>
                <a:gd name="connsiteX401" fmla="*/ 1954430 w 2240198"/>
                <a:gd name="connsiteY401" fmla="*/ 1638869 h 1729012"/>
                <a:gd name="connsiteX402" fmla="*/ 1952503 w 2240198"/>
                <a:gd name="connsiteY402" fmla="*/ 1637587 h 1729012"/>
                <a:gd name="connsiteX403" fmla="*/ 1951357 w 2240198"/>
                <a:gd name="connsiteY403" fmla="*/ 1639367 h 1729012"/>
                <a:gd name="connsiteX404" fmla="*/ 1951364 w 2240198"/>
                <a:gd name="connsiteY404" fmla="*/ 1640694 h 1729012"/>
                <a:gd name="connsiteX405" fmla="*/ 1949937 w 2240198"/>
                <a:gd name="connsiteY405" fmla="*/ 1642501 h 1729012"/>
                <a:gd name="connsiteX406" fmla="*/ 1948261 w 2240198"/>
                <a:gd name="connsiteY406" fmla="*/ 1639406 h 1729012"/>
                <a:gd name="connsiteX407" fmla="*/ 1945241 w 2240198"/>
                <a:gd name="connsiteY407" fmla="*/ 1640539 h 1729012"/>
                <a:gd name="connsiteX408" fmla="*/ 1943911 w 2240198"/>
                <a:gd name="connsiteY408" fmla="*/ 1643828 h 1729012"/>
                <a:gd name="connsiteX409" fmla="*/ 1944578 w 2240198"/>
                <a:gd name="connsiteY409" fmla="*/ 1644767 h 1729012"/>
                <a:gd name="connsiteX410" fmla="*/ 1945505 w 2240198"/>
                <a:gd name="connsiteY410" fmla="*/ 1647279 h 1729012"/>
                <a:gd name="connsiteX411" fmla="*/ 1944012 w 2240198"/>
                <a:gd name="connsiteY411" fmla="*/ 1648590 h 1729012"/>
                <a:gd name="connsiteX412" fmla="*/ 1942906 w 2240198"/>
                <a:gd name="connsiteY412" fmla="*/ 1648229 h 1729012"/>
                <a:gd name="connsiteX413" fmla="*/ 1940609 w 2240198"/>
                <a:gd name="connsiteY413" fmla="*/ 1651912 h 1729012"/>
                <a:gd name="connsiteX414" fmla="*/ 1937828 w 2240198"/>
                <a:gd name="connsiteY414" fmla="*/ 1653253 h 1729012"/>
                <a:gd name="connsiteX415" fmla="*/ 1934959 w 2240198"/>
                <a:gd name="connsiteY415" fmla="*/ 1657001 h 1729012"/>
                <a:gd name="connsiteX416" fmla="*/ 1931560 w 2240198"/>
                <a:gd name="connsiteY416" fmla="*/ 1659854 h 1729012"/>
                <a:gd name="connsiteX417" fmla="*/ 1930630 w 2240198"/>
                <a:gd name="connsiteY417" fmla="*/ 1661760 h 1729012"/>
                <a:gd name="connsiteX418" fmla="*/ 1924938 w 2240198"/>
                <a:gd name="connsiteY418" fmla="*/ 1666117 h 1729012"/>
                <a:gd name="connsiteX419" fmla="*/ 1922776 w 2240198"/>
                <a:gd name="connsiteY419" fmla="*/ 1665987 h 1729012"/>
                <a:gd name="connsiteX420" fmla="*/ 1921182 w 2240198"/>
                <a:gd name="connsiteY420" fmla="*/ 1666130 h 1729012"/>
                <a:gd name="connsiteX421" fmla="*/ 1918782 w 2240198"/>
                <a:gd name="connsiteY421" fmla="*/ 1667945 h 1729012"/>
                <a:gd name="connsiteX422" fmla="*/ 1918409 w 2240198"/>
                <a:gd name="connsiteY422" fmla="*/ 1671608 h 1729012"/>
                <a:gd name="connsiteX423" fmla="*/ 1917350 w 2240198"/>
                <a:gd name="connsiteY423" fmla="*/ 1671124 h 1729012"/>
                <a:gd name="connsiteX424" fmla="*/ 1916274 w 2240198"/>
                <a:gd name="connsiteY424" fmla="*/ 1671244 h 1729012"/>
                <a:gd name="connsiteX425" fmla="*/ 1915718 w 2240198"/>
                <a:gd name="connsiteY425" fmla="*/ 1672393 h 1729012"/>
                <a:gd name="connsiteX426" fmla="*/ 1914926 w 2240198"/>
                <a:gd name="connsiteY426" fmla="*/ 1672583 h 1729012"/>
                <a:gd name="connsiteX427" fmla="*/ 1912827 w 2240198"/>
                <a:gd name="connsiteY427" fmla="*/ 1671495 h 1729012"/>
                <a:gd name="connsiteX428" fmla="*/ 1910355 w 2240198"/>
                <a:gd name="connsiteY428" fmla="*/ 1672089 h 1729012"/>
                <a:gd name="connsiteX429" fmla="*/ 1908423 w 2240198"/>
                <a:gd name="connsiteY429" fmla="*/ 1671264 h 1729012"/>
                <a:gd name="connsiteX430" fmla="*/ 1905959 w 2240198"/>
                <a:gd name="connsiteY430" fmla="*/ 1665895 h 1729012"/>
                <a:gd name="connsiteX431" fmla="*/ 1904650 w 2240198"/>
                <a:gd name="connsiteY431" fmla="*/ 1664011 h 1729012"/>
                <a:gd name="connsiteX432" fmla="*/ 1902330 w 2240198"/>
                <a:gd name="connsiteY432" fmla="*/ 1663404 h 1729012"/>
                <a:gd name="connsiteX433" fmla="*/ 1901728 w 2240198"/>
                <a:gd name="connsiteY433" fmla="*/ 1664541 h 1729012"/>
                <a:gd name="connsiteX434" fmla="*/ 1900828 w 2240198"/>
                <a:gd name="connsiteY434" fmla="*/ 1665653 h 1729012"/>
                <a:gd name="connsiteX435" fmla="*/ 1898594 w 2240198"/>
                <a:gd name="connsiteY435" fmla="*/ 1663436 h 1729012"/>
                <a:gd name="connsiteX436" fmla="*/ 1896902 w 2240198"/>
                <a:gd name="connsiteY436" fmla="*/ 1655190 h 1729012"/>
                <a:gd name="connsiteX437" fmla="*/ 1896888 w 2240198"/>
                <a:gd name="connsiteY437" fmla="*/ 1653197 h 1729012"/>
                <a:gd name="connsiteX438" fmla="*/ 1899258 w 2240198"/>
                <a:gd name="connsiteY438" fmla="*/ 1646239 h 1729012"/>
                <a:gd name="connsiteX439" fmla="*/ 1905129 w 2240198"/>
                <a:gd name="connsiteY439" fmla="*/ 1639963 h 1729012"/>
                <a:gd name="connsiteX440" fmla="*/ 1903256 w 2240198"/>
                <a:gd name="connsiteY440" fmla="*/ 1639752 h 1729012"/>
                <a:gd name="connsiteX441" fmla="*/ 1898071 w 2240198"/>
                <a:gd name="connsiteY441" fmla="*/ 1644107 h 1729012"/>
                <a:gd name="connsiteX442" fmla="*/ 1898606 w 2240198"/>
                <a:gd name="connsiteY442" fmla="*/ 1643054 h 1729012"/>
                <a:gd name="connsiteX443" fmla="*/ 1899485 w 2240198"/>
                <a:gd name="connsiteY443" fmla="*/ 1641955 h 1729012"/>
                <a:gd name="connsiteX444" fmla="*/ 1901233 w 2240198"/>
                <a:gd name="connsiteY444" fmla="*/ 1640185 h 1729012"/>
                <a:gd name="connsiteX445" fmla="*/ 1903886 w 2240198"/>
                <a:gd name="connsiteY445" fmla="*/ 1638519 h 1729012"/>
                <a:gd name="connsiteX446" fmla="*/ 1907419 w 2240198"/>
                <a:gd name="connsiteY446" fmla="*/ 1637547 h 1729012"/>
                <a:gd name="connsiteX447" fmla="*/ 1909850 w 2240198"/>
                <a:gd name="connsiteY447" fmla="*/ 1637399 h 1729012"/>
                <a:gd name="connsiteX448" fmla="*/ 1911526 w 2240198"/>
                <a:gd name="connsiteY448" fmla="*/ 1636479 h 1729012"/>
                <a:gd name="connsiteX449" fmla="*/ 1913953 w 2240198"/>
                <a:gd name="connsiteY449" fmla="*/ 1634846 h 1729012"/>
                <a:gd name="connsiteX450" fmla="*/ 1914404 w 2240198"/>
                <a:gd name="connsiteY450" fmla="*/ 1633979 h 1729012"/>
                <a:gd name="connsiteX451" fmla="*/ 1912252 w 2240198"/>
                <a:gd name="connsiteY451" fmla="*/ 1634975 h 1729012"/>
                <a:gd name="connsiteX452" fmla="*/ 1908674 w 2240198"/>
                <a:gd name="connsiteY452" fmla="*/ 1635957 h 1729012"/>
                <a:gd name="connsiteX453" fmla="*/ 1909591 w 2240198"/>
                <a:gd name="connsiteY453" fmla="*/ 1634670 h 1729012"/>
                <a:gd name="connsiteX454" fmla="*/ 1910487 w 2240198"/>
                <a:gd name="connsiteY454" fmla="*/ 1633981 h 1729012"/>
                <a:gd name="connsiteX455" fmla="*/ 1929600 w 2240198"/>
                <a:gd name="connsiteY455" fmla="*/ 1622689 h 1729012"/>
                <a:gd name="connsiteX456" fmla="*/ 1933446 w 2240198"/>
                <a:gd name="connsiteY456" fmla="*/ 1620825 h 1729012"/>
                <a:gd name="connsiteX457" fmla="*/ 1941114 w 2240198"/>
                <a:gd name="connsiteY457" fmla="*/ 1618442 h 1729012"/>
                <a:gd name="connsiteX458" fmla="*/ 1942179 w 2240198"/>
                <a:gd name="connsiteY458" fmla="*/ 1616881 h 1729012"/>
                <a:gd name="connsiteX459" fmla="*/ 1941132 w 2240198"/>
                <a:gd name="connsiteY459" fmla="*/ 1615883 h 1729012"/>
                <a:gd name="connsiteX460" fmla="*/ 1944109 w 2240198"/>
                <a:gd name="connsiteY460" fmla="*/ 1616768 h 1729012"/>
                <a:gd name="connsiteX461" fmla="*/ 1943863 w 2240198"/>
                <a:gd name="connsiteY461" fmla="*/ 1618060 h 1729012"/>
                <a:gd name="connsiteX462" fmla="*/ 1943396 w 2240198"/>
                <a:gd name="connsiteY462" fmla="*/ 1619003 h 1729012"/>
                <a:gd name="connsiteX463" fmla="*/ 1943222 w 2240198"/>
                <a:gd name="connsiteY463" fmla="*/ 1620603 h 1729012"/>
                <a:gd name="connsiteX464" fmla="*/ 1943513 w 2240198"/>
                <a:gd name="connsiteY464" fmla="*/ 1622142 h 1729012"/>
                <a:gd name="connsiteX465" fmla="*/ 1946536 w 2240198"/>
                <a:gd name="connsiteY465" fmla="*/ 1622893 h 1729012"/>
                <a:gd name="connsiteX466" fmla="*/ 1949060 w 2240198"/>
                <a:gd name="connsiteY466" fmla="*/ 1625756 h 1729012"/>
                <a:gd name="connsiteX467" fmla="*/ 1947863 w 2240198"/>
                <a:gd name="connsiteY467" fmla="*/ 1621867 h 1729012"/>
                <a:gd name="connsiteX468" fmla="*/ 1950133 w 2240198"/>
                <a:gd name="connsiteY468" fmla="*/ 1619666 h 1729012"/>
                <a:gd name="connsiteX469" fmla="*/ 1958877 w 2240198"/>
                <a:gd name="connsiteY469" fmla="*/ 1616718 h 1729012"/>
                <a:gd name="connsiteX470" fmla="*/ 1966182 w 2240198"/>
                <a:gd name="connsiteY470" fmla="*/ 1616397 h 1729012"/>
                <a:gd name="connsiteX471" fmla="*/ 1968520 w 2240198"/>
                <a:gd name="connsiteY471" fmla="*/ 1615023 h 1729012"/>
                <a:gd name="connsiteX472" fmla="*/ 1962271 w 2240198"/>
                <a:gd name="connsiteY472" fmla="*/ 1614100 h 1729012"/>
                <a:gd name="connsiteX473" fmla="*/ 1954868 w 2240198"/>
                <a:gd name="connsiteY473" fmla="*/ 1614603 h 1729012"/>
                <a:gd name="connsiteX474" fmla="*/ 1950286 w 2240198"/>
                <a:gd name="connsiteY474" fmla="*/ 1613573 h 1729012"/>
                <a:gd name="connsiteX475" fmla="*/ 1943965 w 2240198"/>
                <a:gd name="connsiteY475" fmla="*/ 1614245 h 1729012"/>
                <a:gd name="connsiteX476" fmla="*/ 1937276 w 2240198"/>
                <a:gd name="connsiteY476" fmla="*/ 1613599 h 1729012"/>
                <a:gd name="connsiteX477" fmla="*/ 1935225 w 2240198"/>
                <a:gd name="connsiteY477" fmla="*/ 1614452 h 1729012"/>
                <a:gd name="connsiteX478" fmla="*/ 1933562 w 2240198"/>
                <a:gd name="connsiteY478" fmla="*/ 1616295 h 1729012"/>
                <a:gd name="connsiteX479" fmla="*/ 1931401 w 2240198"/>
                <a:gd name="connsiteY479" fmla="*/ 1615481 h 1729012"/>
                <a:gd name="connsiteX480" fmla="*/ 1930356 w 2240198"/>
                <a:gd name="connsiteY480" fmla="*/ 1615345 h 1729012"/>
                <a:gd name="connsiteX481" fmla="*/ 1929348 w 2240198"/>
                <a:gd name="connsiteY481" fmla="*/ 1614708 h 1729012"/>
                <a:gd name="connsiteX482" fmla="*/ 1931516 w 2240198"/>
                <a:gd name="connsiteY482" fmla="*/ 1611537 h 1729012"/>
                <a:gd name="connsiteX483" fmla="*/ 1938295 w 2240198"/>
                <a:gd name="connsiteY483" fmla="*/ 1606811 h 1729012"/>
                <a:gd name="connsiteX484" fmla="*/ 1942427 w 2240198"/>
                <a:gd name="connsiteY484" fmla="*/ 1602696 h 1729012"/>
                <a:gd name="connsiteX485" fmla="*/ 1943592 w 2240198"/>
                <a:gd name="connsiteY485" fmla="*/ 1601832 h 1729012"/>
                <a:gd name="connsiteX486" fmla="*/ 1944517 w 2240198"/>
                <a:gd name="connsiteY486" fmla="*/ 1600173 h 1729012"/>
                <a:gd name="connsiteX487" fmla="*/ 1942250 w 2240198"/>
                <a:gd name="connsiteY487" fmla="*/ 1600451 h 1729012"/>
                <a:gd name="connsiteX488" fmla="*/ 1940268 w 2240198"/>
                <a:gd name="connsiteY488" fmla="*/ 1601101 h 1729012"/>
                <a:gd name="connsiteX489" fmla="*/ 1938896 w 2240198"/>
                <a:gd name="connsiteY489" fmla="*/ 1599196 h 1729012"/>
                <a:gd name="connsiteX490" fmla="*/ 1936452 w 2240198"/>
                <a:gd name="connsiteY490" fmla="*/ 1596664 h 1729012"/>
                <a:gd name="connsiteX491" fmla="*/ 1936216 w 2240198"/>
                <a:gd name="connsiteY491" fmla="*/ 1597718 h 1729012"/>
                <a:gd name="connsiteX492" fmla="*/ 1937443 w 2240198"/>
                <a:gd name="connsiteY492" fmla="*/ 1600869 h 1729012"/>
                <a:gd name="connsiteX493" fmla="*/ 1932755 w 2240198"/>
                <a:gd name="connsiteY493" fmla="*/ 1606402 h 1729012"/>
                <a:gd name="connsiteX494" fmla="*/ 1929728 w 2240198"/>
                <a:gd name="connsiteY494" fmla="*/ 1606796 h 1729012"/>
                <a:gd name="connsiteX495" fmla="*/ 1925686 w 2240198"/>
                <a:gd name="connsiteY495" fmla="*/ 1609372 h 1729012"/>
                <a:gd name="connsiteX496" fmla="*/ 1919980 w 2240198"/>
                <a:gd name="connsiteY496" fmla="*/ 1611614 h 1729012"/>
                <a:gd name="connsiteX497" fmla="*/ 1913319 w 2240198"/>
                <a:gd name="connsiteY497" fmla="*/ 1615888 h 1729012"/>
                <a:gd name="connsiteX498" fmla="*/ 1904712 w 2240198"/>
                <a:gd name="connsiteY498" fmla="*/ 1619484 h 1729012"/>
                <a:gd name="connsiteX499" fmla="*/ 1902908 w 2240198"/>
                <a:gd name="connsiteY499" fmla="*/ 1619498 h 1729012"/>
                <a:gd name="connsiteX500" fmla="*/ 1899000 w 2240198"/>
                <a:gd name="connsiteY500" fmla="*/ 1616539 h 1729012"/>
                <a:gd name="connsiteX501" fmla="*/ 1900093 w 2240198"/>
                <a:gd name="connsiteY501" fmla="*/ 1615191 h 1729012"/>
                <a:gd name="connsiteX502" fmla="*/ 1901109 w 2240198"/>
                <a:gd name="connsiteY502" fmla="*/ 1613362 h 1729012"/>
                <a:gd name="connsiteX503" fmla="*/ 1900138 w 2240198"/>
                <a:gd name="connsiteY503" fmla="*/ 1613889 h 1729012"/>
                <a:gd name="connsiteX504" fmla="*/ 1899507 w 2240198"/>
                <a:gd name="connsiteY504" fmla="*/ 1614682 h 1729012"/>
                <a:gd name="connsiteX505" fmla="*/ 1897149 w 2240198"/>
                <a:gd name="connsiteY505" fmla="*/ 1615955 h 1729012"/>
                <a:gd name="connsiteX506" fmla="*/ 1899062 w 2240198"/>
                <a:gd name="connsiteY506" fmla="*/ 1618414 h 1729012"/>
                <a:gd name="connsiteX507" fmla="*/ 1898138 w 2240198"/>
                <a:gd name="connsiteY507" fmla="*/ 1619336 h 1729012"/>
                <a:gd name="connsiteX508" fmla="*/ 1895404 w 2240198"/>
                <a:gd name="connsiteY508" fmla="*/ 1620548 h 1729012"/>
                <a:gd name="connsiteX509" fmla="*/ 1892858 w 2240198"/>
                <a:gd name="connsiteY509" fmla="*/ 1622301 h 1729012"/>
                <a:gd name="connsiteX510" fmla="*/ 1890630 w 2240198"/>
                <a:gd name="connsiteY510" fmla="*/ 1623471 h 1729012"/>
                <a:gd name="connsiteX511" fmla="*/ 1888828 w 2240198"/>
                <a:gd name="connsiteY511" fmla="*/ 1621982 h 1729012"/>
                <a:gd name="connsiteX512" fmla="*/ 1883851 w 2240198"/>
                <a:gd name="connsiteY512" fmla="*/ 1623863 h 1729012"/>
                <a:gd name="connsiteX513" fmla="*/ 1879661 w 2240198"/>
                <a:gd name="connsiteY513" fmla="*/ 1624368 h 1729012"/>
                <a:gd name="connsiteX514" fmla="*/ 1878754 w 2240198"/>
                <a:gd name="connsiteY514" fmla="*/ 1623416 h 1729012"/>
                <a:gd name="connsiteX515" fmla="*/ 1878488 w 2240198"/>
                <a:gd name="connsiteY515" fmla="*/ 1621911 h 1729012"/>
                <a:gd name="connsiteX516" fmla="*/ 1877021 w 2240198"/>
                <a:gd name="connsiteY516" fmla="*/ 1621548 h 1729012"/>
                <a:gd name="connsiteX517" fmla="*/ 1874294 w 2240198"/>
                <a:gd name="connsiteY517" fmla="*/ 1621963 h 1729012"/>
                <a:gd name="connsiteX518" fmla="*/ 1873261 w 2240198"/>
                <a:gd name="connsiteY518" fmla="*/ 1621163 h 1729012"/>
                <a:gd name="connsiteX519" fmla="*/ 1872091 w 2240198"/>
                <a:gd name="connsiteY519" fmla="*/ 1620768 h 1729012"/>
                <a:gd name="connsiteX520" fmla="*/ 1871019 w 2240198"/>
                <a:gd name="connsiteY520" fmla="*/ 1620437 h 1729012"/>
                <a:gd name="connsiteX521" fmla="*/ 1870097 w 2240198"/>
                <a:gd name="connsiteY521" fmla="*/ 1620179 h 1729012"/>
                <a:gd name="connsiteX522" fmla="*/ 1869563 w 2240198"/>
                <a:gd name="connsiteY522" fmla="*/ 1620621 h 1729012"/>
                <a:gd name="connsiteX523" fmla="*/ 1869056 w 2240198"/>
                <a:gd name="connsiteY523" fmla="*/ 1621210 h 1729012"/>
                <a:gd name="connsiteX524" fmla="*/ 1868432 w 2240198"/>
                <a:gd name="connsiteY524" fmla="*/ 1621654 h 1729012"/>
                <a:gd name="connsiteX525" fmla="*/ 1867122 w 2240198"/>
                <a:gd name="connsiteY525" fmla="*/ 1621027 h 1729012"/>
                <a:gd name="connsiteX526" fmla="*/ 1866289 w 2240198"/>
                <a:gd name="connsiteY526" fmla="*/ 1619884 h 1729012"/>
                <a:gd name="connsiteX527" fmla="*/ 1864951 w 2240198"/>
                <a:gd name="connsiteY527" fmla="*/ 1618706 h 1729012"/>
                <a:gd name="connsiteX528" fmla="*/ 1864444 w 2240198"/>
                <a:gd name="connsiteY528" fmla="*/ 1617819 h 1729012"/>
                <a:gd name="connsiteX529" fmla="*/ 1864713 w 2240198"/>
                <a:gd name="connsiteY529" fmla="*/ 1616787 h 1729012"/>
                <a:gd name="connsiteX530" fmla="*/ 1865307 w 2240198"/>
                <a:gd name="connsiteY530" fmla="*/ 1615791 h 1729012"/>
                <a:gd name="connsiteX531" fmla="*/ 1865576 w 2240198"/>
                <a:gd name="connsiteY531" fmla="*/ 1614611 h 1729012"/>
                <a:gd name="connsiteX532" fmla="*/ 1864921 w 2240198"/>
                <a:gd name="connsiteY532" fmla="*/ 1613247 h 1729012"/>
                <a:gd name="connsiteX533" fmla="*/ 1864326 w 2240198"/>
                <a:gd name="connsiteY533" fmla="*/ 1612471 h 1729012"/>
                <a:gd name="connsiteX534" fmla="*/ 1863909 w 2240198"/>
                <a:gd name="connsiteY534" fmla="*/ 1611583 h 1729012"/>
                <a:gd name="connsiteX535" fmla="*/ 1864058 w 2240198"/>
                <a:gd name="connsiteY535" fmla="*/ 1610735 h 1729012"/>
                <a:gd name="connsiteX536" fmla="*/ 1864891 w 2240198"/>
                <a:gd name="connsiteY536" fmla="*/ 1610326 h 1729012"/>
                <a:gd name="connsiteX537" fmla="*/ 1865665 w 2240198"/>
                <a:gd name="connsiteY537" fmla="*/ 1609808 h 1729012"/>
                <a:gd name="connsiteX538" fmla="*/ 1865932 w 2240198"/>
                <a:gd name="connsiteY538" fmla="*/ 1608700 h 1729012"/>
                <a:gd name="connsiteX539" fmla="*/ 1865456 w 2240198"/>
                <a:gd name="connsiteY539" fmla="*/ 1607517 h 1729012"/>
                <a:gd name="connsiteX540" fmla="*/ 1864087 w 2240198"/>
                <a:gd name="connsiteY540" fmla="*/ 1607034 h 1729012"/>
                <a:gd name="connsiteX541" fmla="*/ 1862956 w 2240198"/>
                <a:gd name="connsiteY541" fmla="*/ 1607219 h 1729012"/>
                <a:gd name="connsiteX542" fmla="*/ 1861320 w 2240198"/>
                <a:gd name="connsiteY542" fmla="*/ 1606961 h 1729012"/>
                <a:gd name="connsiteX543" fmla="*/ 1859744 w 2240198"/>
                <a:gd name="connsiteY543" fmla="*/ 1606221 h 1729012"/>
                <a:gd name="connsiteX544" fmla="*/ 1858703 w 2240198"/>
                <a:gd name="connsiteY544" fmla="*/ 1605369 h 1729012"/>
                <a:gd name="connsiteX545" fmla="*/ 1857899 w 2240198"/>
                <a:gd name="connsiteY545" fmla="*/ 1604886 h 1729012"/>
                <a:gd name="connsiteX546" fmla="*/ 1857274 w 2240198"/>
                <a:gd name="connsiteY546" fmla="*/ 1604886 h 1729012"/>
                <a:gd name="connsiteX547" fmla="*/ 1856530 w 2240198"/>
                <a:gd name="connsiteY547" fmla="*/ 1604406 h 1729012"/>
                <a:gd name="connsiteX548" fmla="*/ 1856084 w 2240198"/>
                <a:gd name="connsiteY548" fmla="*/ 1603591 h 1729012"/>
                <a:gd name="connsiteX549" fmla="*/ 1856144 w 2240198"/>
                <a:gd name="connsiteY549" fmla="*/ 1602256 h 1729012"/>
                <a:gd name="connsiteX550" fmla="*/ 1856351 w 2240198"/>
                <a:gd name="connsiteY550" fmla="*/ 1601442 h 1729012"/>
                <a:gd name="connsiteX551" fmla="*/ 1856768 w 2240198"/>
                <a:gd name="connsiteY551" fmla="*/ 1600736 h 1729012"/>
                <a:gd name="connsiteX552" fmla="*/ 1856797 w 2240198"/>
                <a:gd name="connsiteY552" fmla="*/ 1599957 h 1729012"/>
                <a:gd name="connsiteX553" fmla="*/ 1856620 w 2240198"/>
                <a:gd name="connsiteY553" fmla="*/ 1599399 h 1729012"/>
                <a:gd name="connsiteX554" fmla="*/ 1856591 w 2240198"/>
                <a:gd name="connsiteY554" fmla="*/ 1598957 h 1729012"/>
                <a:gd name="connsiteX555" fmla="*/ 1856708 w 2240198"/>
                <a:gd name="connsiteY555" fmla="*/ 1598399 h 1729012"/>
                <a:gd name="connsiteX556" fmla="*/ 1856977 w 2240198"/>
                <a:gd name="connsiteY556" fmla="*/ 1597286 h 1729012"/>
                <a:gd name="connsiteX557" fmla="*/ 1856530 w 2240198"/>
                <a:gd name="connsiteY557" fmla="*/ 1596470 h 1729012"/>
                <a:gd name="connsiteX558" fmla="*/ 1856484 w 2240198"/>
                <a:gd name="connsiteY558" fmla="*/ 1593639 h 1729012"/>
                <a:gd name="connsiteX559" fmla="*/ 1856396 w 2240198"/>
                <a:gd name="connsiteY559" fmla="*/ 1588338 h 1729012"/>
                <a:gd name="connsiteX560" fmla="*/ 1856331 w 2240198"/>
                <a:gd name="connsiteY560" fmla="*/ 1584272 h 1729012"/>
                <a:gd name="connsiteX561" fmla="*/ 1856248 w 2240198"/>
                <a:gd name="connsiteY561" fmla="*/ 1579151 h 1729012"/>
                <a:gd name="connsiteX562" fmla="*/ 1856200 w 2240198"/>
                <a:gd name="connsiteY562" fmla="*/ 1575417 h 1729012"/>
                <a:gd name="connsiteX563" fmla="*/ 1856133 w 2240198"/>
                <a:gd name="connsiteY563" fmla="*/ 1570176 h 1729012"/>
                <a:gd name="connsiteX564" fmla="*/ 1856069 w 2240198"/>
                <a:gd name="connsiteY564" fmla="*/ 1565196 h 1729012"/>
                <a:gd name="connsiteX565" fmla="*/ 1855969 w 2240198"/>
                <a:gd name="connsiteY565" fmla="*/ 1560489 h 1729012"/>
                <a:gd name="connsiteX566" fmla="*/ 1852722 w 2240198"/>
                <a:gd name="connsiteY566" fmla="*/ 1557771 h 1729012"/>
                <a:gd name="connsiteX567" fmla="*/ 1848616 w 2240198"/>
                <a:gd name="connsiteY567" fmla="*/ 1554331 h 1729012"/>
                <a:gd name="connsiteX568" fmla="*/ 1845099 w 2240198"/>
                <a:gd name="connsiteY568" fmla="*/ 1552048 h 1729012"/>
                <a:gd name="connsiteX569" fmla="*/ 1843187 w 2240198"/>
                <a:gd name="connsiteY569" fmla="*/ 1551774 h 1729012"/>
                <a:gd name="connsiteX570" fmla="*/ 1841992 w 2240198"/>
                <a:gd name="connsiteY570" fmla="*/ 1552094 h 1729012"/>
                <a:gd name="connsiteX571" fmla="*/ 1841513 w 2240198"/>
                <a:gd name="connsiteY571" fmla="*/ 1553005 h 1729012"/>
                <a:gd name="connsiteX572" fmla="*/ 1838889 w 2240198"/>
                <a:gd name="connsiteY572" fmla="*/ 1553980 h 1729012"/>
                <a:gd name="connsiteX573" fmla="*/ 1834118 w 2240198"/>
                <a:gd name="connsiteY573" fmla="*/ 1555017 h 1729012"/>
                <a:gd name="connsiteX574" fmla="*/ 1830057 w 2240198"/>
                <a:gd name="connsiteY574" fmla="*/ 1556626 h 1729012"/>
                <a:gd name="connsiteX575" fmla="*/ 1828569 w 2240198"/>
                <a:gd name="connsiteY575" fmla="*/ 1556642 h 1729012"/>
                <a:gd name="connsiteX576" fmla="*/ 1827306 w 2240198"/>
                <a:gd name="connsiteY576" fmla="*/ 1556373 h 1729012"/>
                <a:gd name="connsiteX577" fmla="*/ 1825634 w 2240198"/>
                <a:gd name="connsiteY577" fmla="*/ 1555565 h 1729012"/>
                <a:gd name="connsiteX578" fmla="*/ 1824482 w 2240198"/>
                <a:gd name="connsiteY578" fmla="*/ 1554370 h 1729012"/>
                <a:gd name="connsiteX579" fmla="*/ 1824085 w 2240198"/>
                <a:gd name="connsiteY579" fmla="*/ 1552299 h 1729012"/>
                <a:gd name="connsiteX580" fmla="*/ 1824440 w 2240198"/>
                <a:gd name="connsiteY580" fmla="*/ 1549455 h 1729012"/>
                <a:gd name="connsiteX581" fmla="*/ 1822005 w 2240198"/>
                <a:gd name="connsiteY581" fmla="*/ 1548872 h 1729012"/>
                <a:gd name="connsiteX582" fmla="*/ 1819555 w 2240198"/>
                <a:gd name="connsiteY582" fmla="*/ 1548286 h 1729012"/>
                <a:gd name="connsiteX583" fmla="*/ 1818052 w 2240198"/>
                <a:gd name="connsiteY583" fmla="*/ 1550248 h 1729012"/>
                <a:gd name="connsiteX584" fmla="*/ 1816614 w 2240198"/>
                <a:gd name="connsiteY584" fmla="*/ 1551898 h 1729012"/>
                <a:gd name="connsiteX585" fmla="*/ 1813759 w 2240198"/>
                <a:gd name="connsiteY585" fmla="*/ 1555493 h 1729012"/>
                <a:gd name="connsiteX586" fmla="*/ 1809745 w 2240198"/>
                <a:gd name="connsiteY586" fmla="*/ 1560536 h 1729012"/>
                <a:gd name="connsiteX587" fmla="*/ 1807519 w 2240198"/>
                <a:gd name="connsiteY587" fmla="*/ 1563305 h 1729012"/>
                <a:gd name="connsiteX588" fmla="*/ 1803610 w 2240198"/>
                <a:gd name="connsiteY588" fmla="*/ 1568163 h 1729012"/>
                <a:gd name="connsiteX589" fmla="*/ 1800162 w 2240198"/>
                <a:gd name="connsiteY589" fmla="*/ 1572441 h 1729012"/>
                <a:gd name="connsiteX590" fmla="*/ 1799388 w 2240198"/>
                <a:gd name="connsiteY590" fmla="*/ 1576825 h 1729012"/>
                <a:gd name="connsiteX591" fmla="*/ 1798654 w 2240198"/>
                <a:gd name="connsiteY591" fmla="*/ 1580975 h 1729012"/>
                <a:gd name="connsiteX592" fmla="*/ 1795801 w 2240198"/>
                <a:gd name="connsiteY592" fmla="*/ 1584130 h 1729012"/>
                <a:gd name="connsiteX593" fmla="*/ 1794062 w 2240198"/>
                <a:gd name="connsiteY593" fmla="*/ 1587019 h 1729012"/>
                <a:gd name="connsiteX594" fmla="*/ 1793285 w 2240198"/>
                <a:gd name="connsiteY594" fmla="*/ 1590221 h 1729012"/>
                <a:gd name="connsiteX595" fmla="*/ 1792636 w 2240198"/>
                <a:gd name="connsiteY595" fmla="*/ 1593157 h 1729012"/>
                <a:gd name="connsiteX596" fmla="*/ 1792587 w 2240198"/>
                <a:gd name="connsiteY596" fmla="*/ 1595613 h 1729012"/>
                <a:gd name="connsiteX597" fmla="*/ 1793077 w 2240198"/>
                <a:gd name="connsiteY597" fmla="*/ 1596901 h 1729012"/>
                <a:gd name="connsiteX598" fmla="*/ 1792846 w 2240198"/>
                <a:gd name="connsiteY598" fmla="*/ 1597946 h 1729012"/>
                <a:gd name="connsiteX599" fmla="*/ 1791902 w 2240198"/>
                <a:gd name="connsiteY599" fmla="*/ 1599149 h 1729012"/>
                <a:gd name="connsiteX600" fmla="*/ 1790016 w 2240198"/>
                <a:gd name="connsiteY600" fmla="*/ 1601241 h 1729012"/>
                <a:gd name="connsiteX601" fmla="*/ 1789680 w 2240198"/>
                <a:gd name="connsiteY601" fmla="*/ 1603252 h 1729012"/>
                <a:gd name="connsiteX602" fmla="*/ 1788526 w 2240198"/>
                <a:gd name="connsiteY602" fmla="*/ 1604244 h 1729012"/>
                <a:gd name="connsiteX603" fmla="*/ 1785235 w 2240198"/>
                <a:gd name="connsiteY603" fmla="*/ 1606227 h 1729012"/>
                <a:gd name="connsiteX604" fmla="*/ 1782551 w 2240198"/>
                <a:gd name="connsiteY604" fmla="*/ 1609148 h 1729012"/>
                <a:gd name="connsiteX605" fmla="*/ 1782420 w 2240198"/>
                <a:gd name="connsiteY605" fmla="*/ 1610801 h 1729012"/>
                <a:gd name="connsiteX606" fmla="*/ 1782808 w 2240198"/>
                <a:gd name="connsiteY606" fmla="*/ 1612173 h 1729012"/>
                <a:gd name="connsiteX607" fmla="*/ 1782866 w 2240198"/>
                <a:gd name="connsiteY607" fmla="*/ 1613024 h 1729012"/>
                <a:gd name="connsiteX608" fmla="*/ 1782331 w 2240198"/>
                <a:gd name="connsiteY608" fmla="*/ 1613618 h 1729012"/>
                <a:gd name="connsiteX609" fmla="*/ 1781256 w 2240198"/>
                <a:gd name="connsiteY609" fmla="*/ 1613579 h 1729012"/>
                <a:gd name="connsiteX610" fmla="*/ 1780093 w 2240198"/>
                <a:gd name="connsiteY610" fmla="*/ 1613764 h 1729012"/>
                <a:gd name="connsiteX611" fmla="*/ 1779114 w 2240198"/>
                <a:gd name="connsiteY611" fmla="*/ 1614980 h 1729012"/>
                <a:gd name="connsiteX612" fmla="*/ 1779139 w 2240198"/>
                <a:gd name="connsiteY612" fmla="*/ 1616725 h 1729012"/>
                <a:gd name="connsiteX613" fmla="*/ 1778424 w 2240198"/>
                <a:gd name="connsiteY613" fmla="*/ 1617982 h 1729012"/>
                <a:gd name="connsiteX614" fmla="*/ 1777588 w 2240198"/>
                <a:gd name="connsiteY614" fmla="*/ 1618241 h 1729012"/>
                <a:gd name="connsiteX615" fmla="*/ 1776871 w 2240198"/>
                <a:gd name="connsiteY615" fmla="*/ 1617352 h 1729012"/>
                <a:gd name="connsiteX616" fmla="*/ 1776011 w 2240198"/>
                <a:gd name="connsiteY616" fmla="*/ 1616020 h 1729012"/>
                <a:gd name="connsiteX617" fmla="*/ 1775003 w 2240198"/>
                <a:gd name="connsiteY617" fmla="*/ 1615889 h 1729012"/>
                <a:gd name="connsiteX618" fmla="*/ 1773473 w 2240198"/>
                <a:gd name="connsiteY618" fmla="*/ 1616773 h 1729012"/>
                <a:gd name="connsiteX619" fmla="*/ 1771586 w 2240198"/>
                <a:gd name="connsiteY619" fmla="*/ 1618229 h 1729012"/>
                <a:gd name="connsiteX620" fmla="*/ 1769889 w 2240198"/>
                <a:gd name="connsiteY620" fmla="*/ 1618306 h 1729012"/>
                <a:gd name="connsiteX621" fmla="*/ 1766702 w 2240198"/>
                <a:gd name="connsiteY621" fmla="*/ 1617372 h 1729012"/>
                <a:gd name="connsiteX622" fmla="*/ 1764375 w 2240198"/>
                <a:gd name="connsiteY622" fmla="*/ 1620193 h 1729012"/>
                <a:gd name="connsiteX623" fmla="*/ 1761879 w 2240198"/>
                <a:gd name="connsiteY623" fmla="*/ 1626241 h 1729012"/>
                <a:gd name="connsiteX624" fmla="*/ 1751327 w 2240198"/>
                <a:gd name="connsiteY624" fmla="*/ 1626257 h 1729012"/>
                <a:gd name="connsiteX625" fmla="*/ 1740776 w 2240198"/>
                <a:gd name="connsiteY625" fmla="*/ 1626272 h 1729012"/>
                <a:gd name="connsiteX626" fmla="*/ 1730224 w 2240198"/>
                <a:gd name="connsiteY626" fmla="*/ 1626287 h 1729012"/>
                <a:gd name="connsiteX627" fmla="*/ 1719673 w 2240198"/>
                <a:gd name="connsiteY627" fmla="*/ 1626303 h 1729012"/>
                <a:gd name="connsiteX628" fmla="*/ 1709122 w 2240198"/>
                <a:gd name="connsiteY628" fmla="*/ 1626316 h 1729012"/>
                <a:gd name="connsiteX629" fmla="*/ 1698570 w 2240198"/>
                <a:gd name="connsiteY629" fmla="*/ 1626331 h 1729012"/>
                <a:gd name="connsiteX630" fmla="*/ 1688019 w 2240198"/>
                <a:gd name="connsiteY630" fmla="*/ 1626346 h 1729012"/>
                <a:gd name="connsiteX631" fmla="*/ 1682114 w 2240198"/>
                <a:gd name="connsiteY631" fmla="*/ 1626355 h 1729012"/>
                <a:gd name="connsiteX632" fmla="*/ 1680957 w 2240198"/>
                <a:gd name="connsiteY632" fmla="*/ 1626358 h 1729012"/>
                <a:gd name="connsiteX633" fmla="*/ 1684572 w 2240198"/>
                <a:gd name="connsiteY633" fmla="*/ 1625173 h 1729012"/>
                <a:gd name="connsiteX634" fmla="*/ 1692110 w 2240198"/>
                <a:gd name="connsiteY634" fmla="*/ 1620571 h 1729012"/>
                <a:gd name="connsiteX635" fmla="*/ 1697670 w 2240198"/>
                <a:gd name="connsiteY635" fmla="*/ 1618903 h 1729012"/>
                <a:gd name="connsiteX636" fmla="*/ 1704900 w 2240198"/>
                <a:gd name="connsiteY636" fmla="*/ 1614059 h 1729012"/>
                <a:gd name="connsiteX637" fmla="*/ 1710137 w 2240198"/>
                <a:gd name="connsiteY637" fmla="*/ 1613126 h 1729012"/>
                <a:gd name="connsiteX638" fmla="*/ 1711133 w 2240198"/>
                <a:gd name="connsiteY638" fmla="*/ 1612059 h 1729012"/>
                <a:gd name="connsiteX639" fmla="*/ 1712012 w 2240198"/>
                <a:gd name="connsiteY639" fmla="*/ 1608032 h 1729012"/>
                <a:gd name="connsiteX640" fmla="*/ 1712490 w 2240198"/>
                <a:gd name="connsiteY640" fmla="*/ 1606596 h 1729012"/>
                <a:gd name="connsiteX641" fmla="*/ 1714936 w 2240198"/>
                <a:gd name="connsiteY641" fmla="*/ 1602634 h 1729012"/>
                <a:gd name="connsiteX642" fmla="*/ 1717872 w 2240198"/>
                <a:gd name="connsiteY642" fmla="*/ 1599288 h 1729012"/>
                <a:gd name="connsiteX643" fmla="*/ 1720242 w 2240198"/>
                <a:gd name="connsiteY643" fmla="*/ 1594657 h 1729012"/>
                <a:gd name="connsiteX644" fmla="*/ 1724543 w 2240198"/>
                <a:gd name="connsiteY644" fmla="*/ 1591692 h 1729012"/>
                <a:gd name="connsiteX645" fmla="*/ 1731047 w 2240198"/>
                <a:gd name="connsiteY645" fmla="*/ 1589211 h 1729012"/>
                <a:gd name="connsiteX646" fmla="*/ 1737063 w 2240198"/>
                <a:gd name="connsiteY646" fmla="*/ 1583786 h 1729012"/>
                <a:gd name="connsiteX647" fmla="*/ 1740360 w 2240198"/>
                <a:gd name="connsiteY647" fmla="*/ 1582130 h 1729012"/>
                <a:gd name="connsiteX648" fmla="*/ 1743555 w 2240198"/>
                <a:gd name="connsiteY648" fmla="*/ 1580943 h 1729012"/>
                <a:gd name="connsiteX649" fmla="*/ 1744897 w 2240198"/>
                <a:gd name="connsiteY649" fmla="*/ 1578733 h 1729012"/>
                <a:gd name="connsiteX650" fmla="*/ 1746874 w 2240198"/>
                <a:gd name="connsiteY650" fmla="*/ 1577470 h 1729012"/>
                <a:gd name="connsiteX651" fmla="*/ 1752157 w 2240198"/>
                <a:gd name="connsiteY651" fmla="*/ 1574897 h 1729012"/>
                <a:gd name="connsiteX652" fmla="*/ 1757980 w 2240198"/>
                <a:gd name="connsiteY652" fmla="*/ 1574201 h 1729012"/>
                <a:gd name="connsiteX653" fmla="*/ 1763864 w 2240198"/>
                <a:gd name="connsiteY653" fmla="*/ 1572064 h 1729012"/>
                <a:gd name="connsiteX654" fmla="*/ 1768378 w 2240198"/>
                <a:gd name="connsiteY654" fmla="*/ 1570931 h 1729012"/>
                <a:gd name="connsiteX655" fmla="*/ 1771147 w 2240198"/>
                <a:gd name="connsiteY655" fmla="*/ 1568924 h 1729012"/>
                <a:gd name="connsiteX656" fmla="*/ 1775172 w 2240198"/>
                <a:gd name="connsiteY656" fmla="*/ 1567867 h 1729012"/>
                <a:gd name="connsiteX657" fmla="*/ 1787185 w 2240198"/>
                <a:gd name="connsiteY657" fmla="*/ 1562099 h 1729012"/>
                <a:gd name="connsiteX658" fmla="*/ 1790517 w 2240198"/>
                <a:gd name="connsiteY658" fmla="*/ 1559395 h 1729012"/>
                <a:gd name="connsiteX659" fmla="*/ 1794836 w 2240198"/>
                <a:gd name="connsiteY659" fmla="*/ 1553849 h 1729012"/>
                <a:gd name="connsiteX660" fmla="*/ 1798593 w 2240198"/>
                <a:gd name="connsiteY660" fmla="*/ 1551025 h 1729012"/>
                <a:gd name="connsiteX661" fmla="*/ 1799922 w 2240198"/>
                <a:gd name="connsiteY661" fmla="*/ 1548014 h 1729012"/>
                <a:gd name="connsiteX662" fmla="*/ 1805372 w 2240198"/>
                <a:gd name="connsiteY662" fmla="*/ 1543121 h 1729012"/>
                <a:gd name="connsiteX663" fmla="*/ 1810980 w 2240198"/>
                <a:gd name="connsiteY663" fmla="*/ 1536661 h 1729012"/>
                <a:gd name="connsiteX664" fmla="*/ 1813769 w 2240198"/>
                <a:gd name="connsiteY664" fmla="*/ 1532020 h 1729012"/>
                <a:gd name="connsiteX665" fmla="*/ 1817945 w 2240198"/>
                <a:gd name="connsiteY665" fmla="*/ 1529440 h 1729012"/>
                <a:gd name="connsiteX666" fmla="*/ 1826041 w 2240198"/>
                <a:gd name="connsiteY666" fmla="*/ 1522051 h 1729012"/>
                <a:gd name="connsiteX667" fmla="*/ 1830387 w 2240198"/>
                <a:gd name="connsiteY667" fmla="*/ 1519096 h 1729012"/>
                <a:gd name="connsiteX668" fmla="*/ 1832153 w 2240198"/>
                <a:gd name="connsiteY668" fmla="*/ 1518758 h 1729012"/>
                <a:gd name="connsiteX669" fmla="*/ 1837074 w 2240198"/>
                <a:gd name="connsiteY669" fmla="*/ 1516128 h 1729012"/>
                <a:gd name="connsiteX670" fmla="*/ 1840129 w 2240198"/>
                <a:gd name="connsiteY670" fmla="*/ 1513383 h 1729012"/>
                <a:gd name="connsiteX671" fmla="*/ 1845031 w 2240198"/>
                <a:gd name="connsiteY671" fmla="*/ 1510624 h 1729012"/>
                <a:gd name="connsiteX672" fmla="*/ 1853885 w 2240198"/>
                <a:gd name="connsiteY672" fmla="*/ 1507217 h 1729012"/>
                <a:gd name="connsiteX673" fmla="*/ 1862204 w 2240198"/>
                <a:gd name="connsiteY673" fmla="*/ 1503135 h 1729012"/>
                <a:gd name="connsiteX674" fmla="*/ 1873448 w 2240198"/>
                <a:gd name="connsiteY674" fmla="*/ 1499598 h 1729012"/>
                <a:gd name="connsiteX675" fmla="*/ 1886617 w 2240198"/>
                <a:gd name="connsiteY675" fmla="*/ 1494288 h 1729012"/>
                <a:gd name="connsiteX676" fmla="*/ 1897265 w 2240198"/>
                <a:gd name="connsiteY676" fmla="*/ 1491444 h 1729012"/>
                <a:gd name="connsiteX677" fmla="*/ 1904754 w 2240198"/>
                <a:gd name="connsiteY677" fmla="*/ 1491032 h 1729012"/>
                <a:gd name="connsiteX678" fmla="*/ 375112 w 2240198"/>
                <a:gd name="connsiteY678" fmla="*/ 1485971 h 1729012"/>
                <a:gd name="connsiteX679" fmla="*/ 377476 w 2240198"/>
                <a:gd name="connsiteY679" fmla="*/ 1486456 h 1729012"/>
                <a:gd name="connsiteX680" fmla="*/ 378065 w 2240198"/>
                <a:gd name="connsiteY680" fmla="*/ 1486818 h 1729012"/>
                <a:gd name="connsiteX681" fmla="*/ 378777 w 2240198"/>
                <a:gd name="connsiteY681" fmla="*/ 1489786 h 1729012"/>
                <a:gd name="connsiteX682" fmla="*/ 375663 w 2240198"/>
                <a:gd name="connsiteY682" fmla="*/ 1489310 h 1729012"/>
                <a:gd name="connsiteX683" fmla="*/ 374577 w 2240198"/>
                <a:gd name="connsiteY683" fmla="*/ 1488735 h 1729012"/>
                <a:gd name="connsiteX684" fmla="*/ 374531 w 2240198"/>
                <a:gd name="connsiteY684" fmla="*/ 1487309 h 1729012"/>
                <a:gd name="connsiteX685" fmla="*/ 2191880 w 2240198"/>
                <a:gd name="connsiteY685" fmla="*/ 1477687 h 1729012"/>
                <a:gd name="connsiteX686" fmla="*/ 2192425 w 2240198"/>
                <a:gd name="connsiteY686" fmla="*/ 1478067 h 1729012"/>
                <a:gd name="connsiteX687" fmla="*/ 2192002 w 2240198"/>
                <a:gd name="connsiteY687" fmla="*/ 1479092 h 1729012"/>
                <a:gd name="connsiteX688" fmla="*/ 2188089 w 2240198"/>
                <a:gd name="connsiteY688" fmla="*/ 1481009 h 1729012"/>
                <a:gd name="connsiteX689" fmla="*/ 2187199 w 2240198"/>
                <a:gd name="connsiteY689" fmla="*/ 1481763 h 1729012"/>
                <a:gd name="connsiteX690" fmla="*/ 2186116 w 2240198"/>
                <a:gd name="connsiteY690" fmla="*/ 1482146 h 1729012"/>
                <a:gd name="connsiteX691" fmla="*/ 2185305 w 2240198"/>
                <a:gd name="connsiteY691" fmla="*/ 1481543 h 1729012"/>
                <a:gd name="connsiteX692" fmla="*/ 2184163 w 2240198"/>
                <a:gd name="connsiteY692" fmla="*/ 1479514 h 1729012"/>
                <a:gd name="connsiteX693" fmla="*/ 2184370 w 2240198"/>
                <a:gd name="connsiteY693" fmla="*/ 1478839 h 1729012"/>
                <a:gd name="connsiteX694" fmla="*/ 2185443 w 2240198"/>
                <a:gd name="connsiteY694" fmla="*/ 1478747 h 1729012"/>
                <a:gd name="connsiteX695" fmla="*/ 2186060 w 2240198"/>
                <a:gd name="connsiteY695" fmla="*/ 1479015 h 1729012"/>
                <a:gd name="connsiteX696" fmla="*/ 2186216 w 2240198"/>
                <a:gd name="connsiteY696" fmla="*/ 1479646 h 1729012"/>
                <a:gd name="connsiteX697" fmla="*/ 2186686 w 2240198"/>
                <a:gd name="connsiteY697" fmla="*/ 1479966 h 1729012"/>
                <a:gd name="connsiteX698" fmla="*/ 2187471 w 2240198"/>
                <a:gd name="connsiteY698" fmla="*/ 1479973 h 1729012"/>
                <a:gd name="connsiteX699" fmla="*/ 2190370 w 2240198"/>
                <a:gd name="connsiteY699" fmla="*/ 1477998 h 1729012"/>
                <a:gd name="connsiteX700" fmla="*/ 2202568 w 2240198"/>
                <a:gd name="connsiteY700" fmla="*/ 1473740 h 1729012"/>
                <a:gd name="connsiteX701" fmla="*/ 2203684 w 2240198"/>
                <a:gd name="connsiteY701" fmla="*/ 1473963 h 1729012"/>
                <a:gd name="connsiteX702" fmla="*/ 2205556 w 2240198"/>
                <a:gd name="connsiteY702" fmla="*/ 1476106 h 1729012"/>
                <a:gd name="connsiteX703" fmla="*/ 2206551 w 2240198"/>
                <a:gd name="connsiteY703" fmla="*/ 1476684 h 1729012"/>
                <a:gd name="connsiteX704" fmla="*/ 2200016 w 2240198"/>
                <a:gd name="connsiteY704" fmla="*/ 1479000 h 1729012"/>
                <a:gd name="connsiteX705" fmla="*/ 2199234 w 2240198"/>
                <a:gd name="connsiteY705" fmla="*/ 1479154 h 1729012"/>
                <a:gd name="connsiteX706" fmla="*/ 2198805 w 2240198"/>
                <a:gd name="connsiteY706" fmla="*/ 1478879 h 1729012"/>
                <a:gd name="connsiteX707" fmla="*/ 2198738 w 2240198"/>
                <a:gd name="connsiteY707" fmla="*/ 1476721 h 1729012"/>
                <a:gd name="connsiteX708" fmla="*/ 2199020 w 2240198"/>
                <a:gd name="connsiteY708" fmla="*/ 1475051 h 1729012"/>
                <a:gd name="connsiteX709" fmla="*/ 2199493 w 2240198"/>
                <a:gd name="connsiteY709" fmla="*/ 1474802 h 1729012"/>
                <a:gd name="connsiteX710" fmla="*/ 2201005 w 2240198"/>
                <a:gd name="connsiteY710" fmla="*/ 1475808 h 1729012"/>
                <a:gd name="connsiteX711" fmla="*/ 415309 w 2240198"/>
                <a:gd name="connsiteY711" fmla="*/ 1472951 h 1729012"/>
                <a:gd name="connsiteX712" fmla="*/ 417239 w 2240198"/>
                <a:gd name="connsiteY712" fmla="*/ 1473286 h 1729012"/>
                <a:gd name="connsiteX713" fmla="*/ 420426 w 2240198"/>
                <a:gd name="connsiteY713" fmla="*/ 1474513 h 1729012"/>
                <a:gd name="connsiteX714" fmla="*/ 423275 w 2240198"/>
                <a:gd name="connsiteY714" fmla="*/ 1476507 h 1729012"/>
                <a:gd name="connsiteX715" fmla="*/ 427218 w 2240198"/>
                <a:gd name="connsiteY715" fmla="*/ 1480993 h 1729012"/>
                <a:gd name="connsiteX716" fmla="*/ 427569 w 2240198"/>
                <a:gd name="connsiteY716" fmla="*/ 1481678 h 1729012"/>
                <a:gd name="connsiteX717" fmla="*/ 421927 w 2240198"/>
                <a:gd name="connsiteY717" fmla="*/ 1479115 h 1729012"/>
                <a:gd name="connsiteX718" fmla="*/ 419520 w 2240198"/>
                <a:gd name="connsiteY718" fmla="*/ 1477598 h 1729012"/>
                <a:gd name="connsiteX719" fmla="*/ 418589 w 2240198"/>
                <a:gd name="connsiteY719" fmla="*/ 1476501 h 1729012"/>
                <a:gd name="connsiteX720" fmla="*/ 417983 w 2240198"/>
                <a:gd name="connsiteY720" fmla="*/ 1475880 h 1729012"/>
                <a:gd name="connsiteX721" fmla="*/ 415114 w 2240198"/>
                <a:gd name="connsiteY721" fmla="*/ 1474252 h 1729012"/>
                <a:gd name="connsiteX722" fmla="*/ 414636 w 2240198"/>
                <a:gd name="connsiteY722" fmla="*/ 1473504 h 1729012"/>
                <a:gd name="connsiteX723" fmla="*/ 359454 w 2240198"/>
                <a:gd name="connsiteY723" fmla="*/ 1469738 h 1729012"/>
                <a:gd name="connsiteX724" fmla="*/ 361683 w 2240198"/>
                <a:gd name="connsiteY724" fmla="*/ 1470686 h 1729012"/>
                <a:gd name="connsiteX725" fmla="*/ 362698 w 2240198"/>
                <a:gd name="connsiteY725" fmla="*/ 1471848 h 1729012"/>
                <a:gd name="connsiteX726" fmla="*/ 363920 w 2240198"/>
                <a:gd name="connsiteY726" fmla="*/ 1473918 h 1729012"/>
                <a:gd name="connsiteX727" fmla="*/ 364472 w 2240198"/>
                <a:gd name="connsiteY727" fmla="*/ 1476248 h 1729012"/>
                <a:gd name="connsiteX728" fmla="*/ 364533 w 2240198"/>
                <a:gd name="connsiteY728" fmla="*/ 1477842 h 1729012"/>
                <a:gd name="connsiteX729" fmla="*/ 364142 w 2240198"/>
                <a:gd name="connsiteY729" fmla="*/ 1478533 h 1729012"/>
                <a:gd name="connsiteX730" fmla="*/ 363148 w 2240198"/>
                <a:gd name="connsiteY730" fmla="*/ 1478680 h 1729012"/>
                <a:gd name="connsiteX731" fmla="*/ 361550 w 2240198"/>
                <a:gd name="connsiteY731" fmla="*/ 1478281 h 1729012"/>
                <a:gd name="connsiteX732" fmla="*/ 359754 w 2240198"/>
                <a:gd name="connsiteY732" fmla="*/ 1477338 h 1729012"/>
                <a:gd name="connsiteX733" fmla="*/ 356601 w 2240198"/>
                <a:gd name="connsiteY733" fmla="*/ 1474820 h 1729012"/>
                <a:gd name="connsiteX734" fmla="*/ 356280 w 2240198"/>
                <a:gd name="connsiteY734" fmla="*/ 1474251 h 1729012"/>
                <a:gd name="connsiteX735" fmla="*/ 356564 w 2240198"/>
                <a:gd name="connsiteY735" fmla="*/ 1473763 h 1729012"/>
                <a:gd name="connsiteX736" fmla="*/ 357455 w 2240198"/>
                <a:gd name="connsiteY736" fmla="*/ 1473357 h 1729012"/>
                <a:gd name="connsiteX737" fmla="*/ 357658 w 2240198"/>
                <a:gd name="connsiteY737" fmla="*/ 1472693 h 1729012"/>
                <a:gd name="connsiteX738" fmla="*/ 356924 w 2240198"/>
                <a:gd name="connsiteY738" fmla="*/ 1470881 h 1729012"/>
                <a:gd name="connsiteX739" fmla="*/ 1946316 w 2240198"/>
                <a:gd name="connsiteY739" fmla="*/ 1467356 h 1729012"/>
                <a:gd name="connsiteX740" fmla="*/ 1949163 w 2240198"/>
                <a:gd name="connsiteY740" fmla="*/ 1467447 h 1729012"/>
                <a:gd name="connsiteX741" fmla="*/ 1958578 w 2240198"/>
                <a:gd name="connsiteY741" fmla="*/ 1469643 h 1729012"/>
                <a:gd name="connsiteX742" fmla="*/ 1970450 w 2240198"/>
                <a:gd name="connsiteY742" fmla="*/ 1471571 h 1729012"/>
                <a:gd name="connsiteX743" fmla="*/ 1975601 w 2240198"/>
                <a:gd name="connsiteY743" fmla="*/ 1473029 h 1729012"/>
                <a:gd name="connsiteX744" fmla="*/ 1981440 w 2240198"/>
                <a:gd name="connsiteY744" fmla="*/ 1475248 h 1729012"/>
                <a:gd name="connsiteX745" fmla="*/ 1987147 w 2240198"/>
                <a:gd name="connsiteY745" fmla="*/ 1477937 h 1729012"/>
                <a:gd name="connsiteX746" fmla="*/ 1999837 w 2240198"/>
                <a:gd name="connsiteY746" fmla="*/ 1485074 h 1729012"/>
                <a:gd name="connsiteX747" fmla="*/ 2002118 w 2240198"/>
                <a:gd name="connsiteY747" fmla="*/ 1485643 h 1729012"/>
                <a:gd name="connsiteX748" fmla="*/ 2007847 w 2240198"/>
                <a:gd name="connsiteY748" fmla="*/ 1489132 h 1729012"/>
                <a:gd name="connsiteX749" fmla="*/ 2009907 w 2240198"/>
                <a:gd name="connsiteY749" fmla="*/ 1491750 h 1729012"/>
                <a:gd name="connsiteX750" fmla="*/ 2010914 w 2240198"/>
                <a:gd name="connsiteY750" fmla="*/ 1493873 h 1729012"/>
                <a:gd name="connsiteX751" fmla="*/ 2009663 w 2240198"/>
                <a:gd name="connsiteY751" fmla="*/ 1494962 h 1729012"/>
                <a:gd name="connsiteX752" fmla="*/ 2008253 w 2240198"/>
                <a:gd name="connsiteY752" fmla="*/ 1495351 h 1729012"/>
                <a:gd name="connsiteX753" fmla="*/ 1997643 w 2240198"/>
                <a:gd name="connsiteY753" fmla="*/ 1495836 h 1729012"/>
                <a:gd name="connsiteX754" fmla="*/ 1989196 w 2240198"/>
                <a:gd name="connsiteY754" fmla="*/ 1493812 h 1729012"/>
                <a:gd name="connsiteX755" fmla="*/ 1982934 w 2240198"/>
                <a:gd name="connsiteY755" fmla="*/ 1492834 h 1729012"/>
                <a:gd name="connsiteX756" fmla="*/ 1976800 w 2240198"/>
                <a:gd name="connsiteY756" fmla="*/ 1491055 h 1729012"/>
                <a:gd name="connsiteX757" fmla="*/ 1963505 w 2240198"/>
                <a:gd name="connsiteY757" fmla="*/ 1485330 h 1729012"/>
                <a:gd name="connsiteX758" fmla="*/ 1961982 w 2240198"/>
                <a:gd name="connsiteY758" fmla="*/ 1483337 h 1729012"/>
                <a:gd name="connsiteX759" fmla="*/ 1960706 w 2240198"/>
                <a:gd name="connsiteY759" fmla="*/ 1480889 h 1729012"/>
                <a:gd name="connsiteX760" fmla="*/ 1958161 w 2240198"/>
                <a:gd name="connsiteY760" fmla="*/ 1478659 h 1729012"/>
                <a:gd name="connsiteX761" fmla="*/ 1955415 w 2240198"/>
                <a:gd name="connsiteY761" fmla="*/ 1476823 h 1729012"/>
                <a:gd name="connsiteX762" fmla="*/ 1941339 w 2240198"/>
                <a:gd name="connsiteY762" fmla="*/ 1471213 h 1729012"/>
                <a:gd name="connsiteX763" fmla="*/ 1940193 w 2240198"/>
                <a:gd name="connsiteY763" fmla="*/ 1469255 h 1729012"/>
                <a:gd name="connsiteX764" fmla="*/ 1943039 w 2240198"/>
                <a:gd name="connsiteY764" fmla="*/ 1467966 h 1729012"/>
                <a:gd name="connsiteX765" fmla="*/ 405989 w 2240198"/>
                <a:gd name="connsiteY765" fmla="*/ 1458319 h 1729012"/>
                <a:gd name="connsiteX766" fmla="*/ 407332 w 2240198"/>
                <a:gd name="connsiteY766" fmla="*/ 1460019 h 1729012"/>
                <a:gd name="connsiteX767" fmla="*/ 407877 w 2240198"/>
                <a:gd name="connsiteY767" fmla="*/ 1461158 h 1729012"/>
                <a:gd name="connsiteX768" fmla="*/ 408103 w 2240198"/>
                <a:gd name="connsiteY768" fmla="*/ 1462735 h 1729012"/>
                <a:gd name="connsiteX769" fmla="*/ 408077 w 2240198"/>
                <a:gd name="connsiteY769" fmla="*/ 1463156 h 1729012"/>
                <a:gd name="connsiteX770" fmla="*/ 406321 w 2240198"/>
                <a:gd name="connsiteY770" fmla="*/ 1464537 h 1729012"/>
                <a:gd name="connsiteX771" fmla="*/ 405717 w 2240198"/>
                <a:gd name="connsiteY771" fmla="*/ 1464829 h 1729012"/>
                <a:gd name="connsiteX772" fmla="*/ 405098 w 2240198"/>
                <a:gd name="connsiteY772" fmla="*/ 1461075 h 1729012"/>
                <a:gd name="connsiteX773" fmla="*/ 405866 w 2240198"/>
                <a:gd name="connsiteY773" fmla="*/ 1459711 h 1729012"/>
                <a:gd name="connsiteX774" fmla="*/ 406085 w 2240198"/>
                <a:gd name="connsiteY774" fmla="*/ 1459025 h 1729012"/>
                <a:gd name="connsiteX775" fmla="*/ 399140 w 2240198"/>
                <a:gd name="connsiteY775" fmla="*/ 1451652 h 1729012"/>
                <a:gd name="connsiteX776" fmla="*/ 400787 w 2240198"/>
                <a:gd name="connsiteY776" fmla="*/ 1452586 h 1729012"/>
                <a:gd name="connsiteX777" fmla="*/ 402219 w 2240198"/>
                <a:gd name="connsiteY777" fmla="*/ 1454249 h 1729012"/>
                <a:gd name="connsiteX778" fmla="*/ 402550 w 2240198"/>
                <a:gd name="connsiteY778" fmla="*/ 1454895 h 1729012"/>
                <a:gd name="connsiteX779" fmla="*/ 403439 w 2240198"/>
                <a:gd name="connsiteY779" fmla="*/ 1456639 h 1729012"/>
                <a:gd name="connsiteX780" fmla="*/ 403881 w 2240198"/>
                <a:gd name="connsiteY780" fmla="*/ 1458203 h 1729012"/>
                <a:gd name="connsiteX781" fmla="*/ 402892 w 2240198"/>
                <a:gd name="connsiteY781" fmla="*/ 1460100 h 1729012"/>
                <a:gd name="connsiteX782" fmla="*/ 401088 w 2240198"/>
                <a:gd name="connsiteY782" fmla="*/ 1462299 h 1729012"/>
                <a:gd name="connsiteX783" fmla="*/ 400810 w 2240198"/>
                <a:gd name="connsiteY783" fmla="*/ 1464048 h 1729012"/>
                <a:gd name="connsiteX784" fmla="*/ 399176 w 2240198"/>
                <a:gd name="connsiteY784" fmla="*/ 1461209 h 1729012"/>
                <a:gd name="connsiteX785" fmla="*/ 396668 w 2240198"/>
                <a:gd name="connsiteY785" fmla="*/ 1455186 h 1729012"/>
                <a:gd name="connsiteX786" fmla="*/ 397001 w 2240198"/>
                <a:gd name="connsiteY786" fmla="*/ 1453776 h 1729012"/>
                <a:gd name="connsiteX787" fmla="*/ 398121 w 2240198"/>
                <a:gd name="connsiteY787" fmla="*/ 1451777 h 1729012"/>
                <a:gd name="connsiteX788" fmla="*/ 2167335 w 2240198"/>
                <a:gd name="connsiteY788" fmla="*/ 1438870 h 1729012"/>
                <a:gd name="connsiteX789" fmla="*/ 2168804 w 2240198"/>
                <a:gd name="connsiteY789" fmla="*/ 1439032 h 1729012"/>
                <a:gd name="connsiteX790" fmla="*/ 2168716 w 2240198"/>
                <a:gd name="connsiteY790" fmla="*/ 1439715 h 1729012"/>
                <a:gd name="connsiteX791" fmla="*/ 2167929 w 2240198"/>
                <a:gd name="connsiteY791" fmla="*/ 1440844 h 1729012"/>
                <a:gd name="connsiteX792" fmla="*/ 2167109 w 2240198"/>
                <a:gd name="connsiteY792" fmla="*/ 1441594 h 1729012"/>
                <a:gd name="connsiteX793" fmla="*/ 2166259 w 2240198"/>
                <a:gd name="connsiteY793" fmla="*/ 1441961 h 1729012"/>
                <a:gd name="connsiteX794" fmla="*/ 2165470 w 2240198"/>
                <a:gd name="connsiteY794" fmla="*/ 1441950 h 1729012"/>
                <a:gd name="connsiteX795" fmla="*/ 2164746 w 2240198"/>
                <a:gd name="connsiteY795" fmla="*/ 1441556 h 1729012"/>
                <a:gd name="connsiteX796" fmla="*/ 2164630 w 2240198"/>
                <a:gd name="connsiteY796" fmla="*/ 1440909 h 1729012"/>
                <a:gd name="connsiteX797" fmla="*/ 2165376 w 2240198"/>
                <a:gd name="connsiteY797" fmla="*/ 1439556 h 1729012"/>
                <a:gd name="connsiteX798" fmla="*/ 331766 w 2240198"/>
                <a:gd name="connsiteY798" fmla="*/ 1436887 h 1729012"/>
                <a:gd name="connsiteX799" fmla="*/ 336964 w 2240198"/>
                <a:gd name="connsiteY799" fmla="*/ 1438217 h 1729012"/>
                <a:gd name="connsiteX800" fmla="*/ 350041 w 2240198"/>
                <a:gd name="connsiteY800" fmla="*/ 1444239 h 1729012"/>
                <a:gd name="connsiteX801" fmla="*/ 362628 w 2240198"/>
                <a:gd name="connsiteY801" fmla="*/ 1448400 h 1729012"/>
                <a:gd name="connsiteX802" fmla="*/ 375231 w 2240198"/>
                <a:gd name="connsiteY802" fmla="*/ 1450454 h 1729012"/>
                <a:gd name="connsiteX803" fmla="*/ 384478 w 2240198"/>
                <a:gd name="connsiteY803" fmla="*/ 1452883 h 1729012"/>
                <a:gd name="connsiteX804" fmla="*/ 390157 w 2240198"/>
                <a:gd name="connsiteY804" fmla="*/ 1453623 h 1729012"/>
                <a:gd name="connsiteX805" fmla="*/ 392208 w 2240198"/>
                <a:gd name="connsiteY805" fmla="*/ 1454158 h 1729012"/>
                <a:gd name="connsiteX806" fmla="*/ 393534 w 2240198"/>
                <a:gd name="connsiteY806" fmla="*/ 1455011 h 1729012"/>
                <a:gd name="connsiteX807" fmla="*/ 395096 w 2240198"/>
                <a:gd name="connsiteY807" fmla="*/ 1457075 h 1729012"/>
                <a:gd name="connsiteX808" fmla="*/ 397796 w 2240198"/>
                <a:gd name="connsiteY808" fmla="*/ 1461983 h 1729012"/>
                <a:gd name="connsiteX809" fmla="*/ 399844 w 2240198"/>
                <a:gd name="connsiteY809" fmla="*/ 1465112 h 1729012"/>
                <a:gd name="connsiteX810" fmla="*/ 404073 w 2240198"/>
                <a:gd name="connsiteY810" fmla="*/ 1470536 h 1729012"/>
                <a:gd name="connsiteX811" fmla="*/ 407414 w 2240198"/>
                <a:gd name="connsiteY811" fmla="*/ 1474385 h 1729012"/>
                <a:gd name="connsiteX812" fmla="*/ 408175 w 2240198"/>
                <a:gd name="connsiteY812" fmla="*/ 1475912 h 1729012"/>
                <a:gd name="connsiteX813" fmla="*/ 407470 w 2240198"/>
                <a:gd name="connsiteY813" fmla="*/ 1476403 h 1729012"/>
                <a:gd name="connsiteX814" fmla="*/ 407515 w 2240198"/>
                <a:gd name="connsiteY814" fmla="*/ 1477303 h 1729012"/>
                <a:gd name="connsiteX815" fmla="*/ 410052 w 2240198"/>
                <a:gd name="connsiteY815" fmla="*/ 1481028 h 1729012"/>
                <a:gd name="connsiteX816" fmla="*/ 414812 w 2240198"/>
                <a:gd name="connsiteY816" fmla="*/ 1484365 h 1729012"/>
                <a:gd name="connsiteX817" fmla="*/ 418538 w 2240198"/>
                <a:gd name="connsiteY817" fmla="*/ 1485955 h 1729012"/>
                <a:gd name="connsiteX818" fmla="*/ 426400 w 2240198"/>
                <a:gd name="connsiteY818" fmla="*/ 1488573 h 1729012"/>
                <a:gd name="connsiteX819" fmla="*/ 431220 w 2240198"/>
                <a:gd name="connsiteY819" fmla="*/ 1491086 h 1729012"/>
                <a:gd name="connsiteX820" fmla="*/ 432707 w 2240198"/>
                <a:gd name="connsiteY820" fmla="*/ 1492831 h 1729012"/>
                <a:gd name="connsiteX821" fmla="*/ 434803 w 2240198"/>
                <a:gd name="connsiteY821" fmla="*/ 1494522 h 1729012"/>
                <a:gd name="connsiteX822" fmla="*/ 435677 w 2240198"/>
                <a:gd name="connsiteY822" fmla="*/ 1495692 h 1729012"/>
                <a:gd name="connsiteX823" fmla="*/ 437395 w 2240198"/>
                <a:gd name="connsiteY823" fmla="*/ 1500021 h 1729012"/>
                <a:gd name="connsiteX824" fmla="*/ 440583 w 2240198"/>
                <a:gd name="connsiteY824" fmla="*/ 1504178 h 1729012"/>
                <a:gd name="connsiteX825" fmla="*/ 443867 w 2240198"/>
                <a:gd name="connsiteY825" fmla="*/ 1512067 h 1729012"/>
                <a:gd name="connsiteX826" fmla="*/ 444480 w 2240198"/>
                <a:gd name="connsiteY826" fmla="*/ 1511409 h 1729012"/>
                <a:gd name="connsiteX827" fmla="*/ 444858 w 2240198"/>
                <a:gd name="connsiteY827" fmla="*/ 1509059 h 1729012"/>
                <a:gd name="connsiteX828" fmla="*/ 445235 w 2240198"/>
                <a:gd name="connsiteY828" fmla="*/ 1508535 h 1729012"/>
                <a:gd name="connsiteX829" fmla="*/ 445934 w 2240198"/>
                <a:gd name="connsiteY829" fmla="*/ 1508284 h 1729012"/>
                <a:gd name="connsiteX830" fmla="*/ 446583 w 2240198"/>
                <a:gd name="connsiteY830" fmla="*/ 1509196 h 1729012"/>
                <a:gd name="connsiteX831" fmla="*/ 447181 w 2240198"/>
                <a:gd name="connsiteY831" fmla="*/ 1511274 h 1729012"/>
                <a:gd name="connsiteX832" fmla="*/ 449274 w 2240198"/>
                <a:gd name="connsiteY832" fmla="*/ 1516196 h 1729012"/>
                <a:gd name="connsiteX833" fmla="*/ 448592 w 2240198"/>
                <a:gd name="connsiteY833" fmla="*/ 1517632 h 1729012"/>
                <a:gd name="connsiteX834" fmla="*/ 447988 w 2240198"/>
                <a:gd name="connsiteY834" fmla="*/ 1517780 h 1729012"/>
                <a:gd name="connsiteX835" fmla="*/ 445164 w 2240198"/>
                <a:gd name="connsiteY835" fmla="*/ 1517106 h 1729012"/>
                <a:gd name="connsiteX836" fmla="*/ 444182 w 2240198"/>
                <a:gd name="connsiteY836" fmla="*/ 1517988 h 1729012"/>
                <a:gd name="connsiteX837" fmla="*/ 442867 w 2240198"/>
                <a:gd name="connsiteY837" fmla="*/ 1519779 h 1729012"/>
                <a:gd name="connsiteX838" fmla="*/ 441937 w 2240198"/>
                <a:gd name="connsiteY838" fmla="*/ 1520499 h 1729012"/>
                <a:gd name="connsiteX839" fmla="*/ 441392 w 2240198"/>
                <a:gd name="connsiteY839" fmla="*/ 1520150 h 1729012"/>
                <a:gd name="connsiteX840" fmla="*/ 433220 w 2240198"/>
                <a:gd name="connsiteY840" fmla="*/ 1518427 h 1729012"/>
                <a:gd name="connsiteX841" fmla="*/ 428191 w 2240198"/>
                <a:gd name="connsiteY841" fmla="*/ 1516808 h 1729012"/>
                <a:gd name="connsiteX842" fmla="*/ 421573 w 2240198"/>
                <a:gd name="connsiteY842" fmla="*/ 1514244 h 1729012"/>
                <a:gd name="connsiteX843" fmla="*/ 413632 w 2240198"/>
                <a:gd name="connsiteY843" fmla="*/ 1511572 h 1729012"/>
                <a:gd name="connsiteX844" fmla="*/ 409097 w 2240198"/>
                <a:gd name="connsiteY844" fmla="*/ 1509737 h 1729012"/>
                <a:gd name="connsiteX845" fmla="*/ 405320 w 2240198"/>
                <a:gd name="connsiteY845" fmla="*/ 1507851 h 1729012"/>
                <a:gd name="connsiteX846" fmla="*/ 402696 w 2240198"/>
                <a:gd name="connsiteY846" fmla="*/ 1506242 h 1729012"/>
                <a:gd name="connsiteX847" fmla="*/ 402200 w 2240198"/>
                <a:gd name="connsiteY847" fmla="*/ 1504876 h 1729012"/>
                <a:gd name="connsiteX848" fmla="*/ 402317 w 2240198"/>
                <a:gd name="connsiteY848" fmla="*/ 1504230 h 1729012"/>
                <a:gd name="connsiteX849" fmla="*/ 407410 w 2240198"/>
                <a:gd name="connsiteY849" fmla="*/ 1499853 h 1729012"/>
                <a:gd name="connsiteX850" fmla="*/ 409570 w 2240198"/>
                <a:gd name="connsiteY850" fmla="*/ 1497500 h 1729012"/>
                <a:gd name="connsiteX851" fmla="*/ 410396 w 2240198"/>
                <a:gd name="connsiteY851" fmla="*/ 1495699 h 1729012"/>
                <a:gd name="connsiteX852" fmla="*/ 410822 w 2240198"/>
                <a:gd name="connsiteY852" fmla="*/ 1493791 h 1729012"/>
                <a:gd name="connsiteX853" fmla="*/ 410508 w 2240198"/>
                <a:gd name="connsiteY853" fmla="*/ 1491459 h 1729012"/>
                <a:gd name="connsiteX854" fmla="*/ 410302 w 2240198"/>
                <a:gd name="connsiteY854" fmla="*/ 1491641 h 1729012"/>
                <a:gd name="connsiteX855" fmla="*/ 409846 w 2240198"/>
                <a:gd name="connsiteY855" fmla="*/ 1493872 h 1729012"/>
                <a:gd name="connsiteX856" fmla="*/ 409096 w 2240198"/>
                <a:gd name="connsiteY856" fmla="*/ 1495855 h 1729012"/>
                <a:gd name="connsiteX857" fmla="*/ 408180 w 2240198"/>
                <a:gd name="connsiteY857" fmla="*/ 1497411 h 1729012"/>
                <a:gd name="connsiteX858" fmla="*/ 407600 w 2240198"/>
                <a:gd name="connsiteY858" fmla="*/ 1497960 h 1729012"/>
                <a:gd name="connsiteX859" fmla="*/ 401492 w 2240198"/>
                <a:gd name="connsiteY859" fmla="*/ 1498719 h 1729012"/>
                <a:gd name="connsiteX860" fmla="*/ 396559 w 2240198"/>
                <a:gd name="connsiteY860" fmla="*/ 1498483 h 1729012"/>
                <a:gd name="connsiteX861" fmla="*/ 394085 w 2240198"/>
                <a:gd name="connsiteY861" fmla="*/ 1500353 h 1729012"/>
                <a:gd name="connsiteX862" fmla="*/ 393346 w 2240198"/>
                <a:gd name="connsiteY862" fmla="*/ 1500591 h 1729012"/>
                <a:gd name="connsiteX863" fmla="*/ 391986 w 2240198"/>
                <a:gd name="connsiteY863" fmla="*/ 1499968 h 1729012"/>
                <a:gd name="connsiteX864" fmla="*/ 389009 w 2240198"/>
                <a:gd name="connsiteY864" fmla="*/ 1497472 h 1729012"/>
                <a:gd name="connsiteX865" fmla="*/ 384749 w 2240198"/>
                <a:gd name="connsiteY865" fmla="*/ 1495419 h 1729012"/>
                <a:gd name="connsiteX866" fmla="*/ 385169 w 2240198"/>
                <a:gd name="connsiteY866" fmla="*/ 1494915 h 1729012"/>
                <a:gd name="connsiteX867" fmla="*/ 387949 w 2240198"/>
                <a:gd name="connsiteY867" fmla="*/ 1493866 h 1729012"/>
                <a:gd name="connsiteX868" fmla="*/ 389422 w 2240198"/>
                <a:gd name="connsiteY868" fmla="*/ 1492340 h 1729012"/>
                <a:gd name="connsiteX869" fmla="*/ 389158 w 2240198"/>
                <a:gd name="connsiteY869" fmla="*/ 1492097 h 1729012"/>
                <a:gd name="connsiteX870" fmla="*/ 388167 w 2240198"/>
                <a:gd name="connsiteY870" fmla="*/ 1492190 h 1729012"/>
                <a:gd name="connsiteX871" fmla="*/ 387297 w 2240198"/>
                <a:gd name="connsiteY871" fmla="*/ 1491879 h 1729012"/>
                <a:gd name="connsiteX872" fmla="*/ 385563 w 2240198"/>
                <a:gd name="connsiteY872" fmla="*/ 1489899 h 1729012"/>
                <a:gd name="connsiteX873" fmla="*/ 384573 w 2240198"/>
                <a:gd name="connsiteY873" fmla="*/ 1489359 h 1729012"/>
                <a:gd name="connsiteX874" fmla="*/ 382470 w 2240198"/>
                <a:gd name="connsiteY874" fmla="*/ 1490250 h 1729012"/>
                <a:gd name="connsiteX875" fmla="*/ 381626 w 2240198"/>
                <a:gd name="connsiteY875" fmla="*/ 1490298 h 1729012"/>
                <a:gd name="connsiteX876" fmla="*/ 380810 w 2240198"/>
                <a:gd name="connsiteY876" fmla="*/ 1488989 h 1729012"/>
                <a:gd name="connsiteX877" fmla="*/ 381981 w 2240198"/>
                <a:gd name="connsiteY877" fmla="*/ 1485971 h 1729012"/>
                <a:gd name="connsiteX878" fmla="*/ 382039 w 2240198"/>
                <a:gd name="connsiteY878" fmla="*/ 1485259 h 1729012"/>
                <a:gd name="connsiteX879" fmla="*/ 379886 w 2240198"/>
                <a:gd name="connsiteY879" fmla="*/ 1486359 h 1729012"/>
                <a:gd name="connsiteX880" fmla="*/ 379175 w 2240198"/>
                <a:gd name="connsiteY880" fmla="*/ 1485998 h 1729012"/>
                <a:gd name="connsiteX881" fmla="*/ 378502 w 2240198"/>
                <a:gd name="connsiteY881" fmla="*/ 1485018 h 1729012"/>
                <a:gd name="connsiteX882" fmla="*/ 377869 w 2240198"/>
                <a:gd name="connsiteY882" fmla="*/ 1484608 h 1729012"/>
                <a:gd name="connsiteX883" fmla="*/ 376119 w 2240198"/>
                <a:gd name="connsiteY883" fmla="*/ 1484809 h 1729012"/>
                <a:gd name="connsiteX884" fmla="*/ 374223 w 2240198"/>
                <a:gd name="connsiteY884" fmla="*/ 1483904 h 1729012"/>
                <a:gd name="connsiteX885" fmla="*/ 373562 w 2240198"/>
                <a:gd name="connsiteY885" fmla="*/ 1484259 h 1729012"/>
                <a:gd name="connsiteX886" fmla="*/ 373310 w 2240198"/>
                <a:gd name="connsiteY886" fmla="*/ 1485564 h 1729012"/>
                <a:gd name="connsiteX887" fmla="*/ 372680 w 2240198"/>
                <a:gd name="connsiteY887" fmla="*/ 1485898 h 1729012"/>
                <a:gd name="connsiteX888" fmla="*/ 369787 w 2240198"/>
                <a:gd name="connsiteY888" fmla="*/ 1483695 h 1729012"/>
                <a:gd name="connsiteX889" fmla="*/ 369128 w 2240198"/>
                <a:gd name="connsiteY889" fmla="*/ 1483626 h 1729012"/>
                <a:gd name="connsiteX890" fmla="*/ 367726 w 2240198"/>
                <a:gd name="connsiteY890" fmla="*/ 1485310 h 1729012"/>
                <a:gd name="connsiteX891" fmla="*/ 367237 w 2240198"/>
                <a:gd name="connsiteY891" fmla="*/ 1485413 h 1729012"/>
                <a:gd name="connsiteX892" fmla="*/ 366492 w 2240198"/>
                <a:gd name="connsiteY892" fmla="*/ 1484685 h 1729012"/>
                <a:gd name="connsiteX893" fmla="*/ 366107 w 2240198"/>
                <a:gd name="connsiteY893" fmla="*/ 1480594 h 1729012"/>
                <a:gd name="connsiteX894" fmla="*/ 366265 w 2240198"/>
                <a:gd name="connsiteY894" fmla="*/ 1479430 h 1729012"/>
                <a:gd name="connsiteX895" fmla="*/ 366661 w 2240198"/>
                <a:gd name="connsiteY895" fmla="*/ 1479039 h 1729012"/>
                <a:gd name="connsiteX896" fmla="*/ 369173 w 2240198"/>
                <a:gd name="connsiteY896" fmla="*/ 1478090 h 1729012"/>
                <a:gd name="connsiteX897" fmla="*/ 376399 w 2240198"/>
                <a:gd name="connsiteY897" fmla="*/ 1477073 h 1729012"/>
                <a:gd name="connsiteX898" fmla="*/ 377001 w 2240198"/>
                <a:gd name="connsiteY898" fmla="*/ 1476342 h 1729012"/>
                <a:gd name="connsiteX899" fmla="*/ 371588 w 2240198"/>
                <a:gd name="connsiteY899" fmla="*/ 1476721 h 1729012"/>
                <a:gd name="connsiteX900" fmla="*/ 370178 w 2240198"/>
                <a:gd name="connsiteY900" fmla="*/ 1476163 h 1729012"/>
                <a:gd name="connsiteX901" fmla="*/ 368666 w 2240198"/>
                <a:gd name="connsiteY901" fmla="*/ 1474762 h 1729012"/>
                <a:gd name="connsiteX902" fmla="*/ 367083 w 2240198"/>
                <a:gd name="connsiteY902" fmla="*/ 1474783 h 1729012"/>
                <a:gd name="connsiteX903" fmla="*/ 366245 w 2240198"/>
                <a:gd name="connsiteY903" fmla="*/ 1474327 h 1729012"/>
                <a:gd name="connsiteX904" fmla="*/ 365367 w 2240198"/>
                <a:gd name="connsiteY904" fmla="*/ 1473314 h 1729012"/>
                <a:gd name="connsiteX905" fmla="*/ 363079 w 2240198"/>
                <a:gd name="connsiteY905" fmla="*/ 1469603 h 1729012"/>
                <a:gd name="connsiteX906" fmla="*/ 361520 w 2240198"/>
                <a:gd name="connsiteY906" fmla="*/ 1468662 h 1729012"/>
                <a:gd name="connsiteX907" fmla="*/ 358864 w 2240198"/>
                <a:gd name="connsiteY907" fmla="*/ 1468071 h 1729012"/>
                <a:gd name="connsiteX908" fmla="*/ 357496 w 2240198"/>
                <a:gd name="connsiteY908" fmla="*/ 1467365 h 1729012"/>
                <a:gd name="connsiteX909" fmla="*/ 356919 w 2240198"/>
                <a:gd name="connsiteY909" fmla="*/ 1467677 h 1729012"/>
                <a:gd name="connsiteX910" fmla="*/ 356364 w 2240198"/>
                <a:gd name="connsiteY910" fmla="*/ 1468736 h 1729012"/>
                <a:gd name="connsiteX911" fmla="*/ 355625 w 2240198"/>
                <a:gd name="connsiteY911" fmla="*/ 1469393 h 1729012"/>
                <a:gd name="connsiteX912" fmla="*/ 353808 w 2240198"/>
                <a:gd name="connsiteY912" fmla="*/ 1469766 h 1729012"/>
                <a:gd name="connsiteX913" fmla="*/ 352147 w 2240198"/>
                <a:gd name="connsiteY913" fmla="*/ 1469494 h 1729012"/>
                <a:gd name="connsiteX914" fmla="*/ 350847 w 2240198"/>
                <a:gd name="connsiteY914" fmla="*/ 1468479 h 1729012"/>
                <a:gd name="connsiteX915" fmla="*/ 350077 w 2240198"/>
                <a:gd name="connsiteY915" fmla="*/ 1467198 h 1729012"/>
                <a:gd name="connsiteX916" fmla="*/ 349782 w 2240198"/>
                <a:gd name="connsiteY916" fmla="*/ 1465767 h 1729012"/>
                <a:gd name="connsiteX917" fmla="*/ 350502 w 2240198"/>
                <a:gd name="connsiteY917" fmla="*/ 1463851 h 1729012"/>
                <a:gd name="connsiteX918" fmla="*/ 350490 w 2240198"/>
                <a:gd name="connsiteY918" fmla="*/ 1463094 h 1729012"/>
                <a:gd name="connsiteX919" fmla="*/ 350167 w 2240198"/>
                <a:gd name="connsiteY919" fmla="*/ 1462208 h 1729012"/>
                <a:gd name="connsiteX920" fmla="*/ 349576 w 2240198"/>
                <a:gd name="connsiteY920" fmla="*/ 1461492 h 1729012"/>
                <a:gd name="connsiteX921" fmla="*/ 348710 w 2240198"/>
                <a:gd name="connsiteY921" fmla="*/ 1460945 h 1729012"/>
                <a:gd name="connsiteX922" fmla="*/ 348239 w 2240198"/>
                <a:gd name="connsiteY922" fmla="*/ 1461232 h 1729012"/>
                <a:gd name="connsiteX923" fmla="*/ 348159 w 2240198"/>
                <a:gd name="connsiteY923" fmla="*/ 1462351 h 1729012"/>
                <a:gd name="connsiteX924" fmla="*/ 347690 w 2240198"/>
                <a:gd name="connsiteY924" fmla="*/ 1463170 h 1729012"/>
                <a:gd name="connsiteX925" fmla="*/ 346185 w 2240198"/>
                <a:gd name="connsiteY925" fmla="*/ 1463796 h 1729012"/>
                <a:gd name="connsiteX926" fmla="*/ 344954 w 2240198"/>
                <a:gd name="connsiteY926" fmla="*/ 1462701 h 1729012"/>
                <a:gd name="connsiteX927" fmla="*/ 344146 w 2240198"/>
                <a:gd name="connsiteY927" fmla="*/ 1461182 h 1729012"/>
                <a:gd name="connsiteX928" fmla="*/ 343200 w 2240198"/>
                <a:gd name="connsiteY928" fmla="*/ 1460101 h 1729012"/>
                <a:gd name="connsiteX929" fmla="*/ 337933 w 2240198"/>
                <a:gd name="connsiteY929" fmla="*/ 1460105 h 1729012"/>
                <a:gd name="connsiteX930" fmla="*/ 335508 w 2240198"/>
                <a:gd name="connsiteY930" fmla="*/ 1461504 h 1729012"/>
                <a:gd name="connsiteX931" fmla="*/ 334346 w 2240198"/>
                <a:gd name="connsiteY931" fmla="*/ 1461617 h 1729012"/>
                <a:gd name="connsiteX932" fmla="*/ 333139 w 2240198"/>
                <a:gd name="connsiteY932" fmla="*/ 1461285 h 1729012"/>
                <a:gd name="connsiteX933" fmla="*/ 332908 w 2240198"/>
                <a:gd name="connsiteY933" fmla="*/ 1460544 h 1729012"/>
                <a:gd name="connsiteX934" fmla="*/ 334044 w 2240198"/>
                <a:gd name="connsiteY934" fmla="*/ 1458510 h 1729012"/>
                <a:gd name="connsiteX935" fmla="*/ 333766 w 2240198"/>
                <a:gd name="connsiteY935" fmla="*/ 1455794 h 1729012"/>
                <a:gd name="connsiteX936" fmla="*/ 333470 w 2240198"/>
                <a:gd name="connsiteY936" fmla="*/ 1455113 h 1729012"/>
                <a:gd name="connsiteX937" fmla="*/ 331040 w 2240198"/>
                <a:gd name="connsiteY937" fmla="*/ 1454698 h 1729012"/>
                <a:gd name="connsiteX938" fmla="*/ 330627 w 2240198"/>
                <a:gd name="connsiteY938" fmla="*/ 1454041 h 1729012"/>
                <a:gd name="connsiteX939" fmla="*/ 332074 w 2240198"/>
                <a:gd name="connsiteY939" fmla="*/ 1450741 h 1729012"/>
                <a:gd name="connsiteX940" fmla="*/ 332882 w 2240198"/>
                <a:gd name="connsiteY940" fmla="*/ 1450117 h 1729012"/>
                <a:gd name="connsiteX941" fmla="*/ 333960 w 2240198"/>
                <a:gd name="connsiteY941" fmla="*/ 1449882 h 1729012"/>
                <a:gd name="connsiteX942" fmla="*/ 338780 w 2240198"/>
                <a:gd name="connsiteY942" fmla="*/ 1449613 h 1729012"/>
                <a:gd name="connsiteX943" fmla="*/ 340385 w 2240198"/>
                <a:gd name="connsiteY943" fmla="*/ 1450085 h 1729012"/>
                <a:gd name="connsiteX944" fmla="*/ 342708 w 2240198"/>
                <a:gd name="connsiteY944" fmla="*/ 1452090 h 1729012"/>
                <a:gd name="connsiteX945" fmla="*/ 342636 w 2240198"/>
                <a:gd name="connsiteY945" fmla="*/ 1451336 h 1729012"/>
                <a:gd name="connsiteX946" fmla="*/ 341756 w 2240198"/>
                <a:gd name="connsiteY946" fmla="*/ 1449060 h 1729012"/>
                <a:gd name="connsiteX947" fmla="*/ 341631 w 2240198"/>
                <a:gd name="connsiteY947" fmla="*/ 1447693 h 1729012"/>
                <a:gd name="connsiteX948" fmla="*/ 343230 w 2240198"/>
                <a:gd name="connsiteY948" fmla="*/ 1446149 h 1729012"/>
                <a:gd name="connsiteX949" fmla="*/ 341701 w 2240198"/>
                <a:gd name="connsiteY949" fmla="*/ 1445696 h 1729012"/>
                <a:gd name="connsiteX950" fmla="*/ 335989 w 2240198"/>
                <a:gd name="connsiteY950" fmla="*/ 1445340 h 1729012"/>
                <a:gd name="connsiteX951" fmla="*/ 336034 w 2240198"/>
                <a:gd name="connsiteY951" fmla="*/ 1446328 h 1729012"/>
                <a:gd name="connsiteX952" fmla="*/ 336505 w 2240198"/>
                <a:gd name="connsiteY952" fmla="*/ 1447727 h 1729012"/>
                <a:gd name="connsiteX953" fmla="*/ 333118 w 2240198"/>
                <a:gd name="connsiteY953" fmla="*/ 1448955 h 1729012"/>
                <a:gd name="connsiteX954" fmla="*/ 330609 w 2240198"/>
                <a:gd name="connsiteY954" fmla="*/ 1449163 h 1729012"/>
                <a:gd name="connsiteX955" fmla="*/ 328208 w 2240198"/>
                <a:gd name="connsiteY955" fmla="*/ 1448968 h 1729012"/>
                <a:gd name="connsiteX956" fmla="*/ 326248 w 2240198"/>
                <a:gd name="connsiteY956" fmla="*/ 1448233 h 1729012"/>
                <a:gd name="connsiteX957" fmla="*/ 322906 w 2240198"/>
                <a:gd name="connsiteY957" fmla="*/ 1445277 h 1729012"/>
                <a:gd name="connsiteX958" fmla="*/ 320816 w 2240198"/>
                <a:gd name="connsiteY958" fmla="*/ 1442364 h 1729012"/>
                <a:gd name="connsiteX959" fmla="*/ 320913 w 2240198"/>
                <a:gd name="connsiteY959" fmla="*/ 1440773 h 1729012"/>
                <a:gd name="connsiteX960" fmla="*/ 322060 w 2240198"/>
                <a:gd name="connsiteY960" fmla="*/ 1439106 h 1729012"/>
                <a:gd name="connsiteX961" fmla="*/ 323563 w 2240198"/>
                <a:gd name="connsiteY961" fmla="*/ 1437968 h 1729012"/>
                <a:gd name="connsiteX962" fmla="*/ 327119 w 2240198"/>
                <a:gd name="connsiteY962" fmla="*/ 1436980 h 1729012"/>
                <a:gd name="connsiteX963" fmla="*/ 2167478 w 2240198"/>
                <a:gd name="connsiteY963" fmla="*/ 1412171 h 1729012"/>
                <a:gd name="connsiteX964" fmla="*/ 2168115 w 2240198"/>
                <a:gd name="connsiteY964" fmla="*/ 1412391 h 1729012"/>
                <a:gd name="connsiteX965" fmla="*/ 2169212 w 2240198"/>
                <a:gd name="connsiteY965" fmla="*/ 1413320 h 1729012"/>
                <a:gd name="connsiteX966" fmla="*/ 2169072 w 2240198"/>
                <a:gd name="connsiteY966" fmla="*/ 1414189 h 1729012"/>
                <a:gd name="connsiteX967" fmla="*/ 2167204 w 2240198"/>
                <a:gd name="connsiteY967" fmla="*/ 1417545 h 1729012"/>
                <a:gd name="connsiteX968" fmla="*/ 2165911 w 2240198"/>
                <a:gd name="connsiteY968" fmla="*/ 1419174 h 1729012"/>
                <a:gd name="connsiteX969" fmla="*/ 2164711 w 2240198"/>
                <a:gd name="connsiteY969" fmla="*/ 1419700 h 1729012"/>
                <a:gd name="connsiteX970" fmla="*/ 2162175 w 2240198"/>
                <a:gd name="connsiteY970" fmla="*/ 1420179 h 1729012"/>
                <a:gd name="connsiteX971" fmla="*/ 2156840 w 2240198"/>
                <a:gd name="connsiteY971" fmla="*/ 1420706 h 1729012"/>
                <a:gd name="connsiteX972" fmla="*/ 2154559 w 2240198"/>
                <a:gd name="connsiteY972" fmla="*/ 1421199 h 1729012"/>
                <a:gd name="connsiteX973" fmla="*/ 2154233 w 2240198"/>
                <a:gd name="connsiteY973" fmla="*/ 1423434 h 1729012"/>
                <a:gd name="connsiteX974" fmla="*/ 2154570 w 2240198"/>
                <a:gd name="connsiteY974" fmla="*/ 1424610 h 1729012"/>
                <a:gd name="connsiteX975" fmla="*/ 2155350 w 2240198"/>
                <a:gd name="connsiteY975" fmla="*/ 1425537 h 1729012"/>
                <a:gd name="connsiteX976" fmla="*/ 2156341 w 2240198"/>
                <a:gd name="connsiteY976" fmla="*/ 1425801 h 1729012"/>
                <a:gd name="connsiteX977" fmla="*/ 2158554 w 2240198"/>
                <a:gd name="connsiteY977" fmla="*/ 1425247 h 1729012"/>
                <a:gd name="connsiteX978" fmla="*/ 2159376 w 2240198"/>
                <a:gd name="connsiteY978" fmla="*/ 1425342 h 1729012"/>
                <a:gd name="connsiteX979" fmla="*/ 2160037 w 2240198"/>
                <a:gd name="connsiteY979" fmla="*/ 1425809 h 1729012"/>
                <a:gd name="connsiteX980" fmla="*/ 2160533 w 2240198"/>
                <a:gd name="connsiteY980" fmla="*/ 1426648 h 1729012"/>
                <a:gd name="connsiteX981" fmla="*/ 2160790 w 2240198"/>
                <a:gd name="connsiteY981" fmla="*/ 1427813 h 1729012"/>
                <a:gd name="connsiteX982" fmla="*/ 2160806 w 2240198"/>
                <a:gd name="connsiteY982" fmla="*/ 1429302 h 1729012"/>
                <a:gd name="connsiteX983" fmla="*/ 2160419 w 2240198"/>
                <a:gd name="connsiteY983" fmla="*/ 1431105 h 1729012"/>
                <a:gd name="connsiteX984" fmla="*/ 2158609 w 2240198"/>
                <a:gd name="connsiteY984" fmla="*/ 1435321 h 1729012"/>
                <a:gd name="connsiteX985" fmla="*/ 2156311 w 2240198"/>
                <a:gd name="connsiteY985" fmla="*/ 1437651 h 1729012"/>
                <a:gd name="connsiteX986" fmla="*/ 2153366 w 2240198"/>
                <a:gd name="connsiteY986" fmla="*/ 1439547 h 1729012"/>
                <a:gd name="connsiteX987" fmla="*/ 2152646 w 2240198"/>
                <a:gd name="connsiteY987" fmla="*/ 1440271 h 1729012"/>
                <a:gd name="connsiteX988" fmla="*/ 2152275 w 2240198"/>
                <a:gd name="connsiteY988" fmla="*/ 1441122 h 1729012"/>
                <a:gd name="connsiteX989" fmla="*/ 2151908 w 2240198"/>
                <a:gd name="connsiteY989" fmla="*/ 1443886 h 1729012"/>
                <a:gd name="connsiteX990" fmla="*/ 2150384 w 2240198"/>
                <a:gd name="connsiteY990" fmla="*/ 1446093 h 1729012"/>
                <a:gd name="connsiteX991" fmla="*/ 2145651 w 2240198"/>
                <a:gd name="connsiteY991" fmla="*/ 1451680 h 1729012"/>
                <a:gd name="connsiteX992" fmla="*/ 2143827 w 2240198"/>
                <a:gd name="connsiteY992" fmla="*/ 1452909 h 1729012"/>
                <a:gd name="connsiteX993" fmla="*/ 2143816 w 2240198"/>
                <a:gd name="connsiteY993" fmla="*/ 1453891 h 1729012"/>
                <a:gd name="connsiteX994" fmla="*/ 2143077 w 2240198"/>
                <a:gd name="connsiteY994" fmla="*/ 1456538 h 1729012"/>
                <a:gd name="connsiteX995" fmla="*/ 2141671 w 2240198"/>
                <a:gd name="connsiteY995" fmla="*/ 1458666 h 1729012"/>
                <a:gd name="connsiteX996" fmla="*/ 2137750 w 2240198"/>
                <a:gd name="connsiteY996" fmla="*/ 1463541 h 1729012"/>
                <a:gd name="connsiteX997" fmla="*/ 2136779 w 2240198"/>
                <a:gd name="connsiteY997" fmla="*/ 1465262 h 1729012"/>
                <a:gd name="connsiteX998" fmla="*/ 2136341 w 2240198"/>
                <a:gd name="connsiteY998" fmla="*/ 1466624 h 1729012"/>
                <a:gd name="connsiteX999" fmla="*/ 2136402 w 2240198"/>
                <a:gd name="connsiteY999" fmla="*/ 1468544 h 1729012"/>
                <a:gd name="connsiteX1000" fmla="*/ 2136226 w 2240198"/>
                <a:gd name="connsiteY1000" fmla="*/ 1469390 h 1729012"/>
                <a:gd name="connsiteX1001" fmla="*/ 2135328 w 2240198"/>
                <a:gd name="connsiteY1001" fmla="*/ 1471015 h 1729012"/>
                <a:gd name="connsiteX1002" fmla="*/ 2134077 w 2240198"/>
                <a:gd name="connsiteY1002" fmla="*/ 1472533 h 1729012"/>
                <a:gd name="connsiteX1003" fmla="*/ 2133830 w 2240198"/>
                <a:gd name="connsiteY1003" fmla="*/ 1473274 h 1729012"/>
                <a:gd name="connsiteX1004" fmla="*/ 2134323 w 2240198"/>
                <a:gd name="connsiteY1004" fmla="*/ 1474618 h 1729012"/>
                <a:gd name="connsiteX1005" fmla="*/ 2134828 w 2240198"/>
                <a:gd name="connsiteY1005" fmla="*/ 1475087 h 1729012"/>
                <a:gd name="connsiteX1006" fmla="*/ 2134888 w 2240198"/>
                <a:gd name="connsiteY1006" fmla="*/ 1476308 h 1729012"/>
                <a:gd name="connsiteX1007" fmla="*/ 2134500 w 2240198"/>
                <a:gd name="connsiteY1007" fmla="*/ 1478282 h 1729012"/>
                <a:gd name="connsiteX1008" fmla="*/ 2136159 w 2240198"/>
                <a:gd name="connsiteY1008" fmla="*/ 1477025 h 1729012"/>
                <a:gd name="connsiteX1009" fmla="*/ 2139864 w 2240198"/>
                <a:gd name="connsiteY1009" fmla="*/ 1472535 h 1729012"/>
                <a:gd name="connsiteX1010" fmla="*/ 2142646 w 2240198"/>
                <a:gd name="connsiteY1010" fmla="*/ 1469829 h 1729012"/>
                <a:gd name="connsiteX1011" fmla="*/ 2144506 w 2240198"/>
                <a:gd name="connsiteY1011" fmla="*/ 1468911 h 1729012"/>
                <a:gd name="connsiteX1012" fmla="*/ 2145803 w 2240198"/>
                <a:gd name="connsiteY1012" fmla="*/ 1467711 h 1729012"/>
                <a:gd name="connsiteX1013" fmla="*/ 2147188 w 2240198"/>
                <a:gd name="connsiteY1013" fmla="*/ 1465061 h 1729012"/>
                <a:gd name="connsiteX1014" fmla="*/ 2149083 w 2240198"/>
                <a:gd name="connsiteY1014" fmla="*/ 1462533 h 1729012"/>
                <a:gd name="connsiteX1015" fmla="*/ 2150799 w 2240198"/>
                <a:gd name="connsiteY1015" fmla="*/ 1461708 h 1729012"/>
                <a:gd name="connsiteX1016" fmla="*/ 2151585 w 2240198"/>
                <a:gd name="connsiteY1016" fmla="*/ 1462193 h 1729012"/>
                <a:gd name="connsiteX1017" fmla="*/ 2152251 w 2240198"/>
                <a:gd name="connsiteY1017" fmla="*/ 1463436 h 1729012"/>
                <a:gd name="connsiteX1018" fmla="*/ 2152116 w 2240198"/>
                <a:gd name="connsiteY1018" fmla="*/ 1465015 h 1729012"/>
                <a:gd name="connsiteX1019" fmla="*/ 2151185 w 2240198"/>
                <a:gd name="connsiteY1019" fmla="*/ 1466930 h 1729012"/>
                <a:gd name="connsiteX1020" fmla="*/ 2151257 w 2240198"/>
                <a:gd name="connsiteY1020" fmla="*/ 1467498 h 1729012"/>
                <a:gd name="connsiteX1021" fmla="*/ 2153445 w 2240198"/>
                <a:gd name="connsiteY1021" fmla="*/ 1466092 h 1729012"/>
                <a:gd name="connsiteX1022" fmla="*/ 2157199 w 2240198"/>
                <a:gd name="connsiteY1022" fmla="*/ 1464928 h 1729012"/>
                <a:gd name="connsiteX1023" fmla="*/ 2158559 w 2240198"/>
                <a:gd name="connsiteY1023" fmla="*/ 1465082 h 1729012"/>
                <a:gd name="connsiteX1024" fmla="*/ 2161313 w 2240198"/>
                <a:gd name="connsiteY1024" fmla="*/ 1466826 h 1729012"/>
                <a:gd name="connsiteX1025" fmla="*/ 2163602 w 2240198"/>
                <a:gd name="connsiteY1025" fmla="*/ 1466624 h 1729012"/>
                <a:gd name="connsiteX1026" fmla="*/ 2167264 w 2240198"/>
                <a:gd name="connsiteY1026" fmla="*/ 1465610 h 1729012"/>
                <a:gd name="connsiteX1027" fmla="*/ 2167951 w 2240198"/>
                <a:gd name="connsiteY1027" fmla="*/ 1466075 h 1729012"/>
                <a:gd name="connsiteX1028" fmla="*/ 2167341 w 2240198"/>
                <a:gd name="connsiteY1028" fmla="*/ 1467609 h 1729012"/>
                <a:gd name="connsiteX1029" fmla="*/ 2165903 w 2240198"/>
                <a:gd name="connsiteY1029" fmla="*/ 1469077 h 1729012"/>
                <a:gd name="connsiteX1030" fmla="*/ 2162508 w 2240198"/>
                <a:gd name="connsiteY1030" fmla="*/ 1471171 h 1729012"/>
                <a:gd name="connsiteX1031" fmla="*/ 2154333 w 2240198"/>
                <a:gd name="connsiteY1031" fmla="*/ 1475275 h 1729012"/>
                <a:gd name="connsiteX1032" fmla="*/ 2151793 w 2240198"/>
                <a:gd name="connsiteY1032" fmla="*/ 1478095 h 1729012"/>
                <a:gd name="connsiteX1033" fmla="*/ 2152275 w 2240198"/>
                <a:gd name="connsiteY1033" fmla="*/ 1478010 h 1729012"/>
                <a:gd name="connsiteX1034" fmla="*/ 2154038 w 2240198"/>
                <a:gd name="connsiteY1034" fmla="*/ 1476801 h 1729012"/>
                <a:gd name="connsiteX1035" fmla="*/ 2155892 w 2240198"/>
                <a:gd name="connsiteY1035" fmla="*/ 1476151 h 1729012"/>
                <a:gd name="connsiteX1036" fmla="*/ 2157836 w 2240198"/>
                <a:gd name="connsiteY1036" fmla="*/ 1476060 h 1729012"/>
                <a:gd name="connsiteX1037" fmla="*/ 2158648 w 2240198"/>
                <a:gd name="connsiteY1037" fmla="*/ 1476414 h 1729012"/>
                <a:gd name="connsiteX1038" fmla="*/ 2158332 w 2240198"/>
                <a:gd name="connsiteY1038" fmla="*/ 1477212 h 1729012"/>
                <a:gd name="connsiteX1039" fmla="*/ 2158085 w 2240198"/>
                <a:gd name="connsiteY1039" fmla="*/ 1479376 h 1729012"/>
                <a:gd name="connsiteX1040" fmla="*/ 2153133 w 2240198"/>
                <a:gd name="connsiteY1040" fmla="*/ 1483600 h 1729012"/>
                <a:gd name="connsiteX1041" fmla="*/ 2154303 w 2240198"/>
                <a:gd name="connsiteY1041" fmla="*/ 1483438 h 1729012"/>
                <a:gd name="connsiteX1042" fmla="*/ 2160032 w 2240198"/>
                <a:gd name="connsiteY1042" fmla="*/ 1481515 h 1729012"/>
                <a:gd name="connsiteX1043" fmla="*/ 2163509 w 2240198"/>
                <a:gd name="connsiteY1043" fmla="*/ 1484169 h 1729012"/>
                <a:gd name="connsiteX1044" fmla="*/ 2168286 w 2240198"/>
                <a:gd name="connsiteY1044" fmla="*/ 1483253 h 1729012"/>
                <a:gd name="connsiteX1045" fmla="*/ 2171171 w 2240198"/>
                <a:gd name="connsiteY1045" fmla="*/ 1482356 h 1729012"/>
                <a:gd name="connsiteX1046" fmla="*/ 2171090 w 2240198"/>
                <a:gd name="connsiteY1046" fmla="*/ 1482910 h 1729012"/>
                <a:gd name="connsiteX1047" fmla="*/ 2171715 w 2240198"/>
                <a:gd name="connsiteY1047" fmla="*/ 1484068 h 1729012"/>
                <a:gd name="connsiteX1048" fmla="*/ 2171693 w 2240198"/>
                <a:gd name="connsiteY1048" fmla="*/ 1485937 h 1729012"/>
                <a:gd name="connsiteX1049" fmla="*/ 2171986 w 2240198"/>
                <a:gd name="connsiteY1049" fmla="*/ 1486199 h 1729012"/>
                <a:gd name="connsiteX1050" fmla="*/ 2173352 w 2240198"/>
                <a:gd name="connsiteY1050" fmla="*/ 1485572 h 1729012"/>
                <a:gd name="connsiteX1051" fmla="*/ 2173600 w 2240198"/>
                <a:gd name="connsiteY1051" fmla="*/ 1484889 h 1729012"/>
                <a:gd name="connsiteX1052" fmla="*/ 2173528 w 2240198"/>
                <a:gd name="connsiteY1052" fmla="*/ 1481564 h 1729012"/>
                <a:gd name="connsiteX1053" fmla="*/ 2173950 w 2240198"/>
                <a:gd name="connsiteY1053" fmla="*/ 1481231 h 1729012"/>
                <a:gd name="connsiteX1054" fmla="*/ 2174883 w 2240198"/>
                <a:gd name="connsiteY1054" fmla="*/ 1481750 h 1729012"/>
                <a:gd name="connsiteX1055" fmla="*/ 2175454 w 2240198"/>
                <a:gd name="connsiteY1055" fmla="*/ 1482609 h 1729012"/>
                <a:gd name="connsiteX1056" fmla="*/ 2175625 w 2240198"/>
                <a:gd name="connsiteY1056" fmla="*/ 1485029 h 1729012"/>
                <a:gd name="connsiteX1057" fmla="*/ 2174999 w 2240198"/>
                <a:gd name="connsiteY1057" fmla="*/ 1487454 h 1729012"/>
                <a:gd name="connsiteX1058" fmla="*/ 2174129 w 2240198"/>
                <a:gd name="connsiteY1058" fmla="*/ 1489677 h 1729012"/>
                <a:gd name="connsiteX1059" fmla="*/ 2172020 w 2240198"/>
                <a:gd name="connsiteY1059" fmla="*/ 1492920 h 1729012"/>
                <a:gd name="connsiteX1060" fmla="*/ 2172287 w 2240198"/>
                <a:gd name="connsiteY1060" fmla="*/ 1494314 h 1729012"/>
                <a:gd name="connsiteX1061" fmla="*/ 2171749 w 2240198"/>
                <a:gd name="connsiteY1061" fmla="*/ 1495825 h 1729012"/>
                <a:gd name="connsiteX1062" fmla="*/ 2172215 w 2240198"/>
                <a:gd name="connsiteY1062" fmla="*/ 1495876 h 1729012"/>
                <a:gd name="connsiteX1063" fmla="*/ 2174305 w 2240198"/>
                <a:gd name="connsiteY1063" fmla="*/ 1494466 h 1729012"/>
                <a:gd name="connsiteX1064" fmla="*/ 2174431 w 2240198"/>
                <a:gd name="connsiteY1064" fmla="*/ 1493887 h 1729012"/>
                <a:gd name="connsiteX1065" fmla="*/ 2174269 w 2240198"/>
                <a:gd name="connsiteY1065" fmla="*/ 1492542 h 1729012"/>
                <a:gd name="connsiteX1066" fmla="*/ 2174504 w 2240198"/>
                <a:gd name="connsiteY1066" fmla="*/ 1491881 h 1729012"/>
                <a:gd name="connsiteX1067" fmla="*/ 2176238 w 2240198"/>
                <a:gd name="connsiteY1067" fmla="*/ 1490417 h 1729012"/>
                <a:gd name="connsiteX1068" fmla="*/ 2179102 w 2240198"/>
                <a:gd name="connsiteY1068" fmla="*/ 1488680 h 1729012"/>
                <a:gd name="connsiteX1069" fmla="*/ 2180040 w 2240198"/>
                <a:gd name="connsiteY1069" fmla="*/ 1488416 h 1729012"/>
                <a:gd name="connsiteX1070" fmla="*/ 2180440 w 2240198"/>
                <a:gd name="connsiteY1070" fmla="*/ 1488822 h 1729012"/>
                <a:gd name="connsiteX1071" fmla="*/ 2180300 w 2240198"/>
                <a:gd name="connsiteY1071" fmla="*/ 1489894 h 1729012"/>
                <a:gd name="connsiteX1072" fmla="*/ 2181144 w 2240198"/>
                <a:gd name="connsiteY1072" fmla="*/ 1489640 h 1729012"/>
                <a:gd name="connsiteX1073" fmla="*/ 2182972 w 2240198"/>
                <a:gd name="connsiteY1073" fmla="*/ 1488059 h 1729012"/>
                <a:gd name="connsiteX1074" fmla="*/ 2184668 w 2240198"/>
                <a:gd name="connsiteY1074" fmla="*/ 1487101 h 1729012"/>
                <a:gd name="connsiteX1075" fmla="*/ 2186235 w 2240198"/>
                <a:gd name="connsiteY1075" fmla="*/ 1486771 h 1729012"/>
                <a:gd name="connsiteX1076" fmla="*/ 2187864 w 2240198"/>
                <a:gd name="connsiteY1076" fmla="*/ 1485683 h 1729012"/>
                <a:gd name="connsiteX1077" fmla="*/ 2189557 w 2240198"/>
                <a:gd name="connsiteY1077" fmla="*/ 1483843 h 1729012"/>
                <a:gd name="connsiteX1078" fmla="*/ 2191378 w 2240198"/>
                <a:gd name="connsiteY1078" fmla="*/ 1482320 h 1729012"/>
                <a:gd name="connsiteX1079" fmla="*/ 2193326 w 2240198"/>
                <a:gd name="connsiteY1079" fmla="*/ 1481119 h 1729012"/>
                <a:gd name="connsiteX1080" fmla="*/ 2194163 w 2240198"/>
                <a:gd name="connsiteY1080" fmla="*/ 1481038 h 1729012"/>
                <a:gd name="connsiteX1081" fmla="*/ 2193874 w 2240198"/>
                <a:gd name="connsiteY1081" fmla="*/ 1483028 h 1729012"/>
                <a:gd name="connsiteX1082" fmla="*/ 2194258 w 2240198"/>
                <a:gd name="connsiteY1082" fmla="*/ 1485290 h 1729012"/>
                <a:gd name="connsiteX1083" fmla="*/ 2194309 w 2240198"/>
                <a:gd name="connsiteY1083" fmla="*/ 1487221 h 1729012"/>
                <a:gd name="connsiteX1084" fmla="*/ 2194695 w 2240198"/>
                <a:gd name="connsiteY1084" fmla="*/ 1487626 h 1729012"/>
                <a:gd name="connsiteX1085" fmla="*/ 2196195 w 2240198"/>
                <a:gd name="connsiteY1085" fmla="*/ 1485567 h 1729012"/>
                <a:gd name="connsiteX1086" fmla="*/ 2197030 w 2240198"/>
                <a:gd name="connsiteY1086" fmla="*/ 1484813 h 1729012"/>
                <a:gd name="connsiteX1087" fmla="*/ 2198029 w 2240198"/>
                <a:gd name="connsiteY1087" fmla="*/ 1484515 h 1729012"/>
                <a:gd name="connsiteX1088" fmla="*/ 2199194 w 2240198"/>
                <a:gd name="connsiteY1088" fmla="*/ 1484673 h 1729012"/>
                <a:gd name="connsiteX1089" fmla="*/ 2207132 w 2240198"/>
                <a:gd name="connsiteY1089" fmla="*/ 1483932 h 1729012"/>
                <a:gd name="connsiteX1090" fmla="*/ 2209549 w 2240198"/>
                <a:gd name="connsiteY1090" fmla="*/ 1484442 h 1729012"/>
                <a:gd name="connsiteX1091" fmla="*/ 2212273 w 2240198"/>
                <a:gd name="connsiteY1091" fmla="*/ 1485790 h 1729012"/>
                <a:gd name="connsiteX1092" fmla="*/ 2215710 w 2240198"/>
                <a:gd name="connsiteY1092" fmla="*/ 1487883 h 1729012"/>
                <a:gd name="connsiteX1093" fmla="*/ 2216975 w 2240198"/>
                <a:gd name="connsiteY1093" fmla="*/ 1489769 h 1729012"/>
                <a:gd name="connsiteX1094" fmla="*/ 2217216 w 2240198"/>
                <a:gd name="connsiteY1094" fmla="*/ 1492147 h 1729012"/>
                <a:gd name="connsiteX1095" fmla="*/ 2216876 w 2240198"/>
                <a:gd name="connsiteY1095" fmla="*/ 1493801 h 1729012"/>
                <a:gd name="connsiteX1096" fmla="*/ 2214399 w 2240198"/>
                <a:gd name="connsiteY1096" fmla="*/ 1495887 h 1729012"/>
                <a:gd name="connsiteX1097" fmla="*/ 2212195 w 2240198"/>
                <a:gd name="connsiteY1097" fmla="*/ 1497268 h 1729012"/>
                <a:gd name="connsiteX1098" fmla="*/ 2210895 w 2240198"/>
                <a:gd name="connsiteY1098" fmla="*/ 1498642 h 1729012"/>
                <a:gd name="connsiteX1099" fmla="*/ 2210500 w 2240198"/>
                <a:gd name="connsiteY1099" fmla="*/ 1500017 h 1729012"/>
                <a:gd name="connsiteX1100" fmla="*/ 2209985 w 2240198"/>
                <a:gd name="connsiteY1100" fmla="*/ 1500864 h 1729012"/>
                <a:gd name="connsiteX1101" fmla="*/ 2208514 w 2240198"/>
                <a:gd name="connsiteY1101" fmla="*/ 1502050 h 1729012"/>
                <a:gd name="connsiteX1102" fmla="*/ 2201971 w 2240198"/>
                <a:gd name="connsiteY1102" fmla="*/ 1505364 h 1729012"/>
                <a:gd name="connsiteX1103" fmla="*/ 2203537 w 2240198"/>
                <a:gd name="connsiteY1103" fmla="*/ 1505460 h 1729012"/>
                <a:gd name="connsiteX1104" fmla="*/ 2207311 w 2240198"/>
                <a:gd name="connsiteY1104" fmla="*/ 1504741 h 1729012"/>
                <a:gd name="connsiteX1105" fmla="*/ 2209791 w 2240198"/>
                <a:gd name="connsiteY1105" fmla="*/ 1504593 h 1729012"/>
                <a:gd name="connsiteX1106" fmla="*/ 2209920 w 2240198"/>
                <a:gd name="connsiteY1106" fmla="*/ 1505071 h 1729012"/>
                <a:gd name="connsiteX1107" fmla="*/ 2208931 w 2240198"/>
                <a:gd name="connsiteY1107" fmla="*/ 1506013 h 1729012"/>
                <a:gd name="connsiteX1108" fmla="*/ 2207036 w 2240198"/>
                <a:gd name="connsiteY1108" fmla="*/ 1506958 h 1729012"/>
                <a:gd name="connsiteX1109" fmla="*/ 2206832 w 2240198"/>
                <a:gd name="connsiteY1109" fmla="*/ 1507413 h 1729012"/>
                <a:gd name="connsiteX1110" fmla="*/ 2206921 w 2240198"/>
                <a:gd name="connsiteY1110" fmla="*/ 1508007 h 1729012"/>
                <a:gd name="connsiteX1111" fmla="*/ 2208948 w 2240198"/>
                <a:gd name="connsiteY1111" fmla="*/ 1508725 h 1729012"/>
                <a:gd name="connsiteX1112" fmla="*/ 2211535 w 2240198"/>
                <a:gd name="connsiteY1112" fmla="*/ 1508375 h 1729012"/>
                <a:gd name="connsiteX1113" fmla="*/ 2213717 w 2240198"/>
                <a:gd name="connsiteY1113" fmla="*/ 1508883 h 1729012"/>
                <a:gd name="connsiteX1114" fmla="*/ 2213506 w 2240198"/>
                <a:gd name="connsiteY1114" fmla="*/ 1509675 h 1729012"/>
                <a:gd name="connsiteX1115" fmla="*/ 2211776 w 2240198"/>
                <a:gd name="connsiteY1115" fmla="*/ 1512255 h 1729012"/>
                <a:gd name="connsiteX1116" fmla="*/ 2211268 w 2240198"/>
                <a:gd name="connsiteY1116" fmla="*/ 1513881 h 1729012"/>
                <a:gd name="connsiteX1117" fmla="*/ 2208963 w 2240198"/>
                <a:gd name="connsiteY1117" fmla="*/ 1515242 h 1729012"/>
                <a:gd name="connsiteX1118" fmla="*/ 2204342 w 2240198"/>
                <a:gd name="connsiteY1118" fmla="*/ 1517379 h 1729012"/>
                <a:gd name="connsiteX1119" fmla="*/ 2203158 w 2240198"/>
                <a:gd name="connsiteY1119" fmla="*/ 1518199 h 1729012"/>
                <a:gd name="connsiteX1120" fmla="*/ 2203417 w 2240198"/>
                <a:gd name="connsiteY1120" fmla="*/ 1518369 h 1729012"/>
                <a:gd name="connsiteX1121" fmla="*/ 2207658 w 2240198"/>
                <a:gd name="connsiteY1121" fmla="*/ 1516801 h 1729012"/>
                <a:gd name="connsiteX1122" fmla="*/ 2209794 w 2240198"/>
                <a:gd name="connsiteY1122" fmla="*/ 1516404 h 1729012"/>
                <a:gd name="connsiteX1123" fmla="*/ 2211149 w 2240198"/>
                <a:gd name="connsiteY1123" fmla="*/ 1516392 h 1729012"/>
                <a:gd name="connsiteX1124" fmla="*/ 2212681 w 2240198"/>
                <a:gd name="connsiteY1124" fmla="*/ 1514877 h 1729012"/>
                <a:gd name="connsiteX1125" fmla="*/ 2215076 w 2240198"/>
                <a:gd name="connsiteY1125" fmla="*/ 1514375 h 1729012"/>
                <a:gd name="connsiteX1126" fmla="*/ 2217419 w 2240198"/>
                <a:gd name="connsiteY1126" fmla="*/ 1515332 h 1729012"/>
                <a:gd name="connsiteX1127" fmla="*/ 2220987 w 2240198"/>
                <a:gd name="connsiteY1127" fmla="*/ 1512716 h 1729012"/>
                <a:gd name="connsiteX1128" fmla="*/ 2222261 w 2240198"/>
                <a:gd name="connsiteY1128" fmla="*/ 1512376 h 1729012"/>
                <a:gd name="connsiteX1129" fmla="*/ 2224432 w 2240198"/>
                <a:gd name="connsiteY1129" fmla="*/ 1512679 h 1729012"/>
                <a:gd name="connsiteX1130" fmla="*/ 2225832 w 2240198"/>
                <a:gd name="connsiteY1130" fmla="*/ 1512205 h 1729012"/>
                <a:gd name="connsiteX1131" fmla="*/ 2228187 w 2240198"/>
                <a:gd name="connsiteY1131" fmla="*/ 1510423 h 1729012"/>
                <a:gd name="connsiteX1132" fmla="*/ 2229965 w 2240198"/>
                <a:gd name="connsiteY1132" fmla="*/ 1509561 h 1729012"/>
                <a:gd name="connsiteX1133" fmla="*/ 2230334 w 2240198"/>
                <a:gd name="connsiteY1133" fmla="*/ 1509639 h 1729012"/>
                <a:gd name="connsiteX1134" fmla="*/ 2230717 w 2240198"/>
                <a:gd name="connsiteY1134" fmla="*/ 1510353 h 1729012"/>
                <a:gd name="connsiteX1135" fmla="*/ 2230890 w 2240198"/>
                <a:gd name="connsiteY1135" fmla="*/ 1512408 h 1729012"/>
                <a:gd name="connsiteX1136" fmla="*/ 2230470 w 2240198"/>
                <a:gd name="connsiteY1136" fmla="*/ 1514223 h 1729012"/>
                <a:gd name="connsiteX1137" fmla="*/ 2229890 w 2240198"/>
                <a:gd name="connsiteY1137" fmla="*/ 1515379 h 1729012"/>
                <a:gd name="connsiteX1138" fmla="*/ 2227974 w 2240198"/>
                <a:gd name="connsiteY1138" fmla="*/ 1517931 h 1729012"/>
                <a:gd name="connsiteX1139" fmla="*/ 2226799 w 2240198"/>
                <a:gd name="connsiteY1139" fmla="*/ 1518824 h 1729012"/>
                <a:gd name="connsiteX1140" fmla="*/ 2225709 w 2240198"/>
                <a:gd name="connsiteY1140" fmla="*/ 1519161 h 1729012"/>
                <a:gd name="connsiteX1141" fmla="*/ 2223779 w 2240198"/>
                <a:gd name="connsiteY1141" fmla="*/ 1519026 h 1729012"/>
                <a:gd name="connsiteX1142" fmla="*/ 2222940 w 2240198"/>
                <a:gd name="connsiteY1142" fmla="*/ 1519422 h 1729012"/>
                <a:gd name="connsiteX1143" fmla="*/ 2221134 w 2240198"/>
                <a:gd name="connsiteY1143" fmla="*/ 1521423 h 1729012"/>
                <a:gd name="connsiteX1144" fmla="*/ 2217947 w 2240198"/>
                <a:gd name="connsiteY1144" fmla="*/ 1523450 h 1729012"/>
                <a:gd name="connsiteX1145" fmla="*/ 2215955 w 2240198"/>
                <a:gd name="connsiteY1145" fmla="*/ 1524234 h 1729012"/>
                <a:gd name="connsiteX1146" fmla="*/ 2217212 w 2240198"/>
                <a:gd name="connsiteY1146" fmla="*/ 1525333 h 1729012"/>
                <a:gd name="connsiteX1147" fmla="*/ 2217678 w 2240198"/>
                <a:gd name="connsiteY1147" fmla="*/ 1527452 h 1729012"/>
                <a:gd name="connsiteX1148" fmla="*/ 2216978 w 2240198"/>
                <a:gd name="connsiteY1148" fmla="*/ 1528111 h 1729012"/>
                <a:gd name="connsiteX1149" fmla="*/ 2213559 w 2240198"/>
                <a:gd name="connsiteY1149" fmla="*/ 1528764 h 1729012"/>
                <a:gd name="connsiteX1150" fmla="*/ 2213410 w 2240198"/>
                <a:gd name="connsiteY1150" fmla="*/ 1529123 h 1729012"/>
                <a:gd name="connsiteX1151" fmla="*/ 2212192 w 2240198"/>
                <a:gd name="connsiteY1151" fmla="*/ 1529590 h 1729012"/>
                <a:gd name="connsiteX1152" fmla="*/ 2209367 w 2240198"/>
                <a:gd name="connsiteY1152" fmla="*/ 1530325 h 1729012"/>
                <a:gd name="connsiteX1153" fmla="*/ 2211295 w 2240198"/>
                <a:gd name="connsiteY1153" fmla="*/ 1530648 h 1729012"/>
                <a:gd name="connsiteX1154" fmla="*/ 2214858 w 2240198"/>
                <a:gd name="connsiteY1154" fmla="*/ 1530129 h 1729012"/>
                <a:gd name="connsiteX1155" fmla="*/ 2215233 w 2240198"/>
                <a:gd name="connsiteY1155" fmla="*/ 1530488 h 1729012"/>
                <a:gd name="connsiteX1156" fmla="*/ 2214742 w 2240198"/>
                <a:gd name="connsiteY1156" fmla="*/ 1531977 h 1729012"/>
                <a:gd name="connsiteX1157" fmla="*/ 2213794 w 2240198"/>
                <a:gd name="connsiteY1157" fmla="*/ 1533511 h 1729012"/>
                <a:gd name="connsiteX1158" fmla="*/ 2209568 w 2240198"/>
                <a:gd name="connsiteY1158" fmla="*/ 1537449 h 1729012"/>
                <a:gd name="connsiteX1159" fmla="*/ 2209516 w 2240198"/>
                <a:gd name="connsiteY1159" fmla="*/ 1537846 h 1729012"/>
                <a:gd name="connsiteX1160" fmla="*/ 2210175 w 2240198"/>
                <a:gd name="connsiteY1160" fmla="*/ 1539773 h 1729012"/>
                <a:gd name="connsiteX1161" fmla="*/ 2210996 w 2240198"/>
                <a:gd name="connsiteY1161" fmla="*/ 1541232 h 1729012"/>
                <a:gd name="connsiteX1162" fmla="*/ 2212015 w 2240198"/>
                <a:gd name="connsiteY1162" fmla="*/ 1542262 h 1729012"/>
                <a:gd name="connsiteX1163" fmla="*/ 2214368 w 2240198"/>
                <a:gd name="connsiteY1163" fmla="*/ 1542321 h 1729012"/>
                <a:gd name="connsiteX1164" fmla="*/ 2216108 w 2240198"/>
                <a:gd name="connsiteY1164" fmla="*/ 1541868 h 1729012"/>
                <a:gd name="connsiteX1165" fmla="*/ 2218643 w 2240198"/>
                <a:gd name="connsiteY1165" fmla="*/ 1539238 h 1729012"/>
                <a:gd name="connsiteX1166" fmla="*/ 2224248 w 2240198"/>
                <a:gd name="connsiteY1166" fmla="*/ 1531032 h 1729012"/>
                <a:gd name="connsiteX1167" fmla="*/ 2229250 w 2240198"/>
                <a:gd name="connsiteY1167" fmla="*/ 1528744 h 1729012"/>
                <a:gd name="connsiteX1168" fmla="*/ 2233420 w 2240198"/>
                <a:gd name="connsiteY1168" fmla="*/ 1526200 h 1729012"/>
                <a:gd name="connsiteX1169" fmla="*/ 2234376 w 2240198"/>
                <a:gd name="connsiteY1169" fmla="*/ 1526716 h 1729012"/>
                <a:gd name="connsiteX1170" fmla="*/ 2234814 w 2240198"/>
                <a:gd name="connsiteY1170" fmla="*/ 1527304 h 1729012"/>
                <a:gd name="connsiteX1171" fmla="*/ 2234662 w 2240198"/>
                <a:gd name="connsiteY1171" fmla="*/ 1527921 h 1729012"/>
                <a:gd name="connsiteX1172" fmla="*/ 2232559 w 2240198"/>
                <a:gd name="connsiteY1172" fmla="*/ 1530014 h 1729012"/>
                <a:gd name="connsiteX1173" fmla="*/ 2231461 w 2240198"/>
                <a:gd name="connsiteY1173" fmla="*/ 1531740 h 1729012"/>
                <a:gd name="connsiteX1174" fmla="*/ 2228606 w 2240198"/>
                <a:gd name="connsiteY1174" fmla="*/ 1537042 h 1729012"/>
                <a:gd name="connsiteX1175" fmla="*/ 2227515 w 2240198"/>
                <a:gd name="connsiteY1175" fmla="*/ 1539537 h 1729012"/>
                <a:gd name="connsiteX1176" fmla="*/ 2226966 w 2240198"/>
                <a:gd name="connsiteY1176" fmla="*/ 1542169 h 1729012"/>
                <a:gd name="connsiteX1177" fmla="*/ 2227111 w 2240198"/>
                <a:gd name="connsiteY1177" fmla="*/ 1546705 h 1729012"/>
                <a:gd name="connsiteX1178" fmla="*/ 2227419 w 2240198"/>
                <a:gd name="connsiteY1178" fmla="*/ 1547488 h 1729012"/>
                <a:gd name="connsiteX1179" fmla="*/ 2228311 w 2240198"/>
                <a:gd name="connsiteY1179" fmla="*/ 1548539 h 1729012"/>
                <a:gd name="connsiteX1180" fmla="*/ 2229975 w 2240198"/>
                <a:gd name="connsiteY1180" fmla="*/ 1547639 h 1729012"/>
                <a:gd name="connsiteX1181" fmla="*/ 2232811 w 2240198"/>
                <a:gd name="connsiteY1181" fmla="*/ 1545394 h 1729012"/>
                <a:gd name="connsiteX1182" fmla="*/ 2234632 w 2240198"/>
                <a:gd name="connsiteY1182" fmla="*/ 1543249 h 1729012"/>
                <a:gd name="connsiteX1183" fmla="*/ 2236058 w 2240198"/>
                <a:gd name="connsiteY1183" fmla="*/ 1539754 h 1729012"/>
                <a:gd name="connsiteX1184" fmla="*/ 2236933 w 2240198"/>
                <a:gd name="connsiteY1184" fmla="*/ 1538412 h 1729012"/>
                <a:gd name="connsiteX1185" fmla="*/ 2237885 w 2240198"/>
                <a:gd name="connsiteY1185" fmla="*/ 1538428 h 1729012"/>
                <a:gd name="connsiteX1186" fmla="*/ 2238734 w 2240198"/>
                <a:gd name="connsiteY1186" fmla="*/ 1539191 h 1729012"/>
                <a:gd name="connsiteX1187" fmla="*/ 2238940 w 2240198"/>
                <a:gd name="connsiteY1187" fmla="*/ 1540878 h 1729012"/>
                <a:gd name="connsiteX1188" fmla="*/ 2239729 w 2240198"/>
                <a:gd name="connsiteY1188" fmla="*/ 1543174 h 1729012"/>
                <a:gd name="connsiteX1189" fmla="*/ 2240198 w 2240198"/>
                <a:gd name="connsiteY1189" fmla="*/ 1545505 h 1729012"/>
                <a:gd name="connsiteX1190" fmla="*/ 2239822 w 2240198"/>
                <a:gd name="connsiteY1190" fmla="*/ 1548065 h 1729012"/>
                <a:gd name="connsiteX1191" fmla="*/ 2239438 w 2240198"/>
                <a:gd name="connsiteY1191" fmla="*/ 1549465 h 1729012"/>
                <a:gd name="connsiteX1192" fmla="*/ 2233638 w 2240198"/>
                <a:gd name="connsiteY1192" fmla="*/ 1559835 h 1729012"/>
                <a:gd name="connsiteX1193" fmla="*/ 2234254 w 2240198"/>
                <a:gd name="connsiteY1193" fmla="*/ 1561672 h 1729012"/>
                <a:gd name="connsiteX1194" fmla="*/ 2234407 w 2240198"/>
                <a:gd name="connsiteY1194" fmla="*/ 1562786 h 1729012"/>
                <a:gd name="connsiteX1195" fmla="*/ 2234226 w 2240198"/>
                <a:gd name="connsiteY1195" fmla="*/ 1563969 h 1729012"/>
                <a:gd name="connsiteX1196" fmla="*/ 2232388 w 2240198"/>
                <a:gd name="connsiteY1196" fmla="*/ 1568914 h 1729012"/>
                <a:gd name="connsiteX1197" fmla="*/ 2230607 w 2240198"/>
                <a:gd name="connsiteY1197" fmla="*/ 1571999 h 1729012"/>
                <a:gd name="connsiteX1198" fmla="*/ 2229647 w 2240198"/>
                <a:gd name="connsiteY1198" fmla="*/ 1573324 h 1729012"/>
                <a:gd name="connsiteX1199" fmla="*/ 2228505 w 2240198"/>
                <a:gd name="connsiteY1199" fmla="*/ 1574136 h 1729012"/>
                <a:gd name="connsiteX1200" fmla="*/ 2227183 w 2240198"/>
                <a:gd name="connsiteY1200" fmla="*/ 1574433 h 1729012"/>
                <a:gd name="connsiteX1201" fmla="*/ 2225998 w 2240198"/>
                <a:gd name="connsiteY1201" fmla="*/ 1573986 h 1729012"/>
                <a:gd name="connsiteX1202" fmla="*/ 2224954 w 2240198"/>
                <a:gd name="connsiteY1202" fmla="*/ 1572800 h 1729012"/>
                <a:gd name="connsiteX1203" fmla="*/ 2224031 w 2240198"/>
                <a:gd name="connsiteY1203" fmla="*/ 1572183 h 1729012"/>
                <a:gd name="connsiteX1204" fmla="*/ 2223226 w 2240198"/>
                <a:gd name="connsiteY1204" fmla="*/ 1572140 h 1729012"/>
                <a:gd name="connsiteX1205" fmla="*/ 2221737 w 2240198"/>
                <a:gd name="connsiteY1205" fmla="*/ 1572362 h 1729012"/>
                <a:gd name="connsiteX1206" fmla="*/ 2217822 w 2240198"/>
                <a:gd name="connsiteY1206" fmla="*/ 1574878 h 1729012"/>
                <a:gd name="connsiteX1207" fmla="*/ 2217019 w 2240198"/>
                <a:gd name="connsiteY1207" fmla="*/ 1575013 h 1729012"/>
                <a:gd name="connsiteX1208" fmla="*/ 2216462 w 2240198"/>
                <a:gd name="connsiteY1208" fmla="*/ 1574676 h 1729012"/>
                <a:gd name="connsiteX1209" fmla="*/ 2215788 w 2240198"/>
                <a:gd name="connsiteY1209" fmla="*/ 1573355 h 1729012"/>
                <a:gd name="connsiteX1210" fmla="*/ 2216326 w 2240198"/>
                <a:gd name="connsiteY1210" fmla="*/ 1566707 h 1729012"/>
                <a:gd name="connsiteX1211" fmla="*/ 2216675 w 2240198"/>
                <a:gd name="connsiteY1211" fmla="*/ 1564507 h 1729012"/>
                <a:gd name="connsiteX1212" fmla="*/ 2215895 w 2240198"/>
                <a:gd name="connsiteY1212" fmla="*/ 1562808 h 1729012"/>
                <a:gd name="connsiteX1213" fmla="*/ 2216719 w 2240198"/>
                <a:gd name="connsiteY1213" fmla="*/ 1559957 h 1729012"/>
                <a:gd name="connsiteX1214" fmla="*/ 2216749 w 2240198"/>
                <a:gd name="connsiteY1214" fmla="*/ 1558873 h 1729012"/>
                <a:gd name="connsiteX1215" fmla="*/ 2216270 w 2240198"/>
                <a:gd name="connsiteY1215" fmla="*/ 1558464 h 1729012"/>
                <a:gd name="connsiteX1216" fmla="*/ 2215281 w 2240198"/>
                <a:gd name="connsiteY1216" fmla="*/ 1558731 h 1729012"/>
                <a:gd name="connsiteX1217" fmla="*/ 2213785 w 2240198"/>
                <a:gd name="connsiteY1217" fmla="*/ 1560165 h 1729012"/>
                <a:gd name="connsiteX1218" fmla="*/ 2211782 w 2240198"/>
                <a:gd name="connsiteY1218" fmla="*/ 1562761 h 1729012"/>
                <a:gd name="connsiteX1219" fmla="*/ 2209609 w 2240198"/>
                <a:gd name="connsiteY1219" fmla="*/ 1565078 h 1729012"/>
                <a:gd name="connsiteX1220" fmla="*/ 2205817 w 2240198"/>
                <a:gd name="connsiteY1220" fmla="*/ 1568269 h 1729012"/>
                <a:gd name="connsiteX1221" fmla="*/ 2204133 w 2240198"/>
                <a:gd name="connsiteY1221" fmla="*/ 1568896 h 1729012"/>
                <a:gd name="connsiteX1222" fmla="*/ 2203464 w 2240198"/>
                <a:gd name="connsiteY1222" fmla="*/ 1568739 h 1729012"/>
                <a:gd name="connsiteX1223" fmla="*/ 2202692 w 2240198"/>
                <a:gd name="connsiteY1223" fmla="*/ 1568302 h 1729012"/>
                <a:gd name="connsiteX1224" fmla="*/ 2201656 w 2240198"/>
                <a:gd name="connsiteY1224" fmla="*/ 1566966 h 1729012"/>
                <a:gd name="connsiteX1225" fmla="*/ 2201666 w 2240198"/>
                <a:gd name="connsiteY1225" fmla="*/ 1565789 h 1729012"/>
                <a:gd name="connsiteX1226" fmla="*/ 2202125 w 2240198"/>
                <a:gd name="connsiteY1226" fmla="*/ 1564181 h 1729012"/>
                <a:gd name="connsiteX1227" fmla="*/ 2203711 w 2240198"/>
                <a:gd name="connsiteY1227" fmla="*/ 1560380 h 1729012"/>
                <a:gd name="connsiteX1228" fmla="*/ 2206808 w 2240198"/>
                <a:gd name="connsiteY1228" fmla="*/ 1554745 h 1729012"/>
                <a:gd name="connsiteX1229" fmla="*/ 2209380 w 2240198"/>
                <a:gd name="connsiteY1229" fmla="*/ 1550729 h 1729012"/>
                <a:gd name="connsiteX1230" fmla="*/ 2209877 w 2240198"/>
                <a:gd name="connsiteY1230" fmla="*/ 1549015 h 1729012"/>
                <a:gd name="connsiteX1231" fmla="*/ 2209156 w 2240198"/>
                <a:gd name="connsiteY1231" fmla="*/ 1548267 h 1729012"/>
                <a:gd name="connsiteX1232" fmla="*/ 2208575 w 2240198"/>
                <a:gd name="connsiteY1232" fmla="*/ 1546795 h 1729012"/>
                <a:gd name="connsiteX1233" fmla="*/ 2207588 w 2240198"/>
                <a:gd name="connsiteY1233" fmla="*/ 1542436 h 1729012"/>
                <a:gd name="connsiteX1234" fmla="*/ 2206339 w 2240198"/>
                <a:gd name="connsiteY1234" fmla="*/ 1538840 h 1729012"/>
                <a:gd name="connsiteX1235" fmla="*/ 2204862 w 2240198"/>
                <a:gd name="connsiteY1235" fmla="*/ 1537245 h 1729012"/>
                <a:gd name="connsiteX1236" fmla="*/ 2201196 w 2240198"/>
                <a:gd name="connsiteY1236" fmla="*/ 1535495 h 1729012"/>
                <a:gd name="connsiteX1237" fmla="*/ 2200523 w 2240198"/>
                <a:gd name="connsiteY1237" fmla="*/ 1535917 h 1729012"/>
                <a:gd name="connsiteX1238" fmla="*/ 2200129 w 2240198"/>
                <a:gd name="connsiteY1238" fmla="*/ 1538340 h 1729012"/>
                <a:gd name="connsiteX1239" fmla="*/ 2195799 w 2240198"/>
                <a:gd name="connsiteY1239" fmla="*/ 1545296 h 1729012"/>
                <a:gd name="connsiteX1240" fmla="*/ 2195044 w 2240198"/>
                <a:gd name="connsiteY1240" fmla="*/ 1548308 h 1729012"/>
                <a:gd name="connsiteX1241" fmla="*/ 2194500 w 2240198"/>
                <a:gd name="connsiteY1241" fmla="*/ 1549424 h 1729012"/>
                <a:gd name="connsiteX1242" fmla="*/ 2193683 w 2240198"/>
                <a:gd name="connsiteY1242" fmla="*/ 1550187 h 1729012"/>
                <a:gd name="connsiteX1243" fmla="*/ 2191796 w 2240198"/>
                <a:gd name="connsiteY1243" fmla="*/ 1551109 h 1729012"/>
                <a:gd name="connsiteX1244" fmla="*/ 2192308 w 2240198"/>
                <a:gd name="connsiteY1244" fmla="*/ 1549504 h 1729012"/>
                <a:gd name="connsiteX1245" fmla="*/ 2194314 w 2240198"/>
                <a:gd name="connsiteY1245" fmla="*/ 1545929 h 1729012"/>
                <a:gd name="connsiteX1246" fmla="*/ 2194043 w 2240198"/>
                <a:gd name="connsiteY1246" fmla="*/ 1545580 h 1729012"/>
                <a:gd name="connsiteX1247" fmla="*/ 2191492 w 2240198"/>
                <a:gd name="connsiteY1247" fmla="*/ 1548454 h 1729012"/>
                <a:gd name="connsiteX1248" fmla="*/ 2189549 w 2240198"/>
                <a:gd name="connsiteY1248" fmla="*/ 1550048 h 1729012"/>
                <a:gd name="connsiteX1249" fmla="*/ 2187177 w 2240198"/>
                <a:gd name="connsiteY1249" fmla="*/ 1550457 h 1729012"/>
                <a:gd name="connsiteX1250" fmla="*/ 2185737 w 2240198"/>
                <a:gd name="connsiteY1250" fmla="*/ 1550355 h 1729012"/>
                <a:gd name="connsiteX1251" fmla="*/ 2184339 w 2240198"/>
                <a:gd name="connsiteY1251" fmla="*/ 1550793 h 1729012"/>
                <a:gd name="connsiteX1252" fmla="*/ 2178411 w 2240198"/>
                <a:gd name="connsiteY1252" fmla="*/ 1557569 h 1729012"/>
                <a:gd name="connsiteX1253" fmla="*/ 2178188 w 2240198"/>
                <a:gd name="connsiteY1253" fmla="*/ 1559824 h 1729012"/>
                <a:gd name="connsiteX1254" fmla="*/ 2177163 w 2240198"/>
                <a:gd name="connsiteY1254" fmla="*/ 1561670 h 1729012"/>
                <a:gd name="connsiteX1255" fmla="*/ 2174240 w 2240198"/>
                <a:gd name="connsiteY1255" fmla="*/ 1565004 h 1729012"/>
                <a:gd name="connsiteX1256" fmla="*/ 2172699 w 2240198"/>
                <a:gd name="connsiteY1256" fmla="*/ 1566157 h 1729012"/>
                <a:gd name="connsiteX1257" fmla="*/ 2170529 w 2240198"/>
                <a:gd name="connsiteY1257" fmla="*/ 1566362 h 1729012"/>
                <a:gd name="connsiteX1258" fmla="*/ 2168551 w 2240198"/>
                <a:gd name="connsiteY1258" fmla="*/ 1565787 h 1729012"/>
                <a:gd name="connsiteX1259" fmla="*/ 2167247 w 2240198"/>
                <a:gd name="connsiteY1259" fmla="*/ 1565891 h 1729012"/>
                <a:gd name="connsiteX1260" fmla="*/ 2164163 w 2240198"/>
                <a:gd name="connsiteY1260" fmla="*/ 1566932 h 1729012"/>
                <a:gd name="connsiteX1261" fmla="*/ 2160710 w 2240198"/>
                <a:gd name="connsiteY1261" fmla="*/ 1567386 h 1729012"/>
                <a:gd name="connsiteX1262" fmla="*/ 2159284 w 2240198"/>
                <a:gd name="connsiteY1262" fmla="*/ 1567175 h 1729012"/>
                <a:gd name="connsiteX1263" fmla="*/ 2158375 w 2240198"/>
                <a:gd name="connsiteY1263" fmla="*/ 1566747 h 1729012"/>
                <a:gd name="connsiteX1264" fmla="*/ 2156618 w 2240198"/>
                <a:gd name="connsiteY1264" fmla="*/ 1565454 h 1729012"/>
                <a:gd name="connsiteX1265" fmla="*/ 2156407 w 2240198"/>
                <a:gd name="connsiteY1265" fmla="*/ 1564535 h 1729012"/>
                <a:gd name="connsiteX1266" fmla="*/ 2156501 w 2240198"/>
                <a:gd name="connsiteY1266" fmla="*/ 1563996 h 1729012"/>
                <a:gd name="connsiteX1267" fmla="*/ 2157395 w 2240198"/>
                <a:gd name="connsiteY1267" fmla="*/ 1562600 h 1729012"/>
                <a:gd name="connsiteX1268" fmla="*/ 2159446 w 2240198"/>
                <a:gd name="connsiteY1268" fmla="*/ 1560846 h 1729012"/>
                <a:gd name="connsiteX1269" fmla="*/ 2161133 w 2240198"/>
                <a:gd name="connsiteY1269" fmla="*/ 1560192 h 1729012"/>
                <a:gd name="connsiteX1270" fmla="*/ 2165235 w 2240198"/>
                <a:gd name="connsiteY1270" fmla="*/ 1559310 h 1729012"/>
                <a:gd name="connsiteX1271" fmla="*/ 2168241 w 2240198"/>
                <a:gd name="connsiteY1271" fmla="*/ 1557995 h 1729012"/>
                <a:gd name="connsiteX1272" fmla="*/ 2170530 w 2240198"/>
                <a:gd name="connsiteY1272" fmla="*/ 1556043 h 1729012"/>
                <a:gd name="connsiteX1273" fmla="*/ 2171553 w 2240198"/>
                <a:gd name="connsiteY1273" fmla="*/ 1554853 h 1729012"/>
                <a:gd name="connsiteX1274" fmla="*/ 2175866 w 2240198"/>
                <a:gd name="connsiteY1274" fmla="*/ 1548736 h 1729012"/>
                <a:gd name="connsiteX1275" fmla="*/ 2181322 w 2240198"/>
                <a:gd name="connsiteY1275" fmla="*/ 1546576 h 1729012"/>
                <a:gd name="connsiteX1276" fmla="*/ 2184012 w 2240198"/>
                <a:gd name="connsiteY1276" fmla="*/ 1544813 h 1729012"/>
                <a:gd name="connsiteX1277" fmla="*/ 2185893 w 2240198"/>
                <a:gd name="connsiteY1277" fmla="*/ 1542576 h 1729012"/>
                <a:gd name="connsiteX1278" fmla="*/ 2186166 w 2240198"/>
                <a:gd name="connsiteY1278" fmla="*/ 1541789 h 1729012"/>
                <a:gd name="connsiteX1279" fmla="*/ 2183468 w 2240198"/>
                <a:gd name="connsiteY1279" fmla="*/ 1542926 h 1729012"/>
                <a:gd name="connsiteX1280" fmla="*/ 2182074 w 2240198"/>
                <a:gd name="connsiteY1280" fmla="*/ 1543204 h 1729012"/>
                <a:gd name="connsiteX1281" fmla="*/ 2179816 w 2240198"/>
                <a:gd name="connsiteY1281" fmla="*/ 1542783 h 1729012"/>
                <a:gd name="connsiteX1282" fmla="*/ 2178813 w 2240198"/>
                <a:gd name="connsiteY1282" fmla="*/ 1542021 h 1729012"/>
                <a:gd name="connsiteX1283" fmla="*/ 2175719 w 2240198"/>
                <a:gd name="connsiteY1283" fmla="*/ 1542263 h 1729012"/>
                <a:gd name="connsiteX1284" fmla="*/ 2171416 w 2240198"/>
                <a:gd name="connsiteY1284" fmla="*/ 1541907 h 1729012"/>
                <a:gd name="connsiteX1285" fmla="*/ 2170795 w 2240198"/>
                <a:gd name="connsiteY1285" fmla="*/ 1542494 h 1729012"/>
                <a:gd name="connsiteX1286" fmla="*/ 2170239 w 2240198"/>
                <a:gd name="connsiteY1286" fmla="*/ 1545474 h 1729012"/>
                <a:gd name="connsiteX1287" fmla="*/ 2169682 w 2240198"/>
                <a:gd name="connsiteY1287" fmla="*/ 1547054 h 1729012"/>
                <a:gd name="connsiteX1288" fmla="*/ 2169024 w 2240198"/>
                <a:gd name="connsiteY1288" fmla="*/ 1547585 h 1729012"/>
                <a:gd name="connsiteX1289" fmla="*/ 2168060 w 2240198"/>
                <a:gd name="connsiteY1289" fmla="*/ 1547898 h 1729012"/>
                <a:gd name="connsiteX1290" fmla="*/ 2166096 w 2240198"/>
                <a:gd name="connsiteY1290" fmla="*/ 1548213 h 1729012"/>
                <a:gd name="connsiteX1291" fmla="*/ 2161060 w 2240198"/>
                <a:gd name="connsiteY1291" fmla="*/ 1547150 h 1729012"/>
                <a:gd name="connsiteX1292" fmla="*/ 2160131 w 2240198"/>
                <a:gd name="connsiteY1292" fmla="*/ 1546569 h 1729012"/>
                <a:gd name="connsiteX1293" fmla="*/ 2158845 w 2240198"/>
                <a:gd name="connsiteY1293" fmla="*/ 1546127 h 1729012"/>
                <a:gd name="connsiteX1294" fmla="*/ 2153285 w 2240198"/>
                <a:gd name="connsiteY1294" fmla="*/ 1547097 h 1729012"/>
                <a:gd name="connsiteX1295" fmla="*/ 2152121 w 2240198"/>
                <a:gd name="connsiteY1295" fmla="*/ 1547004 h 1729012"/>
                <a:gd name="connsiteX1296" fmla="*/ 2153225 w 2240198"/>
                <a:gd name="connsiteY1296" fmla="*/ 1546306 h 1729012"/>
                <a:gd name="connsiteX1297" fmla="*/ 2158718 w 2240198"/>
                <a:gd name="connsiteY1297" fmla="*/ 1544123 h 1729012"/>
                <a:gd name="connsiteX1298" fmla="*/ 2159294 w 2240198"/>
                <a:gd name="connsiteY1298" fmla="*/ 1537818 h 1729012"/>
                <a:gd name="connsiteX1299" fmla="*/ 2158951 w 2240198"/>
                <a:gd name="connsiteY1299" fmla="*/ 1536807 h 1729012"/>
                <a:gd name="connsiteX1300" fmla="*/ 2157415 w 2240198"/>
                <a:gd name="connsiteY1300" fmla="*/ 1537687 h 1729012"/>
                <a:gd name="connsiteX1301" fmla="*/ 2154837 w 2240198"/>
                <a:gd name="connsiteY1301" fmla="*/ 1538597 h 1729012"/>
                <a:gd name="connsiteX1302" fmla="*/ 2153074 w 2240198"/>
                <a:gd name="connsiteY1302" fmla="*/ 1538334 h 1729012"/>
                <a:gd name="connsiteX1303" fmla="*/ 2152268 w 2240198"/>
                <a:gd name="connsiteY1303" fmla="*/ 1537776 h 1729012"/>
                <a:gd name="connsiteX1304" fmla="*/ 2151529 w 2240198"/>
                <a:gd name="connsiteY1304" fmla="*/ 1538248 h 1729012"/>
                <a:gd name="connsiteX1305" fmla="*/ 2149736 w 2240198"/>
                <a:gd name="connsiteY1305" fmla="*/ 1541575 h 1729012"/>
                <a:gd name="connsiteX1306" fmla="*/ 2148678 w 2240198"/>
                <a:gd name="connsiteY1306" fmla="*/ 1541992 h 1729012"/>
                <a:gd name="connsiteX1307" fmla="*/ 2147087 w 2240198"/>
                <a:gd name="connsiteY1307" fmla="*/ 1542119 h 1729012"/>
                <a:gd name="connsiteX1308" fmla="*/ 2143695 w 2240198"/>
                <a:gd name="connsiteY1308" fmla="*/ 1543329 h 1729012"/>
                <a:gd name="connsiteX1309" fmla="*/ 2137032 w 2240198"/>
                <a:gd name="connsiteY1309" fmla="*/ 1544124 h 1729012"/>
                <a:gd name="connsiteX1310" fmla="*/ 2135718 w 2240198"/>
                <a:gd name="connsiteY1310" fmla="*/ 1545003 h 1729012"/>
                <a:gd name="connsiteX1311" fmla="*/ 2131196 w 2240198"/>
                <a:gd name="connsiteY1311" fmla="*/ 1544698 h 1729012"/>
                <a:gd name="connsiteX1312" fmla="*/ 2117987 w 2240198"/>
                <a:gd name="connsiteY1312" fmla="*/ 1542873 h 1729012"/>
                <a:gd name="connsiteX1313" fmla="*/ 2113261 w 2240198"/>
                <a:gd name="connsiteY1313" fmla="*/ 1543057 h 1729012"/>
                <a:gd name="connsiteX1314" fmla="*/ 2107574 w 2240198"/>
                <a:gd name="connsiteY1314" fmla="*/ 1541942 h 1729012"/>
                <a:gd name="connsiteX1315" fmla="*/ 2106523 w 2240198"/>
                <a:gd name="connsiteY1315" fmla="*/ 1541461 h 1729012"/>
                <a:gd name="connsiteX1316" fmla="*/ 2098567 w 2240198"/>
                <a:gd name="connsiteY1316" fmla="*/ 1541657 h 1729012"/>
                <a:gd name="connsiteX1317" fmla="*/ 2096186 w 2240198"/>
                <a:gd name="connsiteY1317" fmla="*/ 1541398 h 1729012"/>
                <a:gd name="connsiteX1318" fmla="*/ 2096345 w 2240198"/>
                <a:gd name="connsiteY1318" fmla="*/ 1540012 h 1729012"/>
                <a:gd name="connsiteX1319" fmla="*/ 2096093 w 2240198"/>
                <a:gd name="connsiteY1319" fmla="*/ 1539657 h 1729012"/>
                <a:gd name="connsiteX1320" fmla="*/ 2093782 w 2240198"/>
                <a:gd name="connsiteY1320" fmla="*/ 1541188 h 1729012"/>
                <a:gd name="connsiteX1321" fmla="*/ 2091731 w 2240198"/>
                <a:gd name="connsiteY1321" fmla="*/ 1542181 h 1729012"/>
                <a:gd name="connsiteX1322" fmla="*/ 2089088 w 2240198"/>
                <a:gd name="connsiteY1322" fmla="*/ 1543031 h 1729012"/>
                <a:gd name="connsiteX1323" fmla="*/ 2080771 w 2240198"/>
                <a:gd name="connsiteY1323" fmla="*/ 1544505 h 1729012"/>
                <a:gd name="connsiteX1324" fmla="*/ 2076314 w 2240198"/>
                <a:gd name="connsiteY1324" fmla="*/ 1544819 h 1729012"/>
                <a:gd name="connsiteX1325" fmla="*/ 2073719 w 2240198"/>
                <a:gd name="connsiteY1325" fmla="*/ 1543794 h 1729012"/>
                <a:gd name="connsiteX1326" fmla="*/ 2072691 w 2240198"/>
                <a:gd name="connsiteY1326" fmla="*/ 1542774 h 1729012"/>
                <a:gd name="connsiteX1327" fmla="*/ 2071148 w 2240198"/>
                <a:gd name="connsiteY1327" fmla="*/ 1539461 h 1729012"/>
                <a:gd name="connsiteX1328" fmla="*/ 2070089 w 2240198"/>
                <a:gd name="connsiteY1328" fmla="*/ 1535304 h 1729012"/>
                <a:gd name="connsiteX1329" fmla="*/ 2070098 w 2240198"/>
                <a:gd name="connsiteY1329" fmla="*/ 1534552 h 1729012"/>
                <a:gd name="connsiteX1330" fmla="*/ 2070635 w 2240198"/>
                <a:gd name="connsiteY1330" fmla="*/ 1533108 h 1729012"/>
                <a:gd name="connsiteX1331" fmla="*/ 2072379 w 2240198"/>
                <a:gd name="connsiteY1331" fmla="*/ 1531106 h 1729012"/>
                <a:gd name="connsiteX1332" fmla="*/ 2080271 w 2240198"/>
                <a:gd name="connsiteY1332" fmla="*/ 1525802 h 1729012"/>
                <a:gd name="connsiteX1333" fmla="*/ 2086617 w 2240198"/>
                <a:gd name="connsiteY1333" fmla="*/ 1520426 h 1729012"/>
                <a:gd name="connsiteX1334" fmla="*/ 2089294 w 2240198"/>
                <a:gd name="connsiteY1334" fmla="*/ 1517623 h 1729012"/>
                <a:gd name="connsiteX1335" fmla="*/ 2091890 w 2240198"/>
                <a:gd name="connsiteY1335" fmla="*/ 1516624 h 1729012"/>
                <a:gd name="connsiteX1336" fmla="*/ 2096127 w 2240198"/>
                <a:gd name="connsiteY1336" fmla="*/ 1514294 h 1729012"/>
                <a:gd name="connsiteX1337" fmla="*/ 2096262 w 2240198"/>
                <a:gd name="connsiteY1337" fmla="*/ 1514020 h 1729012"/>
                <a:gd name="connsiteX1338" fmla="*/ 2092153 w 2240198"/>
                <a:gd name="connsiteY1338" fmla="*/ 1514315 h 1729012"/>
                <a:gd name="connsiteX1339" fmla="*/ 2089265 w 2240198"/>
                <a:gd name="connsiteY1339" fmla="*/ 1513670 h 1729012"/>
                <a:gd name="connsiteX1340" fmla="*/ 2086313 w 2240198"/>
                <a:gd name="connsiteY1340" fmla="*/ 1513415 h 1729012"/>
                <a:gd name="connsiteX1341" fmla="*/ 2080703 w 2240198"/>
                <a:gd name="connsiteY1341" fmla="*/ 1514031 h 1729012"/>
                <a:gd name="connsiteX1342" fmla="*/ 2075049 w 2240198"/>
                <a:gd name="connsiteY1342" fmla="*/ 1514031 h 1729012"/>
                <a:gd name="connsiteX1343" fmla="*/ 2075027 w 2240198"/>
                <a:gd name="connsiteY1343" fmla="*/ 1512836 h 1729012"/>
                <a:gd name="connsiteX1344" fmla="*/ 2077670 w 2240198"/>
                <a:gd name="connsiteY1344" fmla="*/ 1510582 h 1729012"/>
                <a:gd name="connsiteX1345" fmla="*/ 2083290 w 2240198"/>
                <a:gd name="connsiteY1345" fmla="*/ 1506710 h 1729012"/>
                <a:gd name="connsiteX1346" fmla="*/ 2083862 w 2240198"/>
                <a:gd name="connsiteY1346" fmla="*/ 1506698 h 1729012"/>
                <a:gd name="connsiteX1347" fmla="*/ 2082141 w 2240198"/>
                <a:gd name="connsiteY1347" fmla="*/ 1508501 h 1729012"/>
                <a:gd name="connsiteX1348" fmla="*/ 2081650 w 2240198"/>
                <a:gd name="connsiteY1348" fmla="*/ 1509848 h 1729012"/>
                <a:gd name="connsiteX1349" fmla="*/ 2082391 w 2240198"/>
                <a:gd name="connsiteY1349" fmla="*/ 1510744 h 1729012"/>
                <a:gd name="connsiteX1350" fmla="*/ 2083249 w 2240198"/>
                <a:gd name="connsiteY1350" fmla="*/ 1511311 h 1729012"/>
                <a:gd name="connsiteX1351" fmla="*/ 2086468 w 2240198"/>
                <a:gd name="connsiteY1351" fmla="*/ 1511548 h 1729012"/>
                <a:gd name="connsiteX1352" fmla="*/ 2087206 w 2240198"/>
                <a:gd name="connsiteY1352" fmla="*/ 1510766 h 1729012"/>
                <a:gd name="connsiteX1353" fmla="*/ 2088367 w 2240198"/>
                <a:gd name="connsiteY1353" fmla="*/ 1506614 h 1729012"/>
                <a:gd name="connsiteX1354" fmla="*/ 2090800 w 2240198"/>
                <a:gd name="connsiteY1354" fmla="*/ 1501799 h 1729012"/>
                <a:gd name="connsiteX1355" fmla="*/ 2092115 w 2240198"/>
                <a:gd name="connsiteY1355" fmla="*/ 1498321 h 1729012"/>
                <a:gd name="connsiteX1356" fmla="*/ 2094400 w 2240198"/>
                <a:gd name="connsiteY1356" fmla="*/ 1495665 h 1729012"/>
                <a:gd name="connsiteX1357" fmla="*/ 2095540 w 2240198"/>
                <a:gd name="connsiteY1357" fmla="*/ 1495266 h 1729012"/>
                <a:gd name="connsiteX1358" fmla="*/ 2096552 w 2240198"/>
                <a:gd name="connsiteY1358" fmla="*/ 1495762 h 1729012"/>
                <a:gd name="connsiteX1359" fmla="*/ 2099915 w 2240198"/>
                <a:gd name="connsiteY1359" fmla="*/ 1496400 h 1729012"/>
                <a:gd name="connsiteX1360" fmla="*/ 2103375 w 2240198"/>
                <a:gd name="connsiteY1360" fmla="*/ 1498833 h 1729012"/>
                <a:gd name="connsiteX1361" fmla="*/ 2104494 w 2240198"/>
                <a:gd name="connsiteY1361" fmla="*/ 1499038 h 1729012"/>
                <a:gd name="connsiteX1362" fmla="*/ 2104875 w 2240198"/>
                <a:gd name="connsiteY1362" fmla="*/ 1498821 h 1729012"/>
                <a:gd name="connsiteX1363" fmla="*/ 2103606 w 2240198"/>
                <a:gd name="connsiteY1363" fmla="*/ 1498106 h 1729012"/>
                <a:gd name="connsiteX1364" fmla="*/ 2102560 w 2240198"/>
                <a:gd name="connsiteY1364" fmla="*/ 1496962 h 1729012"/>
                <a:gd name="connsiteX1365" fmla="*/ 2102126 w 2240198"/>
                <a:gd name="connsiteY1365" fmla="*/ 1495891 h 1729012"/>
                <a:gd name="connsiteX1366" fmla="*/ 2103390 w 2240198"/>
                <a:gd name="connsiteY1366" fmla="*/ 1492531 h 1729012"/>
                <a:gd name="connsiteX1367" fmla="*/ 2104872 w 2240198"/>
                <a:gd name="connsiteY1367" fmla="*/ 1491563 h 1729012"/>
                <a:gd name="connsiteX1368" fmla="*/ 2105140 w 2240198"/>
                <a:gd name="connsiteY1368" fmla="*/ 1490902 h 1729012"/>
                <a:gd name="connsiteX1369" fmla="*/ 2102179 w 2240198"/>
                <a:gd name="connsiteY1369" fmla="*/ 1490888 h 1729012"/>
                <a:gd name="connsiteX1370" fmla="*/ 2099794 w 2240198"/>
                <a:gd name="connsiteY1370" fmla="*/ 1489947 h 1729012"/>
                <a:gd name="connsiteX1371" fmla="*/ 2099084 w 2240198"/>
                <a:gd name="connsiteY1371" fmla="*/ 1488424 h 1729012"/>
                <a:gd name="connsiteX1372" fmla="*/ 2099224 w 2240198"/>
                <a:gd name="connsiteY1372" fmla="*/ 1485746 h 1729012"/>
                <a:gd name="connsiteX1373" fmla="*/ 2100001 w 2240198"/>
                <a:gd name="connsiteY1373" fmla="*/ 1484144 h 1729012"/>
                <a:gd name="connsiteX1374" fmla="*/ 2101911 w 2240198"/>
                <a:gd name="connsiteY1374" fmla="*/ 1482028 h 1729012"/>
                <a:gd name="connsiteX1375" fmla="*/ 2104234 w 2240198"/>
                <a:gd name="connsiteY1375" fmla="*/ 1480621 h 1729012"/>
                <a:gd name="connsiteX1376" fmla="*/ 2105618 w 2240198"/>
                <a:gd name="connsiteY1376" fmla="*/ 1480981 h 1729012"/>
                <a:gd name="connsiteX1377" fmla="*/ 2108285 w 2240198"/>
                <a:gd name="connsiteY1377" fmla="*/ 1482880 h 1729012"/>
                <a:gd name="connsiteX1378" fmla="*/ 2109926 w 2240198"/>
                <a:gd name="connsiteY1378" fmla="*/ 1482348 h 1729012"/>
                <a:gd name="connsiteX1379" fmla="*/ 2109736 w 2240198"/>
                <a:gd name="connsiteY1379" fmla="*/ 1481738 h 1729012"/>
                <a:gd name="connsiteX1380" fmla="*/ 2107235 w 2240198"/>
                <a:gd name="connsiteY1380" fmla="*/ 1478713 h 1729012"/>
                <a:gd name="connsiteX1381" fmla="*/ 2106433 w 2240198"/>
                <a:gd name="connsiteY1381" fmla="*/ 1476471 h 1729012"/>
                <a:gd name="connsiteX1382" fmla="*/ 2106507 w 2240198"/>
                <a:gd name="connsiteY1382" fmla="*/ 1475402 h 1729012"/>
                <a:gd name="connsiteX1383" fmla="*/ 2111925 w 2240198"/>
                <a:gd name="connsiteY1383" fmla="*/ 1464692 h 1729012"/>
                <a:gd name="connsiteX1384" fmla="*/ 2114575 w 2240198"/>
                <a:gd name="connsiteY1384" fmla="*/ 1458930 h 1729012"/>
                <a:gd name="connsiteX1385" fmla="*/ 2118187 w 2240198"/>
                <a:gd name="connsiteY1385" fmla="*/ 1450127 h 1729012"/>
                <a:gd name="connsiteX1386" fmla="*/ 2119022 w 2240198"/>
                <a:gd name="connsiteY1386" fmla="*/ 1448724 h 1729012"/>
                <a:gd name="connsiteX1387" fmla="*/ 2120852 w 2240198"/>
                <a:gd name="connsiteY1387" fmla="*/ 1446122 h 1729012"/>
                <a:gd name="connsiteX1388" fmla="*/ 2121609 w 2240198"/>
                <a:gd name="connsiteY1388" fmla="*/ 1445413 h 1729012"/>
                <a:gd name="connsiteX1389" fmla="*/ 2123971 w 2240198"/>
                <a:gd name="connsiteY1389" fmla="*/ 1445408 h 1729012"/>
                <a:gd name="connsiteX1390" fmla="*/ 2125438 w 2240198"/>
                <a:gd name="connsiteY1390" fmla="*/ 1445091 h 1729012"/>
                <a:gd name="connsiteX1391" fmla="*/ 2123294 w 2240198"/>
                <a:gd name="connsiteY1391" fmla="*/ 1443940 h 1729012"/>
                <a:gd name="connsiteX1392" fmla="*/ 2122525 w 2240198"/>
                <a:gd name="connsiteY1392" fmla="*/ 1443138 h 1729012"/>
                <a:gd name="connsiteX1393" fmla="*/ 2122435 w 2240198"/>
                <a:gd name="connsiteY1393" fmla="*/ 1442293 h 1729012"/>
                <a:gd name="connsiteX1394" fmla="*/ 2123021 w 2240198"/>
                <a:gd name="connsiteY1394" fmla="*/ 1441407 h 1729012"/>
                <a:gd name="connsiteX1395" fmla="*/ 2123851 w 2240198"/>
                <a:gd name="connsiteY1395" fmla="*/ 1440751 h 1729012"/>
                <a:gd name="connsiteX1396" fmla="*/ 2126653 w 2240198"/>
                <a:gd name="connsiteY1396" fmla="*/ 1439332 h 1729012"/>
                <a:gd name="connsiteX1397" fmla="*/ 2128641 w 2240198"/>
                <a:gd name="connsiteY1397" fmla="*/ 1436995 h 1729012"/>
                <a:gd name="connsiteX1398" fmla="*/ 2129847 w 2240198"/>
                <a:gd name="connsiteY1398" fmla="*/ 1434241 h 1729012"/>
                <a:gd name="connsiteX1399" fmla="*/ 2129668 w 2240198"/>
                <a:gd name="connsiteY1399" fmla="*/ 1433301 h 1729012"/>
                <a:gd name="connsiteX1400" fmla="*/ 2129046 w 2240198"/>
                <a:gd name="connsiteY1400" fmla="*/ 1432365 h 1729012"/>
                <a:gd name="connsiteX1401" fmla="*/ 2129080 w 2240198"/>
                <a:gd name="connsiteY1401" fmla="*/ 1431857 h 1729012"/>
                <a:gd name="connsiteX1402" fmla="*/ 2130590 w 2240198"/>
                <a:gd name="connsiteY1402" fmla="*/ 1431282 h 1729012"/>
                <a:gd name="connsiteX1403" fmla="*/ 2134425 w 2240198"/>
                <a:gd name="connsiteY1403" fmla="*/ 1428005 h 1729012"/>
                <a:gd name="connsiteX1404" fmla="*/ 2134924 w 2240198"/>
                <a:gd name="connsiteY1404" fmla="*/ 1427377 h 1729012"/>
                <a:gd name="connsiteX1405" fmla="*/ 2136325 w 2240198"/>
                <a:gd name="connsiteY1405" fmla="*/ 1422996 h 1729012"/>
                <a:gd name="connsiteX1406" fmla="*/ 2138044 w 2240198"/>
                <a:gd name="connsiteY1406" fmla="*/ 1421051 h 1729012"/>
                <a:gd name="connsiteX1407" fmla="*/ 2139652 w 2240198"/>
                <a:gd name="connsiteY1407" fmla="*/ 1420053 h 1729012"/>
                <a:gd name="connsiteX1408" fmla="*/ 2142213 w 2240198"/>
                <a:gd name="connsiteY1408" fmla="*/ 1418812 h 1729012"/>
                <a:gd name="connsiteX1409" fmla="*/ 2150089 w 2240198"/>
                <a:gd name="connsiteY1409" fmla="*/ 1415804 h 1729012"/>
                <a:gd name="connsiteX1410" fmla="*/ 2154699 w 2240198"/>
                <a:gd name="connsiteY1410" fmla="*/ 1413116 h 1729012"/>
                <a:gd name="connsiteX1411" fmla="*/ 2157829 w 2240198"/>
                <a:gd name="connsiteY1411" fmla="*/ 1413266 h 1729012"/>
                <a:gd name="connsiteX1412" fmla="*/ 2158750 w 2240198"/>
                <a:gd name="connsiteY1412" fmla="*/ 1415141 h 1729012"/>
                <a:gd name="connsiteX1413" fmla="*/ 2163197 w 2240198"/>
                <a:gd name="connsiteY1413" fmla="*/ 1416386 h 1729012"/>
                <a:gd name="connsiteX1414" fmla="*/ 2163979 w 2240198"/>
                <a:gd name="connsiteY1414" fmla="*/ 1415049 h 1729012"/>
                <a:gd name="connsiteX1415" fmla="*/ 2162938 w 2240198"/>
                <a:gd name="connsiteY1415" fmla="*/ 1413418 h 1729012"/>
                <a:gd name="connsiteX1416" fmla="*/ 2163806 w 2240198"/>
                <a:gd name="connsiteY1416" fmla="*/ 1412761 h 1729012"/>
                <a:gd name="connsiteX1417" fmla="*/ 328882 w 2240198"/>
                <a:gd name="connsiteY1417" fmla="*/ 1408389 h 1729012"/>
                <a:gd name="connsiteX1418" fmla="*/ 329721 w 2240198"/>
                <a:gd name="connsiteY1418" fmla="*/ 1408544 h 1729012"/>
                <a:gd name="connsiteX1419" fmla="*/ 330021 w 2240198"/>
                <a:gd name="connsiteY1419" fmla="*/ 1409564 h 1729012"/>
                <a:gd name="connsiteX1420" fmla="*/ 331398 w 2240198"/>
                <a:gd name="connsiteY1420" fmla="*/ 1411865 h 1729012"/>
                <a:gd name="connsiteX1421" fmla="*/ 331807 w 2240198"/>
                <a:gd name="connsiteY1421" fmla="*/ 1412540 h 1729012"/>
                <a:gd name="connsiteX1422" fmla="*/ 331810 w 2240198"/>
                <a:gd name="connsiteY1422" fmla="*/ 1415212 h 1729012"/>
                <a:gd name="connsiteX1423" fmla="*/ 331598 w 2240198"/>
                <a:gd name="connsiteY1423" fmla="*/ 1416301 h 1729012"/>
                <a:gd name="connsiteX1424" fmla="*/ 331177 w 2240198"/>
                <a:gd name="connsiteY1424" fmla="*/ 1416863 h 1729012"/>
                <a:gd name="connsiteX1425" fmla="*/ 330163 w 2240198"/>
                <a:gd name="connsiteY1425" fmla="*/ 1416862 h 1729012"/>
                <a:gd name="connsiteX1426" fmla="*/ 328558 w 2240198"/>
                <a:gd name="connsiteY1426" fmla="*/ 1416295 h 1729012"/>
                <a:gd name="connsiteX1427" fmla="*/ 327360 w 2240198"/>
                <a:gd name="connsiteY1427" fmla="*/ 1415046 h 1729012"/>
                <a:gd name="connsiteX1428" fmla="*/ 325915 w 2240198"/>
                <a:gd name="connsiteY1428" fmla="*/ 1411147 h 1729012"/>
                <a:gd name="connsiteX1429" fmla="*/ 326077 w 2240198"/>
                <a:gd name="connsiteY1429" fmla="*/ 1410476 h 1729012"/>
                <a:gd name="connsiteX1430" fmla="*/ 326575 w 2240198"/>
                <a:gd name="connsiteY1430" fmla="*/ 1409794 h 1729012"/>
                <a:gd name="connsiteX1431" fmla="*/ 2173754 w 2240198"/>
                <a:gd name="connsiteY1431" fmla="*/ 1398683 h 1729012"/>
                <a:gd name="connsiteX1432" fmla="*/ 2173260 w 2240198"/>
                <a:gd name="connsiteY1432" fmla="*/ 1400892 h 1729012"/>
                <a:gd name="connsiteX1433" fmla="*/ 2171543 w 2240198"/>
                <a:gd name="connsiteY1433" fmla="*/ 1402258 h 1729012"/>
                <a:gd name="connsiteX1434" fmla="*/ 2170335 w 2240198"/>
                <a:gd name="connsiteY1434" fmla="*/ 1402286 h 1729012"/>
                <a:gd name="connsiteX1435" fmla="*/ 2170063 w 2240198"/>
                <a:gd name="connsiteY1435" fmla="*/ 1401906 h 1729012"/>
                <a:gd name="connsiteX1436" fmla="*/ 2170567 w 2240198"/>
                <a:gd name="connsiteY1436" fmla="*/ 1400604 h 1729012"/>
                <a:gd name="connsiteX1437" fmla="*/ 2171918 w 2240198"/>
                <a:gd name="connsiteY1437" fmla="*/ 1399101 h 1729012"/>
                <a:gd name="connsiteX1438" fmla="*/ 1563659 w 2240198"/>
                <a:gd name="connsiteY1438" fmla="*/ 1395189 h 1729012"/>
                <a:gd name="connsiteX1439" fmla="*/ 1565272 w 2240198"/>
                <a:gd name="connsiteY1439" fmla="*/ 1395573 h 1729012"/>
                <a:gd name="connsiteX1440" fmla="*/ 1565298 w 2240198"/>
                <a:gd name="connsiteY1440" fmla="*/ 1396108 h 1729012"/>
                <a:gd name="connsiteX1441" fmla="*/ 1564123 w 2240198"/>
                <a:gd name="connsiteY1441" fmla="*/ 1397707 h 1729012"/>
                <a:gd name="connsiteX1442" fmla="*/ 1563809 w 2240198"/>
                <a:gd name="connsiteY1442" fmla="*/ 1398780 h 1729012"/>
                <a:gd name="connsiteX1443" fmla="*/ 1563236 w 2240198"/>
                <a:gd name="connsiteY1443" fmla="*/ 1399593 h 1729012"/>
                <a:gd name="connsiteX1444" fmla="*/ 1562406 w 2240198"/>
                <a:gd name="connsiteY1444" fmla="*/ 1400147 h 1729012"/>
                <a:gd name="connsiteX1445" fmla="*/ 1561359 w 2240198"/>
                <a:gd name="connsiteY1445" fmla="*/ 1400387 h 1729012"/>
                <a:gd name="connsiteX1446" fmla="*/ 1558950 w 2240198"/>
                <a:gd name="connsiteY1446" fmla="*/ 1400114 h 1729012"/>
                <a:gd name="connsiteX1447" fmla="*/ 1557015 w 2240198"/>
                <a:gd name="connsiteY1447" fmla="*/ 1399263 h 1729012"/>
                <a:gd name="connsiteX1448" fmla="*/ 1555826 w 2240198"/>
                <a:gd name="connsiteY1448" fmla="*/ 1398177 h 1729012"/>
                <a:gd name="connsiteX1449" fmla="*/ 251130 w 2240198"/>
                <a:gd name="connsiteY1449" fmla="*/ 1393406 h 1729012"/>
                <a:gd name="connsiteX1450" fmla="*/ 253348 w 2240198"/>
                <a:gd name="connsiteY1450" fmla="*/ 1395287 h 1729012"/>
                <a:gd name="connsiteX1451" fmla="*/ 252875 w 2240198"/>
                <a:gd name="connsiteY1451" fmla="*/ 1399820 h 1729012"/>
                <a:gd name="connsiteX1452" fmla="*/ 252419 w 2240198"/>
                <a:gd name="connsiteY1452" fmla="*/ 1399885 h 1729012"/>
                <a:gd name="connsiteX1453" fmla="*/ 251576 w 2240198"/>
                <a:gd name="connsiteY1453" fmla="*/ 1399183 h 1729012"/>
                <a:gd name="connsiteX1454" fmla="*/ 250996 w 2240198"/>
                <a:gd name="connsiteY1454" fmla="*/ 1398049 h 1729012"/>
                <a:gd name="connsiteX1455" fmla="*/ 250643 w 2240198"/>
                <a:gd name="connsiteY1455" fmla="*/ 1395092 h 1729012"/>
                <a:gd name="connsiteX1456" fmla="*/ 250902 w 2240198"/>
                <a:gd name="connsiteY1456" fmla="*/ 1393884 h 1729012"/>
                <a:gd name="connsiteX1457" fmla="*/ 323418 w 2240198"/>
                <a:gd name="connsiteY1457" fmla="*/ 1371791 h 1729012"/>
                <a:gd name="connsiteX1458" fmla="*/ 323388 w 2240198"/>
                <a:gd name="connsiteY1458" fmla="*/ 1373269 h 1729012"/>
                <a:gd name="connsiteX1459" fmla="*/ 322128 w 2240198"/>
                <a:gd name="connsiteY1459" fmla="*/ 1379865 h 1729012"/>
                <a:gd name="connsiteX1460" fmla="*/ 321477 w 2240198"/>
                <a:gd name="connsiteY1460" fmla="*/ 1382911 h 1729012"/>
                <a:gd name="connsiteX1461" fmla="*/ 320976 w 2240198"/>
                <a:gd name="connsiteY1461" fmla="*/ 1384033 h 1729012"/>
                <a:gd name="connsiteX1462" fmla="*/ 320338 w 2240198"/>
                <a:gd name="connsiteY1462" fmla="*/ 1384892 h 1729012"/>
                <a:gd name="connsiteX1463" fmla="*/ 318394 w 2240198"/>
                <a:gd name="connsiteY1463" fmla="*/ 1385348 h 1729012"/>
                <a:gd name="connsiteX1464" fmla="*/ 319041 w 2240198"/>
                <a:gd name="connsiteY1464" fmla="*/ 1383520 h 1729012"/>
                <a:gd name="connsiteX1465" fmla="*/ 319229 w 2240198"/>
                <a:gd name="connsiteY1465" fmla="*/ 1382438 h 1729012"/>
                <a:gd name="connsiteX1466" fmla="*/ 318879 w 2240198"/>
                <a:gd name="connsiteY1466" fmla="*/ 1381419 h 1729012"/>
                <a:gd name="connsiteX1467" fmla="*/ 318634 w 2240198"/>
                <a:gd name="connsiteY1467" fmla="*/ 1379451 h 1729012"/>
                <a:gd name="connsiteX1468" fmla="*/ 318536 w 2240198"/>
                <a:gd name="connsiteY1468" fmla="*/ 1374802 h 1729012"/>
                <a:gd name="connsiteX1469" fmla="*/ 320435 w 2240198"/>
                <a:gd name="connsiteY1469" fmla="*/ 1371877 h 1729012"/>
                <a:gd name="connsiteX1470" fmla="*/ 298096 w 2240198"/>
                <a:gd name="connsiteY1470" fmla="*/ 1370871 h 1729012"/>
                <a:gd name="connsiteX1471" fmla="*/ 298879 w 2240198"/>
                <a:gd name="connsiteY1471" fmla="*/ 1371123 h 1729012"/>
                <a:gd name="connsiteX1472" fmla="*/ 299611 w 2240198"/>
                <a:gd name="connsiteY1472" fmla="*/ 1371556 h 1729012"/>
                <a:gd name="connsiteX1473" fmla="*/ 304484 w 2240198"/>
                <a:gd name="connsiteY1473" fmla="*/ 1375988 h 1729012"/>
                <a:gd name="connsiteX1474" fmla="*/ 305844 w 2240198"/>
                <a:gd name="connsiteY1474" fmla="*/ 1378073 h 1729012"/>
                <a:gd name="connsiteX1475" fmla="*/ 305933 w 2240198"/>
                <a:gd name="connsiteY1475" fmla="*/ 1381170 h 1729012"/>
                <a:gd name="connsiteX1476" fmla="*/ 305125 w 2240198"/>
                <a:gd name="connsiteY1476" fmla="*/ 1382731 h 1729012"/>
                <a:gd name="connsiteX1477" fmla="*/ 301737 w 2240198"/>
                <a:gd name="connsiteY1477" fmla="*/ 1378973 h 1729012"/>
                <a:gd name="connsiteX1478" fmla="*/ 300502 w 2240198"/>
                <a:gd name="connsiteY1478" fmla="*/ 1377916 h 1729012"/>
                <a:gd name="connsiteX1479" fmla="*/ 297980 w 2240198"/>
                <a:gd name="connsiteY1479" fmla="*/ 1373920 h 1729012"/>
                <a:gd name="connsiteX1480" fmla="*/ 297542 w 2240198"/>
                <a:gd name="connsiteY1480" fmla="*/ 1372203 h 1729012"/>
                <a:gd name="connsiteX1481" fmla="*/ 297650 w 2240198"/>
                <a:gd name="connsiteY1481" fmla="*/ 1371229 h 1729012"/>
                <a:gd name="connsiteX1482" fmla="*/ 291626 w 2240198"/>
                <a:gd name="connsiteY1482" fmla="*/ 1357923 h 1729012"/>
                <a:gd name="connsiteX1483" fmla="*/ 292377 w 2240198"/>
                <a:gd name="connsiteY1483" fmla="*/ 1358107 h 1729012"/>
                <a:gd name="connsiteX1484" fmla="*/ 292902 w 2240198"/>
                <a:gd name="connsiteY1484" fmla="*/ 1358392 h 1729012"/>
                <a:gd name="connsiteX1485" fmla="*/ 295621 w 2240198"/>
                <a:gd name="connsiteY1485" fmla="*/ 1362585 h 1729012"/>
                <a:gd name="connsiteX1486" fmla="*/ 296377 w 2240198"/>
                <a:gd name="connsiteY1486" fmla="*/ 1364666 h 1729012"/>
                <a:gd name="connsiteX1487" fmla="*/ 295997 w 2240198"/>
                <a:gd name="connsiteY1487" fmla="*/ 1364940 h 1729012"/>
                <a:gd name="connsiteX1488" fmla="*/ 294949 w 2240198"/>
                <a:gd name="connsiteY1488" fmla="*/ 1364480 h 1729012"/>
                <a:gd name="connsiteX1489" fmla="*/ 293942 w 2240198"/>
                <a:gd name="connsiteY1489" fmla="*/ 1363583 h 1729012"/>
                <a:gd name="connsiteX1490" fmla="*/ 292217 w 2240198"/>
                <a:gd name="connsiteY1490" fmla="*/ 1361039 h 1729012"/>
                <a:gd name="connsiteX1491" fmla="*/ 291649 w 2240198"/>
                <a:gd name="connsiteY1491" fmla="*/ 1359968 h 1729012"/>
                <a:gd name="connsiteX1492" fmla="*/ 291280 w 2240198"/>
                <a:gd name="connsiteY1492" fmla="*/ 1358232 h 1729012"/>
                <a:gd name="connsiteX1493" fmla="*/ 1512935 w 2240198"/>
                <a:gd name="connsiteY1493" fmla="*/ 1356685 h 1729012"/>
                <a:gd name="connsiteX1494" fmla="*/ 1518000 w 2240198"/>
                <a:gd name="connsiteY1494" fmla="*/ 1357322 h 1729012"/>
                <a:gd name="connsiteX1495" fmla="*/ 1523964 w 2240198"/>
                <a:gd name="connsiteY1495" fmla="*/ 1363121 h 1729012"/>
                <a:gd name="connsiteX1496" fmla="*/ 1527388 w 2240198"/>
                <a:gd name="connsiteY1496" fmla="*/ 1367032 h 1729012"/>
                <a:gd name="connsiteX1497" fmla="*/ 1528780 w 2240198"/>
                <a:gd name="connsiteY1497" fmla="*/ 1370174 h 1729012"/>
                <a:gd name="connsiteX1498" fmla="*/ 1528803 w 2240198"/>
                <a:gd name="connsiteY1498" fmla="*/ 1371688 h 1729012"/>
                <a:gd name="connsiteX1499" fmla="*/ 1528241 w 2240198"/>
                <a:gd name="connsiteY1499" fmla="*/ 1373062 h 1729012"/>
                <a:gd name="connsiteX1500" fmla="*/ 1526449 w 2240198"/>
                <a:gd name="connsiteY1500" fmla="*/ 1373516 h 1729012"/>
                <a:gd name="connsiteX1501" fmla="*/ 1521188 w 2240198"/>
                <a:gd name="connsiteY1501" fmla="*/ 1372604 h 1729012"/>
                <a:gd name="connsiteX1502" fmla="*/ 1518988 w 2240198"/>
                <a:gd name="connsiteY1502" fmla="*/ 1371945 h 1729012"/>
                <a:gd name="connsiteX1503" fmla="*/ 1512506 w 2240198"/>
                <a:gd name="connsiteY1503" fmla="*/ 1369475 h 1729012"/>
                <a:gd name="connsiteX1504" fmla="*/ 1500162 w 2240198"/>
                <a:gd name="connsiteY1504" fmla="*/ 1365842 h 1729012"/>
                <a:gd name="connsiteX1505" fmla="*/ 1495954 w 2240198"/>
                <a:gd name="connsiteY1505" fmla="*/ 1364037 h 1729012"/>
                <a:gd name="connsiteX1506" fmla="*/ 1495086 w 2240198"/>
                <a:gd name="connsiteY1506" fmla="*/ 1362683 h 1729012"/>
                <a:gd name="connsiteX1507" fmla="*/ 1497321 w 2240198"/>
                <a:gd name="connsiteY1507" fmla="*/ 1359854 h 1729012"/>
                <a:gd name="connsiteX1508" fmla="*/ 1498583 w 2240198"/>
                <a:gd name="connsiteY1508" fmla="*/ 1358706 h 1729012"/>
                <a:gd name="connsiteX1509" fmla="*/ 1499953 w 2240198"/>
                <a:gd name="connsiteY1509" fmla="*/ 1357994 h 1729012"/>
                <a:gd name="connsiteX1510" fmla="*/ 230972 w 2240198"/>
                <a:gd name="connsiteY1510" fmla="*/ 1356439 h 1729012"/>
                <a:gd name="connsiteX1511" fmla="*/ 231978 w 2240198"/>
                <a:gd name="connsiteY1511" fmla="*/ 1356498 h 1729012"/>
                <a:gd name="connsiteX1512" fmla="*/ 234506 w 2240198"/>
                <a:gd name="connsiteY1512" fmla="*/ 1357674 h 1729012"/>
                <a:gd name="connsiteX1513" fmla="*/ 237077 w 2240198"/>
                <a:gd name="connsiteY1513" fmla="*/ 1360860 h 1729012"/>
                <a:gd name="connsiteX1514" fmla="*/ 237842 w 2240198"/>
                <a:gd name="connsiteY1514" fmla="*/ 1363708 h 1729012"/>
                <a:gd name="connsiteX1515" fmla="*/ 237526 w 2240198"/>
                <a:gd name="connsiteY1515" fmla="*/ 1367069 h 1729012"/>
                <a:gd name="connsiteX1516" fmla="*/ 233454 w 2240198"/>
                <a:gd name="connsiteY1516" fmla="*/ 1368342 h 1729012"/>
                <a:gd name="connsiteX1517" fmla="*/ 231313 w 2240198"/>
                <a:gd name="connsiteY1517" fmla="*/ 1367327 h 1729012"/>
                <a:gd name="connsiteX1518" fmla="*/ 230383 w 2240198"/>
                <a:gd name="connsiteY1518" fmla="*/ 1367516 h 1729012"/>
                <a:gd name="connsiteX1519" fmla="*/ 228978 w 2240198"/>
                <a:gd name="connsiteY1519" fmla="*/ 1368521 h 1729012"/>
                <a:gd name="connsiteX1520" fmla="*/ 230686 w 2240198"/>
                <a:gd name="connsiteY1520" fmla="*/ 1368970 h 1729012"/>
                <a:gd name="connsiteX1521" fmla="*/ 233079 w 2240198"/>
                <a:gd name="connsiteY1521" fmla="*/ 1370616 h 1729012"/>
                <a:gd name="connsiteX1522" fmla="*/ 235176 w 2240198"/>
                <a:gd name="connsiteY1522" fmla="*/ 1372749 h 1729012"/>
                <a:gd name="connsiteX1523" fmla="*/ 238136 w 2240198"/>
                <a:gd name="connsiteY1523" fmla="*/ 1373132 h 1729012"/>
                <a:gd name="connsiteX1524" fmla="*/ 242075 w 2240198"/>
                <a:gd name="connsiteY1524" fmla="*/ 1374620 h 1729012"/>
                <a:gd name="connsiteX1525" fmla="*/ 239094 w 2240198"/>
                <a:gd name="connsiteY1525" fmla="*/ 1377300 h 1729012"/>
                <a:gd name="connsiteX1526" fmla="*/ 238644 w 2240198"/>
                <a:gd name="connsiteY1526" fmla="*/ 1378841 h 1729012"/>
                <a:gd name="connsiteX1527" fmla="*/ 242363 w 2240198"/>
                <a:gd name="connsiteY1527" fmla="*/ 1383104 h 1729012"/>
                <a:gd name="connsiteX1528" fmla="*/ 242716 w 2240198"/>
                <a:gd name="connsiteY1528" fmla="*/ 1384168 h 1729012"/>
                <a:gd name="connsiteX1529" fmla="*/ 243906 w 2240198"/>
                <a:gd name="connsiteY1529" fmla="*/ 1384386 h 1729012"/>
                <a:gd name="connsiteX1530" fmla="*/ 246680 w 2240198"/>
                <a:gd name="connsiteY1530" fmla="*/ 1384042 h 1729012"/>
                <a:gd name="connsiteX1531" fmla="*/ 247033 w 2240198"/>
                <a:gd name="connsiteY1531" fmla="*/ 1384379 h 1729012"/>
                <a:gd name="connsiteX1532" fmla="*/ 247026 w 2240198"/>
                <a:gd name="connsiteY1532" fmla="*/ 1385262 h 1729012"/>
                <a:gd name="connsiteX1533" fmla="*/ 245326 w 2240198"/>
                <a:gd name="connsiteY1533" fmla="*/ 1387731 h 1729012"/>
                <a:gd name="connsiteX1534" fmla="*/ 245506 w 2240198"/>
                <a:gd name="connsiteY1534" fmla="*/ 1388223 h 1729012"/>
                <a:gd name="connsiteX1535" fmla="*/ 247046 w 2240198"/>
                <a:gd name="connsiteY1535" fmla="*/ 1388611 h 1729012"/>
                <a:gd name="connsiteX1536" fmla="*/ 250002 w 2240198"/>
                <a:gd name="connsiteY1536" fmla="*/ 1388630 h 1729012"/>
                <a:gd name="connsiteX1537" fmla="*/ 250673 w 2240198"/>
                <a:gd name="connsiteY1537" fmla="*/ 1391079 h 1729012"/>
                <a:gd name="connsiteX1538" fmla="*/ 248001 w 2240198"/>
                <a:gd name="connsiteY1538" fmla="*/ 1393305 h 1729012"/>
                <a:gd name="connsiteX1539" fmla="*/ 242921 w 2240198"/>
                <a:gd name="connsiteY1539" fmla="*/ 1390437 h 1729012"/>
                <a:gd name="connsiteX1540" fmla="*/ 240657 w 2240198"/>
                <a:gd name="connsiteY1540" fmla="*/ 1387576 h 1729012"/>
                <a:gd name="connsiteX1541" fmla="*/ 239366 w 2240198"/>
                <a:gd name="connsiteY1541" fmla="*/ 1384924 h 1729012"/>
                <a:gd name="connsiteX1542" fmla="*/ 237803 w 2240198"/>
                <a:gd name="connsiteY1542" fmla="*/ 1383423 h 1729012"/>
                <a:gd name="connsiteX1543" fmla="*/ 233088 w 2240198"/>
                <a:gd name="connsiteY1543" fmla="*/ 1380089 h 1729012"/>
                <a:gd name="connsiteX1544" fmla="*/ 225923 w 2240198"/>
                <a:gd name="connsiteY1544" fmla="*/ 1372873 h 1729012"/>
                <a:gd name="connsiteX1545" fmla="*/ 224076 w 2240198"/>
                <a:gd name="connsiteY1545" fmla="*/ 1371828 h 1729012"/>
                <a:gd name="connsiteX1546" fmla="*/ 222213 w 2240198"/>
                <a:gd name="connsiteY1546" fmla="*/ 1368968 h 1729012"/>
                <a:gd name="connsiteX1547" fmla="*/ 221670 w 2240198"/>
                <a:gd name="connsiteY1547" fmla="*/ 1367590 h 1729012"/>
                <a:gd name="connsiteX1548" fmla="*/ 221717 w 2240198"/>
                <a:gd name="connsiteY1548" fmla="*/ 1366667 h 1729012"/>
                <a:gd name="connsiteX1549" fmla="*/ 222442 w 2240198"/>
                <a:gd name="connsiteY1549" fmla="*/ 1366179 h 1729012"/>
                <a:gd name="connsiteX1550" fmla="*/ 224587 w 2240198"/>
                <a:gd name="connsiteY1550" fmla="*/ 1365858 h 1729012"/>
                <a:gd name="connsiteX1551" fmla="*/ 224617 w 2240198"/>
                <a:gd name="connsiteY1551" fmla="*/ 1364421 h 1729012"/>
                <a:gd name="connsiteX1552" fmla="*/ 216377 w 2240198"/>
                <a:gd name="connsiteY1552" fmla="*/ 1361928 h 1729012"/>
                <a:gd name="connsiteX1553" fmla="*/ 215461 w 2240198"/>
                <a:gd name="connsiteY1553" fmla="*/ 1361418 h 1729012"/>
                <a:gd name="connsiteX1554" fmla="*/ 214398 w 2240198"/>
                <a:gd name="connsiteY1554" fmla="*/ 1359672 h 1729012"/>
                <a:gd name="connsiteX1555" fmla="*/ 214970 w 2240198"/>
                <a:gd name="connsiteY1555" fmla="*/ 1359417 h 1729012"/>
                <a:gd name="connsiteX1556" fmla="*/ 219503 w 2240198"/>
                <a:gd name="connsiteY1556" fmla="*/ 1359721 h 1729012"/>
                <a:gd name="connsiteX1557" fmla="*/ 224359 w 2240198"/>
                <a:gd name="connsiteY1557" fmla="*/ 1358882 h 1729012"/>
                <a:gd name="connsiteX1558" fmla="*/ 227351 w 2240198"/>
                <a:gd name="connsiteY1558" fmla="*/ 1358239 h 1729012"/>
                <a:gd name="connsiteX1559" fmla="*/ 228529 w 2240198"/>
                <a:gd name="connsiteY1559" fmla="*/ 1357454 h 1729012"/>
                <a:gd name="connsiteX1560" fmla="*/ 303488 w 2240198"/>
                <a:gd name="connsiteY1560" fmla="*/ 1354768 h 1729012"/>
                <a:gd name="connsiteX1561" fmla="*/ 305085 w 2240198"/>
                <a:gd name="connsiteY1561" fmla="*/ 1354961 h 1729012"/>
                <a:gd name="connsiteX1562" fmla="*/ 307938 w 2240198"/>
                <a:gd name="connsiteY1562" fmla="*/ 1356538 h 1729012"/>
                <a:gd name="connsiteX1563" fmla="*/ 310913 w 2240198"/>
                <a:gd name="connsiteY1563" fmla="*/ 1358250 h 1729012"/>
                <a:gd name="connsiteX1564" fmla="*/ 313645 w 2240198"/>
                <a:gd name="connsiteY1564" fmla="*/ 1360532 h 1729012"/>
                <a:gd name="connsiteX1565" fmla="*/ 315679 w 2240198"/>
                <a:gd name="connsiteY1565" fmla="*/ 1366466 h 1729012"/>
                <a:gd name="connsiteX1566" fmla="*/ 316843 w 2240198"/>
                <a:gd name="connsiteY1566" fmla="*/ 1377391 h 1729012"/>
                <a:gd name="connsiteX1567" fmla="*/ 316758 w 2240198"/>
                <a:gd name="connsiteY1567" fmla="*/ 1380877 h 1729012"/>
                <a:gd name="connsiteX1568" fmla="*/ 315061 w 2240198"/>
                <a:gd name="connsiteY1568" fmla="*/ 1383155 h 1729012"/>
                <a:gd name="connsiteX1569" fmla="*/ 313865 w 2240198"/>
                <a:gd name="connsiteY1569" fmla="*/ 1386969 h 1729012"/>
                <a:gd name="connsiteX1570" fmla="*/ 312471 w 2240198"/>
                <a:gd name="connsiteY1570" fmla="*/ 1388680 h 1729012"/>
                <a:gd name="connsiteX1571" fmla="*/ 311154 w 2240198"/>
                <a:gd name="connsiteY1571" fmla="*/ 1386401 h 1729012"/>
                <a:gd name="connsiteX1572" fmla="*/ 311036 w 2240198"/>
                <a:gd name="connsiteY1572" fmla="*/ 1382613 h 1729012"/>
                <a:gd name="connsiteX1573" fmla="*/ 310685 w 2240198"/>
                <a:gd name="connsiteY1573" fmla="*/ 1379598 h 1729012"/>
                <a:gd name="connsiteX1574" fmla="*/ 310253 w 2240198"/>
                <a:gd name="connsiteY1574" fmla="*/ 1378153 h 1729012"/>
                <a:gd name="connsiteX1575" fmla="*/ 310763 w 2240198"/>
                <a:gd name="connsiteY1575" fmla="*/ 1372510 h 1729012"/>
                <a:gd name="connsiteX1576" fmla="*/ 310172 w 2240198"/>
                <a:gd name="connsiteY1576" fmla="*/ 1372926 h 1729012"/>
                <a:gd name="connsiteX1577" fmla="*/ 308610 w 2240198"/>
                <a:gd name="connsiteY1577" fmla="*/ 1375403 h 1729012"/>
                <a:gd name="connsiteX1578" fmla="*/ 306871 w 2240198"/>
                <a:gd name="connsiteY1578" fmla="*/ 1375574 h 1729012"/>
                <a:gd name="connsiteX1579" fmla="*/ 303751 w 2240198"/>
                <a:gd name="connsiteY1579" fmla="*/ 1372765 h 1729012"/>
                <a:gd name="connsiteX1580" fmla="*/ 302183 w 2240198"/>
                <a:gd name="connsiteY1580" fmla="*/ 1370487 h 1729012"/>
                <a:gd name="connsiteX1581" fmla="*/ 301925 w 2240198"/>
                <a:gd name="connsiteY1581" fmla="*/ 1368109 h 1729012"/>
                <a:gd name="connsiteX1582" fmla="*/ 299869 w 2240198"/>
                <a:gd name="connsiteY1582" fmla="*/ 1365601 h 1729012"/>
                <a:gd name="connsiteX1583" fmla="*/ 299657 w 2240198"/>
                <a:gd name="connsiteY1583" fmla="*/ 1364718 h 1729012"/>
                <a:gd name="connsiteX1584" fmla="*/ 299825 w 2240198"/>
                <a:gd name="connsiteY1584" fmla="*/ 1363782 h 1729012"/>
                <a:gd name="connsiteX1585" fmla="*/ 301515 w 2240198"/>
                <a:gd name="connsiteY1585" fmla="*/ 1361283 h 1729012"/>
                <a:gd name="connsiteX1586" fmla="*/ 302199 w 2240198"/>
                <a:gd name="connsiteY1586" fmla="*/ 1359597 h 1729012"/>
                <a:gd name="connsiteX1587" fmla="*/ 302800 w 2240198"/>
                <a:gd name="connsiteY1587" fmla="*/ 1356122 h 1729012"/>
                <a:gd name="connsiteX1588" fmla="*/ 298292 w 2240198"/>
                <a:gd name="connsiteY1588" fmla="*/ 1353040 h 1729012"/>
                <a:gd name="connsiteX1589" fmla="*/ 299381 w 2240198"/>
                <a:gd name="connsiteY1589" fmla="*/ 1354311 h 1729012"/>
                <a:gd name="connsiteX1590" fmla="*/ 299844 w 2240198"/>
                <a:gd name="connsiteY1590" fmla="*/ 1355485 h 1729012"/>
                <a:gd name="connsiteX1591" fmla="*/ 300079 w 2240198"/>
                <a:gd name="connsiteY1591" fmla="*/ 1360347 h 1729012"/>
                <a:gd name="connsiteX1592" fmla="*/ 299939 w 2240198"/>
                <a:gd name="connsiteY1592" fmla="*/ 1360592 h 1729012"/>
                <a:gd name="connsiteX1593" fmla="*/ 297311 w 2240198"/>
                <a:gd name="connsiteY1593" fmla="*/ 1360585 h 1729012"/>
                <a:gd name="connsiteX1594" fmla="*/ 296580 w 2240198"/>
                <a:gd name="connsiteY1594" fmla="*/ 1360234 h 1729012"/>
                <a:gd name="connsiteX1595" fmla="*/ 296119 w 2240198"/>
                <a:gd name="connsiteY1595" fmla="*/ 1359512 h 1729012"/>
                <a:gd name="connsiteX1596" fmla="*/ 295932 w 2240198"/>
                <a:gd name="connsiteY1596" fmla="*/ 1358417 h 1729012"/>
                <a:gd name="connsiteX1597" fmla="*/ 296361 w 2240198"/>
                <a:gd name="connsiteY1597" fmla="*/ 1357098 h 1729012"/>
                <a:gd name="connsiteX1598" fmla="*/ 297915 w 2240198"/>
                <a:gd name="connsiteY1598" fmla="*/ 1354577 h 1729012"/>
                <a:gd name="connsiteX1599" fmla="*/ 297963 w 2240198"/>
                <a:gd name="connsiteY1599" fmla="*/ 1353501 h 1729012"/>
                <a:gd name="connsiteX1600" fmla="*/ 1545533 w 2240198"/>
                <a:gd name="connsiteY1600" fmla="*/ 1351854 h 1729012"/>
                <a:gd name="connsiteX1601" fmla="*/ 1547439 w 2240198"/>
                <a:gd name="connsiteY1601" fmla="*/ 1352275 h 1729012"/>
                <a:gd name="connsiteX1602" fmla="*/ 1548360 w 2240198"/>
                <a:gd name="connsiteY1602" fmla="*/ 1353933 h 1729012"/>
                <a:gd name="connsiteX1603" fmla="*/ 1548333 w 2240198"/>
                <a:gd name="connsiteY1603" fmla="*/ 1354963 h 1729012"/>
                <a:gd name="connsiteX1604" fmla="*/ 1546689 w 2240198"/>
                <a:gd name="connsiteY1604" fmla="*/ 1354763 h 1729012"/>
                <a:gd name="connsiteX1605" fmla="*/ 1545796 w 2240198"/>
                <a:gd name="connsiteY1605" fmla="*/ 1354174 h 1729012"/>
                <a:gd name="connsiteX1606" fmla="*/ 1545072 w 2240198"/>
                <a:gd name="connsiteY1606" fmla="*/ 1353246 h 1729012"/>
                <a:gd name="connsiteX1607" fmla="*/ 1544916 w 2240198"/>
                <a:gd name="connsiteY1607" fmla="*/ 1352549 h 1729012"/>
                <a:gd name="connsiteX1608" fmla="*/ 267514 w 2240198"/>
                <a:gd name="connsiteY1608" fmla="*/ 1342638 h 1729012"/>
                <a:gd name="connsiteX1609" fmla="*/ 268963 w 2240198"/>
                <a:gd name="connsiteY1609" fmla="*/ 1343010 h 1729012"/>
                <a:gd name="connsiteX1610" fmla="*/ 274029 w 2240198"/>
                <a:gd name="connsiteY1610" fmla="*/ 1345457 h 1729012"/>
                <a:gd name="connsiteX1611" fmla="*/ 278077 w 2240198"/>
                <a:gd name="connsiteY1611" fmla="*/ 1347827 h 1729012"/>
                <a:gd name="connsiteX1612" fmla="*/ 280377 w 2240198"/>
                <a:gd name="connsiteY1612" fmla="*/ 1349372 h 1729012"/>
                <a:gd name="connsiteX1613" fmla="*/ 285192 w 2240198"/>
                <a:gd name="connsiteY1613" fmla="*/ 1355979 h 1729012"/>
                <a:gd name="connsiteX1614" fmla="*/ 284834 w 2240198"/>
                <a:gd name="connsiteY1614" fmla="*/ 1356927 h 1729012"/>
                <a:gd name="connsiteX1615" fmla="*/ 282815 w 2240198"/>
                <a:gd name="connsiteY1615" fmla="*/ 1358626 h 1729012"/>
                <a:gd name="connsiteX1616" fmla="*/ 282308 w 2240198"/>
                <a:gd name="connsiteY1616" fmla="*/ 1358743 h 1729012"/>
                <a:gd name="connsiteX1617" fmla="*/ 280639 w 2240198"/>
                <a:gd name="connsiteY1617" fmla="*/ 1358326 h 1729012"/>
                <a:gd name="connsiteX1618" fmla="*/ 275136 w 2240198"/>
                <a:gd name="connsiteY1618" fmla="*/ 1352501 h 1729012"/>
                <a:gd name="connsiteX1619" fmla="*/ 271224 w 2240198"/>
                <a:gd name="connsiteY1619" fmla="*/ 1350373 h 1729012"/>
                <a:gd name="connsiteX1620" fmla="*/ 268559 w 2240198"/>
                <a:gd name="connsiteY1620" fmla="*/ 1347491 h 1729012"/>
                <a:gd name="connsiteX1621" fmla="*/ 265851 w 2240198"/>
                <a:gd name="connsiteY1621" fmla="*/ 1345645 h 1729012"/>
                <a:gd name="connsiteX1622" fmla="*/ 267615 w 2240198"/>
                <a:gd name="connsiteY1622" fmla="*/ 1326741 h 1729012"/>
                <a:gd name="connsiteX1623" fmla="*/ 268900 w 2240198"/>
                <a:gd name="connsiteY1623" fmla="*/ 1326856 h 1729012"/>
                <a:gd name="connsiteX1624" fmla="*/ 270966 w 2240198"/>
                <a:gd name="connsiteY1624" fmla="*/ 1328205 h 1729012"/>
                <a:gd name="connsiteX1625" fmla="*/ 271406 w 2240198"/>
                <a:gd name="connsiteY1625" fmla="*/ 1328599 h 1729012"/>
                <a:gd name="connsiteX1626" fmla="*/ 272984 w 2240198"/>
                <a:gd name="connsiteY1626" fmla="*/ 1331280 h 1729012"/>
                <a:gd name="connsiteX1627" fmla="*/ 272198 w 2240198"/>
                <a:gd name="connsiteY1627" fmla="*/ 1332530 h 1729012"/>
                <a:gd name="connsiteX1628" fmla="*/ 270416 w 2240198"/>
                <a:gd name="connsiteY1628" fmla="*/ 1334486 h 1729012"/>
                <a:gd name="connsiteX1629" fmla="*/ 269232 w 2240198"/>
                <a:gd name="connsiteY1629" fmla="*/ 1335261 h 1729012"/>
                <a:gd name="connsiteX1630" fmla="*/ 268649 w 2240198"/>
                <a:gd name="connsiteY1630" fmla="*/ 1334860 h 1729012"/>
                <a:gd name="connsiteX1631" fmla="*/ 267051 w 2240198"/>
                <a:gd name="connsiteY1631" fmla="*/ 1334642 h 1729012"/>
                <a:gd name="connsiteX1632" fmla="*/ 265346 w 2240198"/>
                <a:gd name="connsiteY1632" fmla="*/ 1332694 h 1729012"/>
                <a:gd name="connsiteX1633" fmla="*/ 264019 w 2240198"/>
                <a:gd name="connsiteY1633" fmla="*/ 1331915 h 1729012"/>
                <a:gd name="connsiteX1634" fmla="*/ 263137 w 2240198"/>
                <a:gd name="connsiteY1634" fmla="*/ 1331876 h 1729012"/>
                <a:gd name="connsiteX1635" fmla="*/ 262700 w 2240198"/>
                <a:gd name="connsiteY1635" fmla="*/ 1332580 h 1729012"/>
                <a:gd name="connsiteX1636" fmla="*/ 262588 w 2240198"/>
                <a:gd name="connsiteY1636" fmla="*/ 1333521 h 1729012"/>
                <a:gd name="connsiteX1637" fmla="*/ 262800 w 2240198"/>
                <a:gd name="connsiteY1637" fmla="*/ 1334704 h 1729012"/>
                <a:gd name="connsiteX1638" fmla="*/ 262653 w 2240198"/>
                <a:gd name="connsiteY1638" fmla="*/ 1335240 h 1729012"/>
                <a:gd name="connsiteX1639" fmla="*/ 262150 w 2240198"/>
                <a:gd name="connsiteY1639" fmla="*/ 1335135 h 1729012"/>
                <a:gd name="connsiteX1640" fmla="*/ 261645 w 2240198"/>
                <a:gd name="connsiteY1640" fmla="*/ 1334583 h 1729012"/>
                <a:gd name="connsiteX1641" fmla="*/ 261145 w 2240198"/>
                <a:gd name="connsiteY1641" fmla="*/ 1333585 h 1729012"/>
                <a:gd name="connsiteX1642" fmla="*/ 261041 w 2240198"/>
                <a:gd name="connsiteY1642" fmla="*/ 1332567 h 1729012"/>
                <a:gd name="connsiteX1643" fmla="*/ 261334 w 2240198"/>
                <a:gd name="connsiteY1643" fmla="*/ 1331533 h 1729012"/>
                <a:gd name="connsiteX1644" fmla="*/ 262572 w 2240198"/>
                <a:gd name="connsiteY1644" fmla="*/ 1330142 h 1729012"/>
                <a:gd name="connsiteX1645" fmla="*/ 266433 w 2240198"/>
                <a:gd name="connsiteY1645" fmla="*/ 1327257 h 1729012"/>
                <a:gd name="connsiteX1646" fmla="*/ 201679 w 2240198"/>
                <a:gd name="connsiteY1646" fmla="*/ 1324304 h 1729012"/>
                <a:gd name="connsiteX1647" fmla="*/ 203122 w 2240198"/>
                <a:gd name="connsiteY1647" fmla="*/ 1324343 h 1729012"/>
                <a:gd name="connsiteX1648" fmla="*/ 205617 w 2240198"/>
                <a:gd name="connsiteY1648" fmla="*/ 1324937 h 1729012"/>
                <a:gd name="connsiteX1649" fmla="*/ 211640 w 2240198"/>
                <a:gd name="connsiteY1649" fmla="*/ 1325400 h 1729012"/>
                <a:gd name="connsiteX1650" fmla="*/ 213960 w 2240198"/>
                <a:gd name="connsiteY1650" fmla="*/ 1327450 h 1729012"/>
                <a:gd name="connsiteX1651" fmla="*/ 219528 w 2240198"/>
                <a:gd name="connsiteY1651" fmla="*/ 1326147 h 1729012"/>
                <a:gd name="connsiteX1652" fmla="*/ 220569 w 2240198"/>
                <a:gd name="connsiteY1652" fmla="*/ 1326397 h 1729012"/>
                <a:gd name="connsiteX1653" fmla="*/ 221628 w 2240198"/>
                <a:gd name="connsiteY1653" fmla="*/ 1327182 h 1729012"/>
                <a:gd name="connsiteX1654" fmla="*/ 222787 w 2240198"/>
                <a:gd name="connsiteY1654" fmla="*/ 1328850 h 1729012"/>
                <a:gd name="connsiteX1655" fmla="*/ 224050 w 2240198"/>
                <a:gd name="connsiteY1655" fmla="*/ 1331396 h 1729012"/>
                <a:gd name="connsiteX1656" fmla="*/ 224328 w 2240198"/>
                <a:gd name="connsiteY1656" fmla="*/ 1334176 h 1729012"/>
                <a:gd name="connsiteX1657" fmla="*/ 223823 w 2240198"/>
                <a:gd name="connsiteY1657" fmla="*/ 1335171 h 1729012"/>
                <a:gd name="connsiteX1658" fmla="*/ 222823 w 2240198"/>
                <a:gd name="connsiteY1658" fmla="*/ 1336275 h 1729012"/>
                <a:gd name="connsiteX1659" fmla="*/ 213938 w 2240198"/>
                <a:gd name="connsiteY1659" fmla="*/ 1340682 h 1729012"/>
                <a:gd name="connsiteX1660" fmla="*/ 213704 w 2240198"/>
                <a:gd name="connsiteY1660" fmla="*/ 1341106 h 1729012"/>
                <a:gd name="connsiteX1661" fmla="*/ 213882 w 2240198"/>
                <a:gd name="connsiteY1661" fmla="*/ 1341502 h 1729012"/>
                <a:gd name="connsiteX1662" fmla="*/ 214705 w 2240198"/>
                <a:gd name="connsiteY1662" fmla="*/ 1341926 h 1729012"/>
                <a:gd name="connsiteX1663" fmla="*/ 216486 w 2240198"/>
                <a:gd name="connsiteY1663" fmla="*/ 1341870 h 1729012"/>
                <a:gd name="connsiteX1664" fmla="*/ 223521 w 2240198"/>
                <a:gd name="connsiteY1664" fmla="*/ 1340779 h 1729012"/>
                <a:gd name="connsiteX1665" fmla="*/ 223909 w 2240198"/>
                <a:gd name="connsiteY1665" fmla="*/ 1340017 h 1729012"/>
                <a:gd name="connsiteX1666" fmla="*/ 224402 w 2240198"/>
                <a:gd name="connsiteY1666" fmla="*/ 1336544 h 1729012"/>
                <a:gd name="connsiteX1667" fmla="*/ 225371 w 2240198"/>
                <a:gd name="connsiteY1667" fmla="*/ 1334698 h 1729012"/>
                <a:gd name="connsiteX1668" fmla="*/ 225458 w 2240198"/>
                <a:gd name="connsiteY1668" fmla="*/ 1333305 h 1729012"/>
                <a:gd name="connsiteX1669" fmla="*/ 224816 w 2240198"/>
                <a:gd name="connsiteY1669" fmla="*/ 1329983 h 1729012"/>
                <a:gd name="connsiteX1670" fmla="*/ 224853 w 2240198"/>
                <a:gd name="connsiteY1670" fmla="*/ 1328646 h 1729012"/>
                <a:gd name="connsiteX1671" fmla="*/ 229762 w 2240198"/>
                <a:gd name="connsiteY1671" fmla="*/ 1328377 h 1729012"/>
                <a:gd name="connsiteX1672" fmla="*/ 232836 w 2240198"/>
                <a:gd name="connsiteY1672" fmla="*/ 1327147 h 1729012"/>
                <a:gd name="connsiteX1673" fmla="*/ 235972 w 2240198"/>
                <a:gd name="connsiteY1673" fmla="*/ 1324853 h 1729012"/>
                <a:gd name="connsiteX1674" fmla="*/ 236690 w 2240198"/>
                <a:gd name="connsiteY1674" fmla="*/ 1324916 h 1729012"/>
                <a:gd name="connsiteX1675" fmla="*/ 236239 w 2240198"/>
                <a:gd name="connsiteY1675" fmla="*/ 1329045 h 1729012"/>
                <a:gd name="connsiteX1676" fmla="*/ 235804 w 2240198"/>
                <a:gd name="connsiteY1676" fmla="*/ 1330312 h 1729012"/>
                <a:gd name="connsiteX1677" fmla="*/ 232797 w 2240198"/>
                <a:gd name="connsiteY1677" fmla="*/ 1335346 h 1729012"/>
                <a:gd name="connsiteX1678" fmla="*/ 231072 w 2240198"/>
                <a:gd name="connsiteY1678" fmla="*/ 1339769 h 1729012"/>
                <a:gd name="connsiteX1679" fmla="*/ 230231 w 2240198"/>
                <a:gd name="connsiteY1679" fmla="*/ 1344135 h 1729012"/>
                <a:gd name="connsiteX1680" fmla="*/ 230086 w 2240198"/>
                <a:gd name="connsiteY1680" fmla="*/ 1351345 h 1729012"/>
                <a:gd name="connsiteX1681" fmla="*/ 229342 w 2240198"/>
                <a:gd name="connsiteY1681" fmla="*/ 1353777 h 1729012"/>
                <a:gd name="connsiteX1682" fmla="*/ 227975 w 2240198"/>
                <a:gd name="connsiteY1682" fmla="*/ 1355276 h 1729012"/>
                <a:gd name="connsiteX1683" fmla="*/ 219457 w 2240198"/>
                <a:gd name="connsiteY1683" fmla="*/ 1357893 h 1729012"/>
                <a:gd name="connsiteX1684" fmla="*/ 215065 w 2240198"/>
                <a:gd name="connsiteY1684" fmla="*/ 1357727 h 1729012"/>
                <a:gd name="connsiteX1685" fmla="*/ 211151 w 2240198"/>
                <a:gd name="connsiteY1685" fmla="*/ 1355345 h 1729012"/>
                <a:gd name="connsiteX1686" fmla="*/ 209308 w 2240198"/>
                <a:gd name="connsiteY1686" fmla="*/ 1353714 h 1729012"/>
                <a:gd name="connsiteX1687" fmla="*/ 210701 w 2240198"/>
                <a:gd name="connsiteY1687" fmla="*/ 1351736 h 1729012"/>
                <a:gd name="connsiteX1688" fmla="*/ 211659 w 2240198"/>
                <a:gd name="connsiteY1688" fmla="*/ 1351643 h 1729012"/>
                <a:gd name="connsiteX1689" fmla="*/ 214412 w 2240198"/>
                <a:gd name="connsiteY1689" fmla="*/ 1352032 h 1729012"/>
                <a:gd name="connsiteX1690" fmla="*/ 216538 w 2240198"/>
                <a:gd name="connsiteY1690" fmla="*/ 1352771 h 1729012"/>
                <a:gd name="connsiteX1691" fmla="*/ 217486 w 2240198"/>
                <a:gd name="connsiteY1691" fmla="*/ 1352803 h 1729012"/>
                <a:gd name="connsiteX1692" fmla="*/ 217324 w 2240198"/>
                <a:gd name="connsiteY1692" fmla="*/ 1352337 h 1729012"/>
                <a:gd name="connsiteX1693" fmla="*/ 211270 w 2240198"/>
                <a:gd name="connsiteY1693" fmla="*/ 1348604 h 1729012"/>
                <a:gd name="connsiteX1694" fmla="*/ 206835 w 2240198"/>
                <a:gd name="connsiteY1694" fmla="*/ 1346907 h 1729012"/>
                <a:gd name="connsiteX1695" fmla="*/ 205492 w 2240198"/>
                <a:gd name="connsiteY1695" fmla="*/ 1345006 h 1729012"/>
                <a:gd name="connsiteX1696" fmla="*/ 205452 w 2240198"/>
                <a:gd name="connsiteY1696" fmla="*/ 1343530 h 1729012"/>
                <a:gd name="connsiteX1697" fmla="*/ 205103 w 2240198"/>
                <a:gd name="connsiteY1697" fmla="*/ 1342706 h 1729012"/>
                <a:gd name="connsiteX1698" fmla="*/ 201581 w 2240198"/>
                <a:gd name="connsiteY1698" fmla="*/ 1337545 h 1729012"/>
                <a:gd name="connsiteX1699" fmla="*/ 200890 w 2240198"/>
                <a:gd name="connsiteY1699" fmla="*/ 1335502 h 1729012"/>
                <a:gd name="connsiteX1700" fmla="*/ 200430 w 2240198"/>
                <a:gd name="connsiteY1700" fmla="*/ 1332610 h 1729012"/>
                <a:gd name="connsiteX1701" fmla="*/ 200423 w 2240198"/>
                <a:gd name="connsiteY1701" fmla="*/ 1329643 h 1729012"/>
                <a:gd name="connsiteX1702" fmla="*/ 201286 w 2240198"/>
                <a:gd name="connsiteY1702" fmla="*/ 1324824 h 1729012"/>
                <a:gd name="connsiteX1703" fmla="*/ 255981 w 2240198"/>
                <a:gd name="connsiteY1703" fmla="*/ 1307771 h 1729012"/>
                <a:gd name="connsiteX1704" fmla="*/ 259271 w 2240198"/>
                <a:gd name="connsiteY1704" fmla="*/ 1308223 h 1729012"/>
                <a:gd name="connsiteX1705" fmla="*/ 259754 w 2240198"/>
                <a:gd name="connsiteY1705" fmla="*/ 1308403 h 1729012"/>
                <a:gd name="connsiteX1706" fmla="*/ 259871 w 2240198"/>
                <a:gd name="connsiteY1706" fmla="*/ 1308896 h 1729012"/>
                <a:gd name="connsiteX1707" fmla="*/ 259618 w 2240198"/>
                <a:gd name="connsiteY1707" fmla="*/ 1309702 h 1729012"/>
                <a:gd name="connsiteX1708" fmla="*/ 258559 w 2240198"/>
                <a:gd name="connsiteY1708" fmla="*/ 1310856 h 1729012"/>
                <a:gd name="connsiteX1709" fmla="*/ 255465 w 2240198"/>
                <a:gd name="connsiteY1709" fmla="*/ 1313123 h 1729012"/>
                <a:gd name="connsiteX1710" fmla="*/ 254879 w 2240198"/>
                <a:gd name="connsiteY1710" fmla="*/ 1313168 h 1729012"/>
                <a:gd name="connsiteX1711" fmla="*/ 254658 w 2240198"/>
                <a:gd name="connsiteY1711" fmla="*/ 1312436 h 1729012"/>
                <a:gd name="connsiteX1712" fmla="*/ 254799 w 2240198"/>
                <a:gd name="connsiteY1712" fmla="*/ 1310924 h 1729012"/>
                <a:gd name="connsiteX1713" fmla="*/ 255602 w 2240198"/>
                <a:gd name="connsiteY1713" fmla="*/ 1308364 h 1729012"/>
                <a:gd name="connsiteX1714" fmla="*/ 273547 w 2240198"/>
                <a:gd name="connsiteY1714" fmla="*/ 1293912 h 1729012"/>
                <a:gd name="connsiteX1715" fmla="*/ 273805 w 2240198"/>
                <a:gd name="connsiteY1715" fmla="*/ 1296691 h 1729012"/>
                <a:gd name="connsiteX1716" fmla="*/ 270116 w 2240198"/>
                <a:gd name="connsiteY1716" fmla="*/ 1301352 h 1729012"/>
                <a:gd name="connsiteX1717" fmla="*/ 265397 w 2240198"/>
                <a:gd name="connsiteY1717" fmla="*/ 1303666 h 1729012"/>
                <a:gd name="connsiteX1718" fmla="*/ 264386 w 2240198"/>
                <a:gd name="connsiteY1718" fmla="*/ 1302930 h 1729012"/>
                <a:gd name="connsiteX1719" fmla="*/ 266468 w 2240198"/>
                <a:gd name="connsiteY1719" fmla="*/ 1300663 h 1729012"/>
                <a:gd name="connsiteX1720" fmla="*/ 271049 w 2240198"/>
                <a:gd name="connsiteY1720" fmla="*/ 1296728 h 1729012"/>
                <a:gd name="connsiteX1721" fmla="*/ 2026360 w 2240198"/>
                <a:gd name="connsiteY1721" fmla="*/ 1254296 h 1729012"/>
                <a:gd name="connsiteX1722" fmla="*/ 2027334 w 2240198"/>
                <a:gd name="connsiteY1722" fmla="*/ 1254710 h 1729012"/>
                <a:gd name="connsiteX1723" fmla="*/ 2029416 w 2240198"/>
                <a:gd name="connsiteY1723" fmla="*/ 1255799 h 1729012"/>
                <a:gd name="connsiteX1724" fmla="*/ 2029696 w 2240198"/>
                <a:gd name="connsiteY1724" fmla="*/ 1256457 h 1729012"/>
                <a:gd name="connsiteX1725" fmla="*/ 2028704 w 2240198"/>
                <a:gd name="connsiteY1725" fmla="*/ 1257927 h 1729012"/>
                <a:gd name="connsiteX1726" fmla="*/ 2029004 w 2240198"/>
                <a:gd name="connsiteY1726" fmla="*/ 1258792 h 1729012"/>
                <a:gd name="connsiteX1727" fmla="*/ 2025091 w 2240198"/>
                <a:gd name="connsiteY1727" fmla="*/ 1258168 h 1729012"/>
                <a:gd name="connsiteX1728" fmla="*/ 2023714 w 2240198"/>
                <a:gd name="connsiteY1728" fmla="*/ 1257622 h 1729012"/>
                <a:gd name="connsiteX1729" fmla="*/ 2023599 w 2240198"/>
                <a:gd name="connsiteY1729" fmla="*/ 1257048 h 1729012"/>
                <a:gd name="connsiteX1730" fmla="*/ 2023793 w 2240198"/>
                <a:gd name="connsiteY1730" fmla="*/ 1256151 h 1729012"/>
                <a:gd name="connsiteX1731" fmla="*/ 2024569 w 2240198"/>
                <a:gd name="connsiteY1731" fmla="*/ 1255100 h 1729012"/>
                <a:gd name="connsiteX1732" fmla="*/ 1579136 w 2240198"/>
                <a:gd name="connsiteY1732" fmla="*/ 1243590 h 1729012"/>
                <a:gd name="connsiteX1733" fmla="*/ 1580550 w 2240198"/>
                <a:gd name="connsiteY1733" fmla="*/ 1243611 h 1729012"/>
                <a:gd name="connsiteX1734" fmla="*/ 1580843 w 2240198"/>
                <a:gd name="connsiteY1734" fmla="*/ 1247966 h 1729012"/>
                <a:gd name="connsiteX1735" fmla="*/ 1580446 w 2240198"/>
                <a:gd name="connsiteY1735" fmla="*/ 1250007 h 1729012"/>
                <a:gd name="connsiteX1736" fmla="*/ 1579499 w 2240198"/>
                <a:gd name="connsiteY1736" fmla="*/ 1251714 h 1729012"/>
                <a:gd name="connsiteX1737" fmla="*/ 1578201 w 2240198"/>
                <a:gd name="connsiteY1737" fmla="*/ 1253090 h 1729012"/>
                <a:gd name="connsiteX1738" fmla="*/ 1576548 w 2240198"/>
                <a:gd name="connsiteY1738" fmla="*/ 1254135 h 1729012"/>
                <a:gd name="connsiteX1739" fmla="*/ 1575261 w 2240198"/>
                <a:gd name="connsiteY1739" fmla="*/ 1254632 h 1729012"/>
                <a:gd name="connsiteX1740" fmla="*/ 1574335 w 2240198"/>
                <a:gd name="connsiteY1740" fmla="*/ 1254583 h 1729012"/>
                <a:gd name="connsiteX1741" fmla="*/ 1574507 w 2240198"/>
                <a:gd name="connsiteY1741" fmla="*/ 1253381 h 1729012"/>
                <a:gd name="connsiteX1742" fmla="*/ 1575779 w 2240198"/>
                <a:gd name="connsiteY1742" fmla="*/ 1251027 h 1729012"/>
                <a:gd name="connsiteX1743" fmla="*/ 1576500 w 2240198"/>
                <a:gd name="connsiteY1743" fmla="*/ 1248955 h 1729012"/>
                <a:gd name="connsiteX1744" fmla="*/ 1576675 w 2240198"/>
                <a:gd name="connsiteY1744" fmla="*/ 1247167 h 1729012"/>
                <a:gd name="connsiteX1745" fmla="*/ 1577237 w 2240198"/>
                <a:gd name="connsiteY1745" fmla="*/ 1245599 h 1729012"/>
                <a:gd name="connsiteX1746" fmla="*/ 1578188 w 2240198"/>
                <a:gd name="connsiteY1746" fmla="*/ 1244255 h 1729012"/>
                <a:gd name="connsiteX1747" fmla="*/ 1557450 w 2240198"/>
                <a:gd name="connsiteY1747" fmla="*/ 1242613 h 1729012"/>
                <a:gd name="connsiteX1748" fmla="*/ 1556111 w 2240198"/>
                <a:gd name="connsiteY1748" fmla="*/ 1245483 h 1729012"/>
                <a:gd name="connsiteX1749" fmla="*/ 1554706 w 2240198"/>
                <a:gd name="connsiteY1749" fmla="*/ 1247628 h 1729012"/>
                <a:gd name="connsiteX1750" fmla="*/ 1547362 w 2240198"/>
                <a:gd name="connsiteY1750" fmla="*/ 1251924 h 1729012"/>
                <a:gd name="connsiteX1751" fmla="*/ 1546069 w 2240198"/>
                <a:gd name="connsiteY1751" fmla="*/ 1252197 h 1729012"/>
                <a:gd name="connsiteX1752" fmla="*/ 1544540 w 2240198"/>
                <a:gd name="connsiteY1752" fmla="*/ 1251679 h 1729012"/>
                <a:gd name="connsiteX1753" fmla="*/ 1545336 w 2240198"/>
                <a:gd name="connsiteY1753" fmla="*/ 1249044 h 1729012"/>
                <a:gd name="connsiteX1754" fmla="*/ 1546665 w 2240198"/>
                <a:gd name="connsiteY1754" fmla="*/ 1247946 h 1729012"/>
                <a:gd name="connsiteX1755" fmla="*/ 1549977 w 2240198"/>
                <a:gd name="connsiteY1755" fmla="*/ 1246851 h 1729012"/>
                <a:gd name="connsiteX1756" fmla="*/ 1550542 w 2240198"/>
                <a:gd name="connsiteY1756" fmla="*/ 1246178 h 1729012"/>
                <a:gd name="connsiteX1757" fmla="*/ 1551601 w 2240198"/>
                <a:gd name="connsiteY1757" fmla="*/ 1245843 h 1729012"/>
                <a:gd name="connsiteX1758" fmla="*/ 1553154 w 2240198"/>
                <a:gd name="connsiteY1758" fmla="*/ 1245843 h 1729012"/>
                <a:gd name="connsiteX1759" fmla="*/ 1554883 w 2240198"/>
                <a:gd name="connsiteY1759" fmla="*/ 1244857 h 1729012"/>
                <a:gd name="connsiteX1760" fmla="*/ 1556788 w 2240198"/>
                <a:gd name="connsiteY1760" fmla="*/ 1242884 h 1729012"/>
                <a:gd name="connsiteX1761" fmla="*/ 1565243 w 2240198"/>
                <a:gd name="connsiteY1761" fmla="*/ 1237787 h 1729012"/>
                <a:gd name="connsiteX1762" fmla="*/ 1565529 w 2240198"/>
                <a:gd name="connsiteY1762" fmla="*/ 1237959 h 1729012"/>
                <a:gd name="connsiteX1763" fmla="*/ 1565919 w 2240198"/>
                <a:gd name="connsiteY1763" fmla="*/ 1238946 h 1729012"/>
                <a:gd name="connsiteX1764" fmla="*/ 1566814 w 2240198"/>
                <a:gd name="connsiteY1764" fmla="*/ 1239643 h 1729012"/>
                <a:gd name="connsiteX1765" fmla="*/ 1568216 w 2240198"/>
                <a:gd name="connsiteY1765" fmla="*/ 1240051 h 1729012"/>
                <a:gd name="connsiteX1766" fmla="*/ 1569018 w 2240198"/>
                <a:gd name="connsiteY1766" fmla="*/ 1240685 h 1729012"/>
                <a:gd name="connsiteX1767" fmla="*/ 1569609 w 2240198"/>
                <a:gd name="connsiteY1767" fmla="*/ 1242342 h 1729012"/>
                <a:gd name="connsiteX1768" fmla="*/ 1570179 w 2240198"/>
                <a:gd name="connsiteY1768" fmla="*/ 1243072 h 1729012"/>
                <a:gd name="connsiteX1769" fmla="*/ 1572277 w 2240198"/>
                <a:gd name="connsiteY1769" fmla="*/ 1243690 h 1729012"/>
                <a:gd name="connsiteX1770" fmla="*/ 1573084 w 2240198"/>
                <a:gd name="connsiteY1770" fmla="*/ 1244219 h 1729012"/>
                <a:gd name="connsiteX1771" fmla="*/ 1573664 w 2240198"/>
                <a:gd name="connsiteY1771" fmla="*/ 1246026 h 1729012"/>
                <a:gd name="connsiteX1772" fmla="*/ 1573610 w 2240198"/>
                <a:gd name="connsiteY1772" fmla="*/ 1246978 h 1729012"/>
                <a:gd name="connsiteX1773" fmla="*/ 1573895 w 2240198"/>
                <a:gd name="connsiteY1773" fmla="*/ 1247588 h 1729012"/>
                <a:gd name="connsiteX1774" fmla="*/ 1574518 w 2240198"/>
                <a:gd name="connsiteY1774" fmla="*/ 1247858 h 1729012"/>
                <a:gd name="connsiteX1775" fmla="*/ 1573783 w 2240198"/>
                <a:gd name="connsiteY1775" fmla="*/ 1249808 h 1729012"/>
                <a:gd name="connsiteX1776" fmla="*/ 1571695 w 2240198"/>
                <a:gd name="connsiteY1776" fmla="*/ 1253431 h 1729012"/>
                <a:gd name="connsiteX1777" fmla="*/ 1570023 w 2240198"/>
                <a:gd name="connsiteY1777" fmla="*/ 1256906 h 1729012"/>
                <a:gd name="connsiteX1778" fmla="*/ 1567701 w 2240198"/>
                <a:gd name="connsiteY1778" fmla="*/ 1263438 h 1729012"/>
                <a:gd name="connsiteX1779" fmla="*/ 1566373 w 2240198"/>
                <a:gd name="connsiteY1779" fmla="*/ 1263671 h 1729012"/>
                <a:gd name="connsiteX1780" fmla="*/ 1565213 w 2240198"/>
                <a:gd name="connsiteY1780" fmla="*/ 1262102 h 1729012"/>
                <a:gd name="connsiteX1781" fmla="*/ 1568543 w 2240198"/>
                <a:gd name="connsiteY1781" fmla="*/ 1254453 h 1729012"/>
                <a:gd name="connsiteX1782" fmla="*/ 1568700 w 2240198"/>
                <a:gd name="connsiteY1782" fmla="*/ 1253600 h 1729012"/>
                <a:gd name="connsiteX1783" fmla="*/ 1568543 w 2240198"/>
                <a:gd name="connsiteY1783" fmla="*/ 1252868 h 1729012"/>
                <a:gd name="connsiteX1784" fmla="*/ 1567532 w 2240198"/>
                <a:gd name="connsiteY1784" fmla="*/ 1251740 h 1729012"/>
                <a:gd name="connsiteX1785" fmla="*/ 1566525 w 2240198"/>
                <a:gd name="connsiteY1785" fmla="*/ 1253037 h 1729012"/>
                <a:gd name="connsiteX1786" fmla="*/ 1561819 w 2240198"/>
                <a:gd name="connsiteY1786" fmla="*/ 1261659 h 1729012"/>
                <a:gd name="connsiteX1787" fmla="*/ 1560605 w 2240198"/>
                <a:gd name="connsiteY1787" fmla="*/ 1263040 h 1729012"/>
                <a:gd name="connsiteX1788" fmla="*/ 1559596 w 2240198"/>
                <a:gd name="connsiteY1788" fmla="*/ 1263805 h 1729012"/>
                <a:gd name="connsiteX1789" fmla="*/ 1558794 w 2240198"/>
                <a:gd name="connsiteY1789" fmla="*/ 1263952 h 1729012"/>
                <a:gd name="connsiteX1790" fmla="*/ 1556792 w 2240198"/>
                <a:gd name="connsiteY1790" fmla="*/ 1263772 h 1729012"/>
                <a:gd name="connsiteX1791" fmla="*/ 1552759 w 2240198"/>
                <a:gd name="connsiteY1791" fmla="*/ 1266229 h 1729012"/>
                <a:gd name="connsiteX1792" fmla="*/ 1559536 w 2240198"/>
                <a:gd name="connsiteY1792" fmla="*/ 1256001 h 1729012"/>
                <a:gd name="connsiteX1793" fmla="*/ 1559607 w 2240198"/>
                <a:gd name="connsiteY1793" fmla="*/ 1255221 h 1729012"/>
                <a:gd name="connsiteX1794" fmla="*/ 1558338 w 2240198"/>
                <a:gd name="connsiteY1794" fmla="*/ 1254742 h 1729012"/>
                <a:gd name="connsiteX1795" fmla="*/ 1557836 w 2240198"/>
                <a:gd name="connsiteY1795" fmla="*/ 1255007 h 1729012"/>
                <a:gd name="connsiteX1796" fmla="*/ 1552344 w 2240198"/>
                <a:gd name="connsiteY1796" fmla="*/ 1261456 h 1729012"/>
                <a:gd name="connsiteX1797" fmla="*/ 1549214 w 2240198"/>
                <a:gd name="connsiteY1797" fmla="*/ 1263938 h 1729012"/>
                <a:gd name="connsiteX1798" fmla="*/ 1547110 w 2240198"/>
                <a:gd name="connsiteY1798" fmla="*/ 1263184 h 1729012"/>
                <a:gd name="connsiteX1799" fmla="*/ 1546585 w 2240198"/>
                <a:gd name="connsiteY1799" fmla="*/ 1262510 h 1729012"/>
                <a:gd name="connsiteX1800" fmla="*/ 1546774 w 2240198"/>
                <a:gd name="connsiteY1800" fmla="*/ 1261759 h 1729012"/>
                <a:gd name="connsiteX1801" fmla="*/ 1552118 w 2240198"/>
                <a:gd name="connsiteY1801" fmla="*/ 1255250 h 1729012"/>
                <a:gd name="connsiteX1802" fmla="*/ 1557030 w 2240198"/>
                <a:gd name="connsiteY1802" fmla="*/ 1250582 h 1729012"/>
                <a:gd name="connsiteX1803" fmla="*/ 1559084 w 2240198"/>
                <a:gd name="connsiteY1803" fmla="*/ 1247639 h 1729012"/>
                <a:gd name="connsiteX1804" fmla="*/ 1559919 w 2240198"/>
                <a:gd name="connsiteY1804" fmla="*/ 1244862 h 1729012"/>
                <a:gd name="connsiteX1805" fmla="*/ 1560286 w 2240198"/>
                <a:gd name="connsiteY1805" fmla="*/ 1242830 h 1729012"/>
                <a:gd name="connsiteX1806" fmla="*/ 1560260 w 2240198"/>
                <a:gd name="connsiteY1806" fmla="*/ 1240590 h 1729012"/>
                <a:gd name="connsiteX1807" fmla="*/ 1560514 w 2240198"/>
                <a:gd name="connsiteY1807" fmla="*/ 1239973 h 1729012"/>
                <a:gd name="connsiteX1808" fmla="*/ 1560800 w 2240198"/>
                <a:gd name="connsiteY1808" fmla="*/ 1240087 h 1729012"/>
                <a:gd name="connsiteX1809" fmla="*/ 1561113 w 2240198"/>
                <a:gd name="connsiteY1809" fmla="*/ 1240935 h 1729012"/>
                <a:gd name="connsiteX1810" fmla="*/ 1561196 w 2240198"/>
                <a:gd name="connsiteY1810" fmla="*/ 1243294 h 1729012"/>
                <a:gd name="connsiteX1811" fmla="*/ 1560074 w 2240198"/>
                <a:gd name="connsiteY1811" fmla="*/ 1248129 h 1729012"/>
                <a:gd name="connsiteX1812" fmla="*/ 1559173 w 2240198"/>
                <a:gd name="connsiteY1812" fmla="*/ 1250506 h 1729012"/>
                <a:gd name="connsiteX1813" fmla="*/ 1558098 w 2240198"/>
                <a:gd name="connsiteY1813" fmla="*/ 1252463 h 1729012"/>
                <a:gd name="connsiteX1814" fmla="*/ 1558551 w 2240198"/>
                <a:gd name="connsiteY1814" fmla="*/ 1252890 h 1729012"/>
                <a:gd name="connsiteX1815" fmla="*/ 1560529 w 2240198"/>
                <a:gd name="connsiteY1815" fmla="*/ 1251779 h 1729012"/>
                <a:gd name="connsiteX1816" fmla="*/ 1562195 w 2240198"/>
                <a:gd name="connsiteY1816" fmla="*/ 1249435 h 1729012"/>
                <a:gd name="connsiteX1817" fmla="*/ 1563545 w 2240198"/>
                <a:gd name="connsiteY1817" fmla="*/ 1245851 h 1729012"/>
                <a:gd name="connsiteX1818" fmla="*/ 1564409 w 2240198"/>
                <a:gd name="connsiteY1818" fmla="*/ 1242732 h 1729012"/>
                <a:gd name="connsiteX1819" fmla="*/ 1558132 w 2240198"/>
                <a:gd name="connsiteY1819" fmla="*/ 1230631 h 1729012"/>
                <a:gd name="connsiteX1820" fmla="*/ 1559188 w 2240198"/>
                <a:gd name="connsiteY1820" fmla="*/ 1231617 h 1729012"/>
                <a:gd name="connsiteX1821" fmla="*/ 1559699 w 2240198"/>
                <a:gd name="connsiteY1821" fmla="*/ 1232655 h 1729012"/>
                <a:gd name="connsiteX1822" fmla="*/ 1559924 w 2240198"/>
                <a:gd name="connsiteY1822" fmla="*/ 1233675 h 1729012"/>
                <a:gd name="connsiteX1823" fmla="*/ 1559863 w 2240198"/>
                <a:gd name="connsiteY1823" fmla="*/ 1234682 h 1729012"/>
                <a:gd name="connsiteX1824" fmla="*/ 1559561 w 2240198"/>
                <a:gd name="connsiteY1824" fmla="*/ 1235376 h 1729012"/>
                <a:gd name="connsiteX1825" fmla="*/ 1559011 w 2240198"/>
                <a:gd name="connsiteY1825" fmla="*/ 1235758 h 1729012"/>
                <a:gd name="connsiteX1826" fmla="*/ 1558117 w 2240198"/>
                <a:gd name="connsiteY1826" fmla="*/ 1236221 h 1729012"/>
                <a:gd name="connsiteX1827" fmla="*/ 1557510 w 2240198"/>
                <a:gd name="connsiteY1827" fmla="*/ 1236182 h 1729012"/>
                <a:gd name="connsiteX1828" fmla="*/ 1558186 w 2240198"/>
                <a:gd name="connsiteY1828" fmla="*/ 1232986 h 1729012"/>
                <a:gd name="connsiteX1829" fmla="*/ 1557400 w 2240198"/>
                <a:gd name="connsiteY1829" fmla="*/ 1231855 h 1729012"/>
                <a:gd name="connsiteX1830" fmla="*/ 1557354 w 2240198"/>
                <a:gd name="connsiteY1830" fmla="*/ 1231273 h 1729012"/>
                <a:gd name="connsiteX1831" fmla="*/ 1557695 w 2240198"/>
                <a:gd name="connsiteY1831" fmla="*/ 1230740 h 1729012"/>
                <a:gd name="connsiteX1832" fmla="*/ 1549376 w 2240198"/>
                <a:gd name="connsiteY1832" fmla="*/ 1228224 h 1729012"/>
                <a:gd name="connsiteX1833" fmla="*/ 1550330 w 2240198"/>
                <a:gd name="connsiteY1833" fmla="*/ 1228288 h 1729012"/>
                <a:gd name="connsiteX1834" fmla="*/ 1551189 w 2240198"/>
                <a:gd name="connsiteY1834" fmla="*/ 1229026 h 1729012"/>
                <a:gd name="connsiteX1835" fmla="*/ 1550977 w 2240198"/>
                <a:gd name="connsiteY1835" fmla="*/ 1230006 h 1729012"/>
                <a:gd name="connsiteX1836" fmla="*/ 1550166 w 2240198"/>
                <a:gd name="connsiteY1836" fmla="*/ 1231503 h 1729012"/>
                <a:gd name="connsiteX1837" fmla="*/ 1549469 w 2240198"/>
                <a:gd name="connsiteY1837" fmla="*/ 1232133 h 1729012"/>
                <a:gd name="connsiteX1838" fmla="*/ 1548223 w 2240198"/>
                <a:gd name="connsiteY1838" fmla="*/ 1231424 h 1729012"/>
                <a:gd name="connsiteX1839" fmla="*/ 1548171 w 2240198"/>
                <a:gd name="connsiteY1839" fmla="*/ 1229613 h 1729012"/>
                <a:gd name="connsiteX1840" fmla="*/ 2007055 w 2240198"/>
                <a:gd name="connsiteY1840" fmla="*/ 1202264 h 1729012"/>
                <a:gd name="connsiteX1841" fmla="*/ 2009711 w 2240198"/>
                <a:gd name="connsiteY1841" fmla="*/ 1203169 h 1729012"/>
                <a:gd name="connsiteX1842" fmla="*/ 2011843 w 2240198"/>
                <a:gd name="connsiteY1842" fmla="*/ 1204252 h 1729012"/>
                <a:gd name="connsiteX1843" fmla="*/ 2012401 w 2240198"/>
                <a:gd name="connsiteY1843" fmla="*/ 1208224 h 1729012"/>
                <a:gd name="connsiteX1844" fmla="*/ 2008400 w 2240198"/>
                <a:gd name="connsiteY1844" fmla="*/ 1207991 h 1729012"/>
                <a:gd name="connsiteX1845" fmla="*/ 2003830 w 2240198"/>
                <a:gd name="connsiteY1845" fmla="*/ 1205329 h 1729012"/>
                <a:gd name="connsiteX1846" fmla="*/ 2002924 w 2240198"/>
                <a:gd name="connsiteY1846" fmla="*/ 1203391 h 1729012"/>
                <a:gd name="connsiteX1847" fmla="*/ 2003025 w 2240198"/>
                <a:gd name="connsiteY1847" fmla="*/ 1203058 h 1729012"/>
                <a:gd name="connsiteX1848" fmla="*/ 2003633 w 2240198"/>
                <a:gd name="connsiteY1848" fmla="*/ 1202724 h 1729012"/>
                <a:gd name="connsiteX1849" fmla="*/ 2004793 w 2240198"/>
                <a:gd name="connsiteY1849" fmla="*/ 1203186 h 1729012"/>
                <a:gd name="connsiteX1850" fmla="*/ 2005921 w 2240198"/>
                <a:gd name="connsiteY1850" fmla="*/ 1202491 h 1729012"/>
                <a:gd name="connsiteX1851" fmla="*/ 1553321 w 2240198"/>
                <a:gd name="connsiteY1851" fmla="*/ 1201218 h 1729012"/>
                <a:gd name="connsiteX1852" fmla="*/ 1553723 w 2240198"/>
                <a:gd name="connsiteY1852" fmla="*/ 1201341 h 1729012"/>
                <a:gd name="connsiteX1853" fmla="*/ 1554059 w 2240198"/>
                <a:gd name="connsiteY1853" fmla="*/ 1203153 h 1729012"/>
                <a:gd name="connsiteX1854" fmla="*/ 1553982 w 2240198"/>
                <a:gd name="connsiteY1854" fmla="*/ 1204595 h 1729012"/>
                <a:gd name="connsiteX1855" fmla="*/ 1553583 w 2240198"/>
                <a:gd name="connsiteY1855" fmla="*/ 1204888 h 1729012"/>
                <a:gd name="connsiteX1856" fmla="*/ 1552494 w 2240198"/>
                <a:gd name="connsiteY1856" fmla="*/ 1204634 h 1729012"/>
                <a:gd name="connsiteX1857" fmla="*/ 1552067 w 2240198"/>
                <a:gd name="connsiteY1857" fmla="*/ 1207038 h 1729012"/>
                <a:gd name="connsiteX1858" fmla="*/ 1551651 w 2240198"/>
                <a:gd name="connsiteY1858" fmla="*/ 1207263 h 1729012"/>
                <a:gd name="connsiteX1859" fmla="*/ 1550895 w 2240198"/>
                <a:gd name="connsiteY1859" fmla="*/ 1205782 h 1729012"/>
                <a:gd name="connsiteX1860" fmla="*/ 1551462 w 2240198"/>
                <a:gd name="connsiteY1860" fmla="*/ 1204515 h 1729012"/>
                <a:gd name="connsiteX1861" fmla="*/ 1551379 w 2240198"/>
                <a:gd name="connsiteY1861" fmla="*/ 1203642 h 1729012"/>
                <a:gd name="connsiteX1862" fmla="*/ 1551590 w 2240198"/>
                <a:gd name="connsiteY1862" fmla="*/ 1202997 h 1729012"/>
                <a:gd name="connsiteX1863" fmla="*/ 1552680 w 2240198"/>
                <a:gd name="connsiteY1863" fmla="*/ 1201555 h 1729012"/>
                <a:gd name="connsiteX1864" fmla="*/ 1820765 w 2240198"/>
                <a:gd name="connsiteY1864" fmla="*/ 1144342 h 1729012"/>
                <a:gd name="connsiteX1865" fmla="*/ 1820800 w 2240198"/>
                <a:gd name="connsiteY1865" fmla="*/ 1146337 h 1729012"/>
                <a:gd name="connsiteX1866" fmla="*/ 1821134 w 2240198"/>
                <a:gd name="connsiteY1866" fmla="*/ 1147087 h 1729012"/>
                <a:gd name="connsiteX1867" fmla="*/ 1821779 w 2240198"/>
                <a:gd name="connsiteY1867" fmla="*/ 1147429 h 1729012"/>
                <a:gd name="connsiteX1868" fmla="*/ 1821655 w 2240198"/>
                <a:gd name="connsiteY1868" fmla="*/ 1148300 h 1729012"/>
                <a:gd name="connsiteX1869" fmla="*/ 1820114 w 2240198"/>
                <a:gd name="connsiteY1869" fmla="*/ 1151012 h 1729012"/>
                <a:gd name="connsiteX1870" fmla="*/ 1818064 w 2240198"/>
                <a:gd name="connsiteY1870" fmla="*/ 1150675 h 1729012"/>
                <a:gd name="connsiteX1871" fmla="*/ 1817326 w 2240198"/>
                <a:gd name="connsiteY1871" fmla="*/ 1151234 h 1729012"/>
                <a:gd name="connsiteX1872" fmla="*/ 1816768 w 2240198"/>
                <a:gd name="connsiteY1872" fmla="*/ 1151267 h 1729012"/>
                <a:gd name="connsiteX1873" fmla="*/ 1817694 w 2240198"/>
                <a:gd name="connsiteY1873" fmla="*/ 1148721 h 1729012"/>
                <a:gd name="connsiteX1874" fmla="*/ 1817815 w 2240198"/>
                <a:gd name="connsiteY1874" fmla="*/ 1147009 h 1729012"/>
                <a:gd name="connsiteX1875" fmla="*/ 1817347 w 2240198"/>
                <a:gd name="connsiteY1875" fmla="*/ 1145273 h 1729012"/>
                <a:gd name="connsiteX1876" fmla="*/ 1818025 w 2240198"/>
                <a:gd name="connsiteY1876" fmla="*/ 1144389 h 1729012"/>
                <a:gd name="connsiteX1877" fmla="*/ 1541469 w 2240198"/>
                <a:gd name="connsiteY1877" fmla="*/ 1122610 h 1729012"/>
                <a:gd name="connsiteX1878" fmla="*/ 1542553 w 2240198"/>
                <a:gd name="connsiteY1878" fmla="*/ 1123204 h 1729012"/>
                <a:gd name="connsiteX1879" fmla="*/ 1542152 w 2240198"/>
                <a:gd name="connsiteY1879" fmla="*/ 1124162 h 1729012"/>
                <a:gd name="connsiteX1880" fmla="*/ 1540695 w 2240198"/>
                <a:gd name="connsiteY1880" fmla="*/ 1125616 h 1729012"/>
                <a:gd name="connsiteX1881" fmla="*/ 1539561 w 2240198"/>
                <a:gd name="connsiteY1881" fmla="*/ 1126399 h 1729012"/>
                <a:gd name="connsiteX1882" fmla="*/ 1538749 w 2240198"/>
                <a:gd name="connsiteY1882" fmla="*/ 1126515 h 1729012"/>
                <a:gd name="connsiteX1883" fmla="*/ 1538561 w 2240198"/>
                <a:gd name="connsiteY1883" fmla="*/ 1126057 h 1729012"/>
                <a:gd name="connsiteX1884" fmla="*/ 1539213 w 2240198"/>
                <a:gd name="connsiteY1884" fmla="*/ 1124513 h 1729012"/>
                <a:gd name="connsiteX1885" fmla="*/ 1540286 w 2240198"/>
                <a:gd name="connsiteY1885" fmla="*/ 1124326 h 1729012"/>
                <a:gd name="connsiteX1886" fmla="*/ 1547912 w 2240198"/>
                <a:gd name="connsiteY1886" fmla="*/ 1116856 h 1729012"/>
                <a:gd name="connsiteX1887" fmla="*/ 1549364 w 2240198"/>
                <a:gd name="connsiteY1887" fmla="*/ 1117756 h 1729012"/>
                <a:gd name="connsiteX1888" fmla="*/ 1548071 w 2240198"/>
                <a:gd name="connsiteY1888" fmla="*/ 1119389 h 1729012"/>
                <a:gd name="connsiteX1889" fmla="*/ 1545165 w 2240198"/>
                <a:gd name="connsiteY1889" fmla="*/ 1120868 h 1729012"/>
                <a:gd name="connsiteX1890" fmla="*/ 1542556 w 2240198"/>
                <a:gd name="connsiteY1890" fmla="*/ 1121129 h 1729012"/>
                <a:gd name="connsiteX1891" fmla="*/ 1543695 w 2240198"/>
                <a:gd name="connsiteY1891" fmla="*/ 1118888 h 1729012"/>
                <a:gd name="connsiteX1892" fmla="*/ 1544673 w 2240198"/>
                <a:gd name="connsiteY1892" fmla="*/ 1117805 h 1729012"/>
                <a:gd name="connsiteX1893" fmla="*/ 1545750 w 2240198"/>
                <a:gd name="connsiteY1893" fmla="*/ 1117112 h 1729012"/>
                <a:gd name="connsiteX1894" fmla="*/ 1936108 w 2240198"/>
                <a:gd name="connsiteY1894" fmla="*/ 1092618 h 1729012"/>
                <a:gd name="connsiteX1895" fmla="*/ 1938993 w 2240198"/>
                <a:gd name="connsiteY1895" fmla="*/ 1095413 h 1729012"/>
                <a:gd name="connsiteX1896" fmla="*/ 1939822 w 2240198"/>
                <a:gd name="connsiteY1896" fmla="*/ 1095839 h 1729012"/>
                <a:gd name="connsiteX1897" fmla="*/ 1942175 w 2240198"/>
                <a:gd name="connsiteY1897" fmla="*/ 1098247 h 1729012"/>
                <a:gd name="connsiteX1898" fmla="*/ 1941290 w 2240198"/>
                <a:gd name="connsiteY1898" fmla="*/ 1100885 h 1729012"/>
                <a:gd name="connsiteX1899" fmla="*/ 1938342 w 2240198"/>
                <a:gd name="connsiteY1899" fmla="*/ 1099917 h 1729012"/>
                <a:gd name="connsiteX1900" fmla="*/ 1933785 w 2240198"/>
                <a:gd name="connsiteY1900" fmla="*/ 1097922 h 1729012"/>
                <a:gd name="connsiteX1901" fmla="*/ 1931983 w 2240198"/>
                <a:gd name="connsiteY1901" fmla="*/ 1096596 h 1729012"/>
                <a:gd name="connsiteX1902" fmla="*/ 1931354 w 2240198"/>
                <a:gd name="connsiteY1902" fmla="*/ 1095144 h 1729012"/>
                <a:gd name="connsiteX1903" fmla="*/ 1931287 w 2240198"/>
                <a:gd name="connsiteY1903" fmla="*/ 1093136 h 1729012"/>
                <a:gd name="connsiteX1904" fmla="*/ 1932653 w 2240198"/>
                <a:gd name="connsiteY1904" fmla="*/ 1092808 h 1729012"/>
                <a:gd name="connsiteX1905" fmla="*/ 1848848 w 2240198"/>
                <a:gd name="connsiteY1905" fmla="*/ 1089819 h 1729012"/>
                <a:gd name="connsiteX1906" fmla="*/ 1851627 w 2240198"/>
                <a:gd name="connsiteY1906" fmla="*/ 1090485 h 1729012"/>
                <a:gd name="connsiteX1907" fmla="*/ 1853245 w 2240198"/>
                <a:gd name="connsiteY1907" fmla="*/ 1091654 h 1729012"/>
                <a:gd name="connsiteX1908" fmla="*/ 1854935 w 2240198"/>
                <a:gd name="connsiteY1908" fmla="*/ 1093603 h 1729012"/>
                <a:gd name="connsiteX1909" fmla="*/ 1855663 w 2240198"/>
                <a:gd name="connsiteY1909" fmla="*/ 1095104 h 1729012"/>
                <a:gd name="connsiteX1910" fmla="*/ 1855020 w 2240198"/>
                <a:gd name="connsiteY1910" fmla="*/ 1097311 h 1729012"/>
                <a:gd name="connsiteX1911" fmla="*/ 1853039 w 2240198"/>
                <a:gd name="connsiteY1911" fmla="*/ 1099283 h 1729012"/>
                <a:gd name="connsiteX1912" fmla="*/ 1850758 w 2240198"/>
                <a:gd name="connsiteY1912" fmla="*/ 1100626 h 1729012"/>
                <a:gd name="connsiteX1913" fmla="*/ 1845142 w 2240198"/>
                <a:gd name="connsiteY1913" fmla="*/ 1103051 h 1729012"/>
                <a:gd name="connsiteX1914" fmla="*/ 1842852 w 2240198"/>
                <a:gd name="connsiteY1914" fmla="*/ 1103355 h 1729012"/>
                <a:gd name="connsiteX1915" fmla="*/ 1841809 w 2240198"/>
                <a:gd name="connsiteY1915" fmla="*/ 1102551 h 1729012"/>
                <a:gd name="connsiteX1916" fmla="*/ 1841742 w 2240198"/>
                <a:gd name="connsiteY1916" fmla="*/ 1100240 h 1729012"/>
                <a:gd name="connsiteX1917" fmla="*/ 1842492 w 2240198"/>
                <a:gd name="connsiteY1917" fmla="*/ 1098495 h 1729012"/>
                <a:gd name="connsiteX1918" fmla="*/ 1845117 w 2240198"/>
                <a:gd name="connsiteY1918" fmla="*/ 1094873 h 1729012"/>
                <a:gd name="connsiteX1919" fmla="*/ 1847472 w 2240198"/>
                <a:gd name="connsiteY1919" fmla="*/ 1090806 h 1729012"/>
                <a:gd name="connsiteX1920" fmla="*/ 1591378 w 2240198"/>
                <a:gd name="connsiteY1920" fmla="*/ 1080975 h 1729012"/>
                <a:gd name="connsiteX1921" fmla="*/ 1590435 w 2240198"/>
                <a:gd name="connsiteY1921" fmla="*/ 1082310 h 1729012"/>
                <a:gd name="connsiteX1922" fmla="*/ 1588063 w 2240198"/>
                <a:gd name="connsiteY1922" fmla="*/ 1083363 h 1729012"/>
                <a:gd name="connsiteX1923" fmla="*/ 1584026 w 2240198"/>
                <a:gd name="connsiteY1923" fmla="*/ 1084431 h 1729012"/>
                <a:gd name="connsiteX1924" fmla="*/ 1580546 w 2240198"/>
                <a:gd name="connsiteY1924" fmla="*/ 1084877 h 1729012"/>
                <a:gd name="connsiteX1925" fmla="*/ 1580540 w 2240198"/>
                <a:gd name="connsiteY1925" fmla="*/ 1084324 h 1729012"/>
                <a:gd name="connsiteX1926" fmla="*/ 1581987 w 2240198"/>
                <a:gd name="connsiteY1926" fmla="*/ 1082753 h 1729012"/>
                <a:gd name="connsiteX1927" fmla="*/ 1587375 w 2240198"/>
                <a:gd name="connsiteY1927" fmla="*/ 1081380 h 1729012"/>
                <a:gd name="connsiteX1928" fmla="*/ 1923849 w 2240198"/>
                <a:gd name="connsiteY1928" fmla="*/ 1047462 h 1729012"/>
                <a:gd name="connsiteX1929" fmla="*/ 1928295 w 2240198"/>
                <a:gd name="connsiteY1929" fmla="*/ 1047485 h 1729012"/>
                <a:gd name="connsiteX1930" fmla="*/ 1932474 w 2240198"/>
                <a:gd name="connsiteY1930" fmla="*/ 1048376 h 1729012"/>
                <a:gd name="connsiteX1931" fmla="*/ 1933319 w 2240198"/>
                <a:gd name="connsiteY1931" fmla="*/ 1049332 h 1729012"/>
                <a:gd name="connsiteX1932" fmla="*/ 1935518 w 2240198"/>
                <a:gd name="connsiteY1932" fmla="*/ 1051067 h 1729012"/>
                <a:gd name="connsiteX1933" fmla="*/ 1934976 w 2240198"/>
                <a:gd name="connsiteY1933" fmla="*/ 1053152 h 1729012"/>
                <a:gd name="connsiteX1934" fmla="*/ 1934838 w 2240198"/>
                <a:gd name="connsiteY1934" fmla="*/ 1055785 h 1729012"/>
                <a:gd name="connsiteX1935" fmla="*/ 1933928 w 2240198"/>
                <a:gd name="connsiteY1935" fmla="*/ 1057067 h 1729012"/>
                <a:gd name="connsiteX1936" fmla="*/ 1932526 w 2240198"/>
                <a:gd name="connsiteY1936" fmla="*/ 1058041 h 1729012"/>
                <a:gd name="connsiteX1937" fmla="*/ 1931384 w 2240198"/>
                <a:gd name="connsiteY1937" fmla="*/ 1059870 h 1729012"/>
                <a:gd name="connsiteX1938" fmla="*/ 1930771 w 2240198"/>
                <a:gd name="connsiteY1938" fmla="*/ 1060321 h 1729012"/>
                <a:gd name="connsiteX1939" fmla="*/ 1930188 w 2240198"/>
                <a:gd name="connsiteY1939" fmla="*/ 1060219 h 1729012"/>
                <a:gd name="connsiteX1940" fmla="*/ 1928300 w 2240198"/>
                <a:gd name="connsiteY1940" fmla="*/ 1058154 h 1729012"/>
                <a:gd name="connsiteX1941" fmla="*/ 1925761 w 2240198"/>
                <a:gd name="connsiteY1941" fmla="*/ 1057316 h 1729012"/>
                <a:gd name="connsiteX1942" fmla="*/ 1924819 w 2240198"/>
                <a:gd name="connsiteY1942" fmla="*/ 1056503 h 1729012"/>
                <a:gd name="connsiteX1943" fmla="*/ 1917152 w 2240198"/>
                <a:gd name="connsiteY1943" fmla="*/ 1052239 h 1729012"/>
                <a:gd name="connsiteX1944" fmla="*/ 1916318 w 2240198"/>
                <a:gd name="connsiteY1944" fmla="*/ 1050367 h 1729012"/>
                <a:gd name="connsiteX1945" fmla="*/ 1916182 w 2240198"/>
                <a:gd name="connsiteY1945" fmla="*/ 1048870 h 1729012"/>
                <a:gd name="connsiteX1946" fmla="*/ 1918730 w 2240198"/>
                <a:gd name="connsiteY1946" fmla="*/ 1048141 h 1729012"/>
                <a:gd name="connsiteX1947" fmla="*/ 1215239 w 2240198"/>
                <a:gd name="connsiteY1947" fmla="*/ 1037739 h 1729012"/>
                <a:gd name="connsiteX1948" fmla="*/ 1217338 w 2240198"/>
                <a:gd name="connsiteY1948" fmla="*/ 1039508 h 1729012"/>
                <a:gd name="connsiteX1949" fmla="*/ 1217162 w 2240198"/>
                <a:gd name="connsiteY1949" fmla="*/ 1040376 h 1729012"/>
                <a:gd name="connsiteX1950" fmla="*/ 1216046 w 2240198"/>
                <a:gd name="connsiteY1950" fmla="*/ 1041289 h 1729012"/>
                <a:gd name="connsiteX1951" fmla="*/ 1215010 w 2240198"/>
                <a:gd name="connsiteY1951" fmla="*/ 1041382 h 1729012"/>
                <a:gd name="connsiteX1952" fmla="*/ 1212684 w 2240198"/>
                <a:gd name="connsiteY1952" fmla="*/ 1039390 h 1729012"/>
                <a:gd name="connsiteX1953" fmla="*/ 1212174 w 2240198"/>
                <a:gd name="connsiteY1953" fmla="*/ 1038381 h 1729012"/>
                <a:gd name="connsiteX1954" fmla="*/ 1922730 w 2240198"/>
                <a:gd name="connsiteY1954" fmla="*/ 1037418 h 1729012"/>
                <a:gd name="connsiteX1955" fmla="*/ 1923954 w 2240198"/>
                <a:gd name="connsiteY1955" fmla="*/ 1037456 h 1729012"/>
                <a:gd name="connsiteX1956" fmla="*/ 1925406 w 2240198"/>
                <a:gd name="connsiteY1956" fmla="*/ 1038090 h 1729012"/>
                <a:gd name="connsiteX1957" fmla="*/ 1926365 w 2240198"/>
                <a:gd name="connsiteY1957" fmla="*/ 1039925 h 1729012"/>
                <a:gd name="connsiteX1958" fmla="*/ 1926936 w 2240198"/>
                <a:gd name="connsiteY1958" fmla="*/ 1040268 h 1729012"/>
                <a:gd name="connsiteX1959" fmla="*/ 1927620 w 2240198"/>
                <a:gd name="connsiteY1959" fmla="*/ 1039864 h 1729012"/>
                <a:gd name="connsiteX1960" fmla="*/ 1928140 w 2240198"/>
                <a:gd name="connsiteY1960" fmla="*/ 1040213 h 1729012"/>
                <a:gd name="connsiteX1961" fmla="*/ 1928492 w 2240198"/>
                <a:gd name="connsiteY1961" fmla="*/ 1041318 h 1729012"/>
                <a:gd name="connsiteX1962" fmla="*/ 1929079 w 2240198"/>
                <a:gd name="connsiteY1962" fmla="*/ 1042084 h 1729012"/>
                <a:gd name="connsiteX1963" fmla="*/ 1930559 w 2240198"/>
                <a:gd name="connsiteY1963" fmla="*/ 1043082 h 1729012"/>
                <a:gd name="connsiteX1964" fmla="*/ 1931057 w 2240198"/>
                <a:gd name="connsiteY1964" fmla="*/ 1043794 h 1729012"/>
                <a:gd name="connsiteX1965" fmla="*/ 1931017 w 2240198"/>
                <a:gd name="connsiteY1965" fmla="*/ 1044509 h 1729012"/>
                <a:gd name="connsiteX1966" fmla="*/ 1929762 w 2240198"/>
                <a:gd name="connsiteY1966" fmla="*/ 1045609 h 1729012"/>
                <a:gd name="connsiteX1967" fmla="*/ 1928972 w 2240198"/>
                <a:gd name="connsiteY1967" fmla="*/ 1045639 h 1729012"/>
                <a:gd name="connsiteX1968" fmla="*/ 1922932 w 2240198"/>
                <a:gd name="connsiteY1968" fmla="*/ 1043101 h 1729012"/>
                <a:gd name="connsiteX1969" fmla="*/ 1921301 w 2240198"/>
                <a:gd name="connsiteY1969" fmla="*/ 1040512 h 1729012"/>
                <a:gd name="connsiteX1970" fmla="*/ 1921172 w 2240198"/>
                <a:gd name="connsiteY1970" fmla="*/ 1039197 h 1729012"/>
                <a:gd name="connsiteX1971" fmla="*/ 1921801 w 2240198"/>
                <a:gd name="connsiteY1971" fmla="*/ 1037998 h 1729012"/>
                <a:gd name="connsiteX1972" fmla="*/ 1556997 w 2240198"/>
                <a:gd name="connsiteY1972" fmla="*/ 1018976 h 1729012"/>
                <a:gd name="connsiteX1973" fmla="*/ 1558323 w 2240198"/>
                <a:gd name="connsiteY1973" fmla="*/ 1019036 h 1729012"/>
                <a:gd name="connsiteX1974" fmla="*/ 1560329 w 2240198"/>
                <a:gd name="connsiteY1974" fmla="*/ 1020107 h 1729012"/>
                <a:gd name="connsiteX1975" fmla="*/ 1563630 w 2240198"/>
                <a:gd name="connsiteY1975" fmla="*/ 1023680 h 1729012"/>
                <a:gd name="connsiteX1976" fmla="*/ 1564887 w 2240198"/>
                <a:gd name="connsiteY1976" fmla="*/ 1025489 h 1729012"/>
                <a:gd name="connsiteX1977" fmla="*/ 1565253 w 2240198"/>
                <a:gd name="connsiteY1977" fmla="*/ 1027911 h 1729012"/>
                <a:gd name="connsiteX1978" fmla="*/ 1564380 w 2240198"/>
                <a:gd name="connsiteY1978" fmla="*/ 1031145 h 1729012"/>
                <a:gd name="connsiteX1979" fmla="*/ 1563938 w 2240198"/>
                <a:gd name="connsiteY1979" fmla="*/ 1034178 h 1729012"/>
                <a:gd name="connsiteX1980" fmla="*/ 1562712 w 2240198"/>
                <a:gd name="connsiteY1980" fmla="*/ 1036459 h 1729012"/>
                <a:gd name="connsiteX1981" fmla="*/ 1560432 w 2240198"/>
                <a:gd name="connsiteY1981" fmla="*/ 1039338 h 1729012"/>
                <a:gd name="connsiteX1982" fmla="*/ 1558412 w 2240198"/>
                <a:gd name="connsiteY1982" fmla="*/ 1042698 h 1729012"/>
                <a:gd name="connsiteX1983" fmla="*/ 1556649 w 2240198"/>
                <a:gd name="connsiteY1983" fmla="*/ 1046532 h 1729012"/>
                <a:gd name="connsiteX1984" fmla="*/ 1555194 w 2240198"/>
                <a:gd name="connsiteY1984" fmla="*/ 1049068 h 1729012"/>
                <a:gd name="connsiteX1985" fmla="*/ 1554039 w 2240198"/>
                <a:gd name="connsiteY1985" fmla="*/ 1050309 h 1729012"/>
                <a:gd name="connsiteX1986" fmla="*/ 1552795 w 2240198"/>
                <a:gd name="connsiteY1986" fmla="*/ 1050953 h 1729012"/>
                <a:gd name="connsiteX1987" fmla="*/ 1551457 w 2240198"/>
                <a:gd name="connsiteY1987" fmla="*/ 1051005 h 1729012"/>
                <a:gd name="connsiteX1988" fmla="*/ 1549423 w 2240198"/>
                <a:gd name="connsiteY1988" fmla="*/ 1049625 h 1729012"/>
                <a:gd name="connsiteX1989" fmla="*/ 1546689 w 2240198"/>
                <a:gd name="connsiteY1989" fmla="*/ 1046808 h 1729012"/>
                <a:gd name="connsiteX1990" fmla="*/ 1544462 w 2240198"/>
                <a:gd name="connsiteY1990" fmla="*/ 1045082 h 1729012"/>
                <a:gd name="connsiteX1991" fmla="*/ 1541598 w 2240198"/>
                <a:gd name="connsiteY1991" fmla="*/ 1043898 h 1729012"/>
                <a:gd name="connsiteX1992" fmla="*/ 1540070 w 2240198"/>
                <a:gd name="connsiteY1992" fmla="*/ 1042299 h 1729012"/>
                <a:gd name="connsiteX1993" fmla="*/ 1539791 w 2240198"/>
                <a:gd name="connsiteY1993" fmla="*/ 1040724 h 1729012"/>
                <a:gd name="connsiteX1994" fmla="*/ 1539698 w 2240198"/>
                <a:gd name="connsiteY1994" fmla="*/ 1035609 h 1729012"/>
                <a:gd name="connsiteX1995" fmla="*/ 1539819 w 2240198"/>
                <a:gd name="connsiteY1995" fmla="*/ 1033060 h 1729012"/>
                <a:gd name="connsiteX1996" fmla="*/ 1540201 w 2240198"/>
                <a:gd name="connsiteY1996" fmla="*/ 1030928 h 1729012"/>
                <a:gd name="connsiteX1997" fmla="*/ 1540844 w 2240198"/>
                <a:gd name="connsiteY1997" fmla="*/ 1029217 h 1729012"/>
                <a:gd name="connsiteX1998" fmla="*/ 1542267 w 2240198"/>
                <a:gd name="connsiteY1998" fmla="*/ 1026859 h 1729012"/>
                <a:gd name="connsiteX1999" fmla="*/ 1546247 w 2240198"/>
                <a:gd name="connsiteY1999" fmla="*/ 1021742 h 1729012"/>
                <a:gd name="connsiteX2000" fmla="*/ 1548652 w 2240198"/>
                <a:gd name="connsiteY2000" fmla="*/ 1019778 h 1729012"/>
                <a:gd name="connsiteX2001" fmla="*/ 1550139 w 2240198"/>
                <a:gd name="connsiteY2001" fmla="*/ 1019326 h 1729012"/>
                <a:gd name="connsiteX2002" fmla="*/ 1554083 w 2240198"/>
                <a:gd name="connsiteY2002" fmla="*/ 1019694 h 1729012"/>
                <a:gd name="connsiteX2003" fmla="*/ 1555680 w 2240198"/>
                <a:gd name="connsiteY2003" fmla="*/ 1019564 h 1729012"/>
                <a:gd name="connsiteX2004" fmla="*/ 1931607 w 2240198"/>
                <a:gd name="connsiteY2004" fmla="*/ 1013237 h 1729012"/>
                <a:gd name="connsiteX2005" fmla="*/ 1936476 w 2240198"/>
                <a:gd name="connsiteY2005" fmla="*/ 1013661 h 1729012"/>
                <a:gd name="connsiteX2006" fmla="*/ 1939430 w 2240198"/>
                <a:gd name="connsiteY2006" fmla="*/ 1013510 h 1729012"/>
                <a:gd name="connsiteX2007" fmla="*/ 1940705 w 2240198"/>
                <a:gd name="connsiteY2007" fmla="*/ 1014137 h 1729012"/>
                <a:gd name="connsiteX2008" fmla="*/ 1941896 w 2240198"/>
                <a:gd name="connsiteY2008" fmla="*/ 1016052 h 1729012"/>
                <a:gd name="connsiteX2009" fmla="*/ 1940368 w 2240198"/>
                <a:gd name="connsiteY2009" fmla="*/ 1018793 h 1729012"/>
                <a:gd name="connsiteX2010" fmla="*/ 1938639 w 2240198"/>
                <a:gd name="connsiteY2010" fmla="*/ 1019836 h 1729012"/>
                <a:gd name="connsiteX2011" fmla="*/ 1935827 w 2240198"/>
                <a:gd name="connsiteY2011" fmla="*/ 1020143 h 1729012"/>
                <a:gd name="connsiteX2012" fmla="*/ 1931265 w 2240198"/>
                <a:gd name="connsiteY2012" fmla="*/ 1019251 h 1729012"/>
                <a:gd name="connsiteX2013" fmla="*/ 1929645 w 2240198"/>
                <a:gd name="connsiteY2013" fmla="*/ 1018668 h 1729012"/>
                <a:gd name="connsiteX2014" fmla="*/ 1928243 w 2240198"/>
                <a:gd name="connsiteY2014" fmla="*/ 1017198 h 1729012"/>
                <a:gd name="connsiteX2015" fmla="*/ 1928896 w 2240198"/>
                <a:gd name="connsiteY2015" fmla="*/ 1016146 h 1729012"/>
                <a:gd name="connsiteX2016" fmla="*/ 1931148 w 2240198"/>
                <a:gd name="connsiteY2016" fmla="*/ 1015786 h 1729012"/>
                <a:gd name="connsiteX2017" fmla="*/ 1931524 w 2240198"/>
                <a:gd name="connsiteY2017" fmla="*/ 1015359 h 1729012"/>
                <a:gd name="connsiteX2018" fmla="*/ 1930947 w 2240198"/>
                <a:gd name="connsiteY2018" fmla="*/ 1014551 h 1729012"/>
                <a:gd name="connsiteX2019" fmla="*/ 1930975 w 2240198"/>
                <a:gd name="connsiteY2019" fmla="*/ 1013846 h 1729012"/>
                <a:gd name="connsiteX2020" fmla="*/ 1684626 w 2240198"/>
                <a:gd name="connsiteY2020" fmla="*/ 1006334 h 1729012"/>
                <a:gd name="connsiteX2021" fmla="*/ 1686231 w 2240198"/>
                <a:gd name="connsiteY2021" fmla="*/ 1006604 h 1729012"/>
                <a:gd name="connsiteX2022" fmla="*/ 1688922 w 2240198"/>
                <a:gd name="connsiteY2022" fmla="*/ 1007819 h 1729012"/>
                <a:gd name="connsiteX2023" fmla="*/ 1696170 w 2240198"/>
                <a:gd name="connsiteY2023" fmla="*/ 1008432 h 1729012"/>
                <a:gd name="connsiteX2024" fmla="*/ 1698506 w 2240198"/>
                <a:gd name="connsiteY2024" fmla="*/ 1009129 h 1729012"/>
                <a:gd name="connsiteX2025" fmla="*/ 1699232 w 2240198"/>
                <a:gd name="connsiteY2025" fmla="*/ 1010181 h 1729012"/>
                <a:gd name="connsiteX2026" fmla="*/ 1698921 w 2240198"/>
                <a:gd name="connsiteY2026" fmla="*/ 1010880 h 1729012"/>
                <a:gd name="connsiteX2027" fmla="*/ 1697574 w 2240198"/>
                <a:gd name="connsiteY2027" fmla="*/ 1011225 h 1729012"/>
                <a:gd name="connsiteX2028" fmla="*/ 1692504 w 2240198"/>
                <a:gd name="connsiteY2028" fmla="*/ 1010739 h 1729012"/>
                <a:gd name="connsiteX2029" fmla="*/ 1686267 w 2240198"/>
                <a:gd name="connsiteY2029" fmla="*/ 1008888 h 1729012"/>
                <a:gd name="connsiteX2030" fmla="*/ 1683047 w 2240198"/>
                <a:gd name="connsiteY2030" fmla="*/ 1007148 h 1729012"/>
                <a:gd name="connsiteX2031" fmla="*/ 1683212 w 2240198"/>
                <a:gd name="connsiteY2031" fmla="*/ 1006610 h 1729012"/>
                <a:gd name="connsiteX2032" fmla="*/ 1771582 w 2240198"/>
                <a:gd name="connsiteY2032" fmla="*/ 1000598 h 1729012"/>
                <a:gd name="connsiteX2033" fmla="*/ 1774655 w 2240198"/>
                <a:gd name="connsiteY2033" fmla="*/ 1001100 h 1729012"/>
                <a:gd name="connsiteX2034" fmla="*/ 1779195 w 2240198"/>
                <a:gd name="connsiteY2034" fmla="*/ 1002102 h 1729012"/>
                <a:gd name="connsiteX2035" fmla="*/ 1783260 w 2240198"/>
                <a:gd name="connsiteY2035" fmla="*/ 1003412 h 1729012"/>
                <a:gd name="connsiteX2036" fmla="*/ 1789134 w 2240198"/>
                <a:gd name="connsiteY2036" fmla="*/ 1006316 h 1729012"/>
                <a:gd name="connsiteX2037" fmla="*/ 1791056 w 2240198"/>
                <a:gd name="connsiteY2037" fmla="*/ 1009005 h 1729012"/>
                <a:gd name="connsiteX2038" fmla="*/ 1792965 w 2240198"/>
                <a:gd name="connsiteY2038" fmla="*/ 1010976 h 1729012"/>
                <a:gd name="connsiteX2039" fmla="*/ 1793541 w 2240198"/>
                <a:gd name="connsiteY2039" fmla="*/ 1012474 h 1729012"/>
                <a:gd name="connsiteX2040" fmla="*/ 1793040 w 2240198"/>
                <a:gd name="connsiteY2040" fmla="*/ 1013125 h 1729012"/>
                <a:gd name="connsiteX2041" fmla="*/ 1791811 w 2240198"/>
                <a:gd name="connsiteY2041" fmla="*/ 1013633 h 1729012"/>
                <a:gd name="connsiteX2042" fmla="*/ 1790054 w 2240198"/>
                <a:gd name="connsiteY2042" fmla="*/ 1013787 h 1729012"/>
                <a:gd name="connsiteX2043" fmla="*/ 1786628 w 2240198"/>
                <a:gd name="connsiteY2043" fmla="*/ 1013490 h 1729012"/>
                <a:gd name="connsiteX2044" fmla="*/ 1782949 w 2240198"/>
                <a:gd name="connsiteY2044" fmla="*/ 1012667 h 1729012"/>
                <a:gd name="connsiteX2045" fmla="*/ 1780933 w 2240198"/>
                <a:gd name="connsiteY2045" fmla="*/ 1011731 h 1729012"/>
                <a:gd name="connsiteX2046" fmla="*/ 1779120 w 2240198"/>
                <a:gd name="connsiteY2046" fmla="*/ 1009707 h 1729012"/>
                <a:gd name="connsiteX2047" fmla="*/ 1778773 w 2240198"/>
                <a:gd name="connsiteY2047" fmla="*/ 1007481 h 1729012"/>
                <a:gd name="connsiteX2048" fmla="*/ 1775353 w 2240198"/>
                <a:gd name="connsiteY2048" fmla="*/ 1004176 h 1729012"/>
                <a:gd name="connsiteX2049" fmla="*/ 1771530 w 2240198"/>
                <a:gd name="connsiteY2049" fmla="*/ 1003060 h 1729012"/>
                <a:gd name="connsiteX2050" fmla="*/ 1769420 w 2240198"/>
                <a:gd name="connsiteY2050" fmla="*/ 1000759 h 1729012"/>
                <a:gd name="connsiteX2051" fmla="*/ 1492804 w 2240198"/>
                <a:gd name="connsiteY2051" fmla="*/ 996636 h 1729012"/>
                <a:gd name="connsiteX2052" fmla="*/ 1494874 w 2240198"/>
                <a:gd name="connsiteY2052" fmla="*/ 996919 h 1729012"/>
                <a:gd name="connsiteX2053" fmla="*/ 1496069 w 2240198"/>
                <a:gd name="connsiteY2053" fmla="*/ 997570 h 1729012"/>
                <a:gd name="connsiteX2054" fmla="*/ 1497081 w 2240198"/>
                <a:gd name="connsiteY2054" fmla="*/ 998682 h 1729012"/>
                <a:gd name="connsiteX2055" fmla="*/ 1497385 w 2240198"/>
                <a:gd name="connsiteY2055" fmla="*/ 1000357 h 1729012"/>
                <a:gd name="connsiteX2056" fmla="*/ 1496984 w 2240198"/>
                <a:gd name="connsiteY2056" fmla="*/ 1002596 h 1729012"/>
                <a:gd name="connsiteX2057" fmla="*/ 1496330 w 2240198"/>
                <a:gd name="connsiteY2057" fmla="*/ 1004630 h 1729012"/>
                <a:gd name="connsiteX2058" fmla="*/ 1495427 w 2240198"/>
                <a:gd name="connsiteY2058" fmla="*/ 1006461 h 1729012"/>
                <a:gd name="connsiteX2059" fmla="*/ 1493197 w 2240198"/>
                <a:gd name="connsiteY2059" fmla="*/ 1009541 h 1729012"/>
                <a:gd name="connsiteX2060" fmla="*/ 1486242 w 2240198"/>
                <a:gd name="connsiteY2060" fmla="*/ 1014800 h 1729012"/>
                <a:gd name="connsiteX2061" fmla="*/ 1483633 w 2240198"/>
                <a:gd name="connsiteY2061" fmla="*/ 1017661 h 1729012"/>
                <a:gd name="connsiteX2062" fmla="*/ 1481672 w 2240198"/>
                <a:gd name="connsiteY2062" fmla="*/ 1019370 h 1729012"/>
                <a:gd name="connsiteX2063" fmla="*/ 1470324 w 2240198"/>
                <a:gd name="connsiteY2063" fmla="*/ 1026972 h 1729012"/>
                <a:gd name="connsiteX2064" fmla="*/ 1468915 w 2240198"/>
                <a:gd name="connsiteY2064" fmla="*/ 1027346 h 1729012"/>
                <a:gd name="connsiteX2065" fmla="*/ 1467436 w 2240198"/>
                <a:gd name="connsiteY2065" fmla="*/ 1027200 h 1729012"/>
                <a:gd name="connsiteX2066" fmla="*/ 1464325 w 2240198"/>
                <a:gd name="connsiteY2066" fmla="*/ 1026066 h 1729012"/>
                <a:gd name="connsiteX2067" fmla="*/ 1461171 w 2240198"/>
                <a:gd name="connsiteY2067" fmla="*/ 1025863 h 1729012"/>
                <a:gd name="connsiteX2068" fmla="*/ 1453004 w 2240198"/>
                <a:gd name="connsiteY2068" fmla="*/ 1028920 h 1729012"/>
                <a:gd name="connsiteX2069" fmla="*/ 1452611 w 2240198"/>
                <a:gd name="connsiteY2069" fmla="*/ 1028397 h 1729012"/>
                <a:gd name="connsiteX2070" fmla="*/ 1452250 w 2240198"/>
                <a:gd name="connsiteY2070" fmla="*/ 1025115 h 1729012"/>
                <a:gd name="connsiteX2071" fmla="*/ 1451431 w 2240198"/>
                <a:gd name="connsiteY2071" fmla="*/ 1023293 h 1729012"/>
                <a:gd name="connsiteX2072" fmla="*/ 1447825 w 2240198"/>
                <a:gd name="connsiteY2072" fmla="*/ 1019399 h 1729012"/>
                <a:gd name="connsiteX2073" fmla="*/ 1447590 w 2240198"/>
                <a:gd name="connsiteY2073" fmla="*/ 1018490 h 1729012"/>
                <a:gd name="connsiteX2074" fmla="*/ 1447638 w 2240198"/>
                <a:gd name="connsiteY2074" fmla="*/ 1017363 h 1729012"/>
                <a:gd name="connsiteX2075" fmla="*/ 1447923 w 2240198"/>
                <a:gd name="connsiteY2075" fmla="*/ 1016484 h 1729012"/>
                <a:gd name="connsiteX2076" fmla="*/ 1451986 w 2240198"/>
                <a:gd name="connsiteY2076" fmla="*/ 1012838 h 1729012"/>
                <a:gd name="connsiteX2077" fmla="*/ 1461180 w 2240198"/>
                <a:gd name="connsiteY2077" fmla="*/ 999527 h 1729012"/>
                <a:gd name="connsiteX2078" fmla="*/ 1463385 w 2240198"/>
                <a:gd name="connsiteY2078" fmla="*/ 998867 h 1729012"/>
                <a:gd name="connsiteX2079" fmla="*/ 1467912 w 2240198"/>
                <a:gd name="connsiteY2079" fmla="*/ 1000354 h 1729012"/>
                <a:gd name="connsiteX2080" fmla="*/ 1470059 w 2240198"/>
                <a:gd name="connsiteY2080" fmla="*/ 1000832 h 1729012"/>
                <a:gd name="connsiteX2081" fmla="*/ 1471593 w 2240198"/>
                <a:gd name="connsiteY2081" fmla="*/ 1000759 h 1729012"/>
                <a:gd name="connsiteX2082" fmla="*/ 1478168 w 2240198"/>
                <a:gd name="connsiteY2082" fmla="*/ 997954 h 1729012"/>
                <a:gd name="connsiteX2083" fmla="*/ 1484425 w 2240198"/>
                <a:gd name="connsiteY2083" fmla="*/ 998286 h 1729012"/>
                <a:gd name="connsiteX2084" fmla="*/ 1490129 w 2240198"/>
                <a:gd name="connsiteY2084" fmla="*/ 996646 h 1729012"/>
                <a:gd name="connsiteX2085" fmla="*/ 1591551 w 2240198"/>
                <a:gd name="connsiteY2085" fmla="*/ 976194 h 1729012"/>
                <a:gd name="connsiteX2086" fmla="*/ 1599182 w 2240198"/>
                <a:gd name="connsiteY2086" fmla="*/ 976620 h 1729012"/>
                <a:gd name="connsiteX2087" fmla="*/ 1600634 w 2240198"/>
                <a:gd name="connsiteY2087" fmla="*/ 976956 h 1729012"/>
                <a:gd name="connsiteX2088" fmla="*/ 1602779 w 2240198"/>
                <a:gd name="connsiteY2088" fmla="*/ 978669 h 1729012"/>
                <a:gd name="connsiteX2089" fmla="*/ 1605020 w 2240198"/>
                <a:gd name="connsiteY2089" fmla="*/ 978547 h 1729012"/>
                <a:gd name="connsiteX2090" fmla="*/ 1606261 w 2240198"/>
                <a:gd name="connsiteY2090" fmla="*/ 979944 h 1729012"/>
                <a:gd name="connsiteX2091" fmla="*/ 1609210 w 2240198"/>
                <a:gd name="connsiteY2091" fmla="*/ 984302 h 1729012"/>
                <a:gd name="connsiteX2092" fmla="*/ 1609493 w 2240198"/>
                <a:gd name="connsiteY2092" fmla="*/ 985026 h 1729012"/>
                <a:gd name="connsiteX2093" fmla="*/ 1609355 w 2240198"/>
                <a:gd name="connsiteY2093" fmla="*/ 986436 h 1729012"/>
                <a:gd name="connsiteX2094" fmla="*/ 1607804 w 2240198"/>
                <a:gd name="connsiteY2094" fmla="*/ 988241 h 1729012"/>
                <a:gd name="connsiteX2095" fmla="*/ 1606187 w 2240198"/>
                <a:gd name="connsiteY2095" fmla="*/ 989192 h 1729012"/>
                <a:gd name="connsiteX2096" fmla="*/ 1602795 w 2240198"/>
                <a:gd name="connsiteY2096" fmla="*/ 990589 h 1729012"/>
                <a:gd name="connsiteX2097" fmla="*/ 1598966 w 2240198"/>
                <a:gd name="connsiteY2097" fmla="*/ 991194 h 1729012"/>
                <a:gd name="connsiteX2098" fmla="*/ 1596888 w 2240198"/>
                <a:gd name="connsiteY2098" fmla="*/ 990218 h 1729012"/>
                <a:gd name="connsiteX2099" fmla="*/ 1591017 w 2240198"/>
                <a:gd name="connsiteY2099" fmla="*/ 986189 h 1729012"/>
                <a:gd name="connsiteX2100" fmla="*/ 1585621 w 2240198"/>
                <a:gd name="connsiteY2100" fmla="*/ 981469 h 1729012"/>
                <a:gd name="connsiteX2101" fmla="*/ 1583896 w 2240198"/>
                <a:gd name="connsiteY2101" fmla="*/ 978833 h 1729012"/>
                <a:gd name="connsiteX2102" fmla="*/ 1584643 w 2240198"/>
                <a:gd name="connsiteY2102" fmla="*/ 977735 h 1729012"/>
                <a:gd name="connsiteX2103" fmla="*/ 1586927 w 2240198"/>
                <a:gd name="connsiteY2103" fmla="*/ 976980 h 1729012"/>
                <a:gd name="connsiteX2104" fmla="*/ 1619473 w 2240198"/>
                <a:gd name="connsiteY2104" fmla="*/ 968460 h 1729012"/>
                <a:gd name="connsiteX2105" fmla="*/ 1628856 w 2240198"/>
                <a:gd name="connsiteY2105" fmla="*/ 972820 h 1729012"/>
                <a:gd name="connsiteX2106" fmla="*/ 1631676 w 2240198"/>
                <a:gd name="connsiteY2106" fmla="*/ 975632 h 1729012"/>
                <a:gd name="connsiteX2107" fmla="*/ 1631039 w 2240198"/>
                <a:gd name="connsiteY2107" fmla="*/ 980026 h 1729012"/>
                <a:gd name="connsiteX2108" fmla="*/ 1628361 w 2240198"/>
                <a:gd name="connsiteY2108" fmla="*/ 980423 h 1729012"/>
                <a:gd name="connsiteX2109" fmla="*/ 1624844 w 2240198"/>
                <a:gd name="connsiteY2109" fmla="*/ 979529 h 1729012"/>
                <a:gd name="connsiteX2110" fmla="*/ 1621412 w 2240198"/>
                <a:gd name="connsiteY2110" fmla="*/ 977790 h 1729012"/>
                <a:gd name="connsiteX2111" fmla="*/ 1613614 w 2240198"/>
                <a:gd name="connsiteY2111" fmla="*/ 972228 h 1729012"/>
                <a:gd name="connsiteX2112" fmla="*/ 1607212 w 2240198"/>
                <a:gd name="connsiteY2112" fmla="*/ 954123 h 1729012"/>
                <a:gd name="connsiteX2113" fmla="*/ 1608426 w 2240198"/>
                <a:gd name="connsiteY2113" fmla="*/ 954397 h 1729012"/>
                <a:gd name="connsiteX2114" fmla="*/ 1608573 w 2240198"/>
                <a:gd name="connsiteY2114" fmla="*/ 954736 h 1729012"/>
                <a:gd name="connsiteX2115" fmla="*/ 1606583 w 2240198"/>
                <a:gd name="connsiteY2115" fmla="*/ 955957 h 1729012"/>
                <a:gd name="connsiteX2116" fmla="*/ 1604758 w 2240198"/>
                <a:gd name="connsiteY2116" fmla="*/ 957825 h 1729012"/>
                <a:gd name="connsiteX2117" fmla="*/ 1599313 w 2240198"/>
                <a:gd name="connsiteY2117" fmla="*/ 957166 h 1729012"/>
                <a:gd name="connsiteX2118" fmla="*/ 1598574 w 2240198"/>
                <a:gd name="connsiteY2118" fmla="*/ 956599 h 1729012"/>
                <a:gd name="connsiteX2119" fmla="*/ 1598370 w 2240198"/>
                <a:gd name="connsiteY2119" fmla="*/ 955916 h 1729012"/>
                <a:gd name="connsiteX2120" fmla="*/ 1599248 w 2240198"/>
                <a:gd name="connsiteY2120" fmla="*/ 955030 h 1729012"/>
                <a:gd name="connsiteX2121" fmla="*/ 1604840 w 2240198"/>
                <a:gd name="connsiteY2121" fmla="*/ 954186 h 1729012"/>
                <a:gd name="connsiteX2122" fmla="*/ 1405947 w 2240198"/>
                <a:gd name="connsiteY2122" fmla="*/ 876655 h 1729012"/>
                <a:gd name="connsiteX2123" fmla="*/ 1406750 w 2240198"/>
                <a:gd name="connsiteY2123" fmla="*/ 876827 h 1729012"/>
                <a:gd name="connsiteX2124" fmla="*/ 1407448 w 2240198"/>
                <a:gd name="connsiteY2124" fmla="*/ 877449 h 1729012"/>
                <a:gd name="connsiteX2125" fmla="*/ 1408794 w 2240198"/>
                <a:gd name="connsiteY2125" fmla="*/ 879715 h 1729012"/>
                <a:gd name="connsiteX2126" fmla="*/ 1413898 w 2240198"/>
                <a:gd name="connsiteY2126" fmla="*/ 881806 h 1729012"/>
                <a:gd name="connsiteX2127" fmla="*/ 1415544 w 2240198"/>
                <a:gd name="connsiteY2127" fmla="*/ 883837 h 1729012"/>
                <a:gd name="connsiteX2128" fmla="*/ 1416707 w 2240198"/>
                <a:gd name="connsiteY2128" fmla="*/ 886089 h 1729012"/>
                <a:gd name="connsiteX2129" fmla="*/ 1417341 w 2240198"/>
                <a:gd name="connsiteY2129" fmla="*/ 889014 h 1729012"/>
                <a:gd name="connsiteX2130" fmla="*/ 1416708 w 2240198"/>
                <a:gd name="connsiteY2130" fmla="*/ 890290 h 1729012"/>
                <a:gd name="connsiteX2131" fmla="*/ 1414273 w 2240198"/>
                <a:gd name="connsiteY2131" fmla="*/ 892218 h 1729012"/>
                <a:gd name="connsiteX2132" fmla="*/ 1413856 w 2240198"/>
                <a:gd name="connsiteY2132" fmla="*/ 893030 h 1729012"/>
                <a:gd name="connsiteX2133" fmla="*/ 1413928 w 2240198"/>
                <a:gd name="connsiteY2133" fmla="*/ 893692 h 1729012"/>
                <a:gd name="connsiteX2134" fmla="*/ 1418591 w 2240198"/>
                <a:gd name="connsiteY2134" fmla="*/ 896720 h 1729012"/>
                <a:gd name="connsiteX2135" fmla="*/ 1422050 w 2240198"/>
                <a:gd name="connsiteY2135" fmla="*/ 904027 h 1729012"/>
                <a:gd name="connsiteX2136" fmla="*/ 1422925 w 2240198"/>
                <a:gd name="connsiteY2136" fmla="*/ 904528 h 1729012"/>
                <a:gd name="connsiteX2137" fmla="*/ 1424016 w 2240198"/>
                <a:gd name="connsiteY2137" fmla="*/ 904242 h 1729012"/>
                <a:gd name="connsiteX2138" fmla="*/ 1425812 w 2240198"/>
                <a:gd name="connsiteY2138" fmla="*/ 902198 h 1729012"/>
                <a:gd name="connsiteX2139" fmla="*/ 1429838 w 2240198"/>
                <a:gd name="connsiteY2139" fmla="*/ 896309 h 1729012"/>
                <a:gd name="connsiteX2140" fmla="*/ 1430968 w 2240198"/>
                <a:gd name="connsiteY2140" fmla="*/ 895755 h 1729012"/>
                <a:gd name="connsiteX2141" fmla="*/ 1432662 w 2240198"/>
                <a:gd name="connsiteY2141" fmla="*/ 895845 h 1729012"/>
                <a:gd name="connsiteX2142" fmla="*/ 1438614 w 2240198"/>
                <a:gd name="connsiteY2142" fmla="*/ 899631 h 1729012"/>
                <a:gd name="connsiteX2143" fmla="*/ 1440805 w 2240198"/>
                <a:gd name="connsiteY2143" fmla="*/ 901741 h 1729012"/>
                <a:gd name="connsiteX2144" fmla="*/ 1441984 w 2240198"/>
                <a:gd name="connsiteY2144" fmla="*/ 904674 h 1729012"/>
                <a:gd name="connsiteX2145" fmla="*/ 1443217 w 2240198"/>
                <a:gd name="connsiteY2145" fmla="*/ 905817 h 1729012"/>
                <a:gd name="connsiteX2146" fmla="*/ 1447902 w 2240198"/>
                <a:gd name="connsiteY2146" fmla="*/ 907329 h 1729012"/>
                <a:gd name="connsiteX2147" fmla="*/ 1452403 w 2240198"/>
                <a:gd name="connsiteY2147" fmla="*/ 907834 h 1729012"/>
                <a:gd name="connsiteX2148" fmla="*/ 1458281 w 2240198"/>
                <a:gd name="connsiteY2148" fmla="*/ 909371 h 1729012"/>
                <a:gd name="connsiteX2149" fmla="*/ 1460401 w 2240198"/>
                <a:gd name="connsiteY2149" fmla="*/ 910522 h 1729012"/>
                <a:gd name="connsiteX2150" fmla="*/ 1465089 w 2240198"/>
                <a:gd name="connsiteY2150" fmla="*/ 916124 h 1729012"/>
                <a:gd name="connsiteX2151" fmla="*/ 1465629 w 2240198"/>
                <a:gd name="connsiteY2151" fmla="*/ 916466 h 1729012"/>
                <a:gd name="connsiteX2152" fmla="*/ 1470964 w 2240198"/>
                <a:gd name="connsiteY2152" fmla="*/ 918752 h 1729012"/>
                <a:gd name="connsiteX2153" fmla="*/ 1479152 w 2240198"/>
                <a:gd name="connsiteY2153" fmla="*/ 923836 h 1729012"/>
                <a:gd name="connsiteX2154" fmla="*/ 1481228 w 2240198"/>
                <a:gd name="connsiteY2154" fmla="*/ 924590 h 1729012"/>
                <a:gd name="connsiteX2155" fmla="*/ 1489192 w 2240198"/>
                <a:gd name="connsiteY2155" fmla="*/ 926262 h 1729012"/>
                <a:gd name="connsiteX2156" fmla="*/ 1492052 w 2240198"/>
                <a:gd name="connsiteY2156" fmla="*/ 927510 h 1729012"/>
                <a:gd name="connsiteX2157" fmla="*/ 1494813 w 2240198"/>
                <a:gd name="connsiteY2157" fmla="*/ 929409 h 1729012"/>
                <a:gd name="connsiteX2158" fmla="*/ 1497884 w 2240198"/>
                <a:gd name="connsiteY2158" fmla="*/ 932880 h 1729012"/>
                <a:gd name="connsiteX2159" fmla="*/ 1501477 w 2240198"/>
                <a:gd name="connsiteY2159" fmla="*/ 938327 h 1729012"/>
                <a:gd name="connsiteX2160" fmla="*/ 1504293 w 2240198"/>
                <a:gd name="connsiteY2160" fmla="*/ 947007 h 1729012"/>
                <a:gd name="connsiteX2161" fmla="*/ 1504515 w 2240198"/>
                <a:gd name="connsiteY2161" fmla="*/ 948718 h 1729012"/>
                <a:gd name="connsiteX2162" fmla="*/ 1504173 w 2240198"/>
                <a:gd name="connsiteY2162" fmla="*/ 949731 h 1729012"/>
                <a:gd name="connsiteX2163" fmla="*/ 1503157 w 2240198"/>
                <a:gd name="connsiteY2163" fmla="*/ 950812 h 1729012"/>
                <a:gd name="connsiteX2164" fmla="*/ 1498550 w 2240198"/>
                <a:gd name="connsiteY2164" fmla="*/ 954364 h 1729012"/>
                <a:gd name="connsiteX2165" fmla="*/ 1498944 w 2240198"/>
                <a:gd name="connsiteY2165" fmla="*/ 954965 h 1729012"/>
                <a:gd name="connsiteX2166" fmla="*/ 1503279 w 2240198"/>
                <a:gd name="connsiteY2166" fmla="*/ 954743 h 1729012"/>
                <a:gd name="connsiteX2167" fmla="*/ 1512927 w 2240198"/>
                <a:gd name="connsiteY2167" fmla="*/ 952560 h 1729012"/>
                <a:gd name="connsiteX2168" fmla="*/ 1518799 w 2240198"/>
                <a:gd name="connsiteY2168" fmla="*/ 954126 h 1729012"/>
                <a:gd name="connsiteX2169" fmla="*/ 1520840 w 2240198"/>
                <a:gd name="connsiteY2169" fmla="*/ 954372 h 1729012"/>
                <a:gd name="connsiteX2170" fmla="*/ 1521310 w 2240198"/>
                <a:gd name="connsiteY2170" fmla="*/ 954281 h 1729012"/>
                <a:gd name="connsiteX2171" fmla="*/ 1523437 w 2240198"/>
                <a:gd name="connsiteY2171" fmla="*/ 951559 h 1729012"/>
                <a:gd name="connsiteX2172" fmla="*/ 1525774 w 2240198"/>
                <a:gd name="connsiteY2172" fmla="*/ 951987 h 1729012"/>
                <a:gd name="connsiteX2173" fmla="*/ 1529189 w 2240198"/>
                <a:gd name="connsiteY2173" fmla="*/ 954626 h 1729012"/>
                <a:gd name="connsiteX2174" fmla="*/ 1531389 w 2240198"/>
                <a:gd name="connsiteY2174" fmla="*/ 956759 h 1729012"/>
                <a:gd name="connsiteX2175" fmla="*/ 1532370 w 2240198"/>
                <a:gd name="connsiteY2175" fmla="*/ 958382 h 1729012"/>
                <a:gd name="connsiteX2176" fmla="*/ 1532108 w 2240198"/>
                <a:gd name="connsiteY2176" fmla="*/ 959299 h 1729012"/>
                <a:gd name="connsiteX2177" fmla="*/ 1529850 w 2240198"/>
                <a:gd name="connsiteY2177" fmla="*/ 959612 h 1729012"/>
                <a:gd name="connsiteX2178" fmla="*/ 1535369 w 2240198"/>
                <a:gd name="connsiteY2178" fmla="*/ 961168 h 1729012"/>
                <a:gd name="connsiteX2179" fmla="*/ 1540168 w 2240198"/>
                <a:gd name="connsiteY2179" fmla="*/ 963629 h 1729012"/>
                <a:gd name="connsiteX2180" fmla="*/ 1539135 w 2240198"/>
                <a:gd name="connsiteY2180" fmla="*/ 965231 h 1729012"/>
                <a:gd name="connsiteX2181" fmla="*/ 1534014 w 2240198"/>
                <a:gd name="connsiteY2181" fmla="*/ 968793 h 1729012"/>
                <a:gd name="connsiteX2182" fmla="*/ 1528746 w 2240198"/>
                <a:gd name="connsiteY2182" fmla="*/ 971905 h 1729012"/>
                <a:gd name="connsiteX2183" fmla="*/ 1522616 w 2240198"/>
                <a:gd name="connsiteY2183" fmla="*/ 976566 h 1729012"/>
                <a:gd name="connsiteX2184" fmla="*/ 1521086 w 2240198"/>
                <a:gd name="connsiteY2184" fmla="*/ 977276 h 1729012"/>
                <a:gd name="connsiteX2185" fmla="*/ 1520261 w 2240198"/>
                <a:gd name="connsiteY2185" fmla="*/ 977316 h 1729012"/>
                <a:gd name="connsiteX2186" fmla="*/ 1516882 w 2240198"/>
                <a:gd name="connsiteY2186" fmla="*/ 976448 h 1729012"/>
                <a:gd name="connsiteX2187" fmla="*/ 1512012 w 2240198"/>
                <a:gd name="connsiteY2187" fmla="*/ 974247 h 1729012"/>
                <a:gd name="connsiteX2188" fmla="*/ 1497011 w 2240198"/>
                <a:gd name="connsiteY2188" fmla="*/ 969168 h 1729012"/>
                <a:gd name="connsiteX2189" fmla="*/ 1492380 w 2240198"/>
                <a:gd name="connsiteY2189" fmla="*/ 968093 h 1729012"/>
                <a:gd name="connsiteX2190" fmla="*/ 1486494 w 2240198"/>
                <a:gd name="connsiteY2190" fmla="*/ 967464 h 1729012"/>
                <a:gd name="connsiteX2191" fmla="*/ 1485642 w 2240198"/>
                <a:gd name="connsiteY2191" fmla="*/ 966267 h 1729012"/>
                <a:gd name="connsiteX2192" fmla="*/ 1484238 w 2240198"/>
                <a:gd name="connsiteY2192" fmla="*/ 958582 h 1729012"/>
                <a:gd name="connsiteX2193" fmla="*/ 1481590 w 2240198"/>
                <a:gd name="connsiteY2193" fmla="*/ 957219 h 1729012"/>
                <a:gd name="connsiteX2194" fmla="*/ 1472508 w 2240198"/>
                <a:gd name="connsiteY2194" fmla="*/ 955611 h 1729012"/>
                <a:gd name="connsiteX2195" fmla="*/ 1469865 w 2240198"/>
                <a:gd name="connsiteY2195" fmla="*/ 954688 h 1729012"/>
                <a:gd name="connsiteX2196" fmla="*/ 1469745 w 2240198"/>
                <a:gd name="connsiteY2196" fmla="*/ 953141 h 1729012"/>
                <a:gd name="connsiteX2197" fmla="*/ 1470315 w 2240198"/>
                <a:gd name="connsiteY2197" fmla="*/ 950483 h 1729012"/>
                <a:gd name="connsiteX2198" fmla="*/ 1469073 w 2240198"/>
                <a:gd name="connsiteY2198" fmla="*/ 949184 h 1729012"/>
                <a:gd name="connsiteX2199" fmla="*/ 1466020 w 2240198"/>
                <a:gd name="connsiteY2199" fmla="*/ 949246 h 1729012"/>
                <a:gd name="connsiteX2200" fmla="*/ 1463018 w 2240198"/>
                <a:gd name="connsiteY2200" fmla="*/ 949802 h 1729012"/>
                <a:gd name="connsiteX2201" fmla="*/ 1458190 w 2240198"/>
                <a:gd name="connsiteY2201" fmla="*/ 951610 h 1729012"/>
                <a:gd name="connsiteX2202" fmla="*/ 1455927 w 2240198"/>
                <a:gd name="connsiteY2202" fmla="*/ 953277 h 1729012"/>
                <a:gd name="connsiteX2203" fmla="*/ 1455078 w 2240198"/>
                <a:gd name="connsiteY2203" fmla="*/ 955085 h 1729012"/>
                <a:gd name="connsiteX2204" fmla="*/ 1454548 w 2240198"/>
                <a:gd name="connsiteY2204" fmla="*/ 958952 h 1729012"/>
                <a:gd name="connsiteX2205" fmla="*/ 1453949 w 2240198"/>
                <a:gd name="connsiteY2205" fmla="*/ 960778 h 1729012"/>
                <a:gd name="connsiteX2206" fmla="*/ 1452258 w 2240198"/>
                <a:gd name="connsiteY2206" fmla="*/ 963168 h 1729012"/>
                <a:gd name="connsiteX2207" fmla="*/ 1444808 w 2240198"/>
                <a:gd name="connsiteY2207" fmla="*/ 969352 h 1729012"/>
                <a:gd name="connsiteX2208" fmla="*/ 1441779 w 2240198"/>
                <a:gd name="connsiteY2208" fmla="*/ 971208 h 1729012"/>
                <a:gd name="connsiteX2209" fmla="*/ 1438765 w 2240198"/>
                <a:gd name="connsiteY2209" fmla="*/ 971740 h 1729012"/>
                <a:gd name="connsiteX2210" fmla="*/ 1437569 w 2240198"/>
                <a:gd name="connsiteY2210" fmla="*/ 972330 h 1729012"/>
                <a:gd name="connsiteX2211" fmla="*/ 1435543 w 2240198"/>
                <a:gd name="connsiteY2211" fmla="*/ 974607 h 1729012"/>
                <a:gd name="connsiteX2212" fmla="*/ 1432533 w 2240198"/>
                <a:gd name="connsiteY2212" fmla="*/ 980182 h 1729012"/>
                <a:gd name="connsiteX2213" fmla="*/ 1431307 w 2240198"/>
                <a:gd name="connsiteY2213" fmla="*/ 981785 h 1729012"/>
                <a:gd name="connsiteX2214" fmla="*/ 1429321 w 2240198"/>
                <a:gd name="connsiteY2214" fmla="*/ 983416 h 1729012"/>
                <a:gd name="connsiteX2215" fmla="*/ 1425196 w 2240198"/>
                <a:gd name="connsiteY2215" fmla="*/ 985905 h 1729012"/>
                <a:gd name="connsiteX2216" fmla="*/ 1420987 w 2240198"/>
                <a:gd name="connsiteY2216" fmla="*/ 987890 h 1729012"/>
                <a:gd name="connsiteX2217" fmla="*/ 1413974 w 2240198"/>
                <a:gd name="connsiteY2217" fmla="*/ 990201 h 1729012"/>
                <a:gd name="connsiteX2218" fmla="*/ 1410057 w 2240198"/>
                <a:gd name="connsiteY2218" fmla="*/ 990983 h 1729012"/>
                <a:gd name="connsiteX2219" fmla="*/ 1407448 w 2240198"/>
                <a:gd name="connsiteY2219" fmla="*/ 990209 h 1729012"/>
                <a:gd name="connsiteX2220" fmla="*/ 1405657 w 2240198"/>
                <a:gd name="connsiteY2220" fmla="*/ 984948 h 1729012"/>
                <a:gd name="connsiteX2221" fmla="*/ 1401904 w 2240198"/>
                <a:gd name="connsiteY2221" fmla="*/ 969429 h 1729012"/>
                <a:gd name="connsiteX2222" fmla="*/ 1401281 w 2240198"/>
                <a:gd name="connsiteY2222" fmla="*/ 968375 h 1729012"/>
                <a:gd name="connsiteX2223" fmla="*/ 1400514 w 2240198"/>
                <a:gd name="connsiteY2223" fmla="*/ 967723 h 1729012"/>
                <a:gd name="connsiteX2224" fmla="*/ 1399608 w 2240198"/>
                <a:gd name="connsiteY2224" fmla="*/ 967474 h 1729012"/>
                <a:gd name="connsiteX2225" fmla="*/ 1387010 w 2240198"/>
                <a:gd name="connsiteY2225" fmla="*/ 969476 h 1729012"/>
                <a:gd name="connsiteX2226" fmla="*/ 1380059 w 2240198"/>
                <a:gd name="connsiteY2226" fmla="*/ 969254 h 1729012"/>
                <a:gd name="connsiteX2227" fmla="*/ 1373182 w 2240198"/>
                <a:gd name="connsiteY2227" fmla="*/ 972752 h 1729012"/>
                <a:gd name="connsiteX2228" fmla="*/ 1371449 w 2240198"/>
                <a:gd name="connsiteY2228" fmla="*/ 973005 h 1729012"/>
                <a:gd name="connsiteX2229" fmla="*/ 1367957 w 2240198"/>
                <a:gd name="connsiteY2229" fmla="*/ 972893 h 1729012"/>
                <a:gd name="connsiteX2230" fmla="*/ 1365448 w 2240198"/>
                <a:gd name="connsiteY2230" fmla="*/ 972336 h 1729012"/>
                <a:gd name="connsiteX2231" fmla="*/ 1364807 w 2240198"/>
                <a:gd name="connsiteY2231" fmla="*/ 971955 h 1729012"/>
                <a:gd name="connsiteX2232" fmla="*/ 1364384 w 2240198"/>
                <a:gd name="connsiteY2232" fmla="*/ 970441 h 1729012"/>
                <a:gd name="connsiteX2233" fmla="*/ 1364509 w 2240198"/>
                <a:gd name="connsiteY2233" fmla="*/ 968854 h 1729012"/>
                <a:gd name="connsiteX2234" fmla="*/ 1365384 w 2240198"/>
                <a:gd name="connsiteY2234" fmla="*/ 967137 h 1729012"/>
                <a:gd name="connsiteX2235" fmla="*/ 1368490 w 2240198"/>
                <a:gd name="connsiteY2235" fmla="*/ 962481 h 1729012"/>
                <a:gd name="connsiteX2236" fmla="*/ 1371023 w 2240198"/>
                <a:gd name="connsiteY2236" fmla="*/ 959604 h 1729012"/>
                <a:gd name="connsiteX2237" fmla="*/ 1372189 w 2240198"/>
                <a:gd name="connsiteY2237" fmla="*/ 958713 h 1729012"/>
                <a:gd name="connsiteX2238" fmla="*/ 1383962 w 2240198"/>
                <a:gd name="connsiteY2238" fmla="*/ 953541 h 1729012"/>
                <a:gd name="connsiteX2239" fmla="*/ 1386831 w 2240198"/>
                <a:gd name="connsiteY2239" fmla="*/ 951836 h 1729012"/>
                <a:gd name="connsiteX2240" fmla="*/ 1388264 w 2240198"/>
                <a:gd name="connsiteY2240" fmla="*/ 950084 h 1729012"/>
                <a:gd name="connsiteX2241" fmla="*/ 1388261 w 2240198"/>
                <a:gd name="connsiteY2241" fmla="*/ 948283 h 1729012"/>
                <a:gd name="connsiteX2242" fmla="*/ 1387704 w 2240198"/>
                <a:gd name="connsiteY2242" fmla="*/ 945977 h 1729012"/>
                <a:gd name="connsiteX2243" fmla="*/ 1385667 w 2240198"/>
                <a:gd name="connsiteY2243" fmla="*/ 940343 h 1729012"/>
                <a:gd name="connsiteX2244" fmla="*/ 1385150 w 2240198"/>
                <a:gd name="connsiteY2244" fmla="*/ 935186 h 1729012"/>
                <a:gd name="connsiteX2245" fmla="*/ 1385166 w 2240198"/>
                <a:gd name="connsiteY2245" fmla="*/ 932618 h 1729012"/>
                <a:gd name="connsiteX2246" fmla="*/ 1385937 w 2240198"/>
                <a:gd name="connsiteY2246" fmla="*/ 928670 h 1729012"/>
                <a:gd name="connsiteX2247" fmla="*/ 1388884 w 2240198"/>
                <a:gd name="connsiteY2247" fmla="*/ 919071 h 1729012"/>
                <a:gd name="connsiteX2248" fmla="*/ 1389882 w 2240198"/>
                <a:gd name="connsiteY2248" fmla="*/ 914381 h 1729012"/>
                <a:gd name="connsiteX2249" fmla="*/ 1391760 w 2240198"/>
                <a:gd name="connsiteY2249" fmla="*/ 897555 h 1729012"/>
                <a:gd name="connsiteX2250" fmla="*/ 1392764 w 2240198"/>
                <a:gd name="connsiteY2250" fmla="*/ 892713 h 1729012"/>
                <a:gd name="connsiteX2251" fmla="*/ 1394223 w 2240198"/>
                <a:gd name="connsiteY2251" fmla="*/ 888283 h 1729012"/>
                <a:gd name="connsiteX2252" fmla="*/ 1395628 w 2240198"/>
                <a:gd name="connsiteY2252" fmla="*/ 885617 h 1729012"/>
                <a:gd name="connsiteX2253" fmla="*/ 1399373 w 2240198"/>
                <a:gd name="connsiteY2253" fmla="*/ 880283 h 1729012"/>
                <a:gd name="connsiteX2254" fmla="*/ 1402287 w 2240198"/>
                <a:gd name="connsiteY2254" fmla="*/ 878141 h 1729012"/>
                <a:gd name="connsiteX2255" fmla="*/ 1419215 w 2240198"/>
                <a:gd name="connsiteY2255" fmla="*/ 872177 h 1729012"/>
                <a:gd name="connsiteX2256" fmla="*/ 1421570 w 2240198"/>
                <a:gd name="connsiteY2256" fmla="*/ 872888 h 1729012"/>
                <a:gd name="connsiteX2257" fmla="*/ 1422044 w 2240198"/>
                <a:gd name="connsiteY2257" fmla="*/ 873371 h 1729012"/>
                <a:gd name="connsiteX2258" fmla="*/ 1422815 w 2240198"/>
                <a:gd name="connsiteY2258" fmla="*/ 874417 h 1729012"/>
                <a:gd name="connsiteX2259" fmla="*/ 1423321 w 2240198"/>
                <a:gd name="connsiteY2259" fmla="*/ 875698 h 1729012"/>
                <a:gd name="connsiteX2260" fmla="*/ 1426165 w 2240198"/>
                <a:gd name="connsiteY2260" fmla="*/ 879155 h 1729012"/>
                <a:gd name="connsiteX2261" fmla="*/ 1427829 w 2240198"/>
                <a:gd name="connsiteY2261" fmla="*/ 881904 h 1729012"/>
                <a:gd name="connsiteX2262" fmla="*/ 1430088 w 2240198"/>
                <a:gd name="connsiteY2262" fmla="*/ 887571 h 1729012"/>
                <a:gd name="connsiteX2263" fmla="*/ 1430098 w 2240198"/>
                <a:gd name="connsiteY2263" fmla="*/ 888649 h 1729012"/>
                <a:gd name="connsiteX2264" fmla="*/ 1429489 w 2240198"/>
                <a:gd name="connsiteY2264" fmla="*/ 889792 h 1729012"/>
                <a:gd name="connsiteX2265" fmla="*/ 1428259 w 2240198"/>
                <a:gd name="connsiteY2265" fmla="*/ 891002 h 1729012"/>
                <a:gd name="connsiteX2266" fmla="*/ 1426934 w 2240198"/>
                <a:gd name="connsiteY2266" fmla="*/ 891471 h 1729012"/>
                <a:gd name="connsiteX2267" fmla="*/ 1425517 w 2240198"/>
                <a:gd name="connsiteY2267" fmla="*/ 891206 h 1729012"/>
                <a:gd name="connsiteX2268" fmla="*/ 1424316 w 2240198"/>
                <a:gd name="connsiteY2268" fmla="*/ 890003 h 1729012"/>
                <a:gd name="connsiteX2269" fmla="*/ 1423336 w 2240198"/>
                <a:gd name="connsiteY2269" fmla="*/ 887855 h 1729012"/>
                <a:gd name="connsiteX2270" fmla="*/ 1421758 w 2240198"/>
                <a:gd name="connsiteY2270" fmla="*/ 886245 h 1729012"/>
                <a:gd name="connsiteX2271" fmla="*/ 1418187 w 2240198"/>
                <a:gd name="connsiteY2271" fmla="*/ 884235 h 1729012"/>
                <a:gd name="connsiteX2272" fmla="*/ 1417569 w 2240198"/>
                <a:gd name="connsiteY2272" fmla="*/ 883448 h 1729012"/>
                <a:gd name="connsiteX2273" fmla="*/ 1416556 w 2240198"/>
                <a:gd name="connsiteY2273" fmla="*/ 880748 h 1729012"/>
                <a:gd name="connsiteX2274" fmla="*/ 1416359 w 2240198"/>
                <a:gd name="connsiteY2274" fmla="*/ 878050 h 1729012"/>
                <a:gd name="connsiteX2275" fmla="*/ 1415595 w 2240198"/>
                <a:gd name="connsiteY2275" fmla="*/ 875604 h 1729012"/>
                <a:gd name="connsiteX2276" fmla="*/ 1415557 w 2240198"/>
                <a:gd name="connsiteY2276" fmla="*/ 874403 h 1729012"/>
                <a:gd name="connsiteX2277" fmla="*/ 1416218 w 2240198"/>
                <a:gd name="connsiteY2277" fmla="*/ 872600 h 1729012"/>
                <a:gd name="connsiteX2278" fmla="*/ 1435044 w 2240198"/>
                <a:gd name="connsiteY2278" fmla="*/ 867745 h 1729012"/>
                <a:gd name="connsiteX2279" fmla="*/ 1442268 w 2240198"/>
                <a:gd name="connsiteY2279" fmla="*/ 869979 h 1729012"/>
                <a:gd name="connsiteX2280" fmla="*/ 1446626 w 2240198"/>
                <a:gd name="connsiteY2280" fmla="*/ 872092 h 1729012"/>
                <a:gd name="connsiteX2281" fmla="*/ 1450771 w 2240198"/>
                <a:gd name="connsiteY2281" fmla="*/ 874681 h 1729012"/>
                <a:gd name="connsiteX2282" fmla="*/ 1452940 w 2240198"/>
                <a:gd name="connsiteY2282" fmla="*/ 876593 h 1729012"/>
                <a:gd name="connsiteX2283" fmla="*/ 1453136 w 2240198"/>
                <a:gd name="connsiteY2283" fmla="*/ 877839 h 1729012"/>
                <a:gd name="connsiteX2284" fmla="*/ 1452597 w 2240198"/>
                <a:gd name="connsiteY2284" fmla="*/ 879079 h 1729012"/>
                <a:gd name="connsiteX2285" fmla="*/ 1451323 w 2240198"/>
                <a:gd name="connsiteY2285" fmla="*/ 880317 h 1729012"/>
                <a:gd name="connsiteX2286" fmla="*/ 1452316 w 2240198"/>
                <a:gd name="connsiteY2286" fmla="*/ 881755 h 1729012"/>
                <a:gd name="connsiteX2287" fmla="*/ 1455574 w 2240198"/>
                <a:gd name="connsiteY2287" fmla="*/ 883396 h 1729012"/>
                <a:gd name="connsiteX2288" fmla="*/ 1458822 w 2240198"/>
                <a:gd name="connsiteY2288" fmla="*/ 884325 h 1729012"/>
                <a:gd name="connsiteX2289" fmla="*/ 1464051 w 2240198"/>
                <a:gd name="connsiteY2289" fmla="*/ 884822 h 1729012"/>
                <a:gd name="connsiteX2290" fmla="*/ 1464797 w 2240198"/>
                <a:gd name="connsiteY2290" fmla="*/ 885166 h 1729012"/>
                <a:gd name="connsiteX2291" fmla="*/ 1464793 w 2240198"/>
                <a:gd name="connsiteY2291" fmla="*/ 885936 h 1729012"/>
                <a:gd name="connsiteX2292" fmla="*/ 1464039 w 2240198"/>
                <a:gd name="connsiteY2292" fmla="*/ 887135 h 1729012"/>
                <a:gd name="connsiteX2293" fmla="*/ 1462295 w 2240198"/>
                <a:gd name="connsiteY2293" fmla="*/ 888667 h 1729012"/>
                <a:gd name="connsiteX2294" fmla="*/ 1461052 w 2240198"/>
                <a:gd name="connsiteY2294" fmla="*/ 888712 h 1729012"/>
                <a:gd name="connsiteX2295" fmla="*/ 1458162 w 2240198"/>
                <a:gd name="connsiteY2295" fmla="*/ 887629 h 1729012"/>
                <a:gd name="connsiteX2296" fmla="*/ 1457105 w 2240198"/>
                <a:gd name="connsiteY2296" fmla="*/ 887078 h 1729012"/>
                <a:gd name="connsiteX2297" fmla="*/ 1455937 w 2240198"/>
                <a:gd name="connsiteY2297" fmla="*/ 885851 h 1729012"/>
                <a:gd name="connsiteX2298" fmla="*/ 1455345 w 2240198"/>
                <a:gd name="connsiteY2298" fmla="*/ 885736 h 1729012"/>
                <a:gd name="connsiteX2299" fmla="*/ 1454588 w 2240198"/>
                <a:gd name="connsiteY2299" fmla="*/ 886148 h 1729012"/>
                <a:gd name="connsiteX2300" fmla="*/ 1454385 w 2240198"/>
                <a:gd name="connsiteY2300" fmla="*/ 886689 h 1729012"/>
                <a:gd name="connsiteX2301" fmla="*/ 1454734 w 2240198"/>
                <a:gd name="connsiteY2301" fmla="*/ 887363 h 1729012"/>
                <a:gd name="connsiteX2302" fmla="*/ 1454255 w 2240198"/>
                <a:gd name="connsiteY2302" fmla="*/ 887555 h 1729012"/>
                <a:gd name="connsiteX2303" fmla="*/ 1450756 w 2240198"/>
                <a:gd name="connsiteY2303" fmla="*/ 887090 h 1729012"/>
                <a:gd name="connsiteX2304" fmla="*/ 1450205 w 2240198"/>
                <a:gd name="connsiteY2304" fmla="*/ 886697 h 1729012"/>
                <a:gd name="connsiteX2305" fmla="*/ 1450485 w 2240198"/>
                <a:gd name="connsiteY2305" fmla="*/ 885376 h 1729012"/>
                <a:gd name="connsiteX2306" fmla="*/ 1452926 w 2240198"/>
                <a:gd name="connsiteY2306" fmla="*/ 883448 h 1729012"/>
                <a:gd name="connsiteX2307" fmla="*/ 1450781 w 2240198"/>
                <a:gd name="connsiteY2307" fmla="*/ 882854 h 1729012"/>
                <a:gd name="connsiteX2308" fmla="*/ 1450095 w 2240198"/>
                <a:gd name="connsiteY2308" fmla="*/ 882141 h 1729012"/>
                <a:gd name="connsiteX2309" fmla="*/ 1446915 w 2240198"/>
                <a:gd name="connsiteY2309" fmla="*/ 883354 h 1729012"/>
                <a:gd name="connsiteX2310" fmla="*/ 1445153 w 2240198"/>
                <a:gd name="connsiteY2310" fmla="*/ 883643 h 1729012"/>
                <a:gd name="connsiteX2311" fmla="*/ 1442370 w 2240198"/>
                <a:gd name="connsiteY2311" fmla="*/ 882798 h 1729012"/>
                <a:gd name="connsiteX2312" fmla="*/ 1442074 w 2240198"/>
                <a:gd name="connsiteY2312" fmla="*/ 878380 h 1729012"/>
                <a:gd name="connsiteX2313" fmla="*/ 1441737 w 2240198"/>
                <a:gd name="connsiteY2313" fmla="*/ 876768 h 1729012"/>
                <a:gd name="connsiteX2314" fmla="*/ 1440469 w 2240198"/>
                <a:gd name="connsiteY2314" fmla="*/ 875671 h 1729012"/>
                <a:gd name="connsiteX2315" fmla="*/ 1439715 w 2240198"/>
                <a:gd name="connsiteY2315" fmla="*/ 874513 h 1729012"/>
                <a:gd name="connsiteX2316" fmla="*/ 1438500 w 2240198"/>
                <a:gd name="connsiteY2316" fmla="*/ 873639 h 1729012"/>
                <a:gd name="connsiteX2317" fmla="*/ 1435984 w 2240198"/>
                <a:gd name="connsiteY2317" fmla="*/ 872751 h 1729012"/>
                <a:gd name="connsiteX2318" fmla="*/ 1433943 w 2240198"/>
                <a:gd name="connsiteY2318" fmla="*/ 870543 h 1729012"/>
                <a:gd name="connsiteX2319" fmla="*/ 1433517 w 2240198"/>
                <a:gd name="connsiteY2319" fmla="*/ 869541 h 1729012"/>
                <a:gd name="connsiteX2320" fmla="*/ 1433797 w 2240198"/>
                <a:gd name="connsiteY2320" fmla="*/ 868786 h 1729012"/>
                <a:gd name="connsiteX2321" fmla="*/ 1465089 w 2240198"/>
                <a:gd name="connsiteY2321" fmla="*/ 859091 h 1729012"/>
                <a:gd name="connsiteX2322" fmla="*/ 1467593 w 2240198"/>
                <a:gd name="connsiteY2322" fmla="*/ 861355 h 1729012"/>
                <a:gd name="connsiteX2323" fmla="*/ 1470119 w 2240198"/>
                <a:gd name="connsiteY2323" fmla="*/ 861867 h 1729012"/>
                <a:gd name="connsiteX2324" fmla="*/ 1472039 w 2240198"/>
                <a:gd name="connsiteY2324" fmla="*/ 861813 h 1729012"/>
                <a:gd name="connsiteX2325" fmla="*/ 1472465 w 2240198"/>
                <a:gd name="connsiteY2325" fmla="*/ 862428 h 1729012"/>
                <a:gd name="connsiteX2326" fmla="*/ 1470449 w 2240198"/>
                <a:gd name="connsiteY2326" fmla="*/ 864488 h 1729012"/>
                <a:gd name="connsiteX2327" fmla="*/ 1469206 w 2240198"/>
                <a:gd name="connsiteY2327" fmla="*/ 864874 h 1729012"/>
                <a:gd name="connsiteX2328" fmla="*/ 1466974 w 2240198"/>
                <a:gd name="connsiteY2328" fmla="*/ 863402 h 1729012"/>
                <a:gd name="connsiteX2329" fmla="*/ 1465301 w 2240198"/>
                <a:gd name="connsiteY2329" fmla="*/ 861598 h 1729012"/>
                <a:gd name="connsiteX2330" fmla="*/ 1464827 w 2240198"/>
                <a:gd name="connsiteY2330" fmla="*/ 860504 h 1729012"/>
                <a:gd name="connsiteX2331" fmla="*/ 1464694 w 2240198"/>
                <a:gd name="connsiteY2331" fmla="*/ 859299 h 1729012"/>
                <a:gd name="connsiteX2332" fmla="*/ 834464 w 2240198"/>
                <a:gd name="connsiteY2332" fmla="*/ 830693 h 1729012"/>
                <a:gd name="connsiteX2333" fmla="*/ 837665 w 2240198"/>
                <a:gd name="connsiteY2333" fmla="*/ 831031 h 1729012"/>
                <a:gd name="connsiteX2334" fmla="*/ 841746 w 2240198"/>
                <a:gd name="connsiteY2334" fmla="*/ 830975 h 1729012"/>
                <a:gd name="connsiteX2335" fmla="*/ 841040 w 2240198"/>
                <a:gd name="connsiteY2335" fmla="*/ 834273 h 1729012"/>
                <a:gd name="connsiteX2336" fmla="*/ 839473 w 2240198"/>
                <a:gd name="connsiteY2336" fmla="*/ 836383 h 1729012"/>
                <a:gd name="connsiteX2337" fmla="*/ 838237 w 2240198"/>
                <a:gd name="connsiteY2337" fmla="*/ 836982 h 1729012"/>
                <a:gd name="connsiteX2338" fmla="*/ 837699 w 2240198"/>
                <a:gd name="connsiteY2338" fmla="*/ 835829 h 1729012"/>
                <a:gd name="connsiteX2339" fmla="*/ 835301 w 2240198"/>
                <a:gd name="connsiteY2339" fmla="*/ 833184 h 1729012"/>
                <a:gd name="connsiteX2340" fmla="*/ 1991298 w 2240198"/>
                <a:gd name="connsiteY2340" fmla="*/ 822780 h 1729012"/>
                <a:gd name="connsiteX2341" fmla="*/ 1992641 w 2240198"/>
                <a:gd name="connsiteY2341" fmla="*/ 822847 h 1729012"/>
                <a:gd name="connsiteX2342" fmla="*/ 1993159 w 2240198"/>
                <a:gd name="connsiteY2342" fmla="*/ 823282 h 1729012"/>
                <a:gd name="connsiteX2343" fmla="*/ 1990921 w 2240198"/>
                <a:gd name="connsiteY2343" fmla="*/ 825172 h 1729012"/>
                <a:gd name="connsiteX2344" fmla="*/ 1985928 w 2240198"/>
                <a:gd name="connsiteY2344" fmla="*/ 828508 h 1729012"/>
                <a:gd name="connsiteX2345" fmla="*/ 1982787 w 2240198"/>
                <a:gd name="connsiteY2345" fmla="*/ 829683 h 1729012"/>
                <a:gd name="connsiteX2346" fmla="*/ 1981108 w 2240198"/>
                <a:gd name="connsiteY2346" fmla="*/ 828238 h 1729012"/>
                <a:gd name="connsiteX2347" fmla="*/ 1982288 w 2240198"/>
                <a:gd name="connsiteY2347" fmla="*/ 827831 h 1729012"/>
                <a:gd name="connsiteX2348" fmla="*/ 1984015 w 2240198"/>
                <a:gd name="connsiteY2348" fmla="*/ 826101 h 1729012"/>
                <a:gd name="connsiteX2349" fmla="*/ 1986363 w 2240198"/>
                <a:gd name="connsiteY2349" fmla="*/ 824572 h 1729012"/>
                <a:gd name="connsiteX2350" fmla="*/ 1987354 w 2240198"/>
                <a:gd name="connsiteY2350" fmla="*/ 823341 h 1729012"/>
                <a:gd name="connsiteX2351" fmla="*/ 835573 w 2240198"/>
                <a:gd name="connsiteY2351" fmla="*/ 802324 h 1729012"/>
                <a:gd name="connsiteX2352" fmla="*/ 837046 w 2240198"/>
                <a:gd name="connsiteY2352" fmla="*/ 804175 h 1729012"/>
                <a:gd name="connsiteX2353" fmla="*/ 837451 w 2240198"/>
                <a:gd name="connsiteY2353" fmla="*/ 807318 h 1729012"/>
                <a:gd name="connsiteX2354" fmla="*/ 837085 w 2240198"/>
                <a:gd name="connsiteY2354" fmla="*/ 808863 h 1729012"/>
                <a:gd name="connsiteX2355" fmla="*/ 838545 w 2240198"/>
                <a:gd name="connsiteY2355" fmla="*/ 810463 h 1729012"/>
                <a:gd name="connsiteX2356" fmla="*/ 839220 w 2240198"/>
                <a:gd name="connsiteY2356" fmla="*/ 810870 h 1729012"/>
                <a:gd name="connsiteX2357" fmla="*/ 839580 w 2240198"/>
                <a:gd name="connsiteY2357" fmla="*/ 812156 h 1729012"/>
                <a:gd name="connsiteX2358" fmla="*/ 839354 w 2240198"/>
                <a:gd name="connsiteY2358" fmla="*/ 813681 h 1729012"/>
                <a:gd name="connsiteX2359" fmla="*/ 838076 w 2240198"/>
                <a:gd name="connsiteY2359" fmla="*/ 817277 h 1729012"/>
                <a:gd name="connsiteX2360" fmla="*/ 837588 w 2240198"/>
                <a:gd name="connsiteY2360" fmla="*/ 816941 h 1729012"/>
                <a:gd name="connsiteX2361" fmla="*/ 836715 w 2240198"/>
                <a:gd name="connsiteY2361" fmla="*/ 815226 h 1729012"/>
                <a:gd name="connsiteX2362" fmla="*/ 834955 w 2240198"/>
                <a:gd name="connsiteY2362" fmla="*/ 814402 h 1729012"/>
                <a:gd name="connsiteX2363" fmla="*/ 832955 w 2240198"/>
                <a:gd name="connsiteY2363" fmla="*/ 812491 h 1729012"/>
                <a:gd name="connsiteX2364" fmla="*/ 832982 w 2240198"/>
                <a:gd name="connsiteY2364" fmla="*/ 808379 h 1729012"/>
                <a:gd name="connsiteX2365" fmla="*/ 833751 w 2240198"/>
                <a:gd name="connsiteY2365" fmla="*/ 806506 h 1729012"/>
                <a:gd name="connsiteX2366" fmla="*/ 833581 w 2240198"/>
                <a:gd name="connsiteY2366" fmla="*/ 803896 h 1729012"/>
                <a:gd name="connsiteX2367" fmla="*/ 807239 w 2240198"/>
                <a:gd name="connsiteY2367" fmla="*/ 788542 h 1729012"/>
                <a:gd name="connsiteX2368" fmla="*/ 810092 w 2240198"/>
                <a:gd name="connsiteY2368" fmla="*/ 788998 h 1729012"/>
                <a:gd name="connsiteX2369" fmla="*/ 812206 w 2240198"/>
                <a:gd name="connsiteY2369" fmla="*/ 788657 h 1729012"/>
                <a:gd name="connsiteX2370" fmla="*/ 813750 w 2240198"/>
                <a:gd name="connsiteY2370" fmla="*/ 790411 h 1729012"/>
                <a:gd name="connsiteX2371" fmla="*/ 814349 w 2240198"/>
                <a:gd name="connsiteY2371" fmla="*/ 792189 h 1729012"/>
                <a:gd name="connsiteX2372" fmla="*/ 814150 w 2240198"/>
                <a:gd name="connsiteY2372" fmla="*/ 792801 h 1729012"/>
                <a:gd name="connsiteX2373" fmla="*/ 813483 w 2240198"/>
                <a:gd name="connsiteY2373" fmla="*/ 793046 h 1729012"/>
                <a:gd name="connsiteX2374" fmla="*/ 809018 w 2240198"/>
                <a:gd name="connsiteY2374" fmla="*/ 791081 h 1729012"/>
                <a:gd name="connsiteX2375" fmla="*/ 807362 w 2240198"/>
                <a:gd name="connsiteY2375" fmla="*/ 789877 h 1729012"/>
                <a:gd name="connsiteX2376" fmla="*/ 806803 w 2240198"/>
                <a:gd name="connsiteY2376" fmla="*/ 788863 h 1729012"/>
                <a:gd name="connsiteX2377" fmla="*/ 1689312 w 2240198"/>
                <a:gd name="connsiteY2377" fmla="*/ 783700 h 1729012"/>
                <a:gd name="connsiteX2378" fmla="*/ 1696108 w 2240198"/>
                <a:gd name="connsiteY2378" fmla="*/ 785134 h 1729012"/>
                <a:gd name="connsiteX2379" fmla="*/ 1701956 w 2240198"/>
                <a:gd name="connsiteY2379" fmla="*/ 786819 h 1729012"/>
                <a:gd name="connsiteX2380" fmla="*/ 1709479 w 2240198"/>
                <a:gd name="connsiteY2380" fmla="*/ 787107 h 1729012"/>
                <a:gd name="connsiteX2381" fmla="*/ 1711768 w 2240198"/>
                <a:gd name="connsiteY2381" fmla="*/ 787747 h 1729012"/>
                <a:gd name="connsiteX2382" fmla="*/ 1712643 w 2240198"/>
                <a:gd name="connsiteY2382" fmla="*/ 788215 h 1729012"/>
                <a:gd name="connsiteX2383" fmla="*/ 1713252 w 2240198"/>
                <a:gd name="connsiteY2383" fmla="*/ 789081 h 1729012"/>
                <a:gd name="connsiteX2384" fmla="*/ 1714105 w 2240198"/>
                <a:gd name="connsiteY2384" fmla="*/ 793052 h 1729012"/>
                <a:gd name="connsiteX2385" fmla="*/ 1714191 w 2240198"/>
                <a:gd name="connsiteY2385" fmla="*/ 795171 h 1729012"/>
                <a:gd name="connsiteX2386" fmla="*/ 1713963 w 2240198"/>
                <a:gd name="connsiteY2386" fmla="*/ 796770 h 1729012"/>
                <a:gd name="connsiteX2387" fmla="*/ 1708523 w 2240198"/>
                <a:gd name="connsiteY2387" fmla="*/ 797171 h 1729012"/>
                <a:gd name="connsiteX2388" fmla="*/ 1696166 w 2240198"/>
                <a:gd name="connsiteY2388" fmla="*/ 797228 h 1729012"/>
                <a:gd name="connsiteX2389" fmla="*/ 1689446 w 2240198"/>
                <a:gd name="connsiteY2389" fmla="*/ 796921 h 1729012"/>
                <a:gd name="connsiteX2390" fmla="*/ 1686742 w 2240198"/>
                <a:gd name="connsiteY2390" fmla="*/ 796258 h 1729012"/>
                <a:gd name="connsiteX2391" fmla="*/ 1684393 w 2240198"/>
                <a:gd name="connsiteY2391" fmla="*/ 795226 h 1729012"/>
                <a:gd name="connsiteX2392" fmla="*/ 1681724 w 2240198"/>
                <a:gd name="connsiteY2392" fmla="*/ 791884 h 1729012"/>
                <a:gd name="connsiteX2393" fmla="*/ 1680016 w 2240198"/>
                <a:gd name="connsiteY2393" fmla="*/ 788436 h 1729012"/>
                <a:gd name="connsiteX2394" fmla="*/ 1679933 w 2240198"/>
                <a:gd name="connsiteY2394" fmla="*/ 786971 h 1729012"/>
                <a:gd name="connsiteX2395" fmla="*/ 1680385 w 2240198"/>
                <a:gd name="connsiteY2395" fmla="*/ 785648 h 1729012"/>
                <a:gd name="connsiteX2396" fmla="*/ 1681017 w 2240198"/>
                <a:gd name="connsiteY2396" fmla="*/ 784850 h 1729012"/>
                <a:gd name="connsiteX2397" fmla="*/ 799562 w 2240198"/>
                <a:gd name="connsiteY2397" fmla="*/ 783501 h 1729012"/>
                <a:gd name="connsiteX2398" fmla="*/ 802793 w 2240198"/>
                <a:gd name="connsiteY2398" fmla="*/ 785776 h 1729012"/>
                <a:gd name="connsiteX2399" fmla="*/ 803254 w 2240198"/>
                <a:gd name="connsiteY2399" fmla="*/ 787194 h 1729012"/>
                <a:gd name="connsiteX2400" fmla="*/ 803265 w 2240198"/>
                <a:gd name="connsiteY2400" fmla="*/ 788172 h 1729012"/>
                <a:gd name="connsiteX2401" fmla="*/ 802308 w 2240198"/>
                <a:gd name="connsiteY2401" fmla="*/ 788314 h 1729012"/>
                <a:gd name="connsiteX2402" fmla="*/ 798832 w 2240198"/>
                <a:gd name="connsiteY2402" fmla="*/ 785725 h 1729012"/>
                <a:gd name="connsiteX2403" fmla="*/ 1376852 w 2240198"/>
                <a:gd name="connsiteY2403" fmla="*/ 774423 h 1729012"/>
                <a:gd name="connsiteX2404" fmla="*/ 1380204 w 2240198"/>
                <a:gd name="connsiteY2404" fmla="*/ 775207 h 1729012"/>
                <a:gd name="connsiteX2405" fmla="*/ 1383196 w 2240198"/>
                <a:gd name="connsiteY2405" fmla="*/ 777931 h 1729012"/>
                <a:gd name="connsiteX2406" fmla="*/ 1383977 w 2240198"/>
                <a:gd name="connsiteY2406" fmla="*/ 779769 h 1729012"/>
                <a:gd name="connsiteX2407" fmla="*/ 1383744 w 2240198"/>
                <a:gd name="connsiteY2407" fmla="*/ 781724 h 1729012"/>
                <a:gd name="connsiteX2408" fmla="*/ 1384005 w 2240198"/>
                <a:gd name="connsiteY2408" fmla="*/ 784552 h 1729012"/>
                <a:gd name="connsiteX2409" fmla="*/ 1384757 w 2240198"/>
                <a:gd name="connsiteY2409" fmla="*/ 788257 h 1729012"/>
                <a:gd name="connsiteX2410" fmla="*/ 1384958 w 2240198"/>
                <a:gd name="connsiteY2410" fmla="*/ 790939 h 1729012"/>
                <a:gd name="connsiteX2411" fmla="*/ 1384603 w 2240198"/>
                <a:gd name="connsiteY2411" fmla="*/ 792606 h 1729012"/>
                <a:gd name="connsiteX2412" fmla="*/ 1383323 w 2240198"/>
                <a:gd name="connsiteY2412" fmla="*/ 795731 h 1729012"/>
                <a:gd name="connsiteX2413" fmla="*/ 1382239 w 2240198"/>
                <a:gd name="connsiteY2413" fmla="*/ 797181 h 1729012"/>
                <a:gd name="connsiteX2414" fmla="*/ 1380809 w 2240198"/>
                <a:gd name="connsiteY2414" fmla="*/ 798543 h 1729012"/>
                <a:gd name="connsiteX2415" fmla="*/ 1379555 w 2240198"/>
                <a:gd name="connsiteY2415" fmla="*/ 799247 h 1729012"/>
                <a:gd name="connsiteX2416" fmla="*/ 1378474 w 2240198"/>
                <a:gd name="connsiteY2416" fmla="*/ 799294 h 1729012"/>
                <a:gd name="connsiteX2417" fmla="*/ 1376755 w 2240198"/>
                <a:gd name="connsiteY2417" fmla="*/ 798631 h 1729012"/>
                <a:gd name="connsiteX2418" fmla="*/ 1372821 w 2240198"/>
                <a:gd name="connsiteY2418" fmla="*/ 796013 h 1729012"/>
                <a:gd name="connsiteX2419" fmla="*/ 1372025 w 2240198"/>
                <a:gd name="connsiteY2419" fmla="*/ 794881 h 1729012"/>
                <a:gd name="connsiteX2420" fmla="*/ 1371624 w 2240198"/>
                <a:gd name="connsiteY2420" fmla="*/ 793558 h 1729012"/>
                <a:gd name="connsiteX2421" fmla="*/ 1371621 w 2240198"/>
                <a:gd name="connsiteY2421" fmla="*/ 792041 h 1729012"/>
                <a:gd name="connsiteX2422" fmla="*/ 1371973 w 2240198"/>
                <a:gd name="connsiteY2422" fmla="*/ 790470 h 1729012"/>
                <a:gd name="connsiteX2423" fmla="*/ 1373177 w 2240198"/>
                <a:gd name="connsiteY2423" fmla="*/ 787328 h 1729012"/>
                <a:gd name="connsiteX2424" fmla="*/ 1370878 w 2240198"/>
                <a:gd name="connsiteY2424" fmla="*/ 784828 h 1729012"/>
                <a:gd name="connsiteX2425" fmla="*/ 1370318 w 2240198"/>
                <a:gd name="connsiteY2425" fmla="*/ 783404 h 1729012"/>
                <a:gd name="connsiteX2426" fmla="*/ 1370588 w 2240198"/>
                <a:gd name="connsiteY2426" fmla="*/ 782598 h 1729012"/>
                <a:gd name="connsiteX2427" fmla="*/ 1371869 w 2240198"/>
                <a:gd name="connsiteY2427" fmla="*/ 780668 h 1729012"/>
                <a:gd name="connsiteX2428" fmla="*/ 1372218 w 2240198"/>
                <a:gd name="connsiteY2428" fmla="*/ 779461 h 1729012"/>
                <a:gd name="connsiteX2429" fmla="*/ 1373508 w 2240198"/>
                <a:gd name="connsiteY2429" fmla="*/ 777747 h 1729012"/>
                <a:gd name="connsiteX2430" fmla="*/ 1651604 w 2240198"/>
                <a:gd name="connsiteY2430" fmla="*/ 773055 h 1729012"/>
                <a:gd name="connsiteX2431" fmla="*/ 1656439 w 2240198"/>
                <a:gd name="connsiteY2431" fmla="*/ 773682 h 1729012"/>
                <a:gd name="connsiteX2432" fmla="*/ 1669676 w 2240198"/>
                <a:gd name="connsiteY2432" fmla="*/ 777557 h 1729012"/>
                <a:gd name="connsiteX2433" fmla="*/ 1670961 w 2240198"/>
                <a:gd name="connsiteY2433" fmla="*/ 778963 h 1729012"/>
                <a:gd name="connsiteX2434" fmla="*/ 1671595 w 2240198"/>
                <a:gd name="connsiteY2434" fmla="*/ 780220 h 1729012"/>
                <a:gd name="connsiteX2435" fmla="*/ 1671966 w 2240198"/>
                <a:gd name="connsiteY2435" fmla="*/ 781615 h 1729012"/>
                <a:gd name="connsiteX2436" fmla="*/ 1671995 w 2240198"/>
                <a:gd name="connsiteY2436" fmla="*/ 784488 h 1729012"/>
                <a:gd name="connsiteX2437" fmla="*/ 1671729 w 2240198"/>
                <a:gd name="connsiteY2437" fmla="*/ 785638 h 1729012"/>
                <a:gd name="connsiteX2438" fmla="*/ 1670436 w 2240198"/>
                <a:gd name="connsiteY2438" fmla="*/ 788417 h 1729012"/>
                <a:gd name="connsiteX2439" fmla="*/ 1670347 w 2240198"/>
                <a:gd name="connsiteY2439" fmla="*/ 789289 h 1729012"/>
                <a:gd name="connsiteX2440" fmla="*/ 1671386 w 2240198"/>
                <a:gd name="connsiteY2440" fmla="*/ 798577 h 1729012"/>
                <a:gd name="connsiteX2441" fmla="*/ 1671281 w 2240198"/>
                <a:gd name="connsiteY2441" fmla="*/ 803628 h 1729012"/>
                <a:gd name="connsiteX2442" fmla="*/ 1670348 w 2240198"/>
                <a:gd name="connsiteY2442" fmla="*/ 807839 h 1729012"/>
                <a:gd name="connsiteX2443" fmla="*/ 1668455 w 2240198"/>
                <a:gd name="connsiteY2443" fmla="*/ 811209 h 1729012"/>
                <a:gd name="connsiteX2444" fmla="*/ 1665601 w 2240198"/>
                <a:gd name="connsiteY2444" fmla="*/ 813740 h 1729012"/>
                <a:gd name="connsiteX2445" fmla="*/ 1663431 w 2240198"/>
                <a:gd name="connsiteY2445" fmla="*/ 815191 h 1729012"/>
                <a:gd name="connsiteX2446" fmla="*/ 1653797 w 2240198"/>
                <a:gd name="connsiteY2446" fmla="*/ 818767 h 1729012"/>
                <a:gd name="connsiteX2447" fmla="*/ 1646978 w 2240198"/>
                <a:gd name="connsiteY2447" fmla="*/ 819692 h 1729012"/>
                <a:gd name="connsiteX2448" fmla="*/ 1639781 w 2240198"/>
                <a:gd name="connsiteY2448" fmla="*/ 819860 h 1729012"/>
                <a:gd name="connsiteX2449" fmla="*/ 1630624 w 2240198"/>
                <a:gd name="connsiteY2449" fmla="*/ 820816 h 1729012"/>
                <a:gd name="connsiteX2450" fmla="*/ 1626443 w 2240198"/>
                <a:gd name="connsiteY2450" fmla="*/ 820616 h 1729012"/>
                <a:gd name="connsiteX2451" fmla="*/ 1624279 w 2240198"/>
                <a:gd name="connsiteY2451" fmla="*/ 820196 h 1729012"/>
                <a:gd name="connsiteX2452" fmla="*/ 1622740 w 2240198"/>
                <a:gd name="connsiteY2452" fmla="*/ 819480 h 1729012"/>
                <a:gd name="connsiteX2453" fmla="*/ 1620938 w 2240198"/>
                <a:gd name="connsiteY2453" fmla="*/ 817216 h 1729012"/>
                <a:gd name="connsiteX2454" fmla="*/ 1618880 w 2240198"/>
                <a:gd name="connsiteY2454" fmla="*/ 813399 h 1729012"/>
                <a:gd name="connsiteX2455" fmla="*/ 1617177 w 2240198"/>
                <a:gd name="connsiteY2455" fmla="*/ 809095 h 1729012"/>
                <a:gd name="connsiteX2456" fmla="*/ 1615145 w 2240198"/>
                <a:gd name="connsiteY2456" fmla="*/ 801449 h 1729012"/>
                <a:gd name="connsiteX2457" fmla="*/ 1615106 w 2240198"/>
                <a:gd name="connsiteY2457" fmla="*/ 800540 h 1729012"/>
                <a:gd name="connsiteX2458" fmla="*/ 1617068 w 2240198"/>
                <a:gd name="connsiteY2458" fmla="*/ 794295 h 1729012"/>
                <a:gd name="connsiteX2459" fmla="*/ 1619671 w 2240198"/>
                <a:gd name="connsiteY2459" fmla="*/ 790079 h 1729012"/>
                <a:gd name="connsiteX2460" fmla="*/ 1624265 w 2240198"/>
                <a:gd name="connsiteY2460" fmla="*/ 783809 h 1729012"/>
                <a:gd name="connsiteX2461" fmla="*/ 1629451 w 2240198"/>
                <a:gd name="connsiteY2461" fmla="*/ 777679 h 1729012"/>
                <a:gd name="connsiteX2462" fmla="*/ 1630768 w 2240198"/>
                <a:gd name="connsiteY2462" fmla="*/ 776666 h 1729012"/>
                <a:gd name="connsiteX2463" fmla="*/ 1633112 w 2240198"/>
                <a:gd name="connsiteY2463" fmla="*/ 775591 h 1729012"/>
                <a:gd name="connsiteX2464" fmla="*/ 1638979 w 2240198"/>
                <a:gd name="connsiteY2464" fmla="*/ 773850 h 1729012"/>
                <a:gd name="connsiteX2465" fmla="*/ 1643839 w 2240198"/>
                <a:gd name="connsiteY2465" fmla="*/ 774283 h 1729012"/>
                <a:gd name="connsiteX2466" fmla="*/ 1645981 w 2240198"/>
                <a:gd name="connsiteY2466" fmla="*/ 774063 h 1729012"/>
                <a:gd name="connsiteX2467" fmla="*/ 1648657 w 2240198"/>
                <a:gd name="connsiteY2467" fmla="*/ 773252 h 1729012"/>
                <a:gd name="connsiteX2468" fmla="*/ 1573353 w 2240198"/>
                <a:gd name="connsiteY2468" fmla="*/ 772344 h 1729012"/>
                <a:gd name="connsiteX2469" fmla="*/ 1575480 w 2240198"/>
                <a:gd name="connsiteY2469" fmla="*/ 774218 h 1729012"/>
                <a:gd name="connsiteX2470" fmla="*/ 1576498 w 2240198"/>
                <a:gd name="connsiteY2470" fmla="*/ 776063 h 1729012"/>
                <a:gd name="connsiteX2471" fmla="*/ 1572589 w 2240198"/>
                <a:gd name="connsiteY2471" fmla="*/ 779360 h 1729012"/>
                <a:gd name="connsiteX2472" fmla="*/ 1570526 w 2240198"/>
                <a:gd name="connsiteY2472" fmla="*/ 779843 h 1729012"/>
                <a:gd name="connsiteX2473" fmla="*/ 1567738 w 2240198"/>
                <a:gd name="connsiteY2473" fmla="*/ 777517 h 1729012"/>
                <a:gd name="connsiteX2474" fmla="*/ 1567719 w 2240198"/>
                <a:gd name="connsiteY2474" fmla="*/ 776226 h 1729012"/>
                <a:gd name="connsiteX2475" fmla="*/ 1568259 w 2240198"/>
                <a:gd name="connsiteY2475" fmla="*/ 773124 h 1729012"/>
                <a:gd name="connsiteX2476" fmla="*/ 915235 w 2240198"/>
                <a:gd name="connsiteY2476" fmla="*/ 762287 h 1729012"/>
                <a:gd name="connsiteX2477" fmla="*/ 920480 w 2240198"/>
                <a:gd name="connsiteY2477" fmla="*/ 762512 h 1729012"/>
                <a:gd name="connsiteX2478" fmla="*/ 922976 w 2240198"/>
                <a:gd name="connsiteY2478" fmla="*/ 763180 h 1729012"/>
                <a:gd name="connsiteX2479" fmla="*/ 926269 w 2240198"/>
                <a:gd name="connsiteY2479" fmla="*/ 765733 h 1729012"/>
                <a:gd name="connsiteX2480" fmla="*/ 926968 w 2240198"/>
                <a:gd name="connsiteY2480" fmla="*/ 767177 h 1729012"/>
                <a:gd name="connsiteX2481" fmla="*/ 927072 w 2240198"/>
                <a:gd name="connsiteY2481" fmla="*/ 768108 h 1729012"/>
                <a:gd name="connsiteX2482" fmla="*/ 926648 w 2240198"/>
                <a:gd name="connsiteY2482" fmla="*/ 768915 h 1729012"/>
                <a:gd name="connsiteX2483" fmla="*/ 924530 w 2240198"/>
                <a:gd name="connsiteY2483" fmla="*/ 770023 h 1729012"/>
                <a:gd name="connsiteX2484" fmla="*/ 923128 w 2240198"/>
                <a:gd name="connsiteY2484" fmla="*/ 770186 h 1729012"/>
                <a:gd name="connsiteX2485" fmla="*/ 920504 w 2240198"/>
                <a:gd name="connsiteY2485" fmla="*/ 769481 h 1729012"/>
                <a:gd name="connsiteX2486" fmla="*/ 916658 w 2240198"/>
                <a:gd name="connsiteY2486" fmla="*/ 767913 h 1729012"/>
                <a:gd name="connsiteX2487" fmla="*/ 913765 w 2240198"/>
                <a:gd name="connsiteY2487" fmla="*/ 766251 h 1729012"/>
                <a:gd name="connsiteX2488" fmla="*/ 911825 w 2240198"/>
                <a:gd name="connsiteY2488" fmla="*/ 764500 h 1729012"/>
                <a:gd name="connsiteX2489" fmla="*/ 911582 w 2240198"/>
                <a:gd name="connsiteY2489" fmla="*/ 763289 h 1729012"/>
                <a:gd name="connsiteX2490" fmla="*/ 913036 w 2240198"/>
                <a:gd name="connsiteY2490" fmla="*/ 762621 h 1729012"/>
                <a:gd name="connsiteX2491" fmla="*/ 1668511 w 2240198"/>
                <a:gd name="connsiteY2491" fmla="*/ 757246 h 1729012"/>
                <a:gd name="connsiteX2492" fmla="*/ 1671682 w 2240198"/>
                <a:gd name="connsiteY2492" fmla="*/ 757748 h 1729012"/>
                <a:gd name="connsiteX2493" fmla="*/ 1673992 w 2240198"/>
                <a:gd name="connsiteY2493" fmla="*/ 759386 h 1729012"/>
                <a:gd name="connsiteX2494" fmla="*/ 1676498 w 2240198"/>
                <a:gd name="connsiteY2494" fmla="*/ 763924 h 1729012"/>
                <a:gd name="connsiteX2495" fmla="*/ 1678167 w 2240198"/>
                <a:gd name="connsiteY2495" fmla="*/ 766133 h 1729012"/>
                <a:gd name="connsiteX2496" fmla="*/ 1678692 w 2240198"/>
                <a:gd name="connsiteY2496" fmla="*/ 767736 h 1729012"/>
                <a:gd name="connsiteX2497" fmla="*/ 1677862 w 2240198"/>
                <a:gd name="connsiteY2497" fmla="*/ 768494 h 1729012"/>
                <a:gd name="connsiteX2498" fmla="*/ 1677940 w 2240198"/>
                <a:gd name="connsiteY2498" fmla="*/ 769238 h 1729012"/>
                <a:gd name="connsiteX2499" fmla="*/ 1678321 w 2240198"/>
                <a:gd name="connsiteY2499" fmla="*/ 769697 h 1729012"/>
                <a:gd name="connsiteX2500" fmla="*/ 1678177 w 2240198"/>
                <a:gd name="connsiteY2500" fmla="*/ 770542 h 1729012"/>
                <a:gd name="connsiteX2501" fmla="*/ 1677508 w 2240198"/>
                <a:gd name="connsiteY2501" fmla="*/ 771776 h 1729012"/>
                <a:gd name="connsiteX2502" fmla="*/ 1676597 w 2240198"/>
                <a:gd name="connsiteY2502" fmla="*/ 772534 h 1729012"/>
                <a:gd name="connsiteX2503" fmla="*/ 1674607 w 2240198"/>
                <a:gd name="connsiteY2503" fmla="*/ 772817 h 1729012"/>
                <a:gd name="connsiteX2504" fmla="*/ 1671737 w 2240198"/>
                <a:gd name="connsiteY2504" fmla="*/ 770100 h 1729012"/>
                <a:gd name="connsiteX2505" fmla="*/ 1665711 w 2240198"/>
                <a:gd name="connsiteY2505" fmla="*/ 767011 h 1729012"/>
                <a:gd name="connsiteX2506" fmla="*/ 1663427 w 2240198"/>
                <a:gd name="connsiteY2506" fmla="*/ 764766 h 1729012"/>
                <a:gd name="connsiteX2507" fmla="*/ 1663346 w 2240198"/>
                <a:gd name="connsiteY2507" fmla="*/ 763681 h 1729012"/>
                <a:gd name="connsiteX2508" fmla="*/ 1663530 w 2240198"/>
                <a:gd name="connsiteY2508" fmla="*/ 761977 h 1729012"/>
                <a:gd name="connsiteX2509" fmla="*/ 1664190 w 2240198"/>
                <a:gd name="connsiteY2509" fmla="*/ 759894 h 1729012"/>
                <a:gd name="connsiteX2510" fmla="*/ 1666289 w 2240198"/>
                <a:gd name="connsiteY2510" fmla="*/ 757614 h 1729012"/>
                <a:gd name="connsiteX2511" fmla="*/ 988614 w 2240198"/>
                <a:gd name="connsiteY2511" fmla="*/ 751529 h 1729012"/>
                <a:gd name="connsiteX2512" fmla="*/ 993305 w 2240198"/>
                <a:gd name="connsiteY2512" fmla="*/ 752699 h 1729012"/>
                <a:gd name="connsiteX2513" fmla="*/ 995056 w 2240198"/>
                <a:gd name="connsiteY2513" fmla="*/ 753776 h 1729012"/>
                <a:gd name="connsiteX2514" fmla="*/ 995725 w 2240198"/>
                <a:gd name="connsiteY2514" fmla="*/ 754714 h 1729012"/>
                <a:gd name="connsiteX2515" fmla="*/ 996012 w 2240198"/>
                <a:gd name="connsiteY2515" fmla="*/ 756008 h 1729012"/>
                <a:gd name="connsiteX2516" fmla="*/ 995748 w 2240198"/>
                <a:gd name="connsiteY2516" fmla="*/ 759186 h 1729012"/>
                <a:gd name="connsiteX2517" fmla="*/ 994169 w 2240198"/>
                <a:gd name="connsiteY2517" fmla="*/ 759860 h 1729012"/>
                <a:gd name="connsiteX2518" fmla="*/ 992860 w 2240198"/>
                <a:gd name="connsiteY2518" fmla="*/ 762088 h 1729012"/>
                <a:gd name="connsiteX2519" fmla="*/ 991813 w 2240198"/>
                <a:gd name="connsiteY2519" fmla="*/ 762148 h 1729012"/>
                <a:gd name="connsiteX2520" fmla="*/ 990357 w 2240198"/>
                <a:gd name="connsiteY2520" fmla="*/ 761361 h 1729012"/>
                <a:gd name="connsiteX2521" fmla="*/ 982199 w 2240198"/>
                <a:gd name="connsiteY2521" fmla="*/ 758678 h 1729012"/>
                <a:gd name="connsiteX2522" fmla="*/ 981140 w 2240198"/>
                <a:gd name="connsiteY2522" fmla="*/ 757869 h 1729012"/>
                <a:gd name="connsiteX2523" fmla="*/ 982094 w 2240198"/>
                <a:gd name="connsiteY2523" fmla="*/ 756740 h 1729012"/>
                <a:gd name="connsiteX2524" fmla="*/ 985065 w 2240198"/>
                <a:gd name="connsiteY2524" fmla="*/ 755285 h 1729012"/>
                <a:gd name="connsiteX2525" fmla="*/ 987067 w 2240198"/>
                <a:gd name="connsiteY2525" fmla="*/ 753802 h 1729012"/>
                <a:gd name="connsiteX2526" fmla="*/ 1026473 w 2240198"/>
                <a:gd name="connsiteY2526" fmla="*/ 742226 h 1729012"/>
                <a:gd name="connsiteX2527" fmla="*/ 1029169 w 2240198"/>
                <a:gd name="connsiteY2527" fmla="*/ 742536 h 1729012"/>
                <a:gd name="connsiteX2528" fmla="*/ 1031299 w 2240198"/>
                <a:gd name="connsiteY2528" fmla="*/ 743892 h 1729012"/>
                <a:gd name="connsiteX2529" fmla="*/ 1032338 w 2240198"/>
                <a:gd name="connsiteY2529" fmla="*/ 745664 h 1729012"/>
                <a:gd name="connsiteX2530" fmla="*/ 1034419 w 2240198"/>
                <a:gd name="connsiteY2530" fmla="*/ 747062 h 1729012"/>
                <a:gd name="connsiteX2531" fmla="*/ 1035141 w 2240198"/>
                <a:gd name="connsiteY2531" fmla="*/ 748049 h 1729012"/>
                <a:gd name="connsiteX2532" fmla="*/ 1034157 w 2240198"/>
                <a:gd name="connsiteY2532" fmla="*/ 752356 h 1729012"/>
                <a:gd name="connsiteX2533" fmla="*/ 1033357 w 2240198"/>
                <a:gd name="connsiteY2533" fmla="*/ 753755 h 1729012"/>
                <a:gd name="connsiteX2534" fmla="*/ 1032364 w 2240198"/>
                <a:gd name="connsiteY2534" fmla="*/ 754153 h 1729012"/>
                <a:gd name="connsiteX2535" fmla="*/ 1030392 w 2240198"/>
                <a:gd name="connsiteY2535" fmla="*/ 755800 h 1729012"/>
                <a:gd name="connsiteX2536" fmla="*/ 1029592 w 2240198"/>
                <a:gd name="connsiteY2536" fmla="*/ 756020 h 1729012"/>
                <a:gd name="connsiteX2537" fmla="*/ 1028443 w 2240198"/>
                <a:gd name="connsiteY2537" fmla="*/ 754972 h 1729012"/>
                <a:gd name="connsiteX2538" fmla="*/ 1027477 w 2240198"/>
                <a:gd name="connsiteY2538" fmla="*/ 753263 h 1729012"/>
                <a:gd name="connsiteX2539" fmla="*/ 1027066 w 2240198"/>
                <a:gd name="connsiteY2539" fmla="*/ 752995 h 1729012"/>
                <a:gd name="connsiteX2540" fmla="*/ 1026454 w 2240198"/>
                <a:gd name="connsiteY2540" fmla="*/ 753065 h 1729012"/>
                <a:gd name="connsiteX2541" fmla="*/ 1025126 w 2240198"/>
                <a:gd name="connsiteY2541" fmla="*/ 754153 h 1729012"/>
                <a:gd name="connsiteX2542" fmla="*/ 1024539 w 2240198"/>
                <a:gd name="connsiteY2542" fmla="*/ 754138 h 1729012"/>
                <a:gd name="connsiteX2543" fmla="*/ 1024047 w 2240198"/>
                <a:gd name="connsiteY2543" fmla="*/ 753408 h 1729012"/>
                <a:gd name="connsiteX2544" fmla="*/ 1023808 w 2240198"/>
                <a:gd name="connsiteY2544" fmla="*/ 751947 h 1729012"/>
                <a:gd name="connsiteX2545" fmla="*/ 1023827 w 2240198"/>
                <a:gd name="connsiteY2545" fmla="*/ 749761 h 1729012"/>
                <a:gd name="connsiteX2546" fmla="*/ 1024454 w 2240198"/>
                <a:gd name="connsiteY2546" fmla="*/ 746388 h 1729012"/>
                <a:gd name="connsiteX2547" fmla="*/ 1024493 w 2240198"/>
                <a:gd name="connsiteY2547" fmla="*/ 745156 h 1729012"/>
                <a:gd name="connsiteX2548" fmla="*/ 1024159 w 2240198"/>
                <a:gd name="connsiteY2548" fmla="*/ 744219 h 1729012"/>
                <a:gd name="connsiteX2549" fmla="*/ 1024436 w 2240198"/>
                <a:gd name="connsiteY2549" fmla="*/ 743365 h 1729012"/>
                <a:gd name="connsiteX2550" fmla="*/ 1025327 w 2240198"/>
                <a:gd name="connsiteY2550" fmla="*/ 742592 h 1729012"/>
                <a:gd name="connsiteX2551" fmla="*/ 1035784 w 2240198"/>
                <a:gd name="connsiteY2551" fmla="*/ 738024 h 1729012"/>
                <a:gd name="connsiteX2552" fmla="*/ 1037820 w 2240198"/>
                <a:gd name="connsiteY2552" fmla="*/ 738827 h 1729012"/>
                <a:gd name="connsiteX2553" fmla="*/ 1038770 w 2240198"/>
                <a:gd name="connsiteY2553" fmla="*/ 739935 h 1729012"/>
                <a:gd name="connsiteX2554" fmla="*/ 1039524 w 2240198"/>
                <a:gd name="connsiteY2554" fmla="*/ 741690 h 1729012"/>
                <a:gd name="connsiteX2555" fmla="*/ 1039802 w 2240198"/>
                <a:gd name="connsiteY2555" fmla="*/ 743183 h 1729012"/>
                <a:gd name="connsiteX2556" fmla="*/ 1039209 w 2240198"/>
                <a:gd name="connsiteY2556" fmla="*/ 745828 h 1729012"/>
                <a:gd name="connsiteX2557" fmla="*/ 1036083 w 2240198"/>
                <a:gd name="connsiteY2557" fmla="*/ 745120 h 1729012"/>
                <a:gd name="connsiteX2558" fmla="*/ 1034704 w 2240198"/>
                <a:gd name="connsiteY2558" fmla="*/ 744165 h 1729012"/>
                <a:gd name="connsiteX2559" fmla="*/ 1033530 w 2240198"/>
                <a:gd name="connsiteY2559" fmla="*/ 741990 h 1729012"/>
                <a:gd name="connsiteX2560" fmla="*/ 1033394 w 2240198"/>
                <a:gd name="connsiteY2560" fmla="*/ 741438 h 1729012"/>
                <a:gd name="connsiteX2561" fmla="*/ 1033655 w 2240198"/>
                <a:gd name="connsiteY2561" fmla="*/ 740607 h 1729012"/>
                <a:gd name="connsiteX2562" fmla="*/ 1034926 w 2240198"/>
                <a:gd name="connsiteY2562" fmla="*/ 738713 h 1729012"/>
                <a:gd name="connsiteX2563" fmla="*/ 1276424 w 2240198"/>
                <a:gd name="connsiteY2563" fmla="*/ 727098 h 1729012"/>
                <a:gd name="connsiteX2564" fmla="*/ 1278024 w 2240198"/>
                <a:gd name="connsiteY2564" fmla="*/ 727381 h 1729012"/>
                <a:gd name="connsiteX2565" fmla="*/ 1279542 w 2240198"/>
                <a:gd name="connsiteY2565" fmla="*/ 729315 h 1729012"/>
                <a:gd name="connsiteX2566" fmla="*/ 1280283 w 2240198"/>
                <a:gd name="connsiteY2566" fmla="*/ 730843 h 1729012"/>
                <a:gd name="connsiteX2567" fmla="*/ 1280924 w 2240198"/>
                <a:gd name="connsiteY2567" fmla="*/ 732800 h 1729012"/>
                <a:gd name="connsiteX2568" fmla="*/ 1280741 w 2240198"/>
                <a:gd name="connsiteY2568" fmla="*/ 733939 h 1729012"/>
                <a:gd name="connsiteX2569" fmla="*/ 1278665 w 2240198"/>
                <a:gd name="connsiteY2569" fmla="*/ 734460 h 1729012"/>
                <a:gd name="connsiteX2570" fmla="*/ 1277363 w 2240198"/>
                <a:gd name="connsiteY2570" fmla="*/ 732608 h 1729012"/>
                <a:gd name="connsiteX2571" fmla="*/ 1276307 w 2240198"/>
                <a:gd name="connsiteY2571" fmla="*/ 732226 h 1729012"/>
                <a:gd name="connsiteX2572" fmla="*/ 1275839 w 2240198"/>
                <a:gd name="connsiteY2572" fmla="*/ 730989 h 1729012"/>
                <a:gd name="connsiteX2573" fmla="*/ 1273666 w 2240198"/>
                <a:gd name="connsiteY2573" fmla="*/ 730747 h 1729012"/>
                <a:gd name="connsiteX2574" fmla="*/ 1273815 w 2240198"/>
                <a:gd name="connsiteY2574" fmla="*/ 728807 h 1729012"/>
                <a:gd name="connsiteX2575" fmla="*/ 1274406 w 2240198"/>
                <a:gd name="connsiteY2575" fmla="*/ 727852 h 1729012"/>
                <a:gd name="connsiteX2576" fmla="*/ 1585895 w 2240198"/>
                <a:gd name="connsiteY2576" fmla="*/ 726411 h 1729012"/>
                <a:gd name="connsiteX2577" fmla="*/ 1589074 w 2240198"/>
                <a:gd name="connsiteY2577" fmla="*/ 726566 h 1729012"/>
                <a:gd name="connsiteX2578" fmla="*/ 1589887 w 2240198"/>
                <a:gd name="connsiteY2578" fmla="*/ 726894 h 1729012"/>
                <a:gd name="connsiteX2579" fmla="*/ 1590598 w 2240198"/>
                <a:gd name="connsiteY2579" fmla="*/ 727677 h 1729012"/>
                <a:gd name="connsiteX2580" fmla="*/ 1591570 w 2240198"/>
                <a:gd name="connsiteY2580" fmla="*/ 729763 h 1729012"/>
                <a:gd name="connsiteX2581" fmla="*/ 1591701 w 2240198"/>
                <a:gd name="connsiteY2581" fmla="*/ 730237 h 1729012"/>
                <a:gd name="connsiteX2582" fmla="*/ 1590229 w 2240198"/>
                <a:gd name="connsiteY2582" fmla="*/ 732082 h 1729012"/>
                <a:gd name="connsiteX2583" fmla="*/ 1586376 w 2240198"/>
                <a:gd name="connsiteY2583" fmla="*/ 734917 h 1729012"/>
                <a:gd name="connsiteX2584" fmla="*/ 1583993 w 2240198"/>
                <a:gd name="connsiteY2584" fmla="*/ 737286 h 1729012"/>
                <a:gd name="connsiteX2585" fmla="*/ 1583516 w 2240198"/>
                <a:gd name="connsiteY2585" fmla="*/ 738060 h 1729012"/>
                <a:gd name="connsiteX2586" fmla="*/ 1583299 w 2240198"/>
                <a:gd name="connsiteY2586" fmla="*/ 739059 h 1729012"/>
                <a:gd name="connsiteX2587" fmla="*/ 1582402 w 2240198"/>
                <a:gd name="connsiteY2587" fmla="*/ 740269 h 1729012"/>
                <a:gd name="connsiteX2588" fmla="*/ 1579620 w 2240198"/>
                <a:gd name="connsiteY2588" fmla="*/ 743177 h 1729012"/>
                <a:gd name="connsiteX2589" fmla="*/ 1577749 w 2240198"/>
                <a:gd name="connsiteY2589" fmla="*/ 745983 h 1729012"/>
                <a:gd name="connsiteX2590" fmla="*/ 1575886 w 2240198"/>
                <a:gd name="connsiteY2590" fmla="*/ 747528 h 1729012"/>
                <a:gd name="connsiteX2591" fmla="*/ 1570791 w 2240198"/>
                <a:gd name="connsiteY2591" fmla="*/ 748981 h 1729012"/>
                <a:gd name="connsiteX2592" fmla="*/ 1566808 w 2240198"/>
                <a:gd name="connsiteY2592" fmla="*/ 750640 h 1729012"/>
                <a:gd name="connsiteX2593" fmla="*/ 1565057 w 2240198"/>
                <a:gd name="connsiteY2593" fmla="*/ 750938 h 1729012"/>
                <a:gd name="connsiteX2594" fmla="*/ 1562986 w 2240198"/>
                <a:gd name="connsiteY2594" fmla="*/ 750099 h 1729012"/>
                <a:gd name="connsiteX2595" fmla="*/ 1562249 w 2240198"/>
                <a:gd name="connsiteY2595" fmla="*/ 748658 h 1729012"/>
                <a:gd name="connsiteX2596" fmla="*/ 1561861 w 2240198"/>
                <a:gd name="connsiteY2596" fmla="*/ 747201 h 1729012"/>
                <a:gd name="connsiteX2597" fmla="*/ 1562232 w 2240198"/>
                <a:gd name="connsiteY2597" fmla="*/ 746451 h 1729012"/>
                <a:gd name="connsiteX2598" fmla="*/ 1563155 w 2240198"/>
                <a:gd name="connsiteY2598" fmla="*/ 745742 h 1729012"/>
                <a:gd name="connsiteX2599" fmla="*/ 1564410 w 2240198"/>
                <a:gd name="connsiteY2599" fmla="*/ 744125 h 1729012"/>
                <a:gd name="connsiteX2600" fmla="*/ 1565996 w 2240198"/>
                <a:gd name="connsiteY2600" fmla="*/ 741593 h 1729012"/>
                <a:gd name="connsiteX2601" fmla="*/ 1568474 w 2240198"/>
                <a:gd name="connsiteY2601" fmla="*/ 739895 h 1729012"/>
                <a:gd name="connsiteX2602" fmla="*/ 1573913 w 2240198"/>
                <a:gd name="connsiteY2602" fmla="*/ 738317 h 1729012"/>
                <a:gd name="connsiteX2603" fmla="*/ 1574685 w 2240198"/>
                <a:gd name="connsiteY2603" fmla="*/ 737760 h 1729012"/>
                <a:gd name="connsiteX2604" fmla="*/ 1577117 w 2240198"/>
                <a:gd name="connsiteY2604" fmla="*/ 733314 h 1729012"/>
                <a:gd name="connsiteX2605" fmla="*/ 1577936 w 2240198"/>
                <a:gd name="connsiteY2605" fmla="*/ 732551 h 1729012"/>
                <a:gd name="connsiteX2606" fmla="*/ 1580720 w 2240198"/>
                <a:gd name="connsiteY2606" fmla="*/ 732098 h 1729012"/>
                <a:gd name="connsiteX2607" fmla="*/ 1581019 w 2240198"/>
                <a:gd name="connsiteY2607" fmla="*/ 731524 h 1729012"/>
                <a:gd name="connsiteX2608" fmla="*/ 1580034 w 2240198"/>
                <a:gd name="connsiteY2608" fmla="*/ 730426 h 1729012"/>
                <a:gd name="connsiteX2609" fmla="*/ 1580034 w 2240198"/>
                <a:gd name="connsiteY2609" fmla="*/ 729293 h 1729012"/>
                <a:gd name="connsiteX2610" fmla="*/ 1581019 w 2240198"/>
                <a:gd name="connsiteY2610" fmla="*/ 728124 h 1729012"/>
                <a:gd name="connsiteX2611" fmla="*/ 1582376 w 2240198"/>
                <a:gd name="connsiteY2611" fmla="*/ 727257 h 1729012"/>
                <a:gd name="connsiteX2612" fmla="*/ 1287435 w 2240198"/>
                <a:gd name="connsiteY2612" fmla="*/ 724326 h 1729012"/>
                <a:gd name="connsiteX2613" fmla="*/ 1288164 w 2240198"/>
                <a:gd name="connsiteY2613" fmla="*/ 725085 h 1729012"/>
                <a:gd name="connsiteX2614" fmla="*/ 1288733 w 2240198"/>
                <a:gd name="connsiteY2614" fmla="*/ 727862 h 1729012"/>
                <a:gd name="connsiteX2615" fmla="*/ 1286453 w 2240198"/>
                <a:gd name="connsiteY2615" fmla="*/ 731626 h 1729012"/>
                <a:gd name="connsiteX2616" fmla="*/ 1285739 w 2240198"/>
                <a:gd name="connsiteY2616" fmla="*/ 732300 h 1729012"/>
                <a:gd name="connsiteX2617" fmla="*/ 1284856 w 2240198"/>
                <a:gd name="connsiteY2617" fmla="*/ 732550 h 1729012"/>
                <a:gd name="connsiteX2618" fmla="*/ 1283999 w 2240198"/>
                <a:gd name="connsiteY2618" fmla="*/ 732086 h 1729012"/>
                <a:gd name="connsiteX2619" fmla="*/ 1281447 w 2240198"/>
                <a:gd name="connsiteY2619" fmla="*/ 729131 h 1729012"/>
                <a:gd name="connsiteX2620" fmla="*/ 1280754 w 2240198"/>
                <a:gd name="connsiteY2620" fmla="*/ 727289 h 1729012"/>
                <a:gd name="connsiteX2621" fmla="*/ 1281690 w 2240198"/>
                <a:gd name="connsiteY2621" fmla="*/ 726367 h 1729012"/>
                <a:gd name="connsiteX2622" fmla="*/ 1283665 w 2240198"/>
                <a:gd name="connsiteY2622" fmla="*/ 725214 h 1729012"/>
                <a:gd name="connsiteX2623" fmla="*/ 1285065 w 2240198"/>
                <a:gd name="connsiteY2623" fmla="*/ 724654 h 1729012"/>
                <a:gd name="connsiteX2624" fmla="*/ 1286819 w 2240198"/>
                <a:gd name="connsiteY2624" fmla="*/ 725138 h 1729012"/>
                <a:gd name="connsiteX2625" fmla="*/ 1618108 w 2240198"/>
                <a:gd name="connsiteY2625" fmla="*/ 724145 h 1729012"/>
                <a:gd name="connsiteX2626" fmla="*/ 1620095 w 2240198"/>
                <a:gd name="connsiteY2626" fmla="*/ 724264 h 1729012"/>
                <a:gd name="connsiteX2627" fmla="*/ 1623013 w 2240198"/>
                <a:gd name="connsiteY2627" fmla="*/ 725413 h 1729012"/>
                <a:gd name="connsiteX2628" fmla="*/ 1629311 w 2240198"/>
                <a:gd name="connsiteY2628" fmla="*/ 725761 h 1729012"/>
                <a:gd name="connsiteX2629" fmla="*/ 1630874 w 2240198"/>
                <a:gd name="connsiteY2629" fmla="*/ 726818 h 1729012"/>
                <a:gd name="connsiteX2630" fmla="*/ 1631260 w 2240198"/>
                <a:gd name="connsiteY2630" fmla="*/ 727456 h 1729012"/>
                <a:gd name="connsiteX2631" fmla="*/ 1631230 w 2240198"/>
                <a:gd name="connsiteY2631" fmla="*/ 728242 h 1729012"/>
                <a:gd name="connsiteX2632" fmla="*/ 1630788 w 2240198"/>
                <a:gd name="connsiteY2632" fmla="*/ 729177 h 1729012"/>
                <a:gd name="connsiteX2633" fmla="*/ 1627673 w 2240198"/>
                <a:gd name="connsiteY2633" fmla="*/ 731902 h 1729012"/>
                <a:gd name="connsiteX2634" fmla="*/ 1626177 w 2240198"/>
                <a:gd name="connsiteY2634" fmla="*/ 733772 h 1729012"/>
                <a:gd name="connsiteX2635" fmla="*/ 1625114 w 2240198"/>
                <a:gd name="connsiteY2635" fmla="*/ 736010 h 1729012"/>
                <a:gd name="connsiteX2636" fmla="*/ 1622981 w 2240198"/>
                <a:gd name="connsiteY2636" fmla="*/ 737389 h 1729012"/>
                <a:gd name="connsiteX2637" fmla="*/ 1619779 w 2240198"/>
                <a:gd name="connsiteY2637" fmla="*/ 737907 h 1729012"/>
                <a:gd name="connsiteX2638" fmla="*/ 1617410 w 2240198"/>
                <a:gd name="connsiteY2638" fmla="*/ 737641 h 1729012"/>
                <a:gd name="connsiteX2639" fmla="*/ 1615875 w 2240198"/>
                <a:gd name="connsiteY2639" fmla="*/ 736591 h 1729012"/>
                <a:gd name="connsiteX2640" fmla="*/ 1614701 w 2240198"/>
                <a:gd name="connsiteY2640" fmla="*/ 735166 h 1729012"/>
                <a:gd name="connsiteX2641" fmla="*/ 1613243 w 2240198"/>
                <a:gd name="connsiteY2641" fmla="*/ 731576 h 1729012"/>
                <a:gd name="connsiteX2642" fmla="*/ 1613784 w 2240198"/>
                <a:gd name="connsiteY2642" fmla="*/ 729901 h 1729012"/>
                <a:gd name="connsiteX2643" fmla="*/ 1613951 w 2240198"/>
                <a:gd name="connsiteY2643" fmla="*/ 726896 h 1729012"/>
                <a:gd name="connsiteX2644" fmla="*/ 1614219 w 2240198"/>
                <a:gd name="connsiteY2644" fmla="*/ 725768 h 1729012"/>
                <a:gd name="connsiteX2645" fmla="*/ 1614782 w 2240198"/>
                <a:gd name="connsiteY2645" fmla="*/ 725210 h 1729012"/>
                <a:gd name="connsiteX2646" fmla="*/ 1006375 w 2240198"/>
                <a:gd name="connsiteY2646" fmla="*/ 718040 h 1729012"/>
                <a:gd name="connsiteX2647" fmla="*/ 1008100 w 2240198"/>
                <a:gd name="connsiteY2647" fmla="*/ 718155 h 1729012"/>
                <a:gd name="connsiteX2648" fmla="*/ 1011815 w 2240198"/>
                <a:gd name="connsiteY2648" fmla="*/ 719627 h 1729012"/>
                <a:gd name="connsiteX2649" fmla="*/ 1013520 w 2240198"/>
                <a:gd name="connsiteY2649" fmla="*/ 721661 h 1729012"/>
                <a:gd name="connsiteX2650" fmla="*/ 1014294 w 2240198"/>
                <a:gd name="connsiteY2650" fmla="*/ 723166 h 1729012"/>
                <a:gd name="connsiteX2651" fmla="*/ 1013062 w 2240198"/>
                <a:gd name="connsiteY2651" fmla="*/ 723390 h 1729012"/>
                <a:gd name="connsiteX2652" fmla="*/ 1012107 w 2240198"/>
                <a:gd name="connsiteY2652" fmla="*/ 723998 h 1729012"/>
                <a:gd name="connsiteX2653" fmla="*/ 1011091 w 2240198"/>
                <a:gd name="connsiteY2653" fmla="*/ 725283 h 1729012"/>
                <a:gd name="connsiteX2654" fmla="*/ 1009954 w 2240198"/>
                <a:gd name="connsiteY2654" fmla="*/ 726072 h 1729012"/>
                <a:gd name="connsiteX2655" fmla="*/ 1007881 w 2240198"/>
                <a:gd name="connsiteY2655" fmla="*/ 726457 h 1729012"/>
                <a:gd name="connsiteX2656" fmla="*/ 1007501 w 2240198"/>
                <a:gd name="connsiteY2656" fmla="*/ 726363 h 1729012"/>
                <a:gd name="connsiteX2657" fmla="*/ 1007678 w 2240198"/>
                <a:gd name="connsiteY2657" fmla="*/ 725143 h 1729012"/>
                <a:gd name="connsiteX2658" fmla="*/ 1007523 w 2240198"/>
                <a:gd name="connsiteY2658" fmla="*/ 724529 h 1729012"/>
                <a:gd name="connsiteX2659" fmla="*/ 1006968 w 2240198"/>
                <a:gd name="connsiteY2659" fmla="*/ 724092 h 1729012"/>
                <a:gd name="connsiteX2660" fmla="*/ 1008787 w 2240198"/>
                <a:gd name="connsiteY2660" fmla="*/ 723120 h 1729012"/>
                <a:gd name="connsiteX2661" fmla="*/ 1009053 w 2240198"/>
                <a:gd name="connsiteY2661" fmla="*/ 722362 h 1729012"/>
                <a:gd name="connsiteX2662" fmla="*/ 1008474 w 2240198"/>
                <a:gd name="connsiteY2662" fmla="*/ 721780 h 1729012"/>
                <a:gd name="connsiteX2663" fmla="*/ 1005981 w 2240198"/>
                <a:gd name="connsiteY2663" fmla="*/ 720674 h 1729012"/>
                <a:gd name="connsiteX2664" fmla="*/ 1005270 w 2240198"/>
                <a:gd name="connsiteY2664" fmla="*/ 719675 h 1729012"/>
                <a:gd name="connsiteX2665" fmla="*/ 1005400 w 2240198"/>
                <a:gd name="connsiteY2665" fmla="*/ 718797 h 1729012"/>
                <a:gd name="connsiteX2666" fmla="*/ 1146220 w 2240198"/>
                <a:gd name="connsiteY2666" fmla="*/ 715807 h 1729012"/>
                <a:gd name="connsiteX2667" fmla="*/ 1148530 w 2240198"/>
                <a:gd name="connsiteY2667" fmla="*/ 715870 h 1729012"/>
                <a:gd name="connsiteX2668" fmla="*/ 1151171 w 2240198"/>
                <a:gd name="connsiteY2668" fmla="*/ 716883 h 1729012"/>
                <a:gd name="connsiteX2669" fmla="*/ 1153423 w 2240198"/>
                <a:gd name="connsiteY2669" fmla="*/ 718150 h 1729012"/>
                <a:gd name="connsiteX2670" fmla="*/ 1156790 w 2240198"/>
                <a:gd name="connsiteY2670" fmla="*/ 721161 h 1729012"/>
                <a:gd name="connsiteX2671" fmla="*/ 1156760 w 2240198"/>
                <a:gd name="connsiteY2671" fmla="*/ 722620 h 1729012"/>
                <a:gd name="connsiteX2672" fmla="*/ 1156321 w 2240198"/>
                <a:gd name="connsiteY2672" fmla="*/ 725054 h 1729012"/>
                <a:gd name="connsiteX2673" fmla="*/ 1155355 w 2240198"/>
                <a:gd name="connsiteY2673" fmla="*/ 726905 h 1729012"/>
                <a:gd name="connsiteX2674" fmla="*/ 1153865 w 2240198"/>
                <a:gd name="connsiteY2674" fmla="*/ 728175 h 1729012"/>
                <a:gd name="connsiteX2675" fmla="*/ 1151778 w 2240198"/>
                <a:gd name="connsiteY2675" fmla="*/ 728812 h 1729012"/>
                <a:gd name="connsiteX2676" fmla="*/ 1149095 w 2240198"/>
                <a:gd name="connsiteY2676" fmla="*/ 728819 h 1729012"/>
                <a:gd name="connsiteX2677" fmla="*/ 1147934 w 2240198"/>
                <a:gd name="connsiteY2677" fmla="*/ 728288 h 1729012"/>
                <a:gd name="connsiteX2678" fmla="*/ 1148803 w 2240198"/>
                <a:gd name="connsiteY2678" fmla="*/ 726409 h 1729012"/>
                <a:gd name="connsiteX2679" fmla="*/ 1149455 w 2240198"/>
                <a:gd name="connsiteY2679" fmla="*/ 725851 h 1729012"/>
                <a:gd name="connsiteX2680" fmla="*/ 1149565 w 2240198"/>
                <a:gd name="connsiteY2680" fmla="*/ 724194 h 1729012"/>
                <a:gd name="connsiteX2681" fmla="*/ 1149134 w 2240198"/>
                <a:gd name="connsiteY2681" fmla="*/ 721444 h 1729012"/>
                <a:gd name="connsiteX2682" fmla="*/ 1148594 w 2240198"/>
                <a:gd name="connsiteY2682" fmla="*/ 719748 h 1729012"/>
                <a:gd name="connsiteX2683" fmla="*/ 1147085 w 2240198"/>
                <a:gd name="connsiteY2683" fmla="*/ 718779 h 1729012"/>
                <a:gd name="connsiteX2684" fmla="*/ 1146006 w 2240198"/>
                <a:gd name="connsiteY2684" fmla="*/ 718740 h 1729012"/>
                <a:gd name="connsiteX2685" fmla="*/ 1145712 w 2240198"/>
                <a:gd name="connsiteY2685" fmla="*/ 719635 h 1729012"/>
                <a:gd name="connsiteX2686" fmla="*/ 1146205 w 2240198"/>
                <a:gd name="connsiteY2686" fmla="*/ 721466 h 1729012"/>
                <a:gd name="connsiteX2687" fmla="*/ 1145863 w 2240198"/>
                <a:gd name="connsiteY2687" fmla="*/ 723833 h 1729012"/>
                <a:gd name="connsiteX2688" fmla="*/ 1144687 w 2240198"/>
                <a:gd name="connsiteY2688" fmla="*/ 726737 h 1729012"/>
                <a:gd name="connsiteX2689" fmla="*/ 1143792 w 2240198"/>
                <a:gd name="connsiteY2689" fmla="*/ 728100 h 1729012"/>
                <a:gd name="connsiteX2690" fmla="*/ 1142205 w 2240198"/>
                <a:gd name="connsiteY2690" fmla="*/ 727412 h 1729012"/>
                <a:gd name="connsiteX2691" fmla="*/ 1141447 w 2240198"/>
                <a:gd name="connsiteY2691" fmla="*/ 726304 h 1729012"/>
                <a:gd name="connsiteX2692" fmla="*/ 1141650 w 2240198"/>
                <a:gd name="connsiteY2692" fmla="*/ 724475 h 1729012"/>
                <a:gd name="connsiteX2693" fmla="*/ 1141224 w 2240198"/>
                <a:gd name="connsiteY2693" fmla="*/ 722817 h 1729012"/>
                <a:gd name="connsiteX2694" fmla="*/ 1141627 w 2240198"/>
                <a:gd name="connsiteY2694" fmla="*/ 721060 h 1729012"/>
                <a:gd name="connsiteX2695" fmla="*/ 1142708 w 2240198"/>
                <a:gd name="connsiteY2695" fmla="*/ 718446 h 1729012"/>
                <a:gd name="connsiteX2696" fmla="*/ 1144240 w 2240198"/>
                <a:gd name="connsiteY2696" fmla="*/ 716695 h 1729012"/>
                <a:gd name="connsiteX2697" fmla="*/ 47228 w 2240198"/>
                <a:gd name="connsiteY2697" fmla="*/ 714732 h 1729012"/>
                <a:gd name="connsiteX2698" fmla="*/ 48925 w 2240198"/>
                <a:gd name="connsiteY2698" fmla="*/ 714820 h 1729012"/>
                <a:gd name="connsiteX2699" fmla="*/ 52503 w 2240198"/>
                <a:gd name="connsiteY2699" fmla="*/ 716202 h 1729012"/>
                <a:gd name="connsiteX2700" fmla="*/ 53839 w 2240198"/>
                <a:gd name="connsiteY2700" fmla="*/ 717428 h 1729012"/>
                <a:gd name="connsiteX2701" fmla="*/ 49674 w 2240198"/>
                <a:gd name="connsiteY2701" fmla="*/ 718004 h 1729012"/>
                <a:gd name="connsiteX2702" fmla="*/ 47579 w 2240198"/>
                <a:gd name="connsiteY2702" fmla="*/ 719693 h 1729012"/>
                <a:gd name="connsiteX2703" fmla="*/ 44251 w 2240198"/>
                <a:gd name="connsiteY2703" fmla="*/ 717928 h 1729012"/>
                <a:gd name="connsiteX2704" fmla="*/ 43378 w 2240198"/>
                <a:gd name="connsiteY2704" fmla="*/ 717061 h 1729012"/>
                <a:gd name="connsiteX2705" fmla="*/ 1853383 w 2240198"/>
                <a:gd name="connsiteY2705" fmla="*/ 713281 h 1729012"/>
                <a:gd name="connsiteX2706" fmla="*/ 1855404 w 2240198"/>
                <a:gd name="connsiteY2706" fmla="*/ 713588 h 1729012"/>
                <a:gd name="connsiteX2707" fmla="*/ 1857294 w 2240198"/>
                <a:gd name="connsiteY2707" fmla="*/ 715549 h 1729012"/>
                <a:gd name="connsiteX2708" fmla="*/ 1855004 w 2240198"/>
                <a:gd name="connsiteY2708" fmla="*/ 717336 h 1729012"/>
                <a:gd name="connsiteX2709" fmla="*/ 1853235 w 2240198"/>
                <a:gd name="connsiteY2709" fmla="*/ 719618 h 1729012"/>
                <a:gd name="connsiteX2710" fmla="*/ 1852586 w 2240198"/>
                <a:gd name="connsiteY2710" fmla="*/ 719892 h 1729012"/>
                <a:gd name="connsiteX2711" fmla="*/ 1845940 w 2240198"/>
                <a:gd name="connsiteY2711" fmla="*/ 717845 h 1729012"/>
                <a:gd name="connsiteX2712" fmla="*/ 1845457 w 2240198"/>
                <a:gd name="connsiteY2712" fmla="*/ 716211 h 1729012"/>
                <a:gd name="connsiteX2713" fmla="*/ 1848706 w 2240198"/>
                <a:gd name="connsiteY2713" fmla="*/ 714398 h 1729012"/>
                <a:gd name="connsiteX2714" fmla="*/ 1851347 w 2240198"/>
                <a:gd name="connsiteY2714" fmla="*/ 713420 h 1729012"/>
                <a:gd name="connsiteX2715" fmla="*/ 1592417 w 2240198"/>
                <a:gd name="connsiteY2715" fmla="*/ 710681 h 1729012"/>
                <a:gd name="connsiteX2716" fmla="*/ 1593824 w 2240198"/>
                <a:gd name="connsiteY2716" fmla="*/ 710695 h 1729012"/>
                <a:gd name="connsiteX2717" fmla="*/ 1596769 w 2240198"/>
                <a:gd name="connsiteY2717" fmla="*/ 711791 h 1729012"/>
                <a:gd name="connsiteX2718" fmla="*/ 1598069 w 2240198"/>
                <a:gd name="connsiteY2718" fmla="*/ 714043 h 1729012"/>
                <a:gd name="connsiteX2719" fmla="*/ 1598289 w 2240198"/>
                <a:gd name="connsiteY2719" fmla="*/ 715211 h 1729012"/>
                <a:gd name="connsiteX2720" fmla="*/ 1596492 w 2240198"/>
                <a:gd name="connsiteY2720" fmla="*/ 716587 h 1729012"/>
                <a:gd name="connsiteX2721" fmla="*/ 1589716 w 2240198"/>
                <a:gd name="connsiteY2721" fmla="*/ 719130 h 1729012"/>
                <a:gd name="connsiteX2722" fmla="*/ 1585587 w 2240198"/>
                <a:gd name="connsiteY2722" fmla="*/ 721343 h 1729012"/>
                <a:gd name="connsiteX2723" fmla="*/ 1583500 w 2240198"/>
                <a:gd name="connsiteY2723" fmla="*/ 721836 h 1729012"/>
                <a:gd name="connsiteX2724" fmla="*/ 1580719 w 2240198"/>
                <a:gd name="connsiteY2724" fmla="*/ 721339 h 1729012"/>
                <a:gd name="connsiteX2725" fmla="*/ 1577340 w 2240198"/>
                <a:gd name="connsiteY2725" fmla="*/ 722366 h 1729012"/>
                <a:gd name="connsiteX2726" fmla="*/ 1575999 w 2240198"/>
                <a:gd name="connsiteY2726" fmla="*/ 722228 h 1729012"/>
                <a:gd name="connsiteX2727" fmla="*/ 1577492 w 2240198"/>
                <a:gd name="connsiteY2727" fmla="*/ 720418 h 1729012"/>
                <a:gd name="connsiteX2728" fmla="*/ 1582836 w 2240198"/>
                <a:gd name="connsiteY2728" fmla="*/ 715217 h 1729012"/>
                <a:gd name="connsiteX2729" fmla="*/ 1587317 w 2240198"/>
                <a:gd name="connsiteY2729" fmla="*/ 714685 h 1729012"/>
                <a:gd name="connsiteX2730" fmla="*/ 1588778 w 2240198"/>
                <a:gd name="connsiteY2730" fmla="*/ 713597 h 1729012"/>
                <a:gd name="connsiteX2731" fmla="*/ 1590013 w 2240198"/>
                <a:gd name="connsiteY2731" fmla="*/ 713942 h 1729012"/>
                <a:gd name="connsiteX2732" fmla="*/ 1590728 w 2240198"/>
                <a:gd name="connsiteY2732" fmla="*/ 713041 h 1729012"/>
                <a:gd name="connsiteX2733" fmla="*/ 1590852 w 2240198"/>
                <a:gd name="connsiteY2733" fmla="*/ 711703 h 1729012"/>
                <a:gd name="connsiteX2734" fmla="*/ 1557089 w 2240198"/>
                <a:gd name="connsiteY2734" fmla="*/ 707477 h 1729012"/>
                <a:gd name="connsiteX2735" fmla="*/ 1561230 w 2240198"/>
                <a:gd name="connsiteY2735" fmla="*/ 708502 h 1729012"/>
                <a:gd name="connsiteX2736" fmla="*/ 1562254 w 2240198"/>
                <a:gd name="connsiteY2736" fmla="*/ 711090 h 1729012"/>
                <a:gd name="connsiteX2737" fmla="*/ 1562896 w 2240198"/>
                <a:gd name="connsiteY2737" fmla="*/ 711906 h 1729012"/>
                <a:gd name="connsiteX2738" fmla="*/ 1561945 w 2240198"/>
                <a:gd name="connsiteY2738" fmla="*/ 713130 h 1729012"/>
                <a:gd name="connsiteX2739" fmla="*/ 1558133 w 2240198"/>
                <a:gd name="connsiteY2739" fmla="*/ 715576 h 1729012"/>
                <a:gd name="connsiteX2740" fmla="*/ 1549794 w 2240198"/>
                <a:gd name="connsiteY2740" fmla="*/ 716573 h 1729012"/>
                <a:gd name="connsiteX2741" fmla="*/ 1545590 w 2240198"/>
                <a:gd name="connsiteY2741" fmla="*/ 715420 h 1729012"/>
                <a:gd name="connsiteX2742" fmla="*/ 1547525 w 2240198"/>
                <a:gd name="connsiteY2742" fmla="*/ 718926 h 1729012"/>
                <a:gd name="connsiteX2743" fmla="*/ 1547949 w 2240198"/>
                <a:gd name="connsiteY2743" fmla="*/ 720403 h 1729012"/>
                <a:gd name="connsiteX2744" fmla="*/ 1547357 w 2240198"/>
                <a:gd name="connsiteY2744" fmla="*/ 721023 h 1729012"/>
                <a:gd name="connsiteX2745" fmla="*/ 1545606 w 2240198"/>
                <a:gd name="connsiteY2745" fmla="*/ 720834 h 1729012"/>
                <a:gd name="connsiteX2746" fmla="*/ 1542700 w 2240198"/>
                <a:gd name="connsiteY2746" fmla="*/ 719843 h 1729012"/>
                <a:gd name="connsiteX2747" fmla="*/ 1541029 w 2240198"/>
                <a:gd name="connsiteY2747" fmla="*/ 718654 h 1729012"/>
                <a:gd name="connsiteX2748" fmla="*/ 1540595 w 2240198"/>
                <a:gd name="connsiteY2748" fmla="*/ 717271 h 1729012"/>
                <a:gd name="connsiteX2749" fmla="*/ 1539981 w 2240198"/>
                <a:gd name="connsiteY2749" fmla="*/ 716964 h 1729012"/>
                <a:gd name="connsiteX2750" fmla="*/ 1539194 w 2240198"/>
                <a:gd name="connsiteY2750" fmla="*/ 717734 h 1729012"/>
                <a:gd name="connsiteX2751" fmla="*/ 1538436 w 2240198"/>
                <a:gd name="connsiteY2751" fmla="*/ 717559 h 1729012"/>
                <a:gd name="connsiteX2752" fmla="*/ 1536706 w 2240198"/>
                <a:gd name="connsiteY2752" fmla="*/ 715497 h 1729012"/>
                <a:gd name="connsiteX2753" fmla="*/ 1535433 w 2240198"/>
                <a:gd name="connsiteY2753" fmla="*/ 714728 h 1729012"/>
                <a:gd name="connsiteX2754" fmla="*/ 1527061 w 2240198"/>
                <a:gd name="connsiteY2754" fmla="*/ 713498 h 1729012"/>
                <a:gd name="connsiteX2755" fmla="*/ 1526641 w 2240198"/>
                <a:gd name="connsiteY2755" fmla="*/ 712946 h 1729012"/>
                <a:gd name="connsiteX2756" fmla="*/ 1527078 w 2240198"/>
                <a:gd name="connsiteY2756" fmla="*/ 711995 h 1729012"/>
                <a:gd name="connsiteX2757" fmla="*/ 1528369 w 2240198"/>
                <a:gd name="connsiteY2757" fmla="*/ 710640 h 1729012"/>
                <a:gd name="connsiteX2758" fmla="*/ 1530248 w 2240198"/>
                <a:gd name="connsiteY2758" fmla="*/ 710181 h 1729012"/>
                <a:gd name="connsiteX2759" fmla="*/ 1534980 w 2240198"/>
                <a:gd name="connsiteY2759" fmla="*/ 710789 h 1729012"/>
                <a:gd name="connsiteX2760" fmla="*/ 1535367 w 2240198"/>
                <a:gd name="connsiteY2760" fmla="*/ 710444 h 1729012"/>
                <a:gd name="connsiteX2761" fmla="*/ 1535680 w 2240198"/>
                <a:gd name="connsiteY2761" fmla="*/ 708732 h 1729012"/>
                <a:gd name="connsiteX2762" fmla="*/ 1536038 w 2240198"/>
                <a:gd name="connsiteY2762" fmla="*/ 708060 h 1729012"/>
                <a:gd name="connsiteX2763" fmla="*/ 1539316 w 2240198"/>
                <a:gd name="connsiteY2763" fmla="*/ 708232 h 1729012"/>
                <a:gd name="connsiteX2764" fmla="*/ 1541377 w 2240198"/>
                <a:gd name="connsiteY2764" fmla="*/ 707862 h 1729012"/>
                <a:gd name="connsiteX2765" fmla="*/ 1542513 w 2240198"/>
                <a:gd name="connsiteY2765" fmla="*/ 708744 h 1729012"/>
                <a:gd name="connsiteX2766" fmla="*/ 1543635 w 2240198"/>
                <a:gd name="connsiteY2766" fmla="*/ 710782 h 1729012"/>
                <a:gd name="connsiteX2767" fmla="*/ 1545227 w 2240198"/>
                <a:gd name="connsiteY2767" fmla="*/ 710410 h 1729012"/>
                <a:gd name="connsiteX2768" fmla="*/ 1547533 w 2240198"/>
                <a:gd name="connsiteY2768" fmla="*/ 710705 h 1729012"/>
                <a:gd name="connsiteX2769" fmla="*/ 1550101 w 2240198"/>
                <a:gd name="connsiteY2769" fmla="*/ 709959 h 1729012"/>
                <a:gd name="connsiteX2770" fmla="*/ 1554024 w 2240198"/>
                <a:gd name="connsiteY2770" fmla="*/ 708146 h 1729012"/>
                <a:gd name="connsiteX2771" fmla="*/ 1095685 w 2240198"/>
                <a:gd name="connsiteY2771" fmla="*/ 705167 h 1729012"/>
                <a:gd name="connsiteX2772" fmla="*/ 1098208 w 2240198"/>
                <a:gd name="connsiteY2772" fmla="*/ 706088 h 1729012"/>
                <a:gd name="connsiteX2773" fmla="*/ 1100410 w 2240198"/>
                <a:gd name="connsiteY2773" fmla="*/ 707853 h 1729012"/>
                <a:gd name="connsiteX2774" fmla="*/ 1105303 w 2240198"/>
                <a:gd name="connsiteY2774" fmla="*/ 710728 h 1729012"/>
                <a:gd name="connsiteX2775" fmla="*/ 1106034 w 2240198"/>
                <a:gd name="connsiteY2775" fmla="*/ 711904 h 1729012"/>
                <a:gd name="connsiteX2776" fmla="*/ 1105955 w 2240198"/>
                <a:gd name="connsiteY2776" fmla="*/ 712452 h 1729012"/>
                <a:gd name="connsiteX2777" fmla="*/ 1104066 w 2240198"/>
                <a:gd name="connsiteY2777" fmla="*/ 713241 h 1729012"/>
                <a:gd name="connsiteX2778" fmla="*/ 1103831 w 2240198"/>
                <a:gd name="connsiteY2778" fmla="*/ 713959 h 1729012"/>
                <a:gd name="connsiteX2779" fmla="*/ 1104591 w 2240198"/>
                <a:gd name="connsiteY2779" fmla="*/ 715045 h 1729012"/>
                <a:gd name="connsiteX2780" fmla="*/ 1105372 w 2240198"/>
                <a:gd name="connsiteY2780" fmla="*/ 715581 h 1729012"/>
                <a:gd name="connsiteX2781" fmla="*/ 1106842 w 2240198"/>
                <a:gd name="connsiteY2781" fmla="*/ 715126 h 1729012"/>
                <a:gd name="connsiteX2782" fmla="*/ 1107981 w 2240198"/>
                <a:gd name="connsiteY2782" fmla="*/ 713657 h 1729012"/>
                <a:gd name="connsiteX2783" fmla="*/ 1108674 w 2240198"/>
                <a:gd name="connsiteY2783" fmla="*/ 713380 h 1729012"/>
                <a:gd name="connsiteX2784" fmla="*/ 1109748 w 2240198"/>
                <a:gd name="connsiteY2784" fmla="*/ 713657 h 1729012"/>
                <a:gd name="connsiteX2785" fmla="*/ 1113292 w 2240198"/>
                <a:gd name="connsiteY2785" fmla="*/ 716290 h 1729012"/>
                <a:gd name="connsiteX2786" fmla="*/ 1116012 w 2240198"/>
                <a:gd name="connsiteY2786" fmla="*/ 719051 h 1729012"/>
                <a:gd name="connsiteX2787" fmla="*/ 1118899 w 2240198"/>
                <a:gd name="connsiteY2787" fmla="*/ 721008 h 1729012"/>
                <a:gd name="connsiteX2788" fmla="*/ 1123480 w 2240198"/>
                <a:gd name="connsiteY2788" fmla="*/ 722754 h 1729012"/>
                <a:gd name="connsiteX2789" fmla="*/ 1133485 w 2240198"/>
                <a:gd name="connsiteY2789" fmla="*/ 728431 h 1729012"/>
                <a:gd name="connsiteX2790" fmla="*/ 1136431 w 2240198"/>
                <a:gd name="connsiteY2790" fmla="*/ 732261 h 1729012"/>
                <a:gd name="connsiteX2791" fmla="*/ 1139544 w 2240198"/>
                <a:gd name="connsiteY2791" fmla="*/ 738204 h 1729012"/>
                <a:gd name="connsiteX2792" fmla="*/ 1142324 w 2240198"/>
                <a:gd name="connsiteY2792" fmla="*/ 742730 h 1729012"/>
                <a:gd name="connsiteX2793" fmla="*/ 1144770 w 2240198"/>
                <a:gd name="connsiteY2793" fmla="*/ 745847 h 1729012"/>
                <a:gd name="connsiteX2794" fmla="*/ 1147395 w 2240198"/>
                <a:gd name="connsiteY2794" fmla="*/ 748328 h 1729012"/>
                <a:gd name="connsiteX2795" fmla="*/ 1151601 w 2240198"/>
                <a:gd name="connsiteY2795" fmla="*/ 751099 h 1729012"/>
                <a:gd name="connsiteX2796" fmla="*/ 1155353 w 2240198"/>
                <a:gd name="connsiteY2796" fmla="*/ 749083 h 1729012"/>
                <a:gd name="connsiteX2797" fmla="*/ 1156960 w 2240198"/>
                <a:gd name="connsiteY2797" fmla="*/ 748572 h 1729012"/>
                <a:gd name="connsiteX2798" fmla="*/ 1158345 w 2240198"/>
                <a:gd name="connsiteY2798" fmla="*/ 749411 h 1729012"/>
                <a:gd name="connsiteX2799" fmla="*/ 1159657 w 2240198"/>
                <a:gd name="connsiteY2799" fmla="*/ 751499 h 1729012"/>
                <a:gd name="connsiteX2800" fmla="*/ 1158963 w 2240198"/>
                <a:gd name="connsiteY2800" fmla="*/ 752431 h 1729012"/>
                <a:gd name="connsiteX2801" fmla="*/ 1157332 w 2240198"/>
                <a:gd name="connsiteY2801" fmla="*/ 753611 h 1729012"/>
                <a:gd name="connsiteX2802" fmla="*/ 1154642 w 2240198"/>
                <a:gd name="connsiteY2802" fmla="*/ 754986 h 1729012"/>
                <a:gd name="connsiteX2803" fmla="*/ 1150873 w 2240198"/>
                <a:gd name="connsiteY2803" fmla="*/ 755084 h 1729012"/>
                <a:gd name="connsiteX2804" fmla="*/ 1149061 w 2240198"/>
                <a:gd name="connsiteY2804" fmla="*/ 755490 h 1729012"/>
                <a:gd name="connsiteX2805" fmla="*/ 1146107 w 2240198"/>
                <a:gd name="connsiteY2805" fmla="*/ 757671 h 1729012"/>
                <a:gd name="connsiteX2806" fmla="*/ 1143762 w 2240198"/>
                <a:gd name="connsiteY2806" fmla="*/ 760285 h 1729012"/>
                <a:gd name="connsiteX2807" fmla="*/ 1140481 w 2240198"/>
                <a:gd name="connsiteY2807" fmla="*/ 761165 h 1729012"/>
                <a:gd name="connsiteX2808" fmla="*/ 1134305 w 2240198"/>
                <a:gd name="connsiteY2808" fmla="*/ 765541 h 1729012"/>
                <a:gd name="connsiteX2809" fmla="*/ 1130908 w 2240198"/>
                <a:gd name="connsiteY2809" fmla="*/ 767178 h 1729012"/>
                <a:gd name="connsiteX2810" fmla="*/ 1125907 w 2240198"/>
                <a:gd name="connsiteY2810" fmla="*/ 767611 h 1729012"/>
                <a:gd name="connsiteX2811" fmla="*/ 1115522 w 2240198"/>
                <a:gd name="connsiteY2811" fmla="*/ 764187 h 1729012"/>
                <a:gd name="connsiteX2812" fmla="*/ 1109049 w 2240198"/>
                <a:gd name="connsiteY2812" fmla="*/ 764668 h 1729012"/>
                <a:gd name="connsiteX2813" fmla="*/ 1103766 w 2240198"/>
                <a:gd name="connsiteY2813" fmla="*/ 763966 h 1729012"/>
                <a:gd name="connsiteX2814" fmla="*/ 1097864 w 2240198"/>
                <a:gd name="connsiteY2814" fmla="*/ 760342 h 1729012"/>
                <a:gd name="connsiteX2815" fmla="*/ 1093285 w 2240198"/>
                <a:gd name="connsiteY2815" fmla="*/ 758289 h 1729012"/>
                <a:gd name="connsiteX2816" fmla="*/ 1084418 w 2240198"/>
                <a:gd name="connsiteY2816" fmla="*/ 755335 h 1729012"/>
                <a:gd name="connsiteX2817" fmla="*/ 1083837 w 2240198"/>
                <a:gd name="connsiteY2817" fmla="*/ 754897 h 1729012"/>
                <a:gd name="connsiteX2818" fmla="*/ 1083454 w 2240198"/>
                <a:gd name="connsiteY2818" fmla="*/ 753897 h 1729012"/>
                <a:gd name="connsiteX2819" fmla="*/ 1083274 w 2240198"/>
                <a:gd name="connsiteY2819" fmla="*/ 752335 h 1729012"/>
                <a:gd name="connsiteX2820" fmla="*/ 1082871 w 2240198"/>
                <a:gd name="connsiteY2820" fmla="*/ 751291 h 1729012"/>
                <a:gd name="connsiteX2821" fmla="*/ 1082250 w 2240198"/>
                <a:gd name="connsiteY2821" fmla="*/ 750761 h 1729012"/>
                <a:gd name="connsiteX2822" fmla="*/ 1080854 w 2240198"/>
                <a:gd name="connsiteY2822" fmla="*/ 750807 h 1729012"/>
                <a:gd name="connsiteX2823" fmla="*/ 1079428 w 2240198"/>
                <a:gd name="connsiteY2823" fmla="*/ 751840 h 1729012"/>
                <a:gd name="connsiteX2824" fmla="*/ 1076694 w 2240198"/>
                <a:gd name="connsiteY2824" fmla="*/ 752731 h 1729012"/>
                <a:gd name="connsiteX2825" fmla="*/ 1072532 w 2240198"/>
                <a:gd name="connsiteY2825" fmla="*/ 752530 h 1729012"/>
                <a:gd name="connsiteX2826" fmla="*/ 1070721 w 2240198"/>
                <a:gd name="connsiteY2826" fmla="*/ 751911 h 1729012"/>
                <a:gd name="connsiteX2827" fmla="*/ 1069341 w 2240198"/>
                <a:gd name="connsiteY2827" fmla="*/ 750943 h 1729012"/>
                <a:gd name="connsiteX2828" fmla="*/ 1068594 w 2240198"/>
                <a:gd name="connsiteY2828" fmla="*/ 749803 h 1729012"/>
                <a:gd name="connsiteX2829" fmla="*/ 1068477 w 2240198"/>
                <a:gd name="connsiteY2829" fmla="*/ 748498 h 1729012"/>
                <a:gd name="connsiteX2830" fmla="*/ 1068094 w 2240198"/>
                <a:gd name="connsiteY2830" fmla="*/ 747494 h 1729012"/>
                <a:gd name="connsiteX2831" fmla="*/ 1067444 w 2240198"/>
                <a:gd name="connsiteY2831" fmla="*/ 746785 h 1729012"/>
                <a:gd name="connsiteX2832" fmla="*/ 1065935 w 2240198"/>
                <a:gd name="connsiteY2832" fmla="*/ 746766 h 1729012"/>
                <a:gd name="connsiteX2833" fmla="*/ 1063567 w 2240198"/>
                <a:gd name="connsiteY2833" fmla="*/ 747439 h 1729012"/>
                <a:gd name="connsiteX2834" fmla="*/ 1062642 w 2240198"/>
                <a:gd name="connsiteY2834" fmla="*/ 748273 h 1729012"/>
                <a:gd name="connsiteX2835" fmla="*/ 1063161 w 2240198"/>
                <a:gd name="connsiteY2835" fmla="*/ 749262 h 1729012"/>
                <a:gd name="connsiteX2836" fmla="*/ 1062724 w 2240198"/>
                <a:gd name="connsiteY2836" fmla="*/ 749848 h 1729012"/>
                <a:gd name="connsiteX2837" fmla="*/ 1058581 w 2240198"/>
                <a:gd name="connsiteY2837" fmla="*/ 749855 h 1729012"/>
                <a:gd name="connsiteX2838" fmla="*/ 1056959 w 2240198"/>
                <a:gd name="connsiteY2838" fmla="*/ 749276 h 1729012"/>
                <a:gd name="connsiteX2839" fmla="*/ 1053842 w 2240198"/>
                <a:gd name="connsiteY2839" fmla="*/ 747439 h 1729012"/>
                <a:gd name="connsiteX2840" fmla="*/ 1052479 w 2240198"/>
                <a:gd name="connsiteY2840" fmla="*/ 745580 h 1729012"/>
                <a:gd name="connsiteX2841" fmla="*/ 1050719 w 2240198"/>
                <a:gd name="connsiteY2841" fmla="*/ 742267 h 1729012"/>
                <a:gd name="connsiteX2842" fmla="*/ 1050888 w 2240198"/>
                <a:gd name="connsiteY2842" fmla="*/ 741372 h 1729012"/>
                <a:gd name="connsiteX2843" fmla="*/ 1052007 w 2240198"/>
                <a:gd name="connsiteY2843" fmla="*/ 739354 h 1729012"/>
                <a:gd name="connsiteX2844" fmla="*/ 1053466 w 2240198"/>
                <a:gd name="connsiteY2844" fmla="*/ 737947 h 1729012"/>
                <a:gd name="connsiteX2845" fmla="*/ 1062854 w 2240198"/>
                <a:gd name="connsiteY2845" fmla="*/ 737121 h 1729012"/>
                <a:gd name="connsiteX2846" fmla="*/ 1067247 w 2240198"/>
                <a:gd name="connsiteY2846" fmla="*/ 736327 h 1729012"/>
                <a:gd name="connsiteX2847" fmla="*/ 1072029 w 2240198"/>
                <a:gd name="connsiteY2847" fmla="*/ 734027 h 1729012"/>
                <a:gd name="connsiteX2848" fmla="*/ 1077610 w 2240198"/>
                <a:gd name="connsiteY2848" fmla="*/ 730044 h 1729012"/>
                <a:gd name="connsiteX2849" fmla="*/ 1078817 w 2240198"/>
                <a:gd name="connsiteY2849" fmla="*/ 728865 h 1729012"/>
                <a:gd name="connsiteX2850" fmla="*/ 1078958 w 2240198"/>
                <a:gd name="connsiteY2850" fmla="*/ 727998 h 1729012"/>
                <a:gd name="connsiteX2851" fmla="*/ 1078547 w 2240198"/>
                <a:gd name="connsiteY2851" fmla="*/ 727060 h 1729012"/>
                <a:gd name="connsiteX2852" fmla="*/ 1076803 w 2240198"/>
                <a:gd name="connsiteY2852" fmla="*/ 724762 h 1729012"/>
                <a:gd name="connsiteX2853" fmla="*/ 1076215 w 2240198"/>
                <a:gd name="connsiteY2853" fmla="*/ 723188 h 1729012"/>
                <a:gd name="connsiteX2854" fmla="*/ 1076769 w 2240198"/>
                <a:gd name="connsiteY2854" fmla="*/ 722444 h 1729012"/>
                <a:gd name="connsiteX2855" fmla="*/ 1079008 w 2240198"/>
                <a:gd name="connsiteY2855" fmla="*/ 722376 h 1729012"/>
                <a:gd name="connsiteX2856" fmla="*/ 1077831 w 2240198"/>
                <a:gd name="connsiteY2856" fmla="*/ 721486 h 1729012"/>
                <a:gd name="connsiteX2857" fmla="*/ 1076828 w 2240198"/>
                <a:gd name="connsiteY2857" fmla="*/ 720226 h 1729012"/>
                <a:gd name="connsiteX2858" fmla="*/ 1076476 w 2240198"/>
                <a:gd name="connsiteY2858" fmla="*/ 719438 h 1729012"/>
                <a:gd name="connsiteX2859" fmla="*/ 1076534 w 2240198"/>
                <a:gd name="connsiteY2859" fmla="*/ 718184 h 1729012"/>
                <a:gd name="connsiteX2860" fmla="*/ 1078313 w 2240198"/>
                <a:gd name="connsiteY2860" fmla="*/ 717906 h 1729012"/>
                <a:gd name="connsiteX2861" fmla="*/ 1080506 w 2240198"/>
                <a:gd name="connsiteY2861" fmla="*/ 718537 h 1729012"/>
                <a:gd name="connsiteX2862" fmla="*/ 1084741 w 2240198"/>
                <a:gd name="connsiteY2862" fmla="*/ 722152 h 1729012"/>
                <a:gd name="connsiteX2863" fmla="*/ 1086429 w 2240198"/>
                <a:gd name="connsiteY2863" fmla="*/ 722855 h 1729012"/>
                <a:gd name="connsiteX2864" fmla="*/ 1089330 w 2240198"/>
                <a:gd name="connsiteY2864" fmla="*/ 723402 h 1729012"/>
                <a:gd name="connsiteX2865" fmla="*/ 1086245 w 2240198"/>
                <a:gd name="connsiteY2865" fmla="*/ 720909 h 1729012"/>
                <a:gd name="connsiteX2866" fmla="*/ 1083055 w 2240198"/>
                <a:gd name="connsiteY2866" fmla="*/ 715660 h 1729012"/>
                <a:gd name="connsiteX2867" fmla="*/ 1082657 w 2240198"/>
                <a:gd name="connsiteY2867" fmla="*/ 713847 h 1729012"/>
                <a:gd name="connsiteX2868" fmla="*/ 1082740 w 2240198"/>
                <a:gd name="connsiteY2868" fmla="*/ 712838 h 1729012"/>
                <a:gd name="connsiteX2869" fmla="*/ 1083577 w 2240198"/>
                <a:gd name="connsiteY2869" fmla="*/ 710009 h 1729012"/>
                <a:gd name="connsiteX2870" fmla="*/ 1084327 w 2240198"/>
                <a:gd name="connsiteY2870" fmla="*/ 708854 h 1729012"/>
                <a:gd name="connsiteX2871" fmla="*/ 1085294 w 2240198"/>
                <a:gd name="connsiteY2871" fmla="*/ 708088 h 1729012"/>
                <a:gd name="connsiteX2872" fmla="*/ 1088330 w 2240198"/>
                <a:gd name="connsiteY2872" fmla="*/ 706458 h 1729012"/>
                <a:gd name="connsiteX2873" fmla="*/ 1093194 w 2240198"/>
                <a:gd name="connsiteY2873" fmla="*/ 705320 h 1729012"/>
                <a:gd name="connsiteX2874" fmla="*/ 1366579 w 2240198"/>
                <a:gd name="connsiteY2874" fmla="*/ 692240 h 1729012"/>
                <a:gd name="connsiteX2875" fmla="*/ 1371504 w 2240198"/>
                <a:gd name="connsiteY2875" fmla="*/ 693761 h 1729012"/>
                <a:gd name="connsiteX2876" fmla="*/ 1374402 w 2240198"/>
                <a:gd name="connsiteY2876" fmla="*/ 694123 h 1729012"/>
                <a:gd name="connsiteX2877" fmla="*/ 1377129 w 2240198"/>
                <a:gd name="connsiteY2877" fmla="*/ 693679 h 1729012"/>
                <a:gd name="connsiteX2878" fmla="*/ 1379119 w 2240198"/>
                <a:gd name="connsiteY2878" fmla="*/ 694102 h 1729012"/>
                <a:gd name="connsiteX2879" fmla="*/ 1380371 w 2240198"/>
                <a:gd name="connsiteY2879" fmla="*/ 695396 h 1729012"/>
                <a:gd name="connsiteX2880" fmla="*/ 1381194 w 2240198"/>
                <a:gd name="connsiteY2880" fmla="*/ 696740 h 1729012"/>
                <a:gd name="connsiteX2881" fmla="*/ 1381592 w 2240198"/>
                <a:gd name="connsiteY2881" fmla="*/ 698129 h 1729012"/>
                <a:gd name="connsiteX2882" fmla="*/ 1380515 w 2240198"/>
                <a:gd name="connsiteY2882" fmla="*/ 699114 h 1729012"/>
                <a:gd name="connsiteX2883" fmla="*/ 1376036 w 2240198"/>
                <a:gd name="connsiteY2883" fmla="*/ 699975 h 1729012"/>
                <a:gd name="connsiteX2884" fmla="*/ 1372978 w 2240198"/>
                <a:gd name="connsiteY2884" fmla="*/ 699548 h 1729012"/>
                <a:gd name="connsiteX2885" fmla="*/ 1369705 w 2240198"/>
                <a:gd name="connsiteY2885" fmla="*/ 698397 h 1729012"/>
                <a:gd name="connsiteX2886" fmla="*/ 1368189 w 2240198"/>
                <a:gd name="connsiteY2886" fmla="*/ 698908 h 1729012"/>
                <a:gd name="connsiteX2887" fmla="*/ 1364461 w 2240198"/>
                <a:gd name="connsiteY2887" fmla="*/ 698060 h 1729012"/>
                <a:gd name="connsiteX2888" fmla="*/ 1362608 w 2240198"/>
                <a:gd name="connsiteY2888" fmla="*/ 696909 h 1729012"/>
                <a:gd name="connsiteX2889" fmla="*/ 1361103 w 2240198"/>
                <a:gd name="connsiteY2889" fmla="*/ 695265 h 1729012"/>
                <a:gd name="connsiteX2890" fmla="*/ 1361106 w 2240198"/>
                <a:gd name="connsiteY2890" fmla="*/ 694260 h 1729012"/>
                <a:gd name="connsiteX2891" fmla="*/ 1365037 w 2240198"/>
                <a:gd name="connsiteY2891" fmla="*/ 693124 h 1729012"/>
                <a:gd name="connsiteX2892" fmla="*/ 1023557 w 2240198"/>
                <a:gd name="connsiteY2892" fmla="*/ 668293 h 1729012"/>
                <a:gd name="connsiteX2893" fmla="*/ 1026026 w 2240198"/>
                <a:gd name="connsiteY2893" fmla="*/ 668371 h 1729012"/>
                <a:gd name="connsiteX2894" fmla="*/ 1028664 w 2240198"/>
                <a:gd name="connsiteY2894" fmla="*/ 669254 h 1729012"/>
                <a:gd name="connsiteX2895" fmla="*/ 1032665 w 2240198"/>
                <a:gd name="connsiteY2895" fmla="*/ 671771 h 1729012"/>
                <a:gd name="connsiteX2896" fmla="*/ 1031525 w 2240198"/>
                <a:gd name="connsiteY2896" fmla="*/ 672517 h 1729012"/>
                <a:gd name="connsiteX2897" fmla="*/ 1031470 w 2240198"/>
                <a:gd name="connsiteY2897" fmla="*/ 674166 h 1729012"/>
                <a:gd name="connsiteX2898" fmla="*/ 1031919 w 2240198"/>
                <a:gd name="connsiteY2898" fmla="*/ 675727 h 1729012"/>
                <a:gd name="connsiteX2899" fmla="*/ 1031848 w 2240198"/>
                <a:gd name="connsiteY2899" fmla="*/ 676303 h 1729012"/>
                <a:gd name="connsiteX2900" fmla="*/ 1031521 w 2240198"/>
                <a:gd name="connsiteY2900" fmla="*/ 676675 h 1729012"/>
                <a:gd name="connsiteX2901" fmla="*/ 1026043 w 2240198"/>
                <a:gd name="connsiteY2901" fmla="*/ 674965 h 1729012"/>
                <a:gd name="connsiteX2902" fmla="*/ 1023929 w 2240198"/>
                <a:gd name="connsiteY2902" fmla="*/ 673961 h 1729012"/>
                <a:gd name="connsiteX2903" fmla="*/ 1023242 w 2240198"/>
                <a:gd name="connsiteY2903" fmla="*/ 673216 h 1729012"/>
                <a:gd name="connsiteX2904" fmla="*/ 1022755 w 2240198"/>
                <a:gd name="connsiteY2904" fmla="*/ 671697 h 1729012"/>
                <a:gd name="connsiteX2905" fmla="*/ 1022467 w 2240198"/>
                <a:gd name="connsiteY2905" fmla="*/ 669402 h 1729012"/>
                <a:gd name="connsiteX2906" fmla="*/ 1176307 w 2240198"/>
                <a:gd name="connsiteY2906" fmla="*/ 606891 h 1729012"/>
                <a:gd name="connsiteX2907" fmla="*/ 1177678 w 2240198"/>
                <a:gd name="connsiteY2907" fmla="*/ 607265 h 1729012"/>
                <a:gd name="connsiteX2908" fmla="*/ 1179352 w 2240198"/>
                <a:gd name="connsiteY2908" fmla="*/ 610262 h 1729012"/>
                <a:gd name="connsiteX2909" fmla="*/ 1179663 w 2240198"/>
                <a:gd name="connsiteY2909" fmla="*/ 613423 h 1729012"/>
                <a:gd name="connsiteX2910" fmla="*/ 1183985 w 2240198"/>
                <a:gd name="connsiteY2910" fmla="*/ 617366 h 1729012"/>
                <a:gd name="connsiteX2911" fmla="*/ 1187462 w 2240198"/>
                <a:gd name="connsiteY2911" fmla="*/ 617670 h 1729012"/>
                <a:gd name="connsiteX2912" fmla="*/ 1189623 w 2240198"/>
                <a:gd name="connsiteY2912" fmla="*/ 617072 h 1729012"/>
                <a:gd name="connsiteX2913" fmla="*/ 1196616 w 2240198"/>
                <a:gd name="connsiteY2913" fmla="*/ 617302 h 1729012"/>
                <a:gd name="connsiteX2914" fmla="*/ 1198237 w 2240198"/>
                <a:gd name="connsiteY2914" fmla="*/ 618405 h 1729012"/>
                <a:gd name="connsiteX2915" fmla="*/ 1198120 w 2240198"/>
                <a:gd name="connsiteY2915" fmla="*/ 619636 h 1729012"/>
                <a:gd name="connsiteX2916" fmla="*/ 1197341 w 2240198"/>
                <a:gd name="connsiteY2916" fmla="*/ 621626 h 1729012"/>
                <a:gd name="connsiteX2917" fmla="*/ 1197818 w 2240198"/>
                <a:gd name="connsiteY2917" fmla="*/ 623330 h 1729012"/>
                <a:gd name="connsiteX2918" fmla="*/ 1202558 w 2240198"/>
                <a:gd name="connsiteY2918" fmla="*/ 626583 h 1729012"/>
                <a:gd name="connsiteX2919" fmla="*/ 1206828 w 2240198"/>
                <a:gd name="connsiteY2919" fmla="*/ 628831 h 1729012"/>
                <a:gd name="connsiteX2920" fmla="*/ 1210660 w 2240198"/>
                <a:gd name="connsiteY2920" fmla="*/ 631634 h 1729012"/>
                <a:gd name="connsiteX2921" fmla="*/ 1216367 w 2240198"/>
                <a:gd name="connsiteY2921" fmla="*/ 637479 h 1729012"/>
                <a:gd name="connsiteX2922" fmla="*/ 1217602 w 2240198"/>
                <a:gd name="connsiteY2922" fmla="*/ 639127 h 1729012"/>
                <a:gd name="connsiteX2923" fmla="*/ 1218461 w 2240198"/>
                <a:gd name="connsiteY2923" fmla="*/ 640909 h 1729012"/>
                <a:gd name="connsiteX2924" fmla="*/ 1219945 w 2240198"/>
                <a:gd name="connsiteY2924" fmla="*/ 647406 h 1729012"/>
                <a:gd name="connsiteX2925" fmla="*/ 1220134 w 2240198"/>
                <a:gd name="connsiteY2925" fmla="*/ 649867 h 1729012"/>
                <a:gd name="connsiteX2926" fmla="*/ 1219589 w 2240198"/>
                <a:gd name="connsiteY2926" fmla="*/ 656963 h 1729012"/>
                <a:gd name="connsiteX2927" fmla="*/ 1219139 w 2240198"/>
                <a:gd name="connsiteY2927" fmla="*/ 658301 h 1729012"/>
                <a:gd name="connsiteX2928" fmla="*/ 1217631 w 2240198"/>
                <a:gd name="connsiteY2928" fmla="*/ 659911 h 1729012"/>
                <a:gd name="connsiteX2929" fmla="*/ 1218151 w 2240198"/>
                <a:gd name="connsiteY2929" fmla="*/ 660562 h 1729012"/>
                <a:gd name="connsiteX2930" fmla="*/ 1222662 w 2240198"/>
                <a:gd name="connsiteY2930" fmla="*/ 662407 h 1729012"/>
                <a:gd name="connsiteX2931" fmla="*/ 1226246 w 2240198"/>
                <a:gd name="connsiteY2931" fmla="*/ 666063 h 1729012"/>
                <a:gd name="connsiteX2932" fmla="*/ 1228128 w 2240198"/>
                <a:gd name="connsiteY2932" fmla="*/ 667240 h 1729012"/>
                <a:gd name="connsiteX2933" fmla="*/ 1232666 w 2240198"/>
                <a:gd name="connsiteY2933" fmla="*/ 669207 h 1729012"/>
                <a:gd name="connsiteX2934" fmla="*/ 1233494 w 2240198"/>
                <a:gd name="connsiteY2934" fmla="*/ 669949 h 1729012"/>
                <a:gd name="connsiteX2935" fmla="*/ 1234519 w 2240198"/>
                <a:gd name="connsiteY2935" fmla="*/ 671178 h 1729012"/>
                <a:gd name="connsiteX2936" fmla="*/ 1237079 w 2240198"/>
                <a:gd name="connsiteY2936" fmla="*/ 676435 h 1729012"/>
                <a:gd name="connsiteX2937" fmla="*/ 1241271 w 2240198"/>
                <a:gd name="connsiteY2937" fmla="*/ 681162 h 1729012"/>
                <a:gd name="connsiteX2938" fmla="*/ 1241573 w 2240198"/>
                <a:gd name="connsiteY2938" fmla="*/ 682179 h 1729012"/>
                <a:gd name="connsiteX2939" fmla="*/ 1240675 w 2240198"/>
                <a:gd name="connsiteY2939" fmla="*/ 684400 h 1729012"/>
                <a:gd name="connsiteX2940" fmla="*/ 1241316 w 2240198"/>
                <a:gd name="connsiteY2940" fmla="*/ 685104 h 1729012"/>
                <a:gd name="connsiteX2941" fmla="*/ 1242934 w 2240198"/>
                <a:gd name="connsiteY2941" fmla="*/ 685915 h 1729012"/>
                <a:gd name="connsiteX2942" fmla="*/ 1244387 w 2240198"/>
                <a:gd name="connsiteY2942" fmla="*/ 685494 h 1729012"/>
                <a:gd name="connsiteX2943" fmla="*/ 1245672 w 2240198"/>
                <a:gd name="connsiteY2943" fmla="*/ 683834 h 1729012"/>
                <a:gd name="connsiteX2944" fmla="*/ 1247070 w 2240198"/>
                <a:gd name="connsiteY2944" fmla="*/ 683354 h 1729012"/>
                <a:gd name="connsiteX2945" fmla="*/ 1248581 w 2240198"/>
                <a:gd name="connsiteY2945" fmla="*/ 684056 h 1729012"/>
                <a:gd name="connsiteX2946" fmla="*/ 1249727 w 2240198"/>
                <a:gd name="connsiteY2946" fmla="*/ 685291 h 1729012"/>
                <a:gd name="connsiteX2947" fmla="*/ 1251288 w 2240198"/>
                <a:gd name="connsiteY2947" fmla="*/ 688313 h 1729012"/>
                <a:gd name="connsiteX2948" fmla="*/ 1253570 w 2240198"/>
                <a:gd name="connsiteY2948" fmla="*/ 690803 h 1729012"/>
                <a:gd name="connsiteX2949" fmla="*/ 1253379 w 2240198"/>
                <a:gd name="connsiteY2949" fmla="*/ 691563 h 1729012"/>
                <a:gd name="connsiteX2950" fmla="*/ 1252250 w 2240198"/>
                <a:gd name="connsiteY2950" fmla="*/ 692188 h 1729012"/>
                <a:gd name="connsiteX2951" fmla="*/ 1246102 w 2240198"/>
                <a:gd name="connsiteY2951" fmla="*/ 692878 h 1729012"/>
                <a:gd name="connsiteX2952" fmla="*/ 1242644 w 2240198"/>
                <a:gd name="connsiteY2952" fmla="*/ 692399 h 1729012"/>
                <a:gd name="connsiteX2953" fmla="*/ 1239447 w 2240198"/>
                <a:gd name="connsiteY2953" fmla="*/ 691183 h 1729012"/>
                <a:gd name="connsiteX2954" fmla="*/ 1237226 w 2240198"/>
                <a:gd name="connsiteY2954" fmla="*/ 689927 h 1729012"/>
                <a:gd name="connsiteX2955" fmla="*/ 1235155 w 2240198"/>
                <a:gd name="connsiteY2955" fmla="*/ 687999 h 1729012"/>
                <a:gd name="connsiteX2956" fmla="*/ 1234390 w 2240198"/>
                <a:gd name="connsiteY2956" fmla="*/ 688204 h 1729012"/>
                <a:gd name="connsiteX2957" fmla="*/ 1233305 w 2240198"/>
                <a:gd name="connsiteY2957" fmla="*/ 689776 h 1729012"/>
                <a:gd name="connsiteX2958" fmla="*/ 1230988 w 2240198"/>
                <a:gd name="connsiteY2958" fmla="*/ 692069 h 1729012"/>
                <a:gd name="connsiteX2959" fmla="*/ 1229537 w 2240198"/>
                <a:gd name="connsiteY2959" fmla="*/ 694187 h 1729012"/>
                <a:gd name="connsiteX2960" fmla="*/ 1231213 w 2240198"/>
                <a:gd name="connsiteY2960" fmla="*/ 695128 h 1729012"/>
                <a:gd name="connsiteX2961" fmla="*/ 1239297 w 2240198"/>
                <a:gd name="connsiteY2961" fmla="*/ 695066 h 1729012"/>
                <a:gd name="connsiteX2962" fmla="*/ 1241053 w 2240198"/>
                <a:gd name="connsiteY2962" fmla="*/ 695660 h 1729012"/>
                <a:gd name="connsiteX2963" fmla="*/ 1243107 w 2240198"/>
                <a:gd name="connsiteY2963" fmla="*/ 697147 h 1729012"/>
                <a:gd name="connsiteX2964" fmla="*/ 1240766 w 2240198"/>
                <a:gd name="connsiteY2964" fmla="*/ 699627 h 1729012"/>
                <a:gd name="connsiteX2965" fmla="*/ 1235296 w 2240198"/>
                <a:gd name="connsiteY2965" fmla="*/ 703788 h 1729012"/>
                <a:gd name="connsiteX2966" fmla="*/ 1223475 w 2240198"/>
                <a:gd name="connsiteY2966" fmla="*/ 711835 h 1729012"/>
                <a:gd name="connsiteX2967" fmla="*/ 1220005 w 2240198"/>
                <a:gd name="connsiteY2967" fmla="*/ 713895 h 1729012"/>
                <a:gd name="connsiteX2968" fmla="*/ 1220848 w 2240198"/>
                <a:gd name="connsiteY2968" fmla="*/ 714495 h 1729012"/>
                <a:gd name="connsiteX2969" fmla="*/ 1222165 w 2240198"/>
                <a:gd name="connsiteY2969" fmla="*/ 714649 h 1729012"/>
                <a:gd name="connsiteX2970" fmla="*/ 1226217 w 2240198"/>
                <a:gd name="connsiteY2970" fmla="*/ 714297 h 1729012"/>
                <a:gd name="connsiteX2971" fmla="*/ 1230005 w 2240198"/>
                <a:gd name="connsiteY2971" fmla="*/ 713220 h 1729012"/>
                <a:gd name="connsiteX2972" fmla="*/ 1234613 w 2240198"/>
                <a:gd name="connsiteY2972" fmla="*/ 713684 h 1729012"/>
                <a:gd name="connsiteX2973" fmla="*/ 1236665 w 2240198"/>
                <a:gd name="connsiteY2973" fmla="*/ 714563 h 1729012"/>
                <a:gd name="connsiteX2974" fmla="*/ 1235967 w 2240198"/>
                <a:gd name="connsiteY2974" fmla="*/ 715421 h 1729012"/>
                <a:gd name="connsiteX2975" fmla="*/ 1237215 w 2240198"/>
                <a:gd name="connsiteY2975" fmla="*/ 716816 h 1729012"/>
                <a:gd name="connsiteX2976" fmla="*/ 1244749 w 2240198"/>
                <a:gd name="connsiteY2976" fmla="*/ 720055 h 1729012"/>
                <a:gd name="connsiteX2977" fmla="*/ 1249512 w 2240198"/>
                <a:gd name="connsiteY2977" fmla="*/ 719410 h 1729012"/>
                <a:gd name="connsiteX2978" fmla="*/ 1254374 w 2240198"/>
                <a:gd name="connsiteY2978" fmla="*/ 716288 h 1729012"/>
                <a:gd name="connsiteX2979" fmla="*/ 1258131 w 2240198"/>
                <a:gd name="connsiteY2979" fmla="*/ 714739 h 1729012"/>
                <a:gd name="connsiteX2980" fmla="*/ 1262755 w 2240198"/>
                <a:gd name="connsiteY2980" fmla="*/ 714950 h 1729012"/>
                <a:gd name="connsiteX2981" fmla="*/ 1264048 w 2240198"/>
                <a:gd name="connsiteY2981" fmla="*/ 715293 h 1729012"/>
                <a:gd name="connsiteX2982" fmla="*/ 1263555 w 2240198"/>
                <a:gd name="connsiteY2982" fmla="*/ 716051 h 1729012"/>
                <a:gd name="connsiteX2983" fmla="*/ 1260139 w 2240198"/>
                <a:gd name="connsiteY2983" fmla="*/ 717805 h 1729012"/>
                <a:gd name="connsiteX2984" fmla="*/ 1257049 w 2240198"/>
                <a:gd name="connsiteY2984" fmla="*/ 719755 h 1729012"/>
                <a:gd name="connsiteX2985" fmla="*/ 1256718 w 2240198"/>
                <a:gd name="connsiteY2985" fmla="*/ 720305 h 1729012"/>
                <a:gd name="connsiteX2986" fmla="*/ 1260568 w 2240198"/>
                <a:gd name="connsiteY2986" fmla="*/ 719517 h 1729012"/>
                <a:gd name="connsiteX2987" fmla="*/ 1269136 w 2240198"/>
                <a:gd name="connsiteY2987" fmla="*/ 720763 h 1729012"/>
                <a:gd name="connsiteX2988" fmla="*/ 1273306 w 2240198"/>
                <a:gd name="connsiteY2988" fmla="*/ 721072 h 1729012"/>
                <a:gd name="connsiteX2989" fmla="*/ 1276326 w 2240198"/>
                <a:gd name="connsiteY2989" fmla="*/ 720760 h 1729012"/>
                <a:gd name="connsiteX2990" fmla="*/ 1279158 w 2240198"/>
                <a:gd name="connsiteY2990" fmla="*/ 721256 h 1729012"/>
                <a:gd name="connsiteX2991" fmla="*/ 1281806 w 2240198"/>
                <a:gd name="connsiteY2991" fmla="*/ 722560 h 1729012"/>
                <a:gd name="connsiteX2992" fmla="*/ 1282692 w 2240198"/>
                <a:gd name="connsiteY2992" fmla="*/ 723387 h 1729012"/>
                <a:gd name="connsiteX2993" fmla="*/ 1280214 w 2240198"/>
                <a:gd name="connsiteY2993" fmla="*/ 723920 h 1729012"/>
                <a:gd name="connsiteX2994" fmla="*/ 1277875 w 2240198"/>
                <a:gd name="connsiteY2994" fmla="*/ 723910 h 1729012"/>
                <a:gd name="connsiteX2995" fmla="*/ 1275887 w 2240198"/>
                <a:gd name="connsiteY2995" fmla="*/ 724698 h 1729012"/>
                <a:gd name="connsiteX2996" fmla="*/ 1274249 w 2240198"/>
                <a:gd name="connsiteY2996" fmla="*/ 726278 h 1729012"/>
                <a:gd name="connsiteX2997" fmla="*/ 1273082 w 2240198"/>
                <a:gd name="connsiteY2997" fmla="*/ 728325 h 1729012"/>
                <a:gd name="connsiteX2998" fmla="*/ 1272383 w 2240198"/>
                <a:gd name="connsiteY2998" fmla="*/ 730841 h 1729012"/>
                <a:gd name="connsiteX2999" fmla="*/ 1270605 w 2240198"/>
                <a:gd name="connsiteY2999" fmla="*/ 731878 h 1729012"/>
                <a:gd name="connsiteX3000" fmla="*/ 1267747 w 2240198"/>
                <a:gd name="connsiteY3000" fmla="*/ 731439 h 1729012"/>
                <a:gd name="connsiteX3001" fmla="*/ 1266626 w 2240198"/>
                <a:gd name="connsiteY3001" fmla="*/ 730728 h 1729012"/>
                <a:gd name="connsiteX3002" fmla="*/ 1267243 w 2240198"/>
                <a:gd name="connsiteY3002" fmla="*/ 729735 h 1729012"/>
                <a:gd name="connsiteX3003" fmla="*/ 1266409 w 2240198"/>
                <a:gd name="connsiteY3003" fmla="*/ 729592 h 1729012"/>
                <a:gd name="connsiteX3004" fmla="*/ 1264125 w 2240198"/>
                <a:gd name="connsiteY3004" fmla="*/ 730300 h 1729012"/>
                <a:gd name="connsiteX3005" fmla="*/ 1262346 w 2240198"/>
                <a:gd name="connsiteY3005" fmla="*/ 730322 h 1729012"/>
                <a:gd name="connsiteX3006" fmla="*/ 1261859 w 2240198"/>
                <a:gd name="connsiteY3006" fmla="*/ 731061 h 1729012"/>
                <a:gd name="connsiteX3007" fmla="*/ 1274344 w 2240198"/>
                <a:gd name="connsiteY3007" fmla="*/ 739075 h 1729012"/>
                <a:gd name="connsiteX3008" fmla="*/ 1278338 w 2240198"/>
                <a:gd name="connsiteY3008" fmla="*/ 746144 h 1729012"/>
                <a:gd name="connsiteX3009" fmla="*/ 1281084 w 2240198"/>
                <a:gd name="connsiteY3009" fmla="*/ 749059 h 1729012"/>
                <a:gd name="connsiteX3010" fmla="*/ 1281353 w 2240198"/>
                <a:gd name="connsiteY3010" fmla="*/ 749829 h 1729012"/>
                <a:gd name="connsiteX3011" fmla="*/ 1279563 w 2240198"/>
                <a:gd name="connsiteY3011" fmla="*/ 751786 h 1729012"/>
                <a:gd name="connsiteX3012" fmla="*/ 1279474 w 2240198"/>
                <a:gd name="connsiteY3012" fmla="*/ 753273 h 1729012"/>
                <a:gd name="connsiteX3013" fmla="*/ 1280293 w 2240198"/>
                <a:gd name="connsiteY3013" fmla="*/ 757565 h 1729012"/>
                <a:gd name="connsiteX3014" fmla="*/ 1279912 w 2240198"/>
                <a:gd name="connsiteY3014" fmla="*/ 760988 h 1729012"/>
                <a:gd name="connsiteX3015" fmla="*/ 1278685 w 2240198"/>
                <a:gd name="connsiteY3015" fmla="*/ 767001 h 1729012"/>
                <a:gd name="connsiteX3016" fmla="*/ 1279834 w 2240198"/>
                <a:gd name="connsiteY3016" fmla="*/ 768868 h 1729012"/>
                <a:gd name="connsiteX3017" fmla="*/ 1282503 w 2240198"/>
                <a:gd name="connsiteY3017" fmla="*/ 770514 h 1729012"/>
                <a:gd name="connsiteX3018" fmla="*/ 1284099 w 2240198"/>
                <a:gd name="connsiteY3018" fmla="*/ 772621 h 1729012"/>
                <a:gd name="connsiteX3019" fmla="*/ 1285185 w 2240198"/>
                <a:gd name="connsiteY3019" fmla="*/ 773340 h 1729012"/>
                <a:gd name="connsiteX3020" fmla="*/ 1285996 w 2240198"/>
                <a:gd name="connsiteY3020" fmla="*/ 775035 h 1729012"/>
                <a:gd name="connsiteX3021" fmla="*/ 1286948 w 2240198"/>
                <a:gd name="connsiteY3021" fmla="*/ 776095 h 1729012"/>
                <a:gd name="connsiteX3022" fmla="*/ 1288037 w 2240198"/>
                <a:gd name="connsiteY3022" fmla="*/ 776532 h 1729012"/>
                <a:gd name="connsiteX3023" fmla="*/ 1288807 w 2240198"/>
                <a:gd name="connsiteY3023" fmla="*/ 775974 h 1729012"/>
                <a:gd name="connsiteX3024" fmla="*/ 1289253 w 2240198"/>
                <a:gd name="connsiteY3024" fmla="*/ 774427 h 1729012"/>
                <a:gd name="connsiteX3025" fmla="*/ 1290278 w 2240198"/>
                <a:gd name="connsiteY3025" fmla="*/ 772978 h 1729012"/>
                <a:gd name="connsiteX3026" fmla="*/ 1293094 w 2240198"/>
                <a:gd name="connsiteY3026" fmla="*/ 770369 h 1729012"/>
                <a:gd name="connsiteX3027" fmla="*/ 1295823 w 2240198"/>
                <a:gd name="connsiteY3027" fmla="*/ 766294 h 1729012"/>
                <a:gd name="connsiteX3028" fmla="*/ 1296286 w 2240198"/>
                <a:gd name="connsiteY3028" fmla="*/ 764941 h 1729012"/>
                <a:gd name="connsiteX3029" fmla="*/ 1295852 w 2240198"/>
                <a:gd name="connsiteY3029" fmla="*/ 761733 h 1729012"/>
                <a:gd name="connsiteX3030" fmla="*/ 1296165 w 2240198"/>
                <a:gd name="connsiteY3030" fmla="*/ 760358 h 1729012"/>
                <a:gd name="connsiteX3031" fmla="*/ 1298729 w 2240198"/>
                <a:gd name="connsiteY3031" fmla="*/ 755485 h 1729012"/>
                <a:gd name="connsiteX3032" fmla="*/ 1299548 w 2240198"/>
                <a:gd name="connsiteY3032" fmla="*/ 752101 h 1729012"/>
                <a:gd name="connsiteX3033" fmla="*/ 1300325 w 2240198"/>
                <a:gd name="connsiteY3033" fmla="*/ 746822 h 1729012"/>
                <a:gd name="connsiteX3034" fmla="*/ 1301683 w 2240198"/>
                <a:gd name="connsiteY3034" fmla="*/ 743136 h 1729012"/>
                <a:gd name="connsiteX3035" fmla="*/ 1304589 w 2240198"/>
                <a:gd name="connsiteY3035" fmla="*/ 740009 h 1729012"/>
                <a:gd name="connsiteX3036" fmla="*/ 1309663 w 2240198"/>
                <a:gd name="connsiteY3036" fmla="*/ 733676 h 1729012"/>
                <a:gd name="connsiteX3037" fmla="*/ 1311498 w 2240198"/>
                <a:gd name="connsiteY3037" fmla="*/ 732405 h 1729012"/>
                <a:gd name="connsiteX3038" fmla="*/ 1313553 w 2240198"/>
                <a:gd name="connsiteY3038" fmla="*/ 731779 h 1729012"/>
                <a:gd name="connsiteX3039" fmla="*/ 1317147 w 2240198"/>
                <a:gd name="connsiteY3039" fmla="*/ 731929 h 1729012"/>
                <a:gd name="connsiteX3040" fmla="*/ 1319765 w 2240198"/>
                <a:gd name="connsiteY3040" fmla="*/ 733971 h 1729012"/>
                <a:gd name="connsiteX3041" fmla="*/ 1323288 w 2240198"/>
                <a:gd name="connsiteY3041" fmla="*/ 737739 h 1729012"/>
                <a:gd name="connsiteX3042" fmla="*/ 1327771 w 2240198"/>
                <a:gd name="connsiteY3042" fmla="*/ 741169 h 1729012"/>
                <a:gd name="connsiteX3043" fmla="*/ 1335941 w 2240198"/>
                <a:gd name="connsiteY3043" fmla="*/ 745808 h 1729012"/>
                <a:gd name="connsiteX3044" fmla="*/ 1338275 w 2240198"/>
                <a:gd name="connsiteY3044" fmla="*/ 747556 h 1729012"/>
                <a:gd name="connsiteX3045" fmla="*/ 1342894 w 2240198"/>
                <a:gd name="connsiteY3045" fmla="*/ 752133 h 1729012"/>
                <a:gd name="connsiteX3046" fmla="*/ 1344846 w 2240198"/>
                <a:gd name="connsiteY3046" fmla="*/ 756664 h 1729012"/>
                <a:gd name="connsiteX3047" fmla="*/ 1346186 w 2240198"/>
                <a:gd name="connsiteY3047" fmla="*/ 763041 h 1729012"/>
                <a:gd name="connsiteX3048" fmla="*/ 1347341 w 2240198"/>
                <a:gd name="connsiteY3048" fmla="*/ 766872 h 1729012"/>
                <a:gd name="connsiteX3049" fmla="*/ 1348310 w 2240198"/>
                <a:gd name="connsiteY3049" fmla="*/ 768170 h 1729012"/>
                <a:gd name="connsiteX3050" fmla="*/ 1348753 w 2240198"/>
                <a:gd name="connsiteY3050" fmla="*/ 770101 h 1729012"/>
                <a:gd name="connsiteX3051" fmla="*/ 1348669 w 2240198"/>
                <a:gd name="connsiteY3051" fmla="*/ 772665 h 1729012"/>
                <a:gd name="connsiteX3052" fmla="*/ 1348305 w 2240198"/>
                <a:gd name="connsiteY3052" fmla="*/ 774671 h 1729012"/>
                <a:gd name="connsiteX3053" fmla="*/ 1347663 w 2240198"/>
                <a:gd name="connsiteY3053" fmla="*/ 776119 h 1729012"/>
                <a:gd name="connsiteX3054" fmla="*/ 1346663 w 2240198"/>
                <a:gd name="connsiteY3054" fmla="*/ 776939 h 1729012"/>
                <a:gd name="connsiteX3055" fmla="*/ 1344171 w 2240198"/>
                <a:gd name="connsiteY3055" fmla="*/ 777206 h 1729012"/>
                <a:gd name="connsiteX3056" fmla="*/ 1341125 w 2240198"/>
                <a:gd name="connsiteY3056" fmla="*/ 776807 h 1729012"/>
                <a:gd name="connsiteX3057" fmla="*/ 1340245 w 2240198"/>
                <a:gd name="connsiteY3057" fmla="*/ 776157 h 1729012"/>
                <a:gd name="connsiteX3058" fmla="*/ 1338641 w 2240198"/>
                <a:gd name="connsiteY3058" fmla="*/ 773141 h 1729012"/>
                <a:gd name="connsiteX3059" fmla="*/ 1337977 w 2240198"/>
                <a:gd name="connsiteY3059" fmla="*/ 772957 h 1729012"/>
                <a:gd name="connsiteX3060" fmla="*/ 1335144 w 2240198"/>
                <a:gd name="connsiteY3060" fmla="*/ 775182 h 1729012"/>
                <a:gd name="connsiteX3061" fmla="*/ 1334797 w 2240198"/>
                <a:gd name="connsiteY3061" fmla="*/ 776427 h 1729012"/>
                <a:gd name="connsiteX3062" fmla="*/ 1335838 w 2240198"/>
                <a:gd name="connsiteY3062" fmla="*/ 780542 h 1729012"/>
                <a:gd name="connsiteX3063" fmla="*/ 1335699 w 2240198"/>
                <a:gd name="connsiteY3063" fmla="*/ 788264 h 1729012"/>
                <a:gd name="connsiteX3064" fmla="*/ 1335985 w 2240198"/>
                <a:gd name="connsiteY3064" fmla="*/ 789937 h 1729012"/>
                <a:gd name="connsiteX3065" fmla="*/ 1338976 w 2240198"/>
                <a:gd name="connsiteY3065" fmla="*/ 797952 h 1729012"/>
                <a:gd name="connsiteX3066" fmla="*/ 1344014 w 2240198"/>
                <a:gd name="connsiteY3066" fmla="*/ 804020 h 1729012"/>
                <a:gd name="connsiteX3067" fmla="*/ 1356643 w 2240198"/>
                <a:gd name="connsiteY3067" fmla="*/ 815681 h 1729012"/>
                <a:gd name="connsiteX3068" fmla="*/ 1357361 w 2240198"/>
                <a:gd name="connsiteY3068" fmla="*/ 817002 h 1729012"/>
                <a:gd name="connsiteX3069" fmla="*/ 1358701 w 2240198"/>
                <a:gd name="connsiteY3069" fmla="*/ 821746 h 1729012"/>
                <a:gd name="connsiteX3070" fmla="*/ 1359361 w 2240198"/>
                <a:gd name="connsiteY3070" fmla="*/ 822737 h 1729012"/>
                <a:gd name="connsiteX3071" fmla="*/ 1360186 w 2240198"/>
                <a:gd name="connsiteY3071" fmla="*/ 823330 h 1729012"/>
                <a:gd name="connsiteX3072" fmla="*/ 1361178 w 2240198"/>
                <a:gd name="connsiteY3072" fmla="*/ 823518 h 1729012"/>
                <a:gd name="connsiteX3073" fmla="*/ 1362548 w 2240198"/>
                <a:gd name="connsiteY3073" fmla="*/ 823047 h 1729012"/>
                <a:gd name="connsiteX3074" fmla="*/ 1367188 w 2240198"/>
                <a:gd name="connsiteY3074" fmla="*/ 819445 h 1729012"/>
                <a:gd name="connsiteX3075" fmla="*/ 1371228 w 2240198"/>
                <a:gd name="connsiteY3075" fmla="*/ 815641 h 1729012"/>
                <a:gd name="connsiteX3076" fmla="*/ 1374046 w 2240198"/>
                <a:gd name="connsiteY3076" fmla="*/ 813656 h 1729012"/>
                <a:gd name="connsiteX3077" fmla="*/ 1375642 w 2240198"/>
                <a:gd name="connsiteY3077" fmla="*/ 813496 h 1729012"/>
                <a:gd name="connsiteX3078" fmla="*/ 1377361 w 2240198"/>
                <a:gd name="connsiteY3078" fmla="*/ 812797 h 1729012"/>
                <a:gd name="connsiteX3079" fmla="*/ 1379204 w 2240198"/>
                <a:gd name="connsiteY3079" fmla="*/ 811569 h 1729012"/>
                <a:gd name="connsiteX3080" fmla="*/ 1380435 w 2240198"/>
                <a:gd name="connsiteY3080" fmla="*/ 810219 h 1729012"/>
                <a:gd name="connsiteX3081" fmla="*/ 1381053 w 2240198"/>
                <a:gd name="connsiteY3081" fmla="*/ 808752 h 1729012"/>
                <a:gd name="connsiteX3082" fmla="*/ 1381888 w 2240198"/>
                <a:gd name="connsiteY3082" fmla="*/ 802993 h 1729012"/>
                <a:gd name="connsiteX3083" fmla="*/ 1382597 w 2240198"/>
                <a:gd name="connsiteY3083" fmla="*/ 800236 h 1729012"/>
                <a:gd name="connsiteX3084" fmla="*/ 1384562 w 2240198"/>
                <a:gd name="connsiteY3084" fmla="*/ 796466 h 1729012"/>
                <a:gd name="connsiteX3085" fmla="*/ 1385281 w 2240198"/>
                <a:gd name="connsiteY3085" fmla="*/ 795393 h 1729012"/>
                <a:gd name="connsiteX3086" fmla="*/ 1395049 w 2240198"/>
                <a:gd name="connsiteY3086" fmla="*/ 785798 h 1729012"/>
                <a:gd name="connsiteX3087" fmla="*/ 1395857 w 2240198"/>
                <a:gd name="connsiteY3087" fmla="*/ 784617 h 1729012"/>
                <a:gd name="connsiteX3088" fmla="*/ 1400009 w 2240198"/>
                <a:gd name="connsiteY3088" fmla="*/ 773441 h 1729012"/>
                <a:gd name="connsiteX3089" fmla="*/ 1401473 w 2240198"/>
                <a:gd name="connsiteY3089" fmla="*/ 768306 h 1729012"/>
                <a:gd name="connsiteX3090" fmla="*/ 1401684 w 2240198"/>
                <a:gd name="connsiteY3090" fmla="*/ 765207 h 1729012"/>
                <a:gd name="connsiteX3091" fmla="*/ 1401124 w 2240198"/>
                <a:gd name="connsiteY3091" fmla="*/ 762444 h 1729012"/>
                <a:gd name="connsiteX3092" fmla="*/ 1401404 w 2240198"/>
                <a:gd name="connsiteY3092" fmla="*/ 760157 h 1729012"/>
                <a:gd name="connsiteX3093" fmla="*/ 1402521 w 2240198"/>
                <a:gd name="connsiteY3093" fmla="*/ 758357 h 1729012"/>
                <a:gd name="connsiteX3094" fmla="*/ 1403703 w 2240198"/>
                <a:gd name="connsiteY3094" fmla="*/ 757086 h 1729012"/>
                <a:gd name="connsiteX3095" fmla="*/ 1405749 w 2240198"/>
                <a:gd name="connsiteY3095" fmla="*/ 755801 h 1729012"/>
                <a:gd name="connsiteX3096" fmla="*/ 1406882 w 2240198"/>
                <a:gd name="connsiteY3096" fmla="*/ 753988 h 1729012"/>
                <a:gd name="connsiteX3097" fmla="*/ 1407560 w 2240198"/>
                <a:gd name="connsiteY3097" fmla="*/ 753804 h 1729012"/>
                <a:gd name="connsiteX3098" fmla="*/ 1409234 w 2240198"/>
                <a:gd name="connsiteY3098" fmla="*/ 753790 h 1729012"/>
                <a:gd name="connsiteX3099" fmla="*/ 1411439 w 2240198"/>
                <a:gd name="connsiteY3099" fmla="*/ 755028 h 1729012"/>
                <a:gd name="connsiteX3100" fmla="*/ 1413036 w 2240198"/>
                <a:gd name="connsiteY3100" fmla="*/ 755247 h 1729012"/>
                <a:gd name="connsiteX3101" fmla="*/ 1423370 w 2240198"/>
                <a:gd name="connsiteY3101" fmla="*/ 753833 h 1729012"/>
                <a:gd name="connsiteX3102" fmla="*/ 1423372 w 2240198"/>
                <a:gd name="connsiteY3102" fmla="*/ 753078 h 1729012"/>
                <a:gd name="connsiteX3103" fmla="*/ 1417308 w 2240198"/>
                <a:gd name="connsiteY3103" fmla="*/ 750703 h 1729012"/>
                <a:gd name="connsiteX3104" fmla="*/ 1417365 w 2240198"/>
                <a:gd name="connsiteY3104" fmla="*/ 749511 h 1729012"/>
                <a:gd name="connsiteX3105" fmla="*/ 1417896 w 2240198"/>
                <a:gd name="connsiteY3105" fmla="*/ 747872 h 1729012"/>
                <a:gd name="connsiteX3106" fmla="*/ 1419801 w 2240198"/>
                <a:gd name="connsiteY3106" fmla="*/ 746040 h 1729012"/>
                <a:gd name="connsiteX3107" fmla="*/ 1422140 w 2240198"/>
                <a:gd name="connsiteY3107" fmla="*/ 745461 h 1729012"/>
                <a:gd name="connsiteX3108" fmla="*/ 1422667 w 2240198"/>
                <a:gd name="connsiteY3108" fmla="*/ 744294 h 1729012"/>
                <a:gd name="connsiteX3109" fmla="*/ 1422732 w 2240198"/>
                <a:gd name="connsiteY3109" fmla="*/ 742852 h 1729012"/>
                <a:gd name="connsiteX3110" fmla="*/ 1423506 w 2240198"/>
                <a:gd name="connsiteY3110" fmla="*/ 740495 h 1729012"/>
                <a:gd name="connsiteX3111" fmla="*/ 1422800 w 2240198"/>
                <a:gd name="connsiteY3111" fmla="*/ 739659 h 1729012"/>
                <a:gd name="connsiteX3112" fmla="*/ 1417133 w 2240198"/>
                <a:gd name="connsiteY3112" fmla="*/ 736403 h 1729012"/>
                <a:gd name="connsiteX3113" fmla="*/ 1413860 w 2240198"/>
                <a:gd name="connsiteY3113" fmla="*/ 736543 h 1729012"/>
                <a:gd name="connsiteX3114" fmla="*/ 1413026 w 2240198"/>
                <a:gd name="connsiteY3114" fmla="*/ 736115 h 1729012"/>
                <a:gd name="connsiteX3115" fmla="*/ 1410205 w 2240198"/>
                <a:gd name="connsiteY3115" fmla="*/ 733458 h 1729012"/>
                <a:gd name="connsiteX3116" fmla="*/ 1409171 w 2240198"/>
                <a:gd name="connsiteY3116" fmla="*/ 729592 h 1729012"/>
                <a:gd name="connsiteX3117" fmla="*/ 1409060 w 2240198"/>
                <a:gd name="connsiteY3117" fmla="*/ 728006 h 1729012"/>
                <a:gd name="connsiteX3118" fmla="*/ 1409453 w 2240198"/>
                <a:gd name="connsiteY3118" fmla="*/ 725454 h 1729012"/>
                <a:gd name="connsiteX3119" fmla="*/ 1409812 w 2240198"/>
                <a:gd name="connsiteY3119" fmla="*/ 724742 h 1729012"/>
                <a:gd name="connsiteX3120" fmla="*/ 1409636 w 2240198"/>
                <a:gd name="connsiteY3120" fmla="*/ 723589 h 1729012"/>
                <a:gd name="connsiteX3121" fmla="*/ 1408925 w 2240198"/>
                <a:gd name="connsiteY3121" fmla="*/ 721985 h 1729012"/>
                <a:gd name="connsiteX3122" fmla="*/ 1408867 w 2240198"/>
                <a:gd name="connsiteY3122" fmla="*/ 720563 h 1729012"/>
                <a:gd name="connsiteX3123" fmla="*/ 1409464 w 2240198"/>
                <a:gd name="connsiteY3123" fmla="*/ 719313 h 1729012"/>
                <a:gd name="connsiteX3124" fmla="*/ 1409104 w 2240198"/>
                <a:gd name="connsiteY3124" fmla="*/ 717834 h 1729012"/>
                <a:gd name="connsiteX3125" fmla="*/ 1407789 w 2240198"/>
                <a:gd name="connsiteY3125" fmla="*/ 716122 h 1729012"/>
                <a:gd name="connsiteX3126" fmla="*/ 1407272 w 2240198"/>
                <a:gd name="connsiteY3126" fmla="*/ 714647 h 1729012"/>
                <a:gd name="connsiteX3127" fmla="*/ 1408655 w 2240198"/>
                <a:gd name="connsiteY3127" fmla="*/ 710292 h 1729012"/>
                <a:gd name="connsiteX3128" fmla="*/ 1408701 w 2240198"/>
                <a:gd name="connsiteY3128" fmla="*/ 708955 h 1729012"/>
                <a:gd name="connsiteX3129" fmla="*/ 1407398 w 2240198"/>
                <a:gd name="connsiteY3129" fmla="*/ 707091 h 1729012"/>
                <a:gd name="connsiteX3130" fmla="*/ 1406451 w 2240198"/>
                <a:gd name="connsiteY3130" fmla="*/ 706368 h 1729012"/>
                <a:gd name="connsiteX3131" fmla="*/ 1407147 w 2240198"/>
                <a:gd name="connsiteY3131" fmla="*/ 705907 h 1729012"/>
                <a:gd name="connsiteX3132" fmla="*/ 1409485 w 2240198"/>
                <a:gd name="connsiteY3132" fmla="*/ 705715 h 1729012"/>
                <a:gd name="connsiteX3133" fmla="*/ 1412278 w 2240198"/>
                <a:gd name="connsiteY3133" fmla="*/ 706320 h 1729012"/>
                <a:gd name="connsiteX3134" fmla="*/ 1415528 w 2240198"/>
                <a:gd name="connsiteY3134" fmla="*/ 707720 h 1729012"/>
                <a:gd name="connsiteX3135" fmla="*/ 1419509 w 2240198"/>
                <a:gd name="connsiteY3135" fmla="*/ 707736 h 1729012"/>
                <a:gd name="connsiteX3136" fmla="*/ 1424222 w 2240198"/>
                <a:gd name="connsiteY3136" fmla="*/ 706368 h 1729012"/>
                <a:gd name="connsiteX3137" fmla="*/ 1429010 w 2240198"/>
                <a:gd name="connsiteY3137" fmla="*/ 705706 h 1729012"/>
                <a:gd name="connsiteX3138" fmla="*/ 1437284 w 2240198"/>
                <a:gd name="connsiteY3138" fmla="*/ 705977 h 1729012"/>
                <a:gd name="connsiteX3139" fmla="*/ 1439240 w 2240198"/>
                <a:gd name="connsiteY3139" fmla="*/ 706370 h 1729012"/>
                <a:gd name="connsiteX3140" fmla="*/ 1447468 w 2240198"/>
                <a:gd name="connsiteY3140" fmla="*/ 710418 h 1729012"/>
                <a:gd name="connsiteX3141" fmla="*/ 1453854 w 2240198"/>
                <a:gd name="connsiteY3141" fmla="*/ 712476 h 1729012"/>
                <a:gd name="connsiteX3142" fmla="*/ 1456734 w 2240198"/>
                <a:gd name="connsiteY3142" fmla="*/ 712285 h 1729012"/>
                <a:gd name="connsiteX3143" fmla="*/ 1470943 w 2240198"/>
                <a:gd name="connsiteY3143" fmla="*/ 713099 h 1729012"/>
                <a:gd name="connsiteX3144" fmla="*/ 1477175 w 2240198"/>
                <a:gd name="connsiteY3144" fmla="*/ 712683 h 1729012"/>
                <a:gd name="connsiteX3145" fmla="*/ 1480402 w 2240198"/>
                <a:gd name="connsiteY3145" fmla="*/ 712865 h 1729012"/>
                <a:gd name="connsiteX3146" fmla="*/ 1486593 w 2240198"/>
                <a:gd name="connsiteY3146" fmla="*/ 715084 h 1729012"/>
                <a:gd name="connsiteX3147" fmla="*/ 1486186 w 2240198"/>
                <a:gd name="connsiteY3147" fmla="*/ 716926 h 1729012"/>
                <a:gd name="connsiteX3148" fmla="*/ 1483511 w 2240198"/>
                <a:gd name="connsiteY3148" fmla="*/ 720010 h 1729012"/>
                <a:gd name="connsiteX3149" fmla="*/ 1480022 w 2240198"/>
                <a:gd name="connsiteY3149" fmla="*/ 720645 h 1729012"/>
                <a:gd name="connsiteX3150" fmla="*/ 1476941 w 2240198"/>
                <a:gd name="connsiteY3150" fmla="*/ 721710 h 1729012"/>
                <a:gd name="connsiteX3151" fmla="*/ 1479801 w 2240198"/>
                <a:gd name="connsiteY3151" fmla="*/ 723324 h 1729012"/>
                <a:gd name="connsiteX3152" fmla="*/ 1488223 w 2240198"/>
                <a:gd name="connsiteY3152" fmla="*/ 725493 h 1729012"/>
                <a:gd name="connsiteX3153" fmla="*/ 1490203 w 2240198"/>
                <a:gd name="connsiteY3153" fmla="*/ 728959 h 1729012"/>
                <a:gd name="connsiteX3154" fmla="*/ 1490802 w 2240198"/>
                <a:gd name="connsiteY3154" fmla="*/ 730549 h 1729012"/>
                <a:gd name="connsiteX3155" fmla="*/ 1489823 w 2240198"/>
                <a:gd name="connsiteY3155" fmla="*/ 731980 h 1729012"/>
                <a:gd name="connsiteX3156" fmla="*/ 1490312 w 2240198"/>
                <a:gd name="connsiteY3156" fmla="*/ 732700 h 1729012"/>
                <a:gd name="connsiteX3157" fmla="*/ 1492263 w 2240198"/>
                <a:gd name="connsiteY3157" fmla="*/ 732700 h 1729012"/>
                <a:gd name="connsiteX3158" fmla="*/ 1497303 w 2240198"/>
                <a:gd name="connsiteY3158" fmla="*/ 731484 h 1729012"/>
                <a:gd name="connsiteX3159" fmla="*/ 1502872 w 2240198"/>
                <a:gd name="connsiteY3159" fmla="*/ 732287 h 1729012"/>
                <a:gd name="connsiteX3160" fmla="*/ 1510982 w 2240198"/>
                <a:gd name="connsiteY3160" fmla="*/ 734964 h 1729012"/>
                <a:gd name="connsiteX3161" fmla="*/ 1511856 w 2240198"/>
                <a:gd name="connsiteY3161" fmla="*/ 735521 h 1729012"/>
                <a:gd name="connsiteX3162" fmla="*/ 1513283 w 2240198"/>
                <a:gd name="connsiteY3162" fmla="*/ 737604 h 1729012"/>
                <a:gd name="connsiteX3163" fmla="*/ 1513104 w 2240198"/>
                <a:gd name="connsiteY3163" fmla="*/ 738451 h 1729012"/>
                <a:gd name="connsiteX3164" fmla="*/ 1505933 w 2240198"/>
                <a:gd name="connsiteY3164" fmla="*/ 743650 h 1729012"/>
                <a:gd name="connsiteX3165" fmla="*/ 1502208 w 2240198"/>
                <a:gd name="connsiteY3165" fmla="*/ 745706 h 1729012"/>
                <a:gd name="connsiteX3166" fmla="*/ 1497307 w 2240198"/>
                <a:gd name="connsiteY3166" fmla="*/ 747821 h 1729012"/>
                <a:gd name="connsiteX3167" fmla="*/ 1497148 w 2240198"/>
                <a:gd name="connsiteY3167" fmla="*/ 748948 h 1729012"/>
                <a:gd name="connsiteX3168" fmla="*/ 1504019 w 2240198"/>
                <a:gd name="connsiteY3168" fmla="*/ 749157 h 1729012"/>
                <a:gd name="connsiteX3169" fmla="*/ 1509367 w 2240198"/>
                <a:gd name="connsiteY3169" fmla="*/ 749749 h 1729012"/>
                <a:gd name="connsiteX3170" fmla="*/ 1511778 w 2240198"/>
                <a:gd name="connsiteY3170" fmla="*/ 750436 h 1729012"/>
                <a:gd name="connsiteX3171" fmla="*/ 1513036 w 2240198"/>
                <a:gd name="connsiteY3171" fmla="*/ 751414 h 1729012"/>
                <a:gd name="connsiteX3172" fmla="*/ 1514755 w 2240198"/>
                <a:gd name="connsiteY3172" fmla="*/ 753511 h 1729012"/>
                <a:gd name="connsiteX3173" fmla="*/ 1515035 w 2240198"/>
                <a:gd name="connsiteY3173" fmla="*/ 755167 h 1729012"/>
                <a:gd name="connsiteX3174" fmla="*/ 1514866 w 2240198"/>
                <a:gd name="connsiteY3174" fmla="*/ 757408 h 1729012"/>
                <a:gd name="connsiteX3175" fmla="*/ 1514299 w 2240198"/>
                <a:gd name="connsiteY3175" fmla="*/ 758962 h 1729012"/>
                <a:gd name="connsiteX3176" fmla="*/ 1508078 w 2240198"/>
                <a:gd name="connsiteY3176" fmla="*/ 763426 h 1729012"/>
                <a:gd name="connsiteX3177" fmla="*/ 1505221 w 2240198"/>
                <a:gd name="connsiteY3177" fmla="*/ 764816 h 1729012"/>
                <a:gd name="connsiteX3178" fmla="*/ 1500356 w 2240198"/>
                <a:gd name="connsiteY3178" fmla="*/ 766466 h 1729012"/>
                <a:gd name="connsiteX3179" fmla="*/ 1498240 w 2240198"/>
                <a:gd name="connsiteY3179" fmla="*/ 767701 h 1729012"/>
                <a:gd name="connsiteX3180" fmla="*/ 1495916 w 2240198"/>
                <a:gd name="connsiteY3180" fmla="*/ 767532 h 1729012"/>
                <a:gd name="connsiteX3181" fmla="*/ 1493384 w 2240198"/>
                <a:gd name="connsiteY3181" fmla="*/ 765953 h 1729012"/>
                <a:gd name="connsiteX3182" fmla="*/ 1490752 w 2240198"/>
                <a:gd name="connsiteY3182" fmla="*/ 765614 h 1729012"/>
                <a:gd name="connsiteX3183" fmla="*/ 1486009 w 2240198"/>
                <a:gd name="connsiteY3183" fmla="*/ 766875 h 1729012"/>
                <a:gd name="connsiteX3184" fmla="*/ 1483435 w 2240198"/>
                <a:gd name="connsiteY3184" fmla="*/ 766830 h 1729012"/>
                <a:gd name="connsiteX3185" fmla="*/ 1482170 w 2240198"/>
                <a:gd name="connsiteY3185" fmla="*/ 767269 h 1729012"/>
                <a:gd name="connsiteX3186" fmla="*/ 1482067 w 2240198"/>
                <a:gd name="connsiteY3186" fmla="*/ 768241 h 1729012"/>
                <a:gd name="connsiteX3187" fmla="*/ 1484311 w 2240198"/>
                <a:gd name="connsiteY3187" fmla="*/ 771054 h 1729012"/>
                <a:gd name="connsiteX3188" fmla="*/ 1485609 w 2240198"/>
                <a:gd name="connsiteY3188" fmla="*/ 772162 h 1729012"/>
                <a:gd name="connsiteX3189" fmla="*/ 1486119 w 2240198"/>
                <a:gd name="connsiteY3189" fmla="*/ 772989 h 1729012"/>
                <a:gd name="connsiteX3190" fmla="*/ 1485160 w 2240198"/>
                <a:gd name="connsiteY3190" fmla="*/ 774380 h 1729012"/>
                <a:gd name="connsiteX3191" fmla="*/ 1485362 w 2240198"/>
                <a:gd name="connsiteY3191" fmla="*/ 774819 h 1729012"/>
                <a:gd name="connsiteX3192" fmla="*/ 1486127 w 2240198"/>
                <a:gd name="connsiteY3192" fmla="*/ 775314 h 1729012"/>
                <a:gd name="connsiteX3193" fmla="*/ 1490441 w 2240198"/>
                <a:gd name="connsiteY3193" fmla="*/ 781439 h 1729012"/>
                <a:gd name="connsiteX3194" fmla="*/ 1491349 w 2240198"/>
                <a:gd name="connsiteY3194" fmla="*/ 781913 h 1729012"/>
                <a:gd name="connsiteX3195" fmla="*/ 1492244 w 2240198"/>
                <a:gd name="connsiteY3195" fmla="*/ 781682 h 1729012"/>
                <a:gd name="connsiteX3196" fmla="*/ 1494112 w 2240198"/>
                <a:gd name="connsiteY3196" fmla="*/ 779934 h 1729012"/>
                <a:gd name="connsiteX3197" fmla="*/ 1495222 w 2240198"/>
                <a:gd name="connsiteY3197" fmla="*/ 779224 h 1729012"/>
                <a:gd name="connsiteX3198" fmla="*/ 1495763 w 2240198"/>
                <a:gd name="connsiteY3198" fmla="*/ 779313 h 1729012"/>
                <a:gd name="connsiteX3199" fmla="*/ 1495741 w 2240198"/>
                <a:gd name="connsiteY3199" fmla="*/ 780210 h 1729012"/>
                <a:gd name="connsiteX3200" fmla="*/ 1493751 w 2240198"/>
                <a:gd name="connsiteY3200" fmla="*/ 785532 h 1729012"/>
                <a:gd name="connsiteX3201" fmla="*/ 1493490 w 2240198"/>
                <a:gd name="connsiteY3201" fmla="*/ 786951 h 1729012"/>
                <a:gd name="connsiteX3202" fmla="*/ 1493533 w 2240198"/>
                <a:gd name="connsiteY3202" fmla="*/ 788217 h 1729012"/>
                <a:gd name="connsiteX3203" fmla="*/ 1494495 w 2240198"/>
                <a:gd name="connsiteY3203" fmla="*/ 790902 h 1729012"/>
                <a:gd name="connsiteX3204" fmla="*/ 1496677 w 2240198"/>
                <a:gd name="connsiteY3204" fmla="*/ 793778 h 1729012"/>
                <a:gd name="connsiteX3205" fmla="*/ 1499394 w 2240198"/>
                <a:gd name="connsiteY3205" fmla="*/ 796361 h 1729012"/>
                <a:gd name="connsiteX3206" fmla="*/ 1503469 w 2240198"/>
                <a:gd name="connsiteY3206" fmla="*/ 799836 h 1729012"/>
                <a:gd name="connsiteX3207" fmla="*/ 1508942 w 2240198"/>
                <a:gd name="connsiteY3207" fmla="*/ 803534 h 1729012"/>
                <a:gd name="connsiteX3208" fmla="*/ 1510982 w 2240198"/>
                <a:gd name="connsiteY3208" fmla="*/ 805331 h 1729012"/>
                <a:gd name="connsiteX3209" fmla="*/ 1513974 w 2240198"/>
                <a:gd name="connsiteY3209" fmla="*/ 809561 h 1729012"/>
                <a:gd name="connsiteX3210" fmla="*/ 1514588 w 2240198"/>
                <a:gd name="connsiteY3210" fmla="*/ 811178 h 1729012"/>
                <a:gd name="connsiteX3211" fmla="*/ 1513803 w 2240198"/>
                <a:gd name="connsiteY3211" fmla="*/ 815610 h 1729012"/>
                <a:gd name="connsiteX3212" fmla="*/ 1511619 w 2240198"/>
                <a:gd name="connsiteY3212" fmla="*/ 822844 h 1729012"/>
                <a:gd name="connsiteX3213" fmla="*/ 1510211 w 2240198"/>
                <a:gd name="connsiteY3213" fmla="*/ 826943 h 1729012"/>
                <a:gd name="connsiteX3214" fmla="*/ 1509581 w 2240198"/>
                <a:gd name="connsiteY3214" fmla="*/ 827928 h 1729012"/>
                <a:gd name="connsiteX3215" fmla="*/ 1505461 w 2240198"/>
                <a:gd name="connsiteY3215" fmla="*/ 830830 h 1729012"/>
                <a:gd name="connsiteX3216" fmla="*/ 1503120 w 2240198"/>
                <a:gd name="connsiteY3216" fmla="*/ 831510 h 1729012"/>
                <a:gd name="connsiteX3217" fmla="*/ 1499264 w 2240198"/>
                <a:gd name="connsiteY3217" fmla="*/ 831430 h 1729012"/>
                <a:gd name="connsiteX3218" fmla="*/ 1497968 w 2240198"/>
                <a:gd name="connsiteY3218" fmla="*/ 831996 h 1729012"/>
                <a:gd name="connsiteX3219" fmla="*/ 1495952 w 2240198"/>
                <a:gd name="connsiteY3219" fmla="*/ 834314 h 1729012"/>
                <a:gd name="connsiteX3220" fmla="*/ 1493210 w 2240198"/>
                <a:gd name="connsiteY3220" fmla="*/ 838377 h 1729012"/>
                <a:gd name="connsiteX3221" fmla="*/ 1491051 w 2240198"/>
                <a:gd name="connsiteY3221" fmla="*/ 840949 h 1729012"/>
                <a:gd name="connsiteX3222" fmla="*/ 1489474 w 2240198"/>
                <a:gd name="connsiteY3222" fmla="*/ 842035 h 1729012"/>
                <a:gd name="connsiteX3223" fmla="*/ 1486578 w 2240198"/>
                <a:gd name="connsiteY3223" fmla="*/ 843298 h 1729012"/>
                <a:gd name="connsiteX3224" fmla="*/ 1482041 w 2240198"/>
                <a:gd name="connsiteY3224" fmla="*/ 847036 h 1729012"/>
                <a:gd name="connsiteX3225" fmla="*/ 1479814 w 2240198"/>
                <a:gd name="connsiteY3225" fmla="*/ 848473 h 1729012"/>
                <a:gd name="connsiteX3226" fmla="*/ 1472020 w 2240198"/>
                <a:gd name="connsiteY3226" fmla="*/ 850028 h 1729012"/>
                <a:gd name="connsiteX3227" fmla="*/ 1465683 w 2240198"/>
                <a:gd name="connsiteY3227" fmla="*/ 855078 h 1729012"/>
                <a:gd name="connsiteX3228" fmla="*/ 1463158 w 2240198"/>
                <a:gd name="connsiteY3228" fmla="*/ 856742 h 1729012"/>
                <a:gd name="connsiteX3229" fmla="*/ 1460419 w 2240198"/>
                <a:gd name="connsiteY3229" fmla="*/ 857624 h 1729012"/>
                <a:gd name="connsiteX3230" fmla="*/ 1457460 w 2240198"/>
                <a:gd name="connsiteY3230" fmla="*/ 857729 h 1729012"/>
                <a:gd name="connsiteX3231" fmla="*/ 1455756 w 2240198"/>
                <a:gd name="connsiteY3231" fmla="*/ 856923 h 1729012"/>
                <a:gd name="connsiteX3232" fmla="*/ 1454791 w 2240198"/>
                <a:gd name="connsiteY3232" fmla="*/ 853843 h 1729012"/>
                <a:gd name="connsiteX3233" fmla="*/ 1454215 w 2240198"/>
                <a:gd name="connsiteY3233" fmla="*/ 852830 h 1729012"/>
                <a:gd name="connsiteX3234" fmla="*/ 1451980 w 2240198"/>
                <a:gd name="connsiteY3234" fmla="*/ 850724 h 1729012"/>
                <a:gd name="connsiteX3235" fmla="*/ 1447391 w 2240198"/>
                <a:gd name="connsiteY3235" fmla="*/ 844588 h 1729012"/>
                <a:gd name="connsiteX3236" fmla="*/ 1445417 w 2240198"/>
                <a:gd name="connsiteY3236" fmla="*/ 842486 h 1729012"/>
                <a:gd name="connsiteX3237" fmla="*/ 1444100 w 2240198"/>
                <a:gd name="connsiteY3237" fmla="*/ 842019 h 1729012"/>
                <a:gd name="connsiteX3238" fmla="*/ 1441452 w 2240198"/>
                <a:gd name="connsiteY3238" fmla="*/ 842352 h 1729012"/>
                <a:gd name="connsiteX3239" fmla="*/ 1440093 w 2240198"/>
                <a:gd name="connsiteY3239" fmla="*/ 842154 h 1729012"/>
                <a:gd name="connsiteX3240" fmla="*/ 1437143 w 2240198"/>
                <a:gd name="connsiteY3240" fmla="*/ 840221 h 1729012"/>
                <a:gd name="connsiteX3241" fmla="*/ 1436081 w 2240198"/>
                <a:gd name="connsiteY3241" fmla="*/ 838971 h 1729012"/>
                <a:gd name="connsiteX3242" fmla="*/ 1436212 w 2240198"/>
                <a:gd name="connsiteY3242" fmla="*/ 838485 h 1729012"/>
                <a:gd name="connsiteX3243" fmla="*/ 1438457 w 2240198"/>
                <a:gd name="connsiteY3243" fmla="*/ 837775 h 1729012"/>
                <a:gd name="connsiteX3244" fmla="*/ 1437498 w 2240198"/>
                <a:gd name="connsiteY3244" fmla="*/ 836773 h 1729012"/>
                <a:gd name="connsiteX3245" fmla="*/ 1433550 w 2240198"/>
                <a:gd name="connsiteY3245" fmla="*/ 834014 h 1729012"/>
                <a:gd name="connsiteX3246" fmla="*/ 1431913 w 2240198"/>
                <a:gd name="connsiteY3246" fmla="*/ 832568 h 1729012"/>
                <a:gd name="connsiteX3247" fmla="*/ 1431714 w 2240198"/>
                <a:gd name="connsiteY3247" fmla="*/ 832078 h 1729012"/>
                <a:gd name="connsiteX3248" fmla="*/ 1427806 w 2240198"/>
                <a:gd name="connsiteY3248" fmla="*/ 830206 h 1729012"/>
                <a:gd name="connsiteX3249" fmla="*/ 1423922 w 2240198"/>
                <a:gd name="connsiteY3249" fmla="*/ 829688 h 1729012"/>
                <a:gd name="connsiteX3250" fmla="*/ 1418996 w 2240198"/>
                <a:gd name="connsiteY3250" fmla="*/ 832793 h 1729012"/>
                <a:gd name="connsiteX3251" fmla="*/ 1417128 w 2240198"/>
                <a:gd name="connsiteY3251" fmla="*/ 834889 h 1729012"/>
                <a:gd name="connsiteX3252" fmla="*/ 1417190 w 2240198"/>
                <a:gd name="connsiteY3252" fmla="*/ 835572 h 1729012"/>
                <a:gd name="connsiteX3253" fmla="*/ 1419549 w 2240198"/>
                <a:gd name="connsiteY3253" fmla="*/ 836375 h 1729012"/>
                <a:gd name="connsiteX3254" fmla="*/ 1420570 w 2240198"/>
                <a:gd name="connsiteY3254" fmla="*/ 835984 h 1729012"/>
                <a:gd name="connsiteX3255" fmla="*/ 1422571 w 2240198"/>
                <a:gd name="connsiteY3255" fmla="*/ 834052 h 1729012"/>
                <a:gd name="connsiteX3256" fmla="*/ 1423628 w 2240198"/>
                <a:gd name="connsiteY3256" fmla="*/ 833450 h 1729012"/>
                <a:gd name="connsiteX3257" fmla="*/ 1426662 w 2240198"/>
                <a:gd name="connsiteY3257" fmla="*/ 833751 h 1729012"/>
                <a:gd name="connsiteX3258" fmla="*/ 1429175 w 2240198"/>
                <a:gd name="connsiteY3258" fmla="*/ 835085 h 1729012"/>
                <a:gd name="connsiteX3259" fmla="*/ 1430089 w 2240198"/>
                <a:gd name="connsiteY3259" fmla="*/ 836244 h 1729012"/>
                <a:gd name="connsiteX3260" fmla="*/ 1430420 w 2240198"/>
                <a:gd name="connsiteY3260" fmla="*/ 837033 h 1729012"/>
                <a:gd name="connsiteX3261" fmla="*/ 1437280 w 2240198"/>
                <a:gd name="connsiteY3261" fmla="*/ 843196 h 1729012"/>
                <a:gd name="connsiteX3262" fmla="*/ 1439713 w 2240198"/>
                <a:gd name="connsiteY3262" fmla="*/ 844443 h 1729012"/>
                <a:gd name="connsiteX3263" fmla="*/ 1440725 w 2240198"/>
                <a:gd name="connsiteY3263" fmla="*/ 845912 h 1729012"/>
                <a:gd name="connsiteX3264" fmla="*/ 1441495 w 2240198"/>
                <a:gd name="connsiteY3264" fmla="*/ 848357 h 1729012"/>
                <a:gd name="connsiteX3265" fmla="*/ 1442978 w 2240198"/>
                <a:gd name="connsiteY3265" fmla="*/ 851069 h 1729012"/>
                <a:gd name="connsiteX3266" fmla="*/ 1446275 w 2240198"/>
                <a:gd name="connsiteY3266" fmla="*/ 855540 h 1729012"/>
                <a:gd name="connsiteX3267" fmla="*/ 1449784 w 2240198"/>
                <a:gd name="connsiteY3267" fmla="*/ 861052 h 1729012"/>
                <a:gd name="connsiteX3268" fmla="*/ 1450501 w 2240198"/>
                <a:gd name="connsiteY3268" fmla="*/ 863223 h 1729012"/>
                <a:gd name="connsiteX3269" fmla="*/ 1448688 w 2240198"/>
                <a:gd name="connsiteY3269" fmla="*/ 864272 h 1729012"/>
                <a:gd name="connsiteX3270" fmla="*/ 1447775 w 2240198"/>
                <a:gd name="connsiteY3270" fmla="*/ 864348 h 1729012"/>
                <a:gd name="connsiteX3271" fmla="*/ 1445072 w 2240198"/>
                <a:gd name="connsiteY3271" fmla="*/ 863529 h 1729012"/>
                <a:gd name="connsiteX3272" fmla="*/ 1437936 w 2240198"/>
                <a:gd name="connsiteY3272" fmla="*/ 860977 h 1729012"/>
                <a:gd name="connsiteX3273" fmla="*/ 1437145 w 2240198"/>
                <a:gd name="connsiteY3273" fmla="*/ 861024 h 1729012"/>
                <a:gd name="connsiteX3274" fmla="*/ 1435264 w 2240198"/>
                <a:gd name="connsiteY3274" fmla="*/ 862370 h 1729012"/>
                <a:gd name="connsiteX3275" fmla="*/ 1433720 w 2240198"/>
                <a:gd name="connsiteY3275" fmla="*/ 865422 h 1729012"/>
                <a:gd name="connsiteX3276" fmla="*/ 1433237 w 2240198"/>
                <a:gd name="connsiteY3276" fmla="*/ 865715 h 1729012"/>
                <a:gd name="connsiteX3277" fmla="*/ 1429443 w 2240198"/>
                <a:gd name="connsiteY3277" fmla="*/ 864519 h 1729012"/>
                <a:gd name="connsiteX3278" fmla="*/ 1422334 w 2240198"/>
                <a:gd name="connsiteY3278" fmla="*/ 861838 h 1729012"/>
                <a:gd name="connsiteX3279" fmla="*/ 1417573 w 2240198"/>
                <a:gd name="connsiteY3279" fmla="*/ 859560 h 1729012"/>
                <a:gd name="connsiteX3280" fmla="*/ 1415156 w 2240198"/>
                <a:gd name="connsiteY3280" fmla="*/ 857690 h 1729012"/>
                <a:gd name="connsiteX3281" fmla="*/ 1412231 w 2240198"/>
                <a:gd name="connsiteY3281" fmla="*/ 854704 h 1729012"/>
                <a:gd name="connsiteX3282" fmla="*/ 1408798 w 2240198"/>
                <a:gd name="connsiteY3282" fmla="*/ 850598 h 1729012"/>
                <a:gd name="connsiteX3283" fmla="*/ 1404700 w 2240198"/>
                <a:gd name="connsiteY3283" fmla="*/ 849288 h 1729012"/>
                <a:gd name="connsiteX3284" fmla="*/ 1399935 w 2240198"/>
                <a:gd name="connsiteY3284" fmla="*/ 850785 h 1729012"/>
                <a:gd name="connsiteX3285" fmla="*/ 1393051 w 2240198"/>
                <a:gd name="connsiteY3285" fmla="*/ 851318 h 1729012"/>
                <a:gd name="connsiteX3286" fmla="*/ 1378599 w 2240198"/>
                <a:gd name="connsiteY3286" fmla="*/ 850852 h 1729012"/>
                <a:gd name="connsiteX3287" fmla="*/ 1376699 w 2240198"/>
                <a:gd name="connsiteY3287" fmla="*/ 851204 h 1729012"/>
                <a:gd name="connsiteX3288" fmla="*/ 1375965 w 2240198"/>
                <a:gd name="connsiteY3288" fmla="*/ 851719 h 1729012"/>
                <a:gd name="connsiteX3289" fmla="*/ 1377195 w 2240198"/>
                <a:gd name="connsiteY3289" fmla="*/ 853979 h 1729012"/>
                <a:gd name="connsiteX3290" fmla="*/ 1376902 w 2240198"/>
                <a:gd name="connsiteY3290" fmla="*/ 854601 h 1729012"/>
                <a:gd name="connsiteX3291" fmla="*/ 1375932 w 2240198"/>
                <a:gd name="connsiteY3291" fmla="*/ 855019 h 1729012"/>
                <a:gd name="connsiteX3292" fmla="*/ 1375714 w 2240198"/>
                <a:gd name="connsiteY3292" fmla="*/ 855687 h 1729012"/>
                <a:gd name="connsiteX3293" fmla="*/ 1377283 w 2240198"/>
                <a:gd name="connsiteY3293" fmla="*/ 858081 h 1729012"/>
                <a:gd name="connsiteX3294" fmla="*/ 1379827 w 2240198"/>
                <a:gd name="connsiteY3294" fmla="*/ 859705 h 1729012"/>
                <a:gd name="connsiteX3295" fmla="*/ 1387022 w 2240198"/>
                <a:gd name="connsiteY3295" fmla="*/ 861899 h 1729012"/>
                <a:gd name="connsiteX3296" fmla="*/ 1391788 w 2240198"/>
                <a:gd name="connsiteY3296" fmla="*/ 863778 h 1729012"/>
                <a:gd name="connsiteX3297" fmla="*/ 1394634 w 2240198"/>
                <a:gd name="connsiteY3297" fmla="*/ 865398 h 1729012"/>
                <a:gd name="connsiteX3298" fmla="*/ 1395562 w 2240198"/>
                <a:gd name="connsiteY3298" fmla="*/ 866761 h 1729012"/>
                <a:gd name="connsiteX3299" fmla="*/ 1395701 w 2240198"/>
                <a:gd name="connsiteY3299" fmla="*/ 868249 h 1729012"/>
                <a:gd name="connsiteX3300" fmla="*/ 1394345 w 2240198"/>
                <a:gd name="connsiteY3300" fmla="*/ 871212 h 1729012"/>
                <a:gd name="connsiteX3301" fmla="*/ 1393569 w 2240198"/>
                <a:gd name="connsiteY3301" fmla="*/ 872300 h 1729012"/>
                <a:gd name="connsiteX3302" fmla="*/ 1376856 w 2240198"/>
                <a:gd name="connsiteY3302" fmla="*/ 887022 h 1729012"/>
                <a:gd name="connsiteX3303" fmla="*/ 1370486 w 2240198"/>
                <a:gd name="connsiteY3303" fmla="*/ 892945 h 1729012"/>
                <a:gd name="connsiteX3304" fmla="*/ 1367242 w 2240198"/>
                <a:gd name="connsiteY3304" fmla="*/ 896579 h 1729012"/>
                <a:gd name="connsiteX3305" fmla="*/ 1364385 w 2240198"/>
                <a:gd name="connsiteY3305" fmla="*/ 898975 h 1729012"/>
                <a:gd name="connsiteX3306" fmla="*/ 1361909 w 2240198"/>
                <a:gd name="connsiteY3306" fmla="*/ 900145 h 1729012"/>
                <a:gd name="connsiteX3307" fmla="*/ 1357815 w 2240198"/>
                <a:gd name="connsiteY3307" fmla="*/ 900803 h 1729012"/>
                <a:gd name="connsiteX3308" fmla="*/ 1352104 w 2240198"/>
                <a:gd name="connsiteY3308" fmla="*/ 900952 h 1729012"/>
                <a:gd name="connsiteX3309" fmla="*/ 1344703 w 2240198"/>
                <a:gd name="connsiteY3309" fmla="*/ 900390 h 1729012"/>
                <a:gd name="connsiteX3310" fmla="*/ 1340875 w 2240198"/>
                <a:gd name="connsiteY3310" fmla="*/ 898497 h 1729012"/>
                <a:gd name="connsiteX3311" fmla="*/ 1333930 w 2240198"/>
                <a:gd name="connsiteY3311" fmla="*/ 893447 h 1729012"/>
                <a:gd name="connsiteX3312" fmla="*/ 1329066 w 2240198"/>
                <a:gd name="connsiteY3312" fmla="*/ 890475 h 1729012"/>
                <a:gd name="connsiteX3313" fmla="*/ 1326891 w 2240198"/>
                <a:gd name="connsiteY3313" fmla="*/ 889479 h 1729012"/>
                <a:gd name="connsiteX3314" fmla="*/ 1325079 w 2240198"/>
                <a:gd name="connsiteY3314" fmla="*/ 886679 h 1729012"/>
                <a:gd name="connsiteX3315" fmla="*/ 1323442 w 2240198"/>
                <a:gd name="connsiteY3315" fmla="*/ 886142 h 1729012"/>
                <a:gd name="connsiteX3316" fmla="*/ 1319952 w 2240198"/>
                <a:gd name="connsiteY3316" fmla="*/ 885668 h 1729012"/>
                <a:gd name="connsiteX3317" fmla="*/ 1316361 w 2240198"/>
                <a:gd name="connsiteY3317" fmla="*/ 884168 h 1729012"/>
                <a:gd name="connsiteX3318" fmla="*/ 1307927 w 2240198"/>
                <a:gd name="connsiteY3318" fmla="*/ 879078 h 1729012"/>
                <a:gd name="connsiteX3319" fmla="*/ 1303558 w 2240198"/>
                <a:gd name="connsiteY3319" fmla="*/ 877047 h 1729012"/>
                <a:gd name="connsiteX3320" fmla="*/ 1299584 w 2240198"/>
                <a:gd name="connsiteY3320" fmla="*/ 875928 h 1729012"/>
                <a:gd name="connsiteX3321" fmla="*/ 1296007 w 2240198"/>
                <a:gd name="connsiteY3321" fmla="*/ 875727 h 1729012"/>
                <a:gd name="connsiteX3322" fmla="*/ 1294650 w 2240198"/>
                <a:gd name="connsiteY3322" fmla="*/ 876030 h 1729012"/>
                <a:gd name="connsiteX3323" fmla="*/ 1297089 w 2240198"/>
                <a:gd name="connsiteY3323" fmla="*/ 878597 h 1729012"/>
                <a:gd name="connsiteX3324" fmla="*/ 1296026 w 2240198"/>
                <a:gd name="connsiteY3324" fmla="*/ 878753 h 1729012"/>
                <a:gd name="connsiteX3325" fmla="*/ 1293133 w 2240198"/>
                <a:gd name="connsiteY3325" fmla="*/ 878166 h 1729012"/>
                <a:gd name="connsiteX3326" fmla="*/ 1290273 w 2240198"/>
                <a:gd name="connsiteY3326" fmla="*/ 878173 h 1729012"/>
                <a:gd name="connsiteX3327" fmla="*/ 1285211 w 2240198"/>
                <a:gd name="connsiteY3327" fmla="*/ 876332 h 1729012"/>
                <a:gd name="connsiteX3328" fmla="*/ 1280214 w 2240198"/>
                <a:gd name="connsiteY3328" fmla="*/ 876578 h 1729012"/>
                <a:gd name="connsiteX3329" fmla="*/ 1276609 w 2240198"/>
                <a:gd name="connsiteY3329" fmla="*/ 876208 h 1729012"/>
                <a:gd name="connsiteX3330" fmla="*/ 1272292 w 2240198"/>
                <a:gd name="connsiteY3330" fmla="*/ 875181 h 1729012"/>
                <a:gd name="connsiteX3331" fmla="*/ 1267632 w 2240198"/>
                <a:gd name="connsiteY3331" fmla="*/ 874683 h 1729012"/>
                <a:gd name="connsiteX3332" fmla="*/ 1260128 w 2240198"/>
                <a:gd name="connsiteY3332" fmla="*/ 874733 h 1729012"/>
                <a:gd name="connsiteX3333" fmla="*/ 1257438 w 2240198"/>
                <a:gd name="connsiteY3333" fmla="*/ 874949 h 1729012"/>
                <a:gd name="connsiteX3334" fmla="*/ 1257040 w 2240198"/>
                <a:gd name="connsiteY3334" fmla="*/ 875431 h 1729012"/>
                <a:gd name="connsiteX3335" fmla="*/ 1260643 w 2240198"/>
                <a:gd name="connsiteY3335" fmla="*/ 877669 h 1729012"/>
                <a:gd name="connsiteX3336" fmla="*/ 1266831 w 2240198"/>
                <a:gd name="connsiteY3336" fmla="*/ 880372 h 1729012"/>
                <a:gd name="connsiteX3337" fmla="*/ 1266006 w 2240198"/>
                <a:gd name="connsiteY3337" fmla="*/ 878042 h 1729012"/>
                <a:gd name="connsiteX3338" fmla="*/ 1266227 w 2240198"/>
                <a:gd name="connsiteY3338" fmla="*/ 877441 h 1729012"/>
                <a:gd name="connsiteX3339" fmla="*/ 1268293 w 2240198"/>
                <a:gd name="connsiteY3339" fmla="*/ 876632 h 1729012"/>
                <a:gd name="connsiteX3340" fmla="*/ 1278096 w 2240198"/>
                <a:gd name="connsiteY3340" fmla="*/ 878072 h 1729012"/>
                <a:gd name="connsiteX3341" fmla="*/ 1289207 w 2240198"/>
                <a:gd name="connsiteY3341" fmla="*/ 881089 h 1729012"/>
                <a:gd name="connsiteX3342" fmla="*/ 1292023 w 2240198"/>
                <a:gd name="connsiteY3342" fmla="*/ 881385 h 1729012"/>
                <a:gd name="connsiteX3343" fmla="*/ 1295155 w 2240198"/>
                <a:gd name="connsiteY3343" fmla="*/ 882443 h 1729012"/>
                <a:gd name="connsiteX3344" fmla="*/ 1298605 w 2240198"/>
                <a:gd name="connsiteY3344" fmla="*/ 884262 h 1729012"/>
                <a:gd name="connsiteX3345" fmla="*/ 1303362 w 2240198"/>
                <a:gd name="connsiteY3345" fmla="*/ 887971 h 1729012"/>
                <a:gd name="connsiteX3346" fmla="*/ 1312457 w 2240198"/>
                <a:gd name="connsiteY3346" fmla="*/ 896347 h 1729012"/>
                <a:gd name="connsiteX3347" fmla="*/ 1315377 w 2240198"/>
                <a:gd name="connsiteY3347" fmla="*/ 898455 h 1729012"/>
                <a:gd name="connsiteX3348" fmla="*/ 1319245 w 2240198"/>
                <a:gd name="connsiteY3348" fmla="*/ 900417 h 1729012"/>
                <a:gd name="connsiteX3349" fmla="*/ 1338927 w 2240198"/>
                <a:gd name="connsiteY3349" fmla="*/ 903250 h 1729012"/>
                <a:gd name="connsiteX3350" fmla="*/ 1345729 w 2240198"/>
                <a:gd name="connsiteY3350" fmla="*/ 903232 h 1729012"/>
                <a:gd name="connsiteX3351" fmla="*/ 1359361 w 2240198"/>
                <a:gd name="connsiteY3351" fmla="*/ 904051 h 1729012"/>
                <a:gd name="connsiteX3352" fmla="*/ 1366560 w 2240198"/>
                <a:gd name="connsiteY3352" fmla="*/ 905529 h 1729012"/>
                <a:gd name="connsiteX3353" fmla="*/ 1368600 w 2240198"/>
                <a:gd name="connsiteY3353" fmla="*/ 906633 h 1729012"/>
                <a:gd name="connsiteX3354" fmla="*/ 1369231 w 2240198"/>
                <a:gd name="connsiteY3354" fmla="*/ 910329 h 1729012"/>
                <a:gd name="connsiteX3355" fmla="*/ 1368576 w 2240198"/>
                <a:gd name="connsiteY3355" fmla="*/ 912184 h 1729012"/>
                <a:gd name="connsiteX3356" fmla="*/ 1364661 w 2240198"/>
                <a:gd name="connsiteY3356" fmla="*/ 917818 h 1729012"/>
                <a:gd name="connsiteX3357" fmla="*/ 1362186 w 2240198"/>
                <a:gd name="connsiteY3357" fmla="*/ 921955 h 1729012"/>
                <a:gd name="connsiteX3358" fmla="*/ 1346858 w 2240198"/>
                <a:gd name="connsiteY3358" fmla="*/ 939369 h 1729012"/>
                <a:gd name="connsiteX3359" fmla="*/ 1344866 w 2240198"/>
                <a:gd name="connsiteY3359" fmla="*/ 943356 h 1729012"/>
                <a:gd name="connsiteX3360" fmla="*/ 1344004 w 2240198"/>
                <a:gd name="connsiteY3360" fmla="*/ 945736 h 1729012"/>
                <a:gd name="connsiteX3361" fmla="*/ 1341264 w 2240198"/>
                <a:gd name="connsiteY3361" fmla="*/ 948199 h 1729012"/>
                <a:gd name="connsiteX3362" fmla="*/ 1334334 w 2240198"/>
                <a:gd name="connsiteY3362" fmla="*/ 952015 h 1729012"/>
                <a:gd name="connsiteX3363" fmla="*/ 1327383 w 2240198"/>
                <a:gd name="connsiteY3363" fmla="*/ 955250 h 1729012"/>
                <a:gd name="connsiteX3364" fmla="*/ 1323208 w 2240198"/>
                <a:gd name="connsiteY3364" fmla="*/ 955943 h 1729012"/>
                <a:gd name="connsiteX3365" fmla="*/ 1319488 w 2240198"/>
                <a:gd name="connsiteY3365" fmla="*/ 955175 h 1729012"/>
                <a:gd name="connsiteX3366" fmla="*/ 1317074 w 2240198"/>
                <a:gd name="connsiteY3366" fmla="*/ 954236 h 1729012"/>
                <a:gd name="connsiteX3367" fmla="*/ 1313499 w 2240198"/>
                <a:gd name="connsiteY3367" fmla="*/ 951020 h 1729012"/>
                <a:gd name="connsiteX3368" fmla="*/ 1313275 w 2240198"/>
                <a:gd name="connsiteY3368" fmla="*/ 951360 h 1729012"/>
                <a:gd name="connsiteX3369" fmla="*/ 1315855 w 2240198"/>
                <a:gd name="connsiteY3369" fmla="*/ 956394 h 1729012"/>
                <a:gd name="connsiteX3370" fmla="*/ 1315251 w 2240198"/>
                <a:gd name="connsiteY3370" fmla="*/ 956903 h 1729012"/>
                <a:gd name="connsiteX3371" fmla="*/ 1313146 w 2240198"/>
                <a:gd name="connsiteY3371" fmla="*/ 956271 h 1729012"/>
                <a:gd name="connsiteX3372" fmla="*/ 1308354 w 2240198"/>
                <a:gd name="connsiteY3372" fmla="*/ 954010 h 1729012"/>
                <a:gd name="connsiteX3373" fmla="*/ 1306802 w 2240198"/>
                <a:gd name="connsiteY3373" fmla="*/ 954427 h 1729012"/>
                <a:gd name="connsiteX3374" fmla="*/ 1305885 w 2240198"/>
                <a:gd name="connsiteY3374" fmla="*/ 955042 h 1729012"/>
                <a:gd name="connsiteX3375" fmla="*/ 1304607 w 2240198"/>
                <a:gd name="connsiteY3375" fmla="*/ 955030 h 1729012"/>
                <a:gd name="connsiteX3376" fmla="*/ 1302971 w 2240198"/>
                <a:gd name="connsiteY3376" fmla="*/ 954389 h 1729012"/>
                <a:gd name="connsiteX3377" fmla="*/ 1300007 w 2240198"/>
                <a:gd name="connsiteY3377" fmla="*/ 952513 h 1729012"/>
                <a:gd name="connsiteX3378" fmla="*/ 1299219 w 2240198"/>
                <a:gd name="connsiteY3378" fmla="*/ 951598 h 1729012"/>
                <a:gd name="connsiteX3379" fmla="*/ 1298501 w 2240198"/>
                <a:gd name="connsiteY3379" fmla="*/ 948811 h 1729012"/>
                <a:gd name="connsiteX3380" fmla="*/ 1298014 w 2240198"/>
                <a:gd name="connsiteY3380" fmla="*/ 948311 h 1729012"/>
                <a:gd name="connsiteX3381" fmla="*/ 1292173 w 2240198"/>
                <a:gd name="connsiteY3381" fmla="*/ 949922 h 1729012"/>
                <a:gd name="connsiteX3382" fmla="*/ 1291200 w 2240198"/>
                <a:gd name="connsiteY3382" fmla="*/ 950455 h 1729012"/>
                <a:gd name="connsiteX3383" fmla="*/ 1293594 w 2240198"/>
                <a:gd name="connsiteY3383" fmla="*/ 951571 h 1729012"/>
                <a:gd name="connsiteX3384" fmla="*/ 1294407 w 2240198"/>
                <a:gd name="connsiteY3384" fmla="*/ 952364 h 1729012"/>
                <a:gd name="connsiteX3385" fmla="*/ 1296765 w 2240198"/>
                <a:gd name="connsiteY3385" fmla="*/ 956487 h 1729012"/>
                <a:gd name="connsiteX3386" fmla="*/ 1296889 w 2240198"/>
                <a:gd name="connsiteY3386" fmla="*/ 957370 h 1729012"/>
                <a:gd name="connsiteX3387" fmla="*/ 1295211 w 2240198"/>
                <a:gd name="connsiteY3387" fmla="*/ 957912 h 1729012"/>
                <a:gd name="connsiteX3388" fmla="*/ 1289631 w 2240198"/>
                <a:gd name="connsiteY3388" fmla="*/ 956358 h 1729012"/>
                <a:gd name="connsiteX3389" fmla="*/ 1288965 w 2240198"/>
                <a:gd name="connsiteY3389" fmla="*/ 956489 h 1729012"/>
                <a:gd name="connsiteX3390" fmla="*/ 1291718 w 2240198"/>
                <a:gd name="connsiteY3390" fmla="*/ 960582 h 1729012"/>
                <a:gd name="connsiteX3391" fmla="*/ 1292774 w 2240198"/>
                <a:gd name="connsiteY3391" fmla="*/ 962524 h 1729012"/>
                <a:gd name="connsiteX3392" fmla="*/ 1292889 w 2240198"/>
                <a:gd name="connsiteY3392" fmla="*/ 963535 h 1729012"/>
                <a:gd name="connsiteX3393" fmla="*/ 1289305 w 2240198"/>
                <a:gd name="connsiteY3393" fmla="*/ 968155 h 1729012"/>
                <a:gd name="connsiteX3394" fmla="*/ 1287010 w 2240198"/>
                <a:gd name="connsiteY3394" fmla="*/ 970075 h 1729012"/>
                <a:gd name="connsiteX3395" fmla="*/ 1283877 w 2240198"/>
                <a:gd name="connsiteY3395" fmla="*/ 970778 h 1729012"/>
                <a:gd name="connsiteX3396" fmla="*/ 1281915 w 2240198"/>
                <a:gd name="connsiteY3396" fmla="*/ 970306 h 1729012"/>
                <a:gd name="connsiteX3397" fmla="*/ 1279702 w 2240198"/>
                <a:gd name="connsiteY3397" fmla="*/ 969129 h 1729012"/>
                <a:gd name="connsiteX3398" fmla="*/ 1278108 w 2240198"/>
                <a:gd name="connsiteY3398" fmla="*/ 969296 h 1729012"/>
                <a:gd name="connsiteX3399" fmla="*/ 1277128 w 2240198"/>
                <a:gd name="connsiteY3399" fmla="*/ 970804 h 1729012"/>
                <a:gd name="connsiteX3400" fmla="*/ 1275307 w 2240198"/>
                <a:gd name="connsiteY3400" fmla="*/ 971884 h 1729012"/>
                <a:gd name="connsiteX3401" fmla="*/ 1272643 w 2240198"/>
                <a:gd name="connsiteY3401" fmla="*/ 972527 h 1729012"/>
                <a:gd name="connsiteX3402" fmla="*/ 1269252 w 2240198"/>
                <a:gd name="connsiteY3402" fmla="*/ 972248 h 1729012"/>
                <a:gd name="connsiteX3403" fmla="*/ 1265134 w 2240198"/>
                <a:gd name="connsiteY3403" fmla="*/ 971043 h 1729012"/>
                <a:gd name="connsiteX3404" fmla="*/ 1254211 w 2240198"/>
                <a:gd name="connsiteY3404" fmla="*/ 966708 h 1729012"/>
                <a:gd name="connsiteX3405" fmla="*/ 1250767 w 2240198"/>
                <a:gd name="connsiteY3405" fmla="*/ 966037 h 1729012"/>
                <a:gd name="connsiteX3406" fmla="*/ 1244393 w 2240198"/>
                <a:gd name="connsiteY3406" fmla="*/ 965438 h 1729012"/>
                <a:gd name="connsiteX3407" fmla="*/ 1243631 w 2240198"/>
                <a:gd name="connsiteY3407" fmla="*/ 964825 h 1729012"/>
                <a:gd name="connsiteX3408" fmla="*/ 1243687 w 2240198"/>
                <a:gd name="connsiteY3408" fmla="*/ 964240 h 1729012"/>
                <a:gd name="connsiteX3409" fmla="*/ 1244559 w 2240198"/>
                <a:gd name="connsiteY3409" fmla="*/ 963685 h 1729012"/>
                <a:gd name="connsiteX3410" fmla="*/ 1244319 w 2240198"/>
                <a:gd name="connsiteY3410" fmla="*/ 963207 h 1729012"/>
                <a:gd name="connsiteX3411" fmla="*/ 1242967 w 2240198"/>
                <a:gd name="connsiteY3411" fmla="*/ 962805 h 1729012"/>
                <a:gd name="connsiteX3412" fmla="*/ 1241563 w 2240198"/>
                <a:gd name="connsiteY3412" fmla="*/ 963183 h 1729012"/>
                <a:gd name="connsiteX3413" fmla="*/ 1240111 w 2240198"/>
                <a:gd name="connsiteY3413" fmla="*/ 964336 h 1729012"/>
                <a:gd name="connsiteX3414" fmla="*/ 1237566 w 2240198"/>
                <a:gd name="connsiteY3414" fmla="*/ 964677 h 1729012"/>
                <a:gd name="connsiteX3415" fmla="*/ 1233936 w 2240198"/>
                <a:gd name="connsiteY3415" fmla="*/ 964207 h 1729012"/>
                <a:gd name="connsiteX3416" fmla="*/ 1228568 w 2240198"/>
                <a:gd name="connsiteY3416" fmla="*/ 962517 h 1729012"/>
                <a:gd name="connsiteX3417" fmla="*/ 1217915 w 2240198"/>
                <a:gd name="connsiteY3417" fmla="*/ 958151 h 1729012"/>
                <a:gd name="connsiteX3418" fmla="*/ 1206264 w 2240198"/>
                <a:gd name="connsiteY3418" fmla="*/ 954463 h 1729012"/>
                <a:gd name="connsiteX3419" fmla="*/ 1199503 w 2240198"/>
                <a:gd name="connsiteY3419" fmla="*/ 949666 h 1729012"/>
                <a:gd name="connsiteX3420" fmla="*/ 1202029 w 2240198"/>
                <a:gd name="connsiteY3420" fmla="*/ 953987 h 1729012"/>
                <a:gd name="connsiteX3421" fmla="*/ 1201823 w 2240198"/>
                <a:gd name="connsiteY3421" fmla="*/ 955447 h 1729012"/>
                <a:gd name="connsiteX3422" fmla="*/ 1200532 w 2240198"/>
                <a:gd name="connsiteY3422" fmla="*/ 956730 h 1729012"/>
                <a:gd name="connsiteX3423" fmla="*/ 1200320 w 2240198"/>
                <a:gd name="connsiteY3423" fmla="*/ 957999 h 1729012"/>
                <a:gd name="connsiteX3424" fmla="*/ 1202965 w 2240198"/>
                <a:gd name="connsiteY3424" fmla="*/ 961074 h 1729012"/>
                <a:gd name="connsiteX3425" fmla="*/ 1206622 w 2240198"/>
                <a:gd name="connsiteY3425" fmla="*/ 962176 h 1729012"/>
                <a:gd name="connsiteX3426" fmla="*/ 1210309 w 2240198"/>
                <a:gd name="connsiteY3426" fmla="*/ 962060 h 1729012"/>
                <a:gd name="connsiteX3427" fmla="*/ 1210410 w 2240198"/>
                <a:gd name="connsiteY3427" fmla="*/ 961558 h 1729012"/>
                <a:gd name="connsiteX3428" fmla="*/ 1208872 w 2240198"/>
                <a:gd name="connsiteY3428" fmla="*/ 960793 h 1729012"/>
                <a:gd name="connsiteX3429" fmla="*/ 1207518 w 2240198"/>
                <a:gd name="connsiteY3429" fmla="*/ 959670 h 1729012"/>
                <a:gd name="connsiteX3430" fmla="*/ 1206869 w 2240198"/>
                <a:gd name="connsiteY3430" fmla="*/ 958007 h 1729012"/>
                <a:gd name="connsiteX3431" fmla="*/ 1207562 w 2240198"/>
                <a:gd name="connsiteY3431" fmla="*/ 957713 h 1729012"/>
                <a:gd name="connsiteX3432" fmla="*/ 1210810 w 2240198"/>
                <a:gd name="connsiteY3432" fmla="*/ 958585 h 1729012"/>
                <a:gd name="connsiteX3433" fmla="*/ 1212953 w 2240198"/>
                <a:gd name="connsiteY3433" fmla="*/ 959601 h 1729012"/>
                <a:gd name="connsiteX3434" fmla="*/ 1229097 w 2240198"/>
                <a:gd name="connsiteY3434" fmla="*/ 965272 h 1729012"/>
                <a:gd name="connsiteX3435" fmla="*/ 1233915 w 2240198"/>
                <a:gd name="connsiteY3435" fmla="*/ 966331 h 1729012"/>
                <a:gd name="connsiteX3436" fmla="*/ 1237534 w 2240198"/>
                <a:gd name="connsiteY3436" fmla="*/ 967423 h 1729012"/>
                <a:gd name="connsiteX3437" fmla="*/ 1238539 w 2240198"/>
                <a:gd name="connsiteY3437" fmla="*/ 968072 h 1729012"/>
                <a:gd name="connsiteX3438" fmla="*/ 1237317 w 2240198"/>
                <a:gd name="connsiteY3438" fmla="*/ 969477 h 1729012"/>
                <a:gd name="connsiteX3439" fmla="*/ 1230826 w 2240198"/>
                <a:gd name="connsiteY3439" fmla="*/ 972988 h 1729012"/>
                <a:gd name="connsiteX3440" fmla="*/ 1230724 w 2240198"/>
                <a:gd name="connsiteY3440" fmla="*/ 973565 h 1729012"/>
                <a:gd name="connsiteX3441" fmla="*/ 1235174 w 2240198"/>
                <a:gd name="connsiteY3441" fmla="*/ 973247 h 1729012"/>
                <a:gd name="connsiteX3442" fmla="*/ 1240574 w 2240198"/>
                <a:gd name="connsiteY3442" fmla="*/ 970152 h 1729012"/>
                <a:gd name="connsiteX3443" fmla="*/ 1243611 w 2240198"/>
                <a:gd name="connsiteY3443" fmla="*/ 968719 h 1729012"/>
                <a:gd name="connsiteX3444" fmla="*/ 1246527 w 2240198"/>
                <a:gd name="connsiteY3444" fmla="*/ 967836 h 1729012"/>
                <a:gd name="connsiteX3445" fmla="*/ 1250477 w 2240198"/>
                <a:gd name="connsiteY3445" fmla="*/ 969359 h 1729012"/>
                <a:gd name="connsiteX3446" fmla="*/ 1255466 w 2240198"/>
                <a:gd name="connsiteY3446" fmla="*/ 973278 h 1729012"/>
                <a:gd name="connsiteX3447" fmla="*/ 1259503 w 2240198"/>
                <a:gd name="connsiteY3447" fmla="*/ 975501 h 1729012"/>
                <a:gd name="connsiteX3448" fmla="*/ 1265260 w 2240198"/>
                <a:gd name="connsiteY3448" fmla="*/ 976742 h 1729012"/>
                <a:gd name="connsiteX3449" fmla="*/ 1268632 w 2240198"/>
                <a:gd name="connsiteY3449" fmla="*/ 978070 h 1729012"/>
                <a:gd name="connsiteX3450" fmla="*/ 1274300 w 2240198"/>
                <a:gd name="connsiteY3450" fmla="*/ 981723 h 1729012"/>
                <a:gd name="connsiteX3451" fmla="*/ 1275194 w 2240198"/>
                <a:gd name="connsiteY3451" fmla="*/ 983623 h 1729012"/>
                <a:gd name="connsiteX3452" fmla="*/ 1275716 w 2240198"/>
                <a:gd name="connsiteY3452" fmla="*/ 991348 h 1729012"/>
                <a:gd name="connsiteX3453" fmla="*/ 1275516 w 2240198"/>
                <a:gd name="connsiteY3453" fmla="*/ 993207 h 1729012"/>
                <a:gd name="connsiteX3454" fmla="*/ 1274780 w 2240198"/>
                <a:gd name="connsiteY3454" fmla="*/ 995054 h 1729012"/>
                <a:gd name="connsiteX3455" fmla="*/ 1273506 w 2240198"/>
                <a:gd name="connsiteY3455" fmla="*/ 996878 h 1729012"/>
                <a:gd name="connsiteX3456" fmla="*/ 1271139 w 2240198"/>
                <a:gd name="connsiteY3456" fmla="*/ 997898 h 1729012"/>
                <a:gd name="connsiteX3457" fmla="*/ 1267677 w 2240198"/>
                <a:gd name="connsiteY3457" fmla="*/ 998118 h 1729012"/>
                <a:gd name="connsiteX3458" fmla="*/ 1264959 w 2240198"/>
                <a:gd name="connsiteY3458" fmla="*/ 998867 h 1729012"/>
                <a:gd name="connsiteX3459" fmla="*/ 1259013 w 2240198"/>
                <a:gd name="connsiteY3459" fmla="*/ 1002943 h 1729012"/>
                <a:gd name="connsiteX3460" fmla="*/ 1256489 w 2240198"/>
                <a:gd name="connsiteY3460" fmla="*/ 1003531 h 1729012"/>
                <a:gd name="connsiteX3461" fmla="*/ 1245823 w 2240198"/>
                <a:gd name="connsiteY3461" fmla="*/ 1002315 h 1729012"/>
                <a:gd name="connsiteX3462" fmla="*/ 1241649 w 2240198"/>
                <a:gd name="connsiteY3462" fmla="*/ 1001176 h 1729012"/>
                <a:gd name="connsiteX3463" fmla="*/ 1239726 w 2240198"/>
                <a:gd name="connsiteY3463" fmla="*/ 1001244 h 1729012"/>
                <a:gd name="connsiteX3464" fmla="*/ 1238660 w 2240198"/>
                <a:gd name="connsiteY3464" fmla="*/ 1002143 h 1729012"/>
                <a:gd name="connsiteX3465" fmla="*/ 1237543 w 2240198"/>
                <a:gd name="connsiteY3465" fmla="*/ 1002549 h 1729012"/>
                <a:gd name="connsiteX3466" fmla="*/ 1233356 w 2240198"/>
                <a:gd name="connsiteY3466" fmla="*/ 1002923 h 1729012"/>
                <a:gd name="connsiteX3467" fmla="*/ 1232674 w 2240198"/>
                <a:gd name="connsiteY3467" fmla="*/ 1003657 h 1729012"/>
                <a:gd name="connsiteX3468" fmla="*/ 1232938 w 2240198"/>
                <a:gd name="connsiteY3468" fmla="*/ 1004785 h 1729012"/>
                <a:gd name="connsiteX3469" fmla="*/ 1233761 w 2240198"/>
                <a:gd name="connsiteY3469" fmla="*/ 1006314 h 1729012"/>
                <a:gd name="connsiteX3470" fmla="*/ 1234779 w 2240198"/>
                <a:gd name="connsiteY3470" fmla="*/ 1007191 h 1729012"/>
                <a:gd name="connsiteX3471" fmla="*/ 1236351 w 2240198"/>
                <a:gd name="connsiteY3471" fmla="*/ 1008300 h 1729012"/>
                <a:gd name="connsiteX3472" fmla="*/ 1238736 w 2240198"/>
                <a:gd name="connsiteY3472" fmla="*/ 1009027 h 1729012"/>
                <a:gd name="connsiteX3473" fmla="*/ 1243636 w 2240198"/>
                <a:gd name="connsiteY3473" fmla="*/ 1009838 h 1729012"/>
                <a:gd name="connsiteX3474" fmla="*/ 1244144 w 2240198"/>
                <a:gd name="connsiteY3474" fmla="*/ 1011909 h 1729012"/>
                <a:gd name="connsiteX3475" fmla="*/ 1243925 w 2240198"/>
                <a:gd name="connsiteY3475" fmla="*/ 1012576 h 1729012"/>
                <a:gd name="connsiteX3476" fmla="*/ 1242317 w 2240198"/>
                <a:gd name="connsiteY3476" fmla="*/ 1013957 h 1729012"/>
                <a:gd name="connsiteX3477" fmla="*/ 1240458 w 2240198"/>
                <a:gd name="connsiteY3477" fmla="*/ 1013816 h 1729012"/>
                <a:gd name="connsiteX3478" fmla="*/ 1237262 w 2240198"/>
                <a:gd name="connsiteY3478" fmla="*/ 1012186 h 1729012"/>
                <a:gd name="connsiteX3479" fmla="*/ 1235682 w 2240198"/>
                <a:gd name="connsiteY3479" fmla="*/ 1012123 h 1729012"/>
                <a:gd name="connsiteX3480" fmla="*/ 1234299 w 2240198"/>
                <a:gd name="connsiteY3480" fmla="*/ 1013006 h 1729012"/>
                <a:gd name="connsiteX3481" fmla="*/ 1232374 w 2240198"/>
                <a:gd name="connsiteY3481" fmla="*/ 1013298 h 1729012"/>
                <a:gd name="connsiteX3482" fmla="*/ 1229905 w 2240198"/>
                <a:gd name="connsiteY3482" fmla="*/ 1012997 h 1729012"/>
                <a:gd name="connsiteX3483" fmla="*/ 1228535 w 2240198"/>
                <a:gd name="connsiteY3483" fmla="*/ 1013712 h 1729012"/>
                <a:gd name="connsiteX3484" fmla="*/ 1228261 w 2240198"/>
                <a:gd name="connsiteY3484" fmla="*/ 1015442 h 1729012"/>
                <a:gd name="connsiteX3485" fmla="*/ 1227430 w 2240198"/>
                <a:gd name="connsiteY3485" fmla="*/ 1016737 h 1729012"/>
                <a:gd name="connsiteX3486" fmla="*/ 1224579 w 2240198"/>
                <a:gd name="connsiteY3486" fmla="*/ 1018780 h 1729012"/>
                <a:gd name="connsiteX3487" fmla="*/ 1223043 w 2240198"/>
                <a:gd name="connsiteY3487" fmla="*/ 1020286 h 1729012"/>
                <a:gd name="connsiteX3488" fmla="*/ 1223095 w 2240198"/>
                <a:gd name="connsiteY3488" fmla="*/ 1021468 h 1729012"/>
                <a:gd name="connsiteX3489" fmla="*/ 1224730 w 2240198"/>
                <a:gd name="connsiteY3489" fmla="*/ 1022322 h 1729012"/>
                <a:gd name="connsiteX3490" fmla="*/ 1226607 w 2240198"/>
                <a:gd name="connsiteY3490" fmla="*/ 1024256 h 1729012"/>
                <a:gd name="connsiteX3491" fmla="*/ 1228722 w 2240198"/>
                <a:gd name="connsiteY3491" fmla="*/ 1027270 h 1729012"/>
                <a:gd name="connsiteX3492" fmla="*/ 1229129 w 2240198"/>
                <a:gd name="connsiteY3492" fmla="*/ 1028601 h 1729012"/>
                <a:gd name="connsiteX3493" fmla="*/ 1227830 w 2240198"/>
                <a:gd name="connsiteY3493" fmla="*/ 1028250 h 1729012"/>
                <a:gd name="connsiteX3494" fmla="*/ 1226083 w 2240198"/>
                <a:gd name="connsiteY3494" fmla="*/ 1027056 h 1729012"/>
                <a:gd name="connsiteX3495" fmla="*/ 1223886 w 2240198"/>
                <a:gd name="connsiteY3495" fmla="*/ 1025016 h 1729012"/>
                <a:gd name="connsiteX3496" fmla="*/ 1220563 w 2240198"/>
                <a:gd name="connsiteY3496" fmla="*/ 1023188 h 1729012"/>
                <a:gd name="connsiteX3497" fmla="*/ 1213244 w 2240198"/>
                <a:gd name="connsiteY3497" fmla="*/ 1020803 h 1729012"/>
                <a:gd name="connsiteX3498" fmla="*/ 1211953 w 2240198"/>
                <a:gd name="connsiteY3498" fmla="*/ 1020877 h 1729012"/>
                <a:gd name="connsiteX3499" fmla="*/ 1212615 w 2240198"/>
                <a:gd name="connsiteY3499" fmla="*/ 1021483 h 1729012"/>
                <a:gd name="connsiteX3500" fmla="*/ 1217470 w 2240198"/>
                <a:gd name="connsiteY3500" fmla="*/ 1023985 h 1729012"/>
                <a:gd name="connsiteX3501" fmla="*/ 1219329 w 2240198"/>
                <a:gd name="connsiteY3501" fmla="*/ 1025595 h 1729012"/>
                <a:gd name="connsiteX3502" fmla="*/ 1219556 w 2240198"/>
                <a:gd name="connsiteY3502" fmla="*/ 1026767 h 1729012"/>
                <a:gd name="connsiteX3503" fmla="*/ 1215490 w 2240198"/>
                <a:gd name="connsiteY3503" fmla="*/ 1029332 h 1729012"/>
                <a:gd name="connsiteX3504" fmla="*/ 1215378 w 2240198"/>
                <a:gd name="connsiteY3504" fmla="*/ 1030192 h 1729012"/>
                <a:gd name="connsiteX3505" fmla="*/ 1216457 w 2240198"/>
                <a:gd name="connsiteY3505" fmla="*/ 1030944 h 1729012"/>
                <a:gd name="connsiteX3506" fmla="*/ 1216748 w 2240198"/>
                <a:gd name="connsiteY3506" fmla="*/ 1031569 h 1729012"/>
                <a:gd name="connsiteX3507" fmla="*/ 1215299 w 2240198"/>
                <a:gd name="connsiteY3507" fmla="*/ 1032828 h 1729012"/>
                <a:gd name="connsiteX3508" fmla="*/ 1212913 w 2240198"/>
                <a:gd name="connsiteY3508" fmla="*/ 1033882 h 1729012"/>
                <a:gd name="connsiteX3509" fmla="*/ 1208292 w 2240198"/>
                <a:gd name="connsiteY3509" fmla="*/ 1034033 h 1729012"/>
                <a:gd name="connsiteX3510" fmla="*/ 1207871 w 2240198"/>
                <a:gd name="connsiteY3510" fmla="*/ 1034629 h 1729012"/>
                <a:gd name="connsiteX3511" fmla="*/ 1209632 w 2240198"/>
                <a:gd name="connsiteY3511" fmla="*/ 1035919 h 1729012"/>
                <a:gd name="connsiteX3512" fmla="*/ 1210226 w 2240198"/>
                <a:gd name="connsiteY3512" fmla="*/ 1036720 h 1729012"/>
                <a:gd name="connsiteX3513" fmla="*/ 1208715 w 2240198"/>
                <a:gd name="connsiteY3513" fmla="*/ 1037821 h 1729012"/>
                <a:gd name="connsiteX3514" fmla="*/ 1207728 w 2240198"/>
                <a:gd name="connsiteY3514" fmla="*/ 1037976 h 1729012"/>
                <a:gd name="connsiteX3515" fmla="*/ 1202408 w 2240198"/>
                <a:gd name="connsiteY3515" fmla="*/ 1037465 h 1729012"/>
                <a:gd name="connsiteX3516" fmla="*/ 1203805 w 2240198"/>
                <a:gd name="connsiteY3516" fmla="*/ 1040215 h 1729012"/>
                <a:gd name="connsiteX3517" fmla="*/ 1204628 w 2240198"/>
                <a:gd name="connsiteY3517" fmla="*/ 1041180 h 1729012"/>
                <a:gd name="connsiteX3518" fmla="*/ 1206259 w 2240198"/>
                <a:gd name="connsiteY3518" fmla="*/ 1042538 h 1729012"/>
                <a:gd name="connsiteX3519" fmla="*/ 1209187 w 2240198"/>
                <a:gd name="connsiteY3519" fmla="*/ 1043798 h 1729012"/>
                <a:gd name="connsiteX3520" fmla="*/ 1209249 w 2240198"/>
                <a:gd name="connsiteY3520" fmla="*/ 1044285 h 1729012"/>
                <a:gd name="connsiteX3521" fmla="*/ 1208226 w 2240198"/>
                <a:gd name="connsiteY3521" fmla="*/ 1045366 h 1729012"/>
                <a:gd name="connsiteX3522" fmla="*/ 1206495 w 2240198"/>
                <a:gd name="connsiteY3522" fmla="*/ 1046680 h 1729012"/>
                <a:gd name="connsiteX3523" fmla="*/ 1199166 w 2240198"/>
                <a:gd name="connsiteY3523" fmla="*/ 1050698 h 1729012"/>
                <a:gd name="connsiteX3524" fmla="*/ 1194016 w 2240198"/>
                <a:gd name="connsiteY3524" fmla="*/ 1055399 h 1729012"/>
                <a:gd name="connsiteX3525" fmla="*/ 1193303 w 2240198"/>
                <a:gd name="connsiteY3525" fmla="*/ 1056866 h 1729012"/>
                <a:gd name="connsiteX3526" fmla="*/ 1194611 w 2240198"/>
                <a:gd name="connsiteY3526" fmla="*/ 1059950 h 1729012"/>
                <a:gd name="connsiteX3527" fmla="*/ 1194623 w 2240198"/>
                <a:gd name="connsiteY3527" fmla="*/ 1060725 h 1729012"/>
                <a:gd name="connsiteX3528" fmla="*/ 1193274 w 2240198"/>
                <a:gd name="connsiteY3528" fmla="*/ 1062119 h 1729012"/>
                <a:gd name="connsiteX3529" fmla="*/ 1190263 w 2240198"/>
                <a:gd name="connsiteY3529" fmla="*/ 1061740 h 1729012"/>
                <a:gd name="connsiteX3530" fmla="*/ 1189687 w 2240198"/>
                <a:gd name="connsiteY3530" fmla="*/ 1062287 h 1729012"/>
                <a:gd name="connsiteX3531" fmla="*/ 1190404 w 2240198"/>
                <a:gd name="connsiteY3531" fmla="*/ 1063737 h 1729012"/>
                <a:gd name="connsiteX3532" fmla="*/ 1190537 w 2240198"/>
                <a:gd name="connsiteY3532" fmla="*/ 1065857 h 1729012"/>
                <a:gd name="connsiteX3533" fmla="*/ 1190085 w 2240198"/>
                <a:gd name="connsiteY3533" fmla="*/ 1068653 h 1729012"/>
                <a:gd name="connsiteX3534" fmla="*/ 1187897 w 2240198"/>
                <a:gd name="connsiteY3534" fmla="*/ 1073026 h 1729012"/>
                <a:gd name="connsiteX3535" fmla="*/ 1183977 w 2240198"/>
                <a:gd name="connsiteY3535" fmla="*/ 1078966 h 1729012"/>
                <a:gd name="connsiteX3536" fmla="*/ 1180971 w 2240198"/>
                <a:gd name="connsiteY3536" fmla="*/ 1084349 h 1729012"/>
                <a:gd name="connsiteX3537" fmla="*/ 1178888 w 2240198"/>
                <a:gd name="connsiteY3537" fmla="*/ 1089181 h 1729012"/>
                <a:gd name="connsiteX3538" fmla="*/ 1177378 w 2240198"/>
                <a:gd name="connsiteY3538" fmla="*/ 1091573 h 1729012"/>
                <a:gd name="connsiteX3539" fmla="*/ 1174593 w 2240198"/>
                <a:gd name="connsiteY3539" fmla="*/ 1091737 h 1729012"/>
                <a:gd name="connsiteX3540" fmla="*/ 1172489 w 2240198"/>
                <a:gd name="connsiteY3540" fmla="*/ 1093243 h 1729012"/>
                <a:gd name="connsiteX3541" fmla="*/ 1173920 w 2240198"/>
                <a:gd name="connsiteY3541" fmla="*/ 1094035 h 1729012"/>
                <a:gd name="connsiteX3542" fmla="*/ 1174798 w 2240198"/>
                <a:gd name="connsiteY3542" fmla="*/ 1094959 h 1729012"/>
                <a:gd name="connsiteX3543" fmla="*/ 1175404 w 2240198"/>
                <a:gd name="connsiteY3543" fmla="*/ 1096367 h 1729012"/>
                <a:gd name="connsiteX3544" fmla="*/ 1174804 w 2240198"/>
                <a:gd name="connsiteY3544" fmla="*/ 1100762 h 1729012"/>
                <a:gd name="connsiteX3545" fmla="*/ 1172999 w 2240198"/>
                <a:gd name="connsiteY3545" fmla="*/ 1108126 h 1729012"/>
                <a:gd name="connsiteX3546" fmla="*/ 1171879 w 2240198"/>
                <a:gd name="connsiteY3546" fmla="*/ 1113966 h 1729012"/>
                <a:gd name="connsiteX3547" fmla="*/ 1172110 w 2240198"/>
                <a:gd name="connsiteY3547" fmla="*/ 1131895 h 1729012"/>
                <a:gd name="connsiteX3548" fmla="*/ 1171816 w 2240198"/>
                <a:gd name="connsiteY3548" fmla="*/ 1139785 h 1729012"/>
                <a:gd name="connsiteX3549" fmla="*/ 1171023 w 2240198"/>
                <a:gd name="connsiteY3549" fmla="*/ 1144149 h 1729012"/>
                <a:gd name="connsiteX3550" fmla="*/ 1169737 w 2240198"/>
                <a:gd name="connsiteY3550" fmla="*/ 1146517 h 1729012"/>
                <a:gd name="connsiteX3551" fmla="*/ 1167529 w 2240198"/>
                <a:gd name="connsiteY3551" fmla="*/ 1147232 h 1729012"/>
                <a:gd name="connsiteX3552" fmla="*/ 1170338 w 2240198"/>
                <a:gd name="connsiteY3552" fmla="*/ 1147922 h 1729012"/>
                <a:gd name="connsiteX3553" fmla="*/ 1172123 w 2240198"/>
                <a:gd name="connsiteY3553" fmla="*/ 1149034 h 1729012"/>
                <a:gd name="connsiteX3554" fmla="*/ 1172945 w 2240198"/>
                <a:gd name="connsiteY3554" fmla="*/ 1150719 h 1729012"/>
                <a:gd name="connsiteX3555" fmla="*/ 1173715 w 2240198"/>
                <a:gd name="connsiteY3555" fmla="*/ 1153408 h 1729012"/>
                <a:gd name="connsiteX3556" fmla="*/ 1174730 w 2240198"/>
                <a:gd name="connsiteY3556" fmla="*/ 1154646 h 1729012"/>
                <a:gd name="connsiteX3557" fmla="*/ 1175989 w 2240198"/>
                <a:gd name="connsiteY3557" fmla="*/ 1154436 h 1729012"/>
                <a:gd name="connsiteX3558" fmla="*/ 1177117 w 2240198"/>
                <a:gd name="connsiteY3558" fmla="*/ 1154706 h 1729012"/>
                <a:gd name="connsiteX3559" fmla="*/ 1178119 w 2240198"/>
                <a:gd name="connsiteY3559" fmla="*/ 1155454 h 1729012"/>
                <a:gd name="connsiteX3560" fmla="*/ 1181173 w 2240198"/>
                <a:gd name="connsiteY3560" fmla="*/ 1159282 h 1729012"/>
                <a:gd name="connsiteX3561" fmla="*/ 1184525 w 2240198"/>
                <a:gd name="connsiteY3561" fmla="*/ 1160378 h 1729012"/>
                <a:gd name="connsiteX3562" fmla="*/ 1184683 w 2240198"/>
                <a:gd name="connsiteY3562" fmla="*/ 1162498 h 1729012"/>
                <a:gd name="connsiteX3563" fmla="*/ 1183370 w 2240198"/>
                <a:gd name="connsiteY3563" fmla="*/ 1174345 h 1729012"/>
                <a:gd name="connsiteX3564" fmla="*/ 1183379 w 2240198"/>
                <a:gd name="connsiteY3564" fmla="*/ 1175887 h 1729012"/>
                <a:gd name="connsiteX3565" fmla="*/ 1184902 w 2240198"/>
                <a:gd name="connsiteY3565" fmla="*/ 1172906 h 1729012"/>
                <a:gd name="connsiteX3566" fmla="*/ 1186506 w 2240198"/>
                <a:gd name="connsiteY3566" fmla="*/ 1163707 h 1729012"/>
                <a:gd name="connsiteX3567" fmla="*/ 1188681 w 2240198"/>
                <a:gd name="connsiteY3567" fmla="*/ 1159609 h 1729012"/>
                <a:gd name="connsiteX3568" fmla="*/ 1190389 w 2240198"/>
                <a:gd name="connsiteY3568" fmla="*/ 1158743 h 1729012"/>
                <a:gd name="connsiteX3569" fmla="*/ 1197382 w 2240198"/>
                <a:gd name="connsiteY3569" fmla="*/ 1158276 h 1729012"/>
                <a:gd name="connsiteX3570" fmla="*/ 1204832 w 2240198"/>
                <a:gd name="connsiteY3570" fmla="*/ 1159320 h 1729012"/>
                <a:gd name="connsiteX3571" fmla="*/ 1207651 w 2240198"/>
                <a:gd name="connsiteY3571" fmla="*/ 1159449 h 1729012"/>
                <a:gd name="connsiteX3572" fmla="*/ 1210108 w 2240198"/>
                <a:gd name="connsiteY3572" fmla="*/ 1158877 h 1729012"/>
                <a:gd name="connsiteX3573" fmla="*/ 1212627 w 2240198"/>
                <a:gd name="connsiteY3573" fmla="*/ 1160020 h 1729012"/>
                <a:gd name="connsiteX3574" fmla="*/ 1213240 w 2240198"/>
                <a:gd name="connsiteY3574" fmla="*/ 1161175 h 1729012"/>
                <a:gd name="connsiteX3575" fmla="*/ 1213952 w 2240198"/>
                <a:gd name="connsiteY3575" fmla="*/ 1166006 h 1729012"/>
                <a:gd name="connsiteX3576" fmla="*/ 1214619 w 2240198"/>
                <a:gd name="connsiteY3576" fmla="*/ 1168769 h 1729012"/>
                <a:gd name="connsiteX3577" fmla="*/ 1219058 w 2240198"/>
                <a:gd name="connsiteY3577" fmla="*/ 1178577 h 1729012"/>
                <a:gd name="connsiteX3578" fmla="*/ 1221173 w 2240198"/>
                <a:gd name="connsiteY3578" fmla="*/ 1184053 h 1729012"/>
                <a:gd name="connsiteX3579" fmla="*/ 1223756 w 2240198"/>
                <a:gd name="connsiteY3579" fmla="*/ 1192572 h 1729012"/>
                <a:gd name="connsiteX3580" fmla="*/ 1224725 w 2240198"/>
                <a:gd name="connsiteY3580" fmla="*/ 1195002 h 1729012"/>
                <a:gd name="connsiteX3581" fmla="*/ 1230101 w 2240198"/>
                <a:gd name="connsiteY3581" fmla="*/ 1206308 h 1729012"/>
                <a:gd name="connsiteX3582" fmla="*/ 1231121 w 2240198"/>
                <a:gd name="connsiteY3582" fmla="*/ 1209361 h 1729012"/>
                <a:gd name="connsiteX3583" fmla="*/ 1231541 w 2240198"/>
                <a:gd name="connsiteY3583" fmla="*/ 1211712 h 1729012"/>
                <a:gd name="connsiteX3584" fmla="*/ 1231365 w 2240198"/>
                <a:gd name="connsiteY3584" fmla="*/ 1213360 h 1729012"/>
                <a:gd name="connsiteX3585" fmla="*/ 1230387 w 2240198"/>
                <a:gd name="connsiteY3585" fmla="*/ 1215898 h 1729012"/>
                <a:gd name="connsiteX3586" fmla="*/ 1228609 w 2240198"/>
                <a:gd name="connsiteY3586" fmla="*/ 1219324 h 1729012"/>
                <a:gd name="connsiteX3587" fmla="*/ 1226944 w 2240198"/>
                <a:gd name="connsiteY3587" fmla="*/ 1221933 h 1729012"/>
                <a:gd name="connsiteX3588" fmla="*/ 1225395 w 2240198"/>
                <a:gd name="connsiteY3588" fmla="*/ 1223726 h 1729012"/>
                <a:gd name="connsiteX3589" fmla="*/ 1223803 w 2240198"/>
                <a:gd name="connsiteY3589" fmla="*/ 1225063 h 1729012"/>
                <a:gd name="connsiteX3590" fmla="*/ 1222170 w 2240198"/>
                <a:gd name="connsiteY3590" fmla="*/ 1225944 h 1729012"/>
                <a:gd name="connsiteX3591" fmla="*/ 1222278 w 2240198"/>
                <a:gd name="connsiteY3591" fmla="*/ 1226173 h 1729012"/>
                <a:gd name="connsiteX3592" fmla="*/ 1224126 w 2240198"/>
                <a:gd name="connsiteY3592" fmla="*/ 1225755 h 1729012"/>
                <a:gd name="connsiteX3593" fmla="*/ 1226010 w 2240198"/>
                <a:gd name="connsiteY3593" fmla="*/ 1224858 h 1729012"/>
                <a:gd name="connsiteX3594" fmla="*/ 1229577 w 2240198"/>
                <a:gd name="connsiteY3594" fmla="*/ 1222538 h 1729012"/>
                <a:gd name="connsiteX3595" fmla="*/ 1230946 w 2240198"/>
                <a:gd name="connsiteY3595" fmla="*/ 1222017 h 1729012"/>
                <a:gd name="connsiteX3596" fmla="*/ 1234824 w 2240198"/>
                <a:gd name="connsiteY3596" fmla="*/ 1221685 h 1729012"/>
                <a:gd name="connsiteX3597" fmla="*/ 1234953 w 2240198"/>
                <a:gd name="connsiteY3597" fmla="*/ 1222522 h 1729012"/>
                <a:gd name="connsiteX3598" fmla="*/ 1233081 w 2240198"/>
                <a:gd name="connsiteY3598" fmla="*/ 1224248 h 1729012"/>
                <a:gd name="connsiteX3599" fmla="*/ 1233497 w 2240198"/>
                <a:gd name="connsiteY3599" fmla="*/ 1224413 h 1729012"/>
                <a:gd name="connsiteX3600" fmla="*/ 1236202 w 2240198"/>
                <a:gd name="connsiteY3600" fmla="*/ 1223022 h 1729012"/>
                <a:gd name="connsiteX3601" fmla="*/ 1242059 w 2240198"/>
                <a:gd name="connsiteY3601" fmla="*/ 1221035 h 1729012"/>
                <a:gd name="connsiteX3602" fmla="*/ 1265051 w 2240198"/>
                <a:gd name="connsiteY3602" fmla="*/ 1214590 h 1729012"/>
                <a:gd name="connsiteX3603" fmla="*/ 1270473 w 2240198"/>
                <a:gd name="connsiteY3603" fmla="*/ 1214019 h 1729012"/>
                <a:gd name="connsiteX3604" fmla="*/ 1278213 w 2240198"/>
                <a:gd name="connsiteY3604" fmla="*/ 1215199 h 1729012"/>
                <a:gd name="connsiteX3605" fmla="*/ 1284486 w 2240198"/>
                <a:gd name="connsiteY3605" fmla="*/ 1217939 h 1729012"/>
                <a:gd name="connsiteX3606" fmla="*/ 1291323 w 2240198"/>
                <a:gd name="connsiteY3606" fmla="*/ 1221466 h 1729012"/>
                <a:gd name="connsiteX3607" fmla="*/ 1298534 w 2240198"/>
                <a:gd name="connsiteY3607" fmla="*/ 1224023 h 1729012"/>
                <a:gd name="connsiteX3608" fmla="*/ 1309906 w 2240198"/>
                <a:gd name="connsiteY3608" fmla="*/ 1226411 h 1729012"/>
                <a:gd name="connsiteX3609" fmla="*/ 1313221 w 2240198"/>
                <a:gd name="connsiteY3609" fmla="*/ 1227554 h 1729012"/>
                <a:gd name="connsiteX3610" fmla="*/ 1319892 w 2240198"/>
                <a:gd name="connsiteY3610" fmla="*/ 1228731 h 1729012"/>
                <a:gd name="connsiteX3611" fmla="*/ 1322986 w 2240198"/>
                <a:gd name="connsiteY3611" fmla="*/ 1230070 h 1729012"/>
                <a:gd name="connsiteX3612" fmla="*/ 1326702 w 2240198"/>
                <a:gd name="connsiteY3612" fmla="*/ 1233292 h 1729012"/>
                <a:gd name="connsiteX3613" fmla="*/ 1332607 w 2240198"/>
                <a:gd name="connsiteY3613" fmla="*/ 1237489 h 1729012"/>
                <a:gd name="connsiteX3614" fmla="*/ 1337062 w 2240198"/>
                <a:gd name="connsiteY3614" fmla="*/ 1240119 h 1729012"/>
                <a:gd name="connsiteX3615" fmla="*/ 1342038 w 2240198"/>
                <a:gd name="connsiteY3615" fmla="*/ 1242581 h 1729012"/>
                <a:gd name="connsiteX3616" fmla="*/ 1347032 w 2240198"/>
                <a:gd name="connsiteY3616" fmla="*/ 1247098 h 1729012"/>
                <a:gd name="connsiteX3617" fmla="*/ 1355077 w 2240198"/>
                <a:gd name="connsiteY3617" fmla="*/ 1257319 h 1729012"/>
                <a:gd name="connsiteX3618" fmla="*/ 1357066 w 2240198"/>
                <a:gd name="connsiteY3618" fmla="*/ 1258573 h 1729012"/>
                <a:gd name="connsiteX3619" fmla="*/ 1362025 w 2240198"/>
                <a:gd name="connsiteY3619" fmla="*/ 1260239 h 1729012"/>
                <a:gd name="connsiteX3620" fmla="*/ 1371343 w 2240198"/>
                <a:gd name="connsiteY3620" fmla="*/ 1262386 h 1729012"/>
                <a:gd name="connsiteX3621" fmla="*/ 1385097 w 2240198"/>
                <a:gd name="connsiteY3621" fmla="*/ 1267424 h 1729012"/>
                <a:gd name="connsiteX3622" fmla="*/ 1391139 w 2240198"/>
                <a:gd name="connsiteY3622" fmla="*/ 1269396 h 1729012"/>
                <a:gd name="connsiteX3623" fmla="*/ 1395049 w 2240198"/>
                <a:gd name="connsiteY3623" fmla="*/ 1270178 h 1729012"/>
                <a:gd name="connsiteX3624" fmla="*/ 1398952 w 2240198"/>
                <a:gd name="connsiteY3624" fmla="*/ 1271564 h 1729012"/>
                <a:gd name="connsiteX3625" fmla="*/ 1402854 w 2240198"/>
                <a:gd name="connsiteY3625" fmla="*/ 1273550 h 1729012"/>
                <a:gd name="connsiteX3626" fmla="*/ 1405829 w 2240198"/>
                <a:gd name="connsiteY3626" fmla="*/ 1275713 h 1729012"/>
                <a:gd name="connsiteX3627" fmla="*/ 1407880 w 2240198"/>
                <a:gd name="connsiteY3627" fmla="*/ 1278053 h 1729012"/>
                <a:gd name="connsiteX3628" fmla="*/ 1409685 w 2240198"/>
                <a:gd name="connsiteY3628" fmla="*/ 1279582 h 1729012"/>
                <a:gd name="connsiteX3629" fmla="*/ 1412843 w 2240198"/>
                <a:gd name="connsiteY3629" fmla="*/ 1281278 h 1729012"/>
                <a:gd name="connsiteX3630" fmla="*/ 1414484 w 2240198"/>
                <a:gd name="connsiteY3630" fmla="*/ 1282493 h 1729012"/>
                <a:gd name="connsiteX3631" fmla="*/ 1414636 w 2240198"/>
                <a:gd name="connsiteY3631" fmla="*/ 1284318 h 1729012"/>
                <a:gd name="connsiteX3632" fmla="*/ 1410832 w 2240198"/>
                <a:gd name="connsiteY3632" fmla="*/ 1291457 h 1729012"/>
                <a:gd name="connsiteX3633" fmla="*/ 1410750 w 2240198"/>
                <a:gd name="connsiteY3633" fmla="*/ 1292027 h 1729012"/>
                <a:gd name="connsiteX3634" fmla="*/ 1414596 w 2240198"/>
                <a:gd name="connsiteY3634" fmla="*/ 1286904 h 1729012"/>
                <a:gd name="connsiteX3635" fmla="*/ 1416744 w 2240198"/>
                <a:gd name="connsiteY3635" fmla="*/ 1285423 h 1729012"/>
                <a:gd name="connsiteX3636" fmla="*/ 1418466 w 2240198"/>
                <a:gd name="connsiteY3636" fmla="*/ 1284736 h 1729012"/>
                <a:gd name="connsiteX3637" fmla="*/ 1422042 w 2240198"/>
                <a:gd name="connsiteY3637" fmla="*/ 1284817 h 1729012"/>
                <a:gd name="connsiteX3638" fmla="*/ 1427472 w 2240198"/>
                <a:gd name="connsiteY3638" fmla="*/ 1285671 h 1729012"/>
                <a:gd name="connsiteX3639" fmla="*/ 1432234 w 2240198"/>
                <a:gd name="connsiteY3639" fmla="*/ 1285682 h 1729012"/>
                <a:gd name="connsiteX3640" fmla="*/ 1436329 w 2240198"/>
                <a:gd name="connsiteY3640" fmla="*/ 1284846 h 1729012"/>
                <a:gd name="connsiteX3641" fmla="*/ 1439816 w 2240198"/>
                <a:gd name="connsiteY3641" fmla="*/ 1284471 h 1729012"/>
                <a:gd name="connsiteX3642" fmla="*/ 1442696 w 2240198"/>
                <a:gd name="connsiteY3642" fmla="*/ 1284553 h 1729012"/>
                <a:gd name="connsiteX3643" fmla="*/ 1444784 w 2240198"/>
                <a:gd name="connsiteY3643" fmla="*/ 1284305 h 1729012"/>
                <a:gd name="connsiteX3644" fmla="*/ 1446084 w 2240198"/>
                <a:gd name="connsiteY3644" fmla="*/ 1283726 h 1729012"/>
                <a:gd name="connsiteX3645" fmla="*/ 1447635 w 2240198"/>
                <a:gd name="connsiteY3645" fmla="*/ 1283709 h 1729012"/>
                <a:gd name="connsiteX3646" fmla="*/ 1453794 w 2240198"/>
                <a:gd name="connsiteY3646" fmla="*/ 1285484 h 1729012"/>
                <a:gd name="connsiteX3647" fmla="*/ 1456284 w 2240198"/>
                <a:gd name="connsiteY3647" fmla="*/ 1285579 h 1729012"/>
                <a:gd name="connsiteX3648" fmla="*/ 1465289 w 2240198"/>
                <a:gd name="connsiteY3648" fmla="*/ 1287249 h 1729012"/>
                <a:gd name="connsiteX3649" fmla="*/ 1471072 w 2240198"/>
                <a:gd name="connsiteY3649" fmla="*/ 1286655 h 1729012"/>
                <a:gd name="connsiteX3650" fmla="*/ 1472067 w 2240198"/>
                <a:gd name="connsiteY3650" fmla="*/ 1286979 h 1729012"/>
                <a:gd name="connsiteX3651" fmla="*/ 1474077 w 2240198"/>
                <a:gd name="connsiteY3651" fmla="*/ 1289153 h 1729012"/>
                <a:gd name="connsiteX3652" fmla="*/ 1475778 w 2240198"/>
                <a:gd name="connsiteY3652" fmla="*/ 1289323 h 1729012"/>
                <a:gd name="connsiteX3653" fmla="*/ 1478648 w 2240198"/>
                <a:gd name="connsiteY3653" fmla="*/ 1288983 h 1729012"/>
                <a:gd name="connsiteX3654" fmla="*/ 1481439 w 2240198"/>
                <a:gd name="connsiteY3654" fmla="*/ 1289577 h 1729012"/>
                <a:gd name="connsiteX3655" fmla="*/ 1486109 w 2240198"/>
                <a:gd name="connsiteY3655" fmla="*/ 1292432 h 1729012"/>
                <a:gd name="connsiteX3656" fmla="*/ 1488265 w 2240198"/>
                <a:gd name="connsiteY3656" fmla="*/ 1294889 h 1729012"/>
                <a:gd name="connsiteX3657" fmla="*/ 1490334 w 2240198"/>
                <a:gd name="connsiteY3657" fmla="*/ 1299898 h 1729012"/>
                <a:gd name="connsiteX3658" fmla="*/ 1490518 w 2240198"/>
                <a:gd name="connsiteY3658" fmla="*/ 1301391 h 1729012"/>
                <a:gd name="connsiteX3659" fmla="*/ 1486683 w 2240198"/>
                <a:gd name="connsiteY3659" fmla="*/ 1312967 h 1729012"/>
                <a:gd name="connsiteX3660" fmla="*/ 1485480 w 2240198"/>
                <a:gd name="connsiteY3660" fmla="*/ 1317434 h 1729012"/>
                <a:gd name="connsiteX3661" fmla="*/ 1485326 w 2240198"/>
                <a:gd name="connsiteY3661" fmla="*/ 1321318 h 1729012"/>
                <a:gd name="connsiteX3662" fmla="*/ 1486087 w 2240198"/>
                <a:gd name="connsiteY3662" fmla="*/ 1323555 h 1729012"/>
                <a:gd name="connsiteX3663" fmla="*/ 1489398 w 2240198"/>
                <a:gd name="connsiteY3663" fmla="*/ 1327299 h 1729012"/>
                <a:gd name="connsiteX3664" fmla="*/ 1489997 w 2240198"/>
                <a:gd name="connsiteY3664" fmla="*/ 1328280 h 1729012"/>
                <a:gd name="connsiteX3665" fmla="*/ 1491957 w 2240198"/>
                <a:gd name="connsiteY3665" fmla="*/ 1333812 h 1729012"/>
                <a:gd name="connsiteX3666" fmla="*/ 1492494 w 2240198"/>
                <a:gd name="connsiteY3666" fmla="*/ 1336176 h 1729012"/>
                <a:gd name="connsiteX3667" fmla="*/ 1492277 w 2240198"/>
                <a:gd name="connsiteY3667" fmla="*/ 1338883 h 1729012"/>
                <a:gd name="connsiteX3668" fmla="*/ 1491247 w 2240198"/>
                <a:gd name="connsiteY3668" fmla="*/ 1343338 h 1729012"/>
                <a:gd name="connsiteX3669" fmla="*/ 1491506 w 2240198"/>
                <a:gd name="connsiteY3669" fmla="*/ 1346730 h 1729012"/>
                <a:gd name="connsiteX3670" fmla="*/ 1492373 w 2240198"/>
                <a:gd name="connsiteY3670" fmla="*/ 1351849 h 1729012"/>
                <a:gd name="connsiteX3671" fmla="*/ 1492044 w 2240198"/>
                <a:gd name="connsiteY3671" fmla="*/ 1355312 h 1729012"/>
                <a:gd name="connsiteX3672" fmla="*/ 1490521 w 2240198"/>
                <a:gd name="connsiteY3672" fmla="*/ 1357126 h 1729012"/>
                <a:gd name="connsiteX3673" fmla="*/ 1489490 w 2240198"/>
                <a:gd name="connsiteY3673" fmla="*/ 1358905 h 1729012"/>
                <a:gd name="connsiteX3674" fmla="*/ 1488687 w 2240198"/>
                <a:gd name="connsiteY3674" fmla="*/ 1362127 h 1729012"/>
                <a:gd name="connsiteX3675" fmla="*/ 1488688 w 2240198"/>
                <a:gd name="connsiteY3675" fmla="*/ 1363344 h 1729012"/>
                <a:gd name="connsiteX3676" fmla="*/ 1489477 w 2240198"/>
                <a:gd name="connsiteY3676" fmla="*/ 1365733 h 1729012"/>
                <a:gd name="connsiteX3677" fmla="*/ 1490941 w 2240198"/>
                <a:gd name="connsiteY3677" fmla="*/ 1367086 h 1729012"/>
                <a:gd name="connsiteX3678" fmla="*/ 1493343 w 2240198"/>
                <a:gd name="connsiteY3678" fmla="*/ 1368605 h 1729012"/>
                <a:gd name="connsiteX3679" fmla="*/ 1495573 w 2240198"/>
                <a:gd name="connsiteY3679" fmla="*/ 1370858 h 1729012"/>
                <a:gd name="connsiteX3680" fmla="*/ 1499649 w 2240198"/>
                <a:gd name="connsiteY3680" fmla="*/ 1376341 h 1729012"/>
                <a:gd name="connsiteX3681" fmla="*/ 1502615 w 2240198"/>
                <a:gd name="connsiteY3681" fmla="*/ 1379341 h 1729012"/>
                <a:gd name="connsiteX3682" fmla="*/ 1506238 w 2240198"/>
                <a:gd name="connsiteY3682" fmla="*/ 1383811 h 1729012"/>
                <a:gd name="connsiteX3683" fmla="*/ 1506941 w 2240198"/>
                <a:gd name="connsiteY3683" fmla="*/ 1386036 h 1729012"/>
                <a:gd name="connsiteX3684" fmla="*/ 1505931 w 2240198"/>
                <a:gd name="connsiteY3684" fmla="*/ 1387509 h 1729012"/>
                <a:gd name="connsiteX3685" fmla="*/ 1504671 w 2240198"/>
                <a:gd name="connsiteY3685" fmla="*/ 1388535 h 1729012"/>
                <a:gd name="connsiteX3686" fmla="*/ 1501751 w 2240198"/>
                <a:gd name="connsiteY3686" fmla="*/ 1389907 h 1729012"/>
                <a:gd name="connsiteX3687" fmla="*/ 1500445 w 2240198"/>
                <a:gd name="connsiteY3687" fmla="*/ 1390906 h 1729012"/>
                <a:gd name="connsiteX3688" fmla="*/ 1500783 w 2240198"/>
                <a:gd name="connsiteY3688" fmla="*/ 1391145 h 1729012"/>
                <a:gd name="connsiteX3689" fmla="*/ 1505007 w 2240198"/>
                <a:gd name="connsiteY3689" fmla="*/ 1390401 h 1729012"/>
                <a:gd name="connsiteX3690" fmla="*/ 1507503 w 2240198"/>
                <a:gd name="connsiteY3690" fmla="*/ 1390479 h 1729012"/>
                <a:gd name="connsiteX3691" fmla="*/ 1509615 w 2240198"/>
                <a:gd name="connsiteY3691" fmla="*/ 1391576 h 1729012"/>
                <a:gd name="connsiteX3692" fmla="*/ 1511342 w 2240198"/>
                <a:gd name="connsiteY3692" fmla="*/ 1393692 h 1729012"/>
                <a:gd name="connsiteX3693" fmla="*/ 1514209 w 2240198"/>
                <a:gd name="connsiteY3693" fmla="*/ 1395492 h 1729012"/>
                <a:gd name="connsiteX3694" fmla="*/ 1518211 w 2240198"/>
                <a:gd name="connsiteY3694" fmla="*/ 1396979 h 1729012"/>
                <a:gd name="connsiteX3695" fmla="*/ 1522235 w 2240198"/>
                <a:gd name="connsiteY3695" fmla="*/ 1399461 h 1729012"/>
                <a:gd name="connsiteX3696" fmla="*/ 1528904 w 2240198"/>
                <a:gd name="connsiteY3696" fmla="*/ 1405348 h 1729012"/>
                <a:gd name="connsiteX3697" fmla="*/ 1530110 w 2240198"/>
                <a:gd name="connsiteY3697" fmla="*/ 1406701 h 1729012"/>
                <a:gd name="connsiteX3698" fmla="*/ 1531884 w 2240198"/>
                <a:gd name="connsiteY3698" fmla="*/ 1409779 h 1729012"/>
                <a:gd name="connsiteX3699" fmla="*/ 1534221 w 2240198"/>
                <a:gd name="connsiteY3699" fmla="*/ 1414575 h 1729012"/>
                <a:gd name="connsiteX3700" fmla="*/ 1535444 w 2240198"/>
                <a:gd name="connsiteY3700" fmla="*/ 1417704 h 1729012"/>
                <a:gd name="connsiteX3701" fmla="*/ 1535553 w 2240198"/>
                <a:gd name="connsiteY3701" fmla="*/ 1419174 h 1729012"/>
                <a:gd name="connsiteX3702" fmla="*/ 1534230 w 2240198"/>
                <a:gd name="connsiteY3702" fmla="*/ 1420650 h 1729012"/>
                <a:gd name="connsiteX3703" fmla="*/ 1529736 w 2240198"/>
                <a:gd name="connsiteY3703" fmla="*/ 1423338 h 1729012"/>
                <a:gd name="connsiteX3704" fmla="*/ 1525210 w 2240198"/>
                <a:gd name="connsiteY3704" fmla="*/ 1428030 h 1729012"/>
                <a:gd name="connsiteX3705" fmla="*/ 1526636 w 2240198"/>
                <a:gd name="connsiteY3705" fmla="*/ 1427801 h 1729012"/>
                <a:gd name="connsiteX3706" fmla="*/ 1529621 w 2240198"/>
                <a:gd name="connsiteY3706" fmla="*/ 1425819 h 1729012"/>
                <a:gd name="connsiteX3707" fmla="*/ 1534665 w 2240198"/>
                <a:gd name="connsiteY3707" fmla="*/ 1421907 h 1729012"/>
                <a:gd name="connsiteX3708" fmla="*/ 1537463 w 2240198"/>
                <a:gd name="connsiteY3708" fmla="*/ 1421148 h 1729012"/>
                <a:gd name="connsiteX3709" fmla="*/ 1540057 w 2240198"/>
                <a:gd name="connsiteY3709" fmla="*/ 1421603 h 1729012"/>
                <a:gd name="connsiteX3710" fmla="*/ 1544167 w 2240198"/>
                <a:gd name="connsiteY3710" fmla="*/ 1422729 h 1729012"/>
                <a:gd name="connsiteX3711" fmla="*/ 1547798 w 2240198"/>
                <a:gd name="connsiteY3711" fmla="*/ 1424332 h 1729012"/>
                <a:gd name="connsiteX3712" fmla="*/ 1550947 w 2240198"/>
                <a:gd name="connsiteY3712" fmla="*/ 1426408 h 1729012"/>
                <a:gd name="connsiteX3713" fmla="*/ 1555630 w 2240198"/>
                <a:gd name="connsiteY3713" fmla="*/ 1431958 h 1729012"/>
                <a:gd name="connsiteX3714" fmla="*/ 1560584 w 2240198"/>
                <a:gd name="connsiteY3714" fmla="*/ 1436384 h 1729012"/>
                <a:gd name="connsiteX3715" fmla="*/ 1563328 w 2240198"/>
                <a:gd name="connsiteY3715" fmla="*/ 1440159 h 1729012"/>
                <a:gd name="connsiteX3716" fmla="*/ 1562496 w 2240198"/>
                <a:gd name="connsiteY3716" fmla="*/ 1437758 h 1729012"/>
                <a:gd name="connsiteX3717" fmla="*/ 1560672 w 2240198"/>
                <a:gd name="connsiteY3717" fmla="*/ 1434990 h 1729012"/>
                <a:gd name="connsiteX3718" fmla="*/ 1556019 w 2240198"/>
                <a:gd name="connsiteY3718" fmla="*/ 1430577 h 1729012"/>
                <a:gd name="connsiteX3719" fmla="*/ 1554034 w 2240198"/>
                <a:gd name="connsiteY3719" fmla="*/ 1428279 h 1729012"/>
                <a:gd name="connsiteX3720" fmla="*/ 1553604 w 2240198"/>
                <a:gd name="connsiteY3720" fmla="*/ 1427175 h 1729012"/>
                <a:gd name="connsiteX3721" fmla="*/ 1553451 w 2240198"/>
                <a:gd name="connsiteY3721" fmla="*/ 1425973 h 1729012"/>
                <a:gd name="connsiteX3722" fmla="*/ 1553811 w 2240198"/>
                <a:gd name="connsiteY3722" fmla="*/ 1423777 h 1729012"/>
                <a:gd name="connsiteX3723" fmla="*/ 1554684 w 2240198"/>
                <a:gd name="connsiteY3723" fmla="*/ 1420587 h 1729012"/>
                <a:gd name="connsiteX3724" fmla="*/ 1555847 w 2240198"/>
                <a:gd name="connsiteY3724" fmla="*/ 1418334 h 1729012"/>
                <a:gd name="connsiteX3725" fmla="*/ 1557297 w 2240198"/>
                <a:gd name="connsiteY3725" fmla="*/ 1417023 h 1729012"/>
                <a:gd name="connsiteX3726" fmla="*/ 1558268 w 2240198"/>
                <a:gd name="connsiteY3726" fmla="*/ 1415629 h 1729012"/>
                <a:gd name="connsiteX3727" fmla="*/ 1558760 w 2240198"/>
                <a:gd name="connsiteY3727" fmla="*/ 1414150 h 1729012"/>
                <a:gd name="connsiteX3728" fmla="*/ 1559533 w 2240198"/>
                <a:gd name="connsiteY3728" fmla="*/ 1413063 h 1729012"/>
                <a:gd name="connsiteX3729" fmla="*/ 1563563 w 2240198"/>
                <a:gd name="connsiteY3729" fmla="*/ 1411098 h 1729012"/>
                <a:gd name="connsiteX3730" fmla="*/ 1564620 w 2240198"/>
                <a:gd name="connsiteY3730" fmla="*/ 1411279 h 1729012"/>
                <a:gd name="connsiteX3731" fmla="*/ 1565449 w 2240198"/>
                <a:gd name="connsiteY3731" fmla="*/ 1413668 h 1729012"/>
                <a:gd name="connsiteX3732" fmla="*/ 1566416 w 2240198"/>
                <a:gd name="connsiteY3732" fmla="*/ 1414164 h 1729012"/>
                <a:gd name="connsiteX3733" fmla="*/ 1568277 w 2240198"/>
                <a:gd name="connsiteY3733" fmla="*/ 1414537 h 1729012"/>
                <a:gd name="connsiteX3734" fmla="*/ 1569846 w 2240198"/>
                <a:gd name="connsiteY3734" fmla="*/ 1415364 h 1729012"/>
                <a:gd name="connsiteX3735" fmla="*/ 1571122 w 2240198"/>
                <a:gd name="connsiteY3735" fmla="*/ 1416642 h 1729012"/>
                <a:gd name="connsiteX3736" fmla="*/ 1572022 w 2240198"/>
                <a:gd name="connsiteY3736" fmla="*/ 1417936 h 1729012"/>
                <a:gd name="connsiteX3737" fmla="*/ 1572547 w 2240198"/>
                <a:gd name="connsiteY3737" fmla="*/ 1419248 h 1729012"/>
                <a:gd name="connsiteX3738" fmla="*/ 1573749 w 2240198"/>
                <a:gd name="connsiteY3738" fmla="*/ 1423526 h 1729012"/>
                <a:gd name="connsiteX3739" fmla="*/ 1574605 w 2240198"/>
                <a:gd name="connsiteY3739" fmla="*/ 1425503 h 1729012"/>
                <a:gd name="connsiteX3740" fmla="*/ 1574749 w 2240198"/>
                <a:gd name="connsiteY3740" fmla="*/ 1423105 h 1729012"/>
                <a:gd name="connsiteX3741" fmla="*/ 1575750 w 2240198"/>
                <a:gd name="connsiteY3741" fmla="*/ 1419330 h 1729012"/>
                <a:gd name="connsiteX3742" fmla="*/ 1576525 w 2240198"/>
                <a:gd name="connsiteY3742" fmla="*/ 1417780 h 1729012"/>
                <a:gd name="connsiteX3743" fmla="*/ 1578962 w 2240198"/>
                <a:gd name="connsiteY3743" fmla="*/ 1415507 h 1729012"/>
                <a:gd name="connsiteX3744" fmla="*/ 1578832 w 2240198"/>
                <a:gd name="connsiteY3744" fmla="*/ 1414524 h 1729012"/>
                <a:gd name="connsiteX3745" fmla="*/ 1577821 w 2240198"/>
                <a:gd name="connsiteY3745" fmla="*/ 1413203 h 1729012"/>
                <a:gd name="connsiteX3746" fmla="*/ 1572714 w 2240198"/>
                <a:gd name="connsiteY3746" fmla="*/ 1407532 h 1729012"/>
                <a:gd name="connsiteX3747" fmla="*/ 1572615 w 2240198"/>
                <a:gd name="connsiteY3747" fmla="*/ 1406153 h 1729012"/>
                <a:gd name="connsiteX3748" fmla="*/ 1573978 w 2240198"/>
                <a:gd name="connsiteY3748" fmla="*/ 1405332 h 1729012"/>
                <a:gd name="connsiteX3749" fmla="*/ 1574911 w 2240198"/>
                <a:gd name="connsiteY3749" fmla="*/ 1403766 h 1729012"/>
                <a:gd name="connsiteX3750" fmla="*/ 1575414 w 2240198"/>
                <a:gd name="connsiteY3750" fmla="*/ 1401453 h 1729012"/>
                <a:gd name="connsiteX3751" fmla="*/ 1576506 w 2240198"/>
                <a:gd name="connsiteY3751" fmla="*/ 1399774 h 1729012"/>
                <a:gd name="connsiteX3752" fmla="*/ 1579706 w 2240198"/>
                <a:gd name="connsiteY3752" fmla="*/ 1397410 h 1729012"/>
                <a:gd name="connsiteX3753" fmla="*/ 1582462 w 2240198"/>
                <a:gd name="connsiteY3753" fmla="*/ 1393778 h 1729012"/>
                <a:gd name="connsiteX3754" fmla="*/ 1583880 w 2240198"/>
                <a:gd name="connsiteY3754" fmla="*/ 1391278 h 1729012"/>
                <a:gd name="connsiteX3755" fmla="*/ 1585040 w 2240198"/>
                <a:gd name="connsiteY3755" fmla="*/ 1389958 h 1729012"/>
                <a:gd name="connsiteX3756" fmla="*/ 1586144 w 2240198"/>
                <a:gd name="connsiteY3756" fmla="*/ 1389642 h 1729012"/>
                <a:gd name="connsiteX3757" fmla="*/ 1584496 w 2240198"/>
                <a:gd name="connsiteY3757" fmla="*/ 1388630 h 1729012"/>
                <a:gd name="connsiteX3758" fmla="*/ 1584167 w 2240198"/>
                <a:gd name="connsiteY3758" fmla="*/ 1387964 h 1729012"/>
                <a:gd name="connsiteX3759" fmla="*/ 1584090 w 2240198"/>
                <a:gd name="connsiteY3759" fmla="*/ 1384950 h 1729012"/>
                <a:gd name="connsiteX3760" fmla="*/ 1583380 w 2240198"/>
                <a:gd name="connsiteY3760" fmla="*/ 1381789 h 1729012"/>
                <a:gd name="connsiteX3761" fmla="*/ 1582277 w 2240198"/>
                <a:gd name="connsiteY3761" fmla="*/ 1380314 h 1729012"/>
                <a:gd name="connsiteX3762" fmla="*/ 1579154 w 2240198"/>
                <a:gd name="connsiteY3762" fmla="*/ 1377150 h 1729012"/>
                <a:gd name="connsiteX3763" fmla="*/ 1578638 w 2240198"/>
                <a:gd name="connsiteY3763" fmla="*/ 1376206 h 1729012"/>
                <a:gd name="connsiteX3764" fmla="*/ 1578089 w 2240198"/>
                <a:gd name="connsiteY3764" fmla="*/ 1372624 h 1729012"/>
                <a:gd name="connsiteX3765" fmla="*/ 1578397 w 2240198"/>
                <a:gd name="connsiteY3765" fmla="*/ 1370832 h 1729012"/>
                <a:gd name="connsiteX3766" fmla="*/ 1579207 w 2240198"/>
                <a:gd name="connsiteY3766" fmla="*/ 1369323 h 1729012"/>
                <a:gd name="connsiteX3767" fmla="*/ 1578746 w 2240198"/>
                <a:gd name="connsiteY3767" fmla="*/ 1367864 h 1729012"/>
                <a:gd name="connsiteX3768" fmla="*/ 1575849 w 2240198"/>
                <a:gd name="connsiteY3768" fmla="*/ 1365220 h 1729012"/>
                <a:gd name="connsiteX3769" fmla="*/ 1574730 w 2240198"/>
                <a:gd name="connsiteY3769" fmla="*/ 1362909 h 1729012"/>
                <a:gd name="connsiteX3770" fmla="*/ 1573491 w 2240198"/>
                <a:gd name="connsiteY3770" fmla="*/ 1357309 h 1729012"/>
                <a:gd name="connsiteX3771" fmla="*/ 1572351 w 2240198"/>
                <a:gd name="connsiteY3771" fmla="*/ 1350271 h 1729012"/>
                <a:gd name="connsiteX3772" fmla="*/ 1571057 w 2240198"/>
                <a:gd name="connsiteY3772" fmla="*/ 1345084 h 1729012"/>
                <a:gd name="connsiteX3773" fmla="*/ 1569606 w 2240198"/>
                <a:gd name="connsiteY3773" fmla="*/ 1341756 h 1729012"/>
                <a:gd name="connsiteX3774" fmla="*/ 1569280 w 2240198"/>
                <a:gd name="connsiteY3774" fmla="*/ 1339658 h 1729012"/>
                <a:gd name="connsiteX3775" fmla="*/ 1570084 w 2240198"/>
                <a:gd name="connsiteY3775" fmla="*/ 1338788 h 1729012"/>
                <a:gd name="connsiteX3776" fmla="*/ 1571127 w 2240198"/>
                <a:gd name="connsiteY3776" fmla="*/ 1336163 h 1729012"/>
                <a:gd name="connsiteX3777" fmla="*/ 1572069 w 2240198"/>
                <a:gd name="connsiteY3777" fmla="*/ 1335518 h 1729012"/>
                <a:gd name="connsiteX3778" fmla="*/ 1573527 w 2240198"/>
                <a:gd name="connsiteY3778" fmla="*/ 1335691 h 1729012"/>
                <a:gd name="connsiteX3779" fmla="*/ 1573560 w 2240198"/>
                <a:gd name="connsiteY3779" fmla="*/ 1335390 h 1729012"/>
                <a:gd name="connsiteX3780" fmla="*/ 1571338 w 2240198"/>
                <a:gd name="connsiteY3780" fmla="*/ 1333973 h 1729012"/>
                <a:gd name="connsiteX3781" fmla="*/ 1570245 w 2240198"/>
                <a:gd name="connsiteY3781" fmla="*/ 1332190 h 1729012"/>
                <a:gd name="connsiteX3782" fmla="*/ 1570292 w 2240198"/>
                <a:gd name="connsiteY3782" fmla="*/ 1331528 h 1729012"/>
                <a:gd name="connsiteX3783" fmla="*/ 1572250 w 2240198"/>
                <a:gd name="connsiteY3783" fmla="*/ 1329752 h 1729012"/>
                <a:gd name="connsiteX3784" fmla="*/ 1571898 w 2240198"/>
                <a:gd name="connsiteY3784" fmla="*/ 1329005 h 1729012"/>
                <a:gd name="connsiteX3785" fmla="*/ 1570448 w 2240198"/>
                <a:gd name="connsiteY3785" fmla="*/ 1328032 h 1729012"/>
                <a:gd name="connsiteX3786" fmla="*/ 1566018 w 2240198"/>
                <a:gd name="connsiteY3786" fmla="*/ 1326398 h 1729012"/>
                <a:gd name="connsiteX3787" fmla="*/ 1567615 w 2240198"/>
                <a:gd name="connsiteY3787" fmla="*/ 1325768 h 1729012"/>
                <a:gd name="connsiteX3788" fmla="*/ 1568630 w 2240198"/>
                <a:gd name="connsiteY3788" fmla="*/ 1324365 h 1729012"/>
                <a:gd name="connsiteX3789" fmla="*/ 1568429 w 2240198"/>
                <a:gd name="connsiteY3789" fmla="*/ 1323946 h 1729012"/>
                <a:gd name="connsiteX3790" fmla="*/ 1566674 w 2240198"/>
                <a:gd name="connsiteY3790" fmla="*/ 1323373 h 1729012"/>
                <a:gd name="connsiteX3791" fmla="*/ 1564653 w 2240198"/>
                <a:gd name="connsiteY3791" fmla="*/ 1322286 h 1729012"/>
                <a:gd name="connsiteX3792" fmla="*/ 1563119 w 2240198"/>
                <a:gd name="connsiteY3792" fmla="*/ 1320662 h 1729012"/>
                <a:gd name="connsiteX3793" fmla="*/ 1561233 w 2240198"/>
                <a:gd name="connsiteY3793" fmla="*/ 1318105 h 1729012"/>
                <a:gd name="connsiteX3794" fmla="*/ 1560080 w 2240198"/>
                <a:gd name="connsiteY3794" fmla="*/ 1316072 h 1729012"/>
                <a:gd name="connsiteX3795" fmla="*/ 1558947 w 2240198"/>
                <a:gd name="connsiteY3795" fmla="*/ 1312685 h 1729012"/>
                <a:gd name="connsiteX3796" fmla="*/ 1556987 w 2240198"/>
                <a:gd name="connsiteY3796" fmla="*/ 1308828 h 1729012"/>
                <a:gd name="connsiteX3797" fmla="*/ 1556131 w 2240198"/>
                <a:gd name="connsiteY3797" fmla="*/ 1307866 h 1729012"/>
                <a:gd name="connsiteX3798" fmla="*/ 1555150 w 2240198"/>
                <a:gd name="connsiteY3798" fmla="*/ 1307244 h 1729012"/>
                <a:gd name="connsiteX3799" fmla="*/ 1554046 w 2240198"/>
                <a:gd name="connsiteY3799" fmla="*/ 1306957 h 1729012"/>
                <a:gd name="connsiteX3800" fmla="*/ 1554086 w 2240198"/>
                <a:gd name="connsiteY3800" fmla="*/ 1306367 h 1729012"/>
                <a:gd name="connsiteX3801" fmla="*/ 1555274 w 2240198"/>
                <a:gd name="connsiteY3801" fmla="*/ 1305467 h 1729012"/>
                <a:gd name="connsiteX3802" fmla="*/ 1574451 w 2240198"/>
                <a:gd name="connsiteY3802" fmla="*/ 1298998 h 1729012"/>
                <a:gd name="connsiteX3803" fmla="*/ 1576048 w 2240198"/>
                <a:gd name="connsiteY3803" fmla="*/ 1298065 h 1729012"/>
                <a:gd name="connsiteX3804" fmla="*/ 1585461 w 2240198"/>
                <a:gd name="connsiteY3804" fmla="*/ 1294435 h 1729012"/>
                <a:gd name="connsiteX3805" fmla="*/ 1589808 w 2240198"/>
                <a:gd name="connsiteY3805" fmla="*/ 1292407 h 1729012"/>
                <a:gd name="connsiteX3806" fmla="*/ 1594239 w 2240198"/>
                <a:gd name="connsiteY3806" fmla="*/ 1289485 h 1729012"/>
                <a:gd name="connsiteX3807" fmla="*/ 1600267 w 2240198"/>
                <a:gd name="connsiteY3807" fmla="*/ 1286477 h 1729012"/>
                <a:gd name="connsiteX3808" fmla="*/ 1603204 w 2240198"/>
                <a:gd name="connsiteY3808" fmla="*/ 1284537 h 1729012"/>
                <a:gd name="connsiteX3809" fmla="*/ 1605058 w 2240198"/>
                <a:gd name="connsiteY3809" fmla="*/ 1282663 h 1729012"/>
                <a:gd name="connsiteX3810" fmla="*/ 1614623 w 2240198"/>
                <a:gd name="connsiteY3810" fmla="*/ 1275168 h 1729012"/>
                <a:gd name="connsiteX3811" fmla="*/ 1618676 w 2240198"/>
                <a:gd name="connsiteY3811" fmla="*/ 1271330 h 1729012"/>
                <a:gd name="connsiteX3812" fmla="*/ 1621023 w 2240198"/>
                <a:gd name="connsiteY3812" fmla="*/ 1268027 h 1729012"/>
                <a:gd name="connsiteX3813" fmla="*/ 1624433 w 2240198"/>
                <a:gd name="connsiteY3813" fmla="*/ 1264074 h 1729012"/>
                <a:gd name="connsiteX3814" fmla="*/ 1628902 w 2240198"/>
                <a:gd name="connsiteY3814" fmla="*/ 1259461 h 1729012"/>
                <a:gd name="connsiteX3815" fmla="*/ 1631725 w 2240198"/>
                <a:gd name="connsiteY3815" fmla="*/ 1255498 h 1729012"/>
                <a:gd name="connsiteX3816" fmla="*/ 1632903 w 2240198"/>
                <a:gd name="connsiteY3816" fmla="*/ 1252192 h 1729012"/>
                <a:gd name="connsiteX3817" fmla="*/ 1634365 w 2240198"/>
                <a:gd name="connsiteY3817" fmla="*/ 1246481 h 1729012"/>
                <a:gd name="connsiteX3818" fmla="*/ 1634784 w 2240198"/>
                <a:gd name="connsiteY3818" fmla="*/ 1241405 h 1729012"/>
                <a:gd name="connsiteX3819" fmla="*/ 1635042 w 2240198"/>
                <a:gd name="connsiteY3819" fmla="*/ 1233945 h 1729012"/>
                <a:gd name="connsiteX3820" fmla="*/ 1634892 w 2240198"/>
                <a:gd name="connsiteY3820" fmla="*/ 1227266 h 1729012"/>
                <a:gd name="connsiteX3821" fmla="*/ 1633694 w 2240198"/>
                <a:gd name="connsiteY3821" fmla="*/ 1216773 h 1729012"/>
                <a:gd name="connsiteX3822" fmla="*/ 1632969 w 2240198"/>
                <a:gd name="connsiteY3822" fmla="*/ 1213461 h 1729012"/>
                <a:gd name="connsiteX3823" fmla="*/ 1631600 w 2240198"/>
                <a:gd name="connsiteY3823" fmla="*/ 1209517 h 1729012"/>
                <a:gd name="connsiteX3824" fmla="*/ 1628281 w 2240198"/>
                <a:gd name="connsiteY3824" fmla="*/ 1201561 h 1729012"/>
                <a:gd name="connsiteX3825" fmla="*/ 1627685 w 2240198"/>
                <a:gd name="connsiteY3825" fmla="*/ 1199389 h 1729012"/>
                <a:gd name="connsiteX3826" fmla="*/ 1625629 w 2240198"/>
                <a:gd name="connsiteY3826" fmla="*/ 1195723 h 1729012"/>
                <a:gd name="connsiteX3827" fmla="*/ 1618887 w 2240198"/>
                <a:gd name="connsiteY3827" fmla="*/ 1186149 h 1729012"/>
                <a:gd name="connsiteX3828" fmla="*/ 1610459 w 2240198"/>
                <a:gd name="connsiteY3828" fmla="*/ 1179653 h 1729012"/>
                <a:gd name="connsiteX3829" fmla="*/ 1608855 w 2240198"/>
                <a:gd name="connsiteY3829" fmla="*/ 1178019 h 1729012"/>
                <a:gd name="connsiteX3830" fmla="*/ 1605517 w 2240198"/>
                <a:gd name="connsiteY3830" fmla="*/ 1176109 h 1729012"/>
                <a:gd name="connsiteX3831" fmla="*/ 1600444 w 2240198"/>
                <a:gd name="connsiteY3831" fmla="*/ 1173915 h 1729012"/>
                <a:gd name="connsiteX3832" fmla="*/ 1597162 w 2240198"/>
                <a:gd name="connsiteY3832" fmla="*/ 1172125 h 1729012"/>
                <a:gd name="connsiteX3833" fmla="*/ 1588588 w 2240198"/>
                <a:gd name="connsiteY3833" fmla="*/ 1165403 h 1729012"/>
                <a:gd name="connsiteX3834" fmla="*/ 1585767 w 2240198"/>
                <a:gd name="connsiteY3834" fmla="*/ 1164596 h 1729012"/>
                <a:gd name="connsiteX3835" fmla="*/ 1584678 w 2240198"/>
                <a:gd name="connsiteY3835" fmla="*/ 1162863 h 1729012"/>
                <a:gd name="connsiteX3836" fmla="*/ 1584445 w 2240198"/>
                <a:gd name="connsiteY3836" fmla="*/ 1161628 h 1729012"/>
                <a:gd name="connsiteX3837" fmla="*/ 1584770 w 2240198"/>
                <a:gd name="connsiteY3837" fmla="*/ 1158405 h 1729012"/>
                <a:gd name="connsiteX3838" fmla="*/ 1585269 w 2240198"/>
                <a:gd name="connsiteY3838" fmla="*/ 1156172 h 1729012"/>
                <a:gd name="connsiteX3839" fmla="*/ 1585876 w 2240198"/>
                <a:gd name="connsiteY3839" fmla="*/ 1154526 h 1729012"/>
                <a:gd name="connsiteX3840" fmla="*/ 1586590 w 2240198"/>
                <a:gd name="connsiteY3840" fmla="*/ 1153466 h 1729012"/>
                <a:gd name="connsiteX3841" fmla="*/ 1591309 w 2240198"/>
                <a:gd name="connsiteY3841" fmla="*/ 1148493 h 1729012"/>
                <a:gd name="connsiteX3842" fmla="*/ 1593950 w 2240198"/>
                <a:gd name="connsiteY3842" fmla="*/ 1144507 h 1729012"/>
                <a:gd name="connsiteX3843" fmla="*/ 1595790 w 2240198"/>
                <a:gd name="connsiteY3843" fmla="*/ 1142320 h 1729012"/>
                <a:gd name="connsiteX3844" fmla="*/ 1597820 w 2240198"/>
                <a:gd name="connsiteY3844" fmla="*/ 1140624 h 1729012"/>
                <a:gd name="connsiteX3845" fmla="*/ 1601492 w 2240198"/>
                <a:gd name="connsiteY3845" fmla="*/ 1138393 h 1729012"/>
                <a:gd name="connsiteX3846" fmla="*/ 1603574 w 2240198"/>
                <a:gd name="connsiteY3846" fmla="*/ 1135579 h 1729012"/>
                <a:gd name="connsiteX3847" fmla="*/ 1603098 w 2240198"/>
                <a:gd name="connsiteY3847" fmla="*/ 1134439 h 1729012"/>
                <a:gd name="connsiteX3848" fmla="*/ 1601445 w 2240198"/>
                <a:gd name="connsiteY3848" fmla="*/ 1133195 h 1729012"/>
                <a:gd name="connsiteX3849" fmla="*/ 1601081 w 2240198"/>
                <a:gd name="connsiteY3849" fmla="*/ 1131983 h 1729012"/>
                <a:gd name="connsiteX3850" fmla="*/ 1603870 w 2240198"/>
                <a:gd name="connsiteY3850" fmla="*/ 1128885 h 1729012"/>
                <a:gd name="connsiteX3851" fmla="*/ 1604263 w 2240198"/>
                <a:gd name="connsiteY3851" fmla="*/ 1128026 h 1729012"/>
                <a:gd name="connsiteX3852" fmla="*/ 1603908 w 2240198"/>
                <a:gd name="connsiteY3852" fmla="*/ 1125105 h 1729012"/>
                <a:gd name="connsiteX3853" fmla="*/ 1604449 w 2240198"/>
                <a:gd name="connsiteY3853" fmla="*/ 1124449 h 1729012"/>
                <a:gd name="connsiteX3854" fmla="*/ 1607891 w 2240198"/>
                <a:gd name="connsiteY3854" fmla="*/ 1124275 h 1729012"/>
                <a:gd name="connsiteX3855" fmla="*/ 1612804 w 2240198"/>
                <a:gd name="connsiteY3855" fmla="*/ 1128467 h 1729012"/>
                <a:gd name="connsiteX3856" fmla="*/ 1614012 w 2240198"/>
                <a:gd name="connsiteY3856" fmla="*/ 1128101 h 1729012"/>
                <a:gd name="connsiteX3857" fmla="*/ 1612441 w 2240198"/>
                <a:gd name="connsiteY3857" fmla="*/ 1126947 h 1729012"/>
                <a:gd name="connsiteX3858" fmla="*/ 1610556 w 2240198"/>
                <a:gd name="connsiteY3858" fmla="*/ 1124122 h 1729012"/>
                <a:gd name="connsiteX3859" fmla="*/ 1610829 w 2240198"/>
                <a:gd name="connsiteY3859" fmla="*/ 1122948 h 1729012"/>
                <a:gd name="connsiteX3860" fmla="*/ 1614453 w 2240198"/>
                <a:gd name="connsiteY3860" fmla="*/ 1119892 h 1729012"/>
                <a:gd name="connsiteX3861" fmla="*/ 1614555 w 2240198"/>
                <a:gd name="connsiteY3861" fmla="*/ 1118503 h 1729012"/>
                <a:gd name="connsiteX3862" fmla="*/ 1613521 w 2240198"/>
                <a:gd name="connsiteY3862" fmla="*/ 1116576 h 1729012"/>
                <a:gd name="connsiteX3863" fmla="*/ 1613406 w 2240198"/>
                <a:gd name="connsiteY3863" fmla="*/ 1115034 h 1729012"/>
                <a:gd name="connsiteX3864" fmla="*/ 1615530 w 2240198"/>
                <a:gd name="connsiteY3864" fmla="*/ 1111363 h 1729012"/>
                <a:gd name="connsiteX3865" fmla="*/ 1614956 w 2240198"/>
                <a:gd name="connsiteY3865" fmla="*/ 1110591 h 1729012"/>
                <a:gd name="connsiteX3866" fmla="*/ 1608988 w 2240198"/>
                <a:gd name="connsiteY3866" fmla="*/ 1109880 h 1729012"/>
                <a:gd name="connsiteX3867" fmla="*/ 1608006 w 2240198"/>
                <a:gd name="connsiteY3867" fmla="*/ 1108854 h 1729012"/>
                <a:gd name="connsiteX3868" fmla="*/ 1608355 w 2240198"/>
                <a:gd name="connsiteY3868" fmla="*/ 1108369 h 1729012"/>
                <a:gd name="connsiteX3869" fmla="*/ 1611163 w 2240198"/>
                <a:gd name="connsiteY3869" fmla="*/ 1107134 h 1729012"/>
                <a:gd name="connsiteX3870" fmla="*/ 1611379 w 2240198"/>
                <a:gd name="connsiteY3870" fmla="*/ 1106666 h 1729012"/>
                <a:gd name="connsiteX3871" fmla="*/ 1606416 w 2240198"/>
                <a:gd name="connsiteY3871" fmla="*/ 1098422 h 1729012"/>
                <a:gd name="connsiteX3872" fmla="*/ 1605583 w 2240198"/>
                <a:gd name="connsiteY3872" fmla="*/ 1095959 h 1729012"/>
                <a:gd name="connsiteX3873" fmla="*/ 1607695 w 2240198"/>
                <a:gd name="connsiteY3873" fmla="*/ 1092919 h 1729012"/>
                <a:gd name="connsiteX3874" fmla="*/ 1610094 w 2240198"/>
                <a:gd name="connsiteY3874" fmla="*/ 1091544 h 1729012"/>
                <a:gd name="connsiteX3875" fmla="*/ 1609789 w 2240198"/>
                <a:gd name="connsiteY3875" fmla="*/ 1090762 h 1729012"/>
                <a:gd name="connsiteX3876" fmla="*/ 1606648 w 2240198"/>
                <a:gd name="connsiteY3876" fmla="*/ 1090621 h 1729012"/>
                <a:gd name="connsiteX3877" fmla="*/ 1604732 w 2240198"/>
                <a:gd name="connsiteY3877" fmla="*/ 1090205 h 1729012"/>
                <a:gd name="connsiteX3878" fmla="*/ 1602810 w 2240198"/>
                <a:gd name="connsiteY3878" fmla="*/ 1087830 h 1729012"/>
                <a:gd name="connsiteX3879" fmla="*/ 1603560 w 2240198"/>
                <a:gd name="connsiteY3879" fmla="*/ 1086329 h 1729012"/>
                <a:gd name="connsiteX3880" fmla="*/ 1604245 w 2240198"/>
                <a:gd name="connsiteY3880" fmla="*/ 1085642 h 1729012"/>
                <a:gd name="connsiteX3881" fmla="*/ 1606111 w 2240198"/>
                <a:gd name="connsiteY3881" fmla="*/ 1082095 h 1729012"/>
                <a:gd name="connsiteX3882" fmla="*/ 1607913 w 2240198"/>
                <a:gd name="connsiteY3882" fmla="*/ 1081362 h 1729012"/>
                <a:gd name="connsiteX3883" fmla="*/ 1607572 w 2240198"/>
                <a:gd name="connsiteY3883" fmla="*/ 1080725 h 1729012"/>
                <a:gd name="connsiteX3884" fmla="*/ 1600763 w 2240198"/>
                <a:gd name="connsiteY3884" fmla="*/ 1082235 h 1729012"/>
                <a:gd name="connsiteX3885" fmla="*/ 1597553 w 2240198"/>
                <a:gd name="connsiteY3885" fmla="*/ 1080993 h 1729012"/>
                <a:gd name="connsiteX3886" fmla="*/ 1594400 w 2240198"/>
                <a:gd name="connsiteY3886" fmla="*/ 1081322 h 1729012"/>
                <a:gd name="connsiteX3887" fmla="*/ 1592907 w 2240198"/>
                <a:gd name="connsiteY3887" fmla="*/ 1080957 h 1729012"/>
                <a:gd name="connsiteX3888" fmla="*/ 1593458 w 2240198"/>
                <a:gd name="connsiteY3888" fmla="*/ 1079688 h 1729012"/>
                <a:gd name="connsiteX3889" fmla="*/ 1599175 w 2240198"/>
                <a:gd name="connsiteY3889" fmla="*/ 1073904 h 1729012"/>
                <a:gd name="connsiteX3890" fmla="*/ 1601814 w 2240198"/>
                <a:gd name="connsiteY3890" fmla="*/ 1070768 h 1729012"/>
                <a:gd name="connsiteX3891" fmla="*/ 1603464 w 2240198"/>
                <a:gd name="connsiteY3891" fmla="*/ 1067934 h 1729012"/>
                <a:gd name="connsiteX3892" fmla="*/ 1604337 w 2240198"/>
                <a:gd name="connsiteY3892" fmla="*/ 1066047 h 1729012"/>
                <a:gd name="connsiteX3893" fmla="*/ 1604433 w 2240198"/>
                <a:gd name="connsiteY3893" fmla="*/ 1065109 h 1729012"/>
                <a:gd name="connsiteX3894" fmla="*/ 1603855 w 2240198"/>
                <a:gd name="connsiteY3894" fmla="*/ 1058828 h 1729012"/>
                <a:gd name="connsiteX3895" fmla="*/ 1604196 w 2240198"/>
                <a:gd name="connsiteY3895" fmla="*/ 1057110 h 1729012"/>
                <a:gd name="connsiteX3896" fmla="*/ 1606409 w 2240198"/>
                <a:gd name="connsiteY3896" fmla="*/ 1055508 h 1729012"/>
                <a:gd name="connsiteX3897" fmla="*/ 1609820 w 2240198"/>
                <a:gd name="connsiteY3897" fmla="*/ 1052495 h 1729012"/>
                <a:gd name="connsiteX3898" fmla="*/ 1605152 w 2240198"/>
                <a:gd name="connsiteY3898" fmla="*/ 1049770 h 1729012"/>
                <a:gd name="connsiteX3899" fmla="*/ 1602228 w 2240198"/>
                <a:gd name="connsiteY3899" fmla="*/ 1047110 h 1729012"/>
                <a:gd name="connsiteX3900" fmla="*/ 1600298 w 2240198"/>
                <a:gd name="connsiteY3900" fmla="*/ 1045789 h 1729012"/>
                <a:gd name="connsiteX3901" fmla="*/ 1598836 w 2240198"/>
                <a:gd name="connsiteY3901" fmla="*/ 1044496 h 1729012"/>
                <a:gd name="connsiteX3902" fmla="*/ 1596963 w 2240198"/>
                <a:gd name="connsiteY3902" fmla="*/ 1041759 h 1729012"/>
                <a:gd name="connsiteX3903" fmla="*/ 1595541 w 2240198"/>
                <a:gd name="connsiteY3903" fmla="*/ 1038194 h 1729012"/>
                <a:gd name="connsiteX3904" fmla="*/ 1594029 w 2240198"/>
                <a:gd name="connsiteY3904" fmla="*/ 1030994 h 1729012"/>
                <a:gd name="connsiteX3905" fmla="*/ 1593779 w 2240198"/>
                <a:gd name="connsiteY3905" fmla="*/ 1027019 h 1729012"/>
                <a:gd name="connsiteX3906" fmla="*/ 1594124 w 2240198"/>
                <a:gd name="connsiteY3906" fmla="*/ 1024129 h 1729012"/>
                <a:gd name="connsiteX3907" fmla="*/ 1594752 w 2240198"/>
                <a:gd name="connsiteY3907" fmla="*/ 1022720 h 1729012"/>
                <a:gd name="connsiteX3908" fmla="*/ 1595779 w 2240198"/>
                <a:gd name="connsiteY3908" fmla="*/ 1021252 h 1729012"/>
                <a:gd name="connsiteX3909" fmla="*/ 1600044 w 2240198"/>
                <a:gd name="connsiteY3909" fmla="*/ 1018451 h 1729012"/>
                <a:gd name="connsiteX3910" fmla="*/ 1607549 w 2240198"/>
                <a:gd name="connsiteY3910" fmla="*/ 1014317 h 1729012"/>
                <a:gd name="connsiteX3911" fmla="*/ 1613420 w 2240198"/>
                <a:gd name="connsiteY3911" fmla="*/ 1012694 h 1729012"/>
                <a:gd name="connsiteX3912" fmla="*/ 1617657 w 2240198"/>
                <a:gd name="connsiteY3912" fmla="*/ 1013584 h 1729012"/>
                <a:gd name="connsiteX3913" fmla="*/ 1625920 w 2240198"/>
                <a:gd name="connsiteY3913" fmla="*/ 1014554 h 1729012"/>
                <a:gd name="connsiteX3914" fmla="*/ 1632591 w 2240198"/>
                <a:gd name="connsiteY3914" fmla="*/ 1016910 h 1729012"/>
                <a:gd name="connsiteX3915" fmla="*/ 1652861 w 2240198"/>
                <a:gd name="connsiteY3915" fmla="*/ 1022808 h 1729012"/>
                <a:gd name="connsiteX3916" fmla="*/ 1656446 w 2240198"/>
                <a:gd name="connsiteY3916" fmla="*/ 1025416 h 1729012"/>
                <a:gd name="connsiteX3917" fmla="*/ 1653056 w 2240198"/>
                <a:gd name="connsiteY3917" fmla="*/ 1027619 h 1729012"/>
                <a:gd name="connsiteX3918" fmla="*/ 1653548 w 2240198"/>
                <a:gd name="connsiteY3918" fmla="*/ 1028161 h 1729012"/>
                <a:gd name="connsiteX3919" fmla="*/ 1661181 w 2240198"/>
                <a:gd name="connsiteY3919" fmla="*/ 1023966 h 1729012"/>
                <a:gd name="connsiteX3920" fmla="*/ 1663199 w 2240198"/>
                <a:gd name="connsiteY3920" fmla="*/ 1023154 h 1729012"/>
                <a:gd name="connsiteX3921" fmla="*/ 1664924 w 2240198"/>
                <a:gd name="connsiteY3921" fmla="*/ 1022956 h 1729012"/>
                <a:gd name="connsiteX3922" fmla="*/ 1670685 w 2240198"/>
                <a:gd name="connsiteY3922" fmla="*/ 1024582 h 1729012"/>
                <a:gd name="connsiteX3923" fmla="*/ 1672999 w 2240198"/>
                <a:gd name="connsiteY3923" fmla="*/ 1024829 h 1729012"/>
                <a:gd name="connsiteX3924" fmla="*/ 1675918 w 2240198"/>
                <a:gd name="connsiteY3924" fmla="*/ 1026182 h 1729012"/>
                <a:gd name="connsiteX3925" fmla="*/ 1682891 w 2240198"/>
                <a:gd name="connsiteY3925" fmla="*/ 1030668 h 1729012"/>
                <a:gd name="connsiteX3926" fmla="*/ 1683390 w 2240198"/>
                <a:gd name="connsiteY3926" fmla="*/ 1030295 h 1729012"/>
                <a:gd name="connsiteX3927" fmla="*/ 1681439 w 2240198"/>
                <a:gd name="connsiteY3927" fmla="*/ 1028010 h 1729012"/>
                <a:gd name="connsiteX3928" fmla="*/ 1682557 w 2240198"/>
                <a:gd name="connsiteY3928" fmla="*/ 1026924 h 1729012"/>
                <a:gd name="connsiteX3929" fmla="*/ 1688048 w 2240198"/>
                <a:gd name="connsiteY3929" fmla="*/ 1024540 h 1729012"/>
                <a:gd name="connsiteX3930" fmla="*/ 1693721 w 2240198"/>
                <a:gd name="connsiteY3930" fmla="*/ 1022592 h 1729012"/>
                <a:gd name="connsiteX3931" fmla="*/ 1697753 w 2240198"/>
                <a:gd name="connsiteY3931" fmla="*/ 1020678 h 1729012"/>
                <a:gd name="connsiteX3932" fmla="*/ 1702029 w 2240198"/>
                <a:gd name="connsiteY3932" fmla="*/ 1018144 h 1729012"/>
                <a:gd name="connsiteX3933" fmla="*/ 1704917 w 2240198"/>
                <a:gd name="connsiteY3933" fmla="*/ 1016788 h 1729012"/>
                <a:gd name="connsiteX3934" fmla="*/ 1706410 w 2240198"/>
                <a:gd name="connsiteY3934" fmla="*/ 1016615 h 1729012"/>
                <a:gd name="connsiteX3935" fmla="*/ 1708314 w 2240198"/>
                <a:gd name="connsiteY3935" fmla="*/ 1017362 h 1729012"/>
                <a:gd name="connsiteX3936" fmla="*/ 1713426 w 2240198"/>
                <a:gd name="connsiteY3936" fmla="*/ 1020724 h 1729012"/>
                <a:gd name="connsiteX3937" fmla="*/ 1716707 w 2240198"/>
                <a:gd name="connsiteY3937" fmla="*/ 1022447 h 1729012"/>
                <a:gd name="connsiteX3938" fmla="*/ 1719339 w 2240198"/>
                <a:gd name="connsiteY3938" fmla="*/ 1024252 h 1729012"/>
                <a:gd name="connsiteX3939" fmla="*/ 1723036 w 2240198"/>
                <a:gd name="connsiteY3939" fmla="*/ 1027430 h 1729012"/>
                <a:gd name="connsiteX3940" fmla="*/ 1724481 w 2240198"/>
                <a:gd name="connsiteY3940" fmla="*/ 1028129 h 1729012"/>
                <a:gd name="connsiteX3941" fmla="*/ 1727284 w 2240198"/>
                <a:gd name="connsiteY3941" fmla="*/ 1030287 h 1729012"/>
                <a:gd name="connsiteX3942" fmla="*/ 1731008 w 2240198"/>
                <a:gd name="connsiteY3942" fmla="*/ 1030064 h 1729012"/>
                <a:gd name="connsiteX3943" fmla="*/ 1732226 w 2240198"/>
                <a:gd name="connsiteY3943" fmla="*/ 1030321 h 1729012"/>
                <a:gd name="connsiteX3944" fmla="*/ 1732635 w 2240198"/>
                <a:gd name="connsiteY3944" fmla="*/ 1030739 h 1729012"/>
                <a:gd name="connsiteX3945" fmla="*/ 1733265 w 2240198"/>
                <a:gd name="connsiteY3945" fmla="*/ 1032199 h 1729012"/>
                <a:gd name="connsiteX3946" fmla="*/ 1733591 w 2240198"/>
                <a:gd name="connsiteY3946" fmla="*/ 1033132 h 1729012"/>
                <a:gd name="connsiteX3947" fmla="*/ 1733615 w 2240198"/>
                <a:gd name="connsiteY3947" fmla="*/ 1034132 h 1729012"/>
                <a:gd name="connsiteX3948" fmla="*/ 1732757 w 2240198"/>
                <a:gd name="connsiteY3948" fmla="*/ 1036945 h 1729012"/>
                <a:gd name="connsiteX3949" fmla="*/ 1730079 w 2240198"/>
                <a:gd name="connsiteY3949" fmla="*/ 1041432 h 1729012"/>
                <a:gd name="connsiteX3950" fmla="*/ 1731200 w 2240198"/>
                <a:gd name="connsiteY3950" fmla="*/ 1041503 h 1729012"/>
                <a:gd name="connsiteX3951" fmla="*/ 1732893 w 2240198"/>
                <a:gd name="connsiteY3951" fmla="*/ 1040542 h 1729012"/>
                <a:gd name="connsiteX3952" fmla="*/ 1735092 w 2240198"/>
                <a:gd name="connsiteY3952" fmla="*/ 1038829 h 1729012"/>
                <a:gd name="connsiteX3953" fmla="*/ 1736825 w 2240198"/>
                <a:gd name="connsiteY3953" fmla="*/ 1038223 h 1729012"/>
                <a:gd name="connsiteX3954" fmla="*/ 1740497 w 2240198"/>
                <a:gd name="connsiteY3954" fmla="*/ 1039584 h 1729012"/>
                <a:gd name="connsiteX3955" fmla="*/ 1743911 w 2240198"/>
                <a:gd name="connsiteY3955" fmla="*/ 1041777 h 1729012"/>
                <a:gd name="connsiteX3956" fmla="*/ 1745119 w 2240198"/>
                <a:gd name="connsiteY3956" fmla="*/ 1042939 h 1729012"/>
                <a:gd name="connsiteX3957" fmla="*/ 1746446 w 2240198"/>
                <a:gd name="connsiteY3957" fmla="*/ 1044833 h 1729012"/>
                <a:gd name="connsiteX3958" fmla="*/ 1747579 w 2240198"/>
                <a:gd name="connsiteY3958" fmla="*/ 1045806 h 1729012"/>
                <a:gd name="connsiteX3959" fmla="*/ 1748629 w 2240198"/>
                <a:gd name="connsiteY3959" fmla="*/ 1047674 h 1729012"/>
                <a:gd name="connsiteX3960" fmla="*/ 1748555 w 2240198"/>
                <a:gd name="connsiteY3960" fmla="*/ 1048281 h 1729012"/>
                <a:gd name="connsiteX3961" fmla="*/ 1747564 w 2240198"/>
                <a:gd name="connsiteY3961" fmla="*/ 1049186 h 1729012"/>
                <a:gd name="connsiteX3962" fmla="*/ 1743380 w 2240198"/>
                <a:gd name="connsiteY3962" fmla="*/ 1050716 h 1729012"/>
                <a:gd name="connsiteX3963" fmla="*/ 1744171 w 2240198"/>
                <a:gd name="connsiteY3963" fmla="*/ 1051292 h 1729012"/>
                <a:gd name="connsiteX3964" fmla="*/ 1749058 w 2240198"/>
                <a:gd name="connsiteY3964" fmla="*/ 1050332 h 1729012"/>
                <a:gd name="connsiteX3965" fmla="*/ 1750547 w 2240198"/>
                <a:gd name="connsiteY3965" fmla="*/ 1049386 h 1729012"/>
                <a:gd name="connsiteX3966" fmla="*/ 1751615 w 2240198"/>
                <a:gd name="connsiteY3966" fmla="*/ 1047803 h 1729012"/>
                <a:gd name="connsiteX3967" fmla="*/ 1753040 w 2240198"/>
                <a:gd name="connsiteY3967" fmla="*/ 1047353 h 1729012"/>
                <a:gd name="connsiteX3968" fmla="*/ 1758816 w 2240198"/>
                <a:gd name="connsiteY3968" fmla="*/ 1050128 h 1729012"/>
                <a:gd name="connsiteX3969" fmla="*/ 1759665 w 2240198"/>
                <a:gd name="connsiteY3969" fmla="*/ 1051092 h 1729012"/>
                <a:gd name="connsiteX3970" fmla="*/ 1759294 w 2240198"/>
                <a:gd name="connsiteY3970" fmla="*/ 1051849 h 1729012"/>
                <a:gd name="connsiteX3971" fmla="*/ 1758362 w 2240198"/>
                <a:gd name="connsiteY3971" fmla="*/ 1052703 h 1729012"/>
                <a:gd name="connsiteX3972" fmla="*/ 1755838 w 2240198"/>
                <a:gd name="connsiteY3972" fmla="*/ 1053641 h 1729012"/>
                <a:gd name="connsiteX3973" fmla="*/ 1753675 w 2240198"/>
                <a:gd name="connsiteY3973" fmla="*/ 1055999 h 1729012"/>
                <a:gd name="connsiteX3974" fmla="*/ 1753337 w 2240198"/>
                <a:gd name="connsiteY3974" fmla="*/ 1057015 h 1729012"/>
                <a:gd name="connsiteX3975" fmla="*/ 1754877 w 2240198"/>
                <a:gd name="connsiteY3975" fmla="*/ 1057736 h 1729012"/>
                <a:gd name="connsiteX3976" fmla="*/ 1758638 w 2240198"/>
                <a:gd name="connsiteY3976" fmla="*/ 1058048 h 1729012"/>
                <a:gd name="connsiteX3977" fmla="*/ 1758609 w 2240198"/>
                <a:gd name="connsiteY3977" fmla="*/ 1058607 h 1729012"/>
                <a:gd name="connsiteX3978" fmla="*/ 1756436 w 2240198"/>
                <a:gd name="connsiteY3978" fmla="*/ 1059640 h 1729012"/>
                <a:gd name="connsiteX3979" fmla="*/ 1756150 w 2240198"/>
                <a:gd name="connsiteY3979" fmla="*/ 1060987 h 1729012"/>
                <a:gd name="connsiteX3980" fmla="*/ 1761016 w 2240198"/>
                <a:gd name="connsiteY3980" fmla="*/ 1065781 h 1729012"/>
                <a:gd name="connsiteX3981" fmla="*/ 1764282 w 2240198"/>
                <a:gd name="connsiteY3981" fmla="*/ 1067879 h 1729012"/>
                <a:gd name="connsiteX3982" fmla="*/ 1766165 w 2240198"/>
                <a:gd name="connsiteY3982" fmla="*/ 1068263 h 1729012"/>
                <a:gd name="connsiteX3983" fmla="*/ 1770559 w 2240198"/>
                <a:gd name="connsiteY3983" fmla="*/ 1068357 h 1729012"/>
                <a:gd name="connsiteX3984" fmla="*/ 1774114 w 2240198"/>
                <a:gd name="connsiteY3984" fmla="*/ 1069168 h 1729012"/>
                <a:gd name="connsiteX3985" fmla="*/ 1782018 w 2240198"/>
                <a:gd name="connsiteY3985" fmla="*/ 1071880 h 1729012"/>
                <a:gd name="connsiteX3986" fmla="*/ 1786645 w 2240198"/>
                <a:gd name="connsiteY3986" fmla="*/ 1072370 h 1729012"/>
                <a:gd name="connsiteX3987" fmla="*/ 1790629 w 2240198"/>
                <a:gd name="connsiteY3987" fmla="*/ 1071542 h 1729012"/>
                <a:gd name="connsiteX3988" fmla="*/ 1793275 w 2240198"/>
                <a:gd name="connsiteY3988" fmla="*/ 1071361 h 1729012"/>
                <a:gd name="connsiteX3989" fmla="*/ 1795611 w 2240198"/>
                <a:gd name="connsiteY3989" fmla="*/ 1072444 h 1729012"/>
                <a:gd name="connsiteX3990" fmla="*/ 1796351 w 2240198"/>
                <a:gd name="connsiteY3990" fmla="*/ 1073210 h 1729012"/>
                <a:gd name="connsiteX3991" fmla="*/ 1796702 w 2240198"/>
                <a:gd name="connsiteY3991" fmla="*/ 1074732 h 1729012"/>
                <a:gd name="connsiteX3992" fmla="*/ 1796657 w 2240198"/>
                <a:gd name="connsiteY3992" fmla="*/ 1077013 h 1729012"/>
                <a:gd name="connsiteX3993" fmla="*/ 1797941 w 2240198"/>
                <a:gd name="connsiteY3993" fmla="*/ 1078610 h 1729012"/>
                <a:gd name="connsiteX3994" fmla="*/ 1800549 w 2240198"/>
                <a:gd name="connsiteY3994" fmla="*/ 1079523 h 1729012"/>
                <a:gd name="connsiteX3995" fmla="*/ 1802658 w 2240198"/>
                <a:gd name="connsiteY3995" fmla="*/ 1079384 h 1729012"/>
                <a:gd name="connsiteX3996" fmla="*/ 1805417 w 2240198"/>
                <a:gd name="connsiteY3996" fmla="*/ 1077594 h 1729012"/>
                <a:gd name="connsiteX3997" fmla="*/ 1807751 w 2240198"/>
                <a:gd name="connsiteY3997" fmla="*/ 1077288 h 1729012"/>
                <a:gd name="connsiteX3998" fmla="*/ 1808532 w 2240198"/>
                <a:gd name="connsiteY3998" fmla="*/ 1075946 h 1729012"/>
                <a:gd name="connsiteX3999" fmla="*/ 1809221 w 2240198"/>
                <a:gd name="connsiteY3999" fmla="*/ 1073460 h 1729012"/>
                <a:gd name="connsiteX4000" fmla="*/ 1809900 w 2240198"/>
                <a:gd name="connsiteY4000" fmla="*/ 1072098 h 1729012"/>
                <a:gd name="connsiteX4001" fmla="*/ 1811590 w 2240198"/>
                <a:gd name="connsiteY4001" fmla="*/ 1071707 h 1729012"/>
                <a:gd name="connsiteX4002" fmla="*/ 1812951 w 2240198"/>
                <a:gd name="connsiteY4002" fmla="*/ 1072448 h 1729012"/>
                <a:gd name="connsiteX4003" fmla="*/ 1813747 w 2240198"/>
                <a:gd name="connsiteY4003" fmla="*/ 1073584 h 1729012"/>
                <a:gd name="connsiteX4004" fmla="*/ 1815207 w 2240198"/>
                <a:gd name="connsiteY4004" fmla="*/ 1076987 h 1729012"/>
                <a:gd name="connsiteX4005" fmla="*/ 1815613 w 2240198"/>
                <a:gd name="connsiteY4005" fmla="*/ 1078510 h 1729012"/>
                <a:gd name="connsiteX4006" fmla="*/ 1815451 w 2240198"/>
                <a:gd name="connsiteY4006" fmla="*/ 1079897 h 1729012"/>
                <a:gd name="connsiteX4007" fmla="*/ 1814723 w 2240198"/>
                <a:gd name="connsiteY4007" fmla="*/ 1081144 h 1729012"/>
                <a:gd name="connsiteX4008" fmla="*/ 1813291 w 2240198"/>
                <a:gd name="connsiteY4008" fmla="*/ 1082475 h 1729012"/>
                <a:gd name="connsiteX4009" fmla="*/ 1811153 w 2240198"/>
                <a:gd name="connsiteY4009" fmla="*/ 1083888 h 1729012"/>
                <a:gd name="connsiteX4010" fmla="*/ 1809473 w 2240198"/>
                <a:gd name="connsiteY4010" fmla="*/ 1085917 h 1729012"/>
                <a:gd name="connsiteX4011" fmla="*/ 1807422 w 2240198"/>
                <a:gd name="connsiteY4011" fmla="*/ 1090600 h 1729012"/>
                <a:gd name="connsiteX4012" fmla="*/ 1806664 w 2240198"/>
                <a:gd name="connsiteY4012" fmla="*/ 1093656 h 1729012"/>
                <a:gd name="connsiteX4013" fmla="*/ 1806456 w 2240198"/>
                <a:gd name="connsiteY4013" fmla="*/ 1095458 h 1729012"/>
                <a:gd name="connsiteX4014" fmla="*/ 1806547 w 2240198"/>
                <a:gd name="connsiteY4014" fmla="*/ 1097430 h 1729012"/>
                <a:gd name="connsiteX4015" fmla="*/ 1806936 w 2240198"/>
                <a:gd name="connsiteY4015" fmla="*/ 1099573 h 1729012"/>
                <a:gd name="connsiteX4016" fmla="*/ 1807749 w 2240198"/>
                <a:gd name="connsiteY4016" fmla="*/ 1101338 h 1729012"/>
                <a:gd name="connsiteX4017" fmla="*/ 1809660 w 2240198"/>
                <a:gd name="connsiteY4017" fmla="*/ 1103833 h 1729012"/>
                <a:gd name="connsiteX4018" fmla="*/ 1809770 w 2240198"/>
                <a:gd name="connsiteY4018" fmla="*/ 1104661 h 1729012"/>
                <a:gd name="connsiteX4019" fmla="*/ 1809912 w 2240198"/>
                <a:gd name="connsiteY4019" fmla="*/ 1106679 h 1729012"/>
                <a:gd name="connsiteX4020" fmla="*/ 1809745 w 2240198"/>
                <a:gd name="connsiteY4020" fmla="*/ 1107566 h 1729012"/>
                <a:gd name="connsiteX4021" fmla="*/ 1808630 w 2240198"/>
                <a:gd name="connsiteY4021" fmla="*/ 1109320 h 1729012"/>
                <a:gd name="connsiteX4022" fmla="*/ 1805539 w 2240198"/>
                <a:gd name="connsiteY4022" fmla="*/ 1111070 h 1729012"/>
                <a:gd name="connsiteX4023" fmla="*/ 1801299 w 2240198"/>
                <a:gd name="connsiteY4023" fmla="*/ 1111522 h 1729012"/>
                <a:gd name="connsiteX4024" fmla="*/ 1787442 w 2240198"/>
                <a:gd name="connsiteY4024" fmla="*/ 1111622 h 1729012"/>
                <a:gd name="connsiteX4025" fmla="*/ 1783752 w 2240198"/>
                <a:gd name="connsiteY4025" fmla="*/ 1111204 h 1729012"/>
                <a:gd name="connsiteX4026" fmla="*/ 1784643 w 2240198"/>
                <a:gd name="connsiteY4026" fmla="*/ 1112794 h 1729012"/>
                <a:gd name="connsiteX4027" fmla="*/ 1788525 w 2240198"/>
                <a:gd name="connsiteY4027" fmla="*/ 1113302 h 1729012"/>
                <a:gd name="connsiteX4028" fmla="*/ 1792069 w 2240198"/>
                <a:gd name="connsiteY4028" fmla="*/ 1113281 h 1729012"/>
                <a:gd name="connsiteX4029" fmla="*/ 1805284 w 2240198"/>
                <a:gd name="connsiteY4029" fmla="*/ 1114286 h 1729012"/>
                <a:gd name="connsiteX4030" fmla="*/ 1807104 w 2240198"/>
                <a:gd name="connsiteY4030" fmla="*/ 1115303 h 1729012"/>
                <a:gd name="connsiteX4031" fmla="*/ 1808637 w 2240198"/>
                <a:gd name="connsiteY4031" fmla="*/ 1117091 h 1729012"/>
                <a:gd name="connsiteX4032" fmla="*/ 1809734 w 2240198"/>
                <a:gd name="connsiteY4032" fmla="*/ 1118940 h 1729012"/>
                <a:gd name="connsiteX4033" fmla="*/ 1810819 w 2240198"/>
                <a:gd name="connsiteY4033" fmla="*/ 1122698 h 1729012"/>
                <a:gd name="connsiteX4034" fmla="*/ 1811022 w 2240198"/>
                <a:gd name="connsiteY4034" fmla="*/ 1124479 h 1729012"/>
                <a:gd name="connsiteX4035" fmla="*/ 1810440 w 2240198"/>
                <a:gd name="connsiteY4035" fmla="*/ 1126454 h 1729012"/>
                <a:gd name="connsiteX4036" fmla="*/ 1809074 w 2240198"/>
                <a:gd name="connsiteY4036" fmla="*/ 1128623 h 1729012"/>
                <a:gd name="connsiteX4037" fmla="*/ 1808157 w 2240198"/>
                <a:gd name="connsiteY4037" fmla="*/ 1131507 h 1729012"/>
                <a:gd name="connsiteX4038" fmla="*/ 1807688 w 2240198"/>
                <a:gd name="connsiteY4038" fmla="*/ 1135110 h 1729012"/>
                <a:gd name="connsiteX4039" fmla="*/ 1808423 w 2240198"/>
                <a:gd name="connsiteY4039" fmla="*/ 1137016 h 1729012"/>
                <a:gd name="connsiteX4040" fmla="*/ 1815570 w 2240198"/>
                <a:gd name="connsiteY4040" fmla="*/ 1137164 h 1729012"/>
                <a:gd name="connsiteX4041" fmla="*/ 1816990 w 2240198"/>
                <a:gd name="connsiteY4041" fmla="*/ 1138467 h 1729012"/>
                <a:gd name="connsiteX4042" fmla="*/ 1816827 w 2240198"/>
                <a:gd name="connsiteY4042" fmla="*/ 1139436 h 1729012"/>
                <a:gd name="connsiteX4043" fmla="*/ 1814291 w 2240198"/>
                <a:gd name="connsiteY4043" fmla="*/ 1143075 h 1729012"/>
                <a:gd name="connsiteX4044" fmla="*/ 1814055 w 2240198"/>
                <a:gd name="connsiteY4044" fmla="*/ 1144107 h 1729012"/>
                <a:gd name="connsiteX4045" fmla="*/ 1815214 w 2240198"/>
                <a:gd name="connsiteY4045" fmla="*/ 1146559 h 1729012"/>
                <a:gd name="connsiteX4046" fmla="*/ 1815055 w 2240198"/>
                <a:gd name="connsiteY4046" fmla="*/ 1147256 h 1729012"/>
                <a:gd name="connsiteX4047" fmla="*/ 1814351 w 2240198"/>
                <a:gd name="connsiteY4047" fmla="*/ 1147967 h 1729012"/>
                <a:gd name="connsiteX4048" fmla="*/ 1813678 w 2240198"/>
                <a:gd name="connsiteY4048" fmla="*/ 1149803 h 1729012"/>
                <a:gd name="connsiteX4049" fmla="*/ 1813033 w 2240198"/>
                <a:gd name="connsiteY4049" fmla="*/ 1152762 h 1729012"/>
                <a:gd name="connsiteX4050" fmla="*/ 1812233 w 2240198"/>
                <a:gd name="connsiteY4050" fmla="*/ 1154678 h 1729012"/>
                <a:gd name="connsiteX4051" fmla="*/ 1810292 w 2240198"/>
                <a:gd name="connsiteY4051" fmla="*/ 1156158 h 1729012"/>
                <a:gd name="connsiteX4052" fmla="*/ 1809273 w 2240198"/>
                <a:gd name="connsiteY4052" fmla="*/ 1156482 h 1729012"/>
                <a:gd name="connsiteX4053" fmla="*/ 1808539 w 2240198"/>
                <a:gd name="connsiteY4053" fmla="*/ 1156088 h 1729012"/>
                <a:gd name="connsiteX4054" fmla="*/ 1806619 w 2240198"/>
                <a:gd name="connsiteY4054" fmla="*/ 1152056 h 1729012"/>
                <a:gd name="connsiteX4055" fmla="*/ 1805829 w 2240198"/>
                <a:gd name="connsiteY4055" fmla="*/ 1151455 h 1729012"/>
                <a:gd name="connsiteX4056" fmla="*/ 1805081 w 2240198"/>
                <a:gd name="connsiteY4056" fmla="*/ 1151834 h 1729012"/>
                <a:gd name="connsiteX4057" fmla="*/ 1804705 w 2240198"/>
                <a:gd name="connsiteY4057" fmla="*/ 1152460 h 1729012"/>
                <a:gd name="connsiteX4058" fmla="*/ 1804703 w 2240198"/>
                <a:gd name="connsiteY4058" fmla="*/ 1153331 h 1729012"/>
                <a:gd name="connsiteX4059" fmla="*/ 1804374 w 2240198"/>
                <a:gd name="connsiteY4059" fmla="*/ 1154234 h 1729012"/>
                <a:gd name="connsiteX4060" fmla="*/ 1803714 w 2240198"/>
                <a:gd name="connsiteY4060" fmla="*/ 1155165 h 1729012"/>
                <a:gd name="connsiteX4061" fmla="*/ 1800885 w 2240198"/>
                <a:gd name="connsiteY4061" fmla="*/ 1156647 h 1729012"/>
                <a:gd name="connsiteX4062" fmla="*/ 1796301 w 2240198"/>
                <a:gd name="connsiteY4062" fmla="*/ 1157649 h 1729012"/>
                <a:gd name="connsiteX4063" fmla="*/ 1796443 w 2240198"/>
                <a:gd name="connsiteY4063" fmla="*/ 1158721 h 1729012"/>
                <a:gd name="connsiteX4064" fmla="*/ 1799520 w 2240198"/>
                <a:gd name="connsiteY4064" fmla="*/ 1159294 h 1729012"/>
                <a:gd name="connsiteX4065" fmla="*/ 1803436 w 2240198"/>
                <a:gd name="connsiteY4065" fmla="*/ 1161086 h 1729012"/>
                <a:gd name="connsiteX4066" fmla="*/ 1805684 w 2240198"/>
                <a:gd name="connsiteY4066" fmla="*/ 1161370 h 1729012"/>
                <a:gd name="connsiteX4067" fmla="*/ 1809219 w 2240198"/>
                <a:gd name="connsiteY4067" fmla="*/ 1159923 h 1729012"/>
                <a:gd name="connsiteX4068" fmla="*/ 1816031 w 2240198"/>
                <a:gd name="connsiteY4068" fmla="*/ 1155367 h 1729012"/>
                <a:gd name="connsiteX4069" fmla="*/ 1818840 w 2240198"/>
                <a:gd name="connsiteY4069" fmla="*/ 1154131 h 1729012"/>
                <a:gd name="connsiteX4070" fmla="*/ 1821314 w 2240198"/>
                <a:gd name="connsiteY4070" fmla="*/ 1153657 h 1729012"/>
                <a:gd name="connsiteX4071" fmla="*/ 1824101 w 2240198"/>
                <a:gd name="connsiteY4071" fmla="*/ 1153598 h 1729012"/>
                <a:gd name="connsiteX4072" fmla="*/ 1827197 w 2240198"/>
                <a:gd name="connsiteY4072" fmla="*/ 1153945 h 1729012"/>
                <a:gd name="connsiteX4073" fmla="*/ 1833366 w 2240198"/>
                <a:gd name="connsiteY4073" fmla="*/ 1153362 h 1729012"/>
                <a:gd name="connsiteX4074" fmla="*/ 1834910 w 2240198"/>
                <a:gd name="connsiteY4074" fmla="*/ 1153797 h 1729012"/>
                <a:gd name="connsiteX4075" fmla="*/ 1836797 w 2240198"/>
                <a:gd name="connsiteY4075" fmla="*/ 1154802 h 1729012"/>
                <a:gd name="connsiteX4076" fmla="*/ 1839028 w 2240198"/>
                <a:gd name="connsiteY4076" fmla="*/ 1156382 h 1729012"/>
                <a:gd name="connsiteX4077" fmla="*/ 1840564 w 2240198"/>
                <a:gd name="connsiteY4077" fmla="*/ 1157899 h 1729012"/>
                <a:gd name="connsiteX4078" fmla="*/ 1841405 w 2240198"/>
                <a:gd name="connsiteY4078" fmla="*/ 1159356 h 1729012"/>
                <a:gd name="connsiteX4079" fmla="*/ 1842792 w 2240198"/>
                <a:gd name="connsiteY4079" fmla="*/ 1164856 h 1729012"/>
                <a:gd name="connsiteX4080" fmla="*/ 1844656 w 2240198"/>
                <a:gd name="connsiteY4080" fmla="*/ 1166294 h 1729012"/>
                <a:gd name="connsiteX4081" fmla="*/ 1845107 w 2240198"/>
                <a:gd name="connsiteY4081" fmla="*/ 1167349 h 1729012"/>
                <a:gd name="connsiteX4082" fmla="*/ 1845253 w 2240198"/>
                <a:gd name="connsiteY4082" fmla="*/ 1168964 h 1729012"/>
                <a:gd name="connsiteX4083" fmla="*/ 1845140 w 2240198"/>
                <a:gd name="connsiteY4083" fmla="*/ 1172123 h 1729012"/>
                <a:gd name="connsiteX4084" fmla="*/ 1843090 w 2240198"/>
                <a:gd name="connsiteY4084" fmla="*/ 1178488 h 1729012"/>
                <a:gd name="connsiteX4085" fmla="*/ 1842029 w 2240198"/>
                <a:gd name="connsiteY4085" fmla="*/ 1180836 h 1729012"/>
                <a:gd name="connsiteX4086" fmla="*/ 1839198 w 2240198"/>
                <a:gd name="connsiteY4086" fmla="*/ 1184037 h 1729012"/>
                <a:gd name="connsiteX4087" fmla="*/ 1835935 w 2240198"/>
                <a:gd name="connsiteY4087" fmla="*/ 1185489 h 1729012"/>
                <a:gd name="connsiteX4088" fmla="*/ 1830131 w 2240198"/>
                <a:gd name="connsiteY4088" fmla="*/ 1186850 h 1729012"/>
                <a:gd name="connsiteX4089" fmla="*/ 1827101 w 2240198"/>
                <a:gd name="connsiteY4089" fmla="*/ 1187992 h 1729012"/>
                <a:gd name="connsiteX4090" fmla="*/ 1824815 w 2240198"/>
                <a:gd name="connsiteY4090" fmla="*/ 1189563 h 1729012"/>
                <a:gd name="connsiteX4091" fmla="*/ 1824679 w 2240198"/>
                <a:gd name="connsiteY4091" fmla="*/ 1190428 h 1729012"/>
                <a:gd name="connsiteX4092" fmla="*/ 1831268 w 2240198"/>
                <a:gd name="connsiteY4092" fmla="*/ 1187733 h 1729012"/>
                <a:gd name="connsiteX4093" fmla="*/ 1838516 w 2240198"/>
                <a:gd name="connsiteY4093" fmla="*/ 1186415 h 1729012"/>
                <a:gd name="connsiteX4094" fmla="*/ 1840583 w 2240198"/>
                <a:gd name="connsiteY4094" fmla="*/ 1184941 h 1729012"/>
                <a:gd name="connsiteX4095" fmla="*/ 1842148 w 2240198"/>
                <a:gd name="connsiteY4095" fmla="*/ 1183507 h 1729012"/>
                <a:gd name="connsiteX4096" fmla="*/ 1843739 w 2240198"/>
                <a:gd name="connsiteY4096" fmla="*/ 1180303 h 1729012"/>
                <a:gd name="connsiteX4097" fmla="*/ 1846619 w 2240198"/>
                <a:gd name="connsiteY4097" fmla="*/ 1171998 h 1729012"/>
                <a:gd name="connsiteX4098" fmla="*/ 1848254 w 2240198"/>
                <a:gd name="connsiteY4098" fmla="*/ 1169380 h 1729012"/>
                <a:gd name="connsiteX4099" fmla="*/ 1850536 w 2240198"/>
                <a:gd name="connsiteY4099" fmla="*/ 1168937 h 1729012"/>
                <a:gd name="connsiteX4100" fmla="*/ 1851547 w 2240198"/>
                <a:gd name="connsiteY4100" fmla="*/ 1169828 h 1729012"/>
                <a:gd name="connsiteX4101" fmla="*/ 1853915 w 2240198"/>
                <a:gd name="connsiteY4101" fmla="*/ 1174704 h 1729012"/>
                <a:gd name="connsiteX4102" fmla="*/ 1853903 w 2240198"/>
                <a:gd name="connsiteY4102" fmla="*/ 1175947 h 1729012"/>
                <a:gd name="connsiteX4103" fmla="*/ 1853316 w 2240198"/>
                <a:gd name="connsiteY4103" fmla="*/ 1177000 h 1729012"/>
                <a:gd name="connsiteX4104" fmla="*/ 1849450 w 2240198"/>
                <a:gd name="connsiteY4104" fmla="*/ 1181730 h 1729012"/>
                <a:gd name="connsiteX4105" fmla="*/ 1850842 w 2240198"/>
                <a:gd name="connsiteY4105" fmla="*/ 1181248 h 1729012"/>
                <a:gd name="connsiteX4106" fmla="*/ 1854725 w 2240198"/>
                <a:gd name="connsiteY4106" fmla="*/ 1176801 h 1729012"/>
                <a:gd name="connsiteX4107" fmla="*/ 1855550 w 2240198"/>
                <a:gd name="connsiteY4107" fmla="*/ 1175412 h 1729012"/>
                <a:gd name="connsiteX4108" fmla="*/ 1856008 w 2240198"/>
                <a:gd name="connsiteY4108" fmla="*/ 1173370 h 1729012"/>
                <a:gd name="connsiteX4109" fmla="*/ 1857258 w 2240198"/>
                <a:gd name="connsiteY4109" fmla="*/ 1171924 h 1729012"/>
                <a:gd name="connsiteX4110" fmla="*/ 1857737 w 2240198"/>
                <a:gd name="connsiteY4110" fmla="*/ 1172632 h 1729012"/>
                <a:gd name="connsiteX4111" fmla="*/ 1858938 w 2240198"/>
                <a:gd name="connsiteY4111" fmla="*/ 1177864 h 1729012"/>
                <a:gd name="connsiteX4112" fmla="*/ 1858976 w 2240198"/>
                <a:gd name="connsiteY4112" fmla="*/ 1181683 h 1729012"/>
                <a:gd name="connsiteX4113" fmla="*/ 1859170 w 2240198"/>
                <a:gd name="connsiteY4113" fmla="*/ 1182907 h 1729012"/>
                <a:gd name="connsiteX4114" fmla="*/ 1858736 w 2240198"/>
                <a:gd name="connsiteY4114" fmla="*/ 1186523 h 1729012"/>
                <a:gd name="connsiteX4115" fmla="*/ 1859228 w 2240198"/>
                <a:gd name="connsiteY4115" fmla="*/ 1187171 h 1729012"/>
                <a:gd name="connsiteX4116" fmla="*/ 1860396 w 2240198"/>
                <a:gd name="connsiteY4116" fmla="*/ 1184044 h 1729012"/>
                <a:gd name="connsiteX4117" fmla="*/ 1860776 w 2240198"/>
                <a:gd name="connsiteY4117" fmla="*/ 1181680 h 1729012"/>
                <a:gd name="connsiteX4118" fmla="*/ 1861305 w 2240198"/>
                <a:gd name="connsiteY4118" fmla="*/ 1179992 h 1729012"/>
                <a:gd name="connsiteX4119" fmla="*/ 1861983 w 2240198"/>
                <a:gd name="connsiteY4119" fmla="*/ 1178984 h 1729012"/>
                <a:gd name="connsiteX4120" fmla="*/ 1866740 w 2240198"/>
                <a:gd name="connsiteY4120" fmla="*/ 1175790 h 1729012"/>
                <a:gd name="connsiteX4121" fmla="*/ 1872297 w 2240198"/>
                <a:gd name="connsiteY4121" fmla="*/ 1173189 h 1729012"/>
                <a:gd name="connsiteX4122" fmla="*/ 1875934 w 2240198"/>
                <a:gd name="connsiteY4122" fmla="*/ 1170876 h 1729012"/>
                <a:gd name="connsiteX4123" fmla="*/ 1878952 w 2240198"/>
                <a:gd name="connsiteY4123" fmla="*/ 1169771 h 1729012"/>
                <a:gd name="connsiteX4124" fmla="*/ 1883471 w 2240198"/>
                <a:gd name="connsiteY4124" fmla="*/ 1168725 h 1729012"/>
                <a:gd name="connsiteX4125" fmla="*/ 1886368 w 2240198"/>
                <a:gd name="connsiteY4125" fmla="*/ 1166580 h 1729012"/>
                <a:gd name="connsiteX4126" fmla="*/ 1887642 w 2240198"/>
                <a:gd name="connsiteY4126" fmla="*/ 1163326 h 1729012"/>
                <a:gd name="connsiteX4127" fmla="*/ 1888723 w 2240198"/>
                <a:gd name="connsiteY4127" fmla="*/ 1161073 h 1729012"/>
                <a:gd name="connsiteX4128" fmla="*/ 1889612 w 2240198"/>
                <a:gd name="connsiteY4128" fmla="*/ 1159825 h 1729012"/>
                <a:gd name="connsiteX4129" fmla="*/ 1892593 w 2240198"/>
                <a:gd name="connsiteY4129" fmla="*/ 1157585 h 1729012"/>
                <a:gd name="connsiteX4130" fmla="*/ 1894212 w 2240198"/>
                <a:gd name="connsiteY4130" fmla="*/ 1157459 h 1729012"/>
                <a:gd name="connsiteX4131" fmla="*/ 1895763 w 2240198"/>
                <a:gd name="connsiteY4131" fmla="*/ 1158286 h 1729012"/>
                <a:gd name="connsiteX4132" fmla="*/ 1897517 w 2240198"/>
                <a:gd name="connsiteY4132" fmla="*/ 1159966 h 1729012"/>
                <a:gd name="connsiteX4133" fmla="*/ 1899477 w 2240198"/>
                <a:gd name="connsiteY4133" fmla="*/ 1162495 h 1729012"/>
                <a:gd name="connsiteX4134" fmla="*/ 1900651 w 2240198"/>
                <a:gd name="connsiteY4134" fmla="*/ 1164478 h 1729012"/>
                <a:gd name="connsiteX4135" fmla="*/ 1901033 w 2240198"/>
                <a:gd name="connsiteY4135" fmla="*/ 1165917 h 1729012"/>
                <a:gd name="connsiteX4136" fmla="*/ 1901351 w 2240198"/>
                <a:gd name="connsiteY4136" fmla="*/ 1170954 h 1729012"/>
                <a:gd name="connsiteX4137" fmla="*/ 1901722 w 2240198"/>
                <a:gd name="connsiteY4137" fmla="*/ 1170939 h 1729012"/>
                <a:gd name="connsiteX4138" fmla="*/ 1903526 w 2240198"/>
                <a:gd name="connsiteY4138" fmla="*/ 1167093 h 1729012"/>
                <a:gd name="connsiteX4139" fmla="*/ 1903738 w 2240198"/>
                <a:gd name="connsiteY4139" fmla="*/ 1165725 h 1729012"/>
                <a:gd name="connsiteX4140" fmla="*/ 1903610 w 2240198"/>
                <a:gd name="connsiteY4140" fmla="*/ 1164280 h 1729012"/>
                <a:gd name="connsiteX4141" fmla="*/ 1903059 w 2240198"/>
                <a:gd name="connsiteY4141" fmla="*/ 1162835 h 1729012"/>
                <a:gd name="connsiteX4142" fmla="*/ 1901243 w 2240198"/>
                <a:gd name="connsiteY4142" fmla="*/ 1159682 h 1729012"/>
                <a:gd name="connsiteX4143" fmla="*/ 1900531 w 2240198"/>
                <a:gd name="connsiteY4143" fmla="*/ 1157706 h 1729012"/>
                <a:gd name="connsiteX4144" fmla="*/ 1900690 w 2240198"/>
                <a:gd name="connsiteY4144" fmla="*/ 1156486 h 1729012"/>
                <a:gd name="connsiteX4145" fmla="*/ 1902619 w 2240198"/>
                <a:gd name="connsiteY4145" fmla="*/ 1155796 h 1729012"/>
                <a:gd name="connsiteX4146" fmla="*/ 1905464 w 2240198"/>
                <a:gd name="connsiteY4146" fmla="*/ 1155519 h 1729012"/>
                <a:gd name="connsiteX4147" fmla="*/ 1905942 w 2240198"/>
                <a:gd name="connsiteY4147" fmla="*/ 1155003 h 1729012"/>
                <a:gd name="connsiteX4148" fmla="*/ 1903852 w 2240198"/>
                <a:gd name="connsiteY4148" fmla="*/ 1153695 h 1729012"/>
                <a:gd name="connsiteX4149" fmla="*/ 1903793 w 2240198"/>
                <a:gd name="connsiteY4149" fmla="*/ 1152986 h 1729012"/>
                <a:gd name="connsiteX4150" fmla="*/ 1905804 w 2240198"/>
                <a:gd name="connsiteY4150" fmla="*/ 1150658 h 1729012"/>
                <a:gd name="connsiteX4151" fmla="*/ 1906986 w 2240198"/>
                <a:gd name="connsiteY4151" fmla="*/ 1150531 h 1729012"/>
                <a:gd name="connsiteX4152" fmla="*/ 1909300 w 2240198"/>
                <a:gd name="connsiteY4152" fmla="*/ 1150899 h 1729012"/>
                <a:gd name="connsiteX4153" fmla="*/ 1908834 w 2240198"/>
                <a:gd name="connsiteY4153" fmla="*/ 1149706 h 1729012"/>
                <a:gd name="connsiteX4154" fmla="*/ 1908857 w 2240198"/>
                <a:gd name="connsiteY4154" fmla="*/ 1148915 h 1729012"/>
                <a:gd name="connsiteX4155" fmla="*/ 1909510 w 2240198"/>
                <a:gd name="connsiteY4155" fmla="*/ 1148607 h 1729012"/>
                <a:gd name="connsiteX4156" fmla="*/ 1913345 w 2240198"/>
                <a:gd name="connsiteY4156" fmla="*/ 1149360 h 1729012"/>
                <a:gd name="connsiteX4157" fmla="*/ 1913794 w 2240198"/>
                <a:gd name="connsiteY4157" fmla="*/ 1148450 h 1729012"/>
                <a:gd name="connsiteX4158" fmla="*/ 1917092 w 2240198"/>
                <a:gd name="connsiteY4158" fmla="*/ 1148368 h 1729012"/>
                <a:gd name="connsiteX4159" fmla="*/ 1917414 w 2240198"/>
                <a:gd name="connsiteY4159" fmla="*/ 1147554 h 1729012"/>
                <a:gd name="connsiteX4160" fmla="*/ 1914562 w 2240198"/>
                <a:gd name="connsiteY4160" fmla="*/ 1146393 h 1729012"/>
                <a:gd name="connsiteX4161" fmla="*/ 1911766 w 2240198"/>
                <a:gd name="connsiteY4161" fmla="*/ 1145667 h 1729012"/>
                <a:gd name="connsiteX4162" fmla="*/ 1910915 w 2240198"/>
                <a:gd name="connsiteY4162" fmla="*/ 1145032 h 1729012"/>
                <a:gd name="connsiteX4163" fmla="*/ 1910261 w 2240198"/>
                <a:gd name="connsiteY4163" fmla="*/ 1144095 h 1729012"/>
                <a:gd name="connsiteX4164" fmla="*/ 1909389 w 2240198"/>
                <a:gd name="connsiteY4164" fmla="*/ 1141829 h 1729012"/>
                <a:gd name="connsiteX4165" fmla="*/ 1909600 w 2240198"/>
                <a:gd name="connsiteY4165" fmla="*/ 1141227 h 1729012"/>
                <a:gd name="connsiteX4166" fmla="*/ 1910384 w 2240198"/>
                <a:gd name="connsiteY4166" fmla="*/ 1141216 h 1729012"/>
                <a:gd name="connsiteX4167" fmla="*/ 1911744 w 2240198"/>
                <a:gd name="connsiteY4167" fmla="*/ 1141836 h 1729012"/>
                <a:gd name="connsiteX4168" fmla="*/ 1912483 w 2240198"/>
                <a:gd name="connsiteY4168" fmla="*/ 1140643 h 1729012"/>
                <a:gd name="connsiteX4169" fmla="*/ 1913312 w 2240198"/>
                <a:gd name="connsiteY4169" fmla="*/ 1137842 h 1729012"/>
                <a:gd name="connsiteX4170" fmla="*/ 1914137 w 2240198"/>
                <a:gd name="connsiteY4170" fmla="*/ 1136691 h 1729012"/>
                <a:gd name="connsiteX4171" fmla="*/ 1916699 w 2240198"/>
                <a:gd name="connsiteY4171" fmla="*/ 1138019 h 1729012"/>
                <a:gd name="connsiteX4172" fmla="*/ 1916812 w 2240198"/>
                <a:gd name="connsiteY4172" fmla="*/ 1137448 h 1729012"/>
                <a:gd name="connsiteX4173" fmla="*/ 1914731 w 2240198"/>
                <a:gd name="connsiteY4173" fmla="*/ 1133036 h 1729012"/>
                <a:gd name="connsiteX4174" fmla="*/ 1915093 w 2240198"/>
                <a:gd name="connsiteY4174" fmla="*/ 1132188 h 1729012"/>
                <a:gd name="connsiteX4175" fmla="*/ 1918272 w 2240198"/>
                <a:gd name="connsiteY4175" fmla="*/ 1131868 h 1729012"/>
                <a:gd name="connsiteX4176" fmla="*/ 1920197 w 2240198"/>
                <a:gd name="connsiteY4176" fmla="*/ 1132420 h 1729012"/>
                <a:gd name="connsiteX4177" fmla="*/ 1925254 w 2240198"/>
                <a:gd name="connsiteY4177" fmla="*/ 1135655 h 1729012"/>
                <a:gd name="connsiteX4178" fmla="*/ 1926169 w 2240198"/>
                <a:gd name="connsiteY4178" fmla="*/ 1135284 h 1729012"/>
                <a:gd name="connsiteX4179" fmla="*/ 1925393 w 2240198"/>
                <a:gd name="connsiteY4179" fmla="*/ 1134398 h 1729012"/>
                <a:gd name="connsiteX4180" fmla="*/ 1922805 w 2240198"/>
                <a:gd name="connsiteY4180" fmla="*/ 1132491 h 1729012"/>
                <a:gd name="connsiteX4181" fmla="*/ 1920465 w 2240198"/>
                <a:gd name="connsiteY4181" fmla="*/ 1131242 h 1729012"/>
                <a:gd name="connsiteX4182" fmla="*/ 1918378 w 2240198"/>
                <a:gd name="connsiteY4182" fmla="*/ 1130657 h 1729012"/>
                <a:gd name="connsiteX4183" fmla="*/ 1916808 w 2240198"/>
                <a:gd name="connsiteY4183" fmla="*/ 1129592 h 1729012"/>
                <a:gd name="connsiteX4184" fmla="*/ 1915089 w 2240198"/>
                <a:gd name="connsiteY4184" fmla="*/ 1126676 h 1729012"/>
                <a:gd name="connsiteX4185" fmla="*/ 1914804 w 2240198"/>
                <a:gd name="connsiteY4185" fmla="*/ 1125474 h 1729012"/>
                <a:gd name="connsiteX4186" fmla="*/ 1914946 w 2240198"/>
                <a:gd name="connsiteY4186" fmla="*/ 1123908 h 1729012"/>
                <a:gd name="connsiteX4187" fmla="*/ 1916150 w 2240198"/>
                <a:gd name="connsiteY4187" fmla="*/ 1120652 h 1729012"/>
                <a:gd name="connsiteX4188" fmla="*/ 1916840 w 2240198"/>
                <a:gd name="connsiteY4188" fmla="*/ 1119946 h 1729012"/>
                <a:gd name="connsiteX4189" fmla="*/ 1918064 w 2240198"/>
                <a:gd name="connsiteY4189" fmla="*/ 1119422 h 1729012"/>
                <a:gd name="connsiteX4190" fmla="*/ 1919816 w 2240198"/>
                <a:gd name="connsiteY4190" fmla="*/ 1119082 h 1729012"/>
                <a:gd name="connsiteX4191" fmla="*/ 1921756 w 2240198"/>
                <a:gd name="connsiteY4191" fmla="*/ 1119405 h 1729012"/>
                <a:gd name="connsiteX4192" fmla="*/ 1925757 w 2240198"/>
                <a:gd name="connsiteY4192" fmla="*/ 1121548 h 1729012"/>
                <a:gd name="connsiteX4193" fmla="*/ 1926425 w 2240198"/>
                <a:gd name="connsiteY4193" fmla="*/ 1120871 h 1729012"/>
                <a:gd name="connsiteX4194" fmla="*/ 1924267 w 2240198"/>
                <a:gd name="connsiteY4194" fmla="*/ 1119704 h 1729012"/>
                <a:gd name="connsiteX4195" fmla="*/ 1923102 w 2240198"/>
                <a:gd name="connsiteY4195" fmla="*/ 1118626 h 1729012"/>
                <a:gd name="connsiteX4196" fmla="*/ 1922540 w 2240198"/>
                <a:gd name="connsiteY4196" fmla="*/ 1117245 h 1729012"/>
                <a:gd name="connsiteX4197" fmla="*/ 1922784 w 2240198"/>
                <a:gd name="connsiteY4197" fmla="*/ 1115681 h 1729012"/>
                <a:gd name="connsiteX4198" fmla="*/ 1924480 w 2240198"/>
                <a:gd name="connsiteY4198" fmla="*/ 1112447 h 1729012"/>
                <a:gd name="connsiteX4199" fmla="*/ 1925278 w 2240198"/>
                <a:gd name="connsiteY4199" fmla="*/ 1109840 h 1729012"/>
                <a:gd name="connsiteX4200" fmla="*/ 1928882 w 2240198"/>
                <a:gd name="connsiteY4200" fmla="*/ 1102629 h 1729012"/>
                <a:gd name="connsiteX4201" fmla="*/ 1929939 w 2240198"/>
                <a:gd name="connsiteY4201" fmla="*/ 1101316 h 1729012"/>
                <a:gd name="connsiteX4202" fmla="*/ 1931069 w 2240198"/>
                <a:gd name="connsiteY4202" fmla="*/ 1100487 h 1729012"/>
                <a:gd name="connsiteX4203" fmla="*/ 1931771 w 2240198"/>
                <a:gd name="connsiteY4203" fmla="*/ 1099620 h 1729012"/>
                <a:gd name="connsiteX4204" fmla="*/ 1934597 w 2240198"/>
                <a:gd name="connsiteY4204" fmla="*/ 1099426 h 1729012"/>
                <a:gd name="connsiteX4205" fmla="*/ 1939832 w 2240198"/>
                <a:gd name="connsiteY4205" fmla="*/ 1102011 h 1729012"/>
                <a:gd name="connsiteX4206" fmla="*/ 1941432 w 2240198"/>
                <a:gd name="connsiteY4206" fmla="*/ 1103537 h 1729012"/>
                <a:gd name="connsiteX4207" fmla="*/ 1941856 w 2240198"/>
                <a:gd name="connsiteY4207" fmla="*/ 1105694 h 1729012"/>
                <a:gd name="connsiteX4208" fmla="*/ 1939114 w 2240198"/>
                <a:gd name="connsiteY4208" fmla="*/ 1108613 h 1729012"/>
                <a:gd name="connsiteX4209" fmla="*/ 1934409 w 2240198"/>
                <a:gd name="connsiteY4209" fmla="*/ 1110789 h 1729012"/>
                <a:gd name="connsiteX4210" fmla="*/ 1933010 w 2240198"/>
                <a:gd name="connsiteY4210" fmla="*/ 1111739 h 1729012"/>
                <a:gd name="connsiteX4211" fmla="*/ 1933920 w 2240198"/>
                <a:gd name="connsiteY4211" fmla="*/ 1112290 h 1729012"/>
                <a:gd name="connsiteX4212" fmla="*/ 1938316 w 2240198"/>
                <a:gd name="connsiteY4212" fmla="*/ 1110552 h 1729012"/>
                <a:gd name="connsiteX4213" fmla="*/ 1942158 w 2240198"/>
                <a:gd name="connsiteY4213" fmla="*/ 1109741 h 1729012"/>
                <a:gd name="connsiteX4214" fmla="*/ 1945307 w 2240198"/>
                <a:gd name="connsiteY4214" fmla="*/ 1109769 h 1729012"/>
                <a:gd name="connsiteX4215" fmla="*/ 1947858 w 2240198"/>
                <a:gd name="connsiteY4215" fmla="*/ 1113223 h 1729012"/>
                <a:gd name="connsiteX4216" fmla="*/ 1948215 w 2240198"/>
                <a:gd name="connsiteY4216" fmla="*/ 1118007 h 1729012"/>
                <a:gd name="connsiteX4217" fmla="*/ 1946757 w 2240198"/>
                <a:gd name="connsiteY4217" fmla="*/ 1121985 h 1729012"/>
                <a:gd name="connsiteX4218" fmla="*/ 1948675 w 2240198"/>
                <a:gd name="connsiteY4218" fmla="*/ 1120007 h 1729012"/>
                <a:gd name="connsiteX4219" fmla="*/ 1951073 w 2240198"/>
                <a:gd name="connsiteY4219" fmla="*/ 1118913 h 1729012"/>
                <a:gd name="connsiteX4220" fmla="*/ 1953036 w 2240198"/>
                <a:gd name="connsiteY4220" fmla="*/ 1121513 h 1729012"/>
                <a:gd name="connsiteX4221" fmla="*/ 1953269 w 2240198"/>
                <a:gd name="connsiteY4221" fmla="*/ 1123630 h 1729012"/>
                <a:gd name="connsiteX4222" fmla="*/ 1954300 w 2240198"/>
                <a:gd name="connsiteY4222" fmla="*/ 1125616 h 1729012"/>
                <a:gd name="connsiteX4223" fmla="*/ 1956520 w 2240198"/>
                <a:gd name="connsiteY4223" fmla="*/ 1128272 h 1729012"/>
                <a:gd name="connsiteX4224" fmla="*/ 1958830 w 2240198"/>
                <a:gd name="connsiteY4224" fmla="*/ 1130598 h 1729012"/>
                <a:gd name="connsiteX4225" fmla="*/ 1956289 w 2240198"/>
                <a:gd name="connsiteY4225" fmla="*/ 1133035 h 1729012"/>
                <a:gd name="connsiteX4226" fmla="*/ 1953238 w 2240198"/>
                <a:gd name="connsiteY4226" fmla="*/ 1134489 h 1729012"/>
                <a:gd name="connsiteX4227" fmla="*/ 1953878 w 2240198"/>
                <a:gd name="connsiteY4227" fmla="*/ 1135573 h 1729012"/>
                <a:gd name="connsiteX4228" fmla="*/ 1958052 w 2240198"/>
                <a:gd name="connsiteY4228" fmla="*/ 1136734 h 1729012"/>
                <a:gd name="connsiteX4229" fmla="*/ 1958617 w 2240198"/>
                <a:gd name="connsiteY4229" fmla="*/ 1137882 h 1729012"/>
                <a:gd name="connsiteX4230" fmla="*/ 1958179 w 2240198"/>
                <a:gd name="connsiteY4230" fmla="*/ 1139438 h 1729012"/>
                <a:gd name="connsiteX4231" fmla="*/ 1958784 w 2240198"/>
                <a:gd name="connsiteY4231" fmla="*/ 1139431 h 1729012"/>
                <a:gd name="connsiteX4232" fmla="*/ 1961688 w 2240198"/>
                <a:gd name="connsiteY4232" fmla="*/ 1137026 h 1729012"/>
                <a:gd name="connsiteX4233" fmla="*/ 1964162 w 2240198"/>
                <a:gd name="connsiteY4233" fmla="*/ 1137349 h 1729012"/>
                <a:gd name="connsiteX4234" fmla="*/ 1967325 w 2240198"/>
                <a:gd name="connsiteY4234" fmla="*/ 1142537 h 1729012"/>
                <a:gd name="connsiteX4235" fmla="*/ 1965016 w 2240198"/>
                <a:gd name="connsiteY4235" fmla="*/ 1145501 h 1729012"/>
                <a:gd name="connsiteX4236" fmla="*/ 1961485 w 2240198"/>
                <a:gd name="connsiteY4236" fmla="*/ 1146856 h 1729012"/>
                <a:gd name="connsiteX4237" fmla="*/ 1958673 w 2240198"/>
                <a:gd name="connsiteY4237" fmla="*/ 1147433 h 1729012"/>
                <a:gd name="connsiteX4238" fmla="*/ 1954765 w 2240198"/>
                <a:gd name="connsiteY4238" fmla="*/ 1147354 h 1729012"/>
                <a:gd name="connsiteX4239" fmla="*/ 1953227 w 2240198"/>
                <a:gd name="connsiteY4239" fmla="*/ 1147794 h 1729012"/>
                <a:gd name="connsiteX4240" fmla="*/ 1953991 w 2240198"/>
                <a:gd name="connsiteY4240" fmla="*/ 1148780 h 1729012"/>
                <a:gd name="connsiteX4241" fmla="*/ 1957728 w 2240198"/>
                <a:gd name="connsiteY4241" fmla="*/ 1148795 h 1729012"/>
                <a:gd name="connsiteX4242" fmla="*/ 1963452 w 2240198"/>
                <a:gd name="connsiteY4242" fmla="*/ 1148047 h 1729012"/>
                <a:gd name="connsiteX4243" fmla="*/ 1967735 w 2240198"/>
                <a:gd name="connsiteY4243" fmla="*/ 1146828 h 1729012"/>
                <a:gd name="connsiteX4244" fmla="*/ 1969598 w 2240198"/>
                <a:gd name="connsiteY4244" fmla="*/ 1146756 h 1729012"/>
                <a:gd name="connsiteX4245" fmla="*/ 1971553 w 2240198"/>
                <a:gd name="connsiteY4245" fmla="*/ 1147252 h 1729012"/>
                <a:gd name="connsiteX4246" fmla="*/ 1972210 w 2240198"/>
                <a:gd name="connsiteY4246" fmla="*/ 1147668 h 1729012"/>
                <a:gd name="connsiteX4247" fmla="*/ 1970150 w 2240198"/>
                <a:gd name="connsiteY4247" fmla="*/ 1148518 h 1729012"/>
                <a:gd name="connsiteX4248" fmla="*/ 1969994 w 2240198"/>
                <a:gd name="connsiteY4248" fmla="*/ 1148815 h 1729012"/>
                <a:gd name="connsiteX4249" fmla="*/ 1970766 w 2240198"/>
                <a:gd name="connsiteY4249" fmla="*/ 1149684 h 1729012"/>
                <a:gd name="connsiteX4250" fmla="*/ 1972365 w 2240198"/>
                <a:gd name="connsiteY4250" fmla="*/ 1152489 h 1729012"/>
                <a:gd name="connsiteX4251" fmla="*/ 1972225 w 2240198"/>
                <a:gd name="connsiteY4251" fmla="*/ 1153120 h 1729012"/>
                <a:gd name="connsiteX4252" fmla="*/ 1970698 w 2240198"/>
                <a:gd name="connsiteY4252" fmla="*/ 1154747 h 1729012"/>
                <a:gd name="connsiteX4253" fmla="*/ 1973152 w 2240198"/>
                <a:gd name="connsiteY4253" fmla="*/ 1155105 h 1729012"/>
                <a:gd name="connsiteX4254" fmla="*/ 1976577 w 2240198"/>
                <a:gd name="connsiteY4254" fmla="*/ 1154345 h 1729012"/>
                <a:gd name="connsiteX4255" fmla="*/ 1977640 w 2240198"/>
                <a:gd name="connsiteY4255" fmla="*/ 1155193 h 1729012"/>
                <a:gd name="connsiteX4256" fmla="*/ 1979727 w 2240198"/>
                <a:gd name="connsiteY4256" fmla="*/ 1158556 h 1729012"/>
                <a:gd name="connsiteX4257" fmla="*/ 1981050 w 2240198"/>
                <a:gd name="connsiteY4257" fmla="*/ 1161996 h 1729012"/>
                <a:gd name="connsiteX4258" fmla="*/ 1975257 w 2240198"/>
                <a:gd name="connsiteY4258" fmla="*/ 1166698 h 1729012"/>
                <a:gd name="connsiteX4259" fmla="*/ 1972307 w 2240198"/>
                <a:gd name="connsiteY4259" fmla="*/ 1167669 h 1729012"/>
                <a:gd name="connsiteX4260" fmla="*/ 1967965 w 2240198"/>
                <a:gd name="connsiteY4260" fmla="*/ 1170150 h 1729012"/>
                <a:gd name="connsiteX4261" fmla="*/ 1966747 w 2240198"/>
                <a:gd name="connsiteY4261" fmla="*/ 1172138 h 1729012"/>
                <a:gd name="connsiteX4262" fmla="*/ 1964234 w 2240198"/>
                <a:gd name="connsiteY4262" fmla="*/ 1174685 h 1729012"/>
                <a:gd name="connsiteX4263" fmla="*/ 1965842 w 2240198"/>
                <a:gd name="connsiteY4263" fmla="*/ 1174657 h 1729012"/>
                <a:gd name="connsiteX4264" fmla="*/ 1970334 w 2240198"/>
                <a:gd name="connsiteY4264" fmla="*/ 1170569 h 1729012"/>
                <a:gd name="connsiteX4265" fmla="*/ 1972527 w 2240198"/>
                <a:gd name="connsiteY4265" fmla="*/ 1169617 h 1729012"/>
                <a:gd name="connsiteX4266" fmla="*/ 1974163 w 2240198"/>
                <a:gd name="connsiteY4266" fmla="*/ 1169857 h 1729012"/>
                <a:gd name="connsiteX4267" fmla="*/ 1974821 w 2240198"/>
                <a:gd name="connsiteY4267" fmla="*/ 1170549 h 1729012"/>
                <a:gd name="connsiteX4268" fmla="*/ 1974501 w 2240198"/>
                <a:gd name="connsiteY4268" fmla="*/ 1171693 h 1729012"/>
                <a:gd name="connsiteX4269" fmla="*/ 1975932 w 2240198"/>
                <a:gd name="connsiteY4269" fmla="*/ 1171547 h 1729012"/>
                <a:gd name="connsiteX4270" fmla="*/ 1981974 w 2240198"/>
                <a:gd name="connsiteY4270" fmla="*/ 1169156 h 1729012"/>
                <a:gd name="connsiteX4271" fmla="*/ 1984513 w 2240198"/>
                <a:gd name="connsiteY4271" fmla="*/ 1168681 h 1729012"/>
                <a:gd name="connsiteX4272" fmla="*/ 1987795 w 2240198"/>
                <a:gd name="connsiteY4272" fmla="*/ 1168527 h 1729012"/>
                <a:gd name="connsiteX4273" fmla="*/ 1988150 w 2240198"/>
                <a:gd name="connsiteY4273" fmla="*/ 1169355 h 1729012"/>
                <a:gd name="connsiteX4274" fmla="*/ 1986110 w 2240198"/>
                <a:gd name="connsiteY4274" fmla="*/ 1175081 h 1729012"/>
                <a:gd name="connsiteX4275" fmla="*/ 1982617 w 2240198"/>
                <a:gd name="connsiteY4275" fmla="*/ 1179466 h 1729012"/>
                <a:gd name="connsiteX4276" fmla="*/ 1976259 w 2240198"/>
                <a:gd name="connsiteY4276" fmla="*/ 1182167 h 1729012"/>
                <a:gd name="connsiteX4277" fmla="*/ 1974006 w 2240198"/>
                <a:gd name="connsiteY4277" fmla="*/ 1183748 h 1729012"/>
                <a:gd name="connsiteX4278" fmla="*/ 1971220 w 2240198"/>
                <a:gd name="connsiteY4278" fmla="*/ 1186304 h 1729012"/>
                <a:gd name="connsiteX4279" fmla="*/ 1972273 w 2240198"/>
                <a:gd name="connsiteY4279" fmla="*/ 1186765 h 1729012"/>
                <a:gd name="connsiteX4280" fmla="*/ 1978336 w 2240198"/>
                <a:gd name="connsiteY4280" fmla="*/ 1183411 h 1729012"/>
                <a:gd name="connsiteX4281" fmla="*/ 1982479 w 2240198"/>
                <a:gd name="connsiteY4281" fmla="*/ 1182088 h 1729012"/>
                <a:gd name="connsiteX4282" fmla="*/ 1988296 w 2240198"/>
                <a:gd name="connsiteY4282" fmla="*/ 1181025 h 1729012"/>
                <a:gd name="connsiteX4283" fmla="*/ 1990880 w 2240198"/>
                <a:gd name="connsiteY4283" fmla="*/ 1181174 h 1729012"/>
                <a:gd name="connsiteX4284" fmla="*/ 1995457 w 2240198"/>
                <a:gd name="connsiteY4284" fmla="*/ 1187864 h 1729012"/>
                <a:gd name="connsiteX4285" fmla="*/ 1998098 w 2240198"/>
                <a:gd name="connsiteY4285" fmla="*/ 1188512 h 1729012"/>
                <a:gd name="connsiteX4286" fmla="*/ 2000231 w 2240198"/>
                <a:gd name="connsiteY4286" fmla="*/ 1188164 h 1729012"/>
                <a:gd name="connsiteX4287" fmla="*/ 2004257 w 2240198"/>
                <a:gd name="connsiteY4287" fmla="*/ 1190087 h 1729012"/>
                <a:gd name="connsiteX4288" fmla="*/ 2005767 w 2240198"/>
                <a:gd name="connsiteY4288" fmla="*/ 1191938 h 1729012"/>
                <a:gd name="connsiteX4289" fmla="*/ 2005387 w 2240198"/>
                <a:gd name="connsiteY4289" fmla="*/ 1193269 h 1729012"/>
                <a:gd name="connsiteX4290" fmla="*/ 2004026 w 2240198"/>
                <a:gd name="connsiteY4290" fmla="*/ 1194066 h 1729012"/>
                <a:gd name="connsiteX4291" fmla="*/ 2003336 w 2240198"/>
                <a:gd name="connsiteY4291" fmla="*/ 1195308 h 1729012"/>
                <a:gd name="connsiteX4292" fmla="*/ 2004951 w 2240198"/>
                <a:gd name="connsiteY4292" fmla="*/ 1199002 h 1729012"/>
                <a:gd name="connsiteX4293" fmla="*/ 2004020 w 2240198"/>
                <a:gd name="connsiteY4293" fmla="*/ 1201074 h 1729012"/>
                <a:gd name="connsiteX4294" fmla="*/ 2001078 w 2240198"/>
                <a:gd name="connsiteY4294" fmla="*/ 1202901 h 1729012"/>
                <a:gd name="connsiteX4295" fmla="*/ 1998977 w 2240198"/>
                <a:gd name="connsiteY4295" fmla="*/ 1203827 h 1729012"/>
                <a:gd name="connsiteX4296" fmla="*/ 1996777 w 2240198"/>
                <a:gd name="connsiteY4296" fmla="*/ 1204112 h 1729012"/>
                <a:gd name="connsiteX4297" fmla="*/ 1994622 w 2240198"/>
                <a:gd name="connsiteY4297" fmla="*/ 1205727 h 1729012"/>
                <a:gd name="connsiteX4298" fmla="*/ 1993645 w 2240198"/>
                <a:gd name="connsiteY4298" fmla="*/ 1205966 h 1729012"/>
                <a:gd name="connsiteX4299" fmla="*/ 1990642 w 2240198"/>
                <a:gd name="connsiteY4299" fmla="*/ 1205557 h 1729012"/>
                <a:gd name="connsiteX4300" fmla="*/ 1991672 w 2240198"/>
                <a:gd name="connsiteY4300" fmla="*/ 1206550 h 1729012"/>
                <a:gd name="connsiteX4301" fmla="*/ 1993155 w 2240198"/>
                <a:gd name="connsiteY4301" fmla="*/ 1207053 h 1729012"/>
                <a:gd name="connsiteX4302" fmla="*/ 1995519 w 2240198"/>
                <a:gd name="connsiteY4302" fmla="*/ 1207327 h 1729012"/>
                <a:gd name="connsiteX4303" fmla="*/ 1998283 w 2240198"/>
                <a:gd name="connsiteY4303" fmla="*/ 1206819 h 1729012"/>
                <a:gd name="connsiteX4304" fmla="*/ 2000974 w 2240198"/>
                <a:gd name="connsiteY4304" fmla="*/ 1206883 h 1729012"/>
                <a:gd name="connsiteX4305" fmla="*/ 2005208 w 2240198"/>
                <a:gd name="connsiteY4305" fmla="*/ 1208052 h 1729012"/>
                <a:gd name="connsiteX4306" fmla="*/ 2006984 w 2240198"/>
                <a:gd name="connsiteY4306" fmla="*/ 1209491 h 1729012"/>
                <a:gd name="connsiteX4307" fmla="*/ 2007016 w 2240198"/>
                <a:gd name="connsiteY4307" fmla="*/ 1209888 h 1729012"/>
                <a:gd name="connsiteX4308" fmla="*/ 2006102 w 2240198"/>
                <a:gd name="connsiteY4308" fmla="*/ 1210710 h 1729012"/>
                <a:gd name="connsiteX4309" fmla="*/ 2004758 w 2240198"/>
                <a:gd name="connsiteY4309" fmla="*/ 1213385 h 1729012"/>
                <a:gd name="connsiteX4310" fmla="*/ 2003780 w 2240198"/>
                <a:gd name="connsiteY4310" fmla="*/ 1214346 h 1729012"/>
                <a:gd name="connsiteX4311" fmla="*/ 2004615 w 2240198"/>
                <a:gd name="connsiteY4311" fmla="*/ 1215066 h 1729012"/>
                <a:gd name="connsiteX4312" fmla="*/ 2006736 w 2240198"/>
                <a:gd name="connsiteY4312" fmla="*/ 1216177 h 1729012"/>
                <a:gd name="connsiteX4313" fmla="*/ 2008321 w 2240198"/>
                <a:gd name="connsiteY4313" fmla="*/ 1216589 h 1729012"/>
                <a:gd name="connsiteX4314" fmla="*/ 2010401 w 2240198"/>
                <a:gd name="connsiteY4314" fmla="*/ 1216228 h 1729012"/>
                <a:gd name="connsiteX4315" fmla="*/ 2012627 w 2240198"/>
                <a:gd name="connsiteY4315" fmla="*/ 1216701 h 1729012"/>
                <a:gd name="connsiteX4316" fmla="*/ 2020103 w 2240198"/>
                <a:gd name="connsiteY4316" fmla="*/ 1222964 h 1729012"/>
                <a:gd name="connsiteX4317" fmla="*/ 2019797 w 2240198"/>
                <a:gd name="connsiteY4317" fmla="*/ 1226188 h 1729012"/>
                <a:gd name="connsiteX4318" fmla="*/ 2018663 w 2240198"/>
                <a:gd name="connsiteY4318" fmla="*/ 1228671 h 1729012"/>
                <a:gd name="connsiteX4319" fmla="*/ 2019112 w 2240198"/>
                <a:gd name="connsiteY4319" fmla="*/ 1231459 h 1729012"/>
                <a:gd name="connsiteX4320" fmla="*/ 2019142 w 2240198"/>
                <a:gd name="connsiteY4320" fmla="*/ 1234890 h 1729012"/>
                <a:gd name="connsiteX4321" fmla="*/ 2015082 w 2240198"/>
                <a:gd name="connsiteY4321" fmla="*/ 1235834 h 1729012"/>
                <a:gd name="connsiteX4322" fmla="*/ 2001623 w 2240198"/>
                <a:gd name="connsiteY4322" fmla="*/ 1234230 h 1729012"/>
                <a:gd name="connsiteX4323" fmla="*/ 1993925 w 2240198"/>
                <a:gd name="connsiteY4323" fmla="*/ 1231777 h 1729012"/>
                <a:gd name="connsiteX4324" fmla="*/ 1993528 w 2240198"/>
                <a:gd name="connsiteY4324" fmla="*/ 1231030 h 1729012"/>
                <a:gd name="connsiteX4325" fmla="*/ 1995707 w 2240198"/>
                <a:gd name="connsiteY4325" fmla="*/ 1229399 h 1729012"/>
                <a:gd name="connsiteX4326" fmla="*/ 1993775 w 2240198"/>
                <a:gd name="connsiteY4326" fmla="*/ 1229278 h 1729012"/>
                <a:gd name="connsiteX4327" fmla="*/ 1991539 w 2240198"/>
                <a:gd name="connsiteY4327" fmla="*/ 1229919 h 1729012"/>
                <a:gd name="connsiteX4328" fmla="*/ 1990600 w 2240198"/>
                <a:gd name="connsiteY4328" fmla="*/ 1230524 h 1729012"/>
                <a:gd name="connsiteX4329" fmla="*/ 1993180 w 2240198"/>
                <a:gd name="connsiteY4329" fmla="*/ 1233113 h 1729012"/>
                <a:gd name="connsiteX4330" fmla="*/ 2000254 w 2240198"/>
                <a:gd name="connsiteY4330" fmla="*/ 1235393 h 1729012"/>
                <a:gd name="connsiteX4331" fmla="*/ 2003421 w 2240198"/>
                <a:gd name="connsiteY4331" fmla="*/ 1238134 h 1729012"/>
                <a:gd name="connsiteX4332" fmla="*/ 2006887 w 2240198"/>
                <a:gd name="connsiteY4332" fmla="*/ 1238369 h 1729012"/>
                <a:gd name="connsiteX4333" fmla="*/ 2007940 w 2240198"/>
                <a:gd name="connsiteY4333" fmla="*/ 1238865 h 1729012"/>
                <a:gd name="connsiteX4334" fmla="*/ 2009858 w 2240198"/>
                <a:gd name="connsiteY4334" fmla="*/ 1240467 h 1729012"/>
                <a:gd name="connsiteX4335" fmla="*/ 2009292 w 2240198"/>
                <a:gd name="connsiteY4335" fmla="*/ 1241018 h 1729012"/>
                <a:gd name="connsiteX4336" fmla="*/ 2005758 w 2240198"/>
                <a:gd name="connsiteY4336" fmla="*/ 1241209 h 1729012"/>
                <a:gd name="connsiteX4337" fmla="*/ 2002963 w 2240198"/>
                <a:gd name="connsiteY4337" fmla="*/ 1243063 h 1729012"/>
                <a:gd name="connsiteX4338" fmla="*/ 2004718 w 2240198"/>
                <a:gd name="connsiteY4338" fmla="*/ 1244152 h 1729012"/>
                <a:gd name="connsiteX4339" fmla="*/ 2011006 w 2240198"/>
                <a:gd name="connsiteY4339" fmla="*/ 1245105 h 1729012"/>
                <a:gd name="connsiteX4340" fmla="*/ 2015516 w 2240198"/>
                <a:gd name="connsiteY4340" fmla="*/ 1245348 h 1729012"/>
                <a:gd name="connsiteX4341" fmla="*/ 2017780 w 2240198"/>
                <a:gd name="connsiteY4341" fmla="*/ 1246414 h 1729012"/>
                <a:gd name="connsiteX4342" fmla="*/ 2015919 w 2240198"/>
                <a:gd name="connsiteY4342" fmla="*/ 1247601 h 1729012"/>
                <a:gd name="connsiteX4343" fmla="*/ 2010634 w 2240198"/>
                <a:gd name="connsiteY4343" fmla="*/ 1248995 h 1729012"/>
                <a:gd name="connsiteX4344" fmla="*/ 2010483 w 2240198"/>
                <a:gd name="connsiteY4344" fmla="*/ 1251068 h 1729012"/>
                <a:gd name="connsiteX4345" fmla="*/ 2014400 w 2240198"/>
                <a:gd name="connsiteY4345" fmla="*/ 1251897 h 1729012"/>
                <a:gd name="connsiteX4346" fmla="*/ 2017887 w 2240198"/>
                <a:gd name="connsiteY4346" fmla="*/ 1251394 h 1729012"/>
                <a:gd name="connsiteX4347" fmla="*/ 2019317 w 2240198"/>
                <a:gd name="connsiteY4347" fmla="*/ 1251603 h 1729012"/>
                <a:gd name="connsiteX4348" fmla="*/ 2020339 w 2240198"/>
                <a:gd name="connsiteY4348" fmla="*/ 1256608 h 1729012"/>
                <a:gd name="connsiteX4349" fmla="*/ 2020929 w 2240198"/>
                <a:gd name="connsiteY4349" fmla="*/ 1257647 h 1729012"/>
                <a:gd name="connsiteX4350" fmla="*/ 2017182 w 2240198"/>
                <a:gd name="connsiteY4350" fmla="*/ 1258535 h 1729012"/>
                <a:gd name="connsiteX4351" fmla="*/ 2017167 w 2240198"/>
                <a:gd name="connsiteY4351" fmla="*/ 1259487 h 1729012"/>
                <a:gd name="connsiteX4352" fmla="*/ 2019658 w 2240198"/>
                <a:gd name="connsiteY4352" fmla="*/ 1260273 h 1729012"/>
                <a:gd name="connsiteX4353" fmla="*/ 2023801 w 2240198"/>
                <a:gd name="connsiteY4353" fmla="*/ 1260928 h 1729012"/>
                <a:gd name="connsiteX4354" fmla="*/ 2025170 w 2240198"/>
                <a:gd name="connsiteY4354" fmla="*/ 1261824 h 1729012"/>
                <a:gd name="connsiteX4355" fmla="*/ 2025446 w 2240198"/>
                <a:gd name="connsiteY4355" fmla="*/ 1263312 h 1729012"/>
                <a:gd name="connsiteX4356" fmla="*/ 2026298 w 2240198"/>
                <a:gd name="connsiteY4356" fmla="*/ 1264105 h 1729012"/>
                <a:gd name="connsiteX4357" fmla="*/ 2028672 w 2240198"/>
                <a:gd name="connsiteY4357" fmla="*/ 1264248 h 1729012"/>
                <a:gd name="connsiteX4358" fmla="*/ 2031285 w 2240198"/>
                <a:gd name="connsiteY4358" fmla="*/ 1262398 h 1729012"/>
                <a:gd name="connsiteX4359" fmla="*/ 2032829 w 2240198"/>
                <a:gd name="connsiteY4359" fmla="*/ 1260839 h 1729012"/>
                <a:gd name="connsiteX4360" fmla="*/ 2035074 w 2240198"/>
                <a:gd name="connsiteY4360" fmla="*/ 1261425 h 1729012"/>
                <a:gd name="connsiteX4361" fmla="*/ 2035243 w 2240198"/>
                <a:gd name="connsiteY4361" fmla="*/ 1263370 h 1729012"/>
                <a:gd name="connsiteX4362" fmla="*/ 2037923 w 2240198"/>
                <a:gd name="connsiteY4362" fmla="*/ 1265579 h 1729012"/>
                <a:gd name="connsiteX4363" fmla="*/ 2038895 w 2240198"/>
                <a:gd name="connsiteY4363" fmla="*/ 1265942 h 1729012"/>
                <a:gd name="connsiteX4364" fmla="*/ 2039668 w 2240198"/>
                <a:gd name="connsiteY4364" fmla="*/ 1269071 h 1729012"/>
                <a:gd name="connsiteX4365" fmla="*/ 2041856 w 2240198"/>
                <a:gd name="connsiteY4365" fmla="*/ 1266288 h 1729012"/>
                <a:gd name="connsiteX4366" fmla="*/ 2043459 w 2240198"/>
                <a:gd name="connsiteY4366" fmla="*/ 1266877 h 1729012"/>
                <a:gd name="connsiteX4367" fmla="*/ 2045274 w 2240198"/>
                <a:gd name="connsiteY4367" fmla="*/ 1267017 h 1729012"/>
                <a:gd name="connsiteX4368" fmla="*/ 2044655 w 2240198"/>
                <a:gd name="connsiteY4368" fmla="*/ 1269709 h 1729012"/>
                <a:gd name="connsiteX4369" fmla="*/ 2043568 w 2240198"/>
                <a:gd name="connsiteY4369" fmla="*/ 1271827 h 1729012"/>
                <a:gd name="connsiteX4370" fmla="*/ 2044997 w 2240198"/>
                <a:gd name="connsiteY4370" fmla="*/ 1273149 h 1729012"/>
                <a:gd name="connsiteX4371" fmla="*/ 2046103 w 2240198"/>
                <a:gd name="connsiteY4371" fmla="*/ 1275116 h 1729012"/>
                <a:gd name="connsiteX4372" fmla="*/ 2049042 w 2240198"/>
                <a:gd name="connsiteY4372" fmla="*/ 1277817 h 1729012"/>
                <a:gd name="connsiteX4373" fmla="*/ 2048241 w 2240198"/>
                <a:gd name="connsiteY4373" fmla="*/ 1279113 h 1729012"/>
                <a:gd name="connsiteX4374" fmla="*/ 2044768 w 2240198"/>
                <a:gd name="connsiteY4374" fmla="*/ 1281880 h 1729012"/>
                <a:gd name="connsiteX4375" fmla="*/ 2042938 w 2240198"/>
                <a:gd name="connsiteY4375" fmla="*/ 1286252 h 1729012"/>
                <a:gd name="connsiteX4376" fmla="*/ 2042508 w 2240198"/>
                <a:gd name="connsiteY4376" fmla="*/ 1287766 h 1729012"/>
                <a:gd name="connsiteX4377" fmla="*/ 2040723 w 2240198"/>
                <a:gd name="connsiteY4377" fmla="*/ 1290273 h 1729012"/>
                <a:gd name="connsiteX4378" fmla="*/ 2038272 w 2240198"/>
                <a:gd name="connsiteY4378" fmla="*/ 1292701 h 1729012"/>
                <a:gd name="connsiteX4379" fmla="*/ 2039809 w 2240198"/>
                <a:gd name="connsiteY4379" fmla="*/ 1292445 h 1729012"/>
                <a:gd name="connsiteX4380" fmla="*/ 2045280 w 2240198"/>
                <a:gd name="connsiteY4380" fmla="*/ 1287978 h 1729012"/>
                <a:gd name="connsiteX4381" fmla="*/ 2048532 w 2240198"/>
                <a:gd name="connsiteY4381" fmla="*/ 1286477 h 1729012"/>
                <a:gd name="connsiteX4382" fmla="*/ 2055687 w 2240198"/>
                <a:gd name="connsiteY4382" fmla="*/ 1285664 h 1729012"/>
                <a:gd name="connsiteX4383" fmla="*/ 2057417 w 2240198"/>
                <a:gd name="connsiteY4383" fmla="*/ 1284410 h 1729012"/>
                <a:gd name="connsiteX4384" fmla="*/ 2060037 w 2240198"/>
                <a:gd name="connsiteY4384" fmla="*/ 1283889 h 1729012"/>
                <a:gd name="connsiteX4385" fmla="*/ 2061641 w 2240198"/>
                <a:gd name="connsiteY4385" fmla="*/ 1285320 h 1729012"/>
                <a:gd name="connsiteX4386" fmla="*/ 2061805 w 2240198"/>
                <a:gd name="connsiteY4386" fmla="*/ 1287894 h 1729012"/>
                <a:gd name="connsiteX4387" fmla="*/ 2063924 w 2240198"/>
                <a:gd name="connsiteY4387" fmla="*/ 1288706 h 1729012"/>
                <a:gd name="connsiteX4388" fmla="*/ 2066151 w 2240198"/>
                <a:gd name="connsiteY4388" fmla="*/ 1287858 h 1729012"/>
                <a:gd name="connsiteX4389" fmla="*/ 2068174 w 2240198"/>
                <a:gd name="connsiteY4389" fmla="*/ 1288616 h 1729012"/>
                <a:gd name="connsiteX4390" fmla="*/ 2066957 w 2240198"/>
                <a:gd name="connsiteY4390" fmla="*/ 1290231 h 1729012"/>
                <a:gd name="connsiteX4391" fmla="*/ 2060470 w 2240198"/>
                <a:gd name="connsiteY4391" fmla="*/ 1296848 h 1729012"/>
                <a:gd name="connsiteX4392" fmla="*/ 2058576 w 2240198"/>
                <a:gd name="connsiteY4392" fmla="*/ 1299500 h 1729012"/>
                <a:gd name="connsiteX4393" fmla="*/ 2058034 w 2240198"/>
                <a:gd name="connsiteY4393" fmla="*/ 1301374 h 1729012"/>
                <a:gd name="connsiteX4394" fmla="*/ 2060263 w 2240198"/>
                <a:gd name="connsiteY4394" fmla="*/ 1298804 h 1729012"/>
                <a:gd name="connsiteX4395" fmla="*/ 2068410 w 2240198"/>
                <a:gd name="connsiteY4395" fmla="*/ 1292867 h 1729012"/>
                <a:gd name="connsiteX4396" fmla="*/ 2069282 w 2240198"/>
                <a:gd name="connsiteY4396" fmla="*/ 1291978 h 1729012"/>
                <a:gd name="connsiteX4397" fmla="*/ 2071057 w 2240198"/>
                <a:gd name="connsiteY4397" fmla="*/ 1289431 h 1729012"/>
                <a:gd name="connsiteX4398" fmla="*/ 2072696 w 2240198"/>
                <a:gd name="connsiteY4398" fmla="*/ 1287766 h 1729012"/>
                <a:gd name="connsiteX4399" fmla="*/ 2077089 w 2240198"/>
                <a:gd name="connsiteY4399" fmla="*/ 1288357 h 1729012"/>
                <a:gd name="connsiteX4400" fmla="*/ 2079350 w 2240198"/>
                <a:gd name="connsiteY4400" fmla="*/ 1289550 h 1729012"/>
                <a:gd name="connsiteX4401" fmla="*/ 2080398 w 2240198"/>
                <a:gd name="connsiteY4401" fmla="*/ 1292881 h 1729012"/>
                <a:gd name="connsiteX4402" fmla="*/ 2082173 w 2240198"/>
                <a:gd name="connsiteY4402" fmla="*/ 1296507 h 1729012"/>
                <a:gd name="connsiteX4403" fmla="*/ 2084851 w 2240198"/>
                <a:gd name="connsiteY4403" fmla="*/ 1300515 h 1729012"/>
                <a:gd name="connsiteX4404" fmla="*/ 2091958 w 2240198"/>
                <a:gd name="connsiteY4404" fmla="*/ 1302459 h 1729012"/>
                <a:gd name="connsiteX4405" fmla="*/ 2094538 w 2240198"/>
                <a:gd name="connsiteY4405" fmla="*/ 1302774 h 1729012"/>
                <a:gd name="connsiteX4406" fmla="*/ 2098983 w 2240198"/>
                <a:gd name="connsiteY4406" fmla="*/ 1301418 h 1729012"/>
                <a:gd name="connsiteX4407" fmla="*/ 2099682 w 2240198"/>
                <a:gd name="connsiteY4407" fmla="*/ 1299546 h 1729012"/>
                <a:gd name="connsiteX4408" fmla="*/ 2103150 w 2240198"/>
                <a:gd name="connsiteY4408" fmla="*/ 1298973 h 1729012"/>
                <a:gd name="connsiteX4409" fmla="*/ 2105586 w 2240198"/>
                <a:gd name="connsiteY4409" fmla="*/ 1299201 h 1729012"/>
                <a:gd name="connsiteX4410" fmla="*/ 2106426 w 2240198"/>
                <a:gd name="connsiteY4410" fmla="*/ 1302809 h 1729012"/>
                <a:gd name="connsiteX4411" fmla="*/ 2109024 w 2240198"/>
                <a:gd name="connsiteY4411" fmla="*/ 1304722 h 1729012"/>
                <a:gd name="connsiteX4412" fmla="*/ 2111609 w 2240198"/>
                <a:gd name="connsiteY4412" fmla="*/ 1306300 h 1729012"/>
                <a:gd name="connsiteX4413" fmla="*/ 2114101 w 2240198"/>
                <a:gd name="connsiteY4413" fmla="*/ 1307120 h 1729012"/>
                <a:gd name="connsiteX4414" fmla="*/ 2117742 w 2240198"/>
                <a:gd name="connsiteY4414" fmla="*/ 1307473 h 1729012"/>
                <a:gd name="connsiteX4415" fmla="*/ 2119734 w 2240198"/>
                <a:gd name="connsiteY4415" fmla="*/ 1309206 h 1729012"/>
                <a:gd name="connsiteX4416" fmla="*/ 2119735 w 2240198"/>
                <a:gd name="connsiteY4416" fmla="*/ 1309923 h 1729012"/>
                <a:gd name="connsiteX4417" fmla="*/ 2117682 w 2240198"/>
                <a:gd name="connsiteY4417" fmla="*/ 1311778 h 1729012"/>
                <a:gd name="connsiteX4418" fmla="*/ 2115708 w 2240198"/>
                <a:gd name="connsiteY4418" fmla="*/ 1314475 h 1729012"/>
                <a:gd name="connsiteX4419" fmla="*/ 2112259 w 2240198"/>
                <a:gd name="connsiteY4419" fmla="*/ 1316358 h 1729012"/>
                <a:gd name="connsiteX4420" fmla="*/ 2107446 w 2240198"/>
                <a:gd name="connsiteY4420" fmla="*/ 1316445 h 1729012"/>
                <a:gd name="connsiteX4421" fmla="*/ 2100795 w 2240198"/>
                <a:gd name="connsiteY4421" fmla="*/ 1317621 h 1729012"/>
                <a:gd name="connsiteX4422" fmla="*/ 2100528 w 2240198"/>
                <a:gd name="connsiteY4422" fmla="*/ 1318686 h 1729012"/>
                <a:gd name="connsiteX4423" fmla="*/ 2099062 w 2240198"/>
                <a:gd name="connsiteY4423" fmla="*/ 1319856 h 1729012"/>
                <a:gd name="connsiteX4424" fmla="*/ 2095527 w 2240198"/>
                <a:gd name="connsiteY4424" fmla="*/ 1321013 h 1729012"/>
                <a:gd name="connsiteX4425" fmla="*/ 2093598 w 2240198"/>
                <a:gd name="connsiteY4425" fmla="*/ 1321892 h 1729012"/>
                <a:gd name="connsiteX4426" fmla="*/ 2090474 w 2240198"/>
                <a:gd name="connsiteY4426" fmla="*/ 1326254 h 1729012"/>
                <a:gd name="connsiteX4427" fmla="*/ 2088578 w 2240198"/>
                <a:gd name="connsiteY4427" fmla="*/ 1328114 h 1729012"/>
                <a:gd name="connsiteX4428" fmla="*/ 2086392 w 2240198"/>
                <a:gd name="connsiteY4428" fmla="*/ 1328469 h 1729012"/>
                <a:gd name="connsiteX4429" fmla="*/ 2083313 w 2240198"/>
                <a:gd name="connsiteY4429" fmla="*/ 1328291 h 1729012"/>
                <a:gd name="connsiteX4430" fmla="*/ 2081301 w 2240198"/>
                <a:gd name="connsiteY4430" fmla="*/ 1328688 h 1729012"/>
                <a:gd name="connsiteX4431" fmla="*/ 2079824 w 2240198"/>
                <a:gd name="connsiteY4431" fmla="*/ 1329482 h 1729012"/>
                <a:gd name="connsiteX4432" fmla="*/ 2078957 w 2240198"/>
                <a:gd name="connsiteY4432" fmla="*/ 1330665 h 1729012"/>
                <a:gd name="connsiteX4433" fmla="*/ 2078293 w 2240198"/>
                <a:gd name="connsiteY4433" fmla="*/ 1331104 h 1729012"/>
                <a:gd name="connsiteX4434" fmla="*/ 2074170 w 2240198"/>
                <a:gd name="connsiteY4434" fmla="*/ 1332305 h 1729012"/>
                <a:gd name="connsiteX4435" fmla="*/ 2066687 w 2240198"/>
                <a:gd name="connsiteY4435" fmla="*/ 1335601 h 1729012"/>
                <a:gd name="connsiteX4436" fmla="*/ 2062727 w 2240198"/>
                <a:gd name="connsiteY4436" fmla="*/ 1335702 h 1729012"/>
                <a:gd name="connsiteX4437" fmla="*/ 2060273 w 2240198"/>
                <a:gd name="connsiteY4437" fmla="*/ 1335319 h 1729012"/>
                <a:gd name="connsiteX4438" fmla="*/ 2058408 w 2240198"/>
                <a:gd name="connsiteY4438" fmla="*/ 1335592 h 1729012"/>
                <a:gd name="connsiteX4439" fmla="*/ 2057132 w 2240198"/>
                <a:gd name="connsiteY4439" fmla="*/ 1336518 h 1729012"/>
                <a:gd name="connsiteX4440" fmla="*/ 2053561 w 2240198"/>
                <a:gd name="connsiteY4440" fmla="*/ 1338120 h 1729012"/>
                <a:gd name="connsiteX4441" fmla="*/ 2052487 w 2240198"/>
                <a:gd name="connsiteY4441" fmla="*/ 1339099 h 1729012"/>
                <a:gd name="connsiteX4442" fmla="*/ 2051857 w 2240198"/>
                <a:gd name="connsiteY4442" fmla="*/ 1340218 h 1729012"/>
                <a:gd name="connsiteX4443" fmla="*/ 2051372 w 2240198"/>
                <a:gd name="connsiteY4443" fmla="*/ 1342532 h 1729012"/>
                <a:gd name="connsiteX4444" fmla="*/ 2050947 w 2240198"/>
                <a:gd name="connsiteY4444" fmla="*/ 1343367 h 1729012"/>
                <a:gd name="connsiteX4445" fmla="*/ 2050246 w 2240198"/>
                <a:gd name="connsiteY4445" fmla="*/ 1343850 h 1729012"/>
                <a:gd name="connsiteX4446" fmla="*/ 2047244 w 2240198"/>
                <a:gd name="connsiteY4446" fmla="*/ 1343368 h 1729012"/>
                <a:gd name="connsiteX4447" fmla="*/ 2043895 w 2240198"/>
                <a:gd name="connsiteY4447" fmla="*/ 1341870 h 1729012"/>
                <a:gd name="connsiteX4448" fmla="*/ 2044551 w 2240198"/>
                <a:gd name="connsiteY4448" fmla="*/ 1343458 h 1729012"/>
                <a:gd name="connsiteX4449" fmla="*/ 2049858 w 2240198"/>
                <a:gd name="connsiteY4449" fmla="*/ 1346139 h 1729012"/>
                <a:gd name="connsiteX4450" fmla="*/ 2051378 w 2240198"/>
                <a:gd name="connsiteY4450" fmla="*/ 1347625 h 1729012"/>
                <a:gd name="connsiteX4451" fmla="*/ 2049937 w 2240198"/>
                <a:gd name="connsiteY4451" fmla="*/ 1348909 h 1729012"/>
                <a:gd name="connsiteX4452" fmla="*/ 2046561 w 2240198"/>
                <a:gd name="connsiteY4452" fmla="*/ 1350923 h 1729012"/>
                <a:gd name="connsiteX4453" fmla="*/ 2046167 w 2240198"/>
                <a:gd name="connsiteY4453" fmla="*/ 1352005 h 1729012"/>
                <a:gd name="connsiteX4454" fmla="*/ 2047552 w 2240198"/>
                <a:gd name="connsiteY4454" fmla="*/ 1352575 h 1729012"/>
                <a:gd name="connsiteX4455" fmla="*/ 2047006 w 2240198"/>
                <a:gd name="connsiteY4455" fmla="*/ 1353488 h 1729012"/>
                <a:gd name="connsiteX4456" fmla="*/ 2045155 w 2240198"/>
                <a:gd name="connsiteY4456" fmla="*/ 1354456 h 1729012"/>
                <a:gd name="connsiteX4457" fmla="*/ 2045362 w 2240198"/>
                <a:gd name="connsiteY4457" fmla="*/ 1354855 h 1729012"/>
                <a:gd name="connsiteX4458" fmla="*/ 2045567 w 2240198"/>
                <a:gd name="connsiteY4458" fmla="*/ 1355245 h 1729012"/>
                <a:gd name="connsiteX4459" fmla="*/ 2050159 w 2240198"/>
                <a:gd name="connsiteY4459" fmla="*/ 1353851 h 1729012"/>
                <a:gd name="connsiteX4460" fmla="*/ 2054247 w 2240198"/>
                <a:gd name="connsiteY4460" fmla="*/ 1350876 h 1729012"/>
                <a:gd name="connsiteX4461" fmla="*/ 2056919 w 2240198"/>
                <a:gd name="connsiteY4461" fmla="*/ 1347863 h 1729012"/>
                <a:gd name="connsiteX4462" fmla="*/ 2058255 w 2240198"/>
                <a:gd name="connsiteY4462" fmla="*/ 1347018 h 1729012"/>
                <a:gd name="connsiteX4463" fmla="*/ 2063529 w 2240198"/>
                <a:gd name="connsiteY4463" fmla="*/ 1345902 h 1729012"/>
                <a:gd name="connsiteX4464" fmla="*/ 2066646 w 2240198"/>
                <a:gd name="connsiteY4464" fmla="*/ 1344590 h 1729012"/>
                <a:gd name="connsiteX4465" fmla="*/ 2071106 w 2240198"/>
                <a:gd name="connsiteY4465" fmla="*/ 1342202 h 1729012"/>
                <a:gd name="connsiteX4466" fmla="*/ 2075996 w 2240198"/>
                <a:gd name="connsiteY4466" fmla="*/ 1338731 h 1729012"/>
                <a:gd name="connsiteX4467" fmla="*/ 2081317 w 2240198"/>
                <a:gd name="connsiteY4467" fmla="*/ 1334174 h 1729012"/>
                <a:gd name="connsiteX4468" fmla="*/ 2088099 w 2240198"/>
                <a:gd name="connsiteY4468" fmla="*/ 1330609 h 1729012"/>
                <a:gd name="connsiteX4469" fmla="*/ 2096349 w 2240198"/>
                <a:gd name="connsiteY4469" fmla="*/ 1328036 h 1729012"/>
                <a:gd name="connsiteX4470" fmla="*/ 2102400 w 2240198"/>
                <a:gd name="connsiteY4470" fmla="*/ 1326725 h 1729012"/>
                <a:gd name="connsiteX4471" fmla="*/ 2106257 w 2240198"/>
                <a:gd name="connsiteY4471" fmla="*/ 1326666 h 1729012"/>
                <a:gd name="connsiteX4472" fmla="*/ 2106452 w 2240198"/>
                <a:gd name="connsiteY4472" fmla="*/ 1326234 h 1729012"/>
                <a:gd name="connsiteX4473" fmla="*/ 2102990 w 2240198"/>
                <a:gd name="connsiteY4473" fmla="*/ 1325427 h 1729012"/>
                <a:gd name="connsiteX4474" fmla="*/ 2100134 w 2240198"/>
                <a:gd name="connsiteY4474" fmla="*/ 1325268 h 1729012"/>
                <a:gd name="connsiteX4475" fmla="*/ 2096583 w 2240198"/>
                <a:gd name="connsiteY4475" fmla="*/ 1325855 h 1729012"/>
                <a:gd name="connsiteX4476" fmla="*/ 2095486 w 2240198"/>
                <a:gd name="connsiteY4476" fmla="*/ 1324460 h 1729012"/>
                <a:gd name="connsiteX4477" fmla="*/ 2095602 w 2240198"/>
                <a:gd name="connsiteY4477" fmla="*/ 1323852 h 1729012"/>
                <a:gd name="connsiteX4478" fmla="*/ 2096774 w 2240198"/>
                <a:gd name="connsiteY4478" fmla="*/ 1322815 h 1729012"/>
                <a:gd name="connsiteX4479" fmla="*/ 2099763 w 2240198"/>
                <a:gd name="connsiteY4479" fmla="*/ 1321890 h 1729012"/>
                <a:gd name="connsiteX4480" fmla="*/ 2114397 w 2240198"/>
                <a:gd name="connsiteY4480" fmla="*/ 1323184 h 1729012"/>
                <a:gd name="connsiteX4481" fmla="*/ 2119439 w 2240198"/>
                <a:gd name="connsiteY4481" fmla="*/ 1324172 h 1729012"/>
                <a:gd name="connsiteX4482" fmla="*/ 2124947 w 2240198"/>
                <a:gd name="connsiteY4482" fmla="*/ 1332469 h 1729012"/>
                <a:gd name="connsiteX4483" fmla="*/ 2126213 w 2240198"/>
                <a:gd name="connsiteY4483" fmla="*/ 1335131 h 1729012"/>
                <a:gd name="connsiteX4484" fmla="*/ 2126567 w 2240198"/>
                <a:gd name="connsiteY4484" fmla="*/ 1337069 h 1729012"/>
                <a:gd name="connsiteX4485" fmla="*/ 2126011 w 2240198"/>
                <a:gd name="connsiteY4485" fmla="*/ 1338282 h 1729012"/>
                <a:gd name="connsiteX4486" fmla="*/ 2123803 w 2240198"/>
                <a:gd name="connsiteY4486" fmla="*/ 1339718 h 1729012"/>
                <a:gd name="connsiteX4487" fmla="*/ 2117579 w 2240198"/>
                <a:gd name="connsiteY4487" fmla="*/ 1342571 h 1729012"/>
                <a:gd name="connsiteX4488" fmla="*/ 2116701 w 2240198"/>
                <a:gd name="connsiteY4488" fmla="*/ 1343321 h 1729012"/>
                <a:gd name="connsiteX4489" fmla="*/ 2116618 w 2240198"/>
                <a:gd name="connsiteY4489" fmla="*/ 1343720 h 1729012"/>
                <a:gd name="connsiteX4490" fmla="*/ 2119335 w 2240198"/>
                <a:gd name="connsiteY4490" fmla="*/ 1344296 h 1729012"/>
                <a:gd name="connsiteX4491" fmla="*/ 2120198 w 2240198"/>
                <a:gd name="connsiteY4491" fmla="*/ 1345081 h 1729012"/>
                <a:gd name="connsiteX4492" fmla="*/ 2121578 w 2240198"/>
                <a:gd name="connsiteY4492" fmla="*/ 1348243 h 1729012"/>
                <a:gd name="connsiteX4493" fmla="*/ 2124376 w 2240198"/>
                <a:gd name="connsiteY4493" fmla="*/ 1346189 h 1729012"/>
                <a:gd name="connsiteX4494" fmla="*/ 2129682 w 2240198"/>
                <a:gd name="connsiteY4494" fmla="*/ 1341203 h 1729012"/>
                <a:gd name="connsiteX4495" fmla="*/ 2134024 w 2240198"/>
                <a:gd name="connsiteY4495" fmla="*/ 1338887 h 1729012"/>
                <a:gd name="connsiteX4496" fmla="*/ 2137684 w 2240198"/>
                <a:gd name="connsiteY4496" fmla="*/ 1338255 h 1729012"/>
                <a:gd name="connsiteX4497" fmla="*/ 2142051 w 2240198"/>
                <a:gd name="connsiteY4497" fmla="*/ 1337950 h 1729012"/>
                <a:gd name="connsiteX4498" fmla="*/ 2143556 w 2240198"/>
                <a:gd name="connsiteY4498" fmla="*/ 1337999 h 1729012"/>
                <a:gd name="connsiteX4499" fmla="*/ 2144080 w 2240198"/>
                <a:gd name="connsiteY4499" fmla="*/ 1339619 h 1729012"/>
                <a:gd name="connsiteX4500" fmla="*/ 2146370 w 2240198"/>
                <a:gd name="connsiteY4500" fmla="*/ 1342869 h 1729012"/>
                <a:gd name="connsiteX4501" fmla="*/ 2148495 w 2240198"/>
                <a:gd name="connsiteY4501" fmla="*/ 1343713 h 1729012"/>
                <a:gd name="connsiteX4502" fmla="*/ 2152553 w 2240198"/>
                <a:gd name="connsiteY4502" fmla="*/ 1344146 h 1729012"/>
                <a:gd name="connsiteX4503" fmla="*/ 2156205 w 2240198"/>
                <a:gd name="connsiteY4503" fmla="*/ 1348172 h 1729012"/>
                <a:gd name="connsiteX4504" fmla="*/ 2157597 w 2240198"/>
                <a:gd name="connsiteY4504" fmla="*/ 1350944 h 1729012"/>
                <a:gd name="connsiteX4505" fmla="*/ 2158912 w 2240198"/>
                <a:gd name="connsiteY4505" fmla="*/ 1352564 h 1729012"/>
                <a:gd name="connsiteX4506" fmla="*/ 2158811 w 2240198"/>
                <a:gd name="connsiteY4506" fmla="*/ 1353654 h 1729012"/>
                <a:gd name="connsiteX4507" fmla="*/ 2159029 w 2240198"/>
                <a:gd name="connsiteY4507" fmla="*/ 1354566 h 1729012"/>
                <a:gd name="connsiteX4508" fmla="*/ 2159990 w 2240198"/>
                <a:gd name="connsiteY4508" fmla="*/ 1355946 h 1729012"/>
                <a:gd name="connsiteX4509" fmla="*/ 2160469 w 2240198"/>
                <a:gd name="connsiteY4509" fmla="*/ 1357110 h 1729012"/>
                <a:gd name="connsiteX4510" fmla="*/ 2160210 w 2240198"/>
                <a:gd name="connsiteY4510" fmla="*/ 1359771 h 1729012"/>
                <a:gd name="connsiteX4511" fmla="*/ 2158076 w 2240198"/>
                <a:gd name="connsiteY4511" fmla="*/ 1364383 h 1729012"/>
                <a:gd name="connsiteX4512" fmla="*/ 2159659 w 2240198"/>
                <a:gd name="connsiteY4512" fmla="*/ 1368570 h 1729012"/>
                <a:gd name="connsiteX4513" fmla="*/ 2158949 w 2240198"/>
                <a:gd name="connsiteY4513" fmla="*/ 1370456 h 1729012"/>
                <a:gd name="connsiteX4514" fmla="*/ 2158579 w 2240198"/>
                <a:gd name="connsiteY4514" fmla="*/ 1373458 h 1729012"/>
                <a:gd name="connsiteX4515" fmla="*/ 2159945 w 2240198"/>
                <a:gd name="connsiteY4515" fmla="*/ 1375461 h 1729012"/>
                <a:gd name="connsiteX4516" fmla="*/ 2160346 w 2240198"/>
                <a:gd name="connsiteY4516" fmla="*/ 1376623 h 1729012"/>
                <a:gd name="connsiteX4517" fmla="*/ 2159189 w 2240198"/>
                <a:gd name="connsiteY4517" fmla="*/ 1377301 h 1729012"/>
                <a:gd name="connsiteX4518" fmla="*/ 2151112 w 2240198"/>
                <a:gd name="connsiteY4518" fmla="*/ 1378961 h 1729012"/>
                <a:gd name="connsiteX4519" fmla="*/ 2147933 w 2240198"/>
                <a:gd name="connsiteY4519" fmla="*/ 1378993 h 1729012"/>
                <a:gd name="connsiteX4520" fmla="*/ 2147107 w 2240198"/>
                <a:gd name="connsiteY4520" fmla="*/ 1379992 h 1729012"/>
                <a:gd name="connsiteX4521" fmla="*/ 2149554 w 2240198"/>
                <a:gd name="connsiteY4521" fmla="*/ 1380284 h 1729012"/>
                <a:gd name="connsiteX4522" fmla="*/ 2154013 w 2240198"/>
                <a:gd name="connsiteY4522" fmla="*/ 1380236 h 1729012"/>
                <a:gd name="connsiteX4523" fmla="*/ 2159398 w 2240198"/>
                <a:gd name="connsiteY4523" fmla="*/ 1381252 h 1729012"/>
                <a:gd name="connsiteX4524" fmla="*/ 2161775 w 2240198"/>
                <a:gd name="connsiteY4524" fmla="*/ 1382381 h 1729012"/>
                <a:gd name="connsiteX4525" fmla="*/ 2162802 w 2240198"/>
                <a:gd name="connsiteY4525" fmla="*/ 1383958 h 1729012"/>
                <a:gd name="connsiteX4526" fmla="*/ 2162542 w 2240198"/>
                <a:gd name="connsiteY4526" fmla="*/ 1385212 h 1729012"/>
                <a:gd name="connsiteX4527" fmla="*/ 2160996 w 2240198"/>
                <a:gd name="connsiteY4527" fmla="*/ 1386140 h 1729012"/>
                <a:gd name="connsiteX4528" fmla="*/ 2157966 w 2240198"/>
                <a:gd name="connsiteY4528" fmla="*/ 1385958 h 1729012"/>
                <a:gd name="connsiteX4529" fmla="*/ 2155049 w 2240198"/>
                <a:gd name="connsiteY4529" fmla="*/ 1385110 h 1729012"/>
                <a:gd name="connsiteX4530" fmla="*/ 2155228 w 2240198"/>
                <a:gd name="connsiteY4530" fmla="*/ 1385931 h 1729012"/>
                <a:gd name="connsiteX4531" fmla="*/ 2159564 w 2240198"/>
                <a:gd name="connsiteY4531" fmla="*/ 1387974 h 1729012"/>
                <a:gd name="connsiteX4532" fmla="*/ 2160836 w 2240198"/>
                <a:gd name="connsiteY4532" fmla="*/ 1389011 h 1729012"/>
                <a:gd name="connsiteX4533" fmla="*/ 2163180 w 2240198"/>
                <a:gd name="connsiteY4533" fmla="*/ 1390315 h 1729012"/>
                <a:gd name="connsiteX4534" fmla="*/ 2163643 w 2240198"/>
                <a:gd name="connsiteY4534" fmla="*/ 1392065 h 1729012"/>
                <a:gd name="connsiteX4535" fmla="*/ 2163074 w 2240198"/>
                <a:gd name="connsiteY4535" fmla="*/ 1393843 h 1729012"/>
                <a:gd name="connsiteX4536" fmla="*/ 2154903 w 2240198"/>
                <a:gd name="connsiteY4536" fmla="*/ 1400915 h 1729012"/>
                <a:gd name="connsiteX4537" fmla="*/ 2148181 w 2240198"/>
                <a:gd name="connsiteY4537" fmla="*/ 1405392 h 1729012"/>
                <a:gd name="connsiteX4538" fmla="*/ 2141437 w 2240198"/>
                <a:gd name="connsiteY4538" fmla="*/ 1409315 h 1729012"/>
                <a:gd name="connsiteX4539" fmla="*/ 2130599 w 2240198"/>
                <a:gd name="connsiteY4539" fmla="*/ 1416848 h 1729012"/>
                <a:gd name="connsiteX4540" fmla="*/ 2129527 w 2240198"/>
                <a:gd name="connsiteY4540" fmla="*/ 1417214 h 1729012"/>
                <a:gd name="connsiteX4541" fmla="*/ 2127566 w 2240198"/>
                <a:gd name="connsiteY4541" fmla="*/ 1417358 h 1729012"/>
                <a:gd name="connsiteX4542" fmla="*/ 2122402 w 2240198"/>
                <a:gd name="connsiteY4542" fmla="*/ 1416154 h 1729012"/>
                <a:gd name="connsiteX4543" fmla="*/ 2118283 w 2240198"/>
                <a:gd name="connsiteY4543" fmla="*/ 1416462 h 1729012"/>
                <a:gd name="connsiteX4544" fmla="*/ 2110475 w 2240198"/>
                <a:gd name="connsiteY4544" fmla="*/ 1417916 h 1729012"/>
                <a:gd name="connsiteX4545" fmla="*/ 2108341 w 2240198"/>
                <a:gd name="connsiteY4545" fmla="*/ 1418805 h 1729012"/>
                <a:gd name="connsiteX4546" fmla="*/ 2104059 w 2240198"/>
                <a:gd name="connsiteY4546" fmla="*/ 1421410 h 1729012"/>
                <a:gd name="connsiteX4547" fmla="*/ 2102366 w 2240198"/>
                <a:gd name="connsiteY4547" fmla="*/ 1421784 h 1729012"/>
                <a:gd name="connsiteX4548" fmla="*/ 2097775 w 2240198"/>
                <a:gd name="connsiteY4548" fmla="*/ 1422314 h 1729012"/>
                <a:gd name="connsiteX4549" fmla="*/ 2093419 w 2240198"/>
                <a:gd name="connsiteY4549" fmla="*/ 1421954 h 1729012"/>
                <a:gd name="connsiteX4550" fmla="*/ 2091693 w 2240198"/>
                <a:gd name="connsiteY4550" fmla="*/ 1422319 h 1729012"/>
                <a:gd name="connsiteX4551" fmla="*/ 2089590 w 2240198"/>
                <a:gd name="connsiteY4551" fmla="*/ 1423594 h 1729012"/>
                <a:gd name="connsiteX4552" fmla="*/ 2089046 w 2240198"/>
                <a:gd name="connsiteY4552" fmla="*/ 1424268 h 1729012"/>
                <a:gd name="connsiteX4553" fmla="*/ 2088466 w 2240198"/>
                <a:gd name="connsiteY4553" fmla="*/ 1426464 h 1729012"/>
                <a:gd name="connsiteX4554" fmla="*/ 2077885 w 2240198"/>
                <a:gd name="connsiteY4554" fmla="*/ 1436267 h 1729012"/>
                <a:gd name="connsiteX4555" fmla="*/ 2075083 w 2240198"/>
                <a:gd name="connsiteY4555" fmla="*/ 1439584 h 1729012"/>
                <a:gd name="connsiteX4556" fmla="*/ 2069691 w 2240198"/>
                <a:gd name="connsiteY4556" fmla="*/ 1443071 h 1729012"/>
                <a:gd name="connsiteX4557" fmla="*/ 2063762 w 2240198"/>
                <a:gd name="connsiteY4557" fmla="*/ 1449182 h 1729012"/>
                <a:gd name="connsiteX4558" fmla="*/ 2058604 w 2240198"/>
                <a:gd name="connsiteY4558" fmla="*/ 1451638 h 1729012"/>
                <a:gd name="connsiteX4559" fmla="*/ 2056803 w 2240198"/>
                <a:gd name="connsiteY4559" fmla="*/ 1455024 h 1729012"/>
                <a:gd name="connsiteX4560" fmla="*/ 2051887 w 2240198"/>
                <a:gd name="connsiteY4560" fmla="*/ 1457078 h 1729012"/>
                <a:gd name="connsiteX4561" fmla="*/ 2042812 w 2240198"/>
                <a:gd name="connsiteY4561" fmla="*/ 1457600 h 1729012"/>
                <a:gd name="connsiteX4562" fmla="*/ 2038499 w 2240198"/>
                <a:gd name="connsiteY4562" fmla="*/ 1458188 h 1729012"/>
                <a:gd name="connsiteX4563" fmla="*/ 2033453 w 2240198"/>
                <a:gd name="connsiteY4563" fmla="*/ 1457236 h 1729012"/>
                <a:gd name="connsiteX4564" fmla="*/ 2029673 w 2240198"/>
                <a:gd name="connsiteY4564" fmla="*/ 1458710 h 1729012"/>
                <a:gd name="connsiteX4565" fmla="*/ 2023982 w 2240198"/>
                <a:gd name="connsiteY4565" fmla="*/ 1459171 h 1729012"/>
                <a:gd name="connsiteX4566" fmla="*/ 2021217 w 2240198"/>
                <a:gd name="connsiteY4566" fmla="*/ 1458824 h 1729012"/>
                <a:gd name="connsiteX4567" fmla="*/ 2010185 w 2240198"/>
                <a:gd name="connsiteY4567" fmla="*/ 1462071 h 1729012"/>
                <a:gd name="connsiteX4568" fmla="*/ 2007383 w 2240198"/>
                <a:gd name="connsiteY4568" fmla="*/ 1458989 h 1729012"/>
                <a:gd name="connsiteX4569" fmla="*/ 2005249 w 2240198"/>
                <a:gd name="connsiteY4569" fmla="*/ 1457799 h 1729012"/>
                <a:gd name="connsiteX4570" fmla="*/ 1999019 w 2240198"/>
                <a:gd name="connsiteY4570" fmla="*/ 1457597 h 1729012"/>
                <a:gd name="connsiteX4571" fmla="*/ 1994038 w 2240198"/>
                <a:gd name="connsiteY4571" fmla="*/ 1456323 h 1729012"/>
                <a:gd name="connsiteX4572" fmla="*/ 1989492 w 2240198"/>
                <a:gd name="connsiteY4572" fmla="*/ 1456084 h 1729012"/>
                <a:gd name="connsiteX4573" fmla="*/ 1985067 w 2240198"/>
                <a:gd name="connsiteY4573" fmla="*/ 1455514 h 1729012"/>
                <a:gd name="connsiteX4574" fmla="*/ 1982156 w 2240198"/>
                <a:gd name="connsiteY4574" fmla="*/ 1455521 h 1729012"/>
                <a:gd name="connsiteX4575" fmla="*/ 1979126 w 2240198"/>
                <a:gd name="connsiteY4575" fmla="*/ 1455857 h 1729012"/>
                <a:gd name="connsiteX4576" fmla="*/ 1974413 w 2240198"/>
                <a:gd name="connsiteY4576" fmla="*/ 1455775 h 1729012"/>
                <a:gd name="connsiteX4577" fmla="*/ 1971802 w 2240198"/>
                <a:gd name="connsiteY4577" fmla="*/ 1457476 h 1729012"/>
                <a:gd name="connsiteX4578" fmla="*/ 1962975 w 2240198"/>
                <a:gd name="connsiteY4578" fmla="*/ 1456957 h 1729012"/>
                <a:gd name="connsiteX4579" fmla="*/ 1959251 w 2240198"/>
                <a:gd name="connsiteY4579" fmla="*/ 1455415 h 1729012"/>
                <a:gd name="connsiteX4580" fmla="*/ 1956198 w 2240198"/>
                <a:gd name="connsiteY4580" fmla="*/ 1455093 h 1729012"/>
                <a:gd name="connsiteX4581" fmla="*/ 1952094 w 2240198"/>
                <a:gd name="connsiteY4581" fmla="*/ 1455438 h 1729012"/>
                <a:gd name="connsiteX4582" fmla="*/ 1948175 w 2240198"/>
                <a:gd name="connsiteY4582" fmla="*/ 1456585 h 1729012"/>
                <a:gd name="connsiteX4583" fmla="*/ 1939590 w 2240198"/>
                <a:gd name="connsiteY4583" fmla="*/ 1455272 h 1729012"/>
                <a:gd name="connsiteX4584" fmla="*/ 1930489 w 2240198"/>
                <a:gd name="connsiteY4584" fmla="*/ 1456383 h 1729012"/>
                <a:gd name="connsiteX4585" fmla="*/ 1922552 w 2240198"/>
                <a:gd name="connsiteY4585" fmla="*/ 1455639 h 1729012"/>
                <a:gd name="connsiteX4586" fmla="*/ 1920329 w 2240198"/>
                <a:gd name="connsiteY4586" fmla="*/ 1454904 h 1729012"/>
                <a:gd name="connsiteX4587" fmla="*/ 1907805 w 2240198"/>
                <a:gd name="connsiteY4587" fmla="*/ 1456922 h 1729012"/>
                <a:gd name="connsiteX4588" fmla="*/ 1902915 w 2240198"/>
                <a:gd name="connsiteY4588" fmla="*/ 1455764 h 1729012"/>
                <a:gd name="connsiteX4589" fmla="*/ 1898600 w 2240198"/>
                <a:gd name="connsiteY4589" fmla="*/ 1458855 h 1729012"/>
                <a:gd name="connsiteX4590" fmla="*/ 1895641 w 2240198"/>
                <a:gd name="connsiteY4590" fmla="*/ 1458213 h 1729012"/>
                <a:gd name="connsiteX4591" fmla="*/ 1892430 w 2240198"/>
                <a:gd name="connsiteY4591" fmla="*/ 1458668 h 1729012"/>
                <a:gd name="connsiteX4592" fmla="*/ 1891359 w 2240198"/>
                <a:gd name="connsiteY4592" fmla="*/ 1458084 h 1729012"/>
                <a:gd name="connsiteX4593" fmla="*/ 1889218 w 2240198"/>
                <a:gd name="connsiteY4593" fmla="*/ 1458495 h 1729012"/>
                <a:gd name="connsiteX4594" fmla="*/ 1887835 w 2240198"/>
                <a:gd name="connsiteY4594" fmla="*/ 1460176 h 1729012"/>
                <a:gd name="connsiteX4595" fmla="*/ 1886018 w 2240198"/>
                <a:gd name="connsiteY4595" fmla="*/ 1460368 h 1729012"/>
                <a:gd name="connsiteX4596" fmla="*/ 1882997 w 2240198"/>
                <a:gd name="connsiteY4596" fmla="*/ 1463347 h 1729012"/>
                <a:gd name="connsiteX4597" fmla="*/ 1877919 w 2240198"/>
                <a:gd name="connsiteY4597" fmla="*/ 1465725 h 1729012"/>
                <a:gd name="connsiteX4598" fmla="*/ 1870483 w 2240198"/>
                <a:gd name="connsiteY4598" fmla="*/ 1478668 h 1729012"/>
                <a:gd name="connsiteX4599" fmla="*/ 1869785 w 2240198"/>
                <a:gd name="connsiteY4599" fmla="*/ 1483626 h 1729012"/>
                <a:gd name="connsiteX4600" fmla="*/ 1866993 w 2240198"/>
                <a:gd name="connsiteY4600" fmla="*/ 1487003 h 1729012"/>
                <a:gd name="connsiteX4601" fmla="*/ 1864528 w 2240198"/>
                <a:gd name="connsiteY4601" fmla="*/ 1487457 h 1729012"/>
                <a:gd name="connsiteX4602" fmla="*/ 1862499 w 2240198"/>
                <a:gd name="connsiteY4602" fmla="*/ 1487534 h 1729012"/>
                <a:gd name="connsiteX4603" fmla="*/ 1849644 w 2240198"/>
                <a:gd name="connsiteY4603" fmla="*/ 1490012 h 1729012"/>
                <a:gd name="connsiteX4604" fmla="*/ 1843921 w 2240198"/>
                <a:gd name="connsiteY4604" fmla="*/ 1491967 h 1729012"/>
                <a:gd name="connsiteX4605" fmla="*/ 1845476 w 2240198"/>
                <a:gd name="connsiteY4605" fmla="*/ 1493525 h 1729012"/>
                <a:gd name="connsiteX4606" fmla="*/ 1843602 w 2240198"/>
                <a:gd name="connsiteY4606" fmla="*/ 1494682 h 1729012"/>
                <a:gd name="connsiteX4607" fmla="*/ 1840562 w 2240198"/>
                <a:gd name="connsiteY4607" fmla="*/ 1495168 h 1729012"/>
                <a:gd name="connsiteX4608" fmla="*/ 1837280 w 2240198"/>
                <a:gd name="connsiteY4608" fmla="*/ 1496588 h 1729012"/>
                <a:gd name="connsiteX4609" fmla="*/ 1835149 w 2240198"/>
                <a:gd name="connsiteY4609" fmla="*/ 1498191 h 1729012"/>
                <a:gd name="connsiteX4610" fmla="*/ 1834106 w 2240198"/>
                <a:gd name="connsiteY4610" fmla="*/ 1500404 h 1729012"/>
                <a:gd name="connsiteX4611" fmla="*/ 1827512 w 2240198"/>
                <a:gd name="connsiteY4611" fmla="*/ 1504018 h 1729012"/>
                <a:gd name="connsiteX4612" fmla="*/ 1819862 w 2240198"/>
                <a:gd name="connsiteY4612" fmla="*/ 1512343 h 1729012"/>
                <a:gd name="connsiteX4613" fmla="*/ 1816206 w 2240198"/>
                <a:gd name="connsiteY4613" fmla="*/ 1518433 h 1729012"/>
                <a:gd name="connsiteX4614" fmla="*/ 1811765 w 2240198"/>
                <a:gd name="connsiteY4614" fmla="*/ 1522836 h 1729012"/>
                <a:gd name="connsiteX4615" fmla="*/ 1808627 w 2240198"/>
                <a:gd name="connsiteY4615" fmla="*/ 1524511 h 1729012"/>
                <a:gd name="connsiteX4616" fmla="*/ 1806394 w 2240198"/>
                <a:gd name="connsiteY4616" fmla="*/ 1524771 h 1729012"/>
                <a:gd name="connsiteX4617" fmla="*/ 1804117 w 2240198"/>
                <a:gd name="connsiteY4617" fmla="*/ 1524245 h 1729012"/>
                <a:gd name="connsiteX4618" fmla="*/ 1800332 w 2240198"/>
                <a:gd name="connsiteY4618" fmla="*/ 1522183 h 1729012"/>
                <a:gd name="connsiteX4619" fmla="*/ 1797552 w 2240198"/>
                <a:gd name="connsiteY4619" fmla="*/ 1521955 h 1729012"/>
                <a:gd name="connsiteX4620" fmla="*/ 1790628 w 2240198"/>
                <a:gd name="connsiteY4620" fmla="*/ 1519080 h 1729012"/>
                <a:gd name="connsiteX4621" fmla="*/ 1774537 w 2240198"/>
                <a:gd name="connsiteY4621" fmla="*/ 1516183 h 1729012"/>
                <a:gd name="connsiteX4622" fmla="*/ 1776964 w 2240198"/>
                <a:gd name="connsiteY4622" fmla="*/ 1517267 h 1729012"/>
                <a:gd name="connsiteX4623" fmla="*/ 1779089 w 2240198"/>
                <a:gd name="connsiteY4623" fmla="*/ 1519051 h 1729012"/>
                <a:gd name="connsiteX4624" fmla="*/ 1783341 w 2240198"/>
                <a:gd name="connsiteY4624" fmla="*/ 1519511 h 1729012"/>
                <a:gd name="connsiteX4625" fmla="*/ 1787663 w 2240198"/>
                <a:gd name="connsiteY4625" fmla="*/ 1519474 h 1729012"/>
                <a:gd name="connsiteX4626" fmla="*/ 1796672 w 2240198"/>
                <a:gd name="connsiteY4626" fmla="*/ 1523072 h 1729012"/>
                <a:gd name="connsiteX4627" fmla="*/ 1801087 w 2240198"/>
                <a:gd name="connsiteY4627" fmla="*/ 1524297 h 1729012"/>
                <a:gd name="connsiteX4628" fmla="*/ 1803767 w 2240198"/>
                <a:gd name="connsiteY4628" fmla="*/ 1525383 h 1729012"/>
                <a:gd name="connsiteX4629" fmla="*/ 1806062 w 2240198"/>
                <a:gd name="connsiteY4629" fmla="*/ 1527787 h 1729012"/>
                <a:gd name="connsiteX4630" fmla="*/ 1804418 w 2240198"/>
                <a:gd name="connsiteY4630" fmla="*/ 1532496 h 1729012"/>
                <a:gd name="connsiteX4631" fmla="*/ 1802751 w 2240198"/>
                <a:gd name="connsiteY4631" fmla="*/ 1536386 h 1729012"/>
                <a:gd name="connsiteX4632" fmla="*/ 1800498 w 2240198"/>
                <a:gd name="connsiteY4632" fmla="*/ 1539366 h 1729012"/>
                <a:gd name="connsiteX4633" fmla="*/ 1792747 w 2240198"/>
                <a:gd name="connsiteY4633" fmla="*/ 1546998 h 1729012"/>
                <a:gd name="connsiteX4634" fmla="*/ 1788996 w 2240198"/>
                <a:gd name="connsiteY4634" fmla="*/ 1549558 h 1729012"/>
                <a:gd name="connsiteX4635" fmla="*/ 1782459 w 2240198"/>
                <a:gd name="connsiteY4635" fmla="*/ 1558663 h 1729012"/>
                <a:gd name="connsiteX4636" fmla="*/ 1775693 w 2240198"/>
                <a:gd name="connsiteY4636" fmla="*/ 1562927 h 1729012"/>
                <a:gd name="connsiteX4637" fmla="*/ 1772070 w 2240198"/>
                <a:gd name="connsiteY4637" fmla="*/ 1565541 h 1729012"/>
                <a:gd name="connsiteX4638" fmla="*/ 1768211 w 2240198"/>
                <a:gd name="connsiteY4638" fmla="*/ 1569664 h 1729012"/>
                <a:gd name="connsiteX4639" fmla="*/ 1759159 w 2240198"/>
                <a:gd name="connsiteY4639" fmla="*/ 1572778 h 1729012"/>
                <a:gd name="connsiteX4640" fmla="*/ 1755799 w 2240198"/>
                <a:gd name="connsiteY4640" fmla="*/ 1573570 h 1729012"/>
                <a:gd name="connsiteX4641" fmla="*/ 1752697 w 2240198"/>
                <a:gd name="connsiteY4641" fmla="*/ 1573147 h 1729012"/>
                <a:gd name="connsiteX4642" fmla="*/ 1748923 w 2240198"/>
                <a:gd name="connsiteY4642" fmla="*/ 1575678 h 1729012"/>
                <a:gd name="connsiteX4643" fmla="*/ 1744455 w 2240198"/>
                <a:gd name="connsiteY4643" fmla="*/ 1577224 h 1729012"/>
                <a:gd name="connsiteX4644" fmla="*/ 1743137 w 2240198"/>
                <a:gd name="connsiteY4644" fmla="*/ 1579576 h 1729012"/>
                <a:gd name="connsiteX4645" fmla="*/ 1732399 w 2240198"/>
                <a:gd name="connsiteY4645" fmla="*/ 1585864 h 1729012"/>
                <a:gd name="connsiteX4646" fmla="*/ 1728277 w 2240198"/>
                <a:gd name="connsiteY4646" fmla="*/ 1586654 h 1729012"/>
                <a:gd name="connsiteX4647" fmla="*/ 1724770 w 2240198"/>
                <a:gd name="connsiteY4647" fmla="*/ 1588327 h 1729012"/>
                <a:gd name="connsiteX4648" fmla="*/ 1723732 w 2240198"/>
                <a:gd name="connsiteY4648" fmla="*/ 1591164 h 1729012"/>
                <a:gd name="connsiteX4649" fmla="*/ 1720601 w 2240198"/>
                <a:gd name="connsiteY4649" fmla="*/ 1592875 h 1729012"/>
                <a:gd name="connsiteX4650" fmla="*/ 1719732 w 2240198"/>
                <a:gd name="connsiteY4650" fmla="*/ 1594183 h 1729012"/>
                <a:gd name="connsiteX4651" fmla="*/ 1717098 w 2240198"/>
                <a:gd name="connsiteY4651" fmla="*/ 1598144 h 1729012"/>
                <a:gd name="connsiteX4652" fmla="*/ 1712203 w 2240198"/>
                <a:gd name="connsiteY4652" fmla="*/ 1603252 h 1729012"/>
                <a:gd name="connsiteX4653" fmla="*/ 1706238 w 2240198"/>
                <a:gd name="connsiteY4653" fmla="*/ 1604107 h 1729012"/>
                <a:gd name="connsiteX4654" fmla="*/ 1704058 w 2240198"/>
                <a:gd name="connsiteY4654" fmla="*/ 1605882 h 1729012"/>
                <a:gd name="connsiteX4655" fmla="*/ 1701533 w 2240198"/>
                <a:gd name="connsiteY4655" fmla="*/ 1608745 h 1729012"/>
                <a:gd name="connsiteX4656" fmla="*/ 1697972 w 2240198"/>
                <a:gd name="connsiteY4656" fmla="*/ 1610708 h 1729012"/>
                <a:gd name="connsiteX4657" fmla="*/ 1690943 w 2240198"/>
                <a:gd name="connsiteY4657" fmla="*/ 1609789 h 1729012"/>
                <a:gd name="connsiteX4658" fmla="*/ 1692652 w 2240198"/>
                <a:gd name="connsiteY4658" fmla="*/ 1610992 h 1729012"/>
                <a:gd name="connsiteX4659" fmla="*/ 1698941 w 2240198"/>
                <a:gd name="connsiteY4659" fmla="*/ 1612865 h 1729012"/>
                <a:gd name="connsiteX4660" fmla="*/ 1699595 w 2240198"/>
                <a:gd name="connsiteY4660" fmla="*/ 1615643 h 1729012"/>
                <a:gd name="connsiteX4661" fmla="*/ 1696445 w 2240198"/>
                <a:gd name="connsiteY4661" fmla="*/ 1616306 h 1729012"/>
                <a:gd name="connsiteX4662" fmla="*/ 1689846 w 2240198"/>
                <a:gd name="connsiteY4662" fmla="*/ 1620003 h 1729012"/>
                <a:gd name="connsiteX4663" fmla="*/ 1680957 w 2240198"/>
                <a:gd name="connsiteY4663" fmla="*/ 1626358 h 1729012"/>
                <a:gd name="connsiteX4664" fmla="*/ 1679598 w 2240198"/>
                <a:gd name="connsiteY4664" fmla="*/ 1626507 h 1729012"/>
                <a:gd name="connsiteX4665" fmla="*/ 1677209 w 2240198"/>
                <a:gd name="connsiteY4665" fmla="*/ 1626355 h 1729012"/>
                <a:gd name="connsiteX4666" fmla="*/ 1673673 w 2240198"/>
                <a:gd name="connsiteY4666" fmla="*/ 1627415 h 1729012"/>
                <a:gd name="connsiteX4667" fmla="*/ 1669027 w 2240198"/>
                <a:gd name="connsiteY4667" fmla="*/ 1629630 h 1729012"/>
                <a:gd name="connsiteX4668" fmla="*/ 1663401 w 2240198"/>
                <a:gd name="connsiteY4668" fmla="*/ 1633607 h 1729012"/>
                <a:gd name="connsiteX4669" fmla="*/ 1653494 w 2240198"/>
                <a:gd name="connsiteY4669" fmla="*/ 1642201 h 1729012"/>
                <a:gd name="connsiteX4670" fmla="*/ 1652799 w 2240198"/>
                <a:gd name="connsiteY4670" fmla="*/ 1643107 h 1729012"/>
                <a:gd name="connsiteX4671" fmla="*/ 1651365 w 2240198"/>
                <a:gd name="connsiteY4671" fmla="*/ 1644697 h 1729012"/>
                <a:gd name="connsiteX4672" fmla="*/ 1647707 w 2240198"/>
                <a:gd name="connsiteY4672" fmla="*/ 1646392 h 1729012"/>
                <a:gd name="connsiteX4673" fmla="*/ 1644386 w 2240198"/>
                <a:gd name="connsiteY4673" fmla="*/ 1648218 h 1729012"/>
                <a:gd name="connsiteX4674" fmla="*/ 1643507 w 2240198"/>
                <a:gd name="connsiteY4674" fmla="*/ 1650137 h 1729012"/>
                <a:gd name="connsiteX4675" fmla="*/ 1641917 w 2240198"/>
                <a:gd name="connsiteY4675" fmla="*/ 1651012 h 1729012"/>
                <a:gd name="connsiteX4676" fmla="*/ 1636438 w 2240198"/>
                <a:gd name="connsiteY4676" fmla="*/ 1655875 h 1729012"/>
                <a:gd name="connsiteX4677" fmla="*/ 1633357 w 2240198"/>
                <a:gd name="connsiteY4677" fmla="*/ 1660011 h 1729012"/>
                <a:gd name="connsiteX4678" fmla="*/ 1630559 w 2240198"/>
                <a:gd name="connsiteY4678" fmla="*/ 1664334 h 1729012"/>
                <a:gd name="connsiteX4679" fmla="*/ 1627427 w 2240198"/>
                <a:gd name="connsiteY4679" fmla="*/ 1669160 h 1729012"/>
                <a:gd name="connsiteX4680" fmla="*/ 1621003 w 2240198"/>
                <a:gd name="connsiteY4680" fmla="*/ 1669221 h 1729012"/>
                <a:gd name="connsiteX4681" fmla="*/ 1616100 w 2240198"/>
                <a:gd name="connsiteY4681" fmla="*/ 1669201 h 1729012"/>
                <a:gd name="connsiteX4682" fmla="*/ 1607737 w 2240198"/>
                <a:gd name="connsiteY4682" fmla="*/ 1669167 h 1729012"/>
                <a:gd name="connsiteX4683" fmla="*/ 1600567 w 2240198"/>
                <a:gd name="connsiteY4683" fmla="*/ 1669138 h 1729012"/>
                <a:gd name="connsiteX4684" fmla="*/ 1592060 w 2240198"/>
                <a:gd name="connsiteY4684" fmla="*/ 1669103 h 1729012"/>
                <a:gd name="connsiteX4685" fmla="*/ 1585886 w 2240198"/>
                <a:gd name="connsiteY4685" fmla="*/ 1669078 h 1729012"/>
                <a:gd name="connsiteX4686" fmla="*/ 1579238 w 2240198"/>
                <a:gd name="connsiteY4686" fmla="*/ 1669281 h 1729012"/>
                <a:gd name="connsiteX4687" fmla="*/ 1576065 w 2240198"/>
                <a:gd name="connsiteY4687" fmla="*/ 1670566 h 1729012"/>
                <a:gd name="connsiteX4688" fmla="*/ 1572086 w 2240198"/>
                <a:gd name="connsiteY4688" fmla="*/ 1672302 h 1729012"/>
                <a:gd name="connsiteX4689" fmla="*/ 1567792 w 2240198"/>
                <a:gd name="connsiteY4689" fmla="*/ 1674174 h 1729012"/>
                <a:gd name="connsiteX4690" fmla="*/ 1570044 w 2240198"/>
                <a:gd name="connsiteY4690" fmla="*/ 1678343 h 1729012"/>
                <a:gd name="connsiteX4691" fmla="*/ 1570648 w 2240198"/>
                <a:gd name="connsiteY4691" fmla="*/ 1679986 h 1729012"/>
                <a:gd name="connsiteX4692" fmla="*/ 1570474 w 2240198"/>
                <a:gd name="connsiteY4692" fmla="*/ 1685281 h 1729012"/>
                <a:gd name="connsiteX4693" fmla="*/ 1570933 w 2240198"/>
                <a:gd name="connsiteY4693" fmla="*/ 1685859 h 1729012"/>
                <a:gd name="connsiteX4694" fmla="*/ 1571413 w 2240198"/>
                <a:gd name="connsiteY4694" fmla="*/ 1686644 h 1729012"/>
                <a:gd name="connsiteX4695" fmla="*/ 1571487 w 2240198"/>
                <a:gd name="connsiteY4695" fmla="*/ 1688010 h 1729012"/>
                <a:gd name="connsiteX4696" fmla="*/ 1571854 w 2240198"/>
                <a:gd name="connsiteY4696" fmla="*/ 1688635 h 1729012"/>
                <a:gd name="connsiteX4697" fmla="*/ 1572638 w 2240198"/>
                <a:gd name="connsiteY4697" fmla="*/ 1689139 h 1729012"/>
                <a:gd name="connsiteX4698" fmla="*/ 1573519 w 2240198"/>
                <a:gd name="connsiteY4698" fmla="*/ 1689731 h 1729012"/>
                <a:gd name="connsiteX4699" fmla="*/ 1574156 w 2240198"/>
                <a:gd name="connsiteY4699" fmla="*/ 1690534 h 1729012"/>
                <a:gd name="connsiteX4700" fmla="*/ 1574303 w 2240198"/>
                <a:gd name="connsiteY4700" fmla="*/ 1691334 h 1729012"/>
                <a:gd name="connsiteX4701" fmla="*/ 1573689 w 2240198"/>
                <a:gd name="connsiteY4701" fmla="*/ 1692729 h 1729012"/>
                <a:gd name="connsiteX4702" fmla="*/ 1571218 w 2240198"/>
                <a:gd name="connsiteY4702" fmla="*/ 1694612 h 1729012"/>
                <a:gd name="connsiteX4703" fmla="*/ 1567745 w 2240198"/>
                <a:gd name="connsiteY4703" fmla="*/ 1696262 h 1729012"/>
                <a:gd name="connsiteX4704" fmla="*/ 1560835 w 2240198"/>
                <a:gd name="connsiteY4704" fmla="*/ 1699236 h 1729012"/>
                <a:gd name="connsiteX4705" fmla="*/ 1552828 w 2240198"/>
                <a:gd name="connsiteY4705" fmla="*/ 1702680 h 1729012"/>
                <a:gd name="connsiteX4706" fmla="*/ 1545887 w 2240198"/>
                <a:gd name="connsiteY4706" fmla="*/ 1705661 h 1729012"/>
                <a:gd name="connsiteX4707" fmla="*/ 1540516 w 2240198"/>
                <a:gd name="connsiteY4707" fmla="*/ 1707967 h 1729012"/>
                <a:gd name="connsiteX4708" fmla="*/ 1529485 w 2240198"/>
                <a:gd name="connsiteY4708" fmla="*/ 1709990 h 1729012"/>
                <a:gd name="connsiteX4709" fmla="*/ 1520721 w 2240198"/>
                <a:gd name="connsiteY4709" fmla="*/ 1711596 h 1729012"/>
                <a:gd name="connsiteX4710" fmla="*/ 1514397 w 2240198"/>
                <a:gd name="connsiteY4710" fmla="*/ 1712755 h 1729012"/>
                <a:gd name="connsiteX4711" fmla="*/ 1508573 w 2240198"/>
                <a:gd name="connsiteY4711" fmla="*/ 1715977 h 1729012"/>
                <a:gd name="connsiteX4712" fmla="*/ 1502142 w 2240198"/>
                <a:gd name="connsiteY4712" fmla="*/ 1719530 h 1729012"/>
                <a:gd name="connsiteX4713" fmla="*/ 1496735 w 2240198"/>
                <a:gd name="connsiteY4713" fmla="*/ 1722515 h 1729012"/>
                <a:gd name="connsiteX4714" fmla="*/ 1490672 w 2240198"/>
                <a:gd name="connsiteY4714" fmla="*/ 1725859 h 1729012"/>
                <a:gd name="connsiteX4715" fmla="*/ 1484947 w 2240198"/>
                <a:gd name="connsiteY4715" fmla="*/ 1729012 h 1729012"/>
                <a:gd name="connsiteX4716" fmla="*/ 1478584 w 2240198"/>
                <a:gd name="connsiteY4716" fmla="*/ 1729002 h 1729012"/>
                <a:gd name="connsiteX4717" fmla="*/ 1474116 w 2240198"/>
                <a:gd name="connsiteY4717" fmla="*/ 1726638 h 1729012"/>
                <a:gd name="connsiteX4718" fmla="*/ 1469964 w 2240198"/>
                <a:gd name="connsiteY4718" fmla="*/ 1724210 h 1729012"/>
                <a:gd name="connsiteX4719" fmla="*/ 1467125 w 2240198"/>
                <a:gd name="connsiteY4719" fmla="*/ 1719862 h 1729012"/>
                <a:gd name="connsiteX4720" fmla="*/ 1466930 w 2240198"/>
                <a:gd name="connsiteY4720" fmla="*/ 1714805 h 1729012"/>
                <a:gd name="connsiteX4721" fmla="*/ 1467947 w 2240198"/>
                <a:gd name="connsiteY4721" fmla="*/ 1711488 h 1729012"/>
                <a:gd name="connsiteX4722" fmla="*/ 1468869 w 2240198"/>
                <a:gd name="connsiteY4722" fmla="*/ 1709974 h 1729012"/>
                <a:gd name="connsiteX4723" fmla="*/ 1470630 w 2240198"/>
                <a:gd name="connsiteY4723" fmla="*/ 1709014 h 1729012"/>
                <a:gd name="connsiteX4724" fmla="*/ 1474077 w 2240198"/>
                <a:gd name="connsiteY4724" fmla="*/ 1707380 h 1729012"/>
                <a:gd name="connsiteX4725" fmla="*/ 1477210 w 2240198"/>
                <a:gd name="connsiteY4725" fmla="*/ 1704072 h 1729012"/>
                <a:gd name="connsiteX4726" fmla="*/ 1479723 w 2240198"/>
                <a:gd name="connsiteY4726" fmla="*/ 1702095 h 1729012"/>
                <a:gd name="connsiteX4727" fmla="*/ 1482254 w 2240198"/>
                <a:gd name="connsiteY4727" fmla="*/ 1700056 h 1729012"/>
                <a:gd name="connsiteX4728" fmla="*/ 1483698 w 2240198"/>
                <a:gd name="connsiteY4728" fmla="*/ 1696538 h 1729012"/>
                <a:gd name="connsiteX4729" fmla="*/ 1485501 w 2240198"/>
                <a:gd name="connsiteY4729" fmla="*/ 1688009 h 1729012"/>
                <a:gd name="connsiteX4730" fmla="*/ 1485730 w 2240198"/>
                <a:gd name="connsiteY4730" fmla="*/ 1686309 h 1729012"/>
                <a:gd name="connsiteX4731" fmla="*/ 1488352 w 2240198"/>
                <a:gd name="connsiteY4731" fmla="*/ 1680444 h 1729012"/>
                <a:gd name="connsiteX4732" fmla="*/ 1491253 w 2240198"/>
                <a:gd name="connsiteY4732" fmla="*/ 1673941 h 1729012"/>
                <a:gd name="connsiteX4733" fmla="*/ 1492585 w 2240198"/>
                <a:gd name="connsiteY4733" fmla="*/ 1670950 h 1729012"/>
                <a:gd name="connsiteX4734" fmla="*/ 1491096 w 2240198"/>
                <a:gd name="connsiteY4734" fmla="*/ 1663175 h 1729012"/>
                <a:gd name="connsiteX4735" fmla="*/ 1489976 w 2240198"/>
                <a:gd name="connsiteY4735" fmla="*/ 1657187 h 1729012"/>
                <a:gd name="connsiteX4736" fmla="*/ 1488949 w 2240198"/>
                <a:gd name="connsiteY4736" fmla="*/ 1651692 h 1729012"/>
                <a:gd name="connsiteX4737" fmla="*/ 1487794 w 2240198"/>
                <a:gd name="connsiteY4737" fmla="*/ 1645490 h 1729012"/>
                <a:gd name="connsiteX4738" fmla="*/ 1486743 w 2240198"/>
                <a:gd name="connsiteY4738" fmla="*/ 1639833 h 1729012"/>
                <a:gd name="connsiteX4739" fmla="*/ 1485751 w 2240198"/>
                <a:gd name="connsiteY4739" fmla="*/ 1634493 h 1729012"/>
                <a:gd name="connsiteX4740" fmla="*/ 1484757 w 2240198"/>
                <a:gd name="connsiteY4740" fmla="*/ 1629125 h 1729012"/>
                <a:gd name="connsiteX4741" fmla="*/ 1483781 w 2240198"/>
                <a:gd name="connsiteY4741" fmla="*/ 1623852 h 1729012"/>
                <a:gd name="connsiteX4742" fmla="*/ 1483016 w 2240198"/>
                <a:gd name="connsiteY4742" fmla="*/ 1620066 h 1729012"/>
                <a:gd name="connsiteX4743" fmla="*/ 1482107 w 2240198"/>
                <a:gd name="connsiteY4743" fmla="*/ 1615572 h 1729012"/>
                <a:gd name="connsiteX4744" fmla="*/ 1476800 w 2240198"/>
                <a:gd name="connsiteY4744" fmla="*/ 1612414 h 1729012"/>
                <a:gd name="connsiteX4745" fmla="*/ 1472769 w 2240198"/>
                <a:gd name="connsiteY4745" fmla="*/ 1610200 h 1729012"/>
                <a:gd name="connsiteX4746" fmla="*/ 1466178 w 2240198"/>
                <a:gd name="connsiteY4746" fmla="*/ 1606581 h 1729012"/>
                <a:gd name="connsiteX4747" fmla="*/ 1460649 w 2240198"/>
                <a:gd name="connsiteY4747" fmla="*/ 1603543 h 1729012"/>
                <a:gd name="connsiteX4748" fmla="*/ 1455697 w 2240198"/>
                <a:gd name="connsiteY4748" fmla="*/ 1600760 h 1729012"/>
                <a:gd name="connsiteX4749" fmla="*/ 1458820 w 2240198"/>
                <a:gd name="connsiteY4749" fmla="*/ 1595143 h 1729012"/>
                <a:gd name="connsiteX4750" fmla="*/ 1458550 w 2240198"/>
                <a:gd name="connsiteY4750" fmla="*/ 1594223 h 1729012"/>
                <a:gd name="connsiteX4751" fmla="*/ 1457418 w 2240198"/>
                <a:gd name="connsiteY4751" fmla="*/ 1593115 h 1729012"/>
                <a:gd name="connsiteX4752" fmla="*/ 1455105 w 2240198"/>
                <a:gd name="connsiteY4752" fmla="*/ 1591273 h 1729012"/>
                <a:gd name="connsiteX4753" fmla="*/ 1453753 w 2240198"/>
                <a:gd name="connsiteY4753" fmla="*/ 1591085 h 1729012"/>
                <a:gd name="connsiteX4754" fmla="*/ 1451372 w 2240198"/>
                <a:gd name="connsiteY4754" fmla="*/ 1591518 h 1729012"/>
                <a:gd name="connsiteX4755" fmla="*/ 1447572 w 2240198"/>
                <a:gd name="connsiteY4755" fmla="*/ 1592665 h 1729012"/>
                <a:gd name="connsiteX4756" fmla="*/ 1445931 w 2240198"/>
                <a:gd name="connsiteY4756" fmla="*/ 1592285 h 1729012"/>
                <a:gd name="connsiteX4757" fmla="*/ 1444627 w 2240198"/>
                <a:gd name="connsiteY4757" fmla="*/ 1590315 h 1729012"/>
                <a:gd name="connsiteX4758" fmla="*/ 1443126 w 2240198"/>
                <a:gd name="connsiteY4758" fmla="*/ 1587794 h 1729012"/>
                <a:gd name="connsiteX4759" fmla="*/ 1442636 w 2240198"/>
                <a:gd name="connsiteY4759" fmla="*/ 1585821 h 1729012"/>
                <a:gd name="connsiteX4760" fmla="*/ 1442447 w 2240198"/>
                <a:gd name="connsiteY4760" fmla="*/ 1583210 h 1729012"/>
                <a:gd name="connsiteX4761" fmla="*/ 1441552 w 2240198"/>
                <a:gd name="connsiteY4761" fmla="*/ 1580857 h 1729012"/>
                <a:gd name="connsiteX4762" fmla="*/ 1442118 w 2240198"/>
                <a:gd name="connsiteY4762" fmla="*/ 1579622 h 1729012"/>
                <a:gd name="connsiteX4763" fmla="*/ 1442245 w 2240198"/>
                <a:gd name="connsiteY4763" fmla="*/ 1579007 h 1729012"/>
                <a:gd name="connsiteX4764" fmla="*/ 1442193 w 2240198"/>
                <a:gd name="connsiteY4764" fmla="*/ 1578232 h 1729012"/>
                <a:gd name="connsiteX4765" fmla="*/ 1441578 w 2240198"/>
                <a:gd name="connsiteY4765" fmla="*/ 1577738 h 1729012"/>
                <a:gd name="connsiteX4766" fmla="*/ 1440495 w 2240198"/>
                <a:gd name="connsiteY4766" fmla="*/ 1577522 h 1729012"/>
                <a:gd name="connsiteX4767" fmla="*/ 1436830 w 2240198"/>
                <a:gd name="connsiteY4767" fmla="*/ 1578511 h 1729012"/>
                <a:gd name="connsiteX4768" fmla="*/ 1435182 w 2240198"/>
                <a:gd name="connsiteY4768" fmla="*/ 1578603 h 1729012"/>
                <a:gd name="connsiteX4769" fmla="*/ 1434199 w 2240198"/>
                <a:gd name="connsiteY4769" fmla="*/ 1579159 h 1729012"/>
                <a:gd name="connsiteX4770" fmla="*/ 1432650 w 2240198"/>
                <a:gd name="connsiteY4770" fmla="*/ 1580314 h 1729012"/>
                <a:gd name="connsiteX4771" fmla="*/ 1431124 w 2240198"/>
                <a:gd name="connsiteY4771" fmla="*/ 1580457 h 1729012"/>
                <a:gd name="connsiteX4772" fmla="*/ 1428486 w 2240198"/>
                <a:gd name="connsiteY4772" fmla="*/ 1577722 h 1729012"/>
                <a:gd name="connsiteX4773" fmla="*/ 1425606 w 2240198"/>
                <a:gd name="connsiteY4773" fmla="*/ 1574726 h 1729012"/>
                <a:gd name="connsiteX4774" fmla="*/ 1424397 w 2240198"/>
                <a:gd name="connsiteY4774" fmla="*/ 1570593 h 1729012"/>
                <a:gd name="connsiteX4775" fmla="*/ 1423156 w 2240198"/>
                <a:gd name="connsiteY4775" fmla="*/ 1566343 h 1729012"/>
                <a:gd name="connsiteX4776" fmla="*/ 1418235 w 2240198"/>
                <a:gd name="connsiteY4776" fmla="*/ 1563784 h 1729012"/>
                <a:gd name="connsiteX4777" fmla="*/ 1413315 w 2240198"/>
                <a:gd name="connsiteY4777" fmla="*/ 1561221 h 1729012"/>
                <a:gd name="connsiteX4778" fmla="*/ 1408393 w 2240198"/>
                <a:gd name="connsiteY4778" fmla="*/ 1558659 h 1729012"/>
                <a:gd name="connsiteX4779" fmla="*/ 1403473 w 2240198"/>
                <a:gd name="connsiteY4779" fmla="*/ 1556092 h 1729012"/>
                <a:gd name="connsiteX4780" fmla="*/ 1398551 w 2240198"/>
                <a:gd name="connsiteY4780" fmla="*/ 1553524 h 1729012"/>
                <a:gd name="connsiteX4781" fmla="*/ 1393632 w 2240198"/>
                <a:gd name="connsiteY4781" fmla="*/ 1550953 h 1729012"/>
                <a:gd name="connsiteX4782" fmla="*/ 1388710 w 2240198"/>
                <a:gd name="connsiteY4782" fmla="*/ 1548380 h 1729012"/>
                <a:gd name="connsiteX4783" fmla="*/ 1383788 w 2240198"/>
                <a:gd name="connsiteY4783" fmla="*/ 1545805 h 1729012"/>
                <a:gd name="connsiteX4784" fmla="*/ 1382090 w 2240198"/>
                <a:gd name="connsiteY4784" fmla="*/ 1544951 h 1729012"/>
                <a:gd name="connsiteX4785" fmla="*/ 1377611 w 2240198"/>
                <a:gd name="connsiteY4785" fmla="*/ 1542702 h 1729012"/>
                <a:gd name="connsiteX4786" fmla="*/ 1371281 w 2240198"/>
                <a:gd name="connsiteY4786" fmla="*/ 1539517 h 1729012"/>
                <a:gd name="connsiteX4787" fmla="*/ 1364025 w 2240198"/>
                <a:gd name="connsiteY4787" fmla="*/ 1535861 h 1729012"/>
                <a:gd name="connsiteX4788" fmla="*/ 1356767 w 2240198"/>
                <a:gd name="connsiteY4788" fmla="*/ 1532199 h 1729012"/>
                <a:gd name="connsiteX4789" fmla="*/ 1350436 w 2240198"/>
                <a:gd name="connsiteY4789" fmla="*/ 1529002 h 1729012"/>
                <a:gd name="connsiteX4790" fmla="*/ 1345958 w 2240198"/>
                <a:gd name="connsiteY4790" fmla="*/ 1526741 h 1729012"/>
                <a:gd name="connsiteX4791" fmla="*/ 1344261 w 2240198"/>
                <a:gd name="connsiteY4791" fmla="*/ 1525882 h 1729012"/>
                <a:gd name="connsiteX4792" fmla="*/ 1339869 w 2240198"/>
                <a:gd name="connsiteY4792" fmla="*/ 1523661 h 1729012"/>
                <a:gd name="connsiteX4793" fmla="*/ 1334353 w 2240198"/>
                <a:gd name="connsiteY4793" fmla="*/ 1521139 h 1729012"/>
                <a:gd name="connsiteX4794" fmla="*/ 1328430 w 2240198"/>
                <a:gd name="connsiteY4794" fmla="*/ 1522408 h 1729012"/>
                <a:gd name="connsiteX4795" fmla="*/ 1321154 w 2240198"/>
                <a:gd name="connsiteY4795" fmla="*/ 1525920 h 1729012"/>
                <a:gd name="connsiteX4796" fmla="*/ 1316999 w 2240198"/>
                <a:gd name="connsiteY4796" fmla="*/ 1527926 h 1729012"/>
                <a:gd name="connsiteX4797" fmla="*/ 1313879 w 2240198"/>
                <a:gd name="connsiteY4797" fmla="*/ 1529428 h 1729012"/>
                <a:gd name="connsiteX4798" fmla="*/ 1311658 w 2240198"/>
                <a:gd name="connsiteY4798" fmla="*/ 1530317 h 1729012"/>
                <a:gd name="connsiteX4799" fmla="*/ 1307033 w 2240198"/>
                <a:gd name="connsiteY4799" fmla="*/ 1531084 h 1729012"/>
                <a:gd name="connsiteX4800" fmla="*/ 1304626 w 2240198"/>
                <a:gd name="connsiteY4800" fmla="*/ 1530966 h 1729012"/>
                <a:gd name="connsiteX4801" fmla="*/ 1298925 w 2240198"/>
                <a:gd name="connsiteY4801" fmla="*/ 1530467 h 1729012"/>
                <a:gd name="connsiteX4802" fmla="*/ 1295740 w 2240198"/>
                <a:gd name="connsiteY4802" fmla="*/ 1531109 h 1729012"/>
                <a:gd name="connsiteX4803" fmla="*/ 1293391 w 2240198"/>
                <a:gd name="connsiteY4803" fmla="*/ 1530467 h 1729012"/>
                <a:gd name="connsiteX4804" fmla="*/ 1292217 w 2240198"/>
                <a:gd name="connsiteY4804" fmla="*/ 1528432 h 1729012"/>
                <a:gd name="connsiteX4805" fmla="*/ 1290902 w 2240198"/>
                <a:gd name="connsiteY4805" fmla="*/ 1527138 h 1729012"/>
                <a:gd name="connsiteX4806" fmla="*/ 1285113 w 2240198"/>
                <a:gd name="connsiteY4806" fmla="*/ 1527752 h 1729012"/>
                <a:gd name="connsiteX4807" fmla="*/ 1277836 w 2240198"/>
                <a:gd name="connsiteY4807" fmla="*/ 1527317 h 1729012"/>
                <a:gd name="connsiteX4808" fmla="*/ 1274355 w 2240198"/>
                <a:gd name="connsiteY4808" fmla="*/ 1527577 h 1729012"/>
                <a:gd name="connsiteX4809" fmla="*/ 1273013 w 2240198"/>
                <a:gd name="connsiteY4809" fmla="*/ 1526719 h 1729012"/>
                <a:gd name="connsiteX4810" fmla="*/ 1271921 w 2240198"/>
                <a:gd name="connsiteY4810" fmla="*/ 1524467 h 1729012"/>
                <a:gd name="connsiteX4811" fmla="*/ 1270002 w 2240198"/>
                <a:gd name="connsiteY4811" fmla="*/ 1524188 h 1729012"/>
                <a:gd name="connsiteX4812" fmla="*/ 1266771 w 2240198"/>
                <a:gd name="connsiteY4812" fmla="*/ 1524688 h 1729012"/>
                <a:gd name="connsiteX4813" fmla="*/ 1262278 w 2240198"/>
                <a:gd name="connsiteY4813" fmla="*/ 1527577 h 1729012"/>
                <a:gd name="connsiteX4814" fmla="*/ 1258055 w 2240198"/>
                <a:gd name="connsiteY4814" fmla="*/ 1529068 h 1729012"/>
                <a:gd name="connsiteX4815" fmla="*/ 1254731 w 2240198"/>
                <a:gd name="connsiteY4815" fmla="*/ 1529076 h 1729012"/>
                <a:gd name="connsiteX4816" fmla="*/ 1251460 w 2240198"/>
                <a:gd name="connsiteY4816" fmla="*/ 1527577 h 1729012"/>
                <a:gd name="connsiteX4817" fmla="*/ 1246107 w 2240198"/>
                <a:gd name="connsiteY4817" fmla="*/ 1524563 h 1729012"/>
                <a:gd name="connsiteX4818" fmla="*/ 1242385 w 2240198"/>
                <a:gd name="connsiteY4818" fmla="*/ 1521179 h 1729012"/>
                <a:gd name="connsiteX4819" fmla="*/ 1238160 w 2240198"/>
                <a:gd name="connsiteY4819" fmla="*/ 1519994 h 1729012"/>
                <a:gd name="connsiteX4820" fmla="*/ 1234943 w 2240198"/>
                <a:gd name="connsiteY4820" fmla="*/ 1520301 h 1729012"/>
                <a:gd name="connsiteX4821" fmla="*/ 1233681 w 2240198"/>
                <a:gd name="connsiteY4821" fmla="*/ 1521998 h 1729012"/>
                <a:gd name="connsiteX4822" fmla="*/ 1232004 w 2240198"/>
                <a:gd name="connsiteY4822" fmla="*/ 1521998 h 1729012"/>
                <a:gd name="connsiteX4823" fmla="*/ 1230830 w 2240198"/>
                <a:gd name="connsiteY4823" fmla="*/ 1519100 h 1729012"/>
                <a:gd name="connsiteX4824" fmla="*/ 1229824 w 2240198"/>
                <a:gd name="connsiteY4824" fmla="*/ 1516843 h 1729012"/>
                <a:gd name="connsiteX4825" fmla="*/ 1227727 w 2240198"/>
                <a:gd name="connsiteY4825" fmla="*/ 1515876 h 1729012"/>
                <a:gd name="connsiteX4826" fmla="*/ 1223939 w 2240198"/>
                <a:gd name="connsiteY4826" fmla="*/ 1513704 h 1729012"/>
                <a:gd name="connsiteX4827" fmla="*/ 1221300 w 2240198"/>
                <a:gd name="connsiteY4827" fmla="*/ 1512534 h 1729012"/>
                <a:gd name="connsiteX4828" fmla="*/ 1217256 w 2240198"/>
                <a:gd name="connsiteY4828" fmla="*/ 1511100 h 1729012"/>
                <a:gd name="connsiteX4829" fmla="*/ 1215849 w 2240198"/>
                <a:gd name="connsiteY4829" fmla="*/ 1510837 h 1729012"/>
                <a:gd name="connsiteX4830" fmla="*/ 1213224 w 2240198"/>
                <a:gd name="connsiteY4830" fmla="*/ 1510659 h 1729012"/>
                <a:gd name="connsiteX4831" fmla="*/ 1210620 w 2240198"/>
                <a:gd name="connsiteY4831" fmla="*/ 1510545 h 1729012"/>
                <a:gd name="connsiteX4832" fmla="*/ 1207578 w 2240198"/>
                <a:gd name="connsiteY4832" fmla="*/ 1510945 h 1729012"/>
                <a:gd name="connsiteX4833" fmla="*/ 1205404 w 2240198"/>
                <a:gd name="connsiteY4833" fmla="*/ 1512745 h 1729012"/>
                <a:gd name="connsiteX4834" fmla="*/ 1202853 w 2240198"/>
                <a:gd name="connsiteY4834" fmla="*/ 1513539 h 1729012"/>
                <a:gd name="connsiteX4835" fmla="*/ 1199215 w 2240198"/>
                <a:gd name="connsiteY4835" fmla="*/ 1513912 h 1729012"/>
                <a:gd name="connsiteX4836" fmla="*/ 1196784 w 2240198"/>
                <a:gd name="connsiteY4836" fmla="*/ 1513148 h 1729012"/>
                <a:gd name="connsiteX4837" fmla="*/ 1195567 w 2240198"/>
                <a:gd name="connsiteY4837" fmla="*/ 1511248 h 1729012"/>
                <a:gd name="connsiteX4838" fmla="*/ 1190405 w 2240198"/>
                <a:gd name="connsiteY4838" fmla="*/ 1509561 h 1729012"/>
                <a:gd name="connsiteX4839" fmla="*/ 1181303 w 2240198"/>
                <a:gd name="connsiteY4839" fmla="*/ 1508092 h 1729012"/>
                <a:gd name="connsiteX4840" fmla="*/ 1176060 w 2240198"/>
                <a:gd name="connsiteY4840" fmla="*/ 1506835 h 1729012"/>
                <a:gd name="connsiteX4841" fmla="*/ 1174679 w 2240198"/>
                <a:gd name="connsiteY4841" fmla="*/ 1505797 h 1729012"/>
                <a:gd name="connsiteX4842" fmla="*/ 1173926 w 2240198"/>
                <a:gd name="connsiteY4842" fmla="*/ 1504685 h 1729012"/>
                <a:gd name="connsiteX4843" fmla="*/ 1173736 w 2240198"/>
                <a:gd name="connsiteY4843" fmla="*/ 1502905 h 1729012"/>
                <a:gd name="connsiteX4844" fmla="*/ 1173730 w 2240198"/>
                <a:gd name="connsiteY4844" fmla="*/ 1502892 h 1729012"/>
                <a:gd name="connsiteX4845" fmla="*/ 1171430 w 2240198"/>
                <a:gd name="connsiteY4845" fmla="*/ 1498330 h 1729012"/>
                <a:gd name="connsiteX4846" fmla="*/ 1170440 w 2240198"/>
                <a:gd name="connsiteY4846" fmla="*/ 1494523 h 1729012"/>
                <a:gd name="connsiteX4847" fmla="*/ 1169987 w 2240198"/>
                <a:gd name="connsiteY4847" fmla="*/ 1489952 h 1729012"/>
                <a:gd name="connsiteX4848" fmla="*/ 1170140 w 2240198"/>
                <a:gd name="connsiteY4848" fmla="*/ 1488443 h 1729012"/>
                <a:gd name="connsiteX4849" fmla="*/ 1169622 w 2240198"/>
                <a:gd name="connsiteY4849" fmla="*/ 1487968 h 1729012"/>
                <a:gd name="connsiteX4850" fmla="*/ 1167986 w 2240198"/>
                <a:gd name="connsiteY4850" fmla="*/ 1486971 h 1729012"/>
                <a:gd name="connsiteX4851" fmla="*/ 1162510 w 2240198"/>
                <a:gd name="connsiteY4851" fmla="*/ 1486304 h 1729012"/>
                <a:gd name="connsiteX4852" fmla="*/ 1162434 w 2240198"/>
                <a:gd name="connsiteY4852" fmla="*/ 1491773 h 1729012"/>
                <a:gd name="connsiteX4853" fmla="*/ 1162338 w 2240198"/>
                <a:gd name="connsiteY4853" fmla="*/ 1498696 h 1729012"/>
                <a:gd name="connsiteX4854" fmla="*/ 1156358 w 2240198"/>
                <a:gd name="connsiteY4854" fmla="*/ 1498650 h 1729012"/>
                <a:gd name="connsiteX4855" fmla="*/ 1145546 w 2240198"/>
                <a:gd name="connsiteY4855" fmla="*/ 1498650 h 1729012"/>
                <a:gd name="connsiteX4856" fmla="*/ 1134734 w 2240198"/>
                <a:gd name="connsiteY4856" fmla="*/ 1498650 h 1729012"/>
                <a:gd name="connsiteX4857" fmla="*/ 1123924 w 2240198"/>
                <a:gd name="connsiteY4857" fmla="*/ 1498650 h 1729012"/>
                <a:gd name="connsiteX4858" fmla="*/ 1113111 w 2240198"/>
                <a:gd name="connsiteY4858" fmla="*/ 1498650 h 1729012"/>
                <a:gd name="connsiteX4859" fmla="*/ 1102300 w 2240198"/>
                <a:gd name="connsiteY4859" fmla="*/ 1498650 h 1729012"/>
                <a:gd name="connsiteX4860" fmla="*/ 1091489 w 2240198"/>
                <a:gd name="connsiteY4860" fmla="*/ 1498650 h 1729012"/>
                <a:gd name="connsiteX4861" fmla="*/ 1080677 w 2240198"/>
                <a:gd name="connsiteY4861" fmla="*/ 1498650 h 1729012"/>
                <a:gd name="connsiteX4862" fmla="*/ 1069866 w 2240198"/>
                <a:gd name="connsiteY4862" fmla="*/ 1498650 h 1729012"/>
                <a:gd name="connsiteX4863" fmla="*/ 1059054 w 2240198"/>
                <a:gd name="connsiteY4863" fmla="*/ 1498651 h 1729012"/>
                <a:gd name="connsiteX4864" fmla="*/ 1048243 w 2240198"/>
                <a:gd name="connsiteY4864" fmla="*/ 1498651 h 1729012"/>
                <a:gd name="connsiteX4865" fmla="*/ 1037431 w 2240198"/>
                <a:gd name="connsiteY4865" fmla="*/ 1498651 h 1729012"/>
                <a:gd name="connsiteX4866" fmla="*/ 1026619 w 2240198"/>
                <a:gd name="connsiteY4866" fmla="*/ 1498651 h 1729012"/>
                <a:gd name="connsiteX4867" fmla="*/ 1015808 w 2240198"/>
                <a:gd name="connsiteY4867" fmla="*/ 1498651 h 1729012"/>
                <a:gd name="connsiteX4868" fmla="*/ 1004996 w 2240198"/>
                <a:gd name="connsiteY4868" fmla="*/ 1498651 h 1729012"/>
                <a:gd name="connsiteX4869" fmla="*/ 994184 w 2240198"/>
                <a:gd name="connsiteY4869" fmla="*/ 1498651 h 1729012"/>
                <a:gd name="connsiteX4870" fmla="*/ 983374 w 2240198"/>
                <a:gd name="connsiteY4870" fmla="*/ 1498651 h 1729012"/>
                <a:gd name="connsiteX4871" fmla="*/ 972562 w 2240198"/>
                <a:gd name="connsiteY4871" fmla="*/ 1498651 h 1729012"/>
                <a:gd name="connsiteX4872" fmla="*/ 961751 w 2240198"/>
                <a:gd name="connsiteY4872" fmla="*/ 1498651 h 1729012"/>
                <a:gd name="connsiteX4873" fmla="*/ 950939 w 2240198"/>
                <a:gd name="connsiteY4873" fmla="*/ 1498651 h 1729012"/>
                <a:gd name="connsiteX4874" fmla="*/ 940127 w 2240198"/>
                <a:gd name="connsiteY4874" fmla="*/ 1498651 h 1729012"/>
                <a:gd name="connsiteX4875" fmla="*/ 929316 w 2240198"/>
                <a:gd name="connsiteY4875" fmla="*/ 1498651 h 1729012"/>
                <a:gd name="connsiteX4876" fmla="*/ 918504 w 2240198"/>
                <a:gd name="connsiteY4876" fmla="*/ 1498651 h 1729012"/>
                <a:gd name="connsiteX4877" fmla="*/ 907693 w 2240198"/>
                <a:gd name="connsiteY4877" fmla="*/ 1498651 h 1729012"/>
                <a:gd name="connsiteX4878" fmla="*/ 896881 w 2240198"/>
                <a:gd name="connsiteY4878" fmla="*/ 1498651 h 1729012"/>
                <a:gd name="connsiteX4879" fmla="*/ 886069 w 2240198"/>
                <a:gd name="connsiteY4879" fmla="*/ 1498651 h 1729012"/>
                <a:gd name="connsiteX4880" fmla="*/ 875259 w 2240198"/>
                <a:gd name="connsiteY4880" fmla="*/ 1498651 h 1729012"/>
                <a:gd name="connsiteX4881" fmla="*/ 864447 w 2240198"/>
                <a:gd name="connsiteY4881" fmla="*/ 1498651 h 1729012"/>
                <a:gd name="connsiteX4882" fmla="*/ 853636 w 2240198"/>
                <a:gd name="connsiteY4882" fmla="*/ 1498651 h 1729012"/>
                <a:gd name="connsiteX4883" fmla="*/ 842824 w 2240198"/>
                <a:gd name="connsiteY4883" fmla="*/ 1498651 h 1729012"/>
                <a:gd name="connsiteX4884" fmla="*/ 832012 w 2240198"/>
                <a:gd name="connsiteY4884" fmla="*/ 1498651 h 1729012"/>
                <a:gd name="connsiteX4885" fmla="*/ 821201 w 2240198"/>
                <a:gd name="connsiteY4885" fmla="*/ 1498651 h 1729012"/>
                <a:gd name="connsiteX4886" fmla="*/ 810389 w 2240198"/>
                <a:gd name="connsiteY4886" fmla="*/ 1498651 h 1729012"/>
                <a:gd name="connsiteX4887" fmla="*/ 799577 w 2240198"/>
                <a:gd name="connsiteY4887" fmla="*/ 1498653 h 1729012"/>
                <a:gd name="connsiteX4888" fmla="*/ 788766 w 2240198"/>
                <a:gd name="connsiteY4888" fmla="*/ 1498653 h 1729012"/>
                <a:gd name="connsiteX4889" fmla="*/ 777954 w 2240198"/>
                <a:gd name="connsiteY4889" fmla="*/ 1498653 h 1729012"/>
                <a:gd name="connsiteX4890" fmla="*/ 767144 w 2240198"/>
                <a:gd name="connsiteY4890" fmla="*/ 1498653 h 1729012"/>
                <a:gd name="connsiteX4891" fmla="*/ 756332 w 2240198"/>
                <a:gd name="connsiteY4891" fmla="*/ 1498653 h 1729012"/>
                <a:gd name="connsiteX4892" fmla="*/ 745521 w 2240198"/>
                <a:gd name="connsiteY4892" fmla="*/ 1498653 h 1729012"/>
                <a:gd name="connsiteX4893" fmla="*/ 734709 w 2240198"/>
                <a:gd name="connsiteY4893" fmla="*/ 1498653 h 1729012"/>
                <a:gd name="connsiteX4894" fmla="*/ 723897 w 2240198"/>
                <a:gd name="connsiteY4894" fmla="*/ 1498653 h 1729012"/>
                <a:gd name="connsiteX4895" fmla="*/ 713086 w 2240198"/>
                <a:gd name="connsiteY4895" fmla="*/ 1498653 h 1729012"/>
                <a:gd name="connsiteX4896" fmla="*/ 702274 w 2240198"/>
                <a:gd name="connsiteY4896" fmla="*/ 1498653 h 1729012"/>
                <a:gd name="connsiteX4897" fmla="*/ 691462 w 2240198"/>
                <a:gd name="connsiteY4897" fmla="*/ 1498653 h 1729012"/>
                <a:gd name="connsiteX4898" fmla="*/ 680651 w 2240198"/>
                <a:gd name="connsiteY4898" fmla="*/ 1498653 h 1729012"/>
                <a:gd name="connsiteX4899" fmla="*/ 669841 w 2240198"/>
                <a:gd name="connsiteY4899" fmla="*/ 1498653 h 1729012"/>
                <a:gd name="connsiteX4900" fmla="*/ 659028 w 2240198"/>
                <a:gd name="connsiteY4900" fmla="*/ 1498653 h 1729012"/>
                <a:gd name="connsiteX4901" fmla="*/ 648217 w 2240198"/>
                <a:gd name="connsiteY4901" fmla="*/ 1498653 h 1729012"/>
                <a:gd name="connsiteX4902" fmla="*/ 637406 w 2240198"/>
                <a:gd name="connsiteY4902" fmla="*/ 1498653 h 1729012"/>
                <a:gd name="connsiteX4903" fmla="*/ 626594 w 2240198"/>
                <a:gd name="connsiteY4903" fmla="*/ 1498653 h 1729012"/>
                <a:gd name="connsiteX4904" fmla="*/ 615782 w 2240198"/>
                <a:gd name="connsiteY4904" fmla="*/ 1498653 h 1729012"/>
                <a:gd name="connsiteX4905" fmla="*/ 604971 w 2240198"/>
                <a:gd name="connsiteY4905" fmla="*/ 1498653 h 1729012"/>
                <a:gd name="connsiteX4906" fmla="*/ 594160 w 2240198"/>
                <a:gd name="connsiteY4906" fmla="*/ 1498653 h 1729012"/>
                <a:gd name="connsiteX4907" fmla="*/ 583347 w 2240198"/>
                <a:gd name="connsiteY4907" fmla="*/ 1498653 h 1729012"/>
                <a:gd name="connsiteX4908" fmla="*/ 572536 w 2240198"/>
                <a:gd name="connsiteY4908" fmla="*/ 1498653 h 1729012"/>
                <a:gd name="connsiteX4909" fmla="*/ 561725 w 2240198"/>
                <a:gd name="connsiteY4909" fmla="*/ 1498653 h 1729012"/>
                <a:gd name="connsiteX4910" fmla="*/ 550912 w 2240198"/>
                <a:gd name="connsiteY4910" fmla="*/ 1498653 h 1729012"/>
                <a:gd name="connsiteX4911" fmla="*/ 540102 w 2240198"/>
                <a:gd name="connsiteY4911" fmla="*/ 1498654 h 1729012"/>
                <a:gd name="connsiteX4912" fmla="*/ 529291 w 2240198"/>
                <a:gd name="connsiteY4912" fmla="*/ 1498654 h 1729012"/>
                <a:gd name="connsiteX4913" fmla="*/ 518478 w 2240198"/>
                <a:gd name="connsiteY4913" fmla="*/ 1498654 h 1729012"/>
                <a:gd name="connsiteX4914" fmla="*/ 507667 w 2240198"/>
                <a:gd name="connsiteY4914" fmla="*/ 1498654 h 1729012"/>
                <a:gd name="connsiteX4915" fmla="*/ 496856 w 2240198"/>
                <a:gd name="connsiteY4915" fmla="*/ 1498654 h 1729012"/>
                <a:gd name="connsiteX4916" fmla="*/ 486045 w 2240198"/>
                <a:gd name="connsiteY4916" fmla="*/ 1498654 h 1729012"/>
                <a:gd name="connsiteX4917" fmla="*/ 475232 w 2240198"/>
                <a:gd name="connsiteY4917" fmla="*/ 1498654 h 1729012"/>
                <a:gd name="connsiteX4918" fmla="*/ 464421 w 2240198"/>
                <a:gd name="connsiteY4918" fmla="*/ 1498654 h 1729012"/>
                <a:gd name="connsiteX4919" fmla="*/ 461825 w 2240198"/>
                <a:gd name="connsiteY4919" fmla="*/ 1498654 h 1729012"/>
                <a:gd name="connsiteX4920" fmla="*/ 460863 w 2240198"/>
                <a:gd name="connsiteY4920" fmla="*/ 1497496 h 1729012"/>
                <a:gd name="connsiteX4921" fmla="*/ 458391 w 2240198"/>
                <a:gd name="connsiteY4921" fmla="*/ 1495983 h 1729012"/>
                <a:gd name="connsiteX4922" fmla="*/ 457414 w 2240198"/>
                <a:gd name="connsiteY4922" fmla="*/ 1495984 h 1729012"/>
                <a:gd name="connsiteX4923" fmla="*/ 456411 w 2240198"/>
                <a:gd name="connsiteY4923" fmla="*/ 1496433 h 1729012"/>
                <a:gd name="connsiteX4924" fmla="*/ 455778 w 2240198"/>
                <a:gd name="connsiteY4924" fmla="*/ 1497165 h 1729012"/>
                <a:gd name="connsiteX4925" fmla="*/ 455221 w 2240198"/>
                <a:gd name="connsiteY4925" fmla="*/ 1498654 h 1729012"/>
                <a:gd name="connsiteX4926" fmla="*/ 454864 w 2240198"/>
                <a:gd name="connsiteY4926" fmla="*/ 1499154 h 1729012"/>
                <a:gd name="connsiteX4927" fmla="*/ 454509 w 2240198"/>
                <a:gd name="connsiteY4927" fmla="*/ 1499073 h 1729012"/>
                <a:gd name="connsiteX4928" fmla="*/ 454277 w 2240198"/>
                <a:gd name="connsiteY4928" fmla="*/ 1498654 h 1729012"/>
                <a:gd name="connsiteX4929" fmla="*/ 453486 w 2240198"/>
                <a:gd name="connsiteY4929" fmla="*/ 1496582 h 1729012"/>
                <a:gd name="connsiteX4930" fmla="*/ 453697 w 2240198"/>
                <a:gd name="connsiteY4930" fmla="*/ 1495656 h 1729012"/>
                <a:gd name="connsiteX4931" fmla="*/ 454509 w 2240198"/>
                <a:gd name="connsiteY4931" fmla="*/ 1494550 h 1729012"/>
                <a:gd name="connsiteX4932" fmla="*/ 454452 w 2240198"/>
                <a:gd name="connsiteY4932" fmla="*/ 1494149 h 1729012"/>
                <a:gd name="connsiteX4933" fmla="*/ 452661 w 2240198"/>
                <a:gd name="connsiteY4933" fmla="*/ 1494463 h 1729012"/>
                <a:gd name="connsiteX4934" fmla="*/ 451857 w 2240198"/>
                <a:gd name="connsiteY4934" fmla="*/ 1494186 h 1729012"/>
                <a:gd name="connsiteX4935" fmla="*/ 451490 w 2240198"/>
                <a:gd name="connsiteY4935" fmla="*/ 1493589 h 1729012"/>
                <a:gd name="connsiteX4936" fmla="*/ 451624 w 2240198"/>
                <a:gd name="connsiteY4936" fmla="*/ 1491234 h 1729012"/>
                <a:gd name="connsiteX4937" fmla="*/ 450651 w 2240198"/>
                <a:gd name="connsiteY4937" fmla="*/ 1489889 h 1729012"/>
                <a:gd name="connsiteX4938" fmla="*/ 451805 w 2240198"/>
                <a:gd name="connsiteY4938" fmla="*/ 1489324 h 1729012"/>
                <a:gd name="connsiteX4939" fmla="*/ 454763 w 2240198"/>
                <a:gd name="connsiteY4939" fmla="*/ 1488871 h 1729012"/>
                <a:gd name="connsiteX4940" fmla="*/ 457796 w 2240198"/>
                <a:gd name="connsiteY4940" fmla="*/ 1488814 h 1729012"/>
                <a:gd name="connsiteX4941" fmla="*/ 458675 w 2240198"/>
                <a:gd name="connsiteY4941" fmla="*/ 1487832 h 1729012"/>
                <a:gd name="connsiteX4942" fmla="*/ 459535 w 2240198"/>
                <a:gd name="connsiteY4942" fmla="*/ 1485343 h 1729012"/>
                <a:gd name="connsiteX4943" fmla="*/ 457370 w 2240198"/>
                <a:gd name="connsiteY4943" fmla="*/ 1487630 h 1729012"/>
                <a:gd name="connsiteX4944" fmla="*/ 456075 w 2240198"/>
                <a:gd name="connsiteY4944" fmla="*/ 1487865 h 1729012"/>
                <a:gd name="connsiteX4945" fmla="*/ 452050 w 2240198"/>
                <a:gd name="connsiteY4945" fmla="*/ 1487011 h 1729012"/>
                <a:gd name="connsiteX4946" fmla="*/ 449452 w 2240198"/>
                <a:gd name="connsiteY4946" fmla="*/ 1487149 h 1729012"/>
                <a:gd name="connsiteX4947" fmla="*/ 449102 w 2240198"/>
                <a:gd name="connsiteY4947" fmla="*/ 1486640 h 1729012"/>
                <a:gd name="connsiteX4948" fmla="*/ 449210 w 2240198"/>
                <a:gd name="connsiteY4948" fmla="*/ 1486131 h 1729012"/>
                <a:gd name="connsiteX4949" fmla="*/ 449774 w 2240198"/>
                <a:gd name="connsiteY4949" fmla="*/ 1485621 h 1729012"/>
                <a:gd name="connsiteX4950" fmla="*/ 450188 w 2240198"/>
                <a:gd name="connsiteY4950" fmla="*/ 1483894 h 1729012"/>
                <a:gd name="connsiteX4951" fmla="*/ 450814 w 2240198"/>
                <a:gd name="connsiteY4951" fmla="*/ 1479040 h 1729012"/>
                <a:gd name="connsiteX4952" fmla="*/ 451634 w 2240198"/>
                <a:gd name="connsiteY4952" fmla="*/ 1477267 h 1729012"/>
                <a:gd name="connsiteX4953" fmla="*/ 451915 w 2240198"/>
                <a:gd name="connsiteY4953" fmla="*/ 1476303 h 1729012"/>
                <a:gd name="connsiteX4954" fmla="*/ 451714 w 2240198"/>
                <a:gd name="connsiteY4954" fmla="*/ 1476079 h 1729012"/>
                <a:gd name="connsiteX4955" fmla="*/ 448228 w 2240198"/>
                <a:gd name="connsiteY4955" fmla="*/ 1479461 h 1729012"/>
                <a:gd name="connsiteX4956" fmla="*/ 447932 w 2240198"/>
                <a:gd name="connsiteY4956" fmla="*/ 1480534 h 1729012"/>
                <a:gd name="connsiteX4957" fmla="*/ 448293 w 2240198"/>
                <a:gd name="connsiteY4957" fmla="*/ 1481459 h 1729012"/>
                <a:gd name="connsiteX4958" fmla="*/ 447959 w 2240198"/>
                <a:gd name="connsiteY4958" fmla="*/ 1483362 h 1729012"/>
                <a:gd name="connsiteX4959" fmla="*/ 446352 w 2240198"/>
                <a:gd name="connsiteY4959" fmla="*/ 1483931 h 1729012"/>
                <a:gd name="connsiteX4960" fmla="*/ 445389 w 2240198"/>
                <a:gd name="connsiteY4960" fmla="*/ 1483621 h 1729012"/>
                <a:gd name="connsiteX4961" fmla="*/ 443583 w 2240198"/>
                <a:gd name="connsiteY4961" fmla="*/ 1485228 h 1729012"/>
                <a:gd name="connsiteX4962" fmla="*/ 443015 w 2240198"/>
                <a:gd name="connsiteY4962" fmla="*/ 1485396 h 1729012"/>
                <a:gd name="connsiteX4963" fmla="*/ 434690 w 2240198"/>
                <a:gd name="connsiteY4963" fmla="*/ 1482583 h 1729012"/>
                <a:gd name="connsiteX4964" fmla="*/ 433855 w 2240198"/>
                <a:gd name="connsiteY4964" fmla="*/ 1482192 h 1729012"/>
                <a:gd name="connsiteX4965" fmla="*/ 432422 w 2240198"/>
                <a:gd name="connsiteY4965" fmla="*/ 1480876 h 1729012"/>
                <a:gd name="connsiteX4966" fmla="*/ 430387 w 2240198"/>
                <a:gd name="connsiteY4966" fmla="*/ 1478630 h 1729012"/>
                <a:gd name="connsiteX4967" fmla="*/ 429748 w 2240198"/>
                <a:gd name="connsiteY4967" fmla="*/ 1476691 h 1729012"/>
                <a:gd name="connsiteX4968" fmla="*/ 430503 w 2240198"/>
                <a:gd name="connsiteY4968" fmla="*/ 1475056 h 1729012"/>
                <a:gd name="connsiteX4969" fmla="*/ 431299 w 2240198"/>
                <a:gd name="connsiteY4969" fmla="*/ 1474236 h 1729012"/>
                <a:gd name="connsiteX4970" fmla="*/ 432138 w 2240198"/>
                <a:gd name="connsiteY4970" fmla="*/ 1474236 h 1729012"/>
                <a:gd name="connsiteX4971" fmla="*/ 433071 w 2240198"/>
                <a:gd name="connsiteY4971" fmla="*/ 1474852 h 1729012"/>
                <a:gd name="connsiteX4972" fmla="*/ 434989 w 2240198"/>
                <a:gd name="connsiteY4972" fmla="*/ 1477518 h 1729012"/>
                <a:gd name="connsiteX4973" fmla="*/ 435748 w 2240198"/>
                <a:gd name="connsiteY4973" fmla="*/ 1479168 h 1729012"/>
                <a:gd name="connsiteX4974" fmla="*/ 437729 w 2240198"/>
                <a:gd name="connsiteY4974" fmla="*/ 1478939 h 1729012"/>
                <a:gd name="connsiteX4975" fmla="*/ 440932 w 2240198"/>
                <a:gd name="connsiteY4975" fmla="*/ 1476829 h 1729012"/>
                <a:gd name="connsiteX4976" fmla="*/ 441700 w 2240198"/>
                <a:gd name="connsiteY4976" fmla="*/ 1476048 h 1729012"/>
                <a:gd name="connsiteX4977" fmla="*/ 438508 w 2240198"/>
                <a:gd name="connsiteY4977" fmla="*/ 1476850 h 1729012"/>
                <a:gd name="connsiteX4978" fmla="*/ 437130 w 2240198"/>
                <a:gd name="connsiteY4978" fmla="*/ 1476798 h 1729012"/>
                <a:gd name="connsiteX4979" fmla="*/ 435728 w 2240198"/>
                <a:gd name="connsiteY4979" fmla="*/ 1475920 h 1729012"/>
                <a:gd name="connsiteX4980" fmla="*/ 434297 w 2240198"/>
                <a:gd name="connsiteY4980" fmla="*/ 1474216 h 1729012"/>
                <a:gd name="connsiteX4981" fmla="*/ 433551 w 2240198"/>
                <a:gd name="connsiteY4981" fmla="*/ 1472279 h 1729012"/>
                <a:gd name="connsiteX4982" fmla="*/ 433540 w 2240198"/>
                <a:gd name="connsiteY4982" fmla="*/ 1466140 h 1729012"/>
                <a:gd name="connsiteX4983" fmla="*/ 434029 w 2240198"/>
                <a:gd name="connsiteY4983" fmla="*/ 1464952 h 1729012"/>
                <a:gd name="connsiteX4984" fmla="*/ 435580 w 2240198"/>
                <a:gd name="connsiteY4984" fmla="*/ 1464069 h 1729012"/>
                <a:gd name="connsiteX4985" fmla="*/ 436573 w 2240198"/>
                <a:gd name="connsiteY4985" fmla="*/ 1462603 h 1729012"/>
                <a:gd name="connsiteX4986" fmla="*/ 436496 w 2240198"/>
                <a:gd name="connsiteY4986" fmla="*/ 1461981 h 1729012"/>
                <a:gd name="connsiteX4987" fmla="*/ 435538 w 2240198"/>
                <a:gd name="connsiteY4987" fmla="*/ 1460738 h 1729012"/>
                <a:gd name="connsiteX4988" fmla="*/ 434152 w 2240198"/>
                <a:gd name="connsiteY4988" fmla="*/ 1459764 h 1729012"/>
                <a:gd name="connsiteX4989" fmla="*/ 432797 w 2240198"/>
                <a:gd name="connsiteY4989" fmla="*/ 1459277 h 1729012"/>
                <a:gd name="connsiteX4990" fmla="*/ 432485 w 2240198"/>
                <a:gd name="connsiteY4990" fmla="*/ 1459422 h 1729012"/>
                <a:gd name="connsiteX4991" fmla="*/ 434586 w 2240198"/>
                <a:gd name="connsiteY4991" fmla="*/ 1462119 h 1729012"/>
                <a:gd name="connsiteX4992" fmla="*/ 434517 w 2240198"/>
                <a:gd name="connsiteY4992" fmla="*/ 1463130 h 1729012"/>
                <a:gd name="connsiteX4993" fmla="*/ 432192 w 2240198"/>
                <a:gd name="connsiteY4993" fmla="*/ 1465756 h 1729012"/>
                <a:gd name="connsiteX4994" fmla="*/ 431838 w 2240198"/>
                <a:gd name="connsiteY4994" fmla="*/ 1466526 h 1729012"/>
                <a:gd name="connsiteX4995" fmla="*/ 431820 w 2240198"/>
                <a:gd name="connsiteY4995" fmla="*/ 1469089 h 1729012"/>
                <a:gd name="connsiteX4996" fmla="*/ 431495 w 2240198"/>
                <a:gd name="connsiteY4996" fmla="*/ 1469632 h 1729012"/>
                <a:gd name="connsiteX4997" fmla="*/ 429621 w 2240198"/>
                <a:gd name="connsiteY4997" fmla="*/ 1470357 h 1729012"/>
                <a:gd name="connsiteX4998" fmla="*/ 427522 w 2240198"/>
                <a:gd name="connsiteY4998" fmla="*/ 1472372 h 1729012"/>
                <a:gd name="connsiteX4999" fmla="*/ 423981 w 2240198"/>
                <a:gd name="connsiteY4999" fmla="*/ 1473049 h 1729012"/>
                <a:gd name="connsiteX5000" fmla="*/ 420651 w 2240198"/>
                <a:gd name="connsiteY5000" fmla="*/ 1472851 h 1729012"/>
                <a:gd name="connsiteX5001" fmla="*/ 418858 w 2240198"/>
                <a:gd name="connsiteY5001" fmla="*/ 1471858 h 1729012"/>
                <a:gd name="connsiteX5002" fmla="*/ 413305 w 2240198"/>
                <a:gd name="connsiteY5002" fmla="*/ 1466918 h 1729012"/>
                <a:gd name="connsiteX5003" fmla="*/ 411274 w 2240198"/>
                <a:gd name="connsiteY5003" fmla="*/ 1464851 h 1729012"/>
                <a:gd name="connsiteX5004" fmla="*/ 411226 w 2240198"/>
                <a:gd name="connsiteY5004" fmla="*/ 1463106 h 1729012"/>
                <a:gd name="connsiteX5005" fmla="*/ 407424 w 2240198"/>
                <a:gd name="connsiteY5005" fmla="*/ 1456962 h 1729012"/>
                <a:gd name="connsiteX5006" fmla="*/ 407446 w 2240198"/>
                <a:gd name="connsiteY5006" fmla="*/ 1455639 h 1729012"/>
                <a:gd name="connsiteX5007" fmla="*/ 406122 w 2240198"/>
                <a:gd name="connsiteY5007" fmla="*/ 1453721 h 1729012"/>
                <a:gd name="connsiteX5008" fmla="*/ 404650 w 2240198"/>
                <a:gd name="connsiteY5008" fmla="*/ 1453451 h 1729012"/>
                <a:gd name="connsiteX5009" fmla="*/ 404319 w 2240198"/>
                <a:gd name="connsiteY5009" fmla="*/ 1451625 h 1729012"/>
                <a:gd name="connsiteX5010" fmla="*/ 407359 w 2240198"/>
                <a:gd name="connsiteY5010" fmla="*/ 1447672 h 1729012"/>
                <a:gd name="connsiteX5011" fmla="*/ 409238 w 2240198"/>
                <a:gd name="connsiteY5011" fmla="*/ 1444342 h 1729012"/>
                <a:gd name="connsiteX5012" fmla="*/ 409452 w 2240198"/>
                <a:gd name="connsiteY5012" fmla="*/ 1443297 h 1729012"/>
                <a:gd name="connsiteX5013" fmla="*/ 409369 w 2240198"/>
                <a:gd name="connsiteY5013" fmla="*/ 1441672 h 1729012"/>
                <a:gd name="connsiteX5014" fmla="*/ 408914 w 2240198"/>
                <a:gd name="connsiteY5014" fmla="*/ 1438055 h 1729012"/>
                <a:gd name="connsiteX5015" fmla="*/ 409310 w 2240198"/>
                <a:gd name="connsiteY5015" fmla="*/ 1436491 h 1729012"/>
                <a:gd name="connsiteX5016" fmla="*/ 407439 w 2240198"/>
                <a:gd name="connsiteY5016" fmla="*/ 1438557 h 1729012"/>
                <a:gd name="connsiteX5017" fmla="*/ 407043 w 2240198"/>
                <a:gd name="connsiteY5017" fmla="*/ 1440090 h 1729012"/>
                <a:gd name="connsiteX5018" fmla="*/ 407505 w 2240198"/>
                <a:gd name="connsiteY5018" fmla="*/ 1441636 h 1729012"/>
                <a:gd name="connsiteX5019" fmla="*/ 407213 w 2240198"/>
                <a:gd name="connsiteY5019" fmla="*/ 1443396 h 1729012"/>
                <a:gd name="connsiteX5020" fmla="*/ 406126 w 2240198"/>
                <a:gd name="connsiteY5020" fmla="*/ 1445855 h 1729012"/>
                <a:gd name="connsiteX5021" fmla="*/ 404265 w 2240198"/>
                <a:gd name="connsiteY5021" fmla="*/ 1448456 h 1729012"/>
                <a:gd name="connsiteX5022" fmla="*/ 400435 w 2240198"/>
                <a:gd name="connsiteY5022" fmla="*/ 1449707 h 1729012"/>
                <a:gd name="connsiteX5023" fmla="*/ 393679 w 2240198"/>
                <a:gd name="connsiteY5023" fmla="*/ 1449012 h 1729012"/>
                <a:gd name="connsiteX5024" fmla="*/ 392895 w 2240198"/>
                <a:gd name="connsiteY5024" fmla="*/ 1448676 h 1729012"/>
                <a:gd name="connsiteX5025" fmla="*/ 392420 w 2240198"/>
                <a:gd name="connsiteY5025" fmla="*/ 1447781 h 1729012"/>
                <a:gd name="connsiteX5026" fmla="*/ 392080 w 2240198"/>
                <a:gd name="connsiteY5026" fmla="*/ 1443951 h 1729012"/>
                <a:gd name="connsiteX5027" fmla="*/ 391668 w 2240198"/>
                <a:gd name="connsiteY5027" fmla="*/ 1444424 h 1729012"/>
                <a:gd name="connsiteX5028" fmla="*/ 390901 w 2240198"/>
                <a:gd name="connsiteY5028" fmla="*/ 1446465 h 1729012"/>
                <a:gd name="connsiteX5029" fmla="*/ 390284 w 2240198"/>
                <a:gd name="connsiteY5029" fmla="*/ 1449382 h 1729012"/>
                <a:gd name="connsiteX5030" fmla="*/ 389494 w 2240198"/>
                <a:gd name="connsiteY5030" fmla="*/ 1450043 h 1729012"/>
                <a:gd name="connsiteX5031" fmla="*/ 388069 w 2240198"/>
                <a:gd name="connsiteY5031" fmla="*/ 1450098 h 1729012"/>
                <a:gd name="connsiteX5032" fmla="*/ 386961 w 2240198"/>
                <a:gd name="connsiteY5032" fmla="*/ 1449631 h 1729012"/>
                <a:gd name="connsiteX5033" fmla="*/ 386170 w 2240198"/>
                <a:gd name="connsiteY5033" fmla="*/ 1448645 h 1729012"/>
                <a:gd name="connsiteX5034" fmla="*/ 384467 w 2240198"/>
                <a:gd name="connsiteY5034" fmla="*/ 1448563 h 1729012"/>
                <a:gd name="connsiteX5035" fmla="*/ 381286 w 2240198"/>
                <a:gd name="connsiteY5035" fmla="*/ 1449339 h 1729012"/>
                <a:gd name="connsiteX5036" fmla="*/ 379788 w 2240198"/>
                <a:gd name="connsiteY5036" fmla="*/ 1449027 h 1729012"/>
                <a:gd name="connsiteX5037" fmla="*/ 378008 w 2240198"/>
                <a:gd name="connsiteY5037" fmla="*/ 1448997 h 1729012"/>
                <a:gd name="connsiteX5038" fmla="*/ 374401 w 2240198"/>
                <a:gd name="connsiteY5038" fmla="*/ 1448143 h 1729012"/>
                <a:gd name="connsiteX5039" fmla="*/ 370143 w 2240198"/>
                <a:gd name="connsiteY5039" fmla="*/ 1447922 h 1729012"/>
                <a:gd name="connsiteX5040" fmla="*/ 368991 w 2240198"/>
                <a:gd name="connsiteY5040" fmla="*/ 1447262 h 1729012"/>
                <a:gd name="connsiteX5041" fmla="*/ 369054 w 2240198"/>
                <a:gd name="connsiteY5041" fmla="*/ 1445995 h 1729012"/>
                <a:gd name="connsiteX5042" fmla="*/ 369849 w 2240198"/>
                <a:gd name="connsiteY5042" fmla="*/ 1445354 h 1729012"/>
                <a:gd name="connsiteX5043" fmla="*/ 374342 w 2240198"/>
                <a:gd name="connsiteY5043" fmla="*/ 1444792 h 1729012"/>
                <a:gd name="connsiteX5044" fmla="*/ 378695 w 2240198"/>
                <a:gd name="connsiteY5044" fmla="*/ 1443442 h 1729012"/>
                <a:gd name="connsiteX5045" fmla="*/ 382996 w 2240198"/>
                <a:gd name="connsiteY5045" fmla="*/ 1442773 h 1729012"/>
                <a:gd name="connsiteX5046" fmla="*/ 382832 w 2240198"/>
                <a:gd name="connsiteY5046" fmla="*/ 1442086 h 1729012"/>
                <a:gd name="connsiteX5047" fmla="*/ 380889 w 2240198"/>
                <a:gd name="connsiteY5047" fmla="*/ 1441871 h 1729012"/>
                <a:gd name="connsiteX5048" fmla="*/ 371010 w 2240198"/>
                <a:gd name="connsiteY5048" fmla="*/ 1443360 h 1729012"/>
                <a:gd name="connsiteX5049" fmla="*/ 367899 w 2240198"/>
                <a:gd name="connsiteY5049" fmla="*/ 1443181 h 1729012"/>
                <a:gd name="connsiteX5050" fmla="*/ 367357 w 2240198"/>
                <a:gd name="connsiteY5050" fmla="*/ 1442939 h 1729012"/>
                <a:gd name="connsiteX5051" fmla="*/ 367282 w 2240198"/>
                <a:gd name="connsiteY5051" fmla="*/ 1441434 h 1729012"/>
                <a:gd name="connsiteX5052" fmla="*/ 368427 w 2240198"/>
                <a:gd name="connsiteY5052" fmla="*/ 1440004 h 1729012"/>
                <a:gd name="connsiteX5053" fmla="*/ 370330 w 2240198"/>
                <a:gd name="connsiteY5053" fmla="*/ 1438674 h 1729012"/>
                <a:gd name="connsiteX5054" fmla="*/ 370901 w 2240198"/>
                <a:gd name="connsiteY5054" fmla="*/ 1437663 h 1729012"/>
                <a:gd name="connsiteX5055" fmla="*/ 369796 w 2240198"/>
                <a:gd name="connsiteY5055" fmla="*/ 1437233 h 1729012"/>
                <a:gd name="connsiteX5056" fmla="*/ 368021 w 2240198"/>
                <a:gd name="connsiteY5056" fmla="*/ 1437513 h 1729012"/>
                <a:gd name="connsiteX5057" fmla="*/ 367170 w 2240198"/>
                <a:gd name="connsiteY5057" fmla="*/ 1436703 h 1729012"/>
                <a:gd name="connsiteX5058" fmla="*/ 368112 w 2240198"/>
                <a:gd name="connsiteY5058" fmla="*/ 1433543 h 1729012"/>
                <a:gd name="connsiteX5059" fmla="*/ 367282 w 2240198"/>
                <a:gd name="connsiteY5059" fmla="*/ 1430316 h 1729012"/>
                <a:gd name="connsiteX5060" fmla="*/ 366127 w 2240198"/>
                <a:gd name="connsiteY5060" fmla="*/ 1433376 h 1729012"/>
                <a:gd name="connsiteX5061" fmla="*/ 364380 w 2240198"/>
                <a:gd name="connsiteY5061" fmla="*/ 1435061 h 1729012"/>
                <a:gd name="connsiteX5062" fmla="*/ 356047 w 2240198"/>
                <a:gd name="connsiteY5062" fmla="*/ 1435779 h 1729012"/>
                <a:gd name="connsiteX5063" fmla="*/ 354687 w 2240198"/>
                <a:gd name="connsiteY5063" fmla="*/ 1436678 h 1729012"/>
                <a:gd name="connsiteX5064" fmla="*/ 353584 w 2240198"/>
                <a:gd name="connsiteY5064" fmla="*/ 1436654 h 1729012"/>
                <a:gd name="connsiteX5065" fmla="*/ 348262 w 2240198"/>
                <a:gd name="connsiteY5065" fmla="*/ 1435030 h 1729012"/>
                <a:gd name="connsiteX5066" fmla="*/ 345992 w 2240198"/>
                <a:gd name="connsiteY5066" fmla="*/ 1434043 h 1729012"/>
                <a:gd name="connsiteX5067" fmla="*/ 343856 w 2240198"/>
                <a:gd name="connsiteY5067" fmla="*/ 1432575 h 1729012"/>
                <a:gd name="connsiteX5068" fmla="*/ 340062 w 2240198"/>
                <a:gd name="connsiteY5068" fmla="*/ 1429286 h 1729012"/>
                <a:gd name="connsiteX5069" fmla="*/ 337088 w 2240198"/>
                <a:gd name="connsiteY5069" fmla="*/ 1427152 h 1729012"/>
                <a:gd name="connsiteX5070" fmla="*/ 336931 w 2240198"/>
                <a:gd name="connsiteY5070" fmla="*/ 1423206 h 1729012"/>
                <a:gd name="connsiteX5071" fmla="*/ 337569 w 2240198"/>
                <a:gd name="connsiteY5071" fmla="*/ 1420691 h 1729012"/>
                <a:gd name="connsiteX5072" fmla="*/ 339000 w 2240198"/>
                <a:gd name="connsiteY5072" fmla="*/ 1417870 h 1729012"/>
                <a:gd name="connsiteX5073" fmla="*/ 344402 w 2240198"/>
                <a:gd name="connsiteY5073" fmla="*/ 1411777 h 1729012"/>
                <a:gd name="connsiteX5074" fmla="*/ 346255 w 2240198"/>
                <a:gd name="connsiteY5074" fmla="*/ 1410619 h 1729012"/>
                <a:gd name="connsiteX5075" fmla="*/ 347927 w 2240198"/>
                <a:gd name="connsiteY5075" fmla="*/ 1410223 h 1729012"/>
                <a:gd name="connsiteX5076" fmla="*/ 355852 w 2240198"/>
                <a:gd name="connsiteY5076" fmla="*/ 1409689 h 1729012"/>
                <a:gd name="connsiteX5077" fmla="*/ 361753 w 2240198"/>
                <a:gd name="connsiteY5077" fmla="*/ 1408921 h 1729012"/>
                <a:gd name="connsiteX5078" fmla="*/ 362868 w 2240198"/>
                <a:gd name="connsiteY5078" fmla="*/ 1408558 h 1729012"/>
                <a:gd name="connsiteX5079" fmla="*/ 354179 w 2240198"/>
                <a:gd name="connsiteY5079" fmla="*/ 1408108 h 1729012"/>
                <a:gd name="connsiteX5080" fmla="*/ 346455 w 2240198"/>
                <a:gd name="connsiteY5080" fmla="*/ 1408424 h 1729012"/>
                <a:gd name="connsiteX5081" fmla="*/ 343817 w 2240198"/>
                <a:gd name="connsiteY5081" fmla="*/ 1409384 h 1729012"/>
                <a:gd name="connsiteX5082" fmla="*/ 340445 w 2240198"/>
                <a:gd name="connsiteY5082" fmla="*/ 1413300 h 1729012"/>
                <a:gd name="connsiteX5083" fmla="*/ 339587 w 2240198"/>
                <a:gd name="connsiteY5083" fmla="*/ 1414947 h 1729012"/>
                <a:gd name="connsiteX5084" fmla="*/ 338692 w 2240198"/>
                <a:gd name="connsiteY5084" fmla="*/ 1416147 h 1729012"/>
                <a:gd name="connsiteX5085" fmla="*/ 338087 w 2240198"/>
                <a:gd name="connsiteY5085" fmla="*/ 1416177 h 1729012"/>
                <a:gd name="connsiteX5086" fmla="*/ 336938 w 2240198"/>
                <a:gd name="connsiteY5086" fmla="*/ 1415751 h 1729012"/>
                <a:gd name="connsiteX5087" fmla="*/ 336566 w 2240198"/>
                <a:gd name="connsiteY5087" fmla="*/ 1415235 h 1729012"/>
                <a:gd name="connsiteX5088" fmla="*/ 336089 w 2240198"/>
                <a:gd name="connsiteY5088" fmla="*/ 1413953 h 1729012"/>
                <a:gd name="connsiteX5089" fmla="*/ 334278 w 2240198"/>
                <a:gd name="connsiteY5089" fmla="*/ 1411918 h 1729012"/>
                <a:gd name="connsiteX5090" fmla="*/ 333477 w 2240198"/>
                <a:gd name="connsiteY5090" fmla="*/ 1409578 h 1729012"/>
                <a:gd name="connsiteX5091" fmla="*/ 333005 w 2240198"/>
                <a:gd name="connsiteY5091" fmla="*/ 1406129 h 1729012"/>
                <a:gd name="connsiteX5092" fmla="*/ 333155 w 2240198"/>
                <a:gd name="connsiteY5092" fmla="*/ 1404589 h 1729012"/>
                <a:gd name="connsiteX5093" fmla="*/ 333998 w 2240198"/>
                <a:gd name="connsiteY5093" fmla="*/ 1402619 h 1729012"/>
                <a:gd name="connsiteX5094" fmla="*/ 336593 w 2240198"/>
                <a:gd name="connsiteY5094" fmla="*/ 1398749 h 1729012"/>
                <a:gd name="connsiteX5095" fmla="*/ 333267 w 2240198"/>
                <a:gd name="connsiteY5095" fmla="*/ 1398849 h 1729012"/>
                <a:gd name="connsiteX5096" fmla="*/ 333661 w 2240198"/>
                <a:gd name="connsiteY5096" fmla="*/ 1395585 h 1729012"/>
                <a:gd name="connsiteX5097" fmla="*/ 334876 w 2240198"/>
                <a:gd name="connsiteY5097" fmla="*/ 1392035 h 1729012"/>
                <a:gd name="connsiteX5098" fmla="*/ 337970 w 2240198"/>
                <a:gd name="connsiteY5098" fmla="*/ 1389929 h 1729012"/>
                <a:gd name="connsiteX5099" fmla="*/ 341105 w 2240198"/>
                <a:gd name="connsiteY5099" fmla="*/ 1388409 h 1729012"/>
                <a:gd name="connsiteX5100" fmla="*/ 343939 w 2240198"/>
                <a:gd name="connsiteY5100" fmla="*/ 1386416 h 1729012"/>
                <a:gd name="connsiteX5101" fmla="*/ 348902 w 2240198"/>
                <a:gd name="connsiteY5101" fmla="*/ 1385089 h 1729012"/>
                <a:gd name="connsiteX5102" fmla="*/ 350587 w 2240198"/>
                <a:gd name="connsiteY5102" fmla="*/ 1387823 h 1729012"/>
                <a:gd name="connsiteX5103" fmla="*/ 354842 w 2240198"/>
                <a:gd name="connsiteY5103" fmla="*/ 1388645 h 1729012"/>
                <a:gd name="connsiteX5104" fmla="*/ 356071 w 2240198"/>
                <a:gd name="connsiteY5104" fmla="*/ 1389874 h 1729012"/>
                <a:gd name="connsiteX5105" fmla="*/ 357579 w 2240198"/>
                <a:gd name="connsiteY5105" fmla="*/ 1392125 h 1729012"/>
                <a:gd name="connsiteX5106" fmla="*/ 359448 w 2240198"/>
                <a:gd name="connsiteY5106" fmla="*/ 1394272 h 1729012"/>
                <a:gd name="connsiteX5107" fmla="*/ 361673 w 2240198"/>
                <a:gd name="connsiteY5107" fmla="*/ 1396317 h 1729012"/>
                <a:gd name="connsiteX5108" fmla="*/ 362297 w 2240198"/>
                <a:gd name="connsiteY5108" fmla="*/ 1396460 h 1729012"/>
                <a:gd name="connsiteX5109" fmla="*/ 361316 w 2240198"/>
                <a:gd name="connsiteY5109" fmla="*/ 1394707 h 1729012"/>
                <a:gd name="connsiteX5110" fmla="*/ 357700 w 2240198"/>
                <a:gd name="connsiteY5110" fmla="*/ 1390863 h 1729012"/>
                <a:gd name="connsiteX5111" fmla="*/ 357543 w 2240198"/>
                <a:gd name="connsiteY5111" fmla="*/ 1389507 h 1729012"/>
                <a:gd name="connsiteX5112" fmla="*/ 356611 w 2240198"/>
                <a:gd name="connsiteY5112" fmla="*/ 1388035 h 1729012"/>
                <a:gd name="connsiteX5113" fmla="*/ 351822 w 2240198"/>
                <a:gd name="connsiteY5113" fmla="*/ 1385913 h 1729012"/>
                <a:gd name="connsiteX5114" fmla="*/ 350972 w 2240198"/>
                <a:gd name="connsiteY5114" fmla="*/ 1385097 h 1729012"/>
                <a:gd name="connsiteX5115" fmla="*/ 350124 w 2240198"/>
                <a:gd name="connsiteY5115" fmla="*/ 1382956 h 1729012"/>
                <a:gd name="connsiteX5116" fmla="*/ 349763 w 2240198"/>
                <a:gd name="connsiteY5116" fmla="*/ 1381572 h 1729012"/>
                <a:gd name="connsiteX5117" fmla="*/ 350300 w 2240198"/>
                <a:gd name="connsiteY5117" fmla="*/ 1380226 h 1729012"/>
                <a:gd name="connsiteX5118" fmla="*/ 355165 w 2240198"/>
                <a:gd name="connsiteY5118" fmla="*/ 1376120 h 1729012"/>
                <a:gd name="connsiteX5119" fmla="*/ 356277 w 2240198"/>
                <a:gd name="connsiteY5119" fmla="*/ 1373953 h 1729012"/>
                <a:gd name="connsiteX5120" fmla="*/ 356276 w 2240198"/>
                <a:gd name="connsiteY5120" fmla="*/ 1372934 h 1729012"/>
                <a:gd name="connsiteX5121" fmla="*/ 355896 w 2240198"/>
                <a:gd name="connsiteY5121" fmla="*/ 1371781 h 1729012"/>
                <a:gd name="connsiteX5122" fmla="*/ 354834 w 2240198"/>
                <a:gd name="connsiteY5122" fmla="*/ 1369798 h 1729012"/>
                <a:gd name="connsiteX5123" fmla="*/ 354553 w 2240198"/>
                <a:gd name="connsiteY5123" fmla="*/ 1369801 h 1729012"/>
                <a:gd name="connsiteX5124" fmla="*/ 354881 w 2240198"/>
                <a:gd name="connsiteY5124" fmla="*/ 1372811 h 1729012"/>
                <a:gd name="connsiteX5125" fmla="*/ 354708 w 2240198"/>
                <a:gd name="connsiteY5125" fmla="*/ 1373997 h 1729012"/>
                <a:gd name="connsiteX5126" fmla="*/ 354159 w 2240198"/>
                <a:gd name="connsiteY5126" fmla="*/ 1375304 h 1729012"/>
                <a:gd name="connsiteX5127" fmla="*/ 353365 w 2240198"/>
                <a:gd name="connsiteY5127" fmla="*/ 1376297 h 1729012"/>
                <a:gd name="connsiteX5128" fmla="*/ 352328 w 2240198"/>
                <a:gd name="connsiteY5128" fmla="*/ 1376977 h 1729012"/>
                <a:gd name="connsiteX5129" fmla="*/ 341878 w 2240198"/>
                <a:gd name="connsiteY5129" fmla="*/ 1386309 h 1729012"/>
                <a:gd name="connsiteX5130" fmla="*/ 340837 w 2240198"/>
                <a:gd name="connsiteY5130" fmla="*/ 1386856 h 1729012"/>
                <a:gd name="connsiteX5131" fmla="*/ 336955 w 2240198"/>
                <a:gd name="connsiteY5131" fmla="*/ 1387698 h 1729012"/>
                <a:gd name="connsiteX5132" fmla="*/ 334963 w 2240198"/>
                <a:gd name="connsiteY5132" fmla="*/ 1388690 h 1729012"/>
                <a:gd name="connsiteX5133" fmla="*/ 333888 w 2240198"/>
                <a:gd name="connsiteY5133" fmla="*/ 1389996 h 1729012"/>
                <a:gd name="connsiteX5134" fmla="*/ 332166 w 2240198"/>
                <a:gd name="connsiteY5134" fmla="*/ 1393398 h 1729012"/>
                <a:gd name="connsiteX5135" fmla="*/ 329803 w 2240198"/>
                <a:gd name="connsiteY5135" fmla="*/ 1400196 h 1729012"/>
                <a:gd name="connsiteX5136" fmla="*/ 327095 w 2240198"/>
                <a:gd name="connsiteY5136" fmla="*/ 1405684 h 1729012"/>
                <a:gd name="connsiteX5137" fmla="*/ 324779 w 2240198"/>
                <a:gd name="connsiteY5137" fmla="*/ 1398577 h 1729012"/>
                <a:gd name="connsiteX5138" fmla="*/ 320619 w 2240198"/>
                <a:gd name="connsiteY5138" fmla="*/ 1393127 h 1729012"/>
                <a:gd name="connsiteX5139" fmla="*/ 328735 w 2240198"/>
                <a:gd name="connsiteY5139" fmla="*/ 1387709 h 1729012"/>
                <a:gd name="connsiteX5140" fmla="*/ 328948 w 2240198"/>
                <a:gd name="connsiteY5140" fmla="*/ 1386881 h 1729012"/>
                <a:gd name="connsiteX5141" fmla="*/ 328159 w 2240198"/>
                <a:gd name="connsiteY5141" fmla="*/ 1383984 h 1729012"/>
                <a:gd name="connsiteX5142" fmla="*/ 328380 w 2240198"/>
                <a:gd name="connsiteY5142" fmla="*/ 1383104 h 1729012"/>
                <a:gd name="connsiteX5143" fmla="*/ 329147 w 2240198"/>
                <a:gd name="connsiteY5143" fmla="*/ 1381830 h 1729012"/>
                <a:gd name="connsiteX5144" fmla="*/ 331202 w 2240198"/>
                <a:gd name="connsiteY5144" fmla="*/ 1379970 h 1729012"/>
                <a:gd name="connsiteX5145" fmla="*/ 331123 w 2240198"/>
                <a:gd name="connsiteY5145" fmla="*/ 1379781 h 1729012"/>
                <a:gd name="connsiteX5146" fmla="*/ 328717 w 2240198"/>
                <a:gd name="connsiteY5146" fmla="*/ 1380450 h 1729012"/>
                <a:gd name="connsiteX5147" fmla="*/ 325021 w 2240198"/>
                <a:gd name="connsiteY5147" fmla="*/ 1384652 h 1729012"/>
                <a:gd name="connsiteX5148" fmla="*/ 323578 w 2240198"/>
                <a:gd name="connsiteY5148" fmla="*/ 1386003 h 1729012"/>
                <a:gd name="connsiteX5149" fmla="*/ 322802 w 2240198"/>
                <a:gd name="connsiteY5149" fmla="*/ 1386183 h 1729012"/>
                <a:gd name="connsiteX5150" fmla="*/ 322711 w 2240198"/>
                <a:gd name="connsiteY5150" fmla="*/ 1383712 h 1729012"/>
                <a:gd name="connsiteX5151" fmla="*/ 324698 w 2240198"/>
                <a:gd name="connsiteY5151" fmla="*/ 1377302 h 1729012"/>
                <a:gd name="connsiteX5152" fmla="*/ 326331 w 2240198"/>
                <a:gd name="connsiteY5152" fmla="*/ 1371058 h 1729012"/>
                <a:gd name="connsiteX5153" fmla="*/ 326928 w 2240198"/>
                <a:gd name="connsiteY5153" fmla="*/ 1369268 h 1729012"/>
                <a:gd name="connsiteX5154" fmla="*/ 328336 w 2240198"/>
                <a:gd name="connsiteY5154" fmla="*/ 1367463 h 1729012"/>
                <a:gd name="connsiteX5155" fmla="*/ 327000 w 2240198"/>
                <a:gd name="connsiteY5155" fmla="*/ 1367594 h 1729012"/>
                <a:gd name="connsiteX5156" fmla="*/ 320431 w 2240198"/>
                <a:gd name="connsiteY5156" fmla="*/ 1370373 h 1729012"/>
                <a:gd name="connsiteX5157" fmla="*/ 318227 w 2240198"/>
                <a:gd name="connsiteY5157" fmla="*/ 1368631 h 1729012"/>
                <a:gd name="connsiteX5158" fmla="*/ 316382 w 2240198"/>
                <a:gd name="connsiteY5158" fmla="*/ 1359563 h 1729012"/>
                <a:gd name="connsiteX5159" fmla="*/ 313146 w 2240198"/>
                <a:gd name="connsiteY5159" fmla="*/ 1356012 h 1729012"/>
                <a:gd name="connsiteX5160" fmla="*/ 307663 w 2240198"/>
                <a:gd name="connsiteY5160" fmla="*/ 1353107 h 1729012"/>
                <a:gd name="connsiteX5161" fmla="*/ 302280 w 2240198"/>
                <a:gd name="connsiteY5161" fmla="*/ 1351757 h 1729012"/>
                <a:gd name="connsiteX5162" fmla="*/ 301046 w 2240198"/>
                <a:gd name="connsiteY5162" fmla="*/ 1349168 h 1729012"/>
                <a:gd name="connsiteX5163" fmla="*/ 299980 w 2240198"/>
                <a:gd name="connsiteY5163" fmla="*/ 1346014 h 1729012"/>
                <a:gd name="connsiteX5164" fmla="*/ 301429 w 2240198"/>
                <a:gd name="connsiteY5164" fmla="*/ 1342294 h 1729012"/>
                <a:gd name="connsiteX5165" fmla="*/ 303787 w 2240198"/>
                <a:gd name="connsiteY5165" fmla="*/ 1340527 h 1729012"/>
                <a:gd name="connsiteX5166" fmla="*/ 305964 w 2240198"/>
                <a:gd name="connsiteY5166" fmla="*/ 1339727 h 1729012"/>
                <a:gd name="connsiteX5167" fmla="*/ 308018 w 2240198"/>
                <a:gd name="connsiteY5167" fmla="*/ 1340096 h 1729012"/>
                <a:gd name="connsiteX5168" fmla="*/ 308123 w 2240198"/>
                <a:gd name="connsiteY5168" fmla="*/ 1341460 h 1729012"/>
                <a:gd name="connsiteX5169" fmla="*/ 306724 w 2240198"/>
                <a:gd name="connsiteY5169" fmla="*/ 1345124 h 1729012"/>
                <a:gd name="connsiteX5170" fmla="*/ 308564 w 2240198"/>
                <a:gd name="connsiteY5170" fmla="*/ 1345467 h 1729012"/>
                <a:gd name="connsiteX5171" fmla="*/ 315940 w 2240198"/>
                <a:gd name="connsiteY5171" fmla="*/ 1349915 h 1729012"/>
                <a:gd name="connsiteX5172" fmla="*/ 317552 w 2240198"/>
                <a:gd name="connsiteY5172" fmla="*/ 1350272 h 1729012"/>
                <a:gd name="connsiteX5173" fmla="*/ 320608 w 2240198"/>
                <a:gd name="connsiteY5173" fmla="*/ 1348563 h 1729012"/>
                <a:gd name="connsiteX5174" fmla="*/ 322307 w 2240198"/>
                <a:gd name="connsiteY5174" fmla="*/ 1348630 h 1729012"/>
                <a:gd name="connsiteX5175" fmla="*/ 326322 w 2240198"/>
                <a:gd name="connsiteY5175" fmla="*/ 1350014 h 1729012"/>
                <a:gd name="connsiteX5176" fmla="*/ 327679 w 2240198"/>
                <a:gd name="connsiteY5176" fmla="*/ 1351683 h 1729012"/>
                <a:gd name="connsiteX5177" fmla="*/ 331517 w 2240198"/>
                <a:gd name="connsiteY5177" fmla="*/ 1354949 h 1729012"/>
                <a:gd name="connsiteX5178" fmla="*/ 330953 w 2240198"/>
                <a:gd name="connsiteY5178" fmla="*/ 1353049 h 1729012"/>
                <a:gd name="connsiteX5179" fmla="*/ 326768 w 2240198"/>
                <a:gd name="connsiteY5179" fmla="*/ 1349042 h 1729012"/>
                <a:gd name="connsiteX5180" fmla="*/ 324433 w 2240198"/>
                <a:gd name="connsiteY5180" fmla="*/ 1347755 h 1729012"/>
                <a:gd name="connsiteX5181" fmla="*/ 320327 w 2240198"/>
                <a:gd name="connsiteY5181" fmla="*/ 1347507 h 1729012"/>
                <a:gd name="connsiteX5182" fmla="*/ 317779 w 2240198"/>
                <a:gd name="connsiteY5182" fmla="*/ 1348180 h 1729012"/>
                <a:gd name="connsiteX5183" fmla="*/ 316711 w 2240198"/>
                <a:gd name="connsiteY5183" fmla="*/ 1347985 h 1729012"/>
                <a:gd name="connsiteX5184" fmla="*/ 314465 w 2240198"/>
                <a:gd name="connsiteY5184" fmla="*/ 1346964 h 1729012"/>
                <a:gd name="connsiteX5185" fmla="*/ 312558 w 2240198"/>
                <a:gd name="connsiteY5185" fmla="*/ 1345288 h 1729012"/>
                <a:gd name="connsiteX5186" fmla="*/ 310651 w 2240198"/>
                <a:gd name="connsiteY5186" fmla="*/ 1341610 h 1729012"/>
                <a:gd name="connsiteX5187" fmla="*/ 310217 w 2240198"/>
                <a:gd name="connsiteY5187" fmla="*/ 1339900 h 1729012"/>
                <a:gd name="connsiteX5188" fmla="*/ 310324 w 2240198"/>
                <a:gd name="connsiteY5188" fmla="*/ 1338630 h 1729012"/>
                <a:gd name="connsiteX5189" fmla="*/ 310773 w 2240198"/>
                <a:gd name="connsiteY5189" fmla="*/ 1337475 h 1729012"/>
                <a:gd name="connsiteX5190" fmla="*/ 311563 w 2240198"/>
                <a:gd name="connsiteY5190" fmla="*/ 1336440 h 1729012"/>
                <a:gd name="connsiteX5191" fmla="*/ 313132 w 2240198"/>
                <a:gd name="connsiteY5191" fmla="*/ 1335688 h 1729012"/>
                <a:gd name="connsiteX5192" fmla="*/ 315476 w 2240198"/>
                <a:gd name="connsiteY5192" fmla="*/ 1335223 h 1729012"/>
                <a:gd name="connsiteX5193" fmla="*/ 316194 w 2240198"/>
                <a:gd name="connsiteY5193" fmla="*/ 1334770 h 1729012"/>
                <a:gd name="connsiteX5194" fmla="*/ 313184 w 2240198"/>
                <a:gd name="connsiteY5194" fmla="*/ 1332661 h 1729012"/>
                <a:gd name="connsiteX5195" fmla="*/ 311816 w 2240198"/>
                <a:gd name="connsiteY5195" fmla="*/ 1332669 h 1729012"/>
                <a:gd name="connsiteX5196" fmla="*/ 307115 w 2240198"/>
                <a:gd name="connsiteY5196" fmla="*/ 1335754 h 1729012"/>
                <a:gd name="connsiteX5197" fmla="*/ 306161 w 2240198"/>
                <a:gd name="connsiteY5197" fmla="*/ 1335996 h 1729012"/>
                <a:gd name="connsiteX5198" fmla="*/ 305751 w 2240198"/>
                <a:gd name="connsiteY5198" fmla="*/ 1335397 h 1729012"/>
                <a:gd name="connsiteX5199" fmla="*/ 305361 w 2240198"/>
                <a:gd name="connsiteY5199" fmla="*/ 1335348 h 1729012"/>
                <a:gd name="connsiteX5200" fmla="*/ 303977 w 2240198"/>
                <a:gd name="connsiteY5200" fmla="*/ 1336875 h 1729012"/>
                <a:gd name="connsiteX5201" fmla="*/ 302901 w 2240198"/>
                <a:gd name="connsiteY5201" fmla="*/ 1337558 h 1729012"/>
                <a:gd name="connsiteX5202" fmla="*/ 299054 w 2240198"/>
                <a:gd name="connsiteY5202" fmla="*/ 1342276 h 1729012"/>
                <a:gd name="connsiteX5203" fmla="*/ 298454 w 2240198"/>
                <a:gd name="connsiteY5203" fmla="*/ 1344532 h 1729012"/>
                <a:gd name="connsiteX5204" fmla="*/ 298237 w 2240198"/>
                <a:gd name="connsiteY5204" fmla="*/ 1347899 h 1729012"/>
                <a:gd name="connsiteX5205" fmla="*/ 297792 w 2240198"/>
                <a:gd name="connsiteY5205" fmla="*/ 1350008 h 1729012"/>
                <a:gd name="connsiteX5206" fmla="*/ 297123 w 2240198"/>
                <a:gd name="connsiteY5206" fmla="*/ 1350864 h 1729012"/>
                <a:gd name="connsiteX5207" fmla="*/ 292606 w 2240198"/>
                <a:gd name="connsiteY5207" fmla="*/ 1352471 h 1729012"/>
                <a:gd name="connsiteX5208" fmla="*/ 290037 w 2240198"/>
                <a:gd name="connsiteY5208" fmla="*/ 1355750 h 1729012"/>
                <a:gd name="connsiteX5209" fmla="*/ 286918 w 2240198"/>
                <a:gd name="connsiteY5209" fmla="*/ 1352920 h 1729012"/>
                <a:gd name="connsiteX5210" fmla="*/ 283493 w 2240198"/>
                <a:gd name="connsiteY5210" fmla="*/ 1350189 h 1729012"/>
                <a:gd name="connsiteX5211" fmla="*/ 281210 w 2240198"/>
                <a:gd name="connsiteY5211" fmla="*/ 1345399 h 1729012"/>
                <a:gd name="connsiteX5212" fmla="*/ 277088 w 2240198"/>
                <a:gd name="connsiteY5212" fmla="*/ 1344560 h 1729012"/>
                <a:gd name="connsiteX5213" fmla="*/ 272299 w 2240198"/>
                <a:gd name="connsiteY5213" fmla="*/ 1341842 h 1729012"/>
                <a:gd name="connsiteX5214" fmla="*/ 270474 w 2240198"/>
                <a:gd name="connsiteY5214" fmla="*/ 1339425 h 1729012"/>
                <a:gd name="connsiteX5215" fmla="*/ 273069 w 2240198"/>
                <a:gd name="connsiteY5215" fmla="*/ 1334447 h 1729012"/>
                <a:gd name="connsiteX5216" fmla="*/ 276795 w 2240198"/>
                <a:gd name="connsiteY5216" fmla="*/ 1330682 h 1729012"/>
                <a:gd name="connsiteX5217" fmla="*/ 277364 w 2240198"/>
                <a:gd name="connsiteY5217" fmla="*/ 1326162 h 1729012"/>
                <a:gd name="connsiteX5218" fmla="*/ 277876 w 2240198"/>
                <a:gd name="connsiteY5218" fmla="*/ 1325190 h 1729012"/>
                <a:gd name="connsiteX5219" fmla="*/ 284279 w 2240198"/>
                <a:gd name="connsiteY5219" fmla="*/ 1324066 h 1729012"/>
                <a:gd name="connsiteX5220" fmla="*/ 288457 w 2240198"/>
                <a:gd name="connsiteY5220" fmla="*/ 1321818 h 1729012"/>
                <a:gd name="connsiteX5221" fmla="*/ 284173 w 2240198"/>
                <a:gd name="connsiteY5221" fmla="*/ 1321613 h 1729012"/>
                <a:gd name="connsiteX5222" fmla="*/ 281549 w 2240198"/>
                <a:gd name="connsiteY5222" fmla="*/ 1321953 h 1729012"/>
                <a:gd name="connsiteX5223" fmla="*/ 276838 w 2240198"/>
                <a:gd name="connsiteY5223" fmla="*/ 1323522 h 1729012"/>
                <a:gd name="connsiteX5224" fmla="*/ 271613 w 2240198"/>
                <a:gd name="connsiteY5224" fmla="*/ 1320418 h 1729012"/>
                <a:gd name="connsiteX5225" fmla="*/ 268913 w 2240198"/>
                <a:gd name="connsiteY5225" fmla="*/ 1317578 h 1729012"/>
                <a:gd name="connsiteX5226" fmla="*/ 268065 w 2240198"/>
                <a:gd name="connsiteY5226" fmla="*/ 1315154 h 1729012"/>
                <a:gd name="connsiteX5227" fmla="*/ 268997 w 2240198"/>
                <a:gd name="connsiteY5227" fmla="*/ 1313103 h 1729012"/>
                <a:gd name="connsiteX5228" fmla="*/ 269120 w 2240198"/>
                <a:gd name="connsiteY5228" fmla="*/ 1311011 h 1729012"/>
                <a:gd name="connsiteX5229" fmla="*/ 269592 w 2240198"/>
                <a:gd name="connsiteY5229" fmla="*/ 1308184 h 1729012"/>
                <a:gd name="connsiteX5230" fmla="*/ 270087 w 2240198"/>
                <a:gd name="connsiteY5230" fmla="*/ 1306946 h 1729012"/>
                <a:gd name="connsiteX5231" fmla="*/ 271184 w 2240198"/>
                <a:gd name="connsiteY5231" fmla="*/ 1305367 h 1729012"/>
                <a:gd name="connsiteX5232" fmla="*/ 273422 w 2240198"/>
                <a:gd name="connsiteY5232" fmla="*/ 1304314 h 1729012"/>
                <a:gd name="connsiteX5233" fmla="*/ 275403 w 2240198"/>
                <a:gd name="connsiteY5233" fmla="*/ 1301064 h 1729012"/>
                <a:gd name="connsiteX5234" fmla="*/ 276219 w 2240198"/>
                <a:gd name="connsiteY5234" fmla="*/ 1298795 h 1729012"/>
                <a:gd name="connsiteX5235" fmla="*/ 280280 w 2240198"/>
                <a:gd name="connsiteY5235" fmla="*/ 1291965 h 1729012"/>
                <a:gd name="connsiteX5236" fmla="*/ 281760 w 2240198"/>
                <a:gd name="connsiteY5236" fmla="*/ 1289014 h 1729012"/>
                <a:gd name="connsiteX5237" fmla="*/ 284533 w 2240198"/>
                <a:gd name="connsiteY5237" fmla="*/ 1284919 h 1729012"/>
                <a:gd name="connsiteX5238" fmla="*/ 290115 w 2240198"/>
                <a:gd name="connsiteY5238" fmla="*/ 1278468 h 1729012"/>
                <a:gd name="connsiteX5239" fmla="*/ 288353 w 2240198"/>
                <a:gd name="connsiteY5239" fmla="*/ 1278834 h 1729012"/>
                <a:gd name="connsiteX5240" fmla="*/ 287427 w 2240198"/>
                <a:gd name="connsiteY5240" fmla="*/ 1279386 h 1729012"/>
                <a:gd name="connsiteX5241" fmla="*/ 286548 w 2240198"/>
                <a:gd name="connsiteY5241" fmla="*/ 1279318 h 1729012"/>
                <a:gd name="connsiteX5242" fmla="*/ 285715 w 2240198"/>
                <a:gd name="connsiteY5242" fmla="*/ 1278629 h 1729012"/>
                <a:gd name="connsiteX5243" fmla="*/ 284922 w 2240198"/>
                <a:gd name="connsiteY5243" fmla="*/ 1277202 h 1729012"/>
                <a:gd name="connsiteX5244" fmla="*/ 284168 w 2240198"/>
                <a:gd name="connsiteY5244" fmla="*/ 1275025 h 1729012"/>
                <a:gd name="connsiteX5245" fmla="*/ 283743 w 2240198"/>
                <a:gd name="connsiteY5245" fmla="*/ 1275981 h 1729012"/>
                <a:gd name="connsiteX5246" fmla="*/ 283650 w 2240198"/>
                <a:gd name="connsiteY5246" fmla="*/ 1280063 h 1729012"/>
                <a:gd name="connsiteX5247" fmla="*/ 283088 w 2240198"/>
                <a:gd name="connsiteY5247" fmla="*/ 1283552 h 1729012"/>
                <a:gd name="connsiteX5248" fmla="*/ 282089 w 2240198"/>
                <a:gd name="connsiteY5248" fmla="*/ 1285975 h 1729012"/>
                <a:gd name="connsiteX5249" fmla="*/ 279350 w 2240198"/>
                <a:gd name="connsiteY5249" fmla="*/ 1290892 h 1729012"/>
                <a:gd name="connsiteX5250" fmla="*/ 277744 w 2240198"/>
                <a:gd name="connsiteY5250" fmla="*/ 1292805 h 1729012"/>
                <a:gd name="connsiteX5251" fmla="*/ 276647 w 2240198"/>
                <a:gd name="connsiteY5251" fmla="*/ 1291023 h 1729012"/>
                <a:gd name="connsiteX5252" fmla="*/ 277493 w 2240198"/>
                <a:gd name="connsiteY5252" fmla="*/ 1287949 h 1729012"/>
                <a:gd name="connsiteX5253" fmla="*/ 279079 w 2240198"/>
                <a:gd name="connsiteY5253" fmla="*/ 1285500 h 1729012"/>
                <a:gd name="connsiteX5254" fmla="*/ 279351 w 2240198"/>
                <a:gd name="connsiteY5254" fmla="*/ 1282145 h 1729012"/>
                <a:gd name="connsiteX5255" fmla="*/ 277858 w 2240198"/>
                <a:gd name="connsiteY5255" fmla="*/ 1278136 h 1729012"/>
                <a:gd name="connsiteX5256" fmla="*/ 276946 w 2240198"/>
                <a:gd name="connsiteY5256" fmla="*/ 1274907 h 1729012"/>
                <a:gd name="connsiteX5257" fmla="*/ 276617 w 2240198"/>
                <a:gd name="connsiteY5257" fmla="*/ 1272456 h 1729012"/>
                <a:gd name="connsiteX5258" fmla="*/ 276574 w 2240198"/>
                <a:gd name="connsiteY5258" fmla="*/ 1270218 h 1729012"/>
                <a:gd name="connsiteX5259" fmla="*/ 276815 w 2240198"/>
                <a:gd name="connsiteY5259" fmla="*/ 1268191 h 1729012"/>
                <a:gd name="connsiteX5260" fmla="*/ 277444 w 2240198"/>
                <a:gd name="connsiteY5260" fmla="*/ 1265982 h 1729012"/>
                <a:gd name="connsiteX5261" fmla="*/ 278459 w 2240198"/>
                <a:gd name="connsiteY5261" fmla="*/ 1263591 h 1729012"/>
                <a:gd name="connsiteX5262" fmla="*/ 278338 w 2240198"/>
                <a:gd name="connsiteY5262" fmla="*/ 1263325 h 1729012"/>
                <a:gd name="connsiteX5263" fmla="*/ 278617 w 2240198"/>
                <a:gd name="connsiteY5263" fmla="*/ 1261100 h 1729012"/>
                <a:gd name="connsiteX5264" fmla="*/ 278393 w 2240198"/>
                <a:gd name="connsiteY5264" fmla="*/ 1258815 h 1729012"/>
                <a:gd name="connsiteX5265" fmla="*/ 277555 w 2240198"/>
                <a:gd name="connsiteY5265" fmla="*/ 1257002 h 1729012"/>
                <a:gd name="connsiteX5266" fmla="*/ 276493 w 2240198"/>
                <a:gd name="connsiteY5266" fmla="*/ 1255426 h 1729012"/>
                <a:gd name="connsiteX5267" fmla="*/ 273530 w 2240198"/>
                <a:gd name="connsiteY5267" fmla="*/ 1256372 h 1729012"/>
                <a:gd name="connsiteX5268" fmla="*/ 268498 w 2240198"/>
                <a:gd name="connsiteY5268" fmla="*/ 1254951 h 1729012"/>
                <a:gd name="connsiteX5269" fmla="*/ 266877 w 2240198"/>
                <a:gd name="connsiteY5269" fmla="*/ 1251081 h 1729012"/>
                <a:gd name="connsiteX5270" fmla="*/ 262516 w 2240198"/>
                <a:gd name="connsiteY5270" fmla="*/ 1249894 h 1729012"/>
                <a:gd name="connsiteX5271" fmla="*/ 260167 w 2240198"/>
                <a:gd name="connsiteY5271" fmla="*/ 1247126 h 1729012"/>
                <a:gd name="connsiteX5272" fmla="*/ 255388 w 2240198"/>
                <a:gd name="connsiteY5272" fmla="*/ 1245769 h 1729012"/>
                <a:gd name="connsiteX5273" fmla="*/ 251515 w 2240198"/>
                <a:gd name="connsiteY5273" fmla="*/ 1244826 h 1729012"/>
                <a:gd name="connsiteX5274" fmla="*/ 248561 w 2240198"/>
                <a:gd name="connsiteY5274" fmla="*/ 1243231 h 1729012"/>
                <a:gd name="connsiteX5275" fmla="*/ 245104 w 2240198"/>
                <a:gd name="connsiteY5275" fmla="*/ 1241359 h 1729012"/>
                <a:gd name="connsiteX5276" fmla="*/ 241653 w 2240198"/>
                <a:gd name="connsiteY5276" fmla="*/ 1239362 h 1729012"/>
                <a:gd name="connsiteX5277" fmla="*/ 239036 w 2240198"/>
                <a:gd name="connsiteY5277" fmla="*/ 1237845 h 1729012"/>
                <a:gd name="connsiteX5278" fmla="*/ 237098 w 2240198"/>
                <a:gd name="connsiteY5278" fmla="*/ 1237943 h 1729012"/>
                <a:gd name="connsiteX5279" fmla="*/ 232717 w 2240198"/>
                <a:gd name="connsiteY5279" fmla="*/ 1238163 h 1729012"/>
                <a:gd name="connsiteX5280" fmla="*/ 232494 w 2240198"/>
                <a:gd name="connsiteY5280" fmla="*/ 1234744 h 1729012"/>
                <a:gd name="connsiteX5281" fmla="*/ 231153 w 2240198"/>
                <a:gd name="connsiteY5281" fmla="*/ 1232675 h 1729012"/>
                <a:gd name="connsiteX5282" fmla="*/ 231655 w 2240198"/>
                <a:gd name="connsiteY5282" fmla="*/ 1230845 h 1729012"/>
                <a:gd name="connsiteX5283" fmla="*/ 229213 w 2240198"/>
                <a:gd name="connsiteY5283" fmla="*/ 1229909 h 1729012"/>
                <a:gd name="connsiteX5284" fmla="*/ 225617 w 2240198"/>
                <a:gd name="connsiteY5284" fmla="*/ 1228532 h 1729012"/>
                <a:gd name="connsiteX5285" fmla="*/ 226667 w 2240198"/>
                <a:gd name="connsiteY5285" fmla="*/ 1225037 h 1729012"/>
                <a:gd name="connsiteX5286" fmla="*/ 227462 w 2240198"/>
                <a:gd name="connsiteY5286" fmla="*/ 1222385 h 1729012"/>
                <a:gd name="connsiteX5287" fmla="*/ 224280 w 2240198"/>
                <a:gd name="connsiteY5287" fmla="*/ 1221600 h 1729012"/>
                <a:gd name="connsiteX5288" fmla="*/ 219692 w 2240198"/>
                <a:gd name="connsiteY5288" fmla="*/ 1220467 h 1729012"/>
                <a:gd name="connsiteX5289" fmla="*/ 221178 w 2240198"/>
                <a:gd name="connsiteY5289" fmla="*/ 1218074 h 1729012"/>
                <a:gd name="connsiteX5290" fmla="*/ 222375 w 2240198"/>
                <a:gd name="connsiteY5290" fmla="*/ 1216142 h 1729012"/>
                <a:gd name="connsiteX5291" fmla="*/ 220613 w 2240198"/>
                <a:gd name="connsiteY5291" fmla="*/ 1213314 h 1729012"/>
                <a:gd name="connsiteX5292" fmla="*/ 217042 w 2240198"/>
                <a:gd name="connsiteY5292" fmla="*/ 1208564 h 1729012"/>
                <a:gd name="connsiteX5293" fmla="*/ 214303 w 2240198"/>
                <a:gd name="connsiteY5293" fmla="*/ 1205165 h 1729012"/>
                <a:gd name="connsiteX5294" fmla="*/ 210728 w 2240198"/>
                <a:gd name="connsiteY5294" fmla="*/ 1199860 h 1729012"/>
                <a:gd name="connsiteX5295" fmla="*/ 207583 w 2240198"/>
                <a:gd name="connsiteY5295" fmla="*/ 1195188 h 1729012"/>
                <a:gd name="connsiteX5296" fmla="*/ 205014 w 2240198"/>
                <a:gd name="connsiteY5296" fmla="*/ 1191362 h 1729012"/>
                <a:gd name="connsiteX5297" fmla="*/ 202869 w 2240198"/>
                <a:gd name="connsiteY5297" fmla="*/ 1188720 h 1729012"/>
                <a:gd name="connsiteX5298" fmla="*/ 199852 w 2240198"/>
                <a:gd name="connsiteY5298" fmla="*/ 1183984 h 1729012"/>
                <a:gd name="connsiteX5299" fmla="*/ 195925 w 2240198"/>
                <a:gd name="connsiteY5299" fmla="*/ 1178637 h 1729012"/>
                <a:gd name="connsiteX5300" fmla="*/ 192190 w 2240198"/>
                <a:gd name="connsiteY5300" fmla="*/ 1174421 h 1729012"/>
                <a:gd name="connsiteX5301" fmla="*/ 192735 w 2240198"/>
                <a:gd name="connsiteY5301" fmla="*/ 1171692 h 1729012"/>
                <a:gd name="connsiteX5302" fmla="*/ 189051 w 2240198"/>
                <a:gd name="connsiteY5302" fmla="*/ 1168264 h 1729012"/>
                <a:gd name="connsiteX5303" fmla="*/ 185816 w 2240198"/>
                <a:gd name="connsiteY5303" fmla="*/ 1164791 h 1729012"/>
                <a:gd name="connsiteX5304" fmla="*/ 182094 w 2240198"/>
                <a:gd name="connsiteY5304" fmla="*/ 1160786 h 1729012"/>
                <a:gd name="connsiteX5305" fmla="*/ 178418 w 2240198"/>
                <a:gd name="connsiteY5305" fmla="*/ 1158823 h 1729012"/>
                <a:gd name="connsiteX5306" fmla="*/ 175794 w 2240198"/>
                <a:gd name="connsiteY5306" fmla="*/ 1157422 h 1729012"/>
                <a:gd name="connsiteX5307" fmla="*/ 172009 w 2240198"/>
                <a:gd name="connsiteY5307" fmla="*/ 1155398 h 1729012"/>
                <a:gd name="connsiteX5308" fmla="*/ 170019 w 2240198"/>
                <a:gd name="connsiteY5308" fmla="*/ 1153588 h 1729012"/>
                <a:gd name="connsiteX5309" fmla="*/ 169190 w 2240198"/>
                <a:gd name="connsiteY5309" fmla="*/ 1152052 h 1729012"/>
                <a:gd name="connsiteX5310" fmla="*/ 168331 w 2240198"/>
                <a:gd name="connsiteY5310" fmla="*/ 1150968 h 1729012"/>
                <a:gd name="connsiteX5311" fmla="*/ 167583 w 2240198"/>
                <a:gd name="connsiteY5311" fmla="*/ 1149460 h 1729012"/>
                <a:gd name="connsiteX5312" fmla="*/ 167148 w 2240198"/>
                <a:gd name="connsiteY5312" fmla="*/ 1147702 h 1729012"/>
                <a:gd name="connsiteX5313" fmla="*/ 166373 w 2240198"/>
                <a:gd name="connsiteY5313" fmla="*/ 1146615 h 1729012"/>
                <a:gd name="connsiteX5314" fmla="*/ 161778 w 2240198"/>
                <a:gd name="connsiteY5314" fmla="*/ 1143999 h 1729012"/>
                <a:gd name="connsiteX5315" fmla="*/ 160377 w 2240198"/>
                <a:gd name="connsiteY5315" fmla="*/ 1142355 h 1729012"/>
                <a:gd name="connsiteX5316" fmla="*/ 157202 w 2240198"/>
                <a:gd name="connsiteY5316" fmla="*/ 1140455 h 1729012"/>
                <a:gd name="connsiteX5317" fmla="*/ 154544 w 2240198"/>
                <a:gd name="connsiteY5317" fmla="*/ 1139661 h 1729012"/>
                <a:gd name="connsiteX5318" fmla="*/ 153619 w 2240198"/>
                <a:gd name="connsiteY5318" fmla="*/ 1139020 h 1729012"/>
                <a:gd name="connsiteX5319" fmla="*/ 150385 w 2240198"/>
                <a:gd name="connsiteY5319" fmla="*/ 1133273 h 1729012"/>
                <a:gd name="connsiteX5320" fmla="*/ 150903 w 2240198"/>
                <a:gd name="connsiteY5320" fmla="*/ 1131220 h 1729012"/>
                <a:gd name="connsiteX5321" fmla="*/ 151262 w 2240198"/>
                <a:gd name="connsiteY5321" fmla="*/ 1129166 h 1729012"/>
                <a:gd name="connsiteX5322" fmla="*/ 150899 w 2240198"/>
                <a:gd name="connsiteY5322" fmla="*/ 1128112 h 1729012"/>
                <a:gd name="connsiteX5323" fmla="*/ 145579 w 2240198"/>
                <a:gd name="connsiteY5323" fmla="*/ 1123728 h 1729012"/>
                <a:gd name="connsiteX5324" fmla="*/ 142865 w 2240198"/>
                <a:gd name="connsiteY5324" fmla="*/ 1121906 h 1729012"/>
                <a:gd name="connsiteX5325" fmla="*/ 140124 w 2240198"/>
                <a:gd name="connsiteY5325" fmla="*/ 1120019 h 1729012"/>
                <a:gd name="connsiteX5326" fmla="*/ 134377 w 2240198"/>
                <a:gd name="connsiteY5326" fmla="*/ 1122455 h 1729012"/>
                <a:gd name="connsiteX5327" fmla="*/ 128493 w 2240198"/>
                <a:gd name="connsiteY5327" fmla="*/ 1124948 h 1729012"/>
                <a:gd name="connsiteX5328" fmla="*/ 124372 w 2240198"/>
                <a:gd name="connsiteY5328" fmla="*/ 1125863 h 1729012"/>
                <a:gd name="connsiteX5329" fmla="*/ 118676 w 2240198"/>
                <a:gd name="connsiteY5329" fmla="*/ 1127127 h 1729012"/>
                <a:gd name="connsiteX5330" fmla="*/ 120570 w 2240198"/>
                <a:gd name="connsiteY5330" fmla="*/ 1129834 h 1729012"/>
                <a:gd name="connsiteX5331" fmla="*/ 119787 w 2240198"/>
                <a:gd name="connsiteY5331" fmla="*/ 1131812 h 1729012"/>
                <a:gd name="connsiteX5332" fmla="*/ 118016 w 2240198"/>
                <a:gd name="connsiteY5332" fmla="*/ 1132724 h 1729012"/>
                <a:gd name="connsiteX5333" fmla="*/ 115011 w 2240198"/>
                <a:gd name="connsiteY5333" fmla="*/ 1132610 h 1729012"/>
                <a:gd name="connsiteX5334" fmla="*/ 115001 w 2240198"/>
                <a:gd name="connsiteY5334" fmla="*/ 1139333 h 1729012"/>
                <a:gd name="connsiteX5335" fmla="*/ 112160 w 2240198"/>
                <a:gd name="connsiteY5335" fmla="*/ 1144114 h 1729012"/>
                <a:gd name="connsiteX5336" fmla="*/ 106215 w 2240198"/>
                <a:gd name="connsiteY5336" fmla="*/ 1144197 h 1729012"/>
                <a:gd name="connsiteX5337" fmla="*/ 103019 w 2240198"/>
                <a:gd name="connsiteY5337" fmla="*/ 1145840 h 1729012"/>
                <a:gd name="connsiteX5338" fmla="*/ 98279 w 2240198"/>
                <a:gd name="connsiteY5338" fmla="*/ 1148273 h 1729012"/>
                <a:gd name="connsiteX5339" fmla="*/ 94442 w 2240198"/>
                <a:gd name="connsiteY5339" fmla="*/ 1150243 h 1729012"/>
                <a:gd name="connsiteX5340" fmla="*/ 90359 w 2240198"/>
                <a:gd name="connsiteY5340" fmla="*/ 1153415 h 1729012"/>
                <a:gd name="connsiteX5341" fmla="*/ 88272 w 2240198"/>
                <a:gd name="connsiteY5341" fmla="*/ 1152959 h 1729012"/>
                <a:gd name="connsiteX5342" fmla="*/ 89203 w 2240198"/>
                <a:gd name="connsiteY5342" fmla="*/ 1150131 h 1729012"/>
                <a:gd name="connsiteX5343" fmla="*/ 87693 w 2240198"/>
                <a:gd name="connsiteY5343" fmla="*/ 1145341 h 1729012"/>
                <a:gd name="connsiteX5344" fmla="*/ 86435 w 2240198"/>
                <a:gd name="connsiteY5344" fmla="*/ 1141344 h 1729012"/>
                <a:gd name="connsiteX5345" fmla="*/ 83816 w 2240198"/>
                <a:gd name="connsiteY5345" fmla="*/ 1139288 h 1729012"/>
                <a:gd name="connsiteX5346" fmla="*/ 79406 w 2240198"/>
                <a:gd name="connsiteY5346" fmla="*/ 1135821 h 1729012"/>
                <a:gd name="connsiteX5347" fmla="*/ 76095 w 2240198"/>
                <a:gd name="connsiteY5347" fmla="*/ 1133217 h 1729012"/>
                <a:gd name="connsiteX5348" fmla="*/ 71371 w 2240198"/>
                <a:gd name="connsiteY5348" fmla="*/ 1129495 h 1729012"/>
                <a:gd name="connsiteX5349" fmla="*/ 68069 w 2240198"/>
                <a:gd name="connsiteY5349" fmla="*/ 1126889 h 1729012"/>
                <a:gd name="connsiteX5350" fmla="*/ 64621 w 2240198"/>
                <a:gd name="connsiteY5350" fmla="*/ 1124166 h 1729012"/>
                <a:gd name="connsiteX5351" fmla="*/ 60091 w 2240198"/>
                <a:gd name="connsiteY5351" fmla="*/ 1120586 h 1729012"/>
                <a:gd name="connsiteX5352" fmla="*/ 58235 w 2240198"/>
                <a:gd name="connsiteY5352" fmla="*/ 1115935 h 1729012"/>
                <a:gd name="connsiteX5353" fmla="*/ 54095 w 2240198"/>
                <a:gd name="connsiteY5353" fmla="*/ 1114252 h 1729012"/>
                <a:gd name="connsiteX5354" fmla="*/ 49665 w 2240198"/>
                <a:gd name="connsiteY5354" fmla="*/ 1112453 h 1729012"/>
                <a:gd name="connsiteX5355" fmla="*/ 46073 w 2240198"/>
                <a:gd name="connsiteY5355" fmla="*/ 1109028 h 1729012"/>
                <a:gd name="connsiteX5356" fmla="*/ 47294 w 2240198"/>
                <a:gd name="connsiteY5356" fmla="*/ 1105644 h 1729012"/>
                <a:gd name="connsiteX5357" fmla="*/ 48757 w 2240198"/>
                <a:gd name="connsiteY5357" fmla="*/ 1101586 h 1729012"/>
                <a:gd name="connsiteX5358" fmla="*/ 48757 w 2240198"/>
                <a:gd name="connsiteY5358" fmla="*/ 1099139 h 1729012"/>
                <a:gd name="connsiteX5359" fmla="*/ 44814 w 2240198"/>
                <a:gd name="connsiteY5359" fmla="*/ 1099289 h 1729012"/>
                <a:gd name="connsiteX5360" fmla="*/ 38901 w 2240198"/>
                <a:gd name="connsiteY5360" fmla="*/ 1099519 h 1729012"/>
                <a:gd name="connsiteX5361" fmla="*/ 33618 w 2240198"/>
                <a:gd name="connsiteY5361" fmla="*/ 1099725 h 1729012"/>
                <a:gd name="connsiteX5362" fmla="*/ 29704 w 2240198"/>
                <a:gd name="connsiteY5362" fmla="*/ 1102596 h 1729012"/>
                <a:gd name="connsiteX5363" fmla="*/ 26088 w 2240198"/>
                <a:gd name="connsiteY5363" fmla="*/ 1105247 h 1729012"/>
                <a:gd name="connsiteX5364" fmla="*/ 20417 w 2240198"/>
                <a:gd name="connsiteY5364" fmla="*/ 1103181 h 1729012"/>
                <a:gd name="connsiteX5365" fmla="*/ 13928 w 2240198"/>
                <a:gd name="connsiteY5365" fmla="*/ 1100814 h 1729012"/>
                <a:gd name="connsiteX5366" fmla="*/ 12087 w 2240198"/>
                <a:gd name="connsiteY5366" fmla="*/ 1103909 h 1729012"/>
                <a:gd name="connsiteX5367" fmla="*/ 6071 w 2240198"/>
                <a:gd name="connsiteY5367" fmla="*/ 1102359 h 1729012"/>
                <a:gd name="connsiteX5368" fmla="*/ 0 w 2240198"/>
                <a:gd name="connsiteY5368" fmla="*/ 1100793 h 1729012"/>
                <a:gd name="connsiteX5369" fmla="*/ 0 w 2240198"/>
                <a:gd name="connsiteY5369" fmla="*/ 1089644 h 1729012"/>
                <a:gd name="connsiteX5370" fmla="*/ 0 w 2240198"/>
                <a:gd name="connsiteY5370" fmla="*/ 1078440 h 1729012"/>
                <a:gd name="connsiteX5371" fmla="*/ 0 w 2240198"/>
                <a:gd name="connsiteY5371" fmla="*/ 1067188 h 1729012"/>
                <a:gd name="connsiteX5372" fmla="*/ 0 w 2240198"/>
                <a:gd name="connsiteY5372" fmla="*/ 1055881 h 1729012"/>
                <a:gd name="connsiteX5373" fmla="*/ 0 w 2240198"/>
                <a:gd name="connsiteY5373" fmla="*/ 1044519 h 1729012"/>
                <a:gd name="connsiteX5374" fmla="*/ 0 w 2240198"/>
                <a:gd name="connsiteY5374" fmla="*/ 1033106 h 1729012"/>
                <a:gd name="connsiteX5375" fmla="*/ 0 w 2240198"/>
                <a:gd name="connsiteY5375" fmla="*/ 1021634 h 1729012"/>
                <a:gd name="connsiteX5376" fmla="*/ 0 w 2240198"/>
                <a:gd name="connsiteY5376" fmla="*/ 1010110 h 1729012"/>
                <a:gd name="connsiteX5377" fmla="*/ 0 w 2240198"/>
                <a:gd name="connsiteY5377" fmla="*/ 998529 h 1729012"/>
                <a:gd name="connsiteX5378" fmla="*/ 0 w 2240198"/>
                <a:gd name="connsiteY5378" fmla="*/ 986891 h 1729012"/>
                <a:gd name="connsiteX5379" fmla="*/ 0 w 2240198"/>
                <a:gd name="connsiteY5379" fmla="*/ 975196 h 1729012"/>
                <a:gd name="connsiteX5380" fmla="*/ 0 w 2240198"/>
                <a:gd name="connsiteY5380" fmla="*/ 963438 h 1729012"/>
                <a:gd name="connsiteX5381" fmla="*/ 0 w 2240198"/>
                <a:gd name="connsiteY5381" fmla="*/ 951625 h 1729012"/>
                <a:gd name="connsiteX5382" fmla="*/ 0 w 2240198"/>
                <a:gd name="connsiteY5382" fmla="*/ 939748 h 1729012"/>
                <a:gd name="connsiteX5383" fmla="*/ 0 w 2240198"/>
                <a:gd name="connsiteY5383" fmla="*/ 927813 h 1729012"/>
                <a:gd name="connsiteX5384" fmla="*/ 0 w 2240198"/>
                <a:gd name="connsiteY5384" fmla="*/ 915813 h 1729012"/>
                <a:gd name="connsiteX5385" fmla="*/ 0 w 2240198"/>
                <a:gd name="connsiteY5385" fmla="*/ 903753 h 1729012"/>
                <a:gd name="connsiteX5386" fmla="*/ 0 w 2240198"/>
                <a:gd name="connsiteY5386" fmla="*/ 891630 h 1729012"/>
                <a:gd name="connsiteX5387" fmla="*/ 0 w 2240198"/>
                <a:gd name="connsiteY5387" fmla="*/ 879439 h 1729012"/>
                <a:gd name="connsiteX5388" fmla="*/ 0 w 2240198"/>
                <a:gd name="connsiteY5388" fmla="*/ 867185 h 1729012"/>
                <a:gd name="connsiteX5389" fmla="*/ 0 w 2240198"/>
                <a:gd name="connsiteY5389" fmla="*/ 854866 h 1729012"/>
                <a:gd name="connsiteX5390" fmla="*/ 0 w 2240198"/>
                <a:gd name="connsiteY5390" fmla="*/ 842475 h 1729012"/>
                <a:gd name="connsiteX5391" fmla="*/ 0 w 2240198"/>
                <a:gd name="connsiteY5391" fmla="*/ 830020 h 1729012"/>
                <a:gd name="connsiteX5392" fmla="*/ 0 w 2240198"/>
                <a:gd name="connsiteY5392" fmla="*/ 817495 h 1729012"/>
                <a:gd name="connsiteX5393" fmla="*/ 0 w 2240198"/>
                <a:gd name="connsiteY5393" fmla="*/ 804899 h 1729012"/>
                <a:gd name="connsiteX5394" fmla="*/ 0 w 2240198"/>
                <a:gd name="connsiteY5394" fmla="*/ 792233 h 1729012"/>
                <a:gd name="connsiteX5395" fmla="*/ 0 w 2240198"/>
                <a:gd name="connsiteY5395" fmla="*/ 779495 h 1729012"/>
                <a:gd name="connsiteX5396" fmla="*/ 0 w 2240198"/>
                <a:gd name="connsiteY5396" fmla="*/ 766681 h 1729012"/>
                <a:gd name="connsiteX5397" fmla="*/ 0 w 2240198"/>
                <a:gd name="connsiteY5397" fmla="*/ 753795 h 1729012"/>
                <a:gd name="connsiteX5398" fmla="*/ 0 w 2240198"/>
                <a:gd name="connsiteY5398" fmla="*/ 740835 h 1729012"/>
                <a:gd name="connsiteX5399" fmla="*/ 0 w 2240198"/>
                <a:gd name="connsiteY5399" fmla="*/ 727794 h 1729012"/>
                <a:gd name="connsiteX5400" fmla="*/ 0 w 2240198"/>
                <a:gd name="connsiteY5400" fmla="*/ 714680 h 1729012"/>
                <a:gd name="connsiteX5401" fmla="*/ 3604 w 2240198"/>
                <a:gd name="connsiteY5401" fmla="*/ 715379 h 1729012"/>
                <a:gd name="connsiteX5402" fmla="*/ 15138 w 2240198"/>
                <a:gd name="connsiteY5402" fmla="*/ 716852 h 1729012"/>
                <a:gd name="connsiteX5403" fmla="*/ 26004 w 2240198"/>
                <a:gd name="connsiteY5403" fmla="*/ 715988 h 1729012"/>
                <a:gd name="connsiteX5404" fmla="*/ 46163 w 2240198"/>
                <a:gd name="connsiteY5404" fmla="*/ 720760 h 1729012"/>
                <a:gd name="connsiteX5405" fmla="*/ 58630 w 2240198"/>
                <a:gd name="connsiteY5405" fmla="*/ 729665 h 1729012"/>
                <a:gd name="connsiteX5406" fmla="*/ 68745 w 2240198"/>
                <a:gd name="connsiteY5406" fmla="*/ 734031 h 1729012"/>
                <a:gd name="connsiteX5407" fmla="*/ 72868 w 2240198"/>
                <a:gd name="connsiteY5407" fmla="*/ 737023 h 1729012"/>
                <a:gd name="connsiteX5408" fmla="*/ 79434 w 2240198"/>
                <a:gd name="connsiteY5408" fmla="*/ 739657 h 1729012"/>
                <a:gd name="connsiteX5409" fmla="*/ 94889 w 2240198"/>
                <a:gd name="connsiteY5409" fmla="*/ 745378 h 1729012"/>
                <a:gd name="connsiteX5410" fmla="*/ 99694 w 2240198"/>
                <a:gd name="connsiteY5410" fmla="*/ 745965 h 1729012"/>
                <a:gd name="connsiteX5411" fmla="*/ 108647 w 2240198"/>
                <a:gd name="connsiteY5411" fmla="*/ 748704 h 1729012"/>
                <a:gd name="connsiteX5412" fmla="*/ 114191 w 2240198"/>
                <a:gd name="connsiteY5412" fmla="*/ 748342 h 1729012"/>
                <a:gd name="connsiteX5413" fmla="*/ 123733 w 2240198"/>
                <a:gd name="connsiteY5413" fmla="*/ 749011 h 1729012"/>
                <a:gd name="connsiteX5414" fmla="*/ 130217 w 2240198"/>
                <a:gd name="connsiteY5414" fmla="*/ 751209 h 1729012"/>
                <a:gd name="connsiteX5415" fmla="*/ 143009 w 2240198"/>
                <a:gd name="connsiteY5415" fmla="*/ 757231 h 1729012"/>
                <a:gd name="connsiteX5416" fmla="*/ 145630 w 2240198"/>
                <a:gd name="connsiteY5416" fmla="*/ 757766 h 1729012"/>
                <a:gd name="connsiteX5417" fmla="*/ 146330 w 2240198"/>
                <a:gd name="connsiteY5417" fmla="*/ 757326 h 1729012"/>
                <a:gd name="connsiteX5418" fmla="*/ 141874 w 2240198"/>
                <a:gd name="connsiteY5418" fmla="*/ 751371 h 1729012"/>
                <a:gd name="connsiteX5419" fmla="*/ 141174 w 2240198"/>
                <a:gd name="connsiteY5419" fmla="*/ 750794 h 1729012"/>
                <a:gd name="connsiteX5420" fmla="*/ 136016 w 2240198"/>
                <a:gd name="connsiteY5420" fmla="*/ 748567 h 1729012"/>
                <a:gd name="connsiteX5421" fmla="*/ 129972 w 2240198"/>
                <a:gd name="connsiteY5421" fmla="*/ 747470 h 1729012"/>
                <a:gd name="connsiteX5422" fmla="*/ 129506 w 2240198"/>
                <a:gd name="connsiteY5422" fmla="*/ 747039 h 1729012"/>
                <a:gd name="connsiteX5423" fmla="*/ 128382 w 2240198"/>
                <a:gd name="connsiteY5423" fmla="*/ 744932 h 1729012"/>
                <a:gd name="connsiteX5424" fmla="*/ 128744 w 2240198"/>
                <a:gd name="connsiteY5424" fmla="*/ 744112 h 1729012"/>
                <a:gd name="connsiteX5425" fmla="*/ 130061 w 2240198"/>
                <a:gd name="connsiteY5425" fmla="*/ 743739 h 1729012"/>
                <a:gd name="connsiteX5426" fmla="*/ 134564 w 2240198"/>
                <a:gd name="connsiteY5426" fmla="*/ 743757 h 1729012"/>
                <a:gd name="connsiteX5427" fmla="*/ 137232 w 2240198"/>
                <a:gd name="connsiteY5427" fmla="*/ 743418 h 1729012"/>
                <a:gd name="connsiteX5428" fmla="*/ 137599 w 2240198"/>
                <a:gd name="connsiteY5428" fmla="*/ 742587 h 1729012"/>
                <a:gd name="connsiteX5429" fmla="*/ 135678 w 2240198"/>
                <a:gd name="connsiteY5429" fmla="*/ 742394 h 1729012"/>
                <a:gd name="connsiteX5430" fmla="*/ 133362 w 2240198"/>
                <a:gd name="connsiteY5430" fmla="*/ 741588 h 1729012"/>
                <a:gd name="connsiteX5431" fmla="*/ 130647 w 2240198"/>
                <a:gd name="connsiteY5431" fmla="*/ 740165 h 1729012"/>
                <a:gd name="connsiteX5432" fmla="*/ 129112 w 2240198"/>
                <a:gd name="connsiteY5432" fmla="*/ 738827 h 1729012"/>
                <a:gd name="connsiteX5433" fmla="*/ 134660 w 2240198"/>
                <a:gd name="connsiteY5433" fmla="*/ 729916 h 1729012"/>
                <a:gd name="connsiteX5434" fmla="*/ 136599 w 2240198"/>
                <a:gd name="connsiteY5434" fmla="*/ 730817 h 1729012"/>
                <a:gd name="connsiteX5435" fmla="*/ 139526 w 2240198"/>
                <a:gd name="connsiteY5435" fmla="*/ 728754 h 1729012"/>
                <a:gd name="connsiteX5436" fmla="*/ 144767 w 2240198"/>
                <a:gd name="connsiteY5436" fmla="*/ 730064 h 1729012"/>
                <a:gd name="connsiteX5437" fmla="*/ 145727 w 2240198"/>
                <a:gd name="connsiteY5437" fmla="*/ 729350 h 1729012"/>
                <a:gd name="connsiteX5438" fmla="*/ 146366 w 2240198"/>
                <a:gd name="connsiteY5438" fmla="*/ 724813 h 1729012"/>
                <a:gd name="connsiteX5439" fmla="*/ 147146 w 2240198"/>
                <a:gd name="connsiteY5439" fmla="*/ 723718 h 1729012"/>
                <a:gd name="connsiteX5440" fmla="*/ 148622 w 2240198"/>
                <a:gd name="connsiteY5440" fmla="*/ 722901 h 1729012"/>
                <a:gd name="connsiteX5441" fmla="*/ 155923 w 2240198"/>
                <a:gd name="connsiteY5441" fmla="*/ 722091 h 1729012"/>
                <a:gd name="connsiteX5442" fmla="*/ 165026 w 2240198"/>
                <a:gd name="connsiteY5442" fmla="*/ 722897 h 1729012"/>
                <a:gd name="connsiteX5443" fmla="*/ 165966 w 2240198"/>
                <a:gd name="connsiteY5443" fmla="*/ 722461 h 1729012"/>
                <a:gd name="connsiteX5444" fmla="*/ 165094 w 2240198"/>
                <a:gd name="connsiteY5444" fmla="*/ 719423 h 1729012"/>
                <a:gd name="connsiteX5445" fmla="*/ 164989 w 2240198"/>
                <a:gd name="connsiteY5445" fmla="*/ 718227 h 1729012"/>
                <a:gd name="connsiteX5446" fmla="*/ 165538 w 2240198"/>
                <a:gd name="connsiteY5446" fmla="*/ 715489 h 1729012"/>
                <a:gd name="connsiteX5447" fmla="*/ 166101 w 2240198"/>
                <a:gd name="connsiteY5447" fmla="*/ 714018 h 1729012"/>
                <a:gd name="connsiteX5448" fmla="*/ 167180 w 2240198"/>
                <a:gd name="connsiteY5448" fmla="*/ 713284 h 1729012"/>
                <a:gd name="connsiteX5449" fmla="*/ 171411 w 2240198"/>
                <a:gd name="connsiteY5449" fmla="*/ 713866 h 1729012"/>
                <a:gd name="connsiteX5450" fmla="*/ 172734 w 2240198"/>
                <a:gd name="connsiteY5450" fmla="*/ 715218 h 1729012"/>
                <a:gd name="connsiteX5451" fmla="*/ 174150 w 2240198"/>
                <a:gd name="connsiteY5451" fmla="*/ 717538 h 1729012"/>
                <a:gd name="connsiteX5452" fmla="*/ 175584 w 2240198"/>
                <a:gd name="connsiteY5452" fmla="*/ 718859 h 1729012"/>
                <a:gd name="connsiteX5453" fmla="*/ 180086 w 2240198"/>
                <a:gd name="connsiteY5453" fmla="*/ 720190 h 1729012"/>
                <a:gd name="connsiteX5454" fmla="*/ 180597 w 2240198"/>
                <a:gd name="connsiteY5454" fmla="*/ 721111 h 1729012"/>
                <a:gd name="connsiteX5455" fmla="*/ 178881 w 2240198"/>
                <a:gd name="connsiteY5455" fmla="*/ 724620 h 1729012"/>
                <a:gd name="connsiteX5456" fmla="*/ 177082 w 2240198"/>
                <a:gd name="connsiteY5456" fmla="*/ 726457 h 1729012"/>
                <a:gd name="connsiteX5457" fmla="*/ 173364 w 2240198"/>
                <a:gd name="connsiteY5457" fmla="*/ 731284 h 1729012"/>
                <a:gd name="connsiteX5458" fmla="*/ 173129 w 2240198"/>
                <a:gd name="connsiteY5458" fmla="*/ 732523 h 1729012"/>
                <a:gd name="connsiteX5459" fmla="*/ 178866 w 2240198"/>
                <a:gd name="connsiteY5459" fmla="*/ 730357 h 1729012"/>
                <a:gd name="connsiteX5460" fmla="*/ 185307 w 2240198"/>
                <a:gd name="connsiteY5460" fmla="*/ 727355 h 1729012"/>
                <a:gd name="connsiteX5461" fmla="*/ 190838 w 2240198"/>
                <a:gd name="connsiteY5461" fmla="*/ 725700 h 1729012"/>
                <a:gd name="connsiteX5462" fmla="*/ 195459 w 2240198"/>
                <a:gd name="connsiteY5462" fmla="*/ 725397 h 1729012"/>
                <a:gd name="connsiteX5463" fmla="*/ 198769 w 2240198"/>
                <a:gd name="connsiteY5463" fmla="*/ 724423 h 1729012"/>
                <a:gd name="connsiteX5464" fmla="*/ 200764 w 2240198"/>
                <a:gd name="connsiteY5464" fmla="*/ 722774 h 1729012"/>
                <a:gd name="connsiteX5465" fmla="*/ 202188 w 2240198"/>
                <a:gd name="connsiteY5465" fmla="*/ 721087 h 1729012"/>
                <a:gd name="connsiteX5466" fmla="*/ 205052 w 2240198"/>
                <a:gd name="connsiteY5466" fmla="*/ 715631 h 1729012"/>
                <a:gd name="connsiteX5467" fmla="*/ 206954 w 2240198"/>
                <a:gd name="connsiteY5467" fmla="*/ 714685 h 1729012"/>
                <a:gd name="connsiteX5468" fmla="*/ 214903 w 2240198"/>
                <a:gd name="connsiteY5468" fmla="*/ 715019 h 1729012"/>
                <a:gd name="connsiteX5469" fmla="*/ 216792 w 2240198"/>
                <a:gd name="connsiteY5469" fmla="*/ 714854 h 1729012"/>
                <a:gd name="connsiteX5470" fmla="*/ 218020 w 2240198"/>
                <a:gd name="connsiteY5470" fmla="*/ 714322 h 1729012"/>
                <a:gd name="connsiteX5471" fmla="*/ 217796 w 2240198"/>
                <a:gd name="connsiteY5471" fmla="*/ 713631 h 1729012"/>
                <a:gd name="connsiteX5472" fmla="*/ 216116 w 2240198"/>
                <a:gd name="connsiteY5472" fmla="*/ 712784 h 1729012"/>
                <a:gd name="connsiteX5473" fmla="*/ 213850 w 2240198"/>
                <a:gd name="connsiteY5473" fmla="*/ 712546 h 1729012"/>
                <a:gd name="connsiteX5474" fmla="*/ 213793 w 2240198"/>
                <a:gd name="connsiteY5474" fmla="*/ 712161 h 1729012"/>
                <a:gd name="connsiteX5475" fmla="*/ 214631 w 2240198"/>
                <a:gd name="connsiteY5475" fmla="*/ 711266 h 1729012"/>
                <a:gd name="connsiteX5476" fmla="*/ 215875 w 2240198"/>
                <a:gd name="connsiteY5476" fmla="*/ 710746 h 1729012"/>
                <a:gd name="connsiteX5477" fmla="*/ 219793 w 2240198"/>
                <a:gd name="connsiteY5477" fmla="*/ 710127 h 1729012"/>
                <a:gd name="connsiteX5478" fmla="*/ 222368 w 2240198"/>
                <a:gd name="connsiteY5478" fmla="*/ 712096 h 1729012"/>
                <a:gd name="connsiteX5479" fmla="*/ 224118 w 2240198"/>
                <a:gd name="connsiteY5479" fmla="*/ 712238 h 1729012"/>
                <a:gd name="connsiteX5480" fmla="*/ 229932 w 2240198"/>
                <a:gd name="connsiteY5480" fmla="*/ 710052 h 1729012"/>
                <a:gd name="connsiteX5481" fmla="*/ 238865 w 2240198"/>
                <a:gd name="connsiteY5481" fmla="*/ 704240 h 1729012"/>
                <a:gd name="connsiteX5482" fmla="*/ 242438 w 2240198"/>
                <a:gd name="connsiteY5482" fmla="*/ 702620 h 1729012"/>
                <a:gd name="connsiteX5483" fmla="*/ 245531 w 2240198"/>
                <a:gd name="connsiteY5483" fmla="*/ 702337 h 1729012"/>
                <a:gd name="connsiteX5484" fmla="*/ 248144 w 2240198"/>
                <a:gd name="connsiteY5484" fmla="*/ 703396 h 1729012"/>
                <a:gd name="connsiteX5485" fmla="*/ 250160 w 2240198"/>
                <a:gd name="connsiteY5485" fmla="*/ 703119 h 1729012"/>
                <a:gd name="connsiteX5486" fmla="*/ 252811 w 2240198"/>
                <a:gd name="connsiteY5486" fmla="*/ 699832 h 1729012"/>
                <a:gd name="connsiteX5487" fmla="*/ 253856 w 2240198"/>
                <a:gd name="connsiteY5487" fmla="*/ 698081 h 1729012"/>
                <a:gd name="connsiteX5488" fmla="*/ 255490 w 2240198"/>
                <a:gd name="connsiteY5488" fmla="*/ 696560 h 1729012"/>
                <a:gd name="connsiteX5489" fmla="*/ 262100 w 2240198"/>
                <a:gd name="connsiteY5489" fmla="*/ 693132 h 1729012"/>
                <a:gd name="connsiteX5490" fmla="*/ 266336 w 2240198"/>
                <a:gd name="connsiteY5490" fmla="*/ 692400 h 1729012"/>
                <a:gd name="connsiteX5491" fmla="*/ 268923 w 2240198"/>
                <a:gd name="connsiteY5491" fmla="*/ 693033 h 1729012"/>
                <a:gd name="connsiteX5492" fmla="*/ 272003 w 2240198"/>
                <a:gd name="connsiteY5492" fmla="*/ 694453 h 1729012"/>
                <a:gd name="connsiteX5493" fmla="*/ 274538 w 2240198"/>
                <a:gd name="connsiteY5493" fmla="*/ 695004 h 1729012"/>
                <a:gd name="connsiteX5494" fmla="*/ 277876 w 2240198"/>
                <a:gd name="connsiteY5494" fmla="*/ 694586 h 1729012"/>
                <a:gd name="connsiteX5495" fmla="*/ 280369 w 2240198"/>
                <a:gd name="connsiteY5495" fmla="*/ 694775 h 1729012"/>
                <a:gd name="connsiteX5496" fmla="*/ 281559 w 2240198"/>
                <a:gd name="connsiteY5496" fmla="*/ 694083 h 1729012"/>
                <a:gd name="connsiteX5497" fmla="*/ 285818 w 2240198"/>
                <a:gd name="connsiteY5497" fmla="*/ 690174 h 1729012"/>
                <a:gd name="connsiteX5498" fmla="*/ 287199 w 2240198"/>
                <a:gd name="connsiteY5498" fmla="*/ 690134 h 1729012"/>
                <a:gd name="connsiteX5499" fmla="*/ 288534 w 2240198"/>
                <a:gd name="connsiteY5499" fmla="*/ 691287 h 1729012"/>
                <a:gd name="connsiteX5500" fmla="*/ 290678 w 2240198"/>
                <a:gd name="connsiteY5500" fmla="*/ 694128 h 1729012"/>
                <a:gd name="connsiteX5501" fmla="*/ 290685 w 2240198"/>
                <a:gd name="connsiteY5501" fmla="*/ 695546 h 1729012"/>
                <a:gd name="connsiteX5502" fmla="*/ 287893 w 2240198"/>
                <a:gd name="connsiteY5502" fmla="*/ 699004 h 1729012"/>
                <a:gd name="connsiteX5503" fmla="*/ 267340 w 2240198"/>
                <a:gd name="connsiteY5503" fmla="*/ 708855 h 1729012"/>
                <a:gd name="connsiteX5504" fmla="*/ 261008 w 2240198"/>
                <a:gd name="connsiteY5504" fmla="*/ 713095 h 1729012"/>
                <a:gd name="connsiteX5505" fmla="*/ 257876 w 2240198"/>
                <a:gd name="connsiteY5505" fmla="*/ 714649 h 1729012"/>
                <a:gd name="connsiteX5506" fmla="*/ 254630 w 2240198"/>
                <a:gd name="connsiteY5506" fmla="*/ 715523 h 1729012"/>
                <a:gd name="connsiteX5507" fmla="*/ 248345 w 2240198"/>
                <a:gd name="connsiteY5507" fmla="*/ 716256 h 1729012"/>
                <a:gd name="connsiteX5508" fmla="*/ 245850 w 2240198"/>
                <a:gd name="connsiteY5508" fmla="*/ 717116 h 1729012"/>
                <a:gd name="connsiteX5509" fmla="*/ 241626 w 2240198"/>
                <a:gd name="connsiteY5509" fmla="*/ 717887 h 1729012"/>
                <a:gd name="connsiteX5510" fmla="*/ 231740 w 2240198"/>
                <a:gd name="connsiteY5510" fmla="*/ 719241 h 1729012"/>
                <a:gd name="connsiteX5511" fmla="*/ 229839 w 2240198"/>
                <a:gd name="connsiteY5511" fmla="*/ 719899 h 1729012"/>
                <a:gd name="connsiteX5512" fmla="*/ 228547 w 2240198"/>
                <a:gd name="connsiteY5512" fmla="*/ 720666 h 1729012"/>
                <a:gd name="connsiteX5513" fmla="*/ 224996 w 2240198"/>
                <a:gd name="connsiteY5513" fmla="*/ 725836 h 1729012"/>
                <a:gd name="connsiteX5514" fmla="*/ 223271 w 2240198"/>
                <a:gd name="connsiteY5514" fmla="*/ 727521 h 1729012"/>
                <a:gd name="connsiteX5515" fmla="*/ 219875 w 2240198"/>
                <a:gd name="connsiteY5515" fmla="*/ 730060 h 1729012"/>
                <a:gd name="connsiteX5516" fmla="*/ 216060 w 2240198"/>
                <a:gd name="connsiteY5516" fmla="*/ 731615 h 1729012"/>
                <a:gd name="connsiteX5517" fmla="*/ 210848 w 2240198"/>
                <a:gd name="connsiteY5517" fmla="*/ 732209 h 1729012"/>
                <a:gd name="connsiteX5518" fmla="*/ 207533 w 2240198"/>
                <a:gd name="connsiteY5518" fmla="*/ 734624 h 1729012"/>
                <a:gd name="connsiteX5519" fmla="*/ 203717 w 2240198"/>
                <a:gd name="connsiteY5519" fmla="*/ 739274 h 1729012"/>
                <a:gd name="connsiteX5520" fmla="*/ 200637 w 2240198"/>
                <a:gd name="connsiteY5520" fmla="*/ 742507 h 1729012"/>
                <a:gd name="connsiteX5521" fmla="*/ 197119 w 2240198"/>
                <a:gd name="connsiteY5521" fmla="*/ 745244 h 1729012"/>
                <a:gd name="connsiteX5522" fmla="*/ 193297 w 2240198"/>
                <a:gd name="connsiteY5522" fmla="*/ 748814 h 1729012"/>
                <a:gd name="connsiteX5523" fmla="*/ 192299 w 2240198"/>
                <a:gd name="connsiteY5523" fmla="*/ 750692 h 1729012"/>
                <a:gd name="connsiteX5524" fmla="*/ 193438 w 2240198"/>
                <a:gd name="connsiteY5524" fmla="*/ 753163 h 1729012"/>
                <a:gd name="connsiteX5525" fmla="*/ 194072 w 2240198"/>
                <a:gd name="connsiteY5525" fmla="*/ 753985 h 1729012"/>
                <a:gd name="connsiteX5526" fmla="*/ 197914 w 2240198"/>
                <a:gd name="connsiteY5526" fmla="*/ 755313 h 1729012"/>
                <a:gd name="connsiteX5527" fmla="*/ 199405 w 2240198"/>
                <a:gd name="connsiteY5527" fmla="*/ 755015 h 1729012"/>
                <a:gd name="connsiteX5528" fmla="*/ 198032 w 2240198"/>
                <a:gd name="connsiteY5528" fmla="*/ 753692 h 1729012"/>
                <a:gd name="connsiteX5529" fmla="*/ 194803 w 2240198"/>
                <a:gd name="connsiteY5529" fmla="*/ 751780 h 1729012"/>
                <a:gd name="connsiteX5530" fmla="*/ 194369 w 2240198"/>
                <a:gd name="connsiteY5530" fmla="*/ 751092 h 1729012"/>
                <a:gd name="connsiteX5531" fmla="*/ 195197 w 2240198"/>
                <a:gd name="connsiteY5531" fmla="*/ 750553 h 1729012"/>
                <a:gd name="connsiteX5532" fmla="*/ 210360 w 2240198"/>
                <a:gd name="connsiteY5532" fmla="*/ 751994 h 1729012"/>
                <a:gd name="connsiteX5533" fmla="*/ 213615 w 2240198"/>
                <a:gd name="connsiteY5533" fmla="*/ 750536 h 1729012"/>
                <a:gd name="connsiteX5534" fmla="*/ 214755 w 2240198"/>
                <a:gd name="connsiteY5534" fmla="*/ 749303 h 1729012"/>
                <a:gd name="connsiteX5535" fmla="*/ 214512 w 2240198"/>
                <a:gd name="connsiteY5535" fmla="*/ 748669 h 1729012"/>
                <a:gd name="connsiteX5536" fmla="*/ 210402 w 2240198"/>
                <a:gd name="connsiteY5536" fmla="*/ 748405 h 1729012"/>
                <a:gd name="connsiteX5537" fmla="*/ 209520 w 2240198"/>
                <a:gd name="connsiteY5537" fmla="*/ 747227 h 1729012"/>
                <a:gd name="connsiteX5538" fmla="*/ 208871 w 2240198"/>
                <a:gd name="connsiteY5538" fmla="*/ 745008 h 1729012"/>
                <a:gd name="connsiteX5539" fmla="*/ 208735 w 2240198"/>
                <a:gd name="connsiteY5539" fmla="*/ 743244 h 1729012"/>
                <a:gd name="connsiteX5540" fmla="*/ 209106 w 2240198"/>
                <a:gd name="connsiteY5540" fmla="*/ 741936 h 1729012"/>
                <a:gd name="connsiteX5541" fmla="*/ 210032 w 2240198"/>
                <a:gd name="connsiteY5541" fmla="*/ 740264 h 1729012"/>
                <a:gd name="connsiteX5542" fmla="*/ 214439 w 2240198"/>
                <a:gd name="connsiteY5542" fmla="*/ 737528 h 1729012"/>
                <a:gd name="connsiteX5543" fmla="*/ 219183 w 2240198"/>
                <a:gd name="connsiteY5543" fmla="*/ 736355 h 1729012"/>
                <a:gd name="connsiteX5544" fmla="*/ 222836 w 2240198"/>
                <a:gd name="connsiteY5544" fmla="*/ 734807 h 1729012"/>
                <a:gd name="connsiteX5545" fmla="*/ 224854 w 2240198"/>
                <a:gd name="connsiteY5545" fmla="*/ 733342 h 1729012"/>
                <a:gd name="connsiteX5546" fmla="*/ 230300 w 2240198"/>
                <a:gd name="connsiteY5546" fmla="*/ 730839 h 1729012"/>
                <a:gd name="connsiteX5547" fmla="*/ 232486 w 2240198"/>
                <a:gd name="connsiteY5547" fmla="*/ 728807 h 1729012"/>
                <a:gd name="connsiteX5548" fmla="*/ 233664 w 2240198"/>
                <a:gd name="connsiteY5548" fmla="*/ 727227 h 1729012"/>
                <a:gd name="connsiteX5549" fmla="*/ 233814 w 2240198"/>
                <a:gd name="connsiteY5549" fmla="*/ 726440 h 1729012"/>
                <a:gd name="connsiteX5550" fmla="*/ 232822 w 2240198"/>
                <a:gd name="connsiteY5550" fmla="*/ 725869 h 1729012"/>
                <a:gd name="connsiteX5551" fmla="*/ 233628 w 2240198"/>
                <a:gd name="connsiteY5551" fmla="*/ 724508 h 1729012"/>
                <a:gd name="connsiteX5552" fmla="*/ 237598 w 2240198"/>
                <a:gd name="connsiteY5552" fmla="*/ 723293 h 1729012"/>
                <a:gd name="connsiteX5553" fmla="*/ 239344 w 2240198"/>
                <a:gd name="connsiteY5553" fmla="*/ 723190 h 1729012"/>
                <a:gd name="connsiteX5554" fmla="*/ 244923 w 2240198"/>
                <a:gd name="connsiteY5554" fmla="*/ 724355 h 1729012"/>
                <a:gd name="connsiteX5555" fmla="*/ 245934 w 2240198"/>
                <a:gd name="connsiteY5555" fmla="*/ 725265 h 1729012"/>
                <a:gd name="connsiteX5556" fmla="*/ 245385 w 2240198"/>
                <a:gd name="connsiteY5556" fmla="*/ 727678 h 1729012"/>
                <a:gd name="connsiteX5557" fmla="*/ 246166 w 2240198"/>
                <a:gd name="connsiteY5557" fmla="*/ 727565 h 1729012"/>
                <a:gd name="connsiteX5558" fmla="*/ 248317 w 2240198"/>
                <a:gd name="connsiteY5558" fmla="*/ 724500 h 1729012"/>
                <a:gd name="connsiteX5559" fmla="*/ 249518 w 2240198"/>
                <a:gd name="connsiteY5559" fmla="*/ 723477 h 1729012"/>
                <a:gd name="connsiteX5560" fmla="*/ 250756 w 2240198"/>
                <a:gd name="connsiteY5560" fmla="*/ 723275 h 1729012"/>
                <a:gd name="connsiteX5561" fmla="*/ 252010 w 2240198"/>
                <a:gd name="connsiteY5561" fmla="*/ 723670 h 1729012"/>
                <a:gd name="connsiteX5562" fmla="*/ 253278 w 2240198"/>
                <a:gd name="connsiteY5562" fmla="*/ 724655 h 1729012"/>
                <a:gd name="connsiteX5563" fmla="*/ 253966 w 2240198"/>
                <a:gd name="connsiteY5563" fmla="*/ 727603 h 1729012"/>
                <a:gd name="connsiteX5564" fmla="*/ 254075 w 2240198"/>
                <a:gd name="connsiteY5564" fmla="*/ 732503 h 1729012"/>
                <a:gd name="connsiteX5565" fmla="*/ 254362 w 2240198"/>
                <a:gd name="connsiteY5565" fmla="*/ 734476 h 1729012"/>
                <a:gd name="connsiteX5566" fmla="*/ 255790 w 2240198"/>
                <a:gd name="connsiteY5566" fmla="*/ 731092 h 1729012"/>
                <a:gd name="connsiteX5567" fmla="*/ 256787 w 2240198"/>
                <a:gd name="connsiteY5567" fmla="*/ 729520 h 1729012"/>
                <a:gd name="connsiteX5568" fmla="*/ 262221 w 2240198"/>
                <a:gd name="connsiteY5568" fmla="*/ 722297 h 1729012"/>
                <a:gd name="connsiteX5569" fmla="*/ 265891 w 2240198"/>
                <a:gd name="connsiteY5569" fmla="*/ 718328 h 1729012"/>
                <a:gd name="connsiteX5570" fmla="*/ 270009 w 2240198"/>
                <a:gd name="connsiteY5570" fmla="*/ 714453 h 1729012"/>
                <a:gd name="connsiteX5571" fmla="*/ 275992 w 2240198"/>
                <a:gd name="connsiteY5571" fmla="*/ 711558 h 1729012"/>
                <a:gd name="connsiteX5572" fmla="*/ 289824 w 2240198"/>
                <a:gd name="connsiteY5572" fmla="*/ 706745 h 1729012"/>
                <a:gd name="connsiteX5573" fmla="*/ 297616 w 2240198"/>
                <a:gd name="connsiteY5573" fmla="*/ 705448 h 1729012"/>
                <a:gd name="connsiteX5574" fmla="*/ 301564 w 2240198"/>
                <a:gd name="connsiteY5574" fmla="*/ 704249 h 1729012"/>
                <a:gd name="connsiteX5575" fmla="*/ 303496 w 2240198"/>
                <a:gd name="connsiteY5575" fmla="*/ 703206 h 1729012"/>
                <a:gd name="connsiteX5576" fmla="*/ 304728 w 2240198"/>
                <a:gd name="connsiteY5576" fmla="*/ 701917 h 1729012"/>
                <a:gd name="connsiteX5577" fmla="*/ 306894 w 2240198"/>
                <a:gd name="connsiteY5577" fmla="*/ 700436 h 1729012"/>
                <a:gd name="connsiteX5578" fmla="*/ 307279 w 2240198"/>
                <a:gd name="connsiteY5578" fmla="*/ 700557 h 1729012"/>
                <a:gd name="connsiteX5579" fmla="*/ 306441 w 2240198"/>
                <a:gd name="connsiteY5579" fmla="*/ 703663 h 1729012"/>
                <a:gd name="connsiteX5580" fmla="*/ 305887 w 2240198"/>
                <a:gd name="connsiteY5580" fmla="*/ 704563 h 1729012"/>
                <a:gd name="connsiteX5581" fmla="*/ 300823 w 2240198"/>
                <a:gd name="connsiteY5581" fmla="*/ 706483 h 1729012"/>
                <a:gd name="connsiteX5582" fmla="*/ 300327 w 2240198"/>
                <a:gd name="connsiteY5582" fmla="*/ 707948 h 1729012"/>
                <a:gd name="connsiteX5583" fmla="*/ 300876 w 2240198"/>
                <a:gd name="connsiteY5583" fmla="*/ 710207 h 1729012"/>
                <a:gd name="connsiteX5584" fmla="*/ 301752 w 2240198"/>
                <a:gd name="connsiteY5584" fmla="*/ 711694 h 1729012"/>
                <a:gd name="connsiteX5585" fmla="*/ 302953 w 2240198"/>
                <a:gd name="connsiteY5585" fmla="*/ 712415 h 1729012"/>
                <a:gd name="connsiteX5586" fmla="*/ 305055 w 2240198"/>
                <a:gd name="connsiteY5586" fmla="*/ 711904 h 1729012"/>
                <a:gd name="connsiteX5587" fmla="*/ 308058 w 2240198"/>
                <a:gd name="connsiteY5587" fmla="*/ 710162 h 1729012"/>
                <a:gd name="connsiteX5588" fmla="*/ 311797 w 2240198"/>
                <a:gd name="connsiteY5588" fmla="*/ 707493 h 1729012"/>
                <a:gd name="connsiteX5589" fmla="*/ 319881 w 2240198"/>
                <a:gd name="connsiteY5589" fmla="*/ 700708 h 1729012"/>
                <a:gd name="connsiteX5590" fmla="*/ 320580 w 2240198"/>
                <a:gd name="connsiteY5590" fmla="*/ 699463 h 1729012"/>
                <a:gd name="connsiteX5591" fmla="*/ 322622 w 2240198"/>
                <a:gd name="connsiteY5591" fmla="*/ 693994 h 1729012"/>
                <a:gd name="connsiteX5592" fmla="*/ 327256 w 2240198"/>
                <a:gd name="connsiteY5592" fmla="*/ 691574 h 1729012"/>
                <a:gd name="connsiteX5593" fmla="*/ 335647 w 2240198"/>
                <a:gd name="connsiteY5593" fmla="*/ 688817 h 1729012"/>
                <a:gd name="connsiteX5594" fmla="*/ 337705 w 2240198"/>
                <a:gd name="connsiteY5594" fmla="*/ 687064 h 1729012"/>
                <a:gd name="connsiteX5595" fmla="*/ 330345 w 2240198"/>
                <a:gd name="connsiteY5595" fmla="*/ 685579 h 1729012"/>
                <a:gd name="connsiteX5596" fmla="*/ 328820 w 2240198"/>
                <a:gd name="connsiteY5596" fmla="*/ 684556 h 1729012"/>
                <a:gd name="connsiteX5597" fmla="*/ 328580 w 2240198"/>
                <a:gd name="connsiteY5597" fmla="*/ 683943 h 1729012"/>
                <a:gd name="connsiteX5598" fmla="*/ 329968 w 2240198"/>
                <a:gd name="connsiteY5598" fmla="*/ 682373 h 1729012"/>
                <a:gd name="connsiteX5599" fmla="*/ 326606 w 2240198"/>
                <a:gd name="connsiteY5599" fmla="*/ 680809 h 1729012"/>
                <a:gd name="connsiteX5600" fmla="*/ 325373 w 2240198"/>
                <a:gd name="connsiteY5600" fmla="*/ 679844 h 1729012"/>
                <a:gd name="connsiteX5601" fmla="*/ 325426 w 2240198"/>
                <a:gd name="connsiteY5601" fmla="*/ 677037 h 1729012"/>
                <a:gd name="connsiteX5602" fmla="*/ 326459 w 2240198"/>
                <a:gd name="connsiteY5602" fmla="*/ 675019 h 1729012"/>
                <a:gd name="connsiteX5603" fmla="*/ 328661 w 2240198"/>
                <a:gd name="connsiteY5603" fmla="*/ 673066 h 1729012"/>
                <a:gd name="connsiteX5604" fmla="*/ 329915 w 2240198"/>
                <a:gd name="connsiteY5604" fmla="*/ 672725 h 1729012"/>
                <a:gd name="connsiteX5605" fmla="*/ 333196 w 2240198"/>
                <a:gd name="connsiteY5605" fmla="*/ 673862 h 1729012"/>
                <a:gd name="connsiteX5606" fmla="*/ 335954 w 2240198"/>
                <a:gd name="connsiteY5606" fmla="*/ 675325 h 1729012"/>
                <a:gd name="connsiteX5607" fmla="*/ 345488 w 2240198"/>
                <a:gd name="connsiteY5607" fmla="*/ 682117 h 1729012"/>
                <a:gd name="connsiteX5608" fmla="*/ 349313 w 2240198"/>
                <a:gd name="connsiteY5608" fmla="*/ 685431 h 1729012"/>
                <a:gd name="connsiteX5609" fmla="*/ 351532 w 2240198"/>
                <a:gd name="connsiteY5609" fmla="*/ 688022 h 1729012"/>
                <a:gd name="connsiteX5610" fmla="*/ 356900 w 2240198"/>
                <a:gd name="connsiteY5610" fmla="*/ 696101 h 1729012"/>
                <a:gd name="connsiteX5611" fmla="*/ 359266 w 2240198"/>
                <a:gd name="connsiteY5611" fmla="*/ 700756 h 1729012"/>
                <a:gd name="connsiteX5612" fmla="*/ 361162 w 2240198"/>
                <a:gd name="connsiteY5612" fmla="*/ 705540 h 1729012"/>
                <a:gd name="connsiteX5613" fmla="*/ 363033 w 2240198"/>
                <a:gd name="connsiteY5613" fmla="*/ 708986 h 1729012"/>
                <a:gd name="connsiteX5614" fmla="*/ 364878 w 2240198"/>
                <a:gd name="connsiteY5614" fmla="*/ 711096 h 1729012"/>
                <a:gd name="connsiteX5615" fmla="*/ 374049 w 2240198"/>
                <a:gd name="connsiteY5615" fmla="*/ 719426 h 1729012"/>
                <a:gd name="connsiteX5616" fmla="*/ 378782 w 2240198"/>
                <a:gd name="connsiteY5616" fmla="*/ 722935 h 1729012"/>
                <a:gd name="connsiteX5617" fmla="*/ 382747 w 2240198"/>
                <a:gd name="connsiteY5617" fmla="*/ 725110 h 1729012"/>
                <a:gd name="connsiteX5618" fmla="*/ 387302 w 2240198"/>
                <a:gd name="connsiteY5618" fmla="*/ 726838 h 1729012"/>
                <a:gd name="connsiteX5619" fmla="*/ 392446 w 2240198"/>
                <a:gd name="connsiteY5619" fmla="*/ 728110 h 1729012"/>
                <a:gd name="connsiteX5620" fmla="*/ 395949 w 2240198"/>
                <a:gd name="connsiteY5620" fmla="*/ 728214 h 1729012"/>
                <a:gd name="connsiteX5621" fmla="*/ 401398 w 2240198"/>
                <a:gd name="connsiteY5621" fmla="*/ 724688 h 1729012"/>
                <a:gd name="connsiteX5622" fmla="*/ 401526 w 2240198"/>
                <a:gd name="connsiteY5622" fmla="*/ 722365 h 1729012"/>
                <a:gd name="connsiteX5623" fmla="*/ 399123 w 2240198"/>
                <a:gd name="connsiteY5623" fmla="*/ 718486 h 1729012"/>
                <a:gd name="connsiteX5624" fmla="*/ 396706 w 2240198"/>
                <a:gd name="connsiteY5624" fmla="*/ 715796 h 1729012"/>
                <a:gd name="connsiteX5625" fmla="*/ 396995 w 2240198"/>
                <a:gd name="connsiteY5625" fmla="*/ 714154 h 1729012"/>
                <a:gd name="connsiteX5626" fmla="*/ 400193 w 2240198"/>
                <a:gd name="connsiteY5626" fmla="*/ 711003 h 1729012"/>
                <a:gd name="connsiteX5627" fmla="*/ 399978 w 2240198"/>
                <a:gd name="connsiteY5627" fmla="*/ 709904 h 1729012"/>
                <a:gd name="connsiteX5628" fmla="*/ 400655 w 2240198"/>
                <a:gd name="connsiteY5628" fmla="*/ 706650 h 1729012"/>
                <a:gd name="connsiteX5629" fmla="*/ 402865 w 2240198"/>
                <a:gd name="connsiteY5629" fmla="*/ 707273 h 1729012"/>
                <a:gd name="connsiteX5630" fmla="*/ 403738 w 2240198"/>
                <a:gd name="connsiteY5630" fmla="*/ 707146 h 1729012"/>
                <a:gd name="connsiteX5631" fmla="*/ 404970 w 2240198"/>
                <a:gd name="connsiteY5631" fmla="*/ 705950 h 1729012"/>
                <a:gd name="connsiteX5632" fmla="*/ 406561 w 2240198"/>
                <a:gd name="connsiteY5632" fmla="*/ 703686 h 1729012"/>
                <a:gd name="connsiteX5633" fmla="*/ 408567 w 2240198"/>
                <a:gd name="connsiteY5633" fmla="*/ 701811 h 1729012"/>
                <a:gd name="connsiteX5634" fmla="*/ 410988 w 2240198"/>
                <a:gd name="connsiteY5634" fmla="*/ 700329 h 1729012"/>
                <a:gd name="connsiteX5635" fmla="*/ 411641 w 2240198"/>
                <a:gd name="connsiteY5635" fmla="*/ 699353 h 1729012"/>
                <a:gd name="connsiteX5636" fmla="*/ 409241 w 2240198"/>
                <a:gd name="connsiteY5636" fmla="*/ 698652 h 1729012"/>
                <a:gd name="connsiteX5637" fmla="*/ 407784 w 2240198"/>
                <a:gd name="connsiteY5637" fmla="*/ 698649 h 1729012"/>
                <a:gd name="connsiteX5638" fmla="*/ 406704 w 2240198"/>
                <a:gd name="connsiteY5638" fmla="*/ 698331 h 1729012"/>
                <a:gd name="connsiteX5639" fmla="*/ 406000 w 2240198"/>
                <a:gd name="connsiteY5639" fmla="*/ 697695 h 1729012"/>
                <a:gd name="connsiteX5640" fmla="*/ 406962 w 2240198"/>
                <a:gd name="connsiteY5640" fmla="*/ 697008 h 1729012"/>
                <a:gd name="connsiteX5641" fmla="*/ 412219 w 2240198"/>
                <a:gd name="connsiteY5641" fmla="*/ 695263 h 1729012"/>
                <a:gd name="connsiteX5642" fmla="*/ 413203 w 2240198"/>
                <a:gd name="connsiteY5642" fmla="*/ 693590 h 1729012"/>
                <a:gd name="connsiteX5643" fmla="*/ 414886 w 2240198"/>
                <a:gd name="connsiteY5643" fmla="*/ 692478 h 1729012"/>
                <a:gd name="connsiteX5644" fmla="*/ 417038 w 2240198"/>
                <a:gd name="connsiteY5644" fmla="*/ 692034 h 1729012"/>
                <a:gd name="connsiteX5645" fmla="*/ 418369 w 2240198"/>
                <a:gd name="connsiteY5645" fmla="*/ 692494 h 1729012"/>
                <a:gd name="connsiteX5646" fmla="*/ 419842 w 2240198"/>
                <a:gd name="connsiteY5646" fmla="*/ 693881 h 1729012"/>
                <a:gd name="connsiteX5647" fmla="*/ 419918 w 2240198"/>
                <a:gd name="connsiteY5647" fmla="*/ 696092 h 1729012"/>
                <a:gd name="connsiteX5648" fmla="*/ 419267 w 2240198"/>
                <a:gd name="connsiteY5648" fmla="*/ 699692 h 1729012"/>
                <a:gd name="connsiteX5649" fmla="*/ 419146 w 2240198"/>
                <a:gd name="connsiteY5649" fmla="*/ 702594 h 1729012"/>
                <a:gd name="connsiteX5650" fmla="*/ 420794 w 2240198"/>
                <a:gd name="connsiteY5650" fmla="*/ 709422 h 1729012"/>
                <a:gd name="connsiteX5651" fmla="*/ 422254 w 2240198"/>
                <a:gd name="connsiteY5651" fmla="*/ 710907 h 1729012"/>
                <a:gd name="connsiteX5652" fmla="*/ 427953 w 2240198"/>
                <a:gd name="connsiteY5652" fmla="*/ 712914 h 1729012"/>
                <a:gd name="connsiteX5653" fmla="*/ 427601 w 2240198"/>
                <a:gd name="connsiteY5653" fmla="*/ 714571 h 1729012"/>
                <a:gd name="connsiteX5654" fmla="*/ 421011 w 2240198"/>
                <a:gd name="connsiteY5654" fmla="*/ 721734 h 1729012"/>
                <a:gd name="connsiteX5655" fmla="*/ 419604 w 2240198"/>
                <a:gd name="connsiteY5655" fmla="*/ 723484 h 1729012"/>
                <a:gd name="connsiteX5656" fmla="*/ 418908 w 2240198"/>
                <a:gd name="connsiteY5656" fmla="*/ 724814 h 1729012"/>
                <a:gd name="connsiteX5657" fmla="*/ 419143 w 2240198"/>
                <a:gd name="connsiteY5657" fmla="*/ 725939 h 1729012"/>
                <a:gd name="connsiteX5658" fmla="*/ 420307 w 2240198"/>
                <a:gd name="connsiteY5658" fmla="*/ 726862 h 1729012"/>
                <a:gd name="connsiteX5659" fmla="*/ 422539 w 2240198"/>
                <a:gd name="connsiteY5659" fmla="*/ 727516 h 1729012"/>
                <a:gd name="connsiteX5660" fmla="*/ 428280 w 2240198"/>
                <a:gd name="connsiteY5660" fmla="*/ 727782 h 1729012"/>
                <a:gd name="connsiteX5661" fmla="*/ 429853 w 2240198"/>
                <a:gd name="connsiteY5661" fmla="*/ 727157 h 1729012"/>
                <a:gd name="connsiteX5662" fmla="*/ 441023 w 2240198"/>
                <a:gd name="connsiteY5662" fmla="*/ 726951 h 1729012"/>
                <a:gd name="connsiteX5663" fmla="*/ 443070 w 2240198"/>
                <a:gd name="connsiteY5663" fmla="*/ 726417 h 1729012"/>
                <a:gd name="connsiteX5664" fmla="*/ 444794 w 2240198"/>
                <a:gd name="connsiteY5664" fmla="*/ 725044 h 1729012"/>
                <a:gd name="connsiteX5665" fmla="*/ 447304 w 2240198"/>
                <a:gd name="connsiteY5665" fmla="*/ 721609 h 1729012"/>
                <a:gd name="connsiteX5666" fmla="*/ 450156 w 2240198"/>
                <a:gd name="connsiteY5666" fmla="*/ 720559 h 1729012"/>
                <a:gd name="connsiteX5667" fmla="*/ 451050 w 2240198"/>
                <a:gd name="connsiteY5667" fmla="*/ 719594 h 1729012"/>
                <a:gd name="connsiteX5668" fmla="*/ 452805 w 2240198"/>
                <a:gd name="connsiteY5668" fmla="*/ 715504 h 1729012"/>
                <a:gd name="connsiteX5669" fmla="*/ 453669 w 2240198"/>
                <a:gd name="connsiteY5669" fmla="*/ 710744 h 1729012"/>
                <a:gd name="connsiteX5670" fmla="*/ 454526 w 2240198"/>
                <a:gd name="connsiteY5670" fmla="*/ 708743 h 1729012"/>
                <a:gd name="connsiteX5671" fmla="*/ 455815 w 2240198"/>
                <a:gd name="connsiteY5671" fmla="*/ 707500 h 1729012"/>
                <a:gd name="connsiteX5672" fmla="*/ 457567 w 2240198"/>
                <a:gd name="connsiteY5672" fmla="*/ 707101 h 1729012"/>
                <a:gd name="connsiteX5673" fmla="*/ 461911 w 2240198"/>
                <a:gd name="connsiteY5673" fmla="*/ 707571 h 1729012"/>
                <a:gd name="connsiteX5674" fmla="*/ 463952 w 2240198"/>
                <a:gd name="connsiteY5674" fmla="*/ 707167 h 1729012"/>
                <a:gd name="connsiteX5675" fmla="*/ 472000 w 2240198"/>
                <a:gd name="connsiteY5675" fmla="*/ 707571 h 1729012"/>
                <a:gd name="connsiteX5676" fmla="*/ 480048 w 2240198"/>
                <a:gd name="connsiteY5676" fmla="*/ 707222 h 1729012"/>
                <a:gd name="connsiteX5677" fmla="*/ 488371 w 2240198"/>
                <a:gd name="connsiteY5677" fmla="*/ 708064 h 1729012"/>
                <a:gd name="connsiteX5678" fmla="*/ 493715 w 2240198"/>
                <a:gd name="connsiteY5678" fmla="*/ 709045 h 1729012"/>
                <a:gd name="connsiteX5679" fmla="*/ 498656 w 2240198"/>
                <a:gd name="connsiteY5679" fmla="*/ 710589 h 1729012"/>
                <a:gd name="connsiteX5680" fmla="*/ 508134 w 2240198"/>
                <a:gd name="connsiteY5680" fmla="*/ 714247 h 1729012"/>
                <a:gd name="connsiteX5681" fmla="*/ 511881 w 2240198"/>
                <a:gd name="connsiteY5681" fmla="*/ 716207 h 1729012"/>
                <a:gd name="connsiteX5682" fmla="*/ 525120 w 2240198"/>
                <a:gd name="connsiteY5682" fmla="*/ 725020 h 1729012"/>
                <a:gd name="connsiteX5683" fmla="*/ 528988 w 2240198"/>
                <a:gd name="connsiteY5683" fmla="*/ 726812 h 1729012"/>
                <a:gd name="connsiteX5684" fmla="*/ 536270 w 2240198"/>
                <a:gd name="connsiteY5684" fmla="*/ 728522 h 1729012"/>
                <a:gd name="connsiteX5685" fmla="*/ 561223 w 2240198"/>
                <a:gd name="connsiteY5685" fmla="*/ 732328 h 1729012"/>
                <a:gd name="connsiteX5686" fmla="*/ 564363 w 2240198"/>
                <a:gd name="connsiteY5686" fmla="*/ 733351 h 1729012"/>
                <a:gd name="connsiteX5687" fmla="*/ 570937 w 2240198"/>
                <a:gd name="connsiteY5687" fmla="*/ 737338 h 1729012"/>
                <a:gd name="connsiteX5688" fmla="*/ 575467 w 2240198"/>
                <a:gd name="connsiteY5688" fmla="*/ 739662 h 1729012"/>
                <a:gd name="connsiteX5689" fmla="*/ 580837 w 2240198"/>
                <a:gd name="connsiteY5689" fmla="*/ 741877 h 1729012"/>
                <a:gd name="connsiteX5690" fmla="*/ 587553 w 2240198"/>
                <a:gd name="connsiteY5690" fmla="*/ 743789 h 1729012"/>
                <a:gd name="connsiteX5691" fmla="*/ 600714 w 2240198"/>
                <a:gd name="connsiteY5691" fmla="*/ 746675 h 1729012"/>
                <a:gd name="connsiteX5692" fmla="*/ 602853 w 2240198"/>
                <a:gd name="connsiteY5692" fmla="*/ 747628 h 1729012"/>
                <a:gd name="connsiteX5693" fmla="*/ 605267 w 2240198"/>
                <a:gd name="connsiteY5693" fmla="*/ 747907 h 1729012"/>
                <a:gd name="connsiteX5694" fmla="*/ 607955 w 2240198"/>
                <a:gd name="connsiteY5694" fmla="*/ 747514 h 1729012"/>
                <a:gd name="connsiteX5695" fmla="*/ 620019 w 2240198"/>
                <a:gd name="connsiteY5695" fmla="*/ 749162 h 1729012"/>
                <a:gd name="connsiteX5696" fmla="*/ 623198 w 2240198"/>
                <a:gd name="connsiteY5696" fmla="*/ 749083 h 1729012"/>
                <a:gd name="connsiteX5697" fmla="*/ 625492 w 2240198"/>
                <a:gd name="connsiteY5697" fmla="*/ 749392 h 1729012"/>
                <a:gd name="connsiteX5698" fmla="*/ 628317 w 2240198"/>
                <a:gd name="connsiteY5698" fmla="*/ 750580 h 1729012"/>
                <a:gd name="connsiteX5699" fmla="*/ 632455 w 2240198"/>
                <a:gd name="connsiteY5699" fmla="*/ 751014 h 1729012"/>
                <a:gd name="connsiteX5700" fmla="*/ 632310 w 2240198"/>
                <a:gd name="connsiteY5700" fmla="*/ 750199 h 1729012"/>
                <a:gd name="connsiteX5701" fmla="*/ 627584 w 2240198"/>
                <a:gd name="connsiteY5701" fmla="*/ 745654 h 1729012"/>
                <a:gd name="connsiteX5702" fmla="*/ 627792 w 2240198"/>
                <a:gd name="connsiteY5702" fmla="*/ 744937 h 1729012"/>
                <a:gd name="connsiteX5703" fmla="*/ 629735 w 2240198"/>
                <a:gd name="connsiteY5703" fmla="*/ 744880 h 1729012"/>
                <a:gd name="connsiteX5704" fmla="*/ 635585 w 2240198"/>
                <a:gd name="connsiteY5704" fmla="*/ 745645 h 1729012"/>
                <a:gd name="connsiteX5705" fmla="*/ 636924 w 2240198"/>
                <a:gd name="connsiteY5705" fmla="*/ 744348 h 1729012"/>
                <a:gd name="connsiteX5706" fmla="*/ 638874 w 2240198"/>
                <a:gd name="connsiteY5706" fmla="*/ 744379 h 1729012"/>
                <a:gd name="connsiteX5707" fmla="*/ 643316 w 2240198"/>
                <a:gd name="connsiteY5707" fmla="*/ 745003 h 1729012"/>
                <a:gd name="connsiteX5708" fmla="*/ 648105 w 2240198"/>
                <a:gd name="connsiteY5708" fmla="*/ 746408 h 1729012"/>
                <a:gd name="connsiteX5709" fmla="*/ 653238 w 2240198"/>
                <a:gd name="connsiteY5709" fmla="*/ 748584 h 1729012"/>
                <a:gd name="connsiteX5710" fmla="*/ 659479 w 2240198"/>
                <a:gd name="connsiteY5710" fmla="*/ 750436 h 1729012"/>
                <a:gd name="connsiteX5711" fmla="*/ 668951 w 2240198"/>
                <a:gd name="connsiteY5711" fmla="*/ 755037 h 1729012"/>
                <a:gd name="connsiteX5712" fmla="*/ 674182 w 2240198"/>
                <a:gd name="connsiteY5712" fmla="*/ 758859 h 1729012"/>
                <a:gd name="connsiteX5713" fmla="*/ 679144 w 2240198"/>
                <a:gd name="connsiteY5713" fmla="*/ 763598 h 1729012"/>
                <a:gd name="connsiteX5714" fmla="*/ 681866 w 2240198"/>
                <a:gd name="connsiteY5714" fmla="*/ 766885 h 1729012"/>
                <a:gd name="connsiteX5715" fmla="*/ 682342 w 2240198"/>
                <a:gd name="connsiteY5715" fmla="*/ 768729 h 1729012"/>
                <a:gd name="connsiteX5716" fmla="*/ 683380 w 2240198"/>
                <a:gd name="connsiteY5716" fmla="*/ 769640 h 1729012"/>
                <a:gd name="connsiteX5717" fmla="*/ 684976 w 2240198"/>
                <a:gd name="connsiteY5717" fmla="*/ 769625 h 1729012"/>
                <a:gd name="connsiteX5718" fmla="*/ 685579 w 2240198"/>
                <a:gd name="connsiteY5718" fmla="*/ 770324 h 1729012"/>
                <a:gd name="connsiteX5719" fmla="*/ 684149 w 2240198"/>
                <a:gd name="connsiteY5719" fmla="*/ 774384 h 1729012"/>
                <a:gd name="connsiteX5720" fmla="*/ 683326 w 2240198"/>
                <a:gd name="connsiteY5720" fmla="*/ 775396 h 1729012"/>
                <a:gd name="connsiteX5721" fmla="*/ 682244 w 2240198"/>
                <a:gd name="connsiteY5721" fmla="*/ 776123 h 1729012"/>
                <a:gd name="connsiteX5722" fmla="*/ 677709 w 2240198"/>
                <a:gd name="connsiteY5722" fmla="*/ 776953 h 1729012"/>
                <a:gd name="connsiteX5723" fmla="*/ 665272 w 2240198"/>
                <a:gd name="connsiteY5723" fmla="*/ 775974 h 1729012"/>
                <a:gd name="connsiteX5724" fmla="*/ 663068 w 2240198"/>
                <a:gd name="connsiteY5724" fmla="*/ 779253 h 1729012"/>
                <a:gd name="connsiteX5725" fmla="*/ 656098 w 2240198"/>
                <a:gd name="connsiteY5725" fmla="*/ 782016 h 1729012"/>
                <a:gd name="connsiteX5726" fmla="*/ 654859 w 2240198"/>
                <a:gd name="connsiteY5726" fmla="*/ 783223 h 1729012"/>
                <a:gd name="connsiteX5727" fmla="*/ 654584 w 2240198"/>
                <a:gd name="connsiteY5727" fmla="*/ 784105 h 1729012"/>
                <a:gd name="connsiteX5728" fmla="*/ 655082 w 2240198"/>
                <a:gd name="connsiteY5728" fmla="*/ 786966 h 1729012"/>
                <a:gd name="connsiteX5729" fmla="*/ 654202 w 2240198"/>
                <a:gd name="connsiteY5729" fmla="*/ 787843 h 1729012"/>
                <a:gd name="connsiteX5730" fmla="*/ 648497 w 2240198"/>
                <a:gd name="connsiteY5730" fmla="*/ 791104 h 1729012"/>
                <a:gd name="connsiteX5731" fmla="*/ 648303 w 2240198"/>
                <a:gd name="connsiteY5731" fmla="*/ 792024 h 1729012"/>
                <a:gd name="connsiteX5732" fmla="*/ 652006 w 2240198"/>
                <a:gd name="connsiteY5732" fmla="*/ 793357 h 1729012"/>
                <a:gd name="connsiteX5733" fmla="*/ 655942 w 2240198"/>
                <a:gd name="connsiteY5733" fmla="*/ 795637 h 1729012"/>
                <a:gd name="connsiteX5734" fmla="*/ 659036 w 2240198"/>
                <a:gd name="connsiteY5734" fmla="*/ 796193 h 1729012"/>
                <a:gd name="connsiteX5735" fmla="*/ 662952 w 2240198"/>
                <a:gd name="connsiteY5735" fmla="*/ 795881 h 1729012"/>
                <a:gd name="connsiteX5736" fmla="*/ 667867 w 2240198"/>
                <a:gd name="connsiteY5736" fmla="*/ 796678 h 1729012"/>
                <a:gd name="connsiteX5737" fmla="*/ 673789 w 2240198"/>
                <a:gd name="connsiteY5737" fmla="*/ 798585 h 1729012"/>
                <a:gd name="connsiteX5738" fmla="*/ 677904 w 2240198"/>
                <a:gd name="connsiteY5738" fmla="*/ 799455 h 1729012"/>
                <a:gd name="connsiteX5739" fmla="*/ 680221 w 2240198"/>
                <a:gd name="connsiteY5739" fmla="*/ 799288 h 1729012"/>
                <a:gd name="connsiteX5740" fmla="*/ 683381 w 2240198"/>
                <a:gd name="connsiteY5740" fmla="*/ 799639 h 1729012"/>
                <a:gd name="connsiteX5741" fmla="*/ 687384 w 2240198"/>
                <a:gd name="connsiteY5741" fmla="*/ 800507 h 1729012"/>
                <a:gd name="connsiteX5742" fmla="*/ 692742 w 2240198"/>
                <a:gd name="connsiteY5742" fmla="*/ 800807 h 1729012"/>
                <a:gd name="connsiteX5743" fmla="*/ 704582 w 2240198"/>
                <a:gd name="connsiteY5743" fmla="*/ 800728 h 1729012"/>
                <a:gd name="connsiteX5744" fmla="*/ 708132 w 2240198"/>
                <a:gd name="connsiteY5744" fmla="*/ 801382 h 1729012"/>
                <a:gd name="connsiteX5745" fmla="*/ 713089 w 2240198"/>
                <a:gd name="connsiteY5745" fmla="*/ 801675 h 1729012"/>
                <a:gd name="connsiteX5746" fmla="*/ 722634 w 2240198"/>
                <a:gd name="connsiteY5746" fmla="*/ 801587 h 1729012"/>
                <a:gd name="connsiteX5747" fmla="*/ 724355 w 2240198"/>
                <a:gd name="connsiteY5747" fmla="*/ 801464 h 1729012"/>
                <a:gd name="connsiteX5748" fmla="*/ 727413 w 2240198"/>
                <a:gd name="connsiteY5748" fmla="*/ 799956 h 1729012"/>
                <a:gd name="connsiteX5749" fmla="*/ 729386 w 2240198"/>
                <a:gd name="connsiteY5749" fmla="*/ 799457 h 1729012"/>
                <a:gd name="connsiteX5750" fmla="*/ 732820 w 2240198"/>
                <a:gd name="connsiteY5750" fmla="*/ 799430 h 1729012"/>
                <a:gd name="connsiteX5751" fmla="*/ 742719 w 2240198"/>
                <a:gd name="connsiteY5751" fmla="*/ 798321 h 1729012"/>
                <a:gd name="connsiteX5752" fmla="*/ 746147 w 2240198"/>
                <a:gd name="connsiteY5752" fmla="*/ 798342 h 1729012"/>
                <a:gd name="connsiteX5753" fmla="*/ 749317 w 2240198"/>
                <a:gd name="connsiteY5753" fmla="*/ 797503 h 1729012"/>
                <a:gd name="connsiteX5754" fmla="*/ 753371 w 2240198"/>
                <a:gd name="connsiteY5754" fmla="*/ 795809 h 1729012"/>
                <a:gd name="connsiteX5755" fmla="*/ 755872 w 2240198"/>
                <a:gd name="connsiteY5755" fmla="*/ 795491 h 1729012"/>
                <a:gd name="connsiteX5756" fmla="*/ 756820 w 2240198"/>
                <a:gd name="connsiteY5756" fmla="*/ 796546 h 1729012"/>
                <a:gd name="connsiteX5757" fmla="*/ 758529 w 2240198"/>
                <a:gd name="connsiteY5757" fmla="*/ 797006 h 1729012"/>
                <a:gd name="connsiteX5758" fmla="*/ 760998 w 2240198"/>
                <a:gd name="connsiteY5758" fmla="*/ 796868 h 1729012"/>
                <a:gd name="connsiteX5759" fmla="*/ 765693 w 2240198"/>
                <a:gd name="connsiteY5759" fmla="*/ 795067 h 1729012"/>
                <a:gd name="connsiteX5760" fmla="*/ 776670 w 2240198"/>
                <a:gd name="connsiteY5760" fmla="*/ 789769 h 1729012"/>
                <a:gd name="connsiteX5761" fmla="*/ 780618 w 2240198"/>
                <a:gd name="connsiteY5761" fmla="*/ 789778 h 1729012"/>
                <a:gd name="connsiteX5762" fmla="*/ 783517 w 2240198"/>
                <a:gd name="connsiteY5762" fmla="*/ 788113 h 1729012"/>
                <a:gd name="connsiteX5763" fmla="*/ 784227 w 2240198"/>
                <a:gd name="connsiteY5763" fmla="*/ 788083 h 1729012"/>
                <a:gd name="connsiteX5764" fmla="*/ 785024 w 2240198"/>
                <a:gd name="connsiteY5764" fmla="*/ 788768 h 1729012"/>
                <a:gd name="connsiteX5765" fmla="*/ 787711 w 2240198"/>
                <a:gd name="connsiteY5765" fmla="*/ 792653 h 1729012"/>
                <a:gd name="connsiteX5766" fmla="*/ 788530 w 2240198"/>
                <a:gd name="connsiteY5766" fmla="*/ 793277 h 1729012"/>
                <a:gd name="connsiteX5767" fmla="*/ 790378 w 2240198"/>
                <a:gd name="connsiteY5767" fmla="*/ 793611 h 1729012"/>
                <a:gd name="connsiteX5768" fmla="*/ 792183 w 2240198"/>
                <a:gd name="connsiteY5768" fmla="*/ 795596 h 1729012"/>
                <a:gd name="connsiteX5769" fmla="*/ 794062 w 2240198"/>
                <a:gd name="connsiteY5769" fmla="*/ 798562 h 1729012"/>
                <a:gd name="connsiteX5770" fmla="*/ 795474 w 2240198"/>
                <a:gd name="connsiteY5770" fmla="*/ 799387 h 1729012"/>
                <a:gd name="connsiteX5771" fmla="*/ 805770 w 2240198"/>
                <a:gd name="connsiteY5771" fmla="*/ 799515 h 1729012"/>
                <a:gd name="connsiteX5772" fmla="*/ 809398 w 2240198"/>
                <a:gd name="connsiteY5772" fmla="*/ 800339 h 1729012"/>
                <a:gd name="connsiteX5773" fmla="*/ 810494 w 2240198"/>
                <a:gd name="connsiteY5773" fmla="*/ 801187 h 1729012"/>
                <a:gd name="connsiteX5774" fmla="*/ 811598 w 2240198"/>
                <a:gd name="connsiteY5774" fmla="*/ 803526 h 1729012"/>
                <a:gd name="connsiteX5775" fmla="*/ 812278 w 2240198"/>
                <a:gd name="connsiteY5775" fmla="*/ 808052 h 1729012"/>
                <a:gd name="connsiteX5776" fmla="*/ 812729 w 2240198"/>
                <a:gd name="connsiteY5776" fmla="*/ 809710 h 1729012"/>
                <a:gd name="connsiteX5777" fmla="*/ 814223 w 2240198"/>
                <a:gd name="connsiteY5777" fmla="*/ 812118 h 1729012"/>
                <a:gd name="connsiteX5778" fmla="*/ 815210 w 2240198"/>
                <a:gd name="connsiteY5778" fmla="*/ 812812 h 1729012"/>
                <a:gd name="connsiteX5779" fmla="*/ 816145 w 2240198"/>
                <a:gd name="connsiteY5779" fmla="*/ 812144 h 1729012"/>
                <a:gd name="connsiteX5780" fmla="*/ 818681 w 2240198"/>
                <a:gd name="connsiteY5780" fmla="*/ 805873 h 1729012"/>
                <a:gd name="connsiteX5781" fmla="*/ 819567 w 2240198"/>
                <a:gd name="connsiteY5781" fmla="*/ 804863 h 1729012"/>
                <a:gd name="connsiteX5782" fmla="*/ 821263 w 2240198"/>
                <a:gd name="connsiteY5782" fmla="*/ 805215 h 1729012"/>
                <a:gd name="connsiteX5783" fmla="*/ 821780 w 2240198"/>
                <a:gd name="connsiteY5783" fmla="*/ 805526 h 1729012"/>
                <a:gd name="connsiteX5784" fmla="*/ 824352 w 2240198"/>
                <a:gd name="connsiteY5784" fmla="*/ 810169 h 1729012"/>
                <a:gd name="connsiteX5785" fmla="*/ 828017 w 2240198"/>
                <a:gd name="connsiteY5785" fmla="*/ 813611 h 1729012"/>
                <a:gd name="connsiteX5786" fmla="*/ 837100 w 2240198"/>
                <a:gd name="connsiteY5786" fmla="*/ 819933 h 1729012"/>
                <a:gd name="connsiteX5787" fmla="*/ 838576 w 2240198"/>
                <a:gd name="connsiteY5787" fmla="*/ 822246 h 1729012"/>
                <a:gd name="connsiteX5788" fmla="*/ 839117 w 2240198"/>
                <a:gd name="connsiteY5788" fmla="*/ 823959 h 1729012"/>
                <a:gd name="connsiteX5789" fmla="*/ 838603 w 2240198"/>
                <a:gd name="connsiteY5789" fmla="*/ 825490 h 1729012"/>
                <a:gd name="connsiteX5790" fmla="*/ 837035 w 2240198"/>
                <a:gd name="connsiteY5790" fmla="*/ 826846 h 1729012"/>
                <a:gd name="connsiteX5791" fmla="*/ 834573 w 2240198"/>
                <a:gd name="connsiteY5791" fmla="*/ 827932 h 1729012"/>
                <a:gd name="connsiteX5792" fmla="*/ 831216 w 2240198"/>
                <a:gd name="connsiteY5792" fmla="*/ 828753 h 1729012"/>
                <a:gd name="connsiteX5793" fmla="*/ 828083 w 2240198"/>
                <a:gd name="connsiteY5793" fmla="*/ 828457 h 1729012"/>
                <a:gd name="connsiteX5794" fmla="*/ 825174 w 2240198"/>
                <a:gd name="connsiteY5794" fmla="*/ 827049 h 1729012"/>
                <a:gd name="connsiteX5795" fmla="*/ 824236 w 2240198"/>
                <a:gd name="connsiteY5795" fmla="*/ 826968 h 1729012"/>
                <a:gd name="connsiteX5796" fmla="*/ 825270 w 2240198"/>
                <a:gd name="connsiteY5796" fmla="*/ 828223 h 1729012"/>
                <a:gd name="connsiteX5797" fmla="*/ 831283 w 2240198"/>
                <a:gd name="connsiteY5797" fmla="*/ 833424 h 1729012"/>
                <a:gd name="connsiteX5798" fmla="*/ 832817 w 2240198"/>
                <a:gd name="connsiteY5798" fmla="*/ 835499 h 1729012"/>
                <a:gd name="connsiteX5799" fmla="*/ 834241 w 2240198"/>
                <a:gd name="connsiteY5799" fmla="*/ 836875 h 1729012"/>
                <a:gd name="connsiteX5800" fmla="*/ 835556 w 2240198"/>
                <a:gd name="connsiteY5800" fmla="*/ 837557 h 1729012"/>
                <a:gd name="connsiteX5801" fmla="*/ 836770 w 2240198"/>
                <a:gd name="connsiteY5801" fmla="*/ 838679 h 1729012"/>
                <a:gd name="connsiteX5802" fmla="*/ 837880 w 2240198"/>
                <a:gd name="connsiteY5802" fmla="*/ 840242 h 1729012"/>
                <a:gd name="connsiteX5803" fmla="*/ 842876 w 2240198"/>
                <a:gd name="connsiteY5803" fmla="*/ 844390 h 1729012"/>
                <a:gd name="connsiteX5804" fmla="*/ 844298 w 2240198"/>
                <a:gd name="connsiteY5804" fmla="*/ 846369 h 1729012"/>
                <a:gd name="connsiteX5805" fmla="*/ 849991 w 2240198"/>
                <a:gd name="connsiteY5805" fmla="*/ 852526 h 1729012"/>
                <a:gd name="connsiteX5806" fmla="*/ 852695 w 2240198"/>
                <a:gd name="connsiteY5806" fmla="*/ 854944 h 1729012"/>
                <a:gd name="connsiteX5807" fmla="*/ 854783 w 2240198"/>
                <a:gd name="connsiteY5807" fmla="*/ 856332 h 1729012"/>
                <a:gd name="connsiteX5808" fmla="*/ 855592 w 2240198"/>
                <a:gd name="connsiteY5808" fmla="*/ 856470 h 1729012"/>
                <a:gd name="connsiteX5809" fmla="*/ 855119 w 2240198"/>
                <a:gd name="connsiteY5809" fmla="*/ 855356 h 1729012"/>
                <a:gd name="connsiteX5810" fmla="*/ 847858 w 2240198"/>
                <a:gd name="connsiteY5810" fmla="*/ 847157 h 1729012"/>
                <a:gd name="connsiteX5811" fmla="*/ 844159 w 2240198"/>
                <a:gd name="connsiteY5811" fmla="*/ 841996 h 1729012"/>
                <a:gd name="connsiteX5812" fmla="*/ 843639 w 2240198"/>
                <a:gd name="connsiteY5812" fmla="*/ 840756 h 1729012"/>
                <a:gd name="connsiteX5813" fmla="*/ 843401 w 2240198"/>
                <a:gd name="connsiteY5813" fmla="*/ 838860 h 1729012"/>
                <a:gd name="connsiteX5814" fmla="*/ 843256 w 2240198"/>
                <a:gd name="connsiteY5814" fmla="*/ 832561 h 1729012"/>
                <a:gd name="connsiteX5815" fmla="*/ 843785 w 2240198"/>
                <a:gd name="connsiteY5815" fmla="*/ 831593 h 1729012"/>
                <a:gd name="connsiteX5816" fmla="*/ 846293 w 2240198"/>
                <a:gd name="connsiteY5816" fmla="*/ 830782 h 1729012"/>
                <a:gd name="connsiteX5817" fmla="*/ 849512 w 2240198"/>
                <a:gd name="connsiteY5817" fmla="*/ 833641 h 1729012"/>
                <a:gd name="connsiteX5818" fmla="*/ 850729 w 2240198"/>
                <a:gd name="connsiteY5818" fmla="*/ 834044 h 1729012"/>
                <a:gd name="connsiteX5819" fmla="*/ 851550 w 2240198"/>
                <a:gd name="connsiteY5819" fmla="*/ 833874 h 1729012"/>
                <a:gd name="connsiteX5820" fmla="*/ 851975 w 2240198"/>
                <a:gd name="connsiteY5820" fmla="*/ 833137 h 1729012"/>
                <a:gd name="connsiteX5821" fmla="*/ 853824 w 2240198"/>
                <a:gd name="connsiteY5821" fmla="*/ 833820 h 1729012"/>
                <a:gd name="connsiteX5822" fmla="*/ 857094 w 2240198"/>
                <a:gd name="connsiteY5822" fmla="*/ 835928 h 1729012"/>
                <a:gd name="connsiteX5823" fmla="*/ 858203 w 2240198"/>
                <a:gd name="connsiteY5823" fmla="*/ 835963 h 1729012"/>
                <a:gd name="connsiteX5824" fmla="*/ 855736 w 2240198"/>
                <a:gd name="connsiteY5824" fmla="*/ 831926 h 1729012"/>
                <a:gd name="connsiteX5825" fmla="*/ 853972 w 2240198"/>
                <a:gd name="connsiteY5825" fmla="*/ 829951 h 1729012"/>
                <a:gd name="connsiteX5826" fmla="*/ 853350 w 2240198"/>
                <a:gd name="connsiteY5826" fmla="*/ 828574 h 1729012"/>
                <a:gd name="connsiteX5827" fmla="*/ 854991 w 2240198"/>
                <a:gd name="connsiteY5827" fmla="*/ 826498 h 1729012"/>
                <a:gd name="connsiteX5828" fmla="*/ 854095 w 2240198"/>
                <a:gd name="connsiteY5828" fmla="*/ 825449 h 1729012"/>
                <a:gd name="connsiteX5829" fmla="*/ 849940 w 2240198"/>
                <a:gd name="connsiteY5829" fmla="*/ 822392 h 1729012"/>
                <a:gd name="connsiteX5830" fmla="*/ 847782 w 2240198"/>
                <a:gd name="connsiteY5830" fmla="*/ 819218 h 1729012"/>
                <a:gd name="connsiteX5831" fmla="*/ 845840 w 2240198"/>
                <a:gd name="connsiteY5831" fmla="*/ 814414 h 1729012"/>
                <a:gd name="connsiteX5832" fmla="*/ 845666 w 2240198"/>
                <a:gd name="connsiteY5832" fmla="*/ 812544 h 1729012"/>
                <a:gd name="connsiteX5833" fmla="*/ 845984 w 2240198"/>
                <a:gd name="connsiteY5833" fmla="*/ 810561 h 1729012"/>
                <a:gd name="connsiteX5834" fmla="*/ 845691 w 2240198"/>
                <a:gd name="connsiteY5834" fmla="*/ 808963 h 1729012"/>
                <a:gd name="connsiteX5835" fmla="*/ 843077 w 2240198"/>
                <a:gd name="connsiteY5835" fmla="*/ 805699 h 1729012"/>
                <a:gd name="connsiteX5836" fmla="*/ 840235 w 2240198"/>
                <a:gd name="connsiteY5836" fmla="*/ 803435 h 1729012"/>
                <a:gd name="connsiteX5837" fmla="*/ 837979 w 2240198"/>
                <a:gd name="connsiteY5837" fmla="*/ 800805 h 1729012"/>
                <a:gd name="connsiteX5838" fmla="*/ 837522 w 2240198"/>
                <a:gd name="connsiteY5838" fmla="*/ 799417 h 1729012"/>
                <a:gd name="connsiteX5839" fmla="*/ 837869 w 2240198"/>
                <a:gd name="connsiteY5839" fmla="*/ 795663 h 1729012"/>
                <a:gd name="connsiteX5840" fmla="*/ 839580 w 2240198"/>
                <a:gd name="connsiteY5840" fmla="*/ 794023 h 1729012"/>
                <a:gd name="connsiteX5841" fmla="*/ 842822 w 2240198"/>
                <a:gd name="connsiteY5841" fmla="*/ 791829 h 1729012"/>
                <a:gd name="connsiteX5842" fmla="*/ 843696 w 2240198"/>
                <a:gd name="connsiteY5842" fmla="*/ 789567 h 1729012"/>
                <a:gd name="connsiteX5843" fmla="*/ 842204 w 2240198"/>
                <a:gd name="connsiteY5843" fmla="*/ 787230 h 1729012"/>
                <a:gd name="connsiteX5844" fmla="*/ 841929 w 2240198"/>
                <a:gd name="connsiteY5844" fmla="*/ 786167 h 1729012"/>
                <a:gd name="connsiteX5845" fmla="*/ 842874 w 2240198"/>
                <a:gd name="connsiteY5845" fmla="*/ 786372 h 1729012"/>
                <a:gd name="connsiteX5846" fmla="*/ 849255 w 2240198"/>
                <a:gd name="connsiteY5846" fmla="*/ 785198 h 1729012"/>
                <a:gd name="connsiteX5847" fmla="*/ 850857 w 2240198"/>
                <a:gd name="connsiteY5847" fmla="*/ 785611 h 1729012"/>
                <a:gd name="connsiteX5848" fmla="*/ 853268 w 2240198"/>
                <a:gd name="connsiteY5848" fmla="*/ 785108 h 1729012"/>
                <a:gd name="connsiteX5849" fmla="*/ 856488 w 2240198"/>
                <a:gd name="connsiteY5849" fmla="*/ 783685 h 1729012"/>
                <a:gd name="connsiteX5850" fmla="*/ 859007 w 2240198"/>
                <a:gd name="connsiteY5850" fmla="*/ 783047 h 1729012"/>
                <a:gd name="connsiteX5851" fmla="*/ 862332 w 2240198"/>
                <a:gd name="connsiteY5851" fmla="*/ 783140 h 1729012"/>
                <a:gd name="connsiteX5852" fmla="*/ 864135 w 2240198"/>
                <a:gd name="connsiteY5852" fmla="*/ 782797 h 1729012"/>
                <a:gd name="connsiteX5853" fmla="*/ 866338 w 2240198"/>
                <a:gd name="connsiteY5853" fmla="*/ 782166 h 1729012"/>
                <a:gd name="connsiteX5854" fmla="*/ 867478 w 2240198"/>
                <a:gd name="connsiteY5854" fmla="*/ 781457 h 1729012"/>
                <a:gd name="connsiteX5855" fmla="*/ 869499 w 2240198"/>
                <a:gd name="connsiteY5855" fmla="*/ 778750 h 1729012"/>
                <a:gd name="connsiteX5856" fmla="*/ 870578 w 2240198"/>
                <a:gd name="connsiteY5856" fmla="*/ 778345 h 1729012"/>
                <a:gd name="connsiteX5857" fmla="*/ 873965 w 2240198"/>
                <a:gd name="connsiteY5857" fmla="*/ 778641 h 1729012"/>
                <a:gd name="connsiteX5858" fmla="*/ 875876 w 2240198"/>
                <a:gd name="connsiteY5858" fmla="*/ 779236 h 1729012"/>
                <a:gd name="connsiteX5859" fmla="*/ 876770 w 2240198"/>
                <a:gd name="connsiteY5859" fmla="*/ 779021 h 1729012"/>
                <a:gd name="connsiteX5860" fmla="*/ 876637 w 2240198"/>
                <a:gd name="connsiteY5860" fmla="*/ 775174 h 1729012"/>
                <a:gd name="connsiteX5861" fmla="*/ 877273 w 2240198"/>
                <a:gd name="connsiteY5861" fmla="*/ 773821 h 1729012"/>
                <a:gd name="connsiteX5862" fmla="*/ 880650 w 2240198"/>
                <a:gd name="connsiteY5862" fmla="*/ 771021 h 1729012"/>
                <a:gd name="connsiteX5863" fmla="*/ 884177 w 2240198"/>
                <a:gd name="connsiteY5863" fmla="*/ 770727 h 1729012"/>
                <a:gd name="connsiteX5864" fmla="*/ 886530 w 2240198"/>
                <a:gd name="connsiteY5864" fmla="*/ 769961 h 1729012"/>
                <a:gd name="connsiteX5865" fmla="*/ 889224 w 2240198"/>
                <a:gd name="connsiteY5865" fmla="*/ 768389 h 1729012"/>
                <a:gd name="connsiteX5866" fmla="*/ 891155 w 2240198"/>
                <a:gd name="connsiteY5866" fmla="*/ 766982 h 1729012"/>
                <a:gd name="connsiteX5867" fmla="*/ 893075 w 2240198"/>
                <a:gd name="connsiteY5867" fmla="*/ 764720 h 1729012"/>
                <a:gd name="connsiteX5868" fmla="*/ 893861 w 2240198"/>
                <a:gd name="connsiteY5868" fmla="*/ 761826 h 1729012"/>
                <a:gd name="connsiteX5869" fmla="*/ 893250 w 2240198"/>
                <a:gd name="connsiteY5869" fmla="*/ 760995 h 1729012"/>
                <a:gd name="connsiteX5870" fmla="*/ 889246 w 2240198"/>
                <a:gd name="connsiteY5870" fmla="*/ 759875 h 1729012"/>
                <a:gd name="connsiteX5871" fmla="*/ 886839 w 2240198"/>
                <a:gd name="connsiteY5871" fmla="*/ 760456 h 1729012"/>
                <a:gd name="connsiteX5872" fmla="*/ 881510 w 2240198"/>
                <a:gd name="connsiteY5872" fmla="*/ 762518 h 1729012"/>
                <a:gd name="connsiteX5873" fmla="*/ 875913 w 2240198"/>
                <a:gd name="connsiteY5873" fmla="*/ 765165 h 1729012"/>
                <a:gd name="connsiteX5874" fmla="*/ 873751 w 2240198"/>
                <a:gd name="connsiteY5874" fmla="*/ 767621 h 1729012"/>
                <a:gd name="connsiteX5875" fmla="*/ 873159 w 2240198"/>
                <a:gd name="connsiteY5875" fmla="*/ 770768 h 1729012"/>
                <a:gd name="connsiteX5876" fmla="*/ 872098 w 2240198"/>
                <a:gd name="connsiteY5876" fmla="*/ 772154 h 1729012"/>
                <a:gd name="connsiteX5877" fmla="*/ 867739 w 2240198"/>
                <a:gd name="connsiteY5877" fmla="*/ 770840 h 1729012"/>
                <a:gd name="connsiteX5878" fmla="*/ 865880 w 2240198"/>
                <a:gd name="connsiteY5878" fmla="*/ 770862 h 1729012"/>
                <a:gd name="connsiteX5879" fmla="*/ 863546 w 2240198"/>
                <a:gd name="connsiteY5879" fmla="*/ 771409 h 1729012"/>
                <a:gd name="connsiteX5880" fmla="*/ 861072 w 2240198"/>
                <a:gd name="connsiteY5880" fmla="*/ 772616 h 1729012"/>
                <a:gd name="connsiteX5881" fmla="*/ 858464 w 2240198"/>
                <a:gd name="connsiteY5881" fmla="*/ 774485 h 1729012"/>
                <a:gd name="connsiteX5882" fmla="*/ 854611 w 2240198"/>
                <a:gd name="connsiteY5882" fmla="*/ 774826 h 1729012"/>
                <a:gd name="connsiteX5883" fmla="*/ 849514 w 2240198"/>
                <a:gd name="connsiteY5883" fmla="*/ 773638 h 1729012"/>
                <a:gd name="connsiteX5884" fmla="*/ 846466 w 2240198"/>
                <a:gd name="connsiteY5884" fmla="*/ 773308 h 1729012"/>
                <a:gd name="connsiteX5885" fmla="*/ 843369 w 2240198"/>
                <a:gd name="connsiteY5885" fmla="*/ 775294 h 1729012"/>
                <a:gd name="connsiteX5886" fmla="*/ 843554 w 2240198"/>
                <a:gd name="connsiteY5886" fmla="*/ 776768 h 1729012"/>
                <a:gd name="connsiteX5887" fmla="*/ 844988 w 2240198"/>
                <a:gd name="connsiteY5887" fmla="*/ 778918 h 1729012"/>
                <a:gd name="connsiteX5888" fmla="*/ 843555 w 2240198"/>
                <a:gd name="connsiteY5888" fmla="*/ 780195 h 1729012"/>
                <a:gd name="connsiteX5889" fmla="*/ 836125 w 2240198"/>
                <a:gd name="connsiteY5889" fmla="*/ 780666 h 1729012"/>
                <a:gd name="connsiteX5890" fmla="*/ 834162 w 2240198"/>
                <a:gd name="connsiteY5890" fmla="*/ 780389 h 1729012"/>
                <a:gd name="connsiteX5891" fmla="*/ 830196 w 2240198"/>
                <a:gd name="connsiteY5891" fmla="*/ 781236 h 1729012"/>
                <a:gd name="connsiteX5892" fmla="*/ 828629 w 2240198"/>
                <a:gd name="connsiteY5892" fmla="*/ 781053 h 1729012"/>
                <a:gd name="connsiteX5893" fmla="*/ 827486 w 2240198"/>
                <a:gd name="connsiteY5893" fmla="*/ 780029 h 1729012"/>
                <a:gd name="connsiteX5894" fmla="*/ 819406 w 2240198"/>
                <a:gd name="connsiteY5894" fmla="*/ 775662 h 1729012"/>
                <a:gd name="connsiteX5895" fmla="*/ 818606 w 2240198"/>
                <a:gd name="connsiteY5895" fmla="*/ 774780 h 1729012"/>
                <a:gd name="connsiteX5896" fmla="*/ 820563 w 2240198"/>
                <a:gd name="connsiteY5896" fmla="*/ 771226 h 1729012"/>
                <a:gd name="connsiteX5897" fmla="*/ 828048 w 2240198"/>
                <a:gd name="connsiteY5897" fmla="*/ 761582 h 1729012"/>
                <a:gd name="connsiteX5898" fmla="*/ 828867 w 2240198"/>
                <a:gd name="connsiteY5898" fmla="*/ 761009 h 1729012"/>
                <a:gd name="connsiteX5899" fmla="*/ 842738 w 2240198"/>
                <a:gd name="connsiteY5899" fmla="*/ 759328 h 1729012"/>
                <a:gd name="connsiteX5900" fmla="*/ 851117 w 2240198"/>
                <a:gd name="connsiteY5900" fmla="*/ 757565 h 1729012"/>
                <a:gd name="connsiteX5901" fmla="*/ 866464 w 2240198"/>
                <a:gd name="connsiteY5901" fmla="*/ 752233 h 1729012"/>
                <a:gd name="connsiteX5902" fmla="*/ 869436 w 2240198"/>
                <a:gd name="connsiteY5902" fmla="*/ 751791 h 1729012"/>
                <a:gd name="connsiteX5903" fmla="*/ 879305 w 2240198"/>
                <a:gd name="connsiteY5903" fmla="*/ 748247 h 1729012"/>
                <a:gd name="connsiteX5904" fmla="*/ 883357 w 2240198"/>
                <a:gd name="connsiteY5904" fmla="*/ 747341 h 1729012"/>
                <a:gd name="connsiteX5905" fmla="*/ 887130 w 2240198"/>
                <a:gd name="connsiteY5905" fmla="*/ 747955 h 1729012"/>
                <a:gd name="connsiteX5906" fmla="*/ 892650 w 2240198"/>
                <a:gd name="connsiteY5906" fmla="*/ 749784 h 1729012"/>
                <a:gd name="connsiteX5907" fmla="*/ 895499 w 2240198"/>
                <a:gd name="connsiteY5907" fmla="*/ 751405 h 1729012"/>
                <a:gd name="connsiteX5908" fmla="*/ 897516 w 2240198"/>
                <a:gd name="connsiteY5908" fmla="*/ 753430 h 1729012"/>
                <a:gd name="connsiteX5909" fmla="*/ 899195 w 2240198"/>
                <a:gd name="connsiteY5909" fmla="*/ 756250 h 1729012"/>
                <a:gd name="connsiteX5910" fmla="*/ 901298 w 2240198"/>
                <a:gd name="connsiteY5910" fmla="*/ 762452 h 1729012"/>
                <a:gd name="connsiteX5911" fmla="*/ 902016 w 2240198"/>
                <a:gd name="connsiteY5911" fmla="*/ 767724 h 1729012"/>
                <a:gd name="connsiteX5912" fmla="*/ 903313 w 2240198"/>
                <a:gd name="connsiteY5912" fmla="*/ 769676 h 1729012"/>
                <a:gd name="connsiteX5913" fmla="*/ 907940 w 2240198"/>
                <a:gd name="connsiteY5913" fmla="*/ 773339 h 1729012"/>
                <a:gd name="connsiteX5914" fmla="*/ 910314 w 2240198"/>
                <a:gd name="connsiteY5914" fmla="*/ 774757 h 1729012"/>
                <a:gd name="connsiteX5915" fmla="*/ 911778 w 2240198"/>
                <a:gd name="connsiteY5915" fmla="*/ 775200 h 1729012"/>
                <a:gd name="connsiteX5916" fmla="*/ 913041 w 2240198"/>
                <a:gd name="connsiteY5916" fmla="*/ 774344 h 1729012"/>
                <a:gd name="connsiteX5917" fmla="*/ 913903 w 2240198"/>
                <a:gd name="connsiteY5917" fmla="*/ 774207 h 1729012"/>
                <a:gd name="connsiteX5918" fmla="*/ 914487 w 2240198"/>
                <a:gd name="connsiteY5918" fmla="*/ 774537 h 1729012"/>
                <a:gd name="connsiteX5919" fmla="*/ 915116 w 2240198"/>
                <a:gd name="connsiteY5919" fmla="*/ 776837 h 1729012"/>
                <a:gd name="connsiteX5920" fmla="*/ 915940 w 2240198"/>
                <a:gd name="connsiteY5920" fmla="*/ 777067 h 1729012"/>
                <a:gd name="connsiteX5921" fmla="*/ 918725 w 2240198"/>
                <a:gd name="connsiteY5921" fmla="*/ 776782 h 1729012"/>
                <a:gd name="connsiteX5922" fmla="*/ 921677 w 2240198"/>
                <a:gd name="connsiteY5922" fmla="*/ 777730 h 1729012"/>
                <a:gd name="connsiteX5923" fmla="*/ 922104 w 2240198"/>
                <a:gd name="connsiteY5923" fmla="*/ 778438 h 1729012"/>
                <a:gd name="connsiteX5924" fmla="*/ 921476 w 2240198"/>
                <a:gd name="connsiteY5924" fmla="*/ 781285 h 1729012"/>
                <a:gd name="connsiteX5925" fmla="*/ 922311 w 2240198"/>
                <a:gd name="connsiteY5925" fmla="*/ 782477 h 1729012"/>
                <a:gd name="connsiteX5926" fmla="*/ 925896 w 2240198"/>
                <a:gd name="connsiteY5926" fmla="*/ 785021 h 1729012"/>
                <a:gd name="connsiteX5927" fmla="*/ 929347 w 2240198"/>
                <a:gd name="connsiteY5927" fmla="*/ 785979 h 1729012"/>
                <a:gd name="connsiteX5928" fmla="*/ 933333 w 2240198"/>
                <a:gd name="connsiteY5928" fmla="*/ 786416 h 1729012"/>
                <a:gd name="connsiteX5929" fmla="*/ 940736 w 2240198"/>
                <a:gd name="connsiteY5929" fmla="*/ 785986 h 1729012"/>
                <a:gd name="connsiteX5930" fmla="*/ 946932 w 2240198"/>
                <a:gd name="connsiteY5930" fmla="*/ 784763 h 1729012"/>
                <a:gd name="connsiteX5931" fmla="*/ 951575 w 2240198"/>
                <a:gd name="connsiteY5931" fmla="*/ 782759 h 1729012"/>
                <a:gd name="connsiteX5932" fmla="*/ 955400 w 2240198"/>
                <a:gd name="connsiteY5932" fmla="*/ 784994 h 1729012"/>
                <a:gd name="connsiteX5933" fmla="*/ 963044 w 2240198"/>
                <a:gd name="connsiteY5933" fmla="*/ 790377 h 1729012"/>
                <a:gd name="connsiteX5934" fmla="*/ 967614 w 2240198"/>
                <a:gd name="connsiteY5934" fmla="*/ 794180 h 1729012"/>
                <a:gd name="connsiteX5935" fmla="*/ 971406 w 2240198"/>
                <a:gd name="connsiteY5935" fmla="*/ 795968 h 1729012"/>
                <a:gd name="connsiteX5936" fmla="*/ 979087 w 2240198"/>
                <a:gd name="connsiteY5936" fmla="*/ 798109 h 1729012"/>
                <a:gd name="connsiteX5937" fmla="*/ 980830 w 2240198"/>
                <a:gd name="connsiteY5937" fmla="*/ 799260 h 1729012"/>
                <a:gd name="connsiteX5938" fmla="*/ 983633 w 2240198"/>
                <a:gd name="connsiteY5938" fmla="*/ 799387 h 1729012"/>
                <a:gd name="connsiteX5939" fmla="*/ 987501 w 2240198"/>
                <a:gd name="connsiteY5939" fmla="*/ 798494 h 1729012"/>
                <a:gd name="connsiteX5940" fmla="*/ 991904 w 2240198"/>
                <a:gd name="connsiteY5940" fmla="*/ 798842 h 1729012"/>
                <a:gd name="connsiteX5941" fmla="*/ 996842 w 2240198"/>
                <a:gd name="connsiteY5941" fmla="*/ 800430 h 1729012"/>
                <a:gd name="connsiteX5942" fmla="*/ 1000237 w 2240198"/>
                <a:gd name="connsiteY5942" fmla="*/ 801101 h 1729012"/>
                <a:gd name="connsiteX5943" fmla="*/ 1011866 w 2240198"/>
                <a:gd name="connsiteY5943" fmla="*/ 798103 h 1729012"/>
                <a:gd name="connsiteX5944" fmla="*/ 1013640 w 2240198"/>
                <a:gd name="connsiteY5944" fmla="*/ 797959 h 1729012"/>
                <a:gd name="connsiteX5945" fmla="*/ 1017971 w 2240198"/>
                <a:gd name="connsiteY5945" fmla="*/ 796514 h 1729012"/>
                <a:gd name="connsiteX5946" fmla="*/ 1020760 w 2240198"/>
                <a:gd name="connsiteY5946" fmla="*/ 796076 h 1729012"/>
                <a:gd name="connsiteX5947" fmla="*/ 1024043 w 2240198"/>
                <a:gd name="connsiteY5947" fmla="*/ 796111 h 1729012"/>
                <a:gd name="connsiteX5948" fmla="*/ 1026490 w 2240198"/>
                <a:gd name="connsiteY5948" fmla="*/ 795671 h 1729012"/>
                <a:gd name="connsiteX5949" fmla="*/ 1028101 w 2240198"/>
                <a:gd name="connsiteY5949" fmla="*/ 794757 h 1729012"/>
                <a:gd name="connsiteX5950" fmla="*/ 1034266 w 2240198"/>
                <a:gd name="connsiteY5950" fmla="*/ 794795 h 1729012"/>
                <a:gd name="connsiteX5951" fmla="*/ 1045422 w 2240198"/>
                <a:gd name="connsiteY5951" fmla="*/ 795826 h 1729012"/>
                <a:gd name="connsiteX5952" fmla="*/ 1053047 w 2240198"/>
                <a:gd name="connsiteY5952" fmla="*/ 797161 h 1729012"/>
                <a:gd name="connsiteX5953" fmla="*/ 1057578 w 2240198"/>
                <a:gd name="connsiteY5953" fmla="*/ 798842 h 1729012"/>
                <a:gd name="connsiteX5954" fmla="*/ 1061297 w 2240198"/>
                <a:gd name="connsiteY5954" fmla="*/ 799781 h 1729012"/>
                <a:gd name="connsiteX5955" fmla="*/ 1064205 w 2240198"/>
                <a:gd name="connsiteY5955" fmla="*/ 799988 h 1729012"/>
                <a:gd name="connsiteX5956" fmla="*/ 1067039 w 2240198"/>
                <a:gd name="connsiteY5956" fmla="*/ 799688 h 1729012"/>
                <a:gd name="connsiteX5957" fmla="*/ 1069796 w 2240198"/>
                <a:gd name="connsiteY5957" fmla="*/ 798879 h 1729012"/>
                <a:gd name="connsiteX5958" fmla="*/ 1072698 w 2240198"/>
                <a:gd name="connsiteY5958" fmla="*/ 797349 h 1729012"/>
                <a:gd name="connsiteX5959" fmla="*/ 1078897 w 2240198"/>
                <a:gd name="connsiteY5959" fmla="*/ 796561 h 1729012"/>
                <a:gd name="connsiteX5960" fmla="*/ 1079928 w 2240198"/>
                <a:gd name="connsiteY5960" fmla="*/ 796158 h 1729012"/>
                <a:gd name="connsiteX5961" fmla="*/ 1079801 w 2240198"/>
                <a:gd name="connsiteY5961" fmla="*/ 795321 h 1729012"/>
                <a:gd name="connsiteX5962" fmla="*/ 1078516 w 2240198"/>
                <a:gd name="connsiteY5962" fmla="*/ 794047 h 1729012"/>
                <a:gd name="connsiteX5963" fmla="*/ 1074999 w 2240198"/>
                <a:gd name="connsiteY5963" fmla="*/ 791630 h 1729012"/>
                <a:gd name="connsiteX5964" fmla="*/ 1072539 w 2240198"/>
                <a:gd name="connsiteY5964" fmla="*/ 789268 h 1729012"/>
                <a:gd name="connsiteX5965" fmla="*/ 1072066 w 2240198"/>
                <a:gd name="connsiteY5965" fmla="*/ 787767 h 1729012"/>
                <a:gd name="connsiteX5966" fmla="*/ 1072120 w 2240198"/>
                <a:gd name="connsiteY5966" fmla="*/ 785946 h 1729012"/>
                <a:gd name="connsiteX5967" fmla="*/ 1072886 w 2240198"/>
                <a:gd name="connsiteY5967" fmla="*/ 784893 h 1729012"/>
                <a:gd name="connsiteX5968" fmla="*/ 1074364 w 2240198"/>
                <a:gd name="connsiteY5968" fmla="*/ 784612 h 1729012"/>
                <a:gd name="connsiteX5969" fmla="*/ 1076690 w 2240198"/>
                <a:gd name="connsiteY5969" fmla="*/ 785743 h 1729012"/>
                <a:gd name="connsiteX5970" fmla="*/ 1079860 w 2240198"/>
                <a:gd name="connsiteY5970" fmla="*/ 788279 h 1729012"/>
                <a:gd name="connsiteX5971" fmla="*/ 1088792 w 2240198"/>
                <a:gd name="connsiteY5971" fmla="*/ 797785 h 1729012"/>
                <a:gd name="connsiteX5972" fmla="*/ 1090946 w 2240198"/>
                <a:gd name="connsiteY5972" fmla="*/ 799132 h 1729012"/>
                <a:gd name="connsiteX5973" fmla="*/ 1092134 w 2240198"/>
                <a:gd name="connsiteY5973" fmla="*/ 800337 h 1729012"/>
                <a:gd name="connsiteX5974" fmla="*/ 1100333 w 2240198"/>
                <a:gd name="connsiteY5974" fmla="*/ 803789 h 1729012"/>
                <a:gd name="connsiteX5975" fmla="*/ 1104199 w 2240198"/>
                <a:gd name="connsiteY5975" fmla="*/ 804396 h 1729012"/>
                <a:gd name="connsiteX5976" fmla="*/ 1108781 w 2240198"/>
                <a:gd name="connsiteY5976" fmla="*/ 802265 h 1729012"/>
                <a:gd name="connsiteX5977" fmla="*/ 1110805 w 2240198"/>
                <a:gd name="connsiteY5977" fmla="*/ 800938 h 1729012"/>
                <a:gd name="connsiteX5978" fmla="*/ 1111794 w 2240198"/>
                <a:gd name="connsiteY5978" fmla="*/ 799660 h 1729012"/>
                <a:gd name="connsiteX5979" fmla="*/ 1111749 w 2240198"/>
                <a:gd name="connsiteY5979" fmla="*/ 798429 h 1729012"/>
                <a:gd name="connsiteX5980" fmla="*/ 1112189 w 2240198"/>
                <a:gd name="connsiteY5980" fmla="*/ 796633 h 1729012"/>
                <a:gd name="connsiteX5981" fmla="*/ 1111727 w 2240198"/>
                <a:gd name="connsiteY5981" fmla="*/ 795518 h 1729012"/>
                <a:gd name="connsiteX5982" fmla="*/ 1110497 w 2240198"/>
                <a:gd name="connsiteY5982" fmla="*/ 794078 h 1729012"/>
                <a:gd name="connsiteX5983" fmla="*/ 1107212 w 2240198"/>
                <a:gd name="connsiteY5983" fmla="*/ 792067 h 1729012"/>
                <a:gd name="connsiteX5984" fmla="*/ 1101874 w 2240198"/>
                <a:gd name="connsiteY5984" fmla="*/ 789484 h 1729012"/>
                <a:gd name="connsiteX5985" fmla="*/ 1096993 w 2240198"/>
                <a:gd name="connsiteY5985" fmla="*/ 788725 h 1729012"/>
                <a:gd name="connsiteX5986" fmla="*/ 1092576 w 2240198"/>
                <a:gd name="connsiteY5986" fmla="*/ 789796 h 1729012"/>
                <a:gd name="connsiteX5987" fmla="*/ 1087577 w 2240198"/>
                <a:gd name="connsiteY5987" fmla="*/ 791995 h 1729012"/>
                <a:gd name="connsiteX5988" fmla="*/ 1085496 w 2240198"/>
                <a:gd name="connsiteY5988" fmla="*/ 791126 h 1729012"/>
                <a:gd name="connsiteX5989" fmla="*/ 1079263 w 2240198"/>
                <a:gd name="connsiteY5989" fmla="*/ 784955 h 1729012"/>
                <a:gd name="connsiteX5990" fmla="*/ 1077693 w 2240198"/>
                <a:gd name="connsiteY5990" fmla="*/ 782643 h 1729012"/>
                <a:gd name="connsiteX5991" fmla="*/ 1077694 w 2240198"/>
                <a:gd name="connsiteY5991" fmla="*/ 782005 h 1729012"/>
                <a:gd name="connsiteX5992" fmla="*/ 1080589 w 2240198"/>
                <a:gd name="connsiteY5992" fmla="*/ 782745 h 1729012"/>
                <a:gd name="connsiteX5993" fmla="*/ 1080722 w 2240198"/>
                <a:gd name="connsiteY5993" fmla="*/ 781997 h 1729012"/>
                <a:gd name="connsiteX5994" fmla="*/ 1078989 w 2240198"/>
                <a:gd name="connsiteY5994" fmla="*/ 779013 h 1729012"/>
                <a:gd name="connsiteX5995" fmla="*/ 1077921 w 2240198"/>
                <a:gd name="connsiteY5995" fmla="*/ 778013 h 1729012"/>
                <a:gd name="connsiteX5996" fmla="*/ 1074327 w 2240198"/>
                <a:gd name="connsiteY5996" fmla="*/ 773303 h 1729012"/>
                <a:gd name="connsiteX5997" fmla="*/ 1073884 w 2240198"/>
                <a:gd name="connsiteY5997" fmla="*/ 771885 h 1729012"/>
                <a:gd name="connsiteX5998" fmla="*/ 1076122 w 2240198"/>
                <a:gd name="connsiteY5998" fmla="*/ 771562 h 1729012"/>
                <a:gd name="connsiteX5999" fmla="*/ 1077137 w 2240198"/>
                <a:gd name="connsiteY5999" fmla="*/ 771012 h 1729012"/>
                <a:gd name="connsiteX6000" fmla="*/ 1078497 w 2240198"/>
                <a:gd name="connsiteY6000" fmla="*/ 771068 h 1729012"/>
                <a:gd name="connsiteX6001" fmla="*/ 1084837 w 2240198"/>
                <a:gd name="connsiteY6001" fmla="*/ 773905 h 1729012"/>
                <a:gd name="connsiteX6002" fmla="*/ 1088082 w 2240198"/>
                <a:gd name="connsiteY6002" fmla="*/ 772638 h 1729012"/>
                <a:gd name="connsiteX6003" fmla="*/ 1095596 w 2240198"/>
                <a:gd name="connsiteY6003" fmla="*/ 770827 h 1729012"/>
                <a:gd name="connsiteX6004" fmla="*/ 1092634 w 2240198"/>
                <a:gd name="connsiteY6004" fmla="*/ 768108 h 1729012"/>
                <a:gd name="connsiteX6005" fmla="*/ 1091928 w 2240198"/>
                <a:gd name="connsiteY6005" fmla="*/ 765428 h 1729012"/>
                <a:gd name="connsiteX6006" fmla="*/ 1092278 w 2240198"/>
                <a:gd name="connsiteY6006" fmla="*/ 764847 h 1729012"/>
                <a:gd name="connsiteX6007" fmla="*/ 1094725 w 2240198"/>
                <a:gd name="connsiteY6007" fmla="*/ 764447 h 1729012"/>
                <a:gd name="connsiteX6008" fmla="*/ 1099519 w 2240198"/>
                <a:gd name="connsiteY6008" fmla="*/ 766681 h 1729012"/>
                <a:gd name="connsiteX6009" fmla="*/ 1101838 w 2240198"/>
                <a:gd name="connsiteY6009" fmla="*/ 766990 h 1729012"/>
                <a:gd name="connsiteX6010" fmla="*/ 1103536 w 2240198"/>
                <a:gd name="connsiteY6010" fmla="*/ 766102 h 1729012"/>
                <a:gd name="connsiteX6011" fmla="*/ 1105329 w 2240198"/>
                <a:gd name="connsiteY6011" fmla="*/ 766041 h 1729012"/>
                <a:gd name="connsiteX6012" fmla="*/ 1107220 w 2240198"/>
                <a:gd name="connsiteY6012" fmla="*/ 766806 h 1729012"/>
                <a:gd name="connsiteX6013" fmla="*/ 1108992 w 2240198"/>
                <a:gd name="connsiteY6013" fmla="*/ 767958 h 1729012"/>
                <a:gd name="connsiteX6014" fmla="*/ 1112286 w 2240198"/>
                <a:gd name="connsiteY6014" fmla="*/ 771250 h 1729012"/>
                <a:gd name="connsiteX6015" fmla="*/ 1113914 w 2240198"/>
                <a:gd name="connsiteY6015" fmla="*/ 773228 h 1729012"/>
                <a:gd name="connsiteX6016" fmla="*/ 1115746 w 2240198"/>
                <a:gd name="connsiteY6016" fmla="*/ 776204 h 1729012"/>
                <a:gd name="connsiteX6017" fmla="*/ 1116325 w 2240198"/>
                <a:gd name="connsiteY6017" fmla="*/ 776622 h 1729012"/>
                <a:gd name="connsiteX6018" fmla="*/ 1125163 w 2240198"/>
                <a:gd name="connsiteY6018" fmla="*/ 776846 h 1729012"/>
                <a:gd name="connsiteX6019" fmla="*/ 1130170 w 2240198"/>
                <a:gd name="connsiteY6019" fmla="*/ 774204 h 1729012"/>
                <a:gd name="connsiteX6020" fmla="*/ 1130061 w 2240198"/>
                <a:gd name="connsiteY6020" fmla="*/ 775103 h 1729012"/>
                <a:gd name="connsiteX6021" fmla="*/ 1128915 w 2240198"/>
                <a:gd name="connsiteY6021" fmla="*/ 777173 h 1729012"/>
                <a:gd name="connsiteX6022" fmla="*/ 1122704 w 2240198"/>
                <a:gd name="connsiteY6022" fmla="*/ 785106 h 1729012"/>
                <a:gd name="connsiteX6023" fmla="*/ 1122782 w 2240198"/>
                <a:gd name="connsiteY6023" fmla="*/ 786085 h 1729012"/>
                <a:gd name="connsiteX6024" fmla="*/ 1126075 w 2240198"/>
                <a:gd name="connsiteY6024" fmla="*/ 785663 h 1729012"/>
                <a:gd name="connsiteX6025" fmla="*/ 1127619 w 2240198"/>
                <a:gd name="connsiteY6025" fmla="*/ 785024 h 1729012"/>
                <a:gd name="connsiteX6026" fmla="*/ 1128573 w 2240198"/>
                <a:gd name="connsiteY6026" fmla="*/ 784071 h 1729012"/>
                <a:gd name="connsiteX6027" fmla="*/ 1129397 w 2240198"/>
                <a:gd name="connsiteY6027" fmla="*/ 781851 h 1729012"/>
                <a:gd name="connsiteX6028" fmla="*/ 1129950 w 2240198"/>
                <a:gd name="connsiteY6028" fmla="*/ 781194 h 1729012"/>
                <a:gd name="connsiteX6029" fmla="*/ 1139174 w 2240198"/>
                <a:gd name="connsiteY6029" fmla="*/ 777448 h 1729012"/>
                <a:gd name="connsiteX6030" fmla="*/ 1141844 w 2240198"/>
                <a:gd name="connsiteY6030" fmla="*/ 776897 h 1729012"/>
                <a:gd name="connsiteX6031" fmla="*/ 1140178 w 2240198"/>
                <a:gd name="connsiteY6031" fmla="*/ 780892 h 1729012"/>
                <a:gd name="connsiteX6032" fmla="*/ 1136747 w 2240198"/>
                <a:gd name="connsiteY6032" fmla="*/ 795094 h 1729012"/>
                <a:gd name="connsiteX6033" fmla="*/ 1136050 w 2240198"/>
                <a:gd name="connsiteY6033" fmla="*/ 800033 h 1729012"/>
                <a:gd name="connsiteX6034" fmla="*/ 1135297 w 2240198"/>
                <a:gd name="connsiteY6034" fmla="*/ 801705 h 1729012"/>
                <a:gd name="connsiteX6035" fmla="*/ 1131674 w 2240198"/>
                <a:gd name="connsiteY6035" fmla="*/ 807124 h 1729012"/>
                <a:gd name="connsiteX6036" fmla="*/ 1131731 w 2240198"/>
                <a:gd name="connsiteY6036" fmla="*/ 809028 h 1729012"/>
                <a:gd name="connsiteX6037" fmla="*/ 1135694 w 2240198"/>
                <a:gd name="connsiteY6037" fmla="*/ 813573 h 1729012"/>
                <a:gd name="connsiteX6038" fmla="*/ 1136399 w 2240198"/>
                <a:gd name="connsiteY6038" fmla="*/ 814810 h 1729012"/>
                <a:gd name="connsiteX6039" fmla="*/ 1136800 w 2240198"/>
                <a:gd name="connsiteY6039" fmla="*/ 818534 h 1729012"/>
                <a:gd name="connsiteX6040" fmla="*/ 1137504 w 2240198"/>
                <a:gd name="connsiteY6040" fmla="*/ 819270 h 1729012"/>
                <a:gd name="connsiteX6041" fmla="*/ 1140772 w 2240198"/>
                <a:gd name="connsiteY6041" fmla="*/ 819311 h 1729012"/>
                <a:gd name="connsiteX6042" fmla="*/ 1144157 w 2240198"/>
                <a:gd name="connsiteY6042" fmla="*/ 818125 h 1729012"/>
                <a:gd name="connsiteX6043" fmla="*/ 1148193 w 2240198"/>
                <a:gd name="connsiteY6043" fmla="*/ 817338 h 1729012"/>
                <a:gd name="connsiteX6044" fmla="*/ 1148821 w 2240198"/>
                <a:gd name="connsiteY6044" fmla="*/ 818115 h 1729012"/>
                <a:gd name="connsiteX6045" fmla="*/ 1146605 w 2240198"/>
                <a:gd name="connsiteY6045" fmla="*/ 822619 h 1729012"/>
                <a:gd name="connsiteX6046" fmla="*/ 1146728 w 2240198"/>
                <a:gd name="connsiteY6046" fmla="*/ 823013 h 1729012"/>
                <a:gd name="connsiteX6047" fmla="*/ 1150564 w 2240198"/>
                <a:gd name="connsiteY6047" fmla="*/ 821857 h 1729012"/>
                <a:gd name="connsiteX6048" fmla="*/ 1152323 w 2240198"/>
                <a:gd name="connsiteY6048" fmla="*/ 821698 h 1729012"/>
                <a:gd name="connsiteX6049" fmla="*/ 1153042 w 2240198"/>
                <a:gd name="connsiteY6049" fmla="*/ 821959 h 1729012"/>
                <a:gd name="connsiteX6050" fmla="*/ 1155902 w 2240198"/>
                <a:gd name="connsiteY6050" fmla="*/ 824259 h 1729012"/>
                <a:gd name="connsiteX6051" fmla="*/ 1156188 w 2240198"/>
                <a:gd name="connsiteY6051" fmla="*/ 825972 h 1729012"/>
                <a:gd name="connsiteX6052" fmla="*/ 1156127 w 2240198"/>
                <a:gd name="connsiteY6052" fmla="*/ 828516 h 1729012"/>
                <a:gd name="connsiteX6053" fmla="*/ 1155826 w 2240198"/>
                <a:gd name="connsiteY6053" fmla="*/ 830350 h 1729012"/>
                <a:gd name="connsiteX6054" fmla="*/ 1154860 w 2240198"/>
                <a:gd name="connsiteY6054" fmla="*/ 831366 h 1729012"/>
                <a:gd name="connsiteX6055" fmla="*/ 1153712 w 2240198"/>
                <a:gd name="connsiteY6055" fmla="*/ 831775 h 1729012"/>
                <a:gd name="connsiteX6056" fmla="*/ 1152264 w 2240198"/>
                <a:gd name="connsiteY6056" fmla="*/ 832079 h 1729012"/>
                <a:gd name="connsiteX6057" fmla="*/ 1150964 w 2240198"/>
                <a:gd name="connsiteY6057" fmla="*/ 831954 h 1729012"/>
                <a:gd name="connsiteX6058" fmla="*/ 1146957 w 2240198"/>
                <a:gd name="connsiteY6058" fmla="*/ 832338 h 1729012"/>
                <a:gd name="connsiteX6059" fmla="*/ 1144595 w 2240198"/>
                <a:gd name="connsiteY6059" fmla="*/ 831848 h 1729012"/>
                <a:gd name="connsiteX6060" fmla="*/ 1142256 w 2240198"/>
                <a:gd name="connsiteY6060" fmla="*/ 830450 h 1729012"/>
                <a:gd name="connsiteX6061" fmla="*/ 1140596 w 2240198"/>
                <a:gd name="connsiteY6061" fmla="*/ 830114 h 1729012"/>
                <a:gd name="connsiteX6062" fmla="*/ 1138671 w 2240198"/>
                <a:gd name="connsiteY6062" fmla="*/ 831191 h 1729012"/>
                <a:gd name="connsiteX6063" fmla="*/ 1135625 w 2240198"/>
                <a:gd name="connsiteY6063" fmla="*/ 831014 h 1729012"/>
                <a:gd name="connsiteX6064" fmla="*/ 1132205 w 2240198"/>
                <a:gd name="connsiteY6064" fmla="*/ 827921 h 1729012"/>
                <a:gd name="connsiteX6065" fmla="*/ 1130841 w 2240198"/>
                <a:gd name="connsiteY6065" fmla="*/ 828213 h 1729012"/>
                <a:gd name="connsiteX6066" fmla="*/ 1130377 w 2240198"/>
                <a:gd name="connsiteY6066" fmla="*/ 828703 h 1729012"/>
                <a:gd name="connsiteX6067" fmla="*/ 1130434 w 2240198"/>
                <a:gd name="connsiteY6067" fmla="*/ 829370 h 1729012"/>
                <a:gd name="connsiteX6068" fmla="*/ 1131975 w 2240198"/>
                <a:gd name="connsiteY6068" fmla="*/ 831368 h 1729012"/>
                <a:gd name="connsiteX6069" fmla="*/ 1144000 w 2240198"/>
                <a:gd name="connsiteY6069" fmla="*/ 841940 h 1729012"/>
                <a:gd name="connsiteX6070" fmla="*/ 1145825 w 2240198"/>
                <a:gd name="connsiteY6070" fmla="*/ 844116 h 1729012"/>
                <a:gd name="connsiteX6071" fmla="*/ 1146229 w 2240198"/>
                <a:gd name="connsiteY6071" fmla="*/ 847241 h 1729012"/>
                <a:gd name="connsiteX6072" fmla="*/ 1146478 w 2240198"/>
                <a:gd name="connsiteY6072" fmla="*/ 847231 h 1729012"/>
                <a:gd name="connsiteX6073" fmla="*/ 1147603 w 2240198"/>
                <a:gd name="connsiteY6073" fmla="*/ 844105 h 1729012"/>
                <a:gd name="connsiteX6074" fmla="*/ 1146869 w 2240198"/>
                <a:gd name="connsiteY6074" fmla="*/ 842590 h 1729012"/>
                <a:gd name="connsiteX6075" fmla="*/ 1140682 w 2240198"/>
                <a:gd name="connsiteY6075" fmla="*/ 836444 h 1729012"/>
                <a:gd name="connsiteX6076" fmla="*/ 1139940 w 2240198"/>
                <a:gd name="connsiteY6076" fmla="*/ 834197 h 1729012"/>
                <a:gd name="connsiteX6077" fmla="*/ 1140156 w 2240198"/>
                <a:gd name="connsiteY6077" fmla="*/ 833585 h 1729012"/>
                <a:gd name="connsiteX6078" fmla="*/ 1141791 w 2240198"/>
                <a:gd name="connsiteY6078" fmla="*/ 832955 h 1729012"/>
                <a:gd name="connsiteX6079" fmla="*/ 1150598 w 2240198"/>
                <a:gd name="connsiteY6079" fmla="*/ 834491 h 1729012"/>
                <a:gd name="connsiteX6080" fmla="*/ 1154013 w 2240198"/>
                <a:gd name="connsiteY6080" fmla="*/ 834156 h 1729012"/>
                <a:gd name="connsiteX6081" fmla="*/ 1156313 w 2240198"/>
                <a:gd name="connsiteY6081" fmla="*/ 833073 h 1729012"/>
                <a:gd name="connsiteX6082" fmla="*/ 1157468 w 2240198"/>
                <a:gd name="connsiteY6082" fmla="*/ 831740 h 1729012"/>
                <a:gd name="connsiteX6083" fmla="*/ 1158306 w 2240198"/>
                <a:gd name="connsiteY6083" fmla="*/ 824390 h 1729012"/>
                <a:gd name="connsiteX6084" fmla="*/ 1159886 w 2240198"/>
                <a:gd name="connsiteY6084" fmla="*/ 819668 h 1729012"/>
                <a:gd name="connsiteX6085" fmla="*/ 1158952 w 2240198"/>
                <a:gd name="connsiteY6085" fmla="*/ 815436 h 1729012"/>
                <a:gd name="connsiteX6086" fmla="*/ 1156570 w 2240198"/>
                <a:gd name="connsiteY6086" fmla="*/ 808680 h 1729012"/>
                <a:gd name="connsiteX6087" fmla="*/ 1154698 w 2240198"/>
                <a:gd name="connsiteY6087" fmla="*/ 804690 h 1729012"/>
                <a:gd name="connsiteX6088" fmla="*/ 1150379 w 2240198"/>
                <a:gd name="connsiteY6088" fmla="*/ 800637 h 1729012"/>
                <a:gd name="connsiteX6089" fmla="*/ 1149954 w 2240198"/>
                <a:gd name="connsiteY6089" fmla="*/ 799182 h 1729012"/>
                <a:gd name="connsiteX6090" fmla="*/ 1154766 w 2240198"/>
                <a:gd name="connsiteY6090" fmla="*/ 786843 h 1729012"/>
                <a:gd name="connsiteX6091" fmla="*/ 1155632 w 2240198"/>
                <a:gd name="connsiteY6091" fmla="*/ 785802 h 1729012"/>
                <a:gd name="connsiteX6092" fmla="*/ 1156709 w 2240198"/>
                <a:gd name="connsiteY6092" fmla="*/ 785354 h 1729012"/>
                <a:gd name="connsiteX6093" fmla="*/ 1160495 w 2240198"/>
                <a:gd name="connsiteY6093" fmla="*/ 785173 h 1729012"/>
                <a:gd name="connsiteX6094" fmla="*/ 1163255 w 2240198"/>
                <a:gd name="connsiteY6094" fmla="*/ 784144 h 1729012"/>
                <a:gd name="connsiteX6095" fmla="*/ 1167583 w 2240198"/>
                <a:gd name="connsiteY6095" fmla="*/ 785583 h 1729012"/>
                <a:gd name="connsiteX6096" fmla="*/ 1169971 w 2240198"/>
                <a:gd name="connsiteY6096" fmla="*/ 785960 h 1729012"/>
                <a:gd name="connsiteX6097" fmla="*/ 1172928 w 2240198"/>
                <a:gd name="connsiteY6097" fmla="*/ 784684 h 1729012"/>
                <a:gd name="connsiteX6098" fmla="*/ 1179498 w 2240198"/>
                <a:gd name="connsiteY6098" fmla="*/ 779479 h 1729012"/>
                <a:gd name="connsiteX6099" fmla="*/ 1182071 w 2240198"/>
                <a:gd name="connsiteY6099" fmla="*/ 777865 h 1729012"/>
                <a:gd name="connsiteX6100" fmla="*/ 1185344 w 2240198"/>
                <a:gd name="connsiteY6100" fmla="*/ 774808 h 1729012"/>
                <a:gd name="connsiteX6101" fmla="*/ 1189316 w 2240198"/>
                <a:gd name="connsiteY6101" fmla="*/ 770309 h 1729012"/>
                <a:gd name="connsiteX6102" fmla="*/ 1193637 w 2240198"/>
                <a:gd name="connsiteY6102" fmla="*/ 767040 h 1729012"/>
                <a:gd name="connsiteX6103" fmla="*/ 1200635 w 2240198"/>
                <a:gd name="connsiteY6103" fmla="*/ 763992 h 1729012"/>
                <a:gd name="connsiteX6104" fmla="*/ 1204912 w 2240198"/>
                <a:gd name="connsiteY6104" fmla="*/ 761535 h 1729012"/>
                <a:gd name="connsiteX6105" fmla="*/ 1205777 w 2240198"/>
                <a:gd name="connsiteY6105" fmla="*/ 760652 h 1729012"/>
                <a:gd name="connsiteX6106" fmla="*/ 1201799 w 2240198"/>
                <a:gd name="connsiteY6106" fmla="*/ 760441 h 1729012"/>
                <a:gd name="connsiteX6107" fmla="*/ 1200832 w 2240198"/>
                <a:gd name="connsiteY6107" fmla="*/ 760026 h 1729012"/>
                <a:gd name="connsiteX6108" fmla="*/ 1200015 w 2240198"/>
                <a:gd name="connsiteY6108" fmla="*/ 757693 h 1729012"/>
                <a:gd name="connsiteX6109" fmla="*/ 1200429 w 2240198"/>
                <a:gd name="connsiteY6109" fmla="*/ 753372 h 1729012"/>
                <a:gd name="connsiteX6110" fmla="*/ 1200354 w 2240198"/>
                <a:gd name="connsiteY6110" fmla="*/ 750963 h 1729012"/>
                <a:gd name="connsiteX6111" fmla="*/ 1199882 w 2240198"/>
                <a:gd name="connsiteY6111" fmla="*/ 748788 h 1729012"/>
                <a:gd name="connsiteX6112" fmla="*/ 1199010 w 2240198"/>
                <a:gd name="connsiteY6112" fmla="*/ 746846 h 1729012"/>
                <a:gd name="connsiteX6113" fmla="*/ 1197744 w 2240198"/>
                <a:gd name="connsiteY6113" fmla="*/ 745136 h 1729012"/>
                <a:gd name="connsiteX6114" fmla="*/ 1196588 w 2240198"/>
                <a:gd name="connsiteY6114" fmla="*/ 744110 h 1729012"/>
                <a:gd name="connsiteX6115" fmla="*/ 1195546 w 2240198"/>
                <a:gd name="connsiteY6115" fmla="*/ 743769 h 1729012"/>
                <a:gd name="connsiteX6116" fmla="*/ 1194828 w 2240198"/>
                <a:gd name="connsiteY6116" fmla="*/ 743926 h 1729012"/>
                <a:gd name="connsiteX6117" fmla="*/ 1194438 w 2240198"/>
                <a:gd name="connsiteY6117" fmla="*/ 744577 h 1729012"/>
                <a:gd name="connsiteX6118" fmla="*/ 1193374 w 2240198"/>
                <a:gd name="connsiteY6118" fmla="*/ 748708 h 1729012"/>
                <a:gd name="connsiteX6119" fmla="*/ 1192017 w 2240198"/>
                <a:gd name="connsiteY6119" fmla="*/ 751741 h 1729012"/>
                <a:gd name="connsiteX6120" fmla="*/ 1190159 w 2240198"/>
                <a:gd name="connsiteY6120" fmla="*/ 753327 h 1729012"/>
                <a:gd name="connsiteX6121" fmla="*/ 1186303 w 2240198"/>
                <a:gd name="connsiteY6121" fmla="*/ 754398 h 1729012"/>
                <a:gd name="connsiteX6122" fmla="*/ 1179675 w 2240198"/>
                <a:gd name="connsiteY6122" fmla="*/ 755184 h 1729012"/>
                <a:gd name="connsiteX6123" fmla="*/ 1176926 w 2240198"/>
                <a:gd name="connsiteY6123" fmla="*/ 753735 h 1729012"/>
                <a:gd name="connsiteX6124" fmla="*/ 1176579 w 2240198"/>
                <a:gd name="connsiteY6124" fmla="*/ 752510 h 1729012"/>
                <a:gd name="connsiteX6125" fmla="*/ 1177539 w 2240198"/>
                <a:gd name="connsiteY6125" fmla="*/ 747706 h 1729012"/>
                <a:gd name="connsiteX6126" fmla="*/ 1179743 w 2240198"/>
                <a:gd name="connsiteY6126" fmla="*/ 745643 h 1729012"/>
                <a:gd name="connsiteX6127" fmla="*/ 1185805 w 2240198"/>
                <a:gd name="connsiteY6127" fmla="*/ 741572 h 1729012"/>
                <a:gd name="connsiteX6128" fmla="*/ 1189683 w 2240198"/>
                <a:gd name="connsiteY6128" fmla="*/ 738309 h 1729012"/>
                <a:gd name="connsiteX6129" fmla="*/ 1189746 w 2240198"/>
                <a:gd name="connsiteY6129" fmla="*/ 737741 h 1729012"/>
                <a:gd name="connsiteX6130" fmla="*/ 1186180 w 2240198"/>
                <a:gd name="connsiteY6130" fmla="*/ 737717 h 1729012"/>
                <a:gd name="connsiteX6131" fmla="*/ 1185329 w 2240198"/>
                <a:gd name="connsiteY6131" fmla="*/ 737045 h 1729012"/>
                <a:gd name="connsiteX6132" fmla="*/ 1184579 w 2240198"/>
                <a:gd name="connsiteY6132" fmla="*/ 733024 h 1729012"/>
                <a:gd name="connsiteX6133" fmla="*/ 1184786 w 2240198"/>
                <a:gd name="connsiteY6133" fmla="*/ 731522 h 1729012"/>
                <a:gd name="connsiteX6134" fmla="*/ 1185345 w 2240198"/>
                <a:gd name="connsiteY6134" fmla="*/ 729800 h 1729012"/>
                <a:gd name="connsiteX6135" fmla="*/ 1187839 w 2240198"/>
                <a:gd name="connsiteY6135" fmla="*/ 728549 h 1729012"/>
                <a:gd name="connsiteX6136" fmla="*/ 1195495 w 2240198"/>
                <a:gd name="connsiteY6136" fmla="*/ 727000 h 1729012"/>
                <a:gd name="connsiteX6137" fmla="*/ 1201453 w 2240198"/>
                <a:gd name="connsiteY6137" fmla="*/ 725180 h 1729012"/>
                <a:gd name="connsiteX6138" fmla="*/ 1201626 w 2240198"/>
                <a:gd name="connsiteY6138" fmla="*/ 725814 h 1729012"/>
                <a:gd name="connsiteX6139" fmla="*/ 1196850 w 2240198"/>
                <a:gd name="connsiteY6139" fmla="*/ 731269 h 1729012"/>
                <a:gd name="connsiteX6140" fmla="*/ 1196357 w 2240198"/>
                <a:gd name="connsiteY6140" fmla="*/ 732531 h 1729012"/>
                <a:gd name="connsiteX6141" fmla="*/ 1198180 w 2240198"/>
                <a:gd name="connsiteY6141" fmla="*/ 733715 h 1729012"/>
                <a:gd name="connsiteX6142" fmla="*/ 1202771 w 2240198"/>
                <a:gd name="connsiteY6142" fmla="*/ 730556 h 1729012"/>
                <a:gd name="connsiteX6143" fmla="*/ 1205735 w 2240198"/>
                <a:gd name="connsiteY6143" fmla="*/ 727948 h 1729012"/>
                <a:gd name="connsiteX6144" fmla="*/ 1206232 w 2240198"/>
                <a:gd name="connsiteY6144" fmla="*/ 727058 h 1729012"/>
                <a:gd name="connsiteX6145" fmla="*/ 1203542 w 2240198"/>
                <a:gd name="connsiteY6145" fmla="*/ 726732 h 1729012"/>
                <a:gd name="connsiteX6146" fmla="*/ 1203395 w 2240198"/>
                <a:gd name="connsiteY6146" fmla="*/ 725652 h 1729012"/>
                <a:gd name="connsiteX6147" fmla="*/ 1203914 w 2240198"/>
                <a:gd name="connsiteY6147" fmla="*/ 723670 h 1729012"/>
                <a:gd name="connsiteX6148" fmla="*/ 1203664 w 2240198"/>
                <a:gd name="connsiteY6148" fmla="*/ 722314 h 1729012"/>
                <a:gd name="connsiteX6149" fmla="*/ 1200683 w 2240198"/>
                <a:gd name="connsiteY6149" fmla="*/ 720602 h 1729012"/>
                <a:gd name="connsiteX6150" fmla="*/ 1197017 w 2240198"/>
                <a:gd name="connsiteY6150" fmla="*/ 721554 h 1729012"/>
                <a:gd name="connsiteX6151" fmla="*/ 1193957 w 2240198"/>
                <a:gd name="connsiteY6151" fmla="*/ 723357 h 1729012"/>
                <a:gd name="connsiteX6152" fmla="*/ 1191417 w 2240198"/>
                <a:gd name="connsiteY6152" fmla="*/ 723847 h 1729012"/>
                <a:gd name="connsiteX6153" fmla="*/ 1187666 w 2240198"/>
                <a:gd name="connsiteY6153" fmla="*/ 723882 h 1729012"/>
                <a:gd name="connsiteX6154" fmla="*/ 1184938 w 2240198"/>
                <a:gd name="connsiteY6154" fmla="*/ 723471 h 1729012"/>
                <a:gd name="connsiteX6155" fmla="*/ 1183230 w 2240198"/>
                <a:gd name="connsiteY6155" fmla="*/ 722612 h 1729012"/>
                <a:gd name="connsiteX6156" fmla="*/ 1181174 w 2240198"/>
                <a:gd name="connsiteY6156" fmla="*/ 720693 h 1729012"/>
                <a:gd name="connsiteX6157" fmla="*/ 1178773 w 2240198"/>
                <a:gd name="connsiteY6157" fmla="*/ 717709 h 1729012"/>
                <a:gd name="connsiteX6158" fmla="*/ 1175732 w 2240198"/>
                <a:gd name="connsiteY6158" fmla="*/ 714731 h 1729012"/>
                <a:gd name="connsiteX6159" fmla="*/ 1174656 w 2240198"/>
                <a:gd name="connsiteY6159" fmla="*/ 714405 h 1729012"/>
                <a:gd name="connsiteX6160" fmla="*/ 1173732 w 2240198"/>
                <a:gd name="connsiteY6160" fmla="*/ 714741 h 1729012"/>
                <a:gd name="connsiteX6161" fmla="*/ 1171791 w 2240198"/>
                <a:gd name="connsiteY6161" fmla="*/ 717619 h 1729012"/>
                <a:gd name="connsiteX6162" fmla="*/ 1170948 w 2240198"/>
                <a:gd name="connsiteY6162" fmla="*/ 717963 h 1729012"/>
                <a:gd name="connsiteX6163" fmla="*/ 1159041 w 2240198"/>
                <a:gd name="connsiteY6163" fmla="*/ 713933 h 1729012"/>
                <a:gd name="connsiteX6164" fmla="*/ 1153991 w 2240198"/>
                <a:gd name="connsiteY6164" fmla="*/ 711668 h 1729012"/>
                <a:gd name="connsiteX6165" fmla="*/ 1151547 w 2240198"/>
                <a:gd name="connsiteY6165" fmla="*/ 709950 h 1729012"/>
                <a:gd name="connsiteX6166" fmla="*/ 1148510 w 2240198"/>
                <a:gd name="connsiteY6166" fmla="*/ 708935 h 1729012"/>
                <a:gd name="connsiteX6167" fmla="*/ 1144877 w 2240198"/>
                <a:gd name="connsiteY6167" fmla="*/ 708625 h 1729012"/>
                <a:gd name="connsiteX6168" fmla="*/ 1141979 w 2240198"/>
                <a:gd name="connsiteY6168" fmla="*/ 707826 h 1729012"/>
                <a:gd name="connsiteX6169" fmla="*/ 1139819 w 2240198"/>
                <a:gd name="connsiteY6169" fmla="*/ 706544 h 1729012"/>
                <a:gd name="connsiteX6170" fmla="*/ 1138071 w 2240198"/>
                <a:gd name="connsiteY6170" fmla="*/ 704704 h 1729012"/>
                <a:gd name="connsiteX6171" fmla="*/ 1136735 w 2240198"/>
                <a:gd name="connsiteY6171" fmla="*/ 702302 h 1729012"/>
                <a:gd name="connsiteX6172" fmla="*/ 1134261 w 2240198"/>
                <a:gd name="connsiteY6172" fmla="*/ 699273 h 1729012"/>
                <a:gd name="connsiteX6173" fmla="*/ 1128606 w 2240198"/>
                <a:gd name="connsiteY6173" fmla="*/ 693231 h 1729012"/>
                <a:gd name="connsiteX6174" fmla="*/ 1127110 w 2240198"/>
                <a:gd name="connsiteY6174" fmla="*/ 689345 h 1729012"/>
                <a:gd name="connsiteX6175" fmla="*/ 1126902 w 2240198"/>
                <a:gd name="connsiteY6175" fmla="*/ 687854 h 1729012"/>
                <a:gd name="connsiteX6176" fmla="*/ 1127257 w 2240198"/>
                <a:gd name="connsiteY6176" fmla="*/ 684013 h 1729012"/>
                <a:gd name="connsiteX6177" fmla="*/ 1132557 w 2240198"/>
                <a:gd name="connsiteY6177" fmla="*/ 677477 h 1729012"/>
                <a:gd name="connsiteX6178" fmla="*/ 1133543 w 2240198"/>
                <a:gd name="connsiteY6178" fmla="*/ 675590 h 1729012"/>
                <a:gd name="connsiteX6179" fmla="*/ 1135350 w 2240198"/>
                <a:gd name="connsiteY6179" fmla="*/ 674199 h 1729012"/>
                <a:gd name="connsiteX6180" fmla="*/ 1137978 w 2240198"/>
                <a:gd name="connsiteY6180" fmla="*/ 673303 h 1729012"/>
                <a:gd name="connsiteX6181" fmla="*/ 1139870 w 2240198"/>
                <a:gd name="connsiteY6181" fmla="*/ 673035 h 1729012"/>
                <a:gd name="connsiteX6182" fmla="*/ 1144168 w 2240198"/>
                <a:gd name="connsiteY6182" fmla="*/ 673865 h 1729012"/>
                <a:gd name="connsiteX6183" fmla="*/ 1141594 w 2240198"/>
                <a:gd name="connsiteY6183" fmla="*/ 671836 h 1729012"/>
                <a:gd name="connsiteX6184" fmla="*/ 1141391 w 2240198"/>
                <a:gd name="connsiteY6184" fmla="*/ 670751 h 1729012"/>
                <a:gd name="connsiteX6185" fmla="*/ 1143973 w 2240198"/>
                <a:gd name="connsiteY6185" fmla="*/ 667190 h 1729012"/>
                <a:gd name="connsiteX6186" fmla="*/ 1143464 w 2240198"/>
                <a:gd name="connsiteY6186" fmla="*/ 667031 h 1729012"/>
                <a:gd name="connsiteX6187" fmla="*/ 1136364 w 2240198"/>
                <a:gd name="connsiteY6187" fmla="*/ 669766 h 1729012"/>
                <a:gd name="connsiteX6188" fmla="*/ 1134549 w 2240198"/>
                <a:gd name="connsiteY6188" fmla="*/ 669581 h 1729012"/>
                <a:gd name="connsiteX6189" fmla="*/ 1131991 w 2240198"/>
                <a:gd name="connsiteY6189" fmla="*/ 667909 h 1729012"/>
                <a:gd name="connsiteX6190" fmla="*/ 1127172 w 2240198"/>
                <a:gd name="connsiteY6190" fmla="*/ 661919 h 1729012"/>
                <a:gd name="connsiteX6191" fmla="*/ 1127118 w 2240198"/>
                <a:gd name="connsiteY6191" fmla="*/ 658179 h 1729012"/>
                <a:gd name="connsiteX6192" fmla="*/ 1128633 w 2240198"/>
                <a:gd name="connsiteY6192" fmla="*/ 652971 h 1729012"/>
                <a:gd name="connsiteX6193" fmla="*/ 1129164 w 2240198"/>
                <a:gd name="connsiteY6193" fmla="*/ 649848 h 1729012"/>
                <a:gd name="connsiteX6194" fmla="*/ 1127785 w 2240198"/>
                <a:gd name="connsiteY6194" fmla="*/ 647188 h 1729012"/>
                <a:gd name="connsiteX6195" fmla="*/ 1128300 w 2240198"/>
                <a:gd name="connsiteY6195" fmla="*/ 646439 h 1729012"/>
                <a:gd name="connsiteX6196" fmla="*/ 1129795 w 2240198"/>
                <a:gd name="connsiteY6196" fmla="*/ 645694 h 1729012"/>
                <a:gd name="connsiteX6197" fmla="*/ 1130423 w 2240198"/>
                <a:gd name="connsiteY6197" fmla="*/ 644892 h 1729012"/>
                <a:gd name="connsiteX6198" fmla="*/ 1129768 w 2240198"/>
                <a:gd name="connsiteY6198" fmla="*/ 641942 h 1729012"/>
                <a:gd name="connsiteX6199" fmla="*/ 1130804 w 2240198"/>
                <a:gd name="connsiteY6199" fmla="*/ 640371 h 1729012"/>
                <a:gd name="connsiteX6200" fmla="*/ 1134210 w 2240198"/>
                <a:gd name="connsiteY6200" fmla="*/ 637319 h 1729012"/>
                <a:gd name="connsiteX6201" fmla="*/ 1137551 w 2240198"/>
                <a:gd name="connsiteY6201" fmla="*/ 634645 h 1729012"/>
                <a:gd name="connsiteX6202" fmla="*/ 1139518 w 2240198"/>
                <a:gd name="connsiteY6202" fmla="*/ 633829 h 1729012"/>
                <a:gd name="connsiteX6203" fmla="*/ 1141233 w 2240198"/>
                <a:gd name="connsiteY6203" fmla="*/ 633980 h 1729012"/>
                <a:gd name="connsiteX6204" fmla="*/ 1143016 w 2240198"/>
                <a:gd name="connsiteY6204" fmla="*/ 634801 h 1729012"/>
                <a:gd name="connsiteX6205" fmla="*/ 1144872 w 2240198"/>
                <a:gd name="connsiteY6205" fmla="*/ 636294 h 1729012"/>
                <a:gd name="connsiteX6206" fmla="*/ 1148055 w 2240198"/>
                <a:gd name="connsiteY6206" fmla="*/ 637830 h 1729012"/>
                <a:gd name="connsiteX6207" fmla="*/ 1150408 w 2240198"/>
                <a:gd name="connsiteY6207" fmla="*/ 638267 h 1729012"/>
                <a:gd name="connsiteX6208" fmla="*/ 1152140 w 2240198"/>
                <a:gd name="connsiteY6208" fmla="*/ 637428 h 1729012"/>
                <a:gd name="connsiteX6209" fmla="*/ 1155100 w 2240198"/>
                <a:gd name="connsiteY6209" fmla="*/ 631669 h 1729012"/>
                <a:gd name="connsiteX6210" fmla="*/ 1156147 w 2240198"/>
                <a:gd name="connsiteY6210" fmla="*/ 630192 h 1729012"/>
                <a:gd name="connsiteX6211" fmla="*/ 1155154 w 2240198"/>
                <a:gd name="connsiteY6211" fmla="*/ 629550 h 1729012"/>
                <a:gd name="connsiteX6212" fmla="*/ 1149352 w 2240198"/>
                <a:gd name="connsiteY6212" fmla="*/ 629611 h 1729012"/>
                <a:gd name="connsiteX6213" fmla="*/ 1146837 w 2240198"/>
                <a:gd name="connsiteY6213" fmla="*/ 629134 h 1729012"/>
                <a:gd name="connsiteX6214" fmla="*/ 1145392 w 2240198"/>
                <a:gd name="connsiteY6214" fmla="*/ 628580 h 1729012"/>
                <a:gd name="connsiteX6215" fmla="*/ 1144329 w 2240198"/>
                <a:gd name="connsiteY6215" fmla="*/ 626375 h 1729012"/>
                <a:gd name="connsiteX6216" fmla="*/ 1145205 w 2240198"/>
                <a:gd name="connsiteY6216" fmla="*/ 625197 h 1729012"/>
                <a:gd name="connsiteX6217" fmla="*/ 1150830 w 2240198"/>
                <a:gd name="connsiteY6217" fmla="*/ 621106 h 1729012"/>
                <a:gd name="connsiteX6218" fmla="*/ 1153473 w 2240198"/>
                <a:gd name="connsiteY6218" fmla="*/ 616805 h 1729012"/>
                <a:gd name="connsiteX6219" fmla="*/ 1161345 w 2240198"/>
                <a:gd name="connsiteY6219" fmla="*/ 610821 h 1729012"/>
                <a:gd name="connsiteX6220" fmla="*/ 1169314 w 2240198"/>
                <a:gd name="connsiteY6220" fmla="*/ 608001 h 1729012"/>
                <a:gd name="connsiteX6221" fmla="*/ 1173170 w 2240198"/>
                <a:gd name="connsiteY6221" fmla="*/ 607076 h 1729012"/>
                <a:gd name="connsiteX6222" fmla="*/ 1119224 w 2240198"/>
                <a:gd name="connsiteY6222" fmla="*/ 549260 h 1729012"/>
                <a:gd name="connsiteX6223" fmla="*/ 1120979 w 2240198"/>
                <a:gd name="connsiteY6223" fmla="*/ 550394 h 1729012"/>
                <a:gd name="connsiteX6224" fmla="*/ 1121623 w 2240198"/>
                <a:gd name="connsiteY6224" fmla="*/ 551762 h 1729012"/>
                <a:gd name="connsiteX6225" fmla="*/ 1122214 w 2240198"/>
                <a:gd name="connsiteY6225" fmla="*/ 552298 h 1729012"/>
                <a:gd name="connsiteX6226" fmla="*/ 1124711 w 2240198"/>
                <a:gd name="connsiteY6226" fmla="*/ 553480 h 1729012"/>
                <a:gd name="connsiteX6227" fmla="*/ 1125915 w 2240198"/>
                <a:gd name="connsiteY6227" fmla="*/ 554841 h 1729012"/>
                <a:gd name="connsiteX6228" fmla="*/ 1125787 w 2240198"/>
                <a:gd name="connsiteY6228" fmla="*/ 556405 h 1729012"/>
                <a:gd name="connsiteX6229" fmla="*/ 1124979 w 2240198"/>
                <a:gd name="connsiteY6229" fmla="*/ 558784 h 1729012"/>
                <a:gd name="connsiteX6230" fmla="*/ 1124087 w 2240198"/>
                <a:gd name="connsiteY6230" fmla="*/ 560306 h 1729012"/>
                <a:gd name="connsiteX6231" fmla="*/ 1123108 w 2240198"/>
                <a:gd name="connsiteY6231" fmla="*/ 560982 h 1729012"/>
                <a:gd name="connsiteX6232" fmla="*/ 1121255 w 2240198"/>
                <a:gd name="connsiteY6232" fmla="*/ 561482 h 1729012"/>
                <a:gd name="connsiteX6233" fmla="*/ 1117160 w 2240198"/>
                <a:gd name="connsiteY6233" fmla="*/ 561960 h 1729012"/>
                <a:gd name="connsiteX6234" fmla="*/ 1113383 w 2240198"/>
                <a:gd name="connsiteY6234" fmla="*/ 558566 h 1729012"/>
                <a:gd name="connsiteX6235" fmla="*/ 1113259 w 2240198"/>
                <a:gd name="connsiteY6235" fmla="*/ 555395 h 1729012"/>
                <a:gd name="connsiteX6236" fmla="*/ 1113511 w 2240198"/>
                <a:gd name="connsiteY6236" fmla="*/ 553645 h 1729012"/>
                <a:gd name="connsiteX6237" fmla="*/ 1113979 w 2240198"/>
                <a:gd name="connsiteY6237" fmla="*/ 552109 h 1729012"/>
                <a:gd name="connsiteX6238" fmla="*/ 1115355 w 2240198"/>
                <a:gd name="connsiteY6238" fmla="*/ 550793 h 1729012"/>
                <a:gd name="connsiteX6239" fmla="*/ 668493 w 2240198"/>
                <a:gd name="connsiteY6239" fmla="*/ 540306 h 1729012"/>
                <a:gd name="connsiteX6240" fmla="*/ 677022 w 2240198"/>
                <a:gd name="connsiteY6240" fmla="*/ 542353 h 1729012"/>
                <a:gd name="connsiteX6241" fmla="*/ 679442 w 2240198"/>
                <a:gd name="connsiteY6241" fmla="*/ 543956 h 1729012"/>
                <a:gd name="connsiteX6242" fmla="*/ 680519 w 2240198"/>
                <a:gd name="connsiteY6242" fmla="*/ 545320 h 1729012"/>
                <a:gd name="connsiteX6243" fmla="*/ 681455 w 2240198"/>
                <a:gd name="connsiteY6243" fmla="*/ 547223 h 1729012"/>
                <a:gd name="connsiteX6244" fmla="*/ 682255 w 2240198"/>
                <a:gd name="connsiteY6244" fmla="*/ 549675 h 1729012"/>
                <a:gd name="connsiteX6245" fmla="*/ 683365 w 2240198"/>
                <a:gd name="connsiteY6245" fmla="*/ 554978 h 1729012"/>
                <a:gd name="connsiteX6246" fmla="*/ 683506 w 2240198"/>
                <a:gd name="connsiteY6246" fmla="*/ 557710 h 1729012"/>
                <a:gd name="connsiteX6247" fmla="*/ 683314 w 2240198"/>
                <a:gd name="connsiteY6247" fmla="*/ 560446 h 1729012"/>
                <a:gd name="connsiteX6248" fmla="*/ 682780 w 2240198"/>
                <a:gd name="connsiteY6248" fmla="*/ 562921 h 1729012"/>
                <a:gd name="connsiteX6249" fmla="*/ 681908 w 2240198"/>
                <a:gd name="connsiteY6249" fmla="*/ 565133 h 1729012"/>
                <a:gd name="connsiteX6250" fmla="*/ 680170 w 2240198"/>
                <a:gd name="connsiteY6250" fmla="*/ 567829 h 1729012"/>
                <a:gd name="connsiteX6251" fmla="*/ 677568 w 2240198"/>
                <a:gd name="connsiteY6251" fmla="*/ 571006 h 1729012"/>
                <a:gd name="connsiteX6252" fmla="*/ 672053 w 2240198"/>
                <a:gd name="connsiteY6252" fmla="*/ 576445 h 1729012"/>
                <a:gd name="connsiteX6253" fmla="*/ 671452 w 2240198"/>
                <a:gd name="connsiteY6253" fmla="*/ 578025 h 1729012"/>
                <a:gd name="connsiteX6254" fmla="*/ 673061 w 2240198"/>
                <a:gd name="connsiteY6254" fmla="*/ 578627 h 1729012"/>
                <a:gd name="connsiteX6255" fmla="*/ 675994 w 2240198"/>
                <a:gd name="connsiteY6255" fmla="*/ 578128 h 1729012"/>
                <a:gd name="connsiteX6256" fmla="*/ 680253 w 2240198"/>
                <a:gd name="connsiteY6256" fmla="*/ 576531 h 1729012"/>
                <a:gd name="connsiteX6257" fmla="*/ 685746 w 2240198"/>
                <a:gd name="connsiteY6257" fmla="*/ 575217 h 1729012"/>
                <a:gd name="connsiteX6258" fmla="*/ 692475 w 2240198"/>
                <a:gd name="connsiteY6258" fmla="*/ 574192 h 1729012"/>
                <a:gd name="connsiteX6259" fmla="*/ 694257 w 2240198"/>
                <a:gd name="connsiteY6259" fmla="*/ 575439 h 1729012"/>
                <a:gd name="connsiteX6260" fmla="*/ 695375 w 2240198"/>
                <a:gd name="connsiteY6260" fmla="*/ 575186 h 1729012"/>
                <a:gd name="connsiteX6261" fmla="*/ 697353 w 2240198"/>
                <a:gd name="connsiteY6261" fmla="*/ 573153 h 1729012"/>
                <a:gd name="connsiteX6262" fmla="*/ 697706 w 2240198"/>
                <a:gd name="connsiteY6262" fmla="*/ 571815 h 1729012"/>
                <a:gd name="connsiteX6263" fmla="*/ 697458 w 2240198"/>
                <a:gd name="connsiteY6263" fmla="*/ 570304 h 1729012"/>
                <a:gd name="connsiteX6264" fmla="*/ 697572 w 2240198"/>
                <a:gd name="connsiteY6264" fmla="*/ 567010 h 1729012"/>
                <a:gd name="connsiteX6265" fmla="*/ 698626 w 2240198"/>
                <a:gd name="connsiteY6265" fmla="*/ 565025 h 1729012"/>
                <a:gd name="connsiteX6266" fmla="*/ 702619 w 2240198"/>
                <a:gd name="connsiteY6266" fmla="*/ 560844 h 1729012"/>
                <a:gd name="connsiteX6267" fmla="*/ 704758 w 2240198"/>
                <a:gd name="connsiteY6267" fmla="*/ 559336 h 1729012"/>
                <a:gd name="connsiteX6268" fmla="*/ 708169 w 2240198"/>
                <a:gd name="connsiteY6268" fmla="*/ 558646 h 1729012"/>
                <a:gd name="connsiteX6269" fmla="*/ 716279 w 2240198"/>
                <a:gd name="connsiteY6269" fmla="*/ 559092 h 1729012"/>
                <a:gd name="connsiteX6270" fmla="*/ 723883 w 2240198"/>
                <a:gd name="connsiteY6270" fmla="*/ 561481 h 1729012"/>
                <a:gd name="connsiteX6271" fmla="*/ 734169 w 2240198"/>
                <a:gd name="connsiteY6271" fmla="*/ 563828 h 1729012"/>
                <a:gd name="connsiteX6272" fmla="*/ 749197 w 2240198"/>
                <a:gd name="connsiteY6272" fmla="*/ 569715 h 1729012"/>
                <a:gd name="connsiteX6273" fmla="*/ 753906 w 2240198"/>
                <a:gd name="connsiteY6273" fmla="*/ 572225 h 1729012"/>
                <a:gd name="connsiteX6274" fmla="*/ 754396 w 2240198"/>
                <a:gd name="connsiteY6274" fmla="*/ 574396 h 1729012"/>
                <a:gd name="connsiteX6275" fmla="*/ 751730 w 2240198"/>
                <a:gd name="connsiteY6275" fmla="*/ 579023 h 1729012"/>
                <a:gd name="connsiteX6276" fmla="*/ 745256 w 2240198"/>
                <a:gd name="connsiteY6276" fmla="*/ 585556 h 1729012"/>
                <a:gd name="connsiteX6277" fmla="*/ 740054 w 2240198"/>
                <a:gd name="connsiteY6277" fmla="*/ 587909 h 1729012"/>
                <a:gd name="connsiteX6278" fmla="*/ 738048 w 2240198"/>
                <a:gd name="connsiteY6278" fmla="*/ 589350 h 1729012"/>
                <a:gd name="connsiteX6279" fmla="*/ 741434 w 2240198"/>
                <a:gd name="connsiteY6279" fmla="*/ 590344 h 1729012"/>
                <a:gd name="connsiteX6280" fmla="*/ 743628 w 2240198"/>
                <a:gd name="connsiteY6280" fmla="*/ 592018 h 1729012"/>
                <a:gd name="connsiteX6281" fmla="*/ 746963 w 2240198"/>
                <a:gd name="connsiteY6281" fmla="*/ 589597 h 1729012"/>
                <a:gd name="connsiteX6282" fmla="*/ 749402 w 2240198"/>
                <a:gd name="connsiteY6282" fmla="*/ 586887 h 1729012"/>
                <a:gd name="connsiteX6283" fmla="*/ 752855 w 2240198"/>
                <a:gd name="connsiteY6283" fmla="*/ 584636 h 1729012"/>
                <a:gd name="connsiteX6284" fmla="*/ 754032 w 2240198"/>
                <a:gd name="connsiteY6284" fmla="*/ 584435 h 1729012"/>
                <a:gd name="connsiteX6285" fmla="*/ 754320 w 2240198"/>
                <a:gd name="connsiteY6285" fmla="*/ 584911 h 1729012"/>
                <a:gd name="connsiteX6286" fmla="*/ 753718 w 2240198"/>
                <a:gd name="connsiteY6286" fmla="*/ 586069 h 1729012"/>
                <a:gd name="connsiteX6287" fmla="*/ 753462 w 2240198"/>
                <a:gd name="connsiteY6287" fmla="*/ 587202 h 1729012"/>
                <a:gd name="connsiteX6288" fmla="*/ 753551 w 2240198"/>
                <a:gd name="connsiteY6288" fmla="*/ 588307 h 1729012"/>
                <a:gd name="connsiteX6289" fmla="*/ 753948 w 2240198"/>
                <a:gd name="connsiteY6289" fmla="*/ 588980 h 1729012"/>
                <a:gd name="connsiteX6290" fmla="*/ 756065 w 2240198"/>
                <a:gd name="connsiteY6290" fmla="*/ 589325 h 1729012"/>
                <a:gd name="connsiteX6291" fmla="*/ 757198 w 2240198"/>
                <a:gd name="connsiteY6291" fmla="*/ 588910 h 1729012"/>
                <a:gd name="connsiteX6292" fmla="*/ 761786 w 2240198"/>
                <a:gd name="connsiteY6292" fmla="*/ 585728 h 1729012"/>
                <a:gd name="connsiteX6293" fmla="*/ 766284 w 2240198"/>
                <a:gd name="connsiteY6293" fmla="*/ 580854 h 1729012"/>
                <a:gd name="connsiteX6294" fmla="*/ 773105 w 2240198"/>
                <a:gd name="connsiteY6294" fmla="*/ 577700 h 1729012"/>
                <a:gd name="connsiteX6295" fmla="*/ 774963 w 2240198"/>
                <a:gd name="connsiteY6295" fmla="*/ 576086 h 1729012"/>
                <a:gd name="connsiteX6296" fmla="*/ 780901 w 2240198"/>
                <a:gd name="connsiteY6296" fmla="*/ 574744 h 1729012"/>
                <a:gd name="connsiteX6297" fmla="*/ 780828 w 2240198"/>
                <a:gd name="connsiteY6297" fmla="*/ 573795 h 1729012"/>
                <a:gd name="connsiteX6298" fmla="*/ 781102 w 2240198"/>
                <a:gd name="connsiteY6298" fmla="*/ 570052 h 1729012"/>
                <a:gd name="connsiteX6299" fmla="*/ 779025 w 2240198"/>
                <a:gd name="connsiteY6299" fmla="*/ 568457 h 1729012"/>
                <a:gd name="connsiteX6300" fmla="*/ 772064 w 2240198"/>
                <a:gd name="connsiteY6300" fmla="*/ 565112 h 1729012"/>
                <a:gd name="connsiteX6301" fmla="*/ 768620 w 2240198"/>
                <a:gd name="connsiteY6301" fmla="*/ 561098 h 1729012"/>
                <a:gd name="connsiteX6302" fmla="*/ 769345 w 2240198"/>
                <a:gd name="connsiteY6302" fmla="*/ 558020 h 1729012"/>
                <a:gd name="connsiteX6303" fmla="*/ 773189 w 2240198"/>
                <a:gd name="connsiteY6303" fmla="*/ 558469 h 1729012"/>
                <a:gd name="connsiteX6304" fmla="*/ 783702 w 2240198"/>
                <a:gd name="connsiteY6304" fmla="*/ 558797 h 1729012"/>
                <a:gd name="connsiteX6305" fmla="*/ 785888 w 2240198"/>
                <a:gd name="connsiteY6305" fmla="*/ 559208 h 1729012"/>
                <a:gd name="connsiteX6306" fmla="*/ 795993 w 2240198"/>
                <a:gd name="connsiteY6306" fmla="*/ 564424 h 1729012"/>
                <a:gd name="connsiteX6307" fmla="*/ 799563 w 2240198"/>
                <a:gd name="connsiteY6307" fmla="*/ 567666 h 1729012"/>
                <a:gd name="connsiteX6308" fmla="*/ 802403 w 2240198"/>
                <a:gd name="connsiteY6308" fmla="*/ 569275 h 1729012"/>
                <a:gd name="connsiteX6309" fmla="*/ 808367 w 2240198"/>
                <a:gd name="connsiteY6309" fmla="*/ 571615 h 1729012"/>
                <a:gd name="connsiteX6310" fmla="*/ 810368 w 2240198"/>
                <a:gd name="connsiteY6310" fmla="*/ 573516 h 1729012"/>
                <a:gd name="connsiteX6311" fmla="*/ 811778 w 2240198"/>
                <a:gd name="connsiteY6311" fmla="*/ 574288 h 1729012"/>
                <a:gd name="connsiteX6312" fmla="*/ 812266 w 2240198"/>
                <a:gd name="connsiteY6312" fmla="*/ 575090 h 1729012"/>
                <a:gd name="connsiteX6313" fmla="*/ 811829 w 2240198"/>
                <a:gd name="connsiteY6313" fmla="*/ 575920 h 1729012"/>
                <a:gd name="connsiteX6314" fmla="*/ 811599 w 2240198"/>
                <a:gd name="connsiteY6314" fmla="*/ 577878 h 1729012"/>
                <a:gd name="connsiteX6315" fmla="*/ 812706 w 2240198"/>
                <a:gd name="connsiteY6315" fmla="*/ 578508 h 1729012"/>
                <a:gd name="connsiteX6316" fmla="*/ 816584 w 2240198"/>
                <a:gd name="connsiteY6316" fmla="*/ 579243 h 1729012"/>
                <a:gd name="connsiteX6317" fmla="*/ 817671 w 2240198"/>
                <a:gd name="connsiteY6317" fmla="*/ 580031 h 1729012"/>
                <a:gd name="connsiteX6318" fmla="*/ 819108 w 2240198"/>
                <a:gd name="connsiteY6318" fmla="*/ 582511 h 1729012"/>
                <a:gd name="connsiteX6319" fmla="*/ 820898 w 2240198"/>
                <a:gd name="connsiteY6319" fmla="*/ 586683 h 1729012"/>
                <a:gd name="connsiteX6320" fmla="*/ 822454 w 2240198"/>
                <a:gd name="connsiteY6320" fmla="*/ 591199 h 1729012"/>
                <a:gd name="connsiteX6321" fmla="*/ 824908 w 2240198"/>
                <a:gd name="connsiteY6321" fmla="*/ 599691 h 1729012"/>
                <a:gd name="connsiteX6322" fmla="*/ 829806 w 2240198"/>
                <a:gd name="connsiteY6322" fmla="*/ 610977 h 1729012"/>
                <a:gd name="connsiteX6323" fmla="*/ 831480 w 2240198"/>
                <a:gd name="connsiteY6323" fmla="*/ 618011 h 1729012"/>
                <a:gd name="connsiteX6324" fmla="*/ 832042 w 2240198"/>
                <a:gd name="connsiteY6324" fmla="*/ 619300 h 1729012"/>
                <a:gd name="connsiteX6325" fmla="*/ 833146 w 2240198"/>
                <a:gd name="connsiteY6325" fmla="*/ 620187 h 1729012"/>
                <a:gd name="connsiteX6326" fmla="*/ 836287 w 2240198"/>
                <a:gd name="connsiteY6326" fmla="*/ 621477 h 1729012"/>
                <a:gd name="connsiteX6327" fmla="*/ 838708 w 2240198"/>
                <a:gd name="connsiteY6327" fmla="*/ 623300 h 1729012"/>
                <a:gd name="connsiteX6328" fmla="*/ 841561 w 2240198"/>
                <a:gd name="connsiteY6328" fmla="*/ 623886 h 1729012"/>
                <a:gd name="connsiteX6329" fmla="*/ 842255 w 2240198"/>
                <a:gd name="connsiteY6329" fmla="*/ 623722 h 1729012"/>
                <a:gd name="connsiteX6330" fmla="*/ 842965 w 2240198"/>
                <a:gd name="connsiteY6330" fmla="*/ 622156 h 1729012"/>
                <a:gd name="connsiteX6331" fmla="*/ 844745 w 2240198"/>
                <a:gd name="connsiteY6331" fmla="*/ 619662 h 1729012"/>
                <a:gd name="connsiteX6332" fmla="*/ 853374 w 2240198"/>
                <a:gd name="connsiteY6332" fmla="*/ 614805 h 1729012"/>
                <a:gd name="connsiteX6333" fmla="*/ 853822 w 2240198"/>
                <a:gd name="connsiteY6333" fmla="*/ 614051 h 1729012"/>
                <a:gd name="connsiteX6334" fmla="*/ 852803 w 2240198"/>
                <a:gd name="connsiteY6334" fmla="*/ 612931 h 1729012"/>
                <a:gd name="connsiteX6335" fmla="*/ 852490 w 2240198"/>
                <a:gd name="connsiteY6335" fmla="*/ 612169 h 1729012"/>
                <a:gd name="connsiteX6336" fmla="*/ 852615 w 2240198"/>
                <a:gd name="connsiteY6336" fmla="*/ 611653 h 1729012"/>
                <a:gd name="connsiteX6337" fmla="*/ 854412 w 2240198"/>
                <a:gd name="connsiteY6337" fmla="*/ 611247 h 1729012"/>
                <a:gd name="connsiteX6338" fmla="*/ 848413 w 2240198"/>
                <a:gd name="connsiteY6338" fmla="*/ 605068 h 1729012"/>
                <a:gd name="connsiteX6339" fmla="*/ 844526 w 2240198"/>
                <a:gd name="connsiteY6339" fmla="*/ 599191 h 1729012"/>
                <a:gd name="connsiteX6340" fmla="*/ 842037 w 2240198"/>
                <a:gd name="connsiteY6340" fmla="*/ 591899 h 1729012"/>
                <a:gd name="connsiteX6341" fmla="*/ 841657 w 2240198"/>
                <a:gd name="connsiteY6341" fmla="*/ 589763 h 1729012"/>
                <a:gd name="connsiteX6342" fmla="*/ 841285 w 2240198"/>
                <a:gd name="connsiteY6342" fmla="*/ 585213 h 1729012"/>
                <a:gd name="connsiteX6343" fmla="*/ 840476 w 2240198"/>
                <a:gd name="connsiteY6343" fmla="*/ 584016 h 1729012"/>
                <a:gd name="connsiteX6344" fmla="*/ 839101 w 2240198"/>
                <a:gd name="connsiteY6344" fmla="*/ 582918 h 1729012"/>
                <a:gd name="connsiteX6345" fmla="*/ 838526 w 2240198"/>
                <a:gd name="connsiteY6345" fmla="*/ 581500 h 1729012"/>
                <a:gd name="connsiteX6346" fmla="*/ 838750 w 2240198"/>
                <a:gd name="connsiteY6346" fmla="*/ 579765 h 1729012"/>
                <a:gd name="connsiteX6347" fmla="*/ 838479 w 2240198"/>
                <a:gd name="connsiteY6347" fmla="*/ 578273 h 1729012"/>
                <a:gd name="connsiteX6348" fmla="*/ 836887 w 2240198"/>
                <a:gd name="connsiteY6348" fmla="*/ 575157 h 1729012"/>
                <a:gd name="connsiteX6349" fmla="*/ 830774 w 2240198"/>
                <a:gd name="connsiteY6349" fmla="*/ 553290 h 1729012"/>
                <a:gd name="connsiteX6350" fmla="*/ 830794 w 2240198"/>
                <a:gd name="connsiteY6350" fmla="*/ 551151 h 1729012"/>
                <a:gd name="connsiteX6351" fmla="*/ 831638 w 2240198"/>
                <a:gd name="connsiteY6351" fmla="*/ 549540 h 1729012"/>
                <a:gd name="connsiteX6352" fmla="*/ 833815 w 2240198"/>
                <a:gd name="connsiteY6352" fmla="*/ 548616 h 1729012"/>
                <a:gd name="connsiteX6353" fmla="*/ 837324 w 2240198"/>
                <a:gd name="connsiteY6353" fmla="*/ 548388 h 1729012"/>
                <a:gd name="connsiteX6354" fmla="*/ 838433 w 2240198"/>
                <a:gd name="connsiteY6354" fmla="*/ 547883 h 1729012"/>
                <a:gd name="connsiteX6355" fmla="*/ 837143 w 2240198"/>
                <a:gd name="connsiteY6355" fmla="*/ 547106 h 1729012"/>
                <a:gd name="connsiteX6356" fmla="*/ 834850 w 2240198"/>
                <a:gd name="connsiteY6356" fmla="*/ 544755 h 1729012"/>
                <a:gd name="connsiteX6357" fmla="*/ 834548 w 2240198"/>
                <a:gd name="connsiteY6357" fmla="*/ 543668 h 1729012"/>
                <a:gd name="connsiteX6358" fmla="*/ 836078 w 2240198"/>
                <a:gd name="connsiteY6358" fmla="*/ 541473 h 1729012"/>
                <a:gd name="connsiteX6359" fmla="*/ 843914 w 2240198"/>
                <a:gd name="connsiteY6359" fmla="*/ 542433 h 1729012"/>
                <a:gd name="connsiteX6360" fmla="*/ 849587 w 2240198"/>
                <a:gd name="connsiteY6360" fmla="*/ 544416 h 1729012"/>
                <a:gd name="connsiteX6361" fmla="*/ 859294 w 2240198"/>
                <a:gd name="connsiteY6361" fmla="*/ 549098 h 1729012"/>
                <a:gd name="connsiteX6362" fmla="*/ 860285 w 2240198"/>
                <a:gd name="connsiteY6362" fmla="*/ 548842 h 1729012"/>
                <a:gd name="connsiteX6363" fmla="*/ 861346 w 2240198"/>
                <a:gd name="connsiteY6363" fmla="*/ 546512 h 1729012"/>
                <a:gd name="connsiteX6364" fmla="*/ 863419 w 2240198"/>
                <a:gd name="connsiteY6364" fmla="*/ 545017 h 1729012"/>
                <a:gd name="connsiteX6365" fmla="*/ 866523 w 2240198"/>
                <a:gd name="connsiteY6365" fmla="*/ 545510 h 1729012"/>
                <a:gd name="connsiteX6366" fmla="*/ 875302 w 2240198"/>
                <a:gd name="connsiteY6366" fmla="*/ 548901 h 1729012"/>
                <a:gd name="connsiteX6367" fmla="*/ 885457 w 2240198"/>
                <a:gd name="connsiteY6367" fmla="*/ 554934 h 1729012"/>
                <a:gd name="connsiteX6368" fmla="*/ 892277 w 2240198"/>
                <a:gd name="connsiteY6368" fmla="*/ 557901 h 1729012"/>
                <a:gd name="connsiteX6369" fmla="*/ 897058 w 2240198"/>
                <a:gd name="connsiteY6369" fmla="*/ 561923 h 1729012"/>
                <a:gd name="connsiteX6370" fmla="*/ 900309 w 2240198"/>
                <a:gd name="connsiteY6370" fmla="*/ 565712 h 1729012"/>
                <a:gd name="connsiteX6371" fmla="*/ 902358 w 2240198"/>
                <a:gd name="connsiteY6371" fmla="*/ 568635 h 1729012"/>
                <a:gd name="connsiteX6372" fmla="*/ 902446 w 2240198"/>
                <a:gd name="connsiteY6372" fmla="*/ 569776 h 1729012"/>
                <a:gd name="connsiteX6373" fmla="*/ 901978 w 2240198"/>
                <a:gd name="connsiteY6373" fmla="*/ 570943 h 1729012"/>
                <a:gd name="connsiteX6374" fmla="*/ 902460 w 2240198"/>
                <a:gd name="connsiteY6374" fmla="*/ 572465 h 1729012"/>
                <a:gd name="connsiteX6375" fmla="*/ 903894 w 2240198"/>
                <a:gd name="connsiteY6375" fmla="*/ 574340 h 1729012"/>
                <a:gd name="connsiteX6376" fmla="*/ 904689 w 2240198"/>
                <a:gd name="connsiteY6376" fmla="*/ 576016 h 1729012"/>
                <a:gd name="connsiteX6377" fmla="*/ 905339 w 2240198"/>
                <a:gd name="connsiteY6377" fmla="*/ 579581 h 1729012"/>
                <a:gd name="connsiteX6378" fmla="*/ 906622 w 2240198"/>
                <a:gd name="connsiteY6378" fmla="*/ 584219 h 1729012"/>
                <a:gd name="connsiteX6379" fmla="*/ 906948 w 2240198"/>
                <a:gd name="connsiteY6379" fmla="*/ 586535 h 1729012"/>
                <a:gd name="connsiteX6380" fmla="*/ 915969 w 2240198"/>
                <a:gd name="connsiteY6380" fmla="*/ 607216 h 1729012"/>
                <a:gd name="connsiteX6381" fmla="*/ 917694 w 2240198"/>
                <a:gd name="connsiteY6381" fmla="*/ 610846 h 1729012"/>
                <a:gd name="connsiteX6382" fmla="*/ 918793 w 2240198"/>
                <a:gd name="connsiteY6382" fmla="*/ 612527 h 1729012"/>
                <a:gd name="connsiteX6383" fmla="*/ 925098 w 2240198"/>
                <a:gd name="connsiteY6383" fmla="*/ 620455 h 1729012"/>
                <a:gd name="connsiteX6384" fmla="*/ 928455 w 2240198"/>
                <a:gd name="connsiteY6384" fmla="*/ 626196 h 1729012"/>
                <a:gd name="connsiteX6385" fmla="*/ 928779 w 2240198"/>
                <a:gd name="connsiteY6385" fmla="*/ 630029 h 1729012"/>
                <a:gd name="connsiteX6386" fmla="*/ 929230 w 2240198"/>
                <a:gd name="connsiteY6386" fmla="*/ 631125 h 1729012"/>
                <a:gd name="connsiteX6387" fmla="*/ 929377 w 2240198"/>
                <a:gd name="connsiteY6387" fmla="*/ 632889 h 1729012"/>
                <a:gd name="connsiteX6388" fmla="*/ 929218 w 2240198"/>
                <a:gd name="connsiteY6388" fmla="*/ 635313 h 1729012"/>
                <a:gd name="connsiteX6389" fmla="*/ 928481 w 2240198"/>
                <a:gd name="connsiteY6389" fmla="*/ 637391 h 1729012"/>
                <a:gd name="connsiteX6390" fmla="*/ 927165 w 2240198"/>
                <a:gd name="connsiteY6390" fmla="*/ 639128 h 1729012"/>
                <a:gd name="connsiteX6391" fmla="*/ 925891 w 2240198"/>
                <a:gd name="connsiteY6391" fmla="*/ 641569 h 1729012"/>
                <a:gd name="connsiteX6392" fmla="*/ 923963 w 2240198"/>
                <a:gd name="connsiteY6392" fmla="*/ 646939 h 1729012"/>
                <a:gd name="connsiteX6393" fmla="*/ 923798 w 2240198"/>
                <a:gd name="connsiteY6393" fmla="*/ 648255 h 1729012"/>
                <a:gd name="connsiteX6394" fmla="*/ 925187 w 2240198"/>
                <a:gd name="connsiteY6394" fmla="*/ 650101 h 1729012"/>
                <a:gd name="connsiteX6395" fmla="*/ 934009 w 2240198"/>
                <a:gd name="connsiteY6395" fmla="*/ 656447 h 1729012"/>
                <a:gd name="connsiteX6396" fmla="*/ 939420 w 2240198"/>
                <a:gd name="connsiteY6396" fmla="*/ 664042 h 1729012"/>
                <a:gd name="connsiteX6397" fmla="*/ 941956 w 2240198"/>
                <a:gd name="connsiteY6397" fmla="*/ 665372 h 1729012"/>
                <a:gd name="connsiteX6398" fmla="*/ 948774 w 2240198"/>
                <a:gd name="connsiteY6398" fmla="*/ 670106 h 1729012"/>
                <a:gd name="connsiteX6399" fmla="*/ 956125 w 2240198"/>
                <a:gd name="connsiteY6399" fmla="*/ 672788 h 1729012"/>
                <a:gd name="connsiteX6400" fmla="*/ 958597 w 2240198"/>
                <a:gd name="connsiteY6400" fmla="*/ 673942 h 1729012"/>
                <a:gd name="connsiteX6401" fmla="*/ 960934 w 2240198"/>
                <a:gd name="connsiteY6401" fmla="*/ 675641 h 1729012"/>
                <a:gd name="connsiteX6402" fmla="*/ 961640 w 2240198"/>
                <a:gd name="connsiteY6402" fmla="*/ 675705 h 1729012"/>
                <a:gd name="connsiteX6403" fmla="*/ 963059 w 2240198"/>
                <a:gd name="connsiteY6403" fmla="*/ 675385 h 1729012"/>
                <a:gd name="connsiteX6404" fmla="*/ 963465 w 2240198"/>
                <a:gd name="connsiteY6404" fmla="*/ 674922 h 1729012"/>
                <a:gd name="connsiteX6405" fmla="*/ 963566 w 2240198"/>
                <a:gd name="connsiteY6405" fmla="*/ 674233 h 1729012"/>
                <a:gd name="connsiteX6406" fmla="*/ 961496 w 2240198"/>
                <a:gd name="connsiteY6406" fmla="*/ 670647 h 1729012"/>
                <a:gd name="connsiteX6407" fmla="*/ 961351 w 2240198"/>
                <a:gd name="connsiteY6407" fmla="*/ 669240 h 1729012"/>
                <a:gd name="connsiteX6408" fmla="*/ 962340 w 2240198"/>
                <a:gd name="connsiteY6408" fmla="*/ 668993 h 1729012"/>
                <a:gd name="connsiteX6409" fmla="*/ 969924 w 2240198"/>
                <a:gd name="connsiteY6409" fmla="*/ 675108 h 1729012"/>
                <a:gd name="connsiteX6410" fmla="*/ 974014 w 2240198"/>
                <a:gd name="connsiteY6410" fmla="*/ 677538 h 1729012"/>
                <a:gd name="connsiteX6411" fmla="*/ 979603 w 2240198"/>
                <a:gd name="connsiteY6411" fmla="*/ 680082 h 1729012"/>
                <a:gd name="connsiteX6412" fmla="*/ 989210 w 2240198"/>
                <a:gd name="connsiteY6412" fmla="*/ 685936 h 1729012"/>
                <a:gd name="connsiteX6413" fmla="*/ 990545 w 2240198"/>
                <a:gd name="connsiteY6413" fmla="*/ 686416 h 1729012"/>
                <a:gd name="connsiteX6414" fmla="*/ 995743 w 2240198"/>
                <a:gd name="connsiteY6414" fmla="*/ 685877 h 1729012"/>
                <a:gd name="connsiteX6415" fmla="*/ 997161 w 2240198"/>
                <a:gd name="connsiteY6415" fmla="*/ 686246 h 1729012"/>
                <a:gd name="connsiteX6416" fmla="*/ 998052 w 2240198"/>
                <a:gd name="connsiteY6416" fmla="*/ 686825 h 1729012"/>
                <a:gd name="connsiteX6417" fmla="*/ 998416 w 2240198"/>
                <a:gd name="connsiteY6417" fmla="*/ 687612 h 1729012"/>
                <a:gd name="connsiteX6418" fmla="*/ 998627 w 2240198"/>
                <a:gd name="connsiteY6418" fmla="*/ 691069 h 1729012"/>
                <a:gd name="connsiteX6419" fmla="*/ 1000049 w 2240198"/>
                <a:gd name="connsiteY6419" fmla="*/ 692771 h 1729012"/>
                <a:gd name="connsiteX6420" fmla="*/ 1008246 w 2240198"/>
                <a:gd name="connsiteY6420" fmla="*/ 692045 h 1729012"/>
                <a:gd name="connsiteX6421" fmla="*/ 1010543 w 2240198"/>
                <a:gd name="connsiteY6421" fmla="*/ 692197 h 1729012"/>
                <a:gd name="connsiteX6422" fmla="*/ 1012008 w 2240198"/>
                <a:gd name="connsiteY6422" fmla="*/ 692740 h 1729012"/>
                <a:gd name="connsiteX6423" fmla="*/ 1013227 w 2240198"/>
                <a:gd name="connsiteY6423" fmla="*/ 693872 h 1729012"/>
                <a:gd name="connsiteX6424" fmla="*/ 1014985 w 2240198"/>
                <a:gd name="connsiteY6424" fmla="*/ 697563 h 1729012"/>
                <a:gd name="connsiteX6425" fmla="*/ 1016615 w 2240198"/>
                <a:gd name="connsiteY6425" fmla="*/ 704825 h 1729012"/>
                <a:gd name="connsiteX6426" fmla="*/ 1016701 w 2240198"/>
                <a:gd name="connsiteY6426" fmla="*/ 707422 h 1729012"/>
                <a:gd name="connsiteX6427" fmla="*/ 1015955 w 2240198"/>
                <a:gd name="connsiteY6427" fmla="*/ 711772 h 1729012"/>
                <a:gd name="connsiteX6428" fmla="*/ 1014757 w 2240198"/>
                <a:gd name="connsiteY6428" fmla="*/ 713368 h 1729012"/>
                <a:gd name="connsiteX6429" fmla="*/ 1013202 w 2240198"/>
                <a:gd name="connsiteY6429" fmla="*/ 713873 h 1729012"/>
                <a:gd name="connsiteX6430" fmla="*/ 1008827 w 2240198"/>
                <a:gd name="connsiteY6430" fmla="*/ 713380 h 1729012"/>
                <a:gd name="connsiteX6431" fmla="*/ 1005757 w 2240198"/>
                <a:gd name="connsiteY6431" fmla="*/ 712000 h 1729012"/>
                <a:gd name="connsiteX6432" fmla="*/ 1004165 w 2240198"/>
                <a:gd name="connsiteY6432" fmla="*/ 710241 h 1729012"/>
                <a:gd name="connsiteX6433" fmla="*/ 1002728 w 2240198"/>
                <a:gd name="connsiteY6433" fmla="*/ 706420 h 1729012"/>
                <a:gd name="connsiteX6434" fmla="*/ 1002041 w 2240198"/>
                <a:gd name="connsiteY6434" fmla="*/ 705684 h 1729012"/>
                <a:gd name="connsiteX6435" fmla="*/ 1001418 w 2240198"/>
                <a:gd name="connsiteY6435" fmla="*/ 706453 h 1729012"/>
                <a:gd name="connsiteX6436" fmla="*/ 999981 w 2240198"/>
                <a:gd name="connsiteY6436" fmla="*/ 709953 h 1729012"/>
                <a:gd name="connsiteX6437" fmla="*/ 999032 w 2240198"/>
                <a:gd name="connsiteY6437" fmla="*/ 711502 h 1729012"/>
                <a:gd name="connsiteX6438" fmla="*/ 997888 w 2240198"/>
                <a:gd name="connsiteY6438" fmla="*/ 712529 h 1729012"/>
                <a:gd name="connsiteX6439" fmla="*/ 995709 w 2240198"/>
                <a:gd name="connsiteY6439" fmla="*/ 712275 h 1729012"/>
                <a:gd name="connsiteX6440" fmla="*/ 992497 w 2240198"/>
                <a:gd name="connsiteY6440" fmla="*/ 710746 h 1729012"/>
                <a:gd name="connsiteX6441" fmla="*/ 986470 w 2240198"/>
                <a:gd name="connsiteY6441" fmla="*/ 706840 h 1729012"/>
                <a:gd name="connsiteX6442" fmla="*/ 984336 w 2240198"/>
                <a:gd name="connsiteY6442" fmla="*/ 705876 h 1729012"/>
                <a:gd name="connsiteX6443" fmla="*/ 983011 w 2240198"/>
                <a:gd name="connsiteY6443" fmla="*/ 706043 h 1729012"/>
                <a:gd name="connsiteX6444" fmla="*/ 980127 w 2240198"/>
                <a:gd name="connsiteY6444" fmla="*/ 707365 h 1729012"/>
                <a:gd name="connsiteX6445" fmla="*/ 975679 w 2240198"/>
                <a:gd name="connsiteY6445" fmla="*/ 709839 h 1729012"/>
                <a:gd name="connsiteX6446" fmla="*/ 973843 w 2240198"/>
                <a:gd name="connsiteY6446" fmla="*/ 711655 h 1729012"/>
                <a:gd name="connsiteX6447" fmla="*/ 974621 w 2240198"/>
                <a:gd name="connsiteY6447" fmla="*/ 712814 h 1729012"/>
                <a:gd name="connsiteX6448" fmla="*/ 975135 w 2240198"/>
                <a:gd name="connsiteY6448" fmla="*/ 714273 h 1729012"/>
                <a:gd name="connsiteX6449" fmla="*/ 975391 w 2240198"/>
                <a:gd name="connsiteY6449" fmla="*/ 716029 h 1729012"/>
                <a:gd name="connsiteX6450" fmla="*/ 975238 w 2240198"/>
                <a:gd name="connsiteY6450" fmla="*/ 717321 h 1729012"/>
                <a:gd name="connsiteX6451" fmla="*/ 974674 w 2240198"/>
                <a:gd name="connsiteY6451" fmla="*/ 718152 h 1729012"/>
                <a:gd name="connsiteX6452" fmla="*/ 973204 w 2240198"/>
                <a:gd name="connsiteY6452" fmla="*/ 719144 h 1729012"/>
                <a:gd name="connsiteX6453" fmla="*/ 970098 w 2240198"/>
                <a:gd name="connsiteY6453" fmla="*/ 719313 h 1729012"/>
                <a:gd name="connsiteX6454" fmla="*/ 965630 w 2240198"/>
                <a:gd name="connsiteY6454" fmla="*/ 718554 h 1729012"/>
                <a:gd name="connsiteX6455" fmla="*/ 962096 w 2240198"/>
                <a:gd name="connsiteY6455" fmla="*/ 717204 h 1729012"/>
                <a:gd name="connsiteX6456" fmla="*/ 955908 w 2240198"/>
                <a:gd name="connsiteY6456" fmla="*/ 713619 h 1729012"/>
                <a:gd name="connsiteX6457" fmla="*/ 954486 w 2240198"/>
                <a:gd name="connsiteY6457" fmla="*/ 713123 h 1729012"/>
                <a:gd name="connsiteX6458" fmla="*/ 952573 w 2240198"/>
                <a:gd name="connsiteY6458" fmla="*/ 713919 h 1729012"/>
                <a:gd name="connsiteX6459" fmla="*/ 951809 w 2240198"/>
                <a:gd name="connsiteY6459" fmla="*/ 714963 h 1729012"/>
                <a:gd name="connsiteX6460" fmla="*/ 952998 w 2240198"/>
                <a:gd name="connsiteY6460" fmla="*/ 716451 h 1729012"/>
                <a:gd name="connsiteX6461" fmla="*/ 956141 w 2240198"/>
                <a:gd name="connsiteY6461" fmla="*/ 718383 h 1729012"/>
                <a:gd name="connsiteX6462" fmla="*/ 959985 w 2240198"/>
                <a:gd name="connsiteY6462" fmla="*/ 721580 h 1729012"/>
                <a:gd name="connsiteX6463" fmla="*/ 961014 w 2240198"/>
                <a:gd name="connsiteY6463" fmla="*/ 722204 h 1729012"/>
                <a:gd name="connsiteX6464" fmla="*/ 962006 w 2240198"/>
                <a:gd name="connsiteY6464" fmla="*/ 722135 h 1729012"/>
                <a:gd name="connsiteX6465" fmla="*/ 962356 w 2240198"/>
                <a:gd name="connsiteY6465" fmla="*/ 722723 h 1729012"/>
                <a:gd name="connsiteX6466" fmla="*/ 962790 w 2240198"/>
                <a:gd name="connsiteY6466" fmla="*/ 724440 h 1729012"/>
                <a:gd name="connsiteX6467" fmla="*/ 962588 w 2240198"/>
                <a:gd name="connsiteY6467" fmla="*/ 727393 h 1729012"/>
                <a:gd name="connsiteX6468" fmla="*/ 960740 w 2240198"/>
                <a:gd name="connsiteY6468" fmla="*/ 733275 h 1729012"/>
                <a:gd name="connsiteX6469" fmla="*/ 960548 w 2240198"/>
                <a:gd name="connsiteY6469" fmla="*/ 734675 h 1729012"/>
                <a:gd name="connsiteX6470" fmla="*/ 961306 w 2240198"/>
                <a:gd name="connsiteY6470" fmla="*/ 734344 h 1729012"/>
                <a:gd name="connsiteX6471" fmla="*/ 966536 w 2240198"/>
                <a:gd name="connsiteY6471" fmla="*/ 728568 h 1729012"/>
                <a:gd name="connsiteX6472" fmla="*/ 969240 w 2240198"/>
                <a:gd name="connsiteY6472" fmla="*/ 726944 h 1729012"/>
                <a:gd name="connsiteX6473" fmla="*/ 975096 w 2240198"/>
                <a:gd name="connsiteY6473" fmla="*/ 724396 h 1729012"/>
                <a:gd name="connsiteX6474" fmla="*/ 977625 w 2240198"/>
                <a:gd name="connsiteY6474" fmla="*/ 722520 h 1729012"/>
                <a:gd name="connsiteX6475" fmla="*/ 985114 w 2240198"/>
                <a:gd name="connsiteY6475" fmla="*/ 722010 h 1729012"/>
                <a:gd name="connsiteX6476" fmla="*/ 987788 w 2240198"/>
                <a:gd name="connsiteY6476" fmla="*/ 723034 h 1729012"/>
                <a:gd name="connsiteX6477" fmla="*/ 989505 w 2240198"/>
                <a:gd name="connsiteY6477" fmla="*/ 724817 h 1729012"/>
                <a:gd name="connsiteX6478" fmla="*/ 989574 w 2240198"/>
                <a:gd name="connsiteY6478" fmla="*/ 725625 h 1729012"/>
                <a:gd name="connsiteX6479" fmla="*/ 987612 w 2240198"/>
                <a:gd name="connsiteY6479" fmla="*/ 727711 h 1729012"/>
                <a:gd name="connsiteX6480" fmla="*/ 987256 w 2240198"/>
                <a:gd name="connsiteY6480" fmla="*/ 728756 h 1729012"/>
                <a:gd name="connsiteX6481" fmla="*/ 987155 w 2240198"/>
                <a:gd name="connsiteY6481" fmla="*/ 730075 h 1729012"/>
                <a:gd name="connsiteX6482" fmla="*/ 987330 w 2240198"/>
                <a:gd name="connsiteY6482" fmla="*/ 731258 h 1729012"/>
                <a:gd name="connsiteX6483" fmla="*/ 987784 w 2240198"/>
                <a:gd name="connsiteY6483" fmla="*/ 732306 h 1729012"/>
                <a:gd name="connsiteX6484" fmla="*/ 989131 w 2240198"/>
                <a:gd name="connsiteY6484" fmla="*/ 733272 h 1729012"/>
                <a:gd name="connsiteX6485" fmla="*/ 991511 w 2240198"/>
                <a:gd name="connsiteY6485" fmla="*/ 732850 h 1729012"/>
                <a:gd name="connsiteX6486" fmla="*/ 992177 w 2240198"/>
                <a:gd name="connsiteY6486" fmla="*/ 733098 h 1729012"/>
                <a:gd name="connsiteX6487" fmla="*/ 993454 w 2240198"/>
                <a:gd name="connsiteY6487" fmla="*/ 734118 h 1729012"/>
                <a:gd name="connsiteX6488" fmla="*/ 994297 w 2240198"/>
                <a:gd name="connsiteY6488" fmla="*/ 735699 h 1729012"/>
                <a:gd name="connsiteX6489" fmla="*/ 994334 w 2240198"/>
                <a:gd name="connsiteY6489" fmla="*/ 737899 h 1729012"/>
                <a:gd name="connsiteX6490" fmla="*/ 992576 w 2240198"/>
                <a:gd name="connsiteY6490" fmla="*/ 742719 h 1729012"/>
                <a:gd name="connsiteX6491" fmla="*/ 989445 w 2240198"/>
                <a:gd name="connsiteY6491" fmla="*/ 744294 h 1729012"/>
                <a:gd name="connsiteX6492" fmla="*/ 979855 w 2240198"/>
                <a:gd name="connsiteY6492" fmla="*/ 747209 h 1729012"/>
                <a:gd name="connsiteX6493" fmla="*/ 976569 w 2240198"/>
                <a:gd name="connsiteY6493" fmla="*/ 748715 h 1729012"/>
                <a:gd name="connsiteX6494" fmla="*/ 970232 w 2240198"/>
                <a:gd name="connsiteY6494" fmla="*/ 749774 h 1729012"/>
                <a:gd name="connsiteX6495" fmla="*/ 967784 w 2240198"/>
                <a:gd name="connsiteY6495" fmla="*/ 751180 h 1729012"/>
                <a:gd name="connsiteX6496" fmla="*/ 966258 w 2240198"/>
                <a:gd name="connsiteY6496" fmla="*/ 751607 h 1729012"/>
                <a:gd name="connsiteX6497" fmla="*/ 959483 w 2240198"/>
                <a:gd name="connsiteY6497" fmla="*/ 751382 h 1729012"/>
                <a:gd name="connsiteX6498" fmla="*/ 951724 w 2240198"/>
                <a:gd name="connsiteY6498" fmla="*/ 752274 h 1729012"/>
                <a:gd name="connsiteX6499" fmla="*/ 942796 w 2240198"/>
                <a:gd name="connsiteY6499" fmla="*/ 750528 h 1729012"/>
                <a:gd name="connsiteX6500" fmla="*/ 936532 w 2240198"/>
                <a:gd name="connsiteY6500" fmla="*/ 749749 h 1729012"/>
                <a:gd name="connsiteX6501" fmla="*/ 929298 w 2240198"/>
                <a:gd name="connsiteY6501" fmla="*/ 746973 h 1729012"/>
                <a:gd name="connsiteX6502" fmla="*/ 926572 w 2240198"/>
                <a:gd name="connsiteY6502" fmla="*/ 747673 h 1729012"/>
                <a:gd name="connsiteX6503" fmla="*/ 923751 w 2240198"/>
                <a:gd name="connsiteY6503" fmla="*/ 749459 h 1729012"/>
                <a:gd name="connsiteX6504" fmla="*/ 910200 w 2240198"/>
                <a:gd name="connsiteY6504" fmla="*/ 747318 h 1729012"/>
                <a:gd name="connsiteX6505" fmla="*/ 908591 w 2240198"/>
                <a:gd name="connsiteY6505" fmla="*/ 745766 h 1729012"/>
                <a:gd name="connsiteX6506" fmla="*/ 909122 w 2240198"/>
                <a:gd name="connsiteY6506" fmla="*/ 744756 h 1729012"/>
                <a:gd name="connsiteX6507" fmla="*/ 912335 w 2240198"/>
                <a:gd name="connsiteY6507" fmla="*/ 741451 h 1729012"/>
                <a:gd name="connsiteX6508" fmla="*/ 912539 w 2240198"/>
                <a:gd name="connsiteY6508" fmla="*/ 740758 h 1729012"/>
                <a:gd name="connsiteX6509" fmla="*/ 912388 w 2240198"/>
                <a:gd name="connsiteY6509" fmla="*/ 740172 h 1729012"/>
                <a:gd name="connsiteX6510" fmla="*/ 906231 w 2240198"/>
                <a:gd name="connsiteY6510" fmla="*/ 739604 h 1729012"/>
                <a:gd name="connsiteX6511" fmla="*/ 899368 w 2240198"/>
                <a:gd name="connsiteY6511" fmla="*/ 737843 h 1729012"/>
                <a:gd name="connsiteX6512" fmla="*/ 892473 w 2240198"/>
                <a:gd name="connsiteY6512" fmla="*/ 736969 h 1729012"/>
                <a:gd name="connsiteX6513" fmla="*/ 887314 w 2240198"/>
                <a:gd name="connsiteY6513" fmla="*/ 737217 h 1729012"/>
                <a:gd name="connsiteX6514" fmla="*/ 883955 w 2240198"/>
                <a:gd name="connsiteY6514" fmla="*/ 736574 h 1729012"/>
                <a:gd name="connsiteX6515" fmla="*/ 880677 w 2240198"/>
                <a:gd name="connsiteY6515" fmla="*/ 735123 h 1729012"/>
                <a:gd name="connsiteX6516" fmla="*/ 878876 w 2240198"/>
                <a:gd name="connsiteY6516" fmla="*/ 733794 h 1729012"/>
                <a:gd name="connsiteX6517" fmla="*/ 878553 w 2240198"/>
                <a:gd name="connsiteY6517" fmla="*/ 732594 h 1729012"/>
                <a:gd name="connsiteX6518" fmla="*/ 878508 w 2240198"/>
                <a:gd name="connsiteY6518" fmla="*/ 731281 h 1729012"/>
                <a:gd name="connsiteX6519" fmla="*/ 878800 w 2240198"/>
                <a:gd name="connsiteY6519" fmla="*/ 728643 h 1729012"/>
                <a:gd name="connsiteX6520" fmla="*/ 878365 w 2240198"/>
                <a:gd name="connsiteY6520" fmla="*/ 726789 h 1729012"/>
                <a:gd name="connsiteX6521" fmla="*/ 876879 w 2240198"/>
                <a:gd name="connsiteY6521" fmla="*/ 725324 h 1729012"/>
                <a:gd name="connsiteX6522" fmla="*/ 873840 w 2240198"/>
                <a:gd name="connsiteY6522" fmla="*/ 724011 h 1729012"/>
                <a:gd name="connsiteX6523" fmla="*/ 870816 w 2240198"/>
                <a:gd name="connsiteY6523" fmla="*/ 724167 h 1729012"/>
                <a:gd name="connsiteX6524" fmla="*/ 868258 w 2240198"/>
                <a:gd name="connsiteY6524" fmla="*/ 725621 h 1729012"/>
                <a:gd name="connsiteX6525" fmla="*/ 865827 w 2240198"/>
                <a:gd name="connsiteY6525" fmla="*/ 728300 h 1729012"/>
                <a:gd name="connsiteX6526" fmla="*/ 861324 w 2240198"/>
                <a:gd name="connsiteY6526" fmla="*/ 735738 h 1729012"/>
                <a:gd name="connsiteX6527" fmla="*/ 859064 w 2240198"/>
                <a:gd name="connsiteY6527" fmla="*/ 737008 h 1729012"/>
                <a:gd name="connsiteX6528" fmla="*/ 853210 w 2240198"/>
                <a:gd name="connsiteY6528" fmla="*/ 742376 h 1729012"/>
                <a:gd name="connsiteX6529" fmla="*/ 851017 w 2240198"/>
                <a:gd name="connsiteY6529" fmla="*/ 743689 h 1729012"/>
                <a:gd name="connsiteX6530" fmla="*/ 840279 w 2240198"/>
                <a:gd name="connsiteY6530" fmla="*/ 745811 h 1729012"/>
                <a:gd name="connsiteX6531" fmla="*/ 827559 w 2240198"/>
                <a:gd name="connsiteY6531" fmla="*/ 746680 h 1729012"/>
                <a:gd name="connsiteX6532" fmla="*/ 822804 w 2240198"/>
                <a:gd name="connsiteY6532" fmla="*/ 748337 h 1729012"/>
                <a:gd name="connsiteX6533" fmla="*/ 818294 w 2240198"/>
                <a:gd name="connsiteY6533" fmla="*/ 751438 h 1729012"/>
                <a:gd name="connsiteX6534" fmla="*/ 812830 w 2240198"/>
                <a:gd name="connsiteY6534" fmla="*/ 754430 h 1729012"/>
                <a:gd name="connsiteX6535" fmla="*/ 799487 w 2240198"/>
                <a:gd name="connsiteY6535" fmla="*/ 758102 h 1729012"/>
                <a:gd name="connsiteX6536" fmla="*/ 787154 w 2240198"/>
                <a:gd name="connsiteY6536" fmla="*/ 760150 h 1729012"/>
                <a:gd name="connsiteX6537" fmla="*/ 774245 w 2240198"/>
                <a:gd name="connsiteY6537" fmla="*/ 761044 h 1729012"/>
                <a:gd name="connsiteX6538" fmla="*/ 764598 w 2240198"/>
                <a:gd name="connsiteY6538" fmla="*/ 762436 h 1729012"/>
                <a:gd name="connsiteX6539" fmla="*/ 761829 w 2240198"/>
                <a:gd name="connsiteY6539" fmla="*/ 761741 h 1729012"/>
                <a:gd name="connsiteX6540" fmla="*/ 757510 w 2240198"/>
                <a:gd name="connsiteY6540" fmla="*/ 761999 h 1729012"/>
                <a:gd name="connsiteX6541" fmla="*/ 752861 w 2240198"/>
                <a:gd name="connsiteY6541" fmla="*/ 764038 h 1729012"/>
                <a:gd name="connsiteX6542" fmla="*/ 747609 w 2240198"/>
                <a:gd name="connsiteY6542" fmla="*/ 764434 h 1729012"/>
                <a:gd name="connsiteX6543" fmla="*/ 727657 w 2240198"/>
                <a:gd name="connsiteY6543" fmla="*/ 765175 h 1729012"/>
                <a:gd name="connsiteX6544" fmla="*/ 718496 w 2240198"/>
                <a:gd name="connsiteY6544" fmla="*/ 766537 h 1729012"/>
                <a:gd name="connsiteX6545" fmla="*/ 713475 w 2240198"/>
                <a:gd name="connsiteY6545" fmla="*/ 766896 h 1729012"/>
                <a:gd name="connsiteX6546" fmla="*/ 709538 w 2240198"/>
                <a:gd name="connsiteY6546" fmla="*/ 766709 h 1729012"/>
                <a:gd name="connsiteX6547" fmla="*/ 706794 w 2240198"/>
                <a:gd name="connsiteY6547" fmla="*/ 766146 h 1729012"/>
                <a:gd name="connsiteX6548" fmla="*/ 704166 w 2240198"/>
                <a:gd name="connsiteY6548" fmla="*/ 764331 h 1729012"/>
                <a:gd name="connsiteX6549" fmla="*/ 701460 w 2240198"/>
                <a:gd name="connsiteY6549" fmla="*/ 761539 h 1729012"/>
                <a:gd name="connsiteX6550" fmla="*/ 695964 w 2240198"/>
                <a:gd name="connsiteY6550" fmla="*/ 754087 h 1729012"/>
                <a:gd name="connsiteX6551" fmla="*/ 694392 w 2240198"/>
                <a:gd name="connsiteY6551" fmla="*/ 750950 h 1729012"/>
                <a:gd name="connsiteX6552" fmla="*/ 695008 w 2240198"/>
                <a:gd name="connsiteY6552" fmla="*/ 745567 h 1729012"/>
                <a:gd name="connsiteX6553" fmla="*/ 694602 w 2240198"/>
                <a:gd name="connsiteY6553" fmla="*/ 742443 h 1729012"/>
                <a:gd name="connsiteX6554" fmla="*/ 692774 w 2240198"/>
                <a:gd name="connsiteY6554" fmla="*/ 735685 h 1729012"/>
                <a:gd name="connsiteX6555" fmla="*/ 692432 w 2240198"/>
                <a:gd name="connsiteY6555" fmla="*/ 735103 h 1729012"/>
                <a:gd name="connsiteX6556" fmla="*/ 682814 w 2240198"/>
                <a:gd name="connsiteY6556" fmla="*/ 732590 h 1729012"/>
                <a:gd name="connsiteX6557" fmla="*/ 676487 w 2240198"/>
                <a:gd name="connsiteY6557" fmla="*/ 731794 h 1729012"/>
                <a:gd name="connsiteX6558" fmla="*/ 666950 w 2240198"/>
                <a:gd name="connsiteY6558" fmla="*/ 731633 h 1729012"/>
                <a:gd name="connsiteX6559" fmla="*/ 655288 w 2240198"/>
                <a:gd name="connsiteY6559" fmla="*/ 731990 h 1729012"/>
                <a:gd name="connsiteX6560" fmla="*/ 643646 w 2240198"/>
                <a:gd name="connsiteY6560" fmla="*/ 731177 h 1729012"/>
                <a:gd name="connsiteX6561" fmla="*/ 637494 w 2240198"/>
                <a:gd name="connsiteY6561" fmla="*/ 730256 h 1729012"/>
                <a:gd name="connsiteX6562" fmla="*/ 631388 w 2240198"/>
                <a:gd name="connsiteY6562" fmla="*/ 728754 h 1729012"/>
                <a:gd name="connsiteX6563" fmla="*/ 620943 w 2240198"/>
                <a:gd name="connsiteY6563" fmla="*/ 724839 h 1729012"/>
                <a:gd name="connsiteX6564" fmla="*/ 620352 w 2240198"/>
                <a:gd name="connsiteY6564" fmla="*/ 724437 h 1729012"/>
                <a:gd name="connsiteX6565" fmla="*/ 619541 w 2240198"/>
                <a:gd name="connsiteY6565" fmla="*/ 723131 h 1729012"/>
                <a:gd name="connsiteX6566" fmla="*/ 618509 w 2240198"/>
                <a:gd name="connsiteY6566" fmla="*/ 720918 h 1729012"/>
                <a:gd name="connsiteX6567" fmla="*/ 615909 w 2240198"/>
                <a:gd name="connsiteY6567" fmla="*/ 718034 h 1729012"/>
                <a:gd name="connsiteX6568" fmla="*/ 608791 w 2240198"/>
                <a:gd name="connsiteY6568" fmla="*/ 711588 h 1729012"/>
                <a:gd name="connsiteX6569" fmla="*/ 605970 w 2240198"/>
                <a:gd name="connsiteY6569" fmla="*/ 707760 h 1729012"/>
                <a:gd name="connsiteX6570" fmla="*/ 605514 w 2240198"/>
                <a:gd name="connsiteY6570" fmla="*/ 706783 h 1729012"/>
                <a:gd name="connsiteX6571" fmla="*/ 604838 w 2240198"/>
                <a:gd name="connsiteY6571" fmla="*/ 703967 h 1729012"/>
                <a:gd name="connsiteX6572" fmla="*/ 603941 w 2240198"/>
                <a:gd name="connsiteY6572" fmla="*/ 699306 h 1729012"/>
                <a:gd name="connsiteX6573" fmla="*/ 603652 w 2240198"/>
                <a:gd name="connsiteY6573" fmla="*/ 696448 h 1729012"/>
                <a:gd name="connsiteX6574" fmla="*/ 604480 w 2240198"/>
                <a:gd name="connsiteY6574" fmla="*/ 694703 h 1729012"/>
                <a:gd name="connsiteX6575" fmla="*/ 605173 w 2240198"/>
                <a:gd name="connsiteY6575" fmla="*/ 694356 h 1729012"/>
                <a:gd name="connsiteX6576" fmla="*/ 619921 w 2240198"/>
                <a:gd name="connsiteY6576" fmla="*/ 690950 h 1729012"/>
                <a:gd name="connsiteX6577" fmla="*/ 645904 w 2240198"/>
                <a:gd name="connsiteY6577" fmla="*/ 687210 h 1729012"/>
                <a:gd name="connsiteX6578" fmla="*/ 669657 w 2240198"/>
                <a:gd name="connsiteY6578" fmla="*/ 684688 h 1729012"/>
                <a:gd name="connsiteX6579" fmla="*/ 680442 w 2240198"/>
                <a:gd name="connsiteY6579" fmla="*/ 684915 h 1729012"/>
                <a:gd name="connsiteX6580" fmla="*/ 686792 w 2240198"/>
                <a:gd name="connsiteY6580" fmla="*/ 686098 h 1729012"/>
                <a:gd name="connsiteX6581" fmla="*/ 693157 w 2240198"/>
                <a:gd name="connsiteY6581" fmla="*/ 686638 h 1729012"/>
                <a:gd name="connsiteX6582" fmla="*/ 704690 w 2240198"/>
                <a:gd name="connsiteY6582" fmla="*/ 686905 h 1729012"/>
                <a:gd name="connsiteX6583" fmla="*/ 719214 w 2240198"/>
                <a:gd name="connsiteY6583" fmla="*/ 688663 h 1729012"/>
                <a:gd name="connsiteX6584" fmla="*/ 722133 w 2240198"/>
                <a:gd name="connsiteY6584" fmla="*/ 688512 h 1729012"/>
                <a:gd name="connsiteX6585" fmla="*/ 728646 w 2240198"/>
                <a:gd name="connsiteY6585" fmla="*/ 687322 h 1729012"/>
                <a:gd name="connsiteX6586" fmla="*/ 730580 w 2240198"/>
                <a:gd name="connsiteY6586" fmla="*/ 686369 h 1729012"/>
                <a:gd name="connsiteX6587" fmla="*/ 740874 w 2240198"/>
                <a:gd name="connsiteY6587" fmla="*/ 686491 h 1729012"/>
                <a:gd name="connsiteX6588" fmla="*/ 742872 w 2240198"/>
                <a:gd name="connsiteY6588" fmla="*/ 685905 h 1729012"/>
                <a:gd name="connsiteX6589" fmla="*/ 744706 w 2240198"/>
                <a:gd name="connsiteY6589" fmla="*/ 684852 h 1729012"/>
                <a:gd name="connsiteX6590" fmla="*/ 742341 w 2240198"/>
                <a:gd name="connsiteY6590" fmla="*/ 682879 h 1729012"/>
                <a:gd name="connsiteX6591" fmla="*/ 732494 w 2240198"/>
                <a:gd name="connsiteY6591" fmla="*/ 678543 h 1729012"/>
                <a:gd name="connsiteX6592" fmla="*/ 706343 w 2240198"/>
                <a:gd name="connsiteY6592" fmla="*/ 670772 h 1729012"/>
                <a:gd name="connsiteX6593" fmla="*/ 699965 w 2240198"/>
                <a:gd name="connsiteY6593" fmla="*/ 669117 h 1729012"/>
                <a:gd name="connsiteX6594" fmla="*/ 690830 w 2240198"/>
                <a:gd name="connsiteY6594" fmla="*/ 667354 h 1729012"/>
                <a:gd name="connsiteX6595" fmla="*/ 685537 w 2240198"/>
                <a:gd name="connsiteY6595" fmla="*/ 667103 h 1729012"/>
                <a:gd name="connsiteX6596" fmla="*/ 678790 w 2240198"/>
                <a:gd name="connsiteY6596" fmla="*/ 668111 h 1729012"/>
                <a:gd name="connsiteX6597" fmla="*/ 676274 w 2240198"/>
                <a:gd name="connsiteY6597" fmla="*/ 668066 h 1729012"/>
                <a:gd name="connsiteX6598" fmla="*/ 669649 w 2240198"/>
                <a:gd name="connsiteY6598" fmla="*/ 669584 h 1729012"/>
                <a:gd name="connsiteX6599" fmla="*/ 663358 w 2240198"/>
                <a:gd name="connsiteY6599" fmla="*/ 670542 h 1729012"/>
                <a:gd name="connsiteX6600" fmla="*/ 651428 w 2240198"/>
                <a:gd name="connsiteY6600" fmla="*/ 671469 h 1729012"/>
                <a:gd name="connsiteX6601" fmla="*/ 634194 w 2240198"/>
                <a:gd name="connsiteY6601" fmla="*/ 672154 h 1729012"/>
                <a:gd name="connsiteX6602" fmla="*/ 631781 w 2240198"/>
                <a:gd name="connsiteY6602" fmla="*/ 671952 h 1729012"/>
                <a:gd name="connsiteX6603" fmla="*/ 628237 w 2240198"/>
                <a:gd name="connsiteY6603" fmla="*/ 670770 h 1729012"/>
                <a:gd name="connsiteX6604" fmla="*/ 625665 w 2240198"/>
                <a:gd name="connsiteY6604" fmla="*/ 670434 h 1729012"/>
                <a:gd name="connsiteX6605" fmla="*/ 608796 w 2240198"/>
                <a:gd name="connsiteY6605" fmla="*/ 671356 h 1729012"/>
                <a:gd name="connsiteX6606" fmla="*/ 593721 w 2240198"/>
                <a:gd name="connsiteY6606" fmla="*/ 670167 h 1729012"/>
                <a:gd name="connsiteX6607" fmla="*/ 576555 w 2240198"/>
                <a:gd name="connsiteY6607" fmla="*/ 658244 h 1729012"/>
                <a:gd name="connsiteX6608" fmla="*/ 573704 w 2240198"/>
                <a:gd name="connsiteY6608" fmla="*/ 654573 h 1729012"/>
                <a:gd name="connsiteX6609" fmla="*/ 574312 w 2240198"/>
                <a:gd name="connsiteY6609" fmla="*/ 653077 h 1729012"/>
                <a:gd name="connsiteX6610" fmla="*/ 576428 w 2240198"/>
                <a:gd name="connsiteY6610" fmla="*/ 651470 h 1729012"/>
                <a:gd name="connsiteX6611" fmla="*/ 584928 w 2240198"/>
                <a:gd name="connsiteY6611" fmla="*/ 646834 h 1729012"/>
                <a:gd name="connsiteX6612" fmla="*/ 587965 w 2240198"/>
                <a:gd name="connsiteY6612" fmla="*/ 645730 h 1729012"/>
                <a:gd name="connsiteX6613" fmla="*/ 600647 w 2240198"/>
                <a:gd name="connsiteY6613" fmla="*/ 643235 h 1729012"/>
                <a:gd name="connsiteX6614" fmla="*/ 613290 w 2240198"/>
                <a:gd name="connsiteY6614" fmla="*/ 640215 h 1729012"/>
                <a:gd name="connsiteX6615" fmla="*/ 623275 w 2240198"/>
                <a:gd name="connsiteY6615" fmla="*/ 637370 h 1729012"/>
                <a:gd name="connsiteX6616" fmla="*/ 628177 w 2240198"/>
                <a:gd name="connsiteY6616" fmla="*/ 636382 h 1729012"/>
                <a:gd name="connsiteX6617" fmla="*/ 632897 w 2240198"/>
                <a:gd name="connsiteY6617" fmla="*/ 636266 h 1729012"/>
                <a:gd name="connsiteX6618" fmla="*/ 636711 w 2240198"/>
                <a:gd name="connsiteY6618" fmla="*/ 635327 h 1729012"/>
                <a:gd name="connsiteX6619" fmla="*/ 635935 w 2240198"/>
                <a:gd name="connsiteY6619" fmla="*/ 634426 h 1729012"/>
                <a:gd name="connsiteX6620" fmla="*/ 632814 w 2240198"/>
                <a:gd name="connsiteY6620" fmla="*/ 633397 h 1729012"/>
                <a:gd name="connsiteX6621" fmla="*/ 632849 w 2240198"/>
                <a:gd name="connsiteY6621" fmla="*/ 631938 h 1729012"/>
                <a:gd name="connsiteX6622" fmla="*/ 634463 w 2240198"/>
                <a:gd name="connsiteY6622" fmla="*/ 631238 h 1729012"/>
                <a:gd name="connsiteX6623" fmla="*/ 640715 w 2240198"/>
                <a:gd name="connsiteY6623" fmla="*/ 630497 h 1729012"/>
                <a:gd name="connsiteX6624" fmla="*/ 647355 w 2240198"/>
                <a:gd name="connsiteY6624" fmla="*/ 631399 h 1729012"/>
                <a:gd name="connsiteX6625" fmla="*/ 650673 w 2240198"/>
                <a:gd name="connsiteY6625" fmla="*/ 631092 h 1729012"/>
                <a:gd name="connsiteX6626" fmla="*/ 651626 w 2240198"/>
                <a:gd name="connsiteY6626" fmla="*/ 630096 h 1729012"/>
                <a:gd name="connsiteX6627" fmla="*/ 650746 w 2240198"/>
                <a:gd name="connsiteY6627" fmla="*/ 629291 h 1729012"/>
                <a:gd name="connsiteX6628" fmla="*/ 644444 w 2240198"/>
                <a:gd name="connsiteY6628" fmla="*/ 627628 h 1729012"/>
                <a:gd name="connsiteX6629" fmla="*/ 614179 w 2240198"/>
                <a:gd name="connsiteY6629" fmla="*/ 632411 h 1729012"/>
                <a:gd name="connsiteX6630" fmla="*/ 600059 w 2240198"/>
                <a:gd name="connsiteY6630" fmla="*/ 632859 h 1729012"/>
                <a:gd name="connsiteX6631" fmla="*/ 590266 w 2240198"/>
                <a:gd name="connsiteY6631" fmla="*/ 634912 h 1729012"/>
                <a:gd name="connsiteX6632" fmla="*/ 584883 w 2240198"/>
                <a:gd name="connsiteY6632" fmla="*/ 634845 h 1729012"/>
                <a:gd name="connsiteX6633" fmla="*/ 578479 w 2240198"/>
                <a:gd name="connsiteY6633" fmla="*/ 632797 h 1729012"/>
                <a:gd name="connsiteX6634" fmla="*/ 577625 w 2240198"/>
                <a:gd name="connsiteY6634" fmla="*/ 632183 h 1729012"/>
                <a:gd name="connsiteX6635" fmla="*/ 577508 w 2240198"/>
                <a:gd name="connsiteY6635" fmla="*/ 631341 h 1729012"/>
                <a:gd name="connsiteX6636" fmla="*/ 579490 w 2240198"/>
                <a:gd name="connsiteY6636" fmla="*/ 628596 h 1729012"/>
                <a:gd name="connsiteX6637" fmla="*/ 586333 w 2240198"/>
                <a:gd name="connsiteY6637" fmla="*/ 626951 h 1729012"/>
                <a:gd name="connsiteX6638" fmla="*/ 589784 w 2240198"/>
                <a:gd name="connsiteY6638" fmla="*/ 622330 h 1729012"/>
                <a:gd name="connsiteX6639" fmla="*/ 586102 w 2240198"/>
                <a:gd name="connsiteY6639" fmla="*/ 622250 h 1729012"/>
                <a:gd name="connsiteX6640" fmla="*/ 573829 w 2240198"/>
                <a:gd name="connsiteY6640" fmla="*/ 623240 h 1729012"/>
                <a:gd name="connsiteX6641" fmla="*/ 568467 w 2240198"/>
                <a:gd name="connsiteY6641" fmla="*/ 622814 h 1729012"/>
                <a:gd name="connsiteX6642" fmla="*/ 561231 w 2240198"/>
                <a:gd name="connsiteY6642" fmla="*/ 621040 h 1729012"/>
                <a:gd name="connsiteX6643" fmla="*/ 559109 w 2240198"/>
                <a:gd name="connsiteY6643" fmla="*/ 618926 h 1729012"/>
                <a:gd name="connsiteX6644" fmla="*/ 558206 w 2240198"/>
                <a:gd name="connsiteY6644" fmla="*/ 617396 h 1729012"/>
                <a:gd name="connsiteX6645" fmla="*/ 558053 w 2240198"/>
                <a:gd name="connsiteY6645" fmla="*/ 615570 h 1729012"/>
                <a:gd name="connsiteX6646" fmla="*/ 558296 w 2240198"/>
                <a:gd name="connsiteY6646" fmla="*/ 610378 h 1729012"/>
                <a:gd name="connsiteX6647" fmla="*/ 558913 w 2240198"/>
                <a:gd name="connsiteY6647" fmla="*/ 607583 h 1729012"/>
                <a:gd name="connsiteX6648" fmla="*/ 559298 w 2240198"/>
                <a:gd name="connsiteY6648" fmla="*/ 606952 h 1729012"/>
                <a:gd name="connsiteX6649" fmla="*/ 568294 w 2240198"/>
                <a:gd name="connsiteY6649" fmla="*/ 598328 h 1729012"/>
                <a:gd name="connsiteX6650" fmla="*/ 573903 w 2240198"/>
                <a:gd name="connsiteY6650" fmla="*/ 596523 h 1729012"/>
                <a:gd name="connsiteX6651" fmla="*/ 577838 w 2240198"/>
                <a:gd name="connsiteY6651" fmla="*/ 593792 h 1729012"/>
                <a:gd name="connsiteX6652" fmla="*/ 577990 w 2240198"/>
                <a:gd name="connsiteY6652" fmla="*/ 592648 h 1729012"/>
                <a:gd name="connsiteX6653" fmla="*/ 577016 w 2240198"/>
                <a:gd name="connsiteY6653" fmla="*/ 591499 h 1729012"/>
                <a:gd name="connsiteX6654" fmla="*/ 573350 w 2240198"/>
                <a:gd name="connsiteY6654" fmla="*/ 588710 h 1729012"/>
                <a:gd name="connsiteX6655" fmla="*/ 571875 w 2240198"/>
                <a:gd name="connsiteY6655" fmla="*/ 587293 h 1729012"/>
                <a:gd name="connsiteX6656" fmla="*/ 571047 w 2240198"/>
                <a:gd name="connsiteY6656" fmla="*/ 585933 h 1729012"/>
                <a:gd name="connsiteX6657" fmla="*/ 571673 w 2240198"/>
                <a:gd name="connsiteY6657" fmla="*/ 583791 h 1729012"/>
                <a:gd name="connsiteX6658" fmla="*/ 573755 w 2240198"/>
                <a:gd name="connsiteY6658" fmla="*/ 580854 h 1729012"/>
                <a:gd name="connsiteX6659" fmla="*/ 579876 w 2240198"/>
                <a:gd name="connsiteY6659" fmla="*/ 576111 h 1729012"/>
                <a:gd name="connsiteX6660" fmla="*/ 594618 w 2240198"/>
                <a:gd name="connsiteY6660" fmla="*/ 566574 h 1729012"/>
                <a:gd name="connsiteX6661" fmla="*/ 602104 w 2240198"/>
                <a:gd name="connsiteY6661" fmla="*/ 562555 h 1729012"/>
                <a:gd name="connsiteX6662" fmla="*/ 609325 w 2240198"/>
                <a:gd name="connsiteY6662" fmla="*/ 560384 h 1729012"/>
                <a:gd name="connsiteX6663" fmla="*/ 619429 w 2240198"/>
                <a:gd name="connsiteY6663" fmla="*/ 555757 h 1729012"/>
                <a:gd name="connsiteX6664" fmla="*/ 645318 w 2240198"/>
                <a:gd name="connsiteY6664" fmla="*/ 548061 h 1729012"/>
                <a:gd name="connsiteX6665" fmla="*/ 904822 w 2240198"/>
                <a:gd name="connsiteY6665" fmla="*/ 520966 h 1729012"/>
                <a:gd name="connsiteX6666" fmla="*/ 909983 w 2240198"/>
                <a:gd name="connsiteY6666" fmla="*/ 522084 h 1729012"/>
                <a:gd name="connsiteX6667" fmla="*/ 917077 w 2240198"/>
                <a:gd name="connsiteY6667" fmla="*/ 526863 h 1729012"/>
                <a:gd name="connsiteX6668" fmla="*/ 920028 w 2240198"/>
                <a:gd name="connsiteY6668" fmla="*/ 527401 h 1729012"/>
                <a:gd name="connsiteX6669" fmla="*/ 921791 w 2240198"/>
                <a:gd name="connsiteY6669" fmla="*/ 528476 h 1729012"/>
                <a:gd name="connsiteX6670" fmla="*/ 923343 w 2240198"/>
                <a:gd name="connsiteY6670" fmla="*/ 530258 h 1729012"/>
                <a:gd name="connsiteX6671" fmla="*/ 924167 w 2240198"/>
                <a:gd name="connsiteY6671" fmla="*/ 532070 h 1729012"/>
                <a:gd name="connsiteX6672" fmla="*/ 924236 w 2240198"/>
                <a:gd name="connsiteY6672" fmla="*/ 535767 h 1729012"/>
                <a:gd name="connsiteX6673" fmla="*/ 923462 w 2240198"/>
                <a:gd name="connsiteY6673" fmla="*/ 541222 h 1729012"/>
                <a:gd name="connsiteX6674" fmla="*/ 922477 w 2240198"/>
                <a:gd name="connsiteY6674" fmla="*/ 543308 h 1729012"/>
                <a:gd name="connsiteX6675" fmla="*/ 918183 w 2240198"/>
                <a:gd name="connsiteY6675" fmla="*/ 550290 h 1729012"/>
                <a:gd name="connsiteX6676" fmla="*/ 913680 w 2240198"/>
                <a:gd name="connsiteY6676" fmla="*/ 554122 h 1729012"/>
                <a:gd name="connsiteX6677" fmla="*/ 912819 w 2240198"/>
                <a:gd name="connsiteY6677" fmla="*/ 556599 h 1729012"/>
                <a:gd name="connsiteX6678" fmla="*/ 910993 w 2240198"/>
                <a:gd name="connsiteY6678" fmla="*/ 558561 h 1729012"/>
                <a:gd name="connsiteX6679" fmla="*/ 907797 w 2240198"/>
                <a:gd name="connsiteY6679" fmla="*/ 560965 h 1729012"/>
                <a:gd name="connsiteX6680" fmla="*/ 905559 w 2240198"/>
                <a:gd name="connsiteY6680" fmla="*/ 562288 h 1729012"/>
                <a:gd name="connsiteX6681" fmla="*/ 904280 w 2240198"/>
                <a:gd name="connsiteY6681" fmla="*/ 562531 h 1729012"/>
                <a:gd name="connsiteX6682" fmla="*/ 901878 w 2240198"/>
                <a:gd name="connsiteY6682" fmla="*/ 561415 h 1729012"/>
                <a:gd name="connsiteX6683" fmla="*/ 898355 w 2240198"/>
                <a:gd name="connsiteY6683" fmla="*/ 558935 h 1729012"/>
                <a:gd name="connsiteX6684" fmla="*/ 892595 w 2240198"/>
                <a:gd name="connsiteY6684" fmla="*/ 553896 h 1729012"/>
                <a:gd name="connsiteX6685" fmla="*/ 885726 w 2240198"/>
                <a:gd name="connsiteY6685" fmla="*/ 548892 h 1729012"/>
                <a:gd name="connsiteX6686" fmla="*/ 884671 w 2240198"/>
                <a:gd name="connsiteY6686" fmla="*/ 545890 h 1729012"/>
                <a:gd name="connsiteX6687" fmla="*/ 882963 w 2240198"/>
                <a:gd name="connsiteY6687" fmla="*/ 543650 h 1729012"/>
                <a:gd name="connsiteX6688" fmla="*/ 874197 w 2240198"/>
                <a:gd name="connsiteY6688" fmla="*/ 538318 h 1729012"/>
                <a:gd name="connsiteX6689" fmla="*/ 868501 w 2240198"/>
                <a:gd name="connsiteY6689" fmla="*/ 536151 h 1729012"/>
                <a:gd name="connsiteX6690" fmla="*/ 864161 w 2240198"/>
                <a:gd name="connsiteY6690" fmla="*/ 535070 h 1729012"/>
                <a:gd name="connsiteX6691" fmla="*/ 863448 w 2240198"/>
                <a:gd name="connsiteY6691" fmla="*/ 533575 h 1729012"/>
                <a:gd name="connsiteX6692" fmla="*/ 866457 w 2240198"/>
                <a:gd name="connsiteY6692" fmla="*/ 529228 h 1729012"/>
                <a:gd name="connsiteX6693" fmla="*/ 869910 w 2240198"/>
                <a:gd name="connsiteY6693" fmla="*/ 525749 h 1729012"/>
                <a:gd name="connsiteX6694" fmla="*/ 871960 w 2240198"/>
                <a:gd name="connsiteY6694" fmla="*/ 524487 h 1729012"/>
                <a:gd name="connsiteX6695" fmla="*/ 878346 w 2240198"/>
                <a:gd name="connsiteY6695" fmla="*/ 523356 h 1729012"/>
                <a:gd name="connsiteX6696" fmla="*/ 899894 w 2240198"/>
                <a:gd name="connsiteY6696" fmla="*/ 521034 h 1729012"/>
                <a:gd name="connsiteX6697" fmla="*/ 1531038 w 2240198"/>
                <a:gd name="connsiteY6697" fmla="*/ 520957 h 1729012"/>
                <a:gd name="connsiteX6698" fmla="*/ 1536339 w 2240198"/>
                <a:gd name="connsiteY6698" fmla="*/ 521051 h 1729012"/>
                <a:gd name="connsiteX6699" fmla="*/ 1543745 w 2240198"/>
                <a:gd name="connsiteY6699" fmla="*/ 523923 h 1729012"/>
                <a:gd name="connsiteX6700" fmla="*/ 1549600 w 2240198"/>
                <a:gd name="connsiteY6700" fmla="*/ 524197 h 1729012"/>
                <a:gd name="connsiteX6701" fmla="*/ 1558526 w 2240198"/>
                <a:gd name="connsiteY6701" fmla="*/ 526507 h 1729012"/>
                <a:gd name="connsiteX6702" fmla="*/ 1562849 w 2240198"/>
                <a:gd name="connsiteY6702" fmla="*/ 527153 h 1729012"/>
                <a:gd name="connsiteX6703" fmla="*/ 1590242 w 2240198"/>
                <a:gd name="connsiteY6703" fmla="*/ 525951 h 1729012"/>
                <a:gd name="connsiteX6704" fmla="*/ 1595910 w 2240198"/>
                <a:gd name="connsiteY6704" fmla="*/ 526843 h 1729012"/>
                <a:gd name="connsiteX6705" fmla="*/ 1613174 w 2240198"/>
                <a:gd name="connsiteY6705" fmla="*/ 532288 h 1729012"/>
                <a:gd name="connsiteX6706" fmla="*/ 1617626 w 2240198"/>
                <a:gd name="connsiteY6706" fmla="*/ 534104 h 1729012"/>
                <a:gd name="connsiteX6707" fmla="*/ 1619826 w 2240198"/>
                <a:gd name="connsiteY6707" fmla="*/ 536506 h 1729012"/>
                <a:gd name="connsiteX6708" fmla="*/ 1621811 w 2240198"/>
                <a:gd name="connsiteY6708" fmla="*/ 540289 h 1729012"/>
                <a:gd name="connsiteX6709" fmla="*/ 1622728 w 2240198"/>
                <a:gd name="connsiteY6709" fmla="*/ 541118 h 1729012"/>
                <a:gd name="connsiteX6710" fmla="*/ 1628982 w 2240198"/>
                <a:gd name="connsiteY6710" fmla="*/ 543362 h 1729012"/>
                <a:gd name="connsiteX6711" fmla="*/ 1631554 w 2240198"/>
                <a:gd name="connsiteY6711" fmla="*/ 546081 h 1729012"/>
                <a:gd name="connsiteX6712" fmla="*/ 1632458 w 2240198"/>
                <a:gd name="connsiteY6712" fmla="*/ 547484 h 1729012"/>
                <a:gd name="connsiteX6713" fmla="*/ 1633771 w 2240198"/>
                <a:gd name="connsiteY6713" fmla="*/ 550696 h 1729012"/>
                <a:gd name="connsiteX6714" fmla="*/ 1636595 w 2240198"/>
                <a:gd name="connsiteY6714" fmla="*/ 552514 h 1729012"/>
                <a:gd name="connsiteX6715" fmla="*/ 1639823 w 2240198"/>
                <a:gd name="connsiteY6715" fmla="*/ 553549 h 1729012"/>
                <a:gd name="connsiteX6716" fmla="*/ 1640878 w 2240198"/>
                <a:gd name="connsiteY6716" fmla="*/ 554494 h 1729012"/>
                <a:gd name="connsiteX6717" fmla="*/ 1640370 w 2240198"/>
                <a:gd name="connsiteY6717" fmla="*/ 558519 h 1729012"/>
                <a:gd name="connsiteX6718" fmla="*/ 1641747 w 2240198"/>
                <a:gd name="connsiteY6718" fmla="*/ 560389 h 1729012"/>
                <a:gd name="connsiteX6719" fmla="*/ 1644795 w 2240198"/>
                <a:gd name="connsiteY6719" fmla="*/ 562652 h 1729012"/>
                <a:gd name="connsiteX6720" fmla="*/ 1645938 w 2240198"/>
                <a:gd name="connsiteY6720" fmla="*/ 564159 h 1729012"/>
                <a:gd name="connsiteX6721" fmla="*/ 1643569 w 2240198"/>
                <a:gd name="connsiteY6721" fmla="*/ 565998 h 1729012"/>
                <a:gd name="connsiteX6722" fmla="*/ 1638064 w 2240198"/>
                <a:gd name="connsiteY6722" fmla="*/ 567078 h 1729012"/>
                <a:gd name="connsiteX6723" fmla="*/ 1622519 w 2240198"/>
                <a:gd name="connsiteY6723" fmla="*/ 565953 h 1729012"/>
                <a:gd name="connsiteX6724" fmla="*/ 1601667 w 2240198"/>
                <a:gd name="connsiteY6724" fmla="*/ 563404 h 1729012"/>
                <a:gd name="connsiteX6725" fmla="*/ 1589539 w 2240198"/>
                <a:gd name="connsiteY6725" fmla="*/ 564128 h 1729012"/>
                <a:gd name="connsiteX6726" fmla="*/ 1583458 w 2240198"/>
                <a:gd name="connsiteY6726" fmla="*/ 565292 h 1729012"/>
                <a:gd name="connsiteX6727" fmla="*/ 1568748 w 2240198"/>
                <a:gd name="connsiteY6727" fmla="*/ 569441 h 1729012"/>
                <a:gd name="connsiteX6728" fmla="*/ 1564053 w 2240198"/>
                <a:gd name="connsiteY6728" fmla="*/ 570110 h 1729012"/>
                <a:gd name="connsiteX6729" fmla="*/ 1559458 w 2240198"/>
                <a:gd name="connsiteY6729" fmla="*/ 570194 h 1729012"/>
                <a:gd name="connsiteX6730" fmla="*/ 1551341 w 2240198"/>
                <a:gd name="connsiteY6730" fmla="*/ 566805 h 1729012"/>
                <a:gd name="connsiteX6731" fmla="*/ 1548395 w 2240198"/>
                <a:gd name="connsiteY6731" fmla="*/ 565006 h 1729012"/>
                <a:gd name="connsiteX6732" fmla="*/ 1547421 w 2240198"/>
                <a:gd name="connsiteY6732" fmla="*/ 563614 h 1729012"/>
                <a:gd name="connsiteX6733" fmla="*/ 1545485 w 2240198"/>
                <a:gd name="connsiteY6733" fmla="*/ 559529 h 1729012"/>
                <a:gd name="connsiteX6734" fmla="*/ 1543891 w 2240198"/>
                <a:gd name="connsiteY6734" fmla="*/ 554628 h 1729012"/>
                <a:gd name="connsiteX6735" fmla="*/ 1543081 w 2240198"/>
                <a:gd name="connsiteY6735" fmla="*/ 550596 h 1729012"/>
                <a:gd name="connsiteX6736" fmla="*/ 1542146 w 2240198"/>
                <a:gd name="connsiteY6736" fmla="*/ 547519 h 1729012"/>
                <a:gd name="connsiteX6737" fmla="*/ 1539371 w 2240198"/>
                <a:gd name="connsiteY6737" fmla="*/ 546499 h 1729012"/>
                <a:gd name="connsiteX6738" fmla="*/ 1531126 w 2240198"/>
                <a:gd name="connsiteY6738" fmla="*/ 545272 h 1729012"/>
                <a:gd name="connsiteX6739" fmla="*/ 1528364 w 2240198"/>
                <a:gd name="connsiteY6739" fmla="*/ 543584 h 1729012"/>
                <a:gd name="connsiteX6740" fmla="*/ 1527107 w 2240198"/>
                <a:gd name="connsiteY6740" fmla="*/ 542184 h 1729012"/>
                <a:gd name="connsiteX6741" fmla="*/ 1525896 w 2240198"/>
                <a:gd name="connsiteY6741" fmla="*/ 539917 h 1729012"/>
                <a:gd name="connsiteX6742" fmla="*/ 1525927 w 2240198"/>
                <a:gd name="connsiteY6742" fmla="*/ 537557 h 1729012"/>
                <a:gd name="connsiteX6743" fmla="*/ 1526560 w 2240198"/>
                <a:gd name="connsiteY6743" fmla="*/ 535476 h 1729012"/>
                <a:gd name="connsiteX6744" fmla="*/ 1527093 w 2240198"/>
                <a:gd name="connsiteY6744" fmla="*/ 534965 h 1729012"/>
                <a:gd name="connsiteX6745" fmla="*/ 1528135 w 2240198"/>
                <a:gd name="connsiteY6745" fmla="*/ 534910 h 1729012"/>
                <a:gd name="connsiteX6746" fmla="*/ 1525824 w 2240198"/>
                <a:gd name="connsiteY6746" fmla="*/ 532385 h 1729012"/>
                <a:gd name="connsiteX6747" fmla="*/ 1525026 w 2240198"/>
                <a:gd name="connsiteY6747" fmla="*/ 529605 h 1729012"/>
                <a:gd name="connsiteX6748" fmla="*/ 1524968 w 2240198"/>
                <a:gd name="connsiteY6748" fmla="*/ 525718 h 1729012"/>
                <a:gd name="connsiteX6749" fmla="*/ 1525270 w 2240198"/>
                <a:gd name="connsiteY6749" fmla="*/ 523226 h 1729012"/>
                <a:gd name="connsiteX6750" fmla="*/ 1525929 w 2240198"/>
                <a:gd name="connsiteY6750" fmla="*/ 522133 h 1729012"/>
                <a:gd name="connsiteX6751" fmla="*/ 1527453 w 2240198"/>
                <a:gd name="connsiteY6751" fmla="*/ 521428 h 1729012"/>
                <a:gd name="connsiteX6752" fmla="*/ 1384351 w 2240198"/>
                <a:gd name="connsiteY6752" fmla="*/ 516645 h 1729012"/>
                <a:gd name="connsiteX6753" fmla="*/ 1395904 w 2240198"/>
                <a:gd name="connsiteY6753" fmla="*/ 516874 h 1729012"/>
                <a:gd name="connsiteX6754" fmla="*/ 1417210 w 2240198"/>
                <a:gd name="connsiteY6754" fmla="*/ 518945 h 1729012"/>
                <a:gd name="connsiteX6755" fmla="*/ 1419776 w 2240198"/>
                <a:gd name="connsiteY6755" fmla="*/ 520402 h 1729012"/>
                <a:gd name="connsiteX6756" fmla="*/ 1420427 w 2240198"/>
                <a:gd name="connsiteY6756" fmla="*/ 521135 h 1729012"/>
                <a:gd name="connsiteX6757" fmla="*/ 1421362 w 2240198"/>
                <a:gd name="connsiteY6757" fmla="*/ 523207 h 1729012"/>
                <a:gd name="connsiteX6758" fmla="*/ 1420658 w 2240198"/>
                <a:gd name="connsiteY6758" fmla="*/ 524528 h 1729012"/>
                <a:gd name="connsiteX6759" fmla="*/ 1414831 w 2240198"/>
                <a:gd name="connsiteY6759" fmla="*/ 529008 h 1729012"/>
                <a:gd name="connsiteX6760" fmla="*/ 1407496 w 2240198"/>
                <a:gd name="connsiteY6760" fmla="*/ 532727 h 1729012"/>
                <a:gd name="connsiteX6761" fmla="*/ 1402722 w 2240198"/>
                <a:gd name="connsiteY6761" fmla="*/ 535967 h 1729012"/>
                <a:gd name="connsiteX6762" fmla="*/ 1394642 w 2240198"/>
                <a:gd name="connsiteY6762" fmla="*/ 543239 h 1729012"/>
                <a:gd name="connsiteX6763" fmla="*/ 1392462 w 2240198"/>
                <a:gd name="connsiteY6763" fmla="*/ 545786 h 1729012"/>
                <a:gd name="connsiteX6764" fmla="*/ 1382449 w 2240198"/>
                <a:gd name="connsiteY6764" fmla="*/ 560340 h 1729012"/>
                <a:gd name="connsiteX6765" fmla="*/ 1380085 w 2240198"/>
                <a:gd name="connsiteY6765" fmla="*/ 562741 h 1729012"/>
                <a:gd name="connsiteX6766" fmla="*/ 1378697 w 2240198"/>
                <a:gd name="connsiteY6766" fmla="*/ 564659 h 1729012"/>
                <a:gd name="connsiteX6767" fmla="*/ 1377724 w 2240198"/>
                <a:gd name="connsiteY6767" fmla="*/ 569877 h 1729012"/>
                <a:gd name="connsiteX6768" fmla="*/ 1378014 w 2240198"/>
                <a:gd name="connsiteY6768" fmla="*/ 571730 h 1729012"/>
                <a:gd name="connsiteX6769" fmla="*/ 1379578 w 2240198"/>
                <a:gd name="connsiteY6769" fmla="*/ 574753 h 1729012"/>
                <a:gd name="connsiteX6770" fmla="*/ 1385012 w 2240198"/>
                <a:gd name="connsiteY6770" fmla="*/ 581296 h 1729012"/>
                <a:gd name="connsiteX6771" fmla="*/ 1386477 w 2240198"/>
                <a:gd name="connsiteY6771" fmla="*/ 584350 h 1729012"/>
                <a:gd name="connsiteX6772" fmla="*/ 1386440 w 2240198"/>
                <a:gd name="connsiteY6772" fmla="*/ 587153 h 1729012"/>
                <a:gd name="connsiteX6773" fmla="*/ 1385830 w 2240198"/>
                <a:gd name="connsiteY6773" fmla="*/ 593823 h 1729012"/>
                <a:gd name="connsiteX6774" fmla="*/ 1385756 w 2240198"/>
                <a:gd name="connsiteY6774" fmla="*/ 597196 h 1729012"/>
                <a:gd name="connsiteX6775" fmla="*/ 1386000 w 2240198"/>
                <a:gd name="connsiteY6775" fmla="*/ 600431 h 1729012"/>
                <a:gd name="connsiteX6776" fmla="*/ 1387121 w 2240198"/>
                <a:gd name="connsiteY6776" fmla="*/ 605048 h 1729012"/>
                <a:gd name="connsiteX6777" fmla="*/ 1389116 w 2240198"/>
                <a:gd name="connsiteY6777" fmla="*/ 611037 h 1729012"/>
                <a:gd name="connsiteX6778" fmla="*/ 1393740 w 2240198"/>
                <a:gd name="connsiteY6778" fmla="*/ 617081 h 1729012"/>
                <a:gd name="connsiteX6779" fmla="*/ 1400992 w 2240198"/>
                <a:gd name="connsiteY6779" fmla="*/ 623174 h 1729012"/>
                <a:gd name="connsiteX6780" fmla="*/ 1406392 w 2240198"/>
                <a:gd name="connsiteY6780" fmla="*/ 627205 h 1729012"/>
                <a:gd name="connsiteX6781" fmla="*/ 1411716 w 2240198"/>
                <a:gd name="connsiteY6781" fmla="*/ 630169 h 1729012"/>
                <a:gd name="connsiteX6782" fmla="*/ 1418016 w 2240198"/>
                <a:gd name="connsiteY6782" fmla="*/ 634547 h 1729012"/>
                <a:gd name="connsiteX6783" fmla="*/ 1419418 w 2240198"/>
                <a:gd name="connsiteY6783" fmla="*/ 636661 h 1729012"/>
                <a:gd name="connsiteX6784" fmla="*/ 1416523 w 2240198"/>
                <a:gd name="connsiteY6784" fmla="*/ 638983 h 1729012"/>
                <a:gd name="connsiteX6785" fmla="*/ 1409733 w 2240198"/>
                <a:gd name="connsiteY6785" fmla="*/ 642553 h 1729012"/>
                <a:gd name="connsiteX6786" fmla="*/ 1400811 w 2240198"/>
                <a:gd name="connsiteY6786" fmla="*/ 644079 h 1729012"/>
                <a:gd name="connsiteX6787" fmla="*/ 1396040 w 2240198"/>
                <a:gd name="connsiteY6787" fmla="*/ 645534 h 1729012"/>
                <a:gd name="connsiteX6788" fmla="*/ 1390106 w 2240198"/>
                <a:gd name="connsiteY6788" fmla="*/ 648634 h 1729012"/>
                <a:gd name="connsiteX6789" fmla="*/ 1382656 w 2240198"/>
                <a:gd name="connsiteY6789" fmla="*/ 651105 h 1729012"/>
                <a:gd name="connsiteX6790" fmla="*/ 1379712 w 2240198"/>
                <a:gd name="connsiteY6790" fmla="*/ 652580 h 1729012"/>
                <a:gd name="connsiteX6791" fmla="*/ 1380718 w 2240198"/>
                <a:gd name="connsiteY6791" fmla="*/ 653599 h 1729012"/>
                <a:gd name="connsiteX6792" fmla="*/ 1386509 w 2240198"/>
                <a:gd name="connsiteY6792" fmla="*/ 652301 h 1729012"/>
                <a:gd name="connsiteX6793" fmla="*/ 1391432 w 2240198"/>
                <a:gd name="connsiteY6793" fmla="*/ 650810 h 1729012"/>
                <a:gd name="connsiteX6794" fmla="*/ 1399104 w 2240198"/>
                <a:gd name="connsiteY6794" fmla="*/ 647250 h 1729012"/>
                <a:gd name="connsiteX6795" fmla="*/ 1403686 w 2240198"/>
                <a:gd name="connsiteY6795" fmla="*/ 646009 h 1729012"/>
                <a:gd name="connsiteX6796" fmla="*/ 1417607 w 2240198"/>
                <a:gd name="connsiteY6796" fmla="*/ 646031 h 1729012"/>
                <a:gd name="connsiteX6797" fmla="*/ 1419972 w 2240198"/>
                <a:gd name="connsiteY6797" fmla="*/ 646705 h 1729012"/>
                <a:gd name="connsiteX6798" fmla="*/ 1418928 w 2240198"/>
                <a:gd name="connsiteY6798" fmla="*/ 648833 h 1729012"/>
                <a:gd name="connsiteX6799" fmla="*/ 1418344 w 2240198"/>
                <a:gd name="connsiteY6799" fmla="*/ 649435 h 1729012"/>
                <a:gd name="connsiteX6800" fmla="*/ 1418804 w 2240198"/>
                <a:gd name="connsiteY6800" fmla="*/ 650359 h 1729012"/>
                <a:gd name="connsiteX6801" fmla="*/ 1420304 w 2240198"/>
                <a:gd name="connsiteY6801" fmla="*/ 651609 h 1729012"/>
                <a:gd name="connsiteX6802" fmla="*/ 1423300 w 2240198"/>
                <a:gd name="connsiteY6802" fmla="*/ 652996 h 1729012"/>
                <a:gd name="connsiteX6803" fmla="*/ 1424481 w 2240198"/>
                <a:gd name="connsiteY6803" fmla="*/ 651754 h 1729012"/>
                <a:gd name="connsiteX6804" fmla="*/ 1425347 w 2240198"/>
                <a:gd name="connsiteY6804" fmla="*/ 648756 h 1729012"/>
                <a:gd name="connsiteX6805" fmla="*/ 1427401 w 2240198"/>
                <a:gd name="connsiteY6805" fmla="*/ 636405 h 1729012"/>
                <a:gd name="connsiteX6806" fmla="*/ 1428270 w 2240198"/>
                <a:gd name="connsiteY6806" fmla="*/ 632666 h 1729012"/>
                <a:gd name="connsiteX6807" fmla="*/ 1428682 w 2240198"/>
                <a:gd name="connsiteY6807" fmla="*/ 629118 h 1729012"/>
                <a:gd name="connsiteX6808" fmla="*/ 1428634 w 2240198"/>
                <a:gd name="connsiteY6808" fmla="*/ 625766 h 1729012"/>
                <a:gd name="connsiteX6809" fmla="*/ 1427633 w 2240198"/>
                <a:gd name="connsiteY6809" fmla="*/ 623640 h 1729012"/>
                <a:gd name="connsiteX6810" fmla="*/ 1424066 w 2240198"/>
                <a:gd name="connsiteY6810" fmla="*/ 622362 h 1729012"/>
                <a:gd name="connsiteX6811" fmla="*/ 1419195 w 2240198"/>
                <a:gd name="connsiteY6811" fmla="*/ 622578 h 1729012"/>
                <a:gd name="connsiteX6812" fmla="*/ 1416693 w 2240198"/>
                <a:gd name="connsiteY6812" fmla="*/ 622241 h 1729012"/>
                <a:gd name="connsiteX6813" fmla="*/ 1413661 w 2240198"/>
                <a:gd name="connsiteY6813" fmla="*/ 621580 h 1729012"/>
                <a:gd name="connsiteX6814" fmla="*/ 1411414 w 2240198"/>
                <a:gd name="connsiteY6814" fmla="*/ 620547 h 1729012"/>
                <a:gd name="connsiteX6815" fmla="*/ 1409953 w 2240198"/>
                <a:gd name="connsiteY6815" fmla="*/ 619147 h 1729012"/>
                <a:gd name="connsiteX6816" fmla="*/ 1407042 w 2240198"/>
                <a:gd name="connsiteY6816" fmla="*/ 614933 h 1729012"/>
                <a:gd name="connsiteX6817" fmla="*/ 1404895 w 2240198"/>
                <a:gd name="connsiteY6817" fmla="*/ 612581 h 1729012"/>
                <a:gd name="connsiteX6818" fmla="*/ 1399389 w 2240198"/>
                <a:gd name="connsiteY6818" fmla="*/ 608329 h 1729012"/>
                <a:gd name="connsiteX6819" fmla="*/ 1396897 w 2240198"/>
                <a:gd name="connsiteY6819" fmla="*/ 606906 h 1729012"/>
                <a:gd name="connsiteX6820" fmla="*/ 1398152 w 2240198"/>
                <a:gd name="connsiteY6820" fmla="*/ 605229 h 1729012"/>
                <a:gd name="connsiteX6821" fmla="*/ 1403156 w 2240198"/>
                <a:gd name="connsiteY6821" fmla="*/ 603296 h 1729012"/>
                <a:gd name="connsiteX6822" fmla="*/ 1406173 w 2240198"/>
                <a:gd name="connsiteY6822" fmla="*/ 601458 h 1729012"/>
                <a:gd name="connsiteX6823" fmla="*/ 1409719 w 2240198"/>
                <a:gd name="connsiteY6823" fmla="*/ 596078 h 1729012"/>
                <a:gd name="connsiteX6824" fmla="*/ 1411850 w 2240198"/>
                <a:gd name="connsiteY6824" fmla="*/ 595207 h 1729012"/>
                <a:gd name="connsiteX6825" fmla="*/ 1419536 w 2240198"/>
                <a:gd name="connsiteY6825" fmla="*/ 595920 h 1729012"/>
                <a:gd name="connsiteX6826" fmla="*/ 1429939 w 2240198"/>
                <a:gd name="connsiteY6826" fmla="*/ 600132 h 1729012"/>
                <a:gd name="connsiteX6827" fmla="*/ 1436452 w 2240198"/>
                <a:gd name="connsiteY6827" fmla="*/ 603776 h 1729012"/>
                <a:gd name="connsiteX6828" fmla="*/ 1438174 w 2240198"/>
                <a:gd name="connsiteY6828" fmla="*/ 604163 h 1729012"/>
                <a:gd name="connsiteX6829" fmla="*/ 1438210 w 2240198"/>
                <a:gd name="connsiteY6829" fmla="*/ 603501 h 1729012"/>
                <a:gd name="connsiteX6830" fmla="*/ 1436558 w 2240198"/>
                <a:gd name="connsiteY6830" fmla="*/ 601796 h 1729012"/>
                <a:gd name="connsiteX6831" fmla="*/ 1429065 w 2240198"/>
                <a:gd name="connsiteY6831" fmla="*/ 597280 h 1729012"/>
                <a:gd name="connsiteX6832" fmla="*/ 1425653 w 2240198"/>
                <a:gd name="connsiteY6832" fmla="*/ 593988 h 1729012"/>
                <a:gd name="connsiteX6833" fmla="*/ 1424019 w 2240198"/>
                <a:gd name="connsiteY6833" fmla="*/ 591637 h 1729012"/>
                <a:gd name="connsiteX6834" fmla="*/ 1424803 w 2240198"/>
                <a:gd name="connsiteY6834" fmla="*/ 590618 h 1729012"/>
                <a:gd name="connsiteX6835" fmla="*/ 1429022 w 2240198"/>
                <a:gd name="connsiteY6835" fmla="*/ 589574 h 1729012"/>
                <a:gd name="connsiteX6836" fmla="*/ 1429570 w 2240198"/>
                <a:gd name="connsiteY6836" fmla="*/ 588375 h 1729012"/>
                <a:gd name="connsiteX6837" fmla="*/ 1423830 w 2240198"/>
                <a:gd name="connsiteY6837" fmla="*/ 586957 h 1729012"/>
                <a:gd name="connsiteX6838" fmla="*/ 1420921 w 2240198"/>
                <a:gd name="connsiteY6838" fmla="*/ 586988 h 1729012"/>
                <a:gd name="connsiteX6839" fmla="*/ 1418571 w 2240198"/>
                <a:gd name="connsiteY6839" fmla="*/ 588002 h 1729012"/>
                <a:gd name="connsiteX6840" fmla="*/ 1416046 w 2240198"/>
                <a:gd name="connsiteY6840" fmla="*/ 588072 h 1729012"/>
                <a:gd name="connsiteX6841" fmla="*/ 1411363 w 2240198"/>
                <a:gd name="connsiteY6841" fmla="*/ 586228 h 1729012"/>
                <a:gd name="connsiteX6842" fmla="*/ 1410090 w 2240198"/>
                <a:gd name="connsiteY6842" fmla="*/ 585155 h 1729012"/>
                <a:gd name="connsiteX6843" fmla="*/ 1407390 w 2240198"/>
                <a:gd name="connsiteY6843" fmla="*/ 581969 h 1729012"/>
                <a:gd name="connsiteX6844" fmla="*/ 1405972 w 2240198"/>
                <a:gd name="connsiteY6844" fmla="*/ 579192 h 1729012"/>
                <a:gd name="connsiteX6845" fmla="*/ 1404403 w 2240198"/>
                <a:gd name="connsiteY6845" fmla="*/ 577464 h 1729012"/>
                <a:gd name="connsiteX6846" fmla="*/ 1403837 w 2240198"/>
                <a:gd name="connsiteY6846" fmla="*/ 576093 h 1729012"/>
                <a:gd name="connsiteX6847" fmla="*/ 1403533 w 2240198"/>
                <a:gd name="connsiteY6847" fmla="*/ 571820 h 1729012"/>
                <a:gd name="connsiteX6848" fmla="*/ 1403668 w 2240198"/>
                <a:gd name="connsiteY6848" fmla="*/ 569304 h 1729012"/>
                <a:gd name="connsiteX6849" fmla="*/ 1404306 w 2240198"/>
                <a:gd name="connsiteY6849" fmla="*/ 567149 h 1729012"/>
                <a:gd name="connsiteX6850" fmla="*/ 1405442 w 2240198"/>
                <a:gd name="connsiteY6850" fmla="*/ 565354 h 1729012"/>
                <a:gd name="connsiteX6851" fmla="*/ 1408480 w 2240198"/>
                <a:gd name="connsiteY6851" fmla="*/ 562036 h 1729012"/>
                <a:gd name="connsiteX6852" fmla="*/ 1410184 w 2240198"/>
                <a:gd name="connsiteY6852" fmla="*/ 561076 h 1729012"/>
                <a:gd name="connsiteX6853" fmla="*/ 1413366 w 2240198"/>
                <a:gd name="connsiteY6853" fmla="*/ 560641 h 1729012"/>
                <a:gd name="connsiteX6854" fmla="*/ 1420277 w 2240198"/>
                <a:gd name="connsiteY6854" fmla="*/ 562290 h 1729012"/>
                <a:gd name="connsiteX6855" fmla="*/ 1438861 w 2240198"/>
                <a:gd name="connsiteY6855" fmla="*/ 568230 h 1729012"/>
                <a:gd name="connsiteX6856" fmla="*/ 1438414 w 2240198"/>
                <a:gd name="connsiteY6856" fmla="*/ 566318 h 1729012"/>
                <a:gd name="connsiteX6857" fmla="*/ 1417627 w 2240198"/>
                <a:gd name="connsiteY6857" fmla="*/ 558289 h 1729012"/>
                <a:gd name="connsiteX6858" fmla="*/ 1410278 w 2240198"/>
                <a:gd name="connsiteY6858" fmla="*/ 556218 h 1729012"/>
                <a:gd name="connsiteX6859" fmla="*/ 1408481 w 2240198"/>
                <a:gd name="connsiteY6859" fmla="*/ 553307 h 1729012"/>
                <a:gd name="connsiteX6860" fmla="*/ 1419546 w 2240198"/>
                <a:gd name="connsiteY6860" fmla="*/ 542119 h 1729012"/>
                <a:gd name="connsiteX6861" fmla="*/ 1429747 w 2240198"/>
                <a:gd name="connsiteY6861" fmla="*/ 539482 h 1729012"/>
                <a:gd name="connsiteX6862" fmla="*/ 1434819 w 2240198"/>
                <a:gd name="connsiteY6862" fmla="*/ 536212 h 1729012"/>
                <a:gd name="connsiteX6863" fmla="*/ 1443112 w 2240198"/>
                <a:gd name="connsiteY6863" fmla="*/ 536071 h 1729012"/>
                <a:gd name="connsiteX6864" fmla="*/ 1450899 w 2240198"/>
                <a:gd name="connsiteY6864" fmla="*/ 538147 h 1729012"/>
                <a:gd name="connsiteX6865" fmla="*/ 1451034 w 2240198"/>
                <a:gd name="connsiteY6865" fmla="*/ 537581 h 1729012"/>
                <a:gd name="connsiteX6866" fmla="*/ 1447523 w 2240198"/>
                <a:gd name="connsiteY6866" fmla="*/ 533672 h 1729012"/>
                <a:gd name="connsiteX6867" fmla="*/ 1447801 w 2240198"/>
                <a:gd name="connsiteY6867" fmla="*/ 532696 h 1729012"/>
                <a:gd name="connsiteX6868" fmla="*/ 1452219 w 2240198"/>
                <a:gd name="connsiteY6868" fmla="*/ 530366 h 1729012"/>
                <a:gd name="connsiteX6869" fmla="*/ 1460319 w 2240198"/>
                <a:gd name="connsiteY6869" fmla="*/ 527627 h 1729012"/>
                <a:gd name="connsiteX6870" fmla="*/ 1470205 w 2240198"/>
                <a:gd name="connsiteY6870" fmla="*/ 525450 h 1729012"/>
                <a:gd name="connsiteX6871" fmla="*/ 1472165 w 2240198"/>
                <a:gd name="connsiteY6871" fmla="*/ 524313 h 1729012"/>
                <a:gd name="connsiteX6872" fmla="*/ 1474697 w 2240198"/>
                <a:gd name="connsiteY6872" fmla="*/ 523512 h 1729012"/>
                <a:gd name="connsiteX6873" fmla="*/ 1479355 w 2240198"/>
                <a:gd name="connsiteY6873" fmla="*/ 522814 h 1729012"/>
                <a:gd name="connsiteX6874" fmla="*/ 1490939 w 2240198"/>
                <a:gd name="connsiteY6874" fmla="*/ 522476 h 1729012"/>
                <a:gd name="connsiteX6875" fmla="*/ 1497447 w 2240198"/>
                <a:gd name="connsiteY6875" fmla="*/ 522803 h 1729012"/>
                <a:gd name="connsiteX6876" fmla="*/ 1506087 w 2240198"/>
                <a:gd name="connsiteY6876" fmla="*/ 524467 h 1729012"/>
                <a:gd name="connsiteX6877" fmla="*/ 1511139 w 2240198"/>
                <a:gd name="connsiteY6877" fmla="*/ 527487 h 1729012"/>
                <a:gd name="connsiteX6878" fmla="*/ 1512713 w 2240198"/>
                <a:gd name="connsiteY6878" fmla="*/ 529292 h 1729012"/>
                <a:gd name="connsiteX6879" fmla="*/ 1515394 w 2240198"/>
                <a:gd name="connsiteY6879" fmla="*/ 535084 h 1729012"/>
                <a:gd name="connsiteX6880" fmla="*/ 1517589 w 2240198"/>
                <a:gd name="connsiteY6880" fmla="*/ 543166 h 1729012"/>
                <a:gd name="connsiteX6881" fmla="*/ 1520800 w 2240198"/>
                <a:gd name="connsiteY6881" fmla="*/ 546517 h 1729012"/>
                <a:gd name="connsiteX6882" fmla="*/ 1525958 w 2240198"/>
                <a:gd name="connsiteY6882" fmla="*/ 548368 h 1729012"/>
                <a:gd name="connsiteX6883" fmla="*/ 1529522 w 2240198"/>
                <a:gd name="connsiteY6883" fmla="*/ 550377 h 1729012"/>
                <a:gd name="connsiteX6884" fmla="*/ 1531492 w 2240198"/>
                <a:gd name="connsiteY6884" fmla="*/ 552544 h 1729012"/>
                <a:gd name="connsiteX6885" fmla="*/ 1532017 w 2240198"/>
                <a:gd name="connsiteY6885" fmla="*/ 555272 h 1729012"/>
                <a:gd name="connsiteX6886" fmla="*/ 1531095 w 2240198"/>
                <a:gd name="connsiteY6886" fmla="*/ 558554 h 1729012"/>
                <a:gd name="connsiteX6887" fmla="*/ 1531785 w 2240198"/>
                <a:gd name="connsiteY6887" fmla="*/ 561913 h 1729012"/>
                <a:gd name="connsiteX6888" fmla="*/ 1534092 w 2240198"/>
                <a:gd name="connsiteY6888" fmla="*/ 565345 h 1729012"/>
                <a:gd name="connsiteX6889" fmla="*/ 1535870 w 2240198"/>
                <a:gd name="connsiteY6889" fmla="*/ 567290 h 1729012"/>
                <a:gd name="connsiteX6890" fmla="*/ 1539764 w 2240198"/>
                <a:gd name="connsiteY6890" fmla="*/ 569510 h 1729012"/>
                <a:gd name="connsiteX6891" fmla="*/ 1539828 w 2240198"/>
                <a:gd name="connsiteY6891" fmla="*/ 570695 h 1729012"/>
                <a:gd name="connsiteX6892" fmla="*/ 1538613 w 2240198"/>
                <a:gd name="connsiteY6892" fmla="*/ 572044 h 1729012"/>
                <a:gd name="connsiteX6893" fmla="*/ 1536035 w 2240198"/>
                <a:gd name="connsiteY6893" fmla="*/ 573899 h 1729012"/>
                <a:gd name="connsiteX6894" fmla="*/ 1529675 w 2240198"/>
                <a:gd name="connsiteY6894" fmla="*/ 579669 h 1729012"/>
                <a:gd name="connsiteX6895" fmla="*/ 1521469 w 2240198"/>
                <a:gd name="connsiteY6895" fmla="*/ 586003 h 1729012"/>
                <a:gd name="connsiteX6896" fmla="*/ 1515622 w 2240198"/>
                <a:gd name="connsiteY6896" fmla="*/ 591466 h 1729012"/>
                <a:gd name="connsiteX6897" fmla="*/ 1515337 w 2240198"/>
                <a:gd name="connsiteY6897" fmla="*/ 593076 h 1729012"/>
                <a:gd name="connsiteX6898" fmla="*/ 1527503 w 2240198"/>
                <a:gd name="connsiteY6898" fmla="*/ 584525 h 1729012"/>
                <a:gd name="connsiteX6899" fmla="*/ 1531289 w 2240198"/>
                <a:gd name="connsiteY6899" fmla="*/ 584828 h 1729012"/>
                <a:gd name="connsiteX6900" fmla="*/ 1531461 w 2240198"/>
                <a:gd name="connsiteY6900" fmla="*/ 586025 h 1729012"/>
                <a:gd name="connsiteX6901" fmla="*/ 1528983 w 2240198"/>
                <a:gd name="connsiteY6901" fmla="*/ 590201 h 1729012"/>
                <a:gd name="connsiteX6902" fmla="*/ 1525963 w 2240198"/>
                <a:gd name="connsiteY6902" fmla="*/ 593918 h 1729012"/>
                <a:gd name="connsiteX6903" fmla="*/ 1522928 w 2240198"/>
                <a:gd name="connsiteY6903" fmla="*/ 596301 h 1729012"/>
                <a:gd name="connsiteX6904" fmla="*/ 1523483 w 2240198"/>
                <a:gd name="connsiteY6904" fmla="*/ 597199 h 1729012"/>
                <a:gd name="connsiteX6905" fmla="*/ 1529262 w 2240198"/>
                <a:gd name="connsiteY6905" fmla="*/ 601367 h 1729012"/>
                <a:gd name="connsiteX6906" fmla="*/ 1528201 w 2240198"/>
                <a:gd name="connsiteY6906" fmla="*/ 602053 h 1729012"/>
                <a:gd name="connsiteX6907" fmla="*/ 1525412 w 2240198"/>
                <a:gd name="connsiteY6907" fmla="*/ 601712 h 1729012"/>
                <a:gd name="connsiteX6908" fmla="*/ 1524267 w 2240198"/>
                <a:gd name="connsiteY6908" fmla="*/ 602087 h 1729012"/>
                <a:gd name="connsiteX6909" fmla="*/ 1523438 w 2240198"/>
                <a:gd name="connsiteY6909" fmla="*/ 602844 h 1729012"/>
                <a:gd name="connsiteX6910" fmla="*/ 1522923 w 2240198"/>
                <a:gd name="connsiteY6910" fmla="*/ 603985 h 1729012"/>
                <a:gd name="connsiteX6911" fmla="*/ 1522891 w 2240198"/>
                <a:gd name="connsiteY6911" fmla="*/ 605589 h 1729012"/>
                <a:gd name="connsiteX6912" fmla="*/ 1523337 w 2240198"/>
                <a:gd name="connsiteY6912" fmla="*/ 607654 h 1729012"/>
                <a:gd name="connsiteX6913" fmla="*/ 1523294 w 2240198"/>
                <a:gd name="connsiteY6913" fmla="*/ 609197 h 1729012"/>
                <a:gd name="connsiteX6914" fmla="*/ 1522758 w 2240198"/>
                <a:gd name="connsiteY6914" fmla="*/ 610214 h 1729012"/>
                <a:gd name="connsiteX6915" fmla="*/ 1523335 w 2240198"/>
                <a:gd name="connsiteY6915" fmla="*/ 610634 h 1729012"/>
                <a:gd name="connsiteX6916" fmla="*/ 1525027 w 2240198"/>
                <a:gd name="connsiteY6916" fmla="*/ 610456 h 1729012"/>
                <a:gd name="connsiteX6917" fmla="*/ 1526452 w 2240198"/>
                <a:gd name="connsiteY6917" fmla="*/ 609617 h 1729012"/>
                <a:gd name="connsiteX6918" fmla="*/ 1528907 w 2240198"/>
                <a:gd name="connsiteY6918" fmla="*/ 606830 h 1729012"/>
                <a:gd name="connsiteX6919" fmla="*/ 1537003 w 2240198"/>
                <a:gd name="connsiteY6919" fmla="*/ 599217 h 1729012"/>
                <a:gd name="connsiteX6920" fmla="*/ 1542180 w 2240198"/>
                <a:gd name="connsiteY6920" fmla="*/ 596366 h 1729012"/>
                <a:gd name="connsiteX6921" fmla="*/ 1543850 w 2240198"/>
                <a:gd name="connsiteY6921" fmla="*/ 596115 h 1729012"/>
                <a:gd name="connsiteX6922" fmla="*/ 1548611 w 2240198"/>
                <a:gd name="connsiteY6922" fmla="*/ 597974 h 1729012"/>
                <a:gd name="connsiteX6923" fmla="*/ 1549726 w 2240198"/>
                <a:gd name="connsiteY6923" fmla="*/ 597867 h 1729012"/>
                <a:gd name="connsiteX6924" fmla="*/ 1544489 w 2240198"/>
                <a:gd name="connsiteY6924" fmla="*/ 591983 h 1729012"/>
                <a:gd name="connsiteX6925" fmla="*/ 1544031 w 2240198"/>
                <a:gd name="connsiteY6925" fmla="*/ 590492 h 1729012"/>
                <a:gd name="connsiteX6926" fmla="*/ 1545095 w 2240198"/>
                <a:gd name="connsiteY6926" fmla="*/ 588291 h 1729012"/>
                <a:gd name="connsiteX6927" fmla="*/ 1545734 w 2240198"/>
                <a:gd name="connsiteY6927" fmla="*/ 587531 h 1729012"/>
                <a:gd name="connsiteX6928" fmla="*/ 1548652 w 2240198"/>
                <a:gd name="connsiteY6928" fmla="*/ 585910 h 1729012"/>
                <a:gd name="connsiteX6929" fmla="*/ 1551071 w 2240198"/>
                <a:gd name="connsiteY6929" fmla="*/ 585045 h 1729012"/>
                <a:gd name="connsiteX6930" fmla="*/ 1552426 w 2240198"/>
                <a:gd name="connsiteY6930" fmla="*/ 585407 h 1729012"/>
                <a:gd name="connsiteX6931" fmla="*/ 1554571 w 2240198"/>
                <a:gd name="connsiteY6931" fmla="*/ 588405 h 1729012"/>
                <a:gd name="connsiteX6932" fmla="*/ 1555570 w 2240198"/>
                <a:gd name="connsiteY6932" fmla="*/ 590492 h 1729012"/>
                <a:gd name="connsiteX6933" fmla="*/ 1557349 w 2240198"/>
                <a:gd name="connsiteY6933" fmla="*/ 591328 h 1729012"/>
                <a:gd name="connsiteX6934" fmla="*/ 1561311 w 2240198"/>
                <a:gd name="connsiteY6934" fmla="*/ 590247 h 1729012"/>
                <a:gd name="connsiteX6935" fmla="*/ 1563951 w 2240198"/>
                <a:gd name="connsiteY6935" fmla="*/ 587695 h 1729012"/>
                <a:gd name="connsiteX6936" fmla="*/ 1567221 w 2240198"/>
                <a:gd name="connsiteY6936" fmla="*/ 589370 h 1729012"/>
                <a:gd name="connsiteX6937" fmla="*/ 1572144 w 2240198"/>
                <a:gd name="connsiteY6937" fmla="*/ 593357 h 1729012"/>
                <a:gd name="connsiteX6938" fmla="*/ 1571695 w 2240198"/>
                <a:gd name="connsiteY6938" fmla="*/ 597343 h 1729012"/>
                <a:gd name="connsiteX6939" fmla="*/ 1571699 w 2240198"/>
                <a:gd name="connsiteY6939" fmla="*/ 601325 h 1729012"/>
                <a:gd name="connsiteX6940" fmla="*/ 1571953 w 2240198"/>
                <a:gd name="connsiteY6940" fmla="*/ 604236 h 1729012"/>
                <a:gd name="connsiteX6941" fmla="*/ 1577832 w 2240198"/>
                <a:gd name="connsiteY6941" fmla="*/ 609561 h 1729012"/>
                <a:gd name="connsiteX6942" fmla="*/ 1581926 w 2240198"/>
                <a:gd name="connsiteY6942" fmla="*/ 611893 h 1729012"/>
                <a:gd name="connsiteX6943" fmla="*/ 1582670 w 2240198"/>
                <a:gd name="connsiteY6943" fmla="*/ 611911 h 1729012"/>
                <a:gd name="connsiteX6944" fmla="*/ 1582575 w 2240198"/>
                <a:gd name="connsiteY6944" fmla="*/ 611113 h 1729012"/>
                <a:gd name="connsiteX6945" fmla="*/ 1581720 w 2240198"/>
                <a:gd name="connsiteY6945" fmla="*/ 609345 h 1729012"/>
                <a:gd name="connsiteX6946" fmla="*/ 1579475 w 2240198"/>
                <a:gd name="connsiteY6946" fmla="*/ 607574 h 1729012"/>
                <a:gd name="connsiteX6947" fmla="*/ 1577454 w 2240198"/>
                <a:gd name="connsiteY6947" fmla="*/ 604836 h 1729012"/>
                <a:gd name="connsiteX6948" fmla="*/ 1575630 w 2240198"/>
                <a:gd name="connsiteY6948" fmla="*/ 601492 h 1729012"/>
                <a:gd name="connsiteX6949" fmla="*/ 1576711 w 2240198"/>
                <a:gd name="connsiteY6949" fmla="*/ 593671 h 1729012"/>
                <a:gd name="connsiteX6950" fmla="*/ 1579775 w 2240198"/>
                <a:gd name="connsiteY6950" fmla="*/ 589574 h 1729012"/>
                <a:gd name="connsiteX6951" fmla="*/ 1582737 w 2240198"/>
                <a:gd name="connsiteY6951" fmla="*/ 590627 h 1729012"/>
                <a:gd name="connsiteX6952" fmla="*/ 1586633 w 2240198"/>
                <a:gd name="connsiteY6952" fmla="*/ 592988 h 1729012"/>
                <a:gd name="connsiteX6953" fmla="*/ 1589711 w 2240198"/>
                <a:gd name="connsiteY6953" fmla="*/ 593209 h 1729012"/>
                <a:gd name="connsiteX6954" fmla="*/ 1594557 w 2240198"/>
                <a:gd name="connsiteY6954" fmla="*/ 592963 h 1729012"/>
                <a:gd name="connsiteX6955" fmla="*/ 1604453 w 2240198"/>
                <a:gd name="connsiteY6955" fmla="*/ 597735 h 1729012"/>
                <a:gd name="connsiteX6956" fmla="*/ 1609767 w 2240198"/>
                <a:gd name="connsiteY6956" fmla="*/ 597840 h 1729012"/>
                <a:gd name="connsiteX6957" fmla="*/ 1609278 w 2240198"/>
                <a:gd name="connsiteY6957" fmla="*/ 595893 h 1729012"/>
                <a:gd name="connsiteX6958" fmla="*/ 1605253 w 2240198"/>
                <a:gd name="connsiteY6958" fmla="*/ 594956 h 1729012"/>
                <a:gd name="connsiteX6959" fmla="*/ 1599379 w 2240198"/>
                <a:gd name="connsiteY6959" fmla="*/ 592318 h 1729012"/>
                <a:gd name="connsiteX6960" fmla="*/ 1590223 w 2240198"/>
                <a:gd name="connsiteY6960" fmla="*/ 589174 h 1729012"/>
                <a:gd name="connsiteX6961" fmla="*/ 1586018 w 2240198"/>
                <a:gd name="connsiteY6961" fmla="*/ 585574 h 1729012"/>
                <a:gd name="connsiteX6962" fmla="*/ 1585227 w 2240198"/>
                <a:gd name="connsiteY6962" fmla="*/ 583883 h 1729012"/>
                <a:gd name="connsiteX6963" fmla="*/ 1585348 w 2240198"/>
                <a:gd name="connsiteY6963" fmla="*/ 582059 h 1729012"/>
                <a:gd name="connsiteX6964" fmla="*/ 1585871 w 2240198"/>
                <a:gd name="connsiteY6964" fmla="*/ 580450 h 1729012"/>
                <a:gd name="connsiteX6965" fmla="*/ 1586796 w 2240198"/>
                <a:gd name="connsiteY6965" fmla="*/ 579051 h 1729012"/>
                <a:gd name="connsiteX6966" fmla="*/ 1588626 w 2240198"/>
                <a:gd name="connsiteY6966" fmla="*/ 577677 h 1729012"/>
                <a:gd name="connsiteX6967" fmla="*/ 1597481 w 2240198"/>
                <a:gd name="connsiteY6967" fmla="*/ 573481 h 1729012"/>
                <a:gd name="connsiteX6968" fmla="*/ 1603764 w 2240198"/>
                <a:gd name="connsiteY6968" fmla="*/ 571696 h 1729012"/>
                <a:gd name="connsiteX6969" fmla="*/ 1608490 w 2240198"/>
                <a:gd name="connsiteY6969" fmla="*/ 571113 h 1729012"/>
                <a:gd name="connsiteX6970" fmla="*/ 1616388 w 2240198"/>
                <a:gd name="connsiteY6970" fmla="*/ 571160 h 1729012"/>
                <a:gd name="connsiteX6971" fmla="*/ 1625563 w 2240198"/>
                <a:gd name="connsiteY6971" fmla="*/ 571892 h 1729012"/>
                <a:gd name="connsiteX6972" fmla="*/ 1630522 w 2240198"/>
                <a:gd name="connsiteY6972" fmla="*/ 573122 h 1729012"/>
                <a:gd name="connsiteX6973" fmla="*/ 1636219 w 2240198"/>
                <a:gd name="connsiteY6973" fmla="*/ 576086 h 1729012"/>
                <a:gd name="connsiteX6974" fmla="*/ 1643433 w 2240198"/>
                <a:gd name="connsiteY6974" fmla="*/ 579017 h 1729012"/>
                <a:gd name="connsiteX6975" fmla="*/ 1646005 w 2240198"/>
                <a:gd name="connsiteY6975" fmla="*/ 579540 h 1729012"/>
                <a:gd name="connsiteX6976" fmla="*/ 1649012 w 2240198"/>
                <a:gd name="connsiteY6976" fmla="*/ 579473 h 1729012"/>
                <a:gd name="connsiteX6977" fmla="*/ 1652449 w 2240198"/>
                <a:gd name="connsiteY6977" fmla="*/ 578812 h 1729012"/>
                <a:gd name="connsiteX6978" fmla="*/ 1655717 w 2240198"/>
                <a:gd name="connsiteY6978" fmla="*/ 579051 h 1729012"/>
                <a:gd name="connsiteX6979" fmla="*/ 1666115 w 2240198"/>
                <a:gd name="connsiteY6979" fmla="*/ 583392 h 1729012"/>
                <a:gd name="connsiteX6980" fmla="*/ 1668864 w 2240198"/>
                <a:gd name="connsiteY6980" fmla="*/ 585621 h 1729012"/>
                <a:gd name="connsiteX6981" fmla="*/ 1670531 w 2240198"/>
                <a:gd name="connsiteY6981" fmla="*/ 588320 h 1729012"/>
                <a:gd name="connsiteX6982" fmla="*/ 1671763 w 2240198"/>
                <a:gd name="connsiteY6982" fmla="*/ 590936 h 1729012"/>
                <a:gd name="connsiteX6983" fmla="*/ 1672566 w 2240198"/>
                <a:gd name="connsiteY6983" fmla="*/ 593474 h 1729012"/>
                <a:gd name="connsiteX6984" fmla="*/ 1672240 w 2240198"/>
                <a:gd name="connsiteY6984" fmla="*/ 595530 h 1729012"/>
                <a:gd name="connsiteX6985" fmla="*/ 1663581 w 2240198"/>
                <a:gd name="connsiteY6985" fmla="*/ 604385 h 1729012"/>
                <a:gd name="connsiteX6986" fmla="*/ 1659813 w 2240198"/>
                <a:gd name="connsiteY6986" fmla="*/ 605892 h 1729012"/>
                <a:gd name="connsiteX6987" fmla="*/ 1657323 w 2240198"/>
                <a:gd name="connsiteY6987" fmla="*/ 609240 h 1729012"/>
                <a:gd name="connsiteX6988" fmla="*/ 1653610 w 2240198"/>
                <a:gd name="connsiteY6988" fmla="*/ 615567 h 1729012"/>
                <a:gd name="connsiteX6989" fmla="*/ 1650468 w 2240198"/>
                <a:gd name="connsiteY6989" fmla="*/ 618947 h 1729012"/>
                <a:gd name="connsiteX6990" fmla="*/ 1650177 w 2240198"/>
                <a:gd name="connsiteY6990" fmla="*/ 619608 h 1729012"/>
                <a:gd name="connsiteX6991" fmla="*/ 1650835 w 2240198"/>
                <a:gd name="connsiteY6991" fmla="*/ 619773 h 1729012"/>
                <a:gd name="connsiteX6992" fmla="*/ 1652731 w 2240198"/>
                <a:gd name="connsiteY6992" fmla="*/ 618260 h 1729012"/>
                <a:gd name="connsiteX6993" fmla="*/ 1655994 w 2240198"/>
                <a:gd name="connsiteY6993" fmla="*/ 613894 h 1729012"/>
                <a:gd name="connsiteX6994" fmla="*/ 1658365 w 2240198"/>
                <a:gd name="connsiteY6994" fmla="*/ 610125 h 1729012"/>
                <a:gd name="connsiteX6995" fmla="*/ 1662714 w 2240198"/>
                <a:gd name="connsiteY6995" fmla="*/ 607008 h 1729012"/>
                <a:gd name="connsiteX6996" fmla="*/ 1669832 w 2240198"/>
                <a:gd name="connsiteY6996" fmla="*/ 603285 h 1729012"/>
                <a:gd name="connsiteX6997" fmla="*/ 1676031 w 2240198"/>
                <a:gd name="connsiteY6997" fmla="*/ 601508 h 1729012"/>
                <a:gd name="connsiteX6998" fmla="*/ 1681312 w 2240198"/>
                <a:gd name="connsiteY6998" fmla="*/ 601678 h 1729012"/>
                <a:gd name="connsiteX6999" fmla="*/ 1685755 w 2240198"/>
                <a:gd name="connsiteY6999" fmla="*/ 602212 h 1729012"/>
                <a:gd name="connsiteX7000" fmla="*/ 1689362 w 2240198"/>
                <a:gd name="connsiteY7000" fmla="*/ 603117 h 1729012"/>
                <a:gd name="connsiteX7001" fmla="*/ 1691504 w 2240198"/>
                <a:gd name="connsiteY7001" fmla="*/ 603874 h 1729012"/>
                <a:gd name="connsiteX7002" fmla="*/ 1692178 w 2240198"/>
                <a:gd name="connsiteY7002" fmla="*/ 604484 h 1729012"/>
                <a:gd name="connsiteX7003" fmla="*/ 1693624 w 2240198"/>
                <a:gd name="connsiteY7003" fmla="*/ 607278 h 1729012"/>
                <a:gd name="connsiteX7004" fmla="*/ 1693541 w 2240198"/>
                <a:gd name="connsiteY7004" fmla="*/ 609169 h 1729012"/>
                <a:gd name="connsiteX7005" fmla="*/ 1692638 w 2240198"/>
                <a:gd name="connsiteY7005" fmla="*/ 611295 h 1729012"/>
                <a:gd name="connsiteX7006" fmla="*/ 1690927 w 2240198"/>
                <a:gd name="connsiteY7006" fmla="*/ 613701 h 1729012"/>
                <a:gd name="connsiteX7007" fmla="*/ 1683174 w 2240198"/>
                <a:gd name="connsiteY7007" fmla="*/ 616359 h 1729012"/>
                <a:gd name="connsiteX7008" fmla="*/ 1678924 w 2240198"/>
                <a:gd name="connsiteY7008" fmla="*/ 618444 h 1729012"/>
                <a:gd name="connsiteX7009" fmla="*/ 1676289 w 2240198"/>
                <a:gd name="connsiteY7009" fmla="*/ 619218 h 1729012"/>
                <a:gd name="connsiteX7010" fmla="*/ 1668382 w 2240198"/>
                <a:gd name="connsiteY7010" fmla="*/ 619990 h 1729012"/>
                <a:gd name="connsiteX7011" fmla="*/ 1668731 w 2240198"/>
                <a:gd name="connsiteY7011" fmla="*/ 620813 h 1729012"/>
                <a:gd name="connsiteX7012" fmla="*/ 1674603 w 2240198"/>
                <a:gd name="connsiteY7012" fmla="*/ 621947 h 1729012"/>
                <a:gd name="connsiteX7013" fmla="*/ 1681163 w 2240198"/>
                <a:gd name="connsiteY7013" fmla="*/ 621566 h 1729012"/>
                <a:gd name="connsiteX7014" fmla="*/ 1680995 w 2240198"/>
                <a:gd name="connsiteY7014" fmla="*/ 622913 h 1729012"/>
                <a:gd name="connsiteX7015" fmla="*/ 1677913 w 2240198"/>
                <a:gd name="connsiteY7015" fmla="*/ 626479 h 1729012"/>
                <a:gd name="connsiteX7016" fmla="*/ 1676915 w 2240198"/>
                <a:gd name="connsiteY7016" fmla="*/ 629579 h 1729012"/>
                <a:gd name="connsiteX7017" fmla="*/ 1677773 w 2240198"/>
                <a:gd name="connsiteY7017" fmla="*/ 632113 h 1729012"/>
                <a:gd name="connsiteX7018" fmla="*/ 1677615 w 2240198"/>
                <a:gd name="connsiteY7018" fmla="*/ 634169 h 1729012"/>
                <a:gd name="connsiteX7019" fmla="*/ 1675318 w 2240198"/>
                <a:gd name="connsiteY7019" fmla="*/ 638486 h 1729012"/>
                <a:gd name="connsiteX7020" fmla="*/ 1672679 w 2240198"/>
                <a:gd name="connsiteY7020" fmla="*/ 642378 h 1729012"/>
                <a:gd name="connsiteX7021" fmla="*/ 1673672 w 2240198"/>
                <a:gd name="connsiteY7021" fmla="*/ 642955 h 1729012"/>
                <a:gd name="connsiteX7022" fmla="*/ 1679688 w 2240198"/>
                <a:gd name="connsiteY7022" fmla="*/ 637364 h 1729012"/>
                <a:gd name="connsiteX7023" fmla="*/ 1681301 w 2240198"/>
                <a:gd name="connsiteY7023" fmla="*/ 631231 h 1729012"/>
                <a:gd name="connsiteX7024" fmla="*/ 1683729 w 2240198"/>
                <a:gd name="connsiteY7024" fmla="*/ 625825 h 1729012"/>
                <a:gd name="connsiteX7025" fmla="*/ 1686556 w 2240198"/>
                <a:gd name="connsiteY7025" fmla="*/ 622844 h 1729012"/>
                <a:gd name="connsiteX7026" fmla="*/ 1688685 w 2240198"/>
                <a:gd name="connsiteY7026" fmla="*/ 621711 h 1729012"/>
                <a:gd name="connsiteX7027" fmla="*/ 1695406 w 2240198"/>
                <a:gd name="connsiteY7027" fmla="*/ 621255 h 1729012"/>
                <a:gd name="connsiteX7028" fmla="*/ 1699133 w 2240198"/>
                <a:gd name="connsiteY7028" fmla="*/ 618085 h 1729012"/>
                <a:gd name="connsiteX7029" fmla="*/ 1702315 w 2240198"/>
                <a:gd name="connsiteY7029" fmla="*/ 617076 h 1729012"/>
                <a:gd name="connsiteX7030" fmla="*/ 1703646 w 2240198"/>
                <a:gd name="connsiteY7030" fmla="*/ 617058 h 1729012"/>
                <a:gd name="connsiteX7031" fmla="*/ 1706356 w 2240198"/>
                <a:gd name="connsiteY7031" fmla="*/ 618239 h 1729012"/>
                <a:gd name="connsiteX7032" fmla="*/ 1706194 w 2240198"/>
                <a:gd name="connsiteY7032" fmla="*/ 619484 h 1729012"/>
                <a:gd name="connsiteX7033" fmla="*/ 1702263 w 2240198"/>
                <a:gd name="connsiteY7033" fmla="*/ 625144 h 1729012"/>
                <a:gd name="connsiteX7034" fmla="*/ 1693930 w 2240198"/>
                <a:gd name="connsiteY7034" fmla="*/ 634282 h 1729012"/>
                <a:gd name="connsiteX7035" fmla="*/ 1697326 w 2240198"/>
                <a:gd name="connsiteY7035" fmla="*/ 633240 h 1729012"/>
                <a:gd name="connsiteX7036" fmla="*/ 1699629 w 2240198"/>
                <a:gd name="connsiteY7036" fmla="*/ 631070 h 1729012"/>
                <a:gd name="connsiteX7037" fmla="*/ 1702713 w 2240198"/>
                <a:gd name="connsiteY7037" fmla="*/ 628904 h 1729012"/>
                <a:gd name="connsiteX7038" fmla="*/ 1706214 w 2240198"/>
                <a:gd name="connsiteY7038" fmla="*/ 625696 h 1729012"/>
                <a:gd name="connsiteX7039" fmla="*/ 1708524 w 2240198"/>
                <a:gd name="connsiteY7039" fmla="*/ 628605 h 1729012"/>
                <a:gd name="connsiteX7040" fmla="*/ 1712077 w 2240198"/>
                <a:gd name="connsiteY7040" fmla="*/ 630772 h 1729012"/>
                <a:gd name="connsiteX7041" fmla="*/ 1714202 w 2240198"/>
                <a:gd name="connsiteY7041" fmla="*/ 635717 h 1729012"/>
                <a:gd name="connsiteX7042" fmla="*/ 1717635 w 2240198"/>
                <a:gd name="connsiteY7042" fmla="*/ 638095 h 1729012"/>
                <a:gd name="connsiteX7043" fmla="*/ 1719708 w 2240198"/>
                <a:gd name="connsiteY7043" fmla="*/ 639940 h 1729012"/>
                <a:gd name="connsiteX7044" fmla="*/ 1719415 w 2240198"/>
                <a:gd name="connsiteY7044" fmla="*/ 636818 h 1729012"/>
                <a:gd name="connsiteX7045" fmla="*/ 1716416 w 2240198"/>
                <a:gd name="connsiteY7045" fmla="*/ 630537 h 1729012"/>
                <a:gd name="connsiteX7046" fmla="*/ 1717234 w 2240198"/>
                <a:gd name="connsiteY7046" fmla="*/ 628021 h 1729012"/>
                <a:gd name="connsiteX7047" fmla="*/ 1719551 w 2240198"/>
                <a:gd name="connsiteY7047" fmla="*/ 626761 h 1729012"/>
                <a:gd name="connsiteX7048" fmla="*/ 1726774 w 2240198"/>
                <a:gd name="connsiteY7048" fmla="*/ 621463 h 1729012"/>
                <a:gd name="connsiteX7049" fmla="*/ 1731819 w 2240198"/>
                <a:gd name="connsiteY7049" fmla="*/ 623232 h 1729012"/>
                <a:gd name="connsiteX7050" fmla="*/ 1734923 w 2240198"/>
                <a:gd name="connsiteY7050" fmla="*/ 624797 h 1729012"/>
                <a:gd name="connsiteX7051" fmla="*/ 1736478 w 2240198"/>
                <a:gd name="connsiteY7051" fmla="*/ 624382 h 1729012"/>
                <a:gd name="connsiteX7052" fmla="*/ 1740400 w 2240198"/>
                <a:gd name="connsiteY7052" fmla="*/ 624600 h 1729012"/>
                <a:gd name="connsiteX7053" fmla="*/ 1746691 w 2240198"/>
                <a:gd name="connsiteY7053" fmla="*/ 625454 h 1729012"/>
                <a:gd name="connsiteX7054" fmla="*/ 1752810 w 2240198"/>
                <a:gd name="connsiteY7054" fmla="*/ 626932 h 1729012"/>
                <a:gd name="connsiteX7055" fmla="*/ 1758755 w 2240198"/>
                <a:gd name="connsiteY7055" fmla="*/ 629040 h 1729012"/>
                <a:gd name="connsiteX7056" fmla="*/ 1763339 w 2240198"/>
                <a:gd name="connsiteY7056" fmla="*/ 631498 h 1729012"/>
                <a:gd name="connsiteX7057" fmla="*/ 1766559 w 2240198"/>
                <a:gd name="connsiteY7057" fmla="*/ 634315 h 1729012"/>
                <a:gd name="connsiteX7058" fmla="*/ 1768508 w 2240198"/>
                <a:gd name="connsiteY7058" fmla="*/ 636259 h 1729012"/>
                <a:gd name="connsiteX7059" fmla="*/ 1769185 w 2240198"/>
                <a:gd name="connsiteY7059" fmla="*/ 637335 h 1729012"/>
                <a:gd name="connsiteX7060" fmla="*/ 1770272 w 2240198"/>
                <a:gd name="connsiteY7060" fmla="*/ 640134 h 1729012"/>
                <a:gd name="connsiteX7061" fmla="*/ 1769438 w 2240198"/>
                <a:gd name="connsiteY7061" fmla="*/ 641992 h 1729012"/>
                <a:gd name="connsiteX7062" fmla="*/ 1764945 w 2240198"/>
                <a:gd name="connsiteY7062" fmla="*/ 646267 h 1729012"/>
                <a:gd name="connsiteX7063" fmla="*/ 1762449 w 2240198"/>
                <a:gd name="connsiteY7063" fmla="*/ 648206 h 1729012"/>
                <a:gd name="connsiteX7064" fmla="*/ 1759963 w 2240198"/>
                <a:gd name="connsiteY7064" fmla="*/ 649075 h 1729012"/>
                <a:gd name="connsiteX7065" fmla="*/ 1753292 w 2240198"/>
                <a:gd name="connsiteY7065" fmla="*/ 648222 h 1729012"/>
                <a:gd name="connsiteX7066" fmla="*/ 1751218 w 2240198"/>
                <a:gd name="connsiteY7066" fmla="*/ 648708 h 1729012"/>
                <a:gd name="connsiteX7067" fmla="*/ 1749039 w 2240198"/>
                <a:gd name="connsiteY7067" fmla="*/ 650052 h 1729012"/>
                <a:gd name="connsiteX7068" fmla="*/ 1742096 w 2240198"/>
                <a:gd name="connsiteY7068" fmla="*/ 655911 h 1729012"/>
                <a:gd name="connsiteX7069" fmla="*/ 1738257 w 2240198"/>
                <a:gd name="connsiteY7069" fmla="*/ 658440 h 1729012"/>
                <a:gd name="connsiteX7070" fmla="*/ 1734480 w 2240198"/>
                <a:gd name="connsiteY7070" fmla="*/ 660050 h 1729012"/>
                <a:gd name="connsiteX7071" fmla="*/ 1733601 w 2240198"/>
                <a:gd name="connsiteY7071" fmla="*/ 660902 h 1729012"/>
                <a:gd name="connsiteX7072" fmla="*/ 1741720 w 2240198"/>
                <a:gd name="connsiteY7072" fmla="*/ 660821 h 1729012"/>
                <a:gd name="connsiteX7073" fmla="*/ 1743967 w 2240198"/>
                <a:gd name="connsiteY7073" fmla="*/ 659084 h 1729012"/>
                <a:gd name="connsiteX7074" fmla="*/ 1745841 w 2240198"/>
                <a:gd name="connsiteY7074" fmla="*/ 655825 h 1729012"/>
                <a:gd name="connsiteX7075" fmla="*/ 1749412 w 2240198"/>
                <a:gd name="connsiteY7075" fmla="*/ 652457 h 1729012"/>
                <a:gd name="connsiteX7076" fmla="*/ 1756173 w 2240198"/>
                <a:gd name="connsiteY7076" fmla="*/ 650908 h 1729012"/>
                <a:gd name="connsiteX7077" fmla="*/ 1765598 w 2240198"/>
                <a:gd name="connsiteY7077" fmla="*/ 654230 h 1729012"/>
                <a:gd name="connsiteX7078" fmla="*/ 1770279 w 2240198"/>
                <a:gd name="connsiteY7078" fmla="*/ 654097 h 1729012"/>
                <a:gd name="connsiteX7079" fmla="*/ 1773851 w 2240198"/>
                <a:gd name="connsiteY7079" fmla="*/ 650762 h 1729012"/>
                <a:gd name="connsiteX7080" fmla="*/ 1777840 w 2240198"/>
                <a:gd name="connsiteY7080" fmla="*/ 648489 h 1729012"/>
                <a:gd name="connsiteX7081" fmla="*/ 1779411 w 2240198"/>
                <a:gd name="connsiteY7081" fmla="*/ 648037 h 1729012"/>
                <a:gd name="connsiteX7082" fmla="*/ 1780263 w 2240198"/>
                <a:gd name="connsiteY7082" fmla="*/ 648290 h 1729012"/>
                <a:gd name="connsiteX7083" fmla="*/ 1783302 w 2240198"/>
                <a:gd name="connsiteY7083" fmla="*/ 650661 h 1729012"/>
                <a:gd name="connsiteX7084" fmla="*/ 1784218 w 2240198"/>
                <a:gd name="connsiteY7084" fmla="*/ 652774 h 1729012"/>
                <a:gd name="connsiteX7085" fmla="*/ 1784152 w 2240198"/>
                <a:gd name="connsiteY7085" fmla="*/ 657592 h 1729012"/>
                <a:gd name="connsiteX7086" fmla="*/ 1783743 w 2240198"/>
                <a:gd name="connsiteY7086" fmla="*/ 659049 h 1729012"/>
                <a:gd name="connsiteX7087" fmla="*/ 1781043 w 2240198"/>
                <a:gd name="connsiteY7087" fmla="*/ 662679 h 1729012"/>
                <a:gd name="connsiteX7088" fmla="*/ 1774449 w 2240198"/>
                <a:gd name="connsiteY7088" fmla="*/ 668118 h 1729012"/>
                <a:gd name="connsiteX7089" fmla="*/ 1770138 w 2240198"/>
                <a:gd name="connsiteY7089" fmla="*/ 670155 h 1729012"/>
                <a:gd name="connsiteX7090" fmla="*/ 1765353 w 2240198"/>
                <a:gd name="connsiteY7090" fmla="*/ 671250 h 1729012"/>
                <a:gd name="connsiteX7091" fmla="*/ 1760144 w 2240198"/>
                <a:gd name="connsiteY7091" fmla="*/ 673090 h 1729012"/>
                <a:gd name="connsiteX7092" fmla="*/ 1758306 w 2240198"/>
                <a:gd name="connsiteY7092" fmla="*/ 674572 h 1729012"/>
                <a:gd name="connsiteX7093" fmla="*/ 1756507 w 2240198"/>
                <a:gd name="connsiteY7093" fmla="*/ 676674 h 1729012"/>
                <a:gd name="connsiteX7094" fmla="*/ 1754712 w 2240198"/>
                <a:gd name="connsiteY7094" fmla="*/ 678079 h 1729012"/>
                <a:gd name="connsiteX7095" fmla="*/ 1752429 w 2240198"/>
                <a:gd name="connsiteY7095" fmla="*/ 679245 h 1729012"/>
                <a:gd name="connsiteX7096" fmla="*/ 1755417 w 2240198"/>
                <a:gd name="connsiteY7096" fmla="*/ 680954 h 1729012"/>
                <a:gd name="connsiteX7097" fmla="*/ 1756560 w 2240198"/>
                <a:gd name="connsiteY7097" fmla="*/ 680907 h 1729012"/>
                <a:gd name="connsiteX7098" fmla="*/ 1757665 w 2240198"/>
                <a:gd name="connsiteY7098" fmla="*/ 679884 h 1729012"/>
                <a:gd name="connsiteX7099" fmla="*/ 1760675 w 2240198"/>
                <a:gd name="connsiteY7099" fmla="*/ 675851 h 1729012"/>
                <a:gd name="connsiteX7100" fmla="*/ 1762914 w 2240198"/>
                <a:gd name="connsiteY7100" fmla="*/ 674092 h 1729012"/>
                <a:gd name="connsiteX7101" fmla="*/ 1764183 w 2240198"/>
                <a:gd name="connsiteY7101" fmla="*/ 673722 h 1729012"/>
                <a:gd name="connsiteX7102" fmla="*/ 1765490 w 2240198"/>
                <a:gd name="connsiteY7102" fmla="*/ 673890 h 1729012"/>
                <a:gd name="connsiteX7103" fmla="*/ 1766764 w 2240198"/>
                <a:gd name="connsiteY7103" fmla="*/ 674683 h 1729012"/>
                <a:gd name="connsiteX7104" fmla="*/ 1768006 w 2240198"/>
                <a:gd name="connsiteY7104" fmla="*/ 676098 h 1729012"/>
                <a:gd name="connsiteX7105" fmla="*/ 1767912 w 2240198"/>
                <a:gd name="connsiteY7105" fmla="*/ 679535 h 1729012"/>
                <a:gd name="connsiteX7106" fmla="*/ 1764112 w 2240198"/>
                <a:gd name="connsiteY7106" fmla="*/ 693099 h 1729012"/>
                <a:gd name="connsiteX7107" fmla="*/ 1764729 w 2240198"/>
                <a:gd name="connsiteY7107" fmla="*/ 693060 h 1729012"/>
                <a:gd name="connsiteX7108" fmla="*/ 1767062 w 2240198"/>
                <a:gd name="connsiteY7108" fmla="*/ 689389 h 1729012"/>
                <a:gd name="connsiteX7109" fmla="*/ 1773853 w 2240198"/>
                <a:gd name="connsiteY7109" fmla="*/ 675238 h 1729012"/>
                <a:gd name="connsiteX7110" fmla="*/ 1775513 w 2240198"/>
                <a:gd name="connsiteY7110" fmla="*/ 672394 h 1729012"/>
                <a:gd name="connsiteX7111" fmla="*/ 1778791 w 2240198"/>
                <a:gd name="connsiteY7111" fmla="*/ 669521 h 1729012"/>
                <a:gd name="connsiteX7112" fmla="*/ 1786134 w 2240198"/>
                <a:gd name="connsiteY7112" fmla="*/ 665165 h 1729012"/>
                <a:gd name="connsiteX7113" fmla="*/ 1791806 w 2240198"/>
                <a:gd name="connsiteY7113" fmla="*/ 662882 h 1729012"/>
                <a:gd name="connsiteX7114" fmla="*/ 1798209 w 2240198"/>
                <a:gd name="connsiteY7114" fmla="*/ 660959 h 1729012"/>
                <a:gd name="connsiteX7115" fmla="*/ 1801630 w 2240198"/>
                <a:gd name="connsiteY7115" fmla="*/ 660244 h 1729012"/>
                <a:gd name="connsiteX7116" fmla="*/ 1805538 w 2240198"/>
                <a:gd name="connsiteY7116" fmla="*/ 660726 h 1729012"/>
                <a:gd name="connsiteX7117" fmla="*/ 1808078 w 2240198"/>
                <a:gd name="connsiteY7117" fmla="*/ 662971 h 1729012"/>
                <a:gd name="connsiteX7118" fmla="*/ 1811511 w 2240198"/>
                <a:gd name="connsiteY7118" fmla="*/ 663375 h 1729012"/>
                <a:gd name="connsiteX7119" fmla="*/ 1815689 w 2240198"/>
                <a:gd name="connsiteY7119" fmla="*/ 662816 h 1729012"/>
                <a:gd name="connsiteX7120" fmla="*/ 1818385 w 2240198"/>
                <a:gd name="connsiteY7120" fmla="*/ 663085 h 1729012"/>
                <a:gd name="connsiteX7121" fmla="*/ 1821436 w 2240198"/>
                <a:gd name="connsiteY7121" fmla="*/ 663973 h 1729012"/>
                <a:gd name="connsiteX7122" fmla="*/ 1824047 w 2240198"/>
                <a:gd name="connsiteY7122" fmla="*/ 665635 h 1729012"/>
                <a:gd name="connsiteX7123" fmla="*/ 1828485 w 2240198"/>
                <a:gd name="connsiteY7123" fmla="*/ 667520 h 1729012"/>
                <a:gd name="connsiteX7124" fmla="*/ 1838499 w 2240198"/>
                <a:gd name="connsiteY7124" fmla="*/ 671053 h 1729012"/>
                <a:gd name="connsiteX7125" fmla="*/ 1839745 w 2240198"/>
                <a:gd name="connsiteY7125" fmla="*/ 671795 h 1729012"/>
                <a:gd name="connsiteX7126" fmla="*/ 1840906 w 2240198"/>
                <a:gd name="connsiteY7126" fmla="*/ 673131 h 1729012"/>
                <a:gd name="connsiteX7127" fmla="*/ 1841986 w 2240198"/>
                <a:gd name="connsiteY7127" fmla="*/ 675061 h 1729012"/>
                <a:gd name="connsiteX7128" fmla="*/ 1841852 w 2240198"/>
                <a:gd name="connsiteY7128" fmla="*/ 676969 h 1729012"/>
                <a:gd name="connsiteX7129" fmla="*/ 1840506 w 2240198"/>
                <a:gd name="connsiteY7129" fmla="*/ 678859 h 1729012"/>
                <a:gd name="connsiteX7130" fmla="*/ 1838834 w 2240198"/>
                <a:gd name="connsiteY7130" fmla="*/ 680009 h 1729012"/>
                <a:gd name="connsiteX7131" fmla="*/ 1836836 w 2240198"/>
                <a:gd name="connsiteY7131" fmla="*/ 680429 h 1729012"/>
                <a:gd name="connsiteX7132" fmla="*/ 1834770 w 2240198"/>
                <a:gd name="connsiteY7132" fmla="*/ 681456 h 1729012"/>
                <a:gd name="connsiteX7133" fmla="*/ 1830946 w 2240198"/>
                <a:gd name="connsiteY7133" fmla="*/ 684141 h 1729012"/>
                <a:gd name="connsiteX7134" fmla="*/ 1829697 w 2240198"/>
                <a:gd name="connsiteY7134" fmla="*/ 684596 h 1729012"/>
                <a:gd name="connsiteX7135" fmla="*/ 1823700 w 2240198"/>
                <a:gd name="connsiteY7135" fmla="*/ 685749 h 1729012"/>
                <a:gd name="connsiteX7136" fmla="*/ 1818139 w 2240198"/>
                <a:gd name="connsiteY7136" fmla="*/ 686314 h 1729012"/>
                <a:gd name="connsiteX7137" fmla="*/ 1814666 w 2240198"/>
                <a:gd name="connsiteY7137" fmla="*/ 687393 h 1729012"/>
                <a:gd name="connsiteX7138" fmla="*/ 1807991 w 2240198"/>
                <a:gd name="connsiteY7138" fmla="*/ 690300 h 1729012"/>
                <a:gd name="connsiteX7139" fmla="*/ 1798800 w 2240198"/>
                <a:gd name="connsiteY7139" fmla="*/ 695686 h 1729012"/>
                <a:gd name="connsiteX7140" fmla="*/ 1798894 w 2240198"/>
                <a:gd name="connsiteY7140" fmla="*/ 696968 h 1729012"/>
                <a:gd name="connsiteX7141" fmla="*/ 1802561 w 2240198"/>
                <a:gd name="connsiteY7141" fmla="*/ 697584 h 1729012"/>
                <a:gd name="connsiteX7142" fmla="*/ 1805533 w 2240198"/>
                <a:gd name="connsiteY7142" fmla="*/ 696773 h 1729012"/>
                <a:gd name="connsiteX7143" fmla="*/ 1809624 w 2240198"/>
                <a:gd name="connsiteY7143" fmla="*/ 693054 h 1729012"/>
                <a:gd name="connsiteX7144" fmla="*/ 1813466 w 2240198"/>
                <a:gd name="connsiteY7144" fmla="*/ 691631 h 1729012"/>
                <a:gd name="connsiteX7145" fmla="*/ 1819472 w 2240198"/>
                <a:gd name="connsiteY7145" fmla="*/ 690491 h 1729012"/>
                <a:gd name="connsiteX7146" fmla="*/ 1827779 w 2240198"/>
                <a:gd name="connsiteY7146" fmla="*/ 689496 h 1729012"/>
                <a:gd name="connsiteX7147" fmla="*/ 1831337 w 2240198"/>
                <a:gd name="connsiteY7147" fmla="*/ 689651 h 1729012"/>
                <a:gd name="connsiteX7148" fmla="*/ 1831979 w 2240198"/>
                <a:gd name="connsiteY7148" fmla="*/ 689851 h 1729012"/>
                <a:gd name="connsiteX7149" fmla="*/ 1832442 w 2240198"/>
                <a:gd name="connsiteY7149" fmla="*/ 690732 h 1729012"/>
                <a:gd name="connsiteX7150" fmla="*/ 1832730 w 2240198"/>
                <a:gd name="connsiteY7150" fmla="*/ 692287 h 1729012"/>
                <a:gd name="connsiteX7151" fmla="*/ 1831370 w 2240198"/>
                <a:gd name="connsiteY7151" fmla="*/ 694315 h 1729012"/>
                <a:gd name="connsiteX7152" fmla="*/ 1829793 w 2240198"/>
                <a:gd name="connsiteY7152" fmla="*/ 695274 h 1729012"/>
                <a:gd name="connsiteX7153" fmla="*/ 1825503 w 2240198"/>
                <a:gd name="connsiteY7153" fmla="*/ 699855 h 1729012"/>
                <a:gd name="connsiteX7154" fmla="*/ 1828324 w 2240198"/>
                <a:gd name="connsiteY7154" fmla="*/ 701043 h 1729012"/>
                <a:gd name="connsiteX7155" fmla="*/ 1832204 w 2240198"/>
                <a:gd name="connsiteY7155" fmla="*/ 701557 h 1729012"/>
                <a:gd name="connsiteX7156" fmla="*/ 1834417 w 2240198"/>
                <a:gd name="connsiteY7156" fmla="*/ 700331 h 1729012"/>
                <a:gd name="connsiteX7157" fmla="*/ 1836418 w 2240198"/>
                <a:gd name="connsiteY7157" fmla="*/ 697519 h 1729012"/>
                <a:gd name="connsiteX7158" fmla="*/ 1838662 w 2240198"/>
                <a:gd name="connsiteY7158" fmla="*/ 695959 h 1729012"/>
                <a:gd name="connsiteX7159" fmla="*/ 1841149 w 2240198"/>
                <a:gd name="connsiteY7159" fmla="*/ 695650 h 1729012"/>
                <a:gd name="connsiteX7160" fmla="*/ 1843335 w 2240198"/>
                <a:gd name="connsiteY7160" fmla="*/ 694935 h 1729012"/>
                <a:gd name="connsiteX7161" fmla="*/ 1845221 w 2240198"/>
                <a:gd name="connsiteY7161" fmla="*/ 693807 h 1729012"/>
                <a:gd name="connsiteX7162" fmla="*/ 1845734 w 2240198"/>
                <a:gd name="connsiteY7162" fmla="*/ 693070 h 1729012"/>
                <a:gd name="connsiteX7163" fmla="*/ 1842991 w 2240198"/>
                <a:gd name="connsiteY7163" fmla="*/ 691607 h 1729012"/>
                <a:gd name="connsiteX7164" fmla="*/ 1842773 w 2240198"/>
                <a:gd name="connsiteY7164" fmla="*/ 690716 h 1729012"/>
                <a:gd name="connsiteX7165" fmla="*/ 1843892 w 2240198"/>
                <a:gd name="connsiteY7165" fmla="*/ 688526 h 1729012"/>
                <a:gd name="connsiteX7166" fmla="*/ 1845909 w 2240198"/>
                <a:gd name="connsiteY7166" fmla="*/ 686099 h 1729012"/>
                <a:gd name="connsiteX7167" fmla="*/ 1848011 w 2240198"/>
                <a:gd name="connsiteY7167" fmla="*/ 684589 h 1729012"/>
                <a:gd name="connsiteX7168" fmla="*/ 1849572 w 2240198"/>
                <a:gd name="connsiteY7168" fmla="*/ 684469 h 1729012"/>
                <a:gd name="connsiteX7169" fmla="*/ 1854738 w 2240198"/>
                <a:gd name="connsiteY7169" fmla="*/ 686087 h 1729012"/>
                <a:gd name="connsiteX7170" fmla="*/ 1858271 w 2240198"/>
                <a:gd name="connsiteY7170" fmla="*/ 688911 h 1729012"/>
                <a:gd name="connsiteX7171" fmla="*/ 1867205 w 2240198"/>
                <a:gd name="connsiteY7171" fmla="*/ 697339 h 1729012"/>
                <a:gd name="connsiteX7172" fmla="*/ 1868353 w 2240198"/>
                <a:gd name="connsiteY7172" fmla="*/ 698972 h 1729012"/>
                <a:gd name="connsiteX7173" fmla="*/ 1871459 w 2240198"/>
                <a:gd name="connsiteY7173" fmla="*/ 705209 h 1729012"/>
                <a:gd name="connsiteX7174" fmla="*/ 1872049 w 2240198"/>
                <a:gd name="connsiteY7174" fmla="*/ 707975 h 1729012"/>
                <a:gd name="connsiteX7175" fmla="*/ 1871538 w 2240198"/>
                <a:gd name="connsiteY7175" fmla="*/ 709899 h 1729012"/>
                <a:gd name="connsiteX7176" fmla="*/ 1870807 w 2240198"/>
                <a:gd name="connsiteY7176" fmla="*/ 711078 h 1729012"/>
                <a:gd name="connsiteX7177" fmla="*/ 1869852 w 2240198"/>
                <a:gd name="connsiteY7177" fmla="*/ 711503 h 1729012"/>
                <a:gd name="connsiteX7178" fmla="*/ 1867888 w 2240198"/>
                <a:gd name="connsiteY7178" fmla="*/ 711516 h 1729012"/>
                <a:gd name="connsiteX7179" fmla="*/ 1855984 w 2240198"/>
                <a:gd name="connsiteY7179" fmla="*/ 708972 h 1729012"/>
                <a:gd name="connsiteX7180" fmla="*/ 1850552 w 2240198"/>
                <a:gd name="connsiteY7180" fmla="*/ 709303 h 1729012"/>
                <a:gd name="connsiteX7181" fmla="*/ 1848180 w 2240198"/>
                <a:gd name="connsiteY7181" fmla="*/ 710014 h 1729012"/>
                <a:gd name="connsiteX7182" fmla="*/ 1846266 w 2240198"/>
                <a:gd name="connsiteY7182" fmla="*/ 711083 h 1729012"/>
                <a:gd name="connsiteX7183" fmla="*/ 1844780 w 2240198"/>
                <a:gd name="connsiteY7183" fmla="*/ 712427 h 1729012"/>
                <a:gd name="connsiteX7184" fmla="*/ 1843723 w 2240198"/>
                <a:gd name="connsiteY7184" fmla="*/ 714053 h 1729012"/>
                <a:gd name="connsiteX7185" fmla="*/ 1841635 w 2240198"/>
                <a:gd name="connsiteY7185" fmla="*/ 714968 h 1729012"/>
                <a:gd name="connsiteX7186" fmla="*/ 1834083 w 2240198"/>
                <a:gd name="connsiteY7186" fmla="*/ 715000 h 1729012"/>
                <a:gd name="connsiteX7187" fmla="*/ 1829844 w 2240198"/>
                <a:gd name="connsiteY7187" fmla="*/ 715906 h 1729012"/>
                <a:gd name="connsiteX7188" fmla="*/ 1822556 w 2240198"/>
                <a:gd name="connsiteY7188" fmla="*/ 718111 h 1729012"/>
                <a:gd name="connsiteX7189" fmla="*/ 1819941 w 2240198"/>
                <a:gd name="connsiteY7189" fmla="*/ 719329 h 1729012"/>
                <a:gd name="connsiteX7190" fmla="*/ 1819355 w 2240198"/>
                <a:gd name="connsiteY7190" fmla="*/ 720922 h 1729012"/>
                <a:gd name="connsiteX7191" fmla="*/ 1823814 w 2240198"/>
                <a:gd name="connsiteY7191" fmla="*/ 720644 h 1729012"/>
                <a:gd name="connsiteX7192" fmla="*/ 1831159 w 2240198"/>
                <a:gd name="connsiteY7192" fmla="*/ 718573 h 1729012"/>
                <a:gd name="connsiteX7193" fmla="*/ 1838061 w 2240198"/>
                <a:gd name="connsiteY7193" fmla="*/ 717985 h 1729012"/>
                <a:gd name="connsiteX7194" fmla="*/ 1849596 w 2240198"/>
                <a:gd name="connsiteY7194" fmla="*/ 722540 h 1729012"/>
                <a:gd name="connsiteX7195" fmla="*/ 1853396 w 2240198"/>
                <a:gd name="connsiteY7195" fmla="*/ 723247 h 1729012"/>
                <a:gd name="connsiteX7196" fmla="*/ 1855511 w 2240198"/>
                <a:gd name="connsiteY7196" fmla="*/ 722592 h 1729012"/>
                <a:gd name="connsiteX7197" fmla="*/ 1858055 w 2240198"/>
                <a:gd name="connsiteY7197" fmla="*/ 722388 h 1729012"/>
                <a:gd name="connsiteX7198" fmla="*/ 1867275 w 2240198"/>
                <a:gd name="connsiteY7198" fmla="*/ 722691 h 1729012"/>
                <a:gd name="connsiteX7199" fmla="*/ 1870418 w 2240198"/>
                <a:gd name="connsiteY7199" fmla="*/ 723247 h 1729012"/>
                <a:gd name="connsiteX7200" fmla="*/ 1875090 w 2240198"/>
                <a:gd name="connsiteY7200" fmla="*/ 724991 h 1729012"/>
                <a:gd name="connsiteX7201" fmla="*/ 1882237 w 2240198"/>
                <a:gd name="connsiteY7201" fmla="*/ 728776 h 1729012"/>
                <a:gd name="connsiteX7202" fmla="*/ 1883609 w 2240198"/>
                <a:gd name="connsiteY7202" fmla="*/ 729884 h 1729012"/>
                <a:gd name="connsiteX7203" fmla="*/ 1884407 w 2240198"/>
                <a:gd name="connsiteY7203" fmla="*/ 731052 h 1729012"/>
                <a:gd name="connsiteX7204" fmla="*/ 1884635 w 2240198"/>
                <a:gd name="connsiteY7204" fmla="*/ 732272 h 1729012"/>
                <a:gd name="connsiteX7205" fmla="*/ 1884558 w 2240198"/>
                <a:gd name="connsiteY7205" fmla="*/ 735280 h 1729012"/>
                <a:gd name="connsiteX7206" fmla="*/ 1883845 w 2240198"/>
                <a:gd name="connsiteY7206" fmla="*/ 736298 h 1729012"/>
                <a:gd name="connsiteX7207" fmla="*/ 1881424 w 2240198"/>
                <a:gd name="connsiteY7207" fmla="*/ 736988 h 1729012"/>
                <a:gd name="connsiteX7208" fmla="*/ 1871152 w 2240198"/>
                <a:gd name="connsiteY7208" fmla="*/ 736189 h 1729012"/>
                <a:gd name="connsiteX7209" fmla="*/ 1868017 w 2240198"/>
                <a:gd name="connsiteY7209" fmla="*/ 735562 h 1729012"/>
                <a:gd name="connsiteX7210" fmla="*/ 1864159 w 2240198"/>
                <a:gd name="connsiteY7210" fmla="*/ 736352 h 1729012"/>
                <a:gd name="connsiteX7211" fmla="*/ 1861030 w 2240198"/>
                <a:gd name="connsiteY7211" fmla="*/ 736076 h 1729012"/>
                <a:gd name="connsiteX7212" fmla="*/ 1857028 w 2240198"/>
                <a:gd name="connsiteY7212" fmla="*/ 734870 h 1729012"/>
                <a:gd name="connsiteX7213" fmla="*/ 1852630 w 2240198"/>
                <a:gd name="connsiteY7213" fmla="*/ 732732 h 1729012"/>
                <a:gd name="connsiteX7214" fmla="*/ 1846045 w 2240198"/>
                <a:gd name="connsiteY7214" fmla="*/ 734761 h 1729012"/>
                <a:gd name="connsiteX7215" fmla="*/ 1840767 w 2240198"/>
                <a:gd name="connsiteY7215" fmla="*/ 733443 h 1729012"/>
                <a:gd name="connsiteX7216" fmla="*/ 1835377 w 2240198"/>
                <a:gd name="connsiteY7216" fmla="*/ 734612 h 1729012"/>
                <a:gd name="connsiteX7217" fmla="*/ 1824684 w 2240198"/>
                <a:gd name="connsiteY7217" fmla="*/ 739426 h 1729012"/>
                <a:gd name="connsiteX7218" fmla="*/ 1825880 w 2240198"/>
                <a:gd name="connsiteY7218" fmla="*/ 740256 h 1729012"/>
                <a:gd name="connsiteX7219" fmla="*/ 1840533 w 2240198"/>
                <a:gd name="connsiteY7219" fmla="*/ 736126 h 1729012"/>
                <a:gd name="connsiteX7220" fmla="*/ 1843362 w 2240198"/>
                <a:gd name="connsiteY7220" fmla="*/ 736378 h 1729012"/>
                <a:gd name="connsiteX7221" fmla="*/ 1847994 w 2240198"/>
                <a:gd name="connsiteY7221" fmla="*/ 737884 h 1729012"/>
                <a:gd name="connsiteX7222" fmla="*/ 1855315 w 2240198"/>
                <a:gd name="connsiteY7222" fmla="*/ 740852 h 1729012"/>
                <a:gd name="connsiteX7223" fmla="*/ 1857366 w 2240198"/>
                <a:gd name="connsiteY7223" fmla="*/ 742066 h 1729012"/>
                <a:gd name="connsiteX7224" fmla="*/ 1857383 w 2240198"/>
                <a:gd name="connsiteY7224" fmla="*/ 746722 h 1729012"/>
                <a:gd name="connsiteX7225" fmla="*/ 1856265 w 2240198"/>
                <a:gd name="connsiteY7225" fmla="*/ 749848 h 1729012"/>
                <a:gd name="connsiteX7226" fmla="*/ 1854032 w 2240198"/>
                <a:gd name="connsiteY7226" fmla="*/ 753361 h 1729012"/>
                <a:gd name="connsiteX7227" fmla="*/ 1850674 w 2240198"/>
                <a:gd name="connsiteY7227" fmla="*/ 752888 h 1729012"/>
                <a:gd name="connsiteX7228" fmla="*/ 1842849 w 2240198"/>
                <a:gd name="connsiteY7228" fmla="*/ 750703 h 1729012"/>
                <a:gd name="connsiteX7229" fmla="*/ 1839649 w 2240198"/>
                <a:gd name="connsiteY7229" fmla="*/ 750402 h 1729012"/>
                <a:gd name="connsiteX7230" fmla="*/ 1837308 w 2240198"/>
                <a:gd name="connsiteY7230" fmla="*/ 750759 h 1729012"/>
                <a:gd name="connsiteX7231" fmla="*/ 1834165 w 2240198"/>
                <a:gd name="connsiteY7231" fmla="*/ 752151 h 1729012"/>
                <a:gd name="connsiteX7232" fmla="*/ 1832680 w 2240198"/>
                <a:gd name="connsiteY7232" fmla="*/ 752201 h 1729012"/>
                <a:gd name="connsiteX7233" fmla="*/ 1820164 w 2240198"/>
                <a:gd name="connsiteY7233" fmla="*/ 749428 h 1729012"/>
                <a:gd name="connsiteX7234" fmla="*/ 1817351 w 2240198"/>
                <a:gd name="connsiteY7234" fmla="*/ 749297 h 1729012"/>
                <a:gd name="connsiteX7235" fmla="*/ 1817025 w 2240198"/>
                <a:gd name="connsiteY7235" fmla="*/ 749579 h 1729012"/>
                <a:gd name="connsiteX7236" fmla="*/ 1817623 w 2240198"/>
                <a:gd name="connsiteY7236" fmla="*/ 750130 h 1729012"/>
                <a:gd name="connsiteX7237" fmla="*/ 1828973 w 2240198"/>
                <a:gd name="connsiteY7237" fmla="*/ 754423 h 1729012"/>
                <a:gd name="connsiteX7238" fmla="*/ 1837362 w 2240198"/>
                <a:gd name="connsiteY7238" fmla="*/ 754892 h 1729012"/>
                <a:gd name="connsiteX7239" fmla="*/ 1842621 w 2240198"/>
                <a:gd name="connsiteY7239" fmla="*/ 755634 h 1729012"/>
                <a:gd name="connsiteX7240" fmla="*/ 1845735 w 2240198"/>
                <a:gd name="connsiteY7240" fmla="*/ 756941 h 1729012"/>
                <a:gd name="connsiteX7241" fmla="*/ 1847204 w 2240198"/>
                <a:gd name="connsiteY7241" fmla="*/ 757909 h 1729012"/>
                <a:gd name="connsiteX7242" fmla="*/ 1847308 w 2240198"/>
                <a:gd name="connsiteY7242" fmla="*/ 760775 h 1729012"/>
                <a:gd name="connsiteX7243" fmla="*/ 1850109 w 2240198"/>
                <a:gd name="connsiteY7243" fmla="*/ 763655 h 1729012"/>
                <a:gd name="connsiteX7244" fmla="*/ 1852630 w 2240198"/>
                <a:gd name="connsiteY7244" fmla="*/ 764825 h 1729012"/>
                <a:gd name="connsiteX7245" fmla="*/ 1854238 w 2240198"/>
                <a:gd name="connsiteY7245" fmla="*/ 764879 h 1729012"/>
                <a:gd name="connsiteX7246" fmla="*/ 1857003 w 2240198"/>
                <a:gd name="connsiteY7246" fmla="*/ 763819 h 1729012"/>
                <a:gd name="connsiteX7247" fmla="*/ 1859794 w 2240198"/>
                <a:gd name="connsiteY7247" fmla="*/ 763655 h 1729012"/>
                <a:gd name="connsiteX7248" fmla="*/ 1862051 w 2240198"/>
                <a:gd name="connsiteY7248" fmla="*/ 764393 h 1729012"/>
                <a:gd name="connsiteX7249" fmla="*/ 1864876 w 2240198"/>
                <a:gd name="connsiteY7249" fmla="*/ 765981 h 1729012"/>
                <a:gd name="connsiteX7250" fmla="*/ 1868294 w 2240198"/>
                <a:gd name="connsiteY7250" fmla="*/ 766425 h 1729012"/>
                <a:gd name="connsiteX7251" fmla="*/ 1871292 w 2240198"/>
                <a:gd name="connsiteY7251" fmla="*/ 767389 h 1729012"/>
                <a:gd name="connsiteX7252" fmla="*/ 1873607 w 2240198"/>
                <a:gd name="connsiteY7252" fmla="*/ 767583 h 1729012"/>
                <a:gd name="connsiteX7253" fmla="*/ 1880124 w 2240198"/>
                <a:gd name="connsiteY7253" fmla="*/ 767136 h 1729012"/>
                <a:gd name="connsiteX7254" fmla="*/ 1882949 w 2240198"/>
                <a:gd name="connsiteY7254" fmla="*/ 767746 h 1729012"/>
                <a:gd name="connsiteX7255" fmla="*/ 1883681 w 2240198"/>
                <a:gd name="connsiteY7255" fmla="*/ 768275 h 1729012"/>
                <a:gd name="connsiteX7256" fmla="*/ 1882451 w 2240198"/>
                <a:gd name="connsiteY7256" fmla="*/ 769200 h 1729012"/>
                <a:gd name="connsiteX7257" fmla="*/ 1876496 w 2240198"/>
                <a:gd name="connsiteY7257" fmla="*/ 771416 h 1729012"/>
                <a:gd name="connsiteX7258" fmla="*/ 1875591 w 2240198"/>
                <a:gd name="connsiteY7258" fmla="*/ 773526 h 1729012"/>
                <a:gd name="connsiteX7259" fmla="*/ 1878952 w 2240198"/>
                <a:gd name="connsiteY7259" fmla="*/ 776266 h 1729012"/>
                <a:gd name="connsiteX7260" fmla="*/ 1880712 w 2240198"/>
                <a:gd name="connsiteY7260" fmla="*/ 778362 h 1729012"/>
                <a:gd name="connsiteX7261" fmla="*/ 1880627 w 2240198"/>
                <a:gd name="connsiteY7261" fmla="*/ 779925 h 1729012"/>
                <a:gd name="connsiteX7262" fmla="*/ 1878832 w 2240198"/>
                <a:gd name="connsiteY7262" fmla="*/ 783481 h 1729012"/>
                <a:gd name="connsiteX7263" fmla="*/ 1878376 w 2240198"/>
                <a:gd name="connsiteY7263" fmla="*/ 784910 h 1729012"/>
                <a:gd name="connsiteX7264" fmla="*/ 1878967 w 2240198"/>
                <a:gd name="connsiteY7264" fmla="*/ 785026 h 1729012"/>
                <a:gd name="connsiteX7265" fmla="*/ 1883298 w 2240198"/>
                <a:gd name="connsiteY7265" fmla="*/ 782148 h 1729012"/>
                <a:gd name="connsiteX7266" fmla="*/ 1883973 w 2240198"/>
                <a:gd name="connsiteY7266" fmla="*/ 782517 h 1729012"/>
                <a:gd name="connsiteX7267" fmla="*/ 1884424 w 2240198"/>
                <a:gd name="connsiteY7267" fmla="*/ 786500 h 1729012"/>
                <a:gd name="connsiteX7268" fmla="*/ 1884979 w 2240198"/>
                <a:gd name="connsiteY7268" fmla="*/ 786274 h 1729012"/>
                <a:gd name="connsiteX7269" fmla="*/ 1886430 w 2240198"/>
                <a:gd name="connsiteY7269" fmla="*/ 782978 h 1729012"/>
                <a:gd name="connsiteX7270" fmla="*/ 1885784 w 2240198"/>
                <a:gd name="connsiteY7270" fmla="*/ 778580 h 1729012"/>
                <a:gd name="connsiteX7271" fmla="*/ 1888324 w 2240198"/>
                <a:gd name="connsiteY7271" fmla="*/ 776844 h 1729012"/>
                <a:gd name="connsiteX7272" fmla="*/ 1896397 w 2240198"/>
                <a:gd name="connsiteY7272" fmla="*/ 775526 h 1729012"/>
                <a:gd name="connsiteX7273" fmla="*/ 1895030 w 2240198"/>
                <a:gd name="connsiteY7273" fmla="*/ 782424 h 1729012"/>
                <a:gd name="connsiteX7274" fmla="*/ 1894817 w 2240198"/>
                <a:gd name="connsiteY7274" fmla="*/ 785998 h 1729012"/>
                <a:gd name="connsiteX7275" fmla="*/ 1891288 w 2240198"/>
                <a:gd name="connsiteY7275" fmla="*/ 791939 h 1729012"/>
                <a:gd name="connsiteX7276" fmla="*/ 1888345 w 2240198"/>
                <a:gd name="connsiteY7276" fmla="*/ 793851 h 1729012"/>
                <a:gd name="connsiteX7277" fmla="*/ 1888433 w 2240198"/>
                <a:gd name="connsiteY7277" fmla="*/ 794247 h 1729012"/>
                <a:gd name="connsiteX7278" fmla="*/ 1890526 w 2240198"/>
                <a:gd name="connsiteY7278" fmla="*/ 795001 h 1729012"/>
                <a:gd name="connsiteX7279" fmla="*/ 1891833 w 2240198"/>
                <a:gd name="connsiteY7279" fmla="*/ 795083 h 1729012"/>
                <a:gd name="connsiteX7280" fmla="*/ 1893086 w 2240198"/>
                <a:gd name="connsiteY7280" fmla="*/ 794157 h 1729012"/>
                <a:gd name="connsiteX7281" fmla="*/ 1896073 w 2240198"/>
                <a:gd name="connsiteY7281" fmla="*/ 789571 h 1729012"/>
                <a:gd name="connsiteX7282" fmla="*/ 1902142 w 2240198"/>
                <a:gd name="connsiteY7282" fmla="*/ 784786 h 1729012"/>
                <a:gd name="connsiteX7283" fmla="*/ 1903244 w 2240198"/>
                <a:gd name="connsiteY7283" fmla="*/ 784683 h 1729012"/>
                <a:gd name="connsiteX7284" fmla="*/ 1903203 w 2240198"/>
                <a:gd name="connsiteY7284" fmla="*/ 786415 h 1729012"/>
                <a:gd name="connsiteX7285" fmla="*/ 1902420 w 2240198"/>
                <a:gd name="connsiteY7285" fmla="*/ 789628 h 1729012"/>
                <a:gd name="connsiteX7286" fmla="*/ 1905222 w 2240198"/>
                <a:gd name="connsiteY7286" fmla="*/ 791133 h 1729012"/>
                <a:gd name="connsiteX7287" fmla="*/ 1907895 w 2240198"/>
                <a:gd name="connsiteY7287" fmla="*/ 789643 h 1729012"/>
                <a:gd name="connsiteX7288" fmla="*/ 1909347 w 2240198"/>
                <a:gd name="connsiteY7288" fmla="*/ 788354 h 1729012"/>
                <a:gd name="connsiteX7289" fmla="*/ 1912703 w 2240198"/>
                <a:gd name="connsiteY7289" fmla="*/ 788545 h 1729012"/>
                <a:gd name="connsiteX7290" fmla="*/ 1914231 w 2240198"/>
                <a:gd name="connsiteY7290" fmla="*/ 789156 h 1729012"/>
                <a:gd name="connsiteX7291" fmla="*/ 1914686 w 2240198"/>
                <a:gd name="connsiteY7291" fmla="*/ 790573 h 1729012"/>
                <a:gd name="connsiteX7292" fmla="*/ 1913143 w 2240198"/>
                <a:gd name="connsiteY7292" fmla="*/ 796497 h 1729012"/>
                <a:gd name="connsiteX7293" fmla="*/ 1913425 w 2240198"/>
                <a:gd name="connsiteY7293" fmla="*/ 797961 h 1729012"/>
                <a:gd name="connsiteX7294" fmla="*/ 1916965 w 2240198"/>
                <a:gd name="connsiteY7294" fmla="*/ 801893 h 1729012"/>
                <a:gd name="connsiteX7295" fmla="*/ 1917324 w 2240198"/>
                <a:gd name="connsiteY7295" fmla="*/ 801658 h 1729012"/>
                <a:gd name="connsiteX7296" fmla="*/ 1916655 w 2240198"/>
                <a:gd name="connsiteY7296" fmla="*/ 799761 h 1729012"/>
                <a:gd name="connsiteX7297" fmla="*/ 1915926 w 2240198"/>
                <a:gd name="connsiteY7297" fmla="*/ 795066 h 1729012"/>
                <a:gd name="connsiteX7298" fmla="*/ 1916608 w 2240198"/>
                <a:gd name="connsiteY7298" fmla="*/ 793029 h 1729012"/>
                <a:gd name="connsiteX7299" fmla="*/ 1919524 w 2240198"/>
                <a:gd name="connsiteY7299" fmla="*/ 790408 h 1729012"/>
                <a:gd name="connsiteX7300" fmla="*/ 1925506 w 2240198"/>
                <a:gd name="connsiteY7300" fmla="*/ 786632 h 1729012"/>
                <a:gd name="connsiteX7301" fmla="*/ 1927724 w 2240198"/>
                <a:gd name="connsiteY7301" fmla="*/ 785883 h 1729012"/>
                <a:gd name="connsiteX7302" fmla="*/ 1929109 w 2240198"/>
                <a:gd name="connsiteY7302" fmla="*/ 786396 h 1729012"/>
                <a:gd name="connsiteX7303" fmla="*/ 1931311 w 2240198"/>
                <a:gd name="connsiteY7303" fmla="*/ 788210 h 1729012"/>
                <a:gd name="connsiteX7304" fmla="*/ 1930624 w 2240198"/>
                <a:gd name="connsiteY7304" fmla="*/ 789293 h 1729012"/>
                <a:gd name="connsiteX7305" fmla="*/ 1928245 w 2240198"/>
                <a:gd name="connsiteY7305" fmla="*/ 790425 h 1729012"/>
                <a:gd name="connsiteX7306" fmla="*/ 1926479 w 2240198"/>
                <a:gd name="connsiteY7306" fmla="*/ 792472 h 1729012"/>
                <a:gd name="connsiteX7307" fmla="*/ 1925328 w 2240198"/>
                <a:gd name="connsiteY7307" fmla="*/ 795435 h 1729012"/>
                <a:gd name="connsiteX7308" fmla="*/ 1926604 w 2240198"/>
                <a:gd name="connsiteY7308" fmla="*/ 797010 h 1729012"/>
                <a:gd name="connsiteX7309" fmla="*/ 1931453 w 2240198"/>
                <a:gd name="connsiteY7309" fmla="*/ 797151 h 1729012"/>
                <a:gd name="connsiteX7310" fmla="*/ 1936323 w 2240198"/>
                <a:gd name="connsiteY7310" fmla="*/ 794723 h 1729012"/>
                <a:gd name="connsiteX7311" fmla="*/ 1939119 w 2240198"/>
                <a:gd name="connsiteY7311" fmla="*/ 795918 h 1729012"/>
                <a:gd name="connsiteX7312" fmla="*/ 1942444 w 2240198"/>
                <a:gd name="connsiteY7312" fmla="*/ 799074 h 1729012"/>
                <a:gd name="connsiteX7313" fmla="*/ 1948534 w 2240198"/>
                <a:gd name="connsiteY7313" fmla="*/ 804136 h 1729012"/>
                <a:gd name="connsiteX7314" fmla="*/ 1952003 w 2240198"/>
                <a:gd name="connsiteY7314" fmla="*/ 802757 h 1729012"/>
                <a:gd name="connsiteX7315" fmla="*/ 1956294 w 2240198"/>
                <a:gd name="connsiteY7315" fmla="*/ 806596 h 1729012"/>
                <a:gd name="connsiteX7316" fmla="*/ 1950530 w 2240198"/>
                <a:gd name="connsiteY7316" fmla="*/ 809638 h 1729012"/>
                <a:gd name="connsiteX7317" fmla="*/ 1952294 w 2240198"/>
                <a:gd name="connsiteY7317" fmla="*/ 816026 h 1729012"/>
                <a:gd name="connsiteX7318" fmla="*/ 1944806 w 2240198"/>
                <a:gd name="connsiteY7318" fmla="*/ 815761 h 1729012"/>
                <a:gd name="connsiteX7319" fmla="*/ 1940596 w 2240198"/>
                <a:gd name="connsiteY7319" fmla="*/ 816261 h 1729012"/>
                <a:gd name="connsiteX7320" fmla="*/ 1937776 w 2240198"/>
                <a:gd name="connsiteY7320" fmla="*/ 815688 h 1729012"/>
                <a:gd name="connsiteX7321" fmla="*/ 1934748 w 2240198"/>
                <a:gd name="connsiteY7321" fmla="*/ 815887 h 1729012"/>
                <a:gd name="connsiteX7322" fmla="*/ 1937554 w 2240198"/>
                <a:gd name="connsiteY7322" fmla="*/ 817393 h 1729012"/>
                <a:gd name="connsiteX7323" fmla="*/ 1942963 w 2240198"/>
                <a:gd name="connsiteY7323" fmla="*/ 818013 h 1729012"/>
                <a:gd name="connsiteX7324" fmla="*/ 1943457 w 2240198"/>
                <a:gd name="connsiteY7324" fmla="*/ 819943 h 1729012"/>
                <a:gd name="connsiteX7325" fmla="*/ 1947705 w 2240198"/>
                <a:gd name="connsiteY7325" fmla="*/ 819895 h 1729012"/>
                <a:gd name="connsiteX7326" fmla="*/ 1950893 w 2240198"/>
                <a:gd name="connsiteY7326" fmla="*/ 819525 h 1729012"/>
                <a:gd name="connsiteX7327" fmla="*/ 1956648 w 2240198"/>
                <a:gd name="connsiteY7327" fmla="*/ 819601 h 1729012"/>
                <a:gd name="connsiteX7328" fmla="*/ 1956955 w 2240198"/>
                <a:gd name="connsiteY7328" fmla="*/ 817386 h 1729012"/>
                <a:gd name="connsiteX7329" fmla="*/ 1960699 w 2240198"/>
                <a:gd name="connsiteY7329" fmla="*/ 816120 h 1729012"/>
                <a:gd name="connsiteX7330" fmla="*/ 1962851 w 2240198"/>
                <a:gd name="connsiteY7330" fmla="*/ 814726 h 1729012"/>
                <a:gd name="connsiteX7331" fmla="*/ 1964639 w 2240198"/>
                <a:gd name="connsiteY7331" fmla="*/ 815551 h 1729012"/>
                <a:gd name="connsiteX7332" fmla="*/ 1969844 w 2240198"/>
                <a:gd name="connsiteY7332" fmla="*/ 816498 h 1729012"/>
                <a:gd name="connsiteX7333" fmla="*/ 1976834 w 2240198"/>
                <a:gd name="connsiteY7333" fmla="*/ 820851 h 1729012"/>
                <a:gd name="connsiteX7334" fmla="*/ 1973754 w 2240198"/>
                <a:gd name="connsiteY7334" fmla="*/ 823452 h 1729012"/>
                <a:gd name="connsiteX7335" fmla="*/ 1972915 w 2240198"/>
                <a:gd name="connsiteY7335" fmla="*/ 825908 h 1729012"/>
                <a:gd name="connsiteX7336" fmla="*/ 1971880 w 2240198"/>
                <a:gd name="connsiteY7336" fmla="*/ 827986 h 1729012"/>
                <a:gd name="connsiteX7337" fmla="*/ 1971300 w 2240198"/>
                <a:gd name="connsiteY7337" fmla="*/ 829861 h 1729012"/>
                <a:gd name="connsiteX7338" fmla="*/ 1970073 w 2240198"/>
                <a:gd name="connsiteY7338" fmla="*/ 831151 h 1729012"/>
                <a:gd name="connsiteX7339" fmla="*/ 1960063 w 2240198"/>
                <a:gd name="connsiteY7339" fmla="*/ 838492 h 1729012"/>
                <a:gd name="connsiteX7340" fmla="*/ 1961720 w 2240198"/>
                <a:gd name="connsiteY7340" fmla="*/ 838559 h 1729012"/>
                <a:gd name="connsiteX7341" fmla="*/ 1965955 w 2240198"/>
                <a:gd name="connsiteY7341" fmla="*/ 836787 h 1729012"/>
                <a:gd name="connsiteX7342" fmla="*/ 1974209 w 2240198"/>
                <a:gd name="connsiteY7342" fmla="*/ 834146 h 1729012"/>
                <a:gd name="connsiteX7343" fmla="*/ 1978808 w 2240198"/>
                <a:gd name="connsiteY7343" fmla="*/ 833082 h 1729012"/>
                <a:gd name="connsiteX7344" fmla="*/ 1982078 w 2240198"/>
                <a:gd name="connsiteY7344" fmla="*/ 833789 h 1729012"/>
                <a:gd name="connsiteX7345" fmla="*/ 1983730 w 2240198"/>
                <a:gd name="connsiteY7345" fmla="*/ 833820 h 1729012"/>
                <a:gd name="connsiteX7346" fmla="*/ 1985194 w 2240198"/>
                <a:gd name="connsiteY7346" fmla="*/ 832876 h 1729012"/>
                <a:gd name="connsiteX7347" fmla="*/ 1987921 w 2240198"/>
                <a:gd name="connsiteY7347" fmla="*/ 833963 h 1729012"/>
                <a:gd name="connsiteX7348" fmla="*/ 1993579 w 2240198"/>
                <a:gd name="connsiteY7348" fmla="*/ 834955 h 1729012"/>
                <a:gd name="connsiteX7349" fmla="*/ 2000074 w 2240198"/>
                <a:gd name="connsiteY7349" fmla="*/ 828917 h 1729012"/>
                <a:gd name="connsiteX7350" fmla="*/ 2004005 w 2240198"/>
                <a:gd name="connsiteY7350" fmla="*/ 830102 h 1729012"/>
                <a:gd name="connsiteX7351" fmla="*/ 2007668 w 2240198"/>
                <a:gd name="connsiteY7351" fmla="*/ 833830 h 1729012"/>
                <a:gd name="connsiteX7352" fmla="*/ 2015514 w 2240198"/>
                <a:gd name="connsiteY7352" fmla="*/ 840362 h 1729012"/>
                <a:gd name="connsiteX7353" fmla="*/ 2019603 w 2240198"/>
                <a:gd name="connsiteY7353" fmla="*/ 844156 h 1729012"/>
                <a:gd name="connsiteX7354" fmla="*/ 2020965 w 2240198"/>
                <a:gd name="connsiteY7354" fmla="*/ 845875 h 1729012"/>
                <a:gd name="connsiteX7355" fmla="*/ 2020775 w 2240198"/>
                <a:gd name="connsiteY7355" fmla="*/ 847568 h 1729012"/>
                <a:gd name="connsiteX7356" fmla="*/ 2017077 w 2240198"/>
                <a:gd name="connsiteY7356" fmla="*/ 849359 h 1729012"/>
                <a:gd name="connsiteX7357" fmla="*/ 2015181 w 2240198"/>
                <a:gd name="connsiteY7357" fmla="*/ 849719 h 1729012"/>
                <a:gd name="connsiteX7358" fmla="*/ 2010203 w 2240198"/>
                <a:gd name="connsiteY7358" fmla="*/ 846339 h 1729012"/>
                <a:gd name="connsiteX7359" fmla="*/ 2005630 w 2240198"/>
                <a:gd name="connsiteY7359" fmla="*/ 844627 h 1729012"/>
                <a:gd name="connsiteX7360" fmla="*/ 2002847 w 2240198"/>
                <a:gd name="connsiteY7360" fmla="*/ 844811 h 1729012"/>
                <a:gd name="connsiteX7361" fmla="*/ 2000081 w 2240198"/>
                <a:gd name="connsiteY7361" fmla="*/ 846116 h 1729012"/>
                <a:gd name="connsiteX7362" fmla="*/ 2000943 w 2240198"/>
                <a:gd name="connsiteY7362" fmla="*/ 846843 h 1729012"/>
                <a:gd name="connsiteX7363" fmla="*/ 2012016 w 2240198"/>
                <a:gd name="connsiteY7363" fmla="*/ 852047 h 1729012"/>
                <a:gd name="connsiteX7364" fmla="*/ 2013948 w 2240198"/>
                <a:gd name="connsiteY7364" fmla="*/ 855880 h 1729012"/>
                <a:gd name="connsiteX7365" fmla="*/ 2014092 w 2240198"/>
                <a:gd name="connsiteY7365" fmla="*/ 857553 h 1729012"/>
                <a:gd name="connsiteX7366" fmla="*/ 2006690 w 2240198"/>
                <a:gd name="connsiteY7366" fmla="*/ 860087 h 1729012"/>
                <a:gd name="connsiteX7367" fmla="*/ 2004315 w 2240198"/>
                <a:gd name="connsiteY7367" fmla="*/ 860237 h 1729012"/>
                <a:gd name="connsiteX7368" fmla="*/ 1999191 w 2240198"/>
                <a:gd name="connsiteY7368" fmla="*/ 859027 h 1729012"/>
                <a:gd name="connsiteX7369" fmla="*/ 1996187 w 2240198"/>
                <a:gd name="connsiteY7369" fmla="*/ 856768 h 1729012"/>
                <a:gd name="connsiteX7370" fmla="*/ 1993712 w 2240198"/>
                <a:gd name="connsiteY7370" fmla="*/ 855950 h 1729012"/>
                <a:gd name="connsiteX7371" fmla="*/ 1990281 w 2240198"/>
                <a:gd name="connsiteY7371" fmla="*/ 855682 h 1729012"/>
                <a:gd name="connsiteX7372" fmla="*/ 1989183 w 2240198"/>
                <a:gd name="connsiteY7372" fmla="*/ 856120 h 1729012"/>
                <a:gd name="connsiteX7373" fmla="*/ 1992922 w 2240198"/>
                <a:gd name="connsiteY7373" fmla="*/ 859958 h 1729012"/>
                <a:gd name="connsiteX7374" fmla="*/ 1992563 w 2240198"/>
                <a:gd name="connsiteY7374" fmla="*/ 861112 h 1729012"/>
                <a:gd name="connsiteX7375" fmla="*/ 1990632 w 2240198"/>
                <a:gd name="connsiteY7375" fmla="*/ 861857 h 1729012"/>
                <a:gd name="connsiteX7376" fmla="*/ 1989678 w 2240198"/>
                <a:gd name="connsiteY7376" fmla="*/ 863705 h 1729012"/>
                <a:gd name="connsiteX7377" fmla="*/ 1997070 w 2240198"/>
                <a:gd name="connsiteY7377" fmla="*/ 867033 h 1729012"/>
                <a:gd name="connsiteX7378" fmla="*/ 2002602 w 2240198"/>
                <a:gd name="connsiteY7378" fmla="*/ 870413 h 1729012"/>
                <a:gd name="connsiteX7379" fmla="*/ 2003421 w 2240198"/>
                <a:gd name="connsiteY7379" fmla="*/ 871766 h 1729012"/>
                <a:gd name="connsiteX7380" fmla="*/ 1999692 w 2240198"/>
                <a:gd name="connsiteY7380" fmla="*/ 872769 h 1729012"/>
                <a:gd name="connsiteX7381" fmla="*/ 1997012 w 2240198"/>
                <a:gd name="connsiteY7381" fmla="*/ 873001 h 1729012"/>
                <a:gd name="connsiteX7382" fmla="*/ 1991348 w 2240198"/>
                <a:gd name="connsiteY7382" fmla="*/ 872513 h 1729012"/>
                <a:gd name="connsiteX7383" fmla="*/ 1988240 w 2240198"/>
                <a:gd name="connsiteY7383" fmla="*/ 871802 h 1729012"/>
                <a:gd name="connsiteX7384" fmla="*/ 1987382 w 2240198"/>
                <a:gd name="connsiteY7384" fmla="*/ 872564 h 1729012"/>
                <a:gd name="connsiteX7385" fmla="*/ 1990597 w 2240198"/>
                <a:gd name="connsiteY7385" fmla="*/ 874335 h 1729012"/>
                <a:gd name="connsiteX7386" fmla="*/ 1991838 w 2240198"/>
                <a:gd name="connsiteY7386" fmla="*/ 875530 h 1729012"/>
                <a:gd name="connsiteX7387" fmla="*/ 1992804 w 2240198"/>
                <a:gd name="connsiteY7387" fmla="*/ 877195 h 1729012"/>
                <a:gd name="connsiteX7388" fmla="*/ 1993366 w 2240198"/>
                <a:gd name="connsiteY7388" fmla="*/ 878763 h 1729012"/>
                <a:gd name="connsiteX7389" fmla="*/ 1993523 w 2240198"/>
                <a:gd name="connsiteY7389" fmla="*/ 880227 h 1729012"/>
                <a:gd name="connsiteX7390" fmla="*/ 1990894 w 2240198"/>
                <a:gd name="connsiteY7390" fmla="*/ 881431 h 1729012"/>
                <a:gd name="connsiteX7391" fmla="*/ 1987734 w 2240198"/>
                <a:gd name="connsiteY7391" fmla="*/ 884807 h 1729012"/>
                <a:gd name="connsiteX7392" fmla="*/ 1986502 w 2240198"/>
                <a:gd name="connsiteY7392" fmla="*/ 888297 h 1729012"/>
                <a:gd name="connsiteX7393" fmla="*/ 1983641 w 2240198"/>
                <a:gd name="connsiteY7393" fmla="*/ 888628 h 1729012"/>
                <a:gd name="connsiteX7394" fmla="*/ 1982485 w 2240198"/>
                <a:gd name="connsiteY7394" fmla="*/ 887973 h 1729012"/>
                <a:gd name="connsiteX7395" fmla="*/ 1978641 w 2240198"/>
                <a:gd name="connsiteY7395" fmla="*/ 889030 h 1729012"/>
                <a:gd name="connsiteX7396" fmla="*/ 1973568 w 2240198"/>
                <a:gd name="connsiteY7396" fmla="*/ 887573 h 1729012"/>
                <a:gd name="connsiteX7397" fmla="*/ 1971749 w 2240198"/>
                <a:gd name="connsiteY7397" fmla="*/ 885978 h 1729012"/>
                <a:gd name="connsiteX7398" fmla="*/ 1966220 w 2240198"/>
                <a:gd name="connsiteY7398" fmla="*/ 879402 h 1729012"/>
                <a:gd name="connsiteX7399" fmla="*/ 1966077 w 2240198"/>
                <a:gd name="connsiteY7399" fmla="*/ 880141 h 1729012"/>
                <a:gd name="connsiteX7400" fmla="*/ 1967461 w 2240198"/>
                <a:gd name="connsiteY7400" fmla="*/ 883465 h 1729012"/>
                <a:gd name="connsiteX7401" fmla="*/ 1967179 w 2240198"/>
                <a:gd name="connsiteY7401" fmla="*/ 885435 h 1729012"/>
                <a:gd name="connsiteX7402" fmla="*/ 1961321 w 2240198"/>
                <a:gd name="connsiteY7402" fmla="*/ 886865 h 1729012"/>
                <a:gd name="connsiteX7403" fmla="*/ 1961343 w 2240198"/>
                <a:gd name="connsiteY7403" fmla="*/ 887420 h 1729012"/>
                <a:gd name="connsiteX7404" fmla="*/ 1964940 w 2240198"/>
                <a:gd name="connsiteY7404" fmla="*/ 888460 h 1729012"/>
                <a:gd name="connsiteX7405" fmla="*/ 1969295 w 2240198"/>
                <a:gd name="connsiteY7405" fmla="*/ 889263 h 1729012"/>
                <a:gd name="connsiteX7406" fmla="*/ 1968615 w 2240198"/>
                <a:gd name="connsiteY7406" fmla="*/ 892324 h 1729012"/>
                <a:gd name="connsiteX7407" fmla="*/ 1968638 w 2240198"/>
                <a:gd name="connsiteY7407" fmla="*/ 905324 h 1729012"/>
                <a:gd name="connsiteX7408" fmla="*/ 1967663 w 2240198"/>
                <a:gd name="connsiteY7408" fmla="*/ 909922 h 1729012"/>
                <a:gd name="connsiteX7409" fmla="*/ 1965533 w 2240198"/>
                <a:gd name="connsiteY7409" fmla="*/ 913931 h 1729012"/>
                <a:gd name="connsiteX7410" fmla="*/ 1962471 w 2240198"/>
                <a:gd name="connsiteY7410" fmla="*/ 917766 h 1729012"/>
                <a:gd name="connsiteX7411" fmla="*/ 1959160 w 2240198"/>
                <a:gd name="connsiteY7411" fmla="*/ 915254 h 1729012"/>
                <a:gd name="connsiteX7412" fmla="*/ 1957837 w 2240198"/>
                <a:gd name="connsiteY7412" fmla="*/ 912689 h 1729012"/>
                <a:gd name="connsiteX7413" fmla="*/ 1956725 w 2240198"/>
                <a:gd name="connsiteY7413" fmla="*/ 911372 h 1729012"/>
                <a:gd name="connsiteX7414" fmla="*/ 1955142 w 2240198"/>
                <a:gd name="connsiteY7414" fmla="*/ 910301 h 1729012"/>
                <a:gd name="connsiteX7415" fmla="*/ 1953098 w 2240198"/>
                <a:gd name="connsiteY7415" fmla="*/ 909797 h 1729012"/>
                <a:gd name="connsiteX7416" fmla="*/ 1950938 w 2240198"/>
                <a:gd name="connsiteY7416" fmla="*/ 909778 h 1729012"/>
                <a:gd name="connsiteX7417" fmla="*/ 1948645 w 2240198"/>
                <a:gd name="connsiteY7417" fmla="*/ 912079 h 1729012"/>
                <a:gd name="connsiteX7418" fmla="*/ 1946145 w 2240198"/>
                <a:gd name="connsiteY7418" fmla="*/ 910094 h 1729012"/>
                <a:gd name="connsiteX7419" fmla="*/ 1943730 w 2240198"/>
                <a:gd name="connsiteY7419" fmla="*/ 907694 h 1729012"/>
                <a:gd name="connsiteX7420" fmla="*/ 1944641 w 2240198"/>
                <a:gd name="connsiteY7420" fmla="*/ 901399 h 1729012"/>
                <a:gd name="connsiteX7421" fmla="*/ 1945658 w 2240198"/>
                <a:gd name="connsiteY7421" fmla="*/ 898240 h 1729012"/>
                <a:gd name="connsiteX7422" fmla="*/ 1945251 w 2240198"/>
                <a:gd name="connsiteY7422" fmla="*/ 898264 h 1729012"/>
                <a:gd name="connsiteX7423" fmla="*/ 1943876 w 2240198"/>
                <a:gd name="connsiteY7423" fmla="*/ 899758 h 1729012"/>
                <a:gd name="connsiteX7424" fmla="*/ 1940582 w 2240198"/>
                <a:gd name="connsiteY7424" fmla="*/ 904373 h 1729012"/>
                <a:gd name="connsiteX7425" fmla="*/ 1938421 w 2240198"/>
                <a:gd name="connsiteY7425" fmla="*/ 909998 h 1729012"/>
                <a:gd name="connsiteX7426" fmla="*/ 1935625 w 2240198"/>
                <a:gd name="connsiteY7426" fmla="*/ 907837 h 1729012"/>
                <a:gd name="connsiteX7427" fmla="*/ 1933103 w 2240198"/>
                <a:gd name="connsiteY7427" fmla="*/ 905144 h 1729012"/>
                <a:gd name="connsiteX7428" fmla="*/ 1931021 w 2240198"/>
                <a:gd name="connsiteY7428" fmla="*/ 902435 h 1729012"/>
                <a:gd name="connsiteX7429" fmla="*/ 1927655 w 2240198"/>
                <a:gd name="connsiteY7429" fmla="*/ 899305 h 1729012"/>
                <a:gd name="connsiteX7430" fmla="*/ 1924388 w 2240198"/>
                <a:gd name="connsiteY7430" fmla="*/ 895625 h 1729012"/>
                <a:gd name="connsiteX7431" fmla="*/ 1922684 w 2240198"/>
                <a:gd name="connsiteY7431" fmla="*/ 891285 h 1729012"/>
                <a:gd name="connsiteX7432" fmla="*/ 1921891 w 2240198"/>
                <a:gd name="connsiteY7432" fmla="*/ 890392 h 1729012"/>
                <a:gd name="connsiteX7433" fmla="*/ 1919988 w 2240198"/>
                <a:gd name="connsiteY7433" fmla="*/ 886767 h 1729012"/>
                <a:gd name="connsiteX7434" fmla="*/ 1919241 w 2240198"/>
                <a:gd name="connsiteY7434" fmla="*/ 885730 h 1729012"/>
                <a:gd name="connsiteX7435" fmla="*/ 1918584 w 2240198"/>
                <a:gd name="connsiteY7435" fmla="*/ 885386 h 1729012"/>
                <a:gd name="connsiteX7436" fmla="*/ 1916955 w 2240198"/>
                <a:gd name="connsiteY7436" fmla="*/ 883122 h 1729012"/>
                <a:gd name="connsiteX7437" fmla="*/ 1917552 w 2240198"/>
                <a:gd name="connsiteY7437" fmla="*/ 880696 h 1729012"/>
                <a:gd name="connsiteX7438" fmla="*/ 1920117 w 2240198"/>
                <a:gd name="connsiteY7438" fmla="*/ 877827 h 1729012"/>
                <a:gd name="connsiteX7439" fmla="*/ 1922452 w 2240198"/>
                <a:gd name="connsiteY7439" fmla="*/ 875763 h 1729012"/>
                <a:gd name="connsiteX7440" fmla="*/ 1926322 w 2240198"/>
                <a:gd name="connsiteY7440" fmla="*/ 873728 h 1729012"/>
                <a:gd name="connsiteX7441" fmla="*/ 1930849 w 2240198"/>
                <a:gd name="connsiteY7441" fmla="*/ 872579 h 1729012"/>
                <a:gd name="connsiteX7442" fmla="*/ 1932907 w 2240198"/>
                <a:gd name="connsiteY7442" fmla="*/ 869949 h 1729012"/>
                <a:gd name="connsiteX7443" fmla="*/ 1935430 w 2240198"/>
                <a:gd name="connsiteY7443" fmla="*/ 865149 h 1729012"/>
                <a:gd name="connsiteX7444" fmla="*/ 1938195 w 2240198"/>
                <a:gd name="connsiteY7444" fmla="*/ 861803 h 1729012"/>
                <a:gd name="connsiteX7445" fmla="*/ 1941203 w 2240198"/>
                <a:gd name="connsiteY7445" fmla="*/ 859906 h 1729012"/>
                <a:gd name="connsiteX7446" fmla="*/ 1939706 w 2240198"/>
                <a:gd name="connsiteY7446" fmla="*/ 859554 h 1729012"/>
                <a:gd name="connsiteX7447" fmla="*/ 1935883 w 2240198"/>
                <a:gd name="connsiteY7447" fmla="*/ 861177 h 1729012"/>
                <a:gd name="connsiteX7448" fmla="*/ 1933196 w 2240198"/>
                <a:gd name="connsiteY7448" fmla="*/ 863541 h 1729012"/>
                <a:gd name="connsiteX7449" fmla="*/ 1929998 w 2240198"/>
                <a:gd name="connsiteY7449" fmla="*/ 867476 h 1729012"/>
                <a:gd name="connsiteX7450" fmla="*/ 1927026 w 2240198"/>
                <a:gd name="connsiteY7450" fmla="*/ 869984 h 1729012"/>
                <a:gd name="connsiteX7451" fmla="*/ 1919396 w 2240198"/>
                <a:gd name="connsiteY7451" fmla="*/ 872892 h 1729012"/>
                <a:gd name="connsiteX7452" fmla="*/ 1916602 w 2240198"/>
                <a:gd name="connsiteY7452" fmla="*/ 873473 h 1729012"/>
                <a:gd name="connsiteX7453" fmla="*/ 1913352 w 2240198"/>
                <a:gd name="connsiteY7453" fmla="*/ 873783 h 1729012"/>
                <a:gd name="connsiteX7454" fmla="*/ 1906201 w 2240198"/>
                <a:gd name="connsiteY7454" fmla="*/ 873376 h 1729012"/>
                <a:gd name="connsiteX7455" fmla="*/ 1904544 w 2240198"/>
                <a:gd name="connsiteY7455" fmla="*/ 872399 h 1729012"/>
                <a:gd name="connsiteX7456" fmla="*/ 1905405 w 2240198"/>
                <a:gd name="connsiteY7456" fmla="*/ 869619 h 1729012"/>
                <a:gd name="connsiteX7457" fmla="*/ 1910497 w 2240198"/>
                <a:gd name="connsiteY7457" fmla="*/ 864643 h 1729012"/>
                <a:gd name="connsiteX7458" fmla="*/ 1909684 w 2240198"/>
                <a:gd name="connsiteY7458" fmla="*/ 864291 h 1729012"/>
                <a:gd name="connsiteX7459" fmla="*/ 1907894 w 2240198"/>
                <a:gd name="connsiteY7459" fmla="*/ 866055 h 1729012"/>
                <a:gd name="connsiteX7460" fmla="*/ 1905435 w 2240198"/>
                <a:gd name="connsiteY7460" fmla="*/ 867273 h 1729012"/>
                <a:gd name="connsiteX7461" fmla="*/ 1903304 w 2240198"/>
                <a:gd name="connsiteY7461" fmla="*/ 867896 h 1729012"/>
                <a:gd name="connsiteX7462" fmla="*/ 1900167 w 2240198"/>
                <a:gd name="connsiteY7462" fmla="*/ 867673 h 1729012"/>
                <a:gd name="connsiteX7463" fmla="*/ 1896493 w 2240198"/>
                <a:gd name="connsiteY7463" fmla="*/ 864573 h 1729012"/>
                <a:gd name="connsiteX7464" fmla="*/ 1894749 w 2240198"/>
                <a:gd name="connsiteY7464" fmla="*/ 863617 h 1729012"/>
                <a:gd name="connsiteX7465" fmla="*/ 1891153 w 2240198"/>
                <a:gd name="connsiteY7465" fmla="*/ 862548 h 1729012"/>
                <a:gd name="connsiteX7466" fmla="*/ 1889689 w 2240198"/>
                <a:gd name="connsiteY7466" fmla="*/ 861484 h 1729012"/>
                <a:gd name="connsiteX7467" fmla="*/ 1883721 w 2240198"/>
                <a:gd name="connsiteY7467" fmla="*/ 853853 h 1729012"/>
                <a:gd name="connsiteX7468" fmla="*/ 1882518 w 2240198"/>
                <a:gd name="connsiteY7468" fmla="*/ 851820 h 1729012"/>
                <a:gd name="connsiteX7469" fmla="*/ 1881818 w 2240198"/>
                <a:gd name="connsiteY7469" fmla="*/ 849822 h 1729012"/>
                <a:gd name="connsiteX7470" fmla="*/ 1879903 w 2240198"/>
                <a:gd name="connsiteY7470" fmla="*/ 848141 h 1729012"/>
                <a:gd name="connsiteX7471" fmla="*/ 1876773 w 2240198"/>
                <a:gd name="connsiteY7471" fmla="*/ 846776 h 1729012"/>
                <a:gd name="connsiteX7472" fmla="*/ 1876052 w 2240198"/>
                <a:gd name="connsiteY7472" fmla="*/ 847000 h 1729012"/>
                <a:gd name="connsiteX7473" fmla="*/ 1877177 w 2240198"/>
                <a:gd name="connsiteY7473" fmla="*/ 848711 h 1729012"/>
                <a:gd name="connsiteX7474" fmla="*/ 1877212 w 2240198"/>
                <a:gd name="connsiteY7474" fmla="*/ 850182 h 1729012"/>
                <a:gd name="connsiteX7475" fmla="*/ 1874478 w 2240198"/>
                <a:gd name="connsiteY7475" fmla="*/ 851101 h 1729012"/>
                <a:gd name="connsiteX7476" fmla="*/ 1871618 w 2240198"/>
                <a:gd name="connsiteY7476" fmla="*/ 850782 h 1729012"/>
                <a:gd name="connsiteX7477" fmla="*/ 1868634 w 2240198"/>
                <a:gd name="connsiteY7477" fmla="*/ 849226 h 1729012"/>
                <a:gd name="connsiteX7478" fmla="*/ 1868371 w 2240198"/>
                <a:gd name="connsiteY7478" fmla="*/ 851317 h 1729012"/>
                <a:gd name="connsiteX7479" fmla="*/ 1871565 w 2240198"/>
                <a:gd name="connsiteY7479" fmla="*/ 855024 h 1729012"/>
                <a:gd name="connsiteX7480" fmla="*/ 1871615 w 2240198"/>
                <a:gd name="connsiteY7480" fmla="*/ 859713 h 1729012"/>
                <a:gd name="connsiteX7481" fmla="*/ 1870712 w 2240198"/>
                <a:gd name="connsiteY7481" fmla="*/ 860196 h 1729012"/>
                <a:gd name="connsiteX7482" fmla="*/ 1868535 w 2240198"/>
                <a:gd name="connsiteY7482" fmla="*/ 860472 h 1729012"/>
                <a:gd name="connsiteX7483" fmla="*/ 1867073 w 2240198"/>
                <a:gd name="connsiteY7483" fmla="*/ 859893 h 1729012"/>
                <a:gd name="connsiteX7484" fmla="*/ 1862233 w 2240198"/>
                <a:gd name="connsiteY7484" fmla="*/ 856390 h 1729012"/>
                <a:gd name="connsiteX7485" fmla="*/ 1857643 w 2240198"/>
                <a:gd name="connsiteY7485" fmla="*/ 853948 h 1729012"/>
                <a:gd name="connsiteX7486" fmla="*/ 1854405 w 2240198"/>
                <a:gd name="connsiteY7486" fmla="*/ 852597 h 1729012"/>
                <a:gd name="connsiteX7487" fmla="*/ 1854027 w 2240198"/>
                <a:gd name="connsiteY7487" fmla="*/ 853558 h 1729012"/>
                <a:gd name="connsiteX7488" fmla="*/ 1856127 w 2240198"/>
                <a:gd name="connsiteY7488" fmla="*/ 857788 h 1729012"/>
                <a:gd name="connsiteX7489" fmla="*/ 1858563 w 2240198"/>
                <a:gd name="connsiteY7489" fmla="*/ 861953 h 1729012"/>
                <a:gd name="connsiteX7490" fmla="*/ 1862550 w 2240198"/>
                <a:gd name="connsiteY7490" fmla="*/ 865381 h 1729012"/>
                <a:gd name="connsiteX7491" fmla="*/ 1868902 w 2240198"/>
                <a:gd name="connsiteY7491" fmla="*/ 869456 h 1729012"/>
                <a:gd name="connsiteX7492" fmla="*/ 1871782 w 2240198"/>
                <a:gd name="connsiteY7492" fmla="*/ 871802 h 1729012"/>
                <a:gd name="connsiteX7493" fmla="*/ 1869513 w 2240198"/>
                <a:gd name="connsiteY7493" fmla="*/ 875110 h 1729012"/>
                <a:gd name="connsiteX7494" fmla="*/ 1867541 w 2240198"/>
                <a:gd name="connsiteY7494" fmla="*/ 876191 h 1729012"/>
                <a:gd name="connsiteX7495" fmla="*/ 1866315 w 2240198"/>
                <a:gd name="connsiteY7495" fmla="*/ 876526 h 1729012"/>
                <a:gd name="connsiteX7496" fmla="*/ 1862461 w 2240198"/>
                <a:gd name="connsiteY7496" fmla="*/ 876530 h 1729012"/>
                <a:gd name="connsiteX7497" fmla="*/ 1855431 w 2240198"/>
                <a:gd name="connsiteY7497" fmla="*/ 874706 h 1729012"/>
                <a:gd name="connsiteX7498" fmla="*/ 1852130 w 2240198"/>
                <a:gd name="connsiteY7498" fmla="*/ 872667 h 1729012"/>
                <a:gd name="connsiteX7499" fmla="*/ 1847336 w 2240198"/>
                <a:gd name="connsiteY7499" fmla="*/ 867795 h 1729012"/>
                <a:gd name="connsiteX7500" fmla="*/ 1839409 w 2240198"/>
                <a:gd name="connsiteY7500" fmla="*/ 862769 h 1729012"/>
                <a:gd name="connsiteX7501" fmla="*/ 1837687 w 2240198"/>
                <a:gd name="connsiteY7501" fmla="*/ 862795 h 1729012"/>
                <a:gd name="connsiteX7502" fmla="*/ 1832080 w 2240198"/>
                <a:gd name="connsiteY7502" fmla="*/ 864841 h 1729012"/>
                <a:gd name="connsiteX7503" fmla="*/ 1832961 w 2240198"/>
                <a:gd name="connsiteY7503" fmla="*/ 865170 h 1729012"/>
                <a:gd name="connsiteX7504" fmla="*/ 1836575 w 2240198"/>
                <a:gd name="connsiteY7504" fmla="*/ 865318 h 1729012"/>
                <a:gd name="connsiteX7505" fmla="*/ 1839226 w 2240198"/>
                <a:gd name="connsiteY7505" fmla="*/ 865971 h 1729012"/>
                <a:gd name="connsiteX7506" fmla="*/ 1845563 w 2240198"/>
                <a:gd name="connsiteY7506" fmla="*/ 869937 h 1729012"/>
                <a:gd name="connsiteX7507" fmla="*/ 1846041 w 2240198"/>
                <a:gd name="connsiteY7507" fmla="*/ 871612 h 1729012"/>
                <a:gd name="connsiteX7508" fmla="*/ 1844460 w 2240198"/>
                <a:gd name="connsiteY7508" fmla="*/ 873473 h 1729012"/>
                <a:gd name="connsiteX7509" fmla="*/ 1844557 w 2240198"/>
                <a:gd name="connsiteY7509" fmla="*/ 875819 h 1729012"/>
                <a:gd name="connsiteX7510" fmla="*/ 1846336 w 2240198"/>
                <a:gd name="connsiteY7510" fmla="*/ 878651 h 1729012"/>
                <a:gd name="connsiteX7511" fmla="*/ 1848153 w 2240198"/>
                <a:gd name="connsiteY7511" fmla="*/ 880458 h 1729012"/>
                <a:gd name="connsiteX7512" fmla="*/ 1851880 w 2240198"/>
                <a:gd name="connsiteY7512" fmla="*/ 881733 h 1729012"/>
                <a:gd name="connsiteX7513" fmla="*/ 1853753 w 2240198"/>
                <a:gd name="connsiteY7513" fmla="*/ 881900 h 1729012"/>
                <a:gd name="connsiteX7514" fmla="*/ 1854456 w 2240198"/>
                <a:gd name="connsiteY7514" fmla="*/ 882718 h 1729012"/>
                <a:gd name="connsiteX7515" fmla="*/ 1852228 w 2240198"/>
                <a:gd name="connsiteY7515" fmla="*/ 888999 h 1729012"/>
                <a:gd name="connsiteX7516" fmla="*/ 1852039 w 2240198"/>
                <a:gd name="connsiteY7516" fmla="*/ 890713 h 1729012"/>
                <a:gd name="connsiteX7517" fmla="*/ 1852674 w 2240198"/>
                <a:gd name="connsiteY7517" fmla="*/ 891422 h 1729012"/>
                <a:gd name="connsiteX7518" fmla="*/ 1853452 w 2240198"/>
                <a:gd name="connsiteY7518" fmla="*/ 891481 h 1729012"/>
                <a:gd name="connsiteX7519" fmla="*/ 1858242 w 2240198"/>
                <a:gd name="connsiteY7519" fmla="*/ 888906 h 1729012"/>
                <a:gd name="connsiteX7520" fmla="*/ 1860247 w 2240198"/>
                <a:gd name="connsiteY7520" fmla="*/ 888277 h 1729012"/>
                <a:gd name="connsiteX7521" fmla="*/ 1861983 w 2240198"/>
                <a:gd name="connsiteY7521" fmla="*/ 888147 h 1729012"/>
                <a:gd name="connsiteX7522" fmla="*/ 1863999 w 2240198"/>
                <a:gd name="connsiteY7522" fmla="*/ 888869 h 1729012"/>
                <a:gd name="connsiteX7523" fmla="*/ 1866291 w 2240198"/>
                <a:gd name="connsiteY7523" fmla="*/ 890445 h 1729012"/>
                <a:gd name="connsiteX7524" fmla="*/ 1867643 w 2240198"/>
                <a:gd name="connsiteY7524" fmla="*/ 892068 h 1729012"/>
                <a:gd name="connsiteX7525" fmla="*/ 1868050 w 2240198"/>
                <a:gd name="connsiteY7525" fmla="*/ 893739 h 1729012"/>
                <a:gd name="connsiteX7526" fmla="*/ 1868732 w 2240198"/>
                <a:gd name="connsiteY7526" fmla="*/ 894831 h 1729012"/>
                <a:gd name="connsiteX7527" fmla="*/ 1873435 w 2240198"/>
                <a:gd name="connsiteY7527" fmla="*/ 896597 h 1729012"/>
                <a:gd name="connsiteX7528" fmla="*/ 1873004 w 2240198"/>
                <a:gd name="connsiteY7528" fmla="*/ 897421 h 1729012"/>
                <a:gd name="connsiteX7529" fmla="*/ 1868158 w 2240198"/>
                <a:gd name="connsiteY7529" fmla="*/ 900070 h 1729012"/>
                <a:gd name="connsiteX7530" fmla="*/ 1867893 w 2240198"/>
                <a:gd name="connsiteY7530" fmla="*/ 900488 h 1729012"/>
                <a:gd name="connsiteX7531" fmla="*/ 1868862 w 2240198"/>
                <a:gd name="connsiteY7531" fmla="*/ 900679 h 1729012"/>
                <a:gd name="connsiteX7532" fmla="*/ 1871924 w 2240198"/>
                <a:gd name="connsiteY7532" fmla="*/ 902259 h 1729012"/>
                <a:gd name="connsiteX7533" fmla="*/ 1874740 w 2240198"/>
                <a:gd name="connsiteY7533" fmla="*/ 904730 h 1729012"/>
                <a:gd name="connsiteX7534" fmla="*/ 1876462 w 2240198"/>
                <a:gd name="connsiteY7534" fmla="*/ 907669 h 1729012"/>
                <a:gd name="connsiteX7535" fmla="*/ 1876809 w 2240198"/>
                <a:gd name="connsiteY7535" fmla="*/ 909113 h 1729012"/>
                <a:gd name="connsiteX7536" fmla="*/ 1876790 w 2240198"/>
                <a:gd name="connsiteY7536" fmla="*/ 910484 h 1729012"/>
                <a:gd name="connsiteX7537" fmla="*/ 1877178 w 2240198"/>
                <a:gd name="connsiteY7537" fmla="*/ 911306 h 1729012"/>
                <a:gd name="connsiteX7538" fmla="*/ 1878670 w 2240198"/>
                <a:gd name="connsiteY7538" fmla="*/ 911454 h 1729012"/>
                <a:gd name="connsiteX7539" fmla="*/ 1879279 w 2240198"/>
                <a:gd name="connsiteY7539" fmla="*/ 910931 h 1729012"/>
                <a:gd name="connsiteX7540" fmla="*/ 1879960 w 2240198"/>
                <a:gd name="connsiteY7540" fmla="*/ 911030 h 1729012"/>
                <a:gd name="connsiteX7541" fmla="*/ 1880715 w 2240198"/>
                <a:gd name="connsiteY7541" fmla="*/ 911748 h 1729012"/>
                <a:gd name="connsiteX7542" fmla="*/ 1881508 w 2240198"/>
                <a:gd name="connsiteY7542" fmla="*/ 913995 h 1729012"/>
                <a:gd name="connsiteX7543" fmla="*/ 1883203 w 2240198"/>
                <a:gd name="connsiteY7543" fmla="*/ 920562 h 1729012"/>
                <a:gd name="connsiteX7544" fmla="*/ 1884098 w 2240198"/>
                <a:gd name="connsiteY7544" fmla="*/ 922405 h 1729012"/>
                <a:gd name="connsiteX7545" fmla="*/ 1884613 w 2240198"/>
                <a:gd name="connsiteY7545" fmla="*/ 922467 h 1729012"/>
                <a:gd name="connsiteX7546" fmla="*/ 1884877 w 2240198"/>
                <a:gd name="connsiteY7546" fmla="*/ 915883 h 1729012"/>
                <a:gd name="connsiteX7547" fmla="*/ 1885668 w 2240198"/>
                <a:gd name="connsiteY7547" fmla="*/ 914792 h 1729012"/>
                <a:gd name="connsiteX7548" fmla="*/ 1888654 w 2240198"/>
                <a:gd name="connsiteY7548" fmla="*/ 915960 h 1729012"/>
                <a:gd name="connsiteX7549" fmla="*/ 1893029 w 2240198"/>
                <a:gd name="connsiteY7549" fmla="*/ 918524 h 1729012"/>
                <a:gd name="connsiteX7550" fmla="*/ 1896110 w 2240198"/>
                <a:gd name="connsiteY7550" fmla="*/ 920806 h 1729012"/>
                <a:gd name="connsiteX7551" fmla="*/ 1896465 w 2240198"/>
                <a:gd name="connsiteY7551" fmla="*/ 921874 h 1729012"/>
                <a:gd name="connsiteX7552" fmla="*/ 1894138 w 2240198"/>
                <a:gd name="connsiteY7552" fmla="*/ 923941 h 1729012"/>
                <a:gd name="connsiteX7553" fmla="*/ 1894629 w 2240198"/>
                <a:gd name="connsiteY7553" fmla="*/ 924861 h 1729012"/>
                <a:gd name="connsiteX7554" fmla="*/ 1896340 w 2240198"/>
                <a:gd name="connsiteY7554" fmla="*/ 926211 h 1729012"/>
                <a:gd name="connsiteX7555" fmla="*/ 1897916 w 2240198"/>
                <a:gd name="connsiteY7555" fmla="*/ 925698 h 1729012"/>
                <a:gd name="connsiteX7556" fmla="*/ 1899056 w 2240198"/>
                <a:gd name="connsiteY7556" fmla="*/ 923389 h 1729012"/>
                <a:gd name="connsiteX7557" fmla="*/ 1901017 w 2240198"/>
                <a:gd name="connsiteY7557" fmla="*/ 921116 h 1729012"/>
                <a:gd name="connsiteX7558" fmla="*/ 1903342 w 2240198"/>
                <a:gd name="connsiteY7558" fmla="*/ 919507 h 1729012"/>
                <a:gd name="connsiteX7559" fmla="*/ 1907664 w 2240198"/>
                <a:gd name="connsiteY7559" fmla="*/ 920829 h 1729012"/>
                <a:gd name="connsiteX7560" fmla="*/ 1911247 w 2240198"/>
                <a:gd name="connsiteY7560" fmla="*/ 924228 h 1729012"/>
                <a:gd name="connsiteX7561" fmla="*/ 1911792 w 2240198"/>
                <a:gd name="connsiteY7561" fmla="*/ 925393 h 1729012"/>
                <a:gd name="connsiteX7562" fmla="*/ 1914126 w 2240198"/>
                <a:gd name="connsiteY7562" fmla="*/ 926862 h 1729012"/>
                <a:gd name="connsiteX7563" fmla="*/ 1916187 w 2240198"/>
                <a:gd name="connsiteY7563" fmla="*/ 926046 h 1729012"/>
                <a:gd name="connsiteX7564" fmla="*/ 1920171 w 2240198"/>
                <a:gd name="connsiteY7564" fmla="*/ 929931 h 1729012"/>
                <a:gd name="connsiteX7565" fmla="*/ 1918282 w 2240198"/>
                <a:gd name="connsiteY7565" fmla="*/ 931691 h 1729012"/>
                <a:gd name="connsiteX7566" fmla="*/ 1914137 w 2240198"/>
                <a:gd name="connsiteY7566" fmla="*/ 934246 h 1729012"/>
                <a:gd name="connsiteX7567" fmla="*/ 1913717 w 2240198"/>
                <a:gd name="connsiteY7567" fmla="*/ 935112 h 1729012"/>
                <a:gd name="connsiteX7568" fmla="*/ 1914715 w 2240198"/>
                <a:gd name="connsiteY7568" fmla="*/ 934914 h 1729012"/>
                <a:gd name="connsiteX7569" fmla="*/ 1922610 w 2240198"/>
                <a:gd name="connsiteY7569" fmla="*/ 934910 h 1729012"/>
                <a:gd name="connsiteX7570" fmla="*/ 1924743 w 2240198"/>
                <a:gd name="connsiteY7570" fmla="*/ 935937 h 1729012"/>
                <a:gd name="connsiteX7571" fmla="*/ 1925247 w 2240198"/>
                <a:gd name="connsiteY7571" fmla="*/ 937891 h 1729012"/>
                <a:gd name="connsiteX7572" fmla="*/ 1921738 w 2240198"/>
                <a:gd name="connsiteY7572" fmla="*/ 943324 h 1729012"/>
                <a:gd name="connsiteX7573" fmla="*/ 1918521 w 2240198"/>
                <a:gd name="connsiteY7573" fmla="*/ 942843 h 1729012"/>
                <a:gd name="connsiteX7574" fmla="*/ 1914272 w 2240198"/>
                <a:gd name="connsiteY7574" fmla="*/ 942712 h 1729012"/>
                <a:gd name="connsiteX7575" fmla="*/ 1912086 w 2240198"/>
                <a:gd name="connsiteY7575" fmla="*/ 943004 h 1729012"/>
                <a:gd name="connsiteX7576" fmla="*/ 1912425 w 2240198"/>
                <a:gd name="connsiteY7576" fmla="*/ 943707 h 1729012"/>
                <a:gd name="connsiteX7577" fmla="*/ 1918320 w 2240198"/>
                <a:gd name="connsiteY7577" fmla="*/ 946208 h 1729012"/>
                <a:gd name="connsiteX7578" fmla="*/ 1919988 w 2240198"/>
                <a:gd name="connsiteY7578" fmla="*/ 948267 h 1729012"/>
                <a:gd name="connsiteX7579" fmla="*/ 1922251 w 2240198"/>
                <a:gd name="connsiteY7579" fmla="*/ 950369 h 1729012"/>
                <a:gd name="connsiteX7580" fmla="*/ 1923346 w 2240198"/>
                <a:gd name="connsiteY7580" fmla="*/ 952099 h 1729012"/>
                <a:gd name="connsiteX7581" fmla="*/ 1923320 w 2240198"/>
                <a:gd name="connsiteY7581" fmla="*/ 952895 h 1729012"/>
                <a:gd name="connsiteX7582" fmla="*/ 1922390 w 2240198"/>
                <a:gd name="connsiteY7582" fmla="*/ 954091 h 1729012"/>
                <a:gd name="connsiteX7583" fmla="*/ 1922832 w 2240198"/>
                <a:gd name="connsiteY7583" fmla="*/ 954489 h 1729012"/>
                <a:gd name="connsiteX7584" fmla="*/ 1926871 w 2240198"/>
                <a:gd name="connsiteY7584" fmla="*/ 955271 h 1729012"/>
                <a:gd name="connsiteX7585" fmla="*/ 1929376 w 2240198"/>
                <a:gd name="connsiteY7585" fmla="*/ 954569 h 1729012"/>
                <a:gd name="connsiteX7586" fmla="*/ 1932520 w 2240198"/>
                <a:gd name="connsiteY7586" fmla="*/ 954303 h 1729012"/>
                <a:gd name="connsiteX7587" fmla="*/ 1935293 w 2240198"/>
                <a:gd name="connsiteY7587" fmla="*/ 954497 h 1729012"/>
                <a:gd name="connsiteX7588" fmla="*/ 1935514 w 2240198"/>
                <a:gd name="connsiteY7588" fmla="*/ 955241 h 1729012"/>
                <a:gd name="connsiteX7589" fmla="*/ 1935096 w 2240198"/>
                <a:gd name="connsiteY7589" fmla="*/ 957209 h 1729012"/>
                <a:gd name="connsiteX7590" fmla="*/ 1932257 w 2240198"/>
                <a:gd name="connsiteY7590" fmla="*/ 959028 h 1729012"/>
                <a:gd name="connsiteX7591" fmla="*/ 1933017 w 2240198"/>
                <a:gd name="connsiteY7591" fmla="*/ 959453 h 1729012"/>
                <a:gd name="connsiteX7592" fmla="*/ 1936351 w 2240198"/>
                <a:gd name="connsiteY7592" fmla="*/ 958930 h 1729012"/>
                <a:gd name="connsiteX7593" fmla="*/ 1937882 w 2240198"/>
                <a:gd name="connsiteY7593" fmla="*/ 959779 h 1729012"/>
                <a:gd name="connsiteX7594" fmla="*/ 1939855 w 2240198"/>
                <a:gd name="connsiteY7594" fmla="*/ 964098 h 1729012"/>
                <a:gd name="connsiteX7595" fmla="*/ 1942075 w 2240198"/>
                <a:gd name="connsiteY7595" fmla="*/ 967482 h 1729012"/>
                <a:gd name="connsiteX7596" fmla="*/ 1940268 w 2240198"/>
                <a:gd name="connsiteY7596" fmla="*/ 968258 h 1729012"/>
                <a:gd name="connsiteX7597" fmla="*/ 1938256 w 2240198"/>
                <a:gd name="connsiteY7597" fmla="*/ 968555 h 1729012"/>
                <a:gd name="connsiteX7598" fmla="*/ 1938542 w 2240198"/>
                <a:gd name="connsiteY7598" fmla="*/ 972862 h 1729012"/>
                <a:gd name="connsiteX7599" fmla="*/ 1939852 w 2240198"/>
                <a:gd name="connsiteY7599" fmla="*/ 977267 h 1729012"/>
                <a:gd name="connsiteX7600" fmla="*/ 1939866 w 2240198"/>
                <a:gd name="connsiteY7600" fmla="*/ 981481 h 1729012"/>
                <a:gd name="connsiteX7601" fmla="*/ 1939453 w 2240198"/>
                <a:gd name="connsiteY7601" fmla="*/ 985226 h 1729012"/>
                <a:gd name="connsiteX7602" fmla="*/ 1937614 w 2240198"/>
                <a:gd name="connsiteY7602" fmla="*/ 986056 h 1729012"/>
                <a:gd name="connsiteX7603" fmla="*/ 1935642 w 2240198"/>
                <a:gd name="connsiteY7603" fmla="*/ 985969 h 1729012"/>
                <a:gd name="connsiteX7604" fmla="*/ 1934858 w 2240198"/>
                <a:gd name="connsiteY7604" fmla="*/ 985029 h 1729012"/>
                <a:gd name="connsiteX7605" fmla="*/ 1930022 w 2240198"/>
                <a:gd name="connsiteY7605" fmla="*/ 973819 h 1729012"/>
                <a:gd name="connsiteX7606" fmla="*/ 1928831 w 2240198"/>
                <a:gd name="connsiteY7606" fmla="*/ 971789 h 1729012"/>
                <a:gd name="connsiteX7607" fmla="*/ 1927401 w 2240198"/>
                <a:gd name="connsiteY7607" fmla="*/ 970017 h 1729012"/>
                <a:gd name="connsiteX7608" fmla="*/ 1922275 w 2240198"/>
                <a:gd name="connsiteY7608" fmla="*/ 965149 h 1729012"/>
                <a:gd name="connsiteX7609" fmla="*/ 1922476 w 2240198"/>
                <a:gd name="connsiteY7609" fmla="*/ 965932 h 1729012"/>
                <a:gd name="connsiteX7610" fmla="*/ 1923745 w 2240198"/>
                <a:gd name="connsiteY7610" fmla="*/ 968177 h 1729012"/>
                <a:gd name="connsiteX7611" fmla="*/ 1924872 w 2240198"/>
                <a:gd name="connsiteY7611" fmla="*/ 971520 h 1729012"/>
                <a:gd name="connsiteX7612" fmla="*/ 1926345 w 2240198"/>
                <a:gd name="connsiteY7612" fmla="*/ 978175 h 1729012"/>
                <a:gd name="connsiteX7613" fmla="*/ 1927018 w 2240198"/>
                <a:gd name="connsiteY7613" fmla="*/ 982449 h 1729012"/>
                <a:gd name="connsiteX7614" fmla="*/ 1926716 w 2240198"/>
                <a:gd name="connsiteY7614" fmla="*/ 984072 h 1729012"/>
                <a:gd name="connsiteX7615" fmla="*/ 1925667 w 2240198"/>
                <a:gd name="connsiteY7615" fmla="*/ 984470 h 1729012"/>
                <a:gd name="connsiteX7616" fmla="*/ 1925391 w 2240198"/>
                <a:gd name="connsiteY7616" fmla="*/ 985245 h 1729012"/>
                <a:gd name="connsiteX7617" fmla="*/ 1925888 w 2240198"/>
                <a:gd name="connsiteY7617" fmla="*/ 986397 h 1729012"/>
                <a:gd name="connsiteX7618" fmla="*/ 1929807 w 2240198"/>
                <a:gd name="connsiteY7618" fmla="*/ 990746 h 1729012"/>
                <a:gd name="connsiteX7619" fmla="*/ 1931699 w 2240198"/>
                <a:gd name="connsiteY7619" fmla="*/ 993360 h 1729012"/>
                <a:gd name="connsiteX7620" fmla="*/ 1933038 w 2240198"/>
                <a:gd name="connsiteY7620" fmla="*/ 996076 h 1729012"/>
                <a:gd name="connsiteX7621" fmla="*/ 1934287 w 2240198"/>
                <a:gd name="connsiteY7621" fmla="*/ 997904 h 1729012"/>
                <a:gd name="connsiteX7622" fmla="*/ 1935447 w 2240198"/>
                <a:gd name="connsiteY7622" fmla="*/ 998851 h 1729012"/>
                <a:gd name="connsiteX7623" fmla="*/ 1935161 w 2240198"/>
                <a:gd name="connsiteY7623" fmla="*/ 999628 h 1729012"/>
                <a:gd name="connsiteX7624" fmla="*/ 1933431 w 2240198"/>
                <a:gd name="connsiteY7624" fmla="*/ 1000234 h 1729012"/>
                <a:gd name="connsiteX7625" fmla="*/ 1930468 w 2240198"/>
                <a:gd name="connsiteY7625" fmla="*/ 1000523 h 1729012"/>
                <a:gd name="connsiteX7626" fmla="*/ 1929085 w 2240198"/>
                <a:gd name="connsiteY7626" fmla="*/ 1000155 h 1729012"/>
                <a:gd name="connsiteX7627" fmla="*/ 1923768 w 2240198"/>
                <a:gd name="connsiteY7627" fmla="*/ 997644 h 1729012"/>
                <a:gd name="connsiteX7628" fmla="*/ 1923011 w 2240198"/>
                <a:gd name="connsiteY7628" fmla="*/ 998428 h 1729012"/>
                <a:gd name="connsiteX7629" fmla="*/ 1925958 w 2240198"/>
                <a:gd name="connsiteY7629" fmla="*/ 1007595 h 1729012"/>
                <a:gd name="connsiteX7630" fmla="*/ 1925867 w 2240198"/>
                <a:gd name="connsiteY7630" fmla="*/ 1009784 h 1729012"/>
                <a:gd name="connsiteX7631" fmla="*/ 1924388 w 2240198"/>
                <a:gd name="connsiteY7631" fmla="*/ 1010561 h 1729012"/>
                <a:gd name="connsiteX7632" fmla="*/ 1922567 w 2240198"/>
                <a:gd name="connsiteY7632" fmla="*/ 1009652 h 1729012"/>
                <a:gd name="connsiteX7633" fmla="*/ 1920399 w 2240198"/>
                <a:gd name="connsiteY7633" fmla="*/ 1007056 h 1729012"/>
                <a:gd name="connsiteX7634" fmla="*/ 1917085 w 2240198"/>
                <a:gd name="connsiteY7634" fmla="*/ 1004160 h 1729012"/>
                <a:gd name="connsiteX7635" fmla="*/ 1912625 w 2240198"/>
                <a:gd name="connsiteY7635" fmla="*/ 1000958 h 1729012"/>
                <a:gd name="connsiteX7636" fmla="*/ 1908365 w 2240198"/>
                <a:gd name="connsiteY7636" fmla="*/ 998453 h 1729012"/>
                <a:gd name="connsiteX7637" fmla="*/ 1907364 w 2240198"/>
                <a:gd name="connsiteY7637" fmla="*/ 998521 h 1729012"/>
                <a:gd name="connsiteX7638" fmla="*/ 1906711 w 2240198"/>
                <a:gd name="connsiteY7638" fmla="*/ 999264 h 1729012"/>
                <a:gd name="connsiteX7639" fmla="*/ 1906000 w 2240198"/>
                <a:gd name="connsiteY7639" fmla="*/ 999384 h 1729012"/>
                <a:gd name="connsiteX7640" fmla="*/ 1905230 w 2240198"/>
                <a:gd name="connsiteY7640" fmla="*/ 998884 h 1729012"/>
                <a:gd name="connsiteX7641" fmla="*/ 1903805 w 2240198"/>
                <a:gd name="connsiteY7641" fmla="*/ 997001 h 1729012"/>
                <a:gd name="connsiteX7642" fmla="*/ 1902319 w 2240198"/>
                <a:gd name="connsiteY7642" fmla="*/ 995723 h 1729012"/>
                <a:gd name="connsiteX7643" fmla="*/ 1896102 w 2240198"/>
                <a:gd name="connsiteY7643" fmla="*/ 991482 h 1729012"/>
                <a:gd name="connsiteX7644" fmla="*/ 1895464 w 2240198"/>
                <a:gd name="connsiteY7644" fmla="*/ 991438 h 1729012"/>
                <a:gd name="connsiteX7645" fmla="*/ 1896051 w 2240198"/>
                <a:gd name="connsiteY7645" fmla="*/ 992711 h 1729012"/>
                <a:gd name="connsiteX7646" fmla="*/ 1896684 w 2240198"/>
                <a:gd name="connsiteY7646" fmla="*/ 995500 h 1729012"/>
                <a:gd name="connsiteX7647" fmla="*/ 1895984 w 2240198"/>
                <a:gd name="connsiteY7647" fmla="*/ 996109 h 1729012"/>
                <a:gd name="connsiteX7648" fmla="*/ 1894359 w 2240198"/>
                <a:gd name="connsiteY7648" fmla="*/ 995881 h 1729012"/>
                <a:gd name="connsiteX7649" fmla="*/ 1891273 w 2240198"/>
                <a:gd name="connsiteY7649" fmla="*/ 994666 h 1729012"/>
                <a:gd name="connsiteX7650" fmla="*/ 1889197 w 2240198"/>
                <a:gd name="connsiteY7650" fmla="*/ 991876 h 1729012"/>
                <a:gd name="connsiteX7651" fmla="*/ 1886557 w 2240198"/>
                <a:gd name="connsiteY7651" fmla="*/ 987026 h 1729012"/>
                <a:gd name="connsiteX7652" fmla="*/ 1885175 w 2240198"/>
                <a:gd name="connsiteY7652" fmla="*/ 985193 h 1729012"/>
                <a:gd name="connsiteX7653" fmla="*/ 1885053 w 2240198"/>
                <a:gd name="connsiteY7653" fmla="*/ 986386 h 1729012"/>
                <a:gd name="connsiteX7654" fmla="*/ 1885786 w 2240198"/>
                <a:gd name="connsiteY7654" fmla="*/ 991008 h 1729012"/>
                <a:gd name="connsiteX7655" fmla="*/ 1885645 w 2240198"/>
                <a:gd name="connsiteY7655" fmla="*/ 992560 h 1729012"/>
                <a:gd name="connsiteX7656" fmla="*/ 1884097 w 2240198"/>
                <a:gd name="connsiteY7656" fmla="*/ 992982 h 1729012"/>
                <a:gd name="connsiteX7657" fmla="*/ 1883444 w 2240198"/>
                <a:gd name="connsiteY7657" fmla="*/ 992558 h 1729012"/>
                <a:gd name="connsiteX7658" fmla="*/ 1882803 w 2240198"/>
                <a:gd name="connsiteY7658" fmla="*/ 991326 h 1729012"/>
                <a:gd name="connsiteX7659" fmla="*/ 1882177 w 2240198"/>
                <a:gd name="connsiteY7659" fmla="*/ 989286 h 1729012"/>
                <a:gd name="connsiteX7660" fmla="*/ 1880701 w 2240198"/>
                <a:gd name="connsiteY7660" fmla="*/ 987735 h 1729012"/>
                <a:gd name="connsiteX7661" fmla="*/ 1878372 w 2240198"/>
                <a:gd name="connsiteY7661" fmla="*/ 986674 h 1729012"/>
                <a:gd name="connsiteX7662" fmla="*/ 1877068 w 2240198"/>
                <a:gd name="connsiteY7662" fmla="*/ 985560 h 1729012"/>
                <a:gd name="connsiteX7663" fmla="*/ 1876422 w 2240198"/>
                <a:gd name="connsiteY7663" fmla="*/ 983580 h 1729012"/>
                <a:gd name="connsiteX7664" fmla="*/ 1875972 w 2240198"/>
                <a:gd name="connsiteY7664" fmla="*/ 983125 h 1729012"/>
                <a:gd name="connsiteX7665" fmla="*/ 1871868 w 2240198"/>
                <a:gd name="connsiteY7665" fmla="*/ 983583 h 1729012"/>
                <a:gd name="connsiteX7666" fmla="*/ 1869809 w 2240198"/>
                <a:gd name="connsiteY7666" fmla="*/ 982156 h 1729012"/>
                <a:gd name="connsiteX7667" fmla="*/ 1863875 w 2240198"/>
                <a:gd name="connsiteY7667" fmla="*/ 976520 h 1729012"/>
                <a:gd name="connsiteX7668" fmla="*/ 1858443 w 2240198"/>
                <a:gd name="connsiteY7668" fmla="*/ 970395 h 1729012"/>
                <a:gd name="connsiteX7669" fmla="*/ 1855020 w 2240198"/>
                <a:gd name="connsiteY7669" fmla="*/ 967151 h 1729012"/>
                <a:gd name="connsiteX7670" fmla="*/ 1853777 w 2240198"/>
                <a:gd name="connsiteY7670" fmla="*/ 966378 h 1729012"/>
                <a:gd name="connsiteX7671" fmla="*/ 1855598 w 2240198"/>
                <a:gd name="connsiteY7671" fmla="*/ 970353 h 1729012"/>
                <a:gd name="connsiteX7672" fmla="*/ 1857599 w 2240198"/>
                <a:gd name="connsiteY7672" fmla="*/ 976205 h 1729012"/>
                <a:gd name="connsiteX7673" fmla="*/ 1858105 w 2240198"/>
                <a:gd name="connsiteY7673" fmla="*/ 978872 h 1729012"/>
                <a:gd name="connsiteX7674" fmla="*/ 1857186 w 2240198"/>
                <a:gd name="connsiteY7674" fmla="*/ 978993 h 1729012"/>
                <a:gd name="connsiteX7675" fmla="*/ 1855181 w 2240198"/>
                <a:gd name="connsiteY7675" fmla="*/ 977811 h 1729012"/>
                <a:gd name="connsiteX7676" fmla="*/ 1844894 w 2240198"/>
                <a:gd name="connsiteY7676" fmla="*/ 970270 h 1729012"/>
                <a:gd name="connsiteX7677" fmla="*/ 1838551 w 2240198"/>
                <a:gd name="connsiteY7677" fmla="*/ 966711 h 1729012"/>
                <a:gd name="connsiteX7678" fmla="*/ 1835024 w 2240198"/>
                <a:gd name="connsiteY7678" fmla="*/ 966081 h 1729012"/>
                <a:gd name="connsiteX7679" fmla="*/ 1829291 w 2240198"/>
                <a:gd name="connsiteY7679" fmla="*/ 965649 h 1729012"/>
                <a:gd name="connsiteX7680" fmla="*/ 1827968 w 2240198"/>
                <a:gd name="connsiteY7680" fmla="*/ 967607 h 1729012"/>
                <a:gd name="connsiteX7681" fmla="*/ 1831057 w 2240198"/>
                <a:gd name="connsiteY7681" fmla="*/ 971956 h 1729012"/>
                <a:gd name="connsiteX7682" fmla="*/ 1834067 w 2240198"/>
                <a:gd name="connsiteY7682" fmla="*/ 975226 h 1729012"/>
                <a:gd name="connsiteX7683" fmla="*/ 1836994 w 2240198"/>
                <a:gd name="connsiteY7683" fmla="*/ 977422 h 1729012"/>
                <a:gd name="connsiteX7684" fmla="*/ 1841588 w 2240198"/>
                <a:gd name="connsiteY7684" fmla="*/ 981697 h 1729012"/>
                <a:gd name="connsiteX7685" fmla="*/ 1845795 w 2240198"/>
                <a:gd name="connsiteY7685" fmla="*/ 987193 h 1729012"/>
                <a:gd name="connsiteX7686" fmla="*/ 1847488 w 2240198"/>
                <a:gd name="connsiteY7686" fmla="*/ 988885 h 1729012"/>
                <a:gd name="connsiteX7687" fmla="*/ 1853217 w 2240198"/>
                <a:gd name="connsiteY7687" fmla="*/ 991223 h 1729012"/>
                <a:gd name="connsiteX7688" fmla="*/ 1856206 w 2240198"/>
                <a:gd name="connsiteY7688" fmla="*/ 991844 h 1729012"/>
                <a:gd name="connsiteX7689" fmla="*/ 1859286 w 2240198"/>
                <a:gd name="connsiteY7689" fmla="*/ 992024 h 1729012"/>
                <a:gd name="connsiteX7690" fmla="*/ 1859567 w 2240198"/>
                <a:gd name="connsiteY7690" fmla="*/ 992857 h 1729012"/>
                <a:gd name="connsiteX7691" fmla="*/ 1858074 w 2240198"/>
                <a:gd name="connsiteY7691" fmla="*/ 994408 h 1729012"/>
                <a:gd name="connsiteX7692" fmla="*/ 1857740 w 2240198"/>
                <a:gd name="connsiteY7692" fmla="*/ 995368 h 1729012"/>
                <a:gd name="connsiteX7693" fmla="*/ 1864554 w 2240198"/>
                <a:gd name="connsiteY7693" fmla="*/ 997807 h 1729012"/>
                <a:gd name="connsiteX7694" fmla="*/ 1867129 w 2240198"/>
                <a:gd name="connsiteY7694" fmla="*/ 999162 h 1729012"/>
                <a:gd name="connsiteX7695" fmla="*/ 1869618 w 2240198"/>
                <a:gd name="connsiteY7695" fmla="*/ 1001408 h 1729012"/>
                <a:gd name="connsiteX7696" fmla="*/ 1871033 w 2240198"/>
                <a:gd name="connsiteY7696" fmla="*/ 1001966 h 1729012"/>
                <a:gd name="connsiteX7697" fmla="*/ 1876945 w 2240198"/>
                <a:gd name="connsiteY7697" fmla="*/ 1007620 h 1729012"/>
                <a:gd name="connsiteX7698" fmla="*/ 1878416 w 2240198"/>
                <a:gd name="connsiteY7698" fmla="*/ 1008520 h 1729012"/>
                <a:gd name="connsiteX7699" fmla="*/ 1883679 w 2240198"/>
                <a:gd name="connsiteY7699" fmla="*/ 1010351 h 1729012"/>
                <a:gd name="connsiteX7700" fmla="*/ 1885431 w 2240198"/>
                <a:gd name="connsiteY7700" fmla="*/ 1011527 h 1729012"/>
                <a:gd name="connsiteX7701" fmla="*/ 1888331 w 2240198"/>
                <a:gd name="connsiteY7701" fmla="*/ 1015163 h 1729012"/>
                <a:gd name="connsiteX7702" fmla="*/ 1890151 w 2240198"/>
                <a:gd name="connsiteY7702" fmla="*/ 1017009 h 1729012"/>
                <a:gd name="connsiteX7703" fmla="*/ 1892724 w 2240198"/>
                <a:gd name="connsiteY7703" fmla="*/ 1021391 h 1729012"/>
                <a:gd name="connsiteX7704" fmla="*/ 1894652 w 2240198"/>
                <a:gd name="connsiteY7704" fmla="*/ 1023326 h 1729012"/>
                <a:gd name="connsiteX7705" fmla="*/ 1899374 w 2240198"/>
                <a:gd name="connsiteY7705" fmla="*/ 1025538 h 1729012"/>
                <a:gd name="connsiteX7706" fmla="*/ 1901386 w 2240198"/>
                <a:gd name="connsiteY7706" fmla="*/ 1026171 h 1729012"/>
                <a:gd name="connsiteX7707" fmla="*/ 1902285 w 2240198"/>
                <a:gd name="connsiteY7707" fmla="*/ 1027012 h 1729012"/>
                <a:gd name="connsiteX7708" fmla="*/ 1901673 w 2240198"/>
                <a:gd name="connsiteY7708" fmla="*/ 1028997 h 1729012"/>
                <a:gd name="connsiteX7709" fmla="*/ 1901100 w 2240198"/>
                <a:gd name="connsiteY7709" fmla="*/ 1029824 h 1729012"/>
                <a:gd name="connsiteX7710" fmla="*/ 1898406 w 2240198"/>
                <a:gd name="connsiteY7710" fmla="*/ 1031188 h 1729012"/>
                <a:gd name="connsiteX7711" fmla="*/ 1898832 w 2240198"/>
                <a:gd name="connsiteY7711" fmla="*/ 1033088 h 1729012"/>
                <a:gd name="connsiteX7712" fmla="*/ 1900352 w 2240198"/>
                <a:gd name="connsiteY7712" fmla="*/ 1036470 h 1729012"/>
                <a:gd name="connsiteX7713" fmla="*/ 1900290 w 2240198"/>
                <a:gd name="connsiteY7713" fmla="*/ 1038565 h 1729012"/>
                <a:gd name="connsiteX7714" fmla="*/ 1898641 w 2240198"/>
                <a:gd name="connsiteY7714" fmla="*/ 1039378 h 1729012"/>
                <a:gd name="connsiteX7715" fmla="*/ 1895274 w 2240198"/>
                <a:gd name="connsiteY7715" fmla="*/ 1040346 h 1729012"/>
                <a:gd name="connsiteX7716" fmla="*/ 1893574 w 2240198"/>
                <a:gd name="connsiteY7716" fmla="*/ 1040268 h 1729012"/>
                <a:gd name="connsiteX7717" fmla="*/ 1891019 w 2240198"/>
                <a:gd name="connsiteY7717" fmla="*/ 1039469 h 1729012"/>
                <a:gd name="connsiteX7718" fmla="*/ 1887804 w 2240198"/>
                <a:gd name="connsiteY7718" fmla="*/ 1038108 h 1729012"/>
                <a:gd name="connsiteX7719" fmla="*/ 1881419 w 2240198"/>
                <a:gd name="connsiteY7719" fmla="*/ 1034705 h 1729012"/>
                <a:gd name="connsiteX7720" fmla="*/ 1871835 w 2240198"/>
                <a:gd name="connsiteY7720" fmla="*/ 1032345 h 1729012"/>
                <a:gd name="connsiteX7721" fmla="*/ 1868261 w 2240198"/>
                <a:gd name="connsiteY7721" fmla="*/ 1031085 h 1729012"/>
                <a:gd name="connsiteX7722" fmla="*/ 1867070 w 2240198"/>
                <a:gd name="connsiteY7722" fmla="*/ 1029946 h 1729012"/>
                <a:gd name="connsiteX7723" fmla="*/ 1865266 w 2240198"/>
                <a:gd name="connsiteY7723" fmla="*/ 1029272 h 1729012"/>
                <a:gd name="connsiteX7724" fmla="*/ 1841469 w 2240198"/>
                <a:gd name="connsiteY7724" fmla="*/ 1025980 h 1729012"/>
                <a:gd name="connsiteX7725" fmla="*/ 1837482 w 2240198"/>
                <a:gd name="connsiteY7725" fmla="*/ 1025176 h 1729012"/>
                <a:gd name="connsiteX7726" fmla="*/ 1835003 w 2240198"/>
                <a:gd name="connsiteY7726" fmla="*/ 1024167 h 1729012"/>
                <a:gd name="connsiteX7727" fmla="*/ 1832703 w 2240198"/>
                <a:gd name="connsiteY7727" fmla="*/ 1022685 h 1729012"/>
                <a:gd name="connsiteX7728" fmla="*/ 1823626 w 2240198"/>
                <a:gd name="connsiteY7728" fmla="*/ 1019293 h 1729012"/>
                <a:gd name="connsiteX7729" fmla="*/ 1822529 w 2240198"/>
                <a:gd name="connsiteY7729" fmla="*/ 1018553 h 1729012"/>
                <a:gd name="connsiteX7730" fmla="*/ 1816433 w 2240198"/>
                <a:gd name="connsiteY7730" fmla="*/ 1012718 h 1729012"/>
                <a:gd name="connsiteX7731" fmla="*/ 1811891 w 2240198"/>
                <a:gd name="connsiteY7731" fmla="*/ 1005888 h 1729012"/>
                <a:gd name="connsiteX7732" fmla="*/ 1810379 w 2240198"/>
                <a:gd name="connsiteY7732" fmla="*/ 1004971 h 1729012"/>
                <a:gd name="connsiteX7733" fmla="*/ 1805440 w 2240198"/>
                <a:gd name="connsiteY7733" fmla="*/ 1004070 h 1729012"/>
                <a:gd name="connsiteX7734" fmla="*/ 1801318 w 2240198"/>
                <a:gd name="connsiteY7734" fmla="*/ 1004636 h 1729012"/>
                <a:gd name="connsiteX7735" fmla="*/ 1798559 w 2240198"/>
                <a:gd name="connsiteY7735" fmla="*/ 1005387 h 1729012"/>
                <a:gd name="connsiteX7736" fmla="*/ 1794370 w 2240198"/>
                <a:gd name="connsiteY7736" fmla="*/ 1005143 h 1729012"/>
                <a:gd name="connsiteX7737" fmla="*/ 1791634 w 2240198"/>
                <a:gd name="connsiteY7737" fmla="*/ 1004028 h 1729012"/>
                <a:gd name="connsiteX7738" fmla="*/ 1785871 w 2240198"/>
                <a:gd name="connsiteY7738" fmla="*/ 1000947 h 1729012"/>
                <a:gd name="connsiteX7739" fmla="*/ 1780036 w 2240198"/>
                <a:gd name="connsiteY7739" fmla="*/ 999306 h 1729012"/>
                <a:gd name="connsiteX7740" fmla="*/ 1774947 w 2240198"/>
                <a:gd name="connsiteY7740" fmla="*/ 996614 h 1729012"/>
                <a:gd name="connsiteX7741" fmla="*/ 1772320 w 2240198"/>
                <a:gd name="connsiteY7741" fmla="*/ 995659 h 1729012"/>
                <a:gd name="connsiteX7742" fmla="*/ 1772562 w 2240198"/>
                <a:gd name="connsiteY7742" fmla="*/ 994966 h 1729012"/>
                <a:gd name="connsiteX7743" fmla="*/ 1776369 w 2240198"/>
                <a:gd name="connsiteY7743" fmla="*/ 990943 h 1729012"/>
                <a:gd name="connsiteX7744" fmla="*/ 1775187 w 2240198"/>
                <a:gd name="connsiteY7744" fmla="*/ 990999 h 1729012"/>
                <a:gd name="connsiteX7745" fmla="*/ 1768568 w 2240198"/>
                <a:gd name="connsiteY7745" fmla="*/ 994056 h 1729012"/>
                <a:gd name="connsiteX7746" fmla="*/ 1766195 w 2240198"/>
                <a:gd name="connsiteY7746" fmla="*/ 993118 h 1729012"/>
                <a:gd name="connsiteX7747" fmla="*/ 1762291 w 2240198"/>
                <a:gd name="connsiteY7747" fmla="*/ 990715 h 1729012"/>
                <a:gd name="connsiteX7748" fmla="*/ 1759353 w 2240198"/>
                <a:gd name="connsiteY7748" fmla="*/ 988291 h 1729012"/>
                <a:gd name="connsiteX7749" fmla="*/ 1753310 w 2240198"/>
                <a:gd name="connsiteY7749" fmla="*/ 981574 h 1729012"/>
                <a:gd name="connsiteX7750" fmla="*/ 1749842 w 2240198"/>
                <a:gd name="connsiteY7750" fmla="*/ 979135 h 1729012"/>
                <a:gd name="connsiteX7751" fmla="*/ 1750328 w 2240198"/>
                <a:gd name="connsiteY7751" fmla="*/ 978586 h 1729012"/>
                <a:gd name="connsiteX7752" fmla="*/ 1754229 w 2240198"/>
                <a:gd name="connsiteY7752" fmla="*/ 978364 h 1729012"/>
                <a:gd name="connsiteX7753" fmla="*/ 1757339 w 2240198"/>
                <a:gd name="connsiteY7753" fmla="*/ 978572 h 1729012"/>
                <a:gd name="connsiteX7754" fmla="*/ 1759426 w 2240198"/>
                <a:gd name="connsiteY7754" fmla="*/ 978017 h 1729012"/>
                <a:gd name="connsiteX7755" fmla="*/ 1763442 w 2240198"/>
                <a:gd name="connsiteY7755" fmla="*/ 975283 h 1729012"/>
                <a:gd name="connsiteX7756" fmla="*/ 1765178 w 2240198"/>
                <a:gd name="connsiteY7756" fmla="*/ 973566 h 1729012"/>
                <a:gd name="connsiteX7757" fmla="*/ 1765344 w 2240198"/>
                <a:gd name="connsiteY7757" fmla="*/ 972550 h 1729012"/>
                <a:gd name="connsiteX7758" fmla="*/ 1761981 w 2240198"/>
                <a:gd name="connsiteY7758" fmla="*/ 972299 h 1729012"/>
                <a:gd name="connsiteX7759" fmla="*/ 1761261 w 2240198"/>
                <a:gd name="connsiteY7759" fmla="*/ 971807 h 1729012"/>
                <a:gd name="connsiteX7760" fmla="*/ 1760659 w 2240198"/>
                <a:gd name="connsiteY7760" fmla="*/ 970684 h 1729012"/>
                <a:gd name="connsiteX7761" fmla="*/ 1759108 w 2240198"/>
                <a:gd name="connsiteY7761" fmla="*/ 969243 h 1729012"/>
                <a:gd name="connsiteX7762" fmla="*/ 1756610 w 2240198"/>
                <a:gd name="connsiteY7762" fmla="*/ 967489 h 1729012"/>
                <a:gd name="connsiteX7763" fmla="*/ 1753764 w 2240198"/>
                <a:gd name="connsiteY7763" fmla="*/ 966732 h 1729012"/>
                <a:gd name="connsiteX7764" fmla="*/ 1743991 w 2240198"/>
                <a:gd name="connsiteY7764" fmla="*/ 967379 h 1729012"/>
                <a:gd name="connsiteX7765" fmla="*/ 1742287 w 2240198"/>
                <a:gd name="connsiteY7765" fmla="*/ 966611 h 1729012"/>
                <a:gd name="connsiteX7766" fmla="*/ 1742323 w 2240198"/>
                <a:gd name="connsiteY7766" fmla="*/ 965442 h 1729012"/>
                <a:gd name="connsiteX7767" fmla="*/ 1744232 w 2240198"/>
                <a:gd name="connsiteY7767" fmla="*/ 962147 h 1729012"/>
                <a:gd name="connsiteX7768" fmla="*/ 1745271 w 2240198"/>
                <a:gd name="connsiteY7768" fmla="*/ 960815 h 1729012"/>
                <a:gd name="connsiteX7769" fmla="*/ 1745604 w 2240198"/>
                <a:gd name="connsiteY7769" fmla="*/ 960080 h 1729012"/>
                <a:gd name="connsiteX7770" fmla="*/ 1745226 w 2240198"/>
                <a:gd name="connsiteY7770" fmla="*/ 959938 h 1729012"/>
                <a:gd name="connsiteX7771" fmla="*/ 1743903 w 2240198"/>
                <a:gd name="connsiteY7771" fmla="*/ 960021 h 1729012"/>
                <a:gd name="connsiteX7772" fmla="*/ 1738235 w 2240198"/>
                <a:gd name="connsiteY7772" fmla="*/ 962977 h 1729012"/>
                <a:gd name="connsiteX7773" fmla="*/ 1737007 w 2240198"/>
                <a:gd name="connsiteY7773" fmla="*/ 962761 h 1729012"/>
                <a:gd name="connsiteX7774" fmla="*/ 1734782 w 2240198"/>
                <a:gd name="connsiteY7774" fmla="*/ 959640 h 1729012"/>
                <a:gd name="connsiteX7775" fmla="*/ 1733435 w 2240198"/>
                <a:gd name="connsiteY7775" fmla="*/ 956071 h 1729012"/>
                <a:gd name="connsiteX7776" fmla="*/ 1732451 w 2240198"/>
                <a:gd name="connsiteY7776" fmla="*/ 954819 h 1729012"/>
                <a:gd name="connsiteX7777" fmla="*/ 1731145 w 2240198"/>
                <a:gd name="connsiteY7777" fmla="*/ 954395 h 1729012"/>
                <a:gd name="connsiteX7778" fmla="*/ 1726490 w 2240198"/>
                <a:gd name="connsiteY7778" fmla="*/ 950881 h 1729012"/>
                <a:gd name="connsiteX7779" fmla="*/ 1719868 w 2240198"/>
                <a:gd name="connsiteY7779" fmla="*/ 944194 h 1729012"/>
                <a:gd name="connsiteX7780" fmla="*/ 1717434 w 2240198"/>
                <a:gd name="connsiteY7780" fmla="*/ 942094 h 1729012"/>
                <a:gd name="connsiteX7781" fmla="*/ 1714727 w 2240198"/>
                <a:gd name="connsiteY7781" fmla="*/ 940217 h 1729012"/>
                <a:gd name="connsiteX7782" fmla="*/ 1712763 w 2240198"/>
                <a:gd name="connsiteY7782" fmla="*/ 939415 h 1729012"/>
                <a:gd name="connsiteX7783" fmla="*/ 1713039 w 2240198"/>
                <a:gd name="connsiteY7783" fmla="*/ 938429 h 1729012"/>
                <a:gd name="connsiteX7784" fmla="*/ 1717235 w 2240198"/>
                <a:gd name="connsiteY7784" fmla="*/ 932846 h 1729012"/>
                <a:gd name="connsiteX7785" fmla="*/ 1717409 w 2240198"/>
                <a:gd name="connsiteY7785" fmla="*/ 931936 h 1729012"/>
                <a:gd name="connsiteX7786" fmla="*/ 1713814 w 2240198"/>
                <a:gd name="connsiteY7786" fmla="*/ 932277 h 1729012"/>
                <a:gd name="connsiteX7787" fmla="*/ 1708391 w 2240198"/>
                <a:gd name="connsiteY7787" fmla="*/ 931118 h 1729012"/>
                <a:gd name="connsiteX7788" fmla="*/ 1705818 w 2240198"/>
                <a:gd name="connsiteY7788" fmla="*/ 932519 h 1729012"/>
                <a:gd name="connsiteX7789" fmla="*/ 1704186 w 2240198"/>
                <a:gd name="connsiteY7789" fmla="*/ 932603 h 1729012"/>
                <a:gd name="connsiteX7790" fmla="*/ 1702282 w 2240198"/>
                <a:gd name="connsiteY7790" fmla="*/ 931821 h 1729012"/>
                <a:gd name="connsiteX7791" fmla="*/ 1701205 w 2240198"/>
                <a:gd name="connsiteY7791" fmla="*/ 932115 h 1729012"/>
                <a:gd name="connsiteX7792" fmla="*/ 1700190 w 2240198"/>
                <a:gd name="connsiteY7792" fmla="*/ 936702 h 1729012"/>
                <a:gd name="connsiteX7793" fmla="*/ 1699411 w 2240198"/>
                <a:gd name="connsiteY7793" fmla="*/ 937848 h 1729012"/>
                <a:gd name="connsiteX7794" fmla="*/ 1698283 w 2240198"/>
                <a:gd name="connsiteY7794" fmla="*/ 938462 h 1729012"/>
                <a:gd name="connsiteX7795" fmla="*/ 1697289 w 2240198"/>
                <a:gd name="connsiteY7795" fmla="*/ 938381 h 1729012"/>
                <a:gd name="connsiteX7796" fmla="*/ 1696429 w 2240198"/>
                <a:gd name="connsiteY7796" fmla="*/ 937605 h 1729012"/>
                <a:gd name="connsiteX7797" fmla="*/ 1696449 w 2240198"/>
                <a:gd name="connsiteY7797" fmla="*/ 936535 h 1729012"/>
                <a:gd name="connsiteX7798" fmla="*/ 1695624 w 2240198"/>
                <a:gd name="connsiteY7798" fmla="*/ 930902 h 1729012"/>
                <a:gd name="connsiteX7799" fmla="*/ 1693732 w 2240198"/>
                <a:gd name="connsiteY7799" fmla="*/ 930071 h 1729012"/>
                <a:gd name="connsiteX7800" fmla="*/ 1688387 w 2240198"/>
                <a:gd name="connsiteY7800" fmla="*/ 929852 h 1729012"/>
                <a:gd name="connsiteX7801" fmla="*/ 1687237 w 2240198"/>
                <a:gd name="connsiteY7801" fmla="*/ 929394 h 1729012"/>
                <a:gd name="connsiteX7802" fmla="*/ 1685937 w 2240198"/>
                <a:gd name="connsiteY7802" fmla="*/ 928351 h 1729012"/>
                <a:gd name="connsiteX7803" fmla="*/ 1684827 w 2240198"/>
                <a:gd name="connsiteY7803" fmla="*/ 926418 h 1729012"/>
                <a:gd name="connsiteX7804" fmla="*/ 1683907 w 2240198"/>
                <a:gd name="connsiteY7804" fmla="*/ 923595 h 1729012"/>
                <a:gd name="connsiteX7805" fmla="*/ 1682849 w 2240198"/>
                <a:gd name="connsiteY7805" fmla="*/ 922046 h 1729012"/>
                <a:gd name="connsiteX7806" fmla="*/ 1681655 w 2240198"/>
                <a:gd name="connsiteY7806" fmla="*/ 921770 h 1729012"/>
                <a:gd name="connsiteX7807" fmla="*/ 1680696 w 2240198"/>
                <a:gd name="connsiteY7807" fmla="*/ 921995 h 1729012"/>
                <a:gd name="connsiteX7808" fmla="*/ 1679971 w 2240198"/>
                <a:gd name="connsiteY7808" fmla="*/ 922727 h 1729012"/>
                <a:gd name="connsiteX7809" fmla="*/ 1678306 w 2240198"/>
                <a:gd name="connsiteY7809" fmla="*/ 923182 h 1729012"/>
                <a:gd name="connsiteX7810" fmla="*/ 1675698 w 2240198"/>
                <a:gd name="connsiteY7810" fmla="*/ 923357 h 1729012"/>
                <a:gd name="connsiteX7811" fmla="*/ 1675618 w 2240198"/>
                <a:gd name="connsiteY7811" fmla="*/ 924443 h 1729012"/>
                <a:gd name="connsiteX7812" fmla="*/ 1678063 w 2240198"/>
                <a:gd name="connsiteY7812" fmla="*/ 926437 h 1729012"/>
                <a:gd name="connsiteX7813" fmla="*/ 1680426 w 2240198"/>
                <a:gd name="connsiteY7813" fmla="*/ 929284 h 1729012"/>
                <a:gd name="connsiteX7814" fmla="*/ 1682703 w 2240198"/>
                <a:gd name="connsiteY7814" fmla="*/ 932975 h 1729012"/>
                <a:gd name="connsiteX7815" fmla="*/ 1681316 w 2240198"/>
                <a:gd name="connsiteY7815" fmla="*/ 935446 h 1729012"/>
                <a:gd name="connsiteX7816" fmla="*/ 1676265 w 2240198"/>
                <a:gd name="connsiteY7816" fmla="*/ 936706 h 1729012"/>
                <a:gd name="connsiteX7817" fmla="*/ 1671867 w 2240198"/>
                <a:gd name="connsiteY7817" fmla="*/ 937075 h 1729012"/>
                <a:gd name="connsiteX7818" fmla="*/ 1668123 w 2240198"/>
                <a:gd name="connsiteY7818" fmla="*/ 936556 h 1729012"/>
                <a:gd name="connsiteX7819" fmla="*/ 1665248 w 2240198"/>
                <a:gd name="connsiteY7819" fmla="*/ 935698 h 1729012"/>
                <a:gd name="connsiteX7820" fmla="*/ 1661207 w 2240198"/>
                <a:gd name="connsiteY7820" fmla="*/ 933643 h 1729012"/>
                <a:gd name="connsiteX7821" fmla="*/ 1655444 w 2240198"/>
                <a:gd name="connsiteY7821" fmla="*/ 934312 h 1729012"/>
                <a:gd name="connsiteX7822" fmla="*/ 1654134 w 2240198"/>
                <a:gd name="connsiteY7822" fmla="*/ 939715 h 1729012"/>
                <a:gd name="connsiteX7823" fmla="*/ 1652904 w 2240198"/>
                <a:gd name="connsiteY7823" fmla="*/ 940010 h 1729012"/>
                <a:gd name="connsiteX7824" fmla="*/ 1647412 w 2240198"/>
                <a:gd name="connsiteY7824" fmla="*/ 939872 h 1729012"/>
                <a:gd name="connsiteX7825" fmla="*/ 1645226 w 2240198"/>
                <a:gd name="connsiteY7825" fmla="*/ 940351 h 1729012"/>
                <a:gd name="connsiteX7826" fmla="*/ 1637904 w 2240198"/>
                <a:gd name="connsiteY7826" fmla="*/ 943328 h 1729012"/>
                <a:gd name="connsiteX7827" fmla="*/ 1635675 w 2240198"/>
                <a:gd name="connsiteY7827" fmla="*/ 943743 h 1729012"/>
                <a:gd name="connsiteX7828" fmla="*/ 1633981 w 2240198"/>
                <a:gd name="connsiteY7828" fmla="*/ 943392 h 1729012"/>
                <a:gd name="connsiteX7829" fmla="*/ 1632333 w 2240198"/>
                <a:gd name="connsiteY7829" fmla="*/ 944111 h 1729012"/>
                <a:gd name="connsiteX7830" fmla="*/ 1629865 w 2240198"/>
                <a:gd name="connsiteY7830" fmla="*/ 945814 h 1729012"/>
                <a:gd name="connsiteX7831" fmla="*/ 1626510 w 2240198"/>
                <a:gd name="connsiteY7831" fmla="*/ 945993 h 1729012"/>
                <a:gd name="connsiteX7832" fmla="*/ 1622266 w 2240198"/>
                <a:gd name="connsiteY7832" fmla="*/ 944643 h 1729012"/>
                <a:gd name="connsiteX7833" fmla="*/ 1618662 w 2240198"/>
                <a:gd name="connsiteY7833" fmla="*/ 944065 h 1729012"/>
                <a:gd name="connsiteX7834" fmla="*/ 1615699 w 2240198"/>
                <a:gd name="connsiteY7834" fmla="*/ 944256 h 1729012"/>
                <a:gd name="connsiteX7835" fmla="*/ 1612647 w 2240198"/>
                <a:gd name="connsiteY7835" fmla="*/ 943461 h 1729012"/>
                <a:gd name="connsiteX7836" fmla="*/ 1609506 w 2240198"/>
                <a:gd name="connsiteY7836" fmla="*/ 941677 h 1729012"/>
                <a:gd name="connsiteX7837" fmla="*/ 1606945 w 2240198"/>
                <a:gd name="connsiteY7837" fmla="*/ 940874 h 1729012"/>
                <a:gd name="connsiteX7838" fmla="*/ 1603579 w 2240198"/>
                <a:gd name="connsiteY7838" fmla="*/ 941009 h 1729012"/>
                <a:gd name="connsiteX7839" fmla="*/ 1602802 w 2240198"/>
                <a:gd name="connsiteY7839" fmla="*/ 940726 h 1729012"/>
                <a:gd name="connsiteX7840" fmla="*/ 1597890 w 2240198"/>
                <a:gd name="connsiteY7840" fmla="*/ 936896 h 1729012"/>
                <a:gd name="connsiteX7841" fmla="*/ 1596360 w 2240198"/>
                <a:gd name="connsiteY7841" fmla="*/ 935337 h 1729012"/>
                <a:gd name="connsiteX7842" fmla="*/ 1593080 w 2240198"/>
                <a:gd name="connsiteY7842" fmla="*/ 930496 h 1729012"/>
                <a:gd name="connsiteX7843" fmla="*/ 1592497 w 2240198"/>
                <a:gd name="connsiteY7843" fmla="*/ 928576 h 1729012"/>
                <a:gd name="connsiteX7844" fmla="*/ 1592412 w 2240198"/>
                <a:gd name="connsiteY7844" fmla="*/ 926524 h 1729012"/>
                <a:gd name="connsiteX7845" fmla="*/ 1592697 w 2240198"/>
                <a:gd name="connsiteY7845" fmla="*/ 925006 h 1729012"/>
                <a:gd name="connsiteX7846" fmla="*/ 1593839 w 2240198"/>
                <a:gd name="connsiteY7846" fmla="*/ 922711 h 1729012"/>
                <a:gd name="connsiteX7847" fmla="*/ 1595082 w 2240198"/>
                <a:gd name="connsiteY7847" fmla="*/ 917306 h 1729012"/>
                <a:gd name="connsiteX7848" fmla="*/ 1596105 w 2240198"/>
                <a:gd name="connsiteY7848" fmla="*/ 915510 h 1729012"/>
                <a:gd name="connsiteX7849" fmla="*/ 1597644 w 2240198"/>
                <a:gd name="connsiteY7849" fmla="*/ 913874 h 1729012"/>
                <a:gd name="connsiteX7850" fmla="*/ 1600646 w 2240198"/>
                <a:gd name="connsiteY7850" fmla="*/ 911799 h 1729012"/>
                <a:gd name="connsiteX7851" fmla="*/ 1611517 w 2240198"/>
                <a:gd name="connsiteY7851" fmla="*/ 908142 h 1729012"/>
                <a:gd name="connsiteX7852" fmla="*/ 1613713 w 2240198"/>
                <a:gd name="connsiteY7852" fmla="*/ 906697 h 1729012"/>
                <a:gd name="connsiteX7853" fmla="*/ 1613637 w 2240198"/>
                <a:gd name="connsiteY7853" fmla="*/ 905736 h 1729012"/>
                <a:gd name="connsiteX7854" fmla="*/ 1611161 w 2240198"/>
                <a:gd name="connsiteY7854" fmla="*/ 901250 h 1729012"/>
                <a:gd name="connsiteX7855" fmla="*/ 1611189 w 2240198"/>
                <a:gd name="connsiteY7855" fmla="*/ 900100 h 1729012"/>
                <a:gd name="connsiteX7856" fmla="*/ 1612019 w 2240198"/>
                <a:gd name="connsiteY7856" fmla="*/ 899429 h 1729012"/>
                <a:gd name="connsiteX7857" fmla="*/ 1613785 w 2240198"/>
                <a:gd name="connsiteY7857" fmla="*/ 896801 h 1729012"/>
                <a:gd name="connsiteX7858" fmla="*/ 1614578 w 2240198"/>
                <a:gd name="connsiteY7858" fmla="*/ 896067 h 1729012"/>
                <a:gd name="connsiteX7859" fmla="*/ 1616495 w 2240198"/>
                <a:gd name="connsiteY7859" fmla="*/ 895662 h 1729012"/>
                <a:gd name="connsiteX7860" fmla="*/ 1620476 w 2240198"/>
                <a:gd name="connsiteY7860" fmla="*/ 896991 h 1729012"/>
                <a:gd name="connsiteX7861" fmla="*/ 1623913 w 2240198"/>
                <a:gd name="connsiteY7861" fmla="*/ 897524 h 1729012"/>
                <a:gd name="connsiteX7862" fmla="*/ 1628469 w 2240198"/>
                <a:gd name="connsiteY7862" fmla="*/ 897698 h 1729012"/>
                <a:gd name="connsiteX7863" fmla="*/ 1636005 w 2240198"/>
                <a:gd name="connsiteY7863" fmla="*/ 899528 h 1729012"/>
                <a:gd name="connsiteX7864" fmla="*/ 1646520 w 2240198"/>
                <a:gd name="connsiteY7864" fmla="*/ 903020 h 1729012"/>
                <a:gd name="connsiteX7865" fmla="*/ 1652573 w 2240198"/>
                <a:gd name="connsiteY7865" fmla="*/ 905436 h 1729012"/>
                <a:gd name="connsiteX7866" fmla="*/ 1657141 w 2240198"/>
                <a:gd name="connsiteY7866" fmla="*/ 908999 h 1729012"/>
                <a:gd name="connsiteX7867" fmla="*/ 1660392 w 2240198"/>
                <a:gd name="connsiteY7867" fmla="*/ 912498 h 1729012"/>
                <a:gd name="connsiteX7868" fmla="*/ 1660858 w 2240198"/>
                <a:gd name="connsiteY7868" fmla="*/ 914267 h 1729012"/>
                <a:gd name="connsiteX7869" fmla="*/ 1659352 w 2240198"/>
                <a:gd name="connsiteY7869" fmla="*/ 916987 h 1729012"/>
                <a:gd name="connsiteX7870" fmla="*/ 1658593 w 2240198"/>
                <a:gd name="connsiteY7870" fmla="*/ 917782 h 1729012"/>
                <a:gd name="connsiteX7871" fmla="*/ 1658638 w 2240198"/>
                <a:gd name="connsiteY7871" fmla="*/ 918714 h 1729012"/>
                <a:gd name="connsiteX7872" fmla="*/ 1659484 w 2240198"/>
                <a:gd name="connsiteY7872" fmla="*/ 919775 h 1729012"/>
                <a:gd name="connsiteX7873" fmla="*/ 1662112 w 2240198"/>
                <a:gd name="connsiteY7873" fmla="*/ 921320 h 1729012"/>
                <a:gd name="connsiteX7874" fmla="*/ 1662745 w 2240198"/>
                <a:gd name="connsiteY7874" fmla="*/ 920734 h 1729012"/>
                <a:gd name="connsiteX7875" fmla="*/ 1662541 w 2240198"/>
                <a:gd name="connsiteY7875" fmla="*/ 918889 h 1729012"/>
                <a:gd name="connsiteX7876" fmla="*/ 1663086 w 2240198"/>
                <a:gd name="connsiteY7876" fmla="*/ 917336 h 1729012"/>
                <a:gd name="connsiteX7877" fmla="*/ 1664377 w 2240198"/>
                <a:gd name="connsiteY7877" fmla="*/ 916081 h 1729012"/>
                <a:gd name="connsiteX7878" fmla="*/ 1664520 w 2240198"/>
                <a:gd name="connsiteY7878" fmla="*/ 914445 h 1729012"/>
                <a:gd name="connsiteX7879" fmla="*/ 1663517 w 2240198"/>
                <a:gd name="connsiteY7879" fmla="*/ 912433 h 1729012"/>
                <a:gd name="connsiteX7880" fmla="*/ 1662272 w 2240198"/>
                <a:gd name="connsiteY7880" fmla="*/ 910696 h 1729012"/>
                <a:gd name="connsiteX7881" fmla="*/ 1660778 w 2240198"/>
                <a:gd name="connsiteY7881" fmla="*/ 909232 h 1729012"/>
                <a:gd name="connsiteX7882" fmla="*/ 1653976 w 2240198"/>
                <a:gd name="connsiteY7882" fmla="*/ 904195 h 1729012"/>
                <a:gd name="connsiteX7883" fmla="*/ 1653324 w 2240198"/>
                <a:gd name="connsiteY7883" fmla="*/ 902520 h 1729012"/>
                <a:gd name="connsiteX7884" fmla="*/ 1655608 w 2240198"/>
                <a:gd name="connsiteY7884" fmla="*/ 901766 h 1729012"/>
                <a:gd name="connsiteX7885" fmla="*/ 1665547 w 2240198"/>
                <a:gd name="connsiteY7885" fmla="*/ 903460 h 1729012"/>
                <a:gd name="connsiteX7886" fmla="*/ 1669358 w 2240198"/>
                <a:gd name="connsiteY7886" fmla="*/ 903081 h 1729012"/>
                <a:gd name="connsiteX7887" fmla="*/ 1670804 w 2240198"/>
                <a:gd name="connsiteY7887" fmla="*/ 901115 h 1729012"/>
                <a:gd name="connsiteX7888" fmla="*/ 1672365 w 2240198"/>
                <a:gd name="connsiteY7888" fmla="*/ 899766 h 1729012"/>
                <a:gd name="connsiteX7889" fmla="*/ 1674039 w 2240198"/>
                <a:gd name="connsiteY7889" fmla="*/ 899042 h 1729012"/>
                <a:gd name="connsiteX7890" fmla="*/ 1677383 w 2240198"/>
                <a:gd name="connsiteY7890" fmla="*/ 898726 h 1729012"/>
                <a:gd name="connsiteX7891" fmla="*/ 1682058 w 2240198"/>
                <a:gd name="connsiteY7891" fmla="*/ 899644 h 1729012"/>
                <a:gd name="connsiteX7892" fmla="*/ 1684354 w 2240198"/>
                <a:gd name="connsiteY7892" fmla="*/ 899779 h 1729012"/>
                <a:gd name="connsiteX7893" fmla="*/ 1686386 w 2240198"/>
                <a:gd name="connsiteY7893" fmla="*/ 899446 h 1729012"/>
                <a:gd name="connsiteX7894" fmla="*/ 1689024 w 2240198"/>
                <a:gd name="connsiteY7894" fmla="*/ 898373 h 1729012"/>
                <a:gd name="connsiteX7895" fmla="*/ 1692926 w 2240198"/>
                <a:gd name="connsiteY7895" fmla="*/ 894790 h 1729012"/>
                <a:gd name="connsiteX7896" fmla="*/ 1695421 w 2240198"/>
                <a:gd name="connsiteY7896" fmla="*/ 893976 h 1729012"/>
                <a:gd name="connsiteX7897" fmla="*/ 1699196 w 2240198"/>
                <a:gd name="connsiteY7897" fmla="*/ 893413 h 1729012"/>
                <a:gd name="connsiteX7898" fmla="*/ 1702027 w 2240198"/>
                <a:gd name="connsiteY7898" fmla="*/ 893337 h 1729012"/>
                <a:gd name="connsiteX7899" fmla="*/ 1707163 w 2240198"/>
                <a:gd name="connsiteY7899" fmla="*/ 894771 h 1729012"/>
                <a:gd name="connsiteX7900" fmla="*/ 1710322 w 2240198"/>
                <a:gd name="connsiteY7900" fmla="*/ 894733 h 1729012"/>
                <a:gd name="connsiteX7901" fmla="*/ 1710070 w 2240198"/>
                <a:gd name="connsiteY7901" fmla="*/ 892336 h 1729012"/>
                <a:gd name="connsiteX7902" fmla="*/ 1707974 w 2240198"/>
                <a:gd name="connsiteY7902" fmla="*/ 887744 h 1729012"/>
                <a:gd name="connsiteX7903" fmla="*/ 1705370 w 2240198"/>
                <a:gd name="connsiteY7903" fmla="*/ 883009 h 1729012"/>
                <a:gd name="connsiteX7904" fmla="*/ 1703342 w 2240198"/>
                <a:gd name="connsiteY7904" fmla="*/ 881403 h 1729012"/>
                <a:gd name="connsiteX7905" fmla="*/ 1698093 w 2240198"/>
                <a:gd name="connsiteY7905" fmla="*/ 878397 h 1729012"/>
                <a:gd name="connsiteX7906" fmla="*/ 1691929 w 2240198"/>
                <a:gd name="connsiteY7906" fmla="*/ 872712 h 1729012"/>
                <a:gd name="connsiteX7907" fmla="*/ 1688762 w 2240198"/>
                <a:gd name="connsiteY7907" fmla="*/ 869175 h 1729012"/>
                <a:gd name="connsiteX7908" fmla="*/ 1687928 w 2240198"/>
                <a:gd name="connsiteY7908" fmla="*/ 867408 h 1729012"/>
                <a:gd name="connsiteX7909" fmla="*/ 1688373 w 2240198"/>
                <a:gd name="connsiteY7909" fmla="*/ 866228 h 1729012"/>
                <a:gd name="connsiteX7910" fmla="*/ 1689426 w 2240198"/>
                <a:gd name="connsiteY7910" fmla="*/ 864500 h 1729012"/>
                <a:gd name="connsiteX7911" fmla="*/ 1700613 w 2240198"/>
                <a:gd name="connsiteY7911" fmla="*/ 858179 h 1729012"/>
                <a:gd name="connsiteX7912" fmla="*/ 1709474 w 2240198"/>
                <a:gd name="connsiteY7912" fmla="*/ 851886 h 1729012"/>
                <a:gd name="connsiteX7913" fmla="*/ 1713361 w 2240198"/>
                <a:gd name="connsiteY7913" fmla="*/ 848657 h 1729012"/>
                <a:gd name="connsiteX7914" fmla="*/ 1715227 w 2240198"/>
                <a:gd name="connsiteY7914" fmla="*/ 846404 h 1729012"/>
                <a:gd name="connsiteX7915" fmla="*/ 1717168 w 2240198"/>
                <a:gd name="connsiteY7915" fmla="*/ 844762 h 1729012"/>
                <a:gd name="connsiteX7916" fmla="*/ 1719189 w 2240198"/>
                <a:gd name="connsiteY7916" fmla="*/ 843733 h 1729012"/>
                <a:gd name="connsiteX7917" fmla="*/ 1723446 w 2240198"/>
                <a:gd name="connsiteY7917" fmla="*/ 842500 h 1729012"/>
                <a:gd name="connsiteX7918" fmla="*/ 1724660 w 2240198"/>
                <a:gd name="connsiteY7918" fmla="*/ 840918 h 1729012"/>
                <a:gd name="connsiteX7919" fmla="*/ 1724926 w 2240198"/>
                <a:gd name="connsiteY7919" fmla="*/ 838231 h 1729012"/>
                <a:gd name="connsiteX7920" fmla="*/ 1725638 w 2240198"/>
                <a:gd name="connsiteY7920" fmla="*/ 835897 h 1729012"/>
                <a:gd name="connsiteX7921" fmla="*/ 1729644 w 2240198"/>
                <a:gd name="connsiteY7921" fmla="*/ 829607 h 1729012"/>
                <a:gd name="connsiteX7922" fmla="*/ 1732713 w 2240198"/>
                <a:gd name="connsiteY7922" fmla="*/ 827903 h 1729012"/>
                <a:gd name="connsiteX7923" fmla="*/ 1737343 w 2240198"/>
                <a:gd name="connsiteY7923" fmla="*/ 826719 h 1729012"/>
                <a:gd name="connsiteX7924" fmla="*/ 1740391 w 2240198"/>
                <a:gd name="connsiteY7924" fmla="*/ 825208 h 1729012"/>
                <a:gd name="connsiteX7925" fmla="*/ 1744066 w 2240198"/>
                <a:gd name="connsiteY7925" fmla="*/ 820023 h 1729012"/>
                <a:gd name="connsiteX7926" fmla="*/ 1743708 w 2240198"/>
                <a:gd name="connsiteY7926" fmla="*/ 818729 h 1729012"/>
                <a:gd name="connsiteX7927" fmla="*/ 1742011 w 2240198"/>
                <a:gd name="connsiteY7927" fmla="*/ 817747 h 1729012"/>
                <a:gd name="connsiteX7928" fmla="*/ 1740697 w 2240198"/>
                <a:gd name="connsiteY7928" fmla="*/ 816259 h 1729012"/>
                <a:gd name="connsiteX7929" fmla="*/ 1735027 w 2240198"/>
                <a:gd name="connsiteY7929" fmla="*/ 802594 h 1729012"/>
                <a:gd name="connsiteX7930" fmla="*/ 1731254 w 2240198"/>
                <a:gd name="connsiteY7930" fmla="*/ 795965 h 1729012"/>
                <a:gd name="connsiteX7931" fmla="*/ 1726724 w 2240198"/>
                <a:gd name="connsiteY7931" fmla="*/ 790179 h 1729012"/>
                <a:gd name="connsiteX7932" fmla="*/ 1722680 w 2240198"/>
                <a:gd name="connsiteY7932" fmla="*/ 783109 h 1729012"/>
                <a:gd name="connsiteX7933" fmla="*/ 1715965 w 2240198"/>
                <a:gd name="connsiteY7933" fmla="*/ 776125 h 1729012"/>
                <a:gd name="connsiteX7934" fmla="*/ 1715884 w 2240198"/>
                <a:gd name="connsiteY7934" fmla="*/ 774275 h 1729012"/>
                <a:gd name="connsiteX7935" fmla="*/ 1717075 w 2240198"/>
                <a:gd name="connsiteY7935" fmla="*/ 772171 h 1729012"/>
                <a:gd name="connsiteX7936" fmla="*/ 1716507 w 2240198"/>
                <a:gd name="connsiteY7936" fmla="*/ 771695 h 1729012"/>
                <a:gd name="connsiteX7937" fmla="*/ 1709577 w 2240198"/>
                <a:gd name="connsiteY7937" fmla="*/ 774767 h 1729012"/>
                <a:gd name="connsiteX7938" fmla="*/ 1707946 w 2240198"/>
                <a:gd name="connsiteY7938" fmla="*/ 774908 h 1729012"/>
                <a:gd name="connsiteX7939" fmla="*/ 1705285 w 2240198"/>
                <a:gd name="connsiteY7939" fmla="*/ 773573 h 1729012"/>
                <a:gd name="connsiteX7940" fmla="*/ 1703483 w 2240198"/>
                <a:gd name="connsiteY7940" fmla="*/ 771909 h 1729012"/>
                <a:gd name="connsiteX7941" fmla="*/ 1701992 w 2240198"/>
                <a:gd name="connsiteY7941" fmla="*/ 768992 h 1729012"/>
                <a:gd name="connsiteX7942" fmla="*/ 1702144 w 2240198"/>
                <a:gd name="connsiteY7942" fmla="*/ 767465 h 1729012"/>
                <a:gd name="connsiteX7943" fmla="*/ 1703130 w 2240198"/>
                <a:gd name="connsiteY7943" fmla="*/ 766018 h 1729012"/>
                <a:gd name="connsiteX7944" fmla="*/ 1704447 w 2240198"/>
                <a:gd name="connsiteY7944" fmla="*/ 762454 h 1729012"/>
                <a:gd name="connsiteX7945" fmla="*/ 1704495 w 2240198"/>
                <a:gd name="connsiteY7945" fmla="*/ 760635 h 1729012"/>
                <a:gd name="connsiteX7946" fmla="*/ 1704043 w 2240198"/>
                <a:gd name="connsiteY7946" fmla="*/ 758899 h 1729012"/>
                <a:gd name="connsiteX7947" fmla="*/ 1703442 w 2240198"/>
                <a:gd name="connsiteY7947" fmla="*/ 757692 h 1729012"/>
                <a:gd name="connsiteX7948" fmla="*/ 1702696 w 2240198"/>
                <a:gd name="connsiteY7948" fmla="*/ 757012 h 1729012"/>
                <a:gd name="connsiteX7949" fmla="*/ 1700577 w 2240198"/>
                <a:gd name="connsiteY7949" fmla="*/ 756588 h 1729012"/>
                <a:gd name="connsiteX7950" fmla="*/ 1697081 w 2240198"/>
                <a:gd name="connsiteY7950" fmla="*/ 756413 h 1729012"/>
                <a:gd name="connsiteX7951" fmla="*/ 1695940 w 2240198"/>
                <a:gd name="connsiteY7951" fmla="*/ 757032 h 1729012"/>
                <a:gd name="connsiteX7952" fmla="*/ 1699792 w 2240198"/>
                <a:gd name="connsiteY7952" fmla="*/ 762421 h 1729012"/>
                <a:gd name="connsiteX7953" fmla="*/ 1699204 w 2240198"/>
                <a:gd name="connsiteY7953" fmla="*/ 763748 h 1729012"/>
                <a:gd name="connsiteX7954" fmla="*/ 1694296 w 2240198"/>
                <a:gd name="connsiteY7954" fmla="*/ 764328 h 1729012"/>
                <a:gd name="connsiteX7955" fmla="*/ 1692083 w 2240198"/>
                <a:gd name="connsiteY7955" fmla="*/ 764075 h 1729012"/>
                <a:gd name="connsiteX7956" fmla="*/ 1690058 w 2240198"/>
                <a:gd name="connsiteY7956" fmla="*/ 763421 h 1729012"/>
                <a:gd name="connsiteX7957" fmla="*/ 1688221 w 2240198"/>
                <a:gd name="connsiteY7957" fmla="*/ 762370 h 1729012"/>
                <a:gd name="connsiteX7958" fmla="*/ 1682502 w 2240198"/>
                <a:gd name="connsiteY7958" fmla="*/ 756741 h 1729012"/>
                <a:gd name="connsiteX7959" fmla="*/ 1681289 w 2240198"/>
                <a:gd name="connsiteY7959" fmla="*/ 754618 h 1729012"/>
                <a:gd name="connsiteX7960" fmla="*/ 1681676 w 2240198"/>
                <a:gd name="connsiteY7960" fmla="*/ 753083 h 1729012"/>
                <a:gd name="connsiteX7961" fmla="*/ 1681183 w 2240198"/>
                <a:gd name="connsiteY7961" fmla="*/ 752283 h 1729012"/>
                <a:gd name="connsiteX7962" fmla="*/ 1680016 w 2240198"/>
                <a:gd name="connsiteY7962" fmla="*/ 752797 h 1729012"/>
                <a:gd name="connsiteX7963" fmla="*/ 1678435 w 2240198"/>
                <a:gd name="connsiteY7963" fmla="*/ 752834 h 1729012"/>
                <a:gd name="connsiteX7964" fmla="*/ 1676289 w 2240198"/>
                <a:gd name="connsiteY7964" fmla="*/ 752291 h 1729012"/>
                <a:gd name="connsiteX7965" fmla="*/ 1675848 w 2240198"/>
                <a:gd name="connsiteY7965" fmla="*/ 751629 h 1729012"/>
                <a:gd name="connsiteX7966" fmla="*/ 1679854 w 2240198"/>
                <a:gd name="connsiteY7966" fmla="*/ 748574 h 1729012"/>
                <a:gd name="connsiteX7967" fmla="*/ 1680086 w 2240198"/>
                <a:gd name="connsiteY7967" fmla="*/ 747630 h 1729012"/>
                <a:gd name="connsiteX7968" fmla="*/ 1678238 w 2240198"/>
                <a:gd name="connsiteY7968" fmla="*/ 746620 h 1729012"/>
                <a:gd name="connsiteX7969" fmla="*/ 1675475 w 2240198"/>
                <a:gd name="connsiteY7969" fmla="*/ 746417 h 1729012"/>
                <a:gd name="connsiteX7970" fmla="*/ 1674742 w 2240198"/>
                <a:gd name="connsiteY7970" fmla="*/ 745513 h 1729012"/>
                <a:gd name="connsiteX7971" fmla="*/ 1675673 w 2240198"/>
                <a:gd name="connsiteY7971" fmla="*/ 744545 h 1729012"/>
                <a:gd name="connsiteX7972" fmla="*/ 1679424 w 2240198"/>
                <a:gd name="connsiteY7972" fmla="*/ 742866 h 1729012"/>
                <a:gd name="connsiteX7973" fmla="*/ 1680759 w 2240198"/>
                <a:gd name="connsiteY7973" fmla="*/ 741761 h 1729012"/>
                <a:gd name="connsiteX7974" fmla="*/ 1678508 w 2240198"/>
                <a:gd name="connsiteY7974" fmla="*/ 740927 h 1729012"/>
                <a:gd name="connsiteX7975" fmla="*/ 1677255 w 2240198"/>
                <a:gd name="connsiteY7975" fmla="*/ 740859 h 1729012"/>
                <a:gd name="connsiteX7976" fmla="*/ 1674731 w 2240198"/>
                <a:gd name="connsiteY7976" fmla="*/ 742691 h 1729012"/>
                <a:gd name="connsiteX7977" fmla="*/ 1670933 w 2240198"/>
                <a:gd name="connsiteY7977" fmla="*/ 746422 h 1729012"/>
                <a:gd name="connsiteX7978" fmla="*/ 1668168 w 2240198"/>
                <a:gd name="connsiteY7978" fmla="*/ 747806 h 1729012"/>
                <a:gd name="connsiteX7979" fmla="*/ 1664378 w 2240198"/>
                <a:gd name="connsiteY7979" fmla="*/ 746081 h 1729012"/>
                <a:gd name="connsiteX7980" fmla="*/ 1661988 w 2240198"/>
                <a:gd name="connsiteY7980" fmla="*/ 745504 h 1729012"/>
                <a:gd name="connsiteX7981" fmla="*/ 1660323 w 2240198"/>
                <a:gd name="connsiteY7981" fmla="*/ 745883 h 1729012"/>
                <a:gd name="connsiteX7982" fmla="*/ 1657778 w 2240198"/>
                <a:gd name="connsiteY7982" fmla="*/ 748766 h 1729012"/>
                <a:gd name="connsiteX7983" fmla="*/ 1652219 w 2240198"/>
                <a:gd name="connsiteY7983" fmla="*/ 750873 h 1729012"/>
                <a:gd name="connsiteX7984" fmla="*/ 1642268 w 2240198"/>
                <a:gd name="connsiteY7984" fmla="*/ 755835 h 1729012"/>
                <a:gd name="connsiteX7985" fmla="*/ 1637990 w 2240198"/>
                <a:gd name="connsiteY7985" fmla="*/ 757411 h 1729012"/>
                <a:gd name="connsiteX7986" fmla="*/ 1633385 w 2240198"/>
                <a:gd name="connsiteY7986" fmla="*/ 757129 h 1729012"/>
                <a:gd name="connsiteX7987" fmla="*/ 1632513 w 2240198"/>
                <a:gd name="connsiteY7987" fmla="*/ 756128 h 1729012"/>
                <a:gd name="connsiteX7988" fmla="*/ 1632593 w 2240198"/>
                <a:gd name="connsiteY7988" fmla="*/ 754428 h 1729012"/>
                <a:gd name="connsiteX7989" fmla="*/ 1632912 w 2240198"/>
                <a:gd name="connsiteY7989" fmla="*/ 753026 h 1729012"/>
                <a:gd name="connsiteX7990" fmla="*/ 1633468 w 2240198"/>
                <a:gd name="connsiteY7990" fmla="*/ 751930 h 1729012"/>
                <a:gd name="connsiteX7991" fmla="*/ 1633651 w 2240198"/>
                <a:gd name="connsiteY7991" fmla="*/ 750586 h 1729012"/>
                <a:gd name="connsiteX7992" fmla="*/ 1633318 w 2240198"/>
                <a:gd name="connsiteY7992" fmla="*/ 744919 h 1729012"/>
                <a:gd name="connsiteX7993" fmla="*/ 1634090 w 2240198"/>
                <a:gd name="connsiteY7993" fmla="*/ 743363 h 1729012"/>
                <a:gd name="connsiteX7994" fmla="*/ 1635664 w 2240198"/>
                <a:gd name="connsiteY7994" fmla="*/ 742432 h 1729012"/>
                <a:gd name="connsiteX7995" fmla="*/ 1638561 w 2240198"/>
                <a:gd name="connsiteY7995" fmla="*/ 741453 h 1729012"/>
                <a:gd name="connsiteX7996" fmla="*/ 1645957 w 2240198"/>
                <a:gd name="connsiteY7996" fmla="*/ 742621 h 1729012"/>
                <a:gd name="connsiteX7997" fmla="*/ 1649393 w 2240198"/>
                <a:gd name="connsiteY7997" fmla="*/ 742416 h 1729012"/>
                <a:gd name="connsiteX7998" fmla="*/ 1651804 w 2240198"/>
                <a:gd name="connsiteY7998" fmla="*/ 741104 h 1729012"/>
                <a:gd name="connsiteX7999" fmla="*/ 1654219 w 2240198"/>
                <a:gd name="connsiteY7999" fmla="*/ 739206 h 1729012"/>
                <a:gd name="connsiteX8000" fmla="*/ 1656638 w 2240198"/>
                <a:gd name="connsiteY8000" fmla="*/ 736715 h 1729012"/>
                <a:gd name="connsiteX8001" fmla="*/ 1657151 w 2240198"/>
                <a:gd name="connsiteY8001" fmla="*/ 734321 h 1729012"/>
                <a:gd name="connsiteX8002" fmla="*/ 1654582 w 2240198"/>
                <a:gd name="connsiteY8002" fmla="*/ 730435 h 1729012"/>
                <a:gd name="connsiteX8003" fmla="*/ 1653616 w 2240198"/>
                <a:gd name="connsiteY8003" fmla="*/ 729582 h 1729012"/>
                <a:gd name="connsiteX8004" fmla="*/ 1647041 w 2240198"/>
                <a:gd name="connsiteY8004" fmla="*/ 726551 h 1729012"/>
                <a:gd name="connsiteX8005" fmla="*/ 1643407 w 2240198"/>
                <a:gd name="connsiteY8005" fmla="*/ 725449 h 1729012"/>
                <a:gd name="connsiteX8006" fmla="*/ 1640201 w 2240198"/>
                <a:gd name="connsiteY8006" fmla="*/ 724972 h 1729012"/>
                <a:gd name="connsiteX8007" fmla="*/ 1637875 w 2240198"/>
                <a:gd name="connsiteY8007" fmla="*/ 724098 h 1729012"/>
                <a:gd name="connsiteX8008" fmla="*/ 1636430 w 2240198"/>
                <a:gd name="connsiteY8008" fmla="*/ 722829 h 1729012"/>
                <a:gd name="connsiteX8009" fmla="*/ 1635024 w 2240198"/>
                <a:gd name="connsiteY8009" fmla="*/ 720712 h 1729012"/>
                <a:gd name="connsiteX8010" fmla="*/ 1634909 w 2240198"/>
                <a:gd name="connsiteY8010" fmla="*/ 719272 h 1729012"/>
                <a:gd name="connsiteX8011" fmla="*/ 1635132 w 2240198"/>
                <a:gd name="connsiteY8011" fmla="*/ 717373 h 1729012"/>
                <a:gd name="connsiteX8012" fmla="*/ 1636473 w 2240198"/>
                <a:gd name="connsiteY8012" fmla="*/ 716066 h 1729012"/>
                <a:gd name="connsiteX8013" fmla="*/ 1642360 w 2240198"/>
                <a:gd name="connsiteY8013" fmla="*/ 714559 h 1729012"/>
                <a:gd name="connsiteX8014" fmla="*/ 1642283 w 2240198"/>
                <a:gd name="connsiteY8014" fmla="*/ 714170 h 1729012"/>
                <a:gd name="connsiteX8015" fmla="*/ 1637473 w 2240198"/>
                <a:gd name="connsiteY8015" fmla="*/ 713056 h 1729012"/>
                <a:gd name="connsiteX8016" fmla="*/ 1635204 w 2240198"/>
                <a:gd name="connsiteY8016" fmla="*/ 713186 h 1729012"/>
                <a:gd name="connsiteX8017" fmla="*/ 1633258 w 2240198"/>
                <a:gd name="connsiteY8017" fmla="*/ 714434 h 1729012"/>
                <a:gd name="connsiteX8018" fmla="*/ 1630811 w 2240198"/>
                <a:gd name="connsiteY8018" fmla="*/ 717358 h 1729012"/>
                <a:gd name="connsiteX8019" fmla="*/ 1629396 w 2240198"/>
                <a:gd name="connsiteY8019" fmla="*/ 718183 h 1729012"/>
                <a:gd name="connsiteX8020" fmla="*/ 1625003 w 2240198"/>
                <a:gd name="connsiteY8020" fmla="*/ 716462 h 1729012"/>
                <a:gd name="connsiteX8021" fmla="*/ 1622365 w 2240198"/>
                <a:gd name="connsiteY8021" fmla="*/ 716206 h 1729012"/>
                <a:gd name="connsiteX8022" fmla="*/ 1620583 w 2240198"/>
                <a:gd name="connsiteY8022" fmla="*/ 715385 h 1729012"/>
                <a:gd name="connsiteX8023" fmla="*/ 1619596 w 2240198"/>
                <a:gd name="connsiteY8023" fmla="*/ 714592 h 1729012"/>
                <a:gd name="connsiteX8024" fmla="*/ 1620198 w 2240198"/>
                <a:gd name="connsiteY8024" fmla="*/ 713780 h 1729012"/>
                <a:gd name="connsiteX8025" fmla="*/ 1622389 w 2240198"/>
                <a:gd name="connsiteY8025" fmla="*/ 712955 h 1729012"/>
                <a:gd name="connsiteX8026" fmla="*/ 1626195 w 2240198"/>
                <a:gd name="connsiteY8026" fmla="*/ 710427 h 1729012"/>
                <a:gd name="connsiteX8027" fmla="*/ 1626448 w 2240198"/>
                <a:gd name="connsiteY8027" fmla="*/ 709062 h 1729012"/>
                <a:gd name="connsiteX8028" fmla="*/ 1623820 w 2240198"/>
                <a:gd name="connsiteY8028" fmla="*/ 706828 h 1729012"/>
                <a:gd name="connsiteX8029" fmla="*/ 1622457 w 2240198"/>
                <a:gd name="connsiteY8029" fmla="*/ 706319 h 1729012"/>
                <a:gd name="connsiteX8030" fmla="*/ 1616968 w 2240198"/>
                <a:gd name="connsiteY8030" fmla="*/ 705485 h 1729012"/>
                <a:gd name="connsiteX8031" fmla="*/ 1610330 w 2240198"/>
                <a:gd name="connsiteY8031" fmla="*/ 706315 h 1729012"/>
                <a:gd name="connsiteX8032" fmla="*/ 1607861 w 2240198"/>
                <a:gd name="connsiteY8032" fmla="*/ 705892 h 1729012"/>
                <a:gd name="connsiteX8033" fmla="*/ 1606754 w 2240198"/>
                <a:gd name="connsiteY8033" fmla="*/ 703411 h 1729012"/>
                <a:gd name="connsiteX8034" fmla="*/ 1606052 w 2240198"/>
                <a:gd name="connsiteY8034" fmla="*/ 700455 h 1729012"/>
                <a:gd name="connsiteX8035" fmla="*/ 1605753 w 2240198"/>
                <a:gd name="connsiteY8035" fmla="*/ 697018 h 1729012"/>
                <a:gd name="connsiteX8036" fmla="*/ 1604557 w 2240198"/>
                <a:gd name="connsiteY8036" fmla="*/ 691143 h 1729012"/>
                <a:gd name="connsiteX8037" fmla="*/ 1603236 w 2240198"/>
                <a:gd name="connsiteY8037" fmla="*/ 688059 h 1729012"/>
                <a:gd name="connsiteX8038" fmla="*/ 1601499 w 2240198"/>
                <a:gd name="connsiteY8038" fmla="*/ 687669 h 1729012"/>
                <a:gd name="connsiteX8039" fmla="*/ 1593531 w 2240198"/>
                <a:gd name="connsiteY8039" fmla="*/ 688942 h 1729012"/>
                <a:gd name="connsiteX8040" fmla="*/ 1591638 w 2240198"/>
                <a:gd name="connsiteY8040" fmla="*/ 688957 h 1729012"/>
                <a:gd name="connsiteX8041" fmla="*/ 1590336 w 2240198"/>
                <a:gd name="connsiteY8041" fmla="*/ 688486 h 1729012"/>
                <a:gd name="connsiteX8042" fmla="*/ 1585063 w 2240198"/>
                <a:gd name="connsiteY8042" fmla="*/ 684544 h 1729012"/>
                <a:gd name="connsiteX8043" fmla="*/ 1582931 w 2240198"/>
                <a:gd name="connsiteY8043" fmla="*/ 683146 h 1729012"/>
                <a:gd name="connsiteX8044" fmla="*/ 1581749 w 2240198"/>
                <a:gd name="connsiteY8044" fmla="*/ 682816 h 1729012"/>
                <a:gd name="connsiteX8045" fmla="*/ 1577914 w 2240198"/>
                <a:gd name="connsiteY8045" fmla="*/ 678615 h 1729012"/>
                <a:gd name="connsiteX8046" fmla="*/ 1576440 w 2240198"/>
                <a:gd name="connsiteY8046" fmla="*/ 677797 h 1729012"/>
                <a:gd name="connsiteX8047" fmla="*/ 1574689 w 2240198"/>
                <a:gd name="connsiteY8047" fmla="*/ 675719 h 1729012"/>
                <a:gd name="connsiteX8048" fmla="*/ 1572662 w 2240198"/>
                <a:gd name="connsiteY8048" fmla="*/ 672380 h 1729012"/>
                <a:gd name="connsiteX8049" fmla="*/ 1570466 w 2240198"/>
                <a:gd name="connsiteY8049" fmla="*/ 671360 h 1729012"/>
                <a:gd name="connsiteX8050" fmla="*/ 1568100 w 2240198"/>
                <a:gd name="connsiteY8050" fmla="*/ 672661 h 1729012"/>
                <a:gd name="connsiteX8051" fmla="*/ 1565730 w 2240198"/>
                <a:gd name="connsiteY8051" fmla="*/ 674520 h 1729012"/>
                <a:gd name="connsiteX8052" fmla="*/ 1563360 w 2240198"/>
                <a:gd name="connsiteY8052" fmla="*/ 676940 h 1729012"/>
                <a:gd name="connsiteX8053" fmla="*/ 1562076 w 2240198"/>
                <a:gd name="connsiteY8053" fmla="*/ 678984 h 1729012"/>
                <a:gd name="connsiteX8054" fmla="*/ 1561875 w 2240198"/>
                <a:gd name="connsiteY8054" fmla="*/ 680655 h 1729012"/>
                <a:gd name="connsiteX8055" fmla="*/ 1563341 w 2240198"/>
                <a:gd name="connsiteY8055" fmla="*/ 681953 h 1729012"/>
                <a:gd name="connsiteX8056" fmla="*/ 1571706 w 2240198"/>
                <a:gd name="connsiteY8056" fmla="*/ 684105 h 1729012"/>
                <a:gd name="connsiteX8057" fmla="*/ 1573827 w 2240198"/>
                <a:gd name="connsiteY8057" fmla="*/ 685543 h 1729012"/>
                <a:gd name="connsiteX8058" fmla="*/ 1575628 w 2240198"/>
                <a:gd name="connsiteY8058" fmla="*/ 687905 h 1729012"/>
                <a:gd name="connsiteX8059" fmla="*/ 1576973 w 2240198"/>
                <a:gd name="connsiteY8059" fmla="*/ 690789 h 1729012"/>
                <a:gd name="connsiteX8060" fmla="*/ 1577859 w 2240198"/>
                <a:gd name="connsiteY8060" fmla="*/ 694197 h 1729012"/>
                <a:gd name="connsiteX8061" fmla="*/ 1577784 w 2240198"/>
                <a:gd name="connsiteY8061" fmla="*/ 696740 h 1729012"/>
                <a:gd name="connsiteX8062" fmla="*/ 1576745 w 2240198"/>
                <a:gd name="connsiteY8062" fmla="*/ 698428 h 1729012"/>
                <a:gd name="connsiteX8063" fmla="*/ 1574948 w 2240198"/>
                <a:gd name="connsiteY8063" fmla="*/ 699922 h 1729012"/>
                <a:gd name="connsiteX8064" fmla="*/ 1569796 w 2240198"/>
                <a:gd name="connsiteY8064" fmla="*/ 702284 h 1729012"/>
                <a:gd name="connsiteX8065" fmla="*/ 1564459 w 2240198"/>
                <a:gd name="connsiteY8065" fmla="*/ 703666 h 1729012"/>
                <a:gd name="connsiteX8066" fmla="*/ 1559081 w 2240198"/>
                <a:gd name="connsiteY8066" fmla="*/ 703992 h 1729012"/>
                <a:gd name="connsiteX8067" fmla="*/ 1556533 w 2240198"/>
                <a:gd name="connsiteY8067" fmla="*/ 703669 h 1729012"/>
                <a:gd name="connsiteX8068" fmla="*/ 1542684 w 2240198"/>
                <a:gd name="connsiteY8068" fmla="*/ 699084 h 1729012"/>
                <a:gd name="connsiteX8069" fmla="*/ 1540191 w 2240198"/>
                <a:gd name="connsiteY8069" fmla="*/ 699047 h 1729012"/>
                <a:gd name="connsiteX8070" fmla="*/ 1536986 w 2240198"/>
                <a:gd name="connsiteY8070" fmla="*/ 698428 h 1729012"/>
                <a:gd name="connsiteX8071" fmla="*/ 1529797 w 2240198"/>
                <a:gd name="connsiteY8071" fmla="*/ 696538 h 1729012"/>
                <a:gd name="connsiteX8072" fmla="*/ 1525854 w 2240198"/>
                <a:gd name="connsiteY8072" fmla="*/ 696331 h 1729012"/>
                <a:gd name="connsiteX8073" fmla="*/ 1518944 w 2240198"/>
                <a:gd name="connsiteY8073" fmla="*/ 694764 h 1729012"/>
                <a:gd name="connsiteX8074" fmla="*/ 1507249 w 2240198"/>
                <a:gd name="connsiteY8074" fmla="*/ 693852 h 1729012"/>
                <a:gd name="connsiteX8075" fmla="*/ 1504906 w 2240198"/>
                <a:gd name="connsiteY8075" fmla="*/ 694606 h 1729012"/>
                <a:gd name="connsiteX8076" fmla="*/ 1508017 w 2240198"/>
                <a:gd name="connsiteY8076" fmla="*/ 696721 h 1729012"/>
                <a:gd name="connsiteX8077" fmla="*/ 1510744 w 2240198"/>
                <a:gd name="connsiteY8077" fmla="*/ 697784 h 1729012"/>
                <a:gd name="connsiteX8078" fmla="*/ 1513082 w 2240198"/>
                <a:gd name="connsiteY8078" fmla="*/ 697796 h 1729012"/>
                <a:gd name="connsiteX8079" fmla="*/ 1516447 w 2240198"/>
                <a:gd name="connsiteY8079" fmla="*/ 699681 h 1729012"/>
                <a:gd name="connsiteX8080" fmla="*/ 1520835 w 2240198"/>
                <a:gd name="connsiteY8080" fmla="*/ 703431 h 1729012"/>
                <a:gd name="connsiteX8081" fmla="*/ 1523344 w 2240198"/>
                <a:gd name="connsiteY8081" fmla="*/ 705666 h 1729012"/>
                <a:gd name="connsiteX8082" fmla="*/ 1525422 w 2240198"/>
                <a:gd name="connsiteY8082" fmla="*/ 708328 h 1729012"/>
                <a:gd name="connsiteX8083" fmla="*/ 1525487 w 2240198"/>
                <a:gd name="connsiteY8083" fmla="*/ 709243 h 1729012"/>
                <a:gd name="connsiteX8084" fmla="*/ 1523422 w 2240198"/>
                <a:gd name="connsiteY8084" fmla="*/ 711069 h 1729012"/>
                <a:gd name="connsiteX8085" fmla="*/ 1507118 w 2240198"/>
                <a:gd name="connsiteY8085" fmla="*/ 701496 h 1729012"/>
                <a:gd name="connsiteX8086" fmla="*/ 1497153 w 2240198"/>
                <a:gd name="connsiteY8086" fmla="*/ 704845 h 1729012"/>
                <a:gd name="connsiteX8087" fmla="*/ 1492564 w 2240198"/>
                <a:gd name="connsiteY8087" fmla="*/ 706090 h 1729012"/>
                <a:gd name="connsiteX8088" fmla="*/ 1488630 w 2240198"/>
                <a:gd name="connsiteY8088" fmla="*/ 706284 h 1729012"/>
                <a:gd name="connsiteX8089" fmla="*/ 1483714 w 2240198"/>
                <a:gd name="connsiteY8089" fmla="*/ 704971 h 1729012"/>
                <a:gd name="connsiteX8090" fmla="*/ 1472616 w 2240198"/>
                <a:gd name="connsiteY8090" fmla="*/ 700345 h 1729012"/>
                <a:gd name="connsiteX8091" fmla="*/ 1468413 w 2240198"/>
                <a:gd name="connsiteY8091" fmla="*/ 698725 h 1729012"/>
                <a:gd name="connsiteX8092" fmla="*/ 1466922 w 2240198"/>
                <a:gd name="connsiteY8092" fmla="*/ 698490 h 1729012"/>
                <a:gd name="connsiteX8093" fmla="*/ 1457266 w 2240198"/>
                <a:gd name="connsiteY8093" fmla="*/ 700496 h 1729012"/>
                <a:gd name="connsiteX8094" fmla="*/ 1448942 w 2240198"/>
                <a:gd name="connsiteY8094" fmla="*/ 700590 h 1729012"/>
                <a:gd name="connsiteX8095" fmla="*/ 1432135 w 2240198"/>
                <a:gd name="connsiteY8095" fmla="*/ 698664 h 1729012"/>
                <a:gd name="connsiteX8096" fmla="*/ 1425967 w 2240198"/>
                <a:gd name="connsiteY8096" fmla="*/ 697375 h 1729012"/>
                <a:gd name="connsiteX8097" fmla="*/ 1424342 w 2240198"/>
                <a:gd name="connsiteY8097" fmla="*/ 696028 h 1729012"/>
                <a:gd name="connsiteX8098" fmla="*/ 1422317 w 2240198"/>
                <a:gd name="connsiteY8098" fmla="*/ 695351 h 1729012"/>
                <a:gd name="connsiteX8099" fmla="*/ 1418678 w 2240198"/>
                <a:gd name="connsiteY8099" fmla="*/ 695351 h 1729012"/>
                <a:gd name="connsiteX8100" fmla="*/ 1409049 w 2240198"/>
                <a:gd name="connsiteY8100" fmla="*/ 693845 h 1729012"/>
                <a:gd name="connsiteX8101" fmla="*/ 1400233 w 2240198"/>
                <a:gd name="connsiteY8101" fmla="*/ 697238 h 1729012"/>
                <a:gd name="connsiteX8102" fmla="*/ 1389630 w 2240198"/>
                <a:gd name="connsiteY8102" fmla="*/ 694130 h 1729012"/>
                <a:gd name="connsiteX8103" fmla="*/ 1386490 w 2240198"/>
                <a:gd name="connsiteY8103" fmla="*/ 692297 h 1729012"/>
                <a:gd name="connsiteX8104" fmla="*/ 1385492 w 2240198"/>
                <a:gd name="connsiteY8104" fmla="*/ 691040 h 1729012"/>
                <a:gd name="connsiteX8105" fmla="*/ 1382406 w 2240198"/>
                <a:gd name="connsiteY8105" fmla="*/ 685777 h 1729012"/>
                <a:gd name="connsiteX8106" fmla="*/ 1381983 w 2240198"/>
                <a:gd name="connsiteY8106" fmla="*/ 682955 h 1729012"/>
                <a:gd name="connsiteX8107" fmla="*/ 1382855 w 2240198"/>
                <a:gd name="connsiteY8107" fmla="*/ 680402 h 1729012"/>
                <a:gd name="connsiteX8108" fmla="*/ 1383727 w 2240198"/>
                <a:gd name="connsiteY8108" fmla="*/ 678650 h 1729012"/>
                <a:gd name="connsiteX8109" fmla="*/ 1384592 w 2240198"/>
                <a:gd name="connsiteY8109" fmla="*/ 677698 h 1729012"/>
                <a:gd name="connsiteX8110" fmla="*/ 1378826 w 2240198"/>
                <a:gd name="connsiteY8110" fmla="*/ 680629 h 1729012"/>
                <a:gd name="connsiteX8111" fmla="*/ 1376801 w 2240198"/>
                <a:gd name="connsiteY8111" fmla="*/ 681112 h 1729012"/>
                <a:gd name="connsiteX8112" fmla="*/ 1374136 w 2240198"/>
                <a:gd name="connsiteY8112" fmla="*/ 681223 h 1729012"/>
                <a:gd name="connsiteX8113" fmla="*/ 1366195 w 2240198"/>
                <a:gd name="connsiteY8113" fmla="*/ 680141 h 1729012"/>
                <a:gd name="connsiteX8114" fmla="*/ 1364939 w 2240198"/>
                <a:gd name="connsiteY8114" fmla="*/ 680695 h 1729012"/>
                <a:gd name="connsiteX8115" fmla="*/ 1365348 w 2240198"/>
                <a:gd name="connsiteY8115" fmla="*/ 681719 h 1729012"/>
                <a:gd name="connsiteX8116" fmla="*/ 1367423 w 2240198"/>
                <a:gd name="connsiteY8116" fmla="*/ 683210 h 1729012"/>
                <a:gd name="connsiteX8117" fmla="*/ 1367694 w 2240198"/>
                <a:gd name="connsiteY8117" fmla="*/ 684110 h 1729012"/>
                <a:gd name="connsiteX8118" fmla="*/ 1363267 w 2240198"/>
                <a:gd name="connsiteY8118" fmla="*/ 684811 h 1729012"/>
                <a:gd name="connsiteX8119" fmla="*/ 1356559 w 2240198"/>
                <a:gd name="connsiteY8119" fmla="*/ 684083 h 1729012"/>
                <a:gd name="connsiteX8120" fmla="*/ 1353635 w 2240198"/>
                <a:gd name="connsiteY8120" fmla="*/ 684400 h 1729012"/>
                <a:gd name="connsiteX8121" fmla="*/ 1352305 w 2240198"/>
                <a:gd name="connsiteY8121" fmla="*/ 684807 h 1729012"/>
                <a:gd name="connsiteX8122" fmla="*/ 1349282 w 2240198"/>
                <a:gd name="connsiteY8122" fmla="*/ 687160 h 1729012"/>
                <a:gd name="connsiteX8123" fmla="*/ 1348048 w 2240198"/>
                <a:gd name="connsiteY8123" fmla="*/ 687691 h 1729012"/>
                <a:gd name="connsiteX8124" fmla="*/ 1346461 w 2240198"/>
                <a:gd name="connsiteY8124" fmla="*/ 687449 h 1729012"/>
                <a:gd name="connsiteX8125" fmla="*/ 1339421 w 2240198"/>
                <a:gd name="connsiteY8125" fmla="*/ 682122 h 1729012"/>
                <a:gd name="connsiteX8126" fmla="*/ 1333747 w 2240198"/>
                <a:gd name="connsiteY8126" fmla="*/ 678744 h 1729012"/>
                <a:gd name="connsiteX8127" fmla="*/ 1327132 w 2240198"/>
                <a:gd name="connsiteY8127" fmla="*/ 677446 h 1729012"/>
                <a:gd name="connsiteX8128" fmla="*/ 1324096 w 2240198"/>
                <a:gd name="connsiteY8128" fmla="*/ 676364 h 1729012"/>
                <a:gd name="connsiteX8129" fmla="*/ 1322430 w 2240198"/>
                <a:gd name="connsiteY8129" fmla="*/ 675061 h 1729012"/>
                <a:gd name="connsiteX8130" fmla="*/ 1313304 w 2240198"/>
                <a:gd name="connsiteY8130" fmla="*/ 664177 h 1729012"/>
                <a:gd name="connsiteX8131" fmla="*/ 1312057 w 2240198"/>
                <a:gd name="connsiteY8131" fmla="*/ 661828 h 1729012"/>
                <a:gd name="connsiteX8132" fmla="*/ 1309166 w 2240198"/>
                <a:gd name="connsiteY8132" fmla="*/ 653258 h 1729012"/>
                <a:gd name="connsiteX8133" fmla="*/ 1308196 w 2240198"/>
                <a:gd name="connsiteY8133" fmla="*/ 651426 h 1729012"/>
                <a:gd name="connsiteX8134" fmla="*/ 1307026 w 2240198"/>
                <a:gd name="connsiteY8134" fmla="*/ 650220 h 1729012"/>
                <a:gd name="connsiteX8135" fmla="*/ 1309318 w 2240198"/>
                <a:gd name="connsiteY8135" fmla="*/ 649966 h 1729012"/>
                <a:gd name="connsiteX8136" fmla="*/ 1317949 w 2240198"/>
                <a:gd name="connsiteY8136" fmla="*/ 651012 h 1729012"/>
                <a:gd name="connsiteX8137" fmla="*/ 1326304 w 2240198"/>
                <a:gd name="connsiteY8137" fmla="*/ 650966 h 1729012"/>
                <a:gd name="connsiteX8138" fmla="*/ 1330842 w 2240198"/>
                <a:gd name="connsiteY8138" fmla="*/ 651663 h 1729012"/>
                <a:gd name="connsiteX8139" fmla="*/ 1336106 w 2240198"/>
                <a:gd name="connsiteY8139" fmla="*/ 653805 h 1729012"/>
                <a:gd name="connsiteX8140" fmla="*/ 1342964 w 2240198"/>
                <a:gd name="connsiteY8140" fmla="*/ 655333 h 1729012"/>
                <a:gd name="connsiteX8141" fmla="*/ 1347875 w 2240198"/>
                <a:gd name="connsiteY8141" fmla="*/ 655653 h 1729012"/>
                <a:gd name="connsiteX8142" fmla="*/ 1355748 w 2240198"/>
                <a:gd name="connsiteY8142" fmla="*/ 655089 h 1729012"/>
                <a:gd name="connsiteX8143" fmla="*/ 1364695 w 2240198"/>
                <a:gd name="connsiteY8143" fmla="*/ 653656 h 1729012"/>
                <a:gd name="connsiteX8144" fmla="*/ 1365747 w 2240198"/>
                <a:gd name="connsiteY8144" fmla="*/ 652541 h 1729012"/>
                <a:gd name="connsiteX8145" fmla="*/ 1359953 w 2240198"/>
                <a:gd name="connsiteY8145" fmla="*/ 650631 h 1729012"/>
                <a:gd name="connsiteX8146" fmla="*/ 1354787 w 2240198"/>
                <a:gd name="connsiteY8146" fmla="*/ 648092 h 1729012"/>
                <a:gd name="connsiteX8147" fmla="*/ 1350021 w 2240198"/>
                <a:gd name="connsiteY8147" fmla="*/ 644797 h 1729012"/>
                <a:gd name="connsiteX8148" fmla="*/ 1347176 w 2240198"/>
                <a:gd name="connsiteY8148" fmla="*/ 643400 h 1729012"/>
                <a:gd name="connsiteX8149" fmla="*/ 1342405 w 2240198"/>
                <a:gd name="connsiteY8149" fmla="*/ 642530 h 1729012"/>
                <a:gd name="connsiteX8150" fmla="*/ 1328995 w 2240198"/>
                <a:gd name="connsiteY8150" fmla="*/ 641924 h 1729012"/>
                <a:gd name="connsiteX8151" fmla="*/ 1316575 w 2240198"/>
                <a:gd name="connsiteY8151" fmla="*/ 639704 h 1729012"/>
                <a:gd name="connsiteX8152" fmla="*/ 1307995 w 2240198"/>
                <a:gd name="connsiteY8152" fmla="*/ 636708 h 1729012"/>
                <a:gd name="connsiteX8153" fmla="*/ 1301007 w 2240198"/>
                <a:gd name="connsiteY8153" fmla="*/ 633379 h 1729012"/>
                <a:gd name="connsiteX8154" fmla="*/ 1298165 w 2240198"/>
                <a:gd name="connsiteY8154" fmla="*/ 631565 h 1729012"/>
                <a:gd name="connsiteX8155" fmla="*/ 1297141 w 2240198"/>
                <a:gd name="connsiteY8155" fmla="*/ 630162 h 1729012"/>
                <a:gd name="connsiteX8156" fmla="*/ 1296057 w 2240198"/>
                <a:gd name="connsiteY8156" fmla="*/ 625784 h 1729012"/>
                <a:gd name="connsiteX8157" fmla="*/ 1294911 w 2240198"/>
                <a:gd name="connsiteY8157" fmla="*/ 618410 h 1729012"/>
                <a:gd name="connsiteX8158" fmla="*/ 1293804 w 2240198"/>
                <a:gd name="connsiteY8158" fmla="*/ 613448 h 1729012"/>
                <a:gd name="connsiteX8159" fmla="*/ 1292735 w 2240198"/>
                <a:gd name="connsiteY8159" fmla="*/ 610910 h 1729012"/>
                <a:gd name="connsiteX8160" fmla="*/ 1292591 w 2240198"/>
                <a:gd name="connsiteY8160" fmla="*/ 608691 h 1729012"/>
                <a:gd name="connsiteX8161" fmla="*/ 1294967 w 2240198"/>
                <a:gd name="connsiteY8161" fmla="*/ 603947 h 1729012"/>
                <a:gd name="connsiteX8162" fmla="*/ 1301755 w 2240198"/>
                <a:gd name="connsiteY8162" fmla="*/ 598781 h 1729012"/>
                <a:gd name="connsiteX8163" fmla="*/ 1301920 w 2240198"/>
                <a:gd name="connsiteY8163" fmla="*/ 597969 h 1729012"/>
                <a:gd name="connsiteX8164" fmla="*/ 1300569 w 2240198"/>
                <a:gd name="connsiteY8164" fmla="*/ 597727 h 1729012"/>
                <a:gd name="connsiteX8165" fmla="*/ 1297721 w 2240198"/>
                <a:gd name="connsiteY8165" fmla="*/ 596412 h 1729012"/>
                <a:gd name="connsiteX8166" fmla="*/ 1296813 w 2240198"/>
                <a:gd name="connsiteY8166" fmla="*/ 594484 h 1729012"/>
                <a:gd name="connsiteX8167" fmla="*/ 1296448 w 2240198"/>
                <a:gd name="connsiteY8167" fmla="*/ 591423 h 1729012"/>
                <a:gd name="connsiteX8168" fmla="*/ 1296425 w 2240198"/>
                <a:gd name="connsiteY8168" fmla="*/ 588822 h 1729012"/>
                <a:gd name="connsiteX8169" fmla="*/ 1296741 w 2240198"/>
                <a:gd name="connsiteY8169" fmla="*/ 586688 h 1729012"/>
                <a:gd name="connsiteX8170" fmla="*/ 1297874 w 2240198"/>
                <a:gd name="connsiteY8170" fmla="*/ 584021 h 1729012"/>
                <a:gd name="connsiteX8171" fmla="*/ 1300798 w 2240198"/>
                <a:gd name="connsiteY8171" fmla="*/ 579217 h 1729012"/>
                <a:gd name="connsiteX8172" fmla="*/ 1304985 w 2240198"/>
                <a:gd name="connsiteY8172" fmla="*/ 573373 h 1729012"/>
                <a:gd name="connsiteX8173" fmla="*/ 1309516 w 2240198"/>
                <a:gd name="connsiteY8173" fmla="*/ 567874 h 1729012"/>
                <a:gd name="connsiteX8174" fmla="*/ 1310292 w 2240198"/>
                <a:gd name="connsiteY8174" fmla="*/ 566071 h 1729012"/>
                <a:gd name="connsiteX8175" fmla="*/ 1310691 w 2240198"/>
                <a:gd name="connsiteY8175" fmla="*/ 561175 h 1729012"/>
                <a:gd name="connsiteX8176" fmla="*/ 1311292 w 2240198"/>
                <a:gd name="connsiteY8176" fmla="*/ 557597 h 1729012"/>
                <a:gd name="connsiteX8177" fmla="*/ 1311912 w 2240198"/>
                <a:gd name="connsiteY8177" fmla="*/ 555075 h 1729012"/>
                <a:gd name="connsiteX8178" fmla="*/ 1312872 w 2240198"/>
                <a:gd name="connsiteY8178" fmla="*/ 553182 h 1729012"/>
                <a:gd name="connsiteX8179" fmla="*/ 1315677 w 2240198"/>
                <a:gd name="connsiteY8179" fmla="*/ 549583 h 1729012"/>
                <a:gd name="connsiteX8180" fmla="*/ 1319174 w 2240198"/>
                <a:gd name="connsiteY8180" fmla="*/ 546164 h 1729012"/>
                <a:gd name="connsiteX8181" fmla="*/ 1324648 w 2240198"/>
                <a:gd name="connsiteY8181" fmla="*/ 543246 h 1729012"/>
                <a:gd name="connsiteX8182" fmla="*/ 1325114 w 2240198"/>
                <a:gd name="connsiteY8182" fmla="*/ 542164 h 1729012"/>
                <a:gd name="connsiteX8183" fmla="*/ 1325189 w 2240198"/>
                <a:gd name="connsiteY8183" fmla="*/ 540667 h 1729012"/>
                <a:gd name="connsiteX8184" fmla="*/ 1325504 w 2240198"/>
                <a:gd name="connsiteY8184" fmla="*/ 539549 h 1729012"/>
                <a:gd name="connsiteX8185" fmla="*/ 1326062 w 2240198"/>
                <a:gd name="connsiteY8185" fmla="*/ 538812 h 1729012"/>
                <a:gd name="connsiteX8186" fmla="*/ 1339632 w 2240198"/>
                <a:gd name="connsiteY8186" fmla="*/ 529413 h 1729012"/>
                <a:gd name="connsiteX8187" fmla="*/ 1345808 w 2240198"/>
                <a:gd name="connsiteY8187" fmla="*/ 525582 h 1729012"/>
                <a:gd name="connsiteX8188" fmla="*/ 1351049 w 2240198"/>
                <a:gd name="connsiteY8188" fmla="*/ 523144 h 1729012"/>
                <a:gd name="connsiteX8189" fmla="*/ 1357321 w 2240198"/>
                <a:gd name="connsiteY8189" fmla="*/ 521347 h 1729012"/>
                <a:gd name="connsiteX8190" fmla="*/ 1375163 w 2240198"/>
                <a:gd name="connsiteY8190" fmla="*/ 517671 h 1729012"/>
                <a:gd name="connsiteX8191" fmla="*/ 1039617 w 2240198"/>
                <a:gd name="connsiteY8191" fmla="*/ 512143 h 1729012"/>
                <a:gd name="connsiteX8192" fmla="*/ 1061016 w 2240198"/>
                <a:gd name="connsiteY8192" fmla="*/ 522716 h 1729012"/>
                <a:gd name="connsiteX8193" fmla="*/ 1064016 w 2240198"/>
                <a:gd name="connsiteY8193" fmla="*/ 521847 h 1729012"/>
                <a:gd name="connsiteX8194" fmla="*/ 1070486 w 2240198"/>
                <a:gd name="connsiteY8194" fmla="*/ 521292 h 1729012"/>
                <a:gd name="connsiteX8195" fmla="*/ 1077210 w 2240198"/>
                <a:gd name="connsiteY8195" fmla="*/ 519737 h 1729012"/>
                <a:gd name="connsiteX8196" fmla="*/ 1086527 w 2240198"/>
                <a:gd name="connsiteY8196" fmla="*/ 518449 h 1729012"/>
                <a:gd name="connsiteX8197" fmla="*/ 1092210 w 2240198"/>
                <a:gd name="connsiteY8197" fmla="*/ 516103 h 1729012"/>
                <a:gd name="connsiteX8198" fmla="*/ 1094633 w 2240198"/>
                <a:gd name="connsiteY8198" fmla="*/ 515433 h 1729012"/>
                <a:gd name="connsiteX8199" fmla="*/ 1098747 w 2240198"/>
                <a:gd name="connsiteY8199" fmla="*/ 515018 h 1729012"/>
                <a:gd name="connsiteX8200" fmla="*/ 1100982 w 2240198"/>
                <a:gd name="connsiteY8200" fmla="*/ 515027 h 1729012"/>
                <a:gd name="connsiteX8201" fmla="*/ 1107442 w 2240198"/>
                <a:gd name="connsiteY8201" fmla="*/ 516297 h 1729012"/>
                <a:gd name="connsiteX8202" fmla="*/ 1110036 w 2240198"/>
                <a:gd name="connsiteY8202" fmla="*/ 517188 h 1729012"/>
                <a:gd name="connsiteX8203" fmla="*/ 1111411 w 2240198"/>
                <a:gd name="connsiteY8203" fmla="*/ 518122 h 1729012"/>
                <a:gd name="connsiteX8204" fmla="*/ 1112902 w 2240198"/>
                <a:gd name="connsiteY8204" fmla="*/ 519824 h 1729012"/>
                <a:gd name="connsiteX8205" fmla="*/ 1115449 w 2240198"/>
                <a:gd name="connsiteY8205" fmla="*/ 523968 h 1729012"/>
                <a:gd name="connsiteX8206" fmla="*/ 1115821 w 2240198"/>
                <a:gd name="connsiteY8206" fmla="*/ 525504 h 1729012"/>
                <a:gd name="connsiteX8207" fmla="*/ 1115692 w 2240198"/>
                <a:gd name="connsiteY8207" fmla="*/ 525918 h 1729012"/>
                <a:gd name="connsiteX8208" fmla="*/ 1113336 w 2240198"/>
                <a:gd name="connsiteY8208" fmla="*/ 528459 h 1729012"/>
                <a:gd name="connsiteX8209" fmla="*/ 1111769 w 2240198"/>
                <a:gd name="connsiteY8209" fmla="*/ 529565 h 1729012"/>
                <a:gd name="connsiteX8210" fmla="*/ 1108528 w 2240198"/>
                <a:gd name="connsiteY8210" fmla="*/ 530617 h 1729012"/>
                <a:gd name="connsiteX8211" fmla="*/ 1105725 w 2240198"/>
                <a:gd name="connsiteY8211" fmla="*/ 530938 h 1729012"/>
                <a:gd name="connsiteX8212" fmla="*/ 1103315 w 2240198"/>
                <a:gd name="connsiteY8212" fmla="*/ 532780 h 1729012"/>
                <a:gd name="connsiteX8213" fmla="*/ 1100598 w 2240198"/>
                <a:gd name="connsiteY8213" fmla="*/ 532290 h 1729012"/>
                <a:gd name="connsiteX8214" fmla="*/ 1099865 w 2240198"/>
                <a:gd name="connsiteY8214" fmla="*/ 533971 h 1729012"/>
                <a:gd name="connsiteX8215" fmla="*/ 1100150 w 2240198"/>
                <a:gd name="connsiteY8215" fmla="*/ 534996 h 1729012"/>
                <a:gd name="connsiteX8216" fmla="*/ 1100880 w 2240198"/>
                <a:gd name="connsiteY8216" fmla="*/ 535495 h 1729012"/>
                <a:gd name="connsiteX8217" fmla="*/ 1102249 w 2240198"/>
                <a:gd name="connsiteY8217" fmla="*/ 535376 h 1729012"/>
                <a:gd name="connsiteX8218" fmla="*/ 1103814 w 2240198"/>
                <a:gd name="connsiteY8218" fmla="*/ 534659 h 1729012"/>
                <a:gd name="connsiteX8219" fmla="*/ 1106852 w 2240198"/>
                <a:gd name="connsiteY8219" fmla="*/ 535014 h 1729012"/>
                <a:gd name="connsiteX8220" fmla="*/ 1108455 w 2240198"/>
                <a:gd name="connsiteY8220" fmla="*/ 536115 h 1729012"/>
                <a:gd name="connsiteX8221" fmla="*/ 1109893 w 2240198"/>
                <a:gd name="connsiteY8221" fmla="*/ 537932 h 1729012"/>
                <a:gd name="connsiteX8222" fmla="*/ 1108824 w 2240198"/>
                <a:gd name="connsiteY8222" fmla="*/ 539615 h 1729012"/>
                <a:gd name="connsiteX8223" fmla="*/ 1103460 w 2240198"/>
                <a:gd name="connsiteY8223" fmla="*/ 541938 h 1729012"/>
                <a:gd name="connsiteX8224" fmla="*/ 1095553 w 2240198"/>
                <a:gd name="connsiteY8224" fmla="*/ 544566 h 1729012"/>
                <a:gd name="connsiteX8225" fmla="*/ 1085920 w 2240198"/>
                <a:gd name="connsiteY8225" fmla="*/ 552807 h 1729012"/>
                <a:gd name="connsiteX8226" fmla="*/ 1080855 w 2240198"/>
                <a:gd name="connsiteY8226" fmla="*/ 556254 h 1729012"/>
                <a:gd name="connsiteX8227" fmla="*/ 1079809 w 2240198"/>
                <a:gd name="connsiteY8227" fmla="*/ 557327 h 1729012"/>
                <a:gd name="connsiteX8228" fmla="*/ 1079298 w 2240198"/>
                <a:gd name="connsiteY8228" fmla="*/ 558405 h 1729012"/>
                <a:gd name="connsiteX8229" fmla="*/ 1079452 w 2240198"/>
                <a:gd name="connsiteY8229" fmla="*/ 560447 h 1729012"/>
                <a:gd name="connsiteX8230" fmla="*/ 1079684 w 2240198"/>
                <a:gd name="connsiteY8230" fmla="*/ 561270 h 1729012"/>
                <a:gd name="connsiteX8231" fmla="*/ 1081082 w 2240198"/>
                <a:gd name="connsiteY8231" fmla="*/ 561602 h 1729012"/>
                <a:gd name="connsiteX8232" fmla="*/ 1085793 w 2240198"/>
                <a:gd name="connsiteY8232" fmla="*/ 558753 h 1729012"/>
                <a:gd name="connsiteX8233" fmla="*/ 1088831 w 2240198"/>
                <a:gd name="connsiteY8233" fmla="*/ 557425 h 1729012"/>
                <a:gd name="connsiteX8234" fmla="*/ 1091915 w 2240198"/>
                <a:gd name="connsiteY8234" fmla="*/ 556693 h 1729012"/>
                <a:gd name="connsiteX8235" fmla="*/ 1097356 w 2240198"/>
                <a:gd name="connsiteY8235" fmla="*/ 556642 h 1729012"/>
                <a:gd name="connsiteX8236" fmla="*/ 1099600 w 2240198"/>
                <a:gd name="connsiteY8236" fmla="*/ 557080 h 1729012"/>
                <a:gd name="connsiteX8237" fmla="*/ 1103673 w 2240198"/>
                <a:gd name="connsiteY8237" fmla="*/ 558791 h 1729012"/>
                <a:gd name="connsiteX8238" fmla="*/ 1107399 w 2240198"/>
                <a:gd name="connsiteY8238" fmla="*/ 561422 h 1729012"/>
                <a:gd name="connsiteX8239" fmla="*/ 1108232 w 2240198"/>
                <a:gd name="connsiteY8239" fmla="*/ 562381 h 1729012"/>
                <a:gd name="connsiteX8240" fmla="*/ 1107876 w 2240198"/>
                <a:gd name="connsiteY8240" fmla="*/ 563341 h 1729012"/>
                <a:gd name="connsiteX8241" fmla="*/ 1106328 w 2240198"/>
                <a:gd name="connsiteY8241" fmla="*/ 564306 h 1729012"/>
                <a:gd name="connsiteX8242" fmla="*/ 1106158 w 2240198"/>
                <a:gd name="connsiteY8242" fmla="*/ 564943 h 1729012"/>
                <a:gd name="connsiteX8243" fmla="*/ 1109711 w 2240198"/>
                <a:gd name="connsiteY8243" fmla="*/ 566268 h 1729012"/>
                <a:gd name="connsiteX8244" fmla="*/ 1113630 w 2240198"/>
                <a:gd name="connsiteY8244" fmla="*/ 569862 h 1729012"/>
                <a:gd name="connsiteX8245" fmla="*/ 1113886 w 2240198"/>
                <a:gd name="connsiteY8245" fmla="*/ 572041 h 1729012"/>
                <a:gd name="connsiteX8246" fmla="*/ 1112173 w 2240198"/>
                <a:gd name="connsiteY8246" fmla="*/ 574195 h 1729012"/>
                <a:gd name="connsiteX8247" fmla="*/ 1111705 w 2240198"/>
                <a:gd name="connsiteY8247" fmla="*/ 575634 h 1729012"/>
                <a:gd name="connsiteX8248" fmla="*/ 1112486 w 2240198"/>
                <a:gd name="connsiteY8248" fmla="*/ 576363 h 1729012"/>
                <a:gd name="connsiteX8249" fmla="*/ 1114421 w 2240198"/>
                <a:gd name="connsiteY8249" fmla="*/ 575920 h 1729012"/>
                <a:gd name="connsiteX8250" fmla="*/ 1119055 w 2240198"/>
                <a:gd name="connsiteY8250" fmla="*/ 573510 h 1729012"/>
                <a:gd name="connsiteX8251" fmla="*/ 1124070 w 2240198"/>
                <a:gd name="connsiteY8251" fmla="*/ 572252 h 1729012"/>
                <a:gd name="connsiteX8252" fmla="*/ 1126078 w 2240198"/>
                <a:gd name="connsiteY8252" fmla="*/ 572392 h 1729012"/>
                <a:gd name="connsiteX8253" fmla="*/ 1127345 w 2240198"/>
                <a:gd name="connsiteY8253" fmla="*/ 572947 h 1729012"/>
                <a:gd name="connsiteX8254" fmla="*/ 1128686 w 2240198"/>
                <a:gd name="connsiteY8254" fmla="*/ 576253 h 1729012"/>
                <a:gd name="connsiteX8255" fmla="*/ 1129792 w 2240198"/>
                <a:gd name="connsiteY8255" fmla="*/ 579966 h 1729012"/>
                <a:gd name="connsiteX8256" fmla="*/ 1129931 w 2240198"/>
                <a:gd name="connsiteY8256" fmla="*/ 583084 h 1729012"/>
                <a:gd name="connsiteX8257" fmla="*/ 1129102 w 2240198"/>
                <a:gd name="connsiteY8257" fmla="*/ 585615 h 1729012"/>
                <a:gd name="connsiteX8258" fmla="*/ 1127909 w 2240198"/>
                <a:gd name="connsiteY8258" fmla="*/ 587585 h 1729012"/>
                <a:gd name="connsiteX8259" fmla="*/ 1124907 w 2240198"/>
                <a:gd name="connsiteY8259" fmla="*/ 590022 h 1729012"/>
                <a:gd name="connsiteX8260" fmla="*/ 1122188 w 2240198"/>
                <a:gd name="connsiteY8260" fmla="*/ 590948 h 1729012"/>
                <a:gd name="connsiteX8261" fmla="*/ 1120768 w 2240198"/>
                <a:gd name="connsiteY8261" fmla="*/ 590957 h 1729012"/>
                <a:gd name="connsiteX8262" fmla="*/ 1120909 w 2240198"/>
                <a:gd name="connsiteY8262" fmla="*/ 591369 h 1729012"/>
                <a:gd name="connsiteX8263" fmla="*/ 1124134 w 2240198"/>
                <a:gd name="connsiteY8263" fmla="*/ 593395 h 1729012"/>
                <a:gd name="connsiteX8264" fmla="*/ 1125482 w 2240198"/>
                <a:gd name="connsiteY8264" fmla="*/ 595012 h 1729012"/>
                <a:gd name="connsiteX8265" fmla="*/ 1126058 w 2240198"/>
                <a:gd name="connsiteY8265" fmla="*/ 596571 h 1729012"/>
                <a:gd name="connsiteX8266" fmla="*/ 1125862 w 2240198"/>
                <a:gd name="connsiteY8266" fmla="*/ 598074 h 1729012"/>
                <a:gd name="connsiteX8267" fmla="*/ 1125417 w 2240198"/>
                <a:gd name="connsiteY8267" fmla="*/ 599354 h 1729012"/>
                <a:gd name="connsiteX8268" fmla="*/ 1121660 w 2240198"/>
                <a:gd name="connsiteY8268" fmla="*/ 604094 h 1729012"/>
                <a:gd name="connsiteX8269" fmla="*/ 1121863 w 2240198"/>
                <a:gd name="connsiteY8269" fmla="*/ 604768 h 1729012"/>
                <a:gd name="connsiteX8270" fmla="*/ 1122904 w 2240198"/>
                <a:gd name="connsiteY8270" fmla="*/ 605079 h 1729012"/>
                <a:gd name="connsiteX8271" fmla="*/ 1125259 w 2240198"/>
                <a:gd name="connsiteY8271" fmla="*/ 607803 h 1729012"/>
                <a:gd name="connsiteX8272" fmla="*/ 1125536 w 2240198"/>
                <a:gd name="connsiteY8272" fmla="*/ 614118 h 1729012"/>
                <a:gd name="connsiteX8273" fmla="*/ 1117092 w 2240198"/>
                <a:gd name="connsiteY8273" fmla="*/ 616095 h 1729012"/>
                <a:gd name="connsiteX8274" fmla="*/ 1115109 w 2240198"/>
                <a:gd name="connsiteY8274" fmla="*/ 617561 h 1729012"/>
                <a:gd name="connsiteX8275" fmla="*/ 1112776 w 2240198"/>
                <a:gd name="connsiteY8275" fmla="*/ 619910 h 1729012"/>
                <a:gd name="connsiteX8276" fmla="*/ 1110100 w 2240198"/>
                <a:gd name="connsiteY8276" fmla="*/ 621665 h 1729012"/>
                <a:gd name="connsiteX8277" fmla="*/ 1104039 w 2240198"/>
                <a:gd name="connsiteY8277" fmla="*/ 623509 h 1729012"/>
                <a:gd name="connsiteX8278" fmla="*/ 1100970 w 2240198"/>
                <a:gd name="connsiteY8278" fmla="*/ 623723 h 1729012"/>
                <a:gd name="connsiteX8279" fmla="*/ 1085780 w 2240198"/>
                <a:gd name="connsiteY8279" fmla="*/ 622184 h 1729012"/>
                <a:gd name="connsiteX8280" fmla="*/ 1084243 w 2240198"/>
                <a:gd name="connsiteY8280" fmla="*/ 621289 h 1729012"/>
                <a:gd name="connsiteX8281" fmla="*/ 1083180 w 2240198"/>
                <a:gd name="connsiteY8281" fmla="*/ 619688 h 1729012"/>
                <a:gd name="connsiteX8282" fmla="*/ 1082592 w 2240198"/>
                <a:gd name="connsiteY8282" fmla="*/ 617385 h 1729012"/>
                <a:gd name="connsiteX8283" fmla="*/ 1082432 w 2240198"/>
                <a:gd name="connsiteY8283" fmla="*/ 615567 h 1729012"/>
                <a:gd name="connsiteX8284" fmla="*/ 1082703 w 2240198"/>
                <a:gd name="connsiteY8284" fmla="*/ 614247 h 1729012"/>
                <a:gd name="connsiteX8285" fmla="*/ 1082624 w 2240198"/>
                <a:gd name="connsiteY8285" fmla="*/ 613471 h 1729012"/>
                <a:gd name="connsiteX8286" fmla="*/ 1082195 w 2240198"/>
                <a:gd name="connsiteY8286" fmla="*/ 613245 h 1729012"/>
                <a:gd name="connsiteX8287" fmla="*/ 1080507 w 2240198"/>
                <a:gd name="connsiteY8287" fmla="*/ 614569 h 1729012"/>
                <a:gd name="connsiteX8288" fmla="*/ 1078743 w 2240198"/>
                <a:gd name="connsiteY8288" fmla="*/ 616975 h 1729012"/>
                <a:gd name="connsiteX8289" fmla="*/ 1079708 w 2240198"/>
                <a:gd name="connsiteY8289" fmla="*/ 619643 h 1729012"/>
                <a:gd name="connsiteX8290" fmla="*/ 1084509 w 2240198"/>
                <a:gd name="connsiteY8290" fmla="*/ 627040 h 1729012"/>
                <a:gd name="connsiteX8291" fmla="*/ 1085425 w 2240198"/>
                <a:gd name="connsiteY8291" fmla="*/ 630212 h 1729012"/>
                <a:gd name="connsiteX8292" fmla="*/ 1085557 w 2240198"/>
                <a:gd name="connsiteY8292" fmla="*/ 631558 h 1729012"/>
                <a:gd name="connsiteX8293" fmla="*/ 1085342 w 2240198"/>
                <a:gd name="connsiteY8293" fmla="*/ 632567 h 1729012"/>
                <a:gd name="connsiteX8294" fmla="*/ 1079923 w 2240198"/>
                <a:gd name="connsiteY8294" fmla="*/ 636865 h 1729012"/>
                <a:gd name="connsiteX8295" fmla="*/ 1076788 w 2240198"/>
                <a:gd name="connsiteY8295" fmla="*/ 638320 h 1729012"/>
                <a:gd name="connsiteX8296" fmla="*/ 1073569 w 2240198"/>
                <a:gd name="connsiteY8296" fmla="*/ 639044 h 1729012"/>
                <a:gd name="connsiteX8297" fmla="*/ 1070503 w 2240198"/>
                <a:gd name="connsiteY8297" fmla="*/ 638505 h 1729012"/>
                <a:gd name="connsiteX8298" fmla="*/ 1067588 w 2240198"/>
                <a:gd name="connsiteY8298" fmla="*/ 636702 h 1729012"/>
                <a:gd name="connsiteX8299" fmla="*/ 1065370 w 2240198"/>
                <a:gd name="connsiteY8299" fmla="*/ 635902 h 1729012"/>
                <a:gd name="connsiteX8300" fmla="*/ 1060784 w 2240198"/>
                <a:gd name="connsiteY8300" fmla="*/ 636009 h 1729012"/>
                <a:gd name="connsiteX8301" fmla="*/ 1059351 w 2240198"/>
                <a:gd name="connsiteY8301" fmla="*/ 635079 h 1729012"/>
                <a:gd name="connsiteX8302" fmla="*/ 1058019 w 2240198"/>
                <a:gd name="connsiteY8302" fmla="*/ 633346 h 1729012"/>
                <a:gd name="connsiteX8303" fmla="*/ 1054786 w 2240198"/>
                <a:gd name="connsiteY8303" fmla="*/ 627124 h 1729012"/>
                <a:gd name="connsiteX8304" fmla="*/ 1050278 w 2240198"/>
                <a:gd name="connsiteY8304" fmla="*/ 622695 h 1729012"/>
                <a:gd name="connsiteX8305" fmla="*/ 1046392 w 2240198"/>
                <a:gd name="connsiteY8305" fmla="*/ 617726 h 1729012"/>
                <a:gd name="connsiteX8306" fmla="*/ 1036518 w 2240198"/>
                <a:gd name="connsiteY8306" fmla="*/ 610452 h 1729012"/>
                <a:gd name="connsiteX8307" fmla="*/ 1031407 w 2240198"/>
                <a:gd name="connsiteY8307" fmla="*/ 606086 h 1729012"/>
                <a:gd name="connsiteX8308" fmla="*/ 1024592 w 2240198"/>
                <a:gd name="connsiteY8308" fmla="*/ 599047 h 1729012"/>
                <a:gd name="connsiteX8309" fmla="*/ 1021742 w 2240198"/>
                <a:gd name="connsiteY8309" fmla="*/ 597452 h 1729012"/>
                <a:gd name="connsiteX8310" fmla="*/ 1019376 w 2240198"/>
                <a:gd name="connsiteY8310" fmla="*/ 596811 h 1729012"/>
                <a:gd name="connsiteX8311" fmla="*/ 1014723 w 2240198"/>
                <a:gd name="connsiteY8311" fmla="*/ 596306 h 1729012"/>
                <a:gd name="connsiteX8312" fmla="*/ 1013644 w 2240198"/>
                <a:gd name="connsiteY8312" fmla="*/ 595426 h 1729012"/>
                <a:gd name="connsiteX8313" fmla="*/ 1011948 w 2240198"/>
                <a:gd name="connsiteY8313" fmla="*/ 593023 h 1729012"/>
                <a:gd name="connsiteX8314" fmla="*/ 1009021 w 2240198"/>
                <a:gd name="connsiteY8314" fmla="*/ 591215 h 1729012"/>
                <a:gd name="connsiteX8315" fmla="*/ 1007953 w 2240198"/>
                <a:gd name="connsiteY8315" fmla="*/ 590988 h 1729012"/>
                <a:gd name="connsiteX8316" fmla="*/ 1006228 w 2240198"/>
                <a:gd name="connsiteY8316" fmla="*/ 591414 h 1729012"/>
                <a:gd name="connsiteX8317" fmla="*/ 1001674 w 2240198"/>
                <a:gd name="connsiteY8317" fmla="*/ 593079 h 1729012"/>
                <a:gd name="connsiteX8318" fmla="*/ 995953 w 2240198"/>
                <a:gd name="connsiteY8318" fmla="*/ 591316 h 1729012"/>
                <a:gd name="connsiteX8319" fmla="*/ 994671 w 2240198"/>
                <a:gd name="connsiteY8319" fmla="*/ 590076 h 1729012"/>
                <a:gd name="connsiteX8320" fmla="*/ 993912 w 2240198"/>
                <a:gd name="connsiteY8320" fmla="*/ 587970 h 1729012"/>
                <a:gd name="connsiteX8321" fmla="*/ 993190 w 2240198"/>
                <a:gd name="connsiteY8321" fmla="*/ 586813 h 1729012"/>
                <a:gd name="connsiteX8322" fmla="*/ 991252 w 2240198"/>
                <a:gd name="connsiteY8322" fmla="*/ 585773 h 1729012"/>
                <a:gd name="connsiteX8323" fmla="*/ 989620 w 2240198"/>
                <a:gd name="connsiteY8323" fmla="*/ 583140 h 1729012"/>
                <a:gd name="connsiteX8324" fmla="*/ 978753 w 2240198"/>
                <a:gd name="connsiteY8324" fmla="*/ 577940 h 1729012"/>
                <a:gd name="connsiteX8325" fmla="*/ 972291 w 2240198"/>
                <a:gd name="connsiteY8325" fmla="*/ 571950 h 1729012"/>
                <a:gd name="connsiteX8326" fmla="*/ 970982 w 2240198"/>
                <a:gd name="connsiteY8326" fmla="*/ 569783 h 1729012"/>
                <a:gd name="connsiteX8327" fmla="*/ 970857 w 2240198"/>
                <a:gd name="connsiteY8327" fmla="*/ 568897 h 1729012"/>
                <a:gd name="connsiteX8328" fmla="*/ 971521 w 2240198"/>
                <a:gd name="connsiteY8328" fmla="*/ 566010 h 1729012"/>
                <a:gd name="connsiteX8329" fmla="*/ 973017 w 2240198"/>
                <a:gd name="connsiteY8329" fmla="*/ 562730 h 1729012"/>
                <a:gd name="connsiteX8330" fmla="*/ 974979 w 2240198"/>
                <a:gd name="connsiteY8330" fmla="*/ 559468 h 1729012"/>
                <a:gd name="connsiteX8331" fmla="*/ 976179 w 2240198"/>
                <a:gd name="connsiteY8331" fmla="*/ 558131 h 1729012"/>
                <a:gd name="connsiteX8332" fmla="*/ 980430 w 2240198"/>
                <a:gd name="connsiteY8332" fmla="*/ 555313 h 1729012"/>
                <a:gd name="connsiteX8333" fmla="*/ 983780 w 2240198"/>
                <a:gd name="connsiteY8333" fmla="*/ 554674 h 1729012"/>
                <a:gd name="connsiteX8334" fmla="*/ 988455 w 2240198"/>
                <a:gd name="connsiteY8334" fmla="*/ 555031 h 1729012"/>
                <a:gd name="connsiteX8335" fmla="*/ 990919 w 2240198"/>
                <a:gd name="connsiteY8335" fmla="*/ 555658 h 1729012"/>
                <a:gd name="connsiteX8336" fmla="*/ 993126 w 2240198"/>
                <a:gd name="connsiteY8336" fmla="*/ 557545 h 1729012"/>
                <a:gd name="connsiteX8337" fmla="*/ 994073 w 2240198"/>
                <a:gd name="connsiteY8337" fmla="*/ 559718 h 1729012"/>
                <a:gd name="connsiteX8338" fmla="*/ 995176 w 2240198"/>
                <a:gd name="connsiteY8338" fmla="*/ 561182 h 1729012"/>
                <a:gd name="connsiteX8339" fmla="*/ 998645 w 2240198"/>
                <a:gd name="connsiteY8339" fmla="*/ 562781 h 1729012"/>
                <a:gd name="connsiteX8340" fmla="*/ 1000526 w 2240198"/>
                <a:gd name="connsiteY8340" fmla="*/ 564069 h 1729012"/>
                <a:gd name="connsiteX8341" fmla="*/ 1003289 w 2240198"/>
                <a:gd name="connsiteY8341" fmla="*/ 567060 h 1729012"/>
                <a:gd name="connsiteX8342" fmla="*/ 1005420 w 2240198"/>
                <a:gd name="connsiteY8342" fmla="*/ 570659 h 1729012"/>
                <a:gd name="connsiteX8343" fmla="*/ 1007382 w 2240198"/>
                <a:gd name="connsiteY8343" fmla="*/ 571843 h 1729012"/>
                <a:gd name="connsiteX8344" fmla="*/ 1012088 w 2240198"/>
                <a:gd name="connsiteY8344" fmla="*/ 572247 h 1729012"/>
                <a:gd name="connsiteX8345" fmla="*/ 1016946 w 2240198"/>
                <a:gd name="connsiteY8345" fmla="*/ 571639 h 1729012"/>
                <a:gd name="connsiteX8346" fmla="*/ 1027374 w 2240198"/>
                <a:gd name="connsiteY8346" fmla="*/ 569376 h 1729012"/>
                <a:gd name="connsiteX8347" fmla="*/ 1027798 w 2240198"/>
                <a:gd name="connsiteY8347" fmla="*/ 569094 h 1729012"/>
                <a:gd name="connsiteX8348" fmla="*/ 1028443 w 2240198"/>
                <a:gd name="connsiteY8348" fmla="*/ 567744 h 1729012"/>
                <a:gd name="connsiteX8349" fmla="*/ 1029632 w 2240198"/>
                <a:gd name="connsiteY8349" fmla="*/ 559529 h 1729012"/>
                <a:gd name="connsiteX8350" fmla="*/ 1030346 w 2240198"/>
                <a:gd name="connsiteY8350" fmla="*/ 559494 h 1729012"/>
                <a:gd name="connsiteX8351" fmla="*/ 1033886 w 2240198"/>
                <a:gd name="connsiteY8351" fmla="*/ 563303 h 1729012"/>
                <a:gd name="connsiteX8352" fmla="*/ 1034891 w 2240198"/>
                <a:gd name="connsiteY8352" fmla="*/ 563720 h 1729012"/>
                <a:gd name="connsiteX8353" fmla="*/ 1036417 w 2240198"/>
                <a:gd name="connsiteY8353" fmla="*/ 562928 h 1729012"/>
                <a:gd name="connsiteX8354" fmla="*/ 1037323 w 2240198"/>
                <a:gd name="connsiteY8354" fmla="*/ 561078 h 1729012"/>
                <a:gd name="connsiteX8355" fmla="*/ 1037213 w 2240198"/>
                <a:gd name="connsiteY8355" fmla="*/ 560200 h 1729012"/>
                <a:gd name="connsiteX8356" fmla="*/ 1034988 w 2240198"/>
                <a:gd name="connsiteY8356" fmla="*/ 555738 h 1729012"/>
                <a:gd name="connsiteX8357" fmla="*/ 1033676 w 2240198"/>
                <a:gd name="connsiteY8357" fmla="*/ 553794 h 1729012"/>
                <a:gd name="connsiteX8358" fmla="*/ 1032499 w 2240198"/>
                <a:gd name="connsiteY8358" fmla="*/ 552587 h 1729012"/>
                <a:gd name="connsiteX8359" fmla="*/ 1031187 w 2240198"/>
                <a:gd name="connsiteY8359" fmla="*/ 552191 h 1729012"/>
                <a:gd name="connsiteX8360" fmla="*/ 1028352 w 2240198"/>
                <a:gd name="connsiteY8360" fmla="*/ 552575 h 1729012"/>
                <a:gd name="connsiteX8361" fmla="*/ 1026192 w 2240198"/>
                <a:gd name="connsiteY8361" fmla="*/ 551715 h 1729012"/>
                <a:gd name="connsiteX8362" fmla="*/ 1025715 w 2240198"/>
                <a:gd name="connsiteY8362" fmla="*/ 550479 h 1729012"/>
                <a:gd name="connsiteX8363" fmla="*/ 1026065 w 2240198"/>
                <a:gd name="connsiteY8363" fmla="*/ 548821 h 1729012"/>
                <a:gd name="connsiteX8364" fmla="*/ 1027259 w 2240198"/>
                <a:gd name="connsiteY8364" fmla="*/ 547067 h 1729012"/>
                <a:gd name="connsiteX8365" fmla="*/ 1028539 w 2240198"/>
                <a:gd name="connsiteY8365" fmla="*/ 546061 h 1729012"/>
                <a:gd name="connsiteX8366" fmla="*/ 1031026 w 2240198"/>
                <a:gd name="connsiteY8366" fmla="*/ 545546 h 1729012"/>
                <a:gd name="connsiteX8367" fmla="*/ 1033938 w 2240198"/>
                <a:gd name="connsiteY8367" fmla="*/ 546056 h 1729012"/>
                <a:gd name="connsiteX8368" fmla="*/ 1037967 w 2240198"/>
                <a:gd name="connsiteY8368" fmla="*/ 548178 h 1729012"/>
                <a:gd name="connsiteX8369" fmla="*/ 1040518 w 2240198"/>
                <a:gd name="connsiteY8369" fmla="*/ 548648 h 1729012"/>
                <a:gd name="connsiteX8370" fmla="*/ 1044099 w 2240198"/>
                <a:gd name="connsiteY8370" fmla="*/ 548042 h 1729012"/>
                <a:gd name="connsiteX8371" fmla="*/ 1039515 w 2240198"/>
                <a:gd name="connsiteY8371" fmla="*/ 546796 h 1729012"/>
                <a:gd name="connsiteX8372" fmla="*/ 1033125 w 2240198"/>
                <a:gd name="connsiteY8372" fmla="*/ 541889 h 1729012"/>
                <a:gd name="connsiteX8373" fmla="*/ 1030382 w 2240198"/>
                <a:gd name="connsiteY8373" fmla="*/ 540972 h 1729012"/>
                <a:gd name="connsiteX8374" fmla="*/ 1027038 w 2240198"/>
                <a:gd name="connsiteY8374" fmla="*/ 543079 h 1729012"/>
                <a:gd name="connsiteX8375" fmla="*/ 1024781 w 2240198"/>
                <a:gd name="connsiteY8375" fmla="*/ 543872 h 1729012"/>
                <a:gd name="connsiteX8376" fmla="*/ 1020513 w 2240198"/>
                <a:gd name="connsiteY8376" fmla="*/ 544899 h 1729012"/>
                <a:gd name="connsiteX8377" fmla="*/ 1017114 w 2240198"/>
                <a:gd name="connsiteY8377" fmla="*/ 545051 h 1729012"/>
                <a:gd name="connsiteX8378" fmla="*/ 1002877 w 2240198"/>
                <a:gd name="connsiteY8378" fmla="*/ 537459 h 1729012"/>
                <a:gd name="connsiteX8379" fmla="*/ 1002085 w 2240198"/>
                <a:gd name="connsiteY8379" fmla="*/ 536732 h 1729012"/>
                <a:gd name="connsiteX8380" fmla="*/ 1001043 w 2240198"/>
                <a:gd name="connsiteY8380" fmla="*/ 534750 h 1729012"/>
                <a:gd name="connsiteX8381" fmla="*/ 1001163 w 2240198"/>
                <a:gd name="connsiteY8381" fmla="*/ 533837 h 1729012"/>
                <a:gd name="connsiteX8382" fmla="*/ 1002568 w 2240198"/>
                <a:gd name="connsiteY8382" fmla="*/ 532426 h 1729012"/>
                <a:gd name="connsiteX8383" fmla="*/ 1006115 w 2240198"/>
                <a:gd name="connsiteY8383" fmla="*/ 530557 h 1729012"/>
                <a:gd name="connsiteX8384" fmla="*/ 1011394 w 2240198"/>
                <a:gd name="connsiteY8384" fmla="*/ 529386 h 1729012"/>
                <a:gd name="connsiteX8385" fmla="*/ 1014923 w 2240198"/>
                <a:gd name="connsiteY8385" fmla="*/ 529195 h 1729012"/>
                <a:gd name="connsiteX8386" fmla="*/ 1018009 w 2240198"/>
                <a:gd name="connsiteY8386" fmla="*/ 530590 h 1729012"/>
                <a:gd name="connsiteX8387" fmla="*/ 1022504 w 2240198"/>
                <a:gd name="connsiteY8387" fmla="*/ 534362 h 1729012"/>
                <a:gd name="connsiteX8388" fmla="*/ 1026437 w 2240198"/>
                <a:gd name="connsiteY8388" fmla="*/ 536563 h 1729012"/>
                <a:gd name="connsiteX8389" fmla="*/ 1026760 w 2240198"/>
                <a:gd name="connsiteY8389" fmla="*/ 535772 h 1729012"/>
                <a:gd name="connsiteX8390" fmla="*/ 1026065 w 2240198"/>
                <a:gd name="connsiteY8390" fmla="*/ 533607 h 1729012"/>
                <a:gd name="connsiteX8391" fmla="*/ 1024271 w 2240198"/>
                <a:gd name="connsiteY8391" fmla="*/ 530390 h 1729012"/>
                <a:gd name="connsiteX8392" fmla="*/ 1022983 w 2240198"/>
                <a:gd name="connsiteY8392" fmla="*/ 529508 h 1729012"/>
                <a:gd name="connsiteX8393" fmla="*/ 1019819 w 2240198"/>
                <a:gd name="connsiteY8393" fmla="*/ 528547 h 1729012"/>
                <a:gd name="connsiteX8394" fmla="*/ 1016889 w 2240198"/>
                <a:gd name="connsiteY8394" fmla="*/ 526332 h 1729012"/>
                <a:gd name="connsiteX8395" fmla="*/ 1015511 w 2240198"/>
                <a:gd name="connsiteY8395" fmla="*/ 524693 h 1729012"/>
                <a:gd name="connsiteX8396" fmla="*/ 1014777 w 2240198"/>
                <a:gd name="connsiteY8396" fmla="*/ 522933 h 1729012"/>
                <a:gd name="connsiteX8397" fmla="*/ 1014687 w 2240198"/>
                <a:gd name="connsiteY8397" fmla="*/ 521055 h 1729012"/>
                <a:gd name="connsiteX8398" fmla="*/ 1015247 w 2240198"/>
                <a:gd name="connsiteY8398" fmla="*/ 519771 h 1729012"/>
                <a:gd name="connsiteX8399" fmla="*/ 1016461 w 2240198"/>
                <a:gd name="connsiteY8399" fmla="*/ 519082 h 1729012"/>
                <a:gd name="connsiteX8400" fmla="*/ 1027403 w 2240198"/>
                <a:gd name="connsiteY8400" fmla="*/ 517201 h 1729012"/>
                <a:gd name="connsiteX8401" fmla="*/ 1035042 w 2240198"/>
                <a:gd name="connsiteY8401" fmla="*/ 519285 h 1729012"/>
                <a:gd name="connsiteX8402" fmla="*/ 1039890 w 2240198"/>
                <a:gd name="connsiteY8402" fmla="*/ 519585 h 1729012"/>
                <a:gd name="connsiteX8403" fmla="*/ 1041901 w 2240198"/>
                <a:gd name="connsiteY8403" fmla="*/ 517028 h 1729012"/>
                <a:gd name="connsiteX8404" fmla="*/ 1041200 w 2240198"/>
                <a:gd name="connsiteY8404" fmla="*/ 516529 h 1729012"/>
                <a:gd name="connsiteX8405" fmla="*/ 1038648 w 2240198"/>
                <a:gd name="connsiteY8405" fmla="*/ 517188 h 1729012"/>
                <a:gd name="connsiteX8406" fmla="*/ 1035766 w 2240198"/>
                <a:gd name="connsiteY8406" fmla="*/ 517173 h 1729012"/>
                <a:gd name="connsiteX8407" fmla="*/ 1033965 w 2240198"/>
                <a:gd name="connsiteY8407" fmla="*/ 515770 h 1729012"/>
                <a:gd name="connsiteX8408" fmla="*/ 1033908 w 2240198"/>
                <a:gd name="connsiteY8408" fmla="*/ 514950 h 1729012"/>
                <a:gd name="connsiteX8409" fmla="*/ 1036154 w 2240198"/>
                <a:gd name="connsiteY8409" fmla="*/ 512986 h 1729012"/>
                <a:gd name="connsiteX8410" fmla="*/ 1095439 w 2240198"/>
                <a:gd name="connsiteY8410" fmla="*/ 503781 h 1729012"/>
                <a:gd name="connsiteX8411" fmla="*/ 1098031 w 2240198"/>
                <a:gd name="connsiteY8411" fmla="*/ 504077 h 1729012"/>
                <a:gd name="connsiteX8412" fmla="*/ 1098812 w 2240198"/>
                <a:gd name="connsiteY8412" fmla="*/ 504998 h 1729012"/>
                <a:gd name="connsiteX8413" fmla="*/ 1099022 w 2240198"/>
                <a:gd name="connsiteY8413" fmla="*/ 505916 h 1729012"/>
                <a:gd name="connsiteX8414" fmla="*/ 1098662 w 2240198"/>
                <a:gd name="connsiteY8414" fmla="*/ 506839 h 1729012"/>
                <a:gd name="connsiteX8415" fmla="*/ 1096597 w 2240198"/>
                <a:gd name="connsiteY8415" fmla="*/ 509193 h 1729012"/>
                <a:gd name="connsiteX8416" fmla="*/ 1093902 w 2240198"/>
                <a:gd name="connsiteY8416" fmla="*/ 511027 h 1729012"/>
                <a:gd name="connsiteX8417" fmla="*/ 1086652 w 2240198"/>
                <a:gd name="connsiteY8417" fmla="*/ 514965 h 1729012"/>
                <a:gd name="connsiteX8418" fmla="*/ 1083524 w 2240198"/>
                <a:gd name="connsiteY8418" fmla="*/ 515968 h 1729012"/>
                <a:gd name="connsiteX8419" fmla="*/ 1076225 w 2240198"/>
                <a:gd name="connsiteY8419" fmla="*/ 517009 h 1729012"/>
                <a:gd name="connsiteX8420" fmla="*/ 1072856 w 2240198"/>
                <a:gd name="connsiteY8420" fmla="*/ 516562 h 1729012"/>
                <a:gd name="connsiteX8421" fmla="*/ 1071074 w 2240198"/>
                <a:gd name="connsiteY8421" fmla="*/ 517925 h 1729012"/>
                <a:gd name="connsiteX8422" fmla="*/ 1069673 w 2240198"/>
                <a:gd name="connsiteY8422" fmla="*/ 518503 h 1729012"/>
                <a:gd name="connsiteX8423" fmla="*/ 1065684 w 2240198"/>
                <a:gd name="connsiteY8423" fmla="*/ 518753 h 1729012"/>
                <a:gd name="connsiteX8424" fmla="*/ 1057466 w 2240198"/>
                <a:gd name="connsiteY8424" fmla="*/ 516291 h 1729012"/>
                <a:gd name="connsiteX8425" fmla="*/ 1055257 w 2240198"/>
                <a:gd name="connsiteY8425" fmla="*/ 515435 h 1729012"/>
                <a:gd name="connsiteX8426" fmla="*/ 1054449 w 2240198"/>
                <a:gd name="connsiteY8426" fmla="*/ 514640 h 1729012"/>
                <a:gd name="connsiteX8427" fmla="*/ 1054784 w 2240198"/>
                <a:gd name="connsiteY8427" fmla="*/ 513875 h 1729012"/>
                <a:gd name="connsiteX8428" fmla="*/ 1056259 w 2240198"/>
                <a:gd name="connsiteY8428" fmla="*/ 513141 h 1729012"/>
                <a:gd name="connsiteX8429" fmla="*/ 1062566 w 2240198"/>
                <a:gd name="connsiteY8429" fmla="*/ 512026 h 1729012"/>
                <a:gd name="connsiteX8430" fmla="*/ 1064903 w 2240198"/>
                <a:gd name="connsiteY8430" fmla="*/ 511202 h 1729012"/>
                <a:gd name="connsiteX8431" fmla="*/ 1065867 w 2240198"/>
                <a:gd name="connsiteY8431" fmla="*/ 510052 h 1729012"/>
                <a:gd name="connsiteX8432" fmla="*/ 1067444 w 2240198"/>
                <a:gd name="connsiteY8432" fmla="*/ 509125 h 1729012"/>
                <a:gd name="connsiteX8433" fmla="*/ 1069634 w 2240198"/>
                <a:gd name="connsiteY8433" fmla="*/ 508427 h 1729012"/>
                <a:gd name="connsiteX8434" fmla="*/ 1075546 w 2240198"/>
                <a:gd name="connsiteY8434" fmla="*/ 507756 h 1729012"/>
                <a:gd name="connsiteX8435" fmla="*/ 1088832 w 2240198"/>
                <a:gd name="connsiteY8435" fmla="*/ 504275 h 1729012"/>
                <a:gd name="connsiteX8436" fmla="*/ 1206756 w 2240198"/>
                <a:gd name="connsiteY8436" fmla="*/ 500596 h 1729012"/>
                <a:gd name="connsiteX8437" fmla="*/ 1212828 w 2240198"/>
                <a:gd name="connsiteY8437" fmla="*/ 501479 h 1729012"/>
                <a:gd name="connsiteX8438" fmla="*/ 1222789 w 2240198"/>
                <a:gd name="connsiteY8438" fmla="*/ 503828 h 1729012"/>
                <a:gd name="connsiteX8439" fmla="*/ 1227637 w 2240198"/>
                <a:gd name="connsiteY8439" fmla="*/ 505366 h 1729012"/>
                <a:gd name="connsiteX8440" fmla="*/ 1230020 w 2240198"/>
                <a:gd name="connsiteY8440" fmla="*/ 506392 h 1729012"/>
                <a:gd name="connsiteX8441" fmla="*/ 1234558 w 2240198"/>
                <a:gd name="connsiteY8441" fmla="*/ 509844 h 1729012"/>
                <a:gd name="connsiteX8442" fmla="*/ 1236869 w 2240198"/>
                <a:gd name="connsiteY8442" fmla="*/ 510835 h 1729012"/>
                <a:gd name="connsiteX8443" fmla="*/ 1245707 w 2240198"/>
                <a:gd name="connsiteY8443" fmla="*/ 508833 h 1729012"/>
                <a:gd name="connsiteX8444" fmla="*/ 1251888 w 2240198"/>
                <a:gd name="connsiteY8444" fmla="*/ 508090 h 1729012"/>
                <a:gd name="connsiteX8445" fmla="*/ 1265642 w 2240198"/>
                <a:gd name="connsiteY8445" fmla="*/ 509007 h 1729012"/>
                <a:gd name="connsiteX8446" fmla="*/ 1277320 w 2240198"/>
                <a:gd name="connsiteY8446" fmla="*/ 511857 h 1729012"/>
                <a:gd name="connsiteX8447" fmla="*/ 1281617 w 2240198"/>
                <a:gd name="connsiteY8447" fmla="*/ 513998 h 1729012"/>
                <a:gd name="connsiteX8448" fmla="*/ 1284238 w 2240198"/>
                <a:gd name="connsiteY8448" fmla="*/ 515961 h 1729012"/>
                <a:gd name="connsiteX8449" fmla="*/ 1283559 w 2240198"/>
                <a:gd name="connsiteY8449" fmla="*/ 518127 h 1729012"/>
                <a:gd name="connsiteX8450" fmla="*/ 1281409 w 2240198"/>
                <a:gd name="connsiteY8450" fmla="*/ 521621 h 1729012"/>
                <a:gd name="connsiteX8451" fmla="*/ 1278889 w 2240198"/>
                <a:gd name="connsiteY8451" fmla="*/ 524939 h 1729012"/>
                <a:gd name="connsiteX8452" fmla="*/ 1273843 w 2240198"/>
                <a:gd name="connsiteY8452" fmla="*/ 530133 h 1729012"/>
                <a:gd name="connsiteX8453" fmla="*/ 1269554 w 2240198"/>
                <a:gd name="connsiteY8453" fmla="*/ 532727 h 1729012"/>
                <a:gd name="connsiteX8454" fmla="*/ 1268495 w 2240198"/>
                <a:gd name="connsiteY8454" fmla="*/ 533972 h 1729012"/>
                <a:gd name="connsiteX8455" fmla="*/ 1267824 w 2240198"/>
                <a:gd name="connsiteY8455" fmla="*/ 535694 h 1729012"/>
                <a:gd name="connsiteX8456" fmla="*/ 1266159 w 2240198"/>
                <a:gd name="connsiteY8456" fmla="*/ 538214 h 1729012"/>
                <a:gd name="connsiteX8457" fmla="*/ 1261551 w 2240198"/>
                <a:gd name="connsiteY8457" fmla="*/ 543656 h 1729012"/>
                <a:gd name="connsiteX8458" fmla="*/ 1260322 w 2240198"/>
                <a:gd name="connsiteY8458" fmla="*/ 544586 h 1729012"/>
                <a:gd name="connsiteX8459" fmla="*/ 1253833 w 2240198"/>
                <a:gd name="connsiteY8459" fmla="*/ 546963 h 1729012"/>
                <a:gd name="connsiteX8460" fmla="*/ 1256056 w 2240198"/>
                <a:gd name="connsiteY8460" fmla="*/ 548027 h 1729012"/>
                <a:gd name="connsiteX8461" fmla="*/ 1257074 w 2240198"/>
                <a:gd name="connsiteY8461" fmla="*/ 548966 h 1729012"/>
                <a:gd name="connsiteX8462" fmla="*/ 1256219 w 2240198"/>
                <a:gd name="connsiteY8462" fmla="*/ 551372 h 1729012"/>
                <a:gd name="connsiteX8463" fmla="*/ 1252127 w 2240198"/>
                <a:gd name="connsiteY8463" fmla="*/ 557165 h 1729012"/>
                <a:gd name="connsiteX8464" fmla="*/ 1247883 w 2240198"/>
                <a:gd name="connsiteY8464" fmla="*/ 562509 h 1729012"/>
                <a:gd name="connsiteX8465" fmla="*/ 1244917 w 2240198"/>
                <a:gd name="connsiteY8465" fmla="*/ 565697 h 1729012"/>
                <a:gd name="connsiteX8466" fmla="*/ 1239526 w 2240198"/>
                <a:gd name="connsiteY8466" fmla="*/ 570299 h 1729012"/>
                <a:gd name="connsiteX8467" fmla="*/ 1236561 w 2240198"/>
                <a:gd name="connsiteY8467" fmla="*/ 571597 h 1729012"/>
                <a:gd name="connsiteX8468" fmla="*/ 1232578 w 2240198"/>
                <a:gd name="connsiteY8468" fmla="*/ 571998 h 1729012"/>
                <a:gd name="connsiteX8469" fmla="*/ 1208523 w 2240198"/>
                <a:gd name="connsiteY8469" fmla="*/ 567984 h 1729012"/>
                <a:gd name="connsiteX8470" fmla="*/ 1202487 w 2240198"/>
                <a:gd name="connsiteY8470" fmla="*/ 568049 h 1729012"/>
                <a:gd name="connsiteX8471" fmla="*/ 1186446 w 2240198"/>
                <a:gd name="connsiteY8471" fmla="*/ 570147 h 1729012"/>
                <a:gd name="connsiteX8472" fmla="*/ 1187957 w 2240198"/>
                <a:gd name="connsiteY8472" fmla="*/ 571172 h 1729012"/>
                <a:gd name="connsiteX8473" fmla="*/ 1193832 w 2240198"/>
                <a:gd name="connsiteY8473" fmla="*/ 572724 h 1729012"/>
                <a:gd name="connsiteX8474" fmla="*/ 1197622 w 2240198"/>
                <a:gd name="connsiteY8474" fmla="*/ 574413 h 1729012"/>
                <a:gd name="connsiteX8475" fmla="*/ 1202650 w 2240198"/>
                <a:gd name="connsiteY8475" fmla="*/ 579670 h 1729012"/>
                <a:gd name="connsiteX8476" fmla="*/ 1203304 w 2240198"/>
                <a:gd name="connsiteY8476" fmla="*/ 580979 h 1729012"/>
                <a:gd name="connsiteX8477" fmla="*/ 1203621 w 2240198"/>
                <a:gd name="connsiteY8477" fmla="*/ 582503 h 1729012"/>
                <a:gd name="connsiteX8478" fmla="*/ 1203427 w 2240198"/>
                <a:gd name="connsiteY8478" fmla="*/ 585489 h 1729012"/>
                <a:gd name="connsiteX8479" fmla="*/ 1203083 w 2240198"/>
                <a:gd name="connsiteY8479" fmla="*/ 586247 h 1729012"/>
                <a:gd name="connsiteX8480" fmla="*/ 1195085 w 2240198"/>
                <a:gd name="connsiteY8480" fmla="*/ 594281 h 1729012"/>
                <a:gd name="connsiteX8481" fmla="*/ 1192499 w 2240198"/>
                <a:gd name="connsiteY8481" fmla="*/ 600110 h 1729012"/>
                <a:gd name="connsiteX8482" fmla="*/ 1190851 w 2240198"/>
                <a:gd name="connsiteY8482" fmla="*/ 604908 h 1729012"/>
                <a:gd name="connsiteX8483" fmla="*/ 1188159 w 2240198"/>
                <a:gd name="connsiteY8483" fmla="*/ 606230 h 1729012"/>
                <a:gd name="connsiteX8484" fmla="*/ 1179197 w 2240198"/>
                <a:gd name="connsiteY8484" fmla="*/ 604205 h 1729012"/>
                <a:gd name="connsiteX8485" fmla="*/ 1176305 w 2240198"/>
                <a:gd name="connsiteY8485" fmla="*/ 604266 h 1729012"/>
                <a:gd name="connsiteX8486" fmla="*/ 1166249 w 2240198"/>
                <a:gd name="connsiteY8486" fmla="*/ 605665 h 1729012"/>
                <a:gd name="connsiteX8487" fmla="*/ 1161555 w 2240198"/>
                <a:gd name="connsiteY8487" fmla="*/ 604971 h 1729012"/>
                <a:gd name="connsiteX8488" fmla="*/ 1162218 w 2240198"/>
                <a:gd name="connsiteY8488" fmla="*/ 597734 h 1729012"/>
                <a:gd name="connsiteX8489" fmla="*/ 1161562 w 2240198"/>
                <a:gd name="connsiteY8489" fmla="*/ 589893 h 1729012"/>
                <a:gd name="connsiteX8490" fmla="*/ 1160083 w 2240198"/>
                <a:gd name="connsiteY8490" fmla="*/ 582384 h 1729012"/>
                <a:gd name="connsiteX8491" fmla="*/ 1152562 w 2240198"/>
                <a:gd name="connsiteY8491" fmla="*/ 568963 h 1729012"/>
                <a:gd name="connsiteX8492" fmla="*/ 1151732 w 2240198"/>
                <a:gd name="connsiteY8492" fmla="*/ 566573 h 1729012"/>
                <a:gd name="connsiteX8493" fmla="*/ 1151180 w 2240198"/>
                <a:gd name="connsiteY8493" fmla="*/ 564001 h 1729012"/>
                <a:gd name="connsiteX8494" fmla="*/ 1150900 w 2240198"/>
                <a:gd name="connsiteY8494" fmla="*/ 561242 h 1729012"/>
                <a:gd name="connsiteX8495" fmla="*/ 1150924 w 2240198"/>
                <a:gd name="connsiteY8495" fmla="*/ 558462 h 1729012"/>
                <a:gd name="connsiteX8496" fmla="*/ 1151447 w 2240198"/>
                <a:gd name="connsiteY8496" fmla="*/ 552832 h 1729012"/>
                <a:gd name="connsiteX8497" fmla="*/ 1151506 w 2240198"/>
                <a:gd name="connsiteY8497" fmla="*/ 549973 h 1729012"/>
                <a:gd name="connsiteX8498" fmla="*/ 1151129 w 2240198"/>
                <a:gd name="connsiteY8498" fmla="*/ 542499 h 1729012"/>
                <a:gd name="connsiteX8499" fmla="*/ 1150112 w 2240198"/>
                <a:gd name="connsiteY8499" fmla="*/ 531269 h 1729012"/>
                <a:gd name="connsiteX8500" fmla="*/ 1150017 w 2240198"/>
                <a:gd name="connsiteY8500" fmla="*/ 527292 h 1729012"/>
                <a:gd name="connsiteX8501" fmla="*/ 1150086 w 2240198"/>
                <a:gd name="connsiteY8501" fmla="*/ 525706 h 1729012"/>
                <a:gd name="connsiteX8502" fmla="*/ 1150399 w 2240198"/>
                <a:gd name="connsiteY8502" fmla="*/ 524495 h 1729012"/>
                <a:gd name="connsiteX8503" fmla="*/ 1152009 w 2240198"/>
                <a:gd name="connsiteY8503" fmla="*/ 522885 h 1729012"/>
                <a:gd name="connsiteX8504" fmla="*/ 1155102 w 2240198"/>
                <a:gd name="connsiteY8504" fmla="*/ 521729 h 1729012"/>
                <a:gd name="connsiteX8505" fmla="*/ 1156660 w 2240198"/>
                <a:gd name="connsiteY8505" fmla="*/ 521558 h 1729012"/>
                <a:gd name="connsiteX8506" fmla="*/ 1166546 w 2240198"/>
                <a:gd name="connsiteY8506" fmla="*/ 524972 h 1729012"/>
                <a:gd name="connsiteX8507" fmla="*/ 1171091 w 2240198"/>
                <a:gd name="connsiteY8507" fmla="*/ 526112 h 1729012"/>
                <a:gd name="connsiteX8508" fmla="*/ 1174115 w 2240198"/>
                <a:gd name="connsiteY8508" fmla="*/ 526061 h 1729012"/>
                <a:gd name="connsiteX8509" fmla="*/ 1174282 w 2240198"/>
                <a:gd name="connsiteY8509" fmla="*/ 525675 h 1729012"/>
                <a:gd name="connsiteX8510" fmla="*/ 1171591 w 2240198"/>
                <a:gd name="connsiteY8510" fmla="*/ 524955 h 1729012"/>
                <a:gd name="connsiteX8511" fmla="*/ 1169061 w 2240198"/>
                <a:gd name="connsiteY8511" fmla="*/ 523484 h 1729012"/>
                <a:gd name="connsiteX8512" fmla="*/ 1164939 w 2240198"/>
                <a:gd name="connsiteY8512" fmla="*/ 519097 h 1729012"/>
                <a:gd name="connsiteX8513" fmla="*/ 1163047 w 2240198"/>
                <a:gd name="connsiteY8513" fmla="*/ 515340 h 1729012"/>
                <a:gd name="connsiteX8514" fmla="*/ 1162668 w 2240198"/>
                <a:gd name="connsiteY8514" fmla="*/ 514096 h 1729012"/>
                <a:gd name="connsiteX8515" fmla="*/ 1162579 w 2240198"/>
                <a:gd name="connsiteY8515" fmla="*/ 512794 h 1729012"/>
                <a:gd name="connsiteX8516" fmla="*/ 1162776 w 2240198"/>
                <a:gd name="connsiteY8516" fmla="*/ 511432 h 1729012"/>
                <a:gd name="connsiteX8517" fmla="*/ 1163375 w 2240198"/>
                <a:gd name="connsiteY8517" fmla="*/ 510207 h 1729012"/>
                <a:gd name="connsiteX8518" fmla="*/ 1165438 w 2240198"/>
                <a:gd name="connsiteY8518" fmla="*/ 508284 h 1729012"/>
                <a:gd name="connsiteX8519" fmla="*/ 1167119 w 2240198"/>
                <a:gd name="connsiteY8519" fmla="*/ 507416 h 1729012"/>
                <a:gd name="connsiteX8520" fmla="*/ 1173320 w 2240198"/>
                <a:gd name="connsiteY8520" fmla="*/ 505205 h 1729012"/>
                <a:gd name="connsiteX8521" fmla="*/ 1179568 w 2240198"/>
                <a:gd name="connsiteY8521" fmla="*/ 503857 h 1729012"/>
                <a:gd name="connsiteX8522" fmla="*/ 1193355 w 2240198"/>
                <a:gd name="connsiteY8522" fmla="*/ 502940 h 1729012"/>
                <a:gd name="connsiteX8523" fmla="*/ 1197265 w 2240198"/>
                <a:gd name="connsiteY8523" fmla="*/ 503597 h 1729012"/>
                <a:gd name="connsiteX8524" fmla="*/ 1203234 w 2240198"/>
                <a:gd name="connsiteY8524" fmla="*/ 501174 h 1729012"/>
                <a:gd name="connsiteX8525" fmla="*/ 494399 w 2240198"/>
                <a:gd name="connsiteY8525" fmla="*/ 482297 h 1729012"/>
                <a:gd name="connsiteX8526" fmla="*/ 499189 w 2240198"/>
                <a:gd name="connsiteY8526" fmla="*/ 483056 h 1729012"/>
                <a:gd name="connsiteX8527" fmla="*/ 503919 w 2240198"/>
                <a:gd name="connsiteY8527" fmla="*/ 485049 h 1729012"/>
                <a:gd name="connsiteX8528" fmla="*/ 510183 w 2240198"/>
                <a:gd name="connsiteY8528" fmla="*/ 488527 h 1729012"/>
                <a:gd name="connsiteX8529" fmla="*/ 518479 w 2240198"/>
                <a:gd name="connsiteY8529" fmla="*/ 491916 h 1729012"/>
                <a:gd name="connsiteX8530" fmla="*/ 533969 w 2240198"/>
                <a:gd name="connsiteY8530" fmla="*/ 496865 h 1729012"/>
                <a:gd name="connsiteX8531" fmla="*/ 543629 w 2240198"/>
                <a:gd name="connsiteY8531" fmla="*/ 497906 h 1729012"/>
                <a:gd name="connsiteX8532" fmla="*/ 539755 w 2240198"/>
                <a:gd name="connsiteY8532" fmla="*/ 501843 h 1729012"/>
                <a:gd name="connsiteX8533" fmla="*/ 539209 w 2240198"/>
                <a:gd name="connsiteY8533" fmla="*/ 503022 h 1729012"/>
                <a:gd name="connsiteX8534" fmla="*/ 539224 w 2240198"/>
                <a:gd name="connsiteY8534" fmla="*/ 503881 h 1729012"/>
                <a:gd name="connsiteX8535" fmla="*/ 539421 w 2240198"/>
                <a:gd name="connsiteY8535" fmla="*/ 504089 h 1729012"/>
                <a:gd name="connsiteX8536" fmla="*/ 545950 w 2240198"/>
                <a:gd name="connsiteY8536" fmla="*/ 499478 h 1729012"/>
                <a:gd name="connsiteX8537" fmla="*/ 549912 w 2240198"/>
                <a:gd name="connsiteY8537" fmla="*/ 499227 h 1729012"/>
                <a:gd name="connsiteX8538" fmla="*/ 552673 w 2240198"/>
                <a:gd name="connsiteY8538" fmla="*/ 499639 h 1729012"/>
                <a:gd name="connsiteX8539" fmla="*/ 553548 w 2240198"/>
                <a:gd name="connsiteY8539" fmla="*/ 500226 h 1729012"/>
                <a:gd name="connsiteX8540" fmla="*/ 554102 w 2240198"/>
                <a:gd name="connsiteY8540" fmla="*/ 501137 h 1729012"/>
                <a:gd name="connsiteX8541" fmla="*/ 554376 w 2240198"/>
                <a:gd name="connsiteY8541" fmla="*/ 503139 h 1729012"/>
                <a:gd name="connsiteX8542" fmla="*/ 554551 w 2240198"/>
                <a:gd name="connsiteY8542" fmla="*/ 508086 h 1729012"/>
                <a:gd name="connsiteX8543" fmla="*/ 554903 w 2240198"/>
                <a:gd name="connsiteY8543" fmla="*/ 508697 h 1729012"/>
                <a:gd name="connsiteX8544" fmla="*/ 555802 w 2240198"/>
                <a:gd name="connsiteY8544" fmla="*/ 508416 h 1729012"/>
                <a:gd name="connsiteX8545" fmla="*/ 557244 w 2240198"/>
                <a:gd name="connsiteY8545" fmla="*/ 507250 h 1729012"/>
                <a:gd name="connsiteX8546" fmla="*/ 564382 w 2240198"/>
                <a:gd name="connsiteY8546" fmla="*/ 499932 h 1729012"/>
                <a:gd name="connsiteX8547" fmla="*/ 567396 w 2240198"/>
                <a:gd name="connsiteY8547" fmla="*/ 497920 h 1729012"/>
                <a:gd name="connsiteX8548" fmla="*/ 569457 w 2240198"/>
                <a:gd name="connsiteY8548" fmla="*/ 497317 h 1729012"/>
                <a:gd name="connsiteX8549" fmla="*/ 578188 w 2240198"/>
                <a:gd name="connsiteY8549" fmla="*/ 496215 h 1729012"/>
                <a:gd name="connsiteX8550" fmla="*/ 584117 w 2240198"/>
                <a:gd name="connsiteY8550" fmla="*/ 496249 h 1729012"/>
                <a:gd name="connsiteX8551" fmla="*/ 590668 w 2240198"/>
                <a:gd name="connsiteY8551" fmla="*/ 496933 h 1729012"/>
                <a:gd name="connsiteX8552" fmla="*/ 595553 w 2240198"/>
                <a:gd name="connsiteY8552" fmla="*/ 497959 h 1729012"/>
                <a:gd name="connsiteX8553" fmla="*/ 603565 w 2240198"/>
                <a:gd name="connsiteY8553" fmla="*/ 500974 h 1729012"/>
                <a:gd name="connsiteX8554" fmla="*/ 609865 w 2240198"/>
                <a:gd name="connsiteY8554" fmla="*/ 504438 h 1729012"/>
                <a:gd name="connsiteX8555" fmla="*/ 615647 w 2240198"/>
                <a:gd name="connsiteY8555" fmla="*/ 508121 h 1729012"/>
                <a:gd name="connsiteX8556" fmla="*/ 635036 w 2240198"/>
                <a:gd name="connsiteY8556" fmla="*/ 521912 h 1729012"/>
                <a:gd name="connsiteX8557" fmla="*/ 643236 w 2240198"/>
                <a:gd name="connsiteY8557" fmla="*/ 525964 h 1729012"/>
                <a:gd name="connsiteX8558" fmla="*/ 646371 w 2240198"/>
                <a:gd name="connsiteY8558" fmla="*/ 528262 h 1729012"/>
                <a:gd name="connsiteX8559" fmla="*/ 647767 w 2240198"/>
                <a:gd name="connsiteY8559" fmla="*/ 529934 h 1729012"/>
                <a:gd name="connsiteX8560" fmla="*/ 648987 w 2240198"/>
                <a:gd name="connsiteY8560" fmla="*/ 532030 h 1729012"/>
                <a:gd name="connsiteX8561" fmla="*/ 649360 w 2240198"/>
                <a:gd name="connsiteY8561" fmla="*/ 533987 h 1729012"/>
                <a:gd name="connsiteX8562" fmla="*/ 648884 w 2240198"/>
                <a:gd name="connsiteY8562" fmla="*/ 535804 h 1729012"/>
                <a:gd name="connsiteX8563" fmla="*/ 647989 w 2240198"/>
                <a:gd name="connsiteY8563" fmla="*/ 537072 h 1729012"/>
                <a:gd name="connsiteX8564" fmla="*/ 646023 w 2240198"/>
                <a:gd name="connsiteY8564" fmla="*/ 538154 h 1729012"/>
                <a:gd name="connsiteX8565" fmla="*/ 634160 w 2240198"/>
                <a:gd name="connsiteY8565" fmla="*/ 542717 h 1729012"/>
                <a:gd name="connsiteX8566" fmla="*/ 627914 w 2240198"/>
                <a:gd name="connsiteY8566" fmla="*/ 544113 h 1729012"/>
                <a:gd name="connsiteX8567" fmla="*/ 621729 w 2240198"/>
                <a:gd name="connsiteY8567" fmla="*/ 546127 h 1729012"/>
                <a:gd name="connsiteX8568" fmla="*/ 606948 w 2240198"/>
                <a:gd name="connsiteY8568" fmla="*/ 553219 h 1729012"/>
                <a:gd name="connsiteX8569" fmla="*/ 596831 w 2240198"/>
                <a:gd name="connsiteY8569" fmla="*/ 556589 h 1729012"/>
                <a:gd name="connsiteX8570" fmla="*/ 583677 w 2240198"/>
                <a:gd name="connsiteY8570" fmla="*/ 563144 h 1729012"/>
                <a:gd name="connsiteX8571" fmla="*/ 558870 w 2240198"/>
                <a:gd name="connsiteY8571" fmla="*/ 573648 h 1729012"/>
                <a:gd name="connsiteX8572" fmla="*/ 555918 w 2240198"/>
                <a:gd name="connsiteY8572" fmla="*/ 575750 h 1729012"/>
                <a:gd name="connsiteX8573" fmla="*/ 554559 w 2240198"/>
                <a:gd name="connsiteY8573" fmla="*/ 577261 h 1729012"/>
                <a:gd name="connsiteX8574" fmla="*/ 547555 w 2240198"/>
                <a:gd name="connsiteY8574" fmla="*/ 589146 h 1729012"/>
                <a:gd name="connsiteX8575" fmla="*/ 544891 w 2240198"/>
                <a:gd name="connsiteY8575" fmla="*/ 591897 h 1729012"/>
                <a:gd name="connsiteX8576" fmla="*/ 538434 w 2240198"/>
                <a:gd name="connsiteY8576" fmla="*/ 594697 h 1729012"/>
                <a:gd name="connsiteX8577" fmla="*/ 530262 w 2240198"/>
                <a:gd name="connsiteY8577" fmla="*/ 595397 h 1729012"/>
                <a:gd name="connsiteX8578" fmla="*/ 527977 w 2240198"/>
                <a:gd name="connsiteY8578" fmla="*/ 596182 h 1729012"/>
                <a:gd name="connsiteX8579" fmla="*/ 527608 w 2240198"/>
                <a:gd name="connsiteY8579" fmla="*/ 600262 h 1729012"/>
                <a:gd name="connsiteX8580" fmla="*/ 524678 w 2240198"/>
                <a:gd name="connsiteY8580" fmla="*/ 607021 h 1729012"/>
                <a:gd name="connsiteX8581" fmla="*/ 523251 w 2240198"/>
                <a:gd name="connsiteY8581" fmla="*/ 611560 h 1729012"/>
                <a:gd name="connsiteX8582" fmla="*/ 521301 w 2240198"/>
                <a:gd name="connsiteY8582" fmla="*/ 623668 h 1729012"/>
                <a:gd name="connsiteX8583" fmla="*/ 520851 w 2240198"/>
                <a:gd name="connsiteY8583" fmla="*/ 624876 h 1729012"/>
                <a:gd name="connsiteX8584" fmla="*/ 519362 w 2240198"/>
                <a:gd name="connsiteY8584" fmla="*/ 627110 h 1729012"/>
                <a:gd name="connsiteX8585" fmla="*/ 516834 w 2240198"/>
                <a:gd name="connsiteY8585" fmla="*/ 629531 h 1729012"/>
                <a:gd name="connsiteX8586" fmla="*/ 508948 w 2240198"/>
                <a:gd name="connsiteY8586" fmla="*/ 632315 h 1729012"/>
                <a:gd name="connsiteX8587" fmla="*/ 503130 w 2240198"/>
                <a:gd name="connsiteY8587" fmla="*/ 633776 h 1729012"/>
                <a:gd name="connsiteX8588" fmla="*/ 495210 w 2240198"/>
                <a:gd name="connsiteY8588" fmla="*/ 634989 h 1729012"/>
                <a:gd name="connsiteX8589" fmla="*/ 493316 w 2240198"/>
                <a:gd name="connsiteY8589" fmla="*/ 634159 h 1729012"/>
                <a:gd name="connsiteX8590" fmla="*/ 491406 w 2240198"/>
                <a:gd name="connsiteY8590" fmla="*/ 632251 h 1729012"/>
                <a:gd name="connsiteX8591" fmla="*/ 489415 w 2240198"/>
                <a:gd name="connsiteY8591" fmla="*/ 632085 h 1729012"/>
                <a:gd name="connsiteX8592" fmla="*/ 488181 w 2240198"/>
                <a:gd name="connsiteY8592" fmla="*/ 632383 h 1729012"/>
                <a:gd name="connsiteX8593" fmla="*/ 477854 w 2240198"/>
                <a:gd name="connsiteY8593" fmla="*/ 640730 h 1729012"/>
                <a:gd name="connsiteX8594" fmla="*/ 467892 w 2240198"/>
                <a:gd name="connsiteY8594" fmla="*/ 644097 h 1729012"/>
                <a:gd name="connsiteX8595" fmla="*/ 463575 w 2240198"/>
                <a:gd name="connsiteY8595" fmla="*/ 647135 h 1729012"/>
                <a:gd name="connsiteX8596" fmla="*/ 460528 w 2240198"/>
                <a:gd name="connsiteY8596" fmla="*/ 648561 h 1729012"/>
                <a:gd name="connsiteX8597" fmla="*/ 458079 w 2240198"/>
                <a:gd name="connsiteY8597" fmla="*/ 649000 h 1729012"/>
                <a:gd name="connsiteX8598" fmla="*/ 454043 w 2240198"/>
                <a:gd name="connsiteY8598" fmla="*/ 648731 h 1729012"/>
                <a:gd name="connsiteX8599" fmla="*/ 451130 w 2240198"/>
                <a:gd name="connsiteY8599" fmla="*/ 647354 h 1729012"/>
                <a:gd name="connsiteX8600" fmla="*/ 448489 w 2240198"/>
                <a:gd name="connsiteY8600" fmla="*/ 645230 h 1729012"/>
                <a:gd name="connsiteX8601" fmla="*/ 446496 w 2240198"/>
                <a:gd name="connsiteY8601" fmla="*/ 642920 h 1729012"/>
                <a:gd name="connsiteX8602" fmla="*/ 441378 w 2240198"/>
                <a:gd name="connsiteY8602" fmla="*/ 633392 h 1729012"/>
                <a:gd name="connsiteX8603" fmla="*/ 439180 w 2240198"/>
                <a:gd name="connsiteY8603" fmla="*/ 630123 h 1729012"/>
                <a:gd name="connsiteX8604" fmla="*/ 437311 w 2240198"/>
                <a:gd name="connsiteY8604" fmla="*/ 628488 h 1729012"/>
                <a:gd name="connsiteX8605" fmla="*/ 432297 w 2240198"/>
                <a:gd name="connsiteY8605" fmla="*/ 622651 h 1729012"/>
                <a:gd name="connsiteX8606" fmla="*/ 430915 w 2240198"/>
                <a:gd name="connsiteY8606" fmla="*/ 621479 h 1729012"/>
                <a:gd name="connsiteX8607" fmla="*/ 411843 w 2240198"/>
                <a:gd name="connsiteY8607" fmla="*/ 614055 h 1729012"/>
                <a:gd name="connsiteX8608" fmla="*/ 402559 w 2240198"/>
                <a:gd name="connsiteY8608" fmla="*/ 609880 h 1729012"/>
                <a:gd name="connsiteX8609" fmla="*/ 400314 w 2240198"/>
                <a:gd name="connsiteY8609" fmla="*/ 608406 h 1729012"/>
                <a:gd name="connsiteX8610" fmla="*/ 398234 w 2240198"/>
                <a:gd name="connsiteY8610" fmla="*/ 607544 h 1729012"/>
                <a:gd name="connsiteX8611" fmla="*/ 386310 w 2240198"/>
                <a:gd name="connsiteY8611" fmla="*/ 608121 h 1729012"/>
                <a:gd name="connsiteX8612" fmla="*/ 384733 w 2240198"/>
                <a:gd name="connsiteY8612" fmla="*/ 607895 h 1729012"/>
                <a:gd name="connsiteX8613" fmla="*/ 384322 w 2240198"/>
                <a:gd name="connsiteY8613" fmla="*/ 607278 h 1729012"/>
                <a:gd name="connsiteX8614" fmla="*/ 385733 w 2240198"/>
                <a:gd name="connsiteY8614" fmla="*/ 605085 h 1729012"/>
                <a:gd name="connsiteX8615" fmla="*/ 386290 w 2240198"/>
                <a:gd name="connsiteY8615" fmla="*/ 603700 h 1729012"/>
                <a:gd name="connsiteX8616" fmla="*/ 386473 w 2240198"/>
                <a:gd name="connsiteY8616" fmla="*/ 602341 h 1729012"/>
                <a:gd name="connsiteX8617" fmla="*/ 386268 w 2240198"/>
                <a:gd name="connsiteY8617" fmla="*/ 600148 h 1729012"/>
                <a:gd name="connsiteX8618" fmla="*/ 386420 w 2240198"/>
                <a:gd name="connsiteY8618" fmla="*/ 599752 h 1729012"/>
                <a:gd name="connsiteX8619" fmla="*/ 390953 w 2240198"/>
                <a:gd name="connsiteY8619" fmla="*/ 597588 h 1729012"/>
                <a:gd name="connsiteX8620" fmla="*/ 390218 w 2240198"/>
                <a:gd name="connsiteY8620" fmla="*/ 597139 h 1729012"/>
                <a:gd name="connsiteX8621" fmla="*/ 389686 w 2240198"/>
                <a:gd name="connsiteY8621" fmla="*/ 596293 h 1729012"/>
                <a:gd name="connsiteX8622" fmla="*/ 389356 w 2240198"/>
                <a:gd name="connsiteY8622" fmla="*/ 595046 h 1729012"/>
                <a:gd name="connsiteX8623" fmla="*/ 389850 w 2240198"/>
                <a:gd name="connsiteY8623" fmla="*/ 594175 h 1729012"/>
                <a:gd name="connsiteX8624" fmla="*/ 391164 w 2240198"/>
                <a:gd name="connsiteY8624" fmla="*/ 593678 h 1729012"/>
                <a:gd name="connsiteX8625" fmla="*/ 392764 w 2240198"/>
                <a:gd name="connsiteY8625" fmla="*/ 591657 h 1729012"/>
                <a:gd name="connsiteX8626" fmla="*/ 394648 w 2240198"/>
                <a:gd name="connsiteY8626" fmla="*/ 588110 h 1729012"/>
                <a:gd name="connsiteX8627" fmla="*/ 396050 w 2240198"/>
                <a:gd name="connsiteY8627" fmla="*/ 586117 h 1729012"/>
                <a:gd name="connsiteX8628" fmla="*/ 397998 w 2240198"/>
                <a:gd name="connsiteY8628" fmla="*/ 584832 h 1729012"/>
                <a:gd name="connsiteX8629" fmla="*/ 401488 w 2240198"/>
                <a:gd name="connsiteY8629" fmla="*/ 581394 h 1729012"/>
                <a:gd name="connsiteX8630" fmla="*/ 403977 w 2240198"/>
                <a:gd name="connsiteY8630" fmla="*/ 580004 h 1729012"/>
                <a:gd name="connsiteX8631" fmla="*/ 406083 w 2240198"/>
                <a:gd name="connsiteY8631" fmla="*/ 578261 h 1729012"/>
                <a:gd name="connsiteX8632" fmla="*/ 406145 w 2240198"/>
                <a:gd name="connsiteY8632" fmla="*/ 577475 h 1729012"/>
                <a:gd name="connsiteX8633" fmla="*/ 405286 w 2240198"/>
                <a:gd name="connsiteY8633" fmla="*/ 576870 h 1729012"/>
                <a:gd name="connsiteX8634" fmla="*/ 404990 w 2240198"/>
                <a:gd name="connsiteY8634" fmla="*/ 575538 h 1729012"/>
                <a:gd name="connsiteX8635" fmla="*/ 405382 w 2240198"/>
                <a:gd name="connsiteY8635" fmla="*/ 571373 h 1729012"/>
                <a:gd name="connsiteX8636" fmla="*/ 405365 w 2240198"/>
                <a:gd name="connsiteY8636" fmla="*/ 569225 h 1729012"/>
                <a:gd name="connsiteX8637" fmla="*/ 405747 w 2240198"/>
                <a:gd name="connsiteY8637" fmla="*/ 567431 h 1729012"/>
                <a:gd name="connsiteX8638" fmla="*/ 406526 w 2240198"/>
                <a:gd name="connsiteY8638" fmla="*/ 565986 h 1729012"/>
                <a:gd name="connsiteX8639" fmla="*/ 407510 w 2240198"/>
                <a:gd name="connsiteY8639" fmla="*/ 565027 h 1729012"/>
                <a:gd name="connsiteX8640" fmla="*/ 416340 w 2240198"/>
                <a:gd name="connsiteY8640" fmla="*/ 561997 h 1729012"/>
                <a:gd name="connsiteX8641" fmla="*/ 416788 w 2240198"/>
                <a:gd name="connsiteY8641" fmla="*/ 561118 h 1729012"/>
                <a:gd name="connsiteX8642" fmla="*/ 416892 w 2240198"/>
                <a:gd name="connsiteY8642" fmla="*/ 560108 h 1729012"/>
                <a:gd name="connsiteX8643" fmla="*/ 416654 w 2240198"/>
                <a:gd name="connsiteY8643" fmla="*/ 558962 h 1729012"/>
                <a:gd name="connsiteX8644" fmla="*/ 416196 w 2240198"/>
                <a:gd name="connsiteY8644" fmla="*/ 558158 h 1729012"/>
                <a:gd name="connsiteX8645" fmla="*/ 414800 w 2240198"/>
                <a:gd name="connsiteY8645" fmla="*/ 557500 h 1729012"/>
                <a:gd name="connsiteX8646" fmla="*/ 412439 w 2240198"/>
                <a:gd name="connsiteY8646" fmla="*/ 557318 h 1729012"/>
                <a:gd name="connsiteX8647" fmla="*/ 410395 w 2240198"/>
                <a:gd name="connsiteY8647" fmla="*/ 555569 h 1729012"/>
                <a:gd name="connsiteX8648" fmla="*/ 409904 w 2240198"/>
                <a:gd name="connsiteY8648" fmla="*/ 554723 h 1729012"/>
                <a:gd name="connsiteX8649" fmla="*/ 410725 w 2240198"/>
                <a:gd name="connsiteY8649" fmla="*/ 552326 h 1729012"/>
                <a:gd name="connsiteX8650" fmla="*/ 414709 w 2240198"/>
                <a:gd name="connsiteY8650" fmla="*/ 548501 h 1729012"/>
                <a:gd name="connsiteX8651" fmla="*/ 416051 w 2240198"/>
                <a:gd name="connsiteY8651" fmla="*/ 546610 h 1729012"/>
                <a:gd name="connsiteX8652" fmla="*/ 420356 w 2240198"/>
                <a:gd name="connsiteY8652" fmla="*/ 538057 h 1729012"/>
                <a:gd name="connsiteX8653" fmla="*/ 428218 w 2240198"/>
                <a:gd name="connsiteY8653" fmla="*/ 532741 h 1729012"/>
                <a:gd name="connsiteX8654" fmla="*/ 430348 w 2240198"/>
                <a:gd name="connsiteY8654" fmla="*/ 527010 h 1729012"/>
                <a:gd name="connsiteX8655" fmla="*/ 436253 w 2240198"/>
                <a:gd name="connsiteY8655" fmla="*/ 520915 h 1729012"/>
                <a:gd name="connsiteX8656" fmla="*/ 436239 w 2240198"/>
                <a:gd name="connsiteY8656" fmla="*/ 520071 h 1729012"/>
                <a:gd name="connsiteX8657" fmla="*/ 434331 w 2240198"/>
                <a:gd name="connsiteY8657" fmla="*/ 517986 h 1729012"/>
                <a:gd name="connsiteX8658" fmla="*/ 428881 w 2240198"/>
                <a:gd name="connsiteY8658" fmla="*/ 516542 h 1729012"/>
                <a:gd name="connsiteX8659" fmla="*/ 426257 w 2240198"/>
                <a:gd name="connsiteY8659" fmla="*/ 514313 h 1729012"/>
                <a:gd name="connsiteX8660" fmla="*/ 424502 w 2240198"/>
                <a:gd name="connsiteY8660" fmla="*/ 511779 h 1729012"/>
                <a:gd name="connsiteX8661" fmla="*/ 416524 w 2240198"/>
                <a:gd name="connsiteY8661" fmla="*/ 497143 h 1729012"/>
                <a:gd name="connsiteX8662" fmla="*/ 415160 w 2240198"/>
                <a:gd name="connsiteY8662" fmla="*/ 496052 h 1729012"/>
                <a:gd name="connsiteX8663" fmla="*/ 414757 w 2240198"/>
                <a:gd name="connsiteY8663" fmla="*/ 494341 h 1729012"/>
                <a:gd name="connsiteX8664" fmla="*/ 413127 w 2240198"/>
                <a:gd name="connsiteY8664" fmla="*/ 493210 h 1729012"/>
                <a:gd name="connsiteX8665" fmla="*/ 413459 w 2240198"/>
                <a:gd name="connsiteY8665" fmla="*/ 492153 h 1729012"/>
                <a:gd name="connsiteX8666" fmla="*/ 444594 w 2240198"/>
                <a:gd name="connsiteY8666" fmla="*/ 487758 h 1729012"/>
                <a:gd name="connsiteX8667" fmla="*/ 466024 w 2240198"/>
                <a:gd name="connsiteY8667" fmla="*/ 486355 h 1729012"/>
                <a:gd name="connsiteX8668" fmla="*/ 488218 w 2240198"/>
                <a:gd name="connsiteY8668" fmla="*/ 482523 h 1729012"/>
                <a:gd name="connsiteX8669" fmla="*/ 1105175 w 2240198"/>
                <a:gd name="connsiteY8669" fmla="*/ 478208 h 1729012"/>
                <a:gd name="connsiteX8670" fmla="*/ 1107666 w 2240198"/>
                <a:gd name="connsiteY8670" fmla="*/ 479644 h 1729012"/>
                <a:gd name="connsiteX8671" fmla="*/ 1108349 w 2240198"/>
                <a:gd name="connsiteY8671" fmla="*/ 480730 h 1729012"/>
                <a:gd name="connsiteX8672" fmla="*/ 1108030 w 2240198"/>
                <a:gd name="connsiteY8672" fmla="*/ 481568 h 1729012"/>
                <a:gd name="connsiteX8673" fmla="*/ 1106720 w 2240198"/>
                <a:gd name="connsiteY8673" fmla="*/ 483241 h 1729012"/>
                <a:gd name="connsiteX8674" fmla="*/ 1099098 w 2240198"/>
                <a:gd name="connsiteY8674" fmla="*/ 486279 h 1729012"/>
                <a:gd name="connsiteX8675" fmla="*/ 1097439 w 2240198"/>
                <a:gd name="connsiteY8675" fmla="*/ 485100 h 1729012"/>
                <a:gd name="connsiteX8676" fmla="*/ 1096718 w 2240198"/>
                <a:gd name="connsiteY8676" fmla="*/ 484031 h 1729012"/>
                <a:gd name="connsiteX8677" fmla="*/ 1102644 w 2240198"/>
                <a:gd name="connsiteY8677" fmla="*/ 479418 h 1729012"/>
                <a:gd name="connsiteX8678" fmla="*/ 1149702 w 2240198"/>
                <a:gd name="connsiteY8678" fmla="*/ 477688 h 1729012"/>
                <a:gd name="connsiteX8679" fmla="*/ 1153512 w 2240198"/>
                <a:gd name="connsiteY8679" fmla="*/ 477696 h 1729012"/>
                <a:gd name="connsiteX8680" fmla="*/ 1157509 w 2240198"/>
                <a:gd name="connsiteY8680" fmla="*/ 480263 h 1729012"/>
                <a:gd name="connsiteX8681" fmla="*/ 1159390 w 2240198"/>
                <a:gd name="connsiteY8681" fmla="*/ 482578 h 1729012"/>
                <a:gd name="connsiteX8682" fmla="*/ 1159490 w 2240198"/>
                <a:gd name="connsiteY8682" fmla="*/ 483598 h 1729012"/>
                <a:gd name="connsiteX8683" fmla="*/ 1158673 w 2240198"/>
                <a:gd name="connsiteY8683" fmla="*/ 484289 h 1729012"/>
                <a:gd name="connsiteX8684" fmla="*/ 1157511 w 2240198"/>
                <a:gd name="connsiteY8684" fmla="*/ 484541 h 1729012"/>
                <a:gd name="connsiteX8685" fmla="*/ 1155254 w 2240198"/>
                <a:gd name="connsiteY8685" fmla="*/ 484254 h 1729012"/>
                <a:gd name="connsiteX8686" fmla="*/ 1146741 w 2240198"/>
                <a:gd name="connsiteY8686" fmla="*/ 482017 h 1729012"/>
                <a:gd name="connsiteX8687" fmla="*/ 1145292 w 2240198"/>
                <a:gd name="connsiteY8687" fmla="*/ 481098 h 1729012"/>
                <a:gd name="connsiteX8688" fmla="*/ 1144877 w 2240198"/>
                <a:gd name="connsiteY8688" fmla="*/ 480424 h 1729012"/>
                <a:gd name="connsiteX8689" fmla="*/ 1146812 w 2240198"/>
                <a:gd name="connsiteY8689" fmla="*/ 479610 h 1729012"/>
                <a:gd name="connsiteX8690" fmla="*/ 1147543 w 2240198"/>
                <a:gd name="connsiteY8690" fmla="*/ 478742 h 1729012"/>
                <a:gd name="connsiteX8691" fmla="*/ 929461 w 2240198"/>
                <a:gd name="connsiteY8691" fmla="*/ 437438 h 1729012"/>
                <a:gd name="connsiteX8692" fmla="*/ 936347 w 2240198"/>
                <a:gd name="connsiteY8692" fmla="*/ 437717 h 1729012"/>
                <a:gd name="connsiteX8693" fmla="*/ 940345 w 2240198"/>
                <a:gd name="connsiteY8693" fmla="*/ 439390 h 1729012"/>
                <a:gd name="connsiteX8694" fmla="*/ 942013 w 2240198"/>
                <a:gd name="connsiteY8694" fmla="*/ 440467 h 1729012"/>
                <a:gd name="connsiteX8695" fmla="*/ 943207 w 2240198"/>
                <a:gd name="connsiteY8695" fmla="*/ 441760 h 1729012"/>
                <a:gd name="connsiteX8696" fmla="*/ 944379 w 2240198"/>
                <a:gd name="connsiteY8696" fmla="*/ 444645 h 1729012"/>
                <a:gd name="connsiteX8697" fmla="*/ 944668 w 2240198"/>
                <a:gd name="connsiteY8697" fmla="*/ 446515 h 1729012"/>
                <a:gd name="connsiteX8698" fmla="*/ 946678 w 2240198"/>
                <a:gd name="connsiteY8698" fmla="*/ 448644 h 1729012"/>
                <a:gd name="connsiteX8699" fmla="*/ 947279 w 2240198"/>
                <a:gd name="connsiteY8699" fmla="*/ 449873 h 1729012"/>
                <a:gd name="connsiteX8700" fmla="*/ 947315 w 2240198"/>
                <a:gd name="connsiteY8700" fmla="*/ 451076 h 1729012"/>
                <a:gd name="connsiteX8701" fmla="*/ 946753 w 2240198"/>
                <a:gd name="connsiteY8701" fmla="*/ 452292 h 1729012"/>
                <a:gd name="connsiteX8702" fmla="*/ 945600 w 2240198"/>
                <a:gd name="connsiteY8702" fmla="*/ 453517 h 1729012"/>
                <a:gd name="connsiteX8703" fmla="*/ 942958 w 2240198"/>
                <a:gd name="connsiteY8703" fmla="*/ 455309 h 1729012"/>
                <a:gd name="connsiteX8704" fmla="*/ 935200 w 2240198"/>
                <a:gd name="connsiteY8704" fmla="*/ 457513 h 1729012"/>
                <a:gd name="connsiteX8705" fmla="*/ 930413 w 2240198"/>
                <a:gd name="connsiteY8705" fmla="*/ 457786 h 1729012"/>
                <a:gd name="connsiteX8706" fmla="*/ 922156 w 2240198"/>
                <a:gd name="connsiteY8706" fmla="*/ 456246 h 1729012"/>
                <a:gd name="connsiteX8707" fmla="*/ 917242 w 2240198"/>
                <a:gd name="connsiteY8707" fmla="*/ 453276 h 1729012"/>
                <a:gd name="connsiteX8708" fmla="*/ 915739 w 2240198"/>
                <a:gd name="connsiteY8708" fmla="*/ 451850 h 1729012"/>
                <a:gd name="connsiteX8709" fmla="*/ 915886 w 2240198"/>
                <a:gd name="connsiteY8709" fmla="*/ 451201 h 1729012"/>
                <a:gd name="connsiteX8710" fmla="*/ 916735 w 2240198"/>
                <a:gd name="connsiteY8710" fmla="*/ 450561 h 1729012"/>
                <a:gd name="connsiteX8711" fmla="*/ 917922 w 2240198"/>
                <a:gd name="connsiteY8711" fmla="*/ 448627 h 1729012"/>
                <a:gd name="connsiteX8712" fmla="*/ 920735 w 2240198"/>
                <a:gd name="connsiteY8712" fmla="*/ 443029 h 1729012"/>
                <a:gd name="connsiteX8713" fmla="*/ 921789 w 2240198"/>
                <a:gd name="connsiteY8713" fmla="*/ 441543 h 1729012"/>
                <a:gd name="connsiteX8714" fmla="*/ 926217 w 2240198"/>
                <a:gd name="connsiteY8714" fmla="*/ 438304 h 1729012"/>
                <a:gd name="connsiteX8715" fmla="*/ 1169537 w 2240198"/>
                <a:gd name="connsiteY8715" fmla="*/ 427159 h 1729012"/>
                <a:gd name="connsiteX8716" fmla="*/ 1175358 w 2240198"/>
                <a:gd name="connsiteY8716" fmla="*/ 427519 h 1729012"/>
                <a:gd name="connsiteX8717" fmla="*/ 1180971 w 2240198"/>
                <a:gd name="connsiteY8717" fmla="*/ 429047 h 1729012"/>
                <a:gd name="connsiteX8718" fmla="*/ 1185296 w 2240198"/>
                <a:gd name="connsiteY8718" fmla="*/ 431580 h 1729012"/>
                <a:gd name="connsiteX8719" fmla="*/ 1194110 w 2240198"/>
                <a:gd name="connsiteY8719" fmla="*/ 437819 h 1729012"/>
                <a:gd name="connsiteX8720" fmla="*/ 1198122 w 2240198"/>
                <a:gd name="connsiteY8720" fmla="*/ 441581 h 1729012"/>
                <a:gd name="connsiteX8721" fmla="*/ 1200252 w 2240198"/>
                <a:gd name="connsiteY8721" fmla="*/ 445438 h 1729012"/>
                <a:gd name="connsiteX8722" fmla="*/ 1202170 w 2240198"/>
                <a:gd name="connsiteY8722" fmla="*/ 447647 h 1729012"/>
                <a:gd name="connsiteX8723" fmla="*/ 1204545 w 2240198"/>
                <a:gd name="connsiteY8723" fmla="*/ 452404 h 1729012"/>
                <a:gd name="connsiteX8724" fmla="*/ 1203678 w 2240198"/>
                <a:gd name="connsiteY8724" fmla="*/ 454262 h 1729012"/>
                <a:gd name="connsiteX8725" fmla="*/ 1203169 w 2240198"/>
                <a:gd name="connsiteY8725" fmla="*/ 456759 h 1729012"/>
                <a:gd name="connsiteX8726" fmla="*/ 1203403 w 2240198"/>
                <a:gd name="connsiteY8726" fmla="*/ 457939 h 1729012"/>
                <a:gd name="connsiteX8727" fmla="*/ 1205034 w 2240198"/>
                <a:gd name="connsiteY8727" fmla="*/ 461791 h 1729012"/>
                <a:gd name="connsiteX8728" fmla="*/ 1205329 w 2240198"/>
                <a:gd name="connsiteY8728" fmla="*/ 463341 h 1729012"/>
                <a:gd name="connsiteX8729" fmla="*/ 1205409 w 2240198"/>
                <a:gd name="connsiteY8729" fmla="*/ 466621 h 1729012"/>
                <a:gd name="connsiteX8730" fmla="*/ 1204715 w 2240198"/>
                <a:gd name="connsiteY8730" fmla="*/ 470888 h 1729012"/>
                <a:gd name="connsiteX8731" fmla="*/ 1204250 w 2240198"/>
                <a:gd name="connsiteY8731" fmla="*/ 471669 h 1729012"/>
                <a:gd name="connsiteX8732" fmla="*/ 1203580 w 2240198"/>
                <a:gd name="connsiteY8732" fmla="*/ 472030 h 1729012"/>
                <a:gd name="connsiteX8733" fmla="*/ 1203258 w 2240198"/>
                <a:gd name="connsiteY8733" fmla="*/ 473127 h 1729012"/>
                <a:gd name="connsiteX8734" fmla="*/ 1203287 w 2240198"/>
                <a:gd name="connsiteY8734" fmla="*/ 474964 h 1729012"/>
                <a:gd name="connsiteX8735" fmla="*/ 1202629 w 2240198"/>
                <a:gd name="connsiteY8735" fmla="*/ 476082 h 1729012"/>
                <a:gd name="connsiteX8736" fmla="*/ 1201284 w 2240198"/>
                <a:gd name="connsiteY8736" fmla="*/ 476482 h 1729012"/>
                <a:gd name="connsiteX8737" fmla="*/ 1192196 w 2240198"/>
                <a:gd name="connsiteY8737" fmla="*/ 477323 h 1729012"/>
                <a:gd name="connsiteX8738" fmla="*/ 1186579 w 2240198"/>
                <a:gd name="connsiteY8738" fmla="*/ 477160 h 1729012"/>
                <a:gd name="connsiteX8739" fmla="*/ 1178251 w 2240198"/>
                <a:gd name="connsiteY8739" fmla="*/ 477698 h 1729012"/>
                <a:gd name="connsiteX8740" fmla="*/ 1174125 w 2240198"/>
                <a:gd name="connsiteY8740" fmla="*/ 477423 h 1729012"/>
                <a:gd name="connsiteX8741" fmla="*/ 1171422 w 2240198"/>
                <a:gd name="connsiteY8741" fmla="*/ 476521 h 1729012"/>
                <a:gd name="connsiteX8742" fmla="*/ 1167494 w 2240198"/>
                <a:gd name="connsiteY8742" fmla="*/ 474517 h 1729012"/>
                <a:gd name="connsiteX8743" fmla="*/ 1159194 w 2240198"/>
                <a:gd name="connsiteY8743" fmla="*/ 469772 h 1729012"/>
                <a:gd name="connsiteX8744" fmla="*/ 1155007 w 2240198"/>
                <a:gd name="connsiteY8744" fmla="*/ 469607 h 1729012"/>
                <a:gd name="connsiteX8745" fmla="*/ 1144504 w 2240198"/>
                <a:gd name="connsiteY8745" fmla="*/ 467938 h 1729012"/>
                <a:gd name="connsiteX8746" fmla="*/ 1138702 w 2240198"/>
                <a:gd name="connsiteY8746" fmla="*/ 462775 h 1729012"/>
                <a:gd name="connsiteX8747" fmla="*/ 1136483 w 2240198"/>
                <a:gd name="connsiteY8747" fmla="*/ 461850 h 1729012"/>
                <a:gd name="connsiteX8748" fmla="*/ 1134243 w 2240198"/>
                <a:gd name="connsiteY8748" fmla="*/ 463393 h 1729012"/>
                <a:gd name="connsiteX8749" fmla="*/ 1133632 w 2240198"/>
                <a:gd name="connsiteY8749" fmla="*/ 463044 h 1729012"/>
                <a:gd name="connsiteX8750" fmla="*/ 1133014 w 2240198"/>
                <a:gd name="connsiteY8750" fmla="*/ 462006 h 1729012"/>
                <a:gd name="connsiteX8751" fmla="*/ 1132390 w 2240198"/>
                <a:gd name="connsiteY8751" fmla="*/ 460271 h 1729012"/>
                <a:gd name="connsiteX8752" fmla="*/ 1131296 w 2240198"/>
                <a:gd name="connsiteY8752" fmla="*/ 459383 h 1729012"/>
                <a:gd name="connsiteX8753" fmla="*/ 1126896 w 2240198"/>
                <a:gd name="connsiteY8753" fmla="*/ 459844 h 1729012"/>
                <a:gd name="connsiteX8754" fmla="*/ 1126101 w 2240198"/>
                <a:gd name="connsiteY8754" fmla="*/ 459261 h 1729012"/>
                <a:gd name="connsiteX8755" fmla="*/ 1125888 w 2240198"/>
                <a:gd name="connsiteY8755" fmla="*/ 457743 h 1729012"/>
                <a:gd name="connsiteX8756" fmla="*/ 1125955 w 2240198"/>
                <a:gd name="connsiteY8756" fmla="*/ 456420 h 1729012"/>
                <a:gd name="connsiteX8757" fmla="*/ 1126746 w 2240198"/>
                <a:gd name="connsiteY8757" fmla="*/ 454343 h 1729012"/>
                <a:gd name="connsiteX8758" fmla="*/ 1131384 w 2240198"/>
                <a:gd name="connsiteY8758" fmla="*/ 448608 h 1729012"/>
                <a:gd name="connsiteX8759" fmla="*/ 1133677 w 2240198"/>
                <a:gd name="connsiteY8759" fmla="*/ 448206 h 1729012"/>
                <a:gd name="connsiteX8760" fmla="*/ 1136518 w 2240198"/>
                <a:gd name="connsiteY8760" fmla="*/ 447145 h 1729012"/>
                <a:gd name="connsiteX8761" fmla="*/ 1138089 w 2240198"/>
                <a:gd name="connsiteY8761" fmla="*/ 444040 h 1729012"/>
                <a:gd name="connsiteX8762" fmla="*/ 1137925 w 2240198"/>
                <a:gd name="connsiteY8762" fmla="*/ 441107 h 1729012"/>
                <a:gd name="connsiteX8763" fmla="*/ 1142242 w 2240198"/>
                <a:gd name="connsiteY8763" fmla="*/ 436727 h 1729012"/>
                <a:gd name="connsiteX8764" fmla="*/ 1144814 w 2240198"/>
                <a:gd name="connsiteY8764" fmla="*/ 435434 h 1729012"/>
                <a:gd name="connsiteX8765" fmla="*/ 1149439 w 2240198"/>
                <a:gd name="connsiteY8765" fmla="*/ 432373 h 1729012"/>
                <a:gd name="connsiteX8766" fmla="*/ 1165193 w 2240198"/>
                <a:gd name="connsiteY8766" fmla="*/ 427581 h 1729012"/>
                <a:gd name="connsiteX8767" fmla="*/ 1131765 w 2240198"/>
                <a:gd name="connsiteY8767" fmla="*/ 425890 h 1729012"/>
                <a:gd name="connsiteX8768" fmla="*/ 1137405 w 2240198"/>
                <a:gd name="connsiteY8768" fmla="*/ 428008 h 1729012"/>
                <a:gd name="connsiteX8769" fmla="*/ 1140081 w 2240198"/>
                <a:gd name="connsiteY8769" fmla="*/ 429436 h 1729012"/>
                <a:gd name="connsiteX8770" fmla="*/ 1142110 w 2240198"/>
                <a:gd name="connsiteY8770" fmla="*/ 431053 h 1729012"/>
                <a:gd name="connsiteX8771" fmla="*/ 1141888 w 2240198"/>
                <a:gd name="connsiteY8771" fmla="*/ 431695 h 1729012"/>
                <a:gd name="connsiteX8772" fmla="*/ 1139099 w 2240198"/>
                <a:gd name="connsiteY8772" fmla="*/ 433325 h 1729012"/>
                <a:gd name="connsiteX8773" fmla="*/ 1137126 w 2240198"/>
                <a:gd name="connsiteY8773" fmla="*/ 435012 h 1729012"/>
                <a:gd name="connsiteX8774" fmla="*/ 1135092 w 2240198"/>
                <a:gd name="connsiteY8774" fmla="*/ 435137 h 1729012"/>
                <a:gd name="connsiteX8775" fmla="*/ 1132357 w 2240198"/>
                <a:gd name="connsiteY8775" fmla="*/ 433539 h 1729012"/>
                <a:gd name="connsiteX8776" fmla="*/ 1129387 w 2240198"/>
                <a:gd name="connsiteY8776" fmla="*/ 434140 h 1729012"/>
                <a:gd name="connsiteX8777" fmla="*/ 1125320 w 2240198"/>
                <a:gd name="connsiteY8777" fmla="*/ 437368 h 1729012"/>
                <a:gd name="connsiteX8778" fmla="*/ 1123874 w 2240198"/>
                <a:gd name="connsiteY8778" fmla="*/ 439269 h 1729012"/>
                <a:gd name="connsiteX8779" fmla="*/ 1122763 w 2240198"/>
                <a:gd name="connsiteY8779" fmla="*/ 439956 h 1729012"/>
                <a:gd name="connsiteX8780" fmla="*/ 1119357 w 2240198"/>
                <a:gd name="connsiteY8780" fmla="*/ 440551 h 1729012"/>
                <a:gd name="connsiteX8781" fmla="*/ 1117887 w 2240198"/>
                <a:gd name="connsiteY8781" fmla="*/ 440012 h 1729012"/>
                <a:gd name="connsiteX8782" fmla="*/ 1116505 w 2240198"/>
                <a:gd name="connsiteY8782" fmla="*/ 438324 h 1729012"/>
                <a:gd name="connsiteX8783" fmla="*/ 1115212 w 2240198"/>
                <a:gd name="connsiteY8783" fmla="*/ 435484 h 1729012"/>
                <a:gd name="connsiteX8784" fmla="*/ 1116170 w 2240198"/>
                <a:gd name="connsiteY8784" fmla="*/ 433340 h 1729012"/>
                <a:gd name="connsiteX8785" fmla="*/ 1119382 w 2240198"/>
                <a:gd name="connsiteY8785" fmla="*/ 431896 h 1729012"/>
                <a:gd name="connsiteX8786" fmla="*/ 1127833 w 2240198"/>
                <a:gd name="connsiteY8786" fmla="*/ 429546 h 1729012"/>
                <a:gd name="connsiteX8787" fmla="*/ 1130247 w 2240198"/>
                <a:gd name="connsiteY8787" fmla="*/ 428377 h 1729012"/>
                <a:gd name="connsiteX8788" fmla="*/ 1130512 w 2240198"/>
                <a:gd name="connsiteY8788" fmla="*/ 427123 h 1729012"/>
                <a:gd name="connsiteX8789" fmla="*/ 1131018 w 2240198"/>
                <a:gd name="connsiteY8789" fmla="*/ 426293 h 1729012"/>
                <a:gd name="connsiteX8790" fmla="*/ 509363 w 2240198"/>
                <a:gd name="connsiteY8790" fmla="*/ 411264 h 1729012"/>
                <a:gd name="connsiteX8791" fmla="*/ 510027 w 2240198"/>
                <a:gd name="connsiteY8791" fmla="*/ 411758 h 1729012"/>
                <a:gd name="connsiteX8792" fmla="*/ 510258 w 2240198"/>
                <a:gd name="connsiteY8792" fmla="*/ 412861 h 1729012"/>
                <a:gd name="connsiteX8793" fmla="*/ 509797 w 2240198"/>
                <a:gd name="connsiteY8793" fmla="*/ 416083 h 1729012"/>
                <a:gd name="connsiteX8794" fmla="*/ 509179 w 2240198"/>
                <a:gd name="connsiteY8794" fmla="*/ 417640 h 1729012"/>
                <a:gd name="connsiteX8795" fmla="*/ 508324 w 2240198"/>
                <a:gd name="connsiteY8795" fmla="*/ 418968 h 1729012"/>
                <a:gd name="connsiteX8796" fmla="*/ 507014 w 2240198"/>
                <a:gd name="connsiteY8796" fmla="*/ 420159 h 1729012"/>
                <a:gd name="connsiteX8797" fmla="*/ 505249 w 2240198"/>
                <a:gd name="connsiteY8797" fmla="*/ 421215 h 1729012"/>
                <a:gd name="connsiteX8798" fmla="*/ 503270 w 2240198"/>
                <a:gd name="connsiteY8798" fmla="*/ 421455 h 1729012"/>
                <a:gd name="connsiteX8799" fmla="*/ 501073 w 2240198"/>
                <a:gd name="connsiteY8799" fmla="*/ 420876 h 1729012"/>
                <a:gd name="connsiteX8800" fmla="*/ 501576 w 2240198"/>
                <a:gd name="connsiteY8800" fmla="*/ 419550 h 1729012"/>
                <a:gd name="connsiteX8801" fmla="*/ 506515 w 2240198"/>
                <a:gd name="connsiteY8801" fmla="*/ 415929 h 1729012"/>
                <a:gd name="connsiteX8802" fmla="*/ 506791 w 2240198"/>
                <a:gd name="connsiteY8802" fmla="*/ 414891 h 1729012"/>
                <a:gd name="connsiteX8803" fmla="*/ 506724 w 2240198"/>
                <a:gd name="connsiteY8803" fmla="*/ 414047 h 1729012"/>
                <a:gd name="connsiteX8804" fmla="*/ 506110 w 2240198"/>
                <a:gd name="connsiteY8804" fmla="*/ 413054 h 1729012"/>
                <a:gd name="connsiteX8805" fmla="*/ 507359 w 2240198"/>
                <a:gd name="connsiteY8805" fmla="*/ 411786 h 1729012"/>
                <a:gd name="connsiteX8806" fmla="*/ 1178166 w 2240198"/>
                <a:gd name="connsiteY8806" fmla="*/ 408203 h 1729012"/>
                <a:gd name="connsiteX8807" fmla="*/ 1179160 w 2240198"/>
                <a:gd name="connsiteY8807" fmla="*/ 408423 h 1729012"/>
                <a:gd name="connsiteX8808" fmla="*/ 1179854 w 2240198"/>
                <a:gd name="connsiteY8808" fmla="*/ 409501 h 1729012"/>
                <a:gd name="connsiteX8809" fmla="*/ 1180562 w 2240198"/>
                <a:gd name="connsiteY8809" fmla="*/ 412322 h 1729012"/>
                <a:gd name="connsiteX8810" fmla="*/ 1181312 w 2240198"/>
                <a:gd name="connsiteY8810" fmla="*/ 413993 h 1729012"/>
                <a:gd name="connsiteX8811" fmla="*/ 1183380 w 2240198"/>
                <a:gd name="connsiteY8811" fmla="*/ 417043 h 1729012"/>
                <a:gd name="connsiteX8812" fmla="*/ 1184292 w 2240198"/>
                <a:gd name="connsiteY8812" fmla="*/ 419003 h 1729012"/>
                <a:gd name="connsiteX8813" fmla="*/ 1184096 w 2240198"/>
                <a:gd name="connsiteY8813" fmla="*/ 419611 h 1729012"/>
                <a:gd name="connsiteX8814" fmla="*/ 1183449 w 2240198"/>
                <a:gd name="connsiteY8814" fmla="*/ 420148 h 1729012"/>
                <a:gd name="connsiteX8815" fmla="*/ 1178452 w 2240198"/>
                <a:gd name="connsiteY8815" fmla="*/ 421006 h 1729012"/>
                <a:gd name="connsiteX8816" fmla="*/ 1175972 w 2240198"/>
                <a:gd name="connsiteY8816" fmla="*/ 421029 h 1729012"/>
                <a:gd name="connsiteX8817" fmla="*/ 1172750 w 2240198"/>
                <a:gd name="connsiteY8817" fmla="*/ 419955 h 1729012"/>
                <a:gd name="connsiteX8818" fmla="*/ 1171840 w 2240198"/>
                <a:gd name="connsiteY8818" fmla="*/ 418831 h 1729012"/>
                <a:gd name="connsiteX8819" fmla="*/ 1171145 w 2240198"/>
                <a:gd name="connsiteY8819" fmla="*/ 417291 h 1729012"/>
                <a:gd name="connsiteX8820" fmla="*/ 1170666 w 2240198"/>
                <a:gd name="connsiteY8820" fmla="*/ 415333 h 1729012"/>
                <a:gd name="connsiteX8821" fmla="*/ 1169995 w 2240198"/>
                <a:gd name="connsiteY8821" fmla="*/ 413768 h 1729012"/>
                <a:gd name="connsiteX8822" fmla="*/ 1169133 w 2240198"/>
                <a:gd name="connsiteY8822" fmla="*/ 412594 h 1729012"/>
                <a:gd name="connsiteX8823" fmla="*/ 1168953 w 2240198"/>
                <a:gd name="connsiteY8823" fmla="*/ 411613 h 1729012"/>
                <a:gd name="connsiteX8824" fmla="*/ 1169456 w 2240198"/>
                <a:gd name="connsiteY8824" fmla="*/ 410824 h 1729012"/>
                <a:gd name="connsiteX8825" fmla="*/ 1170510 w 2240198"/>
                <a:gd name="connsiteY8825" fmla="*/ 410384 h 1729012"/>
                <a:gd name="connsiteX8826" fmla="*/ 1172918 w 2240198"/>
                <a:gd name="connsiteY8826" fmla="*/ 410240 h 1729012"/>
                <a:gd name="connsiteX8827" fmla="*/ 592540 w 2240198"/>
                <a:gd name="connsiteY8827" fmla="*/ 402027 h 1729012"/>
                <a:gd name="connsiteX8828" fmla="*/ 595610 w 2240198"/>
                <a:gd name="connsiteY8828" fmla="*/ 402845 h 1729012"/>
                <a:gd name="connsiteX8829" fmla="*/ 595953 w 2240198"/>
                <a:gd name="connsiteY8829" fmla="*/ 404002 h 1729012"/>
                <a:gd name="connsiteX8830" fmla="*/ 592726 w 2240198"/>
                <a:gd name="connsiteY8830" fmla="*/ 409786 h 1729012"/>
                <a:gd name="connsiteX8831" fmla="*/ 590454 w 2240198"/>
                <a:gd name="connsiteY8831" fmla="*/ 412113 h 1729012"/>
                <a:gd name="connsiteX8832" fmla="*/ 586020 w 2240198"/>
                <a:gd name="connsiteY8832" fmla="*/ 418104 h 1729012"/>
                <a:gd name="connsiteX8833" fmla="*/ 577507 w 2240198"/>
                <a:gd name="connsiteY8833" fmla="*/ 428129 h 1729012"/>
                <a:gd name="connsiteX8834" fmla="*/ 574932 w 2240198"/>
                <a:gd name="connsiteY8834" fmla="*/ 429749 h 1729012"/>
                <a:gd name="connsiteX8835" fmla="*/ 567686 w 2240198"/>
                <a:gd name="connsiteY8835" fmla="*/ 433053 h 1729012"/>
                <a:gd name="connsiteX8836" fmla="*/ 562531 w 2240198"/>
                <a:gd name="connsiteY8836" fmla="*/ 432709 h 1729012"/>
                <a:gd name="connsiteX8837" fmla="*/ 555697 w 2240198"/>
                <a:gd name="connsiteY8837" fmla="*/ 430282 h 1729012"/>
                <a:gd name="connsiteX8838" fmla="*/ 550134 w 2240198"/>
                <a:gd name="connsiteY8838" fmla="*/ 429458 h 1729012"/>
                <a:gd name="connsiteX8839" fmla="*/ 548176 w 2240198"/>
                <a:gd name="connsiteY8839" fmla="*/ 428652 h 1729012"/>
                <a:gd name="connsiteX8840" fmla="*/ 547890 w 2240198"/>
                <a:gd name="connsiteY8840" fmla="*/ 427812 h 1729012"/>
                <a:gd name="connsiteX8841" fmla="*/ 549776 w 2240198"/>
                <a:gd name="connsiteY8841" fmla="*/ 425483 h 1729012"/>
                <a:gd name="connsiteX8842" fmla="*/ 552143 w 2240198"/>
                <a:gd name="connsiteY8842" fmla="*/ 423623 h 1729012"/>
                <a:gd name="connsiteX8843" fmla="*/ 557807 w 2240198"/>
                <a:gd name="connsiteY8843" fmla="*/ 419960 h 1729012"/>
                <a:gd name="connsiteX8844" fmla="*/ 567376 w 2240198"/>
                <a:gd name="connsiteY8844" fmla="*/ 412884 h 1729012"/>
                <a:gd name="connsiteX8845" fmla="*/ 573641 w 2240198"/>
                <a:gd name="connsiteY8845" fmla="*/ 410201 h 1729012"/>
                <a:gd name="connsiteX8846" fmla="*/ 579786 w 2240198"/>
                <a:gd name="connsiteY8846" fmla="*/ 408304 h 1729012"/>
                <a:gd name="connsiteX8847" fmla="*/ 586057 w 2240198"/>
                <a:gd name="connsiteY8847" fmla="*/ 404060 h 1729012"/>
                <a:gd name="connsiteX8848" fmla="*/ 589527 w 2240198"/>
                <a:gd name="connsiteY8848" fmla="*/ 402165 h 1729012"/>
                <a:gd name="connsiteX8849" fmla="*/ 1571914 w 2240198"/>
                <a:gd name="connsiteY8849" fmla="*/ 400420 h 1729012"/>
                <a:gd name="connsiteX8850" fmla="*/ 1574029 w 2240198"/>
                <a:gd name="connsiteY8850" fmla="*/ 401006 h 1729012"/>
                <a:gd name="connsiteX8851" fmla="*/ 1576076 w 2240198"/>
                <a:gd name="connsiteY8851" fmla="*/ 402485 h 1729012"/>
                <a:gd name="connsiteX8852" fmla="*/ 1573509 w 2240198"/>
                <a:gd name="connsiteY8852" fmla="*/ 406695 h 1729012"/>
                <a:gd name="connsiteX8853" fmla="*/ 1570714 w 2240198"/>
                <a:gd name="connsiteY8853" fmla="*/ 408789 h 1729012"/>
                <a:gd name="connsiteX8854" fmla="*/ 1570550 w 2240198"/>
                <a:gd name="connsiteY8854" fmla="*/ 411865 h 1729012"/>
                <a:gd name="connsiteX8855" fmla="*/ 1570838 w 2240198"/>
                <a:gd name="connsiteY8855" fmla="*/ 414919 h 1729012"/>
                <a:gd name="connsiteX8856" fmla="*/ 1568995 w 2240198"/>
                <a:gd name="connsiteY8856" fmla="*/ 414780 h 1729012"/>
                <a:gd name="connsiteX8857" fmla="*/ 1563132 w 2240198"/>
                <a:gd name="connsiteY8857" fmla="*/ 416774 h 1729012"/>
                <a:gd name="connsiteX8858" fmla="*/ 1558344 w 2240198"/>
                <a:gd name="connsiteY8858" fmla="*/ 417060 h 1729012"/>
                <a:gd name="connsiteX8859" fmla="*/ 1555954 w 2240198"/>
                <a:gd name="connsiteY8859" fmla="*/ 416166 h 1729012"/>
                <a:gd name="connsiteX8860" fmla="*/ 1554433 w 2240198"/>
                <a:gd name="connsiteY8860" fmla="*/ 414076 h 1729012"/>
                <a:gd name="connsiteX8861" fmla="*/ 1558171 w 2240198"/>
                <a:gd name="connsiteY8861" fmla="*/ 410181 h 1729012"/>
                <a:gd name="connsiteX8862" fmla="*/ 1562469 w 2240198"/>
                <a:gd name="connsiteY8862" fmla="*/ 407454 h 1729012"/>
                <a:gd name="connsiteX8863" fmla="*/ 1567628 w 2240198"/>
                <a:gd name="connsiteY8863" fmla="*/ 403210 h 1729012"/>
                <a:gd name="connsiteX8864" fmla="*/ 961106 w 2240198"/>
                <a:gd name="connsiteY8864" fmla="*/ 391765 h 1729012"/>
                <a:gd name="connsiteX8865" fmla="*/ 970494 w 2240198"/>
                <a:gd name="connsiteY8865" fmla="*/ 391998 h 1729012"/>
                <a:gd name="connsiteX8866" fmla="*/ 974143 w 2240198"/>
                <a:gd name="connsiteY8866" fmla="*/ 393328 h 1729012"/>
                <a:gd name="connsiteX8867" fmla="*/ 975359 w 2240198"/>
                <a:gd name="connsiteY8867" fmla="*/ 397783 h 1729012"/>
                <a:gd name="connsiteX8868" fmla="*/ 976528 w 2240198"/>
                <a:gd name="connsiteY8868" fmla="*/ 403071 h 1729012"/>
                <a:gd name="connsiteX8869" fmla="*/ 978160 w 2240198"/>
                <a:gd name="connsiteY8869" fmla="*/ 403521 h 1729012"/>
                <a:gd name="connsiteX8870" fmla="*/ 983189 w 2240198"/>
                <a:gd name="connsiteY8870" fmla="*/ 407243 h 1729012"/>
                <a:gd name="connsiteX8871" fmla="*/ 988499 w 2240198"/>
                <a:gd name="connsiteY8871" fmla="*/ 410432 h 1729012"/>
                <a:gd name="connsiteX8872" fmla="*/ 988751 w 2240198"/>
                <a:gd name="connsiteY8872" fmla="*/ 411165 h 1729012"/>
                <a:gd name="connsiteX8873" fmla="*/ 987750 w 2240198"/>
                <a:gd name="connsiteY8873" fmla="*/ 411771 h 1729012"/>
                <a:gd name="connsiteX8874" fmla="*/ 980888 w 2240198"/>
                <a:gd name="connsiteY8874" fmla="*/ 413460 h 1729012"/>
                <a:gd name="connsiteX8875" fmla="*/ 978217 w 2240198"/>
                <a:gd name="connsiteY8875" fmla="*/ 414806 h 1729012"/>
                <a:gd name="connsiteX8876" fmla="*/ 975986 w 2240198"/>
                <a:gd name="connsiteY8876" fmla="*/ 417953 h 1729012"/>
                <a:gd name="connsiteX8877" fmla="*/ 974257 w 2240198"/>
                <a:gd name="connsiteY8877" fmla="*/ 419409 h 1729012"/>
                <a:gd name="connsiteX8878" fmla="*/ 965028 w 2240198"/>
                <a:gd name="connsiteY8878" fmla="*/ 420277 h 1729012"/>
                <a:gd name="connsiteX8879" fmla="*/ 955616 w 2240198"/>
                <a:gd name="connsiteY8879" fmla="*/ 420237 h 1729012"/>
                <a:gd name="connsiteX8880" fmla="*/ 957391 w 2240198"/>
                <a:gd name="connsiteY8880" fmla="*/ 417199 h 1729012"/>
                <a:gd name="connsiteX8881" fmla="*/ 962545 w 2240198"/>
                <a:gd name="connsiteY8881" fmla="*/ 412232 h 1729012"/>
                <a:gd name="connsiteX8882" fmla="*/ 958486 w 2240198"/>
                <a:gd name="connsiteY8882" fmla="*/ 410173 h 1729012"/>
                <a:gd name="connsiteX8883" fmla="*/ 944078 w 2240198"/>
                <a:gd name="connsiteY8883" fmla="*/ 413604 h 1729012"/>
                <a:gd name="connsiteX8884" fmla="*/ 938615 w 2240198"/>
                <a:gd name="connsiteY8884" fmla="*/ 411492 h 1729012"/>
                <a:gd name="connsiteX8885" fmla="*/ 943292 w 2240198"/>
                <a:gd name="connsiteY8885" fmla="*/ 406093 h 1729012"/>
                <a:gd name="connsiteX8886" fmla="*/ 938633 w 2240198"/>
                <a:gd name="connsiteY8886" fmla="*/ 405598 h 1729012"/>
                <a:gd name="connsiteX8887" fmla="*/ 932092 w 2240198"/>
                <a:gd name="connsiteY8887" fmla="*/ 405575 h 1729012"/>
                <a:gd name="connsiteX8888" fmla="*/ 927945 w 2240198"/>
                <a:gd name="connsiteY8888" fmla="*/ 402371 h 1729012"/>
                <a:gd name="connsiteX8889" fmla="*/ 929349 w 2240198"/>
                <a:gd name="connsiteY8889" fmla="*/ 398519 h 1729012"/>
                <a:gd name="connsiteX8890" fmla="*/ 937935 w 2240198"/>
                <a:gd name="connsiteY8890" fmla="*/ 396394 h 1729012"/>
                <a:gd name="connsiteX8891" fmla="*/ 949107 w 2240198"/>
                <a:gd name="connsiteY8891" fmla="*/ 394554 h 1729012"/>
                <a:gd name="connsiteX8892" fmla="*/ 933040 w 2240198"/>
                <a:gd name="connsiteY8892" fmla="*/ 373104 h 1729012"/>
                <a:gd name="connsiteX8893" fmla="*/ 936351 w 2240198"/>
                <a:gd name="connsiteY8893" fmla="*/ 373104 h 1729012"/>
                <a:gd name="connsiteX8894" fmla="*/ 938432 w 2240198"/>
                <a:gd name="connsiteY8894" fmla="*/ 373587 h 1729012"/>
                <a:gd name="connsiteX8895" fmla="*/ 939278 w 2240198"/>
                <a:gd name="connsiteY8895" fmla="*/ 374549 h 1729012"/>
                <a:gd name="connsiteX8896" fmla="*/ 939022 w 2240198"/>
                <a:gd name="connsiteY8896" fmla="*/ 375849 h 1729012"/>
                <a:gd name="connsiteX8897" fmla="*/ 937661 w 2240198"/>
                <a:gd name="connsiteY8897" fmla="*/ 377487 h 1729012"/>
                <a:gd name="connsiteX8898" fmla="*/ 938913 w 2240198"/>
                <a:gd name="connsiteY8898" fmla="*/ 377778 h 1729012"/>
                <a:gd name="connsiteX8899" fmla="*/ 942778 w 2240198"/>
                <a:gd name="connsiteY8899" fmla="*/ 376728 h 1729012"/>
                <a:gd name="connsiteX8900" fmla="*/ 945271 w 2240198"/>
                <a:gd name="connsiteY8900" fmla="*/ 376540 h 1729012"/>
                <a:gd name="connsiteX8901" fmla="*/ 948050 w 2240198"/>
                <a:gd name="connsiteY8901" fmla="*/ 378525 h 1729012"/>
                <a:gd name="connsiteX8902" fmla="*/ 948773 w 2240198"/>
                <a:gd name="connsiteY8902" fmla="*/ 379819 h 1729012"/>
                <a:gd name="connsiteX8903" fmla="*/ 958776 w 2240198"/>
                <a:gd name="connsiteY8903" fmla="*/ 383053 h 1729012"/>
                <a:gd name="connsiteX8904" fmla="*/ 962296 w 2240198"/>
                <a:gd name="connsiteY8904" fmla="*/ 384504 h 1729012"/>
                <a:gd name="connsiteX8905" fmla="*/ 962747 w 2240198"/>
                <a:gd name="connsiteY8905" fmla="*/ 385470 h 1729012"/>
                <a:gd name="connsiteX8906" fmla="*/ 961493 w 2240198"/>
                <a:gd name="connsiteY8906" fmla="*/ 386851 h 1729012"/>
                <a:gd name="connsiteX8907" fmla="*/ 958538 w 2240198"/>
                <a:gd name="connsiteY8907" fmla="*/ 388653 h 1729012"/>
                <a:gd name="connsiteX8908" fmla="*/ 955701 w 2240198"/>
                <a:gd name="connsiteY8908" fmla="*/ 389874 h 1729012"/>
                <a:gd name="connsiteX8909" fmla="*/ 951623 w 2240198"/>
                <a:gd name="connsiteY8909" fmla="*/ 390844 h 1729012"/>
                <a:gd name="connsiteX8910" fmla="*/ 931378 w 2240198"/>
                <a:gd name="connsiteY8910" fmla="*/ 390990 h 1729012"/>
                <a:gd name="connsiteX8911" fmla="*/ 929175 w 2240198"/>
                <a:gd name="connsiteY8911" fmla="*/ 390553 h 1729012"/>
                <a:gd name="connsiteX8912" fmla="*/ 927904 w 2240198"/>
                <a:gd name="connsiteY8912" fmla="*/ 388953 h 1729012"/>
                <a:gd name="connsiteX8913" fmla="*/ 925399 w 2240198"/>
                <a:gd name="connsiteY8913" fmla="*/ 382974 h 1729012"/>
                <a:gd name="connsiteX8914" fmla="*/ 923619 w 2240198"/>
                <a:gd name="connsiteY8914" fmla="*/ 379750 h 1729012"/>
                <a:gd name="connsiteX8915" fmla="*/ 922950 w 2240198"/>
                <a:gd name="connsiteY8915" fmla="*/ 377508 h 1729012"/>
                <a:gd name="connsiteX8916" fmla="*/ 923390 w 2240198"/>
                <a:gd name="connsiteY8916" fmla="*/ 376253 h 1729012"/>
                <a:gd name="connsiteX8917" fmla="*/ 925553 w 2240198"/>
                <a:gd name="connsiteY8917" fmla="*/ 374993 h 1729012"/>
                <a:gd name="connsiteX8918" fmla="*/ 1072354 w 2240198"/>
                <a:gd name="connsiteY8918" fmla="*/ 371638 h 1729012"/>
                <a:gd name="connsiteX8919" fmla="*/ 1077001 w 2240198"/>
                <a:gd name="connsiteY8919" fmla="*/ 373038 h 1729012"/>
                <a:gd name="connsiteX8920" fmla="*/ 1083059 w 2240198"/>
                <a:gd name="connsiteY8920" fmla="*/ 376664 h 1729012"/>
                <a:gd name="connsiteX8921" fmla="*/ 1084390 w 2240198"/>
                <a:gd name="connsiteY8921" fmla="*/ 377897 h 1729012"/>
                <a:gd name="connsiteX8922" fmla="*/ 1091208 w 2240198"/>
                <a:gd name="connsiteY8922" fmla="*/ 380134 h 1729012"/>
                <a:gd name="connsiteX8923" fmla="*/ 1095237 w 2240198"/>
                <a:gd name="connsiteY8923" fmla="*/ 380877 h 1729012"/>
                <a:gd name="connsiteX8924" fmla="*/ 1097330 w 2240198"/>
                <a:gd name="connsiteY8924" fmla="*/ 382072 h 1729012"/>
                <a:gd name="connsiteX8925" fmla="*/ 1097962 w 2240198"/>
                <a:gd name="connsiteY8925" fmla="*/ 383628 h 1729012"/>
                <a:gd name="connsiteX8926" fmla="*/ 1098246 w 2240198"/>
                <a:gd name="connsiteY8926" fmla="*/ 385977 h 1729012"/>
                <a:gd name="connsiteX8927" fmla="*/ 1097939 w 2240198"/>
                <a:gd name="connsiteY8927" fmla="*/ 387784 h 1729012"/>
                <a:gd name="connsiteX8928" fmla="*/ 1097044 w 2240198"/>
                <a:gd name="connsiteY8928" fmla="*/ 389058 h 1729012"/>
                <a:gd name="connsiteX8929" fmla="*/ 1097002 w 2240198"/>
                <a:gd name="connsiteY8929" fmla="*/ 390520 h 1729012"/>
                <a:gd name="connsiteX8930" fmla="*/ 1097813 w 2240198"/>
                <a:gd name="connsiteY8930" fmla="*/ 392172 h 1729012"/>
                <a:gd name="connsiteX8931" fmla="*/ 1101202 w 2240198"/>
                <a:gd name="connsiteY8931" fmla="*/ 396332 h 1729012"/>
                <a:gd name="connsiteX8932" fmla="*/ 1102279 w 2240198"/>
                <a:gd name="connsiteY8932" fmla="*/ 398561 h 1729012"/>
                <a:gd name="connsiteX8933" fmla="*/ 1102442 w 2240198"/>
                <a:gd name="connsiteY8933" fmla="*/ 400796 h 1729012"/>
                <a:gd name="connsiteX8934" fmla="*/ 1102270 w 2240198"/>
                <a:gd name="connsiteY8934" fmla="*/ 402323 h 1729012"/>
                <a:gd name="connsiteX8935" fmla="*/ 1100179 w 2240198"/>
                <a:gd name="connsiteY8935" fmla="*/ 405281 h 1729012"/>
                <a:gd name="connsiteX8936" fmla="*/ 1099253 w 2240198"/>
                <a:gd name="connsiteY8936" fmla="*/ 409102 h 1729012"/>
                <a:gd name="connsiteX8937" fmla="*/ 1099199 w 2240198"/>
                <a:gd name="connsiteY8937" fmla="*/ 411124 h 1729012"/>
                <a:gd name="connsiteX8938" fmla="*/ 1100444 w 2240198"/>
                <a:gd name="connsiteY8938" fmla="*/ 414279 h 1729012"/>
                <a:gd name="connsiteX8939" fmla="*/ 1100479 w 2240198"/>
                <a:gd name="connsiteY8939" fmla="*/ 415744 h 1729012"/>
                <a:gd name="connsiteX8940" fmla="*/ 1098131 w 2240198"/>
                <a:gd name="connsiteY8940" fmla="*/ 418254 h 1729012"/>
                <a:gd name="connsiteX8941" fmla="*/ 1093155 w 2240198"/>
                <a:gd name="connsiteY8941" fmla="*/ 420437 h 1729012"/>
                <a:gd name="connsiteX8942" fmla="*/ 1093858 w 2240198"/>
                <a:gd name="connsiteY8942" fmla="*/ 421587 h 1729012"/>
                <a:gd name="connsiteX8943" fmla="*/ 1104590 w 2240198"/>
                <a:gd name="connsiteY8943" fmla="*/ 424348 h 1729012"/>
                <a:gd name="connsiteX8944" fmla="*/ 1105402 w 2240198"/>
                <a:gd name="connsiteY8944" fmla="*/ 424970 h 1729012"/>
                <a:gd name="connsiteX8945" fmla="*/ 1105349 w 2240198"/>
                <a:gd name="connsiteY8945" fmla="*/ 431168 h 1729012"/>
                <a:gd name="connsiteX8946" fmla="*/ 1107215 w 2240198"/>
                <a:gd name="connsiteY8946" fmla="*/ 437957 h 1729012"/>
                <a:gd name="connsiteX8947" fmla="*/ 1106519 w 2240198"/>
                <a:gd name="connsiteY8947" fmla="*/ 438090 h 1729012"/>
                <a:gd name="connsiteX8948" fmla="*/ 1103938 w 2240198"/>
                <a:gd name="connsiteY8948" fmla="*/ 435967 h 1729012"/>
                <a:gd name="connsiteX8949" fmla="*/ 1099169 w 2240198"/>
                <a:gd name="connsiteY8949" fmla="*/ 433446 h 1729012"/>
                <a:gd name="connsiteX8950" fmla="*/ 1093467 w 2240198"/>
                <a:gd name="connsiteY8950" fmla="*/ 438147 h 1729012"/>
                <a:gd name="connsiteX8951" fmla="*/ 1094112 w 2240198"/>
                <a:gd name="connsiteY8951" fmla="*/ 446114 h 1729012"/>
                <a:gd name="connsiteX8952" fmla="*/ 1097862 w 2240198"/>
                <a:gd name="connsiteY8952" fmla="*/ 449657 h 1729012"/>
                <a:gd name="connsiteX8953" fmla="*/ 1099002 w 2240198"/>
                <a:gd name="connsiteY8953" fmla="*/ 451676 h 1729012"/>
                <a:gd name="connsiteX8954" fmla="*/ 1098637 w 2240198"/>
                <a:gd name="connsiteY8954" fmla="*/ 452890 h 1729012"/>
                <a:gd name="connsiteX8955" fmla="*/ 1095466 w 2240198"/>
                <a:gd name="connsiteY8955" fmla="*/ 453432 h 1729012"/>
                <a:gd name="connsiteX8956" fmla="*/ 1094367 w 2240198"/>
                <a:gd name="connsiteY8956" fmla="*/ 453169 h 1729012"/>
                <a:gd name="connsiteX8957" fmla="*/ 1091118 w 2240198"/>
                <a:gd name="connsiteY8957" fmla="*/ 451568 h 1729012"/>
                <a:gd name="connsiteX8958" fmla="*/ 1089229 w 2240198"/>
                <a:gd name="connsiteY8958" fmla="*/ 449146 h 1729012"/>
                <a:gd name="connsiteX8959" fmla="*/ 1088635 w 2240198"/>
                <a:gd name="connsiteY8959" fmla="*/ 449231 h 1729012"/>
                <a:gd name="connsiteX8960" fmla="*/ 1088053 w 2240198"/>
                <a:gd name="connsiteY8960" fmla="*/ 450400 h 1729012"/>
                <a:gd name="connsiteX8961" fmla="*/ 1088432 w 2240198"/>
                <a:gd name="connsiteY8961" fmla="*/ 451584 h 1729012"/>
                <a:gd name="connsiteX8962" fmla="*/ 1090632 w 2240198"/>
                <a:gd name="connsiteY8962" fmla="*/ 453734 h 1729012"/>
                <a:gd name="connsiteX8963" fmla="*/ 1091562 w 2240198"/>
                <a:gd name="connsiteY8963" fmla="*/ 456303 h 1729012"/>
                <a:gd name="connsiteX8964" fmla="*/ 1090587 w 2240198"/>
                <a:gd name="connsiteY8964" fmla="*/ 457032 h 1729012"/>
                <a:gd name="connsiteX8965" fmla="*/ 1087312 w 2240198"/>
                <a:gd name="connsiteY8965" fmla="*/ 457696 h 1729012"/>
                <a:gd name="connsiteX8966" fmla="*/ 1082895 w 2240198"/>
                <a:gd name="connsiteY8966" fmla="*/ 457724 h 1729012"/>
                <a:gd name="connsiteX8967" fmla="*/ 1075960 w 2240198"/>
                <a:gd name="connsiteY8967" fmla="*/ 458883 h 1729012"/>
                <a:gd name="connsiteX8968" fmla="*/ 1072540 w 2240198"/>
                <a:gd name="connsiteY8968" fmla="*/ 459061 h 1729012"/>
                <a:gd name="connsiteX8969" fmla="*/ 1069211 w 2240198"/>
                <a:gd name="connsiteY8969" fmla="*/ 458435 h 1729012"/>
                <a:gd name="connsiteX8970" fmla="*/ 1064768 w 2240198"/>
                <a:gd name="connsiteY8970" fmla="*/ 458286 h 1729012"/>
                <a:gd name="connsiteX8971" fmla="*/ 1061072 w 2240198"/>
                <a:gd name="connsiteY8971" fmla="*/ 458559 h 1729012"/>
                <a:gd name="connsiteX8972" fmla="*/ 1058811 w 2240198"/>
                <a:gd name="connsiteY8972" fmla="*/ 458048 h 1729012"/>
                <a:gd name="connsiteX8973" fmla="*/ 1056753 w 2240198"/>
                <a:gd name="connsiteY8973" fmla="*/ 456849 h 1729012"/>
                <a:gd name="connsiteX8974" fmla="*/ 1054356 w 2240198"/>
                <a:gd name="connsiteY8974" fmla="*/ 457137 h 1729012"/>
                <a:gd name="connsiteX8975" fmla="*/ 1049126 w 2240198"/>
                <a:gd name="connsiteY8975" fmla="*/ 460180 h 1729012"/>
                <a:gd name="connsiteX8976" fmla="*/ 1041019 w 2240198"/>
                <a:gd name="connsiteY8976" fmla="*/ 459212 h 1729012"/>
                <a:gd name="connsiteX8977" fmla="*/ 1033722 w 2240198"/>
                <a:gd name="connsiteY8977" fmla="*/ 458964 h 1729012"/>
                <a:gd name="connsiteX8978" fmla="*/ 1032255 w 2240198"/>
                <a:gd name="connsiteY8978" fmla="*/ 457950 h 1729012"/>
                <a:gd name="connsiteX8979" fmla="*/ 1030623 w 2240198"/>
                <a:gd name="connsiteY8979" fmla="*/ 455968 h 1729012"/>
                <a:gd name="connsiteX8980" fmla="*/ 1027406 w 2240198"/>
                <a:gd name="connsiteY8980" fmla="*/ 449778 h 1729012"/>
                <a:gd name="connsiteX8981" fmla="*/ 1028015 w 2240198"/>
                <a:gd name="connsiteY8981" fmla="*/ 448216 h 1729012"/>
                <a:gd name="connsiteX8982" fmla="*/ 1035811 w 2240198"/>
                <a:gd name="connsiteY8982" fmla="*/ 447372 h 1729012"/>
                <a:gd name="connsiteX8983" fmla="*/ 1035971 w 2240198"/>
                <a:gd name="connsiteY8983" fmla="*/ 446837 h 1729012"/>
                <a:gd name="connsiteX8984" fmla="*/ 1030434 w 2240198"/>
                <a:gd name="connsiteY8984" fmla="*/ 444620 h 1729012"/>
                <a:gd name="connsiteX8985" fmla="*/ 1024074 w 2240198"/>
                <a:gd name="connsiteY8985" fmla="*/ 442992 h 1729012"/>
                <a:gd name="connsiteX8986" fmla="*/ 1021126 w 2240198"/>
                <a:gd name="connsiteY8986" fmla="*/ 441709 h 1729012"/>
                <a:gd name="connsiteX8987" fmla="*/ 1021809 w 2240198"/>
                <a:gd name="connsiteY8987" fmla="*/ 439261 h 1729012"/>
                <a:gd name="connsiteX8988" fmla="*/ 1021614 w 2240198"/>
                <a:gd name="connsiteY8988" fmla="*/ 438647 h 1729012"/>
                <a:gd name="connsiteX8989" fmla="*/ 1032574 w 2240198"/>
                <a:gd name="connsiteY8989" fmla="*/ 435847 h 1729012"/>
                <a:gd name="connsiteX8990" fmla="*/ 1040545 w 2240198"/>
                <a:gd name="connsiteY8990" fmla="*/ 430325 h 1729012"/>
                <a:gd name="connsiteX8991" fmla="*/ 1045492 w 2240198"/>
                <a:gd name="connsiteY8991" fmla="*/ 428074 h 1729012"/>
                <a:gd name="connsiteX8992" fmla="*/ 1045852 w 2240198"/>
                <a:gd name="connsiteY8992" fmla="*/ 426986 h 1729012"/>
                <a:gd name="connsiteX8993" fmla="*/ 1050032 w 2240198"/>
                <a:gd name="connsiteY8993" fmla="*/ 425853 h 1729012"/>
                <a:gd name="connsiteX8994" fmla="*/ 1059712 w 2240198"/>
                <a:gd name="connsiteY8994" fmla="*/ 425172 h 1729012"/>
                <a:gd name="connsiteX8995" fmla="*/ 1060089 w 2240198"/>
                <a:gd name="connsiteY8995" fmla="*/ 423635 h 1729012"/>
                <a:gd name="connsiteX8996" fmla="*/ 1041817 w 2240198"/>
                <a:gd name="connsiteY8996" fmla="*/ 424519 h 1729012"/>
                <a:gd name="connsiteX8997" fmla="*/ 1016800 w 2240198"/>
                <a:gd name="connsiteY8997" fmla="*/ 427654 h 1729012"/>
                <a:gd name="connsiteX8998" fmla="*/ 1009064 w 2240198"/>
                <a:gd name="connsiteY8998" fmla="*/ 429198 h 1729012"/>
                <a:gd name="connsiteX8999" fmla="*/ 1002612 w 2240198"/>
                <a:gd name="connsiteY8999" fmla="*/ 428298 h 1729012"/>
                <a:gd name="connsiteX9000" fmla="*/ 975225 w 2240198"/>
                <a:gd name="connsiteY9000" fmla="*/ 433145 h 1729012"/>
                <a:gd name="connsiteX9001" fmla="*/ 974058 w 2240198"/>
                <a:gd name="connsiteY9001" fmla="*/ 433143 h 1729012"/>
                <a:gd name="connsiteX9002" fmla="*/ 971194 w 2240198"/>
                <a:gd name="connsiteY9002" fmla="*/ 431605 h 1729012"/>
                <a:gd name="connsiteX9003" fmla="*/ 968731 w 2240198"/>
                <a:gd name="connsiteY9003" fmla="*/ 428723 h 1729012"/>
                <a:gd name="connsiteX9004" fmla="*/ 970498 w 2240198"/>
                <a:gd name="connsiteY9004" fmla="*/ 426712 h 1729012"/>
                <a:gd name="connsiteX9005" fmla="*/ 978540 w 2240198"/>
                <a:gd name="connsiteY9005" fmla="*/ 422890 h 1729012"/>
                <a:gd name="connsiteX9006" fmla="*/ 982561 w 2240198"/>
                <a:gd name="connsiteY9006" fmla="*/ 419539 h 1729012"/>
                <a:gd name="connsiteX9007" fmla="*/ 982090 w 2240198"/>
                <a:gd name="connsiteY9007" fmla="*/ 417726 h 1729012"/>
                <a:gd name="connsiteX9008" fmla="*/ 985283 w 2240198"/>
                <a:gd name="connsiteY9008" fmla="*/ 414503 h 1729012"/>
                <a:gd name="connsiteX9009" fmla="*/ 990403 w 2240198"/>
                <a:gd name="connsiteY9009" fmla="*/ 414047 h 1729012"/>
                <a:gd name="connsiteX9010" fmla="*/ 999104 w 2240198"/>
                <a:gd name="connsiteY9010" fmla="*/ 416697 h 1729012"/>
                <a:gd name="connsiteX9011" fmla="*/ 1003628 w 2240198"/>
                <a:gd name="connsiteY9011" fmla="*/ 419321 h 1729012"/>
                <a:gd name="connsiteX9012" fmla="*/ 1007680 w 2240198"/>
                <a:gd name="connsiteY9012" fmla="*/ 420548 h 1729012"/>
                <a:gd name="connsiteX9013" fmla="*/ 1011282 w 2240198"/>
                <a:gd name="connsiteY9013" fmla="*/ 420305 h 1729012"/>
                <a:gd name="connsiteX9014" fmla="*/ 1014999 w 2240198"/>
                <a:gd name="connsiteY9014" fmla="*/ 418468 h 1729012"/>
                <a:gd name="connsiteX9015" fmla="*/ 1014058 w 2240198"/>
                <a:gd name="connsiteY9015" fmla="*/ 418264 h 1729012"/>
                <a:gd name="connsiteX9016" fmla="*/ 1007747 w 2240198"/>
                <a:gd name="connsiteY9016" fmla="*/ 419233 h 1729012"/>
                <a:gd name="connsiteX9017" fmla="*/ 1007006 w 2240198"/>
                <a:gd name="connsiteY9017" fmla="*/ 418951 h 1729012"/>
                <a:gd name="connsiteX9018" fmla="*/ 1003786 w 2240198"/>
                <a:gd name="connsiteY9018" fmla="*/ 416015 h 1729012"/>
                <a:gd name="connsiteX9019" fmla="*/ 1002384 w 2240198"/>
                <a:gd name="connsiteY9019" fmla="*/ 414146 h 1729012"/>
                <a:gd name="connsiteX9020" fmla="*/ 1001481 w 2240198"/>
                <a:gd name="connsiteY9020" fmla="*/ 412272 h 1729012"/>
                <a:gd name="connsiteX9021" fmla="*/ 1001432 w 2240198"/>
                <a:gd name="connsiteY9021" fmla="*/ 410948 h 1729012"/>
                <a:gd name="connsiteX9022" fmla="*/ 1003372 w 2240198"/>
                <a:gd name="connsiteY9022" fmla="*/ 408434 h 1729012"/>
                <a:gd name="connsiteX9023" fmla="*/ 996134 w 2240198"/>
                <a:gd name="connsiteY9023" fmla="*/ 407607 h 1729012"/>
                <a:gd name="connsiteX9024" fmla="*/ 993431 w 2240198"/>
                <a:gd name="connsiteY9024" fmla="*/ 405868 h 1729012"/>
                <a:gd name="connsiteX9025" fmla="*/ 992196 w 2240198"/>
                <a:gd name="connsiteY9025" fmla="*/ 403694 h 1729012"/>
                <a:gd name="connsiteX9026" fmla="*/ 992468 w 2240198"/>
                <a:gd name="connsiteY9026" fmla="*/ 402748 h 1729012"/>
                <a:gd name="connsiteX9027" fmla="*/ 994750 w 2240198"/>
                <a:gd name="connsiteY9027" fmla="*/ 400202 h 1729012"/>
                <a:gd name="connsiteX9028" fmla="*/ 1000897 w 2240198"/>
                <a:gd name="connsiteY9028" fmla="*/ 396694 h 1729012"/>
                <a:gd name="connsiteX9029" fmla="*/ 1000185 w 2240198"/>
                <a:gd name="connsiteY9029" fmla="*/ 395724 h 1729012"/>
                <a:gd name="connsiteX9030" fmla="*/ 991240 w 2240198"/>
                <a:gd name="connsiteY9030" fmla="*/ 395801 h 1729012"/>
                <a:gd name="connsiteX9031" fmla="*/ 989271 w 2240198"/>
                <a:gd name="connsiteY9031" fmla="*/ 395343 h 1729012"/>
                <a:gd name="connsiteX9032" fmla="*/ 985460 w 2240198"/>
                <a:gd name="connsiteY9032" fmla="*/ 393160 h 1729012"/>
                <a:gd name="connsiteX9033" fmla="*/ 986299 w 2240198"/>
                <a:gd name="connsiteY9033" fmla="*/ 390732 h 1729012"/>
                <a:gd name="connsiteX9034" fmla="*/ 989860 w 2240198"/>
                <a:gd name="connsiteY9034" fmla="*/ 387175 h 1729012"/>
                <a:gd name="connsiteX9035" fmla="*/ 992541 w 2240198"/>
                <a:gd name="connsiteY9035" fmla="*/ 385074 h 1729012"/>
                <a:gd name="connsiteX9036" fmla="*/ 994339 w 2240198"/>
                <a:gd name="connsiteY9036" fmla="*/ 384430 h 1729012"/>
                <a:gd name="connsiteX9037" fmla="*/ 997136 w 2240198"/>
                <a:gd name="connsiteY9037" fmla="*/ 384442 h 1729012"/>
                <a:gd name="connsiteX9038" fmla="*/ 1003781 w 2240198"/>
                <a:gd name="connsiteY9038" fmla="*/ 385815 h 1729012"/>
                <a:gd name="connsiteX9039" fmla="*/ 1005694 w 2240198"/>
                <a:gd name="connsiteY9039" fmla="*/ 386572 h 1729012"/>
                <a:gd name="connsiteX9040" fmla="*/ 1010783 w 2240198"/>
                <a:gd name="connsiteY9040" fmla="*/ 390001 h 1729012"/>
                <a:gd name="connsiteX9041" fmla="*/ 1012080 w 2240198"/>
                <a:gd name="connsiteY9041" fmla="*/ 391955 h 1729012"/>
                <a:gd name="connsiteX9042" fmla="*/ 1011921 w 2240198"/>
                <a:gd name="connsiteY9042" fmla="*/ 393836 h 1729012"/>
                <a:gd name="connsiteX9043" fmla="*/ 1012894 w 2240198"/>
                <a:gd name="connsiteY9043" fmla="*/ 395216 h 1729012"/>
                <a:gd name="connsiteX9044" fmla="*/ 1016843 w 2240198"/>
                <a:gd name="connsiteY9044" fmla="*/ 397227 h 1729012"/>
                <a:gd name="connsiteX9045" fmla="*/ 1033816 w 2240198"/>
                <a:gd name="connsiteY9045" fmla="*/ 407620 h 1729012"/>
                <a:gd name="connsiteX9046" fmla="*/ 1036985 w 2240198"/>
                <a:gd name="connsiteY9046" fmla="*/ 410073 h 1729012"/>
                <a:gd name="connsiteX9047" fmla="*/ 1039156 w 2240198"/>
                <a:gd name="connsiteY9047" fmla="*/ 411158 h 1729012"/>
                <a:gd name="connsiteX9048" fmla="*/ 1043076 w 2240198"/>
                <a:gd name="connsiteY9048" fmla="*/ 411953 h 1729012"/>
                <a:gd name="connsiteX9049" fmla="*/ 1045374 w 2240198"/>
                <a:gd name="connsiteY9049" fmla="*/ 411788 h 1729012"/>
                <a:gd name="connsiteX9050" fmla="*/ 1047240 w 2240198"/>
                <a:gd name="connsiteY9050" fmla="*/ 411059 h 1729012"/>
                <a:gd name="connsiteX9051" fmla="*/ 1047553 w 2240198"/>
                <a:gd name="connsiteY9051" fmla="*/ 410111 h 1729012"/>
                <a:gd name="connsiteX9052" fmla="*/ 1040215 w 2240198"/>
                <a:gd name="connsiteY9052" fmla="*/ 406485 h 1729012"/>
                <a:gd name="connsiteX9053" fmla="*/ 1038373 w 2240198"/>
                <a:gd name="connsiteY9053" fmla="*/ 404554 h 1729012"/>
                <a:gd name="connsiteX9054" fmla="*/ 1036805 w 2240198"/>
                <a:gd name="connsiteY9054" fmla="*/ 401916 h 1729012"/>
                <a:gd name="connsiteX9055" fmla="*/ 1037490 w 2240198"/>
                <a:gd name="connsiteY9055" fmla="*/ 401065 h 1729012"/>
                <a:gd name="connsiteX9056" fmla="*/ 1039621 w 2240198"/>
                <a:gd name="connsiteY9056" fmla="*/ 400771 h 1729012"/>
                <a:gd name="connsiteX9057" fmla="*/ 1044985 w 2240198"/>
                <a:gd name="connsiteY9057" fmla="*/ 401115 h 1729012"/>
                <a:gd name="connsiteX9058" fmla="*/ 1051303 w 2240198"/>
                <a:gd name="connsiteY9058" fmla="*/ 400401 h 1729012"/>
                <a:gd name="connsiteX9059" fmla="*/ 1044300 w 2240198"/>
                <a:gd name="connsiteY9059" fmla="*/ 399290 h 1729012"/>
                <a:gd name="connsiteX9060" fmla="*/ 1039727 w 2240198"/>
                <a:gd name="connsiteY9060" fmla="*/ 397814 h 1729012"/>
                <a:gd name="connsiteX9061" fmla="*/ 1035032 w 2240198"/>
                <a:gd name="connsiteY9061" fmla="*/ 397742 h 1729012"/>
                <a:gd name="connsiteX9062" fmla="*/ 1029163 w 2240198"/>
                <a:gd name="connsiteY9062" fmla="*/ 395374 h 1729012"/>
                <a:gd name="connsiteX9063" fmla="*/ 1029160 w 2240198"/>
                <a:gd name="connsiteY9063" fmla="*/ 394633 h 1729012"/>
                <a:gd name="connsiteX9064" fmla="*/ 1030598 w 2240198"/>
                <a:gd name="connsiteY9064" fmla="*/ 393878 h 1729012"/>
                <a:gd name="connsiteX9065" fmla="*/ 1038582 w 2240198"/>
                <a:gd name="connsiteY9065" fmla="*/ 392825 h 1729012"/>
                <a:gd name="connsiteX9066" fmla="*/ 1040094 w 2240198"/>
                <a:gd name="connsiteY9066" fmla="*/ 392372 h 1729012"/>
                <a:gd name="connsiteX9067" fmla="*/ 1040230 w 2240198"/>
                <a:gd name="connsiteY9067" fmla="*/ 391715 h 1729012"/>
                <a:gd name="connsiteX9068" fmla="*/ 1037589 w 2240198"/>
                <a:gd name="connsiteY9068" fmla="*/ 390126 h 1729012"/>
                <a:gd name="connsiteX9069" fmla="*/ 1035237 w 2240198"/>
                <a:gd name="connsiteY9069" fmla="*/ 389261 h 1729012"/>
                <a:gd name="connsiteX9070" fmla="*/ 1023167 w 2240198"/>
                <a:gd name="connsiteY9070" fmla="*/ 387336 h 1729012"/>
                <a:gd name="connsiteX9071" fmla="*/ 1018877 w 2240198"/>
                <a:gd name="connsiteY9071" fmla="*/ 385180 h 1729012"/>
                <a:gd name="connsiteX9072" fmla="*/ 1017513 w 2240198"/>
                <a:gd name="connsiteY9072" fmla="*/ 384150 h 1729012"/>
                <a:gd name="connsiteX9073" fmla="*/ 1017079 w 2240198"/>
                <a:gd name="connsiteY9073" fmla="*/ 383157 h 1729012"/>
                <a:gd name="connsiteX9074" fmla="*/ 1018627 w 2240198"/>
                <a:gd name="connsiteY9074" fmla="*/ 380609 h 1729012"/>
                <a:gd name="connsiteX9075" fmla="*/ 1025119 w 2240198"/>
                <a:gd name="connsiteY9075" fmla="*/ 377408 h 1729012"/>
                <a:gd name="connsiteX9076" fmla="*/ 1029829 w 2240198"/>
                <a:gd name="connsiteY9076" fmla="*/ 375881 h 1729012"/>
                <a:gd name="connsiteX9077" fmla="*/ 1037924 w 2240198"/>
                <a:gd name="connsiteY9077" fmla="*/ 374762 h 1729012"/>
                <a:gd name="connsiteX9078" fmla="*/ 1044380 w 2240198"/>
                <a:gd name="connsiteY9078" fmla="*/ 374896 h 1729012"/>
                <a:gd name="connsiteX9079" fmla="*/ 1048058 w 2240198"/>
                <a:gd name="connsiteY9079" fmla="*/ 375324 h 1729012"/>
                <a:gd name="connsiteX9080" fmla="*/ 1056667 w 2240198"/>
                <a:gd name="connsiteY9080" fmla="*/ 380747 h 1729012"/>
                <a:gd name="connsiteX9081" fmla="*/ 1060721 w 2240198"/>
                <a:gd name="connsiteY9081" fmla="*/ 384305 h 1729012"/>
                <a:gd name="connsiteX9082" fmla="*/ 1067803 w 2240198"/>
                <a:gd name="connsiteY9082" fmla="*/ 383678 h 1729012"/>
                <a:gd name="connsiteX9083" fmla="*/ 1065757 w 2240198"/>
                <a:gd name="connsiteY9083" fmla="*/ 379940 h 1729012"/>
                <a:gd name="connsiteX9084" fmla="*/ 1064422 w 2240198"/>
                <a:gd name="connsiteY9084" fmla="*/ 375829 h 1729012"/>
                <a:gd name="connsiteX9085" fmla="*/ 1066522 w 2240198"/>
                <a:gd name="connsiteY9085" fmla="*/ 374318 h 1729012"/>
                <a:gd name="connsiteX9086" fmla="*/ 1023905 w 2240198"/>
                <a:gd name="connsiteY9086" fmla="*/ 368535 h 1729012"/>
                <a:gd name="connsiteX9087" fmla="*/ 1027818 w 2240198"/>
                <a:gd name="connsiteY9087" fmla="*/ 368649 h 1729012"/>
                <a:gd name="connsiteX9088" fmla="*/ 1032842 w 2240198"/>
                <a:gd name="connsiteY9088" fmla="*/ 369506 h 1729012"/>
                <a:gd name="connsiteX9089" fmla="*/ 1020736 w 2240198"/>
                <a:gd name="connsiteY9089" fmla="*/ 374000 h 1729012"/>
                <a:gd name="connsiteX9090" fmla="*/ 1008576 w 2240198"/>
                <a:gd name="connsiteY9090" fmla="*/ 377686 h 1729012"/>
                <a:gd name="connsiteX9091" fmla="*/ 1002007 w 2240198"/>
                <a:gd name="connsiteY9091" fmla="*/ 377915 h 1729012"/>
                <a:gd name="connsiteX9092" fmla="*/ 998970 w 2240198"/>
                <a:gd name="connsiteY9092" fmla="*/ 377281 h 1729012"/>
                <a:gd name="connsiteX9093" fmla="*/ 998764 w 2240198"/>
                <a:gd name="connsiteY9093" fmla="*/ 376354 h 1729012"/>
                <a:gd name="connsiteX9094" fmla="*/ 1001391 w 2240198"/>
                <a:gd name="connsiteY9094" fmla="*/ 375133 h 1729012"/>
                <a:gd name="connsiteX9095" fmla="*/ 1010124 w 2240198"/>
                <a:gd name="connsiteY9095" fmla="*/ 373141 h 1729012"/>
                <a:gd name="connsiteX9096" fmla="*/ 1015269 w 2240198"/>
                <a:gd name="connsiteY9096" fmla="*/ 369504 h 1729012"/>
                <a:gd name="connsiteX9097" fmla="*/ 1017188 w 2240198"/>
                <a:gd name="connsiteY9097" fmla="*/ 369055 h 1729012"/>
                <a:gd name="connsiteX9098" fmla="*/ 815728 w 2240198"/>
                <a:gd name="connsiteY9098" fmla="*/ 364894 h 1729012"/>
                <a:gd name="connsiteX9099" fmla="*/ 822770 w 2240198"/>
                <a:gd name="connsiteY9099" fmla="*/ 368239 h 1729012"/>
                <a:gd name="connsiteX9100" fmla="*/ 824330 w 2240198"/>
                <a:gd name="connsiteY9100" fmla="*/ 368444 h 1729012"/>
                <a:gd name="connsiteX9101" fmla="*/ 824974 w 2240198"/>
                <a:gd name="connsiteY9101" fmla="*/ 369323 h 1729012"/>
                <a:gd name="connsiteX9102" fmla="*/ 824700 w 2240198"/>
                <a:gd name="connsiteY9102" fmla="*/ 370877 h 1729012"/>
                <a:gd name="connsiteX9103" fmla="*/ 823822 w 2240198"/>
                <a:gd name="connsiteY9103" fmla="*/ 372356 h 1729012"/>
                <a:gd name="connsiteX9104" fmla="*/ 821301 w 2240198"/>
                <a:gd name="connsiteY9104" fmla="*/ 375027 h 1729012"/>
                <a:gd name="connsiteX9105" fmla="*/ 820709 w 2240198"/>
                <a:gd name="connsiteY9105" fmla="*/ 376146 h 1729012"/>
                <a:gd name="connsiteX9106" fmla="*/ 820900 w 2240198"/>
                <a:gd name="connsiteY9106" fmla="*/ 377297 h 1729012"/>
                <a:gd name="connsiteX9107" fmla="*/ 822628 w 2240198"/>
                <a:gd name="connsiteY9107" fmla="*/ 379954 h 1729012"/>
                <a:gd name="connsiteX9108" fmla="*/ 823158 w 2240198"/>
                <a:gd name="connsiteY9108" fmla="*/ 381702 h 1729012"/>
                <a:gd name="connsiteX9109" fmla="*/ 823539 w 2240198"/>
                <a:gd name="connsiteY9109" fmla="*/ 384645 h 1729012"/>
                <a:gd name="connsiteX9110" fmla="*/ 823820 w 2240198"/>
                <a:gd name="connsiteY9110" fmla="*/ 385079 h 1729012"/>
                <a:gd name="connsiteX9111" fmla="*/ 828055 w 2240198"/>
                <a:gd name="connsiteY9111" fmla="*/ 387561 h 1729012"/>
                <a:gd name="connsiteX9112" fmla="*/ 831907 w 2240198"/>
                <a:gd name="connsiteY9112" fmla="*/ 390790 h 1729012"/>
                <a:gd name="connsiteX9113" fmla="*/ 833691 w 2240198"/>
                <a:gd name="connsiteY9113" fmla="*/ 395849 h 1729012"/>
                <a:gd name="connsiteX9114" fmla="*/ 832304 w 2240198"/>
                <a:gd name="connsiteY9114" fmla="*/ 397594 h 1729012"/>
                <a:gd name="connsiteX9115" fmla="*/ 829061 w 2240198"/>
                <a:gd name="connsiteY9115" fmla="*/ 399995 h 1729012"/>
                <a:gd name="connsiteX9116" fmla="*/ 827132 w 2240198"/>
                <a:gd name="connsiteY9116" fmla="*/ 401995 h 1729012"/>
                <a:gd name="connsiteX9117" fmla="*/ 826516 w 2240198"/>
                <a:gd name="connsiteY9117" fmla="*/ 403592 h 1729012"/>
                <a:gd name="connsiteX9118" fmla="*/ 827007 w 2240198"/>
                <a:gd name="connsiteY9118" fmla="*/ 404556 h 1729012"/>
                <a:gd name="connsiteX9119" fmla="*/ 829402 w 2240198"/>
                <a:gd name="connsiteY9119" fmla="*/ 405046 h 1729012"/>
                <a:gd name="connsiteX9120" fmla="*/ 832599 w 2240198"/>
                <a:gd name="connsiteY9120" fmla="*/ 405193 h 1729012"/>
                <a:gd name="connsiteX9121" fmla="*/ 836339 w 2240198"/>
                <a:gd name="connsiteY9121" fmla="*/ 404624 h 1729012"/>
                <a:gd name="connsiteX9122" fmla="*/ 840560 w 2240198"/>
                <a:gd name="connsiteY9122" fmla="*/ 405015 h 1729012"/>
                <a:gd name="connsiteX9123" fmla="*/ 842473 w 2240198"/>
                <a:gd name="connsiteY9123" fmla="*/ 406182 h 1729012"/>
                <a:gd name="connsiteX9124" fmla="*/ 843826 w 2240198"/>
                <a:gd name="connsiteY9124" fmla="*/ 408256 h 1729012"/>
                <a:gd name="connsiteX9125" fmla="*/ 843882 w 2240198"/>
                <a:gd name="connsiteY9125" fmla="*/ 409367 h 1729012"/>
                <a:gd name="connsiteX9126" fmla="*/ 843615 w 2240198"/>
                <a:gd name="connsiteY9126" fmla="*/ 410324 h 1729012"/>
                <a:gd name="connsiteX9127" fmla="*/ 843023 w 2240198"/>
                <a:gd name="connsiteY9127" fmla="*/ 411119 h 1729012"/>
                <a:gd name="connsiteX9128" fmla="*/ 837565 w 2240198"/>
                <a:gd name="connsiteY9128" fmla="*/ 416338 h 1729012"/>
                <a:gd name="connsiteX9129" fmla="*/ 836290 w 2240198"/>
                <a:gd name="connsiteY9129" fmla="*/ 418140 h 1729012"/>
                <a:gd name="connsiteX9130" fmla="*/ 838056 w 2240198"/>
                <a:gd name="connsiteY9130" fmla="*/ 418579 h 1729012"/>
                <a:gd name="connsiteX9131" fmla="*/ 838907 w 2240198"/>
                <a:gd name="connsiteY9131" fmla="*/ 418276 h 1729012"/>
                <a:gd name="connsiteX9132" fmla="*/ 844356 w 2240198"/>
                <a:gd name="connsiteY9132" fmla="*/ 414370 h 1729012"/>
                <a:gd name="connsiteX9133" fmla="*/ 848455 w 2240198"/>
                <a:gd name="connsiteY9133" fmla="*/ 413148 h 1729012"/>
                <a:gd name="connsiteX9134" fmla="*/ 851566 w 2240198"/>
                <a:gd name="connsiteY9134" fmla="*/ 412867 h 1729012"/>
                <a:gd name="connsiteX9135" fmla="*/ 856689 w 2240198"/>
                <a:gd name="connsiteY9135" fmla="*/ 413647 h 1729012"/>
                <a:gd name="connsiteX9136" fmla="*/ 858731 w 2240198"/>
                <a:gd name="connsiteY9136" fmla="*/ 414320 h 1729012"/>
                <a:gd name="connsiteX9137" fmla="*/ 860132 w 2240198"/>
                <a:gd name="connsiteY9137" fmla="*/ 415117 h 1729012"/>
                <a:gd name="connsiteX9138" fmla="*/ 860894 w 2240198"/>
                <a:gd name="connsiteY9138" fmla="*/ 416037 h 1729012"/>
                <a:gd name="connsiteX9139" fmla="*/ 862909 w 2240198"/>
                <a:gd name="connsiteY9139" fmla="*/ 419777 h 1729012"/>
                <a:gd name="connsiteX9140" fmla="*/ 864364 w 2240198"/>
                <a:gd name="connsiteY9140" fmla="*/ 424603 h 1729012"/>
                <a:gd name="connsiteX9141" fmla="*/ 864601 w 2240198"/>
                <a:gd name="connsiteY9141" fmla="*/ 424106 h 1729012"/>
                <a:gd name="connsiteX9142" fmla="*/ 864637 w 2240198"/>
                <a:gd name="connsiteY9142" fmla="*/ 421402 h 1729012"/>
                <a:gd name="connsiteX9143" fmla="*/ 864918 w 2240198"/>
                <a:gd name="connsiteY9143" fmla="*/ 419296 h 1729012"/>
                <a:gd name="connsiteX9144" fmla="*/ 869953 w 2240198"/>
                <a:gd name="connsiteY9144" fmla="*/ 417871 h 1729012"/>
                <a:gd name="connsiteX9145" fmla="*/ 870080 w 2240198"/>
                <a:gd name="connsiteY9145" fmla="*/ 417401 h 1729012"/>
                <a:gd name="connsiteX9146" fmla="*/ 868273 w 2240198"/>
                <a:gd name="connsiteY9146" fmla="*/ 416234 h 1729012"/>
                <a:gd name="connsiteX9147" fmla="*/ 866734 w 2240198"/>
                <a:gd name="connsiteY9147" fmla="*/ 414639 h 1729012"/>
                <a:gd name="connsiteX9148" fmla="*/ 865669 w 2240198"/>
                <a:gd name="connsiteY9148" fmla="*/ 411649 h 1729012"/>
                <a:gd name="connsiteX9149" fmla="*/ 866085 w 2240198"/>
                <a:gd name="connsiteY9149" fmla="*/ 410533 h 1729012"/>
                <a:gd name="connsiteX9150" fmla="*/ 867139 w 2240198"/>
                <a:gd name="connsiteY9150" fmla="*/ 409334 h 1729012"/>
                <a:gd name="connsiteX9151" fmla="*/ 870361 w 2240198"/>
                <a:gd name="connsiteY9151" fmla="*/ 406784 h 1729012"/>
                <a:gd name="connsiteX9152" fmla="*/ 874125 w 2240198"/>
                <a:gd name="connsiteY9152" fmla="*/ 405260 h 1729012"/>
                <a:gd name="connsiteX9153" fmla="*/ 877472 w 2240198"/>
                <a:gd name="connsiteY9153" fmla="*/ 404892 h 1729012"/>
                <a:gd name="connsiteX9154" fmla="*/ 889941 w 2240198"/>
                <a:gd name="connsiteY9154" fmla="*/ 407551 h 1729012"/>
                <a:gd name="connsiteX9155" fmla="*/ 894847 w 2240198"/>
                <a:gd name="connsiteY9155" fmla="*/ 409733 h 1729012"/>
                <a:gd name="connsiteX9156" fmla="*/ 896842 w 2240198"/>
                <a:gd name="connsiteY9156" fmla="*/ 410856 h 1729012"/>
                <a:gd name="connsiteX9157" fmla="*/ 897558 w 2240198"/>
                <a:gd name="connsiteY9157" fmla="*/ 411656 h 1729012"/>
                <a:gd name="connsiteX9158" fmla="*/ 898601 w 2240198"/>
                <a:gd name="connsiteY9158" fmla="*/ 414211 h 1729012"/>
                <a:gd name="connsiteX9159" fmla="*/ 900690 w 2240198"/>
                <a:gd name="connsiteY9159" fmla="*/ 421196 h 1729012"/>
                <a:gd name="connsiteX9160" fmla="*/ 900677 w 2240198"/>
                <a:gd name="connsiteY9160" fmla="*/ 423436 h 1729012"/>
                <a:gd name="connsiteX9161" fmla="*/ 899711 w 2240198"/>
                <a:gd name="connsiteY9161" fmla="*/ 427038 h 1729012"/>
                <a:gd name="connsiteX9162" fmla="*/ 895682 w 2240198"/>
                <a:gd name="connsiteY9162" fmla="*/ 433774 h 1729012"/>
                <a:gd name="connsiteX9163" fmla="*/ 895068 w 2240198"/>
                <a:gd name="connsiteY9163" fmla="*/ 438331 h 1729012"/>
                <a:gd name="connsiteX9164" fmla="*/ 891012 w 2240198"/>
                <a:gd name="connsiteY9164" fmla="*/ 449619 h 1729012"/>
                <a:gd name="connsiteX9165" fmla="*/ 888239 w 2240198"/>
                <a:gd name="connsiteY9165" fmla="*/ 452676 h 1729012"/>
                <a:gd name="connsiteX9166" fmla="*/ 885179 w 2240198"/>
                <a:gd name="connsiteY9166" fmla="*/ 454814 h 1729012"/>
                <a:gd name="connsiteX9167" fmla="*/ 872612 w 2240198"/>
                <a:gd name="connsiteY9167" fmla="*/ 458573 h 1729012"/>
                <a:gd name="connsiteX9168" fmla="*/ 863157 w 2240198"/>
                <a:gd name="connsiteY9168" fmla="*/ 462391 h 1729012"/>
                <a:gd name="connsiteX9169" fmla="*/ 860761 w 2240198"/>
                <a:gd name="connsiteY9169" fmla="*/ 462995 h 1729012"/>
                <a:gd name="connsiteX9170" fmla="*/ 858282 w 2240198"/>
                <a:gd name="connsiteY9170" fmla="*/ 463046 h 1729012"/>
                <a:gd name="connsiteX9171" fmla="*/ 850459 w 2240198"/>
                <a:gd name="connsiteY9171" fmla="*/ 461780 h 1729012"/>
                <a:gd name="connsiteX9172" fmla="*/ 841378 w 2240198"/>
                <a:gd name="connsiteY9172" fmla="*/ 459353 h 1729012"/>
                <a:gd name="connsiteX9173" fmla="*/ 836215 w 2240198"/>
                <a:gd name="connsiteY9173" fmla="*/ 460041 h 1729012"/>
                <a:gd name="connsiteX9174" fmla="*/ 831069 w 2240198"/>
                <a:gd name="connsiteY9174" fmla="*/ 461793 h 1729012"/>
                <a:gd name="connsiteX9175" fmla="*/ 827827 w 2240198"/>
                <a:gd name="connsiteY9175" fmla="*/ 462263 h 1729012"/>
                <a:gd name="connsiteX9176" fmla="*/ 824777 w 2240198"/>
                <a:gd name="connsiteY9176" fmla="*/ 462030 h 1729012"/>
                <a:gd name="connsiteX9177" fmla="*/ 821748 w 2240198"/>
                <a:gd name="connsiteY9177" fmla="*/ 461405 h 1729012"/>
                <a:gd name="connsiteX9178" fmla="*/ 817765 w 2240198"/>
                <a:gd name="connsiteY9178" fmla="*/ 459764 h 1729012"/>
                <a:gd name="connsiteX9179" fmla="*/ 819820 w 2240198"/>
                <a:gd name="connsiteY9179" fmla="*/ 459013 h 1729012"/>
                <a:gd name="connsiteX9180" fmla="*/ 820756 w 2240198"/>
                <a:gd name="connsiteY9180" fmla="*/ 458174 h 1729012"/>
                <a:gd name="connsiteX9181" fmla="*/ 819927 w 2240198"/>
                <a:gd name="connsiteY9181" fmla="*/ 457309 h 1729012"/>
                <a:gd name="connsiteX9182" fmla="*/ 815736 w 2240198"/>
                <a:gd name="connsiteY9182" fmla="*/ 456062 h 1729012"/>
                <a:gd name="connsiteX9183" fmla="*/ 811395 w 2240198"/>
                <a:gd name="connsiteY9183" fmla="*/ 458833 h 1729012"/>
                <a:gd name="connsiteX9184" fmla="*/ 798702 w 2240198"/>
                <a:gd name="connsiteY9184" fmla="*/ 465293 h 1729012"/>
                <a:gd name="connsiteX9185" fmla="*/ 781645 w 2240198"/>
                <a:gd name="connsiteY9185" fmla="*/ 467454 h 1729012"/>
                <a:gd name="connsiteX9186" fmla="*/ 776297 w 2240198"/>
                <a:gd name="connsiteY9186" fmla="*/ 468768 h 1729012"/>
                <a:gd name="connsiteX9187" fmla="*/ 772324 w 2240198"/>
                <a:gd name="connsiteY9187" fmla="*/ 470463 h 1729012"/>
                <a:gd name="connsiteX9188" fmla="*/ 770261 w 2240198"/>
                <a:gd name="connsiteY9188" fmla="*/ 471860 h 1729012"/>
                <a:gd name="connsiteX9189" fmla="*/ 767103 w 2240198"/>
                <a:gd name="connsiteY9189" fmla="*/ 475134 h 1729012"/>
                <a:gd name="connsiteX9190" fmla="*/ 762245 w 2240198"/>
                <a:gd name="connsiteY9190" fmla="*/ 477597 h 1729012"/>
                <a:gd name="connsiteX9191" fmla="*/ 753454 w 2240198"/>
                <a:gd name="connsiteY9191" fmla="*/ 480288 h 1729012"/>
                <a:gd name="connsiteX9192" fmla="*/ 742268 w 2240198"/>
                <a:gd name="connsiteY9192" fmla="*/ 484462 h 1729012"/>
                <a:gd name="connsiteX9193" fmla="*/ 722221 w 2240198"/>
                <a:gd name="connsiteY9193" fmla="*/ 488722 h 1729012"/>
                <a:gd name="connsiteX9194" fmla="*/ 709605 w 2240198"/>
                <a:gd name="connsiteY9194" fmla="*/ 489470 h 1729012"/>
                <a:gd name="connsiteX9195" fmla="*/ 696998 w 2240198"/>
                <a:gd name="connsiteY9195" fmla="*/ 488061 h 1729012"/>
                <a:gd name="connsiteX9196" fmla="*/ 693004 w 2240198"/>
                <a:gd name="connsiteY9196" fmla="*/ 486913 h 1729012"/>
                <a:gd name="connsiteX9197" fmla="*/ 688815 w 2240198"/>
                <a:gd name="connsiteY9197" fmla="*/ 485112 h 1729012"/>
                <a:gd name="connsiteX9198" fmla="*/ 680245 w 2240198"/>
                <a:gd name="connsiteY9198" fmla="*/ 480863 h 1729012"/>
                <a:gd name="connsiteX9199" fmla="*/ 677875 w 2240198"/>
                <a:gd name="connsiteY9199" fmla="*/ 479325 h 1729012"/>
                <a:gd name="connsiteX9200" fmla="*/ 675118 w 2240198"/>
                <a:gd name="connsiteY9200" fmla="*/ 475981 h 1729012"/>
                <a:gd name="connsiteX9201" fmla="*/ 676748 w 2240198"/>
                <a:gd name="connsiteY9201" fmla="*/ 473754 h 1729012"/>
                <a:gd name="connsiteX9202" fmla="*/ 681318 w 2240198"/>
                <a:gd name="connsiteY9202" fmla="*/ 471183 h 1729012"/>
                <a:gd name="connsiteX9203" fmla="*/ 688153 w 2240198"/>
                <a:gd name="connsiteY9203" fmla="*/ 468841 h 1729012"/>
                <a:gd name="connsiteX9204" fmla="*/ 701809 w 2240198"/>
                <a:gd name="connsiteY9204" fmla="*/ 465670 h 1729012"/>
                <a:gd name="connsiteX9205" fmla="*/ 714192 w 2240198"/>
                <a:gd name="connsiteY9205" fmla="*/ 460593 h 1729012"/>
                <a:gd name="connsiteX9206" fmla="*/ 718577 w 2240198"/>
                <a:gd name="connsiteY9206" fmla="*/ 459638 h 1729012"/>
                <a:gd name="connsiteX9207" fmla="*/ 730500 w 2240198"/>
                <a:gd name="connsiteY9207" fmla="*/ 458861 h 1729012"/>
                <a:gd name="connsiteX9208" fmla="*/ 736512 w 2240198"/>
                <a:gd name="connsiteY9208" fmla="*/ 459335 h 1729012"/>
                <a:gd name="connsiteX9209" fmla="*/ 740861 w 2240198"/>
                <a:gd name="connsiteY9209" fmla="*/ 459068 h 1729012"/>
                <a:gd name="connsiteX9210" fmla="*/ 743729 w 2240198"/>
                <a:gd name="connsiteY9210" fmla="*/ 458370 h 1729012"/>
                <a:gd name="connsiteX9211" fmla="*/ 747984 w 2240198"/>
                <a:gd name="connsiteY9211" fmla="*/ 456533 h 1729012"/>
                <a:gd name="connsiteX9212" fmla="*/ 754205 w 2240198"/>
                <a:gd name="connsiteY9212" fmla="*/ 452868 h 1729012"/>
                <a:gd name="connsiteX9213" fmla="*/ 758745 w 2240198"/>
                <a:gd name="connsiteY9213" fmla="*/ 449432 h 1729012"/>
                <a:gd name="connsiteX9214" fmla="*/ 759897 w 2240198"/>
                <a:gd name="connsiteY9214" fmla="*/ 447824 h 1729012"/>
                <a:gd name="connsiteX9215" fmla="*/ 758376 w 2240198"/>
                <a:gd name="connsiteY9215" fmla="*/ 446317 h 1729012"/>
                <a:gd name="connsiteX9216" fmla="*/ 756151 w 2240198"/>
                <a:gd name="connsiteY9216" fmla="*/ 446106 h 1729012"/>
                <a:gd name="connsiteX9217" fmla="*/ 748729 w 2240198"/>
                <a:gd name="connsiteY9217" fmla="*/ 449641 h 1729012"/>
                <a:gd name="connsiteX9218" fmla="*/ 745003 w 2240198"/>
                <a:gd name="connsiteY9218" fmla="*/ 450830 h 1729012"/>
                <a:gd name="connsiteX9219" fmla="*/ 740946 w 2240198"/>
                <a:gd name="connsiteY9219" fmla="*/ 450912 h 1729012"/>
                <a:gd name="connsiteX9220" fmla="*/ 735377 w 2240198"/>
                <a:gd name="connsiteY9220" fmla="*/ 452120 h 1729012"/>
                <a:gd name="connsiteX9221" fmla="*/ 729959 w 2240198"/>
                <a:gd name="connsiteY9221" fmla="*/ 452604 h 1729012"/>
                <a:gd name="connsiteX9222" fmla="*/ 728911 w 2240198"/>
                <a:gd name="connsiteY9222" fmla="*/ 452565 h 1729012"/>
                <a:gd name="connsiteX9223" fmla="*/ 723267 w 2240198"/>
                <a:gd name="connsiteY9223" fmla="*/ 449188 h 1729012"/>
                <a:gd name="connsiteX9224" fmla="*/ 720250 w 2240198"/>
                <a:gd name="connsiteY9224" fmla="*/ 448594 h 1729012"/>
                <a:gd name="connsiteX9225" fmla="*/ 718847 w 2240198"/>
                <a:gd name="connsiteY9225" fmla="*/ 448950 h 1729012"/>
                <a:gd name="connsiteX9226" fmla="*/ 717561 w 2240198"/>
                <a:gd name="connsiteY9226" fmla="*/ 449843 h 1729012"/>
                <a:gd name="connsiteX9227" fmla="*/ 715115 w 2240198"/>
                <a:gd name="connsiteY9227" fmla="*/ 452336 h 1729012"/>
                <a:gd name="connsiteX9228" fmla="*/ 713702 w 2240198"/>
                <a:gd name="connsiteY9228" fmla="*/ 453230 h 1729012"/>
                <a:gd name="connsiteX9229" fmla="*/ 711266 w 2240198"/>
                <a:gd name="connsiteY9229" fmla="*/ 453880 h 1729012"/>
                <a:gd name="connsiteX9230" fmla="*/ 701421 w 2240198"/>
                <a:gd name="connsiteY9230" fmla="*/ 454620 h 1729012"/>
                <a:gd name="connsiteX9231" fmla="*/ 691986 w 2240198"/>
                <a:gd name="connsiteY9231" fmla="*/ 455873 h 1729012"/>
                <a:gd name="connsiteX9232" fmla="*/ 689885 w 2240198"/>
                <a:gd name="connsiteY9232" fmla="*/ 455099 h 1729012"/>
                <a:gd name="connsiteX9233" fmla="*/ 688607 w 2240198"/>
                <a:gd name="connsiteY9233" fmla="*/ 453657 h 1729012"/>
                <a:gd name="connsiteX9234" fmla="*/ 688345 w 2240198"/>
                <a:gd name="connsiteY9234" fmla="*/ 452778 h 1729012"/>
                <a:gd name="connsiteX9235" fmla="*/ 688203 w 2240198"/>
                <a:gd name="connsiteY9235" fmla="*/ 449813 h 1729012"/>
                <a:gd name="connsiteX9236" fmla="*/ 687566 w 2240198"/>
                <a:gd name="connsiteY9236" fmla="*/ 448631 h 1729012"/>
                <a:gd name="connsiteX9237" fmla="*/ 688396 w 2240198"/>
                <a:gd name="connsiteY9237" fmla="*/ 446161 h 1729012"/>
                <a:gd name="connsiteX9238" fmla="*/ 689472 w 2240198"/>
                <a:gd name="connsiteY9238" fmla="*/ 444273 h 1729012"/>
                <a:gd name="connsiteX9239" fmla="*/ 690793 w 2240198"/>
                <a:gd name="connsiteY9239" fmla="*/ 442975 h 1729012"/>
                <a:gd name="connsiteX9240" fmla="*/ 697278 w 2240198"/>
                <a:gd name="connsiteY9240" fmla="*/ 439142 h 1729012"/>
                <a:gd name="connsiteX9241" fmla="*/ 698189 w 2240198"/>
                <a:gd name="connsiteY9241" fmla="*/ 438146 h 1729012"/>
                <a:gd name="connsiteX9242" fmla="*/ 695099 w 2240198"/>
                <a:gd name="connsiteY9242" fmla="*/ 438352 h 1729012"/>
                <a:gd name="connsiteX9243" fmla="*/ 687758 w 2240198"/>
                <a:gd name="connsiteY9243" fmla="*/ 440229 h 1729012"/>
                <a:gd name="connsiteX9244" fmla="*/ 686798 w 2240198"/>
                <a:gd name="connsiteY9244" fmla="*/ 439576 h 1729012"/>
                <a:gd name="connsiteX9245" fmla="*/ 685079 w 2240198"/>
                <a:gd name="connsiteY9245" fmla="*/ 437431 h 1729012"/>
                <a:gd name="connsiteX9246" fmla="*/ 684258 w 2240198"/>
                <a:gd name="connsiteY9246" fmla="*/ 437215 h 1729012"/>
                <a:gd name="connsiteX9247" fmla="*/ 683322 w 2240198"/>
                <a:gd name="connsiteY9247" fmla="*/ 438106 h 1729012"/>
                <a:gd name="connsiteX9248" fmla="*/ 682777 w 2240198"/>
                <a:gd name="connsiteY9248" fmla="*/ 439362 h 1729012"/>
                <a:gd name="connsiteX9249" fmla="*/ 681516 w 2240198"/>
                <a:gd name="connsiteY9249" fmla="*/ 444535 h 1729012"/>
                <a:gd name="connsiteX9250" fmla="*/ 680405 w 2240198"/>
                <a:gd name="connsiteY9250" fmla="*/ 447174 h 1729012"/>
                <a:gd name="connsiteX9251" fmla="*/ 677451 w 2240198"/>
                <a:gd name="connsiteY9251" fmla="*/ 446641 h 1729012"/>
                <a:gd name="connsiteX9252" fmla="*/ 673799 w 2240198"/>
                <a:gd name="connsiteY9252" fmla="*/ 445048 h 1729012"/>
                <a:gd name="connsiteX9253" fmla="*/ 672434 w 2240198"/>
                <a:gd name="connsiteY9253" fmla="*/ 444832 h 1729012"/>
                <a:gd name="connsiteX9254" fmla="*/ 671648 w 2240198"/>
                <a:gd name="connsiteY9254" fmla="*/ 445337 h 1729012"/>
                <a:gd name="connsiteX9255" fmla="*/ 671898 w 2240198"/>
                <a:gd name="connsiteY9255" fmla="*/ 446230 h 1729012"/>
                <a:gd name="connsiteX9256" fmla="*/ 675605 w 2240198"/>
                <a:gd name="connsiteY9256" fmla="*/ 450651 h 1729012"/>
                <a:gd name="connsiteX9257" fmla="*/ 675647 w 2240198"/>
                <a:gd name="connsiteY9257" fmla="*/ 452194 h 1729012"/>
                <a:gd name="connsiteX9258" fmla="*/ 673222 w 2240198"/>
                <a:gd name="connsiteY9258" fmla="*/ 454893 h 1729012"/>
                <a:gd name="connsiteX9259" fmla="*/ 662891 w 2240198"/>
                <a:gd name="connsiteY9259" fmla="*/ 459368 h 1729012"/>
                <a:gd name="connsiteX9260" fmla="*/ 658811 w 2240198"/>
                <a:gd name="connsiteY9260" fmla="*/ 460564 h 1729012"/>
                <a:gd name="connsiteX9261" fmla="*/ 657367 w 2240198"/>
                <a:gd name="connsiteY9261" fmla="*/ 460100 h 1729012"/>
                <a:gd name="connsiteX9262" fmla="*/ 656067 w 2240198"/>
                <a:gd name="connsiteY9262" fmla="*/ 458874 h 1729012"/>
                <a:gd name="connsiteX9263" fmla="*/ 654912 w 2240198"/>
                <a:gd name="connsiteY9263" fmla="*/ 456878 h 1729012"/>
                <a:gd name="connsiteX9264" fmla="*/ 652230 w 2240198"/>
                <a:gd name="connsiteY9264" fmla="*/ 454198 h 1729012"/>
                <a:gd name="connsiteX9265" fmla="*/ 650633 w 2240198"/>
                <a:gd name="connsiteY9265" fmla="*/ 453597 h 1729012"/>
                <a:gd name="connsiteX9266" fmla="*/ 648844 w 2240198"/>
                <a:gd name="connsiteY9266" fmla="*/ 453516 h 1729012"/>
                <a:gd name="connsiteX9267" fmla="*/ 647198 w 2240198"/>
                <a:gd name="connsiteY9267" fmla="*/ 454070 h 1729012"/>
                <a:gd name="connsiteX9268" fmla="*/ 645696 w 2240198"/>
                <a:gd name="connsiteY9268" fmla="*/ 455259 h 1729012"/>
                <a:gd name="connsiteX9269" fmla="*/ 644764 w 2240198"/>
                <a:gd name="connsiteY9269" fmla="*/ 456520 h 1729012"/>
                <a:gd name="connsiteX9270" fmla="*/ 643878 w 2240198"/>
                <a:gd name="connsiteY9270" fmla="*/ 458870 h 1729012"/>
                <a:gd name="connsiteX9271" fmla="*/ 641998 w 2240198"/>
                <a:gd name="connsiteY9271" fmla="*/ 460666 h 1729012"/>
                <a:gd name="connsiteX9272" fmla="*/ 640840 w 2240198"/>
                <a:gd name="connsiteY9272" fmla="*/ 460972 h 1729012"/>
                <a:gd name="connsiteX9273" fmla="*/ 630347 w 2240198"/>
                <a:gd name="connsiteY9273" fmla="*/ 457247 h 1729012"/>
                <a:gd name="connsiteX9274" fmla="*/ 621892 w 2240198"/>
                <a:gd name="connsiteY9274" fmla="*/ 450626 h 1729012"/>
                <a:gd name="connsiteX9275" fmla="*/ 612639 w 2240198"/>
                <a:gd name="connsiteY9275" fmla="*/ 451658 h 1729012"/>
                <a:gd name="connsiteX9276" fmla="*/ 608485 w 2240198"/>
                <a:gd name="connsiteY9276" fmla="*/ 451424 h 1729012"/>
                <a:gd name="connsiteX9277" fmla="*/ 595880 w 2240198"/>
                <a:gd name="connsiteY9277" fmla="*/ 448992 h 1729012"/>
                <a:gd name="connsiteX9278" fmla="*/ 594276 w 2240198"/>
                <a:gd name="connsiteY9278" fmla="*/ 447488 h 1729012"/>
                <a:gd name="connsiteX9279" fmla="*/ 593392 w 2240198"/>
                <a:gd name="connsiteY9279" fmla="*/ 445532 h 1729012"/>
                <a:gd name="connsiteX9280" fmla="*/ 593477 w 2240198"/>
                <a:gd name="connsiteY9280" fmla="*/ 444468 h 1729012"/>
                <a:gd name="connsiteX9281" fmla="*/ 594001 w 2240198"/>
                <a:gd name="connsiteY9281" fmla="*/ 443367 h 1729012"/>
                <a:gd name="connsiteX9282" fmla="*/ 595597 w 2240198"/>
                <a:gd name="connsiteY9282" fmla="*/ 441183 h 1729012"/>
                <a:gd name="connsiteX9283" fmla="*/ 598774 w 2240198"/>
                <a:gd name="connsiteY9283" fmla="*/ 437871 h 1729012"/>
                <a:gd name="connsiteX9284" fmla="*/ 600099 w 2240198"/>
                <a:gd name="connsiteY9284" fmla="*/ 436802 h 1729012"/>
                <a:gd name="connsiteX9285" fmla="*/ 602076 w 2240198"/>
                <a:gd name="connsiteY9285" fmla="*/ 435922 h 1729012"/>
                <a:gd name="connsiteX9286" fmla="*/ 604698 w 2240198"/>
                <a:gd name="connsiteY9286" fmla="*/ 435230 h 1729012"/>
                <a:gd name="connsiteX9287" fmla="*/ 611377 w 2240198"/>
                <a:gd name="connsiteY9287" fmla="*/ 434844 h 1729012"/>
                <a:gd name="connsiteX9288" fmla="*/ 628570 w 2240198"/>
                <a:gd name="connsiteY9288" fmla="*/ 434719 h 1729012"/>
                <a:gd name="connsiteX9289" fmla="*/ 632008 w 2240198"/>
                <a:gd name="connsiteY9289" fmla="*/ 434205 h 1729012"/>
                <a:gd name="connsiteX9290" fmla="*/ 650817 w 2240198"/>
                <a:gd name="connsiteY9290" fmla="*/ 427774 h 1729012"/>
                <a:gd name="connsiteX9291" fmla="*/ 652964 w 2240198"/>
                <a:gd name="connsiteY9291" fmla="*/ 426718 h 1729012"/>
                <a:gd name="connsiteX9292" fmla="*/ 655724 w 2240198"/>
                <a:gd name="connsiteY9292" fmla="*/ 424660 h 1729012"/>
                <a:gd name="connsiteX9293" fmla="*/ 656348 w 2240198"/>
                <a:gd name="connsiteY9293" fmla="*/ 423809 h 1729012"/>
                <a:gd name="connsiteX9294" fmla="*/ 656231 w 2240198"/>
                <a:gd name="connsiteY9294" fmla="*/ 423253 h 1729012"/>
                <a:gd name="connsiteX9295" fmla="*/ 633093 w 2240198"/>
                <a:gd name="connsiteY9295" fmla="*/ 428360 h 1729012"/>
                <a:gd name="connsiteX9296" fmla="*/ 623171 w 2240198"/>
                <a:gd name="connsiteY9296" fmla="*/ 429458 h 1729012"/>
                <a:gd name="connsiteX9297" fmla="*/ 607969 w 2240198"/>
                <a:gd name="connsiteY9297" fmla="*/ 428626 h 1729012"/>
                <a:gd name="connsiteX9298" fmla="*/ 605110 w 2240198"/>
                <a:gd name="connsiteY9298" fmla="*/ 427822 h 1729012"/>
                <a:gd name="connsiteX9299" fmla="*/ 604459 w 2240198"/>
                <a:gd name="connsiteY9299" fmla="*/ 426394 h 1729012"/>
                <a:gd name="connsiteX9300" fmla="*/ 607629 w 2240198"/>
                <a:gd name="connsiteY9300" fmla="*/ 422603 h 1729012"/>
                <a:gd name="connsiteX9301" fmla="*/ 609301 w 2240198"/>
                <a:gd name="connsiteY9301" fmla="*/ 421190 h 1729012"/>
                <a:gd name="connsiteX9302" fmla="*/ 613624 w 2240198"/>
                <a:gd name="connsiteY9302" fmla="*/ 419856 h 1729012"/>
                <a:gd name="connsiteX9303" fmla="*/ 624084 w 2240198"/>
                <a:gd name="connsiteY9303" fmla="*/ 417962 h 1729012"/>
                <a:gd name="connsiteX9304" fmla="*/ 638070 w 2240198"/>
                <a:gd name="connsiteY9304" fmla="*/ 416288 h 1729012"/>
                <a:gd name="connsiteX9305" fmla="*/ 647229 w 2240198"/>
                <a:gd name="connsiteY9305" fmla="*/ 416250 h 1729012"/>
                <a:gd name="connsiteX9306" fmla="*/ 654916 w 2240198"/>
                <a:gd name="connsiteY9306" fmla="*/ 414920 h 1729012"/>
                <a:gd name="connsiteX9307" fmla="*/ 659536 w 2240198"/>
                <a:gd name="connsiteY9307" fmla="*/ 413398 h 1729012"/>
                <a:gd name="connsiteX9308" fmla="*/ 644049 w 2240198"/>
                <a:gd name="connsiteY9308" fmla="*/ 413477 h 1729012"/>
                <a:gd name="connsiteX9309" fmla="*/ 625397 w 2240198"/>
                <a:gd name="connsiteY9309" fmla="*/ 414190 h 1729012"/>
                <a:gd name="connsiteX9310" fmla="*/ 622700 w 2240198"/>
                <a:gd name="connsiteY9310" fmla="*/ 413695 h 1729012"/>
                <a:gd name="connsiteX9311" fmla="*/ 617373 w 2240198"/>
                <a:gd name="connsiteY9311" fmla="*/ 411689 h 1729012"/>
                <a:gd name="connsiteX9312" fmla="*/ 617114 w 2240198"/>
                <a:gd name="connsiteY9312" fmla="*/ 410222 h 1729012"/>
                <a:gd name="connsiteX9313" fmla="*/ 619246 w 2240198"/>
                <a:gd name="connsiteY9313" fmla="*/ 408457 h 1729012"/>
                <a:gd name="connsiteX9314" fmla="*/ 620027 w 2240198"/>
                <a:gd name="connsiteY9314" fmla="*/ 407143 h 1729012"/>
                <a:gd name="connsiteX9315" fmla="*/ 618503 w 2240198"/>
                <a:gd name="connsiteY9315" fmla="*/ 404182 h 1729012"/>
                <a:gd name="connsiteX9316" fmla="*/ 618970 w 2240198"/>
                <a:gd name="connsiteY9316" fmla="*/ 403033 h 1729012"/>
                <a:gd name="connsiteX9317" fmla="*/ 622446 w 2240198"/>
                <a:gd name="connsiteY9317" fmla="*/ 400562 h 1729012"/>
                <a:gd name="connsiteX9318" fmla="*/ 628643 w 2240198"/>
                <a:gd name="connsiteY9318" fmla="*/ 397887 h 1729012"/>
                <a:gd name="connsiteX9319" fmla="*/ 632465 w 2240198"/>
                <a:gd name="connsiteY9319" fmla="*/ 397508 h 1729012"/>
                <a:gd name="connsiteX9320" fmla="*/ 639840 w 2240198"/>
                <a:gd name="connsiteY9320" fmla="*/ 398421 h 1729012"/>
                <a:gd name="connsiteX9321" fmla="*/ 660857 w 2240198"/>
                <a:gd name="connsiteY9321" fmla="*/ 399366 h 1729012"/>
                <a:gd name="connsiteX9322" fmla="*/ 664934 w 2240198"/>
                <a:gd name="connsiteY9322" fmla="*/ 399027 h 1729012"/>
                <a:gd name="connsiteX9323" fmla="*/ 662359 w 2240198"/>
                <a:gd name="connsiteY9323" fmla="*/ 397865 h 1729012"/>
                <a:gd name="connsiteX9324" fmla="*/ 658697 w 2240198"/>
                <a:gd name="connsiteY9324" fmla="*/ 396998 h 1729012"/>
                <a:gd name="connsiteX9325" fmla="*/ 642472 w 2240198"/>
                <a:gd name="connsiteY9325" fmla="*/ 395514 h 1729012"/>
                <a:gd name="connsiteX9326" fmla="*/ 639115 w 2240198"/>
                <a:gd name="connsiteY9326" fmla="*/ 394850 h 1729012"/>
                <a:gd name="connsiteX9327" fmla="*/ 638473 w 2240198"/>
                <a:gd name="connsiteY9327" fmla="*/ 393936 h 1729012"/>
                <a:gd name="connsiteX9328" fmla="*/ 638231 w 2240198"/>
                <a:gd name="connsiteY9328" fmla="*/ 392586 h 1729012"/>
                <a:gd name="connsiteX9329" fmla="*/ 638387 w 2240198"/>
                <a:gd name="connsiteY9329" fmla="*/ 390804 h 1729012"/>
                <a:gd name="connsiteX9330" fmla="*/ 639560 w 2240198"/>
                <a:gd name="connsiteY9330" fmla="*/ 388975 h 1729012"/>
                <a:gd name="connsiteX9331" fmla="*/ 644597 w 2240198"/>
                <a:gd name="connsiteY9331" fmla="*/ 385153 h 1729012"/>
                <a:gd name="connsiteX9332" fmla="*/ 659359 w 2240198"/>
                <a:gd name="connsiteY9332" fmla="*/ 382001 h 1729012"/>
                <a:gd name="connsiteX9333" fmla="*/ 665233 w 2240198"/>
                <a:gd name="connsiteY9333" fmla="*/ 381566 h 1729012"/>
                <a:gd name="connsiteX9334" fmla="*/ 671118 w 2240198"/>
                <a:gd name="connsiteY9334" fmla="*/ 381774 h 1729012"/>
                <a:gd name="connsiteX9335" fmla="*/ 677097 w 2240198"/>
                <a:gd name="connsiteY9335" fmla="*/ 383192 h 1729012"/>
                <a:gd name="connsiteX9336" fmla="*/ 679759 w 2240198"/>
                <a:gd name="connsiteY9336" fmla="*/ 384419 h 1729012"/>
                <a:gd name="connsiteX9337" fmla="*/ 681095 w 2240198"/>
                <a:gd name="connsiteY9337" fmla="*/ 385934 h 1729012"/>
                <a:gd name="connsiteX9338" fmla="*/ 681741 w 2240198"/>
                <a:gd name="connsiteY9338" fmla="*/ 387341 h 1729012"/>
                <a:gd name="connsiteX9339" fmla="*/ 681816 w 2240198"/>
                <a:gd name="connsiteY9339" fmla="*/ 389774 h 1729012"/>
                <a:gd name="connsiteX9340" fmla="*/ 682104 w 2240198"/>
                <a:gd name="connsiteY9340" fmla="*/ 390732 h 1729012"/>
                <a:gd name="connsiteX9341" fmla="*/ 683184 w 2240198"/>
                <a:gd name="connsiteY9341" fmla="*/ 392328 h 1729012"/>
                <a:gd name="connsiteX9342" fmla="*/ 686622 w 2240198"/>
                <a:gd name="connsiteY9342" fmla="*/ 396073 h 1729012"/>
                <a:gd name="connsiteX9343" fmla="*/ 689153 w 2240198"/>
                <a:gd name="connsiteY9343" fmla="*/ 397240 h 1729012"/>
                <a:gd name="connsiteX9344" fmla="*/ 700829 w 2240198"/>
                <a:gd name="connsiteY9344" fmla="*/ 395065 h 1729012"/>
                <a:gd name="connsiteX9345" fmla="*/ 705690 w 2240198"/>
                <a:gd name="connsiteY9345" fmla="*/ 394577 h 1729012"/>
                <a:gd name="connsiteX9346" fmla="*/ 710580 w 2240198"/>
                <a:gd name="connsiteY9346" fmla="*/ 395261 h 1729012"/>
                <a:gd name="connsiteX9347" fmla="*/ 717701 w 2240198"/>
                <a:gd name="connsiteY9347" fmla="*/ 397508 h 1729012"/>
                <a:gd name="connsiteX9348" fmla="*/ 726924 w 2240198"/>
                <a:gd name="connsiteY9348" fmla="*/ 404278 h 1729012"/>
                <a:gd name="connsiteX9349" fmla="*/ 738807 w 2240198"/>
                <a:gd name="connsiteY9349" fmla="*/ 411170 h 1729012"/>
                <a:gd name="connsiteX9350" fmla="*/ 738746 w 2240198"/>
                <a:gd name="connsiteY9350" fmla="*/ 412651 h 1729012"/>
                <a:gd name="connsiteX9351" fmla="*/ 734194 w 2240198"/>
                <a:gd name="connsiteY9351" fmla="*/ 414949 h 1729012"/>
                <a:gd name="connsiteX9352" fmla="*/ 733339 w 2240198"/>
                <a:gd name="connsiteY9352" fmla="*/ 415933 h 1729012"/>
                <a:gd name="connsiteX9353" fmla="*/ 733952 w 2240198"/>
                <a:gd name="connsiteY9353" fmla="*/ 416616 h 1729012"/>
                <a:gd name="connsiteX9354" fmla="*/ 738498 w 2240198"/>
                <a:gd name="connsiteY9354" fmla="*/ 417065 h 1729012"/>
                <a:gd name="connsiteX9355" fmla="*/ 742759 w 2240198"/>
                <a:gd name="connsiteY9355" fmla="*/ 416727 h 1729012"/>
                <a:gd name="connsiteX9356" fmla="*/ 746823 w 2240198"/>
                <a:gd name="connsiteY9356" fmla="*/ 417243 h 1729012"/>
                <a:gd name="connsiteX9357" fmla="*/ 747732 w 2240198"/>
                <a:gd name="connsiteY9357" fmla="*/ 417833 h 1729012"/>
                <a:gd name="connsiteX9358" fmla="*/ 749223 w 2240198"/>
                <a:gd name="connsiteY9358" fmla="*/ 420342 h 1729012"/>
                <a:gd name="connsiteX9359" fmla="*/ 751294 w 2240198"/>
                <a:gd name="connsiteY9359" fmla="*/ 424765 h 1729012"/>
                <a:gd name="connsiteX9360" fmla="*/ 753756 w 2240198"/>
                <a:gd name="connsiteY9360" fmla="*/ 428061 h 1729012"/>
                <a:gd name="connsiteX9361" fmla="*/ 756605 w 2240198"/>
                <a:gd name="connsiteY9361" fmla="*/ 430236 h 1729012"/>
                <a:gd name="connsiteX9362" fmla="*/ 759410 w 2240198"/>
                <a:gd name="connsiteY9362" fmla="*/ 431351 h 1729012"/>
                <a:gd name="connsiteX9363" fmla="*/ 763545 w 2240198"/>
                <a:gd name="connsiteY9363" fmla="*/ 431435 h 1729012"/>
                <a:gd name="connsiteX9364" fmla="*/ 767705 w 2240198"/>
                <a:gd name="connsiteY9364" fmla="*/ 430787 h 1729012"/>
                <a:gd name="connsiteX9365" fmla="*/ 774454 w 2240198"/>
                <a:gd name="connsiteY9365" fmla="*/ 431002 h 1729012"/>
                <a:gd name="connsiteX9366" fmla="*/ 809269 w 2240198"/>
                <a:gd name="connsiteY9366" fmla="*/ 433511 h 1729012"/>
                <a:gd name="connsiteX9367" fmla="*/ 811332 w 2240198"/>
                <a:gd name="connsiteY9367" fmla="*/ 433074 h 1729012"/>
                <a:gd name="connsiteX9368" fmla="*/ 812798 w 2240198"/>
                <a:gd name="connsiteY9368" fmla="*/ 431697 h 1729012"/>
                <a:gd name="connsiteX9369" fmla="*/ 813674 w 2240198"/>
                <a:gd name="connsiteY9369" fmla="*/ 429375 h 1729012"/>
                <a:gd name="connsiteX9370" fmla="*/ 814007 w 2240198"/>
                <a:gd name="connsiteY9370" fmla="*/ 427466 h 1729012"/>
                <a:gd name="connsiteX9371" fmla="*/ 813532 w 2240198"/>
                <a:gd name="connsiteY9371" fmla="*/ 424854 h 1729012"/>
                <a:gd name="connsiteX9372" fmla="*/ 812859 w 2240198"/>
                <a:gd name="connsiteY9372" fmla="*/ 423605 h 1729012"/>
                <a:gd name="connsiteX9373" fmla="*/ 791274 w 2240198"/>
                <a:gd name="connsiteY9373" fmla="*/ 415124 h 1729012"/>
                <a:gd name="connsiteX9374" fmla="*/ 789386 w 2240198"/>
                <a:gd name="connsiteY9374" fmla="*/ 411702 h 1729012"/>
                <a:gd name="connsiteX9375" fmla="*/ 799931 w 2240198"/>
                <a:gd name="connsiteY9375" fmla="*/ 406913 h 1729012"/>
                <a:gd name="connsiteX9376" fmla="*/ 800689 w 2240198"/>
                <a:gd name="connsiteY9376" fmla="*/ 405807 h 1729012"/>
                <a:gd name="connsiteX9377" fmla="*/ 800895 w 2240198"/>
                <a:gd name="connsiteY9377" fmla="*/ 404282 h 1729012"/>
                <a:gd name="connsiteX9378" fmla="*/ 800545 w 2240198"/>
                <a:gd name="connsiteY9378" fmla="*/ 402338 h 1729012"/>
                <a:gd name="connsiteX9379" fmla="*/ 799114 w 2240198"/>
                <a:gd name="connsiteY9379" fmla="*/ 400485 h 1729012"/>
                <a:gd name="connsiteX9380" fmla="*/ 793452 w 2240198"/>
                <a:gd name="connsiteY9380" fmla="*/ 396946 h 1729012"/>
                <a:gd name="connsiteX9381" fmla="*/ 788440 w 2240198"/>
                <a:gd name="connsiteY9381" fmla="*/ 396413 h 1729012"/>
                <a:gd name="connsiteX9382" fmla="*/ 781011 w 2240198"/>
                <a:gd name="connsiteY9382" fmla="*/ 392919 h 1729012"/>
                <a:gd name="connsiteX9383" fmla="*/ 779839 w 2240198"/>
                <a:gd name="connsiteY9383" fmla="*/ 392033 h 1729012"/>
                <a:gd name="connsiteX9384" fmla="*/ 778879 w 2240198"/>
                <a:gd name="connsiteY9384" fmla="*/ 390640 h 1729012"/>
                <a:gd name="connsiteX9385" fmla="*/ 778129 w 2240198"/>
                <a:gd name="connsiteY9385" fmla="*/ 388730 h 1729012"/>
                <a:gd name="connsiteX9386" fmla="*/ 778256 w 2240198"/>
                <a:gd name="connsiteY9386" fmla="*/ 387259 h 1729012"/>
                <a:gd name="connsiteX9387" fmla="*/ 779255 w 2240198"/>
                <a:gd name="connsiteY9387" fmla="*/ 386231 h 1729012"/>
                <a:gd name="connsiteX9388" fmla="*/ 786569 w 2240198"/>
                <a:gd name="connsiteY9388" fmla="*/ 382668 h 1729012"/>
                <a:gd name="connsiteX9389" fmla="*/ 789529 w 2240198"/>
                <a:gd name="connsiteY9389" fmla="*/ 380689 h 1729012"/>
                <a:gd name="connsiteX9390" fmla="*/ 798653 w 2240198"/>
                <a:gd name="connsiteY9390" fmla="*/ 371755 h 1729012"/>
                <a:gd name="connsiteX9391" fmla="*/ 802874 w 2240198"/>
                <a:gd name="connsiteY9391" fmla="*/ 368138 h 1729012"/>
                <a:gd name="connsiteX9392" fmla="*/ 805893 w 2240198"/>
                <a:gd name="connsiteY9392" fmla="*/ 366441 h 1729012"/>
                <a:gd name="connsiteX9393" fmla="*/ 808968 w 2240198"/>
                <a:gd name="connsiteY9393" fmla="*/ 365386 h 1729012"/>
                <a:gd name="connsiteX9394" fmla="*/ 1289773 w 2240198"/>
                <a:gd name="connsiteY9394" fmla="*/ 364055 h 1729012"/>
                <a:gd name="connsiteX9395" fmla="*/ 1294529 w 2240198"/>
                <a:gd name="connsiteY9395" fmla="*/ 364094 h 1729012"/>
                <a:gd name="connsiteX9396" fmla="*/ 1298946 w 2240198"/>
                <a:gd name="connsiteY9396" fmla="*/ 366969 h 1729012"/>
                <a:gd name="connsiteX9397" fmla="*/ 1300195 w 2240198"/>
                <a:gd name="connsiteY9397" fmla="*/ 367955 h 1729012"/>
                <a:gd name="connsiteX9398" fmla="*/ 1300953 w 2240198"/>
                <a:gd name="connsiteY9398" fmla="*/ 369135 h 1729012"/>
                <a:gd name="connsiteX9399" fmla="*/ 1300978 w 2240198"/>
                <a:gd name="connsiteY9399" fmla="*/ 370265 h 1729012"/>
                <a:gd name="connsiteX9400" fmla="*/ 1300618 w 2240198"/>
                <a:gd name="connsiteY9400" fmla="*/ 371252 h 1729012"/>
                <a:gd name="connsiteX9401" fmla="*/ 1298617 w 2240198"/>
                <a:gd name="connsiteY9401" fmla="*/ 373448 h 1729012"/>
                <a:gd name="connsiteX9402" fmla="*/ 1297740 w 2240198"/>
                <a:gd name="connsiteY9402" fmla="*/ 374981 h 1729012"/>
                <a:gd name="connsiteX9403" fmla="*/ 1297746 w 2240198"/>
                <a:gd name="connsiteY9403" fmla="*/ 376481 h 1729012"/>
                <a:gd name="connsiteX9404" fmla="*/ 1298180 w 2240198"/>
                <a:gd name="connsiteY9404" fmla="*/ 378649 h 1729012"/>
                <a:gd name="connsiteX9405" fmla="*/ 1298987 w 2240198"/>
                <a:gd name="connsiteY9405" fmla="*/ 380081 h 1729012"/>
                <a:gd name="connsiteX9406" fmla="*/ 1300169 w 2240198"/>
                <a:gd name="connsiteY9406" fmla="*/ 380772 h 1729012"/>
                <a:gd name="connsiteX9407" fmla="*/ 1300165 w 2240198"/>
                <a:gd name="connsiteY9407" fmla="*/ 381476 h 1729012"/>
                <a:gd name="connsiteX9408" fmla="*/ 1298978 w 2240198"/>
                <a:gd name="connsiteY9408" fmla="*/ 382191 h 1729012"/>
                <a:gd name="connsiteX9409" fmla="*/ 1295154 w 2240198"/>
                <a:gd name="connsiteY9409" fmla="*/ 381821 h 1729012"/>
                <a:gd name="connsiteX9410" fmla="*/ 1293886 w 2240198"/>
                <a:gd name="connsiteY9410" fmla="*/ 382522 h 1729012"/>
                <a:gd name="connsiteX9411" fmla="*/ 1291854 w 2240198"/>
                <a:gd name="connsiteY9411" fmla="*/ 382124 h 1729012"/>
                <a:gd name="connsiteX9412" fmla="*/ 1289057 w 2240198"/>
                <a:gd name="connsiteY9412" fmla="*/ 380625 h 1729012"/>
                <a:gd name="connsiteX9413" fmla="*/ 1285788 w 2240198"/>
                <a:gd name="connsiteY9413" fmla="*/ 377679 h 1729012"/>
                <a:gd name="connsiteX9414" fmla="*/ 1282048 w 2240198"/>
                <a:gd name="connsiteY9414" fmla="*/ 373281 h 1729012"/>
                <a:gd name="connsiteX9415" fmla="*/ 1279125 w 2240198"/>
                <a:gd name="connsiteY9415" fmla="*/ 369484 h 1729012"/>
                <a:gd name="connsiteX9416" fmla="*/ 1278967 w 2240198"/>
                <a:gd name="connsiteY9416" fmla="*/ 368439 h 1729012"/>
                <a:gd name="connsiteX9417" fmla="*/ 1279924 w 2240198"/>
                <a:gd name="connsiteY9417" fmla="*/ 366662 h 1729012"/>
                <a:gd name="connsiteX9418" fmla="*/ 1282847 w 2240198"/>
                <a:gd name="connsiteY9418" fmla="*/ 365478 h 1729012"/>
                <a:gd name="connsiteX9419" fmla="*/ 687424 w 2240198"/>
                <a:gd name="connsiteY9419" fmla="*/ 360978 h 1729012"/>
                <a:gd name="connsiteX9420" fmla="*/ 692093 w 2240198"/>
                <a:gd name="connsiteY9420" fmla="*/ 362143 h 1729012"/>
                <a:gd name="connsiteX9421" fmla="*/ 695189 w 2240198"/>
                <a:gd name="connsiteY9421" fmla="*/ 363505 h 1729012"/>
                <a:gd name="connsiteX9422" fmla="*/ 696937 w 2240198"/>
                <a:gd name="connsiteY9422" fmla="*/ 364687 h 1729012"/>
                <a:gd name="connsiteX9423" fmla="*/ 697670 w 2240198"/>
                <a:gd name="connsiteY9423" fmla="*/ 366904 h 1729012"/>
                <a:gd name="connsiteX9424" fmla="*/ 695815 w 2240198"/>
                <a:gd name="connsiteY9424" fmla="*/ 369023 h 1729012"/>
                <a:gd name="connsiteX9425" fmla="*/ 691968 w 2240198"/>
                <a:gd name="connsiteY9425" fmla="*/ 370755 h 1729012"/>
                <a:gd name="connsiteX9426" fmla="*/ 665623 w 2240198"/>
                <a:gd name="connsiteY9426" fmla="*/ 368196 h 1729012"/>
                <a:gd name="connsiteX9427" fmla="*/ 664181 w 2240198"/>
                <a:gd name="connsiteY9427" fmla="*/ 367391 h 1729012"/>
                <a:gd name="connsiteX9428" fmla="*/ 663498 w 2240198"/>
                <a:gd name="connsiteY9428" fmla="*/ 366299 h 1729012"/>
                <a:gd name="connsiteX9429" fmla="*/ 668269 w 2240198"/>
                <a:gd name="connsiteY9429" fmla="*/ 363308 h 1729012"/>
                <a:gd name="connsiteX9430" fmla="*/ 674030 w 2240198"/>
                <a:gd name="connsiteY9430" fmla="*/ 362016 h 1729012"/>
                <a:gd name="connsiteX9431" fmla="*/ 1144907 w 2240198"/>
                <a:gd name="connsiteY9431" fmla="*/ 351848 h 1729012"/>
                <a:gd name="connsiteX9432" fmla="*/ 1150265 w 2240198"/>
                <a:gd name="connsiteY9432" fmla="*/ 351979 h 1729012"/>
                <a:gd name="connsiteX9433" fmla="*/ 1163242 w 2240198"/>
                <a:gd name="connsiteY9433" fmla="*/ 354457 h 1729012"/>
                <a:gd name="connsiteX9434" fmla="*/ 1176182 w 2240198"/>
                <a:gd name="connsiteY9434" fmla="*/ 357600 h 1729012"/>
                <a:gd name="connsiteX9435" fmla="*/ 1184325 w 2240198"/>
                <a:gd name="connsiteY9435" fmla="*/ 360044 h 1729012"/>
                <a:gd name="connsiteX9436" fmla="*/ 1189066 w 2240198"/>
                <a:gd name="connsiteY9436" fmla="*/ 360506 h 1729012"/>
                <a:gd name="connsiteX9437" fmla="*/ 1193122 w 2240198"/>
                <a:gd name="connsiteY9437" fmla="*/ 359796 h 1729012"/>
                <a:gd name="connsiteX9438" fmla="*/ 1196598 w 2240198"/>
                <a:gd name="connsiteY9438" fmla="*/ 359952 h 1729012"/>
                <a:gd name="connsiteX9439" fmla="*/ 1201734 w 2240198"/>
                <a:gd name="connsiteY9439" fmla="*/ 362096 h 1729012"/>
                <a:gd name="connsiteX9440" fmla="*/ 1206492 w 2240198"/>
                <a:gd name="connsiteY9440" fmla="*/ 365369 h 1729012"/>
                <a:gd name="connsiteX9441" fmla="*/ 1210148 w 2240198"/>
                <a:gd name="connsiteY9441" fmla="*/ 366847 h 1729012"/>
                <a:gd name="connsiteX9442" fmla="*/ 1211328 w 2240198"/>
                <a:gd name="connsiteY9442" fmla="*/ 367593 h 1729012"/>
                <a:gd name="connsiteX9443" fmla="*/ 1211789 w 2240198"/>
                <a:gd name="connsiteY9443" fmla="*/ 368418 h 1729012"/>
                <a:gd name="connsiteX9444" fmla="*/ 1212362 w 2240198"/>
                <a:gd name="connsiteY9444" fmla="*/ 370889 h 1729012"/>
                <a:gd name="connsiteX9445" fmla="*/ 1212344 w 2240198"/>
                <a:gd name="connsiteY9445" fmla="*/ 372034 h 1729012"/>
                <a:gd name="connsiteX9446" fmla="*/ 1212074 w 2240198"/>
                <a:gd name="connsiteY9446" fmla="*/ 372948 h 1729012"/>
                <a:gd name="connsiteX9447" fmla="*/ 1210474 w 2240198"/>
                <a:gd name="connsiteY9447" fmla="*/ 375200 h 1729012"/>
                <a:gd name="connsiteX9448" fmla="*/ 1209129 w 2240198"/>
                <a:gd name="connsiteY9448" fmla="*/ 377985 h 1729012"/>
                <a:gd name="connsiteX9449" fmla="*/ 1206352 w 2240198"/>
                <a:gd name="connsiteY9449" fmla="*/ 380437 h 1729012"/>
                <a:gd name="connsiteX9450" fmla="*/ 1204874 w 2240198"/>
                <a:gd name="connsiteY9450" fmla="*/ 382285 h 1729012"/>
                <a:gd name="connsiteX9451" fmla="*/ 1203606 w 2240198"/>
                <a:gd name="connsiteY9451" fmla="*/ 384617 h 1729012"/>
                <a:gd name="connsiteX9452" fmla="*/ 1206463 w 2240198"/>
                <a:gd name="connsiteY9452" fmla="*/ 383228 h 1729012"/>
                <a:gd name="connsiteX9453" fmla="*/ 1217278 w 2240198"/>
                <a:gd name="connsiteY9453" fmla="*/ 375520 h 1729012"/>
                <a:gd name="connsiteX9454" fmla="*/ 1224355 w 2240198"/>
                <a:gd name="connsiteY9454" fmla="*/ 376439 h 1729012"/>
                <a:gd name="connsiteX9455" fmla="*/ 1234986 w 2240198"/>
                <a:gd name="connsiteY9455" fmla="*/ 375751 h 1729012"/>
                <a:gd name="connsiteX9456" fmla="*/ 1247856 w 2240198"/>
                <a:gd name="connsiteY9456" fmla="*/ 372595 h 1729012"/>
                <a:gd name="connsiteX9457" fmla="*/ 1253968 w 2240198"/>
                <a:gd name="connsiteY9457" fmla="*/ 372101 h 1729012"/>
                <a:gd name="connsiteX9458" fmla="*/ 1260139 w 2240198"/>
                <a:gd name="connsiteY9458" fmla="*/ 372331 h 1729012"/>
                <a:gd name="connsiteX9459" fmla="*/ 1264723 w 2240198"/>
                <a:gd name="connsiteY9459" fmla="*/ 373327 h 1729012"/>
                <a:gd name="connsiteX9460" fmla="*/ 1274507 w 2240198"/>
                <a:gd name="connsiteY9460" fmla="*/ 377580 h 1729012"/>
                <a:gd name="connsiteX9461" fmla="*/ 1277895 w 2240198"/>
                <a:gd name="connsiteY9461" fmla="*/ 379604 h 1729012"/>
                <a:gd name="connsiteX9462" fmla="*/ 1279167 w 2240198"/>
                <a:gd name="connsiteY9462" fmla="*/ 381037 h 1729012"/>
                <a:gd name="connsiteX9463" fmla="*/ 1279471 w 2240198"/>
                <a:gd name="connsiteY9463" fmla="*/ 382090 h 1729012"/>
                <a:gd name="connsiteX9464" fmla="*/ 1277469 w 2240198"/>
                <a:gd name="connsiteY9464" fmla="*/ 383723 h 1729012"/>
                <a:gd name="connsiteX9465" fmla="*/ 1271321 w 2240198"/>
                <a:gd name="connsiteY9465" fmla="*/ 382730 h 1729012"/>
                <a:gd name="connsiteX9466" fmla="*/ 1261205 w 2240198"/>
                <a:gd name="connsiteY9466" fmla="*/ 381854 h 1729012"/>
                <a:gd name="connsiteX9467" fmla="*/ 1259355 w 2240198"/>
                <a:gd name="connsiteY9467" fmla="*/ 381308 h 1729012"/>
                <a:gd name="connsiteX9468" fmla="*/ 1257779 w 2240198"/>
                <a:gd name="connsiteY9468" fmla="*/ 381352 h 1729012"/>
                <a:gd name="connsiteX9469" fmla="*/ 1256634 w 2240198"/>
                <a:gd name="connsiteY9469" fmla="*/ 381944 h 1729012"/>
                <a:gd name="connsiteX9470" fmla="*/ 1257348 w 2240198"/>
                <a:gd name="connsiteY9470" fmla="*/ 384189 h 1729012"/>
                <a:gd name="connsiteX9471" fmla="*/ 1259408 w 2240198"/>
                <a:gd name="connsiteY9471" fmla="*/ 384681 h 1729012"/>
                <a:gd name="connsiteX9472" fmla="*/ 1271556 w 2240198"/>
                <a:gd name="connsiteY9472" fmla="*/ 385164 h 1729012"/>
                <a:gd name="connsiteX9473" fmla="*/ 1311373 w 2240198"/>
                <a:gd name="connsiteY9473" fmla="*/ 392283 h 1729012"/>
                <a:gd name="connsiteX9474" fmla="*/ 1313032 w 2240198"/>
                <a:gd name="connsiteY9474" fmla="*/ 394554 h 1729012"/>
                <a:gd name="connsiteX9475" fmla="*/ 1312589 w 2240198"/>
                <a:gd name="connsiteY9475" fmla="*/ 395558 h 1729012"/>
                <a:gd name="connsiteX9476" fmla="*/ 1311180 w 2240198"/>
                <a:gd name="connsiteY9476" fmla="*/ 396671 h 1729012"/>
                <a:gd name="connsiteX9477" fmla="*/ 1308278 w 2240198"/>
                <a:gd name="connsiteY9477" fmla="*/ 398163 h 1729012"/>
                <a:gd name="connsiteX9478" fmla="*/ 1285318 w 2240198"/>
                <a:gd name="connsiteY9478" fmla="*/ 399789 h 1729012"/>
                <a:gd name="connsiteX9479" fmla="*/ 1272252 w 2240198"/>
                <a:gd name="connsiteY9479" fmla="*/ 398350 h 1729012"/>
                <a:gd name="connsiteX9480" fmla="*/ 1261271 w 2240198"/>
                <a:gd name="connsiteY9480" fmla="*/ 396030 h 1729012"/>
                <a:gd name="connsiteX9481" fmla="*/ 1257545 w 2240198"/>
                <a:gd name="connsiteY9481" fmla="*/ 396548 h 1729012"/>
                <a:gd name="connsiteX9482" fmla="*/ 1260788 w 2240198"/>
                <a:gd name="connsiteY9482" fmla="*/ 399690 h 1729012"/>
                <a:gd name="connsiteX9483" fmla="*/ 1267373 w 2240198"/>
                <a:gd name="connsiteY9483" fmla="*/ 400648 h 1729012"/>
                <a:gd name="connsiteX9484" fmla="*/ 1272885 w 2240198"/>
                <a:gd name="connsiteY9484" fmla="*/ 402503 h 1729012"/>
                <a:gd name="connsiteX9485" fmla="*/ 1275174 w 2240198"/>
                <a:gd name="connsiteY9485" fmla="*/ 404055 h 1729012"/>
                <a:gd name="connsiteX9486" fmla="*/ 1286857 w 2240198"/>
                <a:gd name="connsiteY9486" fmla="*/ 405237 h 1729012"/>
                <a:gd name="connsiteX9487" fmla="*/ 1288767 w 2240198"/>
                <a:gd name="connsiteY9487" fmla="*/ 406444 h 1729012"/>
                <a:gd name="connsiteX9488" fmla="*/ 1292400 w 2240198"/>
                <a:gd name="connsiteY9488" fmla="*/ 409530 h 1729012"/>
                <a:gd name="connsiteX9489" fmla="*/ 1295448 w 2240198"/>
                <a:gd name="connsiteY9489" fmla="*/ 409769 h 1729012"/>
                <a:gd name="connsiteX9490" fmla="*/ 1298468 w 2240198"/>
                <a:gd name="connsiteY9490" fmla="*/ 411920 h 1729012"/>
                <a:gd name="connsiteX9491" fmla="*/ 1300956 w 2240198"/>
                <a:gd name="connsiteY9491" fmla="*/ 415612 h 1729012"/>
                <a:gd name="connsiteX9492" fmla="*/ 1302104 w 2240198"/>
                <a:gd name="connsiteY9492" fmla="*/ 416106 h 1729012"/>
                <a:gd name="connsiteX9493" fmla="*/ 1305624 w 2240198"/>
                <a:gd name="connsiteY9493" fmla="*/ 415440 h 1729012"/>
                <a:gd name="connsiteX9494" fmla="*/ 1311548 w 2240198"/>
                <a:gd name="connsiteY9494" fmla="*/ 418642 h 1729012"/>
                <a:gd name="connsiteX9495" fmla="*/ 1313392 w 2240198"/>
                <a:gd name="connsiteY9495" fmla="*/ 420351 h 1729012"/>
                <a:gd name="connsiteX9496" fmla="*/ 1313400 w 2240198"/>
                <a:gd name="connsiteY9496" fmla="*/ 421629 h 1729012"/>
                <a:gd name="connsiteX9497" fmla="*/ 1312079 w 2240198"/>
                <a:gd name="connsiteY9497" fmla="*/ 423630 h 1729012"/>
                <a:gd name="connsiteX9498" fmla="*/ 1309428 w 2240198"/>
                <a:gd name="connsiteY9498" fmla="*/ 426347 h 1729012"/>
                <a:gd name="connsiteX9499" fmla="*/ 1302727 w 2240198"/>
                <a:gd name="connsiteY9499" fmla="*/ 429542 h 1729012"/>
                <a:gd name="connsiteX9500" fmla="*/ 1302206 w 2240198"/>
                <a:gd name="connsiteY9500" fmla="*/ 430503 h 1729012"/>
                <a:gd name="connsiteX9501" fmla="*/ 1310034 w 2240198"/>
                <a:gd name="connsiteY9501" fmla="*/ 430126 h 1729012"/>
                <a:gd name="connsiteX9502" fmla="*/ 1311476 w 2240198"/>
                <a:gd name="connsiteY9502" fmla="*/ 430551 h 1729012"/>
                <a:gd name="connsiteX9503" fmla="*/ 1320699 w 2240198"/>
                <a:gd name="connsiteY9503" fmla="*/ 436206 h 1729012"/>
                <a:gd name="connsiteX9504" fmla="*/ 1321912 w 2240198"/>
                <a:gd name="connsiteY9504" fmla="*/ 436310 h 1729012"/>
                <a:gd name="connsiteX9505" fmla="*/ 1322671 w 2240198"/>
                <a:gd name="connsiteY9505" fmla="*/ 435719 h 1729012"/>
                <a:gd name="connsiteX9506" fmla="*/ 1323554 w 2240198"/>
                <a:gd name="connsiteY9506" fmla="*/ 433717 h 1729012"/>
                <a:gd name="connsiteX9507" fmla="*/ 1323161 w 2240198"/>
                <a:gd name="connsiteY9507" fmla="*/ 431864 h 1729012"/>
                <a:gd name="connsiteX9508" fmla="*/ 1322034 w 2240198"/>
                <a:gd name="connsiteY9508" fmla="*/ 429291 h 1729012"/>
                <a:gd name="connsiteX9509" fmla="*/ 1322335 w 2240198"/>
                <a:gd name="connsiteY9509" fmla="*/ 427423 h 1729012"/>
                <a:gd name="connsiteX9510" fmla="*/ 1324066 w 2240198"/>
                <a:gd name="connsiteY9510" fmla="*/ 426261 h 1729012"/>
                <a:gd name="connsiteX9511" fmla="*/ 1325817 w 2240198"/>
                <a:gd name="connsiteY9511" fmla="*/ 425684 h 1729012"/>
                <a:gd name="connsiteX9512" fmla="*/ 1327589 w 2240198"/>
                <a:gd name="connsiteY9512" fmla="*/ 425694 h 1729012"/>
                <a:gd name="connsiteX9513" fmla="*/ 1329515 w 2240198"/>
                <a:gd name="connsiteY9513" fmla="*/ 426381 h 1729012"/>
                <a:gd name="connsiteX9514" fmla="*/ 1338839 w 2240198"/>
                <a:gd name="connsiteY9514" fmla="*/ 433228 h 1729012"/>
                <a:gd name="connsiteX9515" fmla="*/ 1350796 w 2240198"/>
                <a:gd name="connsiteY9515" fmla="*/ 429958 h 1729012"/>
                <a:gd name="connsiteX9516" fmla="*/ 1352979 w 2240198"/>
                <a:gd name="connsiteY9516" fmla="*/ 431427 h 1729012"/>
                <a:gd name="connsiteX9517" fmla="*/ 1354785 w 2240198"/>
                <a:gd name="connsiteY9517" fmla="*/ 434170 h 1729012"/>
                <a:gd name="connsiteX9518" fmla="*/ 1355630 w 2240198"/>
                <a:gd name="connsiteY9518" fmla="*/ 434622 h 1729012"/>
                <a:gd name="connsiteX9519" fmla="*/ 1360053 w 2240198"/>
                <a:gd name="connsiteY9519" fmla="*/ 429152 h 1729012"/>
                <a:gd name="connsiteX9520" fmla="*/ 1362785 w 2240198"/>
                <a:gd name="connsiteY9520" fmla="*/ 427793 h 1729012"/>
                <a:gd name="connsiteX9521" fmla="*/ 1374004 w 2240198"/>
                <a:gd name="connsiteY9521" fmla="*/ 434288 h 1729012"/>
                <a:gd name="connsiteX9522" fmla="*/ 1380844 w 2240198"/>
                <a:gd name="connsiteY9522" fmla="*/ 435724 h 1729012"/>
                <a:gd name="connsiteX9523" fmla="*/ 1383587 w 2240198"/>
                <a:gd name="connsiteY9523" fmla="*/ 437113 h 1729012"/>
                <a:gd name="connsiteX9524" fmla="*/ 1388664 w 2240198"/>
                <a:gd name="connsiteY9524" fmla="*/ 438647 h 1729012"/>
                <a:gd name="connsiteX9525" fmla="*/ 1395887 w 2240198"/>
                <a:gd name="connsiteY9525" fmla="*/ 439227 h 1729012"/>
                <a:gd name="connsiteX9526" fmla="*/ 1397076 w 2240198"/>
                <a:gd name="connsiteY9526" fmla="*/ 436822 h 1729012"/>
                <a:gd name="connsiteX9527" fmla="*/ 1392912 w 2240198"/>
                <a:gd name="connsiteY9527" fmla="*/ 433729 h 1729012"/>
                <a:gd name="connsiteX9528" fmla="*/ 1395341 w 2240198"/>
                <a:gd name="connsiteY9528" fmla="*/ 432371 h 1729012"/>
                <a:gd name="connsiteX9529" fmla="*/ 1405274 w 2240198"/>
                <a:gd name="connsiteY9529" fmla="*/ 429745 h 1729012"/>
                <a:gd name="connsiteX9530" fmla="*/ 1410572 w 2240198"/>
                <a:gd name="connsiteY9530" fmla="*/ 430114 h 1729012"/>
                <a:gd name="connsiteX9531" fmla="*/ 1420348 w 2240198"/>
                <a:gd name="connsiteY9531" fmla="*/ 426392 h 1729012"/>
                <a:gd name="connsiteX9532" fmla="*/ 1426346 w 2240198"/>
                <a:gd name="connsiteY9532" fmla="*/ 425888 h 1729012"/>
                <a:gd name="connsiteX9533" fmla="*/ 1430031 w 2240198"/>
                <a:gd name="connsiteY9533" fmla="*/ 425951 h 1729012"/>
                <a:gd name="connsiteX9534" fmla="*/ 1442132 w 2240198"/>
                <a:gd name="connsiteY9534" fmla="*/ 420317 h 1729012"/>
                <a:gd name="connsiteX9535" fmla="*/ 1445007 w 2240198"/>
                <a:gd name="connsiteY9535" fmla="*/ 419424 h 1729012"/>
                <a:gd name="connsiteX9536" fmla="*/ 1447094 w 2240198"/>
                <a:gd name="connsiteY9536" fmla="*/ 417407 h 1729012"/>
                <a:gd name="connsiteX9537" fmla="*/ 1451846 w 2240198"/>
                <a:gd name="connsiteY9537" fmla="*/ 417722 h 1729012"/>
                <a:gd name="connsiteX9538" fmla="*/ 1464713 w 2240198"/>
                <a:gd name="connsiteY9538" fmla="*/ 420929 h 1729012"/>
                <a:gd name="connsiteX9539" fmla="*/ 1468356 w 2240198"/>
                <a:gd name="connsiteY9539" fmla="*/ 420639 h 1729012"/>
                <a:gd name="connsiteX9540" fmla="*/ 1482048 w 2240198"/>
                <a:gd name="connsiteY9540" fmla="*/ 417443 h 1729012"/>
                <a:gd name="connsiteX9541" fmla="*/ 1487108 w 2240198"/>
                <a:gd name="connsiteY9541" fmla="*/ 416662 h 1729012"/>
                <a:gd name="connsiteX9542" fmla="*/ 1492185 w 2240198"/>
                <a:gd name="connsiteY9542" fmla="*/ 416780 h 1729012"/>
                <a:gd name="connsiteX9543" fmla="*/ 1505023 w 2240198"/>
                <a:gd name="connsiteY9543" fmla="*/ 418650 h 1729012"/>
                <a:gd name="connsiteX9544" fmla="*/ 1514629 w 2240198"/>
                <a:gd name="connsiteY9544" fmla="*/ 420661 h 1729012"/>
                <a:gd name="connsiteX9545" fmla="*/ 1517615 w 2240198"/>
                <a:gd name="connsiteY9545" fmla="*/ 421718 h 1729012"/>
                <a:gd name="connsiteX9546" fmla="*/ 1516553 w 2240198"/>
                <a:gd name="connsiteY9546" fmla="*/ 424358 h 1729012"/>
                <a:gd name="connsiteX9547" fmla="*/ 1517038 w 2240198"/>
                <a:gd name="connsiteY9547" fmla="*/ 425139 h 1729012"/>
                <a:gd name="connsiteX9548" fmla="*/ 1518283 w 2240198"/>
                <a:gd name="connsiteY9548" fmla="*/ 425709 h 1729012"/>
                <a:gd name="connsiteX9549" fmla="*/ 1521418 w 2240198"/>
                <a:gd name="connsiteY9549" fmla="*/ 426486 h 1729012"/>
                <a:gd name="connsiteX9550" fmla="*/ 1533413 w 2240198"/>
                <a:gd name="connsiteY9550" fmla="*/ 426535 h 1729012"/>
                <a:gd name="connsiteX9551" fmla="*/ 1538631 w 2240198"/>
                <a:gd name="connsiteY9551" fmla="*/ 427207 h 1729012"/>
                <a:gd name="connsiteX9552" fmla="*/ 1542779 w 2240198"/>
                <a:gd name="connsiteY9552" fmla="*/ 429675 h 1729012"/>
                <a:gd name="connsiteX9553" fmla="*/ 1543772 w 2240198"/>
                <a:gd name="connsiteY9553" fmla="*/ 430656 h 1729012"/>
                <a:gd name="connsiteX9554" fmla="*/ 1543606 w 2240198"/>
                <a:gd name="connsiteY9554" fmla="*/ 431680 h 1729012"/>
                <a:gd name="connsiteX9555" fmla="*/ 1539526 w 2240198"/>
                <a:gd name="connsiteY9555" fmla="*/ 434338 h 1729012"/>
                <a:gd name="connsiteX9556" fmla="*/ 1540190 w 2240198"/>
                <a:gd name="connsiteY9556" fmla="*/ 434899 h 1729012"/>
                <a:gd name="connsiteX9557" fmla="*/ 1544269 w 2240198"/>
                <a:gd name="connsiteY9557" fmla="*/ 435516 h 1729012"/>
                <a:gd name="connsiteX9558" fmla="*/ 1553445 w 2240198"/>
                <a:gd name="connsiteY9558" fmla="*/ 435821 h 1729012"/>
                <a:gd name="connsiteX9559" fmla="*/ 1555411 w 2240198"/>
                <a:gd name="connsiteY9559" fmla="*/ 436435 h 1729012"/>
                <a:gd name="connsiteX9560" fmla="*/ 1557298 w 2240198"/>
                <a:gd name="connsiteY9560" fmla="*/ 439746 h 1729012"/>
                <a:gd name="connsiteX9561" fmla="*/ 1559274 w 2240198"/>
                <a:gd name="connsiteY9561" fmla="*/ 444323 h 1729012"/>
                <a:gd name="connsiteX9562" fmla="*/ 1559243 w 2240198"/>
                <a:gd name="connsiteY9562" fmla="*/ 446138 h 1729012"/>
                <a:gd name="connsiteX9563" fmla="*/ 1556064 w 2240198"/>
                <a:gd name="connsiteY9563" fmla="*/ 449224 h 1729012"/>
                <a:gd name="connsiteX9564" fmla="*/ 1547373 w 2240198"/>
                <a:gd name="connsiteY9564" fmla="*/ 453333 h 1729012"/>
                <a:gd name="connsiteX9565" fmla="*/ 1537728 w 2240198"/>
                <a:gd name="connsiteY9565" fmla="*/ 456739 h 1729012"/>
                <a:gd name="connsiteX9566" fmla="*/ 1537109 w 2240198"/>
                <a:gd name="connsiteY9566" fmla="*/ 457621 h 1729012"/>
                <a:gd name="connsiteX9567" fmla="*/ 1540186 w 2240198"/>
                <a:gd name="connsiteY9567" fmla="*/ 459246 h 1729012"/>
                <a:gd name="connsiteX9568" fmla="*/ 1543364 w 2240198"/>
                <a:gd name="connsiteY9568" fmla="*/ 459959 h 1729012"/>
                <a:gd name="connsiteX9569" fmla="*/ 1545871 w 2240198"/>
                <a:gd name="connsiteY9569" fmla="*/ 459816 h 1729012"/>
                <a:gd name="connsiteX9570" fmla="*/ 1553564 w 2240198"/>
                <a:gd name="connsiteY9570" fmla="*/ 458268 h 1729012"/>
                <a:gd name="connsiteX9571" fmla="*/ 1555312 w 2240198"/>
                <a:gd name="connsiteY9571" fmla="*/ 458298 h 1729012"/>
                <a:gd name="connsiteX9572" fmla="*/ 1558844 w 2240198"/>
                <a:gd name="connsiteY9572" fmla="*/ 459878 h 1729012"/>
                <a:gd name="connsiteX9573" fmla="*/ 1560477 w 2240198"/>
                <a:gd name="connsiteY9573" fmla="*/ 461444 h 1729012"/>
                <a:gd name="connsiteX9574" fmla="*/ 1561972 w 2240198"/>
                <a:gd name="connsiteY9574" fmla="*/ 463529 h 1729012"/>
                <a:gd name="connsiteX9575" fmla="*/ 1559270 w 2240198"/>
                <a:gd name="connsiteY9575" fmla="*/ 465426 h 1729012"/>
                <a:gd name="connsiteX9576" fmla="*/ 1548202 w 2240198"/>
                <a:gd name="connsiteY9576" fmla="*/ 467775 h 1729012"/>
                <a:gd name="connsiteX9577" fmla="*/ 1541661 w 2240198"/>
                <a:gd name="connsiteY9577" fmla="*/ 464683 h 1729012"/>
                <a:gd name="connsiteX9578" fmla="*/ 1539461 w 2240198"/>
                <a:gd name="connsiteY9578" fmla="*/ 464000 h 1729012"/>
                <a:gd name="connsiteX9579" fmla="*/ 1537977 w 2240198"/>
                <a:gd name="connsiteY9579" fmla="*/ 464270 h 1729012"/>
                <a:gd name="connsiteX9580" fmla="*/ 1538819 w 2240198"/>
                <a:gd name="connsiteY9580" fmla="*/ 465625 h 1729012"/>
                <a:gd name="connsiteX9581" fmla="*/ 1541984 w 2240198"/>
                <a:gd name="connsiteY9581" fmla="*/ 468076 h 1729012"/>
                <a:gd name="connsiteX9582" fmla="*/ 1543018 w 2240198"/>
                <a:gd name="connsiteY9582" fmla="*/ 469691 h 1729012"/>
                <a:gd name="connsiteX9583" fmla="*/ 1541919 w 2240198"/>
                <a:gd name="connsiteY9583" fmla="*/ 470474 h 1729012"/>
                <a:gd name="connsiteX9584" fmla="*/ 1541401 w 2240198"/>
                <a:gd name="connsiteY9584" fmla="*/ 472023 h 1729012"/>
                <a:gd name="connsiteX9585" fmla="*/ 1541463 w 2240198"/>
                <a:gd name="connsiteY9585" fmla="*/ 474332 h 1729012"/>
                <a:gd name="connsiteX9586" fmla="*/ 1541200 w 2240198"/>
                <a:gd name="connsiteY9586" fmla="*/ 476677 h 1729012"/>
                <a:gd name="connsiteX9587" fmla="*/ 1540132 w 2240198"/>
                <a:gd name="connsiteY9587" fmla="*/ 480323 h 1729012"/>
                <a:gd name="connsiteX9588" fmla="*/ 1539752 w 2240198"/>
                <a:gd name="connsiteY9588" fmla="*/ 480468 h 1729012"/>
                <a:gd name="connsiteX9589" fmla="*/ 1515702 w 2240198"/>
                <a:gd name="connsiteY9589" fmla="*/ 481217 h 1729012"/>
                <a:gd name="connsiteX9590" fmla="*/ 1512804 w 2240198"/>
                <a:gd name="connsiteY9590" fmla="*/ 481877 h 1729012"/>
                <a:gd name="connsiteX9591" fmla="*/ 1506042 w 2240198"/>
                <a:gd name="connsiteY9591" fmla="*/ 484443 h 1729012"/>
                <a:gd name="connsiteX9592" fmla="*/ 1500929 w 2240198"/>
                <a:gd name="connsiteY9592" fmla="*/ 485732 h 1729012"/>
                <a:gd name="connsiteX9593" fmla="*/ 1497599 w 2240198"/>
                <a:gd name="connsiteY9593" fmla="*/ 485927 h 1729012"/>
                <a:gd name="connsiteX9594" fmla="*/ 1494344 w 2240198"/>
                <a:gd name="connsiteY9594" fmla="*/ 485458 h 1729012"/>
                <a:gd name="connsiteX9595" fmla="*/ 1485565 w 2240198"/>
                <a:gd name="connsiteY9595" fmla="*/ 482795 h 1729012"/>
                <a:gd name="connsiteX9596" fmla="*/ 1479717 w 2240198"/>
                <a:gd name="connsiteY9596" fmla="*/ 483297 h 1729012"/>
                <a:gd name="connsiteX9597" fmla="*/ 1477424 w 2240198"/>
                <a:gd name="connsiteY9597" fmla="*/ 483043 h 1729012"/>
                <a:gd name="connsiteX9598" fmla="*/ 1472473 w 2240198"/>
                <a:gd name="connsiteY9598" fmla="*/ 481271 h 1729012"/>
                <a:gd name="connsiteX9599" fmla="*/ 1471272 w 2240198"/>
                <a:gd name="connsiteY9599" fmla="*/ 480374 h 1729012"/>
                <a:gd name="connsiteX9600" fmla="*/ 1469264 w 2240198"/>
                <a:gd name="connsiteY9600" fmla="*/ 478047 h 1729012"/>
                <a:gd name="connsiteX9601" fmla="*/ 1467759 w 2240198"/>
                <a:gd name="connsiteY9601" fmla="*/ 474861 h 1729012"/>
                <a:gd name="connsiteX9602" fmla="*/ 1467878 w 2240198"/>
                <a:gd name="connsiteY9602" fmla="*/ 472896 h 1729012"/>
                <a:gd name="connsiteX9603" fmla="*/ 1468511 w 2240198"/>
                <a:gd name="connsiteY9603" fmla="*/ 470061 h 1729012"/>
                <a:gd name="connsiteX9604" fmla="*/ 1468122 w 2240198"/>
                <a:gd name="connsiteY9604" fmla="*/ 468638 h 1729012"/>
                <a:gd name="connsiteX9605" fmla="*/ 1466711 w 2240198"/>
                <a:gd name="connsiteY9605" fmla="*/ 468629 h 1729012"/>
                <a:gd name="connsiteX9606" fmla="*/ 1465138 w 2240198"/>
                <a:gd name="connsiteY9606" fmla="*/ 468039 h 1729012"/>
                <a:gd name="connsiteX9607" fmla="*/ 1460405 w 2240198"/>
                <a:gd name="connsiteY9607" fmla="*/ 465190 h 1729012"/>
                <a:gd name="connsiteX9608" fmla="*/ 1457488 w 2240198"/>
                <a:gd name="connsiteY9608" fmla="*/ 464347 h 1729012"/>
                <a:gd name="connsiteX9609" fmla="*/ 1456943 w 2240198"/>
                <a:gd name="connsiteY9609" fmla="*/ 464811 h 1729012"/>
                <a:gd name="connsiteX9610" fmla="*/ 1457799 w 2240198"/>
                <a:gd name="connsiteY9610" fmla="*/ 467040 h 1729012"/>
                <a:gd name="connsiteX9611" fmla="*/ 1458368 w 2240198"/>
                <a:gd name="connsiteY9611" fmla="*/ 467750 h 1729012"/>
                <a:gd name="connsiteX9612" fmla="*/ 1461490 w 2240198"/>
                <a:gd name="connsiteY9612" fmla="*/ 469377 h 1729012"/>
                <a:gd name="connsiteX9613" fmla="*/ 1462071 w 2240198"/>
                <a:gd name="connsiteY9613" fmla="*/ 471259 h 1729012"/>
                <a:gd name="connsiteX9614" fmla="*/ 1460742 w 2240198"/>
                <a:gd name="connsiteY9614" fmla="*/ 476016 h 1729012"/>
                <a:gd name="connsiteX9615" fmla="*/ 1460273 w 2240198"/>
                <a:gd name="connsiteY9615" fmla="*/ 476780 h 1729012"/>
                <a:gd name="connsiteX9616" fmla="*/ 1457239 w 2240198"/>
                <a:gd name="connsiteY9616" fmla="*/ 480262 h 1729012"/>
                <a:gd name="connsiteX9617" fmla="*/ 1454957 w 2240198"/>
                <a:gd name="connsiteY9617" fmla="*/ 481255 h 1729012"/>
                <a:gd name="connsiteX9618" fmla="*/ 1448714 w 2240198"/>
                <a:gd name="connsiteY9618" fmla="*/ 481330 h 1729012"/>
                <a:gd name="connsiteX9619" fmla="*/ 1439153 w 2240198"/>
                <a:gd name="connsiteY9619" fmla="*/ 483800 h 1729012"/>
                <a:gd name="connsiteX9620" fmla="*/ 1434578 w 2240198"/>
                <a:gd name="connsiteY9620" fmla="*/ 484154 h 1729012"/>
                <a:gd name="connsiteX9621" fmla="*/ 1428454 w 2240198"/>
                <a:gd name="connsiteY9621" fmla="*/ 483578 h 1729012"/>
                <a:gd name="connsiteX9622" fmla="*/ 1424620 w 2240198"/>
                <a:gd name="connsiteY9622" fmla="*/ 482455 h 1729012"/>
                <a:gd name="connsiteX9623" fmla="*/ 1422134 w 2240198"/>
                <a:gd name="connsiteY9623" fmla="*/ 481167 h 1729012"/>
                <a:gd name="connsiteX9624" fmla="*/ 1419720 w 2240198"/>
                <a:gd name="connsiteY9624" fmla="*/ 479332 h 1729012"/>
                <a:gd name="connsiteX9625" fmla="*/ 1418454 w 2240198"/>
                <a:gd name="connsiteY9625" fmla="*/ 479194 h 1729012"/>
                <a:gd name="connsiteX9626" fmla="*/ 1417812 w 2240198"/>
                <a:gd name="connsiteY9626" fmla="*/ 483172 h 1729012"/>
                <a:gd name="connsiteX9627" fmla="*/ 1416629 w 2240198"/>
                <a:gd name="connsiteY9627" fmla="*/ 483686 h 1729012"/>
                <a:gd name="connsiteX9628" fmla="*/ 1414578 w 2240198"/>
                <a:gd name="connsiteY9628" fmla="*/ 483625 h 1729012"/>
                <a:gd name="connsiteX9629" fmla="*/ 1411410 w 2240198"/>
                <a:gd name="connsiteY9629" fmla="*/ 482389 h 1729012"/>
                <a:gd name="connsiteX9630" fmla="*/ 1408797 w 2240198"/>
                <a:gd name="connsiteY9630" fmla="*/ 479513 h 1729012"/>
                <a:gd name="connsiteX9631" fmla="*/ 1407983 w 2240198"/>
                <a:gd name="connsiteY9631" fmla="*/ 479526 h 1729012"/>
                <a:gd name="connsiteX9632" fmla="*/ 1407621 w 2240198"/>
                <a:gd name="connsiteY9632" fmla="*/ 481200 h 1729012"/>
                <a:gd name="connsiteX9633" fmla="*/ 1407036 w 2240198"/>
                <a:gd name="connsiteY9633" fmla="*/ 482298 h 1729012"/>
                <a:gd name="connsiteX9634" fmla="*/ 1406231 w 2240198"/>
                <a:gd name="connsiteY9634" fmla="*/ 482817 h 1729012"/>
                <a:gd name="connsiteX9635" fmla="*/ 1399524 w 2240198"/>
                <a:gd name="connsiteY9635" fmla="*/ 484612 h 1729012"/>
                <a:gd name="connsiteX9636" fmla="*/ 1395781 w 2240198"/>
                <a:gd name="connsiteY9636" fmla="*/ 484621 h 1729012"/>
                <a:gd name="connsiteX9637" fmla="*/ 1391870 w 2240198"/>
                <a:gd name="connsiteY9637" fmla="*/ 482567 h 1729012"/>
                <a:gd name="connsiteX9638" fmla="*/ 1389307 w 2240198"/>
                <a:gd name="connsiteY9638" fmla="*/ 482776 h 1729012"/>
                <a:gd name="connsiteX9639" fmla="*/ 1386021 w 2240198"/>
                <a:gd name="connsiteY9639" fmla="*/ 483885 h 1729012"/>
                <a:gd name="connsiteX9640" fmla="*/ 1378037 w 2240198"/>
                <a:gd name="connsiteY9640" fmla="*/ 481781 h 1729012"/>
                <a:gd name="connsiteX9641" fmla="*/ 1376127 w 2240198"/>
                <a:gd name="connsiteY9641" fmla="*/ 481700 h 1729012"/>
                <a:gd name="connsiteX9642" fmla="*/ 1377765 w 2240198"/>
                <a:gd name="connsiteY9642" fmla="*/ 485106 h 1729012"/>
                <a:gd name="connsiteX9643" fmla="*/ 1375128 w 2240198"/>
                <a:gd name="connsiteY9643" fmla="*/ 485631 h 1729012"/>
                <a:gd name="connsiteX9644" fmla="*/ 1369433 w 2240198"/>
                <a:gd name="connsiteY9644" fmla="*/ 485546 h 1729012"/>
                <a:gd name="connsiteX9645" fmla="*/ 1360076 w 2240198"/>
                <a:gd name="connsiteY9645" fmla="*/ 484450 h 1729012"/>
                <a:gd name="connsiteX9646" fmla="*/ 1354274 w 2240198"/>
                <a:gd name="connsiteY9646" fmla="*/ 486045 h 1729012"/>
                <a:gd name="connsiteX9647" fmla="*/ 1343795 w 2240198"/>
                <a:gd name="connsiteY9647" fmla="*/ 485093 h 1729012"/>
                <a:gd name="connsiteX9648" fmla="*/ 1333216 w 2240198"/>
                <a:gd name="connsiteY9648" fmla="*/ 484854 h 1729012"/>
                <a:gd name="connsiteX9649" fmla="*/ 1331246 w 2240198"/>
                <a:gd name="connsiteY9649" fmla="*/ 484073 h 1729012"/>
                <a:gd name="connsiteX9650" fmla="*/ 1329853 w 2240198"/>
                <a:gd name="connsiteY9650" fmla="*/ 482482 h 1729012"/>
                <a:gd name="connsiteX9651" fmla="*/ 1329798 w 2240198"/>
                <a:gd name="connsiteY9651" fmla="*/ 481064 h 1729012"/>
                <a:gd name="connsiteX9652" fmla="*/ 1330311 w 2240198"/>
                <a:gd name="connsiteY9652" fmla="*/ 479102 h 1729012"/>
                <a:gd name="connsiteX9653" fmla="*/ 1331858 w 2240198"/>
                <a:gd name="connsiteY9653" fmla="*/ 476181 h 1729012"/>
                <a:gd name="connsiteX9654" fmla="*/ 1334442 w 2240198"/>
                <a:gd name="connsiteY9654" fmla="*/ 472291 h 1729012"/>
                <a:gd name="connsiteX9655" fmla="*/ 1335333 w 2240198"/>
                <a:gd name="connsiteY9655" fmla="*/ 470237 h 1729012"/>
                <a:gd name="connsiteX9656" fmla="*/ 1333003 w 2240198"/>
                <a:gd name="connsiteY9656" fmla="*/ 469287 h 1729012"/>
                <a:gd name="connsiteX9657" fmla="*/ 1331565 w 2240198"/>
                <a:gd name="connsiteY9657" fmla="*/ 468014 h 1729012"/>
                <a:gd name="connsiteX9658" fmla="*/ 1330378 w 2240198"/>
                <a:gd name="connsiteY9658" fmla="*/ 467872 h 1729012"/>
                <a:gd name="connsiteX9659" fmla="*/ 1326649 w 2240198"/>
                <a:gd name="connsiteY9659" fmla="*/ 469373 h 1729012"/>
                <a:gd name="connsiteX9660" fmla="*/ 1324220 w 2240198"/>
                <a:gd name="connsiteY9660" fmla="*/ 473750 h 1729012"/>
                <a:gd name="connsiteX9661" fmla="*/ 1322363 w 2240198"/>
                <a:gd name="connsiteY9661" fmla="*/ 475018 h 1729012"/>
                <a:gd name="connsiteX9662" fmla="*/ 1321543 w 2240198"/>
                <a:gd name="connsiteY9662" fmla="*/ 473956 h 1729012"/>
                <a:gd name="connsiteX9663" fmla="*/ 1320924 w 2240198"/>
                <a:gd name="connsiteY9663" fmla="*/ 471299 h 1729012"/>
                <a:gd name="connsiteX9664" fmla="*/ 1320105 w 2240198"/>
                <a:gd name="connsiteY9664" fmla="*/ 470004 h 1729012"/>
                <a:gd name="connsiteX9665" fmla="*/ 1319084 w 2240198"/>
                <a:gd name="connsiteY9665" fmla="*/ 470075 h 1729012"/>
                <a:gd name="connsiteX9666" fmla="*/ 1318089 w 2240198"/>
                <a:gd name="connsiteY9666" fmla="*/ 470784 h 1729012"/>
                <a:gd name="connsiteX9667" fmla="*/ 1317120 w 2240198"/>
                <a:gd name="connsiteY9667" fmla="*/ 472133 h 1729012"/>
                <a:gd name="connsiteX9668" fmla="*/ 1315664 w 2240198"/>
                <a:gd name="connsiteY9668" fmla="*/ 472622 h 1729012"/>
                <a:gd name="connsiteX9669" fmla="*/ 1313720 w 2240198"/>
                <a:gd name="connsiteY9669" fmla="*/ 472255 h 1729012"/>
                <a:gd name="connsiteX9670" fmla="*/ 1313030 w 2240198"/>
                <a:gd name="connsiteY9670" fmla="*/ 472914 h 1729012"/>
                <a:gd name="connsiteX9671" fmla="*/ 1313596 w 2240198"/>
                <a:gd name="connsiteY9671" fmla="*/ 474603 h 1729012"/>
                <a:gd name="connsiteX9672" fmla="*/ 1313793 w 2240198"/>
                <a:gd name="connsiteY9672" fmla="*/ 476183 h 1729012"/>
                <a:gd name="connsiteX9673" fmla="*/ 1313621 w 2240198"/>
                <a:gd name="connsiteY9673" fmla="*/ 477657 h 1729012"/>
                <a:gd name="connsiteX9674" fmla="*/ 1311947 w 2240198"/>
                <a:gd name="connsiteY9674" fmla="*/ 479082 h 1729012"/>
                <a:gd name="connsiteX9675" fmla="*/ 1307177 w 2240198"/>
                <a:gd name="connsiteY9675" fmla="*/ 481154 h 1729012"/>
                <a:gd name="connsiteX9676" fmla="*/ 1304420 w 2240198"/>
                <a:gd name="connsiteY9676" fmla="*/ 481816 h 1729012"/>
                <a:gd name="connsiteX9677" fmla="*/ 1297176 w 2240198"/>
                <a:gd name="connsiteY9677" fmla="*/ 482124 h 1729012"/>
                <a:gd name="connsiteX9678" fmla="*/ 1292842 w 2240198"/>
                <a:gd name="connsiteY9678" fmla="*/ 481506 h 1729012"/>
                <a:gd name="connsiteX9679" fmla="*/ 1284061 w 2240198"/>
                <a:gd name="connsiteY9679" fmla="*/ 479018 h 1729012"/>
                <a:gd name="connsiteX9680" fmla="*/ 1279201 w 2240198"/>
                <a:gd name="connsiteY9680" fmla="*/ 478903 h 1729012"/>
                <a:gd name="connsiteX9681" fmla="*/ 1273348 w 2240198"/>
                <a:gd name="connsiteY9681" fmla="*/ 474721 h 1729012"/>
                <a:gd name="connsiteX9682" fmla="*/ 1268716 w 2240198"/>
                <a:gd name="connsiteY9682" fmla="*/ 473754 h 1729012"/>
                <a:gd name="connsiteX9683" fmla="*/ 1268951 w 2240198"/>
                <a:gd name="connsiteY9683" fmla="*/ 472240 h 1729012"/>
                <a:gd name="connsiteX9684" fmla="*/ 1270976 w 2240198"/>
                <a:gd name="connsiteY9684" fmla="*/ 469420 h 1729012"/>
                <a:gd name="connsiteX9685" fmla="*/ 1270911 w 2240198"/>
                <a:gd name="connsiteY9685" fmla="*/ 468577 h 1729012"/>
                <a:gd name="connsiteX9686" fmla="*/ 1264581 w 2240198"/>
                <a:gd name="connsiteY9686" fmla="*/ 472687 h 1729012"/>
                <a:gd name="connsiteX9687" fmla="*/ 1263723 w 2240198"/>
                <a:gd name="connsiteY9687" fmla="*/ 473999 h 1729012"/>
                <a:gd name="connsiteX9688" fmla="*/ 1264461 w 2240198"/>
                <a:gd name="connsiteY9688" fmla="*/ 477038 h 1729012"/>
                <a:gd name="connsiteX9689" fmla="*/ 1263621 w 2240198"/>
                <a:gd name="connsiteY9689" fmla="*/ 477257 h 1729012"/>
                <a:gd name="connsiteX9690" fmla="*/ 1259267 w 2240198"/>
                <a:gd name="connsiteY9690" fmla="*/ 476164 h 1729012"/>
                <a:gd name="connsiteX9691" fmla="*/ 1254984 w 2240198"/>
                <a:gd name="connsiteY9691" fmla="*/ 476996 h 1729012"/>
                <a:gd name="connsiteX9692" fmla="*/ 1253951 w 2240198"/>
                <a:gd name="connsiteY9692" fmla="*/ 476751 h 1729012"/>
                <a:gd name="connsiteX9693" fmla="*/ 1250992 w 2240198"/>
                <a:gd name="connsiteY9693" fmla="*/ 474556 h 1729012"/>
                <a:gd name="connsiteX9694" fmla="*/ 1245787 w 2240198"/>
                <a:gd name="connsiteY9694" fmla="*/ 472322 h 1729012"/>
                <a:gd name="connsiteX9695" fmla="*/ 1243492 w 2240198"/>
                <a:gd name="connsiteY9695" fmla="*/ 469817 h 1729012"/>
                <a:gd name="connsiteX9696" fmla="*/ 1239916 w 2240198"/>
                <a:gd name="connsiteY9696" fmla="*/ 461972 h 1729012"/>
                <a:gd name="connsiteX9697" fmla="*/ 1238100 w 2240198"/>
                <a:gd name="connsiteY9697" fmla="*/ 456765 h 1729012"/>
                <a:gd name="connsiteX9698" fmla="*/ 1238327 w 2240198"/>
                <a:gd name="connsiteY9698" fmla="*/ 455699 h 1729012"/>
                <a:gd name="connsiteX9699" fmla="*/ 1240983 w 2240198"/>
                <a:gd name="connsiteY9699" fmla="*/ 454228 h 1729012"/>
                <a:gd name="connsiteX9700" fmla="*/ 1240582 w 2240198"/>
                <a:gd name="connsiteY9700" fmla="*/ 453081 h 1729012"/>
                <a:gd name="connsiteX9701" fmla="*/ 1237272 w 2240198"/>
                <a:gd name="connsiteY9701" fmla="*/ 450144 h 1729012"/>
                <a:gd name="connsiteX9702" fmla="*/ 1233707 w 2240198"/>
                <a:gd name="connsiteY9702" fmla="*/ 447670 h 1729012"/>
                <a:gd name="connsiteX9703" fmla="*/ 1232647 w 2240198"/>
                <a:gd name="connsiteY9703" fmla="*/ 445959 h 1729012"/>
                <a:gd name="connsiteX9704" fmla="*/ 1232162 w 2240198"/>
                <a:gd name="connsiteY9704" fmla="*/ 444227 h 1729012"/>
                <a:gd name="connsiteX9705" fmla="*/ 1231688 w 2240198"/>
                <a:gd name="connsiteY9705" fmla="*/ 441715 h 1729012"/>
                <a:gd name="connsiteX9706" fmla="*/ 1231665 w 2240198"/>
                <a:gd name="connsiteY9706" fmla="*/ 439856 h 1729012"/>
                <a:gd name="connsiteX9707" fmla="*/ 1232094 w 2240198"/>
                <a:gd name="connsiteY9707" fmla="*/ 438652 h 1729012"/>
                <a:gd name="connsiteX9708" fmla="*/ 1234132 w 2240198"/>
                <a:gd name="connsiteY9708" fmla="*/ 434899 h 1729012"/>
                <a:gd name="connsiteX9709" fmla="*/ 1239716 w 2240198"/>
                <a:gd name="connsiteY9709" fmla="*/ 428158 h 1729012"/>
                <a:gd name="connsiteX9710" fmla="*/ 1240470 w 2240198"/>
                <a:gd name="connsiteY9710" fmla="*/ 426929 h 1729012"/>
                <a:gd name="connsiteX9711" fmla="*/ 1240771 w 2240198"/>
                <a:gd name="connsiteY9711" fmla="*/ 425722 h 1729012"/>
                <a:gd name="connsiteX9712" fmla="*/ 1240002 w 2240198"/>
                <a:gd name="connsiteY9712" fmla="*/ 422144 h 1729012"/>
                <a:gd name="connsiteX9713" fmla="*/ 1238920 w 2240198"/>
                <a:gd name="connsiteY9713" fmla="*/ 418552 h 1729012"/>
                <a:gd name="connsiteX9714" fmla="*/ 1237824 w 2240198"/>
                <a:gd name="connsiteY9714" fmla="*/ 415979 h 1729012"/>
                <a:gd name="connsiteX9715" fmla="*/ 1234742 w 2240198"/>
                <a:gd name="connsiteY9715" fmla="*/ 412423 h 1729012"/>
                <a:gd name="connsiteX9716" fmla="*/ 1230505 w 2240198"/>
                <a:gd name="connsiteY9716" fmla="*/ 408721 h 1729012"/>
                <a:gd name="connsiteX9717" fmla="*/ 1224542 w 2240198"/>
                <a:gd name="connsiteY9717" fmla="*/ 402061 h 1729012"/>
                <a:gd name="connsiteX9718" fmla="*/ 1220120 w 2240198"/>
                <a:gd name="connsiteY9718" fmla="*/ 396867 h 1729012"/>
                <a:gd name="connsiteX9719" fmla="*/ 1214834 w 2240198"/>
                <a:gd name="connsiteY9719" fmla="*/ 389537 h 1729012"/>
                <a:gd name="connsiteX9720" fmla="*/ 1212285 w 2240198"/>
                <a:gd name="connsiteY9720" fmla="*/ 388907 h 1729012"/>
                <a:gd name="connsiteX9721" fmla="*/ 1209336 w 2240198"/>
                <a:gd name="connsiteY9721" fmla="*/ 389243 h 1729012"/>
                <a:gd name="connsiteX9722" fmla="*/ 1202962 w 2240198"/>
                <a:gd name="connsiteY9722" fmla="*/ 391769 h 1729012"/>
                <a:gd name="connsiteX9723" fmla="*/ 1200820 w 2240198"/>
                <a:gd name="connsiteY9723" fmla="*/ 392967 h 1729012"/>
                <a:gd name="connsiteX9724" fmla="*/ 1200294 w 2240198"/>
                <a:gd name="connsiteY9724" fmla="*/ 393772 h 1729012"/>
                <a:gd name="connsiteX9725" fmla="*/ 1195549 w 2240198"/>
                <a:gd name="connsiteY9725" fmla="*/ 393954 h 1729012"/>
                <a:gd name="connsiteX9726" fmla="*/ 1182103 w 2240198"/>
                <a:gd name="connsiteY9726" fmla="*/ 393292 h 1729012"/>
                <a:gd name="connsiteX9727" fmla="*/ 1176962 w 2240198"/>
                <a:gd name="connsiteY9727" fmla="*/ 392515 h 1729012"/>
                <a:gd name="connsiteX9728" fmla="*/ 1173123 w 2240198"/>
                <a:gd name="connsiteY9728" fmla="*/ 392719 h 1729012"/>
                <a:gd name="connsiteX9729" fmla="*/ 1166533 w 2240198"/>
                <a:gd name="connsiteY9729" fmla="*/ 394581 h 1729012"/>
                <a:gd name="connsiteX9730" fmla="*/ 1159504 w 2240198"/>
                <a:gd name="connsiteY9730" fmla="*/ 394230 h 1729012"/>
                <a:gd name="connsiteX9731" fmla="*/ 1155103 w 2240198"/>
                <a:gd name="connsiteY9731" fmla="*/ 389063 h 1729012"/>
                <a:gd name="connsiteX9732" fmla="*/ 1145107 w 2240198"/>
                <a:gd name="connsiteY9732" fmla="*/ 386275 h 1729012"/>
                <a:gd name="connsiteX9733" fmla="*/ 1142124 w 2240198"/>
                <a:gd name="connsiteY9733" fmla="*/ 384707 h 1729012"/>
                <a:gd name="connsiteX9734" fmla="*/ 1140085 w 2240198"/>
                <a:gd name="connsiteY9734" fmla="*/ 382566 h 1729012"/>
                <a:gd name="connsiteX9735" fmla="*/ 1140760 w 2240198"/>
                <a:gd name="connsiteY9735" fmla="*/ 381165 h 1729012"/>
                <a:gd name="connsiteX9736" fmla="*/ 1146445 w 2240198"/>
                <a:gd name="connsiteY9736" fmla="*/ 379907 h 1729012"/>
                <a:gd name="connsiteX9737" fmla="*/ 1148807 w 2240198"/>
                <a:gd name="connsiteY9737" fmla="*/ 378525 h 1729012"/>
                <a:gd name="connsiteX9738" fmla="*/ 1149941 w 2240198"/>
                <a:gd name="connsiteY9738" fmla="*/ 377405 h 1729012"/>
                <a:gd name="connsiteX9739" fmla="*/ 1144306 w 2240198"/>
                <a:gd name="connsiteY9739" fmla="*/ 378368 h 1729012"/>
                <a:gd name="connsiteX9740" fmla="*/ 1141818 w 2240198"/>
                <a:gd name="connsiteY9740" fmla="*/ 378199 h 1729012"/>
                <a:gd name="connsiteX9741" fmla="*/ 1124871 w 2240198"/>
                <a:gd name="connsiteY9741" fmla="*/ 371159 h 1729012"/>
                <a:gd name="connsiteX9742" fmla="*/ 1119649 w 2240198"/>
                <a:gd name="connsiteY9742" fmla="*/ 369915 h 1729012"/>
                <a:gd name="connsiteX9743" fmla="*/ 1118760 w 2240198"/>
                <a:gd name="connsiteY9743" fmla="*/ 369285 h 1729012"/>
                <a:gd name="connsiteX9744" fmla="*/ 1118322 w 2240198"/>
                <a:gd name="connsiteY9744" fmla="*/ 368454 h 1729012"/>
                <a:gd name="connsiteX9745" fmla="*/ 1118332 w 2240198"/>
                <a:gd name="connsiteY9745" fmla="*/ 367422 h 1729012"/>
                <a:gd name="connsiteX9746" fmla="*/ 1118827 w 2240198"/>
                <a:gd name="connsiteY9746" fmla="*/ 365869 h 1729012"/>
                <a:gd name="connsiteX9747" fmla="*/ 1123865 w 2240198"/>
                <a:gd name="connsiteY9747" fmla="*/ 367831 h 1729012"/>
                <a:gd name="connsiteX9748" fmla="*/ 1126124 w 2240198"/>
                <a:gd name="connsiteY9748" fmla="*/ 367976 h 1729012"/>
                <a:gd name="connsiteX9749" fmla="*/ 1129651 w 2240198"/>
                <a:gd name="connsiteY9749" fmla="*/ 367391 h 1729012"/>
                <a:gd name="connsiteX9750" fmla="*/ 1130909 w 2240198"/>
                <a:gd name="connsiteY9750" fmla="*/ 366164 h 1729012"/>
                <a:gd name="connsiteX9751" fmla="*/ 1130107 w 2240198"/>
                <a:gd name="connsiteY9751" fmla="*/ 365449 h 1729012"/>
                <a:gd name="connsiteX9752" fmla="*/ 1124331 w 2240198"/>
                <a:gd name="connsiteY9752" fmla="*/ 363087 h 1729012"/>
                <a:gd name="connsiteX9753" fmla="*/ 1121538 w 2240198"/>
                <a:gd name="connsiteY9753" fmla="*/ 361295 h 1729012"/>
                <a:gd name="connsiteX9754" fmla="*/ 1120464 w 2240198"/>
                <a:gd name="connsiteY9754" fmla="*/ 359989 h 1729012"/>
                <a:gd name="connsiteX9755" fmla="*/ 1121572 w 2240198"/>
                <a:gd name="connsiteY9755" fmla="*/ 358139 h 1729012"/>
                <a:gd name="connsiteX9756" fmla="*/ 1121864 w 2240198"/>
                <a:gd name="connsiteY9756" fmla="*/ 356886 h 1729012"/>
                <a:gd name="connsiteX9757" fmla="*/ 1123719 w 2240198"/>
                <a:gd name="connsiteY9757" fmla="*/ 356180 h 1729012"/>
                <a:gd name="connsiteX9758" fmla="*/ 1127143 w 2240198"/>
                <a:gd name="connsiteY9758" fmla="*/ 356024 h 1729012"/>
                <a:gd name="connsiteX9759" fmla="*/ 1131525 w 2240198"/>
                <a:gd name="connsiteY9759" fmla="*/ 355136 h 1729012"/>
                <a:gd name="connsiteX9760" fmla="*/ 1139538 w 2240198"/>
                <a:gd name="connsiteY9760" fmla="*/ 352712 h 1729012"/>
                <a:gd name="connsiteX9761" fmla="*/ 620997 w 2240198"/>
                <a:gd name="connsiteY9761" fmla="*/ 325978 h 1729012"/>
                <a:gd name="connsiteX9762" fmla="*/ 624768 w 2240198"/>
                <a:gd name="connsiteY9762" fmla="*/ 326237 h 1729012"/>
                <a:gd name="connsiteX9763" fmla="*/ 628666 w 2240198"/>
                <a:gd name="connsiteY9763" fmla="*/ 327687 h 1729012"/>
                <a:gd name="connsiteX9764" fmla="*/ 633760 w 2240198"/>
                <a:gd name="connsiteY9764" fmla="*/ 330676 h 1729012"/>
                <a:gd name="connsiteX9765" fmla="*/ 645342 w 2240198"/>
                <a:gd name="connsiteY9765" fmla="*/ 335922 h 1729012"/>
                <a:gd name="connsiteX9766" fmla="*/ 647260 w 2240198"/>
                <a:gd name="connsiteY9766" fmla="*/ 338019 h 1729012"/>
                <a:gd name="connsiteX9767" fmla="*/ 647397 w 2240198"/>
                <a:gd name="connsiteY9767" fmla="*/ 338861 h 1729012"/>
                <a:gd name="connsiteX9768" fmla="*/ 646472 w 2240198"/>
                <a:gd name="connsiteY9768" fmla="*/ 339748 h 1729012"/>
                <a:gd name="connsiteX9769" fmla="*/ 643499 w 2240198"/>
                <a:gd name="connsiteY9769" fmla="*/ 341156 h 1729012"/>
                <a:gd name="connsiteX9770" fmla="*/ 628543 w 2240198"/>
                <a:gd name="connsiteY9770" fmla="*/ 345858 h 1729012"/>
                <a:gd name="connsiteX9771" fmla="*/ 625616 w 2240198"/>
                <a:gd name="connsiteY9771" fmla="*/ 348062 h 1729012"/>
                <a:gd name="connsiteX9772" fmla="*/ 626718 w 2240198"/>
                <a:gd name="connsiteY9772" fmla="*/ 349955 h 1729012"/>
                <a:gd name="connsiteX9773" fmla="*/ 632110 w 2240198"/>
                <a:gd name="connsiteY9773" fmla="*/ 353783 h 1729012"/>
                <a:gd name="connsiteX9774" fmla="*/ 637593 w 2240198"/>
                <a:gd name="connsiteY9774" fmla="*/ 357021 h 1729012"/>
                <a:gd name="connsiteX9775" fmla="*/ 638779 w 2240198"/>
                <a:gd name="connsiteY9775" fmla="*/ 358625 h 1729012"/>
                <a:gd name="connsiteX9776" fmla="*/ 636171 w 2240198"/>
                <a:gd name="connsiteY9776" fmla="*/ 360256 h 1729012"/>
                <a:gd name="connsiteX9777" fmla="*/ 631180 w 2240198"/>
                <a:gd name="connsiteY9777" fmla="*/ 359736 h 1729012"/>
                <a:gd name="connsiteX9778" fmla="*/ 629316 w 2240198"/>
                <a:gd name="connsiteY9778" fmla="*/ 359878 h 1729012"/>
                <a:gd name="connsiteX9779" fmla="*/ 627555 w 2240198"/>
                <a:gd name="connsiteY9779" fmla="*/ 360631 h 1729012"/>
                <a:gd name="connsiteX9780" fmla="*/ 628030 w 2240198"/>
                <a:gd name="connsiteY9780" fmla="*/ 362071 h 1729012"/>
                <a:gd name="connsiteX9781" fmla="*/ 633552 w 2240198"/>
                <a:gd name="connsiteY9781" fmla="*/ 366837 h 1729012"/>
                <a:gd name="connsiteX9782" fmla="*/ 635369 w 2240198"/>
                <a:gd name="connsiteY9782" fmla="*/ 369395 h 1729012"/>
                <a:gd name="connsiteX9783" fmla="*/ 635325 w 2240198"/>
                <a:gd name="connsiteY9783" fmla="*/ 370716 h 1729012"/>
                <a:gd name="connsiteX9784" fmla="*/ 634348 w 2240198"/>
                <a:gd name="connsiteY9784" fmla="*/ 372005 h 1729012"/>
                <a:gd name="connsiteX9785" fmla="*/ 632031 w 2240198"/>
                <a:gd name="connsiteY9785" fmla="*/ 373771 h 1729012"/>
                <a:gd name="connsiteX9786" fmla="*/ 628373 w 2240198"/>
                <a:gd name="connsiteY9786" fmla="*/ 376012 h 1729012"/>
                <a:gd name="connsiteX9787" fmla="*/ 622106 w 2240198"/>
                <a:gd name="connsiteY9787" fmla="*/ 377802 h 1729012"/>
                <a:gd name="connsiteX9788" fmla="*/ 608626 w 2240198"/>
                <a:gd name="connsiteY9788" fmla="*/ 380203 h 1729012"/>
                <a:gd name="connsiteX9789" fmla="*/ 608181 w 2240198"/>
                <a:gd name="connsiteY9789" fmla="*/ 382072 h 1729012"/>
                <a:gd name="connsiteX9790" fmla="*/ 608269 w 2240198"/>
                <a:gd name="connsiteY9790" fmla="*/ 383493 h 1729012"/>
                <a:gd name="connsiteX9791" fmla="*/ 607943 w 2240198"/>
                <a:gd name="connsiteY9791" fmla="*/ 386939 h 1729012"/>
                <a:gd name="connsiteX9792" fmla="*/ 607478 w 2240198"/>
                <a:gd name="connsiteY9792" fmla="*/ 388535 h 1729012"/>
                <a:gd name="connsiteX9793" fmla="*/ 605874 w 2240198"/>
                <a:gd name="connsiteY9793" fmla="*/ 391219 h 1729012"/>
                <a:gd name="connsiteX9794" fmla="*/ 604704 w 2240198"/>
                <a:gd name="connsiteY9794" fmla="*/ 392472 h 1729012"/>
                <a:gd name="connsiteX9795" fmla="*/ 602684 w 2240198"/>
                <a:gd name="connsiteY9795" fmla="*/ 393333 h 1729012"/>
                <a:gd name="connsiteX9796" fmla="*/ 599810 w 2240198"/>
                <a:gd name="connsiteY9796" fmla="*/ 393803 h 1729012"/>
                <a:gd name="connsiteX9797" fmla="*/ 596121 w 2240198"/>
                <a:gd name="connsiteY9797" fmla="*/ 393796 h 1729012"/>
                <a:gd name="connsiteX9798" fmla="*/ 590036 w 2240198"/>
                <a:gd name="connsiteY9798" fmla="*/ 391489 h 1729012"/>
                <a:gd name="connsiteX9799" fmla="*/ 587272 w 2240198"/>
                <a:gd name="connsiteY9799" fmla="*/ 390018 h 1729012"/>
                <a:gd name="connsiteX9800" fmla="*/ 583428 w 2240198"/>
                <a:gd name="connsiteY9800" fmla="*/ 386819 h 1729012"/>
                <a:gd name="connsiteX9801" fmla="*/ 582738 w 2240198"/>
                <a:gd name="connsiteY9801" fmla="*/ 384679 h 1729012"/>
                <a:gd name="connsiteX9802" fmla="*/ 583113 w 2240198"/>
                <a:gd name="connsiteY9802" fmla="*/ 382041 h 1729012"/>
                <a:gd name="connsiteX9803" fmla="*/ 584127 w 2240198"/>
                <a:gd name="connsiteY9803" fmla="*/ 377967 h 1729012"/>
                <a:gd name="connsiteX9804" fmla="*/ 585798 w 2240198"/>
                <a:gd name="connsiteY9804" fmla="*/ 373794 h 1729012"/>
                <a:gd name="connsiteX9805" fmla="*/ 588129 w 2240198"/>
                <a:gd name="connsiteY9805" fmla="*/ 369518 h 1729012"/>
                <a:gd name="connsiteX9806" fmla="*/ 588817 w 2240198"/>
                <a:gd name="connsiteY9806" fmla="*/ 366850 h 1729012"/>
                <a:gd name="connsiteX9807" fmla="*/ 587867 w 2240198"/>
                <a:gd name="connsiteY9807" fmla="*/ 365799 h 1729012"/>
                <a:gd name="connsiteX9808" fmla="*/ 586272 w 2240198"/>
                <a:gd name="connsiteY9808" fmla="*/ 365746 h 1729012"/>
                <a:gd name="connsiteX9809" fmla="*/ 581312 w 2240198"/>
                <a:gd name="connsiteY9809" fmla="*/ 367481 h 1729012"/>
                <a:gd name="connsiteX9810" fmla="*/ 578109 w 2240198"/>
                <a:gd name="connsiteY9810" fmla="*/ 368111 h 1729012"/>
                <a:gd name="connsiteX9811" fmla="*/ 575628 w 2240198"/>
                <a:gd name="connsiteY9811" fmla="*/ 369372 h 1729012"/>
                <a:gd name="connsiteX9812" fmla="*/ 573871 w 2240198"/>
                <a:gd name="connsiteY9812" fmla="*/ 371262 h 1729012"/>
                <a:gd name="connsiteX9813" fmla="*/ 572876 w 2240198"/>
                <a:gd name="connsiteY9813" fmla="*/ 373307 h 1729012"/>
                <a:gd name="connsiteX9814" fmla="*/ 572321 w 2240198"/>
                <a:gd name="connsiteY9814" fmla="*/ 377231 h 1729012"/>
                <a:gd name="connsiteX9815" fmla="*/ 571380 w 2240198"/>
                <a:gd name="connsiteY9815" fmla="*/ 379373 h 1729012"/>
                <a:gd name="connsiteX9816" fmla="*/ 568704 w 2240198"/>
                <a:gd name="connsiteY9816" fmla="*/ 380540 h 1729012"/>
                <a:gd name="connsiteX9817" fmla="*/ 564701 w 2240198"/>
                <a:gd name="connsiteY9817" fmla="*/ 380520 h 1729012"/>
                <a:gd name="connsiteX9818" fmla="*/ 563183 w 2240198"/>
                <a:gd name="connsiteY9818" fmla="*/ 381184 h 1729012"/>
                <a:gd name="connsiteX9819" fmla="*/ 562439 w 2240198"/>
                <a:gd name="connsiteY9819" fmla="*/ 382612 h 1729012"/>
                <a:gd name="connsiteX9820" fmla="*/ 562976 w 2240198"/>
                <a:gd name="connsiteY9820" fmla="*/ 383773 h 1729012"/>
                <a:gd name="connsiteX9821" fmla="*/ 566923 w 2240198"/>
                <a:gd name="connsiteY9821" fmla="*/ 386203 h 1729012"/>
                <a:gd name="connsiteX9822" fmla="*/ 567415 w 2240198"/>
                <a:gd name="connsiteY9822" fmla="*/ 388915 h 1729012"/>
                <a:gd name="connsiteX9823" fmla="*/ 566936 w 2240198"/>
                <a:gd name="connsiteY9823" fmla="*/ 390550 h 1729012"/>
                <a:gd name="connsiteX9824" fmla="*/ 562671 w 2240198"/>
                <a:gd name="connsiteY9824" fmla="*/ 393566 h 1729012"/>
                <a:gd name="connsiteX9825" fmla="*/ 561669 w 2240198"/>
                <a:gd name="connsiteY9825" fmla="*/ 394575 h 1729012"/>
                <a:gd name="connsiteX9826" fmla="*/ 559024 w 2240198"/>
                <a:gd name="connsiteY9826" fmla="*/ 399285 h 1729012"/>
                <a:gd name="connsiteX9827" fmla="*/ 558048 w 2240198"/>
                <a:gd name="connsiteY9827" fmla="*/ 400475 h 1729012"/>
                <a:gd name="connsiteX9828" fmla="*/ 555847 w 2240198"/>
                <a:gd name="connsiteY9828" fmla="*/ 401560 h 1729012"/>
                <a:gd name="connsiteX9829" fmla="*/ 553628 w 2240198"/>
                <a:gd name="connsiteY9829" fmla="*/ 401432 h 1729012"/>
                <a:gd name="connsiteX9830" fmla="*/ 551574 w 2240198"/>
                <a:gd name="connsiteY9830" fmla="*/ 399714 h 1729012"/>
                <a:gd name="connsiteX9831" fmla="*/ 548565 w 2240198"/>
                <a:gd name="connsiteY9831" fmla="*/ 396459 h 1729012"/>
                <a:gd name="connsiteX9832" fmla="*/ 546539 w 2240198"/>
                <a:gd name="connsiteY9832" fmla="*/ 393655 h 1729012"/>
                <a:gd name="connsiteX9833" fmla="*/ 545499 w 2240198"/>
                <a:gd name="connsiteY9833" fmla="*/ 391303 h 1729012"/>
                <a:gd name="connsiteX9834" fmla="*/ 544614 w 2240198"/>
                <a:gd name="connsiteY9834" fmla="*/ 390256 h 1729012"/>
                <a:gd name="connsiteX9835" fmla="*/ 543178 w 2240198"/>
                <a:gd name="connsiteY9835" fmla="*/ 390978 h 1729012"/>
                <a:gd name="connsiteX9836" fmla="*/ 541440 w 2240198"/>
                <a:gd name="connsiteY9836" fmla="*/ 393420 h 1729012"/>
                <a:gd name="connsiteX9837" fmla="*/ 541393 w 2240198"/>
                <a:gd name="connsiteY9837" fmla="*/ 395314 h 1729012"/>
                <a:gd name="connsiteX9838" fmla="*/ 541771 w 2240198"/>
                <a:gd name="connsiteY9838" fmla="*/ 398125 h 1729012"/>
                <a:gd name="connsiteX9839" fmla="*/ 541675 w 2240198"/>
                <a:gd name="connsiteY9839" fmla="*/ 399858 h 1729012"/>
                <a:gd name="connsiteX9840" fmla="*/ 539140 w 2240198"/>
                <a:gd name="connsiteY9840" fmla="*/ 401891 h 1729012"/>
                <a:gd name="connsiteX9841" fmla="*/ 539505 w 2240198"/>
                <a:gd name="connsiteY9841" fmla="*/ 402817 h 1729012"/>
                <a:gd name="connsiteX9842" fmla="*/ 543956 w 2240198"/>
                <a:gd name="connsiteY9842" fmla="*/ 405312 h 1729012"/>
                <a:gd name="connsiteX9843" fmla="*/ 544527 w 2240198"/>
                <a:gd name="connsiteY9843" fmla="*/ 406430 h 1729012"/>
                <a:gd name="connsiteX9844" fmla="*/ 544553 w 2240198"/>
                <a:gd name="connsiteY9844" fmla="*/ 408163 h 1729012"/>
                <a:gd name="connsiteX9845" fmla="*/ 544259 w 2240198"/>
                <a:gd name="connsiteY9845" fmla="*/ 408945 h 1729012"/>
                <a:gd name="connsiteX9846" fmla="*/ 542479 w 2240198"/>
                <a:gd name="connsiteY9846" fmla="*/ 408820 h 1729012"/>
                <a:gd name="connsiteX9847" fmla="*/ 540978 w 2240198"/>
                <a:gd name="connsiteY9847" fmla="*/ 410823 h 1729012"/>
                <a:gd name="connsiteX9848" fmla="*/ 539262 w 2240198"/>
                <a:gd name="connsiteY9848" fmla="*/ 412409 h 1729012"/>
                <a:gd name="connsiteX9849" fmla="*/ 534747 w 2240198"/>
                <a:gd name="connsiteY9849" fmla="*/ 415342 h 1729012"/>
                <a:gd name="connsiteX9850" fmla="*/ 528467 w 2240198"/>
                <a:gd name="connsiteY9850" fmla="*/ 415699 h 1729012"/>
                <a:gd name="connsiteX9851" fmla="*/ 523273 w 2240198"/>
                <a:gd name="connsiteY9851" fmla="*/ 417107 h 1729012"/>
                <a:gd name="connsiteX9852" fmla="*/ 522169 w 2240198"/>
                <a:gd name="connsiteY9852" fmla="*/ 417061 h 1729012"/>
                <a:gd name="connsiteX9853" fmla="*/ 520917 w 2240198"/>
                <a:gd name="connsiteY9853" fmla="*/ 414756 h 1729012"/>
                <a:gd name="connsiteX9854" fmla="*/ 519509 w 2240198"/>
                <a:gd name="connsiteY9854" fmla="*/ 410182 h 1729012"/>
                <a:gd name="connsiteX9855" fmla="*/ 518256 w 2240198"/>
                <a:gd name="connsiteY9855" fmla="*/ 407579 h 1729012"/>
                <a:gd name="connsiteX9856" fmla="*/ 516382 w 2240198"/>
                <a:gd name="connsiteY9856" fmla="*/ 406249 h 1729012"/>
                <a:gd name="connsiteX9857" fmla="*/ 514061 w 2240198"/>
                <a:gd name="connsiteY9857" fmla="*/ 401038 h 1729012"/>
                <a:gd name="connsiteX9858" fmla="*/ 512973 w 2240198"/>
                <a:gd name="connsiteY9858" fmla="*/ 399357 h 1729012"/>
                <a:gd name="connsiteX9859" fmla="*/ 511913 w 2240198"/>
                <a:gd name="connsiteY9859" fmla="*/ 398678 h 1729012"/>
                <a:gd name="connsiteX9860" fmla="*/ 511026 w 2240198"/>
                <a:gd name="connsiteY9860" fmla="*/ 398503 h 1729012"/>
                <a:gd name="connsiteX9861" fmla="*/ 509715 w 2240198"/>
                <a:gd name="connsiteY9861" fmla="*/ 399507 h 1729012"/>
                <a:gd name="connsiteX9862" fmla="*/ 506692 w 2240198"/>
                <a:gd name="connsiteY9862" fmla="*/ 406964 h 1729012"/>
                <a:gd name="connsiteX9863" fmla="*/ 501768 w 2240198"/>
                <a:gd name="connsiteY9863" fmla="*/ 408865 h 1729012"/>
                <a:gd name="connsiteX9864" fmla="*/ 499063 w 2240198"/>
                <a:gd name="connsiteY9864" fmla="*/ 409213 h 1729012"/>
                <a:gd name="connsiteX9865" fmla="*/ 496329 w 2240198"/>
                <a:gd name="connsiteY9865" fmla="*/ 409000 h 1729012"/>
                <a:gd name="connsiteX9866" fmla="*/ 489571 w 2240198"/>
                <a:gd name="connsiteY9866" fmla="*/ 406962 h 1729012"/>
                <a:gd name="connsiteX9867" fmla="*/ 484152 w 2240198"/>
                <a:gd name="connsiteY9867" fmla="*/ 406211 h 1729012"/>
                <a:gd name="connsiteX9868" fmla="*/ 480369 w 2240198"/>
                <a:gd name="connsiteY9868" fmla="*/ 407072 h 1729012"/>
                <a:gd name="connsiteX9869" fmla="*/ 474148 w 2240198"/>
                <a:gd name="connsiteY9869" fmla="*/ 410106 h 1729012"/>
                <a:gd name="connsiteX9870" fmla="*/ 471670 w 2240198"/>
                <a:gd name="connsiteY9870" fmla="*/ 410915 h 1729012"/>
                <a:gd name="connsiteX9871" fmla="*/ 468308 w 2240198"/>
                <a:gd name="connsiteY9871" fmla="*/ 410567 h 1729012"/>
                <a:gd name="connsiteX9872" fmla="*/ 466837 w 2240198"/>
                <a:gd name="connsiteY9872" fmla="*/ 409421 h 1729012"/>
                <a:gd name="connsiteX9873" fmla="*/ 465585 w 2240198"/>
                <a:gd name="connsiteY9873" fmla="*/ 407546 h 1729012"/>
                <a:gd name="connsiteX9874" fmla="*/ 465446 w 2240198"/>
                <a:gd name="connsiteY9874" fmla="*/ 406406 h 1729012"/>
                <a:gd name="connsiteX9875" fmla="*/ 466424 w 2240198"/>
                <a:gd name="connsiteY9875" fmla="*/ 406008 h 1729012"/>
                <a:gd name="connsiteX9876" fmla="*/ 467974 w 2240198"/>
                <a:gd name="connsiteY9876" fmla="*/ 403829 h 1729012"/>
                <a:gd name="connsiteX9877" fmla="*/ 467925 w 2240198"/>
                <a:gd name="connsiteY9877" fmla="*/ 402954 h 1729012"/>
                <a:gd name="connsiteX9878" fmla="*/ 466392 w 2240198"/>
                <a:gd name="connsiteY9878" fmla="*/ 401697 h 1729012"/>
                <a:gd name="connsiteX9879" fmla="*/ 466371 w 2240198"/>
                <a:gd name="connsiteY9879" fmla="*/ 400715 h 1729012"/>
                <a:gd name="connsiteX9880" fmla="*/ 466918 w 2240198"/>
                <a:gd name="connsiteY9880" fmla="*/ 400052 h 1729012"/>
                <a:gd name="connsiteX9881" fmla="*/ 466796 w 2240198"/>
                <a:gd name="connsiteY9881" fmla="*/ 399578 h 1729012"/>
                <a:gd name="connsiteX9882" fmla="*/ 466004 w 2240198"/>
                <a:gd name="connsiteY9882" fmla="*/ 399295 h 1729012"/>
                <a:gd name="connsiteX9883" fmla="*/ 464464 w 2240198"/>
                <a:gd name="connsiteY9883" fmla="*/ 399560 h 1729012"/>
                <a:gd name="connsiteX9884" fmla="*/ 458934 w 2240198"/>
                <a:gd name="connsiteY9884" fmla="*/ 401005 h 1729012"/>
                <a:gd name="connsiteX9885" fmla="*/ 459555 w 2240198"/>
                <a:gd name="connsiteY9885" fmla="*/ 399435 h 1729012"/>
                <a:gd name="connsiteX9886" fmla="*/ 462198 w 2240198"/>
                <a:gd name="connsiteY9886" fmla="*/ 396151 h 1729012"/>
                <a:gd name="connsiteX9887" fmla="*/ 468656 w 2240198"/>
                <a:gd name="connsiteY9887" fmla="*/ 389581 h 1729012"/>
                <a:gd name="connsiteX9888" fmla="*/ 471098 w 2240198"/>
                <a:gd name="connsiteY9888" fmla="*/ 387644 h 1729012"/>
                <a:gd name="connsiteX9889" fmla="*/ 472560 w 2240198"/>
                <a:gd name="connsiteY9889" fmla="*/ 387059 h 1729012"/>
                <a:gd name="connsiteX9890" fmla="*/ 491619 w 2240198"/>
                <a:gd name="connsiteY9890" fmla="*/ 384946 h 1729012"/>
                <a:gd name="connsiteX9891" fmla="*/ 492953 w 2240198"/>
                <a:gd name="connsiteY9891" fmla="*/ 384314 h 1729012"/>
                <a:gd name="connsiteX9892" fmla="*/ 502011 w 2240198"/>
                <a:gd name="connsiteY9892" fmla="*/ 375427 h 1729012"/>
                <a:gd name="connsiteX9893" fmla="*/ 504595 w 2240198"/>
                <a:gd name="connsiteY9893" fmla="*/ 373389 h 1729012"/>
                <a:gd name="connsiteX9894" fmla="*/ 507243 w 2240198"/>
                <a:gd name="connsiteY9894" fmla="*/ 371766 h 1729012"/>
                <a:gd name="connsiteX9895" fmla="*/ 520231 w 2240198"/>
                <a:gd name="connsiteY9895" fmla="*/ 366376 h 1729012"/>
                <a:gd name="connsiteX9896" fmla="*/ 521441 w 2240198"/>
                <a:gd name="connsiteY9896" fmla="*/ 365143 h 1729012"/>
                <a:gd name="connsiteX9897" fmla="*/ 523469 w 2240198"/>
                <a:gd name="connsiteY9897" fmla="*/ 361402 h 1729012"/>
                <a:gd name="connsiteX9898" fmla="*/ 524653 w 2240198"/>
                <a:gd name="connsiteY9898" fmla="*/ 360462 h 1729012"/>
                <a:gd name="connsiteX9899" fmla="*/ 527458 w 2240198"/>
                <a:gd name="connsiteY9899" fmla="*/ 359038 h 1729012"/>
                <a:gd name="connsiteX9900" fmla="*/ 536819 w 2240198"/>
                <a:gd name="connsiteY9900" fmla="*/ 351439 h 1729012"/>
                <a:gd name="connsiteX9901" fmla="*/ 545347 w 2240198"/>
                <a:gd name="connsiteY9901" fmla="*/ 345929 h 1729012"/>
                <a:gd name="connsiteX9902" fmla="*/ 549679 w 2240198"/>
                <a:gd name="connsiteY9902" fmla="*/ 342510 h 1729012"/>
                <a:gd name="connsiteX9903" fmla="*/ 555608 w 2240198"/>
                <a:gd name="connsiteY9903" fmla="*/ 339053 h 1729012"/>
                <a:gd name="connsiteX9904" fmla="*/ 562458 w 2240198"/>
                <a:gd name="connsiteY9904" fmla="*/ 337567 h 1729012"/>
                <a:gd name="connsiteX9905" fmla="*/ 583119 w 2240198"/>
                <a:gd name="connsiteY9905" fmla="*/ 334958 h 1729012"/>
                <a:gd name="connsiteX9906" fmla="*/ 597993 w 2240198"/>
                <a:gd name="connsiteY9906" fmla="*/ 338391 h 1729012"/>
                <a:gd name="connsiteX9907" fmla="*/ 601530 w 2240198"/>
                <a:gd name="connsiteY9907" fmla="*/ 338607 h 1729012"/>
                <a:gd name="connsiteX9908" fmla="*/ 603262 w 2240198"/>
                <a:gd name="connsiteY9908" fmla="*/ 337636 h 1729012"/>
                <a:gd name="connsiteX9909" fmla="*/ 604829 w 2240198"/>
                <a:gd name="connsiteY9909" fmla="*/ 336054 h 1729012"/>
                <a:gd name="connsiteX9910" fmla="*/ 607051 w 2240198"/>
                <a:gd name="connsiteY9910" fmla="*/ 336718 h 1729012"/>
                <a:gd name="connsiteX9911" fmla="*/ 612573 w 2240198"/>
                <a:gd name="connsiteY9911" fmla="*/ 337199 h 1729012"/>
                <a:gd name="connsiteX9912" fmla="*/ 613797 w 2240198"/>
                <a:gd name="connsiteY9912" fmla="*/ 336821 h 1729012"/>
                <a:gd name="connsiteX9913" fmla="*/ 616122 w 2240198"/>
                <a:gd name="connsiteY9913" fmla="*/ 335027 h 1729012"/>
                <a:gd name="connsiteX9914" fmla="*/ 614533 w 2240198"/>
                <a:gd name="connsiteY9914" fmla="*/ 334041 h 1729012"/>
                <a:gd name="connsiteX9915" fmla="*/ 607851 w 2240198"/>
                <a:gd name="connsiteY9915" fmla="*/ 332228 h 1729012"/>
                <a:gd name="connsiteX9916" fmla="*/ 607446 w 2240198"/>
                <a:gd name="connsiteY9916" fmla="*/ 331306 h 1729012"/>
                <a:gd name="connsiteX9917" fmla="*/ 607599 w 2240198"/>
                <a:gd name="connsiteY9917" fmla="*/ 330434 h 1729012"/>
                <a:gd name="connsiteX9918" fmla="*/ 609946 w 2240198"/>
                <a:gd name="connsiteY9918" fmla="*/ 328343 h 1729012"/>
                <a:gd name="connsiteX9919" fmla="*/ 612783 w 2240198"/>
                <a:gd name="connsiteY9919" fmla="*/ 326993 h 1729012"/>
                <a:gd name="connsiteX9920" fmla="*/ 1271865 w 2240198"/>
                <a:gd name="connsiteY9920" fmla="*/ 320164 h 1729012"/>
                <a:gd name="connsiteX9921" fmla="*/ 1276119 w 2240198"/>
                <a:gd name="connsiteY9921" fmla="*/ 320508 h 1729012"/>
                <a:gd name="connsiteX9922" fmla="*/ 1282510 w 2240198"/>
                <a:gd name="connsiteY9922" fmla="*/ 321607 h 1729012"/>
                <a:gd name="connsiteX9923" fmla="*/ 1288871 w 2240198"/>
                <a:gd name="connsiteY9923" fmla="*/ 323431 h 1729012"/>
                <a:gd name="connsiteX9924" fmla="*/ 1297313 w 2240198"/>
                <a:gd name="connsiteY9924" fmla="*/ 329016 h 1729012"/>
                <a:gd name="connsiteX9925" fmla="*/ 1300343 w 2240198"/>
                <a:gd name="connsiteY9925" fmla="*/ 331674 h 1729012"/>
                <a:gd name="connsiteX9926" fmla="*/ 1300984 w 2240198"/>
                <a:gd name="connsiteY9926" fmla="*/ 335123 h 1729012"/>
                <a:gd name="connsiteX9927" fmla="*/ 1300974 w 2240198"/>
                <a:gd name="connsiteY9927" fmla="*/ 337231 h 1729012"/>
                <a:gd name="connsiteX9928" fmla="*/ 1300532 w 2240198"/>
                <a:gd name="connsiteY9928" fmla="*/ 338766 h 1729012"/>
                <a:gd name="connsiteX9929" fmla="*/ 1299653 w 2240198"/>
                <a:gd name="connsiteY9929" fmla="*/ 339724 h 1729012"/>
                <a:gd name="connsiteX9930" fmla="*/ 1297458 w 2240198"/>
                <a:gd name="connsiteY9930" fmla="*/ 341064 h 1729012"/>
                <a:gd name="connsiteX9931" fmla="*/ 1290829 w 2240198"/>
                <a:gd name="connsiteY9931" fmla="*/ 344134 h 1729012"/>
                <a:gd name="connsiteX9932" fmla="*/ 1287441 w 2240198"/>
                <a:gd name="connsiteY9932" fmla="*/ 344024 h 1729012"/>
                <a:gd name="connsiteX9933" fmla="*/ 1268046 w 2240198"/>
                <a:gd name="connsiteY9933" fmla="*/ 337740 h 1729012"/>
                <a:gd name="connsiteX9934" fmla="*/ 1264140 w 2240198"/>
                <a:gd name="connsiteY9934" fmla="*/ 334629 h 1729012"/>
                <a:gd name="connsiteX9935" fmla="*/ 1263396 w 2240198"/>
                <a:gd name="connsiteY9935" fmla="*/ 332530 h 1729012"/>
                <a:gd name="connsiteX9936" fmla="*/ 1263181 w 2240198"/>
                <a:gd name="connsiteY9936" fmla="*/ 329548 h 1729012"/>
                <a:gd name="connsiteX9937" fmla="*/ 1263242 w 2240198"/>
                <a:gd name="connsiteY9937" fmla="*/ 325461 h 1729012"/>
                <a:gd name="connsiteX9938" fmla="*/ 1264084 w 2240198"/>
                <a:gd name="connsiteY9938" fmla="*/ 322707 h 1729012"/>
                <a:gd name="connsiteX9939" fmla="*/ 1265107 w 2240198"/>
                <a:gd name="connsiteY9939" fmla="*/ 321749 h 1729012"/>
                <a:gd name="connsiteX9940" fmla="*/ 1267391 w 2240198"/>
                <a:gd name="connsiteY9940" fmla="*/ 320765 h 1729012"/>
                <a:gd name="connsiteX9941" fmla="*/ 891002 w 2240198"/>
                <a:gd name="connsiteY9941" fmla="*/ 314765 h 1729012"/>
                <a:gd name="connsiteX9942" fmla="*/ 897977 w 2240198"/>
                <a:gd name="connsiteY9942" fmla="*/ 315766 h 1729012"/>
                <a:gd name="connsiteX9943" fmla="*/ 901319 w 2240198"/>
                <a:gd name="connsiteY9943" fmla="*/ 317670 h 1729012"/>
                <a:gd name="connsiteX9944" fmla="*/ 905540 w 2240198"/>
                <a:gd name="connsiteY9944" fmla="*/ 320862 h 1729012"/>
                <a:gd name="connsiteX9945" fmla="*/ 911011 w 2240198"/>
                <a:gd name="connsiteY9945" fmla="*/ 325941 h 1729012"/>
                <a:gd name="connsiteX9946" fmla="*/ 912701 w 2240198"/>
                <a:gd name="connsiteY9946" fmla="*/ 328187 h 1729012"/>
                <a:gd name="connsiteX9947" fmla="*/ 913029 w 2240198"/>
                <a:gd name="connsiteY9947" fmla="*/ 331269 h 1729012"/>
                <a:gd name="connsiteX9948" fmla="*/ 914016 w 2240198"/>
                <a:gd name="connsiteY9948" fmla="*/ 332937 h 1729012"/>
                <a:gd name="connsiteX9949" fmla="*/ 918710 w 2240198"/>
                <a:gd name="connsiteY9949" fmla="*/ 333232 h 1729012"/>
                <a:gd name="connsiteX9950" fmla="*/ 924491 w 2240198"/>
                <a:gd name="connsiteY9950" fmla="*/ 337296 h 1729012"/>
                <a:gd name="connsiteX9951" fmla="*/ 925542 w 2240198"/>
                <a:gd name="connsiteY9951" fmla="*/ 338866 h 1729012"/>
                <a:gd name="connsiteX9952" fmla="*/ 926736 w 2240198"/>
                <a:gd name="connsiteY9952" fmla="*/ 342057 h 1729012"/>
                <a:gd name="connsiteX9953" fmla="*/ 926653 w 2240198"/>
                <a:gd name="connsiteY9953" fmla="*/ 343575 h 1729012"/>
                <a:gd name="connsiteX9954" fmla="*/ 925730 w 2240198"/>
                <a:gd name="connsiteY9954" fmla="*/ 346707 h 1729012"/>
                <a:gd name="connsiteX9955" fmla="*/ 924087 w 2240198"/>
                <a:gd name="connsiteY9955" fmla="*/ 347810 h 1729012"/>
                <a:gd name="connsiteX9956" fmla="*/ 920202 w 2240198"/>
                <a:gd name="connsiteY9956" fmla="*/ 348761 h 1729012"/>
                <a:gd name="connsiteX9957" fmla="*/ 912489 w 2240198"/>
                <a:gd name="connsiteY9957" fmla="*/ 346588 h 1729012"/>
                <a:gd name="connsiteX9958" fmla="*/ 907430 w 2240198"/>
                <a:gd name="connsiteY9958" fmla="*/ 345651 h 1729012"/>
                <a:gd name="connsiteX9959" fmla="*/ 903250 w 2240198"/>
                <a:gd name="connsiteY9959" fmla="*/ 341782 h 1729012"/>
                <a:gd name="connsiteX9960" fmla="*/ 898776 w 2240198"/>
                <a:gd name="connsiteY9960" fmla="*/ 336496 h 1729012"/>
                <a:gd name="connsiteX9961" fmla="*/ 895258 w 2240198"/>
                <a:gd name="connsiteY9961" fmla="*/ 330636 h 1729012"/>
                <a:gd name="connsiteX9962" fmla="*/ 893937 w 2240198"/>
                <a:gd name="connsiteY9962" fmla="*/ 327180 h 1729012"/>
                <a:gd name="connsiteX9963" fmla="*/ 891378 w 2240198"/>
                <a:gd name="connsiteY9963" fmla="*/ 325122 h 1729012"/>
                <a:gd name="connsiteX9964" fmla="*/ 890490 w 2240198"/>
                <a:gd name="connsiteY9964" fmla="*/ 321707 h 1729012"/>
                <a:gd name="connsiteX9965" fmla="*/ 885851 w 2240198"/>
                <a:gd name="connsiteY9965" fmla="*/ 316342 h 1729012"/>
                <a:gd name="connsiteX9966" fmla="*/ 886625 w 2240198"/>
                <a:gd name="connsiteY9966" fmla="*/ 315556 h 1729012"/>
                <a:gd name="connsiteX9967" fmla="*/ 1154166 w 2240198"/>
                <a:gd name="connsiteY9967" fmla="*/ 312719 h 1729012"/>
                <a:gd name="connsiteX9968" fmla="*/ 1160538 w 2240198"/>
                <a:gd name="connsiteY9968" fmla="*/ 314797 h 1729012"/>
                <a:gd name="connsiteX9969" fmla="*/ 1167465 w 2240198"/>
                <a:gd name="connsiteY9969" fmla="*/ 313695 h 1729012"/>
                <a:gd name="connsiteX9970" fmla="*/ 1174896 w 2240198"/>
                <a:gd name="connsiteY9970" fmla="*/ 313578 h 1729012"/>
                <a:gd name="connsiteX9971" fmla="*/ 1191431 w 2240198"/>
                <a:gd name="connsiteY9971" fmla="*/ 314464 h 1729012"/>
                <a:gd name="connsiteX9972" fmla="*/ 1202381 w 2240198"/>
                <a:gd name="connsiteY9972" fmla="*/ 313875 h 1729012"/>
                <a:gd name="connsiteX9973" fmla="*/ 1205216 w 2240198"/>
                <a:gd name="connsiteY9973" fmla="*/ 314226 h 1729012"/>
                <a:gd name="connsiteX9974" fmla="*/ 1209529 w 2240198"/>
                <a:gd name="connsiteY9974" fmla="*/ 315558 h 1729012"/>
                <a:gd name="connsiteX9975" fmla="*/ 1211817 w 2240198"/>
                <a:gd name="connsiteY9975" fmla="*/ 317166 h 1729012"/>
                <a:gd name="connsiteX9976" fmla="*/ 1213898 w 2240198"/>
                <a:gd name="connsiteY9976" fmla="*/ 319883 h 1729012"/>
                <a:gd name="connsiteX9977" fmla="*/ 1208561 w 2240198"/>
                <a:gd name="connsiteY9977" fmla="*/ 321535 h 1729012"/>
                <a:gd name="connsiteX9978" fmla="*/ 1203986 w 2240198"/>
                <a:gd name="connsiteY9978" fmla="*/ 329933 h 1729012"/>
                <a:gd name="connsiteX9979" fmla="*/ 1203368 w 2240198"/>
                <a:gd name="connsiteY9979" fmla="*/ 330351 h 1729012"/>
                <a:gd name="connsiteX9980" fmla="*/ 1198393 w 2240198"/>
                <a:gd name="connsiteY9980" fmla="*/ 330465 h 1729012"/>
                <a:gd name="connsiteX9981" fmla="*/ 1195958 w 2240198"/>
                <a:gd name="connsiteY9981" fmla="*/ 331129 h 1729012"/>
                <a:gd name="connsiteX9982" fmla="*/ 1181434 w 2240198"/>
                <a:gd name="connsiteY9982" fmla="*/ 329943 h 1729012"/>
                <a:gd name="connsiteX9983" fmla="*/ 1141420 w 2240198"/>
                <a:gd name="connsiteY9983" fmla="*/ 329408 h 1729012"/>
                <a:gd name="connsiteX9984" fmla="*/ 1139669 w 2240198"/>
                <a:gd name="connsiteY9984" fmla="*/ 328364 h 1729012"/>
                <a:gd name="connsiteX9985" fmla="*/ 1134401 w 2240198"/>
                <a:gd name="connsiteY9985" fmla="*/ 323439 h 1729012"/>
                <a:gd name="connsiteX9986" fmla="*/ 1134078 w 2240198"/>
                <a:gd name="connsiteY9986" fmla="*/ 321487 h 1729012"/>
                <a:gd name="connsiteX9987" fmla="*/ 1135027 w 2240198"/>
                <a:gd name="connsiteY9987" fmla="*/ 319210 h 1729012"/>
                <a:gd name="connsiteX9988" fmla="*/ 1136158 w 2240198"/>
                <a:gd name="connsiteY9988" fmla="*/ 317691 h 1729012"/>
                <a:gd name="connsiteX9989" fmla="*/ 1137466 w 2240198"/>
                <a:gd name="connsiteY9989" fmla="*/ 316940 h 1729012"/>
                <a:gd name="connsiteX9990" fmla="*/ 1149106 w 2240198"/>
                <a:gd name="connsiteY9990" fmla="*/ 313248 h 1729012"/>
                <a:gd name="connsiteX9991" fmla="*/ 991036 w 2240198"/>
                <a:gd name="connsiteY9991" fmla="*/ 306854 h 1729012"/>
                <a:gd name="connsiteX9992" fmla="*/ 998096 w 2240198"/>
                <a:gd name="connsiteY9992" fmla="*/ 307265 h 1729012"/>
                <a:gd name="connsiteX9993" fmla="*/ 1006144 w 2240198"/>
                <a:gd name="connsiteY9993" fmla="*/ 309334 h 1729012"/>
                <a:gd name="connsiteX9994" fmla="*/ 1009409 w 2240198"/>
                <a:gd name="connsiteY9994" fmla="*/ 310661 h 1729012"/>
                <a:gd name="connsiteX9995" fmla="*/ 1011073 w 2240198"/>
                <a:gd name="connsiteY9995" fmla="*/ 311598 h 1729012"/>
                <a:gd name="connsiteX9996" fmla="*/ 1013136 w 2240198"/>
                <a:gd name="connsiteY9996" fmla="*/ 313490 h 1729012"/>
                <a:gd name="connsiteX9997" fmla="*/ 1013813 w 2240198"/>
                <a:gd name="connsiteY9997" fmla="*/ 314327 h 1729012"/>
                <a:gd name="connsiteX9998" fmla="*/ 1014257 w 2240198"/>
                <a:gd name="connsiteY9998" fmla="*/ 315813 h 1729012"/>
                <a:gd name="connsiteX9999" fmla="*/ 1004226 w 2240198"/>
                <a:gd name="connsiteY9999" fmla="*/ 316142 h 1729012"/>
                <a:gd name="connsiteX10000" fmla="*/ 999487 w 2240198"/>
                <a:gd name="connsiteY10000" fmla="*/ 316726 h 1729012"/>
                <a:gd name="connsiteX10001" fmla="*/ 996723 w 2240198"/>
                <a:gd name="connsiteY10001" fmla="*/ 317906 h 1729012"/>
                <a:gd name="connsiteX10002" fmla="*/ 993237 w 2240198"/>
                <a:gd name="connsiteY10002" fmla="*/ 318407 h 1729012"/>
                <a:gd name="connsiteX10003" fmla="*/ 986928 w 2240198"/>
                <a:gd name="connsiteY10003" fmla="*/ 318144 h 1729012"/>
                <a:gd name="connsiteX10004" fmla="*/ 979372 w 2240198"/>
                <a:gd name="connsiteY10004" fmla="*/ 316193 h 1729012"/>
                <a:gd name="connsiteX10005" fmla="*/ 977334 w 2240198"/>
                <a:gd name="connsiteY10005" fmla="*/ 313907 h 1729012"/>
                <a:gd name="connsiteX10006" fmla="*/ 976907 w 2240198"/>
                <a:gd name="connsiteY10006" fmla="*/ 310287 h 1729012"/>
                <a:gd name="connsiteX10007" fmla="*/ 976996 w 2240198"/>
                <a:gd name="connsiteY10007" fmla="*/ 308279 h 1729012"/>
                <a:gd name="connsiteX10008" fmla="*/ 977601 w 2240198"/>
                <a:gd name="connsiteY10008" fmla="*/ 307891 h 1729012"/>
                <a:gd name="connsiteX10009" fmla="*/ 982279 w 2240198"/>
                <a:gd name="connsiteY10009" fmla="*/ 307414 h 1729012"/>
                <a:gd name="connsiteX10010" fmla="*/ 676299 w 2240198"/>
                <a:gd name="connsiteY10010" fmla="*/ 297118 h 1729012"/>
                <a:gd name="connsiteX10011" fmla="*/ 677149 w 2240198"/>
                <a:gd name="connsiteY10011" fmla="*/ 297906 h 1729012"/>
                <a:gd name="connsiteX10012" fmla="*/ 676997 w 2240198"/>
                <a:gd name="connsiteY10012" fmla="*/ 299575 h 1729012"/>
                <a:gd name="connsiteX10013" fmla="*/ 677581 w 2240198"/>
                <a:gd name="connsiteY10013" fmla="*/ 301132 h 1729012"/>
                <a:gd name="connsiteX10014" fmla="*/ 680088 w 2240198"/>
                <a:gd name="connsiteY10014" fmla="*/ 301463 h 1729012"/>
                <a:gd name="connsiteX10015" fmla="*/ 682465 w 2240198"/>
                <a:gd name="connsiteY10015" fmla="*/ 302574 h 1729012"/>
                <a:gd name="connsiteX10016" fmla="*/ 687269 w 2240198"/>
                <a:gd name="connsiteY10016" fmla="*/ 305982 h 1729012"/>
                <a:gd name="connsiteX10017" fmla="*/ 690559 w 2240198"/>
                <a:gd name="connsiteY10017" fmla="*/ 306638 h 1729012"/>
                <a:gd name="connsiteX10018" fmla="*/ 691741 w 2240198"/>
                <a:gd name="connsiteY10018" fmla="*/ 307383 h 1729012"/>
                <a:gd name="connsiteX10019" fmla="*/ 692367 w 2240198"/>
                <a:gd name="connsiteY10019" fmla="*/ 308527 h 1729012"/>
                <a:gd name="connsiteX10020" fmla="*/ 694365 w 2240198"/>
                <a:gd name="connsiteY10020" fmla="*/ 310517 h 1729012"/>
                <a:gd name="connsiteX10021" fmla="*/ 694328 w 2240198"/>
                <a:gd name="connsiteY10021" fmla="*/ 311549 h 1729012"/>
                <a:gd name="connsiteX10022" fmla="*/ 691629 w 2240198"/>
                <a:gd name="connsiteY10022" fmla="*/ 313602 h 1729012"/>
                <a:gd name="connsiteX10023" fmla="*/ 688925 w 2240198"/>
                <a:gd name="connsiteY10023" fmla="*/ 314751 h 1729012"/>
                <a:gd name="connsiteX10024" fmla="*/ 681990 w 2240198"/>
                <a:gd name="connsiteY10024" fmla="*/ 316596 h 1729012"/>
                <a:gd name="connsiteX10025" fmla="*/ 677394 w 2240198"/>
                <a:gd name="connsiteY10025" fmla="*/ 316553 h 1729012"/>
                <a:gd name="connsiteX10026" fmla="*/ 669250 w 2240198"/>
                <a:gd name="connsiteY10026" fmla="*/ 313953 h 1729012"/>
                <a:gd name="connsiteX10027" fmla="*/ 659816 w 2240198"/>
                <a:gd name="connsiteY10027" fmla="*/ 305990 h 1729012"/>
                <a:gd name="connsiteX10028" fmla="*/ 658576 w 2240198"/>
                <a:gd name="connsiteY10028" fmla="*/ 303143 h 1729012"/>
                <a:gd name="connsiteX10029" fmla="*/ 662098 w 2240198"/>
                <a:gd name="connsiteY10029" fmla="*/ 302630 h 1729012"/>
                <a:gd name="connsiteX10030" fmla="*/ 664658 w 2240198"/>
                <a:gd name="connsiteY10030" fmla="*/ 301754 h 1729012"/>
                <a:gd name="connsiteX10031" fmla="*/ 666256 w 2240198"/>
                <a:gd name="connsiteY10031" fmla="*/ 300517 h 1729012"/>
                <a:gd name="connsiteX10032" fmla="*/ 669288 w 2240198"/>
                <a:gd name="connsiteY10032" fmla="*/ 299158 h 1729012"/>
                <a:gd name="connsiteX10033" fmla="*/ 774487 w 2240198"/>
                <a:gd name="connsiteY10033" fmla="*/ 295709 h 1729012"/>
                <a:gd name="connsiteX10034" fmla="*/ 794802 w 2240198"/>
                <a:gd name="connsiteY10034" fmla="*/ 297026 h 1729012"/>
                <a:gd name="connsiteX10035" fmla="*/ 795679 w 2240198"/>
                <a:gd name="connsiteY10035" fmla="*/ 297272 h 1729012"/>
                <a:gd name="connsiteX10036" fmla="*/ 795762 w 2240198"/>
                <a:gd name="connsiteY10036" fmla="*/ 298254 h 1729012"/>
                <a:gd name="connsiteX10037" fmla="*/ 794231 w 2240198"/>
                <a:gd name="connsiteY10037" fmla="*/ 301405 h 1729012"/>
                <a:gd name="connsiteX10038" fmla="*/ 791888 w 2240198"/>
                <a:gd name="connsiteY10038" fmla="*/ 303696 h 1729012"/>
                <a:gd name="connsiteX10039" fmla="*/ 781042 w 2240198"/>
                <a:gd name="connsiteY10039" fmla="*/ 306569 h 1729012"/>
                <a:gd name="connsiteX10040" fmla="*/ 767056 w 2240198"/>
                <a:gd name="connsiteY10040" fmla="*/ 309166 h 1729012"/>
                <a:gd name="connsiteX10041" fmla="*/ 764152 w 2240198"/>
                <a:gd name="connsiteY10041" fmla="*/ 310425 h 1729012"/>
                <a:gd name="connsiteX10042" fmla="*/ 764383 w 2240198"/>
                <a:gd name="connsiteY10042" fmla="*/ 311175 h 1729012"/>
                <a:gd name="connsiteX10043" fmla="*/ 765522 w 2240198"/>
                <a:gd name="connsiteY10043" fmla="*/ 312111 h 1729012"/>
                <a:gd name="connsiteX10044" fmla="*/ 767861 w 2240198"/>
                <a:gd name="connsiteY10044" fmla="*/ 313294 h 1729012"/>
                <a:gd name="connsiteX10045" fmla="*/ 778693 w 2240198"/>
                <a:gd name="connsiteY10045" fmla="*/ 313026 h 1729012"/>
                <a:gd name="connsiteX10046" fmla="*/ 781304 w 2240198"/>
                <a:gd name="connsiteY10046" fmla="*/ 313536 h 1729012"/>
                <a:gd name="connsiteX10047" fmla="*/ 782229 w 2240198"/>
                <a:gd name="connsiteY10047" fmla="*/ 314301 h 1729012"/>
                <a:gd name="connsiteX10048" fmla="*/ 782783 w 2240198"/>
                <a:gd name="connsiteY10048" fmla="*/ 315418 h 1729012"/>
                <a:gd name="connsiteX10049" fmla="*/ 783120 w 2240198"/>
                <a:gd name="connsiteY10049" fmla="*/ 316875 h 1729012"/>
                <a:gd name="connsiteX10050" fmla="*/ 783137 w 2240198"/>
                <a:gd name="connsiteY10050" fmla="*/ 321805 h 1729012"/>
                <a:gd name="connsiteX10051" fmla="*/ 782565 w 2240198"/>
                <a:gd name="connsiteY10051" fmla="*/ 324652 h 1729012"/>
                <a:gd name="connsiteX10052" fmla="*/ 781069 w 2240198"/>
                <a:gd name="connsiteY10052" fmla="*/ 327227 h 1729012"/>
                <a:gd name="connsiteX10053" fmla="*/ 776680 w 2240198"/>
                <a:gd name="connsiteY10053" fmla="*/ 329058 h 1729012"/>
                <a:gd name="connsiteX10054" fmla="*/ 768786 w 2240198"/>
                <a:gd name="connsiteY10054" fmla="*/ 331472 h 1729012"/>
                <a:gd name="connsiteX10055" fmla="*/ 763433 w 2240198"/>
                <a:gd name="connsiteY10055" fmla="*/ 332545 h 1729012"/>
                <a:gd name="connsiteX10056" fmla="*/ 759212 w 2240198"/>
                <a:gd name="connsiteY10056" fmla="*/ 332159 h 1729012"/>
                <a:gd name="connsiteX10057" fmla="*/ 755009 w 2240198"/>
                <a:gd name="connsiteY10057" fmla="*/ 332409 h 1729012"/>
                <a:gd name="connsiteX10058" fmla="*/ 736607 w 2240198"/>
                <a:gd name="connsiteY10058" fmla="*/ 336950 h 1729012"/>
                <a:gd name="connsiteX10059" fmla="*/ 730914 w 2240198"/>
                <a:gd name="connsiteY10059" fmla="*/ 336974 h 1729012"/>
                <a:gd name="connsiteX10060" fmla="*/ 725939 w 2240198"/>
                <a:gd name="connsiteY10060" fmla="*/ 335878 h 1729012"/>
                <a:gd name="connsiteX10061" fmla="*/ 719065 w 2240198"/>
                <a:gd name="connsiteY10061" fmla="*/ 331590 h 1729012"/>
                <a:gd name="connsiteX10062" fmla="*/ 711919 w 2240198"/>
                <a:gd name="connsiteY10062" fmla="*/ 329904 h 1729012"/>
                <a:gd name="connsiteX10063" fmla="*/ 708865 w 2240198"/>
                <a:gd name="connsiteY10063" fmla="*/ 327971 h 1729012"/>
                <a:gd name="connsiteX10064" fmla="*/ 705865 w 2240198"/>
                <a:gd name="connsiteY10064" fmla="*/ 326916 h 1729012"/>
                <a:gd name="connsiteX10065" fmla="*/ 705035 w 2240198"/>
                <a:gd name="connsiteY10065" fmla="*/ 325371 h 1729012"/>
                <a:gd name="connsiteX10066" fmla="*/ 704745 w 2240198"/>
                <a:gd name="connsiteY10066" fmla="*/ 324217 h 1729012"/>
                <a:gd name="connsiteX10067" fmla="*/ 705250 w 2240198"/>
                <a:gd name="connsiteY10067" fmla="*/ 323156 h 1729012"/>
                <a:gd name="connsiteX10068" fmla="*/ 706548 w 2240198"/>
                <a:gd name="connsiteY10068" fmla="*/ 322194 h 1729012"/>
                <a:gd name="connsiteX10069" fmla="*/ 706974 w 2240198"/>
                <a:gd name="connsiteY10069" fmla="*/ 321376 h 1729012"/>
                <a:gd name="connsiteX10070" fmla="*/ 705779 w 2240198"/>
                <a:gd name="connsiteY10070" fmla="*/ 318998 h 1729012"/>
                <a:gd name="connsiteX10071" fmla="*/ 705227 w 2240198"/>
                <a:gd name="connsiteY10071" fmla="*/ 316726 h 1729012"/>
                <a:gd name="connsiteX10072" fmla="*/ 703154 w 2240198"/>
                <a:gd name="connsiteY10072" fmla="*/ 313458 h 1729012"/>
                <a:gd name="connsiteX10073" fmla="*/ 702846 w 2240198"/>
                <a:gd name="connsiteY10073" fmla="*/ 311574 h 1729012"/>
                <a:gd name="connsiteX10074" fmla="*/ 702858 w 2240198"/>
                <a:gd name="connsiteY10074" fmla="*/ 310342 h 1729012"/>
                <a:gd name="connsiteX10075" fmla="*/ 703204 w 2240198"/>
                <a:gd name="connsiteY10075" fmla="*/ 309012 h 1729012"/>
                <a:gd name="connsiteX10076" fmla="*/ 704576 w 2240198"/>
                <a:gd name="connsiteY10076" fmla="*/ 306641 h 1729012"/>
                <a:gd name="connsiteX10077" fmla="*/ 705289 w 2240198"/>
                <a:gd name="connsiteY10077" fmla="*/ 306158 h 1729012"/>
                <a:gd name="connsiteX10078" fmla="*/ 709484 w 2240198"/>
                <a:gd name="connsiteY10078" fmla="*/ 305788 h 1729012"/>
                <a:gd name="connsiteX10079" fmla="*/ 714988 w 2240198"/>
                <a:gd name="connsiteY10079" fmla="*/ 304561 h 1729012"/>
                <a:gd name="connsiteX10080" fmla="*/ 727666 w 2240198"/>
                <a:gd name="connsiteY10080" fmla="*/ 300995 h 1729012"/>
                <a:gd name="connsiteX10081" fmla="*/ 755507 w 2240198"/>
                <a:gd name="connsiteY10081" fmla="*/ 296538 h 1729012"/>
                <a:gd name="connsiteX10082" fmla="*/ 763960 w 2240198"/>
                <a:gd name="connsiteY10082" fmla="*/ 296950 h 1729012"/>
                <a:gd name="connsiteX10083" fmla="*/ 767659 w 2240198"/>
                <a:gd name="connsiteY10083" fmla="*/ 296075 h 1729012"/>
                <a:gd name="connsiteX10084" fmla="*/ 966341 w 2240198"/>
                <a:gd name="connsiteY10084" fmla="*/ 286468 h 1729012"/>
                <a:gd name="connsiteX10085" fmla="*/ 968021 w 2240198"/>
                <a:gd name="connsiteY10085" fmla="*/ 287637 h 1729012"/>
                <a:gd name="connsiteX10086" fmla="*/ 968966 w 2240198"/>
                <a:gd name="connsiteY10086" fmla="*/ 289392 h 1729012"/>
                <a:gd name="connsiteX10087" fmla="*/ 963512 w 2240198"/>
                <a:gd name="connsiteY10087" fmla="*/ 293337 h 1729012"/>
                <a:gd name="connsiteX10088" fmla="*/ 960600 w 2240198"/>
                <a:gd name="connsiteY10088" fmla="*/ 294440 h 1729012"/>
                <a:gd name="connsiteX10089" fmla="*/ 957201 w 2240198"/>
                <a:gd name="connsiteY10089" fmla="*/ 293793 h 1729012"/>
                <a:gd name="connsiteX10090" fmla="*/ 956725 w 2240198"/>
                <a:gd name="connsiteY10090" fmla="*/ 293106 h 1729012"/>
                <a:gd name="connsiteX10091" fmla="*/ 956660 w 2240198"/>
                <a:gd name="connsiteY10091" fmla="*/ 292275 h 1729012"/>
                <a:gd name="connsiteX10092" fmla="*/ 957003 w 2240198"/>
                <a:gd name="connsiteY10092" fmla="*/ 291300 h 1729012"/>
                <a:gd name="connsiteX10093" fmla="*/ 960796 w 2240198"/>
                <a:gd name="connsiteY10093" fmla="*/ 287867 h 1729012"/>
                <a:gd name="connsiteX10094" fmla="*/ 964274 w 2240198"/>
                <a:gd name="connsiteY10094" fmla="*/ 286689 h 1729012"/>
                <a:gd name="connsiteX10095" fmla="*/ 770430 w 2240198"/>
                <a:gd name="connsiteY10095" fmla="*/ 259466 h 1729012"/>
                <a:gd name="connsiteX10096" fmla="*/ 775762 w 2240198"/>
                <a:gd name="connsiteY10096" fmla="*/ 259531 h 1729012"/>
                <a:gd name="connsiteX10097" fmla="*/ 782540 w 2240198"/>
                <a:gd name="connsiteY10097" fmla="*/ 262445 h 1729012"/>
                <a:gd name="connsiteX10098" fmla="*/ 787601 w 2240198"/>
                <a:gd name="connsiteY10098" fmla="*/ 263894 h 1729012"/>
                <a:gd name="connsiteX10099" fmla="*/ 790769 w 2240198"/>
                <a:gd name="connsiteY10099" fmla="*/ 265458 h 1729012"/>
                <a:gd name="connsiteX10100" fmla="*/ 795206 w 2240198"/>
                <a:gd name="connsiteY10100" fmla="*/ 268703 h 1729012"/>
                <a:gd name="connsiteX10101" fmla="*/ 796730 w 2240198"/>
                <a:gd name="connsiteY10101" fmla="*/ 268638 h 1729012"/>
                <a:gd name="connsiteX10102" fmla="*/ 798675 w 2240198"/>
                <a:gd name="connsiteY10102" fmla="*/ 269237 h 1729012"/>
                <a:gd name="connsiteX10103" fmla="*/ 799610 w 2240198"/>
                <a:gd name="connsiteY10103" fmla="*/ 270087 h 1729012"/>
                <a:gd name="connsiteX10104" fmla="*/ 802275 w 2240198"/>
                <a:gd name="connsiteY10104" fmla="*/ 274213 h 1729012"/>
                <a:gd name="connsiteX10105" fmla="*/ 802783 w 2240198"/>
                <a:gd name="connsiteY10105" fmla="*/ 276257 h 1729012"/>
                <a:gd name="connsiteX10106" fmla="*/ 802938 w 2240198"/>
                <a:gd name="connsiteY10106" fmla="*/ 278889 h 1729012"/>
                <a:gd name="connsiteX10107" fmla="*/ 802531 w 2240198"/>
                <a:gd name="connsiteY10107" fmla="*/ 281091 h 1729012"/>
                <a:gd name="connsiteX10108" fmla="*/ 801557 w 2240198"/>
                <a:gd name="connsiteY10108" fmla="*/ 282858 h 1729012"/>
                <a:gd name="connsiteX10109" fmla="*/ 799174 w 2240198"/>
                <a:gd name="connsiteY10109" fmla="*/ 283978 h 1729012"/>
                <a:gd name="connsiteX10110" fmla="*/ 793486 w 2240198"/>
                <a:gd name="connsiteY10110" fmla="*/ 284675 h 1729012"/>
                <a:gd name="connsiteX10111" fmla="*/ 785548 w 2240198"/>
                <a:gd name="connsiteY10111" fmla="*/ 283624 h 1729012"/>
                <a:gd name="connsiteX10112" fmla="*/ 778662 w 2240198"/>
                <a:gd name="connsiteY10112" fmla="*/ 284982 h 1729012"/>
                <a:gd name="connsiteX10113" fmla="*/ 775494 w 2240198"/>
                <a:gd name="connsiteY10113" fmla="*/ 285160 h 1729012"/>
                <a:gd name="connsiteX10114" fmla="*/ 766956 w 2240198"/>
                <a:gd name="connsiteY10114" fmla="*/ 284289 h 1729012"/>
                <a:gd name="connsiteX10115" fmla="*/ 764802 w 2240198"/>
                <a:gd name="connsiteY10115" fmla="*/ 283651 h 1729012"/>
                <a:gd name="connsiteX10116" fmla="*/ 760068 w 2240198"/>
                <a:gd name="connsiteY10116" fmla="*/ 281147 h 1729012"/>
                <a:gd name="connsiteX10117" fmla="*/ 756457 w 2240198"/>
                <a:gd name="connsiteY10117" fmla="*/ 280116 h 1729012"/>
                <a:gd name="connsiteX10118" fmla="*/ 754939 w 2240198"/>
                <a:gd name="connsiteY10118" fmla="*/ 280667 h 1729012"/>
                <a:gd name="connsiteX10119" fmla="*/ 753127 w 2240198"/>
                <a:gd name="connsiteY10119" fmla="*/ 282864 h 1729012"/>
                <a:gd name="connsiteX10120" fmla="*/ 749715 w 2240198"/>
                <a:gd name="connsiteY10120" fmla="*/ 285580 h 1729012"/>
                <a:gd name="connsiteX10121" fmla="*/ 747625 w 2240198"/>
                <a:gd name="connsiteY10121" fmla="*/ 286278 h 1729012"/>
                <a:gd name="connsiteX10122" fmla="*/ 741483 w 2240198"/>
                <a:gd name="connsiteY10122" fmla="*/ 285823 h 1729012"/>
                <a:gd name="connsiteX10123" fmla="*/ 732061 w 2240198"/>
                <a:gd name="connsiteY10123" fmla="*/ 281233 h 1729012"/>
                <a:gd name="connsiteX10124" fmla="*/ 721245 w 2240198"/>
                <a:gd name="connsiteY10124" fmla="*/ 282591 h 1729012"/>
                <a:gd name="connsiteX10125" fmla="*/ 710036 w 2240198"/>
                <a:gd name="connsiteY10125" fmla="*/ 285273 h 1729012"/>
                <a:gd name="connsiteX10126" fmla="*/ 705659 w 2240198"/>
                <a:gd name="connsiteY10126" fmla="*/ 285777 h 1729012"/>
                <a:gd name="connsiteX10127" fmla="*/ 704378 w 2240198"/>
                <a:gd name="connsiteY10127" fmla="*/ 284998 h 1729012"/>
                <a:gd name="connsiteX10128" fmla="*/ 702615 w 2240198"/>
                <a:gd name="connsiteY10128" fmla="*/ 282986 h 1729012"/>
                <a:gd name="connsiteX10129" fmla="*/ 702891 w 2240198"/>
                <a:gd name="connsiteY10129" fmla="*/ 281968 h 1729012"/>
                <a:gd name="connsiteX10130" fmla="*/ 706231 w 2240198"/>
                <a:gd name="connsiteY10130" fmla="*/ 278893 h 1729012"/>
                <a:gd name="connsiteX10131" fmla="*/ 713689 w 2240198"/>
                <a:gd name="connsiteY10131" fmla="*/ 275656 h 1729012"/>
                <a:gd name="connsiteX10132" fmla="*/ 719141 w 2240198"/>
                <a:gd name="connsiteY10132" fmla="*/ 273829 h 1729012"/>
                <a:gd name="connsiteX10133" fmla="*/ 729963 w 2240198"/>
                <a:gd name="connsiteY10133" fmla="*/ 271164 h 1729012"/>
                <a:gd name="connsiteX10134" fmla="*/ 742774 w 2240198"/>
                <a:gd name="connsiteY10134" fmla="*/ 269669 h 1729012"/>
                <a:gd name="connsiteX10135" fmla="*/ 747564 w 2240198"/>
                <a:gd name="connsiteY10135" fmla="*/ 268084 h 1729012"/>
                <a:gd name="connsiteX10136" fmla="*/ 750595 w 2240198"/>
                <a:gd name="connsiteY10136" fmla="*/ 265811 h 1729012"/>
                <a:gd name="connsiteX10137" fmla="*/ 758933 w 2240198"/>
                <a:gd name="connsiteY10137" fmla="*/ 262224 h 1729012"/>
                <a:gd name="connsiteX10138" fmla="*/ 763849 w 2240198"/>
                <a:gd name="connsiteY10138" fmla="*/ 260737 h 1729012"/>
                <a:gd name="connsiteX10139" fmla="*/ 1089291 w 2240198"/>
                <a:gd name="connsiteY10139" fmla="*/ 256815 h 1729012"/>
                <a:gd name="connsiteX10140" fmla="*/ 1100626 w 2240198"/>
                <a:gd name="connsiteY10140" fmla="*/ 257343 h 1729012"/>
                <a:gd name="connsiteX10141" fmla="*/ 1106040 w 2240198"/>
                <a:gd name="connsiteY10141" fmla="*/ 258063 h 1729012"/>
                <a:gd name="connsiteX10142" fmla="*/ 1111441 w 2240198"/>
                <a:gd name="connsiteY10142" fmla="*/ 259474 h 1729012"/>
                <a:gd name="connsiteX10143" fmla="*/ 1117363 w 2240198"/>
                <a:gd name="connsiteY10143" fmla="*/ 261562 h 1729012"/>
                <a:gd name="connsiteX10144" fmla="*/ 1126205 w 2240198"/>
                <a:gd name="connsiteY10144" fmla="*/ 263412 h 1729012"/>
                <a:gd name="connsiteX10145" fmla="*/ 1129039 w 2240198"/>
                <a:gd name="connsiteY10145" fmla="*/ 264633 h 1729012"/>
                <a:gd name="connsiteX10146" fmla="*/ 1134364 w 2240198"/>
                <a:gd name="connsiteY10146" fmla="*/ 268521 h 1729012"/>
                <a:gd name="connsiteX10147" fmla="*/ 1134939 w 2240198"/>
                <a:gd name="connsiteY10147" fmla="*/ 269753 h 1729012"/>
                <a:gd name="connsiteX10148" fmla="*/ 1134588 w 2240198"/>
                <a:gd name="connsiteY10148" fmla="*/ 270979 h 1729012"/>
                <a:gd name="connsiteX10149" fmla="*/ 1135907 w 2240198"/>
                <a:gd name="connsiteY10149" fmla="*/ 272081 h 1729012"/>
                <a:gd name="connsiteX10150" fmla="*/ 1141891 w 2240198"/>
                <a:gd name="connsiteY10150" fmla="*/ 273533 h 1729012"/>
                <a:gd name="connsiteX10151" fmla="*/ 1152220 w 2240198"/>
                <a:gd name="connsiteY10151" fmla="*/ 272897 h 1729012"/>
                <a:gd name="connsiteX10152" fmla="*/ 1155977 w 2240198"/>
                <a:gd name="connsiteY10152" fmla="*/ 273953 h 1729012"/>
                <a:gd name="connsiteX10153" fmla="*/ 1165656 w 2240198"/>
                <a:gd name="connsiteY10153" fmla="*/ 277682 h 1729012"/>
                <a:gd name="connsiteX10154" fmla="*/ 1168594 w 2240198"/>
                <a:gd name="connsiteY10154" fmla="*/ 279881 h 1729012"/>
                <a:gd name="connsiteX10155" fmla="*/ 1169295 w 2240198"/>
                <a:gd name="connsiteY10155" fmla="*/ 281542 h 1729012"/>
                <a:gd name="connsiteX10156" fmla="*/ 1169310 w 2240198"/>
                <a:gd name="connsiteY10156" fmla="*/ 282386 h 1729012"/>
                <a:gd name="connsiteX10157" fmla="*/ 1166096 w 2240198"/>
                <a:gd name="connsiteY10157" fmla="*/ 284187 h 1729012"/>
                <a:gd name="connsiteX10158" fmla="*/ 1159655 w 2240198"/>
                <a:gd name="connsiteY10158" fmla="*/ 286941 h 1729012"/>
                <a:gd name="connsiteX10159" fmla="*/ 1158099 w 2240198"/>
                <a:gd name="connsiteY10159" fmla="*/ 289012 h 1729012"/>
                <a:gd name="connsiteX10160" fmla="*/ 1163843 w 2240198"/>
                <a:gd name="connsiteY10160" fmla="*/ 291597 h 1729012"/>
                <a:gd name="connsiteX10161" fmla="*/ 1166757 w 2240198"/>
                <a:gd name="connsiteY10161" fmla="*/ 293895 h 1729012"/>
                <a:gd name="connsiteX10162" fmla="*/ 1168070 w 2240198"/>
                <a:gd name="connsiteY10162" fmla="*/ 295536 h 1729012"/>
                <a:gd name="connsiteX10163" fmla="*/ 1168115 w 2240198"/>
                <a:gd name="connsiteY10163" fmla="*/ 297223 h 1729012"/>
                <a:gd name="connsiteX10164" fmla="*/ 1164241 w 2240198"/>
                <a:gd name="connsiteY10164" fmla="*/ 301771 h 1729012"/>
                <a:gd name="connsiteX10165" fmla="*/ 1161400 w 2240198"/>
                <a:gd name="connsiteY10165" fmla="*/ 303109 h 1729012"/>
                <a:gd name="connsiteX10166" fmla="*/ 1157053 w 2240198"/>
                <a:gd name="connsiteY10166" fmla="*/ 302964 h 1729012"/>
                <a:gd name="connsiteX10167" fmla="*/ 1154997 w 2240198"/>
                <a:gd name="connsiteY10167" fmla="*/ 303378 h 1729012"/>
                <a:gd name="connsiteX10168" fmla="*/ 1149439 w 2240198"/>
                <a:gd name="connsiteY10168" fmla="*/ 305497 h 1729012"/>
                <a:gd name="connsiteX10169" fmla="*/ 1140799 w 2240198"/>
                <a:gd name="connsiteY10169" fmla="*/ 307520 h 1729012"/>
                <a:gd name="connsiteX10170" fmla="*/ 1129000 w 2240198"/>
                <a:gd name="connsiteY10170" fmla="*/ 308352 h 1729012"/>
                <a:gd name="connsiteX10171" fmla="*/ 1125801 w 2240198"/>
                <a:gd name="connsiteY10171" fmla="*/ 309597 h 1729012"/>
                <a:gd name="connsiteX10172" fmla="*/ 1119944 w 2240198"/>
                <a:gd name="connsiteY10172" fmla="*/ 311636 h 1729012"/>
                <a:gd name="connsiteX10173" fmla="*/ 1115997 w 2240198"/>
                <a:gd name="connsiteY10173" fmla="*/ 311957 h 1729012"/>
                <a:gd name="connsiteX10174" fmla="*/ 1114708 w 2240198"/>
                <a:gd name="connsiteY10174" fmla="*/ 310790 h 1729012"/>
                <a:gd name="connsiteX10175" fmla="*/ 1114117 w 2240198"/>
                <a:gd name="connsiteY10175" fmla="*/ 309065 h 1729012"/>
                <a:gd name="connsiteX10176" fmla="*/ 1114418 w 2240198"/>
                <a:gd name="connsiteY10176" fmla="*/ 307872 h 1729012"/>
                <a:gd name="connsiteX10177" fmla="*/ 1115251 w 2240198"/>
                <a:gd name="connsiteY10177" fmla="*/ 306391 h 1729012"/>
                <a:gd name="connsiteX10178" fmla="*/ 1113369 w 2240198"/>
                <a:gd name="connsiteY10178" fmla="*/ 305003 h 1729012"/>
                <a:gd name="connsiteX10179" fmla="*/ 1104917 w 2240198"/>
                <a:gd name="connsiteY10179" fmla="*/ 302337 h 1729012"/>
                <a:gd name="connsiteX10180" fmla="*/ 1099993 w 2240198"/>
                <a:gd name="connsiteY10180" fmla="*/ 298615 h 1729012"/>
                <a:gd name="connsiteX10181" fmla="*/ 1099294 w 2240198"/>
                <a:gd name="connsiteY10181" fmla="*/ 297443 h 1729012"/>
                <a:gd name="connsiteX10182" fmla="*/ 1099047 w 2240198"/>
                <a:gd name="connsiteY10182" fmla="*/ 296402 h 1729012"/>
                <a:gd name="connsiteX10183" fmla="*/ 1109990 w 2240198"/>
                <a:gd name="connsiteY10183" fmla="*/ 295709 h 1729012"/>
                <a:gd name="connsiteX10184" fmla="*/ 1114698 w 2240198"/>
                <a:gd name="connsiteY10184" fmla="*/ 294957 h 1729012"/>
                <a:gd name="connsiteX10185" fmla="*/ 1116791 w 2240198"/>
                <a:gd name="connsiteY10185" fmla="*/ 293745 h 1729012"/>
                <a:gd name="connsiteX10186" fmla="*/ 1117137 w 2240198"/>
                <a:gd name="connsiteY10186" fmla="*/ 293040 h 1729012"/>
                <a:gd name="connsiteX10187" fmla="*/ 1115042 w 2240198"/>
                <a:gd name="connsiteY10187" fmla="*/ 292733 h 1729012"/>
                <a:gd name="connsiteX10188" fmla="*/ 1107544 w 2240198"/>
                <a:gd name="connsiteY10188" fmla="*/ 290214 h 1729012"/>
                <a:gd name="connsiteX10189" fmla="*/ 1094966 w 2240198"/>
                <a:gd name="connsiteY10189" fmla="*/ 288706 h 1729012"/>
                <a:gd name="connsiteX10190" fmla="*/ 1094367 w 2240198"/>
                <a:gd name="connsiteY10190" fmla="*/ 286957 h 1729012"/>
                <a:gd name="connsiteX10191" fmla="*/ 1089123 w 2240198"/>
                <a:gd name="connsiteY10191" fmla="*/ 283451 h 1729012"/>
                <a:gd name="connsiteX10192" fmla="*/ 1088622 w 2240198"/>
                <a:gd name="connsiteY10192" fmla="*/ 280113 h 1729012"/>
                <a:gd name="connsiteX10193" fmla="*/ 1087481 w 2240198"/>
                <a:gd name="connsiteY10193" fmla="*/ 279190 h 1729012"/>
                <a:gd name="connsiteX10194" fmla="*/ 1083914 w 2240198"/>
                <a:gd name="connsiteY10194" fmla="*/ 277739 h 1729012"/>
                <a:gd name="connsiteX10195" fmla="*/ 1083388 w 2240198"/>
                <a:gd name="connsiteY10195" fmla="*/ 277260 h 1729012"/>
                <a:gd name="connsiteX10196" fmla="*/ 1082332 w 2240198"/>
                <a:gd name="connsiteY10196" fmla="*/ 275102 h 1729012"/>
                <a:gd name="connsiteX10197" fmla="*/ 1082170 w 2240198"/>
                <a:gd name="connsiteY10197" fmla="*/ 273921 h 1729012"/>
                <a:gd name="connsiteX10198" fmla="*/ 1082375 w 2240198"/>
                <a:gd name="connsiteY10198" fmla="*/ 272848 h 1729012"/>
                <a:gd name="connsiteX10199" fmla="*/ 1088849 w 2240198"/>
                <a:gd name="connsiteY10199" fmla="*/ 270578 h 1729012"/>
                <a:gd name="connsiteX10200" fmla="*/ 1087945 w 2240198"/>
                <a:gd name="connsiteY10200" fmla="*/ 269005 h 1729012"/>
                <a:gd name="connsiteX10201" fmla="*/ 1083028 w 2240198"/>
                <a:gd name="connsiteY10201" fmla="*/ 263117 h 1729012"/>
                <a:gd name="connsiteX10202" fmla="*/ 1081737 w 2240198"/>
                <a:gd name="connsiteY10202" fmla="*/ 259834 h 1729012"/>
                <a:gd name="connsiteX10203" fmla="*/ 1081944 w 2240198"/>
                <a:gd name="connsiteY10203" fmla="*/ 258587 h 1729012"/>
                <a:gd name="connsiteX10204" fmla="*/ 1085000 w 2240198"/>
                <a:gd name="connsiteY10204" fmla="*/ 256854 h 1729012"/>
                <a:gd name="connsiteX10205" fmla="*/ 945686 w 2240198"/>
                <a:gd name="connsiteY10205" fmla="*/ 225995 h 1729012"/>
                <a:gd name="connsiteX10206" fmla="*/ 952794 w 2240198"/>
                <a:gd name="connsiteY10206" fmla="*/ 228063 h 1729012"/>
                <a:gd name="connsiteX10207" fmla="*/ 958738 w 2240198"/>
                <a:gd name="connsiteY10207" fmla="*/ 229215 h 1729012"/>
                <a:gd name="connsiteX10208" fmla="*/ 965768 w 2240198"/>
                <a:gd name="connsiteY10208" fmla="*/ 232852 h 1729012"/>
                <a:gd name="connsiteX10209" fmla="*/ 972413 w 2240198"/>
                <a:gd name="connsiteY10209" fmla="*/ 240540 h 1729012"/>
                <a:gd name="connsiteX10210" fmla="*/ 972752 w 2240198"/>
                <a:gd name="connsiteY10210" fmla="*/ 241522 h 1729012"/>
                <a:gd name="connsiteX10211" fmla="*/ 972786 w 2240198"/>
                <a:gd name="connsiteY10211" fmla="*/ 242796 h 1729012"/>
                <a:gd name="connsiteX10212" fmla="*/ 972518 w 2240198"/>
                <a:gd name="connsiteY10212" fmla="*/ 244363 h 1729012"/>
                <a:gd name="connsiteX10213" fmla="*/ 971638 w 2240198"/>
                <a:gd name="connsiteY10213" fmla="*/ 246395 h 1729012"/>
                <a:gd name="connsiteX10214" fmla="*/ 970431 w 2240198"/>
                <a:gd name="connsiteY10214" fmla="*/ 247614 h 1729012"/>
                <a:gd name="connsiteX10215" fmla="*/ 973851 w 2240198"/>
                <a:gd name="connsiteY10215" fmla="*/ 249095 h 1729012"/>
                <a:gd name="connsiteX10216" fmla="*/ 974228 w 2240198"/>
                <a:gd name="connsiteY10216" fmla="*/ 249816 h 1729012"/>
                <a:gd name="connsiteX10217" fmla="*/ 973923 w 2240198"/>
                <a:gd name="connsiteY10217" fmla="*/ 251455 h 1729012"/>
                <a:gd name="connsiteX10218" fmla="*/ 974343 w 2240198"/>
                <a:gd name="connsiteY10218" fmla="*/ 252662 h 1729012"/>
                <a:gd name="connsiteX10219" fmla="*/ 976412 w 2240198"/>
                <a:gd name="connsiteY10219" fmla="*/ 251468 h 1729012"/>
                <a:gd name="connsiteX10220" fmla="*/ 978181 w 2240198"/>
                <a:gd name="connsiteY10220" fmla="*/ 249644 h 1729012"/>
                <a:gd name="connsiteX10221" fmla="*/ 978625 w 2240198"/>
                <a:gd name="connsiteY10221" fmla="*/ 248470 h 1729012"/>
                <a:gd name="connsiteX10222" fmla="*/ 978984 w 2240198"/>
                <a:gd name="connsiteY10222" fmla="*/ 245310 h 1729012"/>
                <a:gd name="connsiteX10223" fmla="*/ 984172 w 2240198"/>
                <a:gd name="connsiteY10223" fmla="*/ 243731 h 1729012"/>
                <a:gd name="connsiteX10224" fmla="*/ 989622 w 2240198"/>
                <a:gd name="connsiteY10224" fmla="*/ 241431 h 1729012"/>
                <a:gd name="connsiteX10225" fmla="*/ 992184 w 2240198"/>
                <a:gd name="connsiteY10225" fmla="*/ 240914 h 1729012"/>
                <a:gd name="connsiteX10226" fmla="*/ 996467 w 2240198"/>
                <a:gd name="connsiteY10226" fmla="*/ 241448 h 1729012"/>
                <a:gd name="connsiteX10227" fmla="*/ 1006728 w 2240198"/>
                <a:gd name="connsiteY10227" fmla="*/ 246892 h 1729012"/>
                <a:gd name="connsiteX10228" fmla="*/ 1010644 w 2240198"/>
                <a:gd name="connsiteY10228" fmla="*/ 247414 h 1729012"/>
                <a:gd name="connsiteX10229" fmla="*/ 1012066 w 2240198"/>
                <a:gd name="connsiteY10229" fmla="*/ 248053 h 1729012"/>
                <a:gd name="connsiteX10230" fmla="*/ 1013367 w 2240198"/>
                <a:gd name="connsiteY10230" fmla="*/ 249317 h 1729012"/>
                <a:gd name="connsiteX10231" fmla="*/ 1013456 w 2240198"/>
                <a:gd name="connsiteY10231" fmla="*/ 250682 h 1729012"/>
                <a:gd name="connsiteX10232" fmla="*/ 1011371 w 2240198"/>
                <a:gd name="connsiteY10232" fmla="*/ 253843 h 1729012"/>
                <a:gd name="connsiteX10233" fmla="*/ 1010570 w 2240198"/>
                <a:gd name="connsiteY10233" fmla="*/ 255765 h 1729012"/>
                <a:gd name="connsiteX10234" fmla="*/ 1011061 w 2240198"/>
                <a:gd name="connsiteY10234" fmla="*/ 257014 h 1729012"/>
                <a:gd name="connsiteX10235" fmla="*/ 1016414 w 2240198"/>
                <a:gd name="connsiteY10235" fmla="*/ 258062 h 1729012"/>
                <a:gd name="connsiteX10236" fmla="*/ 1028623 w 2240198"/>
                <a:gd name="connsiteY10236" fmla="*/ 255970 h 1729012"/>
                <a:gd name="connsiteX10237" fmla="*/ 1039292 w 2240198"/>
                <a:gd name="connsiteY10237" fmla="*/ 261095 h 1729012"/>
                <a:gd name="connsiteX10238" fmla="*/ 1045198 w 2240198"/>
                <a:gd name="connsiteY10238" fmla="*/ 267170 h 1729012"/>
                <a:gd name="connsiteX10239" fmla="*/ 1049569 w 2240198"/>
                <a:gd name="connsiteY10239" fmla="*/ 269205 h 1729012"/>
                <a:gd name="connsiteX10240" fmla="*/ 1050262 w 2240198"/>
                <a:gd name="connsiteY10240" fmla="*/ 270303 h 1729012"/>
                <a:gd name="connsiteX10241" fmla="*/ 1049020 w 2240198"/>
                <a:gd name="connsiteY10241" fmla="*/ 271338 h 1729012"/>
                <a:gd name="connsiteX10242" fmla="*/ 1047776 w 2240198"/>
                <a:gd name="connsiteY10242" fmla="*/ 274177 h 1729012"/>
                <a:gd name="connsiteX10243" fmla="*/ 1044272 w 2240198"/>
                <a:gd name="connsiteY10243" fmla="*/ 276291 h 1729012"/>
                <a:gd name="connsiteX10244" fmla="*/ 1043525 w 2240198"/>
                <a:gd name="connsiteY10244" fmla="*/ 277241 h 1729012"/>
                <a:gd name="connsiteX10245" fmla="*/ 1045393 w 2240198"/>
                <a:gd name="connsiteY10245" fmla="*/ 279745 h 1729012"/>
                <a:gd name="connsiteX10246" fmla="*/ 1045532 w 2240198"/>
                <a:gd name="connsiteY10246" fmla="*/ 281318 h 1729012"/>
                <a:gd name="connsiteX10247" fmla="*/ 1045290 w 2240198"/>
                <a:gd name="connsiteY10247" fmla="*/ 283496 h 1729012"/>
                <a:gd name="connsiteX10248" fmla="*/ 1045971 w 2240198"/>
                <a:gd name="connsiteY10248" fmla="*/ 284718 h 1729012"/>
                <a:gd name="connsiteX10249" fmla="*/ 1050761 w 2240198"/>
                <a:gd name="connsiteY10249" fmla="*/ 286021 h 1729012"/>
                <a:gd name="connsiteX10250" fmla="*/ 1061686 w 2240198"/>
                <a:gd name="connsiteY10250" fmla="*/ 294925 h 1729012"/>
                <a:gd name="connsiteX10251" fmla="*/ 1063675 w 2240198"/>
                <a:gd name="connsiteY10251" fmla="*/ 297403 h 1729012"/>
                <a:gd name="connsiteX10252" fmla="*/ 1064906 w 2240198"/>
                <a:gd name="connsiteY10252" fmla="*/ 300493 h 1729012"/>
                <a:gd name="connsiteX10253" fmla="*/ 1065033 w 2240198"/>
                <a:gd name="connsiteY10253" fmla="*/ 301538 h 1729012"/>
                <a:gd name="connsiteX10254" fmla="*/ 1063471 w 2240198"/>
                <a:gd name="connsiteY10254" fmla="*/ 303247 h 1729012"/>
                <a:gd name="connsiteX10255" fmla="*/ 1061767 w 2240198"/>
                <a:gd name="connsiteY10255" fmla="*/ 308080 h 1729012"/>
                <a:gd name="connsiteX10256" fmla="*/ 1060802 w 2240198"/>
                <a:gd name="connsiteY10256" fmla="*/ 309182 h 1729012"/>
                <a:gd name="connsiteX10257" fmla="*/ 1056368 w 2240198"/>
                <a:gd name="connsiteY10257" fmla="*/ 310124 h 1729012"/>
                <a:gd name="connsiteX10258" fmla="*/ 1048309 w 2240198"/>
                <a:gd name="connsiteY10258" fmla="*/ 310973 h 1729012"/>
                <a:gd name="connsiteX10259" fmla="*/ 1040784 w 2240198"/>
                <a:gd name="connsiteY10259" fmla="*/ 312622 h 1729012"/>
                <a:gd name="connsiteX10260" fmla="*/ 1032702 w 2240198"/>
                <a:gd name="connsiteY10260" fmla="*/ 310502 h 1729012"/>
                <a:gd name="connsiteX10261" fmla="*/ 1024806 w 2240198"/>
                <a:gd name="connsiteY10261" fmla="*/ 307280 h 1729012"/>
                <a:gd name="connsiteX10262" fmla="*/ 1022417 w 2240198"/>
                <a:gd name="connsiteY10262" fmla="*/ 305158 h 1729012"/>
                <a:gd name="connsiteX10263" fmla="*/ 1020448 w 2240198"/>
                <a:gd name="connsiteY10263" fmla="*/ 302588 h 1729012"/>
                <a:gd name="connsiteX10264" fmla="*/ 1019933 w 2240198"/>
                <a:gd name="connsiteY10264" fmla="*/ 301584 h 1729012"/>
                <a:gd name="connsiteX10265" fmla="*/ 1019139 w 2240198"/>
                <a:gd name="connsiteY10265" fmla="*/ 297443 h 1729012"/>
                <a:gd name="connsiteX10266" fmla="*/ 1018718 w 2240198"/>
                <a:gd name="connsiteY10266" fmla="*/ 296559 h 1729012"/>
                <a:gd name="connsiteX10267" fmla="*/ 1015384 w 2240198"/>
                <a:gd name="connsiteY10267" fmla="*/ 294227 h 1729012"/>
                <a:gd name="connsiteX10268" fmla="*/ 1012430 w 2240198"/>
                <a:gd name="connsiteY10268" fmla="*/ 290730 h 1729012"/>
                <a:gd name="connsiteX10269" fmla="*/ 1006753 w 2240198"/>
                <a:gd name="connsiteY10269" fmla="*/ 290426 h 1729012"/>
                <a:gd name="connsiteX10270" fmla="*/ 993277 w 2240198"/>
                <a:gd name="connsiteY10270" fmla="*/ 286861 h 1729012"/>
                <a:gd name="connsiteX10271" fmla="*/ 987509 w 2240198"/>
                <a:gd name="connsiteY10271" fmla="*/ 286010 h 1729012"/>
                <a:gd name="connsiteX10272" fmla="*/ 981740 w 2240198"/>
                <a:gd name="connsiteY10272" fmla="*/ 286260 h 1729012"/>
                <a:gd name="connsiteX10273" fmla="*/ 973562 w 2240198"/>
                <a:gd name="connsiteY10273" fmla="*/ 287698 h 1729012"/>
                <a:gd name="connsiteX10274" fmla="*/ 972024 w 2240198"/>
                <a:gd name="connsiteY10274" fmla="*/ 287313 h 1729012"/>
                <a:gd name="connsiteX10275" fmla="*/ 970628 w 2240198"/>
                <a:gd name="connsiteY10275" fmla="*/ 286247 h 1729012"/>
                <a:gd name="connsiteX10276" fmla="*/ 969377 w 2240198"/>
                <a:gd name="connsiteY10276" fmla="*/ 284502 h 1729012"/>
                <a:gd name="connsiteX10277" fmla="*/ 969066 w 2240198"/>
                <a:gd name="connsiteY10277" fmla="*/ 283215 h 1729012"/>
                <a:gd name="connsiteX10278" fmla="*/ 970409 w 2240198"/>
                <a:gd name="connsiteY10278" fmla="*/ 280957 h 1729012"/>
                <a:gd name="connsiteX10279" fmla="*/ 946424 w 2240198"/>
                <a:gd name="connsiteY10279" fmla="*/ 283801 h 1729012"/>
                <a:gd name="connsiteX10280" fmla="*/ 939596 w 2240198"/>
                <a:gd name="connsiteY10280" fmla="*/ 287087 h 1729012"/>
                <a:gd name="connsiteX10281" fmla="*/ 930019 w 2240198"/>
                <a:gd name="connsiteY10281" fmla="*/ 286564 h 1729012"/>
                <a:gd name="connsiteX10282" fmla="*/ 925242 w 2240198"/>
                <a:gd name="connsiteY10282" fmla="*/ 285177 h 1729012"/>
                <a:gd name="connsiteX10283" fmla="*/ 918879 w 2240198"/>
                <a:gd name="connsiteY10283" fmla="*/ 282030 h 1729012"/>
                <a:gd name="connsiteX10284" fmla="*/ 915943 w 2240198"/>
                <a:gd name="connsiteY10284" fmla="*/ 279287 h 1729012"/>
                <a:gd name="connsiteX10285" fmla="*/ 913254 w 2240198"/>
                <a:gd name="connsiteY10285" fmla="*/ 275591 h 1729012"/>
                <a:gd name="connsiteX10286" fmla="*/ 912998 w 2240198"/>
                <a:gd name="connsiteY10286" fmla="*/ 272791 h 1729012"/>
                <a:gd name="connsiteX10287" fmla="*/ 915176 w 2240198"/>
                <a:gd name="connsiteY10287" fmla="*/ 270895 h 1729012"/>
                <a:gd name="connsiteX10288" fmla="*/ 917446 w 2240198"/>
                <a:gd name="connsiteY10288" fmla="*/ 269769 h 1729012"/>
                <a:gd name="connsiteX10289" fmla="*/ 919806 w 2240198"/>
                <a:gd name="connsiteY10289" fmla="*/ 269408 h 1729012"/>
                <a:gd name="connsiteX10290" fmla="*/ 932815 w 2240198"/>
                <a:gd name="connsiteY10290" fmla="*/ 271611 h 1729012"/>
                <a:gd name="connsiteX10291" fmla="*/ 944216 w 2240198"/>
                <a:gd name="connsiteY10291" fmla="*/ 272733 h 1729012"/>
                <a:gd name="connsiteX10292" fmla="*/ 949131 w 2240198"/>
                <a:gd name="connsiteY10292" fmla="*/ 271606 h 1729012"/>
                <a:gd name="connsiteX10293" fmla="*/ 951361 w 2240198"/>
                <a:gd name="connsiteY10293" fmla="*/ 268599 h 1729012"/>
                <a:gd name="connsiteX10294" fmla="*/ 948688 w 2240198"/>
                <a:gd name="connsiteY10294" fmla="*/ 266982 h 1729012"/>
                <a:gd name="connsiteX10295" fmla="*/ 937712 w 2240198"/>
                <a:gd name="connsiteY10295" fmla="*/ 266320 h 1729012"/>
                <a:gd name="connsiteX10296" fmla="*/ 940053 w 2240198"/>
                <a:gd name="connsiteY10296" fmla="*/ 264734 h 1729012"/>
                <a:gd name="connsiteX10297" fmla="*/ 949329 w 2240198"/>
                <a:gd name="connsiteY10297" fmla="*/ 263101 h 1729012"/>
                <a:gd name="connsiteX10298" fmla="*/ 954175 w 2240198"/>
                <a:gd name="connsiteY10298" fmla="*/ 260665 h 1729012"/>
                <a:gd name="connsiteX10299" fmla="*/ 953242 w 2240198"/>
                <a:gd name="connsiteY10299" fmla="*/ 259812 h 1729012"/>
                <a:gd name="connsiteX10300" fmla="*/ 950454 w 2240198"/>
                <a:gd name="connsiteY10300" fmla="*/ 258833 h 1729012"/>
                <a:gd name="connsiteX10301" fmla="*/ 938019 w 2240198"/>
                <a:gd name="connsiteY10301" fmla="*/ 259118 h 1729012"/>
                <a:gd name="connsiteX10302" fmla="*/ 933550 w 2240198"/>
                <a:gd name="connsiteY10302" fmla="*/ 258153 h 1729012"/>
                <a:gd name="connsiteX10303" fmla="*/ 933307 w 2240198"/>
                <a:gd name="connsiteY10303" fmla="*/ 257352 h 1729012"/>
                <a:gd name="connsiteX10304" fmla="*/ 934310 w 2240198"/>
                <a:gd name="connsiteY10304" fmla="*/ 256326 h 1729012"/>
                <a:gd name="connsiteX10305" fmla="*/ 941394 w 2240198"/>
                <a:gd name="connsiteY10305" fmla="*/ 251356 h 1729012"/>
                <a:gd name="connsiteX10306" fmla="*/ 941102 w 2240198"/>
                <a:gd name="connsiteY10306" fmla="*/ 250452 h 1729012"/>
                <a:gd name="connsiteX10307" fmla="*/ 938058 w 2240198"/>
                <a:gd name="connsiteY10307" fmla="*/ 248821 h 1729012"/>
                <a:gd name="connsiteX10308" fmla="*/ 935381 w 2240198"/>
                <a:gd name="connsiteY10308" fmla="*/ 246700 h 1729012"/>
                <a:gd name="connsiteX10309" fmla="*/ 934387 w 2240198"/>
                <a:gd name="connsiteY10309" fmla="*/ 246458 h 1729012"/>
                <a:gd name="connsiteX10310" fmla="*/ 928229 w 2240198"/>
                <a:gd name="connsiteY10310" fmla="*/ 248355 h 1729012"/>
                <a:gd name="connsiteX10311" fmla="*/ 919577 w 2240198"/>
                <a:gd name="connsiteY10311" fmla="*/ 255656 h 1729012"/>
                <a:gd name="connsiteX10312" fmla="*/ 917513 w 2240198"/>
                <a:gd name="connsiteY10312" fmla="*/ 256711 h 1729012"/>
                <a:gd name="connsiteX10313" fmla="*/ 915534 w 2240198"/>
                <a:gd name="connsiteY10313" fmla="*/ 256652 h 1729012"/>
                <a:gd name="connsiteX10314" fmla="*/ 913640 w 2240198"/>
                <a:gd name="connsiteY10314" fmla="*/ 255476 h 1729012"/>
                <a:gd name="connsiteX10315" fmla="*/ 913657 w 2240198"/>
                <a:gd name="connsiteY10315" fmla="*/ 253945 h 1729012"/>
                <a:gd name="connsiteX10316" fmla="*/ 915587 w 2240198"/>
                <a:gd name="connsiteY10316" fmla="*/ 252057 h 1729012"/>
                <a:gd name="connsiteX10317" fmla="*/ 919597 w 2240198"/>
                <a:gd name="connsiteY10317" fmla="*/ 246390 h 1729012"/>
                <a:gd name="connsiteX10318" fmla="*/ 919306 w 2240198"/>
                <a:gd name="connsiteY10318" fmla="*/ 244366 h 1729012"/>
                <a:gd name="connsiteX10319" fmla="*/ 915385 w 2240198"/>
                <a:gd name="connsiteY10319" fmla="*/ 243014 h 1729012"/>
                <a:gd name="connsiteX10320" fmla="*/ 905054 w 2240198"/>
                <a:gd name="connsiteY10320" fmla="*/ 244023 h 1729012"/>
                <a:gd name="connsiteX10321" fmla="*/ 899302 w 2240198"/>
                <a:gd name="connsiteY10321" fmla="*/ 244061 h 1729012"/>
                <a:gd name="connsiteX10322" fmla="*/ 898412 w 2240198"/>
                <a:gd name="connsiteY10322" fmla="*/ 242457 h 1729012"/>
                <a:gd name="connsiteX10323" fmla="*/ 898173 w 2240198"/>
                <a:gd name="connsiteY10323" fmla="*/ 239458 h 1729012"/>
                <a:gd name="connsiteX10324" fmla="*/ 898404 w 2240198"/>
                <a:gd name="connsiteY10324" fmla="*/ 236634 h 1729012"/>
                <a:gd name="connsiteX10325" fmla="*/ 899838 w 2240198"/>
                <a:gd name="connsiteY10325" fmla="*/ 232208 h 1729012"/>
                <a:gd name="connsiteX10326" fmla="*/ 901837 w 2240198"/>
                <a:gd name="connsiteY10326" fmla="*/ 228822 h 1729012"/>
                <a:gd name="connsiteX10327" fmla="*/ 903054 w 2240198"/>
                <a:gd name="connsiteY10327" fmla="*/ 227611 h 1729012"/>
                <a:gd name="connsiteX10328" fmla="*/ 916755 w 2240198"/>
                <a:gd name="connsiteY10328" fmla="*/ 228325 h 1729012"/>
                <a:gd name="connsiteX10329" fmla="*/ 939138 w 2240198"/>
                <a:gd name="connsiteY10329" fmla="*/ 226216 h 1729012"/>
                <a:gd name="connsiteX10330" fmla="*/ 1046482 w 2240198"/>
                <a:gd name="connsiteY10330" fmla="*/ 180507 h 1729012"/>
                <a:gd name="connsiteX10331" fmla="*/ 1054250 w 2240198"/>
                <a:gd name="connsiteY10331" fmla="*/ 181533 h 1729012"/>
                <a:gd name="connsiteX10332" fmla="*/ 1061137 w 2240198"/>
                <a:gd name="connsiteY10332" fmla="*/ 181661 h 1729012"/>
                <a:gd name="connsiteX10333" fmla="*/ 1064601 w 2240198"/>
                <a:gd name="connsiteY10333" fmla="*/ 182421 h 1729012"/>
                <a:gd name="connsiteX10334" fmla="*/ 1067693 w 2240198"/>
                <a:gd name="connsiteY10334" fmla="*/ 184123 h 1729012"/>
                <a:gd name="connsiteX10335" fmla="*/ 1069506 w 2240198"/>
                <a:gd name="connsiteY10335" fmla="*/ 186697 h 1729012"/>
                <a:gd name="connsiteX10336" fmla="*/ 1070306 w 2240198"/>
                <a:gd name="connsiteY10336" fmla="*/ 189952 h 1729012"/>
                <a:gd name="connsiteX10337" fmla="*/ 1070881 w 2240198"/>
                <a:gd name="connsiteY10337" fmla="*/ 197466 h 1729012"/>
                <a:gd name="connsiteX10338" fmla="*/ 1070352 w 2240198"/>
                <a:gd name="connsiteY10338" fmla="*/ 201234 h 1729012"/>
                <a:gd name="connsiteX10339" fmla="*/ 1069063 w 2240198"/>
                <a:gd name="connsiteY10339" fmla="*/ 204010 h 1729012"/>
                <a:gd name="connsiteX10340" fmla="*/ 1067932 w 2240198"/>
                <a:gd name="connsiteY10340" fmla="*/ 204664 h 1729012"/>
                <a:gd name="connsiteX10341" fmla="*/ 1066411 w 2240198"/>
                <a:gd name="connsiteY10341" fmla="*/ 204757 h 1729012"/>
                <a:gd name="connsiteX10342" fmla="*/ 1059482 w 2240198"/>
                <a:gd name="connsiteY10342" fmla="*/ 202586 h 1729012"/>
                <a:gd name="connsiteX10343" fmla="*/ 1057371 w 2240198"/>
                <a:gd name="connsiteY10343" fmla="*/ 201310 h 1729012"/>
                <a:gd name="connsiteX10344" fmla="*/ 1057256 w 2240198"/>
                <a:gd name="connsiteY10344" fmla="*/ 200228 h 1729012"/>
                <a:gd name="connsiteX10345" fmla="*/ 1056579 w 2240198"/>
                <a:gd name="connsiteY10345" fmla="*/ 198119 h 1729012"/>
                <a:gd name="connsiteX10346" fmla="*/ 1051947 w 2240198"/>
                <a:gd name="connsiteY10346" fmla="*/ 195376 h 1729012"/>
                <a:gd name="connsiteX10347" fmla="*/ 1043280 w 2240198"/>
                <a:gd name="connsiteY10347" fmla="*/ 195817 h 1729012"/>
                <a:gd name="connsiteX10348" fmla="*/ 1039668 w 2240198"/>
                <a:gd name="connsiteY10348" fmla="*/ 195556 h 1729012"/>
                <a:gd name="connsiteX10349" fmla="*/ 1038224 w 2240198"/>
                <a:gd name="connsiteY10349" fmla="*/ 194737 h 1729012"/>
                <a:gd name="connsiteX10350" fmla="*/ 1037322 w 2240198"/>
                <a:gd name="connsiteY10350" fmla="*/ 193559 h 1729012"/>
                <a:gd name="connsiteX10351" fmla="*/ 1036470 w 2240198"/>
                <a:gd name="connsiteY10351" fmla="*/ 188785 h 1729012"/>
                <a:gd name="connsiteX10352" fmla="*/ 1036614 w 2240198"/>
                <a:gd name="connsiteY10352" fmla="*/ 187098 h 1729012"/>
                <a:gd name="connsiteX10353" fmla="*/ 1037675 w 2240198"/>
                <a:gd name="connsiteY10353" fmla="*/ 184162 h 1729012"/>
                <a:gd name="connsiteX10354" fmla="*/ 1038315 w 2240198"/>
                <a:gd name="connsiteY10354" fmla="*/ 183452 h 1729012"/>
                <a:gd name="connsiteX10355" fmla="*/ 1044667 w 2240198"/>
                <a:gd name="connsiteY10355" fmla="*/ 180736 h 1729012"/>
                <a:gd name="connsiteX10356" fmla="*/ 1208723 w 2240198"/>
                <a:gd name="connsiteY10356" fmla="*/ 108351 h 1729012"/>
                <a:gd name="connsiteX10357" fmla="*/ 1216282 w 2240198"/>
                <a:gd name="connsiteY10357" fmla="*/ 109442 h 1729012"/>
                <a:gd name="connsiteX10358" fmla="*/ 1232056 w 2240198"/>
                <a:gd name="connsiteY10358" fmla="*/ 113530 h 1729012"/>
                <a:gd name="connsiteX10359" fmla="*/ 1237147 w 2240198"/>
                <a:gd name="connsiteY10359" fmla="*/ 115611 h 1729012"/>
                <a:gd name="connsiteX10360" fmla="*/ 1242571 w 2240198"/>
                <a:gd name="connsiteY10360" fmla="*/ 119092 h 1729012"/>
                <a:gd name="connsiteX10361" fmla="*/ 1245420 w 2240198"/>
                <a:gd name="connsiteY10361" fmla="*/ 122242 h 1729012"/>
                <a:gd name="connsiteX10362" fmla="*/ 1248730 w 2240198"/>
                <a:gd name="connsiteY10362" fmla="*/ 127232 h 1729012"/>
                <a:gd name="connsiteX10363" fmla="*/ 1260965 w 2240198"/>
                <a:gd name="connsiteY10363" fmla="*/ 139077 h 1729012"/>
                <a:gd name="connsiteX10364" fmla="*/ 1266507 w 2240198"/>
                <a:gd name="connsiteY10364" fmla="*/ 143366 h 1729012"/>
                <a:gd name="connsiteX10365" fmla="*/ 1275915 w 2240198"/>
                <a:gd name="connsiteY10365" fmla="*/ 148683 h 1729012"/>
                <a:gd name="connsiteX10366" fmla="*/ 1277086 w 2240198"/>
                <a:gd name="connsiteY10366" fmla="*/ 150593 h 1729012"/>
                <a:gd name="connsiteX10367" fmla="*/ 1277194 w 2240198"/>
                <a:gd name="connsiteY10367" fmla="*/ 151395 h 1729012"/>
                <a:gd name="connsiteX10368" fmla="*/ 1276926 w 2240198"/>
                <a:gd name="connsiteY10368" fmla="*/ 154222 h 1729012"/>
                <a:gd name="connsiteX10369" fmla="*/ 1279607 w 2240198"/>
                <a:gd name="connsiteY10369" fmla="*/ 155268 h 1729012"/>
                <a:gd name="connsiteX10370" fmla="*/ 1287712 w 2240198"/>
                <a:gd name="connsiteY10370" fmla="*/ 156895 h 1729012"/>
                <a:gd name="connsiteX10371" fmla="*/ 1296733 w 2240198"/>
                <a:gd name="connsiteY10371" fmla="*/ 159820 h 1729012"/>
                <a:gd name="connsiteX10372" fmla="*/ 1298356 w 2240198"/>
                <a:gd name="connsiteY10372" fmla="*/ 159654 h 1729012"/>
                <a:gd name="connsiteX10373" fmla="*/ 1301501 w 2240198"/>
                <a:gd name="connsiteY10373" fmla="*/ 157922 h 1729012"/>
                <a:gd name="connsiteX10374" fmla="*/ 1305280 w 2240198"/>
                <a:gd name="connsiteY10374" fmla="*/ 157449 h 1729012"/>
                <a:gd name="connsiteX10375" fmla="*/ 1310243 w 2240198"/>
                <a:gd name="connsiteY10375" fmla="*/ 157865 h 1729012"/>
                <a:gd name="connsiteX10376" fmla="*/ 1312613 w 2240198"/>
                <a:gd name="connsiteY10376" fmla="*/ 159104 h 1729012"/>
                <a:gd name="connsiteX10377" fmla="*/ 1314355 w 2240198"/>
                <a:gd name="connsiteY10377" fmla="*/ 160923 h 1729012"/>
                <a:gd name="connsiteX10378" fmla="*/ 1315080 w 2240198"/>
                <a:gd name="connsiteY10378" fmla="*/ 162226 h 1729012"/>
                <a:gd name="connsiteX10379" fmla="*/ 1315184 w 2240198"/>
                <a:gd name="connsiteY10379" fmla="*/ 163233 h 1729012"/>
                <a:gd name="connsiteX10380" fmla="*/ 1313405 w 2240198"/>
                <a:gd name="connsiteY10380" fmla="*/ 165182 h 1729012"/>
                <a:gd name="connsiteX10381" fmla="*/ 1313602 w 2240198"/>
                <a:gd name="connsiteY10381" fmla="*/ 165937 h 1729012"/>
                <a:gd name="connsiteX10382" fmla="*/ 1314665 w 2240198"/>
                <a:gd name="connsiteY10382" fmla="*/ 166845 h 1729012"/>
                <a:gd name="connsiteX10383" fmla="*/ 1314853 w 2240198"/>
                <a:gd name="connsiteY10383" fmla="*/ 167907 h 1729012"/>
                <a:gd name="connsiteX10384" fmla="*/ 1313068 w 2240198"/>
                <a:gd name="connsiteY10384" fmla="*/ 172057 h 1729012"/>
                <a:gd name="connsiteX10385" fmla="*/ 1313557 w 2240198"/>
                <a:gd name="connsiteY10385" fmla="*/ 173577 h 1729012"/>
                <a:gd name="connsiteX10386" fmla="*/ 1318099 w 2240198"/>
                <a:gd name="connsiteY10386" fmla="*/ 177346 h 1729012"/>
                <a:gd name="connsiteX10387" fmla="*/ 1322205 w 2240198"/>
                <a:gd name="connsiteY10387" fmla="*/ 179222 h 1729012"/>
                <a:gd name="connsiteX10388" fmla="*/ 1330313 w 2240198"/>
                <a:gd name="connsiteY10388" fmla="*/ 181258 h 1729012"/>
                <a:gd name="connsiteX10389" fmla="*/ 1335595 w 2240198"/>
                <a:gd name="connsiteY10389" fmla="*/ 181111 h 1729012"/>
                <a:gd name="connsiteX10390" fmla="*/ 1338874 w 2240198"/>
                <a:gd name="connsiteY10390" fmla="*/ 182400 h 1729012"/>
                <a:gd name="connsiteX10391" fmla="*/ 1338952 w 2240198"/>
                <a:gd name="connsiteY10391" fmla="*/ 181604 h 1729012"/>
                <a:gd name="connsiteX10392" fmla="*/ 1337467 w 2240198"/>
                <a:gd name="connsiteY10392" fmla="*/ 179204 h 1729012"/>
                <a:gd name="connsiteX10393" fmla="*/ 1334289 w 2240198"/>
                <a:gd name="connsiteY10393" fmla="*/ 175791 h 1729012"/>
                <a:gd name="connsiteX10394" fmla="*/ 1328413 w 2240198"/>
                <a:gd name="connsiteY10394" fmla="*/ 174033 h 1729012"/>
                <a:gd name="connsiteX10395" fmla="*/ 1327557 w 2240198"/>
                <a:gd name="connsiteY10395" fmla="*/ 172029 h 1729012"/>
                <a:gd name="connsiteX10396" fmla="*/ 1327121 w 2240198"/>
                <a:gd name="connsiteY10396" fmla="*/ 168612 h 1729012"/>
                <a:gd name="connsiteX10397" fmla="*/ 1327623 w 2240198"/>
                <a:gd name="connsiteY10397" fmla="*/ 166357 h 1729012"/>
                <a:gd name="connsiteX10398" fmla="*/ 1330636 w 2240198"/>
                <a:gd name="connsiteY10398" fmla="*/ 164533 h 1729012"/>
                <a:gd name="connsiteX10399" fmla="*/ 1333183 w 2240198"/>
                <a:gd name="connsiteY10399" fmla="*/ 163945 h 1729012"/>
                <a:gd name="connsiteX10400" fmla="*/ 1340768 w 2240198"/>
                <a:gd name="connsiteY10400" fmla="*/ 163862 h 1729012"/>
                <a:gd name="connsiteX10401" fmla="*/ 1344958 w 2240198"/>
                <a:gd name="connsiteY10401" fmla="*/ 164673 h 1729012"/>
                <a:gd name="connsiteX10402" fmla="*/ 1352184 w 2240198"/>
                <a:gd name="connsiteY10402" fmla="*/ 167219 h 1729012"/>
                <a:gd name="connsiteX10403" fmla="*/ 1352932 w 2240198"/>
                <a:gd name="connsiteY10403" fmla="*/ 168603 h 1729012"/>
                <a:gd name="connsiteX10404" fmla="*/ 1353319 w 2240198"/>
                <a:gd name="connsiteY10404" fmla="*/ 171337 h 1729012"/>
                <a:gd name="connsiteX10405" fmla="*/ 1353620 w 2240198"/>
                <a:gd name="connsiteY10405" fmla="*/ 176822 h 1729012"/>
                <a:gd name="connsiteX10406" fmla="*/ 1353440 w 2240198"/>
                <a:gd name="connsiteY10406" fmla="*/ 178001 h 1729012"/>
                <a:gd name="connsiteX10407" fmla="*/ 1347262 w 2240198"/>
                <a:gd name="connsiteY10407" fmla="*/ 181100 h 1729012"/>
                <a:gd name="connsiteX10408" fmla="*/ 1345913 w 2240198"/>
                <a:gd name="connsiteY10408" fmla="*/ 183200 h 1729012"/>
                <a:gd name="connsiteX10409" fmla="*/ 1347476 w 2240198"/>
                <a:gd name="connsiteY10409" fmla="*/ 183791 h 1729012"/>
                <a:gd name="connsiteX10410" fmla="*/ 1352783 w 2240198"/>
                <a:gd name="connsiteY10410" fmla="*/ 184258 h 1729012"/>
                <a:gd name="connsiteX10411" fmla="*/ 1360969 w 2240198"/>
                <a:gd name="connsiteY10411" fmla="*/ 186165 h 1729012"/>
                <a:gd name="connsiteX10412" fmla="*/ 1364177 w 2240198"/>
                <a:gd name="connsiteY10412" fmla="*/ 186358 h 1729012"/>
                <a:gd name="connsiteX10413" fmla="*/ 1367368 w 2240198"/>
                <a:gd name="connsiteY10413" fmla="*/ 190770 h 1729012"/>
                <a:gd name="connsiteX10414" fmla="*/ 1369878 w 2240198"/>
                <a:gd name="connsiteY10414" fmla="*/ 194967 h 1729012"/>
                <a:gd name="connsiteX10415" fmla="*/ 1368044 w 2240198"/>
                <a:gd name="connsiteY10415" fmla="*/ 200083 h 1729012"/>
                <a:gd name="connsiteX10416" fmla="*/ 1365642 w 2240198"/>
                <a:gd name="connsiteY10416" fmla="*/ 208278 h 1729012"/>
                <a:gd name="connsiteX10417" fmla="*/ 1363715 w 2240198"/>
                <a:gd name="connsiteY10417" fmla="*/ 210152 h 1729012"/>
                <a:gd name="connsiteX10418" fmla="*/ 1361816 w 2240198"/>
                <a:gd name="connsiteY10418" fmla="*/ 212997 h 1729012"/>
                <a:gd name="connsiteX10419" fmla="*/ 1363141 w 2240198"/>
                <a:gd name="connsiteY10419" fmla="*/ 213514 h 1729012"/>
                <a:gd name="connsiteX10420" fmla="*/ 1371195 w 2240198"/>
                <a:gd name="connsiteY10420" fmla="*/ 212381 h 1729012"/>
                <a:gd name="connsiteX10421" fmla="*/ 1372823 w 2240198"/>
                <a:gd name="connsiteY10421" fmla="*/ 211996 h 1729012"/>
                <a:gd name="connsiteX10422" fmla="*/ 1378205 w 2240198"/>
                <a:gd name="connsiteY10422" fmla="*/ 209217 h 1729012"/>
                <a:gd name="connsiteX10423" fmla="*/ 1386112 w 2240198"/>
                <a:gd name="connsiteY10423" fmla="*/ 209864 h 1729012"/>
                <a:gd name="connsiteX10424" fmla="*/ 1388768 w 2240198"/>
                <a:gd name="connsiteY10424" fmla="*/ 210582 h 1729012"/>
                <a:gd name="connsiteX10425" fmla="*/ 1390080 w 2240198"/>
                <a:gd name="connsiteY10425" fmla="*/ 211554 h 1729012"/>
                <a:gd name="connsiteX10426" fmla="*/ 1392487 w 2240198"/>
                <a:gd name="connsiteY10426" fmla="*/ 214652 h 1729012"/>
                <a:gd name="connsiteX10427" fmla="*/ 1394478 w 2240198"/>
                <a:gd name="connsiteY10427" fmla="*/ 218747 h 1729012"/>
                <a:gd name="connsiteX10428" fmla="*/ 1395950 w 2240198"/>
                <a:gd name="connsiteY10428" fmla="*/ 218374 h 1729012"/>
                <a:gd name="connsiteX10429" fmla="*/ 1399630 w 2240198"/>
                <a:gd name="connsiteY10429" fmla="*/ 213405 h 1729012"/>
                <a:gd name="connsiteX10430" fmla="*/ 1400972 w 2240198"/>
                <a:gd name="connsiteY10430" fmla="*/ 212177 h 1729012"/>
                <a:gd name="connsiteX10431" fmla="*/ 1402805 w 2240198"/>
                <a:gd name="connsiteY10431" fmla="*/ 210990 h 1729012"/>
                <a:gd name="connsiteX10432" fmla="*/ 1403585 w 2240198"/>
                <a:gd name="connsiteY10432" fmla="*/ 211210 h 1729012"/>
                <a:gd name="connsiteX10433" fmla="*/ 1407299 w 2240198"/>
                <a:gd name="connsiteY10433" fmla="*/ 215845 h 1729012"/>
                <a:gd name="connsiteX10434" fmla="*/ 1415560 w 2240198"/>
                <a:gd name="connsiteY10434" fmla="*/ 223994 h 1729012"/>
                <a:gd name="connsiteX10435" fmla="*/ 1418396 w 2240198"/>
                <a:gd name="connsiteY10435" fmla="*/ 227350 h 1729012"/>
                <a:gd name="connsiteX10436" fmla="*/ 1418944 w 2240198"/>
                <a:gd name="connsiteY10436" fmla="*/ 229824 h 1729012"/>
                <a:gd name="connsiteX10437" fmla="*/ 1415414 w 2240198"/>
                <a:gd name="connsiteY10437" fmla="*/ 232702 h 1729012"/>
                <a:gd name="connsiteX10438" fmla="*/ 1412664 w 2240198"/>
                <a:gd name="connsiteY10438" fmla="*/ 234139 h 1729012"/>
                <a:gd name="connsiteX10439" fmla="*/ 1392332 w 2240198"/>
                <a:gd name="connsiteY10439" fmla="*/ 240259 h 1729012"/>
                <a:gd name="connsiteX10440" fmla="*/ 1383232 w 2240198"/>
                <a:gd name="connsiteY10440" fmla="*/ 243714 h 1729012"/>
                <a:gd name="connsiteX10441" fmla="*/ 1378695 w 2240198"/>
                <a:gd name="connsiteY10441" fmla="*/ 246379 h 1729012"/>
                <a:gd name="connsiteX10442" fmla="*/ 1376379 w 2240198"/>
                <a:gd name="connsiteY10442" fmla="*/ 247268 h 1729012"/>
                <a:gd name="connsiteX10443" fmla="*/ 1371494 w 2240198"/>
                <a:gd name="connsiteY10443" fmla="*/ 246856 h 1729012"/>
                <a:gd name="connsiteX10444" fmla="*/ 1370385 w 2240198"/>
                <a:gd name="connsiteY10444" fmla="*/ 247301 h 1729012"/>
                <a:gd name="connsiteX10445" fmla="*/ 1368882 w 2240198"/>
                <a:gd name="connsiteY10445" fmla="*/ 251581 h 1729012"/>
                <a:gd name="connsiteX10446" fmla="*/ 1367261 w 2240198"/>
                <a:gd name="connsiteY10446" fmla="*/ 253406 h 1729012"/>
                <a:gd name="connsiteX10447" fmla="*/ 1363052 w 2240198"/>
                <a:gd name="connsiteY10447" fmla="*/ 256353 h 1729012"/>
                <a:gd name="connsiteX10448" fmla="*/ 1357160 w 2240198"/>
                <a:gd name="connsiteY10448" fmla="*/ 261679 h 1729012"/>
                <a:gd name="connsiteX10449" fmla="*/ 1353645 w 2240198"/>
                <a:gd name="connsiteY10449" fmla="*/ 264012 h 1729012"/>
                <a:gd name="connsiteX10450" fmla="*/ 1347455 w 2240198"/>
                <a:gd name="connsiteY10450" fmla="*/ 262310 h 1729012"/>
                <a:gd name="connsiteX10451" fmla="*/ 1345913 w 2240198"/>
                <a:gd name="connsiteY10451" fmla="*/ 259824 h 1729012"/>
                <a:gd name="connsiteX10452" fmla="*/ 1345053 w 2240198"/>
                <a:gd name="connsiteY10452" fmla="*/ 254218 h 1729012"/>
                <a:gd name="connsiteX10453" fmla="*/ 1344938 w 2240198"/>
                <a:gd name="connsiteY10453" fmla="*/ 251892 h 1729012"/>
                <a:gd name="connsiteX10454" fmla="*/ 1345131 w 2240198"/>
                <a:gd name="connsiteY10454" fmla="*/ 250662 h 1729012"/>
                <a:gd name="connsiteX10455" fmla="*/ 1345906 w 2240198"/>
                <a:gd name="connsiteY10455" fmla="*/ 248667 h 1729012"/>
                <a:gd name="connsiteX10456" fmla="*/ 1348589 w 2240198"/>
                <a:gd name="connsiteY10456" fmla="*/ 243846 h 1729012"/>
                <a:gd name="connsiteX10457" fmla="*/ 1348270 w 2240198"/>
                <a:gd name="connsiteY10457" fmla="*/ 243340 h 1729012"/>
                <a:gd name="connsiteX10458" fmla="*/ 1347028 w 2240198"/>
                <a:gd name="connsiteY10458" fmla="*/ 243742 h 1729012"/>
                <a:gd name="connsiteX10459" fmla="*/ 1342925 w 2240198"/>
                <a:gd name="connsiteY10459" fmla="*/ 246153 h 1729012"/>
                <a:gd name="connsiteX10460" fmla="*/ 1341304 w 2240198"/>
                <a:gd name="connsiteY10460" fmla="*/ 247419 h 1729012"/>
                <a:gd name="connsiteX10461" fmla="*/ 1339790 w 2240198"/>
                <a:gd name="connsiteY10461" fmla="*/ 249627 h 1729012"/>
                <a:gd name="connsiteX10462" fmla="*/ 1339120 w 2240198"/>
                <a:gd name="connsiteY10462" fmla="*/ 253332 h 1729012"/>
                <a:gd name="connsiteX10463" fmla="*/ 1339718 w 2240198"/>
                <a:gd name="connsiteY10463" fmla="*/ 260152 h 1729012"/>
                <a:gd name="connsiteX10464" fmla="*/ 1339134 w 2240198"/>
                <a:gd name="connsiteY10464" fmla="*/ 262893 h 1729012"/>
                <a:gd name="connsiteX10465" fmla="*/ 1337509 w 2240198"/>
                <a:gd name="connsiteY10465" fmla="*/ 264254 h 1729012"/>
                <a:gd name="connsiteX10466" fmla="*/ 1338165 w 2240198"/>
                <a:gd name="connsiteY10466" fmla="*/ 265310 h 1729012"/>
                <a:gd name="connsiteX10467" fmla="*/ 1343005 w 2240198"/>
                <a:gd name="connsiteY10467" fmla="*/ 266762 h 1729012"/>
                <a:gd name="connsiteX10468" fmla="*/ 1343864 w 2240198"/>
                <a:gd name="connsiteY10468" fmla="*/ 267398 h 1729012"/>
                <a:gd name="connsiteX10469" fmla="*/ 1344400 w 2240198"/>
                <a:gd name="connsiteY10469" fmla="*/ 268555 h 1729012"/>
                <a:gd name="connsiteX10470" fmla="*/ 1344611 w 2240198"/>
                <a:gd name="connsiteY10470" fmla="*/ 270223 h 1729012"/>
                <a:gd name="connsiteX10471" fmla="*/ 1344378 w 2240198"/>
                <a:gd name="connsiteY10471" fmla="*/ 271759 h 1729012"/>
                <a:gd name="connsiteX10472" fmla="*/ 1342924 w 2240198"/>
                <a:gd name="connsiteY10472" fmla="*/ 274126 h 1729012"/>
                <a:gd name="connsiteX10473" fmla="*/ 1340201 w 2240198"/>
                <a:gd name="connsiteY10473" fmla="*/ 275087 h 1729012"/>
                <a:gd name="connsiteX10474" fmla="*/ 1336728 w 2240198"/>
                <a:gd name="connsiteY10474" fmla="*/ 274009 h 1729012"/>
                <a:gd name="connsiteX10475" fmla="*/ 1329220 w 2240198"/>
                <a:gd name="connsiteY10475" fmla="*/ 268156 h 1729012"/>
                <a:gd name="connsiteX10476" fmla="*/ 1325959 w 2240198"/>
                <a:gd name="connsiteY10476" fmla="*/ 268480 h 1729012"/>
                <a:gd name="connsiteX10477" fmla="*/ 1325139 w 2240198"/>
                <a:gd name="connsiteY10477" fmla="*/ 269151 h 1729012"/>
                <a:gd name="connsiteX10478" fmla="*/ 1325840 w 2240198"/>
                <a:gd name="connsiteY10478" fmla="*/ 271240 h 1729012"/>
                <a:gd name="connsiteX10479" fmla="*/ 1328145 w 2240198"/>
                <a:gd name="connsiteY10479" fmla="*/ 275917 h 1729012"/>
                <a:gd name="connsiteX10480" fmla="*/ 1328565 w 2240198"/>
                <a:gd name="connsiteY10480" fmla="*/ 279799 h 1729012"/>
                <a:gd name="connsiteX10481" fmla="*/ 1327502 w 2240198"/>
                <a:gd name="connsiteY10481" fmla="*/ 283019 h 1729012"/>
                <a:gd name="connsiteX10482" fmla="*/ 1325358 w 2240198"/>
                <a:gd name="connsiteY10482" fmla="*/ 288095 h 1729012"/>
                <a:gd name="connsiteX10483" fmla="*/ 1323886 w 2240198"/>
                <a:gd name="connsiteY10483" fmla="*/ 290807 h 1729012"/>
                <a:gd name="connsiteX10484" fmla="*/ 1323090 w 2240198"/>
                <a:gd name="connsiteY10484" fmla="*/ 291168 h 1729012"/>
                <a:gd name="connsiteX10485" fmla="*/ 1319357 w 2240198"/>
                <a:gd name="connsiteY10485" fmla="*/ 291248 h 1729012"/>
                <a:gd name="connsiteX10486" fmla="*/ 1316160 w 2240198"/>
                <a:gd name="connsiteY10486" fmla="*/ 289883 h 1729012"/>
                <a:gd name="connsiteX10487" fmla="*/ 1306669 w 2240198"/>
                <a:gd name="connsiteY10487" fmla="*/ 281003 h 1729012"/>
                <a:gd name="connsiteX10488" fmla="*/ 1301972 w 2240198"/>
                <a:gd name="connsiteY10488" fmla="*/ 277205 h 1729012"/>
                <a:gd name="connsiteX10489" fmla="*/ 1295101 w 2240198"/>
                <a:gd name="connsiteY10489" fmla="*/ 269761 h 1729012"/>
                <a:gd name="connsiteX10490" fmla="*/ 1293349 w 2240198"/>
                <a:gd name="connsiteY10490" fmla="*/ 268224 h 1729012"/>
                <a:gd name="connsiteX10491" fmla="*/ 1292290 w 2240198"/>
                <a:gd name="connsiteY10491" fmla="*/ 267881 h 1729012"/>
                <a:gd name="connsiteX10492" fmla="*/ 1291296 w 2240198"/>
                <a:gd name="connsiteY10492" fmla="*/ 271087 h 1729012"/>
                <a:gd name="connsiteX10493" fmla="*/ 1293205 w 2240198"/>
                <a:gd name="connsiteY10493" fmla="*/ 274049 h 1729012"/>
                <a:gd name="connsiteX10494" fmla="*/ 1299385 w 2240198"/>
                <a:gd name="connsiteY10494" fmla="*/ 281003 h 1729012"/>
                <a:gd name="connsiteX10495" fmla="*/ 1303077 w 2240198"/>
                <a:gd name="connsiteY10495" fmla="*/ 286045 h 1729012"/>
                <a:gd name="connsiteX10496" fmla="*/ 1305735 w 2240198"/>
                <a:gd name="connsiteY10496" fmla="*/ 290211 h 1729012"/>
                <a:gd name="connsiteX10497" fmla="*/ 1306167 w 2240198"/>
                <a:gd name="connsiteY10497" fmla="*/ 291936 h 1729012"/>
                <a:gd name="connsiteX10498" fmla="*/ 1305257 w 2240198"/>
                <a:gd name="connsiteY10498" fmla="*/ 292611 h 1729012"/>
                <a:gd name="connsiteX10499" fmla="*/ 1303893 w 2240198"/>
                <a:gd name="connsiteY10499" fmla="*/ 292228 h 1729012"/>
                <a:gd name="connsiteX10500" fmla="*/ 1302076 w 2240198"/>
                <a:gd name="connsiteY10500" fmla="*/ 290775 h 1729012"/>
                <a:gd name="connsiteX10501" fmla="*/ 1296449 w 2240198"/>
                <a:gd name="connsiteY10501" fmla="*/ 288321 h 1729012"/>
                <a:gd name="connsiteX10502" fmla="*/ 1294113 w 2240198"/>
                <a:gd name="connsiteY10502" fmla="*/ 286952 h 1729012"/>
                <a:gd name="connsiteX10503" fmla="*/ 1292585 w 2240198"/>
                <a:gd name="connsiteY10503" fmla="*/ 285363 h 1729012"/>
                <a:gd name="connsiteX10504" fmla="*/ 1289780 w 2240198"/>
                <a:gd name="connsiteY10504" fmla="*/ 284159 h 1729012"/>
                <a:gd name="connsiteX10505" fmla="*/ 1285694 w 2240198"/>
                <a:gd name="connsiteY10505" fmla="*/ 283334 h 1729012"/>
                <a:gd name="connsiteX10506" fmla="*/ 1281591 w 2240198"/>
                <a:gd name="connsiteY10506" fmla="*/ 283175 h 1729012"/>
                <a:gd name="connsiteX10507" fmla="*/ 1277470 w 2240198"/>
                <a:gd name="connsiteY10507" fmla="*/ 283682 h 1729012"/>
                <a:gd name="connsiteX10508" fmla="*/ 1276688 w 2240198"/>
                <a:gd name="connsiteY10508" fmla="*/ 284456 h 1729012"/>
                <a:gd name="connsiteX10509" fmla="*/ 1281333 w 2240198"/>
                <a:gd name="connsiteY10509" fmla="*/ 286615 h 1729012"/>
                <a:gd name="connsiteX10510" fmla="*/ 1282950 w 2240198"/>
                <a:gd name="connsiteY10510" fmla="*/ 287820 h 1729012"/>
                <a:gd name="connsiteX10511" fmla="*/ 1284154 w 2240198"/>
                <a:gd name="connsiteY10511" fmla="*/ 289359 h 1729012"/>
                <a:gd name="connsiteX10512" fmla="*/ 1284945 w 2240198"/>
                <a:gd name="connsiteY10512" fmla="*/ 291229 h 1729012"/>
                <a:gd name="connsiteX10513" fmla="*/ 1283419 w 2240198"/>
                <a:gd name="connsiteY10513" fmla="*/ 292411 h 1729012"/>
                <a:gd name="connsiteX10514" fmla="*/ 1277651 w 2240198"/>
                <a:gd name="connsiteY10514" fmla="*/ 293148 h 1729012"/>
                <a:gd name="connsiteX10515" fmla="*/ 1269951 w 2240198"/>
                <a:gd name="connsiteY10515" fmla="*/ 292679 h 1729012"/>
                <a:gd name="connsiteX10516" fmla="*/ 1257487 w 2240198"/>
                <a:gd name="connsiteY10516" fmla="*/ 291052 h 1729012"/>
                <a:gd name="connsiteX10517" fmla="*/ 1245074 w 2240198"/>
                <a:gd name="connsiteY10517" fmla="*/ 288362 h 1729012"/>
                <a:gd name="connsiteX10518" fmla="*/ 1233610 w 2240198"/>
                <a:gd name="connsiteY10518" fmla="*/ 284170 h 1729012"/>
                <a:gd name="connsiteX10519" fmla="*/ 1225319 w 2240198"/>
                <a:gd name="connsiteY10519" fmla="*/ 279958 h 1729012"/>
                <a:gd name="connsiteX10520" fmla="*/ 1222039 w 2240198"/>
                <a:gd name="connsiteY10520" fmla="*/ 277711 h 1729012"/>
                <a:gd name="connsiteX10521" fmla="*/ 1221008 w 2240198"/>
                <a:gd name="connsiteY10521" fmla="*/ 276029 h 1729012"/>
                <a:gd name="connsiteX10522" fmla="*/ 1224120 w 2240198"/>
                <a:gd name="connsiteY10522" fmla="*/ 274556 h 1729012"/>
                <a:gd name="connsiteX10523" fmla="*/ 1234994 w 2240198"/>
                <a:gd name="connsiteY10523" fmla="*/ 272663 h 1729012"/>
                <a:gd name="connsiteX10524" fmla="*/ 1245892 w 2240198"/>
                <a:gd name="connsiteY10524" fmla="*/ 271447 h 1729012"/>
                <a:gd name="connsiteX10525" fmla="*/ 1244166 w 2240198"/>
                <a:gd name="connsiteY10525" fmla="*/ 270390 h 1729012"/>
                <a:gd name="connsiteX10526" fmla="*/ 1224374 w 2240198"/>
                <a:gd name="connsiteY10526" fmla="*/ 267982 h 1729012"/>
                <a:gd name="connsiteX10527" fmla="*/ 1217857 w 2240198"/>
                <a:gd name="connsiteY10527" fmla="*/ 267542 h 1729012"/>
                <a:gd name="connsiteX10528" fmla="*/ 1214387 w 2240198"/>
                <a:gd name="connsiteY10528" fmla="*/ 268175 h 1729012"/>
                <a:gd name="connsiteX10529" fmla="*/ 1210401 w 2240198"/>
                <a:gd name="connsiteY10529" fmla="*/ 267800 h 1729012"/>
                <a:gd name="connsiteX10530" fmla="*/ 1207286 w 2240198"/>
                <a:gd name="connsiteY10530" fmla="*/ 265887 h 1729012"/>
                <a:gd name="connsiteX10531" fmla="*/ 1203163 w 2240198"/>
                <a:gd name="connsiteY10531" fmla="*/ 262257 h 1729012"/>
                <a:gd name="connsiteX10532" fmla="*/ 1201074 w 2240198"/>
                <a:gd name="connsiteY10532" fmla="*/ 259850 h 1729012"/>
                <a:gd name="connsiteX10533" fmla="*/ 1201356 w 2240198"/>
                <a:gd name="connsiteY10533" fmla="*/ 258908 h 1729012"/>
                <a:gd name="connsiteX10534" fmla="*/ 1202925 w 2240198"/>
                <a:gd name="connsiteY10534" fmla="*/ 258374 h 1729012"/>
                <a:gd name="connsiteX10535" fmla="*/ 1211877 w 2240198"/>
                <a:gd name="connsiteY10535" fmla="*/ 258829 h 1729012"/>
                <a:gd name="connsiteX10536" fmla="*/ 1213108 w 2240198"/>
                <a:gd name="connsiteY10536" fmla="*/ 258469 h 1729012"/>
                <a:gd name="connsiteX10537" fmla="*/ 1208630 w 2240198"/>
                <a:gd name="connsiteY10537" fmla="*/ 256656 h 1729012"/>
                <a:gd name="connsiteX10538" fmla="*/ 1194283 w 2240198"/>
                <a:gd name="connsiteY10538" fmla="*/ 253063 h 1729012"/>
                <a:gd name="connsiteX10539" fmla="*/ 1188898 w 2240198"/>
                <a:gd name="connsiteY10539" fmla="*/ 249885 h 1729012"/>
                <a:gd name="connsiteX10540" fmla="*/ 1187910 w 2240198"/>
                <a:gd name="connsiteY10540" fmla="*/ 248643 h 1729012"/>
                <a:gd name="connsiteX10541" fmla="*/ 1187503 w 2240198"/>
                <a:gd name="connsiteY10541" fmla="*/ 247419 h 1729012"/>
                <a:gd name="connsiteX10542" fmla="*/ 1187677 w 2240198"/>
                <a:gd name="connsiteY10542" fmla="*/ 246217 h 1729012"/>
                <a:gd name="connsiteX10543" fmla="*/ 1193068 w 2240198"/>
                <a:gd name="connsiteY10543" fmla="*/ 243786 h 1729012"/>
                <a:gd name="connsiteX10544" fmla="*/ 1209709 w 2240198"/>
                <a:gd name="connsiteY10544" fmla="*/ 238030 h 1729012"/>
                <a:gd name="connsiteX10545" fmla="*/ 1215425 w 2240198"/>
                <a:gd name="connsiteY10545" fmla="*/ 237134 h 1729012"/>
                <a:gd name="connsiteX10546" fmla="*/ 1221177 w 2240198"/>
                <a:gd name="connsiteY10546" fmla="*/ 237076 h 1729012"/>
                <a:gd name="connsiteX10547" fmla="*/ 1225183 w 2240198"/>
                <a:gd name="connsiteY10547" fmla="*/ 235415 h 1729012"/>
                <a:gd name="connsiteX10548" fmla="*/ 1228642 w 2240198"/>
                <a:gd name="connsiteY10548" fmla="*/ 229934 h 1729012"/>
                <a:gd name="connsiteX10549" fmla="*/ 1245875 w 2240198"/>
                <a:gd name="connsiteY10549" fmla="*/ 227959 h 1729012"/>
                <a:gd name="connsiteX10550" fmla="*/ 1259160 w 2240198"/>
                <a:gd name="connsiteY10550" fmla="*/ 225493 h 1729012"/>
                <a:gd name="connsiteX10551" fmla="*/ 1260269 w 2240198"/>
                <a:gd name="connsiteY10551" fmla="*/ 224822 h 1729012"/>
                <a:gd name="connsiteX10552" fmla="*/ 1250311 w 2240198"/>
                <a:gd name="connsiteY10552" fmla="*/ 225274 h 1729012"/>
                <a:gd name="connsiteX10553" fmla="*/ 1236230 w 2240198"/>
                <a:gd name="connsiteY10553" fmla="*/ 224780 h 1729012"/>
                <a:gd name="connsiteX10554" fmla="*/ 1230230 w 2240198"/>
                <a:gd name="connsiteY10554" fmla="*/ 221037 h 1729012"/>
                <a:gd name="connsiteX10555" fmla="*/ 1226169 w 2240198"/>
                <a:gd name="connsiteY10555" fmla="*/ 220399 h 1729012"/>
                <a:gd name="connsiteX10556" fmla="*/ 1221676 w 2240198"/>
                <a:gd name="connsiteY10556" fmla="*/ 220430 h 1729012"/>
                <a:gd name="connsiteX10557" fmla="*/ 1216448 w 2240198"/>
                <a:gd name="connsiteY10557" fmla="*/ 221605 h 1729012"/>
                <a:gd name="connsiteX10558" fmla="*/ 1207504 w 2240198"/>
                <a:gd name="connsiteY10558" fmla="*/ 225080 h 1729012"/>
                <a:gd name="connsiteX10559" fmla="*/ 1203203 w 2240198"/>
                <a:gd name="connsiteY10559" fmla="*/ 225886 h 1729012"/>
                <a:gd name="connsiteX10560" fmla="*/ 1193500 w 2240198"/>
                <a:gd name="connsiteY10560" fmla="*/ 229474 h 1729012"/>
                <a:gd name="connsiteX10561" fmla="*/ 1190795 w 2240198"/>
                <a:gd name="connsiteY10561" fmla="*/ 229220 h 1729012"/>
                <a:gd name="connsiteX10562" fmla="*/ 1189437 w 2240198"/>
                <a:gd name="connsiteY10562" fmla="*/ 228793 h 1729012"/>
                <a:gd name="connsiteX10563" fmla="*/ 1189031 w 2240198"/>
                <a:gd name="connsiteY10563" fmla="*/ 228092 h 1729012"/>
                <a:gd name="connsiteX10564" fmla="*/ 1190783 w 2240198"/>
                <a:gd name="connsiteY10564" fmla="*/ 225712 h 1729012"/>
                <a:gd name="connsiteX10565" fmla="*/ 1193334 w 2240198"/>
                <a:gd name="connsiteY10565" fmla="*/ 224083 h 1729012"/>
                <a:gd name="connsiteX10566" fmla="*/ 1192813 w 2240198"/>
                <a:gd name="connsiteY10566" fmla="*/ 223525 h 1729012"/>
                <a:gd name="connsiteX10567" fmla="*/ 1189008 w 2240198"/>
                <a:gd name="connsiteY10567" fmla="*/ 223181 h 1729012"/>
                <a:gd name="connsiteX10568" fmla="*/ 1184600 w 2240198"/>
                <a:gd name="connsiteY10568" fmla="*/ 223245 h 1729012"/>
                <a:gd name="connsiteX10569" fmla="*/ 1181538 w 2240198"/>
                <a:gd name="connsiteY10569" fmla="*/ 223808 h 1729012"/>
                <a:gd name="connsiteX10570" fmla="*/ 1170352 w 2240198"/>
                <a:gd name="connsiteY10570" fmla="*/ 226959 h 1729012"/>
                <a:gd name="connsiteX10571" fmla="*/ 1165340 w 2240198"/>
                <a:gd name="connsiteY10571" fmla="*/ 229314 h 1729012"/>
                <a:gd name="connsiteX10572" fmla="*/ 1163832 w 2240198"/>
                <a:gd name="connsiteY10572" fmla="*/ 229521 h 1729012"/>
                <a:gd name="connsiteX10573" fmla="*/ 1158421 w 2240198"/>
                <a:gd name="connsiteY10573" fmla="*/ 225843 h 1729012"/>
                <a:gd name="connsiteX10574" fmla="*/ 1149788 w 2240198"/>
                <a:gd name="connsiteY10574" fmla="*/ 223816 h 1729012"/>
                <a:gd name="connsiteX10575" fmla="*/ 1147862 w 2240198"/>
                <a:gd name="connsiteY10575" fmla="*/ 222234 h 1729012"/>
                <a:gd name="connsiteX10576" fmla="*/ 1149640 w 2240198"/>
                <a:gd name="connsiteY10576" fmla="*/ 216015 h 1729012"/>
                <a:gd name="connsiteX10577" fmla="*/ 1152161 w 2240198"/>
                <a:gd name="connsiteY10577" fmla="*/ 214735 h 1729012"/>
                <a:gd name="connsiteX10578" fmla="*/ 1158782 w 2240198"/>
                <a:gd name="connsiteY10578" fmla="*/ 213690 h 1729012"/>
                <a:gd name="connsiteX10579" fmla="*/ 1178627 w 2240198"/>
                <a:gd name="connsiteY10579" fmla="*/ 208021 h 1729012"/>
                <a:gd name="connsiteX10580" fmla="*/ 1179746 w 2240198"/>
                <a:gd name="connsiteY10580" fmla="*/ 206930 h 1729012"/>
                <a:gd name="connsiteX10581" fmla="*/ 1181615 w 2240198"/>
                <a:gd name="connsiteY10581" fmla="*/ 204053 h 1729012"/>
                <a:gd name="connsiteX10582" fmla="*/ 1177077 w 2240198"/>
                <a:gd name="connsiteY10582" fmla="*/ 204667 h 1729012"/>
                <a:gd name="connsiteX10583" fmla="*/ 1167132 w 2240198"/>
                <a:gd name="connsiteY10583" fmla="*/ 207445 h 1729012"/>
                <a:gd name="connsiteX10584" fmla="*/ 1158918 w 2240198"/>
                <a:gd name="connsiteY10584" fmla="*/ 208826 h 1729012"/>
                <a:gd name="connsiteX10585" fmla="*/ 1152439 w 2240198"/>
                <a:gd name="connsiteY10585" fmla="*/ 208818 h 1729012"/>
                <a:gd name="connsiteX10586" fmla="*/ 1147701 w 2240198"/>
                <a:gd name="connsiteY10586" fmla="*/ 208422 h 1729012"/>
                <a:gd name="connsiteX10587" fmla="*/ 1144705 w 2240198"/>
                <a:gd name="connsiteY10587" fmla="*/ 207641 h 1729012"/>
                <a:gd name="connsiteX10588" fmla="*/ 1141101 w 2240198"/>
                <a:gd name="connsiteY10588" fmla="*/ 205869 h 1729012"/>
                <a:gd name="connsiteX10589" fmla="*/ 1129358 w 2240198"/>
                <a:gd name="connsiteY10589" fmla="*/ 197660 h 1729012"/>
                <a:gd name="connsiteX10590" fmla="*/ 1126155 w 2240198"/>
                <a:gd name="connsiteY10590" fmla="*/ 193674 h 1729012"/>
                <a:gd name="connsiteX10591" fmla="*/ 1125707 w 2240198"/>
                <a:gd name="connsiteY10591" fmla="*/ 190149 h 1729012"/>
                <a:gd name="connsiteX10592" fmla="*/ 1124884 w 2240198"/>
                <a:gd name="connsiteY10592" fmla="*/ 187460 h 1729012"/>
                <a:gd name="connsiteX10593" fmla="*/ 1121485 w 2240198"/>
                <a:gd name="connsiteY10593" fmla="*/ 180989 h 1729012"/>
                <a:gd name="connsiteX10594" fmla="*/ 1146620 w 2240198"/>
                <a:gd name="connsiteY10594" fmla="*/ 185014 h 1729012"/>
                <a:gd name="connsiteX10595" fmla="*/ 1156462 w 2240198"/>
                <a:gd name="connsiteY10595" fmla="*/ 185775 h 1729012"/>
                <a:gd name="connsiteX10596" fmla="*/ 1175426 w 2240198"/>
                <a:gd name="connsiteY10596" fmla="*/ 186038 h 1729012"/>
                <a:gd name="connsiteX10597" fmla="*/ 1176316 w 2240198"/>
                <a:gd name="connsiteY10597" fmla="*/ 185644 h 1729012"/>
                <a:gd name="connsiteX10598" fmla="*/ 1176596 w 2240198"/>
                <a:gd name="connsiteY10598" fmla="*/ 184595 h 1729012"/>
                <a:gd name="connsiteX10599" fmla="*/ 1176269 w 2240198"/>
                <a:gd name="connsiteY10599" fmla="*/ 182893 h 1729012"/>
                <a:gd name="connsiteX10600" fmla="*/ 1176414 w 2240198"/>
                <a:gd name="connsiteY10600" fmla="*/ 181582 h 1729012"/>
                <a:gd name="connsiteX10601" fmla="*/ 1177032 w 2240198"/>
                <a:gd name="connsiteY10601" fmla="*/ 180663 h 1729012"/>
                <a:gd name="connsiteX10602" fmla="*/ 1184085 w 2240198"/>
                <a:gd name="connsiteY10602" fmla="*/ 178325 h 1729012"/>
                <a:gd name="connsiteX10603" fmla="*/ 1185146 w 2240198"/>
                <a:gd name="connsiteY10603" fmla="*/ 177555 h 1729012"/>
                <a:gd name="connsiteX10604" fmla="*/ 1176841 w 2240198"/>
                <a:gd name="connsiteY10604" fmla="*/ 177169 h 1729012"/>
                <a:gd name="connsiteX10605" fmla="*/ 1161571 w 2240198"/>
                <a:gd name="connsiteY10605" fmla="*/ 181071 h 1729012"/>
                <a:gd name="connsiteX10606" fmla="*/ 1156178 w 2240198"/>
                <a:gd name="connsiteY10606" fmla="*/ 181035 h 1729012"/>
                <a:gd name="connsiteX10607" fmla="*/ 1150062 w 2240198"/>
                <a:gd name="connsiteY10607" fmla="*/ 175455 h 1729012"/>
                <a:gd name="connsiteX10608" fmla="*/ 1143526 w 2240198"/>
                <a:gd name="connsiteY10608" fmla="*/ 176436 h 1729012"/>
                <a:gd name="connsiteX10609" fmla="*/ 1140441 w 2240198"/>
                <a:gd name="connsiteY10609" fmla="*/ 175992 h 1729012"/>
                <a:gd name="connsiteX10610" fmla="*/ 1135638 w 2240198"/>
                <a:gd name="connsiteY10610" fmla="*/ 174585 h 1729012"/>
                <a:gd name="connsiteX10611" fmla="*/ 1133274 w 2240198"/>
                <a:gd name="connsiteY10611" fmla="*/ 173356 h 1729012"/>
                <a:gd name="connsiteX10612" fmla="*/ 1131750 w 2240198"/>
                <a:gd name="connsiteY10612" fmla="*/ 171836 h 1729012"/>
                <a:gd name="connsiteX10613" fmla="*/ 1131099 w 2240198"/>
                <a:gd name="connsiteY10613" fmla="*/ 170554 h 1729012"/>
                <a:gd name="connsiteX10614" fmla="*/ 1131320 w 2240198"/>
                <a:gd name="connsiteY10614" fmla="*/ 169512 h 1729012"/>
                <a:gd name="connsiteX10615" fmla="*/ 1132614 w 2240198"/>
                <a:gd name="connsiteY10615" fmla="*/ 168350 h 1729012"/>
                <a:gd name="connsiteX10616" fmla="*/ 1138247 w 2240198"/>
                <a:gd name="connsiteY10616" fmla="*/ 166734 h 1729012"/>
                <a:gd name="connsiteX10617" fmla="*/ 1140791 w 2240198"/>
                <a:gd name="connsiteY10617" fmla="*/ 166579 h 1729012"/>
                <a:gd name="connsiteX10618" fmla="*/ 1147498 w 2240198"/>
                <a:gd name="connsiteY10618" fmla="*/ 167619 h 1729012"/>
                <a:gd name="connsiteX10619" fmla="*/ 1152525 w 2240198"/>
                <a:gd name="connsiteY10619" fmla="*/ 167541 h 1729012"/>
                <a:gd name="connsiteX10620" fmla="*/ 1150868 w 2240198"/>
                <a:gd name="connsiteY10620" fmla="*/ 165808 h 1729012"/>
                <a:gd name="connsiteX10621" fmla="*/ 1143600 w 2240198"/>
                <a:gd name="connsiteY10621" fmla="*/ 161438 h 1729012"/>
                <a:gd name="connsiteX10622" fmla="*/ 1137243 w 2240198"/>
                <a:gd name="connsiteY10622" fmla="*/ 156589 h 1729012"/>
                <a:gd name="connsiteX10623" fmla="*/ 1137723 w 2240198"/>
                <a:gd name="connsiteY10623" fmla="*/ 148464 h 1729012"/>
                <a:gd name="connsiteX10624" fmla="*/ 1142944 w 2240198"/>
                <a:gd name="connsiteY10624" fmla="*/ 146737 h 1729012"/>
                <a:gd name="connsiteX10625" fmla="*/ 1148354 w 2240198"/>
                <a:gd name="connsiteY10625" fmla="*/ 146455 h 1729012"/>
                <a:gd name="connsiteX10626" fmla="*/ 1153636 w 2240198"/>
                <a:gd name="connsiteY10626" fmla="*/ 148514 h 1729012"/>
                <a:gd name="connsiteX10627" fmla="*/ 1160722 w 2240198"/>
                <a:gd name="connsiteY10627" fmla="*/ 148796 h 1729012"/>
                <a:gd name="connsiteX10628" fmla="*/ 1165796 w 2240198"/>
                <a:gd name="connsiteY10628" fmla="*/ 151117 h 1729012"/>
                <a:gd name="connsiteX10629" fmla="*/ 1169172 w 2240198"/>
                <a:gd name="connsiteY10629" fmla="*/ 155564 h 1729012"/>
                <a:gd name="connsiteX10630" fmla="*/ 1173181 w 2240198"/>
                <a:gd name="connsiteY10630" fmla="*/ 155478 h 1729012"/>
                <a:gd name="connsiteX10631" fmla="*/ 1179496 w 2240198"/>
                <a:gd name="connsiteY10631" fmla="*/ 156318 h 1729012"/>
                <a:gd name="connsiteX10632" fmla="*/ 1193632 w 2240198"/>
                <a:gd name="connsiteY10632" fmla="*/ 156253 h 1729012"/>
                <a:gd name="connsiteX10633" fmla="*/ 1191077 w 2240198"/>
                <a:gd name="connsiteY10633" fmla="*/ 154665 h 1729012"/>
                <a:gd name="connsiteX10634" fmla="*/ 1186679 w 2240198"/>
                <a:gd name="connsiteY10634" fmla="*/ 153279 h 1729012"/>
                <a:gd name="connsiteX10635" fmla="*/ 1176684 w 2240198"/>
                <a:gd name="connsiteY10635" fmla="*/ 151460 h 1729012"/>
                <a:gd name="connsiteX10636" fmla="*/ 1171812 w 2240198"/>
                <a:gd name="connsiteY10636" fmla="*/ 144929 h 1729012"/>
                <a:gd name="connsiteX10637" fmla="*/ 1161482 w 2240198"/>
                <a:gd name="connsiteY10637" fmla="*/ 141554 h 1729012"/>
                <a:gd name="connsiteX10638" fmla="*/ 1153396 w 2240198"/>
                <a:gd name="connsiteY10638" fmla="*/ 139787 h 1729012"/>
                <a:gd name="connsiteX10639" fmla="*/ 1153534 w 2240198"/>
                <a:gd name="connsiteY10639" fmla="*/ 138299 h 1729012"/>
                <a:gd name="connsiteX10640" fmla="*/ 1159607 w 2240198"/>
                <a:gd name="connsiteY10640" fmla="*/ 130124 h 1729012"/>
                <a:gd name="connsiteX10641" fmla="*/ 1166942 w 2240198"/>
                <a:gd name="connsiteY10641" fmla="*/ 127211 h 1729012"/>
                <a:gd name="connsiteX10642" fmla="*/ 1178634 w 2240198"/>
                <a:gd name="connsiteY10642" fmla="*/ 128311 h 1729012"/>
                <a:gd name="connsiteX10643" fmla="*/ 1186320 w 2240198"/>
                <a:gd name="connsiteY10643" fmla="*/ 126763 h 1729012"/>
                <a:gd name="connsiteX10644" fmla="*/ 1196218 w 2240198"/>
                <a:gd name="connsiteY10644" fmla="*/ 123865 h 1729012"/>
                <a:gd name="connsiteX10645" fmla="*/ 1205908 w 2240198"/>
                <a:gd name="connsiteY10645" fmla="*/ 125207 h 1729012"/>
                <a:gd name="connsiteX10646" fmla="*/ 1208409 w 2240198"/>
                <a:gd name="connsiteY10646" fmla="*/ 125082 h 1729012"/>
                <a:gd name="connsiteX10647" fmla="*/ 1209891 w 2240198"/>
                <a:gd name="connsiteY10647" fmla="*/ 124188 h 1729012"/>
                <a:gd name="connsiteX10648" fmla="*/ 1211186 w 2240198"/>
                <a:gd name="connsiteY10648" fmla="*/ 122482 h 1729012"/>
                <a:gd name="connsiteX10649" fmla="*/ 1211193 w 2240198"/>
                <a:gd name="connsiteY10649" fmla="*/ 120911 h 1729012"/>
                <a:gd name="connsiteX10650" fmla="*/ 1209911 w 2240198"/>
                <a:gd name="connsiteY10650" fmla="*/ 119467 h 1729012"/>
                <a:gd name="connsiteX10651" fmla="*/ 1206852 w 2240198"/>
                <a:gd name="connsiteY10651" fmla="*/ 117681 h 1729012"/>
                <a:gd name="connsiteX10652" fmla="*/ 1194481 w 2240198"/>
                <a:gd name="connsiteY10652" fmla="*/ 117428 h 1729012"/>
                <a:gd name="connsiteX10653" fmla="*/ 1189007 w 2240198"/>
                <a:gd name="connsiteY10653" fmla="*/ 116727 h 1729012"/>
                <a:gd name="connsiteX10654" fmla="*/ 1186874 w 2240198"/>
                <a:gd name="connsiteY10654" fmla="*/ 115771 h 1729012"/>
                <a:gd name="connsiteX10655" fmla="*/ 1186261 w 2240198"/>
                <a:gd name="connsiteY10655" fmla="*/ 114330 h 1729012"/>
                <a:gd name="connsiteX10656" fmla="*/ 1185935 w 2240198"/>
                <a:gd name="connsiteY10656" fmla="*/ 112844 h 1729012"/>
                <a:gd name="connsiteX10657" fmla="*/ 1185898 w 2240198"/>
                <a:gd name="connsiteY10657" fmla="*/ 111314 h 1729012"/>
                <a:gd name="connsiteX10658" fmla="*/ 1186223 w 2240198"/>
                <a:gd name="connsiteY10658" fmla="*/ 110375 h 1729012"/>
                <a:gd name="connsiteX10659" fmla="*/ 1187257 w 2240198"/>
                <a:gd name="connsiteY10659" fmla="*/ 109865 h 1729012"/>
                <a:gd name="connsiteX10660" fmla="*/ 1190290 w 2240198"/>
                <a:gd name="connsiteY10660" fmla="*/ 109259 h 1729012"/>
                <a:gd name="connsiteX10661" fmla="*/ 1201824 w 2240198"/>
                <a:gd name="connsiteY10661" fmla="*/ 109182 h 1729012"/>
                <a:gd name="connsiteX10662" fmla="*/ 1801120 w 2240198"/>
                <a:gd name="connsiteY10662" fmla="*/ 0 h 1729012"/>
                <a:gd name="connsiteX10663" fmla="*/ 1803712 w 2240198"/>
                <a:gd name="connsiteY10663" fmla="*/ 413 h 1729012"/>
                <a:gd name="connsiteX10664" fmla="*/ 1805882 w 2240198"/>
                <a:gd name="connsiteY10664" fmla="*/ 1499 h 1729012"/>
                <a:gd name="connsiteX10665" fmla="*/ 1811276 w 2240198"/>
                <a:gd name="connsiteY10665" fmla="*/ 5790 h 1729012"/>
                <a:gd name="connsiteX10666" fmla="*/ 1813317 w 2240198"/>
                <a:gd name="connsiteY10666" fmla="*/ 6304 h 1729012"/>
                <a:gd name="connsiteX10667" fmla="*/ 1833999 w 2240198"/>
                <a:gd name="connsiteY10667" fmla="*/ 7446 h 1729012"/>
                <a:gd name="connsiteX10668" fmla="*/ 1840699 w 2240198"/>
                <a:gd name="connsiteY10668" fmla="*/ 7034 h 1729012"/>
                <a:gd name="connsiteX10669" fmla="*/ 1848360 w 2240198"/>
                <a:gd name="connsiteY10669" fmla="*/ 9825 h 1729012"/>
                <a:gd name="connsiteX10670" fmla="*/ 1852982 w 2240198"/>
                <a:gd name="connsiteY10670" fmla="*/ 10152 h 1729012"/>
                <a:gd name="connsiteX10671" fmla="*/ 1860592 w 2240198"/>
                <a:gd name="connsiteY10671" fmla="*/ 9621 h 1729012"/>
                <a:gd name="connsiteX10672" fmla="*/ 1866140 w 2240198"/>
                <a:gd name="connsiteY10672" fmla="*/ 10285 h 1729012"/>
                <a:gd name="connsiteX10673" fmla="*/ 1886781 w 2240198"/>
                <a:gd name="connsiteY10673" fmla="*/ 10909 h 1729012"/>
                <a:gd name="connsiteX10674" fmla="*/ 1891068 w 2240198"/>
                <a:gd name="connsiteY10674" fmla="*/ 11995 h 1729012"/>
                <a:gd name="connsiteX10675" fmla="*/ 1891011 w 2240198"/>
                <a:gd name="connsiteY10675" fmla="*/ 13303 h 1729012"/>
                <a:gd name="connsiteX10676" fmla="*/ 1886559 w 2240198"/>
                <a:gd name="connsiteY10676" fmla="*/ 16138 h 1729012"/>
                <a:gd name="connsiteX10677" fmla="*/ 1880577 w 2240198"/>
                <a:gd name="connsiteY10677" fmla="*/ 18867 h 1729012"/>
                <a:gd name="connsiteX10678" fmla="*/ 1842004 w 2240198"/>
                <a:gd name="connsiteY10678" fmla="*/ 27732 h 1729012"/>
                <a:gd name="connsiteX10679" fmla="*/ 1839169 w 2240198"/>
                <a:gd name="connsiteY10679" fmla="*/ 29201 h 1729012"/>
                <a:gd name="connsiteX10680" fmla="*/ 1846687 w 2240198"/>
                <a:gd name="connsiteY10680" fmla="*/ 29666 h 1729012"/>
                <a:gd name="connsiteX10681" fmla="*/ 1857767 w 2240198"/>
                <a:gd name="connsiteY10681" fmla="*/ 29260 h 1729012"/>
                <a:gd name="connsiteX10682" fmla="*/ 1866359 w 2240198"/>
                <a:gd name="connsiteY10682" fmla="*/ 28277 h 1729012"/>
                <a:gd name="connsiteX10683" fmla="*/ 1876484 w 2240198"/>
                <a:gd name="connsiteY10683" fmla="*/ 25270 h 1729012"/>
                <a:gd name="connsiteX10684" fmla="*/ 1879831 w 2240198"/>
                <a:gd name="connsiteY10684" fmla="*/ 25095 h 1729012"/>
                <a:gd name="connsiteX10685" fmla="*/ 1886268 w 2240198"/>
                <a:gd name="connsiteY10685" fmla="*/ 23636 h 1729012"/>
                <a:gd name="connsiteX10686" fmla="*/ 1898728 w 2240198"/>
                <a:gd name="connsiteY10686" fmla="*/ 19546 h 1729012"/>
                <a:gd name="connsiteX10687" fmla="*/ 1908693 w 2240198"/>
                <a:gd name="connsiteY10687" fmla="*/ 17322 h 1729012"/>
                <a:gd name="connsiteX10688" fmla="*/ 1913203 w 2240198"/>
                <a:gd name="connsiteY10688" fmla="*/ 18298 h 1729012"/>
                <a:gd name="connsiteX10689" fmla="*/ 1916997 w 2240198"/>
                <a:gd name="connsiteY10689" fmla="*/ 19844 h 1729012"/>
                <a:gd name="connsiteX10690" fmla="*/ 1919557 w 2240198"/>
                <a:gd name="connsiteY10690" fmla="*/ 20019 h 1729012"/>
                <a:gd name="connsiteX10691" fmla="*/ 1920886 w 2240198"/>
                <a:gd name="connsiteY10691" fmla="*/ 18830 h 1729012"/>
                <a:gd name="connsiteX10692" fmla="*/ 1923022 w 2240198"/>
                <a:gd name="connsiteY10692" fmla="*/ 15577 h 1729012"/>
                <a:gd name="connsiteX10693" fmla="*/ 1924269 w 2240198"/>
                <a:gd name="connsiteY10693" fmla="*/ 14391 h 1729012"/>
                <a:gd name="connsiteX10694" fmla="*/ 1927548 w 2240198"/>
                <a:gd name="connsiteY10694" fmla="*/ 13546 h 1729012"/>
                <a:gd name="connsiteX10695" fmla="*/ 1929551 w 2240198"/>
                <a:gd name="connsiteY10695" fmla="*/ 13639 h 1729012"/>
                <a:gd name="connsiteX10696" fmla="*/ 1932800 w 2240198"/>
                <a:gd name="connsiteY10696" fmla="*/ 15177 h 1729012"/>
                <a:gd name="connsiteX10697" fmla="*/ 1936400 w 2240198"/>
                <a:gd name="connsiteY10697" fmla="*/ 18823 h 1729012"/>
                <a:gd name="connsiteX10698" fmla="*/ 1939715 w 2240198"/>
                <a:gd name="connsiteY10698" fmla="*/ 21352 h 1729012"/>
                <a:gd name="connsiteX10699" fmla="*/ 1941507 w 2240198"/>
                <a:gd name="connsiteY10699" fmla="*/ 21396 h 1729012"/>
                <a:gd name="connsiteX10700" fmla="*/ 1949092 w 2240198"/>
                <a:gd name="connsiteY10700" fmla="*/ 18534 h 1729012"/>
                <a:gd name="connsiteX10701" fmla="*/ 1952912 w 2240198"/>
                <a:gd name="connsiteY10701" fmla="*/ 18162 h 1729012"/>
                <a:gd name="connsiteX10702" fmla="*/ 1961598 w 2240198"/>
                <a:gd name="connsiteY10702" fmla="*/ 19202 h 1729012"/>
                <a:gd name="connsiteX10703" fmla="*/ 1965206 w 2240198"/>
                <a:gd name="connsiteY10703" fmla="*/ 20462 h 1729012"/>
                <a:gd name="connsiteX10704" fmla="*/ 1965857 w 2240198"/>
                <a:gd name="connsiteY10704" fmla="*/ 21804 h 1729012"/>
                <a:gd name="connsiteX10705" fmla="*/ 1963549 w 2240198"/>
                <a:gd name="connsiteY10705" fmla="*/ 23219 h 1729012"/>
                <a:gd name="connsiteX10706" fmla="*/ 1962115 w 2240198"/>
                <a:gd name="connsiteY10706" fmla="*/ 24439 h 1729012"/>
                <a:gd name="connsiteX10707" fmla="*/ 1961559 w 2240198"/>
                <a:gd name="connsiteY10707" fmla="*/ 25463 h 1729012"/>
                <a:gd name="connsiteX10708" fmla="*/ 1962824 w 2240198"/>
                <a:gd name="connsiteY10708" fmla="*/ 26652 h 1729012"/>
                <a:gd name="connsiteX10709" fmla="*/ 1968080 w 2240198"/>
                <a:gd name="connsiteY10709" fmla="*/ 29196 h 1729012"/>
                <a:gd name="connsiteX10710" fmla="*/ 1975688 w 2240198"/>
                <a:gd name="connsiteY10710" fmla="*/ 34715 h 1729012"/>
                <a:gd name="connsiteX10711" fmla="*/ 1975644 w 2240198"/>
                <a:gd name="connsiteY10711" fmla="*/ 36739 h 1729012"/>
                <a:gd name="connsiteX10712" fmla="*/ 1971492 w 2240198"/>
                <a:gd name="connsiteY10712" fmla="*/ 40852 h 1729012"/>
                <a:gd name="connsiteX10713" fmla="*/ 1971594 w 2240198"/>
                <a:gd name="connsiteY10713" fmla="*/ 41889 h 1729012"/>
                <a:gd name="connsiteX10714" fmla="*/ 1991160 w 2240198"/>
                <a:gd name="connsiteY10714" fmla="*/ 37564 h 1729012"/>
                <a:gd name="connsiteX10715" fmla="*/ 2010887 w 2240198"/>
                <a:gd name="connsiteY10715" fmla="*/ 39494 h 1729012"/>
                <a:gd name="connsiteX10716" fmla="*/ 2016469 w 2240198"/>
                <a:gd name="connsiteY10716" fmla="*/ 40815 h 1729012"/>
                <a:gd name="connsiteX10717" fmla="*/ 2018613 w 2240198"/>
                <a:gd name="connsiteY10717" fmla="*/ 42405 h 1729012"/>
                <a:gd name="connsiteX10718" fmla="*/ 2020894 w 2240198"/>
                <a:gd name="connsiteY10718" fmla="*/ 45025 h 1729012"/>
                <a:gd name="connsiteX10719" fmla="*/ 2023310 w 2240198"/>
                <a:gd name="connsiteY10719" fmla="*/ 48669 h 1729012"/>
                <a:gd name="connsiteX10720" fmla="*/ 2021629 w 2240198"/>
                <a:gd name="connsiteY10720" fmla="*/ 52464 h 1729012"/>
                <a:gd name="connsiteX10721" fmla="*/ 2012961 w 2240198"/>
                <a:gd name="connsiteY10721" fmla="*/ 58362 h 1729012"/>
                <a:gd name="connsiteX10722" fmla="*/ 2004003 w 2240198"/>
                <a:gd name="connsiteY10722" fmla="*/ 62935 h 1729012"/>
                <a:gd name="connsiteX10723" fmla="*/ 1998728 w 2240198"/>
                <a:gd name="connsiteY10723" fmla="*/ 67048 h 1729012"/>
                <a:gd name="connsiteX10724" fmla="*/ 1990619 w 2240198"/>
                <a:gd name="connsiteY10724" fmla="*/ 69297 h 1729012"/>
                <a:gd name="connsiteX10725" fmla="*/ 1962833 w 2240198"/>
                <a:gd name="connsiteY10725" fmla="*/ 79175 h 1729012"/>
                <a:gd name="connsiteX10726" fmla="*/ 1949252 w 2240198"/>
                <a:gd name="connsiteY10726" fmla="*/ 82340 h 1729012"/>
                <a:gd name="connsiteX10727" fmla="*/ 1941446 w 2240198"/>
                <a:gd name="connsiteY10727" fmla="*/ 85450 h 1729012"/>
                <a:gd name="connsiteX10728" fmla="*/ 1937940 w 2240198"/>
                <a:gd name="connsiteY10728" fmla="*/ 85991 h 1729012"/>
                <a:gd name="connsiteX10729" fmla="*/ 1921405 w 2240198"/>
                <a:gd name="connsiteY10729" fmla="*/ 85396 h 1729012"/>
                <a:gd name="connsiteX10730" fmla="*/ 1917017 w 2240198"/>
                <a:gd name="connsiteY10730" fmla="*/ 87108 h 1729012"/>
                <a:gd name="connsiteX10731" fmla="*/ 1914577 w 2240198"/>
                <a:gd name="connsiteY10731" fmla="*/ 89985 h 1729012"/>
                <a:gd name="connsiteX10732" fmla="*/ 1909363 w 2240198"/>
                <a:gd name="connsiteY10732" fmla="*/ 91352 h 1729012"/>
                <a:gd name="connsiteX10733" fmla="*/ 1901663 w 2240198"/>
                <a:gd name="connsiteY10733" fmla="*/ 92330 h 1729012"/>
                <a:gd name="connsiteX10734" fmla="*/ 1885917 w 2240198"/>
                <a:gd name="connsiteY10734" fmla="*/ 93122 h 1729012"/>
                <a:gd name="connsiteX10735" fmla="*/ 1882384 w 2240198"/>
                <a:gd name="connsiteY10735" fmla="*/ 96357 h 1729012"/>
                <a:gd name="connsiteX10736" fmla="*/ 1881483 w 2240198"/>
                <a:gd name="connsiteY10736" fmla="*/ 98550 h 1729012"/>
                <a:gd name="connsiteX10737" fmla="*/ 1879947 w 2240198"/>
                <a:gd name="connsiteY10737" fmla="*/ 100251 h 1729012"/>
                <a:gd name="connsiteX10738" fmla="*/ 1878606 w 2240198"/>
                <a:gd name="connsiteY10738" fmla="*/ 101071 h 1729012"/>
                <a:gd name="connsiteX10739" fmla="*/ 1833612 w 2240198"/>
                <a:gd name="connsiteY10739" fmla="*/ 112626 h 1729012"/>
                <a:gd name="connsiteX10740" fmla="*/ 1832783 w 2240198"/>
                <a:gd name="connsiteY10740" fmla="*/ 114553 h 1729012"/>
                <a:gd name="connsiteX10741" fmla="*/ 1837312 w 2240198"/>
                <a:gd name="connsiteY10741" fmla="*/ 115347 h 1729012"/>
                <a:gd name="connsiteX10742" fmla="*/ 1843015 w 2240198"/>
                <a:gd name="connsiteY10742" fmla="*/ 114553 h 1729012"/>
                <a:gd name="connsiteX10743" fmla="*/ 1908485 w 2240198"/>
                <a:gd name="connsiteY10743" fmla="*/ 100519 h 1729012"/>
                <a:gd name="connsiteX10744" fmla="*/ 1921054 w 2240198"/>
                <a:gd name="connsiteY10744" fmla="*/ 99587 h 1729012"/>
                <a:gd name="connsiteX10745" fmla="*/ 1932716 w 2240198"/>
                <a:gd name="connsiteY10745" fmla="*/ 100602 h 1729012"/>
                <a:gd name="connsiteX10746" fmla="*/ 1931380 w 2240198"/>
                <a:gd name="connsiteY10746" fmla="*/ 103878 h 1729012"/>
                <a:gd name="connsiteX10747" fmla="*/ 1914867 w 2240198"/>
                <a:gd name="connsiteY10747" fmla="*/ 113140 h 1729012"/>
                <a:gd name="connsiteX10748" fmla="*/ 1893850 w 2240198"/>
                <a:gd name="connsiteY10748" fmla="*/ 121449 h 1729012"/>
                <a:gd name="connsiteX10749" fmla="*/ 1883352 w 2240198"/>
                <a:gd name="connsiteY10749" fmla="*/ 127732 h 1729012"/>
                <a:gd name="connsiteX10750" fmla="*/ 1856792 w 2240198"/>
                <a:gd name="connsiteY10750" fmla="*/ 138525 h 1729012"/>
                <a:gd name="connsiteX10751" fmla="*/ 1835083 w 2240198"/>
                <a:gd name="connsiteY10751" fmla="*/ 149214 h 1729012"/>
                <a:gd name="connsiteX10752" fmla="*/ 1826744 w 2240198"/>
                <a:gd name="connsiteY10752" fmla="*/ 154625 h 1729012"/>
                <a:gd name="connsiteX10753" fmla="*/ 1815568 w 2240198"/>
                <a:gd name="connsiteY10753" fmla="*/ 164252 h 1729012"/>
                <a:gd name="connsiteX10754" fmla="*/ 1811751 w 2240198"/>
                <a:gd name="connsiteY10754" fmla="*/ 166568 h 1729012"/>
                <a:gd name="connsiteX10755" fmla="*/ 1807108 w 2240198"/>
                <a:gd name="connsiteY10755" fmla="*/ 167522 h 1729012"/>
                <a:gd name="connsiteX10756" fmla="*/ 1801642 w 2240198"/>
                <a:gd name="connsiteY10756" fmla="*/ 167122 h 1729012"/>
                <a:gd name="connsiteX10757" fmla="*/ 1796718 w 2240198"/>
                <a:gd name="connsiteY10757" fmla="*/ 165725 h 1729012"/>
                <a:gd name="connsiteX10758" fmla="*/ 1790148 w 2240198"/>
                <a:gd name="connsiteY10758" fmla="*/ 162135 h 1729012"/>
                <a:gd name="connsiteX10759" fmla="*/ 1784163 w 2240198"/>
                <a:gd name="connsiteY10759" fmla="*/ 158112 h 1729012"/>
                <a:gd name="connsiteX10760" fmla="*/ 1782288 w 2240198"/>
                <a:gd name="connsiteY10760" fmla="*/ 157403 h 1729012"/>
                <a:gd name="connsiteX10761" fmla="*/ 1783423 w 2240198"/>
                <a:gd name="connsiteY10761" fmla="*/ 159402 h 1729012"/>
                <a:gd name="connsiteX10762" fmla="*/ 1794962 w 2240198"/>
                <a:gd name="connsiteY10762" fmla="*/ 172730 h 1729012"/>
                <a:gd name="connsiteX10763" fmla="*/ 1793641 w 2240198"/>
                <a:gd name="connsiteY10763" fmla="*/ 175301 h 1729012"/>
                <a:gd name="connsiteX10764" fmla="*/ 1772457 w 2240198"/>
                <a:gd name="connsiteY10764" fmla="*/ 178010 h 1729012"/>
                <a:gd name="connsiteX10765" fmla="*/ 1763082 w 2240198"/>
                <a:gd name="connsiteY10765" fmla="*/ 180402 h 1729012"/>
                <a:gd name="connsiteX10766" fmla="*/ 1758245 w 2240198"/>
                <a:gd name="connsiteY10766" fmla="*/ 180981 h 1729012"/>
                <a:gd name="connsiteX10767" fmla="*/ 1754820 w 2240198"/>
                <a:gd name="connsiteY10767" fmla="*/ 180550 h 1729012"/>
                <a:gd name="connsiteX10768" fmla="*/ 1751479 w 2240198"/>
                <a:gd name="connsiteY10768" fmla="*/ 180794 h 1729012"/>
                <a:gd name="connsiteX10769" fmla="*/ 1748226 w 2240198"/>
                <a:gd name="connsiteY10769" fmla="*/ 181717 h 1729012"/>
                <a:gd name="connsiteX10770" fmla="*/ 1748047 w 2240198"/>
                <a:gd name="connsiteY10770" fmla="*/ 182744 h 1729012"/>
                <a:gd name="connsiteX10771" fmla="*/ 1750946 w 2240198"/>
                <a:gd name="connsiteY10771" fmla="*/ 183867 h 1729012"/>
                <a:gd name="connsiteX10772" fmla="*/ 1759379 w 2240198"/>
                <a:gd name="connsiteY10772" fmla="*/ 184746 h 1729012"/>
                <a:gd name="connsiteX10773" fmla="*/ 1778119 w 2240198"/>
                <a:gd name="connsiteY10773" fmla="*/ 181771 h 1729012"/>
                <a:gd name="connsiteX10774" fmla="*/ 1781124 w 2240198"/>
                <a:gd name="connsiteY10774" fmla="*/ 181984 h 1729012"/>
                <a:gd name="connsiteX10775" fmla="*/ 1785945 w 2240198"/>
                <a:gd name="connsiteY10775" fmla="*/ 183432 h 1729012"/>
                <a:gd name="connsiteX10776" fmla="*/ 1786181 w 2240198"/>
                <a:gd name="connsiteY10776" fmla="*/ 184748 h 1729012"/>
                <a:gd name="connsiteX10777" fmla="*/ 1781149 w 2240198"/>
                <a:gd name="connsiteY10777" fmla="*/ 188961 h 1729012"/>
                <a:gd name="connsiteX10778" fmla="*/ 1765978 w 2240198"/>
                <a:gd name="connsiteY10778" fmla="*/ 193985 h 1729012"/>
                <a:gd name="connsiteX10779" fmla="*/ 1767961 w 2240198"/>
                <a:gd name="connsiteY10779" fmla="*/ 194269 h 1729012"/>
                <a:gd name="connsiteX10780" fmla="*/ 1772305 w 2240198"/>
                <a:gd name="connsiteY10780" fmla="*/ 196046 h 1729012"/>
                <a:gd name="connsiteX10781" fmla="*/ 1772207 w 2240198"/>
                <a:gd name="connsiteY10781" fmla="*/ 197644 h 1729012"/>
                <a:gd name="connsiteX10782" fmla="*/ 1767430 w 2240198"/>
                <a:gd name="connsiteY10782" fmla="*/ 201397 h 1729012"/>
                <a:gd name="connsiteX10783" fmla="*/ 1765167 w 2240198"/>
                <a:gd name="connsiteY10783" fmla="*/ 202592 h 1729012"/>
                <a:gd name="connsiteX10784" fmla="*/ 1750544 w 2240198"/>
                <a:gd name="connsiteY10784" fmla="*/ 206076 h 1729012"/>
                <a:gd name="connsiteX10785" fmla="*/ 1744179 w 2240198"/>
                <a:gd name="connsiteY10785" fmla="*/ 206894 h 1729012"/>
                <a:gd name="connsiteX10786" fmla="*/ 1738575 w 2240198"/>
                <a:gd name="connsiteY10786" fmla="*/ 206460 h 1729012"/>
                <a:gd name="connsiteX10787" fmla="*/ 1712924 w 2240198"/>
                <a:gd name="connsiteY10787" fmla="*/ 198836 h 1729012"/>
                <a:gd name="connsiteX10788" fmla="*/ 1703874 w 2240198"/>
                <a:gd name="connsiteY10788" fmla="*/ 197730 h 1729012"/>
                <a:gd name="connsiteX10789" fmla="*/ 1695274 w 2240198"/>
                <a:gd name="connsiteY10789" fmla="*/ 195800 h 1729012"/>
                <a:gd name="connsiteX10790" fmla="*/ 1688929 w 2240198"/>
                <a:gd name="connsiteY10790" fmla="*/ 196130 h 1729012"/>
                <a:gd name="connsiteX10791" fmla="*/ 1682191 w 2240198"/>
                <a:gd name="connsiteY10791" fmla="*/ 198371 h 1729012"/>
                <a:gd name="connsiteX10792" fmla="*/ 1685221 w 2240198"/>
                <a:gd name="connsiteY10792" fmla="*/ 199498 h 1729012"/>
                <a:gd name="connsiteX10793" fmla="*/ 1697639 w 2240198"/>
                <a:gd name="connsiteY10793" fmla="*/ 201647 h 1729012"/>
                <a:gd name="connsiteX10794" fmla="*/ 1708007 w 2240198"/>
                <a:gd name="connsiteY10794" fmla="*/ 202062 h 1729012"/>
                <a:gd name="connsiteX10795" fmla="*/ 1712309 w 2240198"/>
                <a:gd name="connsiteY10795" fmla="*/ 202898 h 1729012"/>
                <a:gd name="connsiteX10796" fmla="*/ 1713996 w 2240198"/>
                <a:gd name="connsiteY10796" fmla="*/ 204292 h 1729012"/>
                <a:gd name="connsiteX10797" fmla="*/ 1718472 w 2240198"/>
                <a:gd name="connsiteY10797" fmla="*/ 209347 h 1729012"/>
                <a:gd name="connsiteX10798" fmla="*/ 1719189 w 2240198"/>
                <a:gd name="connsiteY10798" fmla="*/ 212061 h 1729012"/>
                <a:gd name="connsiteX10799" fmla="*/ 1718199 w 2240198"/>
                <a:gd name="connsiteY10799" fmla="*/ 214580 h 1729012"/>
                <a:gd name="connsiteX10800" fmla="*/ 1716845 w 2240198"/>
                <a:gd name="connsiteY10800" fmla="*/ 216345 h 1729012"/>
                <a:gd name="connsiteX10801" fmla="*/ 1715121 w 2240198"/>
                <a:gd name="connsiteY10801" fmla="*/ 217347 h 1729012"/>
                <a:gd name="connsiteX10802" fmla="*/ 1712470 w 2240198"/>
                <a:gd name="connsiteY10802" fmla="*/ 217852 h 1729012"/>
                <a:gd name="connsiteX10803" fmla="*/ 1702331 w 2240198"/>
                <a:gd name="connsiteY10803" fmla="*/ 217495 h 1729012"/>
                <a:gd name="connsiteX10804" fmla="*/ 1698542 w 2240198"/>
                <a:gd name="connsiteY10804" fmla="*/ 218115 h 1729012"/>
                <a:gd name="connsiteX10805" fmla="*/ 1694148 w 2240198"/>
                <a:gd name="connsiteY10805" fmla="*/ 219585 h 1729012"/>
                <a:gd name="connsiteX10806" fmla="*/ 1688637 w 2240198"/>
                <a:gd name="connsiteY10806" fmla="*/ 220222 h 1729012"/>
                <a:gd name="connsiteX10807" fmla="*/ 1678698 w 2240198"/>
                <a:gd name="connsiteY10807" fmla="*/ 219929 h 1729012"/>
                <a:gd name="connsiteX10808" fmla="*/ 1666996 w 2240198"/>
                <a:gd name="connsiteY10808" fmla="*/ 222073 h 1729012"/>
                <a:gd name="connsiteX10809" fmla="*/ 1660811 w 2240198"/>
                <a:gd name="connsiteY10809" fmla="*/ 222465 h 1729012"/>
                <a:gd name="connsiteX10810" fmla="*/ 1653954 w 2240198"/>
                <a:gd name="connsiteY10810" fmla="*/ 221498 h 1729012"/>
                <a:gd name="connsiteX10811" fmla="*/ 1646522 w 2240198"/>
                <a:gd name="connsiteY10811" fmla="*/ 219104 h 1729012"/>
                <a:gd name="connsiteX10812" fmla="*/ 1638683 w 2240198"/>
                <a:gd name="connsiteY10812" fmla="*/ 217893 h 1729012"/>
                <a:gd name="connsiteX10813" fmla="*/ 1625429 w 2240198"/>
                <a:gd name="connsiteY10813" fmla="*/ 216873 h 1729012"/>
                <a:gd name="connsiteX10814" fmla="*/ 1626537 w 2240198"/>
                <a:gd name="connsiteY10814" fmla="*/ 218246 h 1729012"/>
                <a:gd name="connsiteX10815" fmla="*/ 1631208 w 2240198"/>
                <a:gd name="connsiteY10815" fmla="*/ 218825 h 1729012"/>
                <a:gd name="connsiteX10816" fmla="*/ 1640721 w 2240198"/>
                <a:gd name="connsiteY10816" fmla="*/ 222496 h 1729012"/>
                <a:gd name="connsiteX10817" fmla="*/ 1645269 w 2240198"/>
                <a:gd name="connsiteY10817" fmla="*/ 227467 h 1729012"/>
                <a:gd name="connsiteX10818" fmla="*/ 1649550 w 2240198"/>
                <a:gd name="connsiteY10818" fmla="*/ 228307 h 1729012"/>
                <a:gd name="connsiteX10819" fmla="*/ 1658292 w 2240198"/>
                <a:gd name="connsiteY10819" fmla="*/ 232375 h 1729012"/>
                <a:gd name="connsiteX10820" fmla="*/ 1664607 w 2240198"/>
                <a:gd name="connsiteY10820" fmla="*/ 233010 h 1729012"/>
                <a:gd name="connsiteX10821" fmla="*/ 1671202 w 2240198"/>
                <a:gd name="connsiteY10821" fmla="*/ 234391 h 1729012"/>
                <a:gd name="connsiteX10822" fmla="*/ 1680492 w 2240198"/>
                <a:gd name="connsiteY10822" fmla="*/ 232612 h 1729012"/>
                <a:gd name="connsiteX10823" fmla="*/ 1686731 w 2240198"/>
                <a:gd name="connsiteY10823" fmla="*/ 232944 h 1729012"/>
                <a:gd name="connsiteX10824" fmla="*/ 1685434 w 2240198"/>
                <a:gd name="connsiteY10824" fmla="*/ 242923 h 1729012"/>
                <a:gd name="connsiteX10825" fmla="*/ 1682681 w 2240198"/>
                <a:gd name="connsiteY10825" fmla="*/ 243891 h 1729012"/>
                <a:gd name="connsiteX10826" fmla="*/ 1667663 w 2240198"/>
                <a:gd name="connsiteY10826" fmla="*/ 243891 h 1729012"/>
                <a:gd name="connsiteX10827" fmla="*/ 1660526 w 2240198"/>
                <a:gd name="connsiteY10827" fmla="*/ 242444 h 1729012"/>
                <a:gd name="connsiteX10828" fmla="*/ 1657374 w 2240198"/>
                <a:gd name="connsiteY10828" fmla="*/ 240950 h 1729012"/>
                <a:gd name="connsiteX10829" fmla="*/ 1650455 w 2240198"/>
                <a:gd name="connsiteY10829" fmla="*/ 239256 h 1729012"/>
                <a:gd name="connsiteX10830" fmla="*/ 1644223 w 2240198"/>
                <a:gd name="connsiteY10830" fmla="*/ 240238 h 1729012"/>
                <a:gd name="connsiteX10831" fmla="*/ 1638575 w 2240198"/>
                <a:gd name="connsiteY10831" fmla="*/ 240026 h 1729012"/>
                <a:gd name="connsiteX10832" fmla="*/ 1634743 w 2240198"/>
                <a:gd name="connsiteY10832" fmla="*/ 241019 h 1729012"/>
                <a:gd name="connsiteX10833" fmla="*/ 1628666 w 2240198"/>
                <a:gd name="connsiteY10833" fmla="*/ 240983 h 1729012"/>
                <a:gd name="connsiteX10834" fmla="*/ 1612770 w 2240198"/>
                <a:gd name="connsiteY10834" fmla="*/ 242668 h 1729012"/>
                <a:gd name="connsiteX10835" fmla="*/ 1604371 w 2240198"/>
                <a:gd name="connsiteY10835" fmla="*/ 242686 h 1729012"/>
                <a:gd name="connsiteX10836" fmla="*/ 1598171 w 2240198"/>
                <a:gd name="connsiteY10836" fmla="*/ 241600 h 1729012"/>
                <a:gd name="connsiteX10837" fmla="*/ 1590967 w 2240198"/>
                <a:gd name="connsiteY10837" fmla="*/ 241264 h 1729012"/>
                <a:gd name="connsiteX10838" fmla="*/ 1582758 w 2240198"/>
                <a:gd name="connsiteY10838" fmla="*/ 241669 h 1729012"/>
                <a:gd name="connsiteX10839" fmla="*/ 1583332 w 2240198"/>
                <a:gd name="connsiteY10839" fmla="*/ 242819 h 1729012"/>
                <a:gd name="connsiteX10840" fmla="*/ 1586812 w 2240198"/>
                <a:gd name="connsiteY10840" fmla="*/ 243168 h 1729012"/>
                <a:gd name="connsiteX10841" fmla="*/ 1591878 w 2240198"/>
                <a:gd name="connsiteY10841" fmla="*/ 245039 h 1729012"/>
                <a:gd name="connsiteX10842" fmla="*/ 1596573 w 2240198"/>
                <a:gd name="connsiteY10842" fmla="*/ 247920 h 1729012"/>
                <a:gd name="connsiteX10843" fmla="*/ 1600479 w 2240198"/>
                <a:gd name="connsiteY10843" fmla="*/ 249128 h 1729012"/>
                <a:gd name="connsiteX10844" fmla="*/ 1605158 w 2240198"/>
                <a:gd name="connsiteY10844" fmla="*/ 248445 h 1729012"/>
                <a:gd name="connsiteX10845" fmla="*/ 1609920 w 2240198"/>
                <a:gd name="connsiteY10845" fmla="*/ 247101 h 1729012"/>
                <a:gd name="connsiteX10846" fmla="*/ 1627305 w 2240198"/>
                <a:gd name="connsiteY10846" fmla="*/ 244885 h 1729012"/>
                <a:gd name="connsiteX10847" fmla="*/ 1634929 w 2240198"/>
                <a:gd name="connsiteY10847" fmla="*/ 244529 h 1729012"/>
                <a:gd name="connsiteX10848" fmla="*/ 1641731 w 2240198"/>
                <a:gd name="connsiteY10848" fmla="*/ 245506 h 1729012"/>
                <a:gd name="connsiteX10849" fmla="*/ 1646258 w 2240198"/>
                <a:gd name="connsiteY10849" fmla="*/ 246726 h 1729012"/>
                <a:gd name="connsiteX10850" fmla="*/ 1649419 w 2240198"/>
                <a:gd name="connsiteY10850" fmla="*/ 248194 h 1729012"/>
                <a:gd name="connsiteX10851" fmla="*/ 1653415 w 2240198"/>
                <a:gd name="connsiteY10851" fmla="*/ 252082 h 1729012"/>
                <a:gd name="connsiteX10852" fmla="*/ 1663437 w 2240198"/>
                <a:gd name="connsiteY10852" fmla="*/ 252556 h 1729012"/>
                <a:gd name="connsiteX10853" fmla="*/ 1671077 w 2240198"/>
                <a:gd name="connsiteY10853" fmla="*/ 253844 h 1729012"/>
                <a:gd name="connsiteX10854" fmla="*/ 1683251 w 2240198"/>
                <a:gd name="connsiteY10854" fmla="*/ 259471 h 1729012"/>
                <a:gd name="connsiteX10855" fmla="*/ 1686600 w 2240198"/>
                <a:gd name="connsiteY10855" fmla="*/ 259896 h 1729012"/>
                <a:gd name="connsiteX10856" fmla="*/ 1687950 w 2240198"/>
                <a:gd name="connsiteY10856" fmla="*/ 261347 h 1729012"/>
                <a:gd name="connsiteX10857" fmla="*/ 1685365 w 2240198"/>
                <a:gd name="connsiteY10857" fmla="*/ 264962 h 1729012"/>
                <a:gd name="connsiteX10858" fmla="*/ 1685073 w 2240198"/>
                <a:gd name="connsiteY10858" fmla="*/ 267132 h 1729012"/>
                <a:gd name="connsiteX10859" fmla="*/ 1676654 w 2240198"/>
                <a:gd name="connsiteY10859" fmla="*/ 271330 h 1729012"/>
                <a:gd name="connsiteX10860" fmla="*/ 1663519 w 2240198"/>
                <a:gd name="connsiteY10860" fmla="*/ 272549 h 1729012"/>
                <a:gd name="connsiteX10861" fmla="*/ 1649085 w 2240198"/>
                <a:gd name="connsiteY10861" fmla="*/ 272163 h 1729012"/>
                <a:gd name="connsiteX10862" fmla="*/ 1638749 w 2240198"/>
                <a:gd name="connsiteY10862" fmla="*/ 272646 h 1729012"/>
                <a:gd name="connsiteX10863" fmla="*/ 1637667 w 2240198"/>
                <a:gd name="connsiteY10863" fmla="*/ 273178 h 1729012"/>
                <a:gd name="connsiteX10864" fmla="*/ 1644758 w 2240198"/>
                <a:gd name="connsiteY10864" fmla="*/ 274278 h 1729012"/>
                <a:gd name="connsiteX10865" fmla="*/ 1661192 w 2240198"/>
                <a:gd name="connsiteY10865" fmla="*/ 279162 h 1729012"/>
                <a:gd name="connsiteX10866" fmla="*/ 1667561 w 2240198"/>
                <a:gd name="connsiteY10866" fmla="*/ 281805 h 1729012"/>
                <a:gd name="connsiteX10867" fmla="*/ 1668670 w 2240198"/>
                <a:gd name="connsiteY10867" fmla="*/ 283351 h 1729012"/>
                <a:gd name="connsiteX10868" fmla="*/ 1659612 w 2240198"/>
                <a:gd name="connsiteY10868" fmla="*/ 289230 h 1729012"/>
                <a:gd name="connsiteX10869" fmla="*/ 1651617 w 2240198"/>
                <a:gd name="connsiteY10869" fmla="*/ 300830 h 1729012"/>
                <a:gd name="connsiteX10870" fmla="*/ 1648989 w 2240198"/>
                <a:gd name="connsiteY10870" fmla="*/ 301744 h 1729012"/>
                <a:gd name="connsiteX10871" fmla="*/ 1646253 w 2240198"/>
                <a:gd name="connsiteY10871" fmla="*/ 302062 h 1729012"/>
                <a:gd name="connsiteX10872" fmla="*/ 1639203 w 2240198"/>
                <a:gd name="connsiteY10872" fmla="*/ 301859 h 1729012"/>
                <a:gd name="connsiteX10873" fmla="*/ 1630264 w 2240198"/>
                <a:gd name="connsiteY10873" fmla="*/ 304764 h 1729012"/>
                <a:gd name="connsiteX10874" fmla="*/ 1623522 w 2240198"/>
                <a:gd name="connsiteY10874" fmla="*/ 305345 h 1729012"/>
                <a:gd name="connsiteX10875" fmla="*/ 1611301 w 2240198"/>
                <a:gd name="connsiteY10875" fmla="*/ 304257 h 1729012"/>
                <a:gd name="connsiteX10876" fmla="*/ 1597187 w 2240198"/>
                <a:gd name="connsiteY10876" fmla="*/ 304318 h 1729012"/>
                <a:gd name="connsiteX10877" fmla="*/ 1596076 w 2240198"/>
                <a:gd name="connsiteY10877" fmla="*/ 306193 h 1729012"/>
                <a:gd name="connsiteX10878" fmla="*/ 1595373 w 2240198"/>
                <a:gd name="connsiteY10878" fmla="*/ 309774 h 1729012"/>
                <a:gd name="connsiteX10879" fmla="*/ 1595451 w 2240198"/>
                <a:gd name="connsiteY10879" fmla="*/ 315147 h 1729012"/>
                <a:gd name="connsiteX10880" fmla="*/ 1596311 w 2240198"/>
                <a:gd name="connsiteY10880" fmla="*/ 322305 h 1729012"/>
                <a:gd name="connsiteX10881" fmla="*/ 1595575 w 2240198"/>
                <a:gd name="connsiteY10881" fmla="*/ 327523 h 1729012"/>
                <a:gd name="connsiteX10882" fmla="*/ 1593247 w 2240198"/>
                <a:gd name="connsiteY10882" fmla="*/ 330813 h 1729012"/>
                <a:gd name="connsiteX10883" fmla="*/ 1590311 w 2240198"/>
                <a:gd name="connsiteY10883" fmla="*/ 333240 h 1729012"/>
                <a:gd name="connsiteX10884" fmla="*/ 1585001 w 2240198"/>
                <a:gd name="connsiteY10884" fmla="*/ 335594 h 1729012"/>
                <a:gd name="connsiteX10885" fmla="*/ 1579541 w 2240198"/>
                <a:gd name="connsiteY10885" fmla="*/ 337060 h 1729012"/>
                <a:gd name="connsiteX10886" fmla="*/ 1575458 w 2240198"/>
                <a:gd name="connsiteY10886" fmla="*/ 337577 h 1729012"/>
                <a:gd name="connsiteX10887" fmla="*/ 1568661 w 2240198"/>
                <a:gd name="connsiteY10887" fmla="*/ 337659 h 1729012"/>
                <a:gd name="connsiteX10888" fmla="*/ 1549167 w 2240198"/>
                <a:gd name="connsiteY10888" fmla="*/ 339349 h 1729012"/>
                <a:gd name="connsiteX10889" fmla="*/ 1539651 w 2240198"/>
                <a:gd name="connsiteY10889" fmla="*/ 339247 h 1729012"/>
                <a:gd name="connsiteX10890" fmla="*/ 1532263 w 2240198"/>
                <a:gd name="connsiteY10890" fmla="*/ 338530 h 1729012"/>
                <a:gd name="connsiteX10891" fmla="*/ 1524617 w 2240198"/>
                <a:gd name="connsiteY10891" fmla="*/ 336175 h 1729012"/>
                <a:gd name="connsiteX10892" fmla="*/ 1511882 w 2240198"/>
                <a:gd name="connsiteY10892" fmla="*/ 329516 h 1729012"/>
                <a:gd name="connsiteX10893" fmla="*/ 1508271 w 2240198"/>
                <a:gd name="connsiteY10893" fmla="*/ 328034 h 1729012"/>
                <a:gd name="connsiteX10894" fmla="*/ 1504725 w 2240198"/>
                <a:gd name="connsiteY10894" fmla="*/ 327178 h 1729012"/>
                <a:gd name="connsiteX10895" fmla="*/ 1504859 w 2240198"/>
                <a:gd name="connsiteY10895" fmla="*/ 328616 h 1729012"/>
                <a:gd name="connsiteX10896" fmla="*/ 1508669 w 2240198"/>
                <a:gd name="connsiteY10896" fmla="*/ 332340 h 1729012"/>
                <a:gd name="connsiteX10897" fmla="*/ 1511848 w 2240198"/>
                <a:gd name="connsiteY10897" fmla="*/ 334742 h 1729012"/>
                <a:gd name="connsiteX10898" fmla="*/ 1514395 w 2240198"/>
                <a:gd name="connsiteY10898" fmla="*/ 335820 h 1729012"/>
                <a:gd name="connsiteX10899" fmla="*/ 1513795 w 2240198"/>
                <a:gd name="connsiteY10899" fmla="*/ 336958 h 1729012"/>
                <a:gd name="connsiteX10900" fmla="*/ 1508177 w 2240198"/>
                <a:gd name="connsiteY10900" fmla="*/ 338743 h 1729012"/>
                <a:gd name="connsiteX10901" fmla="*/ 1501981 w 2240198"/>
                <a:gd name="connsiteY10901" fmla="*/ 339543 h 1729012"/>
                <a:gd name="connsiteX10902" fmla="*/ 1494641 w 2240198"/>
                <a:gd name="connsiteY10902" fmla="*/ 339512 h 1729012"/>
                <a:gd name="connsiteX10903" fmla="*/ 1494407 w 2240198"/>
                <a:gd name="connsiteY10903" fmla="*/ 340204 h 1729012"/>
                <a:gd name="connsiteX10904" fmla="*/ 1496897 w 2240198"/>
                <a:gd name="connsiteY10904" fmla="*/ 342125 h 1729012"/>
                <a:gd name="connsiteX10905" fmla="*/ 1500132 w 2240198"/>
                <a:gd name="connsiteY10905" fmla="*/ 343935 h 1729012"/>
                <a:gd name="connsiteX10906" fmla="*/ 1502260 w 2240198"/>
                <a:gd name="connsiteY10906" fmla="*/ 344477 h 1729012"/>
                <a:gd name="connsiteX10907" fmla="*/ 1507885 w 2240198"/>
                <a:gd name="connsiteY10907" fmla="*/ 343916 h 1729012"/>
                <a:gd name="connsiteX10908" fmla="*/ 1514402 w 2240198"/>
                <a:gd name="connsiteY10908" fmla="*/ 341631 h 1729012"/>
                <a:gd name="connsiteX10909" fmla="*/ 1518466 w 2240198"/>
                <a:gd name="connsiteY10909" fmla="*/ 340957 h 1729012"/>
                <a:gd name="connsiteX10910" fmla="*/ 1526554 w 2240198"/>
                <a:gd name="connsiteY10910" fmla="*/ 341501 h 1729012"/>
                <a:gd name="connsiteX10911" fmla="*/ 1529739 w 2240198"/>
                <a:gd name="connsiteY10911" fmla="*/ 342317 h 1729012"/>
                <a:gd name="connsiteX10912" fmla="*/ 1539841 w 2240198"/>
                <a:gd name="connsiteY10912" fmla="*/ 347320 h 1729012"/>
                <a:gd name="connsiteX10913" fmla="*/ 1541248 w 2240198"/>
                <a:gd name="connsiteY10913" fmla="*/ 347552 h 1729012"/>
                <a:gd name="connsiteX10914" fmla="*/ 1548728 w 2240198"/>
                <a:gd name="connsiteY10914" fmla="*/ 345034 h 1729012"/>
                <a:gd name="connsiteX10915" fmla="*/ 1559542 w 2240198"/>
                <a:gd name="connsiteY10915" fmla="*/ 344900 h 1729012"/>
                <a:gd name="connsiteX10916" fmla="*/ 1563507 w 2240198"/>
                <a:gd name="connsiteY10916" fmla="*/ 346919 h 1729012"/>
                <a:gd name="connsiteX10917" fmla="*/ 1565022 w 2240198"/>
                <a:gd name="connsiteY10917" fmla="*/ 350837 h 1729012"/>
                <a:gd name="connsiteX10918" fmla="*/ 1565206 w 2240198"/>
                <a:gd name="connsiteY10918" fmla="*/ 354006 h 1729012"/>
                <a:gd name="connsiteX10919" fmla="*/ 1564063 w 2240198"/>
                <a:gd name="connsiteY10919" fmla="*/ 356428 h 1729012"/>
                <a:gd name="connsiteX10920" fmla="*/ 1566553 w 2240198"/>
                <a:gd name="connsiteY10920" fmla="*/ 358788 h 1729012"/>
                <a:gd name="connsiteX10921" fmla="*/ 1572677 w 2240198"/>
                <a:gd name="connsiteY10921" fmla="*/ 361085 h 1729012"/>
                <a:gd name="connsiteX10922" fmla="*/ 1577429 w 2240198"/>
                <a:gd name="connsiteY10922" fmla="*/ 361578 h 1729012"/>
                <a:gd name="connsiteX10923" fmla="*/ 1580809 w 2240198"/>
                <a:gd name="connsiteY10923" fmla="*/ 360280 h 1729012"/>
                <a:gd name="connsiteX10924" fmla="*/ 1585945 w 2240198"/>
                <a:gd name="connsiteY10924" fmla="*/ 357128 h 1729012"/>
                <a:gd name="connsiteX10925" fmla="*/ 1588123 w 2240198"/>
                <a:gd name="connsiteY10925" fmla="*/ 356381 h 1729012"/>
                <a:gd name="connsiteX10926" fmla="*/ 1590182 w 2240198"/>
                <a:gd name="connsiteY10926" fmla="*/ 356554 h 1729012"/>
                <a:gd name="connsiteX10927" fmla="*/ 1593320 w 2240198"/>
                <a:gd name="connsiteY10927" fmla="*/ 358849 h 1729012"/>
                <a:gd name="connsiteX10928" fmla="*/ 1597538 w 2240198"/>
                <a:gd name="connsiteY10928" fmla="*/ 363259 h 1729012"/>
                <a:gd name="connsiteX10929" fmla="*/ 1597930 w 2240198"/>
                <a:gd name="connsiteY10929" fmla="*/ 368402 h 1729012"/>
                <a:gd name="connsiteX10930" fmla="*/ 1594497 w 2240198"/>
                <a:gd name="connsiteY10930" fmla="*/ 374271 h 1729012"/>
                <a:gd name="connsiteX10931" fmla="*/ 1590297 w 2240198"/>
                <a:gd name="connsiteY10931" fmla="*/ 378114 h 1729012"/>
                <a:gd name="connsiteX10932" fmla="*/ 1573816 w 2240198"/>
                <a:gd name="connsiteY10932" fmla="*/ 384436 h 1729012"/>
                <a:gd name="connsiteX10933" fmla="*/ 1568836 w 2240198"/>
                <a:gd name="connsiteY10933" fmla="*/ 386916 h 1729012"/>
                <a:gd name="connsiteX10934" fmla="*/ 1564901 w 2240198"/>
                <a:gd name="connsiteY10934" fmla="*/ 389496 h 1729012"/>
                <a:gd name="connsiteX10935" fmla="*/ 1559192 w 2240198"/>
                <a:gd name="connsiteY10935" fmla="*/ 391817 h 1729012"/>
                <a:gd name="connsiteX10936" fmla="*/ 1547971 w 2240198"/>
                <a:gd name="connsiteY10936" fmla="*/ 394918 h 1729012"/>
                <a:gd name="connsiteX10937" fmla="*/ 1542056 w 2240198"/>
                <a:gd name="connsiteY10937" fmla="*/ 395497 h 1729012"/>
                <a:gd name="connsiteX10938" fmla="*/ 1529290 w 2240198"/>
                <a:gd name="connsiteY10938" fmla="*/ 398826 h 1729012"/>
                <a:gd name="connsiteX10939" fmla="*/ 1526516 w 2240198"/>
                <a:gd name="connsiteY10939" fmla="*/ 398976 h 1729012"/>
                <a:gd name="connsiteX10940" fmla="*/ 1522378 w 2240198"/>
                <a:gd name="connsiteY10940" fmla="*/ 398436 h 1729012"/>
                <a:gd name="connsiteX10941" fmla="*/ 1521521 w 2240198"/>
                <a:gd name="connsiteY10941" fmla="*/ 396814 h 1729012"/>
                <a:gd name="connsiteX10942" fmla="*/ 1522574 w 2240198"/>
                <a:gd name="connsiteY10942" fmla="*/ 393929 h 1729012"/>
                <a:gd name="connsiteX10943" fmla="*/ 1523942 w 2240198"/>
                <a:gd name="connsiteY10943" fmla="*/ 391239 h 1729012"/>
                <a:gd name="connsiteX10944" fmla="*/ 1525625 w 2240198"/>
                <a:gd name="connsiteY10944" fmla="*/ 388743 h 1729012"/>
                <a:gd name="connsiteX10945" fmla="*/ 1525688 w 2240198"/>
                <a:gd name="connsiteY10945" fmla="*/ 386669 h 1729012"/>
                <a:gd name="connsiteX10946" fmla="*/ 1522084 w 2240198"/>
                <a:gd name="connsiteY10946" fmla="*/ 383441 h 1729012"/>
                <a:gd name="connsiteX10947" fmla="*/ 1519552 w 2240198"/>
                <a:gd name="connsiteY10947" fmla="*/ 381946 h 1729012"/>
                <a:gd name="connsiteX10948" fmla="*/ 1517108 w 2240198"/>
                <a:gd name="connsiteY10948" fmla="*/ 381196 h 1729012"/>
                <a:gd name="connsiteX10949" fmla="*/ 1512188 w 2240198"/>
                <a:gd name="connsiteY10949" fmla="*/ 381631 h 1729012"/>
                <a:gd name="connsiteX10950" fmla="*/ 1509407 w 2240198"/>
                <a:gd name="connsiteY10950" fmla="*/ 382517 h 1729012"/>
                <a:gd name="connsiteX10951" fmla="*/ 1506427 w 2240198"/>
                <a:gd name="connsiteY10951" fmla="*/ 382687 h 1729012"/>
                <a:gd name="connsiteX10952" fmla="*/ 1503247 w 2240198"/>
                <a:gd name="connsiteY10952" fmla="*/ 382132 h 1729012"/>
                <a:gd name="connsiteX10953" fmla="*/ 1500570 w 2240198"/>
                <a:gd name="connsiteY10953" fmla="*/ 380770 h 1729012"/>
                <a:gd name="connsiteX10954" fmla="*/ 1495214 w 2240198"/>
                <a:gd name="connsiteY10954" fmla="*/ 375045 h 1729012"/>
                <a:gd name="connsiteX10955" fmla="*/ 1493197 w 2240198"/>
                <a:gd name="connsiteY10955" fmla="*/ 374316 h 1729012"/>
                <a:gd name="connsiteX10956" fmla="*/ 1490555 w 2240198"/>
                <a:gd name="connsiteY10956" fmla="*/ 374496 h 1729012"/>
                <a:gd name="connsiteX10957" fmla="*/ 1488192 w 2240198"/>
                <a:gd name="connsiteY10957" fmla="*/ 373672 h 1729012"/>
                <a:gd name="connsiteX10958" fmla="*/ 1486105 w 2240198"/>
                <a:gd name="connsiteY10958" fmla="*/ 371848 h 1729012"/>
                <a:gd name="connsiteX10959" fmla="*/ 1482646 w 2240198"/>
                <a:gd name="connsiteY10959" fmla="*/ 370081 h 1729012"/>
                <a:gd name="connsiteX10960" fmla="*/ 1483570 w 2240198"/>
                <a:gd name="connsiteY10960" fmla="*/ 371429 h 1729012"/>
                <a:gd name="connsiteX10961" fmla="*/ 1487029 w 2240198"/>
                <a:gd name="connsiteY10961" fmla="*/ 374694 h 1729012"/>
                <a:gd name="connsiteX10962" fmla="*/ 1489438 w 2240198"/>
                <a:gd name="connsiteY10962" fmla="*/ 377931 h 1729012"/>
                <a:gd name="connsiteX10963" fmla="*/ 1490798 w 2240198"/>
                <a:gd name="connsiteY10963" fmla="*/ 381142 h 1729012"/>
                <a:gd name="connsiteX10964" fmla="*/ 1490168 w 2240198"/>
                <a:gd name="connsiteY10964" fmla="*/ 383665 h 1729012"/>
                <a:gd name="connsiteX10965" fmla="*/ 1460862 w 2240198"/>
                <a:gd name="connsiteY10965" fmla="*/ 385062 h 1729012"/>
                <a:gd name="connsiteX10966" fmla="*/ 1448266 w 2240198"/>
                <a:gd name="connsiteY10966" fmla="*/ 384332 h 1729012"/>
                <a:gd name="connsiteX10967" fmla="*/ 1445715 w 2240198"/>
                <a:gd name="connsiteY10967" fmla="*/ 382130 h 1729012"/>
                <a:gd name="connsiteX10968" fmla="*/ 1439693 w 2240198"/>
                <a:gd name="connsiteY10968" fmla="*/ 372617 h 1729012"/>
                <a:gd name="connsiteX10969" fmla="*/ 1438386 w 2240198"/>
                <a:gd name="connsiteY10969" fmla="*/ 389403 h 1729012"/>
                <a:gd name="connsiteX10970" fmla="*/ 1416430 w 2240198"/>
                <a:gd name="connsiteY10970" fmla="*/ 392127 h 1729012"/>
                <a:gd name="connsiteX10971" fmla="*/ 1411299 w 2240198"/>
                <a:gd name="connsiteY10971" fmla="*/ 391666 h 1729012"/>
                <a:gd name="connsiteX10972" fmla="*/ 1402755 w 2240198"/>
                <a:gd name="connsiteY10972" fmla="*/ 389798 h 1729012"/>
                <a:gd name="connsiteX10973" fmla="*/ 1391718 w 2240198"/>
                <a:gd name="connsiteY10973" fmla="*/ 385290 h 1729012"/>
                <a:gd name="connsiteX10974" fmla="*/ 1387145 w 2240198"/>
                <a:gd name="connsiteY10974" fmla="*/ 382296 h 1729012"/>
                <a:gd name="connsiteX10975" fmla="*/ 1385354 w 2240198"/>
                <a:gd name="connsiteY10975" fmla="*/ 379306 h 1729012"/>
                <a:gd name="connsiteX10976" fmla="*/ 1384020 w 2240198"/>
                <a:gd name="connsiteY10976" fmla="*/ 377671 h 1729012"/>
                <a:gd name="connsiteX10977" fmla="*/ 1383151 w 2240198"/>
                <a:gd name="connsiteY10977" fmla="*/ 377396 h 1729012"/>
                <a:gd name="connsiteX10978" fmla="*/ 1380407 w 2240198"/>
                <a:gd name="connsiteY10978" fmla="*/ 380998 h 1729012"/>
                <a:gd name="connsiteX10979" fmla="*/ 1377407 w 2240198"/>
                <a:gd name="connsiteY10979" fmla="*/ 388350 h 1729012"/>
                <a:gd name="connsiteX10980" fmla="*/ 1369865 w 2240198"/>
                <a:gd name="connsiteY10980" fmla="*/ 386455 h 1729012"/>
                <a:gd name="connsiteX10981" fmla="*/ 1360318 w 2240198"/>
                <a:gd name="connsiteY10981" fmla="*/ 384600 h 1729012"/>
                <a:gd name="connsiteX10982" fmla="*/ 1356880 w 2240198"/>
                <a:gd name="connsiteY10982" fmla="*/ 377344 h 1729012"/>
                <a:gd name="connsiteX10983" fmla="*/ 1356682 w 2240198"/>
                <a:gd name="connsiteY10983" fmla="*/ 387844 h 1729012"/>
                <a:gd name="connsiteX10984" fmla="*/ 1341297 w 2240198"/>
                <a:gd name="connsiteY10984" fmla="*/ 386455 h 1729012"/>
                <a:gd name="connsiteX10985" fmla="*/ 1333902 w 2240198"/>
                <a:gd name="connsiteY10985" fmla="*/ 386846 h 1729012"/>
                <a:gd name="connsiteX10986" fmla="*/ 1331730 w 2240198"/>
                <a:gd name="connsiteY10986" fmla="*/ 377648 h 1729012"/>
                <a:gd name="connsiteX10987" fmla="*/ 1331370 w 2240198"/>
                <a:gd name="connsiteY10987" fmla="*/ 367456 h 1729012"/>
                <a:gd name="connsiteX10988" fmla="*/ 1328371 w 2240198"/>
                <a:gd name="connsiteY10988" fmla="*/ 373910 h 1729012"/>
                <a:gd name="connsiteX10989" fmla="*/ 1329678 w 2240198"/>
                <a:gd name="connsiteY10989" fmla="*/ 379380 h 1729012"/>
                <a:gd name="connsiteX10990" fmla="*/ 1330103 w 2240198"/>
                <a:gd name="connsiteY10990" fmla="*/ 386026 h 1729012"/>
                <a:gd name="connsiteX10991" fmla="*/ 1323563 w 2240198"/>
                <a:gd name="connsiteY10991" fmla="*/ 384137 h 1729012"/>
                <a:gd name="connsiteX10992" fmla="*/ 1309214 w 2240198"/>
                <a:gd name="connsiteY10992" fmla="*/ 383211 h 1729012"/>
                <a:gd name="connsiteX10993" fmla="*/ 1304132 w 2240198"/>
                <a:gd name="connsiteY10993" fmla="*/ 382291 h 1729012"/>
                <a:gd name="connsiteX10994" fmla="*/ 1304784 w 2240198"/>
                <a:gd name="connsiteY10994" fmla="*/ 373445 h 1729012"/>
                <a:gd name="connsiteX10995" fmla="*/ 1305915 w 2240198"/>
                <a:gd name="connsiteY10995" fmla="*/ 364594 h 1729012"/>
                <a:gd name="connsiteX10996" fmla="*/ 1324395 w 2240198"/>
                <a:gd name="connsiteY10996" fmla="*/ 355735 h 1729012"/>
                <a:gd name="connsiteX10997" fmla="*/ 1329840 w 2240198"/>
                <a:gd name="connsiteY10997" fmla="*/ 351528 h 1729012"/>
                <a:gd name="connsiteX10998" fmla="*/ 1333847 w 2240198"/>
                <a:gd name="connsiteY10998" fmla="*/ 349831 h 1729012"/>
                <a:gd name="connsiteX10999" fmla="*/ 1340191 w 2240198"/>
                <a:gd name="connsiteY10999" fmla="*/ 348759 h 1729012"/>
                <a:gd name="connsiteX11000" fmla="*/ 1348293 w 2240198"/>
                <a:gd name="connsiteY11000" fmla="*/ 348093 h 1729012"/>
                <a:gd name="connsiteX11001" fmla="*/ 1353819 w 2240198"/>
                <a:gd name="connsiteY11001" fmla="*/ 348607 h 1729012"/>
                <a:gd name="connsiteX11002" fmla="*/ 1360127 w 2240198"/>
                <a:gd name="connsiteY11002" fmla="*/ 348105 h 1729012"/>
                <a:gd name="connsiteX11003" fmla="*/ 1367665 w 2240198"/>
                <a:gd name="connsiteY11003" fmla="*/ 346519 h 1729012"/>
                <a:gd name="connsiteX11004" fmla="*/ 1373047 w 2240198"/>
                <a:gd name="connsiteY11004" fmla="*/ 346062 h 1729012"/>
                <a:gd name="connsiteX11005" fmla="*/ 1374060 w 2240198"/>
                <a:gd name="connsiteY11005" fmla="*/ 345500 h 1729012"/>
                <a:gd name="connsiteX11006" fmla="*/ 1372499 w 2240198"/>
                <a:gd name="connsiteY11006" fmla="*/ 344675 h 1729012"/>
                <a:gd name="connsiteX11007" fmla="*/ 1366741 w 2240198"/>
                <a:gd name="connsiteY11007" fmla="*/ 338911 h 1729012"/>
                <a:gd name="connsiteX11008" fmla="*/ 1364674 w 2240198"/>
                <a:gd name="connsiteY11008" fmla="*/ 337598 h 1729012"/>
                <a:gd name="connsiteX11009" fmla="*/ 1362570 w 2240198"/>
                <a:gd name="connsiteY11009" fmla="*/ 337013 h 1729012"/>
                <a:gd name="connsiteX11010" fmla="*/ 1358404 w 2240198"/>
                <a:gd name="connsiteY11010" fmla="*/ 336755 h 1729012"/>
                <a:gd name="connsiteX11011" fmla="*/ 1354360 w 2240198"/>
                <a:gd name="connsiteY11011" fmla="*/ 334224 h 1729012"/>
                <a:gd name="connsiteX11012" fmla="*/ 1352020 w 2240198"/>
                <a:gd name="connsiteY11012" fmla="*/ 331985 h 1729012"/>
                <a:gd name="connsiteX11013" fmla="*/ 1349517 w 2240198"/>
                <a:gd name="connsiteY11013" fmla="*/ 328939 h 1729012"/>
                <a:gd name="connsiteX11014" fmla="*/ 1345516 w 2240198"/>
                <a:gd name="connsiteY11014" fmla="*/ 323154 h 1729012"/>
                <a:gd name="connsiteX11015" fmla="*/ 1341542 w 2240198"/>
                <a:gd name="connsiteY11015" fmla="*/ 316678 h 1729012"/>
                <a:gd name="connsiteX11016" fmla="*/ 1343512 w 2240198"/>
                <a:gd name="connsiteY11016" fmla="*/ 313116 h 1729012"/>
                <a:gd name="connsiteX11017" fmla="*/ 1350101 w 2240198"/>
                <a:gd name="connsiteY11017" fmla="*/ 310310 h 1729012"/>
                <a:gd name="connsiteX11018" fmla="*/ 1356702 w 2240198"/>
                <a:gd name="connsiteY11018" fmla="*/ 308364 h 1729012"/>
                <a:gd name="connsiteX11019" fmla="*/ 1363314 w 2240198"/>
                <a:gd name="connsiteY11019" fmla="*/ 307281 h 1729012"/>
                <a:gd name="connsiteX11020" fmla="*/ 1368843 w 2240198"/>
                <a:gd name="connsiteY11020" fmla="*/ 307257 h 1729012"/>
                <a:gd name="connsiteX11021" fmla="*/ 1375509 w 2240198"/>
                <a:gd name="connsiteY11021" fmla="*/ 308812 h 1729012"/>
                <a:gd name="connsiteX11022" fmla="*/ 1384891 w 2240198"/>
                <a:gd name="connsiteY11022" fmla="*/ 311816 h 1729012"/>
                <a:gd name="connsiteX11023" fmla="*/ 1390269 w 2240198"/>
                <a:gd name="connsiteY11023" fmla="*/ 315214 h 1729012"/>
                <a:gd name="connsiteX11024" fmla="*/ 1397023 w 2240198"/>
                <a:gd name="connsiteY11024" fmla="*/ 322390 h 1729012"/>
                <a:gd name="connsiteX11025" fmla="*/ 1401471 w 2240198"/>
                <a:gd name="connsiteY11025" fmla="*/ 328085 h 1729012"/>
                <a:gd name="connsiteX11026" fmla="*/ 1405090 w 2240198"/>
                <a:gd name="connsiteY11026" fmla="*/ 330650 h 1729012"/>
                <a:gd name="connsiteX11027" fmla="*/ 1421258 w 2240198"/>
                <a:gd name="connsiteY11027" fmla="*/ 335294 h 1729012"/>
                <a:gd name="connsiteX11028" fmla="*/ 1426638 w 2240198"/>
                <a:gd name="connsiteY11028" fmla="*/ 336043 h 1729012"/>
                <a:gd name="connsiteX11029" fmla="*/ 1433019 w 2240198"/>
                <a:gd name="connsiteY11029" fmla="*/ 335670 h 1729012"/>
                <a:gd name="connsiteX11030" fmla="*/ 1446038 w 2240198"/>
                <a:gd name="connsiteY11030" fmla="*/ 334456 h 1729012"/>
                <a:gd name="connsiteX11031" fmla="*/ 1452436 w 2240198"/>
                <a:gd name="connsiteY11031" fmla="*/ 333181 h 1729012"/>
                <a:gd name="connsiteX11032" fmla="*/ 1455306 w 2240198"/>
                <a:gd name="connsiteY11032" fmla="*/ 331669 h 1729012"/>
                <a:gd name="connsiteX11033" fmla="*/ 1456784 w 2240198"/>
                <a:gd name="connsiteY11033" fmla="*/ 329493 h 1729012"/>
                <a:gd name="connsiteX11034" fmla="*/ 1458621 w 2240198"/>
                <a:gd name="connsiteY11034" fmla="*/ 327815 h 1729012"/>
                <a:gd name="connsiteX11035" fmla="*/ 1464378 w 2240198"/>
                <a:gd name="connsiteY11035" fmla="*/ 323966 h 1729012"/>
                <a:gd name="connsiteX11036" fmla="*/ 1473191 w 2240198"/>
                <a:gd name="connsiteY11036" fmla="*/ 315944 h 1729012"/>
                <a:gd name="connsiteX11037" fmla="*/ 1478069 w 2240198"/>
                <a:gd name="connsiteY11037" fmla="*/ 309587 h 1729012"/>
                <a:gd name="connsiteX11038" fmla="*/ 1479227 w 2240198"/>
                <a:gd name="connsiteY11038" fmla="*/ 307444 h 1729012"/>
                <a:gd name="connsiteX11039" fmla="*/ 1480200 w 2240198"/>
                <a:gd name="connsiteY11039" fmla="*/ 304850 h 1729012"/>
                <a:gd name="connsiteX11040" fmla="*/ 1480986 w 2240198"/>
                <a:gd name="connsiteY11040" fmla="*/ 301797 h 1729012"/>
                <a:gd name="connsiteX11041" fmla="*/ 1478241 w 2240198"/>
                <a:gd name="connsiteY11041" fmla="*/ 303424 h 1729012"/>
                <a:gd name="connsiteX11042" fmla="*/ 1463022 w 2240198"/>
                <a:gd name="connsiteY11042" fmla="*/ 319147 h 1729012"/>
                <a:gd name="connsiteX11043" fmla="*/ 1459866 w 2240198"/>
                <a:gd name="connsiteY11043" fmla="*/ 321990 h 1729012"/>
                <a:gd name="connsiteX11044" fmla="*/ 1450962 w 2240198"/>
                <a:gd name="connsiteY11044" fmla="*/ 326789 h 1729012"/>
                <a:gd name="connsiteX11045" fmla="*/ 1447189 w 2240198"/>
                <a:gd name="connsiteY11045" fmla="*/ 327563 h 1729012"/>
                <a:gd name="connsiteX11046" fmla="*/ 1441113 w 2240198"/>
                <a:gd name="connsiteY11046" fmla="*/ 327325 h 1729012"/>
                <a:gd name="connsiteX11047" fmla="*/ 1433049 w 2240198"/>
                <a:gd name="connsiteY11047" fmla="*/ 325202 h 1729012"/>
                <a:gd name="connsiteX11048" fmla="*/ 1423548 w 2240198"/>
                <a:gd name="connsiteY11048" fmla="*/ 328578 h 1729012"/>
                <a:gd name="connsiteX11049" fmla="*/ 1417783 w 2240198"/>
                <a:gd name="connsiteY11049" fmla="*/ 327721 h 1729012"/>
                <a:gd name="connsiteX11050" fmla="*/ 1412674 w 2240198"/>
                <a:gd name="connsiteY11050" fmla="*/ 325360 h 1729012"/>
                <a:gd name="connsiteX11051" fmla="*/ 1412607 w 2240198"/>
                <a:gd name="connsiteY11051" fmla="*/ 314251 h 1729012"/>
                <a:gd name="connsiteX11052" fmla="*/ 1406128 w 2240198"/>
                <a:gd name="connsiteY11052" fmla="*/ 305321 h 1729012"/>
                <a:gd name="connsiteX11053" fmla="*/ 1413283 w 2240198"/>
                <a:gd name="connsiteY11053" fmla="*/ 300787 h 1729012"/>
                <a:gd name="connsiteX11054" fmla="*/ 1419213 w 2240198"/>
                <a:gd name="connsiteY11054" fmla="*/ 297971 h 1729012"/>
                <a:gd name="connsiteX11055" fmla="*/ 1429763 w 2240198"/>
                <a:gd name="connsiteY11055" fmla="*/ 290628 h 1729012"/>
                <a:gd name="connsiteX11056" fmla="*/ 1432077 w 2240198"/>
                <a:gd name="connsiteY11056" fmla="*/ 290552 h 1729012"/>
                <a:gd name="connsiteX11057" fmla="*/ 1439721 w 2240198"/>
                <a:gd name="connsiteY11057" fmla="*/ 291711 h 1729012"/>
                <a:gd name="connsiteX11058" fmla="*/ 1435526 w 2240198"/>
                <a:gd name="connsiteY11058" fmla="*/ 290043 h 1729012"/>
                <a:gd name="connsiteX11059" fmla="*/ 1431422 w 2240198"/>
                <a:gd name="connsiteY11059" fmla="*/ 287563 h 1729012"/>
                <a:gd name="connsiteX11060" fmla="*/ 1422285 w 2240198"/>
                <a:gd name="connsiteY11060" fmla="*/ 288206 h 1729012"/>
                <a:gd name="connsiteX11061" fmla="*/ 1425508 w 2240198"/>
                <a:gd name="connsiteY11061" fmla="*/ 272286 h 1729012"/>
                <a:gd name="connsiteX11062" fmla="*/ 1419395 w 2240198"/>
                <a:gd name="connsiteY11062" fmla="*/ 284197 h 1729012"/>
                <a:gd name="connsiteX11063" fmla="*/ 1413162 w 2240198"/>
                <a:gd name="connsiteY11063" fmla="*/ 290418 h 1729012"/>
                <a:gd name="connsiteX11064" fmla="*/ 1409388 w 2240198"/>
                <a:gd name="connsiteY11064" fmla="*/ 293557 h 1729012"/>
                <a:gd name="connsiteX11065" fmla="*/ 1405154 w 2240198"/>
                <a:gd name="connsiteY11065" fmla="*/ 295362 h 1729012"/>
                <a:gd name="connsiteX11066" fmla="*/ 1389133 w 2240198"/>
                <a:gd name="connsiteY11066" fmla="*/ 296918 h 1729012"/>
                <a:gd name="connsiteX11067" fmla="*/ 1393068 w 2240198"/>
                <a:gd name="connsiteY11067" fmla="*/ 291109 h 1729012"/>
                <a:gd name="connsiteX11068" fmla="*/ 1396682 w 2240198"/>
                <a:gd name="connsiteY11068" fmla="*/ 282515 h 1729012"/>
                <a:gd name="connsiteX11069" fmla="*/ 1392857 w 2240198"/>
                <a:gd name="connsiteY11069" fmla="*/ 285730 h 1729012"/>
                <a:gd name="connsiteX11070" fmla="*/ 1383826 w 2240198"/>
                <a:gd name="connsiteY11070" fmla="*/ 290556 h 1729012"/>
                <a:gd name="connsiteX11071" fmla="*/ 1377068 w 2240198"/>
                <a:gd name="connsiteY11071" fmla="*/ 293084 h 1729012"/>
                <a:gd name="connsiteX11072" fmla="*/ 1371499 w 2240198"/>
                <a:gd name="connsiteY11072" fmla="*/ 294415 h 1729012"/>
                <a:gd name="connsiteX11073" fmla="*/ 1360694 w 2240198"/>
                <a:gd name="connsiteY11073" fmla="*/ 294094 h 1729012"/>
                <a:gd name="connsiteX11074" fmla="*/ 1355309 w 2240198"/>
                <a:gd name="connsiteY11074" fmla="*/ 291679 h 1729012"/>
                <a:gd name="connsiteX11075" fmla="*/ 1356846 w 2240198"/>
                <a:gd name="connsiteY11075" fmla="*/ 285741 h 1729012"/>
                <a:gd name="connsiteX11076" fmla="*/ 1356841 w 2240198"/>
                <a:gd name="connsiteY11076" fmla="*/ 278406 h 1729012"/>
                <a:gd name="connsiteX11077" fmla="*/ 1360139 w 2240198"/>
                <a:gd name="connsiteY11077" fmla="*/ 274997 h 1729012"/>
                <a:gd name="connsiteX11078" fmla="*/ 1365133 w 2240198"/>
                <a:gd name="connsiteY11078" fmla="*/ 270619 h 1729012"/>
                <a:gd name="connsiteX11079" fmla="*/ 1370492 w 2240198"/>
                <a:gd name="connsiteY11079" fmla="*/ 264704 h 1729012"/>
                <a:gd name="connsiteX11080" fmla="*/ 1374170 w 2240198"/>
                <a:gd name="connsiteY11080" fmla="*/ 258541 h 1729012"/>
                <a:gd name="connsiteX11081" fmla="*/ 1388522 w 2240198"/>
                <a:gd name="connsiteY11081" fmla="*/ 255785 h 1729012"/>
                <a:gd name="connsiteX11082" fmla="*/ 1402490 w 2240198"/>
                <a:gd name="connsiteY11082" fmla="*/ 254661 h 1729012"/>
                <a:gd name="connsiteX11083" fmla="*/ 1414188 w 2240198"/>
                <a:gd name="connsiteY11083" fmla="*/ 251394 h 1729012"/>
                <a:gd name="connsiteX11084" fmla="*/ 1419916 w 2240198"/>
                <a:gd name="connsiteY11084" fmla="*/ 250820 h 1729012"/>
                <a:gd name="connsiteX11085" fmla="*/ 1425406 w 2240198"/>
                <a:gd name="connsiteY11085" fmla="*/ 252372 h 1729012"/>
                <a:gd name="connsiteX11086" fmla="*/ 1447703 w 2240198"/>
                <a:gd name="connsiteY11086" fmla="*/ 254916 h 1729012"/>
                <a:gd name="connsiteX11087" fmla="*/ 1456854 w 2240198"/>
                <a:gd name="connsiteY11087" fmla="*/ 256856 h 1729012"/>
                <a:gd name="connsiteX11088" fmla="*/ 1460868 w 2240198"/>
                <a:gd name="connsiteY11088" fmla="*/ 258262 h 1729012"/>
                <a:gd name="connsiteX11089" fmla="*/ 1463842 w 2240198"/>
                <a:gd name="connsiteY11089" fmla="*/ 258768 h 1729012"/>
                <a:gd name="connsiteX11090" fmla="*/ 1466986 w 2240198"/>
                <a:gd name="connsiteY11090" fmla="*/ 256668 h 1729012"/>
                <a:gd name="connsiteX11091" fmla="*/ 1470984 w 2240198"/>
                <a:gd name="connsiteY11091" fmla="*/ 254637 h 1729012"/>
                <a:gd name="connsiteX11092" fmla="*/ 1484879 w 2240198"/>
                <a:gd name="connsiteY11092" fmla="*/ 254845 h 1729012"/>
                <a:gd name="connsiteX11093" fmla="*/ 1488710 w 2240198"/>
                <a:gd name="connsiteY11093" fmla="*/ 254473 h 1729012"/>
                <a:gd name="connsiteX11094" fmla="*/ 1492250 w 2240198"/>
                <a:gd name="connsiteY11094" fmla="*/ 253518 h 1729012"/>
                <a:gd name="connsiteX11095" fmla="*/ 1496560 w 2240198"/>
                <a:gd name="connsiteY11095" fmla="*/ 251591 h 1729012"/>
                <a:gd name="connsiteX11096" fmla="*/ 1501639 w 2240198"/>
                <a:gd name="connsiteY11096" fmla="*/ 248681 h 1729012"/>
                <a:gd name="connsiteX11097" fmla="*/ 1502418 w 2240198"/>
                <a:gd name="connsiteY11097" fmla="*/ 247252 h 1729012"/>
                <a:gd name="connsiteX11098" fmla="*/ 1498893 w 2240198"/>
                <a:gd name="connsiteY11098" fmla="*/ 247305 h 1729012"/>
                <a:gd name="connsiteX11099" fmla="*/ 1495363 w 2240198"/>
                <a:gd name="connsiteY11099" fmla="*/ 248034 h 1729012"/>
                <a:gd name="connsiteX11100" fmla="*/ 1490061 w 2240198"/>
                <a:gd name="connsiteY11100" fmla="*/ 250156 h 1729012"/>
                <a:gd name="connsiteX11101" fmla="*/ 1484956 w 2240198"/>
                <a:gd name="connsiteY11101" fmla="*/ 251301 h 1729012"/>
                <a:gd name="connsiteX11102" fmla="*/ 1479749 w 2240198"/>
                <a:gd name="connsiteY11102" fmla="*/ 251085 h 1729012"/>
                <a:gd name="connsiteX11103" fmla="*/ 1469240 w 2240198"/>
                <a:gd name="connsiteY11103" fmla="*/ 249290 h 1729012"/>
                <a:gd name="connsiteX11104" fmla="*/ 1450982 w 2240198"/>
                <a:gd name="connsiteY11104" fmla="*/ 248967 h 1729012"/>
                <a:gd name="connsiteX11105" fmla="*/ 1441671 w 2240198"/>
                <a:gd name="connsiteY11105" fmla="*/ 248149 h 1729012"/>
                <a:gd name="connsiteX11106" fmla="*/ 1437353 w 2240198"/>
                <a:gd name="connsiteY11106" fmla="*/ 247280 h 1729012"/>
                <a:gd name="connsiteX11107" fmla="*/ 1434921 w 2240198"/>
                <a:gd name="connsiteY11107" fmla="*/ 246083 h 1729012"/>
                <a:gd name="connsiteX11108" fmla="*/ 1432795 w 2240198"/>
                <a:gd name="connsiteY11108" fmla="*/ 244283 h 1729012"/>
                <a:gd name="connsiteX11109" fmla="*/ 1430971 w 2240198"/>
                <a:gd name="connsiteY11109" fmla="*/ 241878 h 1729012"/>
                <a:gd name="connsiteX11110" fmla="*/ 1431922 w 2240198"/>
                <a:gd name="connsiteY11110" fmla="*/ 240187 h 1729012"/>
                <a:gd name="connsiteX11111" fmla="*/ 1435642 w 2240198"/>
                <a:gd name="connsiteY11111" fmla="*/ 239213 h 1729012"/>
                <a:gd name="connsiteX11112" fmla="*/ 1438861 w 2240198"/>
                <a:gd name="connsiteY11112" fmla="*/ 239009 h 1729012"/>
                <a:gd name="connsiteX11113" fmla="*/ 1444023 w 2240198"/>
                <a:gd name="connsiteY11113" fmla="*/ 240334 h 1729012"/>
                <a:gd name="connsiteX11114" fmla="*/ 1449815 w 2240198"/>
                <a:gd name="connsiteY11114" fmla="*/ 242579 h 1729012"/>
                <a:gd name="connsiteX11115" fmla="*/ 1456122 w 2240198"/>
                <a:gd name="connsiteY11115" fmla="*/ 242871 h 1729012"/>
                <a:gd name="connsiteX11116" fmla="*/ 1453938 w 2240198"/>
                <a:gd name="connsiteY11116" fmla="*/ 240820 h 1729012"/>
                <a:gd name="connsiteX11117" fmla="*/ 1445922 w 2240198"/>
                <a:gd name="connsiteY11117" fmla="*/ 236696 h 1729012"/>
                <a:gd name="connsiteX11118" fmla="*/ 1440363 w 2240198"/>
                <a:gd name="connsiteY11118" fmla="*/ 233192 h 1729012"/>
                <a:gd name="connsiteX11119" fmla="*/ 1435706 w 2240198"/>
                <a:gd name="connsiteY11119" fmla="*/ 228877 h 1729012"/>
                <a:gd name="connsiteX11120" fmla="*/ 1432122 w 2240198"/>
                <a:gd name="connsiteY11120" fmla="*/ 224600 h 1729012"/>
                <a:gd name="connsiteX11121" fmla="*/ 1424160 w 2240198"/>
                <a:gd name="connsiteY11121" fmla="*/ 217876 h 1729012"/>
                <a:gd name="connsiteX11122" fmla="*/ 1417735 w 2240198"/>
                <a:gd name="connsiteY11122" fmla="*/ 211170 h 1729012"/>
                <a:gd name="connsiteX11123" fmla="*/ 1413203 w 2240198"/>
                <a:gd name="connsiteY11123" fmla="*/ 208195 h 1729012"/>
                <a:gd name="connsiteX11124" fmla="*/ 1408426 w 2240198"/>
                <a:gd name="connsiteY11124" fmla="*/ 206720 h 1729012"/>
                <a:gd name="connsiteX11125" fmla="*/ 1393857 w 2240198"/>
                <a:gd name="connsiteY11125" fmla="*/ 204880 h 1729012"/>
                <a:gd name="connsiteX11126" fmla="*/ 1390937 w 2240198"/>
                <a:gd name="connsiteY11126" fmla="*/ 203680 h 1729012"/>
                <a:gd name="connsiteX11127" fmla="*/ 1383987 w 2240198"/>
                <a:gd name="connsiteY11127" fmla="*/ 197793 h 1729012"/>
                <a:gd name="connsiteX11128" fmla="*/ 1382121 w 2240198"/>
                <a:gd name="connsiteY11128" fmla="*/ 187808 h 1729012"/>
                <a:gd name="connsiteX11129" fmla="*/ 1379074 w 2240198"/>
                <a:gd name="connsiteY11129" fmla="*/ 181701 h 1729012"/>
                <a:gd name="connsiteX11130" fmla="*/ 1382015 w 2240198"/>
                <a:gd name="connsiteY11130" fmla="*/ 173866 h 1729012"/>
                <a:gd name="connsiteX11131" fmla="*/ 1386866 w 2240198"/>
                <a:gd name="connsiteY11131" fmla="*/ 170303 h 1729012"/>
                <a:gd name="connsiteX11132" fmla="*/ 1415964 w 2240198"/>
                <a:gd name="connsiteY11132" fmla="*/ 173078 h 1729012"/>
                <a:gd name="connsiteX11133" fmla="*/ 1428241 w 2240198"/>
                <a:gd name="connsiteY11133" fmla="*/ 172662 h 1729012"/>
                <a:gd name="connsiteX11134" fmla="*/ 1443934 w 2240198"/>
                <a:gd name="connsiteY11134" fmla="*/ 173649 h 1729012"/>
                <a:gd name="connsiteX11135" fmla="*/ 1452376 w 2240198"/>
                <a:gd name="connsiteY11135" fmla="*/ 175572 h 1729012"/>
                <a:gd name="connsiteX11136" fmla="*/ 1462009 w 2240198"/>
                <a:gd name="connsiteY11136" fmla="*/ 180340 h 1729012"/>
                <a:gd name="connsiteX11137" fmla="*/ 1470616 w 2240198"/>
                <a:gd name="connsiteY11137" fmla="*/ 185699 h 1729012"/>
                <a:gd name="connsiteX11138" fmla="*/ 1478902 w 2240198"/>
                <a:gd name="connsiteY11138" fmla="*/ 189276 h 1729012"/>
                <a:gd name="connsiteX11139" fmla="*/ 1486522 w 2240198"/>
                <a:gd name="connsiteY11139" fmla="*/ 194159 h 1729012"/>
                <a:gd name="connsiteX11140" fmla="*/ 1494844 w 2240198"/>
                <a:gd name="connsiteY11140" fmla="*/ 201386 h 1729012"/>
                <a:gd name="connsiteX11141" fmla="*/ 1499739 w 2240198"/>
                <a:gd name="connsiteY11141" fmla="*/ 204844 h 1729012"/>
                <a:gd name="connsiteX11142" fmla="*/ 1503982 w 2240198"/>
                <a:gd name="connsiteY11142" fmla="*/ 206952 h 1729012"/>
                <a:gd name="connsiteX11143" fmla="*/ 1509696 w 2240198"/>
                <a:gd name="connsiteY11143" fmla="*/ 208766 h 1729012"/>
                <a:gd name="connsiteX11144" fmla="*/ 1520472 w 2240198"/>
                <a:gd name="connsiteY11144" fmla="*/ 211052 h 1729012"/>
                <a:gd name="connsiteX11145" fmla="*/ 1529860 w 2240198"/>
                <a:gd name="connsiteY11145" fmla="*/ 211806 h 1729012"/>
                <a:gd name="connsiteX11146" fmla="*/ 1534725 w 2240198"/>
                <a:gd name="connsiteY11146" fmla="*/ 211508 h 1729012"/>
                <a:gd name="connsiteX11147" fmla="*/ 1539931 w 2240198"/>
                <a:gd name="connsiteY11147" fmla="*/ 209850 h 1729012"/>
                <a:gd name="connsiteX11148" fmla="*/ 1543638 w 2240198"/>
                <a:gd name="connsiteY11148" fmla="*/ 207888 h 1729012"/>
                <a:gd name="connsiteX11149" fmla="*/ 1539505 w 2240198"/>
                <a:gd name="connsiteY11149" fmla="*/ 207344 h 1729012"/>
                <a:gd name="connsiteX11150" fmla="*/ 1528689 w 2240198"/>
                <a:gd name="connsiteY11150" fmla="*/ 207574 h 1729012"/>
                <a:gd name="connsiteX11151" fmla="*/ 1521179 w 2240198"/>
                <a:gd name="connsiteY11151" fmla="*/ 206532 h 1729012"/>
                <a:gd name="connsiteX11152" fmla="*/ 1516897 w 2240198"/>
                <a:gd name="connsiteY11152" fmla="*/ 204219 h 1729012"/>
                <a:gd name="connsiteX11153" fmla="*/ 1512343 w 2240198"/>
                <a:gd name="connsiteY11153" fmla="*/ 201097 h 1729012"/>
                <a:gd name="connsiteX11154" fmla="*/ 1505102 w 2240198"/>
                <a:gd name="connsiteY11154" fmla="*/ 195198 h 1729012"/>
                <a:gd name="connsiteX11155" fmla="*/ 1499624 w 2240198"/>
                <a:gd name="connsiteY11155" fmla="*/ 191335 h 1729012"/>
                <a:gd name="connsiteX11156" fmla="*/ 1487653 w 2240198"/>
                <a:gd name="connsiteY11156" fmla="*/ 185018 h 1729012"/>
                <a:gd name="connsiteX11157" fmla="*/ 1478806 w 2240198"/>
                <a:gd name="connsiteY11157" fmla="*/ 178716 h 1729012"/>
                <a:gd name="connsiteX11158" fmla="*/ 1471710 w 2240198"/>
                <a:gd name="connsiteY11158" fmla="*/ 172721 h 1729012"/>
                <a:gd name="connsiteX11159" fmla="*/ 1471054 w 2240198"/>
                <a:gd name="connsiteY11159" fmla="*/ 170111 h 1729012"/>
                <a:gd name="connsiteX11160" fmla="*/ 1476181 w 2240198"/>
                <a:gd name="connsiteY11160" fmla="*/ 168293 h 1729012"/>
                <a:gd name="connsiteX11161" fmla="*/ 1482487 w 2240198"/>
                <a:gd name="connsiteY11161" fmla="*/ 167020 h 1729012"/>
                <a:gd name="connsiteX11162" fmla="*/ 1521953 w 2240198"/>
                <a:gd name="connsiteY11162" fmla="*/ 162939 h 1729012"/>
                <a:gd name="connsiteX11163" fmla="*/ 1545499 w 2240198"/>
                <a:gd name="connsiteY11163" fmla="*/ 158052 h 1729012"/>
                <a:gd name="connsiteX11164" fmla="*/ 1555051 w 2240198"/>
                <a:gd name="connsiteY11164" fmla="*/ 152366 h 1729012"/>
                <a:gd name="connsiteX11165" fmla="*/ 1556192 w 2240198"/>
                <a:gd name="connsiteY11165" fmla="*/ 151033 h 1729012"/>
                <a:gd name="connsiteX11166" fmla="*/ 1587714 w 2240198"/>
                <a:gd name="connsiteY11166" fmla="*/ 142971 h 1729012"/>
                <a:gd name="connsiteX11167" fmla="*/ 1610004 w 2240198"/>
                <a:gd name="connsiteY11167" fmla="*/ 139987 h 1729012"/>
                <a:gd name="connsiteX11168" fmla="*/ 1618573 w 2240198"/>
                <a:gd name="connsiteY11168" fmla="*/ 139504 h 1729012"/>
                <a:gd name="connsiteX11169" fmla="*/ 1626337 w 2240198"/>
                <a:gd name="connsiteY11169" fmla="*/ 138207 h 1729012"/>
                <a:gd name="connsiteX11170" fmla="*/ 1626658 w 2240198"/>
                <a:gd name="connsiteY11170" fmla="*/ 137413 h 1729012"/>
                <a:gd name="connsiteX11171" fmla="*/ 1619857 w 2240198"/>
                <a:gd name="connsiteY11171" fmla="*/ 136329 h 1729012"/>
                <a:gd name="connsiteX11172" fmla="*/ 1612988 w 2240198"/>
                <a:gd name="connsiteY11172" fmla="*/ 135796 h 1729012"/>
                <a:gd name="connsiteX11173" fmla="*/ 1597410 w 2240198"/>
                <a:gd name="connsiteY11173" fmla="*/ 135830 h 1729012"/>
                <a:gd name="connsiteX11174" fmla="*/ 1583535 w 2240198"/>
                <a:gd name="connsiteY11174" fmla="*/ 134844 h 1729012"/>
                <a:gd name="connsiteX11175" fmla="*/ 1579345 w 2240198"/>
                <a:gd name="connsiteY11175" fmla="*/ 133047 h 1729012"/>
                <a:gd name="connsiteX11176" fmla="*/ 1580216 w 2240198"/>
                <a:gd name="connsiteY11176" fmla="*/ 130107 h 1729012"/>
                <a:gd name="connsiteX11177" fmla="*/ 1581549 w 2240198"/>
                <a:gd name="connsiteY11177" fmla="*/ 127581 h 1729012"/>
                <a:gd name="connsiteX11178" fmla="*/ 1585742 w 2240198"/>
                <a:gd name="connsiteY11178" fmla="*/ 123349 h 1729012"/>
                <a:gd name="connsiteX11179" fmla="*/ 1590233 w 2240198"/>
                <a:gd name="connsiteY11179" fmla="*/ 120164 h 1729012"/>
                <a:gd name="connsiteX11180" fmla="*/ 1609271 w 2240198"/>
                <a:gd name="connsiteY11180" fmla="*/ 110957 h 1729012"/>
                <a:gd name="connsiteX11181" fmla="*/ 1622084 w 2240198"/>
                <a:gd name="connsiteY11181" fmla="*/ 107069 h 1729012"/>
                <a:gd name="connsiteX11182" fmla="*/ 1625776 w 2240198"/>
                <a:gd name="connsiteY11182" fmla="*/ 104381 h 1729012"/>
                <a:gd name="connsiteX11183" fmla="*/ 1598207 w 2240198"/>
                <a:gd name="connsiteY11183" fmla="*/ 110373 h 1729012"/>
                <a:gd name="connsiteX11184" fmla="*/ 1588578 w 2240198"/>
                <a:gd name="connsiteY11184" fmla="*/ 114690 h 1729012"/>
                <a:gd name="connsiteX11185" fmla="*/ 1578898 w 2240198"/>
                <a:gd name="connsiteY11185" fmla="*/ 121157 h 1729012"/>
                <a:gd name="connsiteX11186" fmla="*/ 1573886 w 2240198"/>
                <a:gd name="connsiteY11186" fmla="*/ 123057 h 1729012"/>
                <a:gd name="connsiteX11187" fmla="*/ 1570313 w 2240198"/>
                <a:gd name="connsiteY11187" fmla="*/ 122555 h 1729012"/>
                <a:gd name="connsiteX11188" fmla="*/ 1567121 w 2240198"/>
                <a:gd name="connsiteY11188" fmla="*/ 123157 h 1729012"/>
                <a:gd name="connsiteX11189" fmla="*/ 1564311 w 2240198"/>
                <a:gd name="connsiteY11189" fmla="*/ 124859 h 1729012"/>
                <a:gd name="connsiteX11190" fmla="*/ 1561953 w 2240198"/>
                <a:gd name="connsiteY11190" fmla="*/ 127974 h 1729012"/>
                <a:gd name="connsiteX11191" fmla="*/ 1560048 w 2240198"/>
                <a:gd name="connsiteY11191" fmla="*/ 132493 h 1729012"/>
                <a:gd name="connsiteX11192" fmla="*/ 1558320 w 2240198"/>
                <a:gd name="connsiteY11192" fmla="*/ 135563 h 1729012"/>
                <a:gd name="connsiteX11193" fmla="*/ 1556768 w 2240198"/>
                <a:gd name="connsiteY11193" fmla="*/ 137198 h 1729012"/>
                <a:gd name="connsiteX11194" fmla="*/ 1552846 w 2240198"/>
                <a:gd name="connsiteY11194" fmla="*/ 139562 h 1729012"/>
                <a:gd name="connsiteX11195" fmla="*/ 1543407 w 2240198"/>
                <a:gd name="connsiteY11195" fmla="*/ 144182 h 1729012"/>
                <a:gd name="connsiteX11196" fmla="*/ 1521259 w 2240198"/>
                <a:gd name="connsiteY11196" fmla="*/ 150619 h 1729012"/>
                <a:gd name="connsiteX11197" fmla="*/ 1513806 w 2240198"/>
                <a:gd name="connsiteY11197" fmla="*/ 152250 h 1729012"/>
                <a:gd name="connsiteX11198" fmla="*/ 1507423 w 2240198"/>
                <a:gd name="connsiteY11198" fmla="*/ 152509 h 1729012"/>
                <a:gd name="connsiteX11199" fmla="*/ 1486744 w 2240198"/>
                <a:gd name="connsiteY11199" fmla="*/ 156127 h 1729012"/>
                <a:gd name="connsiteX11200" fmla="*/ 1480536 w 2240198"/>
                <a:gd name="connsiteY11200" fmla="*/ 156270 h 1729012"/>
                <a:gd name="connsiteX11201" fmla="*/ 1473658 w 2240198"/>
                <a:gd name="connsiteY11201" fmla="*/ 155173 h 1729012"/>
                <a:gd name="connsiteX11202" fmla="*/ 1476599 w 2240198"/>
                <a:gd name="connsiteY11202" fmla="*/ 152046 h 1729012"/>
                <a:gd name="connsiteX11203" fmla="*/ 1487541 w 2240198"/>
                <a:gd name="connsiteY11203" fmla="*/ 146265 h 1729012"/>
                <a:gd name="connsiteX11204" fmla="*/ 1490443 w 2240198"/>
                <a:gd name="connsiteY11204" fmla="*/ 143684 h 1729012"/>
                <a:gd name="connsiteX11205" fmla="*/ 1483443 w 2240198"/>
                <a:gd name="connsiteY11205" fmla="*/ 144247 h 1729012"/>
                <a:gd name="connsiteX11206" fmla="*/ 1476304 w 2240198"/>
                <a:gd name="connsiteY11206" fmla="*/ 145830 h 1729012"/>
                <a:gd name="connsiteX11207" fmla="*/ 1460546 w 2240198"/>
                <a:gd name="connsiteY11207" fmla="*/ 147133 h 1729012"/>
                <a:gd name="connsiteX11208" fmla="*/ 1454316 w 2240198"/>
                <a:gd name="connsiteY11208" fmla="*/ 149488 h 1729012"/>
                <a:gd name="connsiteX11209" fmla="*/ 1448275 w 2240198"/>
                <a:gd name="connsiteY11209" fmla="*/ 153748 h 1729012"/>
                <a:gd name="connsiteX11210" fmla="*/ 1443434 w 2240198"/>
                <a:gd name="connsiteY11210" fmla="*/ 156425 h 1729012"/>
                <a:gd name="connsiteX11211" fmla="*/ 1439795 w 2240198"/>
                <a:gd name="connsiteY11211" fmla="*/ 157509 h 1729012"/>
                <a:gd name="connsiteX11212" fmla="*/ 1434774 w 2240198"/>
                <a:gd name="connsiteY11212" fmla="*/ 158158 h 1729012"/>
                <a:gd name="connsiteX11213" fmla="*/ 1416314 w 2240198"/>
                <a:gd name="connsiteY11213" fmla="*/ 158488 h 1729012"/>
                <a:gd name="connsiteX11214" fmla="*/ 1412217 w 2240198"/>
                <a:gd name="connsiteY11214" fmla="*/ 158204 h 1729012"/>
                <a:gd name="connsiteX11215" fmla="*/ 1401597 w 2240198"/>
                <a:gd name="connsiteY11215" fmla="*/ 154961 h 1729012"/>
                <a:gd name="connsiteX11216" fmla="*/ 1392192 w 2240198"/>
                <a:gd name="connsiteY11216" fmla="*/ 156080 h 1729012"/>
                <a:gd name="connsiteX11217" fmla="*/ 1388308 w 2240198"/>
                <a:gd name="connsiteY11217" fmla="*/ 155866 h 1729012"/>
                <a:gd name="connsiteX11218" fmla="*/ 1381176 w 2240198"/>
                <a:gd name="connsiteY11218" fmla="*/ 153573 h 1729012"/>
                <a:gd name="connsiteX11219" fmla="*/ 1379050 w 2240198"/>
                <a:gd name="connsiteY11219" fmla="*/ 152084 h 1729012"/>
                <a:gd name="connsiteX11220" fmla="*/ 1379363 w 2240198"/>
                <a:gd name="connsiteY11220" fmla="*/ 150080 h 1729012"/>
                <a:gd name="connsiteX11221" fmla="*/ 1383487 w 2240198"/>
                <a:gd name="connsiteY11221" fmla="*/ 146303 h 1729012"/>
                <a:gd name="connsiteX11222" fmla="*/ 1388263 w 2240198"/>
                <a:gd name="connsiteY11222" fmla="*/ 142665 h 1729012"/>
                <a:gd name="connsiteX11223" fmla="*/ 1403801 w 2240198"/>
                <a:gd name="connsiteY11223" fmla="*/ 134656 h 1729012"/>
                <a:gd name="connsiteX11224" fmla="*/ 1413767 w 2240198"/>
                <a:gd name="connsiteY11224" fmla="*/ 130892 h 1729012"/>
                <a:gd name="connsiteX11225" fmla="*/ 1428128 w 2240198"/>
                <a:gd name="connsiteY11225" fmla="*/ 127645 h 1729012"/>
                <a:gd name="connsiteX11226" fmla="*/ 1461870 w 2240198"/>
                <a:gd name="connsiteY11226" fmla="*/ 124009 h 1729012"/>
                <a:gd name="connsiteX11227" fmla="*/ 1463402 w 2240198"/>
                <a:gd name="connsiteY11227" fmla="*/ 121340 h 1729012"/>
                <a:gd name="connsiteX11228" fmla="*/ 1429256 w 2240198"/>
                <a:gd name="connsiteY11228" fmla="*/ 124321 h 1729012"/>
                <a:gd name="connsiteX11229" fmla="*/ 1400212 w 2240198"/>
                <a:gd name="connsiteY11229" fmla="*/ 128082 h 1729012"/>
                <a:gd name="connsiteX11230" fmla="*/ 1395498 w 2240198"/>
                <a:gd name="connsiteY11230" fmla="*/ 129461 h 1729012"/>
                <a:gd name="connsiteX11231" fmla="*/ 1388736 w 2240198"/>
                <a:gd name="connsiteY11231" fmla="*/ 133141 h 1729012"/>
                <a:gd name="connsiteX11232" fmla="*/ 1367263 w 2240198"/>
                <a:gd name="connsiteY11232" fmla="*/ 146406 h 1729012"/>
                <a:gd name="connsiteX11233" fmla="*/ 1360934 w 2240198"/>
                <a:gd name="connsiteY11233" fmla="*/ 149741 h 1729012"/>
                <a:gd name="connsiteX11234" fmla="*/ 1351254 w 2240198"/>
                <a:gd name="connsiteY11234" fmla="*/ 150538 h 1729012"/>
                <a:gd name="connsiteX11235" fmla="*/ 1343850 w 2240198"/>
                <a:gd name="connsiteY11235" fmla="*/ 149410 h 1729012"/>
                <a:gd name="connsiteX11236" fmla="*/ 1338061 w 2240198"/>
                <a:gd name="connsiteY11236" fmla="*/ 147733 h 1729012"/>
                <a:gd name="connsiteX11237" fmla="*/ 1328092 w 2240198"/>
                <a:gd name="connsiteY11237" fmla="*/ 143817 h 1729012"/>
                <a:gd name="connsiteX11238" fmla="*/ 1320578 w 2240198"/>
                <a:gd name="connsiteY11238" fmla="*/ 141714 h 1729012"/>
                <a:gd name="connsiteX11239" fmla="*/ 1317023 w 2240198"/>
                <a:gd name="connsiteY11239" fmla="*/ 140297 h 1729012"/>
                <a:gd name="connsiteX11240" fmla="*/ 1314920 w 2240198"/>
                <a:gd name="connsiteY11240" fmla="*/ 138867 h 1729012"/>
                <a:gd name="connsiteX11241" fmla="*/ 1313216 w 2240198"/>
                <a:gd name="connsiteY11241" fmla="*/ 137189 h 1729012"/>
                <a:gd name="connsiteX11242" fmla="*/ 1311910 w 2240198"/>
                <a:gd name="connsiteY11242" fmla="*/ 135267 h 1729012"/>
                <a:gd name="connsiteX11243" fmla="*/ 1314355 w 2240198"/>
                <a:gd name="connsiteY11243" fmla="*/ 133663 h 1729012"/>
                <a:gd name="connsiteX11244" fmla="*/ 1333468 w 2240198"/>
                <a:gd name="connsiteY11244" fmla="*/ 130185 h 1729012"/>
                <a:gd name="connsiteX11245" fmla="*/ 1359444 w 2240198"/>
                <a:gd name="connsiteY11245" fmla="*/ 130863 h 1729012"/>
                <a:gd name="connsiteX11246" fmla="*/ 1371099 w 2240198"/>
                <a:gd name="connsiteY11246" fmla="*/ 130145 h 1729012"/>
                <a:gd name="connsiteX11247" fmla="*/ 1382566 w 2240198"/>
                <a:gd name="connsiteY11247" fmla="*/ 128040 h 1729012"/>
                <a:gd name="connsiteX11248" fmla="*/ 1399484 w 2240198"/>
                <a:gd name="connsiteY11248" fmla="*/ 122798 h 1729012"/>
                <a:gd name="connsiteX11249" fmla="*/ 1417900 w 2240198"/>
                <a:gd name="connsiteY11249" fmla="*/ 115415 h 1729012"/>
                <a:gd name="connsiteX11250" fmla="*/ 1421503 w 2240198"/>
                <a:gd name="connsiteY11250" fmla="*/ 113052 h 1729012"/>
                <a:gd name="connsiteX11251" fmla="*/ 1414781 w 2240198"/>
                <a:gd name="connsiteY11251" fmla="*/ 112532 h 1729012"/>
                <a:gd name="connsiteX11252" fmla="*/ 1409806 w 2240198"/>
                <a:gd name="connsiteY11252" fmla="*/ 113108 h 1729012"/>
                <a:gd name="connsiteX11253" fmla="*/ 1397824 w 2240198"/>
                <a:gd name="connsiteY11253" fmla="*/ 115755 h 1729012"/>
                <a:gd name="connsiteX11254" fmla="*/ 1378865 w 2240198"/>
                <a:gd name="connsiteY11254" fmla="*/ 122853 h 1729012"/>
                <a:gd name="connsiteX11255" fmla="*/ 1362323 w 2240198"/>
                <a:gd name="connsiteY11255" fmla="*/ 125353 h 1729012"/>
                <a:gd name="connsiteX11256" fmla="*/ 1321456 w 2240198"/>
                <a:gd name="connsiteY11256" fmla="*/ 126684 h 1729012"/>
                <a:gd name="connsiteX11257" fmla="*/ 1308485 w 2240198"/>
                <a:gd name="connsiteY11257" fmla="*/ 128661 h 1729012"/>
                <a:gd name="connsiteX11258" fmla="*/ 1302788 w 2240198"/>
                <a:gd name="connsiteY11258" fmla="*/ 128237 h 1729012"/>
                <a:gd name="connsiteX11259" fmla="*/ 1298497 w 2240198"/>
                <a:gd name="connsiteY11259" fmla="*/ 126305 h 1729012"/>
                <a:gd name="connsiteX11260" fmla="*/ 1293713 w 2240198"/>
                <a:gd name="connsiteY11260" fmla="*/ 122730 h 1729012"/>
                <a:gd name="connsiteX11261" fmla="*/ 1294566 w 2240198"/>
                <a:gd name="connsiteY11261" fmla="*/ 119862 h 1729012"/>
                <a:gd name="connsiteX11262" fmla="*/ 1304301 w 2240198"/>
                <a:gd name="connsiteY11262" fmla="*/ 116639 h 1729012"/>
                <a:gd name="connsiteX11263" fmla="*/ 1311929 w 2240198"/>
                <a:gd name="connsiteY11263" fmla="*/ 115883 h 1729012"/>
                <a:gd name="connsiteX11264" fmla="*/ 1313294 w 2240198"/>
                <a:gd name="connsiteY11264" fmla="*/ 115221 h 1729012"/>
                <a:gd name="connsiteX11265" fmla="*/ 1302468 w 2240198"/>
                <a:gd name="connsiteY11265" fmla="*/ 112102 h 1729012"/>
                <a:gd name="connsiteX11266" fmla="*/ 1301505 w 2240198"/>
                <a:gd name="connsiteY11266" fmla="*/ 110505 h 1729012"/>
                <a:gd name="connsiteX11267" fmla="*/ 1307759 w 2240198"/>
                <a:gd name="connsiteY11267" fmla="*/ 106964 h 1729012"/>
                <a:gd name="connsiteX11268" fmla="*/ 1321318 w 2240198"/>
                <a:gd name="connsiteY11268" fmla="*/ 101735 h 1729012"/>
                <a:gd name="connsiteX11269" fmla="*/ 1328173 w 2240198"/>
                <a:gd name="connsiteY11269" fmla="*/ 100085 h 1729012"/>
                <a:gd name="connsiteX11270" fmla="*/ 1340735 w 2240198"/>
                <a:gd name="connsiteY11270" fmla="*/ 99034 h 1729012"/>
                <a:gd name="connsiteX11271" fmla="*/ 1353662 w 2240198"/>
                <a:gd name="connsiteY11271" fmla="*/ 99608 h 1729012"/>
                <a:gd name="connsiteX11272" fmla="*/ 1354161 w 2240198"/>
                <a:gd name="connsiteY11272" fmla="*/ 98609 h 1729012"/>
                <a:gd name="connsiteX11273" fmla="*/ 1341373 w 2240198"/>
                <a:gd name="connsiteY11273" fmla="*/ 96623 h 1729012"/>
                <a:gd name="connsiteX11274" fmla="*/ 1331796 w 2240198"/>
                <a:gd name="connsiteY11274" fmla="*/ 96259 h 1729012"/>
                <a:gd name="connsiteX11275" fmla="*/ 1319135 w 2240198"/>
                <a:gd name="connsiteY11275" fmla="*/ 97660 h 1729012"/>
                <a:gd name="connsiteX11276" fmla="*/ 1285534 w 2240198"/>
                <a:gd name="connsiteY11276" fmla="*/ 106139 h 1729012"/>
                <a:gd name="connsiteX11277" fmla="*/ 1282674 w 2240198"/>
                <a:gd name="connsiteY11277" fmla="*/ 105884 h 1729012"/>
                <a:gd name="connsiteX11278" fmla="*/ 1277787 w 2240198"/>
                <a:gd name="connsiteY11278" fmla="*/ 104426 h 1729012"/>
                <a:gd name="connsiteX11279" fmla="*/ 1279188 w 2240198"/>
                <a:gd name="connsiteY11279" fmla="*/ 102333 h 1729012"/>
                <a:gd name="connsiteX11280" fmla="*/ 1297155 w 2240198"/>
                <a:gd name="connsiteY11280" fmla="*/ 93410 h 1729012"/>
                <a:gd name="connsiteX11281" fmla="*/ 1297751 w 2240198"/>
                <a:gd name="connsiteY11281" fmla="*/ 92001 h 1729012"/>
                <a:gd name="connsiteX11282" fmla="*/ 1284841 w 2240198"/>
                <a:gd name="connsiteY11282" fmla="*/ 92203 h 1729012"/>
                <a:gd name="connsiteX11283" fmla="*/ 1281049 w 2240198"/>
                <a:gd name="connsiteY11283" fmla="*/ 91779 h 1729012"/>
                <a:gd name="connsiteX11284" fmla="*/ 1277349 w 2240198"/>
                <a:gd name="connsiteY11284" fmla="*/ 90718 h 1729012"/>
                <a:gd name="connsiteX11285" fmla="*/ 1272089 w 2240198"/>
                <a:gd name="connsiteY11285" fmla="*/ 91661 h 1729012"/>
                <a:gd name="connsiteX11286" fmla="*/ 1265268 w 2240198"/>
                <a:gd name="connsiteY11286" fmla="*/ 94602 h 1729012"/>
                <a:gd name="connsiteX11287" fmla="*/ 1260460 w 2240198"/>
                <a:gd name="connsiteY11287" fmla="*/ 95860 h 1729012"/>
                <a:gd name="connsiteX11288" fmla="*/ 1257660 w 2240198"/>
                <a:gd name="connsiteY11288" fmla="*/ 95437 h 1729012"/>
                <a:gd name="connsiteX11289" fmla="*/ 1250527 w 2240198"/>
                <a:gd name="connsiteY11289" fmla="*/ 91951 h 1729012"/>
                <a:gd name="connsiteX11290" fmla="*/ 1251454 w 2240198"/>
                <a:gd name="connsiteY11290" fmla="*/ 89027 h 1729012"/>
                <a:gd name="connsiteX11291" fmla="*/ 1257127 w 2240198"/>
                <a:gd name="connsiteY11291" fmla="*/ 85352 h 1729012"/>
                <a:gd name="connsiteX11292" fmla="*/ 1262309 w 2240198"/>
                <a:gd name="connsiteY11292" fmla="*/ 82700 h 1729012"/>
                <a:gd name="connsiteX11293" fmla="*/ 1269346 w 2240198"/>
                <a:gd name="connsiteY11293" fmla="*/ 80278 h 1729012"/>
                <a:gd name="connsiteX11294" fmla="*/ 1280801 w 2240198"/>
                <a:gd name="connsiteY11294" fmla="*/ 77235 h 1729012"/>
                <a:gd name="connsiteX11295" fmla="*/ 1289096 w 2240198"/>
                <a:gd name="connsiteY11295" fmla="*/ 76208 h 1729012"/>
                <a:gd name="connsiteX11296" fmla="*/ 1302526 w 2240198"/>
                <a:gd name="connsiteY11296" fmla="*/ 76178 h 1729012"/>
                <a:gd name="connsiteX11297" fmla="*/ 1308925 w 2240198"/>
                <a:gd name="connsiteY11297" fmla="*/ 74818 h 1729012"/>
                <a:gd name="connsiteX11298" fmla="*/ 1314622 w 2240198"/>
                <a:gd name="connsiteY11298" fmla="*/ 72449 h 1729012"/>
                <a:gd name="connsiteX11299" fmla="*/ 1321750 w 2240198"/>
                <a:gd name="connsiteY11299" fmla="*/ 68608 h 1729012"/>
                <a:gd name="connsiteX11300" fmla="*/ 1329569 w 2240198"/>
                <a:gd name="connsiteY11300" fmla="*/ 65962 h 1729012"/>
                <a:gd name="connsiteX11301" fmla="*/ 1342340 w 2240198"/>
                <a:gd name="connsiteY11301" fmla="*/ 63784 h 1729012"/>
                <a:gd name="connsiteX11302" fmla="*/ 1353099 w 2240198"/>
                <a:gd name="connsiteY11302" fmla="*/ 64487 h 1729012"/>
                <a:gd name="connsiteX11303" fmla="*/ 1359045 w 2240198"/>
                <a:gd name="connsiteY11303" fmla="*/ 66385 h 1729012"/>
                <a:gd name="connsiteX11304" fmla="*/ 1363767 w 2240198"/>
                <a:gd name="connsiteY11304" fmla="*/ 69708 h 1729012"/>
                <a:gd name="connsiteX11305" fmla="*/ 1368838 w 2240198"/>
                <a:gd name="connsiteY11305" fmla="*/ 72246 h 1729012"/>
                <a:gd name="connsiteX11306" fmla="*/ 1369319 w 2240198"/>
                <a:gd name="connsiteY11306" fmla="*/ 70197 h 1729012"/>
                <a:gd name="connsiteX11307" fmla="*/ 1373507 w 2240198"/>
                <a:gd name="connsiteY11307" fmla="*/ 67667 h 1729012"/>
                <a:gd name="connsiteX11308" fmla="*/ 1378761 w 2240198"/>
                <a:gd name="connsiteY11308" fmla="*/ 66580 h 1729012"/>
                <a:gd name="connsiteX11309" fmla="*/ 1385082 w 2240198"/>
                <a:gd name="connsiteY11309" fmla="*/ 66943 h 1729012"/>
                <a:gd name="connsiteX11310" fmla="*/ 1390640 w 2240198"/>
                <a:gd name="connsiteY11310" fmla="*/ 68146 h 1729012"/>
                <a:gd name="connsiteX11311" fmla="*/ 1397830 w 2240198"/>
                <a:gd name="connsiteY11311" fmla="*/ 71207 h 1729012"/>
                <a:gd name="connsiteX11312" fmla="*/ 1403641 w 2240198"/>
                <a:gd name="connsiteY11312" fmla="*/ 72581 h 1729012"/>
                <a:gd name="connsiteX11313" fmla="*/ 1406371 w 2240198"/>
                <a:gd name="connsiteY11313" fmla="*/ 72497 h 1729012"/>
                <a:gd name="connsiteX11314" fmla="*/ 1409789 w 2240198"/>
                <a:gd name="connsiteY11314" fmla="*/ 70805 h 1729012"/>
                <a:gd name="connsiteX11315" fmla="*/ 1418876 w 2240198"/>
                <a:gd name="connsiteY11315" fmla="*/ 70769 h 1729012"/>
                <a:gd name="connsiteX11316" fmla="*/ 1418687 w 2240198"/>
                <a:gd name="connsiteY11316" fmla="*/ 70050 h 1729012"/>
                <a:gd name="connsiteX11317" fmla="*/ 1415721 w 2240198"/>
                <a:gd name="connsiteY11317" fmla="*/ 68278 h 1729012"/>
                <a:gd name="connsiteX11318" fmla="*/ 1412137 w 2240198"/>
                <a:gd name="connsiteY11318" fmla="*/ 67012 h 1729012"/>
                <a:gd name="connsiteX11319" fmla="*/ 1379933 w 2240198"/>
                <a:gd name="connsiteY11319" fmla="*/ 58190 h 1729012"/>
                <a:gd name="connsiteX11320" fmla="*/ 1379046 w 2240198"/>
                <a:gd name="connsiteY11320" fmla="*/ 56255 h 1729012"/>
                <a:gd name="connsiteX11321" fmla="*/ 1389898 w 2240198"/>
                <a:gd name="connsiteY11321" fmla="*/ 54437 h 1729012"/>
                <a:gd name="connsiteX11322" fmla="*/ 1396683 w 2240198"/>
                <a:gd name="connsiteY11322" fmla="*/ 52264 h 1729012"/>
                <a:gd name="connsiteX11323" fmla="*/ 1399868 w 2240198"/>
                <a:gd name="connsiteY11323" fmla="*/ 51735 h 1729012"/>
                <a:gd name="connsiteX11324" fmla="*/ 1407819 w 2240198"/>
                <a:gd name="connsiteY11324" fmla="*/ 47103 h 1729012"/>
                <a:gd name="connsiteX11325" fmla="*/ 1413014 w 2240198"/>
                <a:gd name="connsiteY11325" fmla="*/ 44685 h 1729012"/>
                <a:gd name="connsiteX11326" fmla="*/ 1422628 w 2240198"/>
                <a:gd name="connsiteY11326" fmla="*/ 41937 h 1729012"/>
                <a:gd name="connsiteX11327" fmla="*/ 1426484 w 2240198"/>
                <a:gd name="connsiteY11327" fmla="*/ 42687 h 1729012"/>
                <a:gd name="connsiteX11328" fmla="*/ 1431336 w 2240198"/>
                <a:gd name="connsiteY11328" fmla="*/ 45113 h 1729012"/>
                <a:gd name="connsiteX11329" fmla="*/ 1436034 w 2240198"/>
                <a:gd name="connsiteY11329" fmla="*/ 46630 h 1729012"/>
                <a:gd name="connsiteX11330" fmla="*/ 1449841 w 2240198"/>
                <a:gd name="connsiteY11330" fmla="*/ 48073 h 1729012"/>
                <a:gd name="connsiteX11331" fmla="*/ 1455747 w 2240198"/>
                <a:gd name="connsiteY11331" fmla="*/ 49575 h 1729012"/>
                <a:gd name="connsiteX11332" fmla="*/ 1466270 w 2240198"/>
                <a:gd name="connsiteY11332" fmla="*/ 58190 h 1729012"/>
                <a:gd name="connsiteX11333" fmla="*/ 1470467 w 2240198"/>
                <a:gd name="connsiteY11333" fmla="*/ 60998 h 1729012"/>
                <a:gd name="connsiteX11334" fmla="*/ 1476449 w 2240198"/>
                <a:gd name="connsiteY11334" fmla="*/ 63879 h 1729012"/>
                <a:gd name="connsiteX11335" fmla="*/ 1480013 w 2240198"/>
                <a:gd name="connsiteY11335" fmla="*/ 64964 h 1729012"/>
                <a:gd name="connsiteX11336" fmla="*/ 1487054 w 2240198"/>
                <a:gd name="connsiteY11336" fmla="*/ 65658 h 1729012"/>
                <a:gd name="connsiteX11337" fmla="*/ 1487779 w 2240198"/>
                <a:gd name="connsiteY11337" fmla="*/ 64029 h 1729012"/>
                <a:gd name="connsiteX11338" fmla="*/ 1479419 w 2240198"/>
                <a:gd name="connsiteY11338" fmla="*/ 59975 h 1729012"/>
                <a:gd name="connsiteX11339" fmla="*/ 1477128 w 2240198"/>
                <a:gd name="connsiteY11339" fmla="*/ 57620 h 1729012"/>
                <a:gd name="connsiteX11340" fmla="*/ 1478113 w 2240198"/>
                <a:gd name="connsiteY11340" fmla="*/ 55626 h 1729012"/>
                <a:gd name="connsiteX11341" fmla="*/ 1479894 w 2240198"/>
                <a:gd name="connsiteY11341" fmla="*/ 54572 h 1729012"/>
                <a:gd name="connsiteX11342" fmla="*/ 1482467 w 2240198"/>
                <a:gd name="connsiteY11342" fmla="*/ 54478 h 1729012"/>
                <a:gd name="connsiteX11343" fmla="*/ 1489068 w 2240198"/>
                <a:gd name="connsiteY11343" fmla="*/ 56260 h 1729012"/>
                <a:gd name="connsiteX11344" fmla="*/ 1506617 w 2240198"/>
                <a:gd name="connsiteY11344" fmla="*/ 62301 h 1729012"/>
                <a:gd name="connsiteX11345" fmla="*/ 1532851 w 2240198"/>
                <a:gd name="connsiteY11345" fmla="*/ 69433 h 1729012"/>
                <a:gd name="connsiteX11346" fmla="*/ 1542905 w 2240198"/>
                <a:gd name="connsiteY11346" fmla="*/ 71086 h 1729012"/>
                <a:gd name="connsiteX11347" fmla="*/ 1549110 w 2240198"/>
                <a:gd name="connsiteY11347" fmla="*/ 73625 h 1729012"/>
                <a:gd name="connsiteX11348" fmla="*/ 1554767 w 2240198"/>
                <a:gd name="connsiteY11348" fmla="*/ 76706 h 1729012"/>
                <a:gd name="connsiteX11349" fmla="*/ 1560343 w 2240198"/>
                <a:gd name="connsiteY11349" fmla="*/ 78832 h 1729012"/>
                <a:gd name="connsiteX11350" fmla="*/ 1561377 w 2240198"/>
                <a:gd name="connsiteY11350" fmla="*/ 78628 h 1729012"/>
                <a:gd name="connsiteX11351" fmla="*/ 1556189 w 2240198"/>
                <a:gd name="connsiteY11351" fmla="*/ 73864 h 1729012"/>
                <a:gd name="connsiteX11352" fmla="*/ 1543501 w 2240198"/>
                <a:gd name="connsiteY11352" fmla="*/ 67973 h 1729012"/>
                <a:gd name="connsiteX11353" fmla="*/ 1509564 w 2240198"/>
                <a:gd name="connsiteY11353" fmla="*/ 57870 h 1729012"/>
                <a:gd name="connsiteX11354" fmla="*/ 1496142 w 2240198"/>
                <a:gd name="connsiteY11354" fmla="*/ 52560 h 1729012"/>
                <a:gd name="connsiteX11355" fmla="*/ 1489649 w 2240198"/>
                <a:gd name="connsiteY11355" fmla="*/ 48963 h 1729012"/>
                <a:gd name="connsiteX11356" fmla="*/ 1484732 w 2240198"/>
                <a:gd name="connsiteY11356" fmla="*/ 45320 h 1729012"/>
                <a:gd name="connsiteX11357" fmla="*/ 1484636 w 2240198"/>
                <a:gd name="connsiteY11357" fmla="*/ 43325 h 1729012"/>
                <a:gd name="connsiteX11358" fmla="*/ 1489263 w 2240198"/>
                <a:gd name="connsiteY11358" fmla="*/ 40988 h 1729012"/>
                <a:gd name="connsiteX11359" fmla="*/ 1495492 w 2240198"/>
                <a:gd name="connsiteY11359" fmla="*/ 39135 h 1729012"/>
                <a:gd name="connsiteX11360" fmla="*/ 1503237 w 2240198"/>
                <a:gd name="connsiteY11360" fmla="*/ 38396 h 1729012"/>
                <a:gd name="connsiteX11361" fmla="*/ 1504165 w 2240198"/>
                <a:gd name="connsiteY11361" fmla="*/ 37623 h 1729012"/>
                <a:gd name="connsiteX11362" fmla="*/ 1497130 w 2240198"/>
                <a:gd name="connsiteY11362" fmla="*/ 34840 h 1729012"/>
                <a:gd name="connsiteX11363" fmla="*/ 1492975 w 2240198"/>
                <a:gd name="connsiteY11363" fmla="*/ 32432 h 1729012"/>
                <a:gd name="connsiteX11364" fmla="*/ 1493118 w 2240198"/>
                <a:gd name="connsiteY11364" fmla="*/ 30748 h 1729012"/>
                <a:gd name="connsiteX11365" fmla="*/ 1501523 w 2240198"/>
                <a:gd name="connsiteY11365" fmla="*/ 29462 h 1729012"/>
                <a:gd name="connsiteX11366" fmla="*/ 1506739 w 2240198"/>
                <a:gd name="connsiteY11366" fmla="*/ 29849 h 1729012"/>
                <a:gd name="connsiteX11367" fmla="*/ 1516649 w 2240198"/>
                <a:gd name="connsiteY11367" fmla="*/ 32887 h 1729012"/>
                <a:gd name="connsiteX11368" fmla="*/ 1524924 w 2240198"/>
                <a:gd name="connsiteY11368" fmla="*/ 34321 h 1729012"/>
                <a:gd name="connsiteX11369" fmla="*/ 1526264 w 2240198"/>
                <a:gd name="connsiteY11369" fmla="*/ 33394 h 1729012"/>
                <a:gd name="connsiteX11370" fmla="*/ 1517720 w 2240198"/>
                <a:gd name="connsiteY11370" fmla="*/ 25301 h 1729012"/>
                <a:gd name="connsiteX11371" fmla="*/ 1516921 w 2240198"/>
                <a:gd name="connsiteY11371" fmla="*/ 23473 h 1729012"/>
                <a:gd name="connsiteX11372" fmla="*/ 1518187 w 2240198"/>
                <a:gd name="connsiteY11372" fmla="*/ 22402 h 1729012"/>
                <a:gd name="connsiteX11373" fmla="*/ 1521179 w 2240198"/>
                <a:gd name="connsiteY11373" fmla="*/ 21313 h 1729012"/>
                <a:gd name="connsiteX11374" fmla="*/ 1530132 w 2240198"/>
                <a:gd name="connsiteY11374" fmla="*/ 21939 h 1729012"/>
                <a:gd name="connsiteX11375" fmla="*/ 1544872 w 2240198"/>
                <a:gd name="connsiteY11375" fmla="*/ 25888 h 1729012"/>
                <a:gd name="connsiteX11376" fmla="*/ 1571261 w 2240198"/>
                <a:gd name="connsiteY11376" fmla="*/ 27868 h 1729012"/>
                <a:gd name="connsiteX11377" fmla="*/ 1578520 w 2240198"/>
                <a:gd name="connsiteY11377" fmla="*/ 27571 h 1729012"/>
                <a:gd name="connsiteX11378" fmla="*/ 1577429 w 2240198"/>
                <a:gd name="connsiteY11378" fmla="*/ 26661 h 1729012"/>
                <a:gd name="connsiteX11379" fmla="*/ 1566895 w 2240198"/>
                <a:gd name="connsiteY11379" fmla="*/ 24221 h 1729012"/>
                <a:gd name="connsiteX11380" fmla="*/ 1555871 w 2240198"/>
                <a:gd name="connsiteY11380" fmla="*/ 20941 h 1729012"/>
                <a:gd name="connsiteX11381" fmla="*/ 1551009 w 2240198"/>
                <a:gd name="connsiteY11381" fmla="*/ 18955 h 1729012"/>
                <a:gd name="connsiteX11382" fmla="*/ 1547445 w 2240198"/>
                <a:gd name="connsiteY11382" fmla="*/ 16279 h 1729012"/>
                <a:gd name="connsiteX11383" fmla="*/ 1543215 w 2240198"/>
                <a:gd name="connsiteY11383" fmla="*/ 14055 h 1729012"/>
                <a:gd name="connsiteX11384" fmla="*/ 1542865 w 2240198"/>
                <a:gd name="connsiteY11384" fmla="*/ 12989 h 1729012"/>
                <a:gd name="connsiteX11385" fmla="*/ 1549676 w 2240198"/>
                <a:gd name="connsiteY11385" fmla="*/ 11257 h 1729012"/>
                <a:gd name="connsiteX11386" fmla="*/ 1567571 w 2240198"/>
                <a:gd name="connsiteY11386" fmla="*/ 11593 h 1729012"/>
                <a:gd name="connsiteX11387" fmla="*/ 1584196 w 2240198"/>
                <a:gd name="connsiteY11387" fmla="*/ 14253 h 1729012"/>
                <a:gd name="connsiteX11388" fmla="*/ 1598302 w 2240198"/>
                <a:gd name="connsiteY11388" fmla="*/ 13291 h 1729012"/>
                <a:gd name="connsiteX11389" fmla="*/ 1607191 w 2240198"/>
                <a:gd name="connsiteY11389" fmla="*/ 13953 h 1729012"/>
                <a:gd name="connsiteX11390" fmla="*/ 1610702 w 2240198"/>
                <a:gd name="connsiteY11390" fmla="*/ 14755 h 1729012"/>
                <a:gd name="connsiteX11391" fmla="*/ 1617135 w 2240198"/>
                <a:gd name="connsiteY11391" fmla="*/ 17652 h 1729012"/>
                <a:gd name="connsiteX11392" fmla="*/ 1637544 w 2240198"/>
                <a:gd name="connsiteY11392" fmla="*/ 28103 h 1729012"/>
                <a:gd name="connsiteX11393" fmla="*/ 1639711 w 2240198"/>
                <a:gd name="connsiteY11393" fmla="*/ 29761 h 1729012"/>
                <a:gd name="connsiteX11394" fmla="*/ 1642031 w 2240198"/>
                <a:gd name="connsiteY11394" fmla="*/ 32285 h 1729012"/>
                <a:gd name="connsiteX11395" fmla="*/ 1644504 w 2240198"/>
                <a:gd name="connsiteY11395" fmla="*/ 35676 h 1729012"/>
                <a:gd name="connsiteX11396" fmla="*/ 1647981 w 2240198"/>
                <a:gd name="connsiteY11396" fmla="*/ 36593 h 1729012"/>
                <a:gd name="connsiteX11397" fmla="*/ 1654702 w 2240198"/>
                <a:gd name="connsiteY11397" fmla="*/ 34266 h 1729012"/>
                <a:gd name="connsiteX11398" fmla="*/ 1659234 w 2240198"/>
                <a:gd name="connsiteY11398" fmla="*/ 32007 h 1729012"/>
                <a:gd name="connsiteX11399" fmla="*/ 1657275 w 2240198"/>
                <a:gd name="connsiteY11399" fmla="*/ 29819 h 1729012"/>
                <a:gd name="connsiteX11400" fmla="*/ 1646014 w 2240198"/>
                <a:gd name="connsiteY11400" fmla="*/ 24794 h 1729012"/>
                <a:gd name="connsiteX11401" fmla="*/ 1643457 w 2240198"/>
                <a:gd name="connsiteY11401" fmla="*/ 22642 h 1729012"/>
                <a:gd name="connsiteX11402" fmla="*/ 1637825 w 2240198"/>
                <a:gd name="connsiteY11402" fmla="*/ 18999 h 1729012"/>
                <a:gd name="connsiteX11403" fmla="*/ 1625184 w 2240198"/>
                <a:gd name="connsiteY11403" fmla="*/ 12464 h 1729012"/>
                <a:gd name="connsiteX11404" fmla="*/ 1621818 w 2240198"/>
                <a:gd name="connsiteY11404" fmla="*/ 9423 h 1729012"/>
                <a:gd name="connsiteX11405" fmla="*/ 1619696 w 2240198"/>
                <a:gd name="connsiteY11405" fmla="*/ 6826 h 1729012"/>
                <a:gd name="connsiteX11406" fmla="*/ 1654687 w 2240198"/>
                <a:gd name="connsiteY11406" fmla="*/ 4378 h 1729012"/>
                <a:gd name="connsiteX11407" fmla="*/ 1688430 w 2240198"/>
                <a:gd name="connsiteY11407" fmla="*/ 6535 h 1729012"/>
                <a:gd name="connsiteX11408" fmla="*/ 1693917 w 2240198"/>
                <a:gd name="connsiteY11408" fmla="*/ 8064 h 1729012"/>
                <a:gd name="connsiteX11409" fmla="*/ 1697516 w 2240198"/>
                <a:gd name="connsiteY11409" fmla="*/ 10192 h 1729012"/>
                <a:gd name="connsiteX11410" fmla="*/ 1701049 w 2240198"/>
                <a:gd name="connsiteY11410" fmla="*/ 13427 h 1729012"/>
                <a:gd name="connsiteX11411" fmla="*/ 1706459 w 2240198"/>
                <a:gd name="connsiteY11411" fmla="*/ 16728 h 1729012"/>
                <a:gd name="connsiteX11412" fmla="*/ 1717391 w 2240198"/>
                <a:gd name="connsiteY11412" fmla="*/ 21782 h 1729012"/>
                <a:gd name="connsiteX11413" fmla="*/ 1732943 w 2240198"/>
                <a:gd name="connsiteY11413" fmla="*/ 24921 h 1729012"/>
                <a:gd name="connsiteX11414" fmla="*/ 1729970 w 2240198"/>
                <a:gd name="connsiteY11414" fmla="*/ 22783 h 1729012"/>
                <a:gd name="connsiteX11415" fmla="*/ 1718338 w 2240198"/>
                <a:gd name="connsiteY11415" fmla="*/ 17209 h 1729012"/>
                <a:gd name="connsiteX11416" fmla="*/ 1713084 w 2240198"/>
                <a:gd name="connsiteY11416" fmla="*/ 13387 h 1729012"/>
                <a:gd name="connsiteX11417" fmla="*/ 1713114 w 2240198"/>
                <a:gd name="connsiteY11417" fmla="*/ 10795 h 1729012"/>
                <a:gd name="connsiteX11418" fmla="*/ 1714049 w 2240198"/>
                <a:gd name="connsiteY11418" fmla="*/ 8815 h 1729012"/>
                <a:gd name="connsiteX11419" fmla="*/ 1715892 w 2240198"/>
                <a:gd name="connsiteY11419" fmla="*/ 7446 h 1729012"/>
                <a:gd name="connsiteX11420" fmla="*/ 1729063 w 2240198"/>
                <a:gd name="connsiteY11420" fmla="*/ 2218 h 1729012"/>
                <a:gd name="connsiteX11421" fmla="*/ 1747889 w 2240198"/>
                <a:gd name="connsiteY11421" fmla="*/ 639 h 1729012"/>
                <a:gd name="connsiteX11422" fmla="*/ 1750070 w 2240198"/>
                <a:gd name="connsiteY11422" fmla="*/ 933 h 1729012"/>
                <a:gd name="connsiteX11423" fmla="*/ 1764707 w 2240198"/>
                <a:gd name="connsiteY11423" fmla="*/ 8959 h 1729012"/>
                <a:gd name="connsiteX11424" fmla="*/ 1771654 w 2240198"/>
                <a:gd name="connsiteY11424" fmla="*/ 12236 h 1729012"/>
                <a:gd name="connsiteX11425" fmla="*/ 1776512 w 2240198"/>
                <a:gd name="connsiteY11425" fmla="*/ 13550 h 1729012"/>
                <a:gd name="connsiteX11426" fmla="*/ 1776700 w 2240198"/>
                <a:gd name="connsiteY11426" fmla="*/ 12979 h 1729012"/>
                <a:gd name="connsiteX11427" fmla="*/ 1769971 w 2240198"/>
                <a:gd name="connsiteY11427" fmla="*/ 9293 h 1729012"/>
                <a:gd name="connsiteX11428" fmla="*/ 1764797 w 2240198"/>
                <a:gd name="connsiteY11428" fmla="*/ 7287 h 1729012"/>
                <a:gd name="connsiteX11429" fmla="*/ 1764262 w 2240198"/>
                <a:gd name="connsiteY11429" fmla="*/ 6028 h 1729012"/>
                <a:gd name="connsiteX11430" fmla="*/ 1772851 w 2240198"/>
                <a:gd name="connsiteY11430" fmla="*/ 2125 h 1729012"/>
                <a:gd name="connsiteX11431" fmla="*/ 1778283 w 2240198"/>
                <a:gd name="connsiteY11431" fmla="*/ 1142 h 1729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  <a:cxn ang="0">
                  <a:pos x="connsiteX2223" y="connsiteY2223"/>
                </a:cxn>
                <a:cxn ang="0">
                  <a:pos x="connsiteX2224" y="connsiteY2224"/>
                </a:cxn>
                <a:cxn ang="0">
                  <a:pos x="connsiteX2225" y="connsiteY2225"/>
                </a:cxn>
                <a:cxn ang="0">
                  <a:pos x="connsiteX2226" y="connsiteY2226"/>
                </a:cxn>
                <a:cxn ang="0">
                  <a:pos x="connsiteX2227" y="connsiteY2227"/>
                </a:cxn>
                <a:cxn ang="0">
                  <a:pos x="connsiteX2228" y="connsiteY2228"/>
                </a:cxn>
                <a:cxn ang="0">
                  <a:pos x="connsiteX2229" y="connsiteY2229"/>
                </a:cxn>
                <a:cxn ang="0">
                  <a:pos x="connsiteX2230" y="connsiteY2230"/>
                </a:cxn>
                <a:cxn ang="0">
                  <a:pos x="connsiteX2231" y="connsiteY2231"/>
                </a:cxn>
                <a:cxn ang="0">
                  <a:pos x="connsiteX2232" y="connsiteY2232"/>
                </a:cxn>
                <a:cxn ang="0">
                  <a:pos x="connsiteX2233" y="connsiteY2233"/>
                </a:cxn>
                <a:cxn ang="0">
                  <a:pos x="connsiteX2234" y="connsiteY2234"/>
                </a:cxn>
                <a:cxn ang="0">
                  <a:pos x="connsiteX2235" y="connsiteY2235"/>
                </a:cxn>
                <a:cxn ang="0">
                  <a:pos x="connsiteX2236" y="connsiteY2236"/>
                </a:cxn>
                <a:cxn ang="0">
                  <a:pos x="connsiteX2237" y="connsiteY2237"/>
                </a:cxn>
                <a:cxn ang="0">
                  <a:pos x="connsiteX2238" y="connsiteY2238"/>
                </a:cxn>
                <a:cxn ang="0">
                  <a:pos x="connsiteX2239" y="connsiteY2239"/>
                </a:cxn>
                <a:cxn ang="0">
                  <a:pos x="connsiteX2240" y="connsiteY2240"/>
                </a:cxn>
                <a:cxn ang="0">
                  <a:pos x="connsiteX2241" y="connsiteY2241"/>
                </a:cxn>
                <a:cxn ang="0">
                  <a:pos x="connsiteX2242" y="connsiteY2242"/>
                </a:cxn>
                <a:cxn ang="0">
                  <a:pos x="connsiteX2243" y="connsiteY2243"/>
                </a:cxn>
                <a:cxn ang="0">
                  <a:pos x="connsiteX2244" y="connsiteY2244"/>
                </a:cxn>
                <a:cxn ang="0">
                  <a:pos x="connsiteX2245" y="connsiteY2245"/>
                </a:cxn>
                <a:cxn ang="0">
                  <a:pos x="connsiteX2246" y="connsiteY2246"/>
                </a:cxn>
                <a:cxn ang="0">
                  <a:pos x="connsiteX2247" y="connsiteY2247"/>
                </a:cxn>
                <a:cxn ang="0">
                  <a:pos x="connsiteX2248" y="connsiteY2248"/>
                </a:cxn>
                <a:cxn ang="0">
                  <a:pos x="connsiteX2249" y="connsiteY2249"/>
                </a:cxn>
                <a:cxn ang="0">
                  <a:pos x="connsiteX2250" y="connsiteY2250"/>
                </a:cxn>
                <a:cxn ang="0">
                  <a:pos x="connsiteX2251" y="connsiteY2251"/>
                </a:cxn>
                <a:cxn ang="0">
                  <a:pos x="connsiteX2252" y="connsiteY2252"/>
                </a:cxn>
                <a:cxn ang="0">
                  <a:pos x="connsiteX2253" y="connsiteY2253"/>
                </a:cxn>
                <a:cxn ang="0">
                  <a:pos x="connsiteX2254" y="connsiteY2254"/>
                </a:cxn>
                <a:cxn ang="0">
                  <a:pos x="connsiteX2255" y="connsiteY2255"/>
                </a:cxn>
                <a:cxn ang="0">
                  <a:pos x="connsiteX2256" y="connsiteY2256"/>
                </a:cxn>
                <a:cxn ang="0">
                  <a:pos x="connsiteX2257" y="connsiteY2257"/>
                </a:cxn>
                <a:cxn ang="0">
                  <a:pos x="connsiteX2258" y="connsiteY2258"/>
                </a:cxn>
                <a:cxn ang="0">
                  <a:pos x="connsiteX2259" y="connsiteY2259"/>
                </a:cxn>
                <a:cxn ang="0">
                  <a:pos x="connsiteX2260" y="connsiteY2260"/>
                </a:cxn>
                <a:cxn ang="0">
                  <a:pos x="connsiteX2261" y="connsiteY2261"/>
                </a:cxn>
                <a:cxn ang="0">
                  <a:pos x="connsiteX2262" y="connsiteY2262"/>
                </a:cxn>
                <a:cxn ang="0">
                  <a:pos x="connsiteX2263" y="connsiteY2263"/>
                </a:cxn>
                <a:cxn ang="0">
                  <a:pos x="connsiteX2264" y="connsiteY2264"/>
                </a:cxn>
                <a:cxn ang="0">
                  <a:pos x="connsiteX2265" y="connsiteY2265"/>
                </a:cxn>
                <a:cxn ang="0">
                  <a:pos x="connsiteX2266" y="connsiteY2266"/>
                </a:cxn>
                <a:cxn ang="0">
                  <a:pos x="connsiteX2267" y="connsiteY2267"/>
                </a:cxn>
                <a:cxn ang="0">
                  <a:pos x="connsiteX2268" y="connsiteY2268"/>
                </a:cxn>
                <a:cxn ang="0">
                  <a:pos x="connsiteX2269" y="connsiteY2269"/>
                </a:cxn>
                <a:cxn ang="0">
                  <a:pos x="connsiteX2270" y="connsiteY2270"/>
                </a:cxn>
                <a:cxn ang="0">
                  <a:pos x="connsiteX2271" y="connsiteY2271"/>
                </a:cxn>
                <a:cxn ang="0">
                  <a:pos x="connsiteX2272" y="connsiteY2272"/>
                </a:cxn>
                <a:cxn ang="0">
                  <a:pos x="connsiteX2273" y="connsiteY2273"/>
                </a:cxn>
                <a:cxn ang="0">
                  <a:pos x="connsiteX2274" y="connsiteY2274"/>
                </a:cxn>
                <a:cxn ang="0">
                  <a:pos x="connsiteX2275" y="connsiteY2275"/>
                </a:cxn>
                <a:cxn ang="0">
                  <a:pos x="connsiteX2276" y="connsiteY2276"/>
                </a:cxn>
                <a:cxn ang="0">
                  <a:pos x="connsiteX2277" y="connsiteY2277"/>
                </a:cxn>
                <a:cxn ang="0">
                  <a:pos x="connsiteX2278" y="connsiteY2278"/>
                </a:cxn>
                <a:cxn ang="0">
                  <a:pos x="connsiteX2279" y="connsiteY2279"/>
                </a:cxn>
                <a:cxn ang="0">
                  <a:pos x="connsiteX2280" y="connsiteY2280"/>
                </a:cxn>
                <a:cxn ang="0">
                  <a:pos x="connsiteX2281" y="connsiteY2281"/>
                </a:cxn>
                <a:cxn ang="0">
                  <a:pos x="connsiteX2282" y="connsiteY2282"/>
                </a:cxn>
                <a:cxn ang="0">
                  <a:pos x="connsiteX2283" y="connsiteY2283"/>
                </a:cxn>
                <a:cxn ang="0">
                  <a:pos x="connsiteX2284" y="connsiteY2284"/>
                </a:cxn>
                <a:cxn ang="0">
                  <a:pos x="connsiteX2285" y="connsiteY2285"/>
                </a:cxn>
                <a:cxn ang="0">
                  <a:pos x="connsiteX2286" y="connsiteY2286"/>
                </a:cxn>
                <a:cxn ang="0">
                  <a:pos x="connsiteX2287" y="connsiteY2287"/>
                </a:cxn>
                <a:cxn ang="0">
                  <a:pos x="connsiteX2288" y="connsiteY2288"/>
                </a:cxn>
                <a:cxn ang="0">
                  <a:pos x="connsiteX2289" y="connsiteY2289"/>
                </a:cxn>
                <a:cxn ang="0">
                  <a:pos x="connsiteX2290" y="connsiteY2290"/>
                </a:cxn>
                <a:cxn ang="0">
                  <a:pos x="connsiteX2291" y="connsiteY2291"/>
                </a:cxn>
                <a:cxn ang="0">
                  <a:pos x="connsiteX2292" y="connsiteY2292"/>
                </a:cxn>
                <a:cxn ang="0">
                  <a:pos x="connsiteX2293" y="connsiteY2293"/>
                </a:cxn>
                <a:cxn ang="0">
                  <a:pos x="connsiteX2294" y="connsiteY2294"/>
                </a:cxn>
                <a:cxn ang="0">
                  <a:pos x="connsiteX2295" y="connsiteY2295"/>
                </a:cxn>
                <a:cxn ang="0">
                  <a:pos x="connsiteX2296" y="connsiteY2296"/>
                </a:cxn>
                <a:cxn ang="0">
                  <a:pos x="connsiteX2297" y="connsiteY2297"/>
                </a:cxn>
                <a:cxn ang="0">
                  <a:pos x="connsiteX2298" y="connsiteY2298"/>
                </a:cxn>
                <a:cxn ang="0">
                  <a:pos x="connsiteX2299" y="connsiteY2299"/>
                </a:cxn>
                <a:cxn ang="0">
                  <a:pos x="connsiteX2300" y="connsiteY2300"/>
                </a:cxn>
                <a:cxn ang="0">
                  <a:pos x="connsiteX2301" y="connsiteY2301"/>
                </a:cxn>
                <a:cxn ang="0">
                  <a:pos x="connsiteX2302" y="connsiteY2302"/>
                </a:cxn>
                <a:cxn ang="0">
                  <a:pos x="connsiteX2303" y="connsiteY2303"/>
                </a:cxn>
                <a:cxn ang="0">
                  <a:pos x="connsiteX2304" y="connsiteY2304"/>
                </a:cxn>
                <a:cxn ang="0">
                  <a:pos x="connsiteX2305" y="connsiteY2305"/>
                </a:cxn>
                <a:cxn ang="0">
                  <a:pos x="connsiteX2306" y="connsiteY2306"/>
                </a:cxn>
                <a:cxn ang="0">
                  <a:pos x="connsiteX2307" y="connsiteY2307"/>
                </a:cxn>
                <a:cxn ang="0">
                  <a:pos x="connsiteX2308" y="connsiteY2308"/>
                </a:cxn>
                <a:cxn ang="0">
                  <a:pos x="connsiteX2309" y="connsiteY2309"/>
                </a:cxn>
                <a:cxn ang="0">
                  <a:pos x="connsiteX2310" y="connsiteY2310"/>
                </a:cxn>
                <a:cxn ang="0">
                  <a:pos x="connsiteX2311" y="connsiteY2311"/>
                </a:cxn>
                <a:cxn ang="0">
                  <a:pos x="connsiteX2312" y="connsiteY2312"/>
                </a:cxn>
                <a:cxn ang="0">
                  <a:pos x="connsiteX2313" y="connsiteY2313"/>
                </a:cxn>
                <a:cxn ang="0">
                  <a:pos x="connsiteX2314" y="connsiteY2314"/>
                </a:cxn>
                <a:cxn ang="0">
                  <a:pos x="connsiteX2315" y="connsiteY2315"/>
                </a:cxn>
                <a:cxn ang="0">
                  <a:pos x="connsiteX2316" y="connsiteY2316"/>
                </a:cxn>
                <a:cxn ang="0">
                  <a:pos x="connsiteX2317" y="connsiteY2317"/>
                </a:cxn>
                <a:cxn ang="0">
                  <a:pos x="connsiteX2318" y="connsiteY2318"/>
                </a:cxn>
                <a:cxn ang="0">
                  <a:pos x="connsiteX2319" y="connsiteY2319"/>
                </a:cxn>
                <a:cxn ang="0">
                  <a:pos x="connsiteX2320" y="connsiteY2320"/>
                </a:cxn>
                <a:cxn ang="0">
                  <a:pos x="connsiteX2321" y="connsiteY2321"/>
                </a:cxn>
                <a:cxn ang="0">
                  <a:pos x="connsiteX2322" y="connsiteY2322"/>
                </a:cxn>
                <a:cxn ang="0">
                  <a:pos x="connsiteX2323" y="connsiteY2323"/>
                </a:cxn>
                <a:cxn ang="0">
                  <a:pos x="connsiteX2324" y="connsiteY2324"/>
                </a:cxn>
                <a:cxn ang="0">
                  <a:pos x="connsiteX2325" y="connsiteY2325"/>
                </a:cxn>
                <a:cxn ang="0">
                  <a:pos x="connsiteX2326" y="connsiteY2326"/>
                </a:cxn>
                <a:cxn ang="0">
                  <a:pos x="connsiteX2327" y="connsiteY2327"/>
                </a:cxn>
                <a:cxn ang="0">
                  <a:pos x="connsiteX2328" y="connsiteY2328"/>
                </a:cxn>
                <a:cxn ang="0">
                  <a:pos x="connsiteX2329" y="connsiteY2329"/>
                </a:cxn>
                <a:cxn ang="0">
                  <a:pos x="connsiteX2330" y="connsiteY2330"/>
                </a:cxn>
                <a:cxn ang="0">
                  <a:pos x="connsiteX2331" y="connsiteY2331"/>
                </a:cxn>
                <a:cxn ang="0">
                  <a:pos x="connsiteX2332" y="connsiteY2332"/>
                </a:cxn>
                <a:cxn ang="0">
                  <a:pos x="connsiteX2333" y="connsiteY2333"/>
                </a:cxn>
                <a:cxn ang="0">
                  <a:pos x="connsiteX2334" y="connsiteY2334"/>
                </a:cxn>
                <a:cxn ang="0">
                  <a:pos x="connsiteX2335" y="connsiteY2335"/>
                </a:cxn>
                <a:cxn ang="0">
                  <a:pos x="connsiteX2336" y="connsiteY2336"/>
                </a:cxn>
                <a:cxn ang="0">
                  <a:pos x="connsiteX2337" y="connsiteY2337"/>
                </a:cxn>
                <a:cxn ang="0">
                  <a:pos x="connsiteX2338" y="connsiteY2338"/>
                </a:cxn>
                <a:cxn ang="0">
                  <a:pos x="connsiteX2339" y="connsiteY2339"/>
                </a:cxn>
                <a:cxn ang="0">
                  <a:pos x="connsiteX2340" y="connsiteY2340"/>
                </a:cxn>
                <a:cxn ang="0">
                  <a:pos x="connsiteX2341" y="connsiteY2341"/>
                </a:cxn>
                <a:cxn ang="0">
                  <a:pos x="connsiteX2342" y="connsiteY2342"/>
                </a:cxn>
                <a:cxn ang="0">
                  <a:pos x="connsiteX2343" y="connsiteY2343"/>
                </a:cxn>
                <a:cxn ang="0">
                  <a:pos x="connsiteX2344" y="connsiteY2344"/>
                </a:cxn>
                <a:cxn ang="0">
                  <a:pos x="connsiteX2345" y="connsiteY2345"/>
                </a:cxn>
                <a:cxn ang="0">
                  <a:pos x="connsiteX2346" y="connsiteY2346"/>
                </a:cxn>
                <a:cxn ang="0">
                  <a:pos x="connsiteX2347" y="connsiteY2347"/>
                </a:cxn>
                <a:cxn ang="0">
                  <a:pos x="connsiteX2348" y="connsiteY2348"/>
                </a:cxn>
                <a:cxn ang="0">
                  <a:pos x="connsiteX2349" y="connsiteY2349"/>
                </a:cxn>
                <a:cxn ang="0">
                  <a:pos x="connsiteX2350" y="connsiteY2350"/>
                </a:cxn>
                <a:cxn ang="0">
                  <a:pos x="connsiteX2351" y="connsiteY2351"/>
                </a:cxn>
                <a:cxn ang="0">
                  <a:pos x="connsiteX2352" y="connsiteY2352"/>
                </a:cxn>
                <a:cxn ang="0">
                  <a:pos x="connsiteX2353" y="connsiteY2353"/>
                </a:cxn>
                <a:cxn ang="0">
                  <a:pos x="connsiteX2354" y="connsiteY2354"/>
                </a:cxn>
                <a:cxn ang="0">
                  <a:pos x="connsiteX2355" y="connsiteY2355"/>
                </a:cxn>
                <a:cxn ang="0">
                  <a:pos x="connsiteX2356" y="connsiteY2356"/>
                </a:cxn>
                <a:cxn ang="0">
                  <a:pos x="connsiteX2357" y="connsiteY2357"/>
                </a:cxn>
                <a:cxn ang="0">
                  <a:pos x="connsiteX2358" y="connsiteY2358"/>
                </a:cxn>
                <a:cxn ang="0">
                  <a:pos x="connsiteX2359" y="connsiteY2359"/>
                </a:cxn>
                <a:cxn ang="0">
                  <a:pos x="connsiteX2360" y="connsiteY2360"/>
                </a:cxn>
                <a:cxn ang="0">
                  <a:pos x="connsiteX2361" y="connsiteY2361"/>
                </a:cxn>
                <a:cxn ang="0">
                  <a:pos x="connsiteX2362" y="connsiteY2362"/>
                </a:cxn>
                <a:cxn ang="0">
                  <a:pos x="connsiteX2363" y="connsiteY2363"/>
                </a:cxn>
                <a:cxn ang="0">
                  <a:pos x="connsiteX2364" y="connsiteY2364"/>
                </a:cxn>
                <a:cxn ang="0">
                  <a:pos x="connsiteX2365" y="connsiteY2365"/>
                </a:cxn>
                <a:cxn ang="0">
                  <a:pos x="connsiteX2366" y="connsiteY2366"/>
                </a:cxn>
                <a:cxn ang="0">
                  <a:pos x="connsiteX2367" y="connsiteY2367"/>
                </a:cxn>
                <a:cxn ang="0">
                  <a:pos x="connsiteX2368" y="connsiteY2368"/>
                </a:cxn>
                <a:cxn ang="0">
                  <a:pos x="connsiteX2369" y="connsiteY2369"/>
                </a:cxn>
                <a:cxn ang="0">
                  <a:pos x="connsiteX2370" y="connsiteY2370"/>
                </a:cxn>
                <a:cxn ang="0">
                  <a:pos x="connsiteX2371" y="connsiteY2371"/>
                </a:cxn>
                <a:cxn ang="0">
                  <a:pos x="connsiteX2372" y="connsiteY2372"/>
                </a:cxn>
                <a:cxn ang="0">
                  <a:pos x="connsiteX2373" y="connsiteY2373"/>
                </a:cxn>
                <a:cxn ang="0">
                  <a:pos x="connsiteX2374" y="connsiteY2374"/>
                </a:cxn>
                <a:cxn ang="0">
                  <a:pos x="connsiteX2375" y="connsiteY2375"/>
                </a:cxn>
                <a:cxn ang="0">
                  <a:pos x="connsiteX2376" y="connsiteY2376"/>
                </a:cxn>
                <a:cxn ang="0">
                  <a:pos x="connsiteX2377" y="connsiteY2377"/>
                </a:cxn>
                <a:cxn ang="0">
                  <a:pos x="connsiteX2378" y="connsiteY2378"/>
                </a:cxn>
                <a:cxn ang="0">
                  <a:pos x="connsiteX2379" y="connsiteY2379"/>
                </a:cxn>
                <a:cxn ang="0">
                  <a:pos x="connsiteX2380" y="connsiteY2380"/>
                </a:cxn>
                <a:cxn ang="0">
                  <a:pos x="connsiteX2381" y="connsiteY2381"/>
                </a:cxn>
                <a:cxn ang="0">
                  <a:pos x="connsiteX2382" y="connsiteY2382"/>
                </a:cxn>
                <a:cxn ang="0">
                  <a:pos x="connsiteX2383" y="connsiteY2383"/>
                </a:cxn>
                <a:cxn ang="0">
                  <a:pos x="connsiteX2384" y="connsiteY2384"/>
                </a:cxn>
                <a:cxn ang="0">
                  <a:pos x="connsiteX2385" y="connsiteY2385"/>
                </a:cxn>
                <a:cxn ang="0">
                  <a:pos x="connsiteX2386" y="connsiteY2386"/>
                </a:cxn>
                <a:cxn ang="0">
                  <a:pos x="connsiteX2387" y="connsiteY2387"/>
                </a:cxn>
                <a:cxn ang="0">
                  <a:pos x="connsiteX2388" y="connsiteY2388"/>
                </a:cxn>
                <a:cxn ang="0">
                  <a:pos x="connsiteX2389" y="connsiteY2389"/>
                </a:cxn>
                <a:cxn ang="0">
                  <a:pos x="connsiteX2390" y="connsiteY2390"/>
                </a:cxn>
                <a:cxn ang="0">
                  <a:pos x="connsiteX2391" y="connsiteY2391"/>
                </a:cxn>
                <a:cxn ang="0">
                  <a:pos x="connsiteX2392" y="connsiteY2392"/>
                </a:cxn>
                <a:cxn ang="0">
                  <a:pos x="connsiteX2393" y="connsiteY2393"/>
                </a:cxn>
                <a:cxn ang="0">
                  <a:pos x="connsiteX2394" y="connsiteY2394"/>
                </a:cxn>
                <a:cxn ang="0">
                  <a:pos x="connsiteX2395" y="connsiteY2395"/>
                </a:cxn>
                <a:cxn ang="0">
                  <a:pos x="connsiteX2396" y="connsiteY2396"/>
                </a:cxn>
                <a:cxn ang="0">
                  <a:pos x="connsiteX2397" y="connsiteY2397"/>
                </a:cxn>
                <a:cxn ang="0">
                  <a:pos x="connsiteX2398" y="connsiteY2398"/>
                </a:cxn>
                <a:cxn ang="0">
                  <a:pos x="connsiteX2399" y="connsiteY2399"/>
                </a:cxn>
                <a:cxn ang="0">
                  <a:pos x="connsiteX2400" y="connsiteY2400"/>
                </a:cxn>
                <a:cxn ang="0">
                  <a:pos x="connsiteX2401" y="connsiteY2401"/>
                </a:cxn>
                <a:cxn ang="0">
                  <a:pos x="connsiteX2402" y="connsiteY2402"/>
                </a:cxn>
                <a:cxn ang="0">
                  <a:pos x="connsiteX2403" y="connsiteY2403"/>
                </a:cxn>
                <a:cxn ang="0">
                  <a:pos x="connsiteX2404" y="connsiteY2404"/>
                </a:cxn>
                <a:cxn ang="0">
                  <a:pos x="connsiteX2405" y="connsiteY2405"/>
                </a:cxn>
                <a:cxn ang="0">
                  <a:pos x="connsiteX2406" y="connsiteY2406"/>
                </a:cxn>
                <a:cxn ang="0">
                  <a:pos x="connsiteX2407" y="connsiteY2407"/>
                </a:cxn>
                <a:cxn ang="0">
                  <a:pos x="connsiteX2408" y="connsiteY2408"/>
                </a:cxn>
                <a:cxn ang="0">
                  <a:pos x="connsiteX2409" y="connsiteY2409"/>
                </a:cxn>
                <a:cxn ang="0">
                  <a:pos x="connsiteX2410" y="connsiteY2410"/>
                </a:cxn>
                <a:cxn ang="0">
                  <a:pos x="connsiteX2411" y="connsiteY2411"/>
                </a:cxn>
                <a:cxn ang="0">
                  <a:pos x="connsiteX2412" y="connsiteY2412"/>
                </a:cxn>
                <a:cxn ang="0">
                  <a:pos x="connsiteX2413" y="connsiteY2413"/>
                </a:cxn>
                <a:cxn ang="0">
                  <a:pos x="connsiteX2414" y="connsiteY2414"/>
                </a:cxn>
                <a:cxn ang="0">
                  <a:pos x="connsiteX2415" y="connsiteY2415"/>
                </a:cxn>
                <a:cxn ang="0">
                  <a:pos x="connsiteX2416" y="connsiteY2416"/>
                </a:cxn>
                <a:cxn ang="0">
                  <a:pos x="connsiteX2417" y="connsiteY2417"/>
                </a:cxn>
                <a:cxn ang="0">
                  <a:pos x="connsiteX2418" y="connsiteY2418"/>
                </a:cxn>
                <a:cxn ang="0">
                  <a:pos x="connsiteX2419" y="connsiteY2419"/>
                </a:cxn>
                <a:cxn ang="0">
                  <a:pos x="connsiteX2420" y="connsiteY2420"/>
                </a:cxn>
                <a:cxn ang="0">
                  <a:pos x="connsiteX2421" y="connsiteY2421"/>
                </a:cxn>
                <a:cxn ang="0">
                  <a:pos x="connsiteX2422" y="connsiteY2422"/>
                </a:cxn>
                <a:cxn ang="0">
                  <a:pos x="connsiteX2423" y="connsiteY2423"/>
                </a:cxn>
                <a:cxn ang="0">
                  <a:pos x="connsiteX2424" y="connsiteY2424"/>
                </a:cxn>
                <a:cxn ang="0">
                  <a:pos x="connsiteX2425" y="connsiteY2425"/>
                </a:cxn>
                <a:cxn ang="0">
                  <a:pos x="connsiteX2426" y="connsiteY2426"/>
                </a:cxn>
                <a:cxn ang="0">
                  <a:pos x="connsiteX2427" y="connsiteY2427"/>
                </a:cxn>
                <a:cxn ang="0">
                  <a:pos x="connsiteX2428" y="connsiteY2428"/>
                </a:cxn>
                <a:cxn ang="0">
                  <a:pos x="connsiteX2429" y="connsiteY2429"/>
                </a:cxn>
                <a:cxn ang="0">
                  <a:pos x="connsiteX2430" y="connsiteY2430"/>
                </a:cxn>
                <a:cxn ang="0">
                  <a:pos x="connsiteX2431" y="connsiteY2431"/>
                </a:cxn>
                <a:cxn ang="0">
                  <a:pos x="connsiteX2432" y="connsiteY2432"/>
                </a:cxn>
                <a:cxn ang="0">
                  <a:pos x="connsiteX2433" y="connsiteY2433"/>
                </a:cxn>
                <a:cxn ang="0">
                  <a:pos x="connsiteX2434" y="connsiteY2434"/>
                </a:cxn>
                <a:cxn ang="0">
                  <a:pos x="connsiteX2435" y="connsiteY2435"/>
                </a:cxn>
                <a:cxn ang="0">
                  <a:pos x="connsiteX2436" y="connsiteY2436"/>
                </a:cxn>
                <a:cxn ang="0">
                  <a:pos x="connsiteX2437" y="connsiteY2437"/>
                </a:cxn>
                <a:cxn ang="0">
                  <a:pos x="connsiteX2438" y="connsiteY2438"/>
                </a:cxn>
                <a:cxn ang="0">
                  <a:pos x="connsiteX2439" y="connsiteY2439"/>
                </a:cxn>
                <a:cxn ang="0">
                  <a:pos x="connsiteX2440" y="connsiteY2440"/>
                </a:cxn>
                <a:cxn ang="0">
                  <a:pos x="connsiteX2441" y="connsiteY2441"/>
                </a:cxn>
                <a:cxn ang="0">
                  <a:pos x="connsiteX2442" y="connsiteY2442"/>
                </a:cxn>
                <a:cxn ang="0">
                  <a:pos x="connsiteX2443" y="connsiteY2443"/>
                </a:cxn>
                <a:cxn ang="0">
                  <a:pos x="connsiteX2444" y="connsiteY2444"/>
                </a:cxn>
                <a:cxn ang="0">
                  <a:pos x="connsiteX2445" y="connsiteY2445"/>
                </a:cxn>
                <a:cxn ang="0">
                  <a:pos x="connsiteX2446" y="connsiteY2446"/>
                </a:cxn>
                <a:cxn ang="0">
                  <a:pos x="connsiteX2447" y="connsiteY2447"/>
                </a:cxn>
                <a:cxn ang="0">
                  <a:pos x="connsiteX2448" y="connsiteY2448"/>
                </a:cxn>
                <a:cxn ang="0">
                  <a:pos x="connsiteX2449" y="connsiteY2449"/>
                </a:cxn>
                <a:cxn ang="0">
                  <a:pos x="connsiteX2450" y="connsiteY2450"/>
                </a:cxn>
                <a:cxn ang="0">
                  <a:pos x="connsiteX2451" y="connsiteY2451"/>
                </a:cxn>
                <a:cxn ang="0">
                  <a:pos x="connsiteX2452" y="connsiteY2452"/>
                </a:cxn>
                <a:cxn ang="0">
                  <a:pos x="connsiteX2453" y="connsiteY2453"/>
                </a:cxn>
                <a:cxn ang="0">
                  <a:pos x="connsiteX2454" y="connsiteY2454"/>
                </a:cxn>
                <a:cxn ang="0">
                  <a:pos x="connsiteX2455" y="connsiteY2455"/>
                </a:cxn>
                <a:cxn ang="0">
                  <a:pos x="connsiteX2456" y="connsiteY2456"/>
                </a:cxn>
                <a:cxn ang="0">
                  <a:pos x="connsiteX2457" y="connsiteY2457"/>
                </a:cxn>
                <a:cxn ang="0">
                  <a:pos x="connsiteX2458" y="connsiteY2458"/>
                </a:cxn>
                <a:cxn ang="0">
                  <a:pos x="connsiteX2459" y="connsiteY2459"/>
                </a:cxn>
                <a:cxn ang="0">
                  <a:pos x="connsiteX2460" y="connsiteY2460"/>
                </a:cxn>
                <a:cxn ang="0">
                  <a:pos x="connsiteX2461" y="connsiteY2461"/>
                </a:cxn>
                <a:cxn ang="0">
                  <a:pos x="connsiteX2462" y="connsiteY2462"/>
                </a:cxn>
                <a:cxn ang="0">
                  <a:pos x="connsiteX2463" y="connsiteY2463"/>
                </a:cxn>
                <a:cxn ang="0">
                  <a:pos x="connsiteX2464" y="connsiteY2464"/>
                </a:cxn>
                <a:cxn ang="0">
                  <a:pos x="connsiteX2465" y="connsiteY2465"/>
                </a:cxn>
                <a:cxn ang="0">
                  <a:pos x="connsiteX2466" y="connsiteY2466"/>
                </a:cxn>
                <a:cxn ang="0">
                  <a:pos x="connsiteX2467" y="connsiteY2467"/>
                </a:cxn>
                <a:cxn ang="0">
                  <a:pos x="connsiteX2468" y="connsiteY2468"/>
                </a:cxn>
                <a:cxn ang="0">
                  <a:pos x="connsiteX2469" y="connsiteY2469"/>
                </a:cxn>
                <a:cxn ang="0">
                  <a:pos x="connsiteX2470" y="connsiteY2470"/>
                </a:cxn>
                <a:cxn ang="0">
                  <a:pos x="connsiteX2471" y="connsiteY2471"/>
                </a:cxn>
                <a:cxn ang="0">
                  <a:pos x="connsiteX2472" y="connsiteY2472"/>
                </a:cxn>
                <a:cxn ang="0">
                  <a:pos x="connsiteX2473" y="connsiteY2473"/>
                </a:cxn>
                <a:cxn ang="0">
                  <a:pos x="connsiteX2474" y="connsiteY2474"/>
                </a:cxn>
                <a:cxn ang="0">
                  <a:pos x="connsiteX2475" y="connsiteY2475"/>
                </a:cxn>
                <a:cxn ang="0">
                  <a:pos x="connsiteX2476" y="connsiteY2476"/>
                </a:cxn>
                <a:cxn ang="0">
                  <a:pos x="connsiteX2477" y="connsiteY2477"/>
                </a:cxn>
                <a:cxn ang="0">
                  <a:pos x="connsiteX2478" y="connsiteY2478"/>
                </a:cxn>
                <a:cxn ang="0">
                  <a:pos x="connsiteX2479" y="connsiteY2479"/>
                </a:cxn>
                <a:cxn ang="0">
                  <a:pos x="connsiteX2480" y="connsiteY2480"/>
                </a:cxn>
                <a:cxn ang="0">
                  <a:pos x="connsiteX2481" y="connsiteY2481"/>
                </a:cxn>
                <a:cxn ang="0">
                  <a:pos x="connsiteX2482" y="connsiteY2482"/>
                </a:cxn>
                <a:cxn ang="0">
                  <a:pos x="connsiteX2483" y="connsiteY2483"/>
                </a:cxn>
                <a:cxn ang="0">
                  <a:pos x="connsiteX2484" y="connsiteY2484"/>
                </a:cxn>
                <a:cxn ang="0">
                  <a:pos x="connsiteX2485" y="connsiteY2485"/>
                </a:cxn>
                <a:cxn ang="0">
                  <a:pos x="connsiteX2486" y="connsiteY2486"/>
                </a:cxn>
                <a:cxn ang="0">
                  <a:pos x="connsiteX2487" y="connsiteY2487"/>
                </a:cxn>
                <a:cxn ang="0">
                  <a:pos x="connsiteX2488" y="connsiteY2488"/>
                </a:cxn>
                <a:cxn ang="0">
                  <a:pos x="connsiteX2489" y="connsiteY2489"/>
                </a:cxn>
                <a:cxn ang="0">
                  <a:pos x="connsiteX2490" y="connsiteY2490"/>
                </a:cxn>
                <a:cxn ang="0">
                  <a:pos x="connsiteX2491" y="connsiteY2491"/>
                </a:cxn>
                <a:cxn ang="0">
                  <a:pos x="connsiteX2492" y="connsiteY2492"/>
                </a:cxn>
                <a:cxn ang="0">
                  <a:pos x="connsiteX2493" y="connsiteY2493"/>
                </a:cxn>
                <a:cxn ang="0">
                  <a:pos x="connsiteX2494" y="connsiteY2494"/>
                </a:cxn>
                <a:cxn ang="0">
                  <a:pos x="connsiteX2495" y="connsiteY2495"/>
                </a:cxn>
                <a:cxn ang="0">
                  <a:pos x="connsiteX2496" y="connsiteY2496"/>
                </a:cxn>
                <a:cxn ang="0">
                  <a:pos x="connsiteX2497" y="connsiteY2497"/>
                </a:cxn>
                <a:cxn ang="0">
                  <a:pos x="connsiteX2498" y="connsiteY2498"/>
                </a:cxn>
                <a:cxn ang="0">
                  <a:pos x="connsiteX2499" y="connsiteY2499"/>
                </a:cxn>
                <a:cxn ang="0">
                  <a:pos x="connsiteX2500" y="connsiteY2500"/>
                </a:cxn>
                <a:cxn ang="0">
                  <a:pos x="connsiteX2501" y="connsiteY2501"/>
                </a:cxn>
                <a:cxn ang="0">
                  <a:pos x="connsiteX2502" y="connsiteY2502"/>
                </a:cxn>
                <a:cxn ang="0">
                  <a:pos x="connsiteX2503" y="connsiteY2503"/>
                </a:cxn>
                <a:cxn ang="0">
                  <a:pos x="connsiteX2504" y="connsiteY2504"/>
                </a:cxn>
                <a:cxn ang="0">
                  <a:pos x="connsiteX2505" y="connsiteY2505"/>
                </a:cxn>
                <a:cxn ang="0">
                  <a:pos x="connsiteX2506" y="connsiteY2506"/>
                </a:cxn>
                <a:cxn ang="0">
                  <a:pos x="connsiteX2507" y="connsiteY2507"/>
                </a:cxn>
                <a:cxn ang="0">
                  <a:pos x="connsiteX2508" y="connsiteY2508"/>
                </a:cxn>
                <a:cxn ang="0">
                  <a:pos x="connsiteX2509" y="connsiteY2509"/>
                </a:cxn>
                <a:cxn ang="0">
                  <a:pos x="connsiteX2510" y="connsiteY2510"/>
                </a:cxn>
                <a:cxn ang="0">
                  <a:pos x="connsiteX2511" y="connsiteY2511"/>
                </a:cxn>
                <a:cxn ang="0">
                  <a:pos x="connsiteX2512" y="connsiteY2512"/>
                </a:cxn>
                <a:cxn ang="0">
                  <a:pos x="connsiteX2513" y="connsiteY2513"/>
                </a:cxn>
                <a:cxn ang="0">
                  <a:pos x="connsiteX2514" y="connsiteY2514"/>
                </a:cxn>
                <a:cxn ang="0">
                  <a:pos x="connsiteX2515" y="connsiteY2515"/>
                </a:cxn>
                <a:cxn ang="0">
                  <a:pos x="connsiteX2516" y="connsiteY2516"/>
                </a:cxn>
                <a:cxn ang="0">
                  <a:pos x="connsiteX2517" y="connsiteY2517"/>
                </a:cxn>
                <a:cxn ang="0">
                  <a:pos x="connsiteX2518" y="connsiteY2518"/>
                </a:cxn>
                <a:cxn ang="0">
                  <a:pos x="connsiteX2519" y="connsiteY2519"/>
                </a:cxn>
                <a:cxn ang="0">
                  <a:pos x="connsiteX2520" y="connsiteY2520"/>
                </a:cxn>
                <a:cxn ang="0">
                  <a:pos x="connsiteX2521" y="connsiteY2521"/>
                </a:cxn>
                <a:cxn ang="0">
                  <a:pos x="connsiteX2522" y="connsiteY2522"/>
                </a:cxn>
                <a:cxn ang="0">
                  <a:pos x="connsiteX2523" y="connsiteY2523"/>
                </a:cxn>
                <a:cxn ang="0">
                  <a:pos x="connsiteX2524" y="connsiteY2524"/>
                </a:cxn>
                <a:cxn ang="0">
                  <a:pos x="connsiteX2525" y="connsiteY2525"/>
                </a:cxn>
                <a:cxn ang="0">
                  <a:pos x="connsiteX2526" y="connsiteY2526"/>
                </a:cxn>
                <a:cxn ang="0">
                  <a:pos x="connsiteX2527" y="connsiteY2527"/>
                </a:cxn>
                <a:cxn ang="0">
                  <a:pos x="connsiteX2528" y="connsiteY2528"/>
                </a:cxn>
                <a:cxn ang="0">
                  <a:pos x="connsiteX2529" y="connsiteY2529"/>
                </a:cxn>
                <a:cxn ang="0">
                  <a:pos x="connsiteX2530" y="connsiteY2530"/>
                </a:cxn>
                <a:cxn ang="0">
                  <a:pos x="connsiteX2531" y="connsiteY2531"/>
                </a:cxn>
                <a:cxn ang="0">
                  <a:pos x="connsiteX2532" y="connsiteY2532"/>
                </a:cxn>
                <a:cxn ang="0">
                  <a:pos x="connsiteX2533" y="connsiteY2533"/>
                </a:cxn>
                <a:cxn ang="0">
                  <a:pos x="connsiteX2534" y="connsiteY2534"/>
                </a:cxn>
                <a:cxn ang="0">
                  <a:pos x="connsiteX2535" y="connsiteY2535"/>
                </a:cxn>
                <a:cxn ang="0">
                  <a:pos x="connsiteX2536" y="connsiteY2536"/>
                </a:cxn>
                <a:cxn ang="0">
                  <a:pos x="connsiteX2537" y="connsiteY2537"/>
                </a:cxn>
                <a:cxn ang="0">
                  <a:pos x="connsiteX2538" y="connsiteY2538"/>
                </a:cxn>
                <a:cxn ang="0">
                  <a:pos x="connsiteX2539" y="connsiteY2539"/>
                </a:cxn>
                <a:cxn ang="0">
                  <a:pos x="connsiteX2540" y="connsiteY2540"/>
                </a:cxn>
                <a:cxn ang="0">
                  <a:pos x="connsiteX2541" y="connsiteY2541"/>
                </a:cxn>
                <a:cxn ang="0">
                  <a:pos x="connsiteX2542" y="connsiteY2542"/>
                </a:cxn>
                <a:cxn ang="0">
                  <a:pos x="connsiteX2543" y="connsiteY2543"/>
                </a:cxn>
                <a:cxn ang="0">
                  <a:pos x="connsiteX2544" y="connsiteY2544"/>
                </a:cxn>
                <a:cxn ang="0">
                  <a:pos x="connsiteX2545" y="connsiteY2545"/>
                </a:cxn>
                <a:cxn ang="0">
                  <a:pos x="connsiteX2546" y="connsiteY2546"/>
                </a:cxn>
                <a:cxn ang="0">
                  <a:pos x="connsiteX2547" y="connsiteY2547"/>
                </a:cxn>
                <a:cxn ang="0">
                  <a:pos x="connsiteX2548" y="connsiteY2548"/>
                </a:cxn>
                <a:cxn ang="0">
                  <a:pos x="connsiteX2549" y="connsiteY2549"/>
                </a:cxn>
                <a:cxn ang="0">
                  <a:pos x="connsiteX2550" y="connsiteY2550"/>
                </a:cxn>
                <a:cxn ang="0">
                  <a:pos x="connsiteX2551" y="connsiteY2551"/>
                </a:cxn>
                <a:cxn ang="0">
                  <a:pos x="connsiteX2552" y="connsiteY2552"/>
                </a:cxn>
                <a:cxn ang="0">
                  <a:pos x="connsiteX2553" y="connsiteY2553"/>
                </a:cxn>
                <a:cxn ang="0">
                  <a:pos x="connsiteX2554" y="connsiteY2554"/>
                </a:cxn>
                <a:cxn ang="0">
                  <a:pos x="connsiteX2555" y="connsiteY2555"/>
                </a:cxn>
                <a:cxn ang="0">
                  <a:pos x="connsiteX2556" y="connsiteY2556"/>
                </a:cxn>
                <a:cxn ang="0">
                  <a:pos x="connsiteX2557" y="connsiteY2557"/>
                </a:cxn>
                <a:cxn ang="0">
                  <a:pos x="connsiteX2558" y="connsiteY2558"/>
                </a:cxn>
                <a:cxn ang="0">
                  <a:pos x="connsiteX2559" y="connsiteY2559"/>
                </a:cxn>
                <a:cxn ang="0">
                  <a:pos x="connsiteX2560" y="connsiteY2560"/>
                </a:cxn>
                <a:cxn ang="0">
                  <a:pos x="connsiteX2561" y="connsiteY2561"/>
                </a:cxn>
                <a:cxn ang="0">
                  <a:pos x="connsiteX2562" y="connsiteY2562"/>
                </a:cxn>
                <a:cxn ang="0">
                  <a:pos x="connsiteX2563" y="connsiteY2563"/>
                </a:cxn>
                <a:cxn ang="0">
                  <a:pos x="connsiteX2564" y="connsiteY2564"/>
                </a:cxn>
                <a:cxn ang="0">
                  <a:pos x="connsiteX2565" y="connsiteY2565"/>
                </a:cxn>
                <a:cxn ang="0">
                  <a:pos x="connsiteX2566" y="connsiteY2566"/>
                </a:cxn>
                <a:cxn ang="0">
                  <a:pos x="connsiteX2567" y="connsiteY2567"/>
                </a:cxn>
                <a:cxn ang="0">
                  <a:pos x="connsiteX2568" y="connsiteY2568"/>
                </a:cxn>
                <a:cxn ang="0">
                  <a:pos x="connsiteX2569" y="connsiteY2569"/>
                </a:cxn>
                <a:cxn ang="0">
                  <a:pos x="connsiteX2570" y="connsiteY2570"/>
                </a:cxn>
                <a:cxn ang="0">
                  <a:pos x="connsiteX2571" y="connsiteY2571"/>
                </a:cxn>
                <a:cxn ang="0">
                  <a:pos x="connsiteX2572" y="connsiteY2572"/>
                </a:cxn>
                <a:cxn ang="0">
                  <a:pos x="connsiteX2573" y="connsiteY2573"/>
                </a:cxn>
                <a:cxn ang="0">
                  <a:pos x="connsiteX2574" y="connsiteY2574"/>
                </a:cxn>
                <a:cxn ang="0">
                  <a:pos x="connsiteX2575" y="connsiteY2575"/>
                </a:cxn>
                <a:cxn ang="0">
                  <a:pos x="connsiteX2576" y="connsiteY2576"/>
                </a:cxn>
                <a:cxn ang="0">
                  <a:pos x="connsiteX2577" y="connsiteY2577"/>
                </a:cxn>
                <a:cxn ang="0">
                  <a:pos x="connsiteX2578" y="connsiteY2578"/>
                </a:cxn>
                <a:cxn ang="0">
                  <a:pos x="connsiteX2579" y="connsiteY2579"/>
                </a:cxn>
                <a:cxn ang="0">
                  <a:pos x="connsiteX2580" y="connsiteY2580"/>
                </a:cxn>
                <a:cxn ang="0">
                  <a:pos x="connsiteX2581" y="connsiteY2581"/>
                </a:cxn>
                <a:cxn ang="0">
                  <a:pos x="connsiteX2582" y="connsiteY2582"/>
                </a:cxn>
                <a:cxn ang="0">
                  <a:pos x="connsiteX2583" y="connsiteY2583"/>
                </a:cxn>
                <a:cxn ang="0">
                  <a:pos x="connsiteX2584" y="connsiteY2584"/>
                </a:cxn>
                <a:cxn ang="0">
                  <a:pos x="connsiteX2585" y="connsiteY2585"/>
                </a:cxn>
                <a:cxn ang="0">
                  <a:pos x="connsiteX2586" y="connsiteY2586"/>
                </a:cxn>
                <a:cxn ang="0">
                  <a:pos x="connsiteX2587" y="connsiteY2587"/>
                </a:cxn>
                <a:cxn ang="0">
                  <a:pos x="connsiteX2588" y="connsiteY2588"/>
                </a:cxn>
                <a:cxn ang="0">
                  <a:pos x="connsiteX2589" y="connsiteY2589"/>
                </a:cxn>
                <a:cxn ang="0">
                  <a:pos x="connsiteX2590" y="connsiteY2590"/>
                </a:cxn>
                <a:cxn ang="0">
                  <a:pos x="connsiteX2591" y="connsiteY2591"/>
                </a:cxn>
                <a:cxn ang="0">
                  <a:pos x="connsiteX2592" y="connsiteY2592"/>
                </a:cxn>
                <a:cxn ang="0">
                  <a:pos x="connsiteX2593" y="connsiteY2593"/>
                </a:cxn>
                <a:cxn ang="0">
                  <a:pos x="connsiteX2594" y="connsiteY2594"/>
                </a:cxn>
                <a:cxn ang="0">
                  <a:pos x="connsiteX2595" y="connsiteY2595"/>
                </a:cxn>
                <a:cxn ang="0">
                  <a:pos x="connsiteX2596" y="connsiteY2596"/>
                </a:cxn>
                <a:cxn ang="0">
                  <a:pos x="connsiteX2597" y="connsiteY2597"/>
                </a:cxn>
                <a:cxn ang="0">
                  <a:pos x="connsiteX2598" y="connsiteY2598"/>
                </a:cxn>
                <a:cxn ang="0">
                  <a:pos x="connsiteX2599" y="connsiteY2599"/>
                </a:cxn>
                <a:cxn ang="0">
                  <a:pos x="connsiteX2600" y="connsiteY2600"/>
                </a:cxn>
                <a:cxn ang="0">
                  <a:pos x="connsiteX2601" y="connsiteY2601"/>
                </a:cxn>
                <a:cxn ang="0">
                  <a:pos x="connsiteX2602" y="connsiteY2602"/>
                </a:cxn>
                <a:cxn ang="0">
                  <a:pos x="connsiteX2603" y="connsiteY2603"/>
                </a:cxn>
                <a:cxn ang="0">
                  <a:pos x="connsiteX2604" y="connsiteY2604"/>
                </a:cxn>
                <a:cxn ang="0">
                  <a:pos x="connsiteX2605" y="connsiteY2605"/>
                </a:cxn>
                <a:cxn ang="0">
                  <a:pos x="connsiteX2606" y="connsiteY2606"/>
                </a:cxn>
                <a:cxn ang="0">
                  <a:pos x="connsiteX2607" y="connsiteY2607"/>
                </a:cxn>
                <a:cxn ang="0">
                  <a:pos x="connsiteX2608" y="connsiteY2608"/>
                </a:cxn>
                <a:cxn ang="0">
                  <a:pos x="connsiteX2609" y="connsiteY2609"/>
                </a:cxn>
                <a:cxn ang="0">
                  <a:pos x="connsiteX2610" y="connsiteY2610"/>
                </a:cxn>
                <a:cxn ang="0">
                  <a:pos x="connsiteX2611" y="connsiteY2611"/>
                </a:cxn>
                <a:cxn ang="0">
                  <a:pos x="connsiteX2612" y="connsiteY2612"/>
                </a:cxn>
                <a:cxn ang="0">
                  <a:pos x="connsiteX2613" y="connsiteY2613"/>
                </a:cxn>
                <a:cxn ang="0">
                  <a:pos x="connsiteX2614" y="connsiteY2614"/>
                </a:cxn>
                <a:cxn ang="0">
                  <a:pos x="connsiteX2615" y="connsiteY2615"/>
                </a:cxn>
                <a:cxn ang="0">
                  <a:pos x="connsiteX2616" y="connsiteY2616"/>
                </a:cxn>
                <a:cxn ang="0">
                  <a:pos x="connsiteX2617" y="connsiteY2617"/>
                </a:cxn>
                <a:cxn ang="0">
                  <a:pos x="connsiteX2618" y="connsiteY2618"/>
                </a:cxn>
                <a:cxn ang="0">
                  <a:pos x="connsiteX2619" y="connsiteY2619"/>
                </a:cxn>
                <a:cxn ang="0">
                  <a:pos x="connsiteX2620" y="connsiteY2620"/>
                </a:cxn>
                <a:cxn ang="0">
                  <a:pos x="connsiteX2621" y="connsiteY2621"/>
                </a:cxn>
                <a:cxn ang="0">
                  <a:pos x="connsiteX2622" y="connsiteY2622"/>
                </a:cxn>
                <a:cxn ang="0">
                  <a:pos x="connsiteX2623" y="connsiteY2623"/>
                </a:cxn>
                <a:cxn ang="0">
                  <a:pos x="connsiteX2624" y="connsiteY2624"/>
                </a:cxn>
                <a:cxn ang="0">
                  <a:pos x="connsiteX2625" y="connsiteY2625"/>
                </a:cxn>
                <a:cxn ang="0">
                  <a:pos x="connsiteX2626" y="connsiteY2626"/>
                </a:cxn>
                <a:cxn ang="0">
                  <a:pos x="connsiteX2627" y="connsiteY2627"/>
                </a:cxn>
                <a:cxn ang="0">
                  <a:pos x="connsiteX2628" y="connsiteY2628"/>
                </a:cxn>
                <a:cxn ang="0">
                  <a:pos x="connsiteX2629" y="connsiteY2629"/>
                </a:cxn>
                <a:cxn ang="0">
                  <a:pos x="connsiteX2630" y="connsiteY2630"/>
                </a:cxn>
                <a:cxn ang="0">
                  <a:pos x="connsiteX2631" y="connsiteY2631"/>
                </a:cxn>
                <a:cxn ang="0">
                  <a:pos x="connsiteX2632" y="connsiteY2632"/>
                </a:cxn>
                <a:cxn ang="0">
                  <a:pos x="connsiteX2633" y="connsiteY2633"/>
                </a:cxn>
                <a:cxn ang="0">
                  <a:pos x="connsiteX2634" y="connsiteY2634"/>
                </a:cxn>
                <a:cxn ang="0">
                  <a:pos x="connsiteX2635" y="connsiteY2635"/>
                </a:cxn>
                <a:cxn ang="0">
                  <a:pos x="connsiteX2636" y="connsiteY2636"/>
                </a:cxn>
                <a:cxn ang="0">
                  <a:pos x="connsiteX2637" y="connsiteY2637"/>
                </a:cxn>
                <a:cxn ang="0">
                  <a:pos x="connsiteX2638" y="connsiteY2638"/>
                </a:cxn>
                <a:cxn ang="0">
                  <a:pos x="connsiteX2639" y="connsiteY2639"/>
                </a:cxn>
                <a:cxn ang="0">
                  <a:pos x="connsiteX2640" y="connsiteY2640"/>
                </a:cxn>
                <a:cxn ang="0">
                  <a:pos x="connsiteX2641" y="connsiteY2641"/>
                </a:cxn>
                <a:cxn ang="0">
                  <a:pos x="connsiteX2642" y="connsiteY2642"/>
                </a:cxn>
                <a:cxn ang="0">
                  <a:pos x="connsiteX2643" y="connsiteY2643"/>
                </a:cxn>
                <a:cxn ang="0">
                  <a:pos x="connsiteX2644" y="connsiteY2644"/>
                </a:cxn>
                <a:cxn ang="0">
                  <a:pos x="connsiteX2645" y="connsiteY2645"/>
                </a:cxn>
                <a:cxn ang="0">
                  <a:pos x="connsiteX2646" y="connsiteY2646"/>
                </a:cxn>
                <a:cxn ang="0">
                  <a:pos x="connsiteX2647" y="connsiteY2647"/>
                </a:cxn>
                <a:cxn ang="0">
                  <a:pos x="connsiteX2648" y="connsiteY2648"/>
                </a:cxn>
                <a:cxn ang="0">
                  <a:pos x="connsiteX2649" y="connsiteY2649"/>
                </a:cxn>
                <a:cxn ang="0">
                  <a:pos x="connsiteX2650" y="connsiteY2650"/>
                </a:cxn>
                <a:cxn ang="0">
                  <a:pos x="connsiteX2651" y="connsiteY2651"/>
                </a:cxn>
                <a:cxn ang="0">
                  <a:pos x="connsiteX2652" y="connsiteY2652"/>
                </a:cxn>
                <a:cxn ang="0">
                  <a:pos x="connsiteX2653" y="connsiteY2653"/>
                </a:cxn>
                <a:cxn ang="0">
                  <a:pos x="connsiteX2654" y="connsiteY2654"/>
                </a:cxn>
                <a:cxn ang="0">
                  <a:pos x="connsiteX2655" y="connsiteY2655"/>
                </a:cxn>
                <a:cxn ang="0">
                  <a:pos x="connsiteX2656" y="connsiteY2656"/>
                </a:cxn>
                <a:cxn ang="0">
                  <a:pos x="connsiteX2657" y="connsiteY2657"/>
                </a:cxn>
                <a:cxn ang="0">
                  <a:pos x="connsiteX2658" y="connsiteY2658"/>
                </a:cxn>
                <a:cxn ang="0">
                  <a:pos x="connsiteX2659" y="connsiteY2659"/>
                </a:cxn>
                <a:cxn ang="0">
                  <a:pos x="connsiteX2660" y="connsiteY2660"/>
                </a:cxn>
                <a:cxn ang="0">
                  <a:pos x="connsiteX2661" y="connsiteY2661"/>
                </a:cxn>
                <a:cxn ang="0">
                  <a:pos x="connsiteX2662" y="connsiteY2662"/>
                </a:cxn>
                <a:cxn ang="0">
                  <a:pos x="connsiteX2663" y="connsiteY2663"/>
                </a:cxn>
                <a:cxn ang="0">
                  <a:pos x="connsiteX2664" y="connsiteY2664"/>
                </a:cxn>
                <a:cxn ang="0">
                  <a:pos x="connsiteX2665" y="connsiteY2665"/>
                </a:cxn>
                <a:cxn ang="0">
                  <a:pos x="connsiteX2666" y="connsiteY2666"/>
                </a:cxn>
                <a:cxn ang="0">
                  <a:pos x="connsiteX2667" y="connsiteY2667"/>
                </a:cxn>
                <a:cxn ang="0">
                  <a:pos x="connsiteX2668" y="connsiteY2668"/>
                </a:cxn>
                <a:cxn ang="0">
                  <a:pos x="connsiteX2669" y="connsiteY2669"/>
                </a:cxn>
                <a:cxn ang="0">
                  <a:pos x="connsiteX2670" y="connsiteY2670"/>
                </a:cxn>
                <a:cxn ang="0">
                  <a:pos x="connsiteX2671" y="connsiteY2671"/>
                </a:cxn>
                <a:cxn ang="0">
                  <a:pos x="connsiteX2672" y="connsiteY2672"/>
                </a:cxn>
                <a:cxn ang="0">
                  <a:pos x="connsiteX2673" y="connsiteY2673"/>
                </a:cxn>
                <a:cxn ang="0">
                  <a:pos x="connsiteX2674" y="connsiteY2674"/>
                </a:cxn>
                <a:cxn ang="0">
                  <a:pos x="connsiteX2675" y="connsiteY2675"/>
                </a:cxn>
                <a:cxn ang="0">
                  <a:pos x="connsiteX2676" y="connsiteY2676"/>
                </a:cxn>
                <a:cxn ang="0">
                  <a:pos x="connsiteX2677" y="connsiteY2677"/>
                </a:cxn>
                <a:cxn ang="0">
                  <a:pos x="connsiteX2678" y="connsiteY2678"/>
                </a:cxn>
                <a:cxn ang="0">
                  <a:pos x="connsiteX2679" y="connsiteY2679"/>
                </a:cxn>
                <a:cxn ang="0">
                  <a:pos x="connsiteX2680" y="connsiteY2680"/>
                </a:cxn>
                <a:cxn ang="0">
                  <a:pos x="connsiteX2681" y="connsiteY2681"/>
                </a:cxn>
                <a:cxn ang="0">
                  <a:pos x="connsiteX2682" y="connsiteY2682"/>
                </a:cxn>
                <a:cxn ang="0">
                  <a:pos x="connsiteX2683" y="connsiteY2683"/>
                </a:cxn>
                <a:cxn ang="0">
                  <a:pos x="connsiteX2684" y="connsiteY2684"/>
                </a:cxn>
                <a:cxn ang="0">
                  <a:pos x="connsiteX2685" y="connsiteY2685"/>
                </a:cxn>
                <a:cxn ang="0">
                  <a:pos x="connsiteX2686" y="connsiteY2686"/>
                </a:cxn>
                <a:cxn ang="0">
                  <a:pos x="connsiteX2687" y="connsiteY2687"/>
                </a:cxn>
                <a:cxn ang="0">
                  <a:pos x="connsiteX2688" y="connsiteY2688"/>
                </a:cxn>
                <a:cxn ang="0">
                  <a:pos x="connsiteX2689" y="connsiteY2689"/>
                </a:cxn>
                <a:cxn ang="0">
                  <a:pos x="connsiteX2690" y="connsiteY2690"/>
                </a:cxn>
                <a:cxn ang="0">
                  <a:pos x="connsiteX2691" y="connsiteY2691"/>
                </a:cxn>
                <a:cxn ang="0">
                  <a:pos x="connsiteX2692" y="connsiteY2692"/>
                </a:cxn>
                <a:cxn ang="0">
                  <a:pos x="connsiteX2693" y="connsiteY2693"/>
                </a:cxn>
                <a:cxn ang="0">
                  <a:pos x="connsiteX2694" y="connsiteY2694"/>
                </a:cxn>
                <a:cxn ang="0">
                  <a:pos x="connsiteX2695" y="connsiteY2695"/>
                </a:cxn>
                <a:cxn ang="0">
                  <a:pos x="connsiteX2696" y="connsiteY2696"/>
                </a:cxn>
                <a:cxn ang="0">
                  <a:pos x="connsiteX2697" y="connsiteY2697"/>
                </a:cxn>
                <a:cxn ang="0">
                  <a:pos x="connsiteX2698" y="connsiteY2698"/>
                </a:cxn>
                <a:cxn ang="0">
                  <a:pos x="connsiteX2699" y="connsiteY2699"/>
                </a:cxn>
                <a:cxn ang="0">
                  <a:pos x="connsiteX2700" y="connsiteY2700"/>
                </a:cxn>
                <a:cxn ang="0">
                  <a:pos x="connsiteX2701" y="connsiteY2701"/>
                </a:cxn>
                <a:cxn ang="0">
                  <a:pos x="connsiteX2702" y="connsiteY2702"/>
                </a:cxn>
                <a:cxn ang="0">
                  <a:pos x="connsiteX2703" y="connsiteY2703"/>
                </a:cxn>
                <a:cxn ang="0">
                  <a:pos x="connsiteX2704" y="connsiteY2704"/>
                </a:cxn>
                <a:cxn ang="0">
                  <a:pos x="connsiteX2705" y="connsiteY2705"/>
                </a:cxn>
                <a:cxn ang="0">
                  <a:pos x="connsiteX2706" y="connsiteY2706"/>
                </a:cxn>
                <a:cxn ang="0">
                  <a:pos x="connsiteX2707" y="connsiteY2707"/>
                </a:cxn>
                <a:cxn ang="0">
                  <a:pos x="connsiteX2708" y="connsiteY2708"/>
                </a:cxn>
                <a:cxn ang="0">
                  <a:pos x="connsiteX2709" y="connsiteY2709"/>
                </a:cxn>
                <a:cxn ang="0">
                  <a:pos x="connsiteX2710" y="connsiteY2710"/>
                </a:cxn>
                <a:cxn ang="0">
                  <a:pos x="connsiteX2711" y="connsiteY2711"/>
                </a:cxn>
                <a:cxn ang="0">
                  <a:pos x="connsiteX2712" y="connsiteY2712"/>
                </a:cxn>
                <a:cxn ang="0">
                  <a:pos x="connsiteX2713" y="connsiteY2713"/>
                </a:cxn>
                <a:cxn ang="0">
                  <a:pos x="connsiteX2714" y="connsiteY2714"/>
                </a:cxn>
                <a:cxn ang="0">
                  <a:pos x="connsiteX2715" y="connsiteY2715"/>
                </a:cxn>
                <a:cxn ang="0">
                  <a:pos x="connsiteX2716" y="connsiteY2716"/>
                </a:cxn>
                <a:cxn ang="0">
                  <a:pos x="connsiteX2717" y="connsiteY2717"/>
                </a:cxn>
                <a:cxn ang="0">
                  <a:pos x="connsiteX2718" y="connsiteY2718"/>
                </a:cxn>
                <a:cxn ang="0">
                  <a:pos x="connsiteX2719" y="connsiteY2719"/>
                </a:cxn>
                <a:cxn ang="0">
                  <a:pos x="connsiteX2720" y="connsiteY2720"/>
                </a:cxn>
                <a:cxn ang="0">
                  <a:pos x="connsiteX2721" y="connsiteY2721"/>
                </a:cxn>
                <a:cxn ang="0">
                  <a:pos x="connsiteX2722" y="connsiteY2722"/>
                </a:cxn>
                <a:cxn ang="0">
                  <a:pos x="connsiteX2723" y="connsiteY2723"/>
                </a:cxn>
                <a:cxn ang="0">
                  <a:pos x="connsiteX2724" y="connsiteY2724"/>
                </a:cxn>
                <a:cxn ang="0">
                  <a:pos x="connsiteX2725" y="connsiteY2725"/>
                </a:cxn>
                <a:cxn ang="0">
                  <a:pos x="connsiteX2726" y="connsiteY2726"/>
                </a:cxn>
                <a:cxn ang="0">
                  <a:pos x="connsiteX2727" y="connsiteY2727"/>
                </a:cxn>
                <a:cxn ang="0">
                  <a:pos x="connsiteX2728" y="connsiteY2728"/>
                </a:cxn>
                <a:cxn ang="0">
                  <a:pos x="connsiteX2729" y="connsiteY2729"/>
                </a:cxn>
                <a:cxn ang="0">
                  <a:pos x="connsiteX2730" y="connsiteY2730"/>
                </a:cxn>
                <a:cxn ang="0">
                  <a:pos x="connsiteX2731" y="connsiteY2731"/>
                </a:cxn>
                <a:cxn ang="0">
                  <a:pos x="connsiteX2732" y="connsiteY2732"/>
                </a:cxn>
                <a:cxn ang="0">
                  <a:pos x="connsiteX2733" y="connsiteY2733"/>
                </a:cxn>
                <a:cxn ang="0">
                  <a:pos x="connsiteX2734" y="connsiteY2734"/>
                </a:cxn>
                <a:cxn ang="0">
                  <a:pos x="connsiteX2735" y="connsiteY2735"/>
                </a:cxn>
                <a:cxn ang="0">
                  <a:pos x="connsiteX2736" y="connsiteY2736"/>
                </a:cxn>
                <a:cxn ang="0">
                  <a:pos x="connsiteX2737" y="connsiteY2737"/>
                </a:cxn>
                <a:cxn ang="0">
                  <a:pos x="connsiteX2738" y="connsiteY2738"/>
                </a:cxn>
                <a:cxn ang="0">
                  <a:pos x="connsiteX2739" y="connsiteY2739"/>
                </a:cxn>
                <a:cxn ang="0">
                  <a:pos x="connsiteX2740" y="connsiteY2740"/>
                </a:cxn>
                <a:cxn ang="0">
                  <a:pos x="connsiteX2741" y="connsiteY2741"/>
                </a:cxn>
                <a:cxn ang="0">
                  <a:pos x="connsiteX2742" y="connsiteY2742"/>
                </a:cxn>
                <a:cxn ang="0">
                  <a:pos x="connsiteX2743" y="connsiteY2743"/>
                </a:cxn>
                <a:cxn ang="0">
                  <a:pos x="connsiteX2744" y="connsiteY2744"/>
                </a:cxn>
                <a:cxn ang="0">
                  <a:pos x="connsiteX2745" y="connsiteY2745"/>
                </a:cxn>
                <a:cxn ang="0">
                  <a:pos x="connsiteX2746" y="connsiteY2746"/>
                </a:cxn>
                <a:cxn ang="0">
                  <a:pos x="connsiteX2747" y="connsiteY2747"/>
                </a:cxn>
                <a:cxn ang="0">
                  <a:pos x="connsiteX2748" y="connsiteY2748"/>
                </a:cxn>
                <a:cxn ang="0">
                  <a:pos x="connsiteX2749" y="connsiteY2749"/>
                </a:cxn>
                <a:cxn ang="0">
                  <a:pos x="connsiteX2750" y="connsiteY2750"/>
                </a:cxn>
                <a:cxn ang="0">
                  <a:pos x="connsiteX2751" y="connsiteY2751"/>
                </a:cxn>
                <a:cxn ang="0">
                  <a:pos x="connsiteX2752" y="connsiteY2752"/>
                </a:cxn>
                <a:cxn ang="0">
                  <a:pos x="connsiteX2753" y="connsiteY2753"/>
                </a:cxn>
                <a:cxn ang="0">
                  <a:pos x="connsiteX2754" y="connsiteY2754"/>
                </a:cxn>
                <a:cxn ang="0">
                  <a:pos x="connsiteX2755" y="connsiteY2755"/>
                </a:cxn>
                <a:cxn ang="0">
                  <a:pos x="connsiteX2756" y="connsiteY2756"/>
                </a:cxn>
                <a:cxn ang="0">
                  <a:pos x="connsiteX2757" y="connsiteY2757"/>
                </a:cxn>
                <a:cxn ang="0">
                  <a:pos x="connsiteX2758" y="connsiteY2758"/>
                </a:cxn>
                <a:cxn ang="0">
                  <a:pos x="connsiteX2759" y="connsiteY2759"/>
                </a:cxn>
                <a:cxn ang="0">
                  <a:pos x="connsiteX2760" y="connsiteY2760"/>
                </a:cxn>
                <a:cxn ang="0">
                  <a:pos x="connsiteX2761" y="connsiteY2761"/>
                </a:cxn>
                <a:cxn ang="0">
                  <a:pos x="connsiteX2762" y="connsiteY2762"/>
                </a:cxn>
                <a:cxn ang="0">
                  <a:pos x="connsiteX2763" y="connsiteY2763"/>
                </a:cxn>
                <a:cxn ang="0">
                  <a:pos x="connsiteX2764" y="connsiteY2764"/>
                </a:cxn>
                <a:cxn ang="0">
                  <a:pos x="connsiteX2765" y="connsiteY2765"/>
                </a:cxn>
                <a:cxn ang="0">
                  <a:pos x="connsiteX2766" y="connsiteY2766"/>
                </a:cxn>
                <a:cxn ang="0">
                  <a:pos x="connsiteX2767" y="connsiteY2767"/>
                </a:cxn>
                <a:cxn ang="0">
                  <a:pos x="connsiteX2768" y="connsiteY2768"/>
                </a:cxn>
                <a:cxn ang="0">
                  <a:pos x="connsiteX2769" y="connsiteY2769"/>
                </a:cxn>
                <a:cxn ang="0">
                  <a:pos x="connsiteX2770" y="connsiteY2770"/>
                </a:cxn>
                <a:cxn ang="0">
                  <a:pos x="connsiteX2771" y="connsiteY2771"/>
                </a:cxn>
                <a:cxn ang="0">
                  <a:pos x="connsiteX2772" y="connsiteY2772"/>
                </a:cxn>
                <a:cxn ang="0">
                  <a:pos x="connsiteX2773" y="connsiteY2773"/>
                </a:cxn>
                <a:cxn ang="0">
                  <a:pos x="connsiteX2774" y="connsiteY2774"/>
                </a:cxn>
                <a:cxn ang="0">
                  <a:pos x="connsiteX2775" y="connsiteY2775"/>
                </a:cxn>
                <a:cxn ang="0">
                  <a:pos x="connsiteX2776" y="connsiteY2776"/>
                </a:cxn>
                <a:cxn ang="0">
                  <a:pos x="connsiteX2777" y="connsiteY2777"/>
                </a:cxn>
                <a:cxn ang="0">
                  <a:pos x="connsiteX2778" y="connsiteY2778"/>
                </a:cxn>
                <a:cxn ang="0">
                  <a:pos x="connsiteX2779" y="connsiteY2779"/>
                </a:cxn>
                <a:cxn ang="0">
                  <a:pos x="connsiteX2780" y="connsiteY2780"/>
                </a:cxn>
                <a:cxn ang="0">
                  <a:pos x="connsiteX2781" y="connsiteY2781"/>
                </a:cxn>
                <a:cxn ang="0">
                  <a:pos x="connsiteX2782" y="connsiteY2782"/>
                </a:cxn>
                <a:cxn ang="0">
                  <a:pos x="connsiteX2783" y="connsiteY2783"/>
                </a:cxn>
                <a:cxn ang="0">
                  <a:pos x="connsiteX2784" y="connsiteY2784"/>
                </a:cxn>
                <a:cxn ang="0">
                  <a:pos x="connsiteX2785" y="connsiteY2785"/>
                </a:cxn>
                <a:cxn ang="0">
                  <a:pos x="connsiteX2786" y="connsiteY2786"/>
                </a:cxn>
                <a:cxn ang="0">
                  <a:pos x="connsiteX2787" y="connsiteY2787"/>
                </a:cxn>
                <a:cxn ang="0">
                  <a:pos x="connsiteX2788" y="connsiteY2788"/>
                </a:cxn>
                <a:cxn ang="0">
                  <a:pos x="connsiteX2789" y="connsiteY2789"/>
                </a:cxn>
                <a:cxn ang="0">
                  <a:pos x="connsiteX2790" y="connsiteY2790"/>
                </a:cxn>
                <a:cxn ang="0">
                  <a:pos x="connsiteX2791" y="connsiteY2791"/>
                </a:cxn>
                <a:cxn ang="0">
                  <a:pos x="connsiteX2792" y="connsiteY2792"/>
                </a:cxn>
                <a:cxn ang="0">
                  <a:pos x="connsiteX2793" y="connsiteY2793"/>
                </a:cxn>
                <a:cxn ang="0">
                  <a:pos x="connsiteX2794" y="connsiteY2794"/>
                </a:cxn>
                <a:cxn ang="0">
                  <a:pos x="connsiteX2795" y="connsiteY2795"/>
                </a:cxn>
                <a:cxn ang="0">
                  <a:pos x="connsiteX2796" y="connsiteY2796"/>
                </a:cxn>
                <a:cxn ang="0">
                  <a:pos x="connsiteX2797" y="connsiteY2797"/>
                </a:cxn>
                <a:cxn ang="0">
                  <a:pos x="connsiteX2798" y="connsiteY2798"/>
                </a:cxn>
                <a:cxn ang="0">
                  <a:pos x="connsiteX2799" y="connsiteY2799"/>
                </a:cxn>
                <a:cxn ang="0">
                  <a:pos x="connsiteX2800" y="connsiteY2800"/>
                </a:cxn>
                <a:cxn ang="0">
                  <a:pos x="connsiteX2801" y="connsiteY2801"/>
                </a:cxn>
                <a:cxn ang="0">
                  <a:pos x="connsiteX2802" y="connsiteY2802"/>
                </a:cxn>
                <a:cxn ang="0">
                  <a:pos x="connsiteX2803" y="connsiteY2803"/>
                </a:cxn>
                <a:cxn ang="0">
                  <a:pos x="connsiteX2804" y="connsiteY2804"/>
                </a:cxn>
                <a:cxn ang="0">
                  <a:pos x="connsiteX2805" y="connsiteY2805"/>
                </a:cxn>
                <a:cxn ang="0">
                  <a:pos x="connsiteX2806" y="connsiteY2806"/>
                </a:cxn>
                <a:cxn ang="0">
                  <a:pos x="connsiteX2807" y="connsiteY2807"/>
                </a:cxn>
                <a:cxn ang="0">
                  <a:pos x="connsiteX2808" y="connsiteY2808"/>
                </a:cxn>
                <a:cxn ang="0">
                  <a:pos x="connsiteX2809" y="connsiteY2809"/>
                </a:cxn>
                <a:cxn ang="0">
                  <a:pos x="connsiteX2810" y="connsiteY2810"/>
                </a:cxn>
                <a:cxn ang="0">
                  <a:pos x="connsiteX2811" y="connsiteY2811"/>
                </a:cxn>
                <a:cxn ang="0">
                  <a:pos x="connsiteX2812" y="connsiteY2812"/>
                </a:cxn>
                <a:cxn ang="0">
                  <a:pos x="connsiteX2813" y="connsiteY2813"/>
                </a:cxn>
                <a:cxn ang="0">
                  <a:pos x="connsiteX2814" y="connsiteY2814"/>
                </a:cxn>
                <a:cxn ang="0">
                  <a:pos x="connsiteX2815" y="connsiteY2815"/>
                </a:cxn>
                <a:cxn ang="0">
                  <a:pos x="connsiteX2816" y="connsiteY2816"/>
                </a:cxn>
                <a:cxn ang="0">
                  <a:pos x="connsiteX2817" y="connsiteY2817"/>
                </a:cxn>
                <a:cxn ang="0">
                  <a:pos x="connsiteX2818" y="connsiteY2818"/>
                </a:cxn>
                <a:cxn ang="0">
                  <a:pos x="connsiteX2819" y="connsiteY2819"/>
                </a:cxn>
                <a:cxn ang="0">
                  <a:pos x="connsiteX2820" y="connsiteY2820"/>
                </a:cxn>
                <a:cxn ang="0">
                  <a:pos x="connsiteX2821" y="connsiteY2821"/>
                </a:cxn>
                <a:cxn ang="0">
                  <a:pos x="connsiteX2822" y="connsiteY2822"/>
                </a:cxn>
                <a:cxn ang="0">
                  <a:pos x="connsiteX2823" y="connsiteY2823"/>
                </a:cxn>
                <a:cxn ang="0">
                  <a:pos x="connsiteX2824" y="connsiteY2824"/>
                </a:cxn>
                <a:cxn ang="0">
                  <a:pos x="connsiteX2825" y="connsiteY2825"/>
                </a:cxn>
                <a:cxn ang="0">
                  <a:pos x="connsiteX2826" y="connsiteY2826"/>
                </a:cxn>
                <a:cxn ang="0">
                  <a:pos x="connsiteX2827" y="connsiteY2827"/>
                </a:cxn>
                <a:cxn ang="0">
                  <a:pos x="connsiteX2828" y="connsiteY2828"/>
                </a:cxn>
                <a:cxn ang="0">
                  <a:pos x="connsiteX2829" y="connsiteY2829"/>
                </a:cxn>
                <a:cxn ang="0">
                  <a:pos x="connsiteX2830" y="connsiteY2830"/>
                </a:cxn>
                <a:cxn ang="0">
                  <a:pos x="connsiteX2831" y="connsiteY2831"/>
                </a:cxn>
                <a:cxn ang="0">
                  <a:pos x="connsiteX2832" y="connsiteY2832"/>
                </a:cxn>
                <a:cxn ang="0">
                  <a:pos x="connsiteX2833" y="connsiteY2833"/>
                </a:cxn>
                <a:cxn ang="0">
                  <a:pos x="connsiteX2834" y="connsiteY2834"/>
                </a:cxn>
                <a:cxn ang="0">
                  <a:pos x="connsiteX2835" y="connsiteY2835"/>
                </a:cxn>
                <a:cxn ang="0">
                  <a:pos x="connsiteX2836" y="connsiteY2836"/>
                </a:cxn>
                <a:cxn ang="0">
                  <a:pos x="connsiteX2837" y="connsiteY2837"/>
                </a:cxn>
                <a:cxn ang="0">
                  <a:pos x="connsiteX2838" y="connsiteY2838"/>
                </a:cxn>
                <a:cxn ang="0">
                  <a:pos x="connsiteX2839" y="connsiteY2839"/>
                </a:cxn>
                <a:cxn ang="0">
                  <a:pos x="connsiteX2840" y="connsiteY2840"/>
                </a:cxn>
                <a:cxn ang="0">
                  <a:pos x="connsiteX2841" y="connsiteY2841"/>
                </a:cxn>
                <a:cxn ang="0">
                  <a:pos x="connsiteX2842" y="connsiteY2842"/>
                </a:cxn>
                <a:cxn ang="0">
                  <a:pos x="connsiteX2843" y="connsiteY2843"/>
                </a:cxn>
                <a:cxn ang="0">
                  <a:pos x="connsiteX2844" y="connsiteY2844"/>
                </a:cxn>
                <a:cxn ang="0">
                  <a:pos x="connsiteX2845" y="connsiteY2845"/>
                </a:cxn>
                <a:cxn ang="0">
                  <a:pos x="connsiteX2846" y="connsiteY2846"/>
                </a:cxn>
                <a:cxn ang="0">
                  <a:pos x="connsiteX2847" y="connsiteY2847"/>
                </a:cxn>
                <a:cxn ang="0">
                  <a:pos x="connsiteX2848" y="connsiteY2848"/>
                </a:cxn>
                <a:cxn ang="0">
                  <a:pos x="connsiteX2849" y="connsiteY2849"/>
                </a:cxn>
                <a:cxn ang="0">
                  <a:pos x="connsiteX2850" y="connsiteY2850"/>
                </a:cxn>
                <a:cxn ang="0">
                  <a:pos x="connsiteX2851" y="connsiteY2851"/>
                </a:cxn>
                <a:cxn ang="0">
                  <a:pos x="connsiteX2852" y="connsiteY2852"/>
                </a:cxn>
                <a:cxn ang="0">
                  <a:pos x="connsiteX2853" y="connsiteY2853"/>
                </a:cxn>
                <a:cxn ang="0">
                  <a:pos x="connsiteX2854" y="connsiteY2854"/>
                </a:cxn>
                <a:cxn ang="0">
                  <a:pos x="connsiteX2855" y="connsiteY2855"/>
                </a:cxn>
                <a:cxn ang="0">
                  <a:pos x="connsiteX2856" y="connsiteY2856"/>
                </a:cxn>
                <a:cxn ang="0">
                  <a:pos x="connsiteX2857" y="connsiteY2857"/>
                </a:cxn>
                <a:cxn ang="0">
                  <a:pos x="connsiteX2858" y="connsiteY2858"/>
                </a:cxn>
                <a:cxn ang="0">
                  <a:pos x="connsiteX2859" y="connsiteY2859"/>
                </a:cxn>
                <a:cxn ang="0">
                  <a:pos x="connsiteX2860" y="connsiteY2860"/>
                </a:cxn>
                <a:cxn ang="0">
                  <a:pos x="connsiteX2861" y="connsiteY2861"/>
                </a:cxn>
                <a:cxn ang="0">
                  <a:pos x="connsiteX2862" y="connsiteY2862"/>
                </a:cxn>
                <a:cxn ang="0">
                  <a:pos x="connsiteX2863" y="connsiteY2863"/>
                </a:cxn>
                <a:cxn ang="0">
                  <a:pos x="connsiteX2864" y="connsiteY2864"/>
                </a:cxn>
                <a:cxn ang="0">
                  <a:pos x="connsiteX2865" y="connsiteY2865"/>
                </a:cxn>
                <a:cxn ang="0">
                  <a:pos x="connsiteX2866" y="connsiteY2866"/>
                </a:cxn>
                <a:cxn ang="0">
                  <a:pos x="connsiteX2867" y="connsiteY2867"/>
                </a:cxn>
                <a:cxn ang="0">
                  <a:pos x="connsiteX2868" y="connsiteY2868"/>
                </a:cxn>
                <a:cxn ang="0">
                  <a:pos x="connsiteX2869" y="connsiteY2869"/>
                </a:cxn>
                <a:cxn ang="0">
                  <a:pos x="connsiteX2870" y="connsiteY2870"/>
                </a:cxn>
                <a:cxn ang="0">
                  <a:pos x="connsiteX2871" y="connsiteY2871"/>
                </a:cxn>
                <a:cxn ang="0">
                  <a:pos x="connsiteX2872" y="connsiteY2872"/>
                </a:cxn>
                <a:cxn ang="0">
                  <a:pos x="connsiteX2873" y="connsiteY2873"/>
                </a:cxn>
                <a:cxn ang="0">
                  <a:pos x="connsiteX2874" y="connsiteY2874"/>
                </a:cxn>
                <a:cxn ang="0">
                  <a:pos x="connsiteX2875" y="connsiteY2875"/>
                </a:cxn>
                <a:cxn ang="0">
                  <a:pos x="connsiteX2876" y="connsiteY2876"/>
                </a:cxn>
                <a:cxn ang="0">
                  <a:pos x="connsiteX2877" y="connsiteY2877"/>
                </a:cxn>
                <a:cxn ang="0">
                  <a:pos x="connsiteX2878" y="connsiteY2878"/>
                </a:cxn>
                <a:cxn ang="0">
                  <a:pos x="connsiteX2879" y="connsiteY2879"/>
                </a:cxn>
                <a:cxn ang="0">
                  <a:pos x="connsiteX2880" y="connsiteY2880"/>
                </a:cxn>
                <a:cxn ang="0">
                  <a:pos x="connsiteX2881" y="connsiteY2881"/>
                </a:cxn>
                <a:cxn ang="0">
                  <a:pos x="connsiteX2882" y="connsiteY2882"/>
                </a:cxn>
                <a:cxn ang="0">
                  <a:pos x="connsiteX2883" y="connsiteY2883"/>
                </a:cxn>
                <a:cxn ang="0">
                  <a:pos x="connsiteX2884" y="connsiteY2884"/>
                </a:cxn>
                <a:cxn ang="0">
                  <a:pos x="connsiteX2885" y="connsiteY2885"/>
                </a:cxn>
                <a:cxn ang="0">
                  <a:pos x="connsiteX2886" y="connsiteY2886"/>
                </a:cxn>
                <a:cxn ang="0">
                  <a:pos x="connsiteX2887" y="connsiteY2887"/>
                </a:cxn>
                <a:cxn ang="0">
                  <a:pos x="connsiteX2888" y="connsiteY2888"/>
                </a:cxn>
                <a:cxn ang="0">
                  <a:pos x="connsiteX2889" y="connsiteY2889"/>
                </a:cxn>
                <a:cxn ang="0">
                  <a:pos x="connsiteX2890" y="connsiteY2890"/>
                </a:cxn>
                <a:cxn ang="0">
                  <a:pos x="connsiteX2891" y="connsiteY2891"/>
                </a:cxn>
                <a:cxn ang="0">
                  <a:pos x="connsiteX2892" y="connsiteY2892"/>
                </a:cxn>
                <a:cxn ang="0">
                  <a:pos x="connsiteX2893" y="connsiteY2893"/>
                </a:cxn>
                <a:cxn ang="0">
                  <a:pos x="connsiteX2894" y="connsiteY2894"/>
                </a:cxn>
                <a:cxn ang="0">
                  <a:pos x="connsiteX2895" y="connsiteY2895"/>
                </a:cxn>
                <a:cxn ang="0">
                  <a:pos x="connsiteX2896" y="connsiteY2896"/>
                </a:cxn>
                <a:cxn ang="0">
                  <a:pos x="connsiteX2897" y="connsiteY2897"/>
                </a:cxn>
                <a:cxn ang="0">
                  <a:pos x="connsiteX2898" y="connsiteY2898"/>
                </a:cxn>
                <a:cxn ang="0">
                  <a:pos x="connsiteX2899" y="connsiteY2899"/>
                </a:cxn>
                <a:cxn ang="0">
                  <a:pos x="connsiteX2900" y="connsiteY2900"/>
                </a:cxn>
                <a:cxn ang="0">
                  <a:pos x="connsiteX2901" y="connsiteY2901"/>
                </a:cxn>
                <a:cxn ang="0">
                  <a:pos x="connsiteX2902" y="connsiteY2902"/>
                </a:cxn>
                <a:cxn ang="0">
                  <a:pos x="connsiteX2903" y="connsiteY2903"/>
                </a:cxn>
                <a:cxn ang="0">
                  <a:pos x="connsiteX2904" y="connsiteY2904"/>
                </a:cxn>
                <a:cxn ang="0">
                  <a:pos x="connsiteX2905" y="connsiteY2905"/>
                </a:cxn>
                <a:cxn ang="0">
                  <a:pos x="connsiteX2906" y="connsiteY2906"/>
                </a:cxn>
                <a:cxn ang="0">
                  <a:pos x="connsiteX2907" y="connsiteY2907"/>
                </a:cxn>
                <a:cxn ang="0">
                  <a:pos x="connsiteX2908" y="connsiteY2908"/>
                </a:cxn>
                <a:cxn ang="0">
                  <a:pos x="connsiteX2909" y="connsiteY2909"/>
                </a:cxn>
                <a:cxn ang="0">
                  <a:pos x="connsiteX2910" y="connsiteY2910"/>
                </a:cxn>
                <a:cxn ang="0">
                  <a:pos x="connsiteX2911" y="connsiteY2911"/>
                </a:cxn>
                <a:cxn ang="0">
                  <a:pos x="connsiteX2912" y="connsiteY2912"/>
                </a:cxn>
                <a:cxn ang="0">
                  <a:pos x="connsiteX2913" y="connsiteY2913"/>
                </a:cxn>
                <a:cxn ang="0">
                  <a:pos x="connsiteX2914" y="connsiteY2914"/>
                </a:cxn>
                <a:cxn ang="0">
                  <a:pos x="connsiteX2915" y="connsiteY2915"/>
                </a:cxn>
                <a:cxn ang="0">
                  <a:pos x="connsiteX2916" y="connsiteY2916"/>
                </a:cxn>
                <a:cxn ang="0">
                  <a:pos x="connsiteX2917" y="connsiteY2917"/>
                </a:cxn>
                <a:cxn ang="0">
                  <a:pos x="connsiteX2918" y="connsiteY2918"/>
                </a:cxn>
                <a:cxn ang="0">
                  <a:pos x="connsiteX2919" y="connsiteY2919"/>
                </a:cxn>
                <a:cxn ang="0">
                  <a:pos x="connsiteX2920" y="connsiteY2920"/>
                </a:cxn>
                <a:cxn ang="0">
                  <a:pos x="connsiteX2921" y="connsiteY2921"/>
                </a:cxn>
                <a:cxn ang="0">
                  <a:pos x="connsiteX2922" y="connsiteY2922"/>
                </a:cxn>
                <a:cxn ang="0">
                  <a:pos x="connsiteX2923" y="connsiteY2923"/>
                </a:cxn>
                <a:cxn ang="0">
                  <a:pos x="connsiteX2924" y="connsiteY2924"/>
                </a:cxn>
                <a:cxn ang="0">
                  <a:pos x="connsiteX2925" y="connsiteY2925"/>
                </a:cxn>
                <a:cxn ang="0">
                  <a:pos x="connsiteX2926" y="connsiteY2926"/>
                </a:cxn>
                <a:cxn ang="0">
                  <a:pos x="connsiteX2927" y="connsiteY2927"/>
                </a:cxn>
                <a:cxn ang="0">
                  <a:pos x="connsiteX2928" y="connsiteY2928"/>
                </a:cxn>
                <a:cxn ang="0">
                  <a:pos x="connsiteX2929" y="connsiteY2929"/>
                </a:cxn>
                <a:cxn ang="0">
                  <a:pos x="connsiteX2930" y="connsiteY2930"/>
                </a:cxn>
                <a:cxn ang="0">
                  <a:pos x="connsiteX2931" y="connsiteY2931"/>
                </a:cxn>
                <a:cxn ang="0">
                  <a:pos x="connsiteX2932" y="connsiteY2932"/>
                </a:cxn>
                <a:cxn ang="0">
                  <a:pos x="connsiteX2933" y="connsiteY2933"/>
                </a:cxn>
                <a:cxn ang="0">
                  <a:pos x="connsiteX2934" y="connsiteY2934"/>
                </a:cxn>
                <a:cxn ang="0">
                  <a:pos x="connsiteX2935" y="connsiteY2935"/>
                </a:cxn>
                <a:cxn ang="0">
                  <a:pos x="connsiteX2936" y="connsiteY2936"/>
                </a:cxn>
                <a:cxn ang="0">
                  <a:pos x="connsiteX2937" y="connsiteY2937"/>
                </a:cxn>
                <a:cxn ang="0">
                  <a:pos x="connsiteX2938" y="connsiteY2938"/>
                </a:cxn>
                <a:cxn ang="0">
                  <a:pos x="connsiteX2939" y="connsiteY2939"/>
                </a:cxn>
                <a:cxn ang="0">
                  <a:pos x="connsiteX2940" y="connsiteY2940"/>
                </a:cxn>
                <a:cxn ang="0">
                  <a:pos x="connsiteX2941" y="connsiteY2941"/>
                </a:cxn>
                <a:cxn ang="0">
                  <a:pos x="connsiteX2942" y="connsiteY2942"/>
                </a:cxn>
                <a:cxn ang="0">
                  <a:pos x="connsiteX2943" y="connsiteY2943"/>
                </a:cxn>
                <a:cxn ang="0">
                  <a:pos x="connsiteX2944" y="connsiteY2944"/>
                </a:cxn>
                <a:cxn ang="0">
                  <a:pos x="connsiteX2945" y="connsiteY2945"/>
                </a:cxn>
                <a:cxn ang="0">
                  <a:pos x="connsiteX2946" y="connsiteY2946"/>
                </a:cxn>
                <a:cxn ang="0">
                  <a:pos x="connsiteX2947" y="connsiteY2947"/>
                </a:cxn>
                <a:cxn ang="0">
                  <a:pos x="connsiteX2948" y="connsiteY2948"/>
                </a:cxn>
                <a:cxn ang="0">
                  <a:pos x="connsiteX2949" y="connsiteY2949"/>
                </a:cxn>
                <a:cxn ang="0">
                  <a:pos x="connsiteX2950" y="connsiteY2950"/>
                </a:cxn>
                <a:cxn ang="0">
                  <a:pos x="connsiteX2951" y="connsiteY2951"/>
                </a:cxn>
                <a:cxn ang="0">
                  <a:pos x="connsiteX2952" y="connsiteY2952"/>
                </a:cxn>
                <a:cxn ang="0">
                  <a:pos x="connsiteX2953" y="connsiteY2953"/>
                </a:cxn>
                <a:cxn ang="0">
                  <a:pos x="connsiteX2954" y="connsiteY2954"/>
                </a:cxn>
                <a:cxn ang="0">
                  <a:pos x="connsiteX2955" y="connsiteY2955"/>
                </a:cxn>
                <a:cxn ang="0">
                  <a:pos x="connsiteX2956" y="connsiteY2956"/>
                </a:cxn>
                <a:cxn ang="0">
                  <a:pos x="connsiteX2957" y="connsiteY2957"/>
                </a:cxn>
                <a:cxn ang="0">
                  <a:pos x="connsiteX2958" y="connsiteY2958"/>
                </a:cxn>
                <a:cxn ang="0">
                  <a:pos x="connsiteX2959" y="connsiteY2959"/>
                </a:cxn>
                <a:cxn ang="0">
                  <a:pos x="connsiteX2960" y="connsiteY2960"/>
                </a:cxn>
                <a:cxn ang="0">
                  <a:pos x="connsiteX2961" y="connsiteY2961"/>
                </a:cxn>
                <a:cxn ang="0">
                  <a:pos x="connsiteX2962" y="connsiteY2962"/>
                </a:cxn>
                <a:cxn ang="0">
                  <a:pos x="connsiteX2963" y="connsiteY2963"/>
                </a:cxn>
                <a:cxn ang="0">
                  <a:pos x="connsiteX2964" y="connsiteY2964"/>
                </a:cxn>
                <a:cxn ang="0">
                  <a:pos x="connsiteX2965" y="connsiteY2965"/>
                </a:cxn>
                <a:cxn ang="0">
                  <a:pos x="connsiteX2966" y="connsiteY2966"/>
                </a:cxn>
                <a:cxn ang="0">
                  <a:pos x="connsiteX2967" y="connsiteY2967"/>
                </a:cxn>
                <a:cxn ang="0">
                  <a:pos x="connsiteX2968" y="connsiteY2968"/>
                </a:cxn>
                <a:cxn ang="0">
                  <a:pos x="connsiteX2969" y="connsiteY2969"/>
                </a:cxn>
                <a:cxn ang="0">
                  <a:pos x="connsiteX2970" y="connsiteY2970"/>
                </a:cxn>
                <a:cxn ang="0">
                  <a:pos x="connsiteX2971" y="connsiteY2971"/>
                </a:cxn>
                <a:cxn ang="0">
                  <a:pos x="connsiteX2972" y="connsiteY2972"/>
                </a:cxn>
                <a:cxn ang="0">
                  <a:pos x="connsiteX2973" y="connsiteY2973"/>
                </a:cxn>
                <a:cxn ang="0">
                  <a:pos x="connsiteX2974" y="connsiteY2974"/>
                </a:cxn>
                <a:cxn ang="0">
                  <a:pos x="connsiteX2975" y="connsiteY2975"/>
                </a:cxn>
                <a:cxn ang="0">
                  <a:pos x="connsiteX2976" y="connsiteY2976"/>
                </a:cxn>
                <a:cxn ang="0">
                  <a:pos x="connsiteX2977" y="connsiteY2977"/>
                </a:cxn>
                <a:cxn ang="0">
                  <a:pos x="connsiteX2978" y="connsiteY2978"/>
                </a:cxn>
                <a:cxn ang="0">
                  <a:pos x="connsiteX2979" y="connsiteY2979"/>
                </a:cxn>
                <a:cxn ang="0">
                  <a:pos x="connsiteX2980" y="connsiteY2980"/>
                </a:cxn>
                <a:cxn ang="0">
                  <a:pos x="connsiteX2981" y="connsiteY2981"/>
                </a:cxn>
                <a:cxn ang="0">
                  <a:pos x="connsiteX2982" y="connsiteY2982"/>
                </a:cxn>
                <a:cxn ang="0">
                  <a:pos x="connsiteX2983" y="connsiteY2983"/>
                </a:cxn>
                <a:cxn ang="0">
                  <a:pos x="connsiteX2984" y="connsiteY2984"/>
                </a:cxn>
                <a:cxn ang="0">
                  <a:pos x="connsiteX2985" y="connsiteY2985"/>
                </a:cxn>
                <a:cxn ang="0">
                  <a:pos x="connsiteX2986" y="connsiteY2986"/>
                </a:cxn>
                <a:cxn ang="0">
                  <a:pos x="connsiteX2987" y="connsiteY2987"/>
                </a:cxn>
                <a:cxn ang="0">
                  <a:pos x="connsiteX2988" y="connsiteY2988"/>
                </a:cxn>
                <a:cxn ang="0">
                  <a:pos x="connsiteX2989" y="connsiteY2989"/>
                </a:cxn>
                <a:cxn ang="0">
                  <a:pos x="connsiteX2990" y="connsiteY2990"/>
                </a:cxn>
                <a:cxn ang="0">
                  <a:pos x="connsiteX2991" y="connsiteY2991"/>
                </a:cxn>
                <a:cxn ang="0">
                  <a:pos x="connsiteX2992" y="connsiteY2992"/>
                </a:cxn>
                <a:cxn ang="0">
                  <a:pos x="connsiteX2993" y="connsiteY2993"/>
                </a:cxn>
                <a:cxn ang="0">
                  <a:pos x="connsiteX2994" y="connsiteY2994"/>
                </a:cxn>
                <a:cxn ang="0">
                  <a:pos x="connsiteX2995" y="connsiteY2995"/>
                </a:cxn>
                <a:cxn ang="0">
                  <a:pos x="connsiteX2996" y="connsiteY2996"/>
                </a:cxn>
                <a:cxn ang="0">
                  <a:pos x="connsiteX2997" y="connsiteY2997"/>
                </a:cxn>
                <a:cxn ang="0">
                  <a:pos x="connsiteX2998" y="connsiteY2998"/>
                </a:cxn>
                <a:cxn ang="0">
                  <a:pos x="connsiteX2999" y="connsiteY2999"/>
                </a:cxn>
                <a:cxn ang="0">
                  <a:pos x="connsiteX3000" y="connsiteY3000"/>
                </a:cxn>
                <a:cxn ang="0">
                  <a:pos x="connsiteX3001" y="connsiteY3001"/>
                </a:cxn>
                <a:cxn ang="0">
                  <a:pos x="connsiteX3002" y="connsiteY3002"/>
                </a:cxn>
                <a:cxn ang="0">
                  <a:pos x="connsiteX3003" y="connsiteY3003"/>
                </a:cxn>
                <a:cxn ang="0">
                  <a:pos x="connsiteX3004" y="connsiteY3004"/>
                </a:cxn>
                <a:cxn ang="0">
                  <a:pos x="connsiteX3005" y="connsiteY3005"/>
                </a:cxn>
                <a:cxn ang="0">
                  <a:pos x="connsiteX3006" y="connsiteY3006"/>
                </a:cxn>
                <a:cxn ang="0">
                  <a:pos x="connsiteX3007" y="connsiteY3007"/>
                </a:cxn>
                <a:cxn ang="0">
                  <a:pos x="connsiteX3008" y="connsiteY3008"/>
                </a:cxn>
                <a:cxn ang="0">
                  <a:pos x="connsiteX3009" y="connsiteY3009"/>
                </a:cxn>
                <a:cxn ang="0">
                  <a:pos x="connsiteX3010" y="connsiteY3010"/>
                </a:cxn>
                <a:cxn ang="0">
                  <a:pos x="connsiteX3011" y="connsiteY3011"/>
                </a:cxn>
                <a:cxn ang="0">
                  <a:pos x="connsiteX3012" y="connsiteY3012"/>
                </a:cxn>
                <a:cxn ang="0">
                  <a:pos x="connsiteX3013" y="connsiteY3013"/>
                </a:cxn>
                <a:cxn ang="0">
                  <a:pos x="connsiteX3014" y="connsiteY3014"/>
                </a:cxn>
                <a:cxn ang="0">
                  <a:pos x="connsiteX3015" y="connsiteY3015"/>
                </a:cxn>
                <a:cxn ang="0">
                  <a:pos x="connsiteX3016" y="connsiteY3016"/>
                </a:cxn>
                <a:cxn ang="0">
                  <a:pos x="connsiteX3017" y="connsiteY3017"/>
                </a:cxn>
                <a:cxn ang="0">
                  <a:pos x="connsiteX3018" y="connsiteY3018"/>
                </a:cxn>
                <a:cxn ang="0">
                  <a:pos x="connsiteX3019" y="connsiteY3019"/>
                </a:cxn>
                <a:cxn ang="0">
                  <a:pos x="connsiteX3020" y="connsiteY3020"/>
                </a:cxn>
                <a:cxn ang="0">
                  <a:pos x="connsiteX3021" y="connsiteY3021"/>
                </a:cxn>
                <a:cxn ang="0">
                  <a:pos x="connsiteX3022" y="connsiteY3022"/>
                </a:cxn>
                <a:cxn ang="0">
                  <a:pos x="connsiteX3023" y="connsiteY3023"/>
                </a:cxn>
                <a:cxn ang="0">
                  <a:pos x="connsiteX3024" y="connsiteY3024"/>
                </a:cxn>
                <a:cxn ang="0">
                  <a:pos x="connsiteX3025" y="connsiteY3025"/>
                </a:cxn>
                <a:cxn ang="0">
                  <a:pos x="connsiteX3026" y="connsiteY3026"/>
                </a:cxn>
                <a:cxn ang="0">
                  <a:pos x="connsiteX3027" y="connsiteY3027"/>
                </a:cxn>
                <a:cxn ang="0">
                  <a:pos x="connsiteX3028" y="connsiteY3028"/>
                </a:cxn>
                <a:cxn ang="0">
                  <a:pos x="connsiteX3029" y="connsiteY3029"/>
                </a:cxn>
                <a:cxn ang="0">
                  <a:pos x="connsiteX3030" y="connsiteY3030"/>
                </a:cxn>
                <a:cxn ang="0">
                  <a:pos x="connsiteX3031" y="connsiteY3031"/>
                </a:cxn>
                <a:cxn ang="0">
                  <a:pos x="connsiteX3032" y="connsiteY3032"/>
                </a:cxn>
                <a:cxn ang="0">
                  <a:pos x="connsiteX3033" y="connsiteY3033"/>
                </a:cxn>
                <a:cxn ang="0">
                  <a:pos x="connsiteX3034" y="connsiteY3034"/>
                </a:cxn>
                <a:cxn ang="0">
                  <a:pos x="connsiteX3035" y="connsiteY3035"/>
                </a:cxn>
                <a:cxn ang="0">
                  <a:pos x="connsiteX3036" y="connsiteY3036"/>
                </a:cxn>
                <a:cxn ang="0">
                  <a:pos x="connsiteX3037" y="connsiteY3037"/>
                </a:cxn>
                <a:cxn ang="0">
                  <a:pos x="connsiteX3038" y="connsiteY3038"/>
                </a:cxn>
                <a:cxn ang="0">
                  <a:pos x="connsiteX3039" y="connsiteY3039"/>
                </a:cxn>
                <a:cxn ang="0">
                  <a:pos x="connsiteX3040" y="connsiteY3040"/>
                </a:cxn>
                <a:cxn ang="0">
                  <a:pos x="connsiteX3041" y="connsiteY3041"/>
                </a:cxn>
                <a:cxn ang="0">
                  <a:pos x="connsiteX3042" y="connsiteY3042"/>
                </a:cxn>
                <a:cxn ang="0">
                  <a:pos x="connsiteX3043" y="connsiteY3043"/>
                </a:cxn>
                <a:cxn ang="0">
                  <a:pos x="connsiteX3044" y="connsiteY3044"/>
                </a:cxn>
                <a:cxn ang="0">
                  <a:pos x="connsiteX3045" y="connsiteY3045"/>
                </a:cxn>
                <a:cxn ang="0">
                  <a:pos x="connsiteX3046" y="connsiteY3046"/>
                </a:cxn>
                <a:cxn ang="0">
                  <a:pos x="connsiteX3047" y="connsiteY3047"/>
                </a:cxn>
                <a:cxn ang="0">
                  <a:pos x="connsiteX3048" y="connsiteY3048"/>
                </a:cxn>
                <a:cxn ang="0">
                  <a:pos x="connsiteX3049" y="connsiteY3049"/>
                </a:cxn>
                <a:cxn ang="0">
                  <a:pos x="connsiteX3050" y="connsiteY3050"/>
                </a:cxn>
                <a:cxn ang="0">
                  <a:pos x="connsiteX3051" y="connsiteY3051"/>
                </a:cxn>
                <a:cxn ang="0">
                  <a:pos x="connsiteX3052" y="connsiteY3052"/>
                </a:cxn>
                <a:cxn ang="0">
                  <a:pos x="connsiteX3053" y="connsiteY3053"/>
                </a:cxn>
                <a:cxn ang="0">
                  <a:pos x="connsiteX3054" y="connsiteY3054"/>
                </a:cxn>
                <a:cxn ang="0">
                  <a:pos x="connsiteX3055" y="connsiteY3055"/>
                </a:cxn>
                <a:cxn ang="0">
                  <a:pos x="connsiteX3056" y="connsiteY3056"/>
                </a:cxn>
                <a:cxn ang="0">
                  <a:pos x="connsiteX3057" y="connsiteY3057"/>
                </a:cxn>
                <a:cxn ang="0">
                  <a:pos x="connsiteX3058" y="connsiteY3058"/>
                </a:cxn>
                <a:cxn ang="0">
                  <a:pos x="connsiteX3059" y="connsiteY3059"/>
                </a:cxn>
                <a:cxn ang="0">
                  <a:pos x="connsiteX3060" y="connsiteY3060"/>
                </a:cxn>
                <a:cxn ang="0">
                  <a:pos x="connsiteX3061" y="connsiteY3061"/>
                </a:cxn>
                <a:cxn ang="0">
                  <a:pos x="connsiteX3062" y="connsiteY3062"/>
                </a:cxn>
                <a:cxn ang="0">
                  <a:pos x="connsiteX3063" y="connsiteY3063"/>
                </a:cxn>
                <a:cxn ang="0">
                  <a:pos x="connsiteX3064" y="connsiteY3064"/>
                </a:cxn>
                <a:cxn ang="0">
                  <a:pos x="connsiteX3065" y="connsiteY3065"/>
                </a:cxn>
                <a:cxn ang="0">
                  <a:pos x="connsiteX3066" y="connsiteY3066"/>
                </a:cxn>
                <a:cxn ang="0">
                  <a:pos x="connsiteX3067" y="connsiteY3067"/>
                </a:cxn>
                <a:cxn ang="0">
                  <a:pos x="connsiteX3068" y="connsiteY3068"/>
                </a:cxn>
                <a:cxn ang="0">
                  <a:pos x="connsiteX3069" y="connsiteY3069"/>
                </a:cxn>
                <a:cxn ang="0">
                  <a:pos x="connsiteX3070" y="connsiteY3070"/>
                </a:cxn>
                <a:cxn ang="0">
                  <a:pos x="connsiteX3071" y="connsiteY3071"/>
                </a:cxn>
                <a:cxn ang="0">
                  <a:pos x="connsiteX3072" y="connsiteY3072"/>
                </a:cxn>
                <a:cxn ang="0">
                  <a:pos x="connsiteX3073" y="connsiteY3073"/>
                </a:cxn>
                <a:cxn ang="0">
                  <a:pos x="connsiteX3074" y="connsiteY3074"/>
                </a:cxn>
                <a:cxn ang="0">
                  <a:pos x="connsiteX3075" y="connsiteY3075"/>
                </a:cxn>
                <a:cxn ang="0">
                  <a:pos x="connsiteX3076" y="connsiteY3076"/>
                </a:cxn>
                <a:cxn ang="0">
                  <a:pos x="connsiteX3077" y="connsiteY3077"/>
                </a:cxn>
                <a:cxn ang="0">
                  <a:pos x="connsiteX3078" y="connsiteY3078"/>
                </a:cxn>
                <a:cxn ang="0">
                  <a:pos x="connsiteX3079" y="connsiteY3079"/>
                </a:cxn>
                <a:cxn ang="0">
                  <a:pos x="connsiteX3080" y="connsiteY3080"/>
                </a:cxn>
                <a:cxn ang="0">
                  <a:pos x="connsiteX3081" y="connsiteY3081"/>
                </a:cxn>
                <a:cxn ang="0">
                  <a:pos x="connsiteX3082" y="connsiteY3082"/>
                </a:cxn>
                <a:cxn ang="0">
                  <a:pos x="connsiteX3083" y="connsiteY3083"/>
                </a:cxn>
                <a:cxn ang="0">
                  <a:pos x="connsiteX3084" y="connsiteY3084"/>
                </a:cxn>
                <a:cxn ang="0">
                  <a:pos x="connsiteX3085" y="connsiteY3085"/>
                </a:cxn>
                <a:cxn ang="0">
                  <a:pos x="connsiteX3086" y="connsiteY3086"/>
                </a:cxn>
                <a:cxn ang="0">
                  <a:pos x="connsiteX3087" y="connsiteY3087"/>
                </a:cxn>
                <a:cxn ang="0">
                  <a:pos x="connsiteX3088" y="connsiteY3088"/>
                </a:cxn>
                <a:cxn ang="0">
                  <a:pos x="connsiteX3089" y="connsiteY3089"/>
                </a:cxn>
                <a:cxn ang="0">
                  <a:pos x="connsiteX3090" y="connsiteY3090"/>
                </a:cxn>
                <a:cxn ang="0">
                  <a:pos x="connsiteX3091" y="connsiteY3091"/>
                </a:cxn>
                <a:cxn ang="0">
                  <a:pos x="connsiteX3092" y="connsiteY3092"/>
                </a:cxn>
                <a:cxn ang="0">
                  <a:pos x="connsiteX3093" y="connsiteY3093"/>
                </a:cxn>
                <a:cxn ang="0">
                  <a:pos x="connsiteX3094" y="connsiteY3094"/>
                </a:cxn>
                <a:cxn ang="0">
                  <a:pos x="connsiteX3095" y="connsiteY3095"/>
                </a:cxn>
                <a:cxn ang="0">
                  <a:pos x="connsiteX3096" y="connsiteY3096"/>
                </a:cxn>
                <a:cxn ang="0">
                  <a:pos x="connsiteX3097" y="connsiteY3097"/>
                </a:cxn>
                <a:cxn ang="0">
                  <a:pos x="connsiteX3098" y="connsiteY3098"/>
                </a:cxn>
                <a:cxn ang="0">
                  <a:pos x="connsiteX3099" y="connsiteY3099"/>
                </a:cxn>
                <a:cxn ang="0">
                  <a:pos x="connsiteX3100" y="connsiteY3100"/>
                </a:cxn>
                <a:cxn ang="0">
                  <a:pos x="connsiteX3101" y="connsiteY3101"/>
                </a:cxn>
                <a:cxn ang="0">
                  <a:pos x="connsiteX3102" y="connsiteY3102"/>
                </a:cxn>
                <a:cxn ang="0">
                  <a:pos x="connsiteX3103" y="connsiteY3103"/>
                </a:cxn>
                <a:cxn ang="0">
                  <a:pos x="connsiteX3104" y="connsiteY3104"/>
                </a:cxn>
                <a:cxn ang="0">
                  <a:pos x="connsiteX3105" y="connsiteY3105"/>
                </a:cxn>
                <a:cxn ang="0">
                  <a:pos x="connsiteX3106" y="connsiteY3106"/>
                </a:cxn>
                <a:cxn ang="0">
                  <a:pos x="connsiteX3107" y="connsiteY3107"/>
                </a:cxn>
                <a:cxn ang="0">
                  <a:pos x="connsiteX3108" y="connsiteY3108"/>
                </a:cxn>
                <a:cxn ang="0">
                  <a:pos x="connsiteX3109" y="connsiteY3109"/>
                </a:cxn>
                <a:cxn ang="0">
                  <a:pos x="connsiteX3110" y="connsiteY3110"/>
                </a:cxn>
                <a:cxn ang="0">
                  <a:pos x="connsiteX3111" y="connsiteY3111"/>
                </a:cxn>
                <a:cxn ang="0">
                  <a:pos x="connsiteX3112" y="connsiteY3112"/>
                </a:cxn>
                <a:cxn ang="0">
                  <a:pos x="connsiteX3113" y="connsiteY3113"/>
                </a:cxn>
                <a:cxn ang="0">
                  <a:pos x="connsiteX3114" y="connsiteY3114"/>
                </a:cxn>
                <a:cxn ang="0">
                  <a:pos x="connsiteX3115" y="connsiteY3115"/>
                </a:cxn>
                <a:cxn ang="0">
                  <a:pos x="connsiteX3116" y="connsiteY3116"/>
                </a:cxn>
                <a:cxn ang="0">
                  <a:pos x="connsiteX3117" y="connsiteY3117"/>
                </a:cxn>
                <a:cxn ang="0">
                  <a:pos x="connsiteX3118" y="connsiteY3118"/>
                </a:cxn>
                <a:cxn ang="0">
                  <a:pos x="connsiteX3119" y="connsiteY3119"/>
                </a:cxn>
                <a:cxn ang="0">
                  <a:pos x="connsiteX3120" y="connsiteY3120"/>
                </a:cxn>
                <a:cxn ang="0">
                  <a:pos x="connsiteX3121" y="connsiteY3121"/>
                </a:cxn>
                <a:cxn ang="0">
                  <a:pos x="connsiteX3122" y="connsiteY3122"/>
                </a:cxn>
                <a:cxn ang="0">
                  <a:pos x="connsiteX3123" y="connsiteY3123"/>
                </a:cxn>
                <a:cxn ang="0">
                  <a:pos x="connsiteX3124" y="connsiteY3124"/>
                </a:cxn>
                <a:cxn ang="0">
                  <a:pos x="connsiteX3125" y="connsiteY3125"/>
                </a:cxn>
                <a:cxn ang="0">
                  <a:pos x="connsiteX3126" y="connsiteY3126"/>
                </a:cxn>
                <a:cxn ang="0">
                  <a:pos x="connsiteX3127" y="connsiteY3127"/>
                </a:cxn>
                <a:cxn ang="0">
                  <a:pos x="connsiteX3128" y="connsiteY3128"/>
                </a:cxn>
                <a:cxn ang="0">
                  <a:pos x="connsiteX3129" y="connsiteY3129"/>
                </a:cxn>
                <a:cxn ang="0">
                  <a:pos x="connsiteX3130" y="connsiteY3130"/>
                </a:cxn>
                <a:cxn ang="0">
                  <a:pos x="connsiteX3131" y="connsiteY3131"/>
                </a:cxn>
                <a:cxn ang="0">
                  <a:pos x="connsiteX3132" y="connsiteY3132"/>
                </a:cxn>
                <a:cxn ang="0">
                  <a:pos x="connsiteX3133" y="connsiteY3133"/>
                </a:cxn>
                <a:cxn ang="0">
                  <a:pos x="connsiteX3134" y="connsiteY3134"/>
                </a:cxn>
                <a:cxn ang="0">
                  <a:pos x="connsiteX3135" y="connsiteY3135"/>
                </a:cxn>
                <a:cxn ang="0">
                  <a:pos x="connsiteX3136" y="connsiteY3136"/>
                </a:cxn>
                <a:cxn ang="0">
                  <a:pos x="connsiteX3137" y="connsiteY3137"/>
                </a:cxn>
                <a:cxn ang="0">
                  <a:pos x="connsiteX3138" y="connsiteY3138"/>
                </a:cxn>
                <a:cxn ang="0">
                  <a:pos x="connsiteX3139" y="connsiteY3139"/>
                </a:cxn>
                <a:cxn ang="0">
                  <a:pos x="connsiteX3140" y="connsiteY3140"/>
                </a:cxn>
                <a:cxn ang="0">
                  <a:pos x="connsiteX3141" y="connsiteY3141"/>
                </a:cxn>
                <a:cxn ang="0">
                  <a:pos x="connsiteX3142" y="connsiteY3142"/>
                </a:cxn>
                <a:cxn ang="0">
                  <a:pos x="connsiteX3143" y="connsiteY3143"/>
                </a:cxn>
                <a:cxn ang="0">
                  <a:pos x="connsiteX3144" y="connsiteY3144"/>
                </a:cxn>
                <a:cxn ang="0">
                  <a:pos x="connsiteX3145" y="connsiteY3145"/>
                </a:cxn>
                <a:cxn ang="0">
                  <a:pos x="connsiteX3146" y="connsiteY3146"/>
                </a:cxn>
                <a:cxn ang="0">
                  <a:pos x="connsiteX3147" y="connsiteY3147"/>
                </a:cxn>
                <a:cxn ang="0">
                  <a:pos x="connsiteX3148" y="connsiteY3148"/>
                </a:cxn>
                <a:cxn ang="0">
                  <a:pos x="connsiteX3149" y="connsiteY3149"/>
                </a:cxn>
                <a:cxn ang="0">
                  <a:pos x="connsiteX3150" y="connsiteY3150"/>
                </a:cxn>
                <a:cxn ang="0">
                  <a:pos x="connsiteX3151" y="connsiteY3151"/>
                </a:cxn>
                <a:cxn ang="0">
                  <a:pos x="connsiteX3152" y="connsiteY3152"/>
                </a:cxn>
                <a:cxn ang="0">
                  <a:pos x="connsiteX3153" y="connsiteY3153"/>
                </a:cxn>
                <a:cxn ang="0">
                  <a:pos x="connsiteX3154" y="connsiteY3154"/>
                </a:cxn>
                <a:cxn ang="0">
                  <a:pos x="connsiteX3155" y="connsiteY3155"/>
                </a:cxn>
                <a:cxn ang="0">
                  <a:pos x="connsiteX3156" y="connsiteY3156"/>
                </a:cxn>
                <a:cxn ang="0">
                  <a:pos x="connsiteX3157" y="connsiteY3157"/>
                </a:cxn>
                <a:cxn ang="0">
                  <a:pos x="connsiteX3158" y="connsiteY3158"/>
                </a:cxn>
                <a:cxn ang="0">
                  <a:pos x="connsiteX3159" y="connsiteY3159"/>
                </a:cxn>
                <a:cxn ang="0">
                  <a:pos x="connsiteX3160" y="connsiteY3160"/>
                </a:cxn>
                <a:cxn ang="0">
                  <a:pos x="connsiteX3161" y="connsiteY3161"/>
                </a:cxn>
                <a:cxn ang="0">
                  <a:pos x="connsiteX3162" y="connsiteY3162"/>
                </a:cxn>
                <a:cxn ang="0">
                  <a:pos x="connsiteX3163" y="connsiteY3163"/>
                </a:cxn>
                <a:cxn ang="0">
                  <a:pos x="connsiteX3164" y="connsiteY3164"/>
                </a:cxn>
                <a:cxn ang="0">
                  <a:pos x="connsiteX3165" y="connsiteY3165"/>
                </a:cxn>
                <a:cxn ang="0">
                  <a:pos x="connsiteX3166" y="connsiteY3166"/>
                </a:cxn>
                <a:cxn ang="0">
                  <a:pos x="connsiteX3167" y="connsiteY3167"/>
                </a:cxn>
                <a:cxn ang="0">
                  <a:pos x="connsiteX3168" y="connsiteY3168"/>
                </a:cxn>
                <a:cxn ang="0">
                  <a:pos x="connsiteX3169" y="connsiteY3169"/>
                </a:cxn>
                <a:cxn ang="0">
                  <a:pos x="connsiteX3170" y="connsiteY3170"/>
                </a:cxn>
                <a:cxn ang="0">
                  <a:pos x="connsiteX3171" y="connsiteY3171"/>
                </a:cxn>
                <a:cxn ang="0">
                  <a:pos x="connsiteX3172" y="connsiteY3172"/>
                </a:cxn>
                <a:cxn ang="0">
                  <a:pos x="connsiteX3173" y="connsiteY3173"/>
                </a:cxn>
                <a:cxn ang="0">
                  <a:pos x="connsiteX3174" y="connsiteY3174"/>
                </a:cxn>
                <a:cxn ang="0">
                  <a:pos x="connsiteX3175" y="connsiteY3175"/>
                </a:cxn>
                <a:cxn ang="0">
                  <a:pos x="connsiteX3176" y="connsiteY3176"/>
                </a:cxn>
                <a:cxn ang="0">
                  <a:pos x="connsiteX3177" y="connsiteY3177"/>
                </a:cxn>
                <a:cxn ang="0">
                  <a:pos x="connsiteX3178" y="connsiteY3178"/>
                </a:cxn>
                <a:cxn ang="0">
                  <a:pos x="connsiteX3179" y="connsiteY3179"/>
                </a:cxn>
                <a:cxn ang="0">
                  <a:pos x="connsiteX3180" y="connsiteY3180"/>
                </a:cxn>
                <a:cxn ang="0">
                  <a:pos x="connsiteX3181" y="connsiteY3181"/>
                </a:cxn>
                <a:cxn ang="0">
                  <a:pos x="connsiteX3182" y="connsiteY3182"/>
                </a:cxn>
                <a:cxn ang="0">
                  <a:pos x="connsiteX3183" y="connsiteY3183"/>
                </a:cxn>
                <a:cxn ang="0">
                  <a:pos x="connsiteX3184" y="connsiteY3184"/>
                </a:cxn>
                <a:cxn ang="0">
                  <a:pos x="connsiteX3185" y="connsiteY3185"/>
                </a:cxn>
                <a:cxn ang="0">
                  <a:pos x="connsiteX3186" y="connsiteY3186"/>
                </a:cxn>
                <a:cxn ang="0">
                  <a:pos x="connsiteX3187" y="connsiteY3187"/>
                </a:cxn>
                <a:cxn ang="0">
                  <a:pos x="connsiteX3188" y="connsiteY3188"/>
                </a:cxn>
                <a:cxn ang="0">
                  <a:pos x="connsiteX3189" y="connsiteY3189"/>
                </a:cxn>
                <a:cxn ang="0">
                  <a:pos x="connsiteX3190" y="connsiteY3190"/>
                </a:cxn>
                <a:cxn ang="0">
                  <a:pos x="connsiteX3191" y="connsiteY3191"/>
                </a:cxn>
                <a:cxn ang="0">
                  <a:pos x="connsiteX3192" y="connsiteY3192"/>
                </a:cxn>
                <a:cxn ang="0">
                  <a:pos x="connsiteX3193" y="connsiteY3193"/>
                </a:cxn>
                <a:cxn ang="0">
                  <a:pos x="connsiteX3194" y="connsiteY3194"/>
                </a:cxn>
                <a:cxn ang="0">
                  <a:pos x="connsiteX3195" y="connsiteY3195"/>
                </a:cxn>
                <a:cxn ang="0">
                  <a:pos x="connsiteX3196" y="connsiteY3196"/>
                </a:cxn>
                <a:cxn ang="0">
                  <a:pos x="connsiteX3197" y="connsiteY3197"/>
                </a:cxn>
                <a:cxn ang="0">
                  <a:pos x="connsiteX3198" y="connsiteY3198"/>
                </a:cxn>
                <a:cxn ang="0">
                  <a:pos x="connsiteX3199" y="connsiteY3199"/>
                </a:cxn>
                <a:cxn ang="0">
                  <a:pos x="connsiteX3200" y="connsiteY3200"/>
                </a:cxn>
                <a:cxn ang="0">
                  <a:pos x="connsiteX3201" y="connsiteY3201"/>
                </a:cxn>
                <a:cxn ang="0">
                  <a:pos x="connsiteX3202" y="connsiteY3202"/>
                </a:cxn>
                <a:cxn ang="0">
                  <a:pos x="connsiteX3203" y="connsiteY3203"/>
                </a:cxn>
                <a:cxn ang="0">
                  <a:pos x="connsiteX3204" y="connsiteY3204"/>
                </a:cxn>
                <a:cxn ang="0">
                  <a:pos x="connsiteX3205" y="connsiteY3205"/>
                </a:cxn>
                <a:cxn ang="0">
                  <a:pos x="connsiteX3206" y="connsiteY3206"/>
                </a:cxn>
                <a:cxn ang="0">
                  <a:pos x="connsiteX3207" y="connsiteY3207"/>
                </a:cxn>
                <a:cxn ang="0">
                  <a:pos x="connsiteX3208" y="connsiteY3208"/>
                </a:cxn>
                <a:cxn ang="0">
                  <a:pos x="connsiteX3209" y="connsiteY3209"/>
                </a:cxn>
                <a:cxn ang="0">
                  <a:pos x="connsiteX3210" y="connsiteY3210"/>
                </a:cxn>
                <a:cxn ang="0">
                  <a:pos x="connsiteX3211" y="connsiteY3211"/>
                </a:cxn>
                <a:cxn ang="0">
                  <a:pos x="connsiteX3212" y="connsiteY3212"/>
                </a:cxn>
                <a:cxn ang="0">
                  <a:pos x="connsiteX3213" y="connsiteY3213"/>
                </a:cxn>
                <a:cxn ang="0">
                  <a:pos x="connsiteX3214" y="connsiteY3214"/>
                </a:cxn>
                <a:cxn ang="0">
                  <a:pos x="connsiteX3215" y="connsiteY3215"/>
                </a:cxn>
                <a:cxn ang="0">
                  <a:pos x="connsiteX3216" y="connsiteY3216"/>
                </a:cxn>
                <a:cxn ang="0">
                  <a:pos x="connsiteX3217" y="connsiteY3217"/>
                </a:cxn>
                <a:cxn ang="0">
                  <a:pos x="connsiteX3218" y="connsiteY3218"/>
                </a:cxn>
                <a:cxn ang="0">
                  <a:pos x="connsiteX3219" y="connsiteY3219"/>
                </a:cxn>
                <a:cxn ang="0">
                  <a:pos x="connsiteX3220" y="connsiteY3220"/>
                </a:cxn>
                <a:cxn ang="0">
                  <a:pos x="connsiteX3221" y="connsiteY3221"/>
                </a:cxn>
                <a:cxn ang="0">
                  <a:pos x="connsiteX3222" y="connsiteY3222"/>
                </a:cxn>
                <a:cxn ang="0">
                  <a:pos x="connsiteX3223" y="connsiteY3223"/>
                </a:cxn>
                <a:cxn ang="0">
                  <a:pos x="connsiteX3224" y="connsiteY3224"/>
                </a:cxn>
                <a:cxn ang="0">
                  <a:pos x="connsiteX3225" y="connsiteY3225"/>
                </a:cxn>
                <a:cxn ang="0">
                  <a:pos x="connsiteX3226" y="connsiteY3226"/>
                </a:cxn>
                <a:cxn ang="0">
                  <a:pos x="connsiteX3227" y="connsiteY3227"/>
                </a:cxn>
                <a:cxn ang="0">
                  <a:pos x="connsiteX3228" y="connsiteY3228"/>
                </a:cxn>
                <a:cxn ang="0">
                  <a:pos x="connsiteX3229" y="connsiteY3229"/>
                </a:cxn>
                <a:cxn ang="0">
                  <a:pos x="connsiteX3230" y="connsiteY3230"/>
                </a:cxn>
                <a:cxn ang="0">
                  <a:pos x="connsiteX3231" y="connsiteY3231"/>
                </a:cxn>
                <a:cxn ang="0">
                  <a:pos x="connsiteX3232" y="connsiteY3232"/>
                </a:cxn>
                <a:cxn ang="0">
                  <a:pos x="connsiteX3233" y="connsiteY3233"/>
                </a:cxn>
                <a:cxn ang="0">
                  <a:pos x="connsiteX3234" y="connsiteY3234"/>
                </a:cxn>
                <a:cxn ang="0">
                  <a:pos x="connsiteX3235" y="connsiteY3235"/>
                </a:cxn>
                <a:cxn ang="0">
                  <a:pos x="connsiteX3236" y="connsiteY3236"/>
                </a:cxn>
                <a:cxn ang="0">
                  <a:pos x="connsiteX3237" y="connsiteY3237"/>
                </a:cxn>
                <a:cxn ang="0">
                  <a:pos x="connsiteX3238" y="connsiteY3238"/>
                </a:cxn>
                <a:cxn ang="0">
                  <a:pos x="connsiteX3239" y="connsiteY3239"/>
                </a:cxn>
                <a:cxn ang="0">
                  <a:pos x="connsiteX3240" y="connsiteY3240"/>
                </a:cxn>
                <a:cxn ang="0">
                  <a:pos x="connsiteX3241" y="connsiteY3241"/>
                </a:cxn>
                <a:cxn ang="0">
                  <a:pos x="connsiteX3242" y="connsiteY3242"/>
                </a:cxn>
                <a:cxn ang="0">
                  <a:pos x="connsiteX3243" y="connsiteY3243"/>
                </a:cxn>
                <a:cxn ang="0">
                  <a:pos x="connsiteX3244" y="connsiteY3244"/>
                </a:cxn>
                <a:cxn ang="0">
                  <a:pos x="connsiteX3245" y="connsiteY3245"/>
                </a:cxn>
                <a:cxn ang="0">
                  <a:pos x="connsiteX3246" y="connsiteY3246"/>
                </a:cxn>
                <a:cxn ang="0">
                  <a:pos x="connsiteX3247" y="connsiteY3247"/>
                </a:cxn>
                <a:cxn ang="0">
                  <a:pos x="connsiteX3248" y="connsiteY3248"/>
                </a:cxn>
                <a:cxn ang="0">
                  <a:pos x="connsiteX3249" y="connsiteY3249"/>
                </a:cxn>
                <a:cxn ang="0">
                  <a:pos x="connsiteX3250" y="connsiteY3250"/>
                </a:cxn>
                <a:cxn ang="0">
                  <a:pos x="connsiteX3251" y="connsiteY3251"/>
                </a:cxn>
                <a:cxn ang="0">
                  <a:pos x="connsiteX3252" y="connsiteY3252"/>
                </a:cxn>
                <a:cxn ang="0">
                  <a:pos x="connsiteX3253" y="connsiteY3253"/>
                </a:cxn>
                <a:cxn ang="0">
                  <a:pos x="connsiteX3254" y="connsiteY3254"/>
                </a:cxn>
                <a:cxn ang="0">
                  <a:pos x="connsiteX3255" y="connsiteY3255"/>
                </a:cxn>
                <a:cxn ang="0">
                  <a:pos x="connsiteX3256" y="connsiteY3256"/>
                </a:cxn>
                <a:cxn ang="0">
                  <a:pos x="connsiteX3257" y="connsiteY3257"/>
                </a:cxn>
                <a:cxn ang="0">
                  <a:pos x="connsiteX3258" y="connsiteY3258"/>
                </a:cxn>
                <a:cxn ang="0">
                  <a:pos x="connsiteX3259" y="connsiteY3259"/>
                </a:cxn>
                <a:cxn ang="0">
                  <a:pos x="connsiteX3260" y="connsiteY3260"/>
                </a:cxn>
                <a:cxn ang="0">
                  <a:pos x="connsiteX3261" y="connsiteY3261"/>
                </a:cxn>
                <a:cxn ang="0">
                  <a:pos x="connsiteX3262" y="connsiteY3262"/>
                </a:cxn>
                <a:cxn ang="0">
                  <a:pos x="connsiteX3263" y="connsiteY3263"/>
                </a:cxn>
                <a:cxn ang="0">
                  <a:pos x="connsiteX3264" y="connsiteY3264"/>
                </a:cxn>
                <a:cxn ang="0">
                  <a:pos x="connsiteX3265" y="connsiteY3265"/>
                </a:cxn>
                <a:cxn ang="0">
                  <a:pos x="connsiteX3266" y="connsiteY3266"/>
                </a:cxn>
                <a:cxn ang="0">
                  <a:pos x="connsiteX3267" y="connsiteY3267"/>
                </a:cxn>
                <a:cxn ang="0">
                  <a:pos x="connsiteX3268" y="connsiteY3268"/>
                </a:cxn>
                <a:cxn ang="0">
                  <a:pos x="connsiteX3269" y="connsiteY3269"/>
                </a:cxn>
                <a:cxn ang="0">
                  <a:pos x="connsiteX3270" y="connsiteY3270"/>
                </a:cxn>
                <a:cxn ang="0">
                  <a:pos x="connsiteX3271" y="connsiteY3271"/>
                </a:cxn>
                <a:cxn ang="0">
                  <a:pos x="connsiteX3272" y="connsiteY3272"/>
                </a:cxn>
                <a:cxn ang="0">
                  <a:pos x="connsiteX3273" y="connsiteY3273"/>
                </a:cxn>
                <a:cxn ang="0">
                  <a:pos x="connsiteX3274" y="connsiteY3274"/>
                </a:cxn>
                <a:cxn ang="0">
                  <a:pos x="connsiteX3275" y="connsiteY3275"/>
                </a:cxn>
                <a:cxn ang="0">
                  <a:pos x="connsiteX3276" y="connsiteY3276"/>
                </a:cxn>
                <a:cxn ang="0">
                  <a:pos x="connsiteX3277" y="connsiteY3277"/>
                </a:cxn>
                <a:cxn ang="0">
                  <a:pos x="connsiteX3278" y="connsiteY3278"/>
                </a:cxn>
                <a:cxn ang="0">
                  <a:pos x="connsiteX3279" y="connsiteY3279"/>
                </a:cxn>
                <a:cxn ang="0">
                  <a:pos x="connsiteX3280" y="connsiteY3280"/>
                </a:cxn>
                <a:cxn ang="0">
                  <a:pos x="connsiteX3281" y="connsiteY3281"/>
                </a:cxn>
                <a:cxn ang="0">
                  <a:pos x="connsiteX3282" y="connsiteY3282"/>
                </a:cxn>
                <a:cxn ang="0">
                  <a:pos x="connsiteX3283" y="connsiteY3283"/>
                </a:cxn>
                <a:cxn ang="0">
                  <a:pos x="connsiteX3284" y="connsiteY3284"/>
                </a:cxn>
                <a:cxn ang="0">
                  <a:pos x="connsiteX3285" y="connsiteY3285"/>
                </a:cxn>
                <a:cxn ang="0">
                  <a:pos x="connsiteX3286" y="connsiteY3286"/>
                </a:cxn>
                <a:cxn ang="0">
                  <a:pos x="connsiteX3287" y="connsiteY3287"/>
                </a:cxn>
                <a:cxn ang="0">
                  <a:pos x="connsiteX3288" y="connsiteY3288"/>
                </a:cxn>
                <a:cxn ang="0">
                  <a:pos x="connsiteX3289" y="connsiteY3289"/>
                </a:cxn>
                <a:cxn ang="0">
                  <a:pos x="connsiteX3290" y="connsiteY3290"/>
                </a:cxn>
                <a:cxn ang="0">
                  <a:pos x="connsiteX3291" y="connsiteY3291"/>
                </a:cxn>
                <a:cxn ang="0">
                  <a:pos x="connsiteX3292" y="connsiteY3292"/>
                </a:cxn>
                <a:cxn ang="0">
                  <a:pos x="connsiteX3293" y="connsiteY3293"/>
                </a:cxn>
                <a:cxn ang="0">
                  <a:pos x="connsiteX3294" y="connsiteY3294"/>
                </a:cxn>
                <a:cxn ang="0">
                  <a:pos x="connsiteX3295" y="connsiteY3295"/>
                </a:cxn>
                <a:cxn ang="0">
                  <a:pos x="connsiteX3296" y="connsiteY3296"/>
                </a:cxn>
                <a:cxn ang="0">
                  <a:pos x="connsiteX3297" y="connsiteY3297"/>
                </a:cxn>
                <a:cxn ang="0">
                  <a:pos x="connsiteX3298" y="connsiteY3298"/>
                </a:cxn>
                <a:cxn ang="0">
                  <a:pos x="connsiteX3299" y="connsiteY3299"/>
                </a:cxn>
                <a:cxn ang="0">
                  <a:pos x="connsiteX3300" y="connsiteY3300"/>
                </a:cxn>
                <a:cxn ang="0">
                  <a:pos x="connsiteX3301" y="connsiteY3301"/>
                </a:cxn>
                <a:cxn ang="0">
                  <a:pos x="connsiteX3302" y="connsiteY3302"/>
                </a:cxn>
                <a:cxn ang="0">
                  <a:pos x="connsiteX3303" y="connsiteY3303"/>
                </a:cxn>
                <a:cxn ang="0">
                  <a:pos x="connsiteX3304" y="connsiteY3304"/>
                </a:cxn>
                <a:cxn ang="0">
                  <a:pos x="connsiteX3305" y="connsiteY3305"/>
                </a:cxn>
                <a:cxn ang="0">
                  <a:pos x="connsiteX3306" y="connsiteY3306"/>
                </a:cxn>
                <a:cxn ang="0">
                  <a:pos x="connsiteX3307" y="connsiteY3307"/>
                </a:cxn>
                <a:cxn ang="0">
                  <a:pos x="connsiteX3308" y="connsiteY3308"/>
                </a:cxn>
                <a:cxn ang="0">
                  <a:pos x="connsiteX3309" y="connsiteY3309"/>
                </a:cxn>
                <a:cxn ang="0">
                  <a:pos x="connsiteX3310" y="connsiteY3310"/>
                </a:cxn>
                <a:cxn ang="0">
                  <a:pos x="connsiteX3311" y="connsiteY3311"/>
                </a:cxn>
                <a:cxn ang="0">
                  <a:pos x="connsiteX3312" y="connsiteY3312"/>
                </a:cxn>
                <a:cxn ang="0">
                  <a:pos x="connsiteX3313" y="connsiteY3313"/>
                </a:cxn>
                <a:cxn ang="0">
                  <a:pos x="connsiteX3314" y="connsiteY3314"/>
                </a:cxn>
                <a:cxn ang="0">
                  <a:pos x="connsiteX3315" y="connsiteY3315"/>
                </a:cxn>
                <a:cxn ang="0">
                  <a:pos x="connsiteX3316" y="connsiteY3316"/>
                </a:cxn>
                <a:cxn ang="0">
                  <a:pos x="connsiteX3317" y="connsiteY3317"/>
                </a:cxn>
                <a:cxn ang="0">
                  <a:pos x="connsiteX3318" y="connsiteY3318"/>
                </a:cxn>
                <a:cxn ang="0">
                  <a:pos x="connsiteX3319" y="connsiteY3319"/>
                </a:cxn>
                <a:cxn ang="0">
                  <a:pos x="connsiteX3320" y="connsiteY3320"/>
                </a:cxn>
                <a:cxn ang="0">
                  <a:pos x="connsiteX3321" y="connsiteY3321"/>
                </a:cxn>
                <a:cxn ang="0">
                  <a:pos x="connsiteX3322" y="connsiteY3322"/>
                </a:cxn>
                <a:cxn ang="0">
                  <a:pos x="connsiteX3323" y="connsiteY3323"/>
                </a:cxn>
                <a:cxn ang="0">
                  <a:pos x="connsiteX3324" y="connsiteY3324"/>
                </a:cxn>
                <a:cxn ang="0">
                  <a:pos x="connsiteX3325" y="connsiteY3325"/>
                </a:cxn>
                <a:cxn ang="0">
                  <a:pos x="connsiteX3326" y="connsiteY3326"/>
                </a:cxn>
                <a:cxn ang="0">
                  <a:pos x="connsiteX3327" y="connsiteY3327"/>
                </a:cxn>
                <a:cxn ang="0">
                  <a:pos x="connsiteX3328" y="connsiteY3328"/>
                </a:cxn>
                <a:cxn ang="0">
                  <a:pos x="connsiteX3329" y="connsiteY3329"/>
                </a:cxn>
                <a:cxn ang="0">
                  <a:pos x="connsiteX3330" y="connsiteY3330"/>
                </a:cxn>
                <a:cxn ang="0">
                  <a:pos x="connsiteX3331" y="connsiteY3331"/>
                </a:cxn>
                <a:cxn ang="0">
                  <a:pos x="connsiteX3332" y="connsiteY3332"/>
                </a:cxn>
                <a:cxn ang="0">
                  <a:pos x="connsiteX3333" y="connsiteY3333"/>
                </a:cxn>
                <a:cxn ang="0">
                  <a:pos x="connsiteX3334" y="connsiteY3334"/>
                </a:cxn>
                <a:cxn ang="0">
                  <a:pos x="connsiteX3335" y="connsiteY3335"/>
                </a:cxn>
                <a:cxn ang="0">
                  <a:pos x="connsiteX3336" y="connsiteY3336"/>
                </a:cxn>
                <a:cxn ang="0">
                  <a:pos x="connsiteX3337" y="connsiteY3337"/>
                </a:cxn>
                <a:cxn ang="0">
                  <a:pos x="connsiteX3338" y="connsiteY3338"/>
                </a:cxn>
                <a:cxn ang="0">
                  <a:pos x="connsiteX3339" y="connsiteY3339"/>
                </a:cxn>
                <a:cxn ang="0">
                  <a:pos x="connsiteX3340" y="connsiteY3340"/>
                </a:cxn>
                <a:cxn ang="0">
                  <a:pos x="connsiteX3341" y="connsiteY3341"/>
                </a:cxn>
                <a:cxn ang="0">
                  <a:pos x="connsiteX3342" y="connsiteY3342"/>
                </a:cxn>
                <a:cxn ang="0">
                  <a:pos x="connsiteX3343" y="connsiteY3343"/>
                </a:cxn>
                <a:cxn ang="0">
                  <a:pos x="connsiteX3344" y="connsiteY3344"/>
                </a:cxn>
                <a:cxn ang="0">
                  <a:pos x="connsiteX3345" y="connsiteY3345"/>
                </a:cxn>
                <a:cxn ang="0">
                  <a:pos x="connsiteX3346" y="connsiteY3346"/>
                </a:cxn>
                <a:cxn ang="0">
                  <a:pos x="connsiteX3347" y="connsiteY3347"/>
                </a:cxn>
                <a:cxn ang="0">
                  <a:pos x="connsiteX3348" y="connsiteY3348"/>
                </a:cxn>
                <a:cxn ang="0">
                  <a:pos x="connsiteX3349" y="connsiteY3349"/>
                </a:cxn>
                <a:cxn ang="0">
                  <a:pos x="connsiteX3350" y="connsiteY3350"/>
                </a:cxn>
                <a:cxn ang="0">
                  <a:pos x="connsiteX3351" y="connsiteY3351"/>
                </a:cxn>
                <a:cxn ang="0">
                  <a:pos x="connsiteX3352" y="connsiteY3352"/>
                </a:cxn>
                <a:cxn ang="0">
                  <a:pos x="connsiteX3353" y="connsiteY3353"/>
                </a:cxn>
                <a:cxn ang="0">
                  <a:pos x="connsiteX3354" y="connsiteY3354"/>
                </a:cxn>
                <a:cxn ang="0">
                  <a:pos x="connsiteX3355" y="connsiteY3355"/>
                </a:cxn>
                <a:cxn ang="0">
                  <a:pos x="connsiteX3356" y="connsiteY3356"/>
                </a:cxn>
                <a:cxn ang="0">
                  <a:pos x="connsiteX3357" y="connsiteY3357"/>
                </a:cxn>
                <a:cxn ang="0">
                  <a:pos x="connsiteX3358" y="connsiteY3358"/>
                </a:cxn>
                <a:cxn ang="0">
                  <a:pos x="connsiteX3359" y="connsiteY3359"/>
                </a:cxn>
                <a:cxn ang="0">
                  <a:pos x="connsiteX3360" y="connsiteY3360"/>
                </a:cxn>
                <a:cxn ang="0">
                  <a:pos x="connsiteX3361" y="connsiteY3361"/>
                </a:cxn>
                <a:cxn ang="0">
                  <a:pos x="connsiteX3362" y="connsiteY3362"/>
                </a:cxn>
                <a:cxn ang="0">
                  <a:pos x="connsiteX3363" y="connsiteY3363"/>
                </a:cxn>
                <a:cxn ang="0">
                  <a:pos x="connsiteX3364" y="connsiteY3364"/>
                </a:cxn>
                <a:cxn ang="0">
                  <a:pos x="connsiteX3365" y="connsiteY3365"/>
                </a:cxn>
                <a:cxn ang="0">
                  <a:pos x="connsiteX3366" y="connsiteY3366"/>
                </a:cxn>
                <a:cxn ang="0">
                  <a:pos x="connsiteX3367" y="connsiteY3367"/>
                </a:cxn>
                <a:cxn ang="0">
                  <a:pos x="connsiteX3368" y="connsiteY3368"/>
                </a:cxn>
                <a:cxn ang="0">
                  <a:pos x="connsiteX3369" y="connsiteY3369"/>
                </a:cxn>
                <a:cxn ang="0">
                  <a:pos x="connsiteX3370" y="connsiteY3370"/>
                </a:cxn>
                <a:cxn ang="0">
                  <a:pos x="connsiteX3371" y="connsiteY3371"/>
                </a:cxn>
                <a:cxn ang="0">
                  <a:pos x="connsiteX3372" y="connsiteY3372"/>
                </a:cxn>
                <a:cxn ang="0">
                  <a:pos x="connsiteX3373" y="connsiteY3373"/>
                </a:cxn>
                <a:cxn ang="0">
                  <a:pos x="connsiteX3374" y="connsiteY3374"/>
                </a:cxn>
                <a:cxn ang="0">
                  <a:pos x="connsiteX3375" y="connsiteY3375"/>
                </a:cxn>
                <a:cxn ang="0">
                  <a:pos x="connsiteX3376" y="connsiteY3376"/>
                </a:cxn>
                <a:cxn ang="0">
                  <a:pos x="connsiteX3377" y="connsiteY3377"/>
                </a:cxn>
                <a:cxn ang="0">
                  <a:pos x="connsiteX3378" y="connsiteY3378"/>
                </a:cxn>
                <a:cxn ang="0">
                  <a:pos x="connsiteX3379" y="connsiteY3379"/>
                </a:cxn>
                <a:cxn ang="0">
                  <a:pos x="connsiteX3380" y="connsiteY3380"/>
                </a:cxn>
                <a:cxn ang="0">
                  <a:pos x="connsiteX3381" y="connsiteY3381"/>
                </a:cxn>
                <a:cxn ang="0">
                  <a:pos x="connsiteX3382" y="connsiteY3382"/>
                </a:cxn>
                <a:cxn ang="0">
                  <a:pos x="connsiteX3383" y="connsiteY3383"/>
                </a:cxn>
                <a:cxn ang="0">
                  <a:pos x="connsiteX3384" y="connsiteY3384"/>
                </a:cxn>
                <a:cxn ang="0">
                  <a:pos x="connsiteX3385" y="connsiteY3385"/>
                </a:cxn>
                <a:cxn ang="0">
                  <a:pos x="connsiteX3386" y="connsiteY3386"/>
                </a:cxn>
                <a:cxn ang="0">
                  <a:pos x="connsiteX3387" y="connsiteY3387"/>
                </a:cxn>
                <a:cxn ang="0">
                  <a:pos x="connsiteX3388" y="connsiteY3388"/>
                </a:cxn>
                <a:cxn ang="0">
                  <a:pos x="connsiteX3389" y="connsiteY3389"/>
                </a:cxn>
                <a:cxn ang="0">
                  <a:pos x="connsiteX3390" y="connsiteY3390"/>
                </a:cxn>
                <a:cxn ang="0">
                  <a:pos x="connsiteX3391" y="connsiteY3391"/>
                </a:cxn>
                <a:cxn ang="0">
                  <a:pos x="connsiteX3392" y="connsiteY3392"/>
                </a:cxn>
                <a:cxn ang="0">
                  <a:pos x="connsiteX3393" y="connsiteY3393"/>
                </a:cxn>
                <a:cxn ang="0">
                  <a:pos x="connsiteX3394" y="connsiteY3394"/>
                </a:cxn>
                <a:cxn ang="0">
                  <a:pos x="connsiteX3395" y="connsiteY3395"/>
                </a:cxn>
                <a:cxn ang="0">
                  <a:pos x="connsiteX3396" y="connsiteY3396"/>
                </a:cxn>
                <a:cxn ang="0">
                  <a:pos x="connsiteX3397" y="connsiteY3397"/>
                </a:cxn>
                <a:cxn ang="0">
                  <a:pos x="connsiteX3398" y="connsiteY3398"/>
                </a:cxn>
                <a:cxn ang="0">
                  <a:pos x="connsiteX3399" y="connsiteY3399"/>
                </a:cxn>
                <a:cxn ang="0">
                  <a:pos x="connsiteX3400" y="connsiteY3400"/>
                </a:cxn>
                <a:cxn ang="0">
                  <a:pos x="connsiteX3401" y="connsiteY3401"/>
                </a:cxn>
                <a:cxn ang="0">
                  <a:pos x="connsiteX3402" y="connsiteY3402"/>
                </a:cxn>
                <a:cxn ang="0">
                  <a:pos x="connsiteX3403" y="connsiteY3403"/>
                </a:cxn>
                <a:cxn ang="0">
                  <a:pos x="connsiteX3404" y="connsiteY3404"/>
                </a:cxn>
                <a:cxn ang="0">
                  <a:pos x="connsiteX3405" y="connsiteY3405"/>
                </a:cxn>
                <a:cxn ang="0">
                  <a:pos x="connsiteX3406" y="connsiteY3406"/>
                </a:cxn>
                <a:cxn ang="0">
                  <a:pos x="connsiteX3407" y="connsiteY3407"/>
                </a:cxn>
                <a:cxn ang="0">
                  <a:pos x="connsiteX3408" y="connsiteY3408"/>
                </a:cxn>
                <a:cxn ang="0">
                  <a:pos x="connsiteX3409" y="connsiteY3409"/>
                </a:cxn>
                <a:cxn ang="0">
                  <a:pos x="connsiteX3410" y="connsiteY3410"/>
                </a:cxn>
                <a:cxn ang="0">
                  <a:pos x="connsiteX3411" y="connsiteY3411"/>
                </a:cxn>
                <a:cxn ang="0">
                  <a:pos x="connsiteX3412" y="connsiteY3412"/>
                </a:cxn>
                <a:cxn ang="0">
                  <a:pos x="connsiteX3413" y="connsiteY3413"/>
                </a:cxn>
                <a:cxn ang="0">
                  <a:pos x="connsiteX3414" y="connsiteY3414"/>
                </a:cxn>
                <a:cxn ang="0">
                  <a:pos x="connsiteX3415" y="connsiteY3415"/>
                </a:cxn>
                <a:cxn ang="0">
                  <a:pos x="connsiteX3416" y="connsiteY3416"/>
                </a:cxn>
                <a:cxn ang="0">
                  <a:pos x="connsiteX3417" y="connsiteY3417"/>
                </a:cxn>
                <a:cxn ang="0">
                  <a:pos x="connsiteX3418" y="connsiteY3418"/>
                </a:cxn>
                <a:cxn ang="0">
                  <a:pos x="connsiteX3419" y="connsiteY3419"/>
                </a:cxn>
                <a:cxn ang="0">
                  <a:pos x="connsiteX3420" y="connsiteY3420"/>
                </a:cxn>
                <a:cxn ang="0">
                  <a:pos x="connsiteX3421" y="connsiteY3421"/>
                </a:cxn>
                <a:cxn ang="0">
                  <a:pos x="connsiteX3422" y="connsiteY3422"/>
                </a:cxn>
                <a:cxn ang="0">
                  <a:pos x="connsiteX3423" y="connsiteY3423"/>
                </a:cxn>
                <a:cxn ang="0">
                  <a:pos x="connsiteX3424" y="connsiteY3424"/>
                </a:cxn>
                <a:cxn ang="0">
                  <a:pos x="connsiteX3425" y="connsiteY3425"/>
                </a:cxn>
                <a:cxn ang="0">
                  <a:pos x="connsiteX3426" y="connsiteY3426"/>
                </a:cxn>
                <a:cxn ang="0">
                  <a:pos x="connsiteX3427" y="connsiteY3427"/>
                </a:cxn>
                <a:cxn ang="0">
                  <a:pos x="connsiteX3428" y="connsiteY3428"/>
                </a:cxn>
                <a:cxn ang="0">
                  <a:pos x="connsiteX3429" y="connsiteY3429"/>
                </a:cxn>
                <a:cxn ang="0">
                  <a:pos x="connsiteX3430" y="connsiteY3430"/>
                </a:cxn>
                <a:cxn ang="0">
                  <a:pos x="connsiteX3431" y="connsiteY3431"/>
                </a:cxn>
                <a:cxn ang="0">
                  <a:pos x="connsiteX3432" y="connsiteY3432"/>
                </a:cxn>
                <a:cxn ang="0">
                  <a:pos x="connsiteX3433" y="connsiteY3433"/>
                </a:cxn>
                <a:cxn ang="0">
                  <a:pos x="connsiteX3434" y="connsiteY3434"/>
                </a:cxn>
                <a:cxn ang="0">
                  <a:pos x="connsiteX3435" y="connsiteY3435"/>
                </a:cxn>
                <a:cxn ang="0">
                  <a:pos x="connsiteX3436" y="connsiteY3436"/>
                </a:cxn>
                <a:cxn ang="0">
                  <a:pos x="connsiteX3437" y="connsiteY3437"/>
                </a:cxn>
                <a:cxn ang="0">
                  <a:pos x="connsiteX3438" y="connsiteY3438"/>
                </a:cxn>
                <a:cxn ang="0">
                  <a:pos x="connsiteX3439" y="connsiteY3439"/>
                </a:cxn>
                <a:cxn ang="0">
                  <a:pos x="connsiteX3440" y="connsiteY3440"/>
                </a:cxn>
                <a:cxn ang="0">
                  <a:pos x="connsiteX3441" y="connsiteY3441"/>
                </a:cxn>
                <a:cxn ang="0">
                  <a:pos x="connsiteX3442" y="connsiteY3442"/>
                </a:cxn>
                <a:cxn ang="0">
                  <a:pos x="connsiteX3443" y="connsiteY3443"/>
                </a:cxn>
                <a:cxn ang="0">
                  <a:pos x="connsiteX3444" y="connsiteY3444"/>
                </a:cxn>
                <a:cxn ang="0">
                  <a:pos x="connsiteX3445" y="connsiteY3445"/>
                </a:cxn>
                <a:cxn ang="0">
                  <a:pos x="connsiteX3446" y="connsiteY3446"/>
                </a:cxn>
                <a:cxn ang="0">
                  <a:pos x="connsiteX3447" y="connsiteY3447"/>
                </a:cxn>
                <a:cxn ang="0">
                  <a:pos x="connsiteX3448" y="connsiteY3448"/>
                </a:cxn>
                <a:cxn ang="0">
                  <a:pos x="connsiteX3449" y="connsiteY3449"/>
                </a:cxn>
                <a:cxn ang="0">
                  <a:pos x="connsiteX3450" y="connsiteY3450"/>
                </a:cxn>
                <a:cxn ang="0">
                  <a:pos x="connsiteX3451" y="connsiteY3451"/>
                </a:cxn>
                <a:cxn ang="0">
                  <a:pos x="connsiteX3452" y="connsiteY3452"/>
                </a:cxn>
                <a:cxn ang="0">
                  <a:pos x="connsiteX3453" y="connsiteY3453"/>
                </a:cxn>
                <a:cxn ang="0">
                  <a:pos x="connsiteX3454" y="connsiteY3454"/>
                </a:cxn>
                <a:cxn ang="0">
                  <a:pos x="connsiteX3455" y="connsiteY3455"/>
                </a:cxn>
                <a:cxn ang="0">
                  <a:pos x="connsiteX3456" y="connsiteY3456"/>
                </a:cxn>
                <a:cxn ang="0">
                  <a:pos x="connsiteX3457" y="connsiteY3457"/>
                </a:cxn>
                <a:cxn ang="0">
                  <a:pos x="connsiteX3458" y="connsiteY3458"/>
                </a:cxn>
                <a:cxn ang="0">
                  <a:pos x="connsiteX3459" y="connsiteY3459"/>
                </a:cxn>
                <a:cxn ang="0">
                  <a:pos x="connsiteX3460" y="connsiteY3460"/>
                </a:cxn>
                <a:cxn ang="0">
                  <a:pos x="connsiteX3461" y="connsiteY3461"/>
                </a:cxn>
                <a:cxn ang="0">
                  <a:pos x="connsiteX3462" y="connsiteY3462"/>
                </a:cxn>
                <a:cxn ang="0">
                  <a:pos x="connsiteX3463" y="connsiteY3463"/>
                </a:cxn>
                <a:cxn ang="0">
                  <a:pos x="connsiteX3464" y="connsiteY3464"/>
                </a:cxn>
                <a:cxn ang="0">
                  <a:pos x="connsiteX3465" y="connsiteY3465"/>
                </a:cxn>
                <a:cxn ang="0">
                  <a:pos x="connsiteX3466" y="connsiteY3466"/>
                </a:cxn>
                <a:cxn ang="0">
                  <a:pos x="connsiteX3467" y="connsiteY3467"/>
                </a:cxn>
                <a:cxn ang="0">
                  <a:pos x="connsiteX3468" y="connsiteY3468"/>
                </a:cxn>
                <a:cxn ang="0">
                  <a:pos x="connsiteX3469" y="connsiteY3469"/>
                </a:cxn>
                <a:cxn ang="0">
                  <a:pos x="connsiteX3470" y="connsiteY3470"/>
                </a:cxn>
                <a:cxn ang="0">
                  <a:pos x="connsiteX3471" y="connsiteY3471"/>
                </a:cxn>
                <a:cxn ang="0">
                  <a:pos x="connsiteX3472" y="connsiteY3472"/>
                </a:cxn>
                <a:cxn ang="0">
                  <a:pos x="connsiteX3473" y="connsiteY3473"/>
                </a:cxn>
                <a:cxn ang="0">
                  <a:pos x="connsiteX3474" y="connsiteY3474"/>
                </a:cxn>
                <a:cxn ang="0">
                  <a:pos x="connsiteX3475" y="connsiteY3475"/>
                </a:cxn>
                <a:cxn ang="0">
                  <a:pos x="connsiteX3476" y="connsiteY3476"/>
                </a:cxn>
                <a:cxn ang="0">
                  <a:pos x="connsiteX3477" y="connsiteY3477"/>
                </a:cxn>
                <a:cxn ang="0">
                  <a:pos x="connsiteX3478" y="connsiteY3478"/>
                </a:cxn>
                <a:cxn ang="0">
                  <a:pos x="connsiteX3479" y="connsiteY3479"/>
                </a:cxn>
                <a:cxn ang="0">
                  <a:pos x="connsiteX3480" y="connsiteY3480"/>
                </a:cxn>
                <a:cxn ang="0">
                  <a:pos x="connsiteX3481" y="connsiteY3481"/>
                </a:cxn>
                <a:cxn ang="0">
                  <a:pos x="connsiteX3482" y="connsiteY3482"/>
                </a:cxn>
                <a:cxn ang="0">
                  <a:pos x="connsiteX3483" y="connsiteY3483"/>
                </a:cxn>
                <a:cxn ang="0">
                  <a:pos x="connsiteX3484" y="connsiteY3484"/>
                </a:cxn>
                <a:cxn ang="0">
                  <a:pos x="connsiteX3485" y="connsiteY3485"/>
                </a:cxn>
                <a:cxn ang="0">
                  <a:pos x="connsiteX3486" y="connsiteY3486"/>
                </a:cxn>
                <a:cxn ang="0">
                  <a:pos x="connsiteX3487" y="connsiteY3487"/>
                </a:cxn>
                <a:cxn ang="0">
                  <a:pos x="connsiteX3488" y="connsiteY3488"/>
                </a:cxn>
                <a:cxn ang="0">
                  <a:pos x="connsiteX3489" y="connsiteY3489"/>
                </a:cxn>
                <a:cxn ang="0">
                  <a:pos x="connsiteX3490" y="connsiteY3490"/>
                </a:cxn>
                <a:cxn ang="0">
                  <a:pos x="connsiteX3491" y="connsiteY3491"/>
                </a:cxn>
                <a:cxn ang="0">
                  <a:pos x="connsiteX3492" y="connsiteY3492"/>
                </a:cxn>
                <a:cxn ang="0">
                  <a:pos x="connsiteX3493" y="connsiteY3493"/>
                </a:cxn>
                <a:cxn ang="0">
                  <a:pos x="connsiteX3494" y="connsiteY3494"/>
                </a:cxn>
                <a:cxn ang="0">
                  <a:pos x="connsiteX3495" y="connsiteY3495"/>
                </a:cxn>
                <a:cxn ang="0">
                  <a:pos x="connsiteX3496" y="connsiteY3496"/>
                </a:cxn>
                <a:cxn ang="0">
                  <a:pos x="connsiteX3497" y="connsiteY3497"/>
                </a:cxn>
                <a:cxn ang="0">
                  <a:pos x="connsiteX3498" y="connsiteY3498"/>
                </a:cxn>
                <a:cxn ang="0">
                  <a:pos x="connsiteX3499" y="connsiteY3499"/>
                </a:cxn>
                <a:cxn ang="0">
                  <a:pos x="connsiteX3500" y="connsiteY3500"/>
                </a:cxn>
                <a:cxn ang="0">
                  <a:pos x="connsiteX3501" y="connsiteY3501"/>
                </a:cxn>
                <a:cxn ang="0">
                  <a:pos x="connsiteX3502" y="connsiteY3502"/>
                </a:cxn>
                <a:cxn ang="0">
                  <a:pos x="connsiteX3503" y="connsiteY3503"/>
                </a:cxn>
                <a:cxn ang="0">
                  <a:pos x="connsiteX3504" y="connsiteY3504"/>
                </a:cxn>
                <a:cxn ang="0">
                  <a:pos x="connsiteX3505" y="connsiteY3505"/>
                </a:cxn>
                <a:cxn ang="0">
                  <a:pos x="connsiteX3506" y="connsiteY3506"/>
                </a:cxn>
                <a:cxn ang="0">
                  <a:pos x="connsiteX3507" y="connsiteY3507"/>
                </a:cxn>
                <a:cxn ang="0">
                  <a:pos x="connsiteX3508" y="connsiteY3508"/>
                </a:cxn>
                <a:cxn ang="0">
                  <a:pos x="connsiteX3509" y="connsiteY3509"/>
                </a:cxn>
                <a:cxn ang="0">
                  <a:pos x="connsiteX3510" y="connsiteY3510"/>
                </a:cxn>
                <a:cxn ang="0">
                  <a:pos x="connsiteX3511" y="connsiteY3511"/>
                </a:cxn>
                <a:cxn ang="0">
                  <a:pos x="connsiteX3512" y="connsiteY3512"/>
                </a:cxn>
                <a:cxn ang="0">
                  <a:pos x="connsiteX3513" y="connsiteY3513"/>
                </a:cxn>
                <a:cxn ang="0">
                  <a:pos x="connsiteX3514" y="connsiteY3514"/>
                </a:cxn>
                <a:cxn ang="0">
                  <a:pos x="connsiteX3515" y="connsiteY3515"/>
                </a:cxn>
                <a:cxn ang="0">
                  <a:pos x="connsiteX3516" y="connsiteY3516"/>
                </a:cxn>
                <a:cxn ang="0">
                  <a:pos x="connsiteX3517" y="connsiteY3517"/>
                </a:cxn>
                <a:cxn ang="0">
                  <a:pos x="connsiteX3518" y="connsiteY3518"/>
                </a:cxn>
                <a:cxn ang="0">
                  <a:pos x="connsiteX3519" y="connsiteY3519"/>
                </a:cxn>
                <a:cxn ang="0">
                  <a:pos x="connsiteX3520" y="connsiteY3520"/>
                </a:cxn>
                <a:cxn ang="0">
                  <a:pos x="connsiteX3521" y="connsiteY3521"/>
                </a:cxn>
                <a:cxn ang="0">
                  <a:pos x="connsiteX3522" y="connsiteY3522"/>
                </a:cxn>
                <a:cxn ang="0">
                  <a:pos x="connsiteX3523" y="connsiteY3523"/>
                </a:cxn>
                <a:cxn ang="0">
                  <a:pos x="connsiteX3524" y="connsiteY3524"/>
                </a:cxn>
                <a:cxn ang="0">
                  <a:pos x="connsiteX3525" y="connsiteY3525"/>
                </a:cxn>
                <a:cxn ang="0">
                  <a:pos x="connsiteX3526" y="connsiteY3526"/>
                </a:cxn>
                <a:cxn ang="0">
                  <a:pos x="connsiteX3527" y="connsiteY3527"/>
                </a:cxn>
                <a:cxn ang="0">
                  <a:pos x="connsiteX3528" y="connsiteY3528"/>
                </a:cxn>
                <a:cxn ang="0">
                  <a:pos x="connsiteX3529" y="connsiteY3529"/>
                </a:cxn>
                <a:cxn ang="0">
                  <a:pos x="connsiteX3530" y="connsiteY3530"/>
                </a:cxn>
                <a:cxn ang="0">
                  <a:pos x="connsiteX3531" y="connsiteY3531"/>
                </a:cxn>
                <a:cxn ang="0">
                  <a:pos x="connsiteX3532" y="connsiteY3532"/>
                </a:cxn>
                <a:cxn ang="0">
                  <a:pos x="connsiteX3533" y="connsiteY3533"/>
                </a:cxn>
                <a:cxn ang="0">
                  <a:pos x="connsiteX3534" y="connsiteY3534"/>
                </a:cxn>
                <a:cxn ang="0">
                  <a:pos x="connsiteX3535" y="connsiteY3535"/>
                </a:cxn>
                <a:cxn ang="0">
                  <a:pos x="connsiteX3536" y="connsiteY3536"/>
                </a:cxn>
                <a:cxn ang="0">
                  <a:pos x="connsiteX3537" y="connsiteY3537"/>
                </a:cxn>
                <a:cxn ang="0">
                  <a:pos x="connsiteX3538" y="connsiteY3538"/>
                </a:cxn>
                <a:cxn ang="0">
                  <a:pos x="connsiteX3539" y="connsiteY3539"/>
                </a:cxn>
                <a:cxn ang="0">
                  <a:pos x="connsiteX3540" y="connsiteY3540"/>
                </a:cxn>
                <a:cxn ang="0">
                  <a:pos x="connsiteX3541" y="connsiteY3541"/>
                </a:cxn>
                <a:cxn ang="0">
                  <a:pos x="connsiteX3542" y="connsiteY3542"/>
                </a:cxn>
                <a:cxn ang="0">
                  <a:pos x="connsiteX3543" y="connsiteY3543"/>
                </a:cxn>
                <a:cxn ang="0">
                  <a:pos x="connsiteX3544" y="connsiteY3544"/>
                </a:cxn>
                <a:cxn ang="0">
                  <a:pos x="connsiteX3545" y="connsiteY3545"/>
                </a:cxn>
                <a:cxn ang="0">
                  <a:pos x="connsiteX3546" y="connsiteY3546"/>
                </a:cxn>
                <a:cxn ang="0">
                  <a:pos x="connsiteX3547" y="connsiteY3547"/>
                </a:cxn>
                <a:cxn ang="0">
                  <a:pos x="connsiteX3548" y="connsiteY3548"/>
                </a:cxn>
                <a:cxn ang="0">
                  <a:pos x="connsiteX3549" y="connsiteY3549"/>
                </a:cxn>
                <a:cxn ang="0">
                  <a:pos x="connsiteX3550" y="connsiteY3550"/>
                </a:cxn>
                <a:cxn ang="0">
                  <a:pos x="connsiteX3551" y="connsiteY3551"/>
                </a:cxn>
                <a:cxn ang="0">
                  <a:pos x="connsiteX3552" y="connsiteY3552"/>
                </a:cxn>
                <a:cxn ang="0">
                  <a:pos x="connsiteX3553" y="connsiteY3553"/>
                </a:cxn>
                <a:cxn ang="0">
                  <a:pos x="connsiteX3554" y="connsiteY3554"/>
                </a:cxn>
                <a:cxn ang="0">
                  <a:pos x="connsiteX3555" y="connsiteY3555"/>
                </a:cxn>
                <a:cxn ang="0">
                  <a:pos x="connsiteX3556" y="connsiteY3556"/>
                </a:cxn>
                <a:cxn ang="0">
                  <a:pos x="connsiteX3557" y="connsiteY3557"/>
                </a:cxn>
                <a:cxn ang="0">
                  <a:pos x="connsiteX3558" y="connsiteY3558"/>
                </a:cxn>
                <a:cxn ang="0">
                  <a:pos x="connsiteX3559" y="connsiteY3559"/>
                </a:cxn>
                <a:cxn ang="0">
                  <a:pos x="connsiteX3560" y="connsiteY3560"/>
                </a:cxn>
                <a:cxn ang="0">
                  <a:pos x="connsiteX3561" y="connsiteY3561"/>
                </a:cxn>
                <a:cxn ang="0">
                  <a:pos x="connsiteX3562" y="connsiteY3562"/>
                </a:cxn>
                <a:cxn ang="0">
                  <a:pos x="connsiteX3563" y="connsiteY3563"/>
                </a:cxn>
                <a:cxn ang="0">
                  <a:pos x="connsiteX3564" y="connsiteY3564"/>
                </a:cxn>
                <a:cxn ang="0">
                  <a:pos x="connsiteX3565" y="connsiteY3565"/>
                </a:cxn>
                <a:cxn ang="0">
                  <a:pos x="connsiteX3566" y="connsiteY3566"/>
                </a:cxn>
                <a:cxn ang="0">
                  <a:pos x="connsiteX3567" y="connsiteY3567"/>
                </a:cxn>
                <a:cxn ang="0">
                  <a:pos x="connsiteX3568" y="connsiteY3568"/>
                </a:cxn>
                <a:cxn ang="0">
                  <a:pos x="connsiteX3569" y="connsiteY3569"/>
                </a:cxn>
                <a:cxn ang="0">
                  <a:pos x="connsiteX3570" y="connsiteY3570"/>
                </a:cxn>
                <a:cxn ang="0">
                  <a:pos x="connsiteX3571" y="connsiteY3571"/>
                </a:cxn>
                <a:cxn ang="0">
                  <a:pos x="connsiteX3572" y="connsiteY3572"/>
                </a:cxn>
                <a:cxn ang="0">
                  <a:pos x="connsiteX3573" y="connsiteY3573"/>
                </a:cxn>
                <a:cxn ang="0">
                  <a:pos x="connsiteX3574" y="connsiteY3574"/>
                </a:cxn>
                <a:cxn ang="0">
                  <a:pos x="connsiteX3575" y="connsiteY3575"/>
                </a:cxn>
                <a:cxn ang="0">
                  <a:pos x="connsiteX3576" y="connsiteY3576"/>
                </a:cxn>
                <a:cxn ang="0">
                  <a:pos x="connsiteX3577" y="connsiteY3577"/>
                </a:cxn>
                <a:cxn ang="0">
                  <a:pos x="connsiteX3578" y="connsiteY3578"/>
                </a:cxn>
                <a:cxn ang="0">
                  <a:pos x="connsiteX3579" y="connsiteY3579"/>
                </a:cxn>
                <a:cxn ang="0">
                  <a:pos x="connsiteX3580" y="connsiteY3580"/>
                </a:cxn>
                <a:cxn ang="0">
                  <a:pos x="connsiteX3581" y="connsiteY3581"/>
                </a:cxn>
                <a:cxn ang="0">
                  <a:pos x="connsiteX3582" y="connsiteY3582"/>
                </a:cxn>
                <a:cxn ang="0">
                  <a:pos x="connsiteX3583" y="connsiteY3583"/>
                </a:cxn>
                <a:cxn ang="0">
                  <a:pos x="connsiteX3584" y="connsiteY3584"/>
                </a:cxn>
                <a:cxn ang="0">
                  <a:pos x="connsiteX3585" y="connsiteY3585"/>
                </a:cxn>
                <a:cxn ang="0">
                  <a:pos x="connsiteX3586" y="connsiteY3586"/>
                </a:cxn>
                <a:cxn ang="0">
                  <a:pos x="connsiteX3587" y="connsiteY3587"/>
                </a:cxn>
                <a:cxn ang="0">
                  <a:pos x="connsiteX3588" y="connsiteY3588"/>
                </a:cxn>
                <a:cxn ang="0">
                  <a:pos x="connsiteX3589" y="connsiteY3589"/>
                </a:cxn>
                <a:cxn ang="0">
                  <a:pos x="connsiteX3590" y="connsiteY3590"/>
                </a:cxn>
                <a:cxn ang="0">
                  <a:pos x="connsiteX3591" y="connsiteY3591"/>
                </a:cxn>
                <a:cxn ang="0">
                  <a:pos x="connsiteX3592" y="connsiteY3592"/>
                </a:cxn>
                <a:cxn ang="0">
                  <a:pos x="connsiteX3593" y="connsiteY3593"/>
                </a:cxn>
                <a:cxn ang="0">
                  <a:pos x="connsiteX3594" y="connsiteY3594"/>
                </a:cxn>
                <a:cxn ang="0">
                  <a:pos x="connsiteX3595" y="connsiteY3595"/>
                </a:cxn>
                <a:cxn ang="0">
                  <a:pos x="connsiteX3596" y="connsiteY3596"/>
                </a:cxn>
                <a:cxn ang="0">
                  <a:pos x="connsiteX3597" y="connsiteY3597"/>
                </a:cxn>
                <a:cxn ang="0">
                  <a:pos x="connsiteX3598" y="connsiteY3598"/>
                </a:cxn>
                <a:cxn ang="0">
                  <a:pos x="connsiteX3599" y="connsiteY3599"/>
                </a:cxn>
                <a:cxn ang="0">
                  <a:pos x="connsiteX3600" y="connsiteY3600"/>
                </a:cxn>
                <a:cxn ang="0">
                  <a:pos x="connsiteX3601" y="connsiteY3601"/>
                </a:cxn>
                <a:cxn ang="0">
                  <a:pos x="connsiteX3602" y="connsiteY3602"/>
                </a:cxn>
                <a:cxn ang="0">
                  <a:pos x="connsiteX3603" y="connsiteY3603"/>
                </a:cxn>
                <a:cxn ang="0">
                  <a:pos x="connsiteX3604" y="connsiteY3604"/>
                </a:cxn>
                <a:cxn ang="0">
                  <a:pos x="connsiteX3605" y="connsiteY3605"/>
                </a:cxn>
                <a:cxn ang="0">
                  <a:pos x="connsiteX3606" y="connsiteY3606"/>
                </a:cxn>
                <a:cxn ang="0">
                  <a:pos x="connsiteX3607" y="connsiteY3607"/>
                </a:cxn>
                <a:cxn ang="0">
                  <a:pos x="connsiteX3608" y="connsiteY3608"/>
                </a:cxn>
                <a:cxn ang="0">
                  <a:pos x="connsiteX3609" y="connsiteY3609"/>
                </a:cxn>
                <a:cxn ang="0">
                  <a:pos x="connsiteX3610" y="connsiteY3610"/>
                </a:cxn>
                <a:cxn ang="0">
                  <a:pos x="connsiteX3611" y="connsiteY3611"/>
                </a:cxn>
                <a:cxn ang="0">
                  <a:pos x="connsiteX3612" y="connsiteY3612"/>
                </a:cxn>
                <a:cxn ang="0">
                  <a:pos x="connsiteX3613" y="connsiteY3613"/>
                </a:cxn>
                <a:cxn ang="0">
                  <a:pos x="connsiteX3614" y="connsiteY3614"/>
                </a:cxn>
                <a:cxn ang="0">
                  <a:pos x="connsiteX3615" y="connsiteY3615"/>
                </a:cxn>
                <a:cxn ang="0">
                  <a:pos x="connsiteX3616" y="connsiteY3616"/>
                </a:cxn>
                <a:cxn ang="0">
                  <a:pos x="connsiteX3617" y="connsiteY3617"/>
                </a:cxn>
                <a:cxn ang="0">
                  <a:pos x="connsiteX3618" y="connsiteY3618"/>
                </a:cxn>
                <a:cxn ang="0">
                  <a:pos x="connsiteX3619" y="connsiteY3619"/>
                </a:cxn>
                <a:cxn ang="0">
                  <a:pos x="connsiteX3620" y="connsiteY3620"/>
                </a:cxn>
                <a:cxn ang="0">
                  <a:pos x="connsiteX3621" y="connsiteY3621"/>
                </a:cxn>
                <a:cxn ang="0">
                  <a:pos x="connsiteX3622" y="connsiteY3622"/>
                </a:cxn>
                <a:cxn ang="0">
                  <a:pos x="connsiteX3623" y="connsiteY3623"/>
                </a:cxn>
                <a:cxn ang="0">
                  <a:pos x="connsiteX3624" y="connsiteY3624"/>
                </a:cxn>
                <a:cxn ang="0">
                  <a:pos x="connsiteX3625" y="connsiteY3625"/>
                </a:cxn>
                <a:cxn ang="0">
                  <a:pos x="connsiteX3626" y="connsiteY3626"/>
                </a:cxn>
                <a:cxn ang="0">
                  <a:pos x="connsiteX3627" y="connsiteY3627"/>
                </a:cxn>
                <a:cxn ang="0">
                  <a:pos x="connsiteX3628" y="connsiteY3628"/>
                </a:cxn>
                <a:cxn ang="0">
                  <a:pos x="connsiteX3629" y="connsiteY3629"/>
                </a:cxn>
                <a:cxn ang="0">
                  <a:pos x="connsiteX3630" y="connsiteY3630"/>
                </a:cxn>
                <a:cxn ang="0">
                  <a:pos x="connsiteX3631" y="connsiteY3631"/>
                </a:cxn>
                <a:cxn ang="0">
                  <a:pos x="connsiteX3632" y="connsiteY3632"/>
                </a:cxn>
                <a:cxn ang="0">
                  <a:pos x="connsiteX3633" y="connsiteY3633"/>
                </a:cxn>
                <a:cxn ang="0">
                  <a:pos x="connsiteX3634" y="connsiteY3634"/>
                </a:cxn>
                <a:cxn ang="0">
                  <a:pos x="connsiteX3635" y="connsiteY3635"/>
                </a:cxn>
                <a:cxn ang="0">
                  <a:pos x="connsiteX3636" y="connsiteY3636"/>
                </a:cxn>
                <a:cxn ang="0">
                  <a:pos x="connsiteX3637" y="connsiteY3637"/>
                </a:cxn>
                <a:cxn ang="0">
                  <a:pos x="connsiteX3638" y="connsiteY3638"/>
                </a:cxn>
                <a:cxn ang="0">
                  <a:pos x="connsiteX3639" y="connsiteY3639"/>
                </a:cxn>
                <a:cxn ang="0">
                  <a:pos x="connsiteX3640" y="connsiteY3640"/>
                </a:cxn>
                <a:cxn ang="0">
                  <a:pos x="connsiteX3641" y="connsiteY3641"/>
                </a:cxn>
                <a:cxn ang="0">
                  <a:pos x="connsiteX3642" y="connsiteY3642"/>
                </a:cxn>
                <a:cxn ang="0">
                  <a:pos x="connsiteX3643" y="connsiteY3643"/>
                </a:cxn>
                <a:cxn ang="0">
                  <a:pos x="connsiteX3644" y="connsiteY3644"/>
                </a:cxn>
                <a:cxn ang="0">
                  <a:pos x="connsiteX3645" y="connsiteY3645"/>
                </a:cxn>
                <a:cxn ang="0">
                  <a:pos x="connsiteX3646" y="connsiteY3646"/>
                </a:cxn>
                <a:cxn ang="0">
                  <a:pos x="connsiteX3647" y="connsiteY3647"/>
                </a:cxn>
                <a:cxn ang="0">
                  <a:pos x="connsiteX3648" y="connsiteY3648"/>
                </a:cxn>
                <a:cxn ang="0">
                  <a:pos x="connsiteX3649" y="connsiteY3649"/>
                </a:cxn>
                <a:cxn ang="0">
                  <a:pos x="connsiteX3650" y="connsiteY3650"/>
                </a:cxn>
                <a:cxn ang="0">
                  <a:pos x="connsiteX3651" y="connsiteY3651"/>
                </a:cxn>
                <a:cxn ang="0">
                  <a:pos x="connsiteX3652" y="connsiteY3652"/>
                </a:cxn>
                <a:cxn ang="0">
                  <a:pos x="connsiteX3653" y="connsiteY3653"/>
                </a:cxn>
                <a:cxn ang="0">
                  <a:pos x="connsiteX3654" y="connsiteY3654"/>
                </a:cxn>
                <a:cxn ang="0">
                  <a:pos x="connsiteX3655" y="connsiteY3655"/>
                </a:cxn>
                <a:cxn ang="0">
                  <a:pos x="connsiteX3656" y="connsiteY3656"/>
                </a:cxn>
                <a:cxn ang="0">
                  <a:pos x="connsiteX3657" y="connsiteY3657"/>
                </a:cxn>
                <a:cxn ang="0">
                  <a:pos x="connsiteX3658" y="connsiteY3658"/>
                </a:cxn>
                <a:cxn ang="0">
                  <a:pos x="connsiteX3659" y="connsiteY3659"/>
                </a:cxn>
                <a:cxn ang="0">
                  <a:pos x="connsiteX3660" y="connsiteY3660"/>
                </a:cxn>
                <a:cxn ang="0">
                  <a:pos x="connsiteX3661" y="connsiteY3661"/>
                </a:cxn>
                <a:cxn ang="0">
                  <a:pos x="connsiteX3662" y="connsiteY3662"/>
                </a:cxn>
                <a:cxn ang="0">
                  <a:pos x="connsiteX3663" y="connsiteY3663"/>
                </a:cxn>
                <a:cxn ang="0">
                  <a:pos x="connsiteX3664" y="connsiteY3664"/>
                </a:cxn>
                <a:cxn ang="0">
                  <a:pos x="connsiteX3665" y="connsiteY3665"/>
                </a:cxn>
                <a:cxn ang="0">
                  <a:pos x="connsiteX3666" y="connsiteY3666"/>
                </a:cxn>
                <a:cxn ang="0">
                  <a:pos x="connsiteX3667" y="connsiteY3667"/>
                </a:cxn>
                <a:cxn ang="0">
                  <a:pos x="connsiteX3668" y="connsiteY3668"/>
                </a:cxn>
                <a:cxn ang="0">
                  <a:pos x="connsiteX3669" y="connsiteY3669"/>
                </a:cxn>
                <a:cxn ang="0">
                  <a:pos x="connsiteX3670" y="connsiteY3670"/>
                </a:cxn>
                <a:cxn ang="0">
                  <a:pos x="connsiteX3671" y="connsiteY3671"/>
                </a:cxn>
                <a:cxn ang="0">
                  <a:pos x="connsiteX3672" y="connsiteY3672"/>
                </a:cxn>
                <a:cxn ang="0">
                  <a:pos x="connsiteX3673" y="connsiteY3673"/>
                </a:cxn>
                <a:cxn ang="0">
                  <a:pos x="connsiteX3674" y="connsiteY3674"/>
                </a:cxn>
                <a:cxn ang="0">
                  <a:pos x="connsiteX3675" y="connsiteY3675"/>
                </a:cxn>
                <a:cxn ang="0">
                  <a:pos x="connsiteX3676" y="connsiteY3676"/>
                </a:cxn>
                <a:cxn ang="0">
                  <a:pos x="connsiteX3677" y="connsiteY3677"/>
                </a:cxn>
                <a:cxn ang="0">
                  <a:pos x="connsiteX3678" y="connsiteY3678"/>
                </a:cxn>
                <a:cxn ang="0">
                  <a:pos x="connsiteX3679" y="connsiteY3679"/>
                </a:cxn>
                <a:cxn ang="0">
                  <a:pos x="connsiteX3680" y="connsiteY3680"/>
                </a:cxn>
                <a:cxn ang="0">
                  <a:pos x="connsiteX3681" y="connsiteY3681"/>
                </a:cxn>
                <a:cxn ang="0">
                  <a:pos x="connsiteX3682" y="connsiteY3682"/>
                </a:cxn>
                <a:cxn ang="0">
                  <a:pos x="connsiteX3683" y="connsiteY3683"/>
                </a:cxn>
                <a:cxn ang="0">
                  <a:pos x="connsiteX3684" y="connsiteY3684"/>
                </a:cxn>
                <a:cxn ang="0">
                  <a:pos x="connsiteX3685" y="connsiteY3685"/>
                </a:cxn>
                <a:cxn ang="0">
                  <a:pos x="connsiteX3686" y="connsiteY3686"/>
                </a:cxn>
                <a:cxn ang="0">
                  <a:pos x="connsiteX3687" y="connsiteY3687"/>
                </a:cxn>
                <a:cxn ang="0">
                  <a:pos x="connsiteX3688" y="connsiteY3688"/>
                </a:cxn>
                <a:cxn ang="0">
                  <a:pos x="connsiteX3689" y="connsiteY3689"/>
                </a:cxn>
                <a:cxn ang="0">
                  <a:pos x="connsiteX3690" y="connsiteY3690"/>
                </a:cxn>
                <a:cxn ang="0">
                  <a:pos x="connsiteX3691" y="connsiteY3691"/>
                </a:cxn>
                <a:cxn ang="0">
                  <a:pos x="connsiteX3692" y="connsiteY3692"/>
                </a:cxn>
                <a:cxn ang="0">
                  <a:pos x="connsiteX3693" y="connsiteY3693"/>
                </a:cxn>
                <a:cxn ang="0">
                  <a:pos x="connsiteX3694" y="connsiteY3694"/>
                </a:cxn>
                <a:cxn ang="0">
                  <a:pos x="connsiteX3695" y="connsiteY3695"/>
                </a:cxn>
                <a:cxn ang="0">
                  <a:pos x="connsiteX3696" y="connsiteY3696"/>
                </a:cxn>
                <a:cxn ang="0">
                  <a:pos x="connsiteX3697" y="connsiteY3697"/>
                </a:cxn>
                <a:cxn ang="0">
                  <a:pos x="connsiteX3698" y="connsiteY3698"/>
                </a:cxn>
                <a:cxn ang="0">
                  <a:pos x="connsiteX3699" y="connsiteY3699"/>
                </a:cxn>
                <a:cxn ang="0">
                  <a:pos x="connsiteX3700" y="connsiteY3700"/>
                </a:cxn>
                <a:cxn ang="0">
                  <a:pos x="connsiteX3701" y="connsiteY3701"/>
                </a:cxn>
                <a:cxn ang="0">
                  <a:pos x="connsiteX3702" y="connsiteY3702"/>
                </a:cxn>
                <a:cxn ang="0">
                  <a:pos x="connsiteX3703" y="connsiteY3703"/>
                </a:cxn>
                <a:cxn ang="0">
                  <a:pos x="connsiteX3704" y="connsiteY3704"/>
                </a:cxn>
                <a:cxn ang="0">
                  <a:pos x="connsiteX3705" y="connsiteY3705"/>
                </a:cxn>
                <a:cxn ang="0">
                  <a:pos x="connsiteX3706" y="connsiteY3706"/>
                </a:cxn>
                <a:cxn ang="0">
                  <a:pos x="connsiteX3707" y="connsiteY3707"/>
                </a:cxn>
                <a:cxn ang="0">
                  <a:pos x="connsiteX3708" y="connsiteY3708"/>
                </a:cxn>
                <a:cxn ang="0">
                  <a:pos x="connsiteX3709" y="connsiteY3709"/>
                </a:cxn>
                <a:cxn ang="0">
                  <a:pos x="connsiteX3710" y="connsiteY3710"/>
                </a:cxn>
                <a:cxn ang="0">
                  <a:pos x="connsiteX3711" y="connsiteY3711"/>
                </a:cxn>
                <a:cxn ang="0">
                  <a:pos x="connsiteX3712" y="connsiteY3712"/>
                </a:cxn>
                <a:cxn ang="0">
                  <a:pos x="connsiteX3713" y="connsiteY3713"/>
                </a:cxn>
                <a:cxn ang="0">
                  <a:pos x="connsiteX3714" y="connsiteY3714"/>
                </a:cxn>
                <a:cxn ang="0">
                  <a:pos x="connsiteX3715" y="connsiteY3715"/>
                </a:cxn>
                <a:cxn ang="0">
                  <a:pos x="connsiteX3716" y="connsiteY3716"/>
                </a:cxn>
                <a:cxn ang="0">
                  <a:pos x="connsiteX3717" y="connsiteY3717"/>
                </a:cxn>
                <a:cxn ang="0">
                  <a:pos x="connsiteX3718" y="connsiteY3718"/>
                </a:cxn>
                <a:cxn ang="0">
                  <a:pos x="connsiteX3719" y="connsiteY3719"/>
                </a:cxn>
                <a:cxn ang="0">
                  <a:pos x="connsiteX3720" y="connsiteY3720"/>
                </a:cxn>
                <a:cxn ang="0">
                  <a:pos x="connsiteX3721" y="connsiteY3721"/>
                </a:cxn>
                <a:cxn ang="0">
                  <a:pos x="connsiteX3722" y="connsiteY3722"/>
                </a:cxn>
                <a:cxn ang="0">
                  <a:pos x="connsiteX3723" y="connsiteY3723"/>
                </a:cxn>
                <a:cxn ang="0">
                  <a:pos x="connsiteX3724" y="connsiteY3724"/>
                </a:cxn>
                <a:cxn ang="0">
                  <a:pos x="connsiteX3725" y="connsiteY3725"/>
                </a:cxn>
                <a:cxn ang="0">
                  <a:pos x="connsiteX3726" y="connsiteY3726"/>
                </a:cxn>
                <a:cxn ang="0">
                  <a:pos x="connsiteX3727" y="connsiteY3727"/>
                </a:cxn>
                <a:cxn ang="0">
                  <a:pos x="connsiteX3728" y="connsiteY3728"/>
                </a:cxn>
                <a:cxn ang="0">
                  <a:pos x="connsiteX3729" y="connsiteY3729"/>
                </a:cxn>
                <a:cxn ang="0">
                  <a:pos x="connsiteX3730" y="connsiteY3730"/>
                </a:cxn>
                <a:cxn ang="0">
                  <a:pos x="connsiteX3731" y="connsiteY3731"/>
                </a:cxn>
                <a:cxn ang="0">
                  <a:pos x="connsiteX3732" y="connsiteY3732"/>
                </a:cxn>
                <a:cxn ang="0">
                  <a:pos x="connsiteX3733" y="connsiteY3733"/>
                </a:cxn>
                <a:cxn ang="0">
                  <a:pos x="connsiteX3734" y="connsiteY3734"/>
                </a:cxn>
                <a:cxn ang="0">
                  <a:pos x="connsiteX3735" y="connsiteY3735"/>
                </a:cxn>
                <a:cxn ang="0">
                  <a:pos x="connsiteX3736" y="connsiteY3736"/>
                </a:cxn>
                <a:cxn ang="0">
                  <a:pos x="connsiteX3737" y="connsiteY3737"/>
                </a:cxn>
                <a:cxn ang="0">
                  <a:pos x="connsiteX3738" y="connsiteY3738"/>
                </a:cxn>
                <a:cxn ang="0">
                  <a:pos x="connsiteX3739" y="connsiteY3739"/>
                </a:cxn>
                <a:cxn ang="0">
                  <a:pos x="connsiteX3740" y="connsiteY3740"/>
                </a:cxn>
                <a:cxn ang="0">
                  <a:pos x="connsiteX3741" y="connsiteY3741"/>
                </a:cxn>
                <a:cxn ang="0">
                  <a:pos x="connsiteX3742" y="connsiteY3742"/>
                </a:cxn>
                <a:cxn ang="0">
                  <a:pos x="connsiteX3743" y="connsiteY3743"/>
                </a:cxn>
                <a:cxn ang="0">
                  <a:pos x="connsiteX3744" y="connsiteY3744"/>
                </a:cxn>
                <a:cxn ang="0">
                  <a:pos x="connsiteX3745" y="connsiteY3745"/>
                </a:cxn>
                <a:cxn ang="0">
                  <a:pos x="connsiteX3746" y="connsiteY3746"/>
                </a:cxn>
                <a:cxn ang="0">
                  <a:pos x="connsiteX3747" y="connsiteY3747"/>
                </a:cxn>
                <a:cxn ang="0">
                  <a:pos x="connsiteX3748" y="connsiteY3748"/>
                </a:cxn>
                <a:cxn ang="0">
                  <a:pos x="connsiteX3749" y="connsiteY3749"/>
                </a:cxn>
                <a:cxn ang="0">
                  <a:pos x="connsiteX3750" y="connsiteY3750"/>
                </a:cxn>
                <a:cxn ang="0">
                  <a:pos x="connsiteX3751" y="connsiteY3751"/>
                </a:cxn>
                <a:cxn ang="0">
                  <a:pos x="connsiteX3752" y="connsiteY3752"/>
                </a:cxn>
                <a:cxn ang="0">
                  <a:pos x="connsiteX3753" y="connsiteY3753"/>
                </a:cxn>
                <a:cxn ang="0">
                  <a:pos x="connsiteX3754" y="connsiteY3754"/>
                </a:cxn>
                <a:cxn ang="0">
                  <a:pos x="connsiteX3755" y="connsiteY3755"/>
                </a:cxn>
                <a:cxn ang="0">
                  <a:pos x="connsiteX3756" y="connsiteY3756"/>
                </a:cxn>
                <a:cxn ang="0">
                  <a:pos x="connsiteX3757" y="connsiteY3757"/>
                </a:cxn>
                <a:cxn ang="0">
                  <a:pos x="connsiteX3758" y="connsiteY3758"/>
                </a:cxn>
                <a:cxn ang="0">
                  <a:pos x="connsiteX3759" y="connsiteY3759"/>
                </a:cxn>
                <a:cxn ang="0">
                  <a:pos x="connsiteX3760" y="connsiteY3760"/>
                </a:cxn>
                <a:cxn ang="0">
                  <a:pos x="connsiteX3761" y="connsiteY3761"/>
                </a:cxn>
                <a:cxn ang="0">
                  <a:pos x="connsiteX3762" y="connsiteY3762"/>
                </a:cxn>
                <a:cxn ang="0">
                  <a:pos x="connsiteX3763" y="connsiteY3763"/>
                </a:cxn>
                <a:cxn ang="0">
                  <a:pos x="connsiteX3764" y="connsiteY3764"/>
                </a:cxn>
                <a:cxn ang="0">
                  <a:pos x="connsiteX3765" y="connsiteY3765"/>
                </a:cxn>
                <a:cxn ang="0">
                  <a:pos x="connsiteX3766" y="connsiteY3766"/>
                </a:cxn>
                <a:cxn ang="0">
                  <a:pos x="connsiteX3767" y="connsiteY3767"/>
                </a:cxn>
                <a:cxn ang="0">
                  <a:pos x="connsiteX3768" y="connsiteY3768"/>
                </a:cxn>
                <a:cxn ang="0">
                  <a:pos x="connsiteX3769" y="connsiteY3769"/>
                </a:cxn>
                <a:cxn ang="0">
                  <a:pos x="connsiteX3770" y="connsiteY3770"/>
                </a:cxn>
                <a:cxn ang="0">
                  <a:pos x="connsiteX3771" y="connsiteY3771"/>
                </a:cxn>
                <a:cxn ang="0">
                  <a:pos x="connsiteX3772" y="connsiteY3772"/>
                </a:cxn>
                <a:cxn ang="0">
                  <a:pos x="connsiteX3773" y="connsiteY3773"/>
                </a:cxn>
                <a:cxn ang="0">
                  <a:pos x="connsiteX3774" y="connsiteY3774"/>
                </a:cxn>
                <a:cxn ang="0">
                  <a:pos x="connsiteX3775" y="connsiteY3775"/>
                </a:cxn>
                <a:cxn ang="0">
                  <a:pos x="connsiteX3776" y="connsiteY3776"/>
                </a:cxn>
                <a:cxn ang="0">
                  <a:pos x="connsiteX3777" y="connsiteY3777"/>
                </a:cxn>
                <a:cxn ang="0">
                  <a:pos x="connsiteX3778" y="connsiteY3778"/>
                </a:cxn>
                <a:cxn ang="0">
                  <a:pos x="connsiteX3779" y="connsiteY3779"/>
                </a:cxn>
                <a:cxn ang="0">
                  <a:pos x="connsiteX3780" y="connsiteY3780"/>
                </a:cxn>
                <a:cxn ang="0">
                  <a:pos x="connsiteX3781" y="connsiteY3781"/>
                </a:cxn>
                <a:cxn ang="0">
                  <a:pos x="connsiteX3782" y="connsiteY3782"/>
                </a:cxn>
                <a:cxn ang="0">
                  <a:pos x="connsiteX3783" y="connsiteY3783"/>
                </a:cxn>
                <a:cxn ang="0">
                  <a:pos x="connsiteX3784" y="connsiteY3784"/>
                </a:cxn>
                <a:cxn ang="0">
                  <a:pos x="connsiteX3785" y="connsiteY3785"/>
                </a:cxn>
                <a:cxn ang="0">
                  <a:pos x="connsiteX3786" y="connsiteY3786"/>
                </a:cxn>
                <a:cxn ang="0">
                  <a:pos x="connsiteX3787" y="connsiteY3787"/>
                </a:cxn>
                <a:cxn ang="0">
                  <a:pos x="connsiteX3788" y="connsiteY3788"/>
                </a:cxn>
                <a:cxn ang="0">
                  <a:pos x="connsiteX3789" y="connsiteY3789"/>
                </a:cxn>
                <a:cxn ang="0">
                  <a:pos x="connsiteX3790" y="connsiteY3790"/>
                </a:cxn>
                <a:cxn ang="0">
                  <a:pos x="connsiteX3791" y="connsiteY3791"/>
                </a:cxn>
                <a:cxn ang="0">
                  <a:pos x="connsiteX3792" y="connsiteY3792"/>
                </a:cxn>
                <a:cxn ang="0">
                  <a:pos x="connsiteX3793" y="connsiteY3793"/>
                </a:cxn>
                <a:cxn ang="0">
                  <a:pos x="connsiteX3794" y="connsiteY3794"/>
                </a:cxn>
                <a:cxn ang="0">
                  <a:pos x="connsiteX3795" y="connsiteY3795"/>
                </a:cxn>
                <a:cxn ang="0">
                  <a:pos x="connsiteX3796" y="connsiteY3796"/>
                </a:cxn>
                <a:cxn ang="0">
                  <a:pos x="connsiteX3797" y="connsiteY3797"/>
                </a:cxn>
                <a:cxn ang="0">
                  <a:pos x="connsiteX3798" y="connsiteY3798"/>
                </a:cxn>
                <a:cxn ang="0">
                  <a:pos x="connsiteX3799" y="connsiteY3799"/>
                </a:cxn>
                <a:cxn ang="0">
                  <a:pos x="connsiteX3800" y="connsiteY3800"/>
                </a:cxn>
                <a:cxn ang="0">
                  <a:pos x="connsiteX3801" y="connsiteY3801"/>
                </a:cxn>
                <a:cxn ang="0">
                  <a:pos x="connsiteX3802" y="connsiteY3802"/>
                </a:cxn>
                <a:cxn ang="0">
                  <a:pos x="connsiteX3803" y="connsiteY3803"/>
                </a:cxn>
                <a:cxn ang="0">
                  <a:pos x="connsiteX3804" y="connsiteY3804"/>
                </a:cxn>
                <a:cxn ang="0">
                  <a:pos x="connsiteX3805" y="connsiteY3805"/>
                </a:cxn>
                <a:cxn ang="0">
                  <a:pos x="connsiteX3806" y="connsiteY3806"/>
                </a:cxn>
                <a:cxn ang="0">
                  <a:pos x="connsiteX3807" y="connsiteY3807"/>
                </a:cxn>
                <a:cxn ang="0">
                  <a:pos x="connsiteX3808" y="connsiteY3808"/>
                </a:cxn>
                <a:cxn ang="0">
                  <a:pos x="connsiteX3809" y="connsiteY3809"/>
                </a:cxn>
                <a:cxn ang="0">
                  <a:pos x="connsiteX3810" y="connsiteY3810"/>
                </a:cxn>
                <a:cxn ang="0">
                  <a:pos x="connsiteX3811" y="connsiteY3811"/>
                </a:cxn>
                <a:cxn ang="0">
                  <a:pos x="connsiteX3812" y="connsiteY3812"/>
                </a:cxn>
                <a:cxn ang="0">
                  <a:pos x="connsiteX3813" y="connsiteY3813"/>
                </a:cxn>
                <a:cxn ang="0">
                  <a:pos x="connsiteX3814" y="connsiteY3814"/>
                </a:cxn>
                <a:cxn ang="0">
                  <a:pos x="connsiteX3815" y="connsiteY3815"/>
                </a:cxn>
                <a:cxn ang="0">
                  <a:pos x="connsiteX3816" y="connsiteY3816"/>
                </a:cxn>
                <a:cxn ang="0">
                  <a:pos x="connsiteX3817" y="connsiteY3817"/>
                </a:cxn>
                <a:cxn ang="0">
                  <a:pos x="connsiteX3818" y="connsiteY3818"/>
                </a:cxn>
                <a:cxn ang="0">
                  <a:pos x="connsiteX3819" y="connsiteY3819"/>
                </a:cxn>
                <a:cxn ang="0">
                  <a:pos x="connsiteX3820" y="connsiteY3820"/>
                </a:cxn>
                <a:cxn ang="0">
                  <a:pos x="connsiteX3821" y="connsiteY3821"/>
                </a:cxn>
                <a:cxn ang="0">
                  <a:pos x="connsiteX3822" y="connsiteY3822"/>
                </a:cxn>
                <a:cxn ang="0">
                  <a:pos x="connsiteX3823" y="connsiteY3823"/>
                </a:cxn>
                <a:cxn ang="0">
                  <a:pos x="connsiteX3824" y="connsiteY3824"/>
                </a:cxn>
                <a:cxn ang="0">
                  <a:pos x="connsiteX3825" y="connsiteY3825"/>
                </a:cxn>
                <a:cxn ang="0">
                  <a:pos x="connsiteX3826" y="connsiteY3826"/>
                </a:cxn>
                <a:cxn ang="0">
                  <a:pos x="connsiteX3827" y="connsiteY3827"/>
                </a:cxn>
                <a:cxn ang="0">
                  <a:pos x="connsiteX3828" y="connsiteY3828"/>
                </a:cxn>
                <a:cxn ang="0">
                  <a:pos x="connsiteX3829" y="connsiteY3829"/>
                </a:cxn>
                <a:cxn ang="0">
                  <a:pos x="connsiteX3830" y="connsiteY3830"/>
                </a:cxn>
                <a:cxn ang="0">
                  <a:pos x="connsiteX3831" y="connsiteY3831"/>
                </a:cxn>
                <a:cxn ang="0">
                  <a:pos x="connsiteX3832" y="connsiteY3832"/>
                </a:cxn>
                <a:cxn ang="0">
                  <a:pos x="connsiteX3833" y="connsiteY3833"/>
                </a:cxn>
                <a:cxn ang="0">
                  <a:pos x="connsiteX3834" y="connsiteY3834"/>
                </a:cxn>
                <a:cxn ang="0">
                  <a:pos x="connsiteX3835" y="connsiteY3835"/>
                </a:cxn>
                <a:cxn ang="0">
                  <a:pos x="connsiteX3836" y="connsiteY3836"/>
                </a:cxn>
                <a:cxn ang="0">
                  <a:pos x="connsiteX3837" y="connsiteY3837"/>
                </a:cxn>
                <a:cxn ang="0">
                  <a:pos x="connsiteX3838" y="connsiteY3838"/>
                </a:cxn>
                <a:cxn ang="0">
                  <a:pos x="connsiteX3839" y="connsiteY3839"/>
                </a:cxn>
                <a:cxn ang="0">
                  <a:pos x="connsiteX3840" y="connsiteY3840"/>
                </a:cxn>
                <a:cxn ang="0">
                  <a:pos x="connsiteX3841" y="connsiteY3841"/>
                </a:cxn>
                <a:cxn ang="0">
                  <a:pos x="connsiteX3842" y="connsiteY3842"/>
                </a:cxn>
                <a:cxn ang="0">
                  <a:pos x="connsiteX3843" y="connsiteY3843"/>
                </a:cxn>
                <a:cxn ang="0">
                  <a:pos x="connsiteX3844" y="connsiteY3844"/>
                </a:cxn>
                <a:cxn ang="0">
                  <a:pos x="connsiteX3845" y="connsiteY3845"/>
                </a:cxn>
                <a:cxn ang="0">
                  <a:pos x="connsiteX3846" y="connsiteY3846"/>
                </a:cxn>
                <a:cxn ang="0">
                  <a:pos x="connsiteX3847" y="connsiteY3847"/>
                </a:cxn>
                <a:cxn ang="0">
                  <a:pos x="connsiteX3848" y="connsiteY3848"/>
                </a:cxn>
                <a:cxn ang="0">
                  <a:pos x="connsiteX3849" y="connsiteY3849"/>
                </a:cxn>
                <a:cxn ang="0">
                  <a:pos x="connsiteX3850" y="connsiteY3850"/>
                </a:cxn>
                <a:cxn ang="0">
                  <a:pos x="connsiteX3851" y="connsiteY3851"/>
                </a:cxn>
                <a:cxn ang="0">
                  <a:pos x="connsiteX3852" y="connsiteY3852"/>
                </a:cxn>
                <a:cxn ang="0">
                  <a:pos x="connsiteX3853" y="connsiteY3853"/>
                </a:cxn>
                <a:cxn ang="0">
                  <a:pos x="connsiteX3854" y="connsiteY3854"/>
                </a:cxn>
                <a:cxn ang="0">
                  <a:pos x="connsiteX3855" y="connsiteY3855"/>
                </a:cxn>
                <a:cxn ang="0">
                  <a:pos x="connsiteX3856" y="connsiteY3856"/>
                </a:cxn>
                <a:cxn ang="0">
                  <a:pos x="connsiteX3857" y="connsiteY3857"/>
                </a:cxn>
                <a:cxn ang="0">
                  <a:pos x="connsiteX3858" y="connsiteY3858"/>
                </a:cxn>
                <a:cxn ang="0">
                  <a:pos x="connsiteX3859" y="connsiteY3859"/>
                </a:cxn>
                <a:cxn ang="0">
                  <a:pos x="connsiteX3860" y="connsiteY3860"/>
                </a:cxn>
                <a:cxn ang="0">
                  <a:pos x="connsiteX3861" y="connsiteY3861"/>
                </a:cxn>
                <a:cxn ang="0">
                  <a:pos x="connsiteX3862" y="connsiteY3862"/>
                </a:cxn>
                <a:cxn ang="0">
                  <a:pos x="connsiteX3863" y="connsiteY3863"/>
                </a:cxn>
                <a:cxn ang="0">
                  <a:pos x="connsiteX3864" y="connsiteY3864"/>
                </a:cxn>
                <a:cxn ang="0">
                  <a:pos x="connsiteX3865" y="connsiteY3865"/>
                </a:cxn>
                <a:cxn ang="0">
                  <a:pos x="connsiteX3866" y="connsiteY3866"/>
                </a:cxn>
                <a:cxn ang="0">
                  <a:pos x="connsiteX3867" y="connsiteY3867"/>
                </a:cxn>
                <a:cxn ang="0">
                  <a:pos x="connsiteX3868" y="connsiteY3868"/>
                </a:cxn>
                <a:cxn ang="0">
                  <a:pos x="connsiteX3869" y="connsiteY3869"/>
                </a:cxn>
                <a:cxn ang="0">
                  <a:pos x="connsiteX3870" y="connsiteY3870"/>
                </a:cxn>
                <a:cxn ang="0">
                  <a:pos x="connsiteX3871" y="connsiteY3871"/>
                </a:cxn>
                <a:cxn ang="0">
                  <a:pos x="connsiteX3872" y="connsiteY3872"/>
                </a:cxn>
                <a:cxn ang="0">
                  <a:pos x="connsiteX3873" y="connsiteY3873"/>
                </a:cxn>
                <a:cxn ang="0">
                  <a:pos x="connsiteX3874" y="connsiteY3874"/>
                </a:cxn>
                <a:cxn ang="0">
                  <a:pos x="connsiteX3875" y="connsiteY3875"/>
                </a:cxn>
                <a:cxn ang="0">
                  <a:pos x="connsiteX3876" y="connsiteY3876"/>
                </a:cxn>
                <a:cxn ang="0">
                  <a:pos x="connsiteX3877" y="connsiteY3877"/>
                </a:cxn>
                <a:cxn ang="0">
                  <a:pos x="connsiteX3878" y="connsiteY3878"/>
                </a:cxn>
                <a:cxn ang="0">
                  <a:pos x="connsiteX3879" y="connsiteY3879"/>
                </a:cxn>
                <a:cxn ang="0">
                  <a:pos x="connsiteX3880" y="connsiteY3880"/>
                </a:cxn>
                <a:cxn ang="0">
                  <a:pos x="connsiteX3881" y="connsiteY3881"/>
                </a:cxn>
                <a:cxn ang="0">
                  <a:pos x="connsiteX3882" y="connsiteY3882"/>
                </a:cxn>
                <a:cxn ang="0">
                  <a:pos x="connsiteX3883" y="connsiteY3883"/>
                </a:cxn>
                <a:cxn ang="0">
                  <a:pos x="connsiteX3884" y="connsiteY3884"/>
                </a:cxn>
                <a:cxn ang="0">
                  <a:pos x="connsiteX3885" y="connsiteY3885"/>
                </a:cxn>
                <a:cxn ang="0">
                  <a:pos x="connsiteX3886" y="connsiteY3886"/>
                </a:cxn>
                <a:cxn ang="0">
                  <a:pos x="connsiteX3887" y="connsiteY3887"/>
                </a:cxn>
                <a:cxn ang="0">
                  <a:pos x="connsiteX3888" y="connsiteY3888"/>
                </a:cxn>
                <a:cxn ang="0">
                  <a:pos x="connsiteX3889" y="connsiteY3889"/>
                </a:cxn>
                <a:cxn ang="0">
                  <a:pos x="connsiteX3890" y="connsiteY3890"/>
                </a:cxn>
                <a:cxn ang="0">
                  <a:pos x="connsiteX3891" y="connsiteY3891"/>
                </a:cxn>
                <a:cxn ang="0">
                  <a:pos x="connsiteX3892" y="connsiteY3892"/>
                </a:cxn>
                <a:cxn ang="0">
                  <a:pos x="connsiteX3893" y="connsiteY3893"/>
                </a:cxn>
                <a:cxn ang="0">
                  <a:pos x="connsiteX3894" y="connsiteY3894"/>
                </a:cxn>
                <a:cxn ang="0">
                  <a:pos x="connsiteX3895" y="connsiteY3895"/>
                </a:cxn>
                <a:cxn ang="0">
                  <a:pos x="connsiteX3896" y="connsiteY3896"/>
                </a:cxn>
                <a:cxn ang="0">
                  <a:pos x="connsiteX3897" y="connsiteY3897"/>
                </a:cxn>
                <a:cxn ang="0">
                  <a:pos x="connsiteX3898" y="connsiteY3898"/>
                </a:cxn>
                <a:cxn ang="0">
                  <a:pos x="connsiteX3899" y="connsiteY3899"/>
                </a:cxn>
                <a:cxn ang="0">
                  <a:pos x="connsiteX3900" y="connsiteY3900"/>
                </a:cxn>
                <a:cxn ang="0">
                  <a:pos x="connsiteX3901" y="connsiteY3901"/>
                </a:cxn>
                <a:cxn ang="0">
                  <a:pos x="connsiteX3902" y="connsiteY3902"/>
                </a:cxn>
                <a:cxn ang="0">
                  <a:pos x="connsiteX3903" y="connsiteY3903"/>
                </a:cxn>
                <a:cxn ang="0">
                  <a:pos x="connsiteX3904" y="connsiteY3904"/>
                </a:cxn>
                <a:cxn ang="0">
                  <a:pos x="connsiteX3905" y="connsiteY3905"/>
                </a:cxn>
                <a:cxn ang="0">
                  <a:pos x="connsiteX3906" y="connsiteY3906"/>
                </a:cxn>
                <a:cxn ang="0">
                  <a:pos x="connsiteX3907" y="connsiteY3907"/>
                </a:cxn>
                <a:cxn ang="0">
                  <a:pos x="connsiteX3908" y="connsiteY3908"/>
                </a:cxn>
                <a:cxn ang="0">
                  <a:pos x="connsiteX3909" y="connsiteY3909"/>
                </a:cxn>
                <a:cxn ang="0">
                  <a:pos x="connsiteX3910" y="connsiteY3910"/>
                </a:cxn>
                <a:cxn ang="0">
                  <a:pos x="connsiteX3911" y="connsiteY3911"/>
                </a:cxn>
                <a:cxn ang="0">
                  <a:pos x="connsiteX3912" y="connsiteY3912"/>
                </a:cxn>
                <a:cxn ang="0">
                  <a:pos x="connsiteX3913" y="connsiteY3913"/>
                </a:cxn>
                <a:cxn ang="0">
                  <a:pos x="connsiteX3914" y="connsiteY3914"/>
                </a:cxn>
                <a:cxn ang="0">
                  <a:pos x="connsiteX3915" y="connsiteY3915"/>
                </a:cxn>
                <a:cxn ang="0">
                  <a:pos x="connsiteX3916" y="connsiteY3916"/>
                </a:cxn>
                <a:cxn ang="0">
                  <a:pos x="connsiteX3917" y="connsiteY3917"/>
                </a:cxn>
                <a:cxn ang="0">
                  <a:pos x="connsiteX3918" y="connsiteY3918"/>
                </a:cxn>
                <a:cxn ang="0">
                  <a:pos x="connsiteX3919" y="connsiteY3919"/>
                </a:cxn>
                <a:cxn ang="0">
                  <a:pos x="connsiteX3920" y="connsiteY3920"/>
                </a:cxn>
                <a:cxn ang="0">
                  <a:pos x="connsiteX3921" y="connsiteY3921"/>
                </a:cxn>
                <a:cxn ang="0">
                  <a:pos x="connsiteX3922" y="connsiteY3922"/>
                </a:cxn>
                <a:cxn ang="0">
                  <a:pos x="connsiteX3923" y="connsiteY3923"/>
                </a:cxn>
                <a:cxn ang="0">
                  <a:pos x="connsiteX3924" y="connsiteY3924"/>
                </a:cxn>
                <a:cxn ang="0">
                  <a:pos x="connsiteX3925" y="connsiteY3925"/>
                </a:cxn>
                <a:cxn ang="0">
                  <a:pos x="connsiteX3926" y="connsiteY3926"/>
                </a:cxn>
                <a:cxn ang="0">
                  <a:pos x="connsiteX3927" y="connsiteY3927"/>
                </a:cxn>
                <a:cxn ang="0">
                  <a:pos x="connsiteX3928" y="connsiteY3928"/>
                </a:cxn>
                <a:cxn ang="0">
                  <a:pos x="connsiteX3929" y="connsiteY3929"/>
                </a:cxn>
                <a:cxn ang="0">
                  <a:pos x="connsiteX3930" y="connsiteY3930"/>
                </a:cxn>
                <a:cxn ang="0">
                  <a:pos x="connsiteX3931" y="connsiteY3931"/>
                </a:cxn>
                <a:cxn ang="0">
                  <a:pos x="connsiteX3932" y="connsiteY3932"/>
                </a:cxn>
                <a:cxn ang="0">
                  <a:pos x="connsiteX3933" y="connsiteY3933"/>
                </a:cxn>
                <a:cxn ang="0">
                  <a:pos x="connsiteX3934" y="connsiteY3934"/>
                </a:cxn>
                <a:cxn ang="0">
                  <a:pos x="connsiteX3935" y="connsiteY3935"/>
                </a:cxn>
                <a:cxn ang="0">
                  <a:pos x="connsiteX3936" y="connsiteY3936"/>
                </a:cxn>
                <a:cxn ang="0">
                  <a:pos x="connsiteX3937" y="connsiteY3937"/>
                </a:cxn>
                <a:cxn ang="0">
                  <a:pos x="connsiteX3938" y="connsiteY3938"/>
                </a:cxn>
                <a:cxn ang="0">
                  <a:pos x="connsiteX3939" y="connsiteY3939"/>
                </a:cxn>
                <a:cxn ang="0">
                  <a:pos x="connsiteX3940" y="connsiteY3940"/>
                </a:cxn>
                <a:cxn ang="0">
                  <a:pos x="connsiteX3941" y="connsiteY3941"/>
                </a:cxn>
                <a:cxn ang="0">
                  <a:pos x="connsiteX3942" y="connsiteY3942"/>
                </a:cxn>
                <a:cxn ang="0">
                  <a:pos x="connsiteX3943" y="connsiteY3943"/>
                </a:cxn>
                <a:cxn ang="0">
                  <a:pos x="connsiteX3944" y="connsiteY3944"/>
                </a:cxn>
                <a:cxn ang="0">
                  <a:pos x="connsiteX3945" y="connsiteY3945"/>
                </a:cxn>
                <a:cxn ang="0">
                  <a:pos x="connsiteX3946" y="connsiteY3946"/>
                </a:cxn>
                <a:cxn ang="0">
                  <a:pos x="connsiteX3947" y="connsiteY3947"/>
                </a:cxn>
                <a:cxn ang="0">
                  <a:pos x="connsiteX3948" y="connsiteY3948"/>
                </a:cxn>
                <a:cxn ang="0">
                  <a:pos x="connsiteX3949" y="connsiteY3949"/>
                </a:cxn>
                <a:cxn ang="0">
                  <a:pos x="connsiteX3950" y="connsiteY3950"/>
                </a:cxn>
                <a:cxn ang="0">
                  <a:pos x="connsiteX3951" y="connsiteY3951"/>
                </a:cxn>
                <a:cxn ang="0">
                  <a:pos x="connsiteX3952" y="connsiteY3952"/>
                </a:cxn>
                <a:cxn ang="0">
                  <a:pos x="connsiteX3953" y="connsiteY3953"/>
                </a:cxn>
                <a:cxn ang="0">
                  <a:pos x="connsiteX3954" y="connsiteY3954"/>
                </a:cxn>
                <a:cxn ang="0">
                  <a:pos x="connsiteX3955" y="connsiteY3955"/>
                </a:cxn>
                <a:cxn ang="0">
                  <a:pos x="connsiteX3956" y="connsiteY3956"/>
                </a:cxn>
                <a:cxn ang="0">
                  <a:pos x="connsiteX3957" y="connsiteY3957"/>
                </a:cxn>
                <a:cxn ang="0">
                  <a:pos x="connsiteX3958" y="connsiteY3958"/>
                </a:cxn>
                <a:cxn ang="0">
                  <a:pos x="connsiteX3959" y="connsiteY3959"/>
                </a:cxn>
                <a:cxn ang="0">
                  <a:pos x="connsiteX3960" y="connsiteY3960"/>
                </a:cxn>
                <a:cxn ang="0">
                  <a:pos x="connsiteX3961" y="connsiteY3961"/>
                </a:cxn>
                <a:cxn ang="0">
                  <a:pos x="connsiteX3962" y="connsiteY3962"/>
                </a:cxn>
                <a:cxn ang="0">
                  <a:pos x="connsiteX3963" y="connsiteY3963"/>
                </a:cxn>
                <a:cxn ang="0">
                  <a:pos x="connsiteX3964" y="connsiteY3964"/>
                </a:cxn>
                <a:cxn ang="0">
                  <a:pos x="connsiteX3965" y="connsiteY3965"/>
                </a:cxn>
                <a:cxn ang="0">
                  <a:pos x="connsiteX3966" y="connsiteY3966"/>
                </a:cxn>
                <a:cxn ang="0">
                  <a:pos x="connsiteX3967" y="connsiteY3967"/>
                </a:cxn>
                <a:cxn ang="0">
                  <a:pos x="connsiteX3968" y="connsiteY3968"/>
                </a:cxn>
                <a:cxn ang="0">
                  <a:pos x="connsiteX3969" y="connsiteY3969"/>
                </a:cxn>
                <a:cxn ang="0">
                  <a:pos x="connsiteX3970" y="connsiteY3970"/>
                </a:cxn>
                <a:cxn ang="0">
                  <a:pos x="connsiteX3971" y="connsiteY3971"/>
                </a:cxn>
                <a:cxn ang="0">
                  <a:pos x="connsiteX3972" y="connsiteY3972"/>
                </a:cxn>
                <a:cxn ang="0">
                  <a:pos x="connsiteX3973" y="connsiteY3973"/>
                </a:cxn>
                <a:cxn ang="0">
                  <a:pos x="connsiteX3974" y="connsiteY3974"/>
                </a:cxn>
                <a:cxn ang="0">
                  <a:pos x="connsiteX3975" y="connsiteY3975"/>
                </a:cxn>
                <a:cxn ang="0">
                  <a:pos x="connsiteX3976" y="connsiteY3976"/>
                </a:cxn>
                <a:cxn ang="0">
                  <a:pos x="connsiteX3977" y="connsiteY3977"/>
                </a:cxn>
                <a:cxn ang="0">
                  <a:pos x="connsiteX3978" y="connsiteY3978"/>
                </a:cxn>
                <a:cxn ang="0">
                  <a:pos x="connsiteX3979" y="connsiteY3979"/>
                </a:cxn>
                <a:cxn ang="0">
                  <a:pos x="connsiteX3980" y="connsiteY3980"/>
                </a:cxn>
                <a:cxn ang="0">
                  <a:pos x="connsiteX3981" y="connsiteY3981"/>
                </a:cxn>
                <a:cxn ang="0">
                  <a:pos x="connsiteX3982" y="connsiteY3982"/>
                </a:cxn>
                <a:cxn ang="0">
                  <a:pos x="connsiteX3983" y="connsiteY3983"/>
                </a:cxn>
                <a:cxn ang="0">
                  <a:pos x="connsiteX3984" y="connsiteY3984"/>
                </a:cxn>
                <a:cxn ang="0">
                  <a:pos x="connsiteX3985" y="connsiteY3985"/>
                </a:cxn>
                <a:cxn ang="0">
                  <a:pos x="connsiteX3986" y="connsiteY3986"/>
                </a:cxn>
                <a:cxn ang="0">
                  <a:pos x="connsiteX3987" y="connsiteY3987"/>
                </a:cxn>
                <a:cxn ang="0">
                  <a:pos x="connsiteX3988" y="connsiteY3988"/>
                </a:cxn>
                <a:cxn ang="0">
                  <a:pos x="connsiteX3989" y="connsiteY3989"/>
                </a:cxn>
                <a:cxn ang="0">
                  <a:pos x="connsiteX3990" y="connsiteY3990"/>
                </a:cxn>
                <a:cxn ang="0">
                  <a:pos x="connsiteX3991" y="connsiteY3991"/>
                </a:cxn>
                <a:cxn ang="0">
                  <a:pos x="connsiteX3992" y="connsiteY3992"/>
                </a:cxn>
                <a:cxn ang="0">
                  <a:pos x="connsiteX3993" y="connsiteY3993"/>
                </a:cxn>
                <a:cxn ang="0">
                  <a:pos x="connsiteX3994" y="connsiteY3994"/>
                </a:cxn>
                <a:cxn ang="0">
                  <a:pos x="connsiteX3995" y="connsiteY3995"/>
                </a:cxn>
                <a:cxn ang="0">
                  <a:pos x="connsiteX3996" y="connsiteY3996"/>
                </a:cxn>
                <a:cxn ang="0">
                  <a:pos x="connsiteX3997" y="connsiteY3997"/>
                </a:cxn>
                <a:cxn ang="0">
                  <a:pos x="connsiteX3998" y="connsiteY3998"/>
                </a:cxn>
                <a:cxn ang="0">
                  <a:pos x="connsiteX3999" y="connsiteY3999"/>
                </a:cxn>
                <a:cxn ang="0">
                  <a:pos x="connsiteX4000" y="connsiteY4000"/>
                </a:cxn>
                <a:cxn ang="0">
                  <a:pos x="connsiteX4001" y="connsiteY4001"/>
                </a:cxn>
                <a:cxn ang="0">
                  <a:pos x="connsiteX4002" y="connsiteY4002"/>
                </a:cxn>
                <a:cxn ang="0">
                  <a:pos x="connsiteX4003" y="connsiteY4003"/>
                </a:cxn>
                <a:cxn ang="0">
                  <a:pos x="connsiteX4004" y="connsiteY4004"/>
                </a:cxn>
                <a:cxn ang="0">
                  <a:pos x="connsiteX4005" y="connsiteY4005"/>
                </a:cxn>
                <a:cxn ang="0">
                  <a:pos x="connsiteX4006" y="connsiteY4006"/>
                </a:cxn>
                <a:cxn ang="0">
                  <a:pos x="connsiteX4007" y="connsiteY4007"/>
                </a:cxn>
                <a:cxn ang="0">
                  <a:pos x="connsiteX4008" y="connsiteY4008"/>
                </a:cxn>
                <a:cxn ang="0">
                  <a:pos x="connsiteX4009" y="connsiteY4009"/>
                </a:cxn>
                <a:cxn ang="0">
                  <a:pos x="connsiteX4010" y="connsiteY4010"/>
                </a:cxn>
                <a:cxn ang="0">
                  <a:pos x="connsiteX4011" y="connsiteY4011"/>
                </a:cxn>
                <a:cxn ang="0">
                  <a:pos x="connsiteX4012" y="connsiteY4012"/>
                </a:cxn>
                <a:cxn ang="0">
                  <a:pos x="connsiteX4013" y="connsiteY4013"/>
                </a:cxn>
                <a:cxn ang="0">
                  <a:pos x="connsiteX4014" y="connsiteY4014"/>
                </a:cxn>
                <a:cxn ang="0">
                  <a:pos x="connsiteX4015" y="connsiteY4015"/>
                </a:cxn>
                <a:cxn ang="0">
                  <a:pos x="connsiteX4016" y="connsiteY4016"/>
                </a:cxn>
                <a:cxn ang="0">
                  <a:pos x="connsiteX4017" y="connsiteY4017"/>
                </a:cxn>
                <a:cxn ang="0">
                  <a:pos x="connsiteX4018" y="connsiteY4018"/>
                </a:cxn>
                <a:cxn ang="0">
                  <a:pos x="connsiteX4019" y="connsiteY4019"/>
                </a:cxn>
                <a:cxn ang="0">
                  <a:pos x="connsiteX4020" y="connsiteY4020"/>
                </a:cxn>
                <a:cxn ang="0">
                  <a:pos x="connsiteX4021" y="connsiteY4021"/>
                </a:cxn>
                <a:cxn ang="0">
                  <a:pos x="connsiteX4022" y="connsiteY4022"/>
                </a:cxn>
                <a:cxn ang="0">
                  <a:pos x="connsiteX4023" y="connsiteY4023"/>
                </a:cxn>
                <a:cxn ang="0">
                  <a:pos x="connsiteX4024" y="connsiteY4024"/>
                </a:cxn>
                <a:cxn ang="0">
                  <a:pos x="connsiteX4025" y="connsiteY4025"/>
                </a:cxn>
                <a:cxn ang="0">
                  <a:pos x="connsiteX4026" y="connsiteY4026"/>
                </a:cxn>
                <a:cxn ang="0">
                  <a:pos x="connsiteX4027" y="connsiteY4027"/>
                </a:cxn>
                <a:cxn ang="0">
                  <a:pos x="connsiteX4028" y="connsiteY4028"/>
                </a:cxn>
                <a:cxn ang="0">
                  <a:pos x="connsiteX4029" y="connsiteY4029"/>
                </a:cxn>
                <a:cxn ang="0">
                  <a:pos x="connsiteX4030" y="connsiteY4030"/>
                </a:cxn>
                <a:cxn ang="0">
                  <a:pos x="connsiteX4031" y="connsiteY4031"/>
                </a:cxn>
                <a:cxn ang="0">
                  <a:pos x="connsiteX4032" y="connsiteY4032"/>
                </a:cxn>
                <a:cxn ang="0">
                  <a:pos x="connsiteX4033" y="connsiteY4033"/>
                </a:cxn>
                <a:cxn ang="0">
                  <a:pos x="connsiteX4034" y="connsiteY4034"/>
                </a:cxn>
                <a:cxn ang="0">
                  <a:pos x="connsiteX4035" y="connsiteY4035"/>
                </a:cxn>
                <a:cxn ang="0">
                  <a:pos x="connsiteX4036" y="connsiteY4036"/>
                </a:cxn>
                <a:cxn ang="0">
                  <a:pos x="connsiteX4037" y="connsiteY4037"/>
                </a:cxn>
                <a:cxn ang="0">
                  <a:pos x="connsiteX4038" y="connsiteY4038"/>
                </a:cxn>
                <a:cxn ang="0">
                  <a:pos x="connsiteX4039" y="connsiteY4039"/>
                </a:cxn>
                <a:cxn ang="0">
                  <a:pos x="connsiteX4040" y="connsiteY4040"/>
                </a:cxn>
                <a:cxn ang="0">
                  <a:pos x="connsiteX4041" y="connsiteY4041"/>
                </a:cxn>
                <a:cxn ang="0">
                  <a:pos x="connsiteX4042" y="connsiteY4042"/>
                </a:cxn>
                <a:cxn ang="0">
                  <a:pos x="connsiteX4043" y="connsiteY4043"/>
                </a:cxn>
                <a:cxn ang="0">
                  <a:pos x="connsiteX4044" y="connsiteY4044"/>
                </a:cxn>
                <a:cxn ang="0">
                  <a:pos x="connsiteX4045" y="connsiteY4045"/>
                </a:cxn>
                <a:cxn ang="0">
                  <a:pos x="connsiteX4046" y="connsiteY4046"/>
                </a:cxn>
                <a:cxn ang="0">
                  <a:pos x="connsiteX4047" y="connsiteY4047"/>
                </a:cxn>
                <a:cxn ang="0">
                  <a:pos x="connsiteX4048" y="connsiteY4048"/>
                </a:cxn>
                <a:cxn ang="0">
                  <a:pos x="connsiteX4049" y="connsiteY4049"/>
                </a:cxn>
                <a:cxn ang="0">
                  <a:pos x="connsiteX4050" y="connsiteY4050"/>
                </a:cxn>
                <a:cxn ang="0">
                  <a:pos x="connsiteX4051" y="connsiteY4051"/>
                </a:cxn>
                <a:cxn ang="0">
                  <a:pos x="connsiteX4052" y="connsiteY4052"/>
                </a:cxn>
                <a:cxn ang="0">
                  <a:pos x="connsiteX4053" y="connsiteY4053"/>
                </a:cxn>
                <a:cxn ang="0">
                  <a:pos x="connsiteX4054" y="connsiteY4054"/>
                </a:cxn>
                <a:cxn ang="0">
                  <a:pos x="connsiteX4055" y="connsiteY4055"/>
                </a:cxn>
                <a:cxn ang="0">
                  <a:pos x="connsiteX4056" y="connsiteY4056"/>
                </a:cxn>
                <a:cxn ang="0">
                  <a:pos x="connsiteX4057" y="connsiteY4057"/>
                </a:cxn>
                <a:cxn ang="0">
                  <a:pos x="connsiteX4058" y="connsiteY4058"/>
                </a:cxn>
                <a:cxn ang="0">
                  <a:pos x="connsiteX4059" y="connsiteY4059"/>
                </a:cxn>
                <a:cxn ang="0">
                  <a:pos x="connsiteX4060" y="connsiteY4060"/>
                </a:cxn>
                <a:cxn ang="0">
                  <a:pos x="connsiteX4061" y="connsiteY4061"/>
                </a:cxn>
                <a:cxn ang="0">
                  <a:pos x="connsiteX4062" y="connsiteY4062"/>
                </a:cxn>
                <a:cxn ang="0">
                  <a:pos x="connsiteX4063" y="connsiteY4063"/>
                </a:cxn>
                <a:cxn ang="0">
                  <a:pos x="connsiteX4064" y="connsiteY4064"/>
                </a:cxn>
                <a:cxn ang="0">
                  <a:pos x="connsiteX4065" y="connsiteY4065"/>
                </a:cxn>
                <a:cxn ang="0">
                  <a:pos x="connsiteX4066" y="connsiteY4066"/>
                </a:cxn>
                <a:cxn ang="0">
                  <a:pos x="connsiteX4067" y="connsiteY4067"/>
                </a:cxn>
                <a:cxn ang="0">
                  <a:pos x="connsiteX4068" y="connsiteY4068"/>
                </a:cxn>
                <a:cxn ang="0">
                  <a:pos x="connsiteX4069" y="connsiteY4069"/>
                </a:cxn>
                <a:cxn ang="0">
                  <a:pos x="connsiteX4070" y="connsiteY4070"/>
                </a:cxn>
                <a:cxn ang="0">
                  <a:pos x="connsiteX4071" y="connsiteY4071"/>
                </a:cxn>
                <a:cxn ang="0">
                  <a:pos x="connsiteX4072" y="connsiteY4072"/>
                </a:cxn>
                <a:cxn ang="0">
                  <a:pos x="connsiteX4073" y="connsiteY4073"/>
                </a:cxn>
                <a:cxn ang="0">
                  <a:pos x="connsiteX4074" y="connsiteY4074"/>
                </a:cxn>
                <a:cxn ang="0">
                  <a:pos x="connsiteX4075" y="connsiteY4075"/>
                </a:cxn>
                <a:cxn ang="0">
                  <a:pos x="connsiteX4076" y="connsiteY4076"/>
                </a:cxn>
                <a:cxn ang="0">
                  <a:pos x="connsiteX4077" y="connsiteY4077"/>
                </a:cxn>
                <a:cxn ang="0">
                  <a:pos x="connsiteX4078" y="connsiteY4078"/>
                </a:cxn>
                <a:cxn ang="0">
                  <a:pos x="connsiteX4079" y="connsiteY4079"/>
                </a:cxn>
                <a:cxn ang="0">
                  <a:pos x="connsiteX4080" y="connsiteY4080"/>
                </a:cxn>
                <a:cxn ang="0">
                  <a:pos x="connsiteX4081" y="connsiteY4081"/>
                </a:cxn>
                <a:cxn ang="0">
                  <a:pos x="connsiteX4082" y="connsiteY4082"/>
                </a:cxn>
                <a:cxn ang="0">
                  <a:pos x="connsiteX4083" y="connsiteY4083"/>
                </a:cxn>
                <a:cxn ang="0">
                  <a:pos x="connsiteX4084" y="connsiteY4084"/>
                </a:cxn>
                <a:cxn ang="0">
                  <a:pos x="connsiteX4085" y="connsiteY4085"/>
                </a:cxn>
                <a:cxn ang="0">
                  <a:pos x="connsiteX4086" y="connsiteY4086"/>
                </a:cxn>
                <a:cxn ang="0">
                  <a:pos x="connsiteX4087" y="connsiteY4087"/>
                </a:cxn>
                <a:cxn ang="0">
                  <a:pos x="connsiteX4088" y="connsiteY4088"/>
                </a:cxn>
                <a:cxn ang="0">
                  <a:pos x="connsiteX4089" y="connsiteY4089"/>
                </a:cxn>
                <a:cxn ang="0">
                  <a:pos x="connsiteX4090" y="connsiteY4090"/>
                </a:cxn>
                <a:cxn ang="0">
                  <a:pos x="connsiteX4091" y="connsiteY4091"/>
                </a:cxn>
                <a:cxn ang="0">
                  <a:pos x="connsiteX4092" y="connsiteY4092"/>
                </a:cxn>
                <a:cxn ang="0">
                  <a:pos x="connsiteX4093" y="connsiteY4093"/>
                </a:cxn>
                <a:cxn ang="0">
                  <a:pos x="connsiteX4094" y="connsiteY4094"/>
                </a:cxn>
                <a:cxn ang="0">
                  <a:pos x="connsiteX4095" y="connsiteY4095"/>
                </a:cxn>
                <a:cxn ang="0">
                  <a:pos x="connsiteX4096" y="connsiteY4096"/>
                </a:cxn>
                <a:cxn ang="0">
                  <a:pos x="connsiteX4097" y="connsiteY4097"/>
                </a:cxn>
                <a:cxn ang="0">
                  <a:pos x="connsiteX4098" y="connsiteY4098"/>
                </a:cxn>
                <a:cxn ang="0">
                  <a:pos x="connsiteX4099" y="connsiteY4099"/>
                </a:cxn>
                <a:cxn ang="0">
                  <a:pos x="connsiteX4100" y="connsiteY4100"/>
                </a:cxn>
                <a:cxn ang="0">
                  <a:pos x="connsiteX4101" y="connsiteY4101"/>
                </a:cxn>
                <a:cxn ang="0">
                  <a:pos x="connsiteX4102" y="connsiteY4102"/>
                </a:cxn>
                <a:cxn ang="0">
                  <a:pos x="connsiteX4103" y="connsiteY4103"/>
                </a:cxn>
                <a:cxn ang="0">
                  <a:pos x="connsiteX4104" y="connsiteY4104"/>
                </a:cxn>
                <a:cxn ang="0">
                  <a:pos x="connsiteX4105" y="connsiteY4105"/>
                </a:cxn>
                <a:cxn ang="0">
                  <a:pos x="connsiteX4106" y="connsiteY4106"/>
                </a:cxn>
                <a:cxn ang="0">
                  <a:pos x="connsiteX4107" y="connsiteY4107"/>
                </a:cxn>
                <a:cxn ang="0">
                  <a:pos x="connsiteX4108" y="connsiteY4108"/>
                </a:cxn>
                <a:cxn ang="0">
                  <a:pos x="connsiteX4109" y="connsiteY4109"/>
                </a:cxn>
                <a:cxn ang="0">
                  <a:pos x="connsiteX4110" y="connsiteY4110"/>
                </a:cxn>
                <a:cxn ang="0">
                  <a:pos x="connsiteX4111" y="connsiteY4111"/>
                </a:cxn>
                <a:cxn ang="0">
                  <a:pos x="connsiteX4112" y="connsiteY4112"/>
                </a:cxn>
                <a:cxn ang="0">
                  <a:pos x="connsiteX4113" y="connsiteY4113"/>
                </a:cxn>
                <a:cxn ang="0">
                  <a:pos x="connsiteX4114" y="connsiteY4114"/>
                </a:cxn>
                <a:cxn ang="0">
                  <a:pos x="connsiteX4115" y="connsiteY4115"/>
                </a:cxn>
                <a:cxn ang="0">
                  <a:pos x="connsiteX4116" y="connsiteY4116"/>
                </a:cxn>
                <a:cxn ang="0">
                  <a:pos x="connsiteX4117" y="connsiteY4117"/>
                </a:cxn>
                <a:cxn ang="0">
                  <a:pos x="connsiteX4118" y="connsiteY4118"/>
                </a:cxn>
                <a:cxn ang="0">
                  <a:pos x="connsiteX4119" y="connsiteY4119"/>
                </a:cxn>
                <a:cxn ang="0">
                  <a:pos x="connsiteX4120" y="connsiteY4120"/>
                </a:cxn>
                <a:cxn ang="0">
                  <a:pos x="connsiteX4121" y="connsiteY4121"/>
                </a:cxn>
                <a:cxn ang="0">
                  <a:pos x="connsiteX4122" y="connsiteY4122"/>
                </a:cxn>
                <a:cxn ang="0">
                  <a:pos x="connsiteX4123" y="connsiteY4123"/>
                </a:cxn>
                <a:cxn ang="0">
                  <a:pos x="connsiteX4124" y="connsiteY4124"/>
                </a:cxn>
                <a:cxn ang="0">
                  <a:pos x="connsiteX4125" y="connsiteY4125"/>
                </a:cxn>
                <a:cxn ang="0">
                  <a:pos x="connsiteX4126" y="connsiteY4126"/>
                </a:cxn>
                <a:cxn ang="0">
                  <a:pos x="connsiteX4127" y="connsiteY4127"/>
                </a:cxn>
                <a:cxn ang="0">
                  <a:pos x="connsiteX4128" y="connsiteY4128"/>
                </a:cxn>
                <a:cxn ang="0">
                  <a:pos x="connsiteX4129" y="connsiteY4129"/>
                </a:cxn>
                <a:cxn ang="0">
                  <a:pos x="connsiteX4130" y="connsiteY4130"/>
                </a:cxn>
                <a:cxn ang="0">
                  <a:pos x="connsiteX4131" y="connsiteY4131"/>
                </a:cxn>
                <a:cxn ang="0">
                  <a:pos x="connsiteX4132" y="connsiteY4132"/>
                </a:cxn>
                <a:cxn ang="0">
                  <a:pos x="connsiteX4133" y="connsiteY4133"/>
                </a:cxn>
                <a:cxn ang="0">
                  <a:pos x="connsiteX4134" y="connsiteY4134"/>
                </a:cxn>
                <a:cxn ang="0">
                  <a:pos x="connsiteX4135" y="connsiteY4135"/>
                </a:cxn>
                <a:cxn ang="0">
                  <a:pos x="connsiteX4136" y="connsiteY4136"/>
                </a:cxn>
                <a:cxn ang="0">
                  <a:pos x="connsiteX4137" y="connsiteY4137"/>
                </a:cxn>
                <a:cxn ang="0">
                  <a:pos x="connsiteX4138" y="connsiteY4138"/>
                </a:cxn>
                <a:cxn ang="0">
                  <a:pos x="connsiteX4139" y="connsiteY4139"/>
                </a:cxn>
                <a:cxn ang="0">
                  <a:pos x="connsiteX4140" y="connsiteY4140"/>
                </a:cxn>
                <a:cxn ang="0">
                  <a:pos x="connsiteX4141" y="connsiteY4141"/>
                </a:cxn>
                <a:cxn ang="0">
                  <a:pos x="connsiteX4142" y="connsiteY4142"/>
                </a:cxn>
                <a:cxn ang="0">
                  <a:pos x="connsiteX4143" y="connsiteY4143"/>
                </a:cxn>
                <a:cxn ang="0">
                  <a:pos x="connsiteX4144" y="connsiteY4144"/>
                </a:cxn>
                <a:cxn ang="0">
                  <a:pos x="connsiteX4145" y="connsiteY4145"/>
                </a:cxn>
                <a:cxn ang="0">
                  <a:pos x="connsiteX4146" y="connsiteY4146"/>
                </a:cxn>
                <a:cxn ang="0">
                  <a:pos x="connsiteX4147" y="connsiteY4147"/>
                </a:cxn>
                <a:cxn ang="0">
                  <a:pos x="connsiteX4148" y="connsiteY4148"/>
                </a:cxn>
                <a:cxn ang="0">
                  <a:pos x="connsiteX4149" y="connsiteY4149"/>
                </a:cxn>
                <a:cxn ang="0">
                  <a:pos x="connsiteX4150" y="connsiteY4150"/>
                </a:cxn>
                <a:cxn ang="0">
                  <a:pos x="connsiteX4151" y="connsiteY4151"/>
                </a:cxn>
                <a:cxn ang="0">
                  <a:pos x="connsiteX4152" y="connsiteY4152"/>
                </a:cxn>
                <a:cxn ang="0">
                  <a:pos x="connsiteX4153" y="connsiteY4153"/>
                </a:cxn>
                <a:cxn ang="0">
                  <a:pos x="connsiteX4154" y="connsiteY4154"/>
                </a:cxn>
                <a:cxn ang="0">
                  <a:pos x="connsiteX4155" y="connsiteY4155"/>
                </a:cxn>
                <a:cxn ang="0">
                  <a:pos x="connsiteX4156" y="connsiteY4156"/>
                </a:cxn>
                <a:cxn ang="0">
                  <a:pos x="connsiteX4157" y="connsiteY4157"/>
                </a:cxn>
                <a:cxn ang="0">
                  <a:pos x="connsiteX4158" y="connsiteY4158"/>
                </a:cxn>
                <a:cxn ang="0">
                  <a:pos x="connsiteX4159" y="connsiteY4159"/>
                </a:cxn>
                <a:cxn ang="0">
                  <a:pos x="connsiteX4160" y="connsiteY4160"/>
                </a:cxn>
                <a:cxn ang="0">
                  <a:pos x="connsiteX4161" y="connsiteY4161"/>
                </a:cxn>
                <a:cxn ang="0">
                  <a:pos x="connsiteX4162" y="connsiteY4162"/>
                </a:cxn>
                <a:cxn ang="0">
                  <a:pos x="connsiteX4163" y="connsiteY4163"/>
                </a:cxn>
                <a:cxn ang="0">
                  <a:pos x="connsiteX4164" y="connsiteY4164"/>
                </a:cxn>
                <a:cxn ang="0">
                  <a:pos x="connsiteX4165" y="connsiteY4165"/>
                </a:cxn>
                <a:cxn ang="0">
                  <a:pos x="connsiteX4166" y="connsiteY4166"/>
                </a:cxn>
                <a:cxn ang="0">
                  <a:pos x="connsiteX4167" y="connsiteY4167"/>
                </a:cxn>
                <a:cxn ang="0">
                  <a:pos x="connsiteX4168" y="connsiteY4168"/>
                </a:cxn>
                <a:cxn ang="0">
                  <a:pos x="connsiteX4169" y="connsiteY4169"/>
                </a:cxn>
                <a:cxn ang="0">
                  <a:pos x="connsiteX4170" y="connsiteY4170"/>
                </a:cxn>
                <a:cxn ang="0">
                  <a:pos x="connsiteX4171" y="connsiteY4171"/>
                </a:cxn>
                <a:cxn ang="0">
                  <a:pos x="connsiteX4172" y="connsiteY4172"/>
                </a:cxn>
                <a:cxn ang="0">
                  <a:pos x="connsiteX4173" y="connsiteY4173"/>
                </a:cxn>
                <a:cxn ang="0">
                  <a:pos x="connsiteX4174" y="connsiteY4174"/>
                </a:cxn>
                <a:cxn ang="0">
                  <a:pos x="connsiteX4175" y="connsiteY4175"/>
                </a:cxn>
                <a:cxn ang="0">
                  <a:pos x="connsiteX4176" y="connsiteY4176"/>
                </a:cxn>
                <a:cxn ang="0">
                  <a:pos x="connsiteX4177" y="connsiteY4177"/>
                </a:cxn>
                <a:cxn ang="0">
                  <a:pos x="connsiteX4178" y="connsiteY4178"/>
                </a:cxn>
                <a:cxn ang="0">
                  <a:pos x="connsiteX4179" y="connsiteY4179"/>
                </a:cxn>
                <a:cxn ang="0">
                  <a:pos x="connsiteX4180" y="connsiteY4180"/>
                </a:cxn>
                <a:cxn ang="0">
                  <a:pos x="connsiteX4181" y="connsiteY4181"/>
                </a:cxn>
                <a:cxn ang="0">
                  <a:pos x="connsiteX4182" y="connsiteY4182"/>
                </a:cxn>
                <a:cxn ang="0">
                  <a:pos x="connsiteX4183" y="connsiteY4183"/>
                </a:cxn>
                <a:cxn ang="0">
                  <a:pos x="connsiteX4184" y="connsiteY4184"/>
                </a:cxn>
                <a:cxn ang="0">
                  <a:pos x="connsiteX4185" y="connsiteY4185"/>
                </a:cxn>
                <a:cxn ang="0">
                  <a:pos x="connsiteX4186" y="connsiteY4186"/>
                </a:cxn>
                <a:cxn ang="0">
                  <a:pos x="connsiteX4187" y="connsiteY4187"/>
                </a:cxn>
                <a:cxn ang="0">
                  <a:pos x="connsiteX4188" y="connsiteY4188"/>
                </a:cxn>
                <a:cxn ang="0">
                  <a:pos x="connsiteX4189" y="connsiteY4189"/>
                </a:cxn>
                <a:cxn ang="0">
                  <a:pos x="connsiteX4190" y="connsiteY4190"/>
                </a:cxn>
                <a:cxn ang="0">
                  <a:pos x="connsiteX4191" y="connsiteY4191"/>
                </a:cxn>
                <a:cxn ang="0">
                  <a:pos x="connsiteX4192" y="connsiteY4192"/>
                </a:cxn>
                <a:cxn ang="0">
                  <a:pos x="connsiteX4193" y="connsiteY4193"/>
                </a:cxn>
                <a:cxn ang="0">
                  <a:pos x="connsiteX4194" y="connsiteY4194"/>
                </a:cxn>
                <a:cxn ang="0">
                  <a:pos x="connsiteX4195" y="connsiteY4195"/>
                </a:cxn>
                <a:cxn ang="0">
                  <a:pos x="connsiteX4196" y="connsiteY4196"/>
                </a:cxn>
                <a:cxn ang="0">
                  <a:pos x="connsiteX4197" y="connsiteY4197"/>
                </a:cxn>
                <a:cxn ang="0">
                  <a:pos x="connsiteX4198" y="connsiteY4198"/>
                </a:cxn>
                <a:cxn ang="0">
                  <a:pos x="connsiteX4199" y="connsiteY4199"/>
                </a:cxn>
                <a:cxn ang="0">
                  <a:pos x="connsiteX4200" y="connsiteY4200"/>
                </a:cxn>
                <a:cxn ang="0">
                  <a:pos x="connsiteX4201" y="connsiteY4201"/>
                </a:cxn>
                <a:cxn ang="0">
                  <a:pos x="connsiteX4202" y="connsiteY4202"/>
                </a:cxn>
                <a:cxn ang="0">
                  <a:pos x="connsiteX4203" y="connsiteY4203"/>
                </a:cxn>
                <a:cxn ang="0">
                  <a:pos x="connsiteX4204" y="connsiteY4204"/>
                </a:cxn>
                <a:cxn ang="0">
                  <a:pos x="connsiteX4205" y="connsiteY4205"/>
                </a:cxn>
                <a:cxn ang="0">
                  <a:pos x="connsiteX4206" y="connsiteY4206"/>
                </a:cxn>
                <a:cxn ang="0">
                  <a:pos x="connsiteX4207" y="connsiteY4207"/>
                </a:cxn>
                <a:cxn ang="0">
                  <a:pos x="connsiteX4208" y="connsiteY4208"/>
                </a:cxn>
                <a:cxn ang="0">
                  <a:pos x="connsiteX4209" y="connsiteY4209"/>
                </a:cxn>
                <a:cxn ang="0">
                  <a:pos x="connsiteX4210" y="connsiteY4210"/>
                </a:cxn>
                <a:cxn ang="0">
                  <a:pos x="connsiteX4211" y="connsiteY4211"/>
                </a:cxn>
                <a:cxn ang="0">
                  <a:pos x="connsiteX4212" y="connsiteY4212"/>
                </a:cxn>
                <a:cxn ang="0">
                  <a:pos x="connsiteX4213" y="connsiteY4213"/>
                </a:cxn>
                <a:cxn ang="0">
                  <a:pos x="connsiteX4214" y="connsiteY4214"/>
                </a:cxn>
                <a:cxn ang="0">
                  <a:pos x="connsiteX4215" y="connsiteY4215"/>
                </a:cxn>
                <a:cxn ang="0">
                  <a:pos x="connsiteX4216" y="connsiteY4216"/>
                </a:cxn>
                <a:cxn ang="0">
                  <a:pos x="connsiteX4217" y="connsiteY4217"/>
                </a:cxn>
                <a:cxn ang="0">
                  <a:pos x="connsiteX4218" y="connsiteY4218"/>
                </a:cxn>
                <a:cxn ang="0">
                  <a:pos x="connsiteX4219" y="connsiteY4219"/>
                </a:cxn>
                <a:cxn ang="0">
                  <a:pos x="connsiteX4220" y="connsiteY4220"/>
                </a:cxn>
                <a:cxn ang="0">
                  <a:pos x="connsiteX4221" y="connsiteY4221"/>
                </a:cxn>
                <a:cxn ang="0">
                  <a:pos x="connsiteX4222" y="connsiteY4222"/>
                </a:cxn>
                <a:cxn ang="0">
                  <a:pos x="connsiteX4223" y="connsiteY4223"/>
                </a:cxn>
                <a:cxn ang="0">
                  <a:pos x="connsiteX4224" y="connsiteY4224"/>
                </a:cxn>
                <a:cxn ang="0">
                  <a:pos x="connsiteX4225" y="connsiteY4225"/>
                </a:cxn>
                <a:cxn ang="0">
                  <a:pos x="connsiteX4226" y="connsiteY4226"/>
                </a:cxn>
                <a:cxn ang="0">
                  <a:pos x="connsiteX4227" y="connsiteY4227"/>
                </a:cxn>
                <a:cxn ang="0">
                  <a:pos x="connsiteX4228" y="connsiteY4228"/>
                </a:cxn>
                <a:cxn ang="0">
                  <a:pos x="connsiteX4229" y="connsiteY4229"/>
                </a:cxn>
                <a:cxn ang="0">
                  <a:pos x="connsiteX4230" y="connsiteY4230"/>
                </a:cxn>
                <a:cxn ang="0">
                  <a:pos x="connsiteX4231" y="connsiteY4231"/>
                </a:cxn>
                <a:cxn ang="0">
                  <a:pos x="connsiteX4232" y="connsiteY4232"/>
                </a:cxn>
                <a:cxn ang="0">
                  <a:pos x="connsiteX4233" y="connsiteY4233"/>
                </a:cxn>
                <a:cxn ang="0">
                  <a:pos x="connsiteX4234" y="connsiteY4234"/>
                </a:cxn>
                <a:cxn ang="0">
                  <a:pos x="connsiteX4235" y="connsiteY4235"/>
                </a:cxn>
                <a:cxn ang="0">
                  <a:pos x="connsiteX4236" y="connsiteY4236"/>
                </a:cxn>
                <a:cxn ang="0">
                  <a:pos x="connsiteX4237" y="connsiteY4237"/>
                </a:cxn>
                <a:cxn ang="0">
                  <a:pos x="connsiteX4238" y="connsiteY4238"/>
                </a:cxn>
                <a:cxn ang="0">
                  <a:pos x="connsiteX4239" y="connsiteY4239"/>
                </a:cxn>
                <a:cxn ang="0">
                  <a:pos x="connsiteX4240" y="connsiteY4240"/>
                </a:cxn>
                <a:cxn ang="0">
                  <a:pos x="connsiteX4241" y="connsiteY4241"/>
                </a:cxn>
                <a:cxn ang="0">
                  <a:pos x="connsiteX4242" y="connsiteY4242"/>
                </a:cxn>
                <a:cxn ang="0">
                  <a:pos x="connsiteX4243" y="connsiteY4243"/>
                </a:cxn>
                <a:cxn ang="0">
                  <a:pos x="connsiteX4244" y="connsiteY4244"/>
                </a:cxn>
                <a:cxn ang="0">
                  <a:pos x="connsiteX4245" y="connsiteY4245"/>
                </a:cxn>
                <a:cxn ang="0">
                  <a:pos x="connsiteX4246" y="connsiteY4246"/>
                </a:cxn>
                <a:cxn ang="0">
                  <a:pos x="connsiteX4247" y="connsiteY4247"/>
                </a:cxn>
                <a:cxn ang="0">
                  <a:pos x="connsiteX4248" y="connsiteY4248"/>
                </a:cxn>
                <a:cxn ang="0">
                  <a:pos x="connsiteX4249" y="connsiteY4249"/>
                </a:cxn>
                <a:cxn ang="0">
                  <a:pos x="connsiteX4250" y="connsiteY4250"/>
                </a:cxn>
                <a:cxn ang="0">
                  <a:pos x="connsiteX4251" y="connsiteY4251"/>
                </a:cxn>
                <a:cxn ang="0">
                  <a:pos x="connsiteX4252" y="connsiteY4252"/>
                </a:cxn>
                <a:cxn ang="0">
                  <a:pos x="connsiteX4253" y="connsiteY4253"/>
                </a:cxn>
                <a:cxn ang="0">
                  <a:pos x="connsiteX4254" y="connsiteY4254"/>
                </a:cxn>
                <a:cxn ang="0">
                  <a:pos x="connsiteX4255" y="connsiteY4255"/>
                </a:cxn>
                <a:cxn ang="0">
                  <a:pos x="connsiteX4256" y="connsiteY4256"/>
                </a:cxn>
                <a:cxn ang="0">
                  <a:pos x="connsiteX4257" y="connsiteY4257"/>
                </a:cxn>
                <a:cxn ang="0">
                  <a:pos x="connsiteX4258" y="connsiteY4258"/>
                </a:cxn>
                <a:cxn ang="0">
                  <a:pos x="connsiteX4259" y="connsiteY4259"/>
                </a:cxn>
                <a:cxn ang="0">
                  <a:pos x="connsiteX4260" y="connsiteY4260"/>
                </a:cxn>
                <a:cxn ang="0">
                  <a:pos x="connsiteX4261" y="connsiteY4261"/>
                </a:cxn>
                <a:cxn ang="0">
                  <a:pos x="connsiteX4262" y="connsiteY4262"/>
                </a:cxn>
                <a:cxn ang="0">
                  <a:pos x="connsiteX4263" y="connsiteY4263"/>
                </a:cxn>
                <a:cxn ang="0">
                  <a:pos x="connsiteX4264" y="connsiteY4264"/>
                </a:cxn>
                <a:cxn ang="0">
                  <a:pos x="connsiteX4265" y="connsiteY4265"/>
                </a:cxn>
                <a:cxn ang="0">
                  <a:pos x="connsiteX4266" y="connsiteY4266"/>
                </a:cxn>
                <a:cxn ang="0">
                  <a:pos x="connsiteX4267" y="connsiteY4267"/>
                </a:cxn>
                <a:cxn ang="0">
                  <a:pos x="connsiteX4268" y="connsiteY4268"/>
                </a:cxn>
                <a:cxn ang="0">
                  <a:pos x="connsiteX4269" y="connsiteY4269"/>
                </a:cxn>
                <a:cxn ang="0">
                  <a:pos x="connsiteX4270" y="connsiteY4270"/>
                </a:cxn>
                <a:cxn ang="0">
                  <a:pos x="connsiteX4271" y="connsiteY4271"/>
                </a:cxn>
                <a:cxn ang="0">
                  <a:pos x="connsiteX4272" y="connsiteY4272"/>
                </a:cxn>
                <a:cxn ang="0">
                  <a:pos x="connsiteX4273" y="connsiteY4273"/>
                </a:cxn>
                <a:cxn ang="0">
                  <a:pos x="connsiteX4274" y="connsiteY4274"/>
                </a:cxn>
                <a:cxn ang="0">
                  <a:pos x="connsiteX4275" y="connsiteY4275"/>
                </a:cxn>
                <a:cxn ang="0">
                  <a:pos x="connsiteX4276" y="connsiteY4276"/>
                </a:cxn>
                <a:cxn ang="0">
                  <a:pos x="connsiteX4277" y="connsiteY4277"/>
                </a:cxn>
                <a:cxn ang="0">
                  <a:pos x="connsiteX4278" y="connsiteY4278"/>
                </a:cxn>
                <a:cxn ang="0">
                  <a:pos x="connsiteX4279" y="connsiteY4279"/>
                </a:cxn>
                <a:cxn ang="0">
                  <a:pos x="connsiteX4280" y="connsiteY4280"/>
                </a:cxn>
                <a:cxn ang="0">
                  <a:pos x="connsiteX4281" y="connsiteY4281"/>
                </a:cxn>
                <a:cxn ang="0">
                  <a:pos x="connsiteX4282" y="connsiteY4282"/>
                </a:cxn>
                <a:cxn ang="0">
                  <a:pos x="connsiteX4283" y="connsiteY4283"/>
                </a:cxn>
                <a:cxn ang="0">
                  <a:pos x="connsiteX4284" y="connsiteY4284"/>
                </a:cxn>
                <a:cxn ang="0">
                  <a:pos x="connsiteX4285" y="connsiteY4285"/>
                </a:cxn>
                <a:cxn ang="0">
                  <a:pos x="connsiteX4286" y="connsiteY4286"/>
                </a:cxn>
                <a:cxn ang="0">
                  <a:pos x="connsiteX4287" y="connsiteY4287"/>
                </a:cxn>
                <a:cxn ang="0">
                  <a:pos x="connsiteX4288" y="connsiteY4288"/>
                </a:cxn>
                <a:cxn ang="0">
                  <a:pos x="connsiteX4289" y="connsiteY4289"/>
                </a:cxn>
                <a:cxn ang="0">
                  <a:pos x="connsiteX4290" y="connsiteY4290"/>
                </a:cxn>
                <a:cxn ang="0">
                  <a:pos x="connsiteX4291" y="connsiteY4291"/>
                </a:cxn>
                <a:cxn ang="0">
                  <a:pos x="connsiteX4292" y="connsiteY4292"/>
                </a:cxn>
                <a:cxn ang="0">
                  <a:pos x="connsiteX4293" y="connsiteY4293"/>
                </a:cxn>
                <a:cxn ang="0">
                  <a:pos x="connsiteX4294" y="connsiteY4294"/>
                </a:cxn>
                <a:cxn ang="0">
                  <a:pos x="connsiteX4295" y="connsiteY4295"/>
                </a:cxn>
                <a:cxn ang="0">
                  <a:pos x="connsiteX4296" y="connsiteY4296"/>
                </a:cxn>
                <a:cxn ang="0">
                  <a:pos x="connsiteX4297" y="connsiteY4297"/>
                </a:cxn>
                <a:cxn ang="0">
                  <a:pos x="connsiteX4298" y="connsiteY4298"/>
                </a:cxn>
                <a:cxn ang="0">
                  <a:pos x="connsiteX4299" y="connsiteY4299"/>
                </a:cxn>
                <a:cxn ang="0">
                  <a:pos x="connsiteX4300" y="connsiteY4300"/>
                </a:cxn>
                <a:cxn ang="0">
                  <a:pos x="connsiteX4301" y="connsiteY4301"/>
                </a:cxn>
                <a:cxn ang="0">
                  <a:pos x="connsiteX4302" y="connsiteY4302"/>
                </a:cxn>
                <a:cxn ang="0">
                  <a:pos x="connsiteX4303" y="connsiteY4303"/>
                </a:cxn>
                <a:cxn ang="0">
                  <a:pos x="connsiteX4304" y="connsiteY4304"/>
                </a:cxn>
                <a:cxn ang="0">
                  <a:pos x="connsiteX4305" y="connsiteY4305"/>
                </a:cxn>
                <a:cxn ang="0">
                  <a:pos x="connsiteX4306" y="connsiteY4306"/>
                </a:cxn>
                <a:cxn ang="0">
                  <a:pos x="connsiteX4307" y="connsiteY4307"/>
                </a:cxn>
                <a:cxn ang="0">
                  <a:pos x="connsiteX4308" y="connsiteY4308"/>
                </a:cxn>
                <a:cxn ang="0">
                  <a:pos x="connsiteX4309" y="connsiteY4309"/>
                </a:cxn>
                <a:cxn ang="0">
                  <a:pos x="connsiteX4310" y="connsiteY4310"/>
                </a:cxn>
                <a:cxn ang="0">
                  <a:pos x="connsiteX4311" y="connsiteY4311"/>
                </a:cxn>
                <a:cxn ang="0">
                  <a:pos x="connsiteX4312" y="connsiteY4312"/>
                </a:cxn>
                <a:cxn ang="0">
                  <a:pos x="connsiteX4313" y="connsiteY4313"/>
                </a:cxn>
                <a:cxn ang="0">
                  <a:pos x="connsiteX4314" y="connsiteY4314"/>
                </a:cxn>
                <a:cxn ang="0">
                  <a:pos x="connsiteX4315" y="connsiteY4315"/>
                </a:cxn>
                <a:cxn ang="0">
                  <a:pos x="connsiteX4316" y="connsiteY4316"/>
                </a:cxn>
                <a:cxn ang="0">
                  <a:pos x="connsiteX4317" y="connsiteY4317"/>
                </a:cxn>
                <a:cxn ang="0">
                  <a:pos x="connsiteX4318" y="connsiteY4318"/>
                </a:cxn>
                <a:cxn ang="0">
                  <a:pos x="connsiteX4319" y="connsiteY4319"/>
                </a:cxn>
                <a:cxn ang="0">
                  <a:pos x="connsiteX4320" y="connsiteY4320"/>
                </a:cxn>
                <a:cxn ang="0">
                  <a:pos x="connsiteX4321" y="connsiteY4321"/>
                </a:cxn>
                <a:cxn ang="0">
                  <a:pos x="connsiteX4322" y="connsiteY4322"/>
                </a:cxn>
                <a:cxn ang="0">
                  <a:pos x="connsiteX4323" y="connsiteY4323"/>
                </a:cxn>
                <a:cxn ang="0">
                  <a:pos x="connsiteX4324" y="connsiteY4324"/>
                </a:cxn>
                <a:cxn ang="0">
                  <a:pos x="connsiteX4325" y="connsiteY4325"/>
                </a:cxn>
                <a:cxn ang="0">
                  <a:pos x="connsiteX4326" y="connsiteY4326"/>
                </a:cxn>
                <a:cxn ang="0">
                  <a:pos x="connsiteX4327" y="connsiteY4327"/>
                </a:cxn>
                <a:cxn ang="0">
                  <a:pos x="connsiteX4328" y="connsiteY4328"/>
                </a:cxn>
                <a:cxn ang="0">
                  <a:pos x="connsiteX4329" y="connsiteY4329"/>
                </a:cxn>
                <a:cxn ang="0">
                  <a:pos x="connsiteX4330" y="connsiteY4330"/>
                </a:cxn>
                <a:cxn ang="0">
                  <a:pos x="connsiteX4331" y="connsiteY4331"/>
                </a:cxn>
                <a:cxn ang="0">
                  <a:pos x="connsiteX4332" y="connsiteY4332"/>
                </a:cxn>
                <a:cxn ang="0">
                  <a:pos x="connsiteX4333" y="connsiteY4333"/>
                </a:cxn>
                <a:cxn ang="0">
                  <a:pos x="connsiteX4334" y="connsiteY4334"/>
                </a:cxn>
                <a:cxn ang="0">
                  <a:pos x="connsiteX4335" y="connsiteY4335"/>
                </a:cxn>
                <a:cxn ang="0">
                  <a:pos x="connsiteX4336" y="connsiteY4336"/>
                </a:cxn>
                <a:cxn ang="0">
                  <a:pos x="connsiteX4337" y="connsiteY4337"/>
                </a:cxn>
                <a:cxn ang="0">
                  <a:pos x="connsiteX4338" y="connsiteY4338"/>
                </a:cxn>
                <a:cxn ang="0">
                  <a:pos x="connsiteX4339" y="connsiteY4339"/>
                </a:cxn>
                <a:cxn ang="0">
                  <a:pos x="connsiteX4340" y="connsiteY4340"/>
                </a:cxn>
                <a:cxn ang="0">
                  <a:pos x="connsiteX4341" y="connsiteY4341"/>
                </a:cxn>
                <a:cxn ang="0">
                  <a:pos x="connsiteX4342" y="connsiteY4342"/>
                </a:cxn>
                <a:cxn ang="0">
                  <a:pos x="connsiteX4343" y="connsiteY4343"/>
                </a:cxn>
                <a:cxn ang="0">
                  <a:pos x="connsiteX4344" y="connsiteY4344"/>
                </a:cxn>
                <a:cxn ang="0">
                  <a:pos x="connsiteX4345" y="connsiteY4345"/>
                </a:cxn>
                <a:cxn ang="0">
                  <a:pos x="connsiteX4346" y="connsiteY4346"/>
                </a:cxn>
                <a:cxn ang="0">
                  <a:pos x="connsiteX4347" y="connsiteY4347"/>
                </a:cxn>
                <a:cxn ang="0">
                  <a:pos x="connsiteX4348" y="connsiteY4348"/>
                </a:cxn>
                <a:cxn ang="0">
                  <a:pos x="connsiteX4349" y="connsiteY4349"/>
                </a:cxn>
                <a:cxn ang="0">
                  <a:pos x="connsiteX4350" y="connsiteY4350"/>
                </a:cxn>
                <a:cxn ang="0">
                  <a:pos x="connsiteX4351" y="connsiteY4351"/>
                </a:cxn>
                <a:cxn ang="0">
                  <a:pos x="connsiteX4352" y="connsiteY4352"/>
                </a:cxn>
                <a:cxn ang="0">
                  <a:pos x="connsiteX4353" y="connsiteY4353"/>
                </a:cxn>
                <a:cxn ang="0">
                  <a:pos x="connsiteX4354" y="connsiteY4354"/>
                </a:cxn>
                <a:cxn ang="0">
                  <a:pos x="connsiteX4355" y="connsiteY4355"/>
                </a:cxn>
                <a:cxn ang="0">
                  <a:pos x="connsiteX4356" y="connsiteY4356"/>
                </a:cxn>
                <a:cxn ang="0">
                  <a:pos x="connsiteX4357" y="connsiteY4357"/>
                </a:cxn>
                <a:cxn ang="0">
                  <a:pos x="connsiteX4358" y="connsiteY4358"/>
                </a:cxn>
                <a:cxn ang="0">
                  <a:pos x="connsiteX4359" y="connsiteY4359"/>
                </a:cxn>
                <a:cxn ang="0">
                  <a:pos x="connsiteX4360" y="connsiteY4360"/>
                </a:cxn>
                <a:cxn ang="0">
                  <a:pos x="connsiteX4361" y="connsiteY4361"/>
                </a:cxn>
                <a:cxn ang="0">
                  <a:pos x="connsiteX4362" y="connsiteY4362"/>
                </a:cxn>
                <a:cxn ang="0">
                  <a:pos x="connsiteX4363" y="connsiteY4363"/>
                </a:cxn>
                <a:cxn ang="0">
                  <a:pos x="connsiteX4364" y="connsiteY4364"/>
                </a:cxn>
                <a:cxn ang="0">
                  <a:pos x="connsiteX4365" y="connsiteY4365"/>
                </a:cxn>
                <a:cxn ang="0">
                  <a:pos x="connsiteX4366" y="connsiteY4366"/>
                </a:cxn>
                <a:cxn ang="0">
                  <a:pos x="connsiteX4367" y="connsiteY4367"/>
                </a:cxn>
                <a:cxn ang="0">
                  <a:pos x="connsiteX4368" y="connsiteY4368"/>
                </a:cxn>
                <a:cxn ang="0">
                  <a:pos x="connsiteX4369" y="connsiteY4369"/>
                </a:cxn>
                <a:cxn ang="0">
                  <a:pos x="connsiteX4370" y="connsiteY4370"/>
                </a:cxn>
                <a:cxn ang="0">
                  <a:pos x="connsiteX4371" y="connsiteY4371"/>
                </a:cxn>
                <a:cxn ang="0">
                  <a:pos x="connsiteX4372" y="connsiteY4372"/>
                </a:cxn>
                <a:cxn ang="0">
                  <a:pos x="connsiteX4373" y="connsiteY4373"/>
                </a:cxn>
                <a:cxn ang="0">
                  <a:pos x="connsiteX4374" y="connsiteY4374"/>
                </a:cxn>
                <a:cxn ang="0">
                  <a:pos x="connsiteX4375" y="connsiteY4375"/>
                </a:cxn>
                <a:cxn ang="0">
                  <a:pos x="connsiteX4376" y="connsiteY4376"/>
                </a:cxn>
                <a:cxn ang="0">
                  <a:pos x="connsiteX4377" y="connsiteY4377"/>
                </a:cxn>
                <a:cxn ang="0">
                  <a:pos x="connsiteX4378" y="connsiteY4378"/>
                </a:cxn>
                <a:cxn ang="0">
                  <a:pos x="connsiteX4379" y="connsiteY4379"/>
                </a:cxn>
                <a:cxn ang="0">
                  <a:pos x="connsiteX4380" y="connsiteY4380"/>
                </a:cxn>
                <a:cxn ang="0">
                  <a:pos x="connsiteX4381" y="connsiteY4381"/>
                </a:cxn>
                <a:cxn ang="0">
                  <a:pos x="connsiteX4382" y="connsiteY4382"/>
                </a:cxn>
                <a:cxn ang="0">
                  <a:pos x="connsiteX4383" y="connsiteY4383"/>
                </a:cxn>
                <a:cxn ang="0">
                  <a:pos x="connsiteX4384" y="connsiteY4384"/>
                </a:cxn>
                <a:cxn ang="0">
                  <a:pos x="connsiteX4385" y="connsiteY4385"/>
                </a:cxn>
                <a:cxn ang="0">
                  <a:pos x="connsiteX4386" y="connsiteY4386"/>
                </a:cxn>
                <a:cxn ang="0">
                  <a:pos x="connsiteX4387" y="connsiteY4387"/>
                </a:cxn>
                <a:cxn ang="0">
                  <a:pos x="connsiteX4388" y="connsiteY4388"/>
                </a:cxn>
                <a:cxn ang="0">
                  <a:pos x="connsiteX4389" y="connsiteY4389"/>
                </a:cxn>
                <a:cxn ang="0">
                  <a:pos x="connsiteX4390" y="connsiteY4390"/>
                </a:cxn>
                <a:cxn ang="0">
                  <a:pos x="connsiteX4391" y="connsiteY4391"/>
                </a:cxn>
                <a:cxn ang="0">
                  <a:pos x="connsiteX4392" y="connsiteY4392"/>
                </a:cxn>
                <a:cxn ang="0">
                  <a:pos x="connsiteX4393" y="connsiteY4393"/>
                </a:cxn>
                <a:cxn ang="0">
                  <a:pos x="connsiteX4394" y="connsiteY4394"/>
                </a:cxn>
                <a:cxn ang="0">
                  <a:pos x="connsiteX4395" y="connsiteY4395"/>
                </a:cxn>
                <a:cxn ang="0">
                  <a:pos x="connsiteX4396" y="connsiteY4396"/>
                </a:cxn>
                <a:cxn ang="0">
                  <a:pos x="connsiteX4397" y="connsiteY4397"/>
                </a:cxn>
                <a:cxn ang="0">
                  <a:pos x="connsiteX4398" y="connsiteY4398"/>
                </a:cxn>
                <a:cxn ang="0">
                  <a:pos x="connsiteX4399" y="connsiteY4399"/>
                </a:cxn>
                <a:cxn ang="0">
                  <a:pos x="connsiteX4400" y="connsiteY4400"/>
                </a:cxn>
                <a:cxn ang="0">
                  <a:pos x="connsiteX4401" y="connsiteY4401"/>
                </a:cxn>
                <a:cxn ang="0">
                  <a:pos x="connsiteX4402" y="connsiteY4402"/>
                </a:cxn>
                <a:cxn ang="0">
                  <a:pos x="connsiteX4403" y="connsiteY4403"/>
                </a:cxn>
                <a:cxn ang="0">
                  <a:pos x="connsiteX4404" y="connsiteY4404"/>
                </a:cxn>
                <a:cxn ang="0">
                  <a:pos x="connsiteX4405" y="connsiteY4405"/>
                </a:cxn>
                <a:cxn ang="0">
                  <a:pos x="connsiteX4406" y="connsiteY4406"/>
                </a:cxn>
                <a:cxn ang="0">
                  <a:pos x="connsiteX4407" y="connsiteY4407"/>
                </a:cxn>
                <a:cxn ang="0">
                  <a:pos x="connsiteX4408" y="connsiteY4408"/>
                </a:cxn>
                <a:cxn ang="0">
                  <a:pos x="connsiteX4409" y="connsiteY4409"/>
                </a:cxn>
                <a:cxn ang="0">
                  <a:pos x="connsiteX4410" y="connsiteY4410"/>
                </a:cxn>
                <a:cxn ang="0">
                  <a:pos x="connsiteX4411" y="connsiteY4411"/>
                </a:cxn>
                <a:cxn ang="0">
                  <a:pos x="connsiteX4412" y="connsiteY4412"/>
                </a:cxn>
                <a:cxn ang="0">
                  <a:pos x="connsiteX4413" y="connsiteY4413"/>
                </a:cxn>
                <a:cxn ang="0">
                  <a:pos x="connsiteX4414" y="connsiteY4414"/>
                </a:cxn>
                <a:cxn ang="0">
                  <a:pos x="connsiteX4415" y="connsiteY4415"/>
                </a:cxn>
                <a:cxn ang="0">
                  <a:pos x="connsiteX4416" y="connsiteY4416"/>
                </a:cxn>
                <a:cxn ang="0">
                  <a:pos x="connsiteX4417" y="connsiteY4417"/>
                </a:cxn>
                <a:cxn ang="0">
                  <a:pos x="connsiteX4418" y="connsiteY4418"/>
                </a:cxn>
                <a:cxn ang="0">
                  <a:pos x="connsiteX4419" y="connsiteY4419"/>
                </a:cxn>
                <a:cxn ang="0">
                  <a:pos x="connsiteX4420" y="connsiteY4420"/>
                </a:cxn>
                <a:cxn ang="0">
                  <a:pos x="connsiteX4421" y="connsiteY4421"/>
                </a:cxn>
                <a:cxn ang="0">
                  <a:pos x="connsiteX4422" y="connsiteY4422"/>
                </a:cxn>
                <a:cxn ang="0">
                  <a:pos x="connsiteX4423" y="connsiteY4423"/>
                </a:cxn>
                <a:cxn ang="0">
                  <a:pos x="connsiteX4424" y="connsiteY4424"/>
                </a:cxn>
                <a:cxn ang="0">
                  <a:pos x="connsiteX4425" y="connsiteY4425"/>
                </a:cxn>
                <a:cxn ang="0">
                  <a:pos x="connsiteX4426" y="connsiteY4426"/>
                </a:cxn>
                <a:cxn ang="0">
                  <a:pos x="connsiteX4427" y="connsiteY4427"/>
                </a:cxn>
                <a:cxn ang="0">
                  <a:pos x="connsiteX4428" y="connsiteY4428"/>
                </a:cxn>
                <a:cxn ang="0">
                  <a:pos x="connsiteX4429" y="connsiteY4429"/>
                </a:cxn>
                <a:cxn ang="0">
                  <a:pos x="connsiteX4430" y="connsiteY4430"/>
                </a:cxn>
                <a:cxn ang="0">
                  <a:pos x="connsiteX4431" y="connsiteY4431"/>
                </a:cxn>
                <a:cxn ang="0">
                  <a:pos x="connsiteX4432" y="connsiteY4432"/>
                </a:cxn>
                <a:cxn ang="0">
                  <a:pos x="connsiteX4433" y="connsiteY4433"/>
                </a:cxn>
                <a:cxn ang="0">
                  <a:pos x="connsiteX4434" y="connsiteY4434"/>
                </a:cxn>
                <a:cxn ang="0">
                  <a:pos x="connsiteX4435" y="connsiteY4435"/>
                </a:cxn>
                <a:cxn ang="0">
                  <a:pos x="connsiteX4436" y="connsiteY4436"/>
                </a:cxn>
                <a:cxn ang="0">
                  <a:pos x="connsiteX4437" y="connsiteY4437"/>
                </a:cxn>
                <a:cxn ang="0">
                  <a:pos x="connsiteX4438" y="connsiteY4438"/>
                </a:cxn>
                <a:cxn ang="0">
                  <a:pos x="connsiteX4439" y="connsiteY4439"/>
                </a:cxn>
                <a:cxn ang="0">
                  <a:pos x="connsiteX4440" y="connsiteY4440"/>
                </a:cxn>
                <a:cxn ang="0">
                  <a:pos x="connsiteX4441" y="connsiteY4441"/>
                </a:cxn>
                <a:cxn ang="0">
                  <a:pos x="connsiteX4442" y="connsiteY4442"/>
                </a:cxn>
                <a:cxn ang="0">
                  <a:pos x="connsiteX4443" y="connsiteY4443"/>
                </a:cxn>
                <a:cxn ang="0">
                  <a:pos x="connsiteX4444" y="connsiteY4444"/>
                </a:cxn>
                <a:cxn ang="0">
                  <a:pos x="connsiteX4445" y="connsiteY4445"/>
                </a:cxn>
                <a:cxn ang="0">
                  <a:pos x="connsiteX4446" y="connsiteY4446"/>
                </a:cxn>
                <a:cxn ang="0">
                  <a:pos x="connsiteX4447" y="connsiteY4447"/>
                </a:cxn>
                <a:cxn ang="0">
                  <a:pos x="connsiteX4448" y="connsiteY4448"/>
                </a:cxn>
                <a:cxn ang="0">
                  <a:pos x="connsiteX4449" y="connsiteY4449"/>
                </a:cxn>
                <a:cxn ang="0">
                  <a:pos x="connsiteX4450" y="connsiteY4450"/>
                </a:cxn>
                <a:cxn ang="0">
                  <a:pos x="connsiteX4451" y="connsiteY4451"/>
                </a:cxn>
                <a:cxn ang="0">
                  <a:pos x="connsiteX4452" y="connsiteY4452"/>
                </a:cxn>
                <a:cxn ang="0">
                  <a:pos x="connsiteX4453" y="connsiteY4453"/>
                </a:cxn>
                <a:cxn ang="0">
                  <a:pos x="connsiteX4454" y="connsiteY4454"/>
                </a:cxn>
                <a:cxn ang="0">
                  <a:pos x="connsiteX4455" y="connsiteY4455"/>
                </a:cxn>
                <a:cxn ang="0">
                  <a:pos x="connsiteX4456" y="connsiteY4456"/>
                </a:cxn>
                <a:cxn ang="0">
                  <a:pos x="connsiteX4457" y="connsiteY4457"/>
                </a:cxn>
                <a:cxn ang="0">
                  <a:pos x="connsiteX4458" y="connsiteY4458"/>
                </a:cxn>
                <a:cxn ang="0">
                  <a:pos x="connsiteX4459" y="connsiteY4459"/>
                </a:cxn>
                <a:cxn ang="0">
                  <a:pos x="connsiteX4460" y="connsiteY4460"/>
                </a:cxn>
                <a:cxn ang="0">
                  <a:pos x="connsiteX4461" y="connsiteY4461"/>
                </a:cxn>
                <a:cxn ang="0">
                  <a:pos x="connsiteX4462" y="connsiteY4462"/>
                </a:cxn>
                <a:cxn ang="0">
                  <a:pos x="connsiteX4463" y="connsiteY4463"/>
                </a:cxn>
                <a:cxn ang="0">
                  <a:pos x="connsiteX4464" y="connsiteY4464"/>
                </a:cxn>
                <a:cxn ang="0">
                  <a:pos x="connsiteX4465" y="connsiteY4465"/>
                </a:cxn>
                <a:cxn ang="0">
                  <a:pos x="connsiteX4466" y="connsiteY4466"/>
                </a:cxn>
                <a:cxn ang="0">
                  <a:pos x="connsiteX4467" y="connsiteY4467"/>
                </a:cxn>
                <a:cxn ang="0">
                  <a:pos x="connsiteX4468" y="connsiteY4468"/>
                </a:cxn>
                <a:cxn ang="0">
                  <a:pos x="connsiteX4469" y="connsiteY4469"/>
                </a:cxn>
                <a:cxn ang="0">
                  <a:pos x="connsiteX4470" y="connsiteY4470"/>
                </a:cxn>
                <a:cxn ang="0">
                  <a:pos x="connsiteX4471" y="connsiteY4471"/>
                </a:cxn>
                <a:cxn ang="0">
                  <a:pos x="connsiteX4472" y="connsiteY4472"/>
                </a:cxn>
                <a:cxn ang="0">
                  <a:pos x="connsiteX4473" y="connsiteY4473"/>
                </a:cxn>
                <a:cxn ang="0">
                  <a:pos x="connsiteX4474" y="connsiteY4474"/>
                </a:cxn>
                <a:cxn ang="0">
                  <a:pos x="connsiteX4475" y="connsiteY4475"/>
                </a:cxn>
                <a:cxn ang="0">
                  <a:pos x="connsiteX4476" y="connsiteY4476"/>
                </a:cxn>
                <a:cxn ang="0">
                  <a:pos x="connsiteX4477" y="connsiteY4477"/>
                </a:cxn>
                <a:cxn ang="0">
                  <a:pos x="connsiteX4478" y="connsiteY4478"/>
                </a:cxn>
                <a:cxn ang="0">
                  <a:pos x="connsiteX4479" y="connsiteY4479"/>
                </a:cxn>
                <a:cxn ang="0">
                  <a:pos x="connsiteX4480" y="connsiteY4480"/>
                </a:cxn>
                <a:cxn ang="0">
                  <a:pos x="connsiteX4481" y="connsiteY4481"/>
                </a:cxn>
                <a:cxn ang="0">
                  <a:pos x="connsiteX4482" y="connsiteY4482"/>
                </a:cxn>
                <a:cxn ang="0">
                  <a:pos x="connsiteX4483" y="connsiteY4483"/>
                </a:cxn>
                <a:cxn ang="0">
                  <a:pos x="connsiteX4484" y="connsiteY4484"/>
                </a:cxn>
                <a:cxn ang="0">
                  <a:pos x="connsiteX4485" y="connsiteY4485"/>
                </a:cxn>
                <a:cxn ang="0">
                  <a:pos x="connsiteX4486" y="connsiteY4486"/>
                </a:cxn>
                <a:cxn ang="0">
                  <a:pos x="connsiteX4487" y="connsiteY4487"/>
                </a:cxn>
                <a:cxn ang="0">
                  <a:pos x="connsiteX4488" y="connsiteY4488"/>
                </a:cxn>
                <a:cxn ang="0">
                  <a:pos x="connsiteX4489" y="connsiteY4489"/>
                </a:cxn>
                <a:cxn ang="0">
                  <a:pos x="connsiteX4490" y="connsiteY4490"/>
                </a:cxn>
                <a:cxn ang="0">
                  <a:pos x="connsiteX4491" y="connsiteY4491"/>
                </a:cxn>
                <a:cxn ang="0">
                  <a:pos x="connsiteX4492" y="connsiteY4492"/>
                </a:cxn>
                <a:cxn ang="0">
                  <a:pos x="connsiteX4493" y="connsiteY4493"/>
                </a:cxn>
                <a:cxn ang="0">
                  <a:pos x="connsiteX4494" y="connsiteY4494"/>
                </a:cxn>
                <a:cxn ang="0">
                  <a:pos x="connsiteX4495" y="connsiteY4495"/>
                </a:cxn>
                <a:cxn ang="0">
                  <a:pos x="connsiteX4496" y="connsiteY4496"/>
                </a:cxn>
                <a:cxn ang="0">
                  <a:pos x="connsiteX4497" y="connsiteY4497"/>
                </a:cxn>
                <a:cxn ang="0">
                  <a:pos x="connsiteX4498" y="connsiteY4498"/>
                </a:cxn>
                <a:cxn ang="0">
                  <a:pos x="connsiteX4499" y="connsiteY4499"/>
                </a:cxn>
                <a:cxn ang="0">
                  <a:pos x="connsiteX4500" y="connsiteY4500"/>
                </a:cxn>
                <a:cxn ang="0">
                  <a:pos x="connsiteX4501" y="connsiteY4501"/>
                </a:cxn>
                <a:cxn ang="0">
                  <a:pos x="connsiteX4502" y="connsiteY4502"/>
                </a:cxn>
                <a:cxn ang="0">
                  <a:pos x="connsiteX4503" y="connsiteY4503"/>
                </a:cxn>
                <a:cxn ang="0">
                  <a:pos x="connsiteX4504" y="connsiteY4504"/>
                </a:cxn>
                <a:cxn ang="0">
                  <a:pos x="connsiteX4505" y="connsiteY4505"/>
                </a:cxn>
                <a:cxn ang="0">
                  <a:pos x="connsiteX4506" y="connsiteY4506"/>
                </a:cxn>
                <a:cxn ang="0">
                  <a:pos x="connsiteX4507" y="connsiteY4507"/>
                </a:cxn>
                <a:cxn ang="0">
                  <a:pos x="connsiteX4508" y="connsiteY4508"/>
                </a:cxn>
                <a:cxn ang="0">
                  <a:pos x="connsiteX4509" y="connsiteY4509"/>
                </a:cxn>
                <a:cxn ang="0">
                  <a:pos x="connsiteX4510" y="connsiteY4510"/>
                </a:cxn>
                <a:cxn ang="0">
                  <a:pos x="connsiteX4511" y="connsiteY4511"/>
                </a:cxn>
                <a:cxn ang="0">
                  <a:pos x="connsiteX4512" y="connsiteY4512"/>
                </a:cxn>
                <a:cxn ang="0">
                  <a:pos x="connsiteX4513" y="connsiteY4513"/>
                </a:cxn>
                <a:cxn ang="0">
                  <a:pos x="connsiteX4514" y="connsiteY4514"/>
                </a:cxn>
                <a:cxn ang="0">
                  <a:pos x="connsiteX4515" y="connsiteY4515"/>
                </a:cxn>
                <a:cxn ang="0">
                  <a:pos x="connsiteX4516" y="connsiteY4516"/>
                </a:cxn>
                <a:cxn ang="0">
                  <a:pos x="connsiteX4517" y="connsiteY4517"/>
                </a:cxn>
                <a:cxn ang="0">
                  <a:pos x="connsiteX4518" y="connsiteY4518"/>
                </a:cxn>
                <a:cxn ang="0">
                  <a:pos x="connsiteX4519" y="connsiteY4519"/>
                </a:cxn>
                <a:cxn ang="0">
                  <a:pos x="connsiteX4520" y="connsiteY4520"/>
                </a:cxn>
                <a:cxn ang="0">
                  <a:pos x="connsiteX4521" y="connsiteY4521"/>
                </a:cxn>
                <a:cxn ang="0">
                  <a:pos x="connsiteX4522" y="connsiteY4522"/>
                </a:cxn>
                <a:cxn ang="0">
                  <a:pos x="connsiteX4523" y="connsiteY4523"/>
                </a:cxn>
                <a:cxn ang="0">
                  <a:pos x="connsiteX4524" y="connsiteY4524"/>
                </a:cxn>
                <a:cxn ang="0">
                  <a:pos x="connsiteX4525" y="connsiteY4525"/>
                </a:cxn>
                <a:cxn ang="0">
                  <a:pos x="connsiteX4526" y="connsiteY4526"/>
                </a:cxn>
                <a:cxn ang="0">
                  <a:pos x="connsiteX4527" y="connsiteY4527"/>
                </a:cxn>
                <a:cxn ang="0">
                  <a:pos x="connsiteX4528" y="connsiteY4528"/>
                </a:cxn>
                <a:cxn ang="0">
                  <a:pos x="connsiteX4529" y="connsiteY4529"/>
                </a:cxn>
                <a:cxn ang="0">
                  <a:pos x="connsiteX4530" y="connsiteY4530"/>
                </a:cxn>
                <a:cxn ang="0">
                  <a:pos x="connsiteX4531" y="connsiteY4531"/>
                </a:cxn>
                <a:cxn ang="0">
                  <a:pos x="connsiteX4532" y="connsiteY4532"/>
                </a:cxn>
                <a:cxn ang="0">
                  <a:pos x="connsiteX4533" y="connsiteY4533"/>
                </a:cxn>
                <a:cxn ang="0">
                  <a:pos x="connsiteX4534" y="connsiteY4534"/>
                </a:cxn>
                <a:cxn ang="0">
                  <a:pos x="connsiteX4535" y="connsiteY4535"/>
                </a:cxn>
                <a:cxn ang="0">
                  <a:pos x="connsiteX4536" y="connsiteY4536"/>
                </a:cxn>
                <a:cxn ang="0">
                  <a:pos x="connsiteX4537" y="connsiteY4537"/>
                </a:cxn>
                <a:cxn ang="0">
                  <a:pos x="connsiteX4538" y="connsiteY4538"/>
                </a:cxn>
                <a:cxn ang="0">
                  <a:pos x="connsiteX4539" y="connsiteY4539"/>
                </a:cxn>
                <a:cxn ang="0">
                  <a:pos x="connsiteX4540" y="connsiteY4540"/>
                </a:cxn>
                <a:cxn ang="0">
                  <a:pos x="connsiteX4541" y="connsiteY4541"/>
                </a:cxn>
                <a:cxn ang="0">
                  <a:pos x="connsiteX4542" y="connsiteY4542"/>
                </a:cxn>
                <a:cxn ang="0">
                  <a:pos x="connsiteX4543" y="connsiteY4543"/>
                </a:cxn>
                <a:cxn ang="0">
                  <a:pos x="connsiteX4544" y="connsiteY4544"/>
                </a:cxn>
                <a:cxn ang="0">
                  <a:pos x="connsiteX4545" y="connsiteY4545"/>
                </a:cxn>
                <a:cxn ang="0">
                  <a:pos x="connsiteX4546" y="connsiteY4546"/>
                </a:cxn>
                <a:cxn ang="0">
                  <a:pos x="connsiteX4547" y="connsiteY4547"/>
                </a:cxn>
                <a:cxn ang="0">
                  <a:pos x="connsiteX4548" y="connsiteY4548"/>
                </a:cxn>
                <a:cxn ang="0">
                  <a:pos x="connsiteX4549" y="connsiteY4549"/>
                </a:cxn>
                <a:cxn ang="0">
                  <a:pos x="connsiteX4550" y="connsiteY4550"/>
                </a:cxn>
                <a:cxn ang="0">
                  <a:pos x="connsiteX4551" y="connsiteY4551"/>
                </a:cxn>
                <a:cxn ang="0">
                  <a:pos x="connsiteX4552" y="connsiteY4552"/>
                </a:cxn>
                <a:cxn ang="0">
                  <a:pos x="connsiteX4553" y="connsiteY4553"/>
                </a:cxn>
                <a:cxn ang="0">
                  <a:pos x="connsiteX4554" y="connsiteY4554"/>
                </a:cxn>
                <a:cxn ang="0">
                  <a:pos x="connsiteX4555" y="connsiteY4555"/>
                </a:cxn>
                <a:cxn ang="0">
                  <a:pos x="connsiteX4556" y="connsiteY4556"/>
                </a:cxn>
                <a:cxn ang="0">
                  <a:pos x="connsiteX4557" y="connsiteY4557"/>
                </a:cxn>
                <a:cxn ang="0">
                  <a:pos x="connsiteX4558" y="connsiteY4558"/>
                </a:cxn>
                <a:cxn ang="0">
                  <a:pos x="connsiteX4559" y="connsiteY4559"/>
                </a:cxn>
                <a:cxn ang="0">
                  <a:pos x="connsiteX4560" y="connsiteY4560"/>
                </a:cxn>
                <a:cxn ang="0">
                  <a:pos x="connsiteX4561" y="connsiteY4561"/>
                </a:cxn>
                <a:cxn ang="0">
                  <a:pos x="connsiteX4562" y="connsiteY4562"/>
                </a:cxn>
                <a:cxn ang="0">
                  <a:pos x="connsiteX4563" y="connsiteY4563"/>
                </a:cxn>
                <a:cxn ang="0">
                  <a:pos x="connsiteX4564" y="connsiteY4564"/>
                </a:cxn>
                <a:cxn ang="0">
                  <a:pos x="connsiteX4565" y="connsiteY4565"/>
                </a:cxn>
                <a:cxn ang="0">
                  <a:pos x="connsiteX4566" y="connsiteY4566"/>
                </a:cxn>
                <a:cxn ang="0">
                  <a:pos x="connsiteX4567" y="connsiteY4567"/>
                </a:cxn>
                <a:cxn ang="0">
                  <a:pos x="connsiteX4568" y="connsiteY4568"/>
                </a:cxn>
                <a:cxn ang="0">
                  <a:pos x="connsiteX4569" y="connsiteY4569"/>
                </a:cxn>
                <a:cxn ang="0">
                  <a:pos x="connsiteX4570" y="connsiteY4570"/>
                </a:cxn>
                <a:cxn ang="0">
                  <a:pos x="connsiteX4571" y="connsiteY4571"/>
                </a:cxn>
                <a:cxn ang="0">
                  <a:pos x="connsiteX4572" y="connsiteY4572"/>
                </a:cxn>
                <a:cxn ang="0">
                  <a:pos x="connsiteX4573" y="connsiteY4573"/>
                </a:cxn>
                <a:cxn ang="0">
                  <a:pos x="connsiteX4574" y="connsiteY4574"/>
                </a:cxn>
                <a:cxn ang="0">
                  <a:pos x="connsiteX4575" y="connsiteY4575"/>
                </a:cxn>
                <a:cxn ang="0">
                  <a:pos x="connsiteX4576" y="connsiteY4576"/>
                </a:cxn>
                <a:cxn ang="0">
                  <a:pos x="connsiteX4577" y="connsiteY4577"/>
                </a:cxn>
                <a:cxn ang="0">
                  <a:pos x="connsiteX4578" y="connsiteY4578"/>
                </a:cxn>
                <a:cxn ang="0">
                  <a:pos x="connsiteX4579" y="connsiteY4579"/>
                </a:cxn>
                <a:cxn ang="0">
                  <a:pos x="connsiteX4580" y="connsiteY4580"/>
                </a:cxn>
                <a:cxn ang="0">
                  <a:pos x="connsiteX4581" y="connsiteY4581"/>
                </a:cxn>
                <a:cxn ang="0">
                  <a:pos x="connsiteX4582" y="connsiteY4582"/>
                </a:cxn>
                <a:cxn ang="0">
                  <a:pos x="connsiteX4583" y="connsiteY4583"/>
                </a:cxn>
                <a:cxn ang="0">
                  <a:pos x="connsiteX4584" y="connsiteY4584"/>
                </a:cxn>
                <a:cxn ang="0">
                  <a:pos x="connsiteX4585" y="connsiteY4585"/>
                </a:cxn>
                <a:cxn ang="0">
                  <a:pos x="connsiteX4586" y="connsiteY4586"/>
                </a:cxn>
                <a:cxn ang="0">
                  <a:pos x="connsiteX4587" y="connsiteY4587"/>
                </a:cxn>
                <a:cxn ang="0">
                  <a:pos x="connsiteX4588" y="connsiteY4588"/>
                </a:cxn>
                <a:cxn ang="0">
                  <a:pos x="connsiteX4589" y="connsiteY4589"/>
                </a:cxn>
                <a:cxn ang="0">
                  <a:pos x="connsiteX4590" y="connsiteY4590"/>
                </a:cxn>
                <a:cxn ang="0">
                  <a:pos x="connsiteX4591" y="connsiteY4591"/>
                </a:cxn>
                <a:cxn ang="0">
                  <a:pos x="connsiteX4592" y="connsiteY4592"/>
                </a:cxn>
                <a:cxn ang="0">
                  <a:pos x="connsiteX4593" y="connsiteY4593"/>
                </a:cxn>
                <a:cxn ang="0">
                  <a:pos x="connsiteX4594" y="connsiteY4594"/>
                </a:cxn>
                <a:cxn ang="0">
                  <a:pos x="connsiteX4595" y="connsiteY4595"/>
                </a:cxn>
                <a:cxn ang="0">
                  <a:pos x="connsiteX4596" y="connsiteY4596"/>
                </a:cxn>
                <a:cxn ang="0">
                  <a:pos x="connsiteX4597" y="connsiteY4597"/>
                </a:cxn>
                <a:cxn ang="0">
                  <a:pos x="connsiteX4598" y="connsiteY4598"/>
                </a:cxn>
                <a:cxn ang="0">
                  <a:pos x="connsiteX4599" y="connsiteY4599"/>
                </a:cxn>
                <a:cxn ang="0">
                  <a:pos x="connsiteX4600" y="connsiteY4600"/>
                </a:cxn>
                <a:cxn ang="0">
                  <a:pos x="connsiteX4601" y="connsiteY4601"/>
                </a:cxn>
                <a:cxn ang="0">
                  <a:pos x="connsiteX4602" y="connsiteY4602"/>
                </a:cxn>
                <a:cxn ang="0">
                  <a:pos x="connsiteX4603" y="connsiteY4603"/>
                </a:cxn>
                <a:cxn ang="0">
                  <a:pos x="connsiteX4604" y="connsiteY4604"/>
                </a:cxn>
                <a:cxn ang="0">
                  <a:pos x="connsiteX4605" y="connsiteY4605"/>
                </a:cxn>
                <a:cxn ang="0">
                  <a:pos x="connsiteX4606" y="connsiteY4606"/>
                </a:cxn>
                <a:cxn ang="0">
                  <a:pos x="connsiteX4607" y="connsiteY4607"/>
                </a:cxn>
                <a:cxn ang="0">
                  <a:pos x="connsiteX4608" y="connsiteY4608"/>
                </a:cxn>
                <a:cxn ang="0">
                  <a:pos x="connsiteX4609" y="connsiteY4609"/>
                </a:cxn>
                <a:cxn ang="0">
                  <a:pos x="connsiteX4610" y="connsiteY4610"/>
                </a:cxn>
                <a:cxn ang="0">
                  <a:pos x="connsiteX4611" y="connsiteY4611"/>
                </a:cxn>
                <a:cxn ang="0">
                  <a:pos x="connsiteX4612" y="connsiteY4612"/>
                </a:cxn>
                <a:cxn ang="0">
                  <a:pos x="connsiteX4613" y="connsiteY4613"/>
                </a:cxn>
                <a:cxn ang="0">
                  <a:pos x="connsiteX4614" y="connsiteY4614"/>
                </a:cxn>
                <a:cxn ang="0">
                  <a:pos x="connsiteX4615" y="connsiteY4615"/>
                </a:cxn>
                <a:cxn ang="0">
                  <a:pos x="connsiteX4616" y="connsiteY4616"/>
                </a:cxn>
                <a:cxn ang="0">
                  <a:pos x="connsiteX4617" y="connsiteY4617"/>
                </a:cxn>
                <a:cxn ang="0">
                  <a:pos x="connsiteX4618" y="connsiteY4618"/>
                </a:cxn>
                <a:cxn ang="0">
                  <a:pos x="connsiteX4619" y="connsiteY4619"/>
                </a:cxn>
                <a:cxn ang="0">
                  <a:pos x="connsiteX4620" y="connsiteY4620"/>
                </a:cxn>
                <a:cxn ang="0">
                  <a:pos x="connsiteX4621" y="connsiteY4621"/>
                </a:cxn>
                <a:cxn ang="0">
                  <a:pos x="connsiteX4622" y="connsiteY4622"/>
                </a:cxn>
                <a:cxn ang="0">
                  <a:pos x="connsiteX4623" y="connsiteY4623"/>
                </a:cxn>
                <a:cxn ang="0">
                  <a:pos x="connsiteX4624" y="connsiteY4624"/>
                </a:cxn>
                <a:cxn ang="0">
                  <a:pos x="connsiteX4625" y="connsiteY4625"/>
                </a:cxn>
                <a:cxn ang="0">
                  <a:pos x="connsiteX4626" y="connsiteY4626"/>
                </a:cxn>
                <a:cxn ang="0">
                  <a:pos x="connsiteX4627" y="connsiteY4627"/>
                </a:cxn>
                <a:cxn ang="0">
                  <a:pos x="connsiteX4628" y="connsiteY4628"/>
                </a:cxn>
                <a:cxn ang="0">
                  <a:pos x="connsiteX4629" y="connsiteY4629"/>
                </a:cxn>
                <a:cxn ang="0">
                  <a:pos x="connsiteX4630" y="connsiteY4630"/>
                </a:cxn>
                <a:cxn ang="0">
                  <a:pos x="connsiteX4631" y="connsiteY4631"/>
                </a:cxn>
                <a:cxn ang="0">
                  <a:pos x="connsiteX4632" y="connsiteY4632"/>
                </a:cxn>
                <a:cxn ang="0">
                  <a:pos x="connsiteX4633" y="connsiteY4633"/>
                </a:cxn>
                <a:cxn ang="0">
                  <a:pos x="connsiteX4634" y="connsiteY4634"/>
                </a:cxn>
                <a:cxn ang="0">
                  <a:pos x="connsiteX4635" y="connsiteY4635"/>
                </a:cxn>
                <a:cxn ang="0">
                  <a:pos x="connsiteX4636" y="connsiteY4636"/>
                </a:cxn>
                <a:cxn ang="0">
                  <a:pos x="connsiteX4637" y="connsiteY4637"/>
                </a:cxn>
                <a:cxn ang="0">
                  <a:pos x="connsiteX4638" y="connsiteY4638"/>
                </a:cxn>
                <a:cxn ang="0">
                  <a:pos x="connsiteX4639" y="connsiteY4639"/>
                </a:cxn>
                <a:cxn ang="0">
                  <a:pos x="connsiteX4640" y="connsiteY4640"/>
                </a:cxn>
                <a:cxn ang="0">
                  <a:pos x="connsiteX4641" y="connsiteY4641"/>
                </a:cxn>
                <a:cxn ang="0">
                  <a:pos x="connsiteX4642" y="connsiteY4642"/>
                </a:cxn>
                <a:cxn ang="0">
                  <a:pos x="connsiteX4643" y="connsiteY4643"/>
                </a:cxn>
                <a:cxn ang="0">
                  <a:pos x="connsiteX4644" y="connsiteY4644"/>
                </a:cxn>
                <a:cxn ang="0">
                  <a:pos x="connsiteX4645" y="connsiteY4645"/>
                </a:cxn>
                <a:cxn ang="0">
                  <a:pos x="connsiteX4646" y="connsiteY4646"/>
                </a:cxn>
                <a:cxn ang="0">
                  <a:pos x="connsiteX4647" y="connsiteY4647"/>
                </a:cxn>
                <a:cxn ang="0">
                  <a:pos x="connsiteX4648" y="connsiteY4648"/>
                </a:cxn>
                <a:cxn ang="0">
                  <a:pos x="connsiteX4649" y="connsiteY4649"/>
                </a:cxn>
                <a:cxn ang="0">
                  <a:pos x="connsiteX4650" y="connsiteY4650"/>
                </a:cxn>
                <a:cxn ang="0">
                  <a:pos x="connsiteX4651" y="connsiteY4651"/>
                </a:cxn>
                <a:cxn ang="0">
                  <a:pos x="connsiteX4652" y="connsiteY4652"/>
                </a:cxn>
                <a:cxn ang="0">
                  <a:pos x="connsiteX4653" y="connsiteY4653"/>
                </a:cxn>
                <a:cxn ang="0">
                  <a:pos x="connsiteX4654" y="connsiteY4654"/>
                </a:cxn>
                <a:cxn ang="0">
                  <a:pos x="connsiteX4655" y="connsiteY4655"/>
                </a:cxn>
                <a:cxn ang="0">
                  <a:pos x="connsiteX4656" y="connsiteY4656"/>
                </a:cxn>
                <a:cxn ang="0">
                  <a:pos x="connsiteX4657" y="connsiteY4657"/>
                </a:cxn>
                <a:cxn ang="0">
                  <a:pos x="connsiteX4658" y="connsiteY4658"/>
                </a:cxn>
                <a:cxn ang="0">
                  <a:pos x="connsiteX4659" y="connsiteY4659"/>
                </a:cxn>
                <a:cxn ang="0">
                  <a:pos x="connsiteX4660" y="connsiteY4660"/>
                </a:cxn>
                <a:cxn ang="0">
                  <a:pos x="connsiteX4661" y="connsiteY4661"/>
                </a:cxn>
                <a:cxn ang="0">
                  <a:pos x="connsiteX4662" y="connsiteY4662"/>
                </a:cxn>
                <a:cxn ang="0">
                  <a:pos x="connsiteX4663" y="connsiteY4663"/>
                </a:cxn>
                <a:cxn ang="0">
                  <a:pos x="connsiteX4664" y="connsiteY4664"/>
                </a:cxn>
                <a:cxn ang="0">
                  <a:pos x="connsiteX4665" y="connsiteY4665"/>
                </a:cxn>
                <a:cxn ang="0">
                  <a:pos x="connsiteX4666" y="connsiteY4666"/>
                </a:cxn>
                <a:cxn ang="0">
                  <a:pos x="connsiteX4667" y="connsiteY4667"/>
                </a:cxn>
                <a:cxn ang="0">
                  <a:pos x="connsiteX4668" y="connsiteY4668"/>
                </a:cxn>
                <a:cxn ang="0">
                  <a:pos x="connsiteX4669" y="connsiteY4669"/>
                </a:cxn>
                <a:cxn ang="0">
                  <a:pos x="connsiteX4670" y="connsiteY4670"/>
                </a:cxn>
                <a:cxn ang="0">
                  <a:pos x="connsiteX4671" y="connsiteY4671"/>
                </a:cxn>
                <a:cxn ang="0">
                  <a:pos x="connsiteX4672" y="connsiteY4672"/>
                </a:cxn>
                <a:cxn ang="0">
                  <a:pos x="connsiteX4673" y="connsiteY4673"/>
                </a:cxn>
                <a:cxn ang="0">
                  <a:pos x="connsiteX4674" y="connsiteY4674"/>
                </a:cxn>
                <a:cxn ang="0">
                  <a:pos x="connsiteX4675" y="connsiteY4675"/>
                </a:cxn>
                <a:cxn ang="0">
                  <a:pos x="connsiteX4676" y="connsiteY4676"/>
                </a:cxn>
                <a:cxn ang="0">
                  <a:pos x="connsiteX4677" y="connsiteY4677"/>
                </a:cxn>
                <a:cxn ang="0">
                  <a:pos x="connsiteX4678" y="connsiteY4678"/>
                </a:cxn>
                <a:cxn ang="0">
                  <a:pos x="connsiteX4679" y="connsiteY4679"/>
                </a:cxn>
                <a:cxn ang="0">
                  <a:pos x="connsiteX4680" y="connsiteY4680"/>
                </a:cxn>
                <a:cxn ang="0">
                  <a:pos x="connsiteX4681" y="connsiteY4681"/>
                </a:cxn>
                <a:cxn ang="0">
                  <a:pos x="connsiteX4682" y="connsiteY4682"/>
                </a:cxn>
                <a:cxn ang="0">
                  <a:pos x="connsiteX4683" y="connsiteY4683"/>
                </a:cxn>
                <a:cxn ang="0">
                  <a:pos x="connsiteX4684" y="connsiteY4684"/>
                </a:cxn>
                <a:cxn ang="0">
                  <a:pos x="connsiteX4685" y="connsiteY4685"/>
                </a:cxn>
                <a:cxn ang="0">
                  <a:pos x="connsiteX4686" y="connsiteY4686"/>
                </a:cxn>
                <a:cxn ang="0">
                  <a:pos x="connsiteX4687" y="connsiteY4687"/>
                </a:cxn>
                <a:cxn ang="0">
                  <a:pos x="connsiteX4688" y="connsiteY4688"/>
                </a:cxn>
                <a:cxn ang="0">
                  <a:pos x="connsiteX4689" y="connsiteY4689"/>
                </a:cxn>
                <a:cxn ang="0">
                  <a:pos x="connsiteX4690" y="connsiteY4690"/>
                </a:cxn>
                <a:cxn ang="0">
                  <a:pos x="connsiteX4691" y="connsiteY4691"/>
                </a:cxn>
                <a:cxn ang="0">
                  <a:pos x="connsiteX4692" y="connsiteY4692"/>
                </a:cxn>
                <a:cxn ang="0">
                  <a:pos x="connsiteX4693" y="connsiteY4693"/>
                </a:cxn>
                <a:cxn ang="0">
                  <a:pos x="connsiteX4694" y="connsiteY4694"/>
                </a:cxn>
                <a:cxn ang="0">
                  <a:pos x="connsiteX4695" y="connsiteY4695"/>
                </a:cxn>
                <a:cxn ang="0">
                  <a:pos x="connsiteX4696" y="connsiteY4696"/>
                </a:cxn>
                <a:cxn ang="0">
                  <a:pos x="connsiteX4697" y="connsiteY4697"/>
                </a:cxn>
                <a:cxn ang="0">
                  <a:pos x="connsiteX4698" y="connsiteY4698"/>
                </a:cxn>
                <a:cxn ang="0">
                  <a:pos x="connsiteX4699" y="connsiteY4699"/>
                </a:cxn>
                <a:cxn ang="0">
                  <a:pos x="connsiteX4700" y="connsiteY4700"/>
                </a:cxn>
                <a:cxn ang="0">
                  <a:pos x="connsiteX4701" y="connsiteY4701"/>
                </a:cxn>
                <a:cxn ang="0">
                  <a:pos x="connsiteX4702" y="connsiteY4702"/>
                </a:cxn>
                <a:cxn ang="0">
                  <a:pos x="connsiteX4703" y="connsiteY4703"/>
                </a:cxn>
                <a:cxn ang="0">
                  <a:pos x="connsiteX4704" y="connsiteY4704"/>
                </a:cxn>
                <a:cxn ang="0">
                  <a:pos x="connsiteX4705" y="connsiteY4705"/>
                </a:cxn>
                <a:cxn ang="0">
                  <a:pos x="connsiteX4706" y="connsiteY4706"/>
                </a:cxn>
                <a:cxn ang="0">
                  <a:pos x="connsiteX4707" y="connsiteY4707"/>
                </a:cxn>
                <a:cxn ang="0">
                  <a:pos x="connsiteX4708" y="connsiteY4708"/>
                </a:cxn>
                <a:cxn ang="0">
                  <a:pos x="connsiteX4709" y="connsiteY4709"/>
                </a:cxn>
                <a:cxn ang="0">
                  <a:pos x="connsiteX4710" y="connsiteY4710"/>
                </a:cxn>
                <a:cxn ang="0">
                  <a:pos x="connsiteX4711" y="connsiteY4711"/>
                </a:cxn>
                <a:cxn ang="0">
                  <a:pos x="connsiteX4712" y="connsiteY4712"/>
                </a:cxn>
                <a:cxn ang="0">
                  <a:pos x="connsiteX4713" y="connsiteY4713"/>
                </a:cxn>
                <a:cxn ang="0">
                  <a:pos x="connsiteX4714" y="connsiteY4714"/>
                </a:cxn>
                <a:cxn ang="0">
                  <a:pos x="connsiteX4715" y="connsiteY4715"/>
                </a:cxn>
                <a:cxn ang="0">
                  <a:pos x="connsiteX4716" y="connsiteY4716"/>
                </a:cxn>
                <a:cxn ang="0">
                  <a:pos x="connsiteX4717" y="connsiteY4717"/>
                </a:cxn>
                <a:cxn ang="0">
                  <a:pos x="connsiteX4718" y="connsiteY4718"/>
                </a:cxn>
                <a:cxn ang="0">
                  <a:pos x="connsiteX4719" y="connsiteY4719"/>
                </a:cxn>
                <a:cxn ang="0">
                  <a:pos x="connsiteX4720" y="connsiteY4720"/>
                </a:cxn>
                <a:cxn ang="0">
                  <a:pos x="connsiteX4721" y="connsiteY4721"/>
                </a:cxn>
                <a:cxn ang="0">
                  <a:pos x="connsiteX4722" y="connsiteY4722"/>
                </a:cxn>
                <a:cxn ang="0">
                  <a:pos x="connsiteX4723" y="connsiteY4723"/>
                </a:cxn>
                <a:cxn ang="0">
                  <a:pos x="connsiteX4724" y="connsiteY4724"/>
                </a:cxn>
                <a:cxn ang="0">
                  <a:pos x="connsiteX4725" y="connsiteY4725"/>
                </a:cxn>
                <a:cxn ang="0">
                  <a:pos x="connsiteX4726" y="connsiteY4726"/>
                </a:cxn>
                <a:cxn ang="0">
                  <a:pos x="connsiteX4727" y="connsiteY4727"/>
                </a:cxn>
                <a:cxn ang="0">
                  <a:pos x="connsiteX4728" y="connsiteY4728"/>
                </a:cxn>
                <a:cxn ang="0">
                  <a:pos x="connsiteX4729" y="connsiteY4729"/>
                </a:cxn>
                <a:cxn ang="0">
                  <a:pos x="connsiteX4730" y="connsiteY4730"/>
                </a:cxn>
                <a:cxn ang="0">
                  <a:pos x="connsiteX4731" y="connsiteY4731"/>
                </a:cxn>
                <a:cxn ang="0">
                  <a:pos x="connsiteX4732" y="connsiteY4732"/>
                </a:cxn>
                <a:cxn ang="0">
                  <a:pos x="connsiteX4733" y="connsiteY4733"/>
                </a:cxn>
                <a:cxn ang="0">
                  <a:pos x="connsiteX4734" y="connsiteY4734"/>
                </a:cxn>
                <a:cxn ang="0">
                  <a:pos x="connsiteX4735" y="connsiteY4735"/>
                </a:cxn>
                <a:cxn ang="0">
                  <a:pos x="connsiteX4736" y="connsiteY4736"/>
                </a:cxn>
                <a:cxn ang="0">
                  <a:pos x="connsiteX4737" y="connsiteY4737"/>
                </a:cxn>
                <a:cxn ang="0">
                  <a:pos x="connsiteX4738" y="connsiteY4738"/>
                </a:cxn>
                <a:cxn ang="0">
                  <a:pos x="connsiteX4739" y="connsiteY4739"/>
                </a:cxn>
                <a:cxn ang="0">
                  <a:pos x="connsiteX4740" y="connsiteY4740"/>
                </a:cxn>
                <a:cxn ang="0">
                  <a:pos x="connsiteX4741" y="connsiteY4741"/>
                </a:cxn>
                <a:cxn ang="0">
                  <a:pos x="connsiteX4742" y="connsiteY4742"/>
                </a:cxn>
                <a:cxn ang="0">
                  <a:pos x="connsiteX4743" y="connsiteY4743"/>
                </a:cxn>
                <a:cxn ang="0">
                  <a:pos x="connsiteX4744" y="connsiteY4744"/>
                </a:cxn>
                <a:cxn ang="0">
                  <a:pos x="connsiteX4745" y="connsiteY4745"/>
                </a:cxn>
                <a:cxn ang="0">
                  <a:pos x="connsiteX4746" y="connsiteY4746"/>
                </a:cxn>
                <a:cxn ang="0">
                  <a:pos x="connsiteX4747" y="connsiteY4747"/>
                </a:cxn>
                <a:cxn ang="0">
                  <a:pos x="connsiteX4748" y="connsiteY4748"/>
                </a:cxn>
                <a:cxn ang="0">
                  <a:pos x="connsiteX4749" y="connsiteY4749"/>
                </a:cxn>
                <a:cxn ang="0">
                  <a:pos x="connsiteX4750" y="connsiteY4750"/>
                </a:cxn>
                <a:cxn ang="0">
                  <a:pos x="connsiteX4751" y="connsiteY4751"/>
                </a:cxn>
                <a:cxn ang="0">
                  <a:pos x="connsiteX4752" y="connsiteY4752"/>
                </a:cxn>
                <a:cxn ang="0">
                  <a:pos x="connsiteX4753" y="connsiteY4753"/>
                </a:cxn>
                <a:cxn ang="0">
                  <a:pos x="connsiteX4754" y="connsiteY4754"/>
                </a:cxn>
                <a:cxn ang="0">
                  <a:pos x="connsiteX4755" y="connsiteY4755"/>
                </a:cxn>
                <a:cxn ang="0">
                  <a:pos x="connsiteX4756" y="connsiteY4756"/>
                </a:cxn>
                <a:cxn ang="0">
                  <a:pos x="connsiteX4757" y="connsiteY4757"/>
                </a:cxn>
                <a:cxn ang="0">
                  <a:pos x="connsiteX4758" y="connsiteY4758"/>
                </a:cxn>
                <a:cxn ang="0">
                  <a:pos x="connsiteX4759" y="connsiteY4759"/>
                </a:cxn>
                <a:cxn ang="0">
                  <a:pos x="connsiteX4760" y="connsiteY4760"/>
                </a:cxn>
                <a:cxn ang="0">
                  <a:pos x="connsiteX4761" y="connsiteY4761"/>
                </a:cxn>
                <a:cxn ang="0">
                  <a:pos x="connsiteX4762" y="connsiteY4762"/>
                </a:cxn>
                <a:cxn ang="0">
                  <a:pos x="connsiteX4763" y="connsiteY4763"/>
                </a:cxn>
                <a:cxn ang="0">
                  <a:pos x="connsiteX4764" y="connsiteY4764"/>
                </a:cxn>
                <a:cxn ang="0">
                  <a:pos x="connsiteX4765" y="connsiteY4765"/>
                </a:cxn>
                <a:cxn ang="0">
                  <a:pos x="connsiteX4766" y="connsiteY4766"/>
                </a:cxn>
                <a:cxn ang="0">
                  <a:pos x="connsiteX4767" y="connsiteY4767"/>
                </a:cxn>
                <a:cxn ang="0">
                  <a:pos x="connsiteX4768" y="connsiteY4768"/>
                </a:cxn>
                <a:cxn ang="0">
                  <a:pos x="connsiteX4769" y="connsiteY4769"/>
                </a:cxn>
                <a:cxn ang="0">
                  <a:pos x="connsiteX4770" y="connsiteY4770"/>
                </a:cxn>
                <a:cxn ang="0">
                  <a:pos x="connsiteX4771" y="connsiteY4771"/>
                </a:cxn>
                <a:cxn ang="0">
                  <a:pos x="connsiteX4772" y="connsiteY4772"/>
                </a:cxn>
                <a:cxn ang="0">
                  <a:pos x="connsiteX4773" y="connsiteY4773"/>
                </a:cxn>
                <a:cxn ang="0">
                  <a:pos x="connsiteX4774" y="connsiteY4774"/>
                </a:cxn>
                <a:cxn ang="0">
                  <a:pos x="connsiteX4775" y="connsiteY4775"/>
                </a:cxn>
                <a:cxn ang="0">
                  <a:pos x="connsiteX4776" y="connsiteY4776"/>
                </a:cxn>
                <a:cxn ang="0">
                  <a:pos x="connsiteX4777" y="connsiteY4777"/>
                </a:cxn>
                <a:cxn ang="0">
                  <a:pos x="connsiteX4778" y="connsiteY4778"/>
                </a:cxn>
                <a:cxn ang="0">
                  <a:pos x="connsiteX4779" y="connsiteY4779"/>
                </a:cxn>
                <a:cxn ang="0">
                  <a:pos x="connsiteX4780" y="connsiteY4780"/>
                </a:cxn>
                <a:cxn ang="0">
                  <a:pos x="connsiteX4781" y="connsiteY4781"/>
                </a:cxn>
                <a:cxn ang="0">
                  <a:pos x="connsiteX4782" y="connsiteY4782"/>
                </a:cxn>
                <a:cxn ang="0">
                  <a:pos x="connsiteX4783" y="connsiteY4783"/>
                </a:cxn>
                <a:cxn ang="0">
                  <a:pos x="connsiteX4784" y="connsiteY4784"/>
                </a:cxn>
                <a:cxn ang="0">
                  <a:pos x="connsiteX4785" y="connsiteY4785"/>
                </a:cxn>
                <a:cxn ang="0">
                  <a:pos x="connsiteX4786" y="connsiteY4786"/>
                </a:cxn>
                <a:cxn ang="0">
                  <a:pos x="connsiteX4787" y="connsiteY4787"/>
                </a:cxn>
                <a:cxn ang="0">
                  <a:pos x="connsiteX4788" y="connsiteY4788"/>
                </a:cxn>
                <a:cxn ang="0">
                  <a:pos x="connsiteX4789" y="connsiteY4789"/>
                </a:cxn>
                <a:cxn ang="0">
                  <a:pos x="connsiteX4790" y="connsiteY4790"/>
                </a:cxn>
                <a:cxn ang="0">
                  <a:pos x="connsiteX4791" y="connsiteY4791"/>
                </a:cxn>
                <a:cxn ang="0">
                  <a:pos x="connsiteX4792" y="connsiteY4792"/>
                </a:cxn>
                <a:cxn ang="0">
                  <a:pos x="connsiteX4793" y="connsiteY4793"/>
                </a:cxn>
                <a:cxn ang="0">
                  <a:pos x="connsiteX4794" y="connsiteY4794"/>
                </a:cxn>
                <a:cxn ang="0">
                  <a:pos x="connsiteX4795" y="connsiteY4795"/>
                </a:cxn>
                <a:cxn ang="0">
                  <a:pos x="connsiteX4796" y="connsiteY4796"/>
                </a:cxn>
                <a:cxn ang="0">
                  <a:pos x="connsiteX4797" y="connsiteY4797"/>
                </a:cxn>
                <a:cxn ang="0">
                  <a:pos x="connsiteX4798" y="connsiteY4798"/>
                </a:cxn>
                <a:cxn ang="0">
                  <a:pos x="connsiteX4799" y="connsiteY4799"/>
                </a:cxn>
                <a:cxn ang="0">
                  <a:pos x="connsiteX4800" y="connsiteY4800"/>
                </a:cxn>
                <a:cxn ang="0">
                  <a:pos x="connsiteX4801" y="connsiteY4801"/>
                </a:cxn>
                <a:cxn ang="0">
                  <a:pos x="connsiteX4802" y="connsiteY4802"/>
                </a:cxn>
                <a:cxn ang="0">
                  <a:pos x="connsiteX4803" y="connsiteY4803"/>
                </a:cxn>
                <a:cxn ang="0">
                  <a:pos x="connsiteX4804" y="connsiteY4804"/>
                </a:cxn>
                <a:cxn ang="0">
                  <a:pos x="connsiteX4805" y="connsiteY4805"/>
                </a:cxn>
                <a:cxn ang="0">
                  <a:pos x="connsiteX4806" y="connsiteY4806"/>
                </a:cxn>
                <a:cxn ang="0">
                  <a:pos x="connsiteX4807" y="connsiteY4807"/>
                </a:cxn>
                <a:cxn ang="0">
                  <a:pos x="connsiteX4808" y="connsiteY4808"/>
                </a:cxn>
                <a:cxn ang="0">
                  <a:pos x="connsiteX4809" y="connsiteY4809"/>
                </a:cxn>
                <a:cxn ang="0">
                  <a:pos x="connsiteX4810" y="connsiteY4810"/>
                </a:cxn>
                <a:cxn ang="0">
                  <a:pos x="connsiteX4811" y="connsiteY4811"/>
                </a:cxn>
                <a:cxn ang="0">
                  <a:pos x="connsiteX4812" y="connsiteY4812"/>
                </a:cxn>
                <a:cxn ang="0">
                  <a:pos x="connsiteX4813" y="connsiteY4813"/>
                </a:cxn>
                <a:cxn ang="0">
                  <a:pos x="connsiteX4814" y="connsiteY4814"/>
                </a:cxn>
                <a:cxn ang="0">
                  <a:pos x="connsiteX4815" y="connsiteY4815"/>
                </a:cxn>
                <a:cxn ang="0">
                  <a:pos x="connsiteX4816" y="connsiteY4816"/>
                </a:cxn>
                <a:cxn ang="0">
                  <a:pos x="connsiteX4817" y="connsiteY4817"/>
                </a:cxn>
                <a:cxn ang="0">
                  <a:pos x="connsiteX4818" y="connsiteY4818"/>
                </a:cxn>
                <a:cxn ang="0">
                  <a:pos x="connsiteX4819" y="connsiteY4819"/>
                </a:cxn>
                <a:cxn ang="0">
                  <a:pos x="connsiteX4820" y="connsiteY4820"/>
                </a:cxn>
                <a:cxn ang="0">
                  <a:pos x="connsiteX4821" y="connsiteY4821"/>
                </a:cxn>
                <a:cxn ang="0">
                  <a:pos x="connsiteX4822" y="connsiteY4822"/>
                </a:cxn>
                <a:cxn ang="0">
                  <a:pos x="connsiteX4823" y="connsiteY4823"/>
                </a:cxn>
                <a:cxn ang="0">
                  <a:pos x="connsiteX4824" y="connsiteY4824"/>
                </a:cxn>
                <a:cxn ang="0">
                  <a:pos x="connsiteX4825" y="connsiteY4825"/>
                </a:cxn>
                <a:cxn ang="0">
                  <a:pos x="connsiteX4826" y="connsiteY4826"/>
                </a:cxn>
                <a:cxn ang="0">
                  <a:pos x="connsiteX4827" y="connsiteY4827"/>
                </a:cxn>
                <a:cxn ang="0">
                  <a:pos x="connsiteX4828" y="connsiteY4828"/>
                </a:cxn>
                <a:cxn ang="0">
                  <a:pos x="connsiteX4829" y="connsiteY4829"/>
                </a:cxn>
                <a:cxn ang="0">
                  <a:pos x="connsiteX4830" y="connsiteY4830"/>
                </a:cxn>
                <a:cxn ang="0">
                  <a:pos x="connsiteX4831" y="connsiteY4831"/>
                </a:cxn>
                <a:cxn ang="0">
                  <a:pos x="connsiteX4832" y="connsiteY4832"/>
                </a:cxn>
                <a:cxn ang="0">
                  <a:pos x="connsiteX4833" y="connsiteY4833"/>
                </a:cxn>
                <a:cxn ang="0">
                  <a:pos x="connsiteX4834" y="connsiteY4834"/>
                </a:cxn>
                <a:cxn ang="0">
                  <a:pos x="connsiteX4835" y="connsiteY4835"/>
                </a:cxn>
                <a:cxn ang="0">
                  <a:pos x="connsiteX4836" y="connsiteY4836"/>
                </a:cxn>
                <a:cxn ang="0">
                  <a:pos x="connsiteX4837" y="connsiteY4837"/>
                </a:cxn>
                <a:cxn ang="0">
                  <a:pos x="connsiteX4838" y="connsiteY4838"/>
                </a:cxn>
                <a:cxn ang="0">
                  <a:pos x="connsiteX4839" y="connsiteY4839"/>
                </a:cxn>
                <a:cxn ang="0">
                  <a:pos x="connsiteX4840" y="connsiteY4840"/>
                </a:cxn>
                <a:cxn ang="0">
                  <a:pos x="connsiteX4841" y="connsiteY4841"/>
                </a:cxn>
                <a:cxn ang="0">
                  <a:pos x="connsiteX4842" y="connsiteY4842"/>
                </a:cxn>
                <a:cxn ang="0">
                  <a:pos x="connsiteX4843" y="connsiteY4843"/>
                </a:cxn>
                <a:cxn ang="0">
                  <a:pos x="connsiteX4844" y="connsiteY4844"/>
                </a:cxn>
                <a:cxn ang="0">
                  <a:pos x="connsiteX4845" y="connsiteY4845"/>
                </a:cxn>
                <a:cxn ang="0">
                  <a:pos x="connsiteX4846" y="connsiteY4846"/>
                </a:cxn>
                <a:cxn ang="0">
                  <a:pos x="connsiteX4847" y="connsiteY4847"/>
                </a:cxn>
                <a:cxn ang="0">
                  <a:pos x="connsiteX4848" y="connsiteY4848"/>
                </a:cxn>
                <a:cxn ang="0">
                  <a:pos x="connsiteX4849" y="connsiteY4849"/>
                </a:cxn>
                <a:cxn ang="0">
                  <a:pos x="connsiteX4850" y="connsiteY4850"/>
                </a:cxn>
                <a:cxn ang="0">
                  <a:pos x="connsiteX4851" y="connsiteY4851"/>
                </a:cxn>
                <a:cxn ang="0">
                  <a:pos x="connsiteX4852" y="connsiteY4852"/>
                </a:cxn>
                <a:cxn ang="0">
                  <a:pos x="connsiteX4853" y="connsiteY4853"/>
                </a:cxn>
                <a:cxn ang="0">
                  <a:pos x="connsiteX4854" y="connsiteY4854"/>
                </a:cxn>
                <a:cxn ang="0">
                  <a:pos x="connsiteX4855" y="connsiteY4855"/>
                </a:cxn>
                <a:cxn ang="0">
                  <a:pos x="connsiteX4856" y="connsiteY4856"/>
                </a:cxn>
                <a:cxn ang="0">
                  <a:pos x="connsiteX4857" y="connsiteY4857"/>
                </a:cxn>
                <a:cxn ang="0">
                  <a:pos x="connsiteX4858" y="connsiteY4858"/>
                </a:cxn>
                <a:cxn ang="0">
                  <a:pos x="connsiteX4859" y="connsiteY4859"/>
                </a:cxn>
                <a:cxn ang="0">
                  <a:pos x="connsiteX4860" y="connsiteY4860"/>
                </a:cxn>
                <a:cxn ang="0">
                  <a:pos x="connsiteX4861" y="connsiteY4861"/>
                </a:cxn>
                <a:cxn ang="0">
                  <a:pos x="connsiteX4862" y="connsiteY4862"/>
                </a:cxn>
                <a:cxn ang="0">
                  <a:pos x="connsiteX4863" y="connsiteY4863"/>
                </a:cxn>
                <a:cxn ang="0">
                  <a:pos x="connsiteX4864" y="connsiteY4864"/>
                </a:cxn>
                <a:cxn ang="0">
                  <a:pos x="connsiteX4865" y="connsiteY4865"/>
                </a:cxn>
                <a:cxn ang="0">
                  <a:pos x="connsiteX4866" y="connsiteY4866"/>
                </a:cxn>
                <a:cxn ang="0">
                  <a:pos x="connsiteX4867" y="connsiteY4867"/>
                </a:cxn>
                <a:cxn ang="0">
                  <a:pos x="connsiteX4868" y="connsiteY4868"/>
                </a:cxn>
                <a:cxn ang="0">
                  <a:pos x="connsiteX4869" y="connsiteY4869"/>
                </a:cxn>
                <a:cxn ang="0">
                  <a:pos x="connsiteX4870" y="connsiteY4870"/>
                </a:cxn>
                <a:cxn ang="0">
                  <a:pos x="connsiteX4871" y="connsiteY4871"/>
                </a:cxn>
                <a:cxn ang="0">
                  <a:pos x="connsiteX4872" y="connsiteY4872"/>
                </a:cxn>
                <a:cxn ang="0">
                  <a:pos x="connsiteX4873" y="connsiteY4873"/>
                </a:cxn>
                <a:cxn ang="0">
                  <a:pos x="connsiteX4874" y="connsiteY4874"/>
                </a:cxn>
                <a:cxn ang="0">
                  <a:pos x="connsiteX4875" y="connsiteY4875"/>
                </a:cxn>
                <a:cxn ang="0">
                  <a:pos x="connsiteX4876" y="connsiteY4876"/>
                </a:cxn>
                <a:cxn ang="0">
                  <a:pos x="connsiteX4877" y="connsiteY4877"/>
                </a:cxn>
                <a:cxn ang="0">
                  <a:pos x="connsiteX4878" y="connsiteY4878"/>
                </a:cxn>
                <a:cxn ang="0">
                  <a:pos x="connsiteX4879" y="connsiteY4879"/>
                </a:cxn>
                <a:cxn ang="0">
                  <a:pos x="connsiteX4880" y="connsiteY4880"/>
                </a:cxn>
                <a:cxn ang="0">
                  <a:pos x="connsiteX4881" y="connsiteY4881"/>
                </a:cxn>
                <a:cxn ang="0">
                  <a:pos x="connsiteX4882" y="connsiteY4882"/>
                </a:cxn>
                <a:cxn ang="0">
                  <a:pos x="connsiteX4883" y="connsiteY4883"/>
                </a:cxn>
                <a:cxn ang="0">
                  <a:pos x="connsiteX4884" y="connsiteY4884"/>
                </a:cxn>
                <a:cxn ang="0">
                  <a:pos x="connsiteX4885" y="connsiteY4885"/>
                </a:cxn>
                <a:cxn ang="0">
                  <a:pos x="connsiteX4886" y="connsiteY4886"/>
                </a:cxn>
                <a:cxn ang="0">
                  <a:pos x="connsiteX4887" y="connsiteY4887"/>
                </a:cxn>
                <a:cxn ang="0">
                  <a:pos x="connsiteX4888" y="connsiteY4888"/>
                </a:cxn>
                <a:cxn ang="0">
                  <a:pos x="connsiteX4889" y="connsiteY4889"/>
                </a:cxn>
                <a:cxn ang="0">
                  <a:pos x="connsiteX4890" y="connsiteY4890"/>
                </a:cxn>
                <a:cxn ang="0">
                  <a:pos x="connsiteX4891" y="connsiteY4891"/>
                </a:cxn>
                <a:cxn ang="0">
                  <a:pos x="connsiteX4892" y="connsiteY4892"/>
                </a:cxn>
                <a:cxn ang="0">
                  <a:pos x="connsiteX4893" y="connsiteY4893"/>
                </a:cxn>
                <a:cxn ang="0">
                  <a:pos x="connsiteX4894" y="connsiteY4894"/>
                </a:cxn>
                <a:cxn ang="0">
                  <a:pos x="connsiteX4895" y="connsiteY4895"/>
                </a:cxn>
                <a:cxn ang="0">
                  <a:pos x="connsiteX4896" y="connsiteY4896"/>
                </a:cxn>
                <a:cxn ang="0">
                  <a:pos x="connsiteX4897" y="connsiteY4897"/>
                </a:cxn>
                <a:cxn ang="0">
                  <a:pos x="connsiteX4898" y="connsiteY4898"/>
                </a:cxn>
                <a:cxn ang="0">
                  <a:pos x="connsiteX4899" y="connsiteY4899"/>
                </a:cxn>
                <a:cxn ang="0">
                  <a:pos x="connsiteX4900" y="connsiteY4900"/>
                </a:cxn>
                <a:cxn ang="0">
                  <a:pos x="connsiteX4901" y="connsiteY4901"/>
                </a:cxn>
                <a:cxn ang="0">
                  <a:pos x="connsiteX4902" y="connsiteY4902"/>
                </a:cxn>
                <a:cxn ang="0">
                  <a:pos x="connsiteX4903" y="connsiteY4903"/>
                </a:cxn>
                <a:cxn ang="0">
                  <a:pos x="connsiteX4904" y="connsiteY4904"/>
                </a:cxn>
                <a:cxn ang="0">
                  <a:pos x="connsiteX4905" y="connsiteY4905"/>
                </a:cxn>
                <a:cxn ang="0">
                  <a:pos x="connsiteX4906" y="connsiteY4906"/>
                </a:cxn>
                <a:cxn ang="0">
                  <a:pos x="connsiteX4907" y="connsiteY4907"/>
                </a:cxn>
                <a:cxn ang="0">
                  <a:pos x="connsiteX4908" y="connsiteY4908"/>
                </a:cxn>
                <a:cxn ang="0">
                  <a:pos x="connsiteX4909" y="connsiteY4909"/>
                </a:cxn>
                <a:cxn ang="0">
                  <a:pos x="connsiteX4910" y="connsiteY4910"/>
                </a:cxn>
                <a:cxn ang="0">
                  <a:pos x="connsiteX4911" y="connsiteY4911"/>
                </a:cxn>
                <a:cxn ang="0">
                  <a:pos x="connsiteX4912" y="connsiteY4912"/>
                </a:cxn>
                <a:cxn ang="0">
                  <a:pos x="connsiteX4913" y="connsiteY4913"/>
                </a:cxn>
                <a:cxn ang="0">
                  <a:pos x="connsiteX4914" y="connsiteY4914"/>
                </a:cxn>
                <a:cxn ang="0">
                  <a:pos x="connsiteX4915" y="connsiteY4915"/>
                </a:cxn>
                <a:cxn ang="0">
                  <a:pos x="connsiteX4916" y="connsiteY4916"/>
                </a:cxn>
                <a:cxn ang="0">
                  <a:pos x="connsiteX4917" y="connsiteY4917"/>
                </a:cxn>
                <a:cxn ang="0">
                  <a:pos x="connsiteX4918" y="connsiteY4918"/>
                </a:cxn>
                <a:cxn ang="0">
                  <a:pos x="connsiteX4919" y="connsiteY4919"/>
                </a:cxn>
                <a:cxn ang="0">
                  <a:pos x="connsiteX4920" y="connsiteY4920"/>
                </a:cxn>
                <a:cxn ang="0">
                  <a:pos x="connsiteX4921" y="connsiteY4921"/>
                </a:cxn>
                <a:cxn ang="0">
                  <a:pos x="connsiteX4922" y="connsiteY4922"/>
                </a:cxn>
                <a:cxn ang="0">
                  <a:pos x="connsiteX4923" y="connsiteY4923"/>
                </a:cxn>
                <a:cxn ang="0">
                  <a:pos x="connsiteX4924" y="connsiteY4924"/>
                </a:cxn>
                <a:cxn ang="0">
                  <a:pos x="connsiteX4925" y="connsiteY4925"/>
                </a:cxn>
                <a:cxn ang="0">
                  <a:pos x="connsiteX4926" y="connsiteY4926"/>
                </a:cxn>
                <a:cxn ang="0">
                  <a:pos x="connsiteX4927" y="connsiteY4927"/>
                </a:cxn>
                <a:cxn ang="0">
                  <a:pos x="connsiteX4928" y="connsiteY4928"/>
                </a:cxn>
                <a:cxn ang="0">
                  <a:pos x="connsiteX4929" y="connsiteY4929"/>
                </a:cxn>
                <a:cxn ang="0">
                  <a:pos x="connsiteX4930" y="connsiteY4930"/>
                </a:cxn>
                <a:cxn ang="0">
                  <a:pos x="connsiteX4931" y="connsiteY4931"/>
                </a:cxn>
                <a:cxn ang="0">
                  <a:pos x="connsiteX4932" y="connsiteY4932"/>
                </a:cxn>
                <a:cxn ang="0">
                  <a:pos x="connsiteX4933" y="connsiteY4933"/>
                </a:cxn>
                <a:cxn ang="0">
                  <a:pos x="connsiteX4934" y="connsiteY4934"/>
                </a:cxn>
                <a:cxn ang="0">
                  <a:pos x="connsiteX4935" y="connsiteY4935"/>
                </a:cxn>
                <a:cxn ang="0">
                  <a:pos x="connsiteX4936" y="connsiteY4936"/>
                </a:cxn>
                <a:cxn ang="0">
                  <a:pos x="connsiteX4937" y="connsiteY4937"/>
                </a:cxn>
                <a:cxn ang="0">
                  <a:pos x="connsiteX4938" y="connsiteY4938"/>
                </a:cxn>
                <a:cxn ang="0">
                  <a:pos x="connsiteX4939" y="connsiteY4939"/>
                </a:cxn>
                <a:cxn ang="0">
                  <a:pos x="connsiteX4940" y="connsiteY4940"/>
                </a:cxn>
                <a:cxn ang="0">
                  <a:pos x="connsiteX4941" y="connsiteY4941"/>
                </a:cxn>
                <a:cxn ang="0">
                  <a:pos x="connsiteX4942" y="connsiteY4942"/>
                </a:cxn>
                <a:cxn ang="0">
                  <a:pos x="connsiteX4943" y="connsiteY4943"/>
                </a:cxn>
                <a:cxn ang="0">
                  <a:pos x="connsiteX4944" y="connsiteY4944"/>
                </a:cxn>
                <a:cxn ang="0">
                  <a:pos x="connsiteX4945" y="connsiteY4945"/>
                </a:cxn>
                <a:cxn ang="0">
                  <a:pos x="connsiteX4946" y="connsiteY4946"/>
                </a:cxn>
                <a:cxn ang="0">
                  <a:pos x="connsiteX4947" y="connsiteY4947"/>
                </a:cxn>
                <a:cxn ang="0">
                  <a:pos x="connsiteX4948" y="connsiteY4948"/>
                </a:cxn>
                <a:cxn ang="0">
                  <a:pos x="connsiteX4949" y="connsiteY4949"/>
                </a:cxn>
                <a:cxn ang="0">
                  <a:pos x="connsiteX4950" y="connsiteY4950"/>
                </a:cxn>
                <a:cxn ang="0">
                  <a:pos x="connsiteX4951" y="connsiteY4951"/>
                </a:cxn>
                <a:cxn ang="0">
                  <a:pos x="connsiteX4952" y="connsiteY4952"/>
                </a:cxn>
                <a:cxn ang="0">
                  <a:pos x="connsiteX4953" y="connsiteY4953"/>
                </a:cxn>
                <a:cxn ang="0">
                  <a:pos x="connsiteX4954" y="connsiteY4954"/>
                </a:cxn>
                <a:cxn ang="0">
                  <a:pos x="connsiteX4955" y="connsiteY4955"/>
                </a:cxn>
                <a:cxn ang="0">
                  <a:pos x="connsiteX4956" y="connsiteY4956"/>
                </a:cxn>
                <a:cxn ang="0">
                  <a:pos x="connsiteX4957" y="connsiteY4957"/>
                </a:cxn>
                <a:cxn ang="0">
                  <a:pos x="connsiteX4958" y="connsiteY4958"/>
                </a:cxn>
                <a:cxn ang="0">
                  <a:pos x="connsiteX4959" y="connsiteY4959"/>
                </a:cxn>
                <a:cxn ang="0">
                  <a:pos x="connsiteX4960" y="connsiteY4960"/>
                </a:cxn>
                <a:cxn ang="0">
                  <a:pos x="connsiteX4961" y="connsiteY4961"/>
                </a:cxn>
                <a:cxn ang="0">
                  <a:pos x="connsiteX4962" y="connsiteY4962"/>
                </a:cxn>
                <a:cxn ang="0">
                  <a:pos x="connsiteX4963" y="connsiteY4963"/>
                </a:cxn>
                <a:cxn ang="0">
                  <a:pos x="connsiteX4964" y="connsiteY4964"/>
                </a:cxn>
                <a:cxn ang="0">
                  <a:pos x="connsiteX4965" y="connsiteY4965"/>
                </a:cxn>
                <a:cxn ang="0">
                  <a:pos x="connsiteX4966" y="connsiteY4966"/>
                </a:cxn>
                <a:cxn ang="0">
                  <a:pos x="connsiteX4967" y="connsiteY4967"/>
                </a:cxn>
                <a:cxn ang="0">
                  <a:pos x="connsiteX4968" y="connsiteY4968"/>
                </a:cxn>
                <a:cxn ang="0">
                  <a:pos x="connsiteX4969" y="connsiteY4969"/>
                </a:cxn>
                <a:cxn ang="0">
                  <a:pos x="connsiteX4970" y="connsiteY4970"/>
                </a:cxn>
                <a:cxn ang="0">
                  <a:pos x="connsiteX4971" y="connsiteY4971"/>
                </a:cxn>
                <a:cxn ang="0">
                  <a:pos x="connsiteX4972" y="connsiteY4972"/>
                </a:cxn>
                <a:cxn ang="0">
                  <a:pos x="connsiteX4973" y="connsiteY4973"/>
                </a:cxn>
                <a:cxn ang="0">
                  <a:pos x="connsiteX4974" y="connsiteY4974"/>
                </a:cxn>
                <a:cxn ang="0">
                  <a:pos x="connsiteX4975" y="connsiteY4975"/>
                </a:cxn>
                <a:cxn ang="0">
                  <a:pos x="connsiteX4976" y="connsiteY4976"/>
                </a:cxn>
                <a:cxn ang="0">
                  <a:pos x="connsiteX4977" y="connsiteY4977"/>
                </a:cxn>
                <a:cxn ang="0">
                  <a:pos x="connsiteX4978" y="connsiteY4978"/>
                </a:cxn>
                <a:cxn ang="0">
                  <a:pos x="connsiteX4979" y="connsiteY4979"/>
                </a:cxn>
                <a:cxn ang="0">
                  <a:pos x="connsiteX4980" y="connsiteY4980"/>
                </a:cxn>
                <a:cxn ang="0">
                  <a:pos x="connsiteX4981" y="connsiteY4981"/>
                </a:cxn>
                <a:cxn ang="0">
                  <a:pos x="connsiteX4982" y="connsiteY4982"/>
                </a:cxn>
                <a:cxn ang="0">
                  <a:pos x="connsiteX4983" y="connsiteY4983"/>
                </a:cxn>
                <a:cxn ang="0">
                  <a:pos x="connsiteX4984" y="connsiteY4984"/>
                </a:cxn>
                <a:cxn ang="0">
                  <a:pos x="connsiteX4985" y="connsiteY4985"/>
                </a:cxn>
                <a:cxn ang="0">
                  <a:pos x="connsiteX4986" y="connsiteY4986"/>
                </a:cxn>
                <a:cxn ang="0">
                  <a:pos x="connsiteX4987" y="connsiteY4987"/>
                </a:cxn>
                <a:cxn ang="0">
                  <a:pos x="connsiteX4988" y="connsiteY4988"/>
                </a:cxn>
                <a:cxn ang="0">
                  <a:pos x="connsiteX4989" y="connsiteY4989"/>
                </a:cxn>
                <a:cxn ang="0">
                  <a:pos x="connsiteX4990" y="connsiteY4990"/>
                </a:cxn>
                <a:cxn ang="0">
                  <a:pos x="connsiteX4991" y="connsiteY4991"/>
                </a:cxn>
                <a:cxn ang="0">
                  <a:pos x="connsiteX4992" y="connsiteY4992"/>
                </a:cxn>
                <a:cxn ang="0">
                  <a:pos x="connsiteX4993" y="connsiteY4993"/>
                </a:cxn>
                <a:cxn ang="0">
                  <a:pos x="connsiteX4994" y="connsiteY4994"/>
                </a:cxn>
                <a:cxn ang="0">
                  <a:pos x="connsiteX4995" y="connsiteY4995"/>
                </a:cxn>
                <a:cxn ang="0">
                  <a:pos x="connsiteX4996" y="connsiteY4996"/>
                </a:cxn>
                <a:cxn ang="0">
                  <a:pos x="connsiteX4997" y="connsiteY4997"/>
                </a:cxn>
                <a:cxn ang="0">
                  <a:pos x="connsiteX4998" y="connsiteY4998"/>
                </a:cxn>
                <a:cxn ang="0">
                  <a:pos x="connsiteX4999" y="connsiteY4999"/>
                </a:cxn>
                <a:cxn ang="0">
                  <a:pos x="connsiteX5000" y="connsiteY5000"/>
                </a:cxn>
                <a:cxn ang="0">
                  <a:pos x="connsiteX5001" y="connsiteY5001"/>
                </a:cxn>
                <a:cxn ang="0">
                  <a:pos x="connsiteX5002" y="connsiteY5002"/>
                </a:cxn>
                <a:cxn ang="0">
                  <a:pos x="connsiteX5003" y="connsiteY5003"/>
                </a:cxn>
                <a:cxn ang="0">
                  <a:pos x="connsiteX5004" y="connsiteY5004"/>
                </a:cxn>
                <a:cxn ang="0">
                  <a:pos x="connsiteX5005" y="connsiteY5005"/>
                </a:cxn>
                <a:cxn ang="0">
                  <a:pos x="connsiteX5006" y="connsiteY5006"/>
                </a:cxn>
                <a:cxn ang="0">
                  <a:pos x="connsiteX5007" y="connsiteY5007"/>
                </a:cxn>
                <a:cxn ang="0">
                  <a:pos x="connsiteX5008" y="connsiteY5008"/>
                </a:cxn>
                <a:cxn ang="0">
                  <a:pos x="connsiteX5009" y="connsiteY5009"/>
                </a:cxn>
                <a:cxn ang="0">
                  <a:pos x="connsiteX5010" y="connsiteY5010"/>
                </a:cxn>
                <a:cxn ang="0">
                  <a:pos x="connsiteX5011" y="connsiteY5011"/>
                </a:cxn>
                <a:cxn ang="0">
                  <a:pos x="connsiteX5012" y="connsiteY5012"/>
                </a:cxn>
                <a:cxn ang="0">
                  <a:pos x="connsiteX5013" y="connsiteY5013"/>
                </a:cxn>
                <a:cxn ang="0">
                  <a:pos x="connsiteX5014" y="connsiteY5014"/>
                </a:cxn>
                <a:cxn ang="0">
                  <a:pos x="connsiteX5015" y="connsiteY5015"/>
                </a:cxn>
                <a:cxn ang="0">
                  <a:pos x="connsiteX5016" y="connsiteY5016"/>
                </a:cxn>
                <a:cxn ang="0">
                  <a:pos x="connsiteX5017" y="connsiteY5017"/>
                </a:cxn>
                <a:cxn ang="0">
                  <a:pos x="connsiteX5018" y="connsiteY5018"/>
                </a:cxn>
                <a:cxn ang="0">
                  <a:pos x="connsiteX5019" y="connsiteY5019"/>
                </a:cxn>
                <a:cxn ang="0">
                  <a:pos x="connsiteX5020" y="connsiteY5020"/>
                </a:cxn>
                <a:cxn ang="0">
                  <a:pos x="connsiteX5021" y="connsiteY5021"/>
                </a:cxn>
                <a:cxn ang="0">
                  <a:pos x="connsiteX5022" y="connsiteY5022"/>
                </a:cxn>
                <a:cxn ang="0">
                  <a:pos x="connsiteX5023" y="connsiteY5023"/>
                </a:cxn>
                <a:cxn ang="0">
                  <a:pos x="connsiteX5024" y="connsiteY5024"/>
                </a:cxn>
                <a:cxn ang="0">
                  <a:pos x="connsiteX5025" y="connsiteY5025"/>
                </a:cxn>
                <a:cxn ang="0">
                  <a:pos x="connsiteX5026" y="connsiteY5026"/>
                </a:cxn>
                <a:cxn ang="0">
                  <a:pos x="connsiteX5027" y="connsiteY5027"/>
                </a:cxn>
                <a:cxn ang="0">
                  <a:pos x="connsiteX5028" y="connsiteY5028"/>
                </a:cxn>
                <a:cxn ang="0">
                  <a:pos x="connsiteX5029" y="connsiteY5029"/>
                </a:cxn>
                <a:cxn ang="0">
                  <a:pos x="connsiteX5030" y="connsiteY5030"/>
                </a:cxn>
                <a:cxn ang="0">
                  <a:pos x="connsiteX5031" y="connsiteY5031"/>
                </a:cxn>
                <a:cxn ang="0">
                  <a:pos x="connsiteX5032" y="connsiteY5032"/>
                </a:cxn>
                <a:cxn ang="0">
                  <a:pos x="connsiteX5033" y="connsiteY5033"/>
                </a:cxn>
                <a:cxn ang="0">
                  <a:pos x="connsiteX5034" y="connsiteY5034"/>
                </a:cxn>
                <a:cxn ang="0">
                  <a:pos x="connsiteX5035" y="connsiteY5035"/>
                </a:cxn>
                <a:cxn ang="0">
                  <a:pos x="connsiteX5036" y="connsiteY5036"/>
                </a:cxn>
                <a:cxn ang="0">
                  <a:pos x="connsiteX5037" y="connsiteY5037"/>
                </a:cxn>
                <a:cxn ang="0">
                  <a:pos x="connsiteX5038" y="connsiteY5038"/>
                </a:cxn>
                <a:cxn ang="0">
                  <a:pos x="connsiteX5039" y="connsiteY5039"/>
                </a:cxn>
                <a:cxn ang="0">
                  <a:pos x="connsiteX5040" y="connsiteY5040"/>
                </a:cxn>
                <a:cxn ang="0">
                  <a:pos x="connsiteX5041" y="connsiteY5041"/>
                </a:cxn>
                <a:cxn ang="0">
                  <a:pos x="connsiteX5042" y="connsiteY5042"/>
                </a:cxn>
                <a:cxn ang="0">
                  <a:pos x="connsiteX5043" y="connsiteY5043"/>
                </a:cxn>
                <a:cxn ang="0">
                  <a:pos x="connsiteX5044" y="connsiteY5044"/>
                </a:cxn>
                <a:cxn ang="0">
                  <a:pos x="connsiteX5045" y="connsiteY5045"/>
                </a:cxn>
                <a:cxn ang="0">
                  <a:pos x="connsiteX5046" y="connsiteY5046"/>
                </a:cxn>
                <a:cxn ang="0">
                  <a:pos x="connsiteX5047" y="connsiteY5047"/>
                </a:cxn>
                <a:cxn ang="0">
                  <a:pos x="connsiteX5048" y="connsiteY5048"/>
                </a:cxn>
                <a:cxn ang="0">
                  <a:pos x="connsiteX5049" y="connsiteY5049"/>
                </a:cxn>
                <a:cxn ang="0">
                  <a:pos x="connsiteX5050" y="connsiteY5050"/>
                </a:cxn>
                <a:cxn ang="0">
                  <a:pos x="connsiteX5051" y="connsiteY5051"/>
                </a:cxn>
                <a:cxn ang="0">
                  <a:pos x="connsiteX5052" y="connsiteY5052"/>
                </a:cxn>
                <a:cxn ang="0">
                  <a:pos x="connsiteX5053" y="connsiteY5053"/>
                </a:cxn>
                <a:cxn ang="0">
                  <a:pos x="connsiteX5054" y="connsiteY5054"/>
                </a:cxn>
                <a:cxn ang="0">
                  <a:pos x="connsiteX5055" y="connsiteY5055"/>
                </a:cxn>
                <a:cxn ang="0">
                  <a:pos x="connsiteX5056" y="connsiteY5056"/>
                </a:cxn>
                <a:cxn ang="0">
                  <a:pos x="connsiteX5057" y="connsiteY5057"/>
                </a:cxn>
                <a:cxn ang="0">
                  <a:pos x="connsiteX5058" y="connsiteY5058"/>
                </a:cxn>
                <a:cxn ang="0">
                  <a:pos x="connsiteX5059" y="connsiteY5059"/>
                </a:cxn>
                <a:cxn ang="0">
                  <a:pos x="connsiteX5060" y="connsiteY5060"/>
                </a:cxn>
                <a:cxn ang="0">
                  <a:pos x="connsiteX5061" y="connsiteY5061"/>
                </a:cxn>
                <a:cxn ang="0">
                  <a:pos x="connsiteX5062" y="connsiteY5062"/>
                </a:cxn>
                <a:cxn ang="0">
                  <a:pos x="connsiteX5063" y="connsiteY5063"/>
                </a:cxn>
                <a:cxn ang="0">
                  <a:pos x="connsiteX5064" y="connsiteY5064"/>
                </a:cxn>
                <a:cxn ang="0">
                  <a:pos x="connsiteX5065" y="connsiteY5065"/>
                </a:cxn>
                <a:cxn ang="0">
                  <a:pos x="connsiteX5066" y="connsiteY5066"/>
                </a:cxn>
                <a:cxn ang="0">
                  <a:pos x="connsiteX5067" y="connsiteY5067"/>
                </a:cxn>
                <a:cxn ang="0">
                  <a:pos x="connsiteX5068" y="connsiteY5068"/>
                </a:cxn>
                <a:cxn ang="0">
                  <a:pos x="connsiteX5069" y="connsiteY5069"/>
                </a:cxn>
                <a:cxn ang="0">
                  <a:pos x="connsiteX5070" y="connsiteY5070"/>
                </a:cxn>
                <a:cxn ang="0">
                  <a:pos x="connsiteX5071" y="connsiteY5071"/>
                </a:cxn>
                <a:cxn ang="0">
                  <a:pos x="connsiteX5072" y="connsiteY5072"/>
                </a:cxn>
                <a:cxn ang="0">
                  <a:pos x="connsiteX5073" y="connsiteY5073"/>
                </a:cxn>
                <a:cxn ang="0">
                  <a:pos x="connsiteX5074" y="connsiteY5074"/>
                </a:cxn>
                <a:cxn ang="0">
                  <a:pos x="connsiteX5075" y="connsiteY5075"/>
                </a:cxn>
                <a:cxn ang="0">
                  <a:pos x="connsiteX5076" y="connsiteY5076"/>
                </a:cxn>
                <a:cxn ang="0">
                  <a:pos x="connsiteX5077" y="connsiteY5077"/>
                </a:cxn>
                <a:cxn ang="0">
                  <a:pos x="connsiteX5078" y="connsiteY5078"/>
                </a:cxn>
                <a:cxn ang="0">
                  <a:pos x="connsiteX5079" y="connsiteY5079"/>
                </a:cxn>
                <a:cxn ang="0">
                  <a:pos x="connsiteX5080" y="connsiteY5080"/>
                </a:cxn>
                <a:cxn ang="0">
                  <a:pos x="connsiteX5081" y="connsiteY5081"/>
                </a:cxn>
                <a:cxn ang="0">
                  <a:pos x="connsiteX5082" y="connsiteY5082"/>
                </a:cxn>
                <a:cxn ang="0">
                  <a:pos x="connsiteX5083" y="connsiteY5083"/>
                </a:cxn>
                <a:cxn ang="0">
                  <a:pos x="connsiteX5084" y="connsiteY5084"/>
                </a:cxn>
                <a:cxn ang="0">
                  <a:pos x="connsiteX5085" y="connsiteY5085"/>
                </a:cxn>
                <a:cxn ang="0">
                  <a:pos x="connsiteX5086" y="connsiteY5086"/>
                </a:cxn>
                <a:cxn ang="0">
                  <a:pos x="connsiteX5087" y="connsiteY5087"/>
                </a:cxn>
                <a:cxn ang="0">
                  <a:pos x="connsiteX5088" y="connsiteY5088"/>
                </a:cxn>
                <a:cxn ang="0">
                  <a:pos x="connsiteX5089" y="connsiteY5089"/>
                </a:cxn>
                <a:cxn ang="0">
                  <a:pos x="connsiteX5090" y="connsiteY5090"/>
                </a:cxn>
                <a:cxn ang="0">
                  <a:pos x="connsiteX5091" y="connsiteY5091"/>
                </a:cxn>
                <a:cxn ang="0">
                  <a:pos x="connsiteX5092" y="connsiteY5092"/>
                </a:cxn>
                <a:cxn ang="0">
                  <a:pos x="connsiteX5093" y="connsiteY5093"/>
                </a:cxn>
                <a:cxn ang="0">
                  <a:pos x="connsiteX5094" y="connsiteY5094"/>
                </a:cxn>
                <a:cxn ang="0">
                  <a:pos x="connsiteX5095" y="connsiteY5095"/>
                </a:cxn>
                <a:cxn ang="0">
                  <a:pos x="connsiteX5096" y="connsiteY5096"/>
                </a:cxn>
                <a:cxn ang="0">
                  <a:pos x="connsiteX5097" y="connsiteY5097"/>
                </a:cxn>
                <a:cxn ang="0">
                  <a:pos x="connsiteX5098" y="connsiteY5098"/>
                </a:cxn>
                <a:cxn ang="0">
                  <a:pos x="connsiteX5099" y="connsiteY5099"/>
                </a:cxn>
                <a:cxn ang="0">
                  <a:pos x="connsiteX5100" y="connsiteY5100"/>
                </a:cxn>
                <a:cxn ang="0">
                  <a:pos x="connsiteX5101" y="connsiteY5101"/>
                </a:cxn>
                <a:cxn ang="0">
                  <a:pos x="connsiteX5102" y="connsiteY5102"/>
                </a:cxn>
                <a:cxn ang="0">
                  <a:pos x="connsiteX5103" y="connsiteY5103"/>
                </a:cxn>
                <a:cxn ang="0">
                  <a:pos x="connsiteX5104" y="connsiteY5104"/>
                </a:cxn>
                <a:cxn ang="0">
                  <a:pos x="connsiteX5105" y="connsiteY5105"/>
                </a:cxn>
                <a:cxn ang="0">
                  <a:pos x="connsiteX5106" y="connsiteY5106"/>
                </a:cxn>
                <a:cxn ang="0">
                  <a:pos x="connsiteX5107" y="connsiteY5107"/>
                </a:cxn>
                <a:cxn ang="0">
                  <a:pos x="connsiteX5108" y="connsiteY5108"/>
                </a:cxn>
                <a:cxn ang="0">
                  <a:pos x="connsiteX5109" y="connsiteY5109"/>
                </a:cxn>
                <a:cxn ang="0">
                  <a:pos x="connsiteX5110" y="connsiteY5110"/>
                </a:cxn>
                <a:cxn ang="0">
                  <a:pos x="connsiteX5111" y="connsiteY5111"/>
                </a:cxn>
                <a:cxn ang="0">
                  <a:pos x="connsiteX5112" y="connsiteY5112"/>
                </a:cxn>
                <a:cxn ang="0">
                  <a:pos x="connsiteX5113" y="connsiteY5113"/>
                </a:cxn>
                <a:cxn ang="0">
                  <a:pos x="connsiteX5114" y="connsiteY5114"/>
                </a:cxn>
                <a:cxn ang="0">
                  <a:pos x="connsiteX5115" y="connsiteY5115"/>
                </a:cxn>
                <a:cxn ang="0">
                  <a:pos x="connsiteX5116" y="connsiteY5116"/>
                </a:cxn>
                <a:cxn ang="0">
                  <a:pos x="connsiteX5117" y="connsiteY5117"/>
                </a:cxn>
                <a:cxn ang="0">
                  <a:pos x="connsiteX5118" y="connsiteY5118"/>
                </a:cxn>
                <a:cxn ang="0">
                  <a:pos x="connsiteX5119" y="connsiteY5119"/>
                </a:cxn>
                <a:cxn ang="0">
                  <a:pos x="connsiteX5120" y="connsiteY5120"/>
                </a:cxn>
                <a:cxn ang="0">
                  <a:pos x="connsiteX5121" y="connsiteY5121"/>
                </a:cxn>
                <a:cxn ang="0">
                  <a:pos x="connsiteX5122" y="connsiteY5122"/>
                </a:cxn>
                <a:cxn ang="0">
                  <a:pos x="connsiteX5123" y="connsiteY5123"/>
                </a:cxn>
                <a:cxn ang="0">
                  <a:pos x="connsiteX5124" y="connsiteY5124"/>
                </a:cxn>
                <a:cxn ang="0">
                  <a:pos x="connsiteX5125" y="connsiteY5125"/>
                </a:cxn>
                <a:cxn ang="0">
                  <a:pos x="connsiteX5126" y="connsiteY5126"/>
                </a:cxn>
                <a:cxn ang="0">
                  <a:pos x="connsiteX5127" y="connsiteY5127"/>
                </a:cxn>
                <a:cxn ang="0">
                  <a:pos x="connsiteX5128" y="connsiteY5128"/>
                </a:cxn>
                <a:cxn ang="0">
                  <a:pos x="connsiteX5129" y="connsiteY5129"/>
                </a:cxn>
                <a:cxn ang="0">
                  <a:pos x="connsiteX5130" y="connsiteY5130"/>
                </a:cxn>
                <a:cxn ang="0">
                  <a:pos x="connsiteX5131" y="connsiteY5131"/>
                </a:cxn>
                <a:cxn ang="0">
                  <a:pos x="connsiteX5132" y="connsiteY5132"/>
                </a:cxn>
                <a:cxn ang="0">
                  <a:pos x="connsiteX5133" y="connsiteY5133"/>
                </a:cxn>
                <a:cxn ang="0">
                  <a:pos x="connsiteX5134" y="connsiteY5134"/>
                </a:cxn>
                <a:cxn ang="0">
                  <a:pos x="connsiteX5135" y="connsiteY5135"/>
                </a:cxn>
                <a:cxn ang="0">
                  <a:pos x="connsiteX5136" y="connsiteY5136"/>
                </a:cxn>
                <a:cxn ang="0">
                  <a:pos x="connsiteX5137" y="connsiteY5137"/>
                </a:cxn>
                <a:cxn ang="0">
                  <a:pos x="connsiteX5138" y="connsiteY5138"/>
                </a:cxn>
                <a:cxn ang="0">
                  <a:pos x="connsiteX5139" y="connsiteY5139"/>
                </a:cxn>
                <a:cxn ang="0">
                  <a:pos x="connsiteX5140" y="connsiteY5140"/>
                </a:cxn>
                <a:cxn ang="0">
                  <a:pos x="connsiteX5141" y="connsiteY5141"/>
                </a:cxn>
                <a:cxn ang="0">
                  <a:pos x="connsiteX5142" y="connsiteY5142"/>
                </a:cxn>
                <a:cxn ang="0">
                  <a:pos x="connsiteX5143" y="connsiteY5143"/>
                </a:cxn>
                <a:cxn ang="0">
                  <a:pos x="connsiteX5144" y="connsiteY5144"/>
                </a:cxn>
                <a:cxn ang="0">
                  <a:pos x="connsiteX5145" y="connsiteY5145"/>
                </a:cxn>
                <a:cxn ang="0">
                  <a:pos x="connsiteX5146" y="connsiteY5146"/>
                </a:cxn>
                <a:cxn ang="0">
                  <a:pos x="connsiteX5147" y="connsiteY5147"/>
                </a:cxn>
                <a:cxn ang="0">
                  <a:pos x="connsiteX5148" y="connsiteY5148"/>
                </a:cxn>
                <a:cxn ang="0">
                  <a:pos x="connsiteX5149" y="connsiteY5149"/>
                </a:cxn>
                <a:cxn ang="0">
                  <a:pos x="connsiteX5150" y="connsiteY5150"/>
                </a:cxn>
                <a:cxn ang="0">
                  <a:pos x="connsiteX5151" y="connsiteY5151"/>
                </a:cxn>
                <a:cxn ang="0">
                  <a:pos x="connsiteX5152" y="connsiteY5152"/>
                </a:cxn>
                <a:cxn ang="0">
                  <a:pos x="connsiteX5153" y="connsiteY5153"/>
                </a:cxn>
                <a:cxn ang="0">
                  <a:pos x="connsiteX5154" y="connsiteY5154"/>
                </a:cxn>
                <a:cxn ang="0">
                  <a:pos x="connsiteX5155" y="connsiteY5155"/>
                </a:cxn>
                <a:cxn ang="0">
                  <a:pos x="connsiteX5156" y="connsiteY5156"/>
                </a:cxn>
                <a:cxn ang="0">
                  <a:pos x="connsiteX5157" y="connsiteY5157"/>
                </a:cxn>
                <a:cxn ang="0">
                  <a:pos x="connsiteX5158" y="connsiteY5158"/>
                </a:cxn>
                <a:cxn ang="0">
                  <a:pos x="connsiteX5159" y="connsiteY5159"/>
                </a:cxn>
                <a:cxn ang="0">
                  <a:pos x="connsiteX5160" y="connsiteY5160"/>
                </a:cxn>
                <a:cxn ang="0">
                  <a:pos x="connsiteX5161" y="connsiteY5161"/>
                </a:cxn>
                <a:cxn ang="0">
                  <a:pos x="connsiteX5162" y="connsiteY5162"/>
                </a:cxn>
                <a:cxn ang="0">
                  <a:pos x="connsiteX5163" y="connsiteY5163"/>
                </a:cxn>
                <a:cxn ang="0">
                  <a:pos x="connsiteX5164" y="connsiteY5164"/>
                </a:cxn>
                <a:cxn ang="0">
                  <a:pos x="connsiteX5165" y="connsiteY5165"/>
                </a:cxn>
                <a:cxn ang="0">
                  <a:pos x="connsiteX5166" y="connsiteY5166"/>
                </a:cxn>
                <a:cxn ang="0">
                  <a:pos x="connsiteX5167" y="connsiteY5167"/>
                </a:cxn>
                <a:cxn ang="0">
                  <a:pos x="connsiteX5168" y="connsiteY5168"/>
                </a:cxn>
                <a:cxn ang="0">
                  <a:pos x="connsiteX5169" y="connsiteY5169"/>
                </a:cxn>
                <a:cxn ang="0">
                  <a:pos x="connsiteX5170" y="connsiteY5170"/>
                </a:cxn>
                <a:cxn ang="0">
                  <a:pos x="connsiteX5171" y="connsiteY5171"/>
                </a:cxn>
                <a:cxn ang="0">
                  <a:pos x="connsiteX5172" y="connsiteY5172"/>
                </a:cxn>
                <a:cxn ang="0">
                  <a:pos x="connsiteX5173" y="connsiteY5173"/>
                </a:cxn>
                <a:cxn ang="0">
                  <a:pos x="connsiteX5174" y="connsiteY5174"/>
                </a:cxn>
                <a:cxn ang="0">
                  <a:pos x="connsiteX5175" y="connsiteY5175"/>
                </a:cxn>
                <a:cxn ang="0">
                  <a:pos x="connsiteX5176" y="connsiteY5176"/>
                </a:cxn>
                <a:cxn ang="0">
                  <a:pos x="connsiteX5177" y="connsiteY5177"/>
                </a:cxn>
                <a:cxn ang="0">
                  <a:pos x="connsiteX5178" y="connsiteY5178"/>
                </a:cxn>
                <a:cxn ang="0">
                  <a:pos x="connsiteX5179" y="connsiteY5179"/>
                </a:cxn>
                <a:cxn ang="0">
                  <a:pos x="connsiteX5180" y="connsiteY5180"/>
                </a:cxn>
                <a:cxn ang="0">
                  <a:pos x="connsiteX5181" y="connsiteY5181"/>
                </a:cxn>
                <a:cxn ang="0">
                  <a:pos x="connsiteX5182" y="connsiteY5182"/>
                </a:cxn>
                <a:cxn ang="0">
                  <a:pos x="connsiteX5183" y="connsiteY5183"/>
                </a:cxn>
                <a:cxn ang="0">
                  <a:pos x="connsiteX5184" y="connsiteY5184"/>
                </a:cxn>
                <a:cxn ang="0">
                  <a:pos x="connsiteX5185" y="connsiteY5185"/>
                </a:cxn>
                <a:cxn ang="0">
                  <a:pos x="connsiteX5186" y="connsiteY5186"/>
                </a:cxn>
                <a:cxn ang="0">
                  <a:pos x="connsiteX5187" y="connsiteY5187"/>
                </a:cxn>
                <a:cxn ang="0">
                  <a:pos x="connsiteX5188" y="connsiteY5188"/>
                </a:cxn>
                <a:cxn ang="0">
                  <a:pos x="connsiteX5189" y="connsiteY5189"/>
                </a:cxn>
                <a:cxn ang="0">
                  <a:pos x="connsiteX5190" y="connsiteY5190"/>
                </a:cxn>
                <a:cxn ang="0">
                  <a:pos x="connsiteX5191" y="connsiteY5191"/>
                </a:cxn>
                <a:cxn ang="0">
                  <a:pos x="connsiteX5192" y="connsiteY5192"/>
                </a:cxn>
                <a:cxn ang="0">
                  <a:pos x="connsiteX5193" y="connsiteY5193"/>
                </a:cxn>
                <a:cxn ang="0">
                  <a:pos x="connsiteX5194" y="connsiteY5194"/>
                </a:cxn>
                <a:cxn ang="0">
                  <a:pos x="connsiteX5195" y="connsiteY5195"/>
                </a:cxn>
                <a:cxn ang="0">
                  <a:pos x="connsiteX5196" y="connsiteY5196"/>
                </a:cxn>
                <a:cxn ang="0">
                  <a:pos x="connsiteX5197" y="connsiteY5197"/>
                </a:cxn>
                <a:cxn ang="0">
                  <a:pos x="connsiteX5198" y="connsiteY5198"/>
                </a:cxn>
                <a:cxn ang="0">
                  <a:pos x="connsiteX5199" y="connsiteY5199"/>
                </a:cxn>
                <a:cxn ang="0">
                  <a:pos x="connsiteX5200" y="connsiteY5200"/>
                </a:cxn>
                <a:cxn ang="0">
                  <a:pos x="connsiteX5201" y="connsiteY5201"/>
                </a:cxn>
                <a:cxn ang="0">
                  <a:pos x="connsiteX5202" y="connsiteY5202"/>
                </a:cxn>
                <a:cxn ang="0">
                  <a:pos x="connsiteX5203" y="connsiteY5203"/>
                </a:cxn>
                <a:cxn ang="0">
                  <a:pos x="connsiteX5204" y="connsiteY5204"/>
                </a:cxn>
                <a:cxn ang="0">
                  <a:pos x="connsiteX5205" y="connsiteY5205"/>
                </a:cxn>
                <a:cxn ang="0">
                  <a:pos x="connsiteX5206" y="connsiteY5206"/>
                </a:cxn>
                <a:cxn ang="0">
                  <a:pos x="connsiteX5207" y="connsiteY5207"/>
                </a:cxn>
                <a:cxn ang="0">
                  <a:pos x="connsiteX5208" y="connsiteY5208"/>
                </a:cxn>
                <a:cxn ang="0">
                  <a:pos x="connsiteX5209" y="connsiteY5209"/>
                </a:cxn>
                <a:cxn ang="0">
                  <a:pos x="connsiteX5210" y="connsiteY5210"/>
                </a:cxn>
                <a:cxn ang="0">
                  <a:pos x="connsiteX5211" y="connsiteY5211"/>
                </a:cxn>
                <a:cxn ang="0">
                  <a:pos x="connsiteX5212" y="connsiteY5212"/>
                </a:cxn>
                <a:cxn ang="0">
                  <a:pos x="connsiteX5213" y="connsiteY5213"/>
                </a:cxn>
                <a:cxn ang="0">
                  <a:pos x="connsiteX5214" y="connsiteY5214"/>
                </a:cxn>
                <a:cxn ang="0">
                  <a:pos x="connsiteX5215" y="connsiteY5215"/>
                </a:cxn>
                <a:cxn ang="0">
                  <a:pos x="connsiteX5216" y="connsiteY5216"/>
                </a:cxn>
                <a:cxn ang="0">
                  <a:pos x="connsiteX5217" y="connsiteY5217"/>
                </a:cxn>
                <a:cxn ang="0">
                  <a:pos x="connsiteX5218" y="connsiteY5218"/>
                </a:cxn>
                <a:cxn ang="0">
                  <a:pos x="connsiteX5219" y="connsiteY5219"/>
                </a:cxn>
                <a:cxn ang="0">
                  <a:pos x="connsiteX5220" y="connsiteY5220"/>
                </a:cxn>
                <a:cxn ang="0">
                  <a:pos x="connsiteX5221" y="connsiteY5221"/>
                </a:cxn>
                <a:cxn ang="0">
                  <a:pos x="connsiteX5222" y="connsiteY5222"/>
                </a:cxn>
                <a:cxn ang="0">
                  <a:pos x="connsiteX5223" y="connsiteY5223"/>
                </a:cxn>
                <a:cxn ang="0">
                  <a:pos x="connsiteX5224" y="connsiteY5224"/>
                </a:cxn>
                <a:cxn ang="0">
                  <a:pos x="connsiteX5225" y="connsiteY5225"/>
                </a:cxn>
                <a:cxn ang="0">
                  <a:pos x="connsiteX5226" y="connsiteY5226"/>
                </a:cxn>
                <a:cxn ang="0">
                  <a:pos x="connsiteX5227" y="connsiteY5227"/>
                </a:cxn>
                <a:cxn ang="0">
                  <a:pos x="connsiteX5228" y="connsiteY5228"/>
                </a:cxn>
                <a:cxn ang="0">
                  <a:pos x="connsiteX5229" y="connsiteY5229"/>
                </a:cxn>
                <a:cxn ang="0">
                  <a:pos x="connsiteX5230" y="connsiteY5230"/>
                </a:cxn>
                <a:cxn ang="0">
                  <a:pos x="connsiteX5231" y="connsiteY5231"/>
                </a:cxn>
                <a:cxn ang="0">
                  <a:pos x="connsiteX5232" y="connsiteY5232"/>
                </a:cxn>
                <a:cxn ang="0">
                  <a:pos x="connsiteX5233" y="connsiteY5233"/>
                </a:cxn>
                <a:cxn ang="0">
                  <a:pos x="connsiteX5234" y="connsiteY5234"/>
                </a:cxn>
                <a:cxn ang="0">
                  <a:pos x="connsiteX5235" y="connsiteY5235"/>
                </a:cxn>
                <a:cxn ang="0">
                  <a:pos x="connsiteX5236" y="connsiteY5236"/>
                </a:cxn>
                <a:cxn ang="0">
                  <a:pos x="connsiteX5237" y="connsiteY5237"/>
                </a:cxn>
                <a:cxn ang="0">
                  <a:pos x="connsiteX5238" y="connsiteY5238"/>
                </a:cxn>
                <a:cxn ang="0">
                  <a:pos x="connsiteX5239" y="connsiteY5239"/>
                </a:cxn>
                <a:cxn ang="0">
                  <a:pos x="connsiteX5240" y="connsiteY5240"/>
                </a:cxn>
                <a:cxn ang="0">
                  <a:pos x="connsiteX5241" y="connsiteY5241"/>
                </a:cxn>
                <a:cxn ang="0">
                  <a:pos x="connsiteX5242" y="connsiteY5242"/>
                </a:cxn>
                <a:cxn ang="0">
                  <a:pos x="connsiteX5243" y="connsiteY5243"/>
                </a:cxn>
                <a:cxn ang="0">
                  <a:pos x="connsiteX5244" y="connsiteY5244"/>
                </a:cxn>
                <a:cxn ang="0">
                  <a:pos x="connsiteX5245" y="connsiteY5245"/>
                </a:cxn>
                <a:cxn ang="0">
                  <a:pos x="connsiteX5246" y="connsiteY5246"/>
                </a:cxn>
                <a:cxn ang="0">
                  <a:pos x="connsiteX5247" y="connsiteY5247"/>
                </a:cxn>
                <a:cxn ang="0">
                  <a:pos x="connsiteX5248" y="connsiteY5248"/>
                </a:cxn>
                <a:cxn ang="0">
                  <a:pos x="connsiteX5249" y="connsiteY5249"/>
                </a:cxn>
                <a:cxn ang="0">
                  <a:pos x="connsiteX5250" y="connsiteY5250"/>
                </a:cxn>
                <a:cxn ang="0">
                  <a:pos x="connsiteX5251" y="connsiteY5251"/>
                </a:cxn>
                <a:cxn ang="0">
                  <a:pos x="connsiteX5252" y="connsiteY5252"/>
                </a:cxn>
                <a:cxn ang="0">
                  <a:pos x="connsiteX5253" y="connsiteY5253"/>
                </a:cxn>
                <a:cxn ang="0">
                  <a:pos x="connsiteX5254" y="connsiteY5254"/>
                </a:cxn>
                <a:cxn ang="0">
                  <a:pos x="connsiteX5255" y="connsiteY5255"/>
                </a:cxn>
                <a:cxn ang="0">
                  <a:pos x="connsiteX5256" y="connsiteY5256"/>
                </a:cxn>
                <a:cxn ang="0">
                  <a:pos x="connsiteX5257" y="connsiteY5257"/>
                </a:cxn>
                <a:cxn ang="0">
                  <a:pos x="connsiteX5258" y="connsiteY5258"/>
                </a:cxn>
                <a:cxn ang="0">
                  <a:pos x="connsiteX5259" y="connsiteY5259"/>
                </a:cxn>
                <a:cxn ang="0">
                  <a:pos x="connsiteX5260" y="connsiteY5260"/>
                </a:cxn>
                <a:cxn ang="0">
                  <a:pos x="connsiteX5261" y="connsiteY5261"/>
                </a:cxn>
                <a:cxn ang="0">
                  <a:pos x="connsiteX5262" y="connsiteY5262"/>
                </a:cxn>
                <a:cxn ang="0">
                  <a:pos x="connsiteX5263" y="connsiteY5263"/>
                </a:cxn>
                <a:cxn ang="0">
                  <a:pos x="connsiteX5264" y="connsiteY5264"/>
                </a:cxn>
                <a:cxn ang="0">
                  <a:pos x="connsiteX5265" y="connsiteY5265"/>
                </a:cxn>
                <a:cxn ang="0">
                  <a:pos x="connsiteX5266" y="connsiteY5266"/>
                </a:cxn>
                <a:cxn ang="0">
                  <a:pos x="connsiteX5267" y="connsiteY5267"/>
                </a:cxn>
                <a:cxn ang="0">
                  <a:pos x="connsiteX5268" y="connsiteY5268"/>
                </a:cxn>
                <a:cxn ang="0">
                  <a:pos x="connsiteX5269" y="connsiteY5269"/>
                </a:cxn>
                <a:cxn ang="0">
                  <a:pos x="connsiteX5270" y="connsiteY5270"/>
                </a:cxn>
                <a:cxn ang="0">
                  <a:pos x="connsiteX5271" y="connsiteY5271"/>
                </a:cxn>
                <a:cxn ang="0">
                  <a:pos x="connsiteX5272" y="connsiteY5272"/>
                </a:cxn>
                <a:cxn ang="0">
                  <a:pos x="connsiteX5273" y="connsiteY5273"/>
                </a:cxn>
                <a:cxn ang="0">
                  <a:pos x="connsiteX5274" y="connsiteY5274"/>
                </a:cxn>
                <a:cxn ang="0">
                  <a:pos x="connsiteX5275" y="connsiteY5275"/>
                </a:cxn>
                <a:cxn ang="0">
                  <a:pos x="connsiteX5276" y="connsiteY5276"/>
                </a:cxn>
                <a:cxn ang="0">
                  <a:pos x="connsiteX5277" y="connsiteY5277"/>
                </a:cxn>
                <a:cxn ang="0">
                  <a:pos x="connsiteX5278" y="connsiteY5278"/>
                </a:cxn>
                <a:cxn ang="0">
                  <a:pos x="connsiteX5279" y="connsiteY5279"/>
                </a:cxn>
                <a:cxn ang="0">
                  <a:pos x="connsiteX5280" y="connsiteY5280"/>
                </a:cxn>
                <a:cxn ang="0">
                  <a:pos x="connsiteX5281" y="connsiteY5281"/>
                </a:cxn>
                <a:cxn ang="0">
                  <a:pos x="connsiteX5282" y="connsiteY5282"/>
                </a:cxn>
                <a:cxn ang="0">
                  <a:pos x="connsiteX5283" y="connsiteY5283"/>
                </a:cxn>
                <a:cxn ang="0">
                  <a:pos x="connsiteX5284" y="connsiteY5284"/>
                </a:cxn>
                <a:cxn ang="0">
                  <a:pos x="connsiteX5285" y="connsiteY5285"/>
                </a:cxn>
                <a:cxn ang="0">
                  <a:pos x="connsiteX5286" y="connsiteY5286"/>
                </a:cxn>
                <a:cxn ang="0">
                  <a:pos x="connsiteX5287" y="connsiteY5287"/>
                </a:cxn>
                <a:cxn ang="0">
                  <a:pos x="connsiteX5288" y="connsiteY5288"/>
                </a:cxn>
                <a:cxn ang="0">
                  <a:pos x="connsiteX5289" y="connsiteY5289"/>
                </a:cxn>
                <a:cxn ang="0">
                  <a:pos x="connsiteX5290" y="connsiteY5290"/>
                </a:cxn>
                <a:cxn ang="0">
                  <a:pos x="connsiteX5291" y="connsiteY5291"/>
                </a:cxn>
                <a:cxn ang="0">
                  <a:pos x="connsiteX5292" y="connsiteY5292"/>
                </a:cxn>
                <a:cxn ang="0">
                  <a:pos x="connsiteX5293" y="connsiteY5293"/>
                </a:cxn>
                <a:cxn ang="0">
                  <a:pos x="connsiteX5294" y="connsiteY5294"/>
                </a:cxn>
                <a:cxn ang="0">
                  <a:pos x="connsiteX5295" y="connsiteY5295"/>
                </a:cxn>
                <a:cxn ang="0">
                  <a:pos x="connsiteX5296" y="connsiteY5296"/>
                </a:cxn>
                <a:cxn ang="0">
                  <a:pos x="connsiteX5297" y="connsiteY5297"/>
                </a:cxn>
                <a:cxn ang="0">
                  <a:pos x="connsiteX5298" y="connsiteY5298"/>
                </a:cxn>
                <a:cxn ang="0">
                  <a:pos x="connsiteX5299" y="connsiteY5299"/>
                </a:cxn>
                <a:cxn ang="0">
                  <a:pos x="connsiteX5300" y="connsiteY5300"/>
                </a:cxn>
                <a:cxn ang="0">
                  <a:pos x="connsiteX5301" y="connsiteY5301"/>
                </a:cxn>
                <a:cxn ang="0">
                  <a:pos x="connsiteX5302" y="connsiteY5302"/>
                </a:cxn>
                <a:cxn ang="0">
                  <a:pos x="connsiteX5303" y="connsiteY5303"/>
                </a:cxn>
                <a:cxn ang="0">
                  <a:pos x="connsiteX5304" y="connsiteY5304"/>
                </a:cxn>
                <a:cxn ang="0">
                  <a:pos x="connsiteX5305" y="connsiteY5305"/>
                </a:cxn>
                <a:cxn ang="0">
                  <a:pos x="connsiteX5306" y="connsiteY5306"/>
                </a:cxn>
                <a:cxn ang="0">
                  <a:pos x="connsiteX5307" y="connsiteY5307"/>
                </a:cxn>
                <a:cxn ang="0">
                  <a:pos x="connsiteX5308" y="connsiteY5308"/>
                </a:cxn>
                <a:cxn ang="0">
                  <a:pos x="connsiteX5309" y="connsiteY5309"/>
                </a:cxn>
                <a:cxn ang="0">
                  <a:pos x="connsiteX5310" y="connsiteY5310"/>
                </a:cxn>
                <a:cxn ang="0">
                  <a:pos x="connsiteX5311" y="connsiteY5311"/>
                </a:cxn>
                <a:cxn ang="0">
                  <a:pos x="connsiteX5312" y="connsiteY5312"/>
                </a:cxn>
                <a:cxn ang="0">
                  <a:pos x="connsiteX5313" y="connsiteY5313"/>
                </a:cxn>
                <a:cxn ang="0">
                  <a:pos x="connsiteX5314" y="connsiteY5314"/>
                </a:cxn>
                <a:cxn ang="0">
                  <a:pos x="connsiteX5315" y="connsiteY5315"/>
                </a:cxn>
                <a:cxn ang="0">
                  <a:pos x="connsiteX5316" y="connsiteY5316"/>
                </a:cxn>
                <a:cxn ang="0">
                  <a:pos x="connsiteX5317" y="connsiteY5317"/>
                </a:cxn>
                <a:cxn ang="0">
                  <a:pos x="connsiteX5318" y="connsiteY5318"/>
                </a:cxn>
                <a:cxn ang="0">
                  <a:pos x="connsiteX5319" y="connsiteY5319"/>
                </a:cxn>
                <a:cxn ang="0">
                  <a:pos x="connsiteX5320" y="connsiteY5320"/>
                </a:cxn>
                <a:cxn ang="0">
                  <a:pos x="connsiteX5321" y="connsiteY5321"/>
                </a:cxn>
                <a:cxn ang="0">
                  <a:pos x="connsiteX5322" y="connsiteY5322"/>
                </a:cxn>
                <a:cxn ang="0">
                  <a:pos x="connsiteX5323" y="connsiteY5323"/>
                </a:cxn>
                <a:cxn ang="0">
                  <a:pos x="connsiteX5324" y="connsiteY5324"/>
                </a:cxn>
                <a:cxn ang="0">
                  <a:pos x="connsiteX5325" y="connsiteY5325"/>
                </a:cxn>
                <a:cxn ang="0">
                  <a:pos x="connsiteX5326" y="connsiteY5326"/>
                </a:cxn>
                <a:cxn ang="0">
                  <a:pos x="connsiteX5327" y="connsiteY5327"/>
                </a:cxn>
                <a:cxn ang="0">
                  <a:pos x="connsiteX5328" y="connsiteY5328"/>
                </a:cxn>
                <a:cxn ang="0">
                  <a:pos x="connsiteX5329" y="connsiteY5329"/>
                </a:cxn>
                <a:cxn ang="0">
                  <a:pos x="connsiteX5330" y="connsiteY5330"/>
                </a:cxn>
                <a:cxn ang="0">
                  <a:pos x="connsiteX5331" y="connsiteY5331"/>
                </a:cxn>
                <a:cxn ang="0">
                  <a:pos x="connsiteX5332" y="connsiteY5332"/>
                </a:cxn>
                <a:cxn ang="0">
                  <a:pos x="connsiteX5333" y="connsiteY5333"/>
                </a:cxn>
                <a:cxn ang="0">
                  <a:pos x="connsiteX5334" y="connsiteY5334"/>
                </a:cxn>
                <a:cxn ang="0">
                  <a:pos x="connsiteX5335" y="connsiteY5335"/>
                </a:cxn>
                <a:cxn ang="0">
                  <a:pos x="connsiteX5336" y="connsiteY5336"/>
                </a:cxn>
                <a:cxn ang="0">
                  <a:pos x="connsiteX5337" y="connsiteY5337"/>
                </a:cxn>
                <a:cxn ang="0">
                  <a:pos x="connsiteX5338" y="connsiteY5338"/>
                </a:cxn>
                <a:cxn ang="0">
                  <a:pos x="connsiteX5339" y="connsiteY5339"/>
                </a:cxn>
                <a:cxn ang="0">
                  <a:pos x="connsiteX5340" y="connsiteY5340"/>
                </a:cxn>
                <a:cxn ang="0">
                  <a:pos x="connsiteX5341" y="connsiteY5341"/>
                </a:cxn>
                <a:cxn ang="0">
                  <a:pos x="connsiteX5342" y="connsiteY5342"/>
                </a:cxn>
                <a:cxn ang="0">
                  <a:pos x="connsiteX5343" y="connsiteY5343"/>
                </a:cxn>
                <a:cxn ang="0">
                  <a:pos x="connsiteX5344" y="connsiteY5344"/>
                </a:cxn>
                <a:cxn ang="0">
                  <a:pos x="connsiteX5345" y="connsiteY5345"/>
                </a:cxn>
                <a:cxn ang="0">
                  <a:pos x="connsiteX5346" y="connsiteY5346"/>
                </a:cxn>
                <a:cxn ang="0">
                  <a:pos x="connsiteX5347" y="connsiteY5347"/>
                </a:cxn>
                <a:cxn ang="0">
                  <a:pos x="connsiteX5348" y="connsiteY5348"/>
                </a:cxn>
                <a:cxn ang="0">
                  <a:pos x="connsiteX5349" y="connsiteY5349"/>
                </a:cxn>
                <a:cxn ang="0">
                  <a:pos x="connsiteX5350" y="connsiteY5350"/>
                </a:cxn>
                <a:cxn ang="0">
                  <a:pos x="connsiteX5351" y="connsiteY5351"/>
                </a:cxn>
                <a:cxn ang="0">
                  <a:pos x="connsiteX5352" y="connsiteY5352"/>
                </a:cxn>
                <a:cxn ang="0">
                  <a:pos x="connsiteX5353" y="connsiteY5353"/>
                </a:cxn>
                <a:cxn ang="0">
                  <a:pos x="connsiteX5354" y="connsiteY5354"/>
                </a:cxn>
                <a:cxn ang="0">
                  <a:pos x="connsiteX5355" y="connsiteY5355"/>
                </a:cxn>
                <a:cxn ang="0">
                  <a:pos x="connsiteX5356" y="connsiteY5356"/>
                </a:cxn>
                <a:cxn ang="0">
                  <a:pos x="connsiteX5357" y="connsiteY5357"/>
                </a:cxn>
                <a:cxn ang="0">
                  <a:pos x="connsiteX5358" y="connsiteY5358"/>
                </a:cxn>
                <a:cxn ang="0">
                  <a:pos x="connsiteX5359" y="connsiteY5359"/>
                </a:cxn>
                <a:cxn ang="0">
                  <a:pos x="connsiteX5360" y="connsiteY5360"/>
                </a:cxn>
                <a:cxn ang="0">
                  <a:pos x="connsiteX5361" y="connsiteY5361"/>
                </a:cxn>
                <a:cxn ang="0">
                  <a:pos x="connsiteX5362" y="connsiteY5362"/>
                </a:cxn>
                <a:cxn ang="0">
                  <a:pos x="connsiteX5363" y="connsiteY5363"/>
                </a:cxn>
                <a:cxn ang="0">
                  <a:pos x="connsiteX5364" y="connsiteY5364"/>
                </a:cxn>
                <a:cxn ang="0">
                  <a:pos x="connsiteX5365" y="connsiteY5365"/>
                </a:cxn>
                <a:cxn ang="0">
                  <a:pos x="connsiteX5366" y="connsiteY5366"/>
                </a:cxn>
                <a:cxn ang="0">
                  <a:pos x="connsiteX5367" y="connsiteY5367"/>
                </a:cxn>
                <a:cxn ang="0">
                  <a:pos x="connsiteX5368" y="connsiteY5368"/>
                </a:cxn>
                <a:cxn ang="0">
                  <a:pos x="connsiteX5369" y="connsiteY5369"/>
                </a:cxn>
                <a:cxn ang="0">
                  <a:pos x="connsiteX5370" y="connsiteY5370"/>
                </a:cxn>
                <a:cxn ang="0">
                  <a:pos x="connsiteX5371" y="connsiteY5371"/>
                </a:cxn>
                <a:cxn ang="0">
                  <a:pos x="connsiteX5372" y="connsiteY5372"/>
                </a:cxn>
                <a:cxn ang="0">
                  <a:pos x="connsiteX5373" y="connsiteY5373"/>
                </a:cxn>
                <a:cxn ang="0">
                  <a:pos x="connsiteX5374" y="connsiteY5374"/>
                </a:cxn>
                <a:cxn ang="0">
                  <a:pos x="connsiteX5375" y="connsiteY5375"/>
                </a:cxn>
                <a:cxn ang="0">
                  <a:pos x="connsiteX5376" y="connsiteY5376"/>
                </a:cxn>
                <a:cxn ang="0">
                  <a:pos x="connsiteX5377" y="connsiteY5377"/>
                </a:cxn>
                <a:cxn ang="0">
                  <a:pos x="connsiteX5378" y="connsiteY5378"/>
                </a:cxn>
                <a:cxn ang="0">
                  <a:pos x="connsiteX5379" y="connsiteY5379"/>
                </a:cxn>
                <a:cxn ang="0">
                  <a:pos x="connsiteX5380" y="connsiteY5380"/>
                </a:cxn>
                <a:cxn ang="0">
                  <a:pos x="connsiteX5381" y="connsiteY5381"/>
                </a:cxn>
                <a:cxn ang="0">
                  <a:pos x="connsiteX5382" y="connsiteY5382"/>
                </a:cxn>
                <a:cxn ang="0">
                  <a:pos x="connsiteX5383" y="connsiteY5383"/>
                </a:cxn>
                <a:cxn ang="0">
                  <a:pos x="connsiteX5384" y="connsiteY5384"/>
                </a:cxn>
                <a:cxn ang="0">
                  <a:pos x="connsiteX5385" y="connsiteY5385"/>
                </a:cxn>
                <a:cxn ang="0">
                  <a:pos x="connsiteX5386" y="connsiteY5386"/>
                </a:cxn>
                <a:cxn ang="0">
                  <a:pos x="connsiteX5387" y="connsiteY5387"/>
                </a:cxn>
                <a:cxn ang="0">
                  <a:pos x="connsiteX5388" y="connsiteY5388"/>
                </a:cxn>
                <a:cxn ang="0">
                  <a:pos x="connsiteX5389" y="connsiteY5389"/>
                </a:cxn>
                <a:cxn ang="0">
                  <a:pos x="connsiteX5390" y="connsiteY5390"/>
                </a:cxn>
                <a:cxn ang="0">
                  <a:pos x="connsiteX5391" y="connsiteY5391"/>
                </a:cxn>
                <a:cxn ang="0">
                  <a:pos x="connsiteX5392" y="connsiteY5392"/>
                </a:cxn>
                <a:cxn ang="0">
                  <a:pos x="connsiteX5393" y="connsiteY5393"/>
                </a:cxn>
                <a:cxn ang="0">
                  <a:pos x="connsiteX5394" y="connsiteY5394"/>
                </a:cxn>
                <a:cxn ang="0">
                  <a:pos x="connsiteX5395" y="connsiteY5395"/>
                </a:cxn>
                <a:cxn ang="0">
                  <a:pos x="connsiteX5396" y="connsiteY5396"/>
                </a:cxn>
                <a:cxn ang="0">
                  <a:pos x="connsiteX5397" y="connsiteY5397"/>
                </a:cxn>
                <a:cxn ang="0">
                  <a:pos x="connsiteX5398" y="connsiteY5398"/>
                </a:cxn>
                <a:cxn ang="0">
                  <a:pos x="connsiteX5399" y="connsiteY5399"/>
                </a:cxn>
                <a:cxn ang="0">
                  <a:pos x="connsiteX5400" y="connsiteY5400"/>
                </a:cxn>
                <a:cxn ang="0">
                  <a:pos x="connsiteX5401" y="connsiteY5401"/>
                </a:cxn>
                <a:cxn ang="0">
                  <a:pos x="connsiteX5402" y="connsiteY5402"/>
                </a:cxn>
                <a:cxn ang="0">
                  <a:pos x="connsiteX5403" y="connsiteY5403"/>
                </a:cxn>
                <a:cxn ang="0">
                  <a:pos x="connsiteX5404" y="connsiteY5404"/>
                </a:cxn>
                <a:cxn ang="0">
                  <a:pos x="connsiteX5405" y="connsiteY5405"/>
                </a:cxn>
                <a:cxn ang="0">
                  <a:pos x="connsiteX5406" y="connsiteY5406"/>
                </a:cxn>
                <a:cxn ang="0">
                  <a:pos x="connsiteX5407" y="connsiteY5407"/>
                </a:cxn>
                <a:cxn ang="0">
                  <a:pos x="connsiteX5408" y="connsiteY5408"/>
                </a:cxn>
                <a:cxn ang="0">
                  <a:pos x="connsiteX5409" y="connsiteY5409"/>
                </a:cxn>
                <a:cxn ang="0">
                  <a:pos x="connsiteX5410" y="connsiteY5410"/>
                </a:cxn>
                <a:cxn ang="0">
                  <a:pos x="connsiteX5411" y="connsiteY5411"/>
                </a:cxn>
                <a:cxn ang="0">
                  <a:pos x="connsiteX5412" y="connsiteY5412"/>
                </a:cxn>
                <a:cxn ang="0">
                  <a:pos x="connsiteX5413" y="connsiteY5413"/>
                </a:cxn>
                <a:cxn ang="0">
                  <a:pos x="connsiteX5414" y="connsiteY5414"/>
                </a:cxn>
                <a:cxn ang="0">
                  <a:pos x="connsiteX5415" y="connsiteY5415"/>
                </a:cxn>
                <a:cxn ang="0">
                  <a:pos x="connsiteX5416" y="connsiteY5416"/>
                </a:cxn>
                <a:cxn ang="0">
                  <a:pos x="connsiteX5417" y="connsiteY5417"/>
                </a:cxn>
                <a:cxn ang="0">
                  <a:pos x="connsiteX5418" y="connsiteY5418"/>
                </a:cxn>
                <a:cxn ang="0">
                  <a:pos x="connsiteX5419" y="connsiteY5419"/>
                </a:cxn>
                <a:cxn ang="0">
                  <a:pos x="connsiteX5420" y="connsiteY5420"/>
                </a:cxn>
                <a:cxn ang="0">
                  <a:pos x="connsiteX5421" y="connsiteY5421"/>
                </a:cxn>
                <a:cxn ang="0">
                  <a:pos x="connsiteX5422" y="connsiteY5422"/>
                </a:cxn>
                <a:cxn ang="0">
                  <a:pos x="connsiteX5423" y="connsiteY5423"/>
                </a:cxn>
                <a:cxn ang="0">
                  <a:pos x="connsiteX5424" y="connsiteY5424"/>
                </a:cxn>
                <a:cxn ang="0">
                  <a:pos x="connsiteX5425" y="connsiteY5425"/>
                </a:cxn>
                <a:cxn ang="0">
                  <a:pos x="connsiteX5426" y="connsiteY5426"/>
                </a:cxn>
                <a:cxn ang="0">
                  <a:pos x="connsiteX5427" y="connsiteY5427"/>
                </a:cxn>
                <a:cxn ang="0">
                  <a:pos x="connsiteX5428" y="connsiteY5428"/>
                </a:cxn>
                <a:cxn ang="0">
                  <a:pos x="connsiteX5429" y="connsiteY5429"/>
                </a:cxn>
                <a:cxn ang="0">
                  <a:pos x="connsiteX5430" y="connsiteY5430"/>
                </a:cxn>
                <a:cxn ang="0">
                  <a:pos x="connsiteX5431" y="connsiteY5431"/>
                </a:cxn>
                <a:cxn ang="0">
                  <a:pos x="connsiteX5432" y="connsiteY5432"/>
                </a:cxn>
                <a:cxn ang="0">
                  <a:pos x="connsiteX5433" y="connsiteY5433"/>
                </a:cxn>
                <a:cxn ang="0">
                  <a:pos x="connsiteX5434" y="connsiteY5434"/>
                </a:cxn>
                <a:cxn ang="0">
                  <a:pos x="connsiteX5435" y="connsiteY5435"/>
                </a:cxn>
                <a:cxn ang="0">
                  <a:pos x="connsiteX5436" y="connsiteY5436"/>
                </a:cxn>
                <a:cxn ang="0">
                  <a:pos x="connsiteX5437" y="connsiteY5437"/>
                </a:cxn>
                <a:cxn ang="0">
                  <a:pos x="connsiteX5438" y="connsiteY5438"/>
                </a:cxn>
                <a:cxn ang="0">
                  <a:pos x="connsiteX5439" y="connsiteY5439"/>
                </a:cxn>
                <a:cxn ang="0">
                  <a:pos x="connsiteX5440" y="connsiteY5440"/>
                </a:cxn>
                <a:cxn ang="0">
                  <a:pos x="connsiteX5441" y="connsiteY5441"/>
                </a:cxn>
                <a:cxn ang="0">
                  <a:pos x="connsiteX5442" y="connsiteY5442"/>
                </a:cxn>
                <a:cxn ang="0">
                  <a:pos x="connsiteX5443" y="connsiteY5443"/>
                </a:cxn>
                <a:cxn ang="0">
                  <a:pos x="connsiteX5444" y="connsiteY5444"/>
                </a:cxn>
                <a:cxn ang="0">
                  <a:pos x="connsiteX5445" y="connsiteY5445"/>
                </a:cxn>
                <a:cxn ang="0">
                  <a:pos x="connsiteX5446" y="connsiteY5446"/>
                </a:cxn>
                <a:cxn ang="0">
                  <a:pos x="connsiteX5447" y="connsiteY5447"/>
                </a:cxn>
                <a:cxn ang="0">
                  <a:pos x="connsiteX5448" y="connsiteY5448"/>
                </a:cxn>
                <a:cxn ang="0">
                  <a:pos x="connsiteX5449" y="connsiteY5449"/>
                </a:cxn>
                <a:cxn ang="0">
                  <a:pos x="connsiteX5450" y="connsiteY5450"/>
                </a:cxn>
                <a:cxn ang="0">
                  <a:pos x="connsiteX5451" y="connsiteY5451"/>
                </a:cxn>
                <a:cxn ang="0">
                  <a:pos x="connsiteX5452" y="connsiteY5452"/>
                </a:cxn>
                <a:cxn ang="0">
                  <a:pos x="connsiteX5453" y="connsiteY5453"/>
                </a:cxn>
                <a:cxn ang="0">
                  <a:pos x="connsiteX5454" y="connsiteY5454"/>
                </a:cxn>
                <a:cxn ang="0">
                  <a:pos x="connsiteX5455" y="connsiteY5455"/>
                </a:cxn>
                <a:cxn ang="0">
                  <a:pos x="connsiteX5456" y="connsiteY5456"/>
                </a:cxn>
                <a:cxn ang="0">
                  <a:pos x="connsiteX5457" y="connsiteY5457"/>
                </a:cxn>
                <a:cxn ang="0">
                  <a:pos x="connsiteX5458" y="connsiteY5458"/>
                </a:cxn>
                <a:cxn ang="0">
                  <a:pos x="connsiteX5459" y="connsiteY5459"/>
                </a:cxn>
                <a:cxn ang="0">
                  <a:pos x="connsiteX5460" y="connsiteY5460"/>
                </a:cxn>
                <a:cxn ang="0">
                  <a:pos x="connsiteX5461" y="connsiteY5461"/>
                </a:cxn>
                <a:cxn ang="0">
                  <a:pos x="connsiteX5462" y="connsiteY5462"/>
                </a:cxn>
                <a:cxn ang="0">
                  <a:pos x="connsiteX5463" y="connsiteY5463"/>
                </a:cxn>
                <a:cxn ang="0">
                  <a:pos x="connsiteX5464" y="connsiteY5464"/>
                </a:cxn>
                <a:cxn ang="0">
                  <a:pos x="connsiteX5465" y="connsiteY5465"/>
                </a:cxn>
                <a:cxn ang="0">
                  <a:pos x="connsiteX5466" y="connsiteY5466"/>
                </a:cxn>
                <a:cxn ang="0">
                  <a:pos x="connsiteX5467" y="connsiteY5467"/>
                </a:cxn>
                <a:cxn ang="0">
                  <a:pos x="connsiteX5468" y="connsiteY5468"/>
                </a:cxn>
                <a:cxn ang="0">
                  <a:pos x="connsiteX5469" y="connsiteY5469"/>
                </a:cxn>
                <a:cxn ang="0">
                  <a:pos x="connsiteX5470" y="connsiteY5470"/>
                </a:cxn>
                <a:cxn ang="0">
                  <a:pos x="connsiteX5471" y="connsiteY5471"/>
                </a:cxn>
                <a:cxn ang="0">
                  <a:pos x="connsiteX5472" y="connsiteY5472"/>
                </a:cxn>
                <a:cxn ang="0">
                  <a:pos x="connsiteX5473" y="connsiteY5473"/>
                </a:cxn>
                <a:cxn ang="0">
                  <a:pos x="connsiteX5474" y="connsiteY5474"/>
                </a:cxn>
                <a:cxn ang="0">
                  <a:pos x="connsiteX5475" y="connsiteY5475"/>
                </a:cxn>
                <a:cxn ang="0">
                  <a:pos x="connsiteX5476" y="connsiteY5476"/>
                </a:cxn>
                <a:cxn ang="0">
                  <a:pos x="connsiteX5477" y="connsiteY5477"/>
                </a:cxn>
                <a:cxn ang="0">
                  <a:pos x="connsiteX5478" y="connsiteY5478"/>
                </a:cxn>
                <a:cxn ang="0">
                  <a:pos x="connsiteX5479" y="connsiteY5479"/>
                </a:cxn>
                <a:cxn ang="0">
                  <a:pos x="connsiteX5480" y="connsiteY5480"/>
                </a:cxn>
                <a:cxn ang="0">
                  <a:pos x="connsiteX5481" y="connsiteY5481"/>
                </a:cxn>
                <a:cxn ang="0">
                  <a:pos x="connsiteX5482" y="connsiteY5482"/>
                </a:cxn>
                <a:cxn ang="0">
                  <a:pos x="connsiteX5483" y="connsiteY5483"/>
                </a:cxn>
                <a:cxn ang="0">
                  <a:pos x="connsiteX5484" y="connsiteY5484"/>
                </a:cxn>
                <a:cxn ang="0">
                  <a:pos x="connsiteX5485" y="connsiteY5485"/>
                </a:cxn>
                <a:cxn ang="0">
                  <a:pos x="connsiteX5486" y="connsiteY5486"/>
                </a:cxn>
                <a:cxn ang="0">
                  <a:pos x="connsiteX5487" y="connsiteY5487"/>
                </a:cxn>
                <a:cxn ang="0">
                  <a:pos x="connsiteX5488" y="connsiteY5488"/>
                </a:cxn>
                <a:cxn ang="0">
                  <a:pos x="connsiteX5489" y="connsiteY5489"/>
                </a:cxn>
                <a:cxn ang="0">
                  <a:pos x="connsiteX5490" y="connsiteY5490"/>
                </a:cxn>
                <a:cxn ang="0">
                  <a:pos x="connsiteX5491" y="connsiteY5491"/>
                </a:cxn>
                <a:cxn ang="0">
                  <a:pos x="connsiteX5492" y="connsiteY5492"/>
                </a:cxn>
                <a:cxn ang="0">
                  <a:pos x="connsiteX5493" y="connsiteY5493"/>
                </a:cxn>
                <a:cxn ang="0">
                  <a:pos x="connsiteX5494" y="connsiteY5494"/>
                </a:cxn>
                <a:cxn ang="0">
                  <a:pos x="connsiteX5495" y="connsiteY5495"/>
                </a:cxn>
                <a:cxn ang="0">
                  <a:pos x="connsiteX5496" y="connsiteY5496"/>
                </a:cxn>
                <a:cxn ang="0">
                  <a:pos x="connsiteX5497" y="connsiteY5497"/>
                </a:cxn>
                <a:cxn ang="0">
                  <a:pos x="connsiteX5498" y="connsiteY5498"/>
                </a:cxn>
                <a:cxn ang="0">
                  <a:pos x="connsiteX5499" y="connsiteY5499"/>
                </a:cxn>
                <a:cxn ang="0">
                  <a:pos x="connsiteX5500" y="connsiteY5500"/>
                </a:cxn>
                <a:cxn ang="0">
                  <a:pos x="connsiteX5501" y="connsiteY5501"/>
                </a:cxn>
                <a:cxn ang="0">
                  <a:pos x="connsiteX5502" y="connsiteY5502"/>
                </a:cxn>
                <a:cxn ang="0">
                  <a:pos x="connsiteX5503" y="connsiteY5503"/>
                </a:cxn>
                <a:cxn ang="0">
                  <a:pos x="connsiteX5504" y="connsiteY5504"/>
                </a:cxn>
                <a:cxn ang="0">
                  <a:pos x="connsiteX5505" y="connsiteY5505"/>
                </a:cxn>
                <a:cxn ang="0">
                  <a:pos x="connsiteX5506" y="connsiteY5506"/>
                </a:cxn>
                <a:cxn ang="0">
                  <a:pos x="connsiteX5507" y="connsiteY5507"/>
                </a:cxn>
                <a:cxn ang="0">
                  <a:pos x="connsiteX5508" y="connsiteY5508"/>
                </a:cxn>
                <a:cxn ang="0">
                  <a:pos x="connsiteX5509" y="connsiteY5509"/>
                </a:cxn>
                <a:cxn ang="0">
                  <a:pos x="connsiteX5510" y="connsiteY5510"/>
                </a:cxn>
                <a:cxn ang="0">
                  <a:pos x="connsiteX5511" y="connsiteY5511"/>
                </a:cxn>
                <a:cxn ang="0">
                  <a:pos x="connsiteX5512" y="connsiteY5512"/>
                </a:cxn>
                <a:cxn ang="0">
                  <a:pos x="connsiteX5513" y="connsiteY5513"/>
                </a:cxn>
                <a:cxn ang="0">
                  <a:pos x="connsiteX5514" y="connsiteY5514"/>
                </a:cxn>
                <a:cxn ang="0">
                  <a:pos x="connsiteX5515" y="connsiteY5515"/>
                </a:cxn>
                <a:cxn ang="0">
                  <a:pos x="connsiteX5516" y="connsiteY5516"/>
                </a:cxn>
                <a:cxn ang="0">
                  <a:pos x="connsiteX5517" y="connsiteY5517"/>
                </a:cxn>
                <a:cxn ang="0">
                  <a:pos x="connsiteX5518" y="connsiteY5518"/>
                </a:cxn>
                <a:cxn ang="0">
                  <a:pos x="connsiteX5519" y="connsiteY5519"/>
                </a:cxn>
                <a:cxn ang="0">
                  <a:pos x="connsiteX5520" y="connsiteY5520"/>
                </a:cxn>
                <a:cxn ang="0">
                  <a:pos x="connsiteX5521" y="connsiteY5521"/>
                </a:cxn>
                <a:cxn ang="0">
                  <a:pos x="connsiteX5522" y="connsiteY5522"/>
                </a:cxn>
                <a:cxn ang="0">
                  <a:pos x="connsiteX5523" y="connsiteY5523"/>
                </a:cxn>
                <a:cxn ang="0">
                  <a:pos x="connsiteX5524" y="connsiteY5524"/>
                </a:cxn>
                <a:cxn ang="0">
                  <a:pos x="connsiteX5525" y="connsiteY5525"/>
                </a:cxn>
                <a:cxn ang="0">
                  <a:pos x="connsiteX5526" y="connsiteY5526"/>
                </a:cxn>
                <a:cxn ang="0">
                  <a:pos x="connsiteX5527" y="connsiteY5527"/>
                </a:cxn>
                <a:cxn ang="0">
                  <a:pos x="connsiteX5528" y="connsiteY5528"/>
                </a:cxn>
                <a:cxn ang="0">
                  <a:pos x="connsiteX5529" y="connsiteY5529"/>
                </a:cxn>
                <a:cxn ang="0">
                  <a:pos x="connsiteX5530" y="connsiteY5530"/>
                </a:cxn>
                <a:cxn ang="0">
                  <a:pos x="connsiteX5531" y="connsiteY5531"/>
                </a:cxn>
                <a:cxn ang="0">
                  <a:pos x="connsiteX5532" y="connsiteY5532"/>
                </a:cxn>
                <a:cxn ang="0">
                  <a:pos x="connsiteX5533" y="connsiteY5533"/>
                </a:cxn>
                <a:cxn ang="0">
                  <a:pos x="connsiteX5534" y="connsiteY5534"/>
                </a:cxn>
                <a:cxn ang="0">
                  <a:pos x="connsiteX5535" y="connsiteY5535"/>
                </a:cxn>
                <a:cxn ang="0">
                  <a:pos x="connsiteX5536" y="connsiteY5536"/>
                </a:cxn>
                <a:cxn ang="0">
                  <a:pos x="connsiteX5537" y="connsiteY5537"/>
                </a:cxn>
                <a:cxn ang="0">
                  <a:pos x="connsiteX5538" y="connsiteY5538"/>
                </a:cxn>
                <a:cxn ang="0">
                  <a:pos x="connsiteX5539" y="connsiteY5539"/>
                </a:cxn>
                <a:cxn ang="0">
                  <a:pos x="connsiteX5540" y="connsiteY5540"/>
                </a:cxn>
                <a:cxn ang="0">
                  <a:pos x="connsiteX5541" y="connsiteY5541"/>
                </a:cxn>
                <a:cxn ang="0">
                  <a:pos x="connsiteX5542" y="connsiteY5542"/>
                </a:cxn>
                <a:cxn ang="0">
                  <a:pos x="connsiteX5543" y="connsiteY5543"/>
                </a:cxn>
                <a:cxn ang="0">
                  <a:pos x="connsiteX5544" y="connsiteY5544"/>
                </a:cxn>
                <a:cxn ang="0">
                  <a:pos x="connsiteX5545" y="connsiteY5545"/>
                </a:cxn>
                <a:cxn ang="0">
                  <a:pos x="connsiteX5546" y="connsiteY5546"/>
                </a:cxn>
                <a:cxn ang="0">
                  <a:pos x="connsiteX5547" y="connsiteY5547"/>
                </a:cxn>
                <a:cxn ang="0">
                  <a:pos x="connsiteX5548" y="connsiteY5548"/>
                </a:cxn>
                <a:cxn ang="0">
                  <a:pos x="connsiteX5549" y="connsiteY5549"/>
                </a:cxn>
                <a:cxn ang="0">
                  <a:pos x="connsiteX5550" y="connsiteY5550"/>
                </a:cxn>
                <a:cxn ang="0">
                  <a:pos x="connsiteX5551" y="connsiteY5551"/>
                </a:cxn>
                <a:cxn ang="0">
                  <a:pos x="connsiteX5552" y="connsiteY5552"/>
                </a:cxn>
                <a:cxn ang="0">
                  <a:pos x="connsiteX5553" y="connsiteY5553"/>
                </a:cxn>
                <a:cxn ang="0">
                  <a:pos x="connsiteX5554" y="connsiteY5554"/>
                </a:cxn>
                <a:cxn ang="0">
                  <a:pos x="connsiteX5555" y="connsiteY5555"/>
                </a:cxn>
                <a:cxn ang="0">
                  <a:pos x="connsiteX5556" y="connsiteY5556"/>
                </a:cxn>
                <a:cxn ang="0">
                  <a:pos x="connsiteX5557" y="connsiteY5557"/>
                </a:cxn>
                <a:cxn ang="0">
                  <a:pos x="connsiteX5558" y="connsiteY5558"/>
                </a:cxn>
                <a:cxn ang="0">
                  <a:pos x="connsiteX5559" y="connsiteY5559"/>
                </a:cxn>
                <a:cxn ang="0">
                  <a:pos x="connsiteX5560" y="connsiteY5560"/>
                </a:cxn>
                <a:cxn ang="0">
                  <a:pos x="connsiteX5561" y="connsiteY5561"/>
                </a:cxn>
                <a:cxn ang="0">
                  <a:pos x="connsiteX5562" y="connsiteY5562"/>
                </a:cxn>
                <a:cxn ang="0">
                  <a:pos x="connsiteX5563" y="connsiteY5563"/>
                </a:cxn>
                <a:cxn ang="0">
                  <a:pos x="connsiteX5564" y="connsiteY5564"/>
                </a:cxn>
                <a:cxn ang="0">
                  <a:pos x="connsiteX5565" y="connsiteY5565"/>
                </a:cxn>
                <a:cxn ang="0">
                  <a:pos x="connsiteX5566" y="connsiteY5566"/>
                </a:cxn>
                <a:cxn ang="0">
                  <a:pos x="connsiteX5567" y="connsiteY5567"/>
                </a:cxn>
                <a:cxn ang="0">
                  <a:pos x="connsiteX5568" y="connsiteY5568"/>
                </a:cxn>
                <a:cxn ang="0">
                  <a:pos x="connsiteX5569" y="connsiteY5569"/>
                </a:cxn>
                <a:cxn ang="0">
                  <a:pos x="connsiteX5570" y="connsiteY5570"/>
                </a:cxn>
                <a:cxn ang="0">
                  <a:pos x="connsiteX5571" y="connsiteY5571"/>
                </a:cxn>
                <a:cxn ang="0">
                  <a:pos x="connsiteX5572" y="connsiteY5572"/>
                </a:cxn>
                <a:cxn ang="0">
                  <a:pos x="connsiteX5573" y="connsiteY5573"/>
                </a:cxn>
                <a:cxn ang="0">
                  <a:pos x="connsiteX5574" y="connsiteY5574"/>
                </a:cxn>
                <a:cxn ang="0">
                  <a:pos x="connsiteX5575" y="connsiteY5575"/>
                </a:cxn>
                <a:cxn ang="0">
                  <a:pos x="connsiteX5576" y="connsiteY5576"/>
                </a:cxn>
                <a:cxn ang="0">
                  <a:pos x="connsiteX5577" y="connsiteY5577"/>
                </a:cxn>
                <a:cxn ang="0">
                  <a:pos x="connsiteX5578" y="connsiteY5578"/>
                </a:cxn>
                <a:cxn ang="0">
                  <a:pos x="connsiteX5579" y="connsiteY5579"/>
                </a:cxn>
                <a:cxn ang="0">
                  <a:pos x="connsiteX5580" y="connsiteY5580"/>
                </a:cxn>
                <a:cxn ang="0">
                  <a:pos x="connsiteX5581" y="connsiteY5581"/>
                </a:cxn>
                <a:cxn ang="0">
                  <a:pos x="connsiteX5582" y="connsiteY5582"/>
                </a:cxn>
                <a:cxn ang="0">
                  <a:pos x="connsiteX5583" y="connsiteY5583"/>
                </a:cxn>
                <a:cxn ang="0">
                  <a:pos x="connsiteX5584" y="connsiteY5584"/>
                </a:cxn>
                <a:cxn ang="0">
                  <a:pos x="connsiteX5585" y="connsiteY5585"/>
                </a:cxn>
                <a:cxn ang="0">
                  <a:pos x="connsiteX5586" y="connsiteY5586"/>
                </a:cxn>
                <a:cxn ang="0">
                  <a:pos x="connsiteX5587" y="connsiteY5587"/>
                </a:cxn>
                <a:cxn ang="0">
                  <a:pos x="connsiteX5588" y="connsiteY5588"/>
                </a:cxn>
                <a:cxn ang="0">
                  <a:pos x="connsiteX5589" y="connsiteY5589"/>
                </a:cxn>
                <a:cxn ang="0">
                  <a:pos x="connsiteX5590" y="connsiteY5590"/>
                </a:cxn>
                <a:cxn ang="0">
                  <a:pos x="connsiteX5591" y="connsiteY5591"/>
                </a:cxn>
                <a:cxn ang="0">
                  <a:pos x="connsiteX5592" y="connsiteY5592"/>
                </a:cxn>
                <a:cxn ang="0">
                  <a:pos x="connsiteX5593" y="connsiteY5593"/>
                </a:cxn>
                <a:cxn ang="0">
                  <a:pos x="connsiteX5594" y="connsiteY5594"/>
                </a:cxn>
                <a:cxn ang="0">
                  <a:pos x="connsiteX5595" y="connsiteY5595"/>
                </a:cxn>
                <a:cxn ang="0">
                  <a:pos x="connsiteX5596" y="connsiteY5596"/>
                </a:cxn>
                <a:cxn ang="0">
                  <a:pos x="connsiteX5597" y="connsiteY5597"/>
                </a:cxn>
                <a:cxn ang="0">
                  <a:pos x="connsiteX5598" y="connsiteY5598"/>
                </a:cxn>
                <a:cxn ang="0">
                  <a:pos x="connsiteX5599" y="connsiteY5599"/>
                </a:cxn>
                <a:cxn ang="0">
                  <a:pos x="connsiteX5600" y="connsiteY5600"/>
                </a:cxn>
                <a:cxn ang="0">
                  <a:pos x="connsiteX5601" y="connsiteY5601"/>
                </a:cxn>
                <a:cxn ang="0">
                  <a:pos x="connsiteX5602" y="connsiteY5602"/>
                </a:cxn>
                <a:cxn ang="0">
                  <a:pos x="connsiteX5603" y="connsiteY5603"/>
                </a:cxn>
                <a:cxn ang="0">
                  <a:pos x="connsiteX5604" y="connsiteY5604"/>
                </a:cxn>
                <a:cxn ang="0">
                  <a:pos x="connsiteX5605" y="connsiteY5605"/>
                </a:cxn>
                <a:cxn ang="0">
                  <a:pos x="connsiteX5606" y="connsiteY5606"/>
                </a:cxn>
                <a:cxn ang="0">
                  <a:pos x="connsiteX5607" y="connsiteY5607"/>
                </a:cxn>
                <a:cxn ang="0">
                  <a:pos x="connsiteX5608" y="connsiteY5608"/>
                </a:cxn>
                <a:cxn ang="0">
                  <a:pos x="connsiteX5609" y="connsiteY5609"/>
                </a:cxn>
                <a:cxn ang="0">
                  <a:pos x="connsiteX5610" y="connsiteY5610"/>
                </a:cxn>
                <a:cxn ang="0">
                  <a:pos x="connsiteX5611" y="connsiteY5611"/>
                </a:cxn>
                <a:cxn ang="0">
                  <a:pos x="connsiteX5612" y="connsiteY5612"/>
                </a:cxn>
                <a:cxn ang="0">
                  <a:pos x="connsiteX5613" y="connsiteY5613"/>
                </a:cxn>
                <a:cxn ang="0">
                  <a:pos x="connsiteX5614" y="connsiteY5614"/>
                </a:cxn>
                <a:cxn ang="0">
                  <a:pos x="connsiteX5615" y="connsiteY5615"/>
                </a:cxn>
                <a:cxn ang="0">
                  <a:pos x="connsiteX5616" y="connsiteY5616"/>
                </a:cxn>
                <a:cxn ang="0">
                  <a:pos x="connsiteX5617" y="connsiteY5617"/>
                </a:cxn>
                <a:cxn ang="0">
                  <a:pos x="connsiteX5618" y="connsiteY5618"/>
                </a:cxn>
                <a:cxn ang="0">
                  <a:pos x="connsiteX5619" y="connsiteY5619"/>
                </a:cxn>
                <a:cxn ang="0">
                  <a:pos x="connsiteX5620" y="connsiteY5620"/>
                </a:cxn>
                <a:cxn ang="0">
                  <a:pos x="connsiteX5621" y="connsiteY5621"/>
                </a:cxn>
                <a:cxn ang="0">
                  <a:pos x="connsiteX5622" y="connsiteY5622"/>
                </a:cxn>
                <a:cxn ang="0">
                  <a:pos x="connsiteX5623" y="connsiteY5623"/>
                </a:cxn>
                <a:cxn ang="0">
                  <a:pos x="connsiteX5624" y="connsiteY5624"/>
                </a:cxn>
                <a:cxn ang="0">
                  <a:pos x="connsiteX5625" y="connsiteY5625"/>
                </a:cxn>
                <a:cxn ang="0">
                  <a:pos x="connsiteX5626" y="connsiteY5626"/>
                </a:cxn>
                <a:cxn ang="0">
                  <a:pos x="connsiteX5627" y="connsiteY5627"/>
                </a:cxn>
                <a:cxn ang="0">
                  <a:pos x="connsiteX5628" y="connsiteY5628"/>
                </a:cxn>
                <a:cxn ang="0">
                  <a:pos x="connsiteX5629" y="connsiteY5629"/>
                </a:cxn>
                <a:cxn ang="0">
                  <a:pos x="connsiteX5630" y="connsiteY5630"/>
                </a:cxn>
                <a:cxn ang="0">
                  <a:pos x="connsiteX5631" y="connsiteY5631"/>
                </a:cxn>
                <a:cxn ang="0">
                  <a:pos x="connsiteX5632" y="connsiteY5632"/>
                </a:cxn>
                <a:cxn ang="0">
                  <a:pos x="connsiteX5633" y="connsiteY5633"/>
                </a:cxn>
                <a:cxn ang="0">
                  <a:pos x="connsiteX5634" y="connsiteY5634"/>
                </a:cxn>
                <a:cxn ang="0">
                  <a:pos x="connsiteX5635" y="connsiteY5635"/>
                </a:cxn>
                <a:cxn ang="0">
                  <a:pos x="connsiteX5636" y="connsiteY5636"/>
                </a:cxn>
                <a:cxn ang="0">
                  <a:pos x="connsiteX5637" y="connsiteY5637"/>
                </a:cxn>
                <a:cxn ang="0">
                  <a:pos x="connsiteX5638" y="connsiteY5638"/>
                </a:cxn>
                <a:cxn ang="0">
                  <a:pos x="connsiteX5639" y="connsiteY5639"/>
                </a:cxn>
                <a:cxn ang="0">
                  <a:pos x="connsiteX5640" y="connsiteY5640"/>
                </a:cxn>
                <a:cxn ang="0">
                  <a:pos x="connsiteX5641" y="connsiteY5641"/>
                </a:cxn>
                <a:cxn ang="0">
                  <a:pos x="connsiteX5642" y="connsiteY5642"/>
                </a:cxn>
                <a:cxn ang="0">
                  <a:pos x="connsiteX5643" y="connsiteY5643"/>
                </a:cxn>
                <a:cxn ang="0">
                  <a:pos x="connsiteX5644" y="connsiteY5644"/>
                </a:cxn>
                <a:cxn ang="0">
                  <a:pos x="connsiteX5645" y="connsiteY5645"/>
                </a:cxn>
                <a:cxn ang="0">
                  <a:pos x="connsiteX5646" y="connsiteY5646"/>
                </a:cxn>
                <a:cxn ang="0">
                  <a:pos x="connsiteX5647" y="connsiteY5647"/>
                </a:cxn>
                <a:cxn ang="0">
                  <a:pos x="connsiteX5648" y="connsiteY5648"/>
                </a:cxn>
                <a:cxn ang="0">
                  <a:pos x="connsiteX5649" y="connsiteY5649"/>
                </a:cxn>
                <a:cxn ang="0">
                  <a:pos x="connsiteX5650" y="connsiteY5650"/>
                </a:cxn>
                <a:cxn ang="0">
                  <a:pos x="connsiteX5651" y="connsiteY5651"/>
                </a:cxn>
                <a:cxn ang="0">
                  <a:pos x="connsiteX5652" y="connsiteY5652"/>
                </a:cxn>
                <a:cxn ang="0">
                  <a:pos x="connsiteX5653" y="connsiteY5653"/>
                </a:cxn>
                <a:cxn ang="0">
                  <a:pos x="connsiteX5654" y="connsiteY5654"/>
                </a:cxn>
                <a:cxn ang="0">
                  <a:pos x="connsiteX5655" y="connsiteY5655"/>
                </a:cxn>
                <a:cxn ang="0">
                  <a:pos x="connsiteX5656" y="connsiteY5656"/>
                </a:cxn>
                <a:cxn ang="0">
                  <a:pos x="connsiteX5657" y="connsiteY5657"/>
                </a:cxn>
                <a:cxn ang="0">
                  <a:pos x="connsiteX5658" y="connsiteY5658"/>
                </a:cxn>
                <a:cxn ang="0">
                  <a:pos x="connsiteX5659" y="connsiteY5659"/>
                </a:cxn>
                <a:cxn ang="0">
                  <a:pos x="connsiteX5660" y="connsiteY5660"/>
                </a:cxn>
                <a:cxn ang="0">
                  <a:pos x="connsiteX5661" y="connsiteY5661"/>
                </a:cxn>
                <a:cxn ang="0">
                  <a:pos x="connsiteX5662" y="connsiteY5662"/>
                </a:cxn>
                <a:cxn ang="0">
                  <a:pos x="connsiteX5663" y="connsiteY5663"/>
                </a:cxn>
                <a:cxn ang="0">
                  <a:pos x="connsiteX5664" y="connsiteY5664"/>
                </a:cxn>
                <a:cxn ang="0">
                  <a:pos x="connsiteX5665" y="connsiteY5665"/>
                </a:cxn>
                <a:cxn ang="0">
                  <a:pos x="connsiteX5666" y="connsiteY5666"/>
                </a:cxn>
                <a:cxn ang="0">
                  <a:pos x="connsiteX5667" y="connsiteY5667"/>
                </a:cxn>
                <a:cxn ang="0">
                  <a:pos x="connsiteX5668" y="connsiteY5668"/>
                </a:cxn>
                <a:cxn ang="0">
                  <a:pos x="connsiteX5669" y="connsiteY5669"/>
                </a:cxn>
                <a:cxn ang="0">
                  <a:pos x="connsiteX5670" y="connsiteY5670"/>
                </a:cxn>
                <a:cxn ang="0">
                  <a:pos x="connsiteX5671" y="connsiteY5671"/>
                </a:cxn>
                <a:cxn ang="0">
                  <a:pos x="connsiteX5672" y="connsiteY5672"/>
                </a:cxn>
                <a:cxn ang="0">
                  <a:pos x="connsiteX5673" y="connsiteY5673"/>
                </a:cxn>
                <a:cxn ang="0">
                  <a:pos x="connsiteX5674" y="connsiteY5674"/>
                </a:cxn>
                <a:cxn ang="0">
                  <a:pos x="connsiteX5675" y="connsiteY5675"/>
                </a:cxn>
                <a:cxn ang="0">
                  <a:pos x="connsiteX5676" y="connsiteY5676"/>
                </a:cxn>
                <a:cxn ang="0">
                  <a:pos x="connsiteX5677" y="connsiteY5677"/>
                </a:cxn>
                <a:cxn ang="0">
                  <a:pos x="connsiteX5678" y="connsiteY5678"/>
                </a:cxn>
                <a:cxn ang="0">
                  <a:pos x="connsiteX5679" y="connsiteY5679"/>
                </a:cxn>
                <a:cxn ang="0">
                  <a:pos x="connsiteX5680" y="connsiteY5680"/>
                </a:cxn>
                <a:cxn ang="0">
                  <a:pos x="connsiteX5681" y="connsiteY5681"/>
                </a:cxn>
                <a:cxn ang="0">
                  <a:pos x="connsiteX5682" y="connsiteY5682"/>
                </a:cxn>
                <a:cxn ang="0">
                  <a:pos x="connsiteX5683" y="connsiteY5683"/>
                </a:cxn>
                <a:cxn ang="0">
                  <a:pos x="connsiteX5684" y="connsiteY5684"/>
                </a:cxn>
                <a:cxn ang="0">
                  <a:pos x="connsiteX5685" y="connsiteY5685"/>
                </a:cxn>
                <a:cxn ang="0">
                  <a:pos x="connsiteX5686" y="connsiteY5686"/>
                </a:cxn>
                <a:cxn ang="0">
                  <a:pos x="connsiteX5687" y="connsiteY5687"/>
                </a:cxn>
                <a:cxn ang="0">
                  <a:pos x="connsiteX5688" y="connsiteY5688"/>
                </a:cxn>
                <a:cxn ang="0">
                  <a:pos x="connsiteX5689" y="connsiteY5689"/>
                </a:cxn>
                <a:cxn ang="0">
                  <a:pos x="connsiteX5690" y="connsiteY5690"/>
                </a:cxn>
                <a:cxn ang="0">
                  <a:pos x="connsiteX5691" y="connsiteY5691"/>
                </a:cxn>
                <a:cxn ang="0">
                  <a:pos x="connsiteX5692" y="connsiteY5692"/>
                </a:cxn>
                <a:cxn ang="0">
                  <a:pos x="connsiteX5693" y="connsiteY5693"/>
                </a:cxn>
                <a:cxn ang="0">
                  <a:pos x="connsiteX5694" y="connsiteY5694"/>
                </a:cxn>
                <a:cxn ang="0">
                  <a:pos x="connsiteX5695" y="connsiteY5695"/>
                </a:cxn>
                <a:cxn ang="0">
                  <a:pos x="connsiteX5696" y="connsiteY5696"/>
                </a:cxn>
                <a:cxn ang="0">
                  <a:pos x="connsiteX5697" y="connsiteY5697"/>
                </a:cxn>
                <a:cxn ang="0">
                  <a:pos x="connsiteX5698" y="connsiteY5698"/>
                </a:cxn>
                <a:cxn ang="0">
                  <a:pos x="connsiteX5699" y="connsiteY5699"/>
                </a:cxn>
                <a:cxn ang="0">
                  <a:pos x="connsiteX5700" y="connsiteY5700"/>
                </a:cxn>
                <a:cxn ang="0">
                  <a:pos x="connsiteX5701" y="connsiteY5701"/>
                </a:cxn>
                <a:cxn ang="0">
                  <a:pos x="connsiteX5702" y="connsiteY5702"/>
                </a:cxn>
                <a:cxn ang="0">
                  <a:pos x="connsiteX5703" y="connsiteY5703"/>
                </a:cxn>
                <a:cxn ang="0">
                  <a:pos x="connsiteX5704" y="connsiteY5704"/>
                </a:cxn>
                <a:cxn ang="0">
                  <a:pos x="connsiteX5705" y="connsiteY5705"/>
                </a:cxn>
                <a:cxn ang="0">
                  <a:pos x="connsiteX5706" y="connsiteY5706"/>
                </a:cxn>
                <a:cxn ang="0">
                  <a:pos x="connsiteX5707" y="connsiteY5707"/>
                </a:cxn>
                <a:cxn ang="0">
                  <a:pos x="connsiteX5708" y="connsiteY5708"/>
                </a:cxn>
                <a:cxn ang="0">
                  <a:pos x="connsiteX5709" y="connsiteY5709"/>
                </a:cxn>
                <a:cxn ang="0">
                  <a:pos x="connsiteX5710" y="connsiteY5710"/>
                </a:cxn>
                <a:cxn ang="0">
                  <a:pos x="connsiteX5711" y="connsiteY5711"/>
                </a:cxn>
                <a:cxn ang="0">
                  <a:pos x="connsiteX5712" y="connsiteY5712"/>
                </a:cxn>
                <a:cxn ang="0">
                  <a:pos x="connsiteX5713" y="connsiteY5713"/>
                </a:cxn>
                <a:cxn ang="0">
                  <a:pos x="connsiteX5714" y="connsiteY5714"/>
                </a:cxn>
                <a:cxn ang="0">
                  <a:pos x="connsiteX5715" y="connsiteY5715"/>
                </a:cxn>
                <a:cxn ang="0">
                  <a:pos x="connsiteX5716" y="connsiteY5716"/>
                </a:cxn>
                <a:cxn ang="0">
                  <a:pos x="connsiteX5717" y="connsiteY5717"/>
                </a:cxn>
                <a:cxn ang="0">
                  <a:pos x="connsiteX5718" y="connsiteY5718"/>
                </a:cxn>
                <a:cxn ang="0">
                  <a:pos x="connsiteX5719" y="connsiteY5719"/>
                </a:cxn>
                <a:cxn ang="0">
                  <a:pos x="connsiteX5720" y="connsiteY5720"/>
                </a:cxn>
                <a:cxn ang="0">
                  <a:pos x="connsiteX5721" y="connsiteY5721"/>
                </a:cxn>
                <a:cxn ang="0">
                  <a:pos x="connsiteX5722" y="connsiteY5722"/>
                </a:cxn>
                <a:cxn ang="0">
                  <a:pos x="connsiteX5723" y="connsiteY5723"/>
                </a:cxn>
                <a:cxn ang="0">
                  <a:pos x="connsiteX5724" y="connsiteY5724"/>
                </a:cxn>
                <a:cxn ang="0">
                  <a:pos x="connsiteX5725" y="connsiteY5725"/>
                </a:cxn>
                <a:cxn ang="0">
                  <a:pos x="connsiteX5726" y="connsiteY5726"/>
                </a:cxn>
                <a:cxn ang="0">
                  <a:pos x="connsiteX5727" y="connsiteY5727"/>
                </a:cxn>
                <a:cxn ang="0">
                  <a:pos x="connsiteX5728" y="connsiteY5728"/>
                </a:cxn>
                <a:cxn ang="0">
                  <a:pos x="connsiteX5729" y="connsiteY5729"/>
                </a:cxn>
                <a:cxn ang="0">
                  <a:pos x="connsiteX5730" y="connsiteY5730"/>
                </a:cxn>
                <a:cxn ang="0">
                  <a:pos x="connsiteX5731" y="connsiteY5731"/>
                </a:cxn>
                <a:cxn ang="0">
                  <a:pos x="connsiteX5732" y="connsiteY5732"/>
                </a:cxn>
                <a:cxn ang="0">
                  <a:pos x="connsiteX5733" y="connsiteY5733"/>
                </a:cxn>
                <a:cxn ang="0">
                  <a:pos x="connsiteX5734" y="connsiteY5734"/>
                </a:cxn>
                <a:cxn ang="0">
                  <a:pos x="connsiteX5735" y="connsiteY5735"/>
                </a:cxn>
                <a:cxn ang="0">
                  <a:pos x="connsiteX5736" y="connsiteY5736"/>
                </a:cxn>
                <a:cxn ang="0">
                  <a:pos x="connsiteX5737" y="connsiteY5737"/>
                </a:cxn>
                <a:cxn ang="0">
                  <a:pos x="connsiteX5738" y="connsiteY5738"/>
                </a:cxn>
                <a:cxn ang="0">
                  <a:pos x="connsiteX5739" y="connsiteY5739"/>
                </a:cxn>
                <a:cxn ang="0">
                  <a:pos x="connsiteX5740" y="connsiteY5740"/>
                </a:cxn>
                <a:cxn ang="0">
                  <a:pos x="connsiteX5741" y="connsiteY5741"/>
                </a:cxn>
                <a:cxn ang="0">
                  <a:pos x="connsiteX5742" y="connsiteY5742"/>
                </a:cxn>
                <a:cxn ang="0">
                  <a:pos x="connsiteX5743" y="connsiteY5743"/>
                </a:cxn>
                <a:cxn ang="0">
                  <a:pos x="connsiteX5744" y="connsiteY5744"/>
                </a:cxn>
                <a:cxn ang="0">
                  <a:pos x="connsiteX5745" y="connsiteY5745"/>
                </a:cxn>
                <a:cxn ang="0">
                  <a:pos x="connsiteX5746" y="connsiteY5746"/>
                </a:cxn>
                <a:cxn ang="0">
                  <a:pos x="connsiteX5747" y="connsiteY5747"/>
                </a:cxn>
                <a:cxn ang="0">
                  <a:pos x="connsiteX5748" y="connsiteY5748"/>
                </a:cxn>
                <a:cxn ang="0">
                  <a:pos x="connsiteX5749" y="connsiteY5749"/>
                </a:cxn>
                <a:cxn ang="0">
                  <a:pos x="connsiteX5750" y="connsiteY5750"/>
                </a:cxn>
                <a:cxn ang="0">
                  <a:pos x="connsiteX5751" y="connsiteY5751"/>
                </a:cxn>
                <a:cxn ang="0">
                  <a:pos x="connsiteX5752" y="connsiteY5752"/>
                </a:cxn>
                <a:cxn ang="0">
                  <a:pos x="connsiteX5753" y="connsiteY5753"/>
                </a:cxn>
                <a:cxn ang="0">
                  <a:pos x="connsiteX5754" y="connsiteY5754"/>
                </a:cxn>
                <a:cxn ang="0">
                  <a:pos x="connsiteX5755" y="connsiteY5755"/>
                </a:cxn>
                <a:cxn ang="0">
                  <a:pos x="connsiteX5756" y="connsiteY5756"/>
                </a:cxn>
                <a:cxn ang="0">
                  <a:pos x="connsiteX5757" y="connsiteY5757"/>
                </a:cxn>
                <a:cxn ang="0">
                  <a:pos x="connsiteX5758" y="connsiteY5758"/>
                </a:cxn>
                <a:cxn ang="0">
                  <a:pos x="connsiteX5759" y="connsiteY5759"/>
                </a:cxn>
                <a:cxn ang="0">
                  <a:pos x="connsiteX5760" y="connsiteY5760"/>
                </a:cxn>
                <a:cxn ang="0">
                  <a:pos x="connsiteX5761" y="connsiteY5761"/>
                </a:cxn>
                <a:cxn ang="0">
                  <a:pos x="connsiteX5762" y="connsiteY5762"/>
                </a:cxn>
                <a:cxn ang="0">
                  <a:pos x="connsiteX5763" y="connsiteY5763"/>
                </a:cxn>
                <a:cxn ang="0">
                  <a:pos x="connsiteX5764" y="connsiteY5764"/>
                </a:cxn>
                <a:cxn ang="0">
                  <a:pos x="connsiteX5765" y="connsiteY5765"/>
                </a:cxn>
                <a:cxn ang="0">
                  <a:pos x="connsiteX5766" y="connsiteY5766"/>
                </a:cxn>
                <a:cxn ang="0">
                  <a:pos x="connsiteX5767" y="connsiteY5767"/>
                </a:cxn>
                <a:cxn ang="0">
                  <a:pos x="connsiteX5768" y="connsiteY5768"/>
                </a:cxn>
                <a:cxn ang="0">
                  <a:pos x="connsiteX5769" y="connsiteY5769"/>
                </a:cxn>
                <a:cxn ang="0">
                  <a:pos x="connsiteX5770" y="connsiteY5770"/>
                </a:cxn>
                <a:cxn ang="0">
                  <a:pos x="connsiteX5771" y="connsiteY5771"/>
                </a:cxn>
                <a:cxn ang="0">
                  <a:pos x="connsiteX5772" y="connsiteY5772"/>
                </a:cxn>
                <a:cxn ang="0">
                  <a:pos x="connsiteX5773" y="connsiteY5773"/>
                </a:cxn>
                <a:cxn ang="0">
                  <a:pos x="connsiteX5774" y="connsiteY5774"/>
                </a:cxn>
                <a:cxn ang="0">
                  <a:pos x="connsiteX5775" y="connsiteY5775"/>
                </a:cxn>
                <a:cxn ang="0">
                  <a:pos x="connsiteX5776" y="connsiteY5776"/>
                </a:cxn>
                <a:cxn ang="0">
                  <a:pos x="connsiteX5777" y="connsiteY5777"/>
                </a:cxn>
                <a:cxn ang="0">
                  <a:pos x="connsiteX5778" y="connsiteY5778"/>
                </a:cxn>
                <a:cxn ang="0">
                  <a:pos x="connsiteX5779" y="connsiteY5779"/>
                </a:cxn>
                <a:cxn ang="0">
                  <a:pos x="connsiteX5780" y="connsiteY5780"/>
                </a:cxn>
                <a:cxn ang="0">
                  <a:pos x="connsiteX5781" y="connsiteY5781"/>
                </a:cxn>
                <a:cxn ang="0">
                  <a:pos x="connsiteX5782" y="connsiteY5782"/>
                </a:cxn>
                <a:cxn ang="0">
                  <a:pos x="connsiteX5783" y="connsiteY5783"/>
                </a:cxn>
                <a:cxn ang="0">
                  <a:pos x="connsiteX5784" y="connsiteY5784"/>
                </a:cxn>
                <a:cxn ang="0">
                  <a:pos x="connsiteX5785" y="connsiteY5785"/>
                </a:cxn>
                <a:cxn ang="0">
                  <a:pos x="connsiteX5786" y="connsiteY5786"/>
                </a:cxn>
                <a:cxn ang="0">
                  <a:pos x="connsiteX5787" y="connsiteY5787"/>
                </a:cxn>
                <a:cxn ang="0">
                  <a:pos x="connsiteX5788" y="connsiteY5788"/>
                </a:cxn>
                <a:cxn ang="0">
                  <a:pos x="connsiteX5789" y="connsiteY5789"/>
                </a:cxn>
                <a:cxn ang="0">
                  <a:pos x="connsiteX5790" y="connsiteY5790"/>
                </a:cxn>
                <a:cxn ang="0">
                  <a:pos x="connsiteX5791" y="connsiteY5791"/>
                </a:cxn>
                <a:cxn ang="0">
                  <a:pos x="connsiteX5792" y="connsiteY5792"/>
                </a:cxn>
                <a:cxn ang="0">
                  <a:pos x="connsiteX5793" y="connsiteY5793"/>
                </a:cxn>
                <a:cxn ang="0">
                  <a:pos x="connsiteX5794" y="connsiteY5794"/>
                </a:cxn>
                <a:cxn ang="0">
                  <a:pos x="connsiteX5795" y="connsiteY5795"/>
                </a:cxn>
                <a:cxn ang="0">
                  <a:pos x="connsiteX5796" y="connsiteY5796"/>
                </a:cxn>
                <a:cxn ang="0">
                  <a:pos x="connsiteX5797" y="connsiteY5797"/>
                </a:cxn>
                <a:cxn ang="0">
                  <a:pos x="connsiteX5798" y="connsiteY5798"/>
                </a:cxn>
                <a:cxn ang="0">
                  <a:pos x="connsiteX5799" y="connsiteY5799"/>
                </a:cxn>
                <a:cxn ang="0">
                  <a:pos x="connsiteX5800" y="connsiteY5800"/>
                </a:cxn>
                <a:cxn ang="0">
                  <a:pos x="connsiteX5801" y="connsiteY5801"/>
                </a:cxn>
                <a:cxn ang="0">
                  <a:pos x="connsiteX5802" y="connsiteY5802"/>
                </a:cxn>
                <a:cxn ang="0">
                  <a:pos x="connsiteX5803" y="connsiteY5803"/>
                </a:cxn>
                <a:cxn ang="0">
                  <a:pos x="connsiteX5804" y="connsiteY5804"/>
                </a:cxn>
                <a:cxn ang="0">
                  <a:pos x="connsiteX5805" y="connsiteY5805"/>
                </a:cxn>
                <a:cxn ang="0">
                  <a:pos x="connsiteX5806" y="connsiteY5806"/>
                </a:cxn>
                <a:cxn ang="0">
                  <a:pos x="connsiteX5807" y="connsiteY5807"/>
                </a:cxn>
                <a:cxn ang="0">
                  <a:pos x="connsiteX5808" y="connsiteY5808"/>
                </a:cxn>
                <a:cxn ang="0">
                  <a:pos x="connsiteX5809" y="connsiteY5809"/>
                </a:cxn>
                <a:cxn ang="0">
                  <a:pos x="connsiteX5810" y="connsiteY5810"/>
                </a:cxn>
                <a:cxn ang="0">
                  <a:pos x="connsiteX5811" y="connsiteY5811"/>
                </a:cxn>
                <a:cxn ang="0">
                  <a:pos x="connsiteX5812" y="connsiteY5812"/>
                </a:cxn>
                <a:cxn ang="0">
                  <a:pos x="connsiteX5813" y="connsiteY5813"/>
                </a:cxn>
                <a:cxn ang="0">
                  <a:pos x="connsiteX5814" y="connsiteY5814"/>
                </a:cxn>
                <a:cxn ang="0">
                  <a:pos x="connsiteX5815" y="connsiteY5815"/>
                </a:cxn>
                <a:cxn ang="0">
                  <a:pos x="connsiteX5816" y="connsiteY5816"/>
                </a:cxn>
                <a:cxn ang="0">
                  <a:pos x="connsiteX5817" y="connsiteY5817"/>
                </a:cxn>
                <a:cxn ang="0">
                  <a:pos x="connsiteX5818" y="connsiteY5818"/>
                </a:cxn>
                <a:cxn ang="0">
                  <a:pos x="connsiteX5819" y="connsiteY5819"/>
                </a:cxn>
                <a:cxn ang="0">
                  <a:pos x="connsiteX5820" y="connsiteY5820"/>
                </a:cxn>
                <a:cxn ang="0">
                  <a:pos x="connsiteX5821" y="connsiteY5821"/>
                </a:cxn>
                <a:cxn ang="0">
                  <a:pos x="connsiteX5822" y="connsiteY5822"/>
                </a:cxn>
                <a:cxn ang="0">
                  <a:pos x="connsiteX5823" y="connsiteY5823"/>
                </a:cxn>
                <a:cxn ang="0">
                  <a:pos x="connsiteX5824" y="connsiteY5824"/>
                </a:cxn>
                <a:cxn ang="0">
                  <a:pos x="connsiteX5825" y="connsiteY5825"/>
                </a:cxn>
                <a:cxn ang="0">
                  <a:pos x="connsiteX5826" y="connsiteY5826"/>
                </a:cxn>
                <a:cxn ang="0">
                  <a:pos x="connsiteX5827" y="connsiteY5827"/>
                </a:cxn>
                <a:cxn ang="0">
                  <a:pos x="connsiteX5828" y="connsiteY5828"/>
                </a:cxn>
                <a:cxn ang="0">
                  <a:pos x="connsiteX5829" y="connsiteY5829"/>
                </a:cxn>
                <a:cxn ang="0">
                  <a:pos x="connsiteX5830" y="connsiteY5830"/>
                </a:cxn>
                <a:cxn ang="0">
                  <a:pos x="connsiteX5831" y="connsiteY5831"/>
                </a:cxn>
                <a:cxn ang="0">
                  <a:pos x="connsiteX5832" y="connsiteY5832"/>
                </a:cxn>
                <a:cxn ang="0">
                  <a:pos x="connsiteX5833" y="connsiteY5833"/>
                </a:cxn>
                <a:cxn ang="0">
                  <a:pos x="connsiteX5834" y="connsiteY5834"/>
                </a:cxn>
                <a:cxn ang="0">
                  <a:pos x="connsiteX5835" y="connsiteY5835"/>
                </a:cxn>
                <a:cxn ang="0">
                  <a:pos x="connsiteX5836" y="connsiteY5836"/>
                </a:cxn>
                <a:cxn ang="0">
                  <a:pos x="connsiteX5837" y="connsiteY5837"/>
                </a:cxn>
                <a:cxn ang="0">
                  <a:pos x="connsiteX5838" y="connsiteY5838"/>
                </a:cxn>
                <a:cxn ang="0">
                  <a:pos x="connsiteX5839" y="connsiteY5839"/>
                </a:cxn>
                <a:cxn ang="0">
                  <a:pos x="connsiteX5840" y="connsiteY5840"/>
                </a:cxn>
                <a:cxn ang="0">
                  <a:pos x="connsiteX5841" y="connsiteY5841"/>
                </a:cxn>
                <a:cxn ang="0">
                  <a:pos x="connsiteX5842" y="connsiteY5842"/>
                </a:cxn>
                <a:cxn ang="0">
                  <a:pos x="connsiteX5843" y="connsiteY5843"/>
                </a:cxn>
                <a:cxn ang="0">
                  <a:pos x="connsiteX5844" y="connsiteY5844"/>
                </a:cxn>
                <a:cxn ang="0">
                  <a:pos x="connsiteX5845" y="connsiteY5845"/>
                </a:cxn>
                <a:cxn ang="0">
                  <a:pos x="connsiteX5846" y="connsiteY5846"/>
                </a:cxn>
                <a:cxn ang="0">
                  <a:pos x="connsiteX5847" y="connsiteY5847"/>
                </a:cxn>
                <a:cxn ang="0">
                  <a:pos x="connsiteX5848" y="connsiteY5848"/>
                </a:cxn>
                <a:cxn ang="0">
                  <a:pos x="connsiteX5849" y="connsiteY5849"/>
                </a:cxn>
                <a:cxn ang="0">
                  <a:pos x="connsiteX5850" y="connsiteY5850"/>
                </a:cxn>
                <a:cxn ang="0">
                  <a:pos x="connsiteX5851" y="connsiteY5851"/>
                </a:cxn>
                <a:cxn ang="0">
                  <a:pos x="connsiteX5852" y="connsiteY5852"/>
                </a:cxn>
                <a:cxn ang="0">
                  <a:pos x="connsiteX5853" y="connsiteY5853"/>
                </a:cxn>
                <a:cxn ang="0">
                  <a:pos x="connsiteX5854" y="connsiteY5854"/>
                </a:cxn>
                <a:cxn ang="0">
                  <a:pos x="connsiteX5855" y="connsiteY5855"/>
                </a:cxn>
                <a:cxn ang="0">
                  <a:pos x="connsiteX5856" y="connsiteY5856"/>
                </a:cxn>
                <a:cxn ang="0">
                  <a:pos x="connsiteX5857" y="connsiteY5857"/>
                </a:cxn>
                <a:cxn ang="0">
                  <a:pos x="connsiteX5858" y="connsiteY5858"/>
                </a:cxn>
                <a:cxn ang="0">
                  <a:pos x="connsiteX5859" y="connsiteY5859"/>
                </a:cxn>
                <a:cxn ang="0">
                  <a:pos x="connsiteX5860" y="connsiteY5860"/>
                </a:cxn>
                <a:cxn ang="0">
                  <a:pos x="connsiteX5861" y="connsiteY5861"/>
                </a:cxn>
                <a:cxn ang="0">
                  <a:pos x="connsiteX5862" y="connsiteY5862"/>
                </a:cxn>
                <a:cxn ang="0">
                  <a:pos x="connsiteX5863" y="connsiteY5863"/>
                </a:cxn>
                <a:cxn ang="0">
                  <a:pos x="connsiteX5864" y="connsiteY5864"/>
                </a:cxn>
                <a:cxn ang="0">
                  <a:pos x="connsiteX5865" y="connsiteY5865"/>
                </a:cxn>
                <a:cxn ang="0">
                  <a:pos x="connsiteX5866" y="connsiteY5866"/>
                </a:cxn>
                <a:cxn ang="0">
                  <a:pos x="connsiteX5867" y="connsiteY5867"/>
                </a:cxn>
                <a:cxn ang="0">
                  <a:pos x="connsiteX5868" y="connsiteY5868"/>
                </a:cxn>
                <a:cxn ang="0">
                  <a:pos x="connsiteX5869" y="connsiteY5869"/>
                </a:cxn>
                <a:cxn ang="0">
                  <a:pos x="connsiteX5870" y="connsiteY5870"/>
                </a:cxn>
                <a:cxn ang="0">
                  <a:pos x="connsiteX5871" y="connsiteY5871"/>
                </a:cxn>
                <a:cxn ang="0">
                  <a:pos x="connsiteX5872" y="connsiteY5872"/>
                </a:cxn>
                <a:cxn ang="0">
                  <a:pos x="connsiteX5873" y="connsiteY5873"/>
                </a:cxn>
                <a:cxn ang="0">
                  <a:pos x="connsiteX5874" y="connsiteY5874"/>
                </a:cxn>
                <a:cxn ang="0">
                  <a:pos x="connsiteX5875" y="connsiteY5875"/>
                </a:cxn>
                <a:cxn ang="0">
                  <a:pos x="connsiteX5876" y="connsiteY5876"/>
                </a:cxn>
                <a:cxn ang="0">
                  <a:pos x="connsiteX5877" y="connsiteY5877"/>
                </a:cxn>
                <a:cxn ang="0">
                  <a:pos x="connsiteX5878" y="connsiteY5878"/>
                </a:cxn>
                <a:cxn ang="0">
                  <a:pos x="connsiteX5879" y="connsiteY5879"/>
                </a:cxn>
                <a:cxn ang="0">
                  <a:pos x="connsiteX5880" y="connsiteY5880"/>
                </a:cxn>
                <a:cxn ang="0">
                  <a:pos x="connsiteX5881" y="connsiteY5881"/>
                </a:cxn>
                <a:cxn ang="0">
                  <a:pos x="connsiteX5882" y="connsiteY5882"/>
                </a:cxn>
                <a:cxn ang="0">
                  <a:pos x="connsiteX5883" y="connsiteY5883"/>
                </a:cxn>
                <a:cxn ang="0">
                  <a:pos x="connsiteX5884" y="connsiteY5884"/>
                </a:cxn>
                <a:cxn ang="0">
                  <a:pos x="connsiteX5885" y="connsiteY5885"/>
                </a:cxn>
                <a:cxn ang="0">
                  <a:pos x="connsiteX5886" y="connsiteY5886"/>
                </a:cxn>
                <a:cxn ang="0">
                  <a:pos x="connsiteX5887" y="connsiteY5887"/>
                </a:cxn>
                <a:cxn ang="0">
                  <a:pos x="connsiteX5888" y="connsiteY5888"/>
                </a:cxn>
                <a:cxn ang="0">
                  <a:pos x="connsiteX5889" y="connsiteY5889"/>
                </a:cxn>
                <a:cxn ang="0">
                  <a:pos x="connsiteX5890" y="connsiteY5890"/>
                </a:cxn>
                <a:cxn ang="0">
                  <a:pos x="connsiteX5891" y="connsiteY5891"/>
                </a:cxn>
                <a:cxn ang="0">
                  <a:pos x="connsiteX5892" y="connsiteY5892"/>
                </a:cxn>
                <a:cxn ang="0">
                  <a:pos x="connsiteX5893" y="connsiteY5893"/>
                </a:cxn>
                <a:cxn ang="0">
                  <a:pos x="connsiteX5894" y="connsiteY5894"/>
                </a:cxn>
                <a:cxn ang="0">
                  <a:pos x="connsiteX5895" y="connsiteY5895"/>
                </a:cxn>
                <a:cxn ang="0">
                  <a:pos x="connsiteX5896" y="connsiteY5896"/>
                </a:cxn>
                <a:cxn ang="0">
                  <a:pos x="connsiteX5897" y="connsiteY5897"/>
                </a:cxn>
                <a:cxn ang="0">
                  <a:pos x="connsiteX5898" y="connsiteY5898"/>
                </a:cxn>
                <a:cxn ang="0">
                  <a:pos x="connsiteX5899" y="connsiteY5899"/>
                </a:cxn>
                <a:cxn ang="0">
                  <a:pos x="connsiteX5900" y="connsiteY5900"/>
                </a:cxn>
                <a:cxn ang="0">
                  <a:pos x="connsiteX5901" y="connsiteY5901"/>
                </a:cxn>
                <a:cxn ang="0">
                  <a:pos x="connsiteX5902" y="connsiteY5902"/>
                </a:cxn>
                <a:cxn ang="0">
                  <a:pos x="connsiteX5903" y="connsiteY5903"/>
                </a:cxn>
                <a:cxn ang="0">
                  <a:pos x="connsiteX5904" y="connsiteY5904"/>
                </a:cxn>
                <a:cxn ang="0">
                  <a:pos x="connsiteX5905" y="connsiteY5905"/>
                </a:cxn>
                <a:cxn ang="0">
                  <a:pos x="connsiteX5906" y="connsiteY5906"/>
                </a:cxn>
                <a:cxn ang="0">
                  <a:pos x="connsiteX5907" y="connsiteY5907"/>
                </a:cxn>
                <a:cxn ang="0">
                  <a:pos x="connsiteX5908" y="connsiteY5908"/>
                </a:cxn>
                <a:cxn ang="0">
                  <a:pos x="connsiteX5909" y="connsiteY5909"/>
                </a:cxn>
                <a:cxn ang="0">
                  <a:pos x="connsiteX5910" y="connsiteY5910"/>
                </a:cxn>
                <a:cxn ang="0">
                  <a:pos x="connsiteX5911" y="connsiteY5911"/>
                </a:cxn>
                <a:cxn ang="0">
                  <a:pos x="connsiteX5912" y="connsiteY5912"/>
                </a:cxn>
                <a:cxn ang="0">
                  <a:pos x="connsiteX5913" y="connsiteY5913"/>
                </a:cxn>
                <a:cxn ang="0">
                  <a:pos x="connsiteX5914" y="connsiteY5914"/>
                </a:cxn>
                <a:cxn ang="0">
                  <a:pos x="connsiteX5915" y="connsiteY5915"/>
                </a:cxn>
                <a:cxn ang="0">
                  <a:pos x="connsiteX5916" y="connsiteY5916"/>
                </a:cxn>
                <a:cxn ang="0">
                  <a:pos x="connsiteX5917" y="connsiteY5917"/>
                </a:cxn>
                <a:cxn ang="0">
                  <a:pos x="connsiteX5918" y="connsiteY5918"/>
                </a:cxn>
                <a:cxn ang="0">
                  <a:pos x="connsiteX5919" y="connsiteY5919"/>
                </a:cxn>
                <a:cxn ang="0">
                  <a:pos x="connsiteX5920" y="connsiteY5920"/>
                </a:cxn>
                <a:cxn ang="0">
                  <a:pos x="connsiteX5921" y="connsiteY5921"/>
                </a:cxn>
                <a:cxn ang="0">
                  <a:pos x="connsiteX5922" y="connsiteY5922"/>
                </a:cxn>
                <a:cxn ang="0">
                  <a:pos x="connsiteX5923" y="connsiteY5923"/>
                </a:cxn>
                <a:cxn ang="0">
                  <a:pos x="connsiteX5924" y="connsiteY5924"/>
                </a:cxn>
                <a:cxn ang="0">
                  <a:pos x="connsiteX5925" y="connsiteY5925"/>
                </a:cxn>
                <a:cxn ang="0">
                  <a:pos x="connsiteX5926" y="connsiteY5926"/>
                </a:cxn>
                <a:cxn ang="0">
                  <a:pos x="connsiteX5927" y="connsiteY5927"/>
                </a:cxn>
                <a:cxn ang="0">
                  <a:pos x="connsiteX5928" y="connsiteY5928"/>
                </a:cxn>
                <a:cxn ang="0">
                  <a:pos x="connsiteX5929" y="connsiteY5929"/>
                </a:cxn>
                <a:cxn ang="0">
                  <a:pos x="connsiteX5930" y="connsiteY5930"/>
                </a:cxn>
                <a:cxn ang="0">
                  <a:pos x="connsiteX5931" y="connsiteY5931"/>
                </a:cxn>
                <a:cxn ang="0">
                  <a:pos x="connsiteX5932" y="connsiteY5932"/>
                </a:cxn>
                <a:cxn ang="0">
                  <a:pos x="connsiteX5933" y="connsiteY5933"/>
                </a:cxn>
                <a:cxn ang="0">
                  <a:pos x="connsiteX5934" y="connsiteY5934"/>
                </a:cxn>
                <a:cxn ang="0">
                  <a:pos x="connsiteX5935" y="connsiteY5935"/>
                </a:cxn>
                <a:cxn ang="0">
                  <a:pos x="connsiteX5936" y="connsiteY5936"/>
                </a:cxn>
                <a:cxn ang="0">
                  <a:pos x="connsiteX5937" y="connsiteY5937"/>
                </a:cxn>
                <a:cxn ang="0">
                  <a:pos x="connsiteX5938" y="connsiteY5938"/>
                </a:cxn>
                <a:cxn ang="0">
                  <a:pos x="connsiteX5939" y="connsiteY5939"/>
                </a:cxn>
                <a:cxn ang="0">
                  <a:pos x="connsiteX5940" y="connsiteY5940"/>
                </a:cxn>
                <a:cxn ang="0">
                  <a:pos x="connsiteX5941" y="connsiteY5941"/>
                </a:cxn>
                <a:cxn ang="0">
                  <a:pos x="connsiteX5942" y="connsiteY5942"/>
                </a:cxn>
                <a:cxn ang="0">
                  <a:pos x="connsiteX5943" y="connsiteY5943"/>
                </a:cxn>
                <a:cxn ang="0">
                  <a:pos x="connsiteX5944" y="connsiteY5944"/>
                </a:cxn>
                <a:cxn ang="0">
                  <a:pos x="connsiteX5945" y="connsiteY5945"/>
                </a:cxn>
                <a:cxn ang="0">
                  <a:pos x="connsiteX5946" y="connsiteY5946"/>
                </a:cxn>
                <a:cxn ang="0">
                  <a:pos x="connsiteX5947" y="connsiteY5947"/>
                </a:cxn>
                <a:cxn ang="0">
                  <a:pos x="connsiteX5948" y="connsiteY5948"/>
                </a:cxn>
                <a:cxn ang="0">
                  <a:pos x="connsiteX5949" y="connsiteY5949"/>
                </a:cxn>
                <a:cxn ang="0">
                  <a:pos x="connsiteX5950" y="connsiteY5950"/>
                </a:cxn>
                <a:cxn ang="0">
                  <a:pos x="connsiteX5951" y="connsiteY5951"/>
                </a:cxn>
                <a:cxn ang="0">
                  <a:pos x="connsiteX5952" y="connsiteY5952"/>
                </a:cxn>
                <a:cxn ang="0">
                  <a:pos x="connsiteX5953" y="connsiteY5953"/>
                </a:cxn>
                <a:cxn ang="0">
                  <a:pos x="connsiteX5954" y="connsiteY5954"/>
                </a:cxn>
                <a:cxn ang="0">
                  <a:pos x="connsiteX5955" y="connsiteY5955"/>
                </a:cxn>
                <a:cxn ang="0">
                  <a:pos x="connsiteX5956" y="connsiteY5956"/>
                </a:cxn>
                <a:cxn ang="0">
                  <a:pos x="connsiteX5957" y="connsiteY5957"/>
                </a:cxn>
                <a:cxn ang="0">
                  <a:pos x="connsiteX5958" y="connsiteY5958"/>
                </a:cxn>
                <a:cxn ang="0">
                  <a:pos x="connsiteX5959" y="connsiteY5959"/>
                </a:cxn>
                <a:cxn ang="0">
                  <a:pos x="connsiteX5960" y="connsiteY5960"/>
                </a:cxn>
                <a:cxn ang="0">
                  <a:pos x="connsiteX5961" y="connsiteY5961"/>
                </a:cxn>
                <a:cxn ang="0">
                  <a:pos x="connsiteX5962" y="connsiteY5962"/>
                </a:cxn>
                <a:cxn ang="0">
                  <a:pos x="connsiteX5963" y="connsiteY5963"/>
                </a:cxn>
                <a:cxn ang="0">
                  <a:pos x="connsiteX5964" y="connsiteY5964"/>
                </a:cxn>
                <a:cxn ang="0">
                  <a:pos x="connsiteX5965" y="connsiteY5965"/>
                </a:cxn>
                <a:cxn ang="0">
                  <a:pos x="connsiteX5966" y="connsiteY5966"/>
                </a:cxn>
                <a:cxn ang="0">
                  <a:pos x="connsiteX5967" y="connsiteY5967"/>
                </a:cxn>
                <a:cxn ang="0">
                  <a:pos x="connsiteX5968" y="connsiteY5968"/>
                </a:cxn>
                <a:cxn ang="0">
                  <a:pos x="connsiteX5969" y="connsiteY5969"/>
                </a:cxn>
                <a:cxn ang="0">
                  <a:pos x="connsiteX5970" y="connsiteY5970"/>
                </a:cxn>
                <a:cxn ang="0">
                  <a:pos x="connsiteX5971" y="connsiteY5971"/>
                </a:cxn>
                <a:cxn ang="0">
                  <a:pos x="connsiteX5972" y="connsiteY5972"/>
                </a:cxn>
                <a:cxn ang="0">
                  <a:pos x="connsiteX5973" y="connsiteY5973"/>
                </a:cxn>
                <a:cxn ang="0">
                  <a:pos x="connsiteX5974" y="connsiteY5974"/>
                </a:cxn>
                <a:cxn ang="0">
                  <a:pos x="connsiteX5975" y="connsiteY5975"/>
                </a:cxn>
                <a:cxn ang="0">
                  <a:pos x="connsiteX5976" y="connsiteY5976"/>
                </a:cxn>
                <a:cxn ang="0">
                  <a:pos x="connsiteX5977" y="connsiteY5977"/>
                </a:cxn>
                <a:cxn ang="0">
                  <a:pos x="connsiteX5978" y="connsiteY5978"/>
                </a:cxn>
                <a:cxn ang="0">
                  <a:pos x="connsiteX5979" y="connsiteY5979"/>
                </a:cxn>
                <a:cxn ang="0">
                  <a:pos x="connsiteX5980" y="connsiteY5980"/>
                </a:cxn>
                <a:cxn ang="0">
                  <a:pos x="connsiteX5981" y="connsiteY5981"/>
                </a:cxn>
                <a:cxn ang="0">
                  <a:pos x="connsiteX5982" y="connsiteY5982"/>
                </a:cxn>
                <a:cxn ang="0">
                  <a:pos x="connsiteX5983" y="connsiteY5983"/>
                </a:cxn>
                <a:cxn ang="0">
                  <a:pos x="connsiteX5984" y="connsiteY5984"/>
                </a:cxn>
                <a:cxn ang="0">
                  <a:pos x="connsiteX5985" y="connsiteY5985"/>
                </a:cxn>
                <a:cxn ang="0">
                  <a:pos x="connsiteX5986" y="connsiteY5986"/>
                </a:cxn>
                <a:cxn ang="0">
                  <a:pos x="connsiteX5987" y="connsiteY5987"/>
                </a:cxn>
                <a:cxn ang="0">
                  <a:pos x="connsiteX5988" y="connsiteY5988"/>
                </a:cxn>
                <a:cxn ang="0">
                  <a:pos x="connsiteX5989" y="connsiteY5989"/>
                </a:cxn>
                <a:cxn ang="0">
                  <a:pos x="connsiteX5990" y="connsiteY5990"/>
                </a:cxn>
                <a:cxn ang="0">
                  <a:pos x="connsiteX5991" y="connsiteY5991"/>
                </a:cxn>
                <a:cxn ang="0">
                  <a:pos x="connsiteX5992" y="connsiteY5992"/>
                </a:cxn>
                <a:cxn ang="0">
                  <a:pos x="connsiteX5993" y="connsiteY5993"/>
                </a:cxn>
                <a:cxn ang="0">
                  <a:pos x="connsiteX5994" y="connsiteY5994"/>
                </a:cxn>
                <a:cxn ang="0">
                  <a:pos x="connsiteX5995" y="connsiteY5995"/>
                </a:cxn>
                <a:cxn ang="0">
                  <a:pos x="connsiteX5996" y="connsiteY5996"/>
                </a:cxn>
                <a:cxn ang="0">
                  <a:pos x="connsiteX5997" y="connsiteY5997"/>
                </a:cxn>
                <a:cxn ang="0">
                  <a:pos x="connsiteX5998" y="connsiteY5998"/>
                </a:cxn>
                <a:cxn ang="0">
                  <a:pos x="connsiteX5999" y="connsiteY5999"/>
                </a:cxn>
                <a:cxn ang="0">
                  <a:pos x="connsiteX6000" y="connsiteY6000"/>
                </a:cxn>
                <a:cxn ang="0">
                  <a:pos x="connsiteX6001" y="connsiteY6001"/>
                </a:cxn>
                <a:cxn ang="0">
                  <a:pos x="connsiteX6002" y="connsiteY6002"/>
                </a:cxn>
                <a:cxn ang="0">
                  <a:pos x="connsiteX6003" y="connsiteY6003"/>
                </a:cxn>
                <a:cxn ang="0">
                  <a:pos x="connsiteX6004" y="connsiteY6004"/>
                </a:cxn>
                <a:cxn ang="0">
                  <a:pos x="connsiteX6005" y="connsiteY6005"/>
                </a:cxn>
                <a:cxn ang="0">
                  <a:pos x="connsiteX6006" y="connsiteY6006"/>
                </a:cxn>
                <a:cxn ang="0">
                  <a:pos x="connsiteX6007" y="connsiteY6007"/>
                </a:cxn>
                <a:cxn ang="0">
                  <a:pos x="connsiteX6008" y="connsiteY6008"/>
                </a:cxn>
                <a:cxn ang="0">
                  <a:pos x="connsiteX6009" y="connsiteY6009"/>
                </a:cxn>
                <a:cxn ang="0">
                  <a:pos x="connsiteX6010" y="connsiteY6010"/>
                </a:cxn>
                <a:cxn ang="0">
                  <a:pos x="connsiteX6011" y="connsiteY6011"/>
                </a:cxn>
                <a:cxn ang="0">
                  <a:pos x="connsiteX6012" y="connsiteY6012"/>
                </a:cxn>
                <a:cxn ang="0">
                  <a:pos x="connsiteX6013" y="connsiteY6013"/>
                </a:cxn>
                <a:cxn ang="0">
                  <a:pos x="connsiteX6014" y="connsiteY6014"/>
                </a:cxn>
                <a:cxn ang="0">
                  <a:pos x="connsiteX6015" y="connsiteY6015"/>
                </a:cxn>
                <a:cxn ang="0">
                  <a:pos x="connsiteX6016" y="connsiteY6016"/>
                </a:cxn>
                <a:cxn ang="0">
                  <a:pos x="connsiteX6017" y="connsiteY6017"/>
                </a:cxn>
                <a:cxn ang="0">
                  <a:pos x="connsiteX6018" y="connsiteY6018"/>
                </a:cxn>
                <a:cxn ang="0">
                  <a:pos x="connsiteX6019" y="connsiteY6019"/>
                </a:cxn>
                <a:cxn ang="0">
                  <a:pos x="connsiteX6020" y="connsiteY6020"/>
                </a:cxn>
                <a:cxn ang="0">
                  <a:pos x="connsiteX6021" y="connsiteY6021"/>
                </a:cxn>
                <a:cxn ang="0">
                  <a:pos x="connsiteX6022" y="connsiteY6022"/>
                </a:cxn>
                <a:cxn ang="0">
                  <a:pos x="connsiteX6023" y="connsiteY6023"/>
                </a:cxn>
                <a:cxn ang="0">
                  <a:pos x="connsiteX6024" y="connsiteY6024"/>
                </a:cxn>
                <a:cxn ang="0">
                  <a:pos x="connsiteX6025" y="connsiteY6025"/>
                </a:cxn>
                <a:cxn ang="0">
                  <a:pos x="connsiteX6026" y="connsiteY6026"/>
                </a:cxn>
                <a:cxn ang="0">
                  <a:pos x="connsiteX6027" y="connsiteY6027"/>
                </a:cxn>
                <a:cxn ang="0">
                  <a:pos x="connsiteX6028" y="connsiteY6028"/>
                </a:cxn>
                <a:cxn ang="0">
                  <a:pos x="connsiteX6029" y="connsiteY6029"/>
                </a:cxn>
                <a:cxn ang="0">
                  <a:pos x="connsiteX6030" y="connsiteY6030"/>
                </a:cxn>
                <a:cxn ang="0">
                  <a:pos x="connsiteX6031" y="connsiteY6031"/>
                </a:cxn>
                <a:cxn ang="0">
                  <a:pos x="connsiteX6032" y="connsiteY6032"/>
                </a:cxn>
                <a:cxn ang="0">
                  <a:pos x="connsiteX6033" y="connsiteY6033"/>
                </a:cxn>
                <a:cxn ang="0">
                  <a:pos x="connsiteX6034" y="connsiteY6034"/>
                </a:cxn>
                <a:cxn ang="0">
                  <a:pos x="connsiteX6035" y="connsiteY6035"/>
                </a:cxn>
                <a:cxn ang="0">
                  <a:pos x="connsiteX6036" y="connsiteY6036"/>
                </a:cxn>
                <a:cxn ang="0">
                  <a:pos x="connsiteX6037" y="connsiteY6037"/>
                </a:cxn>
                <a:cxn ang="0">
                  <a:pos x="connsiteX6038" y="connsiteY6038"/>
                </a:cxn>
                <a:cxn ang="0">
                  <a:pos x="connsiteX6039" y="connsiteY6039"/>
                </a:cxn>
                <a:cxn ang="0">
                  <a:pos x="connsiteX6040" y="connsiteY6040"/>
                </a:cxn>
                <a:cxn ang="0">
                  <a:pos x="connsiteX6041" y="connsiteY6041"/>
                </a:cxn>
                <a:cxn ang="0">
                  <a:pos x="connsiteX6042" y="connsiteY6042"/>
                </a:cxn>
                <a:cxn ang="0">
                  <a:pos x="connsiteX6043" y="connsiteY6043"/>
                </a:cxn>
                <a:cxn ang="0">
                  <a:pos x="connsiteX6044" y="connsiteY6044"/>
                </a:cxn>
                <a:cxn ang="0">
                  <a:pos x="connsiteX6045" y="connsiteY6045"/>
                </a:cxn>
                <a:cxn ang="0">
                  <a:pos x="connsiteX6046" y="connsiteY6046"/>
                </a:cxn>
                <a:cxn ang="0">
                  <a:pos x="connsiteX6047" y="connsiteY6047"/>
                </a:cxn>
                <a:cxn ang="0">
                  <a:pos x="connsiteX6048" y="connsiteY6048"/>
                </a:cxn>
                <a:cxn ang="0">
                  <a:pos x="connsiteX6049" y="connsiteY6049"/>
                </a:cxn>
                <a:cxn ang="0">
                  <a:pos x="connsiteX6050" y="connsiteY6050"/>
                </a:cxn>
                <a:cxn ang="0">
                  <a:pos x="connsiteX6051" y="connsiteY6051"/>
                </a:cxn>
                <a:cxn ang="0">
                  <a:pos x="connsiteX6052" y="connsiteY6052"/>
                </a:cxn>
                <a:cxn ang="0">
                  <a:pos x="connsiteX6053" y="connsiteY6053"/>
                </a:cxn>
                <a:cxn ang="0">
                  <a:pos x="connsiteX6054" y="connsiteY6054"/>
                </a:cxn>
                <a:cxn ang="0">
                  <a:pos x="connsiteX6055" y="connsiteY6055"/>
                </a:cxn>
                <a:cxn ang="0">
                  <a:pos x="connsiteX6056" y="connsiteY6056"/>
                </a:cxn>
                <a:cxn ang="0">
                  <a:pos x="connsiteX6057" y="connsiteY6057"/>
                </a:cxn>
                <a:cxn ang="0">
                  <a:pos x="connsiteX6058" y="connsiteY6058"/>
                </a:cxn>
                <a:cxn ang="0">
                  <a:pos x="connsiteX6059" y="connsiteY6059"/>
                </a:cxn>
                <a:cxn ang="0">
                  <a:pos x="connsiteX6060" y="connsiteY6060"/>
                </a:cxn>
                <a:cxn ang="0">
                  <a:pos x="connsiteX6061" y="connsiteY6061"/>
                </a:cxn>
                <a:cxn ang="0">
                  <a:pos x="connsiteX6062" y="connsiteY6062"/>
                </a:cxn>
                <a:cxn ang="0">
                  <a:pos x="connsiteX6063" y="connsiteY6063"/>
                </a:cxn>
                <a:cxn ang="0">
                  <a:pos x="connsiteX6064" y="connsiteY6064"/>
                </a:cxn>
                <a:cxn ang="0">
                  <a:pos x="connsiteX6065" y="connsiteY6065"/>
                </a:cxn>
                <a:cxn ang="0">
                  <a:pos x="connsiteX6066" y="connsiteY6066"/>
                </a:cxn>
                <a:cxn ang="0">
                  <a:pos x="connsiteX6067" y="connsiteY6067"/>
                </a:cxn>
                <a:cxn ang="0">
                  <a:pos x="connsiteX6068" y="connsiteY6068"/>
                </a:cxn>
                <a:cxn ang="0">
                  <a:pos x="connsiteX6069" y="connsiteY6069"/>
                </a:cxn>
                <a:cxn ang="0">
                  <a:pos x="connsiteX6070" y="connsiteY6070"/>
                </a:cxn>
                <a:cxn ang="0">
                  <a:pos x="connsiteX6071" y="connsiteY6071"/>
                </a:cxn>
                <a:cxn ang="0">
                  <a:pos x="connsiteX6072" y="connsiteY6072"/>
                </a:cxn>
                <a:cxn ang="0">
                  <a:pos x="connsiteX6073" y="connsiteY6073"/>
                </a:cxn>
                <a:cxn ang="0">
                  <a:pos x="connsiteX6074" y="connsiteY6074"/>
                </a:cxn>
                <a:cxn ang="0">
                  <a:pos x="connsiteX6075" y="connsiteY6075"/>
                </a:cxn>
                <a:cxn ang="0">
                  <a:pos x="connsiteX6076" y="connsiteY6076"/>
                </a:cxn>
                <a:cxn ang="0">
                  <a:pos x="connsiteX6077" y="connsiteY6077"/>
                </a:cxn>
                <a:cxn ang="0">
                  <a:pos x="connsiteX6078" y="connsiteY6078"/>
                </a:cxn>
                <a:cxn ang="0">
                  <a:pos x="connsiteX6079" y="connsiteY6079"/>
                </a:cxn>
                <a:cxn ang="0">
                  <a:pos x="connsiteX6080" y="connsiteY6080"/>
                </a:cxn>
                <a:cxn ang="0">
                  <a:pos x="connsiteX6081" y="connsiteY6081"/>
                </a:cxn>
                <a:cxn ang="0">
                  <a:pos x="connsiteX6082" y="connsiteY6082"/>
                </a:cxn>
                <a:cxn ang="0">
                  <a:pos x="connsiteX6083" y="connsiteY6083"/>
                </a:cxn>
                <a:cxn ang="0">
                  <a:pos x="connsiteX6084" y="connsiteY6084"/>
                </a:cxn>
                <a:cxn ang="0">
                  <a:pos x="connsiteX6085" y="connsiteY6085"/>
                </a:cxn>
                <a:cxn ang="0">
                  <a:pos x="connsiteX6086" y="connsiteY6086"/>
                </a:cxn>
                <a:cxn ang="0">
                  <a:pos x="connsiteX6087" y="connsiteY6087"/>
                </a:cxn>
                <a:cxn ang="0">
                  <a:pos x="connsiteX6088" y="connsiteY6088"/>
                </a:cxn>
                <a:cxn ang="0">
                  <a:pos x="connsiteX6089" y="connsiteY6089"/>
                </a:cxn>
                <a:cxn ang="0">
                  <a:pos x="connsiteX6090" y="connsiteY6090"/>
                </a:cxn>
                <a:cxn ang="0">
                  <a:pos x="connsiteX6091" y="connsiteY6091"/>
                </a:cxn>
                <a:cxn ang="0">
                  <a:pos x="connsiteX6092" y="connsiteY6092"/>
                </a:cxn>
                <a:cxn ang="0">
                  <a:pos x="connsiteX6093" y="connsiteY6093"/>
                </a:cxn>
                <a:cxn ang="0">
                  <a:pos x="connsiteX6094" y="connsiteY6094"/>
                </a:cxn>
                <a:cxn ang="0">
                  <a:pos x="connsiteX6095" y="connsiteY6095"/>
                </a:cxn>
                <a:cxn ang="0">
                  <a:pos x="connsiteX6096" y="connsiteY6096"/>
                </a:cxn>
                <a:cxn ang="0">
                  <a:pos x="connsiteX6097" y="connsiteY6097"/>
                </a:cxn>
                <a:cxn ang="0">
                  <a:pos x="connsiteX6098" y="connsiteY6098"/>
                </a:cxn>
                <a:cxn ang="0">
                  <a:pos x="connsiteX6099" y="connsiteY6099"/>
                </a:cxn>
                <a:cxn ang="0">
                  <a:pos x="connsiteX6100" y="connsiteY6100"/>
                </a:cxn>
                <a:cxn ang="0">
                  <a:pos x="connsiteX6101" y="connsiteY6101"/>
                </a:cxn>
                <a:cxn ang="0">
                  <a:pos x="connsiteX6102" y="connsiteY6102"/>
                </a:cxn>
                <a:cxn ang="0">
                  <a:pos x="connsiteX6103" y="connsiteY6103"/>
                </a:cxn>
                <a:cxn ang="0">
                  <a:pos x="connsiteX6104" y="connsiteY6104"/>
                </a:cxn>
                <a:cxn ang="0">
                  <a:pos x="connsiteX6105" y="connsiteY6105"/>
                </a:cxn>
                <a:cxn ang="0">
                  <a:pos x="connsiteX6106" y="connsiteY6106"/>
                </a:cxn>
                <a:cxn ang="0">
                  <a:pos x="connsiteX6107" y="connsiteY6107"/>
                </a:cxn>
                <a:cxn ang="0">
                  <a:pos x="connsiteX6108" y="connsiteY6108"/>
                </a:cxn>
                <a:cxn ang="0">
                  <a:pos x="connsiteX6109" y="connsiteY6109"/>
                </a:cxn>
                <a:cxn ang="0">
                  <a:pos x="connsiteX6110" y="connsiteY6110"/>
                </a:cxn>
                <a:cxn ang="0">
                  <a:pos x="connsiteX6111" y="connsiteY6111"/>
                </a:cxn>
                <a:cxn ang="0">
                  <a:pos x="connsiteX6112" y="connsiteY6112"/>
                </a:cxn>
                <a:cxn ang="0">
                  <a:pos x="connsiteX6113" y="connsiteY6113"/>
                </a:cxn>
                <a:cxn ang="0">
                  <a:pos x="connsiteX6114" y="connsiteY6114"/>
                </a:cxn>
                <a:cxn ang="0">
                  <a:pos x="connsiteX6115" y="connsiteY6115"/>
                </a:cxn>
                <a:cxn ang="0">
                  <a:pos x="connsiteX6116" y="connsiteY6116"/>
                </a:cxn>
                <a:cxn ang="0">
                  <a:pos x="connsiteX6117" y="connsiteY6117"/>
                </a:cxn>
                <a:cxn ang="0">
                  <a:pos x="connsiteX6118" y="connsiteY6118"/>
                </a:cxn>
                <a:cxn ang="0">
                  <a:pos x="connsiteX6119" y="connsiteY6119"/>
                </a:cxn>
                <a:cxn ang="0">
                  <a:pos x="connsiteX6120" y="connsiteY6120"/>
                </a:cxn>
                <a:cxn ang="0">
                  <a:pos x="connsiteX6121" y="connsiteY6121"/>
                </a:cxn>
                <a:cxn ang="0">
                  <a:pos x="connsiteX6122" y="connsiteY6122"/>
                </a:cxn>
                <a:cxn ang="0">
                  <a:pos x="connsiteX6123" y="connsiteY6123"/>
                </a:cxn>
                <a:cxn ang="0">
                  <a:pos x="connsiteX6124" y="connsiteY6124"/>
                </a:cxn>
                <a:cxn ang="0">
                  <a:pos x="connsiteX6125" y="connsiteY6125"/>
                </a:cxn>
                <a:cxn ang="0">
                  <a:pos x="connsiteX6126" y="connsiteY6126"/>
                </a:cxn>
                <a:cxn ang="0">
                  <a:pos x="connsiteX6127" y="connsiteY6127"/>
                </a:cxn>
                <a:cxn ang="0">
                  <a:pos x="connsiteX6128" y="connsiteY6128"/>
                </a:cxn>
                <a:cxn ang="0">
                  <a:pos x="connsiteX6129" y="connsiteY6129"/>
                </a:cxn>
                <a:cxn ang="0">
                  <a:pos x="connsiteX6130" y="connsiteY6130"/>
                </a:cxn>
                <a:cxn ang="0">
                  <a:pos x="connsiteX6131" y="connsiteY6131"/>
                </a:cxn>
                <a:cxn ang="0">
                  <a:pos x="connsiteX6132" y="connsiteY6132"/>
                </a:cxn>
                <a:cxn ang="0">
                  <a:pos x="connsiteX6133" y="connsiteY6133"/>
                </a:cxn>
                <a:cxn ang="0">
                  <a:pos x="connsiteX6134" y="connsiteY6134"/>
                </a:cxn>
                <a:cxn ang="0">
                  <a:pos x="connsiteX6135" y="connsiteY6135"/>
                </a:cxn>
                <a:cxn ang="0">
                  <a:pos x="connsiteX6136" y="connsiteY6136"/>
                </a:cxn>
                <a:cxn ang="0">
                  <a:pos x="connsiteX6137" y="connsiteY6137"/>
                </a:cxn>
                <a:cxn ang="0">
                  <a:pos x="connsiteX6138" y="connsiteY6138"/>
                </a:cxn>
                <a:cxn ang="0">
                  <a:pos x="connsiteX6139" y="connsiteY6139"/>
                </a:cxn>
                <a:cxn ang="0">
                  <a:pos x="connsiteX6140" y="connsiteY6140"/>
                </a:cxn>
                <a:cxn ang="0">
                  <a:pos x="connsiteX6141" y="connsiteY6141"/>
                </a:cxn>
                <a:cxn ang="0">
                  <a:pos x="connsiteX6142" y="connsiteY6142"/>
                </a:cxn>
                <a:cxn ang="0">
                  <a:pos x="connsiteX6143" y="connsiteY6143"/>
                </a:cxn>
                <a:cxn ang="0">
                  <a:pos x="connsiteX6144" y="connsiteY6144"/>
                </a:cxn>
                <a:cxn ang="0">
                  <a:pos x="connsiteX6145" y="connsiteY6145"/>
                </a:cxn>
                <a:cxn ang="0">
                  <a:pos x="connsiteX6146" y="connsiteY6146"/>
                </a:cxn>
                <a:cxn ang="0">
                  <a:pos x="connsiteX6147" y="connsiteY6147"/>
                </a:cxn>
                <a:cxn ang="0">
                  <a:pos x="connsiteX6148" y="connsiteY6148"/>
                </a:cxn>
                <a:cxn ang="0">
                  <a:pos x="connsiteX6149" y="connsiteY6149"/>
                </a:cxn>
                <a:cxn ang="0">
                  <a:pos x="connsiteX6150" y="connsiteY6150"/>
                </a:cxn>
                <a:cxn ang="0">
                  <a:pos x="connsiteX6151" y="connsiteY6151"/>
                </a:cxn>
                <a:cxn ang="0">
                  <a:pos x="connsiteX6152" y="connsiteY6152"/>
                </a:cxn>
                <a:cxn ang="0">
                  <a:pos x="connsiteX6153" y="connsiteY6153"/>
                </a:cxn>
                <a:cxn ang="0">
                  <a:pos x="connsiteX6154" y="connsiteY6154"/>
                </a:cxn>
                <a:cxn ang="0">
                  <a:pos x="connsiteX6155" y="connsiteY6155"/>
                </a:cxn>
                <a:cxn ang="0">
                  <a:pos x="connsiteX6156" y="connsiteY6156"/>
                </a:cxn>
                <a:cxn ang="0">
                  <a:pos x="connsiteX6157" y="connsiteY6157"/>
                </a:cxn>
                <a:cxn ang="0">
                  <a:pos x="connsiteX6158" y="connsiteY6158"/>
                </a:cxn>
                <a:cxn ang="0">
                  <a:pos x="connsiteX6159" y="connsiteY6159"/>
                </a:cxn>
                <a:cxn ang="0">
                  <a:pos x="connsiteX6160" y="connsiteY6160"/>
                </a:cxn>
                <a:cxn ang="0">
                  <a:pos x="connsiteX6161" y="connsiteY6161"/>
                </a:cxn>
                <a:cxn ang="0">
                  <a:pos x="connsiteX6162" y="connsiteY6162"/>
                </a:cxn>
                <a:cxn ang="0">
                  <a:pos x="connsiteX6163" y="connsiteY6163"/>
                </a:cxn>
                <a:cxn ang="0">
                  <a:pos x="connsiteX6164" y="connsiteY6164"/>
                </a:cxn>
                <a:cxn ang="0">
                  <a:pos x="connsiteX6165" y="connsiteY6165"/>
                </a:cxn>
                <a:cxn ang="0">
                  <a:pos x="connsiteX6166" y="connsiteY6166"/>
                </a:cxn>
                <a:cxn ang="0">
                  <a:pos x="connsiteX6167" y="connsiteY6167"/>
                </a:cxn>
                <a:cxn ang="0">
                  <a:pos x="connsiteX6168" y="connsiteY6168"/>
                </a:cxn>
                <a:cxn ang="0">
                  <a:pos x="connsiteX6169" y="connsiteY6169"/>
                </a:cxn>
                <a:cxn ang="0">
                  <a:pos x="connsiteX6170" y="connsiteY6170"/>
                </a:cxn>
                <a:cxn ang="0">
                  <a:pos x="connsiteX6171" y="connsiteY6171"/>
                </a:cxn>
                <a:cxn ang="0">
                  <a:pos x="connsiteX6172" y="connsiteY6172"/>
                </a:cxn>
                <a:cxn ang="0">
                  <a:pos x="connsiteX6173" y="connsiteY6173"/>
                </a:cxn>
                <a:cxn ang="0">
                  <a:pos x="connsiteX6174" y="connsiteY6174"/>
                </a:cxn>
                <a:cxn ang="0">
                  <a:pos x="connsiteX6175" y="connsiteY6175"/>
                </a:cxn>
                <a:cxn ang="0">
                  <a:pos x="connsiteX6176" y="connsiteY6176"/>
                </a:cxn>
                <a:cxn ang="0">
                  <a:pos x="connsiteX6177" y="connsiteY6177"/>
                </a:cxn>
                <a:cxn ang="0">
                  <a:pos x="connsiteX6178" y="connsiteY6178"/>
                </a:cxn>
                <a:cxn ang="0">
                  <a:pos x="connsiteX6179" y="connsiteY6179"/>
                </a:cxn>
                <a:cxn ang="0">
                  <a:pos x="connsiteX6180" y="connsiteY6180"/>
                </a:cxn>
                <a:cxn ang="0">
                  <a:pos x="connsiteX6181" y="connsiteY6181"/>
                </a:cxn>
                <a:cxn ang="0">
                  <a:pos x="connsiteX6182" y="connsiteY6182"/>
                </a:cxn>
                <a:cxn ang="0">
                  <a:pos x="connsiteX6183" y="connsiteY6183"/>
                </a:cxn>
                <a:cxn ang="0">
                  <a:pos x="connsiteX6184" y="connsiteY6184"/>
                </a:cxn>
                <a:cxn ang="0">
                  <a:pos x="connsiteX6185" y="connsiteY6185"/>
                </a:cxn>
                <a:cxn ang="0">
                  <a:pos x="connsiteX6186" y="connsiteY6186"/>
                </a:cxn>
                <a:cxn ang="0">
                  <a:pos x="connsiteX6187" y="connsiteY6187"/>
                </a:cxn>
                <a:cxn ang="0">
                  <a:pos x="connsiteX6188" y="connsiteY6188"/>
                </a:cxn>
                <a:cxn ang="0">
                  <a:pos x="connsiteX6189" y="connsiteY6189"/>
                </a:cxn>
                <a:cxn ang="0">
                  <a:pos x="connsiteX6190" y="connsiteY6190"/>
                </a:cxn>
                <a:cxn ang="0">
                  <a:pos x="connsiteX6191" y="connsiteY6191"/>
                </a:cxn>
                <a:cxn ang="0">
                  <a:pos x="connsiteX6192" y="connsiteY6192"/>
                </a:cxn>
                <a:cxn ang="0">
                  <a:pos x="connsiteX6193" y="connsiteY6193"/>
                </a:cxn>
                <a:cxn ang="0">
                  <a:pos x="connsiteX6194" y="connsiteY6194"/>
                </a:cxn>
                <a:cxn ang="0">
                  <a:pos x="connsiteX6195" y="connsiteY6195"/>
                </a:cxn>
                <a:cxn ang="0">
                  <a:pos x="connsiteX6196" y="connsiteY6196"/>
                </a:cxn>
                <a:cxn ang="0">
                  <a:pos x="connsiteX6197" y="connsiteY6197"/>
                </a:cxn>
                <a:cxn ang="0">
                  <a:pos x="connsiteX6198" y="connsiteY6198"/>
                </a:cxn>
                <a:cxn ang="0">
                  <a:pos x="connsiteX6199" y="connsiteY6199"/>
                </a:cxn>
                <a:cxn ang="0">
                  <a:pos x="connsiteX6200" y="connsiteY6200"/>
                </a:cxn>
                <a:cxn ang="0">
                  <a:pos x="connsiteX6201" y="connsiteY6201"/>
                </a:cxn>
                <a:cxn ang="0">
                  <a:pos x="connsiteX6202" y="connsiteY6202"/>
                </a:cxn>
                <a:cxn ang="0">
                  <a:pos x="connsiteX6203" y="connsiteY6203"/>
                </a:cxn>
                <a:cxn ang="0">
                  <a:pos x="connsiteX6204" y="connsiteY6204"/>
                </a:cxn>
                <a:cxn ang="0">
                  <a:pos x="connsiteX6205" y="connsiteY6205"/>
                </a:cxn>
                <a:cxn ang="0">
                  <a:pos x="connsiteX6206" y="connsiteY6206"/>
                </a:cxn>
                <a:cxn ang="0">
                  <a:pos x="connsiteX6207" y="connsiteY6207"/>
                </a:cxn>
                <a:cxn ang="0">
                  <a:pos x="connsiteX6208" y="connsiteY6208"/>
                </a:cxn>
                <a:cxn ang="0">
                  <a:pos x="connsiteX6209" y="connsiteY6209"/>
                </a:cxn>
                <a:cxn ang="0">
                  <a:pos x="connsiteX6210" y="connsiteY6210"/>
                </a:cxn>
                <a:cxn ang="0">
                  <a:pos x="connsiteX6211" y="connsiteY6211"/>
                </a:cxn>
                <a:cxn ang="0">
                  <a:pos x="connsiteX6212" y="connsiteY6212"/>
                </a:cxn>
                <a:cxn ang="0">
                  <a:pos x="connsiteX6213" y="connsiteY6213"/>
                </a:cxn>
                <a:cxn ang="0">
                  <a:pos x="connsiteX6214" y="connsiteY6214"/>
                </a:cxn>
                <a:cxn ang="0">
                  <a:pos x="connsiteX6215" y="connsiteY6215"/>
                </a:cxn>
                <a:cxn ang="0">
                  <a:pos x="connsiteX6216" y="connsiteY6216"/>
                </a:cxn>
                <a:cxn ang="0">
                  <a:pos x="connsiteX6217" y="connsiteY6217"/>
                </a:cxn>
                <a:cxn ang="0">
                  <a:pos x="connsiteX6218" y="connsiteY6218"/>
                </a:cxn>
                <a:cxn ang="0">
                  <a:pos x="connsiteX6219" y="connsiteY6219"/>
                </a:cxn>
                <a:cxn ang="0">
                  <a:pos x="connsiteX6220" y="connsiteY6220"/>
                </a:cxn>
                <a:cxn ang="0">
                  <a:pos x="connsiteX6221" y="connsiteY6221"/>
                </a:cxn>
                <a:cxn ang="0">
                  <a:pos x="connsiteX6222" y="connsiteY6222"/>
                </a:cxn>
                <a:cxn ang="0">
                  <a:pos x="connsiteX6223" y="connsiteY6223"/>
                </a:cxn>
                <a:cxn ang="0">
                  <a:pos x="connsiteX6224" y="connsiteY6224"/>
                </a:cxn>
                <a:cxn ang="0">
                  <a:pos x="connsiteX6225" y="connsiteY6225"/>
                </a:cxn>
                <a:cxn ang="0">
                  <a:pos x="connsiteX6226" y="connsiteY6226"/>
                </a:cxn>
                <a:cxn ang="0">
                  <a:pos x="connsiteX6227" y="connsiteY6227"/>
                </a:cxn>
                <a:cxn ang="0">
                  <a:pos x="connsiteX6228" y="connsiteY6228"/>
                </a:cxn>
                <a:cxn ang="0">
                  <a:pos x="connsiteX6229" y="connsiteY6229"/>
                </a:cxn>
                <a:cxn ang="0">
                  <a:pos x="connsiteX6230" y="connsiteY6230"/>
                </a:cxn>
                <a:cxn ang="0">
                  <a:pos x="connsiteX6231" y="connsiteY6231"/>
                </a:cxn>
                <a:cxn ang="0">
                  <a:pos x="connsiteX6232" y="connsiteY6232"/>
                </a:cxn>
                <a:cxn ang="0">
                  <a:pos x="connsiteX6233" y="connsiteY6233"/>
                </a:cxn>
                <a:cxn ang="0">
                  <a:pos x="connsiteX6234" y="connsiteY6234"/>
                </a:cxn>
                <a:cxn ang="0">
                  <a:pos x="connsiteX6235" y="connsiteY6235"/>
                </a:cxn>
                <a:cxn ang="0">
                  <a:pos x="connsiteX6236" y="connsiteY6236"/>
                </a:cxn>
                <a:cxn ang="0">
                  <a:pos x="connsiteX6237" y="connsiteY6237"/>
                </a:cxn>
                <a:cxn ang="0">
                  <a:pos x="connsiteX6238" y="connsiteY6238"/>
                </a:cxn>
                <a:cxn ang="0">
                  <a:pos x="connsiteX6239" y="connsiteY6239"/>
                </a:cxn>
                <a:cxn ang="0">
                  <a:pos x="connsiteX6240" y="connsiteY6240"/>
                </a:cxn>
                <a:cxn ang="0">
                  <a:pos x="connsiteX6241" y="connsiteY6241"/>
                </a:cxn>
                <a:cxn ang="0">
                  <a:pos x="connsiteX6242" y="connsiteY6242"/>
                </a:cxn>
                <a:cxn ang="0">
                  <a:pos x="connsiteX6243" y="connsiteY6243"/>
                </a:cxn>
                <a:cxn ang="0">
                  <a:pos x="connsiteX6244" y="connsiteY6244"/>
                </a:cxn>
                <a:cxn ang="0">
                  <a:pos x="connsiteX6245" y="connsiteY6245"/>
                </a:cxn>
                <a:cxn ang="0">
                  <a:pos x="connsiteX6246" y="connsiteY6246"/>
                </a:cxn>
                <a:cxn ang="0">
                  <a:pos x="connsiteX6247" y="connsiteY6247"/>
                </a:cxn>
                <a:cxn ang="0">
                  <a:pos x="connsiteX6248" y="connsiteY6248"/>
                </a:cxn>
                <a:cxn ang="0">
                  <a:pos x="connsiteX6249" y="connsiteY6249"/>
                </a:cxn>
                <a:cxn ang="0">
                  <a:pos x="connsiteX6250" y="connsiteY6250"/>
                </a:cxn>
                <a:cxn ang="0">
                  <a:pos x="connsiteX6251" y="connsiteY6251"/>
                </a:cxn>
                <a:cxn ang="0">
                  <a:pos x="connsiteX6252" y="connsiteY6252"/>
                </a:cxn>
                <a:cxn ang="0">
                  <a:pos x="connsiteX6253" y="connsiteY6253"/>
                </a:cxn>
                <a:cxn ang="0">
                  <a:pos x="connsiteX6254" y="connsiteY6254"/>
                </a:cxn>
                <a:cxn ang="0">
                  <a:pos x="connsiteX6255" y="connsiteY6255"/>
                </a:cxn>
                <a:cxn ang="0">
                  <a:pos x="connsiteX6256" y="connsiteY6256"/>
                </a:cxn>
                <a:cxn ang="0">
                  <a:pos x="connsiteX6257" y="connsiteY6257"/>
                </a:cxn>
                <a:cxn ang="0">
                  <a:pos x="connsiteX6258" y="connsiteY6258"/>
                </a:cxn>
                <a:cxn ang="0">
                  <a:pos x="connsiteX6259" y="connsiteY6259"/>
                </a:cxn>
                <a:cxn ang="0">
                  <a:pos x="connsiteX6260" y="connsiteY6260"/>
                </a:cxn>
                <a:cxn ang="0">
                  <a:pos x="connsiteX6261" y="connsiteY6261"/>
                </a:cxn>
                <a:cxn ang="0">
                  <a:pos x="connsiteX6262" y="connsiteY6262"/>
                </a:cxn>
                <a:cxn ang="0">
                  <a:pos x="connsiteX6263" y="connsiteY6263"/>
                </a:cxn>
                <a:cxn ang="0">
                  <a:pos x="connsiteX6264" y="connsiteY6264"/>
                </a:cxn>
                <a:cxn ang="0">
                  <a:pos x="connsiteX6265" y="connsiteY6265"/>
                </a:cxn>
                <a:cxn ang="0">
                  <a:pos x="connsiteX6266" y="connsiteY6266"/>
                </a:cxn>
                <a:cxn ang="0">
                  <a:pos x="connsiteX6267" y="connsiteY6267"/>
                </a:cxn>
                <a:cxn ang="0">
                  <a:pos x="connsiteX6268" y="connsiteY6268"/>
                </a:cxn>
                <a:cxn ang="0">
                  <a:pos x="connsiteX6269" y="connsiteY6269"/>
                </a:cxn>
                <a:cxn ang="0">
                  <a:pos x="connsiteX6270" y="connsiteY6270"/>
                </a:cxn>
                <a:cxn ang="0">
                  <a:pos x="connsiteX6271" y="connsiteY6271"/>
                </a:cxn>
                <a:cxn ang="0">
                  <a:pos x="connsiteX6272" y="connsiteY6272"/>
                </a:cxn>
                <a:cxn ang="0">
                  <a:pos x="connsiteX6273" y="connsiteY6273"/>
                </a:cxn>
                <a:cxn ang="0">
                  <a:pos x="connsiteX6274" y="connsiteY6274"/>
                </a:cxn>
                <a:cxn ang="0">
                  <a:pos x="connsiteX6275" y="connsiteY6275"/>
                </a:cxn>
                <a:cxn ang="0">
                  <a:pos x="connsiteX6276" y="connsiteY6276"/>
                </a:cxn>
                <a:cxn ang="0">
                  <a:pos x="connsiteX6277" y="connsiteY6277"/>
                </a:cxn>
                <a:cxn ang="0">
                  <a:pos x="connsiteX6278" y="connsiteY6278"/>
                </a:cxn>
                <a:cxn ang="0">
                  <a:pos x="connsiteX6279" y="connsiteY6279"/>
                </a:cxn>
                <a:cxn ang="0">
                  <a:pos x="connsiteX6280" y="connsiteY6280"/>
                </a:cxn>
                <a:cxn ang="0">
                  <a:pos x="connsiteX6281" y="connsiteY6281"/>
                </a:cxn>
                <a:cxn ang="0">
                  <a:pos x="connsiteX6282" y="connsiteY6282"/>
                </a:cxn>
                <a:cxn ang="0">
                  <a:pos x="connsiteX6283" y="connsiteY6283"/>
                </a:cxn>
                <a:cxn ang="0">
                  <a:pos x="connsiteX6284" y="connsiteY6284"/>
                </a:cxn>
                <a:cxn ang="0">
                  <a:pos x="connsiteX6285" y="connsiteY6285"/>
                </a:cxn>
                <a:cxn ang="0">
                  <a:pos x="connsiteX6286" y="connsiteY6286"/>
                </a:cxn>
                <a:cxn ang="0">
                  <a:pos x="connsiteX6287" y="connsiteY6287"/>
                </a:cxn>
                <a:cxn ang="0">
                  <a:pos x="connsiteX6288" y="connsiteY6288"/>
                </a:cxn>
                <a:cxn ang="0">
                  <a:pos x="connsiteX6289" y="connsiteY6289"/>
                </a:cxn>
                <a:cxn ang="0">
                  <a:pos x="connsiteX6290" y="connsiteY6290"/>
                </a:cxn>
                <a:cxn ang="0">
                  <a:pos x="connsiteX6291" y="connsiteY6291"/>
                </a:cxn>
                <a:cxn ang="0">
                  <a:pos x="connsiteX6292" y="connsiteY6292"/>
                </a:cxn>
                <a:cxn ang="0">
                  <a:pos x="connsiteX6293" y="connsiteY6293"/>
                </a:cxn>
                <a:cxn ang="0">
                  <a:pos x="connsiteX6294" y="connsiteY6294"/>
                </a:cxn>
                <a:cxn ang="0">
                  <a:pos x="connsiteX6295" y="connsiteY6295"/>
                </a:cxn>
                <a:cxn ang="0">
                  <a:pos x="connsiteX6296" y="connsiteY6296"/>
                </a:cxn>
                <a:cxn ang="0">
                  <a:pos x="connsiteX6297" y="connsiteY6297"/>
                </a:cxn>
                <a:cxn ang="0">
                  <a:pos x="connsiteX6298" y="connsiteY6298"/>
                </a:cxn>
                <a:cxn ang="0">
                  <a:pos x="connsiteX6299" y="connsiteY6299"/>
                </a:cxn>
                <a:cxn ang="0">
                  <a:pos x="connsiteX6300" y="connsiteY6300"/>
                </a:cxn>
                <a:cxn ang="0">
                  <a:pos x="connsiteX6301" y="connsiteY6301"/>
                </a:cxn>
                <a:cxn ang="0">
                  <a:pos x="connsiteX6302" y="connsiteY6302"/>
                </a:cxn>
                <a:cxn ang="0">
                  <a:pos x="connsiteX6303" y="connsiteY6303"/>
                </a:cxn>
                <a:cxn ang="0">
                  <a:pos x="connsiteX6304" y="connsiteY6304"/>
                </a:cxn>
                <a:cxn ang="0">
                  <a:pos x="connsiteX6305" y="connsiteY6305"/>
                </a:cxn>
                <a:cxn ang="0">
                  <a:pos x="connsiteX6306" y="connsiteY6306"/>
                </a:cxn>
                <a:cxn ang="0">
                  <a:pos x="connsiteX6307" y="connsiteY6307"/>
                </a:cxn>
                <a:cxn ang="0">
                  <a:pos x="connsiteX6308" y="connsiteY6308"/>
                </a:cxn>
                <a:cxn ang="0">
                  <a:pos x="connsiteX6309" y="connsiteY6309"/>
                </a:cxn>
                <a:cxn ang="0">
                  <a:pos x="connsiteX6310" y="connsiteY6310"/>
                </a:cxn>
                <a:cxn ang="0">
                  <a:pos x="connsiteX6311" y="connsiteY6311"/>
                </a:cxn>
                <a:cxn ang="0">
                  <a:pos x="connsiteX6312" y="connsiteY6312"/>
                </a:cxn>
                <a:cxn ang="0">
                  <a:pos x="connsiteX6313" y="connsiteY6313"/>
                </a:cxn>
                <a:cxn ang="0">
                  <a:pos x="connsiteX6314" y="connsiteY6314"/>
                </a:cxn>
                <a:cxn ang="0">
                  <a:pos x="connsiteX6315" y="connsiteY6315"/>
                </a:cxn>
                <a:cxn ang="0">
                  <a:pos x="connsiteX6316" y="connsiteY6316"/>
                </a:cxn>
                <a:cxn ang="0">
                  <a:pos x="connsiteX6317" y="connsiteY6317"/>
                </a:cxn>
                <a:cxn ang="0">
                  <a:pos x="connsiteX6318" y="connsiteY6318"/>
                </a:cxn>
                <a:cxn ang="0">
                  <a:pos x="connsiteX6319" y="connsiteY6319"/>
                </a:cxn>
                <a:cxn ang="0">
                  <a:pos x="connsiteX6320" y="connsiteY6320"/>
                </a:cxn>
                <a:cxn ang="0">
                  <a:pos x="connsiteX6321" y="connsiteY6321"/>
                </a:cxn>
                <a:cxn ang="0">
                  <a:pos x="connsiteX6322" y="connsiteY6322"/>
                </a:cxn>
                <a:cxn ang="0">
                  <a:pos x="connsiteX6323" y="connsiteY6323"/>
                </a:cxn>
                <a:cxn ang="0">
                  <a:pos x="connsiteX6324" y="connsiteY6324"/>
                </a:cxn>
                <a:cxn ang="0">
                  <a:pos x="connsiteX6325" y="connsiteY6325"/>
                </a:cxn>
                <a:cxn ang="0">
                  <a:pos x="connsiteX6326" y="connsiteY6326"/>
                </a:cxn>
                <a:cxn ang="0">
                  <a:pos x="connsiteX6327" y="connsiteY6327"/>
                </a:cxn>
                <a:cxn ang="0">
                  <a:pos x="connsiteX6328" y="connsiteY6328"/>
                </a:cxn>
                <a:cxn ang="0">
                  <a:pos x="connsiteX6329" y="connsiteY6329"/>
                </a:cxn>
                <a:cxn ang="0">
                  <a:pos x="connsiteX6330" y="connsiteY6330"/>
                </a:cxn>
                <a:cxn ang="0">
                  <a:pos x="connsiteX6331" y="connsiteY6331"/>
                </a:cxn>
                <a:cxn ang="0">
                  <a:pos x="connsiteX6332" y="connsiteY6332"/>
                </a:cxn>
                <a:cxn ang="0">
                  <a:pos x="connsiteX6333" y="connsiteY6333"/>
                </a:cxn>
                <a:cxn ang="0">
                  <a:pos x="connsiteX6334" y="connsiteY6334"/>
                </a:cxn>
                <a:cxn ang="0">
                  <a:pos x="connsiteX6335" y="connsiteY6335"/>
                </a:cxn>
                <a:cxn ang="0">
                  <a:pos x="connsiteX6336" y="connsiteY6336"/>
                </a:cxn>
                <a:cxn ang="0">
                  <a:pos x="connsiteX6337" y="connsiteY6337"/>
                </a:cxn>
                <a:cxn ang="0">
                  <a:pos x="connsiteX6338" y="connsiteY6338"/>
                </a:cxn>
                <a:cxn ang="0">
                  <a:pos x="connsiteX6339" y="connsiteY6339"/>
                </a:cxn>
                <a:cxn ang="0">
                  <a:pos x="connsiteX6340" y="connsiteY6340"/>
                </a:cxn>
                <a:cxn ang="0">
                  <a:pos x="connsiteX6341" y="connsiteY6341"/>
                </a:cxn>
                <a:cxn ang="0">
                  <a:pos x="connsiteX6342" y="connsiteY6342"/>
                </a:cxn>
                <a:cxn ang="0">
                  <a:pos x="connsiteX6343" y="connsiteY6343"/>
                </a:cxn>
                <a:cxn ang="0">
                  <a:pos x="connsiteX6344" y="connsiteY6344"/>
                </a:cxn>
                <a:cxn ang="0">
                  <a:pos x="connsiteX6345" y="connsiteY6345"/>
                </a:cxn>
                <a:cxn ang="0">
                  <a:pos x="connsiteX6346" y="connsiteY6346"/>
                </a:cxn>
                <a:cxn ang="0">
                  <a:pos x="connsiteX6347" y="connsiteY6347"/>
                </a:cxn>
                <a:cxn ang="0">
                  <a:pos x="connsiteX6348" y="connsiteY6348"/>
                </a:cxn>
                <a:cxn ang="0">
                  <a:pos x="connsiteX6349" y="connsiteY6349"/>
                </a:cxn>
                <a:cxn ang="0">
                  <a:pos x="connsiteX6350" y="connsiteY6350"/>
                </a:cxn>
                <a:cxn ang="0">
                  <a:pos x="connsiteX6351" y="connsiteY6351"/>
                </a:cxn>
                <a:cxn ang="0">
                  <a:pos x="connsiteX6352" y="connsiteY6352"/>
                </a:cxn>
                <a:cxn ang="0">
                  <a:pos x="connsiteX6353" y="connsiteY6353"/>
                </a:cxn>
                <a:cxn ang="0">
                  <a:pos x="connsiteX6354" y="connsiteY6354"/>
                </a:cxn>
                <a:cxn ang="0">
                  <a:pos x="connsiteX6355" y="connsiteY6355"/>
                </a:cxn>
                <a:cxn ang="0">
                  <a:pos x="connsiteX6356" y="connsiteY6356"/>
                </a:cxn>
                <a:cxn ang="0">
                  <a:pos x="connsiteX6357" y="connsiteY6357"/>
                </a:cxn>
                <a:cxn ang="0">
                  <a:pos x="connsiteX6358" y="connsiteY6358"/>
                </a:cxn>
                <a:cxn ang="0">
                  <a:pos x="connsiteX6359" y="connsiteY6359"/>
                </a:cxn>
                <a:cxn ang="0">
                  <a:pos x="connsiteX6360" y="connsiteY6360"/>
                </a:cxn>
                <a:cxn ang="0">
                  <a:pos x="connsiteX6361" y="connsiteY6361"/>
                </a:cxn>
                <a:cxn ang="0">
                  <a:pos x="connsiteX6362" y="connsiteY6362"/>
                </a:cxn>
                <a:cxn ang="0">
                  <a:pos x="connsiteX6363" y="connsiteY6363"/>
                </a:cxn>
                <a:cxn ang="0">
                  <a:pos x="connsiteX6364" y="connsiteY6364"/>
                </a:cxn>
                <a:cxn ang="0">
                  <a:pos x="connsiteX6365" y="connsiteY6365"/>
                </a:cxn>
                <a:cxn ang="0">
                  <a:pos x="connsiteX6366" y="connsiteY6366"/>
                </a:cxn>
                <a:cxn ang="0">
                  <a:pos x="connsiteX6367" y="connsiteY6367"/>
                </a:cxn>
                <a:cxn ang="0">
                  <a:pos x="connsiteX6368" y="connsiteY6368"/>
                </a:cxn>
                <a:cxn ang="0">
                  <a:pos x="connsiteX6369" y="connsiteY6369"/>
                </a:cxn>
                <a:cxn ang="0">
                  <a:pos x="connsiteX6370" y="connsiteY6370"/>
                </a:cxn>
                <a:cxn ang="0">
                  <a:pos x="connsiteX6371" y="connsiteY6371"/>
                </a:cxn>
                <a:cxn ang="0">
                  <a:pos x="connsiteX6372" y="connsiteY6372"/>
                </a:cxn>
                <a:cxn ang="0">
                  <a:pos x="connsiteX6373" y="connsiteY6373"/>
                </a:cxn>
                <a:cxn ang="0">
                  <a:pos x="connsiteX6374" y="connsiteY6374"/>
                </a:cxn>
                <a:cxn ang="0">
                  <a:pos x="connsiteX6375" y="connsiteY6375"/>
                </a:cxn>
                <a:cxn ang="0">
                  <a:pos x="connsiteX6376" y="connsiteY6376"/>
                </a:cxn>
                <a:cxn ang="0">
                  <a:pos x="connsiteX6377" y="connsiteY6377"/>
                </a:cxn>
                <a:cxn ang="0">
                  <a:pos x="connsiteX6378" y="connsiteY6378"/>
                </a:cxn>
                <a:cxn ang="0">
                  <a:pos x="connsiteX6379" y="connsiteY6379"/>
                </a:cxn>
                <a:cxn ang="0">
                  <a:pos x="connsiteX6380" y="connsiteY6380"/>
                </a:cxn>
                <a:cxn ang="0">
                  <a:pos x="connsiteX6381" y="connsiteY6381"/>
                </a:cxn>
                <a:cxn ang="0">
                  <a:pos x="connsiteX6382" y="connsiteY6382"/>
                </a:cxn>
                <a:cxn ang="0">
                  <a:pos x="connsiteX6383" y="connsiteY6383"/>
                </a:cxn>
                <a:cxn ang="0">
                  <a:pos x="connsiteX6384" y="connsiteY6384"/>
                </a:cxn>
                <a:cxn ang="0">
                  <a:pos x="connsiteX6385" y="connsiteY6385"/>
                </a:cxn>
                <a:cxn ang="0">
                  <a:pos x="connsiteX6386" y="connsiteY6386"/>
                </a:cxn>
                <a:cxn ang="0">
                  <a:pos x="connsiteX6387" y="connsiteY6387"/>
                </a:cxn>
                <a:cxn ang="0">
                  <a:pos x="connsiteX6388" y="connsiteY6388"/>
                </a:cxn>
                <a:cxn ang="0">
                  <a:pos x="connsiteX6389" y="connsiteY6389"/>
                </a:cxn>
                <a:cxn ang="0">
                  <a:pos x="connsiteX6390" y="connsiteY6390"/>
                </a:cxn>
                <a:cxn ang="0">
                  <a:pos x="connsiteX6391" y="connsiteY6391"/>
                </a:cxn>
                <a:cxn ang="0">
                  <a:pos x="connsiteX6392" y="connsiteY6392"/>
                </a:cxn>
                <a:cxn ang="0">
                  <a:pos x="connsiteX6393" y="connsiteY6393"/>
                </a:cxn>
                <a:cxn ang="0">
                  <a:pos x="connsiteX6394" y="connsiteY6394"/>
                </a:cxn>
                <a:cxn ang="0">
                  <a:pos x="connsiteX6395" y="connsiteY6395"/>
                </a:cxn>
                <a:cxn ang="0">
                  <a:pos x="connsiteX6396" y="connsiteY6396"/>
                </a:cxn>
                <a:cxn ang="0">
                  <a:pos x="connsiteX6397" y="connsiteY6397"/>
                </a:cxn>
                <a:cxn ang="0">
                  <a:pos x="connsiteX6398" y="connsiteY6398"/>
                </a:cxn>
                <a:cxn ang="0">
                  <a:pos x="connsiteX6399" y="connsiteY6399"/>
                </a:cxn>
                <a:cxn ang="0">
                  <a:pos x="connsiteX6400" y="connsiteY6400"/>
                </a:cxn>
                <a:cxn ang="0">
                  <a:pos x="connsiteX6401" y="connsiteY6401"/>
                </a:cxn>
                <a:cxn ang="0">
                  <a:pos x="connsiteX6402" y="connsiteY6402"/>
                </a:cxn>
                <a:cxn ang="0">
                  <a:pos x="connsiteX6403" y="connsiteY6403"/>
                </a:cxn>
                <a:cxn ang="0">
                  <a:pos x="connsiteX6404" y="connsiteY6404"/>
                </a:cxn>
                <a:cxn ang="0">
                  <a:pos x="connsiteX6405" y="connsiteY6405"/>
                </a:cxn>
                <a:cxn ang="0">
                  <a:pos x="connsiteX6406" y="connsiteY6406"/>
                </a:cxn>
                <a:cxn ang="0">
                  <a:pos x="connsiteX6407" y="connsiteY6407"/>
                </a:cxn>
                <a:cxn ang="0">
                  <a:pos x="connsiteX6408" y="connsiteY6408"/>
                </a:cxn>
                <a:cxn ang="0">
                  <a:pos x="connsiteX6409" y="connsiteY6409"/>
                </a:cxn>
                <a:cxn ang="0">
                  <a:pos x="connsiteX6410" y="connsiteY6410"/>
                </a:cxn>
                <a:cxn ang="0">
                  <a:pos x="connsiteX6411" y="connsiteY6411"/>
                </a:cxn>
                <a:cxn ang="0">
                  <a:pos x="connsiteX6412" y="connsiteY6412"/>
                </a:cxn>
                <a:cxn ang="0">
                  <a:pos x="connsiteX6413" y="connsiteY6413"/>
                </a:cxn>
                <a:cxn ang="0">
                  <a:pos x="connsiteX6414" y="connsiteY6414"/>
                </a:cxn>
                <a:cxn ang="0">
                  <a:pos x="connsiteX6415" y="connsiteY6415"/>
                </a:cxn>
                <a:cxn ang="0">
                  <a:pos x="connsiteX6416" y="connsiteY6416"/>
                </a:cxn>
                <a:cxn ang="0">
                  <a:pos x="connsiteX6417" y="connsiteY6417"/>
                </a:cxn>
                <a:cxn ang="0">
                  <a:pos x="connsiteX6418" y="connsiteY6418"/>
                </a:cxn>
                <a:cxn ang="0">
                  <a:pos x="connsiteX6419" y="connsiteY6419"/>
                </a:cxn>
                <a:cxn ang="0">
                  <a:pos x="connsiteX6420" y="connsiteY6420"/>
                </a:cxn>
                <a:cxn ang="0">
                  <a:pos x="connsiteX6421" y="connsiteY6421"/>
                </a:cxn>
                <a:cxn ang="0">
                  <a:pos x="connsiteX6422" y="connsiteY6422"/>
                </a:cxn>
                <a:cxn ang="0">
                  <a:pos x="connsiteX6423" y="connsiteY6423"/>
                </a:cxn>
                <a:cxn ang="0">
                  <a:pos x="connsiteX6424" y="connsiteY6424"/>
                </a:cxn>
                <a:cxn ang="0">
                  <a:pos x="connsiteX6425" y="connsiteY6425"/>
                </a:cxn>
                <a:cxn ang="0">
                  <a:pos x="connsiteX6426" y="connsiteY6426"/>
                </a:cxn>
                <a:cxn ang="0">
                  <a:pos x="connsiteX6427" y="connsiteY6427"/>
                </a:cxn>
                <a:cxn ang="0">
                  <a:pos x="connsiteX6428" y="connsiteY6428"/>
                </a:cxn>
                <a:cxn ang="0">
                  <a:pos x="connsiteX6429" y="connsiteY6429"/>
                </a:cxn>
                <a:cxn ang="0">
                  <a:pos x="connsiteX6430" y="connsiteY6430"/>
                </a:cxn>
                <a:cxn ang="0">
                  <a:pos x="connsiteX6431" y="connsiteY6431"/>
                </a:cxn>
                <a:cxn ang="0">
                  <a:pos x="connsiteX6432" y="connsiteY6432"/>
                </a:cxn>
                <a:cxn ang="0">
                  <a:pos x="connsiteX6433" y="connsiteY6433"/>
                </a:cxn>
                <a:cxn ang="0">
                  <a:pos x="connsiteX6434" y="connsiteY6434"/>
                </a:cxn>
                <a:cxn ang="0">
                  <a:pos x="connsiteX6435" y="connsiteY6435"/>
                </a:cxn>
                <a:cxn ang="0">
                  <a:pos x="connsiteX6436" y="connsiteY6436"/>
                </a:cxn>
                <a:cxn ang="0">
                  <a:pos x="connsiteX6437" y="connsiteY6437"/>
                </a:cxn>
                <a:cxn ang="0">
                  <a:pos x="connsiteX6438" y="connsiteY6438"/>
                </a:cxn>
                <a:cxn ang="0">
                  <a:pos x="connsiteX6439" y="connsiteY6439"/>
                </a:cxn>
                <a:cxn ang="0">
                  <a:pos x="connsiteX6440" y="connsiteY6440"/>
                </a:cxn>
                <a:cxn ang="0">
                  <a:pos x="connsiteX6441" y="connsiteY6441"/>
                </a:cxn>
                <a:cxn ang="0">
                  <a:pos x="connsiteX6442" y="connsiteY6442"/>
                </a:cxn>
                <a:cxn ang="0">
                  <a:pos x="connsiteX6443" y="connsiteY6443"/>
                </a:cxn>
                <a:cxn ang="0">
                  <a:pos x="connsiteX6444" y="connsiteY6444"/>
                </a:cxn>
                <a:cxn ang="0">
                  <a:pos x="connsiteX6445" y="connsiteY6445"/>
                </a:cxn>
                <a:cxn ang="0">
                  <a:pos x="connsiteX6446" y="connsiteY6446"/>
                </a:cxn>
                <a:cxn ang="0">
                  <a:pos x="connsiteX6447" y="connsiteY6447"/>
                </a:cxn>
                <a:cxn ang="0">
                  <a:pos x="connsiteX6448" y="connsiteY6448"/>
                </a:cxn>
                <a:cxn ang="0">
                  <a:pos x="connsiteX6449" y="connsiteY6449"/>
                </a:cxn>
                <a:cxn ang="0">
                  <a:pos x="connsiteX6450" y="connsiteY6450"/>
                </a:cxn>
                <a:cxn ang="0">
                  <a:pos x="connsiteX6451" y="connsiteY6451"/>
                </a:cxn>
                <a:cxn ang="0">
                  <a:pos x="connsiteX6452" y="connsiteY6452"/>
                </a:cxn>
                <a:cxn ang="0">
                  <a:pos x="connsiteX6453" y="connsiteY6453"/>
                </a:cxn>
                <a:cxn ang="0">
                  <a:pos x="connsiteX6454" y="connsiteY6454"/>
                </a:cxn>
                <a:cxn ang="0">
                  <a:pos x="connsiteX6455" y="connsiteY6455"/>
                </a:cxn>
                <a:cxn ang="0">
                  <a:pos x="connsiteX6456" y="connsiteY6456"/>
                </a:cxn>
                <a:cxn ang="0">
                  <a:pos x="connsiteX6457" y="connsiteY6457"/>
                </a:cxn>
                <a:cxn ang="0">
                  <a:pos x="connsiteX6458" y="connsiteY6458"/>
                </a:cxn>
                <a:cxn ang="0">
                  <a:pos x="connsiteX6459" y="connsiteY6459"/>
                </a:cxn>
                <a:cxn ang="0">
                  <a:pos x="connsiteX6460" y="connsiteY6460"/>
                </a:cxn>
                <a:cxn ang="0">
                  <a:pos x="connsiteX6461" y="connsiteY6461"/>
                </a:cxn>
                <a:cxn ang="0">
                  <a:pos x="connsiteX6462" y="connsiteY6462"/>
                </a:cxn>
                <a:cxn ang="0">
                  <a:pos x="connsiteX6463" y="connsiteY6463"/>
                </a:cxn>
                <a:cxn ang="0">
                  <a:pos x="connsiteX6464" y="connsiteY6464"/>
                </a:cxn>
                <a:cxn ang="0">
                  <a:pos x="connsiteX6465" y="connsiteY6465"/>
                </a:cxn>
                <a:cxn ang="0">
                  <a:pos x="connsiteX6466" y="connsiteY6466"/>
                </a:cxn>
                <a:cxn ang="0">
                  <a:pos x="connsiteX6467" y="connsiteY6467"/>
                </a:cxn>
                <a:cxn ang="0">
                  <a:pos x="connsiteX6468" y="connsiteY6468"/>
                </a:cxn>
                <a:cxn ang="0">
                  <a:pos x="connsiteX6469" y="connsiteY6469"/>
                </a:cxn>
                <a:cxn ang="0">
                  <a:pos x="connsiteX6470" y="connsiteY6470"/>
                </a:cxn>
                <a:cxn ang="0">
                  <a:pos x="connsiteX6471" y="connsiteY6471"/>
                </a:cxn>
                <a:cxn ang="0">
                  <a:pos x="connsiteX6472" y="connsiteY6472"/>
                </a:cxn>
                <a:cxn ang="0">
                  <a:pos x="connsiteX6473" y="connsiteY6473"/>
                </a:cxn>
                <a:cxn ang="0">
                  <a:pos x="connsiteX6474" y="connsiteY6474"/>
                </a:cxn>
                <a:cxn ang="0">
                  <a:pos x="connsiteX6475" y="connsiteY6475"/>
                </a:cxn>
                <a:cxn ang="0">
                  <a:pos x="connsiteX6476" y="connsiteY6476"/>
                </a:cxn>
                <a:cxn ang="0">
                  <a:pos x="connsiteX6477" y="connsiteY6477"/>
                </a:cxn>
                <a:cxn ang="0">
                  <a:pos x="connsiteX6478" y="connsiteY6478"/>
                </a:cxn>
                <a:cxn ang="0">
                  <a:pos x="connsiteX6479" y="connsiteY6479"/>
                </a:cxn>
                <a:cxn ang="0">
                  <a:pos x="connsiteX6480" y="connsiteY6480"/>
                </a:cxn>
                <a:cxn ang="0">
                  <a:pos x="connsiteX6481" y="connsiteY6481"/>
                </a:cxn>
                <a:cxn ang="0">
                  <a:pos x="connsiteX6482" y="connsiteY6482"/>
                </a:cxn>
                <a:cxn ang="0">
                  <a:pos x="connsiteX6483" y="connsiteY6483"/>
                </a:cxn>
                <a:cxn ang="0">
                  <a:pos x="connsiteX6484" y="connsiteY6484"/>
                </a:cxn>
                <a:cxn ang="0">
                  <a:pos x="connsiteX6485" y="connsiteY6485"/>
                </a:cxn>
                <a:cxn ang="0">
                  <a:pos x="connsiteX6486" y="connsiteY6486"/>
                </a:cxn>
                <a:cxn ang="0">
                  <a:pos x="connsiteX6487" y="connsiteY6487"/>
                </a:cxn>
                <a:cxn ang="0">
                  <a:pos x="connsiteX6488" y="connsiteY6488"/>
                </a:cxn>
                <a:cxn ang="0">
                  <a:pos x="connsiteX6489" y="connsiteY6489"/>
                </a:cxn>
                <a:cxn ang="0">
                  <a:pos x="connsiteX6490" y="connsiteY6490"/>
                </a:cxn>
                <a:cxn ang="0">
                  <a:pos x="connsiteX6491" y="connsiteY6491"/>
                </a:cxn>
                <a:cxn ang="0">
                  <a:pos x="connsiteX6492" y="connsiteY6492"/>
                </a:cxn>
                <a:cxn ang="0">
                  <a:pos x="connsiteX6493" y="connsiteY6493"/>
                </a:cxn>
                <a:cxn ang="0">
                  <a:pos x="connsiteX6494" y="connsiteY6494"/>
                </a:cxn>
                <a:cxn ang="0">
                  <a:pos x="connsiteX6495" y="connsiteY6495"/>
                </a:cxn>
                <a:cxn ang="0">
                  <a:pos x="connsiteX6496" y="connsiteY6496"/>
                </a:cxn>
                <a:cxn ang="0">
                  <a:pos x="connsiteX6497" y="connsiteY6497"/>
                </a:cxn>
                <a:cxn ang="0">
                  <a:pos x="connsiteX6498" y="connsiteY6498"/>
                </a:cxn>
                <a:cxn ang="0">
                  <a:pos x="connsiteX6499" y="connsiteY6499"/>
                </a:cxn>
                <a:cxn ang="0">
                  <a:pos x="connsiteX6500" y="connsiteY6500"/>
                </a:cxn>
                <a:cxn ang="0">
                  <a:pos x="connsiteX6501" y="connsiteY6501"/>
                </a:cxn>
                <a:cxn ang="0">
                  <a:pos x="connsiteX6502" y="connsiteY6502"/>
                </a:cxn>
                <a:cxn ang="0">
                  <a:pos x="connsiteX6503" y="connsiteY6503"/>
                </a:cxn>
                <a:cxn ang="0">
                  <a:pos x="connsiteX6504" y="connsiteY6504"/>
                </a:cxn>
                <a:cxn ang="0">
                  <a:pos x="connsiteX6505" y="connsiteY6505"/>
                </a:cxn>
                <a:cxn ang="0">
                  <a:pos x="connsiteX6506" y="connsiteY6506"/>
                </a:cxn>
                <a:cxn ang="0">
                  <a:pos x="connsiteX6507" y="connsiteY6507"/>
                </a:cxn>
                <a:cxn ang="0">
                  <a:pos x="connsiteX6508" y="connsiteY6508"/>
                </a:cxn>
                <a:cxn ang="0">
                  <a:pos x="connsiteX6509" y="connsiteY6509"/>
                </a:cxn>
                <a:cxn ang="0">
                  <a:pos x="connsiteX6510" y="connsiteY6510"/>
                </a:cxn>
                <a:cxn ang="0">
                  <a:pos x="connsiteX6511" y="connsiteY6511"/>
                </a:cxn>
                <a:cxn ang="0">
                  <a:pos x="connsiteX6512" y="connsiteY6512"/>
                </a:cxn>
                <a:cxn ang="0">
                  <a:pos x="connsiteX6513" y="connsiteY6513"/>
                </a:cxn>
                <a:cxn ang="0">
                  <a:pos x="connsiteX6514" y="connsiteY6514"/>
                </a:cxn>
                <a:cxn ang="0">
                  <a:pos x="connsiteX6515" y="connsiteY6515"/>
                </a:cxn>
                <a:cxn ang="0">
                  <a:pos x="connsiteX6516" y="connsiteY6516"/>
                </a:cxn>
                <a:cxn ang="0">
                  <a:pos x="connsiteX6517" y="connsiteY6517"/>
                </a:cxn>
                <a:cxn ang="0">
                  <a:pos x="connsiteX6518" y="connsiteY6518"/>
                </a:cxn>
                <a:cxn ang="0">
                  <a:pos x="connsiteX6519" y="connsiteY6519"/>
                </a:cxn>
                <a:cxn ang="0">
                  <a:pos x="connsiteX6520" y="connsiteY6520"/>
                </a:cxn>
                <a:cxn ang="0">
                  <a:pos x="connsiteX6521" y="connsiteY6521"/>
                </a:cxn>
                <a:cxn ang="0">
                  <a:pos x="connsiteX6522" y="connsiteY6522"/>
                </a:cxn>
                <a:cxn ang="0">
                  <a:pos x="connsiteX6523" y="connsiteY6523"/>
                </a:cxn>
                <a:cxn ang="0">
                  <a:pos x="connsiteX6524" y="connsiteY6524"/>
                </a:cxn>
                <a:cxn ang="0">
                  <a:pos x="connsiteX6525" y="connsiteY6525"/>
                </a:cxn>
                <a:cxn ang="0">
                  <a:pos x="connsiteX6526" y="connsiteY6526"/>
                </a:cxn>
                <a:cxn ang="0">
                  <a:pos x="connsiteX6527" y="connsiteY6527"/>
                </a:cxn>
                <a:cxn ang="0">
                  <a:pos x="connsiteX6528" y="connsiteY6528"/>
                </a:cxn>
                <a:cxn ang="0">
                  <a:pos x="connsiteX6529" y="connsiteY6529"/>
                </a:cxn>
                <a:cxn ang="0">
                  <a:pos x="connsiteX6530" y="connsiteY6530"/>
                </a:cxn>
                <a:cxn ang="0">
                  <a:pos x="connsiteX6531" y="connsiteY6531"/>
                </a:cxn>
                <a:cxn ang="0">
                  <a:pos x="connsiteX6532" y="connsiteY6532"/>
                </a:cxn>
                <a:cxn ang="0">
                  <a:pos x="connsiteX6533" y="connsiteY6533"/>
                </a:cxn>
                <a:cxn ang="0">
                  <a:pos x="connsiteX6534" y="connsiteY6534"/>
                </a:cxn>
                <a:cxn ang="0">
                  <a:pos x="connsiteX6535" y="connsiteY6535"/>
                </a:cxn>
                <a:cxn ang="0">
                  <a:pos x="connsiteX6536" y="connsiteY6536"/>
                </a:cxn>
                <a:cxn ang="0">
                  <a:pos x="connsiteX6537" y="connsiteY6537"/>
                </a:cxn>
                <a:cxn ang="0">
                  <a:pos x="connsiteX6538" y="connsiteY6538"/>
                </a:cxn>
                <a:cxn ang="0">
                  <a:pos x="connsiteX6539" y="connsiteY6539"/>
                </a:cxn>
                <a:cxn ang="0">
                  <a:pos x="connsiteX6540" y="connsiteY6540"/>
                </a:cxn>
                <a:cxn ang="0">
                  <a:pos x="connsiteX6541" y="connsiteY6541"/>
                </a:cxn>
                <a:cxn ang="0">
                  <a:pos x="connsiteX6542" y="connsiteY6542"/>
                </a:cxn>
                <a:cxn ang="0">
                  <a:pos x="connsiteX6543" y="connsiteY6543"/>
                </a:cxn>
                <a:cxn ang="0">
                  <a:pos x="connsiteX6544" y="connsiteY6544"/>
                </a:cxn>
                <a:cxn ang="0">
                  <a:pos x="connsiteX6545" y="connsiteY6545"/>
                </a:cxn>
                <a:cxn ang="0">
                  <a:pos x="connsiteX6546" y="connsiteY6546"/>
                </a:cxn>
                <a:cxn ang="0">
                  <a:pos x="connsiteX6547" y="connsiteY6547"/>
                </a:cxn>
                <a:cxn ang="0">
                  <a:pos x="connsiteX6548" y="connsiteY6548"/>
                </a:cxn>
                <a:cxn ang="0">
                  <a:pos x="connsiteX6549" y="connsiteY6549"/>
                </a:cxn>
                <a:cxn ang="0">
                  <a:pos x="connsiteX6550" y="connsiteY6550"/>
                </a:cxn>
                <a:cxn ang="0">
                  <a:pos x="connsiteX6551" y="connsiteY6551"/>
                </a:cxn>
                <a:cxn ang="0">
                  <a:pos x="connsiteX6552" y="connsiteY6552"/>
                </a:cxn>
                <a:cxn ang="0">
                  <a:pos x="connsiteX6553" y="connsiteY6553"/>
                </a:cxn>
                <a:cxn ang="0">
                  <a:pos x="connsiteX6554" y="connsiteY6554"/>
                </a:cxn>
                <a:cxn ang="0">
                  <a:pos x="connsiteX6555" y="connsiteY6555"/>
                </a:cxn>
                <a:cxn ang="0">
                  <a:pos x="connsiteX6556" y="connsiteY6556"/>
                </a:cxn>
                <a:cxn ang="0">
                  <a:pos x="connsiteX6557" y="connsiteY6557"/>
                </a:cxn>
                <a:cxn ang="0">
                  <a:pos x="connsiteX6558" y="connsiteY6558"/>
                </a:cxn>
                <a:cxn ang="0">
                  <a:pos x="connsiteX6559" y="connsiteY6559"/>
                </a:cxn>
                <a:cxn ang="0">
                  <a:pos x="connsiteX6560" y="connsiteY6560"/>
                </a:cxn>
                <a:cxn ang="0">
                  <a:pos x="connsiteX6561" y="connsiteY6561"/>
                </a:cxn>
                <a:cxn ang="0">
                  <a:pos x="connsiteX6562" y="connsiteY6562"/>
                </a:cxn>
                <a:cxn ang="0">
                  <a:pos x="connsiteX6563" y="connsiteY6563"/>
                </a:cxn>
                <a:cxn ang="0">
                  <a:pos x="connsiteX6564" y="connsiteY6564"/>
                </a:cxn>
                <a:cxn ang="0">
                  <a:pos x="connsiteX6565" y="connsiteY6565"/>
                </a:cxn>
                <a:cxn ang="0">
                  <a:pos x="connsiteX6566" y="connsiteY6566"/>
                </a:cxn>
                <a:cxn ang="0">
                  <a:pos x="connsiteX6567" y="connsiteY6567"/>
                </a:cxn>
                <a:cxn ang="0">
                  <a:pos x="connsiteX6568" y="connsiteY6568"/>
                </a:cxn>
                <a:cxn ang="0">
                  <a:pos x="connsiteX6569" y="connsiteY6569"/>
                </a:cxn>
                <a:cxn ang="0">
                  <a:pos x="connsiteX6570" y="connsiteY6570"/>
                </a:cxn>
                <a:cxn ang="0">
                  <a:pos x="connsiteX6571" y="connsiteY6571"/>
                </a:cxn>
                <a:cxn ang="0">
                  <a:pos x="connsiteX6572" y="connsiteY6572"/>
                </a:cxn>
                <a:cxn ang="0">
                  <a:pos x="connsiteX6573" y="connsiteY6573"/>
                </a:cxn>
                <a:cxn ang="0">
                  <a:pos x="connsiteX6574" y="connsiteY6574"/>
                </a:cxn>
                <a:cxn ang="0">
                  <a:pos x="connsiteX6575" y="connsiteY6575"/>
                </a:cxn>
                <a:cxn ang="0">
                  <a:pos x="connsiteX6576" y="connsiteY6576"/>
                </a:cxn>
                <a:cxn ang="0">
                  <a:pos x="connsiteX6577" y="connsiteY6577"/>
                </a:cxn>
                <a:cxn ang="0">
                  <a:pos x="connsiteX6578" y="connsiteY6578"/>
                </a:cxn>
                <a:cxn ang="0">
                  <a:pos x="connsiteX6579" y="connsiteY6579"/>
                </a:cxn>
                <a:cxn ang="0">
                  <a:pos x="connsiteX6580" y="connsiteY6580"/>
                </a:cxn>
                <a:cxn ang="0">
                  <a:pos x="connsiteX6581" y="connsiteY6581"/>
                </a:cxn>
                <a:cxn ang="0">
                  <a:pos x="connsiteX6582" y="connsiteY6582"/>
                </a:cxn>
                <a:cxn ang="0">
                  <a:pos x="connsiteX6583" y="connsiteY6583"/>
                </a:cxn>
                <a:cxn ang="0">
                  <a:pos x="connsiteX6584" y="connsiteY6584"/>
                </a:cxn>
                <a:cxn ang="0">
                  <a:pos x="connsiteX6585" y="connsiteY6585"/>
                </a:cxn>
                <a:cxn ang="0">
                  <a:pos x="connsiteX6586" y="connsiteY6586"/>
                </a:cxn>
                <a:cxn ang="0">
                  <a:pos x="connsiteX6587" y="connsiteY6587"/>
                </a:cxn>
                <a:cxn ang="0">
                  <a:pos x="connsiteX6588" y="connsiteY6588"/>
                </a:cxn>
                <a:cxn ang="0">
                  <a:pos x="connsiteX6589" y="connsiteY6589"/>
                </a:cxn>
                <a:cxn ang="0">
                  <a:pos x="connsiteX6590" y="connsiteY6590"/>
                </a:cxn>
                <a:cxn ang="0">
                  <a:pos x="connsiteX6591" y="connsiteY6591"/>
                </a:cxn>
                <a:cxn ang="0">
                  <a:pos x="connsiteX6592" y="connsiteY6592"/>
                </a:cxn>
                <a:cxn ang="0">
                  <a:pos x="connsiteX6593" y="connsiteY6593"/>
                </a:cxn>
                <a:cxn ang="0">
                  <a:pos x="connsiteX6594" y="connsiteY6594"/>
                </a:cxn>
                <a:cxn ang="0">
                  <a:pos x="connsiteX6595" y="connsiteY6595"/>
                </a:cxn>
                <a:cxn ang="0">
                  <a:pos x="connsiteX6596" y="connsiteY6596"/>
                </a:cxn>
                <a:cxn ang="0">
                  <a:pos x="connsiteX6597" y="connsiteY6597"/>
                </a:cxn>
                <a:cxn ang="0">
                  <a:pos x="connsiteX6598" y="connsiteY6598"/>
                </a:cxn>
                <a:cxn ang="0">
                  <a:pos x="connsiteX6599" y="connsiteY6599"/>
                </a:cxn>
                <a:cxn ang="0">
                  <a:pos x="connsiteX6600" y="connsiteY6600"/>
                </a:cxn>
                <a:cxn ang="0">
                  <a:pos x="connsiteX6601" y="connsiteY6601"/>
                </a:cxn>
                <a:cxn ang="0">
                  <a:pos x="connsiteX6602" y="connsiteY6602"/>
                </a:cxn>
                <a:cxn ang="0">
                  <a:pos x="connsiteX6603" y="connsiteY6603"/>
                </a:cxn>
                <a:cxn ang="0">
                  <a:pos x="connsiteX6604" y="connsiteY6604"/>
                </a:cxn>
                <a:cxn ang="0">
                  <a:pos x="connsiteX6605" y="connsiteY6605"/>
                </a:cxn>
                <a:cxn ang="0">
                  <a:pos x="connsiteX6606" y="connsiteY6606"/>
                </a:cxn>
                <a:cxn ang="0">
                  <a:pos x="connsiteX6607" y="connsiteY6607"/>
                </a:cxn>
                <a:cxn ang="0">
                  <a:pos x="connsiteX6608" y="connsiteY6608"/>
                </a:cxn>
                <a:cxn ang="0">
                  <a:pos x="connsiteX6609" y="connsiteY6609"/>
                </a:cxn>
                <a:cxn ang="0">
                  <a:pos x="connsiteX6610" y="connsiteY6610"/>
                </a:cxn>
                <a:cxn ang="0">
                  <a:pos x="connsiteX6611" y="connsiteY6611"/>
                </a:cxn>
                <a:cxn ang="0">
                  <a:pos x="connsiteX6612" y="connsiteY6612"/>
                </a:cxn>
                <a:cxn ang="0">
                  <a:pos x="connsiteX6613" y="connsiteY6613"/>
                </a:cxn>
                <a:cxn ang="0">
                  <a:pos x="connsiteX6614" y="connsiteY6614"/>
                </a:cxn>
                <a:cxn ang="0">
                  <a:pos x="connsiteX6615" y="connsiteY6615"/>
                </a:cxn>
                <a:cxn ang="0">
                  <a:pos x="connsiteX6616" y="connsiteY6616"/>
                </a:cxn>
                <a:cxn ang="0">
                  <a:pos x="connsiteX6617" y="connsiteY6617"/>
                </a:cxn>
                <a:cxn ang="0">
                  <a:pos x="connsiteX6618" y="connsiteY6618"/>
                </a:cxn>
                <a:cxn ang="0">
                  <a:pos x="connsiteX6619" y="connsiteY6619"/>
                </a:cxn>
                <a:cxn ang="0">
                  <a:pos x="connsiteX6620" y="connsiteY6620"/>
                </a:cxn>
                <a:cxn ang="0">
                  <a:pos x="connsiteX6621" y="connsiteY6621"/>
                </a:cxn>
                <a:cxn ang="0">
                  <a:pos x="connsiteX6622" y="connsiteY6622"/>
                </a:cxn>
                <a:cxn ang="0">
                  <a:pos x="connsiteX6623" y="connsiteY6623"/>
                </a:cxn>
                <a:cxn ang="0">
                  <a:pos x="connsiteX6624" y="connsiteY6624"/>
                </a:cxn>
                <a:cxn ang="0">
                  <a:pos x="connsiteX6625" y="connsiteY6625"/>
                </a:cxn>
                <a:cxn ang="0">
                  <a:pos x="connsiteX6626" y="connsiteY6626"/>
                </a:cxn>
                <a:cxn ang="0">
                  <a:pos x="connsiteX6627" y="connsiteY6627"/>
                </a:cxn>
                <a:cxn ang="0">
                  <a:pos x="connsiteX6628" y="connsiteY6628"/>
                </a:cxn>
                <a:cxn ang="0">
                  <a:pos x="connsiteX6629" y="connsiteY6629"/>
                </a:cxn>
                <a:cxn ang="0">
                  <a:pos x="connsiteX6630" y="connsiteY6630"/>
                </a:cxn>
                <a:cxn ang="0">
                  <a:pos x="connsiteX6631" y="connsiteY6631"/>
                </a:cxn>
                <a:cxn ang="0">
                  <a:pos x="connsiteX6632" y="connsiteY6632"/>
                </a:cxn>
                <a:cxn ang="0">
                  <a:pos x="connsiteX6633" y="connsiteY6633"/>
                </a:cxn>
                <a:cxn ang="0">
                  <a:pos x="connsiteX6634" y="connsiteY6634"/>
                </a:cxn>
                <a:cxn ang="0">
                  <a:pos x="connsiteX6635" y="connsiteY6635"/>
                </a:cxn>
                <a:cxn ang="0">
                  <a:pos x="connsiteX6636" y="connsiteY6636"/>
                </a:cxn>
                <a:cxn ang="0">
                  <a:pos x="connsiteX6637" y="connsiteY6637"/>
                </a:cxn>
                <a:cxn ang="0">
                  <a:pos x="connsiteX6638" y="connsiteY6638"/>
                </a:cxn>
                <a:cxn ang="0">
                  <a:pos x="connsiteX6639" y="connsiteY6639"/>
                </a:cxn>
                <a:cxn ang="0">
                  <a:pos x="connsiteX6640" y="connsiteY6640"/>
                </a:cxn>
                <a:cxn ang="0">
                  <a:pos x="connsiteX6641" y="connsiteY6641"/>
                </a:cxn>
                <a:cxn ang="0">
                  <a:pos x="connsiteX6642" y="connsiteY6642"/>
                </a:cxn>
                <a:cxn ang="0">
                  <a:pos x="connsiteX6643" y="connsiteY6643"/>
                </a:cxn>
                <a:cxn ang="0">
                  <a:pos x="connsiteX6644" y="connsiteY6644"/>
                </a:cxn>
                <a:cxn ang="0">
                  <a:pos x="connsiteX6645" y="connsiteY6645"/>
                </a:cxn>
                <a:cxn ang="0">
                  <a:pos x="connsiteX6646" y="connsiteY6646"/>
                </a:cxn>
                <a:cxn ang="0">
                  <a:pos x="connsiteX6647" y="connsiteY6647"/>
                </a:cxn>
                <a:cxn ang="0">
                  <a:pos x="connsiteX6648" y="connsiteY6648"/>
                </a:cxn>
                <a:cxn ang="0">
                  <a:pos x="connsiteX6649" y="connsiteY6649"/>
                </a:cxn>
                <a:cxn ang="0">
                  <a:pos x="connsiteX6650" y="connsiteY6650"/>
                </a:cxn>
                <a:cxn ang="0">
                  <a:pos x="connsiteX6651" y="connsiteY6651"/>
                </a:cxn>
                <a:cxn ang="0">
                  <a:pos x="connsiteX6652" y="connsiteY6652"/>
                </a:cxn>
                <a:cxn ang="0">
                  <a:pos x="connsiteX6653" y="connsiteY6653"/>
                </a:cxn>
                <a:cxn ang="0">
                  <a:pos x="connsiteX6654" y="connsiteY6654"/>
                </a:cxn>
                <a:cxn ang="0">
                  <a:pos x="connsiteX6655" y="connsiteY6655"/>
                </a:cxn>
                <a:cxn ang="0">
                  <a:pos x="connsiteX6656" y="connsiteY6656"/>
                </a:cxn>
                <a:cxn ang="0">
                  <a:pos x="connsiteX6657" y="connsiteY6657"/>
                </a:cxn>
                <a:cxn ang="0">
                  <a:pos x="connsiteX6658" y="connsiteY6658"/>
                </a:cxn>
                <a:cxn ang="0">
                  <a:pos x="connsiteX6659" y="connsiteY6659"/>
                </a:cxn>
                <a:cxn ang="0">
                  <a:pos x="connsiteX6660" y="connsiteY6660"/>
                </a:cxn>
                <a:cxn ang="0">
                  <a:pos x="connsiteX6661" y="connsiteY6661"/>
                </a:cxn>
                <a:cxn ang="0">
                  <a:pos x="connsiteX6662" y="connsiteY6662"/>
                </a:cxn>
                <a:cxn ang="0">
                  <a:pos x="connsiteX6663" y="connsiteY6663"/>
                </a:cxn>
                <a:cxn ang="0">
                  <a:pos x="connsiteX6664" y="connsiteY6664"/>
                </a:cxn>
                <a:cxn ang="0">
                  <a:pos x="connsiteX6665" y="connsiteY6665"/>
                </a:cxn>
                <a:cxn ang="0">
                  <a:pos x="connsiteX6666" y="connsiteY6666"/>
                </a:cxn>
                <a:cxn ang="0">
                  <a:pos x="connsiteX6667" y="connsiteY6667"/>
                </a:cxn>
                <a:cxn ang="0">
                  <a:pos x="connsiteX6668" y="connsiteY6668"/>
                </a:cxn>
                <a:cxn ang="0">
                  <a:pos x="connsiteX6669" y="connsiteY6669"/>
                </a:cxn>
                <a:cxn ang="0">
                  <a:pos x="connsiteX6670" y="connsiteY6670"/>
                </a:cxn>
                <a:cxn ang="0">
                  <a:pos x="connsiteX6671" y="connsiteY6671"/>
                </a:cxn>
                <a:cxn ang="0">
                  <a:pos x="connsiteX6672" y="connsiteY6672"/>
                </a:cxn>
                <a:cxn ang="0">
                  <a:pos x="connsiteX6673" y="connsiteY6673"/>
                </a:cxn>
                <a:cxn ang="0">
                  <a:pos x="connsiteX6674" y="connsiteY6674"/>
                </a:cxn>
                <a:cxn ang="0">
                  <a:pos x="connsiteX6675" y="connsiteY6675"/>
                </a:cxn>
                <a:cxn ang="0">
                  <a:pos x="connsiteX6676" y="connsiteY6676"/>
                </a:cxn>
                <a:cxn ang="0">
                  <a:pos x="connsiteX6677" y="connsiteY6677"/>
                </a:cxn>
                <a:cxn ang="0">
                  <a:pos x="connsiteX6678" y="connsiteY6678"/>
                </a:cxn>
                <a:cxn ang="0">
                  <a:pos x="connsiteX6679" y="connsiteY6679"/>
                </a:cxn>
                <a:cxn ang="0">
                  <a:pos x="connsiteX6680" y="connsiteY6680"/>
                </a:cxn>
                <a:cxn ang="0">
                  <a:pos x="connsiteX6681" y="connsiteY6681"/>
                </a:cxn>
                <a:cxn ang="0">
                  <a:pos x="connsiteX6682" y="connsiteY6682"/>
                </a:cxn>
                <a:cxn ang="0">
                  <a:pos x="connsiteX6683" y="connsiteY6683"/>
                </a:cxn>
                <a:cxn ang="0">
                  <a:pos x="connsiteX6684" y="connsiteY6684"/>
                </a:cxn>
                <a:cxn ang="0">
                  <a:pos x="connsiteX6685" y="connsiteY6685"/>
                </a:cxn>
                <a:cxn ang="0">
                  <a:pos x="connsiteX6686" y="connsiteY6686"/>
                </a:cxn>
                <a:cxn ang="0">
                  <a:pos x="connsiteX6687" y="connsiteY6687"/>
                </a:cxn>
                <a:cxn ang="0">
                  <a:pos x="connsiteX6688" y="connsiteY6688"/>
                </a:cxn>
                <a:cxn ang="0">
                  <a:pos x="connsiteX6689" y="connsiteY6689"/>
                </a:cxn>
                <a:cxn ang="0">
                  <a:pos x="connsiteX6690" y="connsiteY6690"/>
                </a:cxn>
                <a:cxn ang="0">
                  <a:pos x="connsiteX6691" y="connsiteY6691"/>
                </a:cxn>
                <a:cxn ang="0">
                  <a:pos x="connsiteX6692" y="connsiteY6692"/>
                </a:cxn>
                <a:cxn ang="0">
                  <a:pos x="connsiteX6693" y="connsiteY6693"/>
                </a:cxn>
                <a:cxn ang="0">
                  <a:pos x="connsiteX6694" y="connsiteY6694"/>
                </a:cxn>
                <a:cxn ang="0">
                  <a:pos x="connsiteX6695" y="connsiteY6695"/>
                </a:cxn>
                <a:cxn ang="0">
                  <a:pos x="connsiteX6696" y="connsiteY6696"/>
                </a:cxn>
                <a:cxn ang="0">
                  <a:pos x="connsiteX6697" y="connsiteY6697"/>
                </a:cxn>
                <a:cxn ang="0">
                  <a:pos x="connsiteX6698" y="connsiteY6698"/>
                </a:cxn>
                <a:cxn ang="0">
                  <a:pos x="connsiteX6699" y="connsiteY6699"/>
                </a:cxn>
                <a:cxn ang="0">
                  <a:pos x="connsiteX6700" y="connsiteY6700"/>
                </a:cxn>
                <a:cxn ang="0">
                  <a:pos x="connsiteX6701" y="connsiteY6701"/>
                </a:cxn>
                <a:cxn ang="0">
                  <a:pos x="connsiteX6702" y="connsiteY6702"/>
                </a:cxn>
                <a:cxn ang="0">
                  <a:pos x="connsiteX6703" y="connsiteY6703"/>
                </a:cxn>
                <a:cxn ang="0">
                  <a:pos x="connsiteX6704" y="connsiteY6704"/>
                </a:cxn>
                <a:cxn ang="0">
                  <a:pos x="connsiteX6705" y="connsiteY6705"/>
                </a:cxn>
                <a:cxn ang="0">
                  <a:pos x="connsiteX6706" y="connsiteY6706"/>
                </a:cxn>
                <a:cxn ang="0">
                  <a:pos x="connsiteX6707" y="connsiteY6707"/>
                </a:cxn>
                <a:cxn ang="0">
                  <a:pos x="connsiteX6708" y="connsiteY6708"/>
                </a:cxn>
                <a:cxn ang="0">
                  <a:pos x="connsiteX6709" y="connsiteY6709"/>
                </a:cxn>
                <a:cxn ang="0">
                  <a:pos x="connsiteX6710" y="connsiteY6710"/>
                </a:cxn>
                <a:cxn ang="0">
                  <a:pos x="connsiteX6711" y="connsiteY6711"/>
                </a:cxn>
                <a:cxn ang="0">
                  <a:pos x="connsiteX6712" y="connsiteY6712"/>
                </a:cxn>
                <a:cxn ang="0">
                  <a:pos x="connsiteX6713" y="connsiteY6713"/>
                </a:cxn>
                <a:cxn ang="0">
                  <a:pos x="connsiteX6714" y="connsiteY6714"/>
                </a:cxn>
                <a:cxn ang="0">
                  <a:pos x="connsiteX6715" y="connsiteY6715"/>
                </a:cxn>
                <a:cxn ang="0">
                  <a:pos x="connsiteX6716" y="connsiteY6716"/>
                </a:cxn>
                <a:cxn ang="0">
                  <a:pos x="connsiteX6717" y="connsiteY6717"/>
                </a:cxn>
                <a:cxn ang="0">
                  <a:pos x="connsiteX6718" y="connsiteY6718"/>
                </a:cxn>
                <a:cxn ang="0">
                  <a:pos x="connsiteX6719" y="connsiteY6719"/>
                </a:cxn>
                <a:cxn ang="0">
                  <a:pos x="connsiteX6720" y="connsiteY6720"/>
                </a:cxn>
                <a:cxn ang="0">
                  <a:pos x="connsiteX6721" y="connsiteY6721"/>
                </a:cxn>
                <a:cxn ang="0">
                  <a:pos x="connsiteX6722" y="connsiteY6722"/>
                </a:cxn>
                <a:cxn ang="0">
                  <a:pos x="connsiteX6723" y="connsiteY6723"/>
                </a:cxn>
                <a:cxn ang="0">
                  <a:pos x="connsiteX6724" y="connsiteY6724"/>
                </a:cxn>
                <a:cxn ang="0">
                  <a:pos x="connsiteX6725" y="connsiteY6725"/>
                </a:cxn>
                <a:cxn ang="0">
                  <a:pos x="connsiteX6726" y="connsiteY6726"/>
                </a:cxn>
                <a:cxn ang="0">
                  <a:pos x="connsiteX6727" y="connsiteY6727"/>
                </a:cxn>
                <a:cxn ang="0">
                  <a:pos x="connsiteX6728" y="connsiteY6728"/>
                </a:cxn>
                <a:cxn ang="0">
                  <a:pos x="connsiteX6729" y="connsiteY6729"/>
                </a:cxn>
                <a:cxn ang="0">
                  <a:pos x="connsiteX6730" y="connsiteY6730"/>
                </a:cxn>
                <a:cxn ang="0">
                  <a:pos x="connsiteX6731" y="connsiteY6731"/>
                </a:cxn>
                <a:cxn ang="0">
                  <a:pos x="connsiteX6732" y="connsiteY6732"/>
                </a:cxn>
                <a:cxn ang="0">
                  <a:pos x="connsiteX6733" y="connsiteY6733"/>
                </a:cxn>
                <a:cxn ang="0">
                  <a:pos x="connsiteX6734" y="connsiteY6734"/>
                </a:cxn>
                <a:cxn ang="0">
                  <a:pos x="connsiteX6735" y="connsiteY6735"/>
                </a:cxn>
                <a:cxn ang="0">
                  <a:pos x="connsiteX6736" y="connsiteY6736"/>
                </a:cxn>
                <a:cxn ang="0">
                  <a:pos x="connsiteX6737" y="connsiteY6737"/>
                </a:cxn>
                <a:cxn ang="0">
                  <a:pos x="connsiteX6738" y="connsiteY6738"/>
                </a:cxn>
                <a:cxn ang="0">
                  <a:pos x="connsiteX6739" y="connsiteY6739"/>
                </a:cxn>
                <a:cxn ang="0">
                  <a:pos x="connsiteX6740" y="connsiteY6740"/>
                </a:cxn>
                <a:cxn ang="0">
                  <a:pos x="connsiteX6741" y="connsiteY6741"/>
                </a:cxn>
                <a:cxn ang="0">
                  <a:pos x="connsiteX6742" y="connsiteY6742"/>
                </a:cxn>
                <a:cxn ang="0">
                  <a:pos x="connsiteX6743" y="connsiteY6743"/>
                </a:cxn>
                <a:cxn ang="0">
                  <a:pos x="connsiteX6744" y="connsiteY6744"/>
                </a:cxn>
                <a:cxn ang="0">
                  <a:pos x="connsiteX6745" y="connsiteY6745"/>
                </a:cxn>
                <a:cxn ang="0">
                  <a:pos x="connsiteX6746" y="connsiteY6746"/>
                </a:cxn>
                <a:cxn ang="0">
                  <a:pos x="connsiteX6747" y="connsiteY6747"/>
                </a:cxn>
                <a:cxn ang="0">
                  <a:pos x="connsiteX6748" y="connsiteY6748"/>
                </a:cxn>
                <a:cxn ang="0">
                  <a:pos x="connsiteX6749" y="connsiteY6749"/>
                </a:cxn>
                <a:cxn ang="0">
                  <a:pos x="connsiteX6750" y="connsiteY6750"/>
                </a:cxn>
                <a:cxn ang="0">
                  <a:pos x="connsiteX6751" y="connsiteY6751"/>
                </a:cxn>
                <a:cxn ang="0">
                  <a:pos x="connsiteX6752" y="connsiteY6752"/>
                </a:cxn>
                <a:cxn ang="0">
                  <a:pos x="connsiteX6753" y="connsiteY6753"/>
                </a:cxn>
                <a:cxn ang="0">
                  <a:pos x="connsiteX6754" y="connsiteY6754"/>
                </a:cxn>
                <a:cxn ang="0">
                  <a:pos x="connsiteX6755" y="connsiteY6755"/>
                </a:cxn>
                <a:cxn ang="0">
                  <a:pos x="connsiteX6756" y="connsiteY6756"/>
                </a:cxn>
                <a:cxn ang="0">
                  <a:pos x="connsiteX6757" y="connsiteY6757"/>
                </a:cxn>
                <a:cxn ang="0">
                  <a:pos x="connsiteX6758" y="connsiteY6758"/>
                </a:cxn>
                <a:cxn ang="0">
                  <a:pos x="connsiteX6759" y="connsiteY6759"/>
                </a:cxn>
                <a:cxn ang="0">
                  <a:pos x="connsiteX6760" y="connsiteY6760"/>
                </a:cxn>
                <a:cxn ang="0">
                  <a:pos x="connsiteX6761" y="connsiteY6761"/>
                </a:cxn>
                <a:cxn ang="0">
                  <a:pos x="connsiteX6762" y="connsiteY6762"/>
                </a:cxn>
                <a:cxn ang="0">
                  <a:pos x="connsiteX6763" y="connsiteY6763"/>
                </a:cxn>
                <a:cxn ang="0">
                  <a:pos x="connsiteX6764" y="connsiteY6764"/>
                </a:cxn>
                <a:cxn ang="0">
                  <a:pos x="connsiteX6765" y="connsiteY6765"/>
                </a:cxn>
                <a:cxn ang="0">
                  <a:pos x="connsiteX6766" y="connsiteY6766"/>
                </a:cxn>
                <a:cxn ang="0">
                  <a:pos x="connsiteX6767" y="connsiteY6767"/>
                </a:cxn>
                <a:cxn ang="0">
                  <a:pos x="connsiteX6768" y="connsiteY6768"/>
                </a:cxn>
                <a:cxn ang="0">
                  <a:pos x="connsiteX6769" y="connsiteY6769"/>
                </a:cxn>
                <a:cxn ang="0">
                  <a:pos x="connsiteX6770" y="connsiteY6770"/>
                </a:cxn>
                <a:cxn ang="0">
                  <a:pos x="connsiteX6771" y="connsiteY6771"/>
                </a:cxn>
                <a:cxn ang="0">
                  <a:pos x="connsiteX6772" y="connsiteY6772"/>
                </a:cxn>
                <a:cxn ang="0">
                  <a:pos x="connsiteX6773" y="connsiteY6773"/>
                </a:cxn>
                <a:cxn ang="0">
                  <a:pos x="connsiteX6774" y="connsiteY6774"/>
                </a:cxn>
                <a:cxn ang="0">
                  <a:pos x="connsiteX6775" y="connsiteY6775"/>
                </a:cxn>
                <a:cxn ang="0">
                  <a:pos x="connsiteX6776" y="connsiteY6776"/>
                </a:cxn>
                <a:cxn ang="0">
                  <a:pos x="connsiteX6777" y="connsiteY6777"/>
                </a:cxn>
                <a:cxn ang="0">
                  <a:pos x="connsiteX6778" y="connsiteY6778"/>
                </a:cxn>
                <a:cxn ang="0">
                  <a:pos x="connsiteX6779" y="connsiteY6779"/>
                </a:cxn>
                <a:cxn ang="0">
                  <a:pos x="connsiteX6780" y="connsiteY6780"/>
                </a:cxn>
                <a:cxn ang="0">
                  <a:pos x="connsiteX6781" y="connsiteY6781"/>
                </a:cxn>
                <a:cxn ang="0">
                  <a:pos x="connsiteX6782" y="connsiteY6782"/>
                </a:cxn>
                <a:cxn ang="0">
                  <a:pos x="connsiteX6783" y="connsiteY6783"/>
                </a:cxn>
                <a:cxn ang="0">
                  <a:pos x="connsiteX6784" y="connsiteY6784"/>
                </a:cxn>
                <a:cxn ang="0">
                  <a:pos x="connsiteX6785" y="connsiteY6785"/>
                </a:cxn>
                <a:cxn ang="0">
                  <a:pos x="connsiteX6786" y="connsiteY6786"/>
                </a:cxn>
                <a:cxn ang="0">
                  <a:pos x="connsiteX6787" y="connsiteY6787"/>
                </a:cxn>
                <a:cxn ang="0">
                  <a:pos x="connsiteX6788" y="connsiteY6788"/>
                </a:cxn>
                <a:cxn ang="0">
                  <a:pos x="connsiteX6789" y="connsiteY6789"/>
                </a:cxn>
                <a:cxn ang="0">
                  <a:pos x="connsiteX6790" y="connsiteY6790"/>
                </a:cxn>
                <a:cxn ang="0">
                  <a:pos x="connsiteX6791" y="connsiteY6791"/>
                </a:cxn>
                <a:cxn ang="0">
                  <a:pos x="connsiteX6792" y="connsiteY6792"/>
                </a:cxn>
                <a:cxn ang="0">
                  <a:pos x="connsiteX6793" y="connsiteY6793"/>
                </a:cxn>
                <a:cxn ang="0">
                  <a:pos x="connsiteX6794" y="connsiteY6794"/>
                </a:cxn>
                <a:cxn ang="0">
                  <a:pos x="connsiteX6795" y="connsiteY6795"/>
                </a:cxn>
                <a:cxn ang="0">
                  <a:pos x="connsiteX6796" y="connsiteY6796"/>
                </a:cxn>
                <a:cxn ang="0">
                  <a:pos x="connsiteX6797" y="connsiteY6797"/>
                </a:cxn>
                <a:cxn ang="0">
                  <a:pos x="connsiteX6798" y="connsiteY6798"/>
                </a:cxn>
                <a:cxn ang="0">
                  <a:pos x="connsiteX6799" y="connsiteY6799"/>
                </a:cxn>
                <a:cxn ang="0">
                  <a:pos x="connsiteX6800" y="connsiteY6800"/>
                </a:cxn>
                <a:cxn ang="0">
                  <a:pos x="connsiteX6801" y="connsiteY6801"/>
                </a:cxn>
                <a:cxn ang="0">
                  <a:pos x="connsiteX6802" y="connsiteY6802"/>
                </a:cxn>
                <a:cxn ang="0">
                  <a:pos x="connsiteX6803" y="connsiteY6803"/>
                </a:cxn>
                <a:cxn ang="0">
                  <a:pos x="connsiteX6804" y="connsiteY6804"/>
                </a:cxn>
                <a:cxn ang="0">
                  <a:pos x="connsiteX6805" y="connsiteY6805"/>
                </a:cxn>
                <a:cxn ang="0">
                  <a:pos x="connsiteX6806" y="connsiteY6806"/>
                </a:cxn>
                <a:cxn ang="0">
                  <a:pos x="connsiteX6807" y="connsiteY6807"/>
                </a:cxn>
                <a:cxn ang="0">
                  <a:pos x="connsiteX6808" y="connsiteY6808"/>
                </a:cxn>
                <a:cxn ang="0">
                  <a:pos x="connsiteX6809" y="connsiteY6809"/>
                </a:cxn>
                <a:cxn ang="0">
                  <a:pos x="connsiteX6810" y="connsiteY6810"/>
                </a:cxn>
                <a:cxn ang="0">
                  <a:pos x="connsiteX6811" y="connsiteY6811"/>
                </a:cxn>
                <a:cxn ang="0">
                  <a:pos x="connsiteX6812" y="connsiteY6812"/>
                </a:cxn>
                <a:cxn ang="0">
                  <a:pos x="connsiteX6813" y="connsiteY6813"/>
                </a:cxn>
                <a:cxn ang="0">
                  <a:pos x="connsiteX6814" y="connsiteY6814"/>
                </a:cxn>
                <a:cxn ang="0">
                  <a:pos x="connsiteX6815" y="connsiteY6815"/>
                </a:cxn>
                <a:cxn ang="0">
                  <a:pos x="connsiteX6816" y="connsiteY6816"/>
                </a:cxn>
                <a:cxn ang="0">
                  <a:pos x="connsiteX6817" y="connsiteY6817"/>
                </a:cxn>
                <a:cxn ang="0">
                  <a:pos x="connsiteX6818" y="connsiteY6818"/>
                </a:cxn>
                <a:cxn ang="0">
                  <a:pos x="connsiteX6819" y="connsiteY6819"/>
                </a:cxn>
                <a:cxn ang="0">
                  <a:pos x="connsiteX6820" y="connsiteY6820"/>
                </a:cxn>
                <a:cxn ang="0">
                  <a:pos x="connsiteX6821" y="connsiteY6821"/>
                </a:cxn>
                <a:cxn ang="0">
                  <a:pos x="connsiteX6822" y="connsiteY6822"/>
                </a:cxn>
                <a:cxn ang="0">
                  <a:pos x="connsiteX6823" y="connsiteY6823"/>
                </a:cxn>
                <a:cxn ang="0">
                  <a:pos x="connsiteX6824" y="connsiteY6824"/>
                </a:cxn>
                <a:cxn ang="0">
                  <a:pos x="connsiteX6825" y="connsiteY6825"/>
                </a:cxn>
                <a:cxn ang="0">
                  <a:pos x="connsiteX6826" y="connsiteY6826"/>
                </a:cxn>
                <a:cxn ang="0">
                  <a:pos x="connsiteX6827" y="connsiteY6827"/>
                </a:cxn>
                <a:cxn ang="0">
                  <a:pos x="connsiteX6828" y="connsiteY6828"/>
                </a:cxn>
                <a:cxn ang="0">
                  <a:pos x="connsiteX6829" y="connsiteY6829"/>
                </a:cxn>
                <a:cxn ang="0">
                  <a:pos x="connsiteX6830" y="connsiteY6830"/>
                </a:cxn>
                <a:cxn ang="0">
                  <a:pos x="connsiteX6831" y="connsiteY6831"/>
                </a:cxn>
                <a:cxn ang="0">
                  <a:pos x="connsiteX6832" y="connsiteY6832"/>
                </a:cxn>
                <a:cxn ang="0">
                  <a:pos x="connsiteX6833" y="connsiteY6833"/>
                </a:cxn>
                <a:cxn ang="0">
                  <a:pos x="connsiteX6834" y="connsiteY6834"/>
                </a:cxn>
                <a:cxn ang="0">
                  <a:pos x="connsiteX6835" y="connsiteY6835"/>
                </a:cxn>
                <a:cxn ang="0">
                  <a:pos x="connsiteX6836" y="connsiteY6836"/>
                </a:cxn>
                <a:cxn ang="0">
                  <a:pos x="connsiteX6837" y="connsiteY6837"/>
                </a:cxn>
                <a:cxn ang="0">
                  <a:pos x="connsiteX6838" y="connsiteY6838"/>
                </a:cxn>
                <a:cxn ang="0">
                  <a:pos x="connsiteX6839" y="connsiteY6839"/>
                </a:cxn>
                <a:cxn ang="0">
                  <a:pos x="connsiteX6840" y="connsiteY6840"/>
                </a:cxn>
                <a:cxn ang="0">
                  <a:pos x="connsiteX6841" y="connsiteY6841"/>
                </a:cxn>
                <a:cxn ang="0">
                  <a:pos x="connsiteX6842" y="connsiteY6842"/>
                </a:cxn>
                <a:cxn ang="0">
                  <a:pos x="connsiteX6843" y="connsiteY6843"/>
                </a:cxn>
                <a:cxn ang="0">
                  <a:pos x="connsiteX6844" y="connsiteY6844"/>
                </a:cxn>
                <a:cxn ang="0">
                  <a:pos x="connsiteX6845" y="connsiteY6845"/>
                </a:cxn>
                <a:cxn ang="0">
                  <a:pos x="connsiteX6846" y="connsiteY6846"/>
                </a:cxn>
                <a:cxn ang="0">
                  <a:pos x="connsiteX6847" y="connsiteY6847"/>
                </a:cxn>
                <a:cxn ang="0">
                  <a:pos x="connsiteX6848" y="connsiteY6848"/>
                </a:cxn>
                <a:cxn ang="0">
                  <a:pos x="connsiteX6849" y="connsiteY6849"/>
                </a:cxn>
                <a:cxn ang="0">
                  <a:pos x="connsiteX6850" y="connsiteY6850"/>
                </a:cxn>
                <a:cxn ang="0">
                  <a:pos x="connsiteX6851" y="connsiteY6851"/>
                </a:cxn>
                <a:cxn ang="0">
                  <a:pos x="connsiteX6852" y="connsiteY6852"/>
                </a:cxn>
                <a:cxn ang="0">
                  <a:pos x="connsiteX6853" y="connsiteY6853"/>
                </a:cxn>
                <a:cxn ang="0">
                  <a:pos x="connsiteX6854" y="connsiteY6854"/>
                </a:cxn>
                <a:cxn ang="0">
                  <a:pos x="connsiteX6855" y="connsiteY6855"/>
                </a:cxn>
                <a:cxn ang="0">
                  <a:pos x="connsiteX6856" y="connsiteY6856"/>
                </a:cxn>
                <a:cxn ang="0">
                  <a:pos x="connsiteX6857" y="connsiteY6857"/>
                </a:cxn>
                <a:cxn ang="0">
                  <a:pos x="connsiteX6858" y="connsiteY6858"/>
                </a:cxn>
                <a:cxn ang="0">
                  <a:pos x="connsiteX6859" y="connsiteY6859"/>
                </a:cxn>
                <a:cxn ang="0">
                  <a:pos x="connsiteX6860" y="connsiteY6860"/>
                </a:cxn>
                <a:cxn ang="0">
                  <a:pos x="connsiteX6861" y="connsiteY6861"/>
                </a:cxn>
                <a:cxn ang="0">
                  <a:pos x="connsiteX6862" y="connsiteY6862"/>
                </a:cxn>
                <a:cxn ang="0">
                  <a:pos x="connsiteX6863" y="connsiteY6863"/>
                </a:cxn>
                <a:cxn ang="0">
                  <a:pos x="connsiteX6864" y="connsiteY6864"/>
                </a:cxn>
                <a:cxn ang="0">
                  <a:pos x="connsiteX6865" y="connsiteY6865"/>
                </a:cxn>
                <a:cxn ang="0">
                  <a:pos x="connsiteX6866" y="connsiteY6866"/>
                </a:cxn>
                <a:cxn ang="0">
                  <a:pos x="connsiteX6867" y="connsiteY6867"/>
                </a:cxn>
                <a:cxn ang="0">
                  <a:pos x="connsiteX6868" y="connsiteY6868"/>
                </a:cxn>
                <a:cxn ang="0">
                  <a:pos x="connsiteX6869" y="connsiteY6869"/>
                </a:cxn>
                <a:cxn ang="0">
                  <a:pos x="connsiteX6870" y="connsiteY6870"/>
                </a:cxn>
                <a:cxn ang="0">
                  <a:pos x="connsiteX6871" y="connsiteY6871"/>
                </a:cxn>
                <a:cxn ang="0">
                  <a:pos x="connsiteX6872" y="connsiteY6872"/>
                </a:cxn>
                <a:cxn ang="0">
                  <a:pos x="connsiteX6873" y="connsiteY6873"/>
                </a:cxn>
                <a:cxn ang="0">
                  <a:pos x="connsiteX6874" y="connsiteY6874"/>
                </a:cxn>
                <a:cxn ang="0">
                  <a:pos x="connsiteX6875" y="connsiteY6875"/>
                </a:cxn>
                <a:cxn ang="0">
                  <a:pos x="connsiteX6876" y="connsiteY6876"/>
                </a:cxn>
                <a:cxn ang="0">
                  <a:pos x="connsiteX6877" y="connsiteY6877"/>
                </a:cxn>
                <a:cxn ang="0">
                  <a:pos x="connsiteX6878" y="connsiteY6878"/>
                </a:cxn>
                <a:cxn ang="0">
                  <a:pos x="connsiteX6879" y="connsiteY6879"/>
                </a:cxn>
                <a:cxn ang="0">
                  <a:pos x="connsiteX6880" y="connsiteY6880"/>
                </a:cxn>
                <a:cxn ang="0">
                  <a:pos x="connsiteX6881" y="connsiteY6881"/>
                </a:cxn>
                <a:cxn ang="0">
                  <a:pos x="connsiteX6882" y="connsiteY6882"/>
                </a:cxn>
                <a:cxn ang="0">
                  <a:pos x="connsiteX6883" y="connsiteY6883"/>
                </a:cxn>
                <a:cxn ang="0">
                  <a:pos x="connsiteX6884" y="connsiteY6884"/>
                </a:cxn>
                <a:cxn ang="0">
                  <a:pos x="connsiteX6885" y="connsiteY6885"/>
                </a:cxn>
                <a:cxn ang="0">
                  <a:pos x="connsiteX6886" y="connsiteY6886"/>
                </a:cxn>
                <a:cxn ang="0">
                  <a:pos x="connsiteX6887" y="connsiteY6887"/>
                </a:cxn>
                <a:cxn ang="0">
                  <a:pos x="connsiteX6888" y="connsiteY6888"/>
                </a:cxn>
                <a:cxn ang="0">
                  <a:pos x="connsiteX6889" y="connsiteY6889"/>
                </a:cxn>
                <a:cxn ang="0">
                  <a:pos x="connsiteX6890" y="connsiteY6890"/>
                </a:cxn>
                <a:cxn ang="0">
                  <a:pos x="connsiteX6891" y="connsiteY6891"/>
                </a:cxn>
                <a:cxn ang="0">
                  <a:pos x="connsiteX6892" y="connsiteY6892"/>
                </a:cxn>
                <a:cxn ang="0">
                  <a:pos x="connsiteX6893" y="connsiteY6893"/>
                </a:cxn>
                <a:cxn ang="0">
                  <a:pos x="connsiteX6894" y="connsiteY6894"/>
                </a:cxn>
                <a:cxn ang="0">
                  <a:pos x="connsiteX6895" y="connsiteY6895"/>
                </a:cxn>
                <a:cxn ang="0">
                  <a:pos x="connsiteX6896" y="connsiteY6896"/>
                </a:cxn>
                <a:cxn ang="0">
                  <a:pos x="connsiteX6897" y="connsiteY6897"/>
                </a:cxn>
                <a:cxn ang="0">
                  <a:pos x="connsiteX6898" y="connsiteY6898"/>
                </a:cxn>
                <a:cxn ang="0">
                  <a:pos x="connsiteX6899" y="connsiteY6899"/>
                </a:cxn>
                <a:cxn ang="0">
                  <a:pos x="connsiteX6900" y="connsiteY6900"/>
                </a:cxn>
                <a:cxn ang="0">
                  <a:pos x="connsiteX6901" y="connsiteY6901"/>
                </a:cxn>
                <a:cxn ang="0">
                  <a:pos x="connsiteX6902" y="connsiteY6902"/>
                </a:cxn>
                <a:cxn ang="0">
                  <a:pos x="connsiteX6903" y="connsiteY6903"/>
                </a:cxn>
                <a:cxn ang="0">
                  <a:pos x="connsiteX6904" y="connsiteY6904"/>
                </a:cxn>
                <a:cxn ang="0">
                  <a:pos x="connsiteX6905" y="connsiteY6905"/>
                </a:cxn>
                <a:cxn ang="0">
                  <a:pos x="connsiteX6906" y="connsiteY6906"/>
                </a:cxn>
                <a:cxn ang="0">
                  <a:pos x="connsiteX6907" y="connsiteY6907"/>
                </a:cxn>
                <a:cxn ang="0">
                  <a:pos x="connsiteX6908" y="connsiteY6908"/>
                </a:cxn>
                <a:cxn ang="0">
                  <a:pos x="connsiteX6909" y="connsiteY6909"/>
                </a:cxn>
                <a:cxn ang="0">
                  <a:pos x="connsiteX6910" y="connsiteY6910"/>
                </a:cxn>
                <a:cxn ang="0">
                  <a:pos x="connsiteX6911" y="connsiteY6911"/>
                </a:cxn>
                <a:cxn ang="0">
                  <a:pos x="connsiteX6912" y="connsiteY6912"/>
                </a:cxn>
                <a:cxn ang="0">
                  <a:pos x="connsiteX6913" y="connsiteY6913"/>
                </a:cxn>
                <a:cxn ang="0">
                  <a:pos x="connsiteX6914" y="connsiteY6914"/>
                </a:cxn>
                <a:cxn ang="0">
                  <a:pos x="connsiteX6915" y="connsiteY6915"/>
                </a:cxn>
                <a:cxn ang="0">
                  <a:pos x="connsiteX6916" y="connsiteY6916"/>
                </a:cxn>
                <a:cxn ang="0">
                  <a:pos x="connsiteX6917" y="connsiteY6917"/>
                </a:cxn>
                <a:cxn ang="0">
                  <a:pos x="connsiteX6918" y="connsiteY6918"/>
                </a:cxn>
                <a:cxn ang="0">
                  <a:pos x="connsiteX6919" y="connsiteY6919"/>
                </a:cxn>
                <a:cxn ang="0">
                  <a:pos x="connsiteX6920" y="connsiteY6920"/>
                </a:cxn>
                <a:cxn ang="0">
                  <a:pos x="connsiteX6921" y="connsiteY6921"/>
                </a:cxn>
                <a:cxn ang="0">
                  <a:pos x="connsiteX6922" y="connsiteY6922"/>
                </a:cxn>
                <a:cxn ang="0">
                  <a:pos x="connsiteX6923" y="connsiteY6923"/>
                </a:cxn>
                <a:cxn ang="0">
                  <a:pos x="connsiteX6924" y="connsiteY6924"/>
                </a:cxn>
                <a:cxn ang="0">
                  <a:pos x="connsiteX6925" y="connsiteY6925"/>
                </a:cxn>
                <a:cxn ang="0">
                  <a:pos x="connsiteX6926" y="connsiteY6926"/>
                </a:cxn>
                <a:cxn ang="0">
                  <a:pos x="connsiteX6927" y="connsiteY6927"/>
                </a:cxn>
                <a:cxn ang="0">
                  <a:pos x="connsiteX6928" y="connsiteY6928"/>
                </a:cxn>
                <a:cxn ang="0">
                  <a:pos x="connsiteX6929" y="connsiteY6929"/>
                </a:cxn>
                <a:cxn ang="0">
                  <a:pos x="connsiteX6930" y="connsiteY6930"/>
                </a:cxn>
                <a:cxn ang="0">
                  <a:pos x="connsiteX6931" y="connsiteY6931"/>
                </a:cxn>
                <a:cxn ang="0">
                  <a:pos x="connsiteX6932" y="connsiteY6932"/>
                </a:cxn>
                <a:cxn ang="0">
                  <a:pos x="connsiteX6933" y="connsiteY6933"/>
                </a:cxn>
                <a:cxn ang="0">
                  <a:pos x="connsiteX6934" y="connsiteY6934"/>
                </a:cxn>
                <a:cxn ang="0">
                  <a:pos x="connsiteX6935" y="connsiteY6935"/>
                </a:cxn>
                <a:cxn ang="0">
                  <a:pos x="connsiteX6936" y="connsiteY6936"/>
                </a:cxn>
                <a:cxn ang="0">
                  <a:pos x="connsiteX6937" y="connsiteY6937"/>
                </a:cxn>
                <a:cxn ang="0">
                  <a:pos x="connsiteX6938" y="connsiteY6938"/>
                </a:cxn>
                <a:cxn ang="0">
                  <a:pos x="connsiteX6939" y="connsiteY6939"/>
                </a:cxn>
                <a:cxn ang="0">
                  <a:pos x="connsiteX6940" y="connsiteY6940"/>
                </a:cxn>
                <a:cxn ang="0">
                  <a:pos x="connsiteX6941" y="connsiteY6941"/>
                </a:cxn>
                <a:cxn ang="0">
                  <a:pos x="connsiteX6942" y="connsiteY6942"/>
                </a:cxn>
                <a:cxn ang="0">
                  <a:pos x="connsiteX6943" y="connsiteY6943"/>
                </a:cxn>
                <a:cxn ang="0">
                  <a:pos x="connsiteX6944" y="connsiteY6944"/>
                </a:cxn>
                <a:cxn ang="0">
                  <a:pos x="connsiteX6945" y="connsiteY6945"/>
                </a:cxn>
                <a:cxn ang="0">
                  <a:pos x="connsiteX6946" y="connsiteY6946"/>
                </a:cxn>
                <a:cxn ang="0">
                  <a:pos x="connsiteX6947" y="connsiteY6947"/>
                </a:cxn>
                <a:cxn ang="0">
                  <a:pos x="connsiteX6948" y="connsiteY6948"/>
                </a:cxn>
                <a:cxn ang="0">
                  <a:pos x="connsiteX6949" y="connsiteY6949"/>
                </a:cxn>
                <a:cxn ang="0">
                  <a:pos x="connsiteX6950" y="connsiteY6950"/>
                </a:cxn>
                <a:cxn ang="0">
                  <a:pos x="connsiteX6951" y="connsiteY6951"/>
                </a:cxn>
                <a:cxn ang="0">
                  <a:pos x="connsiteX6952" y="connsiteY6952"/>
                </a:cxn>
                <a:cxn ang="0">
                  <a:pos x="connsiteX6953" y="connsiteY6953"/>
                </a:cxn>
                <a:cxn ang="0">
                  <a:pos x="connsiteX6954" y="connsiteY6954"/>
                </a:cxn>
                <a:cxn ang="0">
                  <a:pos x="connsiteX6955" y="connsiteY6955"/>
                </a:cxn>
                <a:cxn ang="0">
                  <a:pos x="connsiteX6956" y="connsiteY6956"/>
                </a:cxn>
                <a:cxn ang="0">
                  <a:pos x="connsiteX6957" y="connsiteY6957"/>
                </a:cxn>
                <a:cxn ang="0">
                  <a:pos x="connsiteX6958" y="connsiteY6958"/>
                </a:cxn>
                <a:cxn ang="0">
                  <a:pos x="connsiteX6959" y="connsiteY6959"/>
                </a:cxn>
                <a:cxn ang="0">
                  <a:pos x="connsiteX6960" y="connsiteY6960"/>
                </a:cxn>
                <a:cxn ang="0">
                  <a:pos x="connsiteX6961" y="connsiteY6961"/>
                </a:cxn>
                <a:cxn ang="0">
                  <a:pos x="connsiteX6962" y="connsiteY6962"/>
                </a:cxn>
                <a:cxn ang="0">
                  <a:pos x="connsiteX6963" y="connsiteY6963"/>
                </a:cxn>
                <a:cxn ang="0">
                  <a:pos x="connsiteX6964" y="connsiteY6964"/>
                </a:cxn>
                <a:cxn ang="0">
                  <a:pos x="connsiteX6965" y="connsiteY6965"/>
                </a:cxn>
                <a:cxn ang="0">
                  <a:pos x="connsiteX6966" y="connsiteY6966"/>
                </a:cxn>
                <a:cxn ang="0">
                  <a:pos x="connsiteX6967" y="connsiteY6967"/>
                </a:cxn>
                <a:cxn ang="0">
                  <a:pos x="connsiteX6968" y="connsiteY6968"/>
                </a:cxn>
                <a:cxn ang="0">
                  <a:pos x="connsiteX6969" y="connsiteY6969"/>
                </a:cxn>
                <a:cxn ang="0">
                  <a:pos x="connsiteX6970" y="connsiteY6970"/>
                </a:cxn>
                <a:cxn ang="0">
                  <a:pos x="connsiteX6971" y="connsiteY6971"/>
                </a:cxn>
                <a:cxn ang="0">
                  <a:pos x="connsiteX6972" y="connsiteY6972"/>
                </a:cxn>
                <a:cxn ang="0">
                  <a:pos x="connsiteX6973" y="connsiteY6973"/>
                </a:cxn>
                <a:cxn ang="0">
                  <a:pos x="connsiteX6974" y="connsiteY6974"/>
                </a:cxn>
                <a:cxn ang="0">
                  <a:pos x="connsiteX6975" y="connsiteY6975"/>
                </a:cxn>
                <a:cxn ang="0">
                  <a:pos x="connsiteX6976" y="connsiteY6976"/>
                </a:cxn>
                <a:cxn ang="0">
                  <a:pos x="connsiteX6977" y="connsiteY6977"/>
                </a:cxn>
                <a:cxn ang="0">
                  <a:pos x="connsiteX6978" y="connsiteY6978"/>
                </a:cxn>
                <a:cxn ang="0">
                  <a:pos x="connsiteX6979" y="connsiteY6979"/>
                </a:cxn>
                <a:cxn ang="0">
                  <a:pos x="connsiteX6980" y="connsiteY6980"/>
                </a:cxn>
                <a:cxn ang="0">
                  <a:pos x="connsiteX6981" y="connsiteY6981"/>
                </a:cxn>
                <a:cxn ang="0">
                  <a:pos x="connsiteX6982" y="connsiteY6982"/>
                </a:cxn>
                <a:cxn ang="0">
                  <a:pos x="connsiteX6983" y="connsiteY6983"/>
                </a:cxn>
                <a:cxn ang="0">
                  <a:pos x="connsiteX6984" y="connsiteY6984"/>
                </a:cxn>
                <a:cxn ang="0">
                  <a:pos x="connsiteX6985" y="connsiteY6985"/>
                </a:cxn>
                <a:cxn ang="0">
                  <a:pos x="connsiteX6986" y="connsiteY6986"/>
                </a:cxn>
                <a:cxn ang="0">
                  <a:pos x="connsiteX6987" y="connsiteY6987"/>
                </a:cxn>
                <a:cxn ang="0">
                  <a:pos x="connsiteX6988" y="connsiteY6988"/>
                </a:cxn>
                <a:cxn ang="0">
                  <a:pos x="connsiteX6989" y="connsiteY6989"/>
                </a:cxn>
                <a:cxn ang="0">
                  <a:pos x="connsiteX6990" y="connsiteY6990"/>
                </a:cxn>
                <a:cxn ang="0">
                  <a:pos x="connsiteX6991" y="connsiteY6991"/>
                </a:cxn>
                <a:cxn ang="0">
                  <a:pos x="connsiteX6992" y="connsiteY6992"/>
                </a:cxn>
                <a:cxn ang="0">
                  <a:pos x="connsiteX6993" y="connsiteY6993"/>
                </a:cxn>
                <a:cxn ang="0">
                  <a:pos x="connsiteX6994" y="connsiteY6994"/>
                </a:cxn>
                <a:cxn ang="0">
                  <a:pos x="connsiteX6995" y="connsiteY6995"/>
                </a:cxn>
                <a:cxn ang="0">
                  <a:pos x="connsiteX6996" y="connsiteY6996"/>
                </a:cxn>
                <a:cxn ang="0">
                  <a:pos x="connsiteX6997" y="connsiteY6997"/>
                </a:cxn>
                <a:cxn ang="0">
                  <a:pos x="connsiteX6998" y="connsiteY6998"/>
                </a:cxn>
                <a:cxn ang="0">
                  <a:pos x="connsiteX6999" y="connsiteY6999"/>
                </a:cxn>
                <a:cxn ang="0">
                  <a:pos x="connsiteX7000" y="connsiteY7000"/>
                </a:cxn>
                <a:cxn ang="0">
                  <a:pos x="connsiteX7001" y="connsiteY7001"/>
                </a:cxn>
                <a:cxn ang="0">
                  <a:pos x="connsiteX7002" y="connsiteY7002"/>
                </a:cxn>
                <a:cxn ang="0">
                  <a:pos x="connsiteX7003" y="connsiteY7003"/>
                </a:cxn>
                <a:cxn ang="0">
                  <a:pos x="connsiteX7004" y="connsiteY7004"/>
                </a:cxn>
                <a:cxn ang="0">
                  <a:pos x="connsiteX7005" y="connsiteY7005"/>
                </a:cxn>
                <a:cxn ang="0">
                  <a:pos x="connsiteX7006" y="connsiteY7006"/>
                </a:cxn>
                <a:cxn ang="0">
                  <a:pos x="connsiteX7007" y="connsiteY7007"/>
                </a:cxn>
                <a:cxn ang="0">
                  <a:pos x="connsiteX7008" y="connsiteY7008"/>
                </a:cxn>
                <a:cxn ang="0">
                  <a:pos x="connsiteX7009" y="connsiteY7009"/>
                </a:cxn>
                <a:cxn ang="0">
                  <a:pos x="connsiteX7010" y="connsiteY7010"/>
                </a:cxn>
                <a:cxn ang="0">
                  <a:pos x="connsiteX7011" y="connsiteY7011"/>
                </a:cxn>
                <a:cxn ang="0">
                  <a:pos x="connsiteX7012" y="connsiteY7012"/>
                </a:cxn>
                <a:cxn ang="0">
                  <a:pos x="connsiteX7013" y="connsiteY7013"/>
                </a:cxn>
                <a:cxn ang="0">
                  <a:pos x="connsiteX7014" y="connsiteY7014"/>
                </a:cxn>
                <a:cxn ang="0">
                  <a:pos x="connsiteX7015" y="connsiteY7015"/>
                </a:cxn>
                <a:cxn ang="0">
                  <a:pos x="connsiteX7016" y="connsiteY7016"/>
                </a:cxn>
                <a:cxn ang="0">
                  <a:pos x="connsiteX7017" y="connsiteY7017"/>
                </a:cxn>
                <a:cxn ang="0">
                  <a:pos x="connsiteX7018" y="connsiteY7018"/>
                </a:cxn>
                <a:cxn ang="0">
                  <a:pos x="connsiteX7019" y="connsiteY7019"/>
                </a:cxn>
                <a:cxn ang="0">
                  <a:pos x="connsiteX7020" y="connsiteY7020"/>
                </a:cxn>
                <a:cxn ang="0">
                  <a:pos x="connsiteX7021" y="connsiteY7021"/>
                </a:cxn>
                <a:cxn ang="0">
                  <a:pos x="connsiteX7022" y="connsiteY7022"/>
                </a:cxn>
                <a:cxn ang="0">
                  <a:pos x="connsiteX7023" y="connsiteY7023"/>
                </a:cxn>
                <a:cxn ang="0">
                  <a:pos x="connsiteX7024" y="connsiteY7024"/>
                </a:cxn>
                <a:cxn ang="0">
                  <a:pos x="connsiteX7025" y="connsiteY7025"/>
                </a:cxn>
                <a:cxn ang="0">
                  <a:pos x="connsiteX7026" y="connsiteY7026"/>
                </a:cxn>
                <a:cxn ang="0">
                  <a:pos x="connsiteX7027" y="connsiteY7027"/>
                </a:cxn>
                <a:cxn ang="0">
                  <a:pos x="connsiteX7028" y="connsiteY7028"/>
                </a:cxn>
                <a:cxn ang="0">
                  <a:pos x="connsiteX7029" y="connsiteY7029"/>
                </a:cxn>
                <a:cxn ang="0">
                  <a:pos x="connsiteX7030" y="connsiteY7030"/>
                </a:cxn>
                <a:cxn ang="0">
                  <a:pos x="connsiteX7031" y="connsiteY7031"/>
                </a:cxn>
                <a:cxn ang="0">
                  <a:pos x="connsiteX7032" y="connsiteY7032"/>
                </a:cxn>
                <a:cxn ang="0">
                  <a:pos x="connsiteX7033" y="connsiteY7033"/>
                </a:cxn>
                <a:cxn ang="0">
                  <a:pos x="connsiteX7034" y="connsiteY7034"/>
                </a:cxn>
                <a:cxn ang="0">
                  <a:pos x="connsiteX7035" y="connsiteY7035"/>
                </a:cxn>
                <a:cxn ang="0">
                  <a:pos x="connsiteX7036" y="connsiteY7036"/>
                </a:cxn>
                <a:cxn ang="0">
                  <a:pos x="connsiteX7037" y="connsiteY7037"/>
                </a:cxn>
                <a:cxn ang="0">
                  <a:pos x="connsiteX7038" y="connsiteY7038"/>
                </a:cxn>
                <a:cxn ang="0">
                  <a:pos x="connsiteX7039" y="connsiteY7039"/>
                </a:cxn>
                <a:cxn ang="0">
                  <a:pos x="connsiteX7040" y="connsiteY7040"/>
                </a:cxn>
                <a:cxn ang="0">
                  <a:pos x="connsiteX7041" y="connsiteY7041"/>
                </a:cxn>
                <a:cxn ang="0">
                  <a:pos x="connsiteX7042" y="connsiteY7042"/>
                </a:cxn>
                <a:cxn ang="0">
                  <a:pos x="connsiteX7043" y="connsiteY7043"/>
                </a:cxn>
                <a:cxn ang="0">
                  <a:pos x="connsiteX7044" y="connsiteY7044"/>
                </a:cxn>
                <a:cxn ang="0">
                  <a:pos x="connsiteX7045" y="connsiteY7045"/>
                </a:cxn>
                <a:cxn ang="0">
                  <a:pos x="connsiteX7046" y="connsiteY7046"/>
                </a:cxn>
                <a:cxn ang="0">
                  <a:pos x="connsiteX7047" y="connsiteY7047"/>
                </a:cxn>
                <a:cxn ang="0">
                  <a:pos x="connsiteX7048" y="connsiteY7048"/>
                </a:cxn>
                <a:cxn ang="0">
                  <a:pos x="connsiteX7049" y="connsiteY7049"/>
                </a:cxn>
                <a:cxn ang="0">
                  <a:pos x="connsiteX7050" y="connsiteY7050"/>
                </a:cxn>
                <a:cxn ang="0">
                  <a:pos x="connsiteX7051" y="connsiteY7051"/>
                </a:cxn>
                <a:cxn ang="0">
                  <a:pos x="connsiteX7052" y="connsiteY7052"/>
                </a:cxn>
                <a:cxn ang="0">
                  <a:pos x="connsiteX7053" y="connsiteY7053"/>
                </a:cxn>
                <a:cxn ang="0">
                  <a:pos x="connsiteX7054" y="connsiteY7054"/>
                </a:cxn>
                <a:cxn ang="0">
                  <a:pos x="connsiteX7055" y="connsiteY7055"/>
                </a:cxn>
                <a:cxn ang="0">
                  <a:pos x="connsiteX7056" y="connsiteY7056"/>
                </a:cxn>
                <a:cxn ang="0">
                  <a:pos x="connsiteX7057" y="connsiteY7057"/>
                </a:cxn>
                <a:cxn ang="0">
                  <a:pos x="connsiteX7058" y="connsiteY7058"/>
                </a:cxn>
                <a:cxn ang="0">
                  <a:pos x="connsiteX7059" y="connsiteY7059"/>
                </a:cxn>
                <a:cxn ang="0">
                  <a:pos x="connsiteX7060" y="connsiteY7060"/>
                </a:cxn>
                <a:cxn ang="0">
                  <a:pos x="connsiteX7061" y="connsiteY7061"/>
                </a:cxn>
                <a:cxn ang="0">
                  <a:pos x="connsiteX7062" y="connsiteY7062"/>
                </a:cxn>
                <a:cxn ang="0">
                  <a:pos x="connsiteX7063" y="connsiteY7063"/>
                </a:cxn>
                <a:cxn ang="0">
                  <a:pos x="connsiteX7064" y="connsiteY7064"/>
                </a:cxn>
                <a:cxn ang="0">
                  <a:pos x="connsiteX7065" y="connsiteY7065"/>
                </a:cxn>
                <a:cxn ang="0">
                  <a:pos x="connsiteX7066" y="connsiteY7066"/>
                </a:cxn>
                <a:cxn ang="0">
                  <a:pos x="connsiteX7067" y="connsiteY7067"/>
                </a:cxn>
                <a:cxn ang="0">
                  <a:pos x="connsiteX7068" y="connsiteY7068"/>
                </a:cxn>
                <a:cxn ang="0">
                  <a:pos x="connsiteX7069" y="connsiteY7069"/>
                </a:cxn>
                <a:cxn ang="0">
                  <a:pos x="connsiteX7070" y="connsiteY7070"/>
                </a:cxn>
                <a:cxn ang="0">
                  <a:pos x="connsiteX7071" y="connsiteY7071"/>
                </a:cxn>
                <a:cxn ang="0">
                  <a:pos x="connsiteX7072" y="connsiteY7072"/>
                </a:cxn>
                <a:cxn ang="0">
                  <a:pos x="connsiteX7073" y="connsiteY7073"/>
                </a:cxn>
                <a:cxn ang="0">
                  <a:pos x="connsiteX7074" y="connsiteY7074"/>
                </a:cxn>
                <a:cxn ang="0">
                  <a:pos x="connsiteX7075" y="connsiteY7075"/>
                </a:cxn>
                <a:cxn ang="0">
                  <a:pos x="connsiteX7076" y="connsiteY7076"/>
                </a:cxn>
                <a:cxn ang="0">
                  <a:pos x="connsiteX7077" y="connsiteY7077"/>
                </a:cxn>
                <a:cxn ang="0">
                  <a:pos x="connsiteX7078" y="connsiteY7078"/>
                </a:cxn>
                <a:cxn ang="0">
                  <a:pos x="connsiteX7079" y="connsiteY7079"/>
                </a:cxn>
                <a:cxn ang="0">
                  <a:pos x="connsiteX7080" y="connsiteY7080"/>
                </a:cxn>
                <a:cxn ang="0">
                  <a:pos x="connsiteX7081" y="connsiteY7081"/>
                </a:cxn>
                <a:cxn ang="0">
                  <a:pos x="connsiteX7082" y="connsiteY7082"/>
                </a:cxn>
                <a:cxn ang="0">
                  <a:pos x="connsiteX7083" y="connsiteY7083"/>
                </a:cxn>
                <a:cxn ang="0">
                  <a:pos x="connsiteX7084" y="connsiteY7084"/>
                </a:cxn>
                <a:cxn ang="0">
                  <a:pos x="connsiteX7085" y="connsiteY7085"/>
                </a:cxn>
                <a:cxn ang="0">
                  <a:pos x="connsiteX7086" y="connsiteY7086"/>
                </a:cxn>
                <a:cxn ang="0">
                  <a:pos x="connsiteX7087" y="connsiteY7087"/>
                </a:cxn>
                <a:cxn ang="0">
                  <a:pos x="connsiteX7088" y="connsiteY7088"/>
                </a:cxn>
                <a:cxn ang="0">
                  <a:pos x="connsiteX7089" y="connsiteY7089"/>
                </a:cxn>
                <a:cxn ang="0">
                  <a:pos x="connsiteX7090" y="connsiteY7090"/>
                </a:cxn>
                <a:cxn ang="0">
                  <a:pos x="connsiteX7091" y="connsiteY7091"/>
                </a:cxn>
                <a:cxn ang="0">
                  <a:pos x="connsiteX7092" y="connsiteY7092"/>
                </a:cxn>
                <a:cxn ang="0">
                  <a:pos x="connsiteX7093" y="connsiteY7093"/>
                </a:cxn>
                <a:cxn ang="0">
                  <a:pos x="connsiteX7094" y="connsiteY7094"/>
                </a:cxn>
                <a:cxn ang="0">
                  <a:pos x="connsiteX7095" y="connsiteY7095"/>
                </a:cxn>
                <a:cxn ang="0">
                  <a:pos x="connsiteX7096" y="connsiteY7096"/>
                </a:cxn>
                <a:cxn ang="0">
                  <a:pos x="connsiteX7097" y="connsiteY7097"/>
                </a:cxn>
                <a:cxn ang="0">
                  <a:pos x="connsiteX7098" y="connsiteY7098"/>
                </a:cxn>
                <a:cxn ang="0">
                  <a:pos x="connsiteX7099" y="connsiteY7099"/>
                </a:cxn>
                <a:cxn ang="0">
                  <a:pos x="connsiteX7100" y="connsiteY7100"/>
                </a:cxn>
                <a:cxn ang="0">
                  <a:pos x="connsiteX7101" y="connsiteY7101"/>
                </a:cxn>
                <a:cxn ang="0">
                  <a:pos x="connsiteX7102" y="connsiteY7102"/>
                </a:cxn>
                <a:cxn ang="0">
                  <a:pos x="connsiteX7103" y="connsiteY7103"/>
                </a:cxn>
                <a:cxn ang="0">
                  <a:pos x="connsiteX7104" y="connsiteY7104"/>
                </a:cxn>
                <a:cxn ang="0">
                  <a:pos x="connsiteX7105" y="connsiteY7105"/>
                </a:cxn>
                <a:cxn ang="0">
                  <a:pos x="connsiteX7106" y="connsiteY7106"/>
                </a:cxn>
                <a:cxn ang="0">
                  <a:pos x="connsiteX7107" y="connsiteY7107"/>
                </a:cxn>
                <a:cxn ang="0">
                  <a:pos x="connsiteX7108" y="connsiteY7108"/>
                </a:cxn>
                <a:cxn ang="0">
                  <a:pos x="connsiteX7109" y="connsiteY7109"/>
                </a:cxn>
                <a:cxn ang="0">
                  <a:pos x="connsiteX7110" y="connsiteY7110"/>
                </a:cxn>
                <a:cxn ang="0">
                  <a:pos x="connsiteX7111" y="connsiteY7111"/>
                </a:cxn>
                <a:cxn ang="0">
                  <a:pos x="connsiteX7112" y="connsiteY7112"/>
                </a:cxn>
                <a:cxn ang="0">
                  <a:pos x="connsiteX7113" y="connsiteY7113"/>
                </a:cxn>
                <a:cxn ang="0">
                  <a:pos x="connsiteX7114" y="connsiteY7114"/>
                </a:cxn>
                <a:cxn ang="0">
                  <a:pos x="connsiteX7115" y="connsiteY7115"/>
                </a:cxn>
                <a:cxn ang="0">
                  <a:pos x="connsiteX7116" y="connsiteY7116"/>
                </a:cxn>
                <a:cxn ang="0">
                  <a:pos x="connsiteX7117" y="connsiteY7117"/>
                </a:cxn>
                <a:cxn ang="0">
                  <a:pos x="connsiteX7118" y="connsiteY7118"/>
                </a:cxn>
                <a:cxn ang="0">
                  <a:pos x="connsiteX7119" y="connsiteY7119"/>
                </a:cxn>
                <a:cxn ang="0">
                  <a:pos x="connsiteX7120" y="connsiteY7120"/>
                </a:cxn>
                <a:cxn ang="0">
                  <a:pos x="connsiteX7121" y="connsiteY7121"/>
                </a:cxn>
                <a:cxn ang="0">
                  <a:pos x="connsiteX7122" y="connsiteY7122"/>
                </a:cxn>
                <a:cxn ang="0">
                  <a:pos x="connsiteX7123" y="connsiteY7123"/>
                </a:cxn>
                <a:cxn ang="0">
                  <a:pos x="connsiteX7124" y="connsiteY7124"/>
                </a:cxn>
                <a:cxn ang="0">
                  <a:pos x="connsiteX7125" y="connsiteY7125"/>
                </a:cxn>
                <a:cxn ang="0">
                  <a:pos x="connsiteX7126" y="connsiteY7126"/>
                </a:cxn>
                <a:cxn ang="0">
                  <a:pos x="connsiteX7127" y="connsiteY7127"/>
                </a:cxn>
                <a:cxn ang="0">
                  <a:pos x="connsiteX7128" y="connsiteY7128"/>
                </a:cxn>
                <a:cxn ang="0">
                  <a:pos x="connsiteX7129" y="connsiteY7129"/>
                </a:cxn>
                <a:cxn ang="0">
                  <a:pos x="connsiteX7130" y="connsiteY7130"/>
                </a:cxn>
                <a:cxn ang="0">
                  <a:pos x="connsiteX7131" y="connsiteY7131"/>
                </a:cxn>
                <a:cxn ang="0">
                  <a:pos x="connsiteX7132" y="connsiteY7132"/>
                </a:cxn>
                <a:cxn ang="0">
                  <a:pos x="connsiteX7133" y="connsiteY7133"/>
                </a:cxn>
                <a:cxn ang="0">
                  <a:pos x="connsiteX7134" y="connsiteY7134"/>
                </a:cxn>
                <a:cxn ang="0">
                  <a:pos x="connsiteX7135" y="connsiteY7135"/>
                </a:cxn>
                <a:cxn ang="0">
                  <a:pos x="connsiteX7136" y="connsiteY7136"/>
                </a:cxn>
                <a:cxn ang="0">
                  <a:pos x="connsiteX7137" y="connsiteY7137"/>
                </a:cxn>
                <a:cxn ang="0">
                  <a:pos x="connsiteX7138" y="connsiteY7138"/>
                </a:cxn>
                <a:cxn ang="0">
                  <a:pos x="connsiteX7139" y="connsiteY7139"/>
                </a:cxn>
                <a:cxn ang="0">
                  <a:pos x="connsiteX7140" y="connsiteY7140"/>
                </a:cxn>
                <a:cxn ang="0">
                  <a:pos x="connsiteX7141" y="connsiteY7141"/>
                </a:cxn>
                <a:cxn ang="0">
                  <a:pos x="connsiteX7142" y="connsiteY7142"/>
                </a:cxn>
                <a:cxn ang="0">
                  <a:pos x="connsiteX7143" y="connsiteY7143"/>
                </a:cxn>
                <a:cxn ang="0">
                  <a:pos x="connsiteX7144" y="connsiteY7144"/>
                </a:cxn>
                <a:cxn ang="0">
                  <a:pos x="connsiteX7145" y="connsiteY7145"/>
                </a:cxn>
                <a:cxn ang="0">
                  <a:pos x="connsiteX7146" y="connsiteY7146"/>
                </a:cxn>
                <a:cxn ang="0">
                  <a:pos x="connsiteX7147" y="connsiteY7147"/>
                </a:cxn>
                <a:cxn ang="0">
                  <a:pos x="connsiteX7148" y="connsiteY7148"/>
                </a:cxn>
                <a:cxn ang="0">
                  <a:pos x="connsiteX7149" y="connsiteY7149"/>
                </a:cxn>
                <a:cxn ang="0">
                  <a:pos x="connsiteX7150" y="connsiteY7150"/>
                </a:cxn>
                <a:cxn ang="0">
                  <a:pos x="connsiteX7151" y="connsiteY7151"/>
                </a:cxn>
                <a:cxn ang="0">
                  <a:pos x="connsiteX7152" y="connsiteY7152"/>
                </a:cxn>
                <a:cxn ang="0">
                  <a:pos x="connsiteX7153" y="connsiteY7153"/>
                </a:cxn>
                <a:cxn ang="0">
                  <a:pos x="connsiteX7154" y="connsiteY7154"/>
                </a:cxn>
                <a:cxn ang="0">
                  <a:pos x="connsiteX7155" y="connsiteY7155"/>
                </a:cxn>
                <a:cxn ang="0">
                  <a:pos x="connsiteX7156" y="connsiteY7156"/>
                </a:cxn>
                <a:cxn ang="0">
                  <a:pos x="connsiteX7157" y="connsiteY7157"/>
                </a:cxn>
                <a:cxn ang="0">
                  <a:pos x="connsiteX7158" y="connsiteY7158"/>
                </a:cxn>
                <a:cxn ang="0">
                  <a:pos x="connsiteX7159" y="connsiteY7159"/>
                </a:cxn>
                <a:cxn ang="0">
                  <a:pos x="connsiteX7160" y="connsiteY7160"/>
                </a:cxn>
                <a:cxn ang="0">
                  <a:pos x="connsiteX7161" y="connsiteY7161"/>
                </a:cxn>
                <a:cxn ang="0">
                  <a:pos x="connsiteX7162" y="connsiteY7162"/>
                </a:cxn>
                <a:cxn ang="0">
                  <a:pos x="connsiteX7163" y="connsiteY7163"/>
                </a:cxn>
                <a:cxn ang="0">
                  <a:pos x="connsiteX7164" y="connsiteY7164"/>
                </a:cxn>
                <a:cxn ang="0">
                  <a:pos x="connsiteX7165" y="connsiteY7165"/>
                </a:cxn>
                <a:cxn ang="0">
                  <a:pos x="connsiteX7166" y="connsiteY7166"/>
                </a:cxn>
                <a:cxn ang="0">
                  <a:pos x="connsiteX7167" y="connsiteY7167"/>
                </a:cxn>
                <a:cxn ang="0">
                  <a:pos x="connsiteX7168" y="connsiteY7168"/>
                </a:cxn>
                <a:cxn ang="0">
                  <a:pos x="connsiteX7169" y="connsiteY7169"/>
                </a:cxn>
                <a:cxn ang="0">
                  <a:pos x="connsiteX7170" y="connsiteY7170"/>
                </a:cxn>
                <a:cxn ang="0">
                  <a:pos x="connsiteX7171" y="connsiteY7171"/>
                </a:cxn>
                <a:cxn ang="0">
                  <a:pos x="connsiteX7172" y="connsiteY7172"/>
                </a:cxn>
                <a:cxn ang="0">
                  <a:pos x="connsiteX7173" y="connsiteY7173"/>
                </a:cxn>
                <a:cxn ang="0">
                  <a:pos x="connsiteX7174" y="connsiteY7174"/>
                </a:cxn>
                <a:cxn ang="0">
                  <a:pos x="connsiteX7175" y="connsiteY7175"/>
                </a:cxn>
                <a:cxn ang="0">
                  <a:pos x="connsiteX7176" y="connsiteY7176"/>
                </a:cxn>
                <a:cxn ang="0">
                  <a:pos x="connsiteX7177" y="connsiteY7177"/>
                </a:cxn>
                <a:cxn ang="0">
                  <a:pos x="connsiteX7178" y="connsiteY7178"/>
                </a:cxn>
                <a:cxn ang="0">
                  <a:pos x="connsiteX7179" y="connsiteY7179"/>
                </a:cxn>
                <a:cxn ang="0">
                  <a:pos x="connsiteX7180" y="connsiteY7180"/>
                </a:cxn>
                <a:cxn ang="0">
                  <a:pos x="connsiteX7181" y="connsiteY7181"/>
                </a:cxn>
                <a:cxn ang="0">
                  <a:pos x="connsiteX7182" y="connsiteY7182"/>
                </a:cxn>
                <a:cxn ang="0">
                  <a:pos x="connsiteX7183" y="connsiteY7183"/>
                </a:cxn>
                <a:cxn ang="0">
                  <a:pos x="connsiteX7184" y="connsiteY7184"/>
                </a:cxn>
                <a:cxn ang="0">
                  <a:pos x="connsiteX7185" y="connsiteY7185"/>
                </a:cxn>
                <a:cxn ang="0">
                  <a:pos x="connsiteX7186" y="connsiteY7186"/>
                </a:cxn>
                <a:cxn ang="0">
                  <a:pos x="connsiteX7187" y="connsiteY7187"/>
                </a:cxn>
                <a:cxn ang="0">
                  <a:pos x="connsiteX7188" y="connsiteY7188"/>
                </a:cxn>
                <a:cxn ang="0">
                  <a:pos x="connsiteX7189" y="connsiteY7189"/>
                </a:cxn>
                <a:cxn ang="0">
                  <a:pos x="connsiteX7190" y="connsiteY7190"/>
                </a:cxn>
                <a:cxn ang="0">
                  <a:pos x="connsiteX7191" y="connsiteY7191"/>
                </a:cxn>
                <a:cxn ang="0">
                  <a:pos x="connsiteX7192" y="connsiteY7192"/>
                </a:cxn>
                <a:cxn ang="0">
                  <a:pos x="connsiteX7193" y="connsiteY7193"/>
                </a:cxn>
                <a:cxn ang="0">
                  <a:pos x="connsiteX7194" y="connsiteY7194"/>
                </a:cxn>
                <a:cxn ang="0">
                  <a:pos x="connsiteX7195" y="connsiteY7195"/>
                </a:cxn>
                <a:cxn ang="0">
                  <a:pos x="connsiteX7196" y="connsiteY7196"/>
                </a:cxn>
                <a:cxn ang="0">
                  <a:pos x="connsiteX7197" y="connsiteY7197"/>
                </a:cxn>
                <a:cxn ang="0">
                  <a:pos x="connsiteX7198" y="connsiteY7198"/>
                </a:cxn>
                <a:cxn ang="0">
                  <a:pos x="connsiteX7199" y="connsiteY7199"/>
                </a:cxn>
                <a:cxn ang="0">
                  <a:pos x="connsiteX7200" y="connsiteY7200"/>
                </a:cxn>
                <a:cxn ang="0">
                  <a:pos x="connsiteX7201" y="connsiteY7201"/>
                </a:cxn>
                <a:cxn ang="0">
                  <a:pos x="connsiteX7202" y="connsiteY7202"/>
                </a:cxn>
                <a:cxn ang="0">
                  <a:pos x="connsiteX7203" y="connsiteY7203"/>
                </a:cxn>
                <a:cxn ang="0">
                  <a:pos x="connsiteX7204" y="connsiteY7204"/>
                </a:cxn>
                <a:cxn ang="0">
                  <a:pos x="connsiteX7205" y="connsiteY7205"/>
                </a:cxn>
                <a:cxn ang="0">
                  <a:pos x="connsiteX7206" y="connsiteY7206"/>
                </a:cxn>
                <a:cxn ang="0">
                  <a:pos x="connsiteX7207" y="connsiteY7207"/>
                </a:cxn>
                <a:cxn ang="0">
                  <a:pos x="connsiteX7208" y="connsiteY7208"/>
                </a:cxn>
                <a:cxn ang="0">
                  <a:pos x="connsiteX7209" y="connsiteY7209"/>
                </a:cxn>
                <a:cxn ang="0">
                  <a:pos x="connsiteX7210" y="connsiteY7210"/>
                </a:cxn>
                <a:cxn ang="0">
                  <a:pos x="connsiteX7211" y="connsiteY7211"/>
                </a:cxn>
                <a:cxn ang="0">
                  <a:pos x="connsiteX7212" y="connsiteY7212"/>
                </a:cxn>
                <a:cxn ang="0">
                  <a:pos x="connsiteX7213" y="connsiteY7213"/>
                </a:cxn>
                <a:cxn ang="0">
                  <a:pos x="connsiteX7214" y="connsiteY7214"/>
                </a:cxn>
                <a:cxn ang="0">
                  <a:pos x="connsiteX7215" y="connsiteY7215"/>
                </a:cxn>
                <a:cxn ang="0">
                  <a:pos x="connsiteX7216" y="connsiteY7216"/>
                </a:cxn>
                <a:cxn ang="0">
                  <a:pos x="connsiteX7217" y="connsiteY7217"/>
                </a:cxn>
                <a:cxn ang="0">
                  <a:pos x="connsiteX7218" y="connsiteY7218"/>
                </a:cxn>
                <a:cxn ang="0">
                  <a:pos x="connsiteX7219" y="connsiteY7219"/>
                </a:cxn>
                <a:cxn ang="0">
                  <a:pos x="connsiteX7220" y="connsiteY7220"/>
                </a:cxn>
                <a:cxn ang="0">
                  <a:pos x="connsiteX7221" y="connsiteY7221"/>
                </a:cxn>
                <a:cxn ang="0">
                  <a:pos x="connsiteX7222" y="connsiteY7222"/>
                </a:cxn>
                <a:cxn ang="0">
                  <a:pos x="connsiteX7223" y="connsiteY7223"/>
                </a:cxn>
                <a:cxn ang="0">
                  <a:pos x="connsiteX7224" y="connsiteY7224"/>
                </a:cxn>
                <a:cxn ang="0">
                  <a:pos x="connsiteX7225" y="connsiteY7225"/>
                </a:cxn>
                <a:cxn ang="0">
                  <a:pos x="connsiteX7226" y="connsiteY7226"/>
                </a:cxn>
                <a:cxn ang="0">
                  <a:pos x="connsiteX7227" y="connsiteY7227"/>
                </a:cxn>
                <a:cxn ang="0">
                  <a:pos x="connsiteX7228" y="connsiteY7228"/>
                </a:cxn>
                <a:cxn ang="0">
                  <a:pos x="connsiteX7229" y="connsiteY7229"/>
                </a:cxn>
                <a:cxn ang="0">
                  <a:pos x="connsiteX7230" y="connsiteY7230"/>
                </a:cxn>
                <a:cxn ang="0">
                  <a:pos x="connsiteX7231" y="connsiteY7231"/>
                </a:cxn>
                <a:cxn ang="0">
                  <a:pos x="connsiteX7232" y="connsiteY7232"/>
                </a:cxn>
                <a:cxn ang="0">
                  <a:pos x="connsiteX7233" y="connsiteY7233"/>
                </a:cxn>
                <a:cxn ang="0">
                  <a:pos x="connsiteX7234" y="connsiteY7234"/>
                </a:cxn>
                <a:cxn ang="0">
                  <a:pos x="connsiteX7235" y="connsiteY7235"/>
                </a:cxn>
                <a:cxn ang="0">
                  <a:pos x="connsiteX7236" y="connsiteY7236"/>
                </a:cxn>
                <a:cxn ang="0">
                  <a:pos x="connsiteX7237" y="connsiteY7237"/>
                </a:cxn>
                <a:cxn ang="0">
                  <a:pos x="connsiteX7238" y="connsiteY7238"/>
                </a:cxn>
                <a:cxn ang="0">
                  <a:pos x="connsiteX7239" y="connsiteY7239"/>
                </a:cxn>
                <a:cxn ang="0">
                  <a:pos x="connsiteX7240" y="connsiteY7240"/>
                </a:cxn>
                <a:cxn ang="0">
                  <a:pos x="connsiteX7241" y="connsiteY7241"/>
                </a:cxn>
                <a:cxn ang="0">
                  <a:pos x="connsiteX7242" y="connsiteY7242"/>
                </a:cxn>
                <a:cxn ang="0">
                  <a:pos x="connsiteX7243" y="connsiteY7243"/>
                </a:cxn>
                <a:cxn ang="0">
                  <a:pos x="connsiteX7244" y="connsiteY7244"/>
                </a:cxn>
                <a:cxn ang="0">
                  <a:pos x="connsiteX7245" y="connsiteY7245"/>
                </a:cxn>
                <a:cxn ang="0">
                  <a:pos x="connsiteX7246" y="connsiteY7246"/>
                </a:cxn>
                <a:cxn ang="0">
                  <a:pos x="connsiteX7247" y="connsiteY7247"/>
                </a:cxn>
                <a:cxn ang="0">
                  <a:pos x="connsiteX7248" y="connsiteY7248"/>
                </a:cxn>
                <a:cxn ang="0">
                  <a:pos x="connsiteX7249" y="connsiteY7249"/>
                </a:cxn>
                <a:cxn ang="0">
                  <a:pos x="connsiteX7250" y="connsiteY7250"/>
                </a:cxn>
                <a:cxn ang="0">
                  <a:pos x="connsiteX7251" y="connsiteY7251"/>
                </a:cxn>
                <a:cxn ang="0">
                  <a:pos x="connsiteX7252" y="connsiteY7252"/>
                </a:cxn>
                <a:cxn ang="0">
                  <a:pos x="connsiteX7253" y="connsiteY7253"/>
                </a:cxn>
                <a:cxn ang="0">
                  <a:pos x="connsiteX7254" y="connsiteY7254"/>
                </a:cxn>
                <a:cxn ang="0">
                  <a:pos x="connsiteX7255" y="connsiteY7255"/>
                </a:cxn>
                <a:cxn ang="0">
                  <a:pos x="connsiteX7256" y="connsiteY7256"/>
                </a:cxn>
                <a:cxn ang="0">
                  <a:pos x="connsiteX7257" y="connsiteY7257"/>
                </a:cxn>
                <a:cxn ang="0">
                  <a:pos x="connsiteX7258" y="connsiteY7258"/>
                </a:cxn>
                <a:cxn ang="0">
                  <a:pos x="connsiteX7259" y="connsiteY7259"/>
                </a:cxn>
                <a:cxn ang="0">
                  <a:pos x="connsiteX7260" y="connsiteY7260"/>
                </a:cxn>
                <a:cxn ang="0">
                  <a:pos x="connsiteX7261" y="connsiteY7261"/>
                </a:cxn>
                <a:cxn ang="0">
                  <a:pos x="connsiteX7262" y="connsiteY7262"/>
                </a:cxn>
                <a:cxn ang="0">
                  <a:pos x="connsiteX7263" y="connsiteY7263"/>
                </a:cxn>
                <a:cxn ang="0">
                  <a:pos x="connsiteX7264" y="connsiteY7264"/>
                </a:cxn>
                <a:cxn ang="0">
                  <a:pos x="connsiteX7265" y="connsiteY7265"/>
                </a:cxn>
                <a:cxn ang="0">
                  <a:pos x="connsiteX7266" y="connsiteY7266"/>
                </a:cxn>
                <a:cxn ang="0">
                  <a:pos x="connsiteX7267" y="connsiteY7267"/>
                </a:cxn>
                <a:cxn ang="0">
                  <a:pos x="connsiteX7268" y="connsiteY7268"/>
                </a:cxn>
                <a:cxn ang="0">
                  <a:pos x="connsiteX7269" y="connsiteY7269"/>
                </a:cxn>
                <a:cxn ang="0">
                  <a:pos x="connsiteX7270" y="connsiteY7270"/>
                </a:cxn>
                <a:cxn ang="0">
                  <a:pos x="connsiteX7271" y="connsiteY7271"/>
                </a:cxn>
                <a:cxn ang="0">
                  <a:pos x="connsiteX7272" y="connsiteY7272"/>
                </a:cxn>
                <a:cxn ang="0">
                  <a:pos x="connsiteX7273" y="connsiteY7273"/>
                </a:cxn>
                <a:cxn ang="0">
                  <a:pos x="connsiteX7274" y="connsiteY7274"/>
                </a:cxn>
                <a:cxn ang="0">
                  <a:pos x="connsiteX7275" y="connsiteY7275"/>
                </a:cxn>
                <a:cxn ang="0">
                  <a:pos x="connsiteX7276" y="connsiteY7276"/>
                </a:cxn>
                <a:cxn ang="0">
                  <a:pos x="connsiteX7277" y="connsiteY7277"/>
                </a:cxn>
                <a:cxn ang="0">
                  <a:pos x="connsiteX7278" y="connsiteY7278"/>
                </a:cxn>
                <a:cxn ang="0">
                  <a:pos x="connsiteX7279" y="connsiteY7279"/>
                </a:cxn>
                <a:cxn ang="0">
                  <a:pos x="connsiteX7280" y="connsiteY7280"/>
                </a:cxn>
                <a:cxn ang="0">
                  <a:pos x="connsiteX7281" y="connsiteY7281"/>
                </a:cxn>
                <a:cxn ang="0">
                  <a:pos x="connsiteX7282" y="connsiteY7282"/>
                </a:cxn>
                <a:cxn ang="0">
                  <a:pos x="connsiteX7283" y="connsiteY7283"/>
                </a:cxn>
                <a:cxn ang="0">
                  <a:pos x="connsiteX7284" y="connsiteY7284"/>
                </a:cxn>
                <a:cxn ang="0">
                  <a:pos x="connsiteX7285" y="connsiteY7285"/>
                </a:cxn>
                <a:cxn ang="0">
                  <a:pos x="connsiteX7286" y="connsiteY7286"/>
                </a:cxn>
                <a:cxn ang="0">
                  <a:pos x="connsiteX7287" y="connsiteY7287"/>
                </a:cxn>
                <a:cxn ang="0">
                  <a:pos x="connsiteX7288" y="connsiteY7288"/>
                </a:cxn>
                <a:cxn ang="0">
                  <a:pos x="connsiteX7289" y="connsiteY7289"/>
                </a:cxn>
                <a:cxn ang="0">
                  <a:pos x="connsiteX7290" y="connsiteY7290"/>
                </a:cxn>
                <a:cxn ang="0">
                  <a:pos x="connsiteX7291" y="connsiteY7291"/>
                </a:cxn>
                <a:cxn ang="0">
                  <a:pos x="connsiteX7292" y="connsiteY7292"/>
                </a:cxn>
                <a:cxn ang="0">
                  <a:pos x="connsiteX7293" y="connsiteY7293"/>
                </a:cxn>
                <a:cxn ang="0">
                  <a:pos x="connsiteX7294" y="connsiteY7294"/>
                </a:cxn>
                <a:cxn ang="0">
                  <a:pos x="connsiteX7295" y="connsiteY7295"/>
                </a:cxn>
                <a:cxn ang="0">
                  <a:pos x="connsiteX7296" y="connsiteY7296"/>
                </a:cxn>
                <a:cxn ang="0">
                  <a:pos x="connsiteX7297" y="connsiteY7297"/>
                </a:cxn>
                <a:cxn ang="0">
                  <a:pos x="connsiteX7298" y="connsiteY7298"/>
                </a:cxn>
                <a:cxn ang="0">
                  <a:pos x="connsiteX7299" y="connsiteY7299"/>
                </a:cxn>
                <a:cxn ang="0">
                  <a:pos x="connsiteX7300" y="connsiteY7300"/>
                </a:cxn>
                <a:cxn ang="0">
                  <a:pos x="connsiteX7301" y="connsiteY7301"/>
                </a:cxn>
                <a:cxn ang="0">
                  <a:pos x="connsiteX7302" y="connsiteY7302"/>
                </a:cxn>
                <a:cxn ang="0">
                  <a:pos x="connsiteX7303" y="connsiteY7303"/>
                </a:cxn>
                <a:cxn ang="0">
                  <a:pos x="connsiteX7304" y="connsiteY7304"/>
                </a:cxn>
                <a:cxn ang="0">
                  <a:pos x="connsiteX7305" y="connsiteY7305"/>
                </a:cxn>
                <a:cxn ang="0">
                  <a:pos x="connsiteX7306" y="connsiteY7306"/>
                </a:cxn>
                <a:cxn ang="0">
                  <a:pos x="connsiteX7307" y="connsiteY7307"/>
                </a:cxn>
                <a:cxn ang="0">
                  <a:pos x="connsiteX7308" y="connsiteY7308"/>
                </a:cxn>
                <a:cxn ang="0">
                  <a:pos x="connsiteX7309" y="connsiteY7309"/>
                </a:cxn>
                <a:cxn ang="0">
                  <a:pos x="connsiteX7310" y="connsiteY7310"/>
                </a:cxn>
                <a:cxn ang="0">
                  <a:pos x="connsiteX7311" y="connsiteY7311"/>
                </a:cxn>
                <a:cxn ang="0">
                  <a:pos x="connsiteX7312" y="connsiteY7312"/>
                </a:cxn>
                <a:cxn ang="0">
                  <a:pos x="connsiteX7313" y="connsiteY7313"/>
                </a:cxn>
                <a:cxn ang="0">
                  <a:pos x="connsiteX7314" y="connsiteY7314"/>
                </a:cxn>
                <a:cxn ang="0">
                  <a:pos x="connsiteX7315" y="connsiteY7315"/>
                </a:cxn>
                <a:cxn ang="0">
                  <a:pos x="connsiteX7316" y="connsiteY7316"/>
                </a:cxn>
                <a:cxn ang="0">
                  <a:pos x="connsiteX7317" y="connsiteY7317"/>
                </a:cxn>
                <a:cxn ang="0">
                  <a:pos x="connsiteX7318" y="connsiteY7318"/>
                </a:cxn>
                <a:cxn ang="0">
                  <a:pos x="connsiteX7319" y="connsiteY7319"/>
                </a:cxn>
                <a:cxn ang="0">
                  <a:pos x="connsiteX7320" y="connsiteY7320"/>
                </a:cxn>
                <a:cxn ang="0">
                  <a:pos x="connsiteX7321" y="connsiteY7321"/>
                </a:cxn>
                <a:cxn ang="0">
                  <a:pos x="connsiteX7322" y="connsiteY7322"/>
                </a:cxn>
                <a:cxn ang="0">
                  <a:pos x="connsiteX7323" y="connsiteY7323"/>
                </a:cxn>
                <a:cxn ang="0">
                  <a:pos x="connsiteX7324" y="connsiteY7324"/>
                </a:cxn>
                <a:cxn ang="0">
                  <a:pos x="connsiteX7325" y="connsiteY7325"/>
                </a:cxn>
                <a:cxn ang="0">
                  <a:pos x="connsiteX7326" y="connsiteY7326"/>
                </a:cxn>
                <a:cxn ang="0">
                  <a:pos x="connsiteX7327" y="connsiteY7327"/>
                </a:cxn>
                <a:cxn ang="0">
                  <a:pos x="connsiteX7328" y="connsiteY7328"/>
                </a:cxn>
                <a:cxn ang="0">
                  <a:pos x="connsiteX7329" y="connsiteY7329"/>
                </a:cxn>
                <a:cxn ang="0">
                  <a:pos x="connsiteX7330" y="connsiteY7330"/>
                </a:cxn>
                <a:cxn ang="0">
                  <a:pos x="connsiteX7331" y="connsiteY7331"/>
                </a:cxn>
                <a:cxn ang="0">
                  <a:pos x="connsiteX7332" y="connsiteY7332"/>
                </a:cxn>
                <a:cxn ang="0">
                  <a:pos x="connsiteX7333" y="connsiteY7333"/>
                </a:cxn>
                <a:cxn ang="0">
                  <a:pos x="connsiteX7334" y="connsiteY7334"/>
                </a:cxn>
                <a:cxn ang="0">
                  <a:pos x="connsiteX7335" y="connsiteY7335"/>
                </a:cxn>
                <a:cxn ang="0">
                  <a:pos x="connsiteX7336" y="connsiteY7336"/>
                </a:cxn>
                <a:cxn ang="0">
                  <a:pos x="connsiteX7337" y="connsiteY7337"/>
                </a:cxn>
                <a:cxn ang="0">
                  <a:pos x="connsiteX7338" y="connsiteY7338"/>
                </a:cxn>
                <a:cxn ang="0">
                  <a:pos x="connsiteX7339" y="connsiteY7339"/>
                </a:cxn>
                <a:cxn ang="0">
                  <a:pos x="connsiteX7340" y="connsiteY7340"/>
                </a:cxn>
                <a:cxn ang="0">
                  <a:pos x="connsiteX7341" y="connsiteY7341"/>
                </a:cxn>
                <a:cxn ang="0">
                  <a:pos x="connsiteX7342" y="connsiteY7342"/>
                </a:cxn>
                <a:cxn ang="0">
                  <a:pos x="connsiteX7343" y="connsiteY7343"/>
                </a:cxn>
                <a:cxn ang="0">
                  <a:pos x="connsiteX7344" y="connsiteY7344"/>
                </a:cxn>
                <a:cxn ang="0">
                  <a:pos x="connsiteX7345" y="connsiteY7345"/>
                </a:cxn>
                <a:cxn ang="0">
                  <a:pos x="connsiteX7346" y="connsiteY7346"/>
                </a:cxn>
                <a:cxn ang="0">
                  <a:pos x="connsiteX7347" y="connsiteY7347"/>
                </a:cxn>
                <a:cxn ang="0">
                  <a:pos x="connsiteX7348" y="connsiteY7348"/>
                </a:cxn>
                <a:cxn ang="0">
                  <a:pos x="connsiteX7349" y="connsiteY7349"/>
                </a:cxn>
                <a:cxn ang="0">
                  <a:pos x="connsiteX7350" y="connsiteY7350"/>
                </a:cxn>
                <a:cxn ang="0">
                  <a:pos x="connsiteX7351" y="connsiteY7351"/>
                </a:cxn>
                <a:cxn ang="0">
                  <a:pos x="connsiteX7352" y="connsiteY7352"/>
                </a:cxn>
                <a:cxn ang="0">
                  <a:pos x="connsiteX7353" y="connsiteY7353"/>
                </a:cxn>
                <a:cxn ang="0">
                  <a:pos x="connsiteX7354" y="connsiteY7354"/>
                </a:cxn>
                <a:cxn ang="0">
                  <a:pos x="connsiteX7355" y="connsiteY7355"/>
                </a:cxn>
                <a:cxn ang="0">
                  <a:pos x="connsiteX7356" y="connsiteY7356"/>
                </a:cxn>
                <a:cxn ang="0">
                  <a:pos x="connsiteX7357" y="connsiteY7357"/>
                </a:cxn>
                <a:cxn ang="0">
                  <a:pos x="connsiteX7358" y="connsiteY7358"/>
                </a:cxn>
                <a:cxn ang="0">
                  <a:pos x="connsiteX7359" y="connsiteY7359"/>
                </a:cxn>
                <a:cxn ang="0">
                  <a:pos x="connsiteX7360" y="connsiteY7360"/>
                </a:cxn>
                <a:cxn ang="0">
                  <a:pos x="connsiteX7361" y="connsiteY7361"/>
                </a:cxn>
                <a:cxn ang="0">
                  <a:pos x="connsiteX7362" y="connsiteY7362"/>
                </a:cxn>
                <a:cxn ang="0">
                  <a:pos x="connsiteX7363" y="connsiteY7363"/>
                </a:cxn>
                <a:cxn ang="0">
                  <a:pos x="connsiteX7364" y="connsiteY7364"/>
                </a:cxn>
                <a:cxn ang="0">
                  <a:pos x="connsiteX7365" y="connsiteY7365"/>
                </a:cxn>
                <a:cxn ang="0">
                  <a:pos x="connsiteX7366" y="connsiteY7366"/>
                </a:cxn>
                <a:cxn ang="0">
                  <a:pos x="connsiteX7367" y="connsiteY7367"/>
                </a:cxn>
                <a:cxn ang="0">
                  <a:pos x="connsiteX7368" y="connsiteY7368"/>
                </a:cxn>
                <a:cxn ang="0">
                  <a:pos x="connsiteX7369" y="connsiteY7369"/>
                </a:cxn>
                <a:cxn ang="0">
                  <a:pos x="connsiteX7370" y="connsiteY7370"/>
                </a:cxn>
                <a:cxn ang="0">
                  <a:pos x="connsiteX7371" y="connsiteY7371"/>
                </a:cxn>
                <a:cxn ang="0">
                  <a:pos x="connsiteX7372" y="connsiteY7372"/>
                </a:cxn>
                <a:cxn ang="0">
                  <a:pos x="connsiteX7373" y="connsiteY7373"/>
                </a:cxn>
                <a:cxn ang="0">
                  <a:pos x="connsiteX7374" y="connsiteY7374"/>
                </a:cxn>
                <a:cxn ang="0">
                  <a:pos x="connsiteX7375" y="connsiteY7375"/>
                </a:cxn>
                <a:cxn ang="0">
                  <a:pos x="connsiteX7376" y="connsiteY7376"/>
                </a:cxn>
                <a:cxn ang="0">
                  <a:pos x="connsiteX7377" y="connsiteY7377"/>
                </a:cxn>
                <a:cxn ang="0">
                  <a:pos x="connsiteX7378" y="connsiteY7378"/>
                </a:cxn>
                <a:cxn ang="0">
                  <a:pos x="connsiteX7379" y="connsiteY7379"/>
                </a:cxn>
                <a:cxn ang="0">
                  <a:pos x="connsiteX7380" y="connsiteY7380"/>
                </a:cxn>
                <a:cxn ang="0">
                  <a:pos x="connsiteX7381" y="connsiteY7381"/>
                </a:cxn>
                <a:cxn ang="0">
                  <a:pos x="connsiteX7382" y="connsiteY7382"/>
                </a:cxn>
                <a:cxn ang="0">
                  <a:pos x="connsiteX7383" y="connsiteY7383"/>
                </a:cxn>
                <a:cxn ang="0">
                  <a:pos x="connsiteX7384" y="connsiteY7384"/>
                </a:cxn>
                <a:cxn ang="0">
                  <a:pos x="connsiteX7385" y="connsiteY7385"/>
                </a:cxn>
                <a:cxn ang="0">
                  <a:pos x="connsiteX7386" y="connsiteY7386"/>
                </a:cxn>
                <a:cxn ang="0">
                  <a:pos x="connsiteX7387" y="connsiteY7387"/>
                </a:cxn>
                <a:cxn ang="0">
                  <a:pos x="connsiteX7388" y="connsiteY7388"/>
                </a:cxn>
                <a:cxn ang="0">
                  <a:pos x="connsiteX7389" y="connsiteY7389"/>
                </a:cxn>
                <a:cxn ang="0">
                  <a:pos x="connsiteX7390" y="connsiteY7390"/>
                </a:cxn>
                <a:cxn ang="0">
                  <a:pos x="connsiteX7391" y="connsiteY7391"/>
                </a:cxn>
                <a:cxn ang="0">
                  <a:pos x="connsiteX7392" y="connsiteY7392"/>
                </a:cxn>
                <a:cxn ang="0">
                  <a:pos x="connsiteX7393" y="connsiteY7393"/>
                </a:cxn>
                <a:cxn ang="0">
                  <a:pos x="connsiteX7394" y="connsiteY7394"/>
                </a:cxn>
                <a:cxn ang="0">
                  <a:pos x="connsiteX7395" y="connsiteY7395"/>
                </a:cxn>
                <a:cxn ang="0">
                  <a:pos x="connsiteX7396" y="connsiteY7396"/>
                </a:cxn>
                <a:cxn ang="0">
                  <a:pos x="connsiteX7397" y="connsiteY7397"/>
                </a:cxn>
                <a:cxn ang="0">
                  <a:pos x="connsiteX7398" y="connsiteY7398"/>
                </a:cxn>
                <a:cxn ang="0">
                  <a:pos x="connsiteX7399" y="connsiteY7399"/>
                </a:cxn>
                <a:cxn ang="0">
                  <a:pos x="connsiteX7400" y="connsiteY7400"/>
                </a:cxn>
                <a:cxn ang="0">
                  <a:pos x="connsiteX7401" y="connsiteY7401"/>
                </a:cxn>
                <a:cxn ang="0">
                  <a:pos x="connsiteX7402" y="connsiteY7402"/>
                </a:cxn>
                <a:cxn ang="0">
                  <a:pos x="connsiteX7403" y="connsiteY7403"/>
                </a:cxn>
                <a:cxn ang="0">
                  <a:pos x="connsiteX7404" y="connsiteY7404"/>
                </a:cxn>
                <a:cxn ang="0">
                  <a:pos x="connsiteX7405" y="connsiteY7405"/>
                </a:cxn>
                <a:cxn ang="0">
                  <a:pos x="connsiteX7406" y="connsiteY7406"/>
                </a:cxn>
                <a:cxn ang="0">
                  <a:pos x="connsiteX7407" y="connsiteY7407"/>
                </a:cxn>
                <a:cxn ang="0">
                  <a:pos x="connsiteX7408" y="connsiteY7408"/>
                </a:cxn>
                <a:cxn ang="0">
                  <a:pos x="connsiteX7409" y="connsiteY7409"/>
                </a:cxn>
                <a:cxn ang="0">
                  <a:pos x="connsiteX7410" y="connsiteY7410"/>
                </a:cxn>
                <a:cxn ang="0">
                  <a:pos x="connsiteX7411" y="connsiteY7411"/>
                </a:cxn>
                <a:cxn ang="0">
                  <a:pos x="connsiteX7412" y="connsiteY7412"/>
                </a:cxn>
                <a:cxn ang="0">
                  <a:pos x="connsiteX7413" y="connsiteY7413"/>
                </a:cxn>
                <a:cxn ang="0">
                  <a:pos x="connsiteX7414" y="connsiteY7414"/>
                </a:cxn>
                <a:cxn ang="0">
                  <a:pos x="connsiteX7415" y="connsiteY7415"/>
                </a:cxn>
                <a:cxn ang="0">
                  <a:pos x="connsiteX7416" y="connsiteY7416"/>
                </a:cxn>
                <a:cxn ang="0">
                  <a:pos x="connsiteX7417" y="connsiteY7417"/>
                </a:cxn>
                <a:cxn ang="0">
                  <a:pos x="connsiteX7418" y="connsiteY7418"/>
                </a:cxn>
                <a:cxn ang="0">
                  <a:pos x="connsiteX7419" y="connsiteY7419"/>
                </a:cxn>
                <a:cxn ang="0">
                  <a:pos x="connsiteX7420" y="connsiteY7420"/>
                </a:cxn>
                <a:cxn ang="0">
                  <a:pos x="connsiteX7421" y="connsiteY7421"/>
                </a:cxn>
                <a:cxn ang="0">
                  <a:pos x="connsiteX7422" y="connsiteY7422"/>
                </a:cxn>
                <a:cxn ang="0">
                  <a:pos x="connsiteX7423" y="connsiteY7423"/>
                </a:cxn>
                <a:cxn ang="0">
                  <a:pos x="connsiteX7424" y="connsiteY7424"/>
                </a:cxn>
                <a:cxn ang="0">
                  <a:pos x="connsiteX7425" y="connsiteY7425"/>
                </a:cxn>
                <a:cxn ang="0">
                  <a:pos x="connsiteX7426" y="connsiteY7426"/>
                </a:cxn>
                <a:cxn ang="0">
                  <a:pos x="connsiteX7427" y="connsiteY7427"/>
                </a:cxn>
                <a:cxn ang="0">
                  <a:pos x="connsiteX7428" y="connsiteY7428"/>
                </a:cxn>
                <a:cxn ang="0">
                  <a:pos x="connsiteX7429" y="connsiteY7429"/>
                </a:cxn>
                <a:cxn ang="0">
                  <a:pos x="connsiteX7430" y="connsiteY7430"/>
                </a:cxn>
                <a:cxn ang="0">
                  <a:pos x="connsiteX7431" y="connsiteY7431"/>
                </a:cxn>
                <a:cxn ang="0">
                  <a:pos x="connsiteX7432" y="connsiteY7432"/>
                </a:cxn>
                <a:cxn ang="0">
                  <a:pos x="connsiteX7433" y="connsiteY7433"/>
                </a:cxn>
                <a:cxn ang="0">
                  <a:pos x="connsiteX7434" y="connsiteY7434"/>
                </a:cxn>
                <a:cxn ang="0">
                  <a:pos x="connsiteX7435" y="connsiteY7435"/>
                </a:cxn>
                <a:cxn ang="0">
                  <a:pos x="connsiteX7436" y="connsiteY7436"/>
                </a:cxn>
                <a:cxn ang="0">
                  <a:pos x="connsiteX7437" y="connsiteY7437"/>
                </a:cxn>
                <a:cxn ang="0">
                  <a:pos x="connsiteX7438" y="connsiteY7438"/>
                </a:cxn>
                <a:cxn ang="0">
                  <a:pos x="connsiteX7439" y="connsiteY7439"/>
                </a:cxn>
                <a:cxn ang="0">
                  <a:pos x="connsiteX7440" y="connsiteY7440"/>
                </a:cxn>
                <a:cxn ang="0">
                  <a:pos x="connsiteX7441" y="connsiteY7441"/>
                </a:cxn>
                <a:cxn ang="0">
                  <a:pos x="connsiteX7442" y="connsiteY7442"/>
                </a:cxn>
                <a:cxn ang="0">
                  <a:pos x="connsiteX7443" y="connsiteY7443"/>
                </a:cxn>
                <a:cxn ang="0">
                  <a:pos x="connsiteX7444" y="connsiteY7444"/>
                </a:cxn>
                <a:cxn ang="0">
                  <a:pos x="connsiteX7445" y="connsiteY7445"/>
                </a:cxn>
                <a:cxn ang="0">
                  <a:pos x="connsiteX7446" y="connsiteY7446"/>
                </a:cxn>
                <a:cxn ang="0">
                  <a:pos x="connsiteX7447" y="connsiteY7447"/>
                </a:cxn>
                <a:cxn ang="0">
                  <a:pos x="connsiteX7448" y="connsiteY7448"/>
                </a:cxn>
                <a:cxn ang="0">
                  <a:pos x="connsiteX7449" y="connsiteY7449"/>
                </a:cxn>
                <a:cxn ang="0">
                  <a:pos x="connsiteX7450" y="connsiteY7450"/>
                </a:cxn>
                <a:cxn ang="0">
                  <a:pos x="connsiteX7451" y="connsiteY7451"/>
                </a:cxn>
                <a:cxn ang="0">
                  <a:pos x="connsiteX7452" y="connsiteY7452"/>
                </a:cxn>
                <a:cxn ang="0">
                  <a:pos x="connsiteX7453" y="connsiteY7453"/>
                </a:cxn>
                <a:cxn ang="0">
                  <a:pos x="connsiteX7454" y="connsiteY7454"/>
                </a:cxn>
                <a:cxn ang="0">
                  <a:pos x="connsiteX7455" y="connsiteY7455"/>
                </a:cxn>
                <a:cxn ang="0">
                  <a:pos x="connsiteX7456" y="connsiteY7456"/>
                </a:cxn>
                <a:cxn ang="0">
                  <a:pos x="connsiteX7457" y="connsiteY7457"/>
                </a:cxn>
                <a:cxn ang="0">
                  <a:pos x="connsiteX7458" y="connsiteY7458"/>
                </a:cxn>
                <a:cxn ang="0">
                  <a:pos x="connsiteX7459" y="connsiteY7459"/>
                </a:cxn>
                <a:cxn ang="0">
                  <a:pos x="connsiteX7460" y="connsiteY7460"/>
                </a:cxn>
                <a:cxn ang="0">
                  <a:pos x="connsiteX7461" y="connsiteY7461"/>
                </a:cxn>
                <a:cxn ang="0">
                  <a:pos x="connsiteX7462" y="connsiteY7462"/>
                </a:cxn>
                <a:cxn ang="0">
                  <a:pos x="connsiteX7463" y="connsiteY7463"/>
                </a:cxn>
                <a:cxn ang="0">
                  <a:pos x="connsiteX7464" y="connsiteY7464"/>
                </a:cxn>
                <a:cxn ang="0">
                  <a:pos x="connsiteX7465" y="connsiteY7465"/>
                </a:cxn>
                <a:cxn ang="0">
                  <a:pos x="connsiteX7466" y="connsiteY7466"/>
                </a:cxn>
                <a:cxn ang="0">
                  <a:pos x="connsiteX7467" y="connsiteY7467"/>
                </a:cxn>
                <a:cxn ang="0">
                  <a:pos x="connsiteX7468" y="connsiteY7468"/>
                </a:cxn>
                <a:cxn ang="0">
                  <a:pos x="connsiteX7469" y="connsiteY7469"/>
                </a:cxn>
                <a:cxn ang="0">
                  <a:pos x="connsiteX7470" y="connsiteY7470"/>
                </a:cxn>
                <a:cxn ang="0">
                  <a:pos x="connsiteX7471" y="connsiteY7471"/>
                </a:cxn>
                <a:cxn ang="0">
                  <a:pos x="connsiteX7472" y="connsiteY7472"/>
                </a:cxn>
                <a:cxn ang="0">
                  <a:pos x="connsiteX7473" y="connsiteY7473"/>
                </a:cxn>
                <a:cxn ang="0">
                  <a:pos x="connsiteX7474" y="connsiteY7474"/>
                </a:cxn>
                <a:cxn ang="0">
                  <a:pos x="connsiteX7475" y="connsiteY7475"/>
                </a:cxn>
                <a:cxn ang="0">
                  <a:pos x="connsiteX7476" y="connsiteY7476"/>
                </a:cxn>
                <a:cxn ang="0">
                  <a:pos x="connsiteX7477" y="connsiteY7477"/>
                </a:cxn>
                <a:cxn ang="0">
                  <a:pos x="connsiteX7478" y="connsiteY7478"/>
                </a:cxn>
                <a:cxn ang="0">
                  <a:pos x="connsiteX7479" y="connsiteY7479"/>
                </a:cxn>
                <a:cxn ang="0">
                  <a:pos x="connsiteX7480" y="connsiteY7480"/>
                </a:cxn>
                <a:cxn ang="0">
                  <a:pos x="connsiteX7481" y="connsiteY7481"/>
                </a:cxn>
                <a:cxn ang="0">
                  <a:pos x="connsiteX7482" y="connsiteY7482"/>
                </a:cxn>
                <a:cxn ang="0">
                  <a:pos x="connsiteX7483" y="connsiteY7483"/>
                </a:cxn>
                <a:cxn ang="0">
                  <a:pos x="connsiteX7484" y="connsiteY7484"/>
                </a:cxn>
                <a:cxn ang="0">
                  <a:pos x="connsiteX7485" y="connsiteY7485"/>
                </a:cxn>
                <a:cxn ang="0">
                  <a:pos x="connsiteX7486" y="connsiteY7486"/>
                </a:cxn>
                <a:cxn ang="0">
                  <a:pos x="connsiteX7487" y="connsiteY7487"/>
                </a:cxn>
                <a:cxn ang="0">
                  <a:pos x="connsiteX7488" y="connsiteY7488"/>
                </a:cxn>
                <a:cxn ang="0">
                  <a:pos x="connsiteX7489" y="connsiteY7489"/>
                </a:cxn>
                <a:cxn ang="0">
                  <a:pos x="connsiteX7490" y="connsiteY7490"/>
                </a:cxn>
                <a:cxn ang="0">
                  <a:pos x="connsiteX7491" y="connsiteY7491"/>
                </a:cxn>
                <a:cxn ang="0">
                  <a:pos x="connsiteX7492" y="connsiteY7492"/>
                </a:cxn>
                <a:cxn ang="0">
                  <a:pos x="connsiteX7493" y="connsiteY7493"/>
                </a:cxn>
                <a:cxn ang="0">
                  <a:pos x="connsiteX7494" y="connsiteY7494"/>
                </a:cxn>
                <a:cxn ang="0">
                  <a:pos x="connsiteX7495" y="connsiteY7495"/>
                </a:cxn>
                <a:cxn ang="0">
                  <a:pos x="connsiteX7496" y="connsiteY7496"/>
                </a:cxn>
                <a:cxn ang="0">
                  <a:pos x="connsiteX7497" y="connsiteY7497"/>
                </a:cxn>
                <a:cxn ang="0">
                  <a:pos x="connsiteX7498" y="connsiteY7498"/>
                </a:cxn>
                <a:cxn ang="0">
                  <a:pos x="connsiteX7499" y="connsiteY7499"/>
                </a:cxn>
                <a:cxn ang="0">
                  <a:pos x="connsiteX7500" y="connsiteY7500"/>
                </a:cxn>
                <a:cxn ang="0">
                  <a:pos x="connsiteX7501" y="connsiteY7501"/>
                </a:cxn>
                <a:cxn ang="0">
                  <a:pos x="connsiteX7502" y="connsiteY7502"/>
                </a:cxn>
                <a:cxn ang="0">
                  <a:pos x="connsiteX7503" y="connsiteY7503"/>
                </a:cxn>
                <a:cxn ang="0">
                  <a:pos x="connsiteX7504" y="connsiteY7504"/>
                </a:cxn>
                <a:cxn ang="0">
                  <a:pos x="connsiteX7505" y="connsiteY7505"/>
                </a:cxn>
                <a:cxn ang="0">
                  <a:pos x="connsiteX7506" y="connsiteY7506"/>
                </a:cxn>
                <a:cxn ang="0">
                  <a:pos x="connsiteX7507" y="connsiteY7507"/>
                </a:cxn>
                <a:cxn ang="0">
                  <a:pos x="connsiteX7508" y="connsiteY7508"/>
                </a:cxn>
                <a:cxn ang="0">
                  <a:pos x="connsiteX7509" y="connsiteY7509"/>
                </a:cxn>
                <a:cxn ang="0">
                  <a:pos x="connsiteX7510" y="connsiteY7510"/>
                </a:cxn>
                <a:cxn ang="0">
                  <a:pos x="connsiteX7511" y="connsiteY7511"/>
                </a:cxn>
                <a:cxn ang="0">
                  <a:pos x="connsiteX7512" y="connsiteY7512"/>
                </a:cxn>
                <a:cxn ang="0">
                  <a:pos x="connsiteX7513" y="connsiteY7513"/>
                </a:cxn>
                <a:cxn ang="0">
                  <a:pos x="connsiteX7514" y="connsiteY7514"/>
                </a:cxn>
                <a:cxn ang="0">
                  <a:pos x="connsiteX7515" y="connsiteY7515"/>
                </a:cxn>
                <a:cxn ang="0">
                  <a:pos x="connsiteX7516" y="connsiteY7516"/>
                </a:cxn>
                <a:cxn ang="0">
                  <a:pos x="connsiteX7517" y="connsiteY7517"/>
                </a:cxn>
                <a:cxn ang="0">
                  <a:pos x="connsiteX7518" y="connsiteY7518"/>
                </a:cxn>
                <a:cxn ang="0">
                  <a:pos x="connsiteX7519" y="connsiteY7519"/>
                </a:cxn>
                <a:cxn ang="0">
                  <a:pos x="connsiteX7520" y="connsiteY7520"/>
                </a:cxn>
                <a:cxn ang="0">
                  <a:pos x="connsiteX7521" y="connsiteY7521"/>
                </a:cxn>
                <a:cxn ang="0">
                  <a:pos x="connsiteX7522" y="connsiteY7522"/>
                </a:cxn>
                <a:cxn ang="0">
                  <a:pos x="connsiteX7523" y="connsiteY7523"/>
                </a:cxn>
                <a:cxn ang="0">
                  <a:pos x="connsiteX7524" y="connsiteY7524"/>
                </a:cxn>
                <a:cxn ang="0">
                  <a:pos x="connsiteX7525" y="connsiteY7525"/>
                </a:cxn>
                <a:cxn ang="0">
                  <a:pos x="connsiteX7526" y="connsiteY7526"/>
                </a:cxn>
                <a:cxn ang="0">
                  <a:pos x="connsiteX7527" y="connsiteY7527"/>
                </a:cxn>
                <a:cxn ang="0">
                  <a:pos x="connsiteX7528" y="connsiteY7528"/>
                </a:cxn>
                <a:cxn ang="0">
                  <a:pos x="connsiteX7529" y="connsiteY7529"/>
                </a:cxn>
                <a:cxn ang="0">
                  <a:pos x="connsiteX7530" y="connsiteY7530"/>
                </a:cxn>
                <a:cxn ang="0">
                  <a:pos x="connsiteX7531" y="connsiteY7531"/>
                </a:cxn>
                <a:cxn ang="0">
                  <a:pos x="connsiteX7532" y="connsiteY7532"/>
                </a:cxn>
                <a:cxn ang="0">
                  <a:pos x="connsiteX7533" y="connsiteY7533"/>
                </a:cxn>
                <a:cxn ang="0">
                  <a:pos x="connsiteX7534" y="connsiteY7534"/>
                </a:cxn>
                <a:cxn ang="0">
                  <a:pos x="connsiteX7535" y="connsiteY7535"/>
                </a:cxn>
                <a:cxn ang="0">
                  <a:pos x="connsiteX7536" y="connsiteY7536"/>
                </a:cxn>
                <a:cxn ang="0">
                  <a:pos x="connsiteX7537" y="connsiteY7537"/>
                </a:cxn>
                <a:cxn ang="0">
                  <a:pos x="connsiteX7538" y="connsiteY7538"/>
                </a:cxn>
                <a:cxn ang="0">
                  <a:pos x="connsiteX7539" y="connsiteY7539"/>
                </a:cxn>
                <a:cxn ang="0">
                  <a:pos x="connsiteX7540" y="connsiteY7540"/>
                </a:cxn>
                <a:cxn ang="0">
                  <a:pos x="connsiteX7541" y="connsiteY7541"/>
                </a:cxn>
                <a:cxn ang="0">
                  <a:pos x="connsiteX7542" y="connsiteY7542"/>
                </a:cxn>
                <a:cxn ang="0">
                  <a:pos x="connsiteX7543" y="connsiteY7543"/>
                </a:cxn>
                <a:cxn ang="0">
                  <a:pos x="connsiteX7544" y="connsiteY7544"/>
                </a:cxn>
                <a:cxn ang="0">
                  <a:pos x="connsiteX7545" y="connsiteY7545"/>
                </a:cxn>
                <a:cxn ang="0">
                  <a:pos x="connsiteX7546" y="connsiteY7546"/>
                </a:cxn>
                <a:cxn ang="0">
                  <a:pos x="connsiteX7547" y="connsiteY7547"/>
                </a:cxn>
                <a:cxn ang="0">
                  <a:pos x="connsiteX7548" y="connsiteY7548"/>
                </a:cxn>
                <a:cxn ang="0">
                  <a:pos x="connsiteX7549" y="connsiteY7549"/>
                </a:cxn>
                <a:cxn ang="0">
                  <a:pos x="connsiteX7550" y="connsiteY7550"/>
                </a:cxn>
                <a:cxn ang="0">
                  <a:pos x="connsiteX7551" y="connsiteY7551"/>
                </a:cxn>
                <a:cxn ang="0">
                  <a:pos x="connsiteX7552" y="connsiteY7552"/>
                </a:cxn>
                <a:cxn ang="0">
                  <a:pos x="connsiteX7553" y="connsiteY7553"/>
                </a:cxn>
                <a:cxn ang="0">
                  <a:pos x="connsiteX7554" y="connsiteY7554"/>
                </a:cxn>
                <a:cxn ang="0">
                  <a:pos x="connsiteX7555" y="connsiteY7555"/>
                </a:cxn>
                <a:cxn ang="0">
                  <a:pos x="connsiteX7556" y="connsiteY7556"/>
                </a:cxn>
                <a:cxn ang="0">
                  <a:pos x="connsiteX7557" y="connsiteY7557"/>
                </a:cxn>
                <a:cxn ang="0">
                  <a:pos x="connsiteX7558" y="connsiteY7558"/>
                </a:cxn>
                <a:cxn ang="0">
                  <a:pos x="connsiteX7559" y="connsiteY7559"/>
                </a:cxn>
                <a:cxn ang="0">
                  <a:pos x="connsiteX7560" y="connsiteY7560"/>
                </a:cxn>
                <a:cxn ang="0">
                  <a:pos x="connsiteX7561" y="connsiteY7561"/>
                </a:cxn>
                <a:cxn ang="0">
                  <a:pos x="connsiteX7562" y="connsiteY7562"/>
                </a:cxn>
                <a:cxn ang="0">
                  <a:pos x="connsiteX7563" y="connsiteY7563"/>
                </a:cxn>
                <a:cxn ang="0">
                  <a:pos x="connsiteX7564" y="connsiteY7564"/>
                </a:cxn>
                <a:cxn ang="0">
                  <a:pos x="connsiteX7565" y="connsiteY7565"/>
                </a:cxn>
                <a:cxn ang="0">
                  <a:pos x="connsiteX7566" y="connsiteY7566"/>
                </a:cxn>
                <a:cxn ang="0">
                  <a:pos x="connsiteX7567" y="connsiteY7567"/>
                </a:cxn>
                <a:cxn ang="0">
                  <a:pos x="connsiteX7568" y="connsiteY7568"/>
                </a:cxn>
                <a:cxn ang="0">
                  <a:pos x="connsiteX7569" y="connsiteY7569"/>
                </a:cxn>
                <a:cxn ang="0">
                  <a:pos x="connsiteX7570" y="connsiteY7570"/>
                </a:cxn>
                <a:cxn ang="0">
                  <a:pos x="connsiteX7571" y="connsiteY7571"/>
                </a:cxn>
                <a:cxn ang="0">
                  <a:pos x="connsiteX7572" y="connsiteY7572"/>
                </a:cxn>
                <a:cxn ang="0">
                  <a:pos x="connsiteX7573" y="connsiteY7573"/>
                </a:cxn>
                <a:cxn ang="0">
                  <a:pos x="connsiteX7574" y="connsiteY7574"/>
                </a:cxn>
                <a:cxn ang="0">
                  <a:pos x="connsiteX7575" y="connsiteY7575"/>
                </a:cxn>
                <a:cxn ang="0">
                  <a:pos x="connsiteX7576" y="connsiteY7576"/>
                </a:cxn>
                <a:cxn ang="0">
                  <a:pos x="connsiteX7577" y="connsiteY7577"/>
                </a:cxn>
                <a:cxn ang="0">
                  <a:pos x="connsiteX7578" y="connsiteY7578"/>
                </a:cxn>
                <a:cxn ang="0">
                  <a:pos x="connsiteX7579" y="connsiteY7579"/>
                </a:cxn>
                <a:cxn ang="0">
                  <a:pos x="connsiteX7580" y="connsiteY7580"/>
                </a:cxn>
                <a:cxn ang="0">
                  <a:pos x="connsiteX7581" y="connsiteY7581"/>
                </a:cxn>
                <a:cxn ang="0">
                  <a:pos x="connsiteX7582" y="connsiteY7582"/>
                </a:cxn>
                <a:cxn ang="0">
                  <a:pos x="connsiteX7583" y="connsiteY7583"/>
                </a:cxn>
                <a:cxn ang="0">
                  <a:pos x="connsiteX7584" y="connsiteY7584"/>
                </a:cxn>
                <a:cxn ang="0">
                  <a:pos x="connsiteX7585" y="connsiteY7585"/>
                </a:cxn>
                <a:cxn ang="0">
                  <a:pos x="connsiteX7586" y="connsiteY7586"/>
                </a:cxn>
                <a:cxn ang="0">
                  <a:pos x="connsiteX7587" y="connsiteY7587"/>
                </a:cxn>
                <a:cxn ang="0">
                  <a:pos x="connsiteX7588" y="connsiteY7588"/>
                </a:cxn>
                <a:cxn ang="0">
                  <a:pos x="connsiteX7589" y="connsiteY7589"/>
                </a:cxn>
                <a:cxn ang="0">
                  <a:pos x="connsiteX7590" y="connsiteY7590"/>
                </a:cxn>
                <a:cxn ang="0">
                  <a:pos x="connsiteX7591" y="connsiteY7591"/>
                </a:cxn>
                <a:cxn ang="0">
                  <a:pos x="connsiteX7592" y="connsiteY7592"/>
                </a:cxn>
                <a:cxn ang="0">
                  <a:pos x="connsiteX7593" y="connsiteY7593"/>
                </a:cxn>
                <a:cxn ang="0">
                  <a:pos x="connsiteX7594" y="connsiteY7594"/>
                </a:cxn>
                <a:cxn ang="0">
                  <a:pos x="connsiteX7595" y="connsiteY7595"/>
                </a:cxn>
                <a:cxn ang="0">
                  <a:pos x="connsiteX7596" y="connsiteY7596"/>
                </a:cxn>
                <a:cxn ang="0">
                  <a:pos x="connsiteX7597" y="connsiteY7597"/>
                </a:cxn>
                <a:cxn ang="0">
                  <a:pos x="connsiteX7598" y="connsiteY7598"/>
                </a:cxn>
                <a:cxn ang="0">
                  <a:pos x="connsiteX7599" y="connsiteY7599"/>
                </a:cxn>
                <a:cxn ang="0">
                  <a:pos x="connsiteX7600" y="connsiteY7600"/>
                </a:cxn>
                <a:cxn ang="0">
                  <a:pos x="connsiteX7601" y="connsiteY7601"/>
                </a:cxn>
                <a:cxn ang="0">
                  <a:pos x="connsiteX7602" y="connsiteY7602"/>
                </a:cxn>
                <a:cxn ang="0">
                  <a:pos x="connsiteX7603" y="connsiteY7603"/>
                </a:cxn>
                <a:cxn ang="0">
                  <a:pos x="connsiteX7604" y="connsiteY7604"/>
                </a:cxn>
                <a:cxn ang="0">
                  <a:pos x="connsiteX7605" y="connsiteY7605"/>
                </a:cxn>
                <a:cxn ang="0">
                  <a:pos x="connsiteX7606" y="connsiteY7606"/>
                </a:cxn>
                <a:cxn ang="0">
                  <a:pos x="connsiteX7607" y="connsiteY7607"/>
                </a:cxn>
                <a:cxn ang="0">
                  <a:pos x="connsiteX7608" y="connsiteY7608"/>
                </a:cxn>
                <a:cxn ang="0">
                  <a:pos x="connsiteX7609" y="connsiteY7609"/>
                </a:cxn>
                <a:cxn ang="0">
                  <a:pos x="connsiteX7610" y="connsiteY7610"/>
                </a:cxn>
                <a:cxn ang="0">
                  <a:pos x="connsiteX7611" y="connsiteY7611"/>
                </a:cxn>
                <a:cxn ang="0">
                  <a:pos x="connsiteX7612" y="connsiteY7612"/>
                </a:cxn>
                <a:cxn ang="0">
                  <a:pos x="connsiteX7613" y="connsiteY7613"/>
                </a:cxn>
                <a:cxn ang="0">
                  <a:pos x="connsiteX7614" y="connsiteY7614"/>
                </a:cxn>
                <a:cxn ang="0">
                  <a:pos x="connsiteX7615" y="connsiteY7615"/>
                </a:cxn>
                <a:cxn ang="0">
                  <a:pos x="connsiteX7616" y="connsiteY7616"/>
                </a:cxn>
                <a:cxn ang="0">
                  <a:pos x="connsiteX7617" y="connsiteY7617"/>
                </a:cxn>
                <a:cxn ang="0">
                  <a:pos x="connsiteX7618" y="connsiteY7618"/>
                </a:cxn>
                <a:cxn ang="0">
                  <a:pos x="connsiteX7619" y="connsiteY7619"/>
                </a:cxn>
                <a:cxn ang="0">
                  <a:pos x="connsiteX7620" y="connsiteY7620"/>
                </a:cxn>
                <a:cxn ang="0">
                  <a:pos x="connsiteX7621" y="connsiteY7621"/>
                </a:cxn>
                <a:cxn ang="0">
                  <a:pos x="connsiteX7622" y="connsiteY7622"/>
                </a:cxn>
                <a:cxn ang="0">
                  <a:pos x="connsiteX7623" y="connsiteY7623"/>
                </a:cxn>
                <a:cxn ang="0">
                  <a:pos x="connsiteX7624" y="connsiteY7624"/>
                </a:cxn>
                <a:cxn ang="0">
                  <a:pos x="connsiteX7625" y="connsiteY7625"/>
                </a:cxn>
                <a:cxn ang="0">
                  <a:pos x="connsiteX7626" y="connsiteY7626"/>
                </a:cxn>
                <a:cxn ang="0">
                  <a:pos x="connsiteX7627" y="connsiteY7627"/>
                </a:cxn>
                <a:cxn ang="0">
                  <a:pos x="connsiteX7628" y="connsiteY7628"/>
                </a:cxn>
                <a:cxn ang="0">
                  <a:pos x="connsiteX7629" y="connsiteY7629"/>
                </a:cxn>
                <a:cxn ang="0">
                  <a:pos x="connsiteX7630" y="connsiteY7630"/>
                </a:cxn>
                <a:cxn ang="0">
                  <a:pos x="connsiteX7631" y="connsiteY7631"/>
                </a:cxn>
                <a:cxn ang="0">
                  <a:pos x="connsiteX7632" y="connsiteY7632"/>
                </a:cxn>
                <a:cxn ang="0">
                  <a:pos x="connsiteX7633" y="connsiteY7633"/>
                </a:cxn>
                <a:cxn ang="0">
                  <a:pos x="connsiteX7634" y="connsiteY7634"/>
                </a:cxn>
                <a:cxn ang="0">
                  <a:pos x="connsiteX7635" y="connsiteY7635"/>
                </a:cxn>
                <a:cxn ang="0">
                  <a:pos x="connsiteX7636" y="connsiteY7636"/>
                </a:cxn>
                <a:cxn ang="0">
                  <a:pos x="connsiteX7637" y="connsiteY7637"/>
                </a:cxn>
                <a:cxn ang="0">
                  <a:pos x="connsiteX7638" y="connsiteY7638"/>
                </a:cxn>
                <a:cxn ang="0">
                  <a:pos x="connsiteX7639" y="connsiteY7639"/>
                </a:cxn>
                <a:cxn ang="0">
                  <a:pos x="connsiteX7640" y="connsiteY7640"/>
                </a:cxn>
                <a:cxn ang="0">
                  <a:pos x="connsiteX7641" y="connsiteY7641"/>
                </a:cxn>
                <a:cxn ang="0">
                  <a:pos x="connsiteX7642" y="connsiteY7642"/>
                </a:cxn>
                <a:cxn ang="0">
                  <a:pos x="connsiteX7643" y="connsiteY7643"/>
                </a:cxn>
                <a:cxn ang="0">
                  <a:pos x="connsiteX7644" y="connsiteY7644"/>
                </a:cxn>
                <a:cxn ang="0">
                  <a:pos x="connsiteX7645" y="connsiteY7645"/>
                </a:cxn>
                <a:cxn ang="0">
                  <a:pos x="connsiteX7646" y="connsiteY7646"/>
                </a:cxn>
                <a:cxn ang="0">
                  <a:pos x="connsiteX7647" y="connsiteY7647"/>
                </a:cxn>
                <a:cxn ang="0">
                  <a:pos x="connsiteX7648" y="connsiteY7648"/>
                </a:cxn>
                <a:cxn ang="0">
                  <a:pos x="connsiteX7649" y="connsiteY7649"/>
                </a:cxn>
                <a:cxn ang="0">
                  <a:pos x="connsiteX7650" y="connsiteY7650"/>
                </a:cxn>
                <a:cxn ang="0">
                  <a:pos x="connsiteX7651" y="connsiteY7651"/>
                </a:cxn>
                <a:cxn ang="0">
                  <a:pos x="connsiteX7652" y="connsiteY7652"/>
                </a:cxn>
                <a:cxn ang="0">
                  <a:pos x="connsiteX7653" y="connsiteY7653"/>
                </a:cxn>
                <a:cxn ang="0">
                  <a:pos x="connsiteX7654" y="connsiteY7654"/>
                </a:cxn>
                <a:cxn ang="0">
                  <a:pos x="connsiteX7655" y="connsiteY7655"/>
                </a:cxn>
                <a:cxn ang="0">
                  <a:pos x="connsiteX7656" y="connsiteY7656"/>
                </a:cxn>
                <a:cxn ang="0">
                  <a:pos x="connsiteX7657" y="connsiteY7657"/>
                </a:cxn>
                <a:cxn ang="0">
                  <a:pos x="connsiteX7658" y="connsiteY7658"/>
                </a:cxn>
                <a:cxn ang="0">
                  <a:pos x="connsiteX7659" y="connsiteY7659"/>
                </a:cxn>
                <a:cxn ang="0">
                  <a:pos x="connsiteX7660" y="connsiteY7660"/>
                </a:cxn>
                <a:cxn ang="0">
                  <a:pos x="connsiteX7661" y="connsiteY7661"/>
                </a:cxn>
                <a:cxn ang="0">
                  <a:pos x="connsiteX7662" y="connsiteY7662"/>
                </a:cxn>
                <a:cxn ang="0">
                  <a:pos x="connsiteX7663" y="connsiteY7663"/>
                </a:cxn>
                <a:cxn ang="0">
                  <a:pos x="connsiteX7664" y="connsiteY7664"/>
                </a:cxn>
                <a:cxn ang="0">
                  <a:pos x="connsiteX7665" y="connsiteY7665"/>
                </a:cxn>
                <a:cxn ang="0">
                  <a:pos x="connsiteX7666" y="connsiteY7666"/>
                </a:cxn>
                <a:cxn ang="0">
                  <a:pos x="connsiteX7667" y="connsiteY7667"/>
                </a:cxn>
                <a:cxn ang="0">
                  <a:pos x="connsiteX7668" y="connsiteY7668"/>
                </a:cxn>
                <a:cxn ang="0">
                  <a:pos x="connsiteX7669" y="connsiteY7669"/>
                </a:cxn>
                <a:cxn ang="0">
                  <a:pos x="connsiteX7670" y="connsiteY7670"/>
                </a:cxn>
                <a:cxn ang="0">
                  <a:pos x="connsiteX7671" y="connsiteY7671"/>
                </a:cxn>
                <a:cxn ang="0">
                  <a:pos x="connsiteX7672" y="connsiteY7672"/>
                </a:cxn>
                <a:cxn ang="0">
                  <a:pos x="connsiteX7673" y="connsiteY7673"/>
                </a:cxn>
                <a:cxn ang="0">
                  <a:pos x="connsiteX7674" y="connsiteY7674"/>
                </a:cxn>
                <a:cxn ang="0">
                  <a:pos x="connsiteX7675" y="connsiteY7675"/>
                </a:cxn>
                <a:cxn ang="0">
                  <a:pos x="connsiteX7676" y="connsiteY7676"/>
                </a:cxn>
                <a:cxn ang="0">
                  <a:pos x="connsiteX7677" y="connsiteY7677"/>
                </a:cxn>
                <a:cxn ang="0">
                  <a:pos x="connsiteX7678" y="connsiteY7678"/>
                </a:cxn>
                <a:cxn ang="0">
                  <a:pos x="connsiteX7679" y="connsiteY7679"/>
                </a:cxn>
                <a:cxn ang="0">
                  <a:pos x="connsiteX7680" y="connsiteY7680"/>
                </a:cxn>
                <a:cxn ang="0">
                  <a:pos x="connsiteX7681" y="connsiteY7681"/>
                </a:cxn>
                <a:cxn ang="0">
                  <a:pos x="connsiteX7682" y="connsiteY7682"/>
                </a:cxn>
                <a:cxn ang="0">
                  <a:pos x="connsiteX7683" y="connsiteY7683"/>
                </a:cxn>
                <a:cxn ang="0">
                  <a:pos x="connsiteX7684" y="connsiteY7684"/>
                </a:cxn>
                <a:cxn ang="0">
                  <a:pos x="connsiteX7685" y="connsiteY7685"/>
                </a:cxn>
                <a:cxn ang="0">
                  <a:pos x="connsiteX7686" y="connsiteY7686"/>
                </a:cxn>
                <a:cxn ang="0">
                  <a:pos x="connsiteX7687" y="connsiteY7687"/>
                </a:cxn>
                <a:cxn ang="0">
                  <a:pos x="connsiteX7688" y="connsiteY7688"/>
                </a:cxn>
                <a:cxn ang="0">
                  <a:pos x="connsiteX7689" y="connsiteY7689"/>
                </a:cxn>
                <a:cxn ang="0">
                  <a:pos x="connsiteX7690" y="connsiteY7690"/>
                </a:cxn>
                <a:cxn ang="0">
                  <a:pos x="connsiteX7691" y="connsiteY7691"/>
                </a:cxn>
                <a:cxn ang="0">
                  <a:pos x="connsiteX7692" y="connsiteY7692"/>
                </a:cxn>
                <a:cxn ang="0">
                  <a:pos x="connsiteX7693" y="connsiteY7693"/>
                </a:cxn>
                <a:cxn ang="0">
                  <a:pos x="connsiteX7694" y="connsiteY7694"/>
                </a:cxn>
                <a:cxn ang="0">
                  <a:pos x="connsiteX7695" y="connsiteY7695"/>
                </a:cxn>
                <a:cxn ang="0">
                  <a:pos x="connsiteX7696" y="connsiteY7696"/>
                </a:cxn>
                <a:cxn ang="0">
                  <a:pos x="connsiteX7697" y="connsiteY7697"/>
                </a:cxn>
                <a:cxn ang="0">
                  <a:pos x="connsiteX7698" y="connsiteY7698"/>
                </a:cxn>
                <a:cxn ang="0">
                  <a:pos x="connsiteX7699" y="connsiteY7699"/>
                </a:cxn>
                <a:cxn ang="0">
                  <a:pos x="connsiteX7700" y="connsiteY7700"/>
                </a:cxn>
                <a:cxn ang="0">
                  <a:pos x="connsiteX7701" y="connsiteY7701"/>
                </a:cxn>
                <a:cxn ang="0">
                  <a:pos x="connsiteX7702" y="connsiteY7702"/>
                </a:cxn>
                <a:cxn ang="0">
                  <a:pos x="connsiteX7703" y="connsiteY7703"/>
                </a:cxn>
                <a:cxn ang="0">
                  <a:pos x="connsiteX7704" y="connsiteY7704"/>
                </a:cxn>
                <a:cxn ang="0">
                  <a:pos x="connsiteX7705" y="connsiteY7705"/>
                </a:cxn>
                <a:cxn ang="0">
                  <a:pos x="connsiteX7706" y="connsiteY7706"/>
                </a:cxn>
                <a:cxn ang="0">
                  <a:pos x="connsiteX7707" y="connsiteY7707"/>
                </a:cxn>
                <a:cxn ang="0">
                  <a:pos x="connsiteX7708" y="connsiteY7708"/>
                </a:cxn>
                <a:cxn ang="0">
                  <a:pos x="connsiteX7709" y="connsiteY7709"/>
                </a:cxn>
                <a:cxn ang="0">
                  <a:pos x="connsiteX7710" y="connsiteY7710"/>
                </a:cxn>
                <a:cxn ang="0">
                  <a:pos x="connsiteX7711" y="connsiteY7711"/>
                </a:cxn>
                <a:cxn ang="0">
                  <a:pos x="connsiteX7712" y="connsiteY7712"/>
                </a:cxn>
                <a:cxn ang="0">
                  <a:pos x="connsiteX7713" y="connsiteY7713"/>
                </a:cxn>
                <a:cxn ang="0">
                  <a:pos x="connsiteX7714" y="connsiteY7714"/>
                </a:cxn>
                <a:cxn ang="0">
                  <a:pos x="connsiteX7715" y="connsiteY7715"/>
                </a:cxn>
                <a:cxn ang="0">
                  <a:pos x="connsiteX7716" y="connsiteY7716"/>
                </a:cxn>
                <a:cxn ang="0">
                  <a:pos x="connsiteX7717" y="connsiteY7717"/>
                </a:cxn>
                <a:cxn ang="0">
                  <a:pos x="connsiteX7718" y="connsiteY7718"/>
                </a:cxn>
                <a:cxn ang="0">
                  <a:pos x="connsiteX7719" y="connsiteY7719"/>
                </a:cxn>
                <a:cxn ang="0">
                  <a:pos x="connsiteX7720" y="connsiteY7720"/>
                </a:cxn>
                <a:cxn ang="0">
                  <a:pos x="connsiteX7721" y="connsiteY7721"/>
                </a:cxn>
                <a:cxn ang="0">
                  <a:pos x="connsiteX7722" y="connsiteY7722"/>
                </a:cxn>
                <a:cxn ang="0">
                  <a:pos x="connsiteX7723" y="connsiteY7723"/>
                </a:cxn>
                <a:cxn ang="0">
                  <a:pos x="connsiteX7724" y="connsiteY7724"/>
                </a:cxn>
                <a:cxn ang="0">
                  <a:pos x="connsiteX7725" y="connsiteY7725"/>
                </a:cxn>
                <a:cxn ang="0">
                  <a:pos x="connsiteX7726" y="connsiteY7726"/>
                </a:cxn>
                <a:cxn ang="0">
                  <a:pos x="connsiteX7727" y="connsiteY7727"/>
                </a:cxn>
                <a:cxn ang="0">
                  <a:pos x="connsiteX7728" y="connsiteY7728"/>
                </a:cxn>
                <a:cxn ang="0">
                  <a:pos x="connsiteX7729" y="connsiteY7729"/>
                </a:cxn>
                <a:cxn ang="0">
                  <a:pos x="connsiteX7730" y="connsiteY7730"/>
                </a:cxn>
                <a:cxn ang="0">
                  <a:pos x="connsiteX7731" y="connsiteY7731"/>
                </a:cxn>
                <a:cxn ang="0">
                  <a:pos x="connsiteX7732" y="connsiteY7732"/>
                </a:cxn>
                <a:cxn ang="0">
                  <a:pos x="connsiteX7733" y="connsiteY7733"/>
                </a:cxn>
                <a:cxn ang="0">
                  <a:pos x="connsiteX7734" y="connsiteY7734"/>
                </a:cxn>
                <a:cxn ang="0">
                  <a:pos x="connsiteX7735" y="connsiteY7735"/>
                </a:cxn>
                <a:cxn ang="0">
                  <a:pos x="connsiteX7736" y="connsiteY7736"/>
                </a:cxn>
                <a:cxn ang="0">
                  <a:pos x="connsiteX7737" y="connsiteY7737"/>
                </a:cxn>
                <a:cxn ang="0">
                  <a:pos x="connsiteX7738" y="connsiteY7738"/>
                </a:cxn>
                <a:cxn ang="0">
                  <a:pos x="connsiteX7739" y="connsiteY7739"/>
                </a:cxn>
                <a:cxn ang="0">
                  <a:pos x="connsiteX7740" y="connsiteY7740"/>
                </a:cxn>
                <a:cxn ang="0">
                  <a:pos x="connsiteX7741" y="connsiteY7741"/>
                </a:cxn>
                <a:cxn ang="0">
                  <a:pos x="connsiteX7742" y="connsiteY7742"/>
                </a:cxn>
                <a:cxn ang="0">
                  <a:pos x="connsiteX7743" y="connsiteY7743"/>
                </a:cxn>
                <a:cxn ang="0">
                  <a:pos x="connsiteX7744" y="connsiteY7744"/>
                </a:cxn>
                <a:cxn ang="0">
                  <a:pos x="connsiteX7745" y="connsiteY7745"/>
                </a:cxn>
                <a:cxn ang="0">
                  <a:pos x="connsiteX7746" y="connsiteY7746"/>
                </a:cxn>
                <a:cxn ang="0">
                  <a:pos x="connsiteX7747" y="connsiteY7747"/>
                </a:cxn>
                <a:cxn ang="0">
                  <a:pos x="connsiteX7748" y="connsiteY7748"/>
                </a:cxn>
                <a:cxn ang="0">
                  <a:pos x="connsiteX7749" y="connsiteY7749"/>
                </a:cxn>
                <a:cxn ang="0">
                  <a:pos x="connsiteX7750" y="connsiteY7750"/>
                </a:cxn>
                <a:cxn ang="0">
                  <a:pos x="connsiteX7751" y="connsiteY7751"/>
                </a:cxn>
                <a:cxn ang="0">
                  <a:pos x="connsiteX7752" y="connsiteY7752"/>
                </a:cxn>
                <a:cxn ang="0">
                  <a:pos x="connsiteX7753" y="connsiteY7753"/>
                </a:cxn>
                <a:cxn ang="0">
                  <a:pos x="connsiteX7754" y="connsiteY7754"/>
                </a:cxn>
                <a:cxn ang="0">
                  <a:pos x="connsiteX7755" y="connsiteY7755"/>
                </a:cxn>
                <a:cxn ang="0">
                  <a:pos x="connsiteX7756" y="connsiteY7756"/>
                </a:cxn>
                <a:cxn ang="0">
                  <a:pos x="connsiteX7757" y="connsiteY7757"/>
                </a:cxn>
                <a:cxn ang="0">
                  <a:pos x="connsiteX7758" y="connsiteY7758"/>
                </a:cxn>
                <a:cxn ang="0">
                  <a:pos x="connsiteX7759" y="connsiteY7759"/>
                </a:cxn>
                <a:cxn ang="0">
                  <a:pos x="connsiteX7760" y="connsiteY7760"/>
                </a:cxn>
                <a:cxn ang="0">
                  <a:pos x="connsiteX7761" y="connsiteY7761"/>
                </a:cxn>
                <a:cxn ang="0">
                  <a:pos x="connsiteX7762" y="connsiteY7762"/>
                </a:cxn>
                <a:cxn ang="0">
                  <a:pos x="connsiteX7763" y="connsiteY7763"/>
                </a:cxn>
                <a:cxn ang="0">
                  <a:pos x="connsiteX7764" y="connsiteY7764"/>
                </a:cxn>
                <a:cxn ang="0">
                  <a:pos x="connsiteX7765" y="connsiteY7765"/>
                </a:cxn>
                <a:cxn ang="0">
                  <a:pos x="connsiteX7766" y="connsiteY7766"/>
                </a:cxn>
                <a:cxn ang="0">
                  <a:pos x="connsiteX7767" y="connsiteY7767"/>
                </a:cxn>
                <a:cxn ang="0">
                  <a:pos x="connsiteX7768" y="connsiteY7768"/>
                </a:cxn>
                <a:cxn ang="0">
                  <a:pos x="connsiteX7769" y="connsiteY7769"/>
                </a:cxn>
                <a:cxn ang="0">
                  <a:pos x="connsiteX7770" y="connsiteY7770"/>
                </a:cxn>
                <a:cxn ang="0">
                  <a:pos x="connsiteX7771" y="connsiteY7771"/>
                </a:cxn>
                <a:cxn ang="0">
                  <a:pos x="connsiteX7772" y="connsiteY7772"/>
                </a:cxn>
                <a:cxn ang="0">
                  <a:pos x="connsiteX7773" y="connsiteY7773"/>
                </a:cxn>
                <a:cxn ang="0">
                  <a:pos x="connsiteX7774" y="connsiteY7774"/>
                </a:cxn>
                <a:cxn ang="0">
                  <a:pos x="connsiteX7775" y="connsiteY7775"/>
                </a:cxn>
                <a:cxn ang="0">
                  <a:pos x="connsiteX7776" y="connsiteY7776"/>
                </a:cxn>
                <a:cxn ang="0">
                  <a:pos x="connsiteX7777" y="connsiteY7777"/>
                </a:cxn>
                <a:cxn ang="0">
                  <a:pos x="connsiteX7778" y="connsiteY7778"/>
                </a:cxn>
                <a:cxn ang="0">
                  <a:pos x="connsiteX7779" y="connsiteY7779"/>
                </a:cxn>
                <a:cxn ang="0">
                  <a:pos x="connsiteX7780" y="connsiteY7780"/>
                </a:cxn>
                <a:cxn ang="0">
                  <a:pos x="connsiteX7781" y="connsiteY7781"/>
                </a:cxn>
                <a:cxn ang="0">
                  <a:pos x="connsiteX7782" y="connsiteY7782"/>
                </a:cxn>
                <a:cxn ang="0">
                  <a:pos x="connsiteX7783" y="connsiteY7783"/>
                </a:cxn>
                <a:cxn ang="0">
                  <a:pos x="connsiteX7784" y="connsiteY7784"/>
                </a:cxn>
                <a:cxn ang="0">
                  <a:pos x="connsiteX7785" y="connsiteY7785"/>
                </a:cxn>
                <a:cxn ang="0">
                  <a:pos x="connsiteX7786" y="connsiteY7786"/>
                </a:cxn>
                <a:cxn ang="0">
                  <a:pos x="connsiteX7787" y="connsiteY7787"/>
                </a:cxn>
                <a:cxn ang="0">
                  <a:pos x="connsiteX7788" y="connsiteY7788"/>
                </a:cxn>
                <a:cxn ang="0">
                  <a:pos x="connsiteX7789" y="connsiteY7789"/>
                </a:cxn>
                <a:cxn ang="0">
                  <a:pos x="connsiteX7790" y="connsiteY7790"/>
                </a:cxn>
                <a:cxn ang="0">
                  <a:pos x="connsiteX7791" y="connsiteY7791"/>
                </a:cxn>
                <a:cxn ang="0">
                  <a:pos x="connsiteX7792" y="connsiteY7792"/>
                </a:cxn>
                <a:cxn ang="0">
                  <a:pos x="connsiteX7793" y="connsiteY7793"/>
                </a:cxn>
                <a:cxn ang="0">
                  <a:pos x="connsiteX7794" y="connsiteY7794"/>
                </a:cxn>
                <a:cxn ang="0">
                  <a:pos x="connsiteX7795" y="connsiteY7795"/>
                </a:cxn>
                <a:cxn ang="0">
                  <a:pos x="connsiteX7796" y="connsiteY7796"/>
                </a:cxn>
                <a:cxn ang="0">
                  <a:pos x="connsiteX7797" y="connsiteY7797"/>
                </a:cxn>
                <a:cxn ang="0">
                  <a:pos x="connsiteX7798" y="connsiteY7798"/>
                </a:cxn>
                <a:cxn ang="0">
                  <a:pos x="connsiteX7799" y="connsiteY7799"/>
                </a:cxn>
                <a:cxn ang="0">
                  <a:pos x="connsiteX7800" y="connsiteY7800"/>
                </a:cxn>
                <a:cxn ang="0">
                  <a:pos x="connsiteX7801" y="connsiteY7801"/>
                </a:cxn>
                <a:cxn ang="0">
                  <a:pos x="connsiteX7802" y="connsiteY7802"/>
                </a:cxn>
                <a:cxn ang="0">
                  <a:pos x="connsiteX7803" y="connsiteY7803"/>
                </a:cxn>
                <a:cxn ang="0">
                  <a:pos x="connsiteX7804" y="connsiteY7804"/>
                </a:cxn>
                <a:cxn ang="0">
                  <a:pos x="connsiteX7805" y="connsiteY7805"/>
                </a:cxn>
                <a:cxn ang="0">
                  <a:pos x="connsiteX7806" y="connsiteY7806"/>
                </a:cxn>
                <a:cxn ang="0">
                  <a:pos x="connsiteX7807" y="connsiteY7807"/>
                </a:cxn>
                <a:cxn ang="0">
                  <a:pos x="connsiteX7808" y="connsiteY7808"/>
                </a:cxn>
                <a:cxn ang="0">
                  <a:pos x="connsiteX7809" y="connsiteY7809"/>
                </a:cxn>
                <a:cxn ang="0">
                  <a:pos x="connsiteX7810" y="connsiteY7810"/>
                </a:cxn>
                <a:cxn ang="0">
                  <a:pos x="connsiteX7811" y="connsiteY7811"/>
                </a:cxn>
                <a:cxn ang="0">
                  <a:pos x="connsiteX7812" y="connsiteY7812"/>
                </a:cxn>
                <a:cxn ang="0">
                  <a:pos x="connsiteX7813" y="connsiteY7813"/>
                </a:cxn>
                <a:cxn ang="0">
                  <a:pos x="connsiteX7814" y="connsiteY7814"/>
                </a:cxn>
                <a:cxn ang="0">
                  <a:pos x="connsiteX7815" y="connsiteY7815"/>
                </a:cxn>
                <a:cxn ang="0">
                  <a:pos x="connsiteX7816" y="connsiteY7816"/>
                </a:cxn>
                <a:cxn ang="0">
                  <a:pos x="connsiteX7817" y="connsiteY7817"/>
                </a:cxn>
                <a:cxn ang="0">
                  <a:pos x="connsiteX7818" y="connsiteY7818"/>
                </a:cxn>
                <a:cxn ang="0">
                  <a:pos x="connsiteX7819" y="connsiteY7819"/>
                </a:cxn>
                <a:cxn ang="0">
                  <a:pos x="connsiteX7820" y="connsiteY7820"/>
                </a:cxn>
                <a:cxn ang="0">
                  <a:pos x="connsiteX7821" y="connsiteY7821"/>
                </a:cxn>
                <a:cxn ang="0">
                  <a:pos x="connsiteX7822" y="connsiteY7822"/>
                </a:cxn>
                <a:cxn ang="0">
                  <a:pos x="connsiteX7823" y="connsiteY7823"/>
                </a:cxn>
                <a:cxn ang="0">
                  <a:pos x="connsiteX7824" y="connsiteY7824"/>
                </a:cxn>
                <a:cxn ang="0">
                  <a:pos x="connsiteX7825" y="connsiteY7825"/>
                </a:cxn>
                <a:cxn ang="0">
                  <a:pos x="connsiteX7826" y="connsiteY7826"/>
                </a:cxn>
                <a:cxn ang="0">
                  <a:pos x="connsiteX7827" y="connsiteY7827"/>
                </a:cxn>
                <a:cxn ang="0">
                  <a:pos x="connsiteX7828" y="connsiteY7828"/>
                </a:cxn>
                <a:cxn ang="0">
                  <a:pos x="connsiteX7829" y="connsiteY7829"/>
                </a:cxn>
                <a:cxn ang="0">
                  <a:pos x="connsiteX7830" y="connsiteY7830"/>
                </a:cxn>
                <a:cxn ang="0">
                  <a:pos x="connsiteX7831" y="connsiteY7831"/>
                </a:cxn>
                <a:cxn ang="0">
                  <a:pos x="connsiteX7832" y="connsiteY7832"/>
                </a:cxn>
                <a:cxn ang="0">
                  <a:pos x="connsiteX7833" y="connsiteY7833"/>
                </a:cxn>
                <a:cxn ang="0">
                  <a:pos x="connsiteX7834" y="connsiteY7834"/>
                </a:cxn>
                <a:cxn ang="0">
                  <a:pos x="connsiteX7835" y="connsiteY7835"/>
                </a:cxn>
                <a:cxn ang="0">
                  <a:pos x="connsiteX7836" y="connsiteY7836"/>
                </a:cxn>
                <a:cxn ang="0">
                  <a:pos x="connsiteX7837" y="connsiteY7837"/>
                </a:cxn>
                <a:cxn ang="0">
                  <a:pos x="connsiteX7838" y="connsiteY7838"/>
                </a:cxn>
                <a:cxn ang="0">
                  <a:pos x="connsiteX7839" y="connsiteY7839"/>
                </a:cxn>
                <a:cxn ang="0">
                  <a:pos x="connsiteX7840" y="connsiteY7840"/>
                </a:cxn>
                <a:cxn ang="0">
                  <a:pos x="connsiteX7841" y="connsiteY7841"/>
                </a:cxn>
                <a:cxn ang="0">
                  <a:pos x="connsiteX7842" y="connsiteY7842"/>
                </a:cxn>
                <a:cxn ang="0">
                  <a:pos x="connsiteX7843" y="connsiteY7843"/>
                </a:cxn>
                <a:cxn ang="0">
                  <a:pos x="connsiteX7844" y="connsiteY7844"/>
                </a:cxn>
                <a:cxn ang="0">
                  <a:pos x="connsiteX7845" y="connsiteY7845"/>
                </a:cxn>
                <a:cxn ang="0">
                  <a:pos x="connsiteX7846" y="connsiteY7846"/>
                </a:cxn>
                <a:cxn ang="0">
                  <a:pos x="connsiteX7847" y="connsiteY7847"/>
                </a:cxn>
                <a:cxn ang="0">
                  <a:pos x="connsiteX7848" y="connsiteY7848"/>
                </a:cxn>
                <a:cxn ang="0">
                  <a:pos x="connsiteX7849" y="connsiteY7849"/>
                </a:cxn>
                <a:cxn ang="0">
                  <a:pos x="connsiteX7850" y="connsiteY7850"/>
                </a:cxn>
                <a:cxn ang="0">
                  <a:pos x="connsiteX7851" y="connsiteY7851"/>
                </a:cxn>
                <a:cxn ang="0">
                  <a:pos x="connsiteX7852" y="connsiteY7852"/>
                </a:cxn>
                <a:cxn ang="0">
                  <a:pos x="connsiteX7853" y="connsiteY7853"/>
                </a:cxn>
                <a:cxn ang="0">
                  <a:pos x="connsiteX7854" y="connsiteY7854"/>
                </a:cxn>
                <a:cxn ang="0">
                  <a:pos x="connsiteX7855" y="connsiteY7855"/>
                </a:cxn>
                <a:cxn ang="0">
                  <a:pos x="connsiteX7856" y="connsiteY7856"/>
                </a:cxn>
                <a:cxn ang="0">
                  <a:pos x="connsiteX7857" y="connsiteY7857"/>
                </a:cxn>
                <a:cxn ang="0">
                  <a:pos x="connsiteX7858" y="connsiteY7858"/>
                </a:cxn>
                <a:cxn ang="0">
                  <a:pos x="connsiteX7859" y="connsiteY7859"/>
                </a:cxn>
                <a:cxn ang="0">
                  <a:pos x="connsiteX7860" y="connsiteY7860"/>
                </a:cxn>
                <a:cxn ang="0">
                  <a:pos x="connsiteX7861" y="connsiteY7861"/>
                </a:cxn>
                <a:cxn ang="0">
                  <a:pos x="connsiteX7862" y="connsiteY7862"/>
                </a:cxn>
                <a:cxn ang="0">
                  <a:pos x="connsiteX7863" y="connsiteY7863"/>
                </a:cxn>
                <a:cxn ang="0">
                  <a:pos x="connsiteX7864" y="connsiteY7864"/>
                </a:cxn>
                <a:cxn ang="0">
                  <a:pos x="connsiteX7865" y="connsiteY7865"/>
                </a:cxn>
                <a:cxn ang="0">
                  <a:pos x="connsiteX7866" y="connsiteY7866"/>
                </a:cxn>
                <a:cxn ang="0">
                  <a:pos x="connsiteX7867" y="connsiteY7867"/>
                </a:cxn>
                <a:cxn ang="0">
                  <a:pos x="connsiteX7868" y="connsiteY7868"/>
                </a:cxn>
                <a:cxn ang="0">
                  <a:pos x="connsiteX7869" y="connsiteY7869"/>
                </a:cxn>
                <a:cxn ang="0">
                  <a:pos x="connsiteX7870" y="connsiteY7870"/>
                </a:cxn>
                <a:cxn ang="0">
                  <a:pos x="connsiteX7871" y="connsiteY7871"/>
                </a:cxn>
                <a:cxn ang="0">
                  <a:pos x="connsiteX7872" y="connsiteY7872"/>
                </a:cxn>
                <a:cxn ang="0">
                  <a:pos x="connsiteX7873" y="connsiteY7873"/>
                </a:cxn>
                <a:cxn ang="0">
                  <a:pos x="connsiteX7874" y="connsiteY7874"/>
                </a:cxn>
                <a:cxn ang="0">
                  <a:pos x="connsiteX7875" y="connsiteY7875"/>
                </a:cxn>
                <a:cxn ang="0">
                  <a:pos x="connsiteX7876" y="connsiteY7876"/>
                </a:cxn>
                <a:cxn ang="0">
                  <a:pos x="connsiteX7877" y="connsiteY7877"/>
                </a:cxn>
                <a:cxn ang="0">
                  <a:pos x="connsiteX7878" y="connsiteY7878"/>
                </a:cxn>
                <a:cxn ang="0">
                  <a:pos x="connsiteX7879" y="connsiteY7879"/>
                </a:cxn>
                <a:cxn ang="0">
                  <a:pos x="connsiteX7880" y="connsiteY7880"/>
                </a:cxn>
                <a:cxn ang="0">
                  <a:pos x="connsiteX7881" y="connsiteY7881"/>
                </a:cxn>
                <a:cxn ang="0">
                  <a:pos x="connsiteX7882" y="connsiteY7882"/>
                </a:cxn>
                <a:cxn ang="0">
                  <a:pos x="connsiteX7883" y="connsiteY7883"/>
                </a:cxn>
                <a:cxn ang="0">
                  <a:pos x="connsiteX7884" y="connsiteY7884"/>
                </a:cxn>
                <a:cxn ang="0">
                  <a:pos x="connsiteX7885" y="connsiteY7885"/>
                </a:cxn>
                <a:cxn ang="0">
                  <a:pos x="connsiteX7886" y="connsiteY7886"/>
                </a:cxn>
                <a:cxn ang="0">
                  <a:pos x="connsiteX7887" y="connsiteY7887"/>
                </a:cxn>
                <a:cxn ang="0">
                  <a:pos x="connsiteX7888" y="connsiteY7888"/>
                </a:cxn>
                <a:cxn ang="0">
                  <a:pos x="connsiteX7889" y="connsiteY7889"/>
                </a:cxn>
                <a:cxn ang="0">
                  <a:pos x="connsiteX7890" y="connsiteY7890"/>
                </a:cxn>
                <a:cxn ang="0">
                  <a:pos x="connsiteX7891" y="connsiteY7891"/>
                </a:cxn>
                <a:cxn ang="0">
                  <a:pos x="connsiteX7892" y="connsiteY7892"/>
                </a:cxn>
                <a:cxn ang="0">
                  <a:pos x="connsiteX7893" y="connsiteY7893"/>
                </a:cxn>
                <a:cxn ang="0">
                  <a:pos x="connsiteX7894" y="connsiteY7894"/>
                </a:cxn>
                <a:cxn ang="0">
                  <a:pos x="connsiteX7895" y="connsiteY7895"/>
                </a:cxn>
                <a:cxn ang="0">
                  <a:pos x="connsiteX7896" y="connsiteY7896"/>
                </a:cxn>
                <a:cxn ang="0">
                  <a:pos x="connsiteX7897" y="connsiteY7897"/>
                </a:cxn>
                <a:cxn ang="0">
                  <a:pos x="connsiteX7898" y="connsiteY7898"/>
                </a:cxn>
                <a:cxn ang="0">
                  <a:pos x="connsiteX7899" y="connsiteY7899"/>
                </a:cxn>
                <a:cxn ang="0">
                  <a:pos x="connsiteX7900" y="connsiteY7900"/>
                </a:cxn>
                <a:cxn ang="0">
                  <a:pos x="connsiteX7901" y="connsiteY7901"/>
                </a:cxn>
                <a:cxn ang="0">
                  <a:pos x="connsiteX7902" y="connsiteY7902"/>
                </a:cxn>
                <a:cxn ang="0">
                  <a:pos x="connsiteX7903" y="connsiteY7903"/>
                </a:cxn>
                <a:cxn ang="0">
                  <a:pos x="connsiteX7904" y="connsiteY7904"/>
                </a:cxn>
                <a:cxn ang="0">
                  <a:pos x="connsiteX7905" y="connsiteY7905"/>
                </a:cxn>
                <a:cxn ang="0">
                  <a:pos x="connsiteX7906" y="connsiteY7906"/>
                </a:cxn>
                <a:cxn ang="0">
                  <a:pos x="connsiteX7907" y="connsiteY7907"/>
                </a:cxn>
                <a:cxn ang="0">
                  <a:pos x="connsiteX7908" y="connsiteY7908"/>
                </a:cxn>
                <a:cxn ang="0">
                  <a:pos x="connsiteX7909" y="connsiteY7909"/>
                </a:cxn>
                <a:cxn ang="0">
                  <a:pos x="connsiteX7910" y="connsiteY7910"/>
                </a:cxn>
                <a:cxn ang="0">
                  <a:pos x="connsiteX7911" y="connsiteY7911"/>
                </a:cxn>
                <a:cxn ang="0">
                  <a:pos x="connsiteX7912" y="connsiteY7912"/>
                </a:cxn>
                <a:cxn ang="0">
                  <a:pos x="connsiteX7913" y="connsiteY7913"/>
                </a:cxn>
                <a:cxn ang="0">
                  <a:pos x="connsiteX7914" y="connsiteY7914"/>
                </a:cxn>
                <a:cxn ang="0">
                  <a:pos x="connsiteX7915" y="connsiteY7915"/>
                </a:cxn>
                <a:cxn ang="0">
                  <a:pos x="connsiteX7916" y="connsiteY7916"/>
                </a:cxn>
                <a:cxn ang="0">
                  <a:pos x="connsiteX7917" y="connsiteY7917"/>
                </a:cxn>
                <a:cxn ang="0">
                  <a:pos x="connsiteX7918" y="connsiteY7918"/>
                </a:cxn>
                <a:cxn ang="0">
                  <a:pos x="connsiteX7919" y="connsiteY7919"/>
                </a:cxn>
                <a:cxn ang="0">
                  <a:pos x="connsiteX7920" y="connsiteY7920"/>
                </a:cxn>
                <a:cxn ang="0">
                  <a:pos x="connsiteX7921" y="connsiteY7921"/>
                </a:cxn>
                <a:cxn ang="0">
                  <a:pos x="connsiteX7922" y="connsiteY7922"/>
                </a:cxn>
                <a:cxn ang="0">
                  <a:pos x="connsiteX7923" y="connsiteY7923"/>
                </a:cxn>
                <a:cxn ang="0">
                  <a:pos x="connsiteX7924" y="connsiteY7924"/>
                </a:cxn>
                <a:cxn ang="0">
                  <a:pos x="connsiteX7925" y="connsiteY7925"/>
                </a:cxn>
                <a:cxn ang="0">
                  <a:pos x="connsiteX7926" y="connsiteY7926"/>
                </a:cxn>
                <a:cxn ang="0">
                  <a:pos x="connsiteX7927" y="connsiteY7927"/>
                </a:cxn>
                <a:cxn ang="0">
                  <a:pos x="connsiteX7928" y="connsiteY7928"/>
                </a:cxn>
                <a:cxn ang="0">
                  <a:pos x="connsiteX7929" y="connsiteY7929"/>
                </a:cxn>
                <a:cxn ang="0">
                  <a:pos x="connsiteX7930" y="connsiteY7930"/>
                </a:cxn>
                <a:cxn ang="0">
                  <a:pos x="connsiteX7931" y="connsiteY7931"/>
                </a:cxn>
                <a:cxn ang="0">
                  <a:pos x="connsiteX7932" y="connsiteY7932"/>
                </a:cxn>
                <a:cxn ang="0">
                  <a:pos x="connsiteX7933" y="connsiteY7933"/>
                </a:cxn>
                <a:cxn ang="0">
                  <a:pos x="connsiteX7934" y="connsiteY7934"/>
                </a:cxn>
                <a:cxn ang="0">
                  <a:pos x="connsiteX7935" y="connsiteY7935"/>
                </a:cxn>
                <a:cxn ang="0">
                  <a:pos x="connsiteX7936" y="connsiteY7936"/>
                </a:cxn>
                <a:cxn ang="0">
                  <a:pos x="connsiteX7937" y="connsiteY7937"/>
                </a:cxn>
                <a:cxn ang="0">
                  <a:pos x="connsiteX7938" y="connsiteY7938"/>
                </a:cxn>
                <a:cxn ang="0">
                  <a:pos x="connsiteX7939" y="connsiteY7939"/>
                </a:cxn>
                <a:cxn ang="0">
                  <a:pos x="connsiteX7940" y="connsiteY7940"/>
                </a:cxn>
                <a:cxn ang="0">
                  <a:pos x="connsiteX7941" y="connsiteY7941"/>
                </a:cxn>
                <a:cxn ang="0">
                  <a:pos x="connsiteX7942" y="connsiteY7942"/>
                </a:cxn>
                <a:cxn ang="0">
                  <a:pos x="connsiteX7943" y="connsiteY7943"/>
                </a:cxn>
                <a:cxn ang="0">
                  <a:pos x="connsiteX7944" y="connsiteY7944"/>
                </a:cxn>
                <a:cxn ang="0">
                  <a:pos x="connsiteX7945" y="connsiteY7945"/>
                </a:cxn>
                <a:cxn ang="0">
                  <a:pos x="connsiteX7946" y="connsiteY7946"/>
                </a:cxn>
                <a:cxn ang="0">
                  <a:pos x="connsiteX7947" y="connsiteY7947"/>
                </a:cxn>
                <a:cxn ang="0">
                  <a:pos x="connsiteX7948" y="connsiteY7948"/>
                </a:cxn>
                <a:cxn ang="0">
                  <a:pos x="connsiteX7949" y="connsiteY7949"/>
                </a:cxn>
                <a:cxn ang="0">
                  <a:pos x="connsiteX7950" y="connsiteY7950"/>
                </a:cxn>
                <a:cxn ang="0">
                  <a:pos x="connsiteX7951" y="connsiteY7951"/>
                </a:cxn>
                <a:cxn ang="0">
                  <a:pos x="connsiteX7952" y="connsiteY7952"/>
                </a:cxn>
                <a:cxn ang="0">
                  <a:pos x="connsiteX7953" y="connsiteY7953"/>
                </a:cxn>
                <a:cxn ang="0">
                  <a:pos x="connsiteX7954" y="connsiteY7954"/>
                </a:cxn>
                <a:cxn ang="0">
                  <a:pos x="connsiteX7955" y="connsiteY7955"/>
                </a:cxn>
                <a:cxn ang="0">
                  <a:pos x="connsiteX7956" y="connsiteY7956"/>
                </a:cxn>
                <a:cxn ang="0">
                  <a:pos x="connsiteX7957" y="connsiteY7957"/>
                </a:cxn>
                <a:cxn ang="0">
                  <a:pos x="connsiteX7958" y="connsiteY7958"/>
                </a:cxn>
                <a:cxn ang="0">
                  <a:pos x="connsiteX7959" y="connsiteY7959"/>
                </a:cxn>
                <a:cxn ang="0">
                  <a:pos x="connsiteX7960" y="connsiteY7960"/>
                </a:cxn>
                <a:cxn ang="0">
                  <a:pos x="connsiteX7961" y="connsiteY7961"/>
                </a:cxn>
                <a:cxn ang="0">
                  <a:pos x="connsiteX7962" y="connsiteY7962"/>
                </a:cxn>
                <a:cxn ang="0">
                  <a:pos x="connsiteX7963" y="connsiteY7963"/>
                </a:cxn>
                <a:cxn ang="0">
                  <a:pos x="connsiteX7964" y="connsiteY7964"/>
                </a:cxn>
                <a:cxn ang="0">
                  <a:pos x="connsiteX7965" y="connsiteY7965"/>
                </a:cxn>
                <a:cxn ang="0">
                  <a:pos x="connsiteX7966" y="connsiteY7966"/>
                </a:cxn>
                <a:cxn ang="0">
                  <a:pos x="connsiteX7967" y="connsiteY7967"/>
                </a:cxn>
                <a:cxn ang="0">
                  <a:pos x="connsiteX7968" y="connsiteY7968"/>
                </a:cxn>
                <a:cxn ang="0">
                  <a:pos x="connsiteX7969" y="connsiteY7969"/>
                </a:cxn>
                <a:cxn ang="0">
                  <a:pos x="connsiteX7970" y="connsiteY7970"/>
                </a:cxn>
                <a:cxn ang="0">
                  <a:pos x="connsiteX7971" y="connsiteY7971"/>
                </a:cxn>
                <a:cxn ang="0">
                  <a:pos x="connsiteX7972" y="connsiteY7972"/>
                </a:cxn>
                <a:cxn ang="0">
                  <a:pos x="connsiteX7973" y="connsiteY7973"/>
                </a:cxn>
                <a:cxn ang="0">
                  <a:pos x="connsiteX7974" y="connsiteY7974"/>
                </a:cxn>
                <a:cxn ang="0">
                  <a:pos x="connsiteX7975" y="connsiteY7975"/>
                </a:cxn>
                <a:cxn ang="0">
                  <a:pos x="connsiteX7976" y="connsiteY7976"/>
                </a:cxn>
                <a:cxn ang="0">
                  <a:pos x="connsiteX7977" y="connsiteY7977"/>
                </a:cxn>
                <a:cxn ang="0">
                  <a:pos x="connsiteX7978" y="connsiteY7978"/>
                </a:cxn>
                <a:cxn ang="0">
                  <a:pos x="connsiteX7979" y="connsiteY7979"/>
                </a:cxn>
                <a:cxn ang="0">
                  <a:pos x="connsiteX7980" y="connsiteY7980"/>
                </a:cxn>
                <a:cxn ang="0">
                  <a:pos x="connsiteX7981" y="connsiteY7981"/>
                </a:cxn>
                <a:cxn ang="0">
                  <a:pos x="connsiteX7982" y="connsiteY7982"/>
                </a:cxn>
                <a:cxn ang="0">
                  <a:pos x="connsiteX7983" y="connsiteY7983"/>
                </a:cxn>
                <a:cxn ang="0">
                  <a:pos x="connsiteX7984" y="connsiteY7984"/>
                </a:cxn>
                <a:cxn ang="0">
                  <a:pos x="connsiteX7985" y="connsiteY7985"/>
                </a:cxn>
                <a:cxn ang="0">
                  <a:pos x="connsiteX7986" y="connsiteY7986"/>
                </a:cxn>
                <a:cxn ang="0">
                  <a:pos x="connsiteX7987" y="connsiteY7987"/>
                </a:cxn>
                <a:cxn ang="0">
                  <a:pos x="connsiteX7988" y="connsiteY7988"/>
                </a:cxn>
                <a:cxn ang="0">
                  <a:pos x="connsiteX7989" y="connsiteY7989"/>
                </a:cxn>
                <a:cxn ang="0">
                  <a:pos x="connsiteX7990" y="connsiteY7990"/>
                </a:cxn>
                <a:cxn ang="0">
                  <a:pos x="connsiteX7991" y="connsiteY7991"/>
                </a:cxn>
                <a:cxn ang="0">
                  <a:pos x="connsiteX7992" y="connsiteY7992"/>
                </a:cxn>
                <a:cxn ang="0">
                  <a:pos x="connsiteX7993" y="connsiteY7993"/>
                </a:cxn>
                <a:cxn ang="0">
                  <a:pos x="connsiteX7994" y="connsiteY7994"/>
                </a:cxn>
                <a:cxn ang="0">
                  <a:pos x="connsiteX7995" y="connsiteY7995"/>
                </a:cxn>
                <a:cxn ang="0">
                  <a:pos x="connsiteX7996" y="connsiteY7996"/>
                </a:cxn>
                <a:cxn ang="0">
                  <a:pos x="connsiteX7997" y="connsiteY7997"/>
                </a:cxn>
                <a:cxn ang="0">
                  <a:pos x="connsiteX7998" y="connsiteY7998"/>
                </a:cxn>
                <a:cxn ang="0">
                  <a:pos x="connsiteX7999" y="connsiteY7999"/>
                </a:cxn>
                <a:cxn ang="0">
                  <a:pos x="connsiteX8000" y="connsiteY8000"/>
                </a:cxn>
                <a:cxn ang="0">
                  <a:pos x="connsiteX8001" y="connsiteY8001"/>
                </a:cxn>
                <a:cxn ang="0">
                  <a:pos x="connsiteX8002" y="connsiteY8002"/>
                </a:cxn>
                <a:cxn ang="0">
                  <a:pos x="connsiteX8003" y="connsiteY8003"/>
                </a:cxn>
                <a:cxn ang="0">
                  <a:pos x="connsiteX8004" y="connsiteY8004"/>
                </a:cxn>
                <a:cxn ang="0">
                  <a:pos x="connsiteX8005" y="connsiteY8005"/>
                </a:cxn>
                <a:cxn ang="0">
                  <a:pos x="connsiteX8006" y="connsiteY8006"/>
                </a:cxn>
                <a:cxn ang="0">
                  <a:pos x="connsiteX8007" y="connsiteY8007"/>
                </a:cxn>
                <a:cxn ang="0">
                  <a:pos x="connsiteX8008" y="connsiteY8008"/>
                </a:cxn>
                <a:cxn ang="0">
                  <a:pos x="connsiteX8009" y="connsiteY8009"/>
                </a:cxn>
                <a:cxn ang="0">
                  <a:pos x="connsiteX8010" y="connsiteY8010"/>
                </a:cxn>
                <a:cxn ang="0">
                  <a:pos x="connsiteX8011" y="connsiteY8011"/>
                </a:cxn>
                <a:cxn ang="0">
                  <a:pos x="connsiteX8012" y="connsiteY8012"/>
                </a:cxn>
                <a:cxn ang="0">
                  <a:pos x="connsiteX8013" y="connsiteY8013"/>
                </a:cxn>
                <a:cxn ang="0">
                  <a:pos x="connsiteX8014" y="connsiteY8014"/>
                </a:cxn>
                <a:cxn ang="0">
                  <a:pos x="connsiteX8015" y="connsiteY8015"/>
                </a:cxn>
                <a:cxn ang="0">
                  <a:pos x="connsiteX8016" y="connsiteY8016"/>
                </a:cxn>
                <a:cxn ang="0">
                  <a:pos x="connsiteX8017" y="connsiteY8017"/>
                </a:cxn>
                <a:cxn ang="0">
                  <a:pos x="connsiteX8018" y="connsiteY8018"/>
                </a:cxn>
                <a:cxn ang="0">
                  <a:pos x="connsiteX8019" y="connsiteY8019"/>
                </a:cxn>
                <a:cxn ang="0">
                  <a:pos x="connsiteX8020" y="connsiteY8020"/>
                </a:cxn>
                <a:cxn ang="0">
                  <a:pos x="connsiteX8021" y="connsiteY8021"/>
                </a:cxn>
                <a:cxn ang="0">
                  <a:pos x="connsiteX8022" y="connsiteY8022"/>
                </a:cxn>
                <a:cxn ang="0">
                  <a:pos x="connsiteX8023" y="connsiteY8023"/>
                </a:cxn>
                <a:cxn ang="0">
                  <a:pos x="connsiteX8024" y="connsiteY8024"/>
                </a:cxn>
                <a:cxn ang="0">
                  <a:pos x="connsiteX8025" y="connsiteY8025"/>
                </a:cxn>
                <a:cxn ang="0">
                  <a:pos x="connsiteX8026" y="connsiteY8026"/>
                </a:cxn>
                <a:cxn ang="0">
                  <a:pos x="connsiteX8027" y="connsiteY8027"/>
                </a:cxn>
                <a:cxn ang="0">
                  <a:pos x="connsiteX8028" y="connsiteY8028"/>
                </a:cxn>
                <a:cxn ang="0">
                  <a:pos x="connsiteX8029" y="connsiteY8029"/>
                </a:cxn>
                <a:cxn ang="0">
                  <a:pos x="connsiteX8030" y="connsiteY8030"/>
                </a:cxn>
                <a:cxn ang="0">
                  <a:pos x="connsiteX8031" y="connsiteY8031"/>
                </a:cxn>
                <a:cxn ang="0">
                  <a:pos x="connsiteX8032" y="connsiteY8032"/>
                </a:cxn>
                <a:cxn ang="0">
                  <a:pos x="connsiteX8033" y="connsiteY8033"/>
                </a:cxn>
                <a:cxn ang="0">
                  <a:pos x="connsiteX8034" y="connsiteY8034"/>
                </a:cxn>
                <a:cxn ang="0">
                  <a:pos x="connsiteX8035" y="connsiteY8035"/>
                </a:cxn>
                <a:cxn ang="0">
                  <a:pos x="connsiteX8036" y="connsiteY8036"/>
                </a:cxn>
                <a:cxn ang="0">
                  <a:pos x="connsiteX8037" y="connsiteY8037"/>
                </a:cxn>
                <a:cxn ang="0">
                  <a:pos x="connsiteX8038" y="connsiteY8038"/>
                </a:cxn>
                <a:cxn ang="0">
                  <a:pos x="connsiteX8039" y="connsiteY8039"/>
                </a:cxn>
                <a:cxn ang="0">
                  <a:pos x="connsiteX8040" y="connsiteY8040"/>
                </a:cxn>
                <a:cxn ang="0">
                  <a:pos x="connsiteX8041" y="connsiteY8041"/>
                </a:cxn>
                <a:cxn ang="0">
                  <a:pos x="connsiteX8042" y="connsiteY8042"/>
                </a:cxn>
                <a:cxn ang="0">
                  <a:pos x="connsiteX8043" y="connsiteY8043"/>
                </a:cxn>
                <a:cxn ang="0">
                  <a:pos x="connsiteX8044" y="connsiteY8044"/>
                </a:cxn>
                <a:cxn ang="0">
                  <a:pos x="connsiteX8045" y="connsiteY8045"/>
                </a:cxn>
                <a:cxn ang="0">
                  <a:pos x="connsiteX8046" y="connsiteY8046"/>
                </a:cxn>
                <a:cxn ang="0">
                  <a:pos x="connsiteX8047" y="connsiteY8047"/>
                </a:cxn>
                <a:cxn ang="0">
                  <a:pos x="connsiteX8048" y="connsiteY8048"/>
                </a:cxn>
                <a:cxn ang="0">
                  <a:pos x="connsiteX8049" y="connsiteY8049"/>
                </a:cxn>
                <a:cxn ang="0">
                  <a:pos x="connsiteX8050" y="connsiteY8050"/>
                </a:cxn>
                <a:cxn ang="0">
                  <a:pos x="connsiteX8051" y="connsiteY8051"/>
                </a:cxn>
                <a:cxn ang="0">
                  <a:pos x="connsiteX8052" y="connsiteY8052"/>
                </a:cxn>
                <a:cxn ang="0">
                  <a:pos x="connsiteX8053" y="connsiteY8053"/>
                </a:cxn>
                <a:cxn ang="0">
                  <a:pos x="connsiteX8054" y="connsiteY8054"/>
                </a:cxn>
                <a:cxn ang="0">
                  <a:pos x="connsiteX8055" y="connsiteY8055"/>
                </a:cxn>
                <a:cxn ang="0">
                  <a:pos x="connsiteX8056" y="connsiteY8056"/>
                </a:cxn>
                <a:cxn ang="0">
                  <a:pos x="connsiteX8057" y="connsiteY8057"/>
                </a:cxn>
                <a:cxn ang="0">
                  <a:pos x="connsiteX8058" y="connsiteY8058"/>
                </a:cxn>
                <a:cxn ang="0">
                  <a:pos x="connsiteX8059" y="connsiteY8059"/>
                </a:cxn>
                <a:cxn ang="0">
                  <a:pos x="connsiteX8060" y="connsiteY8060"/>
                </a:cxn>
                <a:cxn ang="0">
                  <a:pos x="connsiteX8061" y="connsiteY8061"/>
                </a:cxn>
                <a:cxn ang="0">
                  <a:pos x="connsiteX8062" y="connsiteY8062"/>
                </a:cxn>
                <a:cxn ang="0">
                  <a:pos x="connsiteX8063" y="connsiteY8063"/>
                </a:cxn>
                <a:cxn ang="0">
                  <a:pos x="connsiteX8064" y="connsiteY8064"/>
                </a:cxn>
                <a:cxn ang="0">
                  <a:pos x="connsiteX8065" y="connsiteY8065"/>
                </a:cxn>
                <a:cxn ang="0">
                  <a:pos x="connsiteX8066" y="connsiteY8066"/>
                </a:cxn>
                <a:cxn ang="0">
                  <a:pos x="connsiteX8067" y="connsiteY8067"/>
                </a:cxn>
                <a:cxn ang="0">
                  <a:pos x="connsiteX8068" y="connsiteY8068"/>
                </a:cxn>
                <a:cxn ang="0">
                  <a:pos x="connsiteX8069" y="connsiteY8069"/>
                </a:cxn>
                <a:cxn ang="0">
                  <a:pos x="connsiteX8070" y="connsiteY8070"/>
                </a:cxn>
                <a:cxn ang="0">
                  <a:pos x="connsiteX8071" y="connsiteY8071"/>
                </a:cxn>
                <a:cxn ang="0">
                  <a:pos x="connsiteX8072" y="connsiteY8072"/>
                </a:cxn>
                <a:cxn ang="0">
                  <a:pos x="connsiteX8073" y="connsiteY8073"/>
                </a:cxn>
                <a:cxn ang="0">
                  <a:pos x="connsiteX8074" y="connsiteY8074"/>
                </a:cxn>
                <a:cxn ang="0">
                  <a:pos x="connsiteX8075" y="connsiteY8075"/>
                </a:cxn>
                <a:cxn ang="0">
                  <a:pos x="connsiteX8076" y="connsiteY8076"/>
                </a:cxn>
                <a:cxn ang="0">
                  <a:pos x="connsiteX8077" y="connsiteY8077"/>
                </a:cxn>
                <a:cxn ang="0">
                  <a:pos x="connsiteX8078" y="connsiteY8078"/>
                </a:cxn>
                <a:cxn ang="0">
                  <a:pos x="connsiteX8079" y="connsiteY8079"/>
                </a:cxn>
                <a:cxn ang="0">
                  <a:pos x="connsiteX8080" y="connsiteY8080"/>
                </a:cxn>
                <a:cxn ang="0">
                  <a:pos x="connsiteX8081" y="connsiteY8081"/>
                </a:cxn>
                <a:cxn ang="0">
                  <a:pos x="connsiteX8082" y="connsiteY8082"/>
                </a:cxn>
                <a:cxn ang="0">
                  <a:pos x="connsiteX8083" y="connsiteY8083"/>
                </a:cxn>
                <a:cxn ang="0">
                  <a:pos x="connsiteX8084" y="connsiteY8084"/>
                </a:cxn>
                <a:cxn ang="0">
                  <a:pos x="connsiteX8085" y="connsiteY8085"/>
                </a:cxn>
                <a:cxn ang="0">
                  <a:pos x="connsiteX8086" y="connsiteY8086"/>
                </a:cxn>
                <a:cxn ang="0">
                  <a:pos x="connsiteX8087" y="connsiteY8087"/>
                </a:cxn>
                <a:cxn ang="0">
                  <a:pos x="connsiteX8088" y="connsiteY8088"/>
                </a:cxn>
                <a:cxn ang="0">
                  <a:pos x="connsiteX8089" y="connsiteY8089"/>
                </a:cxn>
                <a:cxn ang="0">
                  <a:pos x="connsiteX8090" y="connsiteY8090"/>
                </a:cxn>
                <a:cxn ang="0">
                  <a:pos x="connsiteX8091" y="connsiteY8091"/>
                </a:cxn>
                <a:cxn ang="0">
                  <a:pos x="connsiteX8092" y="connsiteY8092"/>
                </a:cxn>
                <a:cxn ang="0">
                  <a:pos x="connsiteX8093" y="connsiteY8093"/>
                </a:cxn>
                <a:cxn ang="0">
                  <a:pos x="connsiteX8094" y="connsiteY8094"/>
                </a:cxn>
                <a:cxn ang="0">
                  <a:pos x="connsiteX8095" y="connsiteY8095"/>
                </a:cxn>
                <a:cxn ang="0">
                  <a:pos x="connsiteX8096" y="connsiteY8096"/>
                </a:cxn>
                <a:cxn ang="0">
                  <a:pos x="connsiteX8097" y="connsiteY8097"/>
                </a:cxn>
                <a:cxn ang="0">
                  <a:pos x="connsiteX8098" y="connsiteY8098"/>
                </a:cxn>
                <a:cxn ang="0">
                  <a:pos x="connsiteX8099" y="connsiteY8099"/>
                </a:cxn>
                <a:cxn ang="0">
                  <a:pos x="connsiteX8100" y="connsiteY8100"/>
                </a:cxn>
                <a:cxn ang="0">
                  <a:pos x="connsiteX8101" y="connsiteY8101"/>
                </a:cxn>
                <a:cxn ang="0">
                  <a:pos x="connsiteX8102" y="connsiteY8102"/>
                </a:cxn>
                <a:cxn ang="0">
                  <a:pos x="connsiteX8103" y="connsiteY8103"/>
                </a:cxn>
                <a:cxn ang="0">
                  <a:pos x="connsiteX8104" y="connsiteY8104"/>
                </a:cxn>
                <a:cxn ang="0">
                  <a:pos x="connsiteX8105" y="connsiteY8105"/>
                </a:cxn>
                <a:cxn ang="0">
                  <a:pos x="connsiteX8106" y="connsiteY8106"/>
                </a:cxn>
                <a:cxn ang="0">
                  <a:pos x="connsiteX8107" y="connsiteY8107"/>
                </a:cxn>
                <a:cxn ang="0">
                  <a:pos x="connsiteX8108" y="connsiteY8108"/>
                </a:cxn>
                <a:cxn ang="0">
                  <a:pos x="connsiteX8109" y="connsiteY8109"/>
                </a:cxn>
                <a:cxn ang="0">
                  <a:pos x="connsiteX8110" y="connsiteY8110"/>
                </a:cxn>
                <a:cxn ang="0">
                  <a:pos x="connsiteX8111" y="connsiteY8111"/>
                </a:cxn>
                <a:cxn ang="0">
                  <a:pos x="connsiteX8112" y="connsiteY8112"/>
                </a:cxn>
                <a:cxn ang="0">
                  <a:pos x="connsiteX8113" y="connsiteY8113"/>
                </a:cxn>
                <a:cxn ang="0">
                  <a:pos x="connsiteX8114" y="connsiteY8114"/>
                </a:cxn>
                <a:cxn ang="0">
                  <a:pos x="connsiteX8115" y="connsiteY8115"/>
                </a:cxn>
                <a:cxn ang="0">
                  <a:pos x="connsiteX8116" y="connsiteY8116"/>
                </a:cxn>
                <a:cxn ang="0">
                  <a:pos x="connsiteX8117" y="connsiteY8117"/>
                </a:cxn>
                <a:cxn ang="0">
                  <a:pos x="connsiteX8118" y="connsiteY8118"/>
                </a:cxn>
                <a:cxn ang="0">
                  <a:pos x="connsiteX8119" y="connsiteY8119"/>
                </a:cxn>
                <a:cxn ang="0">
                  <a:pos x="connsiteX8120" y="connsiteY8120"/>
                </a:cxn>
                <a:cxn ang="0">
                  <a:pos x="connsiteX8121" y="connsiteY8121"/>
                </a:cxn>
                <a:cxn ang="0">
                  <a:pos x="connsiteX8122" y="connsiteY8122"/>
                </a:cxn>
                <a:cxn ang="0">
                  <a:pos x="connsiteX8123" y="connsiteY8123"/>
                </a:cxn>
                <a:cxn ang="0">
                  <a:pos x="connsiteX8124" y="connsiteY8124"/>
                </a:cxn>
                <a:cxn ang="0">
                  <a:pos x="connsiteX8125" y="connsiteY8125"/>
                </a:cxn>
                <a:cxn ang="0">
                  <a:pos x="connsiteX8126" y="connsiteY8126"/>
                </a:cxn>
                <a:cxn ang="0">
                  <a:pos x="connsiteX8127" y="connsiteY8127"/>
                </a:cxn>
                <a:cxn ang="0">
                  <a:pos x="connsiteX8128" y="connsiteY8128"/>
                </a:cxn>
                <a:cxn ang="0">
                  <a:pos x="connsiteX8129" y="connsiteY8129"/>
                </a:cxn>
                <a:cxn ang="0">
                  <a:pos x="connsiteX8130" y="connsiteY8130"/>
                </a:cxn>
                <a:cxn ang="0">
                  <a:pos x="connsiteX8131" y="connsiteY8131"/>
                </a:cxn>
                <a:cxn ang="0">
                  <a:pos x="connsiteX8132" y="connsiteY8132"/>
                </a:cxn>
                <a:cxn ang="0">
                  <a:pos x="connsiteX8133" y="connsiteY8133"/>
                </a:cxn>
                <a:cxn ang="0">
                  <a:pos x="connsiteX8134" y="connsiteY8134"/>
                </a:cxn>
                <a:cxn ang="0">
                  <a:pos x="connsiteX8135" y="connsiteY8135"/>
                </a:cxn>
                <a:cxn ang="0">
                  <a:pos x="connsiteX8136" y="connsiteY8136"/>
                </a:cxn>
                <a:cxn ang="0">
                  <a:pos x="connsiteX8137" y="connsiteY8137"/>
                </a:cxn>
                <a:cxn ang="0">
                  <a:pos x="connsiteX8138" y="connsiteY8138"/>
                </a:cxn>
                <a:cxn ang="0">
                  <a:pos x="connsiteX8139" y="connsiteY8139"/>
                </a:cxn>
                <a:cxn ang="0">
                  <a:pos x="connsiteX8140" y="connsiteY8140"/>
                </a:cxn>
                <a:cxn ang="0">
                  <a:pos x="connsiteX8141" y="connsiteY8141"/>
                </a:cxn>
                <a:cxn ang="0">
                  <a:pos x="connsiteX8142" y="connsiteY8142"/>
                </a:cxn>
                <a:cxn ang="0">
                  <a:pos x="connsiteX8143" y="connsiteY8143"/>
                </a:cxn>
                <a:cxn ang="0">
                  <a:pos x="connsiteX8144" y="connsiteY8144"/>
                </a:cxn>
                <a:cxn ang="0">
                  <a:pos x="connsiteX8145" y="connsiteY8145"/>
                </a:cxn>
                <a:cxn ang="0">
                  <a:pos x="connsiteX8146" y="connsiteY8146"/>
                </a:cxn>
                <a:cxn ang="0">
                  <a:pos x="connsiteX8147" y="connsiteY8147"/>
                </a:cxn>
                <a:cxn ang="0">
                  <a:pos x="connsiteX8148" y="connsiteY8148"/>
                </a:cxn>
                <a:cxn ang="0">
                  <a:pos x="connsiteX8149" y="connsiteY8149"/>
                </a:cxn>
                <a:cxn ang="0">
                  <a:pos x="connsiteX8150" y="connsiteY8150"/>
                </a:cxn>
                <a:cxn ang="0">
                  <a:pos x="connsiteX8151" y="connsiteY8151"/>
                </a:cxn>
                <a:cxn ang="0">
                  <a:pos x="connsiteX8152" y="connsiteY8152"/>
                </a:cxn>
                <a:cxn ang="0">
                  <a:pos x="connsiteX8153" y="connsiteY8153"/>
                </a:cxn>
                <a:cxn ang="0">
                  <a:pos x="connsiteX8154" y="connsiteY8154"/>
                </a:cxn>
                <a:cxn ang="0">
                  <a:pos x="connsiteX8155" y="connsiteY8155"/>
                </a:cxn>
                <a:cxn ang="0">
                  <a:pos x="connsiteX8156" y="connsiteY8156"/>
                </a:cxn>
                <a:cxn ang="0">
                  <a:pos x="connsiteX8157" y="connsiteY8157"/>
                </a:cxn>
                <a:cxn ang="0">
                  <a:pos x="connsiteX8158" y="connsiteY8158"/>
                </a:cxn>
                <a:cxn ang="0">
                  <a:pos x="connsiteX8159" y="connsiteY8159"/>
                </a:cxn>
                <a:cxn ang="0">
                  <a:pos x="connsiteX8160" y="connsiteY8160"/>
                </a:cxn>
                <a:cxn ang="0">
                  <a:pos x="connsiteX8161" y="connsiteY8161"/>
                </a:cxn>
                <a:cxn ang="0">
                  <a:pos x="connsiteX8162" y="connsiteY8162"/>
                </a:cxn>
                <a:cxn ang="0">
                  <a:pos x="connsiteX8163" y="connsiteY8163"/>
                </a:cxn>
                <a:cxn ang="0">
                  <a:pos x="connsiteX8164" y="connsiteY8164"/>
                </a:cxn>
                <a:cxn ang="0">
                  <a:pos x="connsiteX8165" y="connsiteY8165"/>
                </a:cxn>
                <a:cxn ang="0">
                  <a:pos x="connsiteX8166" y="connsiteY8166"/>
                </a:cxn>
                <a:cxn ang="0">
                  <a:pos x="connsiteX8167" y="connsiteY8167"/>
                </a:cxn>
                <a:cxn ang="0">
                  <a:pos x="connsiteX8168" y="connsiteY8168"/>
                </a:cxn>
                <a:cxn ang="0">
                  <a:pos x="connsiteX8169" y="connsiteY8169"/>
                </a:cxn>
                <a:cxn ang="0">
                  <a:pos x="connsiteX8170" y="connsiteY8170"/>
                </a:cxn>
                <a:cxn ang="0">
                  <a:pos x="connsiteX8171" y="connsiteY8171"/>
                </a:cxn>
                <a:cxn ang="0">
                  <a:pos x="connsiteX8172" y="connsiteY8172"/>
                </a:cxn>
                <a:cxn ang="0">
                  <a:pos x="connsiteX8173" y="connsiteY8173"/>
                </a:cxn>
                <a:cxn ang="0">
                  <a:pos x="connsiteX8174" y="connsiteY8174"/>
                </a:cxn>
                <a:cxn ang="0">
                  <a:pos x="connsiteX8175" y="connsiteY8175"/>
                </a:cxn>
                <a:cxn ang="0">
                  <a:pos x="connsiteX8176" y="connsiteY8176"/>
                </a:cxn>
                <a:cxn ang="0">
                  <a:pos x="connsiteX8177" y="connsiteY8177"/>
                </a:cxn>
                <a:cxn ang="0">
                  <a:pos x="connsiteX8178" y="connsiteY8178"/>
                </a:cxn>
                <a:cxn ang="0">
                  <a:pos x="connsiteX8179" y="connsiteY8179"/>
                </a:cxn>
                <a:cxn ang="0">
                  <a:pos x="connsiteX8180" y="connsiteY8180"/>
                </a:cxn>
                <a:cxn ang="0">
                  <a:pos x="connsiteX8181" y="connsiteY8181"/>
                </a:cxn>
                <a:cxn ang="0">
                  <a:pos x="connsiteX8182" y="connsiteY8182"/>
                </a:cxn>
                <a:cxn ang="0">
                  <a:pos x="connsiteX8183" y="connsiteY8183"/>
                </a:cxn>
                <a:cxn ang="0">
                  <a:pos x="connsiteX8184" y="connsiteY8184"/>
                </a:cxn>
                <a:cxn ang="0">
                  <a:pos x="connsiteX8185" y="connsiteY8185"/>
                </a:cxn>
                <a:cxn ang="0">
                  <a:pos x="connsiteX8186" y="connsiteY8186"/>
                </a:cxn>
                <a:cxn ang="0">
                  <a:pos x="connsiteX8187" y="connsiteY8187"/>
                </a:cxn>
                <a:cxn ang="0">
                  <a:pos x="connsiteX8188" y="connsiteY8188"/>
                </a:cxn>
                <a:cxn ang="0">
                  <a:pos x="connsiteX8189" y="connsiteY8189"/>
                </a:cxn>
                <a:cxn ang="0">
                  <a:pos x="connsiteX8190" y="connsiteY8190"/>
                </a:cxn>
                <a:cxn ang="0">
                  <a:pos x="connsiteX8191" y="connsiteY8191"/>
                </a:cxn>
                <a:cxn ang="0">
                  <a:pos x="connsiteX8192" y="connsiteY8192"/>
                </a:cxn>
                <a:cxn ang="0">
                  <a:pos x="connsiteX8193" y="connsiteY8193"/>
                </a:cxn>
                <a:cxn ang="0">
                  <a:pos x="connsiteX8194" y="connsiteY8194"/>
                </a:cxn>
                <a:cxn ang="0">
                  <a:pos x="connsiteX8195" y="connsiteY8195"/>
                </a:cxn>
                <a:cxn ang="0">
                  <a:pos x="connsiteX8196" y="connsiteY8196"/>
                </a:cxn>
                <a:cxn ang="0">
                  <a:pos x="connsiteX8197" y="connsiteY8197"/>
                </a:cxn>
                <a:cxn ang="0">
                  <a:pos x="connsiteX8198" y="connsiteY8198"/>
                </a:cxn>
                <a:cxn ang="0">
                  <a:pos x="connsiteX8199" y="connsiteY8199"/>
                </a:cxn>
                <a:cxn ang="0">
                  <a:pos x="connsiteX8200" y="connsiteY8200"/>
                </a:cxn>
                <a:cxn ang="0">
                  <a:pos x="connsiteX8201" y="connsiteY8201"/>
                </a:cxn>
                <a:cxn ang="0">
                  <a:pos x="connsiteX8202" y="connsiteY8202"/>
                </a:cxn>
                <a:cxn ang="0">
                  <a:pos x="connsiteX8203" y="connsiteY8203"/>
                </a:cxn>
                <a:cxn ang="0">
                  <a:pos x="connsiteX8204" y="connsiteY8204"/>
                </a:cxn>
                <a:cxn ang="0">
                  <a:pos x="connsiteX8205" y="connsiteY8205"/>
                </a:cxn>
                <a:cxn ang="0">
                  <a:pos x="connsiteX8206" y="connsiteY8206"/>
                </a:cxn>
                <a:cxn ang="0">
                  <a:pos x="connsiteX8207" y="connsiteY8207"/>
                </a:cxn>
                <a:cxn ang="0">
                  <a:pos x="connsiteX8208" y="connsiteY8208"/>
                </a:cxn>
                <a:cxn ang="0">
                  <a:pos x="connsiteX8209" y="connsiteY8209"/>
                </a:cxn>
                <a:cxn ang="0">
                  <a:pos x="connsiteX8210" y="connsiteY8210"/>
                </a:cxn>
                <a:cxn ang="0">
                  <a:pos x="connsiteX8211" y="connsiteY8211"/>
                </a:cxn>
                <a:cxn ang="0">
                  <a:pos x="connsiteX8212" y="connsiteY8212"/>
                </a:cxn>
                <a:cxn ang="0">
                  <a:pos x="connsiteX8213" y="connsiteY8213"/>
                </a:cxn>
                <a:cxn ang="0">
                  <a:pos x="connsiteX8214" y="connsiteY8214"/>
                </a:cxn>
                <a:cxn ang="0">
                  <a:pos x="connsiteX8215" y="connsiteY8215"/>
                </a:cxn>
                <a:cxn ang="0">
                  <a:pos x="connsiteX8216" y="connsiteY8216"/>
                </a:cxn>
                <a:cxn ang="0">
                  <a:pos x="connsiteX8217" y="connsiteY8217"/>
                </a:cxn>
                <a:cxn ang="0">
                  <a:pos x="connsiteX8218" y="connsiteY8218"/>
                </a:cxn>
                <a:cxn ang="0">
                  <a:pos x="connsiteX8219" y="connsiteY8219"/>
                </a:cxn>
                <a:cxn ang="0">
                  <a:pos x="connsiteX8220" y="connsiteY8220"/>
                </a:cxn>
                <a:cxn ang="0">
                  <a:pos x="connsiteX8221" y="connsiteY8221"/>
                </a:cxn>
                <a:cxn ang="0">
                  <a:pos x="connsiteX8222" y="connsiteY8222"/>
                </a:cxn>
                <a:cxn ang="0">
                  <a:pos x="connsiteX8223" y="connsiteY8223"/>
                </a:cxn>
                <a:cxn ang="0">
                  <a:pos x="connsiteX8224" y="connsiteY8224"/>
                </a:cxn>
                <a:cxn ang="0">
                  <a:pos x="connsiteX8225" y="connsiteY8225"/>
                </a:cxn>
                <a:cxn ang="0">
                  <a:pos x="connsiteX8226" y="connsiteY8226"/>
                </a:cxn>
                <a:cxn ang="0">
                  <a:pos x="connsiteX8227" y="connsiteY8227"/>
                </a:cxn>
                <a:cxn ang="0">
                  <a:pos x="connsiteX8228" y="connsiteY8228"/>
                </a:cxn>
                <a:cxn ang="0">
                  <a:pos x="connsiteX8229" y="connsiteY8229"/>
                </a:cxn>
                <a:cxn ang="0">
                  <a:pos x="connsiteX8230" y="connsiteY8230"/>
                </a:cxn>
                <a:cxn ang="0">
                  <a:pos x="connsiteX8231" y="connsiteY8231"/>
                </a:cxn>
                <a:cxn ang="0">
                  <a:pos x="connsiteX8232" y="connsiteY8232"/>
                </a:cxn>
                <a:cxn ang="0">
                  <a:pos x="connsiteX8233" y="connsiteY8233"/>
                </a:cxn>
                <a:cxn ang="0">
                  <a:pos x="connsiteX8234" y="connsiteY8234"/>
                </a:cxn>
                <a:cxn ang="0">
                  <a:pos x="connsiteX8235" y="connsiteY8235"/>
                </a:cxn>
                <a:cxn ang="0">
                  <a:pos x="connsiteX8236" y="connsiteY8236"/>
                </a:cxn>
                <a:cxn ang="0">
                  <a:pos x="connsiteX8237" y="connsiteY8237"/>
                </a:cxn>
                <a:cxn ang="0">
                  <a:pos x="connsiteX8238" y="connsiteY8238"/>
                </a:cxn>
                <a:cxn ang="0">
                  <a:pos x="connsiteX8239" y="connsiteY8239"/>
                </a:cxn>
                <a:cxn ang="0">
                  <a:pos x="connsiteX8240" y="connsiteY8240"/>
                </a:cxn>
                <a:cxn ang="0">
                  <a:pos x="connsiteX8241" y="connsiteY8241"/>
                </a:cxn>
                <a:cxn ang="0">
                  <a:pos x="connsiteX8242" y="connsiteY8242"/>
                </a:cxn>
                <a:cxn ang="0">
                  <a:pos x="connsiteX8243" y="connsiteY8243"/>
                </a:cxn>
                <a:cxn ang="0">
                  <a:pos x="connsiteX8244" y="connsiteY8244"/>
                </a:cxn>
                <a:cxn ang="0">
                  <a:pos x="connsiteX8245" y="connsiteY8245"/>
                </a:cxn>
                <a:cxn ang="0">
                  <a:pos x="connsiteX8246" y="connsiteY8246"/>
                </a:cxn>
                <a:cxn ang="0">
                  <a:pos x="connsiteX8247" y="connsiteY8247"/>
                </a:cxn>
                <a:cxn ang="0">
                  <a:pos x="connsiteX8248" y="connsiteY8248"/>
                </a:cxn>
                <a:cxn ang="0">
                  <a:pos x="connsiteX8249" y="connsiteY8249"/>
                </a:cxn>
                <a:cxn ang="0">
                  <a:pos x="connsiteX8250" y="connsiteY8250"/>
                </a:cxn>
                <a:cxn ang="0">
                  <a:pos x="connsiteX8251" y="connsiteY8251"/>
                </a:cxn>
                <a:cxn ang="0">
                  <a:pos x="connsiteX8252" y="connsiteY8252"/>
                </a:cxn>
                <a:cxn ang="0">
                  <a:pos x="connsiteX8253" y="connsiteY8253"/>
                </a:cxn>
                <a:cxn ang="0">
                  <a:pos x="connsiteX8254" y="connsiteY8254"/>
                </a:cxn>
                <a:cxn ang="0">
                  <a:pos x="connsiteX8255" y="connsiteY8255"/>
                </a:cxn>
                <a:cxn ang="0">
                  <a:pos x="connsiteX8256" y="connsiteY8256"/>
                </a:cxn>
                <a:cxn ang="0">
                  <a:pos x="connsiteX8257" y="connsiteY8257"/>
                </a:cxn>
                <a:cxn ang="0">
                  <a:pos x="connsiteX8258" y="connsiteY8258"/>
                </a:cxn>
                <a:cxn ang="0">
                  <a:pos x="connsiteX8259" y="connsiteY8259"/>
                </a:cxn>
                <a:cxn ang="0">
                  <a:pos x="connsiteX8260" y="connsiteY8260"/>
                </a:cxn>
                <a:cxn ang="0">
                  <a:pos x="connsiteX8261" y="connsiteY8261"/>
                </a:cxn>
                <a:cxn ang="0">
                  <a:pos x="connsiteX8262" y="connsiteY8262"/>
                </a:cxn>
                <a:cxn ang="0">
                  <a:pos x="connsiteX8263" y="connsiteY8263"/>
                </a:cxn>
                <a:cxn ang="0">
                  <a:pos x="connsiteX8264" y="connsiteY8264"/>
                </a:cxn>
                <a:cxn ang="0">
                  <a:pos x="connsiteX8265" y="connsiteY8265"/>
                </a:cxn>
                <a:cxn ang="0">
                  <a:pos x="connsiteX8266" y="connsiteY8266"/>
                </a:cxn>
                <a:cxn ang="0">
                  <a:pos x="connsiteX8267" y="connsiteY8267"/>
                </a:cxn>
                <a:cxn ang="0">
                  <a:pos x="connsiteX8268" y="connsiteY8268"/>
                </a:cxn>
                <a:cxn ang="0">
                  <a:pos x="connsiteX8269" y="connsiteY8269"/>
                </a:cxn>
                <a:cxn ang="0">
                  <a:pos x="connsiteX8270" y="connsiteY8270"/>
                </a:cxn>
                <a:cxn ang="0">
                  <a:pos x="connsiteX8271" y="connsiteY8271"/>
                </a:cxn>
                <a:cxn ang="0">
                  <a:pos x="connsiteX8272" y="connsiteY8272"/>
                </a:cxn>
                <a:cxn ang="0">
                  <a:pos x="connsiteX8273" y="connsiteY8273"/>
                </a:cxn>
                <a:cxn ang="0">
                  <a:pos x="connsiteX8274" y="connsiteY8274"/>
                </a:cxn>
                <a:cxn ang="0">
                  <a:pos x="connsiteX8275" y="connsiteY8275"/>
                </a:cxn>
                <a:cxn ang="0">
                  <a:pos x="connsiteX8276" y="connsiteY8276"/>
                </a:cxn>
                <a:cxn ang="0">
                  <a:pos x="connsiteX8277" y="connsiteY8277"/>
                </a:cxn>
                <a:cxn ang="0">
                  <a:pos x="connsiteX8278" y="connsiteY8278"/>
                </a:cxn>
                <a:cxn ang="0">
                  <a:pos x="connsiteX8279" y="connsiteY8279"/>
                </a:cxn>
                <a:cxn ang="0">
                  <a:pos x="connsiteX8280" y="connsiteY8280"/>
                </a:cxn>
                <a:cxn ang="0">
                  <a:pos x="connsiteX8281" y="connsiteY8281"/>
                </a:cxn>
                <a:cxn ang="0">
                  <a:pos x="connsiteX8282" y="connsiteY8282"/>
                </a:cxn>
                <a:cxn ang="0">
                  <a:pos x="connsiteX8283" y="connsiteY8283"/>
                </a:cxn>
                <a:cxn ang="0">
                  <a:pos x="connsiteX8284" y="connsiteY8284"/>
                </a:cxn>
                <a:cxn ang="0">
                  <a:pos x="connsiteX8285" y="connsiteY8285"/>
                </a:cxn>
                <a:cxn ang="0">
                  <a:pos x="connsiteX8286" y="connsiteY8286"/>
                </a:cxn>
                <a:cxn ang="0">
                  <a:pos x="connsiteX8287" y="connsiteY8287"/>
                </a:cxn>
                <a:cxn ang="0">
                  <a:pos x="connsiteX8288" y="connsiteY8288"/>
                </a:cxn>
                <a:cxn ang="0">
                  <a:pos x="connsiteX8289" y="connsiteY8289"/>
                </a:cxn>
                <a:cxn ang="0">
                  <a:pos x="connsiteX8290" y="connsiteY8290"/>
                </a:cxn>
                <a:cxn ang="0">
                  <a:pos x="connsiteX8291" y="connsiteY8291"/>
                </a:cxn>
                <a:cxn ang="0">
                  <a:pos x="connsiteX8292" y="connsiteY8292"/>
                </a:cxn>
                <a:cxn ang="0">
                  <a:pos x="connsiteX8293" y="connsiteY8293"/>
                </a:cxn>
                <a:cxn ang="0">
                  <a:pos x="connsiteX8294" y="connsiteY8294"/>
                </a:cxn>
                <a:cxn ang="0">
                  <a:pos x="connsiteX8295" y="connsiteY8295"/>
                </a:cxn>
                <a:cxn ang="0">
                  <a:pos x="connsiteX8296" y="connsiteY8296"/>
                </a:cxn>
                <a:cxn ang="0">
                  <a:pos x="connsiteX8297" y="connsiteY8297"/>
                </a:cxn>
                <a:cxn ang="0">
                  <a:pos x="connsiteX8298" y="connsiteY8298"/>
                </a:cxn>
                <a:cxn ang="0">
                  <a:pos x="connsiteX8299" y="connsiteY8299"/>
                </a:cxn>
                <a:cxn ang="0">
                  <a:pos x="connsiteX8300" y="connsiteY8300"/>
                </a:cxn>
                <a:cxn ang="0">
                  <a:pos x="connsiteX8301" y="connsiteY8301"/>
                </a:cxn>
                <a:cxn ang="0">
                  <a:pos x="connsiteX8302" y="connsiteY8302"/>
                </a:cxn>
                <a:cxn ang="0">
                  <a:pos x="connsiteX8303" y="connsiteY8303"/>
                </a:cxn>
                <a:cxn ang="0">
                  <a:pos x="connsiteX8304" y="connsiteY8304"/>
                </a:cxn>
                <a:cxn ang="0">
                  <a:pos x="connsiteX8305" y="connsiteY8305"/>
                </a:cxn>
                <a:cxn ang="0">
                  <a:pos x="connsiteX8306" y="connsiteY8306"/>
                </a:cxn>
                <a:cxn ang="0">
                  <a:pos x="connsiteX8307" y="connsiteY8307"/>
                </a:cxn>
                <a:cxn ang="0">
                  <a:pos x="connsiteX8308" y="connsiteY8308"/>
                </a:cxn>
                <a:cxn ang="0">
                  <a:pos x="connsiteX8309" y="connsiteY8309"/>
                </a:cxn>
                <a:cxn ang="0">
                  <a:pos x="connsiteX8310" y="connsiteY8310"/>
                </a:cxn>
                <a:cxn ang="0">
                  <a:pos x="connsiteX8311" y="connsiteY8311"/>
                </a:cxn>
                <a:cxn ang="0">
                  <a:pos x="connsiteX8312" y="connsiteY8312"/>
                </a:cxn>
                <a:cxn ang="0">
                  <a:pos x="connsiteX8313" y="connsiteY8313"/>
                </a:cxn>
                <a:cxn ang="0">
                  <a:pos x="connsiteX8314" y="connsiteY8314"/>
                </a:cxn>
                <a:cxn ang="0">
                  <a:pos x="connsiteX8315" y="connsiteY8315"/>
                </a:cxn>
                <a:cxn ang="0">
                  <a:pos x="connsiteX8316" y="connsiteY8316"/>
                </a:cxn>
                <a:cxn ang="0">
                  <a:pos x="connsiteX8317" y="connsiteY8317"/>
                </a:cxn>
                <a:cxn ang="0">
                  <a:pos x="connsiteX8318" y="connsiteY8318"/>
                </a:cxn>
                <a:cxn ang="0">
                  <a:pos x="connsiteX8319" y="connsiteY8319"/>
                </a:cxn>
                <a:cxn ang="0">
                  <a:pos x="connsiteX8320" y="connsiteY8320"/>
                </a:cxn>
                <a:cxn ang="0">
                  <a:pos x="connsiteX8321" y="connsiteY8321"/>
                </a:cxn>
                <a:cxn ang="0">
                  <a:pos x="connsiteX8322" y="connsiteY8322"/>
                </a:cxn>
                <a:cxn ang="0">
                  <a:pos x="connsiteX8323" y="connsiteY8323"/>
                </a:cxn>
                <a:cxn ang="0">
                  <a:pos x="connsiteX8324" y="connsiteY8324"/>
                </a:cxn>
                <a:cxn ang="0">
                  <a:pos x="connsiteX8325" y="connsiteY8325"/>
                </a:cxn>
                <a:cxn ang="0">
                  <a:pos x="connsiteX8326" y="connsiteY8326"/>
                </a:cxn>
                <a:cxn ang="0">
                  <a:pos x="connsiteX8327" y="connsiteY8327"/>
                </a:cxn>
                <a:cxn ang="0">
                  <a:pos x="connsiteX8328" y="connsiteY8328"/>
                </a:cxn>
                <a:cxn ang="0">
                  <a:pos x="connsiteX8329" y="connsiteY8329"/>
                </a:cxn>
                <a:cxn ang="0">
                  <a:pos x="connsiteX8330" y="connsiteY8330"/>
                </a:cxn>
                <a:cxn ang="0">
                  <a:pos x="connsiteX8331" y="connsiteY8331"/>
                </a:cxn>
                <a:cxn ang="0">
                  <a:pos x="connsiteX8332" y="connsiteY8332"/>
                </a:cxn>
                <a:cxn ang="0">
                  <a:pos x="connsiteX8333" y="connsiteY8333"/>
                </a:cxn>
                <a:cxn ang="0">
                  <a:pos x="connsiteX8334" y="connsiteY8334"/>
                </a:cxn>
                <a:cxn ang="0">
                  <a:pos x="connsiteX8335" y="connsiteY8335"/>
                </a:cxn>
                <a:cxn ang="0">
                  <a:pos x="connsiteX8336" y="connsiteY8336"/>
                </a:cxn>
                <a:cxn ang="0">
                  <a:pos x="connsiteX8337" y="connsiteY8337"/>
                </a:cxn>
                <a:cxn ang="0">
                  <a:pos x="connsiteX8338" y="connsiteY8338"/>
                </a:cxn>
                <a:cxn ang="0">
                  <a:pos x="connsiteX8339" y="connsiteY8339"/>
                </a:cxn>
                <a:cxn ang="0">
                  <a:pos x="connsiteX8340" y="connsiteY8340"/>
                </a:cxn>
                <a:cxn ang="0">
                  <a:pos x="connsiteX8341" y="connsiteY8341"/>
                </a:cxn>
                <a:cxn ang="0">
                  <a:pos x="connsiteX8342" y="connsiteY8342"/>
                </a:cxn>
                <a:cxn ang="0">
                  <a:pos x="connsiteX8343" y="connsiteY8343"/>
                </a:cxn>
                <a:cxn ang="0">
                  <a:pos x="connsiteX8344" y="connsiteY8344"/>
                </a:cxn>
                <a:cxn ang="0">
                  <a:pos x="connsiteX8345" y="connsiteY8345"/>
                </a:cxn>
                <a:cxn ang="0">
                  <a:pos x="connsiteX8346" y="connsiteY8346"/>
                </a:cxn>
                <a:cxn ang="0">
                  <a:pos x="connsiteX8347" y="connsiteY8347"/>
                </a:cxn>
                <a:cxn ang="0">
                  <a:pos x="connsiteX8348" y="connsiteY8348"/>
                </a:cxn>
                <a:cxn ang="0">
                  <a:pos x="connsiteX8349" y="connsiteY8349"/>
                </a:cxn>
                <a:cxn ang="0">
                  <a:pos x="connsiteX8350" y="connsiteY8350"/>
                </a:cxn>
                <a:cxn ang="0">
                  <a:pos x="connsiteX8351" y="connsiteY8351"/>
                </a:cxn>
                <a:cxn ang="0">
                  <a:pos x="connsiteX8352" y="connsiteY8352"/>
                </a:cxn>
                <a:cxn ang="0">
                  <a:pos x="connsiteX8353" y="connsiteY8353"/>
                </a:cxn>
                <a:cxn ang="0">
                  <a:pos x="connsiteX8354" y="connsiteY8354"/>
                </a:cxn>
                <a:cxn ang="0">
                  <a:pos x="connsiteX8355" y="connsiteY8355"/>
                </a:cxn>
                <a:cxn ang="0">
                  <a:pos x="connsiteX8356" y="connsiteY8356"/>
                </a:cxn>
                <a:cxn ang="0">
                  <a:pos x="connsiteX8357" y="connsiteY8357"/>
                </a:cxn>
                <a:cxn ang="0">
                  <a:pos x="connsiteX8358" y="connsiteY8358"/>
                </a:cxn>
                <a:cxn ang="0">
                  <a:pos x="connsiteX8359" y="connsiteY8359"/>
                </a:cxn>
                <a:cxn ang="0">
                  <a:pos x="connsiteX8360" y="connsiteY8360"/>
                </a:cxn>
                <a:cxn ang="0">
                  <a:pos x="connsiteX8361" y="connsiteY8361"/>
                </a:cxn>
                <a:cxn ang="0">
                  <a:pos x="connsiteX8362" y="connsiteY8362"/>
                </a:cxn>
                <a:cxn ang="0">
                  <a:pos x="connsiteX8363" y="connsiteY8363"/>
                </a:cxn>
                <a:cxn ang="0">
                  <a:pos x="connsiteX8364" y="connsiteY8364"/>
                </a:cxn>
                <a:cxn ang="0">
                  <a:pos x="connsiteX8365" y="connsiteY8365"/>
                </a:cxn>
                <a:cxn ang="0">
                  <a:pos x="connsiteX8366" y="connsiteY8366"/>
                </a:cxn>
                <a:cxn ang="0">
                  <a:pos x="connsiteX8367" y="connsiteY8367"/>
                </a:cxn>
                <a:cxn ang="0">
                  <a:pos x="connsiteX8368" y="connsiteY8368"/>
                </a:cxn>
                <a:cxn ang="0">
                  <a:pos x="connsiteX8369" y="connsiteY8369"/>
                </a:cxn>
                <a:cxn ang="0">
                  <a:pos x="connsiteX8370" y="connsiteY8370"/>
                </a:cxn>
                <a:cxn ang="0">
                  <a:pos x="connsiteX8371" y="connsiteY8371"/>
                </a:cxn>
                <a:cxn ang="0">
                  <a:pos x="connsiteX8372" y="connsiteY8372"/>
                </a:cxn>
                <a:cxn ang="0">
                  <a:pos x="connsiteX8373" y="connsiteY8373"/>
                </a:cxn>
                <a:cxn ang="0">
                  <a:pos x="connsiteX8374" y="connsiteY8374"/>
                </a:cxn>
                <a:cxn ang="0">
                  <a:pos x="connsiteX8375" y="connsiteY8375"/>
                </a:cxn>
                <a:cxn ang="0">
                  <a:pos x="connsiteX8376" y="connsiteY8376"/>
                </a:cxn>
                <a:cxn ang="0">
                  <a:pos x="connsiteX8377" y="connsiteY8377"/>
                </a:cxn>
                <a:cxn ang="0">
                  <a:pos x="connsiteX8378" y="connsiteY8378"/>
                </a:cxn>
                <a:cxn ang="0">
                  <a:pos x="connsiteX8379" y="connsiteY8379"/>
                </a:cxn>
                <a:cxn ang="0">
                  <a:pos x="connsiteX8380" y="connsiteY8380"/>
                </a:cxn>
                <a:cxn ang="0">
                  <a:pos x="connsiteX8381" y="connsiteY8381"/>
                </a:cxn>
                <a:cxn ang="0">
                  <a:pos x="connsiteX8382" y="connsiteY8382"/>
                </a:cxn>
                <a:cxn ang="0">
                  <a:pos x="connsiteX8383" y="connsiteY8383"/>
                </a:cxn>
                <a:cxn ang="0">
                  <a:pos x="connsiteX8384" y="connsiteY8384"/>
                </a:cxn>
                <a:cxn ang="0">
                  <a:pos x="connsiteX8385" y="connsiteY8385"/>
                </a:cxn>
                <a:cxn ang="0">
                  <a:pos x="connsiteX8386" y="connsiteY8386"/>
                </a:cxn>
                <a:cxn ang="0">
                  <a:pos x="connsiteX8387" y="connsiteY8387"/>
                </a:cxn>
                <a:cxn ang="0">
                  <a:pos x="connsiteX8388" y="connsiteY8388"/>
                </a:cxn>
                <a:cxn ang="0">
                  <a:pos x="connsiteX8389" y="connsiteY8389"/>
                </a:cxn>
                <a:cxn ang="0">
                  <a:pos x="connsiteX8390" y="connsiteY8390"/>
                </a:cxn>
                <a:cxn ang="0">
                  <a:pos x="connsiteX8391" y="connsiteY8391"/>
                </a:cxn>
                <a:cxn ang="0">
                  <a:pos x="connsiteX8392" y="connsiteY8392"/>
                </a:cxn>
                <a:cxn ang="0">
                  <a:pos x="connsiteX8393" y="connsiteY8393"/>
                </a:cxn>
                <a:cxn ang="0">
                  <a:pos x="connsiteX8394" y="connsiteY8394"/>
                </a:cxn>
                <a:cxn ang="0">
                  <a:pos x="connsiteX8395" y="connsiteY8395"/>
                </a:cxn>
                <a:cxn ang="0">
                  <a:pos x="connsiteX8396" y="connsiteY8396"/>
                </a:cxn>
                <a:cxn ang="0">
                  <a:pos x="connsiteX8397" y="connsiteY8397"/>
                </a:cxn>
                <a:cxn ang="0">
                  <a:pos x="connsiteX8398" y="connsiteY8398"/>
                </a:cxn>
                <a:cxn ang="0">
                  <a:pos x="connsiteX8399" y="connsiteY8399"/>
                </a:cxn>
                <a:cxn ang="0">
                  <a:pos x="connsiteX8400" y="connsiteY8400"/>
                </a:cxn>
                <a:cxn ang="0">
                  <a:pos x="connsiteX8401" y="connsiteY8401"/>
                </a:cxn>
                <a:cxn ang="0">
                  <a:pos x="connsiteX8402" y="connsiteY8402"/>
                </a:cxn>
                <a:cxn ang="0">
                  <a:pos x="connsiteX8403" y="connsiteY8403"/>
                </a:cxn>
                <a:cxn ang="0">
                  <a:pos x="connsiteX8404" y="connsiteY8404"/>
                </a:cxn>
                <a:cxn ang="0">
                  <a:pos x="connsiteX8405" y="connsiteY8405"/>
                </a:cxn>
                <a:cxn ang="0">
                  <a:pos x="connsiteX8406" y="connsiteY8406"/>
                </a:cxn>
                <a:cxn ang="0">
                  <a:pos x="connsiteX8407" y="connsiteY8407"/>
                </a:cxn>
                <a:cxn ang="0">
                  <a:pos x="connsiteX8408" y="connsiteY8408"/>
                </a:cxn>
                <a:cxn ang="0">
                  <a:pos x="connsiteX8409" y="connsiteY8409"/>
                </a:cxn>
                <a:cxn ang="0">
                  <a:pos x="connsiteX8410" y="connsiteY8410"/>
                </a:cxn>
                <a:cxn ang="0">
                  <a:pos x="connsiteX8411" y="connsiteY8411"/>
                </a:cxn>
                <a:cxn ang="0">
                  <a:pos x="connsiteX8412" y="connsiteY8412"/>
                </a:cxn>
                <a:cxn ang="0">
                  <a:pos x="connsiteX8413" y="connsiteY8413"/>
                </a:cxn>
                <a:cxn ang="0">
                  <a:pos x="connsiteX8414" y="connsiteY8414"/>
                </a:cxn>
                <a:cxn ang="0">
                  <a:pos x="connsiteX8415" y="connsiteY8415"/>
                </a:cxn>
                <a:cxn ang="0">
                  <a:pos x="connsiteX8416" y="connsiteY8416"/>
                </a:cxn>
                <a:cxn ang="0">
                  <a:pos x="connsiteX8417" y="connsiteY8417"/>
                </a:cxn>
                <a:cxn ang="0">
                  <a:pos x="connsiteX8418" y="connsiteY8418"/>
                </a:cxn>
                <a:cxn ang="0">
                  <a:pos x="connsiteX8419" y="connsiteY8419"/>
                </a:cxn>
                <a:cxn ang="0">
                  <a:pos x="connsiteX8420" y="connsiteY8420"/>
                </a:cxn>
                <a:cxn ang="0">
                  <a:pos x="connsiteX8421" y="connsiteY8421"/>
                </a:cxn>
                <a:cxn ang="0">
                  <a:pos x="connsiteX8422" y="connsiteY8422"/>
                </a:cxn>
                <a:cxn ang="0">
                  <a:pos x="connsiteX8423" y="connsiteY8423"/>
                </a:cxn>
                <a:cxn ang="0">
                  <a:pos x="connsiteX8424" y="connsiteY8424"/>
                </a:cxn>
                <a:cxn ang="0">
                  <a:pos x="connsiteX8425" y="connsiteY8425"/>
                </a:cxn>
                <a:cxn ang="0">
                  <a:pos x="connsiteX8426" y="connsiteY8426"/>
                </a:cxn>
                <a:cxn ang="0">
                  <a:pos x="connsiteX8427" y="connsiteY8427"/>
                </a:cxn>
                <a:cxn ang="0">
                  <a:pos x="connsiteX8428" y="connsiteY8428"/>
                </a:cxn>
                <a:cxn ang="0">
                  <a:pos x="connsiteX8429" y="connsiteY8429"/>
                </a:cxn>
                <a:cxn ang="0">
                  <a:pos x="connsiteX8430" y="connsiteY8430"/>
                </a:cxn>
                <a:cxn ang="0">
                  <a:pos x="connsiteX8431" y="connsiteY8431"/>
                </a:cxn>
                <a:cxn ang="0">
                  <a:pos x="connsiteX8432" y="connsiteY8432"/>
                </a:cxn>
                <a:cxn ang="0">
                  <a:pos x="connsiteX8433" y="connsiteY8433"/>
                </a:cxn>
                <a:cxn ang="0">
                  <a:pos x="connsiteX8434" y="connsiteY8434"/>
                </a:cxn>
                <a:cxn ang="0">
                  <a:pos x="connsiteX8435" y="connsiteY8435"/>
                </a:cxn>
                <a:cxn ang="0">
                  <a:pos x="connsiteX8436" y="connsiteY8436"/>
                </a:cxn>
                <a:cxn ang="0">
                  <a:pos x="connsiteX8437" y="connsiteY8437"/>
                </a:cxn>
                <a:cxn ang="0">
                  <a:pos x="connsiteX8438" y="connsiteY8438"/>
                </a:cxn>
                <a:cxn ang="0">
                  <a:pos x="connsiteX8439" y="connsiteY8439"/>
                </a:cxn>
                <a:cxn ang="0">
                  <a:pos x="connsiteX8440" y="connsiteY8440"/>
                </a:cxn>
                <a:cxn ang="0">
                  <a:pos x="connsiteX8441" y="connsiteY8441"/>
                </a:cxn>
                <a:cxn ang="0">
                  <a:pos x="connsiteX8442" y="connsiteY8442"/>
                </a:cxn>
                <a:cxn ang="0">
                  <a:pos x="connsiteX8443" y="connsiteY8443"/>
                </a:cxn>
                <a:cxn ang="0">
                  <a:pos x="connsiteX8444" y="connsiteY8444"/>
                </a:cxn>
                <a:cxn ang="0">
                  <a:pos x="connsiteX8445" y="connsiteY8445"/>
                </a:cxn>
                <a:cxn ang="0">
                  <a:pos x="connsiteX8446" y="connsiteY8446"/>
                </a:cxn>
                <a:cxn ang="0">
                  <a:pos x="connsiteX8447" y="connsiteY8447"/>
                </a:cxn>
                <a:cxn ang="0">
                  <a:pos x="connsiteX8448" y="connsiteY8448"/>
                </a:cxn>
                <a:cxn ang="0">
                  <a:pos x="connsiteX8449" y="connsiteY8449"/>
                </a:cxn>
                <a:cxn ang="0">
                  <a:pos x="connsiteX8450" y="connsiteY8450"/>
                </a:cxn>
                <a:cxn ang="0">
                  <a:pos x="connsiteX8451" y="connsiteY8451"/>
                </a:cxn>
                <a:cxn ang="0">
                  <a:pos x="connsiteX8452" y="connsiteY8452"/>
                </a:cxn>
                <a:cxn ang="0">
                  <a:pos x="connsiteX8453" y="connsiteY8453"/>
                </a:cxn>
                <a:cxn ang="0">
                  <a:pos x="connsiteX8454" y="connsiteY8454"/>
                </a:cxn>
                <a:cxn ang="0">
                  <a:pos x="connsiteX8455" y="connsiteY8455"/>
                </a:cxn>
                <a:cxn ang="0">
                  <a:pos x="connsiteX8456" y="connsiteY8456"/>
                </a:cxn>
                <a:cxn ang="0">
                  <a:pos x="connsiteX8457" y="connsiteY8457"/>
                </a:cxn>
                <a:cxn ang="0">
                  <a:pos x="connsiteX8458" y="connsiteY8458"/>
                </a:cxn>
                <a:cxn ang="0">
                  <a:pos x="connsiteX8459" y="connsiteY8459"/>
                </a:cxn>
                <a:cxn ang="0">
                  <a:pos x="connsiteX8460" y="connsiteY8460"/>
                </a:cxn>
                <a:cxn ang="0">
                  <a:pos x="connsiteX8461" y="connsiteY8461"/>
                </a:cxn>
                <a:cxn ang="0">
                  <a:pos x="connsiteX8462" y="connsiteY8462"/>
                </a:cxn>
                <a:cxn ang="0">
                  <a:pos x="connsiteX8463" y="connsiteY8463"/>
                </a:cxn>
                <a:cxn ang="0">
                  <a:pos x="connsiteX8464" y="connsiteY8464"/>
                </a:cxn>
                <a:cxn ang="0">
                  <a:pos x="connsiteX8465" y="connsiteY8465"/>
                </a:cxn>
                <a:cxn ang="0">
                  <a:pos x="connsiteX8466" y="connsiteY8466"/>
                </a:cxn>
                <a:cxn ang="0">
                  <a:pos x="connsiteX8467" y="connsiteY8467"/>
                </a:cxn>
                <a:cxn ang="0">
                  <a:pos x="connsiteX8468" y="connsiteY8468"/>
                </a:cxn>
                <a:cxn ang="0">
                  <a:pos x="connsiteX8469" y="connsiteY8469"/>
                </a:cxn>
                <a:cxn ang="0">
                  <a:pos x="connsiteX8470" y="connsiteY8470"/>
                </a:cxn>
                <a:cxn ang="0">
                  <a:pos x="connsiteX8471" y="connsiteY8471"/>
                </a:cxn>
                <a:cxn ang="0">
                  <a:pos x="connsiteX8472" y="connsiteY8472"/>
                </a:cxn>
                <a:cxn ang="0">
                  <a:pos x="connsiteX8473" y="connsiteY8473"/>
                </a:cxn>
                <a:cxn ang="0">
                  <a:pos x="connsiteX8474" y="connsiteY8474"/>
                </a:cxn>
                <a:cxn ang="0">
                  <a:pos x="connsiteX8475" y="connsiteY8475"/>
                </a:cxn>
                <a:cxn ang="0">
                  <a:pos x="connsiteX8476" y="connsiteY8476"/>
                </a:cxn>
                <a:cxn ang="0">
                  <a:pos x="connsiteX8477" y="connsiteY8477"/>
                </a:cxn>
                <a:cxn ang="0">
                  <a:pos x="connsiteX8478" y="connsiteY8478"/>
                </a:cxn>
                <a:cxn ang="0">
                  <a:pos x="connsiteX8479" y="connsiteY8479"/>
                </a:cxn>
                <a:cxn ang="0">
                  <a:pos x="connsiteX8480" y="connsiteY8480"/>
                </a:cxn>
                <a:cxn ang="0">
                  <a:pos x="connsiteX8481" y="connsiteY8481"/>
                </a:cxn>
                <a:cxn ang="0">
                  <a:pos x="connsiteX8482" y="connsiteY8482"/>
                </a:cxn>
                <a:cxn ang="0">
                  <a:pos x="connsiteX8483" y="connsiteY8483"/>
                </a:cxn>
                <a:cxn ang="0">
                  <a:pos x="connsiteX8484" y="connsiteY8484"/>
                </a:cxn>
                <a:cxn ang="0">
                  <a:pos x="connsiteX8485" y="connsiteY8485"/>
                </a:cxn>
                <a:cxn ang="0">
                  <a:pos x="connsiteX8486" y="connsiteY8486"/>
                </a:cxn>
                <a:cxn ang="0">
                  <a:pos x="connsiteX8487" y="connsiteY8487"/>
                </a:cxn>
                <a:cxn ang="0">
                  <a:pos x="connsiteX8488" y="connsiteY8488"/>
                </a:cxn>
                <a:cxn ang="0">
                  <a:pos x="connsiteX8489" y="connsiteY8489"/>
                </a:cxn>
                <a:cxn ang="0">
                  <a:pos x="connsiteX8490" y="connsiteY8490"/>
                </a:cxn>
                <a:cxn ang="0">
                  <a:pos x="connsiteX8491" y="connsiteY8491"/>
                </a:cxn>
                <a:cxn ang="0">
                  <a:pos x="connsiteX8492" y="connsiteY8492"/>
                </a:cxn>
                <a:cxn ang="0">
                  <a:pos x="connsiteX8493" y="connsiteY8493"/>
                </a:cxn>
                <a:cxn ang="0">
                  <a:pos x="connsiteX8494" y="connsiteY8494"/>
                </a:cxn>
                <a:cxn ang="0">
                  <a:pos x="connsiteX8495" y="connsiteY8495"/>
                </a:cxn>
                <a:cxn ang="0">
                  <a:pos x="connsiteX8496" y="connsiteY8496"/>
                </a:cxn>
                <a:cxn ang="0">
                  <a:pos x="connsiteX8497" y="connsiteY8497"/>
                </a:cxn>
                <a:cxn ang="0">
                  <a:pos x="connsiteX8498" y="connsiteY8498"/>
                </a:cxn>
                <a:cxn ang="0">
                  <a:pos x="connsiteX8499" y="connsiteY8499"/>
                </a:cxn>
                <a:cxn ang="0">
                  <a:pos x="connsiteX8500" y="connsiteY8500"/>
                </a:cxn>
                <a:cxn ang="0">
                  <a:pos x="connsiteX8501" y="connsiteY8501"/>
                </a:cxn>
                <a:cxn ang="0">
                  <a:pos x="connsiteX8502" y="connsiteY8502"/>
                </a:cxn>
                <a:cxn ang="0">
                  <a:pos x="connsiteX8503" y="connsiteY8503"/>
                </a:cxn>
                <a:cxn ang="0">
                  <a:pos x="connsiteX8504" y="connsiteY8504"/>
                </a:cxn>
                <a:cxn ang="0">
                  <a:pos x="connsiteX8505" y="connsiteY8505"/>
                </a:cxn>
                <a:cxn ang="0">
                  <a:pos x="connsiteX8506" y="connsiteY8506"/>
                </a:cxn>
                <a:cxn ang="0">
                  <a:pos x="connsiteX8507" y="connsiteY8507"/>
                </a:cxn>
                <a:cxn ang="0">
                  <a:pos x="connsiteX8508" y="connsiteY8508"/>
                </a:cxn>
                <a:cxn ang="0">
                  <a:pos x="connsiteX8509" y="connsiteY8509"/>
                </a:cxn>
                <a:cxn ang="0">
                  <a:pos x="connsiteX8510" y="connsiteY8510"/>
                </a:cxn>
                <a:cxn ang="0">
                  <a:pos x="connsiteX8511" y="connsiteY8511"/>
                </a:cxn>
                <a:cxn ang="0">
                  <a:pos x="connsiteX8512" y="connsiteY8512"/>
                </a:cxn>
                <a:cxn ang="0">
                  <a:pos x="connsiteX8513" y="connsiteY8513"/>
                </a:cxn>
                <a:cxn ang="0">
                  <a:pos x="connsiteX8514" y="connsiteY8514"/>
                </a:cxn>
                <a:cxn ang="0">
                  <a:pos x="connsiteX8515" y="connsiteY8515"/>
                </a:cxn>
                <a:cxn ang="0">
                  <a:pos x="connsiteX8516" y="connsiteY8516"/>
                </a:cxn>
                <a:cxn ang="0">
                  <a:pos x="connsiteX8517" y="connsiteY8517"/>
                </a:cxn>
                <a:cxn ang="0">
                  <a:pos x="connsiteX8518" y="connsiteY8518"/>
                </a:cxn>
                <a:cxn ang="0">
                  <a:pos x="connsiteX8519" y="connsiteY8519"/>
                </a:cxn>
                <a:cxn ang="0">
                  <a:pos x="connsiteX8520" y="connsiteY8520"/>
                </a:cxn>
                <a:cxn ang="0">
                  <a:pos x="connsiteX8521" y="connsiteY8521"/>
                </a:cxn>
                <a:cxn ang="0">
                  <a:pos x="connsiteX8522" y="connsiteY8522"/>
                </a:cxn>
                <a:cxn ang="0">
                  <a:pos x="connsiteX8523" y="connsiteY8523"/>
                </a:cxn>
                <a:cxn ang="0">
                  <a:pos x="connsiteX8524" y="connsiteY8524"/>
                </a:cxn>
                <a:cxn ang="0">
                  <a:pos x="connsiteX8525" y="connsiteY8525"/>
                </a:cxn>
                <a:cxn ang="0">
                  <a:pos x="connsiteX8526" y="connsiteY8526"/>
                </a:cxn>
                <a:cxn ang="0">
                  <a:pos x="connsiteX8527" y="connsiteY8527"/>
                </a:cxn>
                <a:cxn ang="0">
                  <a:pos x="connsiteX8528" y="connsiteY8528"/>
                </a:cxn>
                <a:cxn ang="0">
                  <a:pos x="connsiteX8529" y="connsiteY8529"/>
                </a:cxn>
                <a:cxn ang="0">
                  <a:pos x="connsiteX8530" y="connsiteY8530"/>
                </a:cxn>
                <a:cxn ang="0">
                  <a:pos x="connsiteX8531" y="connsiteY8531"/>
                </a:cxn>
                <a:cxn ang="0">
                  <a:pos x="connsiteX8532" y="connsiteY8532"/>
                </a:cxn>
                <a:cxn ang="0">
                  <a:pos x="connsiteX8533" y="connsiteY8533"/>
                </a:cxn>
                <a:cxn ang="0">
                  <a:pos x="connsiteX8534" y="connsiteY8534"/>
                </a:cxn>
                <a:cxn ang="0">
                  <a:pos x="connsiteX8535" y="connsiteY8535"/>
                </a:cxn>
                <a:cxn ang="0">
                  <a:pos x="connsiteX8536" y="connsiteY8536"/>
                </a:cxn>
                <a:cxn ang="0">
                  <a:pos x="connsiteX8537" y="connsiteY8537"/>
                </a:cxn>
                <a:cxn ang="0">
                  <a:pos x="connsiteX8538" y="connsiteY8538"/>
                </a:cxn>
                <a:cxn ang="0">
                  <a:pos x="connsiteX8539" y="connsiteY8539"/>
                </a:cxn>
                <a:cxn ang="0">
                  <a:pos x="connsiteX8540" y="connsiteY8540"/>
                </a:cxn>
                <a:cxn ang="0">
                  <a:pos x="connsiteX8541" y="connsiteY8541"/>
                </a:cxn>
                <a:cxn ang="0">
                  <a:pos x="connsiteX8542" y="connsiteY8542"/>
                </a:cxn>
                <a:cxn ang="0">
                  <a:pos x="connsiteX8543" y="connsiteY8543"/>
                </a:cxn>
                <a:cxn ang="0">
                  <a:pos x="connsiteX8544" y="connsiteY8544"/>
                </a:cxn>
                <a:cxn ang="0">
                  <a:pos x="connsiteX8545" y="connsiteY8545"/>
                </a:cxn>
                <a:cxn ang="0">
                  <a:pos x="connsiteX8546" y="connsiteY8546"/>
                </a:cxn>
                <a:cxn ang="0">
                  <a:pos x="connsiteX8547" y="connsiteY8547"/>
                </a:cxn>
                <a:cxn ang="0">
                  <a:pos x="connsiteX8548" y="connsiteY8548"/>
                </a:cxn>
                <a:cxn ang="0">
                  <a:pos x="connsiteX8549" y="connsiteY8549"/>
                </a:cxn>
                <a:cxn ang="0">
                  <a:pos x="connsiteX8550" y="connsiteY8550"/>
                </a:cxn>
                <a:cxn ang="0">
                  <a:pos x="connsiteX8551" y="connsiteY8551"/>
                </a:cxn>
                <a:cxn ang="0">
                  <a:pos x="connsiteX8552" y="connsiteY8552"/>
                </a:cxn>
                <a:cxn ang="0">
                  <a:pos x="connsiteX8553" y="connsiteY8553"/>
                </a:cxn>
                <a:cxn ang="0">
                  <a:pos x="connsiteX8554" y="connsiteY8554"/>
                </a:cxn>
                <a:cxn ang="0">
                  <a:pos x="connsiteX8555" y="connsiteY8555"/>
                </a:cxn>
                <a:cxn ang="0">
                  <a:pos x="connsiteX8556" y="connsiteY8556"/>
                </a:cxn>
                <a:cxn ang="0">
                  <a:pos x="connsiteX8557" y="connsiteY8557"/>
                </a:cxn>
                <a:cxn ang="0">
                  <a:pos x="connsiteX8558" y="connsiteY8558"/>
                </a:cxn>
                <a:cxn ang="0">
                  <a:pos x="connsiteX8559" y="connsiteY8559"/>
                </a:cxn>
                <a:cxn ang="0">
                  <a:pos x="connsiteX8560" y="connsiteY8560"/>
                </a:cxn>
                <a:cxn ang="0">
                  <a:pos x="connsiteX8561" y="connsiteY8561"/>
                </a:cxn>
                <a:cxn ang="0">
                  <a:pos x="connsiteX8562" y="connsiteY8562"/>
                </a:cxn>
                <a:cxn ang="0">
                  <a:pos x="connsiteX8563" y="connsiteY8563"/>
                </a:cxn>
                <a:cxn ang="0">
                  <a:pos x="connsiteX8564" y="connsiteY8564"/>
                </a:cxn>
                <a:cxn ang="0">
                  <a:pos x="connsiteX8565" y="connsiteY8565"/>
                </a:cxn>
                <a:cxn ang="0">
                  <a:pos x="connsiteX8566" y="connsiteY8566"/>
                </a:cxn>
                <a:cxn ang="0">
                  <a:pos x="connsiteX8567" y="connsiteY8567"/>
                </a:cxn>
                <a:cxn ang="0">
                  <a:pos x="connsiteX8568" y="connsiteY8568"/>
                </a:cxn>
                <a:cxn ang="0">
                  <a:pos x="connsiteX8569" y="connsiteY8569"/>
                </a:cxn>
                <a:cxn ang="0">
                  <a:pos x="connsiteX8570" y="connsiteY8570"/>
                </a:cxn>
                <a:cxn ang="0">
                  <a:pos x="connsiteX8571" y="connsiteY8571"/>
                </a:cxn>
                <a:cxn ang="0">
                  <a:pos x="connsiteX8572" y="connsiteY8572"/>
                </a:cxn>
                <a:cxn ang="0">
                  <a:pos x="connsiteX8573" y="connsiteY8573"/>
                </a:cxn>
                <a:cxn ang="0">
                  <a:pos x="connsiteX8574" y="connsiteY8574"/>
                </a:cxn>
                <a:cxn ang="0">
                  <a:pos x="connsiteX8575" y="connsiteY8575"/>
                </a:cxn>
                <a:cxn ang="0">
                  <a:pos x="connsiteX8576" y="connsiteY8576"/>
                </a:cxn>
                <a:cxn ang="0">
                  <a:pos x="connsiteX8577" y="connsiteY8577"/>
                </a:cxn>
                <a:cxn ang="0">
                  <a:pos x="connsiteX8578" y="connsiteY8578"/>
                </a:cxn>
                <a:cxn ang="0">
                  <a:pos x="connsiteX8579" y="connsiteY8579"/>
                </a:cxn>
                <a:cxn ang="0">
                  <a:pos x="connsiteX8580" y="connsiteY8580"/>
                </a:cxn>
                <a:cxn ang="0">
                  <a:pos x="connsiteX8581" y="connsiteY8581"/>
                </a:cxn>
                <a:cxn ang="0">
                  <a:pos x="connsiteX8582" y="connsiteY8582"/>
                </a:cxn>
                <a:cxn ang="0">
                  <a:pos x="connsiteX8583" y="connsiteY8583"/>
                </a:cxn>
                <a:cxn ang="0">
                  <a:pos x="connsiteX8584" y="connsiteY8584"/>
                </a:cxn>
                <a:cxn ang="0">
                  <a:pos x="connsiteX8585" y="connsiteY8585"/>
                </a:cxn>
                <a:cxn ang="0">
                  <a:pos x="connsiteX8586" y="connsiteY8586"/>
                </a:cxn>
                <a:cxn ang="0">
                  <a:pos x="connsiteX8587" y="connsiteY8587"/>
                </a:cxn>
                <a:cxn ang="0">
                  <a:pos x="connsiteX8588" y="connsiteY8588"/>
                </a:cxn>
                <a:cxn ang="0">
                  <a:pos x="connsiteX8589" y="connsiteY8589"/>
                </a:cxn>
                <a:cxn ang="0">
                  <a:pos x="connsiteX8590" y="connsiteY8590"/>
                </a:cxn>
                <a:cxn ang="0">
                  <a:pos x="connsiteX8591" y="connsiteY8591"/>
                </a:cxn>
                <a:cxn ang="0">
                  <a:pos x="connsiteX8592" y="connsiteY8592"/>
                </a:cxn>
                <a:cxn ang="0">
                  <a:pos x="connsiteX8593" y="connsiteY8593"/>
                </a:cxn>
                <a:cxn ang="0">
                  <a:pos x="connsiteX8594" y="connsiteY8594"/>
                </a:cxn>
                <a:cxn ang="0">
                  <a:pos x="connsiteX8595" y="connsiteY8595"/>
                </a:cxn>
                <a:cxn ang="0">
                  <a:pos x="connsiteX8596" y="connsiteY8596"/>
                </a:cxn>
                <a:cxn ang="0">
                  <a:pos x="connsiteX8597" y="connsiteY8597"/>
                </a:cxn>
                <a:cxn ang="0">
                  <a:pos x="connsiteX8598" y="connsiteY8598"/>
                </a:cxn>
                <a:cxn ang="0">
                  <a:pos x="connsiteX8599" y="connsiteY8599"/>
                </a:cxn>
                <a:cxn ang="0">
                  <a:pos x="connsiteX8600" y="connsiteY8600"/>
                </a:cxn>
                <a:cxn ang="0">
                  <a:pos x="connsiteX8601" y="connsiteY8601"/>
                </a:cxn>
                <a:cxn ang="0">
                  <a:pos x="connsiteX8602" y="connsiteY8602"/>
                </a:cxn>
                <a:cxn ang="0">
                  <a:pos x="connsiteX8603" y="connsiteY8603"/>
                </a:cxn>
                <a:cxn ang="0">
                  <a:pos x="connsiteX8604" y="connsiteY8604"/>
                </a:cxn>
                <a:cxn ang="0">
                  <a:pos x="connsiteX8605" y="connsiteY8605"/>
                </a:cxn>
                <a:cxn ang="0">
                  <a:pos x="connsiteX8606" y="connsiteY8606"/>
                </a:cxn>
                <a:cxn ang="0">
                  <a:pos x="connsiteX8607" y="connsiteY8607"/>
                </a:cxn>
                <a:cxn ang="0">
                  <a:pos x="connsiteX8608" y="connsiteY8608"/>
                </a:cxn>
                <a:cxn ang="0">
                  <a:pos x="connsiteX8609" y="connsiteY8609"/>
                </a:cxn>
                <a:cxn ang="0">
                  <a:pos x="connsiteX8610" y="connsiteY8610"/>
                </a:cxn>
                <a:cxn ang="0">
                  <a:pos x="connsiteX8611" y="connsiteY8611"/>
                </a:cxn>
                <a:cxn ang="0">
                  <a:pos x="connsiteX8612" y="connsiteY8612"/>
                </a:cxn>
                <a:cxn ang="0">
                  <a:pos x="connsiteX8613" y="connsiteY8613"/>
                </a:cxn>
                <a:cxn ang="0">
                  <a:pos x="connsiteX8614" y="connsiteY8614"/>
                </a:cxn>
                <a:cxn ang="0">
                  <a:pos x="connsiteX8615" y="connsiteY8615"/>
                </a:cxn>
                <a:cxn ang="0">
                  <a:pos x="connsiteX8616" y="connsiteY8616"/>
                </a:cxn>
                <a:cxn ang="0">
                  <a:pos x="connsiteX8617" y="connsiteY8617"/>
                </a:cxn>
                <a:cxn ang="0">
                  <a:pos x="connsiteX8618" y="connsiteY8618"/>
                </a:cxn>
                <a:cxn ang="0">
                  <a:pos x="connsiteX8619" y="connsiteY8619"/>
                </a:cxn>
                <a:cxn ang="0">
                  <a:pos x="connsiteX8620" y="connsiteY8620"/>
                </a:cxn>
                <a:cxn ang="0">
                  <a:pos x="connsiteX8621" y="connsiteY8621"/>
                </a:cxn>
                <a:cxn ang="0">
                  <a:pos x="connsiteX8622" y="connsiteY8622"/>
                </a:cxn>
                <a:cxn ang="0">
                  <a:pos x="connsiteX8623" y="connsiteY8623"/>
                </a:cxn>
                <a:cxn ang="0">
                  <a:pos x="connsiteX8624" y="connsiteY8624"/>
                </a:cxn>
                <a:cxn ang="0">
                  <a:pos x="connsiteX8625" y="connsiteY8625"/>
                </a:cxn>
                <a:cxn ang="0">
                  <a:pos x="connsiteX8626" y="connsiteY8626"/>
                </a:cxn>
                <a:cxn ang="0">
                  <a:pos x="connsiteX8627" y="connsiteY8627"/>
                </a:cxn>
                <a:cxn ang="0">
                  <a:pos x="connsiteX8628" y="connsiteY8628"/>
                </a:cxn>
                <a:cxn ang="0">
                  <a:pos x="connsiteX8629" y="connsiteY8629"/>
                </a:cxn>
                <a:cxn ang="0">
                  <a:pos x="connsiteX8630" y="connsiteY8630"/>
                </a:cxn>
                <a:cxn ang="0">
                  <a:pos x="connsiteX8631" y="connsiteY8631"/>
                </a:cxn>
                <a:cxn ang="0">
                  <a:pos x="connsiteX8632" y="connsiteY8632"/>
                </a:cxn>
                <a:cxn ang="0">
                  <a:pos x="connsiteX8633" y="connsiteY8633"/>
                </a:cxn>
                <a:cxn ang="0">
                  <a:pos x="connsiteX8634" y="connsiteY8634"/>
                </a:cxn>
                <a:cxn ang="0">
                  <a:pos x="connsiteX8635" y="connsiteY8635"/>
                </a:cxn>
                <a:cxn ang="0">
                  <a:pos x="connsiteX8636" y="connsiteY8636"/>
                </a:cxn>
                <a:cxn ang="0">
                  <a:pos x="connsiteX8637" y="connsiteY8637"/>
                </a:cxn>
                <a:cxn ang="0">
                  <a:pos x="connsiteX8638" y="connsiteY8638"/>
                </a:cxn>
                <a:cxn ang="0">
                  <a:pos x="connsiteX8639" y="connsiteY8639"/>
                </a:cxn>
                <a:cxn ang="0">
                  <a:pos x="connsiteX8640" y="connsiteY8640"/>
                </a:cxn>
                <a:cxn ang="0">
                  <a:pos x="connsiteX8641" y="connsiteY8641"/>
                </a:cxn>
                <a:cxn ang="0">
                  <a:pos x="connsiteX8642" y="connsiteY8642"/>
                </a:cxn>
                <a:cxn ang="0">
                  <a:pos x="connsiteX8643" y="connsiteY8643"/>
                </a:cxn>
                <a:cxn ang="0">
                  <a:pos x="connsiteX8644" y="connsiteY8644"/>
                </a:cxn>
                <a:cxn ang="0">
                  <a:pos x="connsiteX8645" y="connsiteY8645"/>
                </a:cxn>
                <a:cxn ang="0">
                  <a:pos x="connsiteX8646" y="connsiteY8646"/>
                </a:cxn>
                <a:cxn ang="0">
                  <a:pos x="connsiteX8647" y="connsiteY8647"/>
                </a:cxn>
                <a:cxn ang="0">
                  <a:pos x="connsiteX8648" y="connsiteY8648"/>
                </a:cxn>
                <a:cxn ang="0">
                  <a:pos x="connsiteX8649" y="connsiteY8649"/>
                </a:cxn>
                <a:cxn ang="0">
                  <a:pos x="connsiteX8650" y="connsiteY8650"/>
                </a:cxn>
                <a:cxn ang="0">
                  <a:pos x="connsiteX8651" y="connsiteY8651"/>
                </a:cxn>
                <a:cxn ang="0">
                  <a:pos x="connsiteX8652" y="connsiteY8652"/>
                </a:cxn>
                <a:cxn ang="0">
                  <a:pos x="connsiteX8653" y="connsiteY8653"/>
                </a:cxn>
                <a:cxn ang="0">
                  <a:pos x="connsiteX8654" y="connsiteY8654"/>
                </a:cxn>
                <a:cxn ang="0">
                  <a:pos x="connsiteX8655" y="connsiteY8655"/>
                </a:cxn>
                <a:cxn ang="0">
                  <a:pos x="connsiteX8656" y="connsiteY8656"/>
                </a:cxn>
                <a:cxn ang="0">
                  <a:pos x="connsiteX8657" y="connsiteY8657"/>
                </a:cxn>
                <a:cxn ang="0">
                  <a:pos x="connsiteX8658" y="connsiteY8658"/>
                </a:cxn>
                <a:cxn ang="0">
                  <a:pos x="connsiteX8659" y="connsiteY8659"/>
                </a:cxn>
                <a:cxn ang="0">
                  <a:pos x="connsiteX8660" y="connsiteY8660"/>
                </a:cxn>
                <a:cxn ang="0">
                  <a:pos x="connsiteX8661" y="connsiteY8661"/>
                </a:cxn>
                <a:cxn ang="0">
                  <a:pos x="connsiteX8662" y="connsiteY8662"/>
                </a:cxn>
                <a:cxn ang="0">
                  <a:pos x="connsiteX8663" y="connsiteY8663"/>
                </a:cxn>
                <a:cxn ang="0">
                  <a:pos x="connsiteX8664" y="connsiteY8664"/>
                </a:cxn>
                <a:cxn ang="0">
                  <a:pos x="connsiteX8665" y="connsiteY8665"/>
                </a:cxn>
                <a:cxn ang="0">
                  <a:pos x="connsiteX8666" y="connsiteY8666"/>
                </a:cxn>
                <a:cxn ang="0">
                  <a:pos x="connsiteX8667" y="connsiteY8667"/>
                </a:cxn>
                <a:cxn ang="0">
                  <a:pos x="connsiteX8668" y="connsiteY8668"/>
                </a:cxn>
                <a:cxn ang="0">
                  <a:pos x="connsiteX8669" y="connsiteY8669"/>
                </a:cxn>
                <a:cxn ang="0">
                  <a:pos x="connsiteX8670" y="connsiteY8670"/>
                </a:cxn>
                <a:cxn ang="0">
                  <a:pos x="connsiteX8671" y="connsiteY8671"/>
                </a:cxn>
                <a:cxn ang="0">
                  <a:pos x="connsiteX8672" y="connsiteY8672"/>
                </a:cxn>
                <a:cxn ang="0">
                  <a:pos x="connsiteX8673" y="connsiteY8673"/>
                </a:cxn>
                <a:cxn ang="0">
                  <a:pos x="connsiteX8674" y="connsiteY8674"/>
                </a:cxn>
                <a:cxn ang="0">
                  <a:pos x="connsiteX8675" y="connsiteY8675"/>
                </a:cxn>
                <a:cxn ang="0">
                  <a:pos x="connsiteX8676" y="connsiteY8676"/>
                </a:cxn>
                <a:cxn ang="0">
                  <a:pos x="connsiteX8677" y="connsiteY8677"/>
                </a:cxn>
                <a:cxn ang="0">
                  <a:pos x="connsiteX8678" y="connsiteY8678"/>
                </a:cxn>
                <a:cxn ang="0">
                  <a:pos x="connsiteX8679" y="connsiteY8679"/>
                </a:cxn>
                <a:cxn ang="0">
                  <a:pos x="connsiteX8680" y="connsiteY8680"/>
                </a:cxn>
                <a:cxn ang="0">
                  <a:pos x="connsiteX8681" y="connsiteY8681"/>
                </a:cxn>
                <a:cxn ang="0">
                  <a:pos x="connsiteX8682" y="connsiteY8682"/>
                </a:cxn>
                <a:cxn ang="0">
                  <a:pos x="connsiteX8683" y="connsiteY8683"/>
                </a:cxn>
                <a:cxn ang="0">
                  <a:pos x="connsiteX8684" y="connsiteY8684"/>
                </a:cxn>
                <a:cxn ang="0">
                  <a:pos x="connsiteX8685" y="connsiteY8685"/>
                </a:cxn>
                <a:cxn ang="0">
                  <a:pos x="connsiteX8686" y="connsiteY8686"/>
                </a:cxn>
                <a:cxn ang="0">
                  <a:pos x="connsiteX8687" y="connsiteY8687"/>
                </a:cxn>
                <a:cxn ang="0">
                  <a:pos x="connsiteX8688" y="connsiteY8688"/>
                </a:cxn>
                <a:cxn ang="0">
                  <a:pos x="connsiteX8689" y="connsiteY8689"/>
                </a:cxn>
                <a:cxn ang="0">
                  <a:pos x="connsiteX8690" y="connsiteY8690"/>
                </a:cxn>
                <a:cxn ang="0">
                  <a:pos x="connsiteX8691" y="connsiteY8691"/>
                </a:cxn>
                <a:cxn ang="0">
                  <a:pos x="connsiteX8692" y="connsiteY8692"/>
                </a:cxn>
                <a:cxn ang="0">
                  <a:pos x="connsiteX8693" y="connsiteY8693"/>
                </a:cxn>
                <a:cxn ang="0">
                  <a:pos x="connsiteX8694" y="connsiteY8694"/>
                </a:cxn>
                <a:cxn ang="0">
                  <a:pos x="connsiteX8695" y="connsiteY8695"/>
                </a:cxn>
                <a:cxn ang="0">
                  <a:pos x="connsiteX8696" y="connsiteY8696"/>
                </a:cxn>
                <a:cxn ang="0">
                  <a:pos x="connsiteX8697" y="connsiteY8697"/>
                </a:cxn>
                <a:cxn ang="0">
                  <a:pos x="connsiteX8698" y="connsiteY8698"/>
                </a:cxn>
                <a:cxn ang="0">
                  <a:pos x="connsiteX8699" y="connsiteY8699"/>
                </a:cxn>
                <a:cxn ang="0">
                  <a:pos x="connsiteX8700" y="connsiteY8700"/>
                </a:cxn>
                <a:cxn ang="0">
                  <a:pos x="connsiteX8701" y="connsiteY8701"/>
                </a:cxn>
                <a:cxn ang="0">
                  <a:pos x="connsiteX8702" y="connsiteY8702"/>
                </a:cxn>
                <a:cxn ang="0">
                  <a:pos x="connsiteX8703" y="connsiteY8703"/>
                </a:cxn>
                <a:cxn ang="0">
                  <a:pos x="connsiteX8704" y="connsiteY8704"/>
                </a:cxn>
                <a:cxn ang="0">
                  <a:pos x="connsiteX8705" y="connsiteY8705"/>
                </a:cxn>
                <a:cxn ang="0">
                  <a:pos x="connsiteX8706" y="connsiteY8706"/>
                </a:cxn>
                <a:cxn ang="0">
                  <a:pos x="connsiteX8707" y="connsiteY8707"/>
                </a:cxn>
                <a:cxn ang="0">
                  <a:pos x="connsiteX8708" y="connsiteY8708"/>
                </a:cxn>
                <a:cxn ang="0">
                  <a:pos x="connsiteX8709" y="connsiteY8709"/>
                </a:cxn>
                <a:cxn ang="0">
                  <a:pos x="connsiteX8710" y="connsiteY8710"/>
                </a:cxn>
                <a:cxn ang="0">
                  <a:pos x="connsiteX8711" y="connsiteY8711"/>
                </a:cxn>
                <a:cxn ang="0">
                  <a:pos x="connsiteX8712" y="connsiteY8712"/>
                </a:cxn>
                <a:cxn ang="0">
                  <a:pos x="connsiteX8713" y="connsiteY8713"/>
                </a:cxn>
                <a:cxn ang="0">
                  <a:pos x="connsiteX8714" y="connsiteY8714"/>
                </a:cxn>
                <a:cxn ang="0">
                  <a:pos x="connsiteX8715" y="connsiteY8715"/>
                </a:cxn>
                <a:cxn ang="0">
                  <a:pos x="connsiteX8716" y="connsiteY8716"/>
                </a:cxn>
                <a:cxn ang="0">
                  <a:pos x="connsiteX8717" y="connsiteY8717"/>
                </a:cxn>
                <a:cxn ang="0">
                  <a:pos x="connsiteX8718" y="connsiteY8718"/>
                </a:cxn>
                <a:cxn ang="0">
                  <a:pos x="connsiteX8719" y="connsiteY8719"/>
                </a:cxn>
                <a:cxn ang="0">
                  <a:pos x="connsiteX8720" y="connsiteY8720"/>
                </a:cxn>
                <a:cxn ang="0">
                  <a:pos x="connsiteX8721" y="connsiteY8721"/>
                </a:cxn>
                <a:cxn ang="0">
                  <a:pos x="connsiteX8722" y="connsiteY8722"/>
                </a:cxn>
                <a:cxn ang="0">
                  <a:pos x="connsiteX8723" y="connsiteY8723"/>
                </a:cxn>
                <a:cxn ang="0">
                  <a:pos x="connsiteX8724" y="connsiteY8724"/>
                </a:cxn>
                <a:cxn ang="0">
                  <a:pos x="connsiteX8725" y="connsiteY8725"/>
                </a:cxn>
                <a:cxn ang="0">
                  <a:pos x="connsiteX8726" y="connsiteY8726"/>
                </a:cxn>
                <a:cxn ang="0">
                  <a:pos x="connsiteX8727" y="connsiteY8727"/>
                </a:cxn>
                <a:cxn ang="0">
                  <a:pos x="connsiteX8728" y="connsiteY8728"/>
                </a:cxn>
                <a:cxn ang="0">
                  <a:pos x="connsiteX8729" y="connsiteY8729"/>
                </a:cxn>
                <a:cxn ang="0">
                  <a:pos x="connsiteX8730" y="connsiteY8730"/>
                </a:cxn>
                <a:cxn ang="0">
                  <a:pos x="connsiteX8731" y="connsiteY8731"/>
                </a:cxn>
                <a:cxn ang="0">
                  <a:pos x="connsiteX8732" y="connsiteY8732"/>
                </a:cxn>
                <a:cxn ang="0">
                  <a:pos x="connsiteX8733" y="connsiteY8733"/>
                </a:cxn>
                <a:cxn ang="0">
                  <a:pos x="connsiteX8734" y="connsiteY8734"/>
                </a:cxn>
                <a:cxn ang="0">
                  <a:pos x="connsiteX8735" y="connsiteY8735"/>
                </a:cxn>
                <a:cxn ang="0">
                  <a:pos x="connsiteX8736" y="connsiteY8736"/>
                </a:cxn>
                <a:cxn ang="0">
                  <a:pos x="connsiteX8737" y="connsiteY8737"/>
                </a:cxn>
                <a:cxn ang="0">
                  <a:pos x="connsiteX8738" y="connsiteY8738"/>
                </a:cxn>
                <a:cxn ang="0">
                  <a:pos x="connsiteX8739" y="connsiteY8739"/>
                </a:cxn>
                <a:cxn ang="0">
                  <a:pos x="connsiteX8740" y="connsiteY8740"/>
                </a:cxn>
                <a:cxn ang="0">
                  <a:pos x="connsiteX8741" y="connsiteY8741"/>
                </a:cxn>
                <a:cxn ang="0">
                  <a:pos x="connsiteX8742" y="connsiteY8742"/>
                </a:cxn>
                <a:cxn ang="0">
                  <a:pos x="connsiteX8743" y="connsiteY8743"/>
                </a:cxn>
                <a:cxn ang="0">
                  <a:pos x="connsiteX8744" y="connsiteY8744"/>
                </a:cxn>
                <a:cxn ang="0">
                  <a:pos x="connsiteX8745" y="connsiteY8745"/>
                </a:cxn>
                <a:cxn ang="0">
                  <a:pos x="connsiteX8746" y="connsiteY8746"/>
                </a:cxn>
                <a:cxn ang="0">
                  <a:pos x="connsiteX8747" y="connsiteY8747"/>
                </a:cxn>
                <a:cxn ang="0">
                  <a:pos x="connsiteX8748" y="connsiteY8748"/>
                </a:cxn>
                <a:cxn ang="0">
                  <a:pos x="connsiteX8749" y="connsiteY8749"/>
                </a:cxn>
                <a:cxn ang="0">
                  <a:pos x="connsiteX8750" y="connsiteY8750"/>
                </a:cxn>
                <a:cxn ang="0">
                  <a:pos x="connsiteX8751" y="connsiteY8751"/>
                </a:cxn>
                <a:cxn ang="0">
                  <a:pos x="connsiteX8752" y="connsiteY8752"/>
                </a:cxn>
                <a:cxn ang="0">
                  <a:pos x="connsiteX8753" y="connsiteY8753"/>
                </a:cxn>
                <a:cxn ang="0">
                  <a:pos x="connsiteX8754" y="connsiteY8754"/>
                </a:cxn>
                <a:cxn ang="0">
                  <a:pos x="connsiteX8755" y="connsiteY8755"/>
                </a:cxn>
                <a:cxn ang="0">
                  <a:pos x="connsiteX8756" y="connsiteY8756"/>
                </a:cxn>
                <a:cxn ang="0">
                  <a:pos x="connsiteX8757" y="connsiteY8757"/>
                </a:cxn>
                <a:cxn ang="0">
                  <a:pos x="connsiteX8758" y="connsiteY8758"/>
                </a:cxn>
                <a:cxn ang="0">
                  <a:pos x="connsiteX8759" y="connsiteY8759"/>
                </a:cxn>
                <a:cxn ang="0">
                  <a:pos x="connsiteX8760" y="connsiteY8760"/>
                </a:cxn>
                <a:cxn ang="0">
                  <a:pos x="connsiteX8761" y="connsiteY8761"/>
                </a:cxn>
                <a:cxn ang="0">
                  <a:pos x="connsiteX8762" y="connsiteY8762"/>
                </a:cxn>
                <a:cxn ang="0">
                  <a:pos x="connsiteX8763" y="connsiteY8763"/>
                </a:cxn>
                <a:cxn ang="0">
                  <a:pos x="connsiteX8764" y="connsiteY8764"/>
                </a:cxn>
                <a:cxn ang="0">
                  <a:pos x="connsiteX8765" y="connsiteY8765"/>
                </a:cxn>
                <a:cxn ang="0">
                  <a:pos x="connsiteX8766" y="connsiteY8766"/>
                </a:cxn>
                <a:cxn ang="0">
                  <a:pos x="connsiteX8767" y="connsiteY8767"/>
                </a:cxn>
                <a:cxn ang="0">
                  <a:pos x="connsiteX8768" y="connsiteY8768"/>
                </a:cxn>
                <a:cxn ang="0">
                  <a:pos x="connsiteX8769" y="connsiteY8769"/>
                </a:cxn>
                <a:cxn ang="0">
                  <a:pos x="connsiteX8770" y="connsiteY8770"/>
                </a:cxn>
                <a:cxn ang="0">
                  <a:pos x="connsiteX8771" y="connsiteY8771"/>
                </a:cxn>
                <a:cxn ang="0">
                  <a:pos x="connsiteX8772" y="connsiteY8772"/>
                </a:cxn>
                <a:cxn ang="0">
                  <a:pos x="connsiteX8773" y="connsiteY8773"/>
                </a:cxn>
                <a:cxn ang="0">
                  <a:pos x="connsiteX8774" y="connsiteY8774"/>
                </a:cxn>
                <a:cxn ang="0">
                  <a:pos x="connsiteX8775" y="connsiteY8775"/>
                </a:cxn>
                <a:cxn ang="0">
                  <a:pos x="connsiteX8776" y="connsiteY8776"/>
                </a:cxn>
                <a:cxn ang="0">
                  <a:pos x="connsiteX8777" y="connsiteY8777"/>
                </a:cxn>
                <a:cxn ang="0">
                  <a:pos x="connsiteX8778" y="connsiteY8778"/>
                </a:cxn>
                <a:cxn ang="0">
                  <a:pos x="connsiteX8779" y="connsiteY8779"/>
                </a:cxn>
                <a:cxn ang="0">
                  <a:pos x="connsiteX8780" y="connsiteY8780"/>
                </a:cxn>
                <a:cxn ang="0">
                  <a:pos x="connsiteX8781" y="connsiteY8781"/>
                </a:cxn>
                <a:cxn ang="0">
                  <a:pos x="connsiteX8782" y="connsiteY8782"/>
                </a:cxn>
                <a:cxn ang="0">
                  <a:pos x="connsiteX8783" y="connsiteY8783"/>
                </a:cxn>
                <a:cxn ang="0">
                  <a:pos x="connsiteX8784" y="connsiteY8784"/>
                </a:cxn>
                <a:cxn ang="0">
                  <a:pos x="connsiteX8785" y="connsiteY8785"/>
                </a:cxn>
                <a:cxn ang="0">
                  <a:pos x="connsiteX8786" y="connsiteY8786"/>
                </a:cxn>
                <a:cxn ang="0">
                  <a:pos x="connsiteX8787" y="connsiteY8787"/>
                </a:cxn>
                <a:cxn ang="0">
                  <a:pos x="connsiteX8788" y="connsiteY8788"/>
                </a:cxn>
                <a:cxn ang="0">
                  <a:pos x="connsiteX8789" y="connsiteY8789"/>
                </a:cxn>
                <a:cxn ang="0">
                  <a:pos x="connsiteX8790" y="connsiteY8790"/>
                </a:cxn>
                <a:cxn ang="0">
                  <a:pos x="connsiteX8791" y="connsiteY8791"/>
                </a:cxn>
                <a:cxn ang="0">
                  <a:pos x="connsiteX8792" y="connsiteY8792"/>
                </a:cxn>
                <a:cxn ang="0">
                  <a:pos x="connsiteX8793" y="connsiteY8793"/>
                </a:cxn>
                <a:cxn ang="0">
                  <a:pos x="connsiteX8794" y="connsiteY8794"/>
                </a:cxn>
                <a:cxn ang="0">
                  <a:pos x="connsiteX8795" y="connsiteY8795"/>
                </a:cxn>
                <a:cxn ang="0">
                  <a:pos x="connsiteX8796" y="connsiteY8796"/>
                </a:cxn>
                <a:cxn ang="0">
                  <a:pos x="connsiteX8797" y="connsiteY8797"/>
                </a:cxn>
                <a:cxn ang="0">
                  <a:pos x="connsiteX8798" y="connsiteY8798"/>
                </a:cxn>
                <a:cxn ang="0">
                  <a:pos x="connsiteX8799" y="connsiteY8799"/>
                </a:cxn>
                <a:cxn ang="0">
                  <a:pos x="connsiteX8800" y="connsiteY8800"/>
                </a:cxn>
                <a:cxn ang="0">
                  <a:pos x="connsiteX8801" y="connsiteY8801"/>
                </a:cxn>
                <a:cxn ang="0">
                  <a:pos x="connsiteX8802" y="connsiteY8802"/>
                </a:cxn>
                <a:cxn ang="0">
                  <a:pos x="connsiteX8803" y="connsiteY8803"/>
                </a:cxn>
                <a:cxn ang="0">
                  <a:pos x="connsiteX8804" y="connsiteY8804"/>
                </a:cxn>
                <a:cxn ang="0">
                  <a:pos x="connsiteX8805" y="connsiteY8805"/>
                </a:cxn>
                <a:cxn ang="0">
                  <a:pos x="connsiteX8806" y="connsiteY8806"/>
                </a:cxn>
                <a:cxn ang="0">
                  <a:pos x="connsiteX8807" y="connsiteY8807"/>
                </a:cxn>
                <a:cxn ang="0">
                  <a:pos x="connsiteX8808" y="connsiteY8808"/>
                </a:cxn>
                <a:cxn ang="0">
                  <a:pos x="connsiteX8809" y="connsiteY8809"/>
                </a:cxn>
                <a:cxn ang="0">
                  <a:pos x="connsiteX8810" y="connsiteY8810"/>
                </a:cxn>
                <a:cxn ang="0">
                  <a:pos x="connsiteX8811" y="connsiteY8811"/>
                </a:cxn>
                <a:cxn ang="0">
                  <a:pos x="connsiteX8812" y="connsiteY8812"/>
                </a:cxn>
                <a:cxn ang="0">
                  <a:pos x="connsiteX8813" y="connsiteY8813"/>
                </a:cxn>
                <a:cxn ang="0">
                  <a:pos x="connsiteX8814" y="connsiteY8814"/>
                </a:cxn>
                <a:cxn ang="0">
                  <a:pos x="connsiteX8815" y="connsiteY8815"/>
                </a:cxn>
                <a:cxn ang="0">
                  <a:pos x="connsiteX8816" y="connsiteY8816"/>
                </a:cxn>
                <a:cxn ang="0">
                  <a:pos x="connsiteX8817" y="connsiteY8817"/>
                </a:cxn>
                <a:cxn ang="0">
                  <a:pos x="connsiteX8818" y="connsiteY8818"/>
                </a:cxn>
                <a:cxn ang="0">
                  <a:pos x="connsiteX8819" y="connsiteY8819"/>
                </a:cxn>
                <a:cxn ang="0">
                  <a:pos x="connsiteX8820" y="connsiteY8820"/>
                </a:cxn>
                <a:cxn ang="0">
                  <a:pos x="connsiteX8821" y="connsiteY8821"/>
                </a:cxn>
                <a:cxn ang="0">
                  <a:pos x="connsiteX8822" y="connsiteY8822"/>
                </a:cxn>
                <a:cxn ang="0">
                  <a:pos x="connsiteX8823" y="connsiteY8823"/>
                </a:cxn>
                <a:cxn ang="0">
                  <a:pos x="connsiteX8824" y="connsiteY8824"/>
                </a:cxn>
                <a:cxn ang="0">
                  <a:pos x="connsiteX8825" y="connsiteY8825"/>
                </a:cxn>
                <a:cxn ang="0">
                  <a:pos x="connsiteX8826" y="connsiteY8826"/>
                </a:cxn>
                <a:cxn ang="0">
                  <a:pos x="connsiteX8827" y="connsiteY8827"/>
                </a:cxn>
                <a:cxn ang="0">
                  <a:pos x="connsiteX8828" y="connsiteY8828"/>
                </a:cxn>
                <a:cxn ang="0">
                  <a:pos x="connsiteX8829" y="connsiteY8829"/>
                </a:cxn>
                <a:cxn ang="0">
                  <a:pos x="connsiteX8830" y="connsiteY8830"/>
                </a:cxn>
                <a:cxn ang="0">
                  <a:pos x="connsiteX8831" y="connsiteY8831"/>
                </a:cxn>
                <a:cxn ang="0">
                  <a:pos x="connsiteX8832" y="connsiteY8832"/>
                </a:cxn>
                <a:cxn ang="0">
                  <a:pos x="connsiteX8833" y="connsiteY8833"/>
                </a:cxn>
                <a:cxn ang="0">
                  <a:pos x="connsiteX8834" y="connsiteY8834"/>
                </a:cxn>
                <a:cxn ang="0">
                  <a:pos x="connsiteX8835" y="connsiteY8835"/>
                </a:cxn>
                <a:cxn ang="0">
                  <a:pos x="connsiteX8836" y="connsiteY8836"/>
                </a:cxn>
                <a:cxn ang="0">
                  <a:pos x="connsiteX8837" y="connsiteY8837"/>
                </a:cxn>
                <a:cxn ang="0">
                  <a:pos x="connsiteX8838" y="connsiteY8838"/>
                </a:cxn>
                <a:cxn ang="0">
                  <a:pos x="connsiteX8839" y="connsiteY8839"/>
                </a:cxn>
                <a:cxn ang="0">
                  <a:pos x="connsiteX8840" y="connsiteY8840"/>
                </a:cxn>
                <a:cxn ang="0">
                  <a:pos x="connsiteX8841" y="connsiteY8841"/>
                </a:cxn>
                <a:cxn ang="0">
                  <a:pos x="connsiteX8842" y="connsiteY8842"/>
                </a:cxn>
                <a:cxn ang="0">
                  <a:pos x="connsiteX8843" y="connsiteY8843"/>
                </a:cxn>
                <a:cxn ang="0">
                  <a:pos x="connsiteX8844" y="connsiteY8844"/>
                </a:cxn>
                <a:cxn ang="0">
                  <a:pos x="connsiteX8845" y="connsiteY8845"/>
                </a:cxn>
                <a:cxn ang="0">
                  <a:pos x="connsiteX8846" y="connsiteY8846"/>
                </a:cxn>
                <a:cxn ang="0">
                  <a:pos x="connsiteX8847" y="connsiteY8847"/>
                </a:cxn>
                <a:cxn ang="0">
                  <a:pos x="connsiteX8848" y="connsiteY8848"/>
                </a:cxn>
                <a:cxn ang="0">
                  <a:pos x="connsiteX8849" y="connsiteY8849"/>
                </a:cxn>
                <a:cxn ang="0">
                  <a:pos x="connsiteX8850" y="connsiteY8850"/>
                </a:cxn>
                <a:cxn ang="0">
                  <a:pos x="connsiteX8851" y="connsiteY8851"/>
                </a:cxn>
                <a:cxn ang="0">
                  <a:pos x="connsiteX8852" y="connsiteY8852"/>
                </a:cxn>
                <a:cxn ang="0">
                  <a:pos x="connsiteX8853" y="connsiteY8853"/>
                </a:cxn>
                <a:cxn ang="0">
                  <a:pos x="connsiteX8854" y="connsiteY8854"/>
                </a:cxn>
                <a:cxn ang="0">
                  <a:pos x="connsiteX8855" y="connsiteY8855"/>
                </a:cxn>
                <a:cxn ang="0">
                  <a:pos x="connsiteX8856" y="connsiteY8856"/>
                </a:cxn>
                <a:cxn ang="0">
                  <a:pos x="connsiteX8857" y="connsiteY8857"/>
                </a:cxn>
                <a:cxn ang="0">
                  <a:pos x="connsiteX8858" y="connsiteY8858"/>
                </a:cxn>
                <a:cxn ang="0">
                  <a:pos x="connsiteX8859" y="connsiteY8859"/>
                </a:cxn>
                <a:cxn ang="0">
                  <a:pos x="connsiteX8860" y="connsiteY8860"/>
                </a:cxn>
                <a:cxn ang="0">
                  <a:pos x="connsiteX8861" y="connsiteY8861"/>
                </a:cxn>
                <a:cxn ang="0">
                  <a:pos x="connsiteX8862" y="connsiteY8862"/>
                </a:cxn>
                <a:cxn ang="0">
                  <a:pos x="connsiteX8863" y="connsiteY8863"/>
                </a:cxn>
                <a:cxn ang="0">
                  <a:pos x="connsiteX8864" y="connsiteY8864"/>
                </a:cxn>
                <a:cxn ang="0">
                  <a:pos x="connsiteX8865" y="connsiteY8865"/>
                </a:cxn>
                <a:cxn ang="0">
                  <a:pos x="connsiteX8866" y="connsiteY8866"/>
                </a:cxn>
                <a:cxn ang="0">
                  <a:pos x="connsiteX8867" y="connsiteY8867"/>
                </a:cxn>
                <a:cxn ang="0">
                  <a:pos x="connsiteX8868" y="connsiteY8868"/>
                </a:cxn>
                <a:cxn ang="0">
                  <a:pos x="connsiteX8869" y="connsiteY8869"/>
                </a:cxn>
                <a:cxn ang="0">
                  <a:pos x="connsiteX8870" y="connsiteY8870"/>
                </a:cxn>
                <a:cxn ang="0">
                  <a:pos x="connsiteX8871" y="connsiteY8871"/>
                </a:cxn>
                <a:cxn ang="0">
                  <a:pos x="connsiteX8872" y="connsiteY8872"/>
                </a:cxn>
                <a:cxn ang="0">
                  <a:pos x="connsiteX8873" y="connsiteY8873"/>
                </a:cxn>
                <a:cxn ang="0">
                  <a:pos x="connsiteX8874" y="connsiteY8874"/>
                </a:cxn>
                <a:cxn ang="0">
                  <a:pos x="connsiteX8875" y="connsiteY8875"/>
                </a:cxn>
                <a:cxn ang="0">
                  <a:pos x="connsiteX8876" y="connsiteY8876"/>
                </a:cxn>
                <a:cxn ang="0">
                  <a:pos x="connsiteX8877" y="connsiteY8877"/>
                </a:cxn>
                <a:cxn ang="0">
                  <a:pos x="connsiteX8878" y="connsiteY8878"/>
                </a:cxn>
                <a:cxn ang="0">
                  <a:pos x="connsiteX8879" y="connsiteY8879"/>
                </a:cxn>
                <a:cxn ang="0">
                  <a:pos x="connsiteX8880" y="connsiteY8880"/>
                </a:cxn>
                <a:cxn ang="0">
                  <a:pos x="connsiteX8881" y="connsiteY8881"/>
                </a:cxn>
                <a:cxn ang="0">
                  <a:pos x="connsiteX8882" y="connsiteY8882"/>
                </a:cxn>
                <a:cxn ang="0">
                  <a:pos x="connsiteX8883" y="connsiteY8883"/>
                </a:cxn>
                <a:cxn ang="0">
                  <a:pos x="connsiteX8884" y="connsiteY8884"/>
                </a:cxn>
                <a:cxn ang="0">
                  <a:pos x="connsiteX8885" y="connsiteY8885"/>
                </a:cxn>
                <a:cxn ang="0">
                  <a:pos x="connsiteX8886" y="connsiteY8886"/>
                </a:cxn>
                <a:cxn ang="0">
                  <a:pos x="connsiteX8887" y="connsiteY8887"/>
                </a:cxn>
                <a:cxn ang="0">
                  <a:pos x="connsiteX8888" y="connsiteY8888"/>
                </a:cxn>
                <a:cxn ang="0">
                  <a:pos x="connsiteX8889" y="connsiteY8889"/>
                </a:cxn>
                <a:cxn ang="0">
                  <a:pos x="connsiteX8890" y="connsiteY8890"/>
                </a:cxn>
                <a:cxn ang="0">
                  <a:pos x="connsiteX8891" y="connsiteY8891"/>
                </a:cxn>
                <a:cxn ang="0">
                  <a:pos x="connsiteX8892" y="connsiteY8892"/>
                </a:cxn>
                <a:cxn ang="0">
                  <a:pos x="connsiteX8893" y="connsiteY8893"/>
                </a:cxn>
                <a:cxn ang="0">
                  <a:pos x="connsiteX8894" y="connsiteY8894"/>
                </a:cxn>
                <a:cxn ang="0">
                  <a:pos x="connsiteX8895" y="connsiteY8895"/>
                </a:cxn>
                <a:cxn ang="0">
                  <a:pos x="connsiteX8896" y="connsiteY8896"/>
                </a:cxn>
                <a:cxn ang="0">
                  <a:pos x="connsiteX8897" y="connsiteY8897"/>
                </a:cxn>
                <a:cxn ang="0">
                  <a:pos x="connsiteX8898" y="connsiteY8898"/>
                </a:cxn>
                <a:cxn ang="0">
                  <a:pos x="connsiteX8899" y="connsiteY8899"/>
                </a:cxn>
                <a:cxn ang="0">
                  <a:pos x="connsiteX8900" y="connsiteY8900"/>
                </a:cxn>
                <a:cxn ang="0">
                  <a:pos x="connsiteX8901" y="connsiteY8901"/>
                </a:cxn>
                <a:cxn ang="0">
                  <a:pos x="connsiteX8902" y="connsiteY8902"/>
                </a:cxn>
                <a:cxn ang="0">
                  <a:pos x="connsiteX8903" y="connsiteY8903"/>
                </a:cxn>
                <a:cxn ang="0">
                  <a:pos x="connsiteX8904" y="connsiteY8904"/>
                </a:cxn>
                <a:cxn ang="0">
                  <a:pos x="connsiteX8905" y="connsiteY8905"/>
                </a:cxn>
                <a:cxn ang="0">
                  <a:pos x="connsiteX8906" y="connsiteY8906"/>
                </a:cxn>
                <a:cxn ang="0">
                  <a:pos x="connsiteX8907" y="connsiteY8907"/>
                </a:cxn>
                <a:cxn ang="0">
                  <a:pos x="connsiteX8908" y="connsiteY8908"/>
                </a:cxn>
                <a:cxn ang="0">
                  <a:pos x="connsiteX8909" y="connsiteY8909"/>
                </a:cxn>
                <a:cxn ang="0">
                  <a:pos x="connsiteX8910" y="connsiteY8910"/>
                </a:cxn>
                <a:cxn ang="0">
                  <a:pos x="connsiteX8911" y="connsiteY8911"/>
                </a:cxn>
                <a:cxn ang="0">
                  <a:pos x="connsiteX8912" y="connsiteY8912"/>
                </a:cxn>
                <a:cxn ang="0">
                  <a:pos x="connsiteX8913" y="connsiteY8913"/>
                </a:cxn>
                <a:cxn ang="0">
                  <a:pos x="connsiteX8914" y="connsiteY8914"/>
                </a:cxn>
                <a:cxn ang="0">
                  <a:pos x="connsiteX8915" y="connsiteY8915"/>
                </a:cxn>
                <a:cxn ang="0">
                  <a:pos x="connsiteX8916" y="connsiteY8916"/>
                </a:cxn>
                <a:cxn ang="0">
                  <a:pos x="connsiteX8917" y="connsiteY8917"/>
                </a:cxn>
                <a:cxn ang="0">
                  <a:pos x="connsiteX8918" y="connsiteY8918"/>
                </a:cxn>
                <a:cxn ang="0">
                  <a:pos x="connsiteX8919" y="connsiteY8919"/>
                </a:cxn>
                <a:cxn ang="0">
                  <a:pos x="connsiteX8920" y="connsiteY8920"/>
                </a:cxn>
                <a:cxn ang="0">
                  <a:pos x="connsiteX8921" y="connsiteY8921"/>
                </a:cxn>
                <a:cxn ang="0">
                  <a:pos x="connsiteX8922" y="connsiteY8922"/>
                </a:cxn>
                <a:cxn ang="0">
                  <a:pos x="connsiteX8923" y="connsiteY8923"/>
                </a:cxn>
                <a:cxn ang="0">
                  <a:pos x="connsiteX8924" y="connsiteY8924"/>
                </a:cxn>
                <a:cxn ang="0">
                  <a:pos x="connsiteX8925" y="connsiteY8925"/>
                </a:cxn>
                <a:cxn ang="0">
                  <a:pos x="connsiteX8926" y="connsiteY8926"/>
                </a:cxn>
                <a:cxn ang="0">
                  <a:pos x="connsiteX8927" y="connsiteY8927"/>
                </a:cxn>
                <a:cxn ang="0">
                  <a:pos x="connsiteX8928" y="connsiteY8928"/>
                </a:cxn>
                <a:cxn ang="0">
                  <a:pos x="connsiteX8929" y="connsiteY8929"/>
                </a:cxn>
                <a:cxn ang="0">
                  <a:pos x="connsiteX8930" y="connsiteY8930"/>
                </a:cxn>
                <a:cxn ang="0">
                  <a:pos x="connsiteX8931" y="connsiteY8931"/>
                </a:cxn>
                <a:cxn ang="0">
                  <a:pos x="connsiteX8932" y="connsiteY8932"/>
                </a:cxn>
                <a:cxn ang="0">
                  <a:pos x="connsiteX8933" y="connsiteY8933"/>
                </a:cxn>
                <a:cxn ang="0">
                  <a:pos x="connsiteX8934" y="connsiteY8934"/>
                </a:cxn>
                <a:cxn ang="0">
                  <a:pos x="connsiteX8935" y="connsiteY8935"/>
                </a:cxn>
                <a:cxn ang="0">
                  <a:pos x="connsiteX8936" y="connsiteY8936"/>
                </a:cxn>
                <a:cxn ang="0">
                  <a:pos x="connsiteX8937" y="connsiteY8937"/>
                </a:cxn>
                <a:cxn ang="0">
                  <a:pos x="connsiteX8938" y="connsiteY8938"/>
                </a:cxn>
                <a:cxn ang="0">
                  <a:pos x="connsiteX8939" y="connsiteY8939"/>
                </a:cxn>
                <a:cxn ang="0">
                  <a:pos x="connsiteX8940" y="connsiteY8940"/>
                </a:cxn>
                <a:cxn ang="0">
                  <a:pos x="connsiteX8941" y="connsiteY8941"/>
                </a:cxn>
                <a:cxn ang="0">
                  <a:pos x="connsiteX8942" y="connsiteY8942"/>
                </a:cxn>
                <a:cxn ang="0">
                  <a:pos x="connsiteX8943" y="connsiteY8943"/>
                </a:cxn>
                <a:cxn ang="0">
                  <a:pos x="connsiteX8944" y="connsiteY8944"/>
                </a:cxn>
                <a:cxn ang="0">
                  <a:pos x="connsiteX8945" y="connsiteY8945"/>
                </a:cxn>
                <a:cxn ang="0">
                  <a:pos x="connsiteX8946" y="connsiteY8946"/>
                </a:cxn>
                <a:cxn ang="0">
                  <a:pos x="connsiteX8947" y="connsiteY8947"/>
                </a:cxn>
                <a:cxn ang="0">
                  <a:pos x="connsiteX8948" y="connsiteY8948"/>
                </a:cxn>
                <a:cxn ang="0">
                  <a:pos x="connsiteX8949" y="connsiteY8949"/>
                </a:cxn>
                <a:cxn ang="0">
                  <a:pos x="connsiteX8950" y="connsiteY8950"/>
                </a:cxn>
                <a:cxn ang="0">
                  <a:pos x="connsiteX8951" y="connsiteY8951"/>
                </a:cxn>
                <a:cxn ang="0">
                  <a:pos x="connsiteX8952" y="connsiteY8952"/>
                </a:cxn>
                <a:cxn ang="0">
                  <a:pos x="connsiteX8953" y="connsiteY8953"/>
                </a:cxn>
                <a:cxn ang="0">
                  <a:pos x="connsiteX8954" y="connsiteY8954"/>
                </a:cxn>
                <a:cxn ang="0">
                  <a:pos x="connsiteX8955" y="connsiteY8955"/>
                </a:cxn>
                <a:cxn ang="0">
                  <a:pos x="connsiteX8956" y="connsiteY8956"/>
                </a:cxn>
                <a:cxn ang="0">
                  <a:pos x="connsiteX8957" y="connsiteY8957"/>
                </a:cxn>
                <a:cxn ang="0">
                  <a:pos x="connsiteX8958" y="connsiteY8958"/>
                </a:cxn>
                <a:cxn ang="0">
                  <a:pos x="connsiteX8959" y="connsiteY8959"/>
                </a:cxn>
                <a:cxn ang="0">
                  <a:pos x="connsiteX8960" y="connsiteY8960"/>
                </a:cxn>
                <a:cxn ang="0">
                  <a:pos x="connsiteX8961" y="connsiteY8961"/>
                </a:cxn>
                <a:cxn ang="0">
                  <a:pos x="connsiteX8962" y="connsiteY8962"/>
                </a:cxn>
                <a:cxn ang="0">
                  <a:pos x="connsiteX8963" y="connsiteY8963"/>
                </a:cxn>
                <a:cxn ang="0">
                  <a:pos x="connsiteX8964" y="connsiteY8964"/>
                </a:cxn>
                <a:cxn ang="0">
                  <a:pos x="connsiteX8965" y="connsiteY8965"/>
                </a:cxn>
                <a:cxn ang="0">
                  <a:pos x="connsiteX8966" y="connsiteY8966"/>
                </a:cxn>
                <a:cxn ang="0">
                  <a:pos x="connsiteX8967" y="connsiteY8967"/>
                </a:cxn>
                <a:cxn ang="0">
                  <a:pos x="connsiteX8968" y="connsiteY8968"/>
                </a:cxn>
                <a:cxn ang="0">
                  <a:pos x="connsiteX8969" y="connsiteY8969"/>
                </a:cxn>
                <a:cxn ang="0">
                  <a:pos x="connsiteX8970" y="connsiteY8970"/>
                </a:cxn>
                <a:cxn ang="0">
                  <a:pos x="connsiteX8971" y="connsiteY8971"/>
                </a:cxn>
                <a:cxn ang="0">
                  <a:pos x="connsiteX8972" y="connsiteY8972"/>
                </a:cxn>
                <a:cxn ang="0">
                  <a:pos x="connsiteX8973" y="connsiteY8973"/>
                </a:cxn>
                <a:cxn ang="0">
                  <a:pos x="connsiteX8974" y="connsiteY8974"/>
                </a:cxn>
                <a:cxn ang="0">
                  <a:pos x="connsiteX8975" y="connsiteY8975"/>
                </a:cxn>
                <a:cxn ang="0">
                  <a:pos x="connsiteX8976" y="connsiteY8976"/>
                </a:cxn>
                <a:cxn ang="0">
                  <a:pos x="connsiteX8977" y="connsiteY8977"/>
                </a:cxn>
                <a:cxn ang="0">
                  <a:pos x="connsiteX8978" y="connsiteY8978"/>
                </a:cxn>
                <a:cxn ang="0">
                  <a:pos x="connsiteX8979" y="connsiteY8979"/>
                </a:cxn>
                <a:cxn ang="0">
                  <a:pos x="connsiteX8980" y="connsiteY8980"/>
                </a:cxn>
                <a:cxn ang="0">
                  <a:pos x="connsiteX8981" y="connsiteY8981"/>
                </a:cxn>
                <a:cxn ang="0">
                  <a:pos x="connsiteX8982" y="connsiteY8982"/>
                </a:cxn>
                <a:cxn ang="0">
                  <a:pos x="connsiteX8983" y="connsiteY8983"/>
                </a:cxn>
                <a:cxn ang="0">
                  <a:pos x="connsiteX8984" y="connsiteY8984"/>
                </a:cxn>
                <a:cxn ang="0">
                  <a:pos x="connsiteX8985" y="connsiteY8985"/>
                </a:cxn>
                <a:cxn ang="0">
                  <a:pos x="connsiteX8986" y="connsiteY8986"/>
                </a:cxn>
                <a:cxn ang="0">
                  <a:pos x="connsiteX8987" y="connsiteY8987"/>
                </a:cxn>
                <a:cxn ang="0">
                  <a:pos x="connsiteX8988" y="connsiteY8988"/>
                </a:cxn>
                <a:cxn ang="0">
                  <a:pos x="connsiteX8989" y="connsiteY8989"/>
                </a:cxn>
                <a:cxn ang="0">
                  <a:pos x="connsiteX8990" y="connsiteY8990"/>
                </a:cxn>
                <a:cxn ang="0">
                  <a:pos x="connsiteX8991" y="connsiteY8991"/>
                </a:cxn>
                <a:cxn ang="0">
                  <a:pos x="connsiteX8992" y="connsiteY8992"/>
                </a:cxn>
                <a:cxn ang="0">
                  <a:pos x="connsiteX8993" y="connsiteY8993"/>
                </a:cxn>
                <a:cxn ang="0">
                  <a:pos x="connsiteX8994" y="connsiteY8994"/>
                </a:cxn>
                <a:cxn ang="0">
                  <a:pos x="connsiteX8995" y="connsiteY8995"/>
                </a:cxn>
                <a:cxn ang="0">
                  <a:pos x="connsiteX8996" y="connsiteY8996"/>
                </a:cxn>
                <a:cxn ang="0">
                  <a:pos x="connsiteX8997" y="connsiteY8997"/>
                </a:cxn>
                <a:cxn ang="0">
                  <a:pos x="connsiteX8998" y="connsiteY8998"/>
                </a:cxn>
                <a:cxn ang="0">
                  <a:pos x="connsiteX8999" y="connsiteY8999"/>
                </a:cxn>
                <a:cxn ang="0">
                  <a:pos x="connsiteX9000" y="connsiteY9000"/>
                </a:cxn>
                <a:cxn ang="0">
                  <a:pos x="connsiteX9001" y="connsiteY9001"/>
                </a:cxn>
                <a:cxn ang="0">
                  <a:pos x="connsiteX9002" y="connsiteY9002"/>
                </a:cxn>
                <a:cxn ang="0">
                  <a:pos x="connsiteX9003" y="connsiteY9003"/>
                </a:cxn>
                <a:cxn ang="0">
                  <a:pos x="connsiteX9004" y="connsiteY9004"/>
                </a:cxn>
                <a:cxn ang="0">
                  <a:pos x="connsiteX9005" y="connsiteY9005"/>
                </a:cxn>
                <a:cxn ang="0">
                  <a:pos x="connsiteX9006" y="connsiteY9006"/>
                </a:cxn>
                <a:cxn ang="0">
                  <a:pos x="connsiteX9007" y="connsiteY9007"/>
                </a:cxn>
                <a:cxn ang="0">
                  <a:pos x="connsiteX9008" y="connsiteY9008"/>
                </a:cxn>
                <a:cxn ang="0">
                  <a:pos x="connsiteX9009" y="connsiteY9009"/>
                </a:cxn>
                <a:cxn ang="0">
                  <a:pos x="connsiteX9010" y="connsiteY9010"/>
                </a:cxn>
                <a:cxn ang="0">
                  <a:pos x="connsiteX9011" y="connsiteY9011"/>
                </a:cxn>
                <a:cxn ang="0">
                  <a:pos x="connsiteX9012" y="connsiteY9012"/>
                </a:cxn>
                <a:cxn ang="0">
                  <a:pos x="connsiteX9013" y="connsiteY9013"/>
                </a:cxn>
                <a:cxn ang="0">
                  <a:pos x="connsiteX9014" y="connsiteY9014"/>
                </a:cxn>
                <a:cxn ang="0">
                  <a:pos x="connsiteX9015" y="connsiteY9015"/>
                </a:cxn>
                <a:cxn ang="0">
                  <a:pos x="connsiteX9016" y="connsiteY9016"/>
                </a:cxn>
                <a:cxn ang="0">
                  <a:pos x="connsiteX9017" y="connsiteY9017"/>
                </a:cxn>
                <a:cxn ang="0">
                  <a:pos x="connsiteX9018" y="connsiteY9018"/>
                </a:cxn>
                <a:cxn ang="0">
                  <a:pos x="connsiteX9019" y="connsiteY9019"/>
                </a:cxn>
                <a:cxn ang="0">
                  <a:pos x="connsiteX9020" y="connsiteY9020"/>
                </a:cxn>
                <a:cxn ang="0">
                  <a:pos x="connsiteX9021" y="connsiteY9021"/>
                </a:cxn>
                <a:cxn ang="0">
                  <a:pos x="connsiteX9022" y="connsiteY9022"/>
                </a:cxn>
                <a:cxn ang="0">
                  <a:pos x="connsiteX9023" y="connsiteY9023"/>
                </a:cxn>
                <a:cxn ang="0">
                  <a:pos x="connsiteX9024" y="connsiteY9024"/>
                </a:cxn>
                <a:cxn ang="0">
                  <a:pos x="connsiteX9025" y="connsiteY9025"/>
                </a:cxn>
                <a:cxn ang="0">
                  <a:pos x="connsiteX9026" y="connsiteY9026"/>
                </a:cxn>
                <a:cxn ang="0">
                  <a:pos x="connsiteX9027" y="connsiteY9027"/>
                </a:cxn>
                <a:cxn ang="0">
                  <a:pos x="connsiteX9028" y="connsiteY9028"/>
                </a:cxn>
                <a:cxn ang="0">
                  <a:pos x="connsiteX9029" y="connsiteY9029"/>
                </a:cxn>
                <a:cxn ang="0">
                  <a:pos x="connsiteX9030" y="connsiteY9030"/>
                </a:cxn>
                <a:cxn ang="0">
                  <a:pos x="connsiteX9031" y="connsiteY9031"/>
                </a:cxn>
                <a:cxn ang="0">
                  <a:pos x="connsiteX9032" y="connsiteY9032"/>
                </a:cxn>
                <a:cxn ang="0">
                  <a:pos x="connsiteX9033" y="connsiteY9033"/>
                </a:cxn>
                <a:cxn ang="0">
                  <a:pos x="connsiteX9034" y="connsiteY9034"/>
                </a:cxn>
                <a:cxn ang="0">
                  <a:pos x="connsiteX9035" y="connsiteY9035"/>
                </a:cxn>
                <a:cxn ang="0">
                  <a:pos x="connsiteX9036" y="connsiteY9036"/>
                </a:cxn>
                <a:cxn ang="0">
                  <a:pos x="connsiteX9037" y="connsiteY9037"/>
                </a:cxn>
                <a:cxn ang="0">
                  <a:pos x="connsiteX9038" y="connsiteY9038"/>
                </a:cxn>
                <a:cxn ang="0">
                  <a:pos x="connsiteX9039" y="connsiteY9039"/>
                </a:cxn>
                <a:cxn ang="0">
                  <a:pos x="connsiteX9040" y="connsiteY9040"/>
                </a:cxn>
                <a:cxn ang="0">
                  <a:pos x="connsiteX9041" y="connsiteY9041"/>
                </a:cxn>
                <a:cxn ang="0">
                  <a:pos x="connsiteX9042" y="connsiteY9042"/>
                </a:cxn>
                <a:cxn ang="0">
                  <a:pos x="connsiteX9043" y="connsiteY9043"/>
                </a:cxn>
                <a:cxn ang="0">
                  <a:pos x="connsiteX9044" y="connsiteY9044"/>
                </a:cxn>
                <a:cxn ang="0">
                  <a:pos x="connsiteX9045" y="connsiteY9045"/>
                </a:cxn>
                <a:cxn ang="0">
                  <a:pos x="connsiteX9046" y="connsiteY9046"/>
                </a:cxn>
                <a:cxn ang="0">
                  <a:pos x="connsiteX9047" y="connsiteY9047"/>
                </a:cxn>
                <a:cxn ang="0">
                  <a:pos x="connsiteX9048" y="connsiteY9048"/>
                </a:cxn>
                <a:cxn ang="0">
                  <a:pos x="connsiteX9049" y="connsiteY9049"/>
                </a:cxn>
                <a:cxn ang="0">
                  <a:pos x="connsiteX9050" y="connsiteY9050"/>
                </a:cxn>
                <a:cxn ang="0">
                  <a:pos x="connsiteX9051" y="connsiteY9051"/>
                </a:cxn>
                <a:cxn ang="0">
                  <a:pos x="connsiteX9052" y="connsiteY9052"/>
                </a:cxn>
                <a:cxn ang="0">
                  <a:pos x="connsiteX9053" y="connsiteY9053"/>
                </a:cxn>
                <a:cxn ang="0">
                  <a:pos x="connsiteX9054" y="connsiteY9054"/>
                </a:cxn>
                <a:cxn ang="0">
                  <a:pos x="connsiteX9055" y="connsiteY9055"/>
                </a:cxn>
                <a:cxn ang="0">
                  <a:pos x="connsiteX9056" y="connsiteY9056"/>
                </a:cxn>
                <a:cxn ang="0">
                  <a:pos x="connsiteX9057" y="connsiteY9057"/>
                </a:cxn>
                <a:cxn ang="0">
                  <a:pos x="connsiteX9058" y="connsiteY9058"/>
                </a:cxn>
                <a:cxn ang="0">
                  <a:pos x="connsiteX9059" y="connsiteY9059"/>
                </a:cxn>
                <a:cxn ang="0">
                  <a:pos x="connsiteX9060" y="connsiteY9060"/>
                </a:cxn>
                <a:cxn ang="0">
                  <a:pos x="connsiteX9061" y="connsiteY9061"/>
                </a:cxn>
                <a:cxn ang="0">
                  <a:pos x="connsiteX9062" y="connsiteY9062"/>
                </a:cxn>
                <a:cxn ang="0">
                  <a:pos x="connsiteX9063" y="connsiteY9063"/>
                </a:cxn>
                <a:cxn ang="0">
                  <a:pos x="connsiteX9064" y="connsiteY9064"/>
                </a:cxn>
                <a:cxn ang="0">
                  <a:pos x="connsiteX9065" y="connsiteY9065"/>
                </a:cxn>
                <a:cxn ang="0">
                  <a:pos x="connsiteX9066" y="connsiteY9066"/>
                </a:cxn>
                <a:cxn ang="0">
                  <a:pos x="connsiteX9067" y="connsiteY9067"/>
                </a:cxn>
                <a:cxn ang="0">
                  <a:pos x="connsiteX9068" y="connsiteY9068"/>
                </a:cxn>
                <a:cxn ang="0">
                  <a:pos x="connsiteX9069" y="connsiteY9069"/>
                </a:cxn>
                <a:cxn ang="0">
                  <a:pos x="connsiteX9070" y="connsiteY9070"/>
                </a:cxn>
                <a:cxn ang="0">
                  <a:pos x="connsiteX9071" y="connsiteY9071"/>
                </a:cxn>
                <a:cxn ang="0">
                  <a:pos x="connsiteX9072" y="connsiteY9072"/>
                </a:cxn>
                <a:cxn ang="0">
                  <a:pos x="connsiteX9073" y="connsiteY9073"/>
                </a:cxn>
                <a:cxn ang="0">
                  <a:pos x="connsiteX9074" y="connsiteY9074"/>
                </a:cxn>
                <a:cxn ang="0">
                  <a:pos x="connsiteX9075" y="connsiteY9075"/>
                </a:cxn>
                <a:cxn ang="0">
                  <a:pos x="connsiteX9076" y="connsiteY9076"/>
                </a:cxn>
                <a:cxn ang="0">
                  <a:pos x="connsiteX9077" y="connsiteY9077"/>
                </a:cxn>
                <a:cxn ang="0">
                  <a:pos x="connsiteX9078" y="connsiteY9078"/>
                </a:cxn>
                <a:cxn ang="0">
                  <a:pos x="connsiteX9079" y="connsiteY9079"/>
                </a:cxn>
                <a:cxn ang="0">
                  <a:pos x="connsiteX9080" y="connsiteY9080"/>
                </a:cxn>
                <a:cxn ang="0">
                  <a:pos x="connsiteX9081" y="connsiteY9081"/>
                </a:cxn>
                <a:cxn ang="0">
                  <a:pos x="connsiteX9082" y="connsiteY9082"/>
                </a:cxn>
                <a:cxn ang="0">
                  <a:pos x="connsiteX9083" y="connsiteY9083"/>
                </a:cxn>
                <a:cxn ang="0">
                  <a:pos x="connsiteX9084" y="connsiteY9084"/>
                </a:cxn>
                <a:cxn ang="0">
                  <a:pos x="connsiteX9085" y="connsiteY9085"/>
                </a:cxn>
                <a:cxn ang="0">
                  <a:pos x="connsiteX9086" y="connsiteY9086"/>
                </a:cxn>
                <a:cxn ang="0">
                  <a:pos x="connsiteX9087" y="connsiteY9087"/>
                </a:cxn>
                <a:cxn ang="0">
                  <a:pos x="connsiteX9088" y="connsiteY9088"/>
                </a:cxn>
                <a:cxn ang="0">
                  <a:pos x="connsiteX9089" y="connsiteY9089"/>
                </a:cxn>
                <a:cxn ang="0">
                  <a:pos x="connsiteX9090" y="connsiteY9090"/>
                </a:cxn>
                <a:cxn ang="0">
                  <a:pos x="connsiteX9091" y="connsiteY9091"/>
                </a:cxn>
                <a:cxn ang="0">
                  <a:pos x="connsiteX9092" y="connsiteY9092"/>
                </a:cxn>
                <a:cxn ang="0">
                  <a:pos x="connsiteX9093" y="connsiteY9093"/>
                </a:cxn>
                <a:cxn ang="0">
                  <a:pos x="connsiteX9094" y="connsiteY9094"/>
                </a:cxn>
                <a:cxn ang="0">
                  <a:pos x="connsiteX9095" y="connsiteY9095"/>
                </a:cxn>
                <a:cxn ang="0">
                  <a:pos x="connsiteX9096" y="connsiteY9096"/>
                </a:cxn>
                <a:cxn ang="0">
                  <a:pos x="connsiteX9097" y="connsiteY9097"/>
                </a:cxn>
                <a:cxn ang="0">
                  <a:pos x="connsiteX9098" y="connsiteY9098"/>
                </a:cxn>
                <a:cxn ang="0">
                  <a:pos x="connsiteX9099" y="connsiteY9099"/>
                </a:cxn>
                <a:cxn ang="0">
                  <a:pos x="connsiteX9100" y="connsiteY9100"/>
                </a:cxn>
                <a:cxn ang="0">
                  <a:pos x="connsiteX9101" y="connsiteY9101"/>
                </a:cxn>
                <a:cxn ang="0">
                  <a:pos x="connsiteX9102" y="connsiteY9102"/>
                </a:cxn>
                <a:cxn ang="0">
                  <a:pos x="connsiteX9103" y="connsiteY9103"/>
                </a:cxn>
                <a:cxn ang="0">
                  <a:pos x="connsiteX9104" y="connsiteY9104"/>
                </a:cxn>
                <a:cxn ang="0">
                  <a:pos x="connsiteX9105" y="connsiteY9105"/>
                </a:cxn>
                <a:cxn ang="0">
                  <a:pos x="connsiteX9106" y="connsiteY9106"/>
                </a:cxn>
                <a:cxn ang="0">
                  <a:pos x="connsiteX9107" y="connsiteY9107"/>
                </a:cxn>
                <a:cxn ang="0">
                  <a:pos x="connsiteX9108" y="connsiteY9108"/>
                </a:cxn>
                <a:cxn ang="0">
                  <a:pos x="connsiteX9109" y="connsiteY9109"/>
                </a:cxn>
                <a:cxn ang="0">
                  <a:pos x="connsiteX9110" y="connsiteY9110"/>
                </a:cxn>
                <a:cxn ang="0">
                  <a:pos x="connsiteX9111" y="connsiteY9111"/>
                </a:cxn>
                <a:cxn ang="0">
                  <a:pos x="connsiteX9112" y="connsiteY9112"/>
                </a:cxn>
                <a:cxn ang="0">
                  <a:pos x="connsiteX9113" y="connsiteY9113"/>
                </a:cxn>
                <a:cxn ang="0">
                  <a:pos x="connsiteX9114" y="connsiteY9114"/>
                </a:cxn>
                <a:cxn ang="0">
                  <a:pos x="connsiteX9115" y="connsiteY9115"/>
                </a:cxn>
                <a:cxn ang="0">
                  <a:pos x="connsiteX9116" y="connsiteY9116"/>
                </a:cxn>
                <a:cxn ang="0">
                  <a:pos x="connsiteX9117" y="connsiteY9117"/>
                </a:cxn>
                <a:cxn ang="0">
                  <a:pos x="connsiteX9118" y="connsiteY9118"/>
                </a:cxn>
                <a:cxn ang="0">
                  <a:pos x="connsiteX9119" y="connsiteY9119"/>
                </a:cxn>
                <a:cxn ang="0">
                  <a:pos x="connsiteX9120" y="connsiteY9120"/>
                </a:cxn>
                <a:cxn ang="0">
                  <a:pos x="connsiteX9121" y="connsiteY9121"/>
                </a:cxn>
                <a:cxn ang="0">
                  <a:pos x="connsiteX9122" y="connsiteY9122"/>
                </a:cxn>
                <a:cxn ang="0">
                  <a:pos x="connsiteX9123" y="connsiteY9123"/>
                </a:cxn>
                <a:cxn ang="0">
                  <a:pos x="connsiteX9124" y="connsiteY9124"/>
                </a:cxn>
                <a:cxn ang="0">
                  <a:pos x="connsiteX9125" y="connsiteY9125"/>
                </a:cxn>
                <a:cxn ang="0">
                  <a:pos x="connsiteX9126" y="connsiteY9126"/>
                </a:cxn>
                <a:cxn ang="0">
                  <a:pos x="connsiteX9127" y="connsiteY9127"/>
                </a:cxn>
                <a:cxn ang="0">
                  <a:pos x="connsiteX9128" y="connsiteY9128"/>
                </a:cxn>
                <a:cxn ang="0">
                  <a:pos x="connsiteX9129" y="connsiteY9129"/>
                </a:cxn>
                <a:cxn ang="0">
                  <a:pos x="connsiteX9130" y="connsiteY9130"/>
                </a:cxn>
                <a:cxn ang="0">
                  <a:pos x="connsiteX9131" y="connsiteY9131"/>
                </a:cxn>
                <a:cxn ang="0">
                  <a:pos x="connsiteX9132" y="connsiteY9132"/>
                </a:cxn>
                <a:cxn ang="0">
                  <a:pos x="connsiteX9133" y="connsiteY9133"/>
                </a:cxn>
                <a:cxn ang="0">
                  <a:pos x="connsiteX9134" y="connsiteY9134"/>
                </a:cxn>
                <a:cxn ang="0">
                  <a:pos x="connsiteX9135" y="connsiteY9135"/>
                </a:cxn>
                <a:cxn ang="0">
                  <a:pos x="connsiteX9136" y="connsiteY9136"/>
                </a:cxn>
                <a:cxn ang="0">
                  <a:pos x="connsiteX9137" y="connsiteY9137"/>
                </a:cxn>
                <a:cxn ang="0">
                  <a:pos x="connsiteX9138" y="connsiteY9138"/>
                </a:cxn>
                <a:cxn ang="0">
                  <a:pos x="connsiteX9139" y="connsiteY9139"/>
                </a:cxn>
                <a:cxn ang="0">
                  <a:pos x="connsiteX9140" y="connsiteY9140"/>
                </a:cxn>
                <a:cxn ang="0">
                  <a:pos x="connsiteX9141" y="connsiteY9141"/>
                </a:cxn>
                <a:cxn ang="0">
                  <a:pos x="connsiteX9142" y="connsiteY9142"/>
                </a:cxn>
                <a:cxn ang="0">
                  <a:pos x="connsiteX9143" y="connsiteY9143"/>
                </a:cxn>
                <a:cxn ang="0">
                  <a:pos x="connsiteX9144" y="connsiteY9144"/>
                </a:cxn>
                <a:cxn ang="0">
                  <a:pos x="connsiteX9145" y="connsiteY9145"/>
                </a:cxn>
                <a:cxn ang="0">
                  <a:pos x="connsiteX9146" y="connsiteY9146"/>
                </a:cxn>
                <a:cxn ang="0">
                  <a:pos x="connsiteX9147" y="connsiteY9147"/>
                </a:cxn>
                <a:cxn ang="0">
                  <a:pos x="connsiteX9148" y="connsiteY9148"/>
                </a:cxn>
                <a:cxn ang="0">
                  <a:pos x="connsiteX9149" y="connsiteY9149"/>
                </a:cxn>
                <a:cxn ang="0">
                  <a:pos x="connsiteX9150" y="connsiteY9150"/>
                </a:cxn>
                <a:cxn ang="0">
                  <a:pos x="connsiteX9151" y="connsiteY9151"/>
                </a:cxn>
                <a:cxn ang="0">
                  <a:pos x="connsiteX9152" y="connsiteY9152"/>
                </a:cxn>
                <a:cxn ang="0">
                  <a:pos x="connsiteX9153" y="connsiteY9153"/>
                </a:cxn>
                <a:cxn ang="0">
                  <a:pos x="connsiteX9154" y="connsiteY9154"/>
                </a:cxn>
                <a:cxn ang="0">
                  <a:pos x="connsiteX9155" y="connsiteY9155"/>
                </a:cxn>
                <a:cxn ang="0">
                  <a:pos x="connsiteX9156" y="connsiteY9156"/>
                </a:cxn>
                <a:cxn ang="0">
                  <a:pos x="connsiteX9157" y="connsiteY9157"/>
                </a:cxn>
                <a:cxn ang="0">
                  <a:pos x="connsiteX9158" y="connsiteY9158"/>
                </a:cxn>
                <a:cxn ang="0">
                  <a:pos x="connsiteX9159" y="connsiteY9159"/>
                </a:cxn>
                <a:cxn ang="0">
                  <a:pos x="connsiteX9160" y="connsiteY9160"/>
                </a:cxn>
                <a:cxn ang="0">
                  <a:pos x="connsiteX9161" y="connsiteY9161"/>
                </a:cxn>
                <a:cxn ang="0">
                  <a:pos x="connsiteX9162" y="connsiteY9162"/>
                </a:cxn>
                <a:cxn ang="0">
                  <a:pos x="connsiteX9163" y="connsiteY9163"/>
                </a:cxn>
                <a:cxn ang="0">
                  <a:pos x="connsiteX9164" y="connsiteY9164"/>
                </a:cxn>
                <a:cxn ang="0">
                  <a:pos x="connsiteX9165" y="connsiteY9165"/>
                </a:cxn>
                <a:cxn ang="0">
                  <a:pos x="connsiteX9166" y="connsiteY9166"/>
                </a:cxn>
                <a:cxn ang="0">
                  <a:pos x="connsiteX9167" y="connsiteY9167"/>
                </a:cxn>
                <a:cxn ang="0">
                  <a:pos x="connsiteX9168" y="connsiteY9168"/>
                </a:cxn>
                <a:cxn ang="0">
                  <a:pos x="connsiteX9169" y="connsiteY9169"/>
                </a:cxn>
                <a:cxn ang="0">
                  <a:pos x="connsiteX9170" y="connsiteY9170"/>
                </a:cxn>
                <a:cxn ang="0">
                  <a:pos x="connsiteX9171" y="connsiteY9171"/>
                </a:cxn>
                <a:cxn ang="0">
                  <a:pos x="connsiteX9172" y="connsiteY9172"/>
                </a:cxn>
                <a:cxn ang="0">
                  <a:pos x="connsiteX9173" y="connsiteY9173"/>
                </a:cxn>
                <a:cxn ang="0">
                  <a:pos x="connsiteX9174" y="connsiteY9174"/>
                </a:cxn>
                <a:cxn ang="0">
                  <a:pos x="connsiteX9175" y="connsiteY9175"/>
                </a:cxn>
                <a:cxn ang="0">
                  <a:pos x="connsiteX9176" y="connsiteY9176"/>
                </a:cxn>
                <a:cxn ang="0">
                  <a:pos x="connsiteX9177" y="connsiteY9177"/>
                </a:cxn>
                <a:cxn ang="0">
                  <a:pos x="connsiteX9178" y="connsiteY9178"/>
                </a:cxn>
                <a:cxn ang="0">
                  <a:pos x="connsiteX9179" y="connsiteY9179"/>
                </a:cxn>
                <a:cxn ang="0">
                  <a:pos x="connsiteX9180" y="connsiteY9180"/>
                </a:cxn>
                <a:cxn ang="0">
                  <a:pos x="connsiteX9181" y="connsiteY9181"/>
                </a:cxn>
                <a:cxn ang="0">
                  <a:pos x="connsiteX9182" y="connsiteY9182"/>
                </a:cxn>
                <a:cxn ang="0">
                  <a:pos x="connsiteX9183" y="connsiteY9183"/>
                </a:cxn>
                <a:cxn ang="0">
                  <a:pos x="connsiteX9184" y="connsiteY9184"/>
                </a:cxn>
                <a:cxn ang="0">
                  <a:pos x="connsiteX9185" y="connsiteY9185"/>
                </a:cxn>
                <a:cxn ang="0">
                  <a:pos x="connsiteX9186" y="connsiteY9186"/>
                </a:cxn>
                <a:cxn ang="0">
                  <a:pos x="connsiteX9187" y="connsiteY9187"/>
                </a:cxn>
                <a:cxn ang="0">
                  <a:pos x="connsiteX9188" y="connsiteY9188"/>
                </a:cxn>
                <a:cxn ang="0">
                  <a:pos x="connsiteX9189" y="connsiteY9189"/>
                </a:cxn>
                <a:cxn ang="0">
                  <a:pos x="connsiteX9190" y="connsiteY9190"/>
                </a:cxn>
                <a:cxn ang="0">
                  <a:pos x="connsiteX9191" y="connsiteY9191"/>
                </a:cxn>
                <a:cxn ang="0">
                  <a:pos x="connsiteX9192" y="connsiteY9192"/>
                </a:cxn>
                <a:cxn ang="0">
                  <a:pos x="connsiteX9193" y="connsiteY9193"/>
                </a:cxn>
                <a:cxn ang="0">
                  <a:pos x="connsiteX9194" y="connsiteY9194"/>
                </a:cxn>
                <a:cxn ang="0">
                  <a:pos x="connsiteX9195" y="connsiteY9195"/>
                </a:cxn>
                <a:cxn ang="0">
                  <a:pos x="connsiteX9196" y="connsiteY9196"/>
                </a:cxn>
                <a:cxn ang="0">
                  <a:pos x="connsiteX9197" y="connsiteY9197"/>
                </a:cxn>
                <a:cxn ang="0">
                  <a:pos x="connsiteX9198" y="connsiteY9198"/>
                </a:cxn>
                <a:cxn ang="0">
                  <a:pos x="connsiteX9199" y="connsiteY9199"/>
                </a:cxn>
                <a:cxn ang="0">
                  <a:pos x="connsiteX9200" y="connsiteY9200"/>
                </a:cxn>
                <a:cxn ang="0">
                  <a:pos x="connsiteX9201" y="connsiteY9201"/>
                </a:cxn>
                <a:cxn ang="0">
                  <a:pos x="connsiteX9202" y="connsiteY9202"/>
                </a:cxn>
                <a:cxn ang="0">
                  <a:pos x="connsiteX9203" y="connsiteY9203"/>
                </a:cxn>
                <a:cxn ang="0">
                  <a:pos x="connsiteX9204" y="connsiteY9204"/>
                </a:cxn>
                <a:cxn ang="0">
                  <a:pos x="connsiteX9205" y="connsiteY9205"/>
                </a:cxn>
                <a:cxn ang="0">
                  <a:pos x="connsiteX9206" y="connsiteY9206"/>
                </a:cxn>
                <a:cxn ang="0">
                  <a:pos x="connsiteX9207" y="connsiteY9207"/>
                </a:cxn>
                <a:cxn ang="0">
                  <a:pos x="connsiteX9208" y="connsiteY9208"/>
                </a:cxn>
                <a:cxn ang="0">
                  <a:pos x="connsiteX9209" y="connsiteY9209"/>
                </a:cxn>
                <a:cxn ang="0">
                  <a:pos x="connsiteX9210" y="connsiteY9210"/>
                </a:cxn>
                <a:cxn ang="0">
                  <a:pos x="connsiteX9211" y="connsiteY9211"/>
                </a:cxn>
                <a:cxn ang="0">
                  <a:pos x="connsiteX9212" y="connsiteY9212"/>
                </a:cxn>
                <a:cxn ang="0">
                  <a:pos x="connsiteX9213" y="connsiteY9213"/>
                </a:cxn>
                <a:cxn ang="0">
                  <a:pos x="connsiteX9214" y="connsiteY9214"/>
                </a:cxn>
                <a:cxn ang="0">
                  <a:pos x="connsiteX9215" y="connsiteY9215"/>
                </a:cxn>
                <a:cxn ang="0">
                  <a:pos x="connsiteX9216" y="connsiteY9216"/>
                </a:cxn>
                <a:cxn ang="0">
                  <a:pos x="connsiteX9217" y="connsiteY9217"/>
                </a:cxn>
                <a:cxn ang="0">
                  <a:pos x="connsiteX9218" y="connsiteY9218"/>
                </a:cxn>
                <a:cxn ang="0">
                  <a:pos x="connsiteX9219" y="connsiteY9219"/>
                </a:cxn>
                <a:cxn ang="0">
                  <a:pos x="connsiteX9220" y="connsiteY9220"/>
                </a:cxn>
                <a:cxn ang="0">
                  <a:pos x="connsiteX9221" y="connsiteY9221"/>
                </a:cxn>
                <a:cxn ang="0">
                  <a:pos x="connsiteX9222" y="connsiteY9222"/>
                </a:cxn>
                <a:cxn ang="0">
                  <a:pos x="connsiteX9223" y="connsiteY9223"/>
                </a:cxn>
                <a:cxn ang="0">
                  <a:pos x="connsiteX9224" y="connsiteY9224"/>
                </a:cxn>
                <a:cxn ang="0">
                  <a:pos x="connsiteX9225" y="connsiteY9225"/>
                </a:cxn>
                <a:cxn ang="0">
                  <a:pos x="connsiteX9226" y="connsiteY9226"/>
                </a:cxn>
                <a:cxn ang="0">
                  <a:pos x="connsiteX9227" y="connsiteY9227"/>
                </a:cxn>
                <a:cxn ang="0">
                  <a:pos x="connsiteX9228" y="connsiteY9228"/>
                </a:cxn>
                <a:cxn ang="0">
                  <a:pos x="connsiteX9229" y="connsiteY9229"/>
                </a:cxn>
                <a:cxn ang="0">
                  <a:pos x="connsiteX9230" y="connsiteY9230"/>
                </a:cxn>
                <a:cxn ang="0">
                  <a:pos x="connsiteX9231" y="connsiteY9231"/>
                </a:cxn>
                <a:cxn ang="0">
                  <a:pos x="connsiteX9232" y="connsiteY9232"/>
                </a:cxn>
                <a:cxn ang="0">
                  <a:pos x="connsiteX9233" y="connsiteY9233"/>
                </a:cxn>
                <a:cxn ang="0">
                  <a:pos x="connsiteX9234" y="connsiteY9234"/>
                </a:cxn>
                <a:cxn ang="0">
                  <a:pos x="connsiteX9235" y="connsiteY9235"/>
                </a:cxn>
                <a:cxn ang="0">
                  <a:pos x="connsiteX9236" y="connsiteY9236"/>
                </a:cxn>
                <a:cxn ang="0">
                  <a:pos x="connsiteX9237" y="connsiteY9237"/>
                </a:cxn>
                <a:cxn ang="0">
                  <a:pos x="connsiteX9238" y="connsiteY9238"/>
                </a:cxn>
                <a:cxn ang="0">
                  <a:pos x="connsiteX9239" y="connsiteY9239"/>
                </a:cxn>
                <a:cxn ang="0">
                  <a:pos x="connsiteX9240" y="connsiteY9240"/>
                </a:cxn>
                <a:cxn ang="0">
                  <a:pos x="connsiteX9241" y="connsiteY9241"/>
                </a:cxn>
                <a:cxn ang="0">
                  <a:pos x="connsiteX9242" y="connsiteY9242"/>
                </a:cxn>
                <a:cxn ang="0">
                  <a:pos x="connsiteX9243" y="connsiteY9243"/>
                </a:cxn>
                <a:cxn ang="0">
                  <a:pos x="connsiteX9244" y="connsiteY9244"/>
                </a:cxn>
                <a:cxn ang="0">
                  <a:pos x="connsiteX9245" y="connsiteY9245"/>
                </a:cxn>
                <a:cxn ang="0">
                  <a:pos x="connsiteX9246" y="connsiteY9246"/>
                </a:cxn>
                <a:cxn ang="0">
                  <a:pos x="connsiteX9247" y="connsiteY9247"/>
                </a:cxn>
                <a:cxn ang="0">
                  <a:pos x="connsiteX9248" y="connsiteY9248"/>
                </a:cxn>
                <a:cxn ang="0">
                  <a:pos x="connsiteX9249" y="connsiteY9249"/>
                </a:cxn>
                <a:cxn ang="0">
                  <a:pos x="connsiteX9250" y="connsiteY9250"/>
                </a:cxn>
                <a:cxn ang="0">
                  <a:pos x="connsiteX9251" y="connsiteY9251"/>
                </a:cxn>
                <a:cxn ang="0">
                  <a:pos x="connsiteX9252" y="connsiteY9252"/>
                </a:cxn>
                <a:cxn ang="0">
                  <a:pos x="connsiteX9253" y="connsiteY9253"/>
                </a:cxn>
                <a:cxn ang="0">
                  <a:pos x="connsiteX9254" y="connsiteY9254"/>
                </a:cxn>
                <a:cxn ang="0">
                  <a:pos x="connsiteX9255" y="connsiteY9255"/>
                </a:cxn>
                <a:cxn ang="0">
                  <a:pos x="connsiteX9256" y="connsiteY9256"/>
                </a:cxn>
                <a:cxn ang="0">
                  <a:pos x="connsiteX9257" y="connsiteY9257"/>
                </a:cxn>
                <a:cxn ang="0">
                  <a:pos x="connsiteX9258" y="connsiteY9258"/>
                </a:cxn>
                <a:cxn ang="0">
                  <a:pos x="connsiteX9259" y="connsiteY9259"/>
                </a:cxn>
                <a:cxn ang="0">
                  <a:pos x="connsiteX9260" y="connsiteY9260"/>
                </a:cxn>
                <a:cxn ang="0">
                  <a:pos x="connsiteX9261" y="connsiteY9261"/>
                </a:cxn>
                <a:cxn ang="0">
                  <a:pos x="connsiteX9262" y="connsiteY9262"/>
                </a:cxn>
                <a:cxn ang="0">
                  <a:pos x="connsiteX9263" y="connsiteY9263"/>
                </a:cxn>
                <a:cxn ang="0">
                  <a:pos x="connsiteX9264" y="connsiteY9264"/>
                </a:cxn>
                <a:cxn ang="0">
                  <a:pos x="connsiteX9265" y="connsiteY9265"/>
                </a:cxn>
                <a:cxn ang="0">
                  <a:pos x="connsiteX9266" y="connsiteY9266"/>
                </a:cxn>
                <a:cxn ang="0">
                  <a:pos x="connsiteX9267" y="connsiteY9267"/>
                </a:cxn>
                <a:cxn ang="0">
                  <a:pos x="connsiteX9268" y="connsiteY9268"/>
                </a:cxn>
                <a:cxn ang="0">
                  <a:pos x="connsiteX9269" y="connsiteY9269"/>
                </a:cxn>
                <a:cxn ang="0">
                  <a:pos x="connsiteX9270" y="connsiteY9270"/>
                </a:cxn>
                <a:cxn ang="0">
                  <a:pos x="connsiteX9271" y="connsiteY9271"/>
                </a:cxn>
                <a:cxn ang="0">
                  <a:pos x="connsiteX9272" y="connsiteY9272"/>
                </a:cxn>
                <a:cxn ang="0">
                  <a:pos x="connsiteX9273" y="connsiteY9273"/>
                </a:cxn>
                <a:cxn ang="0">
                  <a:pos x="connsiteX9274" y="connsiteY9274"/>
                </a:cxn>
                <a:cxn ang="0">
                  <a:pos x="connsiteX9275" y="connsiteY9275"/>
                </a:cxn>
                <a:cxn ang="0">
                  <a:pos x="connsiteX9276" y="connsiteY9276"/>
                </a:cxn>
                <a:cxn ang="0">
                  <a:pos x="connsiteX9277" y="connsiteY9277"/>
                </a:cxn>
                <a:cxn ang="0">
                  <a:pos x="connsiteX9278" y="connsiteY9278"/>
                </a:cxn>
                <a:cxn ang="0">
                  <a:pos x="connsiteX9279" y="connsiteY9279"/>
                </a:cxn>
                <a:cxn ang="0">
                  <a:pos x="connsiteX9280" y="connsiteY9280"/>
                </a:cxn>
                <a:cxn ang="0">
                  <a:pos x="connsiteX9281" y="connsiteY9281"/>
                </a:cxn>
                <a:cxn ang="0">
                  <a:pos x="connsiteX9282" y="connsiteY9282"/>
                </a:cxn>
                <a:cxn ang="0">
                  <a:pos x="connsiteX9283" y="connsiteY9283"/>
                </a:cxn>
                <a:cxn ang="0">
                  <a:pos x="connsiteX9284" y="connsiteY9284"/>
                </a:cxn>
                <a:cxn ang="0">
                  <a:pos x="connsiteX9285" y="connsiteY9285"/>
                </a:cxn>
                <a:cxn ang="0">
                  <a:pos x="connsiteX9286" y="connsiteY9286"/>
                </a:cxn>
                <a:cxn ang="0">
                  <a:pos x="connsiteX9287" y="connsiteY9287"/>
                </a:cxn>
                <a:cxn ang="0">
                  <a:pos x="connsiteX9288" y="connsiteY9288"/>
                </a:cxn>
                <a:cxn ang="0">
                  <a:pos x="connsiteX9289" y="connsiteY9289"/>
                </a:cxn>
                <a:cxn ang="0">
                  <a:pos x="connsiteX9290" y="connsiteY9290"/>
                </a:cxn>
                <a:cxn ang="0">
                  <a:pos x="connsiteX9291" y="connsiteY9291"/>
                </a:cxn>
                <a:cxn ang="0">
                  <a:pos x="connsiteX9292" y="connsiteY9292"/>
                </a:cxn>
                <a:cxn ang="0">
                  <a:pos x="connsiteX9293" y="connsiteY9293"/>
                </a:cxn>
                <a:cxn ang="0">
                  <a:pos x="connsiteX9294" y="connsiteY9294"/>
                </a:cxn>
                <a:cxn ang="0">
                  <a:pos x="connsiteX9295" y="connsiteY9295"/>
                </a:cxn>
                <a:cxn ang="0">
                  <a:pos x="connsiteX9296" y="connsiteY9296"/>
                </a:cxn>
                <a:cxn ang="0">
                  <a:pos x="connsiteX9297" y="connsiteY9297"/>
                </a:cxn>
                <a:cxn ang="0">
                  <a:pos x="connsiteX9298" y="connsiteY9298"/>
                </a:cxn>
                <a:cxn ang="0">
                  <a:pos x="connsiteX9299" y="connsiteY9299"/>
                </a:cxn>
                <a:cxn ang="0">
                  <a:pos x="connsiteX9300" y="connsiteY9300"/>
                </a:cxn>
                <a:cxn ang="0">
                  <a:pos x="connsiteX9301" y="connsiteY9301"/>
                </a:cxn>
                <a:cxn ang="0">
                  <a:pos x="connsiteX9302" y="connsiteY9302"/>
                </a:cxn>
                <a:cxn ang="0">
                  <a:pos x="connsiteX9303" y="connsiteY9303"/>
                </a:cxn>
                <a:cxn ang="0">
                  <a:pos x="connsiteX9304" y="connsiteY9304"/>
                </a:cxn>
                <a:cxn ang="0">
                  <a:pos x="connsiteX9305" y="connsiteY9305"/>
                </a:cxn>
                <a:cxn ang="0">
                  <a:pos x="connsiteX9306" y="connsiteY9306"/>
                </a:cxn>
                <a:cxn ang="0">
                  <a:pos x="connsiteX9307" y="connsiteY9307"/>
                </a:cxn>
                <a:cxn ang="0">
                  <a:pos x="connsiteX9308" y="connsiteY9308"/>
                </a:cxn>
                <a:cxn ang="0">
                  <a:pos x="connsiteX9309" y="connsiteY9309"/>
                </a:cxn>
                <a:cxn ang="0">
                  <a:pos x="connsiteX9310" y="connsiteY9310"/>
                </a:cxn>
                <a:cxn ang="0">
                  <a:pos x="connsiteX9311" y="connsiteY9311"/>
                </a:cxn>
                <a:cxn ang="0">
                  <a:pos x="connsiteX9312" y="connsiteY9312"/>
                </a:cxn>
                <a:cxn ang="0">
                  <a:pos x="connsiteX9313" y="connsiteY9313"/>
                </a:cxn>
                <a:cxn ang="0">
                  <a:pos x="connsiteX9314" y="connsiteY9314"/>
                </a:cxn>
                <a:cxn ang="0">
                  <a:pos x="connsiteX9315" y="connsiteY9315"/>
                </a:cxn>
                <a:cxn ang="0">
                  <a:pos x="connsiteX9316" y="connsiteY9316"/>
                </a:cxn>
                <a:cxn ang="0">
                  <a:pos x="connsiteX9317" y="connsiteY9317"/>
                </a:cxn>
                <a:cxn ang="0">
                  <a:pos x="connsiteX9318" y="connsiteY9318"/>
                </a:cxn>
                <a:cxn ang="0">
                  <a:pos x="connsiteX9319" y="connsiteY9319"/>
                </a:cxn>
                <a:cxn ang="0">
                  <a:pos x="connsiteX9320" y="connsiteY9320"/>
                </a:cxn>
                <a:cxn ang="0">
                  <a:pos x="connsiteX9321" y="connsiteY9321"/>
                </a:cxn>
                <a:cxn ang="0">
                  <a:pos x="connsiteX9322" y="connsiteY9322"/>
                </a:cxn>
                <a:cxn ang="0">
                  <a:pos x="connsiteX9323" y="connsiteY9323"/>
                </a:cxn>
                <a:cxn ang="0">
                  <a:pos x="connsiteX9324" y="connsiteY9324"/>
                </a:cxn>
                <a:cxn ang="0">
                  <a:pos x="connsiteX9325" y="connsiteY9325"/>
                </a:cxn>
                <a:cxn ang="0">
                  <a:pos x="connsiteX9326" y="connsiteY9326"/>
                </a:cxn>
                <a:cxn ang="0">
                  <a:pos x="connsiteX9327" y="connsiteY9327"/>
                </a:cxn>
                <a:cxn ang="0">
                  <a:pos x="connsiteX9328" y="connsiteY9328"/>
                </a:cxn>
                <a:cxn ang="0">
                  <a:pos x="connsiteX9329" y="connsiteY9329"/>
                </a:cxn>
                <a:cxn ang="0">
                  <a:pos x="connsiteX9330" y="connsiteY9330"/>
                </a:cxn>
                <a:cxn ang="0">
                  <a:pos x="connsiteX9331" y="connsiteY9331"/>
                </a:cxn>
                <a:cxn ang="0">
                  <a:pos x="connsiteX9332" y="connsiteY9332"/>
                </a:cxn>
                <a:cxn ang="0">
                  <a:pos x="connsiteX9333" y="connsiteY9333"/>
                </a:cxn>
                <a:cxn ang="0">
                  <a:pos x="connsiteX9334" y="connsiteY9334"/>
                </a:cxn>
                <a:cxn ang="0">
                  <a:pos x="connsiteX9335" y="connsiteY9335"/>
                </a:cxn>
                <a:cxn ang="0">
                  <a:pos x="connsiteX9336" y="connsiteY9336"/>
                </a:cxn>
                <a:cxn ang="0">
                  <a:pos x="connsiteX9337" y="connsiteY9337"/>
                </a:cxn>
                <a:cxn ang="0">
                  <a:pos x="connsiteX9338" y="connsiteY9338"/>
                </a:cxn>
                <a:cxn ang="0">
                  <a:pos x="connsiteX9339" y="connsiteY9339"/>
                </a:cxn>
                <a:cxn ang="0">
                  <a:pos x="connsiteX9340" y="connsiteY9340"/>
                </a:cxn>
                <a:cxn ang="0">
                  <a:pos x="connsiteX9341" y="connsiteY9341"/>
                </a:cxn>
                <a:cxn ang="0">
                  <a:pos x="connsiteX9342" y="connsiteY9342"/>
                </a:cxn>
                <a:cxn ang="0">
                  <a:pos x="connsiteX9343" y="connsiteY9343"/>
                </a:cxn>
                <a:cxn ang="0">
                  <a:pos x="connsiteX9344" y="connsiteY9344"/>
                </a:cxn>
                <a:cxn ang="0">
                  <a:pos x="connsiteX9345" y="connsiteY9345"/>
                </a:cxn>
                <a:cxn ang="0">
                  <a:pos x="connsiteX9346" y="connsiteY9346"/>
                </a:cxn>
                <a:cxn ang="0">
                  <a:pos x="connsiteX9347" y="connsiteY9347"/>
                </a:cxn>
                <a:cxn ang="0">
                  <a:pos x="connsiteX9348" y="connsiteY9348"/>
                </a:cxn>
                <a:cxn ang="0">
                  <a:pos x="connsiteX9349" y="connsiteY9349"/>
                </a:cxn>
                <a:cxn ang="0">
                  <a:pos x="connsiteX9350" y="connsiteY9350"/>
                </a:cxn>
                <a:cxn ang="0">
                  <a:pos x="connsiteX9351" y="connsiteY9351"/>
                </a:cxn>
                <a:cxn ang="0">
                  <a:pos x="connsiteX9352" y="connsiteY9352"/>
                </a:cxn>
                <a:cxn ang="0">
                  <a:pos x="connsiteX9353" y="connsiteY9353"/>
                </a:cxn>
                <a:cxn ang="0">
                  <a:pos x="connsiteX9354" y="connsiteY9354"/>
                </a:cxn>
                <a:cxn ang="0">
                  <a:pos x="connsiteX9355" y="connsiteY9355"/>
                </a:cxn>
                <a:cxn ang="0">
                  <a:pos x="connsiteX9356" y="connsiteY9356"/>
                </a:cxn>
                <a:cxn ang="0">
                  <a:pos x="connsiteX9357" y="connsiteY9357"/>
                </a:cxn>
                <a:cxn ang="0">
                  <a:pos x="connsiteX9358" y="connsiteY9358"/>
                </a:cxn>
                <a:cxn ang="0">
                  <a:pos x="connsiteX9359" y="connsiteY9359"/>
                </a:cxn>
                <a:cxn ang="0">
                  <a:pos x="connsiteX9360" y="connsiteY9360"/>
                </a:cxn>
                <a:cxn ang="0">
                  <a:pos x="connsiteX9361" y="connsiteY9361"/>
                </a:cxn>
                <a:cxn ang="0">
                  <a:pos x="connsiteX9362" y="connsiteY9362"/>
                </a:cxn>
                <a:cxn ang="0">
                  <a:pos x="connsiteX9363" y="connsiteY9363"/>
                </a:cxn>
                <a:cxn ang="0">
                  <a:pos x="connsiteX9364" y="connsiteY9364"/>
                </a:cxn>
                <a:cxn ang="0">
                  <a:pos x="connsiteX9365" y="connsiteY9365"/>
                </a:cxn>
                <a:cxn ang="0">
                  <a:pos x="connsiteX9366" y="connsiteY9366"/>
                </a:cxn>
                <a:cxn ang="0">
                  <a:pos x="connsiteX9367" y="connsiteY9367"/>
                </a:cxn>
                <a:cxn ang="0">
                  <a:pos x="connsiteX9368" y="connsiteY9368"/>
                </a:cxn>
                <a:cxn ang="0">
                  <a:pos x="connsiteX9369" y="connsiteY9369"/>
                </a:cxn>
                <a:cxn ang="0">
                  <a:pos x="connsiteX9370" y="connsiteY9370"/>
                </a:cxn>
                <a:cxn ang="0">
                  <a:pos x="connsiteX9371" y="connsiteY9371"/>
                </a:cxn>
                <a:cxn ang="0">
                  <a:pos x="connsiteX9372" y="connsiteY9372"/>
                </a:cxn>
                <a:cxn ang="0">
                  <a:pos x="connsiteX9373" y="connsiteY9373"/>
                </a:cxn>
                <a:cxn ang="0">
                  <a:pos x="connsiteX9374" y="connsiteY9374"/>
                </a:cxn>
                <a:cxn ang="0">
                  <a:pos x="connsiteX9375" y="connsiteY9375"/>
                </a:cxn>
                <a:cxn ang="0">
                  <a:pos x="connsiteX9376" y="connsiteY9376"/>
                </a:cxn>
                <a:cxn ang="0">
                  <a:pos x="connsiteX9377" y="connsiteY9377"/>
                </a:cxn>
                <a:cxn ang="0">
                  <a:pos x="connsiteX9378" y="connsiteY9378"/>
                </a:cxn>
                <a:cxn ang="0">
                  <a:pos x="connsiteX9379" y="connsiteY9379"/>
                </a:cxn>
                <a:cxn ang="0">
                  <a:pos x="connsiteX9380" y="connsiteY9380"/>
                </a:cxn>
                <a:cxn ang="0">
                  <a:pos x="connsiteX9381" y="connsiteY9381"/>
                </a:cxn>
                <a:cxn ang="0">
                  <a:pos x="connsiteX9382" y="connsiteY9382"/>
                </a:cxn>
                <a:cxn ang="0">
                  <a:pos x="connsiteX9383" y="connsiteY9383"/>
                </a:cxn>
                <a:cxn ang="0">
                  <a:pos x="connsiteX9384" y="connsiteY9384"/>
                </a:cxn>
                <a:cxn ang="0">
                  <a:pos x="connsiteX9385" y="connsiteY9385"/>
                </a:cxn>
                <a:cxn ang="0">
                  <a:pos x="connsiteX9386" y="connsiteY9386"/>
                </a:cxn>
                <a:cxn ang="0">
                  <a:pos x="connsiteX9387" y="connsiteY9387"/>
                </a:cxn>
                <a:cxn ang="0">
                  <a:pos x="connsiteX9388" y="connsiteY9388"/>
                </a:cxn>
                <a:cxn ang="0">
                  <a:pos x="connsiteX9389" y="connsiteY9389"/>
                </a:cxn>
                <a:cxn ang="0">
                  <a:pos x="connsiteX9390" y="connsiteY9390"/>
                </a:cxn>
                <a:cxn ang="0">
                  <a:pos x="connsiteX9391" y="connsiteY9391"/>
                </a:cxn>
                <a:cxn ang="0">
                  <a:pos x="connsiteX9392" y="connsiteY9392"/>
                </a:cxn>
                <a:cxn ang="0">
                  <a:pos x="connsiteX9393" y="connsiteY9393"/>
                </a:cxn>
                <a:cxn ang="0">
                  <a:pos x="connsiteX9394" y="connsiteY9394"/>
                </a:cxn>
                <a:cxn ang="0">
                  <a:pos x="connsiteX9395" y="connsiteY9395"/>
                </a:cxn>
                <a:cxn ang="0">
                  <a:pos x="connsiteX9396" y="connsiteY9396"/>
                </a:cxn>
                <a:cxn ang="0">
                  <a:pos x="connsiteX9397" y="connsiteY9397"/>
                </a:cxn>
                <a:cxn ang="0">
                  <a:pos x="connsiteX9398" y="connsiteY9398"/>
                </a:cxn>
                <a:cxn ang="0">
                  <a:pos x="connsiteX9399" y="connsiteY9399"/>
                </a:cxn>
                <a:cxn ang="0">
                  <a:pos x="connsiteX9400" y="connsiteY9400"/>
                </a:cxn>
                <a:cxn ang="0">
                  <a:pos x="connsiteX9401" y="connsiteY9401"/>
                </a:cxn>
                <a:cxn ang="0">
                  <a:pos x="connsiteX9402" y="connsiteY9402"/>
                </a:cxn>
                <a:cxn ang="0">
                  <a:pos x="connsiteX9403" y="connsiteY9403"/>
                </a:cxn>
                <a:cxn ang="0">
                  <a:pos x="connsiteX9404" y="connsiteY9404"/>
                </a:cxn>
                <a:cxn ang="0">
                  <a:pos x="connsiteX9405" y="connsiteY9405"/>
                </a:cxn>
                <a:cxn ang="0">
                  <a:pos x="connsiteX9406" y="connsiteY9406"/>
                </a:cxn>
                <a:cxn ang="0">
                  <a:pos x="connsiteX9407" y="connsiteY9407"/>
                </a:cxn>
                <a:cxn ang="0">
                  <a:pos x="connsiteX9408" y="connsiteY9408"/>
                </a:cxn>
                <a:cxn ang="0">
                  <a:pos x="connsiteX9409" y="connsiteY9409"/>
                </a:cxn>
                <a:cxn ang="0">
                  <a:pos x="connsiteX9410" y="connsiteY9410"/>
                </a:cxn>
                <a:cxn ang="0">
                  <a:pos x="connsiteX9411" y="connsiteY9411"/>
                </a:cxn>
                <a:cxn ang="0">
                  <a:pos x="connsiteX9412" y="connsiteY9412"/>
                </a:cxn>
                <a:cxn ang="0">
                  <a:pos x="connsiteX9413" y="connsiteY9413"/>
                </a:cxn>
                <a:cxn ang="0">
                  <a:pos x="connsiteX9414" y="connsiteY9414"/>
                </a:cxn>
                <a:cxn ang="0">
                  <a:pos x="connsiteX9415" y="connsiteY9415"/>
                </a:cxn>
                <a:cxn ang="0">
                  <a:pos x="connsiteX9416" y="connsiteY9416"/>
                </a:cxn>
                <a:cxn ang="0">
                  <a:pos x="connsiteX9417" y="connsiteY9417"/>
                </a:cxn>
                <a:cxn ang="0">
                  <a:pos x="connsiteX9418" y="connsiteY9418"/>
                </a:cxn>
                <a:cxn ang="0">
                  <a:pos x="connsiteX9419" y="connsiteY9419"/>
                </a:cxn>
                <a:cxn ang="0">
                  <a:pos x="connsiteX9420" y="connsiteY9420"/>
                </a:cxn>
                <a:cxn ang="0">
                  <a:pos x="connsiteX9421" y="connsiteY9421"/>
                </a:cxn>
                <a:cxn ang="0">
                  <a:pos x="connsiteX9422" y="connsiteY9422"/>
                </a:cxn>
                <a:cxn ang="0">
                  <a:pos x="connsiteX9423" y="connsiteY9423"/>
                </a:cxn>
                <a:cxn ang="0">
                  <a:pos x="connsiteX9424" y="connsiteY9424"/>
                </a:cxn>
                <a:cxn ang="0">
                  <a:pos x="connsiteX9425" y="connsiteY9425"/>
                </a:cxn>
                <a:cxn ang="0">
                  <a:pos x="connsiteX9426" y="connsiteY9426"/>
                </a:cxn>
                <a:cxn ang="0">
                  <a:pos x="connsiteX9427" y="connsiteY9427"/>
                </a:cxn>
                <a:cxn ang="0">
                  <a:pos x="connsiteX9428" y="connsiteY9428"/>
                </a:cxn>
                <a:cxn ang="0">
                  <a:pos x="connsiteX9429" y="connsiteY9429"/>
                </a:cxn>
                <a:cxn ang="0">
                  <a:pos x="connsiteX9430" y="connsiteY9430"/>
                </a:cxn>
                <a:cxn ang="0">
                  <a:pos x="connsiteX9431" y="connsiteY9431"/>
                </a:cxn>
                <a:cxn ang="0">
                  <a:pos x="connsiteX9432" y="connsiteY9432"/>
                </a:cxn>
                <a:cxn ang="0">
                  <a:pos x="connsiteX9433" y="connsiteY9433"/>
                </a:cxn>
                <a:cxn ang="0">
                  <a:pos x="connsiteX9434" y="connsiteY9434"/>
                </a:cxn>
                <a:cxn ang="0">
                  <a:pos x="connsiteX9435" y="connsiteY9435"/>
                </a:cxn>
                <a:cxn ang="0">
                  <a:pos x="connsiteX9436" y="connsiteY9436"/>
                </a:cxn>
                <a:cxn ang="0">
                  <a:pos x="connsiteX9437" y="connsiteY9437"/>
                </a:cxn>
                <a:cxn ang="0">
                  <a:pos x="connsiteX9438" y="connsiteY9438"/>
                </a:cxn>
                <a:cxn ang="0">
                  <a:pos x="connsiteX9439" y="connsiteY9439"/>
                </a:cxn>
                <a:cxn ang="0">
                  <a:pos x="connsiteX9440" y="connsiteY9440"/>
                </a:cxn>
                <a:cxn ang="0">
                  <a:pos x="connsiteX9441" y="connsiteY9441"/>
                </a:cxn>
                <a:cxn ang="0">
                  <a:pos x="connsiteX9442" y="connsiteY9442"/>
                </a:cxn>
                <a:cxn ang="0">
                  <a:pos x="connsiteX9443" y="connsiteY9443"/>
                </a:cxn>
                <a:cxn ang="0">
                  <a:pos x="connsiteX9444" y="connsiteY9444"/>
                </a:cxn>
                <a:cxn ang="0">
                  <a:pos x="connsiteX9445" y="connsiteY9445"/>
                </a:cxn>
                <a:cxn ang="0">
                  <a:pos x="connsiteX9446" y="connsiteY9446"/>
                </a:cxn>
                <a:cxn ang="0">
                  <a:pos x="connsiteX9447" y="connsiteY9447"/>
                </a:cxn>
                <a:cxn ang="0">
                  <a:pos x="connsiteX9448" y="connsiteY9448"/>
                </a:cxn>
                <a:cxn ang="0">
                  <a:pos x="connsiteX9449" y="connsiteY9449"/>
                </a:cxn>
                <a:cxn ang="0">
                  <a:pos x="connsiteX9450" y="connsiteY9450"/>
                </a:cxn>
                <a:cxn ang="0">
                  <a:pos x="connsiteX9451" y="connsiteY9451"/>
                </a:cxn>
                <a:cxn ang="0">
                  <a:pos x="connsiteX9452" y="connsiteY9452"/>
                </a:cxn>
                <a:cxn ang="0">
                  <a:pos x="connsiteX9453" y="connsiteY9453"/>
                </a:cxn>
                <a:cxn ang="0">
                  <a:pos x="connsiteX9454" y="connsiteY9454"/>
                </a:cxn>
                <a:cxn ang="0">
                  <a:pos x="connsiteX9455" y="connsiteY9455"/>
                </a:cxn>
                <a:cxn ang="0">
                  <a:pos x="connsiteX9456" y="connsiteY9456"/>
                </a:cxn>
                <a:cxn ang="0">
                  <a:pos x="connsiteX9457" y="connsiteY9457"/>
                </a:cxn>
                <a:cxn ang="0">
                  <a:pos x="connsiteX9458" y="connsiteY9458"/>
                </a:cxn>
                <a:cxn ang="0">
                  <a:pos x="connsiteX9459" y="connsiteY9459"/>
                </a:cxn>
                <a:cxn ang="0">
                  <a:pos x="connsiteX9460" y="connsiteY9460"/>
                </a:cxn>
                <a:cxn ang="0">
                  <a:pos x="connsiteX9461" y="connsiteY9461"/>
                </a:cxn>
                <a:cxn ang="0">
                  <a:pos x="connsiteX9462" y="connsiteY9462"/>
                </a:cxn>
                <a:cxn ang="0">
                  <a:pos x="connsiteX9463" y="connsiteY9463"/>
                </a:cxn>
                <a:cxn ang="0">
                  <a:pos x="connsiteX9464" y="connsiteY9464"/>
                </a:cxn>
                <a:cxn ang="0">
                  <a:pos x="connsiteX9465" y="connsiteY9465"/>
                </a:cxn>
                <a:cxn ang="0">
                  <a:pos x="connsiteX9466" y="connsiteY9466"/>
                </a:cxn>
                <a:cxn ang="0">
                  <a:pos x="connsiteX9467" y="connsiteY9467"/>
                </a:cxn>
                <a:cxn ang="0">
                  <a:pos x="connsiteX9468" y="connsiteY9468"/>
                </a:cxn>
                <a:cxn ang="0">
                  <a:pos x="connsiteX9469" y="connsiteY9469"/>
                </a:cxn>
                <a:cxn ang="0">
                  <a:pos x="connsiteX9470" y="connsiteY9470"/>
                </a:cxn>
                <a:cxn ang="0">
                  <a:pos x="connsiteX9471" y="connsiteY9471"/>
                </a:cxn>
                <a:cxn ang="0">
                  <a:pos x="connsiteX9472" y="connsiteY9472"/>
                </a:cxn>
                <a:cxn ang="0">
                  <a:pos x="connsiteX9473" y="connsiteY9473"/>
                </a:cxn>
                <a:cxn ang="0">
                  <a:pos x="connsiteX9474" y="connsiteY9474"/>
                </a:cxn>
                <a:cxn ang="0">
                  <a:pos x="connsiteX9475" y="connsiteY9475"/>
                </a:cxn>
                <a:cxn ang="0">
                  <a:pos x="connsiteX9476" y="connsiteY9476"/>
                </a:cxn>
                <a:cxn ang="0">
                  <a:pos x="connsiteX9477" y="connsiteY9477"/>
                </a:cxn>
                <a:cxn ang="0">
                  <a:pos x="connsiteX9478" y="connsiteY9478"/>
                </a:cxn>
                <a:cxn ang="0">
                  <a:pos x="connsiteX9479" y="connsiteY9479"/>
                </a:cxn>
                <a:cxn ang="0">
                  <a:pos x="connsiteX9480" y="connsiteY9480"/>
                </a:cxn>
                <a:cxn ang="0">
                  <a:pos x="connsiteX9481" y="connsiteY9481"/>
                </a:cxn>
                <a:cxn ang="0">
                  <a:pos x="connsiteX9482" y="connsiteY9482"/>
                </a:cxn>
                <a:cxn ang="0">
                  <a:pos x="connsiteX9483" y="connsiteY9483"/>
                </a:cxn>
                <a:cxn ang="0">
                  <a:pos x="connsiteX9484" y="connsiteY9484"/>
                </a:cxn>
                <a:cxn ang="0">
                  <a:pos x="connsiteX9485" y="connsiteY9485"/>
                </a:cxn>
                <a:cxn ang="0">
                  <a:pos x="connsiteX9486" y="connsiteY9486"/>
                </a:cxn>
                <a:cxn ang="0">
                  <a:pos x="connsiteX9487" y="connsiteY9487"/>
                </a:cxn>
                <a:cxn ang="0">
                  <a:pos x="connsiteX9488" y="connsiteY9488"/>
                </a:cxn>
                <a:cxn ang="0">
                  <a:pos x="connsiteX9489" y="connsiteY9489"/>
                </a:cxn>
                <a:cxn ang="0">
                  <a:pos x="connsiteX9490" y="connsiteY9490"/>
                </a:cxn>
                <a:cxn ang="0">
                  <a:pos x="connsiteX9491" y="connsiteY9491"/>
                </a:cxn>
                <a:cxn ang="0">
                  <a:pos x="connsiteX9492" y="connsiteY9492"/>
                </a:cxn>
                <a:cxn ang="0">
                  <a:pos x="connsiteX9493" y="connsiteY9493"/>
                </a:cxn>
                <a:cxn ang="0">
                  <a:pos x="connsiteX9494" y="connsiteY9494"/>
                </a:cxn>
                <a:cxn ang="0">
                  <a:pos x="connsiteX9495" y="connsiteY9495"/>
                </a:cxn>
                <a:cxn ang="0">
                  <a:pos x="connsiteX9496" y="connsiteY9496"/>
                </a:cxn>
                <a:cxn ang="0">
                  <a:pos x="connsiteX9497" y="connsiteY9497"/>
                </a:cxn>
                <a:cxn ang="0">
                  <a:pos x="connsiteX9498" y="connsiteY9498"/>
                </a:cxn>
                <a:cxn ang="0">
                  <a:pos x="connsiteX9499" y="connsiteY9499"/>
                </a:cxn>
                <a:cxn ang="0">
                  <a:pos x="connsiteX9500" y="connsiteY9500"/>
                </a:cxn>
                <a:cxn ang="0">
                  <a:pos x="connsiteX9501" y="connsiteY9501"/>
                </a:cxn>
                <a:cxn ang="0">
                  <a:pos x="connsiteX9502" y="connsiteY9502"/>
                </a:cxn>
                <a:cxn ang="0">
                  <a:pos x="connsiteX9503" y="connsiteY9503"/>
                </a:cxn>
                <a:cxn ang="0">
                  <a:pos x="connsiteX9504" y="connsiteY9504"/>
                </a:cxn>
                <a:cxn ang="0">
                  <a:pos x="connsiteX9505" y="connsiteY9505"/>
                </a:cxn>
                <a:cxn ang="0">
                  <a:pos x="connsiteX9506" y="connsiteY9506"/>
                </a:cxn>
                <a:cxn ang="0">
                  <a:pos x="connsiteX9507" y="connsiteY9507"/>
                </a:cxn>
                <a:cxn ang="0">
                  <a:pos x="connsiteX9508" y="connsiteY9508"/>
                </a:cxn>
                <a:cxn ang="0">
                  <a:pos x="connsiteX9509" y="connsiteY9509"/>
                </a:cxn>
                <a:cxn ang="0">
                  <a:pos x="connsiteX9510" y="connsiteY9510"/>
                </a:cxn>
                <a:cxn ang="0">
                  <a:pos x="connsiteX9511" y="connsiteY9511"/>
                </a:cxn>
                <a:cxn ang="0">
                  <a:pos x="connsiteX9512" y="connsiteY9512"/>
                </a:cxn>
                <a:cxn ang="0">
                  <a:pos x="connsiteX9513" y="connsiteY9513"/>
                </a:cxn>
                <a:cxn ang="0">
                  <a:pos x="connsiteX9514" y="connsiteY9514"/>
                </a:cxn>
                <a:cxn ang="0">
                  <a:pos x="connsiteX9515" y="connsiteY9515"/>
                </a:cxn>
                <a:cxn ang="0">
                  <a:pos x="connsiteX9516" y="connsiteY9516"/>
                </a:cxn>
                <a:cxn ang="0">
                  <a:pos x="connsiteX9517" y="connsiteY9517"/>
                </a:cxn>
                <a:cxn ang="0">
                  <a:pos x="connsiteX9518" y="connsiteY9518"/>
                </a:cxn>
                <a:cxn ang="0">
                  <a:pos x="connsiteX9519" y="connsiteY9519"/>
                </a:cxn>
                <a:cxn ang="0">
                  <a:pos x="connsiteX9520" y="connsiteY9520"/>
                </a:cxn>
                <a:cxn ang="0">
                  <a:pos x="connsiteX9521" y="connsiteY9521"/>
                </a:cxn>
                <a:cxn ang="0">
                  <a:pos x="connsiteX9522" y="connsiteY9522"/>
                </a:cxn>
                <a:cxn ang="0">
                  <a:pos x="connsiteX9523" y="connsiteY9523"/>
                </a:cxn>
                <a:cxn ang="0">
                  <a:pos x="connsiteX9524" y="connsiteY9524"/>
                </a:cxn>
                <a:cxn ang="0">
                  <a:pos x="connsiteX9525" y="connsiteY9525"/>
                </a:cxn>
                <a:cxn ang="0">
                  <a:pos x="connsiteX9526" y="connsiteY9526"/>
                </a:cxn>
                <a:cxn ang="0">
                  <a:pos x="connsiteX9527" y="connsiteY9527"/>
                </a:cxn>
                <a:cxn ang="0">
                  <a:pos x="connsiteX9528" y="connsiteY9528"/>
                </a:cxn>
                <a:cxn ang="0">
                  <a:pos x="connsiteX9529" y="connsiteY9529"/>
                </a:cxn>
                <a:cxn ang="0">
                  <a:pos x="connsiteX9530" y="connsiteY9530"/>
                </a:cxn>
                <a:cxn ang="0">
                  <a:pos x="connsiteX9531" y="connsiteY9531"/>
                </a:cxn>
                <a:cxn ang="0">
                  <a:pos x="connsiteX9532" y="connsiteY9532"/>
                </a:cxn>
                <a:cxn ang="0">
                  <a:pos x="connsiteX9533" y="connsiteY9533"/>
                </a:cxn>
                <a:cxn ang="0">
                  <a:pos x="connsiteX9534" y="connsiteY9534"/>
                </a:cxn>
                <a:cxn ang="0">
                  <a:pos x="connsiteX9535" y="connsiteY9535"/>
                </a:cxn>
                <a:cxn ang="0">
                  <a:pos x="connsiteX9536" y="connsiteY9536"/>
                </a:cxn>
                <a:cxn ang="0">
                  <a:pos x="connsiteX9537" y="connsiteY9537"/>
                </a:cxn>
                <a:cxn ang="0">
                  <a:pos x="connsiteX9538" y="connsiteY9538"/>
                </a:cxn>
                <a:cxn ang="0">
                  <a:pos x="connsiteX9539" y="connsiteY9539"/>
                </a:cxn>
                <a:cxn ang="0">
                  <a:pos x="connsiteX9540" y="connsiteY9540"/>
                </a:cxn>
                <a:cxn ang="0">
                  <a:pos x="connsiteX9541" y="connsiteY9541"/>
                </a:cxn>
                <a:cxn ang="0">
                  <a:pos x="connsiteX9542" y="connsiteY9542"/>
                </a:cxn>
                <a:cxn ang="0">
                  <a:pos x="connsiteX9543" y="connsiteY9543"/>
                </a:cxn>
                <a:cxn ang="0">
                  <a:pos x="connsiteX9544" y="connsiteY9544"/>
                </a:cxn>
                <a:cxn ang="0">
                  <a:pos x="connsiteX9545" y="connsiteY9545"/>
                </a:cxn>
                <a:cxn ang="0">
                  <a:pos x="connsiteX9546" y="connsiteY9546"/>
                </a:cxn>
                <a:cxn ang="0">
                  <a:pos x="connsiteX9547" y="connsiteY9547"/>
                </a:cxn>
                <a:cxn ang="0">
                  <a:pos x="connsiteX9548" y="connsiteY9548"/>
                </a:cxn>
                <a:cxn ang="0">
                  <a:pos x="connsiteX9549" y="connsiteY9549"/>
                </a:cxn>
                <a:cxn ang="0">
                  <a:pos x="connsiteX9550" y="connsiteY9550"/>
                </a:cxn>
                <a:cxn ang="0">
                  <a:pos x="connsiteX9551" y="connsiteY9551"/>
                </a:cxn>
                <a:cxn ang="0">
                  <a:pos x="connsiteX9552" y="connsiteY9552"/>
                </a:cxn>
                <a:cxn ang="0">
                  <a:pos x="connsiteX9553" y="connsiteY9553"/>
                </a:cxn>
                <a:cxn ang="0">
                  <a:pos x="connsiteX9554" y="connsiteY9554"/>
                </a:cxn>
                <a:cxn ang="0">
                  <a:pos x="connsiteX9555" y="connsiteY9555"/>
                </a:cxn>
                <a:cxn ang="0">
                  <a:pos x="connsiteX9556" y="connsiteY9556"/>
                </a:cxn>
                <a:cxn ang="0">
                  <a:pos x="connsiteX9557" y="connsiteY9557"/>
                </a:cxn>
                <a:cxn ang="0">
                  <a:pos x="connsiteX9558" y="connsiteY9558"/>
                </a:cxn>
                <a:cxn ang="0">
                  <a:pos x="connsiteX9559" y="connsiteY9559"/>
                </a:cxn>
                <a:cxn ang="0">
                  <a:pos x="connsiteX9560" y="connsiteY9560"/>
                </a:cxn>
                <a:cxn ang="0">
                  <a:pos x="connsiteX9561" y="connsiteY9561"/>
                </a:cxn>
                <a:cxn ang="0">
                  <a:pos x="connsiteX9562" y="connsiteY9562"/>
                </a:cxn>
                <a:cxn ang="0">
                  <a:pos x="connsiteX9563" y="connsiteY9563"/>
                </a:cxn>
                <a:cxn ang="0">
                  <a:pos x="connsiteX9564" y="connsiteY9564"/>
                </a:cxn>
                <a:cxn ang="0">
                  <a:pos x="connsiteX9565" y="connsiteY9565"/>
                </a:cxn>
                <a:cxn ang="0">
                  <a:pos x="connsiteX9566" y="connsiteY9566"/>
                </a:cxn>
                <a:cxn ang="0">
                  <a:pos x="connsiteX9567" y="connsiteY9567"/>
                </a:cxn>
                <a:cxn ang="0">
                  <a:pos x="connsiteX9568" y="connsiteY9568"/>
                </a:cxn>
                <a:cxn ang="0">
                  <a:pos x="connsiteX9569" y="connsiteY9569"/>
                </a:cxn>
                <a:cxn ang="0">
                  <a:pos x="connsiteX9570" y="connsiteY9570"/>
                </a:cxn>
                <a:cxn ang="0">
                  <a:pos x="connsiteX9571" y="connsiteY9571"/>
                </a:cxn>
                <a:cxn ang="0">
                  <a:pos x="connsiteX9572" y="connsiteY9572"/>
                </a:cxn>
                <a:cxn ang="0">
                  <a:pos x="connsiteX9573" y="connsiteY9573"/>
                </a:cxn>
                <a:cxn ang="0">
                  <a:pos x="connsiteX9574" y="connsiteY9574"/>
                </a:cxn>
                <a:cxn ang="0">
                  <a:pos x="connsiteX9575" y="connsiteY9575"/>
                </a:cxn>
                <a:cxn ang="0">
                  <a:pos x="connsiteX9576" y="connsiteY9576"/>
                </a:cxn>
                <a:cxn ang="0">
                  <a:pos x="connsiteX9577" y="connsiteY9577"/>
                </a:cxn>
                <a:cxn ang="0">
                  <a:pos x="connsiteX9578" y="connsiteY9578"/>
                </a:cxn>
                <a:cxn ang="0">
                  <a:pos x="connsiteX9579" y="connsiteY9579"/>
                </a:cxn>
                <a:cxn ang="0">
                  <a:pos x="connsiteX9580" y="connsiteY9580"/>
                </a:cxn>
                <a:cxn ang="0">
                  <a:pos x="connsiteX9581" y="connsiteY9581"/>
                </a:cxn>
                <a:cxn ang="0">
                  <a:pos x="connsiteX9582" y="connsiteY9582"/>
                </a:cxn>
                <a:cxn ang="0">
                  <a:pos x="connsiteX9583" y="connsiteY9583"/>
                </a:cxn>
                <a:cxn ang="0">
                  <a:pos x="connsiteX9584" y="connsiteY9584"/>
                </a:cxn>
                <a:cxn ang="0">
                  <a:pos x="connsiteX9585" y="connsiteY9585"/>
                </a:cxn>
                <a:cxn ang="0">
                  <a:pos x="connsiteX9586" y="connsiteY9586"/>
                </a:cxn>
                <a:cxn ang="0">
                  <a:pos x="connsiteX9587" y="connsiteY9587"/>
                </a:cxn>
                <a:cxn ang="0">
                  <a:pos x="connsiteX9588" y="connsiteY9588"/>
                </a:cxn>
                <a:cxn ang="0">
                  <a:pos x="connsiteX9589" y="connsiteY9589"/>
                </a:cxn>
                <a:cxn ang="0">
                  <a:pos x="connsiteX9590" y="connsiteY9590"/>
                </a:cxn>
                <a:cxn ang="0">
                  <a:pos x="connsiteX9591" y="connsiteY9591"/>
                </a:cxn>
                <a:cxn ang="0">
                  <a:pos x="connsiteX9592" y="connsiteY9592"/>
                </a:cxn>
                <a:cxn ang="0">
                  <a:pos x="connsiteX9593" y="connsiteY9593"/>
                </a:cxn>
                <a:cxn ang="0">
                  <a:pos x="connsiteX9594" y="connsiteY9594"/>
                </a:cxn>
                <a:cxn ang="0">
                  <a:pos x="connsiteX9595" y="connsiteY9595"/>
                </a:cxn>
                <a:cxn ang="0">
                  <a:pos x="connsiteX9596" y="connsiteY9596"/>
                </a:cxn>
                <a:cxn ang="0">
                  <a:pos x="connsiteX9597" y="connsiteY9597"/>
                </a:cxn>
                <a:cxn ang="0">
                  <a:pos x="connsiteX9598" y="connsiteY9598"/>
                </a:cxn>
                <a:cxn ang="0">
                  <a:pos x="connsiteX9599" y="connsiteY9599"/>
                </a:cxn>
                <a:cxn ang="0">
                  <a:pos x="connsiteX9600" y="connsiteY9600"/>
                </a:cxn>
                <a:cxn ang="0">
                  <a:pos x="connsiteX9601" y="connsiteY9601"/>
                </a:cxn>
                <a:cxn ang="0">
                  <a:pos x="connsiteX9602" y="connsiteY9602"/>
                </a:cxn>
                <a:cxn ang="0">
                  <a:pos x="connsiteX9603" y="connsiteY9603"/>
                </a:cxn>
                <a:cxn ang="0">
                  <a:pos x="connsiteX9604" y="connsiteY9604"/>
                </a:cxn>
                <a:cxn ang="0">
                  <a:pos x="connsiteX9605" y="connsiteY9605"/>
                </a:cxn>
                <a:cxn ang="0">
                  <a:pos x="connsiteX9606" y="connsiteY9606"/>
                </a:cxn>
                <a:cxn ang="0">
                  <a:pos x="connsiteX9607" y="connsiteY9607"/>
                </a:cxn>
                <a:cxn ang="0">
                  <a:pos x="connsiteX9608" y="connsiteY9608"/>
                </a:cxn>
                <a:cxn ang="0">
                  <a:pos x="connsiteX9609" y="connsiteY9609"/>
                </a:cxn>
                <a:cxn ang="0">
                  <a:pos x="connsiteX9610" y="connsiteY9610"/>
                </a:cxn>
                <a:cxn ang="0">
                  <a:pos x="connsiteX9611" y="connsiteY9611"/>
                </a:cxn>
                <a:cxn ang="0">
                  <a:pos x="connsiteX9612" y="connsiteY9612"/>
                </a:cxn>
                <a:cxn ang="0">
                  <a:pos x="connsiteX9613" y="connsiteY9613"/>
                </a:cxn>
                <a:cxn ang="0">
                  <a:pos x="connsiteX9614" y="connsiteY9614"/>
                </a:cxn>
                <a:cxn ang="0">
                  <a:pos x="connsiteX9615" y="connsiteY9615"/>
                </a:cxn>
                <a:cxn ang="0">
                  <a:pos x="connsiteX9616" y="connsiteY9616"/>
                </a:cxn>
                <a:cxn ang="0">
                  <a:pos x="connsiteX9617" y="connsiteY9617"/>
                </a:cxn>
                <a:cxn ang="0">
                  <a:pos x="connsiteX9618" y="connsiteY9618"/>
                </a:cxn>
                <a:cxn ang="0">
                  <a:pos x="connsiteX9619" y="connsiteY9619"/>
                </a:cxn>
                <a:cxn ang="0">
                  <a:pos x="connsiteX9620" y="connsiteY9620"/>
                </a:cxn>
                <a:cxn ang="0">
                  <a:pos x="connsiteX9621" y="connsiteY9621"/>
                </a:cxn>
                <a:cxn ang="0">
                  <a:pos x="connsiteX9622" y="connsiteY9622"/>
                </a:cxn>
                <a:cxn ang="0">
                  <a:pos x="connsiteX9623" y="connsiteY9623"/>
                </a:cxn>
                <a:cxn ang="0">
                  <a:pos x="connsiteX9624" y="connsiteY9624"/>
                </a:cxn>
                <a:cxn ang="0">
                  <a:pos x="connsiteX9625" y="connsiteY9625"/>
                </a:cxn>
                <a:cxn ang="0">
                  <a:pos x="connsiteX9626" y="connsiteY9626"/>
                </a:cxn>
                <a:cxn ang="0">
                  <a:pos x="connsiteX9627" y="connsiteY9627"/>
                </a:cxn>
                <a:cxn ang="0">
                  <a:pos x="connsiteX9628" y="connsiteY9628"/>
                </a:cxn>
                <a:cxn ang="0">
                  <a:pos x="connsiteX9629" y="connsiteY9629"/>
                </a:cxn>
                <a:cxn ang="0">
                  <a:pos x="connsiteX9630" y="connsiteY9630"/>
                </a:cxn>
                <a:cxn ang="0">
                  <a:pos x="connsiteX9631" y="connsiteY9631"/>
                </a:cxn>
                <a:cxn ang="0">
                  <a:pos x="connsiteX9632" y="connsiteY9632"/>
                </a:cxn>
                <a:cxn ang="0">
                  <a:pos x="connsiteX9633" y="connsiteY9633"/>
                </a:cxn>
                <a:cxn ang="0">
                  <a:pos x="connsiteX9634" y="connsiteY9634"/>
                </a:cxn>
                <a:cxn ang="0">
                  <a:pos x="connsiteX9635" y="connsiteY9635"/>
                </a:cxn>
                <a:cxn ang="0">
                  <a:pos x="connsiteX9636" y="connsiteY9636"/>
                </a:cxn>
                <a:cxn ang="0">
                  <a:pos x="connsiteX9637" y="connsiteY9637"/>
                </a:cxn>
                <a:cxn ang="0">
                  <a:pos x="connsiteX9638" y="connsiteY9638"/>
                </a:cxn>
                <a:cxn ang="0">
                  <a:pos x="connsiteX9639" y="connsiteY9639"/>
                </a:cxn>
                <a:cxn ang="0">
                  <a:pos x="connsiteX9640" y="connsiteY9640"/>
                </a:cxn>
                <a:cxn ang="0">
                  <a:pos x="connsiteX9641" y="connsiteY9641"/>
                </a:cxn>
                <a:cxn ang="0">
                  <a:pos x="connsiteX9642" y="connsiteY9642"/>
                </a:cxn>
                <a:cxn ang="0">
                  <a:pos x="connsiteX9643" y="connsiteY9643"/>
                </a:cxn>
                <a:cxn ang="0">
                  <a:pos x="connsiteX9644" y="connsiteY9644"/>
                </a:cxn>
                <a:cxn ang="0">
                  <a:pos x="connsiteX9645" y="connsiteY9645"/>
                </a:cxn>
                <a:cxn ang="0">
                  <a:pos x="connsiteX9646" y="connsiteY9646"/>
                </a:cxn>
                <a:cxn ang="0">
                  <a:pos x="connsiteX9647" y="connsiteY9647"/>
                </a:cxn>
                <a:cxn ang="0">
                  <a:pos x="connsiteX9648" y="connsiteY9648"/>
                </a:cxn>
                <a:cxn ang="0">
                  <a:pos x="connsiteX9649" y="connsiteY9649"/>
                </a:cxn>
                <a:cxn ang="0">
                  <a:pos x="connsiteX9650" y="connsiteY9650"/>
                </a:cxn>
                <a:cxn ang="0">
                  <a:pos x="connsiteX9651" y="connsiteY9651"/>
                </a:cxn>
                <a:cxn ang="0">
                  <a:pos x="connsiteX9652" y="connsiteY9652"/>
                </a:cxn>
                <a:cxn ang="0">
                  <a:pos x="connsiteX9653" y="connsiteY9653"/>
                </a:cxn>
                <a:cxn ang="0">
                  <a:pos x="connsiteX9654" y="connsiteY9654"/>
                </a:cxn>
                <a:cxn ang="0">
                  <a:pos x="connsiteX9655" y="connsiteY9655"/>
                </a:cxn>
                <a:cxn ang="0">
                  <a:pos x="connsiteX9656" y="connsiteY9656"/>
                </a:cxn>
                <a:cxn ang="0">
                  <a:pos x="connsiteX9657" y="connsiteY9657"/>
                </a:cxn>
                <a:cxn ang="0">
                  <a:pos x="connsiteX9658" y="connsiteY9658"/>
                </a:cxn>
                <a:cxn ang="0">
                  <a:pos x="connsiteX9659" y="connsiteY9659"/>
                </a:cxn>
                <a:cxn ang="0">
                  <a:pos x="connsiteX9660" y="connsiteY9660"/>
                </a:cxn>
                <a:cxn ang="0">
                  <a:pos x="connsiteX9661" y="connsiteY9661"/>
                </a:cxn>
                <a:cxn ang="0">
                  <a:pos x="connsiteX9662" y="connsiteY9662"/>
                </a:cxn>
                <a:cxn ang="0">
                  <a:pos x="connsiteX9663" y="connsiteY9663"/>
                </a:cxn>
                <a:cxn ang="0">
                  <a:pos x="connsiteX9664" y="connsiteY9664"/>
                </a:cxn>
                <a:cxn ang="0">
                  <a:pos x="connsiteX9665" y="connsiteY9665"/>
                </a:cxn>
                <a:cxn ang="0">
                  <a:pos x="connsiteX9666" y="connsiteY9666"/>
                </a:cxn>
                <a:cxn ang="0">
                  <a:pos x="connsiteX9667" y="connsiteY9667"/>
                </a:cxn>
                <a:cxn ang="0">
                  <a:pos x="connsiteX9668" y="connsiteY9668"/>
                </a:cxn>
                <a:cxn ang="0">
                  <a:pos x="connsiteX9669" y="connsiteY9669"/>
                </a:cxn>
                <a:cxn ang="0">
                  <a:pos x="connsiteX9670" y="connsiteY9670"/>
                </a:cxn>
                <a:cxn ang="0">
                  <a:pos x="connsiteX9671" y="connsiteY9671"/>
                </a:cxn>
                <a:cxn ang="0">
                  <a:pos x="connsiteX9672" y="connsiteY9672"/>
                </a:cxn>
                <a:cxn ang="0">
                  <a:pos x="connsiteX9673" y="connsiteY9673"/>
                </a:cxn>
                <a:cxn ang="0">
                  <a:pos x="connsiteX9674" y="connsiteY9674"/>
                </a:cxn>
                <a:cxn ang="0">
                  <a:pos x="connsiteX9675" y="connsiteY9675"/>
                </a:cxn>
                <a:cxn ang="0">
                  <a:pos x="connsiteX9676" y="connsiteY9676"/>
                </a:cxn>
                <a:cxn ang="0">
                  <a:pos x="connsiteX9677" y="connsiteY9677"/>
                </a:cxn>
                <a:cxn ang="0">
                  <a:pos x="connsiteX9678" y="connsiteY9678"/>
                </a:cxn>
                <a:cxn ang="0">
                  <a:pos x="connsiteX9679" y="connsiteY9679"/>
                </a:cxn>
                <a:cxn ang="0">
                  <a:pos x="connsiteX9680" y="connsiteY9680"/>
                </a:cxn>
                <a:cxn ang="0">
                  <a:pos x="connsiteX9681" y="connsiteY9681"/>
                </a:cxn>
                <a:cxn ang="0">
                  <a:pos x="connsiteX9682" y="connsiteY9682"/>
                </a:cxn>
                <a:cxn ang="0">
                  <a:pos x="connsiteX9683" y="connsiteY9683"/>
                </a:cxn>
                <a:cxn ang="0">
                  <a:pos x="connsiteX9684" y="connsiteY9684"/>
                </a:cxn>
                <a:cxn ang="0">
                  <a:pos x="connsiteX9685" y="connsiteY9685"/>
                </a:cxn>
                <a:cxn ang="0">
                  <a:pos x="connsiteX9686" y="connsiteY9686"/>
                </a:cxn>
                <a:cxn ang="0">
                  <a:pos x="connsiteX9687" y="connsiteY9687"/>
                </a:cxn>
                <a:cxn ang="0">
                  <a:pos x="connsiteX9688" y="connsiteY9688"/>
                </a:cxn>
                <a:cxn ang="0">
                  <a:pos x="connsiteX9689" y="connsiteY9689"/>
                </a:cxn>
                <a:cxn ang="0">
                  <a:pos x="connsiteX9690" y="connsiteY9690"/>
                </a:cxn>
                <a:cxn ang="0">
                  <a:pos x="connsiteX9691" y="connsiteY9691"/>
                </a:cxn>
                <a:cxn ang="0">
                  <a:pos x="connsiteX9692" y="connsiteY9692"/>
                </a:cxn>
                <a:cxn ang="0">
                  <a:pos x="connsiteX9693" y="connsiteY9693"/>
                </a:cxn>
                <a:cxn ang="0">
                  <a:pos x="connsiteX9694" y="connsiteY9694"/>
                </a:cxn>
                <a:cxn ang="0">
                  <a:pos x="connsiteX9695" y="connsiteY9695"/>
                </a:cxn>
                <a:cxn ang="0">
                  <a:pos x="connsiteX9696" y="connsiteY9696"/>
                </a:cxn>
                <a:cxn ang="0">
                  <a:pos x="connsiteX9697" y="connsiteY9697"/>
                </a:cxn>
                <a:cxn ang="0">
                  <a:pos x="connsiteX9698" y="connsiteY9698"/>
                </a:cxn>
                <a:cxn ang="0">
                  <a:pos x="connsiteX9699" y="connsiteY9699"/>
                </a:cxn>
                <a:cxn ang="0">
                  <a:pos x="connsiteX9700" y="connsiteY9700"/>
                </a:cxn>
                <a:cxn ang="0">
                  <a:pos x="connsiteX9701" y="connsiteY9701"/>
                </a:cxn>
                <a:cxn ang="0">
                  <a:pos x="connsiteX9702" y="connsiteY9702"/>
                </a:cxn>
                <a:cxn ang="0">
                  <a:pos x="connsiteX9703" y="connsiteY9703"/>
                </a:cxn>
                <a:cxn ang="0">
                  <a:pos x="connsiteX9704" y="connsiteY9704"/>
                </a:cxn>
                <a:cxn ang="0">
                  <a:pos x="connsiteX9705" y="connsiteY9705"/>
                </a:cxn>
                <a:cxn ang="0">
                  <a:pos x="connsiteX9706" y="connsiteY9706"/>
                </a:cxn>
                <a:cxn ang="0">
                  <a:pos x="connsiteX9707" y="connsiteY9707"/>
                </a:cxn>
                <a:cxn ang="0">
                  <a:pos x="connsiteX9708" y="connsiteY9708"/>
                </a:cxn>
                <a:cxn ang="0">
                  <a:pos x="connsiteX9709" y="connsiteY9709"/>
                </a:cxn>
                <a:cxn ang="0">
                  <a:pos x="connsiteX9710" y="connsiteY9710"/>
                </a:cxn>
                <a:cxn ang="0">
                  <a:pos x="connsiteX9711" y="connsiteY9711"/>
                </a:cxn>
                <a:cxn ang="0">
                  <a:pos x="connsiteX9712" y="connsiteY9712"/>
                </a:cxn>
                <a:cxn ang="0">
                  <a:pos x="connsiteX9713" y="connsiteY9713"/>
                </a:cxn>
                <a:cxn ang="0">
                  <a:pos x="connsiteX9714" y="connsiteY9714"/>
                </a:cxn>
                <a:cxn ang="0">
                  <a:pos x="connsiteX9715" y="connsiteY9715"/>
                </a:cxn>
                <a:cxn ang="0">
                  <a:pos x="connsiteX9716" y="connsiteY9716"/>
                </a:cxn>
                <a:cxn ang="0">
                  <a:pos x="connsiteX9717" y="connsiteY9717"/>
                </a:cxn>
                <a:cxn ang="0">
                  <a:pos x="connsiteX9718" y="connsiteY9718"/>
                </a:cxn>
                <a:cxn ang="0">
                  <a:pos x="connsiteX9719" y="connsiteY9719"/>
                </a:cxn>
                <a:cxn ang="0">
                  <a:pos x="connsiteX9720" y="connsiteY9720"/>
                </a:cxn>
                <a:cxn ang="0">
                  <a:pos x="connsiteX9721" y="connsiteY9721"/>
                </a:cxn>
                <a:cxn ang="0">
                  <a:pos x="connsiteX9722" y="connsiteY9722"/>
                </a:cxn>
                <a:cxn ang="0">
                  <a:pos x="connsiteX9723" y="connsiteY9723"/>
                </a:cxn>
                <a:cxn ang="0">
                  <a:pos x="connsiteX9724" y="connsiteY9724"/>
                </a:cxn>
                <a:cxn ang="0">
                  <a:pos x="connsiteX9725" y="connsiteY9725"/>
                </a:cxn>
                <a:cxn ang="0">
                  <a:pos x="connsiteX9726" y="connsiteY9726"/>
                </a:cxn>
                <a:cxn ang="0">
                  <a:pos x="connsiteX9727" y="connsiteY9727"/>
                </a:cxn>
                <a:cxn ang="0">
                  <a:pos x="connsiteX9728" y="connsiteY9728"/>
                </a:cxn>
                <a:cxn ang="0">
                  <a:pos x="connsiteX9729" y="connsiteY9729"/>
                </a:cxn>
                <a:cxn ang="0">
                  <a:pos x="connsiteX9730" y="connsiteY9730"/>
                </a:cxn>
                <a:cxn ang="0">
                  <a:pos x="connsiteX9731" y="connsiteY9731"/>
                </a:cxn>
                <a:cxn ang="0">
                  <a:pos x="connsiteX9732" y="connsiteY9732"/>
                </a:cxn>
                <a:cxn ang="0">
                  <a:pos x="connsiteX9733" y="connsiteY9733"/>
                </a:cxn>
                <a:cxn ang="0">
                  <a:pos x="connsiteX9734" y="connsiteY9734"/>
                </a:cxn>
                <a:cxn ang="0">
                  <a:pos x="connsiteX9735" y="connsiteY9735"/>
                </a:cxn>
                <a:cxn ang="0">
                  <a:pos x="connsiteX9736" y="connsiteY9736"/>
                </a:cxn>
                <a:cxn ang="0">
                  <a:pos x="connsiteX9737" y="connsiteY9737"/>
                </a:cxn>
                <a:cxn ang="0">
                  <a:pos x="connsiteX9738" y="connsiteY9738"/>
                </a:cxn>
                <a:cxn ang="0">
                  <a:pos x="connsiteX9739" y="connsiteY9739"/>
                </a:cxn>
                <a:cxn ang="0">
                  <a:pos x="connsiteX9740" y="connsiteY9740"/>
                </a:cxn>
                <a:cxn ang="0">
                  <a:pos x="connsiteX9741" y="connsiteY9741"/>
                </a:cxn>
                <a:cxn ang="0">
                  <a:pos x="connsiteX9742" y="connsiteY9742"/>
                </a:cxn>
                <a:cxn ang="0">
                  <a:pos x="connsiteX9743" y="connsiteY9743"/>
                </a:cxn>
                <a:cxn ang="0">
                  <a:pos x="connsiteX9744" y="connsiteY9744"/>
                </a:cxn>
                <a:cxn ang="0">
                  <a:pos x="connsiteX9745" y="connsiteY9745"/>
                </a:cxn>
                <a:cxn ang="0">
                  <a:pos x="connsiteX9746" y="connsiteY9746"/>
                </a:cxn>
                <a:cxn ang="0">
                  <a:pos x="connsiteX9747" y="connsiteY9747"/>
                </a:cxn>
                <a:cxn ang="0">
                  <a:pos x="connsiteX9748" y="connsiteY9748"/>
                </a:cxn>
                <a:cxn ang="0">
                  <a:pos x="connsiteX9749" y="connsiteY9749"/>
                </a:cxn>
                <a:cxn ang="0">
                  <a:pos x="connsiteX9750" y="connsiteY9750"/>
                </a:cxn>
                <a:cxn ang="0">
                  <a:pos x="connsiteX9751" y="connsiteY9751"/>
                </a:cxn>
                <a:cxn ang="0">
                  <a:pos x="connsiteX9752" y="connsiteY9752"/>
                </a:cxn>
                <a:cxn ang="0">
                  <a:pos x="connsiteX9753" y="connsiteY9753"/>
                </a:cxn>
                <a:cxn ang="0">
                  <a:pos x="connsiteX9754" y="connsiteY9754"/>
                </a:cxn>
                <a:cxn ang="0">
                  <a:pos x="connsiteX9755" y="connsiteY9755"/>
                </a:cxn>
                <a:cxn ang="0">
                  <a:pos x="connsiteX9756" y="connsiteY9756"/>
                </a:cxn>
                <a:cxn ang="0">
                  <a:pos x="connsiteX9757" y="connsiteY9757"/>
                </a:cxn>
                <a:cxn ang="0">
                  <a:pos x="connsiteX9758" y="connsiteY9758"/>
                </a:cxn>
                <a:cxn ang="0">
                  <a:pos x="connsiteX9759" y="connsiteY9759"/>
                </a:cxn>
                <a:cxn ang="0">
                  <a:pos x="connsiteX9760" y="connsiteY9760"/>
                </a:cxn>
                <a:cxn ang="0">
                  <a:pos x="connsiteX9761" y="connsiteY9761"/>
                </a:cxn>
                <a:cxn ang="0">
                  <a:pos x="connsiteX9762" y="connsiteY9762"/>
                </a:cxn>
                <a:cxn ang="0">
                  <a:pos x="connsiteX9763" y="connsiteY9763"/>
                </a:cxn>
                <a:cxn ang="0">
                  <a:pos x="connsiteX9764" y="connsiteY9764"/>
                </a:cxn>
                <a:cxn ang="0">
                  <a:pos x="connsiteX9765" y="connsiteY9765"/>
                </a:cxn>
                <a:cxn ang="0">
                  <a:pos x="connsiteX9766" y="connsiteY9766"/>
                </a:cxn>
                <a:cxn ang="0">
                  <a:pos x="connsiteX9767" y="connsiteY9767"/>
                </a:cxn>
                <a:cxn ang="0">
                  <a:pos x="connsiteX9768" y="connsiteY9768"/>
                </a:cxn>
                <a:cxn ang="0">
                  <a:pos x="connsiteX9769" y="connsiteY9769"/>
                </a:cxn>
                <a:cxn ang="0">
                  <a:pos x="connsiteX9770" y="connsiteY9770"/>
                </a:cxn>
                <a:cxn ang="0">
                  <a:pos x="connsiteX9771" y="connsiteY9771"/>
                </a:cxn>
                <a:cxn ang="0">
                  <a:pos x="connsiteX9772" y="connsiteY9772"/>
                </a:cxn>
                <a:cxn ang="0">
                  <a:pos x="connsiteX9773" y="connsiteY9773"/>
                </a:cxn>
                <a:cxn ang="0">
                  <a:pos x="connsiteX9774" y="connsiteY9774"/>
                </a:cxn>
                <a:cxn ang="0">
                  <a:pos x="connsiteX9775" y="connsiteY9775"/>
                </a:cxn>
                <a:cxn ang="0">
                  <a:pos x="connsiteX9776" y="connsiteY9776"/>
                </a:cxn>
                <a:cxn ang="0">
                  <a:pos x="connsiteX9777" y="connsiteY9777"/>
                </a:cxn>
                <a:cxn ang="0">
                  <a:pos x="connsiteX9778" y="connsiteY9778"/>
                </a:cxn>
                <a:cxn ang="0">
                  <a:pos x="connsiteX9779" y="connsiteY9779"/>
                </a:cxn>
                <a:cxn ang="0">
                  <a:pos x="connsiteX9780" y="connsiteY9780"/>
                </a:cxn>
                <a:cxn ang="0">
                  <a:pos x="connsiteX9781" y="connsiteY9781"/>
                </a:cxn>
                <a:cxn ang="0">
                  <a:pos x="connsiteX9782" y="connsiteY9782"/>
                </a:cxn>
                <a:cxn ang="0">
                  <a:pos x="connsiteX9783" y="connsiteY9783"/>
                </a:cxn>
                <a:cxn ang="0">
                  <a:pos x="connsiteX9784" y="connsiteY9784"/>
                </a:cxn>
                <a:cxn ang="0">
                  <a:pos x="connsiteX9785" y="connsiteY9785"/>
                </a:cxn>
                <a:cxn ang="0">
                  <a:pos x="connsiteX9786" y="connsiteY9786"/>
                </a:cxn>
                <a:cxn ang="0">
                  <a:pos x="connsiteX9787" y="connsiteY9787"/>
                </a:cxn>
                <a:cxn ang="0">
                  <a:pos x="connsiteX9788" y="connsiteY9788"/>
                </a:cxn>
                <a:cxn ang="0">
                  <a:pos x="connsiteX9789" y="connsiteY9789"/>
                </a:cxn>
                <a:cxn ang="0">
                  <a:pos x="connsiteX9790" y="connsiteY9790"/>
                </a:cxn>
                <a:cxn ang="0">
                  <a:pos x="connsiteX9791" y="connsiteY9791"/>
                </a:cxn>
                <a:cxn ang="0">
                  <a:pos x="connsiteX9792" y="connsiteY9792"/>
                </a:cxn>
                <a:cxn ang="0">
                  <a:pos x="connsiteX9793" y="connsiteY9793"/>
                </a:cxn>
                <a:cxn ang="0">
                  <a:pos x="connsiteX9794" y="connsiteY9794"/>
                </a:cxn>
                <a:cxn ang="0">
                  <a:pos x="connsiteX9795" y="connsiteY9795"/>
                </a:cxn>
                <a:cxn ang="0">
                  <a:pos x="connsiteX9796" y="connsiteY9796"/>
                </a:cxn>
                <a:cxn ang="0">
                  <a:pos x="connsiteX9797" y="connsiteY9797"/>
                </a:cxn>
                <a:cxn ang="0">
                  <a:pos x="connsiteX9798" y="connsiteY9798"/>
                </a:cxn>
                <a:cxn ang="0">
                  <a:pos x="connsiteX9799" y="connsiteY9799"/>
                </a:cxn>
                <a:cxn ang="0">
                  <a:pos x="connsiteX9800" y="connsiteY9800"/>
                </a:cxn>
                <a:cxn ang="0">
                  <a:pos x="connsiteX9801" y="connsiteY9801"/>
                </a:cxn>
                <a:cxn ang="0">
                  <a:pos x="connsiteX9802" y="connsiteY9802"/>
                </a:cxn>
                <a:cxn ang="0">
                  <a:pos x="connsiteX9803" y="connsiteY9803"/>
                </a:cxn>
                <a:cxn ang="0">
                  <a:pos x="connsiteX9804" y="connsiteY9804"/>
                </a:cxn>
                <a:cxn ang="0">
                  <a:pos x="connsiteX9805" y="connsiteY9805"/>
                </a:cxn>
                <a:cxn ang="0">
                  <a:pos x="connsiteX9806" y="connsiteY9806"/>
                </a:cxn>
                <a:cxn ang="0">
                  <a:pos x="connsiteX9807" y="connsiteY9807"/>
                </a:cxn>
                <a:cxn ang="0">
                  <a:pos x="connsiteX9808" y="connsiteY9808"/>
                </a:cxn>
                <a:cxn ang="0">
                  <a:pos x="connsiteX9809" y="connsiteY9809"/>
                </a:cxn>
                <a:cxn ang="0">
                  <a:pos x="connsiteX9810" y="connsiteY9810"/>
                </a:cxn>
                <a:cxn ang="0">
                  <a:pos x="connsiteX9811" y="connsiteY9811"/>
                </a:cxn>
                <a:cxn ang="0">
                  <a:pos x="connsiteX9812" y="connsiteY9812"/>
                </a:cxn>
                <a:cxn ang="0">
                  <a:pos x="connsiteX9813" y="connsiteY9813"/>
                </a:cxn>
                <a:cxn ang="0">
                  <a:pos x="connsiteX9814" y="connsiteY9814"/>
                </a:cxn>
                <a:cxn ang="0">
                  <a:pos x="connsiteX9815" y="connsiteY9815"/>
                </a:cxn>
                <a:cxn ang="0">
                  <a:pos x="connsiteX9816" y="connsiteY9816"/>
                </a:cxn>
                <a:cxn ang="0">
                  <a:pos x="connsiteX9817" y="connsiteY9817"/>
                </a:cxn>
                <a:cxn ang="0">
                  <a:pos x="connsiteX9818" y="connsiteY9818"/>
                </a:cxn>
                <a:cxn ang="0">
                  <a:pos x="connsiteX9819" y="connsiteY9819"/>
                </a:cxn>
                <a:cxn ang="0">
                  <a:pos x="connsiteX9820" y="connsiteY9820"/>
                </a:cxn>
                <a:cxn ang="0">
                  <a:pos x="connsiteX9821" y="connsiteY9821"/>
                </a:cxn>
                <a:cxn ang="0">
                  <a:pos x="connsiteX9822" y="connsiteY9822"/>
                </a:cxn>
                <a:cxn ang="0">
                  <a:pos x="connsiteX9823" y="connsiteY9823"/>
                </a:cxn>
                <a:cxn ang="0">
                  <a:pos x="connsiteX9824" y="connsiteY9824"/>
                </a:cxn>
                <a:cxn ang="0">
                  <a:pos x="connsiteX9825" y="connsiteY9825"/>
                </a:cxn>
                <a:cxn ang="0">
                  <a:pos x="connsiteX9826" y="connsiteY9826"/>
                </a:cxn>
                <a:cxn ang="0">
                  <a:pos x="connsiteX9827" y="connsiteY9827"/>
                </a:cxn>
                <a:cxn ang="0">
                  <a:pos x="connsiteX9828" y="connsiteY9828"/>
                </a:cxn>
                <a:cxn ang="0">
                  <a:pos x="connsiteX9829" y="connsiteY9829"/>
                </a:cxn>
                <a:cxn ang="0">
                  <a:pos x="connsiteX9830" y="connsiteY9830"/>
                </a:cxn>
                <a:cxn ang="0">
                  <a:pos x="connsiteX9831" y="connsiteY9831"/>
                </a:cxn>
                <a:cxn ang="0">
                  <a:pos x="connsiteX9832" y="connsiteY9832"/>
                </a:cxn>
                <a:cxn ang="0">
                  <a:pos x="connsiteX9833" y="connsiteY9833"/>
                </a:cxn>
                <a:cxn ang="0">
                  <a:pos x="connsiteX9834" y="connsiteY9834"/>
                </a:cxn>
                <a:cxn ang="0">
                  <a:pos x="connsiteX9835" y="connsiteY9835"/>
                </a:cxn>
                <a:cxn ang="0">
                  <a:pos x="connsiteX9836" y="connsiteY9836"/>
                </a:cxn>
                <a:cxn ang="0">
                  <a:pos x="connsiteX9837" y="connsiteY9837"/>
                </a:cxn>
                <a:cxn ang="0">
                  <a:pos x="connsiteX9838" y="connsiteY9838"/>
                </a:cxn>
                <a:cxn ang="0">
                  <a:pos x="connsiteX9839" y="connsiteY9839"/>
                </a:cxn>
                <a:cxn ang="0">
                  <a:pos x="connsiteX9840" y="connsiteY9840"/>
                </a:cxn>
                <a:cxn ang="0">
                  <a:pos x="connsiteX9841" y="connsiteY9841"/>
                </a:cxn>
                <a:cxn ang="0">
                  <a:pos x="connsiteX9842" y="connsiteY9842"/>
                </a:cxn>
                <a:cxn ang="0">
                  <a:pos x="connsiteX9843" y="connsiteY9843"/>
                </a:cxn>
                <a:cxn ang="0">
                  <a:pos x="connsiteX9844" y="connsiteY9844"/>
                </a:cxn>
                <a:cxn ang="0">
                  <a:pos x="connsiteX9845" y="connsiteY9845"/>
                </a:cxn>
                <a:cxn ang="0">
                  <a:pos x="connsiteX9846" y="connsiteY9846"/>
                </a:cxn>
                <a:cxn ang="0">
                  <a:pos x="connsiteX9847" y="connsiteY9847"/>
                </a:cxn>
                <a:cxn ang="0">
                  <a:pos x="connsiteX9848" y="connsiteY9848"/>
                </a:cxn>
                <a:cxn ang="0">
                  <a:pos x="connsiteX9849" y="connsiteY9849"/>
                </a:cxn>
                <a:cxn ang="0">
                  <a:pos x="connsiteX9850" y="connsiteY9850"/>
                </a:cxn>
                <a:cxn ang="0">
                  <a:pos x="connsiteX9851" y="connsiteY9851"/>
                </a:cxn>
                <a:cxn ang="0">
                  <a:pos x="connsiteX9852" y="connsiteY9852"/>
                </a:cxn>
                <a:cxn ang="0">
                  <a:pos x="connsiteX9853" y="connsiteY9853"/>
                </a:cxn>
                <a:cxn ang="0">
                  <a:pos x="connsiteX9854" y="connsiteY9854"/>
                </a:cxn>
                <a:cxn ang="0">
                  <a:pos x="connsiteX9855" y="connsiteY9855"/>
                </a:cxn>
                <a:cxn ang="0">
                  <a:pos x="connsiteX9856" y="connsiteY9856"/>
                </a:cxn>
                <a:cxn ang="0">
                  <a:pos x="connsiteX9857" y="connsiteY9857"/>
                </a:cxn>
                <a:cxn ang="0">
                  <a:pos x="connsiteX9858" y="connsiteY9858"/>
                </a:cxn>
                <a:cxn ang="0">
                  <a:pos x="connsiteX9859" y="connsiteY9859"/>
                </a:cxn>
                <a:cxn ang="0">
                  <a:pos x="connsiteX9860" y="connsiteY9860"/>
                </a:cxn>
                <a:cxn ang="0">
                  <a:pos x="connsiteX9861" y="connsiteY9861"/>
                </a:cxn>
                <a:cxn ang="0">
                  <a:pos x="connsiteX9862" y="connsiteY9862"/>
                </a:cxn>
                <a:cxn ang="0">
                  <a:pos x="connsiteX9863" y="connsiteY9863"/>
                </a:cxn>
                <a:cxn ang="0">
                  <a:pos x="connsiteX9864" y="connsiteY9864"/>
                </a:cxn>
                <a:cxn ang="0">
                  <a:pos x="connsiteX9865" y="connsiteY9865"/>
                </a:cxn>
                <a:cxn ang="0">
                  <a:pos x="connsiteX9866" y="connsiteY9866"/>
                </a:cxn>
                <a:cxn ang="0">
                  <a:pos x="connsiteX9867" y="connsiteY9867"/>
                </a:cxn>
                <a:cxn ang="0">
                  <a:pos x="connsiteX9868" y="connsiteY9868"/>
                </a:cxn>
                <a:cxn ang="0">
                  <a:pos x="connsiteX9869" y="connsiteY9869"/>
                </a:cxn>
                <a:cxn ang="0">
                  <a:pos x="connsiteX9870" y="connsiteY9870"/>
                </a:cxn>
                <a:cxn ang="0">
                  <a:pos x="connsiteX9871" y="connsiteY9871"/>
                </a:cxn>
                <a:cxn ang="0">
                  <a:pos x="connsiteX9872" y="connsiteY9872"/>
                </a:cxn>
                <a:cxn ang="0">
                  <a:pos x="connsiteX9873" y="connsiteY9873"/>
                </a:cxn>
                <a:cxn ang="0">
                  <a:pos x="connsiteX9874" y="connsiteY9874"/>
                </a:cxn>
                <a:cxn ang="0">
                  <a:pos x="connsiteX9875" y="connsiteY9875"/>
                </a:cxn>
                <a:cxn ang="0">
                  <a:pos x="connsiteX9876" y="connsiteY9876"/>
                </a:cxn>
                <a:cxn ang="0">
                  <a:pos x="connsiteX9877" y="connsiteY9877"/>
                </a:cxn>
                <a:cxn ang="0">
                  <a:pos x="connsiteX9878" y="connsiteY9878"/>
                </a:cxn>
                <a:cxn ang="0">
                  <a:pos x="connsiteX9879" y="connsiteY9879"/>
                </a:cxn>
                <a:cxn ang="0">
                  <a:pos x="connsiteX9880" y="connsiteY9880"/>
                </a:cxn>
                <a:cxn ang="0">
                  <a:pos x="connsiteX9881" y="connsiteY9881"/>
                </a:cxn>
                <a:cxn ang="0">
                  <a:pos x="connsiteX9882" y="connsiteY9882"/>
                </a:cxn>
                <a:cxn ang="0">
                  <a:pos x="connsiteX9883" y="connsiteY9883"/>
                </a:cxn>
                <a:cxn ang="0">
                  <a:pos x="connsiteX9884" y="connsiteY9884"/>
                </a:cxn>
                <a:cxn ang="0">
                  <a:pos x="connsiteX9885" y="connsiteY9885"/>
                </a:cxn>
                <a:cxn ang="0">
                  <a:pos x="connsiteX9886" y="connsiteY9886"/>
                </a:cxn>
                <a:cxn ang="0">
                  <a:pos x="connsiteX9887" y="connsiteY9887"/>
                </a:cxn>
                <a:cxn ang="0">
                  <a:pos x="connsiteX9888" y="connsiteY9888"/>
                </a:cxn>
                <a:cxn ang="0">
                  <a:pos x="connsiteX9889" y="connsiteY9889"/>
                </a:cxn>
                <a:cxn ang="0">
                  <a:pos x="connsiteX9890" y="connsiteY9890"/>
                </a:cxn>
                <a:cxn ang="0">
                  <a:pos x="connsiteX9891" y="connsiteY9891"/>
                </a:cxn>
                <a:cxn ang="0">
                  <a:pos x="connsiteX9892" y="connsiteY9892"/>
                </a:cxn>
                <a:cxn ang="0">
                  <a:pos x="connsiteX9893" y="connsiteY9893"/>
                </a:cxn>
                <a:cxn ang="0">
                  <a:pos x="connsiteX9894" y="connsiteY9894"/>
                </a:cxn>
                <a:cxn ang="0">
                  <a:pos x="connsiteX9895" y="connsiteY9895"/>
                </a:cxn>
                <a:cxn ang="0">
                  <a:pos x="connsiteX9896" y="connsiteY9896"/>
                </a:cxn>
                <a:cxn ang="0">
                  <a:pos x="connsiteX9897" y="connsiteY9897"/>
                </a:cxn>
                <a:cxn ang="0">
                  <a:pos x="connsiteX9898" y="connsiteY9898"/>
                </a:cxn>
                <a:cxn ang="0">
                  <a:pos x="connsiteX9899" y="connsiteY9899"/>
                </a:cxn>
                <a:cxn ang="0">
                  <a:pos x="connsiteX9900" y="connsiteY9900"/>
                </a:cxn>
                <a:cxn ang="0">
                  <a:pos x="connsiteX9901" y="connsiteY9901"/>
                </a:cxn>
                <a:cxn ang="0">
                  <a:pos x="connsiteX9902" y="connsiteY9902"/>
                </a:cxn>
                <a:cxn ang="0">
                  <a:pos x="connsiteX9903" y="connsiteY9903"/>
                </a:cxn>
                <a:cxn ang="0">
                  <a:pos x="connsiteX9904" y="connsiteY9904"/>
                </a:cxn>
                <a:cxn ang="0">
                  <a:pos x="connsiteX9905" y="connsiteY9905"/>
                </a:cxn>
                <a:cxn ang="0">
                  <a:pos x="connsiteX9906" y="connsiteY9906"/>
                </a:cxn>
                <a:cxn ang="0">
                  <a:pos x="connsiteX9907" y="connsiteY9907"/>
                </a:cxn>
                <a:cxn ang="0">
                  <a:pos x="connsiteX9908" y="connsiteY9908"/>
                </a:cxn>
                <a:cxn ang="0">
                  <a:pos x="connsiteX9909" y="connsiteY9909"/>
                </a:cxn>
                <a:cxn ang="0">
                  <a:pos x="connsiteX9910" y="connsiteY9910"/>
                </a:cxn>
                <a:cxn ang="0">
                  <a:pos x="connsiteX9911" y="connsiteY9911"/>
                </a:cxn>
                <a:cxn ang="0">
                  <a:pos x="connsiteX9912" y="connsiteY9912"/>
                </a:cxn>
                <a:cxn ang="0">
                  <a:pos x="connsiteX9913" y="connsiteY9913"/>
                </a:cxn>
                <a:cxn ang="0">
                  <a:pos x="connsiteX9914" y="connsiteY9914"/>
                </a:cxn>
                <a:cxn ang="0">
                  <a:pos x="connsiteX9915" y="connsiteY9915"/>
                </a:cxn>
                <a:cxn ang="0">
                  <a:pos x="connsiteX9916" y="connsiteY9916"/>
                </a:cxn>
                <a:cxn ang="0">
                  <a:pos x="connsiteX9917" y="connsiteY9917"/>
                </a:cxn>
                <a:cxn ang="0">
                  <a:pos x="connsiteX9918" y="connsiteY9918"/>
                </a:cxn>
                <a:cxn ang="0">
                  <a:pos x="connsiteX9919" y="connsiteY9919"/>
                </a:cxn>
                <a:cxn ang="0">
                  <a:pos x="connsiteX9920" y="connsiteY9920"/>
                </a:cxn>
                <a:cxn ang="0">
                  <a:pos x="connsiteX9921" y="connsiteY9921"/>
                </a:cxn>
                <a:cxn ang="0">
                  <a:pos x="connsiteX9922" y="connsiteY9922"/>
                </a:cxn>
                <a:cxn ang="0">
                  <a:pos x="connsiteX9923" y="connsiteY9923"/>
                </a:cxn>
                <a:cxn ang="0">
                  <a:pos x="connsiteX9924" y="connsiteY9924"/>
                </a:cxn>
                <a:cxn ang="0">
                  <a:pos x="connsiteX9925" y="connsiteY9925"/>
                </a:cxn>
                <a:cxn ang="0">
                  <a:pos x="connsiteX9926" y="connsiteY9926"/>
                </a:cxn>
                <a:cxn ang="0">
                  <a:pos x="connsiteX9927" y="connsiteY9927"/>
                </a:cxn>
                <a:cxn ang="0">
                  <a:pos x="connsiteX9928" y="connsiteY9928"/>
                </a:cxn>
                <a:cxn ang="0">
                  <a:pos x="connsiteX9929" y="connsiteY9929"/>
                </a:cxn>
                <a:cxn ang="0">
                  <a:pos x="connsiteX9930" y="connsiteY9930"/>
                </a:cxn>
                <a:cxn ang="0">
                  <a:pos x="connsiteX9931" y="connsiteY9931"/>
                </a:cxn>
                <a:cxn ang="0">
                  <a:pos x="connsiteX9932" y="connsiteY9932"/>
                </a:cxn>
                <a:cxn ang="0">
                  <a:pos x="connsiteX9933" y="connsiteY9933"/>
                </a:cxn>
                <a:cxn ang="0">
                  <a:pos x="connsiteX9934" y="connsiteY9934"/>
                </a:cxn>
                <a:cxn ang="0">
                  <a:pos x="connsiteX9935" y="connsiteY9935"/>
                </a:cxn>
                <a:cxn ang="0">
                  <a:pos x="connsiteX9936" y="connsiteY9936"/>
                </a:cxn>
                <a:cxn ang="0">
                  <a:pos x="connsiteX9937" y="connsiteY9937"/>
                </a:cxn>
                <a:cxn ang="0">
                  <a:pos x="connsiteX9938" y="connsiteY9938"/>
                </a:cxn>
                <a:cxn ang="0">
                  <a:pos x="connsiteX9939" y="connsiteY9939"/>
                </a:cxn>
                <a:cxn ang="0">
                  <a:pos x="connsiteX9940" y="connsiteY9940"/>
                </a:cxn>
                <a:cxn ang="0">
                  <a:pos x="connsiteX9941" y="connsiteY9941"/>
                </a:cxn>
                <a:cxn ang="0">
                  <a:pos x="connsiteX9942" y="connsiteY9942"/>
                </a:cxn>
                <a:cxn ang="0">
                  <a:pos x="connsiteX9943" y="connsiteY9943"/>
                </a:cxn>
                <a:cxn ang="0">
                  <a:pos x="connsiteX9944" y="connsiteY9944"/>
                </a:cxn>
                <a:cxn ang="0">
                  <a:pos x="connsiteX9945" y="connsiteY9945"/>
                </a:cxn>
                <a:cxn ang="0">
                  <a:pos x="connsiteX9946" y="connsiteY9946"/>
                </a:cxn>
                <a:cxn ang="0">
                  <a:pos x="connsiteX9947" y="connsiteY9947"/>
                </a:cxn>
                <a:cxn ang="0">
                  <a:pos x="connsiteX9948" y="connsiteY9948"/>
                </a:cxn>
                <a:cxn ang="0">
                  <a:pos x="connsiteX9949" y="connsiteY9949"/>
                </a:cxn>
                <a:cxn ang="0">
                  <a:pos x="connsiteX9950" y="connsiteY9950"/>
                </a:cxn>
                <a:cxn ang="0">
                  <a:pos x="connsiteX9951" y="connsiteY9951"/>
                </a:cxn>
                <a:cxn ang="0">
                  <a:pos x="connsiteX9952" y="connsiteY9952"/>
                </a:cxn>
                <a:cxn ang="0">
                  <a:pos x="connsiteX9953" y="connsiteY9953"/>
                </a:cxn>
                <a:cxn ang="0">
                  <a:pos x="connsiteX9954" y="connsiteY9954"/>
                </a:cxn>
                <a:cxn ang="0">
                  <a:pos x="connsiteX9955" y="connsiteY9955"/>
                </a:cxn>
                <a:cxn ang="0">
                  <a:pos x="connsiteX9956" y="connsiteY9956"/>
                </a:cxn>
                <a:cxn ang="0">
                  <a:pos x="connsiteX9957" y="connsiteY9957"/>
                </a:cxn>
                <a:cxn ang="0">
                  <a:pos x="connsiteX9958" y="connsiteY9958"/>
                </a:cxn>
                <a:cxn ang="0">
                  <a:pos x="connsiteX9959" y="connsiteY9959"/>
                </a:cxn>
                <a:cxn ang="0">
                  <a:pos x="connsiteX9960" y="connsiteY9960"/>
                </a:cxn>
                <a:cxn ang="0">
                  <a:pos x="connsiteX9961" y="connsiteY9961"/>
                </a:cxn>
                <a:cxn ang="0">
                  <a:pos x="connsiteX9962" y="connsiteY9962"/>
                </a:cxn>
                <a:cxn ang="0">
                  <a:pos x="connsiteX9963" y="connsiteY9963"/>
                </a:cxn>
                <a:cxn ang="0">
                  <a:pos x="connsiteX9964" y="connsiteY9964"/>
                </a:cxn>
                <a:cxn ang="0">
                  <a:pos x="connsiteX9965" y="connsiteY9965"/>
                </a:cxn>
                <a:cxn ang="0">
                  <a:pos x="connsiteX9966" y="connsiteY9966"/>
                </a:cxn>
                <a:cxn ang="0">
                  <a:pos x="connsiteX9967" y="connsiteY9967"/>
                </a:cxn>
                <a:cxn ang="0">
                  <a:pos x="connsiteX9968" y="connsiteY9968"/>
                </a:cxn>
                <a:cxn ang="0">
                  <a:pos x="connsiteX9969" y="connsiteY9969"/>
                </a:cxn>
                <a:cxn ang="0">
                  <a:pos x="connsiteX9970" y="connsiteY9970"/>
                </a:cxn>
                <a:cxn ang="0">
                  <a:pos x="connsiteX9971" y="connsiteY9971"/>
                </a:cxn>
                <a:cxn ang="0">
                  <a:pos x="connsiteX9972" y="connsiteY9972"/>
                </a:cxn>
                <a:cxn ang="0">
                  <a:pos x="connsiteX9973" y="connsiteY9973"/>
                </a:cxn>
                <a:cxn ang="0">
                  <a:pos x="connsiteX9974" y="connsiteY9974"/>
                </a:cxn>
                <a:cxn ang="0">
                  <a:pos x="connsiteX9975" y="connsiteY9975"/>
                </a:cxn>
                <a:cxn ang="0">
                  <a:pos x="connsiteX9976" y="connsiteY9976"/>
                </a:cxn>
                <a:cxn ang="0">
                  <a:pos x="connsiteX9977" y="connsiteY9977"/>
                </a:cxn>
                <a:cxn ang="0">
                  <a:pos x="connsiteX9978" y="connsiteY9978"/>
                </a:cxn>
                <a:cxn ang="0">
                  <a:pos x="connsiteX9979" y="connsiteY9979"/>
                </a:cxn>
                <a:cxn ang="0">
                  <a:pos x="connsiteX9980" y="connsiteY9980"/>
                </a:cxn>
                <a:cxn ang="0">
                  <a:pos x="connsiteX9981" y="connsiteY9981"/>
                </a:cxn>
                <a:cxn ang="0">
                  <a:pos x="connsiteX9982" y="connsiteY9982"/>
                </a:cxn>
                <a:cxn ang="0">
                  <a:pos x="connsiteX9983" y="connsiteY9983"/>
                </a:cxn>
                <a:cxn ang="0">
                  <a:pos x="connsiteX9984" y="connsiteY9984"/>
                </a:cxn>
                <a:cxn ang="0">
                  <a:pos x="connsiteX9985" y="connsiteY9985"/>
                </a:cxn>
                <a:cxn ang="0">
                  <a:pos x="connsiteX9986" y="connsiteY9986"/>
                </a:cxn>
                <a:cxn ang="0">
                  <a:pos x="connsiteX9987" y="connsiteY9987"/>
                </a:cxn>
                <a:cxn ang="0">
                  <a:pos x="connsiteX9988" y="connsiteY9988"/>
                </a:cxn>
                <a:cxn ang="0">
                  <a:pos x="connsiteX9989" y="connsiteY9989"/>
                </a:cxn>
                <a:cxn ang="0">
                  <a:pos x="connsiteX9990" y="connsiteY9990"/>
                </a:cxn>
                <a:cxn ang="0">
                  <a:pos x="connsiteX9991" y="connsiteY9991"/>
                </a:cxn>
                <a:cxn ang="0">
                  <a:pos x="connsiteX9992" y="connsiteY9992"/>
                </a:cxn>
                <a:cxn ang="0">
                  <a:pos x="connsiteX9993" y="connsiteY9993"/>
                </a:cxn>
                <a:cxn ang="0">
                  <a:pos x="connsiteX9994" y="connsiteY9994"/>
                </a:cxn>
                <a:cxn ang="0">
                  <a:pos x="connsiteX9995" y="connsiteY9995"/>
                </a:cxn>
                <a:cxn ang="0">
                  <a:pos x="connsiteX9996" y="connsiteY9996"/>
                </a:cxn>
                <a:cxn ang="0">
                  <a:pos x="connsiteX9997" y="connsiteY9997"/>
                </a:cxn>
                <a:cxn ang="0">
                  <a:pos x="connsiteX9998" y="connsiteY9998"/>
                </a:cxn>
                <a:cxn ang="0">
                  <a:pos x="connsiteX9999" y="connsiteY9999"/>
                </a:cxn>
                <a:cxn ang="0">
                  <a:pos x="connsiteX10000" y="connsiteY10000"/>
                </a:cxn>
                <a:cxn ang="0">
                  <a:pos x="connsiteX10001" y="connsiteY10001"/>
                </a:cxn>
                <a:cxn ang="0">
                  <a:pos x="connsiteX10002" y="connsiteY10002"/>
                </a:cxn>
                <a:cxn ang="0">
                  <a:pos x="connsiteX10003" y="connsiteY10003"/>
                </a:cxn>
                <a:cxn ang="0">
                  <a:pos x="connsiteX10004" y="connsiteY10004"/>
                </a:cxn>
                <a:cxn ang="0">
                  <a:pos x="connsiteX10005" y="connsiteY10005"/>
                </a:cxn>
                <a:cxn ang="0">
                  <a:pos x="connsiteX10006" y="connsiteY10006"/>
                </a:cxn>
                <a:cxn ang="0">
                  <a:pos x="connsiteX10007" y="connsiteY10007"/>
                </a:cxn>
                <a:cxn ang="0">
                  <a:pos x="connsiteX10008" y="connsiteY10008"/>
                </a:cxn>
                <a:cxn ang="0">
                  <a:pos x="connsiteX10009" y="connsiteY10009"/>
                </a:cxn>
                <a:cxn ang="0">
                  <a:pos x="connsiteX10010" y="connsiteY10010"/>
                </a:cxn>
                <a:cxn ang="0">
                  <a:pos x="connsiteX10011" y="connsiteY10011"/>
                </a:cxn>
                <a:cxn ang="0">
                  <a:pos x="connsiteX10012" y="connsiteY10012"/>
                </a:cxn>
                <a:cxn ang="0">
                  <a:pos x="connsiteX10013" y="connsiteY10013"/>
                </a:cxn>
                <a:cxn ang="0">
                  <a:pos x="connsiteX10014" y="connsiteY10014"/>
                </a:cxn>
                <a:cxn ang="0">
                  <a:pos x="connsiteX10015" y="connsiteY10015"/>
                </a:cxn>
                <a:cxn ang="0">
                  <a:pos x="connsiteX10016" y="connsiteY10016"/>
                </a:cxn>
                <a:cxn ang="0">
                  <a:pos x="connsiteX10017" y="connsiteY10017"/>
                </a:cxn>
                <a:cxn ang="0">
                  <a:pos x="connsiteX10018" y="connsiteY10018"/>
                </a:cxn>
                <a:cxn ang="0">
                  <a:pos x="connsiteX10019" y="connsiteY10019"/>
                </a:cxn>
                <a:cxn ang="0">
                  <a:pos x="connsiteX10020" y="connsiteY10020"/>
                </a:cxn>
                <a:cxn ang="0">
                  <a:pos x="connsiteX10021" y="connsiteY10021"/>
                </a:cxn>
                <a:cxn ang="0">
                  <a:pos x="connsiteX10022" y="connsiteY10022"/>
                </a:cxn>
                <a:cxn ang="0">
                  <a:pos x="connsiteX10023" y="connsiteY10023"/>
                </a:cxn>
                <a:cxn ang="0">
                  <a:pos x="connsiteX10024" y="connsiteY10024"/>
                </a:cxn>
                <a:cxn ang="0">
                  <a:pos x="connsiteX10025" y="connsiteY10025"/>
                </a:cxn>
                <a:cxn ang="0">
                  <a:pos x="connsiteX10026" y="connsiteY10026"/>
                </a:cxn>
                <a:cxn ang="0">
                  <a:pos x="connsiteX10027" y="connsiteY10027"/>
                </a:cxn>
                <a:cxn ang="0">
                  <a:pos x="connsiteX10028" y="connsiteY10028"/>
                </a:cxn>
                <a:cxn ang="0">
                  <a:pos x="connsiteX10029" y="connsiteY10029"/>
                </a:cxn>
                <a:cxn ang="0">
                  <a:pos x="connsiteX10030" y="connsiteY10030"/>
                </a:cxn>
                <a:cxn ang="0">
                  <a:pos x="connsiteX10031" y="connsiteY10031"/>
                </a:cxn>
                <a:cxn ang="0">
                  <a:pos x="connsiteX10032" y="connsiteY10032"/>
                </a:cxn>
                <a:cxn ang="0">
                  <a:pos x="connsiteX10033" y="connsiteY10033"/>
                </a:cxn>
                <a:cxn ang="0">
                  <a:pos x="connsiteX10034" y="connsiteY10034"/>
                </a:cxn>
                <a:cxn ang="0">
                  <a:pos x="connsiteX10035" y="connsiteY10035"/>
                </a:cxn>
                <a:cxn ang="0">
                  <a:pos x="connsiteX10036" y="connsiteY10036"/>
                </a:cxn>
                <a:cxn ang="0">
                  <a:pos x="connsiteX10037" y="connsiteY10037"/>
                </a:cxn>
                <a:cxn ang="0">
                  <a:pos x="connsiteX10038" y="connsiteY10038"/>
                </a:cxn>
                <a:cxn ang="0">
                  <a:pos x="connsiteX10039" y="connsiteY10039"/>
                </a:cxn>
                <a:cxn ang="0">
                  <a:pos x="connsiteX10040" y="connsiteY10040"/>
                </a:cxn>
                <a:cxn ang="0">
                  <a:pos x="connsiteX10041" y="connsiteY10041"/>
                </a:cxn>
                <a:cxn ang="0">
                  <a:pos x="connsiteX10042" y="connsiteY10042"/>
                </a:cxn>
                <a:cxn ang="0">
                  <a:pos x="connsiteX10043" y="connsiteY10043"/>
                </a:cxn>
                <a:cxn ang="0">
                  <a:pos x="connsiteX10044" y="connsiteY10044"/>
                </a:cxn>
                <a:cxn ang="0">
                  <a:pos x="connsiteX10045" y="connsiteY10045"/>
                </a:cxn>
                <a:cxn ang="0">
                  <a:pos x="connsiteX10046" y="connsiteY10046"/>
                </a:cxn>
                <a:cxn ang="0">
                  <a:pos x="connsiteX10047" y="connsiteY10047"/>
                </a:cxn>
                <a:cxn ang="0">
                  <a:pos x="connsiteX10048" y="connsiteY10048"/>
                </a:cxn>
                <a:cxn ang="0">
                  <a:pos x="connsiteX10049" y="connsiteY10049"/>
                </a:cxn>
                <a:cxn ang="0">
                  <a:pos x="connsiteX10050" y="connsiteY10050"/>
                </a:cxn>
                <a:cxn ang="0">
                  <a:pos x="connsiteX10051" y="connsiteY10051"/>
                </a:cxn>
                <a:cxn ang="0">
                  <a:pos x="connsiteX10052" y="connsiteY10052"/>
                </a:cxn>
                <a:cxn ang="0">
                  <a:pos x="connsiteX10053" y="connsiteY10053"/>
                </a:cxn>
                <a:cxn ang="0">
                  <a:pos x="connsiteX10054" y="connsiteY10054"/>
                </a:cxn>
                <a:cxn ang="0">
                  <a:pos x="connsiteX10055" y="connsiteY10055"/>
                </a:cxn>
                <a:cxn ang="0">
                  <a:pos x="connsiteX10056" y="connsiteY10056"/>
                </a:cxn>
                <a:cxn ang="0">
                  <a:pos x="connsiteX10057" y="connsiteY10057"/>
                </a:cxn>
                <a:cxn ang="0">
                  <a:pos x="connsiteX10058" y="connsiteY10058"/>
                </a:cxn>
                <a:cxn ang="0">
                  <a:pos x="connsiteX10059" y="connsiteY10059"/>
                </a:cxn>
                <a:cxn ang="0">
                  <a:pos x="connsiteX10060" y="connsiteY10060"/>
                </a:cxn>
                <a:cxn ang="0">
                  <a:pos x="connsiteX10061" y="connsiteY10061"/>
                </a:cxn>
                <a:cxn ang="0">
                  <a:pos x="connsiteX10062" y="connsiteY10062"/>
                </a:cxn>
                <a:cxn ang="0">
                  <a:pos x="connsiteX10063" y="connsiteY10063"/>
                </a:cxn>
                <a:cxn ang="0">
                  <a:pos x="connsiteX10064" y="connsiteY10064"/>
                </a:cxn>
                <a:cxn ang="0">
                  <a:pos x="connsiteX10065" y="connsiteY10065"/>
                </a:cxn>
                <a:cxn ang="0">
                  <a:pos x="connsiteX10066" y="connsiteY10066"/>
                </a:cxn>
                <a:cxn ang="0">
                  <a:pos x="connsiteX10067" y="connsiteY10067"/>
                </a:cxn>
                <a:cxn ang="0">
                  <a:pos x="connsiteX10068" y="connsiteY10068"/>
                </a:cxn>
                <a:cxn ang="0">
                  <a:pos x="connsiteX10069" y="connsiteY10069"/>
                </a:cxn>
                <a:cxn ang="0">
                  <a:pos x="connsiteX10070" y="connsiteY10070"/>
                </a:cxn>
                <a:cxn ang="0">
                  <a:pos x="connsiteX10071" y="connsiteY10071"/>
                </a:cxn>
                <a:cxn ang="0">
                  <a:pos x="connsiteX10072" y="connsiteY10072"/>
                </a:cxn>
                <a:cxn ang="0">
                  <a:pos x="connsiteX10073" y="connsiteY10073"/>
                </a:cxn>
                <a:cxn ang="0">
                  <a:pos x="connsiteX10074" y="connsiteY10074"/>
                </a:cxn>
                <a:cxn ang="0">
                  <a:pos x="connsiteX10075" y="connsiteY10075"/>
                </a:cxn>
                <a:cxn ang="0">
                  <a:pos x="connsiteX10076" y="connsiteY10076"/>
                </a:cxn>
                <a:cxn ang="0">
                  <a:pos x="connsiteX10077" y="connsiteY10077"/>
                </a:cxn>
                <a:cxn ang="0">
                  <a:pos x="connsiteX10078" y="connsiteY10078"/>
                </a:cxn>
                <a:cxn ang="0">
                  <a:pos x="connsiteX10079" y="connsiteY10079"/>
                </a:cxn>
                <a:cxn ang="0">
                  <a:pos x="connsiteX10080" y="connsiteY10080"/>
                </a:cxn>
                <a:cxn ang="0">
                  <a:pos x="connsiteX10081" y="connsiteY10081"/>
                </a:cxn>
                <a:cxn ang="0">
                  <a:pos x="connsiteX10082" y="connsiteY10082"/>
                </a:cxn>
                <a:cxn ang="0">
                  <a:pos x="connsiteX10083" y="connsiteY10083"/>
                </a:cxn>
                <a:cxn ang="0">
                  <a:pos x="connsiteX10084" y="connsiteY10084"/>
                </a:cxn>
                <a:cxn ang="0">
                  <a:pos x="connsiteX10085" y="connsiteY10085"/>
                </a:cxn>
                <a:cxn ang="0">
                  <a:pos x="connsiteX10086" y="connsiteY10086"/>
                </a:cxn>
                <a:cxn ang="0">
                  <a:pos x="connsiteX10087" y="connsiteY10087"/>
                </a:cxn>
                <a:cxn ang="0">
                  <a:pos x="connsiteX10088" y="connsiteY10088"/>
                </a:cxn>
                <a:cxn ang="0">
                  <a:pos x="connsiteX10089" y="connsiteY10089"/>
                </a:cxn>
                <a:cxn ang="0">
                  <a:pos x="connsiteX10090" y="connsiteY10090"/>
                </a:cxn>
                <a:cxn ang="0">
                  <a:pos x="connsiteX10091" y="connsiteY10091"/>
                </a:cxn>
                <a:cxn ang="0">
                  <a:pos x="connsiteX10092" y="connsiteY10092"/>
                </a:cxn>
                <a:cxn ang="0">
                  <a:pos x="connsiteX10093" y="connsiteY10093"/>
                </a:cxn>
                <a:cxn ang="0">
                  <a:pos x="connsiteX10094" y="connsiteY10094"/>
                </a:cxn>
                <a:cxn ang="0">
                  <a:pos x="connsiteX10095" y="connsiteY10095"/>
                </a:cxn>
                <a:cxn ang="0">
                  <a:pos x="connsiteX10096" y="connsiteY10096"/>
                </a:cxn>
                <a:cxn ang="0">
                  <a:pos x="connsiteX10097" y="connsiteY10097"/>
                </a:cxn>
                <a:cxn ang="0">
                  <a:pos x="connsiteX10098" y="connsiteY10098"/>
                </a:cxn>
                <a:cxn ang="0">
                  <a:pos x="connsiteX10099" y="connsiteY10099"/>
                </a:cxn>
                <a:cxn ang="0">
                  <a:pos x="connsiteX10100" y="connsiteY10100"/>
                </a:cxn>
                <a:cxn ang="0">
                  <a:pos x="connsiteX10101" y="connsiteY10101"/>
                </a:cxn>
                <a:cxn ang="0">
                  <a:pos x="connsiteX10102" y="connsiteY10102"/>
                </a:cxn>
                <a:cxn ang="0">
                  <a:pos x="connsiteX10103" y="connsiteY10103"/>
                </a:cxn>
                <a:cxn ang="0">
                  <a:pos x="connsiteX10104" y="connsiteY10104"/>
                </a:cxn>
                <a:cxn ang="0">
                  <a:pos x="connsiteX10105" y="connsiteY10105"/>
                </a:cxn>
                <a:cxn ang="0">
                  <a:pos x="connsiteX10106" y="connsiteY10106"/>
                </a:cxn>
                <a:cxn ang="0">
                  <a:pos x="connsiteX10107" y="connsiteY10107"/>
                </a:cxn>
                <a:cxn ang="0">
                  <a:pos x="connsiteX10108" y="connsiteY10108"/>
                </a:cxn>
                <a:cxn ang="0">
                  <a:pos x="connsiteX10109" y="connsiteY10109"/>
                </a:cxn>
                <a:cxn ang="0">
                  <a:pos x="connsiteX10110" y="connsiteY10110"/>
                </a:cxn>
                <a:cxn ang="0">
                  <a:pos x="connsiteX10111" y="connsiteY10111"/>
                </a:cxn>
                <a:cxn ang="0">
                  <a:pos x="connsiteX10112" y="connsiteY10112"/>
                </a:cxn>
                <a:cxn ang="0">
                  <a:pos x="connsiteX10113" y="connsiteY10113"/>
                </a:cxn>
                <a:cxn ang="0">
                  <a:pos x="connsiteX10114" y="connsiteY10114"/>
                </a:cxn>
                <a:cxn ang="0">
                  <a:pos x="connsiteX10115" y="connsiteY10115"/>
                </a:cxn>
                <a:cxn ang="0">
                  <a:pos x="connsiteX10116" y="connsiteY10116"/>
                </a:cxn>
                <a:cxn ang="0">
                  <a:pos x="connsiteX10117" y="connsiteY10117"/>
                </a:cxn>
                <a:cxn ang="0">
                  <a:pos x="connsiteX10118" y="connsiteY10118"/>
                </a:cxn>
                <a:cxn ang="0">
                  <a:pos x="connsiteX10119" y="connsiteY10119"/>
                </a:cxn>
                <a:cxn ang="0">
                  <a:pos x="connsiteX10120" y="connsiteY10120"/>
                </a:cxn>
                <a:cxn ang="0">
                  <a:pos x="connsiteX10121" y="connsiteY10121"/>
                </a:cxn>
                <a:cxn ang="0">
                  <a:pos x="connsiteX10122" y="connsiteY10122"/>
                </a:cxn>
                <a:cxn ang="0">
                  <a:pos x="connsiteX10123" y="connsiteY10123"/>
                </a:cxn>
                <a:cxn ang="0">
                  <a:pos x="connsiteX10124" y="connsiteY10124"/>
                </a:cxn>
                <a:cxn ang="0">
                  <a:pos x="connsiteX10125" y="connsiteY10125"/>
                </a:cxn>
                <a:cxn ang="0">
                  <a:pos x="connsiteX10126" y="connsiteY10126"/>
                </a:cxn>
                <a:cxn ang="0">
                  <a:pos x="connsiteX10127" y="connsiteY10127"/>
                </a:cxn>
                <a:cxn ang="0">
                  <a:pos x="connsiteX10128" y="connsiteY10128"/>
                </a:cxn>
                <a:cxn ang="0">
                  <a:pos x="connsiteX10129" y="connsiteY10129"/>
                </a:cxn>
                <a:cxn ang="0">
                  <a:pos x="connsiteX10130" y="connsiteY10130"/>
                </a:cxn>
                <a:cxn ang="0">
                  <a:pos x="connsiteX10131" y="connsiteY10131"/>
                </a:cxn>
                <a:cxn ang="0">
                  <a:pos x="connsiteX10132" y="connsiteY10132"/>
                </a:cxn>
                <a:cxn ang="0">
                  <a:pos x="connsiteX10133" y="connsiteY10133"/>
                </a:cxn>
                <a:cxn ang="0">
                  <a:pos x="connsiteX10134" y="connsiteY10134"/>
                </a:cxn>
                <a:cxn ang="0">
                  <a:pos x="connsiteX10135" y="connsiteY10135"/>
                </a:cxn>
                <a:cxn ang="0">
                  <a:pos x="connsiteX10136" y="connsiteY10136"/>
                </a:cxn>
                <a:cxn ang="0">
                  <a:pos x="connsiteX10137" y="connsiteY10137"/>
                </a:cxn>
                <a:cxn ang="0">
                  <a:pos x="connsiteX10138" y="connsiteY10138"/>
                </a:cxn>
                <a:cxn ang="0">
                  <a:pos x="connsiteX10139" y="connsiteY10139"/>
                </a:cxn>
                <a:cxn ang="0">
                  <a:pos x="connsiteX10140" y="connsiteY10140"/>
                </a:cxn>
                <a:cxn ang="0">
                  <a:pos x="connsiteX10141" y="connsiteY10141"/>
                </a:cxn>
                <a:cxn ang="0">
                  <a:pos x="connsiteX10142" y="connsiteY10142"/>
                </a:cxn>
                <a:cxn ang="0">
                  <a:pos x="connsiteX10143" y="connsiteY10143"/>
                </a:cxn>
                <a:cxn ang="0">
                  <a:pos x="connsiteX10144" y="connsiteY10144"/>
                </a:cxn>
                <a:cxn ang="0">
                  <a:pos x="connsiteX10145" y="connsiteY10145"/>
                </a:cxn>
                <a:cxn ang="0">
                  <a:pos x="connsiteX10146" y="connsiteY10146"/>
                </a:cxn>
                <a:cxn ang="0">
                  <a:pos x="connsiteX10147" y="connsiteY10147"/>
                </a:cxn>
                <a:cxn ang="0">
                  <a:pos x="connsiteX10148" y="connsiteY10148"/>
                </a:cxn>
                <a:cxn ang="0">
                  <a:pos x="connsiteX10149" y="connsiteY10149"/>
                </a:cxn>
                <a:cxn ang="0">
                  <a:pos x="connsiteX10150" y="connsiteY10150"/>
                </a:cxn>
                <a:cxn ang="0">
                  <a:pos x="connsiteX10151" y="connsiteY10151"/>
                </a:cxn>
                <a:cxn ang="0">
                  <a:pos x="connsiteX10152" y="connsiteY10152"/>
                </a:cxn>
                <a:cxn ang="0">
                  <a:pos x="connsiteX10153" y="connsiteY10153"/>
                </a:cxn>
                <a:cxn ang="0">
                  <a:pos x="connsiteX10154" y="connsiteY10154"/>
                </a:cxn>
                <a:cxn ang="0">
                  <a:pos x="connsiteX10155" y="connsiteY10155"/>
                </a:cxn>
                <a:cxn ang="0">
                  <a:pos x="connsiteX10156" y="connsiteY10156"/>
                </a:cxn>
                <a:cxn ang="0">
                  <a:pos x="connsiteX10157" y="connsiteY10157"/>
                </a:cxn>
                <a:cxn ang="0">
                  <a:pos x="connsiteX10158" y="connsiteY10158"/>
                </a:cxn>
                <a:cxn ang="0">
                  <a:pos x="connsiteX10159" y="connsiteY10159"/>
                </a:cxn>
                <a:cxn ang="0">
                  <a:pos x="connsiteX10160" y="connsiteY10160"/>
                </a:cxn>
                <a:cxn ang="0">
                  <a:pos x="connsiteX10161" y="connsiteY10161"/>
                </a:cxn>
                <a:cxn ang="0">
                  <a:pos x="connsiteX10162" y="connsiteY10162"/>
                </a:cxn>
                <a:cxn ang="0">
                  <a:pos x="connsiteX10163" y="connsiteY10163"/>
                </a:cxn>
                <a:cxn ang="0">
                  <a:pos x="connsiteX10164" y="connsiteY10164"/>
                </a:cxn>
                <a:cxn ang="0">
                  <a:pos x="connsiteX10165" y="connsiteY10165"/>
                </a:cxn>
                <a:cxn ang="0">
                  <a:pos x="connsiteX10166" y="connsiteY10166"/>
                </a:cxn>
                <a:cxn ang="0">
                  <a:pos x="connsiteX10167" y="connsiteY10167"/>
                </a:cxn>
                <a:cxn ang="0">
                  <a:pos x="connsiteX10168" y="connsiteY10168"/>
                </a:cxn>
                <a:cxn ang="0">
                  <a:pos x="connsiteX10169" y="connsiteY10169"/>
                </a:cxn>
                <a:cxn ang="0">
                  <a:pos x="connsiteX10170" y="connsiteY10170"/>
                </a:cxn>
                <a:cxn ang="0">
                  <a:pos x="connsiteX10171" y="connsiteY10171"/>
                </a:cxn>
                <a:cxn ang="0">
                  <a:pos x="connsiteX10172" y="connsiteY10172"/>
                </a:cxn>
                <a:cxn ang="0">
                  <a:pos x="connsiteX10173" y="connsiteY10173"/>
                </a:cxn>
                <a:cxn ang="0">
                  <a:pos x="connsiteX10174" y="connsiteY10174"/>
                </a:cxn>
                <a:cxn ang="0">
                  <a:pos x="connsiteX10175" y="connsiteY10175"/>
                </a:cxn>
                <a:cxn ang="0">
                  <a:pos x="connsiteX10176" y="connsiteY10176"/>
                </a:cxn>
                <a:cxn ang="0">
                  <a:pos x="connsiteX10177" y="connsiteY10177"/>
                </a:cxn>
                <a:cxn ang="0">
                  <a:pos x="connsiteX10178" y="connsiteY10178"/>
                </a:cxn>
                <a:cxn ang="0">
                  <a:pos x="connsiteX10179" y="connsiteY10179"/>
                </a:cxn>
                <a:cxn ang="0">
                  <a:pos x="connsiteX10180" y="connsiteY10180"/>
                </a:cxn>
                <a:cxn ang="0">
                  <a:pos x="connsiteX10181" y="connsiteY10181"/>
                </a:cxn>
                <a:cxn ang="0">
                  <a:pos x="connsiteX10182" y="connsiteY10182"/>
                </a:cxn>
                <a:cxn ang="0">
                  <a:pos x="connsiteX10183" y="connsiteY10183"/>
                </a:cxn>
                <a:cxn ang="0">
                  <a:pos x="connsiteX10184" y="connsiteY10184"/>
                </a:cxn>
                <a:cxn ang="0">
                  <a:pos x="connsiteX10185" y="connsiteY10185"/>
                </a:cxn>
                <a:cxn ang="0">
                  <a:pos x="connsiteX10186" y="connsiteY10186"/>
                </a:cxn>
                <a:cxn ang="0">
                  <a:pos x="connsiteX10187" y="connsiteY10187"/>
                </a:cxn>
                <a:cxn ang="0">
                  <a:pos x="connsiteX10188" y="connsiteY10188"/>
                </a:cxn>
                <a:cxn ang="0">
                  <a:pos x="connsiteX10189" y="connsiteY10189"/>
                </a:cxn>
                <a:cxn ang="0">
                  <a:pos x="connsiteX10190" y="connsiteY10190"/>
                </a:cxn>
                <a:cxn ang="0">
                  <a:pos x="connsiteX10191" y="connsiteY10191"/>
                </a:cxn>
                <a:cxn ang="0">
                  <a:pos x="connsiteX10192" y="connsiteY10192"/>
                </a:cxn>
                <a:cxn ang="0">
                  <a:pos x="connsiteX10193" y="connsiteY10193"/>
                </a:cxn>
                <a:cxn ang="0">
                  <a:pos x="connsiteX10194" y="connsiteY10194"/>
                </a:cxn>
                <a:cxn ang="0">
                  <a:pos x="connsiteX10195" y="connsiteY10195"/>
                </a:cxn>
                <a:cxn ang="0">
                  <a:pos x="connsiteX10196" y="connsiteY10196"/>
                </a:cxn>
                <a:cxn ang="0">
                  <a:pos x="connsiteX10197" y="connsiteY10197"/>
                </a:cxn>
                <a:cxn ang="0">
                  <a:pos x="connsiteX10198" y="connsiteY10198"/>
                </a:cxn>
                <a:cxn ang="0">
                  <a:pos x="connsiteX10199" y="connsiteY10199"/>
                </a:cxn>
                <a:cxn ang="0">
                  <a:pos x="connsiteX10200" y="connsiteY10200"/>
                </a:cxn>
                <a:cxn ang="0">
                  <a:pos x="connsiteX10201" y="connsiteY10201"/>
                </a:cxn>
                <a:cxn ang="0">
                  <a:pos x="connsiteX10202" y="connsiteY10202"/>
                </a:cxn>
                <a:cxn ang="0">
                  <a:pos x="connsiteX10203" y="connsiteY10203"/>
                </a:cxn>
                <a:cxn ang="0">
                  <a:pos x="connsiteX10204" y="connsiteY10204"/>
                </a:cxn>
                <a:cxn ang="0">
                  <a:pos x="connsiteX10205" y="connsiteY10205"/>
                </a:cxn>
                <a:cxn ang="0">
                  <a:pos x="connsiteX10206" y="connsiteY10206"/>
                </a:cxn>
                <a:cxn ang="0">
                  <a:pos x="connsiteX10207" y="connsiteY10207"/>
                </a:cxn>
                <a:cxn ang="0">
                  <a:pos x="connsiteX10208" y="connsiteY10208"/>
                </a:cxn>
                <a:cxn ang="0">
                  <a:pos x="connsiteX10209" y="connsiteY10209"/>
                </a:cxn>
                <a:cxn ang="0">
                  <a:pos x="connsiteX10210" y="connsiteY10210"/>
                </a:cxn>
                <a:cxn ang="0">
                  <a:pos x="connsiteX10211" y="connsiteY10211"/>
                </a:cxn>
                <a:cxn ang="0">
                  <a:pos x="connsiteX10212" y="connsiteY10212"/>
                </a:cxn>
                <a:cxn ang="0">
                  <a:pos x="connsiteX10213" y="connsiteY10213"/>
                </a:cxn>
                <a:cxn ang="0">
                  <a:pos x="connsiteX10214" y="connsiteY10214"/>
                </a:cxn>
                <a:cxn ang="0">
                  <a:pos x="connsiteX10215" y="connsiteY10215"/>
                </a:cxn>
                <a:cxn ang="0">
                  <a:pos x="connsiteX10216" y="connsiteY10216"/>
                </a:cxn>
                <a:cxn ang="0">
                  <a:pos x="connsiteX10217" y="connsiteY10217"/>
                </a:cxn>
                <a:cxn ang="0">
                  <a:pos x="connsiteX10218" y="connsiteY10218"/>
                </a:cxn>
                <a:cxn ang="0">
                  <a:pos x="connsiteX10219" y="connsiteY10219"/>
                </a:cxn>
                <a:cxn ang="0">
                  <a:pos x="connsiteX10220" y="connsiteY10220"/>
                </a:cxn>
                <a:cxn ang="0">
                  <a:pos x="connsiteX10221" y="connsiteY10221"/>
                </a:cxn>
                <a:cxn ang="0">
                  <a:pos x="connsiteX10222" y="connsiteY10222"/>
                </a:cxn>
                <a:cxn ang="0">
                  <a:pos x="connsiteX10223" y="connsiteY10223"/>
                </a:cxn>
                <a:cxn ang="0">
                  <a:pos x="connsiteX10224" y="connsiteY10224"/>
                </a:cxn>
                <a:cxn ang="0">
                  <a:pos x="connsiteX10225" y="connsiteY10225"/>
                </a:cxn>
                <a:cxn ang="0">
                  <a:pos x="connsiteX10226" y="connsiteY10226"/>
                </a:cxn>
                <a:cxn ang="0">
                  <a:pos x="connsiteX10227" y="connsiteY10227"/>
                </a:cxn>
                <a:cxn ang="0">
                  <a:pos x="connsiteX10228" y="connsiteY10228"/>
                </a:cxn>
                <a:cxn ang="0">
                  <a:pos x="connsiteX10229" y="connsiteY10229"/>
                </a:cxn>
                <a:cxn ang="0">
                  <a:pos x="connsiteX10230" y="connsiteY10230"/>
                </a:cxn>
                <a:cxn ang="0">
                  <a:pos x="connsiteX10231" y="connsiteY10231"/>
                </a:cxn>
                <a:cxn ang="0">
                  <a:pos x="connsiteX10232" y="connsiteY10232"/>
                </a:cxn>
                <a:cxn ang="0">
                  <a:pos x="connsiteX10233" y="connsiteY10233"/>
                </a:cxn>
                <a:cxn ang="0">
                  <a:pos x="connsiteX10234" y="connsiteY10234"/>
                </a:cxn>
                <a:cxn ang="0">
                  <a:pos x="connsiteX10235" y="connsiteY10235"/>
                </a:cxn>
                <a:cxn ang="0">
                  <a:pos x="connsiteX10236" y="connsiteY10236"/>
                </a:cxn>
                <a:cxn ang="0">
                  <a:pos x="connsiteX10237" y="connsiteY10237"/>
                </a:cxn>
                <a:cxn ang="0">
                  <a:pos x="connsiteX10238" y="connsiteY10238"/>
                </a:cxn>
                <a:cxn ang="0">
                  <a:pos x="connsiteX10239" y="connsiteY10239"/>
                </a:cxn>
                <a:cxn ang="0">
                  <a:pos x="connsiteX10240" y="connsiteY10240"/>
                </a:cxn>
                <a:cxn ang="0">
                  <a:pos x="connsiteX10241" y="connsiteY10241"/>
                </a:cxn>
                <a:cxn ang="0">
                  <a:pos x="connsiteX10242" y="connsiteY10242"/>
                </a:cxn>
                <a:cxn ang="0">
                  <a:pos x="connsiteX10243" y="connsiteY10243"/>
                </a:cxn>
                <a:cxn ang="0">
                  <a:pos x="connsiteX10244" y="connsiteY10244"/>
                </a:cxn>
                <a:cxn ang="0">
                  <a:pos x="connsiteX10245" y="connsiteY10245"/>
                </a:cxn>
                <a:cxn ang="0">
                  <a:pos x="connsiteX10246" y="connsiteY10246"/>
                </a:cxn>
                <a:cxn ang="0">
                  <a:pos x="connsiteX10247" y="connsiteY10247"/>
                </a:cxn>
                <a:cxn ang="0">
                  <a:pos x="connsiteX10248" y="connsiteY10248"/>
                </a:cxn>
                <a:cxn ang="0">
                  <a:pos x="connsiteX10249" y="connsiteY10249"/>
                </a:cxn>
                <a:cxn ang="0">
                  <a:pos x="connsiteX10250" y="connsiteY10250"/>
                </a:cxn>
                <a:cxn ang="0">
                  <a:pos x="connsiteX10251" y="connsiteY10251"/>
                </a:cxn>
                <a:cxn ang="0">
                  <a:pos x="connsiteX10252" y="connsiteY10252"/>
                </a:cxn>
                <a:cxn ang="0">
                  <a:pos x="connsiteX10253" y="connsiteY10253"/>
                </a:cxn>
                <a:cxn ang="0">
                  <a:pos x="connsiteX10254" y="connsiteY10254"/>
                </a:cxn>
                <a:cxn ang="0">
                  <a:pos x="connsiteX10255" y="connsiteY10255"/>
                </a:cxn>
                <a:cxn ang="0">
                  <a:pos x="connsiteX10256" y="connsiteY10256"/>
                </a:cxn>
                <a:cxn ang="0">
                  <a:pos x="connsiteX10257" y="connsiteY10257"/>
                </a:cxn>
                <a:cxn ang="0">
                  <a:pos x="connsiteX10258" y="connsiteY10258"/>
                </a:cxn>
                <a:cxn ang="0">
                  <a:pos x="connsiteX10259" y="connsiteY10259"/>
                </a:cxn>
                <a:cxn ang="0">
                  <a:pos x="connsiteX10260" y="connsiteY10260"/>
                </a:cxn>
                <a:cxn ang="0">
                  <a:pos x="connsiteX10261" y="connsiteY10261"/>
                </a:cxn>
                <a:cxn ang="0">
                  <a:pos x="connsiteX10262" y="connsiteY10262"/>
                </a:cxn>
                <a:cxn ang="0">
                  <a:pos x="connsiteX10263" y="connsiteY10263"/>
                </a:cxn>
                <a:cxn ang="0">
                  <a:pos x="connsiteX10264" y="connsiteY10264"/>
                </a:cxn>
                <a:cxn ang="0">
                  <a:pos x="connsiteX10265" y="connsiteY10265"/>
                </a:cxn>
                <a:cxn ang="0">
                  <a:pos x="connsiteX10266" y="connsiteY10266"/>
                </a:cxn>
                <a:cxn ang="0">
                  <a:pos x="connsiteX10267" y="connsiteY10267"/>
                </a:cxn>
                <a:cxn ang="0">
                  <a:pos x="connsiteX10268" y="connsiteY10268"/>
                </a:cxn>
                <a:cxn ang="0">
                  <a:pos x="connsiteX10269" y="connsiteY10269"/>
                </a:cxn>
                <a:cxn ang="0">
                  <a:pos x="connsiteX10270" y="connsiteY10270"/>
                </a:cxn>
                <a:cxn ang="0">
                  <a:pos x="connsiteX10271" y="connsiteY10271"/>
                </a:cxn>
                <a:cxn ang="0">
                  <a:pos x="connsiteX10272" y="connsiteY10272"/>
                </a:cxn>
                <a:cxn ang="0">
                  <a:pos x="connsiteX10273" y="connsiteY10273"/>
                </a:cxn>
                <a:cxn ang="0">
                  <a:pos x="connsiteX10274" y="connsiteY10274"/>
                </a:cxn>
                <a:cxn ang="0">
                  <a:pos x="connsiteX10275" y="connsiteY10275"/>
                </a:cxn>
                <a:cxn ang="0">
                  <a:pos x="connsiteX10276" y="connsiteY10276"/>
                </a:cxn>
                <a:cxn ang="0">
                  <a:pos x="connsiteX10277" y="connsiteY10277"/>
                </a:cxn>
                <a:cxn ang="0">
                  <a:pos x="connsiteX10278" y="connsiteY10278"/>
                </a:cxn>
                <a:cxn ang="0">
                  <a:pos x="connsiteX10279" y="connsiteY10279"/>
                </a:cxn>
                <a:cxn ang="0">
                  <a:pos x="connsiteX10280" y="connsiteY10280"/>
                </a:cxn>
                <a:cxn ang="0">
                  <a:pos x="connsiteX10281" y="connsiteY10281"/>
                </a:cxn>
                <a:cxn ang="0">
                  <a:pos x="connsiteX10282" y="connsiteY10282"/>
                </a:cxn>
                <a:cxn ang="0">
                  <a:pos x="connsiteX10283" y="connsiteY10283"/>
                </a:cxn>
                <a:cxn ang="0">
                  <a:pos x="connsiteX10284" y="connsiteY10284"/>
                </a:cxn>
                <a:cxn ang="0">
                  <a:pos x="connsiteX10285" y="connsiteY10285"/>
                </a:cxn>
                <a:cxn ang="0">
                  <a:pos x="connsiteX10286" y="connsiteY10286"/>
                </a:cxn>
                <a:cxn ang="0">
                  <a:pos x="connsiteX10287" y="connsiteY10287"/>
                </a:cxn>
                <a:cxn ang="0">
                  <a:pos x="connsiteX10288" y="connsiteY10288"/>
                </a:cxn>
                <a:cxn ang="0">
                  <a:pos x="connsiteX10289" y="connsiteY10289"/>
                </a:cxn>
                <a:cxn ang="0">
                  <a:pos x="connsiteX10290" y="connsiteY10290"/>
                </a:cxn>
                <a:cxn ang="0">
                  <a:pos x="connsiteX10291" y="connsiteY10291"/>
                </a:cxn>
                <a:cxn ang="0">
                  <a:pos x="connsiteX10292" y="connsiteY10292"/>
                </a:cxn>
                <a:cxn ang="0">
                  <a:pos x="connsiteX10293" y="connsiteY10293"/>
                </a:cxn>
                <a:cxn ang="0">
                  <a:pos x="connsiteX10294" y="connsiteY10294"/>
                </a:cxn>
                <a:cxn ang="0">
                  <a:pos x="connsiteX10295" y="connsiteY10295"/>
                </a:cxn>
                <a:cxn ang="0">
                  <a:pos x="connsiteX10296" y="connsiteY10296"/>
                </a:cxn>
                <a:cxn ang="0">
                  <a:pos x="connsiteX10297" y="connsiteY10297"/>
                </a:cxn>
                <a:cxn ang="0">
                  <a:pos x="connsiteX10298" y="connsiteY10298"/>
                </a:cxn>
                <a:cxn ang="0">
                  <a:pos x="connsiteX10299" y="connsiteY10299"/>
                </a:cxn>
                <a:cxn ang="0">
                  <a:pos x="connsiteX10300" y="connsiteY10300"/>
                </a:cxn>
                <a:cxn ang="0">
                  <a:pos x="connsiteX10301" y="connsiteY10301"/>
                </a:cxn>
                <a:cxn ang="0">
                  <a:pos x="connsiteX10302" y="connsiteY10302"/>
                </a:cxn>
                <a:cxn ang="0">
                  <a:pos x="connsiteX10303" y="connsiteY10303"/>
                </a:cxn>
                <a:cxn ang="0">
                  <a:pos x="connsiteX10304" y="connsiteY10304"/>
                </a:cxn>
                <a:cxn ang="0">
                  <a:pos x="connsiteX10305" y="connsiteY10305"/>
                </a:cxn>
                <a:cxn ang="0">
                  <a:pos x="connsiteX10306" y="connsiteY10306"/>
                </a:cxn>
                <a:cxn ang="0">
                  <a:pos x="connsiteX10307" y="connsiteY10307"/>
                </a:cxn>
                <a:cxn ang="0">
                  <a:pos x="connsiteX10308" y="connsiteY10308"/>
                </a:cxn>
                <a:cxn ang="0">
                  <a:pos x="connsiteX10309" y="connsiteY10309"/>
                </a:cxn>
                <a:cxn ang="0">
                  <a:pos x="connsiteX10310" y="connsiteY10310"/>
                </a:cxn>
                <a:cxn ang="0">
                  <a:pos x="connsiteX10311" y="connsiteY10311"/>
                </a:cxn>
                <a:cxn ang="0">
                  <a:pos x="connsiteX10312" y="connsiteY10312"/>
                </a:cxn>
                <a:cxn ang="0">
                  <a:pos x="connsiteX10313" y="connsiteY10313"/>
                </a:cxn>
                <a:cxn ang="0">
                  <a:pos x="connsiteX10314" y="connsiteY10314"/>
                </a:cxn>
                <a:cxn ang="0">
                  <a:pos x="connsiteX10315" y="connsiteY10315"/>
                </a:cxn>
                <a:cxn ang="0">
                  <a:pos x="connsiteX10316" y="connsiteY10316"/>
                </a:cxn>
                <a:cxn ang="0">
                  <a:pos x="connsiteX10317" y="connsiteY10317"/>
                </a:cxn>
                <a:cxn ang="0">
                  <a:pos x="connsiteX10318" y="connsiteY10318"/>
                </a:cxn>
                <a:cxn ang="0">
                  <a:pos x="connsiteX10319" y="connsiteY10319"/>
                </a:cxn>
                <a:cxn ang="0">
                  <a:pos x="connsiteX10320" y="connsiteY10320"/>
                </a:cxn>
                <a:cxn ang="0">
                  <a:pos x="connsiteX10321" y="connsiteY10321"/>
                </a:cxn>
                <a:cxn ang="0">
                  <a:pos x="connsiteX10322" y="connsiteY10322"/>
                </a:cxn>
                <a:cxn ang="0">
                  <a:pos x="connsiteX10323" y="connsiteY10323"/>
                </a:cxn>
                <a:cxn ang="0">
                  <a:pos x="connsiteX10324" y="connsiteY10324"/>
                </a:cxn>
                <a:cxn ang="0">
                  <a:pos x="connsiteX10325" y="connsiteY10325"/>
                </a:cxn>
                <a:cxn ang="0">
                  <a:pos x="connsiteX10326" y="connsiteY10326"/>
                </a:cxn>
                <a:cxn ang="0">
                  <a:pos x="connsiteX10327" y="connsiteY10327"/>
                </a:cxn>
                <a:cxn ang="0">
                  <a:pos x="connsiteX10328" y="connsiteY10328"/>
                </a:cxn>
                <a:cxn ang="0">
                  <a:pos x="connsiteX10329" y="connsiteY10329"/>
                </a:cxn>
                <a:cxn ang="0">
                  <a:pos x="connsiteX10330" y="connsiteY10330"/>
                </a:cxn>
                <a:cxn ang="0">
                  <a:pos x="connsiteX10331" y="connsiteY10331"/>
                </a:cxn>
                <a:cxn ang="0">
                  <a:pos x="connsiteX10332" y="connsiteY10332"/>
                </a:cxn>
                <a:cxn ang="0">
                  <a:pos x="connsiteX10333" y="connsiteY10333"/>
                </a:cxn>
                <a:cxn ang="0">
                  <a:pos x="connsiteX10334" y="connsiteY10334"/>
                </a:cxn>
                <a:cxn ang="0">
                  <a:pos x="connsiteX10335" y="connsiteY10335"/>
                </a:cxn>
                <a:cxn ang="0">
                  <a:pos x="connsiteX10336" y="connsiteY10336"/>
                </a:cxn>
                <a:cxn ang="0">
                  <a:pos x="connsiteX10337" y="connsiteY10337"/>
                </a:cxn>
                <a:cxn ang="0">
                  <a:pos x="connsiteX10338" y="connsiteY10338"/>
                </a:cxn>
                <a:cxn ang="0">
                  <a:pos x="connsiteX10339" y="connsiteY10339"/>
                </a:cxn>
                <a:cxn ang="0">
                  <a:pos x="connsiteX10340" y="connsiteY10340"/>
                </a:cxn>
                <a:cxn ang="0">
                  <a:pos x="connsiteX10341" y="connsiteY10341"/>
                </a:cxn>
                <a:cxn ang="0">
                  <a:pos x="connsiteX10342" y="connsiteY10342"/>
                </a:cxn>
                <a:cxn ang="0">
                  <a:pos x="connsiteX10343" y="connsiteY10343"/>
                </a:cxn>
                <a:cxn ang="0">
                  <a:pos x="connsiteX10344" y="connsiteY10344"/>
                </a:cxn>
                <a:cxn ang="0">
                  <a:pos x="connsiteX10345" y="connsiteY10345"/>
                </a:cxn>
                <a:cxn ang="0">
                  <a:pos x="connsiteX10346" y="connsiteY10346"/>
                </a:cxn>
                <a:cxn ang="0">
                  <a:pos x="connsiteX10347" y="connsiteY10347"/>
                </a:cxn>
                <a:cxn ang="0">
                  <a:pos x="connsiteX10348" y="connsiteY10348"/>
                </a:cxn>
                <a:cxn ang="0">
                  <a:pos x="connsiteX10349" y="connsiteY10349"/>
                </a:cxn>
                <a:cxn ang="0">
                  <a:pos x="connsiteX10350" y="connsiteY10350"/>
                </a:cxn>
                <a:cxn ang="0">
                  <a:pos x="connsiteX10351" y="connsiteY10351"/>
                </a:cxn>
                <a:cxn ang="0">
                  <a:pos x="connsiteX10352" y="connsiteY10352"/>
                </a:cxn>
                <a:cxn ang="0">
                  <a:pos x="connsiteX10353" y="connsiteY10353"/>
                </a:cxn>
                <a:cxn ang="0">
                  <a:pos x="connsiteX10354" y="connsiteY10354"/>
                </a:cxn>
                <a:cxn ang="0">
                  <a:pos x="connsiteX10355" y="connsiteY10355"/>
                </a:cxn>
                <a:cxn ang="0">
                  <a:pos x="connsiteX10356" y="connsiteY10356"/>
                </a:cxn>
                <a:cxn ang="0">
                  <a:pos x="connsiteX10357" y="connsiteY10357"/>
                </a:cxn>
                <a:cxn ang="0">
                  <a:pos x="connsiteX10358" y="connsiteY10358"/>
                </a:cxn>
                <a:cxn ang="0">
                  <a:pos x="connsiteX10359" y="connsiteY10359"/>
                </a:cxn>
                <a:cxn ang="0">
                  <a:pos x="connsiteX10360" y="connsiteY10360"/>
                </a:cxn>
                <a:cxn ang="0">
                  <a:pos x="connsiteX10361" y="connsiteY10361"/>
                </a:cxn>
                <a:cxn ang="0">
                  <a:pos x="connsiteX10362" y="connsiteY10362"/>
                </a:cxn>
                <a:cxn ang="0">
                  <a:pos x="connsiteX10363" y="connsiteY10363"/>
                </a:cxn>
                <a:cxn ang="0">
                  <a:pos x="connsiteX10364" y="connsiteY10364"/>
                </a:cxn>
                <a:cxn ang="0">
                  <a:pos x="connsiteX10365" y="connsiteY10365"/>
                </a:cxn>
                <a:cxn ang="0">
                  <a:pos x="connsiteX10366" y="connsiteY10366"/>
                </a:cxn>
                <a:cxn ang="0">
                  <a:pos x="connsiteX10367" y="connsiteY10367"/>
                </a:cxn>
                <a:cxn ang="0">
                  <a:pos x="connsiteX10368" y="connsiteY10368"/>
                </a:cxn>
                <a:cxn ang="0">
                  <a:pos x="connsiteX10369" y="connsiteY10369"/>
                </a:cxn>
                <a:cxn ang="0">
                  <a:pos x="connsiteX10370" y="connsiteY10370"/>
                </a:cxn>
                <a:cxn ang="0">
                  <a:pos x="connsiteX10371" y="connsiteY10371"/>
                </a:cxn>
                <a:cxn ang="0">
                  <a:pos x="connsiteX10372" y="connsiteY10372"/>
                </a:cxn>
                <a:cxn ang="0">
                  <a:pos x="connsiteX10373" y="connsiteY10373"/>
                </a:cxn>
                <a:cxn ang="0">
                  <a:pos x="connsiteX10374" y="connsiteY10374"/>
                </a:cxn>
                <a:cxn ang="0">
                  <a:pos x="connsiteX10375" y="connsiteY10375"/>
                </a:cxn>
                <a:cxn ang="0">
                  <a:pos x="connsiteX10376" y="connsiteY10376"/>
                </a:cxn>
                <a:cxn ang="0">
                  <a:pos x="connsiteX10377" y="connsiteY10377"/>
                </a:cxn>
                <a:cxn ang="0">
                  <a:pos x="connsiteX10378" y="connsiteY10378"/>
                </a:cxn>
                <a:cxn ang="0">
                  <a:pos x="connsiteX10379" y="connsiteY10379"/>
                </a:cxn>
                <a:cxn ang="0">
                  <a:pos x="connsiteX10380" y="connsiteY10380"/>
                </a:cxn>
                <a:cxn ang="0">
                  <a:pos x="connsiteX10381" y="connsiteY10381"/>
                </a:cxn>
                <a:cxn ang="0">
                  <a:pos x="connsiteX10382" y="connsiteY10382"/>
                </a:cxn>
                <a:cxn ang="0">
                  <a:pos x="connsiteX10383" y="connsiteY10383"/>
                </a:cxn>
                <a:cxn ang="0">
                  <a:pos x="connsiteX10384" y="connsiteY10384"/>
                </a:cxn>
                <a:cxn ang="0">
                  <a:pos x="connsiteX10385" y="connsiteY10385"/>
                </a:cxn>
                <a:cxn ang="0">
                  <a:pos x="connsiteX10386" y="connsiteY10386"/>
                </a:cxn>
                <a:cxn ang="0">
                  <a:pos x="connsiteX10387" y="connsiteY10387"/>
                </a:cxn>
                <a:cxn ang="0">
                  <a:pos x="connsiteX10388" y="connsiteY10388"/>
                </a:cxn>
                <a:cxn ang="0">
                  <a:pos x="connsiteX10389" y="connsiteY10389"/>
                </a:cxn>
                <a:cxn ang="0">
                  <a:pos x="connsiteX10390" y="connsiteY10390"/>
                </a:cxn>
                <a:cxn ang="0">
                  <a:pos x="connsiteX10391" y="connsiteY10391"/>
                </a:cxn>
                <a:cxn ang="0">
                  <a:pos x="connsiteX10392" y="connsiteY10392"/>
                </a:cxn>
                <a:cxn ang="0">
                  <a:pos x="connsiteX10393" y="connsiteY10393"/>
                </a:cxn>
                <a:cxn ang="0">
                  <a:pos x="connsiteX10394" y="connsiteY10394"/>
                </a:cxn>
                <a:cxn ang="0">
                  <a:pos x="connsiteX10395" y="connsiteY10395"/>
                </a:cxn>
                <a:cxn ang="0">
                  <a:pos x="connsiteX10396" y="connsiteY10396"/>
                </a:cxn>
                <a:cxn ang="0">
                  <a:pos x="connsiteX10397" y="connsiteY10397"/>
                </a:cxn>
                <a:cxn ang="0">
                  <a:pos x="connsiteX10398" y="connsiteY10398"/>
                </a:cxn>
                <a:cxn ang="0">
                  <a:pos x="connsiteX10399" y="connsiteY10399"/>
                </a:cxn>
                <a:cxn ang="0">
                  <a:pos x="connsiteX10400" y="connsiteY10400"/>
                </a:cxn>
                <a:cxn ang="0">
                  <a:pos x="connsiteX10401" y="connsiteY10401"/>
                </a:cxn>
                <a:cxn ang="0">
                  <a:pos x="connsiteX10402" y="connsiteY10402"/>
                </a:cxn>
                <a:cxn ang="0">
                  <a:pos x="connsiteX10403" y="connsiteY10403"/>
                </a:cxn>
                <a:cxn ang="0">
                  <a:pos x="connsiteX10404" y="connsiteY10404"/>
                </a:cxn>
                <a:cxn ang="0">
                  <a:pos x="connsiteX10405" y="connsiteY10405"/>
                </a:cxn>
                <a:cxn ang="0">
                  <a:pos x="connsiteX10406" y="connsiteY10406"/>
                </a:cxn>
                <a:cxn ang="0">
                  <a:pos x="connsiteX10407" y="connsiteY10407"/>
                </a:cxn>
                <a:cxn ang="0">
                  <a:pos x="connsiteX10408" y="connsiteY10408"/>
                </a:cxn>
                <a:cxn ang="0">
                  <a:pos x="connsiteX10409" y="connsiteY10409"/>
                </a:cxn>
                <a:cxn ang="0">
                  <a:pos x="connsiteX10410" y="connsiteY10410"/>
                </a:cxn>
                <a:cxn ang="0">
                  <a:pos x="connsiteX10411" y="connsiteY10411"/>
                </a:cxn>
                <a:cxn ang="0">
                  <a:pos x="connsiteX10412" y="connsiteY10412"/>
                </a:cxn>
                <a:cxn ang="0">
                  <a:pos x="connsiteX10413" y="connsiteY10413"/>
                </a:cxn>
                <a:cxn ang="0">
                  <a:pos x="connsiteX10414" y="connsiteY10414"/>
                </a:cxn>
                <a:cxn ang="0">
                  <a:pos x="connsiteX10415" y="connsiteY10415"/>
                </a:cxn>
                <a:cxn ang="0">
                  <a:pos x="connsiteX10416" y="connsiteY10416"/>
                </a:cxn>
                <a:cxn ang="0">
                  <a:pos x="connsiteX10417" y="connsiteY10417"/>
                </a:cxn>
                <a:cxn ang="0">
                  <a:pos x="connsiteX10418" y="connsiteY10418"/>
                </a:cxn>
                <a:cxn ang="0">
                  <a:pos x="connsiteX10419" y="connsiteY10419"/>
                </a:cxn>
                <a:cxn ang="0">
                  <a:pos x="connsiteX10420" y="connsiteY10420"/>
                </a:cxn>
                <a:cxn ang="0">
                  <a:pos x="connsiteX10421" y="connsiteY10421"/>
                </a:cxn>
                <a:cxn ang="0">
                  <a:pos x="connsiteX10422" y="connsiteY10422"/>
                </a:cxn>
                <a:cxn ang="0">
                  <a:pos x="connsiteX10423" y="connsiteY10423"/>
                </a:cxn>
                <a:cxn ang="0">
                  <a:pos x="connsiteX10424" y="connsiteY10424"/>
                </a:cxn>
                <a:cxn ang="0">
                  <a:pos x="connsiteX10425" y="connsiteY10425"/>
                </a:cxn>
                <a:cxn ang="0">
                  <a:pos x="connsiteX10426" y="connsiteY10426"/>
                </a:cxn>
                <a:cxn ang="0">
                  <a:pos x="connsiteX10427" y="connsiteY10427"/>
                </a:cxn>
                <a:cxn ang="0">
                  <a:pos x="connsiteX10428" y="connsiteY10428"/>
                </a:cxn>
                <a:cxn ang="0">
                  <a:pos x="connsiteX10429" y="connsiteY10429"/>
                </a:cxn>
                <a:cxn ang="0">
                  <a:pos x="connsiteX10430" y="connsiteY10430"/>
                </a:cxn>
                <a:cxn ang="0">
                  <a:pos x="connsiteX10431" y="connsiteY10431"/>
                </a:cxn>
                <a:cxn ang="0">
                  <a:pos x="connsiteX10432" y="connsiteY10432"/>
                </a:cxn>
                <a:cxn ang="0">
                  <a:pos x="connsiteX10433" y="connsiteY10433"/>
                </a:cxn>
                <a:cxn ang="0">
                  <a:pos x="connsiteX10434" y="connsiteY10434"/>
                </a:cxn>
                <a:cxn ang="0">
                  <a:pos x="connsiteX10435" y="connsiteY10435"/>
                </a:cxn>
                <a:cxn ang="0">
                  <a:pos x="connsiteX10436" y="connsiteY10436"/>
                </a:cxn>
                <a:cxn ang="0">
                  <a:pos x="connsiteX10437" y="connsiteY10437"/>
                </a:cxn>
                <a:cxn ang="0">
                  <a:pos x="connsiteX10438" y="connsiteY10438"/>
                </a:cxn>
                <a:cxn ang="0">
                  <a:pos x="connsiteX10439" y="connsiteY10439"/>
                </a:cxn>
                <a:cxn ang="0">
                  <a:pos x="connsiteX10440" y="connsiteY10440"/>
                </a:cxn>
                <a:cxn ang="0">
                  <a:pos x="connsiteX10441" y="connsiteY10441"/>
                </a:cxn>
                <a:cxn ang="0">
                  <a:pos x="connsiteX10442" y="connsiteY10442"/>
                </a:cxn>
                <a:cxn ang="0">
                  <a:pos x="connsiteX10443" y="connsiteY10443"/>
                </a:cxn>
                <a:cxn ang="0">
                  <a:pos x="connsiteX10444" y="connsiteY10444"/>
                </a:cxn>
                <a:cxn ang="0">
                  <a:pos x="connsiteX10445" y="connsiteY10445"/>
                </a:cxn>
                <a:cxn ang="0">
                  <a:pos x="connsiteX10446" y="connsiteY10446"/>
                </a:cxn>
                <a:cxn ang="0">
                  <a:pos x="connsiteX10447" y="connsiteY10447"/>
                </a:cxn>
                <a:cxn ang="0">
                  <a:pos x="connsiteX10448" y="connsiteY10448"/>
                </a:cxn>
                <a:cxn ang="0">
                  <a:pos x="connsiteX10449" y="connsiteY10449"/>
                </a:cxn>
                <a:cxn ang="0">
                  <a:pos x="connsiteX10450" y="connsiteY10450"/>
                </a:cxn>
                <a:cxn ang="0">
                  <a:pos x="connsiteX10451" y="connsiteY10451"/>
                </a:cxn>
                <a:cxn ang="0">
                  <a:pos x="connsiteX10452" y="connsiteY10452"/>
                </a:cxn>
                <a:cxn ang="0">
                  <a:pos x="connsiteX10453" y="connsiteY10453"/>
                </a:cxn>
                <a:cxn ang="0">
                  <a:pos x="connsiteX10454" y="connsiteY10454"/>
                </a:cxn>
                <a:cxn ang="0">
                  <a:pos x="connsiteX10455" y="connsiteY10455"/>
                </a:cxn>
                <a:cxn ang="0">
                  <a:pos x="connsiteX10456" y="connsiteY10456"/>
                </a:cxn>
                <a:cxn ang="0">
                  <a:pos x="connsiteX10457" y="connsiteY10457"/>
                </a:cxn>
                <a:cxn ang="0">
                  <a:pos x="connsiteX10458" y="connsiteY10458"/>
                </a:cxn>
                <a:cxn ang="0">
                  <a:pos x="connsiteX10459" y="connsiteY10459"/>
                </a:cxn>
                <a:cxn ang="0">
                  <a:pos x="connsiteX10460" y="connsiteY10460"/>
                </a:cxn>
                <a:cxn ang="0">
                  <a:pos x="connsiteX10461" y="connsiteY10461"/>
                </a:cxn>
                <a:cxn ang="0">
                  <a:pos x="connsiteX10462" y="connsiteY10462"/>
                </a:cxn>
                <a:cxn ang="0">
                  <a:pos x="connsiteX10463" y="connsiteY10463"/>
                </a:cxn>
                <a:cxn ang="0">
                  <a:pos x="connsiteX10464" y="connsiteY10464"/>
                </a:cxn>
                <a:cxn ang="0">
                  <a:pos x="connsiteX10465" y="connsiteY10465"/>
                </a:cxn>
                <a:cxn ang="0">
                  <a:pos x="connsiteX10466" y="connsiteY10466"/>
                </a:cxn>
                <a:cxn ang="0">
                  <a:pos x="connsiteX10467" y="connsiteY10467"/>
                </a:cxn>
                <a:cxn ang="0">
                  <a:pos x="connsiteX10468" y="connsiteY10468"/>
                </a:cxn>
                <a:cxn ang="0">
                  <a:pos x="connsiteX10469" y="connsiteY10469"/>
                </a:cxn>
                <a:cxn ang="0">
                  <a:pos x="connsiteX10470" y="connsiteY10470"/>
                </a:cxn>
                <a:cxn ang="0">
                  <a:pos x="connsiteX10471" y="connsiteY10471"/>
                </a:cxn>
                <a:cxn ang="0">
                  <a:pos x="connsiteX10472" y="connsiteY10472"/>
                </a:cxn>
                <a:cxn ang="0">
                  <a:pos x="connsiteX10473" y="connsiteY10473"/>
                </a:cxn>
                <a:cxn ang="0">
                  <a:pos x="connsiteX10474" y="connsiteY10474"/>
                </a:cxn>
                <a:cxn ang="0">
                  <a:pos x="connsiteX10475" y="connsiteY10475"/>
                </a:cxn>
                <a:cxn ang="0">
                  <a:pos x="connsiteX10476" y="connsiteY10476"/>
                </a:cxn>
                <a:cxn ang="0">
                  <a:pos x="connsiteX10477" y="connsiteY10477"/>
                </a:cxn>
                <a:cxn ang="0">
                  <a:pos x="connsiteX10478" y="connsiteY10478"/>
                </a:cxn>
                <a:cxn ang="0">
                  <a:pos x="connsiteX10479" y="connsiteY10479"/>
                </a:cxn>
                <a:cxn ang="0">
                  <a:pos x="connsiteX10480" y="connsiteY10480"/>
                </a:cxn>
                <a:cxn ang="0">
                  <a:pos x="connsiteX10481" y="connsiteY10481"/>
                </a:cxn>
                <a:cxn ang="0">
                  <a:pos x="connsiteX10482" y="connsiteY10482"/>
                </a:cxn>
                <a:cxn ang="0">
                  <a:pos x="connsiteX10483" y="connsiteY10483"/>
                </a:cxn>
                <a:cxn ang="0">
                  <a:pos x="connsiteX10484" y="connsiteY10484"/>
                </a:cxn>
                <a:cxn ang="0">
                  <a:pos x="connsiteX10485" y="connsiteY10485"/>
                </a:cxn>
                <a:cxn ang="0">
                  <a:pos x="connsiteX10486" y="connsiteY10486"/>
                </a:cxn>
                <a:cxn ang="0">
                  <a:pos x="connsiteX10487" y="connsiteY10487"/>
                </a:cxn>
                <a:cxn ang="0">
                  <a:pos x="connsiteX10488" y="connsiteY10488"/>
                </a:cxn>
                <a:cxn ang="0">
                  <a:pos x="connsiteX10489" y="connsiteY10489"/>
                </a:cxn>
                <a:cxn ang="0">
                  <a:pos x="connsiteX10490" y="connsiteY10490"/>
                </a:cxn>
                <a:cxn ang="0">
                  <a:pos x="connsiteX10491" y="connsiteY10491"/>
                </a:cxn>
                <a:cxn ang="0">
                  <a:pos x="connsiteX10492" y="connsiteY10492"/>
                </a:cxn>
                <a:cxn ang="0">
                  <a:pos x="connsiteX10493" y="connsiteY10493"/>
                </a:cxn>
                <a:cxn ang="0">
                  <a:pos x="connsiteX10494" y="connsiteY10494"/>
                </a:cxn>
                <a:cxn ang="0">
                  <a:pos x="connsiteX10495" y="connsiteY10495"/>
                </a:cxn>
                <a:cxn ang="0">
                  <a:pos x="connsiteX10496" y="connsiteY10496"/>
                </a:cxn>
                <a:cxn ang="0">
                  <a:pos x="connsiteX10497" y="connsiteY10497"/>
                </a:cxn>
                <a:cxn ang="0">
                  <a:pos x="connsiteX10498" y="connsiteY10498"/>
                </a:cxn>
                <a:cxn ang="0">
                  <a:pos x="connsiteX10499" y="connsiteY10499"/>
                </a:cxn>
                <a:cxn ang="0">
                  <a:pos x="connsiteX10500" y="connsiteY10500"/>
                </a:cxn>
                <a:cxn ang="0">
                  <a:pos x="connsiteX10501" y="connsiteY10501"/>
                </a:cxn>
                <a:cxn ang="0">
                  <a:pos x="connsiteX10502" y="connsiteY10502"/>
                </a:cxn>
                <a:cxn ang="0">
                  <a:pos x="connsiteX10503" y="connsiteY10503"/>
                </a:cxn>
                <a:cxn ang="0">
                  <a:pos x="connsiteX10504" y="connsiteY10504"/>
                </a:cxn>
                <a:cxn ang="0">
                  <a:pos x="connsiteX10505" y="connsiteY10505"/>
                </a:cxn>
                <a:cxn ang="0">
                  <a:pos x="connsiteX10506" y="connsiteY10506"/>
                </a:cxn>
                <a:cxn ang="0">
                  <a:pos x="connsiteX10507" y="connsiteY10507"/>
                </a:cxn>
                <a:cxn ang="0">
                  <a:pos x="connsiteX10508" y="connsiteY10508"/>
                </a:cxn>
                <a:cxn ang="0">
                  <a:pos x="connsiteX10509" y="connsiteY10509"/>
                </a:cxn>
                <a:cxn ang="0">
                  <a:pos x="connsiteX10510" y="connsiteY10510"/>
                </a:cxn>
                <a:cxn ang="0">
                  <a:pos x="connsiteX10511" y="connsiteY10511"/>
                </a:cxn>
                <a:cxn ang="0">
                  <a:pos x="connsiteX10512" y="connsiteY10512"/>
                </a:cxn>
                <a:cxn ang="0">
                  <a:pos x="connsiteX10513" y="connsiteY10513"/>
                </a:cxn>
                <a:cxn ang="0">
                  <a:pos x="connsiteX10514" y="connsiteY10514"/>
                </a:cxn>
                <a:cxn ang="0">
                  <a:pos x="connsiteX10515" y="connsiteY10515"/>
                </a:cxn>
                <a:cxn ang="0">
                  <a:pos x="connsiteX10516" y="connsiteY10516"/>
                </a:cxn>
                <a:cxn ang="0">
                  <a:pos x="connsiteX10517" y="connsiteY10517"/>
                </a:cxn>
                <a:cxn ang="0">
                  <a:pos x="connsiteX10518" y="connsiteY10518"/>
                </a:cxn>
                <a:cxn ang="0">
                  <a:pos x="connsiteX10519" y="connsiteY10519"/>
                </a:cxn>
                <a:cxn ang="0">
                  <a:pos x="connsiteX10520" y="connsiteY10520"/>
                </a:cxn>
                <a:cxn ang="0">
                  <a:pos x="connsiteX10521" y="connsiteY10521"/>
                </a:cxn>
                <a:cxn ang="0">
                  <a:pos x="connsiteX10522" y="connsiteY10522"/>
                </a:cxn>
                <a:cxn ang="0">
                  <a:pos x="connsiteX10523" y="connsiteY10523"/>
                </a:cxn>
                <a:cxn ang="0">
                  <a:pos x="connsiteX10524" y="connsiteY10524"/>
                </a:cxn>
                <a:cxn ang="0">
                  <a:pos x="connsiteX10525" y="connsiteY10525"/>
                </a:cxn>
                <a:cxn ang="0">
                  <a:pos x="connsiteX10526" y="connsiteY10526"/>
                </a:cxn>
                <a:cxn ang="0">
                  <a:pos x="connsiteX10527" y="connsiteY10527"/>
                </a:cxn>
                <a:cxn ang="0">
                  <a:pos x="connsiteX10528" y="connsiteY10528"/>
                </a:cxn>
                <a:cxn ang="0">
                  <a:pos x="connsiteX10529" y="connsiteY10529"/>
                </a:cxn>
                <a:cxn ang="0">
                  <a:pos x="connsiteX10530" y="connsiteY10530"/>
                </a:cxn>
                <a:cxn ang="0">
                  <a:pos x="connsiteX10531" y="connsiteY10531"/>
                </a:cxn>
                <a:cxn ang="0">
                  <a:pos x="connsiteX10532" y="connsiteY10532"/>
                </a:cxn>
                <a:cxn ang="0">
                  <a:pos x="connsiteX10533" y="connsiteY10533"/>
                </a:cxn>
                <a:cxn ang="0">
                  <a:pos x="connsiteX10534" y="connsiteY10534"/>
                </a:cxn>
                <a:cxn ang="0">
                  <a:pos x="connsiteX10535" y="connsiteY10535"/>
                </a:cxn>
                <a:cxn ang="0">
                  <a:pos x="connsiteX10536" y="connsiteY10536"/>
                </a:cxn>
                <a:cxn ang="0">
                  <a:pos x="connsiteX10537" y="connsiteY10537"/>
                </a:cxn>
                <a:cxn ang="0">
                  <a:pos x="connsiteX10538" y="connsiteY10538"/>
                </a:cxn>
                <a:cxn ang="0">
                  <a:pos x="connsiteX10539" y="connsiteY10539"/>
                </a:cxn>
                <a:cxn ang="0">
                  <a:pos x="connsiteX10540" y="connsiteY10540"/>
                </a:cxn>
                <a:cxn ang="0">
                  <a:pos x="connsiteX10541" y="connsiteY10541"/>
                </a:cxn>
                <a:cxn ang="0">
                  <a:pos x="connsiteX10542" y="connsiteY10542"/>
                </a:cxn>
                <a:cxn ang="0">
                  <a:pos x="connsiteX10543" y="connsiteY10543"/>
                </a:cxn>
                <a:cxn ang="0">
                  <a:pos x="connsiteX10544" y="connsiteY10544"/>
                </a:cxn>
                <a:cxn ang="0">
                  <a:pos x="connsiteX10545" y="connsiteY10545"/>
                </a:cxn>
                <a:cxn ang="0">
                  <a:pos x="connsiteX10546" y="connsiteY10546"/>
                </a:cxn>
                <a:cxn ang="0">
                  <a:pos x="connsiteX10547" y="connsiteY10547"/>
                </a:cxn>
                <a:cxn ang="0">
                  <a:pos x="connsiteX10548" y="connsiteY10548"/>
                </a:cxn>
                <a:cxn ang="0">
                  <a:pos x="connsiteX10549" y="connsiteY10549"/>
                </a:cxn>
                <a:cxn ang="0">
                  <a:pos x="connsiteX10550" y="connsiteY10550"/>
                </a:cxn>
                <a:cxn ang="0">
                  <a:pos x="connsiteX10551" y="connsiteY10551"/>
                </a:cxn>
                <a:cxn ang="0">
                  <a:pos x="connsiteX10552" y="connsiteY10552"/>
                </a:cxn>
                <a:cxn ang="0">
                  <a:pos x="connsiteX10553" y="connsiteY10553"/>
                </a:cxn>
                <a:cxn ang="0">
                  <a:pos x="connsiteX10554" y="connsiteY10554"/>
                </a:cxn>
                <a:cxn ang="0">
                  <a:pos x="connsiteX10555" y="connsiteY10555"/>
                </a:cxn>
                <a:cxn ang="0">
                  <a:pos x="connsiteX10556" y="connsiteY10556"/>
                </a:cxn>
                <a:cxn ang="0">
                  <a:pos x="connsiteX10557" y="connsiteY10557"/>
                </a:cxn>
                <a:cxn ang="0">
                  <a:pos x="connsiteX10558" y="connsiteY10558"/>
                </a:cxn>
                <a:cxn ang="0">
                  <a:pos x="connsiteX10559" y="connsiteY10559"/>
                </a:cxn>
                <a:cxn ang="0">
                  <a:pos x="connsiteX10560" y="connsiteY10560"/>
                </a:cxn>
                <a:cxn ang="0">
                  <a:pos x="connsiteX10561" y="connsiteY10561"/>
                </a:cxn>
                <a:cxn ang="0">
                  <a:pos x="connsiteX10562" y="connsiteY10562"/>
                </a:cxn>
                <a:cxn ang="0">
                  <a:pos x="connsiteX10563" y="connsiteY10563"/>
                </a:cxn>
                <a:cxn ang="0">
                  <a:pos x="connsiteX10564" y="connsiteY10564"/>
                </a:cxn>
                <a:cxn ang="0">
                  <a:pos x="connsiteX10565" y="connsiteY10565"/>
                </a:cxn>
                <a:cxn ang="0">
                  <a:pos x="connsiteX10566" y="connsiteY10566"/>
                </a:cxn>
                <a:cxn ang="0">
                  <a:pos x="connsiteX10567" y="connsiteY10567"/>
                </a:cxn>
                <a:cxn ang="0">
                  <a:pos x="connsiteX10568" y="connsiteY10568"/>
                </a:cxn>
                <a:cxn ang="0">
                  <a:pos x="connsiteX10569" y="connsiteY10569"/>
                </a:cxn>
                <a:cxn ang="0">
                  <a:pos x="connsiteX10570" y="connsiteY10570"/>
                </a:cxn>
                <a:cxn ang="0">
                  <a:pos x="connsiteX10571" y="connsiteY10571"/>
                </a:cxn>
                <a:cxn ang="0">
                  <a:pos x="connsiteX10572" y="connsiteY10572"/>
                </a:cxn>
                <a:cxn ang="0">
                  <a:pos x="connsiteX10573" y="connsiteY10573"/>
                </a:cxn>
                <a:cxn ang="0">
                  <a:pos x="connsiteX10574" y="connsiteY10574"/>
                </a:cxn>
                <a:cxn ang="0">
                  <a:pos x="connsiteX10575" y="connsiteY10575"/>
                </a:cxn>
                <a:cxn ang="0">
                  <a:pos x="connsiteX10576" y="connsiteY10576"/>
                </a:cxn>
                <a:cxn ang="0">
                  <a:pos x="connsiteX10577" y="connsiteY10577"/>
                </a:cxn>
                <a:cxn ang="0">
                  <a:pos x="connsiteX10578" y="connsiteY10578"/>
                </a:cxn>
                <a:cxn ang="0">
                  <a:pos x="connsiteX10579" y="connsiteY10579"/>
                </a:cxn>
                <a:cxn ang="0">
                  <a:pos x="connsiteX10580" y="connsiteY10580"/>
                </a:cxn>
                <a:cxn ang="0">
                  <a:pos x="connsiteX10581" y="connsiteY10581"/>
                </a:cxn>
                <a:cxn ang="0">
                  <a:pos x="connsiteX10582" y="connsiteY10582"/>
                </a:cxn>
                <a:cxn ang="0">
                  <a:pos x="connsiteX10583" y="connsiteY10583"/>
                </a:cxn>
                <a:cxn ang="0">
                  <a:pos x="connsiteX10584" y="connsiteY10584"/>
                </a:cxn>
                <a:cxn ang="0">
                  <a:pos x="connsiteX10585" y="connsiteY10585"/>
                </a:cxn>
                <a:cxn ang="0">
                  <a:pos x="connsiteX10586" y="connsiteY10586"/>
                </a:cxn>
                <a:cxn ang="0">
                  <a:pos x="connsiteX10587" y="connsiteY10587"/>
                </a:cxn>
                <a:cxn ang="0">
                  <a:pos x="connsiteX10588" y="connsiteY10588"/>
                </a:cxn>
                <a:cxn ang="0">
                  <a:pos x="connsiteX10589" y="connsiteY10589"/>
                </a:cxn>
                <a:cxn ang="0">
                  <a:pos x="connsiteX10590" y="connsiteY10590"/>
                </a:cxn>
                <a:cxn ang="0">
                  <a:pos x="connsiteX10591" y="connsiteY10591"/>
                </a:cxn>
                <a:cxn ang="0">
                  <a:pos x="connsiteX10592" y="connsiteY10592"/>
                </a:cxn>
                <a:cxn ang="0">
                  <a:pos x="connsiteX10593" y="connsiteY10593"/>
                </a:cxn>
                <a:cxn ang="0">
                  <a:pos x="connsiteX10594" y="connsiteY10594"/>
                </a:cxn>
                <a:cxn ang="0">
                  <a:pos x="connsiteX10595" y="connsiteY10595"/>
                </a:cxn>
                <a:cxn ang="0">
                  <a:pos x="connsiteX10596" y="connsiteY10596"/>
                </a:cxn>
                <a:cxn ang="0">
                  <a:pos x="connsiteX10597" y="connsiteY10597"/>
                </a:cxn>
                <a:cxn ang="0">
                  <a:pos x="connsiteX10598" y="connsiteY10598"/>
                </a:cxn>
                <a:cxn ang="0">
                  <a:pos x="connsiteX10599" y="connsiteY10599"/>
                </a:cxn>
                <a:cxn ang="0">
                  <a:pos x="connsiteX10600" y="connsiteY10600"/>
                </a:cxn>
                <a:cxn ang="0">
                  <a:pos x="connsiteX10601" y="connsiteY10601"/>
                </a:cxn>
                <a:cxn ang="0">
                  <a:pos x="connsiteX10602" y="connsiteY10602"/>
                </a:cxn>
                <a:cxn ang="0">
                  <a:pos x="connsiteX10603" y="connsiteY10603"/>
                </a:cxn>
                <a:cxn ang="0">
                  <a:pos x="connsiteX10604" y="connsiteY10604"/>
                </a:cxn>
                <a:cxn ang="0">
                  <a:pos x="connsiteX10605" y="connsiteY10605"/>
                </a:cxn>
                <a:cxn ang="0">
                  <a:pos x="connsiteX10606" y="connsiteY10606"/>
                </a:cxn>
                <a:cxn ang="0">
                  <a:pos x="connsiteX10607" y="connsiteY10607"/>
                </a:cxn>
                <a:cxn ang="0">
                  <a:pos x="connsiteX10608" y="connsiteY10608"/>
                </a:cxn>
                <a:cxn ang="0">
                  <a:pos x="connsiteX10609" y="connsiteY10609"/>
                </a:cxn>
                <a:cxn ang="0">
                  <a:pos x="connsiteX10610" y="connsiteY10610"/>
                </a:cxn>
                <a:cxn ang="0">
                  <a:pos x="connsiteX10611" y="connsiteY10611"/>
                </a:cxn>
                <a:cxn ang="0">
                  <a:pos x="connsiteX10612" y="connsiteY10612"/>
                </a:cxn>
                <a:cxn ang="0">
                  <a:pos x="connsiteX10613" y="connsiteY10613"/>
                </a:cxn>
                <a:cxn ang="0">
                  <a:pos x="connsiteX10614" y="connsiteY10614"/>
                </a:cxn>
                <a:cxn ang="0">
                  <a:pos x="connsiteX10615" y="connsiteY10615"/>
                </a:cxn>
                <a:cxn ang="0">
                  <a:pos x="connsiteX10616" y="connsiteY10616"/>
                </a:cxn>
                <a:cxn ang="0">
                  <a:pos x="connsiteX10617" y="connsiteY10617"/>
                </a:cxn>
                <a:cxn ang="0">
                  <a:pos x="connsiteX10618" y="connsiteY10618"/>
                </a:cxn>
                <a:cxn ang="0">
                  <a:pos x="connsiteX10619" y="connsiteY10619"/>
                </a:cxn>
                <a:cxn ang="0">
                  <a:pos x="connsiteX10620" y="connsiteY10620"/>
                </a:cxn>
                <a:cxn ang="0">
                  <a:pos x="connsiteX10621" y="connsiteY10621"/>
                </a:cxn>
                <a:cxn ang="0">
                  <a:pos x="connsiteX10622" y="connsiteY10622"/>
                </a:cxn>
                <a:cxn ang="0">
                  <a:pos x="connsiteX10623" y="connsiteY10623"/>
                </a:cxn>
                <a:cxn ang="0">
                  <a:pos x="connsiteX10624" y="connsiteY10624"/>
                </a:cxn>
                <a:cxn ang="0">
                  <a:pos x="connsiteX10625" y="connsiteY10625"/>
                </a:cxn>
                <a:cxn ang="0">
                  <a:pos x="connsiteX10626" y="connsiteY10626"/>
                </a:cxn>
                <a:cxn ang="0">
                  <a:pos x="connsiteX10627" y="connsiteY10627"/>
                </a:cxn>
                <a:cxn ang="0">
                  <a:pos x="connsiteX10628" y="connsiteY10628"/>
                </a:cxn>
                <a:cxn ang="0">
                  <a:pos x="connsiteX10629" y="connsiteY10629"/>
                </a:cxn>
                <a:cxn ang="0">
                  <a:pos x="connsiteX10630" y="connsiteY10630"/>
                </a:cxn>
                <a:cxn ang="0">
                  <a:pos x="connsiteX10631" y="connsiteY10631"/>
                </a:cxn>
                <a:cxn ang="0">
                  <a:pos x="connsiteX10632" y="connsiteY10632"/>
                </a:cxn>
                <a:cxn ang="0">
                  <a:pos x="connsiteX10633" y="connsiteY10633"/>
                </a:cxn>
                <a:cxn ang="0">
                  <a:pos x="connsiteX10634" y="connsiteY10634"/>
                </a:cxn>
                <a:cxn ang="0">
                  <a:pos x="connsiteX10635" y="connsiteY10635"/>
                </a:cxn>
                <a:cxn ang="0">
                  <a:pos x="connsiteX10636" y="connsiteY10636"/>
                </a:cxn>
                <a:cxn ang="0">
                  <a:pos x="connsiteX10637" y="connsiteY10637"/>
                </a:cxn>
                <a:cxn ang="0">
                  <a:pos x="connsiteX10638" y="connsiteY10638"/>
                </a:cxn>
                <a:cxn ang="0">
                  <a:pos x="connsiteX10639" y="connsiteY10639"/>
                </a:cxn>
                <a:cxn ang="0">
                  <a:pos x="connsiteX10640" y="connsiteY10640"/>
                </a:cxn>
                <a:cxn ang="0">
                  <a:pos x="connsiteX10641" y="connsiteY10641"/>
                </a:cxn>
                <a:cxn ang="0">
                  <a:pos x="connsiteX10642" y="connsiteY10642"/>
                </a:cxn>
                <a:cxn ang="0">
                  <a:pos x="connsiteX10643" y="connsiteY10643"/>
                </a:cxn>
                <a:cxn ang="0">
                  <a:pos x="connsiteX10644" y="connsiteY10644"/>
                </a:cxn>
                <a:cxn ang="0">
                  <a:pos x="connsiteX10645" y="connsiteY10645"/>
                </a:cxn>
                <a:cxn ang="0">
                  <a:pos x="connsiteX10646" y="connsiteY10646"/>
                </a:cxn>
                <a:cxn ang="0">
                  <a:pos x="connsiteX10647" y="connsiteY10647"/>
                </a:cxn>
                <a:cxn ang="0">
                  <a:pos x="connsiteX10648" y="connsiteY10648"/>
                </a:cxn>
                <a:cxn ang="0">
                  <a:pos x="connsiteX10649" y="connsiteY10649"/>
                </a:cxn>
                <a:cxn ang="0">
                  <a:pos x="connsiteX10650" y="connsiteY10650"/>
                </a:cxn>
                <a:cxn ang="0">
                  <a:pos x="connsiteX10651" y="connsiteY10651"/>
                </a:cxn>
                <a:cxn ang="0">
                  <a:pos x="connsiteX10652" y="connsiteY10652"/>
                </a:cxn>
                <a:cxn ang="0">
                  <a:pos x="connsiteX10653" y="connsiteY10653"/>
                </a:cxn>
                <a:cxn ang="0">
                  <a:pos x="connsiteX10654" y="connsiteY10654"/>
                </a:cxn>
                <a:cxn ang="0">
                  <a:pos x="connsiteX10655" y="connsiteY10655"/>
                </a:cxn>
                <a:cxn ang="0">
                  <a:pos x="connsiteX10656" y="connsiteY10656"/>
                </a:cxn>
                <a:cxn ang="0">
                  <a:pos x="connsiteX10657" y="connsiteY10657"/>
                </a:cxn>
                <a:cxn ang="0">
                  <a:pos x="connsiteX10658" y="connsiteY10658"/>
                </a:cxn>
                <a:cxn ang="0">
                  <a:pos x="connsiteX10659" y="connsiteY10659"/>
                </a:cxn>
                <a:cxn ang="0">
                  <a:pos x="connsiteX10660" y="connsiteY10660"/>
                </a:cxn>
                <a:cxn ang="0">
                  <a:pos x="connsiteX10661" y="connsiteY10661"/>
                </a:cxn>
                <a:cxn ang="0">
                  <a:pos x="connsiteX10662" y="connsiteY10662"/>
                </a:cxn>
                <a:cxn ang="0">
                  <a:pos x="connsiteX10663" y="connsiteY10663"/>
                </a:cxn>
                <a:cxn ang="0">
                  <a:pos x="connsiteX10664" y="connsiteY10664"/>
                </a:cxn>
                <a:cxn ang="0">
                  <a:pos x="connsiteX10665" y="connsiteY10665"/>
                </a:cxn>
                <a:cxn ang="0">
                  <a:pos x="connsiteX10666" y="connsiteY10666"/>
                </a:cxn>
                <a:cxn ang="0">
                  <a:pos x="connsiteX10667" y="connsiteY10667"/>
                </a:cxn>
                <a:cxn ang="0">
                  <a:pos x="connsiteX10668" y="connsiteY10668"/>
                </a:cxn>
                <a:cxn ang="0">
                  <a:pos x="connsiteX10669" y="connsiteY10669"/>
                </a:cxn>
                <a:cxn ang="0">
                  <a:pos x="connsiteX10670" y="connsiteY10670"/>
                </a:cxn>
                <a:cxn ang="0">
                  <a:pos x="connsiteX10671" y="connsiteY10671"/>
                </a:cxn>
                <a:cxn ang="0">
                  <a:pos x="connsiteX10672" y="connsiteY10672"/>
                </a:cxn>
                <a:cxn ang="0">
                  <a:pos x="connsiteX10673" y="connsiteY10673"/>
                </a:cxn>
                <a:cxn ang="0">
                  <a:pos x="connsiteX10674" y="connsiteY10674"/>
                </a:cxn>
                <a:cxn ang="0">
                  <a:pos x="connsiteX10675" y="connsiteY10675"/>
                </a:cxn>
                <a:cxn ang="0">
                  <a:pos x="connsiteX10676" y="connsiteY10676"/>
                </a:cxn>
                <a:cxn ang="0">
                  <a:pos x="connsiteX10677" y="connsiteY10677"/>
                </a:cxn>
                <a:cxn ang="0">
                  <a:pos x="connsiteX10678" y="connsiteY10678"/>
                </a:cxn>
                <a:cxn ang="0">
                  <a:pos x="connsiteX10679" y="connsiteY10679"/>
                </a:cxn>
                <a:cxn ang="0">
                  <a:pos x="connsiteX10680" y="connsiteY10680"/>
                </a:cxn>
                <a:cxn ang="0">
                  <a:pos x="connsiteX10681" y="connsiteY10681"/>
                </a:cxn>
                <a:cxn ang="0">
                  <a:pos x="connsiteX10682" y="connsiteY10682"/>
                </a:cxn>
                <a:cxn ang="0">
                  <a:pos x="connsiteX10683" y="connsiteY10683"/>
                </a:cxn>
                <a:cxn ang="0">
                  <a:pos x="connsiteX10684" y="connsiteY10684"/>
                </a:cxn>
                <a:cxn ang="0">
                  <a:pos x="connsiteX10685" y="connsiteY10685"/>
                </a:cxn>
                <a:cxn ang="0">
                  <a:pos x="connsiteX10686" y="connsiteY10686"/>
                </a:cxn>
                <a:cxn ang="0">
                  <a:pos x="connsiteX10687" y="connsiteY10687"/>
                </a:cxn>
                <a:cxn ang="0">
                  <a:pos x="connsiteX10688" y="connsiteY10688"/>
                </a:cxn>
                <a:cxn ang="0">
                  <a:pos x="connsiteX10689" y="connsiteY10689"/>
                </a:cxn>
                <a:cxn ang="0">
                  <a:pos x="connsiteX10690" y="connsiteY10690"/>
                </a:cxn>
                <a:cxn ang="0">
                  <a:pos x="connsiteX10691" y="connsiteY10691"/>
                </a:cxn>
                <a:cxn ang="0">
                  <a:pos x="connsiteX10692" y="connsiteY10692"/>
                </a:cxn>
                <a:cxn ang="0">
                  <a:pos x="connsiteX10693" y="connsiteY10693"/>
                </a:cxn>
                <a:cxn ang="0">
                  <a:pos x="connsiteX10694" y="connsiteY10694"/>
                </a:cxn>
                <a:cxn ang="0">
                  <a:pos x="connsiteX10695" y="connsiteY10695"/>
                </a:cxn>
                <a:cxn ang="0">
                  <a:pos x="connsiteX10696" y="connsiteY10696"/>
                </a:cxn>
                <a:cxn ang="0">
                  <a:pos x="connsiteX10697" y="connsiteY10697"/>
                </a:cxn>
                <a:cxn ang="0">
                  <a:pos x="connsiteX10698" y="connsiteY10698"/>
                </a:cxn>
                <a:cxn ang="0">
                  <a:pos x="connsiteX10699" y="connsiteY10699"/>
                </a:cxn>
                <a:cxn ang="0">
                  <a:pos x="connsiteX10700" y="connsiteY10700"/>
                </a:cxn>
                <a:cxn ang="0">
                  <a:pos x="connsiteX10701" y="connsiteY10701"/>
                </a:cxn>
                <a:cxn ang="0">
                  <a:pos x="connsiteX10702" y="connsiteY10702"/>
                </a:cxn>
                <a:cxn ang="0">
                  <a:pos x="connsiteX10703" y="connsiteY10703"/>
                </a:cxn>
                <a:cxn ang="0">
                  <a:pos x="connsiteX10704" y="connsiteY10704"/>
                </a:cxn>
                <a:cxn ang="0">
                  <a:pos x="connsiteX10705" y="connsiteY10705"/>
                </a:cxn>
                <a:cxn ang="0">
                  <a:pos x="connsiteX10706" y="connsiteY10706"/>
                </a:cxn>
                <a:cxn ang="0">
                  <a:pos x="connsiteX10707" y="connsiteY10707"/>
                </a:cxn>
                <a:cxn ang="0">
                  <a:pos x="connsiteX10708" y="connsiteY10708"/>
                </a:cxn>
                <a:cxn ang="0">
                  <a:pos x="connsiteX10709" y="connsiteY10709"/>
                </a:cxn>
                <a:cxn ang="0">
                  <a:pos x="connsiteX10710" y="connsiteY10710"/>
                </a:cxn>
                <a:cxn ang="0">
                  <a:pos x="connsiteX10711" y="connsiteY10711"/>
                </a:cxn>
                <a:cxn ang="0">
                  <a:pos x="connsiteX10712" y="connsiteY10712"/>
                </a:cxn>
                <a:cxn ang="0">
                  <a:pos x="connsiteX10713" y="connsiteY10713"/>
                </a:cxn>
                <a:cxn ang="0">
                  <a:pos x="connsiteX10714" y="connsiteY10714"/>
                </a:cxn>
                <a:cxn ang="0">
                  <a:pos x="connsiteX10715" y="connsiteY10715"/>
                </a:cxn>
                <a:cxn ang="0">
                  <a:pos x="connsiteX10716" y="connsiteY10716"/>
                </a:cxn>
                <a:cxn ang="0">
                  <a:pos x="connsiteX10717" y="connsiteY10717"/>
                </a:cxn>
                <a:cxn ang="0">
                  <a:pos x="connsiteX10718" y="connsiteY10718"/>
                </a:cxn>
                <a:cxn ang="0">
                  <a:pos x="connsiteX10719" y="connsiteY10719"/>
                </a:cxn>
                <a:cxn ang="0">
                  <a:pos x="connsiteX10720" y="connsiteY10720"/>
                </a:cxn>
                <a:cxn ang="0">
                  <a:pos x="connsiteX10721" y="connsiteY10721"/>
                </a:cxn>
                <a:cxn ang="0">
                  <a:pos x="connsiteX10722" y="connsiteY10722"/>
                </a:cxn>
                <a:cxn ang="0">
                  <a:pos x="connsiteX10723" y="connsiteY10723"/>
                </a:cxn>
                <a:cxn ang="0">
                  <a:pos x="connsiteX10724" y="connsiteY10724"/>
                </a:cxn>
                <a:cxn ang="0">
                  <a:pos x="connsiteX10725" y="connsiteY10725"/>
                </a:cxn>
                <a:cxn ang="0">
                  <a:pos x="connsiteX10726" y="connsiteY10726"/>
                </a:cxn>
                <a:cxn ang="0">
                  <a:pos x="connsiteX10727" y="connsiteY10727"/>
                </a:cxn>
                <a:cxn ang="0">
                  <a:pos x="connsiteX10728" y="connsiteY10728"/>
                </a:cxn>
                <a:cxn ang="0">
                  <a:pos x="connsiteX10729" y="connsiteY10729"/>
                </a:cxn>
                <a:cxn ang="0">
                  <a:pos x="connsiteX10730" y="connsiteY10730"/>
                </a:cxn>
                <a:cxn ang="0">
                  <a:pos x="connsiteX10731" y="connsiteY10731"/>
                </a:cxn>
                <a:cxn ang="0">
                  <a:pos x="connsiteX10732" y="connsiteY10732"/>
                </a:cxn>
                <a:cxn ang="0">
                  <a:pos x="connsiteX10733" y="connsiteY10733"/>
                </a:cxn>
                <a:cxn ang="0">
                  <a:pos x="connsiteX10734" y="connsiteY10734"/>
                </a:cxn>
                <a:cxn ang="0">
                  <a:pos x="connsiteX10735" y="connsiteY10735"/>
                </a:cxn>
                <a:cxn ang="0">
                  <a:pos x="connsiteX10736" y="connsiteY10736"/>
                </a:cxn>
                <a:cxn ang="0">
                  <a:pos x="connsiteX10737" y="connsiteY10737"/>
                </a:cxn>
                <a:cxn ang="0">
                  <a:pos x="connsiteX10738" y="connsiteY10738"/>
                </a:cxn>
                <a:cxn ang="0">
                  <a:pos x="connsiteX10739" y="connsiteY10739"/>
                </a:cxn>
                <a:cxn ang="0">
                  <a:pos x="connsiteX10740" y="connsiteY10740"/>
                </a:cxn>
                <a:cxn ang="0">
                  <a:pos x="connsiteX10741" y="connsiteY10741"/>
                </a:cxn>
                <a:cxn ang="0">
                  <a:pos x="connsiteX10742" y="connsiteY10742"/>
                </a:cxn>
                <a:cxn ang="0">
                  <a:pos x="connsiteX10743" y="connsiteY10743"/>
                </a:cxn>
                <a:cxn ang="0">
                  <a:pos x="connsiteX10744" y="connsiteY10744"/>
                </a:cxn>
                <a:cxn ang="0">
                  <a:pos x="connsiteX10745" y="connsiteY10745"/>
                </a:cxn>
                <a:cxn ang="0">
                  <a:pos x="connsiteX10746" y="connsiteY10746"/>
                </a:cxn>
                <a:cxn ang="0">
                  <a:pos x="connsiteX10747" y="connsiteY10747"/>
                </a:cxn>
                <a:cxn ang="0">
                  <a:pos x="connsiteX10748" y="connsiteY10748"/>
                </a:cxn>
                <a:cxn ang="0">
                  <a:pos x="connsiteX10749" y="connsiteY10749"/>
                </a:cxn>
                <a:cxn ang="0">
                  <a:pos x="connsiteX10750" y="connsiteY10750"/>
                </a:cxn>
                <a:cxn ang="0">
                  <a:pos x="connsiteX10751" y="connsiteY10751"/>
                </a:cxn>
                <a:cxn ang="0">
                  <a:pos x="connsiteX10752" y="connsiteY10752"/>
                </a:cxn>
                <a:cxn ang="0">
                  <a:pos x="connsiteX10753" y="connsiteY10753"/>
                </a:cxn>
                <a:cxn ang="0">
                  <a:pos x="connsiteX10754" y="connsiteY10754"/>
                </a:cxn>
                <a:cxn ang="0">
                  <a:pos x="connsiteX10755" y="connsiteY10755"/>
                </a:cxn>
                <a:cxn ang="0">
                  <a:pos x="connsiteX10756" y="connsiteY10756"/>
                </a:cxn>
                <a:cxn ang="0">
                  <a:pos x="connsiteX10757" y="connsiteY10757"/>
                </a:cxn>
                <a:cxn ang="0">
                  <a:pos x="connsiteX10758" y="connsiteY10758"/>
                </a:cxn>
                <a:cxn ang="0">
                  <a:pos x="connsiteX10759" y="connsiteY10759"/>
                </a:cxn>
                <a:cxn ang="0">
                  <a:pos x="connsiteX10760" y="connsiteY10760"/>
                </a:cxn>
                <a:cxn ang="0">
                  <a:pos x="connsiteX10761" y="connsiteY10761"/>
                </a:cxn>
                <a:cxn ang="0">
                  <a:pos x="connsiteX10762" y="connsiteY10762"/>
                </a:cxn>
                <a:cxn ang="0">
                  <a:pos x="connsiteX10763" y="connsiteY10763"/>
                </a:cxn>
                <a:cxn ang="0">
                  <a:pos x="connsiteX10764" y="connsiteY10764"/>
                </a:cxn>
                <a:cxn ang="0">
                  <a:pos x="connsiteX10765" y="connsiteY10765"/>
                </a:cxn>
                <a:cxn ang="0">
                  <a:pos x="connsiteX10766" y="connsiteY10766"/>
                </a:cxn>
                <a:cxn ang="0">
                  <a:pos x="connsiteX10767" y="connsiteY10767"/>
                </a:cxn>
                <a:cxn ang="0">
                  <a:pos x="connsiteX10768" y="connsiteY10768"/>
                </a:cxn>
                <a:cxn ang="0">
                  <a:pos x="connsiteX10769" y="connsiteY10769"/>
                </a:cxn>
                <a:cxn ang="0">
                  <a:pos x="connsiteX10770" y="connsiteY10770"/>
                </a:cxn>
                <a:cxn ang="0">
                  <a:pos x="connsiteX10771" y="connsiteY10771"/>
                </a:cxn>
                <a:cxn ang="0">
                  <a:pos x="connsiteX10772" y="connsiteY10772"/>
                </a:cxn>
                <a:cxn ang="0">
                  <a:pos x="connsiteX10773" y="connsiteY10773"/>
                </a:cxn>
                <a:cxn ang="0">
                  <a:pos x="connsiteX10774" y="connsiteY10774"/>
                </a:cxn>
                <a:cxn ang="0">
                  <a:pos x="connsiteX10775" y="connsiteY10775"/>
                </a:cxn>
                <a:cxn ang="0">
                  <a:pos x="connsiteX10776" y="connsiteY10776"/>
                </a:cxn>
                <a:cxn ang="0">
                  <a:pos x="connsiteX10777" y="connsiteY10777"/>
                </a:cxn>
                <a:cxn ang="0">
                  <a:pos x="connsiteX10778" y="connsiteY10778"/>
                </a:cxn>
                <a:cxn ang="0">
                  <a:pos x="connsiteX10779" y="connsiteY10779"/>
                </a:cxn>
                <a:cxn ang="0">
                  <a:pos x="connsiteX10780" y="connsiteY10780"/>
                </a:cxn>
                <a:cxn ang="0">
                  <a:pos x="connsiteX10781" y="connsiteY10781"/>
                </a:cxn>
                <a:cxn ang="0">
                  <a:pos x="connsiteX10782" y="connsiteY10782"/>
                </a:cxn>
                <a:cxn ang="0">
                  <a:pos x="connsiteX10783" y="connsiteY10783"/>
                </a:cxn>
                <a:cxn ang="0">
                  <a:pos x="connsiteX10784" y="connsiteY10784"/>
                </a:cxn>
                <a:cxn ang="0">
                  <a:pos x="connsiteX10785" y="connsiteY10785"/>
                </a:cxn>
                <a:cxn ang="0">
                  <a:pos x="connsiteX10786" y="connsiteY10786"/>
                </a:cxn>
                <a:cxn ang="0">
                  <a:pos x="connsiteX10787" y="connsiteY10787"/>
                </a:cxn>
                <a:cxn ang="0">
                  <a:pos x="connsiteX10788" y="connsiteY10788"/>
                </a:cxn>
                <a:cxn ang="0">
                  <a:pos x="connsiteX10789" y="connsiteY10789"/>
                </a:cxn>
                <a:cxn ang="0">
                  <a:pos x="connsiteX10790" y="connsiteY10790"/>
                </a:cxn>
                <a:cxn ang="0">
                  <a:pos x="connsiteX10791" y="connsiteY10791"/>
                </a:cxn>
                <a:cxn ang="0">
                  <a:pos x="connsiteX10792" y="connsiteY10792"/>
                </a:cxn>
                <a:cxn ang="0">
                  <a:pos x="connsiteX10793" y="connsiteY10793"/>
                </a:cxn>
                <a:cxn ang="0">
                  <a:pos x="connsiteX10794" y="connsiteY10794"/>
                </a:cxn>
                <a:cxn ang="0">
                  <a:pos x="connsiteX10795" y="connsiteY10795"/>
                </a:cxn>
                <a:cxn ang="0">
                  <a:pos x="connsiteX10796" y="connsiteY10796"/>
                </a:cxn>
                <a:cxn ang="0">
                  <a:pos x="connsiteX10797" y="connsiteY10797"/>
                </a:cxn>
                <a:cxn ang="0">
                  <a:pos x="connsiteX10798" y="connsiteY10798"/>
                </a:cxn>
                <a:cxn ang="0">
                  <a:pos x="connsiteX10799" y="connsiteY10799"/>
                </a:cxn>
                <a:cxn ang="0">
                  <a:pos x="connsiteX10800" y="connsiteY10800"/>
                </a:cxn>
                <a:cxn ang="0">
                  <a:pos x="connsiteX10801" y="connsiteY10801"/>
                </a:cxn>
                <a:cxn ang="0">
                  <a:pos x="connsiteX10802" y="connsiteY10802"/>
                </a:cxn>
                <a:cxn ang="0">
                  <a:pos x="connsiteX10803" y="connsiteY10803"/>
                </a:cxn>
                <a:cxn ang="0">
                  <a:pos x="connsiteX10804" y="connsiteY10804"/>
                </a:cxn>
                <a:cxn ang="0">
                  <a:pos x="connsiteX10805" y="connsiteY10805"/>
                </a:cxn>
                <a:cxn ang="0">
                  <a:pos x="connsiteX10806" y="connsiteY10806"/>
                </a:cxn>
                <a:cxn ang="0">
                  <a:pos x="connsiteX10807" y="connsiteY10807"/>
                </a:cxn>
                <a:cxn ang="0">
                  <a:pos x="connsiteX10808" y="connsiteY10808"/>
                </a:cxn>
                <a:cxn ang="0">
                  <a:pos x="connsiteX10809" y="connsiteY10809"/>
                </a:cxn>
                <a:cxn ang="0">
                  <a:pos x="connsiteX10810" y="connsiteY10810"/>
                </a:cxn>
                <a:cxn ang="0">
                  <a:pos x="connsiteX10811" y="connsiteY10811"/>
                </a:cxn>
                <a:cxn ang="0">
                  <a:pos x="connsiteX10812" y="connsiteY10812"/>
                </a:cxn>
                <a:cxn ang="0">
                  <a:pos x="connsiteX10813" y="connsiteY10813"/>
                </a:cxn>
                <a:cxn ang="0">
                  <a:pos x="connsiteX10814" y="connsiteY10814"/>
                </a:cxn>
                <a:cxn ang="0">
                  <a:pos x="connsiteX10815" y="connsiteY10815"/>
                </a:cxn>
                <a:cxn ang="0">
                  <a:pos x="connsiteX10816" y="connsiteY10816"/>
                </a:cxn>
                <a:cxn ang="0">
                  <a:pos x="connsiteX10817" y="connsiteY10817"/>
                </a:cxn>
                <a:cxn ang="0">
                  <a:pos x="connsiteX10818" y="connsiteY10818"/>
                </a:cxn>
                <a:cxn ang="0">
                  <a:pos x="connsiteX10819" y="connsiteY10819"/>
                </a:cxn>
                <a:cxn ang="0">
                  <a:pos x="connsiteX10820" y="connsiteY10820"/>
                </a:cxn>
                <a:cxn ang="0">
                  <a:pos x="connsiteX10821" y="connsiteY10821"/>
                </a:cxn>
                <a:cxn ang="0">
                  <a:pos x="connsiteX10822" y="connsiteY10822"/>
                </a:cxn>
                <a:cxn ang="0">
                  <a:pos x="connsiteX10823" y="connsiteY10823"/>
                </a:cxn>
                <a:cxn ang="0">
                  <a:pos x="connsiteX10824" y="connsiteY10824"/>
                </a:cxn>
                <a:cxn ang="0">
                  <a:pos x="connsiteX10825" y="connsiteY10825"/>
                </a:cxn>
                <a:cxn ang="0">
                  <a:pos x="connsiteX10826" y="connsiteY10826"/>
                </a:cxn>
                <a:cxn ang="0">
                  <a:pos x="connsiteX10827" y="connsiteY10827"/>
                </a:cxn>
                <a:cxn ang="0">
                  <a:pos x="connsiteX10828" y="connsiteY10828"/>
                </a:cxn>
                <a:cxn ang="0">
                  <a:pos x="connsiteX10829" y="connsiteY10829"/>
                </a:cxn>
                <a:cxn ang="0">
                  <a:pos x="connsiteX10830" y="connsiteY10830"/>
                </a:cxn>
                <a:cxn ang="0">
                  <a:pos x="connsiteX10831" y="connsiteY10831"/>
                </a:cxn>
                <a:cxn ang="0">
                  <a:pos x="connsiteX10832" y="connsiteY10832"/>
                </a:cxn>
                <a:cxn ang="0">
                  <a:pos x="connsiteX10833" y="connsiteY10833"/>
                </a:cxn>
                <a:cxn ang="0">
                  <a:pos x="connsiteX10834" y="connsiteY10834"/>
                </a:cxn>
                <a:cxn ang="0">
                  <a:pos x="connsiteX10835" y="connsiteY10835"/>
                </a:cxn>
                <a:cxn ang="0">
                  <a:pos x="connsiteX10836" y="connsiteY10836"/>
                </a:cxn>
                <a:cxn ang="0">
                  <a:pos x="connsiteX10837" y="connsiteY10837"/>
                </a:cxn>
                <a:cxn ang="0">
                  <a:pos x="connsiteX10838" y="connsiteY10838"/>
                </a:cxn>
                <a:cxn ang="0">
                  <a:pos x="connsiteX10839" y="connsiteY10839"/>
                </a:cxn>
                <a:cxn ang="0">
                  <a:pos x="connsiteX10840" y="connsiteY10840"/>
                </a:cxn>
                <a:cxn ang="0">
                  <a:pos x="connsiteX10841" y="connsiteY10841"/>
                </a:cxn>
                <a:cxn ang="0">
                  <a:pos x="connsiteX10842" y="connsiteY10842"/>
                </a:cxn>
                <a:cxn ang="0">
                  <a:pos x="connsiteX10843" y="connsiteY10843"/>
                </a:cxn>
                <a:cxn ang="0">
                  <a:pos x="connsiteX10844" y="connsiteY10844"/>
                </a:cxn>
                <a:cxn ang="0">
                  <a:pos x="connsiteX10845" y="connsiteY10845"/>
                </a:cxn>
                <a:cxn ang="0">
                  <a:pos x="connsiteX10846" y="connsiteY10846"/>
                </a:cxn>
                <a:cxn ang="0">
                  <a:pos x="connsiteX10847" y="connsiteY10847"/>
                </a:cxn>
                <a:cxn ang="0">
                  <a:pos x="connsiteX10848" y="connsiteY10848"/>
                </a:cxn>
                <a:cxn ang="0">
                  <a:pos x="connsiteX10849" y="connsiteY10849"/>
                </a:cxn>
                <a:cxn ang="0">
                  <a:pos x="connsiteX10850" y="connsiteY10850"/>
                </a:cxn>
                <a:cxn ang="0">
                  <a:pos x="connsiteX10851" y="connsiteY10851"/>
                </a:cxn>
                <a:cxn ang="0">
                  <a:pos x="connsiteX10852" y="connsiteY10852"/>
                </a:cxn>
                <a:cxn ang="0">
                  <a:pos x="connsiteX10853" y="connsiteY10853"/>
                </a:cxn>
                <a:cxn ang="0">
                  <a:pos x="connsiteX10854" y="connsiteY10854"/>
                </a:cxn>
                <a:cxn ang="0">
                  <a:pos x="connsiteX10855" y="connsiteY10855"/>
                </a:cxn>
                <a:cxn ang="0">
                  <a:pos x="connsiteX10856" y="connsiteY10856"/>
                </a:cxn>
                <a:cxn ang="0">
                  <a:pos x="connsiteX10857" y="connsiteY10857"/>
                </a:cxn>
                <a:cxn ang="0">
                  <a:pos x="connsiteX10858" y="connsiteY10858"/>
                </a:cxn>
                <a:cxn ang="0">
                  <a:pos x="connsiteX10859" y="connsiteY10859"/>
                </a:cxn>
                <a:cxn ang="0">
                  <a:pos x="connsiteX10860" y="connsiteY10860"/>
                </a:cxn>
                <a:cxn ang="0">
                  <a:pos x="connsiteX10861" y="connsiteY10861"/>
                </a:cxn>
                <a:cxn ang="0">
                  <a:pos x="connsiteX10862" y="connsiteY10862"/>
                </a:cxn>
                <a:cxn ang="0">
                  <a:pos x="connsiteX10863" y="connsiteY10863"/>
                </a:cxn>
                <a:cxn ang="0">
                  <a:pos x="connsiteX10864" y="connsiteY10864"/>
                </a:cxn>
                <a:cxn ang="0">
                  <a:pos x="connsiteX10865" y="connsiteY10865"/>
                </a:cxn>
                <a:cxn ang="0">
                  <a:pos x="connsiteX10866" y="connsiteY10866"/>
                </a:cxn>
                <a:cxn ang="0">
                  <a:pos x="connsiteX10867" y="connsiteY10867"/>
                </a:cxn>
                <a:cxn ang="0">
                  <a:pos x="connsiteX10868" y="connsiteY10868"/>
                </a:cxn>
                <a:cxn ang="0">
                  <a:pos x="connsiteX10869" y="connsiteY10869"/>
                </a:cxn>
                <a:cxn ang="0">
                  <a:pos x="connsiteX10870" y="connsiteY10870"/>
                </a:cxn>
                <a:cxn ang="0">
                  <a:pos x="connsiteX10871" y="connsiteY10871"/>
                </a:cxn>
                <a:cxn ang="0">
                  <a:pos x="connsiteX10872" y="connsiteY10872"/>
                </a:cxn>
                <a:cxn ang="0">
                  <a:pos x="connsiteX10873" y="connsiteY10873"/>
                </a:cxn>
                <a:cxn ang="0">
                  <a:pos x="connsiteX10874" y="connsiteY10874"/>
                </a:cxn>
                <a:cxn ang="0">
                  <a:pos x="connsiteX10875" y="connsiteY10875"/>
                </a:cxn>
                <a:cxn ang="0">
                  <a:pos x="connsiteX10876" y="connsiteY10876"/>
                </a:cxn>
                <a:cxn ang="0">
                  <a:pos x="connsiteX10877" y="connsiteY10877"/>
                </a:cxn>
                <a:cxn ang="0">
                  <a:pos x="connsiteX10878" y="connsiteY10878"/>
                </a:cxn>
                <a:cxn ang="0">
                  <a:pos x="connsiteX10879" y="connsiteY10879"/>
                </a:cxn>
                <a:cxn ang="0">
                  <a:pos x="connsiteX10880" y="connsiteY10880"/>
                </a:cxn>
                <a:cxn ang="0">
                  <a:pos x="connsiteX10881" y="connsiteY10881"/>
                </a:cxn>
                <a:cxn ang="0">
                  <a:pos x="connsiteX10882" y="connsiteY10882"/>
                </a:cxn>
                <a:cxn ang="0">
                  <a:pos x="connsiteX10883" y="connsiteY10883"/>
                </a:cxn>
                <a:cxn ang="0">
                  <a:pos x="connsiteX10884" y="connsiteY10884"/>
                </a:cxn>
                <a:cxn ang="0">
                  <a:pos x="connsiteX10885" y="connsiteY10885"/>
                </a:cxn>
                <a:cxn ang="0">
                  <a:pos x="connsiteX10886" y="connsiteY10886"/>
                </a:cxn>
                <a:cxn ang="0">
                  <a:pos x="connsiteX10887" y="connsiteY10887"/>
                </a:cxn>
                <a:cxn ang="0">
                  <a:pos x="connsiteX10888" y="connsiteY10888"/>
                </a:cxn>
                <a:cxn ang="0">
                  <a:pos x="connsiteX10889" y="connsiteY10889"/>
                </a:cxn>
                <a:cxn ang="0">
                  <a:pos x="connsiteX10890" y="connsiteY10890"/>
                </a:cxn>
                <a:cxn ang="0">
                  <a:pos x="connsiteX10891" y="connsiteY10891"/>
                </a:cxn>
                <a:cxn ang="0">
                  <a:pos x="connsiteX10892" y="connsiteY10892"/>
                </a:cxn>
                <a:cxn ang="0">
                  <a:pos x="connsiteX10893" y="connsiteY10893"/>
                </a:cxn>
                <a:cxn ang="0">
                  <a:pos x="connsiteX10894" y="connsiteY10894"/>
                </a:cxn>
                <a:cxn ang="0">
                  <a:pos x="connsiteX10895" y="connsiteY10895"/>
                </a:cxn>
                <a:cxn ang="0">
                  <a:pos x="connsiteX10896" y="connsiteY10896"/>
                </a:cxn>
                <a:cxn ang="0">
                  <a:pos x="connsiteX10897" y="connsiteY10897"/>
                </a:cxn>
                <a:cxn ang="0">
                  <a:pos x="connsiteX10898" y="connsiteY10898"/>
                </a:cxn>
                <a:cxn ang="0">
                  <a:pos x="connsiteX10899" y="connsiteY10899"/>
                </a:cxn>
                <a:cxn ang="0">
                  <a:pos x="connsiteX10900" y="connsiteY10900"/>
                </a:cxn>
                <a:cxn ang="0">
                  <a:pos x="connsiteX10901" y="connsiteY10901"/>
                </a:cxn>
                <a:cxn ang="0">
                  <a:pos x="connsiteX10902" y="connsiteY10902"/>
                </a:cxn>
                <a:cxn ang="0">
                  <a:pos x="connsiteX10903" y="connsiteY10903"/>
                </a:cxn>
                <a:cxn ang="0">
                  <a:pos x="connsiteX10904" y="connsiteY10904"/>
                </a:cxn>
                <a:cxn ang="0">
                  <a:pos x="connsiteX10905" y="connsiteY10905"/>
                </a:cxn>
                <a:cxn ang="0">
                  <a:pos x="connsiteX10906" y="connsiteY10906"/>
                </a:cxn>
                <a:cxn ang="0">
                  <a:pos x="connsiteX10907" y="connsiteY10907"/>
                </a:cxn>
                <a:cxn ang="0">
                  <a:pos x="connsiteX10908" y="connsiteY10908"/>
                </a:cxn>
                <a:cxn ang="0">
                  <a:pos x="connsiteX10909" y="connsiteY10909"/>
                </a:cxn>
                <a:cxn ang="0">
                  <a:pos x="connsiteX10910" y="connsiteY10910"/>
                </a:cxn>
                <a:cxn ang="0">
                  <a:pos x="connsiteX10911" y="connsiteY10911"/>
                </a:cxn>
                <a:cxn ang="0">
                  <a:pos x="connsiteX10912" y="connsiteY10912"/>
                </a:cxn>
                <a:cxn ang="0">
                  <a:pos x="connsiteX10913" y="connsiteY10913"/>
                </a:cxn>
                <a:cxn ang="0">
                  <a:pos x="connsiteX10914" y="connsiteY10914"/>
                </a:cxn>
                <a:cxn ang="0">
                  <a:pos x="connsiteX10915" y="connsiteY10915"/>
                </a:cxn>
                <a:cxn ang="0">
                  <a:pos x="connsiteX10916" y="connsiteY10916"/>
                </a:cxn>
                <a:cxn ang="0">
                  <a:pos x="connsiteX10917" y="connsiteY10917"/>
                </a:cxn>
                <a:cxn ang="0">
                  <a:pos x="connsiteX10918" y="connsiteY10918"/>
                </a:cxn>
                <a:cxn ang="0">
                  <a:pos x="connsiteX10919" y="connsiteY10919"/>
                </a:cxn>
                <a:cxn ang="0">
                  <a:pos x="connsiteX10920" y="connsiteY10920"/>
                </a:cxn>
                <a:cxn ang="0">
                  <a:pos x="connsiteX10921" y="connsiteY10921"/>
                </a:cxn>
                <a:cxn ang="0">
                  <a:pos x="connsiteX10922" y="connsiteY10922"/>
                </a:cxn>
                <a:cxn ang="0">
                  <a:pos x="connsiteX10923" y="connsiteY10923"/>
                </a:cxn>
                <a:cxn ang="0">
                  <a:pos x="connsiteX10924" y="connsiteY10924"/>
                </a:cxn>
                <a:cxn ang="0">
                  <a:pos x="connsiteX10925" y="connsiteY10925"/>
                </a:cxn>
                <a:cxn ang="0">
                  <a:pos x="connsiteX10926" y="connsiteY10926"/>
                </a:cxn>
                <a:cxn ang="0">
                  <a:pos x="connsiteX10927" y="connsiteY10927"/>
                </a:cxn>
                <a:cxn ang="0">
                  <a:pos x="connsiteX10928" y="connsiteY10928"/>
                </a:cxn>
                <a:cxn ang="0">
                  <a:pos x="connsiteX10929" y="connsiteY10929"/>
                </a:cxn>
                <a:cxn ang="0">
                  <a:pos x="connsiteX10930" y="connsiteY10930"/>
                </a:cxn>
                <a:cxn ang="0">
                  <a:pos x="connsiteX10931" y="connsiteY10931"/>
                </a:cxn>
                <a:cxn ang="0">
                  <a:pos x="connsiteX10932" y="connsiteY10932"/>
                </a:cxn>
                <a:cxn ang="0">
                  <a:pos x="connsiteX10933" y="connsiteY10933"/>
                </a:cxn>
                <a:cxn ang="0">
                  <a:pos x="connsiteX10934" y="connsiteY10934"/>
                </a:cxn>
                <a:cxn ang="0">
                  <a:pos x="connsiteX10935" y="connsiteY10935"/>
                </a:cxn>
                <a:cxn ang="0">
                  <a:pos x="connsiteX10936" y="connsiteY10936"/>
                </a:cxn>
                <a:cxn ang="0">
                  <a:pos x="connsiteX10937" y="connsiteY10937"/>
                </a:cxn>
                <a:cxn ang="0">
                  <a:pos x="connsiteX10938" y="connsiteY10938"/>
                </a:cxn>
                <a:cxn ang="0">
                  <a:pos x="connsiteX10939" y="connsiteY10939"/>
                </a:cxn>
                <a:cxn ang="0">
                  <a:pos x="connsiteX10940" y="connsiteY10940"/>
                </a:cxn>
                <a:cxn ang="0">
                  <a:pos x="connsiteX10941" y="connsiteY10941"/>
                </a:cxn>
                <a:cxn ang="0">
                  <a:pos x="connsiteX10942" y="connsiteY10942"/>
                </a:cxn>
                <a:cxn ang="0">
                  <a:pos x="connsiteX10943" y="connsiteY10943"/>
                </a:cxn>
                <a:cxn ang="0">
                  <a:pos x="connsiteX10944" y="connsiteY10944"/>
                </a:cxn>
                <a:cxn ang="0">
                  <a:pos x="connsiteX10945" y="connsiteY10945"/>
                </a:cxn>
                <a:cxn ang="0">
                  <a:pos x="connsiteX10946" y="connsiteY10946"/>
                </a:cxn>
                <a:cxn ang="0">
                  <a:pos x="connsiteX10947" y="connsiteY10947"/>
                </a:cxn>
                <a:cxn ang="0">
                  <a:pos x="connsiteX10948" y="connsiteY10948"/>
                </a:cxn>
                <a:cxn ang="0">
                  <a:pos x="connsiteX10949" y="connsiteY10949"/>
                </a:cxn>
                <a:cxn ang="0">
                  <a:pos x="connsiteX10950" y="connsiteY10950"/>
                </a:cxn>
                <a:cxn ang="0">
                  <a:pos x="connsiteX10951" y="connsiteY10951"/>
                </a:cxn>
                <a:cxn ang="0">
                  <a:pos x="connsiteX10952" y="connsiteY10952"/>
                </a:cxn>
                <a:cxn ang="0">
                  <a:pos x="connsiteX10953" y="connsiteY10953"/>
                </a:cxn>
                <a:cxn ang="0">
                  <a:pos x="connsiteX10954" y="connsiteY10954"/>
                </a:cxn>
                <a:cxn ang="0">
                  <a:pos x="connsiteX10955" y="connsiteY10955"/>
                </a:cxn>
                <a:cxn ang="0">
                  <a:pos x="connsiteX10956" y="connsiteY10956"/>
                </a:cxn>
                <a:cxn ang="0">
                  <a:pos x="connsiteX10957" y="connsiteY10957"/>
                </a:cxn>
                <a:cxn ang="0">
                  <a:pos x="connsiteX10958" y="connsiteY10958"/>
                </a:cxn>
                <a:cxn ang="0">
                  <a:pos x="connsiteX10959" y="connsiteY10959"/>
                </a:cxn>
                <a:cxn ang="0">
                  <a:pos x="connsiteX10960" y="connsiteY10960"/>
                </a:cxn>
                <a:cxn ang="0">
                  <a:pos x="connsiteX10961" y="connsiteY10961"/>
                </a:cxn>
                <a:cxn ang="0">
                  <a:pos x="connsiteX10962" y="connsiteY10962"/>
                </a:cxn>
                <a:cxn ang="0">
                  <a:pos x="connsiteX10963" y="connsiteY10963"/>
                </a:cxn>
                <a:cxn ang="0">
                  <a:pos x="connsiteX10964" y="connsiteY10964"/>
                </a:cxn>
                <a:cxn ang="0">
                  <a:pos x="connsiteX10965" y="connsiteY10965"/>
                </a:cxn>
                <a:cxn ang="0">
                  <a:pos x="connsiteX10966" y="connsiteY10966"/>
                </a:cxn>
                <a:cxn ang="0">
                  <a:pos x="connsiteX10967" y="connsiteY10967"/>
                </a:cxn>
                <a:cxn ang="0">
                  <a:pos x="connsiteX10968" y="connsiteY10968"/>
                </a:cxn>
                <a:cxn ang="0">
                  <a:pos x="connsiteX10969" y="connsiteY10969"/>
                </a:cxn>
                <a:cxn ang="0">
                  <a:pos x="connsiteX10970" y="connsiteY10970"/>
                </a:cxn>
                <a:cxn ang="0">
                  <a:pos x="connsiteX10971" y="connsiteY10971"/>
                </a:cxn>
                <a:cxn ang="0">
                  <a:pos x="connsiteX10972" y="connsiteY10972"/>
                </a:cxn>
                <a:cxn ang="0">
                  <a:pos x="connsiteX10973" y="connsiteY10973"/>
                </a:cxn>
                <a:cxn ang="0">
                  <a:pos x="connsiteX10974" y="connsiteY10974"/>
                </a:cxn>
                <a:cxn ang="0">
                  <a:pos x="connsiteX10975" y="connsiteY10975"/>
                </a:cxn>
                <a:cxn ang="0">
                  <a:pos x="connsiteX10976" y="connsiteY10976"/>
                </a:cxn>
                <a:cxn ang="0">
                  <a:pos x="connsiteX10977" y="connsiteY10977"/>
                </a:cxn>
                <a:cxn ang="0">
                  <a:pos x="connsiteX10978" y="connsiteY10978"/>
                </a:cxn>
                <a:cxn ang="0">
                  <a:pos x="connsiteX10979" y="connsiteY10979"/>
                </a:cxn>
                <a:cxn ang="0">
                  <a:pos x="connsiteX10980" y="connsiteY10980"/>
                </a:cxn>
                <a:cxn ang="0">
                  <a:pos x="connsiteX10981" y="connsiteY10981"/>
                </a:cxn>
                <a:cxn ang="0">
                  <a:pos x="connsiteX10982" y="connsiteY10982"/>
                </a:cxn>
                <a:cxn ang="0">
                  <a:pos x="connsiteX10983" y="connsiteY10983"/>
                </a:cxn>
                <a:cxn ang="0">
                  <a:pos x="connsiteX10984" y="connsiteY10984"/>
                </a:cxn>
                <a:cxn ang="0">
                  <a:pos x="connsiteX10985" y="connsiteY10985"/>
                </a:cxn>
                <a:cxn ang="0">
                  <a:pos x="connsiteX10986" y="connsiteY10986"/>
                </a:cxn>
                <a:cxn ang="0">
                  <a:pos x="connsiteX10987" y="connsiteY10987"/>
                </a:cxn>
                <a:cxn ang="0">
                  <a:pos x="connsiteX10988" y="connsiteY10988"/>
                </a:cxn>
                <a:cxn ang="0">
                  <a:pos x="connsiteX10989" y="connsiteY10989"/>
                </a:cxn>
                <a:cxn ang="0">
                  <a:pos x="connsiteX10990" y="connsiteY10990"/>
                </a:cxn>
                <a:cxn ang="0">
                  <a:pos x="connsiteX10991" y="connsiteY10991"/>
                </a:cxn>
                <a:cxn ang="0">
                  <a:pos x="connsiteX10992" y="connsiteY10992"/>
                </a:cxn>
                <a:cxn ang="0">
                  <a:pos x="connsiteX10993" y="connsiteY10993"/>
                </a:cxn>
                <a:cxn ang="0">
                  <a:pos x="connsiteX10994" y="connsiteY10994"/>
                </a:cxn>
                <a:cxn ang="0">
                  <a:pos x="connsiteX10995" y="connsiteY10995"/>
                </a:cxn>
                <a:cxn ang="0">
                  <a:pos x="connsiteX10996" y="connsiteY10996"/>
                </a:cxn>
                <a:cxn ang="0">
                  <a:pos x="connsiteX10997" y="connsiteY10997"/>
                </a:cxn>
                <a:cxn ang="0">
                  <a:pos x="connsiteX10998" y="connsiteY10998"/>
                </a:cxn>
                <a:cxn ang="0">
                  <a:pos x="connsiteX10999" y="connsiteY10999"/>
                </a:cxn>
                <a:cxn ang="0">
                  <a:pos x="connsiteX11000" y="connsiteY11000"/>
                </a:cxn>
                <a:cxn ang="0">
                  <a:pos x="connsiteX11001" y="connsiteY11001"/>
                </a:cxn>
                <a:cxn ang="0">
                  <a:pos x="connsiteX11002" y="connsiteY11002"/>
                </a:cxn>
                <a:cxn ang="0">
                  <a:pos x="connsiteX11003" y="connsiteY11003"/>
                </a:cxn>
                <a:cxn ang="0">
                  <a:pos x="connsiteX11004" y="connsiteY11004"/>
                </a:cxn>
                <a:cxn ang="0">
                  <a:pos x="connsiteX11005" y="connsiteY11005"/>
                </a:cxn>
                <a:cxn ang="0">
                  <a:pos x="connsiteX11006" y="connsiteY11006"/>
                </a:cxn>
                <a:cxn ang="0">
                  <a:pos x="connsiteX11007" y="connsiteY11007"/>
                </a:cxn>
                <a:cxn ang="0">
                  <a:pos x="connsiteX11008" y="connsiteY11008"/>
                </a:cxn>
                <a:cxn ang="0">
                  <a:pos x="connsiteX11009" y="connsiteY11009"/>
                </a:cxn>
                <a:cxn ang="0">
                  <a:pos x="connsiteX11010" y="connsiteY11010"/>
                </a:cxn>
                <a:cxn ang="0">
                  <a:pos x="connsiteX11011" y="connsiteY11011"/>
                </a:cxn>
                <a:cxn ang="0">
                  <a:pos x="connsiteX11012" y="connsiteY11012"/>
                </a:cxn>
                <a:cxn ang="0">
                  <a:pos x="connsiteX11013" y="connsiteY11013"/>
                </a:cxn>
                <a:cxn ang="0">
                  <a:pos x="connsiteX11014" y="connsiteY11014"/>
                </a:cxn>
                <a:cxn ang="0">
                  <a:pos x="connsiteX11015" y="connsiteY11015"/>
                </a:cxn>
                <a:cxn ang="0">
                  <a:pos x="connsiteX11016" y="connsiteY11016"/>
                </a:cxn>
                <a:cxn ang="0">
                  <a:pos x="connsiteX11017" y="connsiteY11017"/>
                </a:cxn>
                <a:cxn ang="0">
                  <a:pos x="connsiteX11018" y="connsiteY11018"/>
                </a:cxn>
                <a:cxn ang="0">
                  <a:pos x="connsiteX11019" y="connsiteY11019"/>
                </a:cxn>
                <a:cxn ang="0">
                  <a:pos x="connsiteX11020" y="connsiteY11020"/>
                </a:cxn>
                <a:cxn ang="0">
                  <a:pos x="connsiteX11021" y="connsiteY11021"/>
                </a:cxn>
                <a:cxn ang="0">
                  <a:pos x="connsiteX11022" y="connsiteY11022"/>
                </a:cxn>
                <a:cxn ang="0">
                  <a:pos x="connsiteX11023" y="connsiteY11023"/>
                </a:cxn>
                <a:cxn ang="0">
                  <a:pos x="connsiteX11024" y="connsiteY11024"/>
                </a:cxn>
                <a:cxn ang="0">
                  <a:pos x="connsiteX11025" y="connsiteY11025"/>
                </a:cxn>
                <a:cxn ang="0">
                  <a:pos x="connsiteX11026" y="connsiteY11026"/>
                </a:cxn>
                <a:cxn ang="0">
                  <a:pos x="connsiteX11027" y="connsiteY11027"/>
                </a:cxn>
                <a:cxn ang="0">
                  <a:pos x="connsiteX11028" y="connsiteY11028"/>
                </a:cxn>
                <a:cxn ang="0">
                  <a:pos x="connsiteX11029" y="connsiteY11029"/>
                </a:cxn>
                <a:cxn ang="0">
                  <a:pos x="connsiteX11030" y="connsiteY11030"/>
                </a:cxn>
                <a:cxn ang="0">
                  <a:pos x="connsiteX11031" y="connsiteY11031"/>
                </a:cxn>
                <a:cxn ang="0">
                  <a:pos x="connsiteX11032" y="connsiteY11032"/>
                </a:cxn>
                <a:cxn ang="0">
                  <a:pos x="connsiteX11033" y="connsiteY11033"/>
                </a:cxn>
                <a:cxn ang="0">
                  <a:pos x="connsiteX11034" y="connsiteY11034"/>
                </a:cxn>
                <a:cxn ang="0">
                  <a:pos x="connsiteX11035" y="connsiteY11035"/>
                </a:cxn>
                <a:cxn ang="0">
                  <a:pos x="connsiteX11036" y="connsiteY11036"/>
                </a:cxn>
                <a:cxn ang="0">
                  <a:pos x="connsiteX11037" y="connsiteY11037"/>
                </a:cxn>
                <a:cxn ang="0">
                  <a:pos x="connsiteX11038" y="connsiteY11038"/>
                </a:cxn>
                <a:cxn ang="0">
                  <a:pos x="connsiteX11039" y="connsiteY11039"/>
                </a:cxn>
                <a:cxn ang="0">
                  <a:pos x="connsiteX11040" y="connsiteY11040"/>
                </a:cxn>
                <a:cxn ang="0">
                  <a:pos x="connsiteX11041" y="connsiteY11041"/>
                </a:cxn>
                <a:cxn ang="0">
                  <a:pos x="connsiteX11042" y="connsiteY11042"/>
                </a:cxn>
                <a:cxn ang="0">
                  <a:pos x="connsiteX11043" y="connsiteY11043"/>
                </a:cxn>
                <a:cxn ang="0">
                  <a:pos x="connsiteX11044" y="connsiteY11044"/>
                </a:cxn>
                <a:cxn ang="0">
                  <a:pos x="connsiteX11045" y="connsiteY11045"/>
                </a:cxn>
                <a:cxn ang="0">
                  <a:pos x="connsiteX11046" y="connsiteY11046"/>
                </a:cxn>
                <a:cxn ang="0">
                  <a:pos x="connsiteX11047" y="connsiteY11047"/>
                </a:cxn>
                <a:cxn ang="0">
                  <a:pos x="connsiteX11048" y="connsiteY11048"/>
                </a:cxn>
                <a:cxn ang="0">
                  <a:pos x="connsiteX11049" y="connsiteY11049"/>
                </a:cxn>
                <a:cxn ang="0">
                  <a:pos x="connsiteX11050" y="connsiteY11050"/>
                </a:cxn>
                <a:cxn ang="0">
                  <a:pos x="connsiteX11051" y="connsiteY11051"/>
                </a:cxn>
                <a:cxn ang="0">
                  <a:pos x="connsiteX11052" y="connsiteY11052"/>
                </a:cxn>
                <a:cxn ang="0">
                  <a:pos x="connsiteX11053" y="connsiteY11053"/>
                </a:cxn>
                <a:cxn ang="0">
                  <a:pos x="connsiteX11054" y="connsiteY11054"/>
                </a:cxn>
                <a:cxn ang="0">
                  <a:pos x="connsiteX11055" y="connsiteY11055"/>
                </a:cxn>
                <a:cxn ang="0">
                  <a:pos x="connsiteX11056" y="connsiteY11056"/>
                </a:cxn>
                <a:cxn ang="0">
                  <a:pos x="connsiteX11057" y="connsiteY11057"/>
                </a:cxn>
                <a:cxn ang="0">
                  <a:pos x="connsiteX11058" y="connsiteY11058"/>
                </a:cxn>
                <a:cxn ang="0">
                  <a:pos x="connsiteX11059" y="connsiteY11059"/>
                </a:cxn>
                <a:cxn ang="0">
                  <a:pos x="connsiteX11060" y="connsiteY11060"/>
                </a:cxn>
                <a:cxn ang="0">
                  <a:pos x="connsiteX11061" y="connsiteY11061"/>
                </a:cxn>
                <a:cxn ang="0">
                  <a:pos x="connsiteX11062" y="connsiteY11062"/>
                </a:cxn>
                <a:cxn ang="0">
                  <a:pos x="connsiteX11063" y="connsiteY11063"/>
                </a:cxn>
                <a:cxn ang="0">
                  <a:pos x="connsiteX11064" y="connsiteY11064"/>
                </a:cxn>
                <a:cxn ang="0">
                  <a:pos x="connsiteX11065" y="connsiteY11065"/>
                </a:cxn>
                <a:cxn ang="0">
                  <a:pos x="connsiteX11066" y="connsiteY11066"/>
                </a:cxn>
                <a:cxn ang="0">
                  <a:pos x="connsiteX11067" y="connsiteY11067"/>
                </a:cxn>
                <a:cxn ang="0">
                  <a:pos x="connsiteX11068" y="connsiteY11068"/>
                </a:cxn>
                <a:cxn ang="0">
                  <a:pos x="connsiteX11069" y="connsiteY11069"/>
                </a:cxn>
                <a:cxn ang="0">
                  <a:pos x="connsiteX11070" y="connsiteY11070"/>
                </a:cxn>
                <a:cxn ang="0">
                  <a:pos x="connsiteX11071" y="connsiteY11071"/>
                </a:cxn>
                <a:cxn ang="0">
                  <a:pos x="connsiteX11072" y="connsiteY11072"/>
                </a:cxn>
                <a:cxn ang="0">
                  <a:pos x="connsiteX11073" y="connsiteY11073"/>
                </a:cxn>
                <a:cxn ang="0">
                  <a:pos x="connsiteX11074" y="connsiteY11074"/>
                </a:cxn>
                <a:cxn ang="0">
                  <a:pos x="connsiteX11075" y="connsiteY11075"/>
                </a:cxn>
                <a:cxn ang="0">
                  <a:pos x="connsiteX11076" y="connsiteY11076"/>
                </a:cxn>
                <a:cxn ang="0">
                  <a:pos x="connsiteX11077" y="connsiteY11077"/>
                </a:cxn>
                <a:cxn ang="0">
                  <a:pos x="connsiteX11078" y="connsiteY11078"/>
                </a:cxn>
                <a:cxn ang="0">
                  <a:pos x="connsiteX11079" y="connsiteY11079"/>
                </a:cxn>
                <a:cxn ang="0">
                  <a:pos x="connsiteX11080" y="connsiteY11080"/>
                </a:cxn>
                <a:cxn ang="0">
                  <a:pos x="connsiteX11081" y="connsiteY11081"/>
                </a:cxn>
                <a:cxn ang="0">
                  <a:pos x="connsiteX11082" y="connsiteY11082"/>
                </a:cxn>
                <a:cxn ang="0">
                  <a:pos x="connsiteX11083" y="connsiteY11083"/>
                </a:cxn>
                <a:cxn ang="0">
                  <a:pos x="connsiteX11084" y="connsiteY11084"/>
                </a:cxn>
                <a:cxn ang="0">
                  <a:pos x="connsiteX11085" y="connsiteY11085"/>
                </a:cxn>
                <a:cxn ang="0">
                  <a:pos x="connsiteX11086" y="connsiteY11086"/>
                </a:cxn>
                <a:cxn ang="0">
                  <a:pos x="connsiteX11087" y="connsiteY11087"/>
                </a:cxn>
                <a:cxn ang="0">
                  <a:pos x="connsiteX11088" y="connsiteY11088"/>
                </a:cxn>
                <a:cxn ang="0">
                  <a:pos x="connsiteX11089" y="connsiteY11089"/>
                </a:cxn>
                <a:cxn ang="0">
                  <a:pos x="connsiteX11090" y="connsiteY11090"/>
                </a:cxn>
                <a:cxn ang="0">
                  <a:pos x="connsiteX11091" y="connsiteY11091"/>
                </a:cxn>
                <a:cxn ang="0">
                  <a:pos x="connsiteX11092" y="connsiteY11092"/>
                </a:cxn>
                <a:cxn ang="0">
                  <a:pos x="connsiteX11093" y="connsiteY11093"/>
                </a:cxn>
                <a:cxn ang="0">
                  <a:pos x="connsiteX11094" y="connsiteY11094"/>
                </a:cxn>
                <a:cxn ang="0">
                  <a:pos x="connsiteX11095" y="connsiteY11095"/>
                </a:cxn>
                <a:cxn ang="0">
                  <a:pos x="connsiteX11096" y="connsiteY11096"/>
                </a:cxn>
                <a:cxn ang="0">
                  <a:pos x="connsiteX11097" y="connsiteY11097"/>
                </a:cxn>
                <a:cxn ang="0">
                  <a:pos x="connsiteX11098" y="connsiteY11098"/>
                </a:cxn>
                <a:cxn ang="0">
                  <a:pos x="connsiteX11099" y="connsiteY11099"/>
                </a:cxn>
                <a:cxn ang="0">
                  <a:pos x="connsiteX11100" y="connsiteY11100"/>
                </a:cxn>
                <a:cxn ang="0">
                  <a:pos x="connsiteX11101" y="connsiteY11101"/>
                </a:cxn>
                <a:cxn ang="0">
                  <a:pos x="connsiteX11102" y="connsiteY11102"/>
                </a:cxn>
                <a:cxn ang="0">
                  <a:pos x="connsiteX11103" y="connsiteY11103"/>
                </a:cxn>
                <a:cxn ang="0">
                  <a:pos x="connsiteX11104" y="connsiteY11104"/>
                </a:cxn>
                <a:cxn ang="0">
                  <a:pos x="connsiteX11105" y="connsiteY11105"/>
                </a:cxn>
                <a:cxn ang="0">
                  <a:pos x="connsiteX11106" y="connsiteY11106"/>
                </a:cxn>
                <a:cxn ang="0">
                  <a:pos x="connsiteX11107" y="connsiteY11107"/>
                </a:cxn>
                <a:cxn ang="0">
                  <a:pos x="connsiteX11108" y="connsiteY11108"/>
                </a:cxn>
                <a:cxn ang="0">
                  <a:pos x="connsiteX11109" y="connsiteY11109"/>
                </a:cxn>
                <a:cxn ang="0">
                  <a:pos x="connsiteX11110" y="connsiteY11110"/>
                </a:cxn>
                <a:cxn ang="0">
                  <a:pos x="connsiteX11111" y="connsiteY11111"/>
                </a:cxn>
                <a:cxn ang="0">
                  <a:pos x="connsiteX11112" y="connsiteY11112"/>
                </a:cxn>
                <a:cxn ang="0">
                  <a:pos x="connsiteX11113" y="connsiteY11113"/>
                </a:cxn>
                <a:cxn ang="0">
                  <a:pos x="connsiteX11114" y="connsiteY11114"/>
                </a:cxn>
                <a:cxn ang="0">
                  <a:pos x="connsiteX11115" y="connsiteY11115"/>
                </a:cxn>
                <a:cxn ang="0">
                  <a:pos x="connsiteX11116" y="connsiteY11116"/>
                </a:cxn>
                <a:cxn ang="0">
                  <a:pos x="connsiteX11117" y="connsiteY11117"/>
                </a:cxn>
                <a:cxn ang="0">
                  <a:pos x="connsiteX11118" y="connsiteY11118"/>
                </a:cxn>
                <a:cxn ang="0">
                  <a:pos x="connsiteX11119" y="connsiteY11119"/>
                </a:cxn>
                <a:cxn ang="0">
                  <a:pos x="connsiteX11120" y="connsiteY11120"/>
                </a:cxn>
                <a:cxn ang="0">
                  <a:pos x="connsiteX11121" y="connsiteY11121"/>
                </a:cxn>
                <a:cxn ang="0">
                  <a:pos x="connsiteX11122" y="connsiteY11122"/>
                </a:cxn>
                <a:cxn ang="0">
                  <a:pos x="connsiteX11123" y="connsiteY11123"/>
                </a:cxn>
                <a:cxn ang="0">
                  <a:pos x="connsiteX11124" y="connsiteY11124"/>
                </a:cxn>
                <a:cxn ang="0">
                  <a:pos x="connsiteX11125" y="connsiteY11125"/>
                </a:cxn>
                <a:cxn ang="0">
                  <a:pos x="connsiteX11126" y="connsiteY11126"/>
                </a:cxn>
                <a:cxn ang="0">
                  <a:pos x="connsiteX11127" y="connsiteY11127"/>
                </a:cxn>
                <a:cxn ang="0">
                  <a:pos x="connsiteX11128" y="connsiteY11128"/>
                </a:cxn>
                <a:cxn ang="0">
                  <a:pos x="connsiteX11129" y="connsiteY11129"/>
                </a:cxn>
                <a:cxn ang="0">
                  <a:pos x="connsiteX11130" y="connsiteY11130"/>
                </a:cxn>
                <a:cxn ang="0">
                  <a:pos x="connsiteX11131" y="connsiteY11131"/>
                </a:cxn>
                <a:cxn ang="0">
                  <a:pos x="connsiteX11132" y="connsiteY11132"/>
                </a:cxn>
                <a:cxn ang="0">
                  <a:pos x="connsiteX11133" y="connsiteY11133"/>
                </a:cxn>
                <a:cxn ang="0">
                  <a:pos x="connsiteX11134" y="connsiteY11134"/>
                </a:cxn>
                <a:cxn ang="0">
                  <a:pos x="connsiteX11135" y="connsiteY11135"/>
                </a:cxn>
                <a:cxn ang="0">
                  <a:pos x="connsiteX11136" y="connsiteY11136"/>
                </a:cxn>
                <a:cxn ang="0">
                  <a:pos x="connsiteX11137" y="connsiteY11137"/>
                </a:cxn>
                <a:cxn ang="0">
                  <a:pos x="connsiteX11138" y="connsiteY11138"/>
                </a:cxn>
                <a:cxn ang="0">
                  <a:pos x="connsiteX11139" y="connsiteY11139"/>
                </a:cxn>
                <a:cxn ang="0">
                  <a:pos x="connsiteX11140" y="connsiteY11140"/>
                </a:cxn>
                <a:cxn ang="0">
                  <a:pos x="connsiteX11141" y="connsiteY11141"/>
                </a:cxn>
                <a:cxn ang="0">
                  <a:pos x="connsiteX11142" y="connsiteY11142"/>
                </a:cxn>
                <a:cxn ang="0">
                  <a:pos x="connsiteX11143" y="connsiteY11143"/>
                </a:cxn>
                <a:cxn ang="0">
                  <a:pos x="connsiteX11144" y="connsiteY11144"/>
                </a:cxn>
                <a:cxn ang="0">
                  <a:pos x="connsiteX11145" y="connsiteY11145"/>
                </a:cxn>
                <a:cxn ang="0">
                  <a:pos x="connsiteX11146" y="connsiteY11146"/>
                </a:cxn>
                <a:cxn ang="0">
                  <a:pos x="connsiteX11147" y="connsiteY11147"/>
                </a:cxn>
                <a:cxn ang="0">
                  <a:pos x="connsiteX11148" y="connsiteY11148"/>
                </a:cxn>
                <a:cxn ang="0">
                  <a:pos x="connsiteX11149" y="connsiteY11149"/>
                </a:cxn>
                <a:cxn ang="0">
                  <a:pos x="connsiteX11150" y="connsiteY11150"/>
                </a:cxn>
                <a:cxn ang="0">
                  <a:pos x="connsiteX11151" y="connsiteY11151"/>
                </a:cxn>
                <a:cxn ang="0">
                  <a:pos x="connsiteX11152" y="connsiteY11152"/>
                </a:cxn>
                <a:cxn ang="0">
                  <a:pos x="connsiteX11153" y="connsiteY11153"/>
                </a:cxn>
                <a:cxn ang="0">
                  <a:pos x="connsiteX11154" y="connsiteY11154"/>
                </a:cxn>
                <a:cxn ang="0">
                  <a:pos x="connsiteX11155" y="connsiteY11155"/>
                </a:cxn>
                <a:cxn ang="0">
                  <a:pos x="connsiteX11156" y="connsiteY11156"/>
                </a:cxn>
                <a:cxn ang="0">
                  <a:pos x="connsiteX11157" y="connsiteY11157"/>
                </a:cxn>
                <a:cxn ang="0">
                  <a:pos x="connsiteX11158" y="connsiteY11158"/>
                </a:cxn>
                <a:cxn ang="0">
                  <a:pos x="connsiteX11159" y="connsiteY11159"/>
                </a:cxn>
                <a:cxn ang="0">
                  <a:pos x="connsiteX11160" y="connsiteY11160"/>
                </a:cxn>
                <a:cxn ang="0">
                  <a:pos x="connsiteX11161" y="connsiteY11161"/>
                </a:cxn>
                <a:cxn ang="0">
                  <a:pos x="connsiteX11162" y="connsiteY11162"/>
                </a:cxn>
                <a:cxn ang="0">
                  <a:pos x="connsiteX11163" y="connsiteY11163"/>
                </a:cxn>
                <a:cxn ang="0">
                  <a:pos x="connsiteX11164" y="connsiteY11164"/>
                </a:cxn>
                <a:cxn ang="0">
                  <a:pos x="connsiteX11165" y="connsiteY11165"/>
                </a:cxn>
                <a:cxn ang="0">
                  <a:pos x="connsiteX11166" y="connsiteY11166"/>
                </a:cxn>
                <a:cxn ang="0">
                  <a:pos x="connsiteX11167" y="connsiteY11167"/>
                </a:cxn>
                <a:cxn ang="0">
                  <a:pos x="connsiteX11168" y="connsiteY11168"/>
                </a:cxn>
                <a:cxn ang="0">
                  <a:pos x="connsiteX11169" y="connsiteY11169"/>
                </a:cxn>
                <a:cxn ang="0">
                  <a:pos x="connsiteX11170" y="connsiteY11170"/>
                </a:cxn>
                <a:cxn ang="0">
                  <a:pos x="connsiteX11171" y="connsiteY11171"/>
                </a:cxn>
                <a:cxn ang="0">
                  <a:pos x="connsiteX11172" y="connsiteY11172"/>
                </a:cxn>
                <a:cxn ang="0">
                  <a:pos x="connsiteX11173" y="connsiteY11173"/>
                </a:cxn>
                <a:cxn ang="0">
                  <a:pos x="connsiteX11174" y="connsiteY11174"/>
                </a:cxn>
                <a:cxn ang="0">
                  <a:pos x="connsiteX11175" y="connsiteY11175"/>
                </a:cxn>
                <a:cxn ang="0">
                  <a:pos x="connsiteX11176" y="connsiteY11176"/>
                </a:cxn>
                <a:cxn ang="0">
                  <a:pos x="connsiteX11177" y="connsiteY11177"/>
                </a:cxn>
                <a:cxn ang="0">
                  <a:pos x="connsiteX11178" y="connsiteY11178"/>
                </a:cxn>
                <a:cxn ang="0">
                  <a:pos x="connsiteX11179" y="connsiteY11179"/>
                </a:cxn>
                <a:cxn ang="0">
                  <a:pos x="connsiteX11180" y="connsiteY11180"/>
                </a:cxn>
                <a:cxn ang="0">
                  <a:pos x="connsiteX11181" y="connsiteY11181"/>
                </a:cxn>
                <a:cxn ang="0">
                  <a:pos x="connsiteX11182" y="connsiteY11182"/>
                </a:cxn>
                <a:cxn ang="0">
                  <a:pos x="connsiteX11183" y="connsiteY11183"/>
                </a:cxn>
                <a:cxn ang="0">
                  <a:pos x="connsiteX11184" y="connsiteY11184"/>
                </a:cxn>
                <a:cxn ang="0">
                  <a:pos x="connsiteX11185" y="connsiteY11185"/>
                </a:cxn>
                <a:cxn ang="0">
                  <a:pos x="connsiteX11186" y="connsiteY11186"/>
                </a:cxn>
                <a:cxn ang="0">
                  <a:pos x="connsiteX11187" y="connsiteY11187"/>
                </a:cxn>
                <a:cxn ang="0">
                  <a:pos x="connsiteX11188" y="connsiteY11188"/>
                </a:cxn>
                <a:cxn ang="0">
                  <a:pos x="connsiteX11189" y="connsiteY11189"/>
                </a:cxn>
                <a:cxn ang="0">
                  <a:pos x="connsiteX11190" y="connsiteY11190"/>
                </a:cxn>
                <a:cxn ang="0">
                  <a:pos x="connsiteX11191" y="connsiteY11191"/>
                </a:cxn>
                <a:cxn ang="0">
                  <a:pos x="connsiteX11192" y="connsiteY11192"/>
                </a:cxn>
                <a:cxn ang="0">
                  <a:pos x="connsiteX11193" y="connsiteY11193"/>
                </a:cxn>
                <a:cxn ang="0">
                  <a:pos x="connsiteX11194" y="connsiteY11194"/>
                </a:cxn>
                <a:cxn ang="0">
                  <a:pos x="connsiteX11195" y="connsiteY11195"/>
                </a:cxn>
                <a:cxn ang="0">
                  <a:pos x="connsiteX11196" y="connsiteY11196"/>
                </a:cxn>
                <a:cxn ang="0">
                  <a:pos x="connsiteX11197" y="connsiteY11197"/>
                </a:cxn>
                <a:cxn ang="0">
                  <a:pos x="connsiteX11198" y="connsiteY11198"/>
                </a:cxn>
                <a:cxn ang="0">
                  <a:pos x="connsiteX11199" y="connsiteY11199"/>
                </a:cxn>
                <a:cxn ang="0">
                  <a:pos x="connsiteX11200" y="connsiteY11200"/>
                </a:cxn>
                <a:cxn ang="0">
                  <a:pos x="connsiteX11201" y="connsiteY11201"/>
                </a:cxn>
                <a:cxn ang="0">
                  <a:pos x="connsiteX11202" y="connsiteY11202"/>
                </a:cxn>
                <a:cxn ang="0">
                  <a:pos x="connsiteX11203" y="connsiteY11203"/>
                </a:cxn>
                <a:cxn ang="0">
                  <a:pos x="connsiteX11204" y="connsiteY11204"/>
                </a:cxn>
                <a:cxn ang="0">
                  <a:pos x="connsiteX11205" y="connsiteY11205"/>
                </a:cxn>
                <a:cxn ang="0">
                  <a:pos x="connsiteX11206" y="connsiteY11206"/>
                </a:cxn>
                <a:cxn ang="0">
                  <a:pos x="connsiteX11207" y="connsiteY11207"/>
                </a:cxn>
                <a:cxn ang="0">
                  <a:pos x="connsiteX11208" y="connsiteY11208"/>
                </a:cxn>
                <a:cxn ang="0">
                  <a:pos x="connsiteX11209" y="connsiteY11209"/>
                </a:cxn>
                <a:cxn ang="0">
                  <a:pos x="connsiteX11210" y="connsiteY11210"/>
                </a:cxn>
                <a:cxn ang="0">
                  <a:pos x="connsiteX11211" y="connsiteY11211"/>
                </a:cxn>
                <a:cxn ang="0">
                  <a:pos x="connsiteX11212" y="connsiteY11212"/>
                </a:cxn>
                <a:cxn ang="0">
                  <a:pos x="connsiteX11213" y="connsiteY11213"/>
                </a:cxn>
                <a:cxn ang="0">
                  <a:pos x="connsiteX11214" y="connsiteY11214"/>
                </a:cxn>
                <a:cxn ang="0">
                  <a:pos x="connsiteX11215" y="connsiteY11215"/>
                </a:cxn>
                <a:cxn ang="0">
                  <a:pos x="connsiteX11216" y="connsiteY11216"/>
                </a:cxn>
                <a:cxn ang="0">
                  <a:pos x="connsiteX11217" y="connsiteY11217"/>
                </a:cxn>
                <a:cxn ang="0">
                  <a:pos x="connsiteX11218" y="connsiteY11218"/>
                </a:cxn>
                <a:cxn ang="0">
                  <a:pos x="connsiteX11219" y="connsiteY11219"/>
                </a:cxn>
                <a:cxn ang="0">
                  <a:pos x="connsiteX11220" y="connsiteY11220"/>
                </a:cxn>
                <a:cxn ang="0">
                  <a:pos x="connsiteX11221" y="connsiteY11221"/>
                </a:cxn>
                <a:cxn ang="0">
                  <a:pos x="connsiteX11222" y="connsiteY11222"/>
                </a:cxn>
                <a:cxn ang="0">
                  <a:pos x="connsiteX11223" y="connsiteY11223"/>
                </a:cxn>
                <a:cxn ang="0">
                  <a:pos x="connsiteX11224" y="connsiteY11224"/>
                </a:cxn>
                <a:cxn ang="0">
                  <a:pos x="connsiteX11225" y="connsiteY11225"/>
                </a:cxn>
                <a:cxn ang="0">
                  <a:pos x="connsiteX11226" y="connsiteY11226"/>
                </a:cxn>
                <a:cxn ang="0">
                  <a:pos x="connsiteX11227" y="connsiteY11227"/>
                </a:cxn>
                <a:cxn ang="0">
                  <a:pos x="connsiteX11228" y="connsiteY11228"/>
                </a:cxn>
                <a:cxn ang="0">
                  <a:pos x="connsiteX11229" y="connsiteY11229"/>
                </a:cxn>
                <a:cxn ang="0">
                  <a:pos x="connsiteX11230" y="connsiteY11230"/>
                </a:cxn>
                <a:cxn ang="0">
                  <a:pos x="connsiteX11231" y="connsiteY11231"/>
                </a:cxn>
                <a:cxn ang="0">
                  <a:pos x="connsiteX11232" y="connsiteY11232"/>
                </a:cxn>
                <a:cxn ang="0">
                  <a:pos x="connsiteX11233" y="connsiteY11233"/>
                </a:cxn>
                <a:cxn ang="0">
                  <a:pos x="connsiteX11234" y="connsiteY11234"/>
                </a:cxn>
                <a:cxn ang="0">
                  <a:pos x="connsiteX11235" y="connsiteY11235"/>
                </a:cxn>
                <a:cxn ang="0">
                  <a:pos x="connsiteX11236" y="connsiteY11236"/>
                </a:cxn>
                <a:cxn ang="0">
                  <a:pos x="connsiteX11237" y="connsiteY11237"/>
                </a:cxn>
                <a:cxn ang="0">
                  <a:pos x="connsiteX11238" y="connsiteY11238"/>
                </a:cxn>
                <a:cxn ang="0">
                  <a:pos x="connsiteX11239" y="connsiteY11239"/>
                </a:cxn>
                <a:cxn ang="0">
                  <a:pos x="connsiteX11240" y="connsiteY11240"/>
                </a:cxn>
                <a:cxn ang="0">
                  <a:pos x="connsiteX11241" y="connsiteY11241"/>
                </a:cxn>
                <a:cxn ang="0">
                  <a:pos x="connsiteX11242" y="connsiteY11242"/>
                </a:cxn>
                <a:cxn ang="0">
                  <a:pos x="connsiteX11243" y="connsiteY11243"/>
                </a:cxn>
                <a:cxn ang="0">
                  <a:pos x="connsiteX11244" y="connsiteY11244"/>
                </a:cxn>
                <a:cxn ang="0">
                  <a:pos x="connsiteX11245" y="connsiteY11245"/>
                </a:cxn>
                <a:cxn ang="0">
                  <a:pos x="connsiteX11246" y="connsiteY11246"/>
                </a:cxn>
                <a:cxn ang="0">
                  <a:pos x="connsiteX11247" y="connsiteY11247"/>
                </a:cxn>
                <a:cxn ang="0">
                  <a:pos x="connsiteX11248" y="connsiteY11248"/>
                </a:cxn>
                <a:cxn ang="0">
                  <a:pos x="connsiteX11249" y="connsiteY11249"/>
                </a:cxn>
                <a:cxn ang="0">
                  <a:pos x="connsiteX11250" y="connsiteY11250"/>
                </a:cxn>
                <a:cxn ang="0">
                  <a:pos x="connsiteX11251" y="connsiteY11251"/>
                </a:cxn>
                <a:cxn ang="0">
                  <a:pos x="connsiteX11252" y="connsiteY11252"/>
                </a:cxn>
                <a:cxn ang="0">
                  <a:pos x="connsiteX11253" y="connsiteY11253"/>
                </a:cxn>
                <a:cxn ang="0">
                  <a:pos x="connsiteX11254" y="connsiteY11254"/>
                </a:cxn>
                <a:cxn ang="0">
                  <a:pos x="connsiteX11255" y="connsiteY11255"/>
                </a:cxn>
                <a:cxn ang="0">
                  <a:pos x="connsiteX11256" y="connsiteY11256"/>
                </a:cxn>
                <a:cxn ang="0">
                  <a:pos x="connsiteX11257" y="connsiteY11257"/>
                </a:cxn>
                <a:cxn ang="0">
                  <a:pos x="connsiteX11258" y="connsiteY11258"/>
                </a:cxn>
                <a:cxn ang="0">
                  <a:pos x="connsiteX11259" y="connsiteY11259"/>
                </a:cxn>
                <a:cxn ang="0">
                  <a:pos x="connsiteX11260" y="connsiteY11260"/>
                </a:cxn>
                <a:cxn ang="0">
                  <a:pos x="connsiteX11261" y="connsiteY11261"/>
                </a:cxn>
                <a:cxn ang="0">
                  <a:pos x="connsiteX11262" y="connsiteY11262"/>
                </a:cxn>
                <a:cxn ang="0">
                  <a:pos x="connsiteX11263" y="connsiteY11263"/>
                </a:cxn>
                <a:cxn ang="0">
                  <a:pos x="connsiteX11264" y="connsiteY11264"/>
                </a:cxn>
                <a:cxn ang="0">
                  <a:pos x="connsiteX11265" y="connsiteY11265"/>
                </a:cxn>
                <a:cxn ang="0">
                  <a:pos x="connsiteX11266" y="connsiteY11266"/>
                </a:cxn>
                <a:cxn ang="0">
                  <a:pos x="connsiteX11267" y="connsiteY11267"/>
                </a:cxn>
                <a:cxn ang="0">
                  <a:pos x="connsiteX11268" y="connsiteY11268"/>
                </a:cxn>
                <a:cxn ang="0">
                  <a:pos x="connsiteX11269" y="connsiteY11269"/>
                </a:cxn>
                <a:cxn ang="0">
                  <a:pos x="connsiteX11270" y="connsiteY11270"/>
                </a:cxn>
                <a:cxn ang="0">
                  <a:pos x="connsiteX11271" y="connsiteY11271"/>
                </a:cxn>
                <a:cxn ang="0">
                  <a:pos x="connsiteX11272" y="connsiteY11272"/>
                </a:cxn>
                <a:cxn ang="0">
                  <a:pos x="connsiteX11273" y="connsiteY11273"/>
                </a:cxn>
                <a:cxn ang="0">
                  <a:pos x="connsiteX11274" y="connsiteY11274"/>
                </a:cxn>
                <a:cxn ang="0">
                  <a:pos x="connsiteX11275" y="connsiteY11275"/>
                </a:cxn>
                <a:cxn ang="0">
                  <a:pos x="connsiteX11276" y="connsiteY11276"/>
                </a:cxn>
                <a:cxn ang="0">
                  <a:pos x="connsiteX11277" y="connsiteY11277"/>
                </a:cxn>
                <a:cxn ang="0">
                  <a:pos x="connsiteX11278" y="connsiteY11278"/>
                </a:cxn>
                <a:cxn ang="0">
                  <a:pos x="connsiteX11279" y="connsiteY11279"/>
                </a:cxn>
                <a:cxn ang="0">
                  <a:pos x="connsiteX11280" y="connsiteY11280"/>
                </a:cxn>
                <a:cxn ang="0">
                  <a:pos x="connsiteX11281" y="connsiteY11281"/>
                </a:cxn>
                <a:cxn ang="0">
                  <a:pos x="connsiteX11282" y="connsiteY11282"/>
                </a:cxn>
                <a:cxn ang="0">
                  <a:pos x="connsiteX11283" y="connsiteY11283"/>
                </a:cxn>
                <a:cxn ang="0">
                  <a:pos x="connsiteX11284" y="connsiteY11284"/>
                </a:cxn>
                <a:cxn ang="0">
                  <a:pos x="connsiteX11285" y="connsiteY11285"/>
                </a:cxn>
                <a:cxn ang="0">
                  <a:pos x="connsiteX11286" y="connsiteY11286"/>
                </a:cxn>
                <a:cxn ang="0">
                  <a:pos x="connsiteX11287" y="connsiteY11287"/>
                </a:cxn>
                <a:cxn ang="0">
                  <a:pos x="connsiteX11288" y="connsiteY11288"/>
                </a:cxn>
                <a:cxn ang="0">
                  <a:pos x="connsiteX11289" y="connsiteY11289"/>
                </a:cxn>
                <a:cxn ang="0">
                  <a:pos x="connsiteX11290" y="connsiteY11290"/>
                </a:cxn>
                <a:cxn ang="0">
                  <a:pos x="connsiteX11291" y="connsiteY11291"/>
                </a:cxn>
                <a:cxn ang="0">
                  <a:pos x="connsiteX11292" y="connsiteY11292"/>
                </a:cxn>
                <a:cxn ang="0">
                  <a:pos x="connsiteX11293" y="connsiteY11293"/>
                </a:cxn>
                <a:cxn ang="0">
                  <a:pos x="connsiteX11294" y="connsiteY11294"/>
                </a:cxn>
                <a:cxn ang="0">
                  <a:pos x="connsiteX11295" y="connsiteY11295"/>
                </a:cxn>
                <a:cxn ang="0">
                  <a:pos x="connsiteX11296" y="connsiteY11296"/>
                </a:cxn>
                <a:cxn ang="0">
                  <a:pos x="connsiteX11297" y="connsiteY11297"/>
                </a:cxn>
                <a:cxn ang="0">
                  <a:pos x="connsiteX11298" y="connsiteY11298"/>
                </a:cxn>
                <a:cxn ang="0">
                  <a:pos x="connsiteX11299" y="connsiteY11299"/>
                </a:cxn>
                <a:cxn ang="0">
                  <a:pos x="connsiteX11300" y="connsiteY11300"/>
                </a:cxn>
                <a:cxn ang="0">
                  <a:pos x="connsiteX11301" y="connsiteY11301"/>
                </a:cxn>
                <a:cxn ang="0">
                  <a:pos x="connsiteX11302" y="connsiteY11302"/>
                </a:cxn>
                <a:cxn ang="0">
                  <a:pos x="connsiteX11303" y="connsiteY11303"/>
                </a:cxn>
                <a:cxn ang="0">
                  <a:pos x="connsiteX11304" y="connsiteY11304"/>
                </a:cxn>
                <a:cxn ang="0">
                  <a:pos x="connsiteX11305" y="connsiteY11305"/>
                </a:cxn>
                <a:cxn ang="0">
                  <a:pos x="connsiteX11306" y="connsiteY11306"/>
                </a:cxn>
                <a:cxn ang="0">
                  <a:pos x="connsiteX11307" y="connsiteY11307"/>
                </a:cxn>
                <a:cxn ang="0">
                  <a:pos x="connsiteX11308" y="connsiteY11308"/>
                </a:cxn>
                <a:cxn ang="0">
                  <a:pos x="connsiteX11309" y="connsiteY11309"/>
                </a:cxn>
                <a:cxn ang="0">
                  <a:pos x="connsiteX11310" y="connsiteY11310"/>
                </a:cxn>
                <a:cxn ang="0">
                  <a:pos x="connsiteX11311" y="connsiteY11311"/>
                </a:cxn>
                <a:cxn ang="0">
                  <a:pos x="connsiteX11312" y="connsiteY11312"/>
                </a:cxn>
                <a:cxn ang="0">
                  <a:pos x="connsiteX11313" y="connsiteY11313"/>
                </a:cxn>
                <a:cxn ang="0">
                  <a:pos x="connsiteX11314" y="connsiteY11314"/>
                </a:cxn>
                <a:cxn ang="0">
                  <a:pos x="connsiteX11315" y="connsiteY11315"/>
                </a:cxn>
                <a:cxn ang="0">
                  <a:pos x="connsiteX11316" y="connsiteY11316"/>
                </a:cxn>
                <a:cxn ang="0">
                  <a:pos x="connsiteX11317" y="connsiteY11317"/>
                </a:cxn>
                <a:cxn ang="0">
                  <a:pos x="connsiteX11318" y="connsiteY11318"/>
                </a:cxn>
                <a:cxn ang="0">
                  <a:pos x="connsiteX11319" y="connsiteY11319"/>
                </a:cxn>
                <a:cxn ang="0">
                  <a:pos x="connsiteX11320" y="connsiteY11320"/>
                </a:cxn>
                <a:cxn ang="0">
                  <a:pos x="connsiteX11321" y="connsiteY11321"/>
                </a:cxn>
                <a:cxn ang="0">
                  <a:pos x="connsiteX11322" y="connsiteY11322"/>
                </a:cxn>
                <a:cxn ang="0">
                  <a:pos x="connsiteX11323" y="connsiteY11323"/>
                </a:cxn>
                <a:cxn ang="0">
                  <a:pos x="connsiteX11324" y="connsiteY11324"/>
                </a:cxn>
                <a:cxn ang="0">
                  <a:pos x="connsiteX11325" y="connsiteY11325"/>
                </a:cxn>
                <a:cxn ang="0">
                  <a:pos x="connsiteX11326" y="connsiteY11326"/>
                </a:cxn>
                <a:cxn ang="0">
                  <a:pos x="connsiteX11327" y="connsiteY11327"/>
                </a:cxn>
                <a:cxn ang="0">
                  <a:pos x="connsiteX11328" y="connsiteY11328"/>
                </a:cxn>
                <a:cxn ang="0">
                  <a:pos x="connsiteX11329" y="connsiteY11329"/>
                </a:cxn>
                <a:cxn ang="0">
                  <a:pos x="connsiteX11330" y="connsiteY11330"/>
                </a:cxn>
                <a:cxn ang="0">
                  <a:pos x="connsiteX11331" y="connsiteY11331"/>
                </a:cxn>
                <a:cxn ang="0">
                  <a:pos x="connsiteX11332" y="connsiteY11332"/>
                </a:cxn>
                <a:cxn ang="0">
                  <a:pos x="connsiteX11333" y="connsiteY11333"/>
                </a:cxn>
                <a:cxn ang="0">
                  <a:pos x="connsiteX11334" y="connsiteY11334"/>
                </a:cxn>
                <a:cxn ang="0">
                  <a:pos x="connsiteX11335" y="connsiteY11335"/>
                </a:cxn>
                <a:cxn ang="0">
                  <a:pos x="connsiteX11336" y="connsiteY11336"/>
                </a:cxn>
                <a:cxn ang="0">
                  <a:pos x="connsiteX11337" y="connsiteY11337"/>
                </a:cxn>
                <a:cxn ang="0">
                  <a:pos x="connsiteX11338" y="connsiteY11338"/>
                </a:cxn>
                <a:cxn ang="0">
                  <a:pos x="connsiteX11339" y="connsiteY11339"/>
                </a:cxn>
                <a:cxn ang="0">
                  <a:pos x="connsiteX11340" y="connsiteY11340"/>
                </a:cxn>
                <a:cxn ang="0">
                  <a:pos x="connsiteX11341" y="connsiteY11341"/>
                </a:cxn>
                <a:cxn ang="0">
                  <a:pos x="connsiteX11342" y="connsiteY11342"/>
                </a:cxn>
                <a:cxn ang="0">
                  <a:pos x="connsiteX11343" y="connsiteY11343"/>
                </a:cxn>
                <a:cxn ang="0">
                  <a:pos x="connsiteX11344" y="connsiteY11344"/>
                </a:cxn>
                <a:cxn ang="0">
                  <a:pos x="connsiteX11345" y="connsiteY11345"/>
                </a:cxn>
                <a:cxn ang="0">
                  <a:pos x="connsiteX11346" y="connsiteY11346"/>
                </a:cxn>
                <a:cxn ang="0">
                  <a:pos x="connsiteX11347" y="connsiteY11347"/>
                </a:cxn>
                <a:cxn ang="0">
                  <a:pos x="connsiteX11348" y="connsiteY11348"/>
                </a:cxn>
                <a:cxn ang="0">
                  <a:pos x="connsiteX11349" y="connsiteY11349"/>
                </a:cxn>
                <a:cxn ang="0">
                  <a:pos x="connsiteX11350" y="connsiteY11350"/>
                </a:cxn>
                <a:cxn ang="0">
                  <a:pos x="connsiteX11351" y="connsiteY11351"/>
                </a:cxn>
                <a:cxn ang="0">
                  <a:pos x="connsiteX11352" y="connsiteY11352"/>
                </a:cxn>
                <a:cxn ang="0">
                  <a:pos x="connsiteX11353" y="connsiteY11353"/>
                </a:cxn>
                <a:cxn ang="0">
                  <a:pos x="connsiteX11354" y="connsiteY11354"/>
                </a:cxn>
                <a:cxn ang="0">
                  <a:pos x="connsiteX11355" y="connsiteY11355"/>
                </a:cxn>
                <a:cxn ang="0">
                  <a:pos x="connsiteX11356" y="connsiteY11356"/>
                </a:cxn>
                <a:cxn ang="0">
                  <a:pos x="connsiteX11357" y="connsiteY11357"/>
                </a:cxn>
                <a:cxn ang="0">
                  <a:pos x="connsiteX11358" y="connsiteY11358"/>
                </a:cxn>
                <a:cxn ang="0">
                  <a:pos x="connsiteX11359" y="connsiteY11359"/>
                </a:cxn>
                <a:cxn ang="0">
                  <a:pos x="connsiteX11360" y="connsiteY11360"/>
                </a:cxn>
                <a:cxn ang="0">
                  <a:pos x="connsiteX11361" y="connsiteY11361"/>
                </a:cxn>
                <a:cxn ang="0">
                  <a:pos x="connsiteX11362" y="connsiteY11362"/>
                </a:cxn>
                <a:cxn ang="0">
                  <a:pos x="connsiteX11363" y="connsiteY11363"/>
                </a:cxn>
                <a:cxn ang="0">
                  <a:pos x="connsiteX11364" y="connsiteY11364"/>
                </a:cxn>
                <a:cxn ang="0">
                  <a:pos x="connsiteX11365" y="connsiteY11365"/>
                </a:cxn>
                <a:cxn ang="0">
                  <a:pos x="connsiteX11366" y="connsiteY11366"/>
                </a:cxn>
                <a:cxn ang="0">
                  <a:pos x="connsiteX11367" y="connsiteY11367"/>
                </a:cxn>
                <a:cxn ang="0">
                  <a:pos x="connsiteX11368" y="connsiteY11368"/>
                </a:cxn>
                <a:cxn ang="0">
                  <a:pos x="connsiteX11369" y="connsiteY11369"/>
                </a:cxn>
                <a:cxn ang="0">
                  <a:pos x="connsiteX11370" y="connsiteY11370"/>
                </a:cxn>
                <a:cxn ang="0">
                  <a:pos x="connsiteX11371" y="connsiteY11371"/>
                </a:cxn>
                <a:cxn ang="0">
                  <a:pos x="connsiteX11372" y="connsiteY11372"/>
                </a:cxn>
                <a:cxn ang="0">
                  <a:pos x="connsiteX11373" y="connsiteY11373"/>
                </a:cxn>
                <a:cxn ang="0">
                  <a:pos x="connsiteX11374" y="connsiteY11374"/>
                </a:cxn>
                <a:cxn ang="0">
                  <a:pos x="connsiteX11375" y="connsiteY11375"/>
                </a:cxn>
                <a:cxn ang="0">
                  <a:pos x="connsiteX11376" y="connsiteY11376"/>
                </a:cxn>
                <a:cxn ang="0">
                  <a:pos x="connsiteX11377" y="connsiteY11377"/>
                </a:cxn>
                <a:cxn ang="0">
                  <a:pos x="connsiteX11378" y="connsiteY11378"/>
                </a:cxn>
                <a:cxn ang="0">
                  <a:pos x="connsiteX11379" y="connsiteY11379"/>
                </a:cxn>
                <a:cxn ang="0">
                  <a:pos x="connsiteX11380" y="connsiteY11380"/>
                </a:cxn>
                <a:cxn ang="0">
                  <a:pos x="connsiteX11381" y="connsiteY11381"/>
                </a:cxn>
                <a:cxn ang="0">
                  <a:pos x="connsiteX11382" y="connsiteY11382"/>
                </a:cxn>
                <a:cxn ang="0">
                  <a:pos x="connsiteX11383" y="connsiteY11383"/>
                </a:cxn>
                <a:cxn ang="0">
                  <a:pos x="connsiteX11384" y="connsiteY11384"/>
                </a:cxn>
                <a:cxn ang="0">
                  <a:pos x="connsiteX11385" y="connsiteY11385"/>
                </a:cxn>
                <a:cxn ang="0">
                  <a:pos x="connsiteX11386" y="connsiteY11386"/>
                </a:cxn>
                <a:cxn ang="0">
                  <a:pos x="connsiteX11387" y="connsiteY11387"/>
                </a:cxn>
                <a:cxn ang="0">
                  <a:pos x="connsiteX11388" y="connsiteY11388"/>
                </a:cxn>
                <a:cxn ang="0">
                  <a:pos x="connsiteX11389" y="connsiteY11389"/>
                </a:cxn>
                <a:cxn ang="0">
                  <a:pos x="connsiteX11390" y="connsiteY11390"/>
                </a:cxn>
                <a:cxn ang="0">
                  <a:pos x="connsiteX11391" y="connsiteY11391"/>
                </a:cxn>
                <a:cxn ang="0">
                  <a:pos x="connsiteX11392" y="connsiteY11392"/>
                </a:cxn>
                <a:cxn ang="0">
                  <a:pos x="connsiteX11393" y="connsiteY11393"/>
                </a:cxn>
                <a:cxn ang="0">
                  <a:pos x="connsiteX11394" y="connsiteY11394"/>
                </a:cxn>
                <a:cxn ang="0">
                  <a:pos x="connsiteX11395" y="connsiteY11395"/>
                </a:cxn>
                <a:cxn ang="0">
                  <a:pos x="connsiteX11396" y="connsiteY11396"/>
                </a:cxn>
                <a:cxn ang="0">
                  <a:pos x="connsiteX11397" y="connsiteY11397"/>
                </a:cxn>
                <a:cxn ang="0">
                  <a:pos x="connsiteX11398" y="connsiteY11398"/>
                </a:cxn>
                <a:cxn ang="0">
                  <a:pos x="connsiteX11399" y="connsiteY11399"/>
                </a:cxn>
                <a:cxn ang="0">
                  <a:pos x="connsiteX11400" y="connsiteY11400"/>
                </a:cxn>
                <a:cxn ang="0">
                  <a:pos x="connsiteX11401" y="connsiteY11401"/>
                </a:cxn>
                <a:cxn ang="0">
                  <a:pos x="connsiteX11402" y="connsiteY11402"/>
                </a:cxn>
                <a:cxn ang="0">
                  <a:pos x="connsiteX11403" y="connsiteY11403"/>
                </a:cxn>
                <a:cxn ang="0">
                  <a:pos x="connsiteX11404" y="connsiteY11404"/>
                </a:cxn>
                <a:cxn ang="0">
                  <a:pos x="connsiteX11405" y="connsiteY11405"/>
                </a:cxn>
                <a:cxn ang="0">
                  <a:pos x="connsiteX11406" y="connsiteY11406"/>
                </a:cxn>
                <a:cxn ang="0">
                  <a:pos x="connsiteX11407" y="connsiteY11407"/>
                </a:cxn>
                <a:cxn ang="0">
                  <a:pos x="connsiteX11408" y="connsiteY11408"/>
                </a:cxn>
                <a:cxn ang="0">
                  <a:pos x="connsiteX11409" y="connsiteY11409"/>
                </a:cxn>
                <a:cxn ang="0">
                  <a:pos x="connsiteX11410" y="connsiteY11410"/>
                </a:cxn>
                <a:cxn ang="0">
                  <a:pos x="connsiteX11411" y="connsiteY11411"/>
                </a:cxn>
                <a:cxn ang="0">
                  <a:pos x="connsiteX11412" y="connsiteY11412"/>
                </a:cxn>
                <a:cxn ang="0">
                  <a:pos x="connsiteX11413" y="connsiteY11413"/>
                </a:cxn>
                <a:cxn ang="0">
                  <a:pos x="connsiteX11414" y="connsiteY11414"/>
                </a:cxn>
                <a:cxn ang="0">
                  <a:pos x="connsiteX11415" y="connsiteY11415"/>
                </a:cxn>
                <a:cxn ang="0">
                  <a:pos x="connsiteX11416" y="connsiteY11416"/>
                </a:cxn>
                <a:cxn ang="0">
                  <a:pos x="connsiteX11417" y="connsiteY11417"/>
                </a:cxn>
                <a:cxn ang="0">
                  <a:pos x="connsiteX11418" y="connsiteY11418"/>
                </a:cxn>
                <a:cxn ang="0">
                  <a:pos x="connsiteX11419" y="connsiteY11419"/>
                </a:cxn>
                <a:cxn ang="0">
                  <a:pos x="connsiteX11420" y="connsiteY11420"/>
                </a:cxn>
                <a:cxn ang="0">
                  <a:pos x="connsiteX11421" y="connsiteY11421"/>
                </a:cxn>
                <a:cxn ang="0">
                  <a:pos x="connsiteX11422" y="connsiteY11422"/>
                </a:cxn>
                <a:cxn ang="0">
                  <a:pos x="connsiteX11423" y="connsiteY11423"/>
                </a:cxn>
                <a:cxn ang="0">
                  <a:pos x="connsiteX11424" y="connsiteY11424"/>
                </a:cxn>
                <a:cxn ang="0">
                  <a:pos x="connsiteX11425" y="connsiteY11425"/>
                </a:cxn>
                <a:cxn ang="0">
                  <a:pos x="connsiteX11426" y="connsiteY11426"/>
                </a:cxn>
                <a:cxn ang="0">
                  <a:pos x="connsiteX11427" y="connsiteY11427"/>
                </a:cxn>
                <a:cxn ang="0">
                  <a:pos x="connsiteX11428" y="connsiteY11428"/>
                </a:cxn>
                <a:cxn ang="0">
                  <a:pos x="connsiteX11429" y="connsiteY11429"/>
                </a:cxn>
                <a:cxn ang="0">
                  <a:pos x="connsiteX11430" y="connsiteY11430"/>
                </a:cxn>
                <a:cxn ang="0">
                  <a:pos x="connsiteX11431" y="connsiteY11431"/>
                </a:cxn>
              </a:cxnLst>
              <a:rect l="l" t="t" r="r" b="b"/>
              <a:pathLst>
                <a:path w="2240198" h="1729012">
                  <a:moveTo>
                    <a:pt x="2060840" y="1657574"/>
                  </a:moveTo>
                  <a:lnTo>
                    <a:pt x="2059307" y="1659536"/>
                  </a:lnTo>
                  <a:lnTo>
                    <a:pt x="2055892" y="1660643"/>
                  </a:lnTo>
                  <a:lnTo>
                    <a:pt x="2052965" y="1660558"/>
                  </a:lnTo>
                  <a:lnTo>
                    <a:pt x="2051025" y="1659551"/>
                  </a:lnTo>
                  <a:lnTo>
                    <a:pt x="2050943" y="1659110"/>
                  </a:lnTo>
                  <a:lnTo>
                    <a:pt x="2055544" y="1659536"/>
                  </a:lnTo>
                  <a:lnTo>
                    <a:pt x="2057310" y="1659302"/>
                  </a:lnTo>
                  <a:close/>
                  <a:moveTo>
                    <a:pt x="1896449" y="1645474"/>
                  </a:moveTo>
                  <a:lnTo>
                    <a:pt x="1894841" y="1648580"/>
                  </a:lnTo>
                  <a:lnTo>
                    <a:pt x="1893565" y="1649668"/>
                  </a:lnTo>
                  <a:lnTo>
                    <a:pt x="1893875" y="1648601"/>
                  </a:lnTo>
                  <a:lnTo>
                    <a:pt x="1895432" y="1645880"/>
                  </a:lnTo>
                  <a:close/>
                  <a:moveTo>
                    <a:pt x="1881444" y="1632571"/>
                  </a:moveTo>
                  <a:lnTo>
                    <a:pt x="1882882" y="1633008"/>
                  </a:lnTo>
                  <a:lnTo>
                    <a:pt x="1882680" y="1635560"/>
                  </a:lnTo>
                  <a:lnTo>
                    <a:pt x="1882449" y="1636436"/>
                  </a:lnTo>
                  <a:lnTo>
                    <a:pt x="1879037" y="1638087"/>
                  </a:lnTo>
                  <a:lnTo>
                    <a:pt x="1880364" y="1633868"/>
                  </a:lnTo>
                  <a:close/>
                  <a:moveTo>
                    <a:pt x="2027907" y="1608328"/>
                  </a:moveTo>
                  <a:lnTo>
                    <a:pt x="2030785" y="1608646"/>
                  </a:lnTo>
                  <a:lnTo>
                    <a:pt x="2029757" y="1610278"/>
                  </a:lnTo>
                  <a:lnTo>
                    <a:pt x="2029540" y="1611083"/>
                  </a:lnTo>
                  <a:lnTo>
                    <a:pt x="2028493" y="1611342"/>
                  </a:lnTo>
                  <a:lnTo>
                    <a:pt x="2028249" y="1610891"/>
                  </a:lnTo>
                  <a:lnTo>
                    <a:pt x="2026634" y="1609591"/>
                  </a:lnTo>
                  <a:lnTo>
                    <a:pt x="2026493" y="1608944"/>
                  </a:lnTo>
                  <a:close/>
                  <a:moveTo>
                    <a:pt x="1709776" y="1604634"/>
                  </a:moveTo>
                  <a:lnTo>
                    <a:pt x="1706658" y="1608072"/>
                  </a:lnTo>
                  <a:lnTo>
                    <a:pt x="1703600" y="1608722"/>
                  </a:lnTo>
                  <a:lnTo>
                    <a:pt x="1702540" y="1608448"/>
                  </a:lnTo>
                  <a:lnTo>
                    <a:pt x="1705914" y="1605348"/>
                  </a:lnTo>
                  <a:close/>
                  <a:moveTo>
                    <a:pt x="1712217" y="1604310"/>
                  </a:moveTo>
                  <a:lnTo>
                    <a:pt x="1710624" y="1609303"/>
                  </a:lnTo>
                  <a:lnTo>
                    <a:pt x="1710301" y="1611086"/>
                  </a:lnTo>
                  <a:lnTo>
                    <a:pt x="1709924" y="1611739"/>
                  </a:lnTo>
                  <a:lnTo>
                    <a:pt x="1707970" y="1612368"/>
                  </a:lnTo>
                  <a:lnTo>
                    <a:pt x="1704628" y="1611785"/>
                  </a:lnTo>
                  <a:lnTo>
                    <a:pt x="1700955" y="1612594"/>
                  </a:lnTo>
                  <a:lnTo>
                    <a:pt x="1699932" y="1612611"/>
                  </a:lnTo>
                  <a:lnTo>
                    <a:pt x="1702661" y="1610271"/>
                  </a:lnTo>
                  <a:lnTo>
                    <a:pt x="1706857" y="1608830"/>
                  </a:lnTo>
                  <a:lnTo>
                    <a:pt x="1711041" y="1604423"/>
                  </a:lnTo>
                  <a:close/>
                  <a:moveTo>
                    <a:pt x="1778054" y="1563265"/>
                  </a:moveTo>
                  <a:lnTo>
                    <a:pt x="1779419" y="1563289"/>
                  </a:lnTo>
                  <a:lnTo>
                    <a:pt x="1777196" y="1565714"/>
                  </a:lnTo>
                  <a:lnTo>
                    <a:pt x="1774349" y="1567204"/>
                  </a:lnTo>
                  <a:lnTo>
                    <a:pt x="1772044" y="1567463"/>
                  </a:lnTo>
                  <a:lnTo>
                    <a:pt x="1772594" y="1566353"/>
                  </a:lnTo>
                  <a:lnTo>
                    <a:pt x="1775741" y="1564375"/>
                  </a:lnTo>
                  <a:close/>
                  <a:moveTo>
                    <a:pt x="2041521" y="1562829"/>
                  </a:moveTo>
                  <a:lnTo>
                    <a:pt x="2043571" y="1563028"/>
                  </a:lnTo>
                  <a:lnTo>
                    <a:pt x="2042984" y="1564327"/>
                  </a:lnTo>
                  <a:lnTo>
                    <a:pt x="2043134" y="1565597"/>
                  </a:lnTo>
                  <a:lnTo>
                    <a:pt x="2045510" y="1570561"/>
                  </a:lnTo>
                  <a:lnTo>
                    <a:pt x="2045480" y="1571545"/>
                  </a:lnTo>
                  <a:lnTo>
                    <a:pt x="2044183" y="1575490"/>
                  </a:lnTo>
                  <a:lnTo>
                    <a:pt x="2041689" y="1581851"/>
                  </a:lnTo>
                  <a:lnTo>
                    <a:pt x="2041048" y="1585353"/>
                  </a:lnTo>
                  <a:lnTo>
                    <a:pt x="2041382" y="1586404"/>
                  </a:lnTo>
                  <a:lnTo>
                    <a:pt x="2040370" y="1588173"/>
                  </a:lnTo>
                  <a:lnTo>
                    <a:pt x="2039295" y="1589518"/>
                  </a:lnTo>
                  <a:lnTo>
                    <a:pt x="2035036" y="1592038"/>
                  </a:lnTo>
                  <a:lnTo>
                    <a:pt x="2032862" y="1592627"/>
                  </a:lnTo>
                  <a:lnTo>
                    <a:pt x="2030792" y="1593562"/>
                  </a:lnTo>
                  <a:lnTo>
                    <a:pt x="2025899" y="1596725"/>
                  </a:lnTo>
                  <a:lnTo>
                    <a:pt x="2026757" y="1596966"/>
                  </a:lnTo>
                  <a:lnTo>
                    <a:pt x="2030174" y="1595431"/>
                  </a:lnTo>
                  <a:lnTo>
                    <a:pt x="2031982" y="1595497"/>
                  </a:lnTo>
                  <a:lnTo>
                    <a:pt x="2031902" y="1596600"/>
                  </a:lnTo>
                  <a:lnTo>
                    <a:pt x="2028964" y="1597800"/>
                  </a:lnTo>
                  <a:lnTo>
                    <a:pt x="2027613" y="1598702"/>
                  </a:lnTo>
                  <a:lnTo>
                    <a:pt x="2029310" y="1599537"/>
                  </a:lnTo>
                  <a:lnTo>
                    <a:pt x="2029287" y="1600101"/>
                  </a:lnTo>
                  <a:lnTo>
                    <a:pt x="2027247" y="1601459"/>
                  </a:lnTo>
                  <a:lnTo>
                    <a:pt x="2026230" y="1602931"/>
                  </a:lnTo>
                  <a:lnTo>
                    <a:pt x="2027069" y="1604353"/>
                  </a:lnTo>
                  <a:lnTo>
                    <a:pt x="2030331" y="1602953"/>
                  </a:lnTo>
                  <a:lnTo>
                    <a:pt x="2031669" y="1602940"/>
                  </a:lnTo>
                  <a:lnTo>
                    <a:pt x="2033482" y="1603257"/>
                  </a:lnTo>
                  <a:lnTo>
                    <a:pt x="2035211" y="1602836"/>
                  </a:lnTo>
                  <a:lnTo>
                    <a:pt x="2036195" y="1602143"/>
                  </a:lnTo>
                  <a:lnTo>
                    <a:pt x="2041944" y="1596668"/>
                  </a:lnTo>
                  <a:lnTo>
                    <a:pt x="2042243" y="1595966"/>
                  </a:lnTo>
                  <a:lnTo>
                    <a:pt x="2036048" y="1597098"/>
                  </a:lnTo>
                  <a:lnTo>
                    <a:pt x="2035328" y="1596349"/>
                  </a:lnTo>
                  <a:lnTo>
                    <a:pt x="2039388" y="1593028"/>
                  </a:lnTo>
                  <a:lnTo>
                    <a:pt x="2039069" y="1591278"/>
                  </a:lnTo>
                  <a:lnTo>
                    <a:pt x="2041118" y="1588512"/>
                  </a:lnTo>
                  <a:lnTo>
                    <a:pt x="2042996" y="1586869"/>
                  </a:lnTo>
                  <a:lnTo>
                    <a:pt x="2044375" y="1585949"/>
                  </a:lnTo>
                  <a:lnTo>
                    <a:pt x="2046367" y="1585103"/>
                  </a:lnTo>
                  <a:lnTo>
                    <a:pt x="2047738" y="1586409"/>
                  </a:lnTo>
                  <a:lnTo>
                    <a:pt x="2048180" y="1588776"/>
                  </a:lnTo>
                  <a:lnTo>
                    <a:pt x="2051576" y="1588444"/>
                  </a:lnTo>
                  <a:lnTo>
                    <a:pt x="2054899" y="1588920"/>
                  </a:lnTo>
                  <a:lnTo>
                    <a:pt x="2057344" y="1589919"/>
                  </a:lnTo>
                  <a:lnTo>
                    <a:pt x="2057725" y="1590494"/>
                  </a:lnTo>
                  <a:lnTo>
                    <a:pt x="2057756" y="1591396"/>
                  </a:lnTo>
                  <a:lnTo>
                    <a:pt x="2056942" y="1593022"/>
                  </a:lnTo>
                  <a:lnTo>
                    <a:pt x="2055594" y="1594359"/>
                  </a:lnTo>
                  <a:lnTo>
                    <a:pt x="2058282" y="1596078"/>
                  </a:lnTo>
                  <a:lnTo>
                    <a:pt x="2057923" y="1596825"/>
                  </a:lnTo>
                  <a:lnTo>
                    <a:pt x="2053521" y="1598757"/>
                  </a:lnTo>
                  <a:lnTo>
                    <a:pt x="2051020" y="1600704"/>
                  </a:lnTo>
                  <a:lnTo>
                    <a:pt x="2048722" y="1603101"/>
                  </a:lnTo>
                  <a:lnTo>
                    <a:pt x="2044132" y="1605891"/>
                  </a:lnTo>
                  <a:lnTo>
                    <a:pt x="2036858" y="1607904"/>
                  </a:lnTo>
                  <a:lnTo>
                    <a:pt x="2034557" y="1607904"/>
                  </a:lnTo>
                  <a:lnTo>
                    <a:pt x="2031822" y="1607277"/>
                  </a:lnTo>
                  <a:lnTo>
                    <a:pt x="2029107" y="1607420"/>
                  </a:lnTo>
                  <a:lnTo>
                    <a:pt x="2026444" y="1608170"/>
                  </a:lnTo>
                  <a:lnTo>
                    <a:pt x="2023838" y="1608088"/>
                  </a:lnTo>
                  <a:lnTo>
                    <a:pt x="2022573" y="1608481"/>
                  </a:lnTo>
                  <a:lnTo>
                    <a:pt x="2021372" y="1608439"/>
                  </a:lnTo>
                  <a:lnTo>
                    <a:pt x="2020364" y="1607662"/>
                  </a:lnTo>
                  <a:lnTo>
                    <a:pt x="2018211" y="1605435"/>
                  </a:lnTo>
                  <a:lnTo>
                    <a:pt x="2017160" y="1603948"/>
                  </a:lnTo>
                  <a:lnTo>
                    <a:pt x="2016006" y="1596827"/>
                  </a:lnTo>
                  <a:lnTo>
                    <a:pt x="2016379" y="1593082"/>
                  </a:lnTo>
                  <a:lnTo>
                    <a:pt x="2018203" y="1589575"/>
                  </a:lnTo>
                  <a:lnTo>
                    <a:pt x="2020903" y="1587243"/>
                  </a:lnTo>
                  <a:lnTo>
                    <a:pt x="2022467" y="1585379"/>
                  </a:lnTo>
                  <a:lnTo>
                    <a:pt x="2029009" y="1574305"/>
                  </a:lnTo>
                  <a:lnTo>
                    <a:pt x="2030290" y="1571786"/>
                  </a:lnTo>
                  <a:lnTo>
                    <a:pt x="2031857" y="1569637"/>
                  </a:lnTo>
                  <a:lnTo>
                    <a:pt x="2034659" y="1567509"/>
                  </a:lnTo>
                  <a:lnTo>
                    <a:pt x="2038286" y="1563915"/>
                  </a:lnTo>
                  <a:lnTo>
                    <a:pt x="2039442" y="1563178"/>
                  </a:lnTo>
                  <a:close/>
                  <a:moveTo>
                    <a:pt x="1952660" y="1561168"/>
                  </a:moveTo>
                  <a:lnTo>
                    <a:pt x="1952565" y="1563724"/>
                  </a:lnTo>
                  <a:lnTo>
                    <a:pt x="1952965" y="1565924"/>
                  </a:lnTo>
                  <a:lnTo>
                    <a:pt x="1950267" y="1570318"/>
                  </a:lnTo>
                  <a:lnTo>
                    <a:pt x="1954955" y="1574667"/>
                  </a:lnTo>
                  <a:lnTo>
                    <a:pt x="1955557" y="1575628"/>
                  </a:lnTo>
                  <a:lnTo>
                    <a:pt x="1955952" y="1576795"/>
                  </a:lnTo>
                  <a:lnTo>
                    <a:pt x="1955649" y="1577868"/>
                  </a:lnTo>
                  <a:lnTo>
                    <a:pt x="1954890" y="1578820"/>
                  </a:lnTo>
                  <a:lnTo>
                    <a:pt x="1956716" y="1579293"/>
                  </a:lnTo>
                  <a:lnTo>
                    <a:pt x="1957281" y="1580095"/>
                  </a:lnTo>
                  <a:lnTo>
                    <a:pt x="1957967" y="1580543"/>
                  </a:lnTo>
                  <a:lnTo>
                    <a:pt x="1959164" y="1579720"/>
                  </a:lnTo>
                  <a:lnTo>
                    <a:pt x="1960573" y="1577127"/>
                  </a:lnTo>
                  <a:lnTo>
                    <a:pt x="1964303" y="1577806"/>
                  </a:lnTo>
                  <a:lnTo>
                    <a:pt x="1966277" y="1578975"/>
                  </a:lnTo>
                  <a:lnTo>
                    <a:pt x="1967377" y="1578717"/>
                  </a:lnTo>
                  <a:lnTo>
                    <a:pt x="1968504" y="1578836"/>
                  </a:lnTo>
                  <a:lnTo>
                    <a:pt x="1970598" y="1580366"/>
                  </a:lnTo>
                  <a:lnTo>
                    <a:pt x="1974571" y="1581574"/>
                  </a:lnTo>
                  <a:lnTo>
                    <a:pt x="1978765" y="1581399"/>
                  </a:lnTo>
                  <a:lnTo>
                    <a:pt x="1985154" y="1580681"/>
                  </a:lnTo>
                  <a:lnTo>
                    <a:pt x="1985917" y="1580391"/>
                  </a:lnTo>
                  <a:lnTo>
                    <a:pt x="1992481" y="1579791"/>
                  </a:lnTo>
                  <a:lnTo>
                    <a:pt x="1999060" y="1579507"/>
                  </a:lnTo>
                  <a:lnTo>
                    <a:pt x="2001325" y="1580190"/>
                  </a:lnTo>
                  <a:lnTo>
                    <a:pt x="2002171" y="1580827"/>
                  </a:lnTo>
                  <a:lnTo>
                    <a:pt x="2002606" y="1581595"/>
                  </a:lnTo>
                  <a:lnTo>
                    <a:pt x="1998853" y="1583700"/>
                  </a:lnTo>
                  <a:lnTo>
                    <a:pt x="1995095" y="1586147"/>
                  </a:lnTo>
                  <a:lnTo>
                    <a:pt x="1989870" y="1588543"/>
                  </a:lnTo>
                  <a:lnTo>
                    <a:pt x="1989211" y="1589715"/>
                  </a:lnTo>
                  <a:lnTo>
                    <a:pt x="1989536" y="1591871"/>
                  </a:lnTo>
                  <a:lnTo>
                    <a:pt x="1989433" y="1594067"/>
                  </a:lnTo>
                  <a:lnTo>
                    <a:pt x="1990465" y="1594248"/>
                  </a:lnTo>
                  <a:lnTo>
                    <a:pt x="1991086" y="1594983"/>
                  </a:lnTo>
                  <a:lnTo>
                    <a:pt x="1989735" y="1595693"/>
                  </a:lnTo>
                  <a:lnTo>
                    <a:pt x="1984364" y="1596023"/>
                  </a:lnTo>
                  <a:lnTo>
                    <a:pt x="1982800" y="1595823"/>
                  </a:lnTo>
                  <a:lnTo>
                    <a:pt x="1980937" y="1594931"/>
                  </a:lnTo>
                  <a:lnTo>
                    <a:pt x="1980299" y="1592812"/>
                  </a:lnTo>
                  <a:lnTo>
                    <a:pt x="1977989" y="1593123"/>
                  </a:lnTo>
                  <a:lnTo>
                    <a:pt x="1977292" y="1592864"/>
                  </a:lnTo>
                  <a:lnTo>
                    <a:pt x="1980526" y="1591058"/>
                  </a:lnTo>
                  <a:lnTo>
                    <a:pt x="1979053" y="1588787"/>
                  </a:lnTo>
                  <a:lnTo>
                    <a:pt x="1977470" y="1588953"/>
                  </a:lnTo>
                  <a:lnTo>
                    <a:pt x="1976423" y="1587875"/>
                  </a:lnTo>
                  <a:lnTo>
                    <a:pt x="1976509" y="1586418"/>
                  </a:lnTo>
                  <a:lnTo>
                    <a:pt x="1977976" y="1585709"/>
                  </a:lnTo>
                  <a:lnTo>
                    <a:pt x="1978398" y="1584940"/>
                  </a:lnTo>
                  <a:lnTo>
                    <a:pt x="1976410" y="1585606"/>
                  </a:lnTo>
                  <a:lnTo>
                    <a:pt x="1974886" y="1586957"/>
                  </a:lnTo>
                  <a:lnTo>
                    <a:pt x="1972914" y="1587468"/>
                  </a:lnTo>
                  <a:lnTo>
                    <a:pt x="1970986" y="1588635"/>
                  </a:lnTo>
                  <a:lnTo>
                    <a:pt x="1973978" y="1589004"/>
                  </a:lnTo>
                  <a:lnTo>
                    <a:pt x="1972440" y="1589907"/>
                  </a:lnTo>
                  <a:lnTo>
                    <a:pt x="1970838" y="1590116"/>
                  </a:lnTo>
                  <a:lnTo>
                    <a:pt x="1963426" y="1588341"/>
                  </a:lnTo>
                  <a:lnTo>
                    <a:pt x="1961599" y="1587667"/>
                  </a:lnTo>
                  <a:lnTo>
                    <a:pt x="1959297" y="1585807"/>
                  </a:lnTo>
                  <a:lnTo>
                    <a:pt x="1957554" y="1583320"/>
                  </a:lnTo>
                  <a:lnTo>
                    <a:pt x="1958499" y="1583223"/>
                  </a:lnTo>
                  <a:lnTo>
                    <a:pt x="1958821" y="1582777"/>
                  </a:lnTo>
                  <a:lnTo>
                    <a:pt x="1958616" y="1582356"/>
                  </a:lnTo>
                  <a:lnTo>
                    <a:pt x="1956031" y="1582021"/>
                  </a:lnTo>
                  <a:lnTo>
                    <a:pt x="1951996" y="1582127"/>
                  </a:lnTo>
                  <a:lnTo>
                    <a:pt x="1949685" y="1581472"/>
                  </a:lnTo>
                  <a:lnTo>
                    <a:pt x="1949794" y="1577121"/>
                  </a:lnTo>
                  <a:lnTo>
                    <a:pt x="1949047" y="1575923"/>
                  </a:lnTo>
                  <a:lnTo>
                    <a:pt x="1946521" y="1574912"/>
                  </a:lnTo>
                  <a:lnTo>
                    <a:pt x="1942657" y="1574611"/>
                  </a:lnTo>
                  <a:lnTo>
                    <a:pt x="1942274" y="1572993"/>
                  </a:lnTo>
                  <a:lnTo>
                    <a:pt x="1943505" y="1570516"/>
                  </a:lnTo>
                  <a:lnTo>
                    <a:pt x="1945397" y="1568391"/>
                  </a:lnTo>
                  <a:lnTo>
                    <a:pt x="1946836" y="1566299"/>
                  </a:lnTo>
                  <a:lnTo>
                    <a:pt x="1948517" y="1564583"/>
                  </a:lnTo>
                  <a:close/>
                  <a:moveTo>
                    <a:pt x="2016544" y="1542368"/>
                  </a:moveTo>
                  <a:lnTo>
                    <a:pt x="2018536" y="1542663"/>
                  </a:lnTo>
                  <a:lnTo>
                    <a:pt x="2016506" y="1545035"/>
                  </a:lnTo>
                  <a:lnTo>
                    <a:pt x="2013801" y="1545164"/>
                  </a:lnTo>
                  <a:lnTo>
                    <a:pt x="2011219" y="1547136"/>
                  </a:lnTo>
                  <a:lnTo>
                    <a:pt x="2009525" y="1549321"/>
                  </a:lnTo>
                  <a:lnTo>
                    <a:pt x="2007488" y="1550567"/>
                  </a:lnTo>
                  <a:lnTo>
                    <a:pt x="2006083" y="1552090"/>
                  </a:lnTo>
                  <a:lnTo>
                    <a:pt x="2005386" y="1554021"/>
                  </a:lnTo>
                  <a:lnTo>
                    <a:pt x="2006284" y="1554630"/>
                  </a:lnTo>
                  <a:lnTo>
                    <a:pt x="2007887" y="1554565"/>
                  </a:lnTo>
                  <a:lnTo>
                    <a:pt x="2008975" y="1554813"/>
                  </a:lnTo>
                  <a:lnTo>
                    <a:pt x="2007425" y="1556007"/>
                  </a:lnTo>
                  <a:lnTo>
                    <a:pt x="2004456" y="1556123"/>
                  </a:lnTo>
                  <a:lnTo>
                    <a:pt x="2002997" y="1555633"/>
                  </a:lnTo>
                  <a:lnTo>
                    <a:pt x="2005117" y="1549502"/>
                  </a:lnTo>
                  <a:lnTo>
                    <a:pt x="2007587" y="1548089"/>
                  </a:lnTo>
                  <a:lnTo>
                    <a:pt x="2012646" y="1544073"/>
                  </a:lnTo>
                  <a:lnTo>
                    <a:pt x="2014668" y="1542851"/>
                  </a:lnTo>
                  <a:close/>
                  <a:moveTo>
                    <a:pt x="2202810" y="1542367"/>
                  </a:moveTo>
                  <a:lnTo>
                    <a:pt x="2202318" y="1544742"/>
                  </a:lnTo>
                  <a:lnTo>
                    <a:pt x="2200300" y="1548982"/>
                  </a:lnTo>
                  <a:lnTo>
                    <a:pt x="2199059" y="1550101"/>
                  </a:lnTo>
                  <a:lnTo>
                    <a:pt x="2197794" y="1550051"/>
                  </a:lnTo>
                  <a:lnTo>
                    <a:pt x="2197943" y="1549072"/>
                  </a:lnTo>
                  <a:lnTo>
                    <a:pt x="2199501" y="1547171"/>
                  </a:lnTo>
                  <a:lnTo>
                    <a:pt x="2200294" y="1545809"/>
                  </a:lnTo>
                  <a:lnTo>
                    <a:pt x="2200323" y="1544986"/>
                  </a:lnTo>
                  <a:lnTo>
                    <a:pt x="2200610" y="1544356"/>
                  </a:lnTo>
                  <a:lnTo>
                    <a:pt x="2201791" y="1543648"/>
                  </a:lnTo>
                  <a:close/>
                  <a:moveTo>
                    <a:pt x="1939600" y="1534624"/>
                  </a:moveTo>
                  <a:lnTo>
                    <a:pt x="1938958" y="1536981"/>
                  </a:lnTo>
                  <a:lnTo>
                    <a:pt x="1936742" y="1538978"/>
                  </a:lnTo>
                  <a:lnTo>
                    <a:pt x="1935643" y="1539117"/>
                  </a:lnTo>
                  <a:lnTo>
                    <a:pt x="1935138" y="1538923"/>
                  </a:lnTo>
                  <a:lnTo>
                    <a:pt x="1935748" y="1537633"/>
                  </a:lnTo>
                  <a:lnTo>
                    <a:pt x="1935677" y="1535390"/>
                  </a:lnTo>
                  <a:lnTo>
                    <a:pt x="1937507" y="1535085"/>
                  </a:lnTo>
                  <a:lnTo>
                    <a:pt x="1938174" y="1535286"/>
                  </a:lnTo>
                  <a:close/>
                  <a:moveTo>
                    <a:pt x="1939813" y="1530517"/>
                  </a:moveTo>
                  <a:lnTo>
                    <a:pt x="1940294" y="1530737"/>
                  </a:lnTo>
                  <a:lnTo>
                    <a:pt x="1940425" y="1532292"/>
                  </a:lnTo>
                  <a:lnTo>
                    <a:pt x="1937503" y="1533963"/>
                  </a:lnTo>
                  <a:lnTo>
                    <a:pt x="1938785" y="1531448"/>
                  </a:lnTo>
                  <a:lnTo>
                    <a:pt x="1939322" y="1530798"/>
                  </a:lnTo>
                  <a:close/>
                  <a:moveTo>
                    <a:pt x="441704" y="1500853"/>
                  </a:moveTo>
                  <a:lnTo>
                    <a:pt x="442404" y="1500974"/>
                  </a:lnTo>
                  <a:lnTo>
                    <a:pt x="444606" y="1502761"/>
                  </a:lnTo>
                  <a:lnTo>
                    <a:pt x="444107" y="1503470"/>
                  </a:lnTo>
                  <a:lnTo>
                    <a:pt x="445751" y="1505178"/>
                  </a:lnTo>
                  <a:lnTo>
                    <a:pt x="446156" y="1506396"/>
                  </a:lnTo>
                  <a:lnTo>
                    <a:pt x="445430" y="1506448"/>
                  </a:lnTo>
                  <a:lnTo>
                    <a:pt x="444368" y="1507286"/>
                  </a:lnTo>
                  <a:lnTo>
                    <a:pt x="443801" y="1507175"/>
                  </a:lnTo>
                  <a:lnTo>
                    <a:pt x="443347" y="1506589"/>
                  </a:lnTo>
                  <a:close/>
                  <a:moveTo>
                    <a:pt x="438993" y="1495311"/>
                  </a:moveTo>
                  <a:lnTo>
                    <a:pt x="444239" y="1499907"/>
                  </a:lnTo>
                  <a:lnTo>
                    <a:pt x="446887" y="1501426"/>
                  </a:lnTo>
                  <a:lnTo>
                    <a:pt x="447028" y="1502149"/>
                  </a:lnTo>
                  <a:lnTo>
                    <a:pt x="446711" y="1502506"/>
                  </a:lnTo>
                  <a:lnTo>
                    <a:pt x="442750" y="1500194"/>
                  </a:lnTo>
                  <a:lnTo>
                    <a:pt x="440099" y="1497161"/>
                  </a:lnTo>
                  <a:close/>
                  <a:moveTo>
                    <a:pt x="1913868" y="1489703"/>
                  </a:moveTo>
                  <a:lnTo>
                    <a:pt x="1917094" y="1489838"/>
                  </a:lnTo>
                  <a:lnTo>
                    <a:pt x="1931289" y="1492144"/>
                  </a:lnTo>
                  <a:lnTo>
                    <a:pt x="1938100" y="1494995"/>
                  </a:lnTo>
                  <a:lnTo>
                    <a:pt x="1945857" y="1500981"/>
                  </a:lnTo>
                  <a:lnTo>
                    <a:pt x="1947013" y="1502558"/>
                  </a:lnTo>
                  <a:lnTo>
                    <a:pt x="1947201" y="1504760"/>
                  </a:lnTo>
                  <a:lnTo>
                    <a:pt x="1943095" y="1503690"/>
                  </a:lnTo>
                  <a:lnTo>
                    <a:pt x="1939470" y="1503620"/>
                  </a:lnTo>
                  <a:lnTo>
                    <a:pt x="1941984" y="1504844"/>
                  </a:lnTo>
                  <a:lnTo>
                    <a:pt x="1946255" y="1508515"/>
                  </a:lnTo>
                  <a:lnTo>
                    <a:pt x="1946061" y="1513100"/>
                  </a:lnTo>
                  <a:lnTo>
                    <a:pt x="1943650" y="1517237"/>
                  </a:lnTo>
                  <a:lnTo>
                    <a:pt x="1936440" y="1519275"/>
                  </a:lnTo>
                  <a:lnTo>
                    <a:pt x="1934600" y="1520896"/>
                  </a:lnTo>
                  <a:lnTo>
                    <a:pt x="1933110" y="1523574"/>
                  </a:lnTo>
                  <a:lnTo>
                    <a:pt x="1931651" y="1524598"/>
                  </a:lnTo>
                  <a:lnTo>
                    <a:pt x="1928155" y="1525786"/>
                  </a:lnTo>
                  <a:lnTo>
                    <a:pt x="1926224" y="1527523"/>
                  </a:lnTo>
                  <a:lnTo>
                    <a:pt x="1920561" y="1530275"/>
                  </a:lnTo>
                  <a:lnTo>
                    <a:pt x="1918010" y="1530602"/>
                  </a:lnTo>
                  <a:lnTo>
                    <a:pt x="1915072" y="1529943"/>
                  </a:lnTo>
                  <a:lnTo>
                    <a:pt x="1908003" y="1527348"/>
                  </a:lnTo>
                  <a:lnTo>
                    <a:pt x="1903641" y="1524845"/>
                  </a:lnTo>
                  <a:lnTo>
                    <a:pt x="1901464" y="1526212"/>
                  </a:lnTo>
                  <a:lnTo>
                    <a:pt x="1899675" y="1527638"/>
                  </a:lnTo>
                  <a:lnTo>
                    <a:pt x="1895478" y="1527163"/>
                  </a:lnTo>
                  <a:lnTo>
                    <a:pt x="1893561" y="1527793"/>
                  </a:lnTo>
                  <a:lnTo>
                    <a:pt x="1890399" y="1527090"/>
                  </a:lnTo>
                  <a:lnTo>
                    <a:pt x="1883922" y="1530235"/>
                  </a:lnTo>
                  <a:lnTo>
                    <a:pt x="1885769" y="1530603"/>
                  </a:lnTo>
                  <a:lnTo>
                    <a:pt x="1890910" y="1528796"/>
                  </a:lnTo>
                  <a:lnTo>
                    <a:pt x="1892664" y="1529000"/>
                  </a:lnTo>
                  <a:lnTo>
                    <a:pt x="1896453" y="1531332"/>
                  </a:lnTo>
                  <a:lnTo>
                    <a:pt x="1905602" y="1533839"/>
                  </a:lnTo>
                  <a:lnTo>
                    <a:pt x="1907977" y="1535496"/>
                  </a:lnTo>
                  <a:lnTo>
                    <a:pt x="1910240" y="1540777"/>
                  </a:lnTo>
                  <a:lnTo>
                    <a:pt x="1911742" y="1541620"/>
                  </a:lnTo>
                  <a:lnTo>
                    <a:pt x="1914880" y="1541072"/>
                  </a:lnTo>
                  <a:lnTo>
                    <a:pt x="1918417" y="1538462"/>
                  </a:lnTo>
                  <a:lnTo>
                    <a:pt x="1921353" y="1537063"/>
                  </a:lnTo>
                  <a:lnTo>
                    <a:pt x="1927097" y="1535914"/>
                  </a:lnTo>
                  <a:lnTo>
                    <a:pt x="1925963" y="1537651"/>
                  </a:lnTo>
                  <a:lnTo>
                    <a:pt x="1930334" y="1537516"/>
                  </a:lnTo>
                  <a:lnTo>
                    <a:pt x="1934664" y="1539851"/>
                  </a:lnTo>
                  <a:lnTo>
                    <a:pt x="1933064" y="1541507"/>
                  </a:lnTo>
                  <a:lnTo>
                    <a:pt x="1930888" y="1544845"/>
                  </a:lnTo>
                  <a:lnTo>
                    <a:pt x="1929365" y="1551319"/>
                  </a:lnTo>
                  <a:lnTo>
                    <a:pt x="1924955" y="1555649"/>
                  </a:lnTo>
                  <a:lnTo>
                    <a:pt x="1919053" y="1559900"/>
                  </a:lnTo>
                  <a:lnTo>
                    <a:pt x="1920541" y="1560924"/>
                  </a:lnTo>
                  <a:lnTo>
                    <a:pt x="1922268" y="1561554"/>
                  </a:lnTo>
                  <a:lnTo>
                    <a:pt x="1926065" y="1560296"/>
                  </a:lnTo>
                  <a:lnTo>
                    <a:pt x="1928599" y="1560381"/>
                  </a:lnTo>
                  <a:lnTo>
                    <a:pt x="1931414" y="1561194"/>
                  </a:lnTo>
                  <a:lnTo>
                    <a:pt x="1930541" y="1564491"/>
                  </a:lnTo>
                  <a:lnTo>
                    <a:pt x="1929529" y="1566725"/>
                  </a:lnTo>
                  <a:lnTo>
                    <a:pt x="1930117" y="1568805"/>
                  </a:lnTo>
                  <a:lnTo>
                    <a:pt x="1931787" y="1572769"/>
                  </a:lnTo>
                  <a:lnTo>
                    <a:pt x="1934090" y="1573637"/>
                  </a:lnTo>
                  <a:lnTo>
                    <a:pt x="1935013" y="1578708"/>
                  </a:lnTo>
                  <a:lnTo>
                    <a:pt x="1936233" y="1581468"/>
                  </a:lnTo>
                  <a:lnTo>
                    <a:pt x="1936069" y="1583681"/>
                  </a:lnTo>
                  <a:lnTo>
                    <a:pt x="1938376" y="1585096"/>
                  </a:lnTo>
                  <a:lnTo>
                    <a:pt x="1938765" y="1587354"/>
                  </a:lnTo>
                  <a:lnTo>
                    <a:pt x="1947124" y="1587993"/>
                  </a:lnTo>
                  <a:lnTo>
                    <a:pt x="1948818" y="1588861"/>
                  </a:lnTo>
                  <a:lnTo>
                    <a:pt x="1954627" y="1589719"/>
                  </a:lnTo>
                  <a:lnTo>
                    <a:pt x="1955725" y="1590341"/>
                  </a:lnTo>
                  <a:lnTo>
                    <a:pt x="1956757" y="1591579"/>
                  </a:lnTo>
                  <a:lnTo>
                    <a:pt x="1951066" y="1594299"/>
                  </a:lnTo>
                  <a:lnTo>
                    <a:pt x="1955673" y="1596265"/>
                  </a:lnTo>
                  <a:lnTo>
                    <a:pt x="1960030" y="1599468"/>
                  </a:lnTo>
                  <a:lnTo>
                    <a:pt x="1963457" y="1598837"/>
                  </a:lnTo>
                  <a:lnTo>
                    <a:pt x="1964940" y="1598940"/>
                  </a:lnTo>
                  <a:lnTo>
                    <a:pt x="1968774" y="1600945"/>
                  </a:lnTo>
                  <a:lnTo>
                    <a:pt x="1969842" y="1601937"/>
                  </a:lnTo>
                  <a:lnTo>
                    <a:pt x="1970428" y="1602819"/>
                  </a:lnTo>
                  <a:lnTo>
                    <a:pt x="1972352" y="1602630"/>
                  </a:lnTo>
                  <a:lnTo>
                    <a:pt x="1975116" y="1601857"/>
                  </a:lnTo>
                  <a:lnTo>
                    <a:pt x="1980114" y="1602048"/>
                  </a:lnTo>
                  <a:lnTo>
                    <a:pt x="1985442" y="1603179"/>
                  </a:lnTo>
                  <a:lnTo>
                    <a:pt x="1984994" y="1604902"/>
                  </a:lnTo>
                  <a:lnTo>
                    <a:pt x="1984189" y="1606094"/>
                  </a:lnTo>
                  <a:lnTo>
                    <a:pt x="1988358" y="1605701"/>
                  </a:lnTo>
                  <a:lnTo>
                    <a:pt x="1990960" y="1606926"/>
                  </a:lnTo>
                  <a:lnTo>
                    <a:pt x="1991867" y="1606337"/>
                  </a:lnTo>
                  <a:lnTo>
                    <a:pt x="1992510" y="1605576"/>
                  </a:lnTo>
                  <a:lnTo>
                    <a:pt x="1997688" y="1603485"/>
                  </a:lnTo>
                  <a:lnTo>
                    <a:pt x="2004336" y="1599146"/>
                  </a:lnTo>
                  <a:lnTo>
                    <a:pt x="2005146" y="1599684"/>
                  </a:lnTo>
                  <a:lnTo>
                    <a:pt x="2005449" y="1601329"/>
                  </a:lnTo>
                  <a:lnTo>
                    <a:pt x="2006321" y="1604011"/>
                  </a:lnTo>
                  <a:lnTo>
                    <a:pt x="2008875" y="1605860"/>
                  </a:lnTo>
                  <a:lnTo>
                    <a:pt x="2011908" y="1606284"/>
                  </a:lnTo>
                  <a:lnTo>
                    <a:pt x="2016082" y="1604870"/>
                  </a:lnTo>
                  <a:lnTo>
                    <a:pt x="2017721" y="1606092"/>
                  </a:lnTo>
                  <a:lnTo>
                    <a:pt x="2019677" y="1608445"/>
                  </a:lnTo>
                  <a:lnTo>
                    <a:pt x="2021540" y="1611523"/>
                  </a:lnTo>
                  <a:lnTo>
                    <a:pt x="2021415" y="1612623"/>
                  </a:lnTo>
                  <a:lnTo>
                    <a:pt x="2019027" y="1613582"/>
                  </a:lnTo>
                  <a:lnTo>
                    <a:pt x="2016876" y="1614964"/>
                  </a:lnTo>
                  <a:lnTo>
                    <a:pt x="2025858" y="1615531"/>
                  </a:lnTo>
                  <a:lnTo>
                    <a:pt x="2026770" y="1616112"/>
                  </a:lnTo>
                  <a:lnTo>
                    <a:pt x="2027765" y="1617320"/>
                  </a:lnTo>
                  <a:lnTo>
                    <a:pt x="2026849" y="1618544"/>
                  </a:lnTo>
                  <a:lnTo>
                    <a:pt x="2026001" y="1619153"/>
                  </a:lnTo>
                  <a:lnTo>
                    <a:pt x="2024372" y="1618441"/>
                  </a:lnTo>
                  <a:lnTo>
                    <a:pt x="2021369" y="1619089"/>
                  </a:lnTo>
                  <a:lnTo>
                    <a:pt x="2018745" y="1620672"/>
                  </a:lnTo>
                  <a:lnTo>
                    <a:pt x="2015940" y="1621553"/>
                  </a:lnTo>
                  <a:lnTo>
                    <a:pt x="2014143" y="1621654"/>
                  </a:lnTo>
                  <a:lnTo>
                    <a:pt x="2012149" y="1622384"/>
                  </a:lnTo>
                  <a:lnTo>
                    <a:pt x="2010328" y="1623515"/>
                  </a:lnTo>
                  <a:lnTo>
                    <a:pt x="2008434" y="1623831"/>
                  </a:lnTo>
                  <a:lnTo>
                    <a:pt x="2002528" y="1626651"/>
                  </a:lnTo>
                  <a:lnTo>
                    <a:pt x="1996488" y="1628469"/>
                  </a:lnTo>
                  <a:lnTo>
                    <a:pt x="1990175" y="1631375"/>
                  </a:lnTo>
                  <a:lnTo>
                    <a:pt x="1983733" y="1633206"/>
                  </a:lnTo>
                  <a:lnTo>
                    <a:pt x="1977045" y="1635404"/>
                  </a:lnTo>
                  <a:lnTo>
                    <a:pt x="1975589" y="1635599"/>
                  </a:lnTo>
                  <a:lnTo>
                    <a:pt x="1973904" y="1635513"/>
                  </a:lnTo>
                  <a:lnTo>
                    <a:pt x="1970085" y="1637660"/>
                  </a:lnTo>
                  <a:lnTo>
                    <a:pt x="1968196" y="1637368"/>
                  </a:lnTo>
                  <a:lnTo>
                    <a:pt x="1966268" y="1637742"/>
                  </a:lnTo>
                  <a:lnTo>
                    <a:pt x="1964050" y="1637270"/>
                  </a:lnTo>
                  <a:lnTo>
                    <a:pt x="1962536" y="1636391"/>
                  </a:lnTo>
                  <a:lnTo>
                    <a:pt x="1963697" y="1638658"/>
                  </a:lnTo>
                  <a:lnTo>
                    <a:pt x="1964037" y="1640744"/>
                  </a:lnTo>
                  <a:lnTo>
                    <a:pt x="1963457" y="1641658"/>
                  </a:lnTo>
                  <a:lnTo>
                    <a:pt x="1962391" y="1642734"/>
                  </a:lnTo>
                  <a:lnTo>
                    <a:pt x="1958553" y="1642533"/>
                  </a:lnTo>
                  <a:lnTo>
                    <a:pt x="1957044" y="1641778"/>
                  </a:lnTo>
                  <a:lnTo>
                    <a:pt x="1955251" y="1640664"/>
                  </a:lnTo>
                  <a:lnTo>
                    <a:pt x="1954430" y="1638869"/>
                  </a:lnTo>
                  <a:lnTo>
                    <a:pt x="1952503" y="1637587"/>
                  </a:lnTo>
                  <a:lnTo>
                    <a:pt x="1951357" y="1639367"/>
                  </a:lnTo>
                  <a:lnTo>
                    <a:pt x="1951364" y="1640694"/>
                  </a:lnTo>
                  <a:lnTo>
                    <a:pt x="1949937" y="1642501"/>
                  </a:lnTo>
                  <a:lnTo>
                    <a:pt x="1948261" y="1639406"/>
                  </a:lnTo>
                  <a:lnTo>
                    <a:pt x="1945241" y="1640539"/>
                  </a:lnTo>
                  <a:lnTo>
                    <a:pt x="1943911" y="1643828"/>
                  </a:lnTo>
                  <a:lnTo>
                    <a:pt x="1944578" y="1644767"/>
                  </a:lnTo>
                  <a:lnTo>
                    <a:pt x="1945505" y="1647279"/>
                  </a:lnTo>
                  <a:lnTo>
                    <a:pt x="1944012" y="1648590"/>
                  </a:lnTo>
                  <a:lnTo>
                    <a:pt x="1942906" y="1648229"/>
                  </a:lnTo>
                  <a:lnTo>
                    <a:pt x="1940609" y="1651912"/>
                  </a:lnTo>
                  <a:lnTo>
                    <a:pt x="1937828" y="1653253"/>
                  </a:lnTo>
                  <a:lnTo>
                    <a:pt x="1934959" y="1657001"/>
                  </a:lnTo>
                  <a:lnTo>
                    <a:pt x="1931560" y="1659854"/>
                  </a:lnTo>
                  <a:lnTo>
                    <a:pt x="1930630" y="1661760"/>
                  </a:lnTo>
                  <a:lnTo>
                    <a:pt x="1924938" y="1666117"/>
                  </a:lnTo>
                  <a:lnTo>
                    <a:pt x="1922776" y="1665987"/>
                  </a:lnTo>
                  <a:lnTo>
                    <a:pt x="1921182" y="1666130"/>
                  </a:lnTo>
                  <a:lnTo>
                    <a:pt x="1918782" y="1667945"/>
                  </a:lnTo>
                  <a:lnTo>
                    <a:pt x="1918409" y="1671608"/>
                  </a:lnTo>
                  <a:lnTo>
                    <a:pt x="1917350" y="1671124"/>
                  </a:lnTo>
                  <a:lnTo>
                    <a:pt x="1916274" y="1671244"/>
                  </a:lnTo>
                  <a:lnTo>
                    <a:pt x="1915718" y="1672393"/>
                  </a:lnTo>
                  <a:lnTo>
                    <a:pt x="1914926" y="1672583"/>
                  </a:lnTo>
                  <a:lnTo>
                    <a:pt x="1912827" y="1671495"/>
                  </a:lnTo>
                  <a:lnTo>
                    <a:pt x="1910355" y="1672089"/>
                  </a:lnTo>
                  <a:lnTo>
                    <a:pt x="1908423" y="1671264"/>
                  </a:lnTo>
                  <a:lnTo>
                    <a:pt x="1905959" y="1665895"/>
                  </a:lnTo>
                  <a:lnTo>
                    <a:pt x="1904650" y="1664011"/>
                  </a:lnTo>
                  <a:lnTo>
                    <a:pt x="1902330" y="1663404"/>
                  </a:lnTo>
                  <a:lnTo>
                    <a:pt x="1901728" y="1664541"/>
                  </a:lnTo>
                  <a:lnTo>
                    <a:pt x="1900828" y="1665653"/>
                  </a:lnTo>
                  <a:lnTo>
                    <a:pt x="1898594" y="1663436"/>
                  </a:lnTo>
                  <a:lnTo>
                    <a:pt x="1896902" y="1655190"/>
                  </a:lnTo>
                  <a:lnTo>
                    <a:pt x="1896888" y="1653197"/>
                  </a:lnTo>
                  <a:lnTo>
                    <a:pt x="1899258" y="1646239"/>
                  </a:lnTo>
                  <a:lnTo>
                    <a:pt x="1905129" y="1639963"/>
                  </a:lnTo>
                  <a:lnTo>
                    <a:pt x="1903256" y="1639752"/>
                  </a:lnTo>
                  <a:lnTo>
                    <a:pt x="1898071" y="1644107"/>
                  </a:lnTo>
                  <a:lnTo>
                    <a:pt x="1898606" y="1643054"/>
                  </a:lnTo>
                  <a:lnTo>
                    <a:pt x="1899485" y="1641955"/>
                  </a:lnTo>
                  <a:lnTo>
                    <a:pt x="1901233" y="1640185"/>
                  </a:lnTo>
                  <a:lnTo>
                    <a:pt x="1903886" y="1638519"/>
                  </a:lnTo>
                  <a:lnTo>
                    <a:pt x="1907419" y="1637547"/>
                  </a:lnTo>
                  <a:lnTo>
                    <a:pt x="1909850" y="1637399"/>
                  </a:lnTo>
                  <a:lnTo>
                    <a:pt x="1911526" y="1636479"/>
                  </a:lnTo>
                  <a:lnTo>
                    <a:pt x="1913953" y="1634846"/>
                  </a:lnTo>
                  <a:lnTo>
                    <a:pt x="1914404" y="1633979"/>
                  </a:lnTo>
                  <a:lnTo>
                    <a:pt x="1912252" y="1634975"/>
                  </a:lnTo>
                  <a:lnTo>
                    <a:pt x="1908674" y="1635957"/>
                  </a:lnTo>
                  <a:lnTo>
                    <a:pt x="1909591" y="1634670"/>
                  </a:lnTo>
                  <a:lnTo>
                    <a:pt x="1910487" y="1633981"/>
                  </a:lnTo>
                  <a:lnTo>
                    <a:pt x="1929600" y="1622689"/>
                  </a:lnTo>
                  <a:lnTo>
                    <a:pt x="1933446" y="1620825"/>
                  </a:lnTo>
                  <a:lnTo>
                    <a:pt x="1941114" y="1618442"/>
                  </a:lnTo>
                  <a:lnTo>
                    <a:pt x="1942179" y="1616881"/>
                  </a:lnTo>
                  <a:lnTo>
                    <a:pt x="1941132" y="1615883"/>
                  </a:lnTo>
                  <a:lnTo>
                    <a:pt x="1944109" y="1616768"/>
                  </a:lnTo>
                  <a:lnTo>
                    <a:pt x="1943863" y="1618060"/>
                  </a:lnTo>
                  <a:lnTo>
                    <a:pt x="1943396" y="1619003"/>
                  </a:lnTo>
                  <a:lnTo>
                    <a:pt x="1943222" y="1620603"/>
                  </a:lnTo>
                  <a:lnTo>
                    <a:pt x="1943513" y="1622142"/>
                  </a:lnTo>
                  <a:lnTo>
                    <a:pt x="1946536" y="1622893"/>
                  </a:lnTo>
                  <a:lnTo>
                    <a:pt x="1949060" y="1625756"/>
                  </a:lnTo>
                  <a:lnTo>
                    <a:pt x="1947863" y="1621867"/>
                  </a:lnTo>
                  <a:lnTo>
                    <a:pt x="1950133" y="1619666"/>
                  </a:lnTo>
                  <a:lnTo>
                    <a:pt x="1958877" y="1616718"/>
                  </a:lnTo>
                  <a:lnTo>
                    <a:pt x="1966182" y="1616397"/>
                  </a:lnTo>
                  <a:lnTo>
                    <a:pt x="1968520" y="1615023"/>
                  </a:lnTo>
                  <a:lnTo>
                    <a:pt x="1962271" y="1614100"/>
                  </a:lnTo>
                  <a:lnTo>
                    <a:pt x="1954868" y="1614603"/>
                  </a:lnTo>
                  <a:lnTo>
                    <a:pt x="1950286" y="1613573"/>
                  </a:lnTo>
                  <a:lnTo>
                    <a:pt x="1943965" y="1614245"/>
                  </a:lnTo>
                  <a:lnTo>
                    <a:pt x="1937276" y="1613599"/>
                  </a:lnTo>
                  <a:lnTo>
                    <a:pt x="1935225" y="1614452"/>
                  </a:lnTo>
                  <a:lnTo>
                    <a:pt x="1933562" y="1616295"/>
                  </a:lnTo>
                  <a:lnTo>
                    <a:pt x="1931401" y="1615481"/>
                  </a:lnTo>
                  <a:lnTo>
                    <a:pt x="1930356" y="1615345"/>
                  </a:lnTo>
                  <a:lnTo>
                    <a:pt x="1929348" y="1614708"/>
                  </a:lnTo>
                  <a:lnTo>
                    <a:pt x="1931516" y="1611537"/>
                  </a:lnTo>
                  <a:lnTo>
                    <a:pt x="1938295" y="1606811"/>
                  </a:lnTo>
                  <a:lnTo>
                    <a:pt x="1942427" y="1602696"/>
                  </a:lnTo>
                  <a:lnTo>
                    <a:pt x="1943592" y="1601832"/>
                  </a:lnTo>
                  <a:lnTo>
                    <a:pt x="1944517" y="1600173"/>
                  </a:lnTo>
                  <a:lnTo>
                    <a:pt x="1942250" y="1600451"/>
                  </a:lnTo>
                  <a:lnTo>
                    <a:pt x="1940268" y="1601101"/>
                  </a:lnTo>
                  <a:lnTo>
                    <a:pt x="1938896" y="1599196"/>
                  </a:lnTo>
                  <a:lnTo>
                    <a:pt x="1936452" y="1596664"/>
                  </a:lnTo>
                  <a:lnTo>
                    <a:pt x="1936216" y="1597718"/>
                  </a:lnTo>
                  <a:lnTo>
                    <a:pt x="1937443" y="1600869"/>
                  </a:lnTo>
                  <a:lnTo>
                    <a:pt x="1932755" y="1606402"/>
                  </a:lnTo>
                  <a:lnTo>
                    <a:pt x="1929728" y="1606796"/>
                  </a:lnTo>
                  <a:lnTo>
                    <a:pt x="1925686" y="1609372"/>
                  </a:lnTo>
                  <a:lnTo>
                    <a:pt x="1919980" y="1611614"/>
                  </a:lnTo>
                  <a:lnTo>
                    <a:pt x="1913319" y="1615888"/>
                  </a:lnTo>
                  <a:lnTo>
                    <a:pt x="1904712" y="1619484"/>
                  </a:lnTo>
                  <a:lnTo>
                    <a:pt x="1902908" y="1619498"/>
                  </a:lnTo>
                  <a:lnTo>
                    <a:pt x="1899000" y="1616539"/>
                  </a:lnTo>
                  <a:lnTo>
                    <a:pt x="1900093" y="1615191"/>
                  </a:lnTo>
                  <a:lnTo>
                    <a:pt x="1901109" y="1613362"/>
                  </a:lnTo>
                  <a:lnTo>
                    <a:pt x="1900138" y="1613889"/>
                  </a:lnTo>
                  <a:lnTo>
                    <a:pt x="1899507" y="1614682"/>
                  </a:lnTo>
                  <a:lnTo>
                    <a:pt x="1897149" y="1615955"/>
                  </a:lnTo>
                  <a:lnTo>
                    <a:pt x="1899062" y="1618414"/>
                  </a:lnTo>
                  <a:lnTo>
                    <a:pt x="1898138" y="1619336"/>
                  </a:lnTo>
                  <a:lnTo>
                    <a:pt x="1895404" y="1620548"/>
                  </a:lnTo>
                  <a:lnTo>
                    <a:pt x="1892858" y="1622301"/>
                  </a:lnTo>
                  <a:lnTo>
                    <a:pt x="1890630" y="1623471"/>
                  </a:lnTo>
                  <a:lnTo>
                    <a:pt x="1888828" y="1621982"/>
                  </a:lnTo>
                  <a:lnTo>
                    <a:pt x="1883851" y="1623863"/>
                  </a:lnTo>
                  <a:lnTo>
                    <a:pt x="1879661" y="1624368"/>
                  </a:lnTo>
                  <a:lnTo>
                    <a:pt x="1878754" y="1623416"/>
                  </a:lnTo>
                  <a:lnTo>
                    <a:pt x="1878488" y="1621911"/>
                  </a:lnTo>
                  <a:lnTo>
                    <a:pt x="1877021" y="1621548"/>
                  </a:lnTo>
                  <a:lnTo>
                    <a:pt x="1874294" y="1621963"/>
                  </a:lnTo>
                  <a:lnTo>
                    <a:pt x="1873261" y="1621163"/>
                  </a:lnTo>
                  <a:lnTo>
                    <a:pt x="1872091" y="1620768"/>
                  </a:lnTo>
                  <a:lnTo>
                    <a:pt x="1871019" y="1620437"/>
                  </a:lnTo>
                  <a:lnTo>
                    <a:pt x="1870097" y="1620179"/>
                  </a:lnTo>
                  <a:lnTo>
                    <a:pt x="1869563" y="1620621"/>
                  </a:lnTo>
                  <a:lnTo>
                    <a:pt x="1869056" y="1621210"/>
                  </a:lnTo>
                  <a:lnTo>
                    <a:pt x="1868432" y="1621654"/>
                  </a:lnTo>
                  <a:lnTo>
                    <a:pt x="1867122" y="1621027"/>
                  </a:lnTo>
                  <a:lnTo>
                    <a:pt x="1866289" y="1619884"/>
                  </a:lnTo>
                  <a:lnTo>
                    <a:pt x="1864951" y="1618706"/>
                  </a:lnTo>
                  <a:lnTo>
                    <a:pt x="1864444" y="1617819"/>
                  </a:lnTo>
                  <a:lnTo>
                    <a:pt x="1864713" y="1616787"/>
                  </a:lnTo>
                  <a:lnTo>
                    <a:pt x="1865307" y="1615791"/>
                  </a:lnTo>
                  <a:lnTo>
                    <a:pt x="1865576" y="1614611"/>
                  </a:lnTo>
                  <a:lnTo>
                    <a:pt x="1864921" y="1613247"/>
                  </a:lnTo>
                  <a:lnTo>
                    <a:pt x="1864326" y="1612471"/>
                  </a:lnTo>
                  <a:lnTo>
                    <a:pt x="1863909" y="1611583"/>
                  </a:lnTo>
                  <a:lnTo>
                    <a:pt x="1864058" y="1610735"/>
                  </a:lnTo>
                  <a:lnTo>
                    <a:pt x="1864891" y="1610326"/>
                  </a:lnTo>
                  <a:lnTo>
                    <a:pt x="1865665" y="1609808"/>
                  </a:lnTo>
                  <a:lnTo>
                    <a:pt x="1865932" y="1608700"/>
                  </a:lnTo>
                  <a:lnTo>
                    <a:pt x="1865456" y="1607517"/>
                  </a:lnTo>
                  <a:lnTo>
                    <a:pt x="1864087" y="1607034"/>
                  </a:lnTo>
                  <a:lnTo>
                    <a:pt x="1862956" y="1607219"/>
                  </a:lnTo>
                  <a:lnTo>
                    <a:pt x="1861320" y="1606961"/>
                  </a:lnTo>
                  <a:lnTo>
                    <a:pt x="1859744" y="1606221"/>
                  </a:lnTo>
                  <a:lnTo>
                    <a:pt x="1858703" y="1605369"/>
                  </a:lnTo>
                  <a:lnTo>
                    <a:pt x="1857899" y="1604886"/>
                  </a:lnTo>
                  <a:lnTo>
                    <a:pt x="1857274" y="1604886"/>
                  </a:lnTo>
                  <a:lnTo>
                    <a:pt x="1856530" y="1604406"/>
                  </a:lnTo>
                  <a:lnTo>
                    <a:pt x="1856084" y="1603591"/>
                  </a:lnTo>
                  <a:lnTo>
                    <a:pt x="1856144" y="1602256"/>
                  </a:lnTo>
                  <a:lnTo>
                    <a:pt x="1856351" y="1601442"/>
                  </a:lnTo>
                  <a:lnTo>
                    <a:pt x="1856768" y="1600736"/>
                  </a:lnTo>
                  <a:lnTo>
                    <a:pt x="1856797" y="1599957"/>
                  </a:lnTo>
                  <a:lnTo>
                    <a:pt x="1856620" y="1599399"/>
                  </a:lnTo>
                  <a:lnTo>
                    <a:pt x="1856591" y="1598957"/>
                  </a:lnTo>
                  <a:lnTo>
                    <a:pt x="1856708" y="1598399"/>
                  </a:lnTo>
                  <a:lnTo>
                    <a:pt x="1856977" y="1597286"/>
                  </a:lnTo>
                  <a:lnTo>
                    <a:pt x="1856530" y="1596470"/>
                  </a:lnTo>
                  <a:lnTo>
                    <a:pt x="1856484" y="1593639"/>
                  </a:lnTo>
                  <a:lnTo>
                    <a:pt x="1856396" y="1588338"/>
                  </a:lnTo>
                  <a:lnTo>
                    <a:pt x="1856331" y="1584272"/>
                  </a:lnTo>
                  <a:lnTo>
                    <a:pt x="1856248" y="1579151"/>
                  </a:lnTo>
                  <a:lnTo>
                    <a:pt x="1856200" y="1575417"/>
                  </a:lnTo>
                  <a:lnTo>
                    <a:pt x="1856133" y="1570176"/>
                  </a:lnTo>
                  <a:lnTo>
                    <a:pt x="1856069" y="1565196"/>
                  </a:lnTo>
                  <a:lnTo>
                    <a:pt x="1855969" y="1560489"/>
                  </a:lnTo>
                  <a:lnTo>
                    <a:pt x="1852722" y="1557771"/>
                  </a:lnTo>
                  <a:lnTo>
                    <a:pt x="1848616" y="1554331"/>
                  </a:lnTo>
                  <a:lnTo>
                    <a:pt x="1845099" y="1552048"/>
                  </a:lnTo>
                  <a:lnTo>
                    <a:pt x="1843187" y="1551774"/>
                  </a:lnTo>
                  <a:lnTo>
                    <a:pt x="1841992" y="1552094"/>
                  </a:lnTo>
                  <a:lnTo>
                    <a:pt x="1841513" y="1553005"/>
                  </a:lnTo>
                  <a:lnTo>
                    <a:pt x="1838889" y="1553980"/>
                  </a:lnTo>
                  <a:lnTo>
                    <a:pt x="1834118" y="1555017"/>
                  </a:lnTo>
                  <a:lnTo>
                    <a:pt x="1830057" y="1556626"/>
                  </a:lnTo>
                  <a:lnTo>
                    <a:pt x="1828569" y="1556642"/>
                  </a:lnTo>
                  <a:lnTo>
                    <a:pt x="1827306" y="1556373"/>
                  </a:lnTo>
                  <a:lnTo>
                    <a:pt x="1825634" y="1555565"/>
                  </a:lnTo>
                  <a:lnTo>
                    <a:pt x="1824482" y="1554370"/>
                  </a:lnTo>
                  <a:lnTo>
                    <a:pt x="1824085" y="1552299"/>
                  </a:lnTo>
                  <a:lnTo>
                    <a:pt x="1824440" y="1549455"/>
                  </a:lnTo>
                  <a:lnTo>
                    <a:pt x="1822005" y="1548872"/>
                  </a:lnTo>
                  <a:lnTo>
                    <a:pt x="1819555" y="1548286"/>
                  </a:lnTo>
                  <a:lnTo>
                    <a:pt x="1818052" y="1550248"/>
                  </a:lnTo>
                  <a:lnTo>
                    <a:pt x="1816614" y="1551898"/>
                  </a:lnTo>
                  <a:lnTo>
                    <a:pt x="1813759" y="1555493"/>
                  </a:lnTo>
                  <a:lnTo>
                    <a:pt x="1809745" y="1560536"/>
                  </a:lnTo>
                  <a:lnTo>
                    <a:pt x="1807519" y="1563305"/>
                  </a:lnTo>
                  <a:lnTo>
                    <a:pt x="1803610" y="1568163"/>
                  </a:lnTo>
                  <a:lnTo>
                    <a:pt x="1800162" y="1572441"/>
                  </a:lnTo>
                  <a:lnTo>
                    <a:pt x="1799388" y="1576825"/>
                  </a:lnTo>
                  <a:lnTo>
                    <a:pt x="1798654" y="1580975"/>
                  </a:lnTo>
                  <a:lnTo>
                    <a:pt x="1795801" y="1584130"/>
                  </a:lnTo>
                  <a:lnTo>
                    <a:pt x="1794062" y="1587019"/>
                  </a:lnTo>
                  <a:lnTo>
                    <a:pt x="1793285" y="1590221"/>
                  </a:lnTo>
                  <a:lnTo>
                    <a:pt x="1792636" y="1593157"/>
                  </a:lnTo>
                  <a:lnTo>
                    <a:pt x="1792587" y="1595613"/>
                  </a:lnTo>
                  <a:lnTo>
                    <a:pt x="1793077" y="1596901"/>
                  </a:lnTo>
                  <a:lnTo>
                    <a:pt x="1792846" y="1597946"/>
                  </a:lnTo>
                  <a:lnTo>
                    <a:pt x="1791902" y="1599149"/>
                  </a:lnTo>
                  <a:lnTo>
                    <a:pt x="1790016" y="1601241"/>
                  </a:lnTo>
                  <a:lnTo>
                    <a:pt x="1789680" y="1603252"/>
                  </a:lnTo>
                  <a:lnTo>
                    <a:pt x="1788526" y="1604244"/>
                  </a:lnTo>
                  <a:lnTo>
                    <a:pt x="1785235" y="1606227"/>
                  </a:lnTo>
                  <a:lnTo>
                    <a:pt x="1782551" y="1609148"/>
                  </a:lnTo>
                  <a:lnTo>
                    <a:pt x="1782420" y="1610801"/>
                  </a:lnTo>
                  <a:lnTo>
                    <a:pt x="1782808" y="1612173"/>
                  </a:lnTo>
                  <a:lnTo>
                    <a:pt x="1782866" y="1613024"/>
                  </a:lnTo>
                  <a:lnTo>
                    <a:pt x="1782331" y="1613618"/>
                  </a:lnTo>
                  <a:lnTo>
                    <a:pt x="1781256" y="1613579"/>
                  </a:lnTo>
                  <a:lnTo>
                    <a:pt x="1780093" y="1613764"/>
                  </a:lnTo>
                  <a:lnTo>
                    <a:pt x="1779114" y="1614980"/>
                  </a:lnTo>
                  <a:lnTo>
                    <a:pt x="1779139" y="1616725"/>
                  </a:lnTo>
                  <a:lnTo>
                    <a:pt x="1778424" y="1617982"/>
                  </a:lnTo>
                  <a:lnTo>
                    <a:pt x="1777588" y="1618241"/>
                  </a:lnTo>
                  <a:lnTo>
                    <a:pt x="1776871" y="1617352"/>
                  </a:lnTo>
                  <a:lnTo>
                    <a:pt x="1776011" y="1616020"/>
                  </a:lnTo>
                  <a:lnTo>
                    <a:pt x="1775003" y="1615889"/>
                  </a:lnTo>
                  <a:lnTo>
                    <a:pt x="1773473" y="1616773"/>
                  </a:lnTo>
                  <a:lnTo>
                    <a:pt x="1771586" y="1618229"/>
                  </a:lnTo>
                  <a:lnTo>
                    <a:pt x="1769889" y="1618306"/>
                  </a:lnTo>
                  <a:lnTo>
                    <a:pt x="1766702" y="1617372"/>
                  </a:lnTo>
                  <a:lnTo>
                    <a:pt x="1764375" y="1620193"/>
                  </a:lnTo>
                  <a:lnTo>
                    <a:pt x="1761879" y="1626241"/>
                  </a:lnTo>
                  <a:lnTo>
                    <a:pt x="1751327" y="1626257"/>
                  </a:lnTo>
                  <a:lnTo>
                    <a:pt x="1740776" y="1626272"/>
                  </a:lnTo>
                  <a:lnTo>
                    <a:pt x="1730224" y="1626287"/>
                  </a:lnTo>
                  <a:lnTo>
                    <a:pt x="1719673" y="1626303"/>
                  </a:lnTo>
                  <a:lnTo>
                    <a:pt x="1709122" y="1626316"/>
                  </a:lnTo>
                  <a:lnTo>
                    <a:pt x="1698570" y="1626331"/>
                  </a:lnTo>
                  <a:lnTo>
                    <a:pt x="1688019" y="1626346"/>
                  </a:lnTo>
                  <a:lnTo>
                    <a:pt x="1682114" y="1626355"/>
                  </a:lnTo>
                  <a:lnTo>
                    <a:pt x="1680957" y="1626358"/>
                  </a:lnTo>
                  <a:lnTo>
                    <a:pt x="1684572" y="1625173"/>
                  </a:lnTo>
                  <a:lnTo>
                    <a:pt x="1692110" y="1620571"/>
                  </a:lnTo>
                  <a:lnTo>
                    <a:pt x="1697670" y="1618903"/>
                  </a:lnTo>
                  <a:lnTo>
                    <a:pt x="1704900" y="1614059"/>
                  </a:lnTo>
                  <a:lnTo>
                    <a:pt x="1710137" y="1613126"/>
                  </a:lnTo>
                  <a:lnTo>
                    <a:pt x="1711133" y="1612059"/>
                  </a:lnTo>
                  <a:lnTo>
                    <a:pt x="1712012" y="1608032"/>
                  </a:lnTo>
                  <a:lnTo>
                    <a:pt x="1712490" y="1606596"/>
                  </a:lnTo>
                  <a:lnTo>
                    <a:pt x="1714936" y="1602634"/>
                  </a:lnTo>
                  <a:lnTo>
                    <a:pt x="1717872" y="1599288"/>
                  </a:lnTo>
                  <a:lnTo>
                    <a:pt x="1720242" y="1594657"/>
                  </a:lnTo>
                  <a:lnTo>
                    <a:pt x="1724543" y="1591692"/>
                  </a:lnTo>
                  <a:lnTo>
                    <a:pt x="1731047" y="1589211"/>
                  </a:lnTo>
                  <a:lnTo>
                    <a:pt x="1737063" y="1583786"/>
                  </a:lnTo>
                  <a:lnTo>
                    <a:pt x="1740360" y="1582130"/>
                  </a:lnTo>
                  <a:lnTo>
                    <a:pt x="1743555" y="1580943"/>
                  </a:lnTo>
                  <a:lnTo>
                    <a:pt x="1744897" y="1578733"/>
                  </a:lnTo>
                  <a:lnTo>
                    <a:pt x="1746874" y="1577470"/>
                  </a:lnTo>
                  <a:lnTo>
                    <a:pt x="1752157" y="1574897"/>
                  </a:lnTo>
                  <a:lnTo>
                    <a:pt x="1757980" y="1574201"/>
                  </a:lnTo>
                  <a:lnTo>
                    <a:pt x="1763864" y="1572064"/>
                  </a:lnTo>
                  <a:lnTo>
                    <a:pt x="1768378" y="1570931"/>
                  </a:lnTo>
                  <a:lnTo>
                    <a:pt x="1771147" y="1568924"/>
                  </a:lnTo>
                  <a:lnTo>
                    <a:pt x="1775172" y="1567867"/>
                  </a:lnTo>
                  <a:lnTo>
                    <a:pt x="1787185" y="1562099"/>
                  </a:lnTo>
                  <a:lnTo>
                    <a:pt x="1790517" y="1559395"/>
                  </a:lnTo>
                  <a:lnTo>
                    <a:pt x="1794836" y="1553849"/>
                  </a:lnTo>
                  <a:lnTo>
                    <a:pt x="1798593" y="1551025"/>
                  </a:lnTo>
                  <a:lnTo>
                    <a:pt x="1799922" y="1548014"/>
                  </a:lnTo>
                  <a:lnTo>
                    <a:pt x="1805372" y="1543121"/>
                  </a:lnTo>
                  <a:lnTo>
                    <a:pt x="1810980" y="1536661"/>
                  </a:lnTo>
                  <a:lnTo>
                    <a:pt x="1813769" y="1532020"/>
                  </a:lnTo>
                  <a:lnTo>
                    <a:pt x="1817945" y="1529440"/>
                  </a:lnTo>
                  <a:lnTo>
                    <a:pt x="1826041" y="1522051"/>
                  </a:lnTo>
                  <a:lnTo>
                    <a:pt x="1830387" y="1519096"/>
                  </a:lnTo>
                  <a:lnTo>
                    <a:pt x="1832153" y="1518758"/>
                  </a:lnTo>
                  <a:lnTo>
                    <a:pt x="1837074" y="1516128"/>
                  </a:lnTo>
                  <a:lnTo>
                    <a:pt x="1840129" y="1513383"/>
                  </a:lnTo>
                  <a:lnTo>
                    <a:pt x="1845031" y="1510624"/>
                  </a:lnTo>
                  <a:lnTo>
                    <a:pt x="1853885" y="1507217"/>
                  </a:lnTo>
                  <a:lnTo>
                    <a:pt x="1862204" y="1503135"/>
                  </a:lnTo>
                  <a:lnTo>
                    <a:pt x="1873448" y="1499598"/>
                  </a:lnTo>
                  <a:lnTo>
                    <a:pt x="1886617" y="1494288"/>
                  </a:lnTo>
                  <a:lnTo>
                    <a:pt x="1897265" y="1491444"/>
                  </a:lnTo>
                  <a:lnTo>
                    <a:pt x="1904754" y="1491032"/>
                  </a:lnTo>
                  <a:close/>
                  <a:moveTo>
                    <a:pt x="375112" y="1485971"/>
                  </a:moveTo>
                  <a:lnTo>
                    <a:pt x="377476" y="1486456"/>
                  </a:lnTo>
                  <a:lnTo>
                    <a:pt x="378065" y="1486818"/>
                  </a:lnTo>
                  <a:lnTo>
                    <a:pt x="378777" y="1489786"/>
                  </a:lnTo>
                  <a:lnTo>
                    <a:pt x="375663" y="1489310"/>
                  </a:lnTo>
                  <a:lnTo>
                    <a:pt x="374577" y="1488735"/>
                  </a:lnTo>
                  <a:lnTo>
                    <a:pt x="374531" y="1487309"/>
                  </a:lnTo>
                  <a:close/>
                  <a:moveTo>
                    <a:pt x="2191880" y="1477687"/>
                  </a:moveTo>
                  <a:lnTo>
                    <a:pt x="2192425" y="1478067"/>
                  </a:lnTo>
                  <a:lnTo>
                    <a:pt x="2192002" y="1479092"/>
                  </a:lnTo>
                  <a:lnTo>
                    <a:pt x="2188089" y="1481009"/>
                  </a:lnTo>
                  <a:lnTo>
                    <a:pt x="2187199" y="1481763"/>
                  </a:lnTo>
                  <a:lnTo>
                    <a:pt x="2186116" y="1482146"/>
                  </a:lnTo>
                  <a:lnTo>
                    <a:pt x="2185305" y="1481543"/>
                  </a:lnTo>
                  <a:lnTo>
                    <a:pt x="2184163" y="1479514"/>
                  </a:lnTo>
                  <a:lnTo>
                    <a:pt x="2184370" y="1478839"/>
                  </a:lnTo>
                  <a:lnTo>
                    <a:pt x="2185443" y="1478747"/>
                  </a:lnTo>
                  <a:lnTo>
                    <a:pt x="2186060" y="1479015"/>
                  </a:lnTo>
                  <a:lnTo>
                    <a:pt x="2186216" y="1479646"/>
                  </a:lnTo>
                  <a:lnTo>
                    <a:pt x="2186686" y="1479966"/>
                  </a:lnTo>
                  <a:lnTo>
                    <a:pt x="2187471" y="1479973"/>
                  </a:lnTo>
                  <a:lnTo>
                    <a:pt x="2190370" y="1477998"/>
                  </a:lnTo>
                  <a:close/>
                  <a:moveTo>
                    <a:pt x="2202568" y="1473740"/>
                  </a:moveTo>
                  <a:lnTo>
                    <a:pt x="2203684" y="1473963"/>
                  </a:lnTo>
                  <a:lnTo>
                    <a:pt x="2205556" y="1476106"/>
                  </a:lnTo>
                  <a:lnTo>
                    <a:pt x="2206551" y="1476684"/>
                  </a:lnTo>
                  <a:lnTo>
                    <a:pt x="2200016" y="1479000"/>
                  </a:lnTo>
                  <a:lnTo>
                    <a:pt x="2199234" y="1479154"/>
                  </a:lnTo>
                  <a:lnTo>
                    <a:pt x="2198805" y="1478879"/>
                  </a:lnTo>
                  <a:lnTo>
                    <a:pt x="2198738" y="1476721"/>
                  </a:lnTo>
                  <a:lnTo>
                    <a:pt x="2199020" y="1475051"/>
                  </a:lnTo>
                  <a:lnTo>
                    <a:pt x="2199493" y="1474802"/>
                  </a:lnTo>
                  <a:lnTo>
                    <a:pt x="2201005" y="1475808"/>
                  </a:lnTo>
                  <a:close/>
                  <a:moveTo>
                    <a:pt x="415309" y="1472951"/>
                  </a:moveTo>
                  <a:lnTo>
                    <a:pt x="417239" y="1473286"/>
                  </a:lnTo>
                  <a:lnTo>
                    <a:pt x="420426" y="1474513"/>
                  </a:lnTo>
                  <a:lnTo>
                    <a:pt x="423275" y="1476507"/>
                  </a:lnTo>
                  <a:lnTo>
                    <a:pt x="427218" y="1480993"/>
                  </a:lnTo>
                  <a:lnTo>
                    <a:pt x="427569" y="1481678"/>
                  </a:lnTo>
                  <a:lnTo>
                    <a:pt x="421927" y="1479115"/>
                  </a:lnTo>
                  <a:lnTo>
                    <a:pt x="419520" y="1477598"/>
                  </a:lnTo>
                  <a:lnTo>
                    <a:pt x="418589" y="1476501"/>
                  </a:lnTo>
                  <a:lnTo>
                    <a:pt x="417983" y="1475880"/>
                  </a:lnTo>
                  <a:lnTo>
                    <a:pt x="415114" y="1474252"/>
                  </a:lnTo>
                  <a:lnTo>
                    <a:pt x="414636" y="1473504"/>
                  </a:lnTo>
                  <a:close/>
                  <a:moveTo>
                    <a:pt x="359454" y="1469738"/>
                  </a:moveTo>
                  <a:lnTo>
                    <a:pt x="361683" y="1470686"/>
                  </a:lnTo>
                  <a:lnTo>
                    <a:pt x="362698" y="1471848"/>
                  </a:lnTo>
                  <a:lnTo>
                    <a:pt x="363920" y="1473918"/>
                  </a:lnTo>
                  <a:lnTo>
                    <a:pt x="364472" y="1476248"/>
                  </a:lnTo>
                  <a:lnTo>
                    <a:pt x="364533" y="1477842"/>
                  </a:lnTo>
                  <a:lnTo>
                    <a:pt x="364142" y="1478533"/>
                  </a:lnTo>
                  <a:lnTo>
                    <a:pt x="363148" y="1478680"/>
                  </a:lnTo>
                  <a:lnTo>
                    <a:pt x="361550" y="1478281"/>
                  </a:lnTo>
                  <a:lnTo>
                    <a:pt x="359754" y="1477338"/>
                  </a:lnTo>
                  <a:lnTo>
                    <a:pt x="356601" y="1474820"/>
                  </a:lnTo>
                  <a:lnTo>
                    <a:pt x="356280" y="1474251"/>
                  </a:lnTo>
                  <a:lnTo>
                    <a:pt x="356564" y="1473763"/>
                  </a:lnTo>
                  <a:lnTo>
                    <a:pt x="357455" y="1473357"/>
                  </a:lnTo>
                  <a:lnTo>
                    <a:pt x="357658" y="1472693"/>
                  </a:lnTo>
                  <a:lnTo>
                    <a:pt x="356924" y="1470881"/>
                  </a:lnTo>
                  <a:close/>
                  <a:moveTo>
                    <a:pt x="1946316" y="1467356"/>
                  </a:moveTo>
                  <a:lnTo>
                    <a:pt x="1949163" y="1467447"/>
                  </a:lnTo>
                  <a:lnTo>
                    <a:pt x="1958578" y="1469643"/>
                  </a:lnTo>
                  <a:lnTo>
                    <a:pt x="1970450" y="1471571"/>
                  </a:lnTo>
                  <a:lnTo>
                    <a:pt x="1975601" y="1473029"/>
                  </a:lnTo>
                  <a:lnTo>
                    <a:pt x="1981440" y="1475248"/>
                  </a:lnTo>
                  <a:lnTo>
                    <a:pt x="1987147" y="1477937"/>
                  </a:lnTo>
                  <a:lnTo>
                    <a:pt x="1999837" y="1485074"/>
                  </a:lnTo>
                  <a:lnTo>
                    <a:pt x="2002118" y="1485643"/>
                  </a:lnTo>
                  <a:lnTo>
                    <a:pt x="2007847" y="1489132"/>
                  </a:lnTo>
                  <a:lnTo>
                    <a:pt x="2009907" y="1491750"/>
                  </a:lnTo>
                  <a:lnTo>
                    <a:pt x="2010914" y="1493873"/>
                  </a:lnTo>
                  <a:lnTo>
                    <a:pt x="2009663" y="1494962"/>
                  </a:lnTo>
                  <a:lnTo>
                    <a:pt x="2008253" y="1495351"/>
                  </a:lnTo>
                  <a:lnTo>
                    <a:pt x="1997643" y="1495836"/>
                  </a:lnTo>
                  <a:lnTo>
                    <a:pt x="1989196" y="1493812"/>
                  </a:lnTo>
                  <a:lnTo>
                    <a:pt x="1982934" y="1492834"/>
                  </a:lnTo>
                  <a:lnTo>
                    <a:pt x="1976800" y="1491055"/>
                  </a:lnTo>
                  <a:lnTo>
                    <a:pt x="1963505" y="1485330"/>
                  </a:lnTo>
                  <a:lnTo>
                    <a:pt x="1961982" y="1483337"/>
                  </a:lnTo>
                  <a:lnTo>
                    <a:pt x="1960706" y="1480889"/>
                  </a:lnTo>
                  <a:lnTo>
                    <a:pt x="1958161" y="1478659"/>
                  </a:lnTo>
                  <a:lnTo>
                    <a:pt x="1955415" y="1476823"/>
                  </a:lnTo>
                  <a:lnTo>
                    <a:pt x="1941339" y="1471213"/>
                  </a:lnTo>
                  <a:lnTo>
                    <a:pt x="1940193" y="1469255"/>
                  </a:lnTo>
                  <a:lnTo>
                    <a:pt x="1943039" y="1467966"/>
                  </a:lnTo>
                  <a:close/>
                  <a:moveTo>
                    <a:pt x="405989" y="1458319"/>
                  </a:moveTo>
                  <a:lnTo>
                    <a:pt x="407332" y="1460019"/>
                  </a:lnTo>
                  <a:lnTo>
                    <a:pt x="407877" y="1461158"/>
                  </a:lnTo>
                  <a:lnTo>
                    <a:pt x="408103" y="1462735"/>
                  </a:lnTo>
                  <a:lnTo>
                    <a:pt x="408077" y="1463156"/>
                  </a:lnTo>
                  <a:lnTo>
                    <a:pt x="406321" y="1464537"/>
                  </a:lnTo>
                  <a:lnTo>
                    <a:pt x="405717" y="1464829"/>
                  </a:lnTo>
                  <a:lnTo>
                    <a:pt x="405098" y="1461075"/>
                  </a:lnTo>
                  <a:lnTo>
                    <a:pt x="405866" y="1459711"/>
                  </a:lnTo>
                  <a:lnTo>
                    <a:pt x="406085" y="1459025"/>
                  </a:lnTo>
                  <a:close/>
                  <a:moveTo>
                    <a:pt x="399140" y="1451652"/>
                  </a:moveTo>
                  <a:lnTo>
                    <a:pt x="400787" y="1452586"/>
                  </a:lnTo>
                  <a:lnTo>
                    <a:pt x="402219" y="1454249"/>
                  </a:lnTo>
                  <a:lnTo>
                    <a:pt x="402550" y="1454895"/>
                  </a:lnTo>
                  <a:lnTo>
                    <a:pt x="403439" y="1456639"/>
                  </a:lnTo>
                  <a:lnTo>
                    <a:pt x="403881" y="1458203"/>
                  </a:lnTo>
                  <a:lnTo>
                    <a:pt x="402892" y="1460100"/>
                  </a:lnTo>
                  <a:lnTo>
                    <a:pt x="401088" y="1462299"/>
                  </a:lnTo>
                  <a:lnTo>
                    <a:pt x="400810" y="1464048"/>
                  </a:lnTo>
                  <a:lnTo>
                    <a:pt x="399176" y="1461209"/>
                  </a:lnTo>
                  <a:lnTo>
                    <a:pt x="396668" y="1455186"/>
                  </a:lnTo>
                  <a:lnTo>
                    <a:pt x="397001" y="1453776"/>
                  </a:lnTo>
                  <a:lnTo>
                    <a:pt x="398121" y="1451777"/>
                  </a:lnTo>
                  <a:close/>
                  <a:moveTo>
                    <a:pt x="2167335" y="1438870"/>
                  </a:moveTo>
                  <a:lnTo>
                    <a:pt x="2168804" y="1439032"/>
                  </a:lnTo>
                  <a:lnTo>
                    <a:pt x="2168716" y="1439715"/>
                  </a:lnTo>
                  <a:lnTo>
                    <a:pt x="2167929" y="1440844"/>
                  </a:lnTo>
                  <a:lnTo>
                    <a:pt x="2167109" y="1441594"/>
                  </a:lnTo>
                  <a:lnTo>
                    <a:pt x="2166259" y="1441961"/>
                  </a:lnTo>
                  <a:lnTo>
                    <a:pt x="2165470" y="1441950"/>
                  </a:lnTo>
                  <a:lnTo>
                    <a:pt x="2164746" y="1441556"/>
                  </a:lnTo>
                  <a:lnTo>
                    <a:pt x="2164630" y="1440909"/>
                  </a:lnTo>
                  <a:lnTo>
                    <a:pt x="2165376" y="1439556"/>
                  </a:lnTo>
                  <a:close/>
                  <a:moveTo>
                    <a:pt x="331766" y="1436887"/>
                  </a:moveTo>
                  <a:lnTo>
                    <a:pt x="336964" y="1438217"/>
                  </a:lnTo>
                  <a:lnTo>
                    <a:pt x="350041" y="1444239"/>
                  </a:lnTo>
                  <a:lnTo>
                    <a:pt x="362628" y="1448400"/>
                  </a:lnTo>
                  <a:lnTo>
                    <a:pt x="375231" y="1450454"/>
                  </a:lnTo>
                  <a:lnTo>
                    <a:pt x="384478" y="1452883"/>
                  </a:lnTo>
                  <a:lnTo>
                    <a:pt x="390157" y="1453623"/>
                  </a:lnTo>
                  <a:lnTo>
                    <a:pt x="392208" y="1454158"/>
                  </a:lnTo>
                  <a:lnTo>
                    <a:pt x="393534" y="1455011"/>
                  </a:lnTo>
                  <a:lnTo>
                    <a:pt x="395096" y="1457075"/>
                  </a:lnTo>
                  <a:lnTo>
                    <a:pt x="397796" y="1461983"/>
                  </a:lnTo>
                  <a:lnTo>
                    <a:pt x="399844" y="1465112"/>
                  </a:lnTo>
                  <a:lnTo>
                    <a:pt x="404073" y="1470536"/>
                  </a:lnTo>
                  <a:lnTo>
                    <a:pt x="407414" y="1474385"/>
                  </a:lnTo>
                  <a:lnTo>
                    <a:pt x="408175" y="1475912"/>
                  </a:lnTo>
                  <a:lnTo>
                    <a:pt x="407470" y="1476403"/>
                  </a:lnTo>
                  <a:lnTo>
                    <a:pt x="407515" y="1477303"/>
                  </a:lnTo>
                  <a:lnTo>
                    <a:pt x="410052" y="1481028"/>
                  </a:lnTo>
                  <a:lnTo>
                    <a:pt x="414812" y="1484365"/>
                  </a:lnTo>
                  <a:lnTo>
                    <a:pt x="418538" y="1485955"/>
                  </a:lnTo>
                  <a:lnTo>
                    <a:pt x="426400" y="1488573"/>
                  </a:lnTo>
                  <a:lnTo>
                    <a:pt x="431220" y="1491086"/>
                  </a:lnTo>
                  <a:lnTo>
                    <a:pt x="432707" y="1492831"/>
                  </a:lnTo>
                  <a:lnTo>
                    <a:pt x="434803" y="1494522"/>
                  </a:lnTo>
                  <a:lnTo>
                    <a:pt x="435677" y="1495692"/>
                  </a:lnTo>
                  <a:lnTo>
                    <a:pt x="437395" y="1500021"/>
                  </a:lnTo>
                  <a:lnTo>
                    <a:pt x="440583" y="1504178"/>
                  </a:lnTo>
                  <a:lnTo>
                    <a:pt x="443867" y="1512067"/>
                  </a:lnTo>
                  <a:lnTo>
                    <a:pt x="444480" y="1511409"/>
                  </a:lnTo>
                  <a:lnTo>
                    <a:pt x="444858" y="1509059"/>
                  </a:lnTo>
                  <a:lnTo>
                    <a:pt x="445235" y="1508535"/>
                  </a:lnTo>
                  <a:lnTo>
                    <a:pt x="445934" y="1508284"/>
                  </a:lnTo>
                  <a:lnTo>
                    <a:pt x="446583" y="1509196"/>
                  </a:lnTo>
                  <a:lnTo>
                    <a:pt x="447181" y="1511274"/>
                  </a:lnTo>
                  <a:lnTo>
                    <a:pt x="449274" y="1516196"/>
                  </a:lnTo>
                  <a:lnTo>
                    <a:pt x="448592" y="1517632"/>
                  </a:lnTo>
                  <a:lnTo>
                    <a:pt x="447988" y="1517780"/>
                  </a:lnTo>
                  <a:lnTo>
                    <a:pt x="445164" y="1517106"/>
                  </a:lnTo>
                  <a:lnTo>
                    <a:pt x="444182" y="1517988"/>
                  </a:lnTo>
                  <a:lnTo>
                    <a:pt x="442867" y="1519779"/>
                  </a:lnTo>
                  <a:lnTo>
                    <a:pt x="441937" y="1520499"/>
                  </a:lnTo>
                  <a:lnTo>
                    <a:pt x="441392" y="1520150"/>
                  </a:lnTo>
                  <a:lnTo>
                    <a:pt x="433220" y="1518427"/>
                  </a:lnTo>
                  <a:lnTo>
                    <a:pt x="428191" y="1516808"/>
                  </a:lnTo>
                  <a:lnTo>
                    <a:pt x="421573" y="1514244"/>
                  </a:lnTo>
                  <a:lnTo>
                    <a:pt x="413632" y="1511572"/>
                  </a:lnTo>
                  <a:lnTo>
                    <a:pt x="409097" y="1509737"/>
                  </a:lnTo>
                  <a:lnTo>
                    <a:pt x="405320" y="1507851"/>
                  </a:lnTo>
                  <a:lnTo>
                    <a:pt x="402696" y="1506242"/>
                  </a:lnTo>
                  <a:lnTo>
                    <a:pt x="402200" y="1504876"/>
                  </a:lnTo>
                  <a:lnTo>
                    <a:pt x="402317" y="1504230"/>
                  </a:lnTo>
                  <a:lnTo>
                    <a:pt x="407410" y="1499853"/>
                  </a:lnTo>
                  <a:lnTo>
                    <a:pt x="409570" y="1497500"/>
                  </a:lnTo>
                  <a:lnTo>
                    <a:pt x="410396" y="1495699"/>
                  </a:lnTo>
                  <a:lnTo>
                    <a:pt x="410822" y="1493791"/>
                  </a:lnTo>
                  <a:lnTo>
                    <a:pt x="410508" y="1491459"/>
                  </a:lnTo>
                  <a:lnTo>
                    <a:pt x="410302" y="1491641"/>
                  </a:lnTo>
                  <a:lnTo>
                    <a:pt x="409846" y="1493872"/>
                  </a:lnTo>
                  <a:lnTo>
                    <a:pt x="409096" y="1495855"/>
                  </a:lnTo>
                  <a:lnTo>
                    <a:pt x="408180" y="1497411"/>
                  </a:lnTo>
                  <a:lnTo>
                    <a:pt x="407600" y="1497960"/>
                  </a:lnTo>
                  <a:lnTo>
                    <a:pt x="401492" y="1498719"/>
                  </a:lnTo>
                  <a:lnTo>
                    <a:pt x="396559" y="1498483"/>
                  </a:lnTo>
                  <a:lnTo>
                    <a:pt x="394085" y="1500353"/>
                  </a:lnTo>
                  <a:lnTo>
                    <a:pt x="393346" y="1500591"/>
                  </a:lnTo>
                  <a:lnTo>
                    <a:pt x="391986" y="1499968"/>
                  </a:lnTo>
                  <a:lnTo>
                    <a:pt x="389009" y="1497472"/>
                  </a:lnTo>
                  <a:lnTo>
                    <a:pt x="384749" y="1495419"/>
                  </a:lnTo>
                  <a:lnTo>
                    <a:pt x="385169" y="1494915"/>
                  </a:lnTo>
                  <a:lnTo>
                    <a:pt x="387949" y="1493866"/>
                  </a:lnTo>
                  <a:lnTo>
                    <a:pt x="389422" y="1492340"/>
                  </a:lnTo>
                  <a:lnTo>
                    <a:pt x="389158" y="1492097"/>
                  </a:lnTo>
                  <a:lnTo>
                    <a:pt x="388167" y="1492190"/>
                  </a:lnTo>
                  <a:lnTo>
                    <a:pt x="387297" y="1491879"/>
                  </a:lnTo>
                  <a:lnTo>
                    <a:pt x="385563" y="1489899"/>
                  </a:lnTo>
                  <a:lnTo>
                    <a:pt x="384573" y="1489359"/>
                  </a:lnTo>
                  <a:lnTo>
                    <a:pt x="382470" y="1490250"/>
                  </a:lnTo>
                  <a:lnTo>
                    <a:pt x="381626" y="1490298"/>
                  </a:lnTo>
                  <a:lnTo>
                    <a:pt x="380810" y="1488989"/>
                  </a:lnTo>
                  <a:lnTo>
                    <a:pt x="381981" y="1485971"/>
                  </a:lnTo>
                  <a:lnTo>
                    <a:pt x="382039" y="1485259"/>
                  </a:lnTo>
                  <a:lnTo>
                    <a:pt x="379886" y="1486359"/>
                  </a:lnTo>
                  <a:lnTo>
                    <a:pt x="379175" y="1485998"/>
                  </a:lnTo>
                  <a:lnTo>
                    <a:pt x="378502" y="1485018"/>
                  </a:lnTo>
                  <a:lnTo>
                    <a:pt x="377869" y="1484608"/>
                  </a:lnTo>
                  <a:lnTo>
                    <a:pt x="376119" y="1484809"/>
                  </a:lnTo>
                  <a:lnTo>
                    <a:pt x="374223" y="1483904"/>
                  </a:lnTo>
                  <a:lnTo>
                    <a:pt x="373562" y="1484259"/>
                  </a:lnTo>
                  <a:lnTo>
                    <a:pt x="373310" y="1485564"/>
                  </a:lnTo>
                  <a:lnTo>
                    <a:pt x="372680" y="1485898"/>
                  </a:lnTo>
                  <a:lnTo>
                    <a:pt x="369787" y="1483695"/>
                  </a:lnTo>
                  <a:lnTo>
                    <a:pt x="369128" y="1483626"/>
                  </a:lnTo>
                  <a:lnTo>
                    <a:pt x="367726" y="1485310"/>
                  </a:lnTo>
                  <a:lnTo>
                    <a:pt x="367237" y="1485413"/>
                  </a:lnTo>
                  <a:lnTo>
                    <a:pt x="366492" y="1484685"/>
                  </a:lnTo>
                  <a:lnTo>
                    <a:pt x="366107" y="1480594"/>
                  </a:lnTo>
                  <a:lnTo>
                    <a:pt x="366265" y="1479430"/>
                  </a:lnTo>
                  <a:lnTo>
                    <a:pt x="366661" y="1479039"/>
                  </a:lnTo>
                  <a:lnTo>
                    <a:pt x="369173" y="1478090"/>
                  </a:lnTo>
                  <a:lnTo>
                    <a:pt x="376399" y="1477073"/>
                  </a:lnTo>
                  <a:lnTo>
                    <a:pt x="377001" y="1476342"/>
                  </a:lnTo>
                  <a:lnTo>
                    <a:pt x="371588" y="1476721"/>
                  </a:lnTo>
                  <a:lnTo>
                    <a:pt x="370178" y="1476163"/>
                  </a:lnTo>
                  <a:lnTo>
                    <a:pt x="368666" y="1474762"/>
                  </a:lnTo>
                  <a:lnTo>
                    <a:pt x="367083" y="1474783"/>
                  </a:lnTo>
                  <a:lnTo>
                    <a:pt x="366245" y="1474327"/>
                  </a:lnTo>
                  <a:lnTo>
                    <a:pt x="365367" y="1473314"/>
                  </a:lnTo>
                  <a:lnTo>
                    <a:pt x="363079" y="1469603"/>
                  </a:lnTo>
                  <a:lnTo>
                    <a:pt x="361520" y="1468662"/>
                  </a:lnTo>
                  <a:lnTo>
                    <a:pt x="358864" y="1468071"/>
                  </a:lnTo>
                  <a:lnTo>
                    <a:pt x="357496" y="1467365"/>
                  </a:lnTo>
                  <a:lnTo>
                    <a:pt x="356919" y="1467677"/>
                  </a:lnTo>
                  <a:lnTo>
                    <a:pt x="356364" y="1468736"/>
                  </a:lnTo>
                  <a:lnTo>
                    <a:pt x="355625" y="1469393"/>
                  </a:lnTo>
                  <a:lnTo>
                    <a:pt x="353808" y="1469766"/>
                  </a:lnTo>
                  <a:lnTo>
                    <a:pt x="352147" y="1469494"/>
                  </a:lnTo>
                  <a:lnTo>
                    <a:pt x="350847" y="1468479"/>
                  </a:lnTo>
                  <a:lnTo>
                    <a:pt x="350077" y="1467198"/>
                  </a:lnTo>
                  <a:lnTo>
                    <a:pt x="349782" y="1465767"/>
                  </a:lnTo>
                  <a:lnTo>
                    <a:pt x="350502" y="1463851"/>
                  </a:lnTo>
                  <a:lnTo>
                    <a:pt x="350490" y="1463094"/>
                  </a:lnTo>
                  <a:lnTo>
                    <a:pt x="350167" y="1462208"/>
                  </a:lnTo>
                  <a:lnTo>
                    <a:pt x="349576" y="1461492"/>
                  </a:lnTo>
                  <a:lnTo>
                    <a:pt x="348710" y="1460945"/>
                  </a:lnTo>
                  <a:lnTo>
                    <a:pt x="348239" y="1461232"/>
                  </a:lnTo>
                  <a:lnTo>
                    <a:pt x="348159" y="1462351"/>
                  </a:lnTo>
                  <a:lnTo>
                    <a:pt x="347690" y="1463170"/>
                  </a:lnTo>
                  <a:lnTo>
                    <a:pt x="346185" y="1463796"/>
                  </a:lnTo>
                  <a:lnTo>
                    <a:pt x="344954" y="1462701"/>
                  </a:lnTo>
                  <a:lnTo>
                    <a:pt x="344146" y="1461182"/>
                  </a:lnTo>
                  <a:lnTo>
                    <a:pt x="343200" y="1460101"/>
                  </a:lnTo>
                  <a:lnTo>
                    <a:pt x="337933" y="1460105"/>
                  </a:lnTo>
                  <a:lnTo>
                    <a:pt x="335508" y="1461504"/>
                  </a:lnTo>
                  <a:lnTo>
                    <a:pt x="334346" y="1461617"/>
                  </a:lnTo>
                  <a:lnTo>
                    <a:pt x="333139" y="1461285"/>
                  </a:lnTo>
                  <a:lnTo>
                    <a:pt x="332908" y="1460544"/>
                  </a:lnTo>
                  <a:lnTo>
                    <a:pt x="334044" y="1458510"/>
                  </a:lnTo>
                  <a:lnTo>
                    <a:pt x="333766" y="1455794"/>
                  </a:lnTo>
                  <a:lnTo>
                    <a:pt x="333470" y="1455113"/>
                  </a:lnTo>
                  <a:lnTo>
                    <a:pt x="331040" y="1454698"/>
                  </a:lnTo>
                  <a:lnTo>
                    <a:pt x="330627" y="1454041"/>
                  </a:lnTo>
                  <a:lnTo>
                    <a:pt x="332074" y="1450741"/>
                  </a:lnTo>
                  <a:lnTo>
                    <a:pt x="332882" y="1450117"/>
                  </a:lnTo>
                  <a:lnTo>
                    <a:pt x="333960" y="1449882"/>
                  </a:lnTo>
                  <a:lnTo>
                    <a:pt x="338780" y="1449613"/>
                  </a:lnTo>
                  <a:lnTo>
                    <a:pt x="340385" y="1450085"/>
                  </a:lnTo>
                  <a:lnTo>
                    <a:pt x="342708" y="1452090"/>
                  </a:lnTo>
                  <a:lnTo>
                    <a:pt x="342636" y="1451336"/>
                  </a:lnTo>
                  <a:lnTo>
                    <a:pt x="341756" y="1449060"/>
                  </a:lnTo>
                  <a:lnTo>
                    <a:pt x="341631" y="1447693"/>
                  </a:lnTo>
                  <a:lnTo>
                    <a:pt x="343230" y="1446149"/>
                  </a:lnTo>
                  <a:lnTo>
                    <a:pt x="341701" y="1445696"/>
                  </a:lnTo>
                  <a:lnTo>
                    <a:pt x="335989" y="1445340"/>
                  </a:lnTo>
                  <a:lnTo>
                    <a:pt x="336034" y="1446328"/>
                  </a:lnTo>
                  <a:lnTo>
                    <a:pt x="336505" y="1447727"/>
                  </a:lnTo>
                  <a:lnTo>
                    <a:pt x="333118" y="1448955"/>
                  </a:lnTo>
                  <a:lnTo>
                    <a:pt x="330609" y="1449163"/>
                  </a:lnTo>
                  <a:lnTo>
                    <a:pt x="328208" y="1448968"/>
                  </a:lnTo>
                  <a:lnTo>
                    <a:pt x="326248" y="1448233"/>
                  </a:lnTo>
                  <a:lnTo>
                    <a:pt x="322906" y="1445277"/>
                  </a:lnTo>
                  <a:lnTo>
                    <a:pt x="320816" y="1442364"/>
                  </a:lnTo>
                  <a:lnTo>
                    <a:pt x="320913" y="1440773"/>
                  </a:lnTo>
                  <a:lnTo>
                    <a:pt x="322060" y="1439106"/>
                  </a:lnTo>
                  <a:lnTo>
                    <a:pt x="323563" y="1437968"/>
                  </a:lnTo>
                  <a:lnTo>
                    <a:pt x="327119" y="1436980"/>
                  </a:lnTo>
                  <a:close/>
                  <a:moveTo>
                    <a:pt x="2167478" y="1412171"/>
                  </a:moveTo>
                  <a:lnTo>
                    <a:pt x="2168115" y="1412391"/>
                  </a:lnTo>
                  <a:lnTo>
                    <a:pt x="2169212" y="1413320"/>
                  </a:lnTo>
                  <a:lnTo>
                    <a:pt x="2169072" y="1414189"/>
                  </a:lnTo>
                  <a:lnTo>
                    <a:pt x="2167204" y="1417545"/>
                  </a:lnTo>
                  <a:lnTo>
                    <a:pt x="2165911" y="1419174"/>
                  </a:lnTo>
                  <a:lnTo>
                    <a:pt x="2164711" y="1419700"/>
                  </a:lnTo>
                  <a:lnTo>
                    <a:pt x="2162175" y="1420179"/>
                  </a:lnTo>
                  <a:lnTo>
                    <a:pt x="2156840" y="1420706"/>
                  </a:lnTo>
                  <a:lnTo>
                    <a:pt x="2154559" y="1421199"/>
                  </a:lnTo>
                  <a:lnTo>
                    <a:pt x="2154233" y="1423434"/>
                  </a:lnTo>
                  <a:lnTo>
                    <a:pt x="2154570" y="1424610"/>
                  </a:lnTo>
                  <a:lnTo>
                    <a:pt x="2155350" y="1425537"/>
                  </a:lnTo>
                  <a:lnTo>
                    <a:pt x="2156341" y="1425801"/>
                  </a:lnTo>
                  <a:lnTo>
                    <a:pt x="2158554" y="1425247"/>
                  </a:lnTo>
                  <a:lnTo>
                    <a:pt x="2159376" y="1425342"/>
                  </a:lnTo>
                  <a:lnTo>
                    <a:pt x="2160037" y="1425809"/>
                  </a:lnTo>
                  <a:lnTo>
                    <a:pt x="2160533" y="1426648"/>
                  </a:lnTo>
                  <a:lnTo>
                    <a:pt x="2160790" y="1427813"/>
                  </a:lnTo>
                  <a:lnTo>
                    <a:pt x="2160806" y="1429302"/>
                  </a:lnTo>
                  <a:lnTo>
                    <a:pt x="2160419" y="1431105"/>
                  </a:lnTo>
                  <a:lnTo>
                    <a:pt x="2158609" y="1435321"/>
                  </a:lnTo>
                  <a:lnTo>
                    <a:pt x="2156311" y="1437651"/>
                  </a:lnTo>
                  <a:lnTo>
                    <a:pt x="2153366" y="1439547"/>
                  </a:lnTo>
                  <a:lnTo>
                    <a:pt x="2152646" y="1440271"/>
                  </a:lnTo>
                  <a:lnTo>
                    <a:pt x="2152275" y="1441122"/>
                  </a:lnTo>
                  <a:lnTo>
                    <a:pt x="2151908" y="1443886"/>
                  </a:lnTo>
                  <a:lnTo>
                    <a:pt x="2150384" y="1446093"/>
                  </a:lnTo>
                  <a:lnTo>
                    <a:pt x="2145651" y="1451680"/>
                  </a:lnTo>
                  <a:lnTo>
                    <a:pt x="2143827" y="1452909"/>
                  </a:lnTo>
                  <a:lnTo>
                    <a:pt x="2143816" y="1453891"/>
                  </a:lnTo>
                  <a:lnTo>
                    <a:pt x="2143077" y="1456538"/>
                  </a:lnTo>
                  <a:lnTo>
                    <a:pt x="2141671" y="1458666"/>
                  </a:lnTo>
                  <a:lnTo>
                    <a:pt x="2137750" y="1463541"/>
                  </a:lnTo>
                  <a:lnTo>
                    <a:pt x="2136779" y="1465262"/>
                  </a:lnTo>
                  <a:lnTo>
                    <a:pt x="2136341" y="1466624"/>
                  </a:lnTo>
                  <a:lnTo>
                    <a:pt x="2136402" y="1468544"/>
                  </a:lnTo>
                  <a:lnTo>
                    <a:pt x="2136226" y="1469390"/>
                  </a:lnTo>
                  <a:lnTo>
                    <a:pt x="2135328" y="1471015"/>
                  </a:lnTo>
                  <a:lnTo>
                    <a:pt x="2134077" y="1472533"/>
                  </a:lnTo>
                  <a:lnTo>
                    <a:pt x="2133830" y="1473274"/>
                  </a:lnTo>
                  <a:lnTo>
                    <a:pt x="2134323" y="1474618"/>
                  </a:lnTo>
                  <a:lnTo>
                    <a:pt x="2134828" y="1475087"/>
                  </a:lnTo>
                  <a:lnTo>
                    <a:pt x="2134888" y="1476308"/>
                  </a:lnTo>
                  <a:lnTo>
                    <a:pt x="2134500" y="1478282"/>
                  </a:lnTo>
                  <a:lnTo>
                    <a:pt x="2136159" y="1477025"/>
                  </a:lnTo>
                  <a:lnTo>
                    <a:pt x="2139864" y="1472535"/>
                  </a:lnTo>
                  <a:lnTo>
                    <a:pt x="2142646" y="1469829"/>
                  </a:lnTo>
                  <a:lnTo>
                    <a:pt x="2144506" y="1468911"/>
                  </a:lnTo>
                  <a:lnTo>
                    <a:pt x="2145803" y="1467711"/>
                  </a:lnTo>
                  <a:lnTo>
                    <a:pt x="2147188" y="1465061"/>
                  </a:lnTo>
                  <a:lnTo>
                    <a:pt x="2149083" y="1462533"/>
                  </a:lnTo>
                  <a:lnTo>
                    <a:pt x="2150799" y="1461708"/>
                  </a:lnTo>
                  <a:lnTo>
                    <a:pt x="2151585" y="1462193"/>
                  </a:lnTo>
                  <a:lnTo>
                    <a:pt x="2152251" y="1463436"/>
                  </a:lnTo>
                  <a:lnTo>
                    <a:pt x="2152116" y="1465015"/>
                  </a:lnTo>
                  <a:lnTo>
                    <a:pt x="2151185" y="1466930"/>
                  </a:lnTo>
                  <a:lnTo>
                    <a:pt x="2151257" y="1467498"/>
                  </a:lnTo>
                  <a:lnTo>
                    <a:pt x="2153445" y="1466092"/>
                  </a:lnTo>
                  <a:lnTo>
                    <a:pt x="2157199" y="1464928"/>
                  </a:lnTo>
                  <a:lnTo>
                    <a:pt x="2158559" y="1465082"/>
                  </a:lnTo>
                  <a:lnTo>
                    <a:pt x="2161313" y="1466826"/>
                  </a:lnTo>
                  <a:lnTo>
                    <a:pt x="2163602" y="1466624"/>
                  </a:lnTo>
                  <a:lnTo>
                    <a:pt x="2167264" y="1465610"/>
                  </a:lnTo>
                  <a:lnTo>
                    <a:pt x="2167951" y="1466075"/>
                  </a:lnTo>
                  <a:lnTo>
                    <a:pt x="2167341" y="1467609"/>
                  </a:lnTo>
                  <a:lnTo>
                    <a:pt x="2165903" y="1469077"/>
                  </a:lnTo>
                  <a:lnTo>
                    <a:pt x="2162508" y="1471171"/>
                  </a:lnTo>
                  <a:lnTo>
                    <a:pt x="2154333" y="1475275"/>
                  </a:lnTo>
                  <a:lnTo>
                    <a:pt x="2151793" y="1478095"/>
                  </a:lnTo>
                  <a:lnTo>
                    <a:pt x="2152275" y="1478010"/>
                  </a:lnTo>
                  <a:lnTo>
                    <a:pt x="2154038" y="1476801"/>
                  </a:lnTo>
                  <a:lnTo>
                    <a:pt x="2155892" y="1476151"/>
                  </a:lnTo>
                  <a:lnTo>
                    <a:pt x="2157836" y="1476060"/>
                  </a:lnTo>
                  <a:lnTo>
                    <a:pt x="2158648" y="1476414"/>
                  </a:lnTo>
                  <a:lnTo>
                    <a:pt x="2158332" y="1477212"/>
                  </a:lnTo>
                  <a:lnTo>
                    <a:pt x="2158085" y="1479376"/>
                  </a:lnTo>
                  <a:lnTo>
                    <a:pt x="2153133" y="1483600"/>
                  </a:lnTo>
                  <a:lnTo>
                    <a:pt x="2154303" y="1483438"/>
                  </a:lnTo>
                  <a:lnTo>
                    <a:pt x="2160032" y="1481515"/>
                  </a:lnTo>
                  <a:lnTo>
                    <a:pt x="2163509" y="1484169"/>
                  </a:lnTo>
                  <a:lnTo>
                    <a:pt x="2168286" y="1483253"/>
                  </a:lnTo>
                  <a:lnTo>
                    <a:pt x="2171171" y="1482356"/>
                  </a:lnTo>
                  <a:lnTo>
                    <a:pt x="2171090" y="1482910"/>
                  </a:lnTo>
                  <a:lnTo>
                    <a:pt x="2171715" y="1484068"/>
                  </a:lnTo>
                  <a:lnTo>
                    <a:pt x="2171693" y="1485937"/>
                  </a:lnTo>
                  <a:lnTo>
                    <a:pt x="2171986" y="1486199"/>
                  </a:lnTo>
                  <a:lnTo>
                    <a:pt x="2173352" y="1485572"/>
                  </a:lnTo>
                  <a:lnTo>
                    <a:pt x="2173600" y="1484889"/>
                  </a:lnTo>
                  <a:lnTo>
                    <a:pt x="2173528" y="1481564"/>
                  </a:lnTo>
                  <a:lnTo>
                    <a:pt x="2173950" y="1481231"/>
                  </a:lnTo>
                  <a:lnTo>
                    <a:pt x="2174883" y="1481750"/>
                  </a:lnTo>
                  <a:lnTo>
                    <a:pt x="2175454" y="1482609"/>
                  </a:lnTo>
                  <a:lnTo>
                    <a:pt x="2175625" y="1485029"/>
                  </a:lnTo>
                  <a:lnTo>
                    <a:pt x="2174999" y="1487454"/>
                  </a:lnTo>
                  <a:lnTo>
                    <a:pt x="2174129" y="1489677"/>
                  </a:lnTo>
                  <a:lnTo>
                    <a:pt x="2172020" y="1492920"/>
                  </a:lnTo>
                  <a:lnTo>
                    <a:pt x="2172287" y="1494314"/>
                  </a:lnTo>
                  <a:lnTo>
                    <a:pt x="2171749" y="1495825"/>
                  </a:lnTo>
                  <a:lnTo>
                    <a:pt x="2172215" y="1495876"/>
                  </a:lnTo>
                  <a:lnTo>
                    <a:pt x="2174305" y="1494466"/>
                  </a:lnTo>
                  <a:lnTo>
                    <a:pt x="2174431" y="1493887"/>
                  </a:lnTo>
                  <a:lnTo>
                    <a:pt x="2174269" y="1492542"/>
                  </a:lnTo>
                  <a:lnTo>
                    <a:pt x="2174504" y="1491881"/>
                  </a:lnTo>
                  <a:lnTo>
                    <a:pt x="2176238" y="1490417"/>
                  </a:lnTo>
                  <a:lnTo>
                    <a:pt x="2179102" y="1488680"/>
                  </a:lnTo>
                  <a:lnTo>
                    <a:pt x="2180040" y="1488416"/>
                  </a:lnTo>
                  <a:lnTo>
                    <a:pt x="2180440" y="1488822"/>
                  </a:lnTo>
                  <a:lnTo>
                    <a:pt x="2180300" y="1489894"/>
                  </a:lnTo>
                  <a:lnTo>
                    <a:pt x="2181144" y="1489640"/>
                  </a:lnTo>
                  <a:lnTo>
                    <a:pt x="2182972" y="1488059"/>
                  </a:lnTo>
                  <a:lnTo>
                    <a:pt x="2184668" y="1487101"/>
                  </a:lnTo>
                  <a:lnTo>
                    <a:pt x="2186235" y="1486771"/>
                  </a:lnTo>
                  <a:lnTo>
                    <a:pt x="2187864" y="1485683"/>
                  </a:lnTo>
                  <a:lnTo>
                    <a:pt x="2189557" y="1483843"/>
                  </a:lnTo>
                  <a:lnTo>
                    <a:pt x="2191378" y="1482320"/>
                  </a:lnTo>
                  <a:lnTo>
                    <a:pt x="2193326" y="1481119"/>
                  </a:lnTo>
                  <a:lnTo>
                    <a:pt x="2194163" y="1481038"/>
                  </a:lnTo>
                  <a:lnTo>
                    <a:pt x="2193874" y="1483028"/>
                  </a:lnTo>
                  <a:lnTo>
                    <a:pt x="2194258" y="1485290"/>
                  </a:lnTo>
                  <a:lnTo>
                    <a:pt x="2194309" y="1487221"/>
                  </a:lnTo>
                  <a:lnTo>
                    <a:pt x="2194695" y="1487626"/>
                  </a:lnTo>
                  <a:lnTo>
                    <a:pt x="2196195" y="1485567"/>
                  </a:lnTo>
                  <a:lnTo>
                    <a:pt x="2197030" y="1484813"/>
                  </a:lnTo>
                  <a:lnTo>
                    <a:pt x="2198029" y="1484515"/>
                  </a:lnTo>
                  <a:lnTo>
                    <a:pt x="2199194" y="1484673"/>
                  </a:lnTo>
                  <a:lnTo>
                    <a:pt x="2207132" y="1483932"/>
                  </a:lnTo>
                  <a:lnTo>
                    <a:pt x="2209549" y="1484442"/>
                  </a:lnTo>
                  <a:lnTo>
                    <a:pt x="2212273" y="1485790"/>
                  </a:lnTo>
                  <a:lnTo>
                    <a:pt x="2215710" y="1487883"/>
                  </a:lnTo>
                  <a:lnTo>
                    <a:pt x="2216975" y="1489769"/>
                  </a:lnTo>
                  <a:lnTo>
                    <a:pt x="2217216" y="1492147"/>
                  </a:lnTo>
                  <a:lnTo>
                    <a:pt x="2216876" y="1493801"/>
                  </a:lnTo>
                  <a:lnTo>
                    <a:pt x="2214399" y="1495887"/>
                  </a:lnTo>
                  <a:lnTo>
                    <a:pt x="2212195" y="1497268"/>
                  </a:lnTo>
                  <a:lnTo>
                    <a:pt x="2210895" y="1498642"/>
                  </a:lnTo>
                  <a:lnTo>
                    <a:pt x="2210500" y="1500017"/>
                  </a:lnTo>
                  <a:lnTo>
                    <a:pt x="2209985" y="1500864"/>
                  </a:lnTo>
                  <a:lnTo>
                    <a:pt x="2208514" y="1502050"/>
                  </a:lnTo>
                  <a:lnTo>
                    <a:pt x="2201971" y="1505364"/>
                  </a:lnTo>
                  <a:lnTo>
                    <a:pt x="2203537" y="1505460"/>
                  </a:lnTo>
                  <a:lnTo>
                    <a:pt x="2207311" y="1504741"/>
                  </a:lnTo>
                  <a:lnTo>
                    <a:pt x="2209791" y="1504593"/>
                  </a:lnTo>
                  <a:lnTo>
                    <a:pt x="2209920" y="1505071"/>
                  </a:lnTo>
                  <a:lnTo>
                    <a:pt x="2208931" y="1506013"/>
                  </a:lnTo>
                  <a:lnTo>
                    <a:pt x="2207036" y="1506958"/>
                  </a:lnTo>
                  <a:lnTo>
                    <a:pt x="2206832" y="1507413"/>
                  </a:lnTo>
                  <a:lnTo>
                    <a:pt x="2206921" y="1508007"/>
                  </a:lnTo>
                  <a:lnTo>
                    <a:pt x="2208948" y="1508725"/>
                  </a:lnTo>
                  <a:lnTo>
                    <a:pt x="2211535" y="1508375"/>
                  </a:lnTo>
                  <a:lnTo>
                    <a:pt x="2213717" y="1508883"/>
                  </a:lnTo>
                  <a:lnTo>
                    <a:pt x="2213506" y="1509675"/>
                  </a:lnTo>
                  <a:lnTo>
                    <a:pt x="2211776" y="1512255"/>
                  </a:lnTo>
                  <a:lnTo>
                    <a:pt x="2211268" y="1513881"/>
                  </a:lnTo>
                  <a:lnTo>
                    <a:pt x="2208963" y="1515242"/>
                  </a:lnTo>
                  <a:lnTo>
                    <a:pt x="2204342" y="1517379"/>
                  </a:lnTo>
                  <a:lnTo>
                    <a:pt x="2203158" y="1518199"/>
                  </a:lnTo>
                  <a:lnTo>
                    <a:pt x="2203417" y="1518369"/>
                  </a:lnTo>
                  <a:lnTo>
                    <a:pt x="2207658" y="1516801"/>
                  </a:lnTo>
                  <a:lnTo>
                    <a:pt x="2209794" y="1516404"/>
                  </a:lnTo>
                  <a:lnTo>
                    <a:pt x="2211149" y="1516392"/>
                  </a:lnTo>
                  <a:lnTo>
                    <a:pt x="2212681" y="1514877"/>
                  </a:lnTo>
                  <a:lnTo>
                    <a:pt x="2215076" y="1514375"/>
                  </a:lnTo>
                  <a:lnTo>
                    <a:pt x="2217419" y="1515332"/>
                  </a:lnTo>
                  <a:lnTo>
                    <a:pt x="2220987" y="1512716"/>
                  </a:lnTo>
                  <a:lnTo>
                    <a:pt x="2222261" y="1512376"/>
                  </a:lnTo>
                  <a:lnTo>
                    <a:pt x="2224432" y="1512679"/>
                  </a:lnTo>
                  <a:lnTo>
                    <a:pt x="2225832" y="1512205"/>
                  </a:lnTo>
                  <a:lnTo>
                    <a:pt x="2228187" y="1510423"/>
                  </a:lnTo>
                  <a:lnTo>
                    <a:pt x="2229965" y="1509561"/>
                  </a:lnTo>
                  <a:lnTo>
                    <a:pt x="2230334" y="1509639"/>
                  </a:lnTo>
                  <a:lnTo>
                    <a:pt x="2230717" y="1510353"/>
                  </a:lnTo>
                  <a:lnTo>
                    <a:pt x="2230890" y="1512408"/>
                  </a:lnTo>
                  <a:lnTo>
                    <a:pt x="2230470" y="1514223"/>
                  </a:lnTo>
                  <a:lnTo>
                    <a:pt x="2229890" y="1515379"/>
                  </a:lnTo>
                  <a:lnTo>
                    <a:pt x="2227974" y="1517931"/>
                  </a:lnTo>
                  <a:lnTo>
                    <a:pt x="2226799" y="1518824"/>
                  </a:lnTo>
                  <a:lnTo>
                    <a:pt x="2225709" y="1519161"/>
                  </a:lnTo>
                  <a:lnTo>
                    <a:pt x="2223779" y="1519026"/>
                  </a:lnTo>
                  <a:lnTo>
                    <a:pt x="2222940" y="1519422"/>
                  </a:lnTo>
                  <a:lnTo>
                    <a:pt x="2221134" y="1521423"/>
                  </a:lnTo>
                  <a:lnTo>
                    <a:pt x="2217947" y="1523450"/>
                  </a:lnTo>
                  <a:lnTo>
                    <a:pt x="2215955" y="1524234"/>
                  </a:lnTo>
                  <a:lnTo>
                    <a:pt x="2217212" y="1525333"/>
                  </a:lnTo>
                  <a:lnTo>
                    <a:pt x="2217678" y="1527452"/>
                  </a:lnTo>
                  <a:lnTo>
                    <a:pt x="2216978" y="1528111"/>
                  </a:lnTo>
                  <a:lnTo>
                    <a:pt x="2213559" y="1528764"/>
                  </a:lnTo>
                  <a:lnTo>
                    <a:pt x="2213410" y="1529123"/>
                  </a:lnTo>
                  <a:lnTo>
                    <a:pt x="2212192" y="1529590"/>
                  </a:lnTo>
                  <a:lnTo>
                    <a:pt x="2209367" y="1530325"/>
                  </a:lnTo>
                  <a:lnTo>
                    <a:pt x="2211295" y="1530648"/>
                  </a:lnTo>
                  <a:lnTo>
                    <a:pt x="2214858" y="1530129"/>
                  </a:lnTo>
                  <a:lnTo>
                    <a:pt x="2215233" y="1530488"/>
                  </a:lnTo>
                  <a:lnTo>
                    <a:pt x="2214742" y="1531977"/>
                  </a:lnTo>
                  <a:lnTo>
                    <a:pt x="2213794" y="1533511"/>
                  </a:lnTo>
                  <a:lnTo>
                    <a:pt x="2209568" y="1537449"/>
                  </a:lnTo>
                  <a:lnTo>
                    <a:pt x="2209516" y="1537846"/>
                  </a:lnTo>
                  <a:lnTo>
                    <a:pt x="2210175" y="1539773"/>
                  </a:lnTo>
                  <a:lnTo>
                    <a:pt x="2210996" y="1541232"/>
                  </a:lnTo>
                  <a:lnTo>
                    <a:pt x="2212015" y="1542262"/>
                  </a:lnTo>
                  <a:lnTo>
                    <a:pt x="2214368" y="1542321"/>
                  </a:lnTo>
                  <a:lnTo>
                    <a:pt x="2216108" y="1541868"/>
                  </a:lnTo>
                  <a:lnTo>
                    <a:pt x="2218643" y="1539238"/>
                  </a:lnTo>
                  <a:lnTo>
                    <a:pt x="2224248" y="1531032"/>
                  </a:lnTo>
                  <a:lnTo>
                    <a:pt x="2229250" y="1528744"/>
                  </a:lnTo>
                  <a:lnTo>
                    <a:pt x="2233420" y="1526200"/>
                  </a:lnTo>
                  <a:lnTo>
                    <a:pt x="2234376" y="1526716"/>
                  </a:lnTo>
                  <a:lnTo>
                    <a:pt x="2234814" y="1527304"/>
                  </a:lnTo>
                  <a:lnTo>
                    <a:pt x="2234662" y="1527921"/>
                  </a:lnTo>
                  <a:lnTo>
                    <a:pt x="2232559" y="1530014"/>
                  </a:lnTo>
                  <a:lnTo>
                    <a:pt x="2231461" y="1531740"/>
                  </a:lnTo>
                  <a:lnTo>
                    <a:pt x="2228606" y="1537042"/>
                  </a:lnTo>
                  <a:lnTo>
                    <a:pt x="2227515" y="1539537"/>
                  </a:lnTo>
                  <a:lnTo>
                    <a:pt x="2226966" y="1542169"/>
                  </a:lnTo>
                  <a:lnTo>
                    <a:pt x="2227111" y="1546705"/>
                  </a:lnTo>
                  <a:lnTo>
                    <a:pt x="2227419" y="1547488"/>
                  </a:lnTo>
                  <a:lnTo>
                    <a:pt x="2228311" y="1548539"/>
                  </a:lnTo>
                  <a:lnTo>
                    <a:pt x="2229975" y="1547639"/>
                  </a:lnTo>
                  <a:lnTo>
                    <a:pt x="2232811" y="1545394"/>
                  </a:lnTo>
                  <a:lnTo>
                    <a:pt x="2234632" y="1543249"/>
                  </a:lnTo>
                  <a:lnTo>
                    <a:pt x="2236058" y="1539754"/>
                  </a:lnTo>
                  <a:lnTo>
                    <a:pt x="2236933" y="1538412"/>
                  </a:lnTo>
                  <a:lnTo>
                    <a:pt x="2237885" y="1538428"/>
                  </a:lnTo>
                  <a:lnTo>
                    <a:pt x="2238734" y="1539191"/>
                  </a:lnTo>
                  <a:lnTo>
                    <a:pt x="2238940" y="1540878"/>
                  </a:lnTo>
                  <a:lnTo>
                    <a:pt x="2239729" y="1543174"/>
                  </a:lnTo>
                  <a:lnTo>
                    <a:pt x="2240198" y="1545505"/>
                  </a:lnTo>
                  <a:lnTo>
                    <a:pt x="2239822" y="1548065"/>
                  </a:lnTo>
                  <a:lnTo>
                    <a:pt x="2239438" y="1549465"/>
                  </a:lnTo>
                  <a:lnTo>
                    <a:pt x="2233638" y="1559835"/>
                  </a:lnTo>
                  <a:lnTo>
                    <a:pt x="2234254" y="1561672"/>
                  </a:lnTo>
                  <a:lnTo>
                    <a:pt x="2234407" y="1562786"/>
                  </a:lnTo>
                  <a:lnTo>
                    <a:pt x="2234226" y="1563969"/>
                  </a:lnTo>
                  <a:lnTo>
                    <a:pt x="2232388" y="1568914"/>
                  </a:lnTo>
                  <a:lnTo>
                    <a:pt x="2230607" y="1571999"/>
                  </a:lnTo>
                  <a:lnTo>
                    <a:pt x="2229647" y="1573324"/>
                  </a:lnTo>
                  <a:lnTo>
                    <a:pt x="2228505" y="1574136"/>
                  </a:lnTo>
                  <a:lnTo>
                    <a:pt x="2227183" y="1574433"/>
                  </a:lnTo>
                  <a:lnTo>
                    <a:pt x="2225998" y="1573986"/>
                  </a:lnTo>
                  <a:lnTo>
                    <a:pt x="2224954" y="1572800"/>
                  </a:lnTo>
                  <a:lnTo>
                    <a:pt x="2224031" y="1572183"/>
                  </a:lnTo>
                  <a:lnTo>
                    <a:pt x="2223226" y="1572140"/>
                  </a:lnTo>
                  <a:lnTo>
                    <a:pt x="2221737" y="1572362"/>
                  </a:lnTo>
                  <a:lnTo>
                    <a:pt x="2217822" y="1574878"/>
                  </a:lnTo>
                  <a:lnTo>
                    <a:pt x="2217019" y="1575013"/>
                  </a:lnTo>
                  <a:lnTo>
                    <a:pt x="2216462" y="1574676"/>
                  </a:lnTo>
                  <a:lnTo>
                    <a:pt x="2215788" y="1573355"/>
                  </a:lnTo>
                  <a:lnTo>
                    <a:pt x="2216326" y="1566707"/>
                  </a:lnTo>
                  <a:lnTo>
                    <a:pt x="2216675" y="1564507"/>
                  </a:lnTo>
                  <a:lnTo>
                    <a:pt x="2215895" y="1562808"/>
                  </a:lnTo>
                  <a:lnTo>
                    <a:pt x="2216719" y="1559957"/>
                  </a:lnTo>
                  <a:lnTo>
                    <a:pt x="2216749" y="1558873"/>
                  </a:lnTo>
                  <a:lnTo>
                    <a:pt x="2216270" y="1558464"/>
                  </a:lnTo>
                  <a:lnTo>
                    <a:pt x="2215281" y="1558731"/>
                  </a:lnTo>
                  <a:lnTo>
                    <a:pt x="2213785" y="1560165"/>
                  </a:lnTo>
                  <a:lnTo>
                    <a:pt x="2211782" y="1562761"/>
                  </a:lnTo>
                  <a:lnTo>
                    <a:pt x="2209609" y="1565078"/>
                  </a:lnTo>
                  <a:lnTo>
                    <a:pt x="2205817" y="1568269"/>
                  </a:lnTo>
                  <a:lnTo>
                    <a:pt x="2204133" y="1568896"/>
                  </a:lnTo>
                  <a:lnTo>
                    <a:pt x="2203464" y="1568739"/>
                  </a:lnTo>
                  <a:lnTo>
                    <a:pt x="2202692" y="1568302"/>
                  </a:lnTo>
                  <a:lnTo>
                    <a:pt x="2201656" y="1566966"/>
                  </a:lnTo>
                  <a:lnTo>
                    <a:pt x="2201666" y="1565789"/>
                  </a:lnTo>
                  <a:lnTo>
                    <a:pt x="2202125" y="1564181"/>
                  </a:lnTo>
                  <a:lnTo>
                    <a:pt x="2203711" y="1560380"/>
                  </a:lnTo>
                  <a:lnTo>
                    <a:pt x="2206808" y="1554745"/>
                  </a:lnTo>
                  <a:lnTo>
                    <a:pt x="2209380" y="1550729"/>
                  </a:lnTo>
                  <a:lnTo>
                    <a:pt x="2209877" y="1549015"/>
                  </a:lnTo>
                  <a:lnTo>
                    <a:pt x="2209156" y="1548267"/>
                  </a:lnTo>
                  <a:lnTo>
                    <a:pt x="2208575" y="1546795"/>
                  </a:lnTo>
                  <a:lnTo>
                    <a:pt x="2207588" y="1542436"/>
                  </a:lnTo>
                  <a:lnTo>
                    <a:pt x="2206339" y="1538840"/>
                  </a:lnTo>
                  <a:lnTo>
                    <a:pt x="2204862" y="1537245"/>
                  </a:lnTo>
                  <a:lnTo>
                    <a:pt x="2201196" y="1535495"/>
                  </a:lnTo>
                  <a:lnTo>
                    <a:pt x="2200523" y="1535917"/>
                  </a:lnTo>
                  <a:lnTo>
                    <a:pt x="2200129" y="1538340"/>
                  </a:lnTo>
                  <a:lnTo>
                    <a:pt x="2195799" y="1545296"/>
                  </a:lnTo>
                  <a:lnTo>
                    <a:pt x="2195044" y="1548308"/>
                  </a:lnTo>
                  <a:lnTo>
                    <a:pt x="2194500" y="1549424"/>
                  </a:lnTo>
                  <a:lnTo>
                    <a:pt x="2193683" y="1550187"/>
                  </a:lnTo>
                  <a:lnTo>
                    <a:pt x="2191796" y="1551109"/>
                  </a:lnTo>
                  <a:lnTo>
                    <a:pt x="2192308" y="1549504"/>
                  </a:lnTo>
                  <a:lnTo>
                    <a:pt x="2194314" y="1545929"/>
                  </a:lnTo>
                  <a:lnTo>
                    <a:pt x="2194043" y="1545580"/>
                  </a:lnTo>
                  <a:lnTo>
                    <a:pt x="2191492" y="1548454"/>
                  </a:lnTo>
                  <a:lnTo>
                    <a:pt x="2189549" y="1550048"/>
                  </a:lnTo>
                  <a:lnTo>
                    <a:pt x="2187177" y="1550457"/>
                  </a:lnTo>
                  <a:lnTo>
                    <a:pt x="2185737" y="1550355"/>
                  </a:lnTo>
                  <a:lnTo>
                    <a:pt x="2184339" y="1550793"/>
                  </a:lnTo>
                  <a:lnTo>
                    <a:pt x="2178411" y="1557569"/>
                  </a:lnTo>
                  <a:lnTo>
                    <a:pt x="2178188" y="1559824"/>
                  </a:lnTo>
                  <a:lnTo>
                    <a:pt x="2177163" y="1561670"/>
                  </a:lnTo>
                  <a:lnTo>
                    <a:pt x="2174240" y="1565004"/>
                  </a:lnTo>
                  <a:lnTo>
                    <a:pt x="2172699" y="1566157"/>
                  </a:lnTo>
                  <a:lnTo>
                    <a:pt x="2170529" y="1566362"/>
                  </a:lnTo>
                  <a:lnTo>
                    <a:pt x="2168551" y="1565787"/>
                  </a:lnTo>
                  <a:lnTo>
                    <a:pt x="2167247" y="1565891"/>
                  </a:lnTo>
                  <a:lnTo>
                    <a:pt x="2164163" y="1566932"/>
                  </a:lnTo>
                  <a:lnTo>
                    <a:pt x="2160710" y="1567386"/>
                  </a:lnTo>
                  <a:lnTo>
                    <a:pt x="2159284" y="1567175"/>
                  </a:lnTo>
                  <a:lnTo>
                    <a:pt x="2158375" y="1566747"/>
                  </a:lnTo>
                  <a:lnTo>
                    <a:pt x="2156618" y="1565454"/>
                  </a:lnTo>
                  <a:lnTo>
                    <a:pt x="2156407" y="1564535"/>
                  </a:lnTo>
                  <a:lnTo>
                    <a:pt x="2156501" y="1563996"/>
                  </a:lnTo>
                  <a:lnTo>
                    <a:pt x="2157395" y="1562600"/>
                  </a:lnTo>
                  <a:lnTo>
                    <a:pt x="2159446" y="1560846"/>
                  </a:lnTo>
                  <a:lnTo>
                    <a:pt x="2161133" y="1560192"/>
                  </a:lnTo>
                  <a:lnTo>
                    <a:pt x="2165235" y="1559310"/>
                  </a:lnTo>
                  <a:lnTo>
                    <a:pt x="2168241" y="1557995"/>
                  </a:lnTo>
                  <a:lnTo>
                    <a:pt x="2170530" y="1556043"/>
                  </a:lnTo>
                  <a:lnTo>
                    <a:pt x="2171553" y="1554853"/>
                  </a:lnTo>
                  <a:lnTo>
                    <a:pt x="2175866" y="1548736"/>
                  </a:lnTo>
                  <a:lnTo>
                    <a:pt x="2181322" y="1546576"/>
                  </a:lnTo>
                  <a:lnTo>
                    <a:pt x="2184012" y="1544813"/>
                  </a:lnTo>
                  <a:lnTo>
                    <a:pt x="2185893" y="1542576"/>
                  </a:lnTo>
                  <a:lnTo>
                    <a:pt x="2186166" y="1541789"/>
                  </a:lnTo>
                  <a:lnTo>
                    <a:pt x="2183468" y="1542926"/>
                  </a:lnTo>
                  <a:lnTo>
                    <a:pt x="2182074" y="1543204"/>
                  </a:lnTo>
                  <a:lnTo>
                    <a:pt x="2179816" y="1542783"/>
                  </a:lnTo>
                  <a:lnTo>
                    <a:pt x="2178813" y="1542021"/>
                  </a:lnTo>
                  <a:lnTo>
                    <a:pt x="2175719" y="1542263"/>
                  </a:lnTo>
                  <a:lnTo>
                    <a:pt x="2171416" y="1541907"/>
                  </a:lnTo>
                  <a:lnTo>
                    <a:pt x="2170795" y="1542494"/>
                  </a:lnTo>
                  <a:lnTo>
                    <a:pt x="2170239" y="1545474"/>
                  </a:lnTo>
                  <a:lnTo>
                    <a:pt x="2169682" y="1547054"/>
                  </a:lnTo>
                  <a:lnTo>
                    <a:pt x="2169024" y="1547585"/>
                  </a:lnTo>
                  <a:lnTo>
                    <a:pt x="2168060" y="1547898"/>
                  </a:lnTo>
                  <a:lnTo>
                    <a:pt x="2166096" y="1548213"/>
                  </a:lnTo>
                  <a:lnTo>
                    <a:pt x="2161060" y="1547150"/>
                  </a:lnTo>
                  <a:lnTo>
                    <a:pt x="2160131" y="1546569"/>
                  </a:lnTo>
                  <a:lnTo>
                    <a:pt x="2158845" y="1546127"/>
                  </a:lnTo>
                  <a:lnTo>
                    <a:pt x="2153285" y="1547097"/>
                  </a:lnTo>
                  <a:lnTo>
                    <a:pt x="2152121" y="1547004"/>
                  </a:lnTo>
                  <a:lnTo>
                    <a:pt x="2153225" y="1546306"/>
                  </a:lnTo>
                  <a:lnTo>
                    <a:pt x="2158718" y="1544123"/>
                  </a:lnTo>
                  <a:lnTo>
                    <a:pt x="2159294" y="1537818"/>
                  </a:lnTo>
                  <a:lnTo>
                    <a:pt x="2158951" y="1536807"/>
                  </a:lnTo>
                  <a:lnTo>
                    <a:pt x="2157415" y="1537687"/>
                  </a:lnTo>
                  <a:lnTo>
                    <a:pt x="2154837" y="1538597"/>
                  </a:lnTo>
                  <a:lnTo>
                    <a:pt x="2153074" y="1538334"/>
                  </a:lnTo>
                  <a:lnTo>
                    <a:pt x="2152268" y="1537776"/>
                  </a:lnTo>
                  <a:lnTo>
                    <a:pt x="2151529" y="1538248"/>
                  </a:lnTo>
                  <a:lnTo>
                    <a:pt x="2149736" y="1541575"/>
                  </a:lnTo>
                  <a:lnTo>
                    <a:pt x="2148678" y="1541992"/>
                  </a:lnTo>
                  <a:lnTo>
                    <a:pt x="2147087" y="1542119"/>
                  </a:lnTo>
                  <a:lnTo>
                    <a:pt x="2143695" y="1543329"/>
                  </a:lnTo>
                  <a:lnTo>
                    <a:pt x="2137032" y="1544124"/>
                  </a:lnTo>
                  <a:lnTo>
                    <a:pt x="2135718" y="1545003"/>
                  </a:lnTo>
                  <a:lnTo>
                    <a:pt x="2131196" y="1544698"/>
                  </a:lnTo>
                  <a:lnTo>
                    <a:pt x="2117987" y="1542873"/>
                  </a:lnTo>
                  <a:lnTo>
                    <a:pt x="2113261" y="1543057"/>
                  </a:lnTo>
                  <a:lnTo>
                    <a:pt x="2107574" y="1541942"/>
                  </a:lnTo>
                  <a:lnTo>
                    <a:pt x="2106523" y="1541461"/>
                  </a:lnTo>
                  <a:lnTo>
                    <a:pt x="2098567" y="1541657"/>
                  </a:lnTo>
                  <a:lnTo>
                    <a:pt x="2096186" y="1541398"/>
                  </a:lnTo>
                  <a:lnTo>
                    <a:pt x="2096345" y="1540012"/>
                  </a:lnTo>
                  <a:lnTo>
                    <a:pt x="2096093" y="1539657"/>
                  </a:lnTo>
                  <a:lnTo>
                    <a:pt x="2093782" y="1541188"/>
                  </a:lnTo>
                  <a:lnTo>
                    <a:pt x="2091731" y="1542181"/>
                  </a:lnTo>
                  <a:lnTo>
                    <a:pt x="2089088" y="1543031"/>
                  </a:lnTo>
                  <a:lnTo>
                    <a:pt x="2080771" y="1544505"/>
                  </a:lnTo>
                  <a:lnTo>
                    <a:pt x="2076314" y="1544819"/>
                  </a:lnTo>
                  <a:lnTo>
                    <a:pt x="2073719" y="1543794"/>
                  </a:lnTo>
                  <a:lnTo>
                    <a:pt x="2072691" y="1542774"/>
                  </a:lnTo>
                  <a:lnTo>
                    <a:pt x="2071148" y="1539461"/>
                  </a:lnTo>
                  <a:lnTo>
                    <a:pt x="2070089" y="1535304"/>
                  </a:lnTo>
                  <a:lnTo>
                    <a:pt x="2070098" y="1534552"/>
                  </a:lnTo>
                  <a:lnTo>
                    <a:pt x="2070635" y="1533108"/>
                  </a:lnTo>
                  <a:lnTo>
                    <a:pt x="2072379" y="1531106"/>
                  </a:lnTo>
                  <a:lnTo>
                    <a:pt x="2080271" y="1525802"/>
                  </a:lnTo>
                  <a:lnTo>
                    <a:pt x="2086617" y="1520426"/>
                  </a:lnTo>
                  <a:lnTo>
                    <a:pt x="2089294" y="1517623"/>
                  </a:lnTo>
                  <a:lnTo>
                    <a:pt x="2091890" y="1516624"/>
                  </a:lnTo>
                  <a:lnTo>
                    <a:pt x="2096127" y="1514294"/>
                  </a:lnTo>
                  <a:lnTo>
                    <a:pt x="2096262" y="1514020"/>
                  </a:lnTo>
                  <a:lnTo>
                    <a:pt x="2092153" y="1514315"/>
                  </a:lnTo>
                  <a:lnTo>
                    <a:pt x="2089265" y="1513670"/>
                  </a:lnTo>
                  <a:lnTo>
                    <a:pt x="2086313" y="1513415"/>
                  </a:lnTo>
                  <a:lnTo>
                    <a:pt x="2080703" y="1514031"/>
                  </a:lnTo>
                  <a:lnTo>
                    <a:pt x="2075049" y="1514031"/>
                  </a:lnTo>
                  <a:lnTo>
                    <a:pt x="2075027" y="1512836"/>
                  </a:lnTo>
                  <a:lnTo>
                    <a:pt x="2077670" y="1510582"/>
                  </a:lnTo>
                  <a:lnTo>
                    <a:pt x="2083290" y="1506710"/>
                  </a:lnTo>
                  <a:lnTo>
                    <a:pt x="2083862" y="1506698"/>
                  </a:lnTo>
                  <a:lnTo>
                    <a:pt x="2082141" y="1508501"/>
                  </a:lnTo>
                  <a:lnTo>
                    <a:pt x="2081650" y="1509848"/>
                  </a:lnTo>
                  <a:lnTo>
                    <a:pt x="2082391" y="1510744"/>
                  </a:lnTo>
                  <a:lnTo>
                    <a:pt x="2083249" y="1511311"/>
                  </a:lnTo>
                  <a:lnTo>
                    <a:pt x="2086468" y="1511548"/>
                  </a:lnTo>
                  <a:lnTo>
                    <a:pt x="2087206" y="1510766"/>
                  </a:lnTo>
                  <a:lnTo>
                    <a:pt x="2088367" y="1506614"/>
                  </a:lnTo>
                  <a:lnTo>
                    <a:pt x="2090800" y="1501799"/>
                  </a:lnTo>
                  <a:lnTo>
                    <a:pt x="2092115" y="1498321"/>
                  </a:lnTo>
                  <a:lnTo>
                    <a:pt x="2094400" y="1495665"/>
                  </a:lnTo>
                  <a:lnTo>
                    <a:pt x="2095540" y="1495266"/>
                  </a:lnTo>
                  <a:lnTo>
                    <a:pt x="2096552" y="1495762"/>
                  </a:lnTo>
                  <a:lnTo>
                    <a:pt x="2099915" y="1496400"/>
                  </a:lnTo>
                  <a:lnTo>
                    <a:pt x="2103375" y="1498833"/>
                  </a:lnTo>
                  <a:lnTo>
                    <a:pt x="2104494" y="1499038"/>
                  </a:lnTo>
                  <a:lnTo>
                    <a:pt x="2104875" y="1498821"/>
                  </a:lnTo>
                  <a:lnTo>
                    <a:pt x="2103606" y="1498106"/>
                  </a:lnTo>
                  <a:lnTo>
                    <a:pt x="2102560" y="1496962"/>
                  </a:lnTo>
                  <a:lnTo>
                    <a:pt x="2102126" y="1495891"/>
                  </a:lnTo>
                  <a:lnTo>
                    <a:pt x="2103390" y="1492531"/>
                  </a:lnTo>
                  <a:lnTo>
                    <a:pt x="2104872" y="1491563"/>
                  </a:lnTo>
                  <a:lnTo>
                    <a:pt x="2105140" y="1490902"/>
                  </a:lnTo>
                  <a:lnTo>
                    <a:pt x="2102179" y="1490888"/>
                  </a:lnTo>
                  <a:lnTo>
                    <a:pt x="2099794" y="1489947"/>
                  </a:lnTo>
                  <a:lnTo>
                    <a:pt x="2099084" y="1488424"/>
                  </a:lnTo>
                  <a:lnTo>
                    <a:pt x="2099224" y="1485746"/>
                  </a:lnTo>
                  <a:lnTo>
                    <a:pt x="2100001" y="1484144"/>
                  </a:lnTo>
                  <a:lnTo>
                    <a:pt x="2101911" y="1482028"/>
                  </a:lnTo>
                  <a:lnTo>
                    <a:pt x="2104234" y="1480621"/>
                  </a:lnTo>
                  <a:lnTo>
                    <a:pt x="2105618" y="1480981"/>
                  </a:lnTo>
                  <a:lnTo>
                    <a:pt x="2108285" y="1482880"/>
                  </a:lnTo>
                  <a:lnTo>
                    <a:pt x="2109926" y="1482348"/>
                  </a:lnTo>
                  <a:lnTo>
                    <a:pt x="2109736" y="1481738"/>
                  </a:lnTo>
                  <a:lnTo>
                    <a:pt x="2107235" y="1478713"/>
                  </a:lnTo>
                  <a:lnTo>
                    <a:pt x="2106433" y="1476471"/>
                  </a:lnTo>
                  <a:lnTo>
                    <a:pt x="2106507" y="1475402"/>
                  </a:lnTo>
                  <a:lnTo>
                    <a:pt x="2111925" y="1464692"/>
                  </a:lnTo>
                  <a:lnTo>
                    <a:pt x="2114575" y="1458930"/>
                  </a:lnTo>
                  <a:lnTo>
                    <a:pt x="2118187" y="1450127"/>
                  </a:lnTo>
                  <a:lnTo>
                    <a:pt x="2119022" y="1448724"/>
                  </a:lnTo>
                  <a:lnTo>
                    <a:pt x="2120852" y="1446122"/>
                  </a:lnTo>
                  <a:lnTo>
                    <a:pt x="2121609" y="1445413"/>
                  </a:lnTo>
                  <a:lnTo>
                    <a:pt x="2123971" y="1445408"/>
                  </a:lnTo>
                  <a:lnTo>
                    <a:pt x="2125438" y="1445091"/>
                  </a:lnTo>
                  <a:lnTo>
                    <a:pt x="2123294" y="1443940"/>
                  </a:lnTo>
                  <a:lnTo>
                    <a:pt x="2122525" y="1443138"/>
                  </a:lnTo>
                  <a:lnTo>
                    <a:pt x="2122435" y="1442293"/>
                  </a:lnTo>
                  <a:lnTo>
                    <a:pt x="2123021" y="1441407"/>
                  </a:lnTo>
                  <a:lnTo>
                    <a:pt x="2123851" y="1440751"/>
                  </a:lnTo>
                  <a:lnTo>
                    <a:pt x="2126653" y="1439332"/>
                  </a:lnTo>
                  <a:lnTo>
                    <a:pt x="2128641" y="1436995"/>
                  </a:lnTo>
                  <a:lnTo>
                    <a:pt x="2129847" y="1434241"/>
                  </a:lnTo>
                  <a:lnTo>
                    <a:pt x="2129668" y="1433301"/>
                  </a:lnTo>
                  <a:lnTo>
                    <a:pt x="2129046" y="1432365"/>
                  </a:lnTo>
                  <a:lnTo>
                    <a:pt x="2129080" y="1431857"/>
                  </a:lnTo>
                  <a:lnTo>
                    <a:pt x="2130590" y="1431282"/>
                  </a:lnTo>
                  <a:lnTo>
                    <a:pt x="2134425" y="1428005"/>
                  </a:lnTo>
                  <a:lnTo>
                    <a:pt x="2134924" y="1427377"/>
                  </a:lnTo>
                  <a:lnTo>
                    <a:pt x="2136325" y="1422996"/>
                  </a:lnTo>
                  <a:lnTo>
                    <a:pt x="2138044" y="1421051"/>
                  </a:lnTo>
                  <a:lnTo>
                    <a:pt x="2139652" y="1420053"/>
                  </a:lnTo>
                  <a:lnTo>
                    <a:pt x="2142213" y="1418812"/>
                  </a:lnTo>
                  <a:lnTo>
                    <a:pt x="2150089" y="1415804"/>
                  </a:lnTo>
                  <a:lnTo>
                    <a:pt x="2154699" y="1413116"/>
                  </a:lnTo>
                  <a:lnTo>
                    <a:pt x="2157829" y="1413266"/>
                  </a:lnTo>
                  <a:lnTo>
                    <a:pt x="2158750" y="1415141"/>
                  </a:lnTo>
                  <a:lnTo>
                    <a:pt x="2163197" y="1416386"/>
                  </a:lnTo>
                  <a:lnTo>
                    <a:pt x="2163979" y="1415049"/>
                  </a:lnTo>
                  <a:lnTo>
                    <a:pt x="2162938" y="1413418"/>
                  </a:lnTo>
                  <a:lnTo>
                    <a:pt x="2163806" y="1412761"/>
                  </a:lnTo>
                  <a:close/>
                  <a:moveTo>
                    <a:pt x="328882" y="1408389"/>
                  </a:moveTo>
                  <a:lnTo>
                    <a:pt x="329721" y="1408544"/>
                  </a:lnTo>
                  <a:lnTo>
                    <a:pt x="330021" y="1409564"/>
                  </a:lnTo>
                  <a:lnTo>
                    <a:pt x="331398" y="1411865"/>
                  </a:lnTo>
                  <a:lnTo>
                    <a:pt x="331807" y="1412540"/>
                  </a:lnTo>
                  <a:lnTo>
                    <a:pt x="331810" y="1415212"/>
                  </a:lnTo>
                  <a:lnTo>
                    <a:pt x="331598" y="1416301"/>
                  </a:lnTo>
                  <a:lnTo>
                    <a:pt x="331177" y="1416863"/>
                  </a:lnTo>
                  <a:lnTo>
                    <a:pt x="330163" y="1416862"/>
                  </a:lnTo>
                  <a:lnTo>
                    <a:pt x="328558" y="1416295"/>
                  </a:lnTo>
                  <a:lnTo>
                    <a:pt x="327360" y="1415046"/>
                  </a:lnTo>
                  <a:lnTo>
                    <a:pt x="325915" y="1411147"/>
                  </a:lnTo>
                  <a:lnTo>
                    <a:pt x="326077" y="1410476"/>
                  </a:lnTo>
                  <a:lnTo>
                    <a:pt x="326575" y="1409794"/>
                  </a:lnTo>
                  <a:close/>
                  <a:moveTo>
                    <a:pt x="2173754" y="1398683"/>
                  </a:moveTo>
                  <a:lnTo>
                    <a:pt x="2173260" y="1400892"/>
                  </a:lnTo>
                  <a:lnTo>
                    <a:pt x="2171543" y="1402258"/>
                  </a:lnTo>
                  <a:lnTo>
                    <a:pt x="2170335" y="1402286"/>
                  </a:lnTo>
                  <a:lnTo>
                    <a:pt x="2170063" y="1401906"/>
                  </a:lnTo>
                  <a:lnTo>
                    <a:pt x="2170567" y="1400604"/>
                  </a:lnTo>
                  <a:lnTo>
                    <a:pt x="2171918" y="1399101"/>
                  </a:lnTo>
                  <a:close/>
                  <a:moveTo>
                    <a:pt x="1563659" y="1395189"/>
                  </a:moveTo>
                  <a:lnTo>
                    <a:pt x="1565272" y="1395573"/>
                  </a:lnTo>
                  <a:lnTo>
                    <a:pt x="1565298" y="1396108"/>
                  </a:lnTo>
                  <a:lnTo>
                    <a:pt x="1564123" y="1397707"/>
                  </a:lnTo>
                  <a:lnTo>
                    <a:pt x="1563809" y="1398780"/>
                  </a:lnTo>
                  <a:lnTo>
                    <a:pt x="1563236" y="1399593"/>
                  </a:lnTo>
                  <a:lnTo>
                    <a:pt x="1562406" y="1400147"/>
                  </a:lnTo>
                  <a:lnTo>
                    <a:pt x="1561359" y="1400387"/>
                  </a:lnTo>
                  <a:lnTo>
                    <a:pt x="1558950" y="1400114"/>
                  </a:lnTo>
                  <a:lnTo>
                    <a:pt x="1557015" y="1399263"/>
                  </a:lnTo>
                  <a:lnTo>
                    <a:pt x="1555826" y="1398177"/>
                  </a:lnTo>
                  <a:close/>
                  <a:moveTo>
                    <a:pt x="251130" y="1393406"/>
                  </a:moveTo>
                  <a:lnTo>
                    <a:pt x="253348" y="1395287"/>
                  </a:lnTo>
                  <a:lnTo>
                    <a:pt x="252875" y="1399820"/>
                  </a:lnTo>
                  <a:lnTo>
                    <a:pt x="252419" y="1399885"/>
                  </a:lnTo>
                  <a:lnTo>
                    <a:pt x="251576" y="1399183"/>
                  </a:lnTo>
                  <a:lnTo>
                    <a:pt x="250996" y="1398049"/>
                  </a:lnTo>
                  <a:lnTo>
                    <a:pt x="250643" y="1395092"/>
                  </a:lnTo>
                  <a:lnTo>
                    <a:pt x="250902" y="1393884"/>
                  </a:lnTo>
                  <a:close/>
                  <a:moveTo>
                    <a:pt x="323418" y="1371791"/>
                  </a:moveTo>
                  <a:lnTo>
                    <a:pt x="323388" y="1373269"/>
                  </a:lnTo>
                  <a:lnTo>
                    <a:pt x="322128" y="1379865"/>
                  </a:lnTo>
                  <a:lnTo>
                    <a:pt x="321477" y="1382911"/>
                  </a:lnTo>
                  <a:lnTo>
                    <a:pt x="320976" y="1384033"/>
                  </a:lnTo>
                  <a:lnTo>
                    <a:pt x="320338" y="1384892"/>
                  </a:lnTo>
                  <a:lnTo>
                    <a:pt x="318394" y="1385348"/>
                  </a:lnTo>
                  <a:lnTo>
                    <a:pt x="319041" y="1383520"/>
                  </a:lnTo>
                  <a:lnTo>
                    <a:pt x="319229" y="1382438"/>
                  </a:lnTo>
                  <a:lnTo>
                    <a:pt x="318879" y="1381419"/>
                  </a:lnTo>
                  <a:lnTo>
                    <a:pt x="318634" y="1379451"/>
                  </a:lnTo>
                  <a:lnTo>
                    <a:pt x="318536" y="1374802"/>
                  </a:lnTo>
                  <a:lnTo>
                    <a:pt x="320435" y="1371877"/>
                  </a:lnTo>
                  <a:close/>
                  <a:moveTo>
                    <a:pt x="298096" y="1370871"/>
                  </a:moveTo>
                  <a:lnTo>
                    <a:pt x="298879" y="1371123"/>
                  </a:lnTo>
                  <a:lnTo>
                    <a:pt x="299611" y="1371556"/>
                  </a:lnTo>
                  <a:lnTo>
                    <a:pt x="304484" y="1375988"/>
                  </a:lnTo>
                  <a:lnTo>
                    <a:pt x="305844" y="1378073"/>
                  </a:lnTo>
                  <a:lnTo>
                    <a:pt x="305933" y="1381170"/>
                  </a:lnTo>
                  <a:lnTo>
                    <a:pt x="305125" y="1382731"/>
                  </a:lnTo>
                  <a:lnTo>
                    <a:pt x="301737" y="1378973"/>
                  </a:lnTo>
                  <a:lnTo>
                    <a:pt x="300502" y="1377916"/>
                  </a:lnTo>
                  <a:lnTo>
                    <a:pt x="297980" y="1373920"/>
                  </a:lnTo>
                  <a:lnTo>
                    <a:pt x="297542" y="1372203"/>
                  </a:lnTo>
                  <a:lnTo>
                    <a:pt x="297650" y="1371229"/>
                  </a:lnTo>
                  <a:close/>
                  <a:moveTo>
                    <a:pt x="291626" y="1357923"/>
                  </a:moveTo>
                  <a:lnTo>
                    <a:pt x="292377" y="1358107"/>
                  </a:lnTo>
                  <a:lnTo>
                    <a:pt x="292902" y="1358392"/>
                  </a:lnTo>
                  <a:lnTo>
                    <a:pt x="295621" y="1362585"/>
                  </a:lnTo>
                  <a:lnTo>
                    <a:pt x="296377" y="1364666"/>
                  </a:lnTo>
                  <a:lnTo>
                    <a:pt x="295997" y="1364940"/>
                  </a:lnTo>
                  <a:lnTo>
                    <a:pt x="294949" y="1364480"/>
                  </a:lnTo>
                  <a:lnTo>
                    <a:pt x="293942" y="1363583"/>
                  </a:lnTo>
                  <a:lnTo>
                    <a:pt x="292217" y="1361039"/>
                  </a:lnTo>
                  <a:lnTo>
                    <a:pt x="291649" y="1359968"/>
                  </a:lnTo>
                  <a:lnTo>
                    <a:pt x="291280" y="1358232"/>
                  </a:lnTo>
                  <a:close/>
                  <a:moveTo>
                    <a:pt x="1512935" y="1356685"/>
                  </a:moveTo>
                  <a:lnTo>
                    <a:pt x="1518000" y="1357322"/>
                  </a:lnTo>
                  <a:lnTo>
                    <a:pt x="1523964" y="1363121"/>
                  </a:lnTo>
                  <a:lnTo>
                    <a:pt x="1527388" y="1367032"/>
                  </a:lnTo>
                  <a:lnTo>
                    <a:pt x="1528780" y="1370174"/>
                  </a:lnTo>
                  <a:lnTo>
                    <a:pt x="1528803" y="1371688"/>
                  </a:lnTo>
                  <a:lnTo>
                    <a:pt x="1528241" y="1373062"/>
                  </a:lnTo>
                  <a:lnTo>
                    <a:pt x="1526449" y="1373516"/>
                  </a:lnTo>
                  <a:lnTo>
                    <a:pt x="1521188" y="1372604"/>
                  </a:lnTo>
                  <a:lnTo>
                    <a:pt x="1518988" y="1371945"/>
                  </a:lnTo>
                  <a:lnTo>
                    <a:pt x="1512506" y="1369475"/>
                  </a:lnTo>
                  <a:lnTo>
                    <a:pt x="1500162" y="1365842"/>
                  </a:lnTo>
                  <a:lnTo>
                    <a:pt x="1495954" y="1364037"/>
                  </a:lnTo>
                  <a:lnTo>
                    <a:pt x="1495086" y="1362683"/>
                  </a:lnTo>
                  <a:lnTo>
                    <a:pt x="1497321" y="1359854"/>
                  </a:lnTo>
                  <a:lnTo>
                    <a:pt x="1498583" y="1358706"/>
                  </a:lnTo>
                  <a:lnTo>
                    <a:pt x="1499953" y="1357994"/>
                  </a:lnTo>
                  <a:close/>
                  <a:moveTo>
                    <a:pt x="230972" y="1356439"/>
                  </a:moveTo>
                  <a:lnTo>
                    <a:pt x="231978" y="1356498"/>
                  </a:lnTo>
                  <a:lnTo>
                    <a:pt x="234506" y="1357674"/>
                  </a:lnTo>
                  <a:lnTo>
                    <a:pt x="237077" y="1360860"/>
                  </a:lnTo>
                  <a:lnTo>
                    <a:pt x="237842" y="1363708"/>
                  </a:lnTo>
                  <a:lnTo>
                    <a:pt x="237526" y="1367069"/>
                  </a:lnTo>
                  <a:lnTo>
                    <a:pt x="233454" y="1368342"/>
                  </a:lnTo>
                  <a:lnTo>
                    <a:pt x="231313" y="1367327"/>
                  </a:lnTo>
                  <a:lnTo>
                    <a:pt x="230383" y="1367516"/>
                  </a:lnTo>
                  <a:lnTo>
                    <a:pt x="228978" y="1368521"/>
                  </a:lnTo>
                  <a:lnTo>
                    <a:pt x="230686" y="1368970"/>
                  </a:lnTo>
                  <a:lnTo>
                    <a:pt x="233079" y="1370616"/>
                  </a:lnTo>
                  <a:lnTo>
                    <a:pt x="235176" y="1372749"/>
                  </a:lnTo>
                  <a:lnTo>
                    <a:pt x="238136" y="1373132"/>
                  </a:lnTo>
                  <a:lnTo>
                    <a:pt x="242075" y="1374620"/>
                  </a:lnTo>
                  <a:lnTo>
                    <a:pt x="239094" y="1377300"/>
                  </a:lnTo>
                  <a:lnTo>
                    <a:pt x="238644" y="1378841"/>
                  </a:lnTo>
                  <a:lnTo>
                    <a:pt x="242363" y="1383104"/>
                  </a:lnTo>
                  <a:lnTo>
                    <a:pt x="242716" y="1384168"/>
                  </a:lnTo>
                  <a:lnTo>
                    <a:pt x="243906" y="1384386"/>
                  </a:lnTo>
                  <a:lnTo>
                    <a:pt x="246680" y="1384042"/>
                  </a:lnTo>
                  <a:lnTo>
                    <a:pt x="247033" y="1384379"/>
                  </a:lnTo>
                  <a:lnTo>
                    <a:pt x="247026" y="1385262"/>
                  </a:lnTo>
                  <a:lnTo>
                    <a:pt x="245326" y="1387731"/>
                  </a:lnTo>
                  <a:lnTo>
                    <a:pt x="245506" y="1388223"/>
                  </a:lnTo>
                  <a:lnTo>
                    <a:pt x="247046" y="1388611"/>
                  </a:lnTo>
                  <a:lnTo>
                    <a:pt x="250002" y="1388630"/>
                  </a:lnTo>
                  <a:lnTo>
                    <a:pt x="250673" y="1391079"/>
                  </a:lnTo>
                  <a:lnTo>
                    <a:pt x="248001" y="1393305"/>
                  </a:lnTo>
                  <a:lnTo>
                    <a:pt x="242921" y="1390437"/>
                  </a:lnTo>
                  <a:lnTo>
                    <a:pt x="240657" y="1387576"/>
                  </a:lnTo>
                  <a:lnTo>
                    <a:pt x="239366" y="1384924"/>
                  </a:lnTo>
                  <a:lnTo>
                    <a:pt x="237803" y="1383423"/>
                  </a:lnTo>
                  <a:lnTo>
                    <a:pt x="233088" y="1380089"/>
                  </a:lnTo>
                  <a:lnTo>
                    <a:pt x="225923" y="1372873"/>
                  </a:lnTo>
                  <a:lnTo>
                    <a:pt x="224076" y="1371828"/>
                  </a:lnTo>
                  <a:lnTo>
                    <a:pt x="222213" y="1368968"/>
                  </a:lnTo>
                  <a:lnTo>
                    <a:pt x="221670" y="1367590"/>
                  </a:lnTo>
                  <a:lnTo>
                    <a:pt x="221717" y="1366667"/>
                  </a:lnTo>
                  <a:lnTo>
                    <a:pt x="222442" y="1366179"/>
                  </a:lnTo>
                  <a:lnTo>
                    <a:pt x="224587" y="1365858"/>
                  </a:lnTo>
                  <a:lnTo>
                    <a:pt x="224617" y="1364421"/>
                  </a:lnTo>
                  <a:lnTo>
                    <a:pt x="216377" y="1361928"/>
                  </a:lnTo>
                  <a:lnTo>
                    <a:pt x="215461" y="1361418"/>
                  </a:lnTo>
                  <a:lnTo>
                    <a:pt x="214398" y="1359672"/>
                  </a:lnTo>
                  <a:lnTo>
                    <a:pt x="214970" y="1359417"/>
                  </a:lnTo>
                  <a:lnTo>
                    <a:pt x="219503" y="1359721"/>
                  </a:lnTo>
                  <a:lnTo>
                    <a:pt x="224359" y="1358882"/>
                  </a:lnTo>
                  <a:lnTo>
                    <a:pt x="227351" y="1358239"/>
                  </a:lnTo>
                  <a:lnTo>
                    <a:pt x="228529" y="1357454"/>
                  </a:lnTo>
                  <a:close/>
                  <a:moveTo>
                    <a:pt x="303488" y="1354768"/>
                  </a:moveTo>
                  <a:lnTo>
                    <a:pt x="305085" y="1354961"/>
                  </a:lnTo>
                  <a:lnTo>
                    <a:pt x="307938" y="1356538"/>
                  </a:lnTo>
                  <a:lnTo>
                    <a:pt x="310913" y="1358250"/>
                  </a:lnTo>
                  <a:lnTo>
                    <a:pt x="313645" y="1360532"/>
                  </a:lnTo>
                  <a:lnTo>
                    <a:pt x="315679" y="1366466"/>
                  </a:lnTo>
                  <a:lnTo>
                    <a:pt x="316843" y="1377391"/>
                  </a:lnTo>
                  <a:lnTo>
                    <a:pt x="316758" y="1380877"/>
                  </a:lnTo>
                  <a:lnTo>
                    <a:pt x="315061" y="1383155"/>
                  </a:lnTo>
                  <a:lnTo>
                    <a:pt x="313865" y="1386969"/>
                  </a:lnTo>
                  <a:lnTo>
                    <a:pt x="312471" y="1388680"/>
                  </a:lnTo>
                  <a:lnTo>
                    <a:pt x="311154" y="1386401"/>
                  </a:lnTo>
                  <a:lnTo>
                    <a:pt x="311036" y="1382613"/>
                  </a:lnTo>
                  <a:lnTo>
                    <a:pt x="310685" y="1379598"/>
                  </a:lnTo>
                  <a:lnTo>
                    <a:pt x="310253" y="1378153"/>
                  </a:lnTo>
                  <a:lnTo>
                    <a:pt x="310763" y="1372510"/>
                  </a:lnTo>
                  <a:lnTo>
                    <a:pt x="310172" y="1372926"/>
                  </a:lnTo>
                  <a:lnTo>
                    <a:pt x="308610" y="1375403"/>
                  </a:lnTo>
                  <a:lnTo>
                    <a:pt x="306871" y="1375574"/>
                  </a:lnTo>
                  <a:lnTo>
                    <a:pt x="303751" y="1372765"/>
                  </a:lnTo>
                  <a:lnTo>
                    <a:pt x="302183" y="1370487"/>
                  </a:lnTo>
                  <a:lnTo>
                    <a:pt x="301925" y="1368109"/>
                  </a:lnTo>
                  <a:lnTo>
                    <a:pt x="299869" y="1365601"/>
                  </a:lnTo>
                  <a:lnTo>
                    <a:pt x="299657" y="1364718"/>
                  </a:lnTo>
                  <a:lnTo>
                    <a:pt x="299825" y="1363782"/>
                  </a:lnTo>
                  <a:lnTo>
                    <a:pt x="301515" y="1361283"/>
                  </a:lnTo>
                  <a:lnTo>
                    <a:pt x="302199" y="1359597"/>
                  </a:lnTo>
                  <a:lnTo>
                    <a:pt x="302800" y="1356122"/>
                  </a:lnTo>
                  <a:close/>
                  <a:moveTo>
                    <a:pt x="298292" y="1353040"/>
                  </a:moveTo>
                  <a:lnTo>
                    <a:pt x="299381" y="1354311"/>
                  </a:lnTo>
                  <a:lnTo>
                    <a:pt x="299844" y="1355485"/>
                  </a:lnTo>
                  <a:lnTo>
                    <a:pt x="300079" y="1360347"/>
                  </a:lnTo>
                  <a:lnTo>
                    <a:pt x="299939" y="1360592"/>
                  </a:lnTo>
                  <a:lnTo>
                    <a:pt x="297311" y="1360585"/>
                  </a:lnTo>
                  <a:lnTo>
                    <a:pt x="296580" y="1360234"/>
                  </a:lnTo>
                  <a:lnTo>
                    <a:pt x="296119" y="1359512"/>
                  </a:lnTo>
                  <a:lnTo>
                    <a:pt x="295932" y="1358417"/>
                  </a:lnTo>
                  <a:lnTo>
                    <a:pt x="296361" y="1357098"/>
                  </a:lnTo>
                  <a:lnTo>
                    <a:pt x="297915" y="1354577"/>
                  </a:lnTo>
                  <a:lnTo>
                    <a:pt x="297963" y="1353501"/>
                  </a:lnTo>
                  <a:close/>
                  <a:moveTo>
                    <a:pt x="1545533" y="1351854"/>
                  </a:moveTo>
                  <a:lnTo>
                    <a:pt x="1547439" y="1352275"/>
                  </a:lnTo>
                  <a:lnTo>
                    <a:pt x="1548360" y="1353933"/>
                  </a:lnTo>
                  <a:lnTo>
                    <a:pt x="1548333" y="1354963"/>
                  </a:lnTo>
                  <a:lnTo>
                    <a:pt x="1546689" y="1354763"/>
                  </a:lnTo>
                  <a:lnTo>
                    <a:pt x="1545796" y="1354174"/>
                  </a:lnTo>
                  <a:lnTo>
                    <a:pt x="1545072" y="1353246"/>
                  </a:lnTo>
                  <a:lnTo>
                    <a:pt x="1544916" y="1352549"/>
                  </a:lnTo>
                  <a:close/>
                  <a:moveTo>
                    <a:pt x="267514" y="1342638"/>
                  </a:moveTo>
                  <a:lnTo>
                    <a:pt x="268963" y="1343010"/>
                  </a:lnTo>
                  <a:lnTo>
                    <a:pt x="274029" y="1345457"/>
                  </a:lnTo>
                  <a:lnTo>
                    <a:pt x="278077" y="1347827"/>
                  </a:lnTo>
                  <a:lnTo>
                    <a:pt x="280377" y="1349372"/>
                  </a:lnTo>
                  <a:lnTo>
                    <a:pt x="285192" y="1355979"/>
                  </a:lnTo>
                  <a:lnTo>
                    <a:pt x="284834" y="1356927"/>
                  </a:lnTo>
                  <a:lnTo>
                    <a:pt x="282815" y="1358626"/>
                  </a:lnTo>
                  <a:lnTo>
                    <a:pt x="282308" y="1358743"/>
                  </a:lnTo>
                  <a:lnTo>
                    <a:pt x="280639" y="1358326"/>
                  </a:lnTo>
                  <a:lnTo>
                    <a:pt x="275136" y="1352501"/>
                  </a:lnTo>
                  <a:lnTo>
                    <a:pt x="271224" y="1350373"/>
                  </a:lnTo>
                  <a:lnTo>
                    <a:pt x="268559" y="1347491"/>
                  </a:lnTo>
                  <a:lnTo>
                    <a:pt x="265851" y="1345645"/>
                  </a:lnTo>
                  <a:close/>
                  <a:moveTo>
                    <a:pt x="267615" y="1326741"/>
                  </a:moveTo>
                  <a:lnTo>
                    <a:pt x="268900" y="1326856"/>
                  </a:lnTo>
                  <a:lnTo>
                    <a:pt x="270966" y="1328205"/>
                  </a:lnTo>
                  <a:lnTo>
                    <a:pt x="271406" y="1328599"/>
                  </a:lnTo>
                  <a:lnTo>
                    <a:pt x="272984" y="1331280"/>
                  </a:lnTo>
                  <a:lnTo>
                    <a:pt x="272198" y="1332530"/>
                  </a:lnTo>
                  <a:lnTo>
                    <a:pt x="270416" y="1334486"/>
                  </a:lnTo>
                  <a:lnTo>
                    <a:pt x="269232" y="1335261"/>
                  </a:lnTo>
                  <a:lnTo>
                    <a:pt x="268649" y="1334860"/>
                  </a:lnTo>
                  <a:lnTo>
                    <a:pt x="267051" y="1334642"/>
                  </a:lnTo>
                  <a:lnTo>
                    <a:pt x="265346" y="1332694"/>
                  </a:lnTo>
                  <a:lnTo>
                    <a:pt x="264019" y="1331915"/>
                  </a:lnTo>
                  <a:lnTo>
                    <a:pt x="263137" y="1331876"/>
                  </a:lnTo>
                  <a:lnTo>
                    <a:pt x="262700" y="1332580"/>
                  </a:lnTo>
                  <a:lnTo>
                    <a:pt x="262588" y="1333521"/>
                  </a:lnTo>
                  <a:lnTo>
                    <a:pt x="262800" y="1334704"/>
                  </a:lnTo>
                  <a:lnTo>
                    <a:pt x="262653" y="1335240"/>
                  </a:lnTo>
                  <a:lnTo>
                    <a:pt x="262150" y="1335135"/>
                  </a:lnTo>
                  <a:lnTo>
                    <a:pt x="261645" y="1334583"/>
                  </a:lnTo>
                  <a:lnTo>
                    <a:pt x="261145" y="1333585"/>
                  </a:lnTo>
                  <a:lnTo>
                    <a:pt x="261041" y="1332567"/>
                  </a:lnTo>
                  <a:lnTo>
                    <a:pt x="261334" y="1331533"/>
                  </a:lnTo>
                  <a:lnTo>
                    <a:pt x="262572" y="1330142"/>
                  </a:lnTo>
                  <a:lnTo>
                    <a:pt x="266433" y="1327257"/>
                  </a:lnTo>
                  <a:close/>
                  <a:moveTo>
                    <a:pt x="201679" y="1324304"/>
                  </a:moveTo>
                  <a:lnTo>
                    <a:pt x="203122" y="1324343"/>
                  </a:lnTo>
                  <a:lnTo>
                    <a:pt x="205617" y="1324937"/>
                  </a:lnTo>
                  <a:lnTo>
                    <a:pt x="211640" y="1325400"/>
                  </a:lnTo>
                  <a:lnTo>
                    <a:pt x="213960" y="1327450"/>
                  </a:lnTo>
                  <a:lnTo>
                    <a:pt x="219528" y="1326147"/>
                  </a:lnTo>
                  <a:lnTo>
                    <a:pt x="220569" y="1326397"/>
                  </a:lnTo>
                  <a:lnTo>
                    <a:pt x="221628" y="1327182"/>
                  </a:lnTo>
                  <a:lnTo>
                    <a:pt x="222787" y="1328850"/>
                  </a:lnTo>
                  <a:lnTo>
                    <a:pt x="224050" y="1331396"/>
                  </a:lnTo>
                  <a:lnTo>
                    <a:pt x="224328" y="1334176"/>
                  </a:lnTo>
                  <a:lnTo>
                    <a:pt x="223823" y="1335171"/>
                  </a:lnTo>
                  <a:lnTo>
                    <a:pt x="222823" y="1336275"/>
                  </a:lnTo>
                  <a:lnTo>
                    <a:pt x="213938" y="1340682"/>
                  </a:lnTo>
                  <a:lnTo>
                    <a:pt x="213704" y="1341106"/>
                  </a:lnTo>
                  <a:lnTo>
                    <a:pt x="213882" y="1341502"/>
                  </a:lnTo>
                  <a:lnTo>
                    <a:pt x="214705" y="1341926"/>
                  </a:lnTo>
                  <a:lnTo>
                    <a:pt x="216486" y="1341870"/>
                  </a:lnTo>
                  <a:lnTo>
                    <a:pt x="223521" y="1340779"/>
                  </a:lnTo>
                  <a:lnTo>
                    <a:pt x="223909" y="1340017"/>
                  </a:lnTo>
                  <a:lnTo>
                    <a:pt x="224402" y="1336544"/>
                  </a:lnTo>
                  <a:lnTo>
                    <a:pt x="225371" y="1334698"/>
                  </a:lnTo>
                  <a:lnTo>
                    <a:pt x="225458" y="1333305"/>
                  </a:lnTo>
                  <a:lnTo>
                    <a:pt x="224816" y="1329983"/>
                  </a:lnTo>
                  <a:lnTo>
                    <a:pt x="224853" y="1328646"/>
                  </a:lnTo>
                  <a:lnTo>
                    <a:pt x="229762" y="1328377"/>
                  </a:lnTo>
                  <a:lnTo>
                    <a:pt x="232836" y="1327147"/>
                  </a:lnTo>
                  <a:lnTo>
                    <a:pt x="235972" y="1324853"/>
                  </a:lnTo>
                  <a:lnTo>
                    <a:pt x="236690" y="1324916"/>
                  </a:lnTo>
                  <a:lnTo>
                    <a:pt x="236239" y="1329045"/>
                  </a:lnTo>
                  <a:lnTo>
                    <a:pt x="235804" y="1330312"/>
                  </a:lnTo>
                  <a:lnTo>
                    <a:pt x="232797" y="1335346"/>
                  </a:lnTo>
                  <a:lnTo>
                    <a:pt x="231072" y="1339769"/>
                  </a:lnTo>
                  <a:lnTo>
                    <a:pt x="230231" y="1344135"/>
                  </a:lnTo>
                  <a:lnTo>
                    <a:pt x="230086" y="1351345"/>
                  </a:lnTo>
                  <a:lnTo>
                    <a:pt x="229342" y="1353777"/>
                  </a:lnTo>
                  <a:lnTo>
                    <a:pt x="227975" y="1355276"/>
                  </a:lnTo>
                  <a:lnTo>
                    <a:pt x="219457" y="1357893"/>
                  </a:lnTo>
                  <a:lnTo>
                    <a:pt x="215065" y="1357727"/>
                  </a:lnTo>
                  <a:lnTo>
                    <a:pt x="211151" y="1355345"/>
                  </a:lnTo>
                  <a:lnTo>
                    <a:pt x="209308" y="1353714"/>
                  </a:lnTo>
                  <a:lnTo>
                    <a:pt x="210701" y="1351736"/>
                  </a:lnTo>
                  <a:lnTo>
                    <a:pt x="211659" y="1351643"/>
                  </a:lnTo>
                  <a:lnTo>
                    <a:pt x="214412" y="1352032"/>
                  </a:lnTo>
                  <a:lnTo>
                    <a:pt x="216538" y="1352771"/>
                  </a:lnTo>
                  <a:lnTo>
                    <a:pt x="217486" y="1352803"/>
                  </a:lnTo>
                  <a:lnTo>
                    <a:pt x="217324" y="1352337"/>
                  </a:lnTo>
                  <a:lnTo>
                    <a:pt x="211270" y="1348604"/>
                  </a:lnTo>
                  <a:lnTo>
                    <a:pt x="206835" y="1346907"/>
                  </a:lnTo>
                  <a:lnTo>
                    <a:pt x="205492" y="1345006"/>
                  </a:lnTo>
                  <a:lnTo>
                    <a:pt x="205452" y="1343530"/>
                  </a:lnTo>
                  <a:lnTo>
                    <a:pt x="205103" y="1342706"/>
                  </a:lnTo>
                  <a:lnTo>
                    <a:pt x="201581" y="1337545"/>
                  </a:lnTo>
                  <a:lnTo>
                    <a:pt x="200890" y="1335502"/>
                  </a:lnTo>
                  <a:lnTo>
                    <a:pt x="200430" y="1332610"/>
                  </a:lnTo>
                  <a:lnTo>
                    <a:pt x="200423" y="1329643"/>
                  </a:lnTo>
                  <a:lnTo>
                    <a:pt x="201286" y="1324824"/>
                  </a:lnTo>
                  <a:close/>
                  <a:moveTo>
                    <a:pt x="255981" y="1307771"/>
                  </a:moveTo>
                  <a:lnTo>
                    <a:pt x="259271" y="1308223"/>
                  </a:lnTo>
                  <a:lnTo>
                    <a:pt x="259754" y="1308403"/>
                  </a:lnTo>
                  <a:lnTo>
                    <a:pt x="259871" y="1308896"/>
                  </a:lnTo>
                  <a:lnTo>
                    <a:pt x="259618" y="1309702"/>
                  </a:lnTo>
                  <a:lnTo>
                    <a:pt x="258559" y="1310856"/>
                  </a:lnTo>
                  <a:lnTo>
                    <a:pt x="255465" y="1313123"/>
                  </a:lnTo>
                  <a:lnTo>
                    <a:pt x="254879" y="1313168"/>
                  </a:lnTo>
                  <a:lnTo>
                    <a:pt x="254658" y="1312436"/>
                  </a:lnTo>
                  <a:lnTo>
                    <a:pt x="254799" y="1310924"/>
                  </a:lnTo>
                  <a:lnTo>
                    <a:pt x="255602" y="1308364"/>
                  </a:lnTo>
                  <a:close/>
                  <a:moveTo>
                    <a:pt x="273547" y="1293912"/>
                  </a:moveTo>
                  <a:lnTo>
                    <a:pt x="273805" y="1296691"/>
                  </a:lnTo>
                  <a:lnTo>
                    <a:pt x="270116" y="1301352"/>
                  </a:lnTo>
                  <a:lnTo>
                    <a:pt x="265397" y="1303666"/>
                  </a:lnTo>
                  <a:lnTo>
                    <a:pt x="264386" y="1302930"/>
                  </a:lnTo>
                  <a:lnTo>
                    <a:pt x="266468" y="1300663"/>
                  </a:lnTo>
                  <a:lnTo>
                    <a:pt x="271049" y="1296728"/>
                  </a:lnTo>
                  <a:close/>
                  <a:moveTo>
                    <a:pt x="2026360" y="1254296"/>
                  </a:moveTo>
                  <a:lnTo>
                    <a:pt x="2027334" y="1254710"/>
                  </a:lnTo>
                  <a:lnTo>
                    <a:pt x="2029416" y="1255799"/>
                  </a:lnTo>
                  <a:lnTo>
                    <a:pt x="2029696" y="1256457"/>
                  </a:lnTo>
                  <a:lnTo>
                    <a:pt x="2028704" y="1257927"/>
                  </a:lnTo>
                  <a:lnTo>
                    <a:pt x="2029004" y="1258792"/>
                  </a:lnTo>
                  <a:lnTo>
                    <a:pt x="2025091" y="1258168"/>
                  </a:lnTo>
                  <a:lnTo>
                    <a:pt x="2023714" y="1257622"/>
                  </a:lnTo>
                  <a:lnTo>
                    <a:pt x="2023599" y="1257048"/>
                  </a:lnTo>
                  <a:lnTo>
                    <a:pt x="2023793" y="1256151"/>
                  </a:lnTo>
                  <a:lnTo>
                    <a:pt x="2024569" y="1255100"/>
                  </a:lnTo>
                  <a:close/>
                  <a:moveTo>
                    <a:pt x="1579136" y="1243590"/>
                  </a:moveTo>
                  <a:lnTo>
                    <a:pt x="1580550" y="1243611"/>
                  </a:lnTo>
                  <a:lnTo>
                    <a:pt x="1580843" y="1247966"/>
                  </a:lnTo>
                  <a:lnTo>
                    <a:pt x="1580446" y="1250007"/>
                  </a:lnTo>
                  <a:lnTo>
                    <a:pt x="1579499" y="1251714"/>
                  </a:lnTo>
                  <a:lnTo>
                    <a:pt x="1578201" y="1253090"/>
                  </a:lnTo>
                  <a:lnTo>
                    <a:pt x="1576548" y="1254135"/>
                  </a:lnTo>
                  <a:lnTo>
                    <a:pt x="1575261" y="1254632"/>
                  </a:lnTo>
                  <a:lnTo>
                    <a:pt x="1574335" y="1254583"/>
                  </a:lnTo>
                  <a:lnTo>
                    <a:pt x="1574507" y="1253381"/>
                  </a:lnTo>
                  <a:lnTo>
                    <a:pt x="1575779" y="1251027"/>
                  </a:lnTo>
                  <a:lnTo>
                    <a:pt x="1576500" y="1248955"/>
                  </a:lnTo>
                  <a:lnTo>
                    <a:pt x="1576675" y="1247167"/>
                  </a:lnTo>
                  <a:lnTo>
                    <a:pt x="1577237" y="1245599"/>
                  </a:lnTo>
                  <a:lnTo>
                    <a:pt x="1578188" y="1244255"/>
                  </a:lnTo>
                  <a:close/>
                  <a:moveTo>
                    <a:pt x="1557450" y="1242613"/>
                  </a:moveTo>
                  <a:lnTo>
                    <a:pt x="1556111" y="1245483"/>
                  </a:lnTo>
                  <a:lnTo>
                    <a:pt x="1554706" y="1247628"/>
                  </a:lnTo>
                  <a:lnTo>
                    <a:pt x="1547362" y="1251924"/>
                  </a:lnTo>
                  <a:lnTo>
                    <a:pt x="1546069" y="1252197"/>
                  </a:lnTo>
                  <a:lnTo>
                    <a:pt x="1544540" y="1251679"/>
                  </a:lnTo>
                  <a:lnTo>
                    <a:pt x="1545336" y="1249044"/>
                  </a:lnTo>
                  <a:lnTo>
                    <a:pt x="1546665" y="1247946"/>
                  </a:lnTo>
                  <a:lnTo>
                    <a:pt x="1549977" y="1246851"/>
                  </a:lnTo>
                  <a:lnTo>
                    <a:pt x="1550542" y="1246178"/>
                  </a:lnTo>
                  <a:lnTo>
                    <a:pt x="1551601" y="1245843"/>
                  </a:lnTo>
                  <a:lnTo>
                    <a:pt x="1553154" y="1245843"/>
                  </a:lnTo>
                  <a:lnTo>
                    <a:pt x="1554883" y="1244857"/>
                  </a:lnTo>
                  <a:lnTo>
                    <a:pt x="1556788" y="1242884"/>
                  </a:lnTo>
                  <a:close/>
                  <a:moveTo>
                    <a:pt x="1565243" y="1237787"/>
                  </a:moveTo>
                  <a:lnTo>
                    <a:pt x="1565529" y="1237959"/>
                  </a:lnTo>
                  <a:lnTo>
                    <a:pt x="1565919" y="1238946"/>
                  </a:lnTo>
                  <a:lnTo>
                    <a:pt x="1566814" y="1239643"/>
                  </a:lnTo>
                  <a:lnTo>
                    <a:pt x="1568216" y="1240051"/>
                  </a:lnTo>
                  <a:lnTo>
                    <a:pt x="1569018" y="1240685"/>
                  </a:lnTo>
                  <a:lnTo>
                    <a:pt x="1569609" y="1242342"/>
                  </a:lnTo>
                  <a:lnTo>
                    <a:pt x="1570179" y="1243072"/>
                  </a:lnTo>
                  <a:lnTo>
                    <a:pt x="1572277" y="1243690"/>
                  </a:lnTo>
                  <a:lnTo>
                    <a:pt x="1573084" y="1244219"/>
                  </a:lnTo>
                  <a:lnTo>
                    <a:pt x="1573664" y="1246026"/>
                  </a:lnTo>
                  <a:lnTo>
                    <a:pt x="1573610" y="1246978"/>
                  </a:lnTo>
                  <a:lnTo>
                    <a:pt x="1573895" y="1247588"/>
                  </a:lnTo>
                  <a:lnTo>
                    <a:pt x="1574518" y="1247858"/>
                  </a:lnTo>
                  <a:lnTo>
                    <a:pt x="1573783" y="1249808"/>
                  </a:lnTo>
                  <a:lnTo>
                    <a:pt x="1571695" y="1253431"/>
                  </a:lnTo>
                  <a:lnTo>
                    <a:pt x="1570023" y="1256906"/>
                  </a:lnTo>
                  <a:lnTo>
                    <a:pt x="1567701" y="1263438"/>
                  </a:lnTo>
                  <a:lnTo>
                    <a:pt x="1566373" y="1263671"/>
                  </a:lnTo>
                  <a:lnTo>
                    <a:pt x="1565213" y="1262102"/>
                  </a:lnTo>
                  <a:lnTo>
                    <a:pt x="1568543" y="1254453"/>
                  </a:lnTo>
                  <a:lnTo>
                    <a:pt x="1568700" y="1253600"/>
                  </a:lnTo>
                  <a:lnTo>
                    <a:pt x="1568543" y="1252868"/>
                  </a:lnTo>
                  <a:lnTo>
                    <a:pt x="1567532" y="1251740"/>
                  </a:lnTo>
                  <a:lnTo>
                    <a:pt x="1566525" y="1253037"/>
                  </a:lnTo>
                  <a:lnTo>
                    <a:pt x="1561819" y="1261659"/>
                  </a:lnTo>
                  <a:lnTo>
                    <a:pt x="1560605" y="1263040"/>
                  </a:lnTo>
                  <a:lnTo>
                    <a:pt x="1559596" y="1263805"/>
                  </a:lnTo>
                  <a:lnTo>
                    <a:pt x="1558794" y="1263952"/>
                  </a:lnTo>
                  <a:lnTo>
                    <a:pt x="1556792" y="1263772"/>
                  </a:lnTo>
                  <a:lnTo>
                    <a:pt x="1552759" y="1266229"/>
                  </a:lnTo>
                  <a:lnTo>
                    <a:pt x="1559536" y="1256001"/>
                  </a:lnTo>
                  <a:lnTo>
                    <a:pt x="1559607" y="1255221"/>
                  </a:lnTo>
                  <a:lnTo>
                    <a:pt x="1558338" y="1254742"/>
                  </a:lnTo>
                  <a:lnTo>
                    <a:pt x="1557836" y="1255007"/>
                  </a:lnTo>
                  <a:lnTo>
                    <a:pt x="1552344" y="1261456"/>
                  </a:lnTo>
                  <a:lnTo>
                    <a:pt x="1549214" y="1263938"/>
                  </a:lnTo>
                  <a:lnTo>
                    <a:pt x="1547110" y="1263184"/>
                  </a:lnTo>
                  <a:lnTo>
                    <a:pt x="1546585" y="1262510"/>
                  </a:lnTo>
                  <a:lnTo>
                    <a:pt x="1546774" y="1261759"/>
                  </a:lnTo>
                  <a:lnTo>
                    <a:pt x="1552118" y="1255250"/>
                  </a:lnTo>
                  <a:lnTo>
                    <a:pt x="1557030" y="1250582"/>
                  </a:lnTo>
                  <a:lnTo>
                    <a:pt x="1559084" y="1247639"/>
                  </a:lnTo>
                  <a:lnTo>
                    <a:pt x="1559919" y="1244862"/>
                  </a:lnTo>
                  <a:lnTo>
                    <a:pt x="1560286" y="1242830"/>
                  </a:lnTo>
                  <a:lnTo>
                    <a:pt x="1560260" y="1240590"/>
                  </a:lnTo>
                  <a:lnTo>
                    <a:pt x="1560514" y="1239973"/>
                  </a:lnTo>
                  <a:lnTo>
                    <a:pt x="1560800" y="1240087"/>
                  </a:lnTo>
                  <a:lnTo>
                    <a:pt x="1561113" y="1240935"/>
                  </a:lnTo>
                  <a:lnTo>
                    <a:pt x="1561196" y="1243294"/>
                  </a:lnTo>
                  <a:lnTo>
                    <a:pt x="1560074" y="1248129"/>
                  </a:lnTo>
                  <a:lnTo>
                    <a:pt x="1559173" y="1250506"/>
                  </a:lnTo>
                  <a:lnTo>
                    <a:pt x="1558098" y="1252463"/>
                  </a:lnTo>
                  <a:lnTo>
                    <a:pt x="1558551" y="1252890"/>
                  </a:lnTo>
                  <a:lnTo>
                    <a:pt x="1560529" y="1251779"/>
                  </a:lnTo>
                  <a:lnTo>
                    <a:pt x="1562195" y="1249435"/>
                  </a:lnTo>
                  <a:lnTo>
                    <a:pt x="1563545" y="1245851"/>
                  </a:lnTo>
                  <a:lnTo>
                    <a:pt x="1564409" y="1242732"/>
                  </a:lnTo>
                  <a:close/>
                  <a:moveTo>
                    <a:pt x="1558132" y="1230631"/>
                  </a:moveTo>
                  <a:lnTo>
                    <a:pt x="1559188" y="1231617"/>
                  </a:lnTo>
                  <a:lnTo>
                    <a:pt x="1559699" y="1232655"/>
                  </a:lnTo>
                  <a:lnTo>
                    <a:pt x="1559924" y="1233675"/>
                  </a:lnTo>
                  <a:lnTo>
                    <a:pt x="1559863" y="1234682"/>
                  </a:lnTo>
                  <a:lnTo>
                    <a:pt x="1559561" y="1235376"/>
                  </a:lnTo>
                  <a:lnTo>
                    <a:pt x="1559011" y="1235758"/>
                  </a:lnTo>
                  <a:lnTo>
                    <a:pt x="1558117" y="1236221"/>
                  </a:lnTo>
                  <a:lnTo>
                    <a:pt x="1557510" y="1236182"/>
                  </a:lnTo>
                  <a:lnTo>
                    <a:pt x="1558186" y="1232986"/>
                  </a:lnTo>
                  <a:lnTo>
                    <a:pt x="1557400" y="1231855"/>
                  </a:lnTo>
                  <a:lnTo>
                    <a:pt x="1557354" y="1231273"/>
                  </a:lnTo>
                  <a:lnTo>
                    <a:pt x="1557695" y="1230740"/>
                  </a:lnTo>
                  <a:close/>
                  <a:moveTo>
                    <a:pt x="1549376" y="1228224"/>
                  </a:moveTo>
                  <a:lnTo>
                    <a:pt x="1550330" y="1228288"/>
                  </a:lnTo>
                  <a:lnTo>
                    <a:pt x="1551189" y="1229026"/>
                  </a:lnTo>
                  <a:lnTo>
                    <a:pt x="1550977" y="1230006"/>
                  </a:lnTo>
                  <a:lnTo>
                    <a:pt x="1550166" y="1231503"/>
                  </a:lnTo>
                  <a:lnTo>
                    <a:pt x="1549469" y="1232133"/>
                  </a:lnTo>
                  <a:lnTo>
                    <a:pt x="1548223" y="1231424"/>
                  </a:lnTo>
                  <a:lnTo>
                    <a:pt x="1548171" y="1229613"/>
                  </a:lnTo>
                  <a:close/>
                  <a:moveTo>
                    <a:pt x="2007055" y="1202264"/>
                  </a:moveTo>
                  <a:lnTo>
                    <a:pt x="2009711" y="1203169"/>
                  </a:lnTo>
                  <a:lnTo>
                    <a:pt x="2011843" y="1204252"/>
                  </a:lnTo>
                  <a:lnTo>
                    <a:pt x="2012401" y="1208224"/>
                  </a:lnTo>
                  <a:lnTo>
                    <a:pt x="2008400" y="1207991"/>
                  </a:lnTo>
                  <a:lnTo>
                    <a:pt x="2003830" y="1205329"/>
                  </a:lnTo>
                  <a:lnTo>
                    <a:pt x="2002924" y="1203391"/>
                  </a:lnTo>
                  <a:lnTo>
                    <a:pt x="2003025" y="1203058"/>
                  </a:lnTo>
                  <a:lnTo>
                    <a:pt x="2003633" y="1202724"/>
                  </a:lnTo>
                  <a:lnTo>
                    <a:pt x="2004793" y="1203186"/>
                  </a:lnTo>
                  <a:lnTo>
                    <a:pt x="2005921" y="1202491"/>
                  </a:lnTo>
                  <a:close/>
                  <a:moveTo>
                    <a:pt x="1553321" y="1201218"/>
                  </a:moveTo>
                  <a:lnTo>
                    <a:pt x="1553723" y="1201341"/>
                  </a:lnTo>
                  <a:lnTo>
                    <a:pt x="1554059" y="1203153"/>
                  </a:lnTo>
                  <a:lnTo>
                    <a:pt x="1553982" y="1204595"/>
                  </a:lnTo>
                  <a:lnTo>
                    <a:pt x="1553583" y="1204888"/>
                  </a:lnTo>
                  <a:lnTo>
                    <a:pt x="1552494" y="1204634"/>
                  </a:lnTo>
                  <a:lnTo>
                    <a:pt x="1552067" y="1207038"/>
                  </a:lnTo>
                  <a:lnTo>
                    <a:pt x="1551651" y="1207263"/>
                  </a:lnTo>
                  <a:lnTo>
                    <a:pt x="1550895" y="1205782"/>
                  </a:lnTo>
                  <a:lnTo>
                    <a:pt x="1551462" y="1204515"/>
                  </a:lnTo>
                  <a:lnTo>
                    <a:pt x="1551379" y="1203642"/>
                  </a:lnTo>
                  <a:lnTo>
                    <a:pt x="1551590" y="1202997"/>
                  </a:lnTo>
                  <a:lnTo>
                    <a:pt x="1552680" y="1201555"/>
                  </a:lnTo>
                  <a:close/>
                  <a:moveTo>
                    <a:pt x="1820765" y="1144342"/>
                  </a:moveTo>
                  <a:lnTo>
                    <a:pt x="1820800" y="1146337"/>
                  </a:lnTo>
                  <a:lnTo>
                    <a:pt x="1821134" y="1147087"/>
                  </a:lnTo>
                  <a:lnTo>
                    <a:pt x="1821779" y="1147429"/>
                  </a:lnTo>
                  <a:lnTo>
                    <a:pt x="1821655" y="1148300"/>
                  </a:lnTo>
                  <a:lnTo>
                    <a:pt x="1820114" y="1151012"/>
                  </a:lnTo>
                  <a:lnTo>
                    <a:pt x="1818064" y="1150675"/>
                  </a:lnTo>
                  <a:lnTo>
                    <a:pt x="1817326" y="1151234"/>
                  </a:lnTo>
                  <a:lnTo>
                    <a:pt x="1816768" y="1151267"/>
                  </a:lnTo>
                  <a:lnTo>
                    <a:pt x="1817694" y="1148721"/>
                  </a:lnTo>
                  <a:lnTo>
                    <a:pt x="1817815" y="1147009"/>
                  </a:lnTo>
                  <a:lnTo>
                    <a:pt x="1817347" y="1145273"/>
                  </a:lnTo>
                  <a:lnTo>
                    <a:pt x="1818025" y="1144389"/>
                  </a:lnTo>
                  <a:close/>
                  <a:moveTo>
                    <a:pt x="1541469" y="1122610"/>
                  </a:moveTo>
                  <a:lnTo>
                    <a:pt x="1542553" y="1123204"/>
                  </a:lnTo>
                  <a:lnTo>
                    <a:pt x="1542152" y="1124162"/>
                  </a:lnTo>
                  <a:lnTo>
                    <a:pt x="1540695" y="1125616"/>
                  </a:lnTo>
                  <a:lnTo>
                    <a:pt x="1539561" y="1126399"/>
                  </a:lnTo>
                  <a:lnTo>
                    <a:pt x="1538749" y="1126515"/>
                  </a:lnTo>
                  <a:lnTo>
                    <a:pt x="1538561" y="1126057"/>
                  </a:lnTo>
                  <a:lnTo>
                    <a:pt x="1539213" y="1124513"/>
                  </a:lnTo>
                  <a:lnTo>
                    <a:pt x="1540286" y="1124326"/>
                  </a:lnTo>
                  <a:close/>
                  <a:moveTo>
                    <a:pt x="1547912" y="1116856"/>
                  </a:moveTo>
                  <a:lnTo>
                    <a:pt x="1549364" y="1117756"/>
                  </a:lnTo>
                  <a:lnTo>
                    <a:pt x="1548071" y="1119389"/>
                  </a:lnTo>
                  <a:lnTo>
                    <a:pt x="1545165" y="1120868"/>
                  </a:lnTo>
                  <a:lnTo>
                    <a:pt x="1542556" y="1121129"/>
                  </a:lnTo>
                  <a:lnTo>
                    <a:pt x="1543695" y="1118888"/>
                  </a:lnTo>
                  <a:lnTo>
                    <a:pt x="1544673" y="1117805"/>
                  </a:lnTo>
                  <a:lnTo>
                    <a:pt x="1545750" y="1117112"/>
                  </a:lnTo>
                  <a:close/>
                  <a:moveTo>
                    <a:pt x="1936108" y="1092618"/>
                  </a:moveTo>
                  <a:lnTo>
                    <a:pt x="1938993" y="1095413"/>
                  </a:lnTo>
                  <a:lnTo>
                    <a:pt x="1939822" y="1095839"/>
                  </a:lnTo>
                  <a:lnTo>
                    <a:pt x="1942175" y="1098247"/>
                  </a:lnTo>
                  <a:lnTo>
                    <a:pt x="1941290" y="1100885"/>
                  </a:lnTo>
                  <a:lnTo>
                    <a:pt x="1938342" y="1099917"/>
                  </a:lnTo>
                  <a:lnTo>
                    <a:pt x="1933785" y="1097922"/>
                  </a:lnTo>
                  <a:lnTo>
                    <a:pt x="1931983" y="1096596"/>
                  </a:lnTo>
                  <a:lnTo>
                    <a:pt x="1931354" y="1095144"/>
                  </a:lnTo>
                  <a:lnTo>
                    <a:pt x="1931287" y="1093136"/>
                  </a:lnTo>
                  <a:lnTo>
                    <a:pt x="1932653" y="1092808"/>
                  </a:lnTo>
                  <a:close/>
                  <a:moveTo>
                    <a:pt x="1848848" y="1089819"/>
                  </a:moveTo>
                  <a:lnTo>
                    <a:pt x="1851627" y="1090485"/>
                  </a:lnTo>
                  <a:lnTo>
                    <a:pt x="1853245" y="1091654"/>
                  </a:lnTo>
                  <a:lnTo>
                    <a:pt x="1854935" y="1093603"/>
                  </a:lnTo>
                  <a:lnTo>
                    <a:pt x="1855663" y="1095104"/>
                  </a:lnTo>
                  <a:lnTo>
                    <a:pt x="1855020" y="1097311"/>
                  </a:lnTo>
                  <a:lnTo>
                    <a:pt x="1853039" y="1099283"/>
                  </a:lnTo>
                  <a:lnTo>
                    <a:pt x="1850758" y="1100626"/>
                  </a:lnTo>
                  <a:lnTo>
                    <a:pt x="1845142" y="1103051"/>
                  </a:lnTo>
                  <a:lnTo>
                    <a:pt x="1842852" y="1103355"/>
                  </a:lnTo>
                  <a:lnTo>
                    <a:pt x="1841809" y="1102551"/>
                  </a:lnTo>
                  <a:lnTo>
                    <a:pt x="1841742" y="1100240"/>
                  </a:lnTo>
                  <a:lnTo>
                    <a:pt x="1842492" y="1098495"/>
                  </a:lnTo>
                  <a:lnTo>
                    <a:pt x="1845117" y="1094873"/>
                  </a:lnTo>
                  <a:lnTo>
                    <a:pt x="1847472" y="1090806"/>
                  </a:lnTo>
                  <a:close/>
                  <a:moveTo>
                    <a:pt x="1591378" y="1080975"/>
                  </a:moveTo>
                  <a:lnTo>
                    <a:pt x="1590435" y="1082310"/>
                  </a:lnTo>
                  <a:lnTo>
                    <a:pt x="1588063" y="1083363"/>
                  </a:lnTo>
                  <a:lnTo>
                    <a:pt x="1584026" y="1084431"/>
                  </a:lnTo>
                  <a:lnTo>
                    <a:pt x="1580546" y="1084877"/>
                  </a:lnTo>
                  <a:lnTo>
                    <a:pt x="1580540" y="1084324"/>
                  </a:lnTo>
                  <a:lnTo>
                    <a:pt x="1581987" y="1082753"/>
                  </a:lnTo>
                  <a:lnTo>
                    <a:pt x="1587375" y="1081380"/>
                  </a:lnTo>
                  <a:close/>
                  <a:moveTo>
                    <a:pt x="1923849" y="1047462"/>
                  </a:moveTo>
                  <a:lnTo>
                    <a:pt x="1928295" y="1047485"/>
                  </a:lnTo>
                  <a:lnTo>
                    <a:pt x="1932474" y="1048376"/>
                  </a:lnTo>
                  <a:lnTo>
                    <a:pt x="1933319" y="1049332"/>
                  </a:lnTo>
                  <a:lnTo>
                    <a:pt x="1935518" y="1051067"/>
                  </a:lnTo>
                  <a:lnTo>
                    <a:pt x="1934976" y="1053152"/>
                  </a:lnTo>
                  <a:lnTo>
                    <a:pt x="1934838" y="1055785"/>
                  </a:lnTo>
                  <a:lnTo>
                    <a:pt x="1933928" y="1057067"/>
                  </a:lnTo>
                  <a:lnTo>
                    <a:pt x="1932526" y="1058041"/>
                  </a:lnTo>
                  <a:lnTo>
                    <a:pt x="1931384" y="1059870"/>
                  </a:lnTo>
                  <a:lnTo>
                    <a:pt x="1930771" y="1060321"/>
                  </a:lnTo>
                  <a:lnTo>
                    <a:pt x="1930188" y="1060219"/>
                  </a:lnTo>
                  <a:lnTo>
                    <a:pt x="1928300" y="1058154"/>
                  </a:lnTo>
                  <a:lnTo>
                    <a:pt x="1925761" y="1057316"/>
                  </a:lnTo>
                  <a:lnTo>
                    <a:pt x="1924819" y="1056503"/>
                  </a:lnTo>
                  <a:lnTo>
                    <a:pt x="1917152" y="1052239"/>
                  </a:lnTo>
                  <a:lnTo>
                    <a:pt x="1916318" y="1050367"/>
                  </a:lnTo>
                  <a:lnTo>
                    <a:pt x="1916182" y="1048870"/>
                  </a:lnTo>
                  <a:lnTo>
                    <a:pt x="1918730" y="1048141"/>
                  </a:lnTo>
                  <a:close/>
                  <a:moveTo>
                    <a:pt x="1215239" y="1037739"/>
                  </a:moveTo>
                  <a:lnTo>
                    <a:pt x="1217338" y="1039508"/>
                  </a:lnTo>
                  <a:lnTo>
                    <a:pt x="1217162" y="1040376"/>
                  </a:lnTo>
                  <a:lnTo>
                    <a:pt x="1216046" y="1041289"/>
                  </a:lnTo>
                  <a:lnTo>
                    <a:pt x="1215010" y="1041382"/>
                  </a:lnTo>
                  <a:lnTo>
                    <a:pt x="1212684" y="1039390"/>
                  </a:lnTo>
                  <a:lnTo>
                    <a:pt x="1212174" y="1038381"/>
                  </a:lnTo>
                  <a:close/>
                  <a:moveTo>
                    <a:pt x="1922730" y="1037418"/>
                  </a:moveTo>
                  <a:lnTo>
                    <a:pt x="1923954" y="1037456"/>
                  </a:lnTo>
                  <a:lnTo>
                    <a:pt x="1925406" y="1038090"/>
                  </a:lnTo>
                  <a:lnTo>
                    <a:pt x="1926365" y="1039925"/>
                  </a:lnTo>
                  <a:lnTo>
                    <a:pt x="1926936" y="1040268"/>
                  </a:lnTo>
                  <a:lnTo>
                    <a:pt x="1927620" y="1039864"/>
                  </a:lnTo>
                  <a:lnTo>
                    <a:pt x="1928140" y="1040213"/>
                  </a:lnTo>
                  <a:lnTo>
                    <a:pt x="1928492" y="1041318"/>
                  </a:lnTo>
                  <a:lnTo>
                    <a:pt x="1929079" y="1042084"/>
                  </a:lnTo>
                  <a:lnTo>
                    <a:pt x="1930559" y="1043082"/>
                  </a:lnTo>
                  <a:lnTo>
                    <a:pt x="1931057" y="1043794"/>
                  </a:lnTo>
                  <a:lnTo>
                    <a:pt x="1931017" y="1044509"/>
                  </a:lnTo>
                  <a:lnTo>
                    <a:pt x="1929762" y="1045609"/>
                  </a:lnTo>
                  <a:lnTo>
                    <a:pt x="1928972" y="1045639"/>
                  </a:lnTo>
                  <a:lnTo>
                    <a:pt x="1922932" y="1043101"/>
                  </a:lnTo>
                  <a:lnTo>
                    <a:pt x="1921301" y="1040512"/>
                  </a:lnTo>
                  <a:lnTo>
                    <a:pt x="1921172" y="1039197"/>
                  </a:lnTo>
                  <a:lnTo>
                    <a:pt x="1921801" y="1037998"/>
                  </a:lnTo>
                  <a:close/>
                  <a:moveTo>
                    <a:pt x="1556997" y="1018976"/>
                  </a:moveTo>
                  <a:lnTo>
                    <a:pt x="1558323" y="1019036"/>
                  </a:lnTo>
                  <a:lnTo>
                    <a:pt x="1560329" y="1020107"/>
                  </a:lnTo>
                  <a:lnTo>
                    <a:pt x="1563630" y="1023680"/>
                  </a:lnTo>
                  <a:lnTo>
                    <a:pt x="1564887" y="1025489"/>
                  </a:lnTo>
                  <a:lnTo>
                    <a:pt x="1565253" y="1027911"/>
                  </a:lnTo>
                  <a:lnTo>
                    <a:pt x="1564380" y="1031145"/>
                  </a:lnTo>
                  <a:lnTo>
                    <a:pt x="1563938" y="1034178"/>
                  </a:lnTo>
                  <a:lnTo>
                    <a:pt x="1562712" y="1036459"/>
                  </a:lnTo>
                  <a:lnTo>
                    <a:pt x="1560432" y="1039338"/>
                  </a:lnTo>
                  <a:lnTo>
                    <a:pt x="1558412" y="1042698"/>
                  </a:lnTo>
                  <a:lnTo>
                    <a:pt x="1556649" y="1046532"/>
                  </a:lnTo>
                  <a:lnTo>
                    <a:pt x="1555194" y="1049068"/>
                  </a:lnTo>
                  <a:lnTo>
                    <a:pt x="1554039" y="1050309"/>
                  </a:lnTo>
                  <a:lnTo>
                    <a:pt x="1552795" y="1050953"/>
                  </a:lnTo>
                  <a:lnTo>
                    <a:pt x="1551457" y="1051005"/>
                  </a:lnTo>
                  <a:lnTo>
                    <a:pt x="1549423" y="1049625"/>
                  </a:lnTo>
                  <a:lnTo>
                    <a:pt x="1546689" y="1046808"/>
                  </a:lnTo>
                  <a:lnTo>
                    <a:pt x="1544462" y="1045082"/>
                  </a:lnTo>
                  <a:lnTo>
                    <a:pt x="1541598" y="1043898"/>
                  </a:lnTo>
                  <a:lnTo>
                    <a:pt x="1540070" y="1042299"/>
                  </a:lnTo>
                  <a:lnTo>
                    <a:pt x="1539791" y="1040724"/>
                  </a:lnTo>
                  <a:lnTo>
                    <a:pt x="1539698" y="1035609"/>
                  </a:lnTo>
                  <a:lnTo>
                    <a:pt x="1539819" y="1033060"/>
                  </a:lnTo>
                  <a:lnTo>
                    <a:pt x="1540201" y="1030928"/>
                  </a:lnTo>
                  <a:lnTo>
                    <a:pt x="1540844" y="1029217"/>
                  </a:lnTo>
                  <a:lnTo>
                    <a:pt x="1542267" y="1026859"/>
                  </a:lnTo>
                  <a:lnTo>
                    <a:pt x="1546247" y="1021742"/>
                  </a:lnTo>
                  <a:lnTo>
                    <a:pt x="1548652" y="1019778"/>
                  </a:lnTo>
                  <a:lnTo>
                    <a:pt x="1550139" y="1019326"/>
                  </a:lnTo>
                  <a:lnTo>
                    <a:pt x="1554083" y="1019694"/>
                  </a:lnTo>
                  <a:lnTo>
                    <a:pt x="1555680" y="1019564"/>
                  </a:lnTo>
                  <a:close/>
                  <a:moveTo>
                    <a:pt x="1931607" y="1013237"/>
                  </a:moveTo>
                  <a:lnTo>
                    <a:pt x="1936476" y="1013661"/>
                  </a:lnTo>
                  <a:lnTo>
                    <a:pt x="1939430" y="1013510"/>
                  </a:lnTo>
                  <a:lnTo>
                    <a:pt x="1940705" y="1014137"/>
                  </a:lnTo>
                  <a:lnTo>
                    <a:pt x="1941896" y="1016052"/>
                  </a:lnTo>
                  <a:lnTo>
                    <a:pt x="1940368" y="1018793"/>
                  </a:lnTo>
                  <a:lnTo>
                    <a:pt x="1938639" y="1019836"/>
                  </a:lnTo>
                  <a:lnTo>
                    <a:pt x="1935827" y="1020143"/>
                  </a:lnTo>
                  <a:lnTo>
                    <a:pt x="1931265" y="1019251"/>
                  </a:lnTo>
                  <a:lnTo>
                    <a:pt x="1929645" y="1018668"/>
                  </a:lnTo>
                  <a:lnTo>
                    <a:pt x="1928243" y="1017198"/>
                  </a:lnTo>
                  <a:lnTo>
                    <a:pt x="1928896" y="1016146"/>
                  </a:lnTo>
                  <a:lnTo>
                    <a:pt x="1931148" y="1015786"/>
                  </a:lnTo>
                  <a:lnTo>
                    <a:pt x="1931524" y="1015359"/>
                  </a:lnTo>
                  <a:lnTo>
                    <a:pt x="1930947" y="1014551"/>
                  </a:lnTo>
                  <a:lnTo>
                    <a:pt x="1930975" y="1013846"/>
                  </a:lnTo>
                  <a:close/>
                  <a:moveTo>
                    <a:pt x="1684626" y="1006334"/>
                  </a:moveTo>
                  <a:lnTo>
                    <a:pt x="1686231" y="1006604"/>
                  </a:lnTo>
                  <a:lnTo>
                    <a:pt x="1688922" y="1007819"/>
                  </a:lnTo>
                  <a:lnTo>
                    <a:pt x="1696170" y="1008432"/>
                  </a:lnTo>
                  <a:lnTo>
                    <a:pt x="1698506" y="1009129"/>
                  </a:lnTo>
                  <a:lnTo>
                    <a:pt x="1699232" y="1010181"/>
                  </a:lnTo>
                  <a:lnTo>
                    <a:pt x="1698921" y="1010880"/>
                  </a:lnTo>
                  <a:lnTo>
                    <a:pt x="1697574" y="1011225"/>
                  </a:lnTo>
                  <a:lnTo>
                    <a:pt x="1692504" y="1010739"/>
                  </a:lnTo>
                  <a:lnTo>
                    <a:pt x="1686267" y="1008888"/>
                  </a:lnTo>
                  <a:lnTo>
                    <a:pt x="1683047" y="1007148"/>
                  </a:lnTo>
                  <a:lnTo>
                    <a:pt x="1683212" y="1006610"/>
                  </a:lnTo>
                  <a:close/>
                  <a:moveTo>
                    <a:pt x="1771582" y="1000598"/>
                  </a:moveTo>
                  <a:lnTo>
                    <a:pt x="1774655" y="1001100"/>
                  </a:lnTo>
                  <a:lnTo>
                    <a:pt x="1779195" y="1002102"/>
                  </a:lnTo>
                  <a:lnTo>
                    <a:pt x="1783260" y="1003412"/>
                  </a:lnTo>
                  <a:lnTo>
                    <a:pt x="1789134" y="1006316"/>
                  </a:lnTo>
                  <a:lnTo>
                    <a:pt x="1791056" y="1009005"/>
                  </a:lnTo>
                  <a:lnTo>
                    <a:pt x="1792965" y="1010976"/>
                  </a:lnTo>
                  <a:lnTo>
                    <a:pt x="1793541" y="1012474"/>
                  </a:lnTo>
                  <a:lnTo>
                    <a:pt x="1793040" y="1013125"/>
                  </a:lnTo>
                  <a:lnTo>
                    <a:pt x="1791811" y="1013633"/>
                  </a:lnTo>
                  <a:lnTo>
                    <a:pt x="1790054" y="1013787"/>
                  </a:lnTo>
                  <a:lnTo>
                    <a:pt x="1786628" y="1013490"/>
                  </a:lnTo>
                  <a:lnTo>
                    <a:pt x="1782949" y="1012667"/>
                  </a:lnTo>
                  <a:lnTo>
                    <a:pt x="1780933" y="1011731"/>
                  </a:lnTo>
                  <a:lnTo>
                    <a:pt x="1779120" y="1009707"/>
                  </a:lnTo>
                  <a:lnTo>
                    <a:pt x="1778773" y="1007481"/>
                  </a:lnTo>
                  <a:lnTo>
                    <a:pt x="1775353" y="1004176"/>
                  </a:lnTo>
                  <a:lnTo>
                    <a:pt x="1771530" y="1003060"/>
                  </a:lnTo>
                  <a:lnTo>
                    <a:pt x="1769420" y="1000759"/>
                  </a:lnTo>
                  <a:close/>
                  <a:moveTo>
                    <a:pt x="1492804" y="996636"/>
                  </a:moveTo>
                  <a:lnTo>
                    <a:pt x="1494874" y="996919"/>
                  </a:lnTo>
                  <a:lnTo>
                    <a:pt x="1496069" y="997570"/>
                  </a:lnTo>
                  <a:lnTo>
                    <a:pt x="1497081" y="998682"/>
                  </a:lnTo>
                  <a:lnTo>
                    <a:pt x="1497385" y="1000357"/>
                  </a:lnTo>
                  <a:lnTo>
                    <a:pt x="1496984" y="1002596"/>
                  </a:lnTo>
                  <a:lnTo>
                    <a:pt x="1496330" y="1004630"/>
                  </a:lnTo>
                  <a:lnTo>
                    <a:pt x="1495427" y="1006461"/>
                  </a:lnTo>
                  <a:lnTo>
                    <a:pt x="1493197" y="1009541"/>
                  </a:lnTo>
                  <a:lnTo>
                    <a:pt x="1486242" y="1014800"/>
                  </a:lnTo>
                  <a:lnTo>
                    <a:pt x="1483633" y="1017661"/>
                  </a:lnTo>
                  <a:lnTo>
                    <a:pt x="1481672" y="1019370"/>
                  </a:lnTo>
                  <a:lnTo>
                    <a:pt x="1470324" y="1026972"/>
                  </a:lnTo>
                  <a:lnTo>
                    <a:pt x="1468915" y="1027346"/>
                  </a:lnTo>
                  <a:lnTo>
                    <a:pt x="1467436" y="1027200"/>
                  </a:lnTo>
                  <a:lnTo>
                    <a:pt x="1464325" y="1026066"/>
                  </a:lnTo>
                  <a:lnTo>
                    <a:pt x="1461171" y="1025863"/>
                  </a:lnTo>
                  <a:lnTo>
                    <a:pt x="1453004" y="1028920"/>
                  </a:lnTo>
                  <a:lnTo>
                    <a:pt x="1452611" y="1028397"/>
                  </a:lnTo>
                  <a:lnTo>
                    <a:pt x="1452250" y="1025115"/>
                  </a:lnTo>
                  <a:lnTo>
                    <a:pt x="1451431" y="1023293"/>
                  </a:lnTo>
                  <a:lnTo>
                    <a:pt x="1447825" y="1019399"/>
                  </a:lnTo>
                  <a:lnTo>
                    <a:pt x="1447590" y="1018490"/>
                  </a:lnTo>
                  <a:lnTo>
                    <a:pt x="1447638" y="1017363"/>
                  </a:lnTo>
                  <a:lnTo>
                    <a:pt x="1447923" y="1016484"/>
                  </a:lnTo>
                  <a:lnTo>
                    <a:pt x="1451986" y="1012838"/>
                  </a:lnTo>
                  <a:lnTo>
                    <a:pt x="1461180" y="999527"/>
                  </a:lnTo>
                  <a:lnTo>
                    <a:pt x="1463385" y="998867"/>
                  </a:lnTo>
                  <a:lnTo>
                    <a:pt x="1467912" y="1000354"/>
                  </a:lnTo>
                  <a:lnTo>
                    <a:pt x="1470059" y="1000832"/>
                  </a:lnTo>
                  <a:lnTo>
                    <a:pt x="1471593" y="1000759"/>
                  </a:lnTo>
                  <a:lnTo>
                    <a:pt x="1478168" y="997954"/>
                  </a:lnTo>
                  <a:lnTo>
                    <a:pt x="1484425" y="998286"/>
                  </a:lnTo>
                  <a:lnTo>
                    <a:pt x="1490129" y="996646"/>
                  </a:lnTo>
                  <a:close/>
                  <a:moveTo>
                    <a:pt x="1591551" y="976194"/>
                  </a:moveTo>
                  <a:lnTo>
                    <a:pt x="1599182" y="976620"/>
                  </a:lnTo>
                  <a:lnTo>
                    <a:pt x="1600634" y="976956"/>
                  </a:lnTo>
                  <a:lnTo>
                    <a:pt x="1602779" y="978669"/>
                  </a:lnTo>
                  <a:lnTo>
                    <a:pt x="1605020" y="978547"/>
                  </a:lnTo>
                  <a:lnTo>
                    <a:pt x="1606261" y="979944"/>
                  </a:lnTo>
                  <a:lnTo>
                    <a:pt x="1609210" y="984302"/>
                  </a:lnTo>
                  <a:lnTo>
                    <a:pt x="1609493" y="985026"/>
                  </a:lnTo>
                  <a:lnTo>
                    <a:pt x="1609355" y="986436"/>
                  </a:lnTo>
                  <a:lnTo>
                    <a:pt x="1607804" y="988241"/>
                  </a:lnTo>
                  <a:lnTo>
                    <a:pt x="1606187" y="989192"/>
                  </a:lnTo>
                  <a:lnTo>
                    <a:pt x="1602795" y="990589"/>
                  </a:lnTo>
                  <a:lnTo>
                    <a:pt x="1598966" y="991194"/>
                  </a:lnTo>
                  <a:lnTo>
                    <a:pt x="1596888" y="990218"/>
                  </a:lnTo>
                  <a:lnTo>
                    <a:pt x="1591017" y="986189"/>
                  </a:lnTo>
                  <a:lnTo>
                    <a:pt x="1585621" y="981469"/>
                  </a:lnTo>
                  <a:lnTo>
                    <a:pt x="1583896" y="978833"/>
                  </a:lnTo>
                  <a:lnTo>
                    <a:pt x="1584643" y="977735"/>
                  </a:lnTo>
                  <a:lnTo>
                    <a:pt x="1586927" y="976980"/>
                  </a:lnTo>
                  <a:close/>
                  <a:moveTo>
                    <a:pt x="1619473" y="968460"/>
                  </a:moveTo>
                  <a:lnTo>
                    <a:pt x="1628856" y="972820"/>
                  </a:lnTo>
                  <a:lnTo>
                    <a:pt x="1631676" y="975632"/>
                  </a:lnTo>
                  <a:lnTo>
                    <a:pt x="1631039" y="980026"/>
                  </a:lnTo>
                  <a:lnTo>
                    <a:pt x="1628361" y="980423"/>
                  </a:lnTo>
                  <a:lnTo>
                    <a:pt x="1624844" y="979529"/>
                  </a:lnTo>
                  <a:lnTo>
                    <a:pt x="1621412" y="977790"/>
                  </a:lnTo>
                  <a:lnTo>
                    <a:pt x="1613614" y="972228"/>
                  </a:lnTo>
                  <a:close/>
                  <a:moveTo>
                    <a:pt x="1607212" y="954123"/>
                  </a:moveTo>
                  <a:lnTo>
                    <a:pt x="1608426" y="954397"/>
                  </a:lnTo>
                  <a:lnTo>
                    <a:pt x="1608573" y="954736"/>
                  </a:lnTo>
                  <a:lnTo>
                    <a:pt x="1606583" y="955957"/>
                  </a:lnTo>
                  <a:lnTo>
                    <a:pt x="1604758" y="957825"/>
                  </a:lnTo>
                  <a:lnTo>
                    <a:pt x="1599313" y="957166"/>
                  </a:lnTo>
                  <a:lnTo>
                    <a:pt x="1598574" y="956599"/>
                  </a:lnTo>
                  <a:lnTo>
                    <a:pt x="1598370" y="955916"/>
                  </a:lnTo>
                  <a:lnTo>
                    <a:pt x="1599248" y="955030"/>
                  </a:lnTo>
                  <a:lnTo>
                    <a:pt x="1604840" y="954186"/>
                  </a:lnTo>
                  <a:close/>
                  <a:moveTo>
                    <a:pt x="1405947" y="876655"/>
                  </a:moveTo>
                  <a:lnTo>
                    <a:pt x="1406750" y="876827"/>
                  </a:lnTo>
                  <a:lnTo>
                    <a:pt x="1407448" y="877449"/>
                  </a:lnTo>
                  <a:lnTo>
                    <a:pt x="1408794" y="879715"/>
                  </a:lnTo>
                  <a:lnTo>
                    <a:pt x="1413898" y="881806"/>
                  </a:lnTo>
                  <a:lnTo>
                    <a:pt x="1415544" y="883837"/>
                  </a:lnTo>
                  <a:lnTo>
                    <a:pt x="1416707" y="886089"/>
                  </a:lnTo>
                  <a:lnTo>
                    <a:pt x="1417341" y="889014"/>
                  </a:lnTo>
                  <a:lnTo>
                    <a:pt x="1416708" y="890290"/>
                  </a:lnTo>
                  <a:lnTo>
                    <a:pt x="1414273" y="892218"/>
                  </a:lnTo>
                  <a:lnTo>
                    <a:pt x="1413856" y="893030"/>
                  </a:lnTo>
                  <a:lnTo>
                    <a:pt x="1413928" y="893692"/>
                  </a:lnTo>
                  <a:lnTo>
                    <a:pt x="1418591" y="896720"/>
                  </a:lnTo>
                  <a:lnTo>
                    <a:pt x="1422050" y="904027"/>
                  </a:lnTo>
                  <a:lnTo>
                    <a:pt x="1422925" y="904528"/>
                  </a:lnTo>
                  <a:lnTo>
                    <a:pt x="1424016" y="904242"/>
                  </a:lnTo>
                  <a:lnTo>
                    <a:pt x="1425812" y="902198"/>
                  </a:lnTo>
                  <a:lnTo>
                    <a:pt x="1429838" y="896309"/>
                  </a:lnTo>
                  <a:lnTo>
                    <a:pt x="1430968" y="895755"/>
                  </a:lnTo>
                  <a:lnTo>
                    <a:pt x="1432662" y="895845"/>
                  </a:lnTo>
                  <a:lnTo>
                    <a:pt x="1438614" y="899631"/>
                  </a:lnTo>
                  <a:lnTo>
                    <a:pt x="1440805" y="901741"/>
                  </a:lnTo>
                  <a:lnTo>
                    <a:pt x="1441984" y="904674"/>
                  </a:lnTo>
                  <a:lnTo>
                    <a:pt x="1443217" y="905817"/>
                  </a:lnTo>
                  <a:lnTo>
                    <a:pt x="1447902" y="907329"/>
                  </a:lnTo>
                  <a:lnTo>
                    <a:pt x="1452403" y="907834"/>
                  </a:lnTo>
                  <a:lnTo>
                    <a:pt x="1458281" y="909371"/>
                  </a:lnTo>
                  <a:lnTo>
                    <a:pt x="1460401" y="910522"/>
                  </a:lnTo>
                  <a:lnTo>
                    <a:pt x="1465089" y="916124"/>
                  </a:lnTo>
                  <a:lnTo>
                    <a:pt x="1465629" y="916466"/>
                  </a:lnTo>
                  <a:lnTo>
                    <a:pt x="1470964" y="918752"/>
                  </a:lnTo>
                  <a:lnTo>
                    <a:pt x="1479152" y="923836"/>
                  </a:lnTo>
                  <a:lnTo>
                    <a:pt x="1481228" y="924590"/>
                  </a:lnTo>
                  <a:lnTo>
                    <a:pt x="1489192" y="926262"/>
                  </a:lnTo>
                  <a:lnTo>
                    <a:pt x="1492052" y="927510"/>
                  </a:lnTo>
                  <a:lnTo>
                    <a:pt x="1494813" y="929409"/>
                  </a:lnTo>
                  <a:lnTo>
                    <a:pt x="1497884" y="932880"/>
                  </a:lnTo>
                  <a:lnTo>
                    <a:pt x="1501477" y="938327"/>
                  </a:lnTo>
                  <a:lnTo>
                    <a:pt x="1504293" y="947007"/>
                  </a:lnTo>
                  <a:lnTo>
                    <a:pt x="1504515" y="948718"/>
                  </a:lnTo>
                  <a:lnTo>
                    <a:pt x="1504173" y="949731"/>
                  </a:lnTo>
                  <a:lnTo>
                    <a:pt x="1503157" y="950812"/>
                  </a:lnTo>
                  <a:lnTo>
                    <a:pt x="1498550" y="954364"/>
                  </a:lnTo>
                  <a:lnTo>
                    <a:pt x="1498944" y="954965"/>
                  </a:lnTo>
                  <a:lnTo>
                    <a:pt x="1503279" y="954743"/>
                  </a:lnTo>
                  <a:lnTo>
                    <a:pt x="1512927" y="952560"/>
                  </a:lnTo>
                  <a:lnTo>
                    <a:pt x="1518799" y="954126"/>
                  </a:lnTo>
                  <a:lnTo>
                    <a:pt x="1520840" y="954372"/>
                  </a:lnTo>
                  <a:lnTo>
                    <a:pt x="1521310" y="954281"/>
                  </a:lnTo>
                  <a:lnTo>
                    <a:pt x="1523437" y="951559"/>
                  </a:lnTo>
                  <a:lnTo>
                    <a:pt x="1525774" y="951987"/>
                  </a:lnTo>
                  <a:lnTo>
                    <a:pt x="1529189" y="954626"/>
                  </a:lnTo>
                  <a:lnTo>
                    <a:pt x="1531389" y="956759"/>
                  </a:lnTo>
                  <a:lnTo>
                    <a:pt x="1532370" y="958382"/>
                  </a:lnTo>
                  <a:lnTo>
                    <a:pt x="1532108" y="959299"/>
                  </a:lnTo>
                  <a:lnTo>
                    <a:pt x="1529850" y="959612"/>
                  </a:lnTo>
                  <a:lnTo>
                    <a:pt x="1535369" y="961168"/>
                  </a:lnTo>
                  <a:lnTo>
                    <a:pt x="1540168" y="963629"/>
                  </a:lnTo>
                  <a:lnTo>
                    <a:pt x="1539135" y="965231"/>
                  </a:lnTo>
                  <a:lnTo>
                    <a:pt x="1534014" y="968793"/>
                  </a:lnTo>
                  <a:lnTo>
                    <a:pt x="1528746" y="971905"/>
                  </a:lnTo>
                  <a:lnTo>
                    <a:pt x="1522616" y="976566"/>
                  </a:lnTo>
                  <a:lnTo>
                    <a:pt x="1521086" y="977276"/>
                  </a:lnTo>
                  <a:lnTo>
                    <a:pt x="1520261" y="977316"/>
                  </a:lnTo>
                  <a:lnTo>
                    <a:pt x="1516882" y="976448"/>
                  </a:lnTo>
                  <a:lnTo>
                    <a:pt x="1512012" y="974247"/>
                  </a:lnTo>
                  <a:lnTo>
                    <a:pt x="1497011" y="969168"/>
                  </a:lnTo>
                  <a:lnTo>
                    <a:pt x="1492380" y="968093"/>
                  </a:lnTo>
                  <a:lnTo>
                    <a:pt x="1486494" y="967464"/>
                  </a:lnTo>
                  <a:lnTo>
                    <a:pt x="1485642" y="966267"/>
                  </a:lnTo>
                  <a:lnTo>
                    <a:pt x="1484238" y="958582"/>
                  </a:lnTo>
                  <a:lnTo>
                    <a:pt x="1481590" y="957219"/>
                  </a:lnTo>
                  <a:lnTo>
                    <a:pt x="1472508" y="955611"/>
                  </a:lnTo>
                  <a:lnTo>
                    <a:pt x="1469865" y="954688"/>
                  </a:lnTo>
                  <a:lnTo>
                    <a:pt x="1469745" y="953141"/>
                  </a:lnTo>
                  <a:lnTo>
                    <a:pt x="1470315" y="950483"/>
                  </a:lnTo>
                  <a:lnTo>
                    <a:pt x="1469073" y="949184"/>
                  </a:lnTo>
                  <a:lnTo>
                    <a:pt x="1466020" y="949246"/>
                  </a:lnTo>
                  <a:lnTo>
                    <a:pt x="1463018" y="949802"/>
                  </a:lnTo>
                  <a:lnTo>
                    <a:pt x="1458190" y="951610"/>
                  </a:lnTo>
                  <a:lnTo>
                    <a:pt x="1455927" y="953277"/>
                  </a:lnTo>
                  <a:lnTo>
                    <a:pt x="1455078" y="955085"/>
                  </a:lnTo>
                  <a:lnTo>
                    <a:pt x="1454548" y="958952"/>
                  </a:lnTo>
                  <a:lnTo>
                    <a:pt x="1453949" y="960778"/>
                  </a:lnTo>
                  <a:lnTo>
                    <a:pt x="1452258" y="963168"/>
                  </a:lnTo>
                  <a:lnTo>
                    <a:pt x="1444808" y="969352"/>
                  </a:lnTo>
                  <a:lnTo>
                    <a:pt x="1441779" y="971208"/>
                  </a:lnTo>
                  <a:lnTo>
                    <a:pt x="1438765" y="971740"/>
                  </a:lnTo>
                  <a:lnTo>
                    <a:pt x="1437569" y="972330"/>
                  </a:lnTo>
                  <a:lnTo>
                    <a:pt x="1435543" y="974607"/>
                  </a:lnTo>
                  <a:lnTo>
                    <a:pt x="1432533" y="980182"/>
                  </a:lnTo>
                  <a:lnTo>
                    <a:pt x="1431307" y="981785"/>
                  </a:lnTo>
                  <a:lnTo>
                    <a:pt x="1429321" y="983416"/>
                  </a:lnTo>
                  <a:lnTo>
                    <a:pt x="1425196" y="985905"/>
                  </a:lnTo>
                  <a:lnTo>
                    <a:pt x="1420987" y="987890"/>
                  </a:lnTo>
                  <a:lnTo>
                    <a:pt x="1413974" y="990201"/>
                  </a:lnTo>
                  <a:lnTo>
                    <a:pt x="1410057" y="990983"/>
                  </a:lnTo>
                  <a:lnTo>
                    <a:pt x="1407448" y="990209"/>
                  </a:lnTo>
                  <a:lnTo>
                    <a:pt x="1405657" y="984948"/>
                  </a:lnTo>
                  <a:lnTo>
                    <a:pt x="1401904" y="969429"/>
                  </a:lnTo>
                  <a:lnTo>
                    <a:pt x="1401281" y="968375"/>
                  </a:lnTo>
                  <a:lnTo>
                    <a:pt x="1400514" y="967723"/>
                  </a:lnTo>
                  <a:lnTo>
                    <a:pt x="1399608" y="967474"/>
                  </a:lnTo>
                  <a:lnTo>
                    <a:pt x="1387010" y="969476"/>
                  </a:lnTo>
                  <a:lnTo>
                    <a:pt x="1380059" y="969254"/>
                  </a:lnTo>
                  <a:lnTo>
                    <a:pt x="1373182" y="972752"/>
                  </a:lnTo>
                  <a:lnTo>
                    <a:pt x="1371449" y="973005"/>
                  </a:lnTo>
                  <a:lnTo>
                    <a:pt x="1367957" y="972893"/>
                  </a:lnTo>
                  <a:lnTo>
                    <a:pt x="1365448" y="972336"/>
                  </a:lnTo>
                  <a:lnTo>
                    <a:pt x="1364807" y="971955"/>
                  </a:lnTo>
                  <a:lnTo>
                    <a:pt x="1364384" y="970441"/>
                  </a:lnTo>
                  <a:lnTo>
                    <a:pt x="1364509" y="968854"/>
                  </a:lnTo>
                  <a:lnTo>
                    <a:pt x="1365384" y="967137"/>
                  </a:lnTo>
                  <a:lnTo>
                    <a:pt x="1368490" y="962481"/>
                  </a:lnTo>
                  <a:lnTo>
                    <a:pt x="1371023" y="959604"/>
                  </a:lnTo>
                  <a:lnTo>
                    <a:pt x="1372189" y="958713"/>
                  </a:lnTo>
                  <a:lnTo>
                    <a:pt x="1383962" y="953541"/>
                  </a:lnTo>
                  <a:lnTo>
                    <a:pt x="1386831" y="951836"/>
                  </a:lnTo>
                  <a:lnTo>
                    <a:pt x="1388264" y="950084"/>
                  </a:lnTo>
                  <a:lnTo>
                    <a:pt x="1388261" y="948283"/>
                  </a:lnTo>
                  <a:lnTo>
                    <a:pt x="1387704" y="945977"/>
                  </a:lnTo>
                  <a:lnTo>
                    <a:pt x="1385667" y="940343"/>
                  </a:lnTo>
                  <a:lnTo>
                    <a:pt x="1385150" y="935186"/>
                  </a:lnTo>
                  <a:lnTo>
                    <a:pt x="1385166" y="932618"/>
                  </a:lnTo>
                  <a:lnTo>
                    <a:pt x="1385937" y="928670"/>
                  </a:lnTo>
                  <a:lnTo>
                    <a:pt x="1388884" y="919071"/>
                  </a:lnTo>
                  <a:lnTo>
                    <a:pt x="1389882" y="914381"/>
                  </a:lnTo>
                  <a:lnTo>
                    <a:pt x="1391760" y="897555"/>
                  </a:lnTo>
                  <a:lnTo>
                    <a:pt x="1392764" y="892713"/>
                  </a:lnTo>
                  <a:lnTo>
                    <a:pt x="1394223" y="888283"/>
                  </a:lnTo>
                  <a:lnTo>
                    <a:pt x="1395628" y="885617"/>
                  </a:lnTo>
                  <a:lnTo>
                    <a:pt x="1399373" y="880283"/>
                  </a:lnTo>
                  <a:lnTo>
                    <a:pt x="1402287" y="878141"/>
                  </a:lnTo>
                  <a:close/>
                  <a:moveTo>
                    <a:pt x="1419215" y="872177"/>
                  </a:moveTo>
                  <a:lnTo>
                    <a:pt x="1421570" y="872888"/>
                  </a:lnTo>
                  <a:lnTo>
                    <a:pt x="1422044" y="873371"/>
                  </a:lnTo>
                  <a:lnTo>
                    <a:pt x="1422815" y="874417"/>
                  </a:lnTo>
                  <a:lnTo>
                    <a:pt x="1423321" y="875698"/>
                  </a:lnTo>
                  <a:lnTo>
                    <a:pt x="1426165" y="879155"/>
                  </a:lnTo>
                  <a:lnTo>
                    <a:pt x="1427829" y="881904"/>
                  </a:lnTo>
                  <a:lnTo>
                    <a:pt x="1430088" y="887571"/>
                  </a:lnTo>
                  <a:lnTo>
                    <a:pt x="1430098" y="888649"/>
                  </a:lnTo>
                  <a:lnTo>
                    <a:pt x="1429489" y="889792"/>
                  </a:lnTo>
                  <a:lnTo>
                    <a:pt x="1428259" y="891002"/>
                  </a:lnTo>
                  <a:lnTo>
                    <a:pt x="1426934" y="891471"/>
                  </a:lnTo>
                  <a:lnTo>
                    <a:pt x="1425517" y="891206"/>
                  </a:lnTo>
                  <a:lnTo>
                    <a:pt x="1424316" y="890003"/>
                  </a:lnTo>
                  <a:lnTo>
                    <a:pt x="1423336" y="887855"/>
                  </a:lnTo>
                  <a:lnTo>
                    <a:pt x="1421758" y="886245"/>
                  </a:lnTo>
                  <a:lnTo>
                    <a:pt x="1418187" y="884235"/>
                  </a:lnTo>
                  <a:lnTo>
                    <a:pt x="1417569" y="883448"/>
                  </a:lnTo>
                  <a:lnTo>
                    <a:pt x="1416556" y="880748"/>
                  </a:lnTo>
                  <a:lnTo>
                    <a:pt x="1416359" y="878050"/>
                  </a:lnTo>
                  <a:lnTo>
                    <a:pt x="1415595" y="875604"/>
                  </a:lnTo>
                  <a:lnTo>
                    <a:pt x="1415557" y="874403"/>
                  </a:lnTo>
                  <a:lnTo>
                    <a:pt x="1416218" y="872600"/>
                  </a:lnTo>
                  <a:close/>
                  <a:moveTo>
                    <a:pt x="1435044" y="867745"/>
                  </a:moveTo>
                  <a:lnTo>
                    <a:pt x="1442268" y="869979"/>
                  </a:lnTo>
                  <a:lnTo>
                    <a:pt x="1446626" y="872092"/>
                  </a:lnTo>
                  <a:lnTo>
                    <a:pt x="1450771" y="874681"/>
                  </a:lnTo>
                  <a:lnTo>
                    <a:pt x="1452940" y="876593"/>
                  </a:lnTo>
                  <a:lnTo>
                    <a:pt x="1453136" y="877839"/>
                  </a:lnTo>
                  <a:lnTo>
                    <a:pt x="1452597" y="879079"/>
                  </a:lnTo>
                  <a:lnTo>
                    <a:pt x="1451323" y="880317"/>
                  </a:lnTo>
                  <a:lnTo>
                    <a:pt x="1452316" y="881755"/>
                  </a:lnTo>
                  <a:lnTo>
                    <a:pt x="1455574" y="883396"/>
                  </a:lnTo>
                  <a:lnTo>
                    <a:pt x="1458822" y="884325"/>
                  </a:lnTo>
                  <a:lnTo>
                    <a:pt x="1464051" y="884822"/>
                  </a:lnTo>
                  <a:lnTo>
                    <a:pt x="1464797" y="885166"/>
                  </a:lnTo>
                  <a:lnTo>
                    <a:pt x="1464793" y="885936"/>
                  </a:lnTo>
                  <a:lnTo>
                    <a:pt x="1464039" y="887135"/>
                  </a:lnTo>
                  <a:lnTo>
                    <a:pt x="1462295" y="888667"/>
                  </a:lnTo>
                  <a:lnTo>
                    <a:pt x="1461052" y="888712"/>
                  </a:lnTo>
                  <a:lnTo>
                    <a:pt x="1458162" y="887629"/>
                  </a:lnTo>
                  <a:lnTo>
                    <a:pt x="1457105" y="887078"/>
                  </a:lnTo>
                  <a:lnTo>
                    <a:pt x="1455937" y="885851"/>
                  </a:lnTo>
                  <a:lnTo>
                    <a:pt x="1455345" y="885736"/>
                  </a:lnTo>
                  <a:lnTo>
                    <a:pt x="1454588" y="886148"/>
                  </a:lnTo>
                  <a:lnTo>
                    <a:pt x="1454385" y="886689"/>
                  </a:lnTo>
                  <a:lnTo>
                    <a:pt x="1454734" y="887363"/>
                  </a:lnTo>
                  <a:lnTo>
                    <a:pt x="1454255" y="887555"/>
                  </a:lnTo>
                  <a:lnTo>
                    <a:pt x="1450756" y="887090"/>
                  </a:lnTo>
                  <a:lnTo>
                    <a:pt x="1450205" y="886697"/>
                  </a:lnTo>
                  <a:lnTo>
                    <a:pt x="1450485" y="885376"/>
                  </a:lnTo>
                  <a:lnTo>
                    <a:pt x="1452926" y="883448"/>
                  </a:lnTo>
                  <a:lnTo>
                    <a:pt x="1450781" y="882854"/>
                  </a:lnTo>
                  <a:lnTo>
                    <a:pt x="1450095" y="882141"/>
                  </a:lnTo>
                  <a:lnTo>
                    <a:pt x="1446915" y="883354"/>
                  </a:lnTo>
                  <a:lnTo>
                    <a:pt x="1445153" y="883643"/>
                  </a:lnTo>
                  <a:lnTo>
                    <a:pt x="1442370" y="882798"/>
                  </a:lnTo>
                  <a:lnTo>
                    <a:pt x="1442074" y="878380"/>
                  </a:lnTo>
                  <a:lnTo>
                    <a:pt x="1441737" y="876768"/>
                  </a:lnTo>
                  <a:lnTo>
                    <a:pt x="1440469" y="875671"/>
                  </a:lnTo>
                  <a:lnTo>
                    <a:pt x="1439715" y="874513"/>
                  </a:lnTo>
                  <a:lnTo>
                    <a:pt x="1438500" y="873639"/>
                  </a:lnTo>
                  <a:lnTo>
                    <a:pt x="1435984" y="872751"/>
                  </a:lnTo>
                  <a:lnTo>
                    <a:pt x="1433943" y="870543"/>
                  </a:lnTo>
                  <a:lnTo>
                    <a:pt x="1433517" y="869541"/>
                  </a:lnTo>
                  <a:lnTo>
                    <a:pt x="1433797" y="868786"/>
                  </a:lnTo>
                  <a:close/>
                  <a:moveTo>
                    <a:pt x="1465089" y="859091"/>
                  </a:moveTo>
                  <a:lnTo>
                    <a:pt x="1467593" y="861355"/>
                  </a:lnTo>
                  <a:lnTo>
                    <a:pt x="1470119" y="861867"/>
                  </a:lnTo>
                  <a:lnTo>
                    <a:pt x="1472039" y="861813"/>
                  </a:lnTo>
                  <a:lnTo>
                    <a:pt x="1472465" y="862428"/>
                  </a:lnTo>
                  <a:lnTo>
                    <a:pt x="1470449" y="864488"/>
                  </a:lnTo>
                  <a:lnTo>
                    <a:pt x="1469206" y="864874"/>
                  </a:lnTo>
                  <a:lnTo>
                    <a:pt x="1466974" y="863402"/>
                  </a:lnTo>
                  <a:lnTo>
                    <a:pt x="1465301" y="861598"/>
                  </a:lnTo>
                  <a:lnTo>
                    <a:pt x="1464827" y="860504"/>
                  </a:lnTo>
                  <a:lnTo>
                    <a:pt x="1464694" y="859299"/>
                  </a:lnTo>
                  <a:close/>
                  <a:moveTo>
                    <a:pt x="834464" y="830693"/>
                  </a:moveTo>
                  <a:lnTo>
                    <a:pt x="837665" y="831031"/>
                  </a:lnTo>
                  <a:lnTo>
                    <a:pt x="841746" y="830975"/>
                  </a:lnTo>
                  <a:lnTo>
                    <a:pt x="841040" y="834273"/>
                  </a:lnTo>
                  <a:lnTo>
                    <a:pt x="839473" y="836383"/>
                  </a:lnTo>
                  <a:lnTo>
                    <a:pt x="838237" y="836982"/>
                  </a:lnTo>
                  <a:lnTo>
                    <a:pt x="837699" y="835829"/>
                  </a:lnTo>
                  <a:lnTo>
                    <a:pt x="835301" y="833184"/>
                  </a:lnTo>
                  <a:close/>
                  <a:moveTo>
                    <a:pt x="1991298" y="822780"/>
                  </a:moveTo>
                  <a:lnTo>
                    <a:pt x="1992641" y="822847"/>
                  </a:lnTo>
                  <a:lnTo>
                    <a:pt x="1993159" y="823282"/>
                  </a:lnTo>
                  <a:lnTo>
                    <a:pt x="1990921" y="825172"/>
                  </a:lnTo>
                  <a:lnTo>
                    <a:pt x="1985928" y="828508"/>
                  </a:lnTo>
                  <a:lnTo>
                    <a:pt x="1982787" y="829683"/>
                  </a:lnTo>
                  <a:lnTo>
                    <a:pt x="1981108" y="828238"/>
                  </a:lnTo>
                  <a:lnTo>
                    <a:pt x="1982288" y="827831"/>
                  </a:lnTo>
                  <a:lnTo>
                    <a:pt x="1984015" y="826101"/>
                  </a:lnTo>
                  <a:lnTo>
                    <a:pt x="1986363" y="824572"/>
                  </a:lnTo>
                  <a:lnTo>
                    <a:pt x="1987354" y="823341"/>
                  </a:lnTo>
                  <a:close/>
                  <a:moveTo>
                    <a:pt x="835573" y="802324"/>
                  </a:moveTo>
                  <a:lnTo>
                    <a:pt x="837046" y="804175"/>
                  </a:lnTo>
                  <a:lnTo>
                    <a:pt x="837451" y="807318"/>
                  </a:lnTo>
                  <a:lnTo>
                    <a:pt x="837085" y="808863"/>
                  </a:lnTo>
                  <a:lnTo>
                    <a:pt x="838545" y="810463"/>
                  </a:lnTo>
                  <a:lnTo>
                    <a:pt x="839220" y="810870"/>
                  </a:lnTo>
                  <a:lnTo>
                    <a:pt x="839580" y="812156"/>
                  </a:lnTo>
                  <a:lnTo>
                    <a:pt x="839354" y="813681"/>
                  </a:lnTo>
                  <a:lnTo>
                    <a:pt x="838076" y="817277"/>
                  </a:lnTo>
                  <a:lnTo>
                    <a:pt x="837588" y="816941"/>
                  </a:lnTo>
                  <a:lnTo>
                    <a:pt x="836715" y="815226"/>
                  </a:lnTo>
                  <a:lnTo>
                    <a:pt x="834955" y="814402"/>
                  </a:lnTo>
                  <a:lnTo>
                    <a:pt x="832955" y="812491"/>
                  </a:lnTo>
                  <a:lnTo>
                    <a:pt x="832982" y="808379"/>
                  </a:lnTo>
                  <a:lnTo>
                    <a:pt x="833751" y="806506"/>
                  </a:lnTo>
                  <a:lnTo>
                    <a:pt x="833581" y="803896"/>
                  </a:lnTo>
                  <a:close/>
                  <a:moveTo>
                    <a:pt x="807239" y="788542"/>
                  </a:moveTo>
                  <a:lnTo>
                    <a:pt x="810092" y="788998"/>
                  </a:lnTo>
                  <a:lnTo>
                    <a:pt x="812206" y="788657"/>
                  </a:lnTo>
                  <a:lnTo>
                    <a:pt x="813750" y="790411"/>
                  </a:lnTo>
                  <a:lnTo>
                    <a:pt x="814349" y="792189"/>
                  </a:lnTo>
                  <a:lnTo>
                    <a:pt x="814150" y="792801"/>
                  </a:lnTo>
                  <a:lnTo>
                    <a:pt x="813483" y="793046"/>
                  </a:lnTo>
                  <a:lnTo>
                    <a:pt x="809018" y="791081"/>
                  </a:lnTo>
                  <a:lnTo>
                    <a:pt x="807362" y="789877"/>
                  </a:lnTo>
                  <a:lnTo>
                    <a:pt x="806803" y="788863"/>
                  </a:lnTo>
                  <a:close/>
                  <a:moveTo>
                    <a:pt x="1689312" y="783700"/>
                  </a:moveTo>
                  <a:lnTo>
                    <a:pt x="1696108" y="785134"/>
                  </a:lnTo>
                  <a:lnTo>
                    <a:pt x="1701956" y="786819"/>
                  </a:lnTo>
                  <a:lnTo>
                    <a:pt x="1709479" y="787107"/>
                  </a:lnTo>
                  <a:lnTo>
                    <a:pt x="1711768" y="787747"/>
                  </a:lnTo>
                  <a:lnTo>
                    <a:pt x="1712643" y="788215"/>
                  </a:lnTo>
                  <a:lnTo>
                    <a:pt x="1713252" y="789081"/>
                  </a:lnTo>
                  <a:lnTo>
                    <a:pt x="1714105" y="793052"/>
                  </a:lnTo>
                  <a:lnTo>
                    <a:pt x="1714191" y="795171"/>
                  </a:lnTo>
                  <a:lnTo>
                    <a:pt x="1713963" y="796770"/>
                  </a:lnTo>
                  <a:lnTo>
                    <a:pt x="1708523" y="797171"/>
                  </a:lnTo>
                  <a:lnTo>
                    <a:pt x="1696166" y="797228"/>
                  </a:lnTo>
                  <a:lnTo>
                    <a:pt x="1689446" y="796921"/>
                  </a:lnTo>
                  <a:lnTo>
                    <a:pt x="1686742" y="796258"/>
                  </a:lnTo>
                  <a:lnTo>
                    <a:pt x="1684393" y="795226"/>
                  </a:lnTo>
                  <a:lnTo>
                    <a:pt x="1681724" y="791884"/>
                  </a:lnTo>
                  <a:lnTo>
                    <a:pt x="1680016" y="788436"/>
                  </a:lnTo>
                  <a:lnTo>
                    <a:pt x="1679933" y="786971"/>
                  </a:lnTo>
                  <a:lnTo>
                    <a:pt x="1680385" y="785648"/>
                  </a:lnTo>
                  <a:lnTo>
                    <a:pt x="1681017" y="784850"/>
                  </a:lnTo>
                  <a:close/>
                  <a:moveTo>
                    <a:pt x="799562" y="783501"/>
                  </a:moveTo>
                  <a:lnTo>
                    <a:pt x="802793" y="785776"/>
                  </a:lnTo>
                  <a:lnTo>
                    <a:pt x="803254" y="787194"/>
                  </a:lnTo>
                  <a:lnTo>
                    <a:pt x="803265" y="788172"/>
                  </a:lnTo>
                  <a:lnTo>
                    <a:pt x="802308" y="788314"/>
                  </a:lnTo>
                  <a:lnTo>
                    <a:pt x="798832" y="785725"/>
                  </a:lnTo>
                  <a:close/>
                  <a:moveTo>
                    <a:pt x="1376852" y="774423"/>
                  </a:moveTo>
                  <a:lnTo>
                    <a:pt x="1380204" y="775207"/>
                  </a:lnTo>
                  <a:lnTo>
                    <a:pt x="1383196" y="777931"/>
                  </a:lnTo>
                  <a:lnTo>
                    <a:pt x="1383977" y="779769"/>
                  </a:lnTo>
                  <a:lnTo>
                    <a:pt x="1383744" y="781724"/>
                  </a:lnTo>
                  <a:lnTo>
                    <a:pt x="1384005" y="784552"/>
                  </a:lnTo>
                  <a:lnTo>
                    <a:pt x="1384757" y="788257"/>
                  </a:lnTo>
                  <a:lnTo>
                    <a:pt x="1384958" y="790939"/>
                  </a:lnTo>
                  <a:lnTo>
                    <a:pt x="1384603" y="792606"/>
                  </a:lnTo>
                  <a:lnTo>
                    <a:pt x="1383323" y="795731"/>
                  </a:lnTo>
                  <a:lnTo>
                    <a:pt x="1382239" y="797181"/>
                  </a:lnTo>
                  <a:lnTo>
                    <a:pt x="1380809" y="798543"/>
                  </a:lnTo>
                  <a:lnTo>
                    <a:pt x="1379555" y="799247"/>
                  </a:lnTo>
                  <a:lnTo>
                    <a:pt x="1378474" y="799294"/>
                  </a:lnTo>
                  <a:lnTo>
                    <a:pt x="1376755" y="798631"/>
                  </a:lnTo>
                  <a:lnTo>
                    <a:pt x="1372821" y="796013"/>
                  </a:lnTo>
                  <a:lnTo>
                    <a:pt x="1372025" y="794881"/>
                  </a:lnTo>
                  <a:lnTo>
                    <a:pt x="1371624" y="793558"/>
                  </a:lnTo>
                  <a:lnTo>
                    <a:pt x="1371621" y="792041"/>
                  </a:lnTo>
                  <a:lnTo>
                    <a:pt x="1371973" y="790470"/>
                  </a:lnTo>
                  <a:lnTo>
                    <a:pt x="1373177" y="787328"/>
                  </a:lnTo>
                  <a:lnTo>
                    <a:pt x="1370878" y="784828"/>
                  </a:lnTo>
                  <a:lnTo>
                    <a:pt x="1370318" y="783404"/>
                  </a:lnTo>
                  <a:lnTo>
                    <a:pt x="1370588" y="782598"/>
                  </a:lnTo>
                  <a:lnTo>
                    <a:pt x="1371869" y="780668"/>
                  </a:lnTo>
                  <a:lnTo>
                    <a:pt x="1372218" y="779461"/>
                  </a:lnTo>
                  <a:lnTo>
                    <a:pt x="1373508" y="777747"/>
                  </a:lnTo>
                  <a:close/>
                  <a:moveTo>
                    <a:pt x="1651604" y="773055"/>
                  </a:moveTo>
                  <a:lnTo>
                    <a:pt x="1656439" y="773682"/>
                  </a:lnTo>
                  <a:lnTo>
                    <a:pt x="1669676" y="777557"/>
                  </a:lnTo>
                  <a:lnTo>
                    <a:pt x="1670961" y="778963"/>
                  </a:lnTo>
                  <a:lnTo>
                    <a:pt x="1671595" y="780220"/>
                  </a:lnTo>
                  <a:lnTo>
                    <a:pt x="1671966" y="781615"/>
                  </a:lnTo>
                  <a:lnTo>
                    <a:pt x="1671995" y="784488"/>
                  </a:lnTo>
                  <a:lnTo>
                    <a:pt x="1671729" y="785638"/>
                  </a:lnTo>
                  <a:lnTo>
                    <a:pt x="1670436" y="788417"/>
                  </a:lnTo>
                  <a:lnTo>
                    <a:pt x="1670347" y="789289"/>
                  </a:lnTo>
                  <a:lnTo>
                    <a:pt x="1671386" y="798577"/>
                  </a:lnTo>
                  <a:lnTo>
                    <a:pt x="1671281" y="803628"/>
                  </a:lnTo>
                  <a:lnTo>
                    <a:pt x="1670348" y="807839"/>
                  </a:lnTo>
                  <a:lnTo>
                    <a:pt x="1668455" y="811209"/>
                  </a:lnTo>
                  <a:lnTo>
                    <a:pt x="1665601" y="813740"/>
                  </a:lnTo>
                  <a:lnTo>
                    <a:pt x="1663431" y="815191"/>
                  </a:lnTo>
                  <a:lnTo>
                    <a:pt x="1653797" y="818767"/>
                  </a:lnTo>
                  <a:lnTo>
                    <a:pt x="1646978" y="819692"/>
                  </a:lnTo>
                  <a:lnTo>
                    <a:pt x="1639781" y="819860"/>
                  </a:lnTo>
                  <a:lnTo>
                    <a:pt x="1630624" y="820816"/>
                  </a:lnTo>
                  <a:lnTo>
                    <a:pt x="1626443" y="820616"/>
                  </a:lnTo>
                  <a:lnTo>
                    <a:pt x="1624279" y="820196"/>
                  </a:lnTo>
                  <a:lnTo>
                    <a:pt x="1622740" y="819480"/>
                  </a:lnTo>
                  <a:lnTo>
                    <a:pt x="1620938" y="817216"/>
                  </a:lnTo>
                  <a:lnTo>
                    <a:pt x="1618880" y="813399"/>
                  </a:lnTo>
                  <a:lnTo>
                    <a:pt x="1617177" y="809095"/>
                  </a:lnTo>
                  <a:lnTo>
                    <a:pt x="1615145" y="801449"/>
                  </a:lnTo>
                  <a:lnTo>
                    <a:pt x="1615106" y="800540"/>
                  </a:lnTo>
                  <a:lnTo>
                    <a:pt x="1617068" y="794295"/>
                  </a:lnTo>
                  <a:lnTo>
                    <a:pt x="1619671" y="790079"/>
                  </a:lnTo>
                  <a:lnTo>
                    <a:pt x="1624265" y="783809"/>
                  </a:lnTo>
                  <a:lnTo>
                    <a:pt x="1629451" y="777679"/>
                  </a:lnTo>
                  <a:lnTo>
                    <a:pt x="1630768" y="776666"/>
                  </a:lnTo>
                  <a:lnTo>
                    <a:pt x="1633112" y="775591"/>
                  </a:lnTo>
                  <a:lnTo>
                    <a:pt x="1638979" y="773850"/>
                  </a:lnTo>
                  <a:lnTo>
                    <a:pt x="1643839" y="774283"/>
                  </a:lnTo>
                  <a:lnTo>
                    <a:pt x="1645981" y="774063"/>
                  </a:lnTo>
                  <a:lnTo>
                    <a:pt x="1648657" y="773252"/>
                  </a:lnTo>
                  <a:close/>
                  <a:moveTo>
                    <a:pt x="1573353" y="772344"/>
                  </a:moveTo>
                  <a:lnTo>
                    <a:pt x="1575480" y="774218"/>
                  </a:lnTo>
                  <a:lnTo>
                    <a:pt x="1576498" y="776063"/>
                  </a:lnTo>
                  <a:lnTo>
                    <a:pt x="1572589" y="779360"/>
                  </a:lnTo>
                  <a:lnTo>
                    <a:pt x="1570526" y="779843"/>
                  </a:lnTo>
                  <a:lnTo>
                    <a:pt x="1567738" y="777517"/>
                  </a:lnTo>
                  <a:lnTo>
                    <a:pt x="1567719" y="776226"/>
                  </a:lnTo>
                  <a:lnTo>
                    <a:pt x="1568259" y="773124"/>
                  </a:lnTo>
                  <a:close/>
                  <a:moveTo>
                    <a:pt x="915235" y="762287"/>
                  </a:moveTo>
                  <a:lnTo>
                    <a:pt x="920480" y="762512"/>
                  </a:lnTo>
                  <a:lnTo>
                    <a:pt x="922976" y="763180"/>
                  </a:lnTo>
                  <a:lnTo>
                    <a:pt x="926269" y="765733"/>
                  </a:lnTo>
                  <a:lnTo>
                    <a:pt x="926968" y="767177"/>
                  </a:lnTo>
                  <a:lnTo>
                    <a:pt x="927072" y="768108"/>
                  </a:lnTo>
                  <a:lnTo>
                    <a:pt x="926648" y="768915"/>
                  </a:lnTo>
                  <a:lnTo>
                    <a:pt x="924530" y="770023"/>
                  </a:lnTo>
                  <a:lnTo>
                    <a:pt x="923128" y="770186"/>
                  </a:lnTo>
                  <a:lnTo>
                    <a:pt x="920504" y="769481"/>
                  </a:lnTo>
                  <a:lnTo>
                    <a:pt x="916658" y="767913"/>
                  </a:lnTo>
                  <a:lnTo>
                    <a:pt x="913765" y="766251"/>
                  </a:lnTo>
                  <a:lnTo>
                    <a:pt x="911825" y="764500"/>
                  </a:lnTo>
                  <a:lnTo>
                    <a:pt x="911582" y="763289"/>
                  </a:lnTo>
                  <a:lnTo>
                    <a:pt x="913036" y="762621"/>
                  </a:lnTo>
                  <a:close/>
                  <a:moveTo>
                    <a:pt x="1668511" y="757246"/>
                  </a:moveTo>
                  <a:lnTo>
                    <a:pt x="1671682" y="757748"/>
                  </a:lnTo>
                  <a:lnTo>
                    <a:pt x="1673992" y="759386"/>
                  </a:lnTo>
                  <a:lnTo>
                    <a:pt x="1676498" y="763924"/>
                  </a:lnTo>
                  <a:lnTo>
                    <a:pt x="1678167" y="766133"/>
                  </a:lnTo>
                  <a:lnTo>
                    <a:pt x="1678692" y="767736"/>
                  </a:lnTo>
                  <a:lnTo>
                    <a:pt x="1677862" y="768494"/>
                  </a:lnTo>
                  <a:lnTo>
                    <a:pt x="1677940" y="769238"/>
                  </a:lnTo>
                  <a:lnTo>
                    <a:pt x="1678321" y="769697"/>
                  </a:lnTo>
                  <a:lnTo>
                    <a:pt x="1678177" y="770542"/>
                  </a:lnTo>
                  <a:lnTo>
                    <a:pt x="1677508" y="771776"/>
                  </a:lnTo>
                  <a:lnTo>
                    <a:pt x="1676597" y="772534"/>
                  </a:lnTo>
                  <a:lnTo>
                    <a:pt x="1674607" y="772817"/>
                  </a:lnTo>
                  <a:lnTo>
                    <a:pt x="1671737" y="770100"/>
                  </a:lnTo>
                  <a:lnTo>
                    <a:pt x="1665711" y="767011"/>
                  </a:lnTo>
                  <a:lnTo>
                    <a:pt x="1663427" y="764766"/>
                  </a:lnTo>
                  <a:lnTo>
                    <a:pt x="1663346" y="763681"/>
                  </a:lnTo>
                  <a:lnTo>
                    <a:pt x="1663530" y="761977"/>
                  </a:lnTo>
                  <a:lnTo>
                    <a:pt x="1664190" y="759894"/>
                  </a:lnTo>
                  <a:lnTo>
                    <a:pt x="1666289" y="757614"/>
                  </a:lnTo>
                  <a:close/>
                  <a:moveTo>
                    <a:pt x="988614" y="751529"/>
                  </a:moveTo>
                  <a:lnTo>
                    <a:pt x="993305" y="752699"/>
                  </a:lnTo>
                  <a:lnTo>
                    <a:pt x="995056" y="753776"/>
                  </a:lnTo>
                  <a:lnTo>
                    <a:pt x="995725" y="754714"/>
                  </a:lnTo>
                  <a:lnTo>
                    <a:pt x="996012" y="756008"/>
                  </a:lnTo>
                  <a:lnTo>
                    <a:pt x="995748" y="759186"/>
                  </a:lnTo>
                  <a:lnTo>
                    <a:pt x="994169" y="759860"/>
                  </a:lnTo>
                  <a:lnTo>
                    <a:pt x="992860" y="762088"/>
                  </a:lnTo>
                  <a:lnTo>
                    <a:pt x="991813" y="762148"/>
                  </a:lnTo>
                  <a:lnTo>
                    <a:pt x="990357" y="761361"/>
                  </a:lnTo>
                  <a:lnTo>
                    <a:pt x="982199" y="758678"/>
                  </a:lnTo>
                  <a:lnTo>
                    <a:pt x="981140" y="757869"/>
                  </a:lnTo>
                  <a:lnTo>
                    <a:pt x="982094" y="756740"/>
                  </a:lnTo>
                  <a:lnTo>
                    <a:pt x="985065" y="755285"/>
                  </a:lnTo>
                  <a:lnTo>
                    <a:pt x="987067" y="753802"/>
                  </a:lnTo>
                  <a:close/>
                  <a:moveTo>
                    <a:pt x="1026473" y="742226"/>
                  </a:moveTo>
                  <a:lnTo>
                    <a:pt x="1029169" y="742536"/>
                  </a:lnTo>
                  <a:lnTo>
                    <a:pt x="1031299" y="743892"/>
                  </a:lnTo>
                  <a:lnTo>
                    <a:pt x="1032338" y="745664"/>
                  </a:lnTo>
                  <a:lnTo>
                    <a:pt x="1034419" y="747062"/>
                  </a:lnTo>
                  <a:lnTo>
                    <a:pt x="1035141" y="748049"/>
                  </a:lnTo>
                  <a:lnTo>
                    <a:pt x="1034157" y="752356"/>
                  </a:lnTo>
                  <a:lnTo>
                    <a:pt x="1033357" y="753755"/>
                  </a:lnTo>
                  <a:lnTo>
                    <a:pt x="1032364" y="754153"/>
                  </a:lnTo>
                  <a:lnTo>
                    <a:pt x="1030392" y="755800"/>
                  </a:lnTo>
                  <a:lnTo>
                    <a:pt x="1029592" y="756020"/>
                  </a:lnTo>
                  <a:lnTo>
                    <a:pt x="1028443" y="754972"/>
                  </a:lnTo>
                  <a:lnTo>
                    <a:pt x="1027477" y="753263"/>
                  </a:lnTo>
                  <a:lnTo>
                    <a:pt x="1027066" y="752995"/>
                  </a:lnTo>
                  <a:lnTo>
                    <a:pt x="1026454" y="753065"/>
                  </a:lnTo>
                  <a:lnTo>
                    <a:pt x="1025126" y="754153"/>
                  </a:lnTo>
                  <a:lnTo>
                    <a:pt x="1024539" y="754138"/>
                  </a:lnTo>
                  <a:lnTo>
                    <a:pt x="1024047" y="753408"/>
                  </a:lnTo>
                  <a:lnTo>
                    <a:pt x="1023808" y="751947"/>
                  </a:lnTo>
                  <a:lnTo>
                    <a:pt x="1023827" y="749761"/>
                  </a:lnTo>
                  <a:lnTo>
                    <a:pt x="1024454" y="746388"/>
                  </a:lnTo>
                  <a:lnTo>
                    <a:pt x="1024493" y="745156"/>
                  </a:lnTo>
                  <a:lnTo>
                    <a:pt x="1024159" y="744219"/>
                  </a:lnTo>
                  <a:lnTo>
                    <a:pt x="1024436" y="743365"/>
                  </a:lnTo>
                  <a:lnTo>
                    <a:pt x="1025327" y="742592"/>
                  </a:lnTo>
                  <a:close/>
                  <a:moveTo>
                    <a:pt x="1035784" y="738024"/>
                  </a:moveTo>
                  <a:lnTo>
                    <a:pt x="1037820" y="738827"/>
                  </a:lnTo>
                  <a:lnTo>
                    <a:pt x="1038770" y="739935"/>
                  </a:lnTo>
                  <a:lnTo>
                    <a:pt x="1039524" y="741690"/>
                  </a:lnTo>
                  <a:lnTo>
                    <a:pt x="1039802" y="743183"/>
                  </a:lnTo>
                  <a:lnTo>
                    <a:pt x="1039209" y="745828"/>
                  </a:lnTo>
                  <a:lnTo>
                    <a:pt x="1036083" y="745120"/>
                  </a:lnTo>
                  <a:lnTo>
                    <a:pt x="1034704" y="744165"/>
                  </a:lnTo>
                  <a:lnTo>
                    <a:pt x="1033530" y="741990"/>
                  </a:lnTo>
                  <a:lnTo>
                    <a:pt x="1033394" y="741438"/>
                  </a:lnTo>
                  <a:lnTo>
                    <a:pt x="1033655" y="740607"/>
                  </a:lnTo>
                  <a:lnTo>
                    <a:pt x="1034926" y="738713"/>
                  </a:lnTo>
                  <a:close/>
                  <a:moveTo>
                    <a:pt x="1276424" y="727098"/>
                  </a:moveTo>
                  <a:lnTo>
                    <a:pt x="1278024" y="727381"/>
                  </a:lnTo>
                  <a:lnTo>
                    <a:pt x="1279542" y="729315"/>
                  </a:lnTo>
                  <a:lnTo>
                    <a:pt x="1280283" y="730843"/>
                  </a:lnTo>
                  <a:lnTo>
                    <a:pt x="1280924" y="732800"/>
                  </a:lnTo>
                  <a:lnTo>
                    <a:pt x="1280741" y="733939"/>
                  </a:lnTo>
                  <a:lnTo>
                    <a:pt x="1278665" y="734460"/>
                  </a:lnTo>
                  <a:lnTo>
                    <a:pt x="1277363" y="732608"/>
                  </a:lnTo>
                  <a:lnTo>
                    <a:pt x="1276307" y="732226"/>
                  </a:lnTo>
                  <a:lnTo>
                    <a:pt x="1275839" y="730989"/>
                  </a:lnTo>
                  <a:lnTo>
                    <a:pt x="1273666" y="730747"/>
                  </a:lnTo>
                  <a:lnTo>
                    <a:pt x="1273815" y="728807"/>
                  </a:lnTo>
                  <a:lnTo>
                    <a:pt x="1274406" y="727852"/>
                  </a:lnTo>
                  <a:close/>
                  <a:moveTo>
                    <a:pt x="1585895" y="726411"/>
                  </a:moveTo>
                  <a:lnTo>
                    <a:pt x="1589074" y="726566"/>
                  </a:lnTo>
                  <a:lnTo>
                    <a:pt x="1589887" y="726894"/>
                  </a:lnTo>
                  <a:lnTo>
                    <a:pt x="1590598" y="727677"/>
                  </a:lnTo>
                  <a:lnTo>
                    <a:pt x="1591570" y="729763"/>
                  </a:lnTo>
                  <a:lnTo>
                    <a:pt x="1591701" y="730237"/>
                  </a:lnTo>
                  <a:lnTo>
                    <a:pt x="1590229" y="732082"/>
                  </a:lnTo>
                  <a:lnTo>
                    <a:pt x="1586376" y="734917"/>
                  </a:lnTo>
                  <a:lnTo>
                    <a:pt x="1583993" y="737286"/>
                  </a:lnTo>
                  <a:lnTo>
                    <a:pt x="1583516" y="738060"/>
                  </a:lnTo>
                  <a:lnTo>
                    <a:pt x="1583299" y="739059"/>
                  </a:lnTo>
                  <a:lnTo>
                    <a:pt x="1582402" y="740269"/>
                  </a:lnTo>
                  <a:lnTo>
                    <a:pt x="1579620" y="743177"/>
                  </a:lnTo>
                  <a:lnTo>
                    <a:pt x="1577749" y="745983"/>
                  </a:lnTo>
                  <a:lnTo>
                    <a:pt x="1575886" y="747528"/>
                  </a:lnTo>
                  <a:lnTo>
                    <a:pt x="1570791" y="748981"/>
                  </a:lnTo>
                  <a:lnTo>
                    <a:pt x="1566808" y="750640"/>
                  </a:lnTo>
                  <a:lnTo>
                    <a:pt x="1565057" y="750938"/>
                  </a:lnTo>
                  <a:lnTo>
                    <a:pt x="1562986" y="750099"/>
                  </a:lnTo>
                  <a:lnTo>
                    <a:pt x="1562249" y="748658"/>
                  </a:lnTo>
                  <a:lnTo>
                    <a:pt x="1561861" y="747201"/>
                  </a:lnTo>
                  <a:lnTo>
                    <a:pt x="1562232" y="746451"/>
                  </a:lnTo>
                  <a:lnTo>
                    <a:pt x="1563155" y="745742"/>
                  </a:lnTo>
                  <a:lnTo>
                    <a:pt x="1564410" y="744125"/>
                  </a:lnTo>
                  <a:lnTo>
                    <a:pt x="1565996" y="741593"/>
                  </a:lnTo>
                  <a:lnTo>
                    <a:pt x="1568474" y="739895"/>
                  </a:lnTo>
                  <a:lnTo>
                    <a:pt x="1573913" y="738317"/>
                  </a:lnTo>
                  <a:lnTo>
                    <a:pt x="1574685" y="737760"/>
                  </a:lnTo>
                  <a:lnTo>
                    <a:pt x="1577117" y="733314"/>
                  </a:lnTo>
                  <a:lnTo>
                    <a:pt x="1577936" y="732551"/>
                  </a:lnTo>
                  <a:lnTo>
                    <a:pt x="1580720" y="732098"/>
                  </a:lnTo>
                  <a:lnTo>
                    <a:pt x="1581019" y="731524"/>
                  </a:lnTo>
                  <a:lnTo>
                    <a:pt x="1580034" y="730426"/>
                  </a:lnTo>
                  <a:lnTo>
                    <a:pt x="1580034" y="729293"/>
                  </a:lnTo>
                  <a:lnTo>
                    <a:pt x="1581019" y="728124"/>
                  </a:lnTo>
                  <a:lnTo>
                    <a:pt x="1582376" y="727257"/>
                  </a:lnTo>
                  <a:close/>
                  <a:moveTo>
                    <a:pt x="1287435" y="724326"/>
                  </a:moveTo>
                  <a:lnTo>
                    <a:pt x="1288164" y="725085"/>
                  </a:lnTo>
                  <a:lnTo>
                    <a:pt x="1288733" y="727862"/>
                  </a:lnTo>
                  <a:lnTo>
                    <a:pt x="1286453" y="731626"/>
                  </a:lnTo>
                  <a:lnTo>
                    <a:pt x="1285739" y="732300"/>
                  </a:lnTo>
                  <a:lnTo>
                    <a:pt x="1284856" y="732550"/>
                  </a:lnTo>
                  <a:lnTo>
                    <a:pt x="1283999" y="732086"/>
                  </a:lnTo>
                  <a:lnTo>
                    <a:pt x="1281447" y="729131"/>
                  </a:lnTo>
                  <a:lnTo>
                    <a:pt x="1280754" y="727289"/>
                  </a:lnTo>
                  <a:lnTo>
                    <a:pt x="1281690" y="726367"/>
                  </a:lnTo>
                  <a:lnTo>
                    <a:pt x="1283665" y="725214"/>
                  </a:lnTo>
                  <a:lnTo>
                    <a:pt x="1285065" y="724654"/>
                  </a:lnTo>
                  <a:lnTo>
                    <a:pt x="1286819" y="725138"/>
                  </a:lnTo>
                  <a:close/>
                  <a:moveTo>
                    <a:pt x="1618108" y="724145"/>
                  </a:moveTo>
                  <a:lnTo>
                    <a:pt x="1620095" y="724264"/>
                  </a:lnTo>
                  <a:lnTo>
                    <a:pt x="1623013" y="725413"/>
                  </a:lnTo>
                  <a:lnTo>
                    <a:pt x="1629311" y="725761"/>
                  </a:lnTo>
                  <a:lnTo>
                    <a:pt x="1630874" y="726818"/>
                  </a:lnTo>
                  <a:lnTo>
                    <a:pt x="1631260" y="727456"/>
                  </a:lnTo>
                  <a:lnTo>
                    <a:pt x="1631230" y="728242"/>
                  </a:lnTo>
                  <a:lnTo>
                    <a:pt x="1630788" y="729177"/>
                  </a:lnTo>
                  <a:lnTo>
                    <a:pt x="1627673" y="731902"/>
                  </a:lnTo>
                  <a:lnTo>
                    <a:pt x="1626177" y="733772"/>
                  </a:lnTo>
                  <a:lnTo>
                    <a:pt x="1625114" y="736010"/>
                  </a:lnTo>
                  <a:lnTo>
                    <a:pt x="1622981" y="737389"/>
                  </a:lnTo>
                  <a:lnTo>
                    <a:pt x="1619779" y="737907"/>
                  </a:lnTo>
                  <a:lnTo>
                    <a:pt x="1617410" y="737641"/>
                  </a:lnTo>
                  <a:lnTo>
                    <a:pt x="1615875" y="736591"/>
                  </a:lnTo>
                  <a:lnTo>
                    <a:pt x="1614701" y="735166"/>
                  </a:lnTo>
                  <a:lnTo>
                    <a:pt x="1613243" y="731576"/>
                  </a:lnTo>
                  <a:lnTo>
                    <a:pt x="1613784" y="729901"/>
                  </a:lnTo>
                  <a:lnTo>
                    <a:pt x="1613951" y="726896"/>
                  </a:lnTo>
                  <a:lnTo>
                    <a:pt x="1614219" y="725768"/>
                  </a:lnTo>
                  <a:lnTo>
                    <a:pt x="1614782" y="725210"/>
                  </a:lnTo>
                  <a:close/>
                  <a:moveTo>
                    <a:pt x="1006375" y="718040"/>
                  </a:moveTo>
                  <a:lnTo>
                    <a:pt x="1008100" y="718155"/>
                  </a:lnTo>
                  <a:lnTo>
                    <a:pt x="1011815" y="719627"/>
                  </a:lnTo>
                  <a:lnTo>
                    <a:pt x="1013520" y="721661"/>
                  </a:lnTo>
                  <a:lnTo>
                    <a:pt x="1014294" y="723166"/>
                  </a:lnTo>
                  <a:lnTo>
                    <a:pt x="1013062" y="723390"/>
                  </a:lnTo>
                  <a:lnTo>
                    <a:pt x="1012107" y="723998"/>
                  </a:lnTo>
                  <a:lnTo>
                    <a:pt x="1011091" y="725283"/>
                  </a:lnTo>
                  <a:lnTo>
                    <a:pt x="1009954" y="726072"/>
                  </a:lnTo>
                  <a:lnTo>
                    <a:pt x="1007881" y="726457"/>
                  </a:lnTo>
                  <a:lnTo>
                    <a:pt x="1007501" y="726363"/>
                  </a:lnTo>
                  <a:lnTo>
                    <a:pt x="1007678" y="725143"/>
                  </a:lnTo>
                  <a:lnTo>
                    <a:pt x="1007523" y="724529"/>
                  </a:lnTo>
                  <a:lnTo>
                    <a:pt x="1006968" y="724092"/>
                  </a:lnTo>
                  <a:lnTo>
                    <a:pt x="1008787" y="723120"/>
                  </a:lnTo>
                  <a:lnTo>
                    <a:pt x="1009053" y="722362"/>
                  </a:lnTo>
                  <a:lnTo>
                    <a:pt x="1008474" y="721780"/>
                  </a:lnTo>
                  <a:lnTo>
                    <a:pt x="1005981" y="720674"/>
                  </a:lnTo>
                  <a:lnTo>
                    <a:pt x="1005270" y="719675"/>
                  </a:lnTo>
                  <a:lnTo>
                    <a:pt x="1005400" y="718797"/>
                  </a:lnTo>
                  <a:close/>
                  <a:moveTo>
                    <a:pt x="1146220" y="715807"/>
                  </a:moveTo>
                  <a:lnTo>
                    <a:pt x="1148530" y="715870"/>
                  </a:lnTo>
                  <a:lnTo>
                    <a:pt x="1151171" y="716883"/>
                  </a:lnTo>
                  <a:lnTo>
                    <a:pt x="1153423" y="718150"/>
                  </a:lnTo>
                  <a:lnTo>
                    <a:pt x="1156790" y="721161"/>
                  </a:lnTo>
                  <a:lnTo>
                    <a:pt x="1156760" y="722620"/>
                  </a:lnTo>
                  <a:lnTo>
                    <a:pt x="1156321" y="725054"/>
                  </a:lnTo>
                  <a:lnTo>
                    <a:pt x="1155355" y="726905"/>
                  </a:lnTo>
                  <a:lnTo>
                    <a:pt x="1153865" y="728175"/>
                  </a:lnTo>
                  <a:lnTo>
                    <a:pt x="1151778" y="728812"/>
                  </a:lnTo>
                  <a:lnTo>
                    <a:pt x="1149095" y="728819"/>
                  </a:lnTo>
                  <a:lnTo>
                    <a:pt x="1147934" y="728288"/>
                  </a:lnTo>
                  <a:lnTo>
                    <a:pt x="1148803" y="726409"/>
                  </a:lnTo>
                  <a:lnTo>
                    <a:pt x="1149455" y="725851"/>
                  </a:lnTo>
                  <a:lnTo>
                    <a:pt x="1149565" y="724194"/>
                  </a:lnTo>
                  <a:lnTo>
                    <a:pt x="1149134" y="721444"/>
                  </a:lnTo>
                  <a:lnTo>
                    <a:pt x="1148594" y="719748"/>
                  </a:lnTo>
                  <a:lnTo>
                    <a:pt x="1147085" y="718779"/>
                  </a:lnTo>
                  <a:lnTo>
                    <a:pt x="1146006" y="718740"/>
                  </a:lnTo>
                  <a:lnTo>
                    <a:pt x="1145712" y="719635"/>
                  </a:lnTo>
                  <a:lnTo>
                    <a:pt x="1146205" y="721466"/>
                  </a:lnTo>
                  <a:lnTo>
                    <a:pt x="1145863" y="723833"/>
                  </a:lnTo>
                  <a:lnTo>
                    <a:pt x="1144687" y="726737"/>
                  </a:lnTo>
                  <a:lnTo>
                    <a:pt x="1143792" y="728100"/>
                  </a:lnTo>
                  <a:lnTo>
                    <a:pt x="1142205" y="727412"/>
                  </a:lnTo>
                  <a:lnTo>
                    <a:pt x="1141447" y="726304"/>
                  </a:lnTo>
                  <a:lnTo>
                    <a:pt x="1141650" y="724475"/>
                  </a:lnTo>
                  <a:lnTo>
                    <a:pt x="1141224" y="722817"/>
                  </a:lnTo>
                  <a:lnTo>
                    <a:pt x="1141627" y="721060"/>
                  </a:lnTo>
                  <a:lnTo>
                    <a:pt x="1142708" y="718446"/>
                  </a:lnTo>
                  <a:lnTo>
                    <a:pt x="1144240" y="716695"/>
                  </a:lnTo>
                  <a:close/>
                  <a:moveTo>
                    <a:pt x="47228" y="714732"/>
                  </a:moveTo>
                  <a:lnTo>
                    <a:pt x="48925" y="714820"/>
                  </a:lnTo>
                  <a:lnTo>
                    <a:pt x="52503" y="716202"/>
                  </a:lnTo>
                  <a:lnTo>
                    <a:pt x="53839" y="717428"/>
                  </a:lnTo>
                  <a:lnTo>
                    <a:pt x="49674" y="718004"/>
                  </a:lnTo>
                  <a:lnTo>
                    <a:pt x="47579" y="719693"/>
                  </a:lnTo>
                  <a:lnTo>
                    <a:pt x="44251" y="717928"/>
                  </a:lnTo>
                  <a:lnTo>
                    <a:pt x="43378" y="717061"/>
                  </a:lnTo>
                  <a:close/>
                  <a:moveTo>
                    <a:pt x="1853383" y="713281"/>
                  </a:moveTo>
                  <a:lnTo>
                    <a:pt x="1855404" y="713588"/>
                  </a:lnTo>
                  <a:lnTo>
                    <a:pt x="1857294" y="715549"/>
                  </a:lnTo>
                  <a:lnTo>
                    <a:pt x="1855004" y="717336"/>
                  </a:lnTo>
                  <a:lnTo>
                    <a:pt x="1853235" y="719618"/>
                  </a:lnTo>
                  <a:lnTo>
                    <a:pt x="1852586" y="719892"/>
                  </a:lnTo>
                  <a:lnTo>
                    <a:pt x="1845940" y="717845"/>
                  </a:lnTo>
                  <a:lnTo>
                    <a:pt x="1845457" y="716211"/>
                  </a:lnTo>
                  <a:lnTo>
                    <a:pt x="1848706" y="714398"/>
                  </a:lnTo>
                  <a:lnTo>
                    <a:pt x="1851347" y="713420"/>
                  </a:lnTo>
                  <a:close/>
                  <a:moveTo>
                    <a:pt x="1592417" y="710681"/>
                  </a:moveTo>
                  <a:lnTo>
                    <a:pt x="1593824" y="710695"/>
                  </a:lnTo>
                  <a:lnTo>
                    <a:pt x="1596769" y="711791"/>
                  </a:lnTo>
                  <a:lnTo>
                    <a:pt x="1598069" y="714043"/>
                  </a:lnTo>
                  <a:lnTo>
                    <a:pt x="1598289" y="715211"/>
                  </a:lnTo>
                  <a:lnTo>
                    <a:pt x="1596492" y="716587"/>
                  </a:lnTo>
                  <a:lnTo>
                    <a:pt x="1589716" y="719130"/>
                  </a:lnTo>
                  <a:lnTo>
                    <a:pt x="1585587" y="721343"/>
                  </a:lnTo>
                  <a:lnTo>
                    <a:pt x="1583500" y="721836"/>
                  </a:lnTo>
                  <a:lnTo>
                    <a:pt x="1580719" y="721339"/>
                  </a:lnTo>
                  <a:lnTo>
                    <a:pt x="1577340" y="722366"/>
                  </a:lnTo>
                  <a:lnTo>
                    <a:pt x="1575999" y="722228"/>
                  </a:lnTo>
                  <a:lnTo>
                    <a:pt x="1577492" y="720418"/>
                  </a:lnTo>
                  <a:lnTo>
                    <a:pt x="1582836" y="715217"/>
                  </a:lnTo>
                  <a:lnTo>
                    <a:pt x="1587317" y="714685"/>
                  </a:lnTo>
                  <a:lnTo>
                    <a:pt x="1588778" y="713597"/>
                  </a:lnTo>
                  <a:lnTo>
                    <a:pt x="1590013" y="713942"/>
                  </a:lnTo>
                  <a:lnTo>
                    <a:pt x="1590728" y="713041"/>
                  </a:lnTo>
                  <a:lnTo>
                    <a:pt x="1590852" y="711703"/>
                  </a:lnTo>
                  <a:close/>
                  <a:moveTo>
                    <a:pt x="1557089" y="707477"/>
                  </a:moveTo>
                  <a:lnTo>
                    <a:pt x="1561230" y="708502"/>
                  </a:lnTo>
                  <a:lnTo>
                    <a:pt x="1562254" y="711090"/>
                  </a:lnTo>
                  <a:lnTo>
                    <a:pt x="1562896" y="711906"/>
                  </a:lnTo>
                  <a:lnTo>
                    <a:pt x="1561945" y="713130"/>
                  </a:lnTo>
                  <a:lnTo>
                    <a:pt x="1558133" y="715576"/>
                  </a:lnTo>
                  <a:lnTo>
                    <a:pt x="1549794" y="716573"/>
                  </a:lnTo>
                  <a:lnTo>
                    <a:pt x="1545590" y="715420"/>
                  </a:lnTo>
                  <a:lnTo>
                    <a:pt x="1547525" y="718926"/>
                  </a:lnTo>
                  <a:lnTo>
                    <a:pt x="1547949" y="720403"/>
                  </a:lnTo>
                  <a:lnTo>
                    <a:pt x="1547357" y="721023"/>
                  </a:lnTo>
                  <a:lnTo>
                    <a:pt x="1545606" y="720834"/>
                  </a:lnTo>
                  <a:lnTo>
                    <a:pt x="1542700" y="719843"/>
                  </a:lnTo>
                  <a:lnTo>
                    <a:pt x="1541029" y="718654"/>
                  </a:lnTo>
                  <a:lnTo>
                    <a:pt x="1540595" y="717271"/>
                  </a:lnTo>
                  <a:lnTo>
                    <a:pt x="1539981" y="716964"/>
                  </a:lnTo>
                  <a:lnTo>
                    <a:pt x="1539194" y="717734"/>
                  </a:lnTo>
                  <a:lnTo>
                    <a:pt x="1538436" y="717559"/>
                  </a:lnTo>
                  <a:lnTo>
                    <a:pt x="1536706" y="715497"/>
                  </a:lnTo>
                  <a:lnTo>
                    <a:pt x="1535433" y="714728"/>
                  </a:lnTo>
                  <a:lnTo>
                    <a:pt x="1527061" y="713498"/>
                  </a:lnTo>
                  <a:lnTo>
                    <a:pt x="1526641" y="712946"/>
                  </a:lnTo>
                  <a:lnTo>
                    <a:pt x="1527078" y="711995"/>
                  </a:lnTo>
                  <a:lnTo>
                    <a:pt x="1528369" y="710640"/>
                  </a:lnTo>
                  <a:lnTo>
                    <a:pt x="1530248" y="710181"/>
                  </a:lnTo>
                  <a:lnTo>
                    <a:pt x="1534980" y="710789"/>
                  </a:lnTo>
                  <a:lnTo>
                    <a:pt x="1535367" y="710444"/>
                  </a:lnTo>
                  <a:lnTo>
                    <a:pt x="1535680" y="708732"/>
                  </a:lnTo>
                  <a:lnTo>
                    <a:pt x="1536038" y="708060"/>
                  </a:lnTo>
                  <a:lnTo>
                    <a:pt x="1539316" y="708232"/>
                  </a:lnTo>
                  <a:lnTo>
                    <a:pt x="1541377" y="707862"/>
                  </a:lnTo>
                  <a:lnTo>
                    <a:pt x="1542513" y="708744"/>
                  </a:lnTo>
                  <a:lnTo>
                    <a:pt x="1543635" y="710782"/>
                  </a:lnTo>
                  <a:lnTo>
                    <a:pt x="1545227" y="710410"/>
                  </a:lnTo>
                  <a:lnTo>
                    <a:pt x="1547533" y="710705"/>
                  </a:lnTo>
                  <a:lnTo>
                    <a:pt x="1550101" y="709959"/>
                  </a:lnTo>
                  <a:lnTo>
                    <a:pt x="1554024" y="708146"/>
                  </a:lnTo>
                  <a:close/>
                  <a:moveTo>
                    <a:pt x="1095685" y="705167"/>
                  </a:moveTo>
                  <a:lnTo>
                    <a:pt x="1098208" y="706088"/>
                  </a:lnTo>
                  <a:lnTo>
                    <a:pt x="1100410" y="707853"/>
                  </a:lnTo>
                  <a:lnTo>
                    <a:pt x="1105303" y="710728"/>
                  </a:lnTo>
                  <a:lnTo>
                    <a:pt x="1106034" y="711904"/>
                  </a:lnTo>
                  <a:lnTo>
                    <a:pt x="1105955" y="712452"/>
                  </a:lnTo>
                  <a:lnTo>
                    <a:pt x="1104066" y="713241"/>
                  </a:lnTo>
                  <a:lnTo>
                    <a:pt x="1103831" y="713959"/>
                  </a:lnTo>
                  <a:lnTo>
                    <a:pt x="1104591" y="715045"/>
                  </a:lnTo>
                  <a:lnTo>
                    <a:pt x="1105372" y="715581"/>
                  </a:lnTo>
                  <a:lnTo>
                    <a:pt x="1106842" y="715126"/>
                  </a:lnTo>
                  <a:lnTo>
                    <a:pt x="1107981" y="713657"/>
                  </a:lnTo>
                  <a:lnTo>
                    <a:pt x="1108674" y="713380"/>
                  </a:lnTo>
                  <a:lnTo>
                    <a:pt x="1109748" y="713657"/>
                  </a:lnTo>
                  <a:lnTo>
                    <a:pt x="1113292" y="716290"/>
                  </a:lnTo>
                  <a:lnTo>
                    <a:pt x="1116012" y="719051"/>
                  </a:lnTo>
                  <a:lnTo>
                    <a:pt x="1118899" y="721008"/>
                  </a:lnTo>
                  <a:lnTo>
                    <a:pt x="1123480" y="722754"/>
                  </a:lnTo>
                  <a:lnTo>
                    <a:pt x="1133485" y="728431"/>
                  </a:lnTo>
                  <a:lnTo>
                    <a:pt x="1136431" y="732261"/>
                  </a:lnTo>
                  <a:lnTo>
                    <a:pt x="1139544" y="738204"/>
                  </a:lnTo>
                  <a:lnTo>
                    <a:pt x="1142324" y="742730"/>
                  </a:lnTo>
                  <a:lnTo>
                    <a:pt x="1144770" y="745847"/>
                  </a:lnTo>
                  <a:lnTo>
                    <a:pt x="1147395" y="748328"/>
                  </a:lnTo>
                  <a:lnTo>
                    <a:pt x="1151601" y="751099"/>
                  </a:lnTo>
                  <a:lnTo>
                    <a:pt x="1155353" y="749083"/>
                  </a:lnTo>
                  <a:lnTo>
                    <a:pt x="1156960" y="748572"/>
                  </a:lnTo>
                  <a:lnTo>
                    <a:pt x="1158345" y="749411"/>
                  </a:lnTo>
                  <a:lnTo>
                    <a:pt x="1159657" y="751499"/>
                  </a:lnTo>
                  <a:lnTo>
                    <a:pt x="1158963" y="752431"/>
                  </a:lnTo>
                  <a:lnTo>
                    <a:pt x="1157332" y="753611"/>
                  </a:lnTo>
                  <a:lnTo>
                    <a:pt x="1154642" y="754986"/>
                  </a:lnTo>
                  <a:lnTo>
                    <a:pt x="1150873" y="755084"/>
                  </a:lnTo>
                  <a:lnTo>
                    <a:pt x="1149061" y="755490"/>
                  </a:lnTo>
                  <a:lnTo>
                    <a:pt x="1146107" y="757671"/>
                  </a:lnTo>
                  <a:lnTo>
                    <a:pt x="1143762" y="760285"/>
                  </a:lnTo>
                  <a:lnTo>
                    <a:pt x="1140481" y="761165"/>
                  </a:lnTo>
                  <a:lnTo>
                    <a:pt x="1134305" y="765541"/>
                  </a:lnTo>
                  <a:lnTo>
                    <a:pt x="1130908" y="767178"/>
                  </a:lnTo>
                  <a:lnTo>
                    <a:pt x="1125907" y="767611"/>
                  </a:lnTo>
                  <a:lnTo>
                    <a:pt x="1115522" y="764187"/>
                  </a:lnTo>
                  <a:lnTo>
                    <a:pt x="1109049" y="764668"/>
                  </a:lnTo>
                  <a:lnTo>
                    <a:pt x="1103766" y="763966"/>
                  </a:lnTo>
                  <a:lnTo>
                    <a:pt x="1097864" y="760342"/>
                  </a:lnTo>
                  <a:lnTo>
                    <a:pt x="1093285" y="758289"/>
                  </a:lnTo>
                  <a:lnTo>
                    <a:pt x="1084418" y="755335"/>
                  </a:lnTo>
                  <a:lnTo>
                    <a:pt x="1083837" y="754897"/>
                  </a:lnTo>
                  <a:lnTo>
                    <a:pt x="1083454" y="753897"/>
                  </a:lnTo>
                  <a:lnTo>
                    <a:pt x="1083274" y="752335"/>
                  </a:lnTo>
                  <a:lnTo>
                    <a:pt x="1082871" y="751291"/>
                  </a:lnTo>
                  <a:lnTo>
                    <a:pt x="1082250" y="750761"/>
                  </a:lnTo>
                  <a:lnTo>
                    <a:pt x="1080854" y="750807"/>
                  </a:lnTo>
                  <a:lnTo>
                    <a:pt x="1079428" y="751840"/>
                  </a:lnTo>
                  <a:lnTo>
                    <a:pt x="1076694" y="752731"/>
                  </a:lnTo>
                  <a:lnTo>
                    <a:pt x="1072532" y="752530"/>
                  </a:lnTo>
                  <a:lnTo>
                    <a:pt x="1070721" y="751911"/>
                  </a:lnTo>
                  <a:lnTo>
                    <a:pt x="1069341" y="750943"/>
                  </a:lnTo>
                  <a:lnTo>
                    <a:pt x="1068594" y="749803"/>
                  </a:lnTo>
                  <a:lnTo>
                    <a:pt x="1068477" y="748498"/>
                  </a:lnTo>
                  <a:lnTo>
                    <a:pt x="1068094" y="747494"/>
                  </a:lnTo>
                  <a:lnTo>
                    <a:pt x="1067444" y="746785"/>
                  </a:lnTo>
                  <a:lnTo>
                    <a:pt x="1065935" y="746766"/>
                  </a:lnTo>
                  <a:lnTo>
                    <a:pt x="1063567" y="747439"/>
                  </a:lnTo>
                  <a:lnTo>
                    <a:pt x="1062642" y="748273"/>
                  </a:lnTo>
                  <a:lnTo>
                    <a:pt x="1063161" y="749262"/>
                  </a:lnTo>
                  <a:lnTo>
                    <a:pt x="1062724" y="749848"/>
                  </a:lnTo>
                  <a:lnTo>
                    <a:pt x="1058581" y="749855"/>
                  </a:lnTo>
                  <a:lnTo>
                    <a:pt x="1056959" y="749276"/>
                  </a:lnTo>
                  <a:lnTo>
                    <a:pt x="1053842" y="747439"/>
                  </a:lnTo>
                  <a:lnTo>
                    <a:pt x="1052479" y="745580"/>
                  </a:lnTo>
                  <a:lnTo>
                    <a:pt x="1050719" y="742267"/>
                  </a:lnTo>
                  <a:lnTo>
                    <a:pt x="1050888" y="741372"/>
                  </a:lnTo>
                  <a:lnTo>
                    <a:pt x="1052007" y="739354"/>
                  </a:lnTo>
                  <a:lnTo>
                    <a:pt x="1053466" y="737947"/>
                  </a:lnTo>
                  <a:lnTo>
                    <a:pt x="1062854" y="737121"/>
                  </a:lnTo>
                  <a:lnTo>
                    <a:pt x="1067247" y="736327"/>
                  </a:lnTo>
                  <a:lnTo>
                    <a:pt x="1072029" y="734027"/>
                  </a:lnTo>
                  <a:lnTo>
                    <a:pt x="1077610" y="730044"/>
                  </a:lnTo>
                  <a:lnTo>
                    <a:pt x="1078817" y="728865"/>
                  </a:lnTo>
                  <a:lnTo>
                    <a:pt x="1078958" y="727998"/>
                  </a:lnTo>
                  <a:lnTo>
                    <a:pt x="1078547" y="727060"/>
                  </a:lnTo>
                  <a:lnTo>
                    <a:pt x="1076803" y="724762"/>
                  </a:lnTo>
                  <a:lnTo>
                    <a:pt x="1076215" y="723188"/>
                  </a:lnTo>
                  <a:lnTo>
                    <a:pt x="1076769" y="722444"/>
                  </a:lnTo>
                  <a:lnTo>
                    <a:pt x="1079008" y="722376"/>
                  </a:lnTo>
                  <a:lnTo>
                    <a:pt x="1077831" y="721486"/>
                  </a:lnTo>
                  <a:lnTo>
                    <a:pt x="1076828" y="720226"/>
                  </a:lnTo>
                  <a:lnTo>
                    <a:pt x="1076476" y="719438"/>
                  </a:lnTo>
                  <a:lnTo>
                    <a:pt x="1076534" y="718184"/>
                  </a:lnTo>
                  <a:lnTo>
                    <a:pt x="1078313" y="717906"/>
                  </a:lnTo>
                  <a:lnTo>
                    <a:pt x="1080506" y="718537"/>
                  </a:lnTo>
                  <a:lnTo>
                    <a:pt x="1084741" y="722152"/>
                  </a:lnTo>
                  <a:lnTo>
                    <a:pt x="1086429" y="722855"/>
                  </a:lnTo>
                  <a:lnTo>
                    <a:pt x="1089330" y="723402"/>
                  </a:lnTo>
                  <a:lnTo>
                    <a:pt x="1086245" y="720909"/>
                  </a:lnTo>
                  <a:lnTo>
                    <a:pt x="1083055" y="715660"/>
                  </a:lnTo>
                  <a:lnTo>
                    <a:pt x="1082657" y="713847"/>
                  </a:lnTo>
                  <a:lnTo>
                    <a:pt x="1082740" y="712838"/>
                  </a:lnTo>
                  <a:lnTo>
                    <a:pt x="1083577" y="710009"/>
                  </a:lnTo>
                  <a:lnTo>
                    <a:pt x="1084327" y="708854"/>
                  </a:lnTo>
                  <a:lnTo>
                    <a:pt x="1085294" y="708088"/>
                  </a:lnTo>
                  <a:lnTo>
                    <a:pt x="1088330" y="706458"/>
                  </a:lnTo>
                  <a:lnTo>
                    <a:pt x="1093194" y="705320"/>
                  </a:lnTo>
                  <a:close/>
                  <a:moveTo>
                    <a:pt x="1366579" y="692240"/>
                  </a:moveTo>
                  <a:lnTo>
                    <a:pt x="1371504" y="693761"/>
                  </a:lnTo>
                  <a:lnTo>
                    <a:pt x="1374402" y="694123"/>
                  </a:lnTo>
                  <a:lnTo>
                    <a:pt x="1377129" y="693679"/>
                  </a:lnTo>
                  <a:lnTo>
                    <a:pt x="1379119" y="694102"/>
                  </a:lnTo>
                  <a:lnTo>
                    <a:pt x="1380371" y="695396"/>
                  </a:lnTo>
                  <a:lnTo>
                    <a:pt x="1381194" y="696740"/>
                  </a:lnTo>
                  <a:lnTo>
                    <a:pt x="1381592" y="698129"/>
                  </a:lnTo>
                  <a:lnTo>
                    <a:pt x="1380515" y="699114"/>
                  </a:lnTo>
                  <a:lnTo>
                    <a:pt x="1376036" y="699975"/>
                  </a:lnTo>
                  <a:lnTo>
                    <a:pt x="1372978" y="699548"/>
                  </a:lnTo>
                  <a:lnTo>
                    <a:pt x="1369705" y="698397"/>
                  </a:lnTo>
                  <a:lnTo>
                    <a:pt x="1368189" y="698908"/>
                  </a:lnTo>
                  <a:lnTo>
                    <a:pt x="1364461" y="698060"/>
                  </a:lnTo>
                  <a:lnTo>
                    <a:pt x="1362608" y="696909"/>
                  </a:lnTo>
                  <a:lnTo>
                    <a:pt x="1361103" y="695265"/>
                  </a:lnTo>
                  <a:lnTo>
                    <a:pt x="1361106" y="694260"/>
                  </a:lnTo>
                  <a:lnTo>
                    <a:pt x="1365037" y="693124"/>
                  </a:lnTo>
                  <a:close/>
                  <a:moveTo>
                    <a:pt x="1023557" y="668293"/>
                  </a:moveTo>
                  <a:lnTo>
                    <a:pt x="1026026" y="668371"/>
                  </a:lnTo>
                  <a:lnTo>
                    <a:pt x="1028664" y="669254"/>
                  </a:lnTo>
                  <a:lnTo>
                    <a:pt x="1032665" y="671771"/>
                  </a:lnTo>
                  <a:lnTo>
                    <a:pt x="1031525" y="672517"/>
                  </a:lnTo>
                  <a:lnTo>
                    <a:pt x="1031470" y="674166"/>
                  </a:lnTo>
                  <a:lnTo>
                    <a:pt x="1031919" y="675727"/>
                  </a:lnTo>
                  <a:lnTo>
                    <a:pt x="1031848" y="676303"/>
                  </a:lnTo>
                  <a:lnTo>
                    <a:pt x="1031521" y="676675"/>
                  </a:lnTo>
                  <a:lnTo>
                    <a:pt x="1026043" y="674965"/>
                  </a:lnTo>
                  <a:lnTo>
                    <a:pt x="1023929" y="673961"/>
                  </a:lnTo>
                  <a:lnTo>
                    <a:pt x="1023242" y="673216"/>
                  </a:lnTo>
                  <a:lnTo>
                    <a:pt x="1022755" y="671697"/>
                  </a:lnTo>
                  <a:lnTo>
                    <a:pt x="1022467" y="669402"/>
                  </a:lnTo>
                  <a:close/>
                  <a:moveTo>
                    <a:pt x="1176307" y="606891"/>
                  </a:moveTo>
                  <a:lnTo>
                    <a:pt x="1177678" y="607265"/>
                  </a:lnTo>
                  <a:lnTo>
                    <a:pt x="1179352" y="610262"/>
                  </a:lnTo>
                  <a:lnTo>
                    <a:pt x="1179663" y="613423"/>
                  </a:lnTo>
                  <a:lnTo>
                    <a:pt x="1183985" y="617366"/>
                  </a:lnTo>
                  <a:lnTo>
                    <a:pt x="1187462" y="617670"/>
                  </a:lnTo>
                  <a:lnTo>
                    <a:pt x="1189623" y="617072"/>
                  </a:lnTo>
                  <a:lnTo>
                    <a:pt x="1196616" y="617302"/>
                  </a:lnTo>
                  <a:lnTo>
                    <a:pt x="1198237" y="618405"/>
                  </a:lnTo>
                  <a:lnTo>
                    <a:pt x="1198120" y="619636"/>
                  </a:lnTo>
                  <a:lnTo>
                    <a:pt x="1197341" y="621626"/>
                  </a:lnTo>
                  <a:lnTo>
                    <a:pt x="1197818" y="623330"/>
                  </a:lnTo>
                  <a:lnTo>
                    <a:pt x="1202558" y="626583"/>
                  </a:lnTo>
                  <a:lnTo>
                    <a:pt x="1206828" y="628831"/>
                  </a:lnTo>
                  <a:lnTo>
                    <a:pt x="1210660" y="631634"/>
                  </a:lnTo>
                  <a:lnTo>
                    <a:pt x="1216367" y="637479"/>
                  </a:lnTo>
                  <a:lnTo>
                    <a:pt x="1217602" y="639127"/>
                  </a:lnTo>
                  <a:lnTo>
                    <a:pt x="1218461" y="640909"/>
                  </a:lnTo>
                  <a:lnTo>
                    <a:pt x="1219945" y="647406"/>
                  </a:lnTo>
                  <a:lnTo>
                    <a:pt x="1220134" y="649867"/>
                  </a:lnTo>
                  <a:lnTo>
                    <a:pt x="1219589" y="656963"/>
                  </a:lnTo>
                  <a:lnTo>
                    <a:pt x="1219139" y="658301"/>
                  </a:lnTo>
                  <a:lnTo>
                    <a:pt x="1217631" y="659911"/>
                  </a:lnTo>
                  <a:lnTo>
                    <a:pt x="1218151" y="660562"/>
                  </a:lnTo>
                  <a:lnTo>
                    <a:pt x="1222662" y="662407"/>
                  </a:lnTo>
                  <a:lnTo>
                    <a:pt x="1226246" y="666063"/>
                  </a:lnTo>
                  <a:lnTo>
                    <a:pt x="1228128" y="667240"/>
                  </a:lnTo>
                  <a:lnTo>
                    <a:pt x="1232666" y="669207"/>
                  </a:lnTo>
                  <a:lnTo>
                    <a:pt x="1233494" y="669949"/>
                  </a:lnTo>
                  <a:lnTo>
                    <a:pt x="1234519" y="671178"/>
                  </a:lnTo>
                  <a:lnTo>
                    <a:pt x="1237079" y="676435"/>
                  </a:lnTo>
                  <a:lnTo>
                    <a:pt x="1241271" y="681162"/>
                  </a:lnTo>
                  <a:lnTo>
                    <a:pt x="1241573" y="682179"/>
                  </a:lnTo>
                  <a:lnTo>
                    <a:pt x="1240675" y="684400"/>
                  </a:lnTo>
                  <a:lnTo>
                    <a:pt x="1241316" y="685104"/>
                  </a:lnTo>
                  <a:lnTo>
                    <a:pt x="1242934" y="685915"/>
                  </a:lnTo>
                  <a:lnTo>
                    <a:pt x="1244387" y="685494"/>
                  </a:lnTo>
                  <a:lnTo>
                    <a:pt x="1245672" y="683834"/>
                  </a:lnTo>
                  <a:lnTo>
                    <a:pt x="1247070" y="683354"/>
                  </a:lnTo>
                  <a:lnTo>
                    <a:pt x="1248581" y="684056"/>
                  </a:lnTo>
                  <a:lnTo>
                    <a:pt x="1249727" y="685291"/>
                  </a:lnTo>
                  <a:lnTo>
                    <a:pt x="1251288" y="688313"/>
                  </a:lnTo>
                  <a:lnTo>
                    <a:pt x="1253570" y="690803"/>
                  </a:lnTo>
                  <a:lnTo>
                    <a:pt x="1253379" y="691563"/>
                  </a:lnTo>
                  <a:lnTo>
                    <a:pt x="1252250" y="692188"/>
                  </a:lnTo>
                  <a:lnTo>
                    <a:pt x="1246102" y="692878"/>
                  </a:lnTo>
                  <a:lnTo>
                    <a:pt x="1242644" y="692399"/>
                  </a:lnTo>
                  <a:lnTo>
                    <a:pt x="1239447" y="691183"/>
                  </a:lnTo>
                  <a:lnTo>
                    <a:pt x="1237226" y="689927"/>
                  </a:lnTo>
                  <a:lnTo>
                    <a:pt x="1235155" y="687999"/>
                  </a:lnTo>
                  <a:lnTo>
                    <a:pt x="1234390" y="688204"/>
                  </a:lnTo>
                  <a:lnTo>
                    <a:pt x="1233305" y="689776"/>
                  </a:lnTo>
                  <a:lnTo>
                    <a:pt x="1230988" y="692069"/>
                  </a:lnTo>
                  <a:lnTo>
                    <a:pt x="1229537" y="694187"/>
                  </a:lnTo>
                  <a:lnTo>
                    <a:pt x="1231213" y="695128"/>
                  </a:lnTo>
                  <a:lnTo>
                    <a:pt x="1239297" y="695066"/>
                  </a:lnTo>
                  <a:lnTo>
                    <a:pt x="1241053" y="695660"/>
                  </a:lnTo>
                  <a:lnTo>
                    <a:pt x="1243107" y="697147"/>
                  </a:lnTo>
                  <a:lnTo>
                    <a:pt x="1240766" y="699627"/>
                  </a:lnTo>
                  <a:lnTo>
                    <a:pt x="1235296" y="703788"/>
                  </a:lnTo>
                  <a:lnTo>
                    <a:pt x="1223475" y="711835"/>
                  </a:lnTo>
                  <a:lnTo>
                    <a:pt x="1220005" y="713895"/>
                  </a:lnTo>
                  <a:lnTo>
                    <a:pt x="1220848" y="714495"/>
                  </a:lnTo>
                  <a:lnTo>
                    <a:pt x="1222165" y="714649"/>
                  </a:lnTo>
                  <a:lnTo>
                    <a:pt x="1226217" y="714297"/>
                  </a:lnTo>
                  <a:lnTo>
                    <a:pt x="1230005" y="713220"/>
                  </a:lnTo>
                  <a:lnTo>
                    <a:pt x="1234613" y="713684"/>
                  </a:lnTo>
                  <a:lnTo>
                    <a:pt x="1236665" y="714563"/>
                  </a:lnTo>
                  <a:lnTo>
                    <a:pt x="1235967" y="715421"/>
                  </a:lnTo>
                  <a:lnTo>
                    <a:pt x="1237215" y="716816"/>
                  </a:lnTo>
                  <a:lnTo>
                    <a:pt x="1244749" y="720055"/>
                  </a:lnTo>
                  <a:lnTo>
                    <a:pt x="1249512" y="719410"/>
                  </a:lnTo>
                  <a:lnTo>
                    <a:pt x="1254374" y="716288"/>
                  </a:lnTo>
                  <a:lnTo>
                    <a:pt x="1258131" y="714739"/>
                  </a:lnTo>
                  <a:lnTo>
                    <a:pt x="1262755" y="714950"/>
                  </a:lnTo>
                  <a:lnTo>
                    <a:pt x="1264048" y="715293"/>
                  </a:lnTo>
                  <a:lnTo>
                    <a:pt x="1263555" y="716051"/>
                  </a:lnTo>
                  <a:lnTo>
                    <a:pt x="1260139" y="717805"/>
                  </a:lnTo>
                  <a:lnTo>
                    <a:pt x="1257049" y="719755"/>
                  </a:lnTo>
                  <a:lnTo>
                    <a:pt x="1256718" y="720305"/>
                  </a:lnTo>
                  <a:lnTo>
                    <a:pt x="1260568" y="719517"/>
                  </a:lnTo>
                  <a:lnTo>
                    <a:pt x="1269136" y="720763"/>
                  </a:lnTo>
                  <a:lnTo>
                    <a:pt x="1273306" y="721072"/>
                  </a:lnTo>
                  <a:lnTo>
                    <a:pt x="1276326" y="720760"/>
                  </a:lnTo>
                  <a:lnTo>
                    <a:pt x="1279158" y="721256"/>
                  </a:lnTo>
                  <a:lnTo>
                    <a:pt x="1281806" y="722560"/>
                  </a:lnTo>
                  <a:lnTo>
                    <a:pt x="1282692" y="723387"/>
                  </a:lnTo>
                  <a:lnTo>
                    <a:pt x="1280214" y="723920"/>
                  </a:lnTo>
                  <a:lnTo>
                    <a:pt x="1277875" y="723910"/>
                  </a:lnTo>
                  <a:lnTo>
                    <a:pt x="1275887" y="724698"/>
                  </a:lnTo>
                  <a:lnTo>
                    <a:pt x="1274249" y="726278"/>
                  </a:lnTo>
                  <a:lnTo>
                    <a:pt x="1273082" y="728325"/>
                  </a:lnTo>
                  <a:lnTo>
                    <a:pt x="1272383" y="730841"/>
                  </a:lnTo>
                  <a:lnTo>
                    <a:pt x="1270605" y="731878"/>
                  </a:lnTo>
                  <a:lnTo>
                    <a:pt x="1267747" y="731439"/>
                  </a:lnTo>
                  <a:lnTo>
                    <a:pt x="1266626" y="730728"/>
                  </a:lnTo>
                  <a:lnTo>
                    <a:pt x="1267243" y="729735"/>
                  </a:lnTo>
                  <a:lnTo>
                    <a:pt x="1266409" y="729592"/>
                  </a:lnTo>
                  <a:lnTo>
                    <a:pt x="1264125" y="730300"/>
                  </a:lnTo>
                  <a:lnTo>
                    <a:pt x="1262346" y="730322"/>
                  </a:lnTo>
                  <a:lnTo>
                    <a:pt x="1261859" y="731061"/>
                  </a:lnTo>
                  <a:lnTo>
                    <a:pt x="1274344" y="739075"/>
                  </a:lnTo>
                  <a:lnTo>
                    <a:pt x="1278338" y="746144"/>
                  </a:lnTo>
                  <a:lnTo>
                    <a:pt x="1281084" y="749059"/>
                  </a:lnTo>
                  <a:lnTo>
                    <a:pt x="1281353" y="749829"/>
                  </a:lnTo>
                  <a:lnTo>
                    <a:pt x="1279563" y="751786"/>
                  </a:lnTo>
                  <a:lnTo>
                    <a:pt x="1279474" y="753273"/>
                  </a:lnTo>
                  <a:lnTo>
                    <a:pt x="1280293" y="757565"/>
                  </a:lnTo>
                  <a:lnTo>
                    <a:pt x="1279912" y="760988"/>
                  </a:lnTo>
                  <a:lnTo>
                    <a:pt x="1278685" y="767001"/>
                  </a:lnTo>
                  <a:lnTo>
                    <a:pt x="1279834" y="768868"/>
                  </a:lnTo>
                  <a:lnTo>
                    <a:pt x="1282503" y="770514"/>
                  </a:lnTo>
                  <a:lnTo>
                    <a:pt x="1284099" y="772621"/>
                  </a:lnTo>
                  <a:lnTo>
                    <a:pt x="1285185" y="773340"/>
                  </a:lnTo>
                  <a:lnTo>
                    <a:pt x="1285996" y="775035"/>
                  </a:lnTo>
                  <a:lnTo>
                    <a:pt x="1286948" y="776095"/>
                  </a:lnTo>
                  <a:lnTo>
                    <a:pt x="1288037" y="776532"/>
                  </a:lnTo>
                  <a:lnTo>
                    <a:pt x="1288807" y="775974"/>
                  </a:lnTo>
                  <a:lnTo>
                    <a:pt x="1289253" y="774427"/>
                  </a:lnTo>
                  <a:lnTo>
                    <a:pt x="1290278" y="772978"/>
                  </a:lnTo>
                  <a:lnTo>
                    <a:pt x="1293094" y="770369"/>
                  </a:lnTo>
                  <a:lnTo>
                    <a:pt x="1295823" y="766294"/>
                  </a:lnTo>
                  <a:lnTo>
                    <a:pt x="1296286" y="764941"/>
                  </a:lnTo>
                  <a:lnTo>
                    <a:pt x="1295852" y="761733"/>
                  </a:lnTo>
                  <a:lnTo>
                    <a:pt x="1296165" y="760358"/>
                  </a:lnTo>
                  <a:lnTo>
                    <a:pt x="1298729" y="755485"/>
                  </a:lnTo>
                  <a:lnTo>
                    <a:pt x="1299548" y="752101"/>
                  </a:lnTo>
                  <a:lnTo>
                    <a:pt x="1300325" y="746822"/>
                  </a:lnTo>
                  <a:lnTo>
                    <a:pt x="1301683" y="743136"/>
                  </a:lnTo>
                  <a:lnTo>
                    <a:pt x="1304589" y="740009"/>
                  </a:lnTo>
                  <a:lnTo>
                    <a:pt x="1309663" y="733676"/>
                  </a:lnTo>
                  <a:lnTo>
                    <a:pt x="1311498" y="732405"/>
                  </a:lnTo>
                  <a:lnTo>
                    <a:pt x="1313553" y="731779"/>
                  </a:lnTo>
                  <a:lnTo>
                    <a:pt x="1317147" y="731929"/>
                  </a:lnTo>
                  <a:lnTo>
                    <a:pt x="1319765" y="733971"/>
                  </a:lnTo>
                  <a:lnTo>
                    <a:pt x="1323288" y="737739"/>
                  </a:lnTo>
                  <a:lnTo>
                    <a:pt x="1327771" y="741169"/>
                  </a:lnTo>
                  <a:lnTo>
                    <a:pt x="1335941" y="745808"/>
                  </a:lnTo>
                  <a:lnTo>
                    <a:pt x="1338275" y="747556"/>
                  </a:lnTo>
                  <a:lnTo>
                    <a:pt x="1342894" y="752133"/>
                  </a:lnTo>
                  <a:lnTo>
                    <a:pt x="1344846" y="756664"/>
                  </a:lnTo>
                  <a:lnTo>
                    <a:pt x="1346186" y="763041"/>
                  </a:lnTo>
                  <a:lnTo>
                    <a:pt x="1347341" y="766872"/>
                  </a:lnTo>
                  <a:lnTo>
                    <a:pt x="1348310" y="768170"/>
                  </a:lnTo>
                  <a:lnTo>
                    <a:pt x="1348753" y="770101"/>
                  </a:lnTo>
                  <a:lnTo>
                    <a:pt x="1348669" y="772665"/>
                  </a:lnTo>
                  <a:lnTo>
                    <a:pt x="1348305" y="774671"/>
                  </a:lnTo>
                  <a:lnTo>
                    <a:pt x="1347663" y="776119"/>
                  </a:lnTo>
                  <a:lnTo>
                    <a:pt x="1346663" y="776939"/>
                  </a:lnTo>
                  <a:lnTo>
                    <a:pt x="1344171" y="777206"/>
                  </a:lnTo>
                  <a:lnTo>
                    <a:pt x="1341125" y="776807"/>
                  </a:lnTo>
                  <a:lnTo>
                    <a:pt x="1340245" y="776157"/>
                  </a:lnTo>
                  <a:lnTo>
                    <a:pt x="1338641" y="773141"/>
                  </a:lnTo>
                  <a:lnTo>
                    <a:pt x="1337977" y="772957"/>
                  </a:lnTo>
                  <a:lnTo>
                    <a:pt x="1335144" y="775182"/>
                  </a:lnTo>
                  <a:lnTo>
                    <a:pt x="1334797" y="776427"/>
                  </a:lnTo>
                  <a:lnTo>
                    <a:pt x="1335838" y="780542"/>
                  </a:lnTo>
                  <a:lnTo>
                    <a:pt x="1335699" y="788264"/>
                  </a:lnTo>
                  <a:lnTo>
                    <a:pt x="1335985" y="789937"/>
                  </a:lnTo>
                  <a:lnTo>
                    <a:pt x="1338976" y="797952"/>
                  </a:lnTo>
                  <a:lnTo>
                    <a:pt x="1344014" y="804020"/>
                  </a:lnTo>
                  <a:lnTo>
                    <a:pt x="1356643" y="815681"/>
                  </a:lnTo>
                  <a:lnTo>
                    <a:pt x="1357361" y="817002"/>
                  </a:lnTo>
                  <a:lnTo>
                    <a:pt x="1358701" y="821746"/>
                  </a:lnTo>
                  <a:lnTo>
                    <a:pt x="1359361" y="822737"/>
                  </a:lnTo>
                  <a:lnTo>
                    <a:pt x="1360186" y="823330"/>
                  </a:lnTo>
                  <a:lnTo>
                    <a:pt x="1361178" y="823518"/>
                  </a:lnTo>
                  <a:lnTo>
                    <a:pt x="1362548" y="823047"/>
                  </a:lnTo>
                  <a:lnTo>
                    <a:pt x="1367188" y="819445"/>
                  </a:lnTo>
                  <a:lnTo>
                    <a:pt x="1371228" y="815641"/>
                  </a:lnTo>
                  <a:lnTo>
                    <a:pt x="1374046" y="813656"/>
                  </a:lnTo>
                  <a:lnTo>
                    <a:pt x="1375642" y="813496"/>
                  </a:lnTo>
                  <a:lnTo>
                    <a:pt x="1377361" y="812797"/>
                  </a:lnTo>
                  <a:lnTo>
                    <a:pt x="1379204" y="811569"/>
                  </a:lnTo>
                  <a:lnTo>
                    <a:pt x="1380435" y="810219"/>
                  </a:lnTo>
                  <a:lnTo>
                    <a:pt x="1381053" y="808752"/>
                  </a:lnTo>
                  <a:lnTo>
                    <a:pt x="1381888" y="802993"/>
                  </a:lnTo>
                  <a:lnTo>
                    <a:pt x="1382597" y="800236"/>
                  </a:lnTo>
                  <a:lnTo>
                    <a:pt x="1384562" y="796466"/>
                  </a:lnTo>
                  <a:lnTo>
                    <a:pt x="1385281" y="795393"/>
                  </a:lnTo>
                  <a:lnTo>
                    <a:pt x="1395049" y="785798"/>
                  </a:lnTo>
                  <a:lnTo>
                    <a:pt x="1395857" y="784617"/>
                  </a:lnTo>
                  <a:lnTo>
                    <a:pt x="1400009" y="773441"/>
                  </a:lnTo>
                  <a:lnTo>
                    <a:pt x="1401473" y="768306"/>
                  </a:lnTo>
                  <a:lnTo>
                    <a:pt x="1401684" y="765207"/>
                  </a:lnTo>
                  <a:lnTo>
                    <a:pt x="1401124" y="762444"/>
                  </a:lnTo>
                  <a:lnTo>
                    <a:pt x="1401404" y="760157"/>
                  </a:lnTo>
                  <a:lnTo>
                    <a:pt x="1402521" y="758357"/>
                  </a:lnTo>
                  <a:lnTo>
                    <a:pt x="1403703" y="757086"/>
                  </a:lnTo>
                  <a:lnTo>
                    <a:pt x="1405749" y="755801"/>
                  </a:lnTo>
                  <a:lnTo>
                    <a:pt x="1406882" y="753988"/>
                  </a:lnTo>
                  <a:lnTo>
                    <a:pt x="1407560" y="753804"/>
                  </a:lnTo>
                  <a:lnTo>
                    <a:pt x="1409234" y="753790"/>
                  </a:lnTo>
                  <a:lnTo>
                    <a:pt x="1411439" y="755028"/>
                  </a:lnTo>
                  <a:lnTo>
                    <a:pt x="1413036" y="755247"/>
                  </a:lnTo>
                  <a:lnTo>
                    <a:pt x="1423370" y="753833"/>
                  </a:lnTo>
                  <a:lnTo>
                    <a:pt x="1423372" y="753078"/>
                  </a:lnTo>
                  <a:lnTo>
                    <a:pt x="1417308" y="750703"/>
                  </a:lnTo>
                  <a:lnTo>
                    <a:pt x="1417365" y="749511"/>
                  </a:lnTo>
                  <a:lnTo>
                    <a:pt x="1417896" y="747872"/>
                  </a:lnTo>
                  <a:lnTo>
                    <a:pt x="1419801" y="746040"/>
                  </a:lnTo>
                  <a:lnTo>
                    <a:pt x="1422140" y="745461"/>
                  </a:lnTo>
                  <a:lnTo>
                    <a:pt x="1422667" y="744294"/>
                  </a:lnTo>
                  <a:lnTo>
                    <a:pt x="1422732" y="742852"/>
                  </a:lnTo>
                  <a:lnTo>
                    <a:pt x="1423506" y="740495"/>
                  </a:lnTo>
                  <a:lnTo>
                    <a:pt x="1422800" y="739659"/>
                  </a:lnTo>
                  <a:lnTo>
                    <a:pt x="1417133" y="736403"/>
                  </a:lnTo>
                  <a:lnTo>
                    <a:pt x="1413860" y="736543"/>
                  </a:lnTo>
                  <a:lnTo>
                    <a:pt x="1413026" y="736115"/>
                  </a:lnTo>
                  <a:lnTo>
                    <a:pt x="1410205" y="733458"/>
                  </a:lnTo>
                  <a:lnTo>
                    <a:pt x="1409171" y="729592"/>
                  </a:lnTo>
                  <a:lnTo>
                    <a:pt x="1409060" y="728006"/>
                  </a:lnTo>
                  <a:lnTo>
                    <a:pt x="1409453" y="725454"/>
                  </a:lnTo>
                  <a:lnTo>
                    <a:pt x="1409812" y="724742"/>
                  </a:lnTo>
                  <a:lnTo>
                    <a:pt x="1409636" y="723589"/>
                  </a:lnTo>
                  <a:lnTo>
                    <a:pt x="1408925" y="721985"/>
                  </a:lnTo>
                  <a:lnTo>
                    <a:pt x="1408867" y="720563"/>
                  </a:lnTo>
                  <a:lnTo>
                    <a:pt x="1409464" y="719313"/>
                  </a:lnTo>
                  <a:lnTo>
                    <a:pt x="1409104" y="717834"/>
                  </a:lnTo>
                  <a:lnTo>
                    <a:pt x="1407789" y="716122"/>
                  </a:lnTo>
                  <a:lnTo>
                    <a:pt x="1407272" y="714647"/>
                  </a:lnTo>
                  <a:lnTo>
                    <a:pt x="1408655" y="710292"/>
                  </a:lnTo>
                  <a:lnTo>
                    <a:pt x="1408701" y="708955"/>
                  </a:lnTo>
                  <a:lnTo>
                    <a:pt x="1407398" y="707091"/>
                  </a:lnTo>
                  <a:lnTo>
                    <a:pt x="1406451" y="706368"/>
                  </a:lnTo>
                  <a:lnTo>
                    <a:pt x="1407147" y="705907"/>
                  </a:lnTo>
                  <a:lnTo>
                    <a:pt x="1409485" y="705715"/>
                  </a:lnTo>
                  <a:lnTo>
                    <a:pt x="1412278" y="706320"/>
                  </a:lnTo>
                  <a:lnTo>
                    <a:pt x="1415528" y="707720"/>
                  </a:lnTo>
                  <a:lnTo>
                    <a:pt x="1419509" y="707736"/>
                  </a:lnTo>
                  <a:lnTo>
                    <a:pt x="1424222" y="706368"/>
                  </a:lnTo>
                  <a:lnTo>
                    <a:pt x="1429010" y="705706"/>
                  </a:lnTo>
                  <a:lnTo>
                    <a:pt x="1437284" y="705977"/>
                  </a:lnTo>
                  <a:lnTo>
                    <a:pt x="1439240" y="706370"/>
                  </a:lnTo>
                  <a:lnTo>
                    <a:pt x="1447468" y="710418"/>
                  </a:lnTo>
                  <a:lnTo>
                    <a:pt x="1453854" y="712476"/>
                  </a:lnTo>
                  <a:lnTo>
                    <a:pt x="1456734" y="712285"/>
                  </a:lnTo>
                  <a:lnTo>
                    <a:pt x="1470943" y="713099"/>
                  </a:lnTo>
                  <a:lnTo>
                    <a:pt x="1477175" y="712683"/>
                  </a:lnTo>
                  <a:lnTo>
                    <a:pt x="1480402" y="712865"/>
                  </a:lnTo>
                  <a:lnTo>
                    <a:pt x="1486593" y="715084"/>
                  </a:lnTo>
                  <a:lnTo>
                    <a:pt x="1486186" y="716926"/>
                  </a:lnTo>
                  <a:lnTo>
                    <a:pt x="1483511" y="720010"/>
                  </a:lnTo>
                  <a:lnTo>
                    <a:pt x="1480022" y="720645"/>
                  </a:lnTo>
                  <a:lnTo>
                    <a:pt x="1476941" y="721710"/>
                  </a:lnTo>
                  <a:lnTo>
                    <a:pt x="1479801" y="723324"/>
                  </a:lnTo>
                  <a:lnTo>
                    <a:pt x="1488223" y="725493"/>
                  </a:lnTo>
                  <a:lnTo>
                    <a:pt x="1490203" y="728959"/>
                  </a:lnTo>
                  <a:lnTo>
                    <a:pt x="1490802" y="730549"/>
                  </a:lnTo>
                  <a:lnTo>
                    <a:pt x="1489823" y="731980"/>
                  </a:lnTo>
                  <a:lnTo>
                    <a:pt x="1490312" y="732700"/>
                  </a:lnTo>
                  <a:lnTo>
                    <a:pt x="1492263" y="732700"/>
                  </a:lnTo>
                  <a:lnTo>
                    <a:pt x="1497303" y="731484"/>
                  </a:lnTo>
                  <a:lnTo>
                    <a:pt x="1502872" y="732287"/>
                  </a:lnTo>
                  <a:lnTo>
                    <a:pt x="1510982" y="734964"/>
                  </a:lnTo>
                  <a:lnTo>
                    <a:pt x="1511856" y="735521"/>
                  </a:lnTo>
                  <a:lnTo>
                    <a:pt x="1513283" y="737604"/>
                  </a:lnTo>
                  <a:lnTo>
                    <a:pt x="1513104" y="738451"/>
                  </a:lnTo>
                  <a:lnTo>
                    <a:pt x="1505933" y="743650"/>
                  </a:lnTo>
                  <a:lnTo>
                    <a:pt x="1502208" y="745706"/>
                  </a:lnTo>
                  <a:lnTo>
                    <a:pt x="1497307" y="747821"/>
                  </a:lnTo>
                  <a:lnTo>
                    <a:pt x="1497148" y="748948"/>
                  </a:lnTo>
                  <a:lnTo>
                    <a:pt x="1504019" y="749157"/>
                  </a:lnTo>
                  <a:lnTo>
                    <a:pt x="1509367" y="749749"/>
                  </a:lnTo>
                  <a:lnTo>
                    <a:pt x="1511778" y="750436"/>
                  </a:lnTo>
                  <a:lnTo>
                    <a:pt x="1513036" y="751414"/>
                  </a:lnTo>
                  <a:lnTo>
                    <a:pt x="1514755" y="753511"/>
                  </a:lnTo>
                  <a:lnTo>
                    <a:pt x="1515035" y="755167"/>
                  </a:lnTo>
                  <a:lnTo>
                    <a:pt x="1514866" y="757408"/>
                  </a:lnTo>
                  <a:lnTo>
                    <a:pt x="1514299" y="758962"/>
                  </a:lnTo>
                  <a:lnTo>
                    <a:pt x="1508078" y="763426"/>
                  </a:lnTo>
                  <a:lnTo>
                    <a:pt x="1505221" y="764816"/>
                  </a:lnTo>
                  <a:lnTo>
                    <a:pt x="1500356" y="766466"/>
                  </a:lnTo>
                  <a:lnTo>
                    <a:pt x="1498240" y="767701"/>
                  </a:lnTo>
                  <a:lnTo>
                    <a:pt x="1495916" y="767532"/>
                  </a:lnTo>
                  <a:lnTo>
                    <a:pt x="1493384" y="765953"/>
                  </a:lnTo>
                  <a:lnTo>
                    <a:pt x="1490752" y="765614"/>
                  </a:lnTo>
                  <a:lnTo>
                    <a:pt x="1486009" y="766875"/>
                  </a:lnTo>
                  <a:lnTo>
                    <a:pt x="1483435" y="766830"/>
                  </a:lnTo>
                  <a:lnTo>
                    <a:pt x="1482170" y="767269"/>
                  </a:lnTo>
                  <a:lnTo>
                    <a:pt x="1482067" y="768241"/>
                  </a:lnTo>
                  <a:lnTo>
                    <a:pt x="1484311" y="771054"/>
                  </a:lnTo>
                  <a:lnTo>
                    <a:pt x="1485609" y="772162"/>
                  </a:lnTo>
                  <a:lnTo>
                    <a:pt x="1486119" y="772989"/>
                  </a:lnTo>
                  <a:lnTo>
                    <a:pt x="1485160" y="774380"/>
                  </a:lnTo>
                  <a:lnTo>
                    <a:pt x="1485362" y="774819"/>
                  </a:lnTo>
                  <a:lnTo>
                    <a:pt x="1486127" y="775314"/>
                  </a:lnTo>
                  <a:lnTo>
                    <a:pt x="1490441" y="781439"/>
                  </a:lnTo>
                  <a:lnTo>
                    <a:pt x="1491349" y="781913"/>
                  </a:lnTo>
                  <a:lnTo>
                    <a:pt x="1492244" y="781682"/>
                  </a:lnTo>
                  <a:lnTo>
                    <a:pt x="1494112" y="779934"/>
                  </a:lnTo>
                  <a:lnTo>
                    <a:pt x="1495222" y="779224"/>
                  </a:lnTo>
                  <a:lnTo>
                    <a:pt x="1495763" y="779313"/>
                  </a:lnTo>
                  <a:lnTo>
                    <a:pt x="1495741" y="780210"/>
                  </a:lnTo>
                  <a:lnTo>
                    <a:pt x="1493751" y="785532"/>
                  </a:lnTo>
                  <a:lnTo>
                    <a:pt x="1493490" y="786951"/>
                  </a:lnTo>
                  <a:lnTo>
                    <a:pt x="1493533" y="788217"/>
                  </a:lnTo>
                  <a:lnTo>
                    <a:pt x="1494495" y="790902"/>
                  </a:lnTo>
                  <a:lnTo>
                    <a:pt x="1496677" y="793778"/>
                  </a:lnTo>
                  <a:lnTo>
                    <a:pt x="1499394" y="796361"/>
                  </a:lnTo>
                  <a:lnTo>
                    <a:pt x="1503469" y="799836"/>
                  </a:lnTo>
                  <a:lnTo>
                    <a:pt x="1508942" y="803534"/>
                  </a:lnTo>
                  <a:lnTo>
                    <a:pt x="1510982" y="805331"/>
                  </a:lnTo>
                  <a:lnTo>
                    <a:pt x="1513974" y="809561"/>
                  </a:lnTo>
                  <a:lnTo>
                    <a:pt x="1514588" y="811178"/>
                  </a:lnTo>
                  <a:lnTo>
                    <a:pt x="1513803" y="815610"/>
                  </a:lnTo>
                  <a:lnTo>
                    <a:pt x="1511619" y="822844"/>
                  </a:lnTo>
                  <a:lnTo>
                    <a:pt x="1510211" y="826943"/>
                  </a:lnTo>
                  <a:lnTo>
                    <a:pt x="1509581" y="827928"/>
                  </a:lnTo>
                  <a:lnTo>
                    <a:pt x="1505461" y="830830"/>
                  </a:lnTo>
                  <a:lnTo>
                    <a:pt x="1503120" y="831510"/>
                  </a:lnTo>
                  <a:lnTo>
                    <a:pt x="1499264" y="831430"/>
                  </a:lnTo>
                  <a:lnTo>
                    <a:pt x="1497968" y="831996"/>
                  </a:lnTo>
                  <a:lnTo>
                    <a:pt x="1495952" y="834314"/>
                  </a:lnTo>
                  <a:lnTo>
                    <a:pt x="1493210" y="838377"/>
                  </a:lnTo>
                  <a:lnTo>
                    <a:pt x="1491051" y="840949"/>
                  </a:lnTo>
                  <a:lnTo>
                    <a:pt x="1489474" y="842035"/>
                  </a:lnTo>
                  <a:lnTo>
                    <a:pt x="1486578" y="843298"/>
                  </a:lnTo>
                  <a:lnTo>
                    <a:pt x="1482041" y="847036"/>
                  </a:lnTo>
                  <a:lnTo>
                    <a:pt x="1479814" y="848473"/>
                  </a:lnTo>
                  <a:lnTo>
                    <a:pt x="1472020" y="850028"/>
                  </a:lnTo>
                  <a:lnTo>
                    <a:pt x="1465683" y="855078"/>
                  </a:lnTo>
                  <a:lnTo>
                    <a:pt x="1463158" y="856742"/>
                  </a:lnTo>
                  <a:lnTo>
                    <a:pt x="1460419" y="857624"/>
                  </a:lnTo>
                  <a:lnTo>
                    <a:pt x="1457460" y="857729"/>
                  </a:lnTo>
                  <a:lnTo>
                    <a:pt x="1455756" y="856923"/>
                  </a:lnTo>
                  <a:lnTo>
                    <a:pt x="1454791" y="853843"/>
                  </a:lnTo>
                  <a:lnTo>
                    <a:pt x="1454215" y="852830"/>
                  </a:lnTo>
                  <a:lnTo>
                    <a:pt x="1451980" y="850724"/>
                  </a:lnTo>
                  <a:lnTo>
                    <a:pt x="1447391" y="844588"/>
                  </a:lnTo>
                  <a:lnTo>
                    <a:pt x="1445417" y="842486"/>
                  </a:lnTo>
                  <a:lnTo>
                    <a:pt x="1444100" y="842019"/>
                  </a:lnTo>
                  <a:lnTo>
                    <a:pt x="1441452" y="842352"/>
                  </a:lnTo>
                  <a:lnTo>
                    <a:pt x="1440093" y="842154"/>
                  </a:lnTo>
                  <a:lnTo>
                    <a:pt x="1437143" y="840221"/>
                  </a:lnTo>
                  <a:lnTo>
                    <a:pt x="1436081" y="838971"/>
                  </a:lnTo>
                  <a:lnTo>
                    <a:pt x="1436212" y="838485"/>
                  </a:lnTo>
                  <a:lnTo>
                    <a:pt x="1438457" y="837775"/>
                  </a:lnTo>
                  <a:lnTo>
                    <a:pt x="1437498" y="836773"/>
                  </a:lnTo>
                  <a:lnTo>
                    <a:pt x="1433550" y="834014"/>
                  </a:lnTo>
                  <a:lnTo>
                    <a:pt x="1431913" y="832568"/>
                  </a:lnTo>
                  <a:lnTo>
                    <a:pt x="1431714" y="832078"/>
                  </a:lnTo>
                  <a:lnTo>
                    <a:pt x="1427806" y="830206"/>
                  </a:lnTo>
                  <a:lnTo>
                    <a:pt x="1423922" y="829688"/>
                  </a:lnTo>
                  <a:lnTo>
                    <a:pt x="1418996" y="832793"/>
                  </a:lnTo>
                  <a:lnTo>
                    <a:pt x="1417128" y="834889"/>
                  </a:lnTo>
                  <a:lnTo>
                    <a:pt x="1417190" y="835572"/>
                  </a:lnTo>
                  <a:lnTo>
                    <a:pt x="1419549" y="836375"/>
                  </a:lnTo>
                  <a:lnTo>
                    <a:pt x="1420570" y="835984"/>
                  </a:lnTo>
                  <a:lnTo>
                    <a:pt x="1422571" y="834052"/>
                  </a:lnTo>
                  <a:lnTo>
                    <a:pt x="1423628" y="833450"/>
                  </a:lnTo>
                  <a:lnTo>
                    <a:pt x="1426662" y="833751"/>
                  </a:lnTo>
                  <a:lnTo>
                    <a:pt x="1429175" y="835085"/>
                  </a:lnTo>
                  <a:lnTo>
                    <a:pt x="1430089" y="836244"/>
                  </a:lnTo>
                  <a:lnTo>
                    <a:pt x="1430420" y="837033"/>
                  </a:lnTo>
                  <a:lnTo>
                    <a:pt x="1437280" y="843196"/>
                  </a:lnTo>
                  <a:lnTo>
                    <a:pt x="1439713" y="844443"/>
                  </a:lnTo>
                  <a:lnTo>
                    <a:pt x="1440725" y="845912"/>
                  </a:lnTo>
                  <a:lnTo>
                    <a:pt x="1441495" y="848357"/>
                  </a:lnTo>
                  <a:lnTo>
                    <a:pt x="1442978" y="851069"/>
                  </a:lnTo>
                  <a:lnTo>
                    <a:pt x="1446275" y="855540"/>
                  </a:lnTo>
                  <a:lnTo>
                    <a:pt x="1449784" y="861052"/>
                  </a:lnTo>
                  <a:lnTo>
                    <a:pt x="1450501" y="863223"/>
                  </a:lnTo>
                  <a:lnTo>
                    <a:pt x="1448688" y="864272"/>
                  </a:lnTo>
                  <a:lnTo>
                    <a:pt x="1447775" y="864348"/>
                  </a:lnTo>
                  <a:lnTo>
                    <a:pt x="1445072" y="863529"/>
                  </a:lnTo>
                  <a:lnTo>
                    <a:pt x="1437936" y="860977"/>
                  </a:lnTo>
                  <a:lnTo>
                    <a:pt x="1437145" y="861024"/>
                  </a:lnTo>
                  <a:lnTo>
                    <a:pt x="1435264" y="862370"/>
                  </a:lnTo>
                  <a:lnTo>
                    <a:pt x="1433720" y="865422"/>
                  </a:lnTo>
                  <a:lnTo>
                    <a:pt x="1433237" y="865715"/>
                  </a:lnTo>
                  <a:lnTo>
                    <a:pt x="1429443" y="864519"/>
                  </a:lnTo>
                  <a:lnTo>
                    <a:pt x="1422334" y="861838"/>
                  </a:lnTo>
                  <a:lnTo>
                    <a:pt x="1417573" y="859560"/>
                  </a:lnTo>
                  <a:lnTo>
                    <a:pt x="1415156" y="857690"/>
                  </a:lnTo>
                  <a:lnTo>
                    <a:pt x="1412231" y="854704"/>
                  </a:lnTo>
                  <a:lnTo>
                    <a:pt x="1408798" y="850598"/>
                  </a:lnTo>
                  <a:lnTo>
                    <a:pt x="1404700" y="849288"/>
                  </a:lnTo>
                  <a:lnTo>
                    <a:pt x="1399935" y="850785"/>
                  </a:lnTo>
                  <a:lnTo>
                    <a:pt x="1393051" y="851318"/>
                  </a:lnTo>
                  <a:lnTo>
                    <a:pt x="1378599" y="850852"/>
                  </a:lnTo>
                  <a:lnTo>
                    <a:pt x="1376699" y="851204"/>
                  </a:lnTo>
                  <a:lnTo>
                    <a:pt x="1375965" y="851719"/>
                  </a:lnTo>
                  <a:lnTo>
                    <a:pt x="1377195" y="853979"/>
                  </a:lnTo>
                  <a:lnTo>
                    <a:pt x="1376902" y="854601"/>
                  </a:lnTo>
                  <a:lnTo>
                    <a:pt x="1375932" y="855019"/>
                  </a:lnTo>
                  <a:lnTo>
                    <a:pt x="1375714" y="855687"/>
                  </a:lnTo>
                  <a:lnTo>
                    <a:pt x="1377283" y="858081"/>
                  </a:lnTo>
                  <a:lnTo>
                    <a:pt x="1379827" y="859705"/>
                  </a:lnTo>
                  <a:lnTo>
                    <a:pt x="1387022" y="861899"/>
                  </a:lnTo>
                  <a:lnTo>
                    <a:pt x="1391788" y="863778"/>
                  </a:lnTo>
                  <a:lnTo>
                    <a:pt x="1394634" y="865398"/>
                  </a:lnTo>
                  <a:lnTo>
                    <a:pt x="1395562" y="866761"/>
                  </a:lnTo>
                  <a:lnTo>
                    <a:pt x="1395701" y="868249"/>
                  </a:lnTo>
                  <a:lnTo>
                    <a:pt x="1394345" y="871212"/>
                  </a:lnTo>
                  <a:lnTo>
                    <a:pt x="1393569" y="872300"/>
                  </a:lnTo>
                  <a:lnTo>
                    <a:pt x="1376856" y="887022"/>
                  </a:lnTo>
                  <a:lnTo>
                    <a:pt x="1370486" y="892945"/>
                  </a:lnTo>
                  <a:lnTo>
                    <a:pt x="1367242" y="896579"/>
                  </a:lnTo>
                  <a:lnTo>
                    <a:pt x="1364385" y="898975"/>
                  </a:lnTo>
                  <a:lnTo>
                    <a:pt x="1361909" y="900145"/>
                  </a:lnTo>
                  <a:lnTo>
                    <a:pt x="1357815" y="900803"/>
                  </a:lnTo>
                  <a:lnTo>
                    <a:pt x="1352104" y="900952"/>
                  </a:lnTo>
                  <a:lnTo>
                    <a:pt x="1344703" y="900390"/>
                  </a:lnTo>
                  <a:lnTo>
                    <a:pt x="1340875" y="898497"/>
                  </a:lnTo>
                  <a:lnTo>
                    <a:pt x="1333930" y="893447"/>
                  </a:lnTo>
                  <a:lnTo>
                    <a:pt x="1329066" y="890475"/>
                  </a:lnTo>
                  <a:lnTo>
                    <a:pt x="1326891" y="889479"/>
                  </a:lnTo>
                  <a:lnTo>
                    <a:pt x="1325079" y="886679"/>
                  </a:lnTo>
                  <a:lnTo>
                    <a:pt x="1323442" y="886142"/>
                  </a:lnTo>
                  <a:lnTo>
                    <a:pt x="1319952" y="885668"/>
                  </a:lnTo>
                  <a:lnTo>
                    <a:pt x="1316361" y="884168"/>
                  </a:lnTo>
                  <a:lnTo>
                    <a:pt x="1307927" y="879078"/>
                  </a:lnTo>
                  <a:lnTo>
                    <a:pt x="1303558" y="877047"/>
                  </a:lnTo>
                  <a:lnTo>
                    <a:pt x="1299584" y="875928"/>
                  </a:lnTo>
                  <a:lnTo>
                    <a:pt x="1296007" y="875727"/>
                  </a:lnTo>
                  <a:lnTo>
                    <a:pt x="1294650" y="876030"/>
                  </a:lnTo>
                  <a:lnTo>
                    <a:pt x="1297089" y="878597"/>
                  </a:lnTo>
                  <a:lnTo>
                    <a:pt x="1296026" y="878753"/>
                  </a:lnTo>
                  <a:lnTo>
                    <a:pt x="1293133" y="878166"/>
                  </a:lnTo>
                  <a:lnTo>
                    <a:pt x="1290273" y="878173"/>
                  </a:lnTo>
                  <a:lnTo>
                    <a:pt x="1285211" y="876332"/>
                  </a:lnTo>
                  <a:lnTo>
                    <a:pt x="1280214" y="876578"/>
                  </a:lnTo>
                  <a:lnTo>
                    <a:pt x="1276609" y="876208"/>
                  </a:lnTo>
                  <a:lnTo>
                    <a:pt x="1272292" y="875181"/>
                  </a:lnTo>
                  <a:lnTo>
                    <a:pt x="1267632" y="874683"/>
                  </a:lnTo>
                  <a:lnTo>
                    <a:pt x="1260128" y="874733"/>
                  </a:lnTo>
                  <a:lnTo>
                    <a:pt x="1257438" y="874949"/>
                  </a:lnTo>
                  <a:lnTo>
                    <a:pt x="1257040" y="875431"/>
                  </a:lnTo>
                  <a:lnTo>
                    <a:pt x="1260643" y="877669"/>
                  </a:lnTo>
                  <a:lnTo>
                    <a:pt x="1266831" y="880372"/>
                  </a:lnTo>
                  <a:lnTo>
                    <a:pt x="1266006" y="878042"/>
                  </a:lnTo>
                  <a:lnTo>
                    <a:pt x="1266227" y="877441"/>
                  </a:lnTo>
                  <a:lnTo>
                    <a:pt x="1268293" y="876632"/>
                  </a:lnTo>
                  <a:lnTo>
                    <a:pt x="1278096" y="878072"/>
                  </a:lnTo>
                  <a:lnTo>
                    <a:pt x="1289207" y="881089"/>
                  </a:lnTo>
                  <a:lnTo>
                    <a:pt x="1292023" y="881385"/>
                  </a:lnTo>
                  <a:lnTo>
                    <a:pt x="1295155" y="882443"/>
                  </a:lnTo>
                  <a:lnTo>
                    <a:pt x="1298605" y="884262"/>
                  </a:lnTo>
                  <a:lnTo>
                    <a:pt x="1303362" y="887971"/>
                  </a:lnTo>
                  <a:lnTo>
                    <a:pt x="1312457" y="896347"/>
                  </a:lnTo>
                  <a:lnTo>
                    <a:pt x="1315377" y="898455"/>
                  </a:lnTo>
                  <a:lnTo>
                    <a:pt x="1319245" y="900417"/>
                  </a:lnTo>
                  <a:lnTo>
                    <a:pt x="1338927" y="903250"/>
                  </a:lnTo>
                  <a:lnTo>
                    <a:pt x="1345729" y="903232"/>
                  </a:lnTo>
                  <a:lnTo>
                    <a:pt x="1359361" y="904051"/>
                  </a:lnTo>
                  <a:lnTo>
                    <a:pt x="1366560" y="905529"/>
                  </a:lnTo>
                  <a:lnTo>
                    <a:pt x="1368600" y="906633"/>
                  </a:lnTo>
                  <a:lnTo>
                    <a:pt x="1369231" y="910329"/>
                  </a:lnTo>
                  <a:lnTo>
                    <a:pt x="1368576" y="912184"/>
                  </a:lnTo>
                  <a:lnTo>
                    <a:pt x="1364661" y="917818"/>
                  </a:lnTo>
                  <a:lnTo>
                    <a:pt x="1362186" y="921955"/>
                  </a:lnTo>
                  <a:lnTo>
                    <a:pt x="1346858" y="939369"/>
                  </a:lnTo>
                  <a:lnTo>
                    <a:pt x="1344866" y="943356"/>
                  </a:lnTo>
                  <a:lnTo>
                    <a:pt x="1344004" y="945736"/>
                  </a:lnTo>
                  <a:lnTo>
                    <a:pt x="1341264" y="948199"/>
                  </a:lnTo>
                  <a:lnTo>
                    <a:pt x="1334334" y="952015"/>
                  </a:lnTo>
                  <a:lnTo>
                    <a:pt x="1327383" y="955250"/>
                  </a:lnTo>
                  <a:lnTo>
                    <a:pt x="1323208" y="955943"/>
                  </a:lnTo>
                  <a:lnTo>
                    <a:pt x="1319488" y="955175"/>
                  </a:lnTo>
                  <a:lnTo>
                    <a:pt x="1317074" y="954236"/>
                  </a:lnTo>
                  <a:lnTo>
                    <a:pt x="1313499" y="951020"/>
                  </a:lnTo>
                  <a:lnTo>
                    <a:pt x="1313275" y="951360"/>
                  </a:lnTo>
                  <a:lnTo>
                    <a:pt x="1315855" y="956394"/>
                  </a:lnTo>
                  <a:lnTo>
                    <a:pt x="1315251" y="956903"/>
                  </a:lnTo>
                  <a:lnTo>
                    <a:pt x="1313146" y="956271"/>
                  </a:lnTo>
                  <a:lnTo>
                    <a:pt x="1308354" y="954010"/>
                  </a:lnTo>
                  <a:lnTo>
                    <a:pt x="1306802" y="954427"/>
                  </a:lnTo>
                  <a:lnTo>
                    <a:pt x="1305885" y="955042"/>
                  </a:lnTo>
                  <a:lnTo>
                    <a:pt x="1304607" y="955030"/>
                  </a:lnTo>
                  <a:lnTo>
                    <a:pt x="1302971" y="954389"/>
                  </a:lnTo>
                  <a:lnTo>
                    <a:pt x="1300007" y="952513"/>
                  </a:lnTo>
                  <a:lnTo>
                    <a:pt x="1299219" y="951598"/>
                  </a:lnTo>
                  <a:lnTo>
                    <a:pt x="1298501" y="948811"/>
                  </a:lnTo>
                  <a:lnTo>
                    <a:pt x="1298014" y="948311"/>
                  </a:lnTo>
                  <a:lnTo>
                    <a:pt x="1292173" y="949922"/>
                  </a:lnTo>
                  <a:lnTo>
                    <a:pt x="1291200" y="950455"/>
                  </a:lnTo>
                  <a:lnTo>
                    <a:pt x="1293594" y="951571"/>
                  </a:lnTo>
                  <a:lnTo>
                    <a:pt x="1294407" y="952364"/>
                  </a:lnTo>
                  <a:lnTo>
                    <a:pt x="1296765" y="956487"/>
                  </a:lnTo>
                  <a:lnTo>
                    <a:pt x="1296889" y="957370"/>
                  </a:lnTo>
                  <a:lnTo>
                    <a:pt x="1295211" y="957912"/>
                  </a:lnTo>
                  <a:lnTo>
                    <a:pt x="1289631" y="956358"/>
                  </a:lnTo>
                  <a:lnTo>
                    <a:pt x="1288965" y="956489"/>
                  </a:lnTo>
                  <a:lnTo>
                    <a:pt x="1291718" y="960582"/>
                  </a:lnTo>
                  <a:lnTo>
                    <a:pt x="1292774" y="962524"/>
                  </a:lnTo>
                  <a:lnTo>
                    <a:pt x="1292889" y="963535"/>
                  </a:lnTo>
                  <a:lnTo>
                    <a:pt x="1289305" y="968155"/>
                  </a:lnTo>
                  <a:lnTo>
                    <a:pt x="1287010" y="970075"/>
                  </a:lnTo>
                  <a:lnTo>
                    <a:pt x="1283877" y="970778"/>
                  </a:lnTo>
                  <a:lnTo>
                    <a:pt x="1281915" y="970306"/>
                  </a:lnTo>
                  <a:lnTo>
                    <a:pt x="1279702" y="969129"/>
                  </a:lnTo>
                  <a:lnTo>
                    <a:pt x="1278108" y="969296"/>
                  </a:lnTo>
                  <a:lnTo>
                    <a:pt x="1277128" y="970804"/>
                  </a:lnTo>
                  <a:lnTo>
                    <a:pt x="1275307" y="971884"/>
                  </a:lnTo>
                  <a:lnTo>
                    <a:pt x="1272643" y="972527"/>
                  </a:lnTo>
                  <a:lnTo>
                    <a:pt x="1269252" y="972248"/>
                  </a:lnTo>
                  <a:lnTo>
                    <a:pt x="1265134" y="971043"/>
                  </a:lnTo>
                  <a:lnTo>
                    <a:pt x="1254211" y="966708"/>
                  </a:lnTo>
                  <a:lnTo>
                    <a:pt x="1250767" y="966037"/>
                  </a:lnTo>
                  <a:lnTo>
                    <a:pt x="1244393" y="965438"/>
                  </a:lnTo>
                  <a:lnTo>
                    <a:pt x="1243631" y="964825"/>
                  </a:lnTo>
                  <a:lnTo>
                    <a:pt x="1243687" y="964240"/>
                  </a:lnTo>
                  <a:lnTo>
                    <a:pt x="1244559" y="963685"/>
                  </a:lnTo>
                  <a:lnTo>
                    <a:pt x="1244319" y="963207"/>
                  </a:lnTo>
                  <a:lnTo>
                    <a:pt x="1242967" y="962805"/>
                  </a:lnTo>
                  <a:lnTo>
                    <a:pt x="1241563" y="963183"/>
                  </a:lnTo>
                  <a:lnTo>
                    <a:pt x="1240111" y="964336"/>
                  </a:lnTo>
                  <a:lnTo>
                    <a:pt x="1237566" y="964677"/>
                  </a:lnTo>
                  <a:lnTo>
                    <a:pt x="1233936" y="964207"/>
                  </a:lnTo>
                  <a:lnTo>
                    <a:pt x="1228568" y="962517"/>
                  </a:lnTo>
                  <a:lnTo>
                    <a:pt x="1217915" y="958151"/>
                  </a:lnTo>
                  <a:lnTo>
                    <a:pt x="1206264" y="954463"/>
                  </a:lnTo>
                  <a:lnTo>
                    <a:pt x="1199503" y="949666"/>
                  </a:lnTo>
                  <a:lnTo>
                    <a:pt x="1202029" y="953987"/>
                  </a:lnTo>
                  <a:lnTo>
                    <a:pt x="1201823" y="955447"/>
                  </a:lnTo>
                  <a:lnTo>
                    <a:pt x="1200532" y="956730"/>
                  </a:lnTo>
                  <a:lnTo>
                    <a:pt x="1200320" y="957999"/>
                  </a:lnTo>
                  <a:lnTo>
                    <a:pt x="1202965" y="961074"/>
                  </a:lnTo>
                  <a:lnTo>
                    <a:pt x="1206622" y="962176"/>
                  </a:lnTo>
                  <a:lnTo>
                    <a:pt x="1210309" y="962060"/>
                  </a:lnTo>
                  <a:lnTo>
                    <a:pt x="1210410" y="961558"/>
                  </a:lnTo>
                  <a:lnTo>
                    <a:pt x="1208872" y="960793"/>
                  </a:lnTo>
                  <a:lnTo>
                    <a:pt x="1207518" y="959670"/>
                  </a:lnTo>
                  <a:lnTo>
                    <a:pt x="1206869" y="958007"/>
                  </a:lnTo>
                  <a:lnTo>
                    <a:pt x="1207562" y="957713"/>
                  </a:lnTo>
                  <a:lnTo>
                    <a:pt x="1210810" y="958585"/>
                  </a:lnTo>
                  <a:lnTo>
                    <a:pt x="1212953" y="959601"/>
                  </a:lnTo>
                  <a:lnTo>
                    <a:pt x="1229097" y="965272"/>
                  </a:lnTo>
                  <a:lnTo>
                    <a:pt x="1233915" y="966331"/>
                  </a:lnTo>
                  <a:lnTo>
                    <a:pt x="1237534" y="967423"/>
                  </a:lnTo>
                  <a:lnTo>
                    <a:pt x="1238539" y="968072"/>
                  </a:lnTo>
                  <a:lnTo>
                    <a:pt x="1237317" y="969477"/>
                  </a:lnTo>
                  <a:lnTo>
                    <a:pt x="1230826" y="972988"/>
                  </a:lnTo>
                  <a:lnTo>
                    <a:pt x="1230724" y="973565"/>
                  </a:lnTo>
                  <a:lnTo>
                    <a:pt x="1235174" y="973247"/>
                  </a:lnTo>
                  <a:lnTo>
                    <a:pt x="1240574" y="970152"/>
                  </a:lnTo>
                  <a:lnTo>
                    <a:pt x="1243611" y="968719"/>
                  </a:lnTo>
                  <a:lnTo>
                    <a:pt x="1246527" y="967836"/>
                  </a:lnTo>
                  <a:lnTo>
                    <a:pt x="1250477" y="969359"/>
                  </a:lnTo>
                  <a:lnTo>
                    <a:pt x="1255466" y="973278"/>
                  </a:lnTo>
                  <a:lnTo>
                    <a:pt x="1259503" y="975501"/>
                  </a:lnTo>
                  <a:lnTo>
                    <a:pt x="1265260" y="976742"/>
                  </a:lnTo>
                  <a:lnTo>
                    <a:pt x="1268632" y="978070"/>
                  </a:lnTo>
                  <a:lnTo>
                    <a:pt x="1274300" y="981723"/>
                  </a:lnTo>
                  <a:lnTo>
                    <a:pt x="1275194" y="983623"/>
                  </a:lnTo>
                  <a:lnTo>
                    <a:pt x="1275716" y="991348"/>
                  </a:lnTo>
                  <a:lnTo>
                    <a:pt x="1275516" y="993207"/>
                  </a:lnTo>
                  <a:lnTo>
                    <a:pt x="1274780" y="995054"/>
                  </a:lnTo>
                  <a:lnTo>
                    <a:pt x="1273506" y="996878"/>
                  </a:lnTo>
                  <a:lnTo>
                    <a:pt x="1271139" y="997898"/>
                  </a:lnTo>
                  <a:lnTo>
                    <a:pt x="1267677" y="998118"/>
                  </a:lnTo>
                  <a:lnTo>
                    <a:pt x="1264959" y="998867"/>
                  </a:lnTo>
                  <a:lnTo>
                    <a:pt x="1259013" y="1002943"/>
                  </a:lnTo>
                  <a:lnTo>
                    <a:pt x="1256489" y="1003531"/>
                  </a:lnTo>
                  <a:lnTo>
                    <a:pt x="1245823" y="1002315"/>
                  </a:lnTo>
                  <a:lnTo>
                    <a:pt x="1241649" y="1001176"/>
                  </a:lnTo>
                  <a:lnTo>
                    <a:pt x="1239726" y="1001244"/>
                  </a:lnTo>
                  <a:lnTo>
                    <a:pt x="1238660" y="1002143"/>
                  </a:lnTo>
                  <a:lnTo>
                    <a:pt x="1237543" y="1002549"/>
                  </a:lnTo>
                  <a:lnTo>
                    <a:pt x="1233356" y="1002923"/>
                  </a:lnTo>
                  <a:lnTo>
                    <a:pt x="1232674" y="1003657"/>
                  </a:lnTo>
                  <a:lnTo>
                    <a:pt x="1232938" y="1004785"/>
                  </a:lnTo>
                  <a:lnTo>
                    <a:pt x="1233761" y="1006314"/>
                  </a:lnTo>
                  <a:lnTo>
                    <a:pt x="1234779" y="1007191"/>
                  </a:lnTo>
                  <a:lnTo>
                    <a:pt x="1236351" y="1008300"/>
                  </a:lnTo>
                  <a:lnTo>
                    <a:pt x="1238736" y="1009027"/>
                  </a:lnTo>
                  <a:lnTo>
                    <a:pt x="1243636" y="1009838"/>
                  </a:lnTo>
                  <a:lnTo>
                    <a:pt x="1244144" y="1011909"/>
                  </a:lnTo>
                  <a:lnTo>
                    <a:pt x="1243925" y="1012576"/>
                  </a:lnTo>
                  <a:lnTo>
                    <a:pt x="1242317" y="1013957"/>
                  </a:lnTo>
                  <a:lnTo>
                    <a:pt x="1240458" y="1013816"/>
                  </a:lnTo>
                  <a:lnTo>
                    <a:pt x="1237262" y="1012186"/>
                  </a:lnTo>
                  <a:lnTo>
                    <a:pt x="1235682" y="1012123"/>
                  </a:lnTo>
                  <a:lnTo>
                    <a:pt x="1234299" y="1013006"/>
                  </a:lnTo>
                  <a:lnTo>
                    <a:pt x="1232374" y="1013298"/>
                  </a:lnTo>
                  <a:lnTo>
                    <a:pt x="1229905" y="1012997"/>
                  </a:lnTo>
                  <a:lnTo>
                    <a:pt x="1228535" y="1013712"/>
                  </a:lnTo>
                  <a:lnTo>
                    <a:pt x="1228261" y="1015442"/>
                  </a:lnTo>
                  <a:lnTo>
                    <a:pt x="1227430" y="1016737"/>
                  </a:lnTo>
                  <a:lnTo>
                    <a:pt x="1224579" y="1018780"/>
                  </a:lnTo>
                  <a:lnTo>
                    <a:pt x="1223043" y="1020286"/>
                  </a:lnTo>
                  <a:lnTo>
                    <a:pt x="1223095" y="1021468"/>
                  </a:lnTo>
                  <a:lnTo>
                    <a:pt x="1224730" y="1022322"/>
                  </a:lnTo>
                  <a:lnTo>
                    <a:pt x="1226607" y="1024256"/>
                  </a:lnTo>
                  <a:lnTo>
                    <a:pt x="1228722" y="1027270"/>
                  </a:lnTo>
                  <a:lnTo>
                    <a:pt x="1229129" y="1028601"/>
                  </a:lnTo>
                  <a:lnTo>
                    <a:pt x="1227830" y="1028250"/>
                  </a:lnTo>
                  <a:lnTo>
                    <a:pt x="1226083" y="1027056"/>
                  </a:lnTo>
                  <a:lnTo>
                    <a:pt x="1223886" y="1025016"/>
                  </a:lnTo>
                  <a:lnTo>
                    <a:pt x="1220563" y="1023188"/>
                  </a:lnTo>
                  <a:lnTo>
                    <a:pt x="1213244" y="1020803"/>
                  </a:lnTo>
                  <a:lnTo>
                    <a:pt x="1211953" y="1020877"/>
                  </a:lnTo>
                  <a:lnTo>
                    <a:pt x="1212615" y="1021483"/>
                  </a:lnTo>
                  <a:lnTo>
                    <a:pt x="1217470" y="1023985"/>
                  </a:lnTo>
                  <a:lnTo>
                    <a:pt x="1219329" y="1025595"/>
                  </a:lnTo>
                  <a:lnTo>
                    <a:pt x="1219556" y="1026767"/>
                  </a:lnTo>
                  <a:lnTo>
                    <a:pt x="1215490" y="1029332"/>
                  </a:lnTo>
                  <a:lnTo>
                    <a:pt x="1215378" y="1030192"/>
                  </a:lnTo>
                  <a:lnTo>
                    <a:pt x="1216457" y="1030944"/>
                  </a:lnTo>
                  <a:lnTo>
                    <a:pt x="1216748" y="1031569"/>
                  </a:lnTo>
                  <a:lnTo>
                    <a:pt x="1215299" y="1032828"/>
                  </a:lnTo>
                  <a:lnTo>
                    <a:pt x="1212913" y="1033882"/>
                  </a:lnTo>
                  <a:lnTo>
                    <a:pt x="1208292" y="1034033"/>
                  </a:lnTo>
                  <a:lnTo>
                    <a:pt x="1207871" y="1034629"/>
                  </a:lnTo>
                  <a:lnTo>
                    <a:pt x="1209632" y="1035919"/>
                  </a:lnTo>
                  <a:lnTo>
                    <a:pt x="1210226" y="1036720"/>
                  </a:lnTo>
                  <a:lnTo>
                    <a:pt x="1208715" y="1037821"/>
                  </a:lnTo>
                  <a:lnTo>
                    <a:pt x="1207728" y="1037976"/>
                  </a:lnTo>
                  <a:lnTo>
                    <a:pt x="1202408" y="1037465"/>
                  </a:lnTo>
                  <a:lnTo>
                    <a:pt x="1203805" y="1040215"/>
                  </a:lnTo>
                  <a:lnTo>
                    <a:pt x="1204628" y="1041180"/>
                  </a:lnTo>
                  <a:lnTo>
                    <a:pt x="1206259" y="1042538"/>
                  </a:lnTo>
                  <a:lnTo>
                    <a:pt x="1209187" y="1043798"/>
                  </a:lnTo>
                  <a:lnTo>
                    <a:pt x="1209249" y="1044285"/>
                  </a:lnTo>
                  <a:lnTo>
                    <a:pt x="1208226" y="1045366"/>
                  </a:lnTo>
                  <a:lnTo>
                    <a:pt x="1206495" y="1046680"/>
                  </a:lnTo>
                  <a:lnTo>
                    <a:pt x="1199166" y="1050698"/>
                  </a:lnTo>
                  <a:lnTo>
                    <a:pt x="1194016" y="1055399"/>
                  </a:lnTo>
                  <a:lnTo>
                    <a:pt x="1193303" y="1056866"/>
                  </a:lnTo>
                  <a:lnTo>
                    <a:pt x="1194611" y="1059950"/>
                  </a:lnTo>
                  <a:lnTo>
                    <a:pt x="1194623" y="1060725"/>
                  </a:lnTo>
                  <a:lnTo>
                    <a:pt x="1193274" y="1062119"/>
                  </a:lnTo>
                  <a:lnTo>
                    <a:pt x="1190263" y="1061740"/>
                  </a:lnTo>
                  <a:lnTo>
                    <a:pt x="1189687" y="1062287"/>
                  </a:lnTo>
                  <a:lnTo>
                    <a:pt x="1190404" y="1063737"/>
                  </a:lnTo>
                  <a:lnTo>
                    <a:pt x="1190537" y="1065857"/>
                  </a:lnTo>
                  <a:lnTo>
                    <a:pt x="1190085" y="1068653"/>
                  </a:lnTo>
                  <a:lnTo>
                    <a:pt x="1187897" y="1073026"/>
                  </a:lnTo>
                  <a:lnTo>
                    <a:pt x="1183977" y="1078966"/>
                  </a:lnTo>
                  <a:lnTo>
                    <a:pt x="1180971" y="1084349"/>
                  </a:lnTo>
                  <a:lnTo>
                    <a:pt x="1178888" y="1089181"/>
                  </a:lnTo>
                  <a:lnTo>
                    <a:pt x="1177378" y="1091573"/>
                  </a:lnTo>
                  <a:lnTo>
                    <a:pt x="1174593" y="1091737"/>
                  </a:lnTo>
                  <a:lnTo>
                    <a:pt x="1172489" y="1093243"/>
                  </a:lnTo>
                  <a:lnTo>
                    <a:pt x="1173920" y="1094035"/>
                  </a:lnTo>
                  <a:lnTo>
                    <a:pt x="1174798" y="1094959"/>
                  </a:lnTo>
                  <a:lnTo>
                    <a:pt x="1175404" y="1096367"/>
                  </a:lnTo>
                  <a:lnTo>
                    <a:pt x="1174804" y="1100762"/>
                  </a:lnTo>
                  <a:lnTo>
                    <a:pt x="1172999" y="1108126"/>
                  </a:lnTo>
                  <a:lnTo>
                    <a:pt x="1171879" y="1113966"/>
                  </a:lnTo>
                  <a:lnTo>
                    <a:pt x="1172110" y="1131895"/>
                  </a:lnTo>
                  <a:lnTo>
                    <a:pt x="1171816" y="1139785"/>
                  </a:lnTo>
                  <a:lnTo>
                    <a:pt x="1171023" y="1144149"/>
                  </a:lnTo>
                  <a:lnTo>
                    <a:pt x="1169737" y="1146517"/>
                  </a:lnTo>
                  <a:lnTo>
                    <a:pt x="1167529" y="1147232"/>
                  </a:lnTo>
                  <a:lnTo>
                    <a:pt x="1170338" y="1147922"/>
                  </a:lnTo>
                  <a:lnTo>
                    <a:pt x="1172123" y="1149034"/>
                  </a:lnTo>
                  <a:lnTo>
                    <a:pt x="1172945" y="1150719"/>
                  </a:lnTo>
                  <a:lnTo>
                    <a:pt x="1173715" y="1153408"/>
                  </a:lnTo>
                  <a:lnTo>
                    <a:pt x="1174730" y="1154646"/>
                  </a:lnTo>
                  <a:lnTo>
                    <a:pt x="1175989" y="1154436"/>
                  </a:lnTo>
                  <a:lnTo>
                    <a:pt x="1177117" y="1154706"/>
                  </a:lnTo>
                  <a:lnTo>
                    <a:pt x="1178119" y="1155454"/>
                  </a:lnTo>
                  <a:lnTo>
                    <a:pt x="1181173" y="1159282"/>
                  </a:lnTo>
                  <a:lnTo>
                    <a:pt x="1184525" y="1160378"/>
                  </a:lnTo>
                  <a:lnTo>
                    <a:pt x="1184683" y="1162498"/>
                  </a:lnTo>
                  <a:lnTo>
                    <a:pt x="1183370" y="1174345"/>
                  </a:lnTo>
                  <a:lnTo>
                    <a:pt x="1183379" y="1175887"/>
                  </a:lnTo>
                  <a:lnTo>
                    <a:pt x="1184902" y="1172906"/>
                  </a:lnTo>
                  <a:lnTo>
                    <a:pt x="1186506" y="1163707"/>
                  </a:lnTo>
                  <a:lnTo>
                    <a:pt x="1188681" y="1159609"/>
                  </a:lnTo>
                  <a:lnTo>
                    <a:pt x="1190389" y="1158743"/>
                  </a:lnTo>
                  <a:lnTo>
                    <a:pt x="1197382" y="1158276"/>
                  </a:lnTo>
                  <a:lnTo>
                    <a:pt x="1204832" y="1159320"/>
                  </a:lnTo>
                  <a:lnTo>
                    <a:pt x="1207651" y="1159449"/>
                  </a:lnTo>
                  <a:lnTo>
                    <a:pt x="1210108" y="1158877"/>
                  </a:lnTo>
                  <a:lnTo>
                    <a:pt x="1212627" y="1160020"/>
                  </a:lnTo>
                  <a:lnTo>
                    <a:pt x="1213240" y="1161175"/>
                  </a:lnTo>
                  <a:lnTo>
                    <a:pt x="1213952" y="1166006"/>
                  </a:lnTo>
                  <a:lnTo>
                    <a:pt x="1214619" y="1168769"/>
                  </a:lnTo>
                  <a:lnTo>
                    <a:pt x="1219058" y="1178577"/>
                  </a:lnTo>
                  <a:lnTo>
                    <a:pt x="1221173" y="1184053"/>
                  </a:lnTo>
                  <a:lnTo>
                    <a:pt x="1223756" y="1192572"/>
                  </a:lnTo>
                  <a:lnTo>
                    <a:pt x="1224725" y="1195002"/>
                  </a:lnTo>
                  <a:lnTo>
                    <a:pt x="1230101" y="1206308"/>
                  </a:lnTo>
                  <a:lnTo>
                    <a:pt x="1231121" y="1209361"/>
                  </a:lnTo>
                  <a:lnTo>
                    <a:pt x="1231541" y="1211712"/>
                  </a:lnTo>
                  <a:lnTo>
                    <a:pt x="1231365" y="1213360"/>
                  </a:lnTo>
                  <a:lnTo>
                    <a:pt x="1230387" y="1215898"/>
                  </a:lnTo>
                  <a:lnTo>
                    <a:pt x="1228609" y="1219324"/>
                  </a:lnTo>
                  <a:lnTo>
                    <a:pt x="1226944" y="1221933"/>
                  </a:lnTo>
                  <a:lnTo>
                    <a:pt x="1225395" y="1223726"/>
                  </a:lnTo>
                  <a:lnTo>
                    <a:pt x="1223803" y="1225063"/>
                  </a:lnTo>
                  <a:lnTo>
                    <a:pt x="1222170" y="1225944"/>
                  </a:lnTo>
                  <a:lnTo>
                    <a:pt x="1222278" y="1226173"/>
                  </a:lnTo>
                  <a:lnTo>
                    <a:pt x="1224126" y="1225755"/>
                  </a:lnTo>
                  <a:lnTo>
                    <a:pt x="1226010" y="1224858"/>
                  </a:lnTo>
                  <a:lnTo>
                    <a:pt x="1229577" y="1222538"/>
                  </a:lnTo>
                  <a:lnTo>
                    <a:pt x="1230946" y="1222017"/>
                  </a:lnTo>
                  <a:lnTo>
                    <a:pt x="1234824" y="1221685"/>
                  </a:lnTo>
                  <a:lnTo>
                    <a:pt x="1234953" y="1222522"/>
                  </a:lnTo>
                  <a:lnTo>
                    <a:pt x="1233081" y="1224248"/>
                  </a:lnTo>
                  <a:lnTo>
                    <a:pt x="1233497" y="1224413"/>
                  </a:lnTo>
                  <a:lnTo>
                    <a:pt x="1236202" y="1223022"/>
                  </a:lnTo>
                  <a:lnTo>
                    <a:pt x="1242059" y="1221035"/>
                  </a:lnTo>
                  <a:lnTo>
                    <a:pt x="1265051" y="1214590"/>
                  </a:lnTo>
                  <a:lnTo>
                    <a:pt x="1270473" y="1214019"/>
                  </a:lnTo>
                  <a:lnTo>
                    <a:pt x="1278213" y="1215199"/>
                  </a:lnTo>
                  <a:lnTo>
                    <a:pt x="1284486" y="1217939"/>
                  </a:lnTo>
                  <a:lnTo>
                    <a:pt x="1291323" y="1221466"/>
                  </a:lnTo>
                  <a:lnTo>
                    <a:pt x="1298534" y="1224023"/>
                  </a:lnTo>
                  <a:lnTo>
                    <a:pt x="1309906" y="1226411"/>
                  </a:lnTo>
                  <a:lnTo>
                    <a:pt x="1313221" y="1227554"/>
                  </a:lnTo>
                  <a:lnTo>
                    <a:pt x="1319892" y="1228731"/>
                  </a:lnTo>
                  <a:lnTo>
                    <a:pt x="1322986" y="1230070"/>
                  </a:lnTo>
                  <a:lnTo>
                    <a:pt x="1326702" y="1233292"/>
                  </a:lnTo>
                  <a:lnTo>
                    <a:pt x="1332607" y="1237489"/>
                  </a:lnTo>
                  <a:lnTo>
                    <a:pt x="1337062" y="1240119"/>
                  </a:lnTo>
                  <a:lnTo>
                    <a:pt x="1342038" y="1242581"/>
                  </a:lnTo>
                  <a:lnTo>
                    <a:pt x="1347032" y="1247098"/>
                  </a:lnTo>
                  <a:lnTo>
                    <a:pt x="1355077" y="1257319"/>
                  </a:lnTo>
                  <a:lnTo>
                    <a:pt x="1357066" y="1258573"/>
                  </a:lnTo>
                  <a:lnTo>
                    <a:pt x="1362025" y="1260239"/>
                  </a:lnTo>
                  <a:lnTo>
                    <a:pt x="1371343" y="1262386"/>
                  </a:lnTo>
                  <a:lnTo>
                    <a:pt x="1385097" y="1267424"/>
                  </a:lnTo>
                  <a:lnTo>
                    <a:pt x="1391139" y="1269396"/>
                  </a:lnTo>
                  <a:lnTo>
                    <a:pt x="1395049" y="1270178"/>
                  </a:lnTo>
                  <a:lnTo>
                    <a:pt x="1398952" y="1271564"/>
                  </a:lnTo>
                  <a:lnTo>
                    <a:pt x="1402854" y="1273550"/>
                  </a:lnTo>
                  <a:lnTo>
                    <a:pt x="1405829" y="1275713"/>
                  </a:lnTo>
                  <a:lnTo>
                    <a:pt x="1407880" y="1278053"/>
                  </a:lnTo>
                  <a:lnTo>
                    <a:pt x="1409685" y="1279582"/>
                  </a:lnTo>
                  <a:lnTo>
                    <a:pt x="1412843" y="1281278"/>
                  </a:lnTo>
                  <a:lnTo>
                    <a:pt x="1414484" y="1282493"/>
                  </a:lnTo>
                  <a:lnTo>
                    <a:pt x="1414636" y="1284318"/>
                  </a:lnTo>
                  <a:lnTo>
                    <a:pt x="1410832" y="1291457"/>
                  </a:lnTo>
                  <a:lnTo>
                    <a:pt x="1410750" y="1292027"/>
                  </a:lnTo>
                  <a:lnTo>
                    <a:pt x="1414596" y="1286904"/>
                  </a:lnTo>
                  <a:lnTo>
                    <a:pt x="1416744" y="1285423"/>
                  </a:lnTo>
                  <a:lnTo>
                    <a:pt x="1418466" y="1284736"/>
                  </a:lnTo>
                  <a:lnTo>
                    <a:pt x="1422042" y="1284817"/>
                  </a:lnTo>
                  <a:lnTo>
                    <a:pt x="1427472" y="1285671"/>
                  </a:lnTo>
                  <a:lnTo>
                    <a:pt x="1432234" y="1285682"/>
                  </a:lnTo>
                  <a:lnTo>
                    <a:pt x="1436329" y="1284846"/>
                  </a:lnTo>
                  <a:lnTo>
                    <a:pt x="1439816" y="1284471"/>
                  </a:lnTo>
                  <a:lnTo>
                    <a:pt x="1442696" y="1284553"/>
                  </a:lnTo>
                  <a:lnTo>
                    <a:pt x="1444784" y="1284305"/>
                  </a:lnTo>
                  <a:lnTo>
                    <a:pt x="1446084" y="1283726"/>
                  </a:lnTo>
                  <a:lnTo>
                    <a:pt x="1447635" y="1283709"/>
                  </a:lnTo>
                  <a:lnTo>
                    <a:pt x="1453794" y="1285484"/>
                  </a:lnTo>
                  <a:lnTo>
                    <a:pt x="1456284" y="1285579"/>
                  </a:lnTo>
                  <a:lnTo>
                    <a:pt x="1465289" y="1287249"/>
                  </a:lnTo>
                  <a:lnTo>
                    <a:pt x="1471072" y="1286655"/>
                  </a:lnTo>
                  <a:lnTo>
                    <a:pt x="1472067" y="1286979"/>
                  </a:lnTo>
                  <a:lnTo>
                    <a:pt x="1474077" y="1289153"/>
                  </a:lnTo>
                  <a:lnTo>
                    <a:pt x="1475778" y="1289323"/>
                  </a:lnTo>
                  <a:lnTo>
                    <a:pt x="1478648" y="1288983"/>
                  </a:lnTo>
                  <a:lnTo>
                    <a:pt x="1481439" y="1289577"/>
                  </a:lnTo>
                  <a:lnTo>
                    <a:pt x="1486109" y="1292432"/>
                  </a:lnTo>
                  <a:lnTo>
                    <a:pt x="1488265" y="1294889"/>
                  </a:lnTo>
                  <a:lnTo>
                    <a:pt x="1490334" y="1299898"/>
                  </a:lnTo>
                  <a:lnTo>
                    <a:pt x="1490518" y="1301391"/>
                  </a:lnTo>
                  <a:lnTo>
                    <a:pt x="1486683" y="1312967"/>
                  </a:lnTo>
                  <a:lnTo>
                    <a:pt x="1485480" y="1317434"/>
                  </a:lnTo>
                  <a:lnTo>
                    <a:pt x="1485326" y="1321318"/>
                  </a:lnTo>
                  <a:lnTo>
                    <a:pt x="1486087" y="1323555"/>
                  </a:lnTo>
                  <a:lnTo>
                    <a:pt x="1489398" y="1327299"/>
                  </a:lnTo>
                  <a:lnTo>
                    <a:pt x="1489997" y="1328280"/>
                  </a:lnTo>
                  <a:lnTo>
                    <a:pt x="1491957" y="1333812"/>
                  </a:lnTo>
                  <a:lnTo>
                    <a:pt x="1492494" y="1336176"/>
                  </a:lnTo>
                  <a:lnTo>
                    <a:pt x="1492277" y="1338883"/>
                  </a:lnTo>
                  <a:lnTo>
                    <a:pt x="1491247" y="1343338"/>
                  </a:lnTo>
                  <a:lnTo>
                    <a:pt x="1491506" y="1346730"/>
                  </a:lnTo>
                  <a:lnTo>
                    <a:pt x="1492373" y="1351849"/>
                  </a:lnTo>
                  <a:lnTo>
                    <a:pt x="1492044" y="1355312"/>
                  </a:lnTo>
                  <a:lnTo>
                    <a:pt x="1490521" y="1357126"/>
                  </a:lnTo>
                  <a:lnTo>
                    <a:pt x="1489490" y="1358905"/>
                  </a:lnTo>
                  <a:lnTo>
                    <a:pt x="1488687" y="1362127"/>
                  </a:lnTo>
                  <a:lnTo>
                    <a:pt x="1488688" y="1363344"/>
                  </a:lnTo>
                  <a:lnTo>
                    <a:pt x="1489477" y="1365733"/>
                  </a:lnTo>
                  <a:lnTo>
                    <a:pt x="1490941" y="1367086"/>
                  </a:lnTo>
                  <a:lnTo>
                    <a:pt x="1493343" y="1368605"/>
                  </a:lnTo>
                  <a:lnTo>
                    <a:pt x="1495573" y="1370858"/>
                  </a:lnTo>
                  <a:lnTo>
                    <a:pt x="1499649" y="1376341"/>
                  </a:lnTo>
                  <a:lnTo>
                    <a:pt x="1502615" y="1379341"/>
                  </a:lnTo>
                  <a:lnTo>
                    <a:pt x="1506238" y="1383811"/>
                  </a:lnTo>
                  <a:lnTo>
                    <a:pt x="1506941" y="1386036"/>
                  </a:lnTo>
                  <a:lnTo>
                    <a:pt x="1505931" y="1387509"/>
                  </a:lnTo>
                  <a:lnTo>
                    <a:pt x="1504671" y="1388535"/>
                  </a:lnTo>
                  <a:lnTo>
                    <a:pt x="1501751" y="1389907"/>
                  </a:lnTo>
                  <a:lnTo>
                    <a:pt x="1500445" y="1390906"/>
                  </a:lnTo>
                  <a:lnTo>
                    <a:pt x="1500783" y="1391145"/>
                  </a:lnTo>
                  <a:lnTo>
                    <a:pt x="1505007" y="1390401"/>
                  </a:lnTo>
                  <a:lnTo>
                    <a:pt x="1507503" y="1390479"/>
                  </a:lnTo>
                  <a:lnTo>
                    <a:pt x="1509615" y="1391576"/>
                  </a:lnTo>
                  <a:lnTo>
                    <a:pt x="1511342" y="1393692"/>
                  </a:lnTo>
                  <a:lnTo>
                    <a:pt x="1514209" y="1395492"/>
                  </a:lnTo>
                  <a:lnTo>
                    <a:pt x="1518211" y="1396979"/>
                  </a:lnTo>
                  <a:lnTo>
                    <a:pt x="1522235" y="1399461"/>
                  </a:lnTo>
                  <a:lnTo>
                    <a:pt x="1528904" y="1405348"/>
                  </a:lnTo>
                  <a:lnTo>
                    <a:pt x="1530110" y="1406701"/>
                  </a:lnTo>
                  <a:lnTo>
                    <a:pt x="1531884" y="1409779"/>
                  </a:lnTo>
                  <a:lnTo>
                    <a:pt x="1534221" y="1414575"/>
                  </a:lnTo>
                  <a:lnTo>
                    <a:pt x="1535444" y="1417704"/>
                  </a:lnTo>
                  <a:lnTo>
                    <a:pt x="1535553" y="1419174"/>
                  </a:lnTo>
                  <a:lnTo>
                    <a:pt x="1534230" y="1420650"/>
                  </a:lnTo>
                  <a:lnTo>
                    <a:pt x="1529736" y="1423338"/>
                  </a:lnTo>
                  <a:lnTo>
                    <a:pt x="1525210" y="1428030"/>
                  </a:lnTo>
                  <a:lnTo>
                    <a:pt x="1526636" y="1427801"/>
                  </a:lnTo>
                  <a:lnTo>
                    <a:pt x="1529621" y="1425819"/>
                  </a:lnTo>
                  <a:lnTo>
                    <a:pt x="1534665" y="1421907"/>
                  </a:lnTo>
                  <a:lnTo>
                    <a:pt x="1537463" y="1421148"/>
                  </a:lnTo>
                  <a:lnTo>
                    <a:pt x="1540057" y="1421603"/>
                  </a:lnTo>
                  <a:lnTo>
                    <a:pt x="1544167" y="1422729"/>
                  </a:lnTo>
                  <a:lnTo>
                    <a:pt x="1547798" y="1424332"/>
                  </a:lnTo>
                  <a:lnTo>
                    <a:pt x="1550947" y="1426408"/>
                  </a:lnTo>
                  <a:lnTo>
                    <a:pt x="1555630" y="1431958"/>
                  </a:lnTo>
                  <a:lnTo>
                    <a:pt x="1560584" y="1436384"/>
                  </a:lnTo>
                  <a:lnTo>
                    <a:pt x="1563328" y="1440159"/>
                  </a:lnTo>
                  <a:lnTo>
                    <a:pt x="1562496" y="1437758"/>
                  </a:lnTo>
                  <a:lnTo>
                    <a:pt x="1560672" y="1434990"/>
                  </a:lnTo>
                  <a:lnTo>
                    <a:pt x="1556019" y="1430577"/>
                  </a:lnTo>
                  <a:lnTo>
                    <a:pt x="1554034" y="1428279"/>
                  </a:lnTo>
                  <a:lnTo>
                    <a:pt x="1553604" y="1427175"/>
                  </a:lnTo>
                  <a:lnTo>
                    <a:pt x="1553451" y="1425973"/>
                  </a:lnTo>
                  <a:lnTo>
                    <a:pt x="1553811" y="1423777"/>
                  </a:lnTo>
                  <a:lnTo>
                    <a:pt x="1554684" y="1420587"/>
                  </a:lnTo>
                  <a:lnTo>
                    <a:pt x="1555847" y="1418334"/>
                  </a:lnTo>
                  <a:lnTo>
                    <a:pt x="1557297" y="1417023"/>
                  </a:lnTo>
                  <a:lnTo>
                    <a:pt x="1558268" y="1415629"/>
                  </a:lnTo>
                  <a:lnTo>
                    <a:pt x="1558760" y="1414150"/>
                  </a:lnTo>
                  <a:lnTo>
                    <a:pt x="1559533" y="1413063"/>
                  </a:lnTo>
                  <a:lnTo>
                    <a:pt x="1563563" y="1411098"/>
                  </a:lnTo>
                  <a:lnTo>
                    <a:pt x="1564620" y="1411279"/>
                  </a:lnTo>
                  <a:lnTo>
                    <a:pt x="1565449" y="1413668"/>
                  </a:lnTo>
                  <a:lnTo>
                    <a:pt x="1566416" y="1414164"/>
                  </a:lnTo>
                  <a:lnTo>
                    <a:pt x="1568277" y="1414537"/>
                  </a:lnTo>
                  <a:lnTo>
                    <a:pt x="1569846" y="1415364"/>
                  </a:lnTo>
                  <a:lnTo>
                    <a:pt x="1571122" y="1416642"/>
                  </a:lnTo>
                  <a:lnTo>
                    <a:pt x="1572022" y="1417936"/>
                  </a:lnTo>
                  <a:lnTo>
                    <a:pt x="1572547" y="1419248"/>
                  </a:lnTo>
                  <a:lnTo>
                    <a:pt x="1573749" y="1423526"/>
                  </a:lnTo>
                  <a:lnTo>
                    <a:pt x="1574605" y="1425503"/>
                  </a:lnTo>
                  <a:lnTo>
                    <a:pt x="1574749" y="1423105"/>
                  </a:lnTo>
                  <a:lnTo>
                    <a:pt x="1575750" y="1419330"/>
                  </a:lnTo>
                  <a:lnTo>
                    <a:pt x="1576525" y="1417780"/>
                  </a:lnTo>
                  <a:lnTo>
                    <a:pt x="1578962" y="1415507"/>
                  </a:lnTo>
                  <a:lnTo>
                    <a:pt x="1578832" y="1414524"/>
                  </a:lnTo>
                  <a:lnTo>
                    <a:pt x="1577821" y="1413203"/>
                  </a:lnTo>
                  <a:lnTo>
                    <a:pt x="1572714" y="1407532"/>
                  </a:lnTo>
                  <a:lnTo>
                    <a:pt x="1572615" y="1406153"/>
                  </a:lnTo>
                  <a:lnTo>
                    <a:pt x="1573978" y="1405332"/>
                  </a:lnTo>
                  <a:lnTo>
                    <a:pt x="1574911" y="1403766"/>
                  </a:lnTo>
                  <a:lnTo>
                    <a:pt x="1575414" y="1401453"/>
                  </a:lnTo>
                  <a:lnTo>
                    <a:pt x="1576506" y="1399774"/>
                  </a:lnTo>
                  <a:lnTo>
                    <a:pt x="1579706" y="1397410"/>
                  </a:lnTo>
                  <a:lnTo>
                    <a:pt x="1582462" y="1393778"/>
                  </a:lnTo>
                  <a:lnTo>
                    <a:pt x="1583880" y="1391278"/>
                  </a:lnTo>
                  <a:lnTo>
                    <a:pt x="1585040" y="1389958"/>
                  </a:lnTo>
                  <a:lnTo>
                    <a:pt x="1586144" y="1389642"/>
                  </a:lnTo>
                  <a:lnTo>
                    <a:pt x="1584496" y="1388630"/>
                  </a:lnTo>
                  <a:lnTo>
                    <a:pt x="1584167" y="1387964"/>
                  </a:lnTo>
                  <a:lnTo>
                    <a:pt x="1584090" y="1384950"/>
                  </a:lnTo>
                  <a:lnTo>
                    <a:pt x="1583380" y="1381789"/>
                  </a:lnTo>
                  <a:lnTo>
                    <a:pt x="1582277" y="1380314"/>
                  </a:lnTo>
                  <a:lnTo>
                    <a:pt x="1579154" y="1377150"/>
                  </a:lnTo>
                  <a:lnTo>
                    <a:pt x="1578638" y="1376206"/>
                  </a:lnTo>
                  <a:lnTo>
                    <a:pt x="1578089" y="1372624"/>
                  </a:lnTo>
                  <a:lnTo>
                    <a:pt x="1578397" y="1370832"/>
                  </a:lnTo>
                  <a:lnTo>
                    <a:pt x="1579207" y="1369323"/>
                  </a:lnTo>
                  <a:lnTo>
                    <a:pt x="1578746" y="1367864"/>
                  </a:lnTo>
                  <a:lnTo>
                    <a:pt x="1575849" y="1365220"/>
                  </a:lnTo>
                  <a:lnTo>
                    <a:pt x="1574730" y="1362909"/>
                  </a:lnTo>
                  <a:lnTo>
                    <a:pt x="1573491" y="1357309"/>
                  </a:lnTo>
                  <a:lnTo>
                    <a:pt x="1572351" y="1350271"/>
                  </a:lnTo>
                  <a:lnTo>
                    <a:pt x="1571057" y="1345084"/>
                  </a:lnTo>
                  <a:lnTo>
                    <a:pt x="1569606" y="1341756"/>
                  </a:lnTo>
                  <a:lnTo>
                    <a:pt x="1569280" y="1339658"/>
                  </a:lnTo>
                  <a:lnTo>
                    <a:pt x="1570084" y="1338788"/>
                  </a:lnTo>
                  <a:lnTo>
                    <a:pt x="1571127" y="1336163"/>
                  </a:lnTo>
                  <a:lnTo>
                    <a:pt x="1572069" y="1335518"/>
                  </a:lnTo>
                  <a:lnTo>
                    <a:pt x="1573527" y="1335691"/>
                  </a:lnTo>
                  <a:lnTo>
                    <a:pt x="1573560" y="1335390"/>
                  </a:lnTo>
                  <a:lnTo>
                    <a:pt x="1571338" y="1333973"/>
                  </a:lnTo>
                  <a:lnTo>
                    <a:pt x="1570245" y="1332190"/>
                  </a:lnTo>
                  <a:lnTo>
                    <a:pt x="1570292" y="1331528"/>
                  </a:lnTo>
                  <a:lnTo>
                    <a:pt x="1572250" y="1329752"/>
                  </a:lnTo>
                  <a:lnTo>
                    <a:pt x="1571898" y="1329005"/>
                  </a:lnTo>
                  <a:lnTo>
                    <a:pt x="1570448" y="1328032"/>
                  </a:lnTo>
                  <a:lnTo>
                    <a:pt x="1566018" y="1326398"/>
                  </a:lnTo>
                  <a:lnTo>
                    <a:pt x="1567615" y="1325768"/>
                  </a:lnTo>
                  <a:lnTo>
                    <a:pt x="1568630" y="1324365"/>
                  </a:lnTo>
                  <a:lnTo>
                    <a:pt x="1568429" y="1323946"/>
                  </a:lnTo>
                  <a:lnTo>
                    <a:pt x="1566674" y="1323373"/>
                  </a:lnTo>
                  <a:lnTo>
                    <a:pt x="1564653" y="1322286"/>
                  </a:lnTo>
                  <a:lnTo>
                    <a:pt x="1563119" y="1320662"/>
                  </a:lnTo>
                  <a:lnTo>
                    <a:pt x="1561233" y="1318105"/>
                  </a:lnTo>
                  <a:lnTo>
                    <a:pt x="1560080" y="1316072"/>
                  </a:lnTo>
                  <a:lnTo>
                    <a:pt x="1558947" y="1312685"/>
                  </a:lnTo>
                  <a:lnTo>
                    <a:pt x="1556987" y="1308828"/>
                  </a:lnTo>
                  <a:lnTo>
                    <a:pt x="1556131" y="1307866"/>
                  </a:lnTo>
                  <a:lnTo>
                    <a:pt x="1555150" y="1307244"/>
                  </a:lnTo>
                  <a:lnTo>
                    <a:pt x="1554046" y="1306957"/>
                  </a:lnTo>
                  <a:lnTo>
                    <a:pt x="1554086" y="1306367"/>
                  </a:lnTo>
                  <a:lnTo>
                    <a:pt x="1555274" y="1305467"/>
                  </a:lnTo>
                  <a:lnTo>
                    <a:pt x="1574451" y="1298998"/>
                  </a:lnTo>
                  <a:lnTo>
                    <a:pt x="1576048" y="1298065"/>
                  </a:lnTo>
                  <a:lnTo>
                    <a:pt x="1585461" y="1294435"/>
                  </a:lnTo>
                  <a:lnTo>
                    <a:pt x="1589808" y="1292407"/>
                  </a:lnTo>
                  <a:lnTo>
                    <a:pt x="1594239" y="1289485"/>
                  </a:lnTo>
                  <a:lnTo>
                    <a:pt x="1600267" y="1286477"/>
                  </a:lnTo>
                  <a:lnTo>
                    <a:pt x="1603204" y="1284537"/>
                  </a:lnTo>
                  <a:lnTo>
                    <a:pt x="1605058" y="1282663"/>
                  </a:lnTo>
                  <a:lnTo>
                    <a:pt x="1614623" y="1275168"/>
                  </a:lnTo>
                  <a:lnTo>
                    <a:pt x="1618676" y="1271330"/>
                  </a:lnTo>
                  <a:lnTo>
                    <a:pt x="1621023" y="1268027"/>
                  </a:lnTo>
                  <a:lnTo>
                    <a:pt x="1624433" y="1264074"/>
                  </a:lnTo>
                  <a:lnTo>
                    <a:pt x="1628902" y="1259461"/>
                  </a:lnTo>
                  <a:lnTo>
                    <a:pt x="1631725" y="1255498"/>
                  </a:lnTo>
                  <a:lnTo>
                    <a:pt x="1632903" y="1252192"/>
                  </a:lnTo>
                  <a:lnTo>
                    <a:pt x="1634365" y="1246481"/>
                  </a:lnTo>
                  <a:lnTo>
                    <a:pt x="1634784" y="1241405"/>
                  </a:lnTo>
                  <a:lnTo>
                    <a:pt x="1635042" y="1233945"/>
                  </a:lnTo>
                  <a:lnTo>
                    <a:pt x="1634892" y="1227266"/>
                  </a:lnTo>
                  <a:lnTo>
                    <a:pt x="1633694" y="1216773"/>
                  </a:lnTo>
                  <a:lnTo>
                    <a:pt x="1632969" y="1213461"/>
                  </a:lnTo>
                  <a:lnTo>
                    <a:pt x="1631600" y="1209517"/>
                  </a:lnTo>
                  <a:lnTo>
                    <a:pt x="1628281" y="1201561"/>
                  </a:lnTo>
                  <a:lnTo>
                    <a:pt x="1627685" y="1199389"/>
                  </a:lnTo>
                  <a:lnTo>
                    <a:pt x="1625629" y="1195723"/>
                  </a:lnTo>
                  <a:lnTo>
                    <a:pt x="1618887" y="1186149"/>
                  </a:lnTo>
                  <a:lnTo>
                    <a:pt x="1610459" y="1179653"/>
                  </a:lnTo>
                  <a:lnTo>
                    <a:pt x="1608855" y="1178019"/>
                  </a:lnTo>
                  <a:lnTo>
                    <a:pt x="1605517" y="1176109"/>
                  </a:lnTo>
                  <a:lnTo>
                    <a:pt x="1600444" y="1173915"/>
                  </a:lnTo>
                  <a:lnTo>
                    <a:pt x="1597162" y="1172125"/>
                  </a:lnTo>
                  <a:lnTo>
                    <a:pt x="1588588" y="1165403"/>
                  </a:lnTo>
                  <a:lnTo>
                    <a:pt x="1585767" y="1164596"/>
                  </a:lnTo>
                  <a:lnTo>
                    <a:pt x="1584678" y="1162863"/>
                  </a:lnTo>
                  <a:lnTo>
                    <a:pt x="1584445" y="1161628"/>
                  </a:lnTo>
                  <a:lnTo>
                    <a:pt x="1584770" y="1158405"/>
                  </a:lnTo>
                  <a:lnTo>
                    <a:pt x="1585269" y="1156172"/>
                  </a:lnTo>
                  <a:lnTo>
                    <a:pt x="1585876" y="1154526"/>
                  </a:lnTo>
                  <a:lnTo>
                    <a:pt x="1586590" y="1153466"/>
                  </a:lnTo>
                  <a:lnTo>
                    <a:pt x="1591309" y="1148493"/>
                  </a:lnTo>
                  <a:lnTo>
                    <a:pt x="1593950" y="1144507"/>
                  </a:lnTo>
                  <a:lnTo>
                    <a:pt x="1595790" y="1142320"/>
                  </a:lnTo>
                  <a:lnTo>
                    <a:pt x="1597820" y="1140624"/>
                  </a:lnTo>
                  <a:lnTo>
                    <a:pt x="1601492" y="1138393"/>
                  </a:lnTo>
                  <a:lnTo>
                    <a:pt x="1603574" y="1135579"/>
                  </a:lnTo>
                  <a:lnTo>
                    <a:pt x="1603098" y="1134439"/>
                  </a:lnTo>
                  <a:lnTo>
                    <a:pt x="1601445" y="1133195"/>
                  </a:lnTo>
                  <a:lnTo>
                    <a:pt x="1601081" y="1131983"/>
                  </a:lnTo>
                  <a:lnTo>
                    <a:pt x="1603870" y="1128885"/>
                  </a:lnTo>
                  <a:lnTo>
                    <a:pt x="1604263" y="1128026"/>
                  </a:lnTo>
                  <a:lnTo>
                    <a:pt x="1603908" y="1125105"/>
                  </a:lnTo>
                  <a:lnTo>
                    <a:pt x="1604449" y="1124449"/>
                  </a:lnTo>
                  <a:lnTo>
                    <a:pt x="1607891" y="1124275"/>
                  </a:lnTo>
                  <a:lnTo>
                    <a:pt x="1612804" y="1128467"/>
                  </a:lnTo>
                  <a:lnTo>
                    <a:pt x="1614012" y="1128101"/>
                  </a:lnTo>
                  <a:lnTo>
                    <a:pt x="1612441" y="1126947"/>
                  </a:lnTo>
                  <a:lnTo>
                    <a:pt x="1610556" y="1124122"/>
                  </a:lnTo>
                  <a:lnTo>
                    <a:pt x="1610829" y="1122948"/>
                  </a:lnTo>
                  <a:lnTo>
                    <a:pt x="1614453" y="1119892"/>
                  </a:lnTo>
                  <a:lnTo>
                    <a:pt x="1614555" y="1118503"/>
                  </a:lnTo>
                  <a:lnTo>
                    <a:pt x="1613521" y="1116576"/>
                  </a:lnTo>
                  <a:lnTo>
                    <a:pt x="1613406" y="1115034"/>
                  </a:lnTo>
                  <a:lnTo>
                    <a:pt x="1615530" y="1111363"/>
                  </a:lnTo>
                  <a:lnTo>
                    <a:pt x="1614956" y="1110591"/>
                  </a:lnTo>
                  <a:lnTo>
                    <a:pt x="1608988" y="1109880"/>
                  </a:lnTo>
                  <a:lnTo>
                    <a:pt x="1608006" y="1108854"/>
                  </a:lnTo>
                  <a:lnTo>
                    <a:pt x="1608355" y="1108369"/>
                  </a:lnTo>
                  <a:lnTo>
                    <a:pt x="1611163" y="1107134"/>
                  </a:lnTo>
                  <a:lnTo>
                    <a:pt x="1611379" y="1106666"/>
                  </a:lnTo>
                  <a:lnTo>
                    <a:pt x="1606416" y="1098422"/>
                  </a:lnTo>
                  <a:lnTo>
                    <a:pt x="1605583" y="1095959"/>
                  </a:lnTo>
                  <a:lnTo>
                    <a:pt x="1607695" y="1092919"/>
                  </a:lnTo>
                  <a:lnTo>
                    <a:pt x="1610094" y="1091544"/>
                  </a:lnTo>
                  <a:lnTo>
                    <a:pt x="1609789" y="1090762"/>
                  </a:lnTo>
                  <a:lnTo>
                    <a:pt x="1606648" y="1090621"/>
                  </a:lnTo>
                  <a:lnTo>
                    <a:pt x="1604732" y="1090205"/>
                  </a:lnTo>
                  <a:lnTo>
                    <a:pt x="1602810" y="1087830"/>
                  </a:lnTo>
                  <a:lnTo>
                    <a:pt x="1603560" y="1086329"/>
                  </a:lnTo>
                  <a:lnTo>
                    <a:pt x="1604245" y="1085642"/>
                  </a:lnTo>
                  <a:lnTo>
                    <a:pt x="1606111" y="1082095"/>
                  </a:lnTo>
                  <a:lnTo>
                    <a:pt x="1607913" y="1081362"/>
                  </a:lnTo>
                  <a:lnTo>
                    <a:pt x="1607572" y="1080725"/>
                  </a:lnTo>
                  <a:lnTo>
                    <a:pt x="1600763" y="1082235"/>
                  </a:lnTo>
                  <a:lnTo>
                    <a:pt x="1597553" y="1080993"/>
                  </a:lnTo>
                  <a:lnTo>
                    <a:pt x="1594400" y="1081322"/>
                  </a:lnTo>
                  <a:lnTo>
                    <a:pt x="1592907" y="1080957"/>
                  </a:lnTo>
                  <a:lnTo>
                    <a:pt x="1593458" y="1079688"/>
                  </a:lnTo>
                  <a:lnTo>
                    <a:pt x="1599175" y="1073904"/>
                  </a:lnTo>
                  <a:lnTo>
                    <a:pt x="1601814" y="1070768"/>
                  </a:lnTo>
                  <a:lnTo>
                    <a:pt x="1603464" y="1067934"/>
                  </a:lnTo>
                  <a:lnTo>
                    <a:pt x="1604337" y="1066047"/>
                  </a:lnTo>
                  <a:lnTo>
                    <a:pt x="1604433" y="1065109"/>
                  </a:lnTo>
                  <a:lnTo>
                    <a:pt x="1603855" y="1058828"/>
                  </a:lnTo>
                  <a:lnTo>
                    <a:pt x="1604196" y="1057110"/>
                  </a:lnTo>
                  <a:lnTo>
                    <a:pt x="1606409" y="1055508"/>
                  </a:lnTo>
                  <a:lnTo>
                    <a:pt x="1609820" y="1052495"/>
                  </a:lnTo>
                  <a:lnTo>
                    <a:pt x="1605152" y="1049770"/>
                  </a:lnTo>
                  <a:lnTo>
                    <a:pt x="1602228" y="1047110"/>
                  </a:lnTo>
                  <a:lnTo>
                    <a:pt x="1600298" y="1045789"/>
                  </a:lnTo>
                  <a:lnTo>
                    <a:pt x="1598836" y="1044496"/>
                  </a:lnTo>
                  <a:lnTo>
                    <a:pt x="1596963" y="1041759"/>
                  </a:lnTo>
                  <a:lnTo>
                    <a:pt x="1595541" y="1038194"/>
                  </a:lnTo>
                  <a:lnTo>
                    <a:pt x="1594029" y="1030994"/>
                  </a:lnTo>
                  <a:lnTo>
                    <a:pt x="1593779" y="1027019"/>
                  </a:lnTo>
                  <a:lnTo>
                    <a:pt x="1594124" y="1024129"/>
                  </a:lnTo>
                  <a:lnTo>
                    <a:pt x="1594752" y="1022720"/>
                  </a:lnTo>
                  <a:lnTo>
                    <a:pt x="1595779" y="1021252"/>
                  </a:lnTo>
                  <a:lnTo>
                    <a:pt x="1600044" y="1018451"/>
                  </a:lnTo>
                  <a:lnTo>
                    <a:pt x="1607549" y="1014317"/>
                  </a:lnTo>
                  <a:lnTo>
                    <a:pt x="1613420" y="1012694"/>
                  </a:lnTo>
                  <a:lnTo>
                    <a:pt x="1617657" y="1013584"/>
                  </a:lnTo>
                  <a:lnTo>
                    <a:pt x="1625920" y="1014554"/>
                  </a:lnTo>
                  <a:lnTo>
                    <a:pt x="1632591" y="1016910"/>
                  </a:lnTo>
                  <a:lnTo>
                    <a:pt x="1652861" y="1022808"/>
                  </a:lnTo>
                  <a:lnTo>
                    <a:pt x="1656446" y="1025416"/>
                  </a:lnTo>
                  <a:lnTo>
                    <a:pt x="1653056" y="1027619"/>
                  </a:lnTo>
                  <a:lnTo>
                    <a:pt x="1653548" y="1028161"/>
                  </a:lnTo>
                  <a:lnTo>
                    <a:pt x="1661181" y="1023966"/>
                  </a:lnTo>
                  <a:lnTo>
                    <a:pt x="1663199" y="1023154"/>
                  </a:lnTo>
                  <a:lnTo>
                    <a:pt x="1664924" y="1022956"/>
                  </a:lnTo>
                  <a:lnTo>
                    <a:pt x="1670685" y="1024582"/>
                  </a:lnTo>
                  <a:lnTo>
                    <a:pt x="1672999" y="1024829"/>
                  </a:lnTo>
                  <a:lnTo>
                    <a:pt x="1675918" y="1026182"/>
                  </a:lnTo>
                  <a:lnTo>
                    <a:pt x="1682891" y="1030668"/>
                  </a:lnTo>
                  <a:lnTo>
                    <a:pt x="1683390" y="1030295"/>
                  </a:lnTo>
                  <a:lnTo>
                    <a:pt x="1681439" y="1028010"/>
                  </a:lnTo>
                  <a:lnTo>
                    <a:pt x="1682557" y="1026924"/>
                  </a:lnTo>
                  <a:lnTo>
                    <a:pt x="1688048" y="1024540"/>
                  </a:lnTo>
                  <a:lnTo>
                    <a:pt x="1693721" y="1022592"/>
                  </a:lnTo>
                  <a:lnTo>
                    <a:pt x="1697753" y="1020678"/>
                  </a:lnTo>
                  <a:lnTo>
                    <a:pt x="1702029" y="1018144"/>
                  </a:lnTo>
                  <a:lnTo>
                    <a:pt x="1704917" y="1016788"/>
                  </a:lnTo>
                  <a:lnTo>
                    <a:pt x="1706410" y="1016615"/>
                  </a:lnTo>
                  <a:lnTo>
                    <a:pt x="1708314" y="1017362"/>
                  </a:lnTo>
                  <a:lnTo>
                    <a:pt x="1713426" y="1020724"/>
                  </a:lnTo>
                  <a:lnTo>
                    <a:pt x="1716707" y="1022447"/>
                  </a:lnTo>
                  <a:lnTo>
                    <a:pt x="1719339" y="1024252"/>
                  </a:lnTo>
                  <a:lnTo>
                    <a:pt x="1723036" y="1027430"/>
                  </a:lnTo>
                  <a:lnTo>
                    <a:pt x="1724481" y="1028129"/>
                  </a:lnTo>
                  <a:lnTo>
                    <a:pt x="1727284" y="1030287"/>
                  </a:lnTo>
                  <a:lnTo>
                    <a:pt x="1731008" y="1030064"/>
                  </a:lnTo>
                  <a:lnTo>
                    <a:pt x="1732226" y="1030321"/>
                  </a:lnTo>
                  <a:lnTo>
                    <a:pt x="1732635" y="1030739"/>
                  </a:lnTo>
                  <a:lnTo>
                    <a:pt x="1733265" y="1032199"/>
                  </a:lnTo>
                  <a:lnTo>
                    <a:pt x="1733591" y="1033132"/>
                  </a:lnTo>
                  <a:lnTo>
                    <a:pt x="1733615" y="1034132"/>
                  </a:lnTo>
                  <a:lnTo>
                    <a:pt x="1732757" y="1036945"/>
                  </a:lnTo>
                  <a:lnTo>
                    <a:pt x="1730079" y="1041432"/>
                  </a:lnTo>
                  <a:lnTo>
                    <a:pt x="1731200" y="1041503"/>
                  </a:lnTo>
                  <a:lnTo>
                    <a:pt x="1732893" y="1040542"/>
                  </a:lnTo>
                  <a:lnTo>
                    <a:pt x="1735092" y="1038829"/>
                  </a:lnTo>
                  <a:lnTo>
                    <a:pt x="1736825" y="1038223"/>
                  </a:lnTo>
                  <a:lnTo>
                    <a:pt x="1740497" y="1039584"/>
                  </a:lnTo>
                  <a:lnTo>
                    <a:pt x="1743911" y="1041777"/>
                  </a:lnTo>
                  <a:lnTo>
                    <a:pt x="1745119" y="1042939"/>
                  </a:lnTo>
                  <a:lnTo>
                    <a:pt x="1746446" y="1044833"/>
                  </a:lnTo>
                  <a:lnTo>
                    <a:pt x="1747579" y="1045806"/>
                  </a:lnTo>
                  <a:lnTo>
                    <a:pt x="1748629" y="1047674"/>
                  </a:lnTo>
                  <a:lnTo>
                    <a:pt x="1748555" y="1048281"/>
                  </a:lnTo>
                  <a:lnTo>
                    <a:pt x="1747564" y="1049186"/>
                  </a:lnTo>
                  <a:lnTo>
                    <a:pt x="1743380" y="1050716"/>
                  </a:lnTo>
                  <a:lnTo>
                    <a:pt x="1744171" y="1051292"/>
                  </a:lnTo>
                  <a:lnTo>
                    <a:pt x="1749058" y="1050332"/>
                  </a:lnTo>
                  <a:lnTo>
                    <a:pt x="1750547" y="1049386"/>
                  </a:lnTo>
                  <a:lnTo>
                    <a:pt x="1751615" y="1047803"/>
                  </a:lnTo>
                  <a:lnTo>
                    <a:pt x="1753040" y="1047353"/>
                  </a:lnTo>
                  <a:lnTo>
                    <a:pt x="1758816" y="1050128"/>
                  </a:lnTo>
                  <a:lnTo>
                    <a:pt x="1759665" y="1051092"/>
                  </a:lnTo>
                  <a:lnTo>
                    <a:pt x="1759294" y="1051849"/>
                  </a:lnTo>
                  <a:lnTo>
                    <a:pt x="1758362" y="1052703"/>
                  </a:lnTo>
                  <a:lnTo>
                    <a:pt x="1755838" y="1053641"/>
                  </a:lnTo>
                  <a:lnTo>
                    <a:pt x="1753675" y="1055999"/>
                  </a:lnTo>
                  <a:lnTo>
                    <a:pt x="1753337" y="1057015"/>
                  </a:lnTo>
                  <a:lnTo>
                    <a:pt x="1754877" y="1057736"/>
                  </a:lnTo>
                  <a:lnTo>
                    <a:pt x="1758638" y="1058048"/>
                  </a:lnTo>
                  <a:lnTo>
                    <a:pt x="1758609" y="1058607"/>
                  </a:lnTo>
                  <a:lnTo>
                    <a:pt x="1756436" y="1059640"/>
                  </a:lnTo>
                  <a:lnTo>
                    <a:pt x="1756150" y="1060987"/>
                  </a:lnTo>
                  <a:lnTo>
                    <a:pt x="1761016" y="1065781"/>
                  </a:lnTo>
                  <a:lnTo>
                    <a:pt x="1764282" y="1067879"/>
                  </a:lnTo>
                  <a:lnTo>
                    <a:pt x="1766165" y="1068263"/>
                  </a:lnTo>
                  <a:lnTo>
                    <a:pt x="1770559" y="1068357"/>
                  </a:lnTo>
                  <a:lnTo>
                    <a:pt x="1774114" y="1069168"/>
                  </a:lnTo>
                  <a:lnTo>
                    <a:pt x="1782018" y="1071880"/>
                  </a:lnTo>
                  <a:lnTo>
                    <a:pt x="1786645" y="1072370"/>
                  </a:lnTo>
                  <a:lnTo>
                    <a:pt x="1790629" y="1071542"/>
                  </a:lnTo>
                  <a:lnTo>
                    <a:pt x="1793275" y="1071361"/>
                  </a:lnTo>
                  <a:lnTo>
                    <a:pt x="1795611" y="1072444"/>
                  </a:lnTo>
                  <a:lnTo>
                    <a:pt x="1796351" y="1073210"/>
                  </a:lnTo>
                  <a:lnTo>
                    <a:pt x="1796702" y="1074732"/>
                  </a:lnTo>
                  <a:lnTo>
                    <a:pt x="1796657" y="1077013"/>
                  </a:lnTo>
                  <a:lnTo>
                    <a:pt x="1797941" y="1078610"/>
                  </a:lnTo>
                  <a:lnTo>
                    <a:pt x="1800549" y="1079523"/>
                  </a:lnTo>
                  <a:lnTo>
                    <a:pt x="1802658" y="1079384"/>
                  </a:lnTo>
                  <a:lnTo>
                    <a:pt x="1805417" y="1077594"/>
                  </a:lnTo>
                  <a:lnTo>
                    <a:pt x="1807751" y="1077288"/>
                  </a:lnTo>
                  <a:lnTo>
                    <a:pt x="1808532" y="1075946"/>
                  </a:lnTo>
                  <a:lnTo>
                    <a:pt x="1809221" y="1073460"/>
                  </a:lnTo>
                  <a:lnTo>
                    <a:pt x="1809900" y="1072098"/>
                  </a:lnTo>
                  <a:lnTo>
                    <a:pt x="1811590" y="1071707"/>
                  </a:lnTo>
                  <a:lnTo>
                    <a:pt x="1812951" y="1072448"/>
                  </a:lnTo>
                  <a:lnTo>
                    <a:pt x="1813747" y="1073584"/>
                  </a:lnTo>
                  <a:lnTo>
                    <a:pt x="1815207" y="1076987"/>
                  </a:lnTo>
                  <a:lnTo>
                    <a:pt x="1815613" y="1078510"/>
                  </a:lnTo>
                  <a:lnTo>
                    <a:pt x="1815451" y="1079897"/>
                  </a:lnTo>
                  <a:lnTo>
                    <a:pt x="1814723" y="1081144"/>
                  </a:lnTo>
                  <a:lnTo>
                    <a:pt x="1813291" y="1082475"/>
                  </a:lnTo>
                  <a:lnTo>
                    <a:pt x="1811153" y="1083888"/>
                  </a:lnTo>
                  <a:lnTo>
                    <a:pt x="1809473" y="1085917"/>
                  </a:lnTo>
                  <a:lnTo>
                    <a:pt x="1807422" y="1090600"/>
                  </a:lnTo>
                  <a:lnTo>
                    <a:pt x="1806664" y="1093656"/>
                  </a:lnTo>
                  <a:lnTo>
                    <a:pt x="1806456" y="1095458"/>
                  </a:lnTo>
                  <a:lnTo>
                    <a:pt x="1806547" y="1097430"/>
                  </a:lnTo>
                  <a:lnTo>
                    <a:pt x="1806936" y="1099573"/>
                  </a:lnTo>
                  <a:lnTo>
                    <a:pt x="1807749" y="1101338"/>
                  </a:lnTo>
                  <a:lnTo>
                    <a:pt x="1809660" y="1103833"/>
                  </a:lnTo>
                  <a:lnTo>
                    <a:pt x="1809770" y="1104661"/>
                  </a:lnTo>
                  <a:lnTo>
                    <a:pt x="1809912" y="1106679"/>
                  </a:lnTo>
                  <a:lnTo>
                    <a:pt x="1809745" y="1107566"/>
                  </a:lnTo>
                  <a:lnTo>
                    <a:pt x="1808630" y="1109320"/>
                  </a:lnTo>
                  <a:lnTo>
                    <a:pt x="1805539" y="1111070"/>
                  </a:lnTo>
                  <a:lnTo>
                    <a:pt x="1801299" y="1111522"/>
                  </a:lnTo>
                  <a:lnTo>
                    <a:pt x="1787442" y="1111622"/>
                  </a:lnTo>
                  <a:lnTo>
                    <a:pt x="1783752" y="1111204"/>
                  </a:lnTo>
                  <a:lnTo>
                    <a:pt x="1784643" y="1112794"/>
                  </a:lnTo>
                  <a:lnTo>
                    <a:pt x="1788525" y="1113302"/>
                  </a:lnTo>
                  <a:lnTo>
                    <a:pt x="1792069" y="1113281"/>
                  </a:lnTo>
                  <a:lnTo>
                    <a:pt x="1805284" y="1114286"/>
                  </a:lnTo>
                  <a:lnTo>
                    <a:pt x="1807104" y="1115303"/>
                  </a:lnTo>
                  <a:lnTo>
                    <a:pt x="1808637" y="1117091"/>
                  </a:lnTo>
                  <a:lnTo>
                    <a:pt x="1809734" y="1118940"/>
                  </a:lnTo>
                  <a:lnTo>
                    <a:pt x="1810819" y="1122698"/>
                  </a:lnTo>
                  <a:lnTo>
                    <a:pt x="1811022" y="1124479"/>
                  </a:lnTo>
                  <a:lnTo>
                    <a:pt x="1810440" y="1126454"/>
                  </a:lnTo>
                  <a:lnTo>
                    <a:pt x="1809074" y="1128623"/>
                  </a:lnTo>
                  <a:lnTo>
                    <a:pt x="1808157" y="1131507"/>
                  </a:lnTo>
                  <a:lnTo>
                    <a:pt x="1807688" y="1135110"/>
                  </a:lnTo>
                  <a:lnTo>
                    <a:pt x="1808423" y="1137016"/>
                  </a:lnTo>
                  <a:lnTo>
                    <a:pt x="1815570" y="1137164"/>
                  </a:lnTo>
                  <a:lnTo>
                    <a:pt x="1816990" y="1138467"/>
                  </a:lnTo>
                  <a:lnTo>
                    <a:pt x="1816827" y="1139436"/>
                  </a:lnTo>
                  <a:lnTo>
                    <a:pt x="1814291" y="1143075"/>
                  </a:lnTo>
                  <a:lnTo>
                    <a:pt x="1814055" y="1144107"/>
                  </a:lnTo>
                  <a:lnTo>
                    <a:pt x="1815214" y="1146559"/>
                  </a:lnTo>
                  <a:lnTo>
                    <a:pt x="1815055" y="1147256"/>
                  </a:lnTo>
                  <a:lnTo>
                    <a:pt x="1814351" y="1147967"/>
                  </a:lnTo>
                  <a:lnTo>
                    <a:pt x="1813678" y="1149803"/>
                  </a:lnTo>
                  <a:lnTo>
                    <a:pt x="1813033" y="1152762"/>
                  </a:lnTo>
                  <a:lnTo>
                    <a:pt x="1812233" y="1154678"/>
                  </a:lnTo>
                  <a:lnTo>
                    <a:pt x="1810292" y="1156158"/>
                  </a:lnTo>
                  <a:lnTo>
                    <a:pt x="1809273" y="1156482"/>
                  </a:lnTo>
                  <a:lnTo>
                    <a:pt x="1808539" y="1156088"/>
                  </a:lnTo>
                  <a:lnTo>
                    <a:pt x="1806619" y="1152056"/>
                  </a:lnTo>
                  <a:lnTo>
                    <a:pt x="1805829" y="1151455"/>
                  </a:lnTo>
                  <a:lnTo>
                    <a:pt x="1805081" y="1151834"/>
                  </a:lnTo>
                  <a:lnTo>
                    <a:pt x="1804705" y="1152460"/>
                  </a:lnTo>
                  <a:lnTo>
                    <a:pt x="1804703" y="1153331"/>
                  </a:lnTo>
                  <a:lnTo>
                    <a:pt x="1804374" y="1154234"/>
                  </a:lnTo>
                  <a:lnTo>
                    <a:pt x="1803714" y="1155165"/>
                  </a:lnTo>
                  <a:lnTo>
                    <a:pt x="1800885" y="1156647"/>
                  </a:lnTo>
                  <a:lnTo>
                    <a:pt x="1796301" y="1157649"/>
                  </a:lnTo>
                  <a:lnTo>
                    <a:pt x="1796443" y="1158721"/>
                  </a:lnTo>
                  <a:lnTo>
                    <a:pt x="1799520" y="1159294"/>
                  </a:lnTo>
                  <a:lnTo>
                    <a:pt x="1803436" y="1161086"/>
                  </a:lnTo>
                  <a:lnTo>
                    <a:pt x="1805684" y="1161370"/>
                  </a:lnTo>
                  <a:lnTo>
                    <a:pt x="1809219" y="1159923"/>
                  </a:lnTo>
                  <a:lnTo>
                    <a:pt x="1816031" y="1155367"/>
                  </a:lnTo>
                  <a:lnTo>
                    <a:pt x="1818840" y="1154131"/>
                  </a:lnTo>
                  <a:lnTo>
                    <a:pt x="1821314" y="1153657"/>
                  </a:lnTo>
                  <a:lnTo>
                    <a:pt x="1824101" y="1153598"/>
                  </a:lnTo>
                  <a:lnTo>
                    <a:pt x="1827197" y="1153945"/>
                  </a:lnTo>
                  <a:lnTo>
                    <a:pt x="1833366" y="1153362"/>
                  </a:lnTo>
                  <a:lnTo>
                    <a:pt x="1834910" y="1153797"/>
                  </a:lnTo>
                  <a:lnTo>
                    <a:pt x="1836797" y="1154802"/>
                  </a:lnTo>
                  <a:lnTo>
                    <a:pt x="1839028" y="1156382"/>
                  </a:lnTo>
                  <a:lnTo>
                    <a:pt x="1840564" y="1157899"/>
                  </a:lnTo>
                  <a:lnTo>
                    <a:pt x="1841405" y="1159356"/>
                  </a:lnTo>
                  <a:lnTo>
                    <a:pt x="1842792" y="1164856"/>
                  </a:lnTo>
                  <a:lnTo>
                    <a:pt x="1844656" y="1166294"/>
                  </a:lnTo>
                  <a:lnTo>
                    <a:pt x="1845107" y="1167349"/>
                  </a:lnTo>
                  <a:lnTo>
                    <a:pt x="1845253" y="1168964"/>
                  </a:lnTo>
                  <a:lnTo>
                    <a:pt x="1845140" y="1172123"/>
                  </a:lnTo>
                  <a:lnTo>
                    <a:pt x="1843090" y="1178488"/>
                  </a:lnTo>
                  <a:lnTo>
                    <a:pt x="1842029" y="1180836"/>
                  </a:lnTo>
                  <a:lnTo>
                    <a:pt x="1839198" y="1184037"/>
                  </a:lnTo>
                  <a:lnTo>
                    <a:pt x="1835935" y="1185489"/>
                  </a:lnTo>
                  <a:lnTo>
                    <a:pt x="1830131" y="1186850"/>
                  </a:lnTo>
                  <a:lnTo>
                    <a:pt x="1827101" y="1187992"/>
                  </a:lnTo>
                  <a:lnTo>
                    <a:pt x="1824815" y="1189563"/>
                  </a:lnTo>
                  <a:lnTo>
                    <a:pt x="1824679" y="1190428"/>
                  </a:lnTo>
                  <a:lnTo>
                    <a:pt x="1831268" y="1187733"/>
                  </a:lnTo>
                  <a:lnTo>
                    <a:pt x="1838516" y="1186415"/>
                  </a:lnTo>
                  <a:lnTo>
                    <a:pt x="1840583" y="1184941"/>
                  </a:lnTo>
                  <a:lnTo>
                    <a:pt x="1842148" y="1183507"/>
                  </a:lnTo>
                  <a:lnTo>
                    <a:pt x="1843739" y="1180303"/>
                  </a:lnTo>
                  <a:lnTo>
                    <a:pt x="1846619" y="1171998"/>
                  </a:lnTo>
                  <a:lnTo>
                    <a:pt x="1848254" y="1169380"/>
                  </a:lnTo>
                  <a:lnTo>
                    <a:pt x="1850536" y="1168937"/>
                  </a:lnTo>
                  <a:lnTo>
                    <a:pt x="1851547" y="1169828"/>
                  </a:lnTo>
                  <a:lnTo>
                    <a:pt x="1853915" y="1174704"/>
                  </a:lnTo>
                  <a:lnTo>
                    <a:pt x="1853903" y="1175947"/>
                  </a:lnTo>
                  <a:lnTo>
                    <a:pt x="1853316" y="1177000"/>
                  </a:lnTo>
                  <a:lnTo>
                    <a:pt x="1849450" y="1181730"/>
                  </a:lnTo>
                  <a:lnTo>
                    <a:pt x="1850842" y="1181248"/>
                  </a:lnTo>
                  <a:lnTo>
                    <a:pt x="1854725" y="1176801"/>
                  </a:lnTo>
                  <a:lnTo>
                    <a:pt x="1855550" y="1175412"/>
                  </a:lnTo>
                  <a:lnTo>
                    <a:pt x="1856008" y="1173370"/>
                  </a:lnTo>
                  <a:lnTo>
                    <a:pt x="1857258" y="1171924"/>
                  </a:lnTo>
                  <a:lnTo>
                    <a:pt x="1857737" y="1172632"/>
                  </a:lnTo>
                  <a:lnTo>
                    <a:pt x="1858938" y="1177864"/>
                  </a:lnTo>
                  <a:lnTo>
                    <a:pt x="1858976" y="1181683"/>
                  </a:lnTo>
                  <a:lnTo>
                    <a:pt x="1859170" y="1182907"/>
                  </a:lnTo>
                  <a:lnTo>
                    <a:pt x="1858736" y="1186523"/>
                  </a:lnTo>
                  <a:lnTo>
                    <a:pt x="1859228" y="1187171"/>
                  </a:lnTo>
                  <a:lnTo>
                    <a:pt x="1860396" y="1184044"/>
                  </a:lnTo>
                  <a:lnTo>
                    <a:pt x="1860776" y="1181680"/>
                  </a:lnTo>
                  <a:lnTo>
                    <a:pt x="1861305" y="1179992"/>
                  </a:lnTo>
                  <a:lnTo>
                    <a:pt x="1861983" y="1178984"/>
                  </a:lnTo>
                  <a:lnTo>
                    <a:pt x="1866740" y="1175790"/>
                  </a:lnTo>
                  <a:lnTo>
                    <a:pt x="1872297" y="1173189"/>
                  </a:lnTo>
                  <a:lnTo>
                    <a:pt x="1875934" y="1170876"/>
                  </a:lnTo>
                  <a:lnTo>
                    <a:pt x="1878952" y="1169771"/>
                  </a:lnTo>
                  <a:lnTo>
                    <a:pt x="1883471" y="1168725"/>
                  </a:lnTo>
                  <a:lnTo>
                    <a:pt x="1886368" y="1166580"/>
                  </a:lnTo>
                  <a:lnTo>
                    <a:pt x="1887642" y="1163326"/>
                  </a:lnTo>
                  <a:lnTo>
                    <a:pt x="1888723" y="1161073"/>
                  </a:lnTo>
                  <a:lnTo>
                    <a:pt x="1889612" y="1159825"/>
                  </a:lnTo>
                  <a:lnTo>
                    <a:pt x="1892593" y="1157585"/>
                  </a:lnTo>
                  <a:lnTo>
                    <a:pt x="1894212" y="1157459"/>
                  </a:lnTo>
                  <a:lnTo>
                    <a:pt x="1895763" y="1158286"/>
                  </a:lnTo>
                  <a:lnTo>
                    <a:pt x="1897517" y="1159966"/>
                  </a:lnTo>
                  <a:lnTo>
                    <a:pt x="1899477" y="1162495"/>
                  </a:lnTo>
                  <a:lnTo>
                    <a:pt x="1900651" y="1164478"/>
                  </a:lnTo>
                  <a:lnTo>
                    <a:pt x="1901033" y="1165917"/>
                  </a:lnTo>
                  <a:lnTo>
                    <a:pt x="1901351" y="1170954"/>
                  </a:lnTo>
                  <a:lnTo>
                    <a:pt x="1901722" y="1170939"/>
                  </a:lnTo>
                  <a:lnTo>
                    <a:pt x="1903526" y="1167093"/>
                  </a:lnTo>
                  <a:lnTo>
                    <a:pt x="1903738" y="1165725"/>
                  </a:lnTo>
                  <a:lnTo>
                    <a:pt x="1903610" y="1164280"/>
                  </a:lnTo>
                  <a:lnTo>
                    <a:pt x="1903059" y="1162835"/>
                  </a:lnTo>
                  <a:lnTo>
                    <a:pt x="1901243" y="1159682"/>
                  </a:lnTo>
                  <a:lnTo>
                    <a:pt x="1900531" y="1157706"/>
                  </a:lnTo>
                  <a:lnTo>
                    <a:pt x="1900690" y="1156486"/>
                  </a:lnTo>
                  <a:lnTo>
                    <a:pt x="1902619" y="1155796"/>
                  </a:lnTo>
                  <a:lnTo>
                    <a:pt x="1905464" y="1155519"/>
                  </a:lnTo>
                  <a:lnTo>
                    <a:pt x="1905942" y="1155003"/>
                  </a:lnTo>
                  <a:lnTo>
                    <a:pt x="1903852" y="1153695"/>
                  </a:lnTo>
                  <a:lnTo>
                    <a:pt x="1903793" y="1152986"/>
                  </a:lnTo>
                  <a:lnTo>
                    <a:pt x="1905804" y="1150658"/>
                  </a:lnTo>
                  <a:lnTo>
                    <a:pt x="1906986" y="1150531"/>
                  </a:lnTo>
                  <a:lnTo>
                    <a:pt x="1909300" y="1150899"/>
                  </a:lnTo>
                  <a:lnTo>
                    <a:pt x="1908834" y="1149706"/>
                  </a:lnTo>
                  <a:lnTo>
                    <a:pt x="1908857" y="1148915"/>
                  </a:lnTo>
                  <a:lnTo>
                    <a:pt x="1909510" y="1148607"/>
                  </a:lnTo>
                  <a:lnTo>
                    <a:pt x="1913345" y="1149360"/>
                  </a:lnTo>
                  <a:lnTo>
                    <a:pt x="1913794" y="1148450"/>
                  </a:lnTo>
                  <a:lnTo>
                    <a:pt x="1917092" y="1148368"/>
                  </a:lnTo>
                  <a:lnTo>
                    <a:pt x="1917414" y="1147554"/>
                  </a:lnTo>
                  <a:lnTo>
                    <a:pt x="1914562" y="1146393"/>
                  </a:lnTo>
                  <a:lnTo>
                    <a:pt x="1911766" y="1145667"/>
                  </a:lnTo>
                  <a:lnTo>
                    <a:pt x="1910915" y="1145032"/>
                  </a:lnTo>
                  <a:lnTo>
                    <a:pt x="1910261" y="1144095"/>
                  </a:lnTo>
                  <a:lnTo>
                    <a:pt x="1909389" y="1141829"/>
                  </a:lnTo>
                  <a:lnTo>
                    <a:pt x="1909600" y="1141227"/>
                  </a:lnTo>
                  <a:lnTo>
                    <a:pt x="1910384" y="1141216"/>
                  </a:lnTo>
                  <a:lnTo>
                    <a:pt x="1911744" y="1141836"/>
                  </a:lnTo>
                  <a:lnTo>
                    <a:pt x="1912483" y="1140643"/>
                  </a:lnTo>
                  <a:lnTo>
                    <a:pt x="1913312" y="1137842"/>
                  </a:lnTo>
                  <a:lnTo>
                    <a:pt x="1914137" y="1136691"/>
                  </a:lnTo>
                  <a:lnTo>
                    <a:pt x="1916699" y="1138019"/>
                  </a:lnTo>
                  <a:lnTo>
                    <a:pt x="1916812" y="1137448"/>
                  </a:lnTo>
                  <a:lnTo>
                    <a:pt x="1914731" y="1133036"/>
                  </a:lnTo>
                  <a:lnTo>
                    <a:pt x="1915093" y="1132188"/>
                  </a:lnTo>
                  <a:lnTo>
                    <a:pt x="1918272" y="1131868"/>
                  </a:lnTo>
                  <a:lnTo>
                    <a:pt x="1920197" y="1132420"/>
                  </a:lnTo>
                  <a:lnTo>
                    <a:pt x="1925254" y="1135655"/>
                  </a:lnTo>
                  <a:lnTo>
                    <a:pt x="1926169" y="1135284"/>
                  </a:lnTo>
                  <a:lnTo>
                    <a:pt x="1925393" y="1134398"/>
                  </a:lnTo>
                  <a:lnTo>
                    <a:pt x="1922805" y="1132491"/>
                  </a:lnTo>
                  <a:lnTo>
                    <a:pt x="1920465" y="1131242"/>
                  </a:lnTo>
                  <a:lnTo>
                    <a:pt x="1918378" y="1130657"/>
                  </a:lnTo>
                  <a:lnTo>
                    <a:pt x="1916808" y="1129592"/>
                  </a:lnTo>
                  <a:lnTo>
                    <a:pt x="1915089" y="1126676"/>
                  </a:lnTo>
                  <a:lnTo>
                    <a:pt x="1914804" y="1125474"/>
                  </a:lnTo>
                  <a:lnTo>
                    <a:pt x="1914946" y="1123908"/>
                  </a:lnTo>
                  <a:lnTo>
                    <a:pt x="1916150" y="1120652"/>
                  </a:lnTo>
                  <a:lnTo>
                    <a:pt x="1916840" y="1119946"/>
                  </a:lnTo>
                  <a:lnTo>
                    <a:pt x="1918064" y="1119422"/>
                  </a:lnTo>
                  <a:lnTo>
                    <a:pt x="1919816" y="1119082"/>
                  </a:lnTo>
                  <a:lnTo>
                    <a:pt x="1921756" y="1119405"/>
                  </a:lnTo>
                  <a:lnTo>
                    <a:pt x="1925757" y="1121548"/>
                  </a:lnTo>
                  <a:lnTo>
                    <a:pt x="1926425" y="1120871"/>
                  </a:lnTo>
                  <a:lnTo>
                    <a:pt x="1924267" y="1119704"/>
                  </a:lnTo>
                  <a:lnTo>
                    <a:pt x="1923102" y="1118626"/>
                  </a:lnTo>
                  <a:lnTo>
                    <a:pt x="1922540" y="1117245"/>
                  </a:lnTo>
                  <a:lnTo>
                    <a:pt x="1922784" y="1115681"/>
                  </a:lnTo>
                  <a:lnTo>
                    <a:pt x="1924480" y="1112447"/>
                  </a:lnTo>
                  <a:lnTo>
                    <a:pt x="1925278" y="1109840"/>
                  </a:lnTo>
                  <a:lnTo>
                    <a:pt x="1928882" y="1102629"/>
                  </a:lnTo>
                  <a:lnTo>
                    <a:pt x="1929939" y="1101316"/>
                  </a:lnTo>
                  <a:lnTo>
                    <a:pt x="1931069" y="1100487"/>
                  </a:lnTo>
                  <a:lnTo>
                    <a:pt x="1931771" y="1099620"/>
                  </a:lnTo>
                  <a:lnTo>
                    <a:pt x="1934597" y="1099426"/>
                  </a:lnTo>
                  <a:lnTo>
                    <a:pt x="1939832" y="1102011"/>
                  </a:lnTo>
                  <a:lnTo>
                    <a:pt x="1941432" y="1103537"/>
                  </a:lnTo>
                  <a:lnTo>
                    <a:pt x="1941856" y="1105694"/>
                  </a:lnTo>
                  <a:lnTo>
                    <a:pt x="1939114" y="1108613"/>
                  </a:lnTo>
                  <a:lnTo>
                    <a:pt x="1934409" y="1110789"/>
                  </a:lnTo>
                  <a:lnTo>
                    <a:pt x="1933010" y="1111739"/>
                  </a:lnTo>
                  <a:lnTo>
                    <a:pt x="1933920" y="1112290"/>
                  </a:lnTo>
                  <a:lnTo>
                    <a:pt x="1938316" y="1110552"/>
                  </a:lnTo>
                  <a:lnTo>
                    <a:pt x="1942158" y="1109741"/>
                  </a:lnTo>
                  <a:lnTo>
                    <a:pt x="1945307" y="1109769"/>
                  </a:lnTo>
                  <a:lnTo>
                    <a:pt x="1947858" y="1113223"/>
                  </a:lnTo>
                  <a:lnTo>
                    <a:pt x="1948215" y="1118007"/>
                  </a:lnTo>
                  <a:lnTo>
                    <a:pt x="1946757" y="1121985"/>
                  </a:lnTo>
                  <a:lnTo>
                    <a:pt x="1948675" y="1120007"/>
                  </a:lnTo>
                  <a:lnTo>
                    <a:pt x="1951073" y="1118913"/>
                  </a:lnTo>
                  <a:lnTo>
                    <a:pt x="1953036" y="1121513"/>
                  </a:lnTo>
                  <a:lnTo>
                    <a:pt x="1953269" y="1123630"/>
                  </a:lnTo>
                  <a:lnTo>
                    <a:pt x="1954300" y="1125616"/>
                  </a:lnTo>
                  <a:lnTo>
                    <a:pt x="1956520" y="1128272"/>
                  </a:lnTo>
                  <a:lnTo>
                    <a:pt x="1958830" y="1130598"/>
                  </a:lnTo>
                  <a:lnTo>
                    <a:pt x="1956289" y="1133035"/>
                  </a:lnTo>
                  <a:lnTo>
                    <a:pt x="1953238" y="1134489"/>
                  </a:lnTo>
                  <a:lnTo>
                    <a:pt x="1953878" y="1135573"/>
                  </a:lnTo>
                  <a:lnTo>
                    <a:pt x="1958052" y="1136734"/>
                  </a:lnTo>
                  <a:lnTo>
                    <a:pt x="1958617" y="1137882"/>
                  </a:lnTo>
                  <a:lnTo>
                    <a:pt x="1958179" y="1139438"/>
                  </a:lnTo>
                  <a:lnTo>
                    <a:pt x="1958784" y="1139431"/>
                  </a:lnTo>
                  <a:lnTo>
                    <a:pt x="1961688" y="1137026"/>
                  </a:lnTo>
                  <a:lnTo>
                    <a:pt x="1964162" y="1137349"/>
                  </a:lnTo>
                  <a:lnTo>
                    <a:pt x="1967325" y="1142537"/>
                  </a:lnTo>
                  <a:lnTo>
                    <a:pt x="1965016" y="1145501"/>
                  </a:lnTo>
                  <a:lnTo>
                    <a:pt x="1961485" y="1146856"/>
                  </a:lnTo>
                  <a:lnTo>
                    <a:pt x="1958673" y="1147433"/>
                  </a:lnTo>
                  <a:lnTo>
                    <a:pt x="1954765" y="1147354"/>
                  </a:lnTo>
                  <a:lnTo>
                    <a:pt x="1953227" y="1147794"/>
                  </a:lnTo>
                  <a:lnTo>
                    <a:pt x="1953991" y="1148780"/>
                  </a:lnTo>
                  <a:lnTo>
                    <a:pt x="1957728" y="1148795"/>
                  </a:lnTo>
                  <a:lnTo>
                    <a:pt x="1963452" y="1148047"/>
                  </a:lnTo>
                  <a:lnTo>
                    <a:pt x="1967735" y="1146828"/>
                  </a:lnTo>
                  <a:lnTo>
                    <a:pt x="1969598" y="1146756"/>
                  </a:lnTo>
                  <a:lnTo>
                    <a:pt x="1971553" y="1147252"/>
                  </a:lnTo>
                  <a:lnTo>
                    <a:pt x="1972210" y="1147668"/>
                  </a:lnTo>
                  <a:lnTo>
                    <a:pt x="1970150" y="1148518"/>
                  </a:lnTo>
                  <a:lnTo>
                    <a:pt x="1969994" y="1148815"/>
                  </a:lnTo>
                  <a:lnTo>
                    <a:pt x="1970766" y="1149684"/>
                  </a:lnTo>
                  <a:lnTo>
                    <a:pt x="1972365" y="1152489"/>
                  </a:lnTo>
                  <a:lnTo>
                    <a:pt x="1972225" y="1153120"/>
                  </a:lnTo>
                  <a:lnTo>
                    <a:pt x="1970698" y="1154747"/>
                  </a:lnTo>
                  <a:lnTo>
                    <a:pt x="1973152" y="1155105"/>
                  </a:lnTo>
                  <a:lnTo>
                    <a:pt x="1976577" y="1154345"/>
                  </a:lnTo>
                  <a:lnTo>
                    <a:pt x="1977640" y="1155193"/>
                  </a:lnTo>
                  <a:lnTo>
                    <a:pt x="1979727" y="1158556"/>
                  </a:lnTo>
                  <a:lnTo>
                    <a:pt x="1981050" y="1161996"/>
                  </a:lnTo>
                  <a:lnTo>
                    <a:pt x="1975257" y="1166698"/>
                  </a:lnTo>
                  <a:lnTo>
                    <a:pt x="1972307" y="1167669"/>
                  </a:lnTo>
                  <a:lnTo>
                    <a:pt x="1967965" y="1170150"/>
                  </a:lnTo>
                  <a:lnTo>
                    <a:pt x="1966747" y="1172138"/>
                  </a:lnTo>
                  <a:lnTo>
                    <a:pt x="1964234" y="1174685"/>
                  </a:lnTo>
                  <a:lnTo>
                    <a:pt x="1965842" y="1174657"/>
                  </a:lnTo>
                  <a:lnTo>
                    <a:pt x="1970334" y="1170569"/>
                  </a:lnTo>
                  <a:lnTo>
                    <a:pt x="1972527" y="1169617"/>
                  </a:lnTo>
                  <a:lnTo>
                    <a:pt x="1974163" y="1169857"/>
                  </a:lnTo>
                  <a:lnTo>
                    <a:pt x="1974821" y="1170549"/>
                  </a:lnTo>
                  <a:lnTo>
                    <a:pt x="1974501" y="1171693"/>
                  </a:lnTo>
                  <a:lnTo>
                    <a:pt x="1975932" y="1171547"/>
                  </a:lnTo>
                  <a:lnTo>
                    <a:pt x="1981974" y="1169156"/>
                  </a:lnTo>
                  <a:lnTo>
                    <a:pt x="1984513" y="1168681"/>
                  </a:lnTo>
                  <a:lnTo>
                    <a:pt x="1987795" y="1168527"/>
                  </a:lnTo>
                  <a:lnTo>
                    <a:pt x="1988150" y="1169355"/>
                  </a:lnTo>
                  <a:lnTo>
                    <a:pt x="1986110" y="1175081"/>
                  </a:lnTo>
                  <a:lnTo>
                    <a:pt x="1982617" y="1179466"/>
                  </a:lnTo>
                  <a:lnTo>
                    <a:pt x="1976259" y="1182167"/>
                  </a:lnTo>
                  <a:lnTo>
                    <a:pt x="1974006" y="1183748"/>
                  </a:lnTo>
                  <a:lnTo>
                    <a:pt x="1971220" y="1186304"/>
                  </a:lnTo>
                  <a:lnTo>
                    <a:pt x="1972273" y="1186765"/>
                  </a:lnTo>
                  <a:lnTo>
                    <a:pt x="1978336" y="1183411"/>
                  </a:lnTo>
                  <a:lnTo>
                    <a:pt x="1982479" y="1182088"/>
                  </a:lnTo>
                  <a:lnTo>
                    <a:pt x="1988296" y="1181025"/>
                  </a:lnTo>
                  <a:lnTo>
                    <a:pt x="1990880" y="1181174"/>
                  </a:lnTo>
                  <a:lnTo>
                    <a:pt x="1995457" y="1187864"/>
                  </a:lnTo>
                  <a:lnTo>
                    <a:pt x="1998098" y="1188512"/>
                  </a:lnTo>
                  <a:lnTo>
                    <a:pt x="2000231" y="1188164"/>
                  </a:lnTo>
                  <a:lnTo>
                    <a:pt x="2004257" y="1190087"/>
                  </a:lnTo>
                  <a:lnTo>
                    <a:pt x="2005767" y="1191938"/>
                  </a:lnTo>
                  <a:lnTo>
                    <a:pt x="2005387" y="1193269"/>
                  </a:lnTo>
                  <a:lnTo>
                    <a:pt x="2004026" y="1194066"/>
                  </a:lnTo>
                  <a:lnTo>
                    <a:pt x="2003336" y="1195308"/>
                  </a:lnTo>
                  <a:lnTo>
                    <a:pt x="2004951" y="1199002"/>
                  </a:lnTo>
                  <a:lnTo>
                    <a:pt x="2004020" y="1201074"/>
                  </a:lnTo>
                  <a:lnTo>
                    <a:pt x="2001078" y="1202901"/>
                  </a:lnTo>
                  <a:lnTo>
                    <a:pt x="1998977" y="1203827"/>
                  </a:lnTo>
                  <a:lnTo>
                    <a:pt x="1996777" y="1204112"/>
                  </a:lnTo>
                  <a:lnTo>
                    <a:pt x="1994622" y="1205727"/>
                  </a:lnTo>
                  <a:lnTo>
                    <a:pt x="1993645" y="1205966"/>
                  </a:lnTo>
                  <a:lnTo>
                    <a:pt x="1990642" y="1205557"/>
                  </a:lnTo>
                  <a:lnTo>
                    <a:pt x="1991672" y="1206550"/>
                  </a:lnTo>
                  <a:lnTo>
                    <a:pt x="1993155" y="1207053"/>
                  </a:lnTo>
                  <a:lnTo>
                    <a:pt x="1995519" y="1207327"/>
                  </a:lnTo>
                  <a:lnTo>
                    <a:pt x="1998283" y="1206819"/>
                  </a:lnTo>
                  <a:lnTo>
                    <a:pt x="2000974" y="1206883"/>
                  </a:lnTo>
                  <a:lnTo>
                    <a:pt x="2005208" y="1208052"/>
                  </a:lnTo>
                  <a:lnTo>
                    <a:pt x="2006984" y="1209491"/>
                  </a:lnTo>
                  <a:lnTo>
                    <a:pt x="2007016" y="1209888"/>
                  </a:lnTo>
                  <a:lnTo>
                    <a:pt x="2006102" y="1210710"/>
                  </a:lnTo>
                  <a:lnTo>
                    <a:pt x="2004758" y="1213385"/>
                  </a:lnTo>
                  <a:lnTo>
                    <a:pt x="2003780" y="1214346"/>
                  </a:lnTo>
                  <a:lnTo>
                    <a:pt x="2004615" y="1215066"/>
                  </a:lnTo>
                  <a:lnTo>
                    <a:pt x="2006736" y="1216177"/>
                  </a:lnTo>
                  <a:lnTo>
                    <a:pt x="2008321" y="1216589"/>
                  </a:lnTo>
                  <a:lnTo>
                    <a:pt x="2010401" y="1216228"/>
                  </a:lnTo>
                  <a:lnTo>
                    <a:pt x="2012627" y="1216701"/>
                  </a:lnTo>
                  <a:lnTo>
                    <a:pt x="2020103" y="1222964"/>
                  </a:lnTo>
                  <a:lnTo>
                    <a:pt x="2019797" y="1226188"/>
                  </a:lnTo>
                  <a:lnTo>
                    <a:pt x="2018663" y="1228671"/>
                  </a:lnTo>
                  <a:lnTo>
                    <a:pt x="2019112" y="1231459"/>
                  </a:lnTo>
                  <a:lnTo>
                    <a:pt x="2019142" y="1234890"/>
                  </a:lnTo>
                  <a:lnTo>
                    <a:pt x="2015082" y="1235834"/>
                  </a:lnTo>
                  <a:lnTo>
                    <a:pt x="2001623" y="1234230"/>
                  </a:lnTo>
                  <a:lnTo>
                    <a:pt x="1993925" y="1231777"/>
                  </a:lnTo>
                  <a:lnTo>
                    <a:pt x="1993528" y="1231030"/>
                  </a:lnTo>
                  <a:lnTo>
                    <a:pt x="1995707" y="1229399"/>
                  </a:lnTo>
                  <a:lnTo>
                    <a:pt x="1993775" y="1229278"/>
                  </a:lnTo>
                  <a:lnTo>
                    <a:pt x="1991539" y="1229919"/>
                  </a:lnTo>
                  <a:lnTo>
                    <a:pt x="1990600" y="1230524"/>
                  </a:lnTo>
                  <a:lnTo>
                    <a:pt x="1993180" y="1233113"/>
                  </a:lnTo>
                  <a:lnTo>
                    <a:pt x="2000254" y="1235393"/>
                  </a:lnTo>
                  <a:lnTo>
                    <a:pt x="2003421" y="1238134"/>
                  </a:lnTo>
                  <a:lnTo>
                    <a:pt x="2006887" y="1238369"/>
                  </a:lnTo>
                  <a:lnTo>
                    <a:pt x="2007940" y="1238865"/>
                  </a:lnTo>
                  <a:lnTo>
                    <a:pt x="2009858" y="1240467"/>
                  </a:lnTo>
                  <a:lnTo>
                    <a:pt x="2009292" y="1241018"/>
                  </a:lnTo>
                  <a:lnTo>
                    <a:pt x="2005758" y="1241209"/>
                  </a:lnTo>
                  <a:lnTo>
                    <a:pt x="2002963" y="1243063"/>
                  </a:lnTo>
                  <a:lnTo>
                    <a:pt x="2004718" y="1244152"/>
                  </a:lnTo>
                  <a:lnTo>
                    <a:pt x="2011006" y="1245105"/>
                  </a:lnTo>
                  <a:lnTo>
                    <a:pt x="2015516" y="1245348"/>
                  </a:lnTo>
                  <a:lnTo>
                    <a:pt x="2017780" y="1246414"/>
                  </a:lnTo>
                  <a:lnTo>
                    <a:pt x="2015919" y="1247601"/>
                  </a:lnTo>
                  <a:lnTo>
                    <a:pt x="2010634" y="1248995"/>
                  </a:lnTo>
                  <a:lnTo>
                    <a:pt x="2010483" y="1251068"/>
                  </a:lnTo>
                  <a:lnTo>
                    <a:pt x="2014400" y="1251897"/>
                  </a:lnTo>
                  <a:lnTo>
                    <a:pt x="2017887" y="1251394"/>
                  </a:lnTo>
                  <a:lnTo>
                    <a:pt x="2019317" y="1251603"/>
                  </a:lnTo>
                  <a:lnTo>
                    <a:pt x="2020339" y="1256608"/>
                  </a:lnTo>
                  <a:lnTo>
                    <a:pt x="2020929" y="1257647"/>
                  </a:lnTo>
                  <a:lnTo>
                    <a:pt x="2017182" y="1258535"/>
                  </a:lnTo>
                  <a:lnTo>
                    <a:pt x="2017167" y="1259487"/>
                  </a:lnTo>
                  <a:lnTo>
                    <a:pt x="2019658" y="1260273"/>
                  </a:lnTo>
                  <a:lnTo>
                    <a:pt x="2023801" y="1260928"/>
                  </a:lnTo>
                  <a:lnTo>
                    <a:pt x="2025170" y="1261824"/>
                  </a:lnTo>
                  <a:lnTo>
                    <a:pt x="2025446" y="1263312"/>
                  </a:lnTo>
                  <a:lnTo>
                    <a:pt x="2026298" y="1264105"/>
                  </a:lnTo>
                  <a:lnTo>
                    <a:pt x="2028672" y="1264248"/>
                  </a:lnTo>
                  <a:lnTo>
                    <a:pt x="2031285" y="1262398"/>
                  </a:lnTo>
                  <a:lnTo>
                    <a:pt x="2032829" y="1260839"/>
                  </a:lnTo>
                  <a:lnTo>
                    <a:pt x="2035074" y="1261425"/>
                  </a:lnTo>
                  <a:lnTo>
                    <a:pt x="2035243" y="1263370"/>
                  </a:lnTo>
                  <a:lnTo>
                    <a:pt x="2037923" y="1265579"/>
                  </a:lnTo>
                  <a:lnTo>
                    <a:pt x="2038895" y="1265942"/>
                  </a:lnTo>
                  <a:lnTo>
                    <a:pt x="2039668" y="1269071"/>
                  </a:lnTo>
                  <a:lnTo>
                    <a:pt x="2041856" y="1266288"/>
                  </a:lnTo>
                  <a:lnTo>
                    <a:pt x="2043459" y="1266877"/>
                  </a:lnTo>
                  <a:lnTo>
                    <a:pt x="2045274" y="1267017"/>
                  </a:lnTo>
                  <a:lnTo>
                    <a:pt x="2044655" y="1269709"/>
                  </a:lnTo>
                  <a:lnTo>
                    <a:pt x="2043568" y="1271827"/>
                  </a:lnTo>
                  <a:lnTo>
                    <a:pt x="2044997" y="1273149"/>
                  </a:lnTo>
                  <a:lnTo>
                    <a:pt x="2046103" y="1275116"/>
                  </a:lnTo>
                  <a:lnTo>
                    <a:pt x="2049042" y="1277817"/>
                  </a:lnTo>
                  <a:lnTo>
                    <a:pt x="2048241" y="1279113"/>
                  </a:lnTo>
                  <a:lnTo>
                    <a:pt x="2044768" y="1281880"/>
                  </a:lnTo>
                  <a:lnTo>
                    <a:pt x="2042938" y="1286252"/>
                  </a:lnTo>
                  <a:lnTo>
                    <a:pt x="2042508" y="1287766"/>
                  </a:lnTo>
                  <a:lnTo>
                    <a:pt x="2040723" y="1290273"/>
                  </a:lnTo>
                  <a:lnTo>
                    <a:pt x="2038272" y="1292701"/>
                  </a:lnTo>
                  <a:lnTo>
                    <a:pt x="2039809" y="1292445"/>
                  </a:lnTo>
                  <a:lnTo>
                    <a:pt x="2045280" y="1287978"/>
                  </a:lnTo>
                  <a:lnTo>
                    <a:pt x="2048532" y="1286477"/>
                  </a:lnTo>
                  <a:lnTo>
                    <a:pt x="2055687" y="1285664"/>
                  </a:lnTo>
                  <a:lnTo>
                    <a:pt x="2057417" y="1284410"/>
                  </a:lnTo>
                  <a:lnTo>
                    <a:pt x="2060037" y="1283889"/>
                  </a:lnTo>
                  <a:lnTo>
                    <a:pt x="2061641" y="1285320"/>
                  </a:lnTo>
                  <a:lnTo>
                    <a:pt x="2061805" y="1287894"/>
                  </a:lnTo>
                  <a:lnTo>
                    <a:pt x="2063924" y="1288706"/>
                  </a:lnTo>
                  <a:lnTo>
                    <a:pt x="2066151" y="1287858"/>
                  </a:lnTo>
                  <a:lnTo>
                    <a:pt x="2068174" y="1288616"/>
                  </a:lnTo>
                  <a:lnTo>
                    <a:pt x="2066957" y="1290231"/>
                  </a:lnTo>
                  <a:lnTo>
                    <a:pt x="2060470" y="1296848"/>
                  </a:lnTo>
                  <a:lnTo>
                    <a:pt x="2058576" y="1299500"/>
                  </a:lnTo>
                  <a:lnTo>
                    <a:pt x="2058034" y="1301374"/>
                  </a:lnTo>
                  <a:lnTo>
                    <a:pt x="2060263" y="1298804"/>
                  </a:lnTo>
                  <a:lnTo>
                    <a:pt x="2068410" y="1292867"/>
                  </a:lnTo>
                  <a:lnTo>
                    <a:pt x="2069282" y="1291978"/>
                  </a:lnTo>
                  <a:lnTo>
                    <a:pt x="2071057" y="1289431"/>
                  </a:lnTo>
                  <a:lnTo>
                    <a:pt x="2072696" y="1287766"/>
                  </a:lnTo>
                  <a:lnTo>
                    <a:pt x="2077089" y="1288357"/>
                  </a:lnTo>
                  <a:lnTo>
                    <a:pt x="2079350" y="1289550"/>
                  </a:lnTo>
                  <a:lnTo>
                    <a:pt x="2080398" y="1292881"/>
                  </a:lnTo>
                  <a:lnTo>
                    <a:pt x="2082173" y="1296507"/>
                  </a:lnTo>
                  <a:lnTo>
                    <a:pt x="2084851" y="1300515"/>
                  </a:lnTo>
                  <a:lnTo>
                    <a:pt x="2091958" y="1302459"/>
                  </a:lnTo>
                  <a:lnTo>
                    <a:pt x="2094538" y="1302774"/>
                  </a:lnTo>
                  <a:lnTo>
                    <a:pt x="2098983" y="1301418"/>
                  </a:lnTo>
                  <a:lnTo>
                    <a:pt x="2099682" y="1299546"/>
                  </a:lnTo>
                  <a:lnTo>
                    <a:pt x="2103150" y="1298973"/>
                  </a:lnTo>
                  <a:lnTo>
                    <a:pt x="2105586" y="1299201"/>
                  </a:lnTo>
                  <a:lnTo>
                    <a:pt x="2106426" y="1302809"/>
                  </a:lnTo>
                  <a:lnTo>
                    <a:pt x="2109024" y="1304722"/>
                  </a:lnTo>
                  <a:lnTo>
                    <a:pt x="2111609" y="1306300"/>
                  </a:lnTo>
                  <a:lnTo>
                    <a:pt x="2114101" y="1307120"/>
                  </a:lnTo>
                  <a:lnTo>
                    <a:pt x="2117742" y="1307473"/>
                  </a:lnTo>
                  <a:lnTo>
                    <a:pt x="2119734" y="1309206"/>
                  </a:lnTo>
                  <a:lnTo>
                    <a:pt x="2119735" y="1309923"/>
                  </a:lnTo>
                  <a:lnTo>
                    <a:pt x="2117682" y="1311778"/>
                  </a:lnTo>
                  <a:lnTo>
                    <a:pt x="2115708" y="1314475"/>
                  </a:lnTo>
                  <a:lnTo>
                    <a:pt x="2112259" y="1316358"/>
                  </a:lnTo>
                  <a:lnTo>
                    <a:pt x="2107446" y="1316445"/>
                  </a:lnTo>
                  <a:lnTo>
                    <a:pt x="2100795" y="1317621"/>
                  </a:lnTo>
                  <a:lnTo>
                    <a:pt x="2100528" y="1318686"/>
                  </a:lnTo>
                  <a:lnTo>
                    <a:pt x="2099062" y="1319856"/>
                  </a:lnTo>
                  <a:lnTo>
                    <a:pt x="2095527" y="1321013"/>
                  </a:lnTo>
                  <a:lnTo>
                    <a:pt x="2093598" y="1321892"/>
                  </a:lnTo>
                  <a:lnTo>
                    <a:pt x="2090474" y="1326254"/>
                  </a:lnTo>
                  <a:lnTo>
                    <a:pt x="2088578" y="1328114"/>
                  </a:lnTo>
                  <a:lnTo>
                    <a:pt x="2086392" y="1328469"/>
                  </a:lnTo>
                  <a:lnTo>
                    <a:pt x="2083313" y="1328291"/>
                  </a:lnTo>
                  <a:lnTo>
                    <a:pt x="2081301" y="1328688"/>
                  </a:lnTo>
                  <a:lnTo>
                    <a:pt x="2079824" y="1329482"/>
                  </a:lnTo>
                  <a:lnTo>
                    <a:pt x="2078957" y="1330665"/>
                  </a:lnTo>
                  <a:lnTo>
                    <a:pt x="2078293" y="1331104"/>
                  </a:lnTo>
                  <a:lnTo>
                    <a:pt x="2074170" y="1332305"/>
                  </a:lnTo>
                  <a:lnTo>
                    <a:pt x="2066687" y="1335601"/>
                  </a:lnTo>
                  <a:lnTo>
                    <a:pt x="2062727" y="1335702"/>
                  </a:lnTo>
                  <a:lnTo>
                    <a:pt x="2060273" y="1335319"/>
                  </a:lnTo>
                  <a:lnTo>
                    <a:pt x="2058408" y="1335592"/>
                  </a:lnTo>
                  <a:lnTo>
                    <a:pt x="2057132" y="1336518"/>
                  </a:lnTo>
                  <a:lnTo>
                    <a:pt x="2053561" y="1338120"/>
                  </a:lnTo>
                  <a:lnTo>
                    <a:pt x="2052487" y="1339099"/>
                  </a:lnTo>
                  <a:lnTo>
                    <a:pt x="2051857" y="1340218"/>
                  </a:lnTo>
                  <a:lnTo>
                    <a:pt x="2051372" y="1342532"/>
                  </a:lnTo>
                  <a:lnTo>
                    <a:pt x="2050947" y="1343367"/>
                  </a:lnTo>
                  <a:lnTo>
                    <a:pt x="2050246" y="1343850"/>
                  </a:lnTo>
                  <a:lnTo>
                    <a:pt x="2047244" y="1343368"/>
                  </a:lnTo>
                  <a:lnTo>
                    <a:pt x="2043895" y="1341870"/>
                  </a:lnTo>
                  <a:lnTo>
                    <a:pt x="2044551" y="1343458"/>
                  </a:lnTo>
                  <a:lnTo>
                    <a:pt x="2049858" y="1346139"/>
                  </a:lnTo>
                  <a:lnTo>
                    <a:pt x="2051378" y="1347625"/>
                  </a:lnTo>
                  <a:lnTo>
                    <a:pt x="2049937" y="1348909"/>
                  </a:lnTo>
                  <a:lnTo>
                    <a:pt x="2046561" y="1350923"/>
                  </a:lnTo>
                  <a:lnTo>
                    <a:pt x="2046167" y="1352005"/>
                  </a:lnTo>
                  <a:lnTo>
                    <a:pt x="2047552" y="1352575"/>
                  </a:lnTo>
                  <a:lnTo>
                    <a:pt x="2047006" y="1353488"/>
                  </a:lnTo>
                  <a:lnTo>
                    <a:pt x="2045155" y="1354456"/>
                  </a:lnTo>
                  <a:lnTo>
                    <a:pt x="2045362" y="1354855"/>
                  </a:lnTo>
                  <a:lnTo>
                    <a:pt x="2045567" y="1355245"/>
                  </a:lnTo>
                  <a:lnTo>
                    <a:pt x="2050159" y="1353851"/>
                  </a:lnTo>
                  <a:lnTo>
                    <a:pt x="2054247" y="1350876"/>
                  </a:lnTo>
                  <a:lnTo>
                    <a:pt x="2056919" y="1347863"/>
                  </a:lnTo>
                  <a:lnTo>
                    <a:pt x="2058255" y="1347018"/>
                  </a:lnTo>
                  <a:lnTo>
                    <a:pt x="2063529" y="1345902"/>
                  </a:lnTo>
                  <a:lnTo>
                    <a:pt x="2066646" y="1344590"/>
                  </a:lnTo>
                  <a:lnTo>
                    <a:pt x="2071106" y="1342202"/>
                  </a:lnTo>
                  <a:lnTo>
                    <a:pt x="2075996" y="1338731"/>
                  </a:lnTo>
                  <a:lnTo>
                    <a:pt x="2081317" y="1334174"/>
                  </a:lnTo>
                  <a:lnTo>
                    <a:pt x="2088099" y="1330609"/>
                  </a:lnTo>
                  <a:lnTo>
                    <a:pt x="2096349" y="1328036"/>
                  </a:lnTo>
                  <a:lnTo>
                    <a:pt x="2102400" y="1326725"/>
                  </a:lnTo>
                  <a:lnTo>
                    <a:pt x="2106257" y="1326666"/>
                  </a:lnTo>
                  <a:lnTo>
                    <a:pt x="2106452" y="1326234"/>
                  </a:lnTo>
                  <a:lnTo>
                    <a:pt x="2102990" y="1325427"/>
                  </a:lnTo>
                  <a:lnTo>
                    <a:pt x="2100134" y="1325268"/>
                  </a:lnTo>
                  <a:lnTo>
                    <a:pt x="2096583" y="1325855"/>
                  </a:lnTo>
                  <a:lnTo>
                    <a:pt x="2095486" y="1324460"/>
                  </a:lnTo>
                  <a:lnTo>
                    <a:pt x="2095602" y="1323852"/>
                  </a:lnTo>
                  <a:lnTo>
                    <a:pt x="2096774" y="1322815"/>
                  </a:lnTo>
                  <a:lnTo>
                    <a:pt x="2099763" y="1321890"/>
                  </a:lnTo>
                  <a:lnTo>
                    <a:pt x="2114397" y="1323184"/>
                  </a:lnTo>
                  <a:lnTo>
                    <a:pt x="2119439" y="1324172"/>
                  </a:lnTo>
                  <a:lnTo>
                    <a:pt x="2124947" y="1332469"/>
                  </a:lnTo>
                  <a:lnTo>
                    <a:pt x="2126213" y="1335131"/>
                  </a:lnTo>
                  <a:lnTo>
                    <a:pt x="2126567" y="1337069"/>
                  </a:lnTo>
                  <a:lnTo>
                    <a:pt x="2126011" y="1338282"/>
                  </a:lnTo>
                  <a:lnTo>
                    <a:pt x="2123803" y="1339718"/>
                  </a:lnTo>
                  <a:lnTo>
                    <a:pt x="2117579" y="1342571"/>
                  </a:lnTo>
                  <a:lnTo>
                    <a:pt x="2116701" y="1343321"/>
                  </a:lnTo>
                  <a:lnTo>
                    <a:pt x="2116618" y="1343720"/>
                  </a:lnTo>
                  <a:lnTo>
                    <a:pt x="2119335" y="1344296"/>
                  </a:lnTo>
                  <a:lnTo>
                    <a:pt x="2120198" y="1345081"/>
                  </a:lnTo>
                  <a:lnTo>
                    <a:pt x="2121578" y="1348243"/>
                  </a:lnTo>
                  <a:lnTo>
                    <a:pt x="2124376" y="1346189"/>
                  </a:lnTo>
                  <a:lnTo>
                    <a:pt x="2129682" y="1341203"/>
                  </a:lnTo>
                  <a:lnTo>
                    <a:pt x="2134024" y="1338887"/>
                  </a:lnTo>
                  <a:lnTo>
                    <a:pt x="2137684" y="1338255"/>
                  </a:lnTo>
                  <a:lnTo>
                    <a:pt x="2142051" y="1337950"/>
                  </a:lnTo>
                  <a:lnTo>
                    <a:pt x="2143556" y="1337999"/>
                  </a:lnTo>
                  <a:lnTo>
                    <a:pt x="2144080" y="1339619"/>
                  </a:lnTo>
                  <a:lnTo>
                    <a:pt x="2146370" y="1342869"/>
                  </a:lnTo>
                  <a:lnTo>
                    <a:pt x="2148495" y="1343713"/>
                  </a:lnTo>
                  <a:lnTo>
                    <a:pt x="2152553" y="1344146"/>
                  </a:lnTo>
                  <a:lnTo>
                    <a:pt x="2156205" y="1348172"/>
                  </a:lnTo>
                  <a:lnTo>
                    <a:pt x="2157597" y="1350944"/>
                  </a:lnTo>
                  <a:lnTo>
                    <a:pt x="2158912" y="1352564"/>
                  </a:lnTo>
                  <a:lnTo>
                    <a:pt x="2158811" y="1353654"/>
                  </a:lnTo>
                  <a:lnTo>
                    <a:pt x="2159029" y="1354566"/>
                  </a:lnTo>
                  <a:lnTo>
                    <a:pt x="2159990" y="1355946"/>
                  </a:lnTo>
                  <a:lnTo>
                    <a:pt x="2160469" y="1357110"/>
                  </a:lnTo>
                  <a:lnTo>
                    <a:pt x="2160210" y="1359771"/>
                  </a:lnTo>
                  <a:lnTo>
                    <a:pt x="2158076" y="1364383"/>
                  </a:lnTo>
                  <a:lnTo>
                    <a:pt x="2159659" y="1368570"/>
                  </a:lnTo>
                  <a:lnTo>
                    <a:pt x="2158949" y="1370456"/>
                  </a:lnTo>
                  <a:lnTo>
                    <a:pt x="2158579" y="1373458"/>
                  </a:lnTo>
                  <a:lnTo>
                    <a:pt x="2159945" y="1375461"/>
                  </a:lnTo>
                  <a:lnTo>
                    <a:pt x="2160346" y="1376623"/>
                  </a:lnTo>
                  <a:lnTo>
                    <a:pt x="2159189" y="1377301"/>
                  </a:lnTo>
                  <a:lnTo>
                    <a:pt x="2151112" y="1378961"/>
                  </a:lnTo>
                  <a:lnTo>
                    <a:pt x="2147933" y="1378993"/>
                  </a:lnTo>
                  <a:lnTo>
                    <a:pt x="2147107" y="1379992"/>
                  </a:lnTo>
                  <a:lnTo>
                    <a:pt x="2149554" y="1380284"/>
                  </a:lnTo>
                  <a:lnTo>
                    <a:pt x="2154013" y="1380236"/>
                  </a:lnTo>
                  <a:lnTo>
                    <a:pt x="2159398" y="1381252"/>
                  </a:lnTo>
                  <a:lnTo>
                    <a:pt x="2161775" y="1382381"/>
                  </a:lnTo>
                  <a:lnTo>
                    <a:pt x="2162802" y="1383958"/>
                  </a:lnTo>
                  <a:lnTo>
                    <a:pt x="2162542" y="1385212"/>
                  </a:lnTo>
                  <a:lnTo>
                    <a:pt x="2160996" y="1386140"/>
                  </a:lnTo>
                  <a:lnTo>
                    <a:pt x="2157966" y="1385958"/>
                  </a:lnTo>
                  <a:lnTo>
                    <a:pt x="2155049" y="1385110"/>
                  </a:lnTo>
                  <a:lnTo>
                    <a:pt x="2155228" y="1385931"/>
                  </a:lnTo>
                  <a:lnTo>
                    <a:pt x="2159564" y="1387974"/>
                  </a:lnTo>
                  <a:lnTo>
                    <a:pt x="2160836" y="1389011"/>
                  </a:lnTo>
                  <a:lnTo>
                    <a:pt x="2163180" y="1390315"/>
                  </a:lnTo>
                  <a:lnTo>
                    <a:pt x="2163643" y="1392065"/>
                  </a:lnTo>
                  <a:lnTo>
                    <a:pt x="2163074" y="1393843"/>
                  </a:lnTo>
                  <a:lnTo>
                    <a:pt x="2154903" y="1400915"/>
                  </a:lnTo>
                  <a:lnTo>
                    <a:pt x="2148181" y="1405392"/>
                  </a:lnTo>
                  <a:lnTo>
                    <a:pt x="2141437" y="1409315"/>
                  </a:lnTo>
                  <a:lnTo>
                    <a:pt x="2130599" y="1416848"/>
                  </a:lnTo>
                  <a:lnTo>
                    <a:pt x="2129527" y="1417214"/>
                  </a:lnTo>
                  <a:lnTo>
                    <a:pt x="2127566" y="1417358"/>
                  </a:lnTo>
                  <a:lnTo>
                    <a:pt x="2122402" y="1416154"/>
                  </a:lnTo>
                  <a:lnTo>
                    <a:pt x="2118283" y="1416462"/>
                  </a:lnTo>
                  <a:lnTo>
                    <a:pt x="2110475" y="1417916"/>
                  </a:lnTo>
                  <a:lnTo>
                    <a:pt x="2108341" y="1418805"/>
                  </a:lnTo>
                  <a:lnTo>
                    <a:pt x="2104059" y="1421410"/>
                  </a:lnTo>
                  <a:lnTo>
                    <a:pt x="2102366" y="1421784"/>
                  </a:lnTo>
                  <a:lnTo>
                    <a:pt x="2097775" y="1422314"/>
                  </a:lnTo>
                  <a:lnTo>
                    <a:pt x="2093419" y="1421954"/>
                  </a:lnTo>
                  <a:lnTo>
                    <a:pt x="2091693" y="1422319"/>
                  </a:lnTo>
                  <a:lnTo>
                    <a:pt x="2089590" y="1423594"/>
                  </a:lnTo>
                  <a:lnTo>
                    <a:pt x="2089046" y="1424268"/>
                  </a:lnTo>
                  <a:lnTo>
                    <a:pt x="2088466" y="1426464"/>
                  </a:lnTo>
                  <a:lnTo>
                    <a:pt x="2077885" y="1436267"/>
                  </a:lnTo>
                  <a:lnTo>
                    <a:pt x="2075083" y="1439584"/>
                  </a:lnTo>
                  <a:lnTo>
                    <a:pt x="2069691" y="1443071"/>
                  </a:lnTo>
                  <a:lnTo>
                    <a:pt x="2063762" y="1449182"/>
                  </a:lnTo>
                  <a:lnTo>
                    <a:pt x="2058604" y="1451638"/>
                  </a:lnTo>
                  <a:lnTo>
                    <a:pt x="2056803" y="1455024"/>
                  </a:lnTo>
                  <a:lnTo>
                    <a:pt x="2051887" y="1457078"/>
                  </a:lnTo>
                  <a:lnTo>
                    <a:pt x="2042812" y="1457600"/>
                  </a:lnTo>
                  <a:lnTo>
                    <a:pt x="2038499" y="1458188"/>
                  </a:lnTo>
                  <a:lnTo>
                    <a:pt x="2033453" y="1457236"/>
                  </a:lnTo>
                  <a:lnTo>
                    <a:pt x="2029673" y="1458710"/>
                  </a:lnTo>
                  <a:lnTo>
                    <a:pt x="2023982" y="1459171"/>
                  </a:lnTo>
                  <a:lnTo>
                    <a:pt x="2021217" y="1458824"/>
                  </a:lnTo>
                  <a:lnTo>
                    <a:pt x="2010185" y="1462071"/>
                  </a:lnTo>
                  <a:lnTo>
                    <a:pt x="2007383" y="1458989"/>
                  </a:lnTo>
                  <a:lnTo>
                    <a:pt x="2005249" y="1457799"/>
                  </a:lnTo>
                  <a:lnTo>
                    <a:pt x="1999019" y="1457597"/>
                  </a:lnTo>
                  <a:lnTo>
                    <a:pt x="1994038" y="1456323"/>
                  </a:lnTo>
                  <a:lnTo>
                    <a:pt x="1989492" y="1456084"/>
                  </a:lnTo>
                  <a:lnTo>
                    <a:pt x="1985067" y="1455514"/>
                  </a:lnTo>
                  <a:lnTo>
                    <a:pt x="1982156" y="1455521"/>
                  </a:lnTo>
                  <a:lnTo>
                    <a:pt x="1979126" y="1455857"/>
                  </a:lnTo>
                  <a:lnTo>
                    <a:pt x="1974413" y="1455775"/>
                  </a:lnTo>
                  <a:lnTo>
                    <a:pt x="1971802" y="1457476"/>
                  </a:lnTo>
                  <a:lnTo>
                    <a:pt x="1962975" y="1456957"/>
                  </a:lnTo>
                  <a:lnTo>
                    <a:pt x="1959251" y="1455415"/>
                  </a:lnTo>
                  <a:lnTo>
                    <a:pt x="1956198" y="1455093"/>
                  </a:lnTo>
                  <a:lnTo>
                    <a:pt x="1952094" y="1455438"/>
                  </a:lnTo>
                  <a:lnTo>
                    <a:pt x="1948175" y="1456585"/>
                  </a:lnTo>
                  <a:lnTo>
                    <a:pt x="1939590" y="1455272"/>
                  </a:lnTo>
                  <a:lnTo>
                    <a:pt x="1930489" y="1456383"/>
                  </a:lnTo>
                  <a:lnTo>
                    <a:pt x="1922552" y="1455639"/>
                  </a:lnTo>
                  <a:lnTo>
                    <a:pt x="1920329" y="1454904"/>
                  </a:lnTo>
                  <a:lnTo>
                    <a:pt x="1907805" y="1456922"/>
                  </a:lnTo>
                  <a:lnTo>
                    <a:pt x="1902915" y="1455764"/>
                  </a:lnTo>
                  <a:lnTo>
                    <a:pt x="1898600" y="1458855"/>
                  </a:lnTo>
                  <a:lnTo>
                    <a:pt x="1895641" y="1458213"/>
                  </a:lnTo>
                  <a:lnTo>
                    <a:pt x="1892430" y="1458668"/>
                  </a:lnTo>
                  <a:lnTo>
                    <a:pt x="1891359" y="1458084"/>
                  </a:lnTo>
                  <a:lnTo>
                    <a:pt x="1889218" y="1458495"/>
                  </a:lnTo>
                  <a:lnTo>
                    <a:pt x="1887835" y="1460176"/>
                  </a:lnTo>
                  <a:lnTo>
                    <a:pt x="1886018" y="1460368"/>
                  </a:lnTo>
                  <a:lnTo>
                    <a:pt x="1882997" y="1463347"/>
                  </a:lnTo>
                  <a:lnTo>
                    <a:pt x="1877919" y="1465725"/>
                  </a:lnTo>
                  <a:lnTo>
                    <a:pt x="1870483" y="1478668"/>
                  </a:lnTo>
                  <a:lnTo>
                    <a:pt x="1869785" y="1483626"/>
                  </a:lnTo>
                  <a:lnTo>
                    <a:pt x="1866993" y="1487003"/>
                  </a:lnTo>
                  <a:lnTo>
                    <a:pt x="1864528" y="1487457"/>
                  </a:lnTo>
                  <a:lnTo>
                    <a:pt x="1862499" y="1487534"/>
                  </a:lnTo>
                  <a:lnTo>
                    <a:pt x="1849644" y="1490012"/>
                  </a:lnTo>
                  <a:lnTo>
                    <a:pt x="1843921" y="1491967"/>
                  </a:lnTo>
                  <a:lnTo>
                    <a:pt x="1845476" y="1493525"/>
                  </a:lnTo>
                  <a:lnTo>
                    <a:pt x="1843602" y="1494682"/>
                  </a:lnTo>
                  <a:lnTo>
                    <a:pt x="1840562" y="1495168"/>
                  </a:lnTo>
                  <a:lnTo>
                    <a:pt x="1837280" y="1496588"/>
                  </a:lnTo>
                  <a:lnTo>
                    <a:pt x="1835149" y="1498191"/>
                  </a:lnTo>
                  <a:lnTo>
                    <a:pt x="1834106" y="1500404"/>
                  </a:lnTo>
                  <a:lnTo>
                    <a:pt x="1827512" y="1504018"/>
                  </a:lnTo>
                  <a:lnTo>
                    <a:pt x="1819862" y="1512343"/>
                  </a:lnTo>
                  <a:lnTo>
                    <a:pt x="1816206" y="1518433"/>
                  </a:lnTo>
                  <a:lnTo>
                    <a:pt x="1811765" y="1522836"/>
                  </a:lnTo>
                  <a:lnTo>
                    <a:pt x="1808627" y="1524511"/>
                  </a:lnTo>
                  <a:lnTo>
                    <a:pt x="1806394" y="1524771"/>
                  </a:lnTo>
                  <a:lnTo>
                    <a:pt x="1804117" y="1524245"/>
                  </a:lnTo>
                  <a:lnTo>
                    <a:pt x="1800332" y="1522183"/>
                  </a:lnTo>
                  <a:lnTo>
                    <a:pt x="1797552" y="1521955"/>
                  </a:lnTo>
                  <a:lnTo>
                    <a:pt x="1790628" y="1519080"/>
                  </a:lnTo>
                  <a:lnTo>
                    <a:pt x="1774537" y="1516183"/>
                  </a:lnTo>
                  <a:lnTo>
                    <a:pt x="1776964" y="1517267"/>
                  </a:lnTo>
                  <a:lnTo>
                    <a:pt x="1779089" y="1519051"/>
                  </a:lnTo>
                  <a:lnTo>
                    <a:pt x="1783341" y="1519511"/>
                  </a:lnTo>
                  <a:lnTo>
                    <a:pt x="1787663" y="1519474"/>
                  </a:lnTo>
                  <a:lnTo>
                    <a:pt x="1796672" y="1523072"/>
                  </a:lnTo>
                  <a:lnTo>
                    <a:pt x="1801087" y="1524297"/>
                  </a:lnTo>
                  <a:lnTo>
                    <a:pt x="1803767" y="1525383"/>
                  </a:lnTo>
                  <a:lnTo>
                    <a:pt x="1806062" y="1527787"/>
                  </a:lnTo>
                  <a:lnTo>
                    <a:pt x="1804418" y="1532496"/>
                  </a:lnTo>
                  <a:lnTo>
                    <a:pt x="1802751" y="1536386"/>
                  </a:lnTo>
                  <a:lnTo>
                    <a:pt x="1800498" y="1539366"/>
                  </a:lnTo>
                  <a:lnTo>
                    <a:pt x="1792747" y="1546998"/>
                  </a:lnTo>
                  <a:lnTo>
                    <a:pt x="1788996" y="1549558"/>
                  </a:lnTo>
                  <a:lnTo>
                    <a:pt x="1782459" y="1558663"/>
                  </a:lnTo>
                  <a:lnTo>
                    <a:pt x="1775693" y="1562927"/>
                  </a:lnTo>
                  <a:lnTo>
                    <a:pt x="1772070" y="1565541"/>
                  </a:lnTo>
                  <a:lnTo>
                    <a:pt x="1768211" y="1569664"/>
                  </a:lnTo>
                  <a:lnTo>
                    <a:pt x="1759159" y="1572778"/>
                  </a:lnTo>
                  <a:lnTo>
                    <a:pt x="1755799" y="1573570"/>
                  </a:lnTo>
                  <a:lnTo>
                    <a:pt x="1752697" y="1573147"/>
                  </a:lnTo>
                  <a:lnTo>
                    <a:pt x="1748923" y="1575678"/>
                  </a:lnTo>
                  <a:lnTo>
                    <a:pt x="1744455" y="1577224"/>
                  </a:lnTo>
                  <a:lnTo>
                    <a:pt x="1743137" y="1579576"/>
                  </a:lnTo>
                  <a:lnTo>
                    <a:pt x="1732399" y="1585864"/>
                  </a:lnTo>
                  <a:lnTo>
                    <a:pt x="1728277" y="1586654"/>
                  </a:lnTo>
                  <a:lnTo>
                    <a:pt x="1724770" y="1588327"/>
                  </a:lnTo>
                  <a:lnTo>
                    <a:pt x="1723732" y="1591164"/>
                  </a:lnTo>
                  <a:lnTo>
                    <a:pt x="1720601" y="1592875"/>
                  </a:lnTo>
                  <a:lnTo>
                    <a:pt x="1719732" y="1594183"/>
                  </a:lnTo>
                  <a:lnTo>
                    <a:pt x="1717098" y="1598144"/>
                  </a:lnTo>
                  <a:lnTo>
                    <a:pt x="1712203" y="1603252"/>
                  </a:lnTo>
                  <a:lnTo>
                    <a:pt x="1706238" y="1604107"/>
                  </a:lnTo>
                  <a:lnTo>
                    <a:pt x="1704058" y="1605882"/>
                  </a:lnTo>
                  <a:lnTo>
                    <a:pt x="1701533" y="1608745"/>
                  </a:lnTo>
                  <a:lnTo>
                    <a:pt x="1697972" y="1610708"/>
                  </a:lnTo>
                  <a:lnTo>
                    <a:pt x="1690943" y="1609789"/>
                  </a:lnTo>
                  <a:lnTo>
                    <a:pt x="1692652" y="1610992"/>
                  </a:lnTo>
                  <a:lnTo>
                    <a:pt x="1698941" y="1612865"/>
                  </a:lnTo>
                  <a:lnTo>
                    <a:pt x="1699595" y="1615643"/>
                  </a:lnTo>
                  <a:lnTo>
                    <a:pt x="1696445" y="1616306"/>
                  </a:lnTo>
                  <a:lnTo>
                    <a:pt x="1689846" y="1620003"/>
                  </a:lnTo>
                  <a:lnTo>
                    <a:pt x="1680957" y="1626358"/>
                  </a:lnTo>
                  <a:lnTo>
                    <a:pt x="1679598" y="1626507"/>
                  </a:lnTo>
                  <a:lnTo>
                    <a:pt x="1677209" y="1626355"/>
                  </a:lnTo>
                  <a:lnTo>
                    <a:pt x="1673673" y="1627415"/>
                  </a:lnTo>
                  <a:lnTo>
                    <a:pt x="1669027" y="1629630"/>
                  </a:lnTo>
                  <a:lnTo>
                    <a:pt x="1663401" y="1633607"/>
                  </a:lnTo>
                  <a:lnTo>
                    <a:pt x="1653494" y="1642201"/>
                  </a:lnTo>
                  <a:lnTo>
                    <a:pt x="1652799" y="1643107"/>
                  </a:lnTo>
                  <a:lnTo>
                    <a:pt x="1651365" y="1644697"/>
                  </a:lnTo>
                  <a:lnTo>
                    <a:pt x="1647707" y="1646392"/>
                  </a:lnTo>
                  <a:lnTo>
                    <a:pt x="1644386" y="1648218"/>
                  </a:lnTo>
                  <a:lnTo>
                    <a:pt x="1643507" y="1650137"/>
                  </a:lnTo>
                  <a:lnTo>
                    <a:pt x="1641917" y="1651012"/>
                  </a:lnTo>
                  <a:lnTo>
                    <a:pt x="1636438" y="1655875"/>
                  </a:lnTo>
                  <a:lnTo>
                    <a:pt x="1633357" y="1660011"/>
                  </a:lnTo>
                  <a:lnTo>
                    <a:pt x="1630559" y="1664334"/>
                  </a:lnTo>
                  <a:lnTo>
                    <a:pt x="1627427" y="1669160"/>
                  </a:lnTo>
                  <a:lnTo>
                    <a:pt x="1621003" y="1669221"/>
                  </a:lnTo>
                  <a:lnTo>
                    <a:pt x="1616100" y="1669201"/>
                  </a:lnTo>
                  <a:lnTo>
                    <a:pt x="1607737" y="1669167"/>
                  </a:lnTo>
                  <a:lnTo>
                    <a:pt x="1600567" y="1669138"/>
                  </a:lnTo>
                  <a:lnTo>
                    <a:pt x="1592060" y="1669103"/>
                  </a:lnTo>
                  <a:lnTo>
                    <a:pt x="1585886" y="1669078"/>
                  </a:lnTo>
                  <a:lnTo>
                    <a:pt x="1579238" y="1669281"/>
                  </a:lnTo>
                  <a:lnTo>
                    <a:pt x="1576065" y="1670566"/>
                  </a:lnTo>
                  <a:lnTo>
                    <a:pt x="1572086" y="1672302"/>
                  </a:lnTo>
                  <a:lnTo>
                    <a:pt x="1567792" y="1674174"/>
                  </a:lnTo>
                  <a:lnTo>
                    <a:pt x="1570044" y="1678343"/>
                  </a:lnTo>
                  <a:lnTo>
                    <a:pt x="1570648" y="1679986"/>
                  </a:lnTo>
                  <a:lnTo>
                    <a:pt x="1570474" y="1685281"/>
                  </a:lnTo>
                  <a:lnTo>
                    <a:pt x="1570933" y="1685859"/>
                  </a:lnTo>
                  <a:lnTo>
                    <a:pt x="1571413" y="1686644"/>
                  </a:lnTo>
                  <a:lnTo>
                    <a:pt x="1571487" y="1688010"/>
                  </a:lnTo>
                  <a:lnTo>
                    <a:pt x="1571854" y="1688635"/>
                  </a:lnTo>
                  <a:lnTo>
                    <a:pt x="1572638" y="1689139"/>
                  </a:lnTo>
                  <a:lnTo>
                    <a:pt x="1573519" y="1689731"/>
                  </a:lnTo>
                  <a:lnTo>
                    <a:pt x="1574156" y="1690534"/>
                  </a:lnTo>
                  <a:lnTo>
                    <a:pt x="1574303" y="1691334"/>
                  </a:lnTo>
                  <a:lnTo>
                    <a:pt x="1573689" y="1692729"/>
                  </a:lnTo>
                  <a:lnTo>
                    <a:pt x="1571218" y="1694612"/>
                  </a:lnTo>
                  <a:lnTo>
                    <a:pt x="1567745" y="1696262"/>
                  </a:lnTo>
                  <a:lnTo>
                    <a:pt x="1560835" y="1699236"/>
                  </a:lnTo>
                  <a:lnTo>
                    <a:pt x="1552828" y="1702680"/>
                  </a:lnTo>
                  <a:lnTo>
                    <a:pt x="1545887" y="1705661"/>
                  </a:lnTo>
                  <a:lnTo>
                    <a:pt x="1540516" y="1707967"/>
                  </a:lnTo>
                  <a:lnTo>
                    <a:pt x="1529485" y="1709990"/>
                  </a:lnTo>
                  <a:lnTo>
                    <a:pt x="1520721" y="1711596"/>
                  </a:lnTo>
                  <a:lnTo>
                    <a:pt x="1514397" y="1712755"/>
                  </a:lnTo>
                  <a:lnTo>
                    <a:pt x="1508573" y="1715977"/>
                  </a:lnTo>
                  <a:lnTo>
                    <a:pt x="1502142" y="1719530"/>
                  </a:lnTo>
                  <a:lnTo>
                    <a:pt x="1496735" y="1722515"/>
                  </a:lnTo>
                  <a:lnTo>
                    <a:pt x="1490672" y="1725859"/>
                  </a:lnTo>
                  <a:lnTo>
                    <a:pt x="1484947" y="1729012"/>
                  </a:lnTo>
                  <a:lnTo>
                    <a:pt x="1478584" y="1729002"/>
                  </a:lnTo>
                  <a:lnTo>
                    <a:pt x="1474116" y="1726638"/>
                  </a:lnTo>
                  <a:lnTo>
                    <a:pt x="1469964" y="1724210"/>
                  </a:lnTo>
                  <a:lnTo>
                    <a:pt x="1467125" y="1719862"/>
                  </a:lnTo>
                  <a:lnTo>
                    <a:pt x="1466930" y="1714805"/>
                  </a:lnTo>
                  <a:lnTo>
                    <a:pt x="1467947" y="1711488"/>
                  </a:lnTo>
                  <a:lnTo>
                    <a:pt x="1468869" y="1709974"/>
                  </a:lnTo>
                  <a:lnTo>
                    <a:pt x="1470630" y="1709014"/>
                  </a:lnTo>
                  <a:lnTo>
                    <a:pt x="1474077" y="1707380"/>
                  </a:lnTo>
                  <a:lnTo>
                    <a:pt x="1477210" y="1704072"/>
                  </a:lnTo>
                  <a:lnTo>
                    <a:pt x="1479723" y="1702095"/>
                  </a:lnTo>
                  <a:lnTo>
                    <a:pt x="1482254" y="1700056"/>
                  </a:lnTo>
                  <a:lnTo>
                    <a:pt x="1483698" y="1696538"/>
                  </a:lnTo>
                  <a:lnTo>
                    <a:pt x="1485501" y="1688009"/>
                  </a:lnTo>
                  <a:lnTo>
                    <a:pt x="1485730" y="1686309"/>
                  </a:lnTo>
                  <a:lnTo>
                    <a:pt x="1488352" y="1680444"/>
                  </a:lnTo>
                  <a:lnTo>
                    <a:pt x="1491253" y="1673941"/>
                  </a:lnTo>
                  <a:lnTo>
                    <a:pt x="1492585" y="1670950"/>
                  </a:lnTo>
                  <a:lnTo>
                    <a:pt x="1491096" y="1663175"/>
                  </a:lnTo>
                  <a:lnTo>
                    <a:pt x="1489976" y="1657187"/>
                  </a:lnTo>
                  <a:lnTo>
                    <a:pt x="1488949" y="1651692"/>
                  </a:lnTo>
                  <a:lnTo>
                    <a:pt x="1487794" y="1645490"/>
                  </a:lnTo>
                  <a:lnTo>
                    <a:pt x="1486743" y="1639833"/>
                  </a:lnTo>
                  <a:lnTo>
                    <a:pt x="1485751" y="1634493"/>
                  </a:lnTo>
                  <a:lnTo>
                    <a:pt x="1484757" y="1629125"/>
                  </a:lnTo>
                  <a:lnTo>
                    <a:pt x="1483781" y="1623852"/>
                  </a:lnTo>
                  <a:lnTo>
                    <a:pt x="1483016" y="1620066"/>
                  </a:lnTo>
                  <a:lnTo>
                    <a:pt x="1482107" y="1615572"/>
                  </a:lnTo>
                  <a:lnTo>
                    <a:pt x="1476800" y="1612414"/>
                  </a:lnTo>
                  <a:lnTo>
                    <a:pt x="1472769" y="1610200"/>
                  </a:lnTo>
                  <a:lnTo>
                    <a:pt x="1466178" y="1606581"/>
                  </a:lnTo>
                  <a:lnTo>
                    <a:pt x="1460649" y="1603543"/>
                  </a:lnTo>
                  <a:lnTo>
                    <a:pt x="1455697" y="1600760"/>
                  </a:lnTo>
                  <a:lnTo>
                    <a:pt x="1458820" y="1595143"/>
                  </a:lnTo>
                  <a:lnTo>
                    <a:pt x="1458550" y="1594223"/>
                  </a:lnTo>
                  <a:lnTo>
                    <a:pt x="1457418" y="1593115"/>
                  </a:lnTo>
                  <a:lnTo>
                    <a:pt x="1455105" y="1591273"/>
                  </a:lnTo>
                  <a:lnTo>
                    <a:pt x="1453753" y="1591085"/>
                  </a:lnTo>
                  <a:lnTo>
                    <a:pt x="1451372" y="1591518"/>
                  </a:lnTo>
                  <a:lnTo>
                    <a:pt x="1447572" y="1592665"/>
                  </a:lnTo>
                  <a:lnTo>
                    <a:pt x="1445931" y="1592285"/>
                  </a:lnTo>
                  <a:lnTo>
                    <a:pt x="1444627" y="1590315"/>
                  </a:lnTo>
                  <a:lnTo>
                    <a:pt x="1443126" y="1587794"/>
                  </a:lnTo>
                  <a:lnTo>
                    <a:pt x="1442636" y="1585821"/>
                  </a:lnTo>
                  <a:lnTo>
                    <a:pt x="1442447" y="1583210"/>
                  </a:lnTo>
                  <a:lnTo>
                    <a:pt x="1441552" y="1580857"/>
                  </a:lnTo>
                  <a:lnTo>
                    <a:pt x="1442118" y="1579622"/>
                  </a:lnTo>
                  <a:lnTo>
                    <a:pt x="1442245" y="1579007"/>
                  </a:lnTo>
                  <a:lnTo>
                    <a:pt x="1442193" y="1578232"/>
                  </a:lnTo>
                  <a:lnTo>
                    <a:pt x="1441578" y="1577738"/>
                  </a:lnTo>
                  <a:lnTo>
                    <a:pt x="1440495" y="1577522"/>
                  </a:lnTo>
                  <a:lnTo>
                    <a:pt x="1436830" y="1578511"/>
                  </a:lnTo>
                  <a:lnTo>
                    <a:pt x="1435182" y="1578603"/>
                  </a:lnTo>
                  <a:lnTo>
                    <a:pt x="1434199" y="1579159"/>
                  </a:lnTo>
                  <a:lnTo>
                    <a:pt x="1432650" y="1580314"/>
                  </a:lnTo>
                  <a:lnTo>
                    <a:pt x="1431124" y="1580457"/>
                  </a:lnTo>
                  <a:lnTo>
                    <a:pt x="1428486" y="1577722"/>
                  </a:lnTo>
                  <a:lnTo>
                    <a:pt x="1425606" y="1574726"/>
                  </a:lnTo>
                  <a:lnTo>
                    <a:pt x="1424397" y="1570593"/>
                  </a:lnTo>
                  <a:lnTo>
                    <a:pt x="1423156" y="1566343"/>
                  </a:lnTo>
                  <a:lnTo>
                    <a:pt x="1418235" y="1563784"/>
                  </a:lnTo>
                  <a:lnTo>
                    <a:pt x="1413315" y="1561221"/>
                  </a:lnTo>
                  <a:lnTo>
                    <a:pt x="1408393" y="1558659"/>
                  </a:lnTo>
                  <a:lnTo>
                    <a:pt x="1403473" y="1556092"/>
                  </a:lnTo>
                  <a:lnTo>
                    <a:pt x="1398551" y="1553524"/>
                  </a:lnTo>
                  <a:lnTo>
                    <a:pt x="1393632" y="1550953"/>
                  </a:lnTo>
                  <a:lnTo>
                    <a:pt x="1388710" y="1548380"/>
                  </a:lnTo>
                  <a:lnTo>
                    <a:pt x="1383788" y="1545805"/>
                  </a:lnTo>
                  <a:lnTo>
                    <a:pt x="1382090" y="1544951"/>
                  </a:lnTo>
                  <a:lnTo>
                    <a:pt x="1377611" y="1542702"/>
                  </a:lnTo>
                  <a:lnTo>
                    <a:pt x="1371281" y="1539517"/>
                  </a:lnTo>
                  <a:lnTo>
                    <a:pt x="1364025" y="1535861"/>
                  </a:lnTo>
                  <a:lnTo>
                    <a:pt x="1356767" y="1532199"/>
                  </a:lnTo>
                  <a:lnTo>
                    <a:pt x="1350436" y="1529002"/>
                  </a:lnTo>
                  <a:lnTo>
                    <a:pt x="1345958" y="1526741"/>
                  </a:lnTo>
                  <a:lnTo>
                    <a:pt x="1344261" y="1525882"/>
                  </a:lnTo>
                  <a:lnTo>
                    <a:pt x="1339869" y="1523661"/>
                  </a:lnTo>
                  <a:lnTo>
                    <a:pt x="1334353" y="1521139"/>
                  </a:lnTo>
                  <a:lnTo>
                    <a:pt x="1328430" y="1522408"/>
                  </a:lnTo>
                  <a:lnTo>
                    <a:pt x="1321154" y="1525920"/>
                  </a:lnTo>
                  <a:lnTo>
                    <a:pt x="1316999" y="1527926"/>
                  </a:lnTo>
                  <a:lnTo>
                    <a:pt x="1313879" y="1529428"/>
                  </a:lnTo>
                  <a:lnTo>
                    <a:pt x="1311658" y="1530317"/>
                  </a:lnTo>
                  <a:lnTo>
                    <a:pt x="1307033" y="1531084"/>
                  </a:lnTo>
                  <a:lnTo>
                    <a:pt x="1304626" y="1530966"/>
                  </a:lnTo>
                  <a:lnTo>
                    <a:pt x="1298925" y="1530467"/>
                  </a:lnTo>
                  <a:lnTo>
                    <a:pt x="1295740" y="1531109"/>
                  </a:lnTo>
                  <a:lnTo>
                    <a:pt x="1293391" y="1530467"/>
                  </a:lnTo>
                  <a:lnTo>
                    <a:pt x="1292217" y="1528432"/>
                  </a:lnTo>
                  <a:lnTo>
                    <a:pt x="1290902" y="1527138"/>
                  </a:lnTo>
                  <a:lnTo>
                    <a:pt x="1285113" y="1527752"/>
                  </a:lnTo>
                  <a:lnTo>
                    <a:pt x="1277836" y="1527317"/>
                  </a:lnTo>
                  <a:lnTo>
                    <a:pt x="1274355" y="1527577"/>
                  </a:lnTo>
                  <a:lnTo>
                    <a:pt x="1273013" y="1526719"/>
                  </a:lnTo>
                  <a:lnTo>
                    <a:pt x="1271921" y="1524467"/>
                  </a:lnTo>
                  <a:lnTo>
                    <a:pt x="1270002" y="1524188"/>
                  </a:lnTo>
                  <a:lnTo>
                    <a:pt x="1266771" y="1524688"/>
                  </a:lnTo>
                  <a:lnTo>
                    <a:pt x="1262278" y="1527577"/>
                  </a:lnTo>
                  <a:lnTo>
                    <a:pt x="1258055" y="1529068"/>
                  </a:lnTo>
                  <a:lnTo>
                    <a:pt x="1254731" y="1529076"/>
                  </a:lnTo>
                  <a:lnTo>
                    <a:pt x="1251460" y="1527577"/>
                  </a:lnTo>
                  <a:lnTo>
                    <a:pt x="1246107" y="1524563"/>
                  </a:lnTo>
                  <a:lnTo>
                    <a:pt x="1242385" y="1521179"/>
                  </a:lnTo>
                  <a:lnTo>
                    <a:pt x="1238160" y="1519994"/>
                  </a:lnTo>
                  <a:lnTo>
                    <a:pt x="1234943" y="1520301"/>
                  </a:lnTo>
                  <a:lnTo>
                    <a:pt x="1233681" y="1521998"/>
                  </a:lnTo>
                  <a:lnTo>
                    <a:pt x="1232004" y="1521998"/>
                  </a:lnTo>
                  <a:lnTo>
                    <a:pt x="1230830" y="1519100"/>
                  </a:lnTo>
                  <a:lnTo>
                    <a:pt x="1229824" y="1516843"/>
                  </a:lnTo>
                  <a:lnTo>
                    <a:pt x="1227727" y="1515876"/>
                  </a:lnTo>
                  <a:lnTo>
                    <a:pt x="1223939" y="1513704"/>
                  </a:lnTo>
                  <a:lnTo>
                    <a:pt x="1221300" y="1512534"/>
                  </a:lnTo>
                  <a:lnTo>
                    <a:pt x="1217256" y="1511100"/>
                  </a:lnTo>
                  <a:lnTo>
                    <a:pt x="1215849" y="1510837"/>
                  </a:lnTo>
                  <a:lnTo>
                    <a:pt x="1213224" y="1510659"/>
                  </a:lnTo>
                  <a:lnTo>
                    <a:pt x="1210620" y="1510545"/>
                  </a:lnTo>
                  <a:lnTo>
                    <a:pt x="1207578" y="1510945"/>
                  </a:lnTo>
                  <a:lnTo>
                    <a:pt x="1205404" y="1512745"/>
                  </a:lnTo>
                  <a:lnTo>
                    <a:pt x="1202853" y="1513539"/>
                  </a:lnTo>
                  <a:lnTo>
                    <a:pt x="1199215" y="1513912"/>
                  </a:lnTo>
                  <a:lnTo>
                    <a:pt x="1196784" y="1513148"/>
                  </a:lnTo>
                  <a:lnTo>
                    <a:pt x="1195567" y="1511248"/>
                  </a:lnTo>
                  <a:lnTo>
                    <a:pt x="1190405" y="1509561"/>
                  </a:lnTo>
                  <a:lnTo>
                    <a:pt x="1181303" y="1508092"/>
                  </a:lnTo>
                  <a:lnTo>
                    <a:pt x="1176060" y="1506835"/>
                  </a:lnTo>
                  <a:lnTo>
                    <a:pt x="1174679" y="1505797"/>
                  </a:lnTo>
                  <a:lnTo>
                    <a:pt x="1173926" y="1504685"/>
                  </a:lnTo>
                  <a:lnTo>
                    <a:pt x="1173736" y="1502905"/>
                  </a:lnTo>
                  <a:lnTo>
                    <a:pt x="1173730" y="1502892"/>
                  </a:lnTo>
                  <a:lnTo>
                    <a:pt x="1171430" y="1498330"/>
                  </a:lnTo>
                  <a:lnTo>
                    <a:pt x="1170440" y="1494523"/>
                  </a:lnTo>
                  <a:lnTo>
                    <a:pt x="1169987" y="1489952"/>
                  </a:lnTo>
                  <a:lnTo>
                    <a:pt x="1170140" y="1488443"/>
                  </a:lnTo>
                  <a:lnTo>
                    <a:pt x="1169622" y="1487968"/>
                  </a:lnTo>
                  <a:lnTo>
                    <a:pt x="1167986" y="1486971"/>
                  </a:lnTo>
                  <a:lnTo>
                    <a:pt x="1162510" y="1486304"/>
                  </a:lnTo>
                  <a:lnTo>
                    <a:pt x="1162434" y="1491773"/>
                  </a:lnTo>
                  <a:lnTo>
                    <a:pt x="1162338" y="1498696"/>
                  </a:lnTo>
                  <a:lnTo>
                    <a:pt x="1156358" y="1498650"/>
                  </a:lnTo>
                  <a:lnTo>
                    <a:pt x="1145546" y="1498650"/>
                  </a:lnTo>
                  <a:lnTo>
                    <a:pt x="1134734" y="1498650"/>
                  </a:lnTo>
                  <a:lnTo>
                    <a:pt x="1123924" y="1498650"/>
                  </a:lnTo>
                  <a:lnTo>
                    <a:pt x="1113111" y="1498650"/>
                  </a:lnTo>
                  <a:lnTo>
                    <a:pt x="1102300" y="1498650"/>
                  </a:lnTo>
                  <a:lnTo>
                    <a:pt x="1091489" y="1498650"/>
                  </a:lnTo>
                  <a:lnTo>
                    <a:pt x="1080677" y="1498650"/>
                  </a:lnTo>
                  <a:lnTo>
                    <a:pt x="1069866" y="1498650"/>
                  </a:lnTo>
                  <a:lnTo>
                    <a:pt x="1059054" y="1498651"/>
                  </a:lnTo>
                  <a:lnTo>
                    <a:pt x="1048243" y="1498651"/>
                  </a:lnTo>
                  <a:lnTo>
                    <a:pt x="1037431" y="1498651"/>
                  </a:lnTo>
                  <a:lnTo>
                    <a:pt x="1026619" y="1498651"/>
                  </a:lnTo>
                  <a:lnTo>
                    <a:pt x="1015808" y="1498651"/>
                  </a:lnTo>
                  <a:lnTo>
                    <a:pt x="1004996" y="1498651"/>
                  </a:lnTo>
                  <a:lnTo>
                    <a:pt x="994184" y="1498651"/>
                  </a:lnTo>
                  <a:lnTo>
                    <a:pt x="983374" y="1498651"/>
                  </a:lnTo>
                  <a:lnTo>
                    <a:pt x="972562" y="1498651"/>
                  </a:lnTo>
                  <a:lnTo>
                    <a:pt x="961751" y="1498651"/>
                  </a:lnTo>
                  <a:lnTo>
                    <a:pt x="950939" y="1498651"/>
                  </a:lnTo>
                  <a:lnTo>
                    <a:pt x="940127" y="1498651"/>
                  </a:lnTo>
                  <a:lnTo>
                    <a:pt x="929316" y="1498651"/>
                  </a:lnTo>
                  <a:lnTo>
                    <a:pt x="918504" y="1498651"/>
                  </a:lnTo>
                  <a:lnTo>
                    <a:pt x="907693" y="1498651"/>
                  </a:lnTo>
                  <a:lnTo>
                    <a:pt x="896881" y="1498651"/>
                  </a:lnTo>
                  <a:lnTo>
                    <a:pt x="886069" y="1498651"/>
                  </a:lnTo>
                  <a:lnTo>
                    <a:pt x="875259" y="1498651"/>
                  </a:lnTo>
                  <a:lnTo>
                    <a:pt x="864447" y="1498651"/>
                  </a:lnTo>
                  <a:lnTo>
                    <a:pt x="853636" y="1498651"/>
                  </a:lnTo>
                  <a:lnTo>
                    <a:pt x="842824" y="1498651"/>
                  </a:lnTo>
                  <a:lnTo>
                    <a:pt x="832012" y="1498651"/>
                  </a:lnTo>
                  <a:lnTo>
                    <a:pt x="821201" y="1498651"/>
                  </a:lnTo>
                  <a:lnTo>
                    <a:pt x="810389" y="1498651"/>
                  </a:lnTo>
                  <a:lnTo>
                    <a:pt x="799577" y="1498653"/>
                  </a:lnTo>
                  <a:lnTo>
                    <a:pt x="788766" y="1498653"/>
                  </a:lnTo>
                  <a:lnTo>
                    <a:pt x="777954" y="1498653"/>
                  </a:lnTo>
                  <a:lnTo>
                    <a:pt x="767144" y="1498653"/>
                  </a:lnTo>
                  <a:lnTo>
                    <a:pt x="756332" y="1498653"/>
                  </a:lnTo>
                  <a:lnTo>
                    <a:pt x="745521" y="1498653"/>
                  </a:lnTo>
                  <a:lnTo>
                    <a:pt x="734709" y="1498653"/>
                  </a:lnTo>
                  <a:lnTo>
                    <a:pt x="723897" y="1498653"/>
                  </a:lnTo>
                  <a:lnTo>
                    <a:pt x="713086" y="1498653"/>
                  </a:lnTo>
                  <a:lnTo>
                    <a:pt x="702274" y="1498653"/>
                  </a:lnTo>
                  <a:lnTo>
                    <a:pt x="691462" y="1498653"/>
                  </a:lnTo>
                  <a:lnTo>
                    <a:pt x="680651" y="1498653"/>
                  </a:lnTo>
                  <a:lnTo>
                    <a:pt x="669841" y="1498653"/>
                  </a:lnTo>
                  <a:lnTo>
                    <a:pt x="659028" y="1498653"/>
                  </a:lnTo>
                  <a:lnTo>
                    <a:pt x="648217" y="1498653"/>
                  </a:lnTo>
                  <a:lnTo>
                    <a:pt x="637406" y="1498653"/>
                  </a:lnTo>
                  <a:lnTo>
                    <a:pt x="626594" y="1498653"/>
                  </a:lnTo>
                  <a:lnTo>
                    <a:pt x="615782" y="1498653"/>
                  </a:lnTo>
                  <a:lnTo>
                    <a:pt x="604971" y="1498653"/>
                  </a:lnTo>
                  <a:lnTo>
                    <a:pt x="594160" y="1498653"/>
                  </a:lnTo>
                  <a:lnTo>
                    <a:pt x="583347" y="1498653"/>
                  </a:lnTo>
                  <a:lnTo>
                    <a:pt x="572536" y="1498653"/>
                  </a:lnTo>
                  <a:lnTo>
                    <a:pt x="561725" y="1498653"/>
                  </a:lnTo>
                  <a:lnTo>
                    <a:pt x="550912" y="1498653"/>
                  </a:lnTo>
                  <a:lnTo>
                    <a:pt x="540102" y="1498654"/>
                  </a:lnTo>
                  <a:lnTo>
                    <a:pt x="529291" y="1498654"/>
                  </a:lnTo>
                  <a:lnTo>
                    <a:pt x="518478" y="1498654"/>
                  </a:lnTo>
                  <a:lnTo>
                    <a:pt x="507667" y="1498654"/>
                  </a:lnTo>
                  <a:lnTo>
                    <a:pt x="496856" y="1498654"/>
                  </a:lnTo>
                  <a:lnTo>
                    <a:pt x="486045" y="1498654"/>
                  </a:lnTo>
                  <a:lnTo>
                    <a:pt x="475232" y="1498654"/>
                  </a:lnTo>
                  <a:lnTo>
                    <a:pt x="464421" y="1498654"/>
                  </a:lnTo>
                  <a:lnTo>
                    <a:pt x="461825" y="1498654"/>
                  </a:lnTo>
                  <a:lnTo>
                    <a:pt x="460863" y="1497496"/>
                  </a:lnTo>
                  <a:lnTo>
                    <a:pt x="458391" y="1495983"/>
                  </a:lnTo>
                  <a:lnTo>
                    <a:pt x="457414" y="1495984"/>
                  </a:lnTo>
                  <a:lnTo>
                    <a:pt x="456411" y="1496433"/>
                  </a:lnTo>
                  <a:lnTo>
                    <a:pt x="455778" y="1497165"/>
                  </a:lnTo>
                  <a:lnTo>
                    <a:pt x="455221" y="1498654"/>
                  </a:lnTo>
                  <a:lnTo>
                    <a:pt x="454864" y="1499154"/>
                  </a:lnTo>
                  <a:lnTo>
                    <a:pt x="454509" y="1499073"/>
                  </a:lnTo>
                  <a:lnTo>
                    <a:pt x="454277" y="1498654"/>
                  </a:lnTo>
                  <a:lnTo>
                    <a:pt x="453486" y="1496582"/>
                  </a:lnTo>
                  <a:lnTo>
                    <a:pt x="453697" y="1495656"/>
                  </a:lnTo>
                  <a:lnTo>
                    <a:pt x="454509" y="1494550"/>
                  </a:lnTo>
                  <a:lnTo>
                    <a:pt x="454452" y="1494149"/>
                  </a:lnTo>
                  <a:lnTo>
                    <a:pt x="452661" y="1494463"/>
                  </a:lnTo>
                  <a:lnTo>
                    <a:pt x="451857" y="1494186"/>
                  </a:lnTo>
                  <a:lnTo>
                    <a:pt x="451490" y="1493589"/>
                  </a:lnTo>
                  <a:lnTo>
                    <a:pt x="451624" y="1491234"/>
                  </a:lnTo>
                  <a:lnTo>
                    <a:pt x="450651" y="1489889"/>
                  </a:lnTo>
                  <a:lnTo>
                    <a:pt x="451805" y="1489324"/>
                  </a:lnTo>
                  <a:lnTo>
                    <a:pt x="454763" y="1488871"/>
                  </a:lnTo>
                  <a:lnTo>
                    <a:pt x="457796" y="1488814"/>
                  </a:lnTo>
                  <a:lnTo>
                    <a:pt x="458675" y="1487832"/>
                  </a:lnTo>
                  <a:lnTo>
                    <a:pt x="459535" y="1485343"/>
                  </a:lnTo>
                  <a:lnTo>
                    <a:pt x="457370" y="1487630"/>
                  </a:lnTo>
                  <a:lnTo>
                    <a:pt x="456075" y="1487865"/>
                  </a:lnTo>
                  <a:lnTo>
                    <a:pt x="452050" y="1487011"/>
                  </a:lnTo>
                  <a:lnTo>
                    <a:pt x="449452" y="1487149"/>
                  </a:lnTo>
                  <a:lnTo>
                    <a:pt x="449102" y="1486640"/>
                  </a:lnTo>
                  <a:lnTo>
                    <a:pt x="449210" y="1486131"/>
                  </a:lnTo>
                  <a:lnTo>
                    <a:pt x="449774" y="1485621"/>
                  </a:lnTo>
                  <a:lnTo>
                    <a:pt x="450188" y="1483894"/>
                  </a:lnTo>
                  <a:lnTo>
                    <a:pt x="450814" y="1479040"/>
                  </a:lnTo>
                  <a:lnTo>
                    <a:pt x="451634" y="1477267"/>
                  </a:lnTo>
                  <a:lnTo>
                    <a:pt x="451915" y="1476303"/>
                  </a:lnTo>
                  <a:lnTo>
                    <a:pt x="451714" y="1476079"/>
                  </a:lnTo>
                  <a:lnTo>
                    <a:pt x="448228" y="1479461"/>
                  </a:lnTo>
                  <a:lnTo>
                    <a:pt x="447932" y="1480534"/>
                  </a:lnTo>
                  <a:lnTo>
                    <a:pt x="448293" y="1481459"/>
                  </a:lnTo>
                  <a:lnTo>
                    <a:pt x="447959" y="1483362"/>
                  </a:lnTo>
                  <a:lnTo>
                    <a:pt x="446352" y="1483931"/>
                  </a:lnTo>
                  <a:lnTo>
                    <a:pt x="445389" y="1483621"/>
                  </a:lnTo>
                  <a:lnTo>
                    <a:pt x="443583" y="1485228"/>
                  </a:lnTo>
                  <a:lnTo>
                    <a:pt x="443015" y="1485396"/>
                  </a:lnTo>
                  <a:lnTo>
                    <a:pt x="434690" y="1482583"/>
                  </a:lnTo>
                  <a:lnTo>
                    <a:pt x="433855" y="1482192"/>
                  </a:lnTo>
                  <a:lnTo>
                    <a:pt x="432422" y="1480876"/>
                  </a:lnTo>
                  <a:lnTo>
                    <a:pt x="430387" y="1478630"/>
                  </a:lnTo>
                  <a:lnTo>
                    <a:pt x="429748" y="1476691"/>
                  </a:lnTo>
                  <a:lnTo>
                    <a:pt x="430503" y="1475056"/>
                  </a:lnTo>
                  <a:lnTo>
                    <a:pt x="431299" y="1474236"/>
                  </a:lnTo>
                  <a:lnTo>
                    <a:pt x="432138" y="1474236"/>
                  </a:lnTo>
                  <a:lnTo>
                    <a:pt x="433071" y="1474852"/>
                  </a:lnTo>
                  <a:lnTo>
                    <a:pt x="434989" y="1477518"/>
                  </a:lnTo>
                  <a:lnTo>
                    <a:pt x="435748" y="1479168"/>
                  </a:lnTo>
                  <a:lnTo>
                    <a:pt x="437729" y="1478939"/>
                  </a:lnTo>
                  <a:lnTo>
                    <a:pt x="440932" y="1476829"/>
                  </a:lnTo>
                  <a:lnTo>
                    <a:pt x="441700" y="1476048"/>
                  </a:lnTo>
                  <a:lnTo>
                    <a:pt x="438508" y="1476850"/>
                  </a:lnTo>
                  <a:lnTo>
                    <a:pt x="437130" y="1476798"/>
                  </a:lnTo>
                  <a:lnTo>
                    <a:pt x="435728" y="1475920"/>
                  </a:lnTo>
                  <a:lnTo>
                    <a:pt x="434297" y="1474216"/>
                  </a:lnTo>
                  <a:lnTo>
                    <a:pt x="433551" y="1472279"/>
                  </a:lnTo>
                  <a:lnTo>
                    <a:pt x="433540" y="1466140"/>
                  </a:lnTo>
                  <a:lnTo>
                    <a:pt x="434029" y="1464952"/>
                  </a:lnTo>
                  <a:lnTo>
                    <a:pt x="435580" y="1464069"/>
                  </a:lnTo>
                  <a:lnTo>
                    <a:pt x="436573" y="1462603"/>
                  </a:lnTo>
                  <a:lnTo>
                    <a:pt x="436496" y="1461981"/>
                  </a:lnTo>
                  <a:lnTo>
                    <a:pt x="435538" y="1460738"/>
                  </a:lnTo>
                  <a:lnTo>
                    <a:pt x="434152" y="1459764"/>
                  </a:lnTo>
                  <a:lnTo>
                    <a:pt x="432797" y="1459277"/>
                  </a:lnTo>
                  <a:lnTo>
                    <a:pt x="432485" y="1459422"/>
                  </a:lnTo>
                  <a:lnTo>
                    <a:pt x="434586" y="1462119"/>
                  </a:lnTo>
                  <a:lnTo>
                    <a:pt x="434517" y="1463130"/>
                  </a:lnTo>
                  <a:lnTo>
                    <a:pt x="432192" y="1465756"/>
                  </a:lnTo>
                  <a:lnTo>
                    <a:pt x="431838" y="1466526"/>
                  </a:lnTo>
                  <a:lnTo>
                    <a:pt x="431820" y="1469089"/>
                  </a:lnTo>
                  <a:lnTo>
                    <a:pt x="431495" y="1469632"/>
                  </a:lnTo>
                  <a:lnTo>
                    <a:pt x="429621" y="1470357"/>
                  </a:lnTo>
                  <a:lnTo>
                    <a:pt x="427522" y="1472372"/>
                  </a:lnTo>
                  <a:lnTo>
                    <a:pt x="423981" y="1473049"/>
                  </a:lnTo>
                  <a:lnTo>
                    <a:pt x="420651" y="1472851"/>
                  </a:lnTo>
                  <a:lnTo>
                    <a:pt x="418858" y="1471858"/>
                  </a:lnTo>
                  <a:lnTo>
                    <a:pt x="413305" y="1466918"/>
                  </a:lnTo>
                  <a:lnTo>
                    <a:pt x="411274" y="1464851"/>
                  </a:lnTo>
                  <a:lnTo>
                    <a:pt x="411226" y="1463106"/>
                  </a:lnTo>
                  <a:lnTo>
                    <a:pt x="407424" y="1456962"/>
                  </a:lnTo>
                  <a:lnTo>
                    <a:pt x="407446" y="1455639"/>
                  </a:lnTo>
                  <a:lnTo>
                    <a:pt x="406122" y="1453721"/>
                  </a:lnTo>
                  <a:lnTo>
                    <a:pt x="404650" y="1453451"/>
                  </a:lnTo>
                  <a:lnTo>
                    <a:pt x="404319" y="1451625"/>
                  </a:lnTo>
                  <a:lnTo>
                    <a:pt x="407359" y="1447672"/>
                  </a:lnTo>
                  <a:lnTo>
                    <a:pt x="409238" y="1444342"/>
                  </a:lnTo>
                  <a:lnTo>
                    <a:pt x="409452" y="1443297"/>
                  </a:lnTo>
                  <a:lnTo>
                    <a:pt x="409369" y="1441672"/>
                  </a:lnTo>
                  <a:lnTo>
                    <a:pt x="408914" y="1438055"/>
                  </a:lnTo>
                  <a:lnTo>
                    <a:pt x="409310" y="1436491"/>
                  </a:lnTo>
                  <a:lnTo>
                    <a:pt x="407439" y="1438557"/>
                  </a:lnTo>
                  <a:lnTo>
                    <a:pt x="407043" y="1440090"/>
                  </a:lnTo>
                  <a:lnTo>
                    <a:pt x="407505" y="1441636"/>
                  </a:lnTo>
                  <a:lnTo>
                    <a:pt x="407213" y="1443396"/>
                  </a:lnTo>
                  <a:lnTo>
                    <a:pt x="406126" y="1445855"/>
                  </a:lnTo>
                  <a:lnTo>
                    <a:pt x="404265" y="1448456"/>
                  </a:lnTo>
                  <a:lnTo>
                    <a:pt x="400435" y="1449707"/>
                  </a:lnTo>
                  <a:lnTo>
                    <a:pt x="393679" y="1449012"/>
                  </a:lnTo>
                  <a:lnTo>
                    <a:pt x="392895" y="1448676"/>
                  </a:lnTo>
                  <a:lnTo>
                    <a:pt x="392420" y="1447781"/>
                  </a:lnTo>
                  <a:lnTo>
                    <a:pt x="392080" y="1443951"/>
                  </a:lnTo>
                  <a:lnTo>
                    <a:pt x="391668" y="1444424"/>
                  </a:lnTo>
                  <a:lnTo>
                    <a:pt x="390901" y="1446465"/>
                  </a:lnTo>
                  <a:lnTo>
                    <a:pt x="390284" y="1449382"/>
                  </a:lnTo>
                  <a:lnTo>
                    <a:pt x="389494" y="1450043"/>
                  </a:lnTo>
                  <a:lnTo>
                    <a:pt x="388069" y="1450098"/>
                  </a:lnTo>
                  <a:lnTo>
                    <a:pt x="386961" y="1449631"/>
                  </a:lnTo>
                  <a:lnTo>
                    <a:pt x="386170" y="1448645"/>
                  </a:lnTo>
                  <a:lnTo>
                    <a:pt x="384467" y="1448563"/>
                  </a:lnTo>
                  <a:lnTo>
                    <a:pt x="381286" y="1449339"/>
                  </a:lnTo>
                  <a:lnTo>
                    <a:pt x="379788" y="1449027"/>
                  </a:lnTo>
                  <a:lnTo>
                    <a:pt x="378008" y="1448997"/>
                  </a:lnTo>
                  <a:lnTo>
                    <a:pt x="374401" y="1448143"/>
                  </a:lnTo>
                  <a:lnTo>
                    <a:pt x="370143" y="1447922"/>
                  </a:lnTo>
                  <a:lnTo>
                    <a:pt x="368991" y="1447262"/>
                  </a:lnTo>
                  <a:lnTo>
                    <a:pt x="369054" y="1445995"/>
                  </a:lnTo>
                  <a:lnTo>
                    <a:pt x="369849" y="1445354"/>
                  </a:lnTo>
                  <a:lnTo>
                    <a:pt x="374342" y="1444792"/>
                  </a:lnTo>
                  <a:lnTo>
                    <a:pt x="378695" y="1443442"/>
                  </a:lnTo>
                  <a:lnTo>
                    <a:pt x="382996" y="1442773"/>
                  </a:lnTo>
                  <a:lnTo>
                    <a:pt x="382832" y="1442086"/>
                  </a:lnTo>
                  <a:lnTo>
                    <a:pt x="380889" y="1441871"/>
                  </a:lnTo>
                  <a:lnTo>
                    <a:pt x="371010" y="1443360"/>
                  </a:lnTo>
                  <a:lnTo>
                    <a:pt x="367899" y="1443181"/>
                  </a:lnTo>
                  <a:lnTo>
                    <a:pt x="367357" y="1442939"/>
                  </a:lnTo>
                  <a:lnTo>
                    <a:pt x="367282" y="1441434"/>
                  </a:lnTo>
                  <a:lnTo>
                    <a:pt x="368427" y="1440004"/>
                  </a:lnTo>
                  <a:lnTo>
                    <a:pt x="370330" y="1438674"/>
                  </a:lnTo>
                  <a:lnTo>
                    <a:pt x="370901" y="1437663"/>
                  </a:lnTo>
                  <a:lnTo>
                    <a:pt x="369796" y="1437233"/>
                  </a:lnTo>
                  <a:lnTo>
                    <a:pt x="368021" y="1437513"/>
                  </a:lnTo>
                  <a:lnTo>
                    <a:pt x="367170" y="1436703"/>
                  </a:lnTo>
                  <a:lnTo>
                    <a:pt x="368112" y="1433543"/>
                  </a:lnTo>
                  <a:lnTo>
                    <a:pt x="367282" y="1430316"/>
                  </a:lnTo>
                  <a:lnTo>
                    <a:pt x="366127" y="1433376"/>
                  </a:lnTo>
                  <a:lnTo>
                    <a:pt x="364380" y="1435061"/>
                  </a:lnTo>
                  <a:lnTo>
                    <a:pt x="356047" y="1435779"/>
                  </a:lnTo>
                  <a:lnTo>
                    <a:pt x="354687" y="1436678"/>
                  </a:lnTo>
                  <a:lnTo>
                    <a:pt x="353584" y="1436654"/>
                  </a:lnTo>
                  <a:lnTo>
                    <a:pt x="348262" y="1435030"/>
                  </a:lnTo>
                  <a:lnTo>
                    <a:pt x="345992" y="1434043"/>
                  </a:lnTo>
                  <a:lnTo>
                    <a:pt x="343856" y="1432575"/>
                  </a:lnTo>
                  <a:lnTo>
                    <a:pt x="340062" y="1429286"/>
                  </a:lnTo>
                  <a:lnTo>
                    <a:pt x="337088" y="1427152"/>
                  </a:lnTo>
                  <a:lnTo>
                    <a:pt x="336931" y="1423206"/>
                  </a:lnTo>
                  <a:lnTo>
                    <a:pt x="337569" y="1420691"/>
                  </a:lnTo>
                  <a:lnTo>
                    <a:pt x="339000" y="1417870"/>
                  </a:lnTo>
                  <a:lnTo>
                    <a:pt x="344402" y="1411777"/>
                  </a:lnTo>
                  <a:lnTo>
                    <a:pt x="346255" y="1410619"/>
                  </a:lnTo>
                  <a:lnTo>
                    <a:pt x="347927" y="1410223"/>
                  </a:lnTo>
                  <a:lnTo>
                    <a:pt x="355852" y="1409689"/>
                  </a:lnTo>
                  <a:lnTo>
                    <a:pt x="361753" y="1408921"/>
                  </a:lnTo>
                  <a:lnTo>
                    <a:pt x="362868" y="1408558"/>
                  </a:lnTo>
                  <a:lnTo>
                    <a:pt x="354179" y="1408108"/>
                  </a:lnTo>
                  <a:lnTo>
                    <a:pt x="346455" y="1408424"/>
                  </a:lnTo>
                  <a:lnTo>
                    <a:pt x="343817" y="1409384"/>
                  </a:lnTo>
                  <a:lnTo>
                    <a:pt x="340445" y="1413300"/>
                  </a:lnTo>
                  <a:lnTo>
                    <a:pt x="339587" y="1414947"/>
                  </a:lnTo>
                  <a:lnTo>
                    <a:pt x="338692" y="1416147"/>
                  </a:lnTo>
                  <a:lnTo>
                    <a:pt x="338087" y="1416177"/>
                  </a:lnTo>
                  <a:lnTo>
                    <a:pt x="336938" y="1415751"/>
                  </a:lnTo>
                  <a:lnTo>
                    <a:pt x="336566" y="1415235"/>
                  </a:lnTo>
                  <a:lnTo>
                    <a:pt x="336089" y="1413953"/>
                  </a:lnTo>
                  <a:lnTo>
                    <a:pt x="334278" y="1411918"/>
                  </a:lnTo>
                  <a:lnTo>
                    <a:pt x="333477" y="1409578"/>
                  </a:lnTo>
                  <a:lnTo>
                    <a:pt x="333005" y="1406129"/>
                  </a:lnTo>
                  <a:lnTo>
                    <a:pt x="333155" y="1404589"/>
                  </a:lnTo>
                  <a:lnTo>
                    <a:pt x="333998" y="1402619"/>
                  </a:lnTo>
                  <a:lnTo>
                    <a:pt x="336593" y="1398749"/>
                  </a:lnTo>
                  <a:lnTo>
                    <a:pt x="333267" y="1398849"/>
                  </a:lnTo>
                  <a:lnTo>
                    <a:pt x="333661" y="1395585"/>
                  </a:lnTo>
                  <a:lnTo>
                    <a:pt x="334876" y="1392035"/>
                  </a:lnTo>
                  <a:lnTo>
                    <a:pt x="337970" y="1389929"/>
                  </a:lnTo>
                  <a:lnTo>
                    <a:pt x="341105" y="1388409"/>
                  </a:lnTo>
                  <a:lnTo>
                    <a:pt x="343939" y="1386416"/>
                  </a:lnTo>
                  <a:lnTo>
                    <a:pt x="348902" y="1385089"/>
                  </a:lnTo>
                  <a:lnTo>
                    <a:pt x="350587" y="1387823"/>
                  </a:lnTo>
                  <a:lnTo>
                    <a:pt x="354842" y="1388645"/>
                  </a:lnTo>
                  <a:lnTo>
                    <a:pt x="356071" y="1389874"/>
                  </a:lnTo>
                  <a:lnTo>
                    <a:pt x="357579" y="1392125"/>
                  </a:lnTo>
                  <a:lnTo>
                    <a:pt x="359448" y="1394272"/>
                  </a:lnTo>
                  <a:lnTo>
                    <a:pt x="361673" y="1396317"/>
                  </a:lnTo>
                  <a:lnTo>
                    <a:pt x="362297" y="1396460"/>
                  </a:lnTo>
                  <a:lnTo>
                    <a:pt x="361316" y="1394707"/>
                  </a:lnTo>
                  <a:lnTo>
                    <a:pt x="357700" y="1390863"/>
                  </a:lnTo>
                  <a:lnTo>
                    <a:pt x="357543" y="1389507"/>
                  </a:lnTo>
                  <a:lnTo>
                    <a:pt x="356611" y="1388035"/>
                  </a:lnTo>
                  <a:lnTo>
                    <a:pt x="351822" y="1385913"/>
                  </a:lnTo>
                  <a:lnTo>
                    <a:pt x="350972" y="1385097"/>
                  </a:lnTo>
                  <a:lnTo>
                    <a:pt x="350124" y="1382956"/>
                  </a:lnTo>
                  <a:lnTo>
                    <a:pt x="349763" y="1381572"/>
                  </a:lnTo>
                  <a:lnTo>
                    <a:pt x="350300" y="1380226"/>
                  </a:lnTo>
                  <a:lnTo>
                    <a:pt x="355165" y="1376120"/>
                  </a:lnTo>
                  <a:lnTo>
                    <a:pt x="356277" y="1373953"/>
                  </a:lnTo>
                  <a:lnTo>
                    <a:pt x="356276" y="1372934"/>
                  </a:lnTo>
                  <a:lnTo>
                    <a:pt x="355896" y="1371781"/>
                  </a:lnTo>
                  <a:lnTo>
                    <a:pt x="354834" y="1369798"/>
                  </a:lnTo>
                  <a:lnTo>
                    <a:pt x="354553" y="1369801"/>
                  </a:lnTo>
                  <a:lnTo>
                    <a:pt x="354881" y="1372811"/>
                  </a:lnTo>
                  <a:lnTo>
                    <a:pt x="354708" y="1373997"/>
                  </a:lnTo>
                  <a:lnTo>
                    <a:pt x="354159" y="1375304"/>
                  </a:lnTo>
                  <a:lnTo>
                    <a:pt x="353365" y="1376297"/>
                  </a:lnTo>
                  <a:lnTo>
                    <a:pt x="352328" y="1376977"/>
                  </a:lnTo>
                  <a:lnTo>
                    <a:pt x="341878" y="1386309"/>
                  </a:lnTo>
                  <a:lnTo>
                    <a:pt x="340837" y="1386856"/>
                  </a:lnTo>
                  <a:lnTo>
                    <a:pt x="336955" y="1387698"/>
                  </a:lnTo>
                  <a:lnTo>
                    <a:pt x="334963" y="1388690"/>
                  </a:lnTo>
                  <a:lnTo>
                    <a:pt x="333888" y="1389996"/>
                  </a:lnTo>
                  <a:lnTo>
                    <a:pt x="332166" y="1393398"/>
                  </a:lnTo>
                  <a:lnTo>
                    <a:pt x="329803" y="1400196"/>
                  </a:lnTo>
                  <a:lnTo>
                    <a:pt x="327095" y="1405684"/>
                  </a:lnTo>
                  <a:lnTo>
                    <a:pt x="324779" y="1398577"/>
                  </a:lnTo>
                  <a:lnTo>
                    <a:pt x="320619" y="1393127"/>
                  </a:lnTo>
                  <a:lnTo>
                    <a:pt x="328735" y="1387709"/>
                  </a:lnTo>
                  <a:lnTo>
                    <a:pt x="328948" y="1386881"/>
                  </a:lnTo>
                  <a:lnTo>
                    <a:pt x="328159" y="1383984"/>
                  </a:lnTo>
                  <a:lnTo>
                    <a:pt x="328380" y="1383104"/>
                  </a:lnTo>
                  <a:lnTo>
                    <a:pt x="329147" y="1381830"/>
                  </a:lnTo>
                  <a:lnTo>
                    <a:pt x="331202" y="1379970"/>
                  </a:lnTo>
                  <a:lnTo>
                    <a:pt x="331123" y="1379781"/>
                  </a:lnTo>
                  <a:lnTo>
                    <a:pt x="328717" y="1380450"/>
                  </a:lnTo>
                  <a:lnTo>
                    <a:pt x="325021" y="1384652"/>
                  </a:lnTo>
                  <a:lnTo>
                    <a:pt x="323578" y="1386003"/>
                  </a:lnTo>
                  <a:lnTo>
                    <a:pt x="322802" y="1386183"/>
                  </a:lnTo>
                  <a:lnTo>
                    <a:pt x="322711" y="1383712"/>
                  </a:lnTo>
                  <a:lnTo>
                    <a:pt x="324698" y="1377302"/>
                  </a:lnTo>
                  <a:lnTo>
                    <a:pt x="326331" y="1371058"/>
                  </a:lnTo>
                  <a:lnTo>
                    <a:pt x="326928" y="1369268"/>
                  </a:lnTo>
                  <a:lnTo>
                    <a:pt x="328336" y="1367463"/>
                  </a:lnTo>
                  <a:lnTo>
                    <a:pt x="327000" y="1367594"/>
                  </a:lnTo>
                  <a:lnTo>
                    <a:pt x="320431" y="1370373"/>
                  </a:lnTo>
                  <a:lnTo>
                    <a:pt x="318227" y="1368631"/>
                  </a:lnTo>
                  <a:lnTo>
                    <a:pt x="316382" y="1359563"/>
                  </a:lnTo>
                  <a:lnTo>
                    <a:pt x="313146" y="1356012"/>
                  </a:lnTo>
                  <a:lnTo>
                    <a:pt x="307663" y="1353107"/>
                  </a:lnTo>
                  <a:lnTo>
                    <a:pt x="302280" y="1351757"/>
                  </a:lnTo>
                  <a:lnTo>
                    <a:pt x="301046" y="1349168"/>
                  </a:lnTo>
                  <a:lnTo>
                    <a:pt x="299980" y="1346014"/>
                  </a:lnTo>
                  <a:lnTo>
                    <a:pt x="301429" y="1342294"/>
                  </a:lnTo>
                  <a:lnTo>
                    <a:pt x="303787" y="1340527"/>
                  </a:lnTo>
                  <a:lnTo>
                    <a:pt x="305964" y="1339727"/>
                  </a:lnTo>
                  <a:lnTo>
                    <a:pt x="308018" y="1340096"/>
                  </a:lnTo>
                  <a:lnTo>
                    <a:pt x="308123" y="1341460"/>
                  </a:lnTo>
                  <a:lnTo>
                    <a:pt x="306724" y="1345124"/>
                  </a:lnTo>
                  <a:lnTo>
                    <a:pt x="308564" y="1345467"/>
                  </a:lnTo>
                  <a:lnTo>
                    <a:pt x="315940" y="1349915"/>
                  </a:lnTo>
                  <a:lnTo>
                    <a:pt x="317552" y="1350272"/>
                  </a:lnTo>
                  <a:lnTo>
                    <a:pt x="320608" y="1348563"/>
                  </a:lnTo>
                  <a:lnTo>
                    <a:pt x="322307" y="1348630"/>
                  </a:lnTo>
                  <a:lnTo>
                    <a:pt x="326322" y="1350014"/>
                  </a:lnTo>
                  <a:lnTo>
                    <a:pt x="327679" y="1351683"/>
                  </a:lnTo>
                  <a:lnTo>
                    <a:pt x="331517" y="1354949"/>
                  </a:lnTo>
                  <a:lnTo>
                    <a:pt x="330953" y="1353049"/>
                  </a:lnTo>
                  <a:lnTo>
                    <a:pt x="326768" y="1349042"/>
                  </a:lnTo>
                  <a:lnTo>
                    <a:pt x="324433" y="1347755"/>
                  </a:lnTo>
                  <a:lnTo>
                    <a:pt x="320327" y="1347507"/>
                  </a:lnTo>
                  <a:lnTo>
                    <a:pt x="317779" y="1348180"/>
                  </a:lnTo>
                  <a:lnTo>
                    <a:pt x="316711" y="1347985"/>
                  </a:lnTo>
                  <a:lnTo>
                    <a:pt x="314465" y="1346964"/>
                  </a:lnTo>
                  <a:lnTo>
                    <a:pt x="312558" y="1345288"/>
                  </a:lnTo>
                  <a:lnTo>
                    <a:pt x="310651" y="1341610"/>
                  </a:lnTo>
                  <a:lnTo>
                    <a:pt x="310217" y="1339900"/>
                  </a:lnTo>
                  <a:lnTo>
                    <a:pt x="310324" y="1338630"/>
                  </a:lnTo>
                  <a:lnTo>
                    <a:pt x="310773" y="1337475"/>
                  </a:lnTo>
                  <a:lnTo>
                    <a:pt x="311563" y="1336440"/>
                  </a:lnTo>
                  <a:lnTo>
                    <a:pt x="313132" y="1335688"/>
                  </a:lnTo>
                  <a:lnTo>
                    <a:pt x="315476" y="1335223"/>
                  </a:lnTo>
                  <a:lnTo>
                    <a:pt x="316194" y="1334770"/>
                  </a:lnTo>
                  <a:lnTo>
                    <a:pt x="313184" y="1332661"/>
                  </a:lnTo>
                  <a:lnTo>
                    <a:pt x="311816" y="1332669"/>
                  </a:lnTo>
                  <a:lnTo>
                    <a:pt x="307115" y="1335754"/>
                  </a:lnTo>
                  <a:lnTo>
                    <a:pt x="306161" y="1335996"/>
                  </a:lnTo>
                  <a:lnTo>
                    <a:pt x="305751" y="1335397"/>
                  </a:lnTo>
                  <a:lnTo>
                    <a:pt x="305361" y="1335348"/>
                  </a:lnTo>
                  <a:lnTo>
                    <a:pt x="303977" y="1336875"/>
                  </a:lnTo>
                  <a:lnTo>
                    <a:pt x="302901" y="1337558"/>
                  </a:lnTo>
                  <a:lnTo>
                    <a:pt x="299054" y="1342276"/>
                  </a:lnTo>
                  <a:lnTo>
                    <a:pt x="298454" y="1344532"/>
                  </a:lnTo>
                  <a:lnTo>
                    <a:pt x="298237" y="1347899"/>
                  </a:lnTo>
                  <a:lnTo>
                    <a:pt x="297792" y="1350008"/>
                  </a:lnTo>
                  <a:lnTo>
                    <a:pt x="297123" y="1350864"/>
                  </a:lnTo>
                  <a:lnTo>
                    <a:pt x="292606" y="1352471"/>
                  </a:lnTo>
                  <a:lnTo>
                    <a:pt x="290037" y="1355750"/>
                  </a:lnTo>
                  <a:lnTo>
                    <a:pt x="286918" y="1352920"/>
                  </a:lnTo>
                  <a:lnTo>
                    <a:pt x="283493" y="1350189"/>
                  </a:lnTo>
                  <a:lnTo>
                    <a:pt x="281210" y="1345399"/>
                  </a:lnTo>
                  <a:lnTo>
                    <a:pt x="277088" y="1344560"/>
                  </a:lnTo>
                  <a:lnTo>
                    <a:pt x="272299" y="1341842"/>
                  </a:lnTo>
                  <a:lnTo>
                    <a:pt x="270474" y="1339425"/>
                  </a:lnTo>
                  <a:lnTo>
                    <a:pt x="273069" y="1334447"/>
                  </a:lnTo>
                  <a:lnTo>
                    <a:pt x="276795" y="1330682"/>
                  </a:lnTo>
                  <a:lnTo>
                    <a:pt x="277364" y="1326162"/>
                  </a:lnTo>
                  <a:lnTo>
                    <a:pt x="277876" y="1325190"/>
                  </a:lnTo>
                  <a:lnTo>
                    <a:pt x="284279" y="1324066"/>
                  </a:lnTo>
                  <a:lnTo>
                    <a:pt x="288457" y="1321818"/>
                  </a:lnTo>
                  <a:lnTo>
                    <a:pt x="284173" y="1321613"/>
                  </a:lnTo>
                  <a:lnTo>
                    <a:pt x="281549" y="1321953"/>
                  </a:lnTo>
                  <a:lnTo>
                    <a:pt x="276838" y="1323522"/>
                  </a:lnTo>
                  <a:lnTo>
                    <a:pt x="271613" y="1320418"/>
                  </a:lnTo>
                  <a:lnTo>
                    <a:pt x="268913" y="1317578"/>
                  </a:lnTo>
                  <a:lnTo>
                    <a:pt x="268065" y="1315154"/>
                  </a:lnTo>
                  <a:lnTo>
                    <a:pt x="268997" y="1313103"/>
                  </a:lnTo>
                  <a:lnTo>
                    <a:pt x="269120" y="1311011"/>
                  </a:lnTo>
                  <a:lnTo>
                    <a:pt x="269592" y="1308184"/>
                  </a:lnTo>
                  <a:lnTo>
                    <a:pt x="270087" y="1306946"/>
                  </a:lnTo>
                  <a:lnTo>
                    <a:pt x="271184" y="1305367"/>
                  </a:lnTo>
                  <a:lnTo>
                    <a:pt x="273422" y="1304314"/>
                  </a:lnTo>
                  <a:lnTo>
                    <a:pt x="275403" y="1301064"/>
                  </a:lnTo>
                  <a:lnTo>
                    <a:pt x="276219" y="1298795"/>
                  </a:lnTo>
                  <a:lnTo>
                    <a:pt x="280280" y="1291965"/>
                  </a:lnTo>
                  <a:lnTo>
                    <a:pt x="281760" y="1289014"/>
                  </a:lnTo>
                  <a:lnTo>
                    <a:pt x="284533" y="1284919"/>
                  </a:lnTo>
                  <a:lnTo>
                    <a:pt x="290115" y="1278468"/>
                  </a:lnTo>
                  <a:lnTo>
                    <a:pt x="288353" y="1278834"/>
                  </a:lnTo>
                  <a:lnTo>
                    <a:pt x="287427" y="1279386"/>
                  </a:lnTo>
                  <a:lnTo>
                    <a:pt x="286548" y="1279318"/>
                  </a:lnTo>
                  <a:lnTo>
                    <a:pt x="285715" y="1278629"/>
                  </a:lnTo>
                  <a:lnTo>
                    <a:pt x="284922" y="1277202"/>
                  </a:lnTo>
                  <a:lnTo>
                    <a:pt x="284168" y="1275025"/>
                  </a:lnTo>
                  <a:lnTo>
                    <a:pt x="283743" y="1275981"/>
                  </a:lnTo>
                  <a:lnTo>
                    <a:pt x="283650" y="1280063"/>
                  </a:lnTo>
                  <a:lnTo>
                    <a:pt x="283088" y="1283552"/>
                  </a:lnTo>
                  <a:lnTo>
                    <a:pt x="282089" y="1285975"/>
                  </a:lnTo>
                  <a:lnTo>
                    <a:pt x="279350" y="1290892"/>
                  </a:lnTo>
                  <a:lnTo>
                    <a:pt x="277744" y="1292805"/>
                  </a:lnTo>
                  <a:lnTo>
                    <a:pt x="276647" y="1291023"/>
                  </a:lnTo>
                  <a:lnTo>
                    <a:pt x="277493" y="1287949"/>
                  </a:lnTo>
                  <a:lnTo>
                    <a:pt x="279079" y="1285500"/>
                  </a:lnTo>
                  <a:lnTo>
                    <a:pt x="279351" y="1282145"/>
                  </a:lnTo>
                  <a:lnTo>
                    <a:pt x="277858" y="1278136"/>
                  </a:lnTo>
                  <a:lnTo>
                    <a:pt x="276946" y="1274907"/>
                  </a:lnTo>
                  <a:lnTo>
                    <a:pt x="276617" y="1272456"/>
                  </a:lnTo>
                  <a:lnTo>
                    <a:pt x="276574" y="1270218"/>
                  </a:lnTo>
                  <a:lnTo>
                    <a:pt x="276815" y="1268191"/>
                  </a:lnTo>
                  <a:lnTo>
                    <a:pt x="277444" y="1265982"/>
                  </a:lnTo>
                  <a:lnTo>
                    <a:pt x="278459" y="1263591"/>
                  </a:lnTo>
                  <a:lnTo>
                    <a:pt x="278338" y="1263325"/>
                  </a:lnTo>
                  <a:lnTo>
                    <a:pt x="278617" y="1261100"/>
                  </a:lnTo>
                  <a:lnTo>
                    <a:pt x="278393" y="1258815"/>
                  </a:lnTo>
                  <a:lnTo>
                    <a:pt x="277555" y="1257002"/>
                  </a:lnTo>
                  <a:lnTo>
                    <a:pt x="276493" y="1255426"/>
                  </a:lnTo>
                  <a:lnTo>
                    <a:pt x="273530" y="1256372"/>
                  </a:lnTo>
                  <a:lnTo>
                    <a:pt x="268498" y="1254951"/>
                  </a:lnTo>
                  <a:lnTo>
                    <a:pt x="266877" y="1251081"/>
                  </a:lnTo>
                  <a:lnTo>
                    <a:pt x="262516" y="1249894"/>
                  </a:lnTo>
                  <a:lnTo>
                    <a:pt x="260167" y="1247126"/>
                  </a:lnTo>
                  <a:lnTo>
                    <a:pt x="255388" y="1245769"/>
                  </a:lnTo>
                  <a:lnTo>
                    <a:pt x="251515" y="1244826"/>
                  </a:lnTo>
                  <a:lnTo>
                    <a:pt x="248561" y="1243231"/>
                  </a:lnTo>
                  <a:lnTo>
                    <a:pt x="245104" y="1241359"/>
                  </a:lnTo>
                  <a:lnTo>
                    <a:pt x="241653" y="1239362"/>
                  </a:lnTo>
                  <a:lnTo>
                    <a:pt x="239036" y="1237845"/>
                  </a:lnTo>
                  <a:lnTo>
                    <a:pt x="237098" y="1237943"/>
                  </a:lnTo>
                  <a:lnTo>
                    <a:pt x="232717" y="1238163"/>
                  </a:lnTo>
                  <a:lnTo>
                    <a:pt x="232494" y="1234744"/>
                  </a:lnTo>
                  <a:lnTo>
                    <a:pt x="231153" y="1232675"/>
                  </a:lnTo>
                  <a:lnTo>
                    <a:pt x="231655" y="1230845"/>
                  </a:lnTo>
                  <a:lnTo>
                    <a:pt x="229213" y="1229909"/>
                  </a:lnTo>
                  <a:lnTo>
                    <a:pt x="225617" y="1228532"/>
                  </a:lnTo>
                  <a:lnTo>
                    <a:pt x="226667" y="1225037"/>
                  </a:lnTo>
                  <a:lnTo>
                    <a:pt x="227462" y="1222385"/>
                  </a:lnTo>
                  <a:lnTo>
                    <a:pt x="224280" y="1221600"/>
                  </a:lnTo>
                  <a:lnTo>
                    <a:pt x="219692" y="1220467"/>
                  </a:lnTo>
                  <a:lnTo>
                    <a:pt x="221178" y="1218074"/>
                  </a:lnTo>
                  <a:lnTo>
                    <a:pt x="222375" y="1216142"/>
                  </a:lnTo>
                  <a:lnTo>
                    <a:pt x="220613" y="1213314"/>
                  </a:lnTo>
                  <a:lnTo>
                    <a:pt x="217042" y="1208564"/>
                  </a:lnTo>
                  <a:lnTo>
                    <a:pt x="214303" y="1205165"/>
                  </a:lnTo>
                  <a:lnTo>
                    <a:pt x="210728" y="1199860"/>
                  </a:lnTo>
                  <a:lnTo>
                    <a:pt x="207583" y="1195188"/>
                  </a:lnTo>
                  <a:lnTo>
                    <a:pt x="205014" y="1191362"/>
                  </a:lnTo>
                  <a:lnTo>
                    <a:pt x="202869" y="1188720"/>
                  </a:lnTo>
                  <a:lnTo>
                    <a:pt x="199852" y="1183984"/>
                  </a:lnTo>
                  <a:lnTo>
                    <a:pt x="195925" y="1178637"/>
                  </a:lnTo>
                  <a:lnTo>
                    <a:pt x="192190" y="1174421"/>
                  </a:lnTo>
                  <a:lnTo>
                    <a:pt x="192735" y="1171692"/>
                  </a:lnTo>
                  <a:lnTo>
                    <a:pt x="189051" y="1168264"/>
                  </a:lnTo>
                  <a:lnTo>
                    <a:pt x="185816" y="1164791"/>
                  </a:lnTo>
                  <a:lnTo>
                    <a:pt x="182094" y="1160786"/>
                  </a:lnTo>
                  <a:lnTo>
                    <a:pt x="178418" y="1158823"/>
                  </a:lnTo>
                  <a:lnTo>
                    <a:pt x="175794" y="1157422"/>
                  </a:lnTo>
                  <a:lnTo>
                    <a:pt x="172009" y="1155398"/>
                  </a:lnTo>
                  <a:lnTo>
                    <a:pt x="170019" y="1153588"/>
                  </a:lnTo>
                  <a:lnTo>
                    <a:pt x="169190" y="1152052"/>
                  </a:lnTo>
                  <a:lnTo>
                    <a:pt x="168331" y="1150968"/>
                  </a:lnTo>
                  <a:lnTo>
                    <a:pt x="167583" y="1149460"/>
                  </a:lnTo>
                  <a:lnTo>
                    <a:pt x="167148" y="1147702"/>
                  </a:lnTo>
                  <a:lnTo>
                    <a:pt x="166373" y="1146615"/>
                  </a:lnTo>
                  <a:lnTo>
                    <a:pt x="161778" y="1143999"/>
                  </a:lnTo>
                  <a:lnTo>
                    <a:pt x="160377" y="1142355"/>
                  </a:lnTo>
                  <a:lnTo>
                    <a:pt x="157202" y="1140455"/>
                  </a:lnTo>
                  <a:lnTo>
                    <a:pt x="154544" y="1139661"/>
                  </a:lnTo>
                  <a:lnTo>
                    <a:pt x="153619" y="1139020"/>
                  </a:lnTo>
                  <a:lnTo>
                    <a:pt x="150385" y="1133273"/>
                  </a:lnTo>
                  <a:lnTo>
                    <a:pt x="150903" y="1131220"/>
                  </a:lnTo>
                  <a:lnTo>
                    <a:pt x="151262" y="1129166"/>
                  </a:lnTo>
                  <a:lnTo>
                    <a:pt x="150899" y="1128112"/>
                  </a:lnTo>
                  <a:lnTo>
                    <a:pt x="145579" y="1123728"/>
                  </a:lnTo>
                  <a:lnTo>
                    <a:pt x="142865" y="1121906"/>
                  </a:lnTo>
                  <a:lnTo>
                    <a:pt x="140124" y="1120019"/>
                  </a:lnTo>
                  <a:lnTo>
                    <a:pt x="134377" y="1122455"/>
                  </a:lnTo>
                  <a:lnTo>
                    <a:pt x="128493" y="1124948"/>
                  </a:lnTo>
                  <a:lnTo>
                    <a:pt x="124372" y="1125863"/>
                  </a:lnTo>
                  <a:lnTo>
                    <a:pt x="118676" y="1127127"/>
                  </a:lnTo>
                  <a:lnTo>
                    <a:pt x="120570" y="1129834"/>
                  </a:lnTo>
                  <a:lnTo>
                    <a:pt x="119787" y="1131812"/>
                  </a:lnTo>
                  <a:lnTo>
                    <a:pt x="118016" y="1132724"/>
                  </a:lnTo>
                  <a:lnTo>
                    <a:pt x="115011" y="1132610"/>
                  </a:lnTo>
                  <a:lnTo>
                    <a:pt x="115001" y="1139333"/>
                  </a:lnTo>
                  <a:lnTo>
                    <a:pt x="112160" y="1144114"/>
                  </a:lnTo>
                  <a:lnTo>
                    <a:pt x="106215" y="1144197"/>
                  </a:lnTo>
                  <a:lnTo>
                    <a:pt x="103019" y="1145840"/>
                  </a:lnTo>
                  <a:lnTo>
                    <a:pt x="98279" y="1148273"/>
                  </a:lnTo>
                  <a:lnTo>
                    <a:pt x="94442" y="1150243"/>
                  </a:lnTo>
                  <a:lnTo>
                    <a:pt x="90359" y="1153415"/>
                  </a:lnTo>
                  <a:lnTo>
                    <a:pt x="88272" y="1152959"/>
                  </a:lnTo>
                  <a:lnTo>
                    <a:pt x="89203" y="1150131"/>
                  </a:lnTo>
                  <a:lnTo>
                    <a:pt x="87693" y="1145341"/>
                  </a:lnTo>
                  <a:lnTo>
                    <a:pt x="86435" y="1141344"/>
                  </a:lnTo>
                  <a:lnTo>
                    <a:pt x="83816" y="1139288"/>
                  </a:lnTo>
                  <a:lnTo>
                    <a:pt x="79406" y="1135821"/>
                  </a:lnTo>
                  <a:lnTo>
                    <a:pt x="76095" y="1133217"/>
                  </a:lnTo>
                  <a:lnTo>
                    <a:pt x="71371" y="1129495"/>
                  </a:lnTo>
                  <a:lnTo>
                    <a:pt x="68069" y="1126889"/>
                  </a:lnTo>
                  <a:lnTo>
                    <a:pt x="64621" y="1124166"/>
                  </a:lnTo>
                  <a:lnTo>
                    <a:pt x="60091" y="1120586"/>
                  </a:lnTo>
                  <a:lnTo>
                    <a:pt x="58235" y="1115935"/>
                  </a:lnTo>
                  <a:lnTo>
                    <a:pt x="54095" y="1114252"/>
                  </a:lnTo>
                  <a:lnTo>
                    <a:pt x="49665" y="1112453"/>
                  </a:lnTo>
                  <a:lnTo>
                    <a:pt x="46073" y="1109028"/>
                  </a:lnTo>
                  <a:lnTo>
                    <a:pt x="47294" y="1105644"/>
                  </a:lnTo>
                  <a:lnTo>
                    <a:pt x="48757" y="1101586"/>
                  </a:lnTo>
                  <a:lnTo>
                    <a:pt x="48757" y="1099139"/>
                  </a:lnTo>
                  <a:lnTo>
                    <a:pt x="44814" y="1099289"/>
                  </a:lnTo>
                  <a:lnTo>
                    <a:pt x="38901" y="1099519"/>
                  </a:lnTo>
                  <a:lnTo>
                    <a:pt x="33618" y="1099725"/>
                  </a:lnTo>
                  <a:lnTo>
                    <a:pt x="29704" y="1102596"/>
                  </a:lnTo>
                  <a:lnTo>
                    <a:pt x="26088" y="1105247"/>
                  </a:lnTo>
                  <a:lnTo>
                    <a:pt x="20417" y="1103181"/>
                  </a:lnTo>
                  <a:lnTo>
                    <a:pt x="13928" y="1100814"/>
                  </a:lnTo>
                  <a:lnTo>
                    <a:pt x="12087" y="1103909"/>
                  </a:lnTo>
                  <a:lnTo>
                    <a:pt x="6071" y="1102359"/>
                  </a:lnTo>
                  <a:lnTo>
                    <a:pt x="0" y="1100793"/>
                  </a:lnTo>
                  <a:lnTo>
                    <a:pt x="0" y="1089644"/>
                  </a:lnTo>
                  <a:lnTo>
                    <a:pt x="0" y="1078440"/>
                  </a:lnTo>
                  <a:lnTo>
                    <a:pt x="0" y="1067188"/>
                  </a:lnTo>
                  <a:lnTo>
                    <a:pt x="0" y="1055881"/>
                  </a:lnTo>
                  <a:lnTo>
                    <a:pt x="0" y="1044519"/>
                  </a:lnTo>
                  <a:lnTo>
                    <a:pt x="0" y="1033106"/>
                  </a:lnTo>
                  <a:lnTo>
                    <a:pt x="0" y="1021634"/>
                  </a:lnTo>
                  <a:lnTo>
                    <a:pt x="0" y="1010110"/>
                  </a:lnTo>
                  <a:lnTo>
                    <a:pt x="0" y="998529"/>
                  </a:lnTo>
                  <a:lnTo>
                    <a:pt x="0" y="986891"/>
                  </a:lnTo>
                  <a:lnTo>
                    <a:pt x="0" y="975196"/>
                  </a:lnTo>
                  <a:lnTo>
                    <a:pt x="0" y="963438"/>
                  </a:lnTo>
                  <a:lnTo>
                    <a:pt x="0" y="951625"/>
                  </a:lnTo>
                  <a:lnTo>
                    <a:pt x="0" y="939748"/>
                  </a:lnTo>
                  <a:lnTo>
                    <a:pt x="0" y="927813"/>
                  </a:lnTo>
                  <a:lnTo>
                    <a:pt x="0" y="915813"/>
                  </a:lnTo>
                  <a:lnTo>
                    <a:pt x="0" y="903753"/>
                  </a:lnTo>
                  <a:lnTo>
                    <a:pt x="0" y="891630"/>
                  </a:lnTo>
                  <a:lnTo>
                    <a:pt x="0" y="879439"/>
                  </a:lnTo>
                  <a:lnTo>
                    <a:pt x="0" y="867185"/>
                  </a:lnTo>
                  <a:lnTo>
                    <a:pt x="0" y="854866"/>
                  </a:lnTo>
                  <a:lnTo>
                    <a:pt x="0" y="842475"/>
                  </a:lnTo>
                  <a:lnTo>
                    <a:pt x="0" y="830020"/>
                  </a:lnTo>
                  <a:lnTo>
                    <a:pt x="0" y="817495"/>
                  </a:lnTo>
                  <a:lnTo>
                    <a:pt x="0" y="804899"/>
                  </a:lnTo>
                  <a:lnTo>
                    <a:pt x="0" y="792233"/>
                  </a:lnTo>
                  <a:lnTo>
                    <a:pt x="0" y="779495"/>
                  </a:lnTo>
                  <a:lnTo>
                    <a:pt x="0" y="766681"/>
                  </a:lnTo>
                  <a:lnTo>
                    <a:pt x="0" y="753795"/>
                  </a:lnTo>
                  <a:lnTo>
                    <a:pt x="0" y="740835"/>
                  </a:lnTo>
                  <a:lnTo>
                    <a:pt x="0" y="727794"/>
                  </a:lnTo>
                  <a:lnTo>
                    <a:pt x="0" y="714680"/>
                  </a:lnTo>
                  <a:lnTo>
                    <a:pt x="3604" y="715379"/>
                  </a:lnTo>
                  <a:lnTo>
                    <a:pt x="15138" y="716852"/>
                  </a:lnTo>
                  <a:lnTo>
                    <a:pt x="26004" y="715988"/>
                  </a:lnTo>
                  <a:lnTo>
                    <a:pt x="46163" y="720760"/>
                  </a:lnTo>
                  <a:lnTo>
                    <a:pt x="58630" y="729665"/>
                  </a:lnTo>
                  <a:lnTo>
                    <a:pt x="68745" y="734031"/>
                  </a:lnTo>
                  <a:lnTo>
                    <a:pt x="72868" y="737023"/>
                  </a:lnTo>
                  <a:lnTo>
                    <a:pt x="79434" y="739657"/>
                  </a:lnTo>
                  <a:lnTo>
                    <a:pt x="94889" y="745378"/>
                  </a:lnTo>
                  <a:lnTo>
                    <a:pt x="99694" y="745965"/>
                  </a:lnTo>
                  <a:lnTo>
                    <a:pt x="108647" y="748704"/>
                  </a:lnTo>
                  <a:lnTo>
                    <a:pt x="114191" y="748342"/>
                  </a:lnTo>
                  <a:lnTo>
                    <a:pt x="123733" y="749011"/>
                  </a:lnTo>
                  <a:lnTo>
                    <a:pt x="130217" y="751209"/>
                  </a:lnTo>
                  <a:lnTo>
                    <a:pt x="143009" y="757231"/>
                  </a:lnTo>
                  <a:lnTo>
                    <a:pt x="145630" y="757766"/>
                  </a:lnTo>
                  <a:lnTo>
                    <a:pt x="146330" y="757326"/>
                  </a:lnTo>
                  <a:lnTo>
                    <a:pt x="141874" y="751371"/>
                  </a:lnTo>
                  <a:lnTo>
                    <a:pt x="141174" y="750794"/>
                  </a:lnTo>
                  <a:lnTo>
                    <a:pt x="136016" y="748567"/>
                  </a:lnTo>
                  <a:lnTo>
                    <a:pt x="129972" y="747470"/>
                  </a:lnTo>
                  <a:lnTo>
                    <a:pt x="129506" y="747039"/>
                  </a:lnTo>
                  <a:lnTo>
                    <a:pt x="128382" y="744932"/>
                  </a:lnTo>
                  <a:lnTo>
                    <a:pt x="128744" y="744112"/>
                  </a:lnTo>
                  <a:lnTo>
                    <a:pt x="130061" y="743739"/>
                  </a:lnTo>
                  <a:lnTo>
                    <a:pt x="134564" y="743757"/>
                  </a:lnTo>
                  <a:lnTo>
                    <a:pt x="137232" y="743418"/>
                  </a:lnTo>
                  <a:lnTo>
                    <a:pt x="137599" y="742587"/>
                  </a:lnTo>
                  <a:lnTo>
                    <a:pt x="135678" y="742394"/>
                  </a:lnTo>
                  <a:lnTo>
                    <a:pt x="133362" y="741588"/>
                  </a:lnTo>
                  <a:lnTo>
                    <a:pt x="130647" y="740165"/>
                  </a:lnTo>
                  <a:lnTo>
                    <a:pt x="129112" y="738827"/>
                  </a:lnTo>
                  <a:lnTo>
                    <a:pt x="134660" y="729916"/>
                  </a:lnTo>
                  <a:lnTo>
                    <a:pt x="136599" y="730817"/>
                  </a:lnTo>
                  <a:lnTo>
                    <a:pt x="139526" y="728754"/>
                  </a:lnTo>
                  <a:lnTo>
                    <a:pt x="144767" y="730064"/>
                  </a:lnTo>
                  <a:lnTo>
                    <a:pt x="145727" y="729350"/>
                  </a:lnTo>
                  <a:lnTo>
                    <a:pt x="146366" y="724813"/>
                  </a:lnTo>
                  <a:lnTo>
                    <a:pt x="147146" y="723718"/>
                  </a:lnTo>
                  <a:lnTo>
                    <a:pt x="148622" y="722901"/>
                  </a:lnTo>
                  <a:lnTo>
                    <a:pt x="155923" y="722091"/>
                  </a:lnTo>
                  <a:lnTo>
                    <a:pt x="165026" y="722897"/>
                  </a:lnTo>
                  <a:lnTo>
                    <a:pt x="165966" y="722461"/>
                  </a:lnTo>
                  <a:lnTo>
                    <a:pt x="165094" y="719423"/>
                  </a:lnTo>
                  <a:lnTo>
                    <a:pt x="164989" y="718227"/>
                  </a:lnTo>
                  <a:lnTo>
                    <a:pt x="165538" y="715489"/>
                  </a:lnTo>
                  <a:lnTo>
                    <a:pt x="166101" y="714018"/>
                  </a:lnTo>
                  <a:lnTo>
                    <a:pt x="167180" y="713284"/>
                  </a:lnTo>
                  <a:lnTo>
                    <a:pt x="171411" y="713866"/>
                  </a:lnTo>
                  <a:lnTo>
                    <a:pt x="172734" y="715218"/>
                  </a:lnTo>
                  <a:lnTo>
                    <a:pt x="174150" y="717538"/>
                  </a:lnTo>
                  <a:lnTo>
                    <a:pt x="175584" y="718859"/>
                  </a:lnTo>
                  <a:lnTo>
                    <a:pt x="180086" y="720190"/>
                  </a:lnTo>
                  <a:lnTo>
                    <a:pt x="180597" y="721111"/>
                  </a:lnTo>
                  <a:lnTo>
                    <a:pt x="178881" y="724620"/>
                  </a:lnTo>
                  <a:lnTo>
                    <a:pt x="177082" y="726457"/>
                  </a:lnTo>
                  <a:lnTo>
                    <a:pt x="173364" y="731284"/>
                  </a:lnTo>
                  <a:lnTo>
                    <a:pt x="173129" y="732523"/>
                  </a:lnTo>
                  <a:lnTo>
                    <a:pt x="178866" y="730357"/>
                  </a:lnTo>
                  <a:lnTo>
                    <a:pt x="185307" y="727355"/>
                  </a:lnTo>
                  <a:lnTo>
                    <a:pt x="190838" y="725700"/>
                  </a:lnTo>
                  <a:lnTo>
                    <a:pt x="195459" y="725397"/>
                  </a:lnTo>
                  <a:lnTo>
                    <a:pt x="198769" y="724423"/>
                  </a:lnTo>
                  <a:lnTo>
                    <a:pt x="200764" y="722774"/>
                  </a:lnTo>
                  <a:lnTo>
                    <a:pt x="202188" y="721087"/>
                  </a:lnTo>
                  <a:lnTo>
                    <a:pt x="205052" y="715631"/>
                  </a:lnTo>
                  <a:lnTo>
                    <a:pt x="206954" y="714685"/>
                  </a:lnTo>
                  <a:lnTo>
                    <a:pt x="214903" y="715019"/>
                  </a:lnTo>
                  <a:lnTo>
                    <a:pt x="216792" y="714854"/>
                  </a:lnTo>
                  <a:lnTo>
                    <a:pt x="218020" y="714322"/>
                  </a:lnTo>
                  <a:lnTo>
                    <a:pt x="217796" y="713631"/>
                  </a:lnTo>
                  <a:lnTo>
                    <a:pt x="216116" y="712784"/>
                  </a:lnTo>
                  <a:lnTo>
                    <a:pt x="213850" y="712546"/>
                  </a:lnTo>
                  <a:lnTo>
                    <a:pt x="213793" y="712161"/>
                  </a:lnTo>
                  <a:lnTo>
                    <a:pt x="214631" y="711266"/>
                  </a:lnTo>
                  <a:lnTo>
                    <a:pt x="215875" y="710746"/>
                  </a:lnTo>
                  <a:lnTo>
                    <a:pt x="219793" y="710127"/>
                  </a:lnTo>
                  <a:lnTo>
                    <a:pt x="222368" y="712096"/>
                  </a:lnTo>
                  <a:lnTo>
                    <a:pt x="224118" y="712238"/>
                  </a:lnTo>
                  <a:lnTo>
                    <a:pt x="229932" y="710052"/>
                  </a:lnTo>
                  <a:lnTo>
                    <a:pt x="238865" y="704240"/>
                  </a:lnTo>
                  <a:lnTo>
                    <a:pt x="242438" y="702620"/>
                  </a:lnTo>
                  <a:lnTo>
                    <a:pt x="245531" y="702337"/>
                  </a:lnTo>
                  <a:lnTo>
                    <a:pt x="248144" y="703396"/>
                  </a:lnTo>
                  <a:lnTo>
                    <a:pt x="250160" y="703119"/>
                  </a:lnTo>
                  <a:lnTo>
                    <a:pt x="252811" y="699832"/>
                  </a:lnTo>
                  <a:lnTo>
                    <a:pt x="253856" y="698081"/>
                  </a:lnTo>
                  <a:lnTo>
                    <a:pt x="255490" y="696560"/>
                  </a:lnTo>
                  <a:lnTo>
                    <a:pt x="262100" y="693132"/>
                  </a:lnTo>
                  <a:lnTo>
                    <a:pt x="266336" y="692400"/>
                  </a:lnTo>
                  <a:lnTo>
                    <a:pt x="268923" y="693033"/>
                  </a:lnTo>
                  <a:lnTo>
                    <a:pt x="272003" y="694453"/>
                  </a:lnTo>
                  <a:lnTo>
                    <a:pt x="274538" y="695004"/>
                  </a:lnTo>
                  <a:lnTo>
                    <a:pt x="277876" y="694586"/>
                  </a:lnTo>
                  <a:lnTo>
                    <a:pt x="280369" y="694775"/>
                  </a:lnTo>
                  <a:lnTo>
                    <a:pt x="281559" y="694083"/>
                  </a:lnTo>
                  <a:lnTo>
                    <a:pt x="285818" y="690174"/>
                  </a:lnTo>
                  <a:lnTo>
                    <a:pt x="287199" y="690134"/>
                  </a:lnTo>
                  <a:lnTo>
                    <a:pt x="288534" y="691287"/>
                  </a:lnTo>
                  <a:lnTo>
                    <a:pt x="290678" y="694128"/>
                  </a:lnTo>
                  <a:lnTo>
                    <a:pt x="290685" y="695546"/>
                  </a:lnTo>
                  <a:lnTo>
                    <a:pt x="287893" y="699004"/>
                  </a:lnTo>
                  <a:lnTo>
                    <a:pt x="267340" y="708855"/>
                  </a:lnTo>
                  <a:lnTo>
                    <a:pt x="261008" y="713095"/>
                  </a:lnTo>
                  <a:lnTo>
                    <a:pt x="257876" y="714649"/>
                  </a:lnTo>
                  <a:lnTo>
                    <a:pt x="254630" y="715523"/>
                  </a:lnTo>
                  <a:lnTo>
                    <a:pt x="248345" y="716256"/>
                  </a:lnTo>
                  <a:lnTo>
                    <a:pt x="245850" y="717116"/>
                  </a:lnTo>
                  <a:lnTo>
                    <a:pt x="241626" y="717887"/>
                  </a:lnTo>
                  <a:lnTo>
                    <a:pt x="231740" y="719241"/>
                  </a:lnTo>
                  <a:lnTo>
                    <a:pt x="229839" y="719899"/>
                  </a:lnTo>
                  <a:lnTo>
                    <a:pt x="228547" y="720666"/>
                  </a:lnTo>
                  <a:lnTo>
                    <a:pt x="224996" y="725836"/>
                  </a:lnTo>
                  <a:lnTo>
                    <a:pt x="223271" y="727521"/>
                  </a:lnTo>
                  <a:lnTo>
                    <a:pt x="219875" y="730060"/>
                  </a:lnTo>
                  <a:lnTo>
                    <a:pt x="216060" y="731615"/>
                  </a:lnTo>
                  <a:lnTo>
                    <a:pt x="210848" y="732209"/>
                  </a:lnTo>
                  <a:lnTo>
                    <a:pt x="207533" y="734624"/>
                  </a:lnTo>
                  <a:lnTo>
                    <a:pt x="203717" y="739274"/>
                  </a:lnTo>
                  <a:lnTo>
                    <a:pt x="200637" y="742507"/>
                  </a:lnTo>
                  <a:lnTo>
                    <a:pt x="197119" y="745244"/>
                  </a:lnTo>
                  <a:lnTo>
                    <a:pt x="193297" y="748814"/>
                  </a:lnTo>
                  <a:lnTo>
                    <a:pt x="192299" y="750692"/>
                  </a:lnTo>
                  <a:lnTo>
                    <a:pt x="193438" y="753163"/>
                  </a:lnTo>
                  <a:lnTo>
                    <a:pt x="194072" y="753985"/>
                  </a:lnTo>
                  <a:lnTo>
                    <a:pt x="197914" y="755313"/>
                  </a:lnTo>
                  <a:lnTo>
                    <a:pt x="199405" y="755015"/>
                  </a:lnTo>
                  <a:lnTo>
                    <a:pt x="198032" y="753692"/>
                  </a:lnTo>
                  <a:lnTo>
                    <a:pt x="194803" y="751780"/>
                  </a:lnTo>
                  <a:lnTo>
                    <a:pt x="194369" y="751092"/>
                  </a:lnTo>
                  <a:lnTo>
                    <a:pt x="195197" y="750553"/>
                  </a:lnTo>
                  <a:lnTo>
                    <a:pt x="210360" y="751994"/>
                  </a:lnTo>
                  <a:lnTo>
                    <a:pt x="213615" y="750536"/>
                  </a:lnTo>
                  <a:lnTo>
                    <a:pt x="214755" y="749303"/>
                  </a:lnTo>
                  <a:lnTo>
                    <a:pt x="214512" y="748669"/>
                  </a:lnTo>
                  <a:lnTo>
                    <a:pt x="210402" y="748405"/>
                  </a:lnTo>
                  <a:lnTo>
                    <a:pt x="209520" y="747227"/>
                  </a:lnTo>
                  <a:lnTo>
                    <a:pt x="208871" y="745008"/>
                  </a:lnTo>
                  <a:lnTo>
                    <a:pt x="208735" y="743244"/>
                  </a:lnTo>
                  <a:lnTo>
                    <a:pt x="209106" y="741936"/>
                  </a:lnTo>
                  <a:lnTo>
                    <a:pt x="210032" y="740264"/>
                  </a:lnTo>
                  <a:lnTo>
                    <a:pt x="214439" y="737528"/>
                  </a:lnTo>
                  <a:lnTo>
                    <a:pt x="219183" y="736355"/>
                  </a:lnTo>
                  <a:lnTo>
                    <a:pt x="222836" y="734807"/>
                  </a:lnTo>
                  <a:lnTo>
                    <a:pt x="224854" y="733342"/>
                  </a:lnTo>
                  <a:lnTo>
                    <a:pt x="230300" y="730839"/>
                  </a:lnTo>
                  <a:lnTo>
                    <a:pt x="232486" y="728807"/>
                  </a:lnTo>
                  <a:lnTo>
                    <a:pt x="233664" y="727227"/>
                  </a:lnTo>
                  <a:lnTo>
                    <a:pt x="233814" y="726440"/>
                  </a:lnTo>
                  <a:lnTo>
                    <a:pt x="232822" y="725869"/>
                  </a:lnTo>
                  <a:lnTo>
                    <a:pt x="233628" y="724508"/>
                  </a:lnTo>
                  <a:lnTo>
                    <a:pt x="237598" y="723293"/>
                  </a:lnTo>
                  <a:lnTo>
                    <a:pt x="239344" y="723190"/>
                  </a:lnTo>
                  <a:lnTo>
                    <a:pt x="244923" y="724355"/>
                  </a:lnTo>
                  <a:lnTo>
                    <a:pt x="245934" y="725265"/>
                  </a:lnTo>
                  <a:lnTo>
                    <a:pt x="245385" y="727678"/>
                  </a:lnTo>
                  <a:lnTo>
                    <a:pt x="246166" y="727565"/>
                  </a:lnTo>
                  <a:lnTo>
                    <a:pt x="248317" y="724500"/>
                  </a:lnTo>
                  <a:lnTo>
                    <a:pt x="249518" y="723477"/>
                  </a:lnTo>
                  <a:lnTo>
                    <a:pt x="250756" y="723275"/>
                  </a:lnTo>
                  <a:lnTo>
                    <a:pt x="252010" y="723670"/>
                  </a:lnTo>
                  <a:lnTo>
                    <a:pt x="253278" y="724655"/>
                  </a:lnTo>
                  <a:lnTo>
                    <a:pt x="253966" y="727603"/>
                  </a:lnTo>
                  <a:lnTo>
                    <a:pt x="254075" y="732503"/>
                  </a:lnTo>
                  <a:lnTo>
                    <a:pt x="254362" y="734476"/>
                  </a:lnTo>
                  <a:lnTo>
                    <a:pt x="255790" y="731092"/>
                  </a:lnTo>
                  <a:lnTo>
                    <a:pt x="256787" y="729520"/>
                  </a:lnTo>
                  <a:lnTo>
                    <a:pt x="262221" y="722297"/>
                  </a:lnTo>
                  <a:lnTo>
                    <a:pt x="265891" y="718328"/>
                  </a:lnTo>
                  <a:lnTo>
                    <a:pt x="270009" y="714453"/>
                  </a:lnTo>
                  <a:lnTo>
                    <a:pt x="275992" y="711558"/>
                  </a:lnTo>
                  <a:lnTo>
                    <a:pt x="289824" y="706745"/>
                  </a:lnTo>
                  <a:lnTo>
                    <a:pt x="297616" y="705448"/>
                  </a:lnTo>
                  <a:lnTo>
                    <a:pt x="301564" y="704249"/>
                  </a:lnTo>
                  <a:lnTo>
                    <a:pt x="303496" y="703206"/>
                  </a:lnTo>
                  <a:lnTo>
                    <a:pt x="304728" y="701917"/>
                  </a:lnTo>
                  <a:lnTo>
                    <a:pt x="306894" y="700436"/>
                  </a:lnTo>
                  <a:lnTo>
                    <a:pt x="307279" y="700557"/>
                  </a:lnTo>
                  <a:lnTo>
                    <a:pt x="306441" y="703663"/>
                  </a:lnTo>
                  <a:lnTo>
                    <a:pt x="305887" y="704563"/>
                  </a:lnTo>
                  <a:lnTo>
                    <a:pt x="300823" y="706483"/>
                  </a:lnTo>
                  <a:lnTo>
                    <a:pt x="300327" y="707948"/>
                  </a:lnTo>
                  <a:lnTo>
                    <a:pt x="300876" y="710207"/>
                  </a:lnTo>
                  <a:lnTo>
                    <a:pt x="301752" y="711694"/>
                  </a:lnTo>
                  <a:lnTo>
                    <a:pt x="302953" y="712415"/>
                  </a:lnTo>
                  <a:lnTo>
                    <a:pt x="305055" y="711904"/>
                  </a:lnTo>
                  <a:lnTo>
                    <a:pt x="308058" y="710162"/>
                  </a:lnTo>
                  <a:lnTo>
                    <a:pt x="311797" y="707493"/>
                  </a:lnTo>
                  <a:lnTo>
                    <a:pt x="319881" y="700708"/>
                  </a:lnTo>
                  <a:lnTo>
                    <a:pt x="320580" y="699463"/>
                  </a:lnTo>
                  <a:lnTo>
                    <a:pt x="322622" y="693994"/>
                  </a:lnTo>
                  <a:lnTo>
                    <a:pt x="327256" y="691574"/>
                  </a:lnTo>
                  <a:lnTo>
                    <a:pt x="335647" y="688817"/>
                  </a:lnTo>
                  <a:lnTo>
                    <a:pt x="337705" y="687064"/>
                  </a:lnTo>
                  <a:lnTo>
                    <a:pt x="330345" y="685579"/>
                  </a:lnTo>
                  <a:lnTo>
                    <a:pt x="328820" y="684556"/>
                  </a:lnTo>
                  <a:lnTo>
                    <a:pt x="328580" y="683943"/>
                  </a:lnTo>
                  <a:lnTo>
                    <a:pt x="329968" y="682373"/>
                  </a:lnTo>
                  <a:lnTo>
                    <a:pt x="326606" y="680809"/>
                  </a:lnTo>
                  <a:lnTo>
                    <a:pt x="325373" y="679844"/>
                  </a:lnTo>
                  <a:lnTo>
                    <a:pt x="325426" y="677037"/>
                  </a:lnTo>
                  <a:lnTo>
                    <a:pt x="326459" y="675019"/>
                  </a:lnTo>
                  <a:lnTo>
                    <a:pt x="328661" y="673066"/>
                  </a:lnTo>
                  <a:lnTo>
                    <a:pt x="329915" y="672725"/>
                  </a:lnTo>
                  <a:lnTo>
                    <a:pt x="333196" y="673862"/>
                  </a:lnTo>
                  <a:lnTo>
                    <a:pt x="335954" y="675325"/>
                  </a:lnTo>
                  <a:lnTo>
                    <a:pt x="345488" y="682117"/>
                  </a:lnTo>
                  <a:lnTo>
                    <a:pt x="349313" y="685431"/>
                  </a:lnTo>
                  <a:lnTo>
                    <a:pt x="351532" y="688022"/>
                  </a:lnTo>
                  <a:lnTo>
                    <a:pt x="356900" y="696101"/>
                  </a:lnTo>
                  <a:lnTo>
                    <a:pt x="359266" y="700756"/>
                  </a:lnTo>
                  <a:lnTo>
                    <a:pt x="361162" y="705540"/>
                  </a:lnTo>
                  <a:lnTo>
                    <a:pt x="363033" y="708986"/>
                  </a:lnTo>
                  <a:lnTo>
                    <a:pt x="364878" y="711096"/>
                  </a:lnTo>
                  <a:lnTo>
                    <a:pt x="374049" y="719426"/>
                  </a:lnTo>
                  <a:lnTo>
                    <a:pt x="378782" y="722935"/>
                  </a:lnTo>
                  <a:lnTo>
                    <a:pt x="382747" y="725110"/>
                  </a:lnTo>
                  <a:lnTo>
                    <a:pt x="387302" y="726838"/>
                  </a:lnTo>
                  <a:lnTo>
                    <a:pt x="392446" y="728110"/>
                  </a:lnTo>
                  <a:lnTo>
                    <a:pt x="395949" y="728214"/>
                  </a:lnTo>
                  <a:lnTo>
                    <a:pt x="401398" y="724688"/>
                  </a:lnTo>
                  <a:lnTo>
                    <a:pt x="401526" y="722365"/>
                  </a:lnTo>
                  <a:lnTo>
                    <a:pt x="399123" y="718486"/>
                  </a:lnTo>
                  <a:lnTo>
                    <a:pt x="396706" y="715796"/>
                  </a:lnTo>
                  <a:lnTo>
                    <a:pt x="396995" y="714154"/>
                  </a:lnTo>
                  <a:lnTo>
                    <a:pt x="400193" y="711003"/>
                  </a:lnTo>
                  <a:lnTo>
                    <a:pt x="399978" y="709904"/>
                  </a:lnTo>
                  <a:lnTo>
                    <a:pt x="400655" y="706650"/>
                  </a:lnTo>
                  <a:lnTo>
                    <a:pt x="402865" y="707273"/>
                  </a:lnTo>
                  <a:lnTo>
                    <a:pt x="403738" y="707146"/>
                  </a:lnTo>
                  <a:lnTo>
                    <a:pt x="404970" y="705950"/>
                  </a:lnTo>
                  <a:lnTo>
                    <a:pt x="406561" y="703686"/>
                  </a:lnTo>
                  <a:lnTo>
                    <a:pt x="408567" y="701811"/>
                  </a:lnTo>
                  <a:lnTo>
                    <a:pt x="410988" y="700329"/>
                  </a:lnTo>
                  <a:lnTo>
                    <a:pt x="411641" y="699353"/>
                  </a:lnTo>
                  <a:lnTo>
                    <a:pt x="409241" y="698652"/>
                  </a:lnTo>
                  <a:lnTo>
                    <a:pt x="407784" y="698649"/>
                  </a:lnTo>
                  <a:lnTo>
                    <a:pt x="406704" y="698331"/>
                  </a:lnTo>
                  <a:lnTo>
                    <a:pt x="406000" y="697695"/>
                  </a:lnTo>
                  <a:lnTo>
                    <a:pt x="406962" y="697008"/>
                  </a:lnTo>
                  <a:lnTo>
                    <a:pt x="412219" y="695263"/>
                  </a:lnTo>
                  <a:lnTo>
                    <a:pt x="413203" y="693590"/>
                  </a:lnTo>
                  <a:lnTo>
                    <a:pt x="414886" y="692478"/>
                  </a:lnTo>
                  <a:lnTo>
                    <a:pt x="417038" y="692034"/>
                  </a:lnTo>
                  <a:lnTo>
                    <a:pt x="418369" y="692494"/>
                  </a:lnTo>
                  <a:lnTo>
                    <a:pt x="419842" y="693881"/>
                  </a:lnTo>
                  <a:lnTo>
                    <a:pt x="419918" y="696092"/>
                  </a:lnTo>
                  <a:lnTo>
                    <a:pt x="419267" y="699692"/>
                  </a:lnTo>
                  <a:lnTo>
                    <a:pt x="419146" y="702594"/>
                  </a:lnTo>
                  <a:lnTo>
                    <a:pt x="420794" y="709422"/>
                  </a:lnTo>
                  <a:lnTo>
                    <a:pt x="422254" y="710907"/>
                  </a:lnTo>
                  <a:lnTo>
                    <a:pt x="427953" y="712914"/>
                  </a:lnTo>
                  <a:lnTo>
                    <a:pt x="427601" y="714571"/>
                  </a:lnTo>
                  <a:lnTo>
                    <a:pt x="421011" y="721734"/>
                  </a:lnTo>
                  <a:lnTo>
                    <a:pt x="419604" y="723484"/>
                  </a:lnTo>
                  <a:lnTo>
                    <a:pt x="418908" y="724814"/>
                  </a:lnTo>
                  <a:lnTo>
                    <a:pt x="419143" y="725939"/>
                  </a:lnTo>
                  <a:lnTo>
                    <a:pt x="420307" y="726862"/>
                  </a:lnTo>
                  <a:lnTo>
                    <a:pt x="422539" y="727516"/>
                  </a:lnTo>
                  <a:lnTo>
                    <a:pt x="428280" y="727782"/>
                  </a:lnTo>
                  <a:lnTo>
                    <a:pt x="429853" y="727157"/>
                  </a:lnTo>
                  <a:lnTo>
                    <a:pt x="441023" y="726951"/>
                  </a:lnTo>
                  <a:lnTo>
                    <a:pt x="443070" y="726417"/>
                  </a:lnTo>
                  <a:lnTo>
                    <a:pt x="444794" y="725044"/>
                  </a:lnTo>
                  <a:lnTo>
                    <a:pt x="447304" y="721609"/>
                  </a:lnTo>
                  <a:lnTo>
                    <a:pt x="450156" y="720559"/>
                  </a:lnTo>
                  <a:lnTo>
                    <a:pt x="451050" y="719594"/>
                  </a:lnTo>
                  <a:lnTo>
                    <a:pt x="452805" y="715504"/>
                  </a:lnTo>
                  <a:lnTo>
                    <a:pt x="453669" y="710744"/>
                  </a:lnTo>
                  <a:lnTo>
                    <a:pt x="454526" y="708743"/>
                  </a:lnTo>
                  <a:lnTo>
                    <a:pt x="455815" y="707500"/>
                  </a:lnTo>
                  <a:lnTo>
                    <a:pt x="457567" y="707101"/>
                  </a:lnTo>
                  <a:lnTo>
                    <a:pt x="461911" y="707571"/>
                  </a:lnTo>
                  <a:lnTo>
                    <a:pt x="463952" y="707167"/>
                  </a:lnTo>
                  <a:lnTo>
                    <a:pt x="472000" y="707571"/>
                  </a:lnTo>
                  <a:lnTo>
                    <a:pt x="480048" y="707222"/>
                  </a:lnTo>
                  <a:lnTo>
                    <a:pt x="488371" y="708064"/>
                  </a:lnTo>
                  <a:lnTo>
                    <a:pt x="493715" y="709045"/>
                  </a:lnTo>
                  <a:lnTo>
                    <a:pt x="498656" y="710589"/>
                  </a:lnTo>
                  <a:lnTo>
                    <a:pt x="508134" y="714247"/>
                  </a:lnTo>
                  <a:lnTo>
                    <a:pt x="511881" y="716207"/>
                  </a:lnTo>
                  <a:lnTo>
                    <a:pt x="525120" y="725020"/>
                  </a:lnTo>
                  <a:lnTo>
                    <a:pt x="528988" y="726812"/>
                  </a:lnTo>
                  <a:lnTo>
                    <a:pt x="536270" y="728522"/>
                  </a:lnTo>
                  <a:lnTo>
                    <a:pt x="561223" y="732328"/>
                  </a:lnTo>
                  <a:lnTo>
                    <a:pt x="564363" y="733351"/>
                  </a:lnTo>
                  <a:lnTo>
                    <a:pt x="570937" y="737338"/>
                  </a:lnTo>
                  <a:lnTo>
                    <a:pt x="575467" y="739662"/>
                  </a:lnTo>
                  <a:lnTo>
                    <a:pt x="580837" y="741877"/>
                  </a:lnTo>
                  <a:lnTo>
                    <a:pt x="587553" y="743789"/>
                  </a:lnTo>
                  <a:lnTo>
                    <a:pt x="600714" y="746675"/>
                  </a:lnTo>
                  <a:lnTo>
                    <a:pt x="602853" y="747628"/>
                  </a:lnTo>
                  <a:lnTo>
                    <a:pt x="605267" y="747907"/>
                  </a:lnTo>
                  <a:lnTo>
                    <a:pt x="607955" y="747514"/>
                  </a:lnTo>
                  <a:lnTo>
                    <a:pt x="620019" y="749162"/>
                  </a:lnTo>
                  <a:lnTo>
                    <a:pt x="623198" y="749083"/>
                  </a:lnTo>
                  <a:lnTo>
                    <a:pt x="625492" y="749392"/>
                  </a:lnTo>
                  <a:lnTo>
                    <a:pt x="628317" y="750580"/>
                  </a:lnTo>
                  <a:lnTo>
                    <a:pt x="632455" y="751014"/>
                  </a:lnTo>
                  <a:lnTo>
                    <a:pt x="632310" y="750199"/>
                  </a:lnTo>
                  <a:lnTo>
                    <a:pt x="627584" y="745654"/>
                  </a:lnTo>
                  <a:lnTo>
                    <a:pt x="627792" y="744937"/>
                  </a:lnTo>
                  <a:lnTo>
                    <a:pt x="629735" y="744880"/>
                  </a:lnTo>
                  <a:lnTo>
                    <a:pt x="635585" y="745645"/>
                  </a:lnTo>
                  <a:lnTo>
                    <a:pt x="636924" y="744348"/>
                  </a:lnTo>
                  <a:lnTo>
                    <a:pt x="638874" y="744379"/>
                  </a:lnTo>
                  <a:lnTo>
                    <a:pt x="643316" y="745003"/>
                  </a:lnTo>
                  <a:lnTo>
                    <a:pt x="648105" y="746408"/>
                  </a:lnTo>
                  <a:lnTo>
                    <a:pt x="653238" y="748584"/>
                  </a:lnTo>
                  <a:lnTo>
                    <a:pt x="659479" y="750436"/>
                  </a:lnTo>
                  <a:lnTo>
                    <a:pt x="668951" y="755037"/>
                  </a:lnTo>
                  <a:lnTo>
                    <a:pt x="674182" y="758859"/>
                  </a:lnTo>
                  <a:lnTo>
                    <a:pt x="679144" y="763598"/>
                  </a:lnTo>
                  <a:lnTo>
                    <a:pt x="681866" y="766885"/>
                  </a:lnTo>
                  <a:lnTo>
                    <a:pt x="682342" y="768729"/>
                  </a:lnTo>
                  <a:lnTo>
                    <a:pt x="683380" y="769640"/>
                  </a:lnTo>
                  <a:lnTo>
                    <a:pt x="684976" y="769625"/>
                  </a:lnTo>
                  <a:lnTo>
                    <a:pt x="685579" y="770324"/>
                  </a:lnTo>
                  <a:lnTo>
                    <a:pt x="684149" y="774384"/>
                  </a:lnTo>
                  <a:lnTo>
                    <a:pt x="683326" y="775396"/>
                  </a:lnTo>
                  <a:lnTo>
                    <a:pt x="682244" y="776123"/>
                  </a:lnTo>
                  <a:lnTo>
                    <a:pt x="677709" y="776953"/>
                  </a:lnTo>
                  <a:lnTo>
                    <a:pt x="665272" y="775974"/>
                  </a:lnTo>
                  <a:lnTo>
                    <a:pt x="663068" y="779253"/>
                  </a:lnTo>
                  <a:lnTo>
                    <a:pt x="656098" y="782016"/>
                  </a:lnTo>
                  <a:lnTo>
                    <a:pt x="654859" y="783223"/>
                  </a:lnTo>
                  <a:lnTo>
                    <a:pt x="654584" y="784105"/>
                  </a:lnTo>
                  <a:lnTo>
                    <a:pt x="655082" y="786966"/>
                  </a:lnTo>
                  <a:lnTo>
                    <a:pt x="654202" y="787843"/>
                  </a:lnTo>
                  <a:lnTo>
                    <a:pt x="648497" y="791104"/>
                  </a:lnTo>
                  <a:lnTo>
                    <a:pt x="648303" y="792024"/>
                  </a:lnTo>
                  <a:lnTo>
                    <a:pt x="652006" y="793357"/>
                  </a:lnTo>
                  <a:lnTo>
                    <a:pt x="655942" y="795637"/>
                  </a:lnTo>
                  <a:lnTo>
                    <a:pt x="659036" y="796193"/>
                  </a:lnTo>
                  <a:lnTo>
                    <a:pt x="662952" y="795881"/>
                  </a:lnTo>
                  <a:lnTo>
                    <a:pt x="667867" y="796678"/>
                  </a:lnTo>
                  <a:lnTo>
                    <a:pt x="673789" y="798585"/>
                  </a:lnTo>
                  <a:lnTo>
                    <a:pt x="677904" y="799455"/>
                  </a:lnTo>
                  <a:lnTo>
                    <a:pt x="680221" y="799288"/>
                  </a:lnTo>
                  <a:lnTo>
                    <a:pt x="683381" y="799639"/>
                  </a:lnTo>
                  <a:lnTo>
                    <a:pt x="687384" y="800507"/>
                  </a:lnTo>
                  <a:lnTo>
                    <a:pt x="692742" y="800807"/>
                  </a:lnTo>
                  <a:lnTo>
                    <a:pt x="704582" y="800728"/>
                  </a:lnTo>
                  <a:lnTo>
                    <a:pt x="708132" y="801382"/>
                  </a:lnTo>
                  <a:lnTo>
                    <a:pt x="713089" y="801675"/>
                  </a:lnTo>
                  <a:lnTo>
                    <a:pt x="722634" y="801587"/>
                  </a:lnTo>
                  <a:lnTo>
                    <a:pt x="724355" y="801464"/>
                  </a:lnTo>
                  <a:lnTo>
                    <a:pt x="727413" y="799956"/>
                  </a:lnTo>
                  <a:lnTo>
                    <a:pt x="729386" y="799457"/>
                  </a:lnTo>
                  <a:lnTo>
                    <a:pt x="732820" y="799430"/>
                  </a:lnTo>
                  <a:lnTo>
                    <a:pt x="742719" y="798321"/>
                  </a:lnTo>
                  <a:lnTo>
                    <a:pt x="746147" y="798342"/>
                  </a:lnTo>
                  <a:lnTo>
                    <a:pt x="749317" y="797503"/>
                  </a:lnTo>
                  <a:lnTo>
                    <a:pt x="753371" y="795809"/>
                  </a:lnTo>
                  <a:lnTo>
                    <a:pt x="755872" y="795491"/>
                  </a:lnTo>
                  <a:lnTo>
                    <a:pt x="756820" y="796546"/>
                  </a:lnTo>
                  <a:lnTo>
                    <a:pt x="758529" y="797006"/>
                  </a:lnTo>
                  <a:lnTo>
                    <a:pt x="760998" y="796868"/>
                  </a:lnTo>
                  <a:lnTo>
                    <a:pt x="765693" y="795067"/>
                  </a:lnTo>
                  <a:lnTo>
                    <a:pt x="776670" y="789769"/>
                  </a:lnTo>
                  <a:lnTo>
                    <a:pt x="780618" y="789778"/>
                  </a:lnTo>
                  <a:lnTo>
                    <a:pt x="783517" y="788113"/>
                  </a:lnTo>
                  <a:lnTo>
                    <a:pt x="784227" y="788083"/>
                  </a:lnTo>
                  <a:lnTo>
                    <a:pt x="785024" y="788768"/>
                  </a:lnTo>
                  <a:lnTo>
                    <a:pt x="787711" y="792653"/>
                  </a:lnTo>
                  <a:lnTo>
                    <a:pt x="788530" y="793277"/>
                  </a:lnTo>
                  <a:lnTo>
                    <a:pt x="790378" y="793611"/>
                  </a:lnTo>
                  <a:lnTo>
                    <a:pt x="792183" y="795596"/>
                  </a:lnTo>
                  <a:lnTo>
                    <a:pt x="794062" y="798562"/>
                  </a:lnTo>
                  <a:lnTo>
                    <a:pt x="795474" y="799387"/>
                  </a:lnTo>
                  <a:lnTo>
                    <a:pt x="805770" y="799515"/>
                  </a:lnTo>
                  <a:lnTo>
                    <a:pt x="809398" y="800339"/>
                  </a:lnTo>
                  <a:lnTo>
                    <a:pt x="810494" y="801187"/>
                  </a:lnTo>
                  <a:lnTo>
                    <a:pt x="811598" y="803526"/>
                  </a:lnTo>
                  <a:lnTo>
                    <a:pt x="812278" y="808052"/>
                  </a:lnTo>
                  <a:lnTo>
                    <a:pt x="812729" y="809710"/>
                  </a:lnTo>
                  <a:lnTo>
                    <a:pt x="814223" y="812118"/>
                  </a:lnTo>
                  <a:lnTo>
                    <a:pt x="815210" y="812812"/>
                  </a:lnTo>
                  <a:lnTo>
                    <a:pt x="816145" y="812144"/>
                  </a:lnTo>
                  <a:lnTo>
                    <a:pt x="818681" y="805873"/>
                  </a:lnTo>
                  <a:lnTo>
                    <a:pt x="819567" y="804863"/>
                  </a:lnTo>
                  <a:lnTo>
                    <a:pt x="821263" y="805215"/>
                  </a:lnTo>
                  <a:lnTo>
                    <a:pt x="821780" y="805526"/>
                  </a:lnTo>
                  <a:lnTo>
                    <a:pt x="824352" y="810169"/>
                  </a:lnTo>
                  <a:lnTo>
                    <a:pt x="828017" y="813611"/>
                  </a:lnTo>
                  <a:lnTo>
                    <a:pt x="837100" y="819933"/>
                  </a:lnTo>
                  <a:lnTo>
                    <a:pt x="838576" y="822246"/>
                  </a:lnTo>
                  <a:lnTo>
                    <a:pt x="839117" y="823959"/>
                  </a:lnTo>
                  <a:lnTo>
                    <a:pt x="838603" y="825490"/>
                  </a:lnTo>
                  <a:lnTo>
                    <a:pt x="837035" y="826846"/>
                  </a:lnTo>
                  <a:lnTo>
                    <a:pt x="834573" y="827932"/>
                  </a:lnTo>
                  <a:lnTo>
                    <a:pt x="831216" y="828753"/>
                  </a:lnTo>
                  <a:lnTo>
                    <a:pt x="828083" y="828457"/>
                  </a:lnTo>
                  <a:lnTo>
                    <a:pt x="825174" y="827049"/>
                  </a:lnTo>
                  <a:lnTo>
                    <a:pt x="824236" y="826968"/>
                  </a:lnTo>
                  <a:lnTo>
                    <a:pt x="825270" y="828223"/>
                  </a:lnTo>
                  <a:lnTo>
                    <a:pt x="831283" y="833424"/>
                  </a:lnTo>
                  <a:lnTo>
                    <a:pt x="832817" y="835499"/>
                  </a:lnTo>
                  <a:lnTo>
                    <a:pt x="834241" y="836875"/>
                  </a:lnTo>
                  <a:lnTo>
                    <a:pt x="835556" y="837557"/>
                  </a:lnTo>
                  <a:lnTo>
                    <a:pt x="836770" y="838679"/>
                  </a:lnTo>
                  <a:lnTo>
                    <a:pt x="837880" y="840242"/>
                  </a:lnTo>
                  <a:lnTo>
                    <a:pt x="842876" y="844390"/>
                  </a:lnTo>
                  <a:lnTo>
                    <a:pt x="844298" y="846369"/>
                  </a:lnTo>
                  <a:lnTo>
                    <a:pt x="849991" y="852526"/>
                  </a:lnTo>
                  <a:lnTo>
                    <a:pt x="852695" y="854944"/>
                  </a:lnTo>
                  <a:lnTo>
                    <a:pt x="854783" y="856332"/>
                  </a:lnTo>
                  <a:lnTo>
                    <a:pt x="855592" y="856470"/>
                  </a:lnTo>
                  <a:lnTo>
                    <a:pt x="855119" y="855356"/>
                  </a:lnTo>
                  <a:lnTo>
                    <a:pt x="847858" y="847157"/>
                  </a:lnTo>
                  <a:lnTo>
                    <a:pt x="844159" y="841996"/>
                  </a:lnTo>
                  <a:lnTo>
                    <a:pt x="843639" y="840756"/>
                  </a:lnTo>
                  <a:lnTo>
                    <a:pt x="843401" y="838860"/>
                  </a:lnTo>
                  <a:lnTo>
                    <a:pt x="843256" y="832561"/>
                  </a:lnTo>
                  <a:lnTo>
                    <a:pt x="843785" y="831593"/>
                  </a:lnTo>
                  <a:lnTo>
                    <a:pt x="846293" y="830782"/>
                  </a:lnTo>
                  <a:lnTo>
                    <a:pt x="849512" y="833641"/>
                  </a:lnTo>
                  <a:lnTo>
                    <a:pt x="850729" y="834044"/>
                  </a:lnTo>
                  <a:lnTo>
                    <a:pt x="851550" y="833874"/>
                  </a:lnTo>
                  <a:lnTo>
                    <a:pt x="851975" y="833137"/>
                  </a:lnTo>
                  <a:lnTo>
                    <a:pt x="853824" y="833820"/>
                  </a:lnTo>
                  <a:lnTo>
                    <a:pt x="857094" y="835928"/>
                  </a:lnTo>
                  <a:lnTo>
                    <a:pt x="858203" y="835963"/>
                  </a:lnTo>
                  <a:lnTo>
                    <a:pt x="855736" y="831926"/>
                  </a:lnTo>
                  <a:lnTo>
                    <a:pt x="853972" y="829951"/>
                  </a:lnTo>
                  <a:lnTo>
                    <a:pt x="853350" y="828574"/>
                  </a:lnTo>
                  <a:lnTo>
                    <a:pt x="854991" y="826498"/>
                  </a:lnTo>
                  <a:lnTo>
                    <a:pt x="854095" y="825449"/>
                  </a:lnTo>
                  <a:lnTo>
                    <a:pt x="849940" y="822392"/>
                  </a:lnTo>
                  <a:lnTo>
                    <a:pt x="847782" y="819218"/>
                  </a:lnTo>
                  <a:lnTo>
                    <a:pt x="845840" y="814414"/>
                  </a:lnTo>
                  <a:lnTo>
                    <a:pt x="845666" y="812544"/>
                  </a:lnTo>
                  <a:lnTo>
                    <a:pt x="845984" y="810561"/>
                  </a:lnTo>
                  <a:lnTo>
                    <a:pt x="845691" y="808963"/>
                  </a:lnTo>
                  <a:lnTo>
                    <a:pt x="843077" y="805699"/>
                  </a:lnTo>
                  <a:lnTo>
                    <a:pt x="840235" y="803435"/>
                  </a:lnTo>
                  <a:lnTo>
                    <a:pt x="837979" y="800805"/>
                  </a:lnTo>
                  <a:lnTo>
                    <a:pt x="837522" y="799417"/>
                  </a:lnTo>
                  <a:lnTo>
                    <a:pt x="837869" y="795663"/>
                  </a:lnTo>
                  <a:lnTo>
                    <a:pt x="839580" y="794023"/>
                  </a:lnTo>
                  <a:lnTo>
                    <a:pt x="842822" y="791829"/>
                  </a:lnTo>
                  <a:lnTo>
                    <a:pt x="843696" y="789567"/>
                  </a:lnTo>
                  <a:lnTo>
                    <a:pt x="842204" y="787230"/>
                  </a:lnTo>
                  <a:lnTo>
                    <a:pt x="841929" y="786167"/>
                  </a:lnTo>
                  <a:lnTo>
                    <a:pt x="842874" y="786372"/>
                  </a:lnTo>
                  <a:lnTo>
                    <a:pt x="849255" y="785198"/>
                  </a:lnTo>
                  <a:lnTo>
                    <a:pt x="850857" y="785611"/>
                  </a:lnTo>
                  <a:lnTo>
                    <a:pt x="853268" y="785108"/>
                  </a:lnTo>
                  <a:lnTo>
                    <a:pt x="856488" y="783685"/>
                  </a:lnTo>
                  <a:lnTo>
                    <a:pt x="859007" y="783047"/>
                  </a:lnTo>
                  <a:lnTo>
                    <a:pt x="862332" y="783140"/>
                  </a:lnTo>
                  <a:lnTo>
                    <a:pt x="864135" y="782797"/>
                  </a:lnTo>
                  <a:lnTo>
                    <a:pt x="866338" y="782166"/>
                  </a:lnTo>
                  <a:lnTo>
                    <a:pt x="867478" y="781457"/>
                  </a:lnTo>
                  <a:lnTo>
                    <a:pt x="869499" y="778750"/>
                  </a:lnTo>
                  <a:lnTo>
                    <a:pt x="870578" y="778345"/>
                  </a:lnTo>
                  <a:lnTo>
                    <a:pt x="873965" y="778641"/>
                  </a:lnTo>
                  <a:lnTo>
                    <a:pt x="875876" y="779236"/>
                  </a:lnTo>
                  <a:lnTo>
                    <a:pt x="876770" y="779021"/>
                  </a:lnTo>
                  <a:lnTo>
                    <a:pt x="876637" y="775174"/>
                  </a:lnTo>
                  <a:lnTo>
                    <a:pt x="877273" y="773821"/>
                  </a:lnTo>
                  <a:lnTo>
                    <a:pt x="880650" y="771021"/>
                  </a:lnTo>
                  <a:lnTo>
                    <a:pt x="884177" y="770727"/>
                  </a:lnTo>
                  <a:lnTo>
                    <a:pt x="886530" y="769961"/>
                  </a:lnTo>
                  <a:lnTo>
                    <a:pt x="889224" y="768389"/>
                  </a:lnTo>
                  <a:lnTo>
                    <a:pt x="891155" y="766982"/>
                  </a:lnTo>
                  <a:lnTo>
                    <a:pt x="893075" y="764720"/>
                  </a:lnTo>
                  <a:lnTo>
                    <a:pt x="893861" y="761826"/>
                  </a:lnTo>
                  <a:lnTo>
                    <a:pt x="893250" y="760995"/>
                  </a:lnTo>
                  <a:lnTo>
                    <a:pt x="889246" y="759875"/>
                  </a:lnTo>
                  <a:lnTo>
                    <a:pt x="886839" y="760456"/>
                  </a:lnTo>
                  <a:lnTo>
                    <a:pt x="881510" y="762518"/>
                  </a:lnTo>
                  <a:lnTo>
                    <a:pt x="875913" y="765165"/>
                  </a:lnTo>
                  <a:lnTo>
                    <a:pt x="873751" y="767621"/>
                  </a:lnTo>
                  <a:lnTo>
                    <a:pt x="873159" y="770768"/>
                  </a:lnTo>
                  <a:lnTo>
                    <a:pt x="872098" y="772154"/>
                  </a:lnTo>
                  <a:lnTo>
                    <a:pt x="867739" y="770840"/>
                  </a:lnTo>
                  <a:lnTo>
                    <a:pt x="865880" y="770862"/>
                  </a:lnTo>
                  <a:lnTo>
                    <a:pt x="863546" y="771409"/>
                  </a:lnTo>
                  <a:lnTo>
                    <a:pt x="861072" y="772616"/>
                  </a:lnTo>
                  <a:lnTo>
                    <a:pt x="858464" y="774485"/>
                  </a:lnTo>
                  <a:lnTo>
                    <a:pt x="854611" y="774826"/>
                  </a:lnTo>
                  <a:lnTo>
                    <a:pt x="849514" y="773638"/>
                  </a:lnTo>
                  <a:lnTo>
                    <a:pt x="846466" y="773308"/>
                  </a:lnTo>
                  <a:lnTo>
                    <a:pt x="843369" y="775294"/>
                  </a:lnTo>
                  <a:lnTo>
                    <a:pt x="843554" y="776768"/>
                  </a:lnTo>
                  <a:lnTo>
                    <a:pt x="844988" y="778918"/>
                  </a:lnTo>
                  <a:lnTo>
                    <a:pt x="843555" y="780195"/>
                  </a:lnTo>
                  <a:lnTo>
                    <a:pt x="836125" y="780666"/>
                  </a:lnTo>
                  <a:lnTo>
                    <a:pt x="834162" y="780389"/>
                  </a:lnTo>
                  <a:lnTo>
                    <a:pt x="830196" y="781236"/>
                  </a:lnTo>
                  <a:lnTo>
                    <a:pt x="828629" y="781053"/>
                  </a:lnTo>
                  <a:lnTo>
                    <a:pt x="827486" y="780029"/>
                  </a:lnTo>
                  <a:lnTo>
                    <a:pt x="819406" y="775662"/>
                  </a:lnTo>
                  <a:lnTo>
                    <a:pt x="818606" y="774780"/>
                  </a:lnTo>
                  <a:lnTo>
                    <a:pt x="820563" y="771226"/>
                  </a:lnTo>
                  <a:lnTo>
                    <a:pt x="828048" y="761582"/>
                  </a:lnTo>
                  <a:lnTo>
                    <a:pt x="828867" y="761009"/>
                  </a:lnTo>
                  <a:lnTo>
                    <a:pt x="842738" y="759328"/>
                  </a:lnTo>
                  <a:lnTo>
                    <a:pt x="851117" y="757565"/>
                  </a:lnTo>
                  <a:lnTo>
                    <a:pt x="866464" y="752233"/>
                  </a:lnTo>
                  <a:lnTo>
                    <a:pt x="869436" y="751791"/>
                  </a:lnTo>
                  <a:lnTo>
                    <a:pt x="879305" y="748247"/>
                  </a:lnTo>
                  <a:lnTo>
                    <a:pt x="883357" y="747341"/>
                  </a:lnTo>
                  <a:lnTo>
                    <a:pt x="887130" y="747955"/>
                  </a:lnTo>
                  <a:lnTo>
                    <a:pt x="892650" y="749784"/>
                  </a:lnTo>
                  <a:lnTo>
                    <a:pt x="895499" y="751405"/>
                  </a:lnTo>
                  <a:lnTo>
                    <a:pt x="897516" y="753430"/>
                  </a:lnTo>
                  <a:lnTo>
                    <a:pt x="899195" y="756250"/>
                  </a:lnTo>
                  <a:lnTo>
                    <a:pt x="901298" y="762452"/>
                  </a:lnTo>
                  <a:lnTo>
                    <a:pt x="902016" y="767724"/>
                  </a:lnTo>
                  <a:lnTo>
                    <a:pt x="903313" y="769676"/>
                  </a:lnTo>
                  <a:lnTo>
                    <a:pt x="907940" y="773339"/>
                  </a:lnTo>
                  <a:lnTo>
                    <a:pt x="910314" y="774757"/>
                  </a:lnTo>
                  <a:lnTo>
                    <a:pt x="911778" y="775200"/>
                  </a:lnTo>
                  <a:lnTo>
                    <a:pt x="913041" y="774344"/>
                  </a:lnTo>
                  <a:lnTo>
                    <a:pt x="913903" y="774207"/>
                  </a:lnTo>
                  <a:lnTo>
                    <a:pt x="914487" y="774537"/>
                  </a:lnTo>
                  <a:lnTo>
                    <a:pt x="915116" y="776837"/>
                  </a:lnTo>
                  <a:lnTo>
                    <a:pt x="915940" y="777067"/>
                  </a:lnTo>
                  <a:lnTo>
                    <a:pt x="918725" y="776782"/>
                  </a:lnTo>
                  <a:lnTo>
                    <a:pt x="921677" y="777730"/>
                  </a:lnTo>
                  <a:lnTo>
                    <a:pt x="922104" y="778438"/>
                  </a:lnTo>
                  <a:lnTo>
                    <a:pt x="921476" y="781285"/>
                  </a:lnTo>
                  <a:lnTo>
                    <a:pt x="922311" y="782477"/>
                  </a:lnTo>
                  <a:lnTo>
                    <a:pt x="925896" y="785021"/>
                  </a:lnTo>
                  <a:lnTo>
                    <a:pt x="929347" y="785979"/>
                  </a:lnTo>
                  <a:lnTo>
                    <a:pt x="933333" y="786416"/>
                  </a:lnTo>
                  <a:lnTo>
                    <a:pt x="940736" y="785986"/>
                  </a:lnTo>
                  <a:lnTo>
                    <a:pt x="946932" y="784763"/>
                  </a:lnTo>
                  <a:lnTo>
                    <a:pt x="951575" y="782759"/>
                  </a:lnTo>
                  <a:lnTo>
                    <a:pt x="955400" y="784994"/>
                  </a:lnTo>
                  <a:lnTo>
                    <a:pt x="963044" y="790377"/>
                  </a:lnTo>
                  <a:lnTo>
                    <a:pt x="967614" y="794180"/>
                  </a:lnTo>
                  <a:lnTo>
                    <a:pt x="971406" y="795968"/>
                  </a:lnTo>
                  <a:lnTo>
                    <a:pt x="979087" y="798109"/>
                  </a:lnTo>
                  <a:lnTo>
                    <a:pt x="980830" y="799260"/>
                  </a:lnTo>
                  <a:lnTo>
                    <a:pt x="983633" y="799387"/>
                  </a:lnTo>
                  <a:lnTo>
                    <a:pt x="987501" y="798494"/>
                  </a:lnTo>
                  <a:lnTo>
                    <a:pt x="991904" y="798842"/>
                  </a:lnTo>
                  <a:lnTo>
                    <a:pt x="996842" y="800430"/>
                  </a:lnTo>
                  <a:lnTo>
                    <a:pt x="1000237" y="801101"/>
                  </a:lnTo>
                  <a:lnTo>
                    <a:pt x="1011866" y="798103"/>
                  </a:lnTo>
                  <a:lnTo>
                    <a:pt x="1013640" y="797959"/>
                  </a:lnTo>
                  <a:lnTo>
                    <a:pt x="1017971" y="796514"/>
                  </a:lnTo>
                  <a:lnTo>
                    <a:pt x="1020760" y="796076"/>
                  </a:lnTo>
                  <a:lnTo>
                    <a:pt x="1024043" y="796111"/>
                  </a:lnTo>
                  <a:lnTo>
                    <a:pt x="1026490" y="795671"/>
                  </a:lnTo>
                  <a:lnTo>
                    <a:pt x="1028101" y="794757"/>
                  </a:lnTo>
                  <a:lnTo>
                    <a:pt x="1034266" y="794795"/>
                  </a:lnTo>
                  <a:lnTo>
                    <a:pt x="1045422" y="795826"/>
                  </a:lnTo>
                  <a:lnTo>
                    <a:pt x="1053047" y="797161"/>
                  </a:lnTo>
                  <a:lnTo>
                    <a:pt x="1057578" y="798842"/>
                  </a:lnTo>
                  <a:lnTo>
                    <a:pt x="1061297" y="799781"/>
                  </a:lnTo>
                  <a:lnTo>
                    <a:pt x="1064205" y="799988"/>
                  </a:lnTo>
                  <a:lnTo>
                    <a:pt x="1067039" y="799688"/>
                  </a:lnTo>
                  <a:lnTo>
                    <a:pt x="1069796" y="798879"/>
                  </a:lnTo>
                  <a:lnTo>
                    <a:pt x="1072698" y="797349"/>
                  </a:lnTo>
                  <a:lnTo>
                    <a:pt x="1078897" y="796561"/>
                  </a:lnTo>
                  <a:lnTo>
                    <a:pt x="1079928" y="796158"/>
                  </a:lnTo>
                  <a:lnTo>
                    <a:pt x="1079801" y="795321"/>
                  </a:lnTo>
                  <a:lnTo>
                    <a:pt x="1078516" y="794047"/>
                  </a:lnTo>
                  <a:lnTo>
                    <a:pt x="1074999" y="791630"/>
                  </a:lnTo>
                  <a:lnTo>
                    <a:pt x="1072539" y="789268"/>
                  </a:lnTo>
                  <a:lnTo>
                    <a:pt x="1072066" y="787767"/>
                  </a:lnTo>
                  <a:lnTo>
                    <a:pt x="1072120" y="785946"/>
                  </a:lnTo>
                  <a:lnTo>
                    <a:pt x="1072886" y="784893"/>
                  </a:lnTo>
                  <a:lnTo>
                    <a:pt x="1074364" y="784612"/>
                  </a:lnTo>
                  <a:lnTo>
                    <a:pt x="1076690" y="785743"/>
                  </a:lnTo>
                  <a:lnTo>
                    <a:pt x="1079860" y="788279"/>
                  </a:lnTo>
                  <a:lnTo>
                    <a:pt x="1088792" y="797785"/>
                  </a:lnTo>
                  <a:lnTo>
                    <a:pt x="1090946" y="799132"/>
                  </a:lnTo>
                  <a:lnTo>
                    <a:pt x="1092134" y="800337"/>
                  </a:lnTo>
                  <a:lnTo>
                    <a:pt x="1100333" y="803789"/>
                  </a:lnTo>
                  <a:lnTo>
                    <a:pt x="1104199" y="804396"/>
                  </a:lnTo>
                  <a:lnTo>
                    <a:pt x="1108781" y="802265"/>
                  </a:lnTo>
                  <a:lnTo>
                    <a:pt x="1110805" y="800938"/>
                  </a:lnTo>
                  <a:lnTo>
                    <a:pt x="1111794" y="799660"/>
                  </a:lnTo>
                  <a:lnTo>
                    <a:pt x="1111749" y="798429"/>
                  </a:lnTo>
                  <a:lnTo>
                    <a:pt x="1112189" y="796633"/>
                  </a:lnTo>
                  <a:lnTo>
                    <a:pt x="1111727" y="795518"/>
                  </a:lnTo>
                  <a:lnTo>
                    <a:pt x="1110497" y="794078"/>
                  </a:lnTo>
                  <a:lnTo>
                    <a:pt x="1107212" y="792067"/>
                  </a:lnTo>
                  <a:lnTo>
                    <a:pt x="1101874" y="789484"/>
                  </a:lnTo>
                  <a:lnTo>
                    <a:pt x="1096993" y="788725"/>
                  </a:lnTo>
                  <a:lnTo>
                    <a:pt x="1092576" y="789796"/>
                  </a:lnTo>
                  <a:lnTo>
                    <a:pt x="1087577" y="791995"/>
                  </a:lnTo>
                  <a:lnTo>
                    <a:pt x="1085496" y="791126"/>
                  </a:lnTo>
                  <a:lnTo>
                    <a:pt x="1079263" y="784955"/>
                  </a:lnTo>
                  <a:lnTo>
                    <a:pt x="1077693" y="782643"/>
                  </a:lnTo>
                  <a:lnTo>
                    <a:pt x="1077694" y="782005"/>
                  </a:lnTo>
                  <a:lnTo>
                    <a:pt x="1080589" y="782745"/>
                  </a:lnTo>
                  <a:lnTo>
                    <a:pt x="1080722" y="781997"/>
                  </a:lnTo>
                  <a:lnTo>
                    <a:pt x="1078989" y="779013"/>
                  </a:lnTo>
                  <a:lnTo>
                    <a:pt x="1077921" y="778013"/>
                  </a:lnTo>
                  <a:lnTo>
                    <a:pt x="1074327" y="773303"/>
                  </a:lnTo>
                  <a:lnTo>
                    <a:pt x="1073884" y="771885"/>
                  </a:lnTo>
                  <a:lnTo>
                    <a:pt x="1076122" y="771562"/>
                  </a:lnTo>
                  <a:lnTo>
                    <a:pt x="1077137" y="771012"/>
                  </a:lnTo>
                  <a:lnTo>
                    <a:pt x="1078497" y="771068"/>
                  </a:lnTo>
                  <a:lnTo>
                    <a:pt x="1084837" y="773905"/>
                  </a:lnTo>
                  <a:lnTo>
                    <a:pt x="1088082" y="772638"/>
                  </a:lnTo>
                  <a:lnTo>
                    <a:pt x="1095596" y="770827"/>
                  </a:lnTo>
                  <a:lnTo>
                    <a:pt x="1092634" y="768108"/>
                  </a:lnTo>
                  <a:lnTo>
                    <a:pt x="1091928" y="765428"/>
                  </a:lnTo>
                  <a:lnTo>
                    <a:pt x="1092278" y="764847"/>
                  </a:lnTo>
                  <a:lnTo>
                    <a:pt x="1094725" y="764447"/>
                  </a:lnTo>
                  <a:lnTo>
                    <a:pt x="1099519" y="766681"/>
                  </a:lnTo>
                  <a:lnTo>
                    <a:pt x="1101838" y="766990"/>
                  </a:lnTo>
                  <a:lnTo>
                    <a:pt x="1103536" y="766102"/>
                  </a:lnTo>
                  <a:lnTo>
                    <a:pt x="1105329" y="766041"/>
                  </a:lnTo>
                  <a:lnTo>
                    <a:pt x="1107220" y="766806"/>
                  </a:lnTo>
                  <a:lnTo>
                    <a:pt x="1108992" y="767958"/>
                  </a:lnTo>
                  <a:lnTo>
                    <a:pt x="1112286" y="771250"/>
                  </a:lnTo>
                  <a:lnTo>
                    <a:pt x="1113914" y="773228"/>
                  </a:lnTo>
                  <a:lnTo>
                    <a:pt x="1115746" y="776204"/>
                  </a:lnTo>
                  <a:lnTo>
                    <a:pt x="1116325" y="776622"/>
                  </a:lnTo>
                  <a:lnTo>
                    <a:pt x="1125163" y="776846"/>
                  </a:lnTo>
                  <a:lnTo>
                    <a:pt x="1130170" y="774204"/>
                  </a:lnTo>
                  <a:lnTo>
                    <a:pt x="1130061" y="775103"/>
                  </a:lnTo>
                  <a:lnTo>
                    <a:pt x="1128915" y="777173"/>
                  </a:lnTo>
                  <a:lnTo>
                    <a:pt x="1122704" y="785106"/>
                  </a:lnTo>
                  <a:lnTo>
                    <a:pt x="1122782" y="786085"/>
                  </a:lnTo>
                  <a:lnTo>
                    <a:pt x="1126075" y="785663"/>
                  </a:lnTo>
                  <a:lnTo>
                    <a:pt x="1127619" y="785024"/>
                  </a:lnTo>
                  <a:lnTo>
                    <a:pt x="1128573" y="784071"/>
                  </a:lnTo>
                  <a:lnTo>
                    <a:pt x="1129397" y="781851"/>
                  </a:lnTo>
                  <a:lnTo>
                    <a:pt x="1129950" y="781194"/>
                  </a:lnTo>
                  <a:lnTo>
                    <a:pt x="1139174" y="777448"/>
                  </a:lnTo>
                  <a:lnTo>
                    <a:pt x="1141844" y="776897"/>
                  </a:lnTo>
                  <a:lnTo>
                    <a:pt x="1140178" y="780892"/>
                  </a:lnTo>
                  <a:lnTo>
                    <a:pt x="1136747" y="795094"/>
                  </a:lnTo>
                  <a:lnTo>
                    <a:pt x="1136050" y="800033"/>
                  </a:lnTo>
                  <a:lnTo>
                    <a:pt x="1135297" y="801705"/>
                  </a:lnTo>
                  <a:lnTo>
                    <a:pt x="1131674" y="807124"/>
                  </a:lnTo>
                  <a:lnTo>
                    <a:pt x="1131731" y="809028"/>
                  </a:lnTo>
                  <a:lnTo>
                    <a:pt x="1135694" y="813573"/>
                  </a:lnTo>
                  <a:lnTo>
                    <a:pt x="1136399" y="814810"/>
                  </a:lnTo>
                  <a:lnTo>
                    <a:pt x="1136800" y="818534"/>
                  </a:lnTo>
                  <a:lnTo>
                    <a:pt x="1137504" y="819270"/>
                  </a:lnTo>
                  <a:lnTo>
                    <a:pt x="1140772" y="819311"/>
                  </a:lnTo>
                  <a:lnTo>
                    <a:pt x="1144157" y="818125"/>
                  </a:lnTo>
                  <a:lnTo>
                    <a:pt x="1148193" y="817338"/>
                  </a:lnTo>
                  <a:lnTo>
                    <a:pt x="1148821" y="818115"/>
                  </a:lnTo>
                  <a:lnTo>
                    <a:pt x="1146605" y="822619"/>
                  </a:lnTo>
                  <a:lnTo>
                    <a:pt x="1146728" y="823013"/>
                  </a:lnTo>
                  <a:lnTo>
                    <a:pt x="1150564" y="821857"/>
                  </a:lnTo>
                  <a:lnTo>
                    <a:pt x="1152323" y="821698"/>
                  </a:lnTo>
                  <a:lnTo>
                    <a:pt x="1153042" y="821959"/>
                  </a:lnTo>
                  <a:lnTo>
                    <a:pt x="1155902" y="824259"/>
                  </a:lnTo>
                  <a:lnTo>
                    <a:pt x="1156188" y="825972"/>
                  </a:lnTo>
                  <a:lnTo>
                    <a:pt x="1156127" y="828516"/>
                  </a:lnTo>
                  <a:lnTo>
                    <a:pt x="1155826" y="830350"/>
                  </a:lnTo>
                  <a:lnTo>
                    <a:pt x="1154860" y="831366"/>
                  </a:lnTo>
                  <a:lnTo>
                    <a:pt x="1153712" y="831775"/>
                  </a:lnTo>
                  <a:lnTo>
                    <a:pt x="1152264" y="832079"/>
                  </a:lnTo>
                  <a:lnTo>
                    <a:pt x="1150964" y="831954"/>
                  </a:lnTo>
                  <a:lnTo>
                    <a:pt x="1146957" y="832338"/>
                  </a:lnTo>
                  <a:lnTo>
                    <a:pt x="1144595" y="831848"/>
                  </a:lnTo>
                  <a:lnTo>
                    <a:pt x="1142256" y="830450"/>
                  </a:lnTo>
                  <a:lnTo>
                    <a:pt x="1140596" y="830114"/>
                  </a:lnTo>
                  <a:lnTo>
                    <a:pt x="1138671" y="831191"/>
                  </a:lnTo>
                  <a:lnTo>
                    <a:pt x="1135625" y="831014"/>
                  </a:lnTo>
                  <a:lnTo>
                    <a:pt x="1132205" y="827921"/>
                  </a:lnTo>
                  <a:lnTo>
                    <a:pt x="1130841" y="828213"/>
                  </a:lnTo>
                  <a:lnTo>
                    <a:pt x="1130377" y="828703"/>
                  </a:lnTo>
                  <a:lnTo>
                    <a:pt x="1130434" y="829370"/>
                  </a:lnTo>
                  <a:lnTo>
                    <a:pt x="1131975" y="831368"/>
                  </a:lnTo>
                  <a:lnTo>
                    <a:pt x="1144000" y="841940"/>
                  </a:lnTo>
                  <a:lnTo>
                    <a:pt x="1145825" y="844116"/>
                  </a:lnTo>
                  <a:lnTo>
                    <a:pt x="1146229" y="847241"/>
                  </a:lnTo>
                  <a:lnTo>
                    <a:pt x="1146478" y="847231"/>
                  </a:lnTo>
                  <a:lnTo>
                    <a:pt x="1147603" y="844105"/>
                  </a:lnTo>
                  <a:lnTo>
                    <a:pt x="1146869" y="842590"/>
                  </a:lnTo>
                  <a:lnTo>
                    <a:pt x="1140682" y="836444"/>
                  </a:lnTo>
                  <a:lnTo>
                    <a:pt x="1139940" y="834197"/>
                  </a:lnTo>
                  <a:lnTo>
                    <a:pt x="1140156" y="833585"/>
                  </a:lnTo>
                  <a:lnTo>
                    <a:pt x="1141791" y="832955"/>
                  </a:lnTo>
                  <a:lnTo>
                    <a:pt x="1150598" y="834491"/>
                  </a:lnTo>
                  <a:lnTo>
                    <a:pt x="1154013" y="834156"/>
                  </a:lnTo>
                  <a:lnTo>
                    <a:pt x="1156313" y="833073"/>
                  </a:lnTo>
                  <a:lnTo>
                    <a:pt x="1157468" y="831740"/>
                  </a:lnTo>
                  <a:lnTo>
                    <a:pt x="1158306" y="824390"/>
                  </a:lnTo>
                  <a:lnTo>
                    <a:pt x="1159886" y="819668"/>
                  </a:lnTo>
                  <a:lnTo>
                    <a:pt x="1158952" y="815436"/>
                  </a:lnTo>
                  <a:lnTo>
                    <a:pt x="1156570" y="808680"/>
                  </a:lnTo>
                  <a:lnTo>
                    <a:pt x="1154698" y="804690"/>
                  </a:lnTo>
                  <a:lnTo>
                    <a:pt x="1150379" y="800637"/>
                  </a:lnTo>
                  <a:lnTo>
                    <a:pt x="1149954" y="799182"/>
                  </a:lnTo>
                  <a:lnTo>
                    <a:pt x="1154766" y="786843"/>
                  </a:lnTo>
                  <a:lnTo>
                    <a:pt x="1155632" y="785802"/>
                  </a:lnTo>
                  <a:lnTo>
                    <a:pt x="1156709" y="785354"/>
                  </a:lnTo>
                  <a:lnTo>
                    <a:pt x="1160495" y="785173"/>
                  </a:lnTo>
                  <a:lnTo>
                    <a:pt x="1163255" y="784144"/>
                  </a:lnTo>
                  <a:lnTo>
                    <a:pt x="1167583" y="785583"/>
                  </a:lnTo>
                  <a:lnTo>
                    <a:pt x="1169971" y="785960"/>
                  </a:lnTo>
                  <a:lnTo>
                    <a:pt x="1172928" y="784684"/>
                  </a:lnTo>
                  <a:lnTo>
                    <a:pt x="1179498" y="779479"/>
                  </a:lnTo>
                  <a:lnTo>
                    <a:pt x="1182071" y="777865"/>
                  </a:lnTo>
                  <a:lnTo>
                    <a:pt x="1185344" y="774808"/>
                  </a:lnTo>
                  <a:lnTo>
                    <a:pt x="1189316" y="770309"/>
                  </a:lnTo>
                  <a:lnTo>
                    <a:pt x="1193637" y="767040"/>
                  </a:lnTo>
                  <a:lnTo>
                    <a:pt x="1200635" y="763992"/>
                  </a:lnTo>
                  <a:lnTo>
                    <a:pt x="1204912" y="761535"/>
                  </a:lnTo>
                  <a:lnTo>
                    <a:pt x="1205777" y="760652"/>
                  </a:lnTo>
                  <a:lnTo>
                    <a:pt x="1201799" y="760441"/>
                  </a:lnTo>
                  <a:lnTo>
                    <a:pt x="1200832" y="760026"/>
                  </a:lnTo>
                  <a:lnTo>
                    <a:pt x="1200015" y="757693"/>
                  </a:lnTo>
                  <a:lnTo>
                    <a:pt x="1200429" y="753372"/>
                  </a:lnTo>
                  <a:lnTo>
                    <a:pt x="1200354" y="750963"/>
                  </a:lnTo>
                  <a:lnTo>
                    <a:pt x="1199882" y="748788"/>
                  </a:lnTo>
                  <a:lnTo>
                    <a:pt x="1199010" y="746846"/>
                  </a:lnTo>
                  <a:lnTo>
                    <a:pt x="1197744" y="745136"/>
                  </a:lnTo>
                  <a:lnTo>
                    <a:pt x="1196588" y="744110"/>
                  </a:lnTo>
                  <a:lnTo>
                    <a:pt x="1195546" y="743769"/>
                  </a:lnTo>
                  <a:lnTo>
                    <a:pt x="1194828" y="743926"/>
                  </a:lnTo>
                  <a:lnTo>
                    <a:pt x="1194438" y="744577"/>
                  </a:lnTo>
                  <a:lnTo>
                    <a:pt x="1193374" y="748708"/>
                  </a:lnTo>
                  <a:lnTo>
                    <a:pt x="1192017" y="751741"/>
                  </a:lnTo>
                  <a:lnTo>
                    <a:pt x="1190159" y="753327"/>
                  </a:lnTo>
                  <a:lnTo>
                    <a:pt x="1186303" y="754398"/>
                  </a:lnTo>
                  <a:lnTo>
                    <a:pt x="1179675" y="755184"/>
                  </a:lnTo>
                  <a:lnTo>
                    <a:pt x="1176926" y="753735"/>
                  </a:lnTo>
                  <a:lnTo>
                    <a:pt x="1176579" y="752510"/>
                  </a:lnTo>
                  <a:lnTo>
                    <a:pt x="1177539" y="747706"/>
                  </a:lnTo>
                  <a:lnTo>
                    <a:pt x="1179743" y="745643"/>
                  </a:lnTo>
                  <a:lnTo>
                    <a:pt x="1185805" y="741572"/>
                  </a:lnTo>
                  <a:lnTo>
                    <a:pt x="1189683" y="738309"/>
                  </a:lnTo>
                  <a:lnTo>
                    <a:pt x="1189746" y="737741"/>
                  </a:lnTo>
                  <a:lnTo>
                    <a:pt x="1186180" y="737717"/>
                  </a:lnTo>
                  <a:lnTo>
                    <a:pt x="1185329" y="737045"/>
                  </a:lnTo>
                  <a:lnTo>
                    <a:pt x="1184579" y="733024"/>
                  </a:lnTo>
                  <a:lnTo>
                    <a:pt x="1184786" y="731522"/>
                  </a:lnTo>
                  <a:lnTo>
                    <a:pt x="1185345" y="729800"/>
                  </a:lnTo>
                  <a:lnTo>
                    <a:pt x="1187839" y="728549"/>
                  </a:lnTo>
                  <a:lnTo>
                    <a:pt x="1195495" y="727000"/>
                  </a:lnTo>
                  <a:lnTo>
                    <a:pt x="1201453" y="725180"/>
                  </a:lnTo>
                  <a:lnTo>
                    <a:pt x="1201626" y="725814"/>
                  </a:lnTo>
                  <a:lnTo>
                    <a:pt x="1196850" y="731269"/>
                  </a:lnTo>
                  <a:lnTo>
                    <a:pt x="1196357" y="732531"/>
                  </a:lnTo>
                  <a:lnTo>
                    <a:pt x="1198180" y="733715"/>
                  </a:lnTo>
                  <a:lnTo>
                    <a:pt x="1202771" y="730556"/>
                  </a:lnTo>
                  <a:lnTo>
                    <a:pt x="1205735" y="727948"/>
                  </a:lnTo>
                  <a:lnTo>
                    <a:pt x="1206232" y="727058"/>
                  </a:lnTo>
                  <a:lnTo>
                    <a:pt x="1203542" y="726732"/>
                  </a:lnTo>
                  <a:lnTo>
                    <a:pt x="1203395" y="725652"/>
                  </a:lnTo>
                  <a:lnTo>
                    <a:pt x="1203914" y="723670"/>
                  </a:lnTo>
                  <a:lnTo>
                    <a:pt x="1203664" y="722314"/>
                  </a:lnTo>
                  <a:lnTo>
                    <a:pt x="1200683" y="720602"/>
                  </a:lnTo>
                  <a:lnTo>
                    <a:pt x="1197017" y="721554"/>
                  </a:lnTo>
                  <a:lnTo>
                    <a:pt x="1193957" y="723357"/>
                  </a:lnTo>
                  <a:lnTo>
                    <a:pt x="1191417" y="723847"/>
                  </a:lnTo>
                  <a:lnTo>
                    <a:pt x="1187666" y="723882"/>
                  </a:lnTo>
                  <a:lnTo>
                    <a:pt x="1184938" y="723471"/>
                  </a:lnTo>
                  <a:lnTo>
                    <a:pt x="1183230" y="722612"/>
                  </a:lnTo>
                  <a:lnTo>
                    <a:pt x="1181174" y="720693"/>
                  </a:lnTo>
                  <a:lnTo>
                    <a:pt x="1178773" y="717709"/>
                  </a:lnTo>
                  <a:lnTo>
                    <a:pt x="1175732" y="714731"/>
                  </a:lnTo>
                  <a:lnTo>
                    <a:pt x="1174656" y="714405"/>
                  </a:lnTo>
                  <a:lnTo>
                    <a:pt x="1173732" y="714741"/>
                  </a:lnTo>
                  <a:lnTo>
                    <a:pt x="1171791" y="717619"/>
                  </a:lnTo>
                  <a:lnTo>
                    <a:pt x="1170948" y="717963"/>
                  </a:lnTo>
                  <a:lnTo>
                    <a:pt x="1159041" y="713933"/>
                  </a:lnTo>
                  <a:lnTo>
                    <a:pt x="1153991" y="711668"/>
                  </a:lnTo>
                  <a:lnTo>
                    <a:pt x="1151547" y="709950"/>
                  </a:lnTo>
                  <a:lnTo>
                    <a:pt x="1148510" y="708935"/>
                  </a:lnTo>
                  <a:lnTo>
                    <a:pt x="1144877" y="708625"/>
                  </a:lnTo>
                  <a:lnTo>
                    <a:pt x="1141979" y="707826"/>
                  </a:lnTo>
                  <a:lnTo>
                    <a:pt x="1139819" y="706544"/>
                  </a:lnTo>
                  <a:lnTo>
                    <a:pt x="1138071" y="704704"/>
                  </a:lnTo>
                  <a:lnTo>
                    <a:pt x="1136735" y="702302"/>
                  </a:lnTo>
                  <a:lnTo>
                    <a:pt x="1134261" y="699273"/>
                  </a:lnTo>
                  <a:lnTo>
                    <a:pt x="1128606" y="693231"/>
                  </a:lnTo>
                  <a:lnTo>
                    <a:pt x="1127110" y="689345"/>
                  </a:lnTo>
                  <a:lnTo>
                    <a:pt x="1126902" y="687854"/>
                  </a:lnTo>
                  <a:lnTo>
                    <a:pt x="1127257" y="684013"/>
                  </a:lnTo>
                  <a:lnTo>
                    <a:pt x="1132557" y="677477"/>
                  </a:lnTo>
                  <a:lnTo>
                    <a:pt x="1133543" y="675590"/>
                  </a:lnTo>
                  <a:lnTo>
                    <a:pt x="1135350" y="674199"/>
                  </a:lnTo>
                  <a:lnTo>
                    <a:pt x="1137978" y="673303"/>
                  </a:lnTo>
                  <a:lnTo>
                    <a:pt x="1139870" y="673035"/>
                  </a:lnTo>
                  <a:lnTo>
                    <a:pt x="1144168" y="673865"/>
                  </a:lnTo>
                  <a:lnTo>
                    <a:pt x="1141594" y="671836"/>
                  </a:lnTo>
                  <a:lnTo>
                    <a:pt x="1141391" y="670751"/>
                  </a:lnTo>
                  <a:lnTo>
                    <a:pt x="1143973" y="667190"/>
                  </a:lnTo>
                  <a:lnTo>
                    <a:pt x="1143464" y="667031"/>
                  </a:lnTo>
                  <a:lnTo>
                    <a:pt x="1136364" y="669766"/>
                  </a:lnTo>
                  <a:lnTo>
                    <a:pt x="1134549" y="669581"/>
                  </a:lnTo>
                  <a:lnTo>
                    <a:pt x="1131991" y="667909"/>
                  </a:lnTo>
                  <a:lnTo>
                    <a:pt x="1127172" y="661919"/>
                  </a:lnTo>
                  <a:lnTo>
                    <a:pt x="1127118" y="658179"/>
                  </a:lnTo>
                  <a:lnTo>
                    <a:pt x="1128633" y="652971"/>
                  </a:lnTo>
                  <a:lnTo>
                    <a:pt x="1129164" y="649848"/>
                  </a:lnTo>
                  <a:lnTo>
                    <a:pt x="1127785" y="647188"/>
                  </a:lnTo>
                  <a:lnTo>
                    <a:pt x="1128300" y="646439"/>
                  </a:lnTo>
                  <a:lnTo>
                    <a:pt x="1129795" y="645694"/>
                  </a:lnTo>
                  <a:lnTo>
                    <a:pt x="1130423" y="644892"/>
                  </a:lnTo>
                  <a:lnTo>
                    <a:pt x="1129768" y="641942"/>
                  </a:lnTo>
                  <a:lnTo>
                    <a:pt x="1130804" y="640371"/>
                  </a:lnTo>
                  <a:lnTo>
                    <a:pt x="1134210" y="637319"/>
                  </a:lnTo>
                  <a:lnTo>
                    <a:pt x="1137551" y="634645"/>
                  </a:lnTo>
                  <a:lnTo>
                    <a:pt x="1139518" y="633829"/>
                  </a:lnTo>
                  <a:lnTo>
                    <a:pt x="1141233" y="633980"/>
                  </a:lnTo>
                  <a:lnTo>
                    <a:pt x="1143016" y="634801"/>
                  </a:lnTo>
                  <a:lnTo>
                    <a:pt x="1144872" y="636294"/>
                  </a:lnTo>
                  <a:lnTo>
                    <a:pt x="1148055" y="637830"/>
                  </a:lnTo>
                  <a:lnTo>
                    <a:pt x="1150408" y="638267"/>
                  </a:lnTo>
                  <a:lnTo>
                    <a:pt x="1152140" y="637428"/>
                  </a:lnTo>
                  <a:lnTo>
                    <a:pt x="1155100" y="631669"/>
                  </a:lnTo>
                  <a:lnTo>
                    <a:pt x="1156147" y="630192"/>
                  </a:lnTo>
                  <a:lnTo>
                    <a:pt x="1155154" y="629550"/>
                  </a:lnTo>
                  <a:lnTo>
                    <a:pt x="1149352" y="629611"/>
                  </a:lnTo>
                  <a:lnTo>
                    <a:pt x="1146837" y="629134"/>
                  </a:lnTo>
                  <a:lnTo>
                    <a:pt x="1145392" y="628580"/>
                  </a:lnTo>
                  <a:lnTo>
                    <a:pt x="1144329" y="626375"/>
                  </a:lnTo>
                  <a:lnTo>
                    <a:pt x="1145205" y="625197"/>
                  </a:lnTo>
                  <a:lnTo>
                    <a:pt x="1150830" y="621106"/>
                  </a:lnTo>
                  <a:lnTo>
                    <a:pt x="1153473" y="616805"/>
                  </a:lnTo>
                  <a:lnTo>
                    <a:pt x="1161345" y="610821"/>
                  </a:lnTo>
                  <a:lnTo>
                    <a:pt x="1169314" y="608001"/>
                  </a:lnTo>
                  <a:lnTo>
                    <a:pt x="1173170" y="607076"/>
                  </a:lnTo>
                  <a:close/>
                  <a:moveTo>
                    <a:pt x="1119224" y="549260"/>
                  </a:moveTo>
                  <a:lnTo>
                    <a:pt x="1120979" y="550394"/>
                  </a:lnTo>
                  <a:lnTo>
                    <a:pt x="1121623" y="551762"/>
                  </a:lnTo>
                  <a:lnTo>
                    <a:pt x="1122214" y="552298"/>
                  </a:lnTo>
                  <a:lnTo>
                    <a:pt x="1124711" y="553480"/>
                  </a:lnTo>
                  <a:lnTo>
                    <a:pt x="1125915" y="554841"/>
                  </a:lnTo>
                  <a:lnTo>
                    <a:pt x="1125787" y="556405"/>
                  </a:lnTo>
                  <a:lnTo>
                    <a:pt x="1124979" y="558784"/>
                  </a:lnTo>
                  <a:lnTo>
                    <a:pt x="1124087" y="560306"/>
                  </a:lnTo>
                  <a:lnTo>
                    <a:pt x="1123108" y="560982"/>
                  </a:lnTo>
                  <a:lnTo>
                    <a:pt x="1121255" y="561482"/>
                  </a:lnTo>
                  <a:lnTo>
                    <a:pt x="1117160" y="561960"/>
                  </a:lnTo>
                  <a:lnTo>
                    <a:pt x="1113383" y="558566"/>
                  </a:lnTo>
                  <a:lnTo>
                    <a:pt x="1113259" y="555395"/>
                  </a:lnTo>
                  <a:lnTo>
                    <a:pt x="1113511" y="553645"/>
                  </a:lnTo>
                  <a:lnTo>
                    <a:pt x="1113979" y="552109"/>
                  </a:lnTo>
                  <a:lnTo>
                    <a:pt x="1115355" y="550793"/>
                  </a:lnTo>
                  <a:close/>
                  <a:moveTo>
                    <a:pt x="668493" y="540306"/>
                  </a:moveTo>
                  <a:lnTo>
                    <a:pt x="677022" y="542353"/>
                  </a:lnTo>
                  <a:lnTo>
                    <a:pt x="679442" y="543956"/>
                  </a:lnTo>
                  <a:lnTo>
                    <a:pt x="680519" y="545320"/>
                  </a:lnTo>
                  <a:lnTo>
                    <a:pt x="681455" y="547223"/>
                  </a:lnTo>
                  <a:lnTo>
                    <a:pt x="682255" y="549675"/>
                  </a:lnTo>
                  <a:lnTo>
                    <a:pt x="683365" y="554978"/>
                  </a:lnTo>
                  <a:lnTo>
                    <a:pt x="683506" y="557710"/>
                  </a:lnTo>
                  <a:lnTo>
                    <a:pt x="683314" y="560446"/>
                  </a:lnTo>
                  <a:lnTo>
                    <a:pt x="682780" y="562921"/>
                  </a:lnTo>
                  <a:lnTo>
                    <a:pt x="681908" y="565133"/>
                  </a:lnTo>
                  <a:lnTo>
                    <a:pt x="680170" y="567829"/>
                  </a:lnTo>
                  <a:lnTo>
                    <a:pt x="677568" y="571006"/>
                  </a:lnTo>
                  <a:lnTo>
                    <a:pt x="672053" y="576445"/>
                  </a:lnTo>
                  <a:lnTo>
                    <a:pt x="671452" y="578025"/>
                  </a:lnTo>
                  <a:lnTo>
                    <a:pt x="673061" y="578627"/>
                  </a:lnTo>
                  <a:lnTo>
                    <a:pt x="675994" y="578128"/>
                  </a:lnTo>
                  <a:lnTo>
                    <a:pt x="680253" y="576531"/>
                  </a:lnTo>
                  <a:lnTo>
                    <a:pt x="685746" y="575217"/>
                  </a:lnTo>
                  <a:lnTo>
                    <a:pt x="692475" y="574192"/>
                  </a:lnTo>
                  <a:lnTo>
                    <a:pt x="694257" y="575439"/>
                  </a:lnTo>
                  <a:lnTo>
                    <a:pt x="695375" y="575186"/>
                  </a:lnTo>
                  <a:lnTo>
                    <a:pt x="697353" y="573153"/>
                  </a:lnTo>
                  <a:lnTo>
                    <a:pt x="697706" y="571815"/>
                  </a:lnTo>
                  <a:lnTo>
                    <a:pt x="697458" y="570304"/>
                  </a:lnTo>
                  <a:lnTo>
                    <a:pt x="697572" y="567010"/>
                  </a:lnTo>
                  <a:lnTo>
                    <a:pt x="698626" y="565025"/>
                  </a:lnTo>
                  <a:lnTo>
                    <a:pt x="702619" y="560844"/>
                  </a:lnTo>
                  <a:lnTo>
                    <a:pt x="704758" y="559336"/>
                  </a:lnTo>
                  <a:lnTo>
                    <a:pt x="708169" y="558646"/>
                  </a:lnTo>
                  <a:lnTo>
                    <a:pt x="716279" y="559092"/>
                  </a:lnTo>
                  <a:lnTo>
                    <a:pt x="723883" y="561481"/>
                  </a:lnTo>
                  <a:lnTo>
                    <a:pt x="734169" y="563828"/>
                  </a:lnTo>
                  <a:lnTo>
                    <a:pt x="749197" y="569715"/>
                  </a:lnTo>
                  <a:lnTo>
                    <a:pt x="753906" y="572225"/>
                  </a:lnTo>
                  <a:lnTo>
                    <a:pt x="754396" y="574396"/>
                  </a:lnTo>
                  <a:lnTo>
                    <a:pt x="751730" y="579023"/>
                  </a:lnTo>
                  <a:lnTo>
                    <a:pt x="745256" y="585556"/>
                  </a:lnTo>
                  <a:lnTo>
                    <a:pt x="740054" y="587909"/>
                  </a:lnTo>
                  <a:lnTo>
                    <a:pt x="738048" y="589350"/>
                  </a:lnTo>
                  <a:lnTo>
                    <a:pt x="741434" y="590344"/>
                  </a:lnTo>
                  <a:lnTo>
                    <a:pt x="743628" y="592018"/>
                  </a:lnTo>
                  <a:lnTo>
                    <a:pt x="746963" y="589597"/>
                  </a:lnTo>
                  <a:lnTo>
                    <a:pt x="749402" y="586887"/>
                  </a:lnTo>
                  <a:lnTo>
                    <a:pt x="752855" y="584636"/>
                  </a:lnTo>
                  <a:lnTo>
                    <a:pt x="754032" y="584435"/>
                  </a:lnTo>
                  <a:lnTo>
                    <a:pt x="754320" y="584911"/>
                  </a:lnTo>
                  <a:lnTo>
                    <a:pt x="753718" y="586069"/>
                  </a:lnTo>
                  <a:lnTo>
                    <a:pt x="753462" y="587202"/>
                  </a:lnTo>
                  <a:lnTo>
                    <a:pt x="753551" y="588307"/>
                  </a:lnTo>
                  <a:lnTo>
                    <a:pt x="753948" y="588980"/>
                  </a:lnTo>
                  <a:lnTo>
                    <a:pt x="756065" y="589325"/>
                  </a:lnTo>
                  <a:lnTo>
                    <a:pt x="757198" y="588910"/>
                  </a:lnTo>
                  <a:lnTo>
                    <a:pt x="761786" y="585728"/>
                  </a:lnTo>
                  <a:lnTo>
                    <a:pt x="766284" y="580854"/>
                  </a:lnTo>
                  <a:lnTo>
                    <a:pt x="773105" y="577700"/>
                  </a:lnTo>
                  <a:lnTo>
                    <a:pt x="774963" y="576086"/>
                  </a:lnTo>
                  <a:lnTo>
                    <a:pt x="780901" y="574744"/>
                  </a:lnTo>
                  <a:lnTo>
                    <a:pt x="780828" y="573795"/>
                  </a:lnTo>
                  <a:lnTo>
                    <a:pt x="781102" y="570052"/>
                  </a:lnTo>
                  <a:lnTo>
                    <a:pt x="779025" y="568457"/>
                  </a:lnTo>
                  <a:lnTo>
                    <a:pt x="772064" y="565112"/>
                  </a:lnTo>
                  <a:lnTo>
                    <a:pt x="768620" y="561098"/>
                  </a:lnTo>
                  <a:lnTo>
                    <a:pt x="769345" y="558020"/>
                  </a:lnTo>
                  <a:lnTo>
                    <a:pt x="773189" y="558469"/>
                  </a:lnTo>
                  <a:lnTo>
                    <a:pt x="783702" y="558797"/>
                  </a:lnTo>
                  <a:lnTo>
                    <a:pt x="785888" y="559208"/>
                  </a:lnTo>
                  <a:lnTo>
                    <a:pt x="795993" y="564424"/>
                  </a:lnTo>
                  <a:lnTo>
                    <a:pt x="799563" y="567666"/>
                  </a:lnTo>
                  <a:lnTo>
                    <a:pt x="802403" y="569275"/>
                  </a:lnTo>
                  <a:lnTo>
                    <a:pt x="808367" y="571615"/>
                  </a:lnTo>
                  <a:lnTo>
                    <a:pt x="810368" y="573516"/>
                  </a:lnTo>
                  <a:lnTo>
                    <a:pt x="811778" y="574288"/>
                  </a:lnTo>
                  <a:lnTo>
                    <a:pt x="812266" y="575090"/>
                  </a:lnTo>
                  <a:lnTo>
                    <a:pt x="811829" y="575920"/>
                  </a:lnTo>
                  <a:lnTo>
                    <a:pt x="811599" y="577878"/>
                  </a:lnTo>
                  <a:lnTo>
                    <a:pt x="812706" y="578508"/>
                  </a:lnTo>
                  <a:lnTo>
                    <a:pt x="816584" y="579243"/>
                  </a:lnTo>
                  <a:lnTo>
                    <a:pt x="817671" y="580031"/>
                  </a:lnTo>
                  <a:lnTo>
                    <a:pt x="819108" y="582511"/>
                  </a:lnTo>
                  <a:lnTo>
                    <a:pt x="820898" y="586683"/>
                  </a:lnTo>
                  <a:lnTo>
                    <a:pt x="822454" y="591199"/>
                  </a:lnTo>
                  <a:lnTo>
                    <a:pt x="824908" y="599691"/>
                  </a:lnTo>
                  <a:lnTo>
                    <a:pt x="829806" y="610977"/>
                  </a:lnTo>
                  <a:lnTo>
                    <a:pt x="831480" y="618011"/>
                  </a:lnTo>
                  <a:lnTo>
                    <a:pt x="832042" y="619300"/>
                  </a:lnTo>
                  <a:lnTo>
                    <a:pt x="833146" y="620187"/>
                  </a:lnTo>
                  <a:lnTo>
                    <a:pt x="836287" y="621477"/>
                  </a:lnTo>
                  <a:lnTo>
                    <a:pt x="838708" y="623300"/>
                  </a:lnTo>
                  <a:lnTo>
                    <a:pt x="841561" y="623886"/>
                  </a:lnTo>
                  <a:lnTo>
                    <a:pt x="842255" y="623722"/>
                  </a:lnTo>
                  <a:lnTo>
                    <a:pt x="842965" y="622156"/>
                  </a:lnTo>
                  <a:lnTo>
                    <a:pt x="844745" y="619662"/>
                  </a:lnTo>
                  <a:lnTo>
                    <a:pt x="853374" y="614805"/>
                  </a:lnTo>
                  <a:lnTo>
                    <a:pt x="853822" y="614051"/>
                  </a:lnTo>
                  <a:lnTo>
                    <a:pt x="852803" y="612931"/>
                  </a:lnTo>
                  <a:lnTo>
                    <a:pt x="852490" y="612169"/>
                  </a:lnTo>
                  <a:lnTo>
                    <a:pt x="852615" y="611653"/>
                  </a:lnTo>
                  <a:lnTo>
                    <a:pt x="854412" y="611247"/>
                  </a:lnTo>
                  <a:lnTo>
                    <a:pt x="848413" y="605068"/>
                  </a:lnTo>
                  <a:lnTo>
                    <a:pt x="844526" y="599191"/>
                  </a:lnTo>
                  <a:lnTo>
                    <a:pt x="842037" y="591899"/>
                  </a:lnTo>
                  <a:lnTo>
                    <a:pt x="841657" y="589763"/>
                  </a:lnTo>
                  <a:lnTo>
                    <a:pt x="841285" y="585213"/>
                  </a:lnTo>
                  <a:lnTo>
                    <a:pt x="840476" y="584016"/>
                  </a:lnTo>
                  <a:lnTo>
                    <a:pt x="839101" y="582918"/>
                  </a:lnTo>
                  <a:lnTo>
                    <a:pt x="838526" y="581500"/>
                  </a:lnTo>
                  <a:lnTo>
                    <a:pt x="838750" y="579765"/>
                  </a:lnTo>
                  <a:lnTo>
                    <a:pt x="838479" y="578273"/>
                  </a:lnTo>
                  <a:lnTo>
                    <a:pt x="836887" y="575157"/>
                  </a:lnTo>
                  <a:lnTo>
                    <a:pt x="830774" y="553290"/>
                  </a:lnTo>
                  <a:lnTo>
                    <a:pt x="830794" y="551151"/>
                  </a:lnTo>
                  <a:lnTo>
                    <a:pt x="831638" y="549540"/>
                  </a:lnTo>
                  <a:lnTo>
                    <a:pt x="833815" y="548616"/>
                  </a:lnTo>
                  <a:lnTo>
                    <a:pt x="837324" y="548388"/>
                  </a:lnTo>
                  <a:lnTo>
                    <a:pt x="838433" y="547883"/>
                  </a:lnTo>
                  <a:lnTo>
                    <a:pt x="837143" y="547106"/>
                  </a:lnTo>
                  <a:lnTo>
                    <a:pt x="834850" y="544755"/>
                  </a:lnTo>
                  <a:lnTo>
                    <a:pt x="834548" y="543668"/>
                  </a:lnTo>
                  <a:lnTo>
                    <a:pt x="836078" y="541473"/>
                  </a:lnTo>
                  <a:lnTo>
                    <a:pt x="843914" y="542433"/>
                  </a:lnTo>
                  <a:lnTo>
                    <a:pt x="849587" y="544416"/>
                  </a:lnTo>
                  <a:lnTo>
                    <a:pt x="859294" y="549098"/>
                  </a:lnTo>
                  <a:lnTo>
                    <a:pt x="860285" y="548842"/>
                  </a:lnTo>
                  <a:lnTo>
                    <a:pt x="861346" y="546512"/>
                  </a:lnTo>
                  <a:lnTo>
                    <a:pt x="863419" y="545017"/>
                  </a:lnTo>
                  <a:lnTo>
                    <a:pt x="866523" y="545510"/>
                  </a:lnTo>
                  <a:lnTo>
                    <a:pt x="875302" y="548901"/>
                  </a:lnTo>
                  <a:lnTo>
                    <a:pt x="885457" y="554934"/>
                  </a:lnTo>
                  <a:lnTo>
                    <a:pt x="892277" y="557901"/>
                  </a:lnTo>
                  <a:lnTo>
                    <a:pt x="897058" y="561923"/>
                  </a:lnTo>
                  <a:lnTo>
                    <a:pt x="900309" y="565712"/>
                  </a:lnTo>
                  <a:lnTo>
                    <a:pt x="902358" y="568635"/>
                  </a:lnTo>
                  <a:lnTo>
                    <a:pt x="902446" y="569776"/>
                  </a:lnTo>
                  <a:lnTo>
                    <a:pt x="901978" y="570943"/>
                  </a:lnTo>
                  <a:lnTo>
                    <a:pt x="902460" y="572465"/>
                  </a:lnTo>
                  <a:lnTo>
                    <a:pt x="903894" y="574340"/>
                  </a:lnTo>
                  <a:lnTo>
                    <a:pt x="904689" y="576016"/>
                  </a:lnTo>
                  <a:lnTo>
                    <a:pt x="905339" y="579581"/>
                  </a:lnTo>
                  <a:lnTo>
                    <a:pt x="906622" y="584219"/>
                  </a:lnTo>
                  <a:lnTo>
                    <a:pt x="906948" y="586535"/>
                  </a:lnTo>
                  <a:lnTo>
                    <a:pt x="915969" y="607216"/>
                  </a:lnTo>
                  <a:lnTo>
                    <a:pt x="917694" y="610846"/>
                  </a:lnTo>
                  <a:lnTo>
                    <a:pt x="918793" y="612527"/>
                  </a:lnTo>
                  <a:lnTo>
                    <a:pt x="925098" y="620455"/>
                  </a:lnTo>
                  <a:lnTo>
                    <a:pt x="928455" y="626196"/>
                  </a:lnTo>
                  <a:lnTo>
                    <a:pt x="928779" y="630029"/>
                  </a:lnTo>
                  <a:lnTo>
                    <a:pt x="929230" y="631125"/>
                  </a:lnTo>
                  <a:lnTo>
                    <a:pt x="929377" y="632889"/>
                  </a:lnTo>
                  <a:lnTo>
                    <a:pt x="929218" y="635313"/>
                  </a:lnTo>
                  <a:lnTo>
                    <a:pt x="928481" y="637391"/>
                  </a:lnTo>
                  <a:lnTo>
                    <a:pt x="927165" y="639128"/>
                  </a:lnTo>
                  <a:lnTo>
                    <a:pt x="925891" y="641569"/>
                  </a:lnTo>
                  <a:lnTo>
                    <a:pt x="923963" y="646939"/>
                  </a:lnTo>
                  <a:lnTo>
                    <a:pt x="923798" y="648255"/>
                  </a:lnTo>
                  <a:lnTo>
                    <a:pt x="925187" y="650101"/>
                  </a:lnTo>
                  <a:lnTo>
                    <a:pt x="934009" y="656447"/>
                  </a:lnTo>
                  <a:lnTo>
                    <a:pt x="939420" y="664042"/>
                  </a:lnTo>
                  <a:lnTo>
                    <a:pt x="941956" y="665372"/>
                  </a:lnTo>
                  <a:lnTo>
                    <a:pt x="948774" y="670106"/>
                  </a:lnTo>
                  <a:lnTo>
                    <a:pt x="956125" y="672788"/>
                  </a:lnTo>
                  <a:lnTo>
                    <a:pt x="958597" y="673942"/>
                  </a:lnTo>
                  <a:lnTo>
                    <a:pt x="960934" y="675641"/>
                  </a:lnTo>
                  <a:lnTo>
                    <a:pt x="961640" y="675705"/>
                  </a:lnTo>
                  <a:lnTo>
                    <a:pt x="963059" y="675385"/>
                  </a:lnTo>
                  <a:lnTo>
                    <a:pt x="963465" y="674922"/>
                  </a:lnTo>
                  <a:lnTo>
                    <a:pt x="963566" y="674233"/>
                  </a:lnTo>
                  <a:lnTo>
                    <a:pt x="961496" y="670647"/>
                  </a:lnTo>
                  <a:lnTo>
                    <a:pt x="961351" y="669240"/>
                  </a:lnTo>
                  <a:lnTo>
                    <a:pt x="962340" y="668993"/>
                  </a:lnTo>
                  <a:lnTo>
                    <a:pt x="969924" y="675108"/>
                  </a:lnTo>
                  <a:lnTo>
                    <a:pt x="974014" y="677538"/>
                  </a:lnTo>
                  <a:lnTo>
                    <a:pt x="979603" y="680082"/>
                  </a:lnTo>
                  <a:lnTo>
                    <a:pt x="989210" y="685936"/>
                  </a:lnTo>
                  <a:lnTo>
                    <a:pt x="990545" y="686416"/>
                  </a:lnTo>
                  <a:lnTo>
                    <a:pt x="995743" y="685877"/>
                  </a:lnTo>
                  <a:lnTo>
                    <a:pt x="997161" y="686246"/>
                  </a:lnTo>
                  <a:lnTo>
                    <a:pt x="998052" y="686825"/>
                  </a:lnTo>
                  <a:lnTo>
                    <a:pt x="998416" y="687612"/>
                  </a:lnTo>
                  <a:lnTo>
                    <a:pt x="998627" y="691069"/>
                  </a:lnTo>
                  <a:lnTo>
                    <a:pt x="1000049" y="692771"/>
                  </a:lnTo>
                  <a:lnTo>
                    <a:pt x="1008246" y="692045"/>
                  </a:lnTo>
                  <a:lnTo>
                    <a:pt x="1010543" y="692197"/>
                  </a:lnTo>
                  <a:lnTo>
                    <a:pt x="1012008" y="692740"/>
                  </a:lnTo>
                  <a:lnTo>
                    <a:pt x="1013227" y="693872"/>
                  </a:lnTo>
                  <a:lnTo>
                    <a:pt x="1014985" y="697563"/>
                  </a:lnTo>
                  <a:lnTo>
                    <a:pt x="1016615" y="704825"/>
                  </a:lnTo>
                  <a:lnTo>
                    <a:pt x="1016701" y="707422"/>
                  </a:lnTo>
                  <a:lnTo>
                    <a:pt x="1015955" y="711772"/>
                  </a:lnTo>
                  <a:lnTo>
                    <a:pt x="1014757" y="713368"/>
                  </a:lnTo>
                  <a:lnTo>
                    <a:pt x="1013202" y="713873"/>
                  </a:lnTo>
                  <a:lnTo>
                    <a:pt x="1008827" y="713380"/>
                  </a:lnTo>
                  <a:lnTo>
                    <a:pt x="1005757" y="712000"/>
                  </a:lnTo>
                  <a:lnTo>
                    <a:pt x="1004165" y="710241"/>
                  </a:lnTo>
                  <a:lnTo>
                    <a:pt x="1002728" y="706420"/>
                  </a:lnTo>
                  <a:lnTo>
                    <a:pt x="1002041" y="705684"/>
                  </a:lnTo>
                  <a:lnTo>
                    <a:pt x="1001418" y="706453"/>
                  </a:lnTo>
                  <a:lnTo>
                    <a:pt x="999981" y="709953"/>
                  </a:lnTo>
                  <a:lnTo>
                    <a:pt x="999032" y="711502"/>
                  </a:lnTo>
                  <a:lnTo>
                    <a:pt x="997888" y="712529"/>
                  </a:lnTo>
                  <a:lnTo>
                    <a:pt x="995709" y="712275"/>
                  </a:lnTo>
                  <a:lnTo>
                    <a:pt x="992497" y="710746"/>
                  </a:lnTo>
                  <a:lnTo>
                    <a:pt x="986470" y="706840"/>
                  </a:lnTo>
                  <a:lnTo>
                    <a:pt x="984336" y="705876"/>
                  </a:lnTo>
                  <a:lnTo>
                    <a:pt x="983011" y="706043"/>
                  </a:lnTo>
                  <a:lnTo>
                    <a:pt x="980127" y="707365"/>
                  </a:lnTo>
                  <a:lnTo>
                    <a:pt x="975679" y="709839"/>
                  </a:lnTo>
                  <a:lnTo>
                    <a:pt x="973843" y="711655"/>
                  </a:lnTo>
                  <a:lnTo>
                    <a:pt x="974621" y="712814"/>
                  </a:lnTo>
                  <a:lnTo>
                    <a:pt x="975135" y="714273"/>
                  </a:lnTo>
                  <a:lnTo>
                    <a:pt x="975391" y="716029"/>
                  </a:lnTo>
                  <a:lnTo>
                    <a:pt x="975238" y="717321"/>
                  </a:lnTo>
                  <a:lnTo>
                    <a:pt x="974674" y="718152"/>
                  </a:lnTo>
                  <a:lnTo>
                    <a:pt x="973204" y="719144"/>
                  </a:lnTo>
                  <a:lnTo>
                    <a:pt x="970098" y="719313"/>
                  </a:lnTo>
                  <a:lnTo>
                    <a:pt x="965630" y="718554"/>
                  </a:lnTo>
                  <a:lnTo>
                    <a:pt x="962096" y="717204"/>
                  </a:lnTo>
                  <a:lnTo>
                    <a:pt x="955908" y="713619"/>
                  </a:lnTo>
                  <a:lnTo>
                    <a:pt x="954486" y="713123"/>
                  </a:lnTo>
                  <a:lnTo>
                    <a:pt x="952573" y="713919"/>
                  </a:lnTo>
                  <a:lnTo>
                    <a:pt x="951809" y="714963"/>
                  </a:lnTo>
                  <a:lnTo>
                    <a:pt x="952998" y="716451"/>
                  </a:lnTo>
                  <a:lnTo>
                    <a:pt x="956141" y="718383"/>
                  </a:lnTo>
                  <a:lnTo>
                    <a:pt x="959985" y="721580"/>
                  </a:lnTo>
                  <a:lnTo>
                    <a:pt x="961014" y="722204"/>
                  </a:lnTo>
                  <a:lnTo>
                    <a:pt x="962006" y="722135"/>
                  </a:lnTo>
                  <a:lnTo>
                    <a:pt x="962356" y="722723"/>
                  </a:lnTo>
                  <a:lnTo>
                    <a:pt x="962790" y="724440"/>
                  </a:lnTo>
                  <a:lnTo>
                    <a:pt x="962588" y="727393"/>
                  </a:lnTo>
                  <a:lnTo>
                    <a:pt x="960740" y="733275"/>
                  </a:lnTo>
                  <a:lnTo>
                    <a:pt x="960548" y="734675"/>
                  </a:lnTo>
                  <a:lnTo>
                    <a:pt x="961306" y="734344"/>
                  </a:lnTo>
                  <a:lnTo>
                    <a:pt x="966536" y="728568"/>
                  </a:lnTo>
                  <a:lnTo>
                    <a:pt x="969240" y="726944"/>
                  </a:lnTo>
                  <a:lnTo>
                    <a:pt x="975096" y="724396"/>
                  </a:lnTo>
                  <a:lnTo>
                    <a:pt x="977625" y="722520"/>
                  </a:lnTo>
                  <a:lnTo>
                    <a:pt x="985114" y="722010"/>
                  </a:lnTo>
                  <a:lnTo>
                    <a:pt x="987788" y="723034"/>
                  </a:lnTo>
                  <a:lnTo>
                    <a:pt x="989505" y="724817"/>
                  </a:lnTo>
                  <a:lnTo>
                    <a:pt x="989574" y="725625"/>
                  </a:lnTo>
                  <a:lnTo>
                    <a:pt x="987612" y="727711"/>
                  </a:lnTo>
                  <a:lnTo>
                    <a:pt x="987256" y="728756"/>
                  </a:lnTo>
                  <a:lnTo>
                    <a:pt x="987155" y="730075"/>
                  </a:lnTo>
                  <a:lnTo>
                    <a:pt x="987330" y="731258"/>
                  </a:lnTo>
                  <a:lnTo>
                    <a:pt x="987784" y="732306"/>
                  </a:lnTo>
                  <a:lnTo>
                    <a:pt x="989131" y="733272"/>
                  </a:lnTo>
                  <a:lnTo>
                    <a:pt x="991511" y="732850"/>
                  </a:lnTo>
                  <a:lnTo>
                    <a:pt x="992177" y="733098"/>
                  </a:lnTo>
                  <a:lnTo>
                    <a:pt x="993454" y="734118"/>
                  </a:lnTo>
                  <a:lnTo>
                    <a:pt x="994297" y="735699"/>
                  </a:lnTo>
                  <a:lnTo>
                    <a:pt x="994334" y="737899"/>
                  </a:lnTo>
                  <a:lnTo>
                    <a:pt x="992576" y="742719"/>
                  </a:lnTo>
                  <a:lnTo>
                    <a:pt x="989445" y="744294"/>
                  </a:lnTo>
                  <a:lnTo>
                    <a:pt x="979855" y="747209"/>
                  </a:lnTo>
                  <a:lnTo>
                    <a:pt x="976569" y="748715"/>
                  </a:lnTo>
                  <a:lnTo>
                    <a:pt x="970232" y="749774"/>
                  </a:lnTo>
                  <a:lnTo>
                    <a:pt x="967784" y="751180"/>
                  </a:lnTo>
                  <a:lnTo>
                    <a:pt x="966258" y="751607"/>
                  </a:lnTo>
                  <a:lnTo>
                    <a:pt x="959483" y="751382"/>
                  </a:lnTo>
                  <a:lnTo>
                    <a:pt x="951724" y="752274"/>
                  </a:lnTo>
                  <a:lnTo>
                    <a:pt x="942796" y="750528"/>
                  </a:lnTo>
                  <a:lnTo>
                    <a:pt x="936532" y="749749"/>
                  </a:lnTo>
                  <a:lnTo>
                    <a:pt x="929298" y="746973"/>
                  </a:lnTo>
                  <a:lnTo>
                    <a:pt x="926572" y="747673"/>
                  </a:lnTo>
                  <a:lnTo>
                    <a:pt x="923751" y="749459"/>
                  </a:lnTo>
                  <a:lnTo>
                    <a:pt x="910200" y="747318"/>
                  </a:lnTo>
                  <a:lnTo>
                    <a:pt x="908591" y="745766"/>
                  </a:lnTo>
                  <a:lnTo>
                    <a:pt x="909122" y="744756"/>
                  </a:lnTo>
                  <a:lnTo>
                    <a:pt x="912335" y="741451"/>
                  </a:lnTo>
                  <a:lnTo>
                    <a:pt x="912539" y="740758"/>
                  </a:lnTo>
                  <a:lnTo>
                    <a:pt x="912388" y="740172"/>
                  </a:lnTo>
                  <a:lnTo>
                    <a:pt x="906231" y="739604"/>
                  </a:lnTo>
                  <a:lnTo>
                    <a:pt x="899368" y="737843"/>
                  </a:lnTo>
                  <a:lnTo>
                    <a:pt x="892473" y="736969"/>
                  </a:lnTo>
                  <a:lnTo>
                    <a:pt x="887314" y="737217"/>
                  </a:lnTo>
                  <a:lnTo>
                    <a:pt x="883955" y="736574"/>
                  </a:lnTo>
                  <a:lnTo>
                    <a:pt x="880677" y="735123"/>
                  </a:lnTo>
                  <a:lnTo>
                    <a:pt x="878876" y="733794"/>
                  </a:lnTo>
                  <a:lnTo>
                    <a:pt x="878553" y="732594"/>
                  </a:lnTo>
                  <a:lnTo>
                    <a:pt x="878508" y="731281"/>
                  </a:lnTo>
                  <a:lnTo>
                    <a:pt x="878800" y="728643"/>
                  </a:lnTo>
                  <a:lnTo>
                    <a:pt x="878365" y="726789"/>
                  </a:lnTo>
                  <a:lnTo>
                    <a:pt x="876879" y="725324"/>
                  </a:lnTo>
                  <a:lnTo>
                    <a:pt x="873840" y="724011"/>
                  </a:lnTo>
                  <a:lnTo>
                    <a:pt x="870816" y="724167"/>
                  </a:lnTo>
                  <a:lnTo>
                    <a:pt x="868258" y="725621"/>
                  </a:lnTo>
                  <a:lnTo>
                    <a:pt x="865827" y="728300"/>
                  </a:lnTo>
                  <a:lnTo>
                    <a:pt x="861324" y="735738"/>
                  </a:lnTo>
                  <a:lnTo>
                    <a:pt x="859064" y="737008"/>
                  </a:lnTo>
                  <a:lnTo>
                    <a:pt x="853210" y="742376"/>
                  </a:lnTo>
                  <a:lnTo>
                    <a:pt x="851017" y="743689"/>
                  </a:lnTo>
                  <a:lnTo>
                    <a:pt x="840279" y="745811"/>
                  </a:lnTo>
                  <a:lnTo>
                    <a:pt x="827559" y="746680"/>
                  </a:lnTo>
                  <a:lnTo>
                    <a:pt x="822804" y="748337"/>
                  </a:lnTo>
                  <a:lnTo>
                    <a:pt x="818294" y="751438"/>
                  </a:lnTo>
                  <a:lnTo>
                    <a:pt x="812830" y="754430"/>
                  </a:lnTo>
                  <a:lnTo>
                    <a:pt x="799487" y="758102"/>
                  </a:lnTo>
                  <a:lnTo>
                    <a:pt x="787154" y="760150"/>
                  </a:lnTo>
                  <a:lnTo>
                    <a:pt x="774245" y="761044"/>
                  </a:lnTo>
                  <a:lnTo>
                    <a:pt x="764598" y="762436"/>
                  </a:lnTo>
                  <a:lnTo>
                    <a:pt x="761829" y="761741"/>
                  </a:lnTo>
                  <a:lnTo>
                    <a:pt x="757510" y="761999"/>
                  </a:lnTo>
                  <a:lnTo>
                    <a:pt x="752861" y="764038"/>
                  </a:lnTo>
                  <a:lnTo>
                    <a:pt x="747609" y="764434"/>
                  </a:lnTo>
                  <a:lnTo>
                    <a:pt x="727657" y="765175"/>
                  </a:lnTo>
                  <a:lnTo>
                    <a:pt x="718496" y="766537"/>
                  </a:lnTo>
                  <a:lnTo>
                    <a:pt x="713475" y="766896"/>
                  </a:lnTo>
                  <a:lnTo>
                    <a:pt x="709538" y="766709"/>
                  </a:lnTo>
                  <a:lnTo>
                    <a:pt x="706794" y="766146"/>
                  </a:lnTo>
                  <a:lnTo>
                    <a:pt x="704166" y="764331"/>
                  </a:lnTo>
                  <a:lnTo>
                    <a:pt x="701460" y="761539"/>
                  </a:lnTo>
                  <a:lnTo>
                    <a:pt x="695964" y="754087"/>
                  </a:lnTo>
                  <a:lnTo>
                    <a:pt x="694392" y="750950"/>
                  </a:lnTo>
                  <a:lnTo>
                    <a:pt x="695008" y="745567"/>
                  </a:lnTo>
                  <a:lnTo>
                    <a:pt x="694602" y="742443"/>
                  </a:lnTo>
                  <a:lnTo>
                    <a:pt x="692774" y="735685"/>
                  </a:lnTo>
                  <a:lnTo>
                    <a:pt x="692432" y="735103"/>
                  </a:lnTo>
                  <a:lnTo>
                    <a:pt x="682814" y="732590"/>
                  </a:lnTo>
                  <a:lnTo>
                    <a:pt x="676487" y="731794"/>
                  </a:lnTo>
                  <a:lnTo>
                    <a:pt x="666950" y="731633"/>
                  </a:lnTo>
                  <a:lnTo>
                    <a:pt x="655288" y="731990"/>
                  </a:lnTo>
                  <a:lnTo>
                    <a:pt x="643646" y="731177"/>
                  </a:lnTo>
                  <a:lnTo>
                    <a:pt x="637494" y="730256"/>
                  </a:lnTo>
                  <a:lnTo>
                    <a:pt x="631388" y="728754"/>
                  </a:lnTo>
                  <a:lnTo>
                    <a:pt x="620943" y="724839"/>
                  </a:lnTo>
                  <a:lnTo>
                    <a:pt x="620352" y="724437"/>
                  </a:lnTo>
                  <a:lnTo>
                    <a:pt x="619541" y="723131"/>
                  </a:lnTo>
                  <a:lnTo>
                    <a:pt x="618509" y="720918"/>
                  </a:lnTo>
                  <a:lnTo>
                    <a:pt x="615909" y="718034"/>
                  </a:lnTo>
                  <a:lnTo>
                    <a:pt x="608791" y="711588"/>
                  </a:lnTo>
                  <a:lnTo>
                    <a:pt x="605970" y="707760"/>
                  </a:lnTo>
                  <a:lnTo>
                    <a:pt x="605514" y="706783"/>
                  </a:lnTo>
                  <a:lnTo>
                    <a:pt x="604838" y="703967"/>
                  </a:lnTo>
                  <a:lnTo>
                    <a:pt x="603941" y="699306"/>
                  </a:lnTo>
                  <a:lnTo>
                    <a:pt x="603652" y="696448"/>
                  </a:lnTo>
                  <a:lnTo>
                    <a:pt x="604480" y="694703"/>
                  </a:lnTo>
                  <a:lnTo>
                    <a:pt x="605173" y="694356"/>
                  </a:lnTo>
                  <a:lnTo>
                    <a:pt x="619921" y="690950"/>
                  </a:lnTo>
                  <a:lnTo>
                    <a:pt x="645904" y="687210"/>
                  </a:lnTo>
                  <a:lnTo>
                    <a:pt x="669657" y="684688"/>
                  </a:lnTo>
                  <a:lnTo>
                    <a:pt x="680442" y="684915"/>
                  </a:lnTo>
                  <a:lnTo>
                    <a:pt x="686792" y="686098"/>
                  </a:lnTo>
                  <a:lnTo>
                    <a:pt x="693157" y="686638"/>
                  </a:lnTo>
                  <a:lnTo>
                    <a:pt x="704690" y="686905"/>
                  </a:lnTo>
                  <a:lnTo>
                    <a:pt x="719214" y="688663"/>
                  </a:lnTo>
                  <a:lnTo>
                    <a:pt x="722133" y="688512"/>
                  </a:lnTo>
                  <a:lnTo>
                    <a:pt x="728646" y="687322"/>
                  </a:lnTo>
                  <a:lnTo>
                    <a:pt x="730580" y="686369"/>
                  </a:lnTo>
                  <a:lnTo>
                    <a:pt x="740874" y="686491"/>
                  </a:lnTo>
                  <a:lnTo>
                    <a:pt x="742872" y="685905"/>
                  </a:lnTo>
                  <a:lnTo>
                    <a:pt x="744706" y="684852"/>
                  </a:lnTo>
                  <a:lnTo>
                    <a:pt x="742341" y="682879"/>
                  </a:lnTo>
                  <a:lnTo>
                    <a:pt x="732494" y="678543"/>
                  </a:lnTo>
                  <a:lnTo>
                    <a:pt x="706343" y="670772"/>
                  </a:lnTo>
                  <a:lnTo>
                    <a:pt x="699965" y="669117"/>
                  </a:lnTo>
                  <a:lnTo>
                    <a:pt x="690830" y="667354"/>
                  </a:lnTo>
                  <a:lnTo>
                    <a:pt x="685537" y="667103"/>
                  </a:lnTo>
                  <a:lnTo>
                    <a:pt x="678790" y="668111"/>
                  </a:lnTo>
                  <a:lnTo>
                    <a:pt x="676274" y="668066"/>
                  </a:lnTo>
                  <a:lnTo>
                    <a:pt x="669649" y="669584"/>
                  </a:lnTo>
                  <a:lnTo>
                    <a:pt x="663358" y="670542"/>
                  </a:lnTo>
                  <a:lnTo>
                    <a:pt x="651428" y="671469"/>
                  </a:lnTo>
                  <a:lnTo>
                    <a:pt x="634194" y="672154"/>
                  </a:lnTo>
                  <a:lnTo>
                    <a:pt x="631781" y="671952"/>
                  </a:lnTo>
                  <a:lnTo>
                    <a:pt x="628237" y="670770"/>
                  </a:lnTo>
                  <a:lnTo>
                    <a:pt x="625665" y="670434"/>
                  </a:lnTo>
                  <a:lnTo>
                    <a:pt x="608796" y="671356"/>
                  </a:lnTo>
                  <a:lnTo>
                    <a:pt x="593721" y="670167"/>
                  </a:lnTo>
                  <a:lnTo>
                    <a:pt x="576555" y="658244"/>
                  </a:lnTo>
                  <a:lnTo>
                    <a:pt x="573704" y="654573"/>
                  </a:lnTo>
                  <a:lnTo>
                    <a:pt x="574312" y="653077"/>
                  </a:lnTo>
                  <a:lnTo>
                    <a:pt x="576428" y="651470"/>
                  </a:lnTo>
                  <a:lnTo>
                    <a:pt x="584928" y="646834"/>
                  </a:lnTo>
                  <a:lnTo>
                    <a:pt x="587965" y="645730"/>
                  </a:lnTo>
                  <a:lnTo>
                    <a:pt x="600647" y="643235"/>
                  </a:lnTo>
                  <a:lnTo>
                    <a:pt x="613290" y="640215"/>
                  </a:lnTo>
                  <a:lnTo>
                    <a:pt x="623275" y="637370"/>
                  </a:lnTo>
                  <a:lnTo>
                    <a:pt x="628177" y="636382"/>
                  </a:lnTo>
                  <a:lnTo>
                    <a:pt x="632897" y="636266"/>
                  </a:lnTo>
                  <a:lnTo>
                    <a:pt x="636711" y="635327"/>
                  </a:lnTo>
                  <a:lnTo>
                    <a:pt x="635935" y="634426"/>
                  </a:lnTo>
                  <a:lnTo>
                    <a:pt x="632814" y="633397"/>
                  </a:lnTo>
                  <a:lnTo>
                    <a:pt x="632849" y="631938"/>
                  </a:lnTo>
                  <a:lnTo>
                    <a:pt x="634463" y="631238"/>
                  </a:lnTo>
                  <a:lnTo>
                    <a:pt x="640715" y="630497"/>
                  </a:lnTo>
                  <a:lnTo>
                    <a:pt x="647355" y="631399"/>
                  </a:lnTo>
                  <a:lnTo>
                    <a:pt x="650673" y="631092"/>
                  </a:lnTo>
                  <a:lnTo>
                    <a:pt x="651626" y="630096"/>
                  </a:lnTo>
                  <a:lnTo>
                    <a:pt x="650746" y="629291"/>
                  </a:lnTo>
                  <a:lnTo>
                    <a:pt x="644444" y="627628"/>
                  </a:lnTo>
                  <a:lnTo>
                    <a:pt x="614179" y="632411"/>
                  </a:lnTo>
                  <a:lnTo>
                    <a:pt x="600059" y="632859"/>
                  </a:lnTo>
                  <a:lnTo>
                    <a:pt x="590266" y="634912"/>
                  </a:lnTo>
                  <a:lnTo>
                    <a:pt x="584883" y="634845"/>
                  </a:lnTo>
                  <a:lnTo>
                    <a:pt x="578479" y="632797"/>
                  </a:lnTo>
                  <a:lnTo>
                    <a:pt x="577625" y="632183"/>
                  </a:lnTo>
                  <a:lnTo>
                    <a:pt x="577508" y="631341"/>
                  </a:lnTo>
                  <a:lnTo>
                    <a:pt x="579490" y="628596"/>
                  </a:lnTo>
                  <a:lnTo>
                    <a:pt x="586333" y="626951"/>
                  </a:lnTo>
                  <a:lnTo>
                    <a:pt x="589784" y="622330"/>
                  </a:lnTo>
                  <a:lnTo>
                    <a:pt x="586102" y="622250"/>
                  </a:lnTo>
                  <a:lnTo>
                    <a:pt x="573829" y="623240"/>
                  </a:lnTo>
                  <a:lnTo>
                    <a:pt x="568467" y="622814"/>
                  </a:lnTo>
                  <a:lnTo>
                    <a:pt x="561231" y="621040"/>
                  </a:lnTo>
                  <a:lnTo>
                    <a:pt x="559109" y="618926"/>
                  </a:lnTo>
                  <a:lnTo>
                    <a:pt x="558206" y="617396"/>
                  </a:lnTo>
                  <a:lnTo>
                    <a:pt x="558053" y="615570"/>
                  </a:lnTo>
                  <a:lnTo>
                    <a:pt x="558296" y="610378"/>
                  </a:lnTo>
                  <a:lnTo>
                    <a:pt x="558913" y="607583"/>
                  </a:lnTo>
                  <a:lnTo>
                    <a:pt x="559298" y="606952"/>
                  </a:lnTo>
                  <a:lnTo>
                    <a:pt x="568294" y="598328"/>
                  </a:lnTo>
                  <a:lnTo>
                    <a:pt x="573903" y="596523"/>
                  </a:lnTo>
                  <a:lnTo>
                    <a:pt x="577838" y="593792"/>
                  </a:lnTo>
                  <a:lnTo>
                    <a:pt x="577990" y="592648"/>
                  </a:lnTo>
                  <a:lnTo>
                    <a:pt x="577016" y="591499"/>
                  </a:lnTo>
                  <a:lnTo>
                    <a:pt x="573350" y="588710"/>
                  </a:lnTo>
                  <a:lnTo>
                    <a:pt x="571875" y="587293"/>
                  </a:lnTo>
                  <a:lnTo>
                    <a:pt x="571047" y="585933"/>
                  </a:lnTo>
                  <a:lnTo>
                    <a:pt x="571673" y="583791"/>
                  </a:lnTo>
                  <a:lnTo>
                    <a:pt x="573755" y="580854"/>
                  </a:lnTo>
                  <a:lnTo>
                    <a:pt x="579876" y="576111"/>
                  </a:lnTo>
                  <a:lnTo>
                    <a:pt x="594618" y="566574"/>
                  </a:lnTo>
                  <a:lnTo>
                    <a:pt x="602104" y="562555"/>
                  </a:lnTo>
                  <a:lnTo>
                    <a:pt x="609325" y="560384"/>
                  </a:lnTo>
                  <a:lnTo>
                    <a:pt x="619429" y="555757"/>
                  </a:lnTo>
                  <a:lnTo>
                    <a:pt x="645318" y="548061"/>
                  </a:lnTo>
                  <a:close/>
                  <a:moveTo>
                    <a:pt x="904822" y="520966"/>
                  </a:moveTo>
                  <a:lnTo>
                    <a:pt x="909983" y="522084"/>
                  </a:lnTo>
                  <a:lnTo>
                    <a:pt x="917077" y="526863"/>
                  </a:lnTo>
                  <a:lnTo>
                    <a:pt x="920028" y="527401"/>
                  </a:lnTo>
                  <a:lnTo>
                    <a:pt x="921791" y="528476"/>
                  </a:lnTo>
                  <a:lnTo>
                    <a:pt x="923343" y="530258"/>
                  </a:lnTo>
                  <a:lnTo>
                    <a:pt x="924167" y="532070"/>
                  </a:lnTo>
                  <a:lnTo>
                    <a:pt x="924236" y="535767"/>
                  </a:lnTo>
                  <a:lnTo>
                    <a:pt x="923462" y="541222"/>
                  </a:lnTo>
                  <a:lnTo>
                    <a:pt x="922477" y="543308"/>
                  </a:lnTo>
                  <a:lnTo>
                    <a:pt x="918183" y="550290"/>
                  </a:lnTo>
                  <a:lnTo>
                    <a:pt x="913680" y="554122"/>
                  </a:lnTo>
                  <a:lnTo>
                    <a:pt x="912819" y="556599"/>
                  </a:lnTo>
                  <a:lnTo>
                    <a:pt x="910993" y="558561"/>
                  </a:lnTo>
                  <a:lnTo>
                    <a:pt x="907797" y="560965"/>
                  </a:lnTo>
                  <a:lnTo>
                    <a:pt x="905559" y="562288"/>
                  </a:lnTo>
                  <a:lnTo>
                    <a:pt x="904280" y="562531"/>
                  </a:lnTo>
                  <a:lnTo>
                    <a:pt x="901878" y="561415"/>
                  </a:lnTo>
                  <a:lnTo>
                    <a:pt x="898355" y="558935"/>
                  </a:lnTo>
                  <a:lnTo>
                    <a:pt x="892595" y="553896"/>
                  </a:lnTo>
                  <a:lnTo>
                    <a:pt x="885726" y="548892"/>
                  </a:lnTo>
                  <a:lnTo>
                    <a:pt x="884671" y="545890"/>
                  </a:lnTo>
                  <a:lnTo>
                    <a:pt x="882963" y="543650"/>
                  </a:lnTo>
                  <a:lnTo>
                    <a:pt x="874197" y="538318"/>
                  </a:lnTo>
                  <a:lnTo>
                    <a:pt x="868501" y="536151"/>
                  </a:lnTo>
                  <a:lnTo>
                    <a:pt x="864161" y="535070"/>
                  </a:lnTo>
                  <a:lnTo>
                    <a:pt x="863448" y="533575"/>
                  </a:lnTo>
                  <a:lnTo>
                    <a:pt x="866457" y="529228"/>
                  </a:lnTo>
                  <a:lnTo>
                    <a:pt x="869910" y="525749"/>
                  </a:lnTo>
                  <a:lnTo>
                    <a:pt x="871960" y="524487"/>
                  </a:lnTo>
                  <a:lnTo>
                    <a:pt x="878346" y="523356"/>
                  </a:lnTo>
                  <a:lnTo>
                    <a:pt x="899894" y="521034"/>
                  </a:lnTo>
                  <a:close/>
                  <a:moveTo>
                    <a:pt x="1531038" y="520957"/>
                  </a:moveTo>
                  <a:lnTo>
                    <a:pt x="1536339" y="521051"/>
                  </a:lnTo>
                  <a:lnTo>
                    <a:pt x="1543745" y="523923"/>
                  </a:lnTo>
                  <a:lnTo>
                    <a:pt x="1549600" y="524197"/>
                  </a:lnTo>
                  <a:lnTo>
                    <a:pt x="1558526" y="526507"/>
                  </a:lnTo>
                  <a:lnTo>
                    <a:pt x="1562849" y="527153"/>
                  </a:lnTo>
                  <a:lnTo>
                    <a:pt x="1590242" y="525951"/>
                  </a:lnTo>
                  <a:lnTo>
                    <a:pt x="1595910" y="526843"/>
                  </a:lnTo>
                  <a:lnTo>
                    <a:pt x="1613174" y="532288"/>
                  </a:lnTo>
                  <a:lnTo>
                    <a:pt x="1617626" y="534104"/>
                  </a:lnTo>
                  <a:lnTo>
                    <a:pt x="1619826" y="536506"/>
                  </a:lnTo>
                  <a:lnTo>
                    <a:pt x="1621811" y="540289"/>
                  </a:lnTo>
                  <a:lnTo>
                    <a:pt x="1622728" y="541118"/>
                  </a:lnTo>
                  <a:lnTo>
                    <a:pt x="1628982" y="543362"/>
                  </a:lnTo>
                  <a:lnTo>
                    <a:pt x="1631554" y="546081"/>
                  </a:lnTo>
                  <a:lnTo>
                    <a:pt x="1632458" y="547484"/>
                  </a:lnTo>
                  <a:lnTo>
                    <a:pt x="1633771" y="550696"/>
                  </a:lnTo>
                  <a:lnTo>
                    <a:pt x="1636595" y="552514"/>
                  </a:lnTo>
                  <a:lnTo>
                    <a:pt x="1639823" y="553549"/>
                  </a:lnTo>
                  <a:lnTo>
                    <a:pt x="1640878" y="554494"/>
                  </a:lnTo>
                  <a:lnTo>
                    <a:pt x="1640370" y="558519"/>
                  </a:lnTo>
                  <a:lnTo>
                    <a:pt x="1641747" y="560389"/>
                  </a:lnTo>
                  <a:lnTo>
                    <a:pt x="1644795" y="562652"/>
                  </a:lnTo>
                  <a:lnTo>
                    <a:pt x="1645938" y="564159"/>
                  </a:lnTo>
                  <a:lnTo>
                    <a:pt x="1643569" y="565998"/>
                  </a:lnTo>
                  <a:lnTo>
                    <a:pt x="1638064" y="567078"/>
                  </a:lnTo>
                  <a:lnTo>
                    <a:pt x="1622519" y="565953"/>
                  </a:lnTo>
                  <a:lnTo>
                    <a:pt x="1601667" y="563404"/>
                  </a:lnTo>
                  <a:lnTo>
                    <a:pt x="1589539" y="564128"/>
                  </a:lnTo>
                  <a:lnTo>
                    <a:pt x="1583458" y="565292"/>
                  </a:lnTo>
                  <a:lnTo>
                    <a:pt x="1568748" y="569441"/>
                  </a:lnTo>
                  <a:lnTo>
                    <a:pt x="1564053" y="570110"/>
                  </a:lnTo>
                  <a:lnTo>
                    <a:pt x="1559458" y="570194"/>
                  </a:lnTo>
                  <a:lnTo>
                    <a:pt x="1551341" y="566805"/>
                  </a:lnTo>
                  <a:lnTo>
                    <a:pt x="1548395" y="565006"/>
                  </a:lnTo>
                  <a:lnTo>
                    <a:pt x="1547421" y="563614"/>
                  </a:lnTo>
                  <a:lnTo>
                    <a:pt x="1545485" y="559529"/>
                  </a:lnTo>
                  <a:lnTo>
                    <a:pt x="1543891" y="554628"/>
                  </a:lnTo>
                  <a:lnTo>
                    <a:pt x="1543081" y="550596"/>
                  </a:lnTo>
                  <a:lnTo>
                    <a:pt x="1542146" y="547519"/>
                  </a:lnTo>
                  <a:lnTo>
                    <a:pt x="1539371" y="546499"/>
                  </a:lnTo>
                  <a:lnTo>
                    <a:pt x="1531126" y="545272"/>
                  </a:lnTo>
                  <a:lnTo>
                    <a:pt x="1528364" y="543584"/>
                  </a:lnTo>
                  <a:lnTo>
                    <a:pt x="1527107" y="542184"/>
                  </a:lnTo>
                  <a:lnTo>
                    <a:pt x="1525896" y="539917"/>
                  </a:lnTo>
                  <a:lnTo>
                    <a:pt x="1525927" y="537557"/>
                  </a:lnTo>
                  <a:lnTo>
                    <a:pt x="1526560" y="535476"/>
                  </a:lnTo>
                  <a:lnTo>
                    <a:pt x="1527093" y="534965"/>
                  </a:lnTo>
                  <a:lnTo>
                    <a:pt x="1528135" y="534910"/>
                  </a:lnTo>
                  <a:lnTo>
                    <a:pt x="1525824" y="532385"/>
                  </a:lnTo>
                  <a:lnTo>
                    <a:pt x="1525026" y="529605"/>
                  </a:lnTo>
                  <a:lnTo>
                    <a:pt x="1524968" y="525718"/>
                  </a:lnTo>
                  <a:lnTo>
                    <a:pt x="1525270" y="523226"/>
                  </a:lnTo>
                  <a:lnTo>
                    <a:pt x="1525929" y="522133"/>
                  </a:lnTo>
                  <a:lnTo>
                    <a:pt x="1527453" y="521428"/>
                  </a:lnTo>
                  <a:close/>
                  <a:moveTo>
                    <a:pt x="1384351" y="516645"/>
                  </a:moveTo>
                  <a:lnTo>
                    <a:pt x="1395904" y="516874"/>
                  </a:lnTo>
                  <a:lnTo>
                    <a:pt x="1417210" y="518945"/>
                  </a:lnTo>
                  <a:lnTo>
                    <a:pt x="1419776" y="520402"/>
                  </a:lnTo>
                  <a:lnTo>
                    <a:pt x="1420427" y="521135"/>
                  </a:lnTo>
                  <a:lnTo>
                    <a:pt x="1421362" y="523207"/>
                  </a:lnTo>
                  <a:lnTo>
                    <a:pt x="1420658" y="524528"/>
                  </a:lnTo>
                  <a:lnTo>
                    <a:pt x="1414831" y="529008"/>
                  </a:lnTo>
                  <a:lnTo>
                    <a:pt x="1407496" y="532727"/>
                  </a:lnTo>
                  <a:lnTo>
                    <a:pt x="1402722" y="535967"/>
                  </a:lnTo>
                  <a:lnTo>
                    <a:pt x="1394642" y="543239"/>
                  </a:lnTo>
                  <a:lnTo>
                    <a:pt x="1392462" y="545786"/>
                  </a:lnTo>
                  <a:lnTo>
                    <a:pt x="1382449" y="560340"/>
                  </a:lnTo>
                  <a:lnTo>
                    <a:pt x="1380085" y="562741"/>
                  </a:lnTo>
                  <a:lnTo>
                    <a:pt x="1378697" y="564659"/>
                  </a:lnTo>
                  <a:lnTo>
                    <a:pt x="1377724" y="569877"/>
                  </a:lnTo>
                  <a:lnTo>
                    <a:pt x="1378014" y="571730"/>
                  </a:lnTo>
                  <a:lnTo>
                    <a:pt x="1379578" y="574753"/>
                  </a:lnTo>
                  <a:lnTo>
                    <a:pt x="1385012" y="581296"/>
                  </a:lnTo>
                  <a:lnTo>
                    <a:pt x="1386477" y="584350"/>
                  </a:lnTo>
                  <a:lnTo>
                    <a:pt x="1386440" y="587153"/>
                  </a:lnTo>
                  <a:lnTo>
                    <a:pt x="1385830" y="593823"/>
                  </a:lnTo>
                  <a:lnTo>
                    <a:pt x="1385756" y="597196"/>
                  </a:lnTo>
                  <a:lnTo>
                    <a:pt x="1386000" y="600431"/>
                  </a:lnTo>
                  <a:lnTo>
                    <a:pt x="1387121" y="605048"/>
                  </a:lnTo>
                  <a:lnTo>
                    <a:pt x="1389116" y="611037"/>
                  </a:lnTo>
                  <a:lnTo>
                    <a:pt x="1393740" y="617081"/>
                  </a:lnTo>
                  <a:lnTo>
                    <a:pt x="1400992" y="623174"/>
                  </a:lnTo>
                  <a:lnTo>
                    <a:pt x="1406392" y="627205"/>
                  </a:lnTo>
                  <a:lnTo>
                    <a:pt x="1411716" y="630169"/>
                  </a:lnTo>
                  <a:lnTo>
                    <a:pt x="1418016" y="634547"/>
                  </a:lnTo>
                  <a:lnTo>
                    <a:pt x="1419418" y="636661"/>
                  </a:lnTo>
                  <a:lnTo>
                    <a:pt x="1416523" y="638983"/>
                  </a:lnTo>
                  <a:lnTo>
                    <a:pt x="1409733" y="642553"/>
                  </a:lnTo>
                  <a:lnTo>
                    <a:pt x="1400811" y="644079"/>
                  </a:lnTo>
                  <a:lnTo>
                    <a:pt x="1396040" y="645534"/>
                  </a:lnTo>
                  <a:lnTo>
                    <a:pt x="1390106" y="648634"/>
                  </a:lnTo>
                  <a:lnTo>
                    <a:pt x="1382656" y="651105"/>
                  </a:lnTo>
                  <a:lnTo>
                    <a:pt x="1379712" y="652580"/>
                  </a:lnTo>
                  <a:lnTo>
                    <a:pt x="1380718" y="653599"/>
                  </a:lnTo>
                  <a:lnTo>
                    <a:pt x="1386509" y="652301"/>
                  </a:lnTo>
                  <a:lnTo>
                    <a:pt x="1391432" y="650810"/>
                  </a:lnTo>
                  <a:lnTo>
                    <a:pt x="1399104" y="647250"/>
                  </a:lnTo>
                  <a:lnTo>
                    <a:pt x="1403686" y="646009"/>
                  </a:lnTo>
                  <a:lnTo>
                    <a:pt x="1417607" y="646031"/>
                  </a:lnTo>
                  <a:lnTo>
                    <a:pt x="1419972" y="646705"/>
                  </a:lnTo>
                  <a:lnTo>
                    <a:pt x="1418928" y="648833"/>
                  </a:lnTo>
                  <a:lnTo>
                    <a:pt x="1418344" y="649435"/>
                  </a:lnTo>
                  <a:lnTo>
                    <a:pt x="1418804" y="650359"/>
                  </a:lnTo>
                  <a:lnTo>
                    <a:pt x="1420304" y="651609"/>
                  </a:lnTo>
                  <a:lnTo>
                    <a:pt x="1423300" y="652996"/>
                  </a:lnTo>
                  <a:lnTo>
                    <a:pt x="1424481" y="651754"/>
                  </a:lnTo>
                  <a:lnTo>
                    <a:pt x="1425347" y="648756"/>
                  </a:lnTo>
                  <a:lnTo>
                    <a:pt x="1427401" y="636405"/>
                  </a:lnTo>
                  <a:lnTo>
                    <a:pt x="1428270" y="632666"/>
                  </a:lnTo>
                  <a:lnTo>
                    <a:pt x="1428682" y="629118"/>
                  </a:lnTo>
                  <a:lnTo>
                    <a:pt x="1428634" y="625766"/>
                  </a:lnTo>
                  <a:lnTo>
                    <a:pt x="1427633" y="623640"/>
                  </a:lnTo>
                  <a:lnTo>
                    <a:pt x="1424066" y="622362"/>
                  </a:lnTo>
                  <a:lnTo>
                    <a:pt x="1419195" y="622578"/>
                  </a:lnTo>
                  <a:lnTo>
                    <a:pt x="1416693" y="622241"/>
                  </a:lnTo>
                  <a:lnTo>
                    <a:pt x="1413661" y="621580"/>
                  </a:lnTo>
                  <a:lnTo>
                    <a:pt x="1411414" y="620547"/>
                  </a:lnTo>
                  <a:lnTo>
                    <a:pt x="1409953" y="619147"/>
                  </a:lnTo>
                  <a:lnTo>
                    <a:pt x="1407042" y="614933"/>
                  </a:lnTo>
                  <a:lnTo>
                    <a:pt x="1404895" y="612581"/>
                  </a:lnTo>
                  <a:lnTo>
                    <a:pt x="1399389" y="608329"/>
                  </a:lnTo>
                  <a:lnTo>
                    <a:pt x="1396897" y="606906"/>
                  </a:lnTo>
                  <a:lnTo>
                    <a:pt x="1398152" y="605229"/>
                  </a:lnTo>
                  <a:lnTo>
                    <a:pt x="1403156" y="603296"/>
                  </a:lnTo>
                  <a:lnTo>
                    <a:pt x="1406173" y="601458"/>
                  </a:lnTo>
                  <a:lnTo>
                    <a:pt x="1409719" y="596078"/>
                  </a:lnTo>
                  <a:lnTo>
                    <a:pt x="1411850" y="595207"/>
                  </a:lnTo>
                  <a:lnTo>
                    <a:pt x="1419536" y="595920"/>
                  </a:lnTo>
                  <a:lnTo>
                    <a:pt x="1429939" y="600132"/>
                  </a:lnTo>
                  <a:lnTo>
                    <a:pt x="1436452" y="603776"/>
                  </a:lnTo>
                  <a:lnTo>
                    <a:pt x="1438174" y="604163"/>
                  </a:lnTo>
                  <a:lnTo>
                    <a:pt x="1438210" y="603501"/>
                  </a:lnTo>
                  <a:lnTo>
                    <a:pt x="1436558" y="601796"/>
                  </a:lnTo>
                  <a:lnTo>
                    <a:pt x="1429065" y="597280"/>
                  </a:lnTo>
                  <a:lnTo>
                    <a:pt x="1425653" y="593988"/>
                  </a:lnTo>
                  <a:lnTo>
                    <a:pt x="1424019" y="591637"/>
                  </a:lnTo>
                  <a:lnTo>
                    <a:pt x="1424803" y="590618"/>
                  </a:lnTo>
                  <a:lnTo>
                    <a:pt x="1429022" y="589574"/>
                  </a:lnTo>
                  <a:lnTo>
                    <a:pt x="1429570" y="588375"/>
                  </a:lnTo>
                  <a:lnTo>
                    <a:pt x="1423830" y="586957"/>
                  </a:lnTo>
                  <a:lnTo>
                    <a:pt x="1420921" y="586988"/>
                  </a:lnTo>
                  <a:lnTo>
                    <a:pt x="1418571" y="588002"/>
                  </a:lnTo>
                  <a:lnTo>
                    <a:pt x="1416046" y="588072"/>
                  </a:lnTo>
                  <a:lnTo>
                    <a:pt x="1411363" y="586228"/>
                  </a:lnTo>
                  <a:lnTo>
                    <a:pt x="1410090" y="585155"/>
                  </a:lnTo>
                  <a:lnTo>
                    <a:pt x="1407390" y="581969"/>
                  </a:lnTo>
                  <a:lnTo>
                    <a:pt x="1405972" y="579192"/>
                  </a:lnTo>
                  <a:lnTo>
                    <a:pt x="1404403" y="577464"/>
                  </a:lnTo>
                  <a:lnTo>
                    <a:pt x="1403837" y="576093"/>
                  </a:lnTo>
                  <a:lnTo>
                    <a:pt x="1403533" y="571820"/>
                  </a:lnTo>
                  <a:lnTo>
                    <a:pt x="1403668" y="569304"/>
                  </a:lnTo>
                  <a:lnTo>
                    <a:pt x="1404306" y="567149"/>
                  </a:lnTo>
                  <a:lnTo>
                    <a:pt x="1405442" y="565354"/>
                  </a:lnTo>
                  <a:lnTo>
                    <a:pt x="1408480" y="562036"/>
                  </a:lnTo>
                  <a:lnTo>
                    <a:pt x="1410184" y="561076"/>
                  </a:lnTo>
                  <a:lnTo>
                    <a:pt x="1413366" y="560641"/>
                  </a:lnTo>
                  <a:lnTo>
                    <a:pt x="1420277" y="562290"/>
                  </a:lnTo>
                  <a:lnTo>
                    <a:pt x="1438861" y="568230"/>
                  </a:lnTo>
                  <a:lnTo>
                    <a:pt x="1438414" y="566318"/>
                  </a:lnTo>
                  <a:lnTo>
                    <a:pt x="1417627" y="558289"/>
                  </a:lnTo>
                  <a:lnTo>
                    <a:pt x="1410278" y="556218"/>
                  </a:lnTo>
                  <a:lnTo>
                    <a:pt x="1408481" y="553307"/>
                  </a:lnTo>
                  <a:lnTo>
                    <a:pt x="1419546" y="542119"/>
                  </a:lnTo>
                  <a:lnTo>
                    <a:pt x="1429747" y="539482"/>
                  </a:lnTo>
                  <a:lnTo>
                    <a:pt x="1434819" y="536212"/>
                  </a:lnTo>
                  <a:lnTo>
                    <a:pt x="1443112" y="536071"/>
                  </a:lnTo>
                  <a:lnTo>
                    <a:pt x="1450899" y="538147"/>
                  </a:lnTo>
                  <a:lnTo>
                    <a:pt x="1451034" y="537581"/>
                  </a:lnTo>
                  <a:lnTo>
                    <a:pt x="1447523" y="533672"/>
                  </a:lnTo>
                  <a:lnTo>
                    <a:pt x="1447801" y="532696"/>
                  </a:lnTo>
                  <a:lnTo>
                    <a:pt x="1452219" y="530366"/>
                  </a:lnTo>
                  <a:lnTo>
                    <a:pt x="1460319" y="527627"/>
                  </a:lnTo>
                  <a:lnTo>
                    <a:pt x="1470205" y="525450"/>
                  </a:lnTo>
                  <a:lnTo>
                    <a:pt x="1472165" y="524313"/>
                  </a:lnTo>
                  <a:lnTo>
                    <a:pt x="1474697" y="523512"/>
                  </a:lnTo>
                  <a:lnTo>
                    <a:pt x="1479355" y="522814"/>
                  </a:lnTo>
                  <a:lnTo>
                    <a:pt x="1490939" y="522476"/>
                  </a:lnTo>
                  <a:lnTo>
                    <a:pt x="1497447" y="522803"/>
                  </a:lnTo>
                  <a:lnTo>
                    <a:pt x="1506087" y="524467"/>
                  </a:lnTo>
                  <a:lnTo>
                    <a:pt x="1511139" y="527487"/>
                  </a:lnTo>
                  <a:lnTo>
                    <a:pt x="1512713" y="529292"/>
                  </a:lnTo>
                  <a:lnTo>
                    <a:pt x="1515394" y="535084"/>
                  </a:lnTo>
                  <a:lnTo>
                    <a:pt x="1517589" y="543166"/>
                  </a:lnTo>
                  <a:lnTo>
                    <a:pt x="1520800" y="546517"/>
                  </a:lnTo>
                  <a:lnTo>
                    <a:pt x="1525958" y="548368"/>
                  </a:lnTo>
                  <a:lnTo>
                    <a:pt x="1529522" y="550377"/>
                  </a:lnTo>
                  <a:lnTo>
                    <a:pt x="1531492" y="552544"/>
                  </a:lnTo>
                  <a:lnTo>
                    <a:pt x="1532017" y="555272"/>
                  </a:lnTo>
                  <a:lnTo>
                    <a:pt x="1531095" y="558554"/>
                  </a:lnTo>
                  <a:lnTo>
                    <a:pt x="1531785" y="561913"/>
                  </a:lnTo>
                  <a:lnTo>
                    <a:pt x="1534092" y="565345"/>
                  </a:lnTo>
                  <a:lnTo>
                    <a:pt x="1535870" y="567290"/>
                  </a:lnTo>
                  <a:lnTo>
                    <a:pt x="1539764" y="569510"/>
                  </a:lnTo>
                  <a:lnTo>
                    <a:pt x="1539828" y="570695"/>
                  </a:lnTo>
                  <a:lnTo>
                    <a:pt x="1538613" y="572044"/>
                  </a:lnTo>
                  <a:lnTo>
                    <a:pt x="1536035" y="573899"/>
                  </a:lnTo>
                  <a:lnTo>
                    <a:pt x="1529675" y="579669"/>
                  </a:lnTo>
                  <a:lnTo>
                    <a:pt x="1521469" y="586003"/>
                  </a:lnTo>
                  <a:lnTo>
                    <a:pt x="1515622" y="591466"/>
                  </a:lnTo>
                  <a:lnTo>
                    <a:pt x="1515337" y="593076"/>
                  </a:lnTo>
                  <a:lnTo>
                    <a:pt x="1527503" y="584525"/>
                  </a:lnTo>
                  <a:lnTo>
                    <a:pt x="1531289" y="584828"/>
                  </a:lnTo>
                  <a:lnTo>
                    <a:pt x="1531461" y="586025"/>
                  </a:lnTo>
                  <a:lnTo>
                    <a:pt x="1528983" y="590201"/>
                  </a:lnTo>
                  <a:lnTo>
                    <a:pt x="1525963" y="593918"/>
                  </a:lnTo>
                  <a:lnTo>
                    <a:pt x="1522928" y="596301"/>
                  </a:lnTo>
                  <a:lnTo>
                    <a:pt x="1523483" y="597199"/>
                  </a:lnTo>
                  <a:lnTo>
                    <a:pt x="1529262" y="601367"/>
                  </a:lnTo>
                  <a:lnTo>
                    <a:pt x="1528201" y="602053"/>
                  </a:lnTo>
                  <a:lnTo>
                    <a:pt x="1525412" y="601712"/>
                  </a:lnTo>
                  <a:lnTo>
                    <a:pt x="1524267" y="602087"/>
                  </a:lnTo>
                  <a:lnTo>
                    <a:pt x="1523438" y="602844"/>
                  </a:lnTo>
                  <a:lnTo>
                    <a:pt x="1522923" y="603985"/>
                  </a:lnTo>
                  <a:lnTo>
                    <a:pt x="1522891" y="605589"/>
                  </a:lnTo>
                  <a:lnTo>
                    <a:pt x="1523337" y="607654"/>
                  </a:lnTo>
                  <a:lnTo>
                    <a:pt x="1523294" y="609197"/>
                  </a:lnTo>
                  <a:lnTo>
                    <a:pt x="1522758" y="610214"/>
                  </a:lnTo>
                  <a:lnTo>
                    <a:pt x="1523335" y="610634"/>
                  </a:lnTo>
                  <a:lnTo>
                    <a:pt x="1525027" y="610456"/>
                  </a:lnTo>
                  <a:lnTo>
                    <a:pt x="1526452" y="609617"/>
                  </a:lnTo>
                  <a:lnTo>
                    <a:pt x="1528907" y="606830"/>
                  </a:lnTo>
                  <a:lnTo>
                    <a:pt x="1537003" y="599217"/>
                  </a:lnTo>
                  <a:lnTo>
                    <a:pt x="1542180" y="596366"/>
                  </a:lnTo>
                  <a:lnTo>
                    <a:pt x="1543850" y="596115"/>
                  </a:lnTo>
                  <a:lnTo>
                    <a:pt x="1548611" y="597974"/>
                  </a:lnTo>
                  <a:lnTo>
                    <a:pt x="1549726" y="597867"/>
                  </a:lnTo>
                  <a:lnTo>
                    <a:pt x="1544489" y="591983"/>
                  </a:lnTo>
                  <a:lnTo>
                    <a:pt x="1544031" y="590492"/>
                  </a:lnTo>
                  <a:lnTo>
                    <a:pt x="1545095" y="588291"/>
                  </a:lnTo>
                  <a:lnTo>
                    <a:pt x="1545734" y="587531"/>
                  </a:lnTo>
                  <a:lnTo>
                    <a:pt x="1548652" y="585910"/>
                  </a:lnTo>
                  <a:lnTo>
                    <a:pt x="1551071" y="585045"/>
                  </a:lnTo>
                  <a:lnTo>
                    <a:pt x="1552426" y="585407"/>
                  </a:lnTo>
                  <a:lnTo>
                    <a:pt x="1554571" y="588405"/>
                  </a:lnTo>
                  <a:lnTo>
                    <a:pt x="1555570" y="590492"/>
                  </a:lnTo>
                  <a:lnTo>
                    <a:pt x="1557349" y="591328"/>
                  </a:lnTo>
                  <a:lnTo>
                    <a:pt x="1561311" y="590247"/>
                  </a:lnTo>
                  <a:lnTo>
                    <a:pt x="1563951" y="587695"/>
                  </a:lnTo>
                  <a:lnTo>
                    <a:pt x="1567221" y="589370"/>
                  </a:lnTo>
                  <a:lnTo>
                    <a:pt x="1572144" y="593357"/>
                  </a:lnTo>
                  <a:lnTo>
                    <a:pt x="1571695" y="597343"/>
                  </a:lnTo>
                  <a:lnTo>
                    <a:pt x="1571699" y="601325"/>
                  </a:lnTo>
                  <a:lnTo>
                    <a:pt x="1571953" y="604236"/>
                  </a:lnTo>
                  <a:lnTo>
                    <a:pt x="1577832" y="609561"/>
                  </a:lnTo>
                  <a:lnTo>
                    <a:pt x="1581926" y="611893"/>
                  </a:lnTo>
                  <a:lnTo>
                    <a:pt x="1582670" y="611911"/>
                  </a:lnTo>
                  <a:lnTo>
                    <a:pt x="1582575" y="611113"/>
                  </a:lnTo>
                  <a:lnTo>
                    <a:pt x="1581720" y="609345"/>
                  </a:lnTo>
                  <a:lnTo>
                    <a:pt x="1579475" y="607574"/>
                  </a:lnTo>
                  <a:lnTo>
                    <a:pt x="1577454" y="604836"/>
                  </a:lnTo>
                  <a:lnTo>
                    <a:pt x="1575630" y="601492"/>
                  </a:lnTo>
                  <a:lnTo>
                    <a:pt x="1576711" y="593671"/>
                  </a:lnTo>
                  <a:lnTo>
                    <a:pt x="1579775" y="589574"/>
                  </a:lnTo>
                  <a:lnTo>
                    <a:pt x="1582737" y="590627"/>
                  </a:lnTo>
                  <a:lnTo>
                    <a:pt x="1586633" y="592988"/>
                  </a:lnTo>
                  <a:lnTo>
                    <a:pt x="1589711" y="593209"/>
                  </a:lnTo>
                  <a:lnTo>
                    <a:pt x="1594557" y="592963"/>
                  </a:lnTo>
                  <a:lnTo>
                    <a:pt x="1604453" y="597735"/>
                  </a:lnTo>
                  <a:lnTo>
                    <a:pt x="1609767" y="597840"/>
                  </a:lnTo>
                  <a:lnTo>
                    <a:pt x="1609278" y="595893"/>
                  </a:lnTo>
                  <a:lnTo>
                    <a:pt x="1605253" y="594956"/>
                  </a:lnTo>
                  <a:lnTo>
                    <a:pt x="1599379" y="592318"/>
                  </a:lnTo>
                  <a:lnTo>
                    <a:pt x="1590223" y="589174"/>
                  </a:lnTo>
                  <a:lnTo>
                    <a:pt x="1586018" y="585574"/>
                  </a:lnTo>
                  <a:lnTo>
                    <a:pt x="1585227" y="583883"/>
                  </a:lnTo>
                  <a:lnTo>
                    <a:pt x="1585348" y="582059"/>
                  </a:lnTo>
                  <a:lnTo>
                    <a:pt x="1585871" y="580450"/>
                  </a:lnTo>
                  <a:lnTo>
                    <a:pt x="1586796" y="579051"/>
                  </a:lnTo>
                  <a:lnTo>
                    <a:pt x="1588626" y="577677"/>
                  </a:lnTo>
                  <a:lnTo>
                    <a:pt x="1597481" y="573481"/>
                  </a:lnTo>
                  <a:lnTo>
                    <a:pt x="1603764" y="571696"/>
                  </a:lnTo>
                  <a:lnTo>
                    <a:pt x="1608490" y="571113"/>
                  </a:lnTo>
                  <a:lnTo>
                    <a:pt x="1616388" y="571160"/>
                  </a:lnTo>
                  <a:lnTo>
                    <a:pt x="1625563" y="571892"/>
                  </a:lnTo>
                  <a:lnTo>
                    <a:pt x="1630522" y="573122"/>
                  </a:lnTo>
                  <a:lnTo>
                    <a:pt x="1636219" y="576086"/>
                  </a:lnTo>
                  <a:lnTo>
                    <a:pt x="1643433" y="579017"/>
                  </a:lnTo>
                  <a:lnTo>
                    <a:pt x="1646005" y="579540"/>
                  </a:lnTo>
                  <a:lnTo>
                    <a:pt x="1649012" y="579473"/>
                  </a:lnTo>
                  <a:lnTo>
                    <a:pt x="1652449" y="578812"/>
                  </a:lnTo>
                  <a:lnTo>
                    <a:pt x="1655717" y="579051"/>
                  </a:lnTo>
                  <a:lnTo>
                    <a:pt x="1666115" y="583392"/>
                  </a:lnTo>
                  <a:lnTo>
                    <a:pt x="1668864" y="585621"/>
                  </a:lnTo>
                  <a:lnTo>
                    <a:pt x="1670531" y="588320"/>
                  </a:lnTo>
                  <a:lnTo>
                    <a:pt x="1671763" y="590936"/>
                  </a:lnTo>
                  <a:lnTo>
                    <a:pt x="1672566" y="593474"/>
                  </a:lnTo>
                  <a:lnTo>
                    <a:pt x="1672240" y="595530"/>
                  </a:lnTo>
                  <a:lnTo>
                    <a:pt x="1663581" y="604385"/>
                  </a:lnTo>
                  <a:lnTo>
                    <a:pt x="1659813" y="605892"/>
                  </a:lnTo>
                  <a:lnTo>
                    <a:pt x="1657323" y="609240"/>
                  </a:lnTo>
                  <a:lnTo>
                    <a:pt x="1653610" y="615567"/>
                  </a:lnTo>
                  <a:lnTo>
                    <a:pt x="1650468" y="618947"/>
                  </a:lnTo>
                  <a:lnTo>
                    <a:pt x="1650177" y="619608"/>
                  </a:lnTo>
                  <a:lnTo>
                    <a:pt x="1650835" y="619773"/>
                  </a:lnTo>
                  <a:lnTo>
                    <a:pt x="1652731" y="618260"/>
                  </a:lnTo>
                  <a:lnTo>
                    <a:pt x="1655994" y="613894"/>
                  </a:lnTo>
                  <a:lnTo>
                    <a:pt x="1658365" y="610125"/>
                  </a:lnTo>
                  <a:lnTo>
                    <a:pt x="1662714" y="607008"/>
                  </a:lnTo>
                  <a:lnTo>
                    <a:pt x="1669832" y="603285"/>
                  </a:lnTo>
                  <a:lnTo>
                    <a:pt x="1676031" y="601508"/>
                  </a:lnTo>
                  <a:lnTo>
                    <a:pt x="1681312" y="601678"/>
                  </a:lnTo>
                  <a:lnTo>
                    <a:pt x="1685755" y="602212"/>
                  </a:lnTo>
                  <a:lnTo>
                    <a:pt x="1689362" y="603117"/>
                  </a:lnTo>
                  <a:lnTo>
                    <a:pt x="1691504" y="603874"/>
                  </a:lnTo>
                  <a:lnTo>
                    <a:pt x="1692178" y="604484"/>
                  </a:lnTo>
                  <a:lnTo>
                    <a:pt x="1693624" y="607278"/>
                  </a:lnTo>
                  <a:lnTo>
                    <a:pt x="1693541" y="609169"/>
                  </a:lnTo>
                  <a:lnTo>
                    <a:pt x="1692638" y="611295"/>
                  </a:lnTo>
                  <a:lnTo>
                    <a:pt x="1690927" y="613701"/>
                  </a:lnTo>
                  <a:lnTo>
                    <a:pt x="1683174" y="616359"/>
                  </a:lnTo>
                  <a:lnTo>
                    <a:pt x="1678924" y="618444"/>
                  </a:lnTo>
                  <a:lnTo>
                    <a:pt x="1676289" y="619218"/>
                  </a:lnTo>
                  <a:lnTo>
                    <a:pt x="1668382" y="619990"/>
                  </a:lnTo>
                  <a:lnTo>
                    <a:pt x="1668731" y="620813"/>
                  </a:lnTo>
                  <a:lnTo>
                    <a:pt x="1674603" y="621947"/>
                  </a:lnTo>
                  <a:lnTo>
                    <a:pt x="1681163" y="621566"/>
                  </a:lnTo>
                  <a:lnTo>
                    <a:pt x="1680995" y="622913"/>
                  </a:lnTo>
                  <a:lnTo>
                    <a:pt x="1677913" y="626479"/>
                  </a:lnTo>
                  <a:lnTo>
                    <a:pt x="1676915" y="629579"/>
                  </a:lnTo>
                  <a:lnTo>
                    <a:pt x="1677773" y="632113"/>
                  </a:lnTo>
                  <a:lnTo>
                    <a:pt x="1677615" y="634169"/>
                  </a:lnTo>
                  <a:lnTo>
                    <a:pt x="1675318" y="638486"/>
                  </a:lnTo>
                  <a:lnTo>
                    <a:pt x="1672679" y="642378"/>
                  </a:lnTo>
                  <a:lnTo>
                    <a:pt x="1673672" y="642955"/>
                  </a:lnTo>
                  <a:lnTo>
                    <a:pt x="1679688" y="637364"/>
                  </a:lnTo>
                  <a:lnTo>
                    <a:pt x="1681301" y="631231"/>
                  </a:lnTo>
                  <a:lnTo>
                    <a:pt x="1683729" y="625825"/>
                  </a:lnTo>
                  <a:lnTo>
                    <a:pt x="1686556" y="622844"/>
                  </a:lnTo>
                  <a:lnTo>
                    <a:pt x="1688685" y="621711"/>
                  </a:lnTo>
                  <a:lnTo>
                    <a:pt x="1695406" y="621255"/>
                  </a:lnTo>
                  <a:lnTo>
                    <a:pt x="1699133" y="618085"/>
                  </a:lnTo>
                  <a:lnTo>
                    <a:pt x="1702315" y="617076"/>
                  </a:lnTo>
                  <a:lnTo>
                    <a:pt x="1703646" y="617058"/>
                  </a:lnTo>
                  <a:lnTo>
                    <a:pt x="1706356" y="618239"/>
                  </a:lnTo>
                  <a:lnTo>
                    <a:pt x="1706194" y="619484"/>
                  </a:lnTo>
                  <a:lnTo>
                    <a:pt x="1702263" y="625144"/>
                  </a:lnTo>
                  <a:lnTo>
                    <a:pt x="1693930" y="634282"/>
                  </a:lnTo>
                  <a:lnTo>
                    <a:pt x="1697326" y="633240"/>
                  </a:lnTo>
                  <a:lnTo>
                    <a:pt x="1699629" y="631070"/>
                  </a:lnTo>
                  <a:lnTo>
                    <a:pt x="1702713" y="628904"/>
                  </a:lnTo>
                  <a:lnTo>
                    <a:pt x="1706214" y="625696"/>
                  </a:lnTo>
                  <a:lnTo>
                    <a:pt x="1708524" y="628605"/>
                  </a:lnTo>
                  <a:lnTo>
                    <a:pt x="1712077" y="630772"/>
                  </a:lnTo>
                  <a:lnTo>
                    <a:pt x="1714202" y="635717"/>
                  </a:lnTo>
                  <a:lnTo>
                    <a:pt x="1717635" y="638095"/>
                  </a:lnTo>
                  <a:lnTo>
                    <a:pt x="1719708" y="639940"/>
                  </a:lnTo>
                  <a:lnTo>
                    <a:pt x="1719415" y="636818"/>
                  </a:lnTo>
                  <a:lnTo>
                    <a:pt x="1716416" y="630537"/>
                  </a:lnTo>
                  <a:lnTo>
                    <a:pt x="1717234" y="628021"/>
                  </a:lnTo>
                  <a:lnTo>
                    <a:pt x="1719551" y="626761"/>
                  </a:lnTo>
                  <a:lnTo>
                    <a:pt x="1726774" y="621463"/>
                  </a:lnTo>
                  <a:lnTo>
                    <a:pt x="1731819" y="623232"/>
                  </a:lnTo>
                  <a:lnTo>
                    <a:pt x="1734923" y="624797"/>
                  </a:lnTo>
                  <a:lnTo>
                    <a:pt x="1736478" y="624382"/>
                  </a:lnTo>
                  <a:lnTo>
                    <a:pt x="1740400" y="624600"/>
                  </a:lnTo>
                  <a:lnTo>
                    <a:pt x="1746691" y="625454"/>
                  </a:lnTo>
                  <a:lnTo>
                    <a:pt x="1752810" y="626932"/>
                  </a:lnTo>
                  <a:lnTo>
                    <a:pt x="1758755" y="629040"/>
                  </a:lnTo>
                  <a:lnTo>
                    <a:pt x="1763339" y="631498"/>
                  </a:lnTo>
                  <a:lnTo>
                    <a:pt x="1766559" y="634315"/>
                  </a:lnTo>
                  <a:lnTo>
                    <a:pt x="1768508" y="636259"/>
                  </a:lnTo>
                  <a:lnTo>
                    <a:pt x="1769185" y="637335"/>
                  </a:lnTo>
                  <a:lnTo>
                    <a:pt x="1770272" y="640134"/>
                  </a:lnTo>
                  <a:lnTo>
                    <a:pt x="1769438" y="641992"/>
                  </a:lnTo>
                  <a:lnTo>
                    <a:pt x="1764945" y="646267"/>
                  </a:lnTo>
                  <a:lnTo>
                    <a:pt x="1762449" y="648206"/>
                  </a:lnTo>
                  <a:lnTo>
                    <a:pt x="1759963" y="649075"/>
                  </a:lnTo>
                  <a:lnTo>
                    <a:pt x="1753292" y="648222"/>
                  </a:lnTo>
                  <a:lnTo>
                    <a:pt x="1751218" y="648708"/>
                  </a:lnTo>
                  <a:lnTo>
                    <a:pt x="1749039" y="650052"/>
                  </a:lnTo>
                  <a:lnTo>
                    <a:pt x="1742096" y="655911"/>
                  </a:lnTo>
                  <a:lnTo>
                    <a:pt x="1738257" y="658440"/>
                  </a:lnTo>
                  <a:lnTo>
                    <a:pt x="1734480" y="660050"/>
                  </a:lnTo>
                  <a:lnTo>
                    <a:pt x="1733601" y="660902"/>
                  </a:lnTo>
                  <a:lnTo>
                    <a:pt x="1741720" y="660821"/>
                  </a:lnTo>
                  <a:lnTo>
                    <a:pt x="1743967" y="659084"/>
                  </a:lnTo>
                  <a:lnTo>
                    <a:pt x="1745841" y="655825"/>
                  </a:lnTo>
                  <a:lnTo>
                    <a:pt x="1749412" y="652457"/>
                  </a:lnTo>
                  <a:lnTo>
                    <a:pt x="1756173" y="650908"/>
                  </a:lnTo>
                  <a:lnTo>
                    <a:pt x="1765598" y="654230"/>
                  </a:lnTo>
                  <a:lnTo>
                    <a:pt x="1770279" y="654097"/>
                  </a:lnTo>
                  <a:lnTo>
                    <a:pt x="1773851" y="650762"/>
                  </a:lnTo>
                  <a:lnTo>
                    <a:pt x="1777840" y="648489"/>
                  </a:lnTo>
                  <a:lnTo>
                    <a:pt x="1779411" y="648037"/>
                  </a:lnTo>
                  <a:lnTo>
                    <a:pt x="1780263" y="648290"/>
                  </a:lnTo>
                  <a:lnTo>
                    <a:pt x="1783302" y="650661"/>
                  </a:lnTo>
                  <a:lnTo>
                    <a:pt x="1784218" y="652774"/>
                  </a:lnTo>
                  <a:lnTo>
                    <a:pt x="1784152" y="657592"/>
                  </a:lnTo>
                  <a:lnTo>
                    <a:pt x="1783743" y="659049"/>
                  </a:lnTo>
                  <a:lnTo>
                    <a:pt x="1781043" y="662679"/>
                  </a:lnTo>
                  <a:lnTo>
                    <a:pt x="1774449" y="668118"/>
                  </a:lnTo>
                  <a:lnTo>
                    <a:pt x="1770138" y="670155"/>
                  </a:lnTo>
                  <a:lnTo>
                    <a:pt x="1765353" y="671250"/>
                  </a:lnTo>
                  <a:lnTo>
                    <a:pt x="1760144" y="673090"/>
                  </a:lnTo>
                  <a:lnTo>
                    <a:pt x="1758306" y="674572"/>
                  </a:lnTo>
                  <a:lnTo>
                    <a:pt x="1756507" y="676674"/>
                  </a:lnTo>
                  <a:lnTo>
                    <a:pt x="1754712" y="678079"/>
                  </a:lnTo>
                  <a:lnTo>
                    <a:pt x="1752429" y="679245"/>
                  </a:lnTo>
                  <a:lnTo>
                    <a:pt x="1755417" y="680954"/>
                  </a:lnTo>
                  <a:lnTo>
                    <a:pt x="1756560" y="680907"/>
                  </a:lnTo>
                  <a:lnTo>
                    <a:pt x="1757665" y="679884"/>
                  </a:lnTo>
                  <a:lnTo>
                    <a:pt x="1760675" y="675851"/>
                  </a:lnTo>
                  <a:lnTo>
                    <a:pt x="1762914" y="674092"/>
                  </a:lnTo>
                  <a:lnTo>
                    <a:pt x="1764183" y="673722"/>
                  </a:lnTo>
                  <a:lnTo>
                    <a:pt x="1765490" y="673890"/>
                  </a:lnTo>
                  <a:lnTo>
                    <a:pt x="1766764" y="674683"/>
                  </a:lnTo>
                  <a:lnTo>
                    <a:pt x="1768006" y="676098"/>
                  </a:lnTo>
                  <a:lnTo>
                    <a:pt x="1767912" y="679535"/>
                  </a:lnTo>
                  <a:lnTo>
                    <a:pt x="1764112" y="693099"/>
                  </a:lnTo>
                  <a:lnTo>
                    <a:pt x="1764729" y="693060"/>
                  </a:lnTo>
                  <a:lnTo>
                    <a:pt x="1767062" y="689389"/>
                  </a:lnTo>
                  <a:lnTo>
                    <a:pt x="1773853" y="675238"/>
                  </a:lnTo>
                  <a:lnTo>
                    <a:pt x="1775513" y="672394"/>
                  </a:lnTo>
                  <a:lnTo>
                    <a:pt x="1778791" y="669521"/>
                  </a:lnTo>
                  <a:lnTo>
                    <a:pt x="1786134" y="665165"/>
                  </a:lnTo>
                  <a:lnTo>
                    <a:pt x="1791806" y="662882"/>
                  </a:lnTo>
                  <a:lnTo>
                    <a:pt x="1798209" y="660959"/>
                  </a:lnTo>
                  <a:lnTo>
                    <a:pt x="1801630" y="660244"/>
                  </a:lnTo>
                  <a:lnTo>
                    <a:pt x="1805538" y="660726"/>
                  </a:lnTo>
                  <a:lnTo>
                    <a:pt x="1808078" y="662971"/>
                  </a:lnTo>
                  <a:lnTo>
                    <a:pt x="1811511" y="663375"/>
                  </a:lnTo>
                  <a:lnTo>
                    <a:pt x="1815689" y="662816"/>
                  </a:lnTo>
                  <a:lnTo>
                    <a:pt x="1818385" y="663085"/>
                  </a:lnTo>
                  <a:lnTo>
                    <a:pt x="1821436" y="663973"/>
                  </a:lnTo>
                  <a:lnTo>
                    <a:pt x="1824047" y="665635"/>
                  </a:lnTo>
                  <a:lnTo>
                    <a:pt x="1828485" y="667520"/>
                  </a:lnTo>
                  <a:lnTo>
                    <a:pt x="1838499" y="671053"/>
                  </a:lnTo>
                  <a:lnTo>
                    <a:pt x="1839745" y="671795"/>
                  </a:lnTo>
                  <a:lnTo>
                    <a:pt x="1840906" y="673131"/>
                  </a:lnTo>
                  <a:lnTo>
                    <a:pt x="1841986" y="675061"/>
                  </a:lnTo>
                  <a:lnTo>
                    <a:pt x="1841852" y="676969"/>
                  </a:lnTo>
                  <a:lnTo>
                    <a:pt x="1840506" y="678859"/>
                  </a:lnTo>
                  <a:lnTo>
                    <a:pt x="1838834" y="680009"/>
                  </a:lnTo>
                  <a:lnTo>
                    <a:pt x="1836836" y="680429"/>
                  </a:lnTo>
                  <a:lnTo>
                    <a:pt x="1834770" y="681456"/>
                  </a:lnTo>
                  <a:lnTo>
                    <a:pt x="1830946" y="684141"/>
                  </a:lnTo>
                  <a:lnTo>
                    <a:pt x="1829697" y="684596"/>
                  </a:lnTo>
                  <a:lnTo>
                    <a:pt x="1823700" y="685749"/>
                  </a:lnTo>
                  <a:lnTo>
                    <a:pt x="1818139" y="686314"/>
                  </a:lnTo>
                  <a:lnTo>
                    <a:pt x="1814666" y="687393"/>
                  </a:lnTo>
                  <a:lnTo>
                    <a:pt x="1807991" y="690300"/>
                  </a:lnTo>
                  <a:lnTo>
                    <a:pt x="1798800" y="695686"/>
                  </a:lnTo>
                  <a:lnTo>
                    <a:pt x="1798894" y="696968"/>
                  </a:lnTo>
                  <a:lnTo>
                    <a:pt x="1802561" y="697584"/>
                  </a:lnTo>
                  <a:lnTo>
                    <a:pt x="1805533" y="696773"/>
                  </a:lnTo>
                  <a:lnTo>
                    <a:pt x="1809624" y="693054"/>
                  </a:lnTo>
                  <a:lnTo>
                    <a:pt x="1813466" y="691631"/>
                  </a:lnTo>
                  <a:lnTo>
                    <a:pt x="1819472" y="690491"/>
                  </a:lnTo>
                  <a:lnTo>
                    <a:pt x="1827779" y="689496"/>
                  </a:lnTo>
                  <a:lnTo>
                    <a:pt x="1831337" y="689651"/>
                  </a:lnTo>
                  <a:lnTo>
                    <a:pt x="1831979" y="689851"/>
                  </a:lnTo>
                  <a:lnTo>
                    <a:pt x="1832442" y="690732"/>
                  </a:lnTo>
                  <a:lnTo>
                    <a:pt x="1832730" y="692287"/>
                  </a:lnTo>
                  <a:lnTo>
                    <a:pt x="1831370" y="694315"/>
                  </a:lnTo>
                  <a:lnTo>
                    <a:pt x="1829793" y="695274"/>
                  </a:lnTo>
                  <a:lnTo>
                    <a:pt x="1825503" y="699855"/>
                  </a:lnTo>
                  <a:lnTo>
                    <a:pt x="1828324" y="701043"/>
                  </a:lnTo>
                  <a:lnTo>
                    <a:pt x="1832204" y="701557"/>
                  </a:lnTo>
                  <a:lnTo>
                    <a:pt x="1834417" y="700331"/>
                  </a:lnTo>
                  <a:lnTo>
                    <a:pt x="1836418" y="697519"/>
                  </a:lnTo>
                  <a:lnTo>
                    <a:pt x="1838662" y="695959"/>
                  </a:lnTo>
                  <a:lnTo>
                    <a:pt x="1841149" y="695650"/>
                  </a:lnTo>
                  <a:lnTo>
                    <a:pt x="1843335" y="694935"/>
                  </a:lnTo>
                  <a:lnTo>
                    <a:pt x="1845221" y="693807"/>
                  </a:lnTo>
                  <a:lnTo>
                    <a:pt x="1845734" y="693070"/>
                  </a:lnTo>
                  <a:lnTo>
                    <a:pt x="1842991" y="691607"/>
                  </a:lnTo>
                  <a:lnTo>
                    <a:pt x="1842773" y="690716"/>
                  </a:lnTo>
                  <a:lnTo>
                    <a:pt x="1843892" y="688526"/>
                  </a:lnTo>
                  <a:lnTo>
                    <a:pt x="1845909" y="686099"/>
                  </a:lnTo>
                  <a:lnTo>
                    <a:pt x="1848011" y="684589"/>
                  </a:lnTo>
                  <a:lnTo>
                    <a:pt x="1849572" y="684469"/>
                  </a:lnTo>
                  <a:lnTo>
                    <a:pt x="1854738" y="686087"/>
                  </a:lnTo>
                  <a:lnTo>
                    <a:pt x="1858271" y="688911"/>
                  </a:lnTo>
                  <a:lnTo>
                    <a:pt x="1867205" y="697339"/>
                  </a:lnTo>
                  <a:lnTo>
                    <a:pt x="1868353" y="698972"/>
                  </a:lnTo>
                  <a:lnTo>
                    <a:pt x="1871459" y="705209"/>
                  </a:lnTo>
                  <a:lnTo>
                    <a:pt x="1872049" y="707975"/>
                  </a:lnTo>
                  <a:lnTo>
                    <a:pt x="1871538" y="709899"/>
                  </a:lnTo>
                  <a:lnTo>
                    <a:pt x="1870807" y="711078"/>
                  </a:lnTo>
                  <a:lnTo>
                    <a:pt x="1869852" y="711503"/>
                  </a:lnTo>
                  <a:lnTo>
                    <a:pt x="1867888" y="711516"/>
                  </a:lnTo>
                  <a:lnTo>
                    <a:pt x="1855984" y="708972"/>
                  </a:lnTo>
                  <a:lnTo>
                    <a:pt x="1850552" y="709303"/>
                  </a:lnTo>
                  <a:lnTo>
                    <a:pt x="1848180" y="710014"/>
                  </a:lnTo>
                  <a:lnTo>
                    <a:pt x="1846266" y="711083"/>
                  </a:lnTo>
                  <a:lnTo>
                    <a:pt x="1844780" y="712427"/>
                  </a:lnTo>
                  <a:lnTo>
                    <a:pt x="1843723" y="714053"/>
                  </a:lnTo>
                  <a:lnTo>
                    <a:pt x="1841635" y="714968"/>
                  </a:lnTo>
                  <a:lnTo>
                    <a:pt x="1834083" y="715000"/>
                  </a:lnTo>
                  <a:lnTo>
                    <a:pt x="1829844" y="715906"/>
                  </a:lnTo>
                  <a:lnTo>
                    <a:pt x="1822556" y="718111"/>
                  </a:lnTo>
                  <a:lnTo>
                    <a:pt x="1819941" y="719329"/>
                  </a:lnTo>
                  <a:lnTo>
                    <a:pt x="1819355" y="720922"/>
                  </a:lnTo>
                  <a:lnTo>
                    <a:pt x="1823814" y="720644"/>
                  </a:lnTo>
                  <a:lnTo>
                    <a:pt x="1831159" y="718573"/>
                  </a:lnTo>
                  <a:lnTo>
                    <a:pt x="1838061" y="717985"/>
                  </a:lnTo>
                  <a:lnTo>
                    <a:pt x="1849596" y="722540"/>
                  </a:lnTo>
                  <a:lnTo>
                    <a:pt x="1853396" y="723247"/>
                  </a:lnTo>
                  <a:lnTo>
                    <a:pt x="1855511" y="722592"/>
                  </a:lnTo>
                  <a:lnTo>
                    <a:pt x="1858055" y="722388"/>
                  </a:lnTo>
                  <a:lnTo>
                    <a:pt x="1867275" y="722691"/>
                  </a:lnTo>
                  <a:lnTo>
                    <a:pt x="1870418" y="723247"/>
                  </a:lnTo>
                  <a:lnTo>
                    <a:pt x="1875090" y="724991"/>
                  </a:lnTo>
                  <a:lnTo>
                    <a:pt x="1882237" y="728776"/>
                  </a:lnTo>
                  <a:lnTo>
                    <a:pt x="1883609" y="729884"/>
                  </a:lnTo>
                  <a:lnTo>
                    <a:pt x="1884407" y="731052"/>
                  </a:lnTo>
                  <a:lnTo>
                    <a:pt x="1884635" y="732272"/>
                  </a:lnTo>
                  <a:lnTo>
                    <a:pt x="1884558" y="735280"/>
                  </a:lnTo>
                  <a:lnTo>
                    <a:pt x="1883845" y="736298"/>
                  </a:lnTo>
                  <a:lnTo>
                    <a:pt x="1881424" y="736988"/>
                  </a:lnTo>
                  <a:lnTo>
                    <a:pt x="1871152" y="736189"/>
                  </a:lnTo>
                  <a:lnTo>
                    <a:pt x="1868017" y="735562"/>
                  </a:lnTo>
                  <a:lnTo>
                    <a:pt x="1864159" y="736352"/>
                  </a:lnTo>
                  <a:lnTo>
                    <a:pt x="1861030" y="736076"/>
                  </a:lnTo>
                  <a:lnTo>
                    <a:pt x="1857028" y="734870"/>
                  </a:lnTo>
                  <a:lnTo>
                    <a:pt x="1852630" y="732732"/>
                  </a:lnTo>
                  <a:lnTo>
                    <a:pt x="1846045" y="734761"/>
                  </a:lnTo>
                  <a:lnTo>
                    <a:pt x="1840767" y="733443"/>
                  </a:lnTo>
                  <a:lnTo>
                    <a:pt x="1835377" y="734612"/>
                  </a:lnTo>
                  <a:lnTo>
                    <a:pt x="1824684" y="739426"/>
                  </a:lnTo>
                  <a:lnTo>
                    <a:pt x="1825880" y="740256"/>
                  </a:lnTo>
                  <a:lnTo>
                    <a:pt x="1840533" y="736126"/>
                  </a:lnTo>
                  <a:lnTo>
                    <a:pt x="1843362" y="736378"/>
                  </a:lnTo>
                  <a:lnTo>
                    <a:pt x="1847994" y="737884"/>
                  </a:lnTo>
                  <a:lnTo>
                    <a:pt x="1855315" y="740852"/>
                  </a:lnTo>
                  <a:lnTo>
                    <a:pt x="1857366" y="742066"/>
                  </a:lnTo>
                  <a:lnTo>
                    <a:pt x="1857383" y="746722"/>
                  </a:lnTo>
                  <a:lnTo>
                    <a:pt x="1856265" y="749848"/>
                  </a:lnTo>
                  <a:lnTo>
                    <a:pt x="1854032" y="753361"/>
                  </a:lnTo>
                  <a:lnTo>
                    <a:pt x="1850674" y="752888"/>
                  </a:lnTo>
                  <a:lnTo>
                    <a:pt x="1842849" y="750703"/>
                  </a:lnTo>
                  <a:lnTo>
                    <a:pt x="1839649" y="750402"/>
                  </a:lnTo>
                  <a:lnTo>
                    <a:pt x="1837308" y="750759"/>
                  </a:lnTo>
                  <a:lnTo>
                    <a:pt x="1834165" y="752151"/>
                  </a:lnTo>
                  <a:lnTo>
                    <a:pt x="1832680" y="752201"/>
                  </a:lnTo>
                  <a:lnTo>
                    <a:pt x="1820164" y="749428"/>
                  </a:lnTo>
                  <a:lnTo>
                    <a:pt x="1817351" y="749297"/>
                  </a:lnTo>
                  <a:lnTo>
                    <a:pt x="1817025" y="749579"/>
                  </a:lnTo>
                  <a:lnTo>
                    <a:pt x="1817623" y="750130"/>
                  </a:lnTo>
                  <a:lnTo>
                    <a:pt x="1828973" y="754423"/>
                  </a:lnTo>
                  <a:lnTo>
                    <a:pt x="1837362" y="754892"/>
                  </a:lnTo>
                  <a:lnTo>
                    <a:pt x="1842621" y="755634"/>
                  </a:lnTo>
                  <a:lnTo>
                    <a:pt x="1845735" y="756941"/>
                  </a:lnTo>
                  <a:lnTo>
                    <a:pt x="1847204" y="757909"/>
                  </a:lnTo>
                  <a:lnTo>
                    <a:pt x="1847308" y="760775"/>
                  </a:lnTo>
                  <a:lnTo>
                    <a:pt x="1850109" y="763655"/>
                  </a:lnTo>
                  <a:lnTo>
                    <a:pt x="1852630" y="764825"/>
                  </a:lnTo>
                  <a:lnTo>
                    <a:pt x="1854238" y="764879"/>
                  </a:lnTo>
                  <a:lnTo>
                    <a:pt x="1857003" y="763819"/>
                  </a:lnTo>
                  <a:lnTo>
                    <a:pt x="1859794" y="763655"/>
                  </a:lnTo>
                  <a:lnTo>
                    <a:pt x="1862051" y="764393"/>
                  </a:lnTo>
                  <a:lnTo>
                    <a:pt x="1864876" y="765981"/>
                  </a:lnTo>
                  <a:lnTo>
                    <a:pt x="1868294" y="766425"/>
                  </a:lnTo>
                  <a:lnTo>
                    <a:pt x="1871292" y="767389"/>
                  </a:lnTo>
                  <a:lnTo>
                    <a:pt x="1873607" y="767583"/>
                  </a:lnTo>
                  <a:lnTo>
                    <a:pt x="1880124" y="767136"/>
                  </a:lnTo>
                  <a:lnTo>
                    <a:pt x="1882949" y="767746"/>
                  </a:lnTo>
                  <a:lnTo>
                    <a:pt x="1883681" y="768275"/>
                  </a:lnTo>
                  <a:lnTo>
                    <a:pt x="1882451" y="769200"/>
                  </a:lnTo>
                  <a:lnTo>
                    <a:pt x="1876496" y="771416"/>
                  </a:lnTo>
                  <a:lnTo>
                    <a:pt x="1875591" y="773526"/>
                  </a:lnTo>
                  <a:lnTo>
                    <a:pt x="1878952" y="776266"/>
                  </a:lnTo>
                  <a:lnTo>
                    <a:pt x="1880712" y="778362"/>
                  </a:lnTo>
                  <a:lnTo>
                    <a:pt x="1880627" y="779925"/>
                  </a:lnTo>
                  <a:lnTo>
                    <a:pt x="1878832" y="783481"/>
                  </a:lnTo>
                  <a:lnTo>
                    <a:pt x="1878376" y="784910"/>
                  </a:lnTo>
                  <a:lnTo>
                    <a:pt x="1878967" y="785026"/>
                  </a:lnTo>
                  <a:lnTo>
                    <a:pt x="1883298" y="782148"/>
                  </a:lnTo>
                  <a:lnTo>
                    <a:pt x="1883973" y="782517"/>
                  </a:lnTo>
                  <a:lnTo>
                    <a:pt x="1884424" y="786500"/>
                  </a:lnTo>
                  <a:lnTo>
                    <a:pt x="1884979" y="786274"/>
                  </a:lnTo>
                  <a:lnTo>
                    <a:pt x="1886430" y="782978"/>
                  </a:lnTo>
                  <a:lnTo>
                    <a:pt x="1885784" y="778580"/>
                  </a:lnTo>
                  <a:lnTo>
                    <a:pt x="1888324" y="776844"/>
                  </a:lnTo>
                  <a:lnTo>
                    <a:pt x="1896397" y="775526"/>
                  </a:lnTo>
                  <a:lnTo>
                    <a:pt x="1895030" y="782424"/>
                  </a:lnTo>
                  <a:lnTo>
                    <a:pt x="1894817" y="785998"/>
                  </a:lnTo>
                  <a:lnTo>
                    <a:pt x="1891288" y="791939"/>
                  </a:lnTo>
                  <a:lnTo>
                    <a:pt x="1888345" y="793851"/>
                  </a:lnTo>
                  <a:lnTo>
                    <a:pt x="1888433" y="794247"/>
                  </a:lnTo>
                  <a:lnTo>
                    <a:pt x="1890526" y="795001"/>
                  </a:lnTo>
                  <a:lnTo>
                    <a:pt x="1891833" y="795083"/>
                  </a:lnTo>
                  <a:lnTo>
                    <a:pt x="1893086" y="794157"/>
                  </a:lnTo>
                  <a:lnTo>
                    <a:pt x="1896073" y="789571"/>
                  </a:lnTo>
                  <a:lnTo>
                    <a:pt x="1902142" y="784786"/>
                  </a:lnTo>
                  <a:lnTo>
                    <a:pt x="1903244" y="784683"/>
                  </a:lnTo>
                  <a:lnTo>
                    <a:pt x="1903203" y="786415"/>
                  </a:lnTo>
                  <a:lnTo>
                    <a:pt x="1902420" y="789628"/>
                  </a:lnTo>
                  <a:lnTo>
                    <a:pt x="1905222" y="791133"/>
                  </a:lnTo>
                  <a:lnTo>
                    <a:pt x="1907895" y="789643"/>
                  </a:lnTo>
                  <a:lnTo>
                    <a:pt x="1909347" y="788354"/>
                  </a:lnTo>
                  <a:lnTo>
                    <a:pt x="1912703" y="788545"/>
                  </a:lnTo>
                  <a:lnTo>
                    <a:pt x="1914231" y="789156"/>
                  </a:lnTo>
                  <a:lnTo>
                    <a:pt x="1914686" y="790573"/>
                  </a:lnTo>
                  <a:lnTo>
                    <a:pt x="1913143" y="796497"/>
                  </a:lnTo>
                  <a:lnTo>
                    <a:pt x="1913425" y="797961"/>
                  </a:lnTo>
                  <a:lnTo>
                    <a:pt x="1916965" y="801893"/>
                  </a:lnTo>
                  <a:lnTo>
                    <a:pt x="1917324" y="801658"/>
                  </a:lnTo>
                  <a:lnTo>
                    <a:pt x="1916655" y="799761"/>
                  </a:lnTo>
                  <a:lnTo>
                    <a:pt x="1915926" y="795066"/>
                  </a:lnTo>
                  <a:lnTo>
                    <a:pt x="1916608" y="793029"/>
                  </a:lnTo>
                  <a:lnTo>
                    <a:pt x="1919524" y="790408"/>
                  </a:lnTo>
                  <a:lnTo>
                    <a:pt x="1925506" y="786632"/>
                  </a:lnTo>
                  <a:lnTo>
                    <a:pt x="1927724" y="785883"/>
                  </a:lnTo>
                  <a:lnTo>
                    <a:pt x="1929109" y="786396"/>
                  </a:lnTo>
                  <a:lnTo>
                    <a:pt x="1931311" y="788210"/>
                  </a:lnTo>
                  <a:lnTo>
                    <a:pt x="1930624" y="789293"/>
                  </a:lnTo>
                  <a:lnTo>
                    <a:pt x="1928245" y="790425"/>
                  </a:lnTo>
                  <a:lnTo>
                    <a:pt x="1926479" y="792472"/>
                  </a:lnTo>
                  <a:lnTo>
                    <a:pt x="1925328" y="795435"/>
                  </a:lnTo>
                  <a:lnTo>
                    <a:pt x="1926604" y="797010"/>
                  </a:lnTo>
                  <a:lnTo>
                    <a:pt x="1931453" y="797151"/>
                  </a:lnTo>
                  <a:lnTo>
                    <a:pt x="1936323" y="794723"/>
                  </a:lnTo>
                  <a:lnTo>
                    <a:pt x="1939119" y="795918"/>
                  </a:lnTo>
                  <a:lnTo>
                    <a:pt x="1942444" y="799074"/>
                  </a:lnTo>
                  <a:lnTo>
                    <a:pt x="1948534" y="804136"/>
                  </a:lnTo>
                  <a:lnTo>
                    <a:pt x="1952003" y="802757"/>
                  </a:lnTo>
                  <a:lnTo>
                    <a:pt x="1956294" y="806596"/>
                  </a:lnTo>
                  <a:lnTo>
                    <a:pt x="1950530" y="809638"/>
                  </a:lnTo>
                  <a:lnTo>
                    <a:pt x="1952294" y="816026"/>
                  </a:lnTo>
                  <a:lnTo>
                    <a:pt x="1944806" y="815761"/>
                  </a:lnTo>
                  <a:lnTo>
                    <a:pt x="1940596" y="816261"/>
                  </a:lnTo>
                  <a:lnTo>
                    <a:pt x="1937776" y="815688"/>
                  </a:lnTo>
                  <a:lnTo>
                    <a:pt x="1934748" y="815887"/>
                  </a:lnTo>
                  <a:lnTo>
                    <a:pt x="1937554" y="817393"/>
                  </a:lnTo>
                  <a:lnTo>
                    <a:pt x="1942963" y="818013"/>
                  </a:lnTo>
                  <a:lnTo>
                    <a:pt x="1943457" y="819943"/>
                  </a:lnTo>
                  <a:lnTo>
                    <a:pt x="1947705" y="819895"/>
                  </a:lnTo>
                  <a:lnTo>
                    <a:pt x="1950893" y="819525"/>
                  </a:lnTo>
                  <a:lnTo>
                    <a:pt x="1956648" y="819601"/>
                  </a:lnTo>
                  <a:lnTo>
                    <a:pt x="1956955" y="817386"/>
                  </a:lnTo>
                  <a:lnTo>
                    <a:pt x="1960699" y="816120"/>
                  </a:lnTo>
                  <a:lnTo>
                    <a:pt x="1962851" y="814726"/>
                  </a:lnTo>
                  <a:lnTo>
                    <a:pt x="1964639" y="815551"/>
                  </a:lnTo>
                  <a:lnTo>
                    <a:pt x="1969844" y="816498"/>
                  </a:lnTo>
                  <a:lnTo>
                    <a:pt x="1976834" y="820851"/>
                  </a:lnTo>
                  <a:lnTo>
                    <a:pt x="1973754" y="823452"/>
                  </a:lnTo>
                  <a:lnTo>
                    <a:pt x="1972915" y="825908"/>
                  </a:lnTo>
                  <a:lnTo>
                    <a:pt x="1971880" y="827986"/>
                  </a:lnTo>
                  <a:lnTo>
                    <a:pt x="1971300" y="829861"/>
                  </a:lnTo>
                  <a:lnTo>
                    <a:pt x="1970073" y="831151"/>
                  </a:lnTo>
                  <a:lnTo>
                    <a:pt x="1960063" y="838492"/>
                  </a:lnTo>
                  <a:lnTo>
                    <a:pt x="1961720" y="838559"/>
                  </a:lnTo>
                  <a:lnTo>
                    <a:pt x="1965955" y="836787"/>
                  </a:lnTo>
                  <a:lnTo>
                    <a:pt x="1974209" y="834146"/>
                  </a:lnTo>
                  <a:lnTo>
                    <a:pt x="1978808" y="833082"/>
                  </a:lnTo>
                  <a:lnTo>
                    <a:pt x="1982078" y="833789"/>
                  </a:lnTo>
                  <a:lnTo>
                    <a:pt x="1983730" y="833820"/>
                  </a:lnTo>
                  <a:lnTo>
                    <a:pt x="1985194" y="832876"/>
                  </a:lnTo>
                  <a:lnTo>
                    <a:pt x="1987921" y="833963"/>
                  </a:lnTo>
                  <a:lnTo>
                    <a:pt x="1993579" y="834955"/>
                  </a:lnTo>
                  <a:lnTo>
                    <a:pt x="2000074" y="828917"/>
                  </a:lnTo>
                  <a:lnTo>
                    <a:pt x="2004005" y="830102"/>
                  </a:lnTo>
                  <a:lnTo>
                    <a:pt x="2007668" y="833830"/>
                  </a:lnTo>
                  <a:lnTo>
                    <a:pt x="2015514" y="840362"/>
                  </a:lnTo>
                  <a:lnTo>
                    <a:pt x="2019603" y="844156"/>
                  </a:lnTo>
                  <a:lnTo>
                    <a:pt x="2020965" y="845875"/>
                  </a:lnTo>
                  <a:lnTo>
                    <a:pt x="2020775" y="847568"/>
                  </a:lnTo>
                  <a:lnTo>
                    <a:pt x="2017077" y="849359"/>
                  </a:lnTo>
                  <a:lnTo>
                    <a:pt x="2015181" y="849719"/>
                  </a:lnTo>
                  <a:lnTo>
                    <a:pt x="2010203" y="846339"/>
                  </a:lnTo>
                  <a:lnTo>
                    <a:pt x="2005630" y="844627"/>
                  </a:lnTo>
                  <a:lnTo>
                    <a:pt x="2002847" y="844811"/>
                  </a:lnTo>
                  <a:lnTo>
                    <a:pt x="2000081" y="846116"/>
                  </a:lnTo>
                  <a:lnTo>
                    <a:pt x="2000943" y="846843"/>
                  </a:lnTo>
                  <a:lnTo>
                    <a:pt x="2012016" y="852047"/>
                  </a:lnTo>
                  <a:lnTo>
                    <a:pt x="2013948" y="855880"/>
                  </a:lnTo>
                  <a:lnTo>
                    <a:pt x="2014092" y="857553"/>
                  </a:lnTo>
                  <a:lnTo>
                    <a:pt x="2006690" y="860087"/>
                  </a:lnTo>
                  <a:lnTo>
                    <a:pt x="2004315" y="860237"/>
                  </a:lnTo>
                  <a:lnTo>
                    <a:pt x="1999191" y="859027"/>
                  </a:lnTo>
                  <a:lnTo>
                    <a:pt x="1996187" y="856768"/>
                  </a:lnTo>
                  <a:lnTo>
                    <a:pt x="1993712" y="855950"/>
                  </a:lnTo>
                  <a:lnTo>
                    <a:pt x="1990281" y="855682"/>
                  </a:lnTo>
                  <a:lnTo>
                    <a:pt x="1989183" y="856120"/>
                  </a:lnTo>
                  <a:lnTo>
                    <a:pt x="1992922" y="859958"/>
                  </a:lnTo>
                  <a:lnTo>
                    <a:pt x="1992563" y="861112"/>
                  </a:lnTo>
                  <a:lnTo>
                    <a:pt x="1990632" y="861857"/>
                  </a:lnTo>
                  <a:lnTo>
                    <a:pt x="1989678" y="863705"/>
                  </a:lnTo>
                  <a:lnTo>
                    <a:pt x="1997070" y="867033"/>
                  </a:lnTo>
                  <a:lnTo>
                    <a:pt x="2002602" y="870413"/>
                  </a:lnTo>
                  <a:lnTo>
                    <a:pt x="2003421" y="871766"/>
                  </a:lnTo>
                  <a:lnTo>
                    <a:pt x="1999692" y="872769"/>
                  </a:lnTo>
                  <a:lnTo>
                    <a:pt x="1997012" y="873001"/>
                  </a:lnTo>
                  <a:lnTo>
                    <a:pt x="1991348" y="872513"/>
                  </a:lnTo>
                  <a:lnTo>
                    <a:pt x="1988240" y="871802"/>
                  </a:lnTo>
                  <a:lnTo>
                    <a:pt x="1987382" y="872564"/>
                  </a:lnTo>
                  <a:lnTo>
                    <a:pt x="1990597" y="874335"/>
                  </a:lnTo>
                  <a:lnTo>
                    <a:pt x="1991838" y="875530"/>
                  </a:lnTo>
                  <a:lnTo>
                    <a:pt x="1992804" y="877195"/>
                  </a:lnTo>
                  <a:lnTo>
                    <a:pt x="1993366" y="878763"/>
                  </a:lnTo>
                  <a:lnTo>
                    <a:pt x="1993523" y="880227"/>
                  </a:lnTo>
                  <a:lnTo>
                    <a:pt x="1990894" y="881431"/>
                  </a:lnTo>
                  <a:lnTo>
                    <a:pt x="1987734" y="884807"/>
                  </a:lnTo>
                  <a:lnTo>
                    <a:pt x="1986502" y="888297"/>
                  </a:lnTo>
                  <a:lnTo>
                    <a:pt x="1983641" y="888628"/>
                  </a:lnTo>
                  <a:lnTo>
                    <a:pt x="1982485" y="887973"/>
                  </a:lnTo>
                  <a:lnTo>
                    <a:pt x="1978641" y="889030"/>
                  </a:lnTo>
                  <a:lnTo>
                    <a:pt x="1973568" y="887573"/>
                  </a:lnTo>
                  <a:lnTo>
                    <a:pt x="1971749" y="885978"/>
                  </a:lnTo>
                  <a:lnTo>
                    <a:pt x="1966220" y="879402"/>
                  </a:lnTo>
                  <a:lnTo>
                    <a:pt x="1966077" y="880141"/>
                  </a:lnTo>
                  <a:lnTo>
                    <a:pt x="1967461" y="883465"/>
                  </a:lnTo>
                  <a:lnTo>
                    <a:pt x="1967179" y="885435"/>
                  </a:lnTo>
                  <a:lnTo>
                    <a:pt x="1961321" y="886865"/>
                  </a:lnTo>
                  <a:lnTo>
                    <a:pt x="1961343" y="887420"/>
                  </a:lnTo>
                  <a:lnTo>
                    <a:pt x="1964940" y="888460"/>
                  </a:lnTo>
                  <a:lnTo>
                    <a:pt x="1969295" y="889263"/>
                  </a:lnTo>
                  <a:lnTo>
                    <a:pt x="1968615" y="892324"/>
                  </a:lnTo>
                  <a:lnTo>
                    <a:pt x="1968638" y="905324"/>
                  </a:lnTo>
                  <a:lnTo>
                    <a:pt x="1967663" y="909922"/>
                  </a:lnTo>
                  <a:lnTo>
                    <a:pt x="1965533" y="913931"/>
                  </a:lnTo>
                  <a:lnTo>
                    <a:pt x="1962471" y="917766"/>
                  </a:lnTo>
                  <a:lnTo>
                    <a:pt x="1959160" y="915254"/>
                  </a:lnTo>
                  <a:lnTo>
                    <a:pt x="1957837" y="912689"/>
                  </a:lnTo>
                  <a:lnTo>
                    <a:pt x="1956725" y="911372"/>
                  </a:lnTo>
                  <a:lnTo>
                    <a:pt x="1955142" y="910301"/>
                  </a:lnTo>
                  <a:lnTo>
                    <a:pt x="1953098" y="909797"/>
                  </a:lnTo>
                  <a:lnTo>
                    <a:pt x="1950938" y="909778"/>
                  </a:lnTo>
                  <a:lnTo>
                    <a:pt x="1948645" y="912079"/>
                  </a:lnTo>
                  <a:lnTo>
                    <a:pt x="1946145" y="910094"/>
                  </a:lnTo>
                  <a:lnTo>
                    <a:pt x="1943730" y="907694"/>
                  </a:lnTo>
                  <a:lnTo>
                    <a:pt x="1944641" y="901399"/>
                  </a:lnTo>
                  <a:lnTo>
                    <a:pt x="1945658" y="898240"/>
                  </a:lnTo>
                  <a:lnTo>
                    <a:pt x="1945251" y="898264"/>
                  </a:lnTo>
                  <a:lnTo>
                    <a:pt x="1943876" y="899758"/>
                  </a:lnTo>
                  <a:lnTo>
                    <a:pt x="1940582" y="904373"/>
                  </a:lnTo>
                  <a:lnTo>
                    <a:pt x="1938421" y="909998"/>
                  </a:lnTo>
                  <a:lnTo>
                    <a:pt x="1935625" y="907837"/>
                  </a:lnTo>
                  <a:lnTo>
                    <a:pt x="1933103" y="905144"/>
                  </a:lnTo>
                  <a:lnTo>
                    <a:pt x="1931021" y="902435"/>
                  </a:lnTo>
                  <a:lnTo>
                    <a:pt x="1927655" y="899305"/>
                  </a:lnTo>
                  <a:lnTo>
                    <a:pt x="1924388" y="895625"/>
                  </a:lnTo>
                  <a:lnTo>
                    <a:pt x="1922684" y="891285"/>
                  </a:lnTo>
                  <a:lnTo>
                    <a:pt x="1921891" y="890392"/>
                  </a:lnTo>
                  <a:lnTo>
                    <a:pt x="1919988" y="886767"/>
                  </a:lnTo>
                  <a:lnTo>
                    <a:pt x="1919241" y="885730"/>
                  </a:lnTo>
                  <a:lnTo>
                    <a:pt x="1918584" y="885386"/>
                  </a:lnTo>
                  <a:lnTo>
                    <a:pt x="1916955" y="883122"/>
                  </a:lnTo>
                  <a:lnTo>
                    <a:pt x="1917552" y="880696"/>
                  </a:lnTo>
                  <a:lnTo>
                    <a:pt x="1920117" y="877827"/>
                  </a:lnTo>
                  <a:lnTo>
                    <a:pt x="1922452" y="875763"/>
                  </a:lnTo>
                  <a:lnTo>
                    <a:pt x="1926322" y="873728"/>
                  </a:lnTo>
                  <a:lnTo>
                    <a:pt x="1930849" y="872579"/>
                  </a:lnTo>
                  <a:lnTo>
                    <a:pt x="1932907" y="869949"/>
                  </a:lnTo>
                  <a:lnTo>
                    <a:pt x="1935430" y="865149"/>
                  </a:lnTo>
                  <a:lnTo>
                    <a:pt x="1938195" y="861803"/>
                  </a:lnTo>
                  <a:lnTo>
                    <a:pt x="1941203" y="859906"/>
                  </a:lnTo>
                  <a:lnTo>
                    <a:pt x="1939706" y="859554"/>
                  </a:lnTo>
                  <a:lnTo>
                    <a:pt x="1935883" y="861177"/>
                  </a:lnTo>
                  <a:lnTo>
                    <a:pt x="1933196" y="863541"/>
                  </a:lnTo>
                  <a:lnTo>
                    <a:pt x="1929998" y="867476"/>
                  </a:lnTo>
                  <a:lnTo>
                    <a:pt x="1927026" y="869984"/>
                  </a:lnTo>
                  <a:lnTo>
                    <a:pt x="1919396" y="872892"/>
                  </a:lnTo>
                  <a:lnTo>
                    <a:pt x="1916602" y="873473"/>
                  </a:lnTo>
                  <a:lnTo>
                    <a:pt x="1913352" y="873783"/>
                  </a:lnTo>
                  <a:lnTo>
                    <a:pt x="1906201" y="873376"/>
                  </a:lnTo>
                  <a:lnTo>
                    <a:pt x="1904544" y="872399"/>
                  </a:lnTo>
                  <a:lnTo>
                    <a:pt x="1905405" y="869619"/>
                  </a:lnTo>
                  <a:lnTo>
                    <a:pt x="1910497" y="864643"/>
                  </a:lnTo>
                  <a:lnTo>
                    <a:pt x="1909684" y="864291"/>
                  </a:lnTo>
                  <a:lnTo>
                    <a:pt x="1907894" y="866055"/>
                  </a:lnTo>
                  <a:lnTo>
                    <a:pt x="1905435" y="867273"/>
                  </a:lnTo>
                  <a:lnTo>
                    <a:pt x="1903304" y="867896"/>
                  </a:lnTo>
                  <a:lnTo>
                    <a:pt x="1900167" y="867673"/>
                  </a:lnTo>
                  <a:lnTo>
                    <a:pt x="1896493" y="864573"/>
                  </a:lnTo>
                  <a:lnTo>
                    <a:pt x="1894749" y="863617"/>
                  </a:lnTo>
                  <a:lnTo>
                    <a:pt x="1891153" y="862548"/>
                  </a:lnTo>
                  <a:lnTo>
                    <a:pt x="1889689" y="861484"/>
                  </a:lnTo>
                  <a:lnTo>
                    <a:pt x="1883721" y="853853"/>
                  </a:lnTo>
                  <a:lnTo>
                    <a:pt x="1882518" y="851820"/>
                  </a:lnTo>
                  <a:lnTo>
                    <a:pt x="1881818" y="849822"/>
                  </a:lnTo>
                  <a:lnTo>
                    <a:pt x="1879903" y="848141"/>
                  </a:lnTo>
                  <a:lnTo>
                    <a:pt x="1876773" y="846776"/>
                  </a:lnTo>
                  <a:lnTo>
                    <a:pt x="1876052" y="847000"/>
                  </a:lnTo>
                  <a:lnTo>
                    <a:pt x="1877177" y="848711"/>
                  </a:lnTo>
                  <a:lnTo>
                    <a:pt x="1877212" y="850182"/>
                  </a:lnTo>
                  <a:lnTo>
                    <a:pt x="1874478" y="851101"/>
                  </a:lnTo>
                  <a:lnTo>
                    <a:pt x="1871618" y="850782"/>
                  </a:lnTo>
                  <a:lnTo>
                    <a:pt x="1868634" y="849226"/>
                  </a:lnTo>
                  <a:lnTo>
                    <a:pt x="1868371" y="851317"/>
                  </a:lnTo>
                  <a:lnTo>
                    <a:pt x="1871565" y="855024"/>
                  </a:lnTo>
                  <a:lnTo>
                    <a:pt x="1871615" y="859713"/>
                  </a:lnTo>
                  <a:lnTo>
                    <a:pt x="1870712" y="860196"/>
                  </a:lnTo>
                  <a:lnTo>
                    <a:pt x="1868535" y="860472"/>
                  </a:lnTo>
                  <a:lnTo>
                    <a:pt x="1867073" y="859893"/>
                  </a:lnTo>
                  <a:lnTo>
                    <a:pt x="1862233" y="856390"/>
                  </a:lnTo>
                  <a:lnTo>
                    <a:pt x="1857643" y="853948"/>
                  </a:lnTo>
                  <a:lnTo>
                    <a:pt x="1854405" y="852597"/>
                  </a:lnTo>
                  <a:lnTo>
                    <a:pt x="1854027" y="853558"/>
                  </a:lnTo>
                  <a:lnTo>
                    <a:pt x="1856127" y="857788"/>
                  </a:lnTo>
                  <a:lnTo>
                    <a:pt x="1858563" y="861953"/>
                  </a:lnTo>
                  <a:lnTo>
                    <a:pt x="1862550" y="865381"/>
                  </a:lnTo>
                  <a:lnTo>
                    <a:pt x="1868902" y="869456"/>
                  </a:lnTo>
                  <a:lnTo>
                    <a:pt x="1871782" y="871802"/>
                  </a:lnTo>
                  <a:lnTo>
                    <a:pt x="1869513" y="875110"/>
                  </a:lnTo>
                  <a:lnTo>
                    <a:pt x="1867541" y="876191"/>
                  </a:lnTo>
                  <a:lnTo>
                    <a:pt x="1866315" y="876526"/>
                  </a:lnTo>
                  <a:lnTo>
                    <a:pt x="1862461" y="876530"/>
                  </a:lnTo>
                  <a:lnTo>
                    <a:pt x="1855431" y="874706"/>
                  </a:lnTo>
                  <a:lnTo>
                    <a:pt x="1852130" y="872667"/>
                  </a:lnTo>
                  <a:lnTo>
                    <a:pt x="1847336" y="867795"/>
                  </a:lnTo>
                  <a:lnTo>
                    <a:pt x="1839409" y="862769"/>
                  </a:lnTo>
                  <a:lnTo>
                    <a:pt x="1837687" y="862795"/>
                  </a:lnTo>
                  <a:lnTo>
                    <a:pt x="1832080" y="864841"/>
                  </a:lnTo>
                  <a:lnTo>
                    <a:pt x="1832961" y="865170"/>
                  </a:lnTo>
                  <a:lnTo>
                    <a:pt x="1836575" y="865318"/>
                  </a:lnTo>
                  <a:lnTo>
                    <a:pt x="1839226" y="865971"/>
                  </a:lnTo>
                  <a:lnTo>
                    <a:pt x="1845563" y="869937"/>
                  </a:lnTo>
                  <a:lnTo>
                    <a:pt x="1846041" y="871612"/>
                  </a:lnTo>
                  <a:lnTo>
                    <a:pt x="1844460" y="873473"/>
                  </a:lnTo>
                  <a:lnTo>
                    <a:pt x="1844557" y="875819"/>
                  </a:lnTo>
                  <a:lnTo>
                    <a:pt x="1846336" y="878651"/>
                  </a:lnTo>
                  <a:lnTo>
                    <a:pt x="1848153" y="880458"/>
                  </a:lnTo>
                  <a:lnTo>
                    <a:pt x="1851880" y="881733"/>
                  </a:lnTo>
                  <a:lnTo>
                    <a:pt x="1853753" y="881900"/>
                  </a:lnTo>
                  <a:lnTo>
                    <a:pt x="1854456" y="882718"/>
                  </a:lnTo>
                  <a:lnTo>
                    <a:pt x="1852228" y="888999"/>
                  </a:lnTo>
                  <a:lnTo>
                    <a:pt x="1852039" y="890713"/>
                  </a:lnTo>
                  <a:lnTo>
                    <a:pt x="1852674" y="891422"/>
                  </a:lnTo>
                  <a:lnTo>
                    <a:pt x="1853452" y="891481"/>
                  </a:lnTo>
                  <a:lnTo>
                    <a:pt x="1858242" y="888906"/>
                  </a:lnTo>
                  <a:lnTo>
                    <a:pt x="1860247" y="888277"/>
                  </a:lnTo>
                  <a:lnTo>
                    <a:pt x="1861983" y="888147"/>
                  </a:lnTo>
                  <a:lnTo>
                    <a:pt x="1863999" y="888869"/>
                  </a:lnTo>
                  <a:lnTo>
                    <a:pt x="1866291" y="890445"/>
                  </a:lnTo>
                  <a:lnTo>
                    <a:pt x="1867643" y="892068"/>
                  </a:lnTo>
                  <a:lnTo>
                    <a:pt x="1868050" y="893739"/>
                  </a:lnTo>
                  <a:lnTo>
                    <a:pt x="1868732" y="894831"/>
                  </a:lnTo>
                  <a:lnTo>
                    <a:pt x="1873435" y="896597"/>
                  </a:lnTo>
                  <a:lnTo>
                    <a:pt x="1873004" y="897421"/>
                  </a:lnTo>
                  <a:lnTo>
                    <a:pt x="1868158" y="900070"/>
                  </a:lnTo>
                  <a:lnTo>
                    <a:pt x="1867893" y="900488"/>
                  </a:lnTo>
                  <a:lnTo>
                    <a:pt x="1868862" y="900679"/>
                  </a:lnTo>
                  <a:lnTo>
                    <a:pt x="1871924" y="902259"/>
                  </a:lnTo>
                  <a:lnTo>
                    <a:pt x="1874740" y="904730"/>
                  </a:lnTo>
                  <a:lnTo>
                    <a:pt x="1876462" y="907669"/>
                  </a:lnTo>
                  <a:lnTo>
                    <a:pt x="1876809" y="909113"/>
                  </a:lnTo>
                  <a:lnTo>
                    <a:pt x="1876790" y="910484"/>
                  </a:lnTo>
                  <a:lnTo>
                    <a:pt x="1877178" y="911306"/>
                  </a:lnTo>
                  <a:lnTo>
                    <a:pt x="1878670" y="911454"/>
                  </a:lnTo>
                  <a:lnTo>
                    <a:pt x="1879279" y="910931"/>
                  </a:lnTo>
                  <a:lnTo>
                    <a:pt x="1879960" y="911030"/>
                  </a:lnTo>
                  <a:lnTo>
                    <a:pt x="1880715" y="911748"/>
                  </a:lnTo>
                  <a:lnTo>
                    <a:pt x="1881508" y="913995"/>
                  </a:lnTo>
                  <a:lnTo>
                    <a:pt x="1883203" y="920562"/>
                  </a:lnTo>
                  <a:lnTo>
                    <a:pt x="1884098" y="922405"/>
                  </a:lnTo>
                  <a:lnTo>
                    <a:pt x="1884613" y="922467"/>
                  </a:lnTo>
                  <a:lnTo>
                    <a:pt x="1884877" y="915883"/>
                  </a:lnTo>
                  <a:lnTo>
                    <a:pt x="1885668" y="914792"/>
                  </a:lnTo>
                  <a:lnTo>
                    <a:pt x="1888654" y="915960"/>
                  </a:lnTo>
                  <a:lnTo>
                    <a:pt x="1893029" y="918524"/>
                  </a:lnTo>
                  <a:lnTo>
                    <a:pt x="1896110" y="920806"/>
                  </a:lnTo>
                  <a:lnTo>
                    <a:pt x="1896465" y="921874"/>
                  </a:lnTo>
                  <a:lnTo>
                    <a:pt x="1894138" y="923941"/>
                  </a:lnTo>
                  <a:lnTo>
                    <a:pt x="1894629" y="924861"/>
                  </a:lnTo>
                  <a:lnTo>
                    <a:pt x="1896340" y="926211"/>
                  </a:lnTo>
                  <a:lnTo>
                    <a:pt x="1897916" y="925698"/>
                  </a:lnTo>
                  <a:lnTo>
                    <a:pt x="1899056" y="923389"/>
                  </a:lnTo>
                  <a:lnTo>
                    <a:pt x="1901017" y="921116"/>
                  </a:lnTo>
                  <a:lnTo>
                    <a:pt x="1903342" y="919507"/>
                  </a:lnTo>
                  <a:lnTo>
                    <a:pt x="1907664" y="920829"/>
                  </a:lnTo>
                  <a:lnTo>
                    <a:pt x="1911247" y="924228"/>
                  </a:lnTo>
                  <a:lnTo>
                    <a:pt x="1911792" y="925393"/>
                  </a:lnTo>
                  <a:lnTo>
                    <a:pt x="1914126" y="926862"/>
                  </a:lnTo>
                  <a:lnTo>
                    <a:pt x="1916187" y="926046"/>
                  </a:lnTo>
                  <a:lnTo>
                    <a:pt x="1920171" y="929931"/>
                  </a:lnTo>
                  <a:lnTo>
                    <a:pt x="1918282" y="931691"/>
                  </a:lnTo>
                  <a:lnTo>
                    <a:pt x="1914137" y="934246"/>
                  </a:lnTo>
                  <a:lnTo>
                    <a:pt x="1913717" y="935112"/>
                  </a:lnTo>
                  <a:lnTo>
                    <a:pt x="1914715" y="934914"/>
                  </a:lnTo>
                  <a:lnTo>
                    <a:pt x="1922610" y="934910"/>
                  </a:lnTo>
                  <a:lnTo>
                    <a:pt x="1924743" y="935937"/>
                  </a:lnTo>
                  <a:lnTo>
                    <a:pt x="1925247" y="937891"/>
                  </a:lnTo>
                  <a:lnTo>
                    <a:pt x="1921738" y="943324"/>
                  </a:lnTo>
                  <a:lnTo>
                    <a:pt x="1918521" y="942843"/>
                  </a:lnTo>
                  <a:lnTo>
                    <a:pt x="1914272" y="942712"/>
                  </a:lnTo>
                  <a:lnTo>
                    <a:pt x="1912086" y="943004"/>
                  </a:lnTo>
                  <a:lnTo>
                    <a:pt x="1912425" y="943707"/>
                  </a:lnTo>
                  <a:lnTo>
                    <a:pt x="1918320" y="946208"/>
                  </a:lnTo>
                  <a:lnTo>
                    <a:pt x="1919988" y="948267"/>
                  </a:lnTo>
                  <a:lnTo>
                    <a:pt x="1922251" y="950369"/>
                  </a:lnTo>
                  <a:lnTo>
                    <a:pt x="1923346" y="952099"/>
                  </a:lnTo>
                  <a:lnTo>
                    <a:pt x="1923320" y="952895"/>
                  </a:lnTo>
                  <a:lnTo>
                    <a:pt x="1922390" y="954091"/>
                  </a:lnTo>
                  <a:lnTo>
                    <a:pt x="1922832" y="954489"/>
                  </a:lnTo>
                  <a:lnTo>
                    <a:pt x="1926871" y="955271"/>
                  </a:lnTo>
                  <a:lnTo>
                    <a:pt x="1929376" y="954569"/>
                  </a:lnTo>
                  <a:lnTo>
                    <a:pt x="1932520" y="954303"/>
                  </a:lnTo>
                  <a:lnTo>
                    <a:pt x="1935293" y="954497"/>
                  </a:lnTo>
                  <a:lnTo>
                    <a:pt x="1935514" y="955241"/>
                  </a:lnTo>
                  <a:lnTo>
                    <a:pt x="1935096" y="957209"/>
                  </a:lnTo>
                  <a:lnTo>
                    <a:pt x="1932257" y="959028"/>
                  </a:lnTo>
                  <a:lnTo>
                    <a:pt x="1933017" y="959453"/>
                  </a:lnTo>
                  <a:lnTo>
                    <a:pt x="1936351" y="958930"/>
                  </a:lnTo>
                  <a:lnTo>
                    <a:pt x="1937882" y="959779"/>
                  </a:lnTo>
                  <a:lnTo>
                    <a:pt x="1939855" y="964098"/>
                  </a:lnTo>
                  <a:lnTo>
                    <a:pt x="1942075" y="967482"/>
                  </a:lnTo>
                  <a:lnTo>
                    <a:pt x="1940268" y="968258"/>
                  </a:lnTo>
                  <a:lnTo>
                    <a:pt x="1938256" y="968555"/>
                  </a:lnTo>
                  <a:lnTo>
                    <a:pt x="1938542" y="972862"/>
                  </a:lnTo>
                  <a:lnTo>
                    <a:pt x="1939852" y="977267"/>
                  </a:lnTo>
                  <a:lnTo>
                    <a:pt x="1939866" y="981481"/>
                  </a:lnTo>
                  <a:lnTo>
                    <a:pt x="1939453" y="985226"/>
                  </a:lnTo>
                  <a:lnTo>
                    <a:pt x="1937614" y="986056"/>
                  </a:lnTo>
                  <a:lnTo>
                    <a:pt x="1935642" y="985969"/>
                  </a:lnTo>
                  <a:lnTo>
                    <a:pt x="1934858" y="985029"/>
                  </a:lnTo>
                  <a:lnTo>
                    <a:pt x="1930022" y="973819"/>
                  </a:lnTo>
                  <a:lnTo>
                    <a:pt x="1928831" y="971789"/>
                  </a:lnTo>
                  <a:lnTo>
                    <a:pt x="1927401" y="970017"/>
                  </a:lnTo>
                  <a:lnTo>
                    <a:pt x="1922275" y="965149"/>
                  </a:lnTo>
                  <a:lnTo>
                    <a:pt x="1922476" y="965932"/>
                  </a:lnTo>
                  <a:lnTo>
                    <a:pt x="1923745" y="968177"/>
                  </a:lnTo>
                  <a:lnTo>
                    <a:pt x="1924872" y="971520"/>
                  </a:lnTo>
                  <a:lnTo>
                    <a:pt x="1926345" y="978175"/>
                  </a:lnTo>
                  <a:lnTo>
                    <a:pt x="1927018" y="982449"/>
                  </a:lnTo>
                  <a:lnTo>
                    <a:pt x="1926716" y="984072"/>
                  </a:lnTo>
                  <a:lnTo>
                    <a:pt x="1925667" y="984470"/>
                  </a:lnTo>
                  <a:lnTo>
                    <a:pt x="1925391" y="985245"/>
                  </a:lnTo>
                  <a:lnTo>
                    <a:pt x="1925888" y="986397"/>
                  </a:lnTo>
                  <a:lnTo>
                    <a:pt x="1929807" y="990746"/>
                  </a:lnTo>
                  <a:lnTo>
                    <a:pt x="1931699" y="993360"/>
                  </a:lnTo>
                  <a:lnTo>
                    <a:pt x="1933038" y="996076"/>
                  </a:lnTo>
                  <a:lnTo>
                    <a:pt x="1934287" y="997904"/>
                  </a:lnTo>
                  <a:lnTo>
                    <a:pt x="1935447" y="998851"/>
                  </a:lnTo>
                  <a:lnTo>
                    <a:pt x="1935161" y="999628"/>
                  </a:lnTo>
                  <a:lnTo>
                    <a:pt x="1933431" y="1000234"/>
                  </a:lnTo>
                  <a:lnTo>
                    <a:pt x="1930468" y="1000523"/>
                  </a:lnTo>
                  <a:lnTo>
                    <a:pt x="1929085" y="1000155"/>
                  </a:lnTo>
                  <a:lnTo>
                    <a:pt x="1923768" y="997644"/>
                  </a:lnTo>
                  <a:lnTo>
                    <a:pt x="1923011" y="998428"/>
                  </a:lnTo>
                  <a:lnTo>
                    <a:pt x="1925958" y="1007595"/>
                  </a:lnTo>
                  <a:lnTo>
                    <a:pt x="1925867" y="1009784"/>
                  </a:lnTo>
                  <a:lnTo>
                    <a:pt x="1924388" y="1010561"/>
                  </a:lnTo>
                  <a:lnTo>
                    <a:pt x="1922567" y="1009652"/>
                  </a:lnTo>
                  <a:lnTo>
                    <a:pt x="1920399" y="1007056"/>
                  </a:lnTo>
                  <a:lnTo>
                    <a:pt x="1917085" y="1004160"/>
                  </a:lnTo>
                  <a:lnTo>
                    <a:pt x="1912625" y="1000958"/>
                  </a:lnTo>
                  <a:lnTo>
                    <a:pt x="1908365" y="998453"/>
                  </a:lnTo>
                  <a:lnTo>
                    <a:pt x="1907364" y="998521"/>
                  </a:lnTo>
                  <a:lnTo>
                    <a:pt x="1906711" y="999264"/>
                  </a:lnTo>
                  <a:lnTo>
                    <a:pt x="1906000" y="999384"/>
                  </a:lnTo>
                  <a:lnTo>
                    <a:pt x="1905230" y="998884"/>
                  </a:lnTo>
                  <a:lnTo>
                    <a:pt x="1903805" y="997001"/>
                  </a:lnTo>
                  <a:lnTo>
                    <a:pt x="1902319" y="995723"/>
                  </a:lnTo>
                  <a:lnTo>
                    <a:pt x="1896102" y="991482"/>
                  </a:lnTo>
                  <a:lnTo>
                    <a:pt x="1895464" y="991438"/>
                  </a:lnTo>
                  <a:lnTo>
                    <a:pt x="1896051" y="992711"/>
                  </a:lnTo>
                  <a:lnTo>
                    <a:pt x="1896684" y="995500"/>
                  </a:lnTo>
                  <a:lnTo>
                    <a:pt x="1895984" y="996109"/>
                  </a:lnTo>
                  <a:lnTo>
                    <a:pt x="1894359" y="995881"/>
                  </a:lnTo>
                  <a:lnTo>
                    <a:pt x="1891273" y="994666"/>
                  </a:lnTo>
                  <a:lnTo>
                    <a:pt x="1889197" y="991876"/>
                  </a:lnTo>
                  <a:lnTo>
                    <a:pt x="1886557" y="987026"/>
                  </a:lnTo>
                  <a:lnTo>
                    <a:pt x="1885175" y="985193"/>
                  </a:lnTo>
                  <a:lnTo>
                    <a:pt x="1885053" y="986386"/>
                  </a:lnTo>
                  <a:lnTo>
                    <a:pt x="1885786" y="991008"/>
                  </a:lnTo>
                  <a:lnTo>
                    <a:pt x="1885645" y="992560"/>
                  </a:lnTo>
                  <a:lnTo>
                    <a:pt x="1884097" y="992982"/>
                  </a:lnTo>
                  <a:lnTo>
                    <a:pt x="1883444" y="992558"/>
                  </a:lnTo>
                  <a:lnTo>
                    <a:pt x="1882803" y="991326"/>
                  </a:lnTo>
                  <a:lnTo>
                    <a:pt x="1882177" y="989286"/>
                  </a:lnTo>
                  <a:lnTo>
                    <a:pt x="1880701" y="987735"/>
                  </a:lnTo>
                  <a:lnTo>
                    <a:pt x="1878372" y="986674"/>
                  </a:lnTo>
                  <a:lnTo>
                    <a:pt x="1877068" y="985560"/>
                  </a:lnTo>
                  <a:lnTo>
                    <a:pt x="1876422" y="983580"/>
                  </a:lnTo>
                  <a:lnTo>
                    <a:pt x="1875972" y="983125"/>
                  </a:lnTo>
                  <a:lnTo>
                    <a:pt x="1871868" y="983583"/>
                  </a:lnTo>
                  <a:lnTo>
                    <a:pt x="1869809" y="982156"/>
                  </a:lnTo>
                  <a:lnTo>
                    <a:pt x="1863875" y="976520"/>
                  </a:lnTo>
                  <a:lnTo>
                    <a:pt x="1858443" y="970395"/>
                  </a:lnTo>
                  <a:lnTo>
                    <a:pt x="1855020" y="967151"/>
                  </a:lnTo>
                  <a:lnTo>
                    <a:pt x="1853777" y="966378"/>
                  </a:lnTo>
                  <a:lnTo>
                    <a:pt x="1855598" y="970353"/>
                  </a:lnTo>
                  <a:lnTo>
                    <a:pt x="1857599" y="976205"/>
                  </a:lnTo>
                  <a:lnTo>
                    <a:pt x="1858105" y="978872"/>
                  </a:lnTo>
                  <a:lnTo>
                    <a:pt x="1857186" y="978993"/>
                  </a:lnTo>
                  <a:lnTo>
                    <a:pt x="1855181" y="977811"/>
                  </a:lnTo>
                  <a:lnTo>
                    <a:pt x="1844894" y="970270"/>
                  </a:lnTo>
                  <a:lnTo>
                    <a:pt x="1838551" y="966711"/>
                  </a:lnTo>
                  <a:lnTo>
                    <a:pt x="1835024" y="966081"/>
                  </a:lnTo>
                  <a:lnTo>
                    <a:pt x="1829291" y="965649"/>
                  </a:lnTo>
                  <a:lnTo>
                    <a:pt x="1827968" y="967607"/>
                  </a:lnTo>
                  <a:lnTo>
                    <a:pt x="1831057" y="971956"/>
                  </a:lnTo>
                  <a:lnTo>
                    <a:pt x="1834067" y="975226"/>
                  </a:lnTo>
                  <a:lnTo>
                    <a:pt x="1836994" y="977422"/>
                  </a:lnTo>
                  <a:lnTo>
                    <a:pt x="1841588" y="981697"/>
                  </a:lnTo>
                  <a:lnTo>
                    <a:pt x="1845795" y="987193"/>
                  </a:lnTo>
                  <a:lnTo>
                    <a:pt x="1847488" y="988885"/>
                  </a:lnTo>
                  <a:lnTo>
                    <a:pt x="1853217" y="991223"/>
                  </a:lnTo>
                  <a:lnTo>
                    <a:pt x="1856206" y="991844"/>
                  </a:lnTo>
                  <a:lnTo>
                    <a:pt x="1859286" y="992024"/>
                  </a:lnTo>
                  <a:lnTo>
                    <a:pt x="1859567" y="992857"/>
                  </a:lnTo>
                  <a:lnTo>
                    <a:pt x="1858074" y="994408"/>
                  </a:lnTo>
                  <a:lnTo>
                    <a:pt x="1857740" y="995368"/>
                  </a:lnTo>
                  <a:lnTo>
                    <a:pt x="1864554" y="997807"/>
                  </a:lnTo>
                  <a:lnTo>
                    <a:pt x="1867129" y="999162"/>
                  </a:lnTo>
                  <a:lnTo>
                    <a:pt x="1869618" y="1001408"/>
                  </a:lnTo>
                  <a:lnTo>
                    <a:pt x="1871033" y="1001966"/>
                  </a:lnTo>
                  <a:lnTo>
                    <a:pt x="1876945" y="1007620"/>
                  </a:lnTo>
                  <a:lnTo>
                    <a:pt x="1878416" y="1008520"/>
                  </a:lnTo>
                  <a:lnTo>
                    <a:pt x="1883679" y="1010351"/>
                  </a:lnTo>
                  <a:lnTo>
                    <a:pt x="1885431" y="1011527"/>
                  </a:lnTo>
                  <a:lnTo>
                    <a:pt x="1888331" y="1015163"/>
                  </a:lnTo>
                  <a:lnTo>
                    <a:pt x="1890151" y="1017009"/>
                  </a:lnTo>
                  <a:lnTo>
                    <a:pt x="1892724" y="1021391"/>
                  </a:lnTo>
                  <a:lnTo>
                    <a:pt x="1894652" y="1023326"/>
                  </a:lnTo>
                  <a:lnTo>
                    <a:pt x="1899374" y="1025538"/>
                  </a:lnTo>
                  <a:lnTo>
                    <a:pt x="1901386" y="1026171"/>
                  </a:lnTo>
                  <a:lnTo>
                    <a:pt x="1902285" y="1027012"/>
                  </a:lnTo>
                  <a:lnTo>
                    <a:pt x="1901673" y="1028997"/>
                  </a:lnTo>
                  <a:lnTo>
                    <a:pt x="1901100" y="1029824"/>
                  </a:lnTo>
                  <a:lnTo>
                    <a:pt x="1898406" y="1031188"/>
                  </a:lnTo>
                  <a:lnTo>
                    <a:pt x="1898832" y="1033088"/>
                  </a:lnTo>
                  <a:lnTo>
                    <a:pt x="1900352" y="1036470"/>
                  </a:lnTo>
                  <a:lnTo>
                    <a:pt x="1900290" y="1038565"/>
                  </a:lnTo>
                  <a:lnTo>
                    <a:pt x="1898641" y="1039378"/>
                  </a:lnTo>
                  <a:lnTo>
                    <a:pt x="1895274" y="1040346"/>
                  </a:lnTo>
                  <a:lnTo>
                    <a:pt x="1893574" y="1040268"/>
                  </a:lnTo>
                  <a:lnTo>
                    <a:pt x="1891019" y="1039469"/>
                  </a:lnTo>
                  <a:lnTo>
                    <a:pt x="1887804" y="1038108"/>
                  </a:lnTo>
                  <a:lnTo>
                    <a:pt x="1881419" y="1034705"/>
                  </a:lnTo>
                  <a:lnTo>
                    <a:pt x="1871835" y="1032345"/>
                  </a:lnTo>
                  <a:lnTo>
                    <a:pt x="1868261" y="1031085"/>
                  </a:lnTo>
                  <a:lnTo>
                    <a:pt x="1867070" y="1029946"/>
                  </a:lnTo>
                  <a:lnTo>
                    <a:pt x="1865266" y="1029272"/>
                  </a:lnTo>
                  <a:lnTo>
                    <a:pt x="1841469" y="1025980"/>
                  </a:lnTo>
                  <a:lnTo>
                    <a:pt x="1837482" y="1025176"/>
                  </a:lnTo>
                  <a:lnTo>
                    <a:pt x="1835003" y="1024167"/>
                  </a:lnTo>
                  <a:lnTo>
                    <a:pt x="1832703" y="1022685"/>
                  </a:lnTo>
                  <a:lnTo>
                    <a:pt x="1823626" y="1019293"/>
                  </a:lnTo>
                  <a:lnTo>
                    <a:pt x="1822529" y="1018553"/>
                  </a:lnTo>
                  <a:lnTo>
                    <a:pt x="1816433" y="1012718"/>
                  </a:lnTo>
                  <a:lnTo>
                    <a:pt x="1811891" y="1005888"/>
                  </a:lnTo>
                  <a:lnTo>
                    <a:pt x="1810379" y="1004971"/>
                  </a:lnTo>
                  <a:lnTo>
                    <a:pt x="1805440" y="1004070"/>
                  </a:lnTo>
                  <a:lnTo>
                    <a:pt x="1801318" y="1004636"/>
                  </a:lnTo>
                  <a:lnTo>
                    <a:pt x="1798559" y="1005387"/>
                  </a:lnTo>
                  <a:lnTo>
                    <a:pt x="1794370" y="1005143"/>
                  </a:lnTo>
                  <a:lnTo>
                    <a:pt x="1791634" y="1004028"/>
                  </a:lnTo>
                  <a:lnTo>
                    <a:pt x="1785871" y="1000947"/>
                  </a:lnTo>
                  <a:lnTo>
                    <a:pt x="1780036" y="999306"/>
                  </a:lnTo>
                  <a:lnTo>
                    <a:pt x="1774947" y="996614"/>
                  </a:lnTo>
                  <a:lnTo>
                    <a:pt x="1772320" y="995659"/>
                  </a:lnTo>
                  <a:lnTo>
                    <a:pt x="1772562" y="994966"/>
                  </a:lnTo>
                  <a:lnTo>
                    <a:pt x="1776369" y="990943"/>
                  </a:lnTo>
                  <a:lnTo>
                    <a:pt x="1775187" y="990999"/>
                  </a:lnTo>
                  <a:lnTo>
                    <a:pt x="1768568" y="994056"/>
                  </a:lnTo>
                  <a:lnTo>
                    <a:pt x="1766195" y="993118"/>
                  </a:lnTo>
                  <a:lnTo>
                    <a:pt x="1762291" y="990715"/>
                  </a:lnTo>
                  <a:lnTo>
                    <a:pt x="1759353" y="988291"/>
                  </a:lnTo>
                  <a:lnTo>
                    <a:pt x="1753310" y="981574"/>
                  </a:lnTo>
                  <a:lnTo>
                    <a:pt x="1749842" y="979135"/>
                  </a:lnTo>
                  <a:lnTo>
                    <a:pt x="1750328" y="978586"/>
                  </a:lnTo>
                  <a:lnTo>
                    <a:pt x="1754229" y="978364"/>
                  </a:lnTo>
                  <a:lnTo>
                    <a:pt x="1757339" y="978572"/>
                  </a:lnTo>
                  <a:lnTo>
                    <a:pt x="1759426" y="978017"/>
                  </a:lnTo>
                  <a:lnTo>
                    <a:pt x="1763442" y="975283"/>
                  </a:lnTo>
                  <a:lnTo>
                    <a:pt x="1765178" y="973566"/>
                  </a:lnTo>
                  <a:lnTo>
                    <a:pt x="1765344" y="972550"/>
                  </a:lnTo>
                  <a:lnTo>
                    <a:pt x="1761981" y="972299"/>
                  </a:lnTo>
                  <a:lnTo>
                    <a:pt x="1761261" y="971807"/>
                  </a:lnTo>
                  <a:lnTo>
                    <a:pt x="1760659" y="970684"/>
                  </a:lnTo>
                  <a:lnTo>
                    <a:pt x="1759108" y="969243"/>
                  </a:lnTo>
                  <a:lnTo>
                    <a:pt x="1756610" y="967489"/>
                  </a:lnTo>
                  <a:lnTo>
                    <a:pt x="1753764" y="966732"/>
                  </a:lnTo>
                  <a:lnTo>
                    <a:pt x="1743991" y="967379"/>
                  </a:lnTo>
                  <a:lnTo>
                    <a:pt x="1742287" y="966611"/>
                  </a:lnTo>
                  <a:lnTo>
                    <a:pt x="1742323" y="965442"/>
                  </a:lnTo>
                  <a:lnTo>
                    <a:pt x="1744232" y="962147"/>
                  </a:lnTo>
                  <a:lnTo>
                    <a:pt x="1745271" y="960815"/>
                  </a:lnTo>
                  <a:lnTo>
                    <a:pt x="1745604" y="960080"/>
                  </a:lnTo>
                  <a:lnTo>
                    <a:pt x="1745226" y="959938"/>
                  </a:lnTo>
                  <a:lnTo>
                    <a:pt x="1743903" y="960021"/>
                  </a:lnTo>
                  <a:lnTo>
                    <a:pt x="1738235" y="962977"/>
                  </a:lnTo>
                  <a:lnTo>
                    <a:pt x="1737007" y="962761"/>
                  </a:lnTo>
                  <a:lnTo>
                    <a:pt x="1734782" y="959640"/>
                  </a:lnTo>
                  <a:lnTo>
                    <a:pt x="1733435" y="956071"/>
                  </a:lnTo>
                  <a:lnTo>
                    <a:pt x="1732451" y="954819"/>
                  </a:lnTo>
                  <a:lnTo>
                    <a:pt x="1731145" y="954395"/>
                  </a:lnTo>
                  <a:lnTo>
                    <a:pt x="1726490" y="950881"/>
                  </a:lnTo>
                  <a:lnTo>
                    <a:pt x="1719868" y="944194"/>
                  </a:lnTo>
                  <a:lnTo>
                    <a:pt x="1717434" y="942094"/>
                  </a:lnTo>
                  <a:lnTo>
                    <a:pt x="1714727" y="940217"/>
                  </a:lnTo>
                  <a:lnTo>
                    <a:pt x="1712763" y="939415"/>
                  </a:lnTo>
                  <a:lnTo>
                    <a:pt x="1713039" y="938429"/>
                  </a:lnTo>
                  <a:lnTo>
                    <a:pt x="1717235" y="932846"/>
                  </a:lnTo>
                  <a:lnTo>
                    <a:pt x="1717409" y="931936"/>
                  </a:lnTo>
                  <a:lnTo>
                    <a:pt x="1713814" y="932277"/>
                  </a:lnTo>
                  <a:lnTo>
                    <a:pt x="1708391" y="931118"/>
                  </a:lnTo>
                  <a:lnTo>
                    <a:pt x="1705818" y="932519"/>
                  </a:lnTo>
                  <a:lnTo>
                    <a:pt x="1704186" y="932603"/>
                  </a:lnTo>
                  <a:lnTo>
                    <a:pt x="1702282" y="931821"/>
                  </a:lnTo>
                  <a:lnTo>
                    <a:pt x="1701205" y="932115"/>
                  </a:lnTo>
                  <a:lnTo>
                    <a:pt x="1700190" y="936702"/>
                  </a:lnTo>
                  <a:lnTo>
                    <a:pt x="1699411" y="937848"/>
                  </a:lnTo>
                  <a:lnTo>
                    <a:pt x="1698283" y="938462"/>
                  </a:lnTo>
                  <a:lnTo>
                    <a:pt x="1697289" y="938381"/>
                  </a:lnTo>
                  <a:lnTo>
                    <a:pt x="1696429" y="937605"/>
                  </a:lnTo>
                  <a:lnTo>
                    <a:pt x="1696449" y="936535"/>
                  </a:lnTo>
                  <a:lnTo>
                    <a:pt x="1695624" y="930902"/>
                  </a:lnTo>
                  <a:lnTo>
                    <a:pt x="1693732" y="930071"/>
                  </a:lnTo>
                  <a:lnTo>
                    <a:pt x="1688387" y="929852"/>
                  </a:lnTo>
                  <a:lnTo>
                    <a:pt x="1687237" y="929394"/>
                  </a:lnTo>
                  <a:lnTo>
                    <a:pt x="1685937" y="928351"/>
                  </a:lnTo>
                  <a:lnTo>
                    <a:pt x="1684827" y="926418"/>
                  </a:lnTo>
                  <a:lnTo>
                    <a:pt x="1683907" y="923595"/>
                  </a:lnTo>
                  <a:lnTo>
                    <a:pt x="1682849" y="922046"/>
                  </a:lnTo>
                  <a:lnTo>
                    <a:pt x="1681655" y="921770"/>
                  </a:lnTo>
                  <a:lnTo>
                    <a:pt x="1680696" y="921995"/>
                  </a:lnTo>
                  <a:lnTo>
                    <a:pt x="1679971" y="922727"/>
                  </a:lnTo>
                  <a:lnTo>
                    <a:pt x="1678306" y="923182"/>
                  </a:lnTo>
                  <a:lnTo>
                    <a:pt x="1675698" y="923357"/>
                  </a:lnTo>
                  <a:lnTo>
                    <a:pt x="1675618" y="924443"/>
                  </a:lnTo>
                  <a:lnTo>
                    <a:pt x="1678063" y="926437"/>
                  </a:lnTo>
                  <a:lnTo>
                    <a:pt x="1680426" y="929284"/>
                  </a:lnTo>
                  <a:lnTo>
                    <a:pt x="1682703" y="932975"/>
                  </a:lnTo>
                  <a:lnTo>
                    <a:pt x="1681316" y="935446"/>
                  </a:lnTo>
                  <a:lnTo>
                    <a:pt x="1676265" y="936706"/>
                  </a:lnTo>
                  <a:lnTo>
                    <a:pt x="1671867" y="937075"/>
                  </a:lnTo>
                  <a:lnTo>
                    <a:pt x="1668123" y="936556"/>
                  </a:lnTo>
                  <a:lnTo>
                    <a:pt x="1665248" y="935698"/>
                  </a:lnTo>
                  <a:lnTo>
                    <a:pt x="1661207" y="933643"/>
                  </a:lnTo>
                  <a:lnTo>
                    <a:pt x="1655444" y="934312"/>
                  </a:lnTo>
                  <a:lnTo>
                    <a:pt x="1654134" y="939715"/>
                  </a:lnTo>
                  <a:lnTo>
                    <a:pt x="1652904" y="940010"/>
                  </a:lnTo>
                  <a:lnTo>
                    <a:pt x="1647412" y="939872"/>
                  </a:lnTo>
                  <a:lnTo>
                    <a:pt x="1645226" y="940351"/>
                  </a:lnTo>
                  <a:lnTo>
                    <a:pt x="1637904" y="943328"/>
                  </a:lnTo>
                  <a:lnTo>
                    <a:pt x="1635675" y="943743"/>
                  </a:lnTo>
                  <a:lnTo>
                    <a:pt x="1633981" y="943392"/>
                  </a:lnTo>
                  <a:lnTo>
                    <a:pt x="1632333" y="944111"/>
                  </a:lnTo>
                  <a:lnTo>
                    <a:pt x="1629865" y="945814"/>
                  </a:lnTo>
                  <a:lnTo>
                    <a:pt x="1626510" y="945993"/>
                  </a:lnTo>
                  <a:lnTo>
                    <a:pt x="1622266" y="944643"/>
                  </a:lnTo>
                  <a:lnTo>
                    <a:pt x="1618662" y="944065"/>
                  </a:lnTo>
                  <a:lnTo>
                    <a:pt x="1615699" y="944256"/>
                  </a:lnTo>
                  <a:lnTo>
                    <a:pt x="1612647" y="943461"/>
                  </a:lnTo>
                  <a:lnTo>
                    <a:pt x="1609506" y="941677"/>
                  </a:lnTo>
                  <a:lnTo>
                    <a:pt x="1606945" y="940874"/>
                  </a:lnTo>
                  <a:lnTo>
                    <a:pt x="1603579" y="941009"/>
                  </a:lnTo>
                  <a:lnTo>
                    <a:pt x="1602802" y="940726"/>
                  </a:lnTo>
                  <a:lnTo>
                    <a:pt x="1597890" y="936896"/>
                  </a:lnTo>
                  <a:lnTo>
                    <a:pt x="1596360" y="935337"/>
                  </a:lnTo>
                  <a:lnTo>
                    <a:pt x="1593080" y="930496"/>
                  </a:lnTo>
                  <a:lnTo>
                    <a:pt x="1592497" y="928576"/>
                  </a:lnTo>
                  <a:lnTo>
                    <a:pt x="1592412" y="926524"/>
                  </a:lnTo>
                  <a:lnTo>
                    <a:pt x="1592697" y="925006"/>
                  </a:lnTo>
                  <a:lnTo>
                    <a:pt x="1593839" y="922711"/>
                  </a:lnTo>
                  <a:lnTo>
                    <a:pt x="1595082" y="917306"/>
                  </a:lnTo>
                  <a:lnTo>
                    <a:pt x="1596105" y="915510"/>
                  </a:lnTo>
                  <a:lnTo>
                    <a:pt x="1597644" y="913874"/>
                  </a:lnTo>
                  <a:lnTo>
                    <a:pt x="1600646" y="911799"/>
                  </a:lnTo>
                  <a:lnTo>
                    <a:pt x="1611517" y="908142"/>
                  </a:lnTo>
                  <a:lnTo>
                    <a:pt x="1613713" y="906697"/>
                  </a:lnTo>
                  <a:lnTo>
                    <a:pt x="1613637" y="905736"/>
                  </a:lnTo>
                  <a:lnTo>
                    <a:pt x="1611161" y="901250"/>
                  </a:lnTo>
                  <a:lnTo>
                    <a:pt x="1611189" y="900100"/>
                  </a:lnTo>
                  <a:lnTo>
                    <a:pt x="1612019" y="899429"/>
                  </a:lnTo>
                  <a:lnTo>
                    <a:pt x="1613785" y="896801"/>
                  </a:lnTo>
                  <a:lnTo>
                    <a:pt x="1614578" y="896067"/>
                  </a:lnTo>
                  <a:lnTo>
                    <a:pt x="1616495" y="895662"/>
                  </a:lnTo>
                  <a:lnTo>
                    <a:pt x="1620476" y="896991"/>
                  </a:lnTo>
                  <a:lnTo>
                    <a:pt x="1623913" y="897524"/>
                  </a:lnTo>
                  <a:lnTo>
                    <a:pt x="1628469" y="897698"/>
                  </a:lnTo>
                  <a:lnTo>
                    <a:pt x="1636005" y="899528"/>
                  </a:lnTo>
                  <a:lnTo>
                    <a:pt x="1646520" y="903020"/>
                  </a:lnTo>
                  <a:lnTo>
                    <a:pt x="1652573" y="905436"/>
                  </a:lnTo>
                  <a:lnTo>
                    <a:pt x="1657141" y="908999"/>
                  </a:lnTo>
                  <a:lnTo>
                    <a:pt x="1660392" y="912498"/>
                  </a:lnTo>
                  <a:lnTo>
                    <a:pt x="1660858" y="914267"/>
                  </a:lnTo>
                  <a:lnTo>
                    <a:pt x="1659352" y="916987"/>
                  </a:lnTo>
                  <a:lnTo>
                    <a:pt x="1658593" y="917782"/>
                  </a:lnTo>
                  <a:lnTo>
                    <a:pt x="1658638" y="918714"/>
                  </a:lnTo>
                  <a:lnTo>
                    <a:pt x="1659484" y="919775"/>
                  </a:lnTo>
                  <a:lnTo>
                    <a:pt x="1662112" y="921320"/>
                  </a:lnTo>
                  <a:lnTo>
                    <a:pt x="1662745" y="920734"/>
                  </a:lnTo>
                  <a:lnTo>
                    <a:pt x="1662541" y="918889"/>
                  </a:lnTo>
                  <a:lnTo>
                    <a:pt x="1663086" y="917336"/>
                  </a:lnTo>
                  <a:lnTo>
                    <a:pt x="1664377" y="916081"/>
                  </a:lnTo>
                  <a:lnTo>
                    <a:pt x="1664520" y="914445"/>
                  </a:lnTo>
                  <a:lnTo>
                    <a:pt x="1663517" y="912433"/>
                  </a:lnTo>
                  <a:lnTo>
                    <a:pt x="1662272" y="910696"/>
                  </a:lnTo>
                  <a:lnTo>
                    <a:pt x="1660778" y="909232"/>
                  </a:lnTo>
                  <a:lnTo>
                    <a:pt x="1653976" y="904195"/>
                  </a:lnTo>
                  <a:lnTo>
                    <a:pt x="1653324" y="902520"/>
                  </a:lnTo>
                  <a:lnTo>
                    <a:pt x="1655608" y="901766"/>
                  </a:lnTo>
                  <a:lnTo>
                    <a:pt x="1665547" y="903460"/>
                  </a:lnTo>
                  <a:lnTo>
                    <a:pt x="1669358" y="903081"/>
                  </a:lnTo>
                  <a:lnTo>
                    <a:pt x="1670804" y="901115"/>
                  </a:lnTo>
                  <a:lnTo>
                    <a:pt x="1672365" y="899766"/>
                  </a:lnTo>
                  <a:lnTo>
                    <a:pt x="1674039" y="899042"/>
                  </a:lnTo>
                  <a:lnTo>
                    <a:pt x="1677383" y="898726"/>
                  </a:lnTo>
                  <a:lnTo>
                    <a:pt x="1682058" y="899644"/>
                  </a:lnTo>
                  <a:lnTo>
                    <a:pt x="1684354" y="899779"/>
                  </a:lnTo>
                  <a:lnTo>
                    <a:pt x="1686386" y="899446"/>
                  </a:lnTo>
                  <a:lnTo>
                    <a:pt x="1689024" y="898373"/>
                  </a:lnTo>
                  <a:lnTo>
                    <a:pt x="1692926" y="894790"/>
                  </a:lnTo>
                  <a:lnTo>
                    <a:pt x="1695421" y="893976"/>
                  </a:lnTo>
                  <a:lnTo>
                    <a:pt x="1699196" y="893413"/>
                  </a:lnTo>
                  <a:lnTo>
                    <a:pt x="1702027" y="893337"/>
                  </a:lnTo>
                  <a:lnTo>
                    <a:pt x="1707163" y="894771"/>
                  </a:lnTo>
                  <a:lnTo>
                    <a:pt x="1710322" y="894733"/>
                  </a:lnTo>
                  <a:lnTo>
                    <a:pt x="1710070" y="892336"/>
                  </a:lnTo>
                  <a:lnTo>
                    <a:pt x="1707974" y="887744"/>
                  </a:lnTo>
                  <a:lnTo>
                    <a:pt x="1705370" y="883009"/>
                  </a:lnTo>
                  <a:lnTo>
                    <a:pt x="1703342" y="881403"/>
                  </a:lnTo>
                  <a:lnTo>
                    <a:pt x="1698093" y="878397"/>
                  </a:lnTo>
                  <a:lnTo>
                    <a:pt x="1691929" y="872712"/>
                  </a:lnTo>
                  <a:lnTo>
                    <a:pt x="1688762" y="869175"/>
                  </a:lnTo>
                  <a:lnTo>
                    <a:pt x="1687928" y="867408"/>
                  </a:lnTo>
                  <a:lnTo>
                    <a:pt x="1688373" y="866228"/>
                  </a:lnTo>
                  <a:lnTo>
                    <a:pt x="1689426" y="864500"/>
                  </a:lnTo>
                  <a:lnTo>
                    <a:pt x="1700613" y="858179"/>
                  </a:lnTo>
                  <a:lnTo>
                    <a:pt x="1709474" y="851886"/>
                  </a:lnTo>
                  <a:lnTo>
                    <a:pt x="1713361" y="848657"/>
                  </a:lnTo>
                  <a:lnTo>
                    <a:pt x="1715227" y="846404"/>
                  </a:lnTo>
                  <a:lnTo>
                    <a:pt x="1717168" y="844762"/>
                  </a:lnTo>
                  <a:lnTo>
                    <a:pt x="1719189" y="843733"/>
                  </a:lnTo>
                  <a:lnTo>
                    <a:pt x="1723446" y="842500"/>
                  </a:lnTo>
                  <a:lnTo>
                    <a:pt x="1724660" y="840918"/>
                  </a:lnTo>
                  <a:lnTo>
                    <a:pt x="1724926" y="838231"/>
                  </a:lnTo>
                  <a:lnTo>
                    <a:pt x="1725638" y="835897"/>
                  </a:lnTo>
                  <a:lnTo>
                    <a:pt x="1729644" y="829607"/>
                  </a:lnTo>
                  <a:lnTo>
                    <a:pt x="1732713" y="827903"/>
                  </a:lnTo>
                  <a:lnTo>
                    <a:pt x="1737343" y="826719"/>
                  </a:lnTo>
                  <a:lnTo>
                    <a:pt x="1740391" y="825208"/>
                  </a:lnTo>
                  <a:lnTo>
                    <a:pt x="1744066" y="820023"/>
                  </a:lnTo>
                  <a:lnTo>
                    <a:pt x="1743708" y="818729"/>
                  </a:lnTo>
                  <a:lnTo>
                    <a:pt x="1742011" y="817747"/>
                  </a:lnTo>
                  <a:lnTo>
                    <a:pt x="1740697" y="816259"/>
                  </a:lnTo>
                  <a:lnTo>
                    <a:pt x="1735027" y="802594"/>
                  </a:lnTo>
                  <a:lnTo>
                    <a:pt x="1731254" y="795965"/>
                  </a:lnTo>
                  <a:lnTo>
                    <a:pt x="1726724" y="790179"/>
                  </a:lnTo>
                  <a:lnTo>
                    <a:pt x="1722680" y="783109"/>
                  </a:lnTo>
                  <a:lnTo>
                    <a:pt x="1715965" y="776125"/>
                  </a:lnTo>
                  <a:lnTo>
                    <a:pt x="1715884" y="774275"/>
                  </a:lnTo>
                  <a:lnTo>
                    <a:pt x="1717075" y="772171"/>
                  </a:lnTo>
                  <a:lnTo>
                    <a:pt x="1716507" y="771695"/>
                  </a:lnTo>
                  <a:lnTo>
                    <a:pt x="1709577" y="774767"/>
                  </a:lnTo>
                  <a:lnTo>
                    <a:pt x="1707946" y="774908"/>
                  </a:lnTo>
                  <a:lnTo>
                    <a:pt x="1705285" y="773573"/>
                  </a:lnTo>
                  <a:lnTo>
                    <a:pt x="1703483" y="771909"/>
                  </a:lnTo>
                  <a:lnTo>
                    <a:pt x="1701992" y="768992"/>
                  </a:lnTo>
                  <a:lnTo>
                    <a:pt x="1702144" y="767465"/>
                  </a:lnTo>
                  <a:lnTo>
                    <a:pt x="1703130" y="766018"/>
                  </a:lnTo>
                  <a:lnTo>
                    <a:pt x="1704447" y="762454"/>
                  </a:lnTo>
                  <a:lnTo>
                    <a:pt x="1704495" y="760635"/>
                  </a:lnTo>
                  <a:lnTo>
                    <a:pt x="1704043" y="758899"/>
                  </a:lnTo>
                  <a:lnTo>
                    <a:pt x="1703442" y="757692"/>
                  </a:lnTo>
                  <a:lnTo>
                    <a:pt x="1702696" y="757012"/>
                  </a:lnTo>
                  <a:lnTo>
                    <a:pt x="1700577" y="756588"/>
                  </a:lnTo>
                  <a:lnTo>
                    <a:pt x="1697081" y="756413"/>
                  </a:lnTo>
                  <a:lnTo>
                    <a:pt x="1695940" y="757032"/>
                  </a:lnTo>
                  <a:lnTo>
                    <a:pt x="1699792" y="762421"/>
                  </a:lnTo>
                  <a:lnTo>
                    <a:pt x="1699204" y="763748"/>
                  </a:lnTo>
                  <a:lnTo>
                    <a:pt x="1694296" y="764328"/>
                  </a:lnTo>
                  <a:lnTo>
                    <a:pt x="1692083" y="764075"/>
                  </a:lnTo>
                  <a:lnTo>
                    <a:pt x="1690058" y="763421"/>
                  </a:lnTo>
                  <a:lnTo>
                    <a:pt x="1688221" y="762370"/>
                  </a:lnTo>
                  <a:lnTo>
                    <a:pt x="1682502" y="756741"/>
                  </a:lnTo>
                  <a:lnTo>
                    <a:pt x="1681289" y="754618"/>
                  </a:lnTo>
                  <a:lnTo>
                    <a:pt x="1681676" y="753083"/>
                  </a:lnTo>
                  <a:lnTo>
                    <a:pt x="1681183" y="752283"/>
                  </a:lnTo>
                  <a:lnTo>
                    <a:pt x="1680016" y="752797"/>
                  </a:lnTo>
                  <a:lnTo>
                    <a:pt x="1678435" y="752834"/>
                  </a:lnTo>
                  <a:lnTo>
                    <a:pt x="1676289" y="752291"/>
                  </a:lnTo>
                  <a:lnTo>
                    <a:pt x="1675848" y="751629"/>
                  </a:lnTo>
                  <a:lnTo>
                    <a:pt x="1679854" y="748574"/>
                  </a:lnTo>
                  <a:lnTo>
                    <a:pt x="1680086" y="747630"/>
                  </a:lnTo>
                  <a:lnTo>
                    <a:pt x="1678238" y="746620"/>
                  </a:lnTo>
                  <a:lnTo>
                    <a:pt x="1675475" y="746417"/>
                  </a:lnTo>
                  <a:lnTo>
                    <a:pt x="1674742" y="745513"/>
                  </a:lnTo>
                  <a:lnTo>
                    <a:pt x="1675673" y="744545"/>
                  </a:lnTo>
                  <a:lnTo>
                    <a:pt x="1679424" y="742866"/>
                  </a:lnTo>
                  <a:lnTo>
                    <a:pt x="1680759" y="741761"/>
                  </a:lnTo>
                  <a:lnTo>
                    <a:pt x="1678508" y="740927"/>
                  </a:lnTo>
                  <a:lnTo>
                    <a:pt x="1677255" y="740859"/>
                  </a:lnTo>
                  <a:lnTo>
                    <a:pt x="1674731" y="742691"/>
                  </a:lnTo>
                  <a:lnTo>
                    <a:pt x="1670933" y="746422"/>
                  </a:lnTo>
                  <a:lnTo>
                    <a:pt x="1668168" y="747806"/>
                  </a:lnTo>
                  <a:lnTo>
                    <a:pt x="1664378" y="746081"/>
                  </a:lnTo>
                  <a:lnTo>
                    <a:pt x="1661988" y="745504"/>
                  </a:lnTo>
                  <a:lnTo>
                    <a:pt x="1660323" y="745883"/>
                  </a:lnTo>
                  <a:lnTo>
                    <a:pt x="1657778" y="748766"/>
                  </a:lnTo>
                  <a:lnTo>
                    <a:pt x="1652219" y="750873"/>
                  </a:lnTo>
                  <a:lnTo>
                    <a:pt x="1642268" y="755835"/>
                  </a:lnTo>
                  <a:lnTo>
                    <a:pt x="1637990" y="757411"/>
                  </a:lnTo>
                  <a:lnTo>
                    <a:pt x="1633385" y="757129"/>
                  </a:lnTo>
                  <a:lnTo>
                    <a:pt x="1632513" y="756128"/>
                  </a:lnTo>
                  <a:lnTo>
                    <a:pt x="1632593" y="754428"/>
                  </a:lnTo>
                  <a:lnTo>
                    <a:pt x="1632912" y="753026"/>
                  </a:lnTo>
                  <a:lnTo>
                    <a:pt x="1633468" y="751930"/>
                  </a:lnTo>
                  <a:lnTo>
                    <a:pt x="1633651" y="750586"/>
                  </a:lnTo>
                  <a:lnTo>
                    <a:pt x="1633318" y="744919"/>
                  </a:lnTo>
                  <a:lnTo>
                    <a:pt x="1634090" y="743363"/>
                  </a:lnTo>
                  <a:lnTo>
                    <a:pt x="1635664" y="742432"/>
                  </a:lnTo>
                  <a:lnTo>
                    <a:pt x="1638561" y="741453"/>
                  </a:lnTo>
                  <a:lnTo>
                    <a:pt x="1645957" y="742621"/>
                  </a:lnTo>
                  <a:lnTo>
                    <a:pt x="1649393" y="742416"/>
                  </a:lnTo>
                  <a:lnTo>
                    <a:pt x="1651804" y="741104"/>
                  </a:lnTo>
                  <a:lnTo>
                    <a:pt x="1654219" y="739206"/>
                  </a:lnTo>
                  <a:lnTo>
                    <a:pt x="1656638" y="736715"/>
                  </a:lnTo>
                  <a:lnTo>
                    <a:pt x="1657151" y="734321"/>
                  </a:lnTo>
                  <a:lnTo>
                    <a:pt x="1654582" y="730435"/>
                  </a:lnTo>
                  <a:lnTo>
                    <a:pt x="1653616" y="729582"/>
                  </a:lnTo>
                  <a:lnTo>
                    <a:pt x="1647041" y="726551"/>
                  </a:lnTo>
                  <a:lnTo>
                    <a:pt x="1643407" y="725449"/>
                  </a:lnTo>
                  <a:lnTo>
                    <a:pt x="1640201" y="724972"/>
                  </a:lnTo>
                  <a:lnTo>
                    <a:pt x="1637875" y="724098"/>
                  </a:lnTo>
                  <a:lnTo>
                    <a:pt x="1636430" y="722829"/>
                  </a:lnTo>
                  <a:lnTo>
                    <a:pt x="1635024" y="720712"/>
                  </a:lnTo>
                  <a:lnTo>
                    <a:pt x="1634909" y="719272"/>
                  </a:lnTo>
                  <a:lnTo>
                    <a:pt x="1635132" y="717373"/>
                  </a:lnTo>
                  <a:lnTo>
                    <a:pt x="1636473" y="716066"/>
                  </a:lnTo>
                  <a:lnTo>
                    <a:pt x="1642360" y="714559"/>
                  </a:lnTo>
                  <a:lnTo>
                    <a:pt x="1642283" y="714170"/>
                  </a:lnTo>
                  <a:lnTo>
                    <a:pt x="1637473" y="713056"/>
                  </a:lnTo>
                  <a:lnTo>
                    <a:pt x="1635204" y="713186"/>
                  </a:lnTo>
                  <a:lnTo>
                    <a:pt x="1633258" y="714434"/>
                  </a:lnTo>
                  <a:lnTo>
                    <a:pt x="1630811" y="717358"/>
                  </a:lnTo>
                  <a:lnTo>
                    <a:pt x="1629396" y="718183"/>
                  </a:lnTo>
                  <a:lnTo>
                    <a:pt x="1625003" y="716462"/>
                  </a:lnTo>
                  <a:lnTo>
                    <a:pt x="1622365" y="716206"/>
                  </a:lnTo>
                  <a:lnTo>
                    <a:pt x="1620583" y="715385"/>
                  </a:lnTo>
                  <a:lnTo>
                    <a:pt x="1619596" y="714592"/>
                  </a:lnTo>
                  <a:lnTo>
                    <a:pt x="1620198" y="713780"/>
                  </a:lnTo>
                  <a:lnTo>
                    <a:pt x="1622389" y="712955"/>
                  </a:lnTo>
                  <a:lnTo>
                    <a:pt x="1626195" y="710427"/>
                  </a:lnTo>
                  <a:lnTo>
                    <a:pt x="1626448" y="709062"/>
                  </a:lnTo>
                  <a:lnTo>
                    <a:pt x="1623820" y="706828"/>
                  </a:lnTo>
                  <a:lnTo>
                    <a:pt x="1622457" y="706319"/>
                  </a:lnTo>
                  <a:lnTo>
                    <a:pt x="1616968" y="705485"/>
                  </a:lnTo>
                  <a:lnTo>
                    <a:pt x="1610330" y="706315"/>
                  </a:lnTo>
                  <a:lnTo>
                    <a:pt x="1607861" y="705892"/>
                  </a:lnTo>
                  <a:lnTo>
                    <a:pt x="1606754" y="703411"/>
                  </a:lnTo>
                  <a:lnTo>
                    <a:pt x="1606052" y="700455"/>
                  </a:lnTo>
                  <a:lnTo>
                    <a:pt x="1605753" y="697018"/>
                  </a:lnTo>
                  <a:lnTo>
                    <a:pt x="1604557" y="691143"/>
                  </a:lnTo>
                  <a:lnTo>
                    <a:pt x="1603236" y="688059"/>
                  </a:lnTo>
                  <a:lnTo>
                    <a:pt x="1601499" y="687669"/>
                  </a:lnTo>
                  <a:lnTo>
                    <a:pt x="1593531" y="688942"/>
                  </a:lnTo>
                  <a:lnTo>
                    <a:pt x="1591638" y="688957"/>
                  </a:lnTo>
                  <a:lnTo>
                    <a:pt x="1590336" y="688486"/>
                  </a:lnTo>
                  <a:lnTo>
                    <a:pt x="1585063" y="684544"/>
                  </a:lnTo>
                  <a:lnTo>
                    <a:pt x="1582931" y="683146"/>
                  </a:lnTo>
                  <a:lnTo>
                    <a:pt x="1581749" y="682816"/>
                  </a:lnTo>
                  <a:lnTo>
                    <a:pt x="1577914" y="678615"/>
                  </a:lnTo>
                  <a:lnTo>
                    <a:pt x="1576440" y="677797"/>
                  </a:lnTo>
                  <a:lnTo>
                    <a:pt x="1574689" y="675719"/>
                  </a:lnTo>
                  <a:lnTo>
                    <a:pt x="1572662" y="672380"/>
                  </a:lnTo>
                  <a:lnTo>
                    <a:pt x="1570466" y="671360"/>
                  </a:lnTo>
                  <a:lnTo>
                    <a:pt x="1568100" y="672661"/>
                  </a:lnTo>
                  <a:lnTo>
                    <a:pt x="1565730" y="674520"/>
                  </a:lnTo>
                  <a:lnTo>
                    <a:pt x="1563360" y="676940"/>
                  </a:lnTo>
                  <a:lnTo>
                    <a:pt x="1562076" y="678984"/>
                  </a:lnTo>
                  <a:lnTo>
                    <a:pt x="1561875" y="680655"/>
                  </a:lnTo>
                  <a:lnTo>
                    <a:pt x="1563341" y="681953"/>
                  </a:lnTo>
                  <a:lnTo>
                    <a:pt x="1571706" y="684105"/>
                  </a:lnTo>
                  <a:lnTo>
                    <a:pt x="1573827" y="685543"/>
                  </a:lnTo>
                  <a:lnTo>
                    <a:pt x="1575628" y="687905"/>
                  </a:lnTo>
                  <a:lnTo>
                    <a:pt x="1576973" y="690789"/>
                  </a:lnTo>
                  <a:lnTo>
                    <a:pt x="1577859" y="694197"/>
                  </a:lnTo>
                  <a:lnTo>
                    <a:pt x="1577784" y="696740"/>
                  </a:lnTo>
                  <a:lnTo>
                    <a:pt x="1576745" y="698428"/>
                  </a:lnTo>
                  <a:lnTo>
                    <a:pt x="1574948" y="699922"/>
                  </a:lnTo>
                  <a:lnTo>
                    <a:pt x="1569796" y="702284"/>
                  </a:lnTo>
                  <a:lnTo>
                    <a:pt x="1564459" y="703666"/>
                  </a:lnTo>
                  <a:lnTo>
                    <a:pt x="1559081" y="703992"/>
                  </a:lnTo>
                  <a:lnTo>
                    <a:pt x="1556533" y="703669"/>
                  </a:lnTo>
                  <a:lnTo>
                    <a:pt x="1542684" y="699084"/>
                  </a:lnTo>
                  <a:lnTo>
                    <a:pt x="1540191" y="699047"/>
                  </a:lnTo>
                  <a:lnTo>
                    <a:pt x="1536986" y="698428"/>
                  </a:lnTo>
                  <a:lnTo>
                    <a:pt x="1529797" y="696538"/>
                  </a:lnTo>
                  <a:lnTo>
                    <a:pt x="1525854" y="696331"/>
                  </a:lnTo>
                  <a:lnTo>
                    <a:pt x="1518944" y="694764"/>
                  </a:lnTo>
                  <a:lnTo>
                    <a:pt x="1507249" y="693852"/>
                  </a:lnTo>
                  <a:lnTo>
                    <a:pt x="1504906" y="694606"/>
                  </a:lnTo>
                  <a:lnTo>
                    <a:pt x="1508017" y="696721"/>
                  </a:lnTo>
                  <a:lnTo>
                    <a:pt x="1510744" y="697784"/>
                  </a:lnTo>
                  <a:lnTo>
                    <a:pt x="1513082" y="697796"/>
                  </a:lnTo>
                  <a:lnTo>
                    <a:pt x="1516447" y="699681"/>
                  </a:lnTo>
                  <a:lnTo>
                    <a:pt x="1520835" y="703431"/>
                  </a:lnTo>
                  <a:lnTo>
                    <a:pt x="1523344" y="705666"/>
                  </a:lnTo>
                  <a:lnTo>
                    <a:pt x="1525422" y="708328"/>
                  </a:lnTo>
                  <a:lnTo>
                    <a:pt x="1525487" y="709243"/>
                  </a:lnTo>
                  <a:lnTo>
                    <a:pt x="1523422" y="711069"/>
                  </a:lnTo>
                  <a:lnTo>
                    <a:pt x="1507118" y="701496"/>
                  </a:lnTo>
                  <a:lnTo>
                    <a:pt x="1497153" y="704845"/>
                  </a:lnTo>
                  <a:lnTo>
                    <a:pt x="1492564" y="706090"/>
                  </a:lnTo>
                  <a:lnTo>
                    <a:pt x="1488630" y="706284"/>
                  </a:lnTo>
                  <a:lnTo>
                    <a:pt x="1483714" y="704971"/>
                  </a:lnTo>
                  <a:lnTo>
                    <a:pt x="1472616" y="700345"/>
                  </a:lnTo>
                  <a:lnTo>
                    <a:pt x="1468413" y="698725"/>
                  </a:lnTo>
                  <a:lnTo>
                    <a:pt x="1466922" y="698490"/>
                  </a:lnTo>
                  <a:lnTo>
                    <a:pt x="1457266" y="700496"/>
                  </a:lnTo>
                  <a:lnTo>
                    <a:pt x="1448942" y="700590"/>
                  </a:lnTo>
                  <a:lnTo>
                    <a:pt x="1432135" y="698664"/>
                  </a:lnTo>
                  <a:lnTo>
                    <a:pt x="1425967" y="697375"/>
                  </a:lnTo>
                  <a:lnTo>
                    <a:pt x="1424342" y="696028"/>
                  </a:lnTo>
                  <a:lnTo>
                    <a:pt x="1422317" y="695351"/>
                  </a:lnTo>
                  <a:lnTo>
                    <a:pt x="1418678" y="695351"/>
                  </a:lnTo>
                  <a:lnTo>
                    <a:pt x="1409049" y="693845"/>
                  </a:lnTo>
                  <a:lnTo>
                    <a:pt x="1400233" y="697238"/>
                  </a:lnTo>
                  <a:lnTo>
                    <a:pt x="1389630" y="694130"/>
                  </a:lnTo>
                  <a:lnTo>
                    <a:pt x="1386490" y="692297"/>
                  </a:lnTo>
                  <a:lnTo>
                    <a:pt x="1385492" y="691040"/>
                  </a:lnTo>
                  <a:lnTo>
                    <a:pt x="1382406" y="685777"/>
                  </a:lnTo>
                  <a:lnTo>
                    <a:pt x="1381983" y="682955"/>
                  </a:lnTo>
                  <a:lnTo>
                    <a:pt x="1382855" y="680402"/>
                  </a:lnTo>
                  <a:lnTo>
                    <a:pt x="1383727" y="678650"/>
                  </a:lnTo>
                  <a:lnTo>
                    <a:pt x="1384592" y="677698"/>
                  </a:lnTo>
                  <a:lnTo>
                    <a:pt x="1378826" y="680629"/>
                  </a:lnTo>
                  <a:lnTo>
                    <a:pt x="1376801" y="681112"/>
                  </a:lnTo>
                  <a:lnTo>
                    <a:pt x="1374136" y="681223"/>
                  </a:lnTo>
                  <a:lnTo>
                    <a:pt x="1366195" y="680141"/>
                  </a:lnTo>
                  <a:lnTo>
                    <a:pt x="1364939" y="680695"/>
                  </a:lnTo>
                  <a:lnTo>
                    <a:pt x="1365348" y="681719"/>
                  </a:lnTo>
                  <a:lnTo>
                    <a:pt x="1367423" y="683210"/>
                  </a:lnTo>
                  <a:lnTo>
                    <a:pt x="1367694" y="684110"/>
                  </a:lnTo>
                  <a:lnTo>
                    <a:pt x="1363267" y="684811"/>
                  </a:lnTo>
                  <a:lnTo>
                    <a:pt x="1356559" y="684083"/>
                  </a:lnTo>
                  <a:lnTo>
                    <a:pt x="1353635" y="684400"/>
                  </a:lnTo>
                  <a:lnTo>
                    <a:pt x="1352305" y="684807"/>
                  </a:lnTo>
                  <a:lnTo>
                    <a:pt x="1349282" y="687160"/>
                  </a:lnTo>
                  <a:lnTo>
                    <a:pt x="1348048" y="687691"/>
                  </a:lnTo>
                  <a:lnTo>
                    <a:pt x="1346461" y="687449"/>
                  </a:lnTo>
                  <a:lnTo>
                    <a:pt x="1339421" y="682122"/>
                  </a:lnTo>
                  <a:lnTo>
                    <a:pt x="1333747" y="678744"/>
                  </a:lnTo>
                  <a:lnTo>
                    <a:pt x="1327132" y="677446"/>
                  </a:lnTo>
                  <a:lnTo>
                    <a:pt x="1324096" y="676364"/>
                  </a:lnTo>
                  <a:lnTo>
                    <a:pt x="1322430" y="675061"/>
                  </a:lnTo>
                  <a:lnTo>
                    <a:pt x="1313304" y="664177"/>
                  </a:lnTo>
                  <a:lnTo>
                    <a:pt x="1312057" y="661828"/>
                  </a:lnTo>
                  <a:lnTo>
                    <a:pt x="1309166" y="653258"/>
                  </a:lnTo>
                  <a:lnTo>
                    <a:pt x="1308196" y="651426"/>
                  </a:lnTo>
                  <a:lnTo>
                    <a:pt x="1307026" y="650220"/>
                  </a:lnTo>
                  <a:lnTo>
                    <a:pt x="1309318" y="649966"/>
                  </a:lnTo>
                  <a:lnTo>
                    <a:pt x="1317949" y="651012"/>
                  </a:lnTo>
                  <a:lnTo>
                    <a:pt x="1326304" y="650966"/>
                  </a:lnTo>
                  <a:lnTo>
                    <a:pt x="1330842" y="651663"/>
                  </a:lnTo>
                  <a:lnTo>
                    <a:pt x="1336106" y="653805"/>
                  </a:lnTo>
                  <a:lnTo>
                    <a:pt x="1342964" y="655333"/>
                  </a:lnTo>
                  <a:lnTo>
                    <a:pt x="1347875" y="655653"/>
                  </a:lnTo>
                  <a:lnTo>
                    <a:pt x="1355748" y="655089"/>
                  </a:lnTo>
                  <a:lnTo>
                    <a:pt x="1364695" y="653656"/>
                  </a:lnTo>
                  <a:lnTo>
                    <a:pt x="1365747" y="652541"/>
                  </a:lnTo>
                  <a:lnTo>
                    <a:pt x="1359953" y="650631"/>
                  </a:lnTo>
                  <a:lnTo>
                    <a:pt x="1354787" y="648092"/>
                  </a:lnTo>
                  <a:lnTo>
                    <a:pt x="1350021" y="644797"/>
                  </a:lnTo>
                  <a:lnTo>
                    <a:pt x="1347176" y="643400"/>
                  </a:lnTo>
                  <a:lnTo>
                    <a:pt x="1342405" y="642530"/>
                  </a:lnTo>
                  <a:lnTo>
                    <a:pt x="1328995" y="641924"/>
                  </a:lnTo>
                  <a:lnTo>
                    <a:pt x="1316575" y="639704"/>
                  </a:lnTo>
                  <a:lnTo>
                    <a:pt x="1307995" y="636708"/>
                  </a:lnTo>
                  <a:lnTo>
                    <a:pt x="1301007" y="633379"/>
                  </a:lnTo>
                  <a:lnTo>
                    <a:pt x="1298165" y="631565"/>
                  </a:lnTo>
                  <a:lnTo>
                    <a:pt x="1297141" y="630162"/>
                  </a:lnTo>
                  <a:lnTo>
                    <a:pt x="1296057" y="625784"/>
                  </a:lnTo>
                  <a:lnTo>
                    <a:pt x="1294911" y="618410"/>
                  </a:lnTo>
                  <a:lnTo>
                    <a:pt x="1293804" y="613448"/>
                  </a:lnTo>
                  <a:lnTo>
                    <a:pt x="1292735" y="610910"/>
                  </a:lnTo>
                  <a:lnTo>
                    <a:pt x="1292591" y="608691"/>
                  </a:lnTo>
                  <a:lnTo>
                    <a:pt x="1294967" y="603947"/>
                  </a:lnTo>
                  <a:lnTo>
                    <a:pt x="1301755" y="598781"/>
                  </a:lnTo>
                  <a:lnTo>
                    <a:pt x="1301920" y="597969"/>
                  </a:lnTo>
                  <a:lnTo>
                    <a:pt x="1300569" y="597727"/>
                  </a:lnTo>
                  <a:lnTo>
                    <a:pt x="1297721" y="596412"/>
                  </a:lnTo>
                  <a:lnTo>
                    <a:pt x="1296813" y="594484"/>
                  </a:lnTo>
                  <a:lnTo>
                    <a:pt x="1296448" y="591423"/>
                  </a:lnTo>
                  <a:lnTo>
                    <a:pt x="1296425" y="588822"/>
                  </a:lnTo>
                  <a:lnTo>
                    <a:pt x="1296741" y="586688"/>
                  </a:lnTo>
                  <a:lnTo>
                    <a:pt x="1297874" y="584021"/>
                  </a:lnTo>
                  <a:lnTo>
                    <a:pt x="1300798" y="579217"/>
                  </a:lnTo>
                  <a:lnTo>
                    <a:pt x="1304985" y="573373"/>
                  </a:lnTo>
                  <a:lnTo>
                    <a:pt x="1309516" y="567874"/>
                  </a:lnTo>
                  <a:lnTo>
                    <a:pt x="1310292" y="566071"/>
                  </a:lnTo>
                  <a:lnTo>
                    <a:pt x="1310691" y="561175"/>
                  </a:lnTo>
                  <a:lnTo>
                    <a:pt x="1311292" y="557597"/>
                  </a:lnTo>
                  <a:lnTo>
                    <a:pt x="1311912" y="555075"/>
                  </a:lnTo>
                  <a:lnTo>
                    <a:pt x="1312872" y="553182"/>
                  </a:lnTo>
                  <a:lnTo>
                    <a:pt x="1315677" y="549583"/>
                  </a:lnTo>
                  <a:lnTo>
                    <a:pt x="1319174" y="546164"/>
                  </a:lnTo>
                  <a:lnTo>
                    <a:pt x="1324648" y="543246"/>
                  </a:lnTo>
                  <a:lnTo>
                    <a:pt x="1325114" y="542164"/>
                  </a:lnTo>
                  <a:lnTo>
                    <a:pt x="1325189" y="540667"/>
                  </a:lnTo>
                  <a:lnTo>
                    <a:pt x="1325504" y="539549"/>
                  </a:lnTo>
                  <a:lnTo>
                    <a:pt x="1326062" y="538812"/>
                  </a:lnTo>
                  <a:lnTo>
                    <a:pt x="1339632" y="529413"/>
                  </a:lnTo>
                  <a:lnTo>
                    <a:pt x="1345808" y="525582"/>
                  </a:lnTo>
                  <a:lnTo>
                    <a:pt x="1351049" y="523144"/>
                  </a:lnTo>
                  <a:lnTo>
                    <a:pt x="1357321" y="521347"/>
                  </a:lnTo>
                  <a:lnTo>
                    <a:pt x="1375163" y="517671"/>
                  </a:lnTo>
                  <a:close/>
                  <a:moveTo>
                    <a:pt x="1039617" y="512143"/>
                  </a:moveTo>
                  <a:lnTo>
                    <a:pt x="1061016" y="522716"/>
                  </a:lnTo>
                  <a:lnTo>
                    <a:pt x="1064016" y="521847"/>
                  </a:lnTo>
                  <a:lnTo>
                    <a:pt x="1070486" y="521292"/>
                  </a:lnTo>
                  <a:lnTo>
                    <a:pt x="1077210" y="519737"/>
                  </a:lnTo>
                  <a:lnTo>
                    <a:pt x="1086527" y="518449"/>
                  </a:lnTo>
                  <a:lnTo>
                    <a:pt x="1092210" y="516103"/>
                  </a:lnTo>
                  <a:lnTo>
                    <a:pt x="1094633" y="515433"/>
                  </a:lnTo>
                  <a:lnTo>
                    <a:pt x="1098747" y="515018"/>
                  </a:lnTo>
                  <a:lnTo>
                    <a:pt x="1100982" y="515027"/>
                  </a:lnTo>
                  <a:lnTo>
                    <a:pt x="1107442" y="516297"/>
                  </a:lnTo>
                  <a:lnTo>
                    <a:pt x="1110036" y="517188"/>
                  </a:lnTo>
                  <a:lnTo>
                    <a:pt x="1111411" y="518122"/>
                  </a:lnTo>
                  <a:lnTo>
                    <a:pt x="1112902" y="519824"/>
                  </a:lnTo>
                  <a:lnTo>
                    <a:pt x="1115449" y="523968"/>
                  </a:lnTo>
                  <a:lnTo>
                    <a:pt x="1115821" y="525504"/>
                  </a:lnTo>
                  <a:lnTo>
                    <a:pt x="1115692" y="525918"/>
                  </a:lnTo>
                  <a:lnTo>
                    <a:pt x="1113336" y="528459"/>
                  </a:lnTo>
                  <a:lnTo>
                    <a:pt x="1111769" y="529565"/>
                  </a:lnTo>
                  <a:lnTo>
                    <a:pt x="1108528" y="530617"/>
                  </a:lnTo>
                  <a:lnTo>
                    <a:pt x="1105725" y="530938"/>
                  </a:lnTo>
                  <a:lnTo>
                    <a:pt x="1103315" y="532780"/>
                  </a:lnTo>
                  <a:lnTo>
                    <a:pt x="1100598" y="532290"/>
                  </a:lnTo>
                  <a:lnTo>
                    <a:pt x="1099865" y="533971"/>
                  </a:lnTo>
                  <a:lnTo>
                    <a:pt x="1100150" y="534996"/>
                  </a:lnTo>
                  <a:lnTo>
                    <a:pt x="1100880" y="535495"/>
                  </a:lnTo>
                  <a:lnTo>
                    <a:pt x="1102249" y="535376"/>
                  </a:lnTo>
                  <a:lnTo>
                    <a:pt x="1103814" y="534659"/>
                  </a:lnTo>
                  <a:lnTo>
                    <a:pt x="1106852" y="535014"/>
                  </a:lnTo>
                  <a:lnTo>
                    <a:pt x="1108455" y="536115"/>
                  </a:lnTo>
                  <a:lnTo>
                    <a:pt x="1109893" y="537932"/>
                  </a:lnTo>
                  <a:lnTo>
                    <a:pt x="1108824" y="539615"/>
                  </a:lnTo>
                  <a:lnTo>
                    <a:pt x="1103460" y="541938"/>
                  </a:lnTo>
                  <a:lnTo>
                    <a:pt x="1095553" y="544566"/>
                  </a:lnTo>
                  <a:lnTo>
                    <a:pt x="1085920" y="552807"/>
                  </a:lnTo>
                  <a:lnTo>
                    <a:pt x="1080855" y="556254"/>
                  </a:lnTo>
                  <a:lnTo>
                    <a:pt x="1079809" y="557327"/>
                  </a:lnTo>
                  <a:lnTo>
                    <a:pt x="1079298" y="558405"/>
                  </a:lnTo>
                  <a:lnTo>
                    <a:pt x="1079452" y="560447"/>
                  </a:lnTo>
                  <a:lnTo>
                    <a:pt x="1079684" y="561270"/>
                  </a:lnTo>
                  <a:lnTo>
                    <a:pt x="1081082" y="561602"/>
                  </a:lnTo>
                  <a:lnTo>
                    <a:pt x="1085793" y="558753"/>
                  </a:lnTo>
                  <a:lnTo>
                    <a:pt x="1088831" y="557425"/>
                  </a:lnTo>
                  <a:lnTo>
                    <a:pt x="1091915" y="556693"/>
                  </a:lnTo>
                  <a:lnTo>
                    <a:pt x="1097356" y="556642"/>
                  </a:lnTo>
                  <a:lnTo>
                    <a:pt x="1099600" y="557080"/>
                  </a:lnTo>
                  <a:lnTo>
                    <a:pt x="1103673" y="558791"/>
                  </a:lnTo>
                  <a:lnTo>
                    <a:pt x="1107399" y="561422"/>
                  </a:lnTo>
                  <a:lnTo>
                    <a:pt x="1108232" y="562381"/>
                  </a:lnTo>
                  <a:lnTo>
                    <a:pt x="1107876" y="563341"/>
                  </a:lnTo>
                  <a:lnTo>
                    <a:pt x="1106328" y="564306"/>
                  </a:lnTo>
                  <a:lnTo>
                    <a:pt x="1106158" y="564943"/>
                  </a:lnTo>
                  <a:lnTo>
                    <a:pt x="1109711" y="566268"/>
                  </a:lnTo>
                  <a:lnTo>
                    <a:pt x="1113630" y="569862"/>
                  </a:lnTo>
                  <a:lnTo>
                    <a:pt x="1113886" y="572041"/>
                  </a:lnTo>
                  <a:lnTo>
                    <a:pt x="1112173" y="574195"/>
                  </a:lnTo>
                  <a:lnTo>
                    <a:pt x="1111705" y="575634"/>
                  </a:lnTo>
                  <a:lnTo>
                    <a:pt x="1112486" y="576363"/>
                  </a:lnTo>
                  <a:lnTo>
                    <a:pt x="1114421" y="575920"/>
                  </a:lnTo>
                  <a:lnTo>
                    <a:pt x="1119055" y="573510"/>
                  </a:lnTo>
                  <a:lnTo>
                    <a:pt x="1124070" y="572252"/>
                  </a:lnTo>
                  <a:lnTo>
                    <a:pt x="1126078" y="572392"/>
                  </a:lnTo>
                  <a:lnTo>
                    <a:pt x="1127345" y="572947"/>
                  </a:lnTo>
                  <a:lnTo>
                    <a:pt x="1128686" y="576253"/>
                  </a:lnTo>
                  <a:lnTo>
                    <a:pt x="1129792" y="579966"/>
                  </a:lnTo>
                  <a:lnTo>
                    <a:pt x="1129931" y="583084"/>
                  </a:lnTo>
                  <a:lnTo>
                    <a:pt x="1129102" y="585615"/>
                  </a:lnTo>
                  <a:lnTo>
                    <a:pt x="1127909" y="587585"/>
                  </a:lnTo>
                  <a:lnTo>
                    <a:pt x="1124907" y="590022"/>
                  </a:lnTo>
                  <a:lnTo>
                    <a:pt x="1122188" y="590948"/>
                  </a:lnTo>
                  <a:lnTo>
                    <a:pt x="1120768" y="590957"/>
                  </a:lnTo>
                  <a:lnTo>
                    <a:pt x="1120909" y="591369"/>
                  </a:lnTo>
                  <a:lnTo>
                    <a:pt x="1124134" y="593395"/>
                  </a:lnTo>
                  <a:lnTo>
                    <a:pt x="1125482" y="595012"/>
                  </a:lnTo>
                  <a:lnTo>
                    <a:pt x="1126058" y="596571"/>
                  </a:lnTo>
                  <a:lnTo>
                    <a:pt x="1125862" y="598074"/>
                  </a:lnTo>
                  <a:lnTo>
                    <a:pt x="1125417" y="599354"/>
                  </a:lnTo>
                  <a:lnTo>
                    <a:pt x="1121660" y="604094"/>
                  </a:lnTo>
                  <a:lnTo>
                    <a:pt x="1121863" y="604768"/>
                  </a:lnTo>
                  <a:lnTo>
                    <a:pt x="1122904" y="605079"/>
                  </a:lnTo>
                  <a:lnTo>
                    <a:pt x="1125259" y="607803"/>
                  </a:lnTo>
                  <a:lnTo>
                    <a:pt x="1125536" y="614118"/>
                  </a:lnTo>
                  <a:lnTo>
                    <a:pt x="1117092" y="616095"/>
                  </a:lnTo>
                  <a:lnTo>
                    <a:pt x="1115109" y="617561"/>
                  </a:lnTo>
                  <a:lnTo>
                    <a:pt x="1112776" y="619910"/>
                  </a:lnTo>
                  <a:lnTo>
                    <a:pt x="1110100" y="621665"/>
                  </a:lnTo>
                  <a:lnTo>
                    <a:pt x="1104039" y="623509"/>
                  </a:lnTo>
                  <a:lnTo>
                    <a:pt x="1100970" y="623723"/>
                  </a:lnTo>
                  <a:lnTo>
                    <a:pt x="1085780" y="622184"/>
                  </a:lnTo>
                  <a:lnTo>
                    <a:pt x="1084243" y="621289"/>
                  </a:lnTo>
                  <a:lnTo>
                    <a:pt x="1083180" y="619688"/>
                  </a:lnTo>
                  <a:lnTo>
                    <a:pt x="1082592" y="617385"/>
                  </a:lnTo>
                  <a:lnTo>
                    <a:pt x="1082432" y="615567"/>
                  </a:lnTo>
                  <a:lnTo>
                    <a:pt x="1082703" y="614247"/>
                  </a:lnTo>
                  <a:lnTo>
                    <a:pt x="1082624" y="613471"/>
                  </a:lnTo>
                  <a:lnTo>
                    <a:pt x="1082195" y="613245"/>
                  </a:lnTo>
                  <a:lnTo>
                    <a:pt x="1080507" y="614569"/>
                  </a:lnTo>
                  <a:lnTo>
                    <a:pt x="1078743" y="616975"/>
                  </a:lnTo>
                  <a:lnTo>
                    <a:pt x="1079708" y="619643"/>
                  </a:lnTo>
                  <a:lnTo>
                    <a:pt x="1084509" y="627040"/>
                  </a:lnTo>
                  <a:lnTo>
                    <a:pt x="1085425" y="630212"/>
                  </a:lnTo>
                  <a:lnTo>
                    <a:pt x="1085557" y="631558"/>
                  </a:lnTo>
                  <a:lnTo>
                    <a:pt x="1085342" y="632567"/>
                  </a:lnTo>
                  <a:lnTo>
                    <a:pt x="1079923" y="636865"/>
                  </a:lnTo>
                  <a:lnTo>
                    <a:pt x="1076788" y="638320"/>
                  </a:lnTo>
                  <a:lnTo>
                    <a:pt x="1073569" y="639044"/>
                  </a:lnTo>
                  <a:lnTo>
                    <a:pt x="1070503" y="638505"/>
                  </a:lnTo>
                  <a:lnTo>
                    <a:pt x="1067588" y="636702"/>
                  </a:lnTo>
                  <a:lnTo>
                    <a:pt x="1065370" y="635902"/>
                  </a:lnTo>
                  <a:lnTo>
                    <a:pt x="1060784" y="636009"/>
                  </a:lnTo>
                  <a:lnTo>
                    <a:pt x="1059351" y="635079"/>
                  </a:lnTo>
                  <a:lnTo>
                    <a:pt x="1058019" y="633346"/>
                  </a:lnTo>
                  <a:lnTo>
                    <a:pt x="1054786" y="627124"/>
                  </a:lnTo>
                  <a:lnTo>
                    <a:pt x="1050278" y="622695"/>
                  </a:lnTo>
                  <a:lnTo>
                    <a:pt x="1046392" y="617726"/>
                  </a:lnTo>
                  <a:lnTo>
                    <a:pt x="1036518" y="610452"/>
                  </a:lnTo>
                  <a:lnTo>
                    <a:pt x="1031407" y="606086"/>
                  </a:lnTo>
                  <a:lnTo>
                    <a:pt x="1024592" y="599047"/>
                  </a:lnTo>
                  <a:lnTo>
                    <a:pt x="1021742" y="597452"/>
                  </a:lnTo>
                  <a:lnTo>
                    <a:pt x="1019376" y="596811"/>
                  </a:lnTo>
                  <a:lnTo>
                    <a:pt x="1014723" y="596306"/>
                  </a:lnTo>
                  <a:lnTo>
                    <a:pt x="1013644" y="595426"/>
                  </a:lnTo>
                  <a:lnTo>
                    <a:pt x="1011948" y="593023"/>
                  </a:lnTo>
                  <a:lnTo>
                    <a:pt x="1009021" y="591215"/>
                  </a:lnTo>
                  <a:lnTo>
                    <a:pt x="1007953" y="590988"/>
                  </a:lnTo>
                  <a:lnTo>
                    <a:pt x="1006228" y="591414"/>
                  </a:lnTo>
                  <a:lnTo>
                    <a:pt x="1001674" y="593079"/>
                  </a:lnTo>
                  <a:lnTo>
                    <a:pt x="995953" y="591316"/>
                  </a:lnTo>
                  <a:lnTo>
                    <a:pt x="994671" y="590076"/>
                  </a:lnTo>
                  <a:lnTo>
                    <a:pt x="993912" y="587970"/>
                  </a:lnTo>
                  <a:lnTo>
                    <a:pt x="993190" y="586813"/>
                  </a:lnTo>
                  <a:lnTo>
                    <a:pt x="991252" y="585773"/>
                  </a:lnTo>
                  <a:lnTo>
                    <a:pt x="989620" y="583140"/>
                  </a:lnTo>
                  <a:lnTo>
                    <a:pt x="978753" y="577940"/>
                  </a:lnTo>
                  <a:lnTo>
                    <a:pt x="972291" y="571950"/>
                  </a:lnTo>
                  <a:lnTo>
                    <a:pt x="970982" y="569783"/>
                  </a:lnTo>
                  <a:lnTo>
                    <a:pt x="970857" y="568897"/>
                  </a:lnTo>
                  <a:lnTo>
                    <a:pt x="971521" y="566010"/>
                  </a:lnTo>
                  <a:lnTo>
                    <a:pt x="973017" y="562730"/>
                  </a:lnTo>
                  <a:lnTo>
                    <a:pt x="974979" y="559468"/>
                  </a:lnTo>
                  <a:lnTo>
                    <a:pt x="976179" y="558131"/>
                  </a:lnTo>
                  <a:lnTo>
                    <a:pt x="980430" y="555313"/>
                  </a:lnTo>
                  <a:lnTo>
                    <a:pt x="983780" y="554674"/>
                  </a:lnTo>
                  <a:lnTo>
                    <a:pt x="988455" y="555031"/>
                  </a:lnTo>
                  <a:lnTo>
                    <a:pt x="990919" y="555658"/>
                  </a:lnTo>
                  <a:lnTo>
                    <a:pt x="993126" y="557545"/>
                  </a:lnTo>
                  <a:lnTo>
                    <a:pt x="994073" y="559718"/>
                  </a:lnTo>
                  <a:lnTo>
                    <a:pt x="995176" y="561182"/>
                  </a:lnTo>
                  <a:lnTo>
                    <a:pt x="998645" y="562781"/>
                  </a:lnTo>
                  <a:lnTo>
                    <a:pt x="1000526" y="564069"/>
                  </a:lnTo>
                  <a:lnTo>
                    <a:pt x="1003289" y="567060"/>
                  </a:lnTo>
                  <a:lnTo>
                    <a:pt x="1005420" y="570659"/>
                  </a:lnTo>
                  <a:lnTo>
                    <a:pt x="1007382" y="571843"/>
                  </a:lnTo>
                  <a:lnTo>
                    <a:pt x="1012088" y="572247"/>
                  </a:lnTo>
                  <a:lnTo>
                    <a:pt x="1016946" y="571639"/>
                  </a:lnTo>
                  <a:lnTo>
                    <a:pt x="1027374" y="569376"/>
                  </a:lnTo>
                  <a:lnTo>
                    <a:pt x="1027798" y="569094"/>
                  </a:lnTo>
                  <a:lnTo>
                    <a:pt x="1028443" y="567744"/>
                  </a:lnTo>
                  <a:lnTo>
                    <a:pt x="1029632" y="559529"/>
                  </a:lnTo>
                  <a:lnTo>
                    <a:pt x="1030346" y="559494"/>
                  </a:lnTo>
                  <a:lnTo>
                    <a:pt x="1033886" y="563303"/>
                  </a:lnTo>
                  <a:lnTo>
                    <a:pt x="1034891" y="563720"/>
                  </a:lnTo>
                  <a:lnTo>
                    <a:pt x="1036417" y="562928"/>
                  </a:lnTo>
                  <a:lnTo>
                    <a:pt x="1037323" y="561078"/>
                  </a:lnTo>
                  <a:lnTo>
                    <a:pt x="1037213" y="560200"/>
                  </a:lnTo>
                  <a:lnTo>
                    <a:pt x="1034988" y="555738"/>
                  </a:lnTo>
                  <a:lnTo>
                    <a:pt x="1033676" y="553794"/>
                  </a:lnTo>
                  <a:lnTo>
                    <a:pt x="1032499" y="552587"/>
                  </a:lnTo>
                  <a:lnTo>
                    <a:pt x="1031187" y="552191"/>
                  </a:lnTo>
                  <a:lnTo>
                    <a:pt x="1028352" y="552575"/>
                  </a:lnTo>
                  <a:lnTo>
                    <a:pt x="1026192" y="551715"/>
                  </a:lnTo>
                  <a:lnTo>
                    <a:pt x="1025715" y="550479"/>
                  </a:lnTo>
                  <a:lnTo>
                    <a:pt x="1026065" y="548821"/>
                  </a:lnTo>
                  <a:lnTo>
                    <a:pt x="1027259" y="547067"/>
                  </a:lnTo>
                  <a:lnTo>
                    <a:pt x="1028539" y="546061"/>
                  </a:lnTo>
                  <a:lnTo>
                    <a:pt x="1031026" y="545546"/>
                  </a:lnTo>
                  <a:lnTo>
                    <a:pt x="1033938" y="546056"/>
                  </a:lnTo>
                  <a:lnTo>
                    <a:pt x="1037967" y="548178"/>
                  </a:lnTo>
                  <a:lnTo>
                    <a:pt x="1040518" y="548648"/>
                  </a:lnTo>
                  <a:lnTo>
                    <a:pt x="1044099" y="548042"/>
                  </a:lnTo>
                  <a:lnTo>
                    <a:pt x="1039515" y="546796"/>
                  </a:lnTo>
                  <a:lnTo>
                    <a:pt x="1033125" y="541889"/>
                  </a:lnTo>
                  <a:lnTo>
                    <a:pt x="1030382" y="540972"/>
                  </a:lnTo>
                  <a:lnTo>
                    <a:pt x="1027038" y="543079"/>
                  </a:lnTo>
                  <a:lnTo>
                    <a:pt x="1024781" y="543872"/>
                  </a:lnTo>
                  <a:lnTo>
                    <a:pt x="1020513" y="544899"/>
                  </a:lnTo>
                  <a:lnTo>
                    <a:pt x="1017114" y="545051"/>
                  </a:lnTo>
                  <a:lnTo>
                    <a:pt x="1002877" y="537459"/>
                  </a:lnTo>
                  <a:lnTo>
                    <a:pt x="1002085" y="536732"/>
                  </a:lnTo>
                  <a:lnTo>
                    <a:pt x="1001043" y="534750"/>
                  </a:lnTo>
                  <a:lnTo>
                    <a:pt x="1001163" y="533837"/>
                  </a:lnTo>
                  <a:lnTo>
                    <a:pt x="1002568" y="532426"/>
                  </a:lnTo>
                  <a:lnTo>
                    <a:pt x="1006115" y="530557"/>
                  </a:lnTo>
                  <a:lnTo>
                    <a:pt x="1011394" y="529386"/>
                  </a:lnTo>
                  <a:lnTo>
                    <a:pt x="1014923" y="529195"/>
                  </a:lnTo>
                  <a:lnTo>
                    <a:pt x="1018009" y="530590"/>
                  </a:lnTo>
                  <a:lnTo>
                    <a:pt x="1022504" y="534362"/>
                  </a:lnTo>
                  <a:lnTo>
                    <a:pt x="1026437" y="536563"/>
                  </a:lnTo>
                  <a:lnTo>
                    <a:pt x="1026760" y="535772"/>
                  </a:lnTo>
                  <a:lnTo>
                    <a:pt x="1026065" y="533607"/>
                  </a:lnTo>
                  <a:lnTo>
                    <a:pt x="1024271" y="530390"/>
                  </a:lnTo>
                  <a:lnTo>
                    <a:pt x="1022983" y="529508"/>
                  </a:lnTo>
                  <a:lnTo>
                    <a:pt x="1019819" y="528547"/>
                  </a:lnTo>
                  <a:lnTo>
                    <a:pt x="1016889" y="526332"/>
                  </a:lnTo>
                  <a:lnTo>
                    <a:pt x="1015511" y="524693"/>
                  </a:lnTo>
                  <a:lnTo>
                    <a:pt x="1014777" y="522933"/>
                  </a:lnTo>
                  <a:lnTo>
                    <a:pt x="1014687" y="521055"/>
                  </a:lnTo>
                  <a:lnTo>
                    <a:pt x="1015247" y="519771"/>
                  </a:lnTo>
                  <a:lnTo>
                    <a:pt x="1016461" y="519082"/>
                  </a:lnTo>
                  <a:lnTo>
                    <a:pt x="1027403" y="517201"/>
                  </a:lnTo>
                  <a:lnTo>
                    <a:pt x="1035042" y="519285"/>
                  </a:lnTo>
                  <a:lnTo>
                    <a:pt x="1039890" y="519585"/>
                  </a:lnTo>
                  <a:lnTo>
                    <a:pt x="1041901" y="517028"/>
                  </a:lnTo>
                  <a:lnTo>
                    <a:pt x="1041200" y="516529"/>
                  </a:lnTo>
                  <a:lnTo>
                    <a:pt x="1038648" y="517188"/>
                  </a:lnTo>
                  <a:lnTo>
                    <a:pt x="1035766" y="517173"/>
                  </a:lnTo>
                  <a:lnTo>
                    <a:pt x="1033965" y="515770"/>
                  </a:lnTo>
                  <a:lnTo>
                    <a:pt x="1033908" y="514950"/>
                  </a:lnTo>
                  <a:lnTo>
                    <a:pt x="1036154" y="512986"/>
                  </a:lnTo>
                  <a:close/>
                  <a:moveTo>
                    <a:pt x="1095439" y="503781"/>
                  </a:moveTo>
                  <a:lnTo>
                    <a:pt x="1098031" y="504077"/>
                  </a:lnTo>
                  <a:lnTo>
                    <a:pt x="1098812" y="504998"/>
                  </a:lnTo>
                  <a:lnTo>
                    <a:pt x="1099022" y="505916"/>
                  </a:lnTo>
                  <a:lnTo>
                    <a:pt x="1098662" y="506839"/>
                  </a:lnTo>
                  <a:lnTo>
                    <a:pt x="1096597" y="509193"/>
                  </a:lnTo>
                  <a:lnTo>
                    <a:pt x="1093902" y="511027"/>
                  </a:lnTo>
                  <a:lnTo>
                    <a:pt x="1086652" y="514965"/>
                  </a:lnTo>
                  <a:lnTo>
                    <a:pt x="1083524" y="515968"/>
                  </a:lnTo>
                  <a:lnTo>
                    <a:pt x="1076225" y="517009"/>
                  </a:lnTo>
                  <a:lnTo>
                    <a:pt x="1072856" y="516562"/>
                  </a:lnTo>
                  <a:lnTo>
                    <a:pt x="1071074" y="517925"/>
                  </a:lnTo>
                  <a:lnTo>
                    <a:pt x="1069673" y="518503"/>
                  </a:lnTo>
                  <a:lnTo>
                    <a:pt x="1065684" y="518753"/>
                  </a:lnTo>
                  <a:lnTo>
                    <a:pt x="1057466" y="516291"/>
                  </a:lnTo>
                  <a:lnTo>
                    <a:pt x="1055257" y="515435"/>
                  </a:lnTo>
                  <a:lnTo>
                    <a:pt x="1054449" y="514640"/>
                  </a:lnTo>
                  <a:lnTo>
                    <a:pt x="1054784" y="513875"/>
                  </a:lnTo>
                  <a:lnTo>
                    <a:pt x="1056259" y="513141"/>
                  </a:lnTo>
                  <a:lnTo>
                    <a:pt x="1062566" y="512026"/>
                  </a:lnTo>
                  <a:lnTo>
                    <a:pt x="1064903" y="511202"/>
                  </a:lnTo>
                  <a:lnTo>
                    <a:pt x="1065867" y="510052"/>
                  </a:lnTo>
                  <a:lnTo>
                    <a:pt x="1067444" y="509125"/>
                  </a:lnTo>
                  <a:lnTo>
                    <a:pt x="1069634" y="508427"/>
                  </a:lnTo>
                  <a:lnTo>
                    <a:pt x="1075546" y="507756"/>
                  </a:lnTo>
                  <a:lnTo>
                    <a:pt x="1088832" y="504275"/>
                  </a:lnTo>
                  <a:close/>
                  <a:moveTo>
                    <a:pt x="1206756" y="500596"/>
                  </a:moveTo>
                  <a:lnTo>
                    <a:pt x="1212828" y="501479"/>
                  </a:lnTo>
                  <a:lnTo>
                    <a:pt x="1222789" y="503828"/>
                  </a:lnTo>
                  <a:lnTo>
                    <a:pt x="1227637" y="505366"/>
                  </a:lnTo>
                  <a:lnTo>
                    <a:pt x="1230020" y="506392"/>
                  </a:lnTo>
                  <a:lnTo>
                    <a:pt x="1234558" y="509844"/>
                  </a:lnTo>
                  <a:lnTo>
                    <a:pt x="1236869" y="510835"/>
                  </a:lnTo>
                  <a:lnTo>
                    <a:pt x="1245707" y="508833"/>
                  </a:lnTo>
                  <a:lnTo>
                    <a:pt x="1251888" y="508090"/>
                  </a:lnTo>
                  <a:lnTo>
                    <a:pt x="1265642" y="509007"/>
                  </a:lnTo>
                  <a:lnTo>
                    <a:pt x="1277320" y="511857"/>
                  </a:lnTo>
                  <a:lnTo>
                    <a:pt x="1281617" y="513998"/>
                  </a:lnTo>
                  <a:lnTo>
                    <a:pt x="1284238" y="515961"/>
                  </a:lnTo>
                  <a:lnTo>
                    <a:pt x="1283559" y="518127"/>
                  </a:lnTo>
                  <a:lnTo>
                    <a:pt x="1281409" y="521621"/>
                  </a:lnTo>
                  <a:lnTo>
                    <a:pt x="1278889" y="524939"/>
                  </a:lnTo>
                  <a:lnTo>
                    <a:pt x="1273843" y="530133"/>
                  </a:lnTo>
                  <a:lnTo>
                    <a:pt x="1269554" y="532727"/>
                  </a:lnTo>
                  <a:lnTo>
                    <a:pt x="1268495" y="533972"/>
                  </a:lnTo>
                  <a:lnTo>
                    <a:pt x="1267824" y="535694"/>
                  </a:lnTo>
                  <a:lnTo>
                    <a:pt x="1266159" y="538214"/>
                  </a:lnTo>
                  <a:lnTo>
                    <a:pt x="1261551" y="543656"/>
                  </a:lnTo>
                  <a:lnTo>
                    <a:pt x="1260322" y="544586"/>
                  </a:lnTo>
                  <a:lnTo>
                    <a:pt x="1253833" y="546963"/>
                  </a:lnTo>
                  <a:lnTo>
                    <a:pt x="1256056" y="548027"/>
                  </a:lnTo>
                  <a:lnTo>
                    <a:pt x="1257074" y="548966"/>
                  </a:lnTo>
                  <a:lnTo>
                    <a:pt x="1256219" y="551372"/>
                  </a:lnTo>
                  <a:lnTo>
                    <a:pt x="1252127" y="557165"/>
                  </a:lnTo>
                  <a:lnTo>
                    <a:pt x="1247883" y="562509"/>
                  </a:lnTo>
                  <a:lnTo>
                    <a:pt x="1244917" y="565697"/>
                  </a:lnTo>
                  <a:lnTo>
                    <a:pt x="1239526" y="570299"/>
                  </a:lnTo>
                  <a:lnTo>
                    <a:pt x="1236561" y="571597"/>
                  </a:lnTo>
                  <a:lnTo>
                    <a:pt x="1232578" y="571998"/>
                  </a:lnTo>
                  <a:lnTo>
                    <a:pt x="1208523" y="567984"/>
                  </a:lnTo>
                  <a:lnTo>
                    <a:pt x="1202487" y="568049"/>
                  </a:lnTo>
                  <a:lnTo>
                    <a:pt x="1186446" y="570147"/>
                  </a:lnTo>
                  <a:lnTo>
                    <a:pt x="1187957" y="571172"/>
                  </a:lnTo>
                  <a:lnTo>
                    <a:pt x="1193832" y="572724"/>
                  </a:lnTo>
                  <a:lnTo>
                    <a:pt x="1197622" y="574413"/>
                  </a:lnTo>
                  <a:lnTo>
                    <a:pt x="1202650" y="579670"/>
                  </a:lnTo>
                  <a:lnTo>
                    <a:pt x="1203304" y="580979"/>
                  </a:lnTo>
                  <a:lnTo>
                    <a:pt x="1203621" y="582503"/>
                  </a:lnTo>
                  <a:lnTo>
                    <a:pt x="1203427" y="585489"/>
                  </a:lnTo>
                  <a:lnTo>
                    <a:pt x="1203083" y="586247"/>
                  </a:lnTo>
                  <a:lnTo>
                    <a:pt x="1195085" y="594281"/>
                  </a:lnTo>
                  <a:lnTo>
                    <a:pt x="1192499" y="600110"/>
                  </a:lnTo>
                  <a:lnTo>
                    <a:pt x="1190851" y="604908"/>
                  </a:lnTo>
                  <a:lnTo>
                    <a:pt x="1188159" y="606230"/>
                  </a:lnTo>
                  <a:lnTo>
                    <a:pt x="1179197" y="604205"/>
                  </a:lnTo>
                  <a:lnTo>
                    <a:pt x="1176305" y="604266"/>
                  </a:lnTo>
                  <a:lnTo>
                    <a:pt x="1166249" y="605665"/>
                  </a:lnTo>
                  <a:lnTo>
                    <a:pt x="1161555" y="604971"/>
                  </a:lnTo>
                  <a:lnTo>
                    <a:pt x="1162218" y="597734"/>
                  </a:lnTo>
                  <a:lnTo>
                    <a:pt x="1161562" y="589893"/>
                  </a:lnTo>
                  <a:lnTo>
                    <a:pt x="1160083" y="582384"/>
                  </a:lnTo>
                  <a:lnTo>
                    <a:pt x="1152562" y="568963"/>
                  </a:lnTo>
                  <a:lnTo>
                    <a:pt x="1151732" y="566573"/>
                  </a:lnTo>
                  <a:lnTo>
                    <a:pt x="1151180" y="564001"/>
                  </a:lnTo>
                  <a:lnTo>
                    <a:pt x="1150900" y="561242"/>
                  </a:lnTo>
                  <a:lnTo>
                    <a:pt x="1150924" y="558462"/>
                  </a:lnTo>
                  <a:lnTo>
                    <a:pt x="1151447" y="552832"/>
                  </a:lnTo>
                  <a:lnTo>
                    <a:pt x="1151506" y="549973"/>
                  </a:lnTo>
                  <a:lnTo>
                    <a:pt x="1151129" y="542499"/>
                  </a:lnTo>
                  <a:lnTo>
                    <a:pt x="1150112" y="531269"/>
                  </a:lnTo>
                  <a:lnTo>
                    <a:pt x="1150017" y="527292"/>
                  </a:lnTo>
                  <a:lnTo>
                    <a:pt x="1150086" y="525706"/>
                  </a:lnTo>
                  <a:lnTo>
                    <a:pt x="1150399" y="524495"/>
                  </a:lnTo>
                  <a:lnTo>
                    <a:pt x="1152009" y="522885"/>
                  </a:lnTo>
                  <a:lnTo>
                    <a:pt x="1155102" y="521729"/>
                  </a:lnTo>
                  <a:lnTo>
                    <a:pt x="1156660" y="521558"/>
                  </a:lnTo>
                  <a:lnTo>
                    <a:pt x="1166546" y="524972"/>
                  </a:lnTo>
                  <a:lnTo>
                    <a:pt x="1171091" y="526112"/>
                  </a:lnTo>
                  <a:lnTo>
                    <a:pt x="1174115" y="526061"/>
                  </a:lnTo>
                  <a:lnTo>
                    <a:pt x="1174282" y="525675"/>
                  </a:lnTo>
                  <a:lnTo>
                    <a:pt x="1171591" y="524955"/>
                  </a:lnTo>
                  <a:lnTo>
                    <a:pt x="1169061" y="523484"/>
                  </a:lnTo>
                  <a:lnTo>
                    <a:pt x="1164939" y="519097"/>
                  </a:lnTo>
                  <a:lnTo>
                    <a:pt x="1163047" y="515340"/>
                  </a:lnTo>
                  <a:lnTo>
                    <a:pt x="1162668" y="514096"/>
                  </a:lnTo>
                  <a:lnTo>
                    <a:pt x="1162579" y="512794"/>
                  </a:lnTo>
                  <a:lnTo>
                    <a:pt x="1162776" y="511432"/>
                  </a:lnTo>
                  <a:lnTo>
                    <a:pt x="1163375" y="510207"/>
                  </a:lnTo>
                  <a:lnTo>
                    <a:pt x="1165438" y="508284"/>
                  </a:lnTo>
                  <a:lnTo>
                    <a:pt x="1167119" y="507416"/>
                  </a:lnTo>
                  <a:lnTo>
                    <a:pt x="1173320" y="505205"/>
                  </a:lnTo>
                  <a:lnTo>
                    <a:pt x="1179568" y="503857"/>
                  </a:lnTo>
                  <a:lnTo>
                    <a:pt x="1193355" y="502940"/>
                  </a:lnTo>
                  <a:lnTo>
                    <a:pt x="1197265" y="503597"/>
                  </a:lnTo>
                  <a:lnTo>
                    <a:pt x="1203234" y="501174"/>
                  </a:lnTo>
                  <a:close/>
                  <a:moveTo>
                    <a:pt x="494399" y="482297"/>
                  </a:moveTo>
                  <a:lnTo>
                    <a:pt x="499189" y="483056"/>
                  </a:lnTo>
                  <a:lnTo>
                    <a:pt x="503919" y="485049"/>
                  </a:lnTo>
                  <a:lnTo>
                    <a:pt x="510183" y="488527"/>
                  </a:lnTo>
                  <a:lnTo>
                    <a:pt x="518479" y="491916"/>
                  </a:lnTo>
                  <a:lnTo>
                    <a:pt x="533969" y="496865"/>
                  </a:lnTo>
                  <a:lnTo>
                    <a:pt x="543629" y="497906"/>
                  </a:lnTo>
                  <a:lnTo>
                    <a:pt x="539755" y="501843"/>
                  </a:lnTo>
                  <a:lnTo>
                    <a:pt x="539209" y="503022"/>
                  </a:lnTo>
                  <a:lnTo>
                    <a:pt x="539224" y="503881"/>
                  </a:lnTo>
                  <a:lnTo>
                    <a:pt x="539421" y="504089"/>
                  </a:lnTo>
                  <a:lnTo>
                    <a:pt x="545950" y="499478"/>
                  </a:lnTo>
                  <a:lnTo>
                    <a:pt x="549912" y="499227"/>
                  </a:lnTo>
                  <a:lnTo>
                    <a:pt x="552673" y="499639"/>
                  </a:lnTo>
                  <a:lnTo>
                    <a:pt x="553548" y="500226"/>
                  </a:lnTo>
                  <a:lnTo>
                    <a:pt x="554102" y="501137"/>
                  </a:lnTo>
                  <a:lnTo>
                    <a:pt x="554376" y="503139"/>
                  </a:lnTo>
                  <a:lnTo>
                    <a:pt x="554551" y="508086"/>
                  </a:lnTo>
                  <a:lnTo>
                    <a:pt x="554903" y="508697"/>
                  </a:lnTo>
                  <a:lnTo>
                    <a:pt x="555802" y="508416"/>
                  </a:lnTo>
                  <a:lnTo>
                    <a:pt x="557244" y="507250"/>
                  </a:lnTo>
                  <a:lnTo>
                    <a:pt x="564382" y="499932"/>
                  </a:lnTo>
                  <a:lnTo>
                    <a:pt x="567396" y="497920"/>
                  </a:lnTo>
                  <a:lnTo>
                    <a:pt x="569457" y="497317"/>
                  </a:lnTo>
                  <a:lnTo>
                    <a:pt x="578188" y="496215"/>
                  </a:lnTo>
                  <a:lnTo>
                    <a:pt x="584117" y="496249"/>
                  </a:lnTo>
                  <a:lnTo>
                    <a:pt x="590668" y="496933"/>
                  </a:lnTo>
                  <a:lnTo>
                    <a:pt x="595553" y="497959"/>
                  </a:lnTo>
                  <a:lnTo>
                    <a:pt x="603565" y="500974"/>
                  </a:lnTo>
                  <a:lnTo>
                    <a:pt x="609865" y="504438"/>
                  </a:lnTo>
                  <a:lnTo>
                    <a:pt x="615647" y="508121"/>
                  </a:lnTo>
                  <a:lnTo>
                    <a:pt x="635036" y="521912"/>
                  </a:lnTo>
                  <a:lnTo>
                    <a:pt x="643236" y="525964"/>
                  </a:lnTo>
                  <a:lnTo>
                    <a:pt x="646371" y="528262"/>
                  </a:lnTo>
                  <a:lnTo>
                    <a:pt x="647767" y="529934"/>
                  </a:lnTo>
                  <a:lnTo>
                    <a:pt x="648987" y="532030"/>
                  </a:lnTo>
                  <a:lnTo>
                    <a:pt x="649360" y="533987"/>
                  </a:lnTo>
                  <a:lnTo>
                    <a:pt x="648884" y="535804"/>
                  </a:lnTo>
                  <a:lnTo>
                    <a:pt x="647989" y="537072"/>
                  </a:lnTo>
                  <a:lnTo>
                    <a:pt x="646023" y="538154"/>
                  </a:lnTo>
                  <a:lnTo>
                    <a:pt x="634160" y="542717"/>
                  </a:lnTo>
                  <a:lnTo>
                    <a:pt x="627914" y="544113"/>
                  </a:lnTo>
                  <a:lnTo>
                    <a:pt x="621729" y="546127"/>
                  </a:lnTo>
                  <a:lnTo>
                    <a:pt x="606948" y="553219"/>
                  </a:lnTo>
                  <a:lnTo>
                    <a:pt x="596831" y="556589"/>
                  </a:lnTo>
                  <a:lnTo>
                    <a:pt x="583677" y="563144"/>
                  </a:lnTo>
                  <a:lnTo>
                    <a:pt x="558870" y="573648"/>
                  </a:lnTo>
                  <a:lnTo>
                    <a:pt x="555918" y="575750"/>
                  </a:lnTo>
                  <a:lnTo>
                    <a:pt x="554559" y="577261"/>
                  </a:lnTo>
                  <a:lnTo>
                    <a:pt x="547555" y="589146"/>
                  </a:lnTo>
                  <a:lnTo>
                    <a:pt x="544891" y="591897"/>
                  </a:lnTo>
                  <a:lnTo>
                    <a:pt x="538434" y="594697"/>
                  </a:lnTo>
                  <a:lnTo>
                    <a:pt x="530262" y="595397"/>
                  </a:lnTo>
                  <a:lnTo>
                    <a:pt x="527977" y="596182"/>
                  </a:lnTo>
                  <a:lnTo>
                    <a:pt x="527608" y="600262"/>
                  </a:lnTo>
                  <a:lnTo>
                    <a:pt x="524678" y="607021"/>
                  </a:lnTo>
                  <a:lnTo>
                    <a:pt x="523251" y="611560"/>
                  </a:lnTo>
                  <a:lnTo>
                    <a:pt x="521301" y="623668"/>
                  </a:lnTo>
                  <a:lnTo>
                    <a:pt x="520851" y="624876"/>
                  </a:lnTo>
                  <a:lnTo>
                    <a:pt x="519362" y="627110"/>
                  </a:lnTo>
                  <a:lnTo>
                    <a:pt x="516834" y="629531"/>
                  </a:lnTo>
                  <a:lnTo>
                    <a:pt x="508948" y="632315"/>
                  </a:lnTo>
                  <a:lnTo>
                    <a:pt x="503130" y="633776"/>
                  </a:lnTo>
                  <a:lnTo>
                    <a:pt x="495210" y="634989"/>
                  </a:lnTo>
                  <a:lnTo>
                    <a:pt x="493316" y="634159"/>
                  </a:lnTo>
                  <a:lnTo>
                    <a:pt x="491406" y="632251"/>
                  </a:lnTo>
                  <a:lnTo>
                    <a:pt x="489415" y="632085"/>
                  </a:lnTo>
                  <a:lnTo>
                    <a:pt x="488181" y="632383"/>
                  </a:lnTo>
                  <a:lnTo>
                    <a:pt x="477854" y="640730"/>
                  </a:lnTo>
                  <a:lnTo>
                    <a:pt x="467892" y="644097"/>
                  </a:lnTo>
                  <a:lnTo>
                    <a:pt x="463575" y="647135"/>
                  </a:lnTo>
                  <a:lnTo>
                    <a:pt x="460528" y="648561"/>
                  </a:lnTo>
                  <a:lnTo>
                    <a:pt x="458079" y="649000"/>
                  </a:lnTo>
                  <a:lnTo>
                    <a:pt x="454043" y="648731"/>
                  </a:lnTo>
                  <a:lnTo>
                    <a:pt x="451130" y="647354"/>
                  </a:lnTo>
                  <a:lnTo>
                    <a:pt x="448489" y="645230"/>
                  </a:lnTo>
                  <a:lnTo>
                    <a:pt x="446496" y="642920"/>
                  </a:lnTo>
                  <a:lnTo>
                    <a:pt x="441378" y="633392"/>
                  </a:lnTo>
                  <a:lnTo>
                    <a:pt x="439180" y="630123"/>
                  </a:lnTo>
                  <a:lnTo>
                    <a:pt x="437311" y="628488"/>
                  </a:lnTo>
                  <a:lnTo>
                    <a:pt x="432297" y="622651"/>
                  </a:lnTo>
                  <a:lnTo>
                    <a:pt x="430915" y="621479"/>
                  </a:lnTo>
                  <a:lnTo>
                    <a:pt x="411843" y="614055"/>
                  </a:lnTo>
                  <a:lnTo>
                    <a:pt x="402559" y="609880"/>
                  </a:lnTo>
                  <a:lnTo>
                    <a:pt x="400314" y="608406"/>
                  </a:lnTo>
                  <a:lnTo>
                    <a:pt x="398234" y="607544"/>
                  </a:lnTo>
                  <a:lnTo>
                    <a:pt x="386310" y="608121"/>
                  </a:lnTo>
                  <a:lnTo>
                    <a:pt x="384733" y="607895"/>
                  </a:lnTo>
                  <a:lnTo>
                    <a:pt x="384322" y="607278"/>
                  </a:lnTo>
                  <a:lnTo>
                    <a:pt x="385733" y="605085"/>
                  </a:lnTo>
                  <a:lnTo>
                    <a:pt x="386290" y="603700"/>
                  </a:lnTo>
                  <a:lnTo>
                    <a:pt x="386473" y="602341"/>
                  </a:lnTo>
                  <a:lnTo>
                    <a:pt x="386268" y="600148"/>
                  </a:lnTo>
                  <a:lnTo>
                    <a:pt x="386420" y="599752"/>
                  </a:lnTo>
                  <a:lnTo>
                    <a:pt x="390953" y="597588"/>
                  </a:lnTo>
                  <a:lnTo>
                    <a:pt x="390218" y="597139"/>
                  </a:lnTo>
                  <a:lnTo>
                    <a:pt x="389686" y="596293"/>
                  </a:lnTo>
                  <a:lnTo>
                    <a:pt x="389356" y="595046"/>
                  </a:lnTo>
                  <a:lnTo>
                    <a:pt x="389850" y="594175"/>
                  </a:lnTo>
                  <a:lnTo>
                    <a:pt x="391164" y="593678"/>
                  </a:lnTo>
                  <a:lnTo>
                    <a:pt x="392764" y="591657"/>
                  </a:lnTo>
                  <a:lnTo>
                    <a:pt x="394648" y="588110"/>
                  </a:lnTo>
                  <a:lnTo>
                    <a:pt x="396050" y="586117"/>
                  </a:lnTo>
                  <a:lnTo>
                    <a:pt x="397998" y="584832"/>
                  </a:lnTo>
                  <a:lnTo>
                    <a:pt x="401488" y="581394"/>
                  </a:lnTo>
                  <a:lnTo>
                    <a:pt x="403977" y="580004"/>
                  </a:lnTo>
                  <a:lnTo>
                    <a:pt x="406083" y="578261"/>
                  </a:lnTo>
                  <a:lnTo>
                    <a:pt x="406145" y="577475"/>
                  </a:lnTo>
                  <a:lnTo>
                    <a:pt x="405286" y="576870"/>
                  </a:lnTo>
                  <a:lnTo>
                    <a:pt x="404990" y="575538"/>
                  </a:lnTo>
                  <a:lnTo>
                    <a:pt x="405382" y="571373"/>
                  </a:lnTo>
                  <a:lnTo>
                    <a:pt x="405365" y="569225"/>
                  </a:lnTo>
                  <a:lnTo>
                    <a:pt x="405747" y="567431"/>
                  </a:lnTo>
                  <a:lnTo>
                    <a:pt x="406526" y="565986"/>
                  </a:lnTo>
                  <a:lnTo>
                    <a:pt x="407510" y="565027"/>
                  </a:lnTo>
                  <a:lnTo>
                    <a:pt x="416340" y="561997"/>
                  </a:lnTo>
                  <a:lnTo>
                    <a:pt x="416788" y="561118"/>
                  </a:lnTo>
                  <a:lnTo>
                    <a:pt x="416892" y="560108"/>
                  </a:lnTo>
                  <a:lnTo>
                    <a:pt x="416654" y="558962"/>
                  </a:lnTo>
                  <a:lnTo>
                    <a:pt x="416196" y="558158"/>
                  </a:lnTo>
                  <a:lnTo>
                    <a:pt x="414800" y="557500"/>
                  </a:lnTo>
                  <a:lnTo>
                    <a:pt x="412439" y="557318"/>
                  </a:lnTo>
                  <a:lnTo>
                    <a:pt x="410395" y="555569"/>
                  </a:lnTo>
                  <a:lnTo>
                    <a:pt x="409904" y="554723"/>
                  </a:lnTo>
                  <a:lnTo>
                    <a:pt x="410725" y="552326"/>
                  </a:lnTo>
                  <a:lnTo>
                    <a:pt x="414709" y="548501"/>
                  </a:lnTo>
                  <a:lnTo>
                    <a:pt x="416051" y="546610"/>
                  </a:lnTo>
                  <a:lnTo>
                    <a:pt x="420356" y="538057"/>
                  </a:lnTo>
                  <a:lnTo>
                    <a:pt x="428218" y="532741"/>
                  </a:lnTo>
                  <a:lnTo>
                    <a:pt x="430348" y="527010"/>
                  </a:lnTo>
                  <a:lnTo>
                    <a:pt x="436253" y="520915"/>
                  </a:lnTo>
                  <a:lnTo>
                    <a:pt x="436239" y="520071"/>
                  </a:lnTo>
                  <a:lnTo>
                    <a:pt x="434331" y="517986"/>
                  </a:lnTo>
                  <a:lnTo>
                    <a:pt x="428881" y="516542"/>
                  </a:lnTo>
                  <a:lnTo>
                    <a:pt x="426257" y="514313"/>
                  </a:lnTo>
                  <a:lnTo>
                    <a:pt x="424502" y="511779"/>
                  </a:lnTo>
                  <a:lnTo>
                    <a:pt x="416524" y="497143"/>
                  </a:lnTo>
                  <a:lnTo>
                    <a:pt x="415160" y="496052"/>
                  </a:lnTo>
                  <a:lnTo>
                    <a:pt x="414757" y="494341"/>
                  </a:lnTo>
                  <a:lnTo>
                    <a:pt x="413127" y="493210"/>
                  </a:lnTo>
                  <a:lnTo>
                    <a:pt x="413459" y="492153"/>
                  </a:lnTo>
                  <a:lnTo>
                    <a:pt x="444594" y="487758"/>
                  </a:lnTo>
                  <a:lnTo>
                    <a:pt x="466024" y="486355"/>
                  </a:lnTo>
                  <a:lnTo>
                    <a:pt x="488218" y="482523"/>
                  </a:lnTo>
                  <a:close/>
                  <a:moveTo>
                    <a:pt x="1105175" y="478208"/>
                  </a:moveTo>
                  <a:lnTo>
                    <a:pt x="1107666" y="479644"/>
                  </a:lnTo>
                  <a:lnTo>
                    <a:pt x="1108349" y="480730"/>
                  </a:lnTo>
                  <a:lnTo>
                    <a:pt x="1108030" y="481568"/>
                  </a:lnTo>
                  <a:lnTo>
                    <a:pt x="1106720" y="483241"/>
                  </a:lnTo>
                  <a:lnTo>
                    <a:pt x="1099098" y="486279"/>
                  </a:lnTo>
                  <a:lnTo>
                    <a:pt x="1097439" y="485100"/>
                  </a:lnTo>
                  <a:lnTo>
                    <a:pt x="1096718" y="484031"/>
                  </a:lnTo>
                  <a:lnTo>
                    <a:pt x="1102644" y="479418"/>
                  </a:lnTo>
                  <a:close/>
                  <a:moveTo>
                    <a:pt x="1149702" y="477688"/>
                  </a:moveTo>
                  <a:lnTo>
                    <a:pt x="1153512" y="477696"/>
                  </a:lnTo>
                  <a:lnTo>
                    <a:pt x="1157509" y="480263"/>
                  </a:lnTo>
                  <a:lnTo>
                    <a:pt x="1159390" y="482578"/>
                  </a:lnTo>
                  <a:lnTo>
                    <a:pt x="1159490" y="483598"/>
                  </a:lnTo>
                  <a:lnTo>
                    <a:pt x="1158673" y="484289"/>
                  </a:lnTo>
                  <a:lnTo>
                    <a:pt x="1157511" y="484541"/>
                  </a:lnTo>
                  <a:lnTo>
                    <a:pt x="1155254" y="484254"/>
                  </a:lnTo>
                  <a:lnTo>
                    <a:pt x="1146741" y="482017"/>
                  </a:lnTo>
                  <a:lnTo>
                    <a:pt x="1145292" y="481098"/>
                  </a:lnTo>
                  <a:lnTo>
                    <a:pt x="1144877" y="480424"/>
                  </a:lnTo>
                  <a:lnTo>
                    <a:pt x="1146812" y="479610"/>
                  </a:lnTo>
                  <a:lnTo>
                    <a:pt x="1147543" y="478742"/>
                  </a:lnTo>
                  <a:close/>
                  <a:moveTo>
                    <a:pt x="929461" y="437438"/>
                  </a:moveTo>
                  <a:lnTo>
                    <a:pt x="936347" y="437717"/>
                  </a:lnTo>
                  <a:lnTo>
                    <a:pt x="940345" y="439390"/>
                  </a:lnTo>
                  <a:lnTo>
                    <a:pt x="942013" y="440467"/>
                  </a:lnTo>
                  <a:lnTo>
                    <a:pt x="943207" y="441760"/>
                  </a:lnTo>
                  <a:lnTo>
                    <a:pt x="944379" y="444645"/>
                  </a:lnTo>
                  <a:lnTo>
                    <a:pt x="944668" y="446515"/>
                  </a:lnTo>
                  <a:lnTo>
                    <a:pt x="946678" y="448644"/>
                  </a:lnTo>
                  <a:lnTo>
                    <a:pt x="947279" y="449873"/>
                  </a:lnTo>
                  <a:lnTo>
                    <a:pt x="947315" y="451076"/>
                  </a:lnTo>
                  <a:lnTo>
                    <a:pt x="946753" y="452292"/>
                  </a:lnTo>
                  <a:lnTo>
                    <a:pt x="945600" y="453517"/>
                  </a:lnTo>
                  <a:lnTo>
                    <a:pt x="942958" y="455309"/>
                  </a:lnTo>
                  <a:lnTo>
                    <a:pt x="935200" y="457513"/>
                  </a:lnTo>
                  <a:lnTo>
                    <a:pt x="930413" y="457786"/>
                  </a:lnTo>
                  <a:lnTo>
                    <a:pt x="922156" y="456246"/>
                  </a:lnTo>
                  <a:lnTo>
                    <a:pt x="917242" y="453276"/>
                  </a:lnTo>
                  <a:lnTo>
                    <a:pt x="915739" y="451850"/>
                  </a:lnTo>
                  <a:lnTo>
                    <a:pt x="915886" y="451201"/>
                  </a:lnTo>
                  <a:lnTo>
                    <a:pt x="916735" y="450561"/>
                  </a:lnTo>
                  <a:lnTo>
                    <a:pt x="917922" y="448627"/>
                  </a:lnTo>
                  <a:lnTo>
                    <a:pt x="920735" y="443029"/>
                  </a:lnTo>
                  <a:lnTo>
                    <a:pt x="921789" y="441543"/>
                  </a:lnTo>
                  <a:lnTo>
                    <a:pt x="926217" y="438304"/>
                  </a:lnTo>
                  <a:close/>
                  <a:moveTo>
                    <a:pt x="1169537" y="427159"/>
                  </a:moveTo>
                  <a:lnTo>
                    <a:pt x="1175358" y="427519"/>
                  </a:lnTo>
                  <a:lnTo>
                    <a:pt x="1180971" y="429047"/>
                  </a:lnTo>
                  <a:lnTo>
                    <a:pt x="1185296" y="431580"/>
                  </a:lnTo>
                  <a:lnTo>
                    <a:pt x="1194110" y="437819"/>
                  </a:lnTo>
                  <a:lnTo>
                    <a:pt x="1198122" y="441581"/>
                  </a:lnTo>
                  <a:lnTo>
                    <a:pt x="1200252" y="445438"/>
                  </a:lnTo>
                  <a:lnTo>
                    <a:pt x="1202170" y="447647"/>
                  </a:lnTo>
                  <a:lnTo>
                    <a:pt x="1204545" y="452404"/>
                  </a:lnTo>
                  <a:lnTo>
                    <a:pt x="1203678" y="454262"/>
                  </a:lnTo>
                  <a:lnTo>
                    <a:pt x="1203169" y="456759"/>
                  </a:lnTo>
                  <a:lnTo>
                    <a:pt x="1203403" y="457939"/>
                  </a:lnTo>
                  <a:lnTo>
                    <a:pt x="1205034" y="461791"/>
                  </a:lnTo>
                  <a:lnTo>
                    <a:pt x="1205329" y="463341"/>
                  </a:lnTo>
                  <a:lnTo>
                    <a:pt x="1205409" y="466621"/>
                  </a:lnTo>
                  <a:lnTo>
                    <a:pt x="1204715" y="470888"/>
                  </a:lnTo>
                  <a:lnTo>
                    <a:pt x="1204250" y="471669"/>
                  </a:lnTo>
                  <a:lnTo>
                    <a:pt x="1203580" y="472030"/>
                  </a:lnTo>
                  <a:lnTo>
                    <a:pt x="1203258" y="473127"/>
                  </a:lnTo>
                  <a:lnTo>
                    <a:pt x="1203287" y="474964"/>
                  </a:lnTo>
                  <a:lnTo>
                    <a:pt x="1202629" y="476082"/>
                  </a:lnTo>
                  <a:lnTo>
                    <a:pt x="1201284" y="476482"/>
                  </a:lnTo>
                  <a:lnTo>
                    <a:pt x="1192196" y="477323"/>
                  </a:lnTo>
                  <a:lnTo>
                    <a:pt x="1186579" y="477160"/>
                  </a:lnTo>
                  <a:lnTo>
                    <a:pt x="1178251" y="477698"/>
                  </a:lnTo>
                  <a:lnTo>
                    <a:pt x="1174125" y="477423"/>
                  </a:lnTo>
                  <a:lnTo>
                    <a:pt x="1171422" y="476521"/>
                  </a:lnTo>
                  <a:lnTo>
                    <a:pt x="1167494" y="474517"/>
                  </a:lnTo>
                  <a:lnTo>
                    <a:pt x="1159194" y="469772"/>
                  </a:lnTo>
                  <a:lnTo>
                    <a:pt x="1155007" y="469607"/>
                  </a:lnTo>
                  <a:lnTo>
                    <a:pt x="1144504" y="467938"/>
                  </a:lnTo>
                  <a:lnTo>
                    <a:pt x="1138702" y="462775"/>
                  </a:lnTo>
                  <a:lnTo>
                    <a:pt x="1136483" y="461850"/>
                  </a:lnTo>
                  <a:lnTo>
                    <a:pt x="1134243" y="463393"/>
                  </a:lnTo>
                  <a:lnTo>
                    <a:pt x="1133632" y="463044"/>
                  </a:lnTo>
                  <a:lnTo>
                    <a:pt x="1133014" y="462006"/>
                  </a:lnTo>
                  <a:lnTo>
                    <a:pt x="1132390" y="460271"/>
                  </a:lnTo>
                  <a:lnTo>
                    <a:pt x="1131296" y="459383"/>
                  </a:lnTo>
                  <a:lnTo>
                    <a:pt x="1126896" y="459844"/>
                  </a:lnTo>
                  <a:lnTo>
                    <a:pt x="1126101" y="459261"/>
                  </a:lnTo>
                  <a:lnTo>
                    <a:pt x="1125888" y="457743"/>
                  </a:lnTo>
                  <a:lnTo>
                    <a:pt x="1125955" y="456420"/>
                  </a:lnTo>
                  <a:lnTo>
                    <a:pt x="1126746" y="454343"/>
                  </a:lnTo>
                  <a:lnTo>
                    <a:pt x="1131384" y="448608"/>
                  </a:lnTo>
                  <a:lnTo>
                    <a:pt x="1133677" y="448206"/>
                  </a:lnTo>
                  <a:lnTo>
                    <a:pt x="1136518" y="447145"/>
                  </a:lnTo>
                  <a:lnTo>
                    <a:pt x="1138089" y="444040"/>
                  </a:lnTo>
                  <a:lnTo>
                    <a:pt x="1137925" y="441107"/>
                  </a:lnTo>
                  <a:lnTo>
                    <a:pt x="1142242" y="436727"/>
                  </a:lnTo>
                  <a:lnTo>
                    <a:pt x="1144814" y="435434"/>
                  </a:lnTo>
                  <a:lnTo>
                    <a:pt x="1149439" y="432373"/>
                  </a:lnTo>
                  <a:lnTo>
                    <a:pt x="1165193" y="427581"/>
                  </a:lnTo>
                  <a:close/>
                  <a:moveTo>
                    <a:pt x="1131765" y="425890"/>
                  </a:moveTo>
                  <a:lnTo>
                    <a:pt x="1137405" y="428008"/>
                  </a:lnTo>
                  <a:lnTo>
                    <a:pt x="1140081" y="429436"/>
                  </a:lnTo>
                  <a:lnTo>
                    <a:pt x="1142110" y="431053"/>
                  </a:lnTo>
                  <a:lnTo>
                    <a:pt x="1141888" y="431695"/>
                  </a:lnTo>
                  <a:lnTo>
                    <a:pt x="1139099" y="433325"/>
                  </a:lnTo>
                  <a:lnTo>
                    <a:pt x="1137126" y="435012"/>
                  </a:lnTo>
                  <a:lnTo>
                    <a:pt x="1135092" y="435137"/>
                  </a:lnTo>
                  <a:lnTo>
                    <a:pt x="1132357" y="433539"/>
                  </a:lnTo>
                  <a:lnTo>
                    <a:pt x="1129387" y="434140"/>
                  </a:lnTo>
                  <a:lnTo>
                    <a:pt x="1125320" y="437368"/>
                  </a:lnTo>
                  <a:lnTo>
                    <a:pt x="1123874" y="439269"/>
                  </a:lnTo>
                  <a:lnTo>
                    <a:pt x="1122763" y="439956"/>
                  </a:lnTo>
                  <a:lnTo>
                    <a:pt x="1119357" y="440551"/>
                  </a:lnTo>
                  <a:lnTo>
                    <a:pt x="1117887" y="440012"/>
                  </a:lnTo>
                  <a:lnTo>
                    <a:pt x="1116505" y="438324"/>
                  </a:lnTo>
                  <a:lnTo>
                    <a:pt x="1115212" y="435484"/>
                  </a:lnTo>
                  <a:lnTo>
                    <a:pt x="1116170" y="433340"/>
                  </a:lnTo>
                  <a:lnTo>
                    <a:pt x="1119382" y="431896"/>
                  </a:lnTo>
                  <a:lnTo>
                    <a:pt x="1127833" y="429546"/>
                  </a:lnTo>
                  <a:lnTo>
                    <a:pt x="1130247" y="428377"/>
                  </a:lnTo>
                  <a:lnTo>
                    <a:pt x="1130512" y="427123"/>
                  </a:lnTo>
                  <a:lnTo>
                    <a:pt x="1131018" y="426293"/>
                  </a:lnTo>
                  <a:close/>
                  <a:moveTo>
                    <a:pt x="509363" y="411264"/>
                  </a:moveTo>
                  <a:lnTo>
                    <a:pt x="510027" y="411758"/>
                  </a:lnTo>
                  <a:lnTo>
                    <a:pt x="510258" y="412861"/>
                  </a:lnTo>
                  <a:lnTo>
                    <a:pt x="509797" y="416083"/>
                  </a:lnTo>
                  <a:lnTo>
                    <a:pt x="509179" y="417640"/>
                  </a:lnTo>
                  <a:lnTo>
                    <a:pt x="508324" y="418968"/>
                  </a:lnTo>
                  <a:lnTo>
                    <a:pt x="507014" y="420159"/>
                  </a:lnTo>
                  <a:lnTo>
                    <a:pt x="505249" y="421215"/>
                  </a:lnTo>
                  <a:lnTo>
                    <a:pt x="503270" y="421455"/>
                  </a:lnTo>
                  <a:lnTo>
                    <a:pt x="501073" y="420876"/>
                  </a:lnTo>
                  <a:lnTo>
                    <a:pt x="501576" y="419550"/>
                  </a:lnTo>
                  <a:lnTo>
                    <a:pt x="506515" y="415929"/>
                  </a:lnTo>
                  <a:lnTo>
                    <a:pt x="506791" y="414891"/>
                  </a:lnTo>
                  <a:lnTo>
                    <a:pt x="506724" y="414047"/>
                  </a:lnTo>
                  <a:lnTo>
                    <a:pt x="506110" y="413054"/>
                  </a:lnTo>
                  <a:lnTo>
                    <a:pt x="507359" y="411786"/>
                  </a:lnTo>
                  <a:close/>
                  <a:moveTo>
                    <a:pt x="1178166" y="408203"/>
                  </a:moveTo>
                  <a:lnTo>
                    <a:pt x="1179160" y="408423"/>
                  </a:lnTo>
                  <a:lnTo>
                    <a:pt x="1179854" y="409501"/>
                  </a:lnTo>
                  <a:lnTo>
                    <a:pt x="1180562" y="412322"/>
                  </a:lnTo>
                  <a:lnTo>
                    <a:pt x="1181312" y="413993"/>
                  </a:lnTo>
                  <a:lnTo>
                    <a:pt x="1183380" y="417043"/>
                  </a:lnTo>
                  <a:lnTo>
                    <a:pt x="1184292" y="419003"/>
                  </a:lnTo>
                  <a:lnTo>
                    <a:pt x="1184096" y="419611"/>
                  </a:lnTo>
                  <a:lnTo>
                    <a:pt x="1183449" y="420148"/>
                  </a:lnTo>
                  <a:lnTo>
                    <a:pt x="1178452" y="421006"/>
                  </a:lnTo>
                  <a:lnTo>
                    <a:pt x="1175972" y="421029"/>
                  </a:lnTo>
                  <a:lnTo>
                    <a:pt x="1172750" y="419955"/>
                  </a:lnTo>
                  <a:lnTo>
                    <a:pt x="1171840" y="418831"/>
                  </a:lnTo>
                  <a:lnTo>
                    <a:pt x="1171145" y="417291"/>
                  </a:lnTo>
                  <a:lnTo>
                    <a:pt x="1170666" y="415333"/>
                  </a:lnTo>
                  <a:lnTo>
                    <a:pt x="1169995" y="413768"/>
                  </a:lnTo>
                  <a:lnTo>
                    <a:pt x="1169133" y="412594"/>
                  </a:lnTo>
                  <a:lnTo>
                    <a:pt x="1168953" y="411613"/>
                  </a:lnTo>
                  <a:lnTo>
                    <a:pt x="1169456" y="410824"/>
                  </a:lnTo>
                  <a:lnTo>
                    <a:pt x="1170510" y="410384"/>
                  </a:lnTo>
                  <a:lnTo>
                    <a:pt x="1172918" y="410240"/>
                  </a:lnTo>
                  <a:close/>
                  <a:moveTo>
                    <a:pt x="592540" y="402027"/>
                  </a:moveTo>
                  <a:lnTo>
                    <a:pt x="595610" y="402845"/>
                  </a:lnTo>
                  <a:lnTo>
                    <a:pt x="595953" y="404002"/>
                  </a:lnTo>
                  <a:lnTo>
                    <a:pt x="592726" y="409786"/>
                  </a:lnTo>
                  <a:lnTo>
                    <a:pt x="590454" y="412113"/>
                  </a:lnTo>
                  <a:lnTo>
                    <a:pt x="586020" y="418104"/>
                  </a:lnTo>
                  <a:lnTo>
                    <a:pt x="577507" y="428129"/>
                  </a:lnTo>
                  <a:lnTo>
                    <a:pt x="574932" y="429749"/>
                  </a:lnTo>
                  <a:lnTo>
                    <a:pt x="567686" y="433053"/>
                  </a:lnTo>
                  <a:lnTo>
                    <a:pt x="562531" y="432709"/>
                  </a:lnTo>
                  <a:lnTo>
                    <a:pt x="555697" y="430282"/>
                  </a:lnTo>
                  <a:lnTo>
                    <a:pt x="550134" y="429458"/>
                  </a:lnTo>
                  <a:lnTo>
                    <a:pt x="548176" y="428652"/>
                  </a:lnTo>
                  <a:lnTo>
                    <a:pt x="547890" y="427812"/>
                  </a:lnTo>
                  <a:lnTo>
                    <a:pt x="549776" y="425483"/>
                  </a:lnTo>
                  <a:lnTo>
                    <a:pt x="552143" y="423623"/>
                  </a:lnTo>
                  <a:lnTo>
                    <a:pt x="557807" y="419960"/>
                  </a:lnTo>
                  <a:lnTo>
                    <a:pt x="567376" y="412884"/>
                  </a:lnTo>
                  <a:lnTo>
                    <a:pt x="573641" y="410201"/>
                  </a:lnTo>
                  <a:lnTo>
                    <a:pt x="579786" y="408304"/>
                  </a:lnTo>
                  <a:lnTo>
                    <a:pt x="586057" y="404060"/>
                  </a:lnTo>
                  <a:lnTo>
                    <a:pt x="589527" y="402165"/>
                  </a:lnTo>
                  <a:close/>
                  <a:moveTo>
                    <a:pt x="1571914" y="400420"/>
                  </a:moveTo>
                  <a:lnTo>
                    <a:pt x="1574029" y="401006"/>
                  </a:lnTo>
                  <a:lnTo>
                    <a:pt x="1576076" y="402485"/>
                  </a:lnTo>
                  <a:lnTo>
                    <a:pt x="1573509" y="406695"/>
                  </a:lnTo>
                  <a:lnTo>
                    <a:pt x="1570714" y="408789"/>
                  </a:lnTo>
                  <a:lnTo>
                    <a:pt x="1570550" y="411865"/>
                  </a:lnTo>
                  <a:lnTo>
                    <a:pt x="1570838" y="414919"/>
                  </a:lnTo>
                  <a:lnTo>
                    <a:pt x="1568995" y="414780"/>
                  </a:lnTo>
                  <a:lnTo>
                    <a:pt x="1563132" y="416774"/>
                  </a:lnTo>
                  <a:lnTo>
                    <a:pt x="1558344" y="417060"/>
                  </a:lnTo>
                  <a:lnTo>
                    <a:pt x="1555954" y="416166"/>
                  </a:lnTo>
                  <a:lnTo>
                    <a:pt x="1554433" y="414076"/>
                  </a:lnTo>
                  <a:lnTo>
                    <a:pt x="1558171" y="410181"/>
                  </a:lnTo>
                  <a:lnTo>
                    <a:pt x="1562469" y="407454"/>
                  </a:lnTo>
                  <a:lnTo>
                    <a:pt x="1567628" y="403210"/>
                  </a:lnTo>
                  <a:close/>
                  <a:moveTo>
                    <a:pt x="961106" y="391765"/>
                  </a:moveTo>
                  <a:lnTo>
                    <a:pt x="970494" y="391998"/>
                  </a:lnTo>
                  <a:lnTo>
                    <a:pt x="974143" y="393328"/>
                  </a:lnTo>
                  <a:lnTo>
                    <a:pt x="975359" y="397783"/>
                  </a:lnTo>
                  <a:lnTo>
                    <a:pt x="976528" y="403071"/>
                  </a:lnTo>
                  <a:lnTo>
                    <a:pt x="978160" y="403521"/>
                  </a:lnTo>
                  <a:lnTo>
                    <a:pt x="983189" y="407243"/>
                  </a:lnTo>
                  <a:lnTo>
                    <a:pt x="988499" y="410432"/>
                  </a:lnTo>
                  <a:lnTo>
                    <a:pt x="988751" y="411165"/>
                  </a:lnTo>
                  <a:lnTo>
                    <a:pt x="987750" y="411771"/>
                  </a:lnTo>
                  <a:lnTo>
                    <a:pt x="980888" y="413460"/>
                  </a:lnTo>
                  <a:lnTo>
                    <a:pt x="978217" y="414806"/>
                  </a:lnTo>
                  <a:lnTo>
                    <a:pt x="975986" y="417953"/>
                  </a:lnTo>
                  <a:lnTo>
                    <a:pt x="974257" y="419409"/>
                  </a:lnTo>
                  <a:lnTo>
                    <a:pt x="965028" y="420277"/>
                  </a:lnTo>
                  <a:lnTo>
                    <a:pt x="955616" y="420237"/>
                  </a:lnTo>
                  <a:lnTo>
                    <a:pt x="957391" y="417199"/>
                  </a:lnTo>
                  <a:lnTo>
                    <a:pt x="962545" y="412232"/>
                  </a:lnTo>
                  <a:lnTo>
                    <a:pt x="958486" y="410173"/>
                  </a:lnTo>
                  <a:lnTo>
                    <a:pt x="944078" y="413604"/>
                  </a:lnTo>
                  <a:lnTo>
                    <a:pt x="938615" y="411492"/>
                  </a:lnTo>
                  <a:lnTo>
                    <a:pt x="943292" y="406093"/>
                  </a:lnTo>
                  <a:lnTo>
                    <a:pt x="938633" y="405598"/>
                  </a:lnTo>
                  <a:lnTo>
                    <a:pt x="932092" y="405575"/>
                  </a:lnTo>
                  <a:lnTo>
                    <a:pt x="927945" y="402371"/>
                  </a:lnTo>
                  <a:lnTo>
                    <a:pt x="929349" y="398519"/>
                  </a:lnTo>
                  <a:lnTo>
                    <a:pt x="937935" y="396394"/>
                  </a:lnTo>
                  <a:lnTo>
                    <a:pt x="949107" y="394554"/>
                  </a:lnTo>
                  <a:close/>
                  <a:moveTo>
                    <a:pt x="933040" y="373104"/>
                  </a:moveTo>
                  <a:lnTo>
                    <a:pt x="936351" y="373104"/>
                  </a:lnTo>
                  <a:lnTo>
                    <a:pt x="938432" y="373587"/>
                  </a:lnTo>
                  <a:lnTo>
                    <a:pt x="939278" y="374549"/>
                  </a:lnTo>
                  <a:lnTo>
                    <a:pt x="939022" y="375849"/>
                  </a:lnTo>
                  <a:lnTo>
                    <a:pt x="937661" y="377487"/>
                  </a:lnTo>
                  <a:lnTo>
                    <a:pt x="938913" y="377778"/>
                  </a:lnTo>
                  <a:lnTo>
                    <a:pt x="942778" y="376728"/>
                  </a:lnTo>
                  <a:lnTo>
                    <a:pt x="945271" y="376540"/>
                  </a:lnTo>
                  <a:lnTo>
                    <a:pt x="948050" y="378525"/>
                  </a:lnTo>
                  <a:lnTo>
                    <a:pt x="948773" y="379819"/>
                  </a:lnTo>
                  <a:lnTo>
                    <a:pt x="958776" y="383053"/>
                  </a:lnTo>
                  <a:lnTo>
                    <a:pt x="962296" y="384504"/>
                  </a:lnTo>
                  <a:lnTo>
                    <a:pt x="962747" y="385470"/>
                  </a:lnTo>
                  <a:lnTo>
                    <a:pt x="961493" y="386851"/>
                  </a:lnTo>
                  <a:lnTo>
                    <a:pt x="958538" y="388653"/>
                  </a:lnTo>
                  <a:lnTo>
                    <a:pt x="955701" y="389874"/>
                  </a:lnTo>
                  <a:lnTo>
                    <a:pt x="951623" y="390844"/>
                  </a:lnTo>
                  <a:lnTo>
                    <a:pt x="931378" y="390990"/>
                  </a:lnTo>
                  <a:lnTo>
                    <a:pt x="929175" y="390553"/>
                  </a:lnTo>
                  <a:lnTo>
                    <a:pt x="927904" y="388953"/>
                  </a:lnTo>
                  <a:lnTo>
                    <a:pt x="925399" y="382974"/>
                  </a:lnTo>
                  <a:lnTo>
                    <a:pt x="923619" y="379750"/>
                  </a:lnTo>
                  <a:lnTo>
                    <a:pt x="922950" y="377508"/>
                  </a:lnTo>
                  <a:lnTo>
                    <a:pt x="923390" y="376253"/>
                  </a:lnTo>
                  <a:lnTo>
                    <a:pt x="925553" y="374993"/>
                  </a:lnTo>
                  <a:close/>
                  <a:moveTo>
                    <a:pt x="1072354" y="371638"/>
                  </a:moveTo>
                  <a:lnTo>
                    <a:pt x="1077001" y="373038"/>
                  </a:lnTo>
                  <a:lnTo>
                    <a:pt x="1083059" y="376664"/>
                  </a:lnTo>
                  <a:lnTo>
                    <a:pt x="1084390" y="377897"/>
                  </a:lnTo>
                  <a:lnTo>
                    <a:pt x="1091208" y="380134"/>
                  </a:lnTo>
                  <a:lnTo>
                    <a:pt x="1095237" y="380877"/>
                  </a:lnTo>
                  <a:lnTo>
                    <a:pt x="1097330" y="382072"/>
                  </a:lnTo>
                  <a:lnTo>
                    <a:pt x="1097962" y="383628"/>
                  </a:lnTo>
                  <a:lnTo>
                    <a:pt x="1098246" y="385977"/>
                  </a:lnTo>
                  <a:lnTo>
                    <a:pt x="1097939" y="387784"/>
                  </a:lnTo>
                  <a:lnTo>
                    <a:pt x="1097044" y="389058"/>
                  </a:lnTo>
                  <a:lnTo>
                    <a:pt x="1097002" y="390520"/>
                  </a:lnTo>
                  <a:lnTo>
                    <a:pt x="1097813" y="392172"/>
                  </a:lnTo>
                  <a:lnTo>
                    <a:pt x="1101202" y="396332"/>
                  </a:lnTo>
                  <a:lnTo>
                    <a:pt x="1102279" y="398561"/>
                  </a:lnTo>
                  <a:lnTo>
                    <a:pt x="1102442" y="400796"/>
                  </a:lnTo>
                  <a:lnTo>
                    <a:pt x="1102270" y="402323"/>
                  </a:lnTo>
                  <a:lnTo>
                    <a:pt x="1100179" y="405281"/>
                  </a:lnTo>
                  <a:lnTo>
                    <a:pt x="1099253" y="409102"/>
                  </a:lnTo>
                  <a:lnTo>
                    <a:pt x="1099199" y="411124"/>
                  </a:lnTo>
                  <a:lnTo>
                    <a:pt x="1100444" y="414279"/>
                  </a:lnTo>
                  <a:lnTo>
                    <a:pt x="1100479" y="415744"/>
                  </a:lnTo>
                  <a:lnTo>
                    <a:pt x="1098131" y="418254"/>
                  </a:lnTo>
                  <a:lnTo>
                    <a:pt x="1093155" y="420437"/>
                  </a:lnTo>
                  <a:lnTo>
                    <a:pt x="1093858" y="421587"/>
                  </a:lnTo>
                  <a:lnTo>
                    <a:pt x="1104590" y="424348"/>
                  </a:lnTo>
                  <a:lnTo>
                    <a:pt x="1105402" y="424970"/>
                  </a:lnTo>
                  <a:lnTo>
                    <a:pt x="1105349" y="431168"/>
                  </a:lnTo>
                  <a:lnTo>
                    <a:pt x="1107215" y="437957"/>
                  </a:lnTo>
                  <a:lnTo>
                    <a:pt x="1106519" y="438090"/>
                  </a:lnTo>
                  <a:lnTo>
                    <a:pt x="1103938" y="435967"/>
                  </a:lnTo>
                  <a:lnTo>
                    <a:pt x="1099169" y="433446"/>
                  </a:lnTo>
                  <a:lnTo>
                    <a:pt x="1093467" y="438147"/>
                  </a:lnTo>
                  <a:lnTo>
                    <a:pt x="1094112" y="446114"/>
                  </a:lnTo>
                  <a:lnTo>
                    <a:pt x="1097862" y="449657"/>
                  </a:lnTo>
                  <a:lnTo>
                    <a:pt x="1099002" y="451676"/>
                  </a:lnTo>
                  <a:lnTo>
                    <a:pt x="1098637" y="452890"/>
                  </a:lnTo>
                  <a:lnTo>
                    <a:pt x="1095466" y="453432"/>
                  </a:lnTo>
                  <a:lnTo>
                    <a:pt x="1094367" y="453169"/>
                  </a:lnTo>
                  <a:lnTo>
                    <a:pt x="1091118" y="451568"/>
                  </a:lnTo>
                  <a:lnTo>
                    <a:pt x="1089229" y="449146"/>
                  </a:lnTo>
                  <a:lnTo>
                    <a:pt x="1088635" y="449231"/>
                  </a:lnTo>
                  <a:lnTo>
                    <a:pt x="1088053" y="450400"/>
                  </a:lnTo>
                  <a:lnTo>
                    <a:pt x="1088432" y="451584"/>
                  </a:lnTo>
                  <a:lnTo>
                    <a:pt x="1090632" y="453734"/>
                  </a:lnTo>
                  <a:lnTo>
                    <a:pt x="1091562" y="456303"/>
                  </a:lnTo>
                  <a:lnTo>
                    <a:pt x="1090587" y="457032"/>
                  </a:lnTo>
                  <a:lnTo>
                    <a:pt x="1087312" y="457696"/>
                  </a:lnTo>
                  <a:lnTo>
                    <a:pt x="1082895" y="457724"/>
                  </a:lnTo>
                  <a:lnTo>
                    <a:pt x="1075960" y="458883"/>
                  </a:lnTo>
                  <a:lnTo>
                    <a:pt x="1072540" y="459061"/>
                  </a:lnTo>
                  <a:lnTo>
                    <a:pt x="1069211" y="458435"/>
                  </a:lnTo>
                  <a:lnTo>
                    <a:pt x="1064768" y="458286"/>
                  </a:lnTo>
                  <a:lnTo>
                    <a:pt x="1061072" y="458559"/>
                  </a:lnTo>
                  <a:lnTo>
                    <a:pt x="1058811" y="458048"/>
                  </a:lnTo>
                  <a:lnTo>
                    <a:pt x="1056753" y="456849"/>
                  </a:lnTo>
                  <a:lnTo>
                    <a:pt x="1054356" y="457137"/>
                  </a:lnTo>
                  <a:lnTo>
                    <a:pt x="1049126" y="460180"/>
                  </a:lnTo>
                  <a:lnTo>
                    <a:pt x="1041019" y="459212"/>
                  </a:lnTo>
                  <a:lnTo>
                    <a:pt x="1033722" y="458964"/>
                  </a:lnTo>
                  <a:lnTo>
                    <a:pt x="1032255" y="457950"/>
                  </a:lnTo>
                  <a:lnTo>
                    <a:pt x="1030623" y="455968"/>
                  </a:lnTo>
                  <a:lnTo>
                    <a:pt x="1027406" y="449778"/>
                  </a:lnTo>
                  <a:lnTo>
                    <a:pt x="1028015" y="448216"/>
                  </a:lnTo>
                  <a:lnTo>
                    <a:pt x="1035811" y="447372"/>
                  </a:lnTo>
                  <a:lnTo>
                    <a:pt x="1035971" y="446837"/>
                  </a:lnTo>
                  <a:lnTo>
                    <a:pt x="1030434" y="444620"/>
                  </a:lnTo>
                  <a:lnTo>
                    <a:pt x="1024074" y="442992"/>
                  </a:lnTo>
                  <a:lnTo>
                    <a:pt x="1021126" y="441709"/>
                  </a:lnTo>
                  <a:lnTo>
                    <a:pt x="1021809" y="439261"/>
                  </a:lnTo>
                  <a:lnTo>
                    <a:pt x="1021614" y="438647"/>
                  </a:lnTo>
                  <a:lnTo>
                    <a:pt x="1032574" y="435847"/>
                  </a:lnTo>
                  <a:lnTo>
                    <a:pt x="1040545" y="430325"/>
                  </a:lnTo>
                  <a:lnTo>
                    <a:pt x="1045492" y="428074"/>
                  </a:lnTo>
                  <a:lnTo>
                    <a:pt x="1045852" y="426986"/>
                  </a:lnTo>
                  <a:lnTo>
                    <a:pt x="1050032" y="425853"/>
                  </a:lnTo>
                  <a:lnTo>
                    <a:pt x="1059712" y="425172"/>
                  </a:lnTo>
                  <a:lnTo>
                    <a:pt x="1060089" y="423635"/>
                  </a:lnTo>
                  <a:lnTo>
                    <a:pt x="1041817" y="424519"/>
                  </a:lnTo>
                  <a:lnTo>
                    <a:pt x="1016800" y="427654"/>
                  </a:lnTo>
                  <a:lnTo>
                    <a:pt x="1009064" y="429198"/>
                  </a:lnTo>
                  <a:lnTo>
                    <a:pt x="1002612" y="428298"/>
                  </a:lnTo>
                  <a:lnTo>
                    <a:pt x="975225" y="433145"/>
                  </a:lnTo>
                  <a:lnTo>
                    <a:pt x="974058" y="433143"/>
                  </a:lnTo>
                  <a:lnTo>
                    <a:pt x="971194" y="431605"/>
                  </a:lnTo>
                  <a:lnTo>
                    <a:pt x="968731" y="428723"/>
                  </a:lnTo>
                  <a:lnTo>
                    <a:pt x="970498" y="426712"/>
                  </a:lnTo>
                  <a:lnTo>
                    <a:pt x="978540" y="422890"/>
                  </a:lnTo>
                  <a:lnTo>
                    <a:pt x="982561" y="419539"/>
                  </a:lnTo>
                  <a:lnTo>
                    <a:pt x="982090" y="417726"/>
                  </a:lnTo>
                  <a:lnTo>
                    <a:pt x="985283" y="414503"/>
                  </a:lnTo>
                  <a:lnTo>
                    <a:pt x="990403" y="414047"/>
                  </a:lnTo>
                  <a:lnTo>
                    <a:pt x="999104" y="416697"/>
                  </a:lnTo>
                  <a:lnTo>
                    <a:pt x="1003628" y="419321"/>
                  </a:lnTo>
                  <a:lnTo>
                    <a:pt x="1007680" y="420548"/>
                  </a:lnTo>
                  <a:lnTo>
                    <a:pt x="1011282" y="420305"/>
                  </a:lnTo>
                  <a:lnTo>
                    <a:pt x="1014999" y="418468"/>
                  </a:lnTo>
                  <a:lnTo>
                    <a:pt x="1014058" y="418264"/>
                  </a:lnTo>
                  <a:lnTo>
                    <a:pt x="1007747" y="419233"/>
                  </a:lnTo>
                  <a:lnTo>
                    <a:pt x="1007006" y="418951"/>
                  </a:lnTo>
                  <a:lnTo>
                    <a:pt x="1003786" y="416015"/>
                  </a:lnTo>
                  <a:lnTo>
                    <a:pt x="1002384" y="414146"/>
                  </a:lnTo>
                  <a:lnTo>
                    <a:pt x="1001481" y="412272"/>
                  </a:lnTo>
                  <a:lnTo>
                    <a:pt x="1001432" y="410948"/>
                  </a:lnTo>
                  <a:lnTo>
                    <a:pt x="1003372" y="408434"/>
                  </a:lnTo>
                  <a:lnTo>
                    <a:pt x="996134" y="407607"/>
                  </a:lnTo>
                  <a:lnTo>
                    <a:pt x="993431" y="405868"/>
                  </a:lnTo>
                  <a:lnTo>
                    <a:pt x="992196" y="403694"/>
                  </a:lnTo>
                  <a:lnTo>
                    <a:pt x="992468" y="402748"/>
                  </a:lnTo>
                  <a:lnTo>
                    <a:pt x="994750" y="400202"/>
                  </a:lnTo>
                  <a:lnTo>
                    <a:pt x="1000897" y="396694"/>
                  </a:lnTo>
                  <a:lnTo>
                    <a:pt x="1000185" y="395724"/>
                  </a:lnTo>
                  <a:lnTo>
                    <a:pt x="991240" y="395801"/>
                  </a:lnTo>
                  <a:lnTo>
                    <a:pt x="989271" y="395343"/>
                  </a:lnTo>
                  <a:lnTo>
                    <a:pt x="985460" y="393160"/>
                  </a:lnTo>
                  <a:lnTo>
                    <a:pt x="986299" y="390732"/>
                  </a:lnTo>
                  <a:lnTo>
                    <a:pt x="989860" y="387175"/>
                  </a:lnTo>
                  <a:lnTo>
                    <a:pt x="992541" y="385074"/>
                  </a:lnTo>
                  <a:lnTo>
                    <a:pt x="994339" y="384430"/>
                  </a:lnTo>
                  <a:lnTo>
                    <a:pt x="997136" y="384442"/>
                  </a:lnTo>
                  <a:lnTo>
                    <a:pt x="1003781" y="385815"/>
                  </a:lnTo>
                  <a:lnTo>
                    <a:pt x="1005694" y="386572"/>
                  </a:lnTo>
                  <a:lnTo>
                    <a:pt x="1010783" y="390001"/>
                  </a:lnTo>
                  <a:lnTo>
                    <a:pt x="1012080" y="391955"/>
                  </a:lnTo>
                  <a:lnTo>
                    <a:pt x="1011921" y="393836"/>
                  </a:lnTo>
                  <a:lnTo>
                    <a:pt x="1012894" y="395216"/>
                  </a:lnTo>
                  <a:lnTo>
                    <a:pt x="1016843" y="397227"/>
                  </a:lnTo>
                  <a:lnTo>
                    <a:pt x="1033816" y="407620"/>
                  </a:lnTo>
                  <a:lnTo>
                    <a:pt x="1036985" y="410073"/>
                  </a:lnTo>
                  <a:lnTo>
                    <a:pt x="1039156" y="411158"/>
                  </a:lnTo>
                  <a:lnTo>
                    <a:pt x="1043076" y="411953"/>
                  </a:lnTo>
                  <a:lnTo>
                    <a:pt x="1045374" y="411788"/>
                  </a:lnTo>
                  <a:lnTo>
                    <a:pt x="1047240" y="411059"/>
                  </a:lnTo>
                  <a:lnTo>
                    <a:pt x="1047553" y="410111"/>
                  </a:lnTo>
                  <a:lnTo>
                    <a:pt x="1040215" y="406485"/>
                  </a:lnTo>
                  <a:lnTo>
                    <a:pt x="1038373" y="404554"/>
                  </a:lnTo>
                  <a:lnTo>
                    <a:pt x="1036805" y="401916"/>
                  </a:lnTo>
                  <a:lnTo>
                    <a:pt x="1037490" y="401065"/>
                  </a:lnTo>
                  <a:lnTo>
                    <a:pt x="1039621" y="400771"/>
                  </a:lnTo>
                  <a:lnTo>
                    <a:pt x="1044985" y="401115"/>
                  </a:lnTo>
                  <a:lnTo>
                    <a:pt x="1051303" y="400401"/>
                  </a:lnTo>
                  <a:lnTo>
                    <a:pt x="1044300" y="399290"/>
                  </a:lnTo>
                  <a:lnTo>
                    <a:pt x="1039727" y="397814"/>
                  </a:lnTo>
                  <a:lnTo>
                    <a:pt x="1035032" y="397742"/>
                  </a:lnTo>
                  <a:lnTo>
                    <a:pt x="1029163" y="395374"/>
                  </a:lnTo>
                  <a:lnTo>
                    <a:pt x="1029160" y="394633"/>
                  </a:lnTo>
                  <a:lnTo>
                    <a:pt x="1030598" y="393878"/>
                  </a:lnTo>
                  <a:lnTo>
                    <a:pt x="1038582" y="392825"/>
                  </a:lnTo>
                  <a:lnTo>
                    <a:pt x="1040094" y="392372"/>
                  </a:lnTo>
                  <a:lnTo>
                    <a:pt x="1040230" y="391715"/>
                  </a:lnTo>
                  <a:lnTo>
                    <a:pt x="1037589" y="390126"/>
                  </a:lnTo>
                  <a:lnTo>
                    <a:pt x="1035237" y="389261"/>
                  </a:lnTo>
                  <a:lnTo>
                    <a:pt x="1023167" y="387336"/>
                  </a:lnTo>
                  <a:lnTo>
                    <a:pt x="1018877" y="385180"/>
                  </a:lnTo>
                  <a:lnTo>
                    <a:pt x="1017513" y="384150"/>
                  </a:lnTo>
                  <a:lnTo>
                    <a:pt x="1017079" y="383157"/>
                  </a:lnTo>
                  <a:lnTo>
                    <a:pt x="1018627" y="380609"/>
                  </a:lnTo>
                  <a:lnTo>
                    <a:pt x="1025119" y="377408"/>
                  </a:lnTo>
                  <a:lnTo>
                    <a:pt x="1029829" y="375881"/>
                  </a:lnTo>
                  <a:lnTo>
                    <a:pt x="1037924" y="374762"/>
                  </a:lnTo>
                  <a:lnTo>
                    <a:pt x="1044380" y="374896"/>
                  </a:lnTo>
                  <a:lnTo>
                    <a:pt x="1048058" y="375324"/>
                  </a:lnTo>
                  <a:lnTo>
                    <a:pt x="1056667" y="380747"/>
                  </a:lnTo>
                  <a:lnTo>
                    <a:pt x="1060721" y="384305"/>
                  </a:lnTo>
                  <a:lnTo>
                    <a:pt x="1067803" y="383678"/>
                  </a:lnTo>
                  <a:lnTo>
                    <a:pt x="1065757" y="379940"/>
                  </a:lnTo>
                  <a:lnTo>
                    <a:pt x="1064422" y="375829"/>
                  </a:lnTo>
                  <a:lnTo>
                    <a:pt x="1066522" y="374318"/>
                  </a:lnTo>
                  <a:close/>
                  <a:moveTo>
                    <a:pt x="1023905" y="368535"/>
                  </a:moveTo>
                  <a:lnTo>
                    <a:pt x="1027818" y="368649"/>
                  </a:lnTo>
                  <a:lnTo>
                    <a:pt x="1032842" y="369506"/>
                  </a:lnTo>
                  <a:lnTo>
                    <a:pt x="1020736" y="374000"/>
                  </a:lnTo>
                  <a:lnTo>
                    <a:pt x="1008576" y="377686"/>
                  </a:lnTo>
                  <a:lnTo>
                    <a:pt x="1002007" y="377915"/>
                  </a:lnTo>
                  <a:lnTo>
                    <a:pt x="998970" y="377281"/>
                  </a:lnTo>
                  <a:lnTo>
                    <a:pt x="998764" y="376354"/>
                  </a:lnTo>
                  <a:lnTo>
                    <a:pt x="1001391" y="375133"/>
                  </a:lnTo>
                  <a:lnTo>
                    <a:pt x="1010124" y="373141"/>
                  </a:lnTo>
                  <a:lnTo>
                    <a:pt x="1015269" y="369504"/>
                  </a:lnTo>
                  <a:lnTo>
                    <a:pt x="1017188" y="369055"/>
                  </a:lnTo>
                  <a:close/>
                  <a:moveTo>
                    <a:pt x="815728" y="364894"/>
                  </a:moveTo>
                  <a:lnTo>
                    <a:pt x="822770" y="368239"/>
                  </a:lnTo>
                  <a:lnTo>
                    <a:pt x="824330" y="368444"/>
                  </a:lnTo>
                  <a:lnTo>
                    <a:pt x="824974" y="369323"/>
                  </a:lnTo>
                  <a:lnTo>
                    <a:pt x="824700" y="370877"/>
                  </a:lnTo>
                  <a:lnTo>
                    <a:pt x="823822" y="372356"/>
                  </a:lnTo>
                  <a:lnTo>
                    <a:pt x="821301" y="375027"/>
                  </a:lnTo>
                  <a:lnTo>
                    <a:pt x="820709" y="376146"/>
                  </a:lnTo>
                  <a:lnTo>
                    <a:pt x="820900" y="377297"/>
                  </a:lnTo>
                  <a:lnTo>
                    <a:pt x="822628" y="379954"/>
                  </a:lnTo>
                  <a:lnTo>
                    <a:pt x="823158" y="381702"/>
                  </a:lnTo>
                  <a:lnTo>
                    <a:pt x="823539" y="384645"/>
                  </a:lnTo>
                  <a:lnTo>
                    <a:pt x="823820" y="385079"/>
                  </a:lnTo>
                  <a:lnTo>
                    <a:pt x="828055" y="387561"/>
                  </a:lnTo>
                  <a:lnTo>
                    <a:pt x="831907" y="390790"/>
                  </a:lnTo>
                  <a:lnTo>
                    <a:pt x="833691" y="395849"/>
                  </a:lnTo>
                  <a:lnTo>
                    <a:pt x="832304" y="397594"/>
                  </a:lnTo>
                  <a:lnTo>
                    <a:pt x="829061" y="399995"/>
                  </a:lnTo>
                  <a:lnTo>
                    <a:pt x="827132" y="401995"/>
                  </a:lnTo>
                  <a:lnTo>
                    <a:pt x="826516" y="403592"/>
                  </a:lnTo>
                  <a:lnTo>
                    <a:pt x="827007" y="404556"/>
                  </a:lnTo>
                  <a:lnTo>
                    <a:pt x="829402" y="405046"/>
                  </a:lnTo>
                  <a:lnTo>
                    <a:pt x="832599" y="405193"/>
                  </a:lnTo>
                  <a:lnTo>
                    <a:pt x="836339" y="404624"/>
                  </a:lnTo>
                  <a:lnTo>
                    <a:pt x="840560" y="405015"/>
                  </a:lnTo>
                  <a:lnTo>
                    <a:pt x="842473" y="406182"/>
                  </a:lnTo>
                  <a:lnTo>
                    <a:pt x="843826" y="408256"/>
                  </a:lnTo>
                  <a:lnTo>
                    <a:pt x="843882" y="409367"/>
                  </a:lnTo>
                  <a:lnTo>
                    <a:pt x="843615" y="410324"/>
                  </a:lnTo>
                  <a:lnTo>
                    <a:pt x="843023" y="411119"/>
                  </a:lnTo>
                  <a:lnTo>
                    <a:pt x="837565" y="416338"/>
                  </a:lnTo>
                  <a:lnTo>
                    <a:pt x="836290" y="418140"/>
                  </a:lnTo>
                  <a:lnTo>
                    <a:pt x="838056" y="418579"/>
                  </a:lnTo>
                  <a:lnTo>
                    <a:pt x="838907" y="418276"/>
                  </a:lnTo>
                  <a:lnTo>
                    <a:pt x="844356" y="414370"/>
                  </a:lnTo>
                  <a:lnTo>
                    <a:pt x="848455" y="413148"/>
                  </a:lnTo>
                  <a:lnTo>
                    <a:pt x="851566" y="412867"/>
                  </a:lnTo>
                  <a:lnTo>
                    <a:pt x="856689" y="413647"/>
                  </a:lnTo>
                  <a:lnTo>
                    <a:pt x="858731" y="414320"/>
                  </a:lnTo>
                  <a:lnTo>
                    <a:pt x="860132" y="415117"/>
                  </a:lnTo>
                  <a:lnTo>
                    <a:pt x="860894" y="416037"/>
                  </a:lnTo>
                  <a:lnTo>
                    <a:pt x="862909" y="419777"/>
                  </a:lnTo>
                  <a:lnTo>
                    <a:pt x="864364" y="424603"/>
                  </a:lnTo>
                  <a:lnTo>
                    <a:pt x="864601" y="424106"/>
                  </a:lnTo>
                  <a:lnTo>
                    <a:pt x="864637" y="421402"/>
                  </a:lnTo>
                  <a:lnTo>
                    <a:pt x="864918" y="419296"/>
                  </a:lnTo>
                  <a:lnTo>
                    <a:pt x="869953" y="417871"/>
                  </a:lnTo>
                  <a:lnTo>
                    <a:pt x="870080" y="417401"/>
                  </a:lnTo>
                  <a:lnTo>
                    <a:pt x="868273" y="416234"/>
                  </a:lnTo>
                  <a:lnTo>
                    <a:pt x="866734" y="414639"/>
                  </a:lnTo>
                  <a:lnTo>
                    <a:pt x="865669" y="411649"/>
                  </a:lnTo>
                  <a:lnTo>
                    <a:pt x="866085" y="410533"/>
                  </a:lnTo>
                  <a:lnTo>
                    <a:pt x="867139" y="409334"/>
                  </a:lnTo>
                  <a:lnTo>
                    <a:pt x="870361" y="406784"/>
                  </a:lnTo>
                  <a:lnTo>
                    <a:pt x="874125" y="405260"/>
                  </a:lnTo>
                  <a:lnTo>
                    <a:pt x="877472" y="404892"/>
                  </a:lnTo>
                  <a:lnTo>
                    <a:pt x="889941" y="407551"/>
                  </a:lnTo>
                  <a:lnTo>
                    <a:pt x="894847" y="409733"/>
                  </a:lnTo>
                  <a:lnTo>
                    <a:pt x="896842" y="410856"/>
                  </a:lnTo>
                  <a:lnTo>
                    <a:pt x="897558" y="411656"/>
                  </a:lnTo>
                  <a:lnTo>
                    <a:pt x="898601" y="414211"/>
                  </a:lnTo>
                  <a:lnTo>
                    <a:pt x="900690" y="421196"/>
                  </a:lnTo>
                  <a:lnTo>
                    <a:pt x="900677" y="423436"/>
                  </a:lnTo>
                  <a:lnTo>
                    <a:pt x="899711" y="427038"/>
                  </a:lnTo>
                  <a:lnTo>
                    <a:pt x="895682" y="433774"/>
                  </a:lnTo>
                  <a:lnTo>
                    <a:pt x="895068" y="438331"/>
                  </a:lnTo>
                  <a:lnTo>
                    <a:pt x="891012" y="449619"/>
                  </a:lnTo>
                  <a:lnTo>
                    <a:pt x="888239" y="452676"/>
                  </a:lnTo>
                  <a:lnTo>
                    <a:pt x="885179" y="454814"/>
                  </a:lnTo>
                  <a:lnTo>
                    <a:pt x="872612" y="458573"/>
                  </a:lnTo>
                  <a:lnTo>
                    <a:pt x="863157" y="462391"/>
                  </a:lnTo>
                  <a:lnTo>
                    <a:pt x="860761" y="462995"/>
                  </a:lnTo>
                  <a:lnTo>
                    <a:pt x="858282" y="463046"/>
                  </a:lnTo>
                  <a:lnTo>
                    <a:pt x="850459" y="461780"/>
                  </a:lnTo>
                  <a:lnTo>
                    <a:pt x="841378" y="459353"/>
                  </a:lnTo>
                  <a:lnTo>
                    <a:pt x="836215" y="460041"/>
                  </a:lnTo>
                  <a:lnTo>
                    <a:pt x="831069" y="461793"/>
                  </a:lnTo>
                  <a:lnTo>
                    <a:pt x="827827" y="462263"/>
                  </a:lnTo>
                  <a:lnTo>
                    <a:pt x="824777" y="462030"/>
                  </a:lnTo>
                  <a:lnTo>
                    <a:pt x="821748" y="461405"/>
                  </a:lnTo>
                  <a:lnTo>
                    <a:pt x="817765" y="459764"/>
                  </a:lnTo>
                  <a:lnTo>
                    <a:pt x="819820" y="459013"/>
                  </a:lnTo>
                  <a:lnTo>
                    <a:pt x="820756" y="458174"/>
                  </a:lnTo>
                  <a:lnTo>
                    <a:pt x="819927" y="457309"/>
                  </a:lnTo>
                  <a:lnTo>
                    <a:pt x="815736" y="456062"/>
                  </a:lnTo>
                  <a:lnTo>
                    <a:pt x="811395" y="458833"/>
                  </a:lnTo>
                  <a:lnTo>
                    <a:pt x="798702" y="465293"/>
                  </a:lnTo>
                  <a:lnTo>
                    <a:pt x="781645" y="467454"/>
                  </a:lnTo>
                  <a:lnTo>
                    <a:pt x="776297" y="468768"/>
                  </a:lnTo>
                  <a:lnTo>
                    <a:pt x="772324" y="470463"/>
                  </a:lnTo>
                  <a:lnTo>
                    <a:pt x="770261" y="471860"/>
                  </a:lnTo>
                  <a:lnTo>
                    <a:pt x="767103" y="475134"/>
                  </a:lnTo>
                  <a:lnTo>
                    <a:pt x="762245" y="477597"/>
                  </a:lnTo>
                  <a:lnTo>
                    <a:pt x="753454" y="480288"/>
                  </a:lnTo>
                  <a:lnTo>
                    <a:pt x="742268" y="484462"/>
                  </a:lnTo>
                  <a:lnTo>
                    <a:pt x="722221" y="488722"/>
                  </a:lnTo>
                  <a:lnTo>
                    <a:pt x="709605" y="489470"/>
                  </a:lnTo>
                  <a:lnTo>
                    <a:pt x="696998" y="488061"/>
                  </a:lnTo>
                  <a:lnTo>
                    <a:pt x="693004" y="486913"/>
                  </a:lnTo>
                  <a:lnTo>
                    <a:pt x="688815" y="485112"/>
                  </a:lnTo>
                  <a:lnTo>
                    <a:pt x="680245" y="480863"/>
                  </a:lnTo>
                  <a:lnTo>
                    <a:pt x="677875" y="479325"/>
                  </a:lnTo>
                  <a:lnTo>
                    <a:pt x="675118" y="475981"/>
                  </a:lnTo>
                  <a:lnTo>
                    <a:pt x="676748" y="473754"/>
                  </a:lnTo>
                  <a:lnTo>
                    <a:pt x="681318" y="471183"/>
                  </a:lnTo>
                  <a:lnTo>
                    <a:pt x="688153" y="468841"/>
                  </a:lnTo>
                  <a:lnTo>
                    <a:pt x="701809" y="465670"/>
                  </a:lnTo>
                  <a:lnTo>
                    <a:pt x="714192" y="460593"/>
                  </a:lnTo>
                  <a:lnTo>
                    <a:pt x="718577" y="459638"/>
                  </a:lnTo>
                  <a:lnTo>
                    <a:pt x="730500" y="458861"/>
                  </a:lnTo>
                  <a:lnTo>
                    <a:pt x="736512" y="459335"/>
                  </a:lnTo>
                  <a:lnTo>
                    <a:pt x="740861" y="459068"/>
                  </a:lnTo>
                  <a:lnTo>
                    <a:pt x="743729" y="458370"/>
                  </a:lnTo>
                  <a:lnTo>
                    <a:pt x="747984" y="456533"/>
                  </a:lnTo>
                  <a:lnTo>
                    <a:pt x="754205" y="452868"/>
                  </a:lnTo>
                  <a:lnTo>
                    <a:pt x="758745" y="449432"/>
                  </a:lnTo>
                  <a:lnTo>
                    <a:pt x="759897" y="447824"/>
                  </a:lnTo>
                  <a:lnTo>
                    <a:pt x="758376" y="446317"/>
                  </a:lnTo>
                  <a:lnTo>
                    <a:pt x="756151" y="446106"/>
                  </a:lnTo>
                  <a:lnTo>
                    <a:pt x="748729" y="449641"/>
                  </a:lnTo>
                  <a:lnTo>
                    <a:pt x="745003" y="450830"/>
                  </a:lnTo>
                  <a:lnTo>
                    <a:pt x="740946" y="450912"/>
                  </a:lnTo>
                  <a:lnTo>
                    <a:pt x="735377" y="452120"/>
                  </a:lnTo>
                  <a:lnTo>
                    <a:pt x="729959" y="452604"/>
                  </a:lnTo>
                  <a:lnTo>
                    <a:pt x="728911" y="452565"/>
                  </a:lnTo>
                  <a:lnTo>
                    <a:pt x="723267" y="449188"/>
                  </a:lnTo>
                  <a:lnTo>
                    <a:pt x="720250" y="448594"/>
                  </a:lnTo>
                  <a:lnTo>
                    <a:pt x="718847" y="448950"/>
                  </a:lnTo>
                  <a:lnTo>
                    <a:pt x="717561" y="449843"/>
                  </a:lnTo>
                  <a:lnTo>
                    <a:pt x="715115" y="452336"/>
                  </a:lnTo>
                  <a:lnTo>
                    <a:pt x="713702" y="453230"/>
                  </a:lnTo>
                  <a:lnTo>
                    <a:pt x="711266" y="453880"/>
                  </a:lnTo>
                  <a:lnTo>
                    <a:pt x="701421" y="454620"/>
                  </a:lnTo>
                  <a:lnTo>
                    <a:pt x="691986" y="455873"/>
                  </a:lnTo>
                  <a:lnTo>
                    <a:pt x="689885" y="455099"/>
                  </a:lnTo>
                  <a:lnTo>
                    <a:pt x="688607" y="453657"/>
                  </a:lnTo>
                  <a:lnTo>
                    <a:pt x="688345" y="452778"/>
                  </a:lnTo>
                  <a:lnTo>
                    <a:pt x="688203" y="449813"/>
                  </a:lnTo>
                  <a:lnTo>
                    <a:pt x="687566" y="448631"/>
                  </a:lnTo>
                  <a:lnTo>
                    <a:pt x="688396" y="446161"/>
                  </a:lnTo>
                  <a:lnTo>
                    <a:pt x="689472" y="444273"/>
                  </a:lnTo>
                  <a:lnTo>
                    <a:pt x="690793" y="442975"/>
                  </a:lnTo>
                  <a:lnTo>
                    <a:pt x="697278" y="439142"/>
                  </a:lnTo>
                  <a:lnTo>
                    <a:pt x="698189" y="438146"/>
                  </a:lnTo>
                  <a:lnTo>
                    <a:pt x="695099" y="438352"/>
                  </a:lnTo>
                  <a:lnTo>
                    <a:pt x="687758" y="440229"/>
                  </a:lnTo>
                  <a:lnTo>
                    <a:pt x="686798" y="439576"/>
                  </a:lnTo>
                  <a:lnTo>
                    <a:pt x="685079" y="437431"/>
                  </a:lnTo>
                  <a:lnTo>
                    <a:pt x="684258" y="437215"/>
                  </a:lnTo>
                  <a:lnTo>
                    <a:pt x="683322" y="438106"/>
                  </a:lnTo>
                  <a:lnTo>
                    <a:pt x="682777" y="439362"/>
                  </a:lnTo>
                  <a:lnTo>
                    <a:pt x="681516" y="444535"/>
                  </a:lnTo>
                  <a:lnTo>
                    <a:pt x="680405" y="447174"/>
                  </a:lnTo>
                  <a:lnTo>
                    <a:pt x="677451" y="446641"/>
                  </a:lnTo>
                  <a:lnTo>
                    <a:pt x="673799" y="445048"/>
                  </a:lnTo>
                  <a:lnTo>
                    <a:pt x="672434" y="444832"/>
                  </a:lnTo>
                  <a:lnTo>
                    <a:pt x="671648" y="445337"/>
                  </a:lnTo>
                  <a:lnTo>
                    <a:pt x="671898" y="446230"/>
                  </a:lnTo>
                  <a:lnTo>
                    <a:pt x="675605" y="450651"/>
                  </a:lnTo>
                  <a:lnTo>
                    <a:pt x="675647" y="452194"/>
                  </a:lnTo>
                  <a:lnTo>
                    <a:pt x="673222" y="454893"/>
                  </a:lnTo>
                  <a:lnTo>
                    <a:pt x="662891" y="459368"/>
                  </a:lnTo>
                  <a:lnTo>
                    <a:pt x="658811" y="460564"/>
                  </a:lnTo>
                  <a:lnTo>
                    <a:pt x="657367" y="460100"/>
                  </a:lnTo>
                  <a:lnTo>
                    <a:pt x="656067" y="458874"/>
                  </a:lnTo>
                  <a:lnTo>
                    <a:pt x="654912" y="456878"/>
                  </a:lnTo>
                  <a:lnTo>
                    <a:pt x="652230" y="454198"/>
                  </a:lnTo>
                  <a:lnTo>
                    <a:pt x="650633" y="453597"/>
                  </a:lnTo>
                  <a:lnTo>
                    <a:pt x="648844" y="453516"/>
                  </a:lnTo>
                  <a:lnTo>
                    <a:pt x="647198" y="454070"/>
                  </a:lnTo>
                  <a:lnTo>
                    <a:pt x="645696" y="455259"/>
                  </a:lnTo>
                  <a:lnTo>
                    <a:pt x="644764" y="456520"/>
                  </a:lnTo>
                  <a:lnTo>
                    <a:pt x="643878" y="458870"/>
                  </a:lnTo>
                  <a:lnTo>
                    <a:pt x="641998" y="460666"/>
                  </a:lnTo>
                  <a:lnTo>
                    <a:pt x="640840" y="460972"/>
                  </a:lnTo>
                  <a:lnTo>
                    <a:pt x="630347" y="457247"/>
                  </a:lnTo>
                  <a:lnTo>
                    <a:pt x="621892" y="450626"/>
                  </a:lnTo>
                  <a:lnTo>
                    <a:pt x="612639" y="451658"/>
                  </a:lnTo>
                  <a:lnTo>
                    <a:pt x="608485" y="451424"/>
                  </a:lnTo>
                  <a:lnTo>
                    <a:pt x="595880" y="448992"/>
                  </a:lnTo>
                  <a:lnTo>
                    <a:pt x="594276" y="447488"/>
                  </a:lnTo>
                  <a:lnTo>
                    <a:pt x="593392" y="445532"/>
                  </a:lnTo>
                  <a:lnTo>
                    <a:pt x="593477" y="444468"/>
                  </a:lnTo>
                  <a:lnTo>
                    <a:pt x="594001" y="443367"/>
                  </a:lnTo>
                  <a:lnTo>
                    <a:pt x="595597" y="441183"/>
                  </a:lnTo>
                  <a:lnTo>
                    <a:pt x="598774" y="437871"/>
                  </a:lnTo>
                  <a:lnTo>
                    <a:pt x="600099" y="436802"/>
                  </a:lnTo>
                  <a:lnTo>
                    <a:pt x="602076" y="435922"/>
                  </a:lnTo>
                  <a:lnTo>
                    <a:pt x="604698" y="435230"/>
                  </a:lnTo>
                  <a:lnTo>
                    <a:pt x="611377" y="434844"/>
                  </a:lnTo>
                  <a:lnTo>
                    <a:pt x="628570" y="434719"/>
                  </a:lnTo>
                  <a:lnTo>
                    <a:pt x="632008" y="434205"/>
                  </a:lnTo>
                  <a:lnTo>
                    <a:pt x="650817" y="427774"/>
                  </a:lnTo>
                  <a:lnTo>
                    <a:pt x="652964" y="426718"/>
                  </a:lnTo>
                  <a:lnTo>
                    <a:pt x="655724" y="424660"/>
                  </a:lnTo>
                  <a:lnTo>
                    <a:pt x="656348" y="423809"/>
                  </a:lnTo>
                  <a:lnTo>
                    <a:pt x="656231" y="423253"/>
                  </a:lnTo>
                  <a:lnTo>
                    <a:pt x="633093" y="428360"/>
                  </a:lnTo>
                  <a:lnTo>
                    <a:pt x="623171" y="429458"/>
                  </a:lnTo>
                  <a:lnTo>
                    <a:pt x="607969" y="428626"/>
                  </a:lnTo>
                  <a:lnTo>
                    <a:pt x="605110" y="427822"/>
                  </a:lnTo>
                  <a:lnTo>
                    <a:pt x="604459" y="426394"/>
                  </a:lnTo>
                  <a:lnTo>
                    <a:pt x="607629" y="422603"/>
                  </a:lnTo>
                  <a:lnTo>
                    <a:pt x="609301" y="421190"/>
                  </a:lnTo>
                  <a:lnTo>
                    <a:pt x="613624" y="419856"/>
                  </a:lnTo>
                  <a:lnTo>
                    <a:pt x="624084" y="417962"/>
                  </a:lnTo>
                  <a:lnTo>
                    <a:pt x="638070" y="416288"/>
                  </a:lnTo>
                  <a:lnTo>
                    <a:pt x="647229" y="416250"/>
                  </a:lnTo>
                  <a:lnTo>
                    <a:pt x="654916" y="414920"/>
                  </a:lnTo>
                  <a:lnTo>
                    <a:pt x="659536" y="413398"/>
                  </a:lnTo>
                  <a:lnTo>
                    <a:pt x="644049" y="413477"/>
                  </a:lnTo>
                  <a:lnTo>
                    <a:pt x="625397" y="414190"/>
                  </a:lnTo>
                  <a:lnTo>
                    <a:pt x="622700" y="413695"/>
                  </a:lnTo>
                  <a:lnTo>
                    <a:pt x="617373" y="411689"/>
                  </a:lnTo>
                  <a:lnTo>
                    <a:pt x="617114" y="410222"/>
                  </a:lnTo>
                  <a:lnTo>
                    <a:pt x="619246" y="408457"/>
                  </a:lnTo>
                  <a:lnTo>
                    <a:pt x="620027" y="407143"/>
                  </a:lnTo>
                  <a:lnTo>
                    <a:pt x="618503" y="404182"/>
                  </a:lnTo>
                  <a:lnTo>
                    <a:pt x="618970" y="403033"/>
                  </a:lnTo>
                  <a:lnTo>
                    <a:pt x="622446" y="400562"/>
                  </a:lnTo>
                  <a:lnTo>
                    <a:pt x="628643" y="397887"/>
                  </a:lnTo>
                  <a:lnTo>
                    <a:pt x="632465" y="397508"/>
                  </a:lnTo>
                  <a:lnTo>
                    <a:pt x="639840" y="398421"/>
                  </a:lnTo>
                  <a:lnTo>
                    <a:pt x="660857" y="399366"/>
                  </a:lnTo>
                  <a:lnTo>
                    <a:pt x="664934" y="399027"/>
                  </a:lnTo>
                  <a:lnTo>
                    <a:pt x="662359" y="397865"/>
                  </a:lnTo>
                  <a:lnTo>
                    <a:pt x="658697" y="396998"/>
                  </a:lnTo>
                  <a:lnTo>
                    <a:pt x="642472" y="395514"/>
                  </a:lnTo>
                  <a:lnTo>
                    <a:pt x="639115" y="394850"/>
                  </a:lnTo>
                  <a:lnTo>
                    <a:pt x="638473" y="393936"/>
                  </a:lnTo>
                  <a:lnTo>
                    <a:pt x="638231" y="392586"/>
                  </a:lnTo>
                  <a:lnTo>
                    <a:pt x="638387" y="390804"/>
                  </a:lnTo>
                  <a:lnTo>
                    <a:pt x="639560" y="388975"/>
                  </a:lnTo>
                  <a:lnTo>
                    <a:pt x="644597" y="385153"/>
                  </a:lnTo>
                  <a:lnTo>
                    <a:pt x="659359" y="382001"/>
                  </a:lnTo>
                  <a:lnTo>
                    <a:pt x="665233" y="381566"/>
                  </a:lnTo>
                  <a:lnTo>
                    <a:pt x="671118" y="381774"/>
                  </a:lnTo>
                  <a:lnTo>
                    <a:pt x="677097" y="383192"/>
                  </a:lnTo>
                  <a:lnTo>
                    <a:pt x="679759" y="384419"/>
                  </a:lnTo>
                  <a:lnTo>
                    <a:pt x="681095" y="385934"/>
                  </a:lnTo>
                  <a:lnTo>
                    <a:pt x="681741" y="387341"/>
                  </a:lnTo>
                  <a:lnTo>
                    <a:pt x="681816" y="389774"/>
                  </a:lnTo>
                  <a:lnTo>
                    <a:pt x="682104" y="390732"/>
                  </a:lnTo>
                  <a:lnTo>
                    <a:pt x="683184" y="392328"/>
                  </a:lnTo>
                  <a:lnTo>
                    <a:pt x="686622" y="396073"/>
                  </a:lnTo>
                  <a:lnTo>
                    <a:pt x="689153" y="397240"/>
                  </a:lnTo>
                  <a:lnTo>
                    <a:pt x="700829" y="395065"/>
                  </a:lnTo>
                  <a:lnTo>
                    <a:pt x="705690" y="394577"/>
                  </a:lnTo>
                  <a:lnTo>
                    <a:pt x="710580" y="395261"/>
                  </a:lnTo>
                  <a:lnTo>
                    <a:pt x="717701" y="397508"/>
                  </a:lnTo>
                  <a:lnTo>
                    <a:pt x="726924" y="404278"/>
                  </a:lnTo>
                  <a:lnTo>
                    <a:pt x="738807" y="411170"/>
                  </a:lnTo>
                  <a:lnTo>
                    <a:pt x="738746" y="412651"/>
                  </a:lnTo>
                  <a:lnTo>
                    <a:pt x="734194" y="414949"/>
                  </a:lnTo>
                  <a:lnTo>
                    <a:pt x="733339" y="415933"/>
                  </a:lnTo>
                  <a:lnTo>
                    <a:pt x="733952" y="416616"/>
                  </a:lnTo>
                  <a:lnTo>
                    <a:pt x="738498" y="417065"/>
                  </a:lnTo>
                  <a:lnTo>
                    <a:pt x="742759" y="416727"/>
                  </a:lnTo>
                  <a:lnTo>
                    <a:pt x="746823" y="417243"/>
                  </a:lnTo>
                  <a:lnTo>
                    <a:pt x="747732" y="417833"/>
                  </a:lnTo>
                  <a:lnTo>
                    <a:pt x="749223" y="420342"/>
                  </a:lnTo>
                  <a:lnTo>
                    <a:pt x="751294" y="424765"/>
                  </a:lnTo>
                  <a:lnTo>
                    <a:pt x="753756" y="428061"/>
                  </a:lnTo>
                  <a:lnTo>
                    <a:pt x="756605" y="430236"/>
                  </a:lnTo>
                  <a:lnTo>
                    <a:pt x="759410" y="431351"/>
                  </a:lnTo>
                  <a:lnTo>
                    <a:pt x="763545" y="431435"/>
                  </a:lnTo>
                  <a:lnTo>
                    <a:pt x="767705" y="430787"/>
                  </a:lnTo>
                  <a:lnTo>
                    <a:pt x="774454" y="431002"/>
                  </a:lnTo>
                  <a:lnTo>
                    <a:pt x="809269" y="433511"/>
                  </a:lnTo>
                  <a:lnTo>
                    <a:pt x="811332" y="433074"/>
                  </a:lnTo>
                  <a:lnTo>
                    <a:pt x="812798" y="431697"/>
                  </a:lnTo>
                  <a:lnTo>
                    <a:pt x="813674" y="429375"/>
                  </a:lnTo>
                  <a:lnTo>
                    <a:pt x="814007" y="427466"/>
                  </a:lnTo>
                  <a:lnTo>
                    <a:pt x="813532" y="424854"/>
                  </a:lnTo>
                  <a:lnTo>
                    <a:pt x="812859" y="423605"/>
                  </a:lnTo>
                  <a:lnTo>
                    <a:pt x="791274" y="415124"/>
                  </a:lnTo>
                  <a:lnTo>
                    <a:pt x="789386" y="411702"/>
                  </a:lnTo>
                  <a:lnTo>
                    <a:pt x="799931" y="406913"/>
                  </a:lnTo>
                  <a:lnTo>
                    <a:pt x="800689" y="405807"/>
                  </a:lnTo>
                  <a:lnTo>
                    <a:pt x="800895" y="404282"/>
                  </a:lnTo>
                  <a:lnTo>
                    <a:pt x="800545" y="402338"/>
                  </a:lnTo>
                  <a:lnTo>
                    <a:pt x="799114" y="400485"/>
                  </a:lnTo>
                  <a:lnTo>
                    <a:pt x="793452" y="396946"/>
                  </a:lnTo>
                  <a:lnTo>
                    <a:pt x="788440" y="396413"/>
                  </a:lnTo>
                  <a:lnTo>
                    <a:pt x="781011" y="392919"/>
                  </a:lnTo>
                  <a:lnTo>
                    <a:pt x="779839" y="392033"/>
                  </a:lnTo>
                  <a:lnTo>
                    <a:pt x="778879" y="390640"/>
                  </a:lnTo>
                  <a:lnTo>
                    <a:pt x="778129" y="388730"/>
                  </a:lnTo>
                  <a:lnTo>
                    <a:pt x="778256" y="387259"/>
                  </a:lnTo>
                  <a:lnTo>
                    <a:pt x="779255" y="386231"/>
                  </a:lnTo>
                  <a:lnTo>
                    <a:pt x="786569" y="382668"/>
                  </a:lnTo>
                  <a:lnTo>
                    <a:pt x="789529" y="380689"/>
                  </a:lnTo>
                  <a:lnTo>
                    <a:pt x="798653" y="371755"/>
                  </a:lnTo>
                  <a:lnTo>
                    <a:pt x="802874" y="368138"/>
                  </a:lnTo>
                  <a:lnTo>
                    <a:pt x="805893" y="366441"/>
                  </a:lnTo>
                  <a:lnTo>
                    <a:pt x="808968" y="365386"/>
                  </a:lnTo>
                  <a:close/>
                  <a:moveTo>
                    <a:pt x="1289773" y="364055"/>
                  </a:moveTo>
                  <a:lnTo>
                    <a:pt x="1294529" y="364094"/>
                  </a:lnTo>
                  <a:lnTo>
                    <a:pt x="1298946" y="366969"/>
                  </a:lnTo>
                  <a:lnTo>
                    <a:pt x="1300195" y="367955"/>
                  </a:lnTo>
                  <a:lnTo>
                    <a:pt x="1300953" y="369135"/>
                  </a:lnTo>
                  <a:lnTo>
                    <a:pt x="1300978" y="370265"/>
                  </a:lnTo>
                  <a:lnTo>
                    <a:pt x="1300618" y="371252"/>
                  </a:lnTo>
                  <a:lnTo>
                    <a:pt x="1298617" y="373448"/>
                  </a:lnTo>
                  <a:lnTo>
                    <a:pt x="1297740" y="374981"/>
                  </a:lnTo>
                  <a:lnTo>
                    <a:pt x="1297746" y="376481"/>
                  </a:lnTo>
                  <a:lnTo>
                    <a:pt x="1298180" y="378649"/>
                  </a:lnTo>
                  <a:lnTo>
                    <a:pt x="1298987" y="380081"/>
                  </a:lnTo>
                  <a:lnTo>
                    <a:pt x="1300169" y="380772"/>
                  </a:lnTo>
                  <a:lnTo>
                    <a:pt x="1300165" y="381476"/>
                  </a:lnTo>
                  <a:lnTo>
                    <a:pt x="1298978" y="382191"/>
                  </a:lnTo>
                  <a:lnTo>
                    <a:pt x="1295154" y="381821"/>
                  </a:lnTo>
                  <a:lnTo>
                    <a:pt x="1293886" y="382522"/>
                  </a:lnTo>
                  <a:lnTo>
                    <a:pt x="1291854" y="382124"/>
                  </a:lnTo>
                  <a:lnTo>
                    <a:pt x="1289057" y="380625"/>
                  </a:lnTo>
                  <a:lnTo>
                    <a:pt x="1285788" y="377679"/>
                  </a:lnTo>
                  <a:lnTo>
                    <a:pt x="1282048" y="373281"/>
                  </a:lnTo>
                  <a:lnTo>
                    <a:pt x="1279125" y="369484"/>
                  </a:lnTo>
                  <a:lnTo>
                    <a:pt x="1278967" y="368439"/>
                  </a:lnTo>
                  <a:lnTo>
                    <a:pt x="1279924" y="366662"/>
                  </a:lnTo>
                  <a:lnTo>
                    <a:pt x="1282847" y="365478"/>
                  </a:lnTo>
                  <a:close/>
                  <a:moveTo>
                    <a:pt x="687424" y="360978"/>
                  </a:moveTo>
                  <a:lnTo>
                    <a:pt x="692093" y="362143"/>
                  </a:lnTo>
                  <a:lnTo>
                    <a:pt x="695189" y="363505"/>
                  </a:lnTo>
                  <a:lnTo>
                    <a:pt x="696937" y="364687"/>
                  </a:lnTo>
                  <a:lnTo>
                    <a:pt x="697670" y="366904"/>
                  </a:lnTo>
                  <a:lnTo>
                    <a:pt x="695815" y="369023"/>
                  </a:lnTo>
                  <a:lnTo>
                    <a:pt x="691968" y="370755"/>
                  </a:lnTo>
                  <a:lnTo>
                    <a:pt x="665623" y="368196"/>
                  </a:lnTo>
                  <a:lnTo>
                    <a:pt x="664181" y="367391"/>
                  </a:lnTo>
                  <a:lnTo>
                    <a:pt x="663498" y="366299"/>
                  </a:lnTo>
                  <a:lnTo>
                    <a:pt x="668269" y="363308"/>
                  </a:lnTo>
                  <a:lnTo>
                    <a:pt x="674030" y="362016"/>
                  </a:lnTo>
                  <a:close/>
                  <a:moveTo>
                    <a:pt x="1144907" y="351848"/>
                  </a:moveTo>
                  <a:lnTo>
                    <a:pt x="1150265" y="351979"/>
                  </a:lnTo>
                  <a:lnTo>
                    <a:pt x="1163242" y="354457"/>
                  </a:lnTo>
                  <a:lnTo>
                    <a:pt x="1176182" y="357600"/>
                  </a:lnTo>
                  <a:lnTo>
                    <a:pt x="1184325" y="360044"/>
                  </a:lnTo>
                  <a:lnTo>
                    <a:pt x="1189066" y="360506"/>
                  </a:lnTo>
                  <a:lnTo>
                    <a:pt x="1193122" y="359796"/>
                  </a:lnTo>
                  <a:lnTo>
                    <a:pt x="1196598" y="359952"/>
                  </a:lnTo>
                  <a:lnTo>
                    <a:pt x="1201734" y="362096"/>
                  </a:lnTo>
                  <a:lnTo>
                    <a:pt x="1206492" y="365369"/>
                  </a:lnTo>
                  <a:lnTo>
                    <a:pt x="1210148" y="366847"/>
                  </a:lnTo>
                  <a:lnTo>
                    <a:pt x="1211328" y="367593"/>
                  </a:lnTo>
                  <a:lnTo>
                    <a:pt x="1211789" y="368418"/>
                  </a:lnTo>
                  <a:lnTo>
                    <a:pt x="1212362" y="370889"/>
                  </a:lnTo>
                  <a:lnTo>
                    <a:pt x="1212344" y="372034"/>
                  </a:lnTo>
                  <a:lnTo>
                    <a:pt x="1212074" y="372948"/>
                  </a:lnTo>
                  <a:lnTo>
                    <a:pt x="1210474" y="375200"/>
                  </a:lnTo>
                  <a:lnTo>
                    <a:pt x="1209129" y="377985"/>
                  </a:lnTo>
                  <a:lnTo>
                    <a:pt x="1206352" y="380437"/>
                  </a:lnTo>
                  <a:lnTo>
                    <a:pt x="1204874" y="382285"/>
                  </a:lnTo>
                  <a:lnTo>
                    <a:pt x="1203606" y="384617"/>
                  </a:lnTo>
                  <a:lnTo>
                    <a:pt x="1206463" y="383228"/>
                  </a:lnTo>
                  <a:lnTo>
                    <a:pt x="1217278" y="375520"/>
                  </a:lnTo>
                  <a:lnTo>
                    <a:pt x="1224355" y="376439"/>
                  </a:lnTo>
                  <a:lnTo>
                    <a:pt x="1234986" y="375751"/>
                  </a:lnTo>
                  <a:lnTo>
                    <a:pt x="1247856" y="372595"/>
                  </a:lnTo>
                  <a:lnTo>
                    <a:pt x="1253968" y="372101"/>
                  </a:lnTo>
                  <a:lnTo>
                    <a:pt x="1260139" y="372331"/>
                  </a:lnTo>
                  <a:lnTo>
                    <a:pt x="1264723" y="373327"/>
                  </a:lnTo>
                  <a:lnTo>
                    <a:pt x="1274507" y="377580"/>
                  </a:lnTo>
                  <a:lnTo>
                    <a:pt x="1277895" y="379604"/>
                  </a:lnTo>
                  <a:lnTo>
                    <a:pt x="1279167" y="381037"/>
                  </a:lnTo>
                  <a:lnTo>
                    <a:pt x="1279471" y="382090"/>
                  </a:lnTo>
                  <a:lnTo>
                    <a:pt x="1277469" y="383723"/>
                  </a:lnTo>
                  <a:lnTo>
                    <a:pt x="1271321" y="382730"/>
                  </a:lnTo>
                  <a:lnTo>
                    <a:pt x="1261205" y="381854"/>
                  </a:lnTo>
                  <a:lnTo>
                    <a:pt x="1259355" y="381308"/>
                  </a:lnTo>
                  <a:lnTo>
                    <a:pt x="1257779" y="381352"/>
                  </a:lnTo>
                  <a:lnTo>
                    <a:pt x="1256634" y="381944"/>
                  </a:lnTo>
                  <a:lnTo>
                    <a:pt x="1257348" y="384189"/>
                  </a:lnTo>
                  <a:lnTo>
                    <a:pt x="1259408" y="384681"/>
                  </a:lnTo>
                  <a:lnTo>
                    <a:pt x="1271556" y="385164"/>
                  </a:lnTo>
                  <a:lnTo>
                    <a:pt x="1311373" y="392283"/>
                  </a:lnTo>
                  <a:lnTo>
                    <a:pt x="1313032" y="394554"/>
                  </a:lnTo>
                  <a:lnTo>
                    <a:pt x="1312589" y="395558"/>
                  </a:lnTo>
                  <a:lnTo>
                    <a:pt x="1311180" y="396671"/>
                  </a:lnTo>
                  <a:lnTo>
                    <a:pt x="1308278" y="398163"/>
                  </a:lnTo>
                  <a:lnTo>
                    <a:pt x="1285318" y="399789"/>
                  </a:lnTo>
                  <a:lnTo>
                    <a:pt x="1272252" y="398350"/>
                  </a:lnTo>
                  <a:lnTo>
                    <a:pt x="1261271" y="396030"/>
                  </a:lnTo>
                  <a:lnTo>
                    <a:pt x="1257545" y="396548"/>
                  </a:lnTo>
                  <a:lnTo>
                    <a:pt x="1260788" y="399690"/>
                  </a:lnTo>
                  <a:lnTo>
                    <a:pt x="1267373" y="400648"/>
                  </a:lnTo>
                  <a:lnTo>
                    <a:pt x="1272885" y="402503"/>
                  </a:lnTo>
                  <a:lnTo>
                    <a:pt x="1275174" y="404055"/>
                  </a:lnTo>
                  <a:lnTo>
                    <a:pt x="1286857" y="405237"/>
                  </a:lnTo>
                  <a:lnTo>
                    <a:pt x="1288767" y="406444"/>
                  </a:lnTo>
                  <a:lnTo>
                    <a:pt x="1292400" y="409530"/>
                  </a:lnTo>
                  <a:lnTo>
                    <a:pt x="1295448" y="409769"/>
                  </a:lnTo>
                  <a:lnTo>
                    <a:pt x="1298468" y="411920"/>
                  </a:lnTo>
                  <a:lnTo>
                    <a:pt x="1300956" y="415612"/>
                  </a:lnTo>
                  <a:lnTo>
                    <a:pt x="1302104" y="416106"/>
                  </a:lnTo>
                  <a:lnTo>
                    <a:pt x="1305624" y="415440"/>
                  </a:lnTo>
                  <a:lnTo>
                    <a:pt x="1311548" y="418642"/>
                  </a:lnTo>
                  <a:lnTo>
                    <a:pt x="1313392" y="420351"/>
                  </a:lnTo>
                  <a:lnTo>
                    <a:pt x="1313400" y="421629"/>
                  </a:lnTo>
                  <a:lnTo>
                    <a:pt x="1312079" y="423630"/>
                  </a:lnTo>
                  <a:lnTo>
                    <a:pt x="1309428" y="426347"/>
                  </a:lnTo>
                  <a:lnTo>
                    <a:pt x="1302727" y="429542"/>
                  </a:lnTo>
                  <a:lnTo>
                    <a:pt x="1302206" y="430503"/>
                  </a:lnTo>
                  <a:lnTo>
                    <a:pt x="1310034" y="430126"/>
                  </a:lnTo>
                  <a:lnTo>
                    <a:pt x="1311476" y="430551"/>
                  </a:lnTo>
                  <a:lnTo>
                    <a:pt x="1320699" y="436206"/>
                  </a:lnTo>
                  <a:lnTo>
                    <a:pt x="1321912" y="436310"/>
                  </a:lnTo>
                  <a:lnTo>
                    <a:pt x="1322671" y="435719"/>
                  </a:lnTo>
                  <a:lnTo>
                    <a:pt x="1323554" y="433717"/>
                  </a:lnTo>
                  <a:lnTo>
                    <a:pt x="1323161" y="431864"/>
                  </a:lnTo>
                  <a:lnTo>
                    <a:pt x="1322034" y="429291"/>
                  </a:lnTo>
                  <a:lnTo>
                    <a:pt x="1322335" y="427423"/>
                  </a:lnTo>
                  <a:lnTo>
                    <a:pt x="1324066" y="426261"/>
                  </a:lnTo>
                  <a:lnTo>
                    <a:pt x="1325817" y="425684"/>
                  </a:lnTo>
                  <a:lnTo>
                    <a:pt x="1327589" y="425694"/>
                  </a:lnTo>
                  <a:lnTo>
                    <a:pt x="1329515" y="426381"/>
                  </a:lnTo>
                  <a:lnTo>
                    <a:pt x="1338839" y="433228"/>
                  </a:lnTo>
                  <a:lnTo>
                    <a:pt x="1350796" y="429958"/>
                  </a:lnTo>
                  <a:lnTo>
                    <a:pt x="1352979" y="431427"/>
                  </a:lnTo>
                  <a:lnTo>
                    <a:pt x="1354785" y="434170"/>
                  </a:lnTo>
                  <a:lnTo>
                    <a:pt x="1355630" y="434622"/>
                  </a:lnTo>
                  <a:lnTo>
                    <a:pt x="1360053" y="429152"/>
                  </a:lnTo>
                  <a:lnTo>
                    <a:pt x="1362785" y="427793"/>
                  </a:lnTo>
                  <a:lnTo>
                    <a:pt x="1374004" y="434288"/>
                  </a:lnTo>
                  <a:lnTo>
                    <a:pt x="1380844" y="435724"/>
                  </a:lnTo>
                  <a:lnTo>
                    <a:pt x="1383587" y="437113"/>
                  </a:lnTo>
                  <a:lnTo>
                    <a:pt x="1388664" y="438647"/>
                  </a:lnTo>
                  <a:lnTo>
                    <a:pt x="1395887" y="439227"/>
                  </a:lnTo>
                  <a:lnTo>
                    <a:pt x="1397076" y="436822"/>
                  </a:lnTo>
                  <a:lnTo>
                    <a:pt x="1392912" y="433729"/>
                  </a:lnTo>
                  <a:lnTo>
                    <a:pt x="1395341" y="432371"/>
                  </a:lnTo>
                  <a:lnTo>
                    <a:pt x="1405274" y="429745"/>
                  </a:lnTo>
                  <a:lnTo>
                    <a:pt x="1410572" y="430114"/>
                  </a:lnTo>
                  <a:lnTo>
                    <a:pt x="1420348" y="426392"/>
                  </a:lnTo>
                  <a:lnTo>
                    <a:pt x="1426346" y="425888"/>
                  </a:lnTo>
                  <a:lnTo>
                    <a:pt x="1430031" y="425951"/>
                  </a:lnTo>
                  <a:lnTo>
                    <a:pt x="1442132" y="420317"/>
                  </a:lnTo>
                  <a:lnTo>
                    <a:pt x="1445007" y="419424"/>
                  </a:lnTo>
                  <a:lnTo>
                    <a:pt x="1447094" y="417407"/>
                  </a:lnTo>
                  <a:lnTo>
                    <a:pt x="1451846" y="417722"/>
                  </a:lnTo>
                  <a:lnTo>
                    <a:pt x="1464713" y="420929"/>
                  </a:lnTo>
                  <a:lnTo>
                    <a:pt x="1468356" y="420639"/>
                  </a:lnTo>
                  <a:lnTo>
                    <a:pt x="1482048" y="417443"/>
                  </a:lnTo>
                  <a:lnTo>
                    <a:pt x="1487108" y="416662"/>
                  </a:lnTo>
                  <a:lnTo>
                    <a:pt x="1492185" y="416780"/>
                  </a:lnTo>
                  <a:lnTo>
                    <a:pt x="1505023" y="418650"/>
                  </a:lnTo>
                  <a:lnTo>
                    <a:pt x="1514629" y="420661"/>
                  </a:lnTo>
                  <a:lnTo>
                    <a:pt x="1517615" y="421718"/>
                  </a:lnTo>
                  <a:lnTo>
                    <a:pt x="1516553" y="424358"/>
                  </a:lnTo>
                  <a:lnTo>
                    <a:pt x="1517038" y="425139"/>
                  </a:lnTo>
                  <a:lnTo>
                    <a:pt x="1518283" y="425709"/>
                  </a:lnTo>
                  <a:lnTo>
                    <a:pt x="1521418" y="426486"/>
                  </a:lnTo>
                  <a:lnTo>
                    <a:pt x="1533413" y="426535"/>
                  </a:lnTo>
                  <a:lnTo>
                    <a:pt x="1538631" y="427207"/>
                  </a:lnTo>
                  <a:lnTo>
                    <a:pt x="1542779" y="429675"/>
                  </a:lnTo>
                  <a:lnTo>
                    <a:pt x="1543772" y="430656"/>
                  </a:lnTo>
                  <a:lnTo>
                    <a:pt x="1543606" y="431680"/>
                  </a:lnTo>
                  <a:lnTo>
                    <a:pt x="1539526" y="434338"/>
                  </a:lnTo>
                  <a:lnTo>
                    <a:pt x="1540190" y="434899"/>
                  </a:lnTo>
                  <a:lnTo>
                    <a:pt x="1544269" y="435516"/>
                  </a:lnTo>
                  <a:lnTo>
                    <a:pt x="1553445" y="435821"/>
                  </a:lnTo>
                  <a:lnTo>
                    <a:pt x="1555411" y="436435"/>
                  </a:lnTo>
                  <a:lnTo>
                    <a:pt x="1557298" y="439746"/>
                  </a:lnTo>
                  <a:lnTo>
                    <a:pt x="1559274" y="444323"/>
                  </a:lnTo>
                  <a:lnTo>
                    <a:pt x="1559243" y="446138"/>
                  </a:lnTo>
                  <a:lnTo>
                    <a:pt x="1556064" y="449224"/>
                  </a:lnTo>
                  <a:lnTo>
                    <a:pt x="1547373" y="453333"/>
                  </a:lnTo>
                  <a:lnTo>
                    <a:pt x="1537728" y="456739"/>
                  </a:lnTo>
                  <a:lnTo>
                    <a:pt x="1537109" y="457621"/>
                  </a:lnTo>
                  <a:lnTo>
                    <a:pt x="1540186" y="459246"/>
                  </a:lnTo>
                  <a:lnTo>
                    <a:pt x="1543364" y="459959"/>
                  </a:lnTo>
                  <a:lnTo>
                    <a:pt x="1545871" y="459816"/>
                  </a:lnTo>
                  <a:lnTo>
                    <a:pt x="1553564" y="458268"/>
                  </a:lnTo>
                  <a:lnTo>
                    <a:pt x="1555312" y="458298"/>
                  </a:lnTo>
                  <a:lnTo>
                    <a:pt x="1558844" y="459878"/>
                  </a:lnTo>
                  <a:lnTo>
                    <a:pt x="1560477" y="461444"/>
                  </a:lnTo>
                  <a:lnTo>
                    <a:pt x="1561972" y="463529"/>
                  </a:lnTo>
                  <a:lnTo>
                    <a:pt x="1559270" y="465426"/>
                  </a:lnTo>
                  <a:lnTo>
                    <a:pt x="1548202" y="467775"/>
                  </a:lnTo>
                  <a:lnTo>
                    <a:pt x="1541661" y="464683"/>
                  </a:lnTo>
                  <a:lnTo>
                    <a:pt x="1539461" y="464000"/>
                  </a:lnTo>
                  <a:lnTo>
                    <a:pt x="1537977" y="464270"/>
                  </a:lnTo>
                  <a:lnTo>
                    <a:pt x="1538819" y="465625"/>
                  </a:lnTo>
                  <a:lnTo>
                    <a:pt x="1541984" y="468076"/>
                  </a:lnTo>
                  <a:lnTo>
                    <a:pt x="1543018" y="469691"/>
                  </a:lnTo>
                  <a:lnTo>
                    <a:pt x="1541919" y="470474"/>
                  </a:lnTo>
                  <a:lnTo>
                    <a:pt x="1541401" y="472023"/>
                  </a:lnTo>
                  <a:lnTo>
                    <a:pt x="1541463" y="474332"/>
                  </a:lnTo>
                  <a:lnTo>
                    <a:pt x="1541200" y="476677"/>
                  </a:lnTo>
                  <a:lnTo>
                    <a:pt x="1540132" y="480323"/>
                  </a:lnTo>
                  <a:lnTo>
                    <a:pt x="1539752" y="480468"/>
                  </a:lnTo>
                  <a:lnTo>
                    <a:pt x="1515702" y="481217"/>
                  </a:lnTo>
                  <a:lnTo>
                    <a:pt x="1512804" y="481877"/>
                  </a:lnTo>
                  <a:lnTo>
                    <a:pt x="1506042" y="484443"/>
                  </a:lnTo>
                  <a:lnTo>
                    <a:pt x="1500929" y="485732"/>
                  </a:lnTo>
                  <a:lnTo>
                    <a:pt x="1497599" y="485927"/>
                  </a:lnTo>
                  <a:lnTo>
                    <a:pt x="1494344" y="485458"/>
                  </a:lnTo>
                  <a:lnTo>
                    <a:pt x="1485565" y="482795"/>
                  </a:lnTo>
                  <a:lnTo>
                    <a:pt x="1479717" y="483297"/>
                  </a:lnTo>
                  <a:lnTo>
                    <a:pt x="1477424" y="483043"/>
                  </a:lnTo>
                  <a:lnTo>
                    <a:pt x="1472473" y="481271"/>
                  </a:lnTo>
                  <a:lnTo>
                    <a:pt x="1471272" y="480374"/>
                  </a:lnTo>
                  <a:lnTo>
                    <a:pt x="1469264" y="478047"/>
                  </a:lnTo>
                  <a:lnTo>
                    <a:pt x="1467759" y="474861"/>
                  </a:lnTo>
                  <a:lnTo>
                    <a:pt x="1467878" y="472896"/>
                  </a:lnTo>
                  <a:lnTo>
                    <a:pt x="1468511" y="470061"/>
                  </a:lnTo>
                  <a:lnTo>
                    <a:pt x="1468122" y="468638"/>
                  </a:lnTo>
                  <a:lnTo>
                    <a:pt x="1466711" y="468629"/>
                  </a:lnTo>
                  <a:lnTo>
                    <a:pt x="1465138" y="468039"/>
                  </a:lnTo>
                  <a:lnTo>
                    <a:pt x="1460405" y="465190"/>
                  </a:lnTo>
                  <a:lnTo>
                    <a:pt x="1457488" y="464347"/>
                  </a:lnTo>
                  <a:lnTo>
                    <a:pt x="1456943" y="464811"/>
                  </a:lnTo>
                  <a:lnTo>
                    <a:pt x="1457799" y="467040"/>
                  </a:lnTo>
                  <a:lnTo>
                    <a:pt x="1458368" y="467750"/>
                  </a:lnTo>
                  <a:lnTo>
                    <a:pt x="1461490" y="469377"/>
                  </a:lnTo>
                  <a:lnTo>
                    <a:pt x="1462071" y="471259"/>
                  </a:lnTo>
                  <a:lnTo>
                    <a:pt x="1460742" y="476016"/>
                  </a:lnTo>
                  <a:lnTo>
                    <a:pt x="1460273" y="476780"/>
                  </a:lnTo>
                  <a:lnTo>
                    <a:pt x="1457239" y="480262"/>
                  </a:lnTo>
                  <a:lnTo>
                    <a:pt x="1454957" y="481255"/>
                  </a:lnTo>
                  <a:lnTo>
                    <a:pt x="1448714" y="481330"/>
                  </a:lnTo>
                  <a:lnTo>
                    <a:pt x="1439153" y="483800"/>
                  </a:lnTo>
                  <a:lnTo>
                    <a:pt x="1434578" y="484154"/>
                  </a:lnTo>
                  <a:lnTo>
                    <a:pt x="1428454" y="483578"/>
                  </a:lnTo>
                  <a:lnTo>
                    <a:pt x="1424620" y="482455"/>
                  </a:lnTo>
                  <a:lnTo>
                    <a:pt x="1422134" y="481167"/>
                  </a:lnTo>
                  <a:lnTo>
                    <a:pt x="1419720" y="479332"/>
                  </a:lnTo>
                  <a:lnTo>
                    <a:pt x="1418454" y="479194"/>
                  </a:lnTo>
                  <a:lnTo>
                    <a:pt x="1417812" y="483172"/>
                  </a:lnTo>
                  <a:lnTo>
                    <a:pt x="1416629" y="483686"/>
                  </a:lnTo>
                  <a:lnTo>
                    <a:pt x="1414578" y="483625"/>
                  </a:lnTo>
                  <a:lnTo>
                    <a:pt x="1411410" y="482389"/>
                  </a:lnTo>
                  <a:lnTo>
                    <a:pt x="1408797" y="479513"/>
                  </a:lnTo>
                  <a:lnTo>
                    <a:pt x="1407983" y="479526"/>
                  </a:lnTo>
                  <a:lnTo>
                    <a:pt x="1407621" y="481200"/>
                  </a:lnTo>
                  <a:lnTo>
                    <a:pt x="1407036" y="482298"/>
                  </a:lnTo>
                  <a:lnTo>
                    <a:pt x="1406231" y="482817"/>
                  </a:lnTo>
                  <a:lnTo>
                    <a:pt x="1399524" y="484612"/>
                  </a:lnTo>
                  <a:lnTo>
                    <a:pt x="1395781" y="484621"/>
                  </a:lnTo>
                  <a:lnTo>
                    <a:pt x="1391870" y="482567"/>
                  </a:lnTo>
                  <a:lnTo>
                    <a:pt x="1389307" y="482776"/>
                  </a:lnTo>
                  <a:lnTo>
                    <a:pt x="1386021" y="483885"/>
                  </a:lnTo>
                  <a:lnTo>
                    <a:pt x="1378037" y="481781"/>
                  </a:lnTo>
                  <a:lnTo>
                    <a:pt x="1376127" y="481700"/>
                  </a:lnTo>
                  <a:lnTo>
                    <a:pt x="1377765" y="485106"/>
                  </a:lnTo>
                  <a:lnTo>
                    <a:pt x="1375128" y="485631"/>
                  </a:lnTo>
                  <a:lnTo>
                    <a:pt x="1369433" y="485546"/>
                  </a:lnTo>
                  <a:lnTo>
                    <a:pt x="1360076" y="484450"/>
                  </a:lnTo>
                  <a:lnTo>
                    <a:pt x="1354274" y="486045"/>
                  </a:lnTo>
                  <a:lnTo>
                    <a:pt x="1343795" y="485093"/>
                  </a:lnTo>
                  <a:lnTo>
                    <a:pt x="1333216" y="484854"/>
                  </a:lnTo>
                  <a:lnTo>
                    <a:pt x="1331246" y="484073"/>
                  </a:lnTo>
                  <a:lnTo>
                    <a:pt x="1329853" y="482482"/>
                  </a:lnTo>
                  <a:lnTo>
                    <a:pt x="1329798" y="481064"/>
                  </a:lnTo>
                  <a:lnTo>
                    <a:pt x="1330311" y="479102"/>
                  </a:lnTo>
                  <a:lnTo>
                    <a:pt x="1331858" y="476181"/>
                  </a:lnTo>
                  <a:lnTo>
                    <a:pt x="1334442" y="472291"/>
                  </a:lnTo>
                  <a:lnTo>
                    <a:pt x="1335333" y="470237"/>
                  </a:lnTo>
                  <a:lnTo>
                    <a:pt x="1333003" y="469287"/>
                  </a:lnTo>
                  <a:lnTo>
                    <a:pt x="1331565" y="468014"/>
                  </a:lnTo>
                  <a:lnTo>
                    <a:pt x="1330378" y="467872"/>
                  </a:lnTo>
                  <a:lnTo>
                    <a:pt x="1326649" y="469373"/>
                  </a:lnTo>
                  <a:lnTo>
                    <a:pt x="1324220" y="473750"/>
                  </a:lnTo>
                  <a:lnTo>
                    <a:pt x="1322363" y="475018"/>
                  </a:lnTo>
                  <a:lnTo>
                    <a:pt x="1321543" y="473956"/>
                  </a:lnTo>
                  <a:lnTo>
                    <a:pt x="1320924" y="471299"/>
                  </a:lnTo>
                  <a:lnTo>
                    <a:pt x="1320105" y="470004"/>
                  </a:lnTo>
                  <a:lnTo>
                    <a:pt x="1319084" y="470075"/>
                  </a:lnTo>
                  <a:lnTo>
                    <a:pt x="1318089" y="470784"/>
                  </a:lnTo>
                  <a:lnTo>
                    <a:pt x="1317120" y="472133"/>
                  </a:lnTo>
                  <a:lnTo>
                    <a:pt x="1315664" y="472622"/>
                  </a:lnTo>
                  <a:lnTo>
                    <a:pt x="1313720" y="472255"/>
                  </a:lnTo>
                  <a:lnTo>
                    <a:pt x="1313030" y="472914"/>
                  </a:lnTo>
                  <a:lnTo>
                    <a:pt x="1313596" y="474603"/>
                  </a:lnTo>
                  <a:lnTo>
                    <a:pt x="1313793" y="476183"/>
                  </a:lnTo>
                  <a:lnTo>
                    <a:pt x="1313621" y="477657"/>
                  </a:lnTo>
                  <a:lnTo>
                    <a:pt x="1311947" y="479082"/>
                  </a:lnTo>
                  <a:lnTo>
                    <a:pt x="1307177" y="481154"/>
                  </a:lnTo>
                  <a:lnTo>
                    <a:pt x="1304420" y="481816"/>
                  </a:lnTo>
                  <a:lnTo>
                    <a:pt x="1297176" y="482124"/>
                  </a:lnTo>
                  <a:lnTo>
                    <a:pt x="1292842" y="481506"/>
                  </a:lnTo>
                  <a:lnTo>
                    <a:pt x="1284061" y="479018"/>
                  </a:lnTo>
                  <a:lnTo>
                    <a:pt x="1279201" y="478903"/>
                  </a:lnTo>
                  <a:lnTo>
                    <a:pt x="1273348" y="474721"/>
                  </a:lnTo>
                  <a:lnTo>
                    <a:pt x="1268716" y="473754"/>
                  </a:lnTo>
                  <a:lnTo>
                    <a:pt x="1268951" y="472240"/>
                  </a:lnTo>
                  <a:lnTo>
                    <a:pt x="1270976" y="469420"/>
                  </a:lnTo>
                  <a:lnTo>
                    <a:pt x="1270911" y="468577"/>
                  </a:lnTo>
                  <a:lnTo>
                    <a:pt x="1264581" y="472687"/>
                  </a:lnTo>
                  <a:lnTo>
                    <a:pt x="1263723" y="473999"/>
                  </a:lnTo>
                  <a:lnTo>
                    <a:pt x="1264461" y="477038"/>
                  </a:lnTo>
                  <a:lnTo>
                    <a:pt x="1263621" y="477257"/>
                  </a:lnTo>
                  <a:lnTo>
                    <a:pt x="1259267" y="476164"/>
                  </a:lnTo>
                  <a:lnTo>
                    <a:pt x="1254984" y="476996"/>
                  </a:lnTo>
                  <a:lnTo>
                    <a:pt x="1253951" y="476751"/>
                  </a:lnTo>
                  <a:lnTo>
                    <a:pt x="1250992" y="474556"/>
                  </a:lnTo>
                  <a:lnTo>
                    <a:pt x="1245787" y="472322"/>
                  </a:lnTo>
                  <a:lnTo>
                    <a:pt x="1243492" y="469817"/>
                  </a:lnTo>
                  <a:lnTo>
                    <a:pt x="1239916" y="461972"/>
                  </a:lnTo>
                  <a:lnTo>
                    <a:pt x="1238100" y="456765"/>
                  </a:lnTo>
                  <a:lnTo>
                    <a:pt x="1238327" y="455699"/>
                  </a:lnTo>
                  <a:lnTo>
                    <a:pt x="1240983" y="454228"/>
                  </a:lnTo>
                  <a:lnTo>
                    <a:pt x="1240582" y="453081"/>
                  </a:lnTo>
                  <a:lnTo>
                    <a:pt x="1237272" y="450144"/>
                  </a:lnTo>
                  <a:lnTo>
                    <a:pt x="1233707" y="447670"/>
                  </a:lnTo>
                  <a:lnTo>
                    <a:pt x="1232647" y="445959"/>
                  </a:lnTo>
                  <a:lnTo>
                    <a:pt x="1232162" y="444227"/>
                  </a:lnTo>
                  <a:lnTo>
                    <a:pt x="1231688" y="441715"/>
                  </a:lnTo>
                  <a:lnTo>
                    <a:pt x="1231665" y="439856"/>
                  </a:lnTo>
                  <a:lnTo>
                    <a:pt x="1232094" y="438652"/>
                  </a:lnTo>
                  <a:lnTo>
                    <a:pt x="1234132" y="434899"/>
                  </a:lnTo>
                  <a:lnTo>
                    <a:pt x="1239716" y="428158"/>
                  </a:lnTo>
                  <a:lnTo>
                    <a:pt x="1240470" y="426929"/>
                  </a:lnTo>
                  <a:lnTo>
                    <a:pt x="1240771" y="425722"/>
                  </a:lnTo>
                  <a:lnTo>
                    <a:pt x="1240002" y="422144"/>
                  </a:lnTo>
                  <a:lnTo>
                    <a:pt x="1238920" y="418552"/>
                  </a:lnTo>
                  <a:lnTo>
                    <a:pt x="1237824" y="415979"/>
                  </a:lnTo>
                  <a:lnTo>
                    <a:pt x="1234742" y="412423"/>
                  </a:lnTo>
                  <a:lnTo>
                    <a:pt x="1230505" y="408721"/>
                  </a:lnTo>
                  <a:lnTo>
                    <a:pt x="1224542" y="402061"/>
                  </a:lnTo>
                  <a:lnTo>
                    <a:pt x="1220120" y="396867"/>
                  </a:lnTo>
                  <a:lnTo>
                    <a:pt x="1214834" y="389537"/>
                  </a:lnTo>
                  <a:lnTo>
                    <a:pt x="1212285" y="388907"/>
                  </a:lnTo>
                  <a:lnTo>
                    <a:pt x="1209336" y="389243"/>
                  </a:lnTo>
                  <a:lnTo>
                    <a:pt x="1202962" y="391769"/>
                  </a:lnTo>
                  <a:lnTo>
                    <a:pt x="1200820" y="392967"/>
                  </a:lnTo>
                  <a:lnTo>
                    <a:pt x="1200294" y="393772"/>
                  </a:lnTo>
                  <a:lnTo>
                    <a:pt x="1195549" y="393954"/>
                  </a:lnTo>
                  <a:lnTo>
                    <a:pt x="1182103" y="393292"/>
                  </a:lnTo>
                  <a:lnTo>
                    <a:pt x="1176962" y="392515"/>
                  </a:lnTo>
                  <a:lnTo>
                    <a:pt x="1173123" y="392719"/>
                  </a:lnTo>
                  <a:lnTo>
                    <a:pt x="1166533" y="394581"/>
                  </a:lnTo>
                  <a:lnTo>
                    <a:pt x="1159504" y="394230"/>
                  </a:lnTo>
                  <a:lnTo>
                    <a:pt x="1155103" y="389063"/>
                  </a:lnTo>
                  <a:lnTo>
                    <a:pt x="1145107" y="386275"/>
                  </a:lnTo>
                  <a:lnTo>
                    <a:pt x="1142124" y="384707"/>
                  </a:lnTo>
                  <a:lnTo>
                    <a:pt x="1140085" y="382566"/>
                  </a:lnTo>
                  <a:lnTo>
                    <a:pt x="1140760" y="381165"/>
                  </a:lnTo>
                  <a:lnTo>
                    <a:pt x="1146445" y="379907"/>
                  </a:lnTo>
                  <a:lnTo>
                    <a:pt x="1148807" y="378525"/>
                  </a:lnTo>
                  <a:lnTo>
                    <a:pt x="1149941" y="377405"/>
                  </a:lnTo>
                  <a:lnTo>
                    <a:pt x="1144306" y="378368"/>
                  </a:lnTo>
                  <a:lnTo>
                    <a:pt x="1141818" y="378199"/>
                  </a:lnTo>
                  <a:lnTo>
                    <a:pt x="1124871" y="371159"/>
                  </a:lnTo>
                  <a:lnTo>
                    <a:pt x="1119649" y="369915"/>
                  </a:lnTo>
                  <a:lnTo>
                    <a:pt x="1118760" y="369285"/>
                  </a:lnTo>
                  <a:lnTo>
                    <a:pt x="1118322" y="368454"/>
                  </a:lnTo>
                  <a:lnTo>
                    <a:pt x="1118332" y="367422"/>
                  </a:lnTo>
                  <a:lnTo>
                    <a:pt x="1118827" y="365869"/>
                  </a:lnTo>
                  <a:lnTo>
                    <a:pt x="1123865" y="367831"/>
                  </a:lnTo>
                  <a:lnTo>
                    <a:pt x="1126124" y="367976"/>
                  </a:lnTo>
                  <a:lnTo>
                    <a:pt x="1129651" y="367391"/>
                  </a:lnTo>
                  <a:lnTo>
                    <a:pt x="1130909" y="366164"/>
                  </a:lnTo>
                  <a:lnTo>
                    <a:pt x="1130107" y="365449"/>
                  </a:lnTo>
                  <a:lnTo>
                    <a:pt x="1124331" y="363087"/>
                  </a:lnTo>
                  <a:lnTo>
                    <a:pt x="1121538" y="361295"/>
                  </a:lnTo>
                  <a:lnTo>
                    <a:pt x="1120464" y="359989"/>
                  </a:lnTo>
                  <a:lnTo>
                    <a:pt x="1121572" y="358139"/>
                  </a:lnTo>
                  <a:lnTo>
                    <a:pt x="1121864" y="356886"/>
                  </a:lnTo>
                  <a:lnTo>
                    <a:pt x="1123719" y="356180"/>
                  </a:lnTo>
                  <a:lnTo>
                    <a:pt x="1127143" y="356024"/>
                  </a:lnTo>
                  <a:lnTo>
                    <a:pt x="1131525" y="355136"/>
                  </a:lnTo>
                  <a:lnTo>
                    <a:pt x="1139538" y="352712"/>
                  </a:lnTo>
                  <a:close/>
                  <a:moveTo>
                    <a:pt x="620997" y="325978"/>
                  </a:moveTo>
                  <a:lnTo>
                    <a:pt x="624768" y="326237"/>
                  </a:lnTo>
                  <a:lnTo>
                    <a:pt x="628666" y="327687"/>
                  </a:lnTo>
                  <a:lnTo>
                    <a:pt x="633760" y="330676"/>
                  </a:lnTo>
                  <a:lnTo>
                    <a:pt x="645342" y="335922"/>
                  </a:lnTo>
                  <a:lnTo>
                    <a:pt x="647260" y="338019"/>
                  </a:lnTo>
                  <a:lnTo>
                    <a:pt x="647397" y="338861"/>
                  </a:lnTo>
                  <a:lnTo>
                    <a:pt x="646472" y="339748"/>
                  </a:lnTo>
                  <a:lnTo>
                    <a:pt x="643499" y="341156"/>
                  </a:lnTo>
                  <a:lnTo>
                    <a:pt x="628543" y="345858"/>
                  </a:lnTo>
                  <a:lnTo>
                    <a:pt x="625616" y="348062"/>
                  </a:lnTo>
                  <a:lnTo>
                    <a:pt x="626718" y="349955"/>
                  </a:lnTo>
                  <a:lnTo>
                    <a:pt x="632110" y="353783"/>
                  </a:lnTo>
                  <a:lnTo>
                    <a:pt x="637593" y="357021"/>
                  </a:lnTo>
                  <a:lnTo>
                    <a:pt x="638779" y="358625"/>
                  </a:lnTo>
                  <a:lnTo>
                    <a:pt x="636171" y="360256"/>
                  </a:lnTo>
                  <a:lnTo>
                    <a:pt x="631180" y="359736"/>
                  </a:lnTo>
                  <a:lnTo>
                    <a:pt x="629316" y="359878"/>
                  </a:lnTo>
                  <a:lnTo>
                    <a:pt x="627555" y="360631"/>
                  </a:lnTo>
                  <a:lnTo>
                    <a:pt x="628030" y="362071"/>
                  </a:lnTo>
                  <a:lnTo>
                    <a:pt x="633552" y="366837"/>
                  </a:lnTo>
                  <a:lnTo>
                    <a:pt x="635369" y="369395"/>
                  </a:lnTo>
                  <a:lnTo>
                    <a:pt x="635325" y="370716"/>
                  </a:lnTo>
                  <a:lnTo>
                    <a:pt x="634348" y="372005"/>
                  </a:lnTo>
                  <a:lnTo>
                    <a:pt x="632031" y="373771"/>
                  </a:lnTo>
                  <a:lnTo>
                    <a:pt x="628373" y="376012"/>
                  </a:lnTo>
                  <a:lnTo>
                    <a:pt x="622106" y="377802"/>
                  </a:lnTo>
                  <a:lnTo>
                    <a:pt x="608626" y="380203"/>
                  </a:lnTo>
                  <a:lnTo>
                    <a:pt x="608181" y="382072"/>
                  </a:lnTo>
                  <a:lnTo>
                    <a:pt x="608269" y="383493"/>
                  </a:lnTo>
                  <a:lnTo>
                    <a:pt x="607943" y="386939"/>
                  </a:lnTo>
                  <a:lnTo>
                    <a:pt x="607478" y="388535"/>
                  </a:lnTo>
                  <a:lnTo>
                    <a:pt x="605874" y="391219"/>
                  </a:lnTo>
                  <a:lnTo>
                    <a:pt x="604704" y="392472"/>
                  </a:lnTo>
                  <a:lnTo>
                    <a:pt x="602684" y="393333"/>
                  </a:lnTo>
                  <a:lnTo>
                    <a:pt x="599810" y="393803"/>
                  </a:lnTo>
                  <a:lnTo>
                    <a:pt x="596121" y="393796"/>
                  </a:lnTo>
                  <a:lnTo>
                    <a:pt x="590036" y="391489"/>
                  </a:lnTo>
                  <a:lnTo>
                    <a:pt x="587272" y="390018"/>
                  </a:lnTo>
                  <a:lnTo>
                    <a:pt x="583428" y="386819"/>
                  </a:lnTo>
                  <a:lnTo>
                    <a:pt x="582738" y="384679"/>
                  </a:lnTo>
                  <a:lnTo>
                    <a:pt x="583113" y="382041"/>
                  </a:lnTo>
                  <a:lnTo>
                    <a:pt x="584127" y="377967"/>
                  </a:lnTo>
                  <a:lnTo>
                    <a:pt x="585798" y="373794"/>
                  </a:lnTo>
                  <a:lnTo>
                    <a:pt x="588129" y="369518"/>
                  </a:lnTo>
                  <a:lnTo>
                    <a:pt x="588817" y="366850"/>
                  </a:lnTo>
                  <a:lnTo>
                    <a:pt x="587867" y="365799"/>
                  </a:lnTo>
                  <a:lnTo>
                    <a:pt x="586272" y="365746"/>
                  </a:lnTo>
                  <a:lnTo>
                    <a:pt x="581312" y="367481"/>
                  </a:lnTo>
                  <a:lnTo>
                    <a:pt x="578109" y="368111"/>
                  </a:lnTo>
                  <a:lnTo>
                    <a:pt x="575628" y="369372"/>
                  </a:lnTo>
                  <a:lnTo>
                    <a:pt x="573871" y="371262"/>
                  </a:lnTo>
                  <a:lnTo>
                    <a:pt x="572876" y="373307"/>
                  </a:lnTo>
                  <a:lnTo>
                    <a:pt x="572321" y="377231"/>
                  </a:lnTo>
                  <a:lnTo>
                    <a:pt x="571380" y="379373"/>
                  </a:lnTo>
                  <a:lnTo>
                    <a:pt x="568704" y="380540"/>
                  </a:lnTo>
                  <a:lnTo>
                    <a:pt x="564701" y="380520"/>
                  </a:lnTo>
                  <a:lnTo>
                    <a:pt x="563183" y="381184"/>
                  </a:lnTo>
                  <a:lnTo>
                    <a:pt x="562439" y="382612"/>
                  </a:lnTo>
                  <a:lnTo>
                    <a:pt x="562976" y="383773"/>
                  </a:lnTo>
                  <a:lnTo>
                    <a:pt x="566923" y="386203"/>
                  </a:lnTo>
                  <a:lnTo>
                    <a:pt x="567415" y="388915"/>
                  </a:lnTo>
                  <a:lnTo>
                    <a:pt x="566936" y="390550"/>
                  </a:lnTo>
                  <a:lnTo>
                    <a:pt x="562671" y="393566"/>
                  </a:lnTo>
                  <a:lnTo>
                    <a:pt x="561669" y="394575"/>
                  </a:lnTo>
                  <a:lnTo>
                    <a:pt x="559024" y="399285"/>
                  </a:lnTo>
                  <a:lnTo>
                    <a:pt x="558048" y="400475"/>
                  </a:lnTo>
                  <a:lnTo>
                    <a:pt x="555847" y="401560"/>
                  </a:lnTo>
                  <a:lnTo>
                    <a:pt x="553628" y="401432"/>
                  </a:lnTo>
                  <a:lnTo>
                    <a:pt x="551574" y="399714"/>
                  </a:lnTo>
                  <a:lnTo>
                    <a:pt x="548565" y="396459"/>
                  </a:lnTo>
                  <a:lnTo>
                    <a:pt x="546539" y="393655"/>
                  </a:lnTo>
                  <a:lnTo>
                    <a:pt x="545499" y="391303"/>
                  </a:lnTo>
                  <a:lnTo>
                    <a:pt x="544614" y="390256"/>
                  </a:lnTo>
                  <a:lnTo>
                    <a:pt x="543178" y="390978"/>
                  </a:lnTo>
                  <a:lnTo>
                    <a:pt x="541440" y="393420"/>
                  </a:lnTo>
                  <a:lnTo>
                    <a:pt x="541393" y="395314"/>
                  </a:lnTo>
                  <a:lnTo>
                    <a:pt x="541771" y="398125"/>
                  </a:lnTo>
                  <a:lnTo>
                    <a:pt x="541675" y="399858"/>
                  </a:lnTo>
                  <a:lnTo>
                    <a:pt x="539140" y="401891"/>
                  </a:lnTo>
                  <a:lnTo>
                    <a:pt x="539505" y="402817"/>
                  </a:lnTo>
                  <a:lnTo>
                    <a:pt x="543956" y="405312"/>
                  </a:lnTo>
                  <a:lnTo>
                    <a:pt x="544527" y="406430"/>
                  </a:lnTo>
                  <a:lnTo>
                    <a:pt x="544553" y="408163"/>
                  </a:lnTo>
                  <a:lnTo>
                    <a:pt x="544259" y="408945"/>
                  </a:lnTo>
                  <a:lnTo>
                    <a:pt x="542479" y="408820"/>
                  </a:lnTo>
                  <a:lnTo>
                    <a:pt x="540978" y="410823"/>
                  </a:lnTo>
                  <a:lnTo>
                    <a:pt x="539262" y="412409"/>
                  </a:lnTo>
                  <a:lnTo>
                    <a:pt x="534747" y="415342"/>
                  </a:lnTo>
                  <a:lnTo>
                    <a:pt x="528467" y="415699"/>
                  </a:lnTo>
                  <a:lnTo>
                    <a:pt x="523273" y="417107"/>
                  </a:lnTo>
                  <a:lnTo>
                    <a:pt x="522169" y="417061"/>
                  </a:lnTo>
                  <a:lnTo>
                    <a:pt x="520917" y="414756"/>
                  </a:lnTo>
                  <a:lnTo>
                    <a:pt x="519509" y="410182"/>
                  </a:lnTo>
                  <a:lnTo>
                    <a:pt x="518256" y="407579"/>
                  </a:lnTo>
                  <a:lnTo>
                    <a:pt x="516382" y="406249"/>
                  </a:lnTo>
                  <a:lnTo>
                    <a:pt x="514061" y="401038"/>
                  </a:lnTo>
                  <a:lnTo>
                    <a:pt x="512973" y="399357"/>
                  </a:lnTo>
                  <a:lnTo>
                    <a:pt x="511913" y="398678"/>
                  </a:lnTo>
                  <a:lnTo>
                    <a:pt x="511026" y="398503"/>
                  </a:lnTo>
                  <a:lnTo>
                    <a:pt x="509715" y="399507"/>
                  </a:lnTo>
                  <a:lnTo>
                    <a:pt x="506692" y="406964"/>
                  </a:lnTo>
                  <a:lnTo>
                    <a:pt x="501768" y="408865"/>
                  </a:lnTo>
                  <a:lnTo>
                    <a:pt x="499063" y="409213"/>
                  </a:lnTo>
                  <a:lnTo>
                    <a:pt x="496329" y="409000"/>
                  </a:lnTo>
                  <a:lnTo>
                    <a:pt x="489571" y="406962"/>
                  </a:lnTo>
                  <a:lnTo>
                    <a:pt x="484152" y="406211"/>
                  </a:lnTo>
                  <a:lnTo>
                    <a:pt x="480369" y="407072"/>
                  </a:lnTo>
                  <a:lnTo>
                    <a:pt x="474148" y="410106"/>
                  </a:lnTo>
                  <a:lnTo>
                    <a:pt x="471670" y="410915"/>
                  </a:lnTo>
                  <a:lnTo>
                    <a:pt x="468308" y="410567"/>
                  </a:lnTo>
                  <a:lnTo>
                    <a:pt x="466837" y="409421"/>
                  </a:lnTo>
                  <a:lnTo>
                    <a:pt x="465585" y="407546"/>
                  </a:lnTo>
                  <a:lnTo>
                    <a:pt x="465446" y="406406"/>
                  </a:lnTo>
                  <a:lnTo>
                    <a:pt x="466424" y="406008"/>
                  </a:lnTo>
                  <a:lnTo>
                    <a:pt x="467974" y="403829"/>
                  </a:lnTo>
                  <a:lnTo>
                    <a:pt x="467925" y="402954"/>
                  </a:lnTo>
                  <a:lnTo>
                    <a:pt x="466392" y="401697"/>
                  </a:lnTo>
                  <a:lnTo>
                    <a:pt x="466371" y="400715"/>
                  </a:lnTo>
                  <a:lnTo>
                    <a:pt x="466918" y="400052"/>
                  </a:lnTo>
                  <a:lnTo>
                    <a:pt x="466796" y="399578"/>
                  </a:lnTo>
                  <a:lnTo>
                    <a:pt x="466004" y="399295"/>
                  </a:lnTo>
                  <a:lnTo>
                    <a:pt x="464464" y="399560"/>
                  </a:lnTo>
                  <a:lnTo>
                    <a:pt x="458934" y="401005"/>
                  </a:lnTo>
                  <a:lnTo>
                    <a:pt x="459555" y="399435"/>
                  </a:lnTo>
                  <a:lnTo>
                    <a:pt x="462198" y="396151"/>
                  </a:lnTo>
                  <a:lnTo>
                    <a:pt x="468656" y="389581"/>
                  </a:lnTo>
                  <a:lnTo>
                    <a:pt x="471098" y="387644"/>
                  </a:lnTo>
                  <a:lnTo>
                    <a:pt x="472560" y="387059"/>
                  </a:lnTo>
                  <a:lnTo>
                    <a:pt x="491619" y="384946"/>
                  </a:lnTo>
                  <a:lnTo>
                    <a:pt x="492953" y="384314"/>
                  </a:lnTo>
                  <a:lnTo>
                    <a:pt x="502011" y="375427"/>
                  </a:lnTo>
                  <a:lnTo>
                    <a:pt x="504595" y="373389"/>
                  </a:lnTo>
                  <a:lnTo>
                    <a:pt x="507243" y="371766"/>
                  </a:lnTo>
                  <a:lnTo>
                    <a:pt x="520231" y="366376"/>
                  </a:lnTo>
                  <a:lnTo>
                    <a:pt x="521441" y="365143"/>
                  </a:lnTo>
                  <a:lnTo>
                    <a:pt x="523469" y="361402"/>
                  </a:lnTo>
                  <a:lnTo>
                    <a:pt x="524653" y="360462"/>
                  </a:lnTo>
                  <a:lnTo>
                    <a:pt x="527458" y="359038"/>
                  </a:lnTo>
                  <a:lnTo>
                    <a:pt x="536819" y="351439"/>
                  </a:lnTo>
                  <a:lnTo>
                    <a:pt x="545347" y="345929"/>
                  </a:lnTo>
                  <a:lnTo>
                    <a:pt x="549679" y="342510"/>
                  </a:lnTo>
                  <a:lnTo>
                    <a:pt x="555608" y="339053"/>
                  </a:lnTo>
                  <a:lnTo>
                    <a:pt x="562458" y="337567"/>
                  </a:lnTo>
                  <a:lnTo>
                    <a:pt x="583119" y="334958"/>
                  </a:lnTo>
                  <a:lnTo>
                    <a:pt x="597993" y="338391"/>
                  </a:lnTo>
                  <a:lnTo>
                    <a:pt x="601530" y="338607"/>
                  </a:lnTo>
                  <a:lnTo>
                    <a:pt x="603262" y="337636"/>
                  </a:lnTo>
                  <a:lnTo>
                    <a:pt x="604829" y="336054"/>
                  </a:lnTo>
                  <a:lnTo>
                    <a:pt x="607051" y="336718"/>
                  </a:lnTo>
                  <a:lnTo>
                    <a:pt x="612573" y="337199"/>
                  </a:lnTo>
                  <a:lnTo>
                    <a:pt x="613797" y="336821"/>
                  </a:lnTo>
                  <a:lnTo>
                    <a:pt x="616122" y="335027"/>
                  </a:lnTo>
                  <a:lnTo>
                    <a:pt x="614533" y="334041"/>
                  </a:lnTo>
                  <a:lnTo>
                    <a:pt x="607851" y="332228"/>
                  </a:lnTo>
                  <a:lnTo>
                    <a:pt x="607446" y="331306"/>
                  </a:lnTo>
                  <a:lnTo>
                    <a:pt x="607599" y="330434"/>
                  </a:lnTo>
                  <a:lnTo>
                    <a:pt x="609946" y="328343"/>
                  </a:lnTo>
                  <a:lnTo>
                    <a:pt x="612783" y="326993"/>
                  </a:lnTo>
                  <a:close/>
                  <a:moveTo>
                    <a:pt x="1271865" y="320164"/>
                  </a:moveTo>
                  <a:lnTo>
                    <a:pt x="1276119" y="320508"/>
                  </a:lnTo>
                  <a:lnTo>
                    <a:pt x="1282510" y="321607"/>
                  </a:lnTo>
                  <a:lnTo>
                    <a:pt x="1288871" y="323431"/>
                  </a:lnTo>
                  <a:lnTo>
                    <a:pt x="1297313" y="329016"/>
                  </a:lnTo>
                  <a:lnTo>
                    <a:pt x="1300343" y="331674"/>
                  </a:lnTo>
                  <a:lnTo>
                    <a:pt x="1300984" y="335123"/>
                  </a:lnTo>
                  <a:lnTo>
                    <a:pt x="1300974" y="337231"/>
                  </a:lnTo>
                  <a:lnTo>
                    <a:pt x="1300532" y="338766"/>
                  </a:lnTo>
                  <a:lnTo>
                    <a:pt x="1299653" y="339724"/>
                  </a:lnTo>
                  <a:lnTo>
                    <a:pt x="1297458" y="341064"/>
                  </a:lnTo>
                  <a:lnTo>
                    <a:pt x="1290829" y="344134"/>
                  </a:lnTo>
                  <a:lnTo>
                    <a:pt x="1287441" y="344024"/>
                  </a:lnTo>
                  <a:lnTo>
                    <a:pt x="1268046" y="337740"/>
                  </a:lnTo>
                  <a:lnTo>
                    <a:pt x="1264140" y="334629"/>
                  </a:lnTo>
                  <a:lnTo>
                    <a:pt x="1263396" y="332530"/>
                  </a:lnTo>
                  <a:lnTo>
                    <a:pt x="1263181" y="329548"/>
                  </a:lnTo>
                  <a:lnTo>
                    <a:pt x="1263242" y="325461"/>
                  </a:lnTo>
                  <a:lnTo>
                    <a:pt x="1264084" y="322707"/>
                  </a:lnTo>
                  <a:lnTo>
                    <a:pt x="1265107" y="321749"/>
                  </a:lnTo>
                  <a:lnTo>
                    <a:pt x="1267391" y="320765"/>
                  </a:lnTo>
                  <a:close/>
                  <a:moveTo>
                    <a:pt x="891002" y="314765"/>
                  </a:moveTo>
                  <a:lnTo>
                    <a:pt x="897977" y="315766"/>
                  </a:lnTo>
                  <a:lnTo>
                    <a:pt x="901319" y="317670"/>
                  </a:lnTo>
                  <a:lnTo>
                    <a:pt x="905540" y="320862"/>
                  </a:lnTo>
                  <a:lnTo>
                    <a:pt x="911011" y="325941"/>
                  </a:lnTo>
                  <a:lnTo>
                    <a:pt x="912701" y="328187"/>
                  </a:lnTo>
                  <a:lnTo>
                    <a:pt x="913029" y="331269"/>
                  </a:lnTo>
                  <a:lnTo>
                    <a:pt x="914016" y="332937"/>
                  </a:lnTo>
                  <a:lnTo>
                    <a:pt x="918710" y="333232"/>
                  </a:lnTo>
                  <a:lnTo>
                    <a:pt x="924491" y="337296"/>
                  </a:lnTo>
                  <a:lnTo>
                    <a:pt x="925542" y="338866"/>
                  </a:lnTo>
                  <a:lnTo>
                    <a:pt x="926736" y="342057"/>
                  </a:lnTo>
                  <a:lnTo>
                    <a:pt x="926653" y="343575"/>
                  </a:lnTo>
                  <a:lnTo>
                    <a:pt x="925730" y="346707"/>
                  </a:lnTo>
                  <a:lnTo>
                    <a:pt x="924087" y="347810"/>
                  </a:lnTo>
                  <a:lnTo>
                    <a:pt x="920202" y="348761"/>
                  </a:lnTo>
                  <a:lnTo>
                    <a:pt x="912489" y="346588"/>
                  </a:lnTo>
                  <a:lnTo>
                    <a:pt x="907430" y="345651"/>
                  </a:lnTo>
                  <a:lnTo>
                    <a:pt x="903250" y="341782"/>
                  </a:lnTo>
                  <a:lnTo>
                    <a:pt x="898776" y="336496"/>
                  </a:lnTo>
                  <a:lnTo>
                    <a:pt x="895258" y="330636"/>
                  </a:lnTo>
                  <a:lnTo>
                    <a:pt x="893937" y="327180"/>
                  </a:lnTo>
                  <a:lnTo>
                    <a:pt x="891378" y="325122"/>
                  </a:lnTo>
                  <a:lnTo>
                    <a:pt x="890490" y="321707"/>
                  </a:lnTo>
                  <a:lnTo>
                    <a:pt x="885851" y="316342"/>
                  </a:lnTo>
                  <a:lnTo>
                    <a:pt x="886625" y="315556"/>
                  </a:lnTo>
                  <a:close/>
                  <a:moveTo>
                    <a:pt x="1154166" y="312719"/>
                  </a:moveTo>
                  <a:lnTo>
                    <a:pt x="1160538" y="314797"/>
                  </a:lnTo>
                  <a:lnTo>
                    <a:pt x="1167465" y="313695"/>
                  </a:lnTo>
                  <a:lnTo>
                    <a:pt x="1174896" y="313578"/>
                  </a:lnTo>
                  <a:lnTo>
                    <a:pt x="1191431" y="314464"/>
                  </a:lnTo>
                  <a:lnTo>
                    <a:pt x="1202381" y="313875"/>
                  </a:lnTo>
                  <a:lnTo>
                    <a:pt x="1205216" y="314226"/>
                  </a:lnTo>
                  <a:lnTo>
                    <a:pt x="1209529" y="315558"/>
                  </a:lnTo>
                  <a:lnTo>
                    <a:pt x="1211817" y="317166"/>
                  </a:lnTo>
                  <a:lnTo>
                    <a:pt x="1213898" y="319883"/>
                  </a:lnTo>
                  <a:lnTo>
                    <a:pt x="1208561" y="321535"/>
                  </a:lnTo>
                  <a:lnTo>
                    <a:pt x="1203986" y="329933"/>
                  </a:lnTo>
                  <a:lnTo>
                    <a:pt x="1203368" y="330351"/>
                  </a:lnTo>
                  <a:lnTo>
                    <a:pt x="1198393" y="330465"/>
                  </a:lnTo>
                  <a:lnTo>
                    <a:pt x="1195958" y="331129"/>
                  </a:lnTo>
                  <a:lnTo>
                    <a:pt x="1181434" y="329943"/>
                  </a:lnTo>
                  <a:lnTo>
                    <a:pt x="1141420" y="329408"/>
                  </a:lnTo>
                  <a:lnTo>
                    <a:pt x="1139669" y="328364"/>
                  </a:lnTo>
                  <a:lnTo>
                    <a:pt x="1134401" y="323439"/>
                  </a:lnTo>
                  <a:lnTo>
                    <a:pt x="1134078" y="321487"/>
                  </a:lnTo>
                  <a:lnTo>
                    <a:pt x="1135027" y="319210"/>
                  </a:lnTo>
                  <a:lnTo>
                    <a:pt x="1136158" y="317691"/>
                  </a:lnTo>
                  <a:lnTo>
                    <a:pt x="1137466" y="316940"/>
                  </a:lnTo>
                  <a:lnTo>
                    <a:pt x="1149106" y="313248"/>
                  </a:lnTo>
                  <a:close/>
                  <a:moveTo>
                    <a:pt x="991036" y="306854"/>
                  </a:moveTo>
                  <a:lnTo>
                    <a:pt x="998096" y="307265"/>
                  </a:lnTo>
                  <a:lnTo>
                    <a:pt x="1006144" y="309334"/>
                  </a:lnTo>
                  <a:lnTo>
                    <a:pt x="1009409" y="310661"/>
                  </a:lnTo>
                  <a:lnTo>
                    <a:pt x="1011073" y="311598"/>
                  </a:lnTo>
                  <a:lnTo>
                    <a:pt x="1013136" y="313490"/>
                  </a:lnTo>
                  <a:lnTo>
                    <a:pt x="1013813" y="314327"/>
                  </a:lnTo>
                  <a:lnTo>
                    <a:pt x="1014257" y="315813"/>
                  </a:lnTo>
                  <a:lnTo>
                    <a:pt x="1004226" y="316142"/>
                  </a:lnTo>
                  <a:lnTo>
                    <a:pt x="999487" y="316726"/>
                  </a:lnTo>
                  <a:lnTo>
                    <a:pt x="996723" y="317906"/>
                  </a:lnTo>
                  <a:lnTo>
                    <a:pt x="993237" y="318407"/>
                  </a:lnTo>
                  <a:lnTo>
                    <a:pt x="986928" y="318144"/>
                  </a:lnTo>
                  <a:lnTo>
                    <a:pt x="979372" y="316193"/>
                  </a:lnTo>
                  <a:lnTo>
                    <a:pt x="977334" y="313907"/>
                  </a:lnTo>
                  <a:lnTo>
                    <a:pt x="976907" y="310287"/>
                  </a:lnTo>
                  <a:lnTo>
                    <a:pt x="976996" y="308279"/>
                  </a:lnTo>
                  <a:lnTo>
                    <a:pt x="977601" y="307891"/>
                  </a:lnTo>
                  <a:lnTo>
                    <a:pt x="982279" y="307414"/>
                  </a:lnTo>
                  <a:close/>
                  <a:moveTo>
                    <a:pt x="676299" y="297118"/>
                  </a:moveTo>
                  <a:lnTo>
                    <a:pt x="677149" y="297906"/>
                  </a:lnTo>
                  <a:lnTo>
                    <a:pt x="676997" y="299575"/>
                  </a:lnTo>
                  <a:lnTo>
                    <a:pt x="677581" y="301132"/>
                  </a:lnTo>
                  <a:lnTo>
                    <a:pt x="680088" y="301463"/>
                  </a:lnTo>
                  <a:lnTo>
                    <a:pt x="682465" y="302574"/>
                  </a:lnTo>
                  <a:lnTo>
                    <a:pt x="687269" y="305982"/>
                  </a:lnTo>
                  <a:lnTo>
                    <a:pt x="690559" y="306638"/>
                  </a:lnTo>
                  <a:lnTo>
                    <a:pt x="691741" y="307383"/>
                  </a:lnTo>
                  <a:lnTo>
                    <a:pt x="692367" y="308527"/>
                  </a:lnTo>
                  <a:lnTo>
                    <a:pt x="694365" y="310517"/>
                  </a:lnTo>
                  <a:lnTo>
                    <a:pt x="694328" y="311549"/>
                  </a:lnTo>
                  <a:lnTo>
                    <a:pt x="691629" y="313602"/>
                  </a:lnTo>
                  <a:lnTo>
                    <a:pt x="688925" y="314751"/>
                  </a:lnTo>
                  <a:lnTo>
                    <a:pt x="681990" y="316596"/>
                  </a:lnTo>
                  <a:lnTo>
                    <a:pt x="677394" y="316553"/>
                  </a:lnTo>
                  <a:lnTo>
                    <a:pt x="669250" y="313953"/>
                  </a:lnTo>
                  <a:lnTo>
                    <a:pt x="659816" y="305990"/>
                  </a:lnTo>
                  <a:lnTo>
                    <a:pt x="658576" y="303143"/>
                  </a:lnTo>
                  <a:lnTo>
                    <a:pt x="662098" y="302630"/>
                  </a:lnTo>
                  <a:lnTo>
                    <a:pt x="664658" y="301754"/>
                  </a:lnTo>
                  <a:lnTo>
                    <a:pt x="666256" y="300517"/>
                  </a:lnTo>
                  <a:lnTo>
                    <a:pt x="669288" y="299158"/>
                  </a:lnTo>
                  <a:close/>
                  <a:moveTo>
                    <a:pt x="774487" y="295709"/>
                  </a:moveTo>
                  <a:lnTo>
                    <a:pt x="794802" y="297026"/>
                  </a:lnTo>
                  <a:lnTo>
                    <a:pt x="795679" y="297272"/>
                  </a:lnTo>
                  <a:lnTo>
                    <a:pt x="795762" y="298254"/>
                  </a:lnTo>
                  <a:lnTo>
                    <a:pt x="794231" y="301405"/>
                  </a:lnTo>
                  <a:lnTo>
                    <a:pt x="791888" y="303696"/>
                  </a:lnTo>
                  <a:lnTo>
                    <a:pt x="781042" y="306569"/>
                  </a:lnTo>
                  <a:lnTo>
                    <a:pt x="767056" y="309166"/>
                  </a:lnTo>
                  <a:lnTo>
                    <a:pt x="764152" y="310425"/>
                  </a:lnTo>
                  <a:lnTo>
                    <a:pt x="764383" y="311175"/>
                  </a:lnTo>
                  <a:lnTo>
                    <a:pt x="765522" y="312111"/>
                  </a:lnTo>
                  <a:lnTo>
                    <a:pt x="767861" y="313294"/>
                  </a:lnTo>
                  <a:lnTo>
                    <a:pt x="778693" y="313026"/>
                  </a:lnTo>
                  <a:lnTo>
                    <a:pt x="781304" y="313536"/>
                  </a:lnTo>
                  <a:lnTo>
                    <a:pt x="782229" y="314301"/>
                  </a:lnTo>
                  <a:lnTo>
                    <a:pt x="782783" y="315418"/>
                  </a:lnTo>
                  <a:lnTo>
                    <a:pt x="783120" y="316875"/>
                  </a:lnTo>
                  <a:lnTo>
                    <a:pt x="783137" y="321805"/>
                  </a:lnTo>
                  <a:lnTo>
                    <a:pt x="782565" y="324652"/>
                  </a:lnTo>
                  <a:lnTo>
                    <a:pt x="781069" y="327227"/>
                  </a:lnTo>
                  <a:lnTo>
                    <a:pt x="776680" y="329058"/>
                  </a:lnTo>
                  <a:lnTo>
                    <a:pt x="768786" y="331472"/>
                  </a:lnTo>
                  <a:lnTo>
                    <a:pt x="763433" y="332545"/>
                  </a:lnTo>
                  <a:lnTo>
                    <a:pt x="759212" y="332159"/>
                  </a:lnTo>
                  <a:lnTo>
                    <a:pt x="755009" y="332409"/>
                  </a:lnTo>
                  <a:lnTo>
                    <a:pt x="736607" y="336950"/>
                  </a:lnTo>
                  <a:lnTo>
                    <a:pt x="730914" y="336974"/>
                  </a:lnTo>
                  <a:lnTo>
                    <a:pt x="725939" y="335878"/>
                  </a:lnTo>
                  <a:lnTo>
                    <a:pt x="719065" y="331590"/>
                  </a:lnTo>
                  <a:lnTo>
                    <a:pt x="711919" y="329904"/>
                  </a:lnTo>
                  <a:lnTo>
                    <a:pt x="708865" y="327971"/>
                  </a:lnTo>
                  <a:lnTo>
                    <a:pt x="705865" y="326916"/>
                  </a:lnTo>
                  <a:lnTo>
                    <a:pt x="705035" y="325371"/>
                  </a:lnTo>
                  <a:lnTo>
                    <a:pt x="704745" y="324217"/>
                  </a:lnTo>
                  <a:lnTo>
                    <a:pt x="705250" y="323156"/>
                  </a:lnTo>
                  <a:lnTo>
                    <a:pt x="706548" y="322194"/>
                  </a:lnTo>
                  <a:lnTo>
                    <a:pt x="706974" y="321376"/>
                  </a:lnTo>
                  <a:lnTo>
                    <a:pt x="705779" y="318998"/>
                  </a:lnTo>
                  <a:lnTo>
                    <a:pt x="705227" y="316726"/>
                  </a:lnTo>
                  <a:lnTo>
                    <a:pt x="703154" y="313458"/>
                  </a:lnTo>
                  <a:lnTo>
                    <a:pt x="702846" y="311574"/>
                  </a:lnTo>
                  <a:lnTo>
                    <a:pt x="702858" y="310342"/>
                  </a:lnTo>
                  <a:lnTo>
                    <a:pt x="703204" y="309012"/>
                  </a:lnTo>
                  <a:lnTo>
                    <a:pt x="704576" y="306641"/>
                  </a:lnTo>
                  <a:lnTo>
                    <a:pt x="705289" y="306158"/>
                  </a:lnTo>
                  <a:lnTo>
                    <a:pt x="709484" y="305788"/>
                  </a:lnTo>
                  <a:lnTo>
                    <a:pt x="714988" y="304561"/>
                  </a:lnTo>
                  <a:lnTo>
                    <a:pt x="727666" y="300995"/>
                  </a:lnTo>
                  <a:lnTo>
                    <a:pt x="755507" y="296538"/>
                  </a:lnTo>
                  <a:lnTo>
                    <a:pt x="763960" y="296950"/>
                  </a:lnTo>
                  <a:lnTo>
                    <a:pt x="767659" y="296075"/>
                  </a:lnTo>
                  <a:close/>
                  <a:moveTo>
                    <a:pt x="966341" y="286468"/>
                  </a:moveTo>
                  <a:lnTo>
                    <a:pt x="968021" y="287637"/>
                  </a:lnTo>
                  <a:lnTo>
                    <a:pt x="968966" y="289392"/>
                  </a:lnTo>
                  <a:lnTo>
                    <a:pt x="963512" y="293337"/>
                  </a:lnTo>
                  <a:lnTo>
                    <a:pt x="960600" y="294440"/>
                  </a:lnTo>
                  <a:lnTo>
                    <a:pt x="957201" y="293793"/>
                  </a:lnTo>
                  <a:lnTo>
                    <a:pt x="956725" y="293106"/>
                  </a:lnTo>
                  <a:lnTo>
                    <a:pt x="956660" y="292275"/>
                  </a:lnTo>
                  <a:lnTo>
                    <a:pt x="957003" y="291300"/>
                  </a:lnTo>
                  <a:lnTo>
                    <a:pt x="960796" y="287867"/>
                  </a:lnTo>
                  <a:lnTo>
                    <a:pt x="964274" y="286689"/>
                  </a:lnTo>
                  <a:close/>
                  <a:moveTo>
                    <a:pt x="770430" y="259466"/>
                  </a:moveTo>
                  <a:lnTo>
                    <a:pt x="775762" y="259531"/>
                  </a:lnTo>
                  <a:lnTo>
                    <a:pt x="782540" y="262445"/>
                  </a:lnTo>
                  <a:lnTo>
                    <a:pt x="787601" y="263894"/>
                  </a:lnTo>
                  <a:lnTo>
                    <a:pt x="790769" y="265458"/>
                  </a:lnTo>
                  <a:lnTo>
                    <a:pt x="795206" y="268703"/>
                  </a:lnTo>
                  <a:lnTo>
                    <a:pt x="796730" y="268638"/>
                  </a:lnTo>
                  <a:lnTo>
                    <a:pt x="798675" y="269237"/>
                  </a:lnTo>
                  <a:lnTo>
                    <a:pt x="799610" y="270087"/>
                  </a:lnTo>
                  <a:lnTo>
                    <a:pt x="802275" y="274213"/>
                  </a:lnTo>
                  <a:lnTo>
                    <a:pt x="802783" y="276257"/>
                  </a:lnTo>
                  <a:lnTo>
                    <a:pt x="802938" y="278889"/>
                  </a:lnTo>
                  <a:lnTo>
                    <a:pt x="802531" y="281091"/>
                  </a:lnTo>
                  <a:lnTo>
                    <a:pt x="801557" y="282858"/>
                  </a:lnTo>
                  <a:lnTo>
                    <a:pt x="799174" y="283978"/>
                  </a:lnTo>
                  <a:lnTo>
                    <a:pt x="793486" y="284675"/>
                  </a:lnTo>
                  <a:lnTo>
                    <a:pt x="785548" y="283624"/>
                  </a:lnTo>
                  <a:lnTo>
                    <a:pt x="778662" y="284982"/>
                  </a:lnTo>
                  <a:lnTo>
                    <a:pt x="775494" y="285160"/>
                  </a:lnTo>
                  <a:lnTo>
                    <a:pt x="766956" y="284289"/>
                  </a:lnTo>
                  <a:lnTo>
                    <a:pt x="764802" y="283651"/>
                  </a:lnTo>
                  <a:lnTo>
                    <a:pt x="760068" y="281147"/>
                  </a:lnTo>
                  <a:lnTo>
                    <a:pt x="756457" y="280116"/>
                  </a:lnTo>
                  <a:lnTo>
                    <a:pt x="754939" y="280667"/>
                  </a:lnTo>
                  <a:lnTo>
                    <a:pt x="753127" y="282864"/>
                  </a:lnTo>
                  <a:lnTo>
                    <a:pt x="749715" y="285580"/>
                  </a:lnTo>
                  <a:lnTo>
                    <a:pt x="747625" y="286278"/>
                  </a:lnTo>
                  <a:lnTo>
                    <a:pt x="741483" y="285823"/>
                  </a:lnTo>
                  <a:lnTo>
                    <a:pt x="732061" y="281233"/>
                  </a:lnTo>
                  <a:lnTo>
                    <a:pt x="721245" y="282591"/>
                  </a:lnTo>
                  <a:lnTo>
                    <a:pt x="710036" y="285273"/>
                  </a:lnTo>
                  <a:lnTo>
                    <a:pt x="705659" y="285777"/>
                  </a:lnTo>
                  <a:lnTo>
                    <a:pt x="704378" y="284998"/>
                  </a:lnTo>
                  <a:lnTo>
                    <a:pt x="702615" y="282986"/>
                  </a:lnTo>
                  <a:lnTo>
                    <a:pt x="702891" y="281968"/>
                  </a:lnTo>
                  <a:lnTo>
                    <a:pt x="706231" y="278893"/>
                  </a:lnTo>
                  <a:lnTo>
                    <a:pt x="713689" y="275656"/>
                  </a:lnTo>
                  <a:lnTo>
                    <a:pt x="719141" y="273829"/>
                  </a:lnTo>
                  <a:lnTo>
                    <a:pt x="729963" y="271164"/>
                  </a:lnTo>
                  <a:lnTo>
                    <a:pt x="742774" y="269669"/>
                  </a:lnTo>
                  <a:lnTo>
                    <a:pt x="747564" y="268084"/>
                  </a:lnTo>
                  <a:lnTo>
                    <a:pt x="750595" y="265811"/>
                  </a:lnTo>
                  <a:lnTo>
                    <a:pt x="758933" y="262224"/>
                  </a:lnTo>
                  <a:lnTo>
                    <a:pt x="763849" y="260737"/>
                  </a:lnTo>
                  <a:close/>
                  <a:moveTo>
                    <a:pt x="1089291" y="256815"/>
                  </a:moveTo>
                  <a:lnTo>
                    <a:pt x="1100626" y="257343"/>
                  </a:lnTo>
                  <a:lnTo>
                    <a:pt x="1106040" y="258063"/>
                  </a:lnTo>
                  <a:lnTo>
                    <a:pt x="1111441" y="259474"/>
                  </a:lnTo>
                  <a:lnTo>
                    <a:pt x="1117363" y="261562"/>
                  </a:lnTo>
                  <a:lnTo>
                    <a:pt x="1126205" y="263412"/>
                  </a:lnTo>
                  <a:lnTo>
                    <a:pt x="1129039" y="264633"/>
                  </a:lnTo>
                  <a:lnTo>
                    <a:pt x="1134364" y="268521"/>
                  </a:lnTo>
                  <a:lnTo>
                    <a:pt x="1134939" y="269753"/>
                  </a:lnTo>
                  <a:lnTo>
                    <a:pt x="1134588" y="270979"/>
                  </a:lnTo>
                  <a:lnTo>
                    <a:pt x="1135907" y="272081"/>
                  </a:lnTo>
                  <a:lnTo>
                    <a:pt x="1141891" y="273533"/>
                  </a:lnTo>
                  <a:lnTo>
                    <a:pt x="1152220" y="272897"/>
                  </a:lnTo>
                  <a:lnTo>
                    <a:pt x="1155977" y="273953"/>
                  </a:lnTo>
                  <a:lnTo>
                    <a:pt x="1165656" y="277682"/>
                  </a:lnTo>
                  <a:lnTo>
                    <a:pt x="1168594" y="279881"/>
                  </a:lnTo>
                  <a:lnTo>
                    <a:pt x="1169295" y="281542"/>
                  </a:lnTo>
                  <a:lnTo>
                    <a:pt x="1169310" y="282386"/>
                  </a:lnTo>
                  <a:lnTo>
                    <a:pt x="1166096" y="284187"/>
                  </a:lnTo>
                  <a:lnTo>
                    <a:pt x="1159655" y="286941"/>
                  </a:lnTo>
                  <a:lnTo>
                    <a:pt x="1158099" y="289012"/>
                  </a:lnTo>
                  <a:lnTo>
                    <a:pt x="1163843" y="291597"/>
                  </a:lnTo>
                  <a:lnTo>
                    <a:pt x="1166757" y="293895"/>
                  </a:lnTo>
                  <a:lnTo>
                    <a:pt x="1168070" y="295536"/>
                  </a:lnTo>
                  <a:lnTo>
                    <a:pt x="1168115" y="297223"/>
                  </a:lnTo>
                  <a:lnTo>
                    <a:pt x="1164241" y="301771"/>
                  </a:lnTo>
                  <a:lnTo>
                    <a:pt x="1161400" y="303109"/>
                  </a:lnTo>
                  <a:lnTo>
                    <a:pt x="1157053" y="302964"/>
                  </a:lnTo>
                  <a:lnTo>
                    <a:pt x="1154997" y="303378"/>
                  </a:lnTo>
                  <a:lnTo>
                    <a:pt x="1149439" y="305497"/>
                  </a:lnTo>
                  <a:lnTo>
                    <a:pt x="1140799" y="307520"/>
                  </a:lnTo>
                  <a:lnTo>
                    <a:pt x="1129000" y="308352"/>
                  </a:lnTo>
                  <a:lnTo>
                    <a:pt x="1125801" y="309597"/>
                  </a:lnTo>
                  <a:lnTo>
                    <a:pt x="1119944" y="311636"/>
                  </a:lnTo>
                  <a:lnTo>
                    <a:pt x="1115997" y="311957"/>
                  </a:lnTo>
                  <a:lnTo>
                    <a:pt x="1114708" y="310790"/>
                  </a:lnTo>
                  <a:lnTo>
                    <a:pt x="1114117" y="309065"/>
                  </a:lnTo>
                  <a:lnTo>
                    <a:pt x="1114418" y="307872"/>
                  </a:lnTo>
                  <a:lnTo>
                    <a:pt x="1115251" y="306391"/>
                  </a:lnTo>
                  <a:lnTo>
                    <a:pt x="1113369" y="305003"/>
                  </a:lnTo>
                  <a:lnTo>
                    <a:pt x="1104917" y="302337"/>
                  </a:lnTo>
                  <a:lnTo>
                    <a:pt x="1099993" y="298615"/>
                  </a:lnTo>
                  <a:lnTo>
                    <a:pt x="1099294" y="297443"/>
                  </a:lnTo>
                  <a:lnTo>
                    <a:pt x="1099047" y="296402"/>
                  </a:lnTo>
                  <a:lnTo>
                    <a:pt x="1109990" y="295709"/>
                  </a:lnTo>
                  <a:lnTo>
                    <a:pt x="1114698" y="294957"/>
                  </a:lnTo>
                  <a:lnTo>
                    <a:pt x="1116791" y="293745"/>
                  </a:lnTo>
                  <a:lnTo>
                    <a:pt x="1117137" y="293040"/>
                  </a:lnTo>
                  <a:lnTo>
                    <a:pt x="1115042" y="292733"/>
                  </a:lnTo>
                  <a:lnTo>
                    <a:pt x="1107544" y="290214"/>
                  </a:lnTo>
                  <a:lnTo>
                    <a:pt x="1094966" y="288706"/>
                  </a:lnTo>
                  <a:lnTo>
                    <a:pt x="1094367" y="286957"/>
                  </a:lnTo>
                  <a:lnTo>
                    <a:pt x="1089123" y="283451"/>
                  </a:lnTo>
                  <a:lnTo>
                    <a:pt x="1088622" y="280113"/>
                  </a:lnTo>
                  <a:lnTo>
                    <a:pt x="1087481" y="279190"/>
                  </a:lnTo>
                  <a:lnTo>
                    <a:pt x="1083914" y="277739"/>
                  </a:lnTo>
                  <a:lnTo>
                    <a:pt x="1083388" y="277260"/>
                  </a:lnTo>
                  <a:lnTo>
                    <a:pt x="1082332" y="275102"/>
                  </a:lnTo>
                  <a:lnTo>
                    <a:pt x="1082170" y="273921"/>
                  </a:lnTo>
                  <a:lnTo>
                    <a:pt x="1082375" y="272848"/>
                  </a:lnTo>
                  <a:lnTo>
                    <a:pt x="1088849" y="270578"/>
                  </a:lnTo>
                  <a:lnTo>
                    <a:pt x="1087945" y="269005"/>
                  </a:lnTo>
                  <a:lnTo>
                    <a:pt x="1083028" y="263117"/>
                  </a:lnTo>
                  <a:lnTo>
                    <a:pt x="1081737" y="259834"/>
                  </a:lnTo>
                  <a:lnTo>
                    <a:pt x="1081944" y="258587"/>
                  </a:lnTo>
                  <a:lnTo>
                    <a:pt x="1085000" y="256854"/>
                  </a:lnTo>
                  <a:close/>
                  <a:moveTo>
                    <a:pt x="945686" y="225995"/>
                  </a:moveTo>
                  <a:lnTo>
                    <a:pt x="952794" y="228063"/>
                  </a:lnTo>
                  <a:lnTo>
                    <a:pt x="958738" y="229215"/>
                  </a:lnTo>
                  <a:lnTo>
                    <a:pt x="965768" y="232852"/>
                  </a:lnTo>
                  <a:lnTo>
                    <a:pt x="972413" y="240540"/>
                  </a:lnTo>
                  <a:lnTo>
                    <a:pt x="972752" y="241522"/>
                  </a:lnTo>
                  <a:lnTo>
                    <a:pt x="972786" y="242796"/>
                  </a:lnTo>
                  <a:lnTo>
                    <a:pt x="972518" y="244363"/>
                  </a:lnTo>
                  <a:lnTo>
                    <a:pt x="971638" y="246395"/>
                  </a:lnTo>
                  <a:lnTo>
                    <a:pt x="970431" y="247614"/>
                  </a:lnTo>
                  <a:lnTo>
                    <a:pt x="973851" y="249095"/>
                  </a:lnTo>
                  <a:lnTo>
                    <a:pt x="974228" y="249816"/>
                  </a:lnTo>
                  <a:lnTo>
                    <a:pt x="973923" y="251455"/>
                  </a:lnTo>
                  <a:lnTo>
                    <a:pt x="974343" y="252662"/>
                  </a:lnTo>
                  <a:lnTo>
                    <a:pt x="976412" y="251468"/>
                  </a:lnTo>
                  <a:lnTo>
                    <a:pt x="978181" y="249644"/>
                  </a:lnTo>
                  <a:lnTo>
                    <a:pt x="978625" y="248470"/>
                  </a:lnTo>
                  <a:lnTo>
                    <a:pt x="978984" y="245310"/>
                  </a:lnTo>
                  <a:lnTo>
                    <a:pt x="984172" y="243731"/>
                  </a:lnTo>
                  <a:lnTo>
                    <a:pt x="989622" y="241431"/>
                  </a:lnTo>
                  <a:lnTo>
                    <a:pt x="992184" y="240914"/>
                  </a:lnTo>
                  <a:lnTo>
                    <a:pt x="996467" y="241448"/>
                  </a:lnTo>
                  <a:lnTo>
                    <a:pt x="1006728" y="246892"/>
                  </a:lnTo>
                  <a:lnTo>
                    <a:pt x="1010644" y="247414"/>
                  </a:lnTo>
                  <a:lnTo>
                    <a:pt x="1012066" y="248053"/>
                  </a:lnTo>
                  <a:lnTo>
                    <a:pt x="1013367" y="249317"/>
                  </a:lnTo>
                  <a:lnTo>
                    <a:pt x="1013456" y="250682"/>
                  </a:lnTo>
                  <a:lnTo>
                    <a:pt x="1011371" y="253843"/>
                  </a:lnTo>
                  <a:lnTo>
                    <a:pt x="1010570" y="255765"/>
                  </a:lnTo>
                  <a:lnTo>
                    <a:pt x="1011061" y="257014"/>
                  </a:lnTo>
                  <a:lnTo>
                    <a:pt x="1016414" y="258062"/>
                  </a:lnTo>
                  <a:lnTo>
                    <a:pt x="1028623" y="255970"/>
                  </a:lnTo>
                  <a:lnTo>
                    <a:pt x="1039292" y="261095"/>
                  </a:lnTo>
                  <a:lnTo>
                    <a:pt x="1045198" y="267170"/>
                  </a:lnTo>
                  <a:lnTo>
                    <a:pt x="1049569" y="269205"/>
                  </a:lnTo>
                  <a:lnTo>
                    <a:pt x="1050262" y="270303"/>
                  </a:lnTo>
                  <a:lnTo>
                    <a:pt x="1049020" y="271338"/>
                  </a:lnTo>
                  <a:lnTo>
                    <a:pt x="1047776" y="274177"/>
                  </a:lnTo>
                  <a:lnTo>
                    <a:pt x="1044272" y="276291"/>
                  </a:lnTo>
                  <a:lnTo>
                    <a:pt x="1043525" y="277241"/>
                  </a:lnTo>
                  <a:lnTo>
                    <a:pt x="1045393" y="279745"/>
                  </a:lnTo>
                  <a:lnTo>
                    <a:pt x="1045532" y="281318"/>
                  </a:lnTo>
                  <a:lnTo>
                    <a:pt x="1045290" y="283496"/>
                  </a:lnTo>
                  <a:lnTo>
                    <a:pt x="1045971" y="284718"/>
                  </a:lnTo>
                  <a:lnTo>
                    <a:pt x="1050761" y="286021"/>
                  </a:lnTo>
                  <a:lnTo>
                    <a:pt x="1061686" y="294925"/>
                  </a:lnTo>
                  <a:lnTo>
                    <a:pt x="1063675" y="297403"/>
                  </a:lnTo>
                  <a:lnTo>
                    <a:pt x="1064906" y="300493"/>
                  </a:lnTo>
                  <a:lnTo>
                    <a:pt x="1065033" y="301538"/>
                  </a:lnTo>
                  <a:lnTo>
                    <a:pt x="1063471" y="303247"/>
                  </a:lnTo>
                  <a:lnTo>
                    <a:pt x="1061767" y="308080"/>
                  </a:lnTo>
                  <a:lnTo>
                    <a:pt x="1060802" y="309182"/>
                  </a:lnTo>
                  <a:lnTo>
                    <a:pt x="1056368" y="310124"/>
                  </a:lnTo>
                  <a:lnTo>
                    <a:pt x="1048309" y="310973"/>
                  </a:lnTo>
                  <a:lnTo>
                    <a:pt x="1040784" y="312622"/>
                  </a:lnTo>
                  <a:lnTo>
                    <a:pt x="1032702" y="310502"/>
                  </a:lnTo>
                  <a:lnTo>
                    <a:pt x="1024806" y="307280"/>
                  </a:lnTo>
                  <a:lnTo>
                    <a:pt x="1022417" y="305158"/>
                  </a:lnTo>
                  <a:lnTo>
                    <a:pt x="1020448" y="302588"/>
                  </a:lnTo>
                  <a:lnTo>
                    <a:pt x="1019933" y="301584"/>
                  </a:lnTo>
                  <a:lnTo>
                    <a:pt x="1019139" y="297443"/>
                  </a:lnTo>
                  <a:lnTo>
                    <a:pt x="1018718" y="296559"/>
                  </a:lnTo>
                  <a:lnTo>
                    <a:pt x="1015384" y="294227"/>
                  </a:lnTo>
                  <a:lnTo>
                    <a:pt x="1012430" y="290730"/>
                  </a:lnTo>
                  <a:lnTo>
                    <a:pt x="1006753" y="290426"/>
                  </a:lnTo>
                  <a:lnTo>
                    <a:pt x="993277" y="286861"/>
                  </a:lnTo>
                  <a:lnTo>
                    <a:pt x="987509" y="286010"/>
                  </a:lnTo>
                  <a:lnTo>
                    <a:pt x="981740" y="286260"/>
                  </a:lnTo>
                  <a:lnTo>
                    <a:pt x="973562" y="287698"/>
                  </a:lnTo>
                  <a:lnTo>
                    <a:pt x="972024" y="287313"/>
                  </a:lnTo>
                  <a:lnTo>
                    <a:pt x="970628" y="286247"/>
                  </a:lnTo>
                  <a:lnTo>
                    <a:pt x="969377" y="284502"/>
                  </a:lnTo>
                  <a:lnTo>
                    <a:pt x="969066" y="283215"/>
                  </a:lnTo>
                  <a:lnTo>
                    <a:pt x="970409" y="280957"/>
                  </a:lnTo>
                  <a:lnTo>
                    <a:pt x="946424" y="283801"/>
                  </a:lnTo>
                  <a:lnTo>
                    <a:pt x="939596" y="287087"/>
                  </a:lnTo>
                  <a:lnTo>
                    <a:pt x="930019" y="286564"/>
                  </a:lnTo>
                  <a:lnTo>
                    <a:pt x="925242" y="285177"/>
                  </a:lnTo>
                  <a:lnTo>
                    <a:pt x="918879" y="282030"/>
                  </a:lnTo>
                  <a:lnTo>
                    <a:pt x="915943" y="279287"/>
                  </a:lnTo>
                  <a:lnTo>
                    <a:pt x="913254" y="275591"/>
                  </a:lnTo>
                  <a:lnTo>
                    <a:pt x="912998" y="272791"/>
                  </a:lnTo>
                  <a:lnTo>
                    <a:pt x="915176" y="270895"/>
                  </a:lnTo>
                  <a:lnTo>
                    <a:pt x="917446" y="269769"/>
                  </a:lnTo>
                  <a:lnTo>
                    <a:pt x="919806" y="269408"/>
                  </a:lnTo>
                  <a:lnTo>
                    <a:pt x="932815" y="271611"/>
                  </a:lnTo>
                  <a:lnTo>
                    <a:pt x="944216" y="272733"/>
                  </a:lnTo>
                  <a:lnTo>
                    <a:pt x="949131" y="271606"/>
                  </a:lnTo>
                  <a:lnTo>
                    <a:pt x="951361" y="268599"/>
                  </a:lnTo>
                  <a:lnTo>
                    <a:pt x="948688" y="266982"/>
                  </a:lnTo>
                  <a:lnTo>
                    <a:pt x="937712" y="266320"/>
                  </a:lnTo>
                  <a:lnTo>
                    <a:pt x="940053" y="264734"/>
                  </a:lnTo>
                  <a:lnTo>
                    <a:pt x="949329" y="263101"/>
                  </a:lnTo>
                  <a:lnTo>
                    <a:pt x="954175" y="260665"/>
                  </a:lnTo>
                  <a:lnTo>
                    <a:pt x="953242" y="259812"/>
                  </a:lnTo>
                  <a:lnTo>
                    <a:pt x="950454" y="258833"/>
                  </a:lnTo>
                  <a:lnTo>
                    <a:pt x="938019" y="259118"/>
                  </a:lnTo>
                  <a:lnTo>
                    <a:pt x="933550" y="258153"/>
                  </a:lnTo>
                  <a:lnTo>
                    <a:pt x="933307" y="257352"/>
                  </a:lnTo>
                  <a:lnTo>
                    <a:pt x="934310" y="256326"/>
                  </a:lnTo>
                  <a:lnTo>
                    <a:pt x="941394" y="251356"/>
                  </a:lnTo>
                  <a:lnTo>
                    <a:pt x="941102" y="250452"/>
                  </a:lnTo>
                  <a:lnTo>
                    <a:pt x="938058" y="248821"/>
                  </a:lnTo>
                  <a:lnTo>
                    <a:pt x="935381" y="246700"/>
                  </a:lnTo>
                  <a:lnTo>
                    <a:pt x="934387" y="246458"/>
                  </a:lnTo>
                  <a:lnTo>
                    <a:pt x="928229" y="248355"/>
                  </a:lnTo>
                  <a:lnTo>
                    <a:pt x="919577" y="255656"/>
                  </a:lnTo>
                  <a:lnTo>
                    <a:pt x="917513" y="256711"/>
                  </a:lnTo>
                  <a:lnTo>
                    <a:pt x="915534" y="256652"/>
                  </a:lnTo>
                  <a:lnTo>
                    <a:pt x="913640" y="255476"/>
                  </a:lnTo>
                  <a:lnTo>
                    <a:pt x="913657" y="253945"/>
                  </a:lnTo>
                  <a:lnTo>
                    <a:pt x="915587" y="252057"/>
                  </a:lnTo>
                  <a:lnTo>
                    <a:pt x="919597" y="246390"/>
                  </a:lnTo>
                  <a:lnTo>
                    <a:pt x="919306" y="244366"/>
                  </a:lnTo>
                  <a:lnTo>
                    <a:pt x="915385" y="243014"/>
                  </a:lnTo>
                  <a:lnTo>
                    <a:pt x="905054" y="244023"/>
                  </a:lnTo>
                  <a:lnTo>
                    <a:pt x="899302" y="244061"/>
                  </a:lnTo>
                  <a:lnTo>
                    <a:pt x="898412" y="242457"/>
                  </a:lnTo>
                  <a:lnTo>
                    <a:pt x="898173" y="239458"/>
                  </a:lnTo>
                  <a:lnTo>
                    <a:pt x="898404" y="236634"/>
                  </a:lnTo>
                  <a:lnTo>
                    <a:pt x="899838" y="232208"/>
                  </a:lnTo>
                  <a:lnTo>
                    <a:pt x="901837" y="228822"/>
                  </a:lnTo>
                  <a:lnTo>
                    <a:pt x="903054" y="227611"/>
                  </a:lnTo>
                  <a:lnTo>
                    <a:pt x="916755" y="228325"/>
                  </a:lnTo>
                  <a:lnTo>
                    <a:pt x="939138" y="226216"/>
                  </a:lnTo>
                  <a:close/>
                  <a:moveTo>
                    <a:pt x="1046482" y="180507"/>
                  </a:moveTo>
                  <a:lnTo>
                    <a:pt x="1054250" y="181533"/>
                  </a:lnTo>
                  <a:lnTo>
                    <a:pt x="1061137" y="181661"/>
                  </a:lnTo>
                  <a:lnTo>
                    <a:pt x="1064601" y="182421"/>
                  </a:lnTo>
                  <a:lnTo>
                    <a:pt x="1067693" y="184123"/>
                  </a:lnTo>
                  <a:lnTo>
                    <a:pt x="1069506" y="186697"/>
                  </a:lnTo>
                  <a:lnTo>
                    <a:pt x="1070306" y="189952"/>
                  </a:lnTo>
                  <a:lnTo>
                    <a:pt x="1070881" y="197466"/>
                  </a:lnTo>
                  <a:lnTo>
                    <a:pt x="1070352" y="201234"/>
                  </a:lnTo>
                  <a:lnTo>
                    <a:pt x="1069063" y="204010"/>
                  </a:lnTo>
                  <a:lnTo>
                    <a:pt x="1067932" y="204664"/>
                  </a:lnTo>
                  <a:lnTo>
                    <a:pt x="1066411" y="204757"/>
                  </a:lnTo>
                  <a:lnTo>
                    <a:pt x="1059482" y="202586"/>
                  </a:lnTo>
                  <a:lnTo>
                    <a:pt x="1057371" y="201310"/>
                  </a:lnTo>
                  <a:lnTo>
                    <a:pt x="1057256" y="200228"/>
                  </a:lnTo>
                  <a:lnTo>
                    <a:pt x="1056579" y="198119"/>
                  </a:lnTo>
                  <a:lnTo>
                    <a:pt x="1051947" y="195376"/>
                  </a:lnTo>
                  <a:lnTo>
                    <a:pt x="1043280" y="195817"/>
                  </a:lnTo>
                  <a:lnTo>
                    <a:pt x="1039668" y="195556"/>
                  </a:lnTo>
                  <a:lnTo>
                    <a:pt x="1038224" y="194737"/>
                  </a:lnTo>
                  <a:lnTo>
                    <a:pt x="1037322" y="193559"/>
                  </a:lnTo>
                  <a:lnTo>
                    <a:pt x="1036470" y="188785"/>
                  </a:lnTo>
                  <a:lnTo>
                    <a:pt x="1036614" y="187098"/>
                  </a:lnTo>
                  <a:lnTo>
                    <a:pt x="1037675" y="184162"/>
                  </a:lnTo>
                  <a:lnTo>
                    <a:pt x="1038315" y="183452"/>
                  </a:lnTo>
                  <a:lnTo>
                    <a:pt x="1044667" y="180736"/>
                  </a:lnTo>
                  <a:close/>
                  <a:moveTo>
                    <a:pt x="1208723" y="108351"/>
                  </a:moveTo>
                  <a:lnTo>
                    <a:pt x="1216282" y="109442"/>
                  </a:lnTo>
                  <a:lnTo>
                    <a:pt x="1232056" y="113530"/>
                  </a:lnTo>
                  <a:lnTo>
                    <a:pt x="1237147" y="115611"/>
                  </a:lnTo>
                  <a:lnTo>
                    <a:pt x="1242571" y="119092"/>
                  </a:lnTo>
                  <a:lnTo>
                    <a:pt x="1245420" y="122242"/>
                  </a:lnTo>
                  <a:lnTo>
                    <a:pt x="1248730" y="127232"/>
                  </a:lnTo>
                  <a:lnTo>
                    <a:pt x="1260965" y="139077"/>
                  </a:lnTo>
                  <a:lnTo>
                    <a:pt x="1266507" y="143366"/>
                  </a:lnTo>
                  <a:lnTo>
                    <a:pt x="1275915" y="148683"/>
                  </a:lnTo>
                  <a:lnTo>
                    <a:pt x="1277086" y="150593"/>
                  </a:lnTo>
                  <a:lnTo>
                    <a:pt x="1277194" y="151395"/>
                  </a:lnTo>
                  <a:lnTo>
                    <a:pt x="1276926" y="154222"/>
                  </a:lnTo>
                  <a:lnTo>
                    <a:pt x="1279607" y="155268"/>
                  </a:lnTo>
                  <a:lnTo>
                    <a:pt x="1287712" y="156895"/>
                  </a:lnTo>
                  <a:lnTo>
                    <a:pt x="1296733" y="159820"/>
                  </a:lnTo>
                  <a:lnTo>
                    <a:pt x="1298356" y="159654"/>
                  </a:lnTo>
                  <a:lnTo>
                    <a:pt x="1301501" y="157922"/>
                  </a:lnTo>
                  <a:lnTo>
                    <a:pt x="1305280" y="157449"/>
                  </a:lnTo>
                  <a:lnTo>
                    <a:pt x="1310243" y="157865"/>
                  </a:lnTo>
                  <a:lnTo>
                    <a:pt x="1312613" y="159104"/>
                  </a:lnTo>
                  <a:lnTo>
                    <a:pt x="1314355" y="160923"/>
                  </a:lnTo>
                  <a:lnTo>
                    <a:pt x="1315080" y="162226"/>
                  </a:lnTo>
                  <a:lnTo>
                    <a:pt x="1315184" y="163233"/>
                  </a:lnTo>
                  <a:lnTo>
                    <a:pt x="1313405" y="165182"/>
                  </a:lnTo>
                  <a:lnTo>
                    <a:pt x="1313602" y="165937"/>
                  </a:lnTo>
                  <a:lnTo>
                    <a:pt x="1314665" y="166845"/>
                  </a:lnTo>
                  <a:lnTo>
                    <a:pt x="1314853" y="167907"/>
                  </a:lnTo>
                  <a:lnTo>
                    <a:pt x="1313068" y="172057"/>
                  </a:lnTo>
                  <a:lnTo>
                    <a:pt x="1313557" y="173577"/>
                  </a:lnTo>
                  <a:lnTo>
                    <a:pt x="1318099" y="177346"/>
                  </a:lnTo>
                  <a:lnTo>
                    <a:pt x="1322205" y="179222"/>
                  </a:lnTo>
                  <a:lnTo>
                    <a:pt x="1330313" y="181258"/>
                  </a:lnTo>
                  <a:lnTo>
                    <a:pt x="1335595" y="181111"/>
                  </a:lnTo>
                  <a:lnTo>
                    <a:pt x="1338874" y="182400"/>
                  </a:lnTo>
                  <a:lnTo>
                    <a:pt x="1338952" y="181604"/>
                  </a:lnTo>
                  <a:lnTo>
                    <a:pt x="1337467" y="179204"/>
                  </a:lnTo>
                  <a:lnTo>
                    <a:pt x="1334289" y="175791"/>
                  </a:lnTo>
                  <a:lnTo>
                    <a:pt x="1328413" y="174033"/>
                  </a:lnTo>
                  <a:lnTo>
                    <a:pt x="1327557" y="172029"/>
                  </a:lnTo>
                  <a:lnTo>
                    <a:pt x="1327121" y="168612"/>
                  </a:lnTo>
                  <a:lnTo>
                    <a:pt x="1327623" y="166357"/>
                  </a:lnTo>
                  <a:lnTo>
                    <a:pt x="1330636" y="164533"/>
                  </a:lnTo>
                  <a:lnTo>
                    <a:pt x="1333183" y="163945"/>
                  </a:lnTo>
                  <a:lnTo>
                    <a:pt x="1340768" y="163862"/>
                  </a:lnTo>
                  <a:lnTo>
                    <a:pt x="1344958" y="164673"/>
                  </a:lnTo>
                  <a:lnTo>
                    <a:pt x="1352184" y="167219"/>
                  </a:lnTo>
                  <a:lnTo>
                    <a:pt x="1352932" y="168603"/>
                  </a:lnTo>
                  <a:lnTo>
                    <a:pt x="1353319" y="171337"/>
                  </a:lnTo>
                  <a:lnTo>
                    <a:pt x="1353620" y="176822"/>
                  </a:lnTo>
                  <a:lnTo>
                    <a:pt x="1353440" y="178001"/>
                  </a:lnTo>
                  <a:lnTo>
                    <a:pt x="1347262" y="181100"/>
                  </a:lnTo>
                  <a:lnTo>
                    <a:pt x="1345913" y="183200"/>
                  </a:lnTo>
                  <a:lnTo>
                    <a:pt x="1347476" y="183791"/>
                  </a:lnTo>
                  <a:lnTo>
                    <a:pt x="1352783" y="184258"/>
                  </a:lnTo>
                  <a:lnTo>
                    <a:pt x="1360969" y="186165"/>
                  </a:lnTo>
                  <a:lnTo>
                    <a:pt x="1364177" y="186358"/>
                  </a:lnTo>
                  <a:lnTo>
                    <a:pt x="1367368" y="190770"/>
                  </a:lnTo>
                  <a:lnTo>
                    <a:pt x="1369878" y="194967"/>
                  </a:lnTo>
                  <a:lnTo>
                    <a:pt x="1368044" y="200083"/>
                  </a:lnTo>
                  <a:lnTo>
                    <a:pt x="1365642" y="208278"/>
                  </a:lnTo>
                  <a:lnTo>
                    <a:pt x="1363715" y="210152"/>
                  </a:lnTo>
                  <a:lnTo>
                    <a:pt x="1361816" y="212997"/>
                  </a:lnTo>
                  <a:lnTo>
                    <a:pt x="1363141" y="213514"/>
                  </a:lnTo>
                  <a:lnTo>
                    <a:pt x="1371195" y="212381"/>
                  </a:lnTo>
                  <a:lnTo>
                    <a:pt x="1372823" y="211996"/>
                  </a:lnTo>
                  <a:lnTo>
                    <a:pt x="1378205" y="209217"/>
                  </a:lnTo>
                  <a:lnTo>
                    <a:pt x="1386112" y="209864"/>
                  </a:lnTo>
                  <a:lnTo>
                    <a:pt x="1388768" y="210582"/>
                  </a:lnTo>
                  <a:lnTo>
                    <a:pt x="1390080" y="211554"/>
                  </a:lnTo>
                  <a:lnTo>
                    <a:pt x="1392487" y="214652"/>
                  </a:lnTo>
                  <a:lnTo>
                    <a:pt x="1394478" y="218747"/>
                  </a:lnTo>
                  <a:lnTo>
                    <a:pt x="1395950" y="218374"/>
                  </a:lnTo>
                  <a:lnTo>
                    <a:pt x="1399630" y="213405"/>
                  </a:lnTo>
                  <a:lnTo>
                    <a:pt x="1400972" y="212177"/>
                  </a:lnTo>
                  <a:lnTo>
                    <a:pt x="1402805" y="210990"/>
                  </a:lnTo>
                  <a:lnTo>
                    <a:pt x="1403585" y="211210"/>
                  </a:lnTo>
                  <a:lnTo>
                    <a:pt x="1407299" y="215845"/>
                  </a:lnTo>
                  <a:lnTo>
                    <a:pt x="1415560" y="223994"/>
                  </a:lnTo>
                  <a:lnTo>
                    <a:pt x="1418396" y="227350"/>
                  </a:lnTo>
                  <a:lnTo>
                    <a:pt x="1418944" y="229824"/>
                  </a:lnTo>
                  <a:lnTo>
                    <a:pt x="1415414" y="232702"/>
                  </a:lnTo>
                  <a:lnTo>
                    <a:pt x="1412664" y="234139"/>
                  </a:lnTo>
                  <a:lnTo>
                    <a:pt x="1392332" y="240259"/>
                  </a:lnTo>
                  <a:lnTo>
                    <a:pt x="1383232" y="243714"/>
                  </a:lnTo>
                  <a:lnTo>
                    <a:pt x="1378695" y="246379"/>
                  </a:lnTo>
                  <a:lnTo>
                    <a:pt x="1376379" y="247268"/>
                  </a:lnTo>
                  <a:lnTo>
                    <a:pt x="1371494" y="246856"/>
                  </a:lnTo>
                  <a:lnTo>
                    <a:pt x="1370385" y="247301"/>
                  </a:lnTo>
                  <a:lnTo>
                    <a:pt x="1368882" y="251581"/>
                  </a:lnTo>
                  <a:lnTo>
                    <a:pt x="1367261" y="253406"/>
                  </a:lnTo>
                  <a:lnTo>
                    <a:pt x="1363052" y="256353"/>
                  </a:lnTo>
                  <a:lnTo>
                    <a:pt x="1357160" y="261679"/>
                  </a:lnTo>
                  <a:lnTo>
                    <a:pt x="1353645" y="264012"/>
                  </a:lnTo>
                  <a:lnTo>
                    <a:pt x="1347455" y="262310"/>
                  </a:lnTo>
                  <a:lnTo>
                    <a:pt x="1345913" y="259824"/>
                  </a:lnTo>
                  <a:lnTo>
                    <a:pt x="1345053" y="254218"/>
                  </a:lnTo>
                  <a:lnTo>
                    <a:pt x="1344938" y="251892"/>
                  </a:lnTo>
                  <a:lnTo>
                    <a:pt x="1345131" y="250662"/>
                  </a:lnTo>
                  <a:lnTo>
                    <a:pt x="1345906" y="248667"/>
                  </a:lnTo>
                  <a:lnTo>
                    <a:pt x="1348589" y="243846"/>
                  </a:lnTo>
                  <a:lnTo>
                    <a:pt x="1348270" y="243340"/>
                  </a:lnTo>
                  <a:lnTo>
                    <a:pt x="1347028" y="243742"/>
                  </a:lnTo>
                  <a:lnTo>
                    <a:pt x="1342925" y="246153"/>
                  </a:lnTo>
                  <a:lnTo>
                    <a:pt x="1341304" y="247419"/>
                  </a:lnTo>
                  <a:lnTo>
                    <a:pt x="1339790" y="249627"/>
                  </a:lnTo>
                  <a:lnTo>
                    <a:pt x="1339120" y="253332"/>
                  </a:lnTo>
                  <a:lnTo>
                    <a:pt x="1339718" y="260152"/>
                  </a:lnTo>
                  <a:lnTo>
                    <a:pt x="1339134" y="262893"/>
                  </a:lnTo>
                  <a:lnTo>
                    <a:pt x="1337509" y="264254"/>
                  </a:lnTo>
                  <a:lnTo>
                    <a:pt x="1338165" y="265310"/>
                  </a:lnTo>
                  <a:lnTo>
                    <a:pt x="1343005" y="266762"/>
                  </a:lnTo>
                  <a:lnTo>
                    <a:pt x="1343864" y="267398"/>
                  </a:lnTo>
                  <a:lnTo>
                    <a:pt x="1344400" y="268555"/>
                  </a:lnTo>
                  <a:lnTo>
                    <a:pt x="1344611" y="270223"/>
                  </a:lnTo>
                  <a:lnTo>
                    <a:pt x="1344378" y="271759"/>
                  </a:lnTo>
                  <a:lnTo>
                    <a:pt x="1342924" y="274126"/>
                  </a:lnTo>
                  <a:lnTo>
                    <a:pt x="1340201" y="275087"/>
                  </a:lnTo>
                  <a:lnTo>
                    <a:pt x="1336728" y="274009"/>
                  </a:lnTo>
                  <a:lnTo>
                    <a:pt x="1329220" y="268156"/>
                  </a:lnTo>
                  <a:lnTo>
                    <a:pt x="1325959" y="268480"/>
                  </a:lnTo>
                  <a:lnTo>
                    <a:pt x="1325139" y="269151"/>
                  </a:lnTo>
                  <a:lnTo>
                    <a:pt x="1325840" y="271240"/>
                  </a:lnTo>
                  <a:lnTo>
                    <a:pt x="1328145" y="275917"/>
                  </a:lnTo>
                  <a:lnTo>
                    <a:pt x="1328565" y="279799"/>
                  </a:lnTo>
                  <a:lnTo>
                    <a:pt x="1327502" y="283019"/>
                  </a:lnTo>
                  <a:lnTo>
                    <a:pt x="1325358" y="288095"/>
                  </a:lnTo>
                  <a:lnTo>
                    <a:pt x="1323886" y="290807"/>
                  </a:lnTo>
                  <a:lnTo>
                    <a:pt x="1323090" y="291168"/>
                  </a:lnTo>
                  <a:lnTo>
                    <a:pt x="1319357" y="291248"/>
                  </a:lnTo>
                  <a:lnTo>
                    <a:pt x="1316160" y="289883"/>
                  </a:lnTo>
                  <a:lnTo>
                    <a:pt x="1306669" y="281003"/>
                  </a:lnTo>
                  <a:lnTo>
                    <a:pt x="1301972" y="277205"/>
                  </a:lnTo>
                  <a:lnTo>
                    <a:pt x="1295101" y="269761"/>
                  </a:lnTo>
                  <a:lnTo>
                    <a:pt x="1293349" y="268224"/>
                  </a:lnTo>
                  <a:lnTo>
                    <a:pt x="1292290" y="267881"/>
                  </a:lnTo>
                  <a:lnTo>
                    <a:pt x="1291296" y="271087"/>
                  </a:lnTo>
                  <a:lnTo>
                    <a:pt x="1293205" y="274049"/>
                  </a:lnTo>
                  <a:lnTo>
                    <a:pt x="1299385" y="281003"/>
                  </a:lnTo>
                  <a:lnTo>
                    <a:pt x="1303077" y="286045"/>
                  </a:lnTo>
                  <a:lnTo>
                    <a:pt x="1305735" y="290211"/>
                  </a:lnTo>
                  <a:lnTo>
                    <a:pt x="1306167" y="291936"/>
                  </a:lnTo>
                  <a:lnTo>
                    <a:pt x="1305257" y="292611"/>
                  </a:lnTo>
                  <a:lnTo>
                    <a:pt x="1303893" y="292228"/>
                  </a:lnTo>
                  <a:lnTo>
                    <a:pt x="1302076" y="290775"/>
                  </a:lnTo>
                  <a:lnTo>
                    <a:pt x="1296449" y="288321"/>
                  </a:lnTo>
                  <a:lnTo>
                    <a:pt x="1294113" y="286952"/>
                  </a:lnTo>
                  <a:lnTo>
                    <a:pt x="1292585" y="285363"/>
                  </a:lnTo>
                  <a:lnTo>
                    <a:pt x="1289780" y="284159"/>
                  </a:lnTo>
                  <a:lnTo>
                    <a:pt x="1285694" y="283334"/>
                  </a:lnTo>
                  <a:lnTo>
                    <a:pt x="1281591" y="283175"/>
                  </a:lnTo>
                  <a:lnTo>
                    <a:pt x="1277470" y="283682"/>
                  </a:lnTo>
                  <a:lnTo>
                    <a:pt x="1276688" y="284456"/>
                  </a:lnTo>
                  <a:lnTo>
                    <a:pt x="1281333" y="286615"/>
                  </a:lnTo>
                  <a:lnTo>
                    <a:pt x="1282950" y="287820"/>
                  </a:lnTo>
                  <a:lnTo>
                    <a:pt x="1284154" y="289359"/>
                  </a:lnTo>
                  <a:lnTo>
                    <a:pt x="1284945" y="291229"/>
                  </a:lnTo>
                  <a:lnTo>
                    <a:pt x="1283419" y="292411"/>
                  </a:lnTo>
                  <a:lnTo>
                    <a:pt x="1277651" y="293148"/>
                  </a:lnTo>
                  <a:lnTo>
                    <a:pt x="1269951" y="292679"/>
                  </a:lnTo>
                  <a:lnTo>
                    <a:pt x="1257487" y="291052"/>
                  </a:lnTo>
                  <a:lnTo>
                    <a:pt x="1245074" y="288362"/>
                  </a:lnTo>
                  <a:lnTo>
                    <a:pt x="1233610" y="284170"/>
                  </a:lnTo>
                  <a:lnTo>
                    <a:pt x="1225319" y="279958"/>
                  </a:lnTo>
                  <a:lnTo>
                    <a:pt x="1222039" y="277711"/>
                  </a:lnTo>
                  <a:lnTo>
                    <a:pt x="1221008" y="276029"/>
                  </a:lnTo>
                  <a:lnTo>
                    <a:pt x="1224120" y="274556"/>
                  </a:lnTo>
                  <a:lnTo>
                    <a:pt x="1234994" y="272663"/>
                  </a:lnTo>
                  <a:lnTo>
                    <a:pt x="1245892" y="271447"/>
                  </a:lnTo>
                  <a:lnTo>
                    <a:pt x="1244166" y="270390"/>
                  </a:lnTo>
                  <a:lnTo>
                    <a:pt x="1224374" y="267982"/>
                  </a:lnTo>
                  <a:lnTo>
                    <a:pt x="1217857" y="267542"/>
                  </a:lnTo>
                  <a:lnTo>
                    <a:pt x="1214387" y="268175"/>
                  </a:lnTo>
                  <a:lnTo>
                    <a:pt x="1210401" y="267800"/>
                  </a:lnTo>
                  <a:lnTo>
                    <a:pt x="1207286" y="265887"/>
                  </a:lnTo>
                  <a:lnTo>
                    <a:pt x="1203163" y="262257"/>
                  </a:lnTo>
                  <a:lnTo>
                    <a:pt x="1201074" y="259850"/>
                  </a:lnTo>
                  <a:lnTo>
                    <a:pt x="1201356" y="258908"/>
                  </a:lnTo>
                  <a:lnTo>
                    <a:pt x="1202925" y="258374"/>
                  </a:lnTo>
                  <a:lnTo>
                    <a:pt x="1211877" y="258829"/>
                  </a:lnTo>
                  <a:lnTo>
                    <a:pt x="1213108" y="258469"/>
                  </a:lnTo>
                  <a:lnTo>
                    <a:pt x="1208630" y="256656"/>
                  </a:lnTo>
                  <a:lnTo>
                    <a:pt x="1194283" y="253063"/>
                  </a:lnTo>
                  <a:lnTo>
                    <a:pt x="1188898" y="249885"/>
                  </a:lnTo>
                  <a:lnTo>
                    <a:pt x="1187910" y="248643"/>
                  </a:lnTo>
                  <a:lnTo>
                    <a:pt x="1187503" y="247419"/>
                  </a:lnTo>
                  <a:lnTo>
                    <a:pt x="1187677" y="246217"/>
                  </a:lnTo>
                  <a:lnTo>
                    <a:pt x="1193068" y="243786"/>
                  </a:lnTo>
                  <a:lnTo>
                    <a:pt x="1209709" y="238030"/>
                  </a:lnTo>
                  <a:lnTo>
                    <a:pt x="1215425" y="237134"/>
                  </a:lnTo>
                  <a:lnTo>
                    <a:pt x="1221177" y="237076"/>
                  </a:lnTo>
                  <a:lnTo>
                    <a:pt x="1225183" y="235415"/>
                  </a:lnTo>
                  <a:lnTo>
                    <a:pt x="1228642" y="229934"/>
                  </a:lnTo>
                  <a:lnTo>
                    <a:pt x="1245875" y="227959"/>
                  </a:lnTo>
                  <a:lnTo>
                    <a:pt x="1259160" y="225493"/>
                  </a:lnTo>
                  <a:lnTo>
                    <a:pt x="1260269" y="224822"/>
                  </a:lnTo>
                  <a:lnTo>
                    <a:pt x="1250311" y="225274"/>
                  </a:lnTo>
                  <a:lnTo>
                    <a:pt x="1236230" y="224780"/>
                  </a:lnTo>
                  <a:lnTo>
                    <a:pt x="1230230" y="221037"/>
                  </a:lnTo>
                  <a:lnTo>
                    <a:pt x="1226169" y="220399"/>
                  </a:lnTo>
                  <a:lnTo>
                    <a:pt x="1221676" y="220430"/>
                  </a:lnTo>
                  <a:lnTo>
                    <a:pt x="1216448" y="221605"/>
                  </a:lnTo>
                  <a:lnTo>
                    <a:pt x="1207504" y="225080"/>
                  </a:lnTo>
                  <a:lnTo>
                    <a:pt x="1203203" y="225886"/>
                  </a:lnTo>
                  <a:lnTo>
                    <a:pt x="1193500" y="229474"/>
                  </a:lnTo>
                  <a:lnTo>
                    <a:pt x="1190795" y="229220"/>
                  </a:lnTo>
                  <a:lnTo>
                    <a:pt x="1189437" y="228793"/>
                  </a:lnTo>
                  <a:lnTo>
                    <a:pt x="1189031" y="228092"/>
                  </a:lnTo>
                  <a:lnTo>
                    <a:pt x="1190783" y="225712"/>
                  </a:lnTo>
                  <a:lnTo>
                    <a:pt x="1193334" y="224083"/>
                  </a:lnTo>
                  <a:lnTo>
                    <a:pt x="1192813" y="223525"/>
                  </a:lnTo>
                  <a:lnTo>
                    <a:pt x="1189008" y="223181"/>
                  </a:lnTo>
                  <a:lnTo>
                    <a:pt x="1184600" y="223245"/>
                  </a:lnTo>
                  <a:lnTo>
                    <a:pt x="1181538" y="223808"/>
                  </a:lnTo>
                  <a:lnTo>
                    <a:pt x="1170352" y="226959"/>
                  </a:lnTo>
                  <a:lnTo>
                    <a:pt x="1165340" y="229314"/>
                  </a:lnTo>
                  <a:lnTo>
                    <a:pt x="1163832" y="229521"/>
                  </a:lnTo>
                  <a:lnTo>
                    <a:pt x="1158421" y="225843"/>
                  </a:lnTo>
                  <a:lnTo>
                    <a:pt x="1149788" y="223816"/>
                  </a:lnTo>
                  <a:lnTo>
                    <a:pt x="1147862" y="222234"/>
                  </a:lnTo>
                  <a:lnTo>
                    <a:pt x="1149640" y="216015"/>
                  </a:lnTo>
                  <a:lnTo>
                    <a:pt x="1152161" y="214735"/>
                  </a:lnTo>
                  <a:lnTo>
                    <a:pt x="1158782" y="213690"/>
                  </a:lnTo>
                  <a:lnTo>
                    <a:pt x="1178627" y="208021"/>
                  </a:lnTo>
                  <a:lnTo>
                    <a:pt x="1179746" y="206930"/>
                  </a:lnTo>
                  <a:lnTo>
                    <a:pt x="1181615" y="204053"/>
                  </a:lnTo>
                  <a:lnTo>
                    <a:pt x="1177077" y="204667"/>
                  </a:lnTo>
                  <a:lnTo>
                    <a:pt x="1167132" y="207445"/>
                  </a:lnTo>
                  <a:lnTo>
                    <a:pt x="1158918" y="208826"/>
                  </a:lnTo>
                  <a:lnTo>
                    <a:pt x="1152439" y="208818"/>
                  </a:lnTo>
                  <a:lnTo>
                    <a:pt x="1147701" y="208422"/>
                  </a:lnTo>
                  <a:lnTo>
                    <a:pt x="1144705" y="207641"/>
                  </a:lnTo>
                  <a:lnTo>
                    <a:pt x="1141101" y="205869"/>
                  </a:lnTo>
                  <a:lnTo>
                    <a:pt x="1129358" y="197660"/>
                  </a:lnTo>
                  <a:lnTo>
                    <a:pt x="1126155" y="193674"/>
                  </a:lnTo>
                  <a:lnTo>
                    <a:pt x="1125707" y="190149"/>
                  </a:lnTo>
                  <a:lnTo>
                    <a:pt x="1124884" y="187460"/>
                  </a:lnTo>
                  <a:lnTo>
                    <a:pt x="1121485" y="180989"/>
                  </a:lnTo>
                  <a:lnTo>
                    <a:pt x="1146620" y="185014"/>
                  </a:lnTo>
                  <a:lnTo>
                    <a:pt x="1156462" y="185775"/>
                  </a:lnTo>
                  <a:lnTo>
                    <a:pt x="1175426" y="186038"/>
                  </a:lnTo>
                  <a:lnTo>
                    <a:pt x="1176316" y="185644"/>
                  </a:lnTo>
                  <a:lnTo>
                    <a:pt x="1176596" y="184595"/>
                  </a:lnTo>
                  <a:lnTo>
                    <a:pt x="1176269" y="182893"/>
                  </a:lnTo>
                  <a:lnTo>
                    <a:pt x="1176414" y="181582"/>
                  </a:lnTo>
                  <a:lnTo>
                    <a:pt x="1177032" y="180663"/>
                  </a:lnTo>
                  <a:lnTo>
                    <a:pt x="1184085" y="178325"/>
                  </a:lnTo>
                  <a:lnTo>
                    <a:pt x="1185146" y="177555"/>
                  </a:lnTo>
                  <a:lnTo>
                    <a:pt x="1176841" y="177169"/>
                  </a:lnTo>
                  <a:lnTo>
                    <a:pt x="1161571" y="181071"/>
                  </a:lnTo>
                  <a:lnTo>
                    <a:pt x="1156178" y="181035"/>
                  </a:lnTo>
                  <a:lnTo>
                    <a:pt x="1150062" y="175455"/>
                  </a:lnTo>
                  <a:lnTo>
                    <a:pt x="1143526" y="176436"/>
                  </a:lnTo>
                  <a:lnTo>
                    <a:pt x="1140441" y="175992"/>
                  </a:lnTo>
                  <a:lnTo>
                    <a:pt x="1135638" y="174585"/>
                  </a:lnTo>
                  <a:lnTo>
                    <a:pt x="1133274" y="173356"/>
                  </a:lnTo>
                  <a:lnTo>
                    <a:pt x="1131750" y="171836"/>
                  </a:lnTo>
                  <a:lnTo>
                    <a:pt x="1131099" y="170554"/>
                  </a:lnTo>
                  <a:lnTo>
                    <a:pt x="1131320" y="169512"/>
                  </a:lnTo>
                  <a:lnTo>
                    <a:pt x="1132614" y="168350"/>
                  </a:lnTo>
                  <a:lnTo>
                    <a:pt x="1138247" y="166734"/>
                  </a:lnTo>
                  <a:lnTo>
                    <a:pt x="1140791" y="166579"/>
                  </a:lnTo>
                  <a:lnTo>
                    <a:pt x="1147498" y="167619"/>
                  </a:lnTo>
                  <a:lnTo>
                    <a:pt x="1152525" y="167541"/>
                  </a:lnTo>
                  <a:lnTo>
                    <a:pt x="1150868" y="165808"/>
                  </a:lnTo>
                  <a:lnTo>
                    <a:pt x="1143600" y="161438"/>
                  </a:lnTo>
                  <a:lnTo>
                    <a:pt x="1137243" y="156589"/>
                  </a:lnTo>
                  <a:lnTo>
                    <a:pt x="1137723" y="148464"/>
                  </a:lnTo>
                  <a:lnTo>
                    <a:pt x="1142944" y="146737"/>
                  </a:lnTo>
                  <a:lnTo>
                    <a:pt x="1148354" y="146455"/>
                  </a:lnTo>
                  <a:lnTo>
                    <a:pt x="1153636" y="148514"/>
                  </a:lnTo>
                  <a:lnTo>
                    <a:pt x="1160722" y="148796"/>
                  </a:lnTo>
                  <a:lnTo>
                    <a:pt x="1165796" y="151117"/>
                  </a:lnTo>
                  <a:lnTo>
                    <a:pt x="1169172" y="155564"/>
                  </a:lnTo>
                  <a:lnTo>
                    <a:pt x="1173181" y="155478"/>
                  </a:lnTo>
                  <a:lnTo>
                    <a:pt x="1179496" y="156318"/>
                  </a:lnTo>
                  <a:lnTo>
                    <a:pt x="1193632" y="156253"/>
                  </a:lnTo>
                  <a:lnTo>
                    <a:pt x="1191077" y="154665"/>
                  </a:lnTo>
                  <a:lnTo>
                    <a:pt x="1186679" y="153279"/>
                  </a:lnTo>
                  <a:lnTo>
                    <a:pt x="1176684" y="151460"/>
                  </a:lnTo>
                  <a:lnTo>
                    <a:pt x="1171812" y="144929"/>
                  </a:lnTo>
                  <a:lnTo>
                    <a:pt x="1161482" y="141554"/>
                  </a:lnTo>
                  <a:lnTo>
                    <a:pt x="1153396" y="139787"/>
                  </a:lnTo>
                  <a:lnTo>
                    <a:pt x="1153534" y="138299"/>
                  </a:lnTo>
                  <a:lnTo>
                    <a:pt x="1159607" y="130124"/>
                  </a:lnTo>
                  <a:lnTo>
                    <a:pt x="1166942" y="127211"/>
                  </a:lnTo>
                  <a:lnTo>
                    <a:pt x="1178634" y="128311"/>
                  </a:lnTo>
                  <a:lnTo>
                    <a:pt x="1186320" y="126763"/>
                  </a:lnTo>
                  <a:lnTo>
                    <a:pt x="1196218" y="123865"/>
                  </a:lnTo>
                  <a:lnTo>
                    <a:pt x="1205908" y="125207"/>
                  </a:lnTo>
                  <a:lnTo>
                    <a:pt x="1208409" y="125082"/>
                  </a:lnTo>
                  <a:lnTo>
                    <a:pt x="1209891" y="124188"/>
                  </a:lnTo>
                  <a:lnTo>
                    <a:pt x="1211186" y="122482"/>
                  </a:lnTo>
                  <a:lnTo>
                    <a:pt x="1211193" y="120911"/>
                  </a:lnTo>
                  <a:lnTo>
                    <a:pt x="1209911" y="119467"/>
                  </a:lnTo>
                  <a:lnTo>
                    <a:pt x="1206852" y="117681"/>
                  </a:lnTo>
                  <a:lnTo>
                    <a:pt x="1194481" y="117428"/>
                  </a:lnTo>
                  <a:lnTo>
                    <a:pt x="1189007" y="116727"/>
                  </a:lnTo>
                  <a:lnTo>
                    <a:pt x="1186874" y="115771"/>
                  </a:lnTo>
                  <a:lnTo>
                    <a:pt x="1186261" y="114330"/>
                  </a:lnTo>
                  <a:lnTo>
                    <a:pt x="1185935" y="112844"/>
                  </a:lnTo>
                  <a:lnTo>
                    <a:pt x="1185898" y="111314"/>
                  </a:lnTo>
                  <a:lnTo>
                    <a:pt x="1186223" y="110375"/>
                  </a:lnTo>
                  <a:lnTo>
                    <a:pt x="1187257" y="109865"/>
                  </a:lnTo>
                  <a:lnTo>
                    <a:pt x="1190290" y="109259"/>
                  </a:lnTo>
                  <a:lnTo>
                    <a:pt x="1201824" y="109182"/>
                  </a:lnTo>
                  <a:close/>
                  <a:moveTo>
                    <a:pt x="1801120" y="0"/>
                  </a:moveTo>
                  <a:lnTo>
                    <a:pt x="1803712" y="413"/>
                  </a:lnTo>
                  <a:lnTo>
                    <a:pt x="1805882" y="1499"/>
                  </a:lnTo>
                  <a:lnTo>
                    <a:pt x="1811276" y="5790"/>
                  </a:lnTo>
                  <a:lnTo>
                    <a:pt x="1813317" y="6304"/>
                  </a:lnTo>
                  <a:lnTo>
                    <a:pt x="1833999" y="7446"/>
                  </a:lnTo>
                  <a:lnTo>
                    <a:pt x="1840699" y="7034"/>
                  </a:lnTo>
                  <a:lnTo>
                    <a:pt x="1848360" y="9825"/>
                  </a:lnTo>
                  <a:lnTo>
                    <a:pt x="1852982" y="10152"/>
                  </a:lnTo>
                  <a:lnTo>
                    <a:pt x="1860592" y="9621"/>
                  </a:lnTo>
                  <a:lnTo>
                    <a:pt x="1866140" y="10285"/>
                  </a:lnTo>
                  <a:lnTo>
                    <a:pt x="1886781" y="10909"/>
                  </a:lnTo>
                  <a:lnTo>
                    <a:pt x="1891068" y="11995"/>
                  </a:lnTo>
                  <a:lnTo>
                    <a:pt x="1891011" y="13303"/>
                  </a:lnTo>
                  <a:lnTo>
                    <a:pt x="1886559" y="16138"/>
                  </a:lnTo>
                  <a:lnTo>
                    <a:pt x="1880577" y="18867"/>
                  </a:lnTo>
                  <a:lnTo>
                    <a:pt x="1842004" y="27732"/>
                  </a:lnTo>
                  <a:lnTo>
                    <a:pt x="1839169" y="29201"/>
                  </a:lnTo>
                  <a:lnTo>
                    <a:pt x="1846687" y="29666"/>
                  </a:lnTo>
                  <a:lnTo>
                    <a:pt x="1857767" y="29260"/>
                  </a:lnTo>
                  <a:lnTo>
                    <a:pt x="1866359" y="28277"/>
                  </a:lnTo>
                  <a:lnTo>
                    <a:pt x="1876484" y="25270"/>
                  </a:lnTo>
                  <a:lnTo>
                    <a:pt x="1879831" y="25095"/>
                  </a:lnTo>
                  <a:lnTo>
                    <a:pt x="1886268" y="23636"/>
                  </a:lnTo>
                  <a:lnTo>
                    <a:pt x="1898728" y="19546"/>
                  </a:lnTo>
                  <a:lnTo>
                    <a:pt x="1908693" y="17322"/>
                  </a:lnTo>
                  <a:lnTo>
                    <a:pt x="1913203" y="18298"/>
                  </a:lnTo>
                  <a:lnTo>
                    <a:pt x="1916997" y="19844"/>
                  </a:lnTo>
                  <a:lnTo>
                    <a:pt x="1919557" y="20019"/>
                  </a:lnTo>
                  <a:lnTo>
                    <a:pt x="1920886" y="18830"/>
                  </a:lnTo>
                  <a:lnTo>
                    <a:pt x="1923022" y="15577"/>
                  </a:lnTo>
                  <a:lnTo>
                    <a:pt x="1924269" y="14391"/>
                  </a:lnTo>
                  <a:lnTo>
                    <a:pt x="1927548" y="13546"/>
                  </a:lnTo>
                  <a:lnTo>
                    <a:pt x="1929551" y="13639"/>
                  </a:lnTo>
                  <a:lnTo>
                    <a:pt x="1932800" y="15177"/>
                  </a:lnTo>
                  <a:lnTo>
                    <a:pt x="1936400" y="18823"/>
                  </a:lnTo>
                  <a:lnTo>
                    <a:pt x="1939715" y="21352"/>
                  </a:lnTo>
                  <a:lnTo>
                    <a:pt x="1941507" y="21396"/>
                  </a:lnTo>
                  <a:lnTo>
                    <a:pt x="1949092" y="18534"/>
                  </a:lnTo>
                  <a:lnTo>
                    <a:pt x="1952912" y="18162"/>
                  </a:lnTo>
                  <a:lnTo>
                    <a:pt x="1961598" y="19202"/>
                  </a:lnTo>
                  <a:lnTo>
                    <a:pt x="1965206" y="20462"/>
                  </a:lnTo>
                  <a:lnTo>
                    <a:pt x="1965857" y="21804"/>
                  </a:lnTo>
                  <a:lnTo>
                    <a:pt x="1963549" y="23219"/>
                  </a:lnTo>
                  <a:lnTo>
                    <a:pt x="1962115" y="24439"/>
                  </a:lnTo>
                  <a:lnTo>
                    <a:pt x="1961559" y="25463"/>
                  </a:lnTo>
                  <a:lnTo>
                    <a:pt x="1962824" y="26652"/>
                  </a:lnTo>
                  <a:lnTo>
                    <a:pt x="1968080" y="29196"/>
                  </a:lnTo>
                  <a:lnTo>
                    <a:pt x="1975688" y="34715"/>
                  </a:lnTo>
                  <a:lnTo>
                    <a:pt x="1975644" y="36739"/>
                  </a:lnTo>
                  <a:lnTo>
                    <a:pt x="1971492" y="40852"/>
                  </a:lnTo>
                  <a:lnTo>
                    <a:pt x="1971594" y="41889"/>
                  </a:lnTo>
                  <a:lnTo>
                    <a:pt x="1991160" y="37564"/>
                  </a:lnTo>
                  <a:lnTo>
                    <a:pt x="2010887" y="39494"/>
                  </a:lnTo>
                  <a:lnTo>
                    <a:pt x="2016469" y="40815"/>
                  </a:lnTo>
                  <a:lnTo>
                    <a:pt x="2018613" y="42405"/>
                  </a:lnTo>
                  <a:lnTo>
                    <a:pt x="2020894" y="45025"/>
                  </a:lnTo>
                  <a:lnTo>
                    <a:pt x="2023310" y="48669"/>
                  </a:lnTo>
                  <a:lnTo>
                    <a:pt x="2021629" y="52464"/>
                  </a:lnTo>
                  <a:lnTo>
                    <a:pt x="2012961" y="58362"/>
                  </a:lnTo>
                  <a:lnTo>
                    <a:pt x="2004003" y="62935"/>
                  </a:lnTo>
                  <a:lnTo>
                    <a:pt x="1998728" y="67048"/>
                  </a:lnTo>
                  <a:lnTo>
                    <a:pt x="1990619" y="69297"/>
                  </a:lnTo>
                  <a:lnTo>
                    <a:pt x="1962833" y="79175"/>
                  </a:lnTo>
                  <a:lnTo>
                    <a:pt x="1949252" y="82340"/>
                  </a:lnTo>
                  <a:lnTo>
                    <a:pt x="1941446" y="85450"/>
                  </a:lnTo>
                  <a:lnTo>
                    <a:pt x="1937940" y="85991"/>
                  </a:lnTo>
                  <a:lnTo>
                    <a:pt x="1921405" y="85396"/>
                  </a:lnTo>
                  <a:lnTo>
                    <a:pt x="1917017" y="87108"/>
                  </a:lnTo>
                  <a:lnTo>
                    <a:pt x="1914577" y="89985"/>
                  </a:lnTo>
                  <a:lnTo>
                    <a:pt x="1909363" y="91352"/>
                  </a:lnTo>
                  <a:lnTo>
                    <a:pt x="1901663" y="92330"/>
                  </a:lnTo>
                  <a:lnTo>
                    <a:pt x="1885917" y="93122"/>
                  </a:lnTo>
                  <a:lnTo>
                    <a:pt x="1882384" y="96357"/>
                  </a:lnTo>
                  <a:lnTo>
                    <a:pt x="1881483" y="98550"/>
                  </a:lnTo>
                  <a:lnTo>
                    <a:pt x="1879947" y="100251"/>
                  </a:lnTo>
                  <a:lnTo>
                    <a:pt x="1878606" y="101071"/>
                  </a:lnTo>
                  <a:lnTo>
                    <a:pt x="1833612" y="112626"/>
                  </a:lnTo>
                  <a:lnTo>
                    <a:pt x="1832783" y="114553"/>
                  </a:lnTo>
                  <a:lnTo>
                    <a:pt x="1837312" y="115347"/>
                  </a:lnTo>
                  <a:lnTo>
                    <a:pt x="1843015" y="114553"/>
                  </a:lnTo>
                  <a:lnTo>
                    <a:pt x="1908485" y="100519"/>
                  </a:lnTo>
                  <a:lnTo>
                    <a:pt x="1921054" y="99587"/>
                  </a:lnTo>
                  <a:lnTo>
                    <a:pt x="1932716" y="100602"/>
                  </a:lnTo>
                  <a:lnTo>
                    <a:pt x="1931380" y="103878"/>
                  </a:lnTo>
                  <a:lnTo>
                    <a:pt x="1914867" y="113140"/>
                  </a:lnTo>
                  <a:lnTo>
                    <a:pt x="1893850" y="121449"/>
                  </a:lnTo>
                  <a:lnTo>
                    <a:pt x="1883352" y="127732"/>
                  </a:lnTo>
                  <a:lnTo>
                    <a:pt x="1856792" y="138525"/>
                  </a:lnTo>
                  <a:lnTo>
                    <a:pt x="1835083" y="149214"/>
                  </a:lnTo>
                  <a:lnTo>
                    <a:pt x="1826744" y="154625"/>
                  </a:lnTo>
                  <a:lnTo>
                    <a:pt x="1815568" y="164252"/>
                  </a:lnTo>
                  <a:lnTo>
                    <a:pt x="1811751" y="166568"/>
                  </a:lnTo>
                  <a:lnTo>
                    <a:pt x="1807108" y="167522"/>
                  </a:lnTo>
                  <a:lnTo>
                    <a:pt x="1801642" y="167122"/>
                  </a:lnTo>
                  <a:lnTo>
                    <a:pt x="1796718" y="165725"/>
                  </a:lnTo>
                  <a:lnTo>
                    <a:pt x="1790148" y="162135"/>
                  </a:lnTo>
                  <a:lnTo>
                    <a:pt x="1784163" y="158112"/>
                  </a:lnTo>
                  <a:lnTo>
                    <a:pt x="1782288" y="157403"/>
                  </a:lnTo>
                  <a:lnTo>
                    <a:pt x="1783423" y="159402"/>
                  </a:lnTo>
                  <a:lnTo>
                    <a:pt x="1794962" y="172730"/>
                  </a:lnTo>
                  <a:lnTo>
                    <a:pt x="1793641" y="175301"/>
                  </a:lnTo>
                  <a:lnTo>
                    <a:pt x="1772457" y="178010"/>
                  </a:lnTo>
                  <a:lnTo>
                    <a:pt x="1763082" y="180402"/>
                  </a:lnTo>
                  <a:lnTo>
                    <a:pt x="1758245" y="180981"/>
                  </a:lnTo>
                  <a:lnTo>
                    <a:pt x="1754820" y="180550"/>
                  </a:lnTo>
                  <a:lnTo>
                    <a:pt x="1751479" y="180794"/>
                  </a:lnTo>
                  <a:lnTo>
                    <a:pt x="1748226" y="181717"/>
                  </a:lnTo>
                  <a:lnTo>
                    <a:pt x="1748047" y="182744"/>
                  </a:lnTo>
                  <a:lnTo>
                    <a:pt x="1750946" y="183867"/>
                  </a:lnTo>
                  <a:lnTo>
                    <a:pt x="1759379" y="184746"/>
                  </a:lnTo>
                  <a:lnTo>
                    <a:pt x="1778119" y="181771"/>
                  </a:lnTo>
                  <a:lnTo>
                    <a:pt x="1781124" y="181984"/>
                  </a:lnTo>
                  <a:lnTo>
                    <a:pt x="1785945" y="183432"/>
                  </a:lnTo>
                  <a:lnTo>
                    <a:pt x="1786181" y="184748"/>
                  </a:lnTo>
                  <a:lnTo>
                    <a:pt x="1781149" y="188961"/>
                  </a:lnTo>
                  <a:lnTo>
                    <a:pt x="1765978" y="193985"/>
                  </a:lnTo>
                  <a:lnTo>
                    <a:pt x="1767961" y="194269"/>
                  </a:lnTo>
                  <a:lnTo>
                    <a:pt x="1772305" y="196046"/>
                  </a:lnTo>
                  <a:lnTo>
                    <a:pt x="1772207" y="197644"/>
                  </a:lnTo>
                  <a:lnTo>
                    <a:pt x="1767430" y="201397"/>
                  </a:lnTo>
                  <a:lnTo>
                    <a:pt x="1765167" y="202592"/>
                  </a:lnTo>
                  <a:lnTo>
                    <a:pt x="1750544" y="206076"/>
                  </a:lnTo>
                  <a:lnTo>
                    <a:pt x="1744179" y="206894"/>
                  </a:lnTo>
                  <a:lnTo>
                    <a:pt x="1738575" y="206460"/>
                  </a:lnTo>
                  <a:lnTo>
                    <a:pt x="1712924" y="198836"/>
                  </a:lnTo>
                  <a:lnTo>
                    <a:pt x="1703874" y="197730"/>
                  </a:lnTo>
                  <a:lnTo>
                    <a:pt x="1695274" y="195800"/>
                  </a:lnTo>
                  <a:lnTo>
                    <a:pt x="1688929" y="196130"/>
                  </a:lnTo>
                  <a:lnTo>
                    <a:pt x="1682191" y="198371"/>
                  </a:lnTo>
                  <a:lnTo>
                    <a:pt x="1685221" y="199498"/>
                  </a:lnTo>
                  <a:lnTo>
                    <a:pt x="1697639" y="201647"/>
                  </a:lnTo>
                  <a:lnTo>
                    <a:pt x="1708007" y="202062"/>
                  </a:lnTo>
                  <a:lnTo>
                    <a:pt x="1712309" y="202898"/>
                  </a:lnTo>
                  <a:lnTo>
                    <a:pt x="1713996" y="204292"/>
                  </a:lnTo>
                  <a:lnTo>
                    <a:pt x="1718472" y="209347"/>
                  </a:lnTo>
                  <a:lnTo>
                    <a:pt x="1719189" y="212061"/>
                  </a:lnTo>
                  <a:lnTo>
                    <a:pt x="1718199" y="214580"/>
                  </a:lnTo>
                  <a:lnTo>
                    <a:pt x="1716845" y="216345"/>
                  </a:lnTo>
                  <a:lnTo>
                    <a:pt x="1715121" y="217347"/>
                  </a:lnTo>
                  <a:lnTo>
                    <a:pt x="1712470" y="217852"/>
                  </a:lnTo>
                  <a:lnTo>
                    <a:pt x="1702331" y="217495"/>
                  </a:lnTo>
                  <a:lnTo>
                    <a:pt x="1698542" y="218115"/>
                  </a:lnTo>
                  <a:lnTo>
                    <a:pt x="1694148" y="219585"/>
                  </a:lnTo>
                  <a:lnTo>
                    <a:pt x="1688637" y="220222"/>
                  </a:lnTo>
                  <a:lnTo>
                    <a:pt x="1678698" y="219929"/>
                  </a:lnTo>
                  <a:lnTo>
                    <a:pt x="1666996" y="222073"/>
                  </a:lnTo>
                  <a:lnTo>
                    <a:pt x="1660811" y="222465"/>
                  </a:lnTo>
                  <a:lnTo>
                    <a:pt x="1653954" y="221498"/>
                  </a:lnTo>
                  <a:lnTo>
                    <a:pt x="1646522" y="219104"/>
                  </a:lnTo>
                  <a:lnTo>
                    <a:pt x="1638683" y="217893"/>
                  </a:lnTo>
                  <a:lnTo>
                    <a:pt x="1625429" y="216873"/>
                  </a:lnTo>
                  <a:lnTo>
                    <a:pt x="1626537" y="218246"/>
                  </a:lnTo>
                  <a:lnTo>
                    <a:pt x="1631208" y="218825"/>
                  </a:lnTo>
                  <a:lnTo>
                    <a:pt x="1640721" y="222496"/>
                  </a:lnTo>
                  <a:lnTo>
                    <a:pt x="1645269" y="227467"/>
                  </a:lnTo>
                  <a:lnTo>
                    <a:pt x="1649550" y="228307"/>
                  </a:lnTo>
                  <a:lnTo>
                    <a:pt x="1658292" y="232375"/>
                  </a:lnTo>
                  <a:lnTo>
                    <a:pt x="1664607" y="233010"/>
                  </a:lnTo>
                  <a:lnTo>
                    <a:pt x="1671202" y="234391"/>
                  </a:lnTo>
                  <a:lnTo>
                    <a:pt x="1680492" y="232612"/>
                  </a:lnTo>
                  <a:lnTo>
                    <a:pt x="1686731" y="232944"/>
                  </a:lnTo>
                  <a:lnTo>
                    <a:pt x="1685434" y="242923"/>
                  </a:lnTo>
                  <a:lnTo>
                    <a:pt x="1682681" y="243891"/>
                  </a:lnTo>
                  <a:lnTo>
                    <a:pt x="1667663" y="243891"/>
                  </a:lnTo>
                  <a:lnTo>
                    <a:pt x="1660526" y="242444"/>
                  </a:lnTo>
                  <a:lnTo>
                    <a:pt x="1657374" y="240950"/>
                  </a:lnTo>
                  <a:lnTo>
                    <a:pt x="1650455" y="239256"/>
                  </a:lnTo>
                  <a:lnTo>
                    <a:pt x="1644223" y="240238"/>
                  </a:lnTo>
                  <a:lnTo>
                    <a:pt x="1638575" y="240026"/>
                  </a:lnTo>
                  <a:lnTo>
                    <a:pt x="1634743" y="241019"/>
                  </a:lnTo>
                  <a:lnTo>
                    <a:pt x="1628666" y="240983"/>
                  </a:lnTo>
                  <a:lnTo>
                    <a:pt x="1612770" y="242668"/>
                  </a:lnTo>
                  <a:lnTo>
                    <a:pt x="1604371" y="242686"/>
                  </a:lnTo>
                  <a:lnTo>
                    <a:pt x="1598171" y="241600"/>
                  </a:lnTo>
                  <a:lnTo>
                    <a:pt x="1590967" y="241264"/>
                  </a:lnTo>
                  <a:lnTo>
                    <a:pt x="1582758" y="241669"/>
                  </a:lnTo>
                  <a:lnTo>
                    <a:pt x="1583332" y="242819"/>
                  </a:lnTo>
                  <a:lnTo>
                    <a:pt x="1586812" y="243168"/>
                  </a:lnTo>
                  <a:lnTo>
                    <a:pt x="1591878" y="245039"/>
                  </a:lnTo>
                  <a:lnTo>
                    <a:pt x="1596573" y="247920"/>
                  </a:lnTo>
                  <a:lnTo>
                    <a:pt x="1600479" y="249128"/>
                  </a:lnTo>
                  <a:lnTo>
                    <a:pt x="1605158" y="248445"/>
                  </a:lnTo>
                  <a:lnTo>
                    <a:pt x="1609920" y="247101"/>
                  </a:lnTo>
                  <a:lnTo>
                    <a:pt x="1627305" y="244885"/>
                  </a:lnTo>
                  <a:lnTo>
                    <a:pt x="1634929" y="244529"/>
                  </a:lnTo>
                  <a:lnTo>
                    <a:pt x="1641731" y="245506"/>
                  </a:lnTo>
                  <a:lnTo>
                    <a:pt x="1646258" y="246726"/>
                  </a:lnTo>
                  <a:lnTo>
                    <a:pt x="1649419" y="248194"/>
                  </a:lnTo>
                  <a:lnTo>
                    <a:pt x="1653415" y="252082"/>
                  </a:lnTo>
                  <a:lnTo>
                    <a:pt x="1663437" y="252556"/>
                  </a:lnTo>
                  <a:lnTo>
                    <a:pt x="1671077" y="253844"/>
                  </a:lnTo>
                  <a:lnTo>
                    <a:pt x="1683251" y="259471"/>
                  </a:lnTo>
                  <a:lnTo>
                    <a:pt x="1686600" y="259896"/>
                  </a:lnTo>
                  <a:lnTo>
                    <a:pt x="1687950" y="261347"/>
                  </a:lnTo>
                  <a:lnTo>
                    <a:pt x="1685365" y="264962"/>
                  </a:lnTo>
                  <a:lnTo>
                    <a:pt x="1685073" y="267132"/>
                  </a:lnTo>
                  <a:lnTo>
                    <a:pt x="1676654" y="271330"/>
                  </a:lnTo>
                  <a:lnTo>
                    <a:pt x="1663519" y="272549"/>
                  </a:lnTo>
                  <a:lnTo>
                    <a:pt x="1649085" y="272163"/>
                  </a:lnTo>
                  <a:lnTo>
                    <a:pt x="1638749" y="272646"/>
                  </a:lnTo>
                  <a:lnTo>
                    <a:pt x="1637667" y="273178"/>
                  </a:lnTo>
                  <a:lnTo>
                    <a:pt x="1644758" y="274278"/>
                  </a:lnTo>
                  <a:lnTo>
                    <a:pt x="1661192" y="279162"/>
                  </a:lnTo>
                  <a:lnTo>
                    <a:pt x="1667561" y="281805"/>
                  </a:lnTo>
                  <a:lnTo>
                    <a:pt x="1668670" y="283351"/>
                  </a:lnTo>
                  <a:lnTo>
                    <a:pt x="1659612" y="289230"/>
                  </a:lnTo>
                  <a:lnTo>
                    <a:pt x="1651617" y="300830"/>
                  </a:lnTo>
                  <a:lnTo>
                    <a:pt x="1648989" y="301744"/>
                  </a:lnTo>
                  <a:lnTo>
                    <a:pt x="1646253" y="302062"/>
                  </a:lnTo>
                  <a:lnTo>
                    <a:pt x="1639203" y="301859"/>
                  </a:lnTo>
                  <a:lnTo>
                    <a:pt x="1630264" y="304764"/>
                  </a:lnTo>
                  <a:lnTo>
                    <a:pt x="1623522" y="305345"/>
                  </a:lnTo>
                  <a:lnTo>
                    <a:pt x="1611301" y="304257"/>
                  </a:lnTo>
                  <a:lnTo>
                    <a:pt x="1597187" y="304318"/>
                  </a:lnTo>
                  <a:lnTo>
                    <a:pt x="1596076" y="306193"/>
                  </a:lnTo>
                  <a:lnTo>
                    <a:pt x="1595373" y="309774"/>
                  </a:lnTo>
                  <a:lnTo>
                    <a:pt x="1595451" y="315147"/>
                  </a:lnTo>
                  <a:lnTo>
                    <a:pt x="1596311" y="322305"/>
                  </a:lnTo>
                  <a:lnTo>
                    <a:pt x="1595575" y="327523"/>
                  </a:lnTo>
                  <a:lnTo>
                    <a:pt x="1593247" y="330813"/>
                  </a:lnTo>
                  <a:lnTo>
                    <a:pt x="1590311" y="333240"/>
                  </a:lnTo>
                  <a:lnTo>
                    <a:pt x="1585001" y="335594"/>
                  </a:lnTo>
                  <a:lnTo>
                    <a:pt x="1579541" y="337060"/>
                  </a:lnTo>
                  <a:lnTo>
                    <a:pt x="1575458" y="337577"/>
                  </a:lnTo>
                  <a:lnTo>
                    <a:pt x="1568661" y="337659"/>
                  </a:lnTo>
                  <a:lnTo>
                    <a:pt x="1549167" y="339349"/>
                  </a:lnTo>
                  <a:lnTo>
                    <a:pt x="1539651" y="339247"/>
                  </a:lnTo>
                  <a:lnTo>
                    <a:pt x="1532263" y="338530"/>
                  </a:lnTo>
                  <a:lnTo>
                    <a:pt x="1524617" y="336175"/>
                  </a:lnTo>
                  <a:lnTo>
                    <a:pt x="1511882" y="329516"/>
                  </a:lnTo>
                  <a:lnTo>
                    <a:pt x="1508271" y="328034"/>
                  </a:lnTo>
                  <a:lnTo>
                    <a:pt x="1504725" y="327178"/>
                  </a:lnTo>
                  <a:lnTo>
                    <a:pt x="1504859" y="328616"/>
                  </a:lnTo>
                  <a:lnTo>
                    <a:pt x="1508669" y="332340"/>
                  </a:lnTo>
                  <a:lnTo>
                    <a:pt x="1511848" y="334742"/>
                  </a:lnTo>
                  <a:lnTo>
                    <a:pt x="1514395" y="335820"/>
                  </a:lnTo>
                  <a:lnTo>
                    <a:pt x="1513795" y="336958"/>
                  </a:lnTo>
                  <a:lnTo>
                    <a:pt x="1508177" y="338743"/>
                  </a:lnTo>
                  <a:lnTo>
                    <a:pt x="1501981" y="339543"/>
                  </a:lnTo>
                  <a:lnTo>
                    <a:pt x="1494641" y="339512"/>
                  </a:lnTo>
                  <a:lnTo>
                    <a:pt x="1494407" y="340204"/>
                  </a:lnTo>
                  <a:lnTo>
                    <a:pt x="1496897" y="342125"/>
                  </a:lnTo>
                  <a:lnTo>
                    <a:pt x="1500132" y="343935"/>
                  </a:lnTo>
                  <a:lnTo>
                    <a:pt x="1502260" y="344477"/>
                  </a:lnTo>
                  <a:lnTo>
                    <a:pt x="1507885" y="343916"/>
                  </a:lnTo>
                  <a:lnTo>
                    <a:pt x="1514402" y="341631"/>
                  </a:lnTo>
                  <a:lnTo>
                    <a:pt x="1518466" y="340957"/>
                  </a:lnTo>
                  <a:lnTo>
                    <a:pt x="1526554" y="341501"/>
                  </a:lnTo>
                  <a:lnTo>
                    <a:pt x="1529739" y="342317"/>
                  </a:lnTo>
                  <a:lnTo>
                    <a:pt x="1539841" y="347320"/>
                  </a:lnTo>
                  <a:lnTo>
                    <a:pt x="1541248" y="347552"/>
                  </a:lnTo>
                  <a:lnTo>
                    <a:pt x="1548728" y="345034"/>
                  </a:lnTo>
                  <a:lnTo>
                    <a:pt x="1559542" y="344900"/>
                  </a:lnTo>
                  <a:lnTo>
                    <a:pt x="1563507" y="346919"/>
                  </a:lnTo>
                  <a:lnTo>
                    <a:pt x="1565022" y="350837"/>
                  </a:lnTo>
                  <a:lnTo>
                    <a:pt x="1565206" y="354006"/>
                  </a:lnTo>
                  <a:lnTo>
                    <a:pt x="1564063" y="356428"/>
                  </a:lnTo>
                  <a:lnTo>
                    <a:pt x="1566553" y="358788"/>
                  </a:lnTo>
                  <a:lnTo>
                    <a:pt x="1572677" y="361085"/>
                  </a:lnTo>
                  <a:lnTo>
                    <a:pt x="1577429" y="361578"/>
                  </a:lnTo>
                  <a:lnTo>
                    <a:pt x="1580809" y="360280"/>
                  </a:lnTo>
                  <a:lnTo>
                    <a:pt x="1585945" y="357128"/>
                  </a:lnTo>
                  <a:lnTo>
                    <a:pt x="1588123" y="356381"/>
                  </a:lnTo>
                  <a:lnTo>
                    <a:pt x="1590182" y="356554"/>
                  </a:lnTo>
                  <a:lnTo>
                    <a:pt x="1593320" y="358849"/>
                  </a:lnTo>
                  <a:lnTo>
                    <a:pt x="1597538" y="363259"/>
                  </a:lnTo>
                  <a:lnTo>
                    <a:pt x="1597930" y="368402"/>
                  </a:lnTo>
                  <a:lnTo>
                    <a:pt x="1594497" y="374271"/>
                  </a:lnTo>
                  <a:lnTo>
                    <a:pt x="1590297" y="378114"/>
                  </a:lnTo>
                  <a:lnTo>
                    <a:pt x="1573816" y="384436"/>
                  </a:lnTo>
                  <a:lnTo>
                    <a:pt x="1568836" y="386916"/>
                  </a:lnTo>
                  <a:lnTo>
                    <a:pt x="1564901" y="389496"/>
                  </a:lnTo>
                  <a:lnTo>
                    <a:pt x="1559192" y="391817"/>
                  </a:lnTo>
                  <a:lnTo>
                    <a:pt x="1547971" y="394918"/>
                  </a:lnTo>
                  <a:lnTo>
                    <a:pt x="1542056" y="395497"/>
                  </a:lnTo>
                  <a:lnTo>
                    <a:pt x="1529290" y="398826"/>
                  </a:lnTo>
                  <a:lnTo>
                    <a:pt x="1526516" y="398976"/>
                  </a:lnTo>
                  <a:lnTo>
                    <a:pt x="1522378" y="398436"/>
                  </a:lnTo>
                  <a:lnTo>
                    <a:pt x="1521521" y="396814"/>
                  </a:lnTo>
                  <a:lnTo>
                    <a:pt x="1522574" y="393929"/>
                  </a:lnTo>
                  <a:lnTo>
                    <a:pt x="1523942" y="391239"/>
                  </a:lnTo>
                  <a:lnTo>
                    <a:pt x="1525625" y="388743"/>
                  </a:lnTo>
                  <a:lnTo>
                    <a:pt x="1525688" y="386669"/>
                  </a:lnTo>
                  <a:lnTo>
                    <a:pt x="1522084" y="383441"/>
                  </a:lnTo>
                  <a:lnTo>
                    <a:pt x="1519552" y="381946"/>
                  </a:lnTo>
                  <a:lnTo>
                    <a:pt x="1517108" y="381196"/>
                  </a:lnTo>
                  <a:lnTo>
                    <a:pt x="1512188" y="381631"/>
                  </a:lnTo>
                  <a:lnTo>
                    <a:pt x="1509407" y="382517"/>
                  </a:lnTo>
                  <a:lnTo>
                    <a:pt x="1506427" y="382687"/>
                  </a:lnTo>
                  <a:lnTo>
                    <a:pt x="1503247" y="382132"/>
                  </a:lnTo>
                  <a:lnTo>
                    <a:pt x="1500570" y="380770"/>
                  </a:lnTo>
                  <a:lnTo>
                    <a:pt x="1495214" y="375045"/>
                  </a:lnTo>
                  <a:lnTo>
                    <a:pt x="1493197" y="374316"/>
                  </a:lnTo>
                  <a:lnTo>
                    <a:pt x="1490555" y="374496"/>
                  </a:lnTo>
                  <a:lnTo>
                    <a:pt x="1488192" y="373672"/>
                  </a:lnTo>
                  <a:lnTo>
                    <a:pt x="1486105" y="371848"/>
                  </a:lnTo>
                  <a:lnTo>
                    <a:pt x="1482646" y="370081"/>
                  </a:lnTo>
                  <a:lnTo>
                    <a:pt x="1483570" y="371429"/>
                  </a:lnTo>
                  <a:lnTo>
                    <a:pt x="1487029" y="374694"/>
                  </a:lnTo>
                  <a:lnTo>
                    <a:pt x="1489438" y="377931"/>
                  </a:lnTo>
                  <a:lnTo>
                    <a:pt x="1490798" y="381142"/>
                  </a:lnTo>
                  <a:lnTo>
                    <a:pt x="1490168" y="383665"/>
                  </a:lnTo>
                  <a:lnTo>
                    <a:pt x="1460862" y="385062"/>
                  </a:lnTo>
                  <a:lnTo>
                    <a:pt x="1448266" y="384332"/>
                  </a:lnTo>
                  <a:lnTo>
                    <a:pt x="1445715" y="382130"/>
                  </a:lnTo>
                  <a:lnTo>
                    <a:pt x="1439693" y="372617"/>
                  </a:lnTo>
                  <a:lnTo>
                    <a:pt x="1438386" y="389403"/>
                  </a:lnTo>
                  <a:lnTo>
                    <a:pt x="1416430" y="392127"/>
                  </a:lnTo>
                  <a:lnTo>
                    <a:pt x="1411299" y="391666"/>
                  </a:lnTo>
                  <a:lnTo>
                    <a:pt x="1402755" y="389798"/>
                  </a:lnTo>
                  <a:lnTo>
                    <a:pt x="1391718" y="385290"/>
                  </a:lnTo>
                  <a:lnTo>
                    <a:pt x="1387145" y="382296"/>
                  </a:lnTo>
                  <a:lnTo>
                    <a:pt x="1385354" y="379306"/>
                  </a:lnTo>
                  <a:lnTo>
                    <a:pt x="1384020" y="377671"/>
                  </a:lnTo>
                  <a:lnTo>
                    <a:pt x="1383151" y="377396"/>
                  </a:lnTo>
                  <a:lnTo>
                    <a:pt x="1380407" y="380998"/>
                  </a:lnTo>
                  <a:lnTo>
                    <a:pt x="1377407" y="388350"/>
                  </a:lnTo>
                  <a:lnTo>
                    <a:pt x="1369865" y="386455"/>
                  </a:lnTo>
                  <a:lnTo>
                    <a:pt x="1360318" y="384600"/>
                  </a:lnTo>
                  <a:lnTo>
                    <a:pt x="1356880" y="377344"/>
                  </a:lnTo>
                  <a:lnTo>
                    <a:pt x="1356682" y="387844"/>
                  </a:lnTo>
                  <a:lnTo>
                    <a:pt x="1341297" y="386455"/>
                  </a:lnTo>
                  <a:lnTo>
                    <a:pt x="1333902" y="386846"/>
                  </a:lnTo>
                  <a:lnTo>
                    <a:pt x="1331730" y="377648"/>
                  </a:lnTo>
                  <a:lnTo>
                    <a:pt x="1331370" y="367456"/>
                  </a:lnTo>
                  <a:lnTo>
                    <a:pt x="1328371" y="373910"/>
                  </a:lnTo>
                  <a:lnTo>
                    <a:pt x="1329678" y="379380"/>
                  </a:lnTo>
                  <a:lnTo>
                    <a:pt x="1330103" y="386026"/>
                  </a:lnTo>
                  <a:lnTo>
                    <a:pt x="1323563" y="384137"/>
                  </a:lnTo>
                  <a:lnTo>
                    <a:pt x="1309214" y="383211"/>
                  </a:lnTo>
                  <a:lnTo>
                    <a:pt x="1304132" y="382291"/>
                  </a:lnTo>
                  <a:lnTo>
                    <a:pt x="1304784" y="373445"/>
                  </a:lnTo>
                  <a:lnTo>
                    <a:pt x="1305915" y="364594"/>
                  </a:lnTo>
                  <a:lnTo>
                    <a:pt x="1324395" y="355735"/>
                  </a:lnTo>
                  <a:lnTo>
                    <a:pt x="1329840" y="351528"/>
                  </a:lnTo>
                  <a:lnTo>
                    <a:pt x="1333847" y="349831"/>
                  </a:lnTo>
                  <a:lnTo>
                    <a:pt x="1340191" y="348759"/>
                  </a:lnTo>
                  <a:lnTo>
                    <a:pt x="1348293" y="348093"/>
                  </a:lnTo>
                  <a:lnTo>
                    <a:pt x="1353819" y="348607"/>
                  </a:lnTo>
                  <a:lnTo>
                    <a:pt x="1360127" y="348105"/>
                  </a:lnTo>
                  <a:lnTo>
                    <a:pt x="1367665" y="346519"/>
                  </a:lnTo>
                  <a:lnTo>
                    <a:pt x="1373047" y="346062"/>
                  </a:lnTo>
                  <a:lnTo>
                    <a:pt x="1374060" y="345500"/>
                  </a:lnTo>
                  <a:lnTo>
                    <a:pt x="1372499" y="344675"/>
                  </a:lnTo>
                  <a:lnTo>
                    <a:pt x="1366741" y="338911"/>
                  </a:lnTo>
                  <a:lnTo>
                    <a:pt x="1364674" y="337598"/>
                  </a:lnTo>
                  <a:lnTo>
                    <a:pt x="1362570" y="337013"/>
                  </a:lnTo>
                  <a:lnTo>
                    <a:pt x="1358404" y="336755"/>
                  </a:lnTo>
                  <a:lnTo>
                    <a:pt x="1354360" y="334224"/>
                  </a:lnTo>
                  <a:lnTo>
                    <a:pt x="1352020" y="331985"/>
                  </a:lnTo>
                  <a:lnTo>
                    <a:pt x="1349517" y="328939"/>
                  </a:lnTo>
                  <a:lnTo>
                    <a:pt x="1345516" y="323154"/>
                  </a:lnTo>
                  <a:lnTo>
                    <a:pt x="1341542" y="316678"/>
                  </a:lnTo>
                  <a:lnTo>
                    <a:pt x="1343512" y="313116"/>
                  </a:lnTo>
                  <a:lnTo>
                    <a:pt x="1350101" y="310310"/>
                  </a:lnTo>
                  <a:lnTo>
                    <a:pt x="1356702" y="308364"/>
                  </a:lnTo>
                  <a:lnTo>
                    <a:pt x="1363314" y="307281"/>
                  </a:lnTo>
                  <a:lnTo>
                    <a:pt x="1368843" y="307257"/>
                  </a:lnTo>
                  <a:lnTo>
                    <a:pt x="1375509" y="308812"/>
                  </a:lnTo>
                  <a:lnTo>
                    <a:pt x="1384891" y="311816"/>
                  </a:lnTo>
                  <a:lnTo>
                    <a:pt x="1390269" y="315214"/>
                  </a:lnTo>
                  <a:lnTo>
                    <a:pt x="1397023" y="322390"/>
                  </a:lnTo>
                  <a:lnTo>
                    <a:pt x="1401471" y="328085"/>
                  </a:lnTo>
                  <a:lnTo>
                    <a:pt x="1405090" y="330650"/>
                  </a:lnTo>
                  <a:lnTo>
                    <a:pt x="1421258" y="335294"/>
                  </a:lnTo>
                  <a:lnTo>
                    <a:pt x="1426638" y="336043"/>
                  </a:lnTo>
                  <a:lnTo>
                    <a:pt x="1433019" y="335670"/>
                  </a:lnTo>
                  <a:lnTo>
                    <a:pt x="1446038" y="334456"/>
                  </a:lnTo>
                  <a:lnTo>
                    <a:pt x="1452436" y="333181"/>
                  </a:lnTo>
                  <a:lnTo>
                    <a:pt x="1455306" y="331669"/>
                  </a:lnTo>
                  <a:lnTo>
                    <a:pt x="1456784" y="329493"/>
                  </a:lnTo>
                  <a:lnTo>
                    <a:pt x="1458621" y="327815"/>
                  </a:lnTo>
                  <a:lnTo>
                    <a:pt x="1464378" y="323966"/>
                  </a:lnTo>
                  <a:lnTo>
                    <a:pt x="1473191" y="315944"/>
                  </a:lnTo>
                  <a:lnTo>
                    <a:pt x="1478069" y="309587"/>
                  </a:lnTo>
                  <a:lnTo>
                    <a:pt x="1479227" y="307444"/>
                  </a:lnTo>
                  <a:lnTo>
                    <a:pt x="1480200" y="304850"/>
                  </a:lnTo>
                  <a:lnTo>
                    <a:pt x="1480986" y="301797"/>
                  </a:lnTo>
                  <a:lnTo>
                    <a:pt x="1478241" y="303424"/>
                  </a:lnTo>
                  <a:lnTo>
                    <a:pt x="1463022" y="319147"/>
                  </a:lnTo>
                  <a:lnTo>
                    <a:pt x="1459866" y="321990"/>
                  </a:lnTo>
                  <a:lnTo>
                    <a:pt x="1450962" y="326789"/>
                  </a:lnTo>
                  <a:lnTo>
                    <a:pt x="1447189" y="327563"/>
                  </a:lnTo>
                  <a:lnTo>
                    <a:pt x="1441113" y="327325"/>
                  </a:lnTo>
                  <a:lnTo>
                    <a:pt x="1433049" y="325202"/>
                  </a:lnTo>
                  <a:lnTo>
                    <a:pt x="1423548" y="328578"/>
                  </a:lnTo>
                  <a:lnTo>
                    <a:pt x="1417783" y="327721"/>
                  </a:lnTo>
                  <a:lnTo>
                    <a:pt x="1412674" y="325360"/>
                  </a:lnTo>
                  <a:lnTo>
                    <a:pt x="1412607" y="314251"/>
                  </a:lnTo>
                  <a:lnTo>
                    <a:pt x="1406128" y="305321"/>
                  </a:lnTo>
                  <a:lnTo>
                    <a:pt x="1413283" y="300787"/>
                  </a:lnTo>
                  <a:lnTo>
                    <a:pt x="1419213" y="297971"/>
                  </a:lnTo>
                  <a:lnTo>
                    <a:pt x="1429763" y="290628"/>
                  </a:lnTo>
                  <a:lnTo>
                    <a:pt x="1432077" y="290552"/>
                  </a:lnTo>
                  <a:lnTo>
                    <a:pt x="1439721" y="291711"/>
                  </a:lnTo>
                  <a:lnTo>
                    <a:pt x="1435526" y="290043"/>
                  </a:lnTo>
                  <a:lnTo>
                    <a:pt x="1431422" y="287563"/>
                  </a:lnTo>
                  <a:lnTo>
                    <a:pt x="1422285" y="288206"/>
                  </a:lnTo>
                  <a:lnTo>
                    <a:pt x="1425508" y="272286"/>
                  </a:lnTo>
                  <a:lnTo>
                    <a:pt x="1419395" y="284197"/>
                  </a:lnTo>
                  <a:lnTo>
                    <a:pt x="1413162" y="290418"/>
                  </a:lnTo>
                  <a:lnTo>
                    <a:pt x="1409388" y="293557"/>
                  </a:lnTo>
                  <a:lnTo>
                    <a:pt x="1405154" y="295362"/>
                  </a:lnTo>
                  <a:lnTo>
                    <a:pt x="1389133" y="296918"/>
                  </a:lnTo>
                  <a:lnTo>
                    <a:pt x="1393068" y="291109"/>
                  </a:lnTo>
                  <a:lnTo>
                    <a:pt x="1396682" y="282515"/>
                  </a:lnTo>
                  <a:lnTo>
                    <a:pt x="1392857" y="285730"/>
                  </a:lnTo>
                  <a:lnTo>
                    <a:pt x="1383826" y="290556"/>
                  </a:lnTo>
                  <a:lnTo>
                    <a:pt x="1377068" y="293084"/>
                  </a:lnTo>
                  <a:lnTo>
                    <a:pt x="1371499" y="294415"/>
                  </a:lnTo>
                  <a:lnTo>
                    <a:pt x="1360694" y="294094"/>
                  </a:lnTo>
                  <a:lnTo>
                    <a:pt x="1355309" y="291679"/>
                  </a:lnTo>
                  <a:lnTo>
                    <a:pt x="1356846" y="285741"/>
                  </a:lnTo>
                  <a:lnTo>
                    <a:pt x="1356841" y="278406"/>
                  </a:lnTo>
                  <a:lnTo>
                    <a:pt x="1360139" y="274997"/>
                  </a:lnTo>
                  <a:lnTo>
                    <a:pt x="1365133" y="270619"/>
                  </a:lnTo>
                  <a:lnTo>
                    <a:pt x="1370492" y="264704"/>
                  </a:lnTo>
                  <a:lnTo>
                    <a:pt x="1374170" y="258541"/>
                  </a:lnTo>
                  <a:lnTo>
                    <a:pt x="1388522" y="255785"/>
                  </a:lnTo>
                  <a:lnTo>
                    <a:pt x="1402490" y="254661"/>
                  </a:lnTo>
                  <a:lnTo>
                    <a:pt x="1414188" y="251394"/>
                  </a:lnTo>
                  <a:lnTo>
                    <a:pt x="1419916" y="250820"/>
                  </a:lnTo>
                  <a:lnTo>
                    <a:pt x="1425406" y="252372"/>
                  </a:lnTo>
                  <a:lnTo>
                    <a:pt x="1447703" y="254916"/>
                  </a:lnTo>
                  <a:lnTo>
                    <a:pt x="1456854" y="256856"/>
                  </a:lnTo>
                  <a:lnTo>
                    <a:pt x="1460868" y="258262"/>
                  </a:lnTo>
                  <a:lnTo>
                    <a:pt x="1463842" y="258768"/>
                  </a:lnTo>
                  <a:lnTo>
                    <a:pt x="1466986" y="256668"/>
                  </a:lnTo>
                  <a:lnTo>
                    <a:pt x="1470984" y="254637"/>
                  </a:lnTo>
                  <a:lnTo>
                    <a:pt x="1484879" y="254845"/>
                  </a:lnTo>
                  <a:lnTo>
                    <a:pt x="1488710" y="254473"/>
                  </a:lnTo>
                  <a:lnTo>
                    <a:pt x="1492250" y="253518"/>
                  </a:lnTo>
                  <a:lnTo>
                    <a:pt x="1496560" y="251591"/>
                  </a:lnTo>
                  <a:lnTo>
                    <a:pt x="1501639" y="248681"/>
                  </a:lnTo>
                  <a:lnTo>
                    <a:pt x="1502418" y="247252"/>
                  </a:lnTo>
                  <a:lnTo>
                    <a:pt x="1498893" y="247305"/>
                  </a:lnTo>
                  <a:lnTo>
                    <a:pt x="1495363" y="248034"/>
                  </a:lnTo>
                  <a:lnTo>
                    <a:pt x="1490061" y="250156"/>
                  </a:lnTo>
                  <a:lnTo>
                    <a:pt x="1484956" y="251301"/>
                  </a:lnTo>
                  <a:lnTo>
                    <a:pt x="1479749" y="251085"/>
                  </a:lnTo>
                  <a:lnTo>
                    <a:pt x="1469240" y="249290"/>
                  </a:lnTo>
                  <a:lnTo>
                    <a:pt x="1450982" y="248967"/>
                  </a:lnTo>
                  <a:lnTo>
                    <a:pt x="1441671" y="248149"/>
                  </a:lnTo>
                  <a:lnTo>
                    <a:pt x="1437353" y="247280"/>
                  </a:lnTo>
                  <a:lnTo>
                    <a:pt x="1434921" y="246083"/>
                  </a:lnTo>
                  <a:lnTo>
                    <a:pt x="1432795" y="244283"/>
                  </a:lnTo>
                  <a:lnTo>
                    <a:pt x="1430971" y="241878"/>
                  </a:lnTo>
                  <a:lnTo>
                    <a:pt x="1431922" y="240187"/>
                  </a:lnTo>
                  <a:lnTo>
                    <a:pt x="1435642" y="239213"/>
                  </a:lnTo>
                  <a:lnTo>
                    <a:pt x="1438861" y="239009"/>
                  </a:lnTo>
                  <a:lnTo>
                    <a:pt x="1444023" y="240334"/>
                  </a:lnTo>
                  <a:lnTo>
                    <a:pt x="1449815" y="242579"/>
                  </a:lnTo>
                  <a:lnTo>
                    <a:pt x="1456122" y="242871"/>
                  </a:lnTo>
                  <a:lnTo>
                    <a:pt x="1453938" y="240820"/>
                  </a:lnTo>
                  <a:lnTo>
                    <a:pt x="1445922" y="236696"/>
                  </a:lnTo>
                  <a:lnTo>
                    <a:pt x="1440363" y="233192"/>
                  </a:lnTo>
                  <a:lnTo>
                    <a:pt x="1435706" y="228877"/>
                  </a:lnTo>
                  <a:lnTo>
                    <a:pt x="1432122" y="224600"/>
                  </a:lnTo>
                  <a:lnTo>
                    <a:pt x="1424160" y="217876"/>
                  </a:lnTo>
                  <a:lnTo>
                    <a:pt x="1417735" y="211170"/>
                  </a:lnTo>
                  <a:lnTo>
                    <a:pt x="1413203" y="208195"/>
                  </a:lnTo>
                  <a:lnTo>
                    <a:pt x="1408426" y="206720"/>
                  </a:lnTo>
                  <a:lnTo>
                    <a:pt x="1393857" y="204880"/>
                  </a:lnTo>
                  <a:lnTo>
                    <a:pt x="1390937" y="203680"/>
                  </a:lnTo>
                  <a:lnTo>
                    <a:pt x="1383987" y="197793"/>
                  </a:lnTo>
                  <a:lnTo>
                    <a:pt x="1382121" y="187808"/>
                  </a:lnTo>
                  <a:lnTo>
                    <a:pt x="1379074" y="181701"/>
                  </a:lnTo>
                  <a:lnTo>
                    <a:pt x="1382015" y="173866"/>
                  </a:lnTo>
                  <a:lnTo>
                    <a:pt x="1386866" y="170303"/>
                  </a:lnTo>
                  <a:lnTo>
                    <a:pt x="1415964" y="173078"/>
                  </a:lnTo>
                  <a:lnTo>
                    <a:pt x="1428241" y="172662"/>
                  </a:lnTo>
                  <a:lnTo>
                    <a:pt x="1443934" y="173649"/>
                  </a:lnTo>
                  <a:lnTo>
                    <a:pt x="1452376" y="175572"/>
                  </a:lnTo>
                  <a:lnTo>
                    <a:pt x="1462009" y="180340"/>
                  </a:lnTo>
                  <a:lnTo>
                    <a:pt x="1470616" y="185699"/>
                  </a:lnTo>
                  <a:lnTo>
                    <a:pt x="1478902" y="189276"/>
                  </a:lnTo>
                  <a:lnTo>
                    <a:pt x="1486522" y="194159"/>
                  </a:lnTo>
                  <a:lnTo>
                    <a:pt x="1494844" y="201386"/>
                  </a:lnTo>
                  <a:lnTo>
                    <a:pt x="1499739" y="204844"/>
                  </a:lnTo>
                  <a:lnTo>
                    <a:pt x="1503982" y="206952"/>
                  </a:lnTo>
                  <a:lnTo>
                    <a:pt x="1509696" y="208766"/>
                  </a:lnTo>
                  <a:lnTo>
                    <a:pt x="1520472" y="211052"/>
                  </a:lnTo>
                  <a:lnTo>
                    <a:pt x="1529860" y="211806"/>
                  </a:lnTo>
                  <a:lnTo>
                    <a:pt x="1534725" y="211508"/>
                  </a:lnTo>
                  <a:lnTo>
                    <a:pt x="1539931" y="209850"/>
                  </a:lnTo>
                  <a:lnTo>
                    <a:pt x="1543638" y="207888"/>
                  </a:lnTo>
                  <a:lnTo>
                    <a:pt x="1539505" y="207344"/>
                  </a:lnTo>
                  <a:lnTo>
                    <a:pt x="1528689" y="207574"/>
                  </a:lnTo>
                  <a:lnTo>
                    <a:pt x="1521179" y="206532"/>
                  </a:lnTo>
                  <a:lnTo>
                    <a:pt x="1516897" y="204219"/>
                  </a:lnTo>
                  <a:lnTo>
                    <a:pt x="1512343" y="201097"/>
                  </a:lnTo>
                  <a:lnTo>
                    <a:pt x="1505102" y="195198"/>
                  </a:lnTo>
                  <a:lnTo>
                    <a:pt x="1499624" y="191335"/>
                  </a:lnTo>
                  <a:lnTo>
                    <a:pt x="1487653" y="185018"/>
                  </a:lnTo>
                  <a:lnTo>
                    <a:pt x="1478806" y="178716"/>
                  </a:lnTo>
                  <a:lnTo>
                    <a:pt x="1471710" y="172721"/>
                  </a:lnTo>
                  <a:lnTo>
                    <a:pt x="1471054" y="170111"/>
                  </a:lnTo>
                  <a:lnTo>
                    <a:pt x="1476181" y="168293"/>
                  </a:lnTo>
                  <a:lnTo>
                    <a:pt x="1482487" y="167020"/>
                  </a:lnTo>
                  <a:lnTo>
                    <a:pt x="1521953" y="162939"/>
                  </a:lnTo>
                  <a:lnTo>
                    <a:pt x="1545499" y="158052"/>
                  </a:lnTo>
                  <a:lnTo>
                    <a:pt x="1555051" y="152366"/>
                  </a:lnTo>
                  <a:lnTo>
                    <a:pt x="1556192" y="151033"/>
                  </a:lnTo>
                  <a:lnTo>
                    <a:pt x="1587714" y="142971"/>
                  </a:lnTo>
                  <a:lnTo>
                    <a:pt x="1610004" y="139987"/>
                  </a:lnTo>
                  <a:lnTo>
                    <a:pt x="1618573" y="139504"/>
                  </a:lnTo>
                  <a:lnTo>
                    <a:pt x="1626337" y="138207"/>
                  </a:lnTo>
                  <a:lnTo>
                    <a:pt x="1626658" y="137413"/>
                  </a:lnTo>
                  <a:lnTo>
                    <a:pt x="1619857" y="136329"/>
                  </a:lnTo>
                  <a:lnTo>
                    <a:pt x="1612988" y="135796"/>
                  </a:lnTo>
                  <a:lnTo>
                    <a:pt x="1597410" y="135830"/>
                  </a:lnTo>
                  <a:lnTo>
                    <a:pt x="1583535" y="134844"/>
                  </a:lnTo>
                  <a:lnTo>
                    <a:pt x="1579345" y="133047"/>
                  </a:lnTo>
                  <a:lnTo>
                    <a:pt x="1580216" y="130107"/>
                  </a:lnTo>
                  <a:lnTo>
                    <a:pt x="1581549" y="127581"/>
                  </a:lnTo>
                  <a:lnTo>
                    <a:pt x="1585742" y="123349"/>
                  </a:lnTo>
                  <a:lnTo>
                    <a:pt x="1590233" y="120164"/>
                  </a:lnTo>
                  <a:lnTo>
                    <a:pt x="1609271" y="110957"/>
                  </a:lnTo>
                  <a:lnTo>
                    <a:pt x="1622084" y="107069"/>
                  </a:lnTo>
                  <a:lnTo>
                    <a:pt x="1625776" y="104381"/>
                  </a:lnTo>
                  <a:lnTo>
                    <a:pt x="1598207" y="110373"/>
                  </a:lnTo>
                  <a:lnTo>
                    <a:pt x="1588578" y="114690"/>
                  </a:lnTo>
                  <a:lnTo>
                    <a:pt x="1578898" y="121157"/>
                  </a:lnTo>
                  <a:lnTo>
                    <a:pt x="1573886" y="123057"/>
                  </a:lnTo>
                  <a:lnTo>
                    <a:pt x="1570313" y="122555"/>
                  </a:lnTo>
                  <a:lnTo>
                    <a:pt x="1567121" y="123157"/>
                  </a:lnTo>
                  <a:lnTo>
                    <a:pt x="1564311" y="124859"/>
                  </a:lnTo>
                  <a:lnTo>
                    <a:pt x="1561953" y="127974"/>
                  </a:lnTo>
                  <a:lnTo>
                    <a:pt x="1560048" y="132493"/>
                  </a:lnTo>
                  <a:lnTo>
                    <a:pt x="1558320" y="135563"/>
                  </a:lnTo>
                  <a:lnTo>
                    <a:pt x="1556768" y="137198"/>
                  </a:lnTo>
                  <a:lnTo>
                    <a:pt x="1552846" y="139562"/>
                  </a:lnTo>
                  <a:lnTo>
                    <a:pt x="1543407" y="144182"/>
                  </a:lnTo>
                  <a:lnTo>
                    <a:pt x="1521259" y="150619"/>
                  </a:lnTo>
                  <a:lnTo>
                    <a:pt x="1513806" y="152250"/>
                  </a:lnTo>
                  <a:lnTo>
                    <a:pt x="1507423" y="152509"/>
                  </a:lnTo>
                  <a:lnTo>
                    <a:pt x="1486744" y="156127"/>
                  </a:lnTo>
                  <a:lnTo>
                    <a:pt x="1480536" y="156270"/>
                  </a:lnTo>
                  <a:lnTo>
                    <a:pt x="1473658" y="155173"/>
                  </a:lnTo>
                  <a:lnTo>
                    <a:pt x="1476599" y="152046"/>
                  </a:lnTo>
                  <a:lnTo>
                    <a:pt x="1487541" y="146265"/>
                  </a:lnTo>
                  <a:lnTo>
                    <a:pt x="1490443" y="143684"/>
                  </a:lnTo>
                  <a:lnTo>
                    <a:pt x="1483443" y="144247"/>
                  </a:lnTo>
                  <a:lnTo>
                    <a:pt x="1476304" y="145830"/>
                  </a:lnTo>
                  <a:lnTo>
                    <a:pt x="1460546" y="147133"/>
                  </a:lnTo>
                  <a:lnTo>
                    <a:pt x="1454316" y="149488"/>
                  </a:lnTo>
                  <a:lnTo>
                    <a:pt x="1448275" y="153748"/>
                  </a:lnTo>
                  <a:lnTo>
                    <a:pt x="1443434" y="156425"/>
                  </a:lnTo>
                  <a:lnTo>
                    <a:pt x="1439795" y="157509"/>
                  </a:lnTo>
                  <a:lnTo>
                    <a:pt x="1434774" y="158158"/>
                  </a:lnTo>
                  <a:lnTo>
                    <a:pt x="1416314" y="158488"/>
                  </a:lnTo>
                  <a:lnTo>
                    <a:pt x="1412217" y="158204"/>
                  </a:lnTo>
                  <a:lnTo>
                    <a:pt x="1401597" y="154961"/>
                  </a:lnTo>
                  <a:lnTo>
                    <a:pt x="1392192" y="156080"/>
                  </a:lnTo>
                  <a:lnTo>
                    <a:pt x="1388308" y="155866"/>
                  </a:lnTo>
                  <a:lnTo>
                    <a:pt x="1381176" y="153573"/>
                  </a:lnTo>
                  <a:lnTo>
                    <a:pt x="1379050" y="152084"/>
                  </a:lnTo>
                  <a:lnTo>
                    <a:pt x="1379363" y="150080"/>
                  </a:lnTo>
                  <a:lnTo>
                    <a:pt x="1383487" y="146303"/>
                  </a:lnTo>
                  <a:lnTo>
                    <a:pt x="1388263" y="142665"/>
                  </a:lnTo>
                  <a:lnTo>
                    <a:pt x="1403801" y="134656"/>
                  </a:lnTo>
                  <a:lnTo>
                    <a:pt x="1413767" y="130892"/>
                  </a:lnTo>
                  <a:lnTo>
                    <a:pt x="1428128" y="127645"/>
                  </a:lnTo>
                  <a:lnTo>
                    <a:pt x="1461870" y="124009"/>
                  </a:lnTo>
                  <a:lnTo>
                    <a:pt x="1463402" y="121340"/>
                  </a:lnTo>
                  <a:lnTo>
                    <a:pt x="1429256" y="124321"/>
                  </a:lnTo>
                  <a:lnTo>
                    <a:pt x="1400212" y="128082"/>
                  </a:lnTo>
                  <a:lnTo>
                    <a:pt x="1395498" y="129461"/>
                  </a:lnTo>
                  <a:lnTo>
                    <a:pt x="1388736" y="133141"/>
                  </a:lnTo>
                  <a:lnTo>
                    <a:pt x="1367263" y="146406"/>
                  </a:lnTo>
                  <a:lnTo>
                    <a:pt x="1360934" y="149741"/>
                  </a:lnTo>
                  <a:lnTo>
                    <a:pt x="1351254" y="150538"/>
                  </a:lnTo>
                  <a:lnTo>
                    <a:pt x="1343850" y="149410"/>
                  </a:lnTo>
                  <a:lnTo>
                    <a:pt x="1338061" y="147733"/>
                  </a:lnTo>
                  <a:lnTo>
                    <a:pt x="1328092" y="143817"/>
                  </a:lnTo>
                  <a:lnTo>
                    <a:pt x="1320578" y="141714"/>
                  </a:lnTo>
                  <a:lnTo>
                    <a:pt x="1317023" y="140297"/>
                  </a:lnTo>
                  <a:lnTo>
                    <a:pt x="1314920" y="138867"/>
                  </a:lnTo>
                  <a:lnTo>
                    <a:pt x="1313216" y="137189"/>
                  </a:lnTo>
                  <a:lnTo>
                    <a:pt x="1311910" y="135267"/>
                  </a:lnTo>
                  <a:lnTo>
                    <a:pt x="1314355" y="133663"/>
                  </a:lnTo>
                  <a:lnTo>
                    <a:pt x="1333468" y="130185"/>
                  </a:lnTo>
                  <a:lnTo>
                    <a:pt x="1359444" y="130863"/>
                  </a:lnTo>
                  <a:lnTo>
                    <a:pt x="1371099" y="130145"/>
                  </a:lnTo>
                  <a:lnTo>
                    <a:pt x="1382566" y="128040"/>
                  </a:lnTo>
                  <a:lnTo>
                    <a:pt x="1399484" y="122798"/>
                  </a:lnTo>
                  <a:lnTo>
                    <a:pt x="1417900" y="115415"/>
                  </a:lnTo>
                  <a:lnTo>
                    <a:pt x="1421503" y="113052"/>
                  </a:lnTo>
                  <a:lnTo>
                    <a:pt x="1414781" y="112532"/>
                  </a:lnTo>
                  <a:lnTo>
                    <a:pt x="1409806" y="113108"/>
                  </a:lnTo>
                  <a:lnTo>
                    <a:pt x="1397824" y="115755"/>
                  </a:lnTo>
                  <a:lnTo>
                    <a:pt x="1378865" y="122853"/>
                  </a:lnTo>
                  <a:lnTo>
                    <a:pt x="1362323" y="125353"/>
                  </a:lnTo>
                  <a:lnTo>
                    <a:pt x="1321456" y="126684"/>
                  </a:lnTo>
                  <a:lnTo>
                    <a:pt x="1308485" y="128661"/>
                  </a:lnTo>
                  <a:lnTo>
                    <a:pt x="1302788" y="128237"/>
                  </a:lnTo>
                  <a:lnTo>
                    <a:pt x="1298497" y="126305"/>
                  </a:lnTo>
                  <a:lnTo>
                    <a:pt x="1293713" y="122730"/>
                  </a:lnTo>
                  <a:lnTo>
                    <a:pt x="1294566" y="119862"/>
                  </a:lnTo>
                  <a:lnTo>
                    <a:pt x="1304301" y="116639"/>
                  </a:lnTo>
                  <a:lnTo>
                    <a:pt x="1311929" y="115883"/>
                  </a:lnTo>
                  <a:lnTo>
                    <a:pt x="1313294" y="115221"/>
                  </a:lnTo>
                  <a:lnTo>
                    <a:pt x="1302468" y="112102"/>
                  </a:lnTo>
                  <a:lnTo>
                    <a:pt x="1301505" y="110505"/>
                  </a:lnTo>
                  <a:lnTo>
                    <a:pt x="1307759" y="106964"/>
                  </a:lnTo>
                  <a:lnTo>
                    <a:pt x="1321318" y="101735"/>
                  </a:lnTo>
                  <a:lnTo>
                    <a:pt x="1328173" y="100085"/>
                  </a:lnTo>
                  <a:lnTo>
                    <a:pt x="1340735" y="99034"/>
                  </a:lnTo>
                  <a:lnTo>
                    <a:pt x="1353662" y="99608"/>
                  </a:lnTo>
                  <a:lnTo>
                    <a:pt x="1354161" y="98609"/>
                  </a:lnTo>
                  <a:lnTo>
                    <a:pt x="1341373" y="96623"/>
                  </a:lnTo>
                  <a:lnTo>
                    <a:pt x="1331796" y="96259"/>
                  </a:lnTo>
                  <a:lnTo>
                    <a:pt x="1319135" y="97660"/>
                  </a:lnTo>
                  <a:lnTo>
                    <a:pt x="1285534" y="106139"/>
                  </a:lnTo>
                  <a:lnTo>
                    <a:pt x="1282674" y="105884"/>
                  </a:lnTo>
                  <a:lnTo>
                    <a:pt x="1277787" y="104426"/>
                  </a:lnTo>
                  <a:lnTo>
                    <a:pt x="1279188" y="102333"/>
                  </a:lnTo>
                  <a:lnTo>
                    <a:pt x="1297155" y="93410"/>
                  </a:lnTo>
                  <a:lnTo>
                    <a:pt x="1297751" y="92001"/>
                  </a:lnTo>
                  <a:lnTo>
                    <a:pt x="1284841" y="92203"/>
                  </a:lnTo>
                  <a:lnTo>
                    <a:pt x="1281049" y="91779"/>
                  </a:lnTo>
                  <a:lnTo>
                    <a:pt x="1277349" y="90718"/>
                  </a:lnTo>
                  <a:lnTo>
                    <a:pt x="1272089" y="91661"/>
                  </a:lnTo>
                  <a:lnTo>
                    <a:pt x="1265268" y="94602"/>
                  </a:lnTo>
                  <a:lnTo>
                    <a:pt x="1260460" y="95860"/>
                  </a:lnTo>
                  <a:lnTo>
                    <a:pt x="1257660" y="95437"/>
                  </a:lnTo>
                  <a:lnTo>
                    <a:pt x="1250527" y="91951"/>
                  </a:lnTo>
                  <a:lnTo>
                    <a:pt x="1251454" y="89027"/>
                  </a:lnTo>
                  <a:lnTo>
                    <a:pt x="1257127" y="85352"/>
                  </a:lnTo>
                  <a:lnTo>
                    <a:pt x="1262309" y="82700"/>
                  </a:lnTo>
                  <a:lnTo>
                    <a:pt x="1269346" y="80278"/>
                  </a:lnTo>
                  <a:lnTo>
                    <a:pt x="1280801" y="77235"/>
                  </a:lnTo>
                  <a:lnTo>
                    <a:pt x="1289096" y="76208"/>
                  </a:lnTo>
                  <a:lnTo>
                    <a:pt x="1302526" y="76178"/>
                  </a:lnTo>
                  <a:lnTo>
                    <a:pt x="1308925" y="74818"/>
                  </a:lnTo>
                  <a:lnTo>
                    <a:pt x="1314622" y="72449"/>
                  </a:lnTo>
                  <a:lnTo>
                    <a:pt x="1321750" y="68608"/>
                  </a:lnTo>
                  <a:lnTo>
                    <a:pt x="1329569" y="65962"/>
                  </a:lnTo>
                  <a:lnTo>
                    <a:pt x="1342340" y="63784"/>
                  </a:lnTo>
                  <a:lnTo>
                    <a:pt x="1353099" y="64487"/>
                  </a:lnTo>
                  <a:lnTo>
                    <a:pt x="1359045" y="66385"/>
                  </a:lnTo>
                  <a:lnTo>
                    <a:pt x="1363767" y="69708"/>
                  </a:lnTo>
                  <a:lnTo>
                    <a:pt x="1368838" y="72246"/>
                  </a:lnTo>
                  <a:lnTo>
                    <a:pt x="1369319" y="70197"/>
                  </a:lnTo>
                  <a:lnTo>
                    <a:pt x="1373507" y="67667"/>
                  </a:lnTo>
                  <a:lnTo>
                    <a:pt x="1378761" y="66580"/>
                  </a:lnTo>
                  <a:lnTo>
                    <a:pt x="1385082" y="66943"/>
                  </a:lnTo>
                  <a:lnTo>
                    <a:pt x="1390640" y="68146"/>
                  </a:lnTo>
                  <a:lnTo>
                    <a:pt x="1397830" y="71207"/>
                  </a:lnTo>
                  <a:lnTo>
                    <a:pt x="1403641" y="72581"/>
                  </a:lnTo>
                  <a:lnTo>
                    <a:pt x="1406371" y="72497"/>
                  </a:lnTo>
                  <a:lnTo>
                    <a:pt x="1409789" y="70805"/>
                  </a:lnTo>
                  <a:lnTo>
                    <a:pt x="1418876" y="70769"/>
                  </a:lnTo>
                  <a:lnTo>
                    <a:pt x="1418687" y="70050"/>
                  </a:lnTo>
                  <a:lnTo>
                    <a:pt x="1415721" y="68278"/>
                  </a:lnTo>
                  <a:lnTo>
                    <a:pt x="1412137" y="67012"/>
                  </a:lnTo>
                  <a:lnTo>
                    <a:pt x="1379933" y="58190"/>
                  </a:lnTo>
                  <a:lnTo>
                    <a:pt x="1379046" y="56255"/>
                  </a:lnTo>
                  <a:lnTo>
                    <a:pt x="1389898" y="54437"/>
                  </a:lnTo>
                  <a:lnTo>
                    <a:pt x="1396683" y="52264"/>
                  </a:lnTo>
                  <a:lnTo>
                    <a:pt x="1399868" y="51735"/>
                  </a:lnTo>
                  <a:lnTo>
                    <a:pt x="1407819" y="47103"/>
                  </a:lnTo>
                  <a:lnTo>
                    <a:pt x="1413014" y="44685"/>
                  </a:lnTo>
                  <a:lnTo>
                    <a:pt x="1422628" y="41937"/>
                  </a:lnTo>
                  <a:lnTo>
                    <a:pt x="1426484" y="42687"/>
                  </a:lnTo>
                  <a:lnTo>
                    <a:pt x="1431336" y="45113"/>
                  </a:lnTo>
                  <a:lnTo>
                    <a:pt x="1436034" y="46630"/>
                  </a:lnTo>
                  <a:lnTo>
                    <a:pt x="1449841" y="48073"/>
                  </a:lnTo>
                  <a:lnTo>
                    <a:pt x="1455747" y="49575"/>
                  </a:lnTo>
                  <a:lnTo>
                    <a:pt x="1466270" y="58190"/>
                  </a:lnTo>
                  <a:lnTo>
                    <a:pt x="1470467" y="60998"/>
                  </a:lnTo>
                  <a:lnTo>
                    <a:pt x="1476449" y="63879"/>
                  </a:lnTo>
                  <a:lnTo>
                    <a:pt x="1480013" y="64964"/>
                  </a:lnTo>
                  <a:lnTo>
                    <a:pt x="1487054" y="65658"/>
                  </a:lnTo>
                  <a:lnTo>
                    <a:pt x="1487779" y="64029"/>
                  </a:lnTo>
                  <a:lnTo>
                    <a:pt x="1479419" y="59975"/>
                  </a:lnTo>
                  <a:lnTo>
                    <a:pt x="1477128" y="57620"/>
                  </a:lnTo>
                  <a:lnTo>
                    <a:pt x="1478113" y="55626"/>
                  </a:lnTo>
                  <a:lnTo>
                    <a:pt x="1479894" y="54572"/>
                  </a:lnTo>
                  <a:lnTo>
                    <a:pt x="1482467" y="54478"/>
                  </a:lnTo>
                  <a:lnTo>
                    <a:pt x="1489068" y="56260"/>
                  </a:lnTo>
                  <a:lnTo>
                    <a:pt x="1506617" y="62301"/>
                  </a:lnTo>
                  <a:lnTo>
                    <a:pt x="1532851" y="69433"/>
                  </a:lnTo>
                  <a:lnTo>
                    <a:pt x="1542905" y="71086"/>
                  </a:lnTo>
                  <a:lnTo>
                    <a:pt x="1549110" y="73625"/>
                  </a:lnTo>
                  <a:lnTo>
                    <a:pt x="1554767" y="76706"/>
                  </a:lnTo>
                  <a:lnTo>
                    <a:pt x="1560343" y="78832"/>
                  </a:lnTo>
                  <a:lnTo>
                    <a:pt x="1561377" y="78628"/>
                  </a:lnTo>
                  <a:lnTo>
                    <a:pt x="1556189" y="73864"/>
                  </a:lnTo>
                  <a:lnTo>
                    <a:pt x="1543501" y="67973"/>
                  </a:lnTo>
                  <a:lnTo>
                    <a:pt x="1509564" y="57870"/>
                  </a:lnTo>
                  <a:lnTo>
                    <a:pt x="1496142" y="52560"/>
                  </a:lnTo>
                  <a:lnTo>
                    <a:pt x="1489649" y="48963"/>
                  </a:lnTo>
                  <a:lnTo>
                    <a:pt x="1484732" y="45320"/>
                  </a:lnTo>
                  <a:lnTo>
                    <a:pt x="1484636" y="43325"/>
                  </a:lnTo>
                  <a:lnTo>
                    <a:pt x="1489263" y="40988"/>
                  </a:lnTo>
                  <a:lnTo>
                    <a:pt x="1495492" y="39135"/>
                  </a:lnTo>
                  <a:lnTo>
                    <a:pt x="1503237" y="38396"/>
                  </a:lnTo>
                  <a:lnTo>
                    <a:pt x="1504165" y="37623"/>
                  </a:lnTo>
                  <a:lnTo>
                    <a:pt x="1497130" y="34840"/>
                  </a:lnTo>
                  <a:lnTo>
                    <a:pt x="1492975" y="32432"/>
                  </a:lnTo>
                  <a:lnTo>
                    <a:pt x="1493118" y="30748"/>
                  </a:lnTo>
                  <a:lnTo>
                    <a:pt x="1501523" y="29462"/>
                  </a:lnTo>
                  <a:lnTo>
                    <a:pt x="1506739" y="29849"/>
                  </a:lnTo>
                  <a:lnTo>
                    <a:pt x="1516649" y="32887"/>
                  </a:lnTo>
                  <a:lnTo>
                    <a:pt x="1524924" y="34321"/>
                  </a:lnTo>
                  <a:lnTo>
                    <a:pt x="1526264" y="33394"/>
                  </a:lnTo>
                  <a:lnTo>
                    <a:pt x="1517720" y="25301"/>
                  </a:lnTo>
                  <a:lnTo>
                    <a:pt x="1516921" y="23473"/>
                  </a:lnTo>
                  <a:lnTo>
                    <a:pt x="1518187" y="22402"/>
                  </a:lnTo>
                  <a:lnTo>
                    <a:pt x="1521179" y="21313"/>
                  </a:lnTo>
                  <a:lnTo>
                    <a:pt x="1530132" y="21939"/>
                  </a:lnTo>
                  <a:lnTo>
                    <a:pt x="1544872" y="25888"/>
                  </a:lnTo>
                  <a:lnTo>
                    <a:pt x="1571261" y="27868"/>
                  </a:lnTo>
                  <a:lnTo>
                    <a:pt x="1578520" y="27571"/>
                  </a:lnTo>
                  <a:lnTo>
                    <a:pt x="1577429" y="26661"/>
                  </a:lnTo>
                  <a:lnTo>
                    <a:pt x="1566895" y="24221"/>
                  </a:lnTo>
                  <a:lnTo>
                    <a:pt x="1555871" y="20941"/>
                  </a:lnTo>
                  <a:lnTo>
                    <a:pt x="1551009" y="18955"/>
                  </a:lnTo>
                  <a:lnTo>
                    <a:pt x="1547445" y="16279"/>
                  </a:lnTo>
                  <a:lnTo>
                    <a:pt x="1543215" y="14055"/>
                  </a:lnTo>
                  <a:lnTo>
                    <a:pt x="1542865" y="12989"/>
                  </a:lnTo>
                  <a:lnTo>
                    <a:pt x="1549676" y="11257"/>
                  </a:lnTo>
                  <a:lnTo>
                    <a:pt x="1567571" y="11593"/>
                  </a:lnTo>
                  <a:lnTo>
                    <a:pt x="1584196" y="14253"/>
                  </a:lnTo>
                  <a:lnTo>
                    <a:pt x="1598302" y="13291"/>
                  </a:lnTo>
                  <a:lnTo>
                    <a:pt x="1607191" y="13953"/>
                  </a:lnTo>
                  <a:lnTo>
                    <a:pt x="1610702" y="14755"/>
                  </a:lnTo>
                  <a:lnTo>
                    <a:pt x="1617135" y="17652"/>
                  </a:lnTo>
                  <a:lnTo>
                    <a:pt x="1637544" y="28103"/>
                  </a:lnTo>
                  <a:lnTo>
                    <a:pt x="1639711" y="29761"/>
                  </a:lnTo>
                  <a:lnTo>
                    <a:pt x="1642031" y="32285"/>
                  </a:lnTo>
                  <a:lnTo>
                    <a:pt x="1644504" y="35676"/>
                  </a:lnTo>
                  <a:lnTo>
                    <a:pt x="1647981" y="36593"/>
                  </a:lnTo>
                  <a:lnTo>
                    <a:pt x="1654702" y="34266"/>
                  </a:lnTo>
                  <a:lnTo>
                    <a:pt x="1659234" y="32007"/>
                  </a:lnTo>
                  <a:lnTo>
                    <a:pt x="1657275" y="29819"/>
                  </a:lnTo>
                  <a:lnTo>
                    <a:pt x="1646014" y="24794"/>
                  </a:lnTo>
                  <a:lnTo>
                    <a:pt x="1643457" y="22642"/>
                  </a:lnTo>
                  <a:lnTo>
                    <a:pt x="1637825" y="18999"/>
                  </a:lnTo>
                  <a:lnTo>
                    <a:pt x="1625184" y="12464"/>
                  </a:lnTo>
                  <a:lnTo>
                    <a:pt x="1621818" y="9423"/>
                  </a:lnTo>
                  <a:lnTo>
                    <a:pt x="1619696" y="6826"/>
                  </a:lnTo>
                  <a:lnTo>
                    <a:pt x="1654687" y="4378"/>
                  </a:lnTo>
                  <a:lnTo>
                    <a:pt x="1688430" y="6535"/>
                  </a:lnTo>
                  <a:lnTo>
                    <a:pt x="1693917" y="8064"/>
                  </a:lnTo>
                  <a:lnTo>
                    <a:pt x="1697516" y="10192"/>
                  </a:lnTo>
                  <a:lnTo>
                    <a:pt x="1701049" y="13427"/>
                  </a:lnTo>
                  <a:lnTo>
                    <a:pt x="1706459" y="16728"/>
                  </a:lnTo>
                  <a:lnTo>
                    <a:pt x="1717391" y="21782"/>
                  </a:lnTo>
                  <a:lnTo>
                    <a:pt x="1732943" y="24921"/>
                  </a:lnTo>
                  <a:lnTo>
                    <a:pt x="1729970" y="22783"/>
                  </a:lnTo>
                  <a:lnTo>
                    <a:pt x="1718338" y="17209"/>
                  </a:lnTo>
                  <a:lnTo>
                    <a:pt x="1713084" y="13387"/>
                  </a:lnTo>
                  <a:lnTo>
                    <a:pt x="1713114" y="10795"/>
                  </a:lnTo>
                  <a:lnTo>
                    <a:pt x="1714049" y="8815"/>
                  </a:lnTo>
                  <a:lnTo>
                    <a:pt x="1715892" y="7446"/>
                  </a:lnTo>
                  <a:lnTo>
                    <a:pt x="1729063" y="2218"/>
                  </a:lnTo>
                  <a:lnTo>
                    <a:pt x="1747889" y="639"/>
                  </a:lnTo>
                  <a:lnTo>
                    <a:pt x="1750070" y="933"/>
                  </a:lnTo>
                  <a:lnTo>
                    <a:pt x="1764707" y="8959"/>
                  </a:lnTo>
                  <a:lnTo>
                    <a:pt x="1771654" y="12236"/>
                  </a:lnTo>
                  <a:lnTo>
                    <a:pt x="1776512" y="13550"/>
                  </a:lnTo>
                  <a:lnTo>
                    <a:pt x="1776700" y="12979"/>
                  </a:lnTo>
                  <a:lnTo>
                    <a:pt x="1769971" y="9293"/>
                  </a:lnTo>
                  <a:lnTo>
                    <a:pt x="1764797" y="7287"/>
                  </a:lnTo>
                  <a:lnTo>
                    <a:pt x="1764262" y="6028"/>
                  </a:lnTo>
                  <a:lnTo>
                    <a:pt x="1772851" y="2125"/>
                  </a:lnTo>
                  <a:lnTo>
                    <a:pt x="1778283" y="1142"/>
                  </a:lnTo>
                  <a:close/>
                </a:path>
              </a:pathLst>
            </a:custGeom>
            <a:solidFill>
              <a:srgbClr val="007CBC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47" name="ee4p_CL_1_82333">
              <a:extLst>
                <a:ext uri="{FF2B5EF4-FFF2-40B4-BE49-F238E27FC236}">
                  <a16:creationId xmlns:a16="http://schemas.microsoft.com/office/drawing/2014/main" id="{C7FC24A9-F250-D170-83FD-88FB1942B48F}"/>
                </a:ext>
              </a:extLst>
            </p:cNvPr>
            <p:cNvSpPr>
              <a:spLocks noChangeAspect="1"/>
            </p:cNvSpPr>
            <p:nvPr>
              <p:custDataLst>
                <p:tags r:id="rId175"/>
              </p:custDataLst>
            </p:nvPr>
          </p:nvSpPr>
          <p:spPr>
            <a:xfrm>
              <a:off x="4412335" y="5180199"/>
              <a:ext cx="257486" cy="1281801"/>
            </a:xfrm>
            <a:custGeom>
              <a:avLst/>
              <a:gdLst>
                <a:gd name="connsiteX0" fmla="*/ 201483 w 235112"/>
                <a:gd name="connsiteY0" fmla="*/ 1136700 h 1139396"/>
                <a:gd name="connsiteX1" fmla="*/ 206992 w 235112"/>
                <a:gd name="connsiteY1" fmla="*/ 1137052 h 1139396"/>
                <a:gd name="connsiteX2" fmla="*/ 207689 w 235112"/>
                <a:gd name="connsiteY2" fmla="*/ 1137295 h 1139396"/>
                <a:gd name="connsiteX3" fmla="*/ 207879 w 235112"/>
                <a:gd name="connsiteY3" fmla="*/ 1137706 h 1139396"/>
                <a:gd name="connsiteX4" fmla="*/ 206980 w 235112"/>
                <a:gd name="connsiteY4" fmla="*/ 1138887 h 1139396"/>
                <a:gd name="connsiteX5" fmla="*/ 206221 w 235112"/>
                <a:gd name="connsiteY5" fmla="*/ 1139323 h 1139396"/>
                <a:gd name="connsiteX6" fmla="*/ 205302 w 235112"/>
                <a:gd name="connsiteY6" fmla="*/ 1139396 h 1139396"/>
                <a:gd name="connsiteX7" fmla="*/ 203069 w 235112"/>
                <a:gd name="connsiteY7" fmla="*/ 1138733 h 1139396"/>
                <a:gd name="connsiteX8" fmla="*/ 199720 w 235112"/>
                <a:gd name="connsiteY8" fmla="*/ 1138437 h 1139396"/>
                <a:gd name="connsiteX9" fmla="*/ 199343 w 235112"/>
                <a:gd name="connsiteY9" fmla="*/ 1138166 h 1139396"/>
                <a:gd name="connsiteX10" fmla="*/ 199260 w 235112"/>
                <a:gd name="connsiteY10" fmla="*/ 1137644 h 1139396"/>
                <a:gd name="connsiteX11" fmla="*/ 199656 w 235112"/>
                <a:gd name="connsiteY11" fmla="*/ 1137107 h 1139396"/>
                <a:gd name="connsiteX12" fmla="*/ 210730 w 235112"/>
                <a:gd name="connsiteY12" fmla="*/ 1128481 h 1139396"/>
                <a:gd name="connsiteX13" fmla="*/ 211321 w 235112"/>
                <a:gd name="connsiteY13" fmla="*/ 1128629 h 1139396"/>
                <a:gd name="connsiteX14" fmla="*/ 211916 w 235112"/>
                <a:gd name="connsiteY14" fmla="*/ 1129439 h 1139396"/>
                <a:gd name="connsiteX15" fmla="*/ 212934 w 235112"/>
                <a:gd name="connsiteY15" fmla="*/ 1132161 h 1139396"/>
                <a:gd name="connsiteX16" fmla="*/ 214151 w 235112"/>
                <a:gd name="connsiteY16" fmla="*/ 1134122 h 1139396"/>
                <a:gd name="connsiteX17" fmla="*/ 214028 w 235112"/>
                <a:gd name="connsiteY17" fmla="*/ 1134800 h 1139396"/>
                <a:gd name="connsiteX18" fmla="*/ 213481 w 235112"/>
                <a:gd name="connsiteY18" fmla="*/ 1135301 h 1139396"/>
                <a:gd name="connsiteX19" fmla="*/ 212558 w 235112"/>
                <a:gd name="connsiteY19" fmla="*/ 1135583 h 1139396"/>
                <a:gd name="connsiteX20" fmla="*/ 211875 w 235112"/>
                <a:gd name="connsiteY20" fmla="*/ 1134915 h 1139396"/>
                <a:gd name="connsiteX21" fmla="*/ 210832 w 235112"/>
                <a:gd name="connsiteY21" fmla="*/ 1134442 h 1139396"/>
                <a:gd name="connsiteX22" fmla="*/ 206608 w 235112"/>
                <a:gd name="connsiteY22" fmla="*/ 1133447 h 1139396"/>
                <a:gd name="connsiteX23" fmla="*/ 206518 w 235112"/>
                <a:gd name="connsiteY23" fmla="*/ 1132842 h 1139396"/>
                <a:gd name="connsiteX24" fmla="*/ 206957 w 235112"/>
                <a:gd name="connsiteY24" fmla="*/ 1131983 h 1139396"/>
                <a:gd name="connsiteX25" fmla="*/ 207804 w 235112"/>
                <a:gd name="connsiteY25" fmla="*/ 1131213 h 1139396"/>
                <a:gd name="connsiteX26" fmla="*/ 209425 w 235112"/>
                <a:gd name="connsiteY26" fmla="*/ 1130453 h 1139396"/>
                <a:gd name="connsiteX27" fmla="*/ 232898 w 235112"/>
                <a:gd name="connsiteY27" fmla="*/ 1113613 h 1139396"/>
                <a:gd name="connsiteX28" fmla="*/ 235112 w 235112"/>
                <a:gd name="connsiteY28" fmla="*/ 1114470 h 1139396"/>
                <a:gd name="connsiteX29" fmla="*/ 234191 w 235112"/>
                <a:gd name="connsiteY29" fmla="*/ 1115861 h 1139396"/>
                <a:gd name="connsiteX30" fmla="*/ 232173 w 235112"/>
                <a:gd name="connsiteY30" fmla="*/ 1117408 h 1139396"/>
                <a:gd name="connsiteX31" fmla="*/ 230666 w 235112"/>
                <a:gd name="connsiteY31" fmla="*/ 1117305 h 1139396"/>
                <a:gd name="connsiteX32" fmla="*/ 230183 w 235112"/>
                <a:gd name="connsiteY32" fmla="*/ 1116745 h 1139396"/>
                <a:gd name="connsiteX33" fmla="*/ 230020 w 235112"/>
                <a:gd name="connsiteY33" fmla="*/ 1116047 h 1139396"/>
                <a:gd name="connsiteX34" fmla="*/ 230321 w 235112"/>
                <a:gd name="connsiteY34" fmla="*/ 1115294 h 1139396"/>
                <a:gd name="connsiteX35" fmla="*/ 230956 w 235112"/>
                <a:gd name="connsiteY35" fmla="*/ 1114608 h 1139396"/>
                <a:gd name="connsiteX36" fmla="*/ 232431 w 235112"/>
                <a:gd name="connsiteY36" fmla="*/ 1113752 h 1139396"/>
                <a:gd name="connsiteX37" fmla="*/ 192738 w 235112"/>
                <a:gd name="connsiteY37" fmla="*/ 1105284 h 1139396"/>
                <a:gd name="connsiteX38" fmla="*/ 198641 w 235112"/>
                <a:gd name="connsiteY38" fmla="*/ 1105295 h 1139396"/>
                <a:gd name="connsiteX39" fmla="*/ 210041 w 235112"/>
                <a:gd name="connsiteY39" fmla="*/ 1106678 h 1139396"/>
                <a:gd name="connsiteX40" fmla="*/ 214587 w 235112"/>
                <a:gd name="connsiteY40" fmla="*/ 1106984 h 1139396"/>
                <a:gd name="connsiteX41" fmla="*/ 218084 w 235112"/>
                <a:gd name="connsiteY41" fmla="*/ 1110013 h 1139396"/>
                <a:gd name="connsiteX42" fmla="*/ 218638 w 235112"/>
                <a:gd name="connsiteY42" fmla="*/ 1111837 h 1139396"/>
                <a:gd name="connsiteX43" fmla="*/ 218779 w 235112"/>
                <a:gd name="connsiteY43" fmla="*/ 1113199 h 1139396"/>
                <a:gd name="connsiteX44" fmla="*/ 218030 w 235112"/>
                <a:gd name="connsiteY44" fmla="*/ 1114552 h 1139396"/>
                <a:gd name="connsiteX45" fmla="*/ 216431 w 235112"/>
                <a:gd name="connsiteY45" fmla="*/ 1116337 h 1139396"/>
                <a:gd name="connsiteX46" fmla="*/ 214278 w 235112"/>
                <a:gd name="connsiteY46" fmla="*/ 1117725 h 1139396"/>
                <a:gd name="connsiteX47" fmla="*/ 212192 w 235112"/>
                <a:gd name="connsiteY47" fmla="*/ 1118106 h 1139396"/>
                <a:gd name="connsiteX48" fmla="*/ 210682 w 235112"/>
                <a:gd name="connsiteY48" fmla="*/ 1117387 h 1139396"/>
                <a:gd name="connsiteX49" fmla="*/ 209918 w 235112"/>
                <a:gd name="connsiteY49" fmla="*/ 1116123 h 1139396"/>
                <a:gd name="connsiteX50" fmla="*/ 209566 w 235112"/>
                <a:gd name="connsiteY50" fmla="*/ 1114873 h 1139396"/>
                <a:gd name="connsiteX51" fmla="*/ 209054 w 235112"/>
                <a:gd name="connsiteY51" fmla="*/ 1114186 h 1139396"/>
                <a:gd name="connsiteX52" fmla="*/ 208261 w 235112"/>
                <a:gd name="connsiteY52" fmla="*/ 1114034 h 1139396"/>
                <a:gd name="connsiteX53" fmla="*/ 207234 w 235112"/>
                <a:gd name="connsiteY53" fmla="*/ 1114072 h 1139396"/>
                <a:gd name="connsiteX54" fmla="*/ 205967 w 235112"/>
                <a:gd name="connsiteY54" fmla="*/ 1114549 h 1139396"/>
                <a:gd name="connsiteX55" fmla="*/ 203273 w 235112"/>
                <a:gd name="connsiteY55" fmla="*/ 1116352 h 1139396"/>
                <a:gd name="connsiteX56" fmla="*/ 202119 w 235112"/>
                <a:gd name="connsiteY56" fmla="*/ 1116827 h 1139396"/>
                <a:gd name="connsiteX57" fmla="*/ 201337 w 235112"/>
                <a:gd name="connsiteY57" fmla="*/ 1116938 h 1139396"/>
                <a:gd name="connsiteX58" fmla="*/ 193674 w 235112"/>
                <a:gd name="connsiteY58" fmla="*/ 1115578 h 1139396"/>
                <a:gd name="connsiteX59" fmla="*/ 192926 w 235112"/>
                <a:gd name="connsiteY59" fmla="*/ 1115073 h 1139396"/>
                <a:gd name="connsiteX60" fmla="*/ 192024 w 235112"/>
                <a:gd name="connsiteY60" fmla="*/ 1113865 h 1139396"/>
                <a:gd name="connsiteX61" fmla="*/ 191029 w 235112"/>
                <a:gd name="connsiteY61" fmla="*/ 1110286 h 1139396"/>
                <a:gd name="connsiteX62" fmla="*/ 187808 w 235112"/>
                <a:gd name="connsiteY62" fmla="*/ 1107090 h 1139396"/>
                <a:gd name="connsiteX63" fmla="*/ 147667 w 235112"/>
                <a:gd name="connsiteY63" fmla="*/ 1103617 h 1139396"/>
                <a:gd name="connsiteX64" fmla="*/ 152268 w 235112"/>
                <a:gd name="connsiteY64" fmla="*/ 1104920 h 1139396"/>
                <a:gd name="connsiteX65" fmla="*/ 172608 w 235112"/>
                <a:gd name="connsiteY65" fmla="*/ 1108399 h 1139396"/>
                <a:gd name="connsiteX66" fmla="*/ 178879 w 235112"/>
                <a:gd name="connsiteY66" fmla="*/ 1106289 h 1139396"/>
                <a:gd name="connsiteX67" fmla="*/ 183836 w 235112"/>
                <a:gd name="connsiteY67" fmla="*/ 1106351 h 1139396"/>
                <a:gd name="connsiteX68" fmla="*/ 185312 w 235112"/>
                <a:gd name="connsiteY68" fmla="*/ 1109253 h 1139396"/>
                <a:gd name="connsiteX69" fmla="*/ 180283 w 235112"/>
                <a:gd name="connsiteY69" fmla="*/ 1112299 h 1139396"/>
                <a:gd name="connsiteX70" fmla="*/ 179898 w 235112"/>
                <a:gd name="connsiteY70" fmla="*/ 1113261 h 1139396"/>
                <a:gd name="connsiteX71" fmla="*/ 180602 w 235112"/>
                <a:gd name="connsiteY71" fmla="*/ 1114044 h 1139396"/>
                <a:gd name="connsiteX72" fmla="*/ 185771 w 235112"/>
                <a:gd name="connsiteY72" fmla="*/ 1114535 h 1139396"/>
                <a:gd name="connsiteX73" fmla="*/ 187080 w 235112"/>
                <a:gd name="connsiteY73" fmla="*/ 1115519 h 1139396"/>
                <a:gd name="connsiteX74" fmla="*/ 188282 w 235112"/>
                <a:gd name="connsiteY74" fmla="*/ 1116783 h 1139396"/>
                <a:gd name="connsiteX75" fmla="*/ 187266 w 235112"/>
                <a:gd name="connsiteY75" fmla="*/ 1118659 h 1139396"/>
                <a:gd name="connsiteX76" fmla="*/ 187170 w 235112"/>
                <a:gd name="connsiteY76" fmla="*/ 1119527 h 1139396"/>
                <a:gd name="connsiteX77" fmla="*/ 187705 w 235112"/>
                <a:gd name="connsiteY77" fmla="*/ 1120374 h 1139396"/>
                <a:gd name="connsiteX78" fmla="*/ 191580 w 235112"/>
                <a:gd name="connsiteY78" fmla="*/ 1123219 h 1139396"/>
                <a:gd name="connsiteX79" fmla="*/ 193170 w 235112"/>
                <a:gd name="connsiteY79" fmla="*/ 1124688 h 1139396"/>
                <a:gd name="connsiteX80" fmla="*/ 193971 w 235112"/>
                <a:gd name="connsiteY80" fmla="*/ 1126095 h 1139396"/>
                <a:gd name="connsiteX81" fmla="*/ 194294 w 235112"/>
                <a:gd name="connsiteY81" fmla="*/ 1128564 h 1139396"/>
                <a:gd name="connsiteX82" fmla="*/ 194224 w 235112"/>
                <a:gd name="connsiteY82" fmla="*/ 1130543 h 1139396"/>
                <a:gd name="connsiteX83" fmla="*/ 193354 w 235112"/>
                <a:gd name="connsiteY83" fmla="*/ 1130807 h 1139396"/>
                <a:gd name="connsiteX84" fmla="*/ 191466 w 235112"/>
                <a:gd name="connsiteY84" fmla="*/ 1130206 h 1139396"/>
                <a:gd name="connsiteX85" fmla="*/ 189627 w 235112"/>
                <a:gd name="connsiteY85" fmla="*/ 1129064 h 1139396"/>
                <a:gd name="connsiteX86" fmla="*/ 188011 w 235112"/>
                <a:gd name="connsiteY86" fmla="*/ 1126216 h 1139396"/>
                <a:gd name="connsiteX87" fmla="*/ 186878 w 235112"/>
                <a:gd name="connsiteY87" fmla="*/ 1125645 h 1139396"/>
                <a:gd name="connsiteX88" fmla="*/ 183616 w 235112"/>
                <a:gd name="connsiteY88" fmla="*/ 1125069 h 1139396"/>
                <a:gd name="connsiteX89" fmla="*/ 180383 w 235112"/>
                <a:gd name="connsiteY89" fmla="*/ 1123683 h 1139396"/>
                <a:gd name="connsiteX90" fmla="*/ 177864 w 235112"/>
                <a:gd name="connsiteY90" fmla="*/ 1123763 h 1139396"/>
                <a:gd name="connsiteX91" fmla="*/ 175544 w 235112"/>
                <a:gd name="connsiteY91" fmla="*/ 1123175 h 1139396"/>
                <a:gd name="connsiteX92" fmla="*/ 173464 w 235112"/>
                <a:gd name="connsiteY92" fmla="*/ 1123691 h 1139396"/>
                <a:gd name="connsiteX93" fmla="*/ 172727 w 235112"/>
                <a:gd name="connsiteY93" fmla="*/ 1122755 h 1139396"/>
                <a:gd name="connsiteX94" fmla="*/ 171836 w 235112"/>
                <a:gd name="connsiteY94" fmla="*/ 1120868 h 1139396"/>
                <a:gd name="connsiteX95" fmla="*/ 171815 w 235112"/>
                <a:gd name="connsiteY95" fmla="*/ 1120045 h 1139396"/>
                <a:gd name="connsiteX96" fmla="*/ 172909 w 235112"/>
                <a:gd name="connsiteY96" fmla="*/ 1117069 h 1139396"/>
                <a:gd name="connsiteX97" fmla="*/ 172880 w 235112"/>
                <a:gd name="connsiteY97" fmla="*/ 1116288 h 1139396"/>
                <a:gd name="connsiteX98" fmla="*/ 172308 w 235112"/>
                <a:gd name="connsiteY98" fmla="*/ 1116196 h 1139396"/>
                <a:gd name="connsiteX99" fmla="*/ 169885 w 235112"/>
                <a:gd name="connsiteY99" fmla="*/ 1116803 h 1139396"/>
                <a:gd name="connsiteX100" fmla="*/ 168906 w 235112"/>
                <a:gd name="connsiteY100" fmla="*/ 1116399 h 1139396"/>
                <a:gd name="connsiteX101" fmla="*/ 166269 w 235112"/>
                <a:gd name="connsiteY101" fmla="*/ 1114245 h 1139396"/>
                <a:gd name="connsiteX102" fmla="*/ 165209 w 235112"/>
                <a:gd name="connsiteY102" fmla="*/ 1113838 h 1139396"/>
                <a:gd name="connsiteX103" fmla="*/ 162560 w 235112"/>
                <a:gd name="connsiteY103" fmla="*/ 1113624 h 1139396"/>
                <a:gd name="connsiteX104" fmla="*/ 161062 w 235112"/>
                <a:gd name="connsiteY104" fmla="*/ 1117446 h 1139396"/>
                <a:gd name="connsiteX105" fmla="*/ 160984 w 235112"/>
                <a:gd name="connsiteY105" fmla="*/ 1118393 h 1139396"/>
                <a:gd name="connsiteX106" fmla="*/ 162510 w 235112"/>
                <a:gd name="connsiteY106" fmla="*/ 1120824 h 1139396"/>
                <a:gd name="connsiteX107" fmla="*/ 165507 w 235112"/>
                <a:gd name="connsiteY107" fmla="*/ 1124563 h 1139396"/>
                <a:gd name="connsiteX108" fmla="*/ 163986 w 235112"/>
                <a:gd name="connsiteY108" fmla="*/ 1124632 h 1139396"/>
                <a:gd name="connsiteX109" fmla="*/ 159650 w 235112"/>
                <a:gd name="connsiteY109" fmla="*/ 1123478 h 1139396"/>
                <a:gd name="connsiteX110" fmla="*/ 158538 w 235112"/>
                <a:gd name="connsiteY110" fmla="*/ 1122762 h 1139396"/>
                <a:gd name="connsiteX111" fmla="*/ 157194 w 235112"/>
                <a:gd name="connsiteY111" fmla="*/ 1120879 h 1139396"/>
                <a:gd name="connsiteX112" fmla="*/ 154619 w 235112"/>
                <a:gd name="connsiteY112" fmla="*/ 1119783 h 1139396"/>
                <a:gd name="connsiteX113" fmla="*/ 153715 w 235112"/>
                <a:gd name="connsiteY113" fmla="*/ 1119108 h 1139396"/>
                <a:gd name="connsiteX114" fmla="*/ 153451 w 235112"/>
                <a:gd name="connsiteY114" fmla="*/ 1118314 h 1139396"/>
                <a:gd name="connsiteX115" fmla="*/ 153425 w 235112"/>
                <a:gd name="connsiteY115" fmla="*/ 1115857 h 1139396"/>
                <a:gd name="connsiteX116" fmla="*/ 152855 w 235112"/>
                <a:gd name="connsiteY116" fmla="*/ 1115501 h 1139396"/>
                <a:gd name="connsiteX117" fmla="*/ 149198 w 235112"/>
                <a:gd name="connsiteY117" fmla="*/ 1116123 h 1139396"/>
                <a:gd name="connsiteX118" fmla="*/ 148446 w 235112"/>
                <a:gd name="connsiteY118" fmla="*/ 1115533 h 1139396"/>
                <a:gd name="connsiteX119" fmla="*/ 148140 w 235112"/>
                <a:gd name="connsiteY119" fmla="*/ 1114501 h 1139396"/>
                <a:gd name="connsiteX120" fmla="*/ 147608 w 235112"/>
                <a:gd name="connsiteY120" fmla="*/ 1113917 h 1139396"/>
                <a:gd name="connsiteX121" fmla="*/ 145249 w 235112"/>
                <a:gd name="connsiteY121" fmla="*/ 1112976 h 1139396"/>
                <a:gd name="connsiteX122" fmla="*/ 145041 w 235112"/>
                <a:gd name="connsiteY122" fmla="*/ 1112386 h 1139396"/>
                <a:gd name="connsiteX123" fmla="*/ 146093 w 235112"/>
                <a:gd name="connsiteY123" fmla="*/ 1111689 h 1139396"/>
                <a:gd name="connsiteX124" fmla="*/ 146743 w 235112"/>
                <a:gd name="connsiteY124" fmla="*/ 1109928 h 1139396"/>
                <a:gd name="connsiteX125" fmla="*/ 109890 w 235112"/>
                <a:gd name="connsiteY125" fmla="*/ 1101947 h 1139396"/>
                <a:gd name="connsiteX126" fmla="*/ 114384 w 235112"/>
                <a:gd name="connsiteY126" fmla="*/ 1102294 h 1139396"/>
                <a:gd name="connsiteX127" fmla="*/ 117133 w 235112"/>
                <a:gd name="connsiteY127" fmla="*/ 1103105 h 1139396"/>
                <a:gd name="connsiteX128" fmla="*/ 119594 w 235112"/>
                <a:gd name="connsiteY128" fmla="*/ 1103122 h 1139396"/>
                <a:gd name="connsiteX129" fmla="*/ 120773 w 235112"/>
                <a:gd name="connsiteY129" fmla="*/ 1105353 h 1139396"/>
                <a:gd name="connsiteX130" fmla="*/ 121208 w 235112"/>
                <a:gd name="connsiteY130" fmla="*/ 1105762 h 1139396"/>
                <a:gd name="connsiteX131" fmla="*/ 124330 w 235112"/>
                <a:gd name="connsiteY131" fmla="*/ 1106633 h 1139396"/>
                <a:gd name="connsiteX132" fmla="*/ 125737 w 235112"/>
                <a:gd name="connsiteY132" fmla="*/ 1106106 h 1139396"/>
                <a:gd name="connsiteX133" fmla="*/ 129135 w 235112"/>
                <a:gd name="connsiteY133" fmla="*/ 1105855 h 1139396"/>
                <a:gd name="connsiteX134" fmla="*/ 131177 w 235112"/>
                <a:gd name="connsiteY134" fmla="*/ 1104999 h 1139396"/>
                <a:gd name="connsiteX135" fmla="*/ 134150 w 235112"/>
                <a:gd name="connsiteY135" fmla="*/ 1104563 h 1139396"/>
                <a:gd name="connsiteX136" fmla="*/ 137559 w 235112"/>
                <a:gd name="connsiteY136" fmla="*/ 1110097 h 1139396"/>
                <a:gd name="connsiteX137" fmla="*/ 137184 w 235112"/>
                <a:gd name="connsiteY137" fmla="*/ 1111785 h 1139396"/>
                <a:gd name="connsiteX138" fmla="*/ 134489 w 235112"/>
                <a:gd name="connsiteY138" fmla="*/ 1113618 h 1139396"/>
                <a:gd name="connsiteX139" fmla="*/ 132678 w 235112"/>
                <a:gd name="connsiteY139" fmla="*/ 1114020 h 1139396"/>
                <a:gd name="connsiteX140" fmla="*/ 130956 w 235112"/>
                <a:gd name="connsiteY140" fmla="*/ 1113465 h 1139396"/>
                <a:gd name="connsiteX141" fmla="*/ 131077 w 235112"/>
                <a:gd name="connsiteY141" fmla="*/ 1112534 h 1139396"/>
                <a:gd name="connsiteX142" fmla="*/ 130764 w 235112"/>
                <a:gd name="connsiteY142" fmla="*/ 1111720 h 1139396"/>
                <a:gd name="connsiteX143" fmla="*/ 129587 w 235112"/>
                <a:gd name="connsiteY143" fmla="*/ 1110665 h 1139396"/>
                <a:gd name="connsiteX144" fmla="*/ 128485 w 235112"/>
                <a:gd name="connsiteY144" fmla="*/ 1110765 h 1139396"/>
                <a:gd name="connsiteX145" fmla="*/ 126709 w 235112"/>
                <a:gd name="connsiteY145" fmla="*/ 1111544 h 1139396"/>
                <a:gd name="connsiteX146" fmla="*/ 125860 w 235112"/>
                <a:gd name="connsiteY146" fmla="*/ 1111448 h 1139396"/>
                <a:gd name="connsiteX147" fmla="*/ 124059 w 235112"/>
                <a:gd name="connsiteY147" fmla="*/ 1110589 h 1139396"/>
                <a:gd name="connsiteX148" fmla="*/ 120906 w 235112"/>
                <a:gd name="connsiteY148" fmla="*/ 1109955 h 1139396"/>
                <a:gd name="connsiteX149" fmla="*/ 120281 w 235112"/>
                <a:gd name="connsiteY149" fmla="*/ 1109169 h 1139396"/>
                <a:gd name="connsiteX150" fmla="*/ 120211 w 235112"/>
                <a:gd name="connsiteY150" fmla="*/ 1108013 h 1139396"/>
                <a:gd name="connsiteX151" fmla="*/ 119615 w 235112"/>
                <a:gd name="connsiteY151" fmla="*/ 1107434 h 1139396"/>
                <a:gd name="connsiteX152" fmla="*/ 116329 w 235112"/>
                <a:gd name="connsiteY152" fmla="*/ 1105580 h 1139396"/>
                <a:gd name="connsiteX153" fmla="*/ 114225 w 235112"/>
                <a:gd name="connsiteY153" fmla="*/ 1104002 h 1139396"/>
                <a:gd name="connsiteX154" fmla="*/ 112442 w 235112"/>
                <a:gd name="connsiteY154" fmla="*/ 1103789 h 1139396"/>
                <a:gd name="connsiteX155" fmla="*/ 111792 w 235112"/>
                <a:gd name="connsiteY155" fmla="*/ 1103977 h 1139396"/>
                <a:gd name="connsiteX156" fmla="*/ 111131 w 235112"/>
                <a:gd name="connsiteY156" fmla="*/ 1104734 h 1139396"/>
                <a:gd name="connsiteX157" fmla="*/ 109528 w 235112"/>
                <a:gd name="connsiteY157" fmla="*/ 1105456 h 1139396"/>
                <a:gd name="connsiteX158" fmla="*/ 109069 w 235112"/>
                <a:gd name="connsiteY158" fmla="*/ 1105336 h 1139396"/>
                <a:gd name="connsiteX159" fmla="*/ 108556 w 235112"/>
                <a:gd name="connsiteY159" fmla="*/ 1104734 h 1139396"/>
                <a:gd name="connsiteX160" fmla="*/ 108295 w 235112"/>
                <a:gd name="connsiteY160" fmla="*/ 1103871 h 1139396"/>
                <a:gd name="connsiteX161" fmla="*/ 108971 w 235112"/>
                <a:gd name="connsiteY161" fmla="*/ 1102116 h 1139396"/>
                <a:gd name="connsiteX162" fmla="*/ 94113 w 235112"/>
                <a:gd name="connsiteY162" fmla="*/ 1068756 h 1139396"/>
                <a:gd name="connsiteX163" fmla="*/ 101500 w 235112"/>
                <a:gd name="connsiteY163" fmla="*/ 1070092 h 1139396"/>
                <a:gd name="connsiteX164" fmla="*/ 105329 w 235112"/>
                <a:gd name="connsiteY164" fmla="*/ 1071230 h 1139396"/>
                <a:gd name="connsiteX165" fmla="*/ 109479 w 235112"/>
                <a:gd name="connsiteY165" fmla="*/ 1073899 h 1139396"/>
                <a:gd name="connsiteX166" fmla="*/ 115102 w 235112"/>
                <a:gd name="connsiteY166" fmla="*/ 1076678 h 1139396"/>
                <a:gd name="connsiteX167" fmla="*/ 118824 w 235112"/>
                <a:gd name="connsiteY167" fmla="*/ 1076650 h 1139396"/>
                <a:gd name="connsiteX168" fmla="*/ 118801 w 235112"/>
                <a:gd name="connsiteY168" fmla="*/ 1078389 h 1139396"/>
                <a:gd name="connsiteX169" fmla="*/ 119256 w 235112"/>
                <a:gd name="connsiteY169" fmla="*/ 1081352 h 1139396"/>
                <a:gd name="connsiteX170" fmla="*/ 118669 w 235112"/>
                <a:gd name="connsiteY170" fmla="*/ 1082555 h 1139396"/>
                <a:gd name="connsiteX171" fmla="*/ 117277 w 235112"/>
                <a:gd name="connsiteY171" fmla="*/ 1083783 h 1139396"/>
                <a:gd name="connsiteX172" fmla="*/ 116400 w 235112"/>
                <a:gd name="connsiteY172" fmla="*/ 1085531 h 1139396"/>
                <a:gd name="connsiteX173" fmla="*/ 115747 w 235112"/>
                <a:gd name="connsiteY173" fmla="*/ 1085800 h 1139396"/>
                <a:gd name="connsiteX174" fmla="*/ 111656 w 235112"/>
                <a:gd name="connsiteY174" fmla="*/ 1083688 h 1139396"/>
                <a:gd name="connsiteX175" fmla="*/ 107380 w 235112"/>
                <a:gd name="connsiteY175" fmla="*/ 1080811 h 1139396"/>
                <a:gd name="connsiteX176" fmla="*/ 105228 w 235112"/>
                <a:gd name="connsiteY176" fmla="*/ 1081315 h 1139396"/>
                <a:gd name="connsiteX177" fmla="*/ 102377 w 235112"/>
                <a:gd name="connsiteY177" fmla="*/ 1080609 h 1139396"/>
                <a:gd name="connsiteX178" fmla="*/ 100079 w 235112"/>
                <a:gd name="connsiteY178" fmla="*/ 1080763 h 1139396"/>
                <a:gd name="connsiteX179" fmla="*/ 98650 w 235112"/>
                <a:gd name="connsiteY179" fmla="*/ 1082392 h 1139396"/>
                <a:gd name="connsiteX180" fmla="*/ 95328 w 235112"/>
                <a:gd name="connsiteY180" fmla="*/ 1083244 h 1139396"/>
                <a:gd name="connsiteX181" fmla="*/ 94724 w 235112"/>
                <a:gd name="connsiteY181" fmla="*/ 1079976 h 1139396"/>
                <a:gd name="connsiteX182" fmla="*/ 91701 w 235112"/>
                <a:gd name="connsiteY182" fmla="*/ 1076891 h 1139396"/>
                <a:gd name="connsiteX183" fmla="*/ 88688 w 235112"/>
                <a:gd name="connsiteY183" fmla="*/ 1074419 h 1139396"/>
                <a:gd name="connsiteX184" fmla="*/ 90321 w 235112"/>
                <a:gd name="connsiteY184" fmla="*/ 1070632 h 1139396"/>
                <a:gd name="connsiteX185" fmla="*/ 92275 w 235112"/>
                <a:gd name="connsiteY185" fmla="*/ 1070021 h 1139396"/>
                <a:gd name="connsiteX186" fmla="*/ 67308 w 235112"/>
                <a:gd name="connsiteY186" fmla="*/ 1051776 h 1139396"/>
                <a:gd name="connsiteX187" fmla="*/ 68108 w 235112"/>
                <a:gd name="connsiteY187" fmla="*/ 1052470 h 1139396"/>
                <a:gd name="connsiteX188" fmla="*/ 69404 w 235112"/>
                <a:gd name="connsiteY188" fmla="*/ 1052764 h 1139396"/>
                <a:gd name="connsiteX189" fmla="*/ 70005 w 235112"/>
                <a:gd name="connsiteY189" fmla="*/ 1053434 h 1139396"/>
                <a:gd name="connsiteX190" fmla="*/ 70614 w 235112"/>
                <a:gd name="connsiteY190" fmla="*/ 1054787 h 1139396"/>
                <a:gd name="connsiteX191" fmla="*/ 71297 w 235112"/>
                <a:gd name="connsiteY191" fmla="*/ 1057592 h 1139396"/>
                <a:gd name="connsiteX192" fmla="*/ 71654 w 235112"/>
                <a:gd name="connsiteY192" fmla="*/ 1058129 h 1139396"/>
                <a:gd name="connsiteX193" fmla="*/ 73501 w 235112"/>
                <a:gd name="connsiteY193" fmla="*/ 1057681 h 1139396"/>
                <a:gd name="connsiteX194" fmla="*/ 76642 w 235112"/>
                <a:gd name="connsiteY194" fmla="*/ 1057424 h 1139396"/>
                <a:gd name="connsiteX195" fmla="*/ 81795 w 235112"/>
                <a:gd name="connsiteY195" fmla="*/ 1058467 h 1139396"/>
                <a:gd name="connsiteX196" fmla="*/ 82380 w 235112"/>
                <a:gd name="connsiteY196" fmla="*/ 1058839 h 1139396"/>
                <a:gd name="connsiteX197" fmla="*/ 84568 w 235112"/>
                <a:gd name="connsiteY197" fmla="*/ 1061910 h 1139396"/>
                <a:gd name="connsiteX198" fmla="*/ 86248 w 235112"/>
                <a:gd name="connsiteY198" fmla="*/ 1063223 h 1139396"/>
                <a:gd name="connsiteX199" fmla="*/ 88816 w 235112"/>
                <a:gd name="connsiteY199" fmla="*/ 1066066 h 1139396"/>
                <a:gd name="connsiteX200" fmla="*/ 86258 w 235112"/>
                <a:gd name="connsiteY200" fmla="*/ 1067964 h 1139396"/>
                <a:gd name="connsiteX201" fmla="*/ 84745 w 235112"/>
                <a:gd name="connsiteY201" fmla="*/ 1070699 h 1139396"/>
                <a:gd name="connsiteX202" fmla="*/ 84663 w 235112"/>
                <a:gd name="connsiteY202" fmla="*/ 1072088 h 1139396"/>
                <a:gd name="connsiteX203" fmla="*/ 83665 w 235112"/>
                <a:gd name="connsiteY203" fmla="*/ 1072889 h 1139396"/>
                <a:gd name="connsiteX204" fmla="*/ 82094 w 235112"/>
                <a:gd name="connsiteY204" fmla="*/ 1073722 h 1139396"/>
                <a:gd name="connsiteX205" fmla="*/ 79751 w 235112"/>
                <a:gd name="connsiteY205" fmla="*/ 1075323 h 1139396"/>
                <a:gd name="connsiteX206" fmla="*/ 76869 w 235112"/>
                <a:gd name="connsiteY206" fmla="*/ 1075503 h 1139396"/>
                <a:gd name="connsiteX207" fmla="*/ 74027 w 235112"/>
                <a:gd name="connsiteY207" fmla="*/ 1076347 h 1139396"/>
                <a:gd name="connsiteX208" fmla="*/ 72716 w 235112"/>
                <a:gd name="connsiteY208" fmla="*/ 1077112 h 1139396"/>
                <a:gd name="connsiteX209" fmla="*/ 71938 w 235112"/>
                <a:gd name="connsiteY209" fmla="*/ 1077163 h 1139396"/>
                <a:gd name="connsiteX210" fmla="*/ 71018 w 235112"/>
                <a:gd name="connsiteY210" fmla="*/ 1076748 h 1139396"/>
                <a:gd name="connsiteX211" fmla="*/ 70035 w 235112"/>
                <a:gd name="connsiteY211" fmla="*/ 1075961 h 1139396"/>
                <a:gd name="connsiteX212" fmla="*/ 69717 w 235112"/>
                <a:gd name="connsiteY212" fmla="*/ 1075051 h 1139396"/>
                <a:gd name="connsiteX213" fmla="*/ 71666 w 235112"/>
                <a:gd name="connsiteY213" fmla="*/ 1074205 h 1139396"/>
                <a:gd name="connsiteX214" fmla="*/ 74203 w 235112"/>
                <a:gd name="connsiteY214" fmla="*/ 1071184 h 1139396"/>
                <a:gd name="connsiteX215" fmla="*/ 74657 w 235112"/>
                <a:gd name="connsiteY215" fmla="*/ 1068059 h 1139396"/>
                <a:gd name="connsiteX216" fmla="*/ 71920 w 235112"/>
                <a:gd name="connsiteY216" fmla="*/ 1067494 h 1139396"/>
                <a:gd name="connsiteX217" fmla="*/ 70287 w 235112"/>
                <a:gd name="connsiteY217" fmla="*/ 1067921 h 1139396"/>
                <a:gd name="connsiteX218" fmla="*/ 69068 w 235112"/>
                <a:gd name="connsiteY218" fmla="*/ 1067910 h 1139396"/>
                <a:gd name="connsiteX219" fmla="*/ 67668 w 235112"/>
                <a:gd name="connsiteY219" fmla="*/ 1066948 h 1139396"/>
                <a:gd name="connsiteX220" fmla="*/ 66816 w 235112"/>
                <a:gd name="connsiteY220" fmla="*/ 1068423 h 1139396"/>
                <a:gd name="connsiteX221" fmla="*/ 66498 w 235112"/>
                <a:gd name="connsiteY221" fmla="*/ 1069833 h 1139396"/>
                <a:gd name="connsiteX222" fmla="*/ 66871 w 235112"/>
                <a:gd name="connsiteY222" fmla="*/ 1071993 h 1139396"/>
                <a:gd name="connsiteX223" fmla="*/ 66620 w 235112"/>
                <a:gd name="connsiteY223" fmla="*/ 1072689 h 1139396"/>
                <a:gd name="connsiteX224" fmla="*/ 65625 w 235112"/>
                <a:gd name="connsiteY224" fmla="*/ 1073083 h 1139396"/>
                <a:gd name="connsiteX225" fmla="*/ 63326 w 235112"/>
                <a:gd name="connsiteY225" fmla="*/ 1072264 h 1139396"/>
                <a:gd name="connsiteX226" fmla="*/ 60941 w 235112"/>
                <a:gd name="connsiteY226" fmla="*/ 1070808 h 1139396"/>
                <a:gd name="connsiteX227" fmla="*/ 60752 w 235112"/>
                <a:gd name="connsiteY227" fmla="*/ 1069963 h 1139396"/>
                <a:gd name="connsiteX228" fmla="*/ 61242 w 235112"/>
                <a:gd name="connsiteY228" fmla="*/ 1067053 h 1139396"/>
                <a:gd name="connsiteX229" fmla="*/ 61189 w 235112"/>
                <a:gd name="connsiteY229" fmla="*/ 1065536 h 1139396"/>
                <a:gd name="connsiteX230" fmla="*/ 60697 w 235112"/>
                <a:gd name="connsiteY230" fmla="*/ 1063355 h 1139396"/>
                <a:gd name="connsiteX231" fmla="*/ 60432 w 235112"/>
                <a:gd name="connsiteY231" fmla="*/ 1063127 h 1139396"/>
                <a:gd name="connsiteX232" fmla="*/ 59536 w 235112"/>
                <a:gd name="connsiteY232" fmla="*/ 1063174 h 1139396"/>
                <a:gd name="connsiteX233" fmla="*/ 56726 w 235112"/>
                <a:gd name="connsiteY233" fmla="*/ 1063594 h 1139396"/>
                <a:gd name="connsiteX234" fmla="*/ 53920 w 235112"/>
                <a:gd name="connsiteY234" fmla="*/ 1060800 h 1139396"/>
                <a:gd name="connsiteX235" fmla="*/ 52401 w 235112"/>
                <a:gd name="connsiteY235" fmla="*/ 1057853 h 1139396"/>
                <a:gd name="connsiteX236" fmla="*/ 47230 w 235112"/>
                <a:gd name="connsiteY236" fmla="*/ 1057005 h 1139396"/>
                <a:gd name="connsiteX237" fmla="*/ 51259 w 235112"/>
                <a:gd name="connsiteY237" fmla="*/ 1052895 h 1139396"/>
                <a:gd name="connsiteX238" fmla="*/ 57331 w 235112"/>
                <a:gd name="connsiteY238" fmla="*/ 1052315 h 1139396"/>
                <a:gd name="connsiteX239" fmla="*/ 59391 w 235112"/>
                <a:gd name="connsiteY239" fmla="*/ 1054393 h 1139396"/>
                <a:gd name="connsiteX240" fmla="*/ 66148 w 235112"/>
                <a:gd name="connsiteY240" fmla="*/ 1055833 h 1139396"/>
                <a:gd name="connsiteX241" fmla="*/ 65744 w 235112"/>
                <a:gd name="connsiteY241" fmla="*/ 1053627 h 1139396"/>
                <a:gd name="connsiteX242" fmla="*/ 65856 w 235112"/>
                <a:gd name="connsiteY242" fmla="*/ 1052838 h 1139396"/>
                <a:gd name="connsiteX243" fmla="*/ 66784 w 235112"/>
                <a:gd name="connsiteY243" fmla="*/ 1051857 h 1139396"/>
                <a:gd name="connsiteX244" fmla="*/ 26322 w 235112"/>
                <a:gd name="connsiteY244" fmla="*/ 1029076 h 1139396"/>
                <a:gd name="connsiteX245" fmla="*/ 28818 w 235112"/>
                <a:gd name="connsiteY245" fmla="*/ 1030357 h 1139396"/>
                <a:gd name="connsiteX246" fmla="*/ 31277 w 235112"/>
                <a:gd name="connsiteY246" fmla="*/ 1032561 h 1139396"/>
                <a:gd name="connsiteX247" fmla="*/ 32604 w 235112"/>
                <a:gd name="connsiteY247" fmla="*/ 1033397 h 1139396"/>
                <a:gd name="connsiteX248" fmla="*/ 33529 w 235112"/>
                <a:gd name="connsiteY248" fmla="*/ 1035534 h 1139396"/>
                <a:gd name="connsiteX249" fmla="*/ 33946 w 235112"/>
                <a:gd name="connsiteY249" fmla="*/ 1035845 h 1139396"/>
                <a:gd name="connsiteX250" fmla="*/ 34943 w 235112"/>
                <a:gd name="connsiteY250" fmla="*/ 1035772 h 1139396"/>
                <a:gd name="connsiteX251" fmla="*/ 36348 w 235112"/>
                <a:gd name="connsiteY251" fmla="*/ 1036328 h 1139396"/>
                <a:gd name="connsiteX252" fmla="*/ 41638 w 235112"/>
                <a:gd name="connsiteY252" fmla="*/ 1037008 h 1139396"/>
                <a:gd name="connsiteX253" fmla="*/ 46374 w 235112"/>
                <a:gd name="connsiteY253" fmla="*/ 1038618 h 1139396"/>
                <a:gd name="connsiteX254" fmla="*/ 48844 w 235112"/>
                <a:gd name="connsiteY254" fmla="*/ 1040124 h 1139396"/>
                <a:gd name="connsiteX255" fmla="*/ 52083 w 235112"/>
                <a:gd name="connsiteY255" fmla="*/ 1040598 h 1139396"/>
                <a:gd name="connsiteX256" fmla="*/ 54739 w 235112"/>
                <a:gd name="connsiteY256" fmla="*/ 1042518 h 1139396"/>
                <a:gd name="connsiteX257" fmla="*/ 55873 w 235112"/>
                <a:gd name="connsiteY257" fmla="*/ 1043011 h 1139396"/>
                <a:gd name="connsiteX258" fmla="*/ 57242 w 235112"/>
                <a:gd name="connsiteY258" fmla="*/ 1043159 h 1139396"/>
                <a:gd name="connsiteX259" fmla="*/ 60798 w 235112"/>
                <a:gd name="connsiteY259" fmla="*/ 1046717 h 1139396"/>
                <a:gd name="connsiteX260" fmla="*/ 60997 w 235112"/>
                <a:gd name="connsiteY260" fmla="*/ 1047124 h 1139396"/>
                <a:gd name="connsiteX261" fmla="*/ 65032 w 235112"/>
                <a:gd name="connsiteY261" fmla="*/ 1049931 h 1139396"/>
                <a:gd name="connsiteX262" fmla="*/ 65239 w 235112"/>
                <a:gd name="connsiteY262" fmla="*/ 1050378 h 1139396"/>
                <a:gd name="connsiteX263" fmla="*/ 62943 w 235112"/>
                <a:gd name="connsiteY263" fmla="*/ 1050534 h 1139396"/>
                <a:gd name="connsiteX264" fmla="*/ 58287 w 235112"/>
                <a:gd name="connsiteY264" fmla="*/ 1049227 h 1139396"/>
                <a:gd name="connsiteX265" fmla="*/ 55963 w 235112"/>
                <a:gd name="connsiteY265" fmla="*/ 1049157 h 1139396"/>
                <a:gd name="connsiteX266" fmla="*/ 54283 w 235112"/>
                <a:gd name="connsiteY266" fmla="*/ 1048756 h 1139396"/>
                <a:gd name="connsiteX267" fmla="*/ 53889 w 235112"/>
                <a:gd name="connsiteY267" fmla="*/ 1048526 h 1139396"/>
                <a:gd name="connsiteX268" fmla="*/ 53556 w 235112"/>
                <a:gd name="connsiteY268" fmla="*/ 1046898 h 1139396"/>
                <a:gd name="connsiteX269" fmla="*/ 53020 w 235112"/>
                <a:gd name="connsiteY269" fmla="*/ 1046097 h 1139396"/>
                <a:gd name="connsiteX270" fmla="*/ 48547 w 235112"/>
                <a:gd name="connsiteY270" fmla="*/ 1042346 h 1139396"/>
                <a:gd name="connsiteX271" fmla="*/ 46685 w 235112"/>
                <a:gd name="connsiteY271" fmla="*/ 1041528 h 1139396"/>
                <a:gd name="connsiteX272" fmla="*/ 43463 w 235112"/>
                <a:gd name="connsiteY272" fmla="*/ 1040803 h 1139396"/>
                <a:gd name="connsiteX273" fmla="*/ 39797 w 235112"/>
                <a:gd name="connsiteY273" fmla="*/ 1041310 h 1139396"/>
                <a:gd name="connsiteX274" fmla="*/ 37317 w 235112"/>
                <a:gd name="connsiteY274" fmla="*/ 1040826 h 1139396"/>
                <a:gd name="connsiteX275" fmla="*/ 36459 w 235112"/>
                <a:gd name="connsiteY275" fmla="*/ 1041000 h 1139396"/>
                <a:gd name="connsiteX276" fmla="*/ 32802 w 235112"/>
                <a:gd name="connsiteY276" fmla="*/ 1038024 h 1139396"/>
                <a:gd name="connsiteX277" fmla="*/ 29154 w 235112"/>
                <a:gd name="connsiteY277" fmla="*/ 1035518 h 1139396"/>
                <a:gd name="connsiteX278" fmla="*/ 27591 w 235112"/>
                <a:gd name="connsiteY278" fmla="*/ 1032531 h 1139396"/>
                <a:gd name="connsiteX279" fmla="*/ 25268 w 235112"/>
                <a:gd name="connsiteY279" fmla="*/ 1030251 h 1139396"/>
                <a:gd name="connsiteX280" fmla="*/ 25257 w 235112"/>
                <a:gd name="connsiteY280" fmla="*/ 1029584 h 1139396"/>
                <a:gd name="connsiteX281" fmla="*/ 159594 w 235112"/>
                <a:gd name="connsiteY281" fmla="*/ 1020614 h 1139396"/>
                <a:gd name="connsiteX282" fmla="*/ 165858 w 235112"/>
                <a:gd name="connsiteY282" fmla="*/ 1026808 h 1139396"/>
                <a:gd name="connsiteX283" fmla="*/ 168066 w 235112"/>
                <a:gd name="connsiteY283" fmla="*/ 1027038 h 1139396"/>
                <a:gd name="connsiteX284" fmla="*/ 175422 w 235112"/>
                <a:gd name="connsiteY284" fmla="*/ 1023705 h 1139396"/>
                <a:gd name="connsiteX285" fmla="*/ 176241 w 235112"/>
                <a:gd name="connsiteY285" fmla="*/ 1023885 h 1139396"/>
                <a:gd name="connsiteX286" fmla="*/ 178734 w 235112"/>
                <a:gd name="connsiteY286" fmla="*/ 1025576 h 1139396"/>
                <a:gd name="connsiteX287" fmla="*/ 179476 w 235112"/>
                <a:gd name="connsiteY287" fmla="*/ 1026297 h 1139396"/>
                <a:gd name="connsiteX288" fmla="*/ 179431 w 235112"/>
                <a:gd name="connsiteY288" fmla="*/ 1036465 h 1139396"/>
                <a:gd name="connsiteX289" fmla="*/ 179388 w 235112"/>
                <a:gd name="connsiteY289" fmla="*/ 1046517 h 1139396"/>
                <a:gd name="connsiteX290" fmla="*/ 179347 w 235112"/>
                <a:gd name="connsiteY290" fmla="*/ 1055955 h 1139396"/>
                <a:gd name="connsiteX291" fmla="*/ 179305 w 235112"/>
                <a:gd name="connsiteY291" fmla="*/ 1065423 h 1139396"/>
                <a:gd name="connsiteX292" fmla="*/ 179266 w 235112"/>
                <a:gd name="connsiteY292" fmla="*/ 1074598 h 1139396"/>
                <a:gd name="connsiteX293" fmla="*/ 179226 w 235112"/>
                <a:gd name="connsiteY293" fmla="*/ 1084052 h 1139396"/>
                <a:gd name="connsiteX294" fmla="*/ 179031 w 235112"/>
                <a:gd name="connsiteY294" fmla="*/ 1094686 h 1139396"/>
                <a:gd name="connsiteX295" fmla="*/ 178886 w 235112"/>
                <a:gd name="connsiteY295" fmla="*/ 1102617 h 1139396"/>
                <a:gd name="connsiteX296" fmla="*/ 175067 w 235112"/>
                <a:gd name="connsiteY296" fmla="*/ 1102617 h 1139396"/>
                <a:gd name="connsiteX297" fmla="*/ 174060 w 235112"/>
                <a:gd name="connsiteY297" fmla="*/ 1103431 h 1139396"/>
                <a:gd name="connsiteX298" fmla="*/ 168023 w 235112"/>
                <a:gd name="connsiteY298" fmla="*/ 1104596 h 1139396"/>
                <a:gd name="connsiteX299" fmla="*/ 157763 w 235112"/>
                <a:gd name="connsiteY299" fmla="*/ 1102803 h 1139396"/>
                <a:gd name="connsiteX300" fmla="*/ 155195 w 235112"/>
                <a:gd name="connsiteY300" fmla="*/ 1101181 h 1139396"/>
                <a:gd name="connsiteX301" fmla="*/ 151750 w 235112"/>
                <a:gd name="connsiteY301" fmla="*/ 1097644 h 1139396"/>
                <a:gd name="connsiteX302" fmla="*/ 150523 w 235112"/>
                <a:gd name="connsiteY302" fmla="*/ 1098593 h 1139396"/>
                <a:gd name="connsiteX303" fmla="*/ 147285 w 235112"/>
                <a:gd name="connsiteY303" fmla="*/ 1100093 h 1139396"/>
                <a:gd name="connsiteX304" fmla="*/ 143962 w 235112"/>
                <a:gd name="connsiteY304" fmla="*/ 1101278 h 1139396"/>
                <a:gd name="connsiteX305" fmla="*/ 141235 w 235112"/>
                <a:gd name="connsiteY305" fmla="*/ 1101408 h 1139396"/>
                <a:gd name="connsiteX306" fmla="*/ 138707 w 235112"/>
                <a:gd name="connsiteY306" fmla="*/ 1099942 h 1139396"/>
                <a:gd name="connsiteX307" fmla="*/ 138168 w 235112"/>
                <a:gd name="connsiteY307" fmla="*/ 1099197 h 1139396"/>
                <a:gd name="connsiteX308" fmla="*/ 137592 w 235112"/>
                <a:gd name="connsiteY308" fmla="*/ 1099036 h 1139396"/>
                <a:gd name="connsiteX309" fmla="*/ 132130 w 235112"/>
                <a:gd name="connsiteY309" fmla="*/ 1101068 h 1139396"/>
                <a:gd name="connsiteX310" fmla="*/ 126095 w 235112"/>
                <a:gd name="connsiteY310" fmla="*/ 1098994 h 1139396"/>
                <a:gd name="connsiteX311" fmla="*/ 121289 w 235112"/>
                <a:gd name="connsiteY311" fmla="*/ 1097723 h 1139396"/>
                <a:gd name="connsiteX312" fmla="*/ 113567 w 235112"/>
                <a:gd name="connsiteY312" fmla="*/ 1097013 h 1139396"/>
                <a:gd name="connsiteX313" fmla="*/ 108201 w 235112"/>
                <a:gd name="connsiteY313" fmla="*/ 1094398 h 1139396"/>
                <a:gd name="connsiteX314" fmla="*/ 98295 w 235112"/>
                <a:gd name="connsiteY314" fmla="*/ 1094628 h 1139396"/>
                <a:gd name="connsiteX315" fmla="*/ 96520 w 235112"/>
                <a:gd name="connsiteY315" fmla="*/ 1093764 h 1139396"/>
                <a:gd name="connsiteX316" fmla="*/ 95856 w 235112"/>
                <a:gd name="connsiteY316" fmla="*/ 1091212 h 1139396"/>
                <a:gd name="connsiteX317" fmla="*/ 96383 w 235112"/>
                <a:gd name="connsiteY317" fmla="*/ 1090025 h 1139396"/>
                <a:gd name="connsiteX318" fmla="*/ 98501 w 235112"/>
                <a:gd name="connsiteY318" fmla="*/ 1089310 h 1139396"/>
                <a:gd name="connsiteX319" fmla="*/ 99091 w 235112"/>
                <a:gd name="connsiteY319" fmla="*/ 1087895 h 1139396"/>
                <a:gd name="connsiteX320" fmla="*/ 101230 w 235112"/>
                <a:gd name="connsiteY320" fmla="*/ 1088234 h 1139396"/>
                <a:gd name="connsiteX321" fmla="*/ 104006 w 235112"/>
                <a:gd name="connsiteY321" fmla="*/ 1090107 h 1139396"/>
                <a:gd name="connsiteX322" fmla="*/ 104857 w 235112"/>
                <a:gd name="connsiteY322" fmla="*/ 1090042 h 1139396"/>
                <a:gd name="connsiteX323" fmla="*/ 106693 w 235112"/>
                <a:gd name="connsiteY323" fmla="*/ 1088278 h 1139396"/>
                <a:gd name="connsiteX324" fmla="*/ 109405 w 235112"/>
                <a:gd name="connsiteY324" fmla="*/ 1086714 h 1139396"/>
                <a:gd name="connsiteX325" fmla="*/ 110373 w 235112"/>
                <a:gd name="connsiteY325" fmla="*/ 1086547 h 1139396"/>
                <a:gd name="connsiteX326" fmla="*/ 115353 w 235112"/>
                <a:gd name="connsiteY326" fmla="*/ 1088477 h 1139396"/>
                <a:gd name="connsiteX327" fmla="*/ 117354 w 235112"/>
                <a:gd name="connsiteY327" fmla="*/ 1088254 h 1139396"/>
                <a:gd name="connsiteX328" fmla="*/ 120231 w 235112"/>
                <a:gd name="connsiteY328" fmla="*/ 1087390 h 1139396"/>
                <a:gd name="connsiteX329" fmla="*/ 120745 w 235112"/>
                <a:gd name="connsiteY329" fmla="*/ 1086639 h 1139396"/>
                <a:gd name="connsiteX330" fmla="*/ 121201 w 235112"/>
                <a:gd name="connsiteY330" fmla="*/ 1085311 h 1139396"/>
                <a:gd name="connsiteX331" fmla="*/ 121960 w 235112"/>
                <a:gd name="connsiteY331" fmla="*/ 1084535 h 1139396"/>
                <a:gd name="connsiteX332" fmla="*/ 124521 w 235112"/>
                <a:gd name="connsiteY332" fmla="*/ 1084164 h 1139396"/>
                <a:gd name="connsiteX333" fmla="*/ 127017 w 235112"/>
                <a:gd name="connsiteY333" fmla="*/ 1084918 h 1139396"/>
                <a:gd name="connsiteX334" fmla="*/ 127303 w 235112"/>
                <a:gd name="connsiteY334" fmla="*/ 1087222 h 1139396"/>
                <a:gd name="connsiteX335" fmla="*/ 126959 w 235112"/>
                <a:gd name="connsiteY335" fmla="*/ 1089697 h 1139396"/>
                <a:gd name="connsiteX336" fmla="*/ 130207 w 235112"/>
                <a:gd name="connsiteY336" fmla="*/ 1090360 h 1139396"/>
                <a:gd name="connsiteX337" fmla="*/ 134139 w 235112"/>
                <a:gd name="connsiteY337" fmla="*/ 1090285 h 1139396"/>
                <a:gd name="connsiteX338" fmla="*/ 136851 w 235112"/>
                <a:gd name="connsiteY338" fmla="*/ 1091205 h 1139396"/>
                <a:gd name="connsiteX339" fmla="*/ 137189 w 235112"/>
                <a:gd name="connsiteY339" fmla="*/ 1089700 h 1139396"/>
                <a:gd name="connsiteX340" fmla="*/ 132862 w 235112"/>
                <a:gd name="connsiteY340" fmla="*/ 1085772 h 1139396"/>
                <a:gd name="connsiteX341" fmla="*/ 131044 w 235112"/>
                <a:gd name="connsiteY341" fmla="*/ 1083333 h 1139396"/>
                <a:gd name="connsiteX342" fmla="*/ 128607 w 235112"/>
                <a:gd name="connsiteY342" fmla="*/ 1081897 h 1139396"/>
                <a:gd name="connsiteX343" fmla="*/ 125469 w 235112"/>
                <a:gd name="connsiteY343" fmla="*/ 1081164 h 1139396"/>
                <a:gd name="connsiteX344" fmla="*/ 122852 w 235112"/>
                <a:gd name="connsiteY344" fmla="*/ 1076601 h 1139396"/>
                <a:gd name="connsiteX345" fmla="*/ 123013 w 235112"/>
                <a:gd name="connsiteY345" fmla="*/ 1072611 h 1139396"/>
                <a:gd name="connsiteX346" fmla="*/ 122734 w 235112"/>
                <a:gd name="connsiteY346" fmla="*/ 1068731 h 1139396"/>
                <a:gd name="connsiteX347" fmla="*/ 128394 w 235112"/>
                <a:gd name="connsiteY347" fmla="*/ 1066602 h 1139396"/>
                <a:gd name="connsiteX348" fmla="*/ 127099 w 235112"/>
                <a:gd name="connsiteY348" fmla="*/ 1063294 h 1139396"/>
                <a:gd name="connsiteX349" fmla="*/ 129047 w 235112"/>
                <a:gd name="connsiteY349" fmla="*/ 1060786 h 1139396"/>
                <a:gd name="connsiteX350" fmla="*/ 131265 w 235112"/>
                <a:gd name="connsiteY350" fmla="*/ 1059826 h 1139396"/>
                <a:gd name="connsiteX351" fmla="*/ 133500 w 235112"/>
                <a:gd name="connsiteY351" fmla="*/ 1069054 h 1139396"/>
                <a:gd name="connsiteX352" fmla="*/ 135107 w 235112"/>
                <a:gd name="connsiteY352" fmla="*/ 1072295 h 1139396"/>
                <a:gd name="connsiteX353" fmla="*/ 133059 w 235112"/>
                <a:gd name="connsiteY353" fmla="*/ 1072954 h 1139396"/>
                <a:gd name="connsiteX354" fmla="*/ 128766 w 235112"/>
                <a:gd name="connsiteY354" fmla="*/ 1072950 h 1139396"/>
                <a:gd name="connsiteX355" fmla="*/ 131164 w 235112"/>
                <a:gd name="connsiteY355" fmla="*/ 1077496 h 1139396"/>
                <a:gd name="connsiteX356" fmla="*/ 135102 w 235112"/>
                <a:gd name="connsiteY356" fmla="*/ 1079048 h 1139396"/>
                <a:gd name="connsiteX357" fmla="*/ 138497 w 235112"/>
                <a:gd name="connsiteY357" fmla="*/ 1082424 h 1139396"/>
                <a:gd name="connsiteX358" fmla="*/ 138566 w 235112"/>
                <a:gd name="connsiteY358" fmla="*/ 1084877 h 1139396"/>
                <a:gd name="connsiteX359" fmla="*/ 140451 w 235112"/>
                <a:gd name="connsiteY359" fmla="*/ 1085983 h 1139396"/>
                <a:gd name="connsiteX360" fmla="*/ 144986 w 235112"/>
                <a:gd name="connsiteY360" fmla="*/ 1086055 h 1139396"/>
                <a:gd name="connsiteX361" fmla="*/ 148109 w 235112"/>
                <a:gd name="connsiteY361" fmla="*/ 1085570 h 1139396"/>
                <a:gd name="connsiteX362" fmla="*/ 149578 w 235112"/>
                <a:gd name="connsiteY362" fmla="*/ 1083939 h 1139396"/>
                <a:gd name="connsiteX363" fmla="*/ 151283 w 235112"/>
                <a:gd name="connsiteY363" fmla="*/ 1083417 h 1139396"/>
                <a:gd name="connsiteX364" fmla="*/ 154330 w 235112"/>
                <a:gd name="connsiteY364" fmla="*/ 1085451 h 1139396"/>
                <a:gd name="connsiteX365" fmla="*/ 159461 w 235112"/>
                <a:gd name="connsiteY365" fmla="*/ 1086956 h 1139396"/>
                <a:gd name="connsiteX366" fmla="*/ 160843 w 235112"/>
                <a:gd name="connsiteY366" fmla="*/ 1088023 h 1139396"/>
                <a:gd name="connsiteX367" fmla="*/ 161850 w 235112"/>
                <a:gd name="connsiteY367" fmla="*/ 1089792 h 1139396"/>
                <a:gd name="connsiteX368" fmla="*/ 161916 w 235112"/>
                <a:gd name="connsiteY368" fmla="*/ 1091701 h 1139396"/>
                <a:gd name="connsiteX369" fmla="*/ 162180 w 235112"/>
                <a:gd name="connsiteY369" fmla="*/ 1092710 h 1139396"/>
                <a:gd name="connsiteX370" fmla="*/ 163673 w 235112"/>
                <a:gd name="connsiteY370" fmla="*/ 1092217 h 1139396"/>
                <a:gd name="connsiteX371" fmla="*/ 165803 w 235112"/>
                <a:gd name="connsiteY371" fmla="*/ 1089621 h 1139396"/>
                <a:gd name="connsiteX372" fmla="*/ 166851 w 235112"/>
                <a:gd name="connsiteY372" fmla="*/ 1088722 h 1139396"/>
                <a:gd name="connsiteX373" fmla="*/ 168134 w 235112"/>
                <a:gd name="connsiteY373" fmla="*/ 1088282 h 1139396"/>
                <a:gd name="connsiteX374" fmla="*/ 168946 w 235112"/>
                <a:gd name="connsiteY374" fmla="*/ 1087700 h 1139396"/>
                <a:gd name="connsiteX375" fmla="*/ 168969 w 235112"/>
                <a:gd name="connsiteY375" fmla="*/ 1086942 h 1139396"/>
                <a:gd name="connsiteX376" fmla="*/ 165132 w 235112"/>
                <a:gd name="connsiteY376" fmla="*/ 1085113 h 1139396"/>
                <a:gd name="connsiteX377" fmla="*/ 145038 w 235112"/>
                <a:gd name="connsiteY377" fmla="*/ 1076554 h 1139396"/>
                <a:gd name="connsiteX378" fmla="*/ 142567 w 235112"/>
                <a:gd name="connsiteY378" fmla="*/ 1073144 h 1139396"/>
                <a:gd name="connsiteX379" fmla="*/ 140905 w 235112"/>
                <a:gd name="connsiteY379" fmla="*/ 1068867 h 1139396"/>
                <a:gd name="connsiteX380" fmla="*/ 140962 w 235112"/>
                <a:gd name="connsiteY380" fmla="*/ 1064461 h 1139396"/>
                <a:gd name="connsiteX381" fmla="*/ 142427 w 235112"/>
                <a:gd name="connsiteY381" fmla="*/ 1063097 h 1139396"/>
                <a:gd name="connsiteX382" fmla="*/ 146011 w 235112"/>
                <a:gd name="connsiteY382" fmla="*/ 1061358 h 1139396"/>
                <a:gd name="connsiteX383" fmla="*/ 152604 w 235112"/>
                <a:gd name="connsiteY383" fmla="*/ 1058910 h 1139396"/>
                <a:gd name="connsiteX384" fmla="*/ 160205 w 235112"/>
                <a:gd name="connsiteY384" fmla="*/ 1055401 h 1139396"/>
                <a:gd name="connsiteX385" fmla="*/ 161156 w 235112"/>
                <a:gd name="connsiteY385" fmla="*/ 1054730 h 1139396"/>
                <a:gd name="connsiteX386" fmla="*/ 161067 w 235112"/>
                <a:gd name="connsiteY386" fmla="*/ 1052531 h 1139396"/>
                <a:gd name="connsiteX387" fmla="*/ 160114 w 235112"/>
                <a:gd name="connsiteY387" fmla="*/ 1051051 h 1139396"/>
                <a:gd name="connsiteX388" fmla="*/ 157097 w 235112"/>
                <a:gd name="connsiteY388" fmla="*/ 1049967 h 1139396"/>
                <a:gd name="connsiteX389" fmla="*/ 153941 w 235112"/>
                <a:gd name="connsiteY389" fmla="*/ 1049694 h 1139396"/>
                <a:gd name="connsiteX390" fmla="*/ 150933 w 235112"/>
                <a:gd name="connsiteY390" fmla="*/ 1049802 h 1139396"/>
                <a:gd name="connsiteX391" fmla="*/ 147929 w 235112"/>
                <a:gd name="connsiteY391" fmla="*/ 1050260 h 1139396"/>
                <a:gd name="connsiteX392" fmla="*/ 142445 w 235112"/>
                <a:gd name="connsiteY392" fmla="*/ 1052595 h 1139396"/>
                <a:gd name="connsiteX393" fmla="*/ 139340 w 235112"/>
                <a:gd name="connsiteY393" fmla="*/ 1052450 h 1139396"/>
                <a:gd name="connsiteX394" fmla="*/ 136387 w 235112"/>
                <a:gd name="connsiteY394" fmla="*/ 1051196 h 1139396"/>
                <a:gd name="connsiteX395" fmla="*/ 134197 w 235112"/>
                <a:gd name="connsiteY395" fmla="*/ 1048684 h 1139396"/>
                <a:gd name="connsiteX396" fmla="*/ 133066 w 235112"/>
                <a:gd name="connsiteY396" fmla="*/ 1045289 h 1139396"/>
                <a:gd name="connsiteX397" fmla="*/ 133074 w 235112"/>
                <a:gd name="connsiteY397" fmla="*/ 1043125 h 1139396"/>
                <a:gd name="connsiteX398" fmla="*/ 133495 w 235112"/>
                <a:gd name="connsiteY398" fmla="*/ 1041137 h 1139396"/>
                <a:gd name="connsiteX399" fmla="*/ 134831 w 235112"/>
                <a:gd name="connsiteY399" fmla="*/ 1039107 h 1139396"/>
                <a:gd name="connsiteX400" fmla="*/ 136622 w 235112"/>
                <a:gd name="connsiteY400" fmla="*/ 1038221 h 1139396"/>
                <a:gd name="connsiteX401" fmla="*/ 138237 w 235112"/>
                <a:gd name="connsiteY401" fmla="*/ 1038339 h 1139396"/>
                <a:gd name="connsiteX402" fmla="*/ 139755 w 235112"/>
                <a:gd name="connsiteY402" fmla="*/ 1037863 h 1139396"/>
                <a:gd name="connsiteX403" fmla="*/ 140657 w 235112"/>
                <a:gd name="connsiteY403" fmla="*/ 1037166 h 1139396"/>
                <a:gd name="connsiteX404" fmla="*/ 141425 w 235112"/>
                <a:gd name="connsiteY404" fmla="*/ 1036234 h 1139396"/>
                <a:gd name="connsiteX405" fmla="*/ 141199 w 235112"/>
                <a:gd name="connsiteY405" fmla="*/ 1035430 h 1139396"/>
                <a:gd name="connsiteX406" fmla="*/ 140610 w 235112"/>
                <a:gd name="connsiteY406" fmla="*/ 1034733 h 1139396"/>
                <a:gd name="connsiteX407" fmla="*/ 138164 w 235112"/>
                <a:gd name="connsiteY407" fmla="*/ 1033300 h 1139396"/>
                <a:gd name="connsiteX408" fmla="*/ 137197 w 235112"/>
                <a:gd name="connsiteY408" fmla="*/ 1031922 h 1139396"/>
                <a:gd name="connsiteX409" fmla="*/ 135098 w 235112"/>
                <a:gd name="connsiteY409" fmla="*/ 1029694 h 1139396"/>
                <a:gd name="connsiteX410" fmla="*/ 136244 w 235112"/>
                <a:gd name="connsiteY410" fmla="*/ 1029072 h 1139396"/>
                <a:gd name="connsiteX411" fmla="*/ 139928 w 235112"/>
                <a:gd name="connsiteY411" fmla="*/ 1028725 h 1139396"/>
                <a:gd name="connsiteX412" fmla="*/ 142499 w 235112"/>
                <a:gd name="connsiteY412" fmla="*/ 1030263 h 1139396"/>
                <a:gd name="connsiteX413" fmla="*/ 144900 w 235112"/>
                <a:gd name="connsiteY413" fmla="*/ 1032069 h 1139396"/>
                <a:gd name="connsiteX414" fmla="*/ 146374 w 235112"/>
                <a:gd name="connsiteY414" fmla="*/ 1032062 h 1139396"/>
                <a:gd name="connsiteX415" fmla="*/ 147698 w 235112"/>
                <a:gd name="connsiteY415" fmla="*/ 1031306 h 1139396"/>
                <a:gd name="connsiteX416" fmla="*/ 150731 w 235112"/>
                <a:gd name="connsiteY416" fmla="*/ 1028989 h 1139396"/>
                <a:gd name="connsiteX417" fmla="*/ 153275 w 235112"/>
                <a:gd name="connsiteY417" fmla="*/ 1026079 h 1139396"/>
                <a:gd name="connsiteX418" fmla="*/ 155592 w 235112"/>
                <a:gd name="connsiteY418" fmla="*/ 1022767 h 1139396"/>
                <a:gd name="connsiteX419" fmla="*/ 157456 w 235112"/>
                <a:gd name="connsiteY419" fmla="*/ 1020791 h 1139396"/>
                <a:gd name="connsiteX420" fmla="*/ 31881 w 235112"/>
                <a:gd name="connsiteY420" fmla="*/ 994765 h 1139396"/>
                <a:gd name="connsiteX421" fmla="*/ 34129 w 235112"/>
                <a:gd name="connsiteY421" fmla="*/ 995636 h 1139396"/>
                <a:gd name="connsiteX422" fmla="*/ 35052 w 235112"/>
                <a:gd name="connsiteY422" fmla="*/ 996297 h 1139396"/>
                <a:gd name="connsiteX423" fmla="*/ 36286 w 235112"/>
                <a:gd name="connsiteY423" fmla="*/ 997697 h 1139396"/>
                <a:gd name="connsiteX424" fmla="*/ 39928 w 235112"/>
                <a:gd name="connsiteY424" fmla="*/ 999702 h 1139396"/>
                <a:gd name="connsiteX425" fmla="*/ 40384 w 235112"/>
                <a:gd name="connsiteY425" fmla="*/ 1000297 h 1139396"/>
                <a:gd name="connsiteX426" fmla="*/ 40296 w 235112"/>
                <a:gd name="connsiteY426" fmla="*/ 1001066 h 1139396"/>
                <a:gd name="connsiteX427" fmla="*/ 39706 w 235112"/>
                <a:gd name="connsiteY427" fmla="*/ 1001740 h 1139396"/>
                <a:gd name="connsiteX428" fmla="*/ 38948 w 235112"/>
                <a:gd name="connsiteY428" fmla="*/ 1002114 h 1139396"/>
                <a:gd name="connsiteX429" fmla="*/ 36133 w 235112"/>
                <a:gd name="connsiteY429" fmla="*/ 1001322 h 1139396"/>
                <a:gd name="connsiteX430" fmla="*/ 34723 w 235112"/>
                <a:gd name="connsiteY430" fmla="*/ 1000618 h 1139396"/>
                <a:gd name="connsiteX431" fmla="*/ 32569 w 235112"/>
                <a:gd name="connsiteY431" fmla="*/ 998830 h 1139396"/>
                <a:gd name="connsiteX432" fmla="*/ 32227 w 235112"/>
                <a:gd name="connsiteY432" fmla="*/ 996987 h 1139396"/>
                <a:gd name="connsiteX433" fmla="*/ 31257 w 235112"/>
                <a:gd name="connsiteY433" fmla="*/ 994791 h 1139396"/>
                <a:gd name="connsiteX434" fmla="*/ 22444 w 235112"/>
                <a:gd name="connsiteY434" fmla="*/ 991565 h 1139396"/>
                <a:gd name="connsiteX435" fmla="*/ 23529 w 235112"/>
                <a:gd name="connsiteY435" fmla="*/ 998139 h 1139396"/>
                <a:gd name="connsiteX436" fmla="*/ 24306 w 235112"/>
                <a:gd name="connsiteY436" fmla="*/ 999057 h 1139396"/>
                <a:gd name="connsiteX437" fmla="*/ 26893 w 235112"/>
                <a:gd name="connsiteY437" fmla="*/ 999543 h 1139396"/>
                <a:gd name="connsiteX438" fmla="*/ 29699 w 235112"/>
                <a:gd name="connsiteY438" fmla="*/ 1002894 h 1139396"/>
                <a:gd name="connsiteX439" fmla="*/ 29826 w 235112"/>
                <a:gd name="connsiteY439" fmla="*/ 1003805 h 1139396"/>
                <a:gd name="connsiteX440" fmla="*/ 26424 w 235112"/>
                <a:gd name="connsiteY440" fmla="*/ 1009508 h 1139396"/>
                <a:gd name="connsiteX441" fmla="*/ 25701 w 235112"/>
                <a:gd name="connsiteY441" fmla="*/ 1013560 h 1139396"/>
                <a:gd name="connsiteX442" fmla="*/ 21712 w 235112"/>
                <a:gd name="connsiteY442" fmla="*/ 1013271 h 1139396"/>
                <a:gd name="connsiteX443" fmla="*/ 20041 w 235112"/>
                <a:gd name="connsiteY443" fmla="*/ 1009243 h 1139396"/>
                <a:gd name="connsiteX444" fmla="*/ 17520 w 235112"/>
                <a:gd name="connsiteY444" fmla="*/ 1005361 h 1139396"/>
                <a:gd name="connsiteX445" fmla="*/ 16669 w 235112"/>
                <a:gd name="connsiteY445" fmla="*/ 1000820 h 1139396"/>
                <a:gd name="connsiteX446" fmla="*/ 15283 w 235112"/>
                <a:gd name="connsiteY446" fmla="*/ 996927 h 1139396"/>
                <a:gd name="connsiteX447" fmla="*/ 17749 w 235112"/>
                <a:gd name="connsiteY447" fmla="*/ 994724 h 1139396"/>
                <a:gd name="connsiteX448" fmla="*/ 20105 w 235112"/>
                <a:gd name="connsiteY448" fmla="*/ 995216 h 1139396"/>
                <a:gd name="connsiteX449" fmla="*/ 20245 w 235112"/>
                <a:gd name="connsiteY449" fmla="*/ 992234 h 1139396"/>
                <a:gd name="connsiteX450" fmla="*/ 27804 w 235112"/>
                <a:gd name="connsiteY450" fmla="*/ 977323 h 1139396"/>
                <a:gd name="connsiteX451" fmla="*/ 28845 w 235112"/>
                <a:gd name="connsiteY451" fmla="*/ 978608 h 1139396"/>
                <a:gd name="connsiteX452" fmla="*/ 29146 w 235112"/>
                <a:gd name="connsiteY452" fmla="*/ 979671 h 1139396"/>
                <a:gd name="connsiteX453" fmla="*/ 29088 w 235112"/>
                <a:gd name="connsiteY453" fmla="*/ 982489 h 1139396"/>
                <a:gd name="connsiteX454" fmla="*/ 28286 w 235112"/>
                <a:gd name="connsiteY454" fmla="*/ 983387 h 1139396"/>
                <a:gd name="connsiteX455" fmla="*/ 27580 w 235112"/>
                <a:gd name="connsiteY455" fmla="*/ 983662 h 1139396"/>
                <a:gd name="connsiteX456" fmla="*/ 25796 w 235112"/>
                <a:gd name="connsiteY456" fmla="*/ 982804 h 1139396"/>
                <a:gd name="connsiteX457" fmla="*/ 24778 w 235112"/>
                <a:gd name="connsiteY457" fmla="*/ 982709 h 1139396"/>
                <a:gd name="connsiteX458" fmla="*/ 23092 w 235112"/>
                <a:gd name="connsiteY458" fmla="*/ 984201 h 1139396"/>
                <a:gd name="connsiteX459" fmla="*/ 21674 w 235112"/>
                <a:gd name="connsiteY459" fmla="*/ 984958 h 1139396"/>
                <a:gd name="connsiteX460" fmla="*/ 19560 w 235112"/>
                <a:gd name="connsiteY460" fmla="*/ 984761 h 1139396"/>
                <a:gd name="connsiteX461" fmla="*/ 16753 w 235112"/>
                <a:gd name="connsiteY461" fmla="*/ 983750 h 1139396"/>
                <a:gd name="connsiteX462" fmla="*/ 14245 w 235112"/>
                <a:gd name="connsiteY462" fmla="*/ 987994 h 1139396"/>
                <a:gd name="connsiteX463" fmla="*/ 13076 w 235112"/>
                <a:gd name="connsiteY463" fmla="*/ 989423 h 1139396"/>
                <a:gd name="connsiteX464" fmla="*/ 10624 w 235112"/>
                <a:gd name="connsiteY464" fmla="*/ 991404 h 1139396"/>
                <a:gd name="connsiteX465" fmla="*/ 10347 w 235112"/>
                <a:gd name="connsiteY465" fmla="*/ 989078 h 1139396"/>
                <a:gd name="connsiteX466" fmla="*/ 11907 w 235112"/>
                <a:gd name="connsiteY466" fmla="*/ 985609 h 1139396"/>
                <a:gd name="connsiteX467" fmla="*/ 12630 w 235112"/>
                <a:gd name="connsiteY467" fmla="*/ 983245 h 1139396"/>
                <a:gd name="connsiteX468" fmla="*/ 14059 w 235112"/>
                <a:gd name="connsiteY468" fmla="*/ 979731 h 1139396"/>
                <a:gd name="connsiteX469" fmla="*/ 16932 w 235112"/>
                <a:gd name="connsiteY469" fmla="*/ 981054 h 1139396"/>
                <a:gd name="connsiteX470" fmla="*/ 20961 w 235112"/>
                <a:gd name="connsiteY470" fmla="*/ 979754 h 1139396"/>
                <a:gd name="connsiteX471" fmla="*/ 24631 w 235112"/>
                <a:gd name="connsiteY471" fmla="*/ 977339 h 1139396"/>
                <a:gd name="connsiteX472" fmla="*/ 7111 w 235112"/>
                <a:gd name="connsiteY472" fmla="*/ 953031 h 1139396"/>
                <a:gd name="connsiteX473" fmla="*/ 10253 w 235112"/>
                <a:gd name="connsiteY473" fmla="*/ 953145 h 1139396"/>
                <a:gd name="connsiteX474" fmla="*/ 13995 w 235112"/>
                <a:gd name="connsiteY474" fmla="*/ 953571 h 1139396"/>
                <a:gd name="connsiteX475" fmla="*/ 15030 w 235112"/>
                <a:gd name="connsiteY475" fmla="*/ 954026 h 1139396"/>
                <a:gd name="connsiteX476" fmla="*/ 13886 w 235112"/>
                <a:gd name="connsiteY476" fmla="*/ 955489 h 1139396"/>
                <a:gd name="connsiteX477" fmla="*/ 12797 w 235112"/>
                <a:gd name="connsiteY477" fmla="*/ 956365 h 1139396"/>
                <a:gd name="connsiteX478" fmla="*/ 10542 w 235112"/>
                <a:gd name="connsiteY478" fmla="*/ 956905 h 1139396"/>
                <a:gd name="connsiteX479" fmla="*/ 10297 w 235112"/>
                <a:gd name="connsiteY479" fmla="*/ 959677 h 1139396"/>
                <a:gd name="connsiteX480" fmla="*/ 9574 w 235112"/>
                <a:gd name="connsiteY480" fmla="*/ 962762 h 1139396"/>
                <a:gd name="connsiteX481" fmla="*/ 7523 w 235112"/>
                <a:gd name="connsiteY481" fmla="*/ 962493 h 1139396"/>
                <a:gd name="connsiteX482" fmla="*/ 6835 w 235112"/>
                <a:gd name="connsiteY482" fmla="*/ 961718 h 1139396"/>
                <a:gd name="connsiteX483" fmla="*/ 6477 w 235112"/>
                <a:gd name="connsiteY483" fmla="*/ 959762 h 1139396"/>
                <a:gd name="connsiteX484" fmla="*/ 5850 w 235112"/>
                <a:gd name="connsiteY484" fmla="*/ 958817 h 1139396"/>
                <a:gd name="connsiteX485" fmla="*/ 6729 w 235112"/>
                <a:gd name="connsiteY485" fmla="*/ 956860 h 1139396"/>
                <a:gd name="connsiteX486" fmla="*/ 7311 w 235112"/>
                <a:gd name="connsiteY486" fmla="*/ 954689 h 1139396"/>
                <a:gd name="connsiteX487" fmla="*/ 9672 w 235112"/>
                <a:gd name="connsiteY487" fmla="*/ 937470 h 1139396"/>
                <a:gd name="connsiteX488" fmla="*/ 12638 w 235112"/>
                <a:gd name="connsiteY488" fmla="*/ 938582 h 1139396"/>
                <a:gd name="connsiteX489" fmla="*/ 14847 w 235112"/>
                <a:gd name="connsiteY489" fmla="*/ 938909 h 1139396"/>
                <a:gd name="connsiteX490" fmla="*/ 17847 w 235112"/>
                <a:gd name="connsiteY490" fmla="*/ 940015 h 1139396"/>
                <a:gd name="connsiteX491" fmla="*/ 21099 w 235112"/>
                <a:gd name="connsiteY491" fmla="*/ 940721 h 1139396"/>
                <a:gd name="connsiteX492" fmla="*/ 22048 w 235112"/>
                <a:gd name="connsiteY492" fmla="*/ 943616 h 1139396"/>
                <a:gd name="connsiteX493" fmla="*/ 18883 w 235112"/>
                <a:gd name="connsiteY493" fmla="*/ 944945 h 1139396"/>
                <a:gd name="connsiteX494" fmla="*/ 16565 w 235112"/>
                <a:gd name="connsiteY494" fmla="*/ 946897 h 1139396"/>
                <a:gd name="connsiteX495" fmla="*/ 11605 w 235112"/>
                <a:gd name="connsiteY495" fmla="*/ 949562 h 1139396"/>
                <a:gd name="connsiteX496" fmla="*/ 10148 w 235112"/>
                <a:gd name="connsiteY496" fmla="*/ 948457 h 1139396"/>
                <a:gd name="connsiteX497" fmla="*/ 6567 w 235112"/>
                <a:gd name="connsiteY497" fmla="*/ 948467 h 1139396"/>
                <a:gd name="connsiteX498" fmla="*/ 7505 w 235112"/>
                <a:gd name="connsiteY498" fmla="*/ 945587 h 1139396"/>
                <a:gd name="connsiteX499" fmla="*/ 7866 w 235112"/>
                <a:gd name="connsiteY499" fmla="*/ 943464 h 1139396"/>
                <a:gd name="connsiteX500" fmla="*/ 8403 w 235112"/>
                <a:gd name="connsiteY500" fmla="*/ 942644 h 1139396"/>
                <a:gd name="connsiteX501" fmla="*/ 8602 w 235112"/>
                <a:gd name="connsiteY501" fmla="*/ 940811 h 1139396"/>
                <a:gd name="connsiteX502" fmla="*/ 14947 w 235112"/>
                <a:gd name="connsiteY502" fmla="*/ 896750 h 1139396"/>
                <a:gd name="connsiteX503" fmla="*/ 15250 w 235112"/>
                <a:gd name="connsiteY503" fmla="*/ 898825 h 1139396"/>
                <a:gd name="connsiteX504" fmla="*/ 15036 w 235112"/>
                <a:gd name="connsiteY504" fmla="*/ 901422 h 1139396"/>
                <a:gd name="connsiteX505" fmla="*/ 11293 w 235112"/>
                <a:gd name="connsiteY505" fmla="*/ 906427 h 1139396"/>
                <a:gd name="connsiteX506" fmla="*/ 8067 w 235112"/>
                <a:gd name="connsiteY506" fmla="*/ 909383 h 1139396"/>
                <a:gd name="connsiteX507" fmla="*/ 5122 w 235112"/>
                <a:gd name="connsiteY507" fmla="*/ 911727 h 1139396"/>
                <a:gd name="connsiteX508" fmla="*/ 3239 w 235112"/>
                <a:gd name="connsiteY508" fmla="*/ 911705 h 1139396"/>
                <a:gd name="connsiteX509" fmla="*/ 1697 w 235112"/>
                <a:gd name="connsiteY509" fmla="*/ 910571 h 1139396"/>
                <a:gd name="connsiteX510" fmla="*/ 3429 w 235112"/>
                <a:gd name="connsiteY510" fmla="*/ 908717 h 1139396"/>
                <a:gd name="connsiteX511" fmla="*/ 5590 w 235112"/>
                <a:gd name="connsiteY511" fmla="*/ 906868 h 1139396"/>
                <a:gd name="connsiteX512" fmla="*/ 4908 w 235112"/>
                <a:gd name="connsiteY512" fmla="*/ 904483 h 1139396"/>
                <a:gd name="connsiteX513" fmla="*/ 4258 w 235112"/>
                <a:gd name="connsiteY513" fmla="*/ 903793 h 1139396"/>
                <a:gd name="connsiteX514" fmla="*/ 3345 w 235112"/>
                <a:gd name="connsiteY514" fmla="*/ 903540 h 1139396"/>
                <a:gd name="connsiteX515" fmla="*/ 1782 w 235112"/>
                <a:gd name="connsiteY515" fmla="*/ 902292 h 1139396"/>
                <a:gd name="connsiteX516" fmla="*/ 2255 w 235112"/>
                <a:gd name="connsiteY516" fmla="*/ 900440 h 1139396"/>
                <a:gd name="connsiteX517" fmla="*/ 3169 w 235112"/>
                <a:gd name="connsiteY517" fmla="*/ 899557 h 1139396"/>
                <a:gd name="connsiteX518" fmla="*/ 4382 w 235112"/>
                <a:gd name="connsiteY518" fmla="*/ 898880 h 1139396"/>
                <a:gd name="connsiteX519" fmla="*/ 5518 w 235112"/>
                <a:gd name="connsiteY519" fmla="*/ 899282 h 1139396"/>
                <a:gd name="connsiteX520" fmla="*/ 10417 w 235112"/>
                <a:gd name="connsiteY520" fmla="*/ 897981 h 1139396"/>
                <a:gd name="connsiteX521" fmla="*/ 11965 w 235112"/>
                <a:gd name="connsiteY521" fmla="*/ 896936 h 1139396"/>
                <a:gd name="connsiteX522" fmla="*/ 23191 w 235112"/>
                <a:gd name="connsiteY522" fmla="*/ 894537 h 1139396"/>
                <a:gd name="connsiteX523" fmla="*/ 24377 w 235112"/>
                <a:gd name="connsiteY523" fmla="*/ 894661 h 1139396"/>
                <a:gd name="connsiteX524" fmla="*/ 26788 w 235112"/>
                <a:gd name="connsiteY524" fmla="*/ 895999 h 1139396"/>
                <a:gd name="connsiteX525" fmla="*/ 28943 w 235112"/>
                <a:gd name="connsiteY525" fmla="*/ 896157 h 1139396"/>
                <a:gd name="connsiteX526" fmla="*/ 29464 w 235112"/>
                <a:gd name="connsiteY526" fmla="*/ 896553 h 1139396"/>
                <a:gd name="connsiteX527" fmla="*/ 29855 w 235112"/>
                <a:gd name="connsiteY527" fmla="*/ 898045 h 1139396"/>
                <a:gd name="connsiteX528" fmla="*/ 31236 w 235112"/>
                <a:gd name="connsiteY528" fmla="*/ 909012 h 1139396"/>
                <a:gd name="connsiteX529" fmla="*/ 31474 w 235112"/>
                <a:gd name="connsiteY529" fmla="*/ 913823 h 1139396"/>
                <a:gd name="connsiteX530" fmla="*/ 31047 w 235112"/>
                <a:gd name="connsiteY530" fmla="*/ 918666 h 1139396"/>
                <a:gd name="connsiteX531" fmla="*/ 30073 w 235112"/>
                <a:gd name="connsiteY531" fmla="*/ 924626 h 1139396"/>
                <a:gd name="connsiteX532" fmla="*/ 30232 w 235112"/>
                <a:gd name="connsiteY532" fmla="*/ 925833 h 1139396"/>
                <a:gd name="connsiteX533" fmla="*/ 31371 w 235112"/>
                <a:gd name="connsiteY533" fmla="*/ 926130 h 1139396"/>
                <a:gd name="connsiteX534" fmla="*/ 31676 w 235112"/>
                <a:gd name="connsiteY534" fmla="*/ 926873 h 1139396"/>
                <a:gd name="connsiteX535" fmla="*/ 31343 w 235112"/>
                <a:gd name="connsiteY535" fmla="*/ 930012 h 1139396"/>
                <a:gd name="connsiteX536" fmla="*/ 30731 w 235112"/>
                <a:gd name="connsiteY536" fmla="*/ 932431 h 1139396"/>
                <a:gd name="connsiteX537" fmla="*/ 29552 w 235112"/>
                <a:gd name="connsiteY537" fmla="*/ 934404 h 1139396"/>
                <a:gd name="connsiteX538" fmla="*/ 28862 w 235112"/>
                <a:gd name="connsiteY538" fmla="*/ 936772 h 1139396"/>
                <a:gd name="connsiteX539" fmla="*/ 28230 w 235112"/>
                <a:gd name="connsiteY539" fmla="*/ 937299 h 1139396"/>
                <a:gd name="connsiteX540" fmla="*/ 25475 w 235112"/>
                <a:gd name="connsiteY540" fmla="*/ 937717 h 1139396"/>
                <a:gd name="connsiteX541" fmla="*/ 23964 w 235112"/>
                <a:gd name="connsiteY541" fmla="*/ 937457 h 1139396"/>
                <a:gd name="connsiteX542" fmla="*/ 22750 w 235112"/>
                <a:gd name="connsiteY542" fmla="*/ 934752 h 1139396"/>
                <a:gd name="connsiteX543" fmla="*/ 22399 w 235112"/>
                <a:gd name="connsiteY543" fmla="*/ 933093 h 1139396"/>
                <a:gd name="connsiteX544" fmla="*/ 22469 w 235112"/>
                <a:gd name="connsiteY544" fmla="*/ 930925 h 1139396"/>
                <a:gd name="connsiteX545" fmla="*/ 20986 w 235112"/>
                <a:gd name="connsiteY545" fmla="*/ 928020 h 1139396"/>
                <a:gd name="connsiteX546" fmla="*/ 20940 w 235112"/>
                <a:gd name="connsiteY546" fmla="*/ 926909 h 1139396"/>
                <a:gd name="connsiteX547" fmla="*/ 21520 w 235112"/>
                <a:gd name="connsiteY547" fmla="*/ 924996 h 1139396"/>
                <a:gd name="connsiteX548" fmla="*/ 22720 w 235112"/>
                <a:gd name="connsiteY548" fmla="*/ 924044 h 1139396"/>
                <a:gd name="connsiteX549" fmla="*/ 22902 w 235112"/>
                <a:gd name="connsiteY549" fmla="*/ 921104 h 1139396"/>
                <a:gd name="connsiteX550" fmla="*/ 23507 w 235112"/>
                <a:gd name="connsiteY550" fmla="*/ 920223 h 1139396"/>
                <a:gd name="connsiteX551" fmla="*/ 24875 w 235112"/>
                <a:gd name="connsiteY551" fmla="*/ 919009 h 1139396"/>
                <a:gd name="connsiteX552" fmla="*/ 25083 w 235112"/>
                <a:gd name="connsiteY552" fmla="*/ 918504 h 1139396"/>
                <a:gd name="connsiteX553" fmla="*/ 24956 w 235112"/>
                <a:gd name="connsiteY553" fmla="*/ 918072 h 1139396"/>
                <a:gd name="connsiteX554" fmla="*/ 24449 w 235112"/>
                <a:gd name="connsiteY554" fmla="*/ 918026 h 1139396"/>
                <a:gd name="connsiteX555" fmla="*/ 18966 w 235112"/>
                <a:gd name="connsiteY555" fmla="*/ 921664 h 1139396"/>
                <a:gd name="connsiteX556" fmla="*/ 18428 w 235112"/>
                <a:gd name="connsiteY556" fmla="*/ 922689 h 1139396"/>
                <a:gd name="connsiteX557" fmla="*/ 18187 w 235112"/>
                <a:gd name="connsiteY557" fmla="*/ 924057 h 1139396"/>
                <a:gd name="connsiteX558" fmla="*/ 18118 w 235112"/>
                <a:gd name="connsiteY558" fmla="*/ 928874 h 1139396"/>
                <a:gd name="connsiteX559" fmla="*/ 17154 w 235112"/>
                <a:gd name="connsiteY559" fmla="*/ 931664 h 1139396"/>
                <a:gd name="connsiteX560" fmla="*/ 16280 w 235112"/>
                <a:gd name="connsiteY560" fmla="*/ 932196 h 1139396"/>
                <a:gd name="connsiteX561" fmla="*/ 13721 w 235112"/>
                <a:gd name="connsiteY561" fmla="*/ 932316 h 1139396"/>
                <a:gd name="connsiteX562" fmla="*/ 10345 w 235112"/>
                <a:gd name="connsiteY562" fmla="*/ 932035 h 1139396"/>
                <a:gd name="connsiteX563" fmla="*/ 6514 w 235112"/>
                <a:gd name="connsiteY563" fmla="*/ 929474 h 1139396"/>
                <a:gd name="connsiteX564" fmla="*/ 4014 w 235112"/>
                <a:gd name="connsiteY564" fmla="*/ 930180 h 1139396"/>
                <a:gd name="connsiteX565" fmla="*/ 3498 w 235112"/>
                <a:gd name="connsiteY565" fmla="*/ 927070 h 1139396"/>
                <a:gd name="connsiteX566" fmla="*/ 4750 w 235112"/>
                <a:gd name="connsiteY566" fmla="*/ 924584 h 1139396"/>
                <a:gd name="connsiteX567" fmla="*/ 9407 w 235112"/>
                <a:gd name="connsiteY567" fmla="*/ 924800 h 1139396"/>
                <a:gd name="connsiteX568" fmla="*/ 10198 w 235112"/>
                <a:gd name="connsiteY568" fmla="*/ 920382 h 1139396"/>
                <a:gd name="connsiteX569" fmla="*/ 8719 w 235112"/>
                <a:gd name="connsiteY569" fmla="*/ 919344 h 1139396"/>
                <a:gd name="connsiteX570" fmla="*/ 7080 w 235112"/>
                <a:gd name="connsiteY570" fmla="*/ 917564 h 1139396"/>
                <a:gd name="connsiteX571" fmla="*/ 6101 w 235112"/>
                <a:gd name="connsiteY571" fmla="*/ 915937 h 1139396"/>
                <a:gd name="connsiteX572" fmla="*/ 6971 w 235112"/>
                <a:gd name="connsiteY572" fmla="*/ 914728 h 1139396"/>
                <a:gd name="connsiteX573" fmla="*/ 9672 w 235112"/>
                <a:gd name="connsiteY573" fmla="*/ 912974 h 1139396"/>
                <a:gd name="connsiteX574" fmla="*/ 11118 w 235112"/>
                <a:gd name="connsiteY574" fmla="*/ 912785 h 1139396"/>
                <a:gd name="connsiteX575" fmla="*/ 12456 w 235112"/>
                <a:gd name="connsiteY575" fmla="*/ 913766 h 1139396"/>
                <a:gd name="connsiteX576" fmla="*/ 15772 w 235112"/>
                <a:gd name="connsiteY576" fmla="*/ 913025 h 1139396"/>
                <a:gd name="connsiteX577" fmla="*/ 15578 w 235112"/>
                <a:gd name="connsiteY577" fmla="*/ 910241 h 1139396"/>
                <a:gd name="connsiteX578" fmla="*/ 12625 w 235112"/>
                <a:gd name="connsiteY578" fmla="*/ 909019 h 1139396"/>
                <a:gd name="connsiteX579" fmla="*/ 13283 w 235112"/>
                <a:gd name="connsiteY579" fmla="*/ 906906 h 1139396"/>
                <a:gd name="connsiteX580" fmla="*/ 17013 w 235112"/>
                <a:gd name="connsiteY580" fmla="*/ 904893 h 1139396"/>
                <a:gd name="connsiteX581" fmla="*/ 19242 w 235112"/>
                <a:gd name="connsiteY581" fmla="*/ 902867 h 1139396"/>
                <a:gd name="connsiteX582" fmla="*/ 19343 w 235112"/>
                <a:gd name="connsiteY582" fmla="*/ 900555 h 1139396"/>
                <a:gd name="connsiteX583" fmla="*/ 18442 w 235112"/>
                <a:gd name="connsiteY583" fmla="*/ 898249 h 1139396"/>
                <a:gd name="connsiteX584" fmla="*/ 18727 w 235112"/>
                <a:gd name="connsiteY584" fmla="*/ 897350 h 1139396"/>
                <a:gd name="connsiteX585" fmla="*/ 20585 w 235112"/>
                <a:gd name="connsiteY585" fmla="*/ 895454 h 1139396"/>
                <a:gd name="connsiteX586" fmla="*/ 8030 w 235112"/>
                <a:gd name="connsiteY586" fmla="*/ 872272 h 1139396"/>
                <a:gd name="connsiteX587" fmla="*/ 9373 w 235112"/>
                <a:gd name="connsiteY587" fmla="*/ 874030 h 1139396"/>
                <a:gd name="connsiteX588" fmla="*/ 10968 w 235112"/>
                <a:gd name="connsiteY588" fmla="*/ 878709 h 1139396"/>
                <a:gd name="connsiteX589" fmla="*/ 14011 w 235112"/>
                <a:gd name="connsiteY589" fmla="*/ 885423 h 1139396"/>
                <a:gd name="connsiteX590" fmla="*/ 13935 w 235112"/>
                <a:gd name="connsiteY590" fmla="*/ 891849 h 1139396"/>
                <a:gd name="connsiteX591" fmla="*/ 12246 w 235112"/>
                <a:gd name="connsiteY591" fmla="*/ 893438 h 1139396"/>
                <a:gd name="connsiteX592" fmla="*/ 6949 w 235112"/>
                <a:gd name="connsiteY592" fmla="*/ 895061 h 1139396"/>
                <a:gd name="connsiteX593" fmla="*/ 5016 w 235112"/>
                <a:gd name="connsiteY593" fmla="*/ 896441 h 1139396"/>
                <a:gd name="connsiteX594" fmla="*/ 2161 w 235112"/>
                <a:gd name="connsiteY594" fmla="*/ 896479 h 1139396"/>
                <a:gd name="connsiteX595" fmla="*/ 1449 w 235112"/>
                <a:gd name="connsiteY595" fmla="*/ 890666 h 1139396"/>
                <a:gd name="connsiteX596" fmla="*/ 4807 w 235112"/>
                <a:gd name="connsiteY596" fmla="*/ 882292 h 1139396"/>
                <a:gd name="connsiteX597" fmla="*/ 5047 w 235112"/>
                <a:gd name="connsiteY597" fmla="*/ 879106 h 1139396"/>
                <a:gd name="connsiteX598" fmla="*/ 3919 w 235112"/>
                <a:gd name="connsiteY598" fmla="*/ 876709 h 1139396"/>
                <a:gd name="connsiteX599" fmla="*/ 3463 w 235112"/>
                <a:gd name="connsiteY599" fmla="*/ 874737 h 1139396"/>
                <a:gd name="connsiteX600" fmla="*/ 3738 w 235112"/>
                <a:gd name="connsiteY600" fmla="*/ 873929 h 1139396"/>
                <a:gd name="connsiteX601" fmla="*/ 20600 w 235112"/>
                <a:gd name="connsiteY601" fmla="*/ 866441 h 1139396"/>
                <a:gd name="connsiteX602" fmla="*/ 22330 w 235112"/>
                <a:gd name="connsiteY602" fmla="*/ 866797 h 1139396"/>
                <a:gd name="connsiteX603" fmla="*/ 21855 w 235112"/>
                <a:gd name="connsiteY603" fmla="*/ 872306 h 1139396"/>
                <a:gd name="connsiteX604" fmla="*/ 22894 w 235112"/>
                <a:gd name="connsiteY604" fmla="*/ 874166 h 1139396"/>
                <a:gd name="connsiteX605" fmla="*/ 24819 w 235112"/>
                <a:gd name="connsiteY605" fmla="*/ 875710 h 1139396"/>
                <a:gd name="connsiteX606" fmla="*/ 25175 w 235112"/>
                <a:gd name="connsiteY606" fmla="*/ 876345 h 1139396"/>
                <a:gd name="connsiteX607" fmla="*/ 25500 w 235112"/>
                <a:gd name="connsiteY607" fmla="*/ 878301 h 1139396"/>
                <a:gd name="connsiteX608" fmla="*/ 26466 w 235112"/>
                <a:gd name="connsiteY608" fmla="*/ 881334 h 1139396"/>
                <a:gd name="connsiteX609" fmla="*/ 27713 w 235112"/>
                <a:gd name="connsiteY609" fmla="*/ 882754 h 1139396"/>
                <a:gd name="connsiteX610" fmla="*/ 28036 w 235112"/>
                <a:gd name="connsiteY610" fmla="*/ 883639 h 1139396"/>
                <a:gd name="connsiteX611" fmla="*/ 28093 w 235112"/>
                <a:gd name="connsiteY611" fmla="*/ 884379 h 1139396"/>
                <a:gd name="connsiteX612" fmla="*/ 27635 w 235112"/>
                <a:gd name="connsiteY612" fmla="*/ 885424 h 1139396"/>
                <a:gd name="connsiteX613" fmla="*/ 28927 w 235112"/>
                <a:gd name="connsiteY613" fmla="*/ 890851 h 1139396"/>
                <a:gd name="connsiteX614" fmla="*/ 28445 w 235112"/>
                <a:gd name="connsiteY614" fmla="*/ 891624 h 1139396"/>
                <a:gd name="connsiteX615" fmla="*/ 25319 w 235112"/>
                <a:gd name="connsiteY615" fmla="*/ 891150 h 1139396"/>
                <a:gd name="connsiteX616" fmla="*/ 19905 w 235112"/>
                <a:gd name="connsiteY616" fmla="*/ 891974 h 1139396"/>
                <a:gd name="connsiteX617" fmla="*/ 17629 w 235112"/>
                <a:gd name="connsiteY617" fmla="*/ 889020 h 1139396"/>
                <a:gd name="connsiteX618" fmla="*/ 16633 w 235112"/>
                <a:gd name="connsiteY618" fmla="*/ 884325 h 1139396"/>
                <a:gd name="connsiteX619" fmla="*/ 15954 w 235112"/>
                <a:gd name="connsiteY619" fmla="*/ 883354 h 1139396"/>
                <a:gd name="connsiteX620" fmla="*/ 14609 w 235112"/>
                <a:gd name="connsiteY620" fmla="*/ 880684 h 1139396"/>
                <a:gd name="connsiteX621" fmla="*/ 13936 w 235112"/>
                <a:gd name="connsiteY621" fmla="*/ 878932 h 1139396"/>
                <a:gd name="connsiteX622" fmla="*/ 12556 w 235112"/>
                <a:gd name="connsiteY622" fmla="*/ 876221 h 1139396"/>
                <a:gd name="connsiteX623" fmla="*/ 12024 w 235112"/>
                <a:gd name="connsiteY623" fmla="*/ 873362 h 1139396"/>
                <a:gd name="connsiteX624" fmla="*/ 11685 w 235112"/>
                <a:gd name="connsiteY624" fmla="*/ 872500 h 1139396"/>
                <a:gd name="connsiteX625" fmla="*/ 12927 w 235112"/>
                <a:gd name="connsiteY625" fmla="*/ 870812 h 1139396"/>
                <a:gd name="connsiteX626" fmla="*/ 18586 w 235112"/>
                <a:gd name="connsiteY626" fmla="*/ 869138 h 1139396"/>
                <a:gd name="connsiteX627" fmla="*/ 15676 w 235112"/>
                <a:gd name="connsiteY627" fmla="*/ 861641 h 1139396"/>
                <a:gd name="connsiteX628" fmla="*/ 17853 w 235112"/>
                <a:gd name="connsiteY628" fmla="*/ 861773 h 1139396"/>
                <a:gd name="connsiteX629" fmla="*/ 19819 w 235112"/>
                <a:gd name="connsiteY629" fmla="*/ 862690 h 1139396"/>
                <a:gd name="connsiteX630" fmla="*/ 20084 w 235112"/>
                <a:gd name="connsiteY630" fmla="*/ 863770 h 1139396"/>
                <a:gd name="connsiteX631" fmla="*/ 16654 w 235112"/>
                <a:gd name="connsiteY631" fmla="*/ 865185 h 1139396"/>
                <a:gd name="connsiteX632" fmla="*/ 15812 w 235112"/>
                <a:gd name="connsiteY632" fmla="*/ 865961 h 1139396"/>
                <a:gd name="connsiteX633" fmla="*/ 15109 w 235112"/>
                <a:gd name="connsiteY633" fmla="*/ 866387 h 1139396"/>
                <a:gd name="connsiteX634" fmla="*/ 13241 w 235112"/>
                <a:gd name="connsiteY634" fmla="*/ 866807 h 1139396"/>
                <a:gd name="connsiteX635" fmla="*/ 13027 w 235112"/>
                <a:gd name="connsiteY635" fmla="*/ 865753 h 1139396"/>
                <a:gd name="connsiteX636" fmla="*/ 11336 w 235112"/>
                <a:gd name="connsiteY636" fmla="*/ 864003 h 1139396"/>
                <a:gd name="connsiteX637" fmla="*/ 12803 w 235112"/>
                <a:gd name="connsiteY637" fmla="*/ 862847 h 1139396"/>
                <a:gd name="connsiteX638" fmla="*/ 35437 w 235112"/>
                <a:gd name="connsiteY638" fmla="*/ 781535 h 1139396"/>
                <a:gd name="connsiteX639" fmla="*/ 36074 w 235112"/>
                <a:gd name="connsiteY639" fmla="*/ 784820 h 1139396"/>
                <a:gd name="connsiteX640" fmla="*/ 35313 w 235112"/>
                <a:gd name="connsiteY640" fmla="*/ 790697 h 1139396"/>
                <a:gd name="connsiteX641" fmla="*/ 37224 w 235112"/>
                <a:gd name="connsiteY641" fmla="*/ 794177 h 1139396"/>
                <a:gd name="connsiteX642" fmla="*/ 37500 w 235112"/>
                <a:gd name="connsiteY642" fmla="*/ 795339 h 1139396"/>
                <a:gd name="connsiteX643" fmla="*/ 37127 w 235112"/>
                <a:gd name="connsiteY643" fmla="*/ 796672 h 1139396"/>
                <a:gd name="connsiteX644" fmla="*/ 35377 w 235112"/>
                <a:gd name="connsiteY644" fmla="*/ 797868 h 1139396"/>
                <a:gd name="connsiteX645" fmla="*/ 33969 w 235112"/>
                <a:gd name="connsiteY645" fmla="*/ 799268 h 1139396"/>
                <a:gd name="connsiteX646" fmla="*/ 31507 w 235112"/>
                <a:gd name="connsiteY646" fmla="*/ 799943 h 1139396"/>
                <a:gd name="connsiteX647" fmla="*/ 29070 w 235112"/>
                <a:gd name="connsiteY647" fmla="*/ 798845 h 1139396"/>
                <a:gd name="connsiteX648" fmla="*/ 26126 w 235112"/>
                <a:gd name="connsiteY648" fmla="*/ 799354 h 1139396"/>
                <a:gd name="connsiteX649" fmla="*/ 25819 w 235112"/>
                <a:gd name="connsiteY649" fmla="*/ 796955 h 1139396"/>
                <a:gd name="connsiteX650" fmla="*/ 26920 w 235112"/>
                <a:gd name="connsiteY650" fmla="*/ 794981 h 1139396"/>
                <a:gd name="connsiteX651" fmla="*/ 29152 w 235112"/>
                <a:gd name="connsiteY651" fmla="*/ 792635 h 1139396"/>
                <a:gd name="connsiteX652" fmla="*/ 30767 w 235112"/>
                <a:gd name="connsiteY652" fmla="*/ 789495 h 1139396"/>
                <a:gd name="connsiteX653" fmla="*/ 30573 w 235112"/>
                <a:gd name="connsiteY653" fmla="*/ 785069 h 1139396"/>
                <a:gd name="connsiteX654" fmla="*/ 31900 w 235112"/>
                <a:gd name="connsiteY654" fmla="*/ 784056 h 1139396"/>
                <a:gd name="connsiteX655" fmla="*/ 32613 w 235112"/>
                <a:gd name="connsiteY655" fmla="*/ 782495 h 1139396"/>
                <a:gd name="connsiteX656" fmla="*/ 15230 w 235112"/>
                <a:gd name="connsiteY656" fmla="*/ 769703 h 1139396"/>
                <a:gd name="connsiteX657" fmla="*/ 15939 w 235112"/>
                <a:gd name="connsiteY657" fmla="*/ 769703 h 1139396"/>
                <a:gd name="connsiteX658" fmla="*/ 16727 w 235112"/>
                <a:gd name="connsiteY658" fmla="*/ 770604 h 1139396"/>
                <a:gd name="connsiteX659" fmla="*/ 17138 w 235112"/>
                <a:gd name="connsiteY659" fmla="*/ 772062 h 1139396"/>
                <a:gd name="connsiteX660" fmla="*/ 16877 w 235112"/>
                <a:gd name="connsiteY660" fmla="*/ 772677 h 1139396"/>
                <a:gd name="connsiteX661" fmla="*/ 16244 w 235112"/>
                <a:gd name="connsiteY661" fmla="*/ 773190 h 1139396"/>
                <a:gd name="connsiteX662" fmla="*/ 15452 w 235112"/>
                <a:gd name="connsiteY662" fmla="*/ 773041 h 1139396"/>
                <a:gd name="connsiteX663" fmla="*/ 14805 w 235112"/>
                <a:gd name="connsiteY663" fmla="*/ 772044 h 1139396"/>
                <a:gd name="connsiteX664" fmla="*/ 14351 w 235112"/>
                <a:gd name="connsiteY664" fmla="*/ 770345 h 1139396"/>
                <a:gd name="connsiteX665" fmla="*/ 50310 w 235112"/>
                <a:gd name="connsiteY665" fmla="*/ 761866 h 1139396"/>
                <a:gd name="connsiteX666" fmla="*/ 51260 w 235112"/>
                <a:gd name="connsiteY666" fmla="*/ 761930 h 1139396"/>
                <a:gd name="connsiteX667" fmla="*/ 52408 w 235112"/>
                <a:gd name="connsiteY667" fmla="*/ 763945 h 1139396"/>
                <a:gd name="connsiteX668" fmla="*/ 52738 w 235112"/>
                <a:gd name="connsiteY668" fmla="*/ 766128 h 1139396"/>
                <a:gd name="connsiteX669" fmla="*/ 53033 w 235112"/>
                <a:gd name="connsiteY669" fmla="*/ 768384 h 1139396"/>
                <a:gd name="connsiteX670" fmla="*/ 52637 w 235112"/>
                <a:gd name="connsiteY670" fmla="*/ 770528 h 1139396"/>
                <a:gd name="connsiteX671" fmla="*/ 51809 w 235112"/>
                <a:gd name="connsiteY671" fmla="*/ 770885 h 1139396"/>
                <a:gd name="connsiteX672" fmla="*/ 51055 w 235112"/>
                <a:gd name="connsiteY672" fmla="*/ 770831 h 1139396"/>
                <a:gd name="connsiteX673" fmla="*/ 50290 w 235112"/>
                <a:gd name="connsiteY673" fmla="*/ 769757 h 1139396"/>
                <a:gd name="connsiteX674" fmla="*/ 50034 w 235112"/>
                <a:gd name="connsiteY674" fmla="*/ 768344 h 1139396"/>
                <a:gd name="connsiteX675" fmla="*/ 48378 w 235112"/>
                <a:gd name="connsiteY675" fmla="*/ 766232 h 1139396"/>
                <a:gd name="connsiteX676" fmla="*/ 47914 w 235112"/>
                <a:gd name="connsiteY676" fmla="*/ 765235 h 1139396"/>
                <a:gd name="connsiteX677" fmla="*/ 47950 w 235112"/>
                <a:gd name="connsiteY677" fmla="*/ 764042 h 1139396"/>
                <a:gd name="connsiteX678" fmla="*/ 48902 w 235112"/>
                <a:gd name="connsiteY678" fmla="*/ 762332 h 1139396"/>
                <a:gd name="connsiteX679" fmla="*/ 63401 w 235112"/>
                <a:gd name="connsiteY679" fmla="*/ 755344 h 1139396"/>
                <a:gd name="connsiteX680" fmla="*/ 67947 w 235112"/>
                <a:gd name="connsiteY680" fmla="*/ 756873 h 1139396"/>
                <a:gd name="connsiteX681" fmla="*/ 72662 w 235112"/>
                <a:gd name="connsiteY681" fmla="*/ 759168 h 1139396"/>
                <a:gd name="connsiteX682" fmla="*/ 74338 w 235112"/>
                <a:gd name="connsiteY682" fmla="*/ 760755 h 1139396"/>
                <a:gd name="connsiteX683" fmla="*/ 74650 w 235112"/>
                <a:gd name="connsiteY683" fmla="*/ 762016 h 1139396"/>
                <a:gd name="connsiteX684" fmla="*/ 72589 w 235112"/>
                <a:gd name="connsiteY684" fmla="*/ 764808 h 1139396"/>
                <a:gd name="connsiteX685" fmla="*/ 71275 w 235112"/>
                <a:gd name="connsiteY685" fmla="*/ 767106 h 1139396"/>
                <a:gd name="connsiteX686" fmla="*/ 69019 w 235112"/>
                <a:gd name="connsiteY686" fmla="*/ 769233 h 1139396"/>
                <a:gd name="connsiteX687" fmla="*/ 62874 w 235112"/>
                <a:gd name="connsiteY687" fmla="*/ 771733 h 1139396"/>
                <a:gd name="connsiteX688" fmla="*/ 59793 w 235112"/>
                <a:gd name="connsiteY688" fmla="*/ 770894 h 1139396"/>
                <a:gd name="connsiteX689" fmla="*/ 58599 w 235112"/>
                <a:gd name="connsiteY689" fmla="*/ 769053 h 1139396"/>
                <a:gd name="connsiteX690" fmla="*/ 58016 w 235112"/>
                <a:gd name="connsiteY690" fmla="*/ 767505 h 1139396"/>
                <a:gd name="connsiteX691" fmla="*/ 57383 w 235112"/>
                <a:gd name="connsiteY691" fmla="*/ 764888 h 1139396"/>
                <a:gd name="connsiteX692" fmla="*/ 58432 w 235112"/>
                <a:gd name="connsiteY692" fmla="*/ 763484 h 1139396"/>
                <a:gd name="connsiteX693" fmla="*/ 60682 w 235112"/>
                <a:gd name="connsiteY693" fmla="*/ 761465 h 1139396"/>
                <a:gd name="connsiteX694" fmla="*/ 61518 w 235112"/>
                <a:gd name="connsiteY694" fmla="*/ 760161 h 1139396"/>
                <a:gd name="connsiteX695" fmla="*/ 61922 w 235112"/>
                <a:gd name="connsiteY695" fmla="*/ 758623 h 1139396"/>
                <a:gd name="connsiteX696" fmla="*/ 61781 w 235112"/>
                <a:gd name="connsiteY696" fmla="*/ 757188 h 1139396"/>
                <a:gd name="connsiteX697" fmla="*/ 62075 w 235112"/>
                <a:gd name="connsiteY697" fmla="*/ 755822 h 1139396"/>
                <a:gd name="connsiteX698" fmla="*/ 45842 w 235112"/>
                <a:gd name="connsiteY698" fmla="*/ 749120 h 1139396"/>
                <a:gd name="connsiteX699" fmla="*/ 46745 w 235112"/>
                <a:gd name="connsiteY699" fmla="*/ 750690 h 1139396"/>
                <a:gd name="connsiteX700" fmla="*/ 47931 w 235112"/>
                <a:gd name="connsiteY700" fmla="*/ 752232 h 1139396"/>
                <a:gd name="connsiteX701" fmla="*/ 50836 w 235112"/>
                <a:gd name="connsiteY701" fmla="*/ 753450 h 1139396"/>
                <a:gd name="connsiteX702" fmla="*/ 50823 w 235112"/>
                <a:gd name="connsiteY702" fmla="*/ 755046 h 1139396"/>
                <a:gd name="connsiteX703" fmla="*/ 50021 w 235112"/>
                <a:gd name="connsiteY703" fmla="*/ 757198 h 1139396"/>
                <a:gd name="connsiteX704" fmla="*/ 48773 w 235112"/>
                <a:gd name="connsiteY704" fmla="*/ 758538 h 1139396"/>
                <a:gd name="connsiteX705" fmla="*/ 46803 w 235112"/>
                <a:gd name="connsiteY705" fmla="*/ 758775 h 1139396"/>
                <a:gd name="connsiteX706" fmla="*/ 43734 w 235112"/>
                <a:gd name="connsiteY706" fmla="*/ 760324 h 1139396"/>
                <a:gd name="connsiteX707" fmla="*/ 43411 w 235112"/>
                <a:gd name="connsiteY707" fmla="*/ 761671 h 1139396"/>
                <a:gd name="connsiteX708" fmla="*/ 43258 w 235112"/>
                <a:gd name="connsiteY708" fmla="*/ 763323 h 1139396"/>
                <a:gd name="connsiteX709" fmla="*/ 45376 w 235112"/>
                <a:gd name="connsiteY709" fmla="*/ 765314 h 1139396"/>
                <a:gd name="connsiteX710" fmla="*/ 46420 w 235112"/>
                <a:gd name="connsiteY710" fmla="*/ 767629 h 1139396"/>
                <a:gd name="connsiteX711" fmla="*/ 47675 w 235112"/>
                <a:gd name="connsiteY711" fmla="*/ 771102 h 1139396"/>
                <a:gd name="connsiteX712" fmla="*/ 48581 w 235112"/>
                <a:gd name="connsiteY712" fmla="*/ 774420 h 1139396"/>
                <a:gd name="connsiteX713" fmla="*/ 48500 w 235112"/>
                <a:gd name="connsiteY713" fmla="*/ 775447 h 1139396"/>
                <a:gd name="connsiteX714" fmla="*/ 48725 w 235112"/>
                <a:gd name="connsiteY714" fmla="*/ 777171 h 1139396"/>
                <a:gd name="connsiteX715" fmla="*/ 50229 w 235112"/>
                <a:gd name="connsiteY715" fmla="*/ 779851 h 1139396"/>
                <a:gd name="connsiteX716" fmla="*/ 50368 w 235112"/>
                <a:gd name="connsiteY716" fmla="*/ 781062 h 1139396"/>
                <a:gd name="connsiteX717" fmla="*/ 50204 w 235112"/>
                <a:gd name="connsiteY717" fmla="*/ 782263 h 1139396"/>
                <a:gd name="connsiteX718" fmla="*/ 49597 w 235112"/>
                <a:gd name="connsiteY718" fmla="*/ 784491 h 1139396"/>
                <a:gd name="connsiteX719" fmla="*/ 49118 w 235112"/>
                <a:gd name="connsiteY719" fmla="*/ 784798 h 1139396"/>
                <a:gd name="connsiteX720" fmla="*/ 47625 w 235112"/>
                <a:gd name="connsiteY720" fmla="*/ 785015 h 1139396"/>
                <a:gd name="connsiteX721" fmla="*/ 47508 w 235112"/>
                <a:gd name="connsiteY721" fmla="*/ 786370 h 1139396"/>
                <a:gd name="connsiteX722" fmla="*/ 47140 w 235112"/>
                <a:gd name="connsiteY722" fmla="*/ 786812 h 1139396"/>
                <a:gd name="connsiteX723" fmla="*/ 42898 w 235112"/>
                <a:gd name="connsiteY723" fmla="*/ 786948 h 1139396"/>
                <a:gd name="connsiteX724" fmla="*/ 40798 w 235112"/>
                <a:gd name="connsiteY724" fmla="*/ 786333 h 1139396"/>
                <a:gd name="connsiteX725" fmla="*/ 41047 w 235112"/>
                <a:gd name="connsiteY725" fmla="*/ 782258 h 1139396"/>
                <a:gd name="connsiteX726" fmla="*/ 38361 w 235112"/>
                <a:gd name="connsiteY726" fmla="*/ 780660 h 1139396"/>
                <a:gd name="connsiteX727" fmla="*/ 36517 w 235112"/>
                <a:gd name="connsiteY727" fmla="*/ 777967 h 1139396"/>
                <a:gd name="connsiteX728" fmla="*/ 34439 w 235112"/>
                <a:gd name="connsiteY728" fmla="*/ 773325 h 1139396"/>
                <a:gd name="connsiteX729" fmla="*/ 32692 w 235112"/>
                <a:gd name="connsiteY729" fmla="*/ 771897 h 1139396"/>
                <a:gd name="connsiteX730" fmla="*/ 30663 w 235112"/>
                <a:gd name="connsiteY730" fmla="*/ 768233 h 1139396"/>
                <a:gd name="connsiteX731" fmla="*/ 27647 w 235112"/>
                <a:gd name="connsiteY731" fmla="*/ 765103 h 1139396"/>
                <a:gd name="connsiteX732" fmla="*/ 31127 w 235112"/>
                <a:gd name="connsiteY732" fmla="*/ 763125 h 1139396"/>
                <a:gd name="connsiteX733" fmla="*/ 30587 w 235112"/>
                <a:gd name="connsiteY733" fmla="*/ 759660 h 1139396"/>
                <a:gd name="connsiteX734" fmla="*/ 32619 w 235112"/>
                <a:gd name="connsiteY734" fmla="*/ 758474 h 1139396"/>
                <a:gd name="connsiteX735" fmla="*/ 35673 w 235112"/>
                <a:gd name="connsiteY735" fmla="*/ 757235 h 1139396"/>
                <a:gd name="connsiteX736" fmla="*/ 37922 w 235112"/>
                <a:gd name="connsiteY736" fmla="*/ 758209 h 1139396"/>
                <a:gd name="connsiteX737" fmla="*/ 39943 w 235112"/>
                <a:gd name="connsiteY737" fmla="*/ 757865 h 1139396"/>
                <a:gd name="connsiteX738" fmla="*/ 40845 w 235112"/>
                <a:gd name="connsiteY738" fmla="*/ 757038 h 1139396"/>
                <a:gd name="connsiteX739" fmla="*/ 40569 w 235112"/>
                <a:gd name="connsiteY739" fmla="*/ 753505 h 1139396"/>
                <a:gd name="connsiteX740" fmla="*/ 41211 w 235112"/>
                <a:gd name="connsiteY740" fmla="*/ 750723 h 1139396"/>
                <a:gd name="connsiteX741" fmla="*/ 43439 w 235112"/>
                <a:gd name="connsiteY741" fmla="*/ 749287 h 1139396"/>
                <a:gd name="connsiteX742" fmla="*/ 46937 w 235112"/>
                <a:gd name="connsiteY742" fmla="*/ 738231 h 1139396"/>
                <a:gd name="connsiteX743" fmla="*/ 47332 w 235112"/>
                <a:gd name="connsiteY743" fmla="*/ 738391 h 1139396"/>
                <a:gd name="connsiteX744" fmla="*/ 48112 w 235112"/>
                <a:gd name="connsiteY744" fmla="*/ 739577 h 1139396"/>
                <a:gd name="connsiteX745" fmla="*/ 48644 w 235112"/>
                <a:gd name="connsiteY745" fmla="*/ 741102 h 1139396"/>
                <a:gd name="connsiteX746" fmla="*/ 47528 w 235112"/>
                <a:gd name="connsiteY746" fmla="*/ 741311 h 1139396"/>
                <a:gd name="connsiteX747" fmla="*/ 45740 w 235112"/>
                <a:gd name="connsiteY747" fmla="*/ 741068 h 1139396"/>
                <a:gd name="connsiteX748" fmla="*/ 44876 w 235112"/>
                <a:gd name="connsiteY748" fmla="*/ 742273 h 1139396"/>
                <a:gd name="connsiteX749" fmla="*/ 44434 w 235112"/>
                <a:gd name="connsiteY749" fmla="*/ 742513 h 1139396"/>
                <a:gd name="connsiteX750" fmla="*/ 40323 w 235112"/>
                <a:gd name="connsiteY750" fmla="*/ 741444 h 1139396"/>
                <a:gd name="connsiteX751" fmla="*/ 39686 w 235112"/>
                <a:gd name="connsiteY751" fmla="*/ 740968 h 1139396"/>
                <a:gd name="connsiteX752" fmla="*/ 39761 w 235112"/>
                <a:gd name="connsiteY752" fmla="*/ 739383 h 1139396"/>
                <a:gd name="connsiteX753" fmla="*/ 44142 w 235112"/>
                <a:gd name="connsiteY753" fmla="*/ 739243 h 1139396"/>
                <a:gd name="connsiteX754" fmla="*/ 24419 w 235112"/>
                <a:gd name="connsiteY754" fmla="*/ 730565 h 1139396"/>
                <a:gd name="connsiteX755" fmla="*/ 25625 w 235112"/>
                <a:gd name="connsiteY755" fmla="*/ 731093 h 1139396"/>
                <a:gd name="connsiteX756" fmla="*/ 26254 w 235112"/>
                <a:gd name="connsiteY756" fmla="*/ 731847 h 1139396"/>
                <a:gd name="connsiteX757" fmla="*/ 26454 w 235112"/>
                <a:gd name="connsiteY757" fmla="*/ 732533 h 1139396"/>
                <a:gd name="connsiteX758" fmla="*/ 26353 w 235112"/>
                <a:gd name="connsiteY758" fmla="*/ 732786 h 1139396"/>
                <a:gd name="connsiteX759" fmla="*/ 22760 w 235112"/>
                <a:gd name="connsiteY759" fmla="*/ 733330 h 1139396"/>
                <a:gd name="connsiteX760" fmla="*/ 21944 w 235112"/>
                <a:gd name="connsiteY760" fmla="*/ 732405 h 1139396"/>
                <a:gd name="connsiteX761" fmla="*/ 21961 w 235112"/>
                <a:gd name="connsiteY761" fmla="*/ 731627 h 1139396"/>
                <a:gd name="connsiteX762" fmla="*/ 22577 w 235112"/>
                <a:gd name="connsiteY762" fmla="*/ 730981 h 1139396"/>
                <a:gd name="connsiteX763" fmla="*/ 42381 w 235112"/>
                <a:gd name="connsiteY763" fmla="*/ 677249 h 1139396"/>
                <a:gd name="connsiteX764" fmla="*/ 50133 w 235112"/>
                <a:gd name="connsiteY764" fmla="*/ 679733 h 1139396"/>
                <a:gd name="connsiteX765" fmla="*/ 55283 w 235112"/>
                <a:gd name="connsiteY765" fmla="*/ 680312 h 1139396"/>
                <a:gd name="connsiteX766" fmla="*/ 55559 w 235112"/>
                <a:gd name="connsiteY766" fmla="*/ 682885 h 1139396"/>
                <a:gd name="connsiteX767" fmla="*/ 56552 w 235112"/>
                <a:gd name="connsiteY767" fmla="*/ 684904 h 1139396"/>
                <a:gd name="connsiteX768" fmla="*/ 57143 w 235112"/>
                <a:gd name="connsiteY768" fmla="*/ 688522 h 1139396"/>
                <a:gd name="connsiteX769" fmla="*/ 57945 w 235112"/>
                <a:gd name="connsiteY769" fmla="*/ 689344 h 1139396"/>
                <a:gd name="connsiteX770" fmla="*/ 57529 w 235112"/>
                <a:gd name="connsiteY770" fmla="*/ 691937 h 1139396"/>
                <a:gd name="connsiteX771" fmla="*/ 55157 w 235112"/>
                <a:gd name="connsiteY771" fmla="*/ 693054 h 1139396"/>
                <a:gd name="connsiteX772" fmla="*/ 55367 w 235112"/>
                <a:gd name="connsiteY772" fmla="*/ 695440 h 1139396"/>
                <a:gd name="connsiteX773" fmla="*/ 56730 w 235112"/>
                <a:gd name="connsiteY773" fmla="*/ 697695 h 1139396"/>
                <a:gd name="connsiteX774" fmla="*/ 54740 w 235112"/>
                <a:gd name="connsiteY774" fmla="*/ 698497 h 1139396"/>
                <a:gd name="connsiteX775" fmla="*/ 52594 w 235112"/>
                <a:gd name="connsiteY775" fmla="*/ 698975 h 1139396"/>
                <a:gd name="connsiteX776" fmla="*/ 52098 w 235112"/>
                <a:gd name="connsiteY776" fmla="*/ 699603 h 1139396"/>
                <a:gd name="connsiteX777" fmla="*/ 50544 w 235112"/>
                <a:gd name="connsiteY777" fmla="*/ 700092 h 1139396"/>
                <a:gd name="connsiteX778" fmla="*/ 48655 w 235112"/>
                <a:gd name="connsiteY778" fmla="*/ 701348 h 1139396"/>
                <a:gd name="connsiteX779" fmla="*/ 49223 w 235112"/>
                <a:gd name="connsiteY779" fmla="*/ 702455 h 1139396"/>
                <a:gd name="connsiteX780" fmla="*/ 51601 w 235112"/>
                <a:gd name="connsiteY780" fmla="*/ 704982 h 1139396"/>
                <a:gd name="connsiteX781" fmla="*/ 54258 w 235112"/>
                <a:gd name="connsiteY781" fmla="*/ 706735 h 1139396"/>
                <a:gd name="connsiteX782" fmla="*/ 55717 w 235112"/>
                <a:gd name="connsiteY782" fmla="*/ 709360 h 1139396"/>
                <a:gd name="connsiteX783" fmla="*/ 57604 w 235112"/>
                <a:gd name="connsiteY783" fmla="*/ 712103 h 1139396"/>
                <a:gd name="connsiteX784" fmla="*/ 56682 w 235112"/>
                <a:gd name="connsiteY784" fmla="*/ 713846 h 1139396"/>
                <a:gd name="connsiteX785" fmla="*/ 54954 w 235112"/>
                <a:gd name="connsiteY785" fmla="*/ 716319 h 1139396"/>
                <a:gd name="connsiteX786" fmla="*/ 52196 w 235112"/>
                <a:gd name="connsiteY786" fmla="*/ 717963 h 1139396"/>
                <a:gd name="connsiteX787" fmla="*/ 49658 w 235112"/>
                <a:gd name="connsiteY787" fmla="*/ 718945 h 1139396"/>
                <a:gd name="connsiteX788" fmla="*/ 49958 w 235112"/>
                <a:gd name="connsiteY788" fmla="*/ 723021 h 1139396"/>
                <a:gd name="connsiteX789" fmla="*/ 49058 w 235112"/>
                <a:gd name="connsiteY789" fmla="*/ 724701 h 1139396"/>
                <a:gd name="connsiteX790" fmla="*/ 47151 w 235112"/>
                <a:gd name="connsiteY790" fmla="*/ 725345 h 1139396"/>
                <a:gd name="connsiteX791" fmla="*/ 45373 w 235112"/>
                <a:gd name="connsiteY791" fmla="*/ 725505 h 1139396"/>
                <a:gd name="connsiteX792" fmla="*/ 43566 w 235112"/>
                <a:gd name="connsiteY792" fmla="*/ 725032 h 1139396"/>
                <a:gd name="connsiteX793" fmla="*/ 40410 w 235112"/>
                <a:gd name="connsiteY793" fmla="*/ 725071 h 1139396"/>
                <a:gd name="connsiteX794" fmla="*/ 37261 w 235112"/>
                <a:gd name="connsiteY794" fmla="*/ 723866 h 1139396"/>
                <a:gd name="connsiteX795" fmla="*/ 34311 w 235112"/>
                <a:gd name="connsiteY795" fmla="*/ 722163 h 1139396"/>
                <a:gd name="connsiteX796" fmla="*/ 33490 w 235112"/>
                <a:gd name="connsiteY796" fmla="*/ 721179 h 1139396"/>
                <a:gd name="connsiteX797" fmla="*/ 33850 w 235112"/>
                <a:gd name="connsiteY797" fmla="*/ 719766 h 1139396"/>
                <a:gd name="connsiteX798" fmla="*/ 35975 w 235112"/>
                <a:gd name="connsiteY798" fmla="*/ 716497 h 1139396"/>
                <a:gd name="connsiteX799" fmla="*/ 38000 w 235112"/>
                <a:gd name="connsiteY799" fmla="*/ 710328 h 1139396"/>
                <a:gd name="connsiteX800" fmla="*/ 39348 w 235112"/>
                <a:gd name="connsiteY800" fmla="*/ 701495 h 1139396"/>
                <a:gd name="connsiteX801" fmla="*/ 38269 w 235112"/>
                <a:gd name="connsiteY801" fmla="*/ 698153 h 1139396"/>
                <a:gd name="connsiteX802" fmla="*/ 38403 w 235112"/>
                <a:gd name="connsiteY802" fmla="*/ 696768 h 1139396"/>
                <a:gd name="connsiteX803" fmla="*/ 38898 w 235112"/>
                <a:gd name="connsiteY803" fmla="*/ 695103 h 1139396"/>
                <a:gd name="connsiteX804" fmla="*/ 39144 w 235112"/>
                <a:gd name="connsiteY804" fmla="*/ 693391 h 1139396"/>
                <a:gd name="connsiteX805" fmla="*/ 38993 w 235112"/>
                <a:gd name="connsiteY805" fmla="*/ 691665 h 1139396"/>
                <a:gd name="connsiteX806" fmla="*/ 39250 w 235112"/>
                <a:gd name="connsiteY806" fmla="*/ 690062 h 1139396"/>
                <a:gd name="connsiteX807" fmla="*/ 41478 w 235112"/>
                <a:gd name="connsiteY807" fmla="*/ 686692 h 1139396"/>
                <a:gd name="connsiteX808" fmla="*/ 41806 w 235112"/>
                <a:gd name="connsiteY808" fmla="*/ 685181 h 1139396"/>
                <a:gd name="connsiteX809" fmla="*/ 41870 w 235112"/>
                <a:gd name="connsiteY809" fmla="*/ 683538 h 1139396"/>
                <a:gd name="connsiteX810" fmla="*/ 42834 w 235112"/>
                <a:gd name="connsiteY810" fmla="*/ 680149 h 1139396"/>
                <a:gd name="connsiteX811" fmla="*/ 42537 w 235112"/>
                <a:gd name="connsiteY811" fmla="*/ 679026 h 1139396"/>
                <a:gd name="connsiteX812" fmla="*/ 41713 w 235112"/>
                <a:gd name="connsiteY812" fmla="*/ 678077 h 1139396"/>
                <a:gd name="connsiteX813" fmla="*/ 157137 w 235112"/>
                <a:gd name="connsiteY813" fmla="*/ 0 h 1139396"/>
                <a:gd name="connsiteX814" fmla="*/ 157542 w 235112"/>
                <a:gd name="connsiteY814" fmla="*/ 2966 h 1139396"/>
                <a:gd name="connsiteX815" fmla="*/ 161016 w 235112"/>
                <a:gd name="connsiteY815" fmla="*/ 6944 h 1139396"/>
                <a:gd name="connsiteX816" fmla="*/ 162147 w 235112"/>
                <a:gd name="connsiteY816" fmla="*/ 11431 h 1139396"/>
                <a:gd name="connsiteX817" fmla="*/ 162935 w 235112"/>
                <a:gd name="connsiteY817" fmla="*/ 11999 h 1139396"/>
                <a:gd name="connsiteX818" fmla="*/ 167711 w 235112"/>
                <a:gd name="connsiteY818" fmla="*/ 14242 h 1139396"/>
                <a:gd name="connsiteX819" fmla="*/ 167801 w 235112"/>
                <a:gd name="connsiteY819" fmla="*/ 14771 h 1139396"/>
                <a:gd name="connsiteX820" fmla="*/ 167100 w 235112"/>
                <a:gd name="connsiteY820" fmla="*/ 15610 h 1139396"/>
                <a:gd name="connsiteX821" fmla="*/ 166405 w 235112"/>
                <a:gd name="connsiteY821" fmla="*/ 16691 h 1139396"/>
                <a:gd name="connsiteX822" fmla="*/ 166889 w 235112"/>
                <a:gd name="connsiteY822" fmla="*/ 18221 h 1139396"/>
                <a:gd name="connsiteX823" fmla="*/ 167754 w 235112"/>
                <a:gd name="connsiteY823" fmla="*/ 20317 h 1139396"/>
                <a:gd name="connsiteX824" fmla="*/ 168040 w 235112"/>
                <a:gd name="connsiteY824" fmla="*/ 22262 h 1139396"/>
                <a:gd name="connsiteX825" fmla="*/ 168568 w 235112"/>
                <a:gd name="connsiteY825" fmla="*/ 24264 h 1139396"/>
                <a:gd name="connsiteX826" fmla="*/ 169094 w 235112"/>
                <a:gd name="connsiteY826" fmla="*/ 27335 h 1139396"/>
                <a:gd name="connsiteX827" fmla="*/ 169414 w 235112"/>
                <a:gd name="connsiteY827" fmla="*/ 30119 h 1139396"/>
                <a:gd name="connsiteX828" fmla="*/ 170630 w 235112"/>
                <a:gd name="connsiteY828" fmla="*/ 34234 h 1139396"/>
                <a:gd name="connsiteX829" fmla="*/ 170877 w 235112"/>
                <a:gd name="connsiteY829" fmla="*/ 36773 h 1139396"/>
                <a:gd name="connsiteX830" fmla="*/ 170897 w 235112"/>
                <a:gd name="connsiteY830" fmla="*/ 38305 h 1139396"/>
                <a:gd name="connsiteX831" fmla="*/ 171843 w 235112"/>
                <a:gd name="connsiteY831" fmla="*/ 39808 h 1139396"/>
                <a:gd name="connsiteX832" fmla="*/ 173695 w 235112"/>
                <a:gd name="connsiteY832" fmla="*/ 41599 h 1139396"/>
                <a:gd name="connsiteX833" fmla="*/ 176203 w 235112"/>
                <a:gd name="connsiteY833" fmla="*/ 43410 h 1139396"/>
                <a:gd name="connsiteX834" fmla="*/ 178190 w 235112"/>
                <a:gd name="connsiteY834" fmla="*/ 45518 h 1139396"/>
                <a:gd name="connsiteX835" fmla="*/ 179715 w 235112"/>
                <a:gd name="connsiteY835" fmla="*/ 46946 h 1139396"/>
                <a:gd name="connsiteX836" fmla="*/ 181558 w 235112"/>
                <a:gd name="connsiteY836" fmla="*/ 48115 h 1139396"/>
                <a:gd name="connsiteX837" fmla="*/ 182974 w 235112"/>
                <a:gd name="connsiteY837" fmla="*/ 49189 h 1139396"/>
                <a:gd name="connsiteX838" fmla="*/ 183528 w 235112"/>
                <a:gd name="connsiteY838" fmla="*/ 49927 h 1139396"/>
                <a:gd name="connsiteX839" fmla="*/ 183713 w 235112"/>
                <a:gd name="connsiteY839" fmla="*/ 50528 h 1139396"/>
                <a:gd name="connsiteX840" fmla="*/ 183101 w 235112"/>
                <a:gd name="connsiteY840" fmla="*/ 51096 h 1139396"/>
                <a:gd name="connsiteX841" fmla="*/ 180863 w 235112"/>
                <a:gd name="connsiteY841" fmla="*/ 53881 h 1139396"/>
                <a:gd name="connsiteX842" fmla="*/ 177744 w 235112"/>
                <a:gd name="connsiteY842" fmla="*/ 58120 h 1139396"/>
                <a:gd name="connsiteX843" fmla="*/ 177797 w 235112"/>
                <a:gd name="connsiteY843" fmla="*/ 58637 h 1139396"/>
                <a:gd name="connsiteX844" fmla="*/ 180787 w 235112"/>
                <a:gd name="connsiteY844" fmla="*/ 61690 h 1139396"/>
                <a:gd name="connsiteX845" fmla="*/ 181267 w 235112"/>
                <a:gd name="connsiteY845" fmla="*/ 62897 h 1139396"/>
                <a:gd name="connsiteX846" fmla="*/ 181232 w 235112"/>
                <a:gd name="connsiteY846" fmla="*/ 64605 h 1139396"/>
                <a:gd name="connsiteX847" fmla="*/ 180231 w 235112"/>
                <a:gd name="connsiteY847" fmla="*/ 66659 h 1139396"/>
                <a:gd name="connsiteX848" fmla="*/ 177003 w 235112"/>
                <a:gd name="connsiteY848" fmla="*/ 67310 h 1139396"/>
                <a:gd name="connsiteX849" fmla="*/ 176285 w 235112"/>
                <a:gd name="connsiteY849" fmla="*/ 67868 h 1139396"/>
                <a:gd name="connsiteX850" fmla="*/ 176196 w 235112"/>
                <a:gd name="connsiteY850" fmla="*/ 68521 h 1139396"/>
                <a:gd name="connsiteX851" fmla="*/ 176939 w 235112"/>
                <a:gd name="connsiteY851" fmla="*/ 69390 h 1139396"/>
                <a:gd name="connsiteX852" fmla="*/ 176824 w 235112"/>
                <a:gd name="connsiteY852" fmla="*/ 71416 h 1139396"/>
                <a:gd name="connsiteX853" fmla="*/ 177991 w 235112"/>
                <a:gd name="connsiteY853" fmla="*/ 73657 h 1139396"/>
                <a:gd name="connsiteX854" fmla="*/ 177388 w 235112"/>
                <a:gd name="connsiteY854" fmla="*/ 74421 h 1139396"/>
                <a:gd name="connsiteX855" fmla="*/ 176198 w 235112"/>
                <a:gd name="connsiteY855" fmla="*/ 75453 h 1139396"/>
                <a:gd name="connsiteX856" fmla="*/ 176165 w 235112"/>
                <a:gd name="connsiteY856" fmla="*/ 76461 h 1139396"/>
                <a:gd name="connsiteX857" fmla="*/ 176555 w 235112"/>
                <a:gd name="connsiteY857" fmla="*/ 77581 h 1139396"/>
                <a:gd name="connsiteX858" fmla="*/ 177807 w 235112"/>
                <a:gd name="connsiteY858" fmla="*/ 78489 h 1139396"/>
                <a:gd name="connsiteX859" fmla="*/ 182776 w 235112"/>
                <a:gd name="connsiteY859" fmla="*/ 81637 h 1139396"/>
                <a:gd name="connsiteX860" fmla="*/ 183169 w 235112"/>
                <a:gd name="connsiteY860" fmla="*/ 82070 h 1139396"/>
                <a:gd name="connsiteX861" fmla="*/ 183091 w 235112"/>
                <a:gd name="connsiteY861" fmla="*/ 82396 h 1139396"/>
                <a:gd name="connsiteX862" fmla="*/ 181169 w 235112"/>
                <a:gd name="connsiteY862" fmla="*/ 84496 h 1139396"/>
                <a:gd name="connsiteX863" fmla="*/ 180971 w 235112"/>
                <a:gd name="connsiteY863" fmla="*/ 85793 h 1139396"/>
                <a:gd name="connsiteX864" fmla="*/ 181024 w 235112"/>
                <a:gd name="connsiteY864" fmla="*/ 87928 h 1139396"/>
                <a:gd name="connsiteX865" fmla="*/ 181294 w 235112"/>
                <a:gd name="connsiteY865" fmla="*/ 89308 h 1139396"/>
                <a:gd name="connsiteX866" fmla="*/ 181913 w 235112"/>
                <a:gd name="connsiteY866" fmla="*/ 89883 h 1139396"/>
                <a:gd name="connsiteX867" fmla="*/ 184408 w 235112"/>
                <a:gd name="connsiteY867" fmla="*/ 90534 h 1139396"/>
                <a:gd name="connsiteX868" fmla="*/ 187491 w 235112"/>
                <a:gd name="connsiteY868" fmla="*/ 95340 h 1139396"/>
                <a:gd name="connsiteX869" fmla="*/ 190454 w 235112"/>
                <a:gd name="connsiteY869" fmla="*/ 99864 h 1139396"/>
                <a:gd name="connsiteX870" fmla="*/ 190416 w 235112"/>
                <a:gd name="connsiteY870" fmla="*/ 103763 h 1139396"/>
                <a:gd name="connsiteX871" fmla="*/ 190723 w 235112"/>
                <a:gd name="connsiteY871" fmla="*/ 108310 h 1139396"/>
                <a:gd name="connsiteX872" fmla="*/ 192605 w 235112"/>
                <a:gd name="connsiteY872" fmla="*/ 111882 h 1139396"/>
                <a:gd name="connsiteX873" fmla="*/ 192868 w 235112"/>
                <a:gd name="connsiteY873" fmla="*/ 114743 h 1139396"/>
                <a:gd name="connsiteX874" fmla="*/ 193503 w 235112"/>
                <a:gd name="connsiteY874" fmla="*/ 117991 h 1139396"/>
                <a:gd name="connsiteX875" fmla="*/ 195744 w 235112"/>
                <a:gd name="connsiteY875" fmla="*/ 119968 h 1139396"/>
                <a:gd name="connsiteX876" fmla="*/ 196619 w 235112"/>
                <a:gd name="connsiteY876" fmla="*/ 123877 h 1139396"/>
                <a:gd name="connsiteX877" fmla="*/ 196846 w 235112"/>
                <a:gd name="connsiteY877" fmla="*/ 125961 h 1139396"/>
                <a:gd name="connsiteX878" fmla="*/ 196707 w 235112"/>
                <a:gd name="connsiteY878" fmla="*/ 127331 h 1139396"/>
                <a:gd name="connsiteX879" fmla="*/ 198448 w 235112"/>
                <a:gd name="connsiteY879" fmla="*/ 131587 h 1139396"/>
                <a:gd name="connsiteX880" fmla="*/ 198652 w 235112"/>
                <a:gd name="connsiteY880" fmla="*/ 135246 h 1139396"/>
                <a:gd name="connsiteX881" fmla="*/ 198239 w 235112"/>
                <a:gd name="connsiteY881" fmla="*/ 137878 h 1139396"/>
                <a:gd name="connsiteX882" fmla="*/ 198260 w 235112"/>
                <a:gd name="connsiteY882" fmla="*/ 139346 h 1139396"/>
                <a:gd name="connsiteX883" fmla="*/ 198506 w 235112"/>
                <a:gd name="connsiteY883" fmla="*/ 140381 h 1139396"/>
                <a:gd name="connsiteX884" fmla="*/ 200001 w 235112"/>
                <a:gd name="connsiteY884" fmla="*/ 141309 h 1139396"/>
                <a:gd name="connsiteX885" fmla="*/ 200662 w 235112"/>
                <a:gd name="connsiteY885" fmla="*/ 141890 h 1139396"/>
                <a:gd name="connsiteX886" fmla="*/ 202871 w 235112"/>
                <a:gd name="connsiteY886" fmla="*/ 142149 h 1139396"/>
                <a:gd name="connsiteX887" fmla="*/ 206101 w 235112"/>
                <a:gd name="connsiteY887" fmla="*/ 142217 h 1139396"/>
                <a:gd name="connsiteX888" fmla="*/ 211620 w 235112"/>
                <a:gd name="connsiteY888" fmla="*/ 141241 h 1139396"/>
                <a:gd name="connsiteX889" fmla="*/ 215865 w 235112"/>
                <a:gd name="connsiteY889" fmla="*/ 140347 h 1139396"/>
                <a:gd name="connsiteX890" fmla="*/ 220583 w 235112"/>
                <a:gd name="connsiteY890" fmla="*/ 145147 h 1139396"/>
                <a:gd name="connsiteX891" fmla="*/ 218530 w 235112"/>
                <a:gd name="connsiteY891" fmla="*/ 151664 h 1139396"/>
                <a:gd name="connsiteX892" fmla="*/ 215250 w 235112"/>
                <a:gd name="connsiteY892" fmla="*/ 162077 h 1139396"/>
                <a:gd name="connsiteX893" fmla="*/ 212714 w 235112"/>
                <a:gd name="connsiteY893" fmla="*/ 170142 h 1139396"/>
                <a:gd name="connsiteX894" fmla="*/ 212297 w 235112"/>
                <a:gd name="connsiteY894" fmla="*/ 171219 h 1139396"/>
                <a:gd name="connsiteX895" fmla="*/ 211774 w 235112"/>
                <a:gd name="connsiteY895" fmla="*/ 172803 h 1139396"/>
                <a:gd name="connsiteX896" fmla="*/ 206308 w 235112"/>
                <a:gd name="connsiteY896" fmla="*/ 175090 h 1139396"/>
                <a:gd name="connsiteX897" fmla="*/ 198334 w 235112"/>
                <a:gd name="connsiteY897" fmla="*/ 178434 h 1139396"/>
                <a:gd name="connsiteX898" fmla="*/ 194249 w 235112"/>
                <a:gd name="connsiteY898" fmla="*/ 180180 h 1139396"/>
                <a:gd name="connsiteX899" fmla="*/ 189103 w 235112"/>
                <a:gd name="connsiteY899" fmla="*/ 182431 h 1139396"/>
                <a:gd name="connsiteX900" fmla="*/ 187856 w 235112"/>
                <a:gd name="connsiteY900" fmla="*/ 184269 h 1139396"/>
                <a:gd name="connsiteX901" fmla="*/ 186370 w 235112"/>
                <a:gd name="connsiteY901" fmla="*/ 185264 h 1139396"/>
                <a:gd name="connsiteX902" fmla="*/ 184736 w 235112"/>
                <a:gd name="connsiteY902" fmla="*/ 186551 h 1139396"/>
                <a:gd name="connsiteX903" fmla="*/ 184113 w 235112"/>
                <a:gd name="connsiteY903" fmla="*/ 187948 h 1139396"/>
                <a:gd name="connsiteX904" fmla="*/ 182588 w 235112"/>
                <a:gd name="connsiteY904" fmla="*/ 188832 h 1139396"/>
                <a:gd name="connsiteX905" fmla="*/ 181199 w 235112"/>
                <a:gd name="connsiteY905" fmla="*/ 191999 h 1139396"/>
                <a:gd name="connsiteX906" fmla="*/ 181199 w 235112"/>
                <a:gd name="connsiteY906" fmla="*/ 194434 h 1139396"/>
                <a:gd name="connsiteX907" fmla="*/ 182085 w 235112"/>
                <a:gd name="connsiteY907" fmla="*/ 196093 h 1139396"/>
                <a:gd name="connsiteX908" fmla="*/ 183625 w 235112"/>
                <a:gd name="connsiteY908" fmla="*/ 196794 h 1139396"/>
                <a:gd name="connsiteX909" fmla="*/ 184113 w 235112"/>
                <a:gd name="connsiteY909" fmla="*/ 198783 h 1139396"/>
                <a:gd name="connsiteX910" fmla="*/ 184597 w 235112"/>
                <a:gd name="connsiteY910" fmla="*/ 200187 h 1139396"/>
                <a:gd name="connsiteX911" fmla="*/ 185707 w 235112"/>
                <a:gd name="connsiteY911" fmla="*/ 201292 h 1139396"/>
                <a:gd name="connsiteX912" fmla="*/ 185428 w 235112"/>
                <a:gd name="connsiteY912" fmla="*/ 202178 h 1139396"/>
                <a:gd name="connsiteX913" fmla="*/ 184529 w 235112"/>
                <a:gd name="connsiteY913" fmla="*/ 202843 h 1139396"/>
                <a:gd name="connsiteX914" fmla="*/ 182864 w 235112"/>
                <a:gd name="connsiteY914" fmla="*/ 203212 h 1139396"/>
                <a:gd name="connsiteX915" fmla="*/ 181737 w 235112"/>
                <a:gd name="connsiteY915" fmla="*/ 205204 h 1139396"/>
                <a:gd name="connsiteX916" fmla="*/ 180436 w 235112"/>
                <a:gd name="connsiteY916" fmla="*/ 210158 h 1139396"/>
                <a:gd name="connsiteX917" fmla="*/ 180229 w 235112"/>
                <a:gd name="connsiteY917" fmla="*/ 211933 h 1139396"/>
                <a:gd name="connsiteX918" fmla="*/ 181709 w 235112"/>
                <a:gd name="connsiteY918" fmla="*/ 216422 h 1139396"/>
                <a:gd name="connsiteX919" fmla="*/ 182497 w 235112"/>
                <a:gd name="connsiteY919" fmla="*/ 218845 h 1139396"/>
                <a:gd name="connsiteX920" fmla="*/ 184629 w 235112"/>
                <a:gd name="connsiteY920" fmla="*/ 227641 h 1139396"/>
                <a:gd name="connsiteX921" fmla="*/ 184940 w 235112"/>
                <a:gd name="connsiteY921" fmla="*/ 230036 h 1139396"/>
                <a:gd name="connsiteX922" fmla="*/ 182015 w 235112"/>
                <a:gd name="connsiteY922" fmla="*/ 233383 h 1139396"/>
                <a:gd name="connsiteX923" fmla="*/ 180850 w 235112"/>
                <a:gd name="connsiteY923" fmla="*/ 235421 h 1139396"/>
                <a:gd name="connsiteX924" fmla="*/ 180434 w 235112"/>
                <a:gd name="connsiteY924" fmla="*/ 237218 h 1139396"/>
                <a:gd name="connsiteX925" fmla="*/ 180449 w 235112"/>
                <a:gd name="connsiteY925" fmla="*/ 238641 h 1139396"/>
                <a:gd name="connsiteX926" fmla="*/ 180714 w 235112"/>
                <a:gd name="connsiteY926" fmla="*/ 239945 h 1139396"/>
                <a:gd name="connsiteX927" fmla="*/ 183150 w 235112"/>
                <a:gd name="connsiteY927" fmla="*/ 244080 h 1139396"/>
                <a:gd name="connsiteX928" fmla="*/ 185983 w 235112"/>
                <a:gd name="connsiteY928" fmla="*/ 247787 h 1139396"/>
                <a:gd name="connsiteX929" fmla="*/ 187371 w 235112"/>
                <a:gd name="connsiteY929" fmla="*/ 249724 h 1139396"/>
                <a:gd name="connsiteX930" fmla="*/ 187371 w 235112"/>
                <a:gd name="connsiteY930" fmla="*/ 252333 h 1139396"/>
                <a:gd name="connsiteX931" fmla="*/ 186677 w 235112"/>
                <a:gd name="connsiteY931" fmla="*/ 253825 h 1139396"/>
                <a:gd name="connsiteX932" fmla="*/ 185171 w 235112"/>
                <a:gd name="connsiteY932" fmla="*/ 254375 h 1139396"/>
                <a:gd name="connsiteX933" fmla="*/ 181824 w 235112"/>
                <a:gd name="connsiteY933" fmla="*/ 255391 h 1139396"/>
                <a:gd name="connsiteX934" fmla="*/ 180436 w 235112"/>
                <a:gd name="connsiteY934" fmla="*/ 256883 h 1139396"/>
                <a:gd name="connsiteX935" fmla="*/ 178912 w 235112"/>
                <a:gd name="connsiteY935" fmla="*/ 257110 h 1139396"/>
                <a:gd name="connsiteX936" fmla="*/ 177456 w 235112"/>
                <a:gd name="connsiteY936" fmla="*/ 255913 h 1139396"/>
                <a:gd name="connsiteX937" fmla="*/ 175931 w 235112"/>
                <a:gd name="connsiteY937" fmla="*/ 256211 h 1139396"/>
                <a:gd name="connsiteX938" fmla="*/ 173990 w 235112"/>
                <a:gd name="connsiteY938" fmla="*/ 257257 h 1139396"/>
                <a:gd name="connsiteX939" fmla="*/ 173260 w 235112"/>
                <a:gd name="connsiteY939" fmla="*/ 259795 h 1139396"/>
                <a:gd name="connsiteX940" fmla="*/ 171564 w 235112"/>
                <a:gd name="connsiteY940" fmla="*/ 264125 h 1139396"/>
                <a:gd name="connsiteX941" fmla="*/ 170108 w 235112"/>
                <a:gd name="connsiteY941" fmla="*/ 265323 h 1139396"/>
                <a:gd name="connsiteX942" fmla="*/ 169024 w 235112"/>
                <a:gd name="connsiteY942" fmla="*/ 268632 h 1139396"/>
                <a:gd name="connsiteX943" fmla="*/ 167089 w 235112"/>
                <a:gd name="connsiteY943" fmla="*/ 273382 h 1139396"/>
                <a:gd name="connsiteX944" fmla="*/ 166156 w 235112"/>
                <a:gd name="connsiteY944" fmla="*/ 276248 h 1139396"/>
                <a:gd name="connsiteX945" fmla="*/ 165671 w 235112"/>
                <a:gd name="connsiteY945" fmla="*/ 278346 h 1139396"/>
                <a:gd name="connsiteX946" fmla="*/ 163723 w 235112"/>
                <a:gd name="connsiteY946" fmla="*/ 279688 h 1139396"/>
                <a:gd name="connsiteX947" fmla="*/ 161454 w 235112"/>
                <a:gd name="connsiteY947" fmla="*/ 282353 h 1139396"/>
                <a:gd name="connsiteX948" fmla="*/ 159708 w 235112"/>
                <a:gd name="connsiteY948" fmla="*/ 284947 h 1139396"/>
                <a:gd name="connsiteX949" fmla="*/ 159015 w 235112"/>
                <a:gd name="connsiteY949" fmla="*/ 285698 h 1139396"/>
                <a:gd name="connsiteX950" fmla="*/ 157697 w 235112"/>
                <a:gd name="connsiteY950" fmla="*/ 285923 h 1139396"/>
                <a:gd name="connsiteX951" fmla="*/ 156727 w 235112"/>
                <a:gd name="connsiteY951" fmla="*/ 288252 h 1139396"/>
                <a:gd name="connsiteX952" fmla="*/ 153436 w 235112"/>
                <a:gd name="connsiteY952" fmla="*/ 291766 h 1139396"/>
                <a:gd name="connsiteX953" fmla="*/ 152651 w 235112"/>
                <a:gd name="connsiteY953" fmla="*/ 295849 h 1139396"/>
                <a:gd name="connsiteX954" fmla="*/ 151459 w 235112"/>
                <a:gd name="connsiteY954" fmla="*/ 298026 h 1139396"/>
                <a:gd name="connsiteX955" fmla="*/ 151250 w 235112"/>
                <a:gd name="connsiteY955" fmla="*/ 301958 h 1139396"/>
                <a:gd name="connsiteX956" fmla="*/ 149433 w 235112"/>
                <a:gd name="connsiteY956" fmla="*/ 309172 h 1139396"/>
                <a:gd name="connsiteX957" fmla="*/ 149101 w 235112"/>
                <a:gd name="connsiteY957" fmla="*/ 310765 h 1139396"/>
                <a:gd name="connsiteX958" fmla="*/ 147264 w 235112"/>
                <a:gd name="connsiteY958" fmla="*/ 312024 h 1139396"/>
                <a:gd name="connsiteX959" fmla="*/ 144848 w 235112"/>
                <a:gd name="connsiteY959" fmla="*/ 314818 h 1139396"/>
                <a:gd name="connsiteX960" fmla="*/ 144057 w 235112"/>
                <a:gd name="connsiteY960" fmla="*/ 316863 h 1139396"/>
                <a:gd name="connsiteX961" fmla="*/ 145178 w 235112"/>
                <a:gd name="connsiteY961" fmla="*/ 322987 h 1139396"/>
                <a:gd name="connsiteX962" fmla="*/ 146573 w 235112"/>
                <a:gd name="connsiteY962" fmla="*/ 329184 h 1139396"/>
                <a:gd name="connsiteX963" fmla="*/ 146661 w 235112"/>
                <a:gd name="connsiteY963" fmla="*/ 332092 h 1139396"/>
                <a:gd name="connsiteX964" fmla="*/ 146120 w 235112"/>
                <a:gd name="connsiteY964" fmla="*/ 336042 h 1139396"/>
                <a:gd name="connsiteX965" fmla="*/ 145753 w 235112"/>
                <a:gd name="connsiteY965" fmla="*/ 337762 h 1139396"/>
                <a:gd name="connsiteX966" fmla="*/ 146676 w 235112"/>
                <a:gd name="connsiteY966" fmla="*/ 338472 h 1139396"/>
                <a:gd name="connsiteX967" fmla="*/ 148201 w 235112"/>
                <a:gd name="connsiteY967" fmla="*/ 338928 h 1139396"/>
                <a:gd name="connsiteX968" fmla="*/ 148685 w 235112"/>
                <a:gd name="connsiteY968" fmla="*/ 340447 h 1139396"/>
                <a:gd name="connsiteX969" fmla="*/ 147576 w 235112"/>
                <a:gd name="connsiteY969" fmla="*/ 341511 h 1139396"/>
                <a:gd name="connsiteX970" fmla="*/ 147092 w 235112"/>
                <a:gd name="connsiteY970" fmla="*/ 343411 h 1139396"/>
                <a:gd name="connsiteX971" fmla="*/ 145843 w 235112"/>
                <a:gd name="connsiteY971" fmla="*/ 345540 h 1139396"/>
                <a:gd name="connsiteX972" fmla="*/ 142151 w 235112"/>
                <a:gd name="connsiteY972" fmla="*/ 346378 h 1139396"/>
                <a:gd name="connsiteX973" fmla="*/ 140852 w 235112"/>
                <a:gd name="connsiteY973" fmla="*/ 345617 h 1139396"/>
                <a:gd name="connsiteX974" fmla="*/ 140435 w 235112"/>
                <a:gd name="connsiteY974" fmla="*/ 346302 h 1139396"/>
                <a:gd name="connsiteX975" fmla="*/ 140644 w 235112"/>
                <a:gd name="connsiteY975" fmla="*/ 347824 h 1139396"/>
                <a:gd name="connsiteX976" fmla="*/ 139820 w 235112"/>
                <a:gd name="connsiteY976" fmla="*/ 349617 h 1139396"/>
                <a:gd name="connsiteX977" fmla="*/ 137906 w 235112"/>
                <a:gd name="connsiteY977" fmla="*/ 354425 h 1139396"/>
                <a:gd name="connsiteX978" fmla="*/ 136642 w 235112"/>
                <a:gd name="connsiteY978" fmla="*/ 358797 h 1139396"/>
                <a:gd name="connsiteX979" fmla="*/ 135909 w 235112"/>
                <a:gd name="connsiteY979" fmla="*/ 360704 h 1139396"/>
                <a:gd name="connsiteX980" fmla="*/ 136206 w 235112"/>
                <a:gd name="connsiteY980" fmla="*/ 362307 h 1139396"/>
                <a:gd name="connsiteX981" fmla="*/ 136830 w 235112"/>
                <a:gd name="connsiteY981" fmla="*/ 363224 h 1139396"/>
                <a:gd name="connsiteX982" fmla="*/ 136900 w 235112"/>
                <a:gd name="connsiteY982" fmla="*/ 364063 h 1139396"/>
                <a:gd name="connsiteX983" fmla="*/ 135847 w 235112"/>
                <a:gd name="connsiteY983" fmla="*/ 365120 h 1139396"/>
                <a:gd name="connsiteX984" fmla="*/ 134889 w 235112"/>
                <a:gd name="connsiteY984" fmla="*/ 366814 h 1139396"/>
                <a:gd name="connsiteX985" fmla="*/ 133849 w 235112"/>
                <a:gd name="connsiteY985" fmla="*/ 367044 h 1139396"/>
                <a:gd name="connsiteX986" fmla="*/ 132741 w 235112"/>
                <a:gd name="connsiteY986" fmla="*/ 366583 h 1139396"/>
                <a:gd name="connsiteX987" fmla="*/ 131562 w 235112"/>
                <a:gd name="connsiteY987" fmla="*/ 367579 h 1139396"/>
                <a:gd name="connsiteX988" fmla="*/ 131322 w 235112"/>
                <a:gd name="connsiteY988" fmla="*/ 369659 h 1139396"/>
                <a:gd name="connsiteX989" fmla="*/ 130672 w 235112"/>
                <a:gd name="connsiteY989" fmla="*/ 372305 h 1139396"/>
                <a:gd name="connsiteX990" fmla="*/ 130375 w 235112"/>
                <a:gd name="connsiteY990" fmla="*/ 375401 h 1139396"/>
                <a:gd name="connsiteX991" fmla="*/ 129898 w 235112"/>
                <a:gd name="connsiteY991" fmla="*/ 379366 h 1139396"/>
                <a:gd name="connsiteX992" fmla="*/ 131408 w 235112"/>
                <a:gd name="connsiteY992" fmla="*/ 382085 h 1139396"/>
                <a:gd name="connsiteX993" fmla="*/ 133324 w 235112"/>
                <a:gd name="connsiteY993" fmla="*/ 387012 h 1139396"/>
                <a:gd name="connsiteX994" fmla="*/ 134751 w 235112"/>
                <a:gd name="connsiteY994" fmla="*/ 388188 h 1139396"/>
                <a:gd name="connsiteX995" fmla="*/ 136345 w 235112"/>
                <a:gd name="connsiteY995" fmla="*/ 388111 h 1139396"/>
                <a:gd name="connsiteX996" fmla="*/ 137593 w 235112"/>
                <a:gd name="connsiteY996" fmla="*/ 389110 h 1139396"/>
                <a:gd name="connsiteX997" fmla="*/ 138287 w 235112"/>
                <a:gd name="connsiteY997" fmla="*/ 390266 h 1139396"/>
                <a:gd name="connsiteX998" fmla="*/ 137360 w 235112"/>
                <a:gd name="connsiteY998" fmla="*/ 392328 h 1139396"/>
                <a:gd name="connsiteX999" fmla="*/ 135721 w 235112"/>
                <a:gd name="connsiteY999" fmla="*/ 392647 h 1139396"/>
                <a:gd name="connsiteX1000" fmla="*/ 135514 w 235112"/>
                <a:gd name="connsiteY1000" fmla="*/ 393804 h 1139396"/>
                <a:gd name="connsiteX1001" fmla="*/ 135999 w 235112"/>
                <a:gd name="connsiteY1001" fmla="*/ 396419 h 1139396"/>
                <a:gd name="connsiteX1002" fmla="*/ 136623 w 235112"/>
                <a:gd name="connsiteY1002" fmla="*/ 398960 h 1139396"/>
                <a:gd name="connsiteX1003" fmla="*/ 138199 w 235112"/>
                <a:gd name="connsiteY1003" fmla="*/ 400178 h 1139396"/>
                <a:gd name="connsiteX1004" fmla="*/ 138910 w 235112"/>
                <a:gd name="connsiteY1004" fmla="*/ 403580 h 1139396"/>
                <a:gd name="connsiteX1005" fmla="*/ 140435 w 235112"/>
                <a:gd name="connsiteY1005" fmla="*/ 404738 h 1139396"/>
                <a:gd name="connsiteX1006" fmla="*/ 140250 w 235112"/>
                <a:gd name="connsiteY1006" fmla="*/ 409095 h 1139396"/>
                <a:gd name="connsiteX1007" fmla="*/ 141792 w 235112"/>
                <a:gd name="connsiteY1007" fmla="*/ 414219 h 1139396"/>
                <a:gd name="connsiteX1008" fmla="*/ 143417 w 235112"/>
                <a:gd name="connsiteY1008" fmla="*/ 415704 h 1139396"/>
                <a:gd name="connsiteX1009" fmla="*/ 144180 w 235112"/>
                <a:gd name="connsiteY1009" fmla="*/ 416400 h 1139396"/>
                <a:gd name="connsiteX1010" fmla="*/ 143668 w 235112"/>
                <a:gd name="connsiteY1010" fmla="*/ 418638 h 1139396"/>
                <a:gd name="connsiteX1011" fmla="*/ 142377 w 235112"/>
                <a:gd name="connsiteY1011" fmla="*/ 420423 h 1139396"/>
                <a:gd name="connsiteX1012" fmla="*/ 142101 w 235112"/>
                <a:gd name="connsiteY1012" fmla="*/ 423290 h 1139396"/>
                <a:gd name="connsiteX1013" fmla="*/ 142586 w 235112"/>
                <a:gd name="connsiteY1013" fmla="*/ 425382 h 1139396"/>
                <a:gd name="connsiteX1014" fmla="*/ 144235 w 235112"/>
                <a:gd name="connsiteY1014" fmla="*/ 427359 h 1139396"/>
                <a:gd name="connsiteX1015" fmla="*/ 145522 w 235112"/>
                <a:gd name="connsiteY1015" fmla="*/ 427584 h 1139396"/>
                <a:gd name="connsiteX1016" fmla="*/ 147370 w 235112"/>
                <a:gd name="connsiteY1016" fmla="*/ 426777 h 1139396"/>
                <a:gd name="connsiteX1017" fmla="*/ 149311 w 235112"/>
                <a:gd name="connsiteY1017" fmla="*/ 427709 h 1139396"/>
                <a:gd name="connsiteX1018" fmla="*/ 149587 w 235112"/>
                <a:gd name="connsiteY1018" fmla="*/ 429415 h 1139396"/>
                <a:gd name="connsiteX1019" fmla="*/ 149865 w 235112"/>
                <a:gd name="connsiteY1019" fmla="*/ 430966 h 1139396"/>
                <a:gd name="connsiteX1020" fmla="*/ 148826 w 235112"/>
                <a:gd name="connsiteY1020" fmla="*/ 432986 h 1139396"/>
                <a:gd name="connsiteX1021" fmla="*/ 147715 w 235112"/>
                <a:gd name="connsiteY1021" fmla="*/ 436715 h 1139396"/>
                <a:gd name="connsiteX1022" fmla="*/ 147417 w 235112"/>
                <a:gd name="connsiteY1022" fmla="*/ 440422 h 1139396"/>
                <a:gd name="connsiteX1023" fmla="*/ 147742 w 235112"/>
                <a:gd name="connsiteY1023" fmla="*/ 446073 h 1139396"/>
                <a:gd name="connsiteX1024" fmla="*/ 148248 w 235112"/>
                <a:gd name="connsiteY1024" fmla="*/ 450458 h 1139396"/>
                <a:gd name="connsiteX1025" fmla="*/ 148354 w 235112"/>
                <a:gd name="connsiteY1025" fmla="*/ 453223 h 1139396"/>
                <a:gd name="connsiteX1026" fmla="*/ 148479 w 235112"/>
                <a:gd name="connsiteY1026" fmla="*/ 454474 h 1139396"/>
                <a:gd name="connsiteX1027" fmla="*/ 147786 w 235112"/>
                <a:gd name="connsiteY1027" fmla="*/ 455334 h 1139396"/>
                <a:gd name="connsiteX1028" fmla="*/ 146098 w 235112"/>
                <a:gd name="connsiteY1028" fmla="*/ 455777 h 1139396"/>
                <a:gd name="connsiteX1029" fmla="*/ 144666 w 235112"/>
                <a:gd name="connsiteY1029" fmla="*/ 455958 h 1139396"/>
                <a:gd name="connsiteX1030" fmla="*/ 143417 w 235112"/>
                <a:gd name="connsiteY1030" fmla="*/ 456659 h 1139396"/>
                <a:gd name="connsiteX1031" fmla="*/ 143139 w 235112"/>
                <a:gd name="connsiteY1031" fmla="*/ 458066 h 1139396"/>
                <a:gd name="connsiteX1032" fmla="*/ 142165 w 235112"/>
                <a:gd name="connsiteY1032" fmla="*/ 460411 h 1139396"/>
                <a:gd name="connsiteX1033" fmla="*/ 141156 w 235112"/>
                <a:gd name="connsiteY1033" fmla="*/ 462151 h 1139396"/>
                <a:gd name="connsiteX1034" fmla="*/ 139394 w 235112"/>
                <a:gd name="connsiteY1034" fmla="*/ 464680 h 1139396"/>
                <a:gd name="connsiteX1035" fmla="*/ 138280 w 235112"/>
                <a:gd name="connsiteY1035" fmla="*/ 467298 h 1139396"/>
                <a:gd name="connsiteX1036" fmla="*/ 137385 w 235112"/>
                <a:gd name="connsiteY1036" fmla="*/ 469021 h 1139396"/>
                <a:gd name="connsiteX1037" fmla="*/ 137465 w 235112"/>
                <a:gd name="connsiteY1037" fmla="*/ 470217 h 1139396"/>
                <a:gd name="connsiteX1038" fmla="*/ 136823 w 235112"/>
                <a:gd name="connsiteY1038" fmla="*/ 472525 h 1139396"/>
                <a:gd name="connsiteX1039" fmla="*/ 136163 w 235112"/>
                <a:gd name="connsiteY1039" fmla="*/ 474442 h 1139396"/>
                <a:gd name="connsiteX1040" fmla="*/ 134768 w 235112"/>
                <a:gd name="connsiteY1040" fmla="*/ 480907 h 1139396"/>
                <a:gd name="connsiteX1041" fmla="*/ 132906 w 235112"/>
                <a:gd name="connsiteY1041" fmla="*/ 482252 h 1139396"/>
                <a:gd name="connsiteX1042" fmla="*/ 131422 w 235112"/>
                <a:gd name="connsiteY1042" fmla="*/ 482918 h 1139396"/>
                <a:gd name="connsiteX1043" fmla="*/ 130660 w 235112"/>
                <a:gd name="connsiteY1043" fmla="*/ 483783 h 1139396"/>
                <a:gd name="connsiteX1044" fmla="*/ 131239 w 235112"/>
                <a:gd name="connsiteY1044" fmla="*/ 485540 h 1139396"/>
                <a:gd name="connsiteX1045" fmla="*/ 132809 w 235112"/>
                <a:gd name="connsiteY1045" fmla="*/ 486065 h 1139396"/>
                <a:gd name="connsiteX1046" fmla="*/ 133364 w 235112"/>
                <a:gd name="connsiteY1046" fmla="*/ 487482 h 1139396"/>
                <a:gd name="connsiteX1047" fmla="*/ 133156 w 235112"/>
                <a:gd name="connsiteY1047" fmla="*/ 489689 h 1139396"/>
                <a:gd name="connsiteX1048" fmla="*/ 134196 w 235112"/>
                <a:gd name="connsiteY1048" fmla="*/ 491738 h 1139396"/>
                <a:gd name="connsiteX1049" fmla="*/ 134094 w 235112"/>
                <a:gd name="connsiteY1049" fmla="*/ 494222 h 1139396"/>
                <a:gd name="connsiteX1050" fmla="*/ 135097 w 235112"/>
                <a:gd name="connsiteY1050" fmla="*/ 498918 h 1139396"/>
                <a:gd name="connsiteX1051" fmla="*/ 134196 w 235112"/>
                <a:gd name="connsiteY1051" fmla="*/ 502000 h 1139396"/>
                <a:gd name="connsiteX1052" fmla="*/ 134501 w 235112"/>
                <a:gd name="connsiteY1052" fmla="*/ 504660 h 1139396"/>
                <a:gd name="connsiteX1053" fmla="*/ 134474 w 235112"/>
                <a:gd name="connsiteY1053" fmla="*/ 507300 h 1139396"/>
                <a:gd name="connsiteX1054" fmla="*/ 133156 w 235112"/>
                <a:gd name="connsiteY1054" fmla="*/ 509355 h 1139396"/>
                <a:gd name="connsiteX1055" fmla="*/ 130452 w 235112"/>
                <a:gd name="connsiteY1055" fmla="*/ 509752 h 1139396"/>
                <a:gd name="connsiteX1056" fmla="*/ 128968 w 235112"/>
                <a:gd name="connsiteY1056" fmla="*/ 511651 h 1139396"/>
                <a:gd name="connsiteX1057" fmla="*/ 126432 w 235112"/>
                <a:gd name="connsiteY1057" fmla="*/ 513717 h 1139396"/>
                <a:gd name="connsiteX1058" fmla="*/ 126154 w 235112"/>
                <a:gd name="connsiteY1058" fmla="*/ 515382 h 1139396"/>
                <a:gd name="connsiteX1059" fmla="*/ 125738 w 235112"/>
                <a:gd name="connsiteY1059" fmla="*/ 516890 h 1139396"/>
                <a:gd name="connsiteX1060" fmla="*/ 124699 w 235112"/>
                <a:gd name="connsiteY1060" fmla="*/ 517445 h 1139396"/>
                <a:gd name="connsiteX1061" fmla="*/ 123104 w 235112"/>
                <a:gd name="connsiteY1061" fmla="*/ 517445 h 1139396"/>
                <a:gd name="connsiteX1062" fmla="*/ 121786 w 235112"/>
                <a:gd name="connsiteY1062" fmla="*/ 517684 h 1139396"/>
                <a:gd name="connsiteX1063" fmla="*/ 119940 w 235112"/>
                <a:gd name="connsiteY1063" fmla="*/ 519640 h 1139396"/>
                <a:gd name="connsiteX1064" fmla="*/ 117974 w 235112"/>
                <a:gd name="connsiteY1064" fmla="*/ 520698 h 1139396"/>
                <a:gd name="connsiteX1065" fmla="*/ 117524 w 235112"/>
                <a:gd name="connsiteY1065" fmla="*/ 522276 h 1139396"/>
                <a:gd name="connsiteX1066" fmla="*/ 117697 w 235112"/>
                <a:gd name="connsiteY1066" fmla="*/ 524196 h 1139396"/>
                <a:gd name="connsiteX1067" fmla="*/ 116657 w 235112"/>
                <a:gd name="connsiteY1067" fmla="*/ 525388 h 1139396"/>
                <a:gd name="connsiteX1068" fmla="*/ 115340 w 235112"/>
                <a:gd name="connsiteY1068" fmla="*/ 527616 h 1139396"/>
                <a:gd name="connsiteX1069" fmla="*/ 114508 w 235112"/>
                <a:gd name="connsiteY1069" fmla="*/ 530005 h 1139396"/>
                <a:gd name="connsiteX1070" fmla="*/ 115340 w 235112"/>
                <a:gd name="connsiteY1070" fmla="*/ 532235 h 1139396"/>
                <a:gd name="connsiteX1071" fmla="*/ 116241 w 235112"/>
                <a:gd name="connsiteY1071" fmla="*/ 536223 h 1139396"/>
                <a:gd name="connsiteX1072" fmla="*/ 116378 w 235112"/>
                <a:gd name="connsiteY1072" fmla="*/ 537898 h 1139396"/>
                <a:gd name="connsiteX1073" fmla="*/ 115235 w 235112"/>
                <a:gd name="connsiteY1073" fmla="*/ 541199 h 1139396"/>
                <a:gd name="connsiteX1074" fmla="*/ 114299 w 235112"/>
                <a:gd name="connsiteY1074" fmla="*/ 543329 h 1139396"/>
                <a:gd name="connsiteX1075" fmla="*/ 115200 w 235112"/>
                <a:gd name="connsiteY1075" fmla="*/ 546048 h 1139396"/>
                <a:gd name="connsiteX1076" fmla="*/ 115962 w 235112"/>
                <a:gd name="connsiteY1076" fmla="*/ 547565 h 1139396"/>
                <a:gd name="connsiteX1077" fmla="*/ 115251 w 235112"/>
                <a:gd name="connsiteY1077" fmla="*/ 550905 h 1139396"/>
                <a:gd name="connsiteX1078" fmla="*/ 114646 w 235112"/>
                <a:gd name="connsiteY1078" fmla="*/ 553011 h 1139396"/>
                <a:gd name="connsiteX1079" fmla="*/ 115132 w 235112"/>
                <a:gd name="connsiteY1079" fmla="*/ 556860 h 1139396"/>
                <a:gd name="connsiteX1080" fmla="*/ 116941 w 235112"/>
                <a:gd name="connsiteY1080" fmla="*/ 561195 h 1139396"/>
                <a:gd name="connsiteX1081" fmla="*/ 118666 w 235112"/>
                <a:gd name="connsiteY1081" fmla="*/ 565052 h 1139396"/>
                <a:gd name="connsiteX1082" fmla="*/ 118920 w 235112"/>
                <a:gd name="connsiteY1082" fmla="*/ 569547 h 1139396"/>
                <a:gd name="connsiteX1083" fmla="*/ 119368 w 235112"/>
                <a:gd name="connsiteY1083" fmla="*/ 573109 h 1139396"/>
                <a:gd name="connsiteX1084" fmla="*/ 120192 w 235112"/>
                <a:gd name="connsiteY1084" fmla="*/ 576974 h 1139396"/>
                <a:gd name="connsiteX1085" fmla="*/ 121925 w 235112"/>
                <a:gd name="connsiteY1085" fmla="*/ 578507 h 1139396"/>
                <a:gd name="connsiteX1086" fmla="*/ 123244 w 235112"/>
                <a:gd name="connsiteY1086" fmla="*/ 579798 h 1139396"/>
                <a:gd name="connsiteX1087" fmla="*/ 122965 w 235112"/>
                <a:gd name="connsiteY1087" fmla="*/ 581657 h 1139396"/>
                <a:gd name="connsiteX1088" fmla="*/ 121994 w 235112"/>
                <a:gd name="connsiteY1088" fmla="*/ 583919 h 1139396"/>
                <a:gd name="connsiteX1089" fmla="*/ 120608 w 235112"/>
                <a:gd name="connsiteY1089" fmla="*/ 585617 h 1139396"/>
                <a:gd name="connsiteX1090" fmla="*/ 117172 w 235112"/>
                <a:gd name="connsiteY1090" fmla="*/ 586181 h 1139396"/>
                <a:gd name="connsiteX1091" fmla="*/ 114379 w 235112"/>
                <a:gd name="connsiteY1091" fmla="*/ 587715 h 1139396"/>
                <a:gd name="connsiteX1092" fmla="*/ 112136 w 235112"/>
                <a:gd name="connsiteY1092" fmla="*/ 588781 h 1139396"/>
                <a:gd name="connsiteX1093" fmla="*/ 110426 w 235112"/>
                <a:gd name="connsiteY1093" fmla="*/ 590068 h 1139396"/>
                <a:gd name="connsiteX1094" fmla="*/ 109199 w 235112"/>
                <a:gd name="connsiteY1094" fmla="*/ 591436 h 1139396"/>
                <a:gd name="connsiteX1095" fmla="*/ 108590 w 235112"/>
                <a:gd name="connsiteY1095" fmla="*/ 592936 h 1139396"/>
                <a:gd name="connsiteX1096" fmla="*/ 109000 w 235112"/>
                <a:gd name="connsiteY1096" fmla="*/ 599472 h 1139396"/>
                <a:gd name="connsiteX1097" fmla="*/ 108731 w 235112"/>
                <a:gd name="connsiteY1097" fmla="*/ 601886 h 1139396"/>
                <a:gd name="connsiteX1098" fmla="*/ 107581 w 235112"/>
                <a:gd name="connsiteY1098" fmla="*/ 605309 h 1139396"/>
                <a:gd name="connsiteX1099" fmla="*/ 106505 w 235112"/>
                <a:gd name="connsiteY1099" fmla="*/ 608073 h 1139396"/>
                <a:gd name="connsiteX1100" fmla="*/ 106049 w 235112"/>
                <a:gd name="connsiteY1100" fmla="*/ 608904 h 1139396"/>
                <a:gd name="connsiteX1101" fmla="*/ 105910 w 235112"/>
                <a:gd name="connsiteY1101" fmla="*/ 610125 h 1139396"/>
                <a:gd name="connsiteX1102" fmla="*/ 105703 w 235112"/>
                <a:gd name="connsiteY1102" fmla="*/ 611265 h 1139396"/>
                <a:gd name="connsiteX1103" fmla="*/ 104496 w 235112"/>
                <a:gd name="connsiteY1103" fmla="*/ 611524 h 1139396"/>
                <a:gd name="connsiteX1104" fmla="*/ 102790 w 235112"/>
                <a:gd name="connsiteY1104" fmla="*/ 611021 h 1139396"/>
                <a:gd name="connsiteX1105" fmla="*/ 101820 w 235112"/>
                <a:gd name="connsiteY1105" fmla="*/ 611348 h 1139396"/>
                <a:gd name="connsiteX1106" fmla="*/ 101126 w 235112"/>
                <a:gd name="connsiteY1106" fmla="*/ 612243 h 1139396"/>
                <a:gd name="connsiteX1107" fmla="*/ 101712 w 235112"/>
                <a:gd name="connsiteY1107" fmla="*/ 614384 h 1139396"/>
                <a:gd name="connsiteX1108" fmla="*/ 102339 w 235112"/>
                <a:gd name="connsiteY1108" fmla="*/ 618151 h 1139396"/>
                <a:gd name="connsiteX1109" fmla="*/ 103206 w 235112"/>
                <a:gd name="connsiteY1109" fmla="*/ 619750 h 1139396"/>
                <a:gd name="connsiteX1110" fmla="*/ 102972 w 235112"/>
                <a:gd name="connsiteY1110" fmla="*/ 621016 h 1139396"/>
                <a:gd name="connsiteX1111" fmla="*/ 102651 w 235112"/>
                <a:gd name="connsiteY1111" fmla="*/ 623754 h 1139396"/>
                <a:gd name="connsiteX1112" fmla="*/ 101520 w 235112"/>
                <a:gd name="connsiteY1112" fmla="*/ 625972 h 1139396"/>
                <a:gd name="connsiteX1113" fmla="*/ 100017 w 235112"/>
                <a:gd name="connsiteY1113" fmla="*/ 625962 h 1139396"/>
                <a:gd name="connsiteX1114" fmla="*/ 99046 w 235112"/>
                <a:gd name="connsiteY1114" fmla="*/ 626863 h 1139396"/>
                <a:gd name="connsiteX1115" fmla="*/ 98632 w 235112"/>
                <a:gd name="connsiteY1115" fmla="*/ 628418 h 1139396"/>
                <a:gd name="connsiteX1116" fmla="*/ 99081 w 235112"/>
                <a:gd name="connsiteY1116" fmla="*/ 630445 h 1139396"/>
                <a:gd name="connsiteX1117" fmla="*/ 101057 w 235112"/>
                <a:gd name="connsiteY1117" fmla="*/ 632104 h 1139396"/>
                <a:gd name="connsiteX1118" fmla="*/ 101750 w 235112"/>
                <a:gd name="connsiteY1118" fmla="*/ 633171 h 1139396"/>
                <a:gd name="connsiteX1119" fmla="*/ 101403 w 235112"/>
                <a:gd name="connsiteY1119" fmla="*/ 634565 h 1139396"/>
                <a:gd name="connsiteX1120" fmla="*/ 99878 w 235112"/>
                <a:gd name="connsiteY1120" fmla="*/ 635140 h 1139396"/>
                <a:gd name="connsiteX1121" fmla="*/ 98978 w 235112"/>
                <a:gd name="connsiteY1121" fmla="*/ 636289 h 1139396"/>
                <a:gd name="connsiteX1122" fmla="*/ 98119 w 235112"/>
                <a:gd name="connsiteY1122" fmla="*/ 638848 h 1139396"/>
                <a:gd name="connsiteX1123" fmla="*/ 96971 w 235112"/>
                <a:gd name="connsiteY1123" fmla="*/ 641739 h 1139396"/>
                <a:gd name="connsiteX1124" fmla="*/ 95745 w 235112"/>
                <a:gd name="connsiteY1124" fmla="*/ 643877 h 1139396"/>
                <a:gd name="connsiteX1125" fmla="*/ 95511 w 235112"/>
                <a:gd name="connsiteY1125" fmla="*/ 646810 h 1139396"/>
                <a:gd name="connsiteX1126" fmla="*/ 97243 w 235112"/>
                <a:gd name="connsiteY1126" fmla="*/ 649937 h 1139396"/>
                <a:gd name="connsiteX1127" fmla="*/ 97049 w 235112"/>
                <a:gd name="connsiteY1127" fmla="*/ 653002 h 1139396"/>
                <a:gd name="connsiteX1128" fmla="*/ 96926 w 235112"/>
                <a:gd name="connsiteY1128" fmla="*/ 661996 h 1139396"/>
                <a:gd name="connsiteX1129" fmla="*/ 96758 w 235112"/>
                <a:gd name="connsiteY1129" fmla="*/ 665051 h 1139396"/>
                <a:gd name="connsiteX1130" fmla="*/ 97291 w 235112"/>
                <a:gd name="connsiteY1130" fmla="*/ 670116 h 1139396"/>
                <a:gd name="connsiteX1131" fmla="*/ 96620 w 235112"/>
                <a:gd name="connsiteY1131" fmla="*/ 671514 h 1139396"/>
                <a:gd name="connsiteX1132" fmla="*/ 96274 w 235112"/>
                <a:gd name="connsiteY1132" fmla="*/ 672841 h 1139396"/>
                <a:gd name="connsiteX1133" fmla="*/ 97968 w 235112"/>
                <a:gd name="connsiteY1133" fmla="*/ 676533 h 1139396"/>
                <a:gd name="connsiteX1134" fmla="*/ 99855 w 235112"/>
                <a:gd name="connsiteY1134" fmla="*/ 682511 h 1139396"/>
                <a:gd name="connsiteX1135" fmla="*/ 100363 w 235112"/>
                <a:gd name="connsiteY1135" fmla="*/ 684891 h 1139396"/>
                <a:gd name="connsiteX1136" fmla="*/ 100086 w 235112"/>
                <a:gd name="connsiteY1136" fmla="*/ 686557 h 1139396"/>
                <a:gd name="connsiteX1137" fmla="*/ 97554 w 235112"/>
                <a:gd name="connsiteY1137" fmla="*/ 687971 h 1139396"/>
                <a:gd name="connsiteX1138" fmla="*/ 95441 w 235112"/>
                <a:gd name="connsiteY1138" fmla="*/ 688558 h 1139396"/>
                <a:gd name="connsiteX1139" fmla="*/ 94194 w 235112"/>
                <a:gd name="connsiteY1139" fmla="*/ 687557 h 1139396"/>
                <a:gd name="connsiteX1140" fmla="*/ 93361 w 235112"/>
                <a:gd name="connsiteY1140" fmla="*/ 687975 h 1139396"/>
                <a:gd name="connsiteX1141" fmla="*/ 92391 w 235112"/>
                <a:gd name="connsiteY1141" fmla="*/ 689725 h 1139396"/>
                <a:gd name="connsiteX1142" fmla="*/ 91280 w 235112"/>
                <a:gd name="connsiteY1142" fmla="*/ 691143 h 1139396"/>
                <a:gd name="connsiteX1143" fmla="*/ 90865 w 235112"/>
                <a:gd name="connsiteY1143" fmla="*/ 692562 h 1139396"/>
                <a:gd name="connsiteX1144" fmla="*/ 92043 w 235112"/>
                <a:gd name="connsiteY1144" fmla="*/ 694400 h 1139396"/>
                <a:gd name="connsiteX1145" fmla="*/ 92668 w 235112"/>
                <a:gd name="connsiteY1145" fmla="*/ 697905 h 1139396"/>
                <a:gd name="connsiteX1146" fmla="*/ 91351 w 235112"/>
                <a:gd name="connsiteY1146" fmla="*/ 699411 h 1139396"/>
                <a:gd name="connsiteX1147" fmla="*/ 90380 w 235112"/>
                <a:gd name="connsiteY1147" fmla="*/ 701084 h 1139396"/>
                <a:gd name="connsiteX1148" fmla="*/ 90727 w 235112"/>
                <a:gd name="connsiteY1148" fmla="*/ 703262 h 1139396"/>
                <a:gd name="connsiteX1149" fmla="*/ 91143 w 235112"/>
                <a:gd name="connsiteY1149" fmla="*/ 707199 h 1139396"/>
                <a:gd name="connsiteX1150" fmla="*/ 90311 w 235112"/>
                <a:gd name="connsiteY1150" fmla="*/ 713747 h 1139396"/>
                <a:gd name="connsiteX1151" fmla="*/ 91428 w 235112"/>
                <a:gd name="connsiteY1151" fmla="*/ 716070 h 1139396"/>
                <a:gd name="connsiteX1152" fmla="*/ 92637 w 235112"/>
                <a:gd name="connsiteY1152" fmla="*/ 717187 h 1139396"/>
                <a:gd name="connsiteX1153" fmla="*/ 96596 w 235112"/>
                <a:gd name="connsiteY1153" fmla="*/ 718521 h 1139396"/>
                <a:gd name="connsiteX1154" fmla="*/ 99565 w 235112"/>
                <a:gd name="connsiteY1154" fmla="*/ 719183 h 1139396"/>
                <a:gd name="connsiteX1155" fmla="*/ 100347 w 235112"/>
                <a:gd name="connsiteY1155" fmla="*/ 721353 h 1139396"/>
                <a:gd name="connsiteX1156" fmla="*/ 100011 w 235112"/>
                <a:gd name="connsiteY1156" fmla="*/ 723119 h 1139396"/>
                <a:gd name="connsiteX1157" fmla="*/ 98584 w 235112"/>
                <a:gd name="connsiteY1157" fmla="*/ 723993 h 1139396"/>
                <a:gd name="connsiteX1158" fmla="*/ 96434 w 235112"/>
                <a:gd name="connsiteY1158" fmla="*/ 724751 h 1139396"/>
                <a:gd name="connsiteX1159" fmla="*/ 96434 w 235112"/>
                <a:gd name="connsiteY1159" fmla="*/ 727608 h 1139396"/>
                <a:gd name="connsiteX1160" fmla="*/ 98274 w 235112"/>
                <a:gd name="connsiteY1160" fmla="*/ 730294 h 1139396"/>
                <a:gd name="connsiteX1161" fmla="*/ 100347 w 235112"/>
                <a:gd name="connsiteY1161" fmla="*/ 732240 h 1139396"/>
                <a:gd name="connsiteX1162" fmla="*/ 100800 w 235112"/>
                <a:gd name="connsiteY1162" fmla="*/ 733991 h 1139396"/>
                <a:gd name="connsiteX1163" fmla="*/ 100683 w 235112"/>
                <a:gd name="connsiteY1163" fmla="*/ 735783 h 1139396"/>
                <a:gd name="connsiteX1164" fmla="*/ 99229 w 235112"/>
                <a:gd name="connsiteY1164" fmla="*/ 737285 h 1139396"/>
                <a:gd name="connsiteX1165" fmla="*/ 101227 w 235112"/>
                <a:gd name="connsiteY1165" fmla="*/ 740541 h 1139396"/>
                <a:gd name="connsiteX1166" fmla="*/ 102136 w 235112"/>
                <a:gd name="connsiteY1166" fmla="*/ 742748 h 1139396"/>
                <a:gd name="connsiteX1167" fmla="*/ 101221 w 235112"/>
                <a:gd name="connsiteY1167" fmla="*/ 744451 h 1139396"/>
                <a:gd name="connsiteX1168" fmla="*/ 99928 w 235112"/>
                <a:gd name="connsiteY1168" fmla="*/ 747003 h 1139396"/>
                <a:gd name="connsiteX1169" fmla="*/ 98782 w 235112"/>
                <a:gd name="connsiteY1169" fmla="*/ 748226 h 1139396"/>
                <a:gd name="connsiteX1170" fmla="*/ 98789 w 235112"/>
                <a:gd name="connsiteY1170" fmla="*/ 749614 h 1139396"/>
                <a:gd name="connsiteX1171" fmla="*/ 98315 w 235112"/>
                <a:gd name="connsiteY1171" fmla="*/ 752433 h 1139396"/>
                <a:gd name="connsiteX1172" fmla="*/ 98206 w 235112"/>
                <a:gd name="connsiteY1172" fmla="*/ 755194 h 1139396"/>
                <a:gd name="connsiteX1173" fmla="*/ 98588 w 235112"/>
                <a:gd name="connsiteY1173" fmla="*/ 756843 h 1139396"/>
                <a:gd name="connsiteX1174" fmla="*/ 111122 w 235112"/>
                <a:gd name="connsiteY1174" fmla="*/ 758146 h 1139396"/>
                <a:gd name="connsiteX1175" fmla="*/ 113990 w 235112"/>
                <a:gd name="connsiteY1175" fmla="*/ 758654 h 1139396"/>
                <a:gd name="connsiteX1176" fmla="*/ 115555 w 235112"/>
                <a:gd name="connsiteY1176" fmla="*/ 760301 h 1139396"/>
                <a:gd name="connsiteX1177" fmla="*/ 115332 w 235112"/>
                <a:gd name="connsiteY1177" fmla="*/ 762366 h 1139396"/>
                <a:gd name="connsiteX1178" fmla="*/ 113765 w 235112"/>
                <a:gd name="connsiteY1178" fmla="*/ 764566 h 1139396"/>
                <a:gd name="connsiteX1179" fmla="*/ 112759 w 235112"/>
                <a:gd name="connsiteY1179" fmla="*/ 768701 h 1139396"/>
                <a:gd name="connsiteX1180" fmla="*/ 110300 w 235112"/>
                <a:gd name="connsiteY1180" fmla="*/ 769392 h 1139396"/>
                <a:gd name="connsiteX1181" fmla="*/ 107839 w 235112"/>
                <a:gd name="connsiteY1181" fmla="*/ 768286 h 1139396"/>
                <a:gd name="connsiteX1182" fmla="*/ 105172 w 235112"/>
                <a:gd name="connsiteY1182" fmla="*/ 768668 h 1139396"/>
                <a:gd name="connsiteX1183" fmla="*/ 102857 w 235112"/>
                <a:gd name="connsiteY1183" fmla="*/ 768931 h 1139396"/>
                <a:gd name="connsiteX1184" fmla="*/ 99531 w 235112"/>
                <a:gd name="connsiteY1184" fmla="*/ 769056 h 1139396"/>
                <a:gd name="connsiteX1185" fmla="*/ 95113 w 235112"/>
                <a:gd name="connsiteY1185" fmla="*/ 769590 h 1139396"/>
                <a:gd name="connsiteX1186" fmla="*/ 92408 w 235112"/>
                <a:gd name="connsiteY1186" fmla="*/ 768977 h 1139396"/>
                <a:gd name="connsiteX1187" fmla="*/ 92186 w 235112"/>
                <a:gd name="connsiteY1187" fmla="*/ 770495 h 1139396"/>
                <a:gd name="connsiteX1188" fmla="*/ 92967 w 235112"/>
                <a:gd name="connsiteY1188" fmla="*/ 773116 h 1139396"/>
                <a:gd name="connsiteX1189" fmla="*/ 98782 w 235112"/>
                <a:gd name="connsiteY1189" fmla="*/ 773945 h 1139396"/>
                <a:gd name="connsiteX1190" fmla="*/ 104261 w 235112"/>
                <a:gd name="connsiteY1190" fmla="*/ 775466 h 1139396"/>
                <a:gd name="connsiteX1191" fmla="*/ 105909 w 235112"/>
                <a:gd name="connsiteY1191" fmla="*/ 778246 h 1139396"/>
                <a:gd name="connsiteX1192" fmla="*/ 108136 w 235112"/>
                <a:gd name="connsiteY1192" fmla="*/ 781396 h 1139396"/>
                <a:gd name="connsiteX1193" fmla="*/ 110411 w 235112"/>
                <a:gd name="connsiteY1193" fmla="*/ 783350 h 1139396"/>
                <a:gd name="connsiteX1194" fmla="*/ 110523 w 235112"/>
                <a:gd name="connsiteY1194" fmla="*/ 786539 h 1139396"/>
                <a:gd name="connsiteX1195" fmla="*/ 106946 w 235112"/>
                <a:gd name="connsiteY1195" fmla="*/ 789866 h 1139396"/>
                <a:gd name="connsiteX1196" fmla="*/ 106497 w 235112"/>
                <a:gd name="connsiteY1196" fmla="*/ 792229 h 1139396"/>
                <a:gd name="connsiteX1197" fmla="*/ 101801 w 235112"/>
                <a:gd name="connsiteY1197" fmla="*/ 792925 h 1139396"/>
                <a:gd name="connsiteX1198" fmla="*/ 100460 w 235112"/>
                <a:gd name="connsiteY1198" fmla="*/ 794316 h 1139396"/>
                <a:gd name="connsiteX1199" fmla="*/ 99789 w 235112"/>
                <a:gd name="connsiteY1199" fmla="*/ 798907 h 1139396"/>
                <a:gd name="connsiteX1200" fmla="*/ 100347 w 235112"/>
                <a:gd name="connsiteY1200" fmla="*/ 802530 h 1139396"/>
                <a:gd name="connsiteX1201" fmla="*/ 102136 w 235112"/>
                <a:gd name="connsiteY1201" fmla="*/ 803783 h 1139396"/>
                <a:gd name="connsiteX1202" fmla="*/ 103367 w 235112"/>
                <a:gd name="connsiteY1202" fmla="*/ 806156 h 1139396"/>
                <a:gd name="connsiteX1203" fmla="*/ 102025 w 235112"/>
                <a:gd name="connsiteY1203" fmla="*/ 808948 h 1139396"/>
                <a:gd name="connsiteX1204" fmla="*/ 98860 w 235112"/>
                <a:gd name="connsiteY1204" fmla="*/ 810877 h 1139396"/>
                <a:gd name="connsiteX1205" fmla="*/ 97177 w 235112"/>
                <a:gd name="connsiteY1205" fmla="*/ 812709 h 1139396"/>
                <a:gd name="connsiteX1206" fmla="*/ 98230 w 235112"/>
                <a:gd name="connsiteY1206" fmla="*/ 814176 h 1139396"/>
                <a:gd name="connsiteX1207" fmla="*/ 99663 w 235112"/>
                <a:gd name="connsiteY1207" fmla="*/ 816500 h 1139396"/>
                <a:gd name="connsiteX1208" fmla="*/ 100056 w 235112"/>
                <a:gd name="connsiteY1208" fmla="*/ 817766 h 1139396"/>
                <a:gd name="connsiteX1209" fmla="*/ 100837 w 235112"/>
                <a:gd name="connsiteY1209" fmla="*/ 821199 h 1139396"/>
                <a:gd name="connsiteX1210" fmla="*/ 101752 w 235112"/>
                <a:gd name="connsiteY1210" fmla="*/ 825994 h 1139396"/>
                <a:gd name="connsiteX1211" fmla="*/ 101640 w 235112"/>
                <a:gd name="connsiteY1211" fmla="*/ 828318 h 1139396"/>
                <a:gd name="connsiteX1212" fmla="*/ 100801 w 235112"/>
                <a:gd name="connsiteY1212" fmla="*/ 830057 h 1139396"/>
                <a:gd name="connsiteX1213" fmla="*/ 97664 w 235112"/>
                <a:gd name="connsiteY1213" fmla="*/ 832793 h 1139396"/>
                <a:gd name="connsiteX1214" fmla="*/ 95540 w 235112"/>
                <a:gd name="connsiteY1214" fmla="*/ 834060 h 1139396"/>
                <a:gd name="connsiteX1215" fmla="*/ 95124 w 235112"/>
                <a:gd name="connsiteY1215" fmla="*/ 837433 h 1139396"/>
                <a:gd name="connsiteX1216" fmla="*/ 94962 w 235112"/>
                <a:gd name="connsiteY1216" fmla="*/ 839968 h 1139396"/>
                <a:gd name="connsiteX1217" fmla="*/ 95184 w 235112"/>
                <a:gd name="connsiteY1217" fmla="*/ 842257 h 1139396"/>
                <a:gd name="connsiteX1218" fmla="*/ 96546 w 235112"/>
                <a:gd name="connsiteY1218" fmla="*/ 844079 h 1139396"/>
                <a:gd name="connsiteX1219" fmla="*/ 96434 w 235112"/>
                <a:gd name="connsiteY1219" fmla="*/ 845917 h 1139396"/>
                <a:gd name="connsiteX1220" fmla="*/ 94569 w 235112"/>
                <a:gd name="connsiteY1220" fmla="*/ 846308 h 1139396"/>
                <a:gd name="connsiteX1221" fmla="*/ 92967 w 235112"/>
                <a:gd name="connsiteY1221" fmla="*/ 847191 h 1139396"/>
                <a:gd name="connsiteX1222" fmla="*/ 91401 w 235112"/>
                <a:gd name="connsiteY1222" fmla="*/ 850445 h 1139396"/>
                <a:gd name="connsiteX1223" fmla="*/ 86850 w 235112"/>
                <a:gd name="connsiteY1223" fmla="*/ 853773 h 1139396"/>
                <a:gd name="connsiteX1224" fmla="*/ 85251 w 235112"/>
                <a:gd name="connsiteY1224" fmla="*/ 855265 h 1139396"/>
                <a:gd name="connsiteX1225" fmla="*/ 85365 w 235112"/>
                <a:gd name="connsiteY1225" fmla="*/ 857821 h 1139396"/>
                <a:gd name="connsiteX1226" fmla="*/ 83562 w 235112"/>
                <a:gd name="connsiteY1226" fmla="*/ 861477 h 1139396"/>
                <a:gd name="connsiteX1227" fmla="*/ 82050 w 235112"/>
                <a:gd name="connsiteY1227" fmla="*/ 864659 h 1139396"/>
                <a:gd name="connsiteX1228" fmla="*/ 80892 w 235112"/>
                <a:gd name="connsiteY1228" fmla="*/ 867636 h 1139396"/>
                <a:gd name="connsiteX1229" fmla="*/ 81115 w 235112"/>
                <a:gd name="connsiteY1229" fmla="*/ 870771 h 1139396"/>
                <a:gd name="connsiteX1230" fmla="*/ 83680 w 235112"/>
                <a:gd name="connsiteY1230" fmla="*/ 872149 h 1139396"/>
                <a:gd name="connsiteX1231" fmla="*/ 85699 w 235112"/>
                <a:gd name="connsiteY1231" fmla="*/ 875197 h 1139396"/>
                <a:gd name="connsiteX1232" fmla="*/ 86594 w 235112"/>
                <a:gd name="connsiteY1232" fmla="*/ 879056 h 1139396"/>
                <a:gd name="connsiteX1233" fmla="*/ 85029 w 235112"/>
                <a:gd name="connsiteY1233" fmla="*/ 883494 h 1139396"/>
                <a:gd name="connsiteX1234" fmla="*/ 81393 w 235112"/>
                <a:gd name="connsiteY1234" fmla="*/ 885169 h 1139396"/>
                <a:gd name="connsiteX1235" fmla="*/ 79245 w 235112"/>
                <a:gd name="connsiteY1235" fmla="*/ 887055 h 1139396"/>
                <a:gd name="connsiteX1236" fmla="*/ 78597 w 235112"/>
                <a:gd name="connsiteY1236" fmla="*/ 888485 h 1139396"/>
                <a:gd name="connsiteX1237" fmla="*/ 79167 w 235112"/>
                <a:gd name="connsiteY1237" fmla="*/ 893148 h 1139396"/>
                <a:gd name="connsiteX1238" fmla="*/ 79019 w 235112"/>
                <a:gd name="connsiteY1238" fmla="*/ 895339 h 1139396"/>
                <a:gd name="connsiteX1239" fmla="*/ 78445 w 235112"/>
                <a:gd name="connsiteY1239" fmla="*/ 897400 h 1139396"/>
                <a:gd name="connsiteX1240" fmla="*/ 77510 w 235112"/>
                <a:gd name="connsiteY1240" fmla="*/ 898992 h 1139396"/>
                <a:gd name="connsiteX1241" fmla="*/ 75552 w 235112"/>
                <a:gd name="connsiteY1241" fmla="*/ 900778 h 1139396"/>
                <a:gd name="connsiteX1242" fmla="*/ 72079 w 235112"/>
                <a:gd name="connsiteY1242" fmla="*/ 902337 h 1139396"/>
                <a:gd name="connsiteX1243" fmla="*/ 69131 w 235112"/>
                <a:gd name="connsiteY1243" fmla="*/ 903409 h 1139396"/>
                <a:gd name="connsiteX1244" fmla="*/ 67814 w 235112"/>
                <a:gd name="connsiteY1244" fmla="*/ 904639 h 1139396"/>
                <a:gd name="connsiteX1245" fmla="*/ 66270 w 235112"/>
                <a:gd name="connsiteY1245" fmla="*/ 907341 h 1139396"/>
                <a:gd name="connsiteX1246" fmla="*/ 64893 w 235112"/>
                <a:gd name="connsiteY1246" fmla="*/ 910327 h 1139396"/>
                <a:gd name="connsiteX1247" fmla="*/ 65238 w 235112"/>
                <a:gd name="connsiteY1247" fmla="*/ 914025 h 1139396"/>
                <a:gd name="connsiteX1248" fmla="*/ 56964 w 235112"/>
                <a:gd name="connsiteY1248" fmla="*/ 914459 h 1139396"/>
                <a:gd name="connsiteX1249" fmla="*/ 56405 w 235112"/>
                <a:gd name="connsiteY1249" fmla="*/ 917211 h 1139396"/>
                <a:gd name="connsiteX1250" fmla="*/ 54615 w 235112"/>
                <a:gd name="connsiteY1250" fmla="*/ 919388 h 1139396"/>
                <a:gd name="connsiteX1251" fmla="*/ 54055 w 235112"/>
                <a:gd name="connsiteY1251" fmla="*/ 923307 h 1139396"/>
                <a:gd name="connsiteX1252" fmla="*/ 55874 w 235112"/>
                <a:gd name="connsiteY1252" fmla="*/ 927102 h 1139396"/>
                <a:gd name="connsiteX1253" fmla="*/ 56739 w 235112"/>
                <a:gd name="connsiteY1253" fmla="*/ 930287 h 1139396"/>
                <a:gd name="connsiteX1254" fmla="*/ 55257 w 235112"/>
                <a:gd name="connsiteY1254" fmla="*/ 934133 h 1139396"/>
                <a:gd name="connsiteX1255" fmla="*/ 55793 w 235112"/>
                <a:gd name="connsiteY1255" fmla="*/ 938081 h 1139396"/>
                <a:gd name="connsiteX1256" fmla="*/ 55957 w 235112"/>
                <a:gd name="connsiteY1256" fmla="*/ 941229 h 1139396"/>
                <a:gd name="connsiteX1257" fmla="*/ 58864 w 235112"/>
                <a:gd name="connsiteY1257" fmla="*/ 944741 h 1139396"/>
                <a:gd name="connsiteX1258" fmla="*/ 60763 w 235112"/>
                <a:gd name="connsiteY1258" fmla="*/ 949084 h 1139396"/>
                <a:gd name="connsiteX1259" fmla="*/ 61716 w 235112"/>
                <a:gd name="connsiteY1259" fmla="*/ 952765 h 1139396"/>
                <a:gd name="connsiteX1260" fmla="*/ 62287 w 235112"/>
                <a:gd name="connsiteY1260" fmla="*/ 955626 h 1139396"/>
                <a:gd name="connsiteX1261" fmla="*/ 63048 w 235112"/>
                <a:gd name="connsiteY1261" fmla="*/ 957368 h 1139396"/>
                <a:gd name="connsiteX1262" fmla="*/ 64242 w 235112"/>
                <a:gd name="connsiteY1262" fmla="*/ 959345 h 1139396"/>
                <a:gd name="connsiteX1263" fmla="*/ 64789 w 235112"/>
                <a:gd name="connsiteY1263" fmla="*/ 961623 h 1139396"/>
                <a:gd name="connsiteX1264" fmla="*/ 66578 w 235112"/>
                <a:gd name="connsiteY1264" fmla="*/ 962360 h 1139396"/>
                <a:gd name="connsiteX1265" fmla="*/ 69794 w 235112"/>
                <a:gd name="connsiteY1265" fmla="*/ 960227 h 1139396"/>
                <a:gd name="connsiteX1266" fmla="*/ 72068 w 235112"/>
                <a:gd name="connsiteY1266" fmla="*/ 958781 h 1139396"/>
                <a:gd name="connsiteX1267" fmla="*/ 73647 w 235112"/>
                <a:gd name="connsiteY1267" fmla="*/ 958267 h 1139396"/>
                <a:gd name="connsiteX1268" fmla="*/ 78292 w 235112"/>
                <a:gd name="connsiteY1268" fmla="*/ 958599 h 1139396"/>
                <a:gd name="connsiteX1269" fmla="*/ 81097 w 235112"/>
                <a:gd name="connsiteY1269" fmla="*/ 957261 h 1139396"/>
                <a:gd name="connsiteX1270" fmla="*/ 82356 w 235112"/>
                <a:gd name="connsiteY1270" fmla="*/ 957400 h 1139396"/>
                <a:gd name="connsiteX1271" fmla="*/ 84069 w 235112"/>
                <a:gd name="connsiteY1271" fmla="*/ 958152 h 1139396"/>
                <a:gd name="connsiteX1272" fmla="*/ 85397 w 235112"/>
                <a:gd name="connsiteY1272" fmla="*/ 959739 h 1139396"/>
                <a:gd name="connsiteX1273" fmla="*/ 86400 w 235112"/>
                <a:gd name="connsiteY1273" fmla="*/ 963335 h 1139396"/>
                <a:gd name="connsiteX1274" fmla="*/ 87017 w 235112"/>
                <a:gd name="connsiteY1274" fmla="*/ 967372 h 1139396"/>
                <a:gd name="connsiteX1275" fmla="*/ 86230 w 235112"/>
                <a:gd name="connsiteY1275" fmla="*/ 971495 h 1139396"/>
                <a:gd name="connsiteX1276" fmla="*/ 84917 w 235112"/>
                <a:gd name="connsiteY1276" fmla="*/ 972392 h 1139396"/>
                <a:gd name="connsiteX1277" fmla="*/ 84469 w 235112"/>
                <a:gd name="connsiteY1277" fmla="*/ 973573 h 1139396"/>
                <a:gd name="connsiteX1278" fmla="*/ 84917 w 235112"/>
                <a:gd name="connsiteY1278" fmla="*/ 976090 h 1139396"/>
                <a:gd name="connsiteX1279" fmla="*/ 86369 w 235112"/>
                <a:gd name="connsiteY1279" fmla="*/ 977866 h 1139396"/>
                <a:gd name="connsiteX1280" fmla="*/ 86335 w 235112"/>
                <a:gd name="connsiteY1280" fmla="*/ 980406 h 1139396"/>
                <a:gd name="connsiteX1281" fmla="*/ 84733 w 235112"/>
                <a:gd name="connsiteY1281" fmla="*/ 986174 h 1139396"/>
                <a:gd name="connsiteX1282" fmla="*/ 83687 w 235112"/>
                <a:gd name="connsiteY1282" fmla="*/ 988550 h 1139396"/>
                <a:gd name="connsiteX1283" fmla="*/ 85542 w 235112"/>
                <a:gd name="connsiteY1283" fmla="*/ 991232 h 1139396"/>
                <a:gd name="connsiteX1284" fmla="*/ 87203 w 235112"/>
                <a:gd name="connsiteY1284" fmla="*/ 993623 h 1139396"/>
                <a:gd name="connsiteX1285" fmla="*/ 90550 w 235112"/>
                <a:gd name="connsiteY1285" fmla="*/ 995411 h 1139396"/>
                <a:gd name="connsiteX1286" fmla="*/ 93304 w 235112"/>
                <a:gd name="connsiteY1286" fmla="*/ 997934 h 1139396"/>
                <a:gd name="connsiteX1287" fmla="*/ 95204 w 235112"/>
                <a:gd name="connsiteY1287" fmla="*/ 1000023 h 1139396"/>
                <a:gd name="connsiteX1288" fmla="*/ 94757 w 235112"/>
                <a:gd name="connsiteY1288" fmla="*/ 1002861 h 1139396"/>
                <a:gd name="connsiteX1289" fmla="*/ 96087 w 235112"/>
                <a:gd name="connsiteY1289" fmla="*/ 1003723 h 1139396"/>
                <a:gd name="connsiteX1290" fmla="*/ 101211 w 235112"/>
                <a:gd name="connsiteY1290" fmla="*/ 1003782 h 1139396"/>
                <a:gd name="connsiteX1291" fmla="*/ 108864 w 235112"/>
                <a:gd name="connsiteY1291" fmla="*/ 1003872 h 1139396"/>
                <a:gd name="connsiteX1292" fmla="*/ 120822 w 235112"/>
                <a:gd name="connsiteY1292" fmla="*/ 1004014 h 1139396"/>
                <a:gd name="connsiteX1293" fmla="*/ 132493 w 235112"/>
                <a:gd name="connsiteY1293" fmla="*/ 1004153 h 1139396"/>
                <a:gd name="connsiteX1294" fmla="*/ 145745 w 235112"/>
                <a:gd name="connsiteY1294" fmla="*/ 1004354 h 1139396"/>
                <a:gd name="connsiteX1295" fmla="*/ 152024 w 235112"/>
                <a:gd name="connsiteY1295" fmla="*/ 1006634 h 1139396"/>
                <a:gd name="connsiteX1296" fmla="*/ 157708 w 235112"/>
                <a:gd name="connsiteY1296" fmla="*/ 1008697 h 1139396"/>
                <a:gd name="connsiteX1297" fmla="*/ 164865 w 235112"/>
                <a:gd name="connsiteY1297" fmla="*/ 1008697 h 1139396"/>
                <a:gd name="connsiteX1298" fmla="*/ 172007 w 235112"/>
                <a:gd name="connsiteY1298" fmla="*/ 1011142 h 1139396"/>
                <a:gd name="connsiteX1299" fmla="*/ 177315 w 235112"/>
                <a:gd name="connsiteY1299" fmla="*/ 1012753 h 1139396"/>
                <a:gd name="connsiteX1300" fmla="*/ 180495 w 235112"/>
                <a:gd name="connsiteY1300" fmla="*/ 1013361 h 1139396"/>
                <a:gd name="connsiteX1301" fmla="*/ 183761 w 235112"/>
                <a:gd name="connsiteY1301" fmla="*/ 1013942 h 1139396"/>
                <a:gd name="connsiteX1302" fmla="*/ 184208 w 235112"/>
                <a:gd name="connsiteY1302" fmla="*/ 1016197 h 1139396"/>
                <a:gd name="connsiteX1303" fmla="*/ 169911 w 235112"/>
                <a:gd name="connsiteY1303" fmla="*/ 1012998 h 1139396"/>
                <a:gd name="connsiteX1304" fmla="*/ 166701 w 235112"/>
                <a:gd name="connsiteY1304" fmla="*/ 1011255 h 1139396"/>
                <a:gd name="connsiteX1305" fmla="*/ 163982 w 235112"/>
                <a:gd name="connsiteY1305" fmla="*/ 1011052 h 1139396"/>
                <a:gd name="connsiteX1306" fmla="*/ 158762 w 235112"/>
                <a:gd name="connsiteY1306" fmla="*/ 1013228 h 1139396"/>
                <a:gd name="connsiteX1307" fmla="*/ 155878 w 235112"/>
                <a:gd name="connsiteY1307" fmla="*/ 1018410 h 1139396"/>
                <a:gd name="connsiteX1308" fmla="*/ 154365 w 235112"/>
                <a:gd name="connsiteY1308" fmla="*/ 1019881 h 1139396"/>
                <a:gd name="connsiteX1309" fmla="*/ 150739 w 235112"/>
                <a:gd name="connsiteY1309" fmla="*/ 1021273 h 1139396"/>
                <a:gd name="connsiteX1310" fmla="*/ 147090 w 235112"/>
                <a:gd name="connsiteY1310" fmla="*/ 1021546 h 1139396"/>
                <a:gd name="connsiteX1311" fmla="*/ 134823 w 235112"/>
                <a:gd name="connsiteY1311" fmla="*/ 1026577 h 1139396"/>
                <a:gd name="connsiteX1312" fmla="*/ 130462 w 235112"/>
                <a:gd name="connsiteY1312" fmla="*/ 1027008 h 1139396"/>
                <a:gd name="connsiteX1313" fmla="*/ 127487 w 235112"/>
                <a:gd name="connsiteY1313" fmla="*/ 1028344 h 1139396"/>
                <a:gd name="connsiteX1314" fmla="*/ 124575 w 235112"/>
                <a:gd name="connsiteY1314" fmla="*/ 1030270 h 1139396"/>
                <a:gd name="connsiteX1315" fmla="*/ 123462 w 235112"/>
                <a:gd name="connsiteY1315" fmla="*/ 1034408 h 1139396"/>
                <a:gd name="connsiteX1316" fmla="*/ 123915 w 235112"/>
                <a:gd name="connsiteY1316" fmla="*/ 1036931 h 1139396"/>
                <a:gd name="connsiteX1317" fmla="*/ 120597 w 235112"/>
                <a:gd name="connsiteY1317" fmla="*/ 1046002 h 1139396"/>
                <a:gd name="connsiteX1318" fmla="*/ 119777 w 235112"/>
                <a:gd name="connsiteY1318" fmla="*/ 1051058 h 1139396"/>
                <a:gd name="connsiteX1319" fmla="*/ 119758 w 235112"/>
                <a:gd name="connsiteY1319" fmla="*/ 1053637 h 1139396"/>
                <a:gd name="connsiteX1320" fmla="*/ 120704 w 235112"/>
                <a:gd name="connsiteY1320" fmla="*/ 1057856 h 1139396"/>
                <a:gd name="connsiteX1321" fmla="*/ 119486 w 235112"/>
                <a:gd name="connsiteY1321" fmla="*/ 1065091 h 1139396"/>
                <a:gd name="connsiteX1322" fmla="*/ 117281 w 235112"/>
                <a:gd name="connsiteY1322" fmla="*/ 1066677 h 1139396"/>
                <a:gd name="connsiteX1323" fmla="*/ 111831 w 235112"/>
                <a:gd name="connsiteY1323" fmla="*/ 1068704 h 1139396"/>
                <a:gd name="connsiteX1324" fmla="*/ 108126 w 235112"/>
                <a:gd name="connsiteY1324" fmla="*/ 1067229 h 1139396"/>
                <a:gd name="connsiteX1325" fmla="*/ 101789 w 235112"/>
                <a:gd name="connsiteY1325" fmla="*/ 1065918 h 1139396"/>
                <a:gd name="connsiteX1326" fmla="*/ 97273 w 235112"/>
                <a:gd name="connsiteY1326" fmla="*/ 1063128 h 1139396"/>
                <a:gd name="connsiteX1327" fmla="*/ 91464 w 235112"/>
                <a:gd name="connsiteY1327" fmla="*/ 1061159 h 1139396"/>
                <a:gd name="connsiteX1328" fmla="*/ 89601 w 235112"/>
                <a:gd name="connsiteY1328" fmla="*/ 1059998 h 1139396"/>
                <a:gd name="connsiteX1329" fmla="*/ 84469 w 235112"/>
                <a:gd name="connsiteY1329" fmla="*/ 1054426 h 1139396"/>
                <a:gd name="connsiteX1330" fmla="*/ 83926 w 235112"/>
                <a:gd name="connsiteY1330" fmla="*/ 1052581 h 1139396"/>
                <a:gd name="connsiteX1331" fmla="*/ 83554 w 235112"/>
                <a:gd name="connsiteY1331" fmla="*/ 1050250 h 1139396"/>
                <a:gd name="connsiteX1332" fmla="*/ 86264 w 235112"/>
                <a:gd name="connsiteY1332" fmla="*/ 1046924 h 1139396"/>
                <a:gd name="connsiteX1333" fmla="*/ 87719 w 235112"/>
                <a:gd name="connsiteY1333" fmla="*/ 1046681 h 1139396"/>
                <a:gd name="connsiteX1334" fmla="*/ 91967 w 235112"/>
                <a:gd name="connsiteY1334" fmla="*/ 1046782 h 1139396"/>
                <a:gd name="connsiteX1335" fmla="*/ 95502 w 235112"/>
                <a:gd name="connsiteY1335" fmla="*/ 1046248 h 1139396"/>
                <a:gd name="connsiteX1336" fmla="*/ 97758 w 235112"/>
                <a:gd name="connsiteY1336" fmla="*/ 1048028 h 1139396"/>
                <a:gd name="connsiteX1337" fmla="*/ 98380 w 235112"/>
                <a:gd name="connsiteY1337" fmla="*/ 1051910 h 1139396"/>
                <a:gd name="connsiteX1338" fmla="*/ 97389 w 235112"/>
                <a:gd name="connsiteY1338" fmla="*/ 1053985 h 1139396"/>
                <a:gd name="connsiteX1339" fmla="*/ 96490 w 235112"/>
                <a:gd name="connsiteY1339" fmla="*/ 1055267 h 1139396"/>
                <a:gd name="connsiteX1340" fmla="*/ 96771 w 235112"/>
                <a:gd name="connsiteY1340" fmla="*/ 1056236 h 1139396"/>
                <a:gd name="connsiteX1341" fmla="*/ 99312 w 235112"/>
                <a:gd name="connsiteY1341" fmla="*/ 1054888 h 1139396"/>
                <a:gd name="connsiteX1342" fmla="*/ 100604 w 235112"/>
                <a:gd name="connsiteY1342" fmla="*/ 1046197 h 1139396"/>
                <a:gd name="connsiteX1343" fmla="*/ 109230 w 235112"/>
                <a:gd name="connsiteY1343" fmla="*/ 1041875 h 1139396"/>
                <a:gd name="connsiteX1344" fmla="*/ 112053 w 235112"/>
                <a:gd name="connsiteY1344" fmla="*/ 1039355 h 1139396"/>
                <a:gd name="connsiteX1345" fmla="*/ 114811 w 235112"/>
                <a:gd name="connsiteY1345" fmla="*/ 1035470 h 1139396"/>
                <a:gd name="connsiteX1346" fmla="*/ 115241 w 235112"/>
                <a:gd name="connsiteY1346" fmla="*/ 1034358 h 1139396"/>
                <a:gd name="connsiteX1347" fmla="*/ 115448 w 235112"/>
                <a:gd name="connsiteY1347" fmla="*/ 1032902 h 1139396"/>
                <a:gd name="connsiteX1348" fmla="*/ 113621 w 235112"/>
                <a:gd name="connsiteY1348" fmla="*/ 1031704 h 1139396"/>
                <a:gd name="connsiteX1349" fmla="*/ 109549 w 235112"/>
                <a:gd name="connsiteY1349" fmla="*/ 1030116 h 1139396"/>
                <a:gd name="connsiteX1350" fmla="*/ 96611 w 235112"/>
                <a:gd name="connsiteY1350" fmla="*/ 1038259 h 1139396"/>
                <a:gd name="connsiteX1351" fmla="*/ 90750 w 235112"/>
                <a:gd name="connsiteY1351" fmla="*/ 1040409 h 1139396"/>
                <a:gd name="connsiteX1352" fmla="*/ 86974 w 235112"/>
                <a:gd name="connsiteY1352" fmla="*/ 1042746 h 1139396"/>
                <a:gd name="connsiteX1353" fmla="*/ 82403 w 235112"/>
                <a:gd name="connsiteY1353" fmla="*/ 1046951 h 1139396"/>
                <a:gd name="connsiteX1354" fmla="*/ 81534 w 235112"/>
                <a:gd name="connsiteY1354" fmla="*/ 1048196 h 1139396"/>
                <a:gd name="connsiteX1355" fmla="*/ 80565 w 235112"/>
                <a:gd name="connsiteY1355" fmla="*/ 1050991 h 1139396"/>
                <a:gd name="connsiteX1356" fmla="*/ 80105 w 235112"/>
                <a:gd name="connsiteY1356" fmla="*/ 1054065 h 1139396"/>
                <a:gd name="connsiteX1357" fmla="*/ 75595 w 235112"/>
                <a:gd name="connsiteY1357" fmla="*/ 1052659 h 1139396"/>
                <a:gd name="connsiteX1358" fmla="*/ 68708 w 235112"/>
                <a:gd name="connsiteY1358" fmla="*/ 1048198 h 1139396"/>
                <a:gd name="connsiteX1359" fmla="*/ 67331 w 235112"/>
                <a:gd name="connsiteY1359" fmla="*/ 1046570 h 1139396"/>
                <a:gd name="connsiteX1360" fmla="*/ 68712 w 235112"/>
                <a:gd name="connsiteY1360" fmla="*/ 1044292 h 1139396"/>
                <a:gd name="connsiteX1361" fmla="*/ 70810 w 235112"/>
                <a:gd name="connsiteY1361" fmla="*/ 1042390 h 1139396"/>
                <a:gd name="connsiteX1362" fmla="*/ 70952 w 235112"/>
                <a:gd name="connsiteY1362" fmla="*/ 1036019 h 1139396"/>
                <a:gd name="connsiteX1363" fmla="*/ 71478 w 235112"/>
                <a:gd name="connsiteY1363" fmla="*/ 1033792 h 1139396"/>
                <a:gd name="connsiteX1364" fmla="*/ 72930 w 235112"/>
                <a:gd name="connsiteY1364" fmla="*/ 1032009 h 1139396"/>
                <a:gd name="connsiteX1365" fmla="*/ 75572 w 235112"/>
                <a:gd name="connsiteY1365" fmla="*/ 1030048 h 1139396"/>
                <a:gd name="connsiteX1366" fmla="*/ 76884 w 235112"/>
                <a:gd name="connsiteY1366" fmla="*/ 1029594 h 1139396"/>
                <a:gd name="connsiteX1367" fmla="*/ 77996 w 235112"/>
                <a:gd name="connsiteY1367" fmla="*/ 1030444 h 1139396"/>
                <a:gd name="connsiteX1368" fmla="*/ 78135 w 235112"/>
                <a:gd name="connsiteY1368" fmla="*/ 1031941 h 1139396"/>
                <a:gd name="connsiteX1369" fmla="*/ 82526 w 235112"/>
                <a:gd name="connsiteY1369" fmla="*/ 1031835 h 1139396"/>
                <a:gd name="connsiteX1370" fmla="*/ 91042 w 235112"/>
                <a:gd name="connsiteY1370" fmla="*/ 1026207 h 1139396"/>
                <a:gd name="connsiteX1371" fmla="*/ 94549 w 235112"/>
                <a:gd name="connsiteY1371" fmla="*/ 1026074 h 1139396"/>
                <a:gd name="connsiteX1372" fmla="*/ 99170 w 235112"/>
                <a:gd name="connsiteY1372" fmla="*/ 1027328 h 1139396"/>
                <a:gd name="connsiteX1373" fmla="*/ 104390 w 235112"/>
                <a:gd name="connsiteY1373" fmla="*/ 1026574 h 1139396"/>
                <a:gd name="connsiteX1374" fmla="*/ 105330 w 235112"/>
                <a:gd name="connsiteY1374" fmla="*/ 1026000 h 1139396"/>
                <a:gd name="connsiteX1375" fmla="*/ 106417 w 235112"/>
                <a:gd name="connsiteY1375" fmla="*/ 1024682 h 1139396"/>
                <a:gd name="connsiteX1376" fmla="*/ 102525 w 235112"/>
                <a:gd name="connsiteY1376" fmla="*/ 1023135 h 1139396"/>
                <a:gd name="connsiteX1377" fmla="*/ 98794 w 235112"/>
                <a:gd name="connsiteY1377" fmla="*/ 1022347 h 1139396"/>
                <a:gd name="connsiteX1378" fmla="*/ 88302 w 235112"/>
                <a:gd name="connsiteY1378" fmla="*/ 1021800 h 1139396"/>
                <a:gd name="connsiteX1379" fmla="*/ 86027 w 235112"/>
                <a:gd name="connsiteY1379" fmla="*/ 1022401 h 1139396"/>
                <a:gd name="connsiteX1380" fmla="*/ 82926 w 235112"/>
                <a:gd name="connsiteY1380" fmla="*/ 1025379 h 1139396"/>
                <a:gd name="connsiteX1381" fmla="*/ 81896 w 235112"/>
                <a:gd name="connsiteY1381" fmla="*/ 1024635 h 1139396"/>
                <a:gd name="connsiteX1382" fmla="*/ 81234 w 235112"/>
                <a:gd name="connsiteY1382" fmla="*/ 1023135 h 1139396"/>
                <a:gd name="connsiteX1383" fmla="*/ 77674 w 235112"/>
                <a:gd name="connsiteY1383" fmla="*/ 1022077 h 1139396"/>
                <a:gd name="connsiteX1384" fmla="*/ 75968 w 235112"/>
                <a:gd name="connsiteY1384" fmla="*/ 1022298 h 1139396"/>
                <a:gd name="connsiteX1385" fmla="*/ 74334 w 235112"/>
                <a:gd name="connsiteY1385" fmla="*/ 1023727 h 1139396"/>
                <a:gd name="connsiteX1386" fmla="*/ 74601 w 235112"/>
                <a:gd name="connsiteY1386" fmla="*/ 1025953 h 1139396"/>
                <a:gd name="connsiteX1387" fmla="*/ 73690 w 235112"/>
                <a:gd name="connsiteY1387" fmla="*/ 1028341 h 1139396"/>
                <a:gd name="connsiteX1388" fmla="*/ 70395 w 235112"/>
                <a:gd name="connsiteY1388" fmla="*/ 1030710 h 1139396"/>
                <a:gd name="connsiteX1389" fmla="*/ 68154 w 235112"/>
                <a:gd name="connsiteY1389" fmla="*/ 1034485 h 1139396"/>
                <a:gd name="connsiteX1390" fmla="*/ 68259 w 235112"/>
                <a:gd name="connsiteY1390" fmla="*/ 1037424 h 1139396"/>
                <a:gd name="connsiteX1391" fmla="*/ 68084 w 235112"/>
                <a:gd name="connsiteY1391" fmla="*/ 1038956 h 1139396"/>
                <a:gd name="connsiteX1392" fmla="*/ 67261 w 235112"/>
                <a:gd name="connsiteY1392" fmla="*/ 1039764 h 1139396"/>
                <a:gd name="connsiteX1393" fmla="*/ 65562 w 235112"/>
                <a:gd name="connsiteY1393" fmla="*/ 1040738 h 1139396"/>
                <a:gd name="connsiteX1394" fmla="*/ 60092 w 235112"/>
                <a:gd name="connsiteY1394" fmla="*/ 1040076 h 1139396"/>
                <a:gd name="connsiteX1395" fmla="*/ 57007 w 235112"/>
                <a:gd name="connsiteY1395" fmla="*/ 1036992 h 1139396"/>
                <a:gd name="connsiteX1396" fmla="*/ 55799 w 235112"/>
                <a:gd name="connsiteY1396" fmla="*/ 1034887 h 1139396"/>
                <a:gd name="connsiteX1397" fmla="*/ 52307 w 235112"/>
                <a:gd name="connsiteY1397" fmla="*/ 1032608 h 1139396"/>
                <a:gd name="connsiteX1398" fmla="*/ 59895 w 235112"/>
                <a:gd name="connsiteY1398" fmla="*/ 1029774 h 1139396"/>
                <a:gd name="connsiteX1399" fmla="*/ 62561 w 235112"/>
                <a:gd name="connsiteY1399" fmla="*/ 1028161 h 1139396"/>
                <a:gd name="connsiteX1400" fmla="*/ 64996 w 235112"/>
                <a:gd name="connsiteY1400" fmla="*/ 1024565 h 1139396"/>
                <a:gd name="connsiteX1401" fmla="*/ 66811 w 235112"/>
                <a:gd name="connsiteY1401" fmla="*/ 1022280 h 1139396"/>
                <a:gd name="connsiteX1402" fmla="*/ 65526 w 235112"/>
                <a:gd name="connsiteY1402" fmla="*/ 1020674 h 1139396"/>
                <a:gd name="connsiteX1403" fmla="*/ 64007 w 235112"/>
                <a:gd name="connsiteY1403" fmla="*/ 1020671 h 1139396"/>
                <a:gd name="connsiteX1404" fmla="*/ 64150 w 235112"/>
                <a:gd name="connsiteY1404" fmla="*/ 1023224 h 1139396"/>
                <a:gd name="connsiteX1405" fmla="*/ 62476 w 235112"/>
                <a:gd name="connsiteY1405" fmla="*/ 1025319 h 1139396"/>
                <a:gd name="connsiteX1406" fmla="*/ 58978 w 235112"/>
                <a:gd name="connsiteY1406" fmla="*/ 1024332 h 1139396"/>
                <a:gd name="connsiteX1407" fmla="*/ 53816 w 235112"/>
                <a:gd name="connsiteY1407" fmla="*/ 1027429 h 1139396"/>
                <a:gd name="connsiteX1408" fmla="*/ 50643 w 235112"/>
                <a:gd name="connsiteY1408" fmla="*/ 1026601 h 1139396"/>
                <a:gd name="connsiteX1409" fmla="*/ 45474 w 235112"/>
                <a:gd name="connsiteY1409" fmla="*/ 1027513 h 1139396"/>
                <a:gd name="connsiteX1410" fmla="*/ 42944 w 235112"/>
                <a:gd name="connsiteY1410" fmla="*/ 1025843 h 1139396"/>
                <a:gd name="connsiteX1411" fmla="*/ 42402 w 235112"/>
                <a:gd name="connsiteY1411" fmla="*/ 1023721 h 1139396"/>
                <a:gd name="connsiteX1412" fmla="*/ 43314 w 235112"/>
                <a:gd name="connsiteY1412" fmla="*/ 1021513 h 1139396"/>
                <a:gd name="connsiteX1413" fmla="*/ 42364 w 235112"/>
                <a:gd name="connsiteY1413" fmla="*/ 1017773 h 1139396"/>
                <a:gd name="connsiteX1414" fmla="*/ 40940 w 235112"/>
                <a:gd name="connsiteY1414" fmla="*/ 1016865 h 1139396"/>
                <a:gd name="connsiteX1415" fmla="*/ 39486 w 235112"/>
                <a:gd name="connsiteY1415" fmla="*/ 1017077 h 1139396"/>
                <a:gd name="connsiteX1416" fmla="*/ 38835 w 235112"/>
                <a:gd name="connsiteY1416" fmla="*/ 1014853 h 1139396"/>
                <a:gd name="connsiteX1417" fmla="*/ 37264 w 235112"/>
                <a:gd name="connsiteY1417" fmla="*/ 1010946 h 1139396"/>
                <a:gd name="connsiteX1418" fmla="*/ 36567 w 235112"/>
                <a:gd name="connsiteY1418" fmla="*/ 1009891 h 1139396"/>
                <a:gd name="connsiteX1419" fmla="*/ 35814 w 235112"/>
                <a:gd name="connsiteY1419" fmla="*/ 1008077 h 1139396"/>
                <a:gd name="connsiteX1420" fmla="*/ 36593 w 235112"/>
                <a:gd name="connsiteY1420" fmla="*/ 1007635 h 1139396"/>
                <a:gd name="connsiteX1421" fmla="*/ 38369 w 235112"/>
                <a:gd name="connsiteY1421" fmla="*/ 1008156 h 1139396"/>
                <a:gd name="connsiteX1422" fmla="*/ 39925 w 235112"/>
                <a:gd name="connsiteY1422" fmla="*/ 1009330 h 1139396"/>
                <a:gd name="connsiteX1423" fmla="*/ 42291 w 235112"/>
                <a:gd name="connsiteY1423" fmla="*/ 1009479 h 1139396"/>
                <a:gd name="connsiteX1424" fmla="*/ 47508 w 235112"/>
                <a:gd name="connsiteY1424" fmla="*/ 1012022 h 1139396"/>
                <a:gd name="connsiteX1425" fmla="*/ 49672 w 235112"/>
                <a:gd name="connsiteY1425" fmla="*/ 1011411 h 1139396"/>
                <a:gd name="connsiteX1426" fmla="*/ 50848 w 235112"/>
                <a:gd name="connsiteY1426" fmla="*/ 1010826 h 1139396"/>
                <a:gd name="connsiteX1427" fmla="*/ 51288 w 235112"/>
                <a:gd name="connsiteY1427" fmla="*/ 1008716 h 1139396"/>
                <a:gd name="connsiteX1428" fmla="*/ 51315 w 235112"/>
                <a:gd name="connsiteY1428" fmla="*/ 1006714 h 1139396"/>
                <a:gd name="connsiteX1429" fmla="*/ 52211 w 235112"/>
                <a:gd name="connsiteY1429" fmla="*/ 1006714 h 1139396"/>
                <a:gd name="connsiteX1430" fmla="*/ 55172 w 235112"/>
                <a:gd name="connsiteY1430" fmla="*/ 1009274 h 1139396"/>
                <a:gd name="connsiteX1431" fmla="*/ 57055 w 235112"/>
                <a:gd name="connsiteY1431" fmla="*/ 1009032 h 1139396"/>
                <a:gd name="connsiteX1432" fmla="*/ 60383 w 235112"/>
                <a:gd name="connsiteY1432" fmla="*/ 1009708 h 1139396"/>
                <a:gd name="connsiteX1433" fmla="*/ 62064 w 235112"/>
                <a:gd name="connsiteY1433" fmla="*/ 1009433 h 1139396"/>
                <a:gd name="connsiteX1434" fmla="*/ 65185 w 235112"/>
                <a:gd name="connsiteY1434" fmla="*/ 1008478 h 1139396"/>
                <a:gd name="connsiteX1435" fmla="*/ 70095 w 235112"/>
                <a:gd name="connsiteY1435" fmla="*/ 1005666 h 1139396"/>
                <a:gd name="connsiteX1436" fmla="*/ 72643 w 235112"/>
                <a:gd name="connsiteY1436" fmla="*/ 1002759 h 1139396"/>
                <a:gd name="connsiteX1437" fmla="*/ 73865 w 235112"/>
                <a:gd name="connsiteY1437" fmla="*/ 1002365 h 1139396"/>
                <a:gd name="connsiteX1438" fmla="*/ 75377 w 235112"/>
                <a:gd name="connsiteY1438" fmla="*/ 1002740 h 1139396"/>
                <a:gd name="connsiteX1439" fmla="*/ 76390 w 235112"/>
                <a:gd name="connsiteY1439" fmla="*/ 1003573 h 1139396"/>
                <a:gd name="connsiteX1440" fmla="*/ 76406 w 235112"/>
                <a:gd name="connsiteY1440" fmla="*/ 1005594 h 1139396"/>
                <a:gd name="connsiteX1441" fmla="*/ 77554 w 235112"/>
                <a:gd name="connsiteY1441" fmla="*/ 1007467 h 1139396"/>
                <a:gd name="connsiteX1442" fmla="*/ 79114 w 235112"/>
                <a:gd name="connsiteY1442" fmla="*/ 1009002 h 1139396"/>
                <a:gd name="connsiteX1443" fmla="*/ 79549 w 235112"/>
                <a:gd name="connsiteY1443" fmla="*/ 1010870 h 1139396"/>
                <a:gd name="connsiteX1444" fmla="*/ 79230 w 235112"/>
                <a:gd name="connsiteY1444" fmla="*/ 1012709 h 1139396"/>
                <a:gd name="connsiteX1445" fmla="*/ 76437 w 235112"/>
                <a:gd name="connsiteY1445" fmla="*/ 1015299 h 1139396"/>
                <a:gd name="connsiteX1446" fmla="*/ 75919 w 235112"/>
                <a:gd name="connsiteY1446" fmla="*/ 1016200 h 1139396"/>
                <a:gd name="connsiteX1447" fmla="*/ 76856 w 235112"/>
                <a:gd name="connsiteY1447" fmla="*/ 1017151 h 1139396"/>
                <a:gd name="connsiteX1448" fmla="*/ 78011 w 235112"/>
                <a:gd name="connsiteY1448" fmla="*/ 1016706 h 1139396"/>
                <a:gd name="connsiteX1449" fmla="*/ 79604 w 235112"/>
                <a:gd name="connsiteY1449" fmla="*/ 1015425 h 1139396"/>
                <a:gd name="connsiteX1450" fmla="*/ 80511 w 235112"/>
                <a:gd name="connsiteY1450" fmla="*/ 1013666 h 1139396"/>
                <a:gd name="connsiteX1451" fmla="*/ 80754 w 235112"/>
                <a:gd name="connsiteY1451" fmla="*/ 1012753 h 1139396"/>
                <a:gd name="connsiteX1452" fmla="*/ 80855 w 235112"/>
                <a:gd name="connsiteY1452" fmla="*/ 1011448 h 1139396"/>
                <a:gd name="connsiteX1453" fmla="*/ 80735 w 235112"/>
                <a:gd name="connsiteY1453" fmla="*/ 1009857 h 1139396"/>
                <a:gd name="connsiteX1454" fmla="*/ 78466 w 235112"/>
                <a:gd name="connsiteY1454" fmla="*/ 1005331 h 1139396"/>
                <a:gd name="connsiteX1455" fmla="*/ 78183 w 235112"/>
                <a:gd name="connsiteY1455" fmla="*/ 1004312 h 1139396"/>
                <a:gd name="connsiteX1456" fmla="*/ 78186 w 235112"/>
                <a:gd name="connsiteY1456" fmla="*/ 1002263 h 1139396"/>
                <a:gd name="connsiteX1457" fmla="*/ 80767 w 235112"/>
                <a:gd name="connsiteY1457" fmla="*/ 1000380 h 1139396"/>
                <a:gd name="connsiteX1458" fmla="*/ 81495 w 235112"/>
                <a:gd name="connsiteY1458" fmla="*/ 998912 h 1139396"/>
                <a:gd name="connsiteX1459" fmla="*/ 81608 w 235112"/>
                <a:gd name="connsiteY1459" fmla="*/ 996075 h 1139396"/>
                <a:gd name="connsiteX1460" fmla="*/ 80268 w 235112"/>
                <a:gd name="connsiteY1460" fmla="*/ 994131 h 1139396"/>
                <a:gd name="connsiteX1461" fmla="*/ 74721 w 235112"/>
                <a:gd name="connsiteY1461" fmla="*/ 989644 h 1139396"/>
                <a:gd name="connsiteX1462" fmla="*/ 65453 w 235112"/>
                <a:gd name="connsiteY1462" fmla="*/ 985151 h 1139396"/>
                <a:gd name="connsiteX1463" fmla="*/ 64389 w 235112"/>
                <a:gd name="connsiteY1463" fmla="*/ 985622 h 1139396"/>
                <a:gd name="connsiteX1464" fmla="*/ 63671 w 235112"/>
                <a:gd name="connsiteY1464" fmla="*/ 986435 h 1139396"/>
                <a:gd name="connsiteX1465" fmla="*/ 64524 w 235112"/>
                <a:gd name="connsiteY1465" fmla="*/ 987026 h 1139396"/>
                <a:gd name="connsiteX1466" fmla="*/ 65751 w 235112"/>
                <a:gd name="connsiteY1466" fmla="*/ 987327 h 1139396"/>
                <a:gd name="connsiteX1467" fmla="*/ 74009 w 235112"/>
                <a:gd name="connsiteY1467" fmla="*/ 991028 h 1139396"/>
                <a:gd name="connsiteX1468" fmla="*/ 76158 w 235112"/>
                <a:gd name="connsiteY1468" fmla="*/ 993177 h 1139396"/>
                <a:gd name="connsiteX1469" fmla="*/ 77566 w 235112"/>
                <a:gd name="connsiteY1469" fmla="*/ 993754 h 1139396"/>
                <a:gd name="connsiteX1470" fmla="*/ 79233 w 235112"/>
                <a:gd name="connsiteY1470" fmla="*/ 995183 h 1139396"/>
                <a:gd name="connsiteX1471" fmla="*/ 78809 w 235112"/>
                <a:gd name="connsiteY1471" fmla="*/ 997273 h 1139396"/>
                <a:gd name="connsiteX1472" fmla="*/ 70484 w 235112"/>
                <a:gd name="connsiteY1472" fmla="*/ 999329 h 1139396"/>
                <a:gd name="connsiteX1473" fmla="*/ 63883 w 235112"/>
                <a:gd name="connsiteY1473" fmla="*/ 1003759 h 1139396"/>
                <a:gd name="connsiteX1474" fmla="*/ 58949 w 235112"/>
                <a:gd name="connsiteY1474" fmla="*/ 1006452 h 1139396"/>
                <a:gd name="connsiteX1475" fmla="*/ 55528 w 235112"/>
                <a:gd name="connsiteY1475" fmla="*/ 1005468 h 1139396"/>
                <a:gd name="connsiteX1476" fmla="*/ 53902 w 235112"/>
                <a:gd name="connsiteY1476" fmla="*/ 1002733 h 1139396"/>
                <a:gd name="connsiteX1477" fmla="*/ 52179 w 235112"/>
                <a:gd name="connsiteY1477" fmla="*/ 999207 h 1139396"/>
                <a:gd name="connsiteX1478" fmla="*/ 49583 w 235112"/>
                <a:gd name="connsiteY1478" fmla="*/ 997152 h 1139396"/>
                <a:gd name="connsiteX1479" fmla="*/ 48113 w 235112"/>
                <a:gd name="connsiteY1479" fmla="*/ 997343 h 1139396"/>
                <a:gd name="connsiteX1480" fmla="*/ 46922 w 235112"/>
                <a:gd name="connsiteY1480" fmla="*/ 996963 h 1139396"/>
                <a:gd name="connsiteX1481" fmla="*/ 45988 w 235112"/>
                <a:gd name="connsiteY1481" fmla="*/ 995877 h 1139396"/>
                <a:gd name="connsiteX1482" fmla="*/ 43989 w 235112"/>
                <a:gd name="connsiteY1482" fmla="*/ 996778 h 1139396"/>
                <a:gd name="connsiteX1483" fmla="*/ 39598 w 235112"/>
                <a:gd name="connsiteY1483" fmla="*/ 994332 h 1139396"/>
                <a:gd name="connsiteX1484" fmla="*/ 38324 w 235112"/>
                <a:gd name="connsiteY1484" fmla="*/ 993267 h 1139396"/>
                <a:gd name="connsiteX1485" fmla="*/ 41547 w 235112"/>
                <a:gd name="connsiteY1485" fmla="*/ 989829 h 1139396"/>
                <a:gd name="connsiteX1486" fmla="*/ 45091 w 235112"/>
                <a:gd name="connsiteY1486" fmla="*/ 991150 h 1139396"/>
                <a:gd name="connsiteX1487" fmla="*/ 45951 w 235112"/>
                <a:gd name="connsiteY1487" fmla="*/ 981500 h 1139396"/>
                <a:gd name="connsiteX1488" fmla="*/ 44846 w 235112"/>
                <a:gd name="connsiteY1488" fmla="*/ 979310 h 1139396"/>
                <a:gd name="connsiteX1489" fmla="*/ 40237 w 235112"/>
                <a:gd name="connsiteY1489" fmla="*/ 976929 h 1139396"/>
                <a:gd name="connsiteX1490" fmla="*/ 37973 w 235112"/>
                <a:gd name="connsiteY1490" fmla="*/ 977238 h 1139396"/>
                <a:gd name="connsiteX1491" fmla="*/ 34885 w 235112"/>
                <a:gd name="connsiteY1491" fmla="*/ 976916 h 1139396"/>
                <a:gd name="connsiteX1492" fmla="*/ 32805 w 235112"/>
                <a:gd name="connsiteY1492" fmla="*/ 975824 h 1139396"/>
                <a:gd name="connsiteX1493" fmla="*/ 30434 w 235112"/>
                <a:gd name="connsiteY1493" fmla="*/ 975392 h 1139396"/>
                <a:gd name="connsiteX1494" fmla="*/ 28430 w 235112"/>
                <a:gd name="connsiteY1494" fmla="*/ 974756 h 1139396"/>
                <a:gd name="connsiteX1495" fmla="*/ 25814 w 235112"/>
                <a:gd name="connsiteY1495" fmla="*/ 973276 h 1139396"/>
                <a:gd name="connsiteX1496" fmla="*/ 22652 w 235112"/>
                <a:gd name="connsiteY1496" fmla="*/ 972484 h 1139396"/>
                <a:gd name="connsiteX1497" fmla="*/ 18383 w 235112"/>
                <a:gd name="connsiteY1497" fmla="*/ 966395 h 1139396"/>
                <a:gd name="connsiteX1498" fmla="*/ 16551 w 235112"/>
                <a:gd name="connsiteY1498" fmla="*/ 963202 h 1139396"/>
                <a:gd name="connsiteX1499" fmla="*/ 15554 w 235112"/>
                <a:gd name="connsiteY1499" fmla="*/ 959720 h 1139396"/>
                <a:gd name="connsiteX1500" fmla="*/ 22097 w 235112"/>
                <a:gd name="connsiteY1500" fmla="*/ 959642 h 1139396"/>
                <a:gd name="connsiteX1501" fmla="*/ 25924 w 235112"/>
                <a:gd name="connsiteY1501" fmla="*/ 959077 h 1139396"/>
                <a:gd name="connsiteX1502" fmla="*/ 26857 w 235112"/>
                <a:gd name="connsiteY1502" fmla="*/ 957624 h 1139396"/>
                <a:gd name="connsiteX1503" fmla="*/ 25510 w 235112"/>
                <a:gd name="connsiteY1503" fmla="*/ 954855 h 1139396"/>
                <a:gd name="connsiteX1504" fmla="*/ 23637 w 235112"/>
                <a:gd name="connsiteY1504" fmla="*/ 952676 h 1139396"/>
                <a:gd name="connsiteX1505" fmla="*/ 25012 w 235112"/>
                <a:gd name="connsiteY1505" fmla="*/ 950633 h 1139396"/>
                <a:gd name="connsiteX1506" fmla="*/ 26969 w 235112"/>
                <a:gd name="connsiteY1506" fmla="*/ 949052 h 1139396"/>
                <a:gd name="connsiteX1507" fmla="*/ 29007 w 235112"/>
                <a:gd name="connsiteY1507" fmla="*/ 949752 h 1139396"/>
                <a:gd name="connsiteX1508" fmla="*/ 34041 w 235112"/>
                <a:gd name="connsiteY1508" fmla="*/ 953275 h 1139396"/>
                <a:gd name="connsiteX1509" fmla="*/ 34907 w 235112"/>
                <a:gd name="connsiteY1509" fmla="*/ 955662 h 1139396"/>
                <a:gd name="connsiteX1510" fmla="*/ 38488 w 235112"/>
                <a:gd name="connsiteY1510" fmla="*/ 962951 h 1139396"/>
                <a:gd name="connsiteX1511" fmla="*/ 39353 w 235112"/>
                <a:gd name="connsiteY1511" fmla="*/ 963600 h 1139396"/>
                <a:gd name="connsiteX1512" fmla="*/ 39776 w 235112"/>
                <a:gd name="connsiteY1512" fmla="*/ 964279 h 1139396"/>
                <a:gd name="connsiteX1513" fmla="*/ 47179 w 235112"/>
                <a:gd name="connsiteY1513" fmla="*/ 968368 h 1139396"/>
                <a:gd name="connsiteX1514" fmla="*/ 48217 w 235112"/>
                <a:gd name="connsiteY1514" fmla="*/ 968313 h 1139396"/>
                <a:gd name="connsiteX1515" fmla="*/ 47758 w 235112"/>
                <a:gd name="connsiteY1515" fmla="*/ 964882 h 1139396"/>
                <a:gd name="connsiteX1516" fmla="*/ 49889 w 235112"/>
                <a:gd name="connsiteY1516" fmla="*/ 960234 h 1139396"/>
                <a:gd name="connsiteX1517" fmla="*/ 51956 w 235112"/>
                <a:gd name="connsiteY1517" fmla="*/ 958700 h 1139396"/>
                <a:gd name="connsiteX1518" fmla="*/ 52993 w 235112"/>
                <a:gd name="connsiteY1518" fmla="*/ 958716 h 1139396"/>
                <a:gd name="connsiteX1519" fmla="*/ 53100 w 235112"/>
                <a:gd name="connsiteY1519" fmla="*/ 957941 h 1139396"/>
                <a:gd name="connsiteX1520" fmla="*/ 51088 w 235112"/>
                <a:gd name="connsiteY1520" fmla="*/ 956010 h 1139396"/>
                <a:gd name="connsiteX1521" fmla="*/ 52073 w 235112"/>
                <a:gd name="connsiteY1521" fmla="*/ 953434 h 1139396"/>
                <a:gd name="connsiteX1522" fmla="*/ 51427 w 235112"/>
                <a:gd name="connsiteY1522" fmla="*/ 953353 h 1139396"/>
                <a:gd name="connsiteX1523" fmla="*/ 49645 w 235112"/>
                <a:gd name="connsiteY1523" fmla="*/ 955005 h 1139396"/>
                <a:gd name="connsiteX1524" fmla="*/ 46062 w 235112"/>
                <a:gd name="connsiteY1524" fmla="*/ 963107 h 1139396"/>
                <a:gd name="connsiteX1525" fmla="*/ 43869 w 235112"/>
                <a:gd name="connsiteY1525" fmla="*/ 964588 h 1139396"/>
                <a:gd name="connsiteX1526" fmla="*/ 40858 w 235112"/>
                <a:gd name="connsiteY1526" fmla="*/ 960916 h 1139396"/>
                <a:gd name="connsiteX1527" fmla="*/ 39150 w 235112"/>
                <a:gd name="connsiteY1527" fmla="*/ 958272 h 1139396"/>
                <a:gd name="connsiteX1528" fmla="*/ 38310 w 235112"/>
                <a:gd name="connsiteY1528" fmla="*/ 957335 h 1139396"/>
                <a:gd name="connsiteX1529" fmla="*/ 38605 w 235112"/>
                <a:gd name="connsiteY1529" fmla="*/ 953190 h 1139396"/>
                <a:gd name="connsiteX1530" fmla="*/ 44570 w 235112"/>
                <a:gd name="connsiteY1530" fmla="*/ 954029 h 1139396"/>
                <a:gd name="connsiteX1531" fmla="*/ 42524 w 235112"/>
                <a:gd name="connsiteY1531" fmla="*/ 952673 h 1139396"/>
                <a:gd name="connsiteX1532" fmla="*/ 35563 w 235112"/>
                <a:gd name="connsiteY1532" fmla="*/ 950285 h 1139396"/>
                <a:gd name="connsiteX1533" fmla="*/ 33825 w 235112"/>
                <a:gd name="connsiteY1533" fmla="*/ 949119 h 1139396"/>
                <a:gd name="connsiteX1534" fmla="*/ 32532 w 235112"/>
                <a:gd name="connsiteY1534" fmla="*/ 948694 h 1139396"/>
                <a:gd name="connsiteX1535" fmla="*/ 30217 w 235112"/>
                <a:gd name="connsiteY1535" fmla="*/ 945885 h 1139396"/>
                <a:gd name="connsiteX1536" fmla="*/ 27347 w 235112"/>
                <a:gd name="connsiteY1536" fmla="*/ 943509 h 1139396"/>
                <a:gd name="connsiteX1537" fmla="*/ 32298 w 235112"/>
                <a:gd name="connsiteY1537" fmla="*/ 939239 h 1139396"/>
                <a:gd name="connsiteX1538" fmla="*/ 34849 w 235112"/>
                <a:gd name="connsiteY1538" fmla="*/ 936238 h 1139396"/>
                <a:gd name="connsiteX1539" fmla="*/ 42818 w 235112"/>
                <a:gd name="connsiteY1539" fmla="*/ 937832 h 1139396"/>
                <a:gd name="connsiteX1540" fmla="*/ 44361 w 235112"/>
                <a:gd name="connsiteY1540" fmla="*/ 936904 h 1139396"/>
                <a:gd name="connsiteX1541" fmla="*/ 43027 w 235112"/>
                <a:gd name="connsiteY1541" fmla="*/ 934714 h 1139396"/>
                <a:gd name="connsiteX1542" fmla="*/ 41452 w 235112"/>
                <a:gd name="connsiteY1542" fmla="*/ 935376 h 1139396"/>
                <a:gd name="connsiteX1543" fmla="*/ 38966 w 235112"/>
                <a:gd name="connsiteY1543" fmla="*/ 934014 h 1139396"/>
                <a:gd name="connsiteX1544" fmla="*/ 35097 w 235112"/>
                <a:gd name="connsiteY1544" fmla="*/ 929919 h 1139396"/>
                <a:gd name="connsiteX1545" fmla="*/ 35229 w 235112"/>
                <a:gd name="connsiteY1545" fmla="*/ 927829 h 1139396"/>
                <a:gd name="connsiteX1546" fmla="*/ 35937 w 235112"/>
                <a:gd name="connsiteY1546" fmla="*/ 924005 h 1139396"/>
                <a:gd name="connsiteX1547" fmla="*/ 37470 w 235112"/>
                <a:gd name="connsiteY1547" fmla="*/ 923187 h 1139396"/>
                <a:gd name="connsiteX1548" fmla="*/ 40724 w 235112"/>
                <a:gd name="connsiteY1548" fmla="*/ 922400 h 1139396"/>
                <a:gd name="connsiteX1549" fmla="*/ 44439 w 235112"/>
                <a:gd name="connsiteY1549" fmla="*/ 923641 h 1139396"/>
                <a:gd name="connsiteX1550" fmla="*/ 46061 w 235112"/>
                <a:gd name="connsiteY1550" fmla="*/ 924652 h 1139396"/>
                <a:gd name="connsiteX1551" fmla="*/ 47460 w 235112"/>
                <a:gd name="connsiteY1551" fmla="*/ 924179 h 1139396"/>
                <a:gd name="connsiteX1552" fmla="*/ 46037 w 235112"/>
                <a:gd name="connsiteY1552" fmla="*/ 921348 h 1139396"/>
                <a:gd name="connsiteX1553" fmla="*/ 43614 w 235112"/>
                <a:gd name="connsiteY1553" fmla="*/ 920278 h 1139396"/>
                <a:gd name="connsiteX1554" fmla="*/ 40916 w 235112"/>
                <a:gd name="connsiteY1554" fmla="*/ 918264 h 1139396"/>
                <a:gd name="connsiteX1555" fmla="*/ 41194 w 235112"/>
                <a:gd name="connsiteY1555" fmla="*/ 916033 h 1139396"/>
                <a:gd name="connsiteX1556" fmla="*/ 42064 w 235112"/>
                <a:gd name="connsiteY1556" fmla="*/ 914189 h 1139396"/>
                <a:gd name="connsiteX1557" fmla="*/ 42717 w 235112"/>
                <a:gd name="connsiteY1557" fmla="*/ 912170 h 1139396"/>
                <a:gd name="connsiteX1558" fmla="*/ 43169 w 235112"/>
                <a:gd name="connsiteY1558" fmla="*/ 909345 h 1139396"/>
                <a:gd name="connsiteX1559" fmla="*/ 42921 w 235112"/>
                <a:gd name="connsiteY1559" fmla="*/ 907147 h 1139396"/>
                <a:gd name="connsiteX1560" fmla="*/ 43698 w 235112"/>
                <a:gd name="connsiteY1560" fmla="*/ 906132 h 1139396"/>
                <a:gd name="connsiteX1561" fmla="*/ 44886 w 235112"/>
                <a:gd name="connsiteY1561" fmla="*/ 905678 h 1139396"/>
                <a:gd name="connsiteX1562" fmla="*/ 44960 w 235112"/>
                <a:gd name="connsiteY1562" fmla="*/ 904854 h 1139396"/>
                <a:gd name="connsiteX1563" fmla="*/ 42608 w 235112"/>
                <a:gd name="connsiteY1563" fmla="*/ 905027 h 1139396"/>
                <a:gd name="connsiteX1564" fmla="*/ 41756 w 235112"/>
                <a:gd name="connsiteY1564" fmla="*/ 907805 h 1139396"/>
                <a:gd name="connsiteX1565" fmla="*/ 41438 w 235112"/>
                <a:gd name="connsiteY1565" fmla="*/ 910341 h 1139396"/>
                <a:gd name="connsiteX1566" fmla="*/ 39767 w 235112"/>
                <a:gd name="connsiteY1566" fmla="*/ 912377 h 1139396"/>
                <a:gd name="connsiteX1567" fmla="*/ 39055 w 235112"/>
                <a:gd name="connsiteY1567" fmla="*/ 914676 h 1139396"/>
                <a:gd name="connsiteX1568" fmla="*/ 38632 w 235112"/>
                <a:gd name="connsiteY1568" fmla="*/ 917433 h 1139396"/>
                <a:gd name="connsiteX1569" fmla="*/ 37700 w 235112"/>
                <a:gd name="connsiteY1569" fmla="*/ 920596 h 1139396"/>
                <a:gd name="connsiteX1570" fmla="*/ 35666 w 235112"/>
                <a:gd name="connsiteY1570" fmla="*/ 919392 h 1139396"/>
                <a:gd name="connsiteX1571" fmla="*/ 34474 w 235112"/>
                <a:gd name="connsiteY1571" fmla="*/ 918152 h 1139396"/>
                <a:gd name="connsiteX1572" fmla="*/ 34017 w 235112"/>
                <a:gd name="connsiteY1572" fmla="*/ 917305 h 1139396"/>
                <a:gd name="connsiteX1573" fmla="*/ 34229 w 235112"/>
                <a:gd name="connsiteY1573" fmla="*/ 915690 h 1139396"/>
                <a:gd name="connsiteX1574" fmla="*/ 33677 w 235112"/>
                <a:gd name="connsiteY1574" fmla="*/ 905735 h 1139396"/>
                <a:gd name="connsiteX1575" fmla="*/ 33622 w 235112"/>
                <a:gd name="connsiteY1575" fmla="*/ 897426 h 1139396"/>
                <a:gd name="connsiteX1576" fmla="*/ 34664 w 235112"/>
                <a:gd name="connsiteY1576" fmla="*/ 890971 h 1139396"/>
                <a:gd name="connsiteX1577" fmla="*/ 37538 w 235112"/>
                <a:gd name="connsiteY1577" fmla="*/ 888409 h 1139396"/>
                <a:gd name="connsiteX1578" fmla="*/ 38843 w 235112"/>
                <a:gd name="connsiteY1578" fmla="*/ 887665 h 1139396"/>
                <a:gd name="connsiteX1579" fmla="*/ 40033 w 235112"/>
                <a:gd name="connsiteY1579" fmla="*/ 887992 h 1139396"/>
                <a:gd name="connsiteX1580" fmla="*/ 41868 w 235112"/>
                <a:gd name="connsiteY1580" fmla="*/ 887974 h 1139396"/>
                <a:gd name="connsiteX1581" fmla="*/ 43081 w 235112"/>
                <a:gd name="connsiteY1581" fmla="*/ 887043 h 1139396"/>
                <a:gd name="connsiteX1582" fmla="*/ 38962 w 235112"/>
                <a:gd name="connsiteY1582" fmla="*/ 885496 h 1139396"/>
                <a:gd name="connsiteX1583" fmla="*/ 36463 w 235112"/>
                <a:gd name="connsiteY1583" fmla="*/ 886379 h 1139396"/>
                <a:gd name="connsiteX1584" fmla="*/ 34615 w 235112"/>
                <a:gd name="connsiteY1584" fmla="*/ 887615 h 1139396"/>
                <a:gd name="connsiteX1585" fmla="*/ 31282 w 235112"/>
                <a:gd name="connsiteY1585" fmla="*/ 886684 h 1139396"/>
                <a:gd name="connsiteX1586" fmla="*/ 30648 w 235112"/>
                <a:gd name="connsiteY1586" fmla="*/ 883379 h 1139396"/>
                <a:gd name="connsiteX1587" fmla="*/ 28676 w 235112"/>
                <a:gd name="connsiteY1587" fmla="*/ 880526 h 1139396"/>
                <a:gd name="connsiteX1588" fmla="*/ 28333 w 235112"/>
                <a:gd name="connsiteY1588" fmla="*/ 876877 h 1139396"/>
                <a:gd name="connsiteX1589" fmla="*/ 28485 w 235112"/>
                <a:gd name="connsiteY1589" fmla="*/ 871602 h 1139396"/>
                <a:gd name="connsiteX1590" fmla="*/ 33156 w 235112"/>
                <a:gd name="connsiteY1590" fmla="*/ 872057 h 1139396"/>
                <a:gd name="connsiteX1591" fmla="*/ 36961 w 235112"/>
                <a:gd name="connsiteY1591" fmla="*/ 873087 h 1139396"/>
                <a:gd name="connsiteX1592" fmla="*/ 47018 w 235112"/>
                <a:gd name="connsiteY1592" fmla="*/ 872999 h 1139396"/>
                <a:gd name="connsiteX1593" fmla="*/ 55275 w 235112"/>
                <a:gd name="connsiteY1593" fmla="*/ 878055 h 1139396"/>
                <a:gd name="connsiteX1594" fmla="*/ 58918 w 235112"/>
                <a:gd name="connsiteY1594" fmla="*/ 877377 h 1139396"/>
                <a:gd name="connsiteX1595" fmla="*/ 58752 w 235112"/>
                <a:gd name="connsiteY1595" fmla="*/ 876358 h 1139396"/>
                <a:gd name="connsiteX1596" fmla="*/ 55964 w 235112"/>
                <a:gd name="connsiteY1596" fmla="*/ 875086 h 1139396"/>
                <a:gd name="connsiteX1597" fmla="*/ 54225 w 235112"/>
                <a:gd name="connsiteY1597" fmla="*/ 872259 h 1139396"/>
                <a:gd name="connsiteX1598" fmla="*/ 53203 w 235112"/>
                <a:gd name="connsiteY1598" fmla="*/ 871438 h 1139396"/>
                <a:gd name="connsiteX1599" fmla="*/ 52720 w 235112"/>
                <a:gd name="connsiteY1599" fmla="*/ 869741 h 1139396"/>
                <a:gd name="connsiteX1600" fmla="*/ 52563 w 235112"/>
                <a:gd name="connsiteY1600" fmla="*/ 867765 h 1139396"/>
                <a:gd name="connsiteX1601" fmla="*/ 50516 w 235112"/>
                <a:gd name="connsiteY1601" fmla="*/ 860508 h 1139396"/>
                <a:gd name="connsiteX1602" fmla="*/ 49695 w 235112"/>
                <a:gd name="connsiteY1602" fmla="*/ 860696 h 1139396"/>
                <a:gd name="connsiteX1603" fmla="*/ 48908 w 235112"/>
                <a:gd name="connsiteY1603" fmla="*/ 863184 h 1139396"/>
                <a:gd name="connsiteX1604" fmla="*/ 47199 w 235112"/>
                <a:gd name="connsiteY1604" fmla="*/ 867333 h 1139396"/>
                <a:gd name="connsiteX1605" fmla="*/ 44810 w 235112"/>
                <a:gd name="connsiteY1605" fmla="*/ 869350 h 1139396"/>
                <a:gd name="connsiteX1606" fmla="*/ 41162 w 235112"/>
                <a:gd name="connsiteY1606" fmla="*/ 870168 h 1139396"/>
                <a:gd name="connsiteX1607" fmla="*/ 37554 w 235112"/>
                <a:gd name="connsiteY1607" fmla="*/ 870629 h 1139396"/>
                <a:gd name="connsiteX1608" fmla="*/ 34422 w 235112"/>
                <a:gd name="connsiteY1608" fmla="*/ 869833 h 1139396"/>
                <a:gd name="connsiteX1609" fmla="*/ 33693 w 235112"/>
                <a:gd name="connsiteY1609" fmla="*/ 868116 h 1139396"/>
                <a:gd name="connsiteX1610" fmla="*/ 33772 w 235112"/>
                <a:gd name="connsiteY1610" fmla="*/ 866128 h 1139396"/>
                <a:gd name="connsiteX1611" fmla="*/ 32416 w 235112"/>
                <a:gd name="connsiteY1611" fmla="*/ 865157 h 1139396"/>
                <a:gd name="connsiteX1612" fmla="*/ 28878 w 235112"/>
                <a:gd name="connsiteY1612" fmla="*/ 864296 h 1139396"/>
                <a:gd name="connsiteX1613" fmla="*/ 27872 w 235112"/>
                <a:gd name="connsiteY1613" fmla="*/ 863815 h 1139396"/>
                <a:gd name="connsiteX1614" fmla="*/ 26705 w 235112"/>
                <a:gd name="connsiteY1614" fmla="*/ 862016 h 1139396"/>
                <a:gd name="connsiteX1615" fmla="*/ 28391 w 235112"/>
                <a:gd name="connsiteY1615" fmla="*/ 859299 h 1139396"/>
                <a:gd name="connsiteX1616" fmla="*/ 29777 w 235112"/>
                <a:gd name="connsiteY1616" fmla="*/ 857679 h 1139396"/>
                <a:gd name="connsiteX1617" fmla="*/ 31473 w 235112"/>
                <a:gd name="connsiteY1617" fmla="*/ 858000 h 1139396"/>
                <a:gd name="connsiteX1618" fmla="*/ 33078 w 235112"/>
                <a:gd name="connsiteY1618" fmla="*/ 858733 h 1139396"/>
                <a:gd name="connsiteX1619" fmla="*/ 35132 w 235112"/>
                <a:gd name="connsiteY1619" fmla="*/ 860870 h 1139396"/>
                <a:gd name="connsiteX1620" fmla="*/ 37150 w 235112"/>
                <a:gd name="connsiteY1620" fmla="*/ 861276 h 1139396"/>
                <a:gd name="connsiteX1621" fmla="*/ 39458 w 235112"/>
                <a:gd name="connsiteY1621" fmla="*/ 859579 h 1139396"/>
                <a:gd name="connsiteX1622" fmla="*/ 39911 w 235112"/>
                <a:gd name="connsiteY1622" fmla="*/ 858424 h 1139396"/>
                <a:gd name="connsiteX1623" fmla="*/ 38468 w 235112"/>
                <a:gd name="connsiteY1623" fmla="*/ 857702 h 1139396"/>
                <a:gd name="connsiteX1624" fmla="*/ 37151 w 235112"/>
                <a:gd name="connsiteY1624" fmla="*/ 857421 h 1139396"/>
                <a:gd name="connsiteX1625" fmla="*/ 35103 w 235112"/>
                <a:gd name="connsiteY1625" fmla="*/ 856513 h 1139396"/>
                <a:gd name="connsiteX1626" fmla="*/ 31072 w 235112"/>
                <a:gd name="connsiteY1626" fmla="*/ 853264 h 1139396"/>
                <a:gd name="connsiteX1627" fmla="*/ 33086 w 235112"/>
                <a:gd name="connsiteY1627" fmla="*/ 849957 h 1139396"/>
                <a:gd name="connsiteX1628" fmla="*/ 37843 w 235112"/>
                <a:gd name="connsiteY1628" fmla="*/ 846170 h 1139396"/>
                <a:gd name="connsiteX1629" fmla="*/ 39294 w 235112"/>
                <a:gd name="connsiteY1629" fmla="*/ 845302 h 1139396"/>
                <a:gd name="connsiteX1630" fmla="*/ 38035 w 235112"/>
                <a:gd name="connsiteY1630" fmla="*/ 842115 h 1139396"/>
                <a:gd name="connsiteX1631" fmla="*/ 39459 w 235112"/>
                <a:gd name="connsiteY1631" fmla="*/ 838636 h 1139396"/>
                <a:gd name="connsiteX1632" fmla="*/ 38000 w 235112"/>
                <a:gd name="connsiteY1632" fmla="*/ 835770 h 1139396"/>
                <a:gd name="connsiteX1633" fmla="*/ 35360 w 235112"/>
                <a:gd name="connsiteY1633" fmla="*/ 832684 h 1139396"/>
                <a:gd name="connsiteX1634" fmla="*/ 31795 w 235112"/>
                <a:gd name="connsiteY1634" fmla="*/ 832001 h 1139396"/>
                <a:gd name="connsiteX1635" fmla="*/ 31028 w 235112"/>
                <a:gd name="connsiteY1635" fmla="*/ 832903 h 1139396"/>
                <a:gd name="connsiteX1636" fmla="*/ 30903 w 235112"/>
                <a:gd name="connsiteY1636" fmla="*/ 834165 h 1139396"/>
                <a:gd name="connsiteX1637" fmla="*/ 31469 w 235112"/>
                <a:gd name="connsiteY1637" fmla="*/ 835117 h 1139396"/>
                <a:gd name="connsiteX1638" fmla="*/ 31135 w 235112"/>
                <a:gd name="connsiteY1638" fmla="*/ 835804 h 1139396"/>
                <a:gd name="connsiteX1639" fmla="*/ 30322 w 235112"/>
                <a:gd name="connsiteY1639" fmla="*/ 835782 h 1139396"/>
                <a:gd name="connsiteX1640" fmla="*/ 25794 w 235112"/>
                <a:gd name="connsiteY1640" fmla="*/ 835104 h 1139396"/>
                <a:gd name="connsiteX1641" fmla="*/ 22756 w 235112"/>
                <a:gd name="connsiteY1641" fmla="*/ 833052 h 1139396"/>
                <a:gd name="connsiteX1642" fmla="*/ 17804 w 235112"/>
                <a:gd name="connsiteY1642" fmla="*/ 831182 h 1139396"/>
                <a:gd name="connsiteX1643" fmla="*/ 17157 w 235112"/>
                <a:gd name="connsiteY1643" fmla="*/ 829721 h 1139396"/>
                <a:gd name="connsiteX1644" fmla="*/ 16623 w 235112"/>
                <a:gd name="connsiteY1644" fmla="*/ 827574 h 1139396"/>
                <a:gd name="connsiteX1645" fmla="*/ 18356 w 235112"/>
                <a:gd name="connsiteY1645" fmla="*/ 823882 h 1139396"/>
                <a:gd name="connsiteX1646" fmla="*/ 17479 w 235112"/>
                <a:gd name="connsiteY1646" fmla="*/ 823832 h 1139396"/>
                <a:gd name="connsiteX1647" fmla="*/ 14259 w 235112"/>
                <a:gd name="connsiteY1647" fmla="*/ 826684 h 1139396"/>
                <a:gd name="connsiteX1648" fmla="*/ 9399 w 235112"/>
                <a:gd name="connsiteY1648" fmla="*/ 828182 h 1139396"/>
                <a:gd name="connsiteX1649" fmla="*/ 5824 w 235112"/>
                <a:gd name="connsiteY1649" fmla="*/ 828670 h 1139396"/>
                <a:gd name="connsiteX1650" fmla="*/ 4254 w 235112"/>
                <a:gd name="connsiteY1650" fmla="*/ 829830 h 1139396"/>
                <a:gd name="connsiteX1651" fmla="*/ 3626 w 235112"/>
                <a:gd name="connsiteY1651" fmla="*/ 830786 h 1139396"/>
                <a:gd name="connsiteX1652" fmla="*/ 4577 w 235112"/>
                <a:gd name="connsiteY1652" fmla="*/ 831350 h 1139396"/>
                <a:gd name="connsiteX1653" fmla="*/ 6646 w 235112"/>
                <a:gd name="connsiteY1653" fmla="*/ 831490 h 1139396"/>
                <a:gd name="connsiteX1654" fmla="*/ 8156 w 235112"/>
                <a:gd name="connsiteY1654" fmla="*/ 835064 h 1139396"/>
                <a:gd name="connsiteX1655" fmla="*/ 7781 w 235112"/>
                <a:gd name="connsiteY1655" fmla="*/ 836437 h 1139396"/>
                <a:gd name="connsiteX1656" fmla="*/ 7042 w 235112"/>
                <a:gd name="connsiteY1656" fmla="*/ 837362 h 1139396"/>
                <a:gd name="connsiteX1657" fmla="*/ 5362 w 235112"/>
                <a:gd name="connsiteY1657" fmla="*/ 837540 h 1139396"/>
                <a:gd name="connsiteX1658" fmla="*/ 1847 w 235112"/>
                <a:gd name="connsiteY1658" fmla="*/ 835068 h 1139396"/>
                <a:gd name="connsiteX1659" fmla="*/ 0 w 235112"/>
                <a:gd name="connsiteY1659" fmla="*/ 832263 h 1139396"/>
                <a:gd name="connsiteX1660" fmla="*/ 43 w 235112"/>
                <a:gd name="connsiteY1660" fmla="*/ 830037 h 1139396"/>
                <a:gd name="connsiteX1661" fmla="*/ 1301 w 235112"/>
                <a:gd name="connsiteY1661" fmla="*/ 827011 h 1139396"/>
                <a:gd name="connsiteX1662" fmla="*/ 6877 w 235112"/>
                <a:gd name="connsiteY1662" fmla="*/ 822955 h 1139396"/>
                <a:gd name="connsiteX1663" fmla="*/ 8420 w 235112"/>
                <a:gd name="connsiteY1663" fmla="*/ 821239 h 1139396"/>
                <a:gd name="connsiteX1664" fmla="*/ 11691 w 235112"/>
                <a:gd name="connsiteY1664" fmla="*/ 819339 h 1139396"/>
                <a:gd name="connsiteX1665" fmla="*/ 16057 w 235112"/>
                <a:gd name="connsiteY1665" fmla="*/ 815059 h 1139396"/>
                <a:gd name="connsiteX1666" fmla="*/ 19870 w 235112"/>
                <a:gd name="connsiteY1666" fmla="*/ 812682 h 1139396"/>
                <a:gd name="connsiteX1667" fmla="*/ 18014 w 235112"/>
                <a:gd name="connsiteY1667" fmla="*/ 810715 h 1139396"/>
                <a:gd name="connsiteX1668" fmla="*/ 16065 w 235112"/>
                <a:gd name="connsiteY1668" fmla="*/ 807763 h 1139396"/>
                <a:gd name="connsiteX1669" fmla="*/ 16264 w 235112"/>
                <a:gd name="connsiteY1669" fmla="*/ 803663 h 1139396"/>
                <a:gd name="connsiteX1670" fmla="*/ 23960 w 235112"/>
                <a:gd name="connsiteY1670" fmla="*/ 802041 h 1139396"/>
                <a:gd name="connsiteX1671" fmla="*/ 27319 w 235112"/>
                <a:gd name="connsiteY1671" fmla="*/ 802709 h 1139396"/>
                <a:gd name="connsiteX1672" fmla="*/ 31576 w 235112"/>
                <a:gd name="connsiteY1672" fmla="*/ 802581 h 1139396"/>
                <a:gd name="connsiteX1673" fmla="*/ 33951 w 235112"/>
                <a:gd name="connsiteY1673" fmla="*/ 801601 h 1139396"/>
                <a:gd name="connsiteX1674" fmla="*/ 35674 w 235112"/>
                <a:gd name="connsiteY1674" fmla="*/ 801390 h 1139396"/>
                <a:gd name="connsiteX1675" fmla="*/ 39308 w 235112"/>
                <a:gd name="connsiteY1675" fmla="*/ 800258 h 1139396"/>
                <a:gd name="connsiteX1676" fmla="*/ 40872 w 235112"/>
                <a:gd name="connsiteY1676" fmla="*/ 798666 h 1139396"/>
                <a:gd name="connsiteX1677" fmla="*/ 41236 w 235112"/>
                <a:gd name="connsiteY1677" fmla="*/ 797452 h 1139396"/>
                <a:gd name="connsiteX1678" fmla="*/ 41219 w 235112"/>
                <a:gd name="connsiteY1678" fmla="*/ 796392 h 1139396"/>
                <a:gd name="connsiteX1679" fmla="*/ 40794 w 235112"/>
                <a:gd name="connsiteY1679" fmla="*/ 795089 h 1139396"/>
                <a:gd name="connsiteX1680" fmla="*/ 40200 w 235112"/>
                <a:gd name="connsiteY1680" fmla="*/ 791709 h 1139396"/>
                <a:gd name="connsiteX1681" fmla="*/ 40802 w 235112"/>
                <a:gd name="connsiteY1681" fmla="*/ 790580 h 1139396"/>
                <a:gd name="connsiteX1682" fmla="*/ 42360 w 235112"/>
                <a:gd name="connsiteY1682" fmla="*/ 789237 h 1139396"/>
                <a:gd name="connsiteX1683" fmla="*/ 44397 w 235112"/>
                <a:gd name="connsiteY1683" fmla="*/ 788818 h 1139396"/>
                <a:gd name="connsiteX1684" fmla="*/ 45332 w 235112"/>
                <a:gd name="connsiteY1684" fmla="*/ 788923 h 1139396"/>
                <a:gd name="connsiteX1685" fmla="*/ 47748 w 235112"/>
                <a:gd name="connsiteY1685" fmla="*/ 790157 h 1139396"/>
                <a:gd name="connsiteX1686" fmla="*/ 47263 w 235112"/>
                <a:gd name="connsiteY1686" fmla="*/ 791905 h 1139396"/>
                <a:gd name="connsiteX1687" fmla="*/ 46295 w 235112"/>
                <a:gd name="connsiteY1687" fmla="*/ 794014 h 1139396"/>
                <a:gd name="connsiteX1688" fmla="*/ 44319 w 235112"/>
                <a:gd name="connsiteY1688" fmla="*/ 802409 h 1139396"/>
                <a:gd name="connsiteX1689" fmla="*/ 43324 w 235112"/>
                <a:gd name="connsiteY1689" fmla="*/ 804308 h 1139396"/>
                <a:gd name="connsiteX1690" fmla="*/ 41763 w 235112"/>
                <a:gd name="connsiteY1690" fmla="*/ 805955 h 1139396"/>
                <a:gd name="connsiteX1691" fmla="*/ 42806 w 235112"/>
                <a:gd name="connsiteY1691" fmla="*/ 809390 h 1139396"/>
                <a:gd name="connsiteX1692" fmla="*/ 41244 w 235112"/>
                <a:gd name="connsiteY1692" fmla="*/ 811799 h 1139396"/>
                <a:gd name="connsiteX1693" fmla="*/ 34264 w 235112"/>
                <a:gd name="connsiteY1693" fmla="*/ 814364 h 1139396"/>
                <a:gd name="connsiteX1694" fmla="*/ 33347 w 235112"/>
                <a:gd name="connsiteY1694" fmla="*/ 814513 h 1139396"/>
                <a:gd name="connsiteX1695" fmla="*/ 33867 w 235112"/>
                <a:gd name="connsiteY1695" fmla="*/ 815430 h 1139396"/>
                <a:gd name="connsiteX1696" fmla="*/ 37907 w 235112"/>
                <a:gd name="connsiteY1696" fmla="*/ 815213 h 1139396"/>
                <a:gd name="connsiteX1697" fmla="*/ 41035 w 235112"/>
                <a:gd name="connsiteY1697" fmla="*/ 814671 h 1139396"/>
                <a:gd name="connsiteX1698" fmla="*/ 44134 w 235112"/>
                <a:gd name="connsiteY1698" fmla="*/ 812505 h 1139396"/>
                <a:gd name="connsiteX1699" fmla="*/ 45106 w 235112"/>
                <a:gd name="connsiteY1699" fmla="*/ 809202 h 1139396"/>
                <a:gd name="connsiteX1700" fmla="*/ 46387 w 235112"/>
                <a:gd name="connsiteY1700" fmla="*/ 802776 h 1139396"/>
                <a:gd name="connsiteX1701" fmla="*/ 48064 w 235112"/>
                <a:gd name="connsiteY1701" fmla="*/ 801869 h 1139396"/>
                <a:gd name="connsiteX1702" fmla="*/ 50024 w 235112"/>
                <a:gd name="connsiteY1702" fmla="*/ 801665 h 1139396"/>
                <a:gd name="connsiteX1703" fmla="*/ 51048 w 235112"/>
                <a:gd name="connsiteY1703" fmla="*/ 803178 h 1139396"/>
                <a:gd name="connsiteX1704" fmla="*/ 50717 w 235112"/>
                <a:gd name="connsiteY1704" fmla="*/ 806567 h 1139396"/>
                <a:gd name="connsiteX1705" fmla="*/ 50711 w 235112"/>
                <a:gd name="connsiteY1705" fmla="*/ 809849 h 1139396"/>
                <a:gd name="connsiteX1706" fmla="*/ 48113 w 235112"/>
                <a:gd name="connsiteY1706" fmla="*/ 819594 h 1139396"/>
                <a:gd name="connsiteX1707" fmla="*/ 44964 w 235112"/>
                <a:gd name="connsiteY1707" fmla="*/ 823518 h 1139396"/>
                <a:gd name="connsiteX1708" fmla="*/ 44614 w 235112"/>
                <a:gd name="connsiteY1708" fmla="*/ 824550 h 1139396"/>
                <a:gd name="connsiteX1709" fmla="*/ 44738 w 235112"/>
                <a:gd name="connsiteY1709" fmla="*/ 825776 h 1139396"/>
                <a:gd name="connsiteX1710" fmla="*/ 47232 w 235112"/>
                <a:gd name="connsiteY1710" fmla="*/ 825598 h 1139396"/>
                <a:gd name="connsiteX1711" fmla="*/ 49137 w 235112"/>
                <a:gd name="connsiteY1711" fmla="*/ 823489 h 1139396"/>
                <a:gd name="connsiteX1712" fmla="*/ 50507 w 235112"/>
                <a:gd name="connsiteY1712" fmla="*/ 820799 h 1139396"/>
                <a:gd name="connsiteX1713" fmla="*/ 51880 w 235112"/>
                <a:gd name="connsiteY1713" fmla="*/ 817055 h 1139396"/>
                <a:gd name="connsiteX1714" fmla="*/ 51724 w 235112"/>
                <a:gd name="connsiteY1714" fmla="*/ 814345 h 1139396"/>
                <a:gd name="connsiteX1715" fmla="*/ 52143 w 235112"/>
                <a:gd name="connsiteY1715" fmla="*/ 812669 h 1139396"/>
                <a:gd name="connsiteX1716" fmla="*/ 52708 w 235112"/>
                <a:gd name="connsiteY1716" fmla="*/ 807194 h 1139396"/>
                <a:gd name="connsiteX1717" fmla="*/ 53660 w 235112"/>
                <a:gd name="connsiteY1717" fmla="*/ 804429 h 1139396"/>
                <a:gd name="connsiteX1718" fmla="*/ 53597 w 235112"/>
                <a:gd name="connsiteY1718" fmla="*/ 800563 h 1139396"/>
                <a:gd name="connsiteX1719" fmla="*/ 51882 w 235112"/>
                <a:gd name="connsiteY1719" fmla="*/ 799108 h 1139396"/>
                <a:gd name="connsiteX1720" fmla="*/ 49483 w 235112"/>
                <a:gd name="connsiteY1720" fmla="*/ 798226 h 1139396"/>
                <a:gd name="connsiteX1721" fmla="*/ 48880 w 235112"/>
                <a:gd name="connsiteY1721" fmla="*/ 795861 h 1139396"/>
                <a:gd name="connsiteX1722" fmla="*/ 50138 w 235112"/>
                <a:gd name="connsiteY1722" fmla="*/ 791199 h 1139396"/>
                <a:gd name="connsiteX1723" fmla="*/ 54723 w 235112"/>
                <a:gd name="connsiteY1723" fmla="*/ 791318 h 1139396"/>
                <a:gd name="connsiteX1724" fmla="*/ 59068 w 235112"/>
                <a:gd name="connsiteY1724" fmla="*/ 788139 h 1139396"/>
                <a:gd name="connsiteX1725" fmla="*/ 61917 w 235112"/>
                <a:gd name="connsiteY1725" fmla="*/ 786988 h 1139396"/>
                <a:gd name="connsiteX1726" fmla="*/ 63537 w 235112"/>
                <a:gd name="connsiteY1726" fmla="*/ 787227 h 1139396"/>
                <a:gd name="connsiteX1727" fmla="*/ 69220 w 235112"/>
                <a:gd name="connsiteY1727" fmla="*/ 790291 h 1139396"/>
                <a:gd name="connsiteX1728" fmla="*/ 70345 w 235112"/>
                <a:gd name="connsiteY1728" fmla="*/ 790329 h 1139396"/>
                <a:gd name="connsiteX1729" fmla="*/ 70169 w 235112"/>
                <a:gd name="connsiteY1729" fmla="*/ 789224 h 1139396"/>
                <a:gd name="connsiteX1730" fmla="*/ 69288 w 235112"/>
                <a:gd name="connsiteY1730" fmla="*/ 788447 h 1139396"/>
                <a:gd name="connsiteX1731" fmla="*/ 67048 w 235112"/>
                <a:gd name="connsiteY1731" fmla="*/ 787415 h 1139396"/>
                <a:gd name="connsiteX1732" fmla="*/ 62928 w 235112"/>
                <a:gd name="connsiteY1732" fmla="*/ 784126 h 1139396"/>
                <a:gd name="connsiteX1733" fmla="*/ 57385 w 235112"/>
                <a:gd name="connsiteY1733" fmla="*/ 783592 h 1139396"/>
                <a:gd name="connsiteX1734" fmla="*/ 58401 w 235112"/>
                <a:gd name="connsiteY1734" fmla="*/ 779327 h 1139396"/>
                <a:gd name="connsiteX1735" fmla="*/ 59478 w 235112"/>
                <a:gd name="connsiteY1735" fmla="*/ 775435 h 1139396"/>
                <a:gd name="connsiteX1736" fmla="*/ 62165 w 235112"/>
                <a:gd name="connsiteY1736" fmla="*/ 774897 h 1139396"/>
                <a:gd name="connsiteX1737" fmla="*/ 66679 w 235112"/>
                <a:gd name="connsiteY1737" fmla="*/ 773619 h 1139396"/>
                <a:gd name="connsiteX1738" fmla="*/ 75286 w 235112"/>
                <a:gd name="connsiteY1738" fmla="*/ 767798 h 1139396"/>
                <a:gd name="connsiteX1739" fmla="*/ 76779 w 235112"/>
                <a:gd name="connsiteY1739" fmla="*/ 763417 h 1139396"/>
                <a:gd name="connsiteX1740" fmla="*/ 77191 w 235112"/>
                <a:gd name="connsiteY1740" fmla="*/ 758505 h 1139396"/>
                <a:gd name="connsiteX1741" fmla="*/ 73040 w 235112"/>
                <a:gd name="connsiteY1741" fmla="*/ 757226 h 1139396"/>
                <a:gd name="connsiteX1742" fmla="*/ 68641 w 235112"/>
                <a:gd name="connsiteY1742" fmla="*/ 754019 h 1139396"/>
                <a:gd name="connsiteX1743" fmla="*/ 65093 w 235112"/>
                <a:gd name="connsiteY1743" fmla="*/ 752310 h 1139396"/>
                <a:gd name="connsiteX1744" fmla="*/ 61946 w 235112"/>
                <a:gd name="connsiteY1744" fmla="*/ 750170 h 1139396"/>
                <a:gd name="connsiteX1745" fmla="*/ 62564 w 235112"/>
                <a:gd name="connsiteY1745" fmla="*/ 746972 h 1139396"/>
                <a:gd name="connsiteX1746" fmla="*/ 62976 w 235112"/>
                <a:gd name="connsiteY1746" fmla="*/ 741767 h 1139396"/>
                <a:gd name="connsiteX1747" fmla="*/ 66923 w 235112"/>
                <a:gd name="connsiteY1747" fmla="*/ 740654 h 1139396"/>
                <a:gd name="connsiteX1748" fmla="*/ 68755 w 235112"/>
                <a:gd name="connsiteY1748" fmla="*/ 733520 h 1139396"/>
                <a:gd name="connsiteX1749" fmla="*/ 66107 w 235112"/>
                <a:gd name="connsiteY1749" fmla="*/ 728072 h 1139396"/>
                <a:gd name="connsiteX1750" fmla="*/ 66741 w 235112"/>
                <a:gd name="connsiteY1750" fmla="*/ 724014 h 1139396"/>
                <a:gd name="connsiteX1751" fmla="*/ 70189 w 235112"/>
                <a:gd name="connsiteY1751" fmla="*/ 720554 h 1139396"/>
                <a:gd name="connsiteX1752" fmla="*/ 70811 w 235112"/>
                <a:gd name="connsiteY1752" fmla="*/ 718161 h 1139396"/>
                <a:gd name="connsiteX1753" fmla="*/ 71760 w 235112"/>
                <a:gd name="connsiteY1753" fmla="*/ 715533 h 1139396"/>
                <a:gd name="connsiteX1754" fmla="*/ 74804 w 235112"/>
                <a:gd name="connsiteY1754" fmla="*/ 715265 h 1139396"/>
                <a:gd name="connsiteX1755" fmla="*/ 74870 w 235112"/>
                <a:gd name="connsiteY1755" fmla="*/ 713837 h 1139396"/>
                <a:gd name="connsiteX1756" fmla="*/ 74601 w 235112"/>
                <a:gd name="connsiteY1756" fmla="*/ 711234 h 1139396"/>
                <a:gd name="connsiteX1757" fmla="*/ 72599 w 235112"/>
                <a:gd name="connsiteY1757" fmla="*/ 708158 h 1139396"/>
                <a:gd name="connsiteX1758" fmla="*/ 72521 w 235112"/>
                <a:gd name="connsiteY1758" fmla="*/ 703902 h 1139396"/>
                <a:gd name="connsiteX1759" fmla="*/ 74400 w 235112"/>
                <a:gd name="connsiteY1759" fmla="*/ 698882 h 1139396"/>
                <a:gd name="connsiteX1760" fmla="*/ 77419 w 235112"/>
                <a:gd name="connsiteY1760" fmla="*/ 699232 h 1139396"/>
                <a:gd name="connsiteX1761" fmla="*/ 78003 w 235112"/>
                <a:gd name="connsiteY1761" fmla="*/ 699020 h 1139396"/>
                <a:gd name="connsiteX1762" fmla="*/ 75861 w 235112"/>
                <a:gd name="connsiteY1762" fmla="*/ 695987 h 1139396"/>
                <a:gd name="connsiteX1763" fmla="*/ 74114 w 235112"/>
                <a:gd name="connsiteY1763" fmla="*/ 692651 h 1139396"/>
                <a:gd name="connsiteX1764" fmla="*/ 74417 w 235112"/>
                <a:gd name="connsiteY1764" fmla="*/ 691322 h 1139396"/>
                <a:gd name="connsiteX1765" fmla="*/ 76087 w 235112"/>
                <a:gd name="connsiteY1765" fmla="*/ 690187 h 1139396"/>
                <a:gd name="connsiteX1766" fmla="*/ 78023 w 235112"/>
                <a:gd name="connsiteY1766" fmla="*/ 689555 h 1139396"/>
                <a:gd name="connsiteX1767" fmla="*/ 80118 w 235112"/>
                <a:gd name="connsiteY1767" fmla="*/ 691262 h 1139396"/>
                <a:gd name="connsiteX1768" fmla="*/ 83114 w 235112"/>
                <a:gd name="connsiteY1768" fmla="*/ 696702 h 1139396"/>
                <a:gd name="connsiteX1769" fmla="*/ 83568 w 235112"/>
                <a:gd name="connsiteY1769" fmla="*/ 695306 h 1139396"/>
                <a:gd name="connsiteX1770" fmla="*/ 82357 w 235112"/>
                <a:gd name="connsiteY1770" fmla="*/ 689765 h 1139396"/>
                <a:gd name="connsiteX1771" fmla="*/ 81361 w 235112"/>
                <a:gd name="connsiteY1771" fmla="*/ 682884 h 1139396"/>
                <a:gd name="connsiteX1772" fmla="*/ 78203 w 235112"/>
                <a:gd name="connsiteY1772" fmla="*/ 683788 h 1139396"/>
                <a:gd name="connsiteX1773" fmla="*/ 75306 w 235112"/>
                <a:gd name="connsiteY1773" fmla="*/ 683304 h 1139396"/>
                <a:gd name="connsiteX1774" fmla="*/ 74215 w 235112"/>
                <a:gd name="connsiteY1774" fmla="*/ 682237 h 1139396"/>
                <a:gd name="connsiteX1775" fmla="*/ 73128 w 235112"/>
                <a:gd name="connsiteY1775" fmla="*/ 680692 h 1139396"/>
                <a:gd name="connsiteX1776" fmla="*/ 74149 w 235112"/>
                <a:gd name="connsiteY1776" fmla="*/ 678807 h 1139396"/>
                <a:gd name="connsiteX1777" fmla="*/ 75166 w 235112"/>
                <a:gd name="connsiteY1777" fmla="*/ 677402 h 1139396"/>
                <a:gd name="connsiteX1778" fmla="*/ 77292 w 235112"/>
                <a:gd name="connsiteY1778" fmla="*/ 675637 h 1139396"/>
                <a:gd name="connsiteX1779" fmla="*/ 81700 w 235112"/>
                <a:gd name="connsiteY1779" fmla="*/ 675017 h 1139396"/>
                <a:gd name="connsiteX1780" fmla="*/ 84886 w 235112"/>
                <a:gd name="connsiteY1780" fmla="*/ 672802 h 1139396"/>
                <a:gd name="connsiteX1781" fmla="*/ 85954 w 235112"/>
                <a:gd name="connsiteY1781" fmla="*/ 668251 h 1139396"/>
                <a:gd name="connsiteX1782" fmla="*/ 84909 w 235112"/>
                <a:gd name="connsiteY1782" fmla="*/ 668701 h 1139396"/>
                <a:gd name="connsiteX1783" fmla="*/ 83178 w 235112"/>
                <a:gd name="connsiteY1783" fmla="*/ 672705 h 1139396"/>
                <a:gd name="connsiteX1784" fmla="*/ 80271 w 235112"/>
                <a:gd name="connsiteY1784" fmla="*/ 674063 h 1139396"/>
                <a:gd name="connsiteX1785" fmla="*/ 78789 w 235112"/>
                <a:gd name="connsiteY1785" fmla="*/ 673864 h 1139396"/>
                <a:gd name="connsiteX1786" fmla="*/ 77041 w 235112"/>
                <a:gd name="connsiteY1786" fmla="*/ 673113 h 1139396"/>
                <a:gd name="connsiteX1787" fmla="*/ 73609 w 235112"/>
                <a:gd name="connsiteY1787" fmla="*/ 669625 h 1139396"/>
                <a:gd name="connsiteX1788" fmla="*/ 71711 w 235112"/>
                <a:gd name="connsiteY1788" fmla="*/ 668813 h 1139396"/>
                <a:gd name="connsiteX1789" fmla="*/ 69864 w 235112"/>
                <a:gd name="connsiteY1789" fmla="*/ 668728 h 1139396"/>
                <a:gd name="connsiteX1790" fmla="*/ 68288 w 235112"/>
                <a:gd name="connsiteY1790" fmla="*/ 669610 h 1139396"/>
                <a:gd name="connsiteX1791" fmla="*/ 64254 w 235112"/>
                <a:gd name="connsiteY1791" fmla="*/ 675761 h 1139396"/>
                <a:gd name="connsiteX1792" fmla="*/ 62536 w 235112"/>
                <a:gd name="connsiteY1792" fmla="*/ 676802 h 1139396"/>
                <a:gd name="connsiteX1793" fmla="*/ 55449 w 235112"/>
                <a:gd name="connsiteY1793" fmla="*/ 677295 h 1139396"/>
                <a:gd name="connsiteX1794" fmla="*/ 52844 w 235112"/>
                <a:gd name="connsiteY1794" fmla="*/ 676583 h 1139396"/>
                <a:gd name="connsiteX1795" fmla="*/ 50027 w 235112"/>
                <a:gd name="connsiteY1795" fmla="*/ 675637 h 1139396"/>
                <a:gd name="connsiteX1796" fmla="*/ 50364 w 235112"/>
                <a:gd name="connsiteY1796" fmla="*/ 674119 h 1139396"/>
                <a:gd name="connsiteX1797" fmla="*/ 51220 w 235112"/>
                <a:gd name="connsiteY1797" fmla="*/ 672503 h 1139396"/>
                <a:gd name="connsiteX1798" fmla="*/ 52819 w 235112"/>
                <a:gd name="connsiteY1798" fmla="*/ 671674 h 1139396"/>
                <a:gd name="connsiteX1799" fmla="*/ 52847 w 235112"/>
                <a:gd name="connsiteY1799" fmla="*/ 670746 h 1139396"/>
                <a:gd name="connsiteX1800" fmla="*/ 50648 w 235112"/>
                <a:gd name="connsiteY1800" fmla="*/ 670512 h 1139396"/>
                <a:gd name="connsiteX1801" fmla="*/ 48110 w 235112"/>
                <a:gd name="connsiteY1801" fmla="*/ 668811 h 1139396"/>
                <a:gd name="connsiteX1802" fmla="*/ 46988 w 235112"/>
                <a:gd name="connsiteY1802" fmla="*/ 666656 h 1139396"/>
                <a:gd name="connsiteX1803" fmla="*/ 46451 w 235112"/>
                <a:gd name="connsiteY1803" fmla="*/ 662811 h 1139396"/>
                <a:gd name="connsiteX1804" fmla="*/ 44177 w 235112"/>
                <a:gd name="connsiteY1804" fmla="*/ 656734 h 1139396"/>
                <a:gd name="connsiteX1805" fmla="*/ 43728 w 235112"/>
                <a:gd name="connsiteY1805" fmla="*/ 652390 h 1139396"/>
                <a:gd name="connsiteX1806" fmla="*/ 45332 w 235112"/>
                <a:gd name="connsiteY1806" fmla="*/ 649292 h 1139396"/>
                <a:gd name="connsiteX1807" fmla="*/ 48787 w 235112"/>
                <a:gd name="connsiteY1807" fmla="*/ 637168 h 1139396"/>
                <a:gd name="connsiteX1808" fmla="*/ 49841 w 235112"/>
                <a:gd name="connsiteY1808" fmla="*/ 631005 h 1139396"/>
                <a:gd name="connsiteX1809" fmla="*/ 51693 w 235112"/>
                <a:gd name="connsiteY1809" fmla="*/ 625594 h 1139396"/>
                <a:gd name="connsiteX1810" fmla="*/ 51654 w 235112"/>
                <a:gd name="connsiteY1810" fmla="*/ 622032 h 1139396"/>
                <a:gd name="connsiteX1811" fmla="*/ 56440 w 235112"/>
                <a:gd name="connsiteY1811" fmla="*/ 618778 h 1139396"/>
                <a:gd name="connsiteX1812" fmla="*/ 58261 w 235112"/>
                <a:gd name="connsiteY1812" fmla="*/ 616833 h 1139396"/>
                <a:gd name="connsiteX1813" fmla="*/ 62331 w 235112"/>
                <a:gd name="connsiteY1813" fmla="*/ 605904 h 1139396"/>
                <a:gd name="connsiteX1814" fmla="*/ 62925 w 235112"/>
                <a:gd name="connsiteY1814" fmla="*/ 600020 h 1139396"/>
                <a:gd name="connsiteX1815" fmla="*/ 56477 w 235112"/>
                <a:gd name="connsiteY1815" fmla="*/ 582234 h 1139396"/>
                <a:gd name="connsiteX1816" fmla="*/ 55477 w 235112"/>
                <a:gd name="connsiteY1816" fmla="*/ 578847 h 1139396"/>
                <a:gd name="connsiteX1817" fmla="*/ 55164 w 235112"/>
                <a:gd name="connsiteY1817" fmla="*/ 574640 h 1139396"/>
                <a:gd name="connsiteX1818" fmla="*/ 56703 w 235112"/>
                <a:gd name="connsiteY1818" fmla="*/ 567667 h 1139396"/>
                <a:gd name="connsiteX1819" fmla="*/ 56882 w 235112"/>
                <a:gd name="connsiteY1819" fmla="*/ 565027 h 1139396"/>
                <a:gd name="connsiteX1820" fmla="*/ 55565 w 235112"/>
                <a:gd name="connsiteY1820" fmla="*/ 561212 h 1139396"/>
                <a:gd name="connsiteX1821" fmla="*/ 51886 w 235112"/>
                <a:gd name="connsiteY1821" fmla="*/ 554989 h 1139396"/>
                <a:gd name="connsiteX1822" fmla="*/ 51815 w 235112"/>
                <a:gd name="connsiteY1822" fmla="*/ 551820 h 1139396"/>
                <a:gd name="connsiteX1823" fmla="*/ 53367 w 235112"/>
                <a:gd name="connsiteY1823" fmla="*/ 548560 h 1139396"/>
                <a:gd name="connsiteX1824" fmla="*/ 51872 w 235112"/>
                <a:gd name="connsiteY1824" fmla="*/ 544520 h 1139396"/>
                <a:gd name="connsiteX1825" fmla="*/ 52601 w 235112"/>
                <a:gd name="connsiteY1825" fmla="*/ 542019 h 1139396"/>
                <a:gd name="connsiteX1826" fmla="*/ 53412 w 235112"/>
                <a:gd name="connsiteY1826" fmla="*/ 540062 h 1139396"/>
                <a:gd name="connsiteX1827" fmla="*/ 59170 w 235112"/>
                <a:gd name="connsiteY1827" fmla="*/ 541109 h 1139396"/>
                <a:gd name="connsiteX1828" fmla="*/ 61794 w 235112"/>
                <a:gd name="connsiteY1828" fmla="*/ 540615 h 1139396"/>
                <a:gd name="connsiteX1829" fmla="*/ 63191 w 235112"/>
                <a:gd name="connsiteY1829" fmla="*/ 539431 h 1139396"/>
                <a:gd name="connsiteX1830" fmla="*/ 64285 w 235112"/>
                <a:gd name="connsiteY1830" fmla="*/ 536122 h 1139396"/>
                <a:gd name="connsiteX1831" fmla="*/ 64832 w 235112"/>
                <a:gd name="connsiteY1831" fmla="*/ 530952 h 1139396"/>
                <a:gd name="connsiteX1832" fmla="*/ 65174 w 235112"/>
                <a:gd name="connsiteY1832" fmla="*/ 528731 h 1139396"/>
                <a:gd name="connsiteX1833" fmla="*/ 65673 w 235112"/>
                <a:gd name="connsiteY1833" fmla="*/ 525485 h 1139396"/>
                <a:gd name="connsiteX1834" fmla="*/ 68500 w 235112"/>
                <a:gd name="connsiteY1834" fmla="*/ 524179 h 1139396"/>
                <a:gd name="connsiteX1835" fmla="*/ 69484 w 235112"/>
                <a:gd name="connsiteY1835" fmla="*/ 521107 h 1139396"/>
                <a:gd name="connsiteX1836" fmla="*/ 71849 w 235112"/>
                <a:gd name="connsiteY1836" fmla="*/ 516828 h 1139396"/>
                <a:gd name="connsiteX1837" fmla="*/ 74285 w 235112"/>
                <a:gd name="connsiteY1837" fmla="*/ 504892 h 1139396"/>
                <a:gd name="connsiteX1838" fmla="*/ 76696 w 235112"/>
                <a:gd name="connsiteY1838" fmla="*/ 501955 h 1139396"/>
                <a:gd name="connsiteX1839" fmla="*/ 79130 w 235112"/>
                <a:gd name="connsiteY1839" fmla="*/ 498565 h 1139396"/>
                <a:gd name="connsiteX1840" fmla="*/ 78204 w 235112"/>
                <a:gd name="connsiteY1840" fmla="*/ 493545 h 1139396"/>
                <a:gd name="connsiteX1841" fmla="*/ 79772 w 235112"/>
                <a:gd name="connsiteY1841" fmla="*/ 491228 h 1139396"/>
                <a:gd name="connsiteX1842" fmla="*/ 81215 w 235112"/>
                <a:gd name="connsiteY1842" fmla="*/ 489544 h 1139396"/>
                <a:gd name="connsiteX1843" fmla="*/ 82487 w 235112"/>
                <a:gd name="connsiteY1843" fmla="*/ 486487 h 1139396"/>
                <a:gd name="connsiteX1844" fmla="*/ 84218 w 235112"/>
                <a:gd name="connsiteY1844" fmla="*/ 483599 h 1139396"/>
                <a:gd name="connsiteX1845" fmla="*/ 88350 w 235112"/>
                <a:gd name="connsiteY1845" fmla="*/ 479451 h 1139396"/>
                <a:gd name="connsiteX1846" fmla="*/ 89399 w 235112"/>
                <a:gd name="connsiteY1846" fmla="*/ 474397 h 1139396"/>
                <a:gd name="connsiteX1847" fmla="*/ 92605 w 235112"/>
                <a:gd name="connsiteY1847" fmla="*/ 465671 h 1139396"/>
                <a:gd name="connsiteX1848" fmla="*/ 93244 w 235112"/>
                <a:gd name="connsiteY1848" fmla="*/ 460082 h 1139396"/>
                <a:gd name="connsiteX1849" fmla="*/ 94239 w 235112"/>
                <a:gd name="connsiteY1849" fmla="*/ 456308 h 1139396"/>
                <a:gd name="connsiteX1850" fmla="*/ 93952 w 235112"/>
                <a:gd name="connsiteY1850" fmla="*/ 452791 h 1139396"/>
                <a:gd name="connsiteX1851" fmla="*/ 95879 w 235112"/>
                <a:gd name="connsiteY1851" fmla="*/ 448520 h 1139396"/>
                <a:gd name="connsiteX1852" fmla="*/ 97727 w 235112"/>
                <a:gd name="connsiteY1852" fmla="*/ 444928 h 1139396"/>
                <a:gd name="connsiteX1853" fmla="*/ 98311 w 235112"/>
                <a:gd name="connsiteY1853" fmla="*/ 442932 h 1139396"/>
                <a:gd name="connsiteX1854" fmla="*/ 102535 w 235112"/>
                <a:gd name="connsiteY1854" fmla="*/ 438184 h 1139396"/>
                <a:gd name="connsiteX1855" fmla="*/ 103247 w 235112"/>
                <a:gd name="connsiteY1855" fmla="*/ 434393 h 1139396"/>
                <a:gd name="connsiteX1856" fmla="*/ 101745 w 235112"/>
                <a:gd name="connsiteY1856" fmla="*/ 431829 h 1139396"/>
                <a:gd name="connsiteX1857" fmla="*/ 101718 w 235112"/>
                <a:gd name="connsiteY1857" fmla="*/ 427858 h 1139396"/>
                <a:gd name="connsiteX1858" fmla="*/ 100542 w 235112"/>
                <a:gd name="connsiteY1858" fmla="*/ 422360 h 1139396"/>
                <a:gd name="connsiteX1859" fmla="*/ 103266 w 235112"/>
                <a:gd name="connsiteY1859" fmla="*/ 420305 h 1139396"/>
                <a:gd name="connsiteX1860" fmla="*/ 104369 w 235112"/>
                <a:gd name="connsiteY1860" fmla="*/ 418804 h 1139396"/>
                <a:gd name="connsiteX1861" fmla="*/ 107913 w 235112"/>
                <a:gd name="connsiteY1861" fmla="*/ 410041 h 1139396"/>
                <a:gd name="connsiteX1862" fmla="*/ 107681 w 235112"/>
                <a:gd name="connsiteY1862" fmla="*/ 406606 h 1139396"/>
                <a:gd name="connsiteX1863" fmla="*/ 108699 w 235112"/>
                <a:gd name="connsiteY1863" fmla="*/ 402344 h 1139396"/>
                <a:gd name="connsiteX1864" fmla="*/ 106372 w 235112"/>
                <a:gd name="connsiteY1864" fmla="*/ 397304 h 1139396"/>
                <a:gd name="connsiteX1865" fmla="*/ 106047 w 235112"/>
                <a:gd name="connsiteY1865" fmla="*/ 386000 h 1139396"/>
                <a:gd name="connsiteX1866" fmla="*/ 104743 w 235112"/>
                <a:gd name="connsiteY1866" fmla="*/ 377318 h 1139396"/>
                <a:gd name="connsiteX1867" fmla="*/ 102596 w 235112"/>
                <a:gd name="connsiteY1867" fmla="*/ 368169 h 1139396"/>
                <a:gd name="connsiteX1868" fmla="*/ 102800 w 235112"/>
                <a:gd name="connsiteY1868" fmla="*/ 363058 h 1139396"/>
                <a:gd name="connsiteX1869" fmla="*/ 101487 w 235112"/>
                <a:gd name="connsiteY1869" fmla="*/ 356712 h 1139396"/>
                <a:gd name="connsiteX1870" fmla="*/ 101405 w 235112"/>
                <a:gd name="connsiteY1870" fmla="*/ 353053 h 1139396"/>
                <a:gd name="connsiteX1871" fmla="*/ 102405 w 235112"/>
                <a:gd name="connsiteY1871" fmla="*/ 344766 h 1139396"/>
                <a:gd name="connsiteX1872" fmla="*/ 109229 w 235112"/>
                <a:gd name="connsiteY1872" fmla="*/ 339557 h 1139396"/>
                <a:gd name="connsiteX1873" fmla="*/ 110555 w 235112"/>
                <a:gd name="connsiteY1873" fmla="*/ 333734 h 1139396"/>
                <a:gd name="connsiteX1874" fmla="*/ 111375 w 235112"/>
                <a:gd name="connsiteY1874" fmla="*/ 325875 h 1139396"/>
                <a:gd name="connsiteX1875" fmla="*/ 111097 w 235112"/>
                <a:gd name="connsiteY1875" fmla="*/ 320159 h 1139396"/>
                <a:gd name="connsiteX1876" fmla="*/ 110422 w 235112"/>
                <a:gd name="connsiteY1876" fmla="*/ 317593 h 1139396"/>
                <a:gd name="connsiteX1877" fmla="*/ 107061 w 235112"/>
                <a:gd name="connsiteY1877" fmla="*/ 313389 h 1139396"/>
                <a:gd name="connsiteX1878" fmla="*/ 106215 w 235112"/>
                <a:gd name="connsiteY1878" fmla="*/ 305888 h 1139396"/>
                <a:gd name="connsiteX1879" fmla="*/ 106865 w 235112"/>
                <a:gd name="connsiteY1879" fmla="*/ 303925 h 1139396"/>
                <a:gd name="connsiteX1880" fmla="*/ 109643 w 235112"/>
                <a:gd name="connsiteY1880" fmla="*/ 301816 h 1139396"/>
                <a:gd name="connsiteX1881" fmla="*/ 111602 w 235112"/>
                <a:gd name="connsiteY1881" fmla="*/ 298890 h 1139396"/>
                <a:gd name="connsiteX1882" fmla="*/ 112615 w 235112"/>
                <a:gd name="connsiteY1882" fmla="*/ 294350 h 1139396"/>
                <a:gd name="connsiteX1883" fmla="*/ 114654 w 235112"/>
                <a:gd name="connsiteY1883" fmla="*/ 290785 h 1139396"/>
                <a:gd name="connsiteX1884" fmla="*/ 115463 w 235112"/>
                <a:gd name="connsiteY1884" fmla="*/ 282168 h 1139396"/>
                <a:gd name="connsiteX1885" fmla="*/ 117187 w 235112"/>
                <a:gd name="connsiteY1885" fmla="*/ 275325 h 1139396"/>
                <a:gd name="connsiteX1886" fmla="*/ 118046 w 235112"/>
                <a:gd name="connsiteY1886" fmla="*/ 272938 h 1139396"/>
                <a:gd name="connsiteX1887" fmla="*/ 120755 w 235112"/>
                <a:gd name="connsiteY1887" fmla="*/ 269942 h 1139396"/>
                <a:gd name="connsiteX1888" fmla="*/ 121262 w 235112"/>
                <a:gd name="connsiteY1888" fmla="*/ 269143 h 1139396"/>
                <a:gd name="connsiteX1889" fmla="*/ 121681 w 235112"/>
                <a:gd name="connsiteY1889" fmla="*/ 266858 h 1139396"/>
                <a:gd name="connsiteX1890" fmla="*/ 121555 w 235112"/>
                <a:gd name="connsiteY1890" fmla="*/ 261466 h 1139396"/>
                <a:gd name="connsiteX1891" fmla="*/ 121970 w 235112"/>
                <a:gd name="connsiteY1891" fmla="*/ 258179 h 1139396"/>
                <a:gd name="connsiteX1892" fmla="*/ 124129 w 235112"/>
                <a:gd name="connsiteY1892" fmla="*/ 251715 h 1139396"/>
                <a:gd name="connsiteX1893" fmla="*/ 124378 w 235112"/>
                <a:gd name="connsiteY1893" fmla="*/ 248725 h 1139396"/>
                <a:gd name="connsiteX1894" fmla="*/ 126775 w 235112"/>
                <a:gd name="connsiteY1894" fmla="*/ 242084 h 1139396"/>
                <a:gd name="connsiteX1895" fmla="*/ 127318 w 235112"/>
                <a:gd name="connsiteY1895" fmla="*/ 237319 h 1139396"/>
                <a:gd name="connsiteX1896" fmla="*/ 128342 w 235112"/>
                <a:gd name="connsiteY1896" fmla="*/ 234808 h 1139396"/>
                <a:gd name="connsiteX1897" fmla="*/ 127944 w 235112"/>
                <a:gd name="connsiteY1897" fmla="*/ 231982 h 1139396"/>
                <a:gd name="connsiteX1898" fmla="*/ 128624 w 235112"/>
                <a:gd name="connsiteY1898" fmla="*/ 225667 h 1139396"/>
                <a:gd name="connsiteX1899" fmla="*/ 126997 w 235112"/>
                <a:gd name="connsiteY1899" fmla="*/ 222100 h 1139396"/>
                <a:gd name="connsiteX1900" fmla="*/ 126639 w 235112"/>
                <a:gd name="connsiteY1900" fmla="*/ 220015 h 1139396"/>
                <a:gd name="connsiteX1901" fmla="*/ 128686 w 235112"/>
                <a:gd name="connsiteY1901" fmla="*/ 213554 h 1139396"/>
                <a:gd name="connsiteX1902" fmla="*/ 130078 w 235112"/>
                <a:gd name="connsiteY1902" fmla="*/ 211983 h 1139396"/>
                <a:gd name="connsiteX1903" fmla="*/ 132325 w 235112"/>
                <a:gd name="connsiteY1903" fmla="*/ 208980 h 1139396"/>
                <a:gd name="connsiteX1904" fmla="*/ 133271 w 235112"/>
                <a:gd name="connsiteY1904" fmla="*/ 205612 h 1139396"/>
                <a:gd name="connsiteX1905" fmla="*/ 133445 w 235112"/>
                <a:gd name="connsiteY1905" fmla="*/ 203472 h 1139396"/>
                <a:gd name="connsiteX1906" fmla="*/ 130571 w 235112"/>
                <a:gd name="connsiteY1906" fmla="*/ 192839 h 1139396"/>
                <a:gd name="connsiteX1907" fmla="*/ 130179 w 235112"/>
                <a:gd name="connsiteY1907" fmla="*/ 189223 h 1139396"/>
                <a:gd name="connsiteX1908" fmla="*/ 130881 w 235112"/>
                <a:gd name="connsiteY1908" fmla="*/ 180807 h 1139396"/>
                <a:gd name="connsiteX1909" fmla="*/ 131871 w 235112"/>
                <a:gd name="connsiteY1909" fmla="*/ 175379 h 1139396"/>
                <a:gd name="connsiteX1910" fmla="*/ 131551 w 235112"/>
                <a:gd name="connsiteY1910" fmla="*/ 171051 h 1139396"/>
                <a:gd name="connsiteX1911" fmla="*/ 131871 w 235112"/>
                <a:gd name="connsiteY1911" fmla="*/ 168829 h 1139396"/>
                <a:gd name="connsiteX1912" fmla="*/ 132368 w 235112"/>
                <a:gd name="connsiteY1912" fmla="*/ 166038 h 1139396"/>
                <a:gd name="connsiteX1913" fmla="*/ 134342 w 235112"/>
                <a:gd name="connsiteY1913" fmla="*/ 162655 h 1139396"/>
                <a:gd name="connsiteX1914" fmla="*/ 134789 w 235112"/>
                <a:gd name="connsiteY1914" fmla="*/ 160253 h 1139396"/>
                <a:gd name="connsiteX1915" fmla="*/ 134096 w 235112"/>
                <a:gd name="connsiteY1915" fmla="*/ 159250 h 1139396"/>
                <a:gd name="connsiteX1916" fmla="*/ 131756 w 235112"/>
                <a:gd name="connsiteY1916" fmla="*/ 158027 h 1139396"/>
                <a:gd name="connsiteX1917" fmla="*/ 129824 w 235112"/>
                <a:gd name="connsiteY1917" fmla="*/ 154962 h 1139396"/>
                <a:gd name="connsiteX1918" fmla="*/ 129692 w 235112"/>
                <a:gd name="connsiteY1918" fmla="*/ 151941 h 1139396"/>
                <a:gd name="connsiteX1919" fmla="*/ 130313 w 235112"/>
                <a:gd name="connsiteY1919" fmla="*/ 149744 h 1139396"/>
                <a:gd name="connsiteX1920" fmla="*/ 130457 w 235112"/>
                <a:gd name="connsiteY1920" fmla="*/ 146634 h 1139396"/>
                <a:gd name="connsiteX1921" fmla="*/ 133335 w 235112"/>
                <a:gd name="connsiteY1921" fmla="*/ 146023 h 1139396"/>
                <a:gd name="connsiteX1922" fmla="*/ 134869 w 235112"/>
                <a:gd name="connsiteY1922" fmla="*/ 144298 h 1139396"/>
                <a:gd name="connsiteX1923" fmla="*/ 136327 w 235112"/>
                <a:gd name="connsiteY1923" fmla="*/ 141067 h 1139396"/>
                <a:gd name="connsiteX1924" fmla="*/ 138157 w 235112"/>
                <a:gd name="connsiteY1924" fmla="*/ 133259 h 1139396"/>
                <a:gd name="connsiteX1925" fmla="*/ 138942 w 235112"/>
                <a:gd name="connsiteY1925" fmla="*/ 123590 h 1139396"/>
                <a:gd name="connsiteX1926" fmla="*/ 140035 w 235112"/>
                <a:gd name="connsiteY1926" fmla="*/ 117773 h 1139396"/>
                <a:gd name="connsiteX1927" fmla="*/ 140805 w 235112"/>
                <a:gd name="connsiteY1927" fmla="*/ 114901 h 1139396"/>
                <a:gd name="connsiteX1928" fmla="*/ 141451 w 235112"/>
                <a:gd name="connsiteY1928" fmla="*/ 108901 h 1139396"/>
                <a:gd name="connsiteX1929" fmla="*/ 142517 w 235112"/>
                <a:gd name="connsiteY1929" fmla="*/ 104978 h 1139396"/>
                <a:gd name="connsiteX1930" fmla="*/ 142708 w 235112"/>
                <a:gd name="connsiteY1930" fmla="*/ 101363 h 1139396"/>
                <a:gd name="connsiteX1931" fmla="*/ 142496 w 235112"/>
                <a:gd name="connsiteY1931" fmla="*/ 98615 h 1139396"/>
                <a:gd name="connsiteX1932" fmla="*/ 139742 w 235112"/>
                <a:gd name="connsiteY1932" fmla="*/ 84636 h 1139396"/>
                <a:gd name="connsiteX1933" fmla="*/ 139827 w 235112"/>
                <a:gd name="connsiteY1933" fmla="*/ 79506 h 1139396"/>
                <a:gd name="connsiteX1934" fmla="*/ 140999 w 235112"/>
                <a:gd name="connsiteY1934" fmla="*/ 71537 h 1139396"/>
                <a:gd name="connsiteX1935" fmla="*/ 140980 w 235112"/>
                <a:gd name="connsiteY1935" fmla="*/ 60333 h 1139396"/>
                <a:gd name="connsiteX1936" fmla="*/ 140745 w 235112"/>
                <a:gd name="connsiteY1936" fmla="*/ 57719 h 1139396"/>
                <a:gd name="connsiteX1937" fmla="*/ 139707 w 235112"/>
                <a:gd name="connsiteY1937" fmla="*/ 55272 h 1139396"/>
                <a:gd name="connsiteX1938" fmla="*/ 139402 w 235112"/>
                <a:gd name="connsiteY1938" fmla="*/ 51952 h 1139396"/>
                <a:gd name="connsiteX1939" fmla="*/ 137744 w 235112"/>
                <a:gd name="connsiteY1939" fmla="*/ 46180 h 1139396"/>
                <a:gd name="connsiteX1940" fmla="*/ 136247 w 235112"/>
                <a:gd name="connsiteY1940" fmla="*/ 34616 h 1139396"/>
                <a:gd name="connsiteX1941" fmla="*/ 136216 w 235112"/>
                <a:gd name="connsiteY1941" fmla="*/ 28519 h 1139396"/>
                <a:gd name="connsiteX1942" fmla="*/ 135568 w 235112"/>
                <a:gd name="connsiteY1942" fmla="*/ 23348 h 1139396"/>
                <a:gd name="connsiteX1943" fmla="*/ 134132 w 235112"/>
                <a:gd name="connsiteY1943" fmla="*/ 21973 h 1139396"/>
                <a:gd name="connsiteX1944" fmla="*/ 135165 w 235112"/>
                <a:gd name="connsiteY1944" fmla="*/ 21658 h 1139396"/>
                <a:gd name="connsiteX1945" fmla="*/ 137580 w 235112"/>
                <a:gd name="connsiteY1945" fmla="*/ 21442 h 1139396"/>
                <a:gd name="connsiteX1946" fmla="*/ 140077 w 235112"/>
                <a:gd name="connsiteY1946" fmla="*/ 21438 h 1139396"/>
                <a:gd name="connsiteX1947" fmla="*/ 143239 w 235112"/>
                <a:gd name="connsiteY1947" fmla="*/ 20345 h 1139396"/>
                <a:gd name="connsiteX1948" fmla="*/ 146604 w 235112"/>
                <a:gd name="connsiteY1948" fmla="*/ 18315 h 1139396"/>
                <a:gd name="connsiteX1949" fmla="*/ 148802 w 235112"/>
                <a:gd name="connsiteY1949" fmla="*/ 15367 h 1139396"/>
                <a:gd name="connsiteX1950" fmla="*/ 149742 w 235112"/>
                <a:gd name="connsiteY1950" fmla="*/ 12664 h 1139396"/>
                <a:gd name="connsiteX1951" fmla="*/ 149747 w 235112"/>
                <a:gd name="connsiteY1951" fmla="*/ 10302 h 1139396"/>
                <a:gd name="connsiteX1952" fmla="*/ 148756 w 235112"/>
                <a:gd name="connsiteY1952" fmla="*/ 7297 h 1139396"/>
                <a:gd name="connsiteX1953" fmla="*/ 148488 w 235112"/>
                <a:gd name="connsiteY1953" fmla="*/ 5169 h 1139396"/>
                <a:gd name="connsiteX1954" fmla="*/ 149654 w 235112"/>
                <a:gd name="connsiteY1954" fmla="*/ 4153 h 1139396"/>
                <a:gd name="connsiteX1955" fmla="*/ 152731 w 235112"/>
                <a:gd name="connsiteY1955" fmla="*/ 3758 h 1139396"/>
                <a:gd name="connsiteX1956" fmla="*/ 155224 w 235112"/>
                <a:gd name="connsiteY1956" fmla="*/ 1755 h 113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</a:cxnLst>
              <a:rect l="l" t="t" r="r" b="b"/>
              <a:pathLst>
                <a:path w="235112" h="1139396">
                  <a:moveTo>
                    <a:pt x="201483" y="1136700"/>
                  </a:moveTo>
                  <a:lnTo>
                    <a:pt x="206992" y="1137052"/>
                  </a:lnTo>
                  <a:lnTo>
                    <a:pt x="207689" y="1137295"/>
                  </a:lnTo>
                  <a:lnTo>
                    <a:pt x="207879" y="1137706"/>
                  </a:lnTo>
                  <a:lnTo>
                    <a:pt x="206980" y="1138887"/>
                  </a:lnTo>
                  <a:lnTo>
                    <a:pt x="206221" y="1139323"/>
                  </a:lnTo>
                  <a:lnTo>
                    <a:pt x="205302" y="1139396"/>
                  </a:lnTo>
                  <a:lnTo>
                    <a:pt x="203069" y="1138733"/>
                  </a:lnTo>
                  <a:lnTo>
                    <a:pt x="199720" y="1138437"/>
                  </a:lnTo>
                  <a:lnTo>
                    <a:pt x="199343" y="1138166"/>
                  </a:lnTo>
                  <a:lnTo>
                    <a:pt x="199260" y="1137644"/>
                  </a:lnTo>
                  <a:lnTo>
                    <a:pt x="199656" y="1137107"/>
                  </a:lnTo>
                  <a:close/>
                  <a:moveTo>
                    <a:pt x="210730" y="1128481"/>
                  </a:moveTo>
                  <a:lnTo>
                    <a:pt x="211321" y="1128629"/>
                  </a:lnTo>
                  <a:lnTo>
                    <a:pt x="211916" y="1129439"/>
                  </a:lnTo>
                  <a:lnTo>
                    <a:pt x="212934" y="1132161"/>
                  </a:lnTo>
                  <a:lnTo>
                    <a:pt x="214151" y="1134122"/>
                  </a:lnTo>
                  <a:lnTo>
                    <a:pt x="214028" y="1134800"/>
                  </a:lnTo>
                  <a:lnTo>
                    <a:pt x="213481" y="1135301"/>
                  </a:lnTo>
                  <a:lnTo>
                    <a:pt x="212558" y="1135583"/>
                  </a:lnTo>
                  <a:lnTo>
                    <a:pt x="211875" y="1134915"/>
                  </a:lnTo>
                  <a:lnTo>
                    <a:pt x="210832" y="1134442"/>
                  </a:lnTo>
                  <a:lnTo>
                    <a:pt x="206608" y="1133447"/>
                  </a:lnTo>
                  <a:lnTo>
                    <a:pt x="206518" y="1132842"/>
                  </a:lnTo>
                  <a:lnTo>
                    <a:pt x="206957" y="1131983"/>
                  </a:lnTo>
                  <a:lnTo>
                    <a:pt x="207804" y="1131213"/>
                  </a:lnTo>
                  <a:lnTo>
                    <a:pt x="209425" y="1130453"/>
                  </a:lnTo>
                  <a:close/>
                  <a:moveTo>
                    <a:pt x="232898" y="1113613"/>
                  </a:moveTo>
                  <a:lnTo>
                    <a:pt x="235112" y="1114470"/>
                  </a:lnTo>
                  <a:lnTo>
                    <a:pt x="234191" y="1115861"/>
                  </a:lnTo>
                  <a:lnTo>
                    <a:pt x="232173" y="1117408"/>
                  </a:lnTo>
                  <a:lnTo>
                    <a:pt x="230666" y="1117305"/>
                  </a:lnTo>
                  <a:lnTo>
                    <a:pt x="230183" y="1116745"/>
                  </a:lnTo>
                  <a:lnTo>
                    <a:pt x="230020" y="1116047"/>
                  </a:lnTo>
                  <a:lnTo>
                    <a:pt x="230321" y="1115294"/>
                  </a:lnTo>
                  <a:lnTo>
                    <a:pt x="230956" y="1114608"/>
                  </a:lnTo>
                  <a:lnTo>
                    <a:pt x="232431" y="1113752"/>
                  </a:lnTo>
                  <a:close/>
                  <a:moveTo>
                    <a:pt x="192738" y="1105284"/>
                  </a:moveTo>
                  <a:lnTo>
                    <a:pt x="198641" y="1105295"/>
                  </a:lnTo>
                  <a:lnTo>
                    <a:pt x="210041" y="1106678"/>
                  </a:lnTo>
                  <a:lnTo>
                    <a:pt x="214587" y="1106984"/>
                  </a:lnTo>
                  <a:lnTo>
                    <a:pt x="218084" y="1110013"/>
                  </a:lnTo>
                  <a:lnTo>
                    <a:pt x="218638" y="1111837"/>
                  </a:lnTo>
                  <a:lnTo>
                    <a:pt x="218779" y="1113199"/>
                  </a:lnTo>
                  <a:lnTo>
                    <a:pt x="218030" y="1114552"/>
                  </a:lnTo>
                  <a:lnTo>
                    <a:pt x="216431" y="1116337"/>
                  </a:lnTo>
                  <a:lnTo>
                    <a:pt x="214278" y="1117725"/>
                  </a:lnTo>
                  <a:lnTo>
                    <a:pt x="212192" y="1118106"/>
                  </a:lnTo>
                  <a:lnTo>
                    <a:pt x="210682" y="1117387"/>
                  </a:lnTo>
                  <a:lnTo>
                    <a:pt x="209918" y="1116123"/>
                  </a:lnTo>
                  <a:lnTo>
                    <a:pt x="209566" y="1114873"/>
                  </a:lnTo>
                  <a:lnTo>
                    <a:pt x="209054" y="1114186"/>
                  </a:lnTo>
                  <a:lnTo>
                    <a:pt x="208261" y="1114034"/>
                  </a:lnTo>
                  <a:lnTo>
                    <a:pt x="207234" y="1114072"/>
                  </a:lnTo>
                  <a:lnTo>
                    <a:pt x="205967" y="1114549"/>
                  </a:lnTo>
                  <a:lnTo>
                    <a:pt x="203273" y="1116352"/>
                  </a:lnTo>
                  <a:lnTo>
                    <a:pt x="202119" y="1116827"/>
                  </a:lnTo>
                  <a:lnTo>
                    <a:pt x="201337" y="1116938"/>
                  </a:lnTo>
                  <a:lnTo>
                    <a:pt x="193674" y="1115578"/>
                  </a:lnTo>
                  <a:lnTo>
                    <a:pt x="192926" y="1115073"/>
                  </a:lnTo>
                  <a:lnTo>
                    <a:pt x="192024" y="1113865"/>
                  </a:lnTo>
                  <a:lnTo>
                    <a:pt x="191029" y="1110286"/>
                  </a:lnTo>
                  <a:lnTo>
                    <a:pt x="187808" y="1107090"/>
                  </a:lnTo>
                  <a:close/>
                  <a:moveTo>
                    <a:pt x="147667" y="1103617"/>
                  </a:moveTo>
                  <a:lnTo>
                    <a:pt x="152268" y="1104920"/>
                  </a:lnTo>
                  <a:lnTo>
                    <a:pt x="172608" y="1108399"/>
                  </a:lnTo>
                  <a:lnTo>
                    <a:pt x="178879" y="1106289"/>
                  </a:lnTo>
                  <a:lnTo>
                    <a:pt x="183836" y="1106351"/>
                  </a:lnTo>
                  <a:lnTo>
                    <a:pt x="185312" y="1109253"/>
                  </a:lnTo>
                  <a:lnTo>
                    <a:pt x="180283" y="1112299"/>
                  </a:lnTo>
                  <a:lnTo>
                    <a:pt x="179898" y="1113261"/>
                  </a:lnTo>
                  <a:lnTo>
                    <a:pt x="180602" y="1114044"/>
                  </a:lnTo>
                  <a:lnTo>
                    <a:pt x="185771" y="1114535"/>
                  </a:lnTo>
                  <a:lnTo>
                    <a:pt x="187080" y="1115519"/>
                  </a:lnTo>
                  <a:lnTo>
                    <a:pt x="188282" y="1116783"/>
                  </a:lnTo>
                  <a:lnTo>
                    <a:pt x="187266" y="1118659"/>
                  </a:lnTo>
                  <a:lnTo>
                    <a:pt x="187170" y="1119527"/>
                  </a:lnTo>
                  <a:lnTo>
                    <a:pt x="187705" y="1120374"/>
                  </a:lnTo>
                  <a:lnTo>
                    <a:pt x="191580" y="1123219"/>
                  </a:lnTo>
                  <a:lnTo>
                    <a:pt x="193170" y="1124688"/>
                  </a:lnTo>
                  <a:lnTo>
                    <a:pt x="193971" y="1126095"/>
                  </a:lnTo>
                  <a:lnTo>
                    <a:pt x="194294" y="1128564"/>
                  </a:lnTo>
                  <a:lnTo>
                    <a:pt x="194224" y="1130543"/>
                  </a:lnTo>
                  <a:lnTo>
                    <a:pt x="193354" y="1130807"/>
                  </a:lnTo>
                  <a:lnTo>
                    <a:pt x="191466" y="1130206"/>
                  </a:lnTo>
                  <a:lnTo>
                    <a:pt x="189627" y="1129064"/>
                  </a:lnTo>
                  <a:lnTo>
                    <a:pt x="188011" y="1126216"/>
                  </a:lnTo>
                  <a:lnTo>
                    <a:pt x="186878" y="1125645"/>
                  </a:lnTo>
                  <a:lnTo>
                    <a:pt x="183616" y="1125069"/>
                  </a:lnTo>
                  <a:lnTo>
                    <a:pt x="180383" y="1123683"/>
                  </a:lnTo>
                  <a:lnTo>
                    <a:pt x="177864" y="1123763"/>
                  </a:lnTo>
                  <a:lnTo>
                    <a:pt x="175544" y="1123175"/>
                  </a:lnTo>
                  <a:lnTo>
                    <a:pt x="173464" y="1123691"/>
                  </a:lnTo>
                  <a:lnTo>
                    <a:pt x="172727" y="1122755"/>
                  </a:lnTo>
                  <a:lnTo>
                    <a:pt x="171836" y="1120868"/>
                  </a:lnTo>
                  <a:lnTo>
                    <a:pt x="171815" y="1120045"/>
                  </a:lnTo>
                  <a:lnTo>
                    <a:pt x="172909" y="1117069"/>
                  </a:lnTo>
                  <a:lnTo>
                    <a:pt x="172880" y="1116288"/>
                  </a:lnTo>
                  <a:lnTo>
                    <a:pt x="172308" y="1116196"/>
                  </a:lnTo>
                  <a:lnTo>
                    <a:pt x="169885" y="1116803"/>
                  </a:lnTo>
                  <a:lnTo>
                    <a:pt x="168906" y="1116399"/>
                  </a:lnTo>
                  <a:lnTo>
                    <a:pt x="166269" y="1114245"/>
                  </a:lnTo>
                  <a:lnTo>
                    <a:pt x="165209" y="1113838"/>
                  </a:lnTo>
                  <a:lnTo>
                    <a:pt x="162560" y="1113624"/>
                  </a:lnTo>
                  <a:lnTo>
                    <a:pt x="161062" y="1117446"/>
                  </a:lnTo>
                  <a:lnTo>
                    <a:pt x="160984" y="1118393"/>
                  </a:lnTo>
                  <a:lnTo>
                    <a:pt x="162510" y="1120824"/>
                  </a:lnTo>
                  <a:lnTo>
                    <a:pt x="165507" y="1124563"/>
                  </a:lnTo>
                  <a:lnTo>
                    <a:pt x="163986" y="1124632"/>
                  </a:lnTo>
                  <a:lnTo>
                    <a:pt x="159650" y="1123478"/>
                  </a:lnTo>
                  <a:lnTo>
                    <a:pt x="158538" y="1122762"/>
                  </a:lnTo>
                  <a:lnTo>
                    <a:pt x="157194" y="1120879"/>
                  </a:lnTo>
                  <a:lnTo>
                    <a:pt x="154619" y="1119783"/>
                  </a:lnTo>
                  <a:lnTo>
                    <a:pt x="153715" y="1119108"/>
                  </a:lnTo>
                  <a:lnTo>
                    <a:pt x="153451" y="1118314"/>
                  </a:lnTo>
                  <a:lnTo>
                    <a:pt x="153425" y="1115857"/>
                  </a:lnTo>
                  <a:lnTo>
                    <a:pt x="152855" y="1115501"/>
                  </a:lnTo>
                  <a:lnTo>
                    <a:pt x="149198" y="1116123"/>
                  </a:lnTo>
                  <a:lnTo>
                    <a:pt x="148446" y="1115533"/>
                  </a:lnTo>
                  <a:lnTo>
                    <a:pt x="148140" y="1114501"/>
                  </a:lnTo>
                  <a:lnTo>
                    <a:pt x="147608" y="1113917"/>
                  </a:lnTo>
                  <a:lnTo>
                    <a:pt x="145249" y="1112976"/>
                  </a:lnTo>
                  <a:lnTo>
                    <a:pt x="145041" y="1112386"/>
                  </a:lnTo>
                  <a:lnTo>
                    <a:pt x="146093" y="1111689"/>
                  </a:lnTo>
                  <a:lnTo>
                    <a:pt x="146743" y="1109928"/>
                  </a:lnTo>
                  <a:close/>
                  <a:moveTo>
                    <a:pt x="109890" y="1101947"/>
                  </a:moveTo>
                  <a:lnTo>
                    <a:pt x="114384" y="1102294"/>
                  </a:lnTo>
                  <a:lnTo>
                    <a:pt x="117133" y="1103105"/>
                  </a:lnTo>
                  <a:lnTo>
                    <a:pt x="119594" y="1103122"/>
                  </a:lnTo>
                  <a:lnTo>
                    <a:pt x="120773" y="1105353"/>
                  </a:lnTo>
                  <a:lnTo>
                    <a:pt x="121208" y="1105762"/>
                  </a:lnTo>
                  <a:lnTo>
                    <a:pt x="124330" y="1106633"/>
                  </a:lnTo>
                  <a:lnTo>
                    <a:pt x="125737" y="1106106"/>
                  </a:lnTo>
                  <a:lnTo>
                    <a:pt x="129135" y="1105855"/>
                  </a:lnTo>
                  <a:lnTo>
                    <a:pt x="131177" y="1104999"/>
                  </a:lnTo>
                  <a:lnTo>
                    <a:pt x="134150" y="1104563"/>
                  </a:lnTo>
                  <a:lnTo>
                    <a:pt x="137559" y="1110097"/>
                  </a:lnTo>
                  <a:lnTo>
                    <a:pt x="137184" y="1111785"/>
                  </a:lnTo>
                  <a:lnTo>
                    <a:pt x="134489" y="1113618"/>
                  </a:lnTo>
                  <a:lnTo>
                    <a:pt x="132678" y="1114020"/>
                  </a:lnTo>
                  <a:lnTo>
                    <a:pt x="130956" y="1113465"/>
                  </a:lnTo>
                  <a:lnTo>
                    <a:pt x="131077" y="1112534"/>
                  </a:lnTo>
                  <a:lnTo>
                    <a:pt x="130764" y="1111720"/>
                  </a:lnTo>
                  <a:lnTo>
                    <a:pt x="129587" y="1110665"/>
                  </a:lnTo>
                  <a:lnTo>
                    <a:pt x="128485" y="1110765"/>
                  </a:lnTo>
                  <a:lnTo>
                    <a:pt x="126709" y="1111544"/>
                  </a:lnTo>
                  <a:lnTo>
                    <a:pt x="125860" y="1111448"/>
                  </a:lnTo>
                  <a:lnTo>
                    <a:pt x="124059" y="1110589"/>
                  </a:lnTo>
                  <a:lnTo>
                    <a:pt x="120906" y="1109955"/>
                  </a:lnTo>
                  <a:lnTo>
                    <a:pt x="120281" y="1109169"/>
                  </a:lnTo>
                  <a:lnTo>
                    <a:pt x="120211" y="1108013"/>
                  </a:lnTo>
                  <a:lnTo>
                    <a:pt x="119615" y="1107434"/>
                  </a:lnTo>
                  <a:lnTo>
                    <a:pt x="116329" y="1105580"/>
                  </a:lnTo>
                  <a:lnTo>
                    <a:pt x="114225" y="1104002"/>
                  </a:lnTo>
                  <a:lnTo>
                    <a:pt x="112442" y="1103789"/>
                  </a:lnTo>
                  <a:lnTo>
                    <a:pt x="111792" y="1103977"/>
                  </a:lnTo>
                  <a:lnTo>
                    <a:pt x="111131" y="1104734"/>
                  </a:lnTo>
                  <a:lnTo>
                    <a:pt x="109528" y="1105456"/>
                  </a:lnTo>
                  <a:lnTo>
                    <a:pt x="109069" y="1105336"/>
                  </a:lnTo>
                  <a:lnTo>
                    <a:pt x="108556" y="1104734"/>
                  </a:lnTo>
                  <a:lnTo>
                    <a:pt x="108295" y="1103871"/>
                  </a:lnTo>
                  <a:lnTo>
                    <a:pt x="108971" y="1102116"/>
                  </a:lnTo>
                  <a:close/>
                  <a:moveTo>
                    <a:pt x="94113" y="1068756"/>
                  </a:moveTo>
                  <a:lnTo>
                    <a:pt x="101500" y="1070092"/>
                  </a:lnTo>
                  <a:lnTo>
                    <a:pt x="105329" y="1071230"/>
                  </a:lnTo>
                  <a:lnTo>
                    <a:pt x="109479" y="1073899"/>
                  </a:lnTo>
                  <a:lnTo>
                    <a:pt x="115102" y="1076678"/>
                  </a:lnTo>
                  <a:lnTo>
                    <a:pt x="118824" y="1076650"/>
                  </a:lnTo>
                  <a:lnTo>
                    <a:pt x="118801" y="1078389"/>
                  </a:lnTo>
                  <a:lnTo>
                    <a:pt x="119256" y="1081352"/>
                  </a:lnTo>
                  <a:lnTo>
                    <a:pt x="118669" y="1082555"/>
                  </a:lnTo>
                  <a:lnTo>
                    <a:pt x="117277" y="1083783"/>
                  </a:lnTo>
                  <a:lnTo>
                    <a:pt x="116400" y="1085531"/>
                  </a:lnTo>
                  <a:lnTo>
                    <a:pt x="115747" y="1085800"/>
                  </a:lnTo>
                  <a:lnTo>
                    <a:pt x="111656" y="1083688"/>
                  </a:lnTo>
                  <a:lnTo>
                    <a:pt x="107380" y="1080811"/>
                  </a:lnTo>
                  <a:lnTo>
                    <a:pt x="105228" y="1081315"/>
                  </a:lnTo>
                  <a:lnTo>
                    <a:pt x="102377" y="1080609"/>
                  </a:lnTo>
                  <a:lnTo>
                    <a:pt x="100079" y="1080763"/>
                  </a:lnTo>
                  <a:lnTo>
                    <a:pt x="98650" y="1082392"/>
                  </a:lnTo>
                  <a:lnTo>
                    <a:pt x="95328" y="1083244"/>
                  </a:lnTo>
                  <a:lnTo>
                    <a:pt x="94724" y="1079976"/>
                  </a:lnTo>
                  <a:lnTo>
                    <a:pt x="91701" y="1076891"/>
                  </a:lnTo>
                  <a:lnTo>
                    <a:pt x="88688" y="1074419"/>
                  </a:lnTo>
                  <a:lnTo>
                    <a:pt x="90321" y="1070632"/>
                  </a:lnTo>
                  <a:lnTo>
                    <a:pt x="92275" y="1070021"/>
                  </a:lnTo>
                  <a:close/>
                  <a:moveTo>
                    <a:pt x="67308" y="1051776"/>
                  </a:moveTo>
                  <a:lnTo>
                    <a:pt x="68108" y="1052470"/>
                  </a:lnTo>
                  <a:lnTo>
                    <a:pt x="69404" y="1052764"/>
                  </a:lnTo>
                  <a:lnTo>
                    <a:pt x="70005" y="1053434"/>
                  </a:lnTo>
                  <a:lnTo>
                    <a:pt x="70614" y="1054787"/>
                  </a:lnTo>
                  <a:lnTo>
                    <a:pt x="71297" y="1057592"/>
                  </a:lnTo>
                  <a:lnTo>
                    <a:pt x="71654" y="1058129"/>
                  </a:lnTo>
                  <a:lnTo>
                    <a:pt x="73501" y="1057681"/>
                  </a:lnTo>
                  <a:lnTo>
                    <a:pt x="76642" y="1057424"/>
                  </a:lnTo>
                  <a:lnTo>
                    <a:pt x="81795" y="1058467"/>
                  </a:lnTo>
                  <a:lnTo>
                    <a:pt x="82380" y="1058839"/>
                  </a:lnTo>
                  <a:lnTo>
                    <a:pt x="84568" y="1061910"/>
                  </a:lnTo>
                  <a:lnTo>
                    <a:pt x="86248" y="1063223"/>
                  </a:lnTo>
                  <a:lnTo>
                    <a:pt x="88816" y="1066066"/>
                  </a:lnTo>
                  <a:lnTo>
                    <a:pt x="86258" y="1067964"/>
                  </a:lnTo>
                  <a:lnTo>
                    <a:pt x="84745" y="1070699"/>
                  </a:lnTo>
                  <a:lnTo>
                    <a:pt x="84663" y="1072088"/>
                  </a:lnTo>
                  <a:lnTo>
                    <a:pt x="83665" y="1072889"/>
                  </a:lnTo>
                  <a:lnTo>
                    <a:pt x="82094" y="1073722"/>
                  </a:lnTo>
                  <a:lnTo>
                    <a:pt x="79751" y="1075323"/>
                  </a:lnTo>
                  <a:lnTo>
                    <a:pt x="76869" y="1075503"/>
                  </a:lnTo>
                  <a:lnTo>
                    <a:pt x="74027" y="1076347"/>
                  </a:lnTo>
                  <a:lnTo>
                    <a:pt x="72716" y="1077112"/>
                  </a:lnTo>
                  <a:lnTo>
                    <a:pt x="71938" y="1077163"/>
                  </a:lnTo>
                  <a:lnTo>
                    <a:pt x="71018" y="1076748"/>
                  </a:lnTo>
                  <a:lnTo>
                    <a:pt x="70035" y="1075961"/>
                  </a:lnTo>
                  <a:lnTo>
                    <a:pt x="69717" y="1075051"/>
                  </a:lnTo>
                  <a:lnTo>
                    <a:pt x="71666" y="1074205"/>
                  </a:lnTo>
                  <a:lnTo>
                    <a:pt x="74203" y="1071184"/>
                  </a:lnTo>
                  <a:lnTo>
                    <a:pt x="74657" y="1068059"/>
                  </a:lnTo>
                  <a:lnTo>
                    <a:pt x="71920" y="1067494"/>
                  </a:lnTo>
                  <a:lnTo>
                    <a:pt x="70287" y="1067921"/>
                  </a:lnTo>
                  <a:lnTo>
                    <a:pt x="69068" y="1067910"/>
                  </a:lnTo>
                  <a:lnTo>
                    <a:pt x="67668" y="1066948"/>
                  </a:lnTo>
                  <a:lnTo>
                    <a:pt x="66816" y="1068423"/>
                  </a:lnTo>
                  <a:lnTo>
                    <a:pt x="66498" y="1069833"/>
                  </a:lnTo>
                  <a:lnTo>
                    <a:pt x="66871" y="1071993"/>
                  </a:lnTo>
                  <a:lnTo>
                    <a:pt x="66620" y="1072689"/>
                  </a:lnTo>
                  <a:lnTo>
                    <a:pt x="65625" y="1073083"/>
                  </a:lnTo>
                  <a:lnTo>
                    <a:pt x="63326" y="1072264"/>
                  </a:lnTo>
                  <a:lnTo>
                    <a:pt x="60941" y="1070808"/>
                  </a:lnTo>
                  <a:lnTo>
                    <a:pt x="60752" y="1069963"/>
                  </a:lnTo>
                  <a:lnTo>
                    <a:pt x="61242" y="1067053"/>
                  </a:lnTo>
                  <a:lnTo>
                    <a:pt x="61189" y="1065536"/>
                  </a:lnTo>
                  <a:lnTo>
                    <a:pt x="60697" y="1063355"/>
                  </a:lnTo>
                  <a:lnTo>
                    <a:pt x="60432" y="1063127"/>
                  </a:lnTo>
                  <a:lnTo>
                    <a:pt x="59536" y="1063174"/>
                  </a:lnTo>
                  <a:lnTo>
                    <a:pt x="56726" y="1063594"/>
                  </a:lnTo>
                  <a:lnTo>
                    <a:pt x="53920" y="1060800"/>
                  </a:lnTo>
                  <a:lnTo>
                    <a:pt x="52401" y="1057853"/>
                  </a:lnTo>
                  <a:lnTo>
                    <a:pt x="47230" y="1057005"/>
                  </a:lnTo>
                  <a:lnTo>
                    <a:pt x="51259" y="1052895"/>
                  </a:lnTo>
                  <a:lnTo>
                    <a:pt x="57331" y="1052315"/>
                  </a:lnTo>
                  <a:lnTo>
                    <a:pt x="59391" y="1054393"/>
                  </a:lnTo>
                  <a:lnTo>
                    <a:pt x="66148" y="1055833"/>
                  </a:lnTo>
                  <a:lnTo>
                    <a:pt x="65744" y="1053627"/>
                  </a:lnTo>
                  <a:lnTo>
                    <a:pt x="65856" y="1052838"/>
                  </a:lnTo>
                  <a:lnTo>
                    <a:pt x="66784" y="1051857"/>
                  </a:lnTo>
                  <a:close/>
                  <a:moveTo>
                    <a:pt x="26322" y="1029076"/>
                  </a:moveTo>
                  <a:lnTo>
                    <a:pt x="28818" y="1030357"/>
                  </a:lnTo>
                  <a:lnTo>
                    <a:pt x="31277" y="1032561"/>
                  </a:lnTo>
                  <a:lnTo>
                    <a:pt x="32604" y="1033397"/>
                  </a:lnTo>
                  <a:lnTo>
                    <a:pt x="33529" y="1035534"/>
                  </a:lnTo>
                  <a:lnTo>
                    <a:pt x="33946" y="1035845"/>
                  </a:lnTo>
                  <a:lnTo>
                    <a:pt x="34943" y="1035772"/>
                  </a:lnTo>
                  <a:lnTo>
                    <a:pt x="36348" y="1036328"/>
                  </a:lnTo>
                  <a:lnTo>
                    <a:pt x="41638" y="1037008"/>
                  </a:lnTo>
                  <a:lnTo>
                    <a:pt x="46374" y="1038618"/>
                  </a:lnTo>
                  <a:lnTo>
                    <a:pt x="48844" y="1040124"/>
                  </a:lnTo>
                  <a:lnTo>
                    <a:pt x="52083" y="1040598"/>
                  </a:lnTo>
                  <a:lnTo>
                    <a:pt x="54739" y="1042518"/>
                  </a:lnTo>
                  <a:lnTo>
                    <a:pt x="55873" y="1043011"/>
                  </a:lnTo>
                  <a:lnTo>
                    <a:pt x="57242" y="1043159"/>
                  </a:lnTo>
                  <a:lnTo>
                    <a:pt x="60798" y="1046717"/>
                  </a:lnTo>
                  <a:lnTo>
                    <a:pt x="60997" y="1047124"/>
                  </a:lnTo>
                  <a:lnTo>
                    <a:pt x="65032" y="1049931"/>
                  </a:lnTo>
                  <a:lnTo>
                    <a:pt x="65239" y="1050378"/>
                  </a:lnTo>
                  <a:lnTo>
                    <a:pt x="62943" y="1050534"/>
                  </a:lnTo>
                  <a:lnTo>
                    <a:pt x="58287" y="1049227"/>
                  </a:lnTo>
                  <a:lnTo>
                    <a:pt x="55963" y="1049157"/>
                  </a:lnTo>
                  <a:lnTo>
                    <a:pt x="54283" y="1048756"/>
                  </a:lnTo>
                  <a:lnTo>
                    <a:pt x="53889" y="1048526"/>
                  </a:lnTo>
                  <a:lnTo>
                    <a:pt x="53556" y="1046898"/>
                  </a:lnTo>
                  <a:lnTo>
                    <a:pt x="53020" y="1046097"/>
                  </a:lnTo>
                  <a:lnTo>
                    <a:pt x="48547" y="1042346"/>
                  </a:lnTo>
                  <a:lnTo>
                    <a:pt x="46685" y="1041528"/>
                  </a:lnTo>
                  <a:lnTo>
                    <a:pt x="43463" y="1040803"/>
                  </a:lnTo>
                  <a:lnTo>
                    <a:pt x="39797" y="1041310"/>
                  </a:lnTo>
                  <a:lnTo>
                    <a:pt x="37317" y="1040826"/>
                  </a:lnTo>
                  <a:lnTo>
                    <a:pt x="36459" y="1041000"/>
                  </a:lnTo>
                  <a:lnTo>
                    <a:pt x="32802" y="1038024"/>
                  </a:lnTo>
                  <a:lnTo>
                    <a:pt x="29154" y="1035518"/>
                  </a:lnTo>
                  <a:lnTo>
                    <a:pt x="27591" y="1032531"/>
                  </a:lnTo>
                  <a:lnTo>
                    <a:pt x="25268" y="1030251"/>
                  </a:lnTo>
                  <a:lnTo>
                    <a:pt x="25257" y="1029584"/>
                  </a:lnTo>
                  <a:close/>
                  <a:moveTo>
                    <a:pt x="159594" y="1020614"/>
                  </a:moveTo>
                  <a:lnTo>
                    <a:pt x="165858" y="1026808"/>
                  </a:lnTo>
                  <a:lnTo>
                    <a:pt x="168066" y="1027038"/>
                  </a:lnTo>
                  <a:lnTo>
                    <a:pt x="175422" y="1023705"/>
                  </a:lnTo>
                  <a:lnTo>
                    <a:pt x="176241" y="1023885"/>
                  </a:lnTo>
                  <a:lnTo>
                    <a:pt x="178734" y="1025576"/>
                  </a:lnTo>
                  <a:lnTo>
                    <a:pt x="179476" y="1026297"/>
                  </a:lnTo>
                  <a:lnTo>
                    <a:pt x="179431" y="1036465"/>
                  </a:lnTo>
                  <a:lnTo>
                    <a:pt x="179388" y="1046517"/>
                  </a:lnTo>
                  <a:lnTo>
                    <a:pt x="179347" y="1055955"/>
                  </a:lnTo>
                  <a:lnTo>
                    <a:pt x="179305" y="1065423"/>
                  </a:lnTo>
                  <a:lnTo>
                    <a:pt x="179266" y="1074598"/>
                  </a:lnTo>
                  <a:lnTo>
                    <a:pt x="179226" y="1084052"/>
                  </a:lnTo>
                  <a:lnTo>
                    <a:pt x="179031" y="1094686"/>
                  </a:lnTo>
                  <a:lnTo>
                    <a:pt x="178886" y="1102617"/>
                  </a:lnTo>
                  <a:lnTo>
                    <a:pt x="175067" y="1102617"/>
                  </a:lnTo>
                  <a:lnTo>
                    <a:pt x="174060" y="1103431"/>
                  </a:lnTo>
                  <a:lnTo>
                    <a:pt x="168023" y="1104596"/>
                  </a:lnTo>
                  <a:lnTo>
                    <a:pt x="157763" y="1102803"/>
                  </a:lnTo>
                  <a:lnTo>
                    <a:pt x="155195" y="1101181"/>
                  </a:lnTo>
                  <a:lnTo>
                    <a:pt x="151750" y="1097644"/>
                  </a:lnTo>
                  <a:lnTo>
                    <a:pt x="150523" y="1098593"/>
                  </a:lnTo>
                  <a:lnTo>
                    <a:pt x="147285" y="1100093"/>
                  </a:lnTo>
                  <a:lnTo>
                    <a:pt x="143962" y="1101278"/>
                  </a:lnTo>
                  <a:lnTo>
                    <a:pt x="141235" y="1101408"/>
                  </a:lnTo>
                  <a:lnTo>
                    <a:pt x="138707" y="1099942"/>
                  </a:lnTo>
                  <a:lnTo>
                    <a:pt x="138168" y="1099197"/>
                  </a:lnTo>
                  <a:lnTo>
                    <a:pt x="137592" y="1099036"/>
                  </a:lnTo>
                  <a:lnTo>
                    <a:pt x="132130" y="1101068"/>
                  </a:lnTo>
                  <a:lnTo>
                    <a:pt x="126095" y="1098994"/>
                  </a:lnTo>
                  <a:lnTo>
                    <a:pt x="121289" y="1097723"/>
                  </a:lnTo>
                  <a:lnTo>
                    <a:pt x="113567" y="1097013"/>
                  </a:lnTo>
                  <a:lnTo>
                    <a:pt x="108201" y="1094398"/>
                  </a:lnTo>
                  <a:lnTo>
                    <a:pt x="98295" y="1094628"/>
                  </a:lnTo>
                  <a:lnTo>
                    <a:pt x="96520" y="1093764"/>
                  </a:lnTo>
                  <a:lnTo>
                    <a:pt x="95856" y="1091212"/>
                  </a:lnTo>
                  <a:lnTo>
                    <a:pt x="96383" y="1090025"/>
                  </a:lnTo>
                  <a:lnTo>
                    <a:pt x="98501" y="1089310"/>
                  </a:lnTo>
                  <a:lnTo>
                    <a:pt x="99091" y="1087895"/>
                  </a:lnTo>
                  <a:lnTo>
                    <a:pt x="101230" y="1088234"/>
                  </a:lnTo>
                  <a:lnTo>
                    <a:pt x="104006" y="1090107"/>
                  </a:lnTo>
                  <a:lnTo>
                    <a:pt x="104857" y="1090042"/>
                  </a:lnTo>
                  <a:lnTo>
                    <a:pt x="106693" y="1088278"/>
                  </a:lnTo>
                  <a:lnTo>
                    <a:pt x="109405" y="1086714"/>
                  </a:lnTo>
                  <a:lnTo>
                    <a:pt x="110373" y="1086547"/>
                  </a:lnTo>
                  <a:lnTo>
                    <a:pt x="115353" y="1088477"/>
                  </a:lnTo>
                  <a:lnTo>
                    <a:pt x="117354" y="1088254"/>
                  </a:lnTo>
                  <a:lnTo>
                    <a:pt x="120231" y="1087390"/>
                  </a:lnTo>
                  <a:lnTo>
                    <a:pt x="120745" y="1086639"/>
                  </a:lnTo>
                  <a:lnTo>
                    <a:pt x="121201" y="1085311"/>
                  </a:lnTo>
                  <a:lnTo>
                    <a:pt x="121960" y="1084535"/>
                  </a:lnTo>
                  <a:lnTo>
                    <a:pt x="124521" y="1084164"/>
                  </a:lnTo>
                  <a:lnTo>
                    <a:pt x="127017" y="1084918"/>
                  </a:lnTo>
                  <a:lnTo>
                    <a:pt x="127303" y="1087222"/>
                  </a:lnTo>
                  <a:lnTo>
                    <a:pt x="126959" y="1089697"/>
                  </a:lnTo>
                  <a:lnTo>
                    <a:pt x="130207" y="1090360"/>
                  </a:lnTo>
                  <a:lnTo>
                    <a:pt x="134139" y="1090285"/>
                  </a:lnTo>
                  <a:lnTo>
                    <a:pt x="136851" y="1091205"/>
                  </a:lnTo>
                  <a:lnTo>
                    <a:pt x="137189" y="1089700"/>
                  </a:lnTo>
                  <a:lnTo>
                    <a:pt x="132862" y="1085772"/>
                  </a:lnTo>
                  <a:lnTo>
                    <a:pt x="131044" y="1083333"/>
                  </a:lnTo>
                  <a:lnTo>
                    <a:pt x="128607" y="1081897"/>
                  </a:lnTo>
                  <a:lnTo>
                    <a:pt x="125469" y="1081164"/>
                  </a:lnTo>
                  <a:lnTo>
                    <a:pt x="122852" y="1076601"/>
                  </a:lnTo>
                  <a:lnTo>
                    <a:pt x="123013" y="1072611"/>
                  </a:lnTo>
                  <a:lnTo>
                    <a:pt x="122734" y="1068731"/>
                  </a:lnTo>
                  <a:lnTo>
                    <a:pt x="128394" y="1066602"/>
                  </a:lnTo>
                  <a:lnTo>
                    <a:pt x="127099" y="1063294"/>
                  </a:lnTo>
                  <a:lnTo>
                    <a:pt x="129047" y="1060786"/>
                  </a:lnTo>
                  <a:lnTo>
                    <a:pt x="131265" y="1059826"/>
                  </a:lnTo>
                  <a:lnTo>
                    <a:pt x="133500" y="1069054"/>
                  </a:lnTo>
                  <a:lnTo>
                    <a:pt x="135107" y="1072295"/>
                  </a:lnTo>
                  <a:lnTo>
                    <a:pt x="133059" y="1072954"/>
                  </a:lnTo>
                  <a:lnTo>
                    <a:pt x="128766" y="1072950"/>
                  </a:lnTo>
                  <a:lnTo>
                    <a:pt x="131164" y="1077496"/>
                  </a:lnTo>
                  <a:lnTo>
                    <a:pt x="135102" y="1079048"/>
                  </a:lnTo>
                  <a:lnTo>
                    <a:pt x="138497" y="1082424"/>
                  </a:lnTo>
                  <a:lnTo>
                    <a:pt x="138566" y="1084877"/>
                  </a:lnTo>
                  <a:lnTo>
                    <a:pt x="140451" y="1085983"/>
                  </a:lnTo>
                  <a:lnTo>
                    <a:pt x="144986" y="1086055"/>
                  </a:lnTo>
                  <a:lnTo>
                    <a:pt x="148109" y="1085570"/>
                  </a:lnTo>
                  <a:lnTo>
                    <a:pt x="149578" y="1083939"/>
                  </a:lnTo>
                  <a:lnTo>
                    <a:pt x="151283" y="1083417"/>
                  </a:lnTo>
                  <a:lnTo>
                    <a:pt x="154330" y="1085451"/>
                  </a:lnTo>
                  <a:lnTo>
                    <a:pt x="159461" y="1086956"/>
                  </a:lnTo>
                  <a:lnTo>
                    <a:pt x="160843" y="1088023"/>
                  </a:lnTo>
                  <a:lnTo>
                    <a:pt x="161850" y="1089792"/>
                  </a:lnTo>
                  <a:lnTo>
                    <a:pt x="161916" y="1091701"/>
                  </a:lnTo>
                  <a:lnTo>
                    <a:pt x="162180" y="1092710"/>
                  </a:lnTo>
                  <a:lnTo>
                    <a:pt x="163673" y="1092217"/>
                  </a:lnTo>
                  <a:lnTo>
                    <a:pt x="165803" y="1089621"/>
                  </a:lnTo>
                  <a:lnTo>
                    <a:pt x="166851" y="1088722"/>
                  </a:lnTo>
                  <a:lnTo>
                    <a:pt x="168134" y="1088282"/>
                  </a:lnTo>
                  <a:lnTo>
                    <a:pt x="168946" y="1087700"/>
                  </a:lnTo>
                  <a:lnTo>
                    <a:pt x="168969" y="1086942"/>
                  </a:lnTo>
                  <a:lnTo>
                    <a:pt x="165132" y="1085113"/>
                  </a:lnTo>
                  <a:lnTo>
                    <a:pt x="145038" y="1076554"/>
                  </a:lnTo>
                  <a:lnTo>
                    <a:pt x="142567" y="1073144"/>
                  </a:lnTo>
                  <a:lnTo>
                    <a:pt x="140905" y="1068867"/>
                  </a:lnTo>
                  <a:lnTo>
                    <a:pt x="140962" y="1064461"/>
                  </a:lnTo>
                  <a:lnTo>
                    <a:pt x="142427" y="1063097"/>
                  </a:lnTo>
                  <a:lnTo>
                    <a:pt x="146011" y="1061358"/>
                  </a:lnTo>
                  <a:lnTo>
                    <a:pt x="152604" y="1058910"/>
                  </a:lnTo>
                  <a:lnTo>
                    <a:pt x="160205" y="1055401"/>
                  </a:lnTo>
                  <a:lnTo>
                    <a:pt x="161156" y="1054730"/>
                  </a:lnTo>
                  <a:lnTo>
                    <a:pt x="161067" y="1052531"/>
                  </a:lnTo>
                  <a:lnTo>
                    <a:pt x="160114" y="1051051"/>
                  </a:lnTo>
                  <a:lnTo>
                    <a:pt x="157097" y="1049967"/>
                  </a:lnTo>
                  <a:lnTo>
                    <a:pt x="153941" y="1049694"/>
                  </a:lnTo>
                  <a:lnTo>
                    <a:pt x="150933" y="1049802"/>
                  </a:lnTo>
                  <a:lnTo>
                    <a:pt x="147929" y="1050260"/>
                  </a:lnTo>
                  <a:lnTo>
                    <a:pt x="142445" y="1052595"/>
                  </a:lnTo>
                  <a:lnTo>
                    <a:pt x="139340" y="1052450"/>
                  </a:lnTo>
                  <a:lnTo>
                    <a:pt x="136387" y="1051196"/>
                  </a:lnTo>
                  <a:lnTo>
                    <a:pt x="134197" y="1048684"/>
                  </a:lnTo>
                  <a:lnTo>
                    <a:pt x="133066" y="1045289"/>
                  </a:lnTo>
                  <a:lnTo>
                    <a:pt x="133074" y="1043125"/>
                  </a:lnTo>
                  <a:lnTo>
                    <a:pt x="133495" y="1041137"/>
                  </a:lnTo>
                  <a:lnTo>
                    <a:pt x="134831" y="1039107"/>
                  </a:lnTo>
                  <a:lnTo>
                    <a:pt x="136622" y="1038221"/>
                  </a:lnTo>
                  <a:lnTo>
                    <a:pt x="138237" y="1038339"/>
                  </a:lnTo>
                  <a:lnTo>
                    <a:pt x="139755" y="1037863"/>
                  </a:lnTo>
                  <a:lnTo>
                    <a:pt x="140657" y="1037166"/>
                  </a:lnTo>
                  <a:lnTo>
                    <a:pt x="141425" y="1036234"/>
                  </a:lnTo>
                  <a:lnTo>
                    <a:pt x="141199" y="1035430"/>
                  </a:lnTo>
                  <a:lnTo>
                    <a:pt x="140610" y="1034733"/>
                  </a:lnTo>
                  <a:lnTo>
                    <a:pt x="138164" y="1033300"/>
                  </a:lnTo>
                  <a:lnTo>
                    <a:pt x="137197" y="1031922"/>
                  </a:lnTo>
                  <a:lnTo>
                    <a:pt x="135098" y="1029694"/>
                  </a:lnTo>
                  <a:lnTo>
                    <a:pt x="136244" y="1029072"/>
                  </a:lnTo>
                  <a:lnTo>
                    <a:pt x="139928" y="1028725"/>
                  </a:lnTo>
                  <a:lnTo>
                    <a:pt x="142499" y="1030263"/>
                  </a:lnTo>
                  <a:lnTo>
                    <a:pt x="144900" y="1032069"/>
                  </a:lnTo>
                  <a:lnTo>
                    <a:pt x="146374" y="1032062"/>
                  </a:lnTo>
                  <a:lnTo>
                    <a:pt x="147698" y="1031306"/>
                  </a:lnTo>
                  <a:lnTo>
                    <a:pt x="150731" y="1028989"/>
                  </a:lnTo>
                  <a:lnTo>
                    <a:pt x="153275" y="1026079"/>
                  </a:lnTo>
                  <a:lnTo>
                    <a:pt x="155592" y="1022767"/>
                  </a:lnTo>
                  <a:lnTo>
                    <a:pt x="157456" y="1020791"/>
                  </a:lnTo>
                  <a:close/>
                  <a:moveTo>
                    <a:pt x="31881" y="994765"/>
                  </a:moveTo>
                  <a:lnTo>
                    <a:pt x="34129" y="995636"/>
                  </a:lnTo>
                  <a:lnTo>
                    <a:pt x="35052" y="996297"/>
                  </a:lnTo>
                  <a:lnTo>
                    <a:pt x="36286" y="997697"/>
                  </a:lnTo>
                  <a:lnTo>
                    <a:pt x="39928" y="999702"/>
                  </a:lnTo>
                  <a:lnTo>
                    <a:pt x="40384" y="1000297"/>
                  </a:lnTo>
                  <a:lnTo>
                    <a:pt x="40296" y="1001066"/>
                  </a:lnTo>
                  <a:lnTo>
                    <a:pt x="39706" y="1001740"/>
                  </a:lnTo>
                  <a:lnTo>
                    <a:pt x="38948" y="1002114"/>
                  </a:lnTo>
                  <a:lnTo>
                    <a:pt x="36133" y="1001322"/>
                  </a:lnTo>
                  <a:lnTo>
                    <a:pt x="34723" y="1000618"/>
                  </a:lnTo>
                  <a:lnTo>
                    <a:pt x="32569" y="998830"/>
                  </a:lnTo>
                  <a:lnTo>
                    <a:pt x="32227" y="996987"/>
                  </a:lnTo>
                  <a:lnTo>
                    <a:pt x="31257" y="994791"/>
                  </a:lnTo>
                  <a:close/>
                  <a:moveTo>
                    <a:pt x="22444" y="991565"/>
                  </a:moveTo>
                  <a:lnTo>
                    <a:pt x="23529" y="998139"/>
                  </a:lnTo>
                  <a:lnTo>
                    <a:pt x="24306" y="999057"/>
                  </a:lnTo>
                  <a:lnTo>
                    <a:pt x="26893" y="999543"/>
                  </a:lnTo>
                  <a:lnTo>
                    <a:pt x="29699" y="1002894"/>
                  </a:lnTo>
                  <a:lnTo>
                    <a:pt x="29826" y="1003805"/>
                  </a:lnTo>
                  <a:lnTo>
                    <a:pt x="26424" y="1009508"/>
                  </a:lnTo>
                  <a:lnTo>
                    <a:pt x="25701" y="1013560"/>
                  </a:lnTo>
                  <a:lnTo>
                    <a:pt x="21712" y="1013271"/>
                  </a:lnTo>
                  <a:lnTo>
                    <a:pt x="20041" y="1009243"/>
                  </a:lnTo>
                  <a:lnTo>
                    <a:pt x="17520" y="1005361"/>
                  </a:lnTo>
                  <a:lnTo>
                    <a:pt x="16669" y="1000820"/>
                  </a:lnTo>
                  <a:lnTo>
                    <a:pt x="15283" y="996927"/>
                  </a:lnTo>
                  <a:lnTo>
                    <a:pt x="17749" y="994724"/>
                  </a:lnTo>
                  <a:lnTo>
                    <a:pt x="20105" y="995216"/>
                  </a:lnTo>
                  <a:lnTo>
                    <a:pt x="20245" y="992234"/>
                  </a:lnTo>
                  <a:close/>
                  <a:moveTo>
                    <a:pt x="27804" y="977323"/>
                  </a:moveTo>
                  <a:lnTo>
                    <a:pt x="28845" y="978608"/>
                  </a:lnTo>
                  <a:lnTo>
                    <a:pt x="29146" y="979671"/>
                  </a:lnTo>
                  <a:lnTo>
                    <a:pt x="29088" y="982489"/>
                  </a:lnTo>
                  <a:lnTo>
                    <a:pt x="28286" y="983387"/>
                  </a:lnTo>
                  <a:lnTo>
                    <a:pt x="27580" y="983662"/>
                  </a:lnTo>
                  <a:lnTo>
                    <a:pt x="25796" y="982804"/>
                  </a:lnTo>
                  <a:lnTo>
                    <a:pt x="24778" y="982709"/>
                  </a:lnTo>
                  <a:lnTo>
                    <a:pt x="23092" y="984201"/>
                  </a:lnTo>
                  <a:lnTo>
                    <a:pt x="21674" y="984958"/>
                  </a:lnTo>
                  <a:lnTo>
                    <a:pt x="19560" y="984761"/>
                  </a:lnTo>
                  <a:lnTo>
                    <a:pt x="16753" y="983750"/>
                  </a:lnTo>
                  <a:lnTo>
                    <a:pt x="14245" y="987994"/>
                  </a:lnTo>
                  <a:lnTo>
                    <a:pt x="13076" y="989423"/>
                  </a:lnTo>
                  <a:lnTo>
                    <a:pt x="10624" y="991404"/>
                  </a:lnTo>
                  <a:lnTo>
                    <a:pt x="10347" y="989078"/>
                  </a:lnTo>
                  <a:lnTo>
                    <a:pt x="11907" y="985609"/>
                  </a:lnTo>
                  <a:lnTo>
                    <a:pt x="12630" y="983245"/>
                  </a:lnTo>
                  <a:lnTo>
                    <a:pt x="14059" y="979731"/>
                  </a:lnTo>
                  <a:lnTo>
                    <a:pt x="16932" y="981054"/>
                  </a:lnTo>
                  <a:lnTo>
                    <a:pt x="20961" y="979754"/>
                  </a:lnTo>
                  <a:lnTo>
                    <a:pt x="24631" y="977339"/>
                  </a:lnTo>
                  <a:close/>
                  <a:moveTo>
                    <a:pt x="7111" y="953031"/>
                  </a:moveTo>
                  <a:lnTo>
                    <a:pt x="10253" y="953145"/>
                  </a:lnTo>
                  <a:lnTo>
                    <a:pt x="13995" y="953571"/>
                  </a:lnTo>
                  <a:lnTo>
                    <a:pt x="15030" y="954026"/>
                  </a:lnTo>
                  <a:lnTo>
                    <a:pt x="13886" y="955489"/>
                  </a:lnTo>
                  <a:lnTo>
                    <a:pt x="12797" y="956365"/>
                  </a:lnTo>
                  <a:lnTo>
                    <a:pt x="10542" y="956905"/>
                  </a:lnTo>
                  <a:lnTo>
                    <a:pt x="10297" y="959677"/>
                  </a:lnTo>
                  <a:lnTo>
                    <a:pt x="9574" y="962762"/>
                  </a:lnTo>
                  <a:lnTo>
                    <a:pt x="7523" y="962493"/>
                  </a:lnTo>
                  <a:lnTo>
                    <a:pt x="6835" y="961718"/>
                  </a:lnTo>
                  <a:lnTo>
                    <a:pt x="6477" y="959762"/>
                  </a:lnTo>
                  <a:lnTo>
                    <a:pt x="5850" y="958817"/>
                  </a:lnTo>
                  <a:lnTo>
                    <a:pt x="6729" y="956860"/>
                  </a:lnTo>
                  <a:lnTo>
                    <a:pt x="7311" y="954689"/>
                  </a:lnTo>
                  <a:close/>
                  <a:moveTo>
                    <a:pt x="9672" y="937470"/>
                  </a:moveTo>
                  <a:lnTo>
                    <a:pt x="12638" y="938582"/>
                  </a:lnTo>
                  <a:lnTo>
                    <a:pt x="14847" y="938909"/>
                  </a:lnTo>
                  <a:lnTo>
                    <a:pt x="17847" y="940015"/>
                  </a:lnTo>
                  <a:lnTo>
                    <a:pt x="21099" y="940721"/>
                  </a:lnTo>
                  <a:lnTo>
                    <a:pt x="22048" y="943616"/>
                  </a:lnTo>
                  <a:lnTo>
                    <a:pt x="18883" y="944945"/>
                  </a:lnTo>
                  <a:lnTo>
                    <a:pt x="16565" y="946897"/>
                  </a:lnTo>
                  <a:lnTo>
                    <a:pt x="11605" y="949562"/>
                  </a:lnTo>
                  <a:lnTo>
                    <a:pt x="10148" y="948457"/>
                  </a:lnTo>
                  <a:lnTo>
                    <a:pt x="6567" y="948467"/>
                  </a:lnTo>
                  <a:lnTo>
                    <a:pt x="7505" y="945587"/>
                  </a:lnTo>
                  <a:lnTo>
                    <a:pt x="7866" y="943464"/>
                  </a:lnTo>
                  <a:lnTo>
                    <a:pt x="8403" y="942644"/>
                  </a:lnTo>
                  <a:lnTo>
                    <a:pt x="8602" y="940811"/>
                  </a:lnTo>
                  <a:close/>
                  <a:moveTo>
                    <a:pt x="14947" y="896750"/>
                  </a:moveTo>
                  <a:lnTo>
                    <a:pt x="15250" y="898825"/>
                  </a:lnTo>
                  <a:lnTo>
                    <a:pt x="15036" y="901422"/>
                  </a:lnTo>
                  <a:lnTo>
                    <a:pt x="11293" y="906427"/>
                  </a:lnTo>
                  <a:lnTo>
                    <a:pt x="8067" y="909383"/>
                  </a:lnTo>
                  <a:lnTo>
                    <a:pt x="5122" y="911727"/>
                  </a:lnTo>
                  <a:lnTo>
                    <a:pt x="3239" y="911705"/>
                  </a:lnTo>
                  <a:lnTo>
                    <a:pt x="1697" y="910571"/>
                  </a:lnTo>
                  <a:lnTo>
                    <a:pt x="3429" y="908717"/>
                  </a:lnTo>
                  <a:lnTo>
                    <a:pt x="5590" y="906868"/>
                  </a:lnTo>
                  <a:lnTo>
                    <a:pt x="4908" y="904483"/>
                  </a:lnTo>
                  <a:lnTo>
                    <a:pt x="4258" y="903793"/>
                  </a:lnTo>
                  <a:lnTo>
                    <a:pt x="3345" y="903540"/>
                  </a:lnTo>
                  <a:lnTo>
                    <a:pt x="1782" y="902292"/>
                  </a:lnTo>
                  <a:lnTo>
                    <a:pt x="2255" y="900440"/>
                  </a:lnTo>
                  <a:lnTo>
                    <a:pt x="3169" y="899557"/>
                  </a:lnTo>
                  <a:lnTo>
                    <a:pt x="4382" y="898880"/>
                  </a:lnTo>
                  <a:lnTo>
                    <a:pt x="5518" y="899282"/>
                  </a:lnTo>
                  <a:lnTo>
                    <a:pt x="10417" y="897981"/>
                  </a:lnTo>
                  <a:lnTo>
                    <a:pt x="11965" y="896936"/>
                  </a:lnTo>
                  <a:close/>
                  <a:moveTo>
                    <a:pt x="23191" y="894537"/>
                  </a:moveTo>
                  <a:lnTo>
                    <a:pt x="24377" y="894661"/>
                  </a:lnTo>
                  <a:lnTo>
                    <a:pt x="26788" y="895999"/>
                  </a:lnTo>
                  <a:lnTo>
                    <a:pt x="28943" y="896157"/>
                  </a:lnTo>
                  <a:lnTo>
                    <a:pt x="29464" y="896553"/>
                  </a:lnTo>
                  <a:lnTo>
                    <a:pt x="29855" y="898045"/>
                  </a:lnTo>
                  <a:lnTo>
                    <a:pt x="31236" y="909012"/>
                  </a:lnTo>
                  <a:lnTo>
                    <a:pt x="31474" y="913823"/>
                  </a:lnTo>
                  <a:lnTo>
                    <a:pt x="31047" y="918666"/>
                  </a:lnTo>
                  <a:lnTo>
                    <a:pt x="30073" y="924626"/>
                  </a:lnTo>
                  <a:lnTo>
                    <a:pt x="30232" y="925833"/>
                  </a:lnTo>
                  <a:lnTo>
                    <a:pt x="31371" y="926130"/>
                  </a:lnTo>
                  <a:lnTo>
                    <a:pt x="31676" y="926873"/>
                  </a:lnTo>
                  <a:lnTo>
                    <a:pt x="31343" y="930012"/>
                  </a:lnTo>
                  <a:lnTo>
                    <a:pt x="30731" y="932431"/>
                  </a:lnTo>
                  <a:lnTo>
                    <a:pt x="29552" y="934404"/>
                  </a:lnTo>
                  <a:lnTo>
                    <a:pt x="28862" y="936772"/>
                  </a:lnTo>
                  <a:lnTo>
                    <a:pt x="28230" y="937299"/>
                  </a:lnTo>
                  <a:lnTo>
                    <a:pt x="25475" y="937717"/>
                  </a:lnTo>
                  <a:lnTo>
                    <a:pt x="23964" y="937457"/>
                  </a:lnTo>
                  <a:lnTo>
                    <a:pt x="22750" y="934752"/>
                  </a:lnTo>
                  <a:lnTo>
                    <a:pt x="22399" y="933093"/>
                  </a:lnTo>
                  <a:lnTo>
                    <a:pt x="22469" y="930925"/>
                  </a:lnTo>
                  <a:lnTo>
                    <a:pt x="20986" y="928020"/>
                  </a:lnTo>
                  <a:lnTo>
                    <a:pt x="20940" y="926909"/>
                  </a:lnTo>
                  <a:lnTo>
                    <a:pt x="21520" y="924996"/>
                  </a:lnTo>
                  <a:lnTo>
                    <a:pt x="22720" y="924044"/>
                  </a:lnTo>
                  <a:lnTo>
                    <a:pt x="22902" y="921104"/>
                  </a:lnTo>
                  <a:lnTo>
                    <a:pt x="23507" y="920223"/>
                  </a:lnTo>
                  <a:lnTo>
                    <a:pt x="24875" y="919009"/>
                  </a:lnTo>
                  <a:lnTo>
                    <a:pt x="25083" y="918504"/>
                  </a:lnTo>
                  <a:lnTo>
                    <a:pt x="24956" y="918072"/>
                  </a:lnTo>
                  <a:lnTo>
                    <a:pt x="24449" y="918026"/>
                  </a:lnTo>
                  <a:lnTo>
                    <a:pt x="18966" y="921664"/>
                  </a:lnTo>
                  <a:lnTo>
                    <a:pt x="18428" y="922689"/>
                  </a:lnTo>
                  <a:lnTo>
                    <a:pt x="18187" y="924057"/>
                  </a:lnTo>
                  <a:lnTo>
                    <a:pt x="18118" y="928874"/>
                  </a:lnTo>
                  <a:lnTo>
                    <a:pt x="17154" y="931664"/>
                  </a:lnTo>
                  <a:lnTo>
                    <a:pt x="16280" y="932196"/>
                  </a:lnTo>
                  <a:lnTo>
                    <a:pt x="13721" y="932316"/>
                  </a:lnTo>
                  <a:lnTo>
                    <a:pt x="10345" y="932035"/>
                  </a:lnTo>
                  <a:lnTo>
                    <a:pt x="6514" y="929474"/>
                  </a:lnTo>
                  <a:lnTo>
                    <a:pt x="4014" y="930180"/>
                  </a:lnTo>
                  <a:lnTo>
                    <a:pt x="3498" y="927070"/>
                  </a:lnTo>
                  <a:lnTo>
                    <a:pt x="4750" y="924584"/>
                  </a:lnTo>
                  <a:lnTo>
                    <a:pt x="9407" y="924800"/>
                  </a:lnTo>
                  <a:lnTo>
                    <a:pt x="10198" y="920382"/>
                  </a:lnTo>
                  <a:lnTo>
                    <a:pt x="8719" y="919344"/>
                  </a:lnTo>
                  <a:lnTo>
                    <a:pt x="7080" y="917564"/>
                  </a:lnTo>
                  <a:lnTo>
                    <a:pt x="6101" y="915937"/>
                  </a:lnTo>
                  <a:lnTo>
                    <a:pt x="6971" y="914728"/>
                  </a:lnTo>
                  <a:lnTo>
                    <a:pt x="9672" y="912974"/>
                  </a:lnTo>
                  <a:lnTo>
                    <a:pt x="11118" y="912785"/>
                  </a:lnTo>
                  <a:lnTo>
                    <a:pt x="12456" y="913766"/>
                  </a:lnTo>
                  <a:lnTo>
                    <a:pt x="15772" y="913025"/>
                  </a:lnTo>
                  <a:lnTo>
                    <a:pt x="15578" y="910241"/>
                  </a:lnTo>
                  <a:lnTo>
                    <a:pt x="12625" y="909019"/>
                  </a:lnTo>
                  <a:lnTo>
                    <a:pt x="13283" y="906906"/>
                  </a:lnTo>
                  <a:lnTo>
                    <a:pt x="17013" y="904893"/>
                  </a:lnTo>
                  <a:lnTo>
                    <a:pt x="19242" y="902867"/>
                  </a:lnTo>
                  <a:lnTo>
                    <a:pt x="19343" y="900555"/>
                  </a:lnTo>
                  <a:lnTo>
                    <a:pt x="18442" y="898249"/>
                  </a:lnTo>
                  <a:lnTo>
                    <a:pt x="18727" y="897350"/>
                  </a:lnTo>
                  <a:lnTo>
                    <a:pt x="20585" y="895454"/>
                  </a:lnTo>
                  <a:close/>
                  <a:moveTo>
                    <a:pt x="8030" y="872272"/>
                  </a:moveTo>
                  <a:lnTo>
                    <a:pt x="9373" y="874030"/>
                  </a:lnTo>
                  <a:lnTo>
                    <a:pt x="10968" y="878709"/>
                  </a:lnTo>
                  <a:lnTo>
                    <a:pt x="14011" y="885423"/>
                  </a:lnTo>
                  <a:lnTo>
                    <a:pt x="13935" y="891849"/>
                  </a:lnTo>
                  <a:lnTo>
                    <a:pt x="12246" y="893438"/>
                  </a:lnTo>
                  <a:lnTo>
                    <a:pt x="6949" y="895061"/>
                  </a:lnTo>
                  <a:lnTo>
                    <a:pt x="5016" y="896441"/>
                  </a:lnTo>
                  <a:lnTo>
                    <a:pt x="2161" y="896479"/>
                  </a:lnTo>
                  <a:lnTo>
                    <a:pt x="1449" y="890666"/>
                  </a:lnTo>
                  <a:lnTo>
                    <a:pt x="4807" y="882292"/>
                  </a:lnTo>
                  <a:lnTo>
                    <a:pt x="5047" y="879106"/>
                  </a:lnTo>
                  <a:lnTo>
                    <a:pt x="3919" y="876709"/>
                  </a:lnTo>
                  <a:lnTo>
                    <a:pt x="3463" y="874737"/>
                  </a:lnTo>
                  <a:lnTo>
                    <a:pt x="3738" y="873929"/>
                  </a:lnTo>
                  <a:close/>
                  <a:moveTo>
                    <a:pt x="20600" y="866441"/>
                  </a:moveTo>
                  <a:lnTo>
                    <a:pt x="22330" y="866797"/>
                  </a:lnTo>
                  <a:lnTo>
                    <a:pt x="21855" y="872306"/>
                  </a:lnTo>
                  <a:lnTo>
                    <a:pt x="22894" y="874166"/>
                  </a:lnTo>
                  <a:lnTo>
                    <a:pt x="24819" y="875710"/>
                  </a:lnTo>
                  <a:lnTo>
                    <a:pt x="25175" y="876345"/>
                  </a:lnTo>
                  <a:lnTo>
                    <a:pt x="25500" y="878301"/>
                  </a:lnTo>
                  <a:lnTo>
                    <a:pt x="26466" y="881334"/>
                  </a:lnTo>
                  <a:lnTo>
                    <a:pt x="27713" y="882754"/>
                  </a:lnTo>
                  <a:lnTo>
                    <a:pt x="28036" y="883639"/>
                  </a:lnTo>
                  <a:lnTo>
                    <a:pt x="28093" y="884379"/>
                  </a:lnTo>
                  <a:lnTo>
                    <a:pt x="27635" y="885424"/>
                  </a:lnTo>
                  <a:lnTo>
                    <a:pt x="28927" y="890851"/>
                  </a:lnTo>
                  <a:lnTo>
                    <a:pt x="28445" y="891624"/>
                  </a:lnTo>
                  <a:lnTo>
                    <a:pt x="25319" y="891150"/>
                  </a:lnTo>
                  <a:lnTo>
                    <a:pt x="19905" y="891974"/>
                  </a:lnTo>
                  <a:lnTo>
                    <a:pt x="17629" y="889020"/>
                  </a:lnTo>
                  <a:lnTo>
                    <a:pt x="16633" y="884325"/>
                  </a:lnTo>
                  <a:lnTo>
                    <a:pt x="15954" y="883354"/>
                  </a:lnTo>
                  <a:lnTo>
                    <a:pt x="14609" y="880684"/>
                  </a:lnTo>
                  <a:lnTo>
                    <a:pt x="13936" y="878932"/>
                  </a:lnTo>
                  <a:lnTo>
                    <a:pt x="12556" y="876221"/>
                  </a:lnTo>
                  <a:lnTo>
                    <a:pt x="12024" y="873362"/>
                  </a:lnTo>
                  <a:lnTo>
                    <a:pt x="11685" y="872500"/>
                  </a:lnTo>
                  <a:lnTo>
                    <a:pt x="12927" y="870812"/>
                  </a:lnTo>
                  <a:lnTo>
                    <a:pt x="18586" y="869138"/>
                  </a:lnTo>
                  <a:close/>
                  <a:moveTo>
                    <a:pt x="15676" y="861641"/>
                  </a:moveTo>
                  <a:lnTo>
                    <a:pt x="17853" y="861773"/>
                  </a:lnTo>
                  <a:lnTo>
                    <a:pt x="19819" y="862690"/>
                  </a:lnTo>
                  <a:lnTo>
                    <a:pt x="20084" y="863770"/>
                  </a:lnTo>
                  <a:lnTo>
                    <a:pt x="16654" y="865185"/>
                  </a:lnTo>
                  <a:lnTo>
                    <a:pt x="15812" y="865961"/>
                  </a:lnTo>
                  <a:lnTo>
                    <a:pt x="15109" y="866387"/>
                  </a:lnTo>
                  <a:lnTo>
                    <a:pt x="13241" y="866807"/>
                  </a:lnTo>
                  <a:lnTo>
                    <a:pt x="13027" y="865753"/>
                  </a:lnTo>
                  <a:lnTo>
                    <a:pt x="11336" y="864003"/>
                  </a:lnTo>
                  <a:lnTo>
                    <a:pt x="12803" y="862847"/>
                  </a:lnTo>
                  <a:close/>
                  <a:moveTo>
                    <a:pt x="35437" y="781535"/>
                  </a:moveTo>
                  <a:lnTo>
                    <a:pt x="36074" y="784820"/>
                  </a:lnTo>
                  <a:lnTo>
                    <a:pt x="35313" y="790697"/>
                  </a:lnTo>
                  <a:lnTo>
                    <a:pt x="37224" y="794177"/>
                  </a:lnTo>
                  <a:lnTo>
                    <a:pt x="37500" y="795339"/>
                  </a:lnTo>
                  <a:lnTo>
                    <a:pt x="37127" y="796672"/>
                  </a:lnTo>
                  <a:lnTo>
                    <a:pt x="35377" y="797868"/>
                  </a:lnTo>
                  <a:lnTo>
                    <a:pt x="33969" y="799268"/>
                  </a:lnTo>
                  <a:lnTo>
                    <a:pt x="31507" y="799943"/>
                  </a:lnTo>
                  <a:lnTo>
                    <a:pt x="29070" y="798845"/>
                  </a:lnTo>
                  <a:lnTo>
                    <a:pt x="26126" y="799354"/>
                  </a:lnTo>
                  <a:lnTo>
                    <a:pt x="25819" y="796955"/>
                  </a:lnTo>
                  <a:lnTo>
                    <a:pt x="26920" y="794981"/>
                  </a:lnTo>
                  <a:lnTo>
                    <a:pt x="29152" y="792635"/>
                  </a:lnTo>
                  <a:lnTo>
                    <a:pt x="30767" y="789495"/>
                  </a:lnTo>
                  <a:lnTo>
                    <a:pt x="30573" y="785069"/>
                  </a:lnTo>
                  <a:lnTo>
                    <a:pt x="31900" y="784056"/>
                  </a:lnTo>
                  <a:lnTo>
                    <a:pt x="32613" y="782495"/>
                  </a:lnTo>
                  <a:close/>
                  <a:moveTo>
                    <a:pt x="15230" y="769703"/>
                  </a:moveTo>
                  <a:lnTo>
                    <a:pt x="15939" y="769703"/>
                  </a:lnTo>
                  <a:lnTo>
                    <a:pt x="16727" y="770604"/>
                  </a:lnTo>
                  <a:lnTo>
                    <a:pt x="17138" y="772062"/>
                  </a:lnTo>
                  <a:lnTo>
                    <a:pt x="16877" y="772677"/>
                  </a:lnTo>
                  <a:lnTo>
                    <a:pt x="16244" y="773190"/>
                  </a:lnTo>
                  <a:lnTo>
                    <a:pt x="15452" y="773041"/>
                  </a:lnTo>
                  <a:lnTo>
                    <a:pt x="14805" y="772044"/>
                  </a:lnTo>
                  <a:lnTo>
                    <a:pt x="14351" y="770345"/>
                  </a:lnTo>
                  <a:close/>
                  <a:moveTo>
                    <a:pt x="50310" y="761866"/>
                  </a:moveTo>
                  <a:lnTo>
                    <a:pt x="51260" y="761930"/>
                  </a:lnTo>
                  <a:lnTo>
                    <a:pt x="52408" y="763945"/>
                  </a:lnTo>
                  <a:lnTo>
                    <a:pt x="52738" y="766128"/>
                  </a:lnTo>
                  <a:lnTo>
                    <a:pt x="53033" y="768384"/>
                  </a:lnTo>
                  <a:lnTo>
                    <a:pt x="52637" y="770528"/>
                  </a:lnTo>
                  <a:lnTo>
                    <a:pt x="51809" y="770885"/>
                  </a:lnTo>
                  <a:lnTo>
                    <a:pt x="51055" y="770831"/>
                  </a:lnTo>
                  <a:lnTo>
                    <a:pt x="50290" y="769757"/>
                  </a:lnTo>
                  <a:lnTo>
                    <a:pt x="50034" y="768344"/>
                  </a:lnTo>
                  <a:lnTo>
                    <a:pt x="48378" y="766232"/>
                  </a:lnTo>
                  <a:lnTo>
                    <a:pt x="47914" y="765235"/>
                  </a:lnTo>
                  <a:lnTo>
                    <a:pt x="47950" y="764042"/>
                  </a:lnTo>
                  <a:lnTo>
                    <a:pt x="48902" y="762332"/>
                  </a:lnTo>
                  <a:close/>
                  <a:moveTo>
                    <a:pt x="63401" y="755344"/>
                  </a:moveTo>
                  <a:lnTo>
                    <a:pt x="67947" y="756873"/>
                  </a:lnTo>
                  <a:lnTo>
                    <a:pt x="72662" y="759168"/>
                  </a:lnTo>
                  <a:lnTo>
                    <a:pt x="74338" y="760755"/>
                  </a:lnTo>
                  <a:lnTo>
                    <a:pt x="74650" y="762016"/>
                  </a:lnTo>
                  <a:lnTo>
                    <a:pt x="72589" y="764808"/>
                  </a:lnTo>
                  <a:lnTo>
                    <a:pt x="71275" y="767106"/>
                  </a:lnTo>
                  <a:lnTo>
                    <a:pt x="69019" y="769233"/>
                  </a:lnTo>
                  <a:lnTo>
                    <a:pt x="62874" y="771733"/>
                  </a:lnTo>
                  <a:lnTo>
                    <a:pt x="59793" y="770894"/>
                  </a:lnTo>
                  <a:lnTo>
                    <a:pt x="58599" y="769053"/>
                  </a:lnTo>
                  <a:lnTo>
                    <a:pt x="58016" y="767505"/>
                  </a:lnTo>
                  <a:lnTo>
                    <a:pt x="57383" y="764888"/>
                  </a:lnTo>
                  <a:lnTo>
                    <a:pt x="58432" y="763484"/>
                  </a:lnTo>
                  <a:lnTo>
                    <a:pt x="60682" y="761465"/>
                  </a:lnTo>
                  <a:lnTo>
                    <a:pt x="61518" y="760161"/>
                  </a:lnTo>
                  <a:lnTo>
                    <a:pt x="61922" y="758623"/>
                  </a:lnTo>
                  <a:lnTo>
                    <a:pt x="61781" y="757188"/>
                  </a:lnTo>
                  <a:lnTo>
                    <a:pt x="62075" y="755822"/>
                  </a:lnTo>
                  <a:close/>
                  <a:moveTo>
                    <a:pt x="45842" y="749120"/>
                  </a:moveTo>
                  <a:lnTo>
                    <a:pt x="46745" y="750690"/>
                  </a:lnTo>
                  <a:lnTo>
                    <a:pt x="47931" y="752232"/>
                  </a:lnTo>
                  <a:lnTo>
                    <a:pt x="50836" y="753450"/>
                  </a:lnTo>
                  <a:lnTo>
                    <a:pt x="50823" y="755046"/>
                  </a:lnTo>
                  <a:lnTo>
                    <a:pt x="50021" y="757198"/>
                  </a:lnTo>
                  <a:lnTo>
                    <a:pt x="48773" y="758538"/>
                  </a:lnTo>
                  <a:lnTo>
                    <a:pt x="46803" y="758775"/>
                  </a:lnTo>
                  <a:lnTo>
                    <a:pt x="43734" y="760324"/>
                  </a:lnTo>
                  <a:lnTo>
                    <a:pt x="43411" y="761671"/>
                  </a:lnTo>
                  <a:lnTo>
                    <a:pt x="43258" y="763323"/>
                  </a:lnTo>
                  <a:lnTo>
                    <a:pt x="45376" y="765314"/>
                  </a:lnTo>
                  <a:lnTo>
                    <a:pt x="46420" y="767629"/>
                  </a:lnTo>
                  <a:lnTo>
                    <a:pt x="47675" y="771102"/>
                  </a:lnTo>
                  <a:lnTo>
                    <a:pt x="48581" y="774420"/>
                  </a:lnTo>
                  <a:lnTo>
                    <a:pt x="48500" y="775447"/>
                  </a:lnTo>
                  <a:lnTo>
                    <a:pt x="48725" y="777171"/>
                  </a:lnTo>
                  <a:lnTo>
                    <a:pt x="50229" y="779851"/>
                  </a:lnTo>
                  <a:lnTo>
                    <a:pt x="50368" y="781062"/>
                  </a:lnTo>
                  <a:lnTo>
                    <a:pt x="50204" y="782263"/>
                  </a:lnTo>
                  <a:lnTo>
                    <a:pt x="49597" y="784491"/>
                  </a:lnTo>
                  <a:lnTo>
                    <a:pt x="49118" y="784798"/>
                  </a:lnTo>
                  <a:lnTo>
                    <a:pt x="47625" y="785015"/>
                  </a:lnTo>
                  <a:lnTo>
                    <a:pt x="47508" y="786370"/>
                  </a:lnTo>
                  <a:lnTo>
                    <a:pt x="47140" y="786812"/>
                  </a:lnTo>
                  <a:lnTo>
                    <a:pt x="42898" y="786948"/>
                  </a:lnTo>
                  <a:lnTo>
                    <a:pt x="40798" y="786333"/>
                  </a:lnTo>
                  <a:lnTo>
                    <a:pt x="41047" y="782258"/>
                  </a:lnTo>
                  <a:lnTo>
                    <a:pt x="38361" y="780660"/>
                  </a:lnTo>
                  <a:lnTo>
                    <a:pt x="36517" y="777967"/>
                  </a:lnTo>
                  <a:lnTo>
                    <a:pt x="34439" y="773325"/>
                  </a:lnTo>
                  <a:lnTo>
                    <a:pt x="32692" y="771897"/>
                  </a:lnTo>
                  <a:lnTo>
                    <a:pt x="30663" y="768233"/>
                  </a:lnTo>
                  <a:lnTo>
                    <a:pt x="27647" y="765103"/>
                  </a:lnTo>
                  <a:lnTo>
                    <a:pt x="31127" y="763125"/>
                  </a:lnTo>
                  <a:lnTo>
                    <a:pt x="30587" y="759660"/>
                  </a:lnTo>
                  <a:lnTo>
                    <a:pt x="32619" y="758474"/>
                  </a:lnTo>
                  <a:lnTo>
                    <a:pt x="35673" y="757235"/>
                  </a:lnTo>
                  <a:lnTo>
                    <a:pt x="37922" y="758209"/>
                  </a:lnTo>
                  <a:lnTo>
                    <a:pt x="39943" y="757865"/>
                  </a:lnTo>
                  <a:lnTo>
                    <a:pt x="40845" y="757038"/>
                  </a:lnTo>
                  <a:lnTo>
                    <a:pt x="40569" y="753505"/>
                  </a:lnTo>
                  <a:lnTo>
                    <a:pt x="41211" y="750723"/>
                  </a:lnTo>
                  <a:lnTo>
                    <a:pt x="43439" y="749287"/>
                  </a:lnTo>
                  <a:close/>
                  <a:moveTo>
                    <a:pt x="46937" y="738231"/>
                  </a:moveTo>
                  <a:lnTo>
                    <a:pt x="47332" y="738391"/>
                  </a:lnTo>
                  <a:lnTo>
                    <a:pt x="48112" y="739577"/>
                  </a:lnTo>
                  <a:lnTo>
                    <a:pt x="48644" y="741102"/>
                  </a:lnTo>
                  <a:lnTo>
                    <a:pt x="47528" y="741311"/>
                  </a:lnTo>
                  <a:lnTo>
                    <a:pt x="45740" y="741068"/>
                  </a:lnTo>
                  <a:lnTo>
                    <a:pt x="44876" y="742273"/>
                  </a:lnTo>
                  <a:lnTo>
                    <a:pt x="44434" y="742513"/>
                  </a:lnTo>
                  <a:lnTo>
                    <a:pt x="40323" y="741444"/>
                  </a:lnTo>
                  <a:lnTo>
                    <a:pt x="39686" y="740968"/>
                  </a:lnTo>
                  <a:lnTo>
                    <a:pt x="39761" y="739383"/>
                  </a:lnTo>
                  <a:lnTo>
                    <a:pt x="44142" y="739243"/>
                  </a:lnTo>
                  <a:close/>
                  <a:moveTo>
                    <a:pt x="24419" y="730565"/>
                  </a:moveTo>
                  <a:lnTo>
                    <a:pt x="25625" y="731093"/>
                  </a:lnTo>
                  <a:lnTo>
                    <a:pt x="26254" y="731847"/>
                  </a:lnTo>
                  <a:lnTo>
                    <a:pt x="26454" y="732533"/>
                  </a:lnTo>
                  <a:lnTo>
                    <a:pt x="26353" y="732786"/>
                  </a:lnTo>
                  <a:lnTo>
                    <a:pt x="22760" y="733330"/>
                  </a:lnTo>
                  <a:lnTo>
                    <a:pt x="21944" y="732405"/>
                  </a:lnTo>
                  <a:lnTo>
                    <a:pt x="21961" y="731627"/>
                  </a:lnTo>
                  <a:lnTo>
                    <a:pt x="22577" y="730981"/>
                  </a:lnTo>
                  <a:close/>
                  <a:moveTo>
                    <a:pt x="42381" y="677249"/>
                  </a:moveTo>
                  <a:lnTo>
                    <a:pt x="50133" y="679733"/>
                  </a:lnTo>
                  <a:lnTo>
                    <a:pt x="55283" y="680312"/>
                  </a:lnTo>
                  <a:lnTo>
                    <a:pt x="55559" y="682885"/>
                  </a:lnTo>
                  <a:lnTo>
                    <a:pt x="56552" y="684904"/>
                  </a:lnTo>
                  <a:lnTo>
                    <a:pt x="57143" y="688522"/>
                  </a:lnTo>
                  <a:lnTo>
                    <a:pt x="57945" y="689344"/>
                  </a:lnTo>
                  <a:lnTo>
                    <a:pt x="57529" y="691937"/>
                  </a:lnTo>
                  <a:lnTo>
                    <a:pt x="55157" y="693054"/>
                  </a:lnTo>
                  <a:lnTo>
                    <a:pt x="55367" y="695440"/>
                  </a:lnTo>
                  <a:lnTo>
                    <a:pt x="56730" y="697695"/>
                  </a:lnTo>
                  <a:lnTo>
                    <a:pt x="54740" y="698497"/>
                  </a:lnTo>
                  <a:lnTo>
                    <a:pt x="52594" y="698975"/>
                  </a:lnTo>
                  <a:lnTo>
                    <a:pt x="52098" y="699603"/>
                  </a:lnTo>
                  <a:lnTo>
                    <a:pt x="50544" y="700092"/>
                  </a:lnTo>
                  <a:lnTo>
                    <a:pt x="48655" y="701348"/>
                  </a:lnTo>
                  <a:lnTo>
                    <a:pt x="49223" y="702455"/>
                  </a:lnTo>
                  <a:lnTo>
                    <a:pt x="51601" y="704982"/>
                  </a:lnTo>
                  <a:lnTo>
                    <a:pt x="54258" y="706735"/>
                  </a:lnTo>
                  <a:lnTo>
                    <a:pt x="55717" y="709360"/>
                  </a:lnTo>
                  <a:lnTo>
                    <a:pt x="57604" y="712103"/>
                  </a:lnTo>
                  <a:lnTo>
                    <a:pt x="56682" y="713846"/>
                  </a:lnTo>
                  <a:lnTo>
                    <a:pt x="54954" y="716319"/>
                  </a:lnTo>
                  <a:lnTo>
                    <a:pt x="52196" y="717963"/>
                  </a:lnTo>
                  <a:lnTo>
                    <a:pt x="49658" y="718945"/>
                  </a:lnTo>
                  <a:lnTo>
                    <a:pt x="49958" y="723021"/>
                  </a:lnTo>
                  <a:lnTo>
                    <a:pt x="49058" y="724701"/>
                  </a:lnTo>
                  <a:lnTo>
                    <a:pt x="47151" y="725345"/>
                  </a:lnTo>
                  <a:lnTo>
                    <a:pt x="45373" y="725505"/>
                  </a:lnTo>
                  <a:lnTo>
                    <a:pt x="43566" y="725032"/>
                  </a:lnTo>
                  <a:lnTo>
                    <a:pt x="40410" y="725071"/>
                  </a:lnTo>
                  <a:lnTo>
                    <a:pt x="37261" y="723866"/>
                  </a:lnTo>
                  <a:lnTo>
                    <a:pt x="34311" y="722163"/>
                  </a:lnTo>
                  <a:lnTo>
                    <a:pt x="33490" y="721179"/>
                  </a:lnTo>
                  <a:lnTo>
                    <a:pt x="33850" y="719766"/>
                  </a:lnTo>
                  <a:lnTo>
                    <a:pt x="35975" y="716497"/>
                  </a:lnTo>
                  <a:lnTo>
                    <a:pt x="38000" y="710328"/>
                  </a:lnTo>
                  <a:lnTo>
                    <a:pt x="39348" y="701495"/>
                  </a:lnTo>
                  <a:lnTo>
                    <a:pt x="38269" y="698153"/>
                  </a:lnTo>
                  <a:lnTo>
                    <a:pt x="38403" y="696768"/>
                  </a:lnTo>
                  <a:lnTo>
                    <a:pt x="38898" y="695103"/>
                  </a:lnTo>
                  <a:lnTo>
                    <a:pt x="39144" y="693391"/>
                  </a:lnTo>
                  <a:lnTo>
                    <a:pt x="38993" y="691665"/>
                  </a:lnTo>
                  <a:lnTo>
                    <a:pt x="39250" y="690062"/>
                  </a:lnTo>
                  <a:lnTo>
                    <a:pt x="41478" y="686692"/>
                  </a:lnTo>
                  <a:lnTo>
                    <a:pt x="41806" y="685181"/>
                  </a:lnTo>
                  <a:lnTo>
                    <a:pt x="41870" y="683538"/>
                  </a:lnTo>
                  <a:lnTo>
                    <a:pt x="42834" y="680149"/>
                  </a:lnTo>
                  <a:lnTo>
                    <a:pt x="42537" y="679026"/>
                  </a:lnTo>
                  <a:lnTo>
                    <a:pt x="41713" y="678077"/>
                  </a:lnTo>
                  <a:close/>
                  <a:moveTo>
                    <a:pt x="157137" y="0"/>
                  </a:moveTo>
                  <a:lnTo>
                    <a:pt x="157542" y="2966"/>
                  </a:lnTo>
                  <a:lnTo>
                    <a:pt x="161016" y="6944"/>
                  </a:lnTo>
                  <a:lnTo>
                    <a:pt x="162147" y="11431"/>
                  </a:lnTo>
                  <a:lnTo>
                    <a:pt x="162935" y="11999"/>
                  </a:lnTo>
                  <a:lnTo>
                    <a:pt x="167711" y="14242"/>
                  </a:lnTo>
                  <a:lnTo>
                    <a:pt x="167801" y="14771"/>
                  </a:lnTo>
                  <a:lnTo>
                    <a:pt x="167100" y="15610"/>
                  </a:lnTo>
                  <a:lnTo>
                    <a:pt x="166405" y="16691"/>
                  </a:lnTo>
                  <a:lnTo>
                    <a:pt x="166889" y="18221"/>
                  </a:lnTo>
                  <a:lnTo>
                    <a:pt x="167754" y="20317"/>
                  </a:lnTo>
                  <a:lnTo>
                    <a:pt x="168040" y="22262"/>
                  </a:lnTo>
                  <a:lnTo>
                    <a:pt x="168568" y="24264"/>
                  </a:lnTo>
                  <a:lnTo>
                    <a:pt x="169094" y="27335"/>
                  </a:lnTo>
                  <a:lnTo>
                    <a:pt x="169414" y="30119"/>
                  </a:lnTo>
                  <a:lnTo>
                    <a:pt x="170630" y="34234"/>
                  </a:lnTo>
                  <a:lnTo>
                    <a:pt x="170877" y="36773"/>
                  </a:lnTo>
                  <a:lnTo>
                    <a:pt x="170897" y="38305"/>
                  </a:lnTo>
                  <a:lnTo>
                    <a:pt x="171843" y="39808"/>
                  </a:lnTo>
                  <a:lnTo>
                    <a:pt x="173695" y="41599"/>
                  </a:lnTo>
                  <a:lnTo>
                    <a:pt x="176203" y="43410"/>
                  </a:lnTo>
                  <a:lnTo>
                    <a:pt x="178190" y="45518"/>
                  </a:lnTo>
                  <a:lnTo>
                    <a:pt x="179715" y="46946"/>
                  </a:lnTo>
                  <a:lnTo>
                    <a:pt x="181558" y="48115"/>
                  </a:lnTo>
                  <a:lnTo>
                    <a:pt x="182974" y="49189"/>
                  </a:lnTo>
                  <a:lnTo>
                    <a:pt x="183528" y="49927"/>
                  </a:lnTo>
                  <a:lnTo>
                    <a:pt x="183713" y="50528"/>
                  </a:lnTo>
                  <a:lnTo>
                    <a:pt x="183101" y="51096"/>
                  </a:lnTo>
                  <a:lnTo>
                    <a:pt x="180863" y="53881"/>
                  </a:lnTo>
                  <a:lnTo>
                    <a:pt x="177744" y="58120"/>
                  </a:lnTo>
                  <a:lnTo>
                    <a:pt x="177797" y="58637"/>
                  </a:lnTo>
                  <a:lnTo>
                    <a:pt x="180787" y="61690"/>
                  </a:lnTo>
                  <a:lnTo>
                    <a:pt x="181267" y="62897"/>
                  </a:lnTo>
                  <a:lnTo>
                    <a:pt x="181232" y="64605"/>
                  </a:lnTo>
                  <a:lnTo>
                    <a:pt x="180231" y="66659"/>
                  </a:lnTo>
                  <a:lnTo>
                    <a:pt x="177003" y="67310"/>
                  </a:lnTo>
                  <a:lnTo>
                    <a:pt x="176285" y="67868"/>
                  </a:lnTo>
                  <a:lnTo>
                    <a:pt x="176196" y="68521"/>
                  </a:lnTo>
                  <a:lnTo>
                    <a:pt x="176939" y="69390"/>
                  </a:lnTo>
                  <a:lnTo>
                    <a:pt x="176824" y="71416"/>
                  </a:lnTo>
                  <a:lnTo>
                    <a:pt x="177991" y="73657"/>
                  </a:lnTo>
                  <a:lnTo>
                    <a:pt x="177388" y="74421"/>
                  </a:lnTo>
                  <a:lnTo>
                    <a:pt x="176198" y="75453"/>
                  </a:lnTo>
                  <a:lnTo>
                    <a:pt x="176165" y="76461"/>
                  </a:lnTo>
                  <a:lnTo>
                    <a:pt x="176555" y="77581"/>
                  </a:lnTo>
                  <a:lnTo>
                    <a:pt x="177807" y="78489"/>
                  </a:lnTo>
                  <a:lnTo>
                    <a:pt x="182776" y="81637"/>
                  </a:lnTo>
                  <a:lnTo>
                    <a:pt x="183169" y="82070"/>
                  </a:lnTo>
                  <a:lnTo>
                    <a:pt x="183091" y="82396"/>
                  </a:lnTo>
                  <a:lnTo>
                    <a:pt x="181169" y="84496"/>
                  </a:lnTo>
                  <a:lnTo>
                    <a:pt x="180971" y="85793"/>
                  </a:lnTo>
                  <a:lnTo>
                    <a:pt x="181024" y="87928"/>
                  </a:lnTo>
                  <a:lnTo>
                    <a:pt x="181294" y="89308"/>
                  </a:lnTo>
                  <a:lnTo>
                    <a:pt x="181913" y="89883"/>
                  </a:lnTo>
                  <a:lnTo>
                    <a:pt x="184408" y="90534"/>
                  </a:lnTo>
                  <a:lnTo>
                    <a:pt x="187491" y="95340"/>
                  </a:lnTo>
                  <a:lnTo>
                    <a:pt x="190454" y="99864"/>
                  </a:lnTo>
                  <a:lnTo>
                    <a:pt x="190416" y="103763"/>
                  </a:lnTo>
                  <a:lnTo>
                    <a:pt x="190723" y="108310"/>
                  </a:lnTo>
                  <a:lnTo>
                    <a:pt x="192605" y="111882"/>
                  </a:lnTo>
                  <a:lnTo>
                    <a:pt x="192868" y="114743"/>
                  </a:lnTo>
                  <a:lnTo>
                    <a:pt x="193503" y="117991"/>
                  </a:lnTo>
                  <a:lnTo>
                    <a:pt x="195744" y="119968"/>
                  </a:lnTo>
                  <a:lnTo>
                    <a:pt x="196619" y="123877"/>
                  </a:lnTo>
                  <a:lnTo>
                    <a:pt x="196846" y="125961"/>
                  </a:lnTo>
                  <a:lnTo>
                    <a:pt x="196707" y="127331"/>
                  </a:lnTo>
                  <a:lnTo>
                    <a:pt x="198448" y="131587"/>
                  </a:lnTo>
                  <a:lnTo>
                    <a:pt x="198652" y="135246"/>
                  </a:lnTo>
                  <a:lnTo>
                    <a:pt x="198239" y="137878"/>
                  </a:lnTo>
                  <a:lnTo>
                    <a:pt x="198260" y="139346"/>
                  </a:lnTo>
                  <a:lnTo>
                    <a:pt x="198506" y="140381"/>
                  </a:lnTo>
                  <a:lnTo>
                    <a:pt x="200001" y="141309"/>
                  </a:lnTo>
                  <a:lnTo>
                    <a:pt x="200662" y="141890"/>
                  </a:lnTo>
                  <a:lnTo>
                    <a:pt x="202871" y="142149"/>
                  </a:lnTo>
                  <a:lnTo>
                    <a:pt x="206101" y="142217"/>
                  </a:lnTo>
                  <a:lnTo>
                    <a:pt x="211620" y="141241"/>
                  </a:lnTo>
                  <a:lnTo>
                    <a:pt x="215865" y="140347"/>
                  </a:lnTo>
                  <a:lnTo>
                    <a:pt x="220583" y="145147"/>
                  </a:lnTo>
                  <a:lnTo>
                    <a:pt x="218530" y="151664"/>
                  </a:lnTo>
                  <a:lnTo>
                    <a:pt x="215250" y="162077"/>
                  </a:lnTo>
                  <a:lnTo>
                    <a:pt x="212714" y="170142"/>
                  </a:lnTo>
                  <a:lnTo>
                    <a:pt x="212297" y="171219"/>
                  </a:lnTo>
                  <a:lnTo>
                    <a:pt x="211774" y="172803"/>
                  </a:lnTo>
                  <a:lnTo>
                    <a:pt x="206308" y="175090"/>
                  </a:lnTo>
                  <a:lnTo>
                    <a:pt x="198334" y="178434"/>
                  </a:lnTo>
                  <a:lnTo>
                    <a:pt x="194249" y="180180"/>
                  </a:lnTo>
                  <a:lnTo>
                    <a:pt x="189103" y="182431"/>
                  </a:lnTo>
                  <a:lnTo>
                    <a:pt x="187856" y="184269"/>
                  </a:lnTo>
                  <a:lnTo>
                    <a:pt x="186370" y="185264"/>
                  </a:lnTo>
                  <a:lnTo>
                    <a:pt x="184736" y="186551"/>
                  </a:lnTo>
                  <a:lnTo>
                    <a:pt x="184113" y="187948"/>
                  </a:lnTo>
                  <a:lnTo>
                    <a:pt x="182588" y="188832"/>
                  </a:lnTo>
                  <a:lnTo>
                    <a:pt x="181199" y="191999"/>
                  </a:lnTo>
                  <a:lnTo>
                    <a:pt x="181199" y="194434"/>
                  </a:lnTo>
                  <a:lnTo>
                    <a:pt x="182085" y="196093"/>
                  </a:lnTo>
                  <a:lnTo>
                    <a:pt x="183625" y="196794"/>
                  </a:lnTo>
                  <a:lnTo>
                    <a:pt x="184113" y="198783"/>
                  </a:lnTo>
                  <a:lnTo>
                    <a:pt x="184597" y="200187"/>
                  </a:lnTo>
                  <a:lnTo>
                    <a:pt x="185707" y="201292"/>
                  </a:lnTo>
                  <a:lnTo>
                    <a:pt x="185428" y="202178"/>
                  </a:lnTo>
                  <a:lnTo>
                    <a:pt x="184529" y="202843"/>
                  </a:lnTo>
                  <a:lnTo>
                    <a:pt x="182864" y="203212"/>
                  </a:lnTo>
                  <a:lnTo>
                    <a:pt x="181737" y="205204"/>
                  </a:lnTo>
                  <a:lnTo>
                    <a:pt x="180436" y="210158"/>
                  </a:lnTo>
                  <a:lnTo>
                    <a:pt x="180229" y="211933"/>
                  </a:lnTo>
                  <a:lnTo>
                    <a:pt x="181709" y="216422"/>
                  </a:lnTo>
                  <a:lnTo>
                    <a:pt x="182497" y="218845"/>
                  </a:lnTo>
                  <a:lnTo>
                    <a:pt x="184629" y="227641"/>
                  </a:lnTo>
                  <a:lnTo>
                    <a:pt x="184940" y="230036"/>
                  </a:lnTo>
                  <a:lnTo>
                    <a:pt x="182015" y="233383"/>
                  </a:lnTo>
                  <a:lnTo>
                    <a:pt x="180850" y="235421"/>
                  </a:lnTo>
                  <a:lnTo>
                    <a:pt x="180434" y="237218"/>
                  </a:lnTo>
                  <a:lnTo>
                    <a:pt x="180449" y="238641"/>
                  </a:lnTo>
                  <a:lnTo>
                    <a:pt x="180714" y="239945"/>
                  </a:lnTo>
                  <a:lnTo>
                    <a:pt x="183150" y="244080"/>
                  </a:lnTo>
                  <a:lnTo>
                    <a:pt x="185983" y="247787"/>
                  </a:lnTo>
                  <a:lnTo>
                    <a:pt x="187371" y="249724"/>
                  </a:lnTo>
                  <a:lnTo>
                    <a:pt x="187371" y="252333"/>
                  </a:lnTo>
                  <a:lnTo>
                    <a:pt x="186677" y="253825"/>
                  </a:lnTo>
                  <a:lnTo>
                    <a:pt x="185171" y="254375"/>
                  </a:lnTo>
                  <a:lnTo>
                    <a:pt x="181824" y="255391"/>
                  </a:lnTo>
                  <a:lnTo>
                    <a:pt x="180436" y="256883"/>
                  </a:lnTo>
                  <a:lnTo>
                    <a:pt x="178912" y="257110"/>
                  </a:lnTo>
                  <a:lnTo>
                    <a:pt x="177456" y="255913"/>
                  </a:lnTo>
                  <a:lnTo>
                    <a:pt x="175931" y="256211"/>
                  </a:lnTo>
                  <a:lnTo>
                    <a:pt x="173990" y="257257"/>
                  </a:lnTo>
                  <a:lnTo>
                    <a:pt x="173260" y="259795"/>
                  </a:lnTo>
                  <a:lnTo>
                    <a:pt x="171564" y="264125"/>
                  </a:lnTo>
                  <a:lnTo>
                    <a:pt x="170108" y="265323"/>
                  </a:lnTo>
                  <a:lnTo>
                    <a:pt x="169024" y="268632"/>
                  </a:lnTo>
                  <a:lnTo>
                    <a:pt x="167089" y="273382"/>
                  </a:lnTo>
                  <a:lnTo>
                    <a:pt x="166156" y="276248"/>
                  </a:lnTo>
                  <a:lnTo>
                    <a:pt x="165671" y="278346"/>
                  </a:lnTo>
                  <a:lnTo>
                    <a:pt x="163723" y="279688"/>
                  </a:lnTo>
                  <a:lnTo>
                    <a:pt x="161454" y="282353"/>
                  </a:lnTo>
                  <a:lnTo>
                    <a:pt x="159708" y="284947"/>
                  </a:lnTo>
                  <a:lnTo>
                    <a:pt x="159015" y="285698"/>
                  </a:lnTo>
                  <a:lnTo>
                    <a:pt x="157697" y="285923"/>
                  </a:lnTo>
                  <a:lnTo>
                    <a:pt x="156727" y="288252"/>
                  </a:lnTo>
                  <a:lnTo>
                    <a:pt x="153436" y="291766"/>
                  </a:lnTo>
                  <a:lnTo>
                    <a:pt x="152651" y="295849"/>
                  </a:lnTo>
                  <a:lnTo>
                    <a:pt x="151459" y="298026"/>
                  </a:lnTo>
                  <a:lnTo>
                    <a:pt x="151250" y="301958"/>
                  </a:lnTo>
                  <a:lnTo>
                    <a:pt x="149433" y="309172"/>
                  </a:lnTo>
                  <a:lnTo>
                    <a:pt x="149101" y="310765"/>
                  </a:lnTo>
                  <a:lnTo>
                    <a:pt x="147264" y="312024"/>
                  </a:lnTo>
                  <a:lnTo>
                    <a:pt x="144848" y="314818"/>
                  </a:lnTo>
                  <a:lnTo>
                    <a:pt x="144057" y="316863"/>
                  </a:lnTo>
                  <a:lnTo>
                    <a:pt x="145178" y="322987"/>
                  </a:lnTo>
                  <a:lnTo>
                    <a:pt x="146573" y="329184"/>
                  </a:lnTo>
                  <a:lnTo>
                    <a:pt x="146661" y="332092"/>
                  </a:lnTo>
                  <a:lnTo>
                    <a:pt x="146120" y="336042"/>
                  </a:lnTo>
                  <a:lnTo>
                    <a:pt x="145753" y="337762"/>
                  </a:lnTo>
                  <a:lnTo>
                    <a:pt x="146676" y="338472"/>
                  </a:lnTo>
                  <a:lnTo>
                    <a:pt x="148201" y="338928"/>
                  </a:lnTo>
                  <a:lnTo>
                    <a:pt x="148685" y="340447"/>
                  </a:lnTo>
                  <a:lnTo>
                    <a:pt x="147576" y="341511"/>
                  </a:lnTo>
                  <a:lnTo>
                    <a:pt x="147092" y="343411"/>
                  </a:lnTo>
                  <a:lnTo>
                    <a:pt x="145843" y="345540"/>
                  </a:lnTo>
                  <a:lnTo>
                    <a:pt x="142151" y="346378"/>
                  </a:lnTo>
                  <a:lnTo>
                    <a:pt x="140852" y="345617"/>
                  </a:lnTo>
                  <a:lnTo>
                    <a:pt x="140435" y="346302"/>
                  </a:lnTo>
                  <a:lnTo>
                    <a:pt x="140644" y="347824"/>
                  </a:lnTo>
                  <a:lnTo>
                    <a:pt x="139820" y="349617"/>
                  </a:lnTo>
                  <a:lnTo>
                    <a:pt x="137906" y="354425"/>
                  </a:lnTo>
                  <a:lnTo>
                    <a:pt x="136642" y="358797"/>
                  </a:lnTo>
                  <a:lnTo>
                    <a:pt x="135909" y="360704"/>
                  </a:lnTo>
                  <a:lnTo>
                    <a:pt x="136206" y="362307"/>
                  </a:lnTo>
                  <a:lnTo>
                    <a:pt x="136830" y="363224"/>
                  </a:lnTo>
                  <a:lnTo>
                    <a:pt x="136900" y="364063"/>
                  </a:lnTo>
                  <a:lnTo>
                    <a:pt x="135847" y="365120"/>
                  </a:lnTo>
                  <a:lnTo>
                    <a:pt x="134889" y="366814"/>
                  </a:lnTo>
                  <a:lnTo>
                    <a:pt x="133849" y="367044"/>
                  </a:lnTo>
                  <a:lnTo>
                    <a:pt x="132741" y="366583"/>
                  </a:lnTo>
                  <a:lnTo>
                    <a:pt x="131562" y="367579"/>
                  </a:lnTo>
                  <a:lnTo>
                    <a:pt x="131322" y="369659"/>
                  </a:lnTo>
                  <a:lnTo>
                    <a:pt x="130672" y="372305"/>
                  </a:lnTo>
                  <a:lnTo>
                    <a:pt x="130375" y="375401"/>
                  </a:lnTo>
                  <a:lnTo>
                    <a:pt x="129898" y="379366"/>
                  </a:lnTo>
                  <a:lnTo>
                    <a:pt x="131408" y="382085"/>
                  </a:lnTo>
                  <a:lnTo>
                    <a:pt x="133324" y="387012"/>
                  </a:lnTo>
                  <a:lnTo>
                    <a:pt x="134751" y="388188"/>
                  </a:lnTo>
                  <a:lnTo>
                    <a:pt x="136345" y="388111"/>
                  </a:lnTo>
                  <a:lnTo>
                    <a:pt x="137593" y="389110"/>
                  </a:lnTo>
                  <a:lnTo>
                    <a:pt x="138287" y="390266"/>
                  </a:lnTo>
                  <a:lnTo>
                    <a:pt x="137360" y="392328"/>
                  </a:lnTo>
                  <a:lnTo>
                    <a:pt x="135721" y="392647"/>
                  </a:lnTo>
                  <a:lnTo>
                    <a:pt x="135514" y="393804"/>
                  </a:lnTo>
                  <a:lnTo>
                    <a:pt x="135999" y="396419"/>
                  </a:lnTo>
                  <a:lnTo>
                    <a:pt x="136623" y="398960"/>
                  </a:lnTo>
                  <a:lnTo>
                    <a:pt x="138199" y="400178"/>
                  </a:lnTo>
                  <a:lnTo>
                    <a:pt x="138910" y="403580"/>
                  </a:lnTo>
                  <a:lnTo>
                    <a:pt x="140435" y="404738"/>
                  </a:lnTo>
                  <a:lnTo>
                    <a:pt x="140250" y="409095"/>
                  </a:lnTo>
                  <a:lnTo>
                    <a:pt x="141792" y="414219"/>
                  </a:lnTo>
                  <a:lnTo>
                    <a:pt x="143417" y="415704"/>
                  </a:lnTo>
                  <a:lnTo>
                    <a:pt x="144180" y="416400"/>
                  </a:lnTo>
                  <a:lnTo>
                    <a:pt x="143668" y="418638"/>
                  </a:lnTo>
                  <a:lnTo>
                    <a:pt x="142377" y="420423"/>
                  </a:lnTo>
                  <a:lnTo>
                    <a:pt x="142101" y="423290"/>
                  </a:lnTo>
                  <a:lnTo>
                    <a:pt x="142586" y="425382"/>
                  </a:lnTo>
                  <a:lnTo>
                    <a:pt x="144235" y="427359"/>
                  </a:lnTo>
                  <a:lnTo>
                    <a:pt x="145522" y="427584"/>
                  </a:lnTo>
                  <a:lnTo>
                    <a:pt x="147370" y="426777"/>
                  </a:lnTo>
                  <a:lnTo>
                    <a:pt x="149311" y="427709"/>
                  </a:lnTo>
                  <a:lnTo>
                    <a:pt x="149587" y="429415"/>
                  </a:lnTo>
                  <a:lnTo>
                    <a:pt x="149865" y="430966"/>
                  </a:lnTo>
                  <a:lnTo>
                    <a:pt x="148826" y="432986"/>
                  </a:lnTo>
                  <a:lnTo>
                    <a:pt x="147715" y="436715"/>
                  </a:lnTo>
                  <a:lnTo>
                    <a:pt x="147417" y="440422"/>
                  </a:lnTo>
                  <a:lnTo>
                    <a:pt x="147742" y="446073"/>
                  </a:lnTo>
                  <a:lnTo>
                    <a:pt x="148248" y="450458"/>
                  </a:lnTo>
                  <a:lnTo>
                    <a:pt x="148354" y="453223"/>
                  </a:lnTo>
                  <a:lnTo>
                    <a:pt x="148479" y="454474"/>
                  </a:lnTo>
                  <a:lnTo>
                    <a:pt x="147786" y="455334"/>
                  </a:lnTo>
                  <a:lnTo>
                    <a:pt x="146098" y="455777"/>
                  </a:lnTo>
                  <a:lnTo>
                    <a:pt x="144666" y="455958"/>
                  </a:lnTo>
                  <a:lnTo>
                    <a:pt x="143417" y="456659"/>
                  </a:lnTo>
                  <a:lnTo>
                    <a:pt x="143139" y="458066"/>
                  </a:lnTo>
                  <a:lnTo>
                    <a:pt x="142165" y="460411"/>
                  </a:lnTo>
                  <a:lnTo>
                    <a:pt x="141156" y="462151"/>
                  </a:lnTo>
                  <a:lnTo>
                    <a:pt x="139394" y="464680"/>
                  </a:lnTo>
                  <a:lnTo>
                    <a:pt x="138280" y="467298"/>
                  </a:lnTo>
                  <a:lnTo>
                    <a:pt x="137385" y="469021"/>
                  </a:lnTo>
                  <a:lnTo>
                    <a:pt x="137465" y="470217"/>
                  </a:lnTo>
                  <a:lnTo>
                    <a:pt x="136823" y="472525"/>
                  </a:lnTo>
                  <a:lnTo>
                    <a:pt x="136163" y="474442"/>
                  </a:lnTo>
                  <a:lnTo>
                    <a:pt x="134768" y="480907"/>
                  </a:lnTo>
                  <a:lnTo>
                    <a:pt x="132906" y="482252"/>
                  </a:lnTo>
                  <a:lnTo>
                    <a:pt x="131422" y="482918"/>
                  </a:lnTo>
                  <a:lnTo>
                    <a:pt x="130660" y="483783"/>
                  </a:lnTo>
                  <a:lnTo>
                    <a:pt x="131239" y="485540"/>
                  </a:lnTo>
                  <a:lnTo>
                    <a:pt x="132809" y="486065"/>
                  </a:lnTo>
                  <a:lnTo>
                    <a:pt x="133364" y="487482"/>
                  </a:lnTo>
                  <a:lnTo>
                    <a:pt x="133156" y="489689"/>
                  </a:lnTo>
                  <a:lnTo>
                    <a:pt x="134196" y="491738"/>
                  </a:lnTo>
                  <a:lnTo>
                    <a:pt x="134094" y="494222"/>
                  </a:lnTo>
                  <a:lnTo>
                    <a:pt x="135097" y="498918"/>
                  </a:lnTo>
                  <a:lnTo>
                    <a:pt x="134196" y="502000"/>
                  </a:lnTo>
                  <a:lnTo>
                    <a:pt x="134501" y="504660"/>
                  </a:lnTo>
                  <a:lnTo>
                    <a:pt x="134474" y="507300"/>
                  </a:lnTo>
                  <a:lnTo>
                    <a:pt x="133156" y="509355"/>
                  </a:lnTo>
                  <a:lnTo>
                    <a:pt x="130452" y="509752"/>
                  </a:lnTo>
                  <a:lnTo>
                    <a:pt x="128968" y="511651"/>
                  </a:lnTo>
                  <a:lnTo>
                    <a:pt x="126432" y="513717"/>
                  </a:lnTo>
                  <a:lnTo>
                    <a:pt x="126154" y="515382"/>
                  </a:lnTo>
                  <a:lnTo>
                    <a:pt x="125738" y="516890"/>
                  </a:lnTo>
                  <a:lnTo>
                    <a:pt x="124699" y="517445"/>
                  </a:lnTo>
                  <a:lnTo>
                    <a:pt x="123104" y="517445"/>
                  </a:lnTo>
                  <a:lnTo>
                    <a:pt x="121786" y="517684"/>
                  </a:lnTo>
                  <a:lnTo>
                    <a:pt x="119940" y="519640"/>
                  </a:lnTo>
                  <a:lnTo>
                    <a:pt x="117974" y="520698"/>
                  </a:lnTo>
                  <a:lnTo>
                    <a:pt x="117524" y="522276"/>
                  </a:lnTo>
                  <a:lnTo>
                    <a:pt x="117697" y="524196"/>
                  </a:lnTo>
                  <a:lnTo>
                    <a:pt x="116657" y="525388"/>
                  </a:lnTo>
                  <a:lnTo>
                    <a:pt x="115340" y="527616"/>
                  </a:lnTo>
                  <a:lnTo>
                    <a:pt x="114508" y="530005"/>
                  </a:lnTo>
                  <a:lnTo>
                    <a:pt x="115340" y="532235"/>
                  </a:lnTo>
                  <a:lnTo>
                    <a:pt x="116241" y="536223"/>
                  </a:lnTo>
                  <a:lnTo>
                    <a:pt x="116378" y="537898"/>
                  </a:lnTo>
                  <a:lnTo>
                    <a:pt x="115235" y="541199"/>
                  </a:lnTo>
                  <a:lnTo>
                    <a:pt x="114299" y="543329"/>
                  </a:lnTo>
                  <a:lnTo>
                    <a:pt x="115200" y="546048"/>
                  </a:lnTo>
                  <a:lnTo>
                    <a:pt x="115962" y="547565"/>
                  </a:lnTo>
                  <a:lnTo>
                    <a:pt x="115251" y="550905"/>
                  </a:lnTo>
                  <a:lnTo>
                    <a:pt x="114646" y="553011"/>
                  </a:lnTo>
                  <a:lnTo>
                    <a:pt x="115132" y="556860"/>
                  </a:lnTo>
                  <a:lnTo>
                    <a:pt x="116941" y="561195"/>
                  </a:lnTo>
                  <a:lnTo>
                    <a:pt x="118666" y="565052"/>
                  </a:lnTo>
                  <a:lnTo>
                    <a:pt x="118920" y="569547"/>
                  </a:lnTo>
                  <a:lnTo>
                    <a:pt x="119368" y="573109"/>
                  </a:lnTo>
                  <a:lnTo>
                    <a:pt x="120192" y="576974"/>
                  </a:lnTo>
                  <a:lnTo>
                    <a:pt x="121925" y="578507"/>
                  </a:lnTo>
                  <a:lnTo>
                    <a:pt x="123244" y="579798"/>
                  </a:lnTo>
                  <a:lnTo>
                    <a:pt x="122965" y="581657"/>
                  </a:lnTo>
                  <a:lnTo>
                    <a:pt x="121994" y="583919"/>
                  </a:lnTo>
                  <a:lnTo>
                    <a:pt x="120608" y="585617"/>
                  </a:lnTo>
                  <a:lnTo>
                    <a:pt x="117172" y="586181"/>
                  </a:lnTo>
                  <a:lnTo>
                    <a:pt x="114379" y="587715"/>
                  </a:lnTo>
                  <a:lnTo>
                    <a:pt x="112136" y="588781"/>
                  </a:lnTo>
                  <a:lnTo>
                    <a:pt x="110426" y="590068"/>
                  </a:lnTo>
                  <a:lnTo>
                    <a:pt x="109199" y="591436"/>
                  </a:lnTo>
                  <a:lnTo>
                    <a:pt x="108590" y="592936"/>
                  </a:lnTo>
                  <a:lnTo>
                    <a:pt x="109000" y="599472"/>
                  </a:lnTo>
                  <a:lnTo>
                    <a:pt x="108731" y="601886"/>
                  </a:lnTo>
                  <a:lnTo>
                    <a:pt x="107581" y="605309"/>
                  </a:lnTo>
                  <a:lnTo>
                    <a:pt x="106505" y="608073"/>
                  </a:lnTo>
                  <a:lnTo>
                    <a:pt x="106049" y="608904"/>
                  </a:lnTo>
                  <a:lnTo>
                    <a:pt x="105910" y="610125"/>
                  </a:lnTo>
                  <a:lnTo>
                    <a:pt x="105703" y="611265"/>
                  </a:lnTo>
                  <a:lnTo>
                    <a:pt x="104496" y="611524"/>
                  </a:lnTo>
                  <a:lnTo>
                    <a:pt x="102790" y="611021"/>
                  </a:lnTo>
                  <a:lnTo>
                    <a:pt x="101820" y="611348"/>
                  </a:lnTo>
                  <a:lnTo>
                    <a:pt x="101126" y="612243"/>
                  </a:lnTo>
                  <a:lnTo>
                    <a:pt x="101712" y="614384"/>
                  </a:lnTo>
                  <a:lnTo>
                    <a:pt x="102339" y="618151"/>
                  </a:lnTo>
                  <a:lnTo>
                    <a:pt x="103206" y="619750"/>
                  </a:lnTo>
                  <a:lnTo>
                    <a:pt x="102972" y="621016"/>
                  </a:lnTo>
                  <a:lnTo>
                    <a:pt x="102651" y="623754"/>
                  </a:lnTo>
                  <a:lnTo>
                    <a:pt x="101520" y="625972"/>
                  </a:lnTo>
                  <a:lnTo>
                    <a:pt x="100017" y="625962"/>
                  </a:lnTo>
                  <a:lnTo>
                    <a:pt x="99046" y="626863"/>
                  </a:lnTo>
                  <a:lnTo>
                    <a:pt x="98632" y="628418"/>
                  </a:lnTo>
                  <a:lnTo>
                    <a:pt x="99081" y="630445"/>
                  </a:lnTo>
                  <a:lnTo>
                    <a:pt x="101057" y="632104"/>
                  </a:lnTo>
                  <a:lnTo>
                    <a:pt x="101750" y="633171"/>
                  </a:lnTo>
                  <a:lnTo>
                    <a:pt x="101403" y="634565"/>
                  </a:lnTo>
                  <a:lnTo>
                    <a:pt x="99878" y="635140"/>
                  </a:lnTo>
                  <a:lnTo>
                    <a:pt x="98978" y="636289"/>
                  </a:lnTo>
                  <a:lnTo>
                    <a:pt x="98119" y="638848"/>
                  </a:lnTo>
                  <a:lnTo>
                    <a:pt x="96971" y="641739"/>
                  </a:lnTo>
                  <a:lnTo>
                    <a:pt x="95745" y="643877"/>
                  </a:lnTo>
                  <a:lnTo>
                    <a:pt x="95511" y="646810"/>
                  </a:lnTo>
                  <a:lnTo>
                    <a:pt x="97243" y="649937"/>
                  </a:lnTo>
                  <a:lnTo>
                    <a:pt x="97049" y="653002"/>
                  </a:lnTo>
                  <a:lnTo>
                    <a:pt x="96926" y="661996"/>
                  </a:lnTo>
                  <a:lnTo>
                    <a:pt x="96758" y="665051"/>
                  </a:lnTo>
                  <a:lnTo>
                    <a:pt x="97291" y="670116"/>
                  </a:lnTo>
                  <a:lnTo>
                    <a:pt x="96620" y="671514"/>
                  </a:lnTo>
                  <a:lnTo>
                    <a:pt x="96274" y="672841"/>
                  </a:lnTo>
                  <a:lnTo>
                    <a:pt x="97968" y="676533"/>
                  </a:lnTo>
                  <a:lnTo>
                    <a:pt x="99855" y="682511"/>
                  </a:lnTo>
                  <a:lnTo>
                    <a:pt x="100363" y="684891"/>
                  </a:lnTo>
                  <a:lnTo>
                    <a:pt x="100086" y="686557"/>
                  </a:lnTo>
                  <a:lnTo>
                    <a:pt x="97554" y="687971"/>
                  </a:lnTo>
                  <a:lnTo>
                    <a:pt x="95441" y="688558"/>
                  </a:lnTo>
                  <a:lnTo>
                    <a:pt x="94194" y="687557"/>
                  </a:lnTo>
                  <a:lnTo>
                    <a:pt x="93361" y="687975"/>
                  </a:lnTo>
                  <a:lnTo>
                    <a:pt x="92391" y="689725"/>
                  </a:lnTo>
                  <a:lnTo>
                    <a:pt x="91280" y="691143"/>
                  </a:lnTo>
                  <a:lnTo>
                    <a:pt x="90865" y="692562"/>
                  </a:lnTo>
                  <a:lnTo>
                    <a:pt x="92043" y="694400"/>
                  </a:lnTo>
                  <a:lnTo>
                    <a:pt x="92668" y="697905"/>
                  </a:lnTo>
                  <a:lnTo>
                    <a:pt x="91351" y="699411"/>
                  </a:lnTo>
                  <a:lnTo>
                    <a:pt x="90380" y="701084"/>
                  </a:lnTo>
                  <a:lnTo>
                    <a:pt x="90727" y="703262"/>
                  </a:lnTo>
                  <a:lnTo>
                    <a:pt x="91143" y="707199"/>
                  </a:lnTo>
                  <a:lnTo>
                    <a:pt x="90311" y="713747"/>
                  </a:lnTo>
                  <a:lnTo>
                    <a:pt x="91428" y="716070"/>
                  </a:lnTo>
                  <a:lnTo>
                    <a:pt x="92637" y="717187"/>
                  </a:lnTo>
                  <a:lnTo>
                    <a:pt x="96596" y="718521"/>
                  </a:lnTo>
                  <a:lnTo>
                    <a:pt x="99565" y="719183"/>
                  </a:lnTo>
                  <a:lnTo>
                    <a:pt x="100347" y="721353"/>
                  </a:lnTo>
                  <a:lnTo>
                    <a:pt x="100011" y="723119"/>
                  </a:lnTo>
                  <a:lnTo>
                    <a:pt x="98584" y="723993"/>
                  </a:lnTo>
                  <a:lnTo>
                    <a:pt x="96434" y="724751"/>
                  </a:lnTo>
                  <a:lnTo>
                    <a:pt x="96434" y="727608"/>
                  </a:lnTo>
                  <a:lnTo>
                    <a:pt x="98274" y="730294"/>
                  </a:lnTo>
                  <a:lnTo>
                    <a:pt x="100347" y="732240"/>
                  </a:lnTo>
                  <a:lnTo>
                    <a:pt x="100800" y="733991"/>
                  </a:lnTo>
                  <a:lnTo>
                    <a:pt x="100683" y="735783"/>
                  </a:lnTo>
                  <a:lnTo>
                    <a:pt x="99229" y="737285"/>
                  </a:lnTo>
                  <a:lnTo>
                    <a:pt x="101227" y="740541"/>
                  </a:lnTo>
                  <a:lnTo>
                    <a:pt x="102136" y="742748"/>
                  </a:lnTo>
                  <a:lnTo>
                    <a:pt x="101221" y="744451"/>
                  </a:lnTo>
                  <a:lnTo>
                    <a:pt x="99928" y="747003"/>
                  </a:lnTo>
                  <a:lnTo>
                    <a:pt x="98782" y="748226"/>
                  </a:lnTo>
                  <a:lnTo>
                    <a:pt x="98789" y="749614"/>
                  </a:lnTo>
                  <a:lnTo>
                    <a:pt x="98315" y="752433"/>
                  </a:lnTo>
                  <a:lnTo>
                    <a:pt x="98206" y="755194"/>
                  </a:lnTo>
                  <a:lnTo>
                    <a:pt x="98588" y="756843"/>
                  </a:lnTo>
                  <a:lnTo>
                    <a:pt x="111122" y="758146"/>
                  </a:lnTo>
                  <a:lnTo>
                    <a:pt x="113990" y="758654"/>
                  </a:lnTo>
                  <a:lnTo>
                    <a:pt x="115555" y="760301"/>
                  </a:lnTo>
                  <a:lnTo>
                    <a:pt x="115332" y="762366"/>
                  </a:lnTo>
                  <a:lnTo>
                    <a:pt x="113765" y="764566"/>
                  </a:lnTo>
                  <a:lnTo>
                    <a:pt x="112759" y="768701"/>
                  </a:lnTo>
                  <a:lnTo>
                    <a:pt x="110300" y="769392"/>
                  </a:lnTo>
                  <a:lnTo>
                    <a:pt x="107839" y="768286"/>
                  </a:lnTo>
                  <a:lnTo>
                    <a:pt x="105172" y="768668"/>
                  </a:lnTo>
                  <a:lnTo>
                    <a:pt x="102857" y="768931"/>
                  </a:lnTo>
                  <a:lnTo>
                    <a:pt x="99531" y="769056"/>
                  </a:lnTo>
                  <a:lnTo>
                    <a:pt x="95113" y="769590"/>
                  </a:lnTo>
                  <a:lnTo>
                    <a:pt x="92408" y="768977"/>
                  </a:lnTo>
                  <a:lnTo>
                    <a:pt x="92186" y="770495"/>
                  </a:lnTo>
                  <a:lnTo>
                    <a:pt x="92967" y="773116"/>
                  </a:lnTo>
                  <a:lnTo>
                    <a:pt x="98782" y="773945"/>
                  </a:lnTo>
                  <a:lnTo>
                    <a:pt x="104261" y="775466"/>
                  </a:lnTo>
                  <a:lnTo>
                    <a:pt x="105909" y="778246"/>
                  </a:lnTo>
                  <a:lnTo>
                    <a:pt x="108136" y="781396"/>
                  </a:lnTo>
                  <a:lnTo>
                    <a:pt x="110411" y="783350"/>
                  </a:lnTo>
                  <a:lnTo>
                    <a:pt x="110523" y="786539"/>
                  </a:lnTo>
                  <a:lnTo>
                    <a:pt x="106946" y="789866"/>
                  </a:lnTo>
                  <a:lnTo>
                    <a:pt x="106497" y="792229"/>
                  </a:lnTo>
                  <a:lnTo>
                    <a:pt x="101801" y="792925"/>
                  </a:lnTo>
                  <a:lnTo>
                    <a:pt x="100460" y="794316"/>
                  </a:lnTo>
                  <a:lnTo>
                    <a:pt x="99789" y="798907"/>
                  </a:lnTo>
                  <a:lnTo>
                    <a:pt x="100347" y="802530"/>
                  </a:lnTo>
                  <a:lnTo>
                    <a:pt x="102136" y="803783"/>
                  </a:lnTo>
                  <a:lnTo>
                    <a:pt x="103367" y="806156"/>
                  </a:lnTo>
                  <a:lnTo>
                    <a:pt x="102025" y="808948"/>
                  </a:lnTo>
                  <a:lnTo>
                    <a:pt x="98860" y="810877"/>
                  </a:lnTo>
                  <a:lnTo>
                    <a:pt x="97177" y="812709"/>
                  </a:lnTo>
                  <a:lnTo>
                    <a:pt x="98230" y="814176"/>
                  </a:lnTo>
                  <a:lnTo>
                    <a:pt x="99663" y="816500"/>
                  </a:lnTo>
                  <a:lnTo>
                    <a:pt x="100056" y="817766"/>
                  </a:lnTo>
                  <a:lnTo>
                    <a:pt x="100837" y="821199"/>
                  </a:lnTo>
                  <a:lnTo>
                    <a:pt x="101752" y="825994"/>
                  </a:lnTo>
                  <a:lnTo>
                    <a:pt x="101640" y="828318"/>
                  </a:lnTo>
                  <a:lnTo>
                    <a:pt x="100801" y="830057"/>
                  </a:lnTo>
                  <a:lnTo>
                    <a:pt x="97664" y="832793"/>
                  </a:lnTo>
                  <a:lnTo>
                    <a:pt x="95540" y="834060"/>
                  </a:lnTo>
                  <a:lnTo>
                    <a:pt x="95124" y="837433"/>
                  </a:lnTo>
                  <a:lnTo>
                    <a:pt x="94962" y="839968"/>
                  </a:lnTo>
                  <a:lnTo>
                    <a:pt x="95184" y="842257"/>
                  </a:lnTo>
                  <a:lnTo>
                    <a:pt x="96546" y="844079"/>
                  </a:lnTo>
                  <a:lnTo>
                    <a:pt x="96434" y="845917"/>
                  </a:lnTo>
                  <a:lnTo>
                    <a:pt x="94569" y="846308"/>
                  </a:lnTo>
                  <a:lnTo>
                    <a:pt x="92967" y="847191"/>
                  </a:lnTo>
                  <a:lnTo>
                    <a:pt x="91401" y="850445"/>
                  </a:lnTo>
                  <a:lnTo>
                    <a:pt x="86850" y="853773"/>
                  </a:lnTo>
                  <a:lnTo>
                    <a:pt x="85251" y="855265"/>
                  </a:lnTo>
                  <a:lnTo>
                    <a:pt x="85365" y="857821"/>
                  </a:lnTo>
                  <a:lnTo>
                    <a:pt x="83562" y="861477"/>
                  </a:lnTo>
                  <a:lnTo>
                    <a:pt x="82050" y="864659"/>
                  </a:lnTo>
                  <a:lnTo>
                    <a:pt x="80892" y="867636"/>
                  </a:lnTo>
                  <a:lnTo>
                    <a:pt x="81115" y="870771"/>
                  </a:lnTo>
                  <a:lnTo>
                    <a:pt x="83680" y="872149"/>
                  </a:lnTo>
                  <a:lnTo>
                    <a:pt x="85699" y="875197"/>
                  </a:lnTo>
                  <a:lnTo>
                    <a:pt x="86594" y="879056"/>
                  </a:lnTo>
                  <a:lnTo>
                    <a:pt x="85029" y="883494"/>
                  </a:lnTo>
                  <a:lnTo>
                    <a:pt x="81393" y="885169"/>
                  </a:lnTo>
                  <a:lnTo>
                    <a:pt x="79245" y="887055"/>
                  </a:lnTo>
                  <a:lnTo>
                    <a:pt x="78597" y="888485"/>
                  </a:lnTo>
                  <a:lnTo>
                    <a:pt x="79167" y="893148"/>
                  </a:lnTo>
                  <a:lnTo>
                    <a:pt x="79019" y="895339"/>
                  </a:lnTo>
                  <a:lnTo>
                    <a:pt x="78445" y="897400"/>
                  </a:lnTo>
                  <a:lnTo>
                    <a:pt x="77510" y="898992"/>
                  </a:lnTo>
                  <a:lnTo>
                    <a:pt x="75552" y="900778"/>
                  </a:lnTo>
                  <a:lnTo>
                    <a:pt x="72079" y="902337"/>
                  </a:lnTo>
                  <a:lnTo>
                    <a:pt x="69131" y="903409"/>
                  </a:lnTo>
                  <a:lnTo>
                    <a:pt x="67814" y="904639"/>
                  </a:lnTo>
                  <a:lnTo>
                    <a:pt x="66270" y="907341"/>
                  </a:lnTo>
                  <a:lnTo>
                    <a:pt x="64893" y="910327"/>
                  </a:lnTo>
                  <a:lnTo>
                    <a:pt x="65238" y="914025"/>
                  </a:lnTo>
                  <a:lnTo>
                    <a:pt x="56964" y="914459"/>
                  </a:lnTo>
                  <a:lnTo>
                    <a:pt x="56405" y="917211"/>
                  </a:lnTo>
                  <a:lnTo>
                    <a:pt x="54615" y="919388"/>
                  </a:lnTo>
                  <a:lnTo>
                    <a:pt x="54055" y="923307"/>
                  </a:lnTo>
                  <a:lnTo>
                    <a:pt x="55874" y="927102"/>
                  </a:lnTo>
                  <a:lnTo>
                    <a:pt x="56739" y="930287"/>
                  </a:lnTo>
                  <a:lnTo>
                    <a:pt x="55257" y="934133"/>
                  </a:lnTo>
                  <a:lnTo>
                    <a:pt x="55793" y="938081"/>
                  </a:lnTo>
                  <a:lnTo>
                    <a:pt x="55957" y="941229"/>
                  </a:lnTo>
                  <a:lnTo>
                    <a:pt x="58864" y="944741"/>
                  </a:lnTo>
                  <a:lnTo>
                    <a:pt x="60763" y="949084"/>
                  </a:lnTo>
                  <a:lnTo>
                    <a:pt x="61716" y="952765"/>
                  </a:lnTo>
                  <a:lnTo>
                    <a:pt x="62287" y="955626"/>
                  </a:lnTo>
                  <a:lnTo>
                    <a:pt x="63048" y="957368"/>
                  </a:lnTo>
                  <a:lnTo>
                    <a:pt x="64242" y="959345"/>
                  </a:lnTo>
                  <a:lnTo>
                    <a:pt x="64789" y="961623"/>
                  </a:lnTo>
                  <a:lnTo>
                    <a:pt x="66578" y="962360"/>
                  </a:lnTo>
                  <a:lnTo>
                    <a:pt x="69794" y="960227"/>
                  </a:lnTo>
                  <a:lnTo>
                    <a:pt x="72068" y="958781"/>
                  </a:lnTo>
                  <a:lnTo>
                    <a:pt x="73647" y="958267"/>
                  </a:lnTo>
                  <a:lnTo>
                    <a:pt x="78292" y="958599"/>
                  </a:lnTo>
                  <a:lnTo>
                    <a:pt x="81097" y="957261"/>
                  </a:lnTo>
                  <a:lnTo>
                    <a:pt x="82356" y="957400"/>
                  </a:lnTo>
                  <a:lnTo>
                    <a:pt x="84069" y="958152"/>
                  </a:lnTo>
                  <a:lnTo>
                    <a:pt x="85397" y="959739"/>
                  </a:lnTo>
                  <a:lnTo>
                    <a:pt x="86400" y="963335"/>
                  </a:lnTo>
                  <a:lnTo>
                    <a:pt x="87017" y="967372"/>
                  </a:lnTo>
                  <a:lnTo>
                    <a:pt x="86230" y="971495"/>
                  </a:lnTo>
                  <a:lnTo>
                    <a:pt x="84917" y="972392"/>
                  </a:lnTo>
                  <a:lnTo>
                    <a:pt x="84469" y="973573"/>
                  </a:lnTo>
                  <a:lnTo>
                    <a:pt x="84917" y="976090"/>
                  </a:lnTo>
                  <a:lnTo>
                    <a:pt x="86369" y="977866"/>
                  </a:lnTo>
                  <a:lnTo>
                    <a:pt x="86335" y="980406"/>
                  </a:lnTo>
                  <a:lnTo>
                    <a:pt x="84733" y="986174"/>
                  </a:lnTo>
                  <a:lnTo>
                    <a:pt x="83687" y="988550"/>
                  </a:lnTo>
                  <a:lnTo>
                    <a:pt x="85542" y="991232"/>
                  </a:lnTo>
                  <a:lnTo>
                    <a:pt x="87203" y="993623"/>
                  </a:lnTo>
                  <a:lnTo>
                    <a:pt x="90550" y="995411"/>
                  </a:lnTo>
                  <a:lnTo>
                    <a:pt x="93304" y="997934"/>
                  </a:lnTo>
                  <a:lnTo>
                    <a:pt x="95204" y="1000023"/>
                  </a:lnTo>
                  <a:lnTo>
                    <a:pt x="94757" y="1002861"/>
                  </a:lnTo>
                  <a:lnTo>
                    <a:pt x="96087" y="1003723"/>
                  </a:lnTo>
                  <a:lnTo>
                    <a:pt x="101211" y="1003782"/>
                  </a:lnTo>
                  <a:lnTo>
                    <a:pt x="108864" y="1003872"/>
                  </a:lnTo>
                  <a:lnTo>
                    <a:pt x="120822" y="1004014"/>
                  </a:lnTo>
                  <a:lnTo>
                    <a:pt x="132493" y="1004153"/>
                  </a:lnTo>
                  <a:lnTo>
                    <a:pt x="145745" y="1004354"/>
                  </a:lnTo>
                  <a:lnTo>
                    <a:pt x="152024" y="1006634"/>
                  </a:lnTo>
                  <a:lnTo>
                    <a:pt x="157708" y="1008697"/>
                  </a:lnTo>
                  <a:lnTo>
                    <a:pt x="164865" y="1008697"/>
                  </a:lnTo>
                  <a:lnTo>
                    <a:pt x="172007" y="1011142"/>
                  </a:lnTo>
                  <a:lnTo>
                    <a:pt x="177315" y="1012753"/>
                  </a:lnTo>
                  <a:lnTo>
                    <a:pt x="180495" y="1013361"/>
                  </a:lnTo>
                  <a:lnTo>
                    <a:pt x="183761" y="1013942"/>
                  </a:lnTo>
                  <a:lnTo>
                    <a:pt x="184208" y="1016197"/>
                  </a:lnTo>
                  <a:lnTo>
                    <a:pt x="169911" y="1012998"/>
                  </a:lnTo>
                  <a:lnTo>
                    <a:pt x="166701" y="1011255"/>
                  </a:lnTo>
                  <a:lnTo>
                    <a:pt x="163982" y="1011052"/>
                  </a:lnTo>
                  <a:lnTo>
                    <a:pt x="158762" y="1013228"/>
                  </a:lnTo>
                  <a:lnTo>
                    <a:pt x="155878" y="1018410"/>
                  </a:lnTo>
                  <a:lnTo>
                    <a:pt x="154365" y="1019881"/>
                  </a:lnTo>
                  <a:lnTo>
                    <a:pt x="150739" y="1021273"/>
                  </a:lnTo>
                  <a:lnTo>
                    <a:pt x="147090" y="1021546"/>
                  </a:lnTo>
                  <a:lnTo>
                    <a:pt x="134823" y="1026577"/>
                  </a:lnTo>
                  <a:lnTo>
                    <a:pt x="130462" y="1027008"/>
                  </a:lnTo>
                  <a:lnTo>
                    <a:pt x="127487" y="1028344"/>
                  </a:lnTo>
                  <a:lnTo>
                    <a:pt x="124575" y="1030270"/>
                  </a:lnTo>
                  <a:lnTo>
                    <a:pt x="123462" y="1034408"/>
                  </a:lnTo>
                  <a:lnTo>
                    <a:pt x="123915" y="1036931"/>
                  </a:lnTo>
                  <a:lnTo>
                    <a:pt x="120597" y="1046002"/>
                  </a:lnTo>
                  <a:lnTo>
                    <a:pt x="119777" y="1051058"/>
                  </a:lnTo>
                  <a:lnTo>
                    <a:pt x="119758" y="1053637"/>
                  </a:lnTo>
                  <a:lnTo>
                    <a:pt x="120704" y="1057856"/>
                  </a:lnTo>
                  <a:lnTo>
                    <a:pt x="119486" y="1065091"/>
                  </a:lnTo>
                  <a:lnTo>
                    <a:pt x="117281" y="1066677"/>
                  </a:lnTo>
                  <a:lnTo>
                    <a:pt x="111831" y="1068704"/>
                  </a:lnTo>
                  <a:lnTo>
                    <a:pt x="108126" y="1067229"/>
                  </a:lnTo>
                  <a:lnTo>
                    <a:pt x="101789" y="1065918"/>
                  </a:lnTo>
                  <a:lnTo>
                    <a:pt x="97273" y="1063128"/>
                  </a:lnTo>
                  <a:lnTo>
                    <a:pt x="91464" y="1061159"/>
                  </a:lnTo>
                  <a:lnTo>
                    <a:pt x="89601" y="1059998"/>
                  </a:lnTo>
                  <a:lnTo>
                    <a:pt x="84469" y="1054426"/>
                  </a:lnTo>
                  <a:lnTo>
                    <a:pt x="83926" y="1052581"/>
                  </a:lnTo>
                  <a:lnTo>
                    <a:pt x="83554" y="1050250"/>
                  </a:lnTo>
                  <a:lnTo>
                    <a:pt x="86264" y="1046924"/>
                  </a:lnTo>
                  <a:lnTo>
                    <a:pt x="87719" y="1046681"/>
                  </a:lnTo>
                  <a:lnTo>
                    <a:pt x="91967" y="1046782"/>
                  </a:lnTo>
                  <a:lnTo>
                    <a:pt x="95502" y="1046248"/>
                  </a:lnTo>
                  <a:lnTo>
                    <a:pt x="97758" y="1048028"/>
                  </a:lnTo>
                  <a:lnTo>
                    <a:pt x="98380" y="1051910"/>
                  </a:lnTo>
                  <a:lnTo>
                    <a:pt x="97389" y="1053985"/>
                  </a:lnTo>
                  <a:lnTo>
                    <a:pt x="96490" y="1055267"/>
                  </a:lnTo>
                  <a:lnTo>
                    <a:pt x="96771" y="1056236"/>
                  </a:lnTo>
                  <a:lnTo>
                    <a:pt x="99312" y="1054888"/>
                  </a:lnTo>
                  <a:lnTo>
                    <a:pt x="100604" y="1046197"/>
                  </a:lnTo>
                  <a:lnTo>
                    <a:pt x="109230" y="1041875"/>
                  </a:lnTo>
                  <a:lnTo>
                    <a:pt x="112053" y="1039355"/>
                  </a:lnTo>
                  <a:lnTo>
                    <a:pt x="114811" y="1035470"/>
                  </a:lnTo>
                  <a:lnTo>
                    <a:pt x="115241" y="1034358"/>
                  </a:lnTo>
                  <a:lnTo>
                    <a:pt x="115448" y="1032902"/>
                  </a:lnTo>
                  <a:lnTo>
                    <a:pt x="113621" y="1031704"/>
                  </a:lnTo>
                  <a:lnTo>
                    <a:pt x="109549" y="1030116"/>
                  </a:lnTo>
                  <a:lnTo>
                    <a:pt x="96611" y="1038259"/>
                  </a:lnTo>
                  <a:lnTo>
                    <a:pt x="90750" y="1040409"/>
                  </a:lnTo>
                  <a:lnTo>
                    <a:pt x="86974" y="1042746"/>
                  </a:lnTo>
                  <a:lnTo>
                    <a:pt x="82403" y="1046951"/>
                  </a:lnTo>
                  <a:lnTo>
                    <a:pt x="81534" y="1048196"/>
                  </a:lnTo>
                  <a:lnTo>
                    <a:pt x="80565" y="1050991"/>
                  </a:lnTo>
                  <a:lnTo>
                    <a:pt x="80105" y="1054065"/>
                  </a:lnTo>
                  <a:lnTo>
                    <a:pt x="75595" y="1052659"/>
                  </a:lnTo>
                  <a:lnTo>
                    <a:pt x="68708" y="1048198"/>
                  </a:lnTo>
                  <a:lnTo>
                    <a:pt x="67331" y="1046570"/>
                  </a:lnTo>
                  <a:lnTo>
                    <a:pt x="68712" y="1044292"/>
                  </a:lnTo>
                  <a:lnTo>
                    <a:pt x="70810" y="1042390"/>
                  </a:lnTo>
                  <a:lnTo>
                    <a:pt x="70952" y="1036019"/>
                  </a:lnTo>
                  <a:lnTo>
                    <a:pt x="71478" y="1033792"/>
                  </a:lnTo>
                  <a:lnTo>
                    <a:pt x="72930" y="1032009"/>
                  </a:lnTo>
                  <a:lnTo>
                    <a:pt x="75572" y="1030048"/>
                  </a:lnTo>
                  <a:lnTo>
                    <a:pt x="76884" y="1029594"/>
                  </a:lnTo>
                  <a:lnTo>
                    <a:pt x="77996" y="1030444"/>
                  </a:lnTo>
                  <a:lnTo>
                    <a:pt x="78135" y="1031941"/>
                  </a:lnTo>
                  <a:lnTo>
                    <a:pt x="82526" y="1031835"/>
                  </a:lnTo>
                  <a:lnTo>
                    <a:pt x="91042" y="1026207"/>
                  </a:lnTo>
                  <a:lnTo>
                    <a:pt x="94549" y="1026074"/>
                  </a:lnTo>
                  <a:lnTo>
                    <a:pt x="99170" y="1027328"/>
                  </a:lnTo>
                  <a:lnTo>
                    <a:pt x="104390" y="1026574"/>
                  </a:lnTo>
                  <a:lnTo>
                    <a:pt x="105330" y="1026000"/>
                  </a:lnTo>
                  <a:lnTo>
                    <a:pt x="106417" y="1024682"/>
                  </a:lnTo>
                  <a:lnTo>
                    <a:pt x="102525" y="1023135"/>
                  </a:lnTo>
                  <a:lnTo>
                    <a:pt x="98794" y="1022347"/>
                  </a:lnTo>
                  <a:lnTo>
                    <a:pt x="88302" y="1021800"/>
                  </a:lnTo>
                  <a:lnTo>
                    <a:pt x="86027" y="1022401"/>
                  </a:lnTo>
                  <a:lnTo>
                    <a:pt x="82926" y="1025379"/>
                  </a:lnTo>
                  <a:lnTo>
                    <a:pt x="81896" y="1024635"/>
                  </a:lnTo>
                  <a:lnTo>
                    <a:pt x="81234" y="1023135"/>
                  </a:lnTo>
                  <a:lnTo>
                    <a:pt x="77674" y="1022077"/>
                  </a:lnTo>
                  <a:lnTo>
                    <a:pt x="75968" y="1022298"/>
                  </a:lnTo>
                  <a:lnTo>
                    <a:pt x="74334" y="1023727"/>
                  </a:lnTo>
                  <a:lnTo>
                    <a:pt x="74601" y="1025953"/>
                  </a:lnTo>
                  <a:lnTo>
                    <a:pt x="73690" y="1028341"/>
                  </a:lnTo>
                  <a:lnTo>
                    <a:pt x="70395" y="1030710"/>
                  </a:lnTo>
                  <a:lnTo>
                    <a:pt x="68154" y="1034485"/>
                  </a:lnTo>
                  <a:lnTo>
                    <a:pt x="68259" y="1037424"/>
                  </a:lnTo>
                  <a:lnTo>
                    <a:pt x="68084" y="1038956"/>
                  </a:lnTo>
                  <a:lnTo>
                    <a:pt x="67261" y="1039764"/>
                  </a:lnTo>
                  <a:lnTo>
                    <a:pt x="65562" y="1040738"/>
                  </a:lnTo>
                  <a:lnTo>
                    <a:pt x="60092" y="1040076"/>
                  </a:lnTo>
                  <a:lnTo>
                    <a:pt x="57007" y="1036992"/>
                  </a:lnTo>
                  <a:lnTo>
                    <a:pt x="55799" y="1034887"/>
                  </a:lnTo>
                  <a:lnTo>
                    <a:pt x="52307" y="1032608"/>
                  </a:lnTo>
                  <a:lnTo>
                    <a:pt x="59895" y="1029774"/>
                  </a:lnTo>
                  <a:lnTo>
                    <a:pt x="62561" y="1028161"/>
                  </a:lnTo>
                  <a:lnTo>
                    <a:pt x="64996" y="1024565"/>
                  </a:lnTo>
                  <a:lnTo>
                    <a:pt x="66811" y="1022280"/>
                  </a:lnTo>
                  <a:lnTo>
                    <a:pt x="65526" y="1020674"/>
                  </a:lnTo>
                  <a:lnTo>
                    <a:pt x="64007" y="1020671"/>
                  </a:lnTo>
                  <a:lnTo>
                    <a:pt x="64150" y="1023224"/>
                  </a:lnTo>
                  <a:lnTo>
                    <a:pt x="62476" y="1025319"/>
                  </a:lnTo>
                  <a:lnTo>
                    <a:pt x="58978" y="1024332"/>
                  </a:lnTo>
                  <a:lnTo>
                    <a:pt x="53816" y="1027429"/>
                  </a:lnTo>
                  <a:lnTo>
                    <a:pt x="50643" y="1026601"/>
                  </a:lnTo>
                  <a:lnTo>
                    <a:pt x="45474" y="1027513"/>
                  </a:lnTo>
                  <a:lnTo>
                    <a:pt x="42944" y="1025843"/>
                  </a:lnTo>
                  <a:lnTo>
                    <a:pt x="42402" y="1023721"/>
                  </a:lnTo>
                  <a:lnTo>
                    <a:pt x="43314" y="1021513"/>
                  </a:lnTo>
                  <a:lnTo>
                    <a:pt x="42364" y="1017773"/>
                  </a:lnTo>
                  <a:lnTo>
                    <a:pt x="40940" y="1016865"/>
                  </a:lnTo>
                  <a:lnTo>
                    <a:pt x="39486" y="1017077"/>
                  </a:lnTo>
                  <a:lnTo>
                    <a:pt x="38835" y="1014853"/>
                  </a:lnTo>
                  <a:lnTo>
                    <a:pt x="37264" y="1010946"/>
                  </a:lnTo>
                  <a:lnTo>
                    <a:pt x="36567" y="1009891"/>
                  </a:lnTo>
                  <a:lnTo>
                    <a:pt x="35814" y="1008077"/>
                  </a:lnTo>
                  <a:lnTo>
                    <a:pt x="36593" y="1007635"/>
                  </a:lnTo>
                  <a:lnTo>
                    <a:pt x="38369" y="1008156"/>
                  </a:lnTo>
                  <a:lnTo>
                    <a:pt x="39925" y="1009330"/>
                  </a:lnTo>
                  <a:lnTo>
                    <a:pt x="42291" y="1009479"/>
                  </a:lnTo>
                  <a:lnTo>
                    <a:pt x="47508" y="1012022"/>
                  </a:lnTo>
                  <a:lnTo>
                    <a:pt x="49672" y="1011411"/>
                  </a:lnTo>
                  <a:lnTo>
                    <a:pt x="50848" y="1010826"/>
                  </a:lnTo>
                  <a:lnTo>
                    <a:pt x="51288" y="1008716"/>
                  </a:lnTo>
                  <a:lnTo>
                    <a:pt x="51315" y="1006714"/>
                  </a:lnTo>
                  <a:lnTo>
                    <a:pt x="52211" y="1006714"/>
                  </a:lnTo>
                  <a:lnTo>
                    <a:pt x="55172" y="1009274"/>
                  </a:lnTo>
                  <a:lnTo>
                    <a:pt x="57055" y="1009032"/>
                  </a:lnTo>
                  <a:lnTo>
                    <a:pt x="60383" y="1009708"/>
                  </a:lnTo>
                  <a:lnTo>
                    <a:pt x="62064" y="1009433"/>
                  </a:lnTo>
                  <a:lnTo>
                    <a:pt x="65185" y="1008478"/>
                  </a:lnTo>
                  <a:lnTo>
                    <a:pt x="70095" y="1005666"/>
                  </a:lnTo>
                  <a:lnTo>
                    <a:pt x="72643" y="1002759"/>
                  </a:lnTo>
                  <a:lnTo>
                    <a:pt x="73865" y="1002365"/>
                  </a:lnTo>
                  <a:lnTo>
                    <a:pt x="75377" y="1002740"/>
                  </a:lnTo>
                  <a:lnTo>
                    <a:pt x="76390" y="1003573"/>
                  </a:lnTo>
                  <a:lnTo>
                    <a:pt x="76406" y="1005594"/>
                  </a:lnTo>
                  <a:lnTo>
                    <a:pt x="77554" y="1007467"/>
                  </a:lnTo>
                  <a:lnTo>
                    <a:pt x="79114" y="1009002"/>
                  </a:lnTo>
                  <a:lnTo>
                    <a:pt x="79549" y="1010870"/>
                  </a:lnTo>
                  <a:lnTo>
                    <a:pt x="79230" y="1012709"/>
                  </a:lnTo>
                  <a:lnTo>
                    <a:pt x="76437" y="1015299"/>
                  </a:lnTo>
                  <a:lnTo>
                    <a:pt x="75919" y="1016200"/>
                  </a:lnTo>
                  <a:lnTo>
                    <a:pt x="76856" y="1017151"/>
                  </a:lnTo>
                  <a:lnTo>
                    <a:pt x="78011" y="1016706"/>
                  </a:lnTo>
                  <a:lnTo>
                    <a:pt x="79604" y="1015425"/>
                  </a:lnTo>
                  <a:lnTo>
                    <a:pt x="80511" y="1013666"/>
                  </a:lnTo>
                  <a:lnTo>
                    <a:pt x="80754" y="1012753"/>
                  </a:lnTo>
                  <a:lnTo>
                    <a:pt x="80855" y="1011448"/>
                  </a:lnTo>
                  <a:lnTo>
                    <a:pt x="80735" y="1009857"/>
                  </a:lnTo>
                  <a:lnTo>
                    <a:pt x="78466" y="1005331"/>
                  </a:lnTo>
                  <a:lnTo>
                    <a:pt x="78183" y="1004312"/>
                  </a:lnTo>
                  <a:lnTo>
                    <a:pt x="78186" y="1002263"/>
                  </a:lnTo>
                  <a:lnTo>
                    <a:pt x="80767" y="1000380"/>
                  </a:lnTo>
                  <a:lnTo>
                    <a:pt x="81495" y="998912"/>
                  </a:lnTo>
                  <a:lnTo>
                    <a:pt x="81608" y="996075"/>
                  </a:lnTo>
                  <a:lnTo>
                    <a:pt x="80268" y="994131"/>
                  </a:lnTo>
                  <a:lnTo>
                    <a:pt x="74721" y="989644"/>
                  </a:lnTo>
                  <a:lnTo>
                    <a:pt x="65453" y="985151"/>
                  </a:lnTo>
                  <a:lnTo>
                    <a:pt x="64389" y="985622"/>
                  </a:lnTo>
                  <a:lnTo>
                    <a:pt x="63671" y="986435"/>
                  </a:lnTo>
                  <a:lnTo>
                    <a:pt x="64524" y="987026"/>
                  </a:lnTo>
                  <a:lnTo>
                    <a:pt x="65751" y="987327"/>
                  </a:lnTo>
                  <a:lnTo>
                    <a:pt x="74009" y="991028"/>
                  </a:lnTo>
                  <a:lnTo>
                    <a:pt x="76158" y="993177"/>
                  </a:lnTo>
                  <a:lnTo>
                    <a:pt x="77566" y="993754"/>
                  </a:lnTo>
                  <a:lnTo>
                    <a:pt x="79233" y="995183"/>
                  </a:lnTo>
                  <a:lnTo>
                    <a:pt x="78809" y="997273"/>
                  </a:lnTo>
                  <a:lnTo>
                    <a:pt x="70484" y="999329"/>
                  </a:lnTo>
                  <a:lnTo>
                    <a:pt x="63883" y="1003759"/>
                  </a:lnTo>
                  <a:lnTo>
                    <a:pt x="58949" y="1006452"/>
                  </a:lnTo>
                  <a:lnTo>
                    <a:pt x="55528" y="1005468"/>
                  </a:lnTo>
                  <a:lnTo>
                    <a:pt x="53902" y="1002733"/>
                  </a:lnTo>
                  <a:lnTo>
                    <a:pt x="52179" y="999207"/>
                  </a:lnTo>
                  <a:lnTo>
                    <a:pt x="49583" y="997152"/>
                  </a:lnTo>
                  <a:lnTo>
                    <a:pt x="48113" y="997343"/>
                  </a:lnTo>
                  <a:lnTo>
                    <a:pt x="46922" y="996963"/>
                  </a:lnTo>
                  <a:lnTo>
                    <a:pt x="45988" y="995877"/>
                  </a:lnTo>
                  <a:lnTo>
                    <a:pt x="43989" y="996778"/>
                  </a:lnTo>
                  <a:lnTo>
                    <a:pt x="39598" y="994332"/>
                  </a:lnTo>
                  <a:lnTo>
                    <a:pt x="38324" y="993267"/>
                  </a:lnTo>
                  <a:lnTo>
                    <a:pt x="41547" y="989829"/>
                  </a:lnTo>
                  <a:lnTo>
                    <a:pt x="45091" y="991150"/>
                  </a:lnTo>
                  <a:lnTo>
                    <a:pt x="45951" y="981500"/>
                  </a:lnTo>
                  <a:lnTo>
                    <a:pt x="44846" y="979310"/>
                  </a:lnTo>
                  <a:lnTo>
                    <a:pt x="40237" y="976929"/>
                  </a:lnTo>
                  <a:lnTo>
                    <a:pt x="37973" y="977238"/>
                  </a:lnTo>
                  <a:lnTo>
                    <a:pt x="34885" y="976916"/>
                  </a:lnTo>
                  <a:lnTo>
                    <a:pt x="32805" y="975824"/>
                  </a:lnTo>
                  <a:lnTo>
                    <a:pt x="30434" y="975392"/>
                  </a:lnTo>
                  <a:lnTo>
                    <a:pt x="28430" y="974756"/>
                  </a:lnTo>
                  <a:lnTo>
                    <a:pt x="25814" y="973276"/>
                  </a:lnTo>
                  <a:lnTo>
                    <a:pt x="22652" y="972484"/>
                  </a:lnTo>
                  <a:lnTo>
                    <a:pt x="18383" y="966395"/>
                  </a:lnTo>
                  <a:lnTo>
                    <a:pt x="16551" y="963202"/>
                  </a:lnTo>
                  <a:lnTo>
                    <a:pt x="15554" y="959720"/>
                  </a:lnTo>
                  <a:lnTo>
                    <a:pt x="22097" y="959642"/>
                  </a:lnTo>
                  <a:lnTo>
                    <a:pt x="25924" y="959077"/>
                  </a:lnTo>
                  <a:lnTo>
                    <a:pt x="26857" y="957624"/>
                  </a:lnTo>
                  <a:lnTo>
                    <a:pt x="25510" y="954855"/>
                  </a:lnTo>
                  <a:lnTo>
                    <a:pt x="23637" y="952676"/>
                  </a:lnTo>
                  <a:lnTo>
                    <a:pt x="25012" y="950633"/>
                  </a:lnTo>
                  <a:lnTo>
                    <a:pt x="26969" y="949052"/>
                  </a:lnTo>
                  <a:lnTo>
                    <a:pt x="29007" y="949752"/>
                  </a:lnTo>
                  <a:lnTo>
                    <a:pt x="34041" y="953275"/>
                  </a:lnTo>
                  <a:lnTo>
                    <a:pt x="34907" y="955662"/>
                  </a:lnTo>
                  <a:lnTo>
                    <a:pt x="38488" y="962951"/>
                  </a:lnTo>
                  <a:lnTo>
                    <a:pt x="39353" y="963600"/>
                  </a:lnTo>
                  <a:lnTo>
                    <a:pt x="39776" y="964279"/>
                  </a:lnTo>
                  <a:lnTo>
                    <a:pt x="47179" y="968368"/>
                  </a:lnTo>
                  <a:lnTo>
                    <a:pt x="48217" y="968313"/>
                  </a:lnTo>
                  <a:lnTo>
                    <a:pt x="47758" y="964882"/>
                  </a:lnTo>
                  <a:lnTo>
                    <a:pt x="49889" y="960234"/>
                  </a:lnTo>
                  <a:lnTo>
                    <a:pt x="51956" y="958700"/>
                  </a:lnTo>
                  <a:lnTo>
                    <a:pt x="52993" y="958716"/>
                  </a:lnTo>
                  <a:lnTo>
                    <a:pt x="53100" y="957941"/>
                  </a:lnTo>
                  <a:lnTo>
                    <a:pt x="51088" y="956010"/>
                  </a:lnTo>
                  <a:lnTo>
                    <a:pt x="52073" y="953434"/>
                  </a:lnTo>
                  <a:lnTo>
                    <a:pt x="51427" y="953353"/>
                  </a:lnTo>
                  <a:lnTo>
                    <a:pt x="49645" y="955005"/>
                  </a:lnTo>
                  <a:lnTo>
                    <a:pt x="46062" y="963107"/>
                  </a:lnTo>
                  <a:lnTo>
                    <a:pt x="43869" y="964588"/>
                  </a:lnTo>
                  <a:lnTo>
                    <a:pt x="40858" y="960916"/>
                  </a:lnTo>
                  <a:lnTo>
                    <a:pt x="39150" y="958272"/>
                  </a:lnTo>
                  <a:lnTo>
                    <a:pt x="38310" y="957335"/>
                  </a:lnTo>
                  <a:lnTo>
                    <a:pt x="38605" y="953190"/>
                  </a:lnTo>
                  <a:lnTo>
                    <a:pt x="44570" y="954029"/>
                  </a:lnTo>
                  <a:lnTo>
                    <a:pt x="42524" y="952673"/>
                  </a:lnTo>
                  <a:lnTo>
                    <a:pt x="35563" y="950285"/>
                  </a:lnTo>
                  <a:lnTo>
                    <a:pt x="33825" y="949119"/>
                  </a:lnTo>
                  <a:lnTo>
                    <a:pt x="32532" y="948694"/>
                  </a:lnTo>
                  <a:lnTo>
                    <a:pt x="30217" y="945885"/>
                  </a:lnTo>
                  <a:lnTo>
                    <a:pt x="27347" y="943509"/>
                  </a:lnTo>
                  <a:lnTo>
                    <a:pt x="32298" y="939239"/>
                  </a:lnTo>
                  <a:lnTo>
                    <a:pt x="34849" y="936238"/>
                  </a:lnTo>
                  <a:lnTo>
                    <a:pt x="42818" y="937832"/>
                  </a:lnTo>
                  <a:lnTo>
                    <a:pt x="44361" y="936904"/>
                  </a:lnTo>
                  <a:lnTo>
                    <a:pt x="43027" y="934714"/>
                  </a:lnTo>
                  <a:lnTo>
                    <a:pt x="41452" y="935376"/>
                  </a:lnTo>
                  <a:lnTo>
                    <a:pt x="38966" y="934014"/>
                  </a:lnTo>
                  <a:lnTo>
                    <a:pt x="35097" y="929919"/>
                  </a:lnTo>
                  <a:lnTo>
                    <a:pt x="35229" y="927829"/>
                  </a:lnTo>
                  <a:lnTo>
                    <a:pt x="35937" y="924005"/>
                  </a:lnTo>
                  <a:lnTo>
                    <a:pt x="37470" y="923187"/>
                  </a:lnTo>
                  <a:lnTo>
                    <a:pt x="40724" y="922400"/>
                  </a:lnTo>
                  <a:lnTo>
                    <a:pt x="44439" y="923641"/>
                  </a:lnTo>
                  <a:lnTo>
                    <a:pt x="46061" y="924652"/>
                  </a:lnTo>
                  <a:lnTo>
                    <a:pt x="47460" y="924179"/>
                  </a:lnTo>
                  <a:lnTo>
                    <a:pt x="46037" y="921348"/>
                  </a:lnTo>
                  <a:lnTo>
                    <a:pt x="43614" y="920278"/>
                  </a:lnTo>
                  <a:lnTo>
                    <a:pt x="40916" y="918264"/>
                  </a:lnTo>
                  <a:lnTo>
                    <a:pt x="41194" y="916033"/>
                  </a:lnTo>
                  <a:lnTo>
                    <a:pt x="42064" y="914189"/>
                  </a:lnTo>
                  <a:lnTo>
                    <a:pt x="42717" y="912170"/>
                  </a:lnTo>
                  <a:lnTo>
                    <a:pt x="43169" y="909345"/>
                  </a:lnTo>
                  <a:lnTo>
                    <a:pt x="42921" y="907147"/>
                  </a:lnTo>
                  <a:lnTo>
                    <a:pt x="43698" y="906132"/>
                  </a:lnTo>
                  <a:lnTo>
                    <a:pt x="44886" y="905678"/>
                  </a:lnTo>
                  <a:lnTo>
                    <a:pt x="44960" y="904854"/>
                  </a:lnTo>
                  <a:lnTo>
                    <a:pt x="42608" y="905027"/>
                  </a:lnTo>
                  <a:lnTo>
                    <a:pt x="41756" y="907805"/>
                  </a:lnTo>
                  <a:lnTo>
                    <a:pt x="41438" y="910341"/>
                  </a:lnTo>
                  <a:lnTo>
                    <a:pt x="39767" y="912377"/>
                  </a:lnTo>
                  <a:lnTo>
                    <a:pt x="39055" y="914676"/>
                  </a:lnTo>
                  <a:lnTo>
                    <a:pt x="38632" y="917433"/>
                  </a:lnTo>
                  <a:lnTo>
                    <a:pt x="37700" y="920596"/>
                  </a:lnTo>
                  <a:lnTo>
                    <a:pt x="35666" y="919392"/>
                  </a:lnTo>
                  <a:lnTo>
                    <a:pt x="34474" y="918152"/>
                  </a:lnTo>
                  <a:lnTo>
                    <a:pt x="34017" y="917305"/>
                  </a:lnTo>
                  <a:lnTo>
                    <a:pt x="34229" y="915690"/>
                  </a:lnTo>
                  <a:lnTo>
                    <a:pt x="33677" y="905735"/>
                  </a:lnTo>
                  <a:lnTo>
                    <a:pt x="33622" y="897426"/>
                  </a:lnTo>
                  <a:lnTo>
                    <a:pt x="34664" y="890971"/>
                  </a:lnTo>
                  <a:lnTo>
                    <a:pt x="37538" y="888409"/>
                  </a:lnTo>
                  <a:lnTo>
                    <a:pt x="38843" y="887665"/>
                  </a:lnTo>
                  <a:lnTo>
                    <a:pt x="40033" y="887992"/>
                  </a:lnTo>
                  <a:lnTo>
                    <a:pt x="41868" y="887974"/>
                  </a:lnTo>
                  <a:lnTo>
                    <a:pt x="43081" y="887043"/>
                  </a:lnTo>
                  <a:lnTo>
                    <a:pt x="38962" y="885496"/>
                  </a:lnTo>
                  <a:lnTo>
                    <a:pt x="36463" y="886379"/>
                  </a:lnTo>
                  <a:lnTo>
                    <a:pt x="34615" y="887615"/>
                  </a:lnTo>
                  <a:lnTo>
                    <a:pt x="31282" y="886684"/>
                  </a:lnTo>
                  <a:lnTo>
                    <a:pt x="30648" y="883379"/>
                  </a:lnTo>
                  <a:lnTo>
                    <a:pt x="28676" y="880526"/>
                  </a:lnTo>
                  <a:lnTo>
                    <a:pt x="28333" y="876877"/>
                  </a:lnTo>
                  <a:lnTo>
                    <a:pt x="28485" y="871602"/>
                  </a:lnTo>
                  <a:lnTo>
                    <a:pt x="33156" y="872057"/>
                  </a:lnTo>
                  <a:lnTo>
                    <a:pt x="36961" y="873087"/>
                  </a:lnTo>
                  <a:lnTo>
                    <a:pt x="47018" y="872999"/>
                  </a:lnTo>
                  <a:lnTo>
                    <a:pt x="55275" y="878055"/>
                  </a:lnTo>
                  <a:lnTo>
                    <a:pt x="58918" y="877377"/>
                  </a:lnTo>
                  <a:lnTo>
                    <a:pt x="58752" y="876358"/>
                  </a:lnTo>
                  <a:lnTo>
                    <a:pt x="55964" y="875086"/>
                  </a:lnTo>
                  <a:lnTo>
                    <a:pt x="54225" y="872259"/>
                  </a:lnTo>
                  <a:lnTo>
                    <a:pt x="53203" y="871438"/>
                  </a:lnTo>
                  <a:lnTo>
                    <a:pt x="52720" y="869741"/>
                  </a:lnTo>
                  <a:lnTo>
                    <a:pt x="52563" y="867765"/>
                  </a:lnTo>
                  <a:lnTo>
                    <a:pt x="50516" y="860508"/>
                  </a:lnTo>
                  <a:lnTo>
                    <a:pt x="49695" y="860696"/>
                  </a:lnTo>
                  <a:lnTo>
                    <a:pt x="48908" y="863184"/>
                  </a:lnTo>
                  <a:lnTo>
                    <a:pt x="47199" y="867333"/>
                  </a:lnTo>
                  <a:lnTo>
                    <a:pt x="44810" y="869350"/>
                  </a:lnTo>
                  <a:lnTo>
                    <a:pt x="41162" y="870168"/>
                  </a:lnTo>
                  <a:lnTo>
                    <a:pt x="37554" y="870629"/>
                  </a:lnTo>
                  <a:lnTo>
                    <a:pt x="34422" y="869833"/>
                  </a:lnTo>
                  <a:lnTo>
                    <a:pt x="33693" y="868116"/>
                  </a:lnTo>
                  <a:lnTo>
                    <a:pt x="33772" y="866128"/>
                  </a:lnTo>
                  <a:lnTo>
                    <a:pt x="32416" y="865157"/>
                  </a:lnTo>
                  <a:lnTo>
                    <a:pt x="28878" y="864296"/>
                  </a:lnTo>
                  <a:lnTo>
                    <a:pt x="27872" y="863815"/>
                  </a:lnTo>
                  <a:lnTo>
                    <a:pt x="26705" y="862016"/>
                  </a:lnTo>
                  <a:lnTo>
                    <a:pt x="28391" y="859299"/>
                  </a:lnTo>
                  <a:lnTo>
                    <a:pt x="29777" y="857679"/>
                  </a:lnTo>
                  <a:lnTo>
                    <a:pt x="31473" y="858000"/>
                  </a:lnTo>
                  <a:lnTo>
                    <a:pt x="33078" y="858733"/>
                  </a:lnTo>
                  <a:lnTo>
                    <a:pt x="35132" y="860870"/>
                  </a:lnTo>
                  <a:lnTo>
                    <a:pt x="37150" y="861276"/>
                  </a:lnTo>
                  <a:lnTo>
                    <a:pt x="39458" y="859579"/>
                  </a:lnTo>
                  <a:lnTo>
                    <a:pt x="39911" y="858424"/>
                  </a:lnTo>
                  <a:lnTo>
                    <a:pt x="38468" y="857702"/>
                  </a:lnTo>
                  <a:lnTo>
                    <a:pt x="37151" y="857421"/>
                  </a:lnTo>
                  <a:lnTo>
                    <a:pt x="35103" y="856513"/>
                  </a:lnTo>
                  <a:lnTo>
                    <a:pt x="31072" y="853264"/>
                  </a:lnTo>
                  <a:lnTo>
                    <a:pt x="33086" y="849957"/>
                  </a:lnTo>
                  <a:lnTo>
                    <a:pt x="37843" y="846170"/>
                  </a:lnTo>
                  <a:lnTo>
                    <a:pt x="39294" y="845302"/>
                  </a:lnTo>
                  <a:lnTo>
                    <a:pt x="38035" y="842115"/>
                  </a:lnTo>
                  <a:lnTo>
                    <a:pt x="39459" y="838636"/>
                  </a:lnTo>
                  <a:lnTo>
                    <a:pt x="38000" y="835770"/>
                  </a:lnTo>
                  <a:lnTo>
                    <a:pt x="35360" y="832684"/>
                  </a:lnTo>
                  <a:lnTo>
                    <a:pt x="31795" y="832001"/>
                  </a:lnTo>
                  <a:lnTo>
                    <a:pt x="31028" y="832903"/>
                  </a:lnTo>
                  <a:lnTo>
                    <a:pt x="30903" y="834165"/>
                  </a:lnTo>
                  <a:lnTo>
                    <a:pt x="31469" y="835117"/>
                  </a:lnTo>
                  <a:lnTo>
                    <a:pt x="31135" y="835804"/>
                  </a:lnTo>
                  <a:lnTo>
                    <a:pt x="30322" y="835782"/>
                  </a:lnTo>
                  <a:lnTo>
                    <a:pt x="25794" y="835104"/>
                  </a:lnTo>
                  <a:lnTo>
                    <a:pt x="22756" y="833052"/>
                  </a:lnTo>
                  <a:lnTo>
                    <a:pt x="17804" y="831182"/>
                  </a:lnTo>
                  <a:lnTo>
                    <a:pt x="17157" y="829721"/>
                  </a:lnTo>
                  <a:lnTo>
                    <a:pt x="16623" y="827574"/>
                  </a:lnTo>
                  <a:lnTo>
                    <a:pt x="18356" y="823882"/>
                  </a:lnTo>
                  <a:lnTo>
                    <a:pt x="17479" y="823832"/>
                  </a:lnTo>
                  <a:lnTo>
                    <a:pt x="14259" y="826684"/>
                  </a:lnTo>
                  <a:lnTo>
                    <a:pt x="9399" y="828182"/>
                  </a:lnTo>
                  <a:lnTo>
                    <a:pt x="5824" y="828670"/>
                  </a:lnTo>
                  <a:lnTo>
                    <a:pt x="4254" y="829830"/>
                  </a:lnTo>
                  <a:lnTo>
                    <a:pt x="3626" y="830786"/>
                  </a:lnTo>
                  <a:lnTo>
                    <a:pt x="4577" y="831350"/>
                  </a:lnTo>
                  <a:lnTo>
                    <a:pt x="6646" y="831490"/>
                  </a:lnTo>
                  <a:lnTo>
                    <a:pt x="8156" y="835064"/>
                  </a:lnTo>
                  <a:lnTo>
                    <a:pt x="7781" y="836437"/>
                  </a:lnTo>
                  <a:lnTo>
                    <a:pt x="7042" y="837362"/>
                  </a:lnTo>
                  <a:lnTo>
                    <a:pt x="5362" y="837540"/>
                  </a:lnTo>
                  <a:lnTo>
                    <a:pt x="1847" y="835068"/>
                  </a:lnTo>
                  <a:lnTo>
                    <a:pt x="0" y="832263"/>
                  </a:lnTo>
                  <a:lnTo>
                    <a:pt x="43" y="830037"/>
                  </a:lnTo>
                  <a:lnTo>
                    <a:pt x="1301" y="827011"/>
                  </a:lnTo>
                  <a:lnTo>
                    <a:pt x="6877" y="822955"/>
                  </a:lnTo>
                  <a:lnTo>
                    <a:pt x="8420" y="821239"/>
                  </a:lnTo>
                  <a:lnTo>
                    <a:pt x="11691" y="819339"/>
                  </a:lnTo>
                  <a:lnTo>
                    <a:pt x="16057" y="815059"/>
                  </a:lnTo>
                  <a:lnTo>
                    <a:pt x="19870" y="812682"/>
                  </a:lnTo>
                  <a:lnTo>
                    <a:pt x="18014" y="810715"/>
                  </a:lnTo>
                  <a:lnTo>
                    <a:pt x="16065" y="807763"/>
                  </a:lnTo>
                  <a:lnTo>
                    <a:pt x="16264" y="803663"/>
                  </a:lnTo>
                  <a:lnTo>
                    <a:pt x="23960" y="802041"/>
                  </a:lnTo>
                  <a:lnTo>
                    <a:pt x="27319" y="802709"/>
                  </a:lnTo>
                  <a:lnTo>
                    <a:pt x="31576" y="802581"/>
                  </a:lnTo>
                  <a:lnTo>
                    <a:pt x="33951" y="801601"/>
                  </a:lnTo>
                  <a:lnTo>
                    <a:pt x="35674" y="801390"/>
                  </a:lnTo>
                  <a:lnTo>
                    <a:pt x="39308" y="800258"/>
                  </a:lnTo>
                  <a:lnTo>
                    <a:pt x="40872" y="798666"/>
                  </a:lnTo>
                  <a:lnTo>
                    <a:pt x="41236" y="797452"/>
                  </a:lnTo>
                  <a:lnTo>
                    <a:pt x="41219" y="796392"/>
                  </a:lnTo>
                  <a:lnTo>
                    <a:pt x="40794" y="795089"/>
                  </a:lnTo>
                  <a:lnTo>
                    <a:pt x="40200" y="791709"/>
                  </a:lnTo>
                  <a:lnTo>
                    <a:pt x="40802" y="790580"/>
                  </a:lnTo>
                  <a:lnTo>
                    <a:pt x="42360" y="789237"/>
                  </a:lnTo>
                  <a:lnTo>
                    <a:pt x="44397" y="788818"/>
                  </a:lnTo>
                  <a:lnTo>
                    <a:pt x="45332" y="788923"/>
                  </a:lnTo>
                  <a:lnTo>
                    <a:pt x="47748" y="790157"/>
                  </a:lnTo>
                  <a:lnTo>
                    <a:pt x="47263" y="791905"/>
                  </a:lnTo>
                  <a:lnTo>
                    <a:pt x="46295" y="794014"/>
                  </a:lnTo>
                  <a:lnTo>
                    <a:pt x="44319" y="802409"/>
                  </a:lnTo>
                  <a:lnTo>
                    <a:pt x="43324" y="804308"/>
                  </a:lnTo>
                  <a:lnTo>
                    <a:pt x="41763" y="805955"/>
                  </a:lnTo>
                  <a:lnTo>
                    <a:pt x="42806" y="809390"/>
                  </a:lnTo>
                  <a:lnTo>
                    <a:pt x="41244" y="811799"/>
                  </a:lnTo>
                  <a:lnTo>
                    <a:pt x="34264" y="814364"/>
                  </a:lnTo>
                  <a:lnTo>
                    <a:pt x="33347" y="814513"/>
                  </a:lnTo>
                  <a:lnTo>
                    <a:pt x="33867" y="815430"/>
                  </a:lnTo>
                  <a:lnTo>
                    <a:pt x="37907" y="815213"/>
                  </a:lnTo>
                  <a:lnTo>
                    <a:pt x="41035" y="814671"/>
                  </a:lnTo>
                  <a:lnTo>
                    <a:pt x="44134" y="812505"/>
                  </a:lnTo>
                  <a:lnTo>
                    <a:pt x="45106" y="809202"/>
                  </a:lnTo>
                  <a:lnTo>
                    <a:pt x="46387" y="802776"/>
                  </a:lnTo>
                  <a:lnTo>
                    <a:pt x="48064" y="801869"/>
                  </a:lnTo>
                  <a:lnTo>
                    <a:pt x="50024" y="801665"/>
                  </a:lnTo>
                  <a:lnTo>
                    <a:pt x="51048" y="803178"/>
                  </a:lnTo>
                  <a:lnTo>
                    <a:pt x="50717" y="806567"/>
                  </a:lnTo>
                  <a:lnTo>
                    <a:pt x="50711" y="809849"/>
                  </a:lnTo>
                  <a:lnTo>
                    <a:pt x="48113" y="819594"/>
                  </a:lnTo>
                  <a:lnTo>
                    <a:pt x="44964" y="823518"/>
                  </a:lnTo>
                  <a:lnTo>
                    <a:pt x="44614" y="824550"/>
                  </a:lnTo>
                  <a:lnTo>
                    <a:pt x="44738" y="825776"/>
                  </a:lnTo>
                  <a:lnTo>
                    <a:pt x="47232" y="825598"/>
                  </a:lnTo>
                  <a:lnTo>
                    <a:pt x="49137" y="823489"/>
                  </a:lnTo>
                  <a:lnTo>
                    <a:pt x="50507" y="820799"/>
                  </a:lnTo>
                  <a:lnTo>
                    <a:pt x="51880" y="817055"/>
                  </a:lnTo>
                  <a:lnTo>
                    <a:pt x="51724" y="814345"/>
                  </a:lnTo>
                  <a:lnTo>
                    <a:pt x="52143" y="812669"/>
                  </a:lnTo>
                  <a:lnTo>
                    <a:pt x="52708" y="807194"/>
                  </a:lnTo>
                  <a:lnTo>
                    <a:pt x="53660" y="804429"/>
                  </a:lnTo>
                  <a:lnTo>
                    <a:pt x="53597" y="800563"/>
                  </a:lnTo>
                  <a:lnTo>
                    <a:pt x="51882" y="799108"/>
                  </a:lnTo>
                  <a:lnTo>
                    <a:pt x="49483" y="798226"/>
                  </a:lnTo>
                  <a:lnTo>
                    <a:pt x="48880" y="795861"/>
                  </a:lnTo>
                  <a:lnTo>
                    <a:pt x="50138" y="791199"/>
                  </a:lnTo>
                  <a:lnTo>
                    <a:pt x="54723" y="791318"/>
                  </a:lnTo>
                  <a:lnTo>
                    <a:pt x="59068" y="788139"/>
                  </a:lnTo>
                  <a:lnTo>
                    <a:pt x="61917" y="786988"/>
                  </a:lnTo>
                  <a:lnTo>
                    <a:pt x="63537" y="787227"/>
                  </a:lnTo>
                  <a:lnTo>
                    <a:pt x="69220" y="790291"/>
                  </a:lnTo>
                  <a:lnTo>
                    <a:pt x="70345" y="790329"/>
                  </a:lnTo>
                  <a:lnTo>
                    <a:pt x="70169" y="789224"/>
                  </a:lnTo>
                  <a:lnTo>
                    <a:pt x="69288" y="788447"/>
                  </a:lnTo>
                  <a:lnTo>
                    <a:pt x="67048" y="787415"/>
                  </a:lnTo>
                  <a:lnTo>
                    <a:pt x="62928" y="784126"/>
                  </a:lnTo>
                  <a:lnTo>
                    <a:pt x="57385" y="783592"/>
                  </a:lnTo>
                  <a:lnTo>
                    <a:pt x="58401" y="779327"/>
                  </a:lnTo>
                  <a:lnTo>
                    <a:pt x="59478" y="775435"/>
                  </a:lnTo>
                  <a:lnTo>
                    <a:pt x="62165" y="774897"/>
                  </a:lnTo>
                  <a:lnTo>
                    <a:pt x="66679" y="773619"/>
                  </a:lnTo>
                  <a:lnTo>
                    <a:pt x="75286" y="767798"/>
                  </a:lnTo>
                  <a:lnTo>
                    <a:pt x="76779" y="763417"/>
                  </a:lnTo>
                  <a:lnTo>
                    <a:pt x="77191" y="758505"/>
                  </a:lnTo>
                  <a:lnTo>
                    <a:pt x="73040" y="757226"/>
                  </a:lnTo>
                  <a:lnTo>
                    <a:pt x="68641" y="754019"/>
                  </a:lnTo>
                  <a:lnTo>
                    <a:pt x="65093" y="752310"/>
                  </a:lnTo>
                  <a:lnTo>
                    <a:pt x="61946" y="750170"/>
                  </a:lnTo>
                  <a:lnTo>
                    <a:pt x="62564" y="746972"/>
                  </a:lnTo>
                  <a:lnTo>
                    <a:pt x="62976" y="741767"/>
                  </a:lnTo>
                  <a:lnTo>
                    <a:pt x="66923" y="740654"/>
                  </a:lnTo>
                  <a:lnTo>
                    <a:pt x="68755" y="733520"/>
                  </a:lnTo>
                  <a:lnTo>
                    <a:pt x="66107" y="728072"/>
                  </a:lnTo>
                  <a:lnTo>
                    <a:pt x="66741" y="724014"/>
                  </a:lnTo>
                  <a:lnTo>
                    <a:pt x="70189" y="720554"/>
                  </a:lnTo>
                  <a:lnTo>
                    <a:pt x="70811" y="718161"/>
                  </a:lnTo>
                  <a:lnTo>
                    <a:pt x="71760" y="715533"/>
                  </a:lnTo>
                  <a:lnTo>
                    <a:pt x="74804" y="715265"/>
                  </a:lnTo>
                  <a:lnTo>
                    <a:pt x="74870" y="713837"/>
                  </a:lnTo>
                  <a:lnTo>
                    <a:pt x="74601" y="711234"/>
                  </a:lnTo>
                  <a:lnTo>
                    <a:pt x="72599" y="708158"/>
                  </a:lnTo>
                  <a:lnTo>
                    <a:pt x="72521" y="703902"/>
                  </a:lnTo>
                  <a:lnTo>
                    <a:pt x="74400" y="698882"/>
                  </a:lnTo>
                  <a:lnTo>
                    <a:pt x="77419" y="699232"/>
                  </a:lnTo>
                  <a:lnTo>
                    <a:pt x="78003" y="699020"/>
                  </a:lnTo>
                  <a:lnTo>
                    <a:pt x="75861" y="695987"/>
                  </a:lnTo>
                  <a:lnTo>
                    <a:pt x="74114" y="692651"/>
                  </a:lnTo>
                  <a:lnTo>
                    <a:pt x="74417" y="691322"/>
                  </a:lnTo>
                  <a:lnTo>
                    <a:pt x="76087" y="690187"/>
                  </a:lnTo>
                  <a:lnTo>
                    <a:pt x="78023" y="689555"/>
                  </a:lnTo>
                  <a:lnTo>
                    <a:pt x="80118" y="691262"/>
                  </a:lnTo>
                  <a:lnTo>
                    <a:pt x="83114" y="696702"/>
                  </a:lnTo>
                  <a:lnTo>
                    <a:pt x="83568" y="695306"/>
                  </a:lnTo>
                  <a:lnTo>
                    <a:pt x="82357" y="689765"/>
                  </a:lnTo>
                  <a:lnTo>
                    <a:pt x="81361" y="682884"/>
                  </a:lnTo>
                  <a:lnTo>
                    <a:pt x="78203" y="683788"/>
                  </a:lnTo>
                  <a:lnTo>
                    <a:pt x="75306" y="683304"/>
                  </a:lnTo>
                  <a:lnTo>
                    <a:pt x="74215" y="682237"/>
                  </a:lnTo>
                  <a:lnTo>
                    <a:pt x="73128" y="680692"/>
                  </a:lnTo>
                  <a:lnTo>
                    <a:pt x="74149" y="678807"/>
                  </a:lnTo>
                  <a:lnTo>
                    <a:pt x="75166" y="677402"/>
                  </a:lnTo>
                  <a:lnTo>
                    <a:pt x="77292" y="675637"/>
                  </a:lnTo>
                  <a:lnTo>
                    <a:pt x="81700" y="675017"/>
                  </a:lnTo>
                  <a:lnTo>
                    <a:pt x="84886" y="672802"/>
                  </a:lnTo>
                  <a:lnTo>
                    <a:pt x="85954" y="668251"/>
                  </a:lnTo>
                  <a:lnTo>
                    <a:pt x="84909" y="668701"/>
                  </a:lnTo>
                  <a:lnTo>
                    <a:pt x="83178" y="672705"/>
                  </a:lnTo>
                  <a:lnTo>
                    <a:pt x="80271" y="674063"/>
                  </a:lnTo>
                  <a:lnTo>
                    <a:pt x="78789" y="673864"/>
                  </a:lnTo>
                  <a:lnTo>
                    <a:pt x="77041" y="673113"/>
                  </a:lnTo>
                  <a:lnTo>
                    <a:pt x="73609" y="669625"/>
                  </a:lnTo>
                  <a:lnTo>
                    <a:pt x="71711" y="668813"/>
                  </a:lnTo>
                  <a:lnTo>
                    <a:pt x="69864" y="668728"/>
                  </a:lnTo>
                  <a:lnTo>
                    <a:pt x="68288" y="669610"/>
                  </a:lnTo>
                  <a:lnTo>
                    <a:pt x="64254" y="675761"/>
                  </a:lnTo>
                  <a:lnTo>
                    <a:pt x="62536" y="676802"/>
                  </a:lnTo>
                  <a:lnTo>
                    <a:pt x="55449" y="677295"/>
                  </a:lnTo>
                  <a:lnTo>
                    <a:pt x="52844" y="676583"/>
                  </a:lnTo>
                  <a:lnTo>
                    <a:pt x="50027" y="675637"/>
                  </a:lnTo>
                  <a:lnTo>
                    <a:pt x="50364" y="674119"/>
                  </a:lnTo>
                  <a:lnTo>
                    <a:pt x="51220" y="672503"/>
                  </a:lnTo>
                  <a:lnTo>
                    <a:pt x="52819" y="671674"/>
                  </a:lnTo>
                  <a:lnTo>
                    <a:pt x="52847" y="670746"/>
                  </a:lnTo>
                  <a:lnTo>
                    <a:pt x="50648" y="670512"/>
                  </a:lnTo>
                  <a:lnTo>
                    <a:pt x="48110" y="668811"/>
                  </a:lnTo>
                  <a:lnTo>
                    <a:pt x="46988" y="666656"/>
                  </a:lnTo>
                  <a:lnTo>
                    <a:pt x="46451" y="662811"/>
                  </a:lnTo>
                  <a:lnTo>
                    <a:pt x="44177" y="656734"/>
                  </a:lnTo>
                  <a:lnTo>
                    <a:pt x="43728" y="652390"/>
                  </a:lnTo>
                  <a:lnTo>
                    <a:pt x="45332" y="649292"/>
                  </a:lnTo>
                  <a:lnTo>
                    <a:pt x="48787" y="637168"/>
                  </a:lnTo>
                  <a:lnTo>
                    <a:pt x="49841" y="631005"/>
                  </a:lnTo>
                  <a:lnTo>
                    <a:pt x="51693" y="625594"/>
                  </a:lnTo>
                  <a:lnTo>
                    <a:pt x="51654" y="622032"/>
                  </a:lnTo>
                  <a:lnTo>
                    <a:pt x="56440" y="618778"/>
                  </a:lnTo>
                  <a:lnTo>
                    <a:pt x="58261" y="616833"/>
                  </a:lnTo>
                  <a:lnTo>
                    <a:pt x="62331" y="605904"/>
                  </a:lnTo>
                  <a:lnTo>
                    <a:pt x="62925" y="600020"/>
                  </a:lnTo>
                  <a:lnTo>
                    <a:pt x="56477" y="582234"/>
                  </a:lnTo>
                  <a:lnTo>
                    <a:pt x="55477" y="578847"/>
                  </a:lnTo>
                  <a:lnTo>
                    <a:pt x="55164" y="574640"/>
                  </a:lnTo>
                  <a:lnTo>
                    <a:pt x="56703" y="567667"/>
                  </a:lnTo>
                  <a:lnTo>
                    <a:pt x="56882" y="565027"/>
                  </a:lnTo>
                  <a:lnTo>
                    <a:pt x="55565" y="561212"/>
                  </a:lnTo>
                  <a:lnTo>
                    <a:pt x="51886" y="554989"/>
                  </a:lnTo>
                  <a:lnTo>
                    <a:pt x="51815" y="551820"/>
                  </a:lnTo>
                  <a:lnTo>
                    <a:pt x="53367" y="548560"/>
                  </a:lnTo>
                  <a:lnTo>
                    <a:pt x="51872" y="544520"/>
                  </a:lnTo>
                  <a:lnTo>
                    <a:pt x="52601" y="542019"/>
                  </a:lnTo>
                  <a:lnTo>
                    <a:pt x="53412" y="540062"/>
                  </a:lnTo>
                  <a:lnTo>
                    <a:pt x="59170" y="541109"/>
                  </a:lnTo>
                  <a:lnTo>
                    <a:pt x="61794" y="540615"/>
                  </a:lnTo>
                  <a:lnTo>
                    <a:pt x="63191" y="539431"/>
                  </a:lnTo>
                  <a:lnTo>
                    <a:pt x="64285" y="536122"/>
                  </a:lnTo>
                  <a:lnTo>
                    <a:pt x="64832" y="530952"/>
                  </a:lnTo>
                  <a:lnTo>
                    <a:pt x="65174" y="528731"/>
                  </a:lnTo>
                  <a:lnTo>
                    <a:pt x="65673" y="525485"/>
                  </a:lnTo>
                  <a:lnTo>
                    <a:pt x="68500" y="524179"/>
                  </a:lnTo>
                  <a:lnTo>
                    <a:pt x="69484" y="521107"/>
                  </a:lnTo>
                  <a:lnTo>
                    <a:pt x="71849" y="516828"/>
                  </a:lnTo>
                  <a:lnTo>
                    <a:pt x="74285" y="504892"/>
                  </a:lnTo>
                  <a:lnTo>
                    <a:pt x="76696" y="501955"/>
                  </a:lnTo>
                  <a:lnTo>
                    <a:pt x="79130" y="498565"/>
                  </a:lnTo>
                  <a:lnTo>
                    <a:pt x="78204" y="493545"/>
                  </a:lnTo>
                  <a:lnTo>
                    <a:pt x="79772" y="491228"/>
                  </a:lnTo>
                  <a:lnTo>
                    <a:pt x="81215" y="489544"/>
                  </a:lnTo>
                  <a:lnTo>
                    <a:pt x="82487" y="486487"/>
                  </a:lnTo>
                  <a:lnTo>
                    <a:pt x="84218" y="483599"/>
                  </a:lnTo>
                  <a:lnTo>
                    <a:pt x="88350" y="479451"/>
                  </a:lnTo>
                  <a:lnTo>
                    <a:pt x="89399" y="474397"/>
                  </a:lnTo>
                  <a:lnTo>
                    <a:pt x="92605" y="465671"/>
                  </a:lnTo>
                  <a:lnTo>
                    <a:pt x="93244" y="460082"/>
                  </a:lnTo>
                  <a:lnTo>
                    <a:pt x="94239" y="456308"/>
                  </a:lnTo>
                  <a:lnTo>
                    <a:pt x="93952" y="452791"/>
                  </a:lnTo>
                  <a:lnTo>
                    <a:pt x="95879" y="448520"/>
                  </a:lnTo>
                  <a:lnTo>
                    <a:pt x="97727" y="444928"/>
                  </a:lnTo>
                  <a:lnTo>
                    <a:pt x="98311" y="442932"/>
                  </a:lnTo>
                  <a:lnTo>
                    <a:pt x="102535" y="438184"/>
                  </a:lnTo>
                  <a:lnTo>
                    <a:pt x="103247" y="434393"/>
                  </a:lnTo>
                  <a:lnTo>
                    <a:pt x="101745" y="431829"/>
                  </a:lnTo>
                  <a:lnTo>
                    <a:pt x="101718" y="427858"/>
                  </a:lnTo>
                  <a:lnTo>
                    <a:pt x="100542" y="422360"/>
                  </a:lnTo>
                  <a:lnTo>
                    <a:pt x="103266" y="420305"/>
                  </a:lnTo>
                  <a:lnTo>
                    <a:pt x="104369" y="418804"/>
                  </a:lnTo>
                  <a:lnTo>
                    <a:pt x="107913" y="410041"/>
                  </a:lnTo>
                  <a:lnTo>
                    <a:pt x="107681" y="406606"/>
                  </a:lnTo>
                  <a:lnTo>
                    <a:pt x="108699" y="402344"/>
                  </a:lnTo>
                  <a:lnTo>
                    <a:pt x="106372" y="397304"/>
                  </a:lnTo>
                  <a:lnTo>
                    <a:pt x="106047" y="386000"/>
                  </a:lnTo>
                  <a:lnTo>
                    <a:pt x="104743" y="377318"/>
                  </a:lnTo>
                  <a:lnTo>
                    <a:pt x="102596" y="368169"/>
                  </a:lnTo>
                  <a:lnTo>
                    <a:pt x="102800" y="363058"/>
                  </a:lnTo>
                  <a:lnTo>
                    <a:pt x="101487" y="356712"/>
                  </a:lnTo>
                  <a:lnTo>
                    <a:pt x="101405" y="353053"/>
                  </a:lnTo>
                  <a:lnTo>
                    <a:pt x="102405" y="344766"/>
                  </a:lnTo>
                  <a:lnTo>
                    <a:pt x="109229" y="339557"/>
                  </a:lnTo>
                  <a:lnTo>
                    <a:pt x="110555" y="333734"/>
                  </a:lnTo>
                  <a:lnTo>
                    <a:pt x="111375" y="325875"/>
                  </a:lnTo>
                  <a:lnTo>
                    <a:pt x="111097" y="320159"/>
                  </a:lnTo>
                  <a:lnTo>
                    <a:pt x="110422" y="317593"/>
                  </a:lnTo>
                  <a:lnTo>
                    <a:pt x="107061" y="313389"/>
                  </a:lnTo>
                  <a:lnTo>
                    <a:pt x="106215" y="305888"/>
                  </a:lnTo>
                  <a:lnTo>
                    <a:pt x="106865" y="303925"/>
                  </a:lnTo>
                  <a:lnTo>
                    <a:pt x="109643" y="301816"/>
                  </a:lnTo>
                  <a:lnTo>
                    <a:pt x="111602" y="298890"/>
                  </a:lnTo>
                  <a:lnTo>
                    <a:pt x="112615" y="294350"/>
                  </a:lnTo>
                  <a:lnTo>
                    <a:pt x="114654" y="290785"/>
                  </a:lnTo>
                  <a:lnTo>
                    <a:pt x="115463" y="282168"/>
                  </a:lnTo>
                  <a:lnTo>
                    <a:pt x="117187" y="275325"/>
                  </a:lnTo>
                  <a:lnTo>
                    <a:pt x="118046" y="272938"/>
                  </a:lnTo>
                  <a:lnTo>
                    <a:pt x="120755" y="269942"/>
                  </a:lnTo>
                  <a:lnTo>
                    <a:pt x="121262" y="269143"/>
                  </a:lnTo>
                  <a:lnTo>
                    <a:pt x="121681" y="266858"/>
                  </a:lnTo>
                  <a:lnTo>
                    <a:pt x="121555" y="261466"/>
                  </a:lnTo>
                  <a:lnTo>
                    <a:pt x="121970" y="258179"/>
                  </a:lnTo>
                  <a:lnTo>
                    <a:pt x="124129" y="251715"/>
                  </a:lnTo>
                  <a:lnTo>
                    <a:pt x="124378" y="248725"/>
                  </a:lnTo>
                  <a:lnTo>
                    <a:pt x="126775" y="242084"/>
                  </a:lnTo>
                  <a:lnTo>
                    <a:pt x="127318" y="237319"/>
                  </a:lnTo>
                  <a:lnTo>
                    <a:pt x="128342" y="234808"/>
                  </a:lnTo>
                  <a:lnTo>
                    <a:pt x="127944" y="231982"/>
                  </a:lnTo>
                  <a:lnTo>
                    <a:pt x="128624" y="225667"/>
                  </a:lnTo>
                  <a:lnTo>
                    <a:pt x="126997" y="222100"/>
                  </a:lnTo>
                  <a:lnTo>
                    <a:pt x="126639" y="220015"/>
                  </a:lnTo>
                  <a:lnTo>
                    <a:pt x="128686" y="213554"/>
                  </a:lnTo>
                  <a:lnTo>
                    <a:pt x="130078" y="211983"/>
                  </a:lnTo>
                  <a:lnTo>
                    <a:pt x="132325" y="208980"/>
                  </a:lnTo>
                  <a:lnTo>
                    <a:pt x="133271" y="205612"/>
                  </a:lnTo>
                  <a:lnTo>
                    <a:pt x="133445" y="203472"/>
                  </a:lnTo>
                  <a:lnTo>
                    <a:pt x="130571" y="192839"/>
                  </a:lnTo>
                  <a:lnTo>
                    <a:pt x="130179" y="189223"/>
                  </a:lnTo>
                  <a:lnTo>
                    <a:pt x="130881" y="180807"/>
                  </a:lnTo>
                  <a:lnTo>
                    <a:pt x="131871" y="175379"/>
                  </a:lnTo>
                  <a:lnTo>
                    <a:pt x="131551" y="171051"/>
                  </a:lnTo>
                  <a:lnTo>
                    <a:pt x="131871" y="168829"/>
                  </a:lnTo>
                  <a:lnTo>
                    <a:pt x="132368" y="166038"/>
                  </a:lnTo>
                  <a:lnTo>
                    <a:pt x="134342" y="162655"/>
                  </a:lnTo>
                  <a:lnTo>
                    <a:pt x="134789" y="160253"/>
                  </a:lnTo>
                  <a:lnTo>
                    <a:pt x="134096" y="159250"/>
                  </a:lnTo>
                  <a:lnTo>
                    <a:pt x="131756" y="158027"/>
                  </a:lnTo>
                  <a:lnTo>
                    <a:pt x="129824" y="154962"/>
                  </a:lnTo>
                  <a:lnTo>
                    <a:pt x="129692" y="151941"/>
                  </a:lnTo>
                  <a:lnTo>
                    <a:pt x="130313" y="149744"/>
                  </a:lnTo>
                  <a:lnTo>
                    <a:pt x="130457" y="146634"/>
                  </a:lnTo>
                  <a:lnTo>
                    <a:pt x="133335" y="146023"/>
                  </a:lnTo>
                  <a:lnTo>
                    <a:pt x="134869" y="144298"/>
                  </a:lnTo>
                  <a:lnTo>
                    <a:pt x="136327" y="141067"/>
                  </a:lnTo>
                  <a:lnTo>
                    <a:pt x="138157" y="133259"/>
                  </a:lnTo>
                  <a:lnTo>
                    <a:pt x="138942" y="123590"/>
                  </a:lnTo>
                  <a:lnTo>
                    <a:pt x="140035" y="117773"/>
                  </a:lnTo>
                  <a:lnTo>
                    <a:pt x="140805" y="114901"/>
                  </a:lnTo>
                  <a:lnTo>
                    <a:pt x="141451" y="108901"/>
                  </a:lnTo>
                  <a:lnTo>
                    <a:pt x="142517" y="104978"/>
                  </a:lnTo>
                  <a:lnTo>
                    <a:pt x="142708" y="101363"/>
                  </a:lnTo>
                  <a:lnTo>
                    <a:pt x="142496" y="98615"/>
                  </a:lnTo>
                  <a:lnTo>
                    <a:pt x="139742" y="84636"/>
                  </a:lnTo>
                  <a:lnTo>
                    <a:pt x="139827" y="79506"/>
                  </a:lnTo>
                  <a:lnTo>
                    <a:pt x="140999" y="71537"/>
                  </a:lnTo>
                  <a:lnTo>
                    <a:pt x="140980" y="60333"/>
                  </a:lnTo>
                  <a:lnTo>
                    <a:pt x="140745" y="57719"/>
                  </a:lnTo>
                  <a:lnTo>
                    <a:pt x="139707" y="55272"/>
                  </a:lnTo>
                  <a:lnTo>
                    <a:pt x="139402" y="51952"/>
                  </a:lnTo>
                  <a:lnTo>
                    <a:pt x="137744" y="46180"/>
                  </a:lnTo>
                  <a:lnTo>
                    <a:pt x="136247" y="34616"/>
                  </a:lnTo>
                  <a:lnTo>
                    <a:pt x="136216" y="28519"/>
                  </a:lnTo>
                  <a:lnTo>
                    <a:pt x="135568" y="23348"/>
                  </a:lnTo>
                  <a:lnTo>
                    <a:pt x="134132" y="21973"/>
                  </a:lnTo>
                  <a:lnTo>
                    <a:pt x="135165" y="21658"/>
                  </a:lnTo>
                  <a:lnTo>
                    <a:pt x="137580" y="21442"/>
                  </a:lnTo>
                  <a:lnTo>
                    <a:pt x="140077" y="21438"/>
                  </a:lnTo>
                  <a:lnTo>
                    <a:pt x="143239" y="20345"/>
                  </a:lnTo>
                  <a:lnTo>
                    <a:pt x="146604" y="18315"/>
                  </a:lnTo>
                  <a:lnTo>
                    <a:pt x="148802" y="15367"/>
                  </a:lnTo>
                  <a:lnTo>
                    <a:pt x="149742" y="12664"/>
                  </a:lnTo>
                  <a:lnTo>
                    <a:pt x="149747" y="10302"/>
                  </a:lnTo>
                  <a:lnTo>
                    <a:pt x="148756" y="7297"/>
                  </a:lnTo>
                  <a:lnTo>
                    <a:pt x="148488" y="5169"/>
                  </a:lnTo>
                  <a:lnTo>
                    <a:pt x="149654" y="4153"/>
                  </a:lnTo>
                  <a:lnTo>
                    <a:pt x="152731" y="3758"/>
                  </a:lnTo>
                  <a:lnTo>
                    <a:pt x="155224" y="1755"/>
                  </a:lnTo>
                  <a:close/>
                </a:path>
              </a:pathLst>
            </a:custGeom>
            <a:solidFill>
              <a:srgbClr val="007CBC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48" name="ee4p_CO_1_82333">
              <a:extLst>
                <a:ext uri="{FF2B5EF4-FFF2-40B4-BE49-F238E27FC236}">
                  <a16:creationId xmlns:a16="http://schemas.microsoft.com/office/drawing/2014/main" id="{2F6C4973-F48B-1220-49CF-729BC5F8815D}"/>
                </a:ext>
              </a:extLst>
            </p:cNvPr>
            <p:cNvSpPr>
              <a:spLocks noChangeAspect="1"/>
            </p:cNvSpPr>
            <p:nvPr>
              <p:custDataLst>
                <p:tags r:id="rId176"/>
              </p:custDataLst>
            </p:nvPr>
          </p:nvSpPr>
          <p:spPr>
            <a:xfrm>
              <a:off x="4320216" y="4319293"/>
              <a:ext cx="337381" cy="477394"/>
            </a:xfrm>
            <a:custGeom>
              <a:avLst/>
              <a:gdLst>
                <a:gd name="connsiteX0" fmla="*/ 21477 w 308065"/>
                <a:gd name="connsiteY0" fmla="*/ 249770 h 424357"/>
                <a:gd name="connsiteX1" fmla="*/ 22511 w 308065"/>
                <a:gd name="connsiteY1" fmla="*/ 250079 h 424357"/>
                <a:gd name="connsiteX2" fmla="*/ 22980 w 308065"/>
                <a:gd name="connsiteY2" fmla="*/ 250854 h 424357"/>
                <a:gd name="connsiteX3" fmla="*/ 23118 w 308065"/>
                <a:gd name="connsiteY3" fmla="*/ 252424 h 424357"/>
                <a:gd name="connsiteX4" fmla="*/ 22431 w 308065"/>
                <a:gd name="connsiteY4" fmla="*/ 252983 h 424357"/>
                <a:gd name="connsiteX5" fmla="*/ 21120 w 308065"/>
                <a:gd name="connsiteY5" fmla="*/ 251979 h 424357"/>
                <a:gd name="connsiteX6" fmla="*/ 20673 w 308065"/>
                <a:gd name="connsiteY6" fmla="*/ 250713 h 424357"/>
                <a:gd name="connsiteX7" fmla="*/ 188347 w 308065"/>
                <a:gd name="connsiteY7" fmla="*/ 0 h 424357"/>
                <a:gd name="connsiteX8" fmla="*/ 190970 w 308065"/>
                <a:gd name="connsiteY8" fmla="*/ 54 h 424357"/>
                <a:gd name="connsiteX9" fmla="*/ 196849 w 308065"/>
                <a:gd name="connsiteY9" fmla="*/ 2551 h 424357"/>
                <a:gd name="connsiteX10" fmla="*/ 199565 w 308065"/>
                <a:gd name="connsiteY10" fmla="*/ 6954 h 424357"/>
                <a:gd name="connsiteX11" fmla="*/ 200014 w 308065"/>
                <a:gd name="connsiteY11" fmla="*/ 9985 h 424357"/>
                <a:gd name="connsiteX12" fmla="*/ 196290 w 308065"/>
                <a:gd name="connsiteY12" fmla="*/ 13277 h 424357"/>
                <a:gd name="connsiteX13" fmla="*/ 195389 w 308065"/>
                <a:gd name="connsiteY13" fmla="*/ 14728 h 424357"/>
                <a:gd name="connsiteX14" fmla="*/ 194480 w 308065"/>
                <a:gd name="connsiteY14" fmla="*/ 15041 h 424357"/>
                <a:gd name="connsiteX15" fmla="*/ 193348 w 308065"/>
                <a:gd name="connsiteY15" fmla="*/ 15714 h 424357"/>
                <a:gd name="connsiteX16" fmla="*/ 189903 w 308065"/>
                <a:gd name="connsiteY16" fmla="*/ 16985 h 424357"/>
                <a:gd name="connsiteX17" fmla="*/ 185253 w 308065"/>
                <a:gd name="connsiteY17" fmla="*/ 18199 h 424357"/>
                <a:gd name="connsiteX18" fmla="*/ 179201 w 308065"/>
                <a:gd name="connsiteY18" fmla="*/ 19752 h 424357"/>
                <a:gd name="connsiteX19" fmla="*/ 177828 w 308065"/>
                <a:gd name="connsiteY19" fmla="*/ 21408 h 424357"/>
                <a:gd name="connsiteX20" fmla="*/ 171838 w 308065"/>
                <a:gd name="connsiteY20" fmla="*/ 31823 h 424357"/>
                <a:gd name="connsiteX21" fmla="*/ 166828 w 308065"/>
                <a:gd name="connsiteY21" fmla="*/ 33932 h 424357"/>
                <a:gd name="connsiteX22" fmla="*/ 165004 w 308065"/>
                <a:gd name="connsiteY22" fmla="*/ 35481 h 424357"/>
                <a:gd name="connsiteX23" fmla="*/ 163629 w 308065"/>
                <a:gd name="connsiteY23" fmla="*/ 37451 h 424357"/>
                <a:gd name="connsiteX24" fmla="*/ 160642 w 308065"/>
                <a:gd name="connsiteY24" fmla="*/ 41076 h 424357"/>
                <a:gd name="connsiteX25" fmla="*/ 159398 w 308065"/>
                <a:gd name="connsiteY25" fmla="*/ 43861 h 424357"/>
                <a:gd name="connsiteX26" fmla="*/ 156096 w 308065"/>
                <a:gd name="connsiteY26" fmla="*/ 49910 h 424357"/>
                <a:gd name="connsiteX27" fmla="*/ 154295 w 308065"/>
                <a:gd name="connsiteY27" fmla="*/ 57482 h 424357"/>
                <a:gd name="connsiteX28" fmla="*/ 153610 w 308065"/>
                <a:gd name="connsiteY28" fmla="*/ 61734 h 424357"/>
                <a:gd name="connsiteX29" fmla="*/ 152617 w 308065"/>
                <a:gd name="connsiteY29" fmla="*/ 67893 h 424357"/>
                <a:gd name="connsiteX30" fmla="*/ 151158 w 308065"/>
                <a:gd name="connsiteY30" fmla="*/ 70988 h 424357"/>
                <a:gd name="connsiteX31" fmla="*/ 149201 w 308065"/>
                <a:gd name="connsiteY31" fmla="*/ 73895 h 424357"/>
                <a:gd name="connsiteX32" fmla="*/ 147097 w 308065"/>
                <a:gd name="connsiteY32" fmla="*/ 76735 h 424357"/>
                <a:gd name="connsiteX33" fmla="*/ 145286 w 308065"/>
                <a:gd name="connsiteY33" fmla="*/ 79844 h 424357"/>
                <a:gd name="connsiteX34" fmla="*/ 143747 w 308065"/>
                <a:gd name="connsiteY34" fmla="*/ 82277 h 424357"/>
                <a:gd name="connsiteX35" fmla="*/ 143497 w 308065"/>
                <a:gd name="connsiteY35" fmla="*/ 83114 h 424357"/>
                <a:gd name="connsiteX36" fmla="*/ 144245 w 308065"/>
                <a:gd name="connsiteY36" fmla="*/ 83784 h 424357"/>
                <a:gd name="connsiteX37" fmla="*/ 147886 w 308065"/>
                <a:gd name="connsiteY37" fmla="*/ 83114 h 424357"/>
                <a:gd name="connsiteX38" fmla="*/ 149317 w 308065"/>
                <a:gd name="connsiteY38" fmla="*/ 82382 h 424357"/>
                <a:gd name="connsiteX39" fmla="*/ 151303 w 308065"/>
                <a:gd name="connsiteY39" fmla="*/ 81441 h 424357"/>
                <a:gd name="connsiteX40" fmla="*/ 152548 w 308065"/>
                <a:gd name="connsiteY40" fmla="*/ 81942 h 424357"/>
                <a:gd name="connsiteX41" fmla="*/ 153794 w 308065"/>
                <a:gd name="connsiteY41" fmla="*/ 84622 h 424357"/>
                <a:gd name="connsiteX42" fmla="*/ 155206 w 308065"/>
                <a:gd name="connsiteY42" fmla="*/ 84957 h 424357"/>
                <a:gd name="connsiteX43" fmla="*/ 156533 w 308065"/>
                <a:gd name="connsiteY43" fmla="*/ 84622 h 424357"/>
                <a:gd name="connsiteX44" fmla="*/ 157946 w 308065"/>
                <a:gd name="connsiteY44" fmla="*/ 85291 h 424357"/>
                <a:gd name="connsiteX45" fmla="*/ 159743 w 308065"/>
                <a:gd name="connsiteY45" fmla="*/ 91953 h 424357"/>
                <a:gd name="connsiteX46" fmla="*/ 161267 w 308065"/>
                <a:gd name="connsiteY46" fmla="*/ 97592 h 424357"/>
                <a:gd name="connsiteX47" fmla="*/ 164809 w 308065"/>
                <a:gd name="connsiteY47" fmla="*/ 101113 h 424357"/>
                <a:gd name="connsiteX48" fmla="*/ 167577 w 308065"/>
                <a:gd name="connsiteY48" fmla="*/ 103863 h 424357"/>
                <a:gd name="connsiteX49" fmla="*/ 168242 w 308065"/>
                <a:gd name="connsiteY49" fmla="*/ 106286 h 424357"/>
                <a:gd name="connsiteX50" fmla="*/ 168906 w 308065"/>
                <a:gd name="connsiteY50" fmla="*/ 109714 h 424357"/>
                <a:gd name="connsiteX51" fmla="*/ 169071 w 308065"/>
                <a:gd name="connsiteY51" fmla="*/ 111386 h 424357"/>
                <a:gd name="connsiteX52" fmla="*/ 168208 w 308065"/>
                <a:gd name="connsiteY52" fmla="*/ 112396 h 424357"/>
                <a:gd name="connsiteX53" fmla="*/ 166829 w 308065"/>
                <a:gd name="connsiteY53" fmla="*/ 114477 h 424357"/>
                <a:gd name="connsiteX54" fmla="*/ 166487 w 308065"/>
                <a:gd name="connsiteY54" fmla="*/ 118464 h 424357"/>
                <a:gd name="connsiteX55" fmla="*/ 166250 w 308065"/>
                <a:gd name="connsiteY55" fmla="*/ 119788 h 424357"/>
                <a:gd name="connsiteX56" fmla="*/ 165995 w 308065"/>
                <a:gd name="connsiteY56" fmla="*/ 123479 h 424357"/>
                <a:gd name="connsiteX57" fmla="*/ 166172 w 308065"/>
                <a:gd name="connsiteY57" fmla="*/ 125747 h 424357"/>
                <a:gd name="connsiteX58" fmla="*/ 166907 w 308065"/>
                <a:gd name="connsiteY58" fmla="*/ 127516 h 424357"/>
                <a:gd name="connsiteX59" fmla="*/ 168133 w 308065"/>
                <a:gd name="connsiteY59" fmla="*/ 128530 h 424357"/>
                <a:gd name="connsiteX60" fmla="*/ 170625 w 308065"/>
                <a:gd name="connsiteY60" fmla="*/ 129054 h 424357"/>
                <a:gd name="connsiteX61" fmla="*/ 172873 w 308065"/>
                <a:gd name="connsiteY61" fmla="*/ 129673 h 424357"/>
                <a:gd name="connsiteX62" fmla="*/ 174166 w 308065"/>
                <a:gd name="connsiteY62" fmla="*/ 132747 h 424357"/>
                <a:gd name="connsiteX63" fmla="*/ 176003 w 308065"/>
                <a:gd name="connsiteY63" fmla="*/ 136641 h 424357"/>
                <a:gd name="connsiteX64" fmla="*/ 177971 w 308065"/>
                <a:gd name="connsiteY64" fmla="*/ 138278 h 424357"/>
                <a:gd name="connsiteX65" fmla="*/ 180861 w 308065"/>
                <a:gd name="connsiteY65" fmla="*/ 139355 h 424357"/>
                <a:gd name="connsiteX66" fmla="*/ 182925 w 308065"/>
                <a:gd name="connsiteY66" fmla="*/ 138961 h 424357"/>
                <a:gd name="connsiteX67" fmla="*/ 187753 w 308065"/>
                <a:gd name="connsiteY67" fmla="*/ 138270 h 424357"/>
                <a:gd name="connsiteX68" fmla="*/ 191905 w 308065"/>
                <a:gd name="connsiteY68" fmla="*/ 138437 h 424357"/>
                <a:gd name="connsiteX69" fmla="*/ 197973 w 308065"/>
                <a:gd name="connsiteY69" fmla="*/ 139486 h 424357"/>
                <a:gd name="connsiteX70" fmla="*/ 200235 w 308065"/>
                <a:gd name="connsiteY70" fmla="*/ 139447 h 424357"/>
                <a:gd name="connsiteX71" fmla="*/ 203159 w 308065"/>
                <a:gd name="connsiteY71" fmla="*/ 139251 h 424357"/>
                <a:gd name="connsiteX72" fmla="*/ 208296 w 308065"/>
                <a:gd name="connsiteY72" fmla="*/ 137133 h 424357"/>
                <a:gd name="connsiteX73" fmla="*/ 210161 w 308065"/>
                <a:gd name="connsiteY73" fmla="*/ 136815 h 424357"/>
                <a:gd name="connsiteX74" fmla="*/ 212242 w 308065"/>
                <a:gd name="connsiteY74" fmla="*/ 137000 h 424357"/>
                <a:gd name="connsiteX75" fmla="*/ 215273 w 308065"/>
                <a:gd name="connsiteY75" fmla="*/ 138077 h 424357"/>
                <a:gd name="connsiteX76" fmla="*/ 216918 w 308065"/>
                <a:gd name="connsiteY76" fmla="*/ 138927 h 424357"/>
                <a:gd name="connsiteX77" fmla="*/ 219027 w 308065"/>
                <a:gd name="connsiteY77" fmla="*/ 139807 h 424357"/>
                <a:gd name="connsiteX78" fmla="*/ 222105 w 308065"/>
                <a:gd name="connsiteY78" fmla="*/ 140435 h 424357"/>
                <a:gd name="connsiteX79" fmla="*/ 224082 w 308065"/>
                <a:gd name="connsiteY79" fmla="*/ 140331 h 424357"/>
                <a:gd name="connsiteX80" fmla="*/ 225576 w 308065"/>
                <a:gd name="connsiteY80" fmla="*/ 140291 h 424357"/>
                <a:gd name="connsiteX81" fmla="*/ 226443 w 308065"/>
                <a:gd name="connsiteY81" fmla="*/ 140690 h 424357"/>
                <a:gd name="connsiteX82" fmla="*/ 231282 w 308065"/>
                <a:gd name="connsiteY82" fmla="*/ 146745 h 424357"/>
                <a:gd name="connsiteX83" fmla="*/ 235471 w 308065"/>
                <a:gd name="connsiteY83" fmla="*/ 151986 h 424357"/>
                <a:gd name="connsiteX84" fmla="*/ 239127 w 308065"/>
                <a:gd name="connsiteY84" fmla="*/ 156389 h 424357"/>
                <a:gd name="connsiteX85" fmla="*/ 243070 w 308065"/>
                <a:gd name="connsiteY85" fmla="*/ 161137 h 424357"/>
                <a:gd name="connsiteX86" fmla="*/ 243378 w 308065"/>
                <a:gd name="connsiteY86" fmla="*/ 161416 h 424357"/>
                <a:gd name="connsiteX87" fmla="*/ 245155 w 308065"/>
                <a:gd name="connsiteY87" fmla="*/ 160805 h 424357"/>
                <a:gd name="connsiteX88" fmla="*/ 246327 w 308065"/>
                <a:gd name="connsiteY88" fmla="*/ 161068 h 424357"/>
                <a:gd name="connsiteX89" fmla="*/ 247409 w 308065"/>
                <a:gd name="connsiteY89" fmla="*/ 162034 h 424357"/>
                <a:gd name="connsiteX90" fmla="*/ 249276 w 308065"/>
                <a:gd name="connsiteY90" fmla="*/ 161636 h 424357"/>
                <a:gd name="connsiteX91" fmla="*/ 251927 w 308065"/>
                <a:gd name="connsiteY91" fmla="*/ 159879 h 424357"/>
                <a:gd name="connsiteX92" fmla="*/ 255801 w 308065"/>
                <a:gd name="connsiteY92" fmla="*/ 159527 h 424357"/>
                <a:gd name="connsiteX93" fmla="*/ 260890 w 308065"/>
                <a:gd name="connsiteY93" fmla="*/ 160581 h 424357"/>
                <a:gd name="connsiteX94" fmla="*/ 267603 w 308065"/>
                <a:gd name="connsiteY94" fmla="*/ 160587 h 424357"/>
                <a:gd name="connsiteX95" fmla="*/ 275937 w 308065"/>
                <a:gd name="connsiteY95" fmla="*/ 159544 h 424357"/>
                <a:gd name="connsiteX96" fmla="*/ 281115 w 308065"/>
                <a:gd name="connsiteY96" fmla="*/ 158414 h 424357"/>
                <a:gd name="connsiteX97" fmla="*/ 283135 w 308065"/>
                <a:gd name="connsiteY97" fmla="*/ 157192 h 424357"/>
                <a:gd name="connsiteX98" fmla="*/ 286484 w 308065"/>
                <a:gd name="connsiteY98" fmla="*/ 157319 h 424357"/>
                <a:gd name="connsiteX99" fmla="*/ 290517 w 308065"/>
                <a:gd name="connsiteY99" fmla="*/ 158417 h 424357"/>
                <a:gd name="connsiteX100" fmla="*/ 292700 w 308065"/>
                <a:gd name="connsiteY100" fmla="*/ 159982 h 424357"/>
                <a:gd name="connsiteX101" fmla="*/ 292964 w 308065"/>
                <a:gd name="connsiteY101" fmla="*/ 161522 h 424357"/>
                <a:gd name="connsiteX102" fmla="*/ 293782 w 308065"/>
                <a:gd name="connsiteY102" fmla="*/ 163921 h 424357"/>
                <a:gd name="connsiteX103" fmla="*/ 292905 w 308065"/>
                <a:gd name="connsiteY103" fmla="*/ 166352 h 424357"/>
                <a:gd name="connsiteX104" fmla="*/ 290337 w 308065"/>
                <a:gd name="connsiteY104" fmla="*/ 168817 h 424357"/>
                <a:gd name="connsiteX105" fmla="*/ 288913 w 308065"/>
                <a:gd name="connsiteY105" fmla="*/ 171964 h 424357"/>
                <a:gd name="connsiteX106" fmla="*/ 288635 w 308065"/>
                <a:gd name="connsiteY106" fmla="*/ 175794 h 424357"/>
                <a:gd name="connsiteX107" fmla="*/ 287308 w 308065"/>
                <a:gd name="connsiteY107" fmla="*/ 178625 h 424357"/>
                <a:gd name="connsiteX108" fmla="*/ 284930 w 308065"/>
                <a:gd name="connsiteY108" fmla="*/ 180456 h 424357"/>
                <a:gd name="connsiteX109" fmla="*/ 284005 w 308065"/>
                <a:gd name="connsiteY109" fmla="*/ 183127 h 424357"/>
                <a:gd name="connsiteX110" fmla="*/ 284530 w 308065"/>
                <a:gd name="connsiteY110" fmla="*/ 186633 h 424357"/>
                <a:gd name="connsiteX111" fmla="*/ 284274 w 308065"/>
                <a:gd name="connsiteY111" fmla="*/ 191761 h 424357"/>
                <a:gd name="connsiteX112" fmla="*/ 283235 w 308065"/>
                <a:gd name="connsiteY112" fmla="*/ 198504 h 424357"/>
                <a:gd name="connsiteX113" fmla="*/ 283235 w 308065"/>
                <a:gd name="connsiteY113" fmla="*/ 202534 h 424357"/>
                <a:gd name="connsiteX114" fmla="*/ 284274 w 308065"/>
                <a:gd name="connsiteY114" fmla="*/ 203850 h 424357"/>
                <a:gd name="connsiteX115" fmla="*/ 284752 w 308065"/>
                <a:gd name="connsiteY115" fmla="*/ 205739 h 424357"/>
                <a:gd name="connsiteX116" fmla="*/ 284671 w 308065"/>
                <a:gd name="connsiteY116" fmla="*/ 208198 h 424357"/>
                <a:gd name="connsiteX117" fmla="*/ 285062 w 308065"/>
                <a:gd name="connsiteY117" fmla="*/ 210374 h 424357"/>
                <a:gd name="connsiteX118" fmla="*/ 286352 w 308065"/>
                <a:gd name="connsiteY118" fmla="*/ 213211 h 424357"/>
                <a:gd name="connsiteX119" fmla="*/ 288145 w 308065"/>
                <a:gd name="connsiteY119" fmla="*/ 218856 h 424357"/>
                <a:gd name="connsiteX120" fmla="*/ 289643 w 308065"/>
                <a:gd name="connsiteY120" fmla="*/ 221280 h 424357"/>
                <a:gd name="connsiteX121" fmla="*/ 290947 w 308065"/>
                <a:gd name="connsiteY121" fmla="*/ 222168 h 424357"/>
                <a:gd name="connsiteX122" fmla="*/ 292277 w 308065"/>
                <a:gd name="connsiteY122" fmla="*/ 223253 h 424357"/>
                <a:gd name="connsiteX123" fmla="*/ 296105 w 308065"/>
                <a:gd name="connsiteY123" fmla="*/ 229024 h 424357"/>
                <a:gd name="connsiteX124" fmla="*/ 297033 w 308065"/>
                <a:gd name="connsiteY124" fmla="*/ 230241 h 424357"/>
                <a:gd name="connsiteX125" fmla="*/ 296753 w 308065"/>
                <a:gd name="connsiteY125" fmla="*/ 231304 h 424357"/>
                <a:gd name="connsiteX126" fmla="*/ 296395 w 308065"/>
                <a:gd name="connsiteY126" fmla="*/ 232099 h 424357"/>
                <a:gd name="connsiteX127" fmla="*/ 295955 w 308065"/>
                <a:gd name="connsiteY127" fmla="*/ 232606 h 424357"/>
                <a:gd name="connsiteX128" fmla="*/ 291867 w 308065"/>
                <a:gd name="connsiteY128" fmla="*/ 236043 h 424357"/>
                <a:gd name="connsiteX129" fmla="*/ 283755 w 308065"/>
                <a:gd name="connsiteY129" fmla="*/ 243515 h 424357"/>
                <a:gd name="connsiteX130" fmla="*/ 283084 w 308065"/>
                <a:gd name="connsiteY130" fmla="*/ 244467 h 424357"/>
                <a:gd name="connsiteX131" fmla="*/ 283138 w 308065"/>
                <a:gd name="connsiteY131" fmla="*/ 246033 h 424357"/>
                <a:gd name="connsiteX132" fmla="*/ 285486 w 308065"/>
                <a:gd name="connsiteY132" fmla="*/ 245026 h 424357"/>
                <a:gd name="connsiteX133" fmla="*/ 288003 w 308065"/>
                <a:gd name="connsiteY133" fmla="*/ 245866 h 424357"/>
                <a:gd name="connsiteX134" fmla="*/ 289234 w 308065"/>
                <a:gd name="connsiteY134" fmla="*/ 246033 h 424357"/>
                <a:gd name="connsiteX135" fmla="*/ 289792 w 308065"/>
                <a:gd name="connsiteY135" fmla="*/ 246649 h 424357"/>
                <a:gd name="connsiteX136" fmla="*/ 290519 w 308065"/>
                <a:gd name="connsiteY136" fmla="*/ 248664 h 424357"/>
                <a:gd name="connsiteX137" fmla="*/ 291357 w 308065"/>
                <a:gd name="connsiteY137" fmla="*/ 248999 h 424357"/>
                <a:gd name="connsiteX138" fmla="*/ 292588 w 308065"/>
                <a:gd name="connsiteY138" fmla="*/ 249838 h 424357"/>
                <a:gd name="connsiteX139" fmla="*/ 294992 w 308065"/>
                <a:gd name="connsiteY139" fmla="*/ 251963 h 424357"/>
                <a:gd name="connsiteX140" fmla="*/ 297004 w 308065"/>
                <a:gd name="connsiteY140" fmla="*/ 254201 h 424357"/>
                <a:gd name="connsiteX141" fmla="*/ 298513 w 308065"/>
                <a:gd name="connsiteY141" fmla="*/ 255273 h 424357"/>
                <a:gd name="connsiteX142" fmla="*/ 299576 w 308065"/>
                <a:gd name="connsiteY142" fmla="*/ 256270 h 424357"/>
                <a:gd name="connsiteX143" fmla="*/ 299911 w 308065"/>
                <a:gd name="connsiteY143" fmla="*/ 257726 h 424357"/>
                <a:gd name="connsiteX144" fmla="*/ 299464 w 308065"/>
                <a:gd name="connsiteY144" fmla="*/ 259179 h 424357"/>
                <a:gd name="connsiteX145" fmla="*/ 300725 w 308065"/>
                <a:gd name="connsiteY145" fmla="*/ 262551 h 424357"/>
                <a:gd name="connsiteX146" fmla="*/ 301588 w 308065"/>
                <a:gd name="connsiteY146" fmla="*/ 263599 h 424357"/>
                <a:gd name="connsiteX147" fmla="*/ 302036 w 308065"/>
                <a:gd name="connsiteY147" fmla="*/ 264884 h 424357"/>
                <a:gd name="connsiteX148" fmla="*/ 301588 w 308065"/>
                <a:gd name="connsiteY148" fmla="*/ 266171 h 424357"/>
                <a:gd name="connsiteX149" fmla="*/ 302650 w 308065"/>
                <a:gd name="connsiteY149" fmla="*/ 267681 h 424357"/>
                <a:gd name="connsiteX150" fmla="*/ 303808 w 308065"/>
                <a:gd name="connsiteY150" fmla="*/ 270652 h 424357"/>
                <a:gd name="connsiteX151" fmla="*/ 305222 w 308065"/>
                <a:gd name="connsiteY151" fmla="*/ 274280 h 424357"/>
                <a:gd name="connsiteX152" fmla="*/ 305390 w 308065"/>
                <a:gd name="connsiteY152" fmla="*/ 276294 h 424357"/>
                <a:gd name="connsiteX153" fmla="*/ 305978 w 308065"/>
                <a:gd name="connsiteY153" fmla="*/ 277222 h 424357"/>
                <a:gd name="connsiteX154" fmla="*/ 306668 w 308065"/>
                <a:gd name="connsiteY154" fmla="*/ 279914 h 424357"/>
                <a:gd name="connsiteX155" fmla="*/ 307851 w 308065"/>
                <a:gd name="connsiteY155" fmla="*/ 282445 h 424357"/>
                <a:gd name="connsiteX156" fmla="*/ 307571 w 308065"/>
                <a:gd name="connsiteY156" fmla="*/ 284179 h 424357"/>
                <a:gd name="connsiteX157" fmla="*/ 308065 w 308065"/>
                <a:gd name="connsiteY157" fmla="*/ 285874 h 424357"/>
                <a:gd name="connsiteX158" fmla="*/ 303267 w 308065"/>
                <a:gd name="connsiteY158" fmla="*/ 287007 h 424357"/>
                <a:gd name="connsiteX159" fmla="*/ 302835 w 308065"/>
                <a:gd name="connsiteY159" fmla="*/ 286828 h 424357"/>
                <a:gd name="connsiteX160" fmla="*/ 302547 w 308065"/>
                <a:gd name="connsiteY160" fmla="*/ 286204 h 424357"/>
                <a:gd name="connsiteX161" fmla="*/ 302684 w 308065"/>
                <a:gd name="connsiteY161" fmla="*/ 281370 h 424357"/>
                <a:gd name="connsiteX162" fmla="*/ 302637 w 308065"/>
                <a:gd name="connsiteY162" fmla="*/ 275919 h 424357"/>
                <a:gd name="connsiteX163" fmla="*/ 301898 w 308065"/>
                <a:gd name="connsiteY163" fmla="*/ 273685 h 424357"/>
                <a:gd name="connsiteX164" fmla="*/ 299703 w 308065"/>
                <a:gd name="connsiteY164" fmla="*/ 270104 h 424357"/>
                <a:gd name="connsiteX165" fmla="*/ 296792 w 308065"/>
                <a:gd name="connsiteY165" fmla="*/ 265354 h 424357"/>
                <a:gd name="connsiteX166" fmla="*/ 295997 w 308065"/>
                <a:gd name="connsiteY166" fmla="*/ 263991 h 424357"/>
                <a:gd name="connsiteX167" fmla="*/ 294768 w 308065"/>
                <a:gd name="connsiteY167" fmla="*/ 263208 h 424357"/>
                <a:gd name="connsiteX168" fmla="*/ 293314 w 308065"/>
                <a:gd name="connsiteY168" fmla="*/ 263095 h 424357"/>
                <a:gd name="connsiteX169" fmla="*/ 292252 w 308065"/>
                <a:gd name="connsiteY169" fmla="*/ 263430 h 424357"/>
                <a:gd name="connsiteX170" fmla="*/ 290822 w 308065"/>
                <a:gd name="connsiteY170" fmla="*/ 264317 h 424357"/>
                <a:gd name="connsiteX171" fmla="*/ 289473 w 308065"/>
                <a:gd name="connsiteY171" fmla="*/ 265279 h 424357"/>
                <a:gd name="connsiteX172" fmla="*/ 286871 w 308065"/>
                <a:gd name="connsiteY172" fmla="*/ 268143 h 424357"/>
                <a:gd name="connsiteX173" fmla="*/ 284253 w 308065"/>
                <a:gd name="connsiteY173" fmla="*/ 271492 h 424357"/>
                <a:gd name="connsiteX174" fmla="*/ 282721 w 308065"/>
                <a:gd name="connsiteY174" fmla="*/ 272240 h 424357"/>
                <a:gd name="connsiteX175" fmla="*/ 281183 w 308065"/>
                <a:gd name="connsiteY175" fmla="*/ 272548 h 424357"/>
                <a:gd name="connsiteX176" fmla="*/ 279825 w 308065"/>
                <a:gd name="connsiteY176" fmla="*/ 272444 h 424357"/>
                <a:gd name="connsiteX177" fmla="*/ 278732 w 308065"/>
                <a:gd name="connsiteY177" fmla="*/ 271544 h 424357"/>
                <a:gd name="connsiteX178" fmla="*/ 277612 w 308065"/>
                <a:gd name="connsiteY178" fmla="*/ 269716 h 424357"/>
                <a:gd name="connsiteX179" fmla="*/ 276262 w 308065"/>
                <a:gd name="connsiteY179" fmla="*/ 267290 h 424357"/>
                <a:gd name="connsiteX180" fmla="*/ 274651 w 308065"/>
                <a:gd name="connsiteY180" fmla="*/ 266496 h 424357"/>
                <a:gd name="connsiteX181" fmla="*/ 274028 w 308065"/>
                <a:gd name="connsiteY181" fmla="*/ 267243 h 424357"/>
                <a:gd name="connsiteX182" fmla="*/ 273494 w 308065"/>
                <a:gd name="connsiteY182" fmla="*/ 268669 h 424357"/>
                <a:gd name="connsiteX183" fmla="*/ 273075 w 308065"/>
                <a:gd name="connsiteY183" fmla="*/ 270086 h 424357"/>
                <a:gd name="connsiteX184" fmla="*/ 274157 w 308065"/>
                <a:gd name="connsiteY184" fmla="*/ 271886 h 424357"/>
                <a:gd name="connsiteX185" fmla="*/ 275088 w 308065"/>
                <a:gd name="connsiteY185" fmla="*/ 273275 h 424357"/>
                <a:gd name="connsiteX186" fmla="*/ 273492 w 308065"/>
                <a:gd name="connsiteY186" fmla="*/ 273227 h 424357"/>
                <a:gd name="connsiteX187" fmla="*/ 268321 w 308065"/>
                <a:gd name="connsiteY187" fmla="*/ 273230 h 424357"/>
                <a:gd name="connsiteX188" fmla="*/ 262361 w 308065"/>
                <a:gd name="connsiteY188" fmla="*/ 273232 h 424357"/>
                <a:gd name="connsiteX189" fmla="*/ 256410 w 308065"/>
                <a:gd name="connsiteY189" fmla="*/ 273235 h 424357"/>
                <a:gd name="connsiteX190" fmla="*/ 251058 w 308065"/>
                <a:gd name="connsiteY190" fmla="*/ 273237 h 424357"/>
                <a:gd name="connsiteX191" fmla="*/ 246102 w 308065"/>
                <a:gd name="connsiteY191" fmla="*/ 273238 h 424357"/>
                <a:gd name="connsiteX192" fmla="*/ 244210 w 308065"/>
                <a:gd name="connsiteY192" fmla="*/ 273123 h 424357"/>
                <a:gd name="connsiteX193" fmla="*/ 242287 w 308065"/>
                <a:gd name="connsiteY193" fmla="*/ 272308 h 424357"/>
                <a:gd name="connsiteX194" fmla="*/ 240442 w 308065"/>
                <a:gd name="connsiteY194" fmla="*/ 271919 h 424357"/>
                <a:gd name="connsiteX195" fmla="*/ 239471 w 308065"/>
                <a:gd name="connsiteY195" fmla="*/ 271982 h 424357"/>
                <a:gd name="connsiteX196" fmla="*/ 237727 w 308065"/>
                <a:gd name="connsiteY196" fmla="*/ 272776 h 424357"/>
                <a:gd name="connsiteX197" fmla="*/ 235455 w 308065"/>
                <a:gd name="connsiteY197" fmla="*/ 272893 h 424357"/>
                <a:gd name="connsiteX198" fmla="*/ 233925 w 308065"/>
                <a:gd name="connsiteY198" fmla="*/ 273646 h 424357"/>
                <a:gd name="connsiteX199" fmla="*/ 232691 w 308065"/>
                <a:gd name="connsiteY199" fmla="*/ 273556 h 424357"/>
                <a:gd name="connsiteX200" fmla="*/ 232669 w 308065"/>
                <a:gd name="connsiteY200" fmla="*/ 277737 h 424357"/>
                <a:gd name="connsiteX201" fmla="*/ 232636 w 308065"/>
                <a:gd name="connsiteY201" fmla="*/ 283698 h 424357"/>
                <a:gd name="connsiteX202" fmla="*/ 232602 w 308065"/>
                <a:gd name="connsiteY202" fmla="*/ 290020 h 424357"/>
                <a:gd name="connsiteX203" fmla="*/ 233971 w 308065"/>
                <a:gd name="connsiteY203" fmla="*/ 289541 h 424357"/>
                <a:gd name="connsiteX204" fmla="*/ 235158 w 308065"/>
                <a:gd name="connsiteY204" fmla="*/ 289587 h 424357"/>
                <a:gd name="connsiteX205" fmla="*/ 236028 w 308065"/>
                <a:gd name="connsiteY205" fmla="*/ 290032 h 424357"/>
                <a:gd name="connsiteX206" fmla="*/ 238465 w 308065"/>
                <a:gd name="connsiteY206" fmla="*/ 289673 h 424357"/>
                <a:gd name="connsiteX207" fmla="*/ 239817 w 308065"/>
                <a:gd name="connsiteY207" fmla="*/ 289862 h 424357"/>
                <a:gd name="connsiteX208" fmla="*/ 241096 w 308065"/>
                <a:gd name="connsiteY208" fmla="*/ 290021 h 424357"/>
                <a:gd name="connsiteX209" fmla="*/ 242284 w 308065"/>
                <a:gd name="connsiteY209" fmla="*/ 290044 h 424357"/>
                <a:gd name="connsiteX210" fmla="*/ 243014 w 308065"/>
                <a:gd name="connsiteY210" fmla="*/ 290545 h 424357"/>
                <a:gd name="connsiteX211" fmla="*/ 243996 w 308065"/>
                <a:gd name="connsiteY211" fmla="*/ 290455 h 424357"/>
                <a:gd name="connsiteX212" fmla="*/ 245046 w 308065"/>
                <a:gd name="connsiteY212" fmla="*/ 289907 h 424357"/>
                <a:gd name="connsiteX213" fmla="*/ 246303 w 308065"/>
                <a:gd name="connsiteY213" fmla="*/ 290250 h 424357"/>
                <a:gd name="connsiteX214" fmla="*/ 247649 w 308065"/>
                <a:gd name="connsiteY214" fmla="*/ 291139 h 424357"/>
                <a:gd name="connsiteX215" fmla="*/ 248517 w 308065"/>
                <a:gd name="connsiteY215" fmla="*/ 292465 h 424357"/>
                <a:gd name="connsiteX216" fmla="*/ 249293 w 308065"/>
                <a:gd name="connsiteY216" fmla="*/ 294109 h 424357"/>
                <a:gd name="connsiteX217" fmla="*/ 250070 w 308065"/>
                <a:gd name="connsiteY217" fmla="*/ 294977 h 424357"/>
                <a:gd name="connsiteX218" fmla="*/ 250024 w 308065"/>
                <a:gd name="connsiteY218" fmla="*/ 296552 h 424357"/>
                <a:gd name="connsiteX219" fmla="*/ 250000 w 308065"/>
                <a:gd name="connsiteY219" fmla="*/ 297786 h 424357"/>
                <a:gd name="connsiteX220" fmla="*/ 249727 w 308065"/>
                <a:gd name="connsiteY220" fmla="*/ 298812 h 424357"/>
                <a:gd name="connsiteX221" fmla="*/ 250070 w 308065"/>
                <a:gd name="connsiteY221" fmla="*/ 299475 h 424357"/>
                <a:gd name="connsiteX222" fmla="*/ 250321 w 308065"/>
                <a:gd name="connsiteY222" fmla="*/ 300182 h 424357"/>
                <a:gd name="connsiteX223" fmla="*/ 250252 w 308065"/>
                <a:gd name="connsiteY223" fmla="*/ 300594 h 424357"/>
                <a:gd name="connsiteX224" fmla="*/ 249795 w 308065"/>
                <a:gd name="connsiteY224" fmla="*/ 300776 h 424357"/>
                <a:gd name="connsiteX225" fmla="*/ 248813 w 308065"/>
                <a:gd name="connsiteY225" fmla="*/ 300914 h 424357"/>
                <a:gd name="connsiteX226" fmla="*/ 247763 w 308065"/>
                <a:gd name="connsiteY226" fmla="*/ 301028 h 424357"/>
                <a:gd name="connsiteX227" fmla="*/ 247032 w 308065"/>
                <a:gd name="connsiteY227" fmla="*/ 300982 h 424357"/>
                <a:gd name="connsiteX228" fmla="*/ 246462 w 308065"/>
                <a:gd name="connsiteY228" fmla="*/ 300343 h 424357"/>
                <a:gd name="connsiteX229" fmla="*/ 245913 w 308065"/>
                <a:gd name="connsiteY229" fmla="*/ 300274 h 424357"/>
                <a:gd name="connsiteX230" fmla="*/ 245115 w 308065"/>
                <a:gd name="connsiteY230" fmla="*/ 300365 h 424357"/>
                <a:gd name="connsiteX231" fmla="*/ 244270 w 308065"/>
                <a:gd name="connsiteY231" fmla="*/ 299977 h 424357"/>
                <a:gd name="connsiteX232" fmla="*/ 243539 w 308065"/>
                <a:gd name="connsiteY232" fmla="*/ 299178 h 424357"/>
                <a:gd name="connsiteX233" fmla="*/ 242238 w 308065"/>
                <a:gd name="connsiteY233" fmla="*/ 298379 h 424357"/>
                <a:gd name="connsiteX234" fmla="*/ 240844 w 308065"/>
                <a:gd name="connsiteY234" fmla="*/ 298721 h 424357"/>
                <a:gd name="connsiteX235" fmla="*/ 239887 w 308065"/>
                <a:gd name="connsiteY235" fmla="*/ 299132 h 424357"/>
                <a:gd name="connsiteX236" fmla="*/ 238903 w 308065"/>
                <a:gd name="connsiteY236" fmla="*/ 299635 h 424357"/>
                <a:gd name="connsiteX237" fmla="*/ 238013 w 308065"/>
                <a:gd name="connsiteY237" fmla="*/ 300159 h 424357"/>
                <a:gd name="connsiteX238" fmla="*/ 237123 w 308065"/>
                <a:gd name="connsiteY238" fmla="*/ 300023 h 424357"/>
                <a:gd name="connsiteX239" fmla="*/ 235980 w 308065"/>
                <a:gd name="connsiteY239" fmla="*/ 300411 h 424357"/>
                <a:gd name="connsiteX240" fmla="*/ 235020 w 308065"/>
                <a:gd name="connsiteY240" fmla="*/ 301005 h 424357"/>
                <a:gd name="connsiteX241" fmla="*/ 233743 w 308065"/>
                <a:gd name="connsiteY241" fmla="*/ 301484 h 424357"/>
                <a:gd name="connsiteX242" fmla="*/ 232350 w 308065"/>
                <a:gd name="connsiteY242" fmla="*/ 301711 h 424357"/>
                <a:gd name="connsiteX243" fmla="*/ 230752 w 308065"/>
                <a:gd name="connsiteY243" fmla="*/ 301941 h 424357"/>
                <a:gd name="connsiteX244" fmla="*/ 229221 w 308065"/>
                <a:gd name="connsiteY244" fmla="*/ 302032 h 424357"/>
                <a:gd name="connsiteX245" fmla="*/ 227485 w 308065"/>
                <a:gd name="connsiteY245" fmla="*/ 302216 h 424357"/>
                <a:gd name="connsiteX246" fmla="*/ 227384 w 308065"/>
                <a:gd name="connsiteY246" fmla="*/ 305543 h 424357"/>
                <a:gd name="connsiteX247" fmla="*/ 227186 w 308065"/>
                <a:gd name="connsiteY247" fmla="*/ 312085 h 424357"/>
                <a:gd name="connsiteX248" fmla="*/ 227054 w 308065"/>
                <a:gd name="connsiteY248" fmla="*/ 316416 h 424357"/>
                <a:gd name="connsiteX249" fmla="*/ 227064 w 308065"/>
                <a:gd name="connsiteY249" fmla="*/ 320408 h 424357"/>
                <a:gd name="connsiteX250" fmla="*/ 227735 w 308065"/>
                <a:gd name="connsiteY250" fmla="*/ 321862 h 424357"/>
                <a:gd name="connsiteX251" fmla="*/ 230811 w 308065"/>
                <a:gd name="connsiteY251" fmla="*/ 324938 h 424357"/>
                <a:gd name="connsiteX252" fmla="*/ 233215 w 308065"/>
                <a:gd name="connsiteY252" fmla="*/ 326557 h 424357"/>
                <a:gd name="connsiteX253" fmla="*/ 235255 w 308065"/>
                <a:gd name="connsiteY253" fmla="*/ 328362 h 424357"/>
                <a:gd name="connsiteX254" fmla="*/ 237284 w 308065"/>
                <a:gd name="connsiteY254" fmla="*/ 329120 h 424357"/>
                <a:gd name="connsiteX255" fmla="*/ 238134 w 308065"/>
                <a:gd name="connsiteY255" fmla="*/ 329800 h 424357"/>
                <a:gd name="connsiteX256" fmla="*/ 238693 w 308065"/>
                <a:gd name="connsiteY256" fmla="*/ 330917 h 424357"/>
                <a:gd name="connsiteX257" fmla="*/ 238973 w 308065"/>
                <a:gd name="connsiteY257" fmla="*/ 332091 h 424357"/>
                <a:gd name="connsiteX258" fmla="*/ 239197 w 308065"/>
                <a:gd name="connsiteY258" fmla="*/ 333099 h 424357"/>
                <a:gd name="connsiteX259" fmla="*/ 238973 w 308065"/>
                <a:gd name="connsiteY259" fmla="*/ 334161 h 424357"/>
                <a:gd name="connsiteX260" fmla="*/ 238470 w 308065"/>
                <a:gd name="connsiteY260" fmla="*/ 335166 h 424357"/>
                <a:gd name="connsiteX261" fmla="*/ 238693 w 308065"/>
                <a:gd name="connsiteY261" fmla="*/ 336229 h 424357"/>
                <a:gd name="connsiteX262" fmla="*/ 239420 w 308065"/>
                <a:gd name="connsiteY262" fmla="*/ 337068 h 424357"/>
                <a:gd name="connsiteX263" fmla="*/ 239644 w 308065"/>
                <a:gd name="connsiteY263" fmla="*/ 338131 h 424357"/>
                <a:gd name="connsiteX264" fmla="*/ 240146 w 308065"/>
                <a:gd name="connsiteY264" fmla="*/ 339136 h 424357"/>
                <a:gd name="connsiteX265" fmla="*/ 240426 w 308065"/>
                <a:gd name="connsiteY265" fmla="*/ 340144 h 424357"/>
                <a:gd name="connsiteX266" fmla="*/ 241042 w 308065"/>
                <a:gd name="connsiteY266" fmla="*/ 340869 h 424357"/>
                <a:gd name="connsiteX267" fmla="*/ 241824 w 308065"/>
                <a:gd name="connsiteY267" fmla="*/ 341375 h 424357"/>
                <a:gd name="connsiteX268" fmla="*/ 242831 w 308065"/>
                <a:gd name="connsiteY268" fmla="*/ 342212 h 424357"/>
                <a:gd name="connsiteX269" fmla="*/ 242942 w 308065"/>
                <a:gd name="connsiteY269" fmla="*/ 342994 h 424357"/>
                <a:gd name="connsiteX270" fmla="*/ 242831 w 308065"/>
                <a:gd name="connsiteY270" fmla="*/ 343891 h 424357"/>
                <a:gd name="connsiteX271" fmla="*/ 242820 w 308065"/>
                <a:gd name="connsiteY271" fmla="*/ 344567 h 424357"/>
                <a:gd name="connsiteX272" fmla="*/ 243777 w 308065"/>
                <a:gd name="connsiteY272" fmla="*/ 346105 h 424357"/>
                <a:gd name="connsiteX273" fmla="*/ 244060 w 308065"/>
                <a:gd name="connsiteY273" fmla="*/ 347188 h 424357"/>
                <a:gd name="connsiteX274" fmla="*/ 243613 w 308065"/>
                <a:gd name="connsiteY274" fmla="*/ 348475 h 424357"/>
                <a:gd name="connsiteX275" fmla="*/ 243181 w 308065"/>
                <a:gd name="connsiteY275" fmla="*/ 352938 h 424357"/>
                <a:gd name="connsiteX276" fmla="*/ 242073 w 308065"/>
                <a:gd name="connsiteY276" fmla="*/ 358017 h 424357"/>
                <a:gd name="connsiteX277" fmla="*/ 241367 w 308065"/>
                <a:gd name="connsiteY277" fmla="*/ 361896 h 424357"/>
                <a:gd name="connsiteX278" fmla="*/ 240216 w 308065"/>
                <a:gd name="connsiteY278" fmla="*/ 368221 h 424357"/>
                <a:gd name="connsiteX279" fmla="*/ 238876 w 308065"/>
                <a:gd name="connsiteY279" fmla="*/ 375578 h 424357"/>
                <a:gd name="connsiteX280" fmla="*/ 237244 w 308065"/>
                <a:gd name="connsiteY280" fmla="*/ 384545 h 424357"/>
                <a:gd name="connsiteX281" fmla="*/ 235633 w 308065"/>
                <a:gd name="connsiteY281" fmla="*/ 393401 h 424357"/>
                <a:gd name="connsiteX282" fmla="*/ 234072 w 308065"/>
                <a:gd name="connsiteY282" fmla="*/ 401978 h 424357"/>
                <a:gd name="connsiteX283" fmla="*/ 232661 w 308065"/>
                <a:gd name="connsiteY283" fmla="*/ 409728 h 424357"/>
                <a:gd name="connsiteX284" fmla="*/ 231108 w 308065"/>
                <a:gd name="connsiteY284" fmla="*/ 418278 h 424357"/>
                <a:gd name="connsiteX285" fmla="*/ 230166 w 308065"/>
                <a:gd name="connsiteY285" fmla="*/ 423459 h 424357"/>
                <a:gd name="connsiteX286" fmla="*/ 229717 w 308065"/>
                <a:gd name="connsiteY286" fmla="*/ 424357 h 424357"/>
                <a:gd name="connsiteX287" fmla="*/ 228416 w 308065"/>
                <a:gd name="connsiteY287" fmla="*/ 422480 h 424357"/>
                <a:gd name="connsiteX288" fmla="*/ 226450 w 308065"/>
                <a:gd name="connsiteY288" fmla="*/ 420706 h 424357"/>
                <a:gd name="connsiteX289" fmla="*/ 224605 w 308065"/>
                <a:gd name="connsiteY289" fmla="*/ 419639 h 424357"/>
                <a:gd name="connsiteX290" fmla="*/ 223821 w 308065"/>
                <a:gd name="connsiteY290" fmla="*/ 418242 h 424357"/>
                <a:gd name="connsiteX291" fmla="*/ 222760 w 308065"/>
                <a:gd name="connsiteY291" fmla="*/ 415386 h 424357"/>
                <a:gd name="connsiteX292" fmla="*/ 221285 w 308065"/>
                <a:gd name="connsiteY292" fmla="*/ 414409 h 424357"/>
                <a:gd name="connsiteX293" fmla="*/ 220244 w 308065"/>
                <a:gd name="connsiteY293" fmla="*/ 413651 h 424357"/>
                <a:gd name="connsiteX294" fmla="*/ 219237 w 308065"/>
                <a:gd name="connsiteY294" fmla="*/ 413763 h 424357"/>
                <a:gd name="connsiteX295" fmla="*/ 218175 w 308065"/>
                <a:gd name="connsiteY295" fmla="*/ 414546 h 424357"/>
                <a:gd name="connsiteX296" fmla="*/ 216533 w 308065"/>
                <a:gd name="connsiteY296" fmla="*/ 415047 h 424357"/>
                <a:gd name="connsiteX297" fmla="*/ 215422 w 308065"/>
                <a:gd name="connsiteY297" fmla="*/ 414972 h 424357"/>
                <a:gd name="connsiteX298" fmla="*/ 210946 w 308065"/>
                <a:gd name="connsiteY298" fmla="*/ 413006 h 424357"/>
                <a:gd name="connsiteX299" fmla="*/ 210213 w 308065"/>
                <a:gd name="connsiteY299" fmla="*/ 412818 h 424357"/>
                <a:gd name="connsiteX300" fmla="*/ 213089 w 308065"/>
                <a:gd name="connsiteY300" fmla="*/ 408325 h 424357"/>
                <a:gd name="connsiteX301" fmla="*/ 218228 w 308065"/>
                <a:gd name="connsiteY301" fmla="*/ 400295 h 424357"/>
                <a:gd name="connsiteX302" fmla="*/ 221496 w 308065"/>
                <a:gd name="connsiteY302" fmla="*/ 395194 h 424357"/>
                <a:gd name="connsiteX303" fmla="*/ 225123 w 308065"/>
                <a:gd name="connsiteY303" fmla="*/ 389529 h 424357"/>
                <a:gd name="connsiteX304" fmla="*/ 226975 w 308065"/>
                <a:gd name="connsiteY304" fmla="*/ 386639 h 424357"/>
                <a:gd name="connsiteX305" fmla="*/ 227218 w 308065"/>
                <a:gd name="connsiteY305" fmla="*/ 386146 h 424357"/>
                <a:gd name="connsiteX306" fmla="*/ 227211 w 308065"/>
                <a:gd name="connsiteY306" fmla="*/ 385408 h 424357"/>
                <a:gd name="connsiteX307" fmla="*/ 226422 w 308065"/>
                <a:gd name="connsiteY307" fmla="*/ 384305 h 424357"/>
                <a:gd name="connsiteX308" fmla="*/ 224675 w 308065"/>
                <a:gd name="connsiteY308" fmla="*/ 383839 h 424357"/>
                <a:gd name="connsiteX309" fmla="*/ 222654 w 308065"/>
                <a:gd name="connsiteY309" fmla="*/ 382994 h 424357"/>
                <a:gd name="connsiteX310" fmla="*/ 221381 w 308065"/>
                <a:gd name="connsiteY310" fmla="*/ 381623 h 424357"/>
                <a:gd name="connsiteX311" fmla="*/ 219619 w 308065"/>
                <a:gd name="connsiteY311" fmla="*/ 381034 h 424357"/>
                <a:gd name="connsiteX312" fmla="*/ 218248 w 308065"/>
                <a:gd name="connsiteY312" fmla="*/ 380056 h 424357"/>
                <a:gd name="connsiteX313" fmla="*/ 215749 w 308065"/>
                <a:gd name="connsiteY313" fmla="*/ 379102 h 424357"/>
                <a:gd name="connsiteX314" fmla="*/ 214250 w 308065"/>
                <a:gd name="connsiteY314" fmla="*/ 378217 h 424357"/>
                <a:gd name="connsiteX315" fmla="*/ 212422 w 308065"/>
                <a:gd name="connsiteY315" fmla="*/ 377900 h 424357"/>
                <a:gd name="connsiteX316" fmla="*/ 210967 w 308065"/>
                <a:gd name="connsiteY316" fmla="*/ 376282 h 424357"/>
                <a:gd name="connsiteX317" fmla="*/ 205663 w 308065"/>
                <a:gd name="connsiteY317" fmla="*/ 373150 h 424357"/>
                <a:gd name="connsiteX318" fmla="*/ 204294 w 308065"/>
                <a:gd name="connsiteY318" fmla="*/ 372853 h 424357"/>
                <a:gd name="connsiteX319" fmla="*/ 202804 w 308065"/>
                <a:gd name="connsiteY319" fmla="*/ 373334 h 424357"/>
                <a:gd name="connsiteX320" fmla="*/ 200621 w 308065"/>
                <a:gd name="connsiteY320" fmla="*/ 373832 h 424357"/>
                <a:gd name="connsiteX321" fmla="*/ 198517 w 308065"/>
                <a:gd name="connsiteY321" fmla="*/ 375548 h 424357"/>
                <a:gd name="connsiteX322" fmla="*/ 195887 w 308065"/>
                <a:gd name="connsiteY322" fmla="*/ 376101 h 424357"/>
                <a:gd name="connsiteX323" fmla="*/ 193430 w 308065"/>
                <a:gd name="connsiteY323" fmla="*/ 376081 h 424357"/>
                <a:gd name="connsiteX324" fmla="*/ 192150 w 308065"/>
                <a:gd name="connsiteY324" fmla="*/ 375057 h 424357"/>
                <a:gd name="connsiteX325" fmla="*/ 190917 w 308065"/>
                <a:gd name="connsiteY325" fmla="*/ 374689 h 424357"/>
                <a:gd name="connsiteX326" fmla="*/ 189310 w 308065"/>
                <a:gd name="connsiteY326" fmla="*/ 373295 h 424357"/>
                <a:gd name="connsiteX327" fmla="*/ 186469 w 308065"/>
                <a:gd name="connsiteY327" fmla="*/ 372226 h 424357"/>
                <a:gd name="connsiteX328" fmla="*/ 184414 w 308065"/>
                <a:gd name="connsiteY328" fmla="*/ 371481 h 424357"/>
                <a:gd name="connsiteX329" fmla="*/ 183142 w 308065"/>
                <a:gd name="connsiteY329" fmla="*/ 371825 h 424357"/>
                <a:gd name="connsiteX330" fmla="*/ 181505 w 308065"/>
                <a:gd name="connsiteY330" fmla="*/ 373383 h 424357"/>
                <a:gd name="connsiteX331" fmla="*/ 179852 w 308065"/>
                <a:gd name="connsiteY331" fmla="*/ 374929 h 424357"/>
                <a:gd name="connsiteX332" fmla="*/ 178539 w 308065"/>
                <a:gd name="connsiteY332" fmla="*/ 375890 h 424357"/>
                <a:gd name="connsiteX333" fmla="*/ 176775 w 308065"/>
                <a:gd name="connsiteY333" fmla="*/ 375841 h 424357"/>
                <a:gd name="connsiteX334" fmla="*/ 174671 w 308065"/>
                <a:gd name="connsiteY334" fmla="*/ 377264 h 424357"/>
                <a:gd name="connsiteX335" fmla="*/ 172600 w 308065"/>
                <a:gd name="connsiteY335" fmla="*/ 377766 h 424357"/>
                <a:gd name="connsiteX336" fmla="*/ 170514 w 308065"/>
                <a:gd name="connsiteY336" fmla="*/ 377988 h 424357"/>
                <a:gd name="connsiteX337" fmla="*/ 168108 w 308065"/>
                <a:gd name="connsiteY337" fmla="*/ 378487 h 424357"/>
                <a:gd name="connsiteX338" fmla="*/ 165444 w 308065"/>
                <a:gd name="connsiteY338" fmla="*/ 377627 h 424357"/>
                <a:gd name="connsiteX339" fmla="*/ 163263 w 308065"/>
                <a:gd name="connsiteY339" fmla="*/ 376869 h 424357"/>
                <a:gd name="connsiteX340" fmla="*/ 162284 w 308065"/>
                <a:gd name="connsiteY340" fmla="*/ 376527 h 424357"/>
                <a:gd name="connsiteX341" fmla="*/ 161401 w 308065"/>
                <a:gd name="connsiteY341" fmla="*/ 376765 h 424357"/>
                <a:gd name="connsiteX342" fmla="*/ 160032 w 308065"/>
                <a:gd name="connsiteY342" fmla="*/ 377556 h 424357"/>
                <a:gd name="connsiteX343" fmla="*/ 157570 w 308065"/>
                <a:gd name="connsiteY343" fmla="*/ 377892 h 424357"/>
                <a:gd name="connsiteX344" fmla="*/ 155644 w 308065"/>
                <a:gd name="connsiteY344" fmla="*/ 377969 h 424357"/>
                <a:gd name="connsiteX345" fmla="*/ 154276 w 308065"/>
                <a:gd name="connsiteY345" fmla="*/ 377602 h 424357"/>
                <a:gd name="connsiteX346" fmla="*/ 153046 w 308065"/>
                <a:gd name="connsiteY346" fmla="*/ 376225 h 424357"/>
                <a:gd name="connsiteX347" fmla="*/ 151055 w 308065"/>
                <a:gd name="connsiteY347" fmla="*/ 375522 h 424357"/>
                <a:gd name="connsiteX348" fmla="*/ 148866 w 308065"/>
                <a:gd name="connsiteY348" fmla="*/ 374664 h 424357"/>
                <a:gd name="connsiteX349" fmla="*/ 148405 w 308065"/>
                <a:gd name="connsiteY349" fmla="*/ 372892 h 424357"/>
                <a:gd name="connsiteX350" fmla="*/ 148722 w 308065"/>
                <a:gd name="connsiteY350" fmla="*/ 371572 h 424357"/>
                <a:gd name="connsiteX351" fmla="*/ 149575 w 308065"/>
                <a:gd name="connsiteY351" fmla="*/ 369662 h 424357"/>
                <a:gd name="connsiteX352" fmla="*/ 149101 w 308065"/>
                <a:gd name="connsiteY352" fmla="*/ 367691 h 424357"/>
                <a:gd name="connsiteX353" fmla="*/ 148182 w 308065"/>
                <a:gd name="connsiteY353" fmla="*/ 364572 h 424357"/>
                <a:gd name="connsiteX354" fmla="*/ 147788 w 308065"/>
                <a:gd name="connsiteY354" fmla="*/ 363301 h 424357"/>
                <a:gd name="connsiteX355" fmla="*/ 147104 w 308065"/>
                <a:gd name="connsiteY355" fmla="*/ 362221 h 424357"/>
                <a:gd name="connsiteX356" fmla="*/ 146027 w 308065"/>
                <a:gd name="connsiteY356" fmla="*/ 361830 h 424357"/>
                <a:gd name="connsiteX357" fmla="*/ 143921 w 308065"/>
                <a:gd name="connsiteY357" fmla="*/ 362125 h 424357"/>
                <a:gd name="connsiteX358" fmla="*/ 141619 w 308065"/>
                <a:gd name="connsiteY358" fmla="*/ 360946 h 424357"/>
                <a:gd name="connsiteX359" fmla="*/ 140199 w 308065"/>
                <a:gd name="connsiteY359" fmla="*/ 359821 h 424357"/>
                <a:gd name="connsiteX360" fmla="*/ 139465 w 308065"/>
                <a:gd name="connsiteY360" fmla="*/ 358446 h 424357"/>
                <a:gd name="connsiteX361" fmla="*/ 140249 w 308065"/>
                <a:gd name="connsiteY361" fmla="*/ 355853 h 424357"/>
                <a:gd name="connsiteX362" fmla="*/ 139563 w 308065"/>
                <a:gd name="connsiteY362" fmla="*/ 353649 h 424357"/>
                <a:gd name="connsiteX363" fmla="*/ 138191 w 308065"/>
                <a:gd name="connsiteY363" fmla="*/ 352422 h 424357"/>
                <a:gd name="connsiteX364" fmla="*/ 137309 w 308065"/>
                <a:gd name="connsiteY364" fmla="*/ 350268 h 424357"/>
                <a:gd name="connsiteX365" fmla="*/ 135939 w 308065"/>
                <a:gd name="connsiteY365" fmla="*/ 348554 h 424357"/>
                <a:gd name="connsiteX366" fmla="*/ 134127 w 308065"/>
                <a:gd name="connsiteY366" fmla="*/ 347675 h 424357"/>
                <a:gd name="connsiteX367" fmla="*/ 132317 w 308065"/>
                <a:gd name="connsiteY367" fmla="*/ 347771 h 424357"/>
                <a:gd name="connsiteX368" fmla="*/ 130896 w 308065"/>
                <a:gd name="connsiteY368" fmla="*/ 347231 h 424357"/>
                <a:gd name="connsiteX369" fmla="*/ 129279 w 308065"/>
                <a:gd name="connsiteY369" fmla="*/ 345419 h 424357"/>
                <a:gd name="connsiteX370" fmla="*/ 127761 w 308065"/>
                <a:gd name="connsiteY370" fmla="*/ 344734 h 424357"/>
                <a:gd name="connsiteX371" fmla="*/ 126048 w 308065"/>
                <a:gd name="connsiteY371" fmla="*/ 342970 h 424357"/>
                <a:gd name="connsiteX372" fmla="*/ 122844 w 308065"/>
                <a:gd name="connsiteY372" fmla="*/ 342187 h 424357"/>
                <a:gd name="connsiteX373" fmla="*/ 121180 w 308065"/>
                <a:gd name="connsiteY373" fmla="*/ 341499 h 424357"/>
                <a:gd name="connsiteX374" fmla="*/ 120228 w 308065"/>
                <a:gd name="connsiteY374" fmla="*/ 340414 h 424357"/>
                <a:gd name="connsiteX375" fmla="*/ 118947 w 308065"/>
                <a:gd name="connsiteY375" fmla="*/ 338462 h 424357"/>
                <a:gd name="connsiteX376" fmla="*/ 119095 w 308065"/>
                <a:gd name="connsiteY376" fmla="*/ 337385 h 424357"/>
                <a:gd name="connsiteX377" fmla="*/ 118472 w 308065"/>
                <a:gd name="connsiteY377" fmla="*/ 336326 h 424357"/>
                <a:gd name="connsiteX378" fmla="*/ 117921 w 308065"/>
                <a:gd name="connsiteY378" fmla="*/ 334419 h 424357"/>
                <a:gd name="connsiteX379" fmla="*/ 116831 w 308065"/>
                <a:gd name="connsiteY379" fmla="*/ 331611 h 424357"/>
                <a:gd name="connsiteX380" fmla="*/ 115632 w 308065"/>
                <a:gd name="connsiteY380" fmla="*/ 330013 h 424357"/>
                <a:gd name="connsiteX381" fmla="*/ 114397 w 308065"/>
                <a:gd name="connsiteY381" fmla="*/ 328808 h 424357"/>
                <a:gd name="connsiteX382" fmla="*/ 113352 w 308065"/>
                <a:gd name="connsiteY382" fmla="*/ 327787 h 424357"/>
                <a:gd name="connsiteX383" fmla="*/ 111798 w 308065"/>
                <a:gd name="connsiteY383" fmla="*/ 326269 h 424357"/>
                <a:gd name="connsiteX384" fmla="*/ 109889 w 308065"/>
                <a:gd name="connsiteY384" fmla="*/ 325388 h 424357"/>
                <a:gd name="connsiteX385" fmla="*/ 108273 w 308065"/>
                <a:gd name="connsiteY385" fmla="*/ 324460 h 424357"/>
                <a:gd name="connsiteX386" fmla="*/ 107637 w 308065"/>
                <a:gd name="connsiteY386" fmla="*/ 323088 h 424357"/>
                <a:gd name="connsiteX387" fmla="*/ 107097 w 308065"/>
                <a:gd name="connsiteY387" fmla="*/ 321961 h 424357"/>
                <a:gd name="connsiteX388" fmla="*/ 106191 w 308065"/>
                <a:gd name="connsiteY388" fmla="*/ 322042 h 424357"/>
                <a:gd name="connsiteX389" fmla="*/ 104889 w 308065"/>
                <a:gd name="connsiteY389" fmla="*/ 321944 h 424357"/>
                <a:gd name="connsiteX390" fmla="*/ 103457 w 308065"/>
                <a:gd name="connsiteY390" fmla="*/ 321658 h 424357"/>
                <a:gd name="connsiteX391" fmla="*/ 101944 w 308065"/>
                <a:gd name="connsiteY391" fmla="*/ 320839 h 424357"/>
                <a:gd name="connsiteX392" fmla="*/ 100683 w 308065"/>
                <a:gd name="connsiteY392" fmla="*/ 319846 h 424357"/>
                <a:gd name="connsiteX393" fmla="*/ 98562 w 308065"/>
                <a:gd name="connsiteY393" fmla="*/ 318168 h 424357"/>
                <a:gd name="connsiteX394" fmla="*/ 97403 w 308065"/>
                <a:gd name="connsiteY394" fmla="*/ 317945 h 424357"/>
                <a:gd name="connsiteX395" fmla="*/ 96375 w 308065"/>
                <a:gd name="connsiteY395" fmla="*/ 317945 h 424357"/>
                <a:gd name="connsiteX396" fmla="*/ 94857 w 308065"/>
                <a:gd name="connsiteY396" fmla="*/ 319588 h 424357"/>
                <a:gd name="connsiteX397" fmla="*/ 90305 w 308065"/>
                <a:gd name="connsiteY397" fmla="*/ 317861 h 424357"/>
                <a:gd name="connsiteX398" fmla="*/ 86417 w 308065"/>
                <a:gd name="connsiteY398" fmla="*/ 315292 h 424357"/>
                <a:gd name="connsiteX399" fmla="*/ 82377 w 308065"/>
                <a:gd name="connsiteY399" fmla="*/ 314624 h 424357"/>
                <a:gd name="connsiteX400" fmla="*/ 79763 w 308065"/>
                <a:gd name="connsiteY400" fmla="*/ 313059 h 424357"/>
                <a:gd name="connsiteX401" fmla="*/ 77352 w 308065"/>
                <a:gd name="connsiteY401" fmla="*/ 310605 h 424357"/>
                <a:gd name="connsiteX402" fmla="*/ 76051 w 308065"/>
                <a:gd name="connsiteY402" fmla="*/ 308948 h 424357"/>
                <a:gd name="connsiteX403" fmla="*/ 74992 w 308065"/>
                <a:gd name="connsiteY403" fmla="*/ 308125 h 424357"/>
                <a:gd name="connsiteX404" fmla="*/ 69853 w 308065"/>
                <a:gd name="connsiteY404" fmla="*/ 305745 h 424357"/>
                <a:gd name="connsiteX405" fmla="*/ 68827 w 308065"/>
                <a:gd name="connsiteY405" fmla="*/ 305515 h 424357"/>
                <a:gd name="connsiteX406" fmla="*/ 66871 w 308065"/>
                <a:gd name="connsiteY406" fmla="*/ 306618 h 424357"/>
                <a:gd name="connsiteX407" fmla="*/ 66232 w 308065"/>
                <a:gd name="connsiteY407" fmla="*/ 307281 h 424357"/>
                <a:gd name="connsiteX408" fmla="*/ 66115 w 308065"/>
                <a:gd name="connsiteY408" fmla="*/ 309181 h 424357"/>
                <a:gd name="connsiteX409" fmla="*/ 65879 w 308065"/>
                <a:gd name="connsiteY409" fmla="*/ 310263 h 424357"/>
                <a:gd name="connsiteX410" fmla="*/ 64172 w 308065"/>
                <a:gd name="connsiteY410" fmla="*/ 310917 h 424357"/>
                <a:gd name="connsiteX411" fmla="*/ 61423 w 308065"/>
                <a:gd name="connsiteY411" fmla="*/ 310777 h 424357"/>
                <a:gd name="connsiteX412" fmla="*/ 59509 w 308065"/>
                <a:gd name="connsiteY412" fmla="*/ 310088 h 424357"/>
                <a:gd name="connsiteX413" fmla="*/ 58229 w 308065"/>
                <a:gd name="connsiteY413" fmla="*/ 309987 h 424357"/>
                <a:gd name="connsiteX414" fmla="*/ 57968 w 308065"/>
                <a:gd name="connsiteY414" fmla="*/ 310527 h 424357"/>
                <a:gd name="connsiteX415" fmla="*/ 57248 w 308065"/>
                <a:gd name="connsiteY415" fmla="*/ 310760 h 424357"/>
                <a:gd name="connsiteX416" fmla="*/ 55685 w 308065"/>
                <a:gd name="connsiteY416" fmla="*/ 310605 h 424357"/>
                <a:gd name="connsiteX417" fmla="*/ 53383 w 308065"/>
                <a:gd name="connsiteY417" fmla="*/ 310079 h 424357"/>
                <a:gd name="connsiteX418" fmla="*/ 51296 w 308065"/>
                <a:gd name="connsiteY418" fmla="*/ 309376 h 424357"/>
                <a:gd name="connsiteX419" fmla="*/ 48464 w 308065"/>
                <a:gd name="connsiteY419" fmla="*/ 307884 h 424357"/>
                <a:gd name="connsiteX420" fmla="*/ 47156 w 308065"/>
                <a:gd name="connsiteY420" fmla="*/ 308070 h 424357"/>
                <a:gd name="connsiteX421" fmla="*/ 43937 w 308065"/>
                <a:gd name="connsiteY421" fmla="*/ 307748 h 424357"/>
                <a:gd name="connsiteX422" fmla="*/ 41308 w 308065"/>
                <a:gd name="connsiteY422" fmla="*/ 306899 h 424357"/>
                <a:gd name="connsiteX423" fmla="*/ 40638 w 308065"/>
                <a:gd name="connsiteY423" fmla="*/ 306114 h 424357"/>
                <a:gd name="connsiteX424" fmla="*/ 39499 w 308065"/>
                <a:gd name="connsiteY424" fmla="*/ 300747 h 424357"/>
                <a:gd name="connsiteX425" fmla="*/ 39152 w 308065"/>
                <a:gd name="connsiteY425" fmla="*/ 300375 h 424357"/>
                <a:gd name="connsiteX426" fmla="*/ 38017 w 308065"/>
                <a:gd name="connsiteY426" fmla="*/ 300142 h 424357"/>
                <a:gd name="connsiteX427" fmla="*/ 36110 w 308065"/>
                <a:gd name="connsiteY427" fmla="*/ 299404 h 424357"/>
                <a:gd name="connsiteX428" fmla="*/ 34911 w 308065"/>
                <a:gd name="connsiteY428" fmla="*/ 298538 h 424357"/>
                <a:gd name="connsiteX429" fmla="*/ 34288 w 308065"/>
                <a:gd name="connsiteY429" fmla="*/ 297052 h 424357"/>
                <a:gd name="connsiteX430" fmla="*/ 33535 w 308065"/>
                <a:gd name="connsiteY430" fmla="*/ 295641 h 424357"/>
                <a:gd name="connsiteX431" fmla="*/ 30324 w 308065"/>
                <a:gd name="connsiteY431" fmla="*/ 295958 h 424357"/>
                <a:gd name="connsiteX432" fmla="*/ 25063 w 308065"/>
                <a:gd name="connsiteY432" fmla="*/ 294098 h 424357"/>
                <a:gd name="connsiteX433" fmla="*/ 21421 w 308065"/>
                <a:gd name="connsiteY433" fmla="*/ 292327 h 424357"/>
                <a:gd name="connsiteX434" fmla="*/ 18087 w 308065"/>
                <a:gd name="connsiteY434" fmla="*/ 290361 h 424357"/>
                <a:gd name="connsiteX435" fmla="*/ 13032 w 308065"/>
                <a:gd name="connsiteY435" fmla="*/ 286487 h 424357"/>
                <a:gd name="connsiteX436" fmla="*/ 11100 w 308065"/>
                <a:gd name="connsiteY436" fmla="*/ 285527 h 424357"/>
                <a:gd name="connsiteX437" fmla="*/ 8718 w 308065"/>
                <a:gd name="connsiteY437" fmla="*/ 284342 h 424357"/>
                <a:gd name="connsiteX438" fmla="*/ 7311 w 308065"/>
                <a:gd name="connsiteY438" fmla="*/ 282434 h 424357"/>
                <a:gd name="connsiteX439" fmla="*/ 4985 w 308065"/>
                <a:gd name="connsiteY439" fmla="*/ 280507 h 424357"/>
                <a:gd name="connsiteX440" fmla="*/ 4203 w 308065"/>
                <a:gd name="connsiteY440" fmla="*/ 279982 h 424357"/>
                <a:gd name="connsiteX441" fmla="*/ 3473 w 308065"/>
                <a:gd name="connsiteY441" fmla="*/ 278239 h 424357"/>
                <a:gd name="connsiteX442" fmla="*/ 0 w 308065"/>
                <a:gd name="connsiteY442" fmla="*/ 275713 h 424357"/>
                <a:gd name="connsiteX443" fmla="*/ 1718 w 308065"/>
                <a:gd name="connsiteY443" fmla="*/ 272454 h 424357"/>
                <a:gd name="connsiteX444" fmla="*/ 5894 w 308065"/>
                <a:gd name="connsiteY444" fmla="*/ 270005 h 424357"/>
                <a:gd name="connsiteX445" fmla="*/ 11373 w 308065"/>
                <a:gd name="connsiteY445" fmla="*/ 271905 h 424357"/>
                <a:gd name="connsiteX446" fmla="*/ 12044 w 308065"/>
                <a:gd name="connsiteY446" fmla="*/ 268105 h 424357"/>
                <a:gd name="connsiteX447" fmla="*/ 10062 w 308065"/>
                <a:gd name="connsiteY447" fmla="*/ 264741 h 424357"/>
                <a:gd name="connsiteX448" fmla="*/ 10355 w 308065"/>
                <a:gd name="connsiteY448" fmla="*/ 258385 h 424357"/>
                <a:gd name="connsiteX449" fmla="*/ 10998 w 308065"/>
                <a:gd name="connsiteY449" fmla="*/ 257120 h 424357"/>
                <a:gd name="connsiteX450" fmla="*/ 12443 w 308065"/>
                <a:gd name="connsiteY450" fmla="*/ 255419 h 424357"/>
                <a:gd name="connsiteX451" fmla="*/ 14326 w 308065"/>
                <a:gd name="connsiteY451" fmla="*/ 254243 h 424357"/>
                <a:gd name="connsiteX452" fmla="*/ 15430 w 308065"/>
                <a:gd name="connsiteY452" fmla="*/ 253902 h 424357"/>
                <a:gd name="connsiteX453" fmla="*/ 17308 w 308065"/>
                <a:gd name="connsiteY453" fmla="*/ 254485 h 424357"/>
                <a:gd name="connsiteX454" fmla="*/ 18492 w 308065"/>
                <a:gd name="connsiteY454" fmla="*/ 253216 h 424357"/>
                <a:gd name="connsiteX455" fmla="*/ 22959 w 308065"/>
                <a:gd name="connsiteY455" fmla="*/ 253783 h 424357"/>
                <a:gd name="connsiteX456" fmla="*/ 24312 w 308065"/>
                <a:gd name="connsiteY456" fmla="*/ 253252 h 424357"/>
                <a:gd name="connsiteX457" fmla="*/ 25236 w 308065"/>
                <a:gd name="connsiteY457" fmla="*/ 252391 h 424357"/>
                <a:gd name="connsiteX458" fmla="*/ 26325 w 308065"/>
                <a:gd name="connsiteY458" fmla="*/ 251732 h 424357"/>
                <a:gd name="connsiteX459" fmla="*/ 27719 w 308065"/>
                <a:gd name="connsiteY459" fmla="*/ 250204 h 424357"/>
                <a:gd name="connsiteX460" fmla="*/ 28517 w 308065"/>
                <a:gd name="connsiteY460" fmla="*/ 248438 h 424357"/>
                <a:gd name="connsiteX461" fmla="*/ 29183 w 308065"/>
                <a:gd name="connsiteY461" fmla="*/ 247752 h 424357"/>
                <a:gd name="connsiteX462" fmla="*/ 30728 w 308065"/>
                <a:gd name="connsiteY462" fmla="*/ 247994 h 424357"/>
                <a:gd name="connsiteX463" fmla="*/ 30871 w 308065"/>
                <a:gd name="connsiteY463" fmla="*/ 247232 h 424357"/>
                <a:gd name="connsiteX464" fmla="*/ 31665 w 308065"/>
                <a:gd name="connsiteY464" fmla="*/ 246194 h 424357"/>
                <a:gd name="connsiteX465" fmla="*/ 34369 w 308065"/>
                <a:gd name="connsiteY465" fmla="*/ 243869 h 424357"/>
                <a:gd name="connsiteX466" fmla="*/ 34341 w 308065"/>
                <a:gd name="connsiteY466" fmla="*/ 242843 h 424357"/>
                <a:gd name="connsiteX467" fmla="*/ 33583 w 308065"/>
                <a:gd name="connsiteY467" fmla="*/ 240604 h 424357"/>
                <a:gd name="connsiteX468" fmla="*/ 33769 w 308065"/>
                <a:gd name="connsiteY468" fmla="*/ 239781 h 424357"/>
                <a:gd name="connsiteX469" fmla="*/ 35332 w 308065"/>
                <a:gd name="connsiteY469" fmla="*/ 239497 h 424357"/>
                <a:gd name="connsiteX470" fmla="*/ 37180 w 308065"/>
                <a:gd name="connsiteY470" fmla="*/ 238867 h 424357"/>
                <a:gd name="connsiteX471" fmla="*/ 38165 w 308065"/>
                <a:gd name="connsiteY471" fmla="*/ 236729 h 424357"/>
                <a:gd name="connsiteX472" fmla="*/ 39384 w 308065"/>
                <a:gd name="connsiteY472" fmla="*/ 234862 h 424357"/>
                <a:gd name="connsiteX473" fmla="*/ 40781 w 308065"/>
                <a:gd name="connsiteY473" fmla="*/ 232120 h 424357"/>
                <a:gd name="connsiteX474" fmla="*/ 42316 w 308065"/>
                <a:gd name="connsiteY474" fmla="*/ 231948 h 424357"/>
                <a:gd name="connsiteX475" fmla="*/ 43132 w 308065"/>
                <a:gd name="connsiteY475" fmla="*/ 228745 h 424357"/>
                <a:gd name="connsiteX476" fmla="*/ 45202 w 308065"/>
                <a:gd name="connsiteY476" fmla="*/ 225938 h 424357"/>
                <a:gd name="connsiteX477" fmla="*/ 49410 w 308065"/>
                <a:gd name="connsiteY477" fmla="*/ 217611 h 424357"/>
                <a:gd name="connsiteX478" fmla="*/ 48142 w 308065"/>
                <a:gd name="connsiteY478" fmla="*/ 217794 h 424357"/>
                <a:gd name="connsiteX479" fmla="*/ 47134 w 308065"/>
                <a:gd name="connsiteY479" fmla="*/ 218906 h 424357"/>
                <a:gd name="connsiteX480" fmla="*/ 45981 w 308065"/>
                <a:gd name="connsiteY480" fmla="*/ 218776 h 424357"/>
                <a:gd name="connsiteX481" fmla="*/ 44675 w 308065"/>
                <a:gd name="connsiteY481" fmla="*/ 218121 h 424357"/>
                <a:gd name="connsiteX482" fmla="*/ 45059 w 308065"/>
                <a:gd name="connsiteY482" fmla="*/ 214369 h 424357"/>
                <a:gd name="connsiteX483" fmla="*/ 44308 w 308065"/>
                <a:gd name="connsiteY483" fmla="*/ 213923 h 424357"/>
                <a:gd name="connsiteX484" fmla="*/ 42275 w 308065"/>
                <a:gd name="connsiteY484" fmla="*/ 216813 h 424357"/>
                <a:gd name="connsiteX485" fmla="*/ 40523 w 308065"/>
                <a:gd name="connsiteY485" fmla="*/ 213874 h 424357"/>
                <a:gd name="connsiteX486" fmla="*/ 40365 w 308065"/>
                <a:gd name="connsiteY486" fmla="*/ 212082 h 424357"/>
                <a:gd name="connsiteX487" fmla="*/ 41101 w 308065"/>
                <a:gd name="connsiteY487" fmla="*/ 210310 h 424357"/>
                <a:gd name="connsiteX488" fmla="*/ 40993 w 308065"/>
                <a:gd name="connsiteY488" fmla="*/ 209116 h 424357"/>
                <a:gd name="connsiteX489" fmla="*/ 38154 w 308065"/>
                <a:gd name="connsiteY489" fmla="*/ 210004 h 424357"/>
                <a:gd name="connsiteX490" fmla="*/ 38286 w 308065"/>
                <a:gd name="connsiteY490" fmla="*/ 208899 h 424357"/>
                <a:gd name="connsiteX491" fmla="*/ 40053 w 308065"/>
                <a:gd name="connsiteY491" fmla="*/ 207763 h 424357"/>
                <a:gd name="connsiteX492" fmla="*/ 40853 w 308065"/>
                <a:gd name="connsiteY492" fmla="*/ 206579 h 424357"/>
                <a:gd name="connsiteX493" fmla="*/ 42394 w 308065"/>
                <a:gd name="connsiteY493" fmla="*/ 205293 h 424357"/>
                <a:gd name="connsiteX494" fmla="*/ 43033 w 308065"/>
                <a:gd name="connsiteY494" fmla="*/ 203343 h 424357"/>
                <a:gd name="connsiteX495" fmla="*/ 43404 w 308065"/>
                <a:gd name="connsiteY495" fmla="*/ 200324 h 424357"/>
                <a:gd name="connsiteX496" fmla="*/ 44097 w 308065"/>
                <a:gd name="connsiteY496" fmla="*/ 197074 h 424357"/>
                <a:gd name="connsiteX497" fmla="*/ 43585 w 308065"/>
                <a:gd name="connsiteY497" fmla="*/ 195474 h 424357"/>
                <a:gd name="connsiteX498" fmla="*/ 42750 w 308065"/>
                <a:gd name="connsiteY498" fmla="*/ 194106 h 424357"/>
                <a:gd name="connsiteX499" fmla="*/ 42058 w 308065"/>
                <a:gd name="connsiteY499" fmla="*/ 188056 h 424357"/>
                <a:gd name="connsiteX500" fmla="*/ 42250 w 308065"/>
                <a:gd name="connsiteY500" fmla="*/ 184532 h 424357"/>
                <a:gd name="connsiteX501" fmla="*/ 41892 w 308065"/>
                <a:gd name="connsiteY501" fmla="*/ 181765 h 424357"/>
                <a:gd name="connsiteX502" fmla="*/ 41171 w 308065"/>
                <a:gd name="connsiteY502" fmla="*/ 179422 h 424357"/>
                <a:gd name="connsiteX503" fmla="*/ 37806 w 308065"/>
                <a:gd name="connsiteY503" fmla="*/ 176346 h 424357"/>
                <a:gd name="connsiteX504" fmla="*/ 43127 w 308065"/>
                <a:gd name="connsiteY504" fmla="*/ 172822 h 424357"/>
                <a:gd name="connsiteX505" fmla="*/ 45038 w 308065"/>
                <a:gd name="connsiteY505" fmla="*/ 170163 h 424357"/>
                <a:gd name="connsiteX506" fmla="*/ 42618 w 308065"/>
                <a:gd name="connsiteY506" fmla="*/ 164688 h 424357"/>
                <a:gd name="connsiteX507" fmla="*/ 39454 w 308065"/>
                <a:gd name="connsiteY507" fmla="*/ 160073 h 424357"/>
                <a:gd name="connsiteX508" fmla="*/ 39363 w 308065"/>
                <a:gd name="connsiteY508" fmla="*/ 157301 h 424357"/>
                <a:gd name="connsiteX509" fmla="*/ 40198 w 308065"/>
                <a:gd name="connsiteY509" fmla="*/ 157656 h 424357"/>
                <a:gd name="connsiteX510" fmla="*/ 41259 w 308065"/>
                <a:gd name="connsiteY510" fmla="*/ 157572 h 424357"/>
                <a:gd name="connsiteX511" fmla="*/ 42233 w 308065"/>
                <a:gd name="connsiteY511" fmla="*/ 151729 h 424357"/>
                <a:gd name="connsiteX512" fmla="*/ 42007 w 308065"/>
                <a:gd name="connsiteY512" fmla="*/ 149919 h 424357"/>
                <a:gd name="connsiteX513" fmla="*/ 40229 w 308065"/>
                <a:gd name="connsiteY513" fmla="*/ 146997 h 424357"/>
                <a:gd name="connsiteX514" fmla="*/ 38021 w 308065"/>
                <a:gd name="connsiteY514" fmla="*/ 146927 h 424357"/>
                <a:gd name="connsiteX515" fmla="*/ 36090 w 308065"/>
                <a:gd name="connsiteY515" fmla="*/ 143254 h 424357"/>
                <a:gd name="connsiteX516" fmla="*/ 34981 w 308065"/>
                <a:gd name="connsiteY516" fmla="*/ 142431 h 424357"/>
                <a:gd name="connsiteX517" fmla="*/ 34091 w 308065"/>
                <a:gd name="connsiteY517" fmla="*/ 140118 h 424357"/>
                <a:gd name="connsiteX518" fmla="*/ 30979 w 308065"/>
                <a:gd name="connsiteY518" fmla="*/ 135612 h 424357"/>
                <a:gd name="connsiteX519" fmla="*/ 28508 w 308065"/>
                <a:gd name="connsiteY519" fmla="*/ 133265 h 424357"/>
                <a:gd name="connsiteX520" fmla="*/ 30355 w 308065"/>
                <a:gd name="connsiteY520" fmla="*/ 127824 h 424357"/>
                <a:gd name="connsiteX521" fmla="*/ 31967 w 308065"/>
                <a:gd name="connsiteY521" fmla="*/ 126781 h 424357"/>
                <a:gd name="connsiteX522" fmla="*/ 32495 w 308065"/>
                <a:gd name="connsiteY522" fmla="*/ 125424 h 424357"/>
                <a:gd name="connsiteX523" fmla="*/ 31865 w 308065"/>
                <a:gd name="connsiteY523" fmla="*/ 122080 h 424357"/>
                <a:gd name="connsiteX524" fmla="*/ 32038 w 308065"/>
                <a:gd name="connsiteY524" fmla="*/ 121296 h 424357"/>
                <a:gd name="connsiteX525" fmla="*/ 32418 w 308065"/>
                <a:gd name="connsiteY525" fmla="*/ 120963 h 424357"/>
                <a:gd name="connsiteX526" fmla="*/ 32796 w 308065"/>
                <a:gd name="connsiteY526" fmla="*/ 120987 h 424357"/>
                <a:gd name="connsiteX527" fmla="*/ 33448 w 308065"/>
                <a:gd name="connsiteY527" fmla="*/ 121490 h 424357"/>
                <a:gd name="connsiteX528" fmla="*/ 34659 w 308065"/>
                <a:gd name="connsiteY528" fmla="*/ 122933 h 424357"/>
                <a:gd name="connsiteX529" fmla="*/ 35672 w 308065"/>
                <a:gd name="connsiteY529" fmla="*/ 124720 h 424357"/>
                <a:gd name="connsiteX530" fmla="*/ 36484 w 308065"/>
                <a:gd name="connsiteY530" fmla="*/ 125268 h 424357"/>
                <a:gd name="connsiteX531" fmla="*/ 37709 w 308065"/>
                <a:gd name="connsiteY531" fmla="*/ 124676 h 424357"/>
                <a:gd name="connsiteX532" fmla="*/ 42463 w 308065"/>
                <a:gd name="connsiteY532" fmla="*/ 121117 h 424357"/>
                <a:gd name="connsiteX533" fmla="*/ 42159 w 308065"/>
                <a:gd name="connsiteY533" fmla="*/ 120015 h 424357"/>
                <a:gd name="connsiteX534" fmla="*/ 42595 w 308065"/>
                <a:gd name="connsiteY534" fmla="*/ 117784 h 424357"/>
                <a:gd name="connsiteX535" fmla="*/ 44183 w 308065"/>
                <a:gd name="connsiteY535" fmla="*/ 115956 h 424357"/>
                <a:gd name="connsiteX536" fmla="*/ 45882 w 308065"/>
                <a:gd name="connsiteY536" fmla="*/ 115335 h 424357"/>
                <a:gd name="connsiteX537" fmla="*/ 46387 w 308065"/>
                <a:gd name="connsiteY537" fmla="*/ 114315 h 424357"/>
                <a:gd name="connsiteX538" fmla="*/ 45974 w 308065"/>
                <a:gd name="connsiteY538" fmla="*/ 112748 h 424357"/>
                <a:gd name="connsiteX539" fmla="*/ 44191 w 308065"/>
                <a:gd name="connsiteY539" fmla="*/ 108840 h 424357"/>
                <a:gd name="connsiteX540" fmla="*/ 42597 w 308065"/>
                <a:gd name="connsiteY540" fmla="*/ 106734 h 424357"/>
                <a:gd name="connsiteX541" fmla="*/ 41573 w 308065"/>
                <a:gd name="connsiteY541" fmla="*/ 104638 h 424357"/>
                <a:gd name="connsiteX542" fmla="*/ 41031 w 308065"/>
                <a:gd name="connsiteY542" fmla="*/ 102708 h 424357"/>
                <a:gd name="connsiteX543" fmla="*/ 39225 w 308065"/>
                <a:gd name="connsiteY543" fmla="*/ 100890 h 424357"/>
                <a:gd name="connsiteX544" fmla="*/ 39990 w 308065"/>
                <a:gd name="connsiteY544" fmla="*/ 99168 h 424357"/>
                <a:gd name="connsiteX545" fmla="*/ 41391 w 308065"/>
                <a:gd name="connsiteY545" fmla="*/ 97155 h 424357"/>
                <a:gd name="connsiteX546" fmla="*/ 41869 w 308065"/>
                <a:gd name="connsiteY546" fmla="*/ 96807 h 424357"/>
                <a:gd name="connsiteX547" fmla="*/ 42632 w 308065"/>
                <a:gd name="connsiteY547" fmla="*/ 97358 h 424357"/>
                <a:gd name="connsiteX548" fmla="*/ 44726 w 308065"/>
                <a:gd name="connsiteY548" fmla="*/ 101011 h 424357"/>
                <a:gd name="connsiteX549" fmla="*/ 48058 w 308065"/>
                <a:gd name="connsiteY549" fmla="*/ 103388 h 424357"/>
                <a:gd name="connsiteX550" fmla="*/ 51553 w 308065"/>
                <a:gd name="connsiteY550" fmla="*/ 107224 h 424357"/>
                <a:gd name="connsiteX551" fmla="*/ 52984 w 308065"/>
                <a:gd name="connsiteY551" fmla="*/ 109866 h 424357"/>
                <a:gd name="connsiteX552" fmla="*/ 54122 w 308065"/>
                <a:gd name="connsiteY552" fmla="*/ 110347 h 424357"/>
                <a:gd name="connsiteX553" fmla="*/ 55114 w 308065"/>
                <a:gd name="connsiteY553" fmla="*/ 111304 h 424357"/>
                <a:gd name="connsiteX554" fmla="*/ 54677 w 308065"/>
                <a:gd name="connsiteY554" fmla="*/ 112013 h 424357"/>
                <a:gd name="connsiteX555" fmla="*/ 53584 w 308065"/>
                <a:gd name="connsiteY555" fmla="*/ 112760 h 424357"/>
                <a:gd name="connsiteX556" fmla="*/ 53268 w 308065"/>
                <a:gd name="connsiteY556" fmla="*/ 114297 h 424357"/>
                <a:gd name="connsiteX557" fmla="*/ 53979 w 308065"/>
                <a:gd name="connsiteY557" fmla="*/ 115157 h 424357"/>
                <a:gd name="connsiteX558" fmla="*/ 54733 w 308065"/>
                <a:gd name="connsiteY558" fmla="*/ 115706 h 424357"/>
                <a:gd name="connsiteX559" fmla="*/ 56770 w 308065"/>
                <a:gd name="connsiteY559" fmla="*/ 115359 h 424357"/>
                <a:gd name="connsiteX560" fmla="*/ 57891 w 308065"/>
                <a:gd name="connsiteY560" fmla="*/ 113559 h 424357"/>
                <a:gd name="connsiteX561" fmla="*/ 57137 w 308065"/>
                <a:gd name="connsiteY561" fmla="*/ 105688 h 424357"/>
                <a:gd name="connsiteX562" fmla="*/ 55957 w 308065"/>
                <a:gd name="connsiteY562" fmla="*/ 101752 h 424357"/>
                <a:gd name="connsiteX563" fmla="*/ 54598 w 308065"/>
                <a:gd name="connsiteY563" fmla="*/ 100525 h 424357"/>
                <a:gd name="connsiteX564" fmla="*/ 53374 w 308065"/>
                <a:gd name="connsiteY564" fmla="*/ 98967 h 424357"/>
                <a:gd name="connsiteX565" fmla="*/ 54198 w 308065"/>
                <a:gd name="connsiteY565" fmla="*/ 97789 h 424357"/>
                <a:gd name="connsiteX566" fmla="*/ 56372 w 308065"/>
                <a:gd name="connsiteY566" fmla="*/ 97257 h 424357"/>
                <a:gd name="connsiteX567" fmla="*/ 59234 w 308065"/>
                <a:gd name="connsiteY567" fmla="*/ 95876 h 424357"/>
                <a:gd name="connsiteX568" fmla="*/ 69694 w 308065"/>
                <a:gd name="connsiteY568" fmla="*/ 88355 h 424357"/>
                <a:gd name="connsiteX569" fmla="*/ 73278 w 308065"/>
                <a:gd name="connsiteY569" fmla="*/ 81287 h 424357"/>
                <a:gd name="connsiteX570" fmla="*/ 76023 w 308065"/>
                <a:gd name="connsiteY570" fmla="*/ 78725 h 424357"/>
                <a:gd name="connsiteX571" fmla="*/ 79123 w 308065"/>
                <a:gd name="connsiteY571" fmla="*/ 77060 h 424357"/>
                <a:gd name="connsiteX572" fmla="*/ 82911 w 308065"/>
                <a:gd name="connsiteY572" fmla="*/ 77451 h 424357"/>
                <a:gd name="connsiteX573" fmla="*/ 85859 w 308065"/>
                <a:gd name="connsiteY573" fmla="*/ 76560 h 424357"/>
                <a:gd name="connsiteX574" fmla="*/ 86764 w 308065"/>
                <a:gd name="connsiteY574" fmla="*/ 74308 h 424357"/>
                <a:gd name="connsiteX575" fmla="*/ 85961 w 308065"/>
                <a:gd name="connsiteY575" fmla="*/ 71254 h 424357"/>
                <a:gd name="connsiteX576" fmla="*/ 84828 w 308065"/>
                <a:gd name="connsiteY576" fmla="*/ 69412 h 424357"/>
                <a:gd name="connsiteX577" fmla="*/ 85916 w 308065"/>
                <a:gd name="connsiteY577" fmla="*/ 66738 h 424357"/>
                <a:gd name="connsiteX578" fmla="*/ 87042 w 308065"/>
                <a:gd name="connsiteY578" fmla="*/ 62681 h 424357"/>
                <a:gd name="connsiteX579" fmla="*/ 86961 w 308065"/>
                <a:gd name="connsiteY579" fmla="*/ 59273 h 424357"/>
                <a:gd name="connsiteX580" fmla="*/ 88415 w 308065"/>
                <a:gd name="connsiteY580" fmla="*/ 57241 h 424357"/>
                <a:gd name="connsiteX581" fmla="*/ 87911 w 308065"/>
                <a:gd name="connsiteY581" fmla="*/ 56441 h 424357"/>
                <a:gd name="connsiteX582" fmla="*/ 85787 w 308065"/>
                <a:gd name="connsiteY582" fmla="*/ 58086 h 424357"/>
                <a:gd name="connsiteX583" fmla="*/ 84110 w 308065"/>
                <a:gd name="connsiteY583" fmla="*/ 58823 h 424357"/>
                <a:gd name="connsiteX584" fmla="*/ 85059 w 308065"/>
                <a:gd name="connsiteY584" fmla="*/ 57467 h 424357"/>
                <a:gd name="connsiteX585" fmla="*/ 88030 w 308065"/>
                <a:gd name="connsiteY585" fmla="*/ 54101 h 424357"/>
                <a:gd name="connsiteX586" fmla="*/ 89575 w 308065"/>
                <a:gd name="connsiteY586" fmla="*/ 48978 h 424357"/>
                <a:gd name="connsiteX587" fmla="*/ 90762 w 308065"/>
                <a:gd name="connsiteY587" fmla="*/ 46844 h 424357"/>
                <a:gd name="connsiteX588" fmla="*/ 94955 w 308065"/>
                <a:gd name="connsiteY588" fmla="*/ 43861 h 424357"/>
                <a:gd name="connsiteX589" fmla="*/ 95783 w 308065"/>
                <a:gd name="connsiteY589" fmla="*/ 42424 h 424357"/>
                <a:gd name="connsiteX590" fmla="*/ 98951 w 308065"/>
                <a:gd name="connsiteY590" fmla="*/ 40188 h 424357"/>
                <a:gd name="connsiteX591" fmla="*/ 104059 w 308065"/>
                <a:gd name="connsiteY591" fmla="*/ 35387 h 424357"/>
                <a:gd name="connsiteX592" fmla="*/ 106011 w 308065"/>
                <a:gd name="connsiteY592" fmla="*/ 34049 h 424357"/>
                <a:gd name="connsiteX593" fmla="*/ 115908 w 308065"/>
                <a:gd name="connsiteY593" fmla="*/ 37145 h 424357"/>
                <a:gd name="connsiteX594" fmla="*/ 119054 w 308065"/>
                <a:gd name="connsiteY594" fmla="*/ 36949 h 424357"/>
                <a:gd name="connsiteX595" fmla="*/ 118492 w 308065"/>
                <a:gd name="connsiteY595" fmla="*/ 37514 h 424357"/>
                <a:gd name="connsiteX596" fmla="*/ 117041 w 308065"/>
                <a:gd name="connsiteY596" fmla="*/ 37705 h 424357"/>
                <a:gd name="connsiteX597" fmla="*/ 114944 w 308065"/>
                <a:gd name="connsiteY597" fmla="*/ 38545 h 424357"/>
                <a:gd name="connsiteX598" fmla="*/ 114336 w 308065"/>
                <a:gd name="connsiteY598" fmla="*/ 40391 h 424357"/>
                <a:gd name="connsiteX599" fmla="*/ 115757 w 308065"/>
                <a:gd name="connsiteY599" fmla="*/ 42327 h 424357"/>
                <a:gd name="connsiteX600" fmla="*/ 117263 w 308065"/>
                <a:gd name="connsiteY600" fmla="*/ 42886 h 424357"/>
                <a:gd name="connsiteX601" fmla="*/ 118547 w 308065"/>
                <a:gd name="connsiteY601" fmla="*/ 41643 h 424357"/>
                <a:gd name="connsiteX602" fmla="*/ 119821 w 308065"/>
                <a:gd name="connsiteY602" fmla="*/ 38088 h 424357"/>
                <a:gd name="connsiteX603" fmla="*/ 121870 w 308065"/>
                <a:gd name="connsiteY603" fmla="*/ 34161 h 424357"/>
                <a:gd name="connsiteX604" fmla="*/ 122351 w 308065"/>
                <a:gd name="connsiteY604" fmla="*/ 30044 h 424357"/>
                <a:gd name="connsiteX605" fmla="*/ 123802 w 308065"/>
                <a:gd name="connsiteY605" fmla="*/ 28628 h 424357"/>
                <a:gd name="connsiteX606" fmla="*/ 125927 w 308065"/>
                <a:gd name="connsiteY606" fmla="*/ 28121 h 424357"/>
                <a:gd name="connsiteX607" fmla="*/ 129719 w 308065"/>
                <a:gd name="connsiteY607" fmla="*/ 28935 h 424357"/>
                <a:gd name="connsiteX608" fmla="*/ 132607 w 308065"/>
                <a:gd name="connsiteY608" fmla="*/ 29789 h 424357"/>
                <a:gd name="connsiteX609" fmla="*/ 135619 w 308065"/>
                <a:gd name="connsiteY609" fmla="*/ 29896 h 424357"/>
                <a:gd name="connsiteX610" fmla="*/ 144838 w 308065"/>
                <a:gd name="connsiteY610" fmla="*/ 29273 h 424357"/>
                <a:gd name="connsiteX611" fmla="*/ 159837 w 308065"/>
                <a:gd name="connsiteY611" fmla="*/ 18576 h 424357"/>
                <a:gd name="connsiteX612" fmla="*/ 166804 w 308065"/>
                <a:gd name="connsiteY612" fmla="*/ 16276 h 424357"/>
                <a:gd name="connsiteX613" fmla="*/ 171166 w 308065"/>
                <a:gd name="connsiteY613" fmla="*/ 14025 h 424357"/>
                <a:gd name="connsiteX614" fmla="*/ 173949 w 308065"/>
                <a:gd name="connsiteY614" fmla="*/ 9628 h 424357"/>
                <a:gd name="connsiteX615" fmla="*/ 174697 w 308065"/>
                <a:gd name="connsiteY615" fmla="*/ 6327 h 424357"/>
                <a:gd name="connsiteX616" fmla="*/ 176743 w 308065"/>
                <a:gd name="connsiteY616" fmla="*/ 5044 h 424357"/>
                <a:gd name="connsiteX617" fmla="*/ 178898 w 308065"/>
                <a:gd name="connsiteY617" fmla="*/ 5047 h 424357"/>
                <a:gd name="connsiteX618" fmla="*/ 179883 w 308065"/>
                <a:gd name="connsiteY618" fmla="*/ 4243 h 424357"/>
                <a:gd name="connsiteX619" fmla="*/ 180190 w 308065"/>
                <a:gd name="connsiteY619" fmla="*/ 3226 h 424357"/>
                <a:gd name="connsiteX620" fmla="*/ 185378 w 308065"/>
                <a:gd name="connsiteY620" fmla="*/ 372 h 424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</a:cxnLst>
              <a:rect l="l" t="t" r="r" b="b"/>
              <a:pathLst>
                <a:path w="308065" h="424357">
                  <a:moveTo>
                    <a:pt x="21477" y="249770"/>
                  </a:moveTo>
                  <a:lnTo>
                    <a:pt x="22511" y="250079"/>
                  </a:lnTo>
                  <a:lnTo>
                    <a:pt x="22980" y="250854"/>
                  </a:lnTo>
                  <a:lnTo>
                    <a:pt x="23118" y="252424"/>
                  </a:lnTo>
                  <a:lnTo>
                    <a:pt x="22431" y="252983"/>
                  </a:lnTo>
                  <a:lnTo>
                    <a:pt x="21120" y="251979"/>
                  </a:lnTo>
                  <a:lnTo>
                    <a:pt x="20673" y="250713"/>
                  </a:lnTo>
                  <a:close/>
                  <a:moveTo>
                    <a:pt x="188347" y="0"/>
                  </a:moveTo>
                  <a:lnTo>
                    <a:pt x="190970" y="54"/>
                  </a:lnTo>
                  <a:lnTo>
                    <a:pt x="196849" y="2551"/>
                  </a:lnTo>
                  <a:lnTo>
                    <a:pt x="199565" y="6954"/>
                  </a:lnTo>
                  <a:lnTo>
                    <a:pt x="200014" y="9985"/>
                  </a:lnTo>
                  <a:lnTo>
                    <a:pt x="196290" y="13277"/>
                  </a:lnTo>
                  <a:lnTo>
                    <a:pt x="195389" y="14728"/>
                  </a:lnTo>
                  <a:lnTo>
                    <a:pt x="194480" y="15041"/>
                  </a:lnTo>
                  <a:lnTo>
                    <a:pt x="193348" y="15714"/>
                  </a:lnTo>
                  <a:lnTo>
                    <a:pt x="189903" y="16985"/>
                  </a:lnTo>
                  <a:lnTo>
                    <a:pt x="185253" y="18199"/>
                  </a:lnTo>
                  <a:lnTo>
                    <a:pt x="179201" y="19752"/>
                  </a:lnTo>
                  <a:lnTo>
                    <a:pt x="177828" y="21408"/>
                  </a:lnTo>
                  <a:lnTo>
                    <a:pt x="171838" y="31823"/>
                  </a:lnTo>
                  <a:lnTo>
                    <a:pt x="166828" y="33932"/>
                  </a:lnTo>
                  <a:lnTo>
                    <a:pt x="165004" y="35481"/>
                  </a:lnTo>
                  <a:lnTo>
                    <a:pt x="163629" y="37451"/>
                  </a:lnTo>
                  <a:lnTo>
                    <a:pt x="160642" y="41076"/>
                  </a:lnTo>
                  <a:lnTo>
                    <a:pt x="159398" y="43861"/>
                  </a:lnTo>
                  <a:lnTo>
                    <a:pt x="156096" y="49910"/>
                  </a:lnTo>
                  <a:lnTo>
                    <a:pt x="154295" y="57482"/>
                  </a:lnTo>
                  <a:lnTo>
                    <a:pt x="153610" y="61734"/>
                  </a:lnTo>
                  <a:lnTo>
                    <a:pt x="152617" y="67893"/>
                  </a:lnTo>
                  <a:lnTo>
                    <a:pt x="151158" y="70988"/>
                  </a:lnTo>
                  <a:lnTo>
                    <a:pt x="149201" y="73895"/>
                  </a:lnTo>
                  <a:lnTo>
                    <a:pt x="147097" y="76735"/>
                  </a:lnTo>
                  <a:lnTo>
                    <a:pt x="145286" y="79844"/>
                  </a:lnTo>
                  <a:lnTo>
                    <a:pt x="143747" y="82277"/>
                  </a:lnTo>
                  <a:lnTo>
                    <a:pt x="143497" y="83114"/>
                  </a:lnTo>
                  <a:lnTo>
                    <a:pt x="144245" y="83784"/>
                  </a:lnTo>
                  <a:lnTo>
                    <a:pt x="147886" y="83114"/>
                  </a:lnTo>
                  <a:lnTo>
                    <a:pt x="149317" y="82382"/>
                  </a:lnTo>
                  <a:lnTo>
                    <a:pt x="151303" y="81441"/>
                  </a:lnTo>
                  <a:lnTo>
                    <a:pt x="152548" y="81942"/>
                  </a:lnTo>
                  <a:lnTo>
                    <a:pt x="153794" y="84622"/>
                  </a:lnTo>
                  <a:lnTo>
                    <a:pt x="155206" y="84957"/>
                  </a:lnTo>
                  <a:lnTo>
                    <a:pt x="156533" y="84622"/>
                  </a:lnTo>
                  <a:lnTo>
                    <a:pt x="157946" y="85291"/>
                  </a:lnTo>
                  <a:lnTo>
                    <a:pt x="159743" y="91953"/>
                  </a:lnTo>
                  <a:lnTo>
                    <a:pt x="161267" y="97592"/>
                  </a:lnTo>
                  <a:lnTo>
                    <a:pt x="164809" y="101113"/>
                  </a:lnTo>
                  <a:lnTo>
                    <a:pt x="167577" y="103863"/>
                  </a:lnTo>
                  <a:lnTo>
                    <a:pt x="168242" y="106286"/>
                  </a:lnTo>
                  <a:lnTo>
                    <a:pt x="168906" y="109714"/>
                  </a:lnTo>
                  <a:lnTo>
                    <a:pt x="169071" y="111386"/>
                  </a:lnTo>
                  <a:lnTo>
                    <a:pt x="168208" y="112396"/>
                  </a:lnTo>
                  <a:lnTo>
                    <a:pt x="166829" y="114477"/>
                  </a:lnTo>
                  <a:lnTo>
                    <a:pt x="166487" y="118464"/>
                  </a:lnTo>
                  <a:lnTo>
                    <a:pt x="166250" y="119788"/>
                  </a:lnTo>
                  <a:lnTo>
                    <a:pt x="165995" y="123479"/>
                  </a:lnTo>
                  <a:lnTo>
                    <a:pt x="166172" y="125747"/>
                  </a:lnTo>
                  <a:lnTo>
                    <a:pt x="166907" y="127516"/>
                  </a:lnTo>
                  <a:lnTo>
                    <a:pt x="168133" y="128530"/>
                  </a:lnTo>
                  <a:lnTo>
                    <a:pt x="170625" y="129054"/>
                  </a:lnTo>
                  <a:lnTo>
                    <a:pt x="172873" y="129673"/>
                  </a:lnTo>
                  <a:lnTo>
                    <a:pt x="174166" y="132747"/>
                  </a:lnTo>
                  <a:lnTo>
                    <a:pt x="176003" y="136641"/>
                  </a:lnTo>
                  <a:lnTo>
                    <a:pt x="177971" y="138278"/>
                  </a:lnTo>
                  <a:lnTo>
                    <a:pt x="180861" y="139355"/>
                  </a:lnTo>
                  <a:lnTo>
                    <a:pt x="182925" y="138961"/>
                  </a:lnTo>
                  <a:lnTo>
                    <a:pt x="187753" y="138270"/>
                  </a:lnTo>
                  <a:lnTo>
                    <a:pt x="191905" y="138437"/>
                  </a:lnTo>
                  <a:lnTo>
                    <a:pt x="197973" y="139486"/>
                  </a:lnTo>
                  <a:lnTo>
                    <a:pt x="200235" y="139447"/>
                  </a:lnTo>
                  <a:lnTo>
                    <a:pt x="203159" y="139251"/>
                  </a:lnTo>
                  <a:lnTo>
                    <a:pt x="208296" y="137133"/>
                  </a:lnTo>
                  <a:lnTo>
                    <a:pt x="210161" y="136815"/>
                  </a:lnTo>
                  <a:lnTo>
                    <a:pt x="212242" y="137000"/>
                  </a:lnTo>
                  <a:lnTo>
                    <a:pt x="215273" y="138077"/>
                  </a:lnTo>
                  <a:lnTo>
                    <a:pt x="216918" y="138927"/>
                  </a:lnTo>
                  <a:lnTo>
                    <a:pt x="219027" y="139807"/>
                  </a:lnTo>
                  <a:lnTo>
                    <a:pt x="222105" y="140435"/>
                  </a:lnTo>
                  <a:lnTo>
                    <a:pt x="224082" y="140331"/>
                  </a:lnTo>
                  <a:lnTo>
                    <a:pt x="225576" y="140291"/>
                  </a:lnTo>
                  <a:lnTo>
                    <a:pt x="226443" y="140690"/>
                  </a:lnTo>
                  <a:lnTo>
                    <a:pt x="231282" y="146745"/>
                  </a:lnTo>
                  <a:lnTo>
                    <a:pt x="235471" y="151986"/>
                  </a:lnTo>
                  <a:lnTo>
                    <a:pt x="239127" y="156389"/>
                  </a:lnTo>
                  <a:lnTo>
                    <a:pt x="243070" y="161137"/>
                  </a:lnTo>
                  <a:lnTo>
                    <a:pt x="243378" y="161416"/>
                  </a:lnTo>
                  <a:lnTo>
                    <a:pt x="245155" y="160805"/>
                  </a:lnTo>
                  <a:lnTo>
                    <a:pt x="246327" y="161068"/>
                  </a:lnTo>
                  <a:lnTo>
                    <a:pt x="247409" y="162034"/>
                  </a:lnTo>
                  <a:lnTo>
                    <a:pt x="249276" y="161636"/>
                  </a:lnTo>
                  <a:lnTo>
                    <a:pt x="251927" y="159879"/>
                  </a:lnTo>
                  <a:lnTo>
                    <a:pt x="255801" y="159527"/>
                  </a:lnTo>
                  <a:lnTo>
                    <a:pt x="260890" y="160581"/>
                  </a:lnTo>
                  <a:lnTo>
                    <a:pt x="267603" y="160587"/>
                  </a:lnTo>
                  <a:lnTo>
                    <a:pt x="275937" y="159544"/>
                  </a:lnTo>
                  <a:lnTo>
                    <a:pt x="281115" y="158414"/>
                  </a:lnTo>
                  <a:lnTo>
                    <a:pt x="283135" y="157192"/>
                  </a:lnTo>
                  <a:lnTo>
                    <a:pt x="286484" y="157319"/>
                  </a:lnTo>
                  <a:lnTo>
                    <a:pt x="290517" y="158417"/>
                  </a:lnTo>
                  <a:lnTo>
                    <a:pt x="292700" y="159982"/>
                  </a:lnTo>
                  <a:lnTo>
                    <a:pt x="292964" y="161522"/>
                  </a:lnTo>
                  <a:lnTo>
                    <a:pt x="293782" y="163921"/>
                  </a:lnTo>
                  <a:lnTo>
                    <a:pt x="292905" y="166352"/>
                  </a:lnTo>
                  <a:lnTo>
                    <a:pt x="290337" y="168817"/>
                  </a:lnTo>
                  <a:lnTo>
                    <a:pt x="288913" y="171964"/>
                  </a:lnTo>
                  <a:lnTo>
                    <a:pt x="288635" y="175794"/>
                  </a:lnTo>
                  <a:lnTo>
                    <a:pt x="287308" y="178625"/>
                  </a:lnTo>
                  <a:lnTo>
                    <a:pt x="284930" y="180456"/>
                  </a:lnTo>
                  <a:lnTo>
                    <a:pt x="284005" y="183127"/>
                  </a:lnTo>
                  <a:lnTo>
                    <a:pt x="284530" y="186633"/>
                  </a:lnTo>
                  <a:lnTo>
                    <a:pt x="284274" y="191761"/>
                  </a:lnTo>
                  <a:lnTo>
                    <a:pt x="283235" y="198504"/>
                  </a:lnTo>
                  <a:lnTo>
                    <a:pt x="283235" y="202534"/>
                  </a:lnTo>
                  <a:lnTo>
                    <a:pt x="284274" y="203850"/>
                  </a:lnTo>
                  <a:lnTo>
                    <a:pt x="284752" y="205739"/>
                  </a:lnTo>
                  <a:lnTo>
                    <a:pt x="284671" y="208198"/>
                  </a:lnTo>
                  <a:lnTo>
                    <a:pt x="285062" y="210374"/>
                  </a:lnTo>
                  <a:lnTo>
                    <a:pt x="286352" y="213211"/>
                  </a:lnTo>
                  <a:lnTo>
                    <a:pt x="288145" y="218856"/>
                  </a:lnTo>
                  <a:lnTo>
                    <a:pt x="289643" y="221280"/>
                  </a:lnTo>
                  <a:lnTo>
                    <a:pt x="290947" y="222168"/>
                  </a:lnTo>
                  <a:lnTo>
                    <a:pt x="292277" y="223253"/>
                  </a:lnTo>
                  <a:lnTo>
                    <a:pt x="296105" y="229024"/>
                  </a:lnTo>
                  <a:lnTo>
                    <a:pt x="297033" y="230241"/>
                  </a:lnTo>
                  <a:lnTo>
                    <a:pt x="296753" y="231304"/>
                  </a:lnTo>
                  <a:lnTo>
                    <a:pt x="296395" y="232099"/>
                  </a:lnTo>
                  <a:lnTo>
                    <a:pt x="295955" y="232606"/>
                  </a:lnTo>
                  <a:lnTo>
                    <a:pt x="291867" y="236043"/>
                  </a:lnTo>
                  <a:lnTo>
                    <a:pt x="283755" y="243515"/>
                  </a:lnTo>
                  <a:lnTo>
                    <a:pt x="283084" y="244467"/>
                  </a:lnTo>
                  <a:lnTo>
                    <a:pt x="283138" y="246033"/>
                  </a:lnTo>
                  <a:lnTo>
                    <a:pt x="285486" y="245026"/>
                  </a:lnTo>
                  <a:lnTo>
                    <a:pt x="288003" y="245866"/>
                  </a:lnTo>
                  <a:lnTo>
                    <a:pt x="289234" y="246033"/>
                  </a:lnTo>
                  <a:lnTo>
                    <a:pt x="289792" y="246649"/>
                  </a:lnTo>
                  <a:lnTo>
                    <a:pt x="290519" y="248664"/>
                  </a:lnTo>
                  <a:lnTo>
                    <a:pt x="291357" y="248999"/>
                  </a:lnTo>
                  <a:lnTo>
                    <a:pt x="292588" y="249838"/>
                  </a:lnTo>
                  <a:lnTo>
                    <a:pt x="294992" y="251963"/>
                  </a:lnTo>
                  <a:lnTo>
                    <a:pt x="297004" y="254201"/>
                  </a:lnTo>
                  <a:lnTo>
                    <a:pt x="298513" y="255273"/>
                  </a:lnTo>
                  <a:lnTo>
                    <a:pt x="299576" y="256270"/>
                  </a:lnTo>
                  <a:lnTo>
                    <a:pt x="299911" y="257726"/>
                  </a:lnTo>
                  <a:lnTo>
                    <a:pt x="299464" y="259179"/>
                  </a:lnTo>
                  <a:lnTo>
                    <a:pt x="300725" y="262551"/>
                  </a:lnTo>
                  <a:lnTo>
                    <a:pt x="301588" y="263599"/>
                  </a:lnTo>
                  <a:lnTo>
                    <a:pt x="302036" y="264884"/>
                  </a:lnTo>
                  <a:lnTo>
                    <a:pt x="301588" y="266171"/>
                  </a:lnTo>
                  <a:lnTo>
                    <a:pt x="302650" y="267681"/>
                  </a:lnTo>
                  <a:lnTo>
                    <a:pt x="303808" y="270652"/>
                  </a:lnTo>
                  <a:lnTo>
                    <a:pt x="305222" y="274280"/>
                  </a:lnTo>
                  <a:lnTo>
                    <a:pt x="305390" y="276294"/>
                  </a:lnTo>
                  <a:lnTo>
                    <a:pt x="305978" y="277222"/>
                  </a:lnTo>
                  <a:lnTo>
                    <a:pt x="306668" y="279914"/>
                  </a:lnTo>
                  <a:lnTo>
                    <a:pt x="307851" y="282445"/>
                  </a:lnTo>
                  <a:lnTo>
                    <a:pt x="307571" y="284179"/>
                  </a:lnTo>
                  <a:lnTo>
                    <a:pt x="308065" y="285874"/>
                  </a:lnTo>
                  <a:lnTo>
                    <a:pt x="303267" y="287007"/>
                  </a:lnTo>
                  <a:lnTo>
                    <a:pt x="302835" y="286828"/>
                  </a:lnTo>
                  <a:lnTo>
                    <a:pt x="302547" y="286204"/>
                  </a:lnTo>
                  <a:lnTo>
                    <a:pt x="302684" y="281370"/>
                  </a:lnTo>
                  <a:lnTo>
                    <a:pt x="302637" y="275919"/>
                  </a:lnTo>
                  <a:lnTo>
                    <a:pt x="301898" y="273685"/>
                  </a:lnTo>
                  <a:lnTo>
                    <a:pt x="299703" y="270104"/>
                  </a:lnTo>
                  <a:lnTo>
                    <a:pt x="296792" y="265354"/>
                  </a:lnTo>
                  <a:lnTo>
                    <a:pt x="295997" y="263991"/>
                  </a:lnTo>
                  <a:lnTo>
                    <a:pt x="294768" y="263208"/>
                  </a:lnTo>
                  <a:lnTo>
                    <a:pt x="293314" y="263095"/>
                  </a:lnTo>
                  <a:lnTo>
                    <a:pt x="292252" y="263430"/>
                  </a:lnTo>
                  <a:lnTo>
                    <a:pt x="290822" y="264317"/>
                  </a:lnTo>
                  <a:lnTo>
                    <a:pt x="289473" y="265279"/>
                  </a:lnTo>
                  <a:lnTo>
                    <a:pt x="286871" y="268143"/>
                  </a:lnTo>
                  <a:lnTo>
                    <a:pt x="284253" y="271492"/>
                  </a:lnTo>
                  <a:lnTo>
                    <a:pt x="282721" y="272240"/>
                  </a:lnTo>
                  <a:lnTo>
                    <a:pt x="281183" y="272548"/>
                  </a:lnTo>
                  <a:lnTo>
                    <a:pt x="279825" y="272444"/>
                  </a:lnTo>
                  <a:lnTo>
                    <a:pt x="278732" y="271544"/>
                  </a:lnTo>
                  <a:lnTo>
                    <a:pt x="277612" y="269716"/>
                  </a:lnTo>
                  <a:lnTo>
                    <a:pt x="276262" y="267290"/>
                  </a:lnTo>
                  <a:lnTo>
                    <a:pt x="274651" y="266496"/>
                  </a:lnTo>
                  <a:lnTo>
                    <a:pt x="274028" y="267243"/>
                  </a:lnTo>
                  <a:lnTo>
                    <a:pt x="273494" y="268669"/>
                  </a:lnTo>
                  <a:lnTo>
                    <a:pt x="273075" y="270086"/>
                  </a:lnTo>
                  <a:lnTo>
                    <a:pt x="274157" y="271886"/>
                  </a:lnTo>
                  <a:lnTo>
                    <a:pt x="275088" y="273275"/>
                  </a:lnTo>
                  <a:lnTo>
                    <a:pt x="273492" y="273227"/>
                  </a:lnTo>
                  <a:lnTo>
                    <a:pt x="268321" y="273230"/>
                  </a:lnTo>
                  <a:lnTo>
                    <a:pt x="262361" y="273232"/>
                  </a:lnTo>
                  <a:lnTo>
                    <a:pt x="256410" y="273235"/>
                  </a:lnTo>
                  <a:lnTo>
                    <a:pt x="251058" y="273237"/>
                  </a:lnTo>
                  <a:lnTo>
                    <a:pt x="246102" y="273238"/>
                  </a:lnTo>
                  <a:lnTo>
                    <a:pt x="244210" y="273123"/>
                  </a:lnTo>
                  <a:lnTo>
                    <a:pt x="242287" y="272308"/>
                  </a:lnTo>
                  <a:lnTo>
                    <a:pt x="240442" y="271919"/>
                  </a:lnTo>
                  <a:lnTo>
                    <a:pt x="239471" y="271982"/>
                  </a:lnTo>
                  <a:lnTo>
                    <a:pt x="237727" y="272776"/>
                  </a:lnTo>
                  <a:lnTo>
                    <a:pt x="235455" y="272893"/>
                  </a:lnTo>
                  <a:lnTo>
                    <a:pt x="233925" y="273646"/>
                  </a:lnTo>
                  <a:lnTo>
                    <a:pt x="232691" y="273556"/>
                  </a:lnTo>
                  <a:lnTo>
                    <a:pt x="232669" y="277737"/>
                  </a:lnTo>
                  <a:lnTo>
                    <a:pt x="232636" y="283698"/>
                  </a:lnTo>
                  <a:lnTo>
                    <a:pt x="232602" y="290020"/>
                  </a:lnTo>
                  <a:lnTo>
                    <a:pt x="233971" y="289541"/>
                  </a:lnTo>
                  <a:lnTo>
                    <a:pt x="235158" y="289587"/>
                  </a:lnTo>
                  <a:lnTo>
                    <a:pt x="236028" y="290032"/>
                  </a:lnTo>
                  <a:lnTo>
                    <a:pt x="238465" y="289673"/>
                  </a:lnTo>
                  <a:lnTo>
                    <a:pt x="239817" y="289862"/>
                  </a:lnTo>
                  <a:lnTo>
                    <a:pt x="241096" y="290021"/>
                  </a:lnTo>
                  <a:lnTo>
                    <a:pt x="242284" y="290044"/>
                  </a:lnTo>
                  <a:lnTo>
                    <a:pt x="243014" y="290545"/>
                  </a:lnTo>
                  <a:lnTo>
                    <a:pt x="243996" y="290455"/>
                  </a:lnTo>
                  <a:lnTo>
                    <a:pt x="245046" y="289907"/>
                  </a:lnTo>
                  <a:lnTo>
                    <a:pt x="246303" y="290250"/>
                  </a:lnTo>
                  <a:lnTo>
                    <a:pt x="247649" y="291139"/>
                  </a:lnTo>
                  <a:lnTo>
                    <a:pt x="248517" y="292465"/>
                  </a:lnTo>
                  <a:lnTo>
                    <a:pt x="249293" y="294109"/>
                  </a:lnTo>
                  <a:lnTo>
                    <a:pt x="250070" y="294977"/>
                  </a:lnTo>
                  <a:lnTo>
                    <a:pt x="250024" y="296552"/>
                  </a:lnTo>
                  <a:lnTo>
                    <a:pt x="250000" y="297786"/>
                  </a:lnTo>
                  <a:lnTo>
                    <a:pt x="249727" y="298812"/>
                  </a:lnTo>
                  <a:lnTo>
                    <a:pt x="250070" y="299475"/>
                  </a:lnTo>
                  <a:lnTo>
                    <a:pt x="250321" y="300182"/>
                  </a:lnTo>
                  <a:lnTo>
                    <a:pt x="250252" y="300594"/>
                  </a:lnTo>
                  <a:lnTo>
                    <a:pt x="249795" y="300776"/>
                  </a:lnTo>
                  <a:lnTo>
                    <a:pt x="248813" y="300914"/>
                  </a:lnTo>
                  <a:lnTo>
                    <a:pt x="247763" y="301028"/>
                  </a:lnTo>
                  <a:lnTo>
                    <a:pt x="247032" y="300982"/>
                  </a:lnTo>
                  <a:lnTo>
                    <a:pt x="246462" y="300343"/>
                  </a:lnTo>
                  <a:lnTo>
                    <a:pt x="245913" y="300274"/>
                  </a:lnTo>
                  <a:lnTo>
                    <a:pt x="245115" y="300365"/>
                  </a:lnTo>
                  <a:lnTo>
                    <a:pt x="244270" y="299977"/>
                  </a:lnTo>
                  <a:lnTo>
                    <a:pt x="243539" y="299178"/>
                  </a:lnTo>
                  <a:lnTo>
                    <a:pt x="242238" y="298379"/>
                  </a:lnTo>
                  <a:lnTo>
                    <a:pt x="240844" y="298721"/>
                  </a:lnTo>
                  <a:lnTo>
                    <a:pt x="239887" y="299132"/>
                  </a:lnTo>
                  <a:lnTo>
                    <a:pt x="238903" y="299635"/>
                  </a:lnTo>
                  <a:lnTo>
                    <a:pt x="238013" y="300159"/>
                  </a:lnTo>
                  <a:lnTo>
                    <a:pt x="237123" y="300023"/>
                  </a:lnTo>
                  <a:lnTo>
                    <a:pt x="235980" y="300411"/>
                  </a:lnTo>
                  <a:lnTo>
                    <a:pt x="235020" y="301005"/>
                  </a:lnTo>
                  <a:lnTo>
                    <a:pt x="233743" y="301484"/>
                  </a:lnTo>
                  <a:lnTo>
                    <a:pt x="232350" y="301711"/>
                  </a:lnTo>
                  <a:lnTo>
                    <a:pt x="230752" y="301941"/>
                  </a:lnTo>
                  <a:lnTo>
                    <a:pt x="229221" y="302032"/>
                  </a:lnTo>
                  <a:lnTo>
                    <a:pt x="227485" y="302216"/>
                  </a:lnTo>
                  <a:lnTo>
                    <a:pt x="227384" y="305543"/>
                  </a:lnTo>
                  <a:lnTo>
                    <a:pt x="227186" y="312085"/>
                  </a:lnTo>
                  <a:lnTo>
                    <a:pt x="227054" y="316416"/>
                  </a:lnTo>
                  <a:lnTo>
                    <a:pt x="227064" y="320408"/>
                  </a:lnTo>
                  <a:lnTo>
                    <a:pt x="227735" y="321862"/>
                  </a:lnTo>
                  <a:lnTo>
                    <a:pt x="230811" y="324938"/>
                  </a:lnTo>
                  <a:lnTo>
                    <a:pt x="233215" y="326557"/>
                  </a:lnTo>
                  <a:lnTo>
                    <a:pt x="235255" y="328362"/>
                  </a:lnTo>
                  <a:lnTo>
                    <a:pt x="237284" y="329120"/>
                  </a:lnTo>
                  <a:lnTo>
                    <a:pt x="238134" y="329800"/>
                  </a:lnTo>
                  <a:lnTo>
                    <a:pt x="238693" y="330917"/>
                  </a:lnTo>
                  <a:lnTo>
                    <a:pt x="238973" y="332091"/>
                  </a:lnTo>
                  <a:lnTo>
                    <a:pt x="239197" y="333099"/>
                  </a:lnTo>
                  <a:lnTo>
                    <a:pt x="238973" y="334161"/>
                  </a:lnTo>
                  <a:lnTo>
                    <a:pt x="238470" y="335166"/>
                  </a:lnTo>
                  <a:lnTo>
                    <a:pt x="238693" y="336229"/>
                  </a:lnTo>
                  <a:lnTo>
                    <a:pt x="239420" y="337068"/>
                  </a:lnTo>
                  <a:lnTo>
                    <a:pt x="239644" y="338131"/>
                  </a:lnTo>
                  <a:lnTo>
                    <a:pt x="240146" y="339136"/>
                  </a:lnTo>
                  <a:lnTo>
                    <a:pt x="240426" y="340144"/>
                  </a:lnTo>
                  <a:lnTo>
                    <a:pt x="241042" y="340869"/>
                  </a:lnTo>
                  <a:lnTo>
                    <a:pt x="241824" y="341375"/>
                  </a:lnTo>
                  <a:lnTo>
                    <a:pt x="242831" y="342212"/>
                  </a:lnTo>
                  <a:lnTo>
                    <a:pt x="242942" y="342994"/>
                  </a:lnTo>
                  <a:lnTo>
                    <a:pt x="242831" y="343891"/>
                  </a:lnTo>
                  <a:lnTo>
                    <a:pt x="242820" y="344567"/>
                  </a:lnTo>
                  <a:lnTo>
                    <a:pt x="243777" y="346105"/>
                  </a:lnTo>
                  <a:lnTo>
                    <a:pt x="244060" y="347188"/>
                  </a:lnTo>
                  <a:lnTo>
                    <a:pt x="243613" y="348475"/>
                  </a:lnTo>
                  <a:lnTo>
                    <a:pt x="243181" y="352938"/>
                  </a:lnTo>
                  <a:lnTo>
                    <a:pt x="242073" y="358017"/>
                  </a:lnTo>
                  <a:lnTo>
                    <a:pt x="241367" y="361896"/>
                  </a:lnTo>
                  <a:lnTo>
                    <a:pt x="240216" y="368221"/>
                  </a:lnTo>
                  <a:lnTo>
                    <a:pt x="238876" y="375578"/>
                  </a:lnTo>
                  <a:lnTo>
                    <a:pt x="237244" y="384545"/>
                  </a:lnTo>
                  <a:lnTo>
                    <a:pt x="235633" y="393401"/>
                  </a:lnTo>
                  <a:lnTo>
                    <a:pt x="234072" y="401978"/>
                  </a:lnTo>
                  <a:lnTo>
                    <a:pt x="232661" y="409728"/>
                  </a:lnTo>
                  <a:lnTo>
                    <a:pt x="231108" y="418278"/>
                  </a:lnTo>
                  <a:lnTo>
                    <a:pt x="230166" y="423459"/>
                  </a:lnTo>
                  <a:lnTo>
                    <a:pt x="229717" y="424357"/>
                  </a:lnTo>
                  <a:lnTo>
                    <a:pt x="228416" y="422480"/>
                  </a:lnTo>
                  <a:lnTo>
                    <a:pt x="226450" y="420706"/>
                  </a:lnTo>
                  <a:lnTo>
                    <a:pt x="224605" y="419639"/>
                  </a:lnTo>
                  <a:lnTo>
                    <a:pt x="223821" y="418242"/>
                  </a:lnTo>
                  <a:lnTo>
                    <a:pt x="222760" y="415386"/>
                  </a:lnTo>
                  <a:lnTo>
                    <a:pt x="221285" y="414409"/>
                  </a:lnTo>
                  <a:lnTo>
                    <a:pt x="220244" y="413651"/>
                  </a:lnTo>
                  <a:lnTo>
                    <a:pt x="219237" y="413763"/>
                  </a:lnTo>
                  <a:lnTo>
                    <a:pt x="218175" y="414546"/>
                  </a:lnTo>
                  <a:lnTo>
                    <a:pt x="216533" y="415047"/>
                  </a:lnTo>
                  <a:lnTo>
                    <a:pt x="215422" y="414972"/>
                  </a:lnTo>
                  <a:lnTo>
                    <a:pt x="210946" y="413006"/>
                  </a:lnTo>
                  <a:lnTo>
                    <a:pt x="210213" y="412818"/>
                  </a:lnTo>
                  <a:lnTo>
                    <a:pt x="213089" y="408325"/>
                  </a:lnTo>
                  <a:lnTo>
                    <a:pt x="218228" y="400295"/>
                  </a:lnTo>
                  <a:lnTo>
                    <a:pt x="221496" y="395194"/>
                  </a:lnTo>
                  <a:lnTo>
                    <a:pt x="225123" y="389529"/>
                  </a:lnTo>
                  <a:lnTo>
                    <a:pt x="226975" y="386639"/>
                  </a:lnTo>
                  <a:lnTo>
                    <a:pt x="227218" y="386146"/>
                  </a:lnTo>
                  <a:lnTo>
                    <a:pt x="227211" y="385408"/>
                  </a:lnTo>
                  <a:lnTo>
                    <a:pt x="226422" y="384305"/>
                  </a:lnTo>
                  <a:lnTo>
                    <a:pt x="224675" y="383839"/>
                  </a:lnTo>
                  <a:lnTo>
                    <a:pt x="222654" y="382994"/>
                  </a:lnTo>
                  <a:lnTo>
                    <a:pt x="221381" y="381623"/>
                  </a:lnTo>
                  <a:lnTo>
                    <a:pt x="219619" y="381034"/>
                  </a:lnTo>
                  <a:lnTo>
                    <a:pt x="218248" y="380056"/>
                  </a:lnTo>
                  <a:lnTo>
                    <a:pt x="215749" y="379102"/>
                  </a:lnTo>
                  <a:lnTo>
                    <a:pt x="214250" y="378217"/>
                  </a:lnTo>
                  <a:lnTo>
                    <a:pt x="212422" y="377900"/>
                  </a:lnTo>
                  <a:lnTo>
                    <a:pt x="210967" y="376282"/>
                  </a:lnTo>
                  <a:lnTo>
                    <a:pt x="205663" y="373150"/>
                  </a:lnTo>
                  <a:lnTo>
                    <a:pt x="204294" y="372853"/>
                  </a:lnTo>
                  <a:lnTo>
                    <a:pt x="202804" y="373334"/>
                  </a:lnTo>
                  <a:lnTo>
                    <a:pt x="200621" y="373832"/>
                  </a:lnTo>
                  <a:lnTo>
                    <a:pt x="198517" y="375548"/>
                  </a:lnTo>
                  <a:lnTo>
                    <a:pt x="195887" y="376101"/>
                  </a:lnTo>
                  <a:lnTo>
                    <a:pt x="193430" y="376081"/>
                  </a:lnTo>
                  <a:lnTo>
                    <a:pt x="192150" y="375057"/>
                  </a:lnTo>
                  <a:lnTo>
                    <a:pt x="190917" y="374689"/>
                  </a:lnTo>
                  <a:lnTo>
                    <a:pt x="189310" y="373295"/>
                  </a:lnTo>
                  <a:lnTo>
                    <a:pt x="186469" y="372226"/>
                  </a:lnTo>
                  <a:lnTo>
                    <a:pt x="184414" y="371481"/>
                  </a:lnTo>
                  <a:lnTo>
                    <a:pt x="183142" y="371825"/>
                  </a:lnTo>
                  <a:lnTo>
                    <a:pt x="181505" y="373383"/>
                  </a:lnTo>
                  <a:lnTo>
                    <a:pt x="179852" y="374929"/>
                  </a:lnTo>
                  <a:lnTo>
                    <a:pt x="178539" y="375890"/>
                  </a:lnTo>
                  <a:lnTo>
                    <a:pt x="176775" y="375841"/>
                  </a:lnTo>
                  <a:lnTo>
                    <a:pt x="174671" y="377264"/>
                  </a:lnTo>
                  <a:lnTo>
                    <a:pt x="172600" y="377766"/>
                  </a:lnTo>
                  <a:lnTo>
                    <a:pt x="170514" y="377988"/>
                  </a:lnTo>
                  <a:lnTo>
                    <a:pt x="168108" y="378487"/>
                  </a:lnTo>
                  <a:lnTo>
                    <a:pt x="165444" y="377627"/>
                  </a:lnTo>
                  <a:lnTo>
                    <a:pt x="163263" y="376869"/>
                  </a:lnTo>
                  <a:lnTo>
                    <a:pt x="162284" y="376527"/>
                  </a:lnTo>
                  <a:lnTo>
                    <a:pt x="161401" y="376765"/>
                  </a:lnTo>
                  <a:lnTo>
                    <a:pt x="160032" y="377556"/>
                  </a:lnTo>
                  <a:lnTo>
                    <a:pt x="157570" y="377892"/>
                  </a:lnTo>
                  <a:lnTo>
                    <a:pt x="155644" y="377969"/>
                  </a:lnTo>
                  <a:lnTo>
                    <a:pt x="154276" y="377602"/>
                  </a:lnTo>
                  <a:lnTo>
                    <a:pt x="153046" y="376225"/>
                  </a:lnTo>
                  <a:lnTo>
                    <a:pt x="151055" y="375522"/>
                  </a:lnTo>
                  <a:lnTo>
                    <a:pt x="148866" y="374664"/>
                  </a:lnTo>
                  <a:lnTo>
                    <a:pt x="148405" y="372892"/>
                  </a:lnTo>
                  <a:lnTo>
                    <a:pt x="148722" y="371572"/>
                  </a:lnTo>
                  <a:lnTo>
                    <a:pt x="149575" y="369662"/>
                  </a:lnTo>
                  <a:lnTo>
                    <a:pt x="149101" y="367691"/>
                  </a:lnTo>
                  <a:lnTo>
                    <a:pt x="148182" y="364572"/>
                  </a:lnTo>
                  <a:lnTo>
                    <a:pt x="147788" y="363301"/>
                  </a:lnTo>
                  <a:lnTo>
                    <a:pt x="147104" y="362221"/>
                  </a:lnTo>
                  <a:lnTo>
                    <a:pt x="146027" y="361830"/>
                  </a:lnTo>
                  <a:lnTo>
                    <a:pt x="143921" y="362125"/>
                  </a:lnTo>
                  <a:lnTo>
                    <a:pt x="141619" y="360946"/>
                  </a:lnTo>
                  <a:lnTo>
                    <a:pt x="140199" y="359821"/>
                  </a:lnTo>
                  <a:lnTo>
                    <a:pt x="139465" y="358446"/>
                  </a:lnTo>
                  <a:lnTo>
                    <a:pt x="140249" y="355853"/>
                  </a:lnTo>
                  <a:lnTo>
                    <a:pt x="139563" y="353649"/>
                  </a:lnTo>
                  <a:lnTo>
                    <a:pt x="138191" y="352422"/>
                  </a:lnTo>
                  <a:lnTo>
                    <a:pt x="137309" y="350268"/>
                  </a:lnTo>
                  <a:lnTo>
                    <a:pt x="135939" y="348554"/>
                  </a:lnTo>
                  <a:lnTo>
                    <a:pt x="134127" y="347675"/>
                  </a:lnTo>
                  <a:lnTo>
                    <a:pt x="132317" y="347771"/>
                  </a:lnTo>
                  <a:lnTo>
                    <a:pt x="130896" y="347231"/>
                  </a:lnTo>
                  <a:lnTo>
                    <a:pt x="129279" y="345419"/>
                  </a:lnTo>
                  <a:lnTo>
                    <a:pt x="127761" y="344734"/>
                  </a:lnTo>
                  <a:lnTo>
                    <a:pt x="126048" y="342970"/>
                  </a:lnTo>
                  <a:lnTo>
                    <a:pt x="122844" y="342187"/>
                  </a:lnTo>
                  <a:lnTo>
                    <a:pt x="121180" y="341499"/>
                  </a:lnTo>
                  <a:lnTo>
                    <a:pt x="120228" y="340414"/>
                  </a:lnTo>
                  <a:lnTo>
                    <a:pt x="118947" y="338462"/>
                  </a:lnTo>
                  <a:lnTo>
                    <a:pt x="119095" y="337385"/>
                  </a:lnTo>
                  <a:lnTo>
                    <a:pt x="118472" y="336326"/>
                  </a:lnTo>
                  <a:lnTo>
                    <a:pt x="117921" y="334419"/>
                  </a:lnTo>
                  <a:lnTo>
                    <a:pt x="116831" y="331611"/>
                  </a:lnTo>
                  <a:lnTo>
                    <a:pt x="115632" y="330013"/>
                  </a:lnTo>
                  <a:lnTo>
                    <a:pt x="114397" y="328808"/>
                  </a:lnTo>
                  <a:lnTo>
                    <a:pt x="113352" y="327787"/>
                  </a:lnTo>
                  <a:lnTo>
                    <a:pt x="111798" y="326269"/>
                  </a:lnTo>
                  <a:lnTo>
                    <a:pt x="109889" y="325388"/>
                  </a:lnTo>
                  <a:lnTo>
                    <a:pt x="108273" y="324460"/>
                  </a:lnTo>
                  <a:lnTo>
                    <a:pt x="107637" y="323088"/>
                  </a:lnTo>
                  <a:lnTo>
                    <a:pt x="107097" y="321961"/>
                  </a:lnTo>
                  <a:lnTo>
                    <a:pt x="106191" y="322042"/>
                  </a:lnTo>
                  <a:lnTo>
                    <a:pt x="104889" y="321944"/>
                  </a:lnTo>
                  <a:lnTo>
                    <a:pt x="103457" y="321658"/>
                  </a:lnTo>
                  <a:lnTo>
                    <a:pt x="101944" y="320839"/>
                  </a:lnTo>
                  <a:lnTo>
                    <a:pt x="100683" y="319846"/>
                  </a:lnTo>
                  <a:lnTo>
                    <a:pt x="98562" y="318168"/>
                  </a:lnTo>
                  <a:lnTo>
                    <a:pt x="97403" y="317945"/>
                  </a:lnTo>
                  <a:lnTo>
                    <a:pt x="96375" y="317945"/>
                  </a:lnTo>
                  <a:lnTo>
                    <a:pt x="94857" y="319588"/>
                  </a:lnTo>
                  <a:lnTo>
                    <a:pt x="90305" y="317861"/>
                  </a:lnTo>
                  <a:lnTo>
                    <a:pt x="86417" y="315292"/>
                  </a:lnTo>
                  <a:lnTo>
                    <a:pt x="82377" y="314624"/>
                  </a:lnTo>
                  <a:lnTo>
                    <a:pt x="79763" y="313059"/>
                  </a:lnTo>
                  <a:lnTo>
                    <a:pt x="77352" y="310605"/>
                  </a:lnTo>
                  <a:lnTo>
                    <a:pt x="76051" y="308948"/>
                  </a:lnTo>
                  <a:lnTo>
                    <a:pt x="74992" y="308125"/>
                  </a:lnTo>
                  <a:lnTo>
                    <a:pt x="69853" y="305745"/>
                  </a:lnTo>
                  <a:lnTo>
                    <a:pt x="68827" y="305515"/>
                  </a:lnTo>
                  <a:lnTo>
                    <a:pt x="66871" y="306618"/>
                  </a:lnTo>
                  <a:lnTo>
                    <a:pt x="66232" y="307281"/>
                  </a:lnTo>
                  <a:lnTo>
                    <a:pt x="66115" y="309181"/>
                  </a:lnTo>
                  <a:lnTo>
                    <a:pt x="65879" y="310263"/>
                  </a:lnTo>
                  <a:lnTo>
                    <a:pt x="64172" y="310917"/>
                  </a:lnTo>
                  <a:lnTo>
                    <a:pt x="61423" y="310777"/>
                  </a:lnTo>
                  <a:lnTo>
                    <a:pt x="59509" y="310088"/>
                  </a:lnTo>
                  <a:lnTo>
                    <a:pt x="58229" y="309987"/>
                  </a:lnTo>
                  <a:lnTo>
                    <a:pt x="57968" y="310527"/>
                  </a:lnTo>
                  <a:lnTo>
                    <a:pt x="57248" y="310760"/>
                  </a:lnTo>
                  <a:lnTo>
                    <a:pt x="55685" y="310605"/>
                  </a:lnTo>
                  <a:lnTo>
                    <a:pt x="53383" y="310079"/>
                  </a:lnTo>
                  <a:lnTo>
                    <a:pt x="51296" y="309376"/>
                  </a:lnTo>
                  <a:lnTo>
                    <a:pt x="48464" y="307884"/>
                  </a:lnTo>
                  <a:lnTo>
                    <a:pt x="47156" y="308070"/>
                  </a:lnTo>
                  <a:lnTo>
                    <a:pt x="43937" y="307748"/>
                  </a:lnTo>
                  <a:lnTo>
                    <a:pt x="41308" y="306899"/>
                  </a:lnTo>
                  <a:lnTo>
                    <a:pt x="40638" y="306114"/>
                  </a:lnTo>
                  <a:lnTo>
                    <a:pt x="39499" y="300747"/>
                  </a:lnTo>
                  <a:lnTo>
                    <a:pt x="39152" y="300375"/>
                  </a:lnTo>
                  <a:lnTo>
                    <a:pt x="38017" y="300142"/>
                  </a:lnTo>
                  <a:lnTo>
                    <a:pt x="36110" y="299404"/>
                  </a:lnTo>
                  <a:lnTo>
                    <a:pt x="34911" y="298538"/>
                  </a:lnTo>
                  <a:lnTo>
                    <a:pt x="34288" y="297052"/>
                  </a:lnTo>
                  <a:lnTo>
                    <a:pt x="33535" y="295641"/>
                  </a:lnTo>
                  <a:lnTo>
                    <a:pt x="30324" y="295958"/>
                  </a:lnTo>
                  <a:lnTo>
                    <a:pt x="25063" y="294098"/>
                  </a:lnTo>
                  <a:lnTo>
                    <a:pt x="21421" y="292327"/>
                  </a:lnTo>
                  <a:lnTo>
                    <a:pt x="18087" y="290361"/>
                  </a:lnTo>
                  <a:lnTo>
                    <a:pt x="13032" y="286487"/>
                  </a:lnTo>
                  <a:lnTo>
                    <a:pt x="11100" y="285527"/>
                  </a:lnTo>
                  <a:lnTo>
                    <a:pt x="8718" y="284342"/>
                  </a:lnTo>
                  <a:lnTo>
                    <a:pt x="7311" y="282434"/>
                  </a:lnTo>
                  <a:lnTo>
                    <a:pt x="4985" y="280507"/>
                  </a:lnTo>
                  <a:lnTo>
                    <a:pt x="4203" y="279982"/>
                  </a:lnTo>
                  <a:lnTo>
                    <a:pt x="3473" y="278239"/>
                  </a:lnTo>
                  <a:lnTo>
                    <a:pt x="0" y="275713"/>
                  </a:lnTo>
                  <a:lnTo>
                    <a:pt x="1718" y="272454"/>
                  </a:lnTo>
                  <a:lnTo>
                    <a:pt x="5894" y="270005"/>
                  </a:lnTo>
                  <a:lnTo>
                    <a:pt x="11373" y="271905"/>
                  </a:lnTo>
                  <a:lnTo>
                    <a:pt x="12044" y="268105"/>
                  </a:lnTo>
                  <a:lnTo>
                    <a:pt x="10062" y="264741"/>
                  </a:lnTo>
                  <a:lnTo>
                    <a:pt x="10355" y="258385"/>
                  </a:lnTo>
                  <a:lnTo>
                    <a:pt x="10998" y="257120"/>
                  </a:lnTo>
                  <a:lnTo>
                    <a:pt x="12443" y="255419"/>
                  </a:lnTo>
                  <a:lnTo>
                    <a:pt x="14326" y="254243"/>
                  </a:lnTo>
                  <a:lnTo>
                    <a:pt x="15430" y="253902"/>
                  </a:lnTo>
                  <a:lnTo>
                    <a:pt x="17308" y="254485"/>
                  </a:lnTo>
                  <a:lnTo>
                    <a:pt x="18492" y="253216"/>
                  </a:lnTo>
                  <a:lnTo>
                    <a:pt x="22959" y="253783"/>
                  </a:lnTo>
                  <a:lnTo>
                    <a:pt x="24312" y="253252"/>
                  </a:lnTo>
                  <a:lnTo>
                    <a:pt x="25236" y="252391"/>
                  </a:lnTo>
                  <a:lnTo>
                    <a:pt x="26325" y="251732"/>
                  </a:lnTo>
                  <a:lnTo>
                    <a:pt x="27719" y="250204"/>
                  </a:lnTo>
                  <a:lnTo>
                    <a:pt x="28517" y="248438"/>
                  </a:lnTo>
                  <a:lnTo>
                    <a:pt x="29183" y="247752"/>
                  </a:lnTo>
                  <a:lnTo>
                    <a:pt x="30728" y="247994"/>
                  </a:lnTo>
                  <a:lnTo>
                    <a:pt x="30871" y="247232"/>
                  </a:lnTo>
                  <a:lnTo>
                    <a:pt x="31665" y="246194"/>
                  </a:lnTo>
                  <a:lnTo>
                    <a:pt x="34369" y="243869"/>
                  </a:lnTo>
                  <a:lnTo>
                    <a:pt x="34341" y="242843"/>
                  </a:lnTo>
                  <a:lnTo>
                    <a:pt x="33583" y="240604"/>
                  </a:lnTo>
                  <a:lnTo>
                    <a:pt x="33769" y="239781"/>
                  </a:lnTo>
                  <a:lnTo>
                    <a:pt x="35332" y="239497"/>
                  </a:lnTo>
                  <a:lnTo>
                    <a:pt x="37180" y="238867"/>
                  </a:lnTo>
                  <a:lnTo>
                    <a:pt x="38165" y="236729"/>
                  </a:lnTo>
                  <a:lnTo>
                    <a:pt x="39384" y="234862"/>
                  </a:lnTo>
                  <a:lnTo>
                    <a:pt x="40781" y="232120"/>
                  </a:lnTo>
                  <a:lnTo>
                    <a:pt x="42316" y="231948"/>
                  </a:lnTo>
                  <a:lnTo>
                    <a:pt x="43132" y="228745"/>
                  </a:lnTo>
                  <a:lnTo>
                    <a:pt x="45202" y="225938"/>
                  </a:lnTo>
                  <a:lnTo>
                    <a:pt x="49410" y="217611"/>
                  </a:lnTo>
                  <a:lnTo>
                    <a:pt x="48142" y="217794"/>
                  </a:lnTo>
                  <a:lnTo>
                    <a:pt x="47134" y="218906"/>
                  </a:lnTo>
                  <a:lnTo>
                    <a:pt x="45981" y="218776"/>
                  </a:lnTo>
                  <a:lnTo>
                    <a:pt x="44675" y="218121"/>
                  </a:lnTo>
                  <a:lnTo>
                    <a:pt x="45059" y="214369"/>
                  </a:lnTo>
                  <a:lnTo>
                    <a:pt x="44308" y="213923"/>
                  </a:lnTo>
                  <a:lnTo>
                    <a:pt x="42275" y="216813"/>
                  </a:lnTo>
                  <a:lnTo>
                    <a:pt x="40523" y="213874"/>
                  </a:lnTo>
                  <a:lnTo>
                    <a:pt x="40365" y="212082"/>
                  </a:lnTo>
                  <a:lnTo>
                    <a:pt x="41101" y="210310"/>
                  </a:lnTo>
                  <a:lnTo>
                    <a:pt x="40993" y="209116"/>
                  </a:lnTo>
                  <a:lnTo>
                    <a:pt x="38154" y="210004"/>
                  </a:lnTo>
                  <a:lnTo>
                    <a:pt x="38286" y="208899"/>
                  </a:lnTo>
                  <a:lnTo>
                    <a:pt x="40053" y="207763"/>
                  </a:lnTo>
                  <a:lnTo>
                    <a:pt x="40853" y="206579"/>
                  </a:lnTo>
                  <a:lnTo>
                    <a:pt x="42394" y="205293"/>
                  </a:lnTo>
                  <a:lnTo>
                    <a:pt x="43033" y="203343"/>
                  </a:lnTo>
                  <a:lnTo>
                    <a:pt x="43404" y="200324"/>
                  </a:lnTo>
                  <a:lnTo>
                    <a:pt x="44097" y="197074"/>
                  </a:lnTo>
                  <a:lnTo>
                    <a:pt x="43585" y="195474"/>
                  </a:lnTo>
                  <a:lnTo>
                    <a:pt x="42750" y="194106"/>
                  </a:lnTo>
                  <a:lnTo>
                    <a:pt x="42058" y="188056"/>
                  </a:lnTo>
                  <a:lnTo>
                    <a:pt x="42250" y="184532"/>
                  </a:lnTo>
                  <a:lnTo>
                    <a:pt x="41892" y="181765"/>
                  </a:lnTo>
                  <a:lnTo>
                    <a:pt x="41171" y="179422"/>
                  </a:lnTo>
                  <a:lnTo>
                    <a:pt x="37806" y="176346"/>
                  </a:lnTo>
                  <a:lnTo>
                    <a:pt x="43127" y="172822"/>
                  </a:lnTo>
                  <a:lnTo>
                    <a:pt x="45038" y="170163"/>
                  </a:lnTo>
                  <a:lnTo>
                    <a:pt x="42618" y="164688"/>
                  </a:lnTo>
                  <a:lnTo>
                    <a:pt x="39454" y="160073"/>
                  </a:lnTo>
                  <a:lnTo>
                    <a:pt x="39363" y="157301"/>
                  </a:lnTo>
                  <a:lnTo>
                    <a:pt x="40198" y="157656"/>
                  </a:lnTo>
                  <a:lnTo>
                    <a:pt x="41259" y="157572"/>
                  </a:lnTo>
                  <a:lnTo>
                    <a:pt x="42233" y="151729"/>
                  </a:lnTo>
                  <a:lnTo>
                    <a:pt x="42007" y="149919"/>
                  </a:lnTo>
                  <a:lnTo>
                    <a:pt x="40229" y="146997"/>
                  </a:lnTo>
                  <a:lnTo>
                    <a:pt x="38021" y="146927"/>
                  </a:lnTo>
                  <a:lnTo>
                    <a:pt x="36090" y="143254"/>
                  </a:lnTo>
                  <a:lnTo>
                    <a:pt x="34981" y="142431"/>
                  </a:lnTo>
                  <a:lnTo>
                    <a:pt x="34091" y="140118"/>
                  </a:lnTo>
                  <a:lnTo>
                    <a:pt x="30979" y="135612"/>
                  </a:lnTo>
                  <a:lnTo>
                    <a:pt x="28508" y="133265"/>
                  </a:lnTo>
                  <a:lnTo>
                    <a:pt x="30355" y="127824"/>
                  </a:lnTo>
                  <a:lnTo>
                    <a:pt x="31967" y="126781"/>
                  </a:lnTo>
                  <a:lnTo>
                    <a:pt x="32495" y="125424"/>
                  </a:lnTo>
                  <a:lnTo>
                    <a:pt x="31865" y="122080"/>
                  </a:lnTo>
                  <a:lnTo>
                    <a:pt x="32038" y="121296"/>
                  </a:lnTo>
                  <a:lnTo>
                    <a:pt x="32418" y="120963"/>
                  </a:lnTo>
                  <a:lnTo>
                    <a:pt x="32796" y="120987"/>
                  </a:lnTo>
                  <a:lnTo>
                    <a:pt x="33448" y="121490"/>
                  </a:lnTo>
                  <a:lnTo>
                    <a:pt x="34659" y="122933"/>
                  </a:lnTo>
                  <a:lnTo>
                    <a:pt x="35672" y="124720"/>
                  </a:lnTo>
                  <a:lnTo>
                    <a:pt x="36484" y="125268"/>
                  </a:lnTo>
                  <a:lnTo>
                    <a:pt x="37709" y="124676"/>
                  </a:lnTo>
                  <a:lnTo>
                    <a:pt x="42463" y="121117"/>
                  </a:lnTo>
                  <a:lnTo>
                    <a:pt x="42159" y="120015"/>
                  </a:lnTo>
                  <a:lnTo>
                    <a:pt x="42595" y="117784"/>
                  </a:lnTo>
                  <a:lnTo>
                    <a:pt x="44183" y="115956"/>
                  </a:lnTo>
                  <a:lnTo>
                    <a:pt x="45882" y="115335"/>
                  </a:lnTo>
                  <a:lnTo>
                    <a:pt x="46387" y="114315"/>
                  </a:lnTo>
                  <a:lnTo>
                    <a:pt x="45974" y="112748"/>
                  </a:lnTo>
                  <a:lnTo>
                    <a:pt x="44191" y="108840"/>
                  </a:lnTo>
                  <a:lnTo>
                    <a:pt x="42597" y="106734"/>
                  </a:lnTo>
                  <a:lnTo>
                    <a:pt x="41573" y="104638"/>
                  </a:lnTo>
                  <a:lnTo>
                    <a:pt x="41031" y="102708"/>
                  </a:lnTo>
                  <a:lnTo>
                    <a:pt x="39225" y="100890"/>
                  </a:lnTo>
                  <a:lnTo>
                    <a:pt x="39990" y="99168"/>
                  </a:lnTo>
                  <a:lnTo>
                    <a:pt x="41391" y="97155"/>
                  </a:lnTo>
                  <a:lnTo>
                    <a:pt x="41869" y="96807"/>
                  </a:lnTo>
                  <a:lnTo>
                    <a:pt x="42632" y="97358"/>
                  </a:lnTo>
                  <a:lnTo>
                    <a:pt x="44726" y="101011"/>
                  </a:lnTo>
                  <a:lnTo>
                    <a:pt x="48058" y="103388"/>
                  </a:lnTo>
                  <a:lnTo>
                    <a:pt x="51553" y="107224"/>
                  </a:lnTo>
                  <a:lnTo>
                    <a:pt x="52984" y="109866"/>
                  </a:lnTo>
                  <a:lnTo>
                    <a:pt x="54122" y="110347"/>
                  </a:lnTo>
                  <a:lnTo>
                    <a:pt x="55114" y="111304"/>
                  </a:lnTo>
                  <a:lnTo>
                    <a:pt x="54677" y="112013"/>
                  </a:lnTo>
                  <a:lnTo>
                    <a:pt x="53584" y="112760"/>
                  </a:lnTo>
                  <a:lnTo>
                    <a:pt x="53268" y="114297"/>
                  </a:lnTo>
                  <a:lnTo>
                    <a:pt x="53979" y="115157"/>
                  </a:lnTo>
                  <a:lnTo>
                    <a:pt x="54733" y="115706"/>
                  </a:lnTo>
                  <a:lnTo>
                    <a:pt x="56770" y="115359"/>
                  </a:lnTo>
                  <a:lnTo>
                    <a:pt x="57891" y="113559"/>
                  </a:lnTo>
                  <a:lnTo>
                    <a:pt x="57137" y="105688"/>
                  </a:lnTo>
                  <a:lnTo>
                    <a:pt x="55957" y="101752"/>
                  </a:lnTo>
                  <a:lnTo>
                    <a:pt x="54598" y="100525"/>
                  </a:lnTo>
                  <a:lnTo>
                    <a:pt x="53374" y="98967"/>
                  </a:lnTo>
                  <a:lnTo>
                    <a:pt x="54198" y="97789"/>
                  </a:lnTo>
                  <a:lnTo>
                    <a:pt x="56372" y="97257"/>
                  </a:lnTo>
                  <a:lnTo>
                    <a:pt x="59234" y="95876"/>
                  </a:lnTo>
                  <a:lnTo>
                    <a:pt x="69694" y="88355"/>
                  </a:lnTo>
                  <a:lnTo>
                    <a:pt x="73278" y="81287"/>
                  </a:lnTo>
                  <a:lnTo>
                    <a:pt x="76023" y="78725"/>
                  </a:lnTo>
                  <a:lnTo>
                    <a:pt x="79123" y="77060"/>
                  </a:lnTo>
                  <a:lnTo>
                    <a:pt x="82911" y="77451"/>
                  </a:lnTo>
                  <a:lnTo>
                    <a:pt x="85859" y="76560"/>
                  </a:lnTo>
                  <a:lnTo>
                    <a:pt x="86764" y="74308"/>
                  </a:lnTo>
                  <a:lnTo>
                    <a:pt x="85961" y="71254"/>
                  </a:lnTo>
                  <a:lnTo>
                    <a:pt x="84828" y="69412"/>
                  </a:lnTo>
                  <a:lnTo>
                    <a:pt x="85916" y="66738"/>
                  </a:lnTo>
                  <a:lnTo>
                    <a:pt x="87042" y="62681"/>
                  </a:lnTo>
                  <a:lnTo>
                    <a:pt x="86961" y="59273"/>
                  </a:lnTo>
                  <a:lnTo>
                    <a:pt x="88415" y="57241"/>
                  </a:lnTo>
                  <a:lnTo>
                    <a:pt x="87911" y="56441"/>
                  </a:lnTo>
                  <a:lnTo>
                    <a:pt x="85787" y="58086"/>
                  </a:lnTo>
                  <a:lnTo>
                    <a:pt x="84110" y="58823"/>
                  </a:lnTo>
                  <a:lnTo>
                    <a:pt x="85059" y="57467"/>
                  </a:lnTo>
                  <a:lnTo>
                    <a:pt x="88030" y="54101"/>
                  </a:lnTo>
                  <a:lnTo>
                    <a:pt x="89575" y="48978"/>
                  </a:lnTo>
                  <a:lnTo>
                    <a:pt x="90762" y="46844"/>
                  </a:lnTo>
                  <a:lnTo>
                    <a:pt x="94955" y="43861"/>
                  </a:lnTo>
                  <a:lnTo>
                    <a:pt x="95783" y="42424"/>
                  </a:lnTo>
                  <a:lnTo>
                    <a:pt x="98951" y="40188"/>
                  </a:lnTo>
                  <a:lnTo>
                    <a:pt x="104059" y="35387"/>
                  </a:lnTo>
                  <a:lnTo>
                    <a:pt x="106011" y="34049"/>
                  </a:lnTo>
                  <a:lnTo>
                    <a:pt x="115908" y="37145"/>
                  </a:lnTo>
                  <a:lnTo>
                    <a:pt x="119054" y="36949"/>
                  </a:lnTo>
                  <a:lnTo>
                    <a:pt x="118492" y="37514"/>
                  </a:lnTo>
                  <a:lnTo>
                    <a:pt x="117041" y="37705"/>
                  </a:lnTo>
                  <a:lnTo>
                    <a:pt x="114944" y="38545"/>
                  </a:lnTo>
                  <a:lnTo>
                    <a:pt x="114336" y="40391"/>
                  </a:lnTo>
                  <a:lnTo>
                    <a:pt x="115757" y="42327"/>
                  </a:lnTo>
                  <a:lnTo>
                    <a:pt x="117263" y="42886"/>
                  </a:lnTo>
                  <a:lnTo>
                    <a:pt x="118547" y="41643"/>
                  </a:lnTo>
                  <a:lnTo>
                    <a:pt x="119821" y="38088"/>
                  </a:lnTo>
                  <a:lnTo>
                    <a:pt x="121870" y="34161"/>
                  </a:lnTo>
                  <a:lnTo>
                    <a:pt x="122351" y="30044"/>
                  </a:lnTo>
                  <a:lnTo>
                    <a:pt x="123802" y="28628"/>
                  </a:lnTo>
                  <a:lnTo>
                    <a:pt x="125927" y="28121"/>
                  </a:lnTo>
                  <a:lnTo>
                    <a:pt x="129719" y="28935"/>
                  </a:lnTo>
                  <a:lnTo>
                    <a:pt x="132607" y="29789"/>
                  </a:lnTo>
                  <a:lnTo>
                    <a:pt x="135619" y="29896"/>
                  </a:lnTo>
                  <a:lnTo>
                    <a:pt x="144838" y="29273"/>
                  </a:lnTo>
                  <a:lnTo>
                    <a:pt x="159837" y="18576"/>
                  </a:lnTo>
                  <a:lnTo>
                    <a:pt x="166804" y="16276"/>
                  </a:lnTo>
                  <a:lnTo>
                    <a:pt x="171166" y="14025"/>
                  </a:lnTo>
                  <a:lnTo>
                    <a:pt x="173949" y="9628"/>
                  </a:lnTo>
                  <a:lnTo>
                    <a:pt x="174697" y="6327"/>
                  </a:lnTo>
                  <a:lnTo>
                    <a:pt x="176743" y="5044"/>
                  </a:lnTo>
                  <a:lnTo>
                    <a:pt x="178898" y="5047"/>
                  </a:lnTo>
                  <a:lnTo>
                    <a:pt x="179883" y="4243"/>
                  </a:lnTo>
                  <a:lnTo>
                    <a:pt x="180190" y="3226"/>
                  </a:lnTo>
                  <a:lnTo>
                    <a:pt x="185378" y="372"/>
                  </a:lnTo>
                  <a:close/>
                </a:path>
              </a:pathLst>
            </a:custGeom>
            <a:solidFill>
              <a:srgbClr val="007CBC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49" name="ee4p_CR_1_82333">
              <a:extLst>
                <a:ext uri="{FF2B5EF4-FFF2-40B4-BE49-F238E27FC236}">
                  <a16:creationId xmlns:a16="http://schemas.microsoft.com/office/drawing/2014/main" id="{37B43C12-50EC-E01C-012C-A196B661C4B4}"/>
                </a:ext>
              </a:extLst>
            </p:cNvPr>
            <p:cNvSpPr>
              <a:spLocks noChangeAspect="1"/>
            </p:cNvSpPr>
            <p:nvPr>
              <p:custDataLst>
                <p:tags r:id="rId177"/>
              </p:custDataLst>
            </p:nvPr>
          </p:nvSpPr>
          <p:spPr>
            <a:xfrm>
              <a:off x="4129093" y="4355293"/>
              <a:ext cx="92873" cy="89784"/>
            </a:xfrm>
            <a:custGeom>
              <a:avLst/>
              <a:gdLst/>
              <a:ahLst/>
              <a:cxnLst/>
              <a:rect l="0" t="0" r="0" b="0"/>
              <a:pathLst>
                <a:path w="73953" h="69598">
                  <a:moveTo>
                    <a:pt x="50106" y="6092"/>
                  </a:moveTo>
                  <a:lnTo>
                    <a:pt x="50652" y="6981"/>
                  </a:lnTo>
                  <a:lnTo>
                    <a:pt x="51296" y="8379"/>
                  </a:lnTo>
                  <a:lnTo>
                    <a:pt x="51581" y="10174"/>
                  </a:lnTo>
                  <a:lnTo>
                    <a:pt x="54390" y="16184"/>
                  </a:lnTo>
                  <a:lnTo>
                    <a:pt x="56633" y="19548"/>
                  </a:lnTo>
                  <a:lnTo>
                    <a:pt x="61546" y="25663"/>
                  </a:lnTo>
                  <a:lnTo>
                    <a:pt x="63671" y="26787"/>
                  </a:lnTo>
                  <a:lnTo>
                    <a:pt x="67258" y="31706"/>
                  </a:lnTo>
                  <a:lnTo>
                    <a:pt x="68496" y="32518"/>
                  </a:lnTo>
                  <a:lnTo>
                    <a:pt x="69201" y="33969"/>
                  </a:lnTo>
                  <a:lnTo>
                    <a:pt x="72922" y="35163"/>
                  </a:lnTo>
                  <a:lnTo>
                    <a:pt x="73952" y="36041"/>
                  </a:lnTo>
                  <a:lnTo>
                    <a:pt x="73827" y="36453"/>
                  </a:lnTo>
                  <a:lnTo>
                    <a:pt x="73445" y="36886"/>
                  </a:lnTo>
                  <a:lnTo>
                    <a:pt x="72897" y="37322"/>
                  </a:lnTo>
                  <a:lnTo>
                    <a:pt x="72172" y="37621"/>
                  </a:lnTo>
                  <a:lnTo>
                    <a:pt x="70418" y="36723"/>
                  </a:lnTo>
                  <a:lnTo>
                    <a:pt x="68701" y="35704"/>
                  </a:lnTo>
                  <a:lnTo>
                    <a:pt x="67752" y="36172"/>
                  </a:lnTo>
                  <a:lnTo>
                    <a:pt x="67394" y="37496"/>
                  </a:lnTo>
                  <a:lnTo>
                    <a:pt x="66757" y="38175"/>
                  </a:lnTo>
                  <a:lnTo>
                    <a:pt x="65959" y="38442"/>
                  </a:lnTo>
                  <a:lnTo>
                    <a:pt x="65632" y="38886"/>
                  </a:lnTo>
                  <a:lnTo>
                    <a:pt x="65566" y="43352"/>
                  </a:lnTo>
                  <a:lnTo>
                    <a:pt x="65621" y="47561"/>
                  </a:lnTo>
                  <a:lnTo>
                    <a:pt x="66925" y="47656"/>
                  </a:lnTo>
                  <a:lnTo>
                    <a:pt x="69099" y="49117"/>
                  </a:lnTo>
                  <a:lnTo>
                    <a:pt x="70025" y="49977"/>
                  </a:lnTo>
                  <a:lnTo>
                    <a:pt x="70320" y="50771"/>
                  </a:lnTo>
                  <a:lnTo>
                    <a:pt x="70051" y="51161"/>
                  </a:lnTo>
                  <a:lnTo>
                    <a:pt x="68461" y="52078"/>
                  </a:lnTo>
                  <a:lnTo>
                    <a:pt x="66911" y="53238"/>
                  </a:lnTo>
                  <a:lnTo>
                    <a:pt x="66136" y="54686"/>
                  </a:lnTo>
                  <a:lnTo>
                    <a:pt x="67492" y="57026"/>
                  </a:lnTo>
                  <a:lnTo>
                    <a:pt x="67782" y="58615"/>
                  </a:lnTo>
                  <a:lnTo>
                    <a:pt x="67734" y="60276"/>
                  </a:lnTo>
                  <a:lnTo>
                    <a:pt x="67362" y="61074"/>
                  </a:lnTo>
                  <a:lnTo>
                    <a:pt x="64356" y="62984"/>
                  </a:lnTo>
                  <a:lnTo>
                    <a:pt x="63697" y="63652"/>
                  </a:lnTo>
                  <a:lnTo>
                    <a:pt x="63785" y="64136"/>
                  </a:lnTo>
                  <a:lnTo>
                    <a:pt x="65442" y="65453"/>
                  </a:lnTo>
                  <a:lnTo>
                    <a:pt x="66228" y="66727"/>
                  </a:lnTo>
                  <a:lnTo>
                    <a:pt x="66882" y="68264"/>
                  </a:lnTo>
                  <a:lnTo>
                    <a:pt x="66970" y="69597"/>
                  </a:lnTo>
                  <a:lnTo>
                    <a:pt x="65468" y="67125"/>
                  </a:lnTo>
                  <a:lnTo>
                    <a:pt x="63385" y="64765"/>
                  </a:lnTo>
                  <a:lnTo>
                    <a:pt x="61575" y="63311"/>
                  </a:lnTo>
                  <a:lnTo>
                    <a:pt x="61436" y="59918"/>
                  </a:lnTo>
                  <a:lnTo>
                    <a:pt x="60711" y="58076"/>
                  </a:lnTo>
                  <a:lnTo>
                    <a:pt x="57982" y="56379"/>
                  </a:lnTo>
                  <a:lnTo>
                    <a:pt x="55647" y="55190"/>
                  </a:lnTo>
                  <a:lnTo>
                    <a:pt x="53915" y="55433"/>
                  </a:lnTo>
                  <a:lnTo>
                    <a:pt x="54975" y="57384"/>
                  </a:lnTo>
                  <a:lnTo>
                    <a:pt x="57718" y="59886"/>
                  </a:lnTo>
                  <a:lnTo>
                    <a:pt x="57899" y="60845"/>
                  </a:lnTo>
                  <a:lnTo>
                    <a:pt x="57856" y="62133"/>
                  </a:lnTo>
                  <a:lnTo>
                    <a:pt x="55970" y="61934"/>
                  </a:lnTo>
                  <a:lnTo>
                    <a:pt x="54306" y="61409"/>
                  </a:lnTo>
                  <a:lnTo>
                    <a:pt x="52278" y="61245"/>
                  </a:lnTo>
                  <a:lnTo>
                    <a:pt x="50930" y="60478"/>
                  </a:lnTo>
                  <a:lnTo>
                    <a:pt x="48070" y="57491"/>
                  </a:lnTo>
                  <a:lnTo>
                    <a:pt x="50102" y="54941"/>
                  </a:lnTo>
                  <a:lnTo>
                    <a:pt x="50731" y="53267"/>
                  </a:lnTo>
                  <a:lnTo>
                    <a:pt x="50677" y="49796"/>
                  </a:lnTo>
                  <a:lnTo>
                    <a:pt x="50211" y="48112"/>
                  </a:lnTo>
                  <a:lnTo>
                    <a:pt x="48007" y="45550"/>
                  </a:lnTo>
                  <a:lnTo>
                    <a:pt x="44499" y="42738"/>
                  </a:lnTo>
                  <a:lnTo>
                    <a:pt x="39583" y="40440"/>
                  </a:lnTo>
                  <a:lnTo>
                    <a:pt x="37273" y="38588"/>
                  </a:lnTo>
                  <a:lnTo>
                    <a:pt x="31517" y="37168"/>
                  </a:lnTo>
                  <a:lnTo>
                    <a:pt x="29330" y="36226"/>
                  </a:lnTo>
                  <a:lnTo>
                    <a:pt x="27620" y="34479"/>
                  </a:lnTo>
                  <a:lnTo>
                    <a:pt x="27364" y="33225"/>
                  </a:lnTo>
                  <a:lnTo>
                    <a:pt x="27970" y="31294"/>
                  </a:lnTo>
                  <a:lnTo>
                    <a:pt x="26381" y="28838"/>
                  </a:lnTo>
                  <a:lnTo>
                    <a:pt x="19524" y="24008"/>
                  </a:lnTo>
                  <a:lnTo>
                    <a:pt x="15690" y="22230"/>
                  </a:lnTo>
                  <a:lnTo>
                    <a:pt x="14867" y="21185"/>
                  </a:lnTo>
                  <a:lnTo>
                    <a:pt x="14258" y="20860"/>
                  </a:lnTo>
                  <a:lnTo>
                    <a:pt x="14847" y="24194"/>
                  </a:lnTo>
                  <a:lnTo>
                    <a:pt x="16523" y="26203"/>
                  </a:lnTo>
                  <a:lnTo>
                    <a:pt x="20900" y="28078"/>
                  </a:lnTo>
                  <a:lnTo>
                    <a:pt x="22104" y="29169"/>
                  </a:lnTo>
                  <a:lnTo>
                    <a:pt x="22589" y="30589"/>
                  </a:lnTo>
                  <a:lnTo>
                    <a:pt x="20050" y="33305"/>
                  </a:lnTo>
                  <a:lnTo>
                    <a:pt x="18757" y="33996"/>
                  </a:lnTo>
                  <a:lnTo>
                    <a:pt x="18374" y="35477"/>
                  </a:lnTo>
                  <a:lnTo>
                    <a:pt x="17546" y="35927"/>
                  </a:lnTo>
                  <a:lnTo>
                    <a:pt x="16672" y="35073"/>
                  </a:lnTo>
                  <a:lnTo>
                    <a:pt x="13122" y="30813"/>
                  </a:lnTo>
                  <a:lnTo>
                    <a:pt x="6261" y="28770"/>
                  </a:lnTo>
                  <a:lnTo>
                    <a:pt x="5019" y="27517"/>
                  </a:lnTo>
                  <a:lnTo>
                    <a:pt x="2466" y="23625"/>
                  </a:lnTo>
                  <a:lnTo>
                    <a:pt x="1290" y="20069"/>
                  </a:lnTo>
                  <a:lnTo>
                    <a:pt x="1711" y="17698"/>
                  </a:lnTo>
                  <a:lnTo>
                    <a:pt x="4530" y="14003"/>
                  </a:lnTo>
                  <a:lnTo>
                    <a:pt x="5410" y="12394"/>
                  </a:lnTo>
                  <a:lnTo>
                    <a:pt x="5231" y="11403"/>
                  </a:lnTo>
                  <a:lnTo>
                    <a:pt x="5324" y="9944"/>
                  </a:lnTo>
                  <a:lnTo>
                    <a:pt x="4271" y="8925"/>
                  </a:lnTo>
                  <a:lnTo>
                    <a:pt x="1661" y="7597"/>
                  </a:lnTo>
                  <a:lnTo>
                    <a:pt x="0" y="6532"/>
                  </a:lnTo>
                  <a:lnTo>
                    <a:pt x="455" y="6001"/>
                  </a:lnTo>
                  <a:lnTo>
                    <a:pt x="3444" y="4570"/>
                  </a:lnTo>
                  <a:lnTo>
                    <a:pt x="3633" y="3279"/>
                  </a:lnTo>
                  <a:lnTo>
                    <a:pt x="3619" y="2850"/>
                  </a:lnTo>
                  <a:lnTo>
                    <a:pt x="4107" y="2757"/>
                  </a:lnTo>
                  <a:lnTo>
                    <a:pt x="4541" y="2415"/>
                  </a:lnTo>
                  <a:lnTo>
                    <a:pt x="4808" y="2059"/>
                  </a:lnTo>
                  <a:lnTo>
                    <a:pt x="5624" y="814"/>
                  </a:lnTo>
                  <a:lnTo>
                    <a:pt x="6337" y="112"/>
                  </a:lnTo>
                  <a:lnTo>
                    <a:pt x="7160" y="0"/>
                  </a:lnTo>
                  <a:lnTo>
                    <a:pt x="8165" y="518"/>
                  </a:lnTo>
                  <a:lnTo>
                    <a:pt x="11932" y="1858"/>
                  </a:lnTo>
                  <a:lnTo>
                    <a:pt x="16121" y="3346"/>
                  </a:lnTo>
                  <a:lnTo>
                    <a:pt x="22086" y="5464"/>
                  </a:lnTo>
                  <a:lnTo>
                    <a:pt x="24558" y="4108"/>
                  </a:lnTo>
                  <a:lnTo>
                    <a:pt x="26685" y="3072"/>
                  </a:lnTo>
                  <a:lnTo>
                    <a:pt x="28167" y="3219"/>
                  </a:lnTo>
                  <a:lnTo>
                    <a:pt x="31373" y="4427"/>
                  </a:lnTo>
                  <a:lnTo>
                    <a:pt x="33304" y="4812"/>
                  </a:lnTo>
                  <a:lnTo>
                    <a:pt x="34488" y="4690"/>
                  </a:lnTo>
                  <a:lnTo>
                    <a:pt x="36539" y="6461"/>
                  </a:lnTo>
                  <a:lnTo>
                    <a:pt x="37657" y="7790"/>
                  </a:lnTo>
                  <a:lnTo>
                    <a:pt x="37843" y="8676"/>
                  </a:lnTo>
                  <a:lnTo>
                    <a:pt x="38467" y="9153"/>
                  </a:lnTo>
                  <a:lnTo>
                    <a:pt x="40063" y="9258"/>
                  </a:lnTo>
                  <a:lnTo>
                    <a:pt x="43974" y="10160"/>
                  </a:lnTo>
                  <a:lnTo>
                    <a:pt x="46365" y="9983"/>
                  </a:lnTo>
                  <a:lnTo>
                    <a:pt x="48537" y="9030"/>
                  </a:lnTo>
                  <a:lnTo>
                    <a:pt x="49731" y="7890"/>
                  </a:lnTo>
                  <a:close/>
                </a:path>
              </a:pathLst>
            </a:custGeom>
            <a:solidFill>
              <a:srgbClr val="007CBC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50" name="ee4p_CU_1_82333">
              <a:extLst>
                <a:ext uri="{FF2B5EF4-FFF2-40B4-BE49-F238E27FC236}">
                  <a16:creationId xmlns:a16="http://schemas.microsoft.com/office/drawing/2014/main" id="{33CF20C2-F99D-F0AE-A48C-D34568715C70}"/>
                </a:ext>
              </a:extLst>
            </p:cNvPr>
            <p:cNvSpPr>
              <a:spLocks noChangeAspect="1"/>
            </p:cNvSpPr>
            <p:nvPr>
              <p:custDataLst>
                <p:tags r:id="rId178"/>
              </p:custDataLst>
            </p:nvPr>
          </p:nvSpPr>
          <p:spPr>
            <a:xfrm>
              <a:off x="4157438" y="4002395"/>
              <a:ext cx="298530" cy="99604"/>
            </a:xfrm>
            <a:custGeom>
              <a:avLst/>
              <a:gdLst>
                <a:gd name="connsiteX0" fmla="*/ 48076 w 272590"/>
                <a:gd name="connsiteY0" fmla="*/ 33276 h 88539"/>
                <a:gd name="connsiteX1" fmla="*/ 54046 w 272590"/>
                <a:gd name="connsiteY1" fmla="*/ 34159 h 88539"/>
                <a:gd name="connsiteX2" fmla="*/ 55092 w 272590"/>
                <a:gd name="connsiteY2" fmla="*/ 34672 h 88539"/>
                <a:gd name="connsiteX3" fmla="*/ 55921 w 272590"/>
                <a:gd name="connsiteY3" fmla="*/ 36510 h 88539"/>
                <a:gd name="connsiteX4" fmla="*/ 57251 w 272590"/>
                <a:gd name="connsiteY4" fmla="*/ 37951 h 88539"/>
                <a:gd name="connsiteX5" fmla="*/ 58811 w 272590"/>
                <a:gd name="connsiteY5" fmla="*/ 41805 h 88539"/>
                <a:gd name="connsiteX6" fmla="*/ 58965 w 272590"/>
                <a:gd name="connsiteY6" fmla="*/ 43137 h 88539"/>
                <a:gd name="connsiteX7" fmla="*/ 56605 w 272590"/>
                <a:gd name="connsiteY7" fmla="*/ 44544 h 88539"/>
                <a:gd name="connsiteX8" fmla="*/ 51576 w 272590"/>
                <a:gd name="connsiteY8" fmla="*/ 46529 h 88539"/>
                <a:gd name="connsiteX9" fmla="*/ 48877 w 272590"/>
                <a:gd name="connsiteY9" fmla="*/ 46598 h 88539"/>
                <a:gd name="connsiteX10" fmla="*/ 46147 w 272590"/>
                <a:gd name="connsiteY10" fmla="*/ 45853 h 88539"/>
                <a:gd name="connsiteX11" fmla="*/ 44265 w 272590"/>
                <a:gd name="connsiteY11" fmla="*/ 44193 h 88539"/>
                <a:gd name="connsiteX12" fmla="*/ 43193 w 272590"/>
                <a:gd name="connsiteY12" fmla="*/ 42558 h 88539"/>
                <a:gd name="connsiteX13" fmla="*/ 43284 w 272590"/>
                <a:gd name="connsiteY13" fmla="*/ 41772 h 88539"/>
                <a:gd name="connsiteX14" fmla="*/ 44989 w 272590"/>
                <a:gd name="connsiteY14" fmla="*/ 43084 h 88539"/>
                <a:gd name="connsiteX15" fmla="*/ 46461 w 272590"/>
                <a:gd name="connsiteY15" fmla="*/ 43728 h 88539"/>
                <a:gd name="connsiteX16" fmla="*/ 47670 w 272590"/>
                <a:gd name="connsiteY16" fmla="*/ 43299 h 88539"/>
                <a:gd name="connsiteX17" fmla="*/ 48523 w 272590"/>
                <a:gd name="connsiteY17" fmla="*/ 42590 h 88539"/>
                <a:gd name="connsiteX18" fmla="*/ 45761 w 272590"/>
                <a:gd name="connsiteY18" fmla="*/ 37300 h 88539"/>
                <a:gd name="connsiteX19" fmla="*/ 45882 w 272590"/>
                <a:gd name="connsiteY19" fmla="*/ 36181 h 88539"/>
                <a:gd name="connsiteX20" fmla="*/ 178317 w 272590"/>
                <a:gd name="connsiteY20" fmla="*/ 29307 h 88539"/>
                <a:gd name="connsiteX21" fmla="*/ 180355 w 272590"/>
                <a:gd name="connsiteY21" fmla="*/ 29546 h 88539"/>
                <a:gd name="connsiteX22" fmla="*/ 183922 w 272590"/>
                <a:gd name="connsiteY22" fmla="*/ 30316 h 88539"/>
                <a:gd name="connsiteX23" fmla="*/ 183610 w 272590"/>
                <a:gd name="connsiteY23" fmla="*/ 31847 h 88539"/>
                <a:gd name="connsiteX24" fmla="*/ 183028 w 272590"/>
                <a:gd name="connsiteY24" fmla="*/ 33031 h 88539"/>
                <a:gd name="connsiteX25" fmla="*/ 181987 w 272590"/>
                <a:gd name="connsiteY25" fmla="*/ 33845 h 88539"/>
                <a:gd name="connsiteX26" fmla="*/ 180846 w 272590"/>
                <a:gd name="connsiteY26" fmla="*/ 32670 h 88539"/>
                <a:gd name="connsiteX27" fmla="*/ 180120 w 272590"/>
                <a:gd name="connsiteY27" fmla="*/ 32540 h 88539"/>
                <a:gd name="connsiteX28" fmla="*/ 179118 w 272590"/>
                <a:gd name="connsiteY28" fmla="*/ 32074 h 88539"/>
                <a:gd name="connsiteX29" fmla="*/ 177171 w 272590"/>
                <a:gd name="connsiteY29" fmla="*/ 30765 h 88539"/>
                <a:gd name="connsiteX30" fmla="*/ 176699 w 272590"/>
                <a:gd name="connsiteY30" fmla="*/ 29409 h 88539"/>
                <a:gd name="connsiteX31" fmla="*/ 174999 w 272590"/>
                <a:gd name="connsiteY31" fmla="*/ 23711 h 88539"/>
                <a:gd name="connsiteX32" fmla="*/ 175406 w 272590"/>
                <a:gd name="connsiteY32" fmla="*/ 25347 h 88539"/>
                <a:gd name="connsiteX33" fmla="*/ 177331 w 272590"/>
                <a:gd name="connsiteY33" fmla="*/ 26043 h 88539"/>
                <a:gd name="connsiteX34" fmla="*/ 177446 w 272590"/>
                <a:gd name="connsiteY34" fmla="*/ 26401 h 88539"/>
                <a:gd name="connsiteX35" fmla="*/ 178628 w 272590"/>
                <a:gd name="connsiteY35" fmla="*/ 27788 h 88539"/>
                <a:gd name="connsiteX36" fmla="*/ 177692 w 272590"/>
                <a:gd name="connsiteY36" fmla="*/ 28359 h 88539"/>
                <a:gd name="connsiteX37" fmla="*/ 176858 w 272590"/>
                <a:gd name="connsiteY37" fmla="*/ 28434 h 88539"/>
                <a:gd name="connsiteX38" fmla="*/ 174333 w 272590"/>
                <a:gd name="connsiteY38" fmla="*/ 27324 h 88539"/>
                <a:gd name="connsiteX39" fmla="*/ 173579 w 272590"/>
                <a:gd name="connsiteY39" fmla="*/ 26396 h 88539"/>
                <a:gd name="connsiteX40" fmla="*/ 174464 w 272590"/>
                <a:gd name="connsiteY40" fmla="*/ 25152 h 88539"/>
                <a:gd name="connsiteX41" fmla="*/ 174655 w 272590"/>
                <a:gd name="connsiteY41" fmla="*/ 23801 h 88539"/>
                <a:gd name="connsiteX42" fmla="*/ 169539 w 272590"/>
                <a:gd name="connsiteY42" fmla="*/ 20100 h 88539"/>
                <a:gd name="connsiteX43" fmla="*/ 170817 w 272590"/>
                <a:gd name="connsiteY43" fmla="*/ 20264 h 88539"/>
                <a:gd name="connsiteX44" fmla="*/ 172249 w 272590"/>
                <a:gd name="connsiteY44" fmla="*/ 21444 h 88539"/>
                <a:gd name="connsiteX45" fmla="*/ 173072 w 272590"/>
                <a:gd name="connsiteY45" fmla="*/ 23610 h 88539"/>
                <a:gd name="connsiteX46" fmla="*/ 173948 w 272590"/>
                <a:gd name="connsiteY46" fmla="*/ 24163 h 88539"/>
                <a:gd name="connsiteX47" fmla="*/ 173431 w 272590"/>
                <a:gd name="connsiteY47" fmla="*/ 24607 h 88539"/>
                <a:gd name="connsiteX48" fmla="*/ 172057 w 272590"/>
                <a:gd name="connsiteY48" fmla="*/ 23614 h 88539"/>
                <a:gd name="connsiteX49" fmla="*/ 170071 w 272590"/>
                <a:gd name="connsiteY49" fmla="*/ 23182 h 88539"/>
                <a:gd name="connsiteX50" fmla="*/ 168901 w 272590"/>
                <a:gd name="connsiteY50" fmla="*/ 21637 h 88539"/>
                <a:gd name="connsiteX51" fmla="*/ 167789 w 272590"/>
                <a:gd name="connsiteY51" fmla="*/ 21043 h 88539"/>
                <a:gd name="connsiteX52" fmla="*/ 167699 w 272590"/>
                <a:gd name="connsiteY52" fmla="*/ 20474 h 88539"/>
                <a:gd name="connsiteX53" fmla="*/ 158657 w 272590"/>
                <a:gd name="connsiteY53" fmla="*/ 17044 h 88539"/>
                <a:gd name="connsiteX54" fmla="*/ 162138 w 272590"/>
                <a:gd name="connsiteY54" fmla="*/ 17610 h 88539"/>
                <a:gd name="connsiteX55" fmla="*/ 163344 w 272590"/>
                <a:gd name="connsiteY55" fmla="*/ 17271 h 88539"/>
                <a:gd name="connsiteX56" fmla="*/ 164504 w 272590"/>
                <a:gd name="connsiteY56" fmla="*/ 17171 h 88539"/>
                <a:gd name="connsiteX57" fmla="*/ 165730 w 272590"/>
                <a:gd name="connsiteY57" fmla="*/ 17408 h 88539"/>
                <a:gd name="connsiteX58" fmla="*/ 167437 w 272590"/>
                <a:gd name="connsiteY58" fmla="*/ 19625 h 88539"/>
                <a:gd name="connsiteX59" fmla="*/ 165938 w 272590"/>
                <a:gd name="connsiteY59" fmla="*/ 19901 h 88539"/>
                <a:gd name="connsiteX60" fmla="*/ 164748 w 272590"/>
                <a:gd name="connsiteY60" fmla="*/ 19901 h 88539"/>
                <a:gd name="connsiteX61" fmla="*/ 163870 w 272590"/>
                <a:gd name="connsiteY61" fmla="*/ 19501 h 88539"/>
                <a:gd name="connsiteX62" fmla="*/ 160749 w 272590"/>
                <a:gd name="connsiteY62" fmla="*/ 19396 h 88539"/>
                <a:gd name="connsiteX63" fmla="*/ 158686 w 272590"/>
                <a:gd name="connsiteY63" fmla="*/ 18753 h 88539"/>
                <a:gd name="connsiteX64" fmla="*/ 157554 w 272590"/>
                <a:gd name="connsiteY64" fmla="*/ 18202 h 88539"/>
                <a:gd name="connsiteX65" fmla="*/ 156999 w 272590"/>
                <a:gd name="connsiteY65" fmla="*/ 17532 h 88539"/>
                <a:gd name="connsiteX66" fmla="*/ 134593 w 272590"/>
                <a:gd name="connsiteY66" fmla="*/ 10253 h 88539"/>
                <a:gd name="connsiteX67" fmla="*/ 139587 w 272590"/>
                <a:gd name="connsiteY67" fmla="*/ 13600 h 88539"/>
                <a:gd name="connsiteX68" fmla="*/ 140415 w 272590"/>
                <a:gd name="connsiteY68" fmla="*/ 14064 h 88539"/>
                <a:gd name="connsiteX69" fmla="*/ 140456 w 272590"/>
                <a:gd name="connsiteY69" fmla="*/ 14765 h 88539"/>
                <a:gd name="connsiteX70" fmla="*/ 136023 w 272590"/>
                <a:gd name="connsiteY70" fmla="*/ 12805 h 88539"/>
                <a:gd name="connsiteX71" fmla="*/ 134119 w 272590"/>
                <a:gd name="connsiteY71" fmla="*/ 10763 h 88539"/>
                <a:gd name="connsiteX72" fmla="*/ 133350 w 272590"/>
                <a:gd name="connsiteY72" fmla="*/ 10294 h 88539"/>
                <a:gd name="connsiteX73" fmla="*/ 70638 w 272590"/>
                <a:gd name="connsiteY73" fmla="*/ 0 h 88539"/>
                <a:gd name="connsiteX74" fmla="*/ 77330 w 272590"/>
                <a:gd name="connsiteY74" fmla="*/ 733 h 88539"/>
                <a:gd name="connsiteX75" fmla="*/ 83974 w 272590"/>
                <a:gd name="connsiteY75" fmla="*/ 1977 h 88539"/>
                <a:gd name="connsiteX76" fmla="*/ 89346 w 272590"/>
                <a:gd name="connsiteY76" fmla="*/ 1625 h 88539"/>
                <a:gd name="connsiteX77" fmla="*/ 91913 w 272590"/>
                <a:gd name="connsiteY77" fmla="*/ 899 h 88539"/>
                <a:gd name="connsiteX78" fmla="*/ 91678 w 272590"/>
                <a:gd name="connsiteY78" fmla="*/ 1654 h 88539"/>
                <a:gd name="connsiteX79" fmla="*/ 94036 w 272590"/>
                <a:gd name="connsiteY79" fmla="*/ 3496 h 88539"/>
                <a:gd name="connsiteX80" fmla="*/ 94898 w 272590"/>
                <a:gd name="connsiteY80" fmla="*/ 3623 h 88539"/>
                <a:gd name="connsiteX81" fmla="*/ 98370 w 272590"/>
                <a:gd name="connsiteY81" fmla="*/ 2690 h 88539"/>
                <a:gd name="connsiteX82" fmla="*/ 107436 w 272590"/>
                <a:gd name="connsiteY82" fmla="*/ 2336 h 88539"/>
                <a:gd name="connsiteX83" fmla="*/ 108367 w 272590"/>
                <a:gd name="connsiteY83" fmla="*/ 2853 h 88539"/>
                <a:gd name="connsiteX84" fmla="*/ 109964 w 272590"/>
                <a:gd name="connsiteY84" fmla="*/ 4648 h 88539"/>
                <a:gd name="connsiteX85" fmla="*/ 112278 w 272590"/>
                <a:gd name="connsiteY85" fmla="*/ 5759 h 88539"/>
                <a:gd name="connsiteX86" fmla="*/ 114670 w 272590"/>
                <a:gd name="connsiteY86" fmla="*/ 6603 h 88539"/>
                <a:gd name="connsiteX87" fmla="*/ 117173 w 272590"/>
                <a:gd name="connsiteY87" fmla="*/ 6829 h 88539"/>
                <a:gd name="connsiteX88" fmla="*/ 119672 w 272590"/>
                <a:gd name="connsiteY88" fmla="*/ 6444 h 88539"/>
                <a:gd name="connsiteX89" fmla="*/ 122013 w 272590"/>
                <a:gd name="connsiteY89" fmla="*/ 6632 h 88539"/>
                <a:gd name="connsiteX90" fmla="*/ 124938 w 272590"/>
                <a:gd name="connsiteY90" fmla="*/ 8379 h 88539"/>
                <a:gd name="connsiteX91" fmla="*/ 125861 w 272590"/>
                <a:gd name="connsiteY91" fmla="*/ 8587 h 88539"/>
                <a:gd name="connsiteX92" fmla="*/ 128479 w 272590"/>
                <a:gd name="connsiteY92" fmla="*/ 8110 h 88539"/>
                <a:gd name="connsiteX93" fmla="*/ 127707 w 272590"/>
                <a:gd name="connsiteY93" fmla="*/ 9707 h 88539"/>
                <a:gd name="connsiteX94" fmla="*/ 132121 w 272590"/>
                <a:gd name="connsiteY94" fmla="*/ 11952 h 88539"/>
                <a:gd name="connsiteX95" fmla="*/ 135352 w 272590"/>
                <a:gd name="connsiteY95" fmla="*/ 16363 h 88539"/>
                <a:gd name="connsiteX96" fmla="*/ 137703 w 272590"/>
                <a:gd name="connsiteY96" fmla="*/ 18174 h 88539"/>
                <a:gd name="connsiteX97" fmla="*/ 140192 w 272590"/>
                <a:gd name="connsiteY97" fmla="*/ 19798 h 88539"/>
                <a:gd name="connsiteX98" fmla="*/ 142287 w 272590"/>
                <a:gd name="connsiteY98" fmla="*/ 20900 h 88539"/>
                <a:gd name="connsiteX99" fmla="*/ 144638 w 272590"/>
                <a:gd name="connsiteY99" fmla="*/ 21425 h 88539"/>
                <a:gd name="connsiteX100" fmla="*/ 151765 w 272590"/>
                <a:gd name="connsiteY100" fmla="*/ 21209 h 88539"/>
                <a:gd name="connsiteX101" fmla="*/ 153451 w 272590"/>
                <a:gd name="connsiteY101" fmla="*/ 21345 h 88539"/>
                <a:gd name="connsiteX102" fmla="*/ 154959 w 272590"/>
                <a:gd name="connsiteY102" fmla="*/ 21973 h 88539"/>
                <a:gd name="connsiteX103" fmla="*/ 156397 w 272590"/>
                <a:gd name="connsiteY103" fmla="*/ 22220 h 88539"/>
                <a:gd name="connsiteX104" fmla="*/ 157228 w 272590"/>
                <a:gd name="connsiteY104" fmla="*/ 21986 h 88539"/>
                <a:gd name="connsiteX105" fmla="*/ 171006 w 272590"/>
                <a:gd name="connsiteY105" fmla="*/ 28841 h 88539"/>
                <a:gd name="connsiteX106" fmla="*/ 175383 w 272590"/>
                <a:gd name="connsiteY106" fmla="*/ 32498 h 88539"/>
                <a:gd name="connsiteX107" fmla="*/ 178057 w 272590"/>
                <a:gd name="connsiteY107" fmla="*/ 34397 h 88539"/>
                <a:gd name="connsiteX108" fmla="*/ 183843 w 272590"/>
                <a:gd name="connsiteY108" fmla="*/ 37141 h 88539"/>
                <a:gd name="connsiteX109" fmla="*/ 186169 w 272590"/>
                <a:gd name="connsiteY109" fmla="*/ 37745 h 88539"/>
                <a:gd name="connsiteX110" fmla="*/ 187385 w 272590"/>
                <a:gd name="connsiteY110" fmla="*/ 37381 h 88539"/>
                <a:gd name="connsiteX111" fmla="*/ 187147 w 272590"/>
                <a:gd name="connsiteY111" fmla="*/ 36778 h 88539"/>
                <a:gd name="connsiteX112" fmla="*/ 185453 w 272590"/>
                <a:gd name="connsiteY112" fmla="*/ 35255 h 88539"/>
                <a:gd name="connsiteX113" fmla="*/ 185204 w 272590"/>
                <a:gd name="connsiteY113" fmla="*/ 34697 h 88539"/>
                <a:gd name="connsiteX114" fmla="*/ 187382 w 272590"/>
                <a:gd name="connsiteY114" fmla="*/ 35166 h 88539"/>
                <a:gd name="connsiteX115" fmla="*/ 191315 w 272590"/>
                <a:gd name="connsiteY115" fmla="*/ 38259 h 88539"/>
                <a:gd name="connsiteX116" fmla="*/ 192397 w 272590"/>
                <a:gd name="connsiteY116" fmla="*/ 39402 h 88539"/>
                <a:gd name="connsiteX117" fmla="*/ 194360 w 272590"/>
                <a:gd name="connsiteY117" fmla="*/ 40461 h 88539"/>
                <a:gd name="connsiteX118" fmla="*/ 196336 w 272590"/>
                <a:gd name="connsiteY118" fmla="*/ 41226 h 88539"/>
                <a:gd name="connsiteX119" fmla="*/ 195395 w 272590"/>
                <a:gd name="connsiteY119" fmla="*/ 42446 h 88539"/>
                <a:gd name="connsiteX120" fmla="*/ 193790 w 272590"/>
                <a:gd name="connsiteY120" fmla="*/ 42550 h 88539"/>
                <a:gd name="connsiteX121" fmla="*/ 190706 w 272590"/>
                <a:gd name="connsiteY121" fmla="*/ 42048 h 88539"/>
                <a:gd name="connsiteX122" fmla="*/ 193156 w 272590"/>
                <a:gd name="connsiteY122" fmla="*/ 44033 h 88539"/>
                <a:gd name="connsiteX123" fmla="*/ 193579 w 272590"/>
                <a:gd name="connsiteY123" fmla="*/ 45476 h 88539"/>
                <a:gd name="connsiteX124" fmla="*/ 194719 w 272590"/>
                <a:gd name="connsiteY124" fmla="*/ 45599 h 88539"/>
                <a:gd name="connsiteX125" fmla="*/ 196416 w 272590"/>
                <a:gd name="connsiteY125" fmla="*/ 44013 h 88539"/>
                <a:gd name="connsiteX126" fmla="*/ 197489 w 272590"/>
                <a:gd name="connsiteY126" fmla="*/ 42676 h 88539"/>
                <a:gd name="connsiteX127" fmla="*/ 201815 w 272590"/>
                <a:gd name="connsiteY127" fmla="*/ 46127 h 88539"/>
                <a:gd name="connsiteX128" fmla="*/ 204141 w 272590"/>
                <a:gd name="connsiteY128" fmla="*/ 47706 h 88539"/>
                <a:gd name="connsiteX129" fmla="*/ 203545 w 272590"/>
                <a:gd name="connsiteY129" fmla="*/ 48626 h 88539"/>
                <a:gd name="connsiteX130" fmla="*/ 203352 w 272590"/>
                <a:gd name="connsiteY130" fmla="*/ 49538 h 88539"/>
                <a:gd name="connsiteX131" fmla="*/ 205950 w 272590"/>
                <a:gd name="connsiteY131" fmla="*/ 48690 h 88539"/>
                <a:gd name="connsiteX132" fmla="*/ 206936 w 272590"/>
                <a:gd name="connsiteY132" fmla="*/ 48784 h 88539"/>
                <a:gd name="connsiteX133" fmla="*/ 207889 w 272590"/>
                <a:gd name="connsiteY133" fmla="*/ 49273 h 88539"/>
                <a:gd name="connsiteX134" fmla="*/ 208931 w 272590"/>
                <a:gd name="connsiteY134" fmla="*/ 50756 h 88539"/>
                <a:gd name="connsiteX135" fmla="*/ 211358 w 272590"/>
                <a:gd name="connsiteY135" fmla="*/ 51084 h 88539"/>
                <a:gd name="connsiteX136" fmla="*/ 213806 w 272590"/>
                <a:gd name="connsiteY136" fmla="*/ 51045 h 88539"/>
                <a:gd name="connsiteX137" fmla="*/ 218773 w 272590"/>
                <a:gd name="connsiteY137" fmla="*/ 52270 h 88539"/>
                <a:gd name="connsiteX138" fmla="*/ 223481 w 272590"/>
                <a:gd name="connsiteY138" fmla="*/ 54760 h 88539"/>
                <a:gd name="connsiteX139" fmla="*/ 227908 w 272590"/>
                <a:gd name="connsiteY139" fmla="*/ 55269 h 88539"/>
                <a:gd name="connsiteX140" fmla="*/ 232372 w 272590"/>
                <a:gd name="connsiteY140" fmla="*/ 55354 h 88539"/>
                <a:gd name="connsiteX141" fmla="*/ 234634 w 272590"/>
                <a:gd name="connsiteY141" fmla="*/ 56672 h 88539"/>
                <a:gd name="connsiteX142" fmla="*/ 235596 w 272590"/>
                <a:gd name="connsiteY142" fmla="*/ 58437 h 88539"/>
                <a:gd name="connsiteX143" fmla="*/ 234513 w 272590"/>
                <a:gd name="connsiteY143" fmla="*/ 59688 h 88539"/>
                <a:gd name="connsiteX144" fmla="*/ 233894 w 272590"/>
                <a:gd name="connsiteY144" fmla="*/ 60994 h 88539"/>
                <a:gd name="connsiteX145" fmla="*/ 235559 w 272590"/>
                <a:gd name="connsiteY145" fmla="*/ 62595 h 88539"/>
                <a:gd name="connsiteX146" fmla="*/ 231934 w 272590"/>
                <a:gd name="connsiteY146" fmla="*/ 63275 h 88539"/>
                <a:gd name="connsiteX147" fmla="*/ 231423 w 272590"/>
                <a:gd name="connsiteY147" fmla="*/ 64239 h 88539"/>
                <a:gd name="connsiteX148" fmla="*/ 231611 w 272590"/>
                <a:gd name="connsiteY148" fmla="*/ 65280 h 88539"/>
                <a:gd name="connsiteX149" fmla="*/ 232331 w 272590"/>
                <a:gd name="connsiteY149" fmla="*/ 65852 h 88539"/>
                <a:gd name="connsiteX150" fmla="*/ 234406 w 272590"/>
                <a:gd name="connsiteY150" fmla="*/ 65350 h 88539"/>
                <a:gd name="connsiteX151" fmla="*/ 237401 w 272590"/>
                <a:gd name="connsiteY151" fmla="*/ 65796 h 88539"/>
                <a:gd name="connsiteX152" fmla="*/ 242130 w 272590"/>
                <a:gd name="connsiteY152" fmla="*/ 66194 h 88539"/>
                <a:gd name="connsiteX153" fmla="*/ 245296 w 272590"/>
                <a:gd name="connsiteY153" fmla="*/ 65871 h 88539"/>
                <a:gd name="connsiteX154" fmla="*/ 251726 w 272590"/>
                <a:gd name="connsiteY154" fmla="*/ 66960 h 88539"/>
                <a:gd name="connsiteX155" fmla="*/ 253681 w 272590"/>
                <a:gd name="connsiteY155" fmla="*/ 67543 h 88539"/>
                <a:gd name="connsiteX156" fmla="*/ 257497 w 272590"/>
                <a:gd name="connsiteY156" fmla="*/ 69591 h 88539"/>
                <a:gd name="connsiteX157" fmla="*/ 259263 w 272590"/>
                <a:gd name="connsiteY157" fmla="*/ 70940 h 88539"/>
                <a:gd name="connsiteX158" fmla="*/ 263048 w 272590"/>
                <a:gd name="connsiteY158" fmla="*/ 74575 h 88539"/>
                <a:gd name="connsiteX159" fmla="*/ 266313 w 272590"/>
                <a:gd name="connsiteY159" fmla="*/ 76005 h 88539"/>
                <a:gd name="connsiteX160" fmla="*/ 269143 w 272590"/>
                <a:gd name="connsiteY160" fmla="*/ 76351 h 88539"/>
                <a:gd name="connsiteX161" fmla="*/ 270129 w 272590"/>
                <a:gd name="connsiteY161" fmla="*/ 76112 h 88539"/>
                <a:gd name="connsiteX162" fmla="*/ 271027 w 272590"/>
                <a:gd name="connsiteY162" fmla="*/ 76507 h 88539"/>
                <a:gd name="connsiteX163" fmla="*/ 271813 w 272590"/>
                <a:gd name="connsiteY163" fmla="*/ 77017 h 88539"/>
                <a:gd name="connsiteX164" fmla="*/ 272590 w 272590"/>
                <a:gd name="connsiteY164" fmla="*/ 78607 h 88539"/>
                <a:gd name="connsiteX165" fmla="*/ 272162 w 272590"/>
                <a:gd name="connsiteY165" fmla="*/ 80280 h 88539"/>
                <a:gd name="connsiteX166" fmla="*/ 270547 w 272590"/>
                <a:gd name="connsiteY166" fmla="*/ 81637 h 88539"/>
                <a:gd name="connsiteX167" fmla="*/ 269649 w 272590"/>
                <a:gd name="connsiteY167" fmla="*/ 82625 h 88539"/>
                <a:gd name="connsiteX168" fmla="*/ 265609 w 272590"/>
                <a:gd name="connsiteY168" fmla="*/ 82740 h 88539"/>
                <a:gd name="connsiteX169" fmla="*/ 259965 w 272590"/>
                <a:gd name="connsiteY169" fmla="*/ 83194 h 88539"/>
                <a:gd name="connsiteX170" fmla="*/ 254505 w 272590"/>
                <a:gd name="connsiteY170" fmla="*/ 84668 h 88539"/>
                <a:gd name="connsiteX171" fmla="*/ 251841 w 272590"/>
                <a:gd name="connsiteY171" fmla="*/ 85838 h 88539"/>
                <a:gd name="connsiteX172" fmla="*/ 250624 w 272590"/>
                <a:gd name="connsiteY172" fmla="*/ 86613 h 88539"/>
                <a:gd name="connsiteX173" fmla="*/ 247752 w 272590"/>
                <a:gd name="connsiteY173" fmla="*/ 87328 h 88539"/>
                <a:gd name="connsiteX174" fmla="*/ 247556 w 272590"/>
                <a:gd name="connsiteY174" fmla="*/ 86716 h 88539"/>
                <a:gd name="connsiteX175" fmla="*/ 247611 w 272590"/>
                <a:gd name="connsiteY175" fmla="*/ 85944 h 88539"/>
                <a:gd name="connsiteX176" fmla="*/ 246859 w 272590"/>
                <a:gd name="connsiteY176" fmla="*/ 84507 h 88539"/>
                <a:gd name="connsiteX177" fmla="*/ 246208 w 272590"/>
                <a:gd name="connsiteY177" fmla="*/ 85799 h 88539"/>
                <a:gd name="connsiteX178" fmla="*/ 245139 w 272590"/>
                <a:gd name="connsiteY178" fmla="*/ 86742 h 88539"/>
                <a:gd name="connsiteX179" fmla="*/ 243338 w 272590"/>
                <a:gd name="connsiteY179" fmla="*/ 87547 h 88539"/>
                <a:gd name="connsiteX180" fmla="*/ 236708 w 272590"/>
                <a:gd name="connsiteY180" fmla="*/ 87600 h 88539"/>
                <a:gd name="connsiteX181" fmla="*/ 234039 w 272590"/>
                <a:gd name="connsiteY181" fmla="*/ 86516 h 88539"/>
                <a:gd name="connsiteX182" fmla="*/ 231303 w 272590"/>
                <a:gd name="connsiteY182" fmla="*/ 85772 h 88539"/>
                <a:gd name="connsiteX183" fmla="*/ 221329 w 272590"/>
                <a:gd name="connsiteY183" fmla="*/ 84998 h 88539"/>
                <a:gd name="connsiteX184" fmla="*/ 218936 w 272590"/>
                <a:gd name="connsiteY184" fmla="*/ 85067 h 88539"/>
                <a:gd name="connsiteX185" fmla="*/ 212273 w 272590"/>
                <a:gd name="connsiteY185" fmla="*/ 85871 h 88539"/>
                <a:gd name="connsiteX186" fmla="*/ 205576 w 272590"/>
                <a:gd name="connsiteY186" fmla="*/ 86305 h 88539"/>
                <a:gd name="connsiteX187" fmla="*/ 202774 w 272590"/>
                <a:gd name="connsiteY187" fmla="*/ 86803 h 88539"/>
                <a:gd name="connsiteX188" fmla="*/ 200004 w 272590"/>
                <a:gd name="connsiteY188" fmla="*/ 87554 h 88539"/>
                <a:gd name="connsiteX189" fmla="*/ 194617 w 272590"/>
                <a:gd name="connsiteY189" fmla="*/ 87530 h 88539"/>
                <a:gd name="connsiteX190" fmla="*/ 188246 w 272590"/>
                <a:gd name="connsiteY190" fmla="*/ 88383 h 88539"/>
                <a:gd name="connsiteX191" fmla="*/ 181858 w 272590"/>
                <a:gd name="connsiteY191" fmla="*/ 88539 h 88539"/>
                <a:gd name="connsiteX192" fmla="*/ 185950 w 272590"/>
                <a:gd name="connsiteY192" fmla="*/ 82561 h 88539"/>
                <a:gd name="connsiteX193" fmla="*/ 194580 w 272590"/>
                <a:gd name="connsiteY193" fmla="*/ 76799 h 88539"/>
                <a:gd name="connsiteX194" fmla="*/ 196203 w 272590"/>
                <a:gd name="connsiteY194" fmla="*/ 75562 h 88539"/>
                <a:gd name="connsiteX195" fmla="*/ 197358 w 272590"/>
                <a:gd name="connsiteY195" fmla="*/ 73970 h 88539"/>
                <a:gd name="connsiteX196" fmla="*/ 197633 w 272590"/>
                <a:gd name="connsiteY196" fmla="*/ 72769 h 88539"/>
                <a:gd name="connsiteX197" fmla="*/ 197254 w 272590"/>
                <a:gd name="connsiteY197" fmla="*/ 71747 h 88539"/>
                <a:gd name="connsiteX198" fmla="*/ 195199 w 272590"/>
                <a:gd name="connsiteY198" fmla="*/ 69940 h 88539"/>
                <a:gd name="connsiteX199" fmla="*/ 194781 w 272590"/>
                <a:gd name="connsiteY199" fmla="*/ 68595 h 88539"/>
                <a:gd name="connsiteX200" fmla="*/ 194169 w 272590"/>
                <a:gd name="connsiteY200" fmla="*/ 67725 h 88539"/>
                <a:gd name="connsiteX201" fmla="*/ 191178 w 272590"/>
                <a:gd name="connsiteY201" fmla="*/ 66968 h 88539"/>
                <a:gd name="connsiteX202" fmla="*/ 188148 w 272590"/>
                <a:gd name="connsiteY202" fmla="*/ 66515 h 88539"/>
                <a:gd name="connsiteX203" fmla="*/ 184961 w 272590"/>
                <a:gd name="connsiteY203" fmla="*/ 66499 h 88539"/>
                <a:gd name="connsiteX204" fmla="*/ 178263 w 272590"/>
                <a:gd name="connsiteY204" fmla="*/ 65876 h 88539"/>
                <a:gd name="connsiteX205" fmla="*/ 174703 w 272590"/>
                <a:gd name="connsiteY205" fmla="*/ 65831 h 88539"/>
                <a:gd name="connsiteX206" fmla="*/ 171685 w 272590"/>
                <a:gd name="connsiteY206" fmla="*/ 64600 h 88539"/>
                <a:gd name="connsiteX207" fmla="*/ 166676 w 272590"/>
                <a:gd name="connsiteY207" fmla="*/ 60216 h 88539"/>
                <a:gd name="connsiteX208" fmla="*/ 164331 w 272590"/>
                <a:gd name="connsiteY208" fmla="*/ 58988 h 88539"/>
                <a:gd name="connsiteX209" fmla="*/ 163127 w 272590"/>
                <a:gd name="connsiteY209" fmla="*/ 58005 h 88539"/>
                <a:gd name="connsiteX210" fmla="*/ 162190 w 272590"/>
                <a:gd name="connsiteY210" fmla="*/ 56874 h 88539"/>
                <a:gd name="connsiteX211" fmla="*/ 161012 w 272590"/>
                <a:gd name="connsiteY211" fmla="*/ 50429 h 88539"/>
                <a:gd name="connsiteX212" fmla="*/ 160014 w 272590"/>
                <a:gd name="connsiteY212" fmla="*/ 47326 h 88539"/>
                <a:gd name="connsiteX213" fmla="*/ 158496 w 272590"/>
                <a:gd name="connsiteY213" fmla="*/ 44627 h 88539"/>
                <a:gd name="connsiteX214" fmla="*/ 156183 w 272590"/>
                <a:gd name="connsiteY214" fmla="*/ 42576 h 88539"/>
                <a:gd name="connsiteX215" fmla="*/ 153767 w 272590"/>
                <a:gd name="connsiteY215" fmla="*/ 41880 h 88539"/>
                <a:gd name="connsiteX216" fmla="*/ 144481 w 272590"/>
                <a:gd name="connsiteY216" fmla="*/ 43636 h 88539"/>
                <a:gd name="connsiteX217" fmla="*/ 142319 w 272590"/>
                <a:gd name="connsiteY217" fmla="*/ 43376 h 88539"/>
                <a:gd name="connsiteX218" fmla="*/ 140215 w 272590"/>
                <a:gd name="connsiteY218" fmla="*/ 42778 h 88539"/>
                <a:gd name="connsiteX219" fmla="*/ 126195 w 272590"/>
                <a:gd name="connsiteY219" fmla="*/ 38596 h 88539"/>
                <a:gd name="connsiteX220" fmla="*/ 120414 w 272590"/>
                <a:gd name="connsiteY220" fmla="*/ 36294 h 88539"/>
                <a:gd name="connsiteX221" fmla="*/ 118056 w 272590"/>
                <a:gd name="connsiteY221" fmla="*/ 35153 h 88539"/>
                <a:gd name="connsiteX222" fmla="*/ 116044 w 272590"/>
                <a:gd name="connsiteY222" fmla="*/ 33524 h 88539"/>
                <a:gd name="connsiteX223" fmla="*/ 113959 w 272590"/>
                <a:gd name="connsiteY223" fmla="*/ 30855 h 88539"/>
                <a:gd name="connsiteX224" fmla="*/ 111613 w 272590"/>
                <a:gd name="connsiteY224" fmla="*/ 28468 h 88539"/>
                <a:gd name="connsiteX225" fmla="*/ 111629 w 272590"/>
                <a:gd name="connsiteY225" fmla="*/ 29434 h 88539"/>
                <a:gd name="connsiteX226" fmla="*/ 111267 w 272590"/>
                <a:gd name="connsiteY226" fmla="*/ 30062 h 88539"/>
                <a:gd name="connsiteX227" fmla="*/ 99531 w 272590"/>
                <a:gd name="connsiteY227" fmla="*/ 30346 h 88539"/>
                <a:gd name="connsiteX228" fmla="*/ 97662 w 272590"/>
                <a:gd name="connsiteY228" fmla="*/ 29794 h 88539"/>
                <a:gd name="connsiteX229" fmla="*/ 96458 w 272590"/>
                <a:gd name="connsiteY229" fmla="*/ 29146 h 88539"/>
                <a:gd name="connsiteX230" fmla="*/ 95608 w 272590"/>
                <a:gd name="connsiteY230" fmla="*/ 28181 h 88539"/>
                <a:gd name="connsiteX231" fmla="*/ 94979 w 272590"/>
                <a:gd name="connsiteY231" fmla="*/ 26245 h 88539"/>
                <a:gd name="connsiteX232" fmla="*/ 93861 w 272590"/>
                <a:gd name="connsiteY232" fmla="*/ 24620 h 88539"/>
                <a:gd name="connsiteX233" fmla="*/ 93505 w 272590"/>
                <a:gd name="connsiteY233" fmla="*/ 26352 h 88539"/>
                <a:gd name="connsiteX234" fmla="*/ 92926 w 272590"/>
                <a:gd name="connsiteY234" fmla="*/ 27949 h 88539"/>
                <a:gd name="connsiteX235" fmla="*/ 91355 w 272590"/>
                <a:gd name="connsiteY235" fmla="*/ 28841 h 88539"/>
                <a:gd name="connsiteX236" fmla="*/ 89557 w 272590"/>
                <a:gd name="connsiteY236" fmla="*/ 28982 h 88539"/>
                <a:gd name="connsiteX237" fmla="*/ 87380 w 272590"/>
                <a:gd name="connsiteY237" fmla="*/ 26861 h 88539"/>
                <a:gd name="connsiteX238" fmla="*/ 77869 w 272590"/>
                <a:gd name="connsiteY238" fmla="*/ 26425 h 88539"/>
                <a:gd name="connsiteX239" fmla="*/ 77028 w 272590"/>
                <a:gd name="connsiteY239" fmla="*/ 26066 h 88539"/>
                <a:gd name="connsiteX240" fmla="*/ 73904 w 272590"/>
                <a:gd name="connsiteY240" fmla="*/ 24010 h 88539"/>
                <a:gd name="connsiteX241" fmla="*/ 71238 w 272590"/>
                <a:gd name="connsiteY241" fmla="*/ 21430 h 88539"/>
                <a:gd name="connsiteX242" fmla="*/ 73892 w 272590"/>
                <a:gd name="connsiteY242" fmla="*/ 20521 h 88539"/>
                <a:gd name="connsiteX243" fmla="*/ 79368 w 272590"/>
                <a:gd name="connsiteY243" fmla="*/ 19323 h 88539"/>
                <a:gd name="connsiteX244" fmla="*/ 80554 w 272590"/>
                <a:gd name="connsiteY244" fmla="*/ 18525 h 88539"/>
                <a:gd name="connsiteX245" fmla="*/ 81241 w 272590"/>
                <a:gd name="connsiteY245" fmla="*/ 17508 h 88539"/>
                <a:gd name="connsiteX246" fmla="*/ 80746 w 272590"/>
                <a:gd name="connsiteY246" fmla="*/ 15986 h 88539"/>
                <a:gd name="connsiteX247" fmla="*/ 79658 w 272590"/>
                <a:gd name="connsiteY247" fmla="*/ 14892 h 88539"/>
                <a:gd name="connsiteX248" fmla="*/ 78537 w 272590"/>
                <a:gd name="connsiteY248" fmla="*/ 14249 h 88539"/>
                <a:gd name="connsiteX249" fmla="*/ 77296 w 272590"/>
                <a:gd name="connsiteY249" fmla="*/ 13838 h 88539"/>
                <a:gd name="connsiteX250" fmla="*/ 75658 w 272590"/>
                <a:gd name="connsiteY250" fmla="*/ 13662 h 88539"/>
                <a:gd name="connsiteX251" fmla="*/ 54495 w 272590"/>
                <a:gd name="connsiteY251" fmla="*/ 13389 h 88539"/>
                <a:gd name="connsiteX252" fmla="*/ 53269 w 272590"/>
                <a:gd name="connsiteY252" fmla="*/ 14214 h 88539"/>
                <a:gd name="connsiteX253" fmla="*/ 51371 w 272590"/>
                <a:gd name="connsiteY253" fmla="*/ 15900 h 88539"/>
                <a:gd name="connsiteX254" fmla="*/ 47613 w 272590"/>
                <a:gd name="connsiteY254" fmla="*/ 18063 h 88539"/>
                <a:gd name="connsiteX255" fmla="*/ 45136 w 272590"/>
                <a:gd name="connsiteY255" fmla="*/ 20306 h 88539"/>
                <a:gd name="connsiteX256" fmla="*/ 44207 w 272590"/>
                <a:gd name="connsiteY256" fmla="*/ 21463 h 88539"/>
                <a:gd name="connsiteX257" fmla="*/ 43050 w 272590"/>
                <a:gd name="connsiteY257" fmla="*/ 22290 h 88539"/>
                <a:gd name="connsiteX258" fmla="*/ 40445 w 272590"/>
                <a:gd name="connsiteY258" fmla="*/ 23681 h 88539"/>
                <a:gd name="connsiteX259" fmla="*/ 38226 w 272590"/>
                <a:gd name="connsiteY259" fmla="*/ 25817 h 88539"/>
                <a:gd name="connsiteX260" fmla="*/ 35531 w 272590"/>
                <a:gd name="connsiteY260" fmla="*/ 26772 h 88539"/>
                <a:gd name="connsiteX261" fmla="*/ 34058 w 272590"/>
                <a:gd name="connsiteY261" fmla="*/ 26192 h 88539"/>
                <a:gd name="connsiteX262" fmla="*/ 32600 w 272590"/>
                <a:gd name="connsiteY262" fmla="*/ 26197 h 88539"/>
                <a:gd name="connsiteX263" fmla="*/ 31546 w 272590"/>
                <a:gd name="connsiteY263" fmla="*/ 26723 h 88539"/>
                <a:gd name="connsiteX264" fmla="*/ 30442 w 272590"/>
                <a:gd name="connsiteY264" fmla="*/ 26964 h 88539"/>
                <a:gd name="connsiteX265" fmla="*/ 25014 w 272590"/>
                <a:gd name="connsiteY265" fmla="*/ 27225 h 88539"/>
                <a:gd name="connsiteX266" fmla="*/ 24202 w 272590"/>
                <a:gd name="connsiteY266" fmla="*/ 27770 h 88539"/>
                <a:gd name="connsiteX267" fmla="*/ 23427 w 272590"/>
                <a:gd name="connsiteY267" fmla="*/ 29302 h 88539"/>
                <a:gd name="connsiteX268" fmla="*/ 22546 w 272590"/>
                <a:gd name="connsiteY268" fmla="*/ 32281 h 88539"/>
                <a:gd name="connsiteX269" fmla="*/ 21711 w 272590"/>
                <a:gd name="connsiteY269" fmla="*/ 33265 h 88539"/>
                <a:gd name="connsiteX270" fmla="*/ 18989 w 272590"/>
                <a:gd name="connsiteY270" fmla="*/ 33641 h 88539"/>
                <a:gd name="connsiteX271" fmla="*/ 16394 w 272590"/>
                <a:gd name="connsiteY271" fmla="*/ 34457 h 88539"/>
                <a:gd name="connsiteX272" fmla="*/ 11115 w 272590"/>
                <a:gd name="connsiteY272" fmla="*/ 37292 h 88539"/>
                <a:gd name="connsiteX273" fmla="*/ 9752 w 272590"/>
                <a:gd name="connsiteY273" fmla="*/ 37704 h 88539"/>
                <a:gd name="connsiteX274" fmla="*/ 10048 w 272590"/>
                <a:gd name="connsiteY274" fmla="*/ 35627 h 88539"/>
                <a:gd name="connsiteX275" fmla="*/ 9783 w 272590"/>
                <a:gd name="connsiteY275" fmla="*/ 33607 h 88539"/>
                <a:gd name="connsiteX276" fmla="*/ 8297 w 272590"/>
                <a:gd name="connsiteY276" fmla="*/ 33535 h 88539"/>
                <a:gd name="connsiteX277" fmla="*/ 6601 w 272590"/>
                <a:gd name="connsiteY277" fmla="*/ 33871 h 88539"/>
                <a:gd name="connsiteX278" fmla="*/ 5187 w 272590"/>
                <a:gd name="connsiteY278" fmla="*/ 34437 h 88539"/>
                <a:gd name="connsiteX279" fmla="*/ 2570 w 272590"/>
                <a:gd name="connsiteY279" fmla="*/ 35946 h 88539"/>
                <a:gd name="connsiteX280" fmla="*/ 1241 w 272590"/>
                <a:gd name="connsiteY280" fmla="*/ 36328 h 88539"/>
                <a:gd name="connsiteX281" fmla="*/ 0 w 272590"/>
                <a:gd name="connsiteY281" fmla="*/ 35556 h 88539"/>
                <a:gd name="connsiteX282" fmla="*/ 253 w 272590"/>
                <a:gd name="connsiteY282" fmla="*/ 34568 h 88539"/>
                <a:gd name="connsiteX283" fmla="*/ 8987 w 272590"/>
                <a:gd name="connsiteY283" fmla="*/ 30924 h 88539"/>
                <a:gd name="connsiteX284" fmla="*/ 9964 w 272590"/>
                <a:gd name="connsiteY284" fmla="*/ 30646 h 88539"/>
                <a:gd name="connsiteX285" fmla="*/ 11516 w 272590"/>
                <a:gd name="connsiteY285" fmla="*/ 30920 h 88539"/>
                <a:gd name="connsiteX286" fmla="*/ 13035 w 272590"/>
                <a:gd name="connsiteY286" fmla="*/ 30796 h 88539"/>
                <a:gd name="connsiteX287" fmla="*/ 14221 w 272590"/>
                <a:gd name="connsiteY287" fmla="*/ 29776 h 88539"/>
                <a:gd name="connsiteX288" fmla="*/ 12784 w 272590"/>
                <a:gd name="connsiteY288" fmla="*/ 24950 h 88539"/>
                <a:gd name="connsiteX289" fmla="*/ 13335 w 272590"/>
                <a:gd name="connsiteY289" fmla="*/ 21665 h 88539"/>
                <a:gd name="connsiteX290" fmla="*/ 15362 w 272590"/>
                <a:gd name="connsiteY290" fmla="*/ 19124 h 88539"/>
                <a:gd name="connsiteX291" fmla="*/ 19408 w 272590"/>
                <a:gd name="connsiteY291" fmla="*/ 15275 h 88539"/>
                <a:gd name="connsiteX292" fmla="*/ 21357 w 272590"/>
                <a:gd name="connsiteY292" fmla="*/ 14010 h 88539"/>
                <a:gd name="connsiteX293" fmla="*/ 41315 w 272590"/>
                <a:gd name="connsiteY293" fmla="*/ 5957 h 88539"/>
                <a:gd name="connsiteX294" fmla="*/ 43359 w 272590"/>
                <a:gd name="connsiteY294" fmla="*/ 5546 h 88539"/>
                <a:gd name="connsiteX295" fmla="*/ 56326 w 272590"/>
                <a:gd name="connsiteY295" fmla="*/ 3928 h 88539"/>
                <a:gd name="connsiteX296" fmla="*/ 58305 w 272590"/>
                <a:gd name="connsiteY296" fmla="*/ 3366 h 88539"/>
                <a:gd name="connsiteX297" fmla="*/ 64321 w 272590"/>
                <a:gd name="connsiteY297" fmla="*/ 976 h 88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</a:cxnLst>
              <a:rect l="l" t="t" r="r" b="b"/>
              <a:pathLst>
                <a:path w="272590" h="88539">
                  <a:moveTo>
                    <a:pt x="48076" y="33276"/>
                  </a:moveTo>
                  <a:lnTo>
                    <a:pt x="54046" y="34159"/>
                  </a:lnTo>
                  <a:lnTo>
                    <a:pt x="55092" y="34672"/>
                  </a:lnTo>
                  <a:lnTo>
                    <a:pt x="55921" y="36510"/>
                  </a:lnTo>
                  <a:lnTo>
                    <a:pt x="57251" y="37951"/>
                  </a:lnTo>
                  <a:lnTo>
                    <a:pt x="58811" y="41805"/>
                  </a:lnTo>
                  <a:lnTo>
                    <a:pt x="58965" y="43137"/>
                  </a:lnTo>
                  <a:lnTo>
                    <a:pt x="56605" y="44544"/>
                  </a:lnTo>
                  <a:lnTo>
                    <a:pt x="51576" y="46529"/>
                  </a:lnTo>
                  <a:lnTo>
                    <a:pt x="48877" y="46598"/>
                  </a:lnTo>
                  <a:lnTo>
                    <a:pt x="46147" y="45853"/>
                  </a:lnTo>
                  <a:lnTo>
                    <a:pt x="44265" y="44193"/>
                  </a:lnTo>
                  <a:lnTo>
                    <a:pt x="43193" y="42558"/>
                  </a:lnTo>
                  <a:lnTo>
                    <a:pt x="43284" y="41772"/>
                  </a:lnTo>
                  <a:lnTo>
                    <a:pt x="44989" y="43084"/>
                  </a:lnTo>
                  <a:lnTo>
                    <a:pt x="46461" y="43728"/>
                  </a:lnTo>
                  <a:lnTo>
                    <a:pt x="47670" y="43299"/>
                  </a:lnTo>
                  <a:lnTo>
                    <a:pt x="48523" y="42590"/>
                  </a:lnTo>
                  <a:lnTo>
                    <a:pt x="45761" y="37300"/>
                  </a:lnTo>
                  <a:lnTo>
                    <a:pt x="45882" y="36181"/>
                  </a:lnTo>
                  <a:close/>
                  <a:moveTo>
                    <a:pt x="178317" y="29307"/>
                  </a:moveTo>
                  <a:lnTo>
                    <a:pt x="180355" y="29546"/>
                  </a:lnTo>
                  <a:lnTo>
                    <a:pt x="183922" y="30316"/>
                  </a:lnTo>
                  <a:lnTo>
                    <a:pt x="183610" y="31847"/>
                  </a:lnTo>
                  <a:lnTo>
                    <a:pt x="183028" y="33031"/>
                  </a:lnTo>
                  <a:lnTo>
                    <a:pt x="181987" y="33845"/>
                  </a:lnTo>
                  <a:lnTo>
                    <a:pt x="180846" y="32670"/>
                  </a:lnTo>
                  <a:lnTo>
                    <a:pt x="180120" y="32540"/>
                  </a:lnTo>
                  <a:lnTo>
                    <a:pt x="179118" y="32074"/>
                  </a:lnTo>
                  <a:lnTo>
                    <a:pt x="177171" y="30765"/>
                  </a:lnTo>
                  <a:lnTo>
                    <a:pt x="176699" y="29409"/>
                  </a:lnTo>
                  <a:close/>
                  <a:moveTo>
                    <a:pt x="174999" y="23711"/>
                  </a:moveTo>
                  <a:lnTo>
                    <a:pt x="175406" y="25347"/>
                  </a:lnTo>
                  <a:lnTo>
                    <a:pt x="177331" y="26043"/>
                  </a:lnTo>
                  <a:lnTo>
                    <a:pt x="177446" y="26401"/>
                  </a:lnTo>
                  <a:lnTo>
                    <a:pt x="178628" y="27788"/>
                  </a:lnTo>
                  <a:lnTo>
                    <a:pt x="177692" y="28359"/>
                  </a:lnTo>
                  <a:lnTo>
                    <a:pt x="176858" y="28434"/>
                  </a:lnTo>
                  <a:lnTo>
                    <a:pt x="174333" y="27324"/>
                  </a:lnTo>
                  <a:lnTo>
                    <a:pt x="173579" y="26396"/>
                  </a:lnTo>
                  <a:lnTo>
                    <a:pt x="174464" y="25152"/>
                  </a:lnTo>
                  <a:lnTo>
                    <a:pt x="174655" y="23801"/>
                  </a:lnTo>
                  <a:close/>
                  <a:moveTo>
                    <a:pt x="169539" y="20100"/>
                  </a:moveTo>
                  <a:lnTo>
                    <a:pt x="170817" y="20264"/>
                  </a:lnTo>
                  <a:lnTo>
                    <a:pt x="172249" y="21444"/>
                  </a:lnTo>
                  <a:lnTo>
                    <a:pt x="173072" y="23610"/>
                  </a:lnTo>
                  <a:lnTo>
                    <a:pt x="173948" y="24163"/>
                  </a:lnTo>
                  <a:lnTo>
                    <a:pt x="173431" y="24607"/>
                  </a:lnTo>
                  <a:lnTo>
                    <a:pt x="172057" y="23614"/>
                  </a:lnTo>
                  <a:lnTo>
                    <a:pt x="170071" y="23182"/>
                  </a:lnTo>
                  <a:lnTo>
                    <a:pt x="168901" y="21637"/>
                  </a:lnTo>
                  <a:lnTo>
                    <a:pt x="167789" y="21043"/>
                  </a:lnTo>
                  <a:lnTo>
                    <a:pt x="167699" y="20474"/>
                  </a:lnTo>
                  <a:close/>
                  <a:moveTo>
                    <a:pt x="158657" y="17044"/>
                  </a:moveTo>
                  <a:lnTo>
                    <a:pt x="162138" y="17610"/>
                  </a:lnTo>
                  <a:lnTo>
                    <a:pt x="163344" y="17271"/>
                  </a:lnTo>
                  <a:lnTo>
                    <a:pt x="164504" y="17171"/>
                  </a:lnTo>
                  <a:lnTo>
                    <a:pt x="165730" y="17408"/>
                  </a:lnTo>
                  <a:lnTo>
                    <a:pt x="167437" y="19625"/>
                  </a:lnTo>
                  <a:lnTo>
                    <a:pt x="165938" y="19901"/>
                  </a:lnTo>
                  <a:lnTo>
                    <a:pt x="164748" y="19901"/>
                  </a:lnTo>
                  <a:lnTo>
                    <a:pt x="163870" y="19501"/>
                  </a:lnTo>
                  <a:lnTo>
                    <a:pt x="160749" y="19396"/>
                  </a:lnTo>
                  <a:lnTo>
                    <a:pt x="158686" y="18753"/>
                  </a:lnTo>
                  <a:lnTo>
                    <a:pt x="157554" y="18202"/>
                  </a:lnTo>
                  <a:lnTo>
                    <a:pt x="156999" y="17532"/>
                  </a:lnTo>
                  <a:close/>
                  <a:moveTo>
                    <a:pt x="134593" y="10253"/>
                  </a:moveTo>
                  <a:lnTo>
                    <a:pt x="139587" y="13600"/>
                  </a:lnTo>
                  <a:lnTo>
                    <a:pt x="140415" y="14064"/>
                  </a:lnTo>
                  <a:lnTo>
                    <a:pt x="140456" y="14765"/>
                  </a:lnTo>
                  <a:lnTo>
                    <a:pt x="136023" y="12805"/>
                  </a:lnTo>
                  <a:lnTo>
                    <a:pt x="134119" y="10763"/>
                  </a:lnTo>
                  <a:lnTo>
                    <a:pt x="133350" y="10294"/>
                  </a:lnTo>
                  <a:close/>
                  <a:moveTo>
                    <a:pt x="70638" y="0"/>
                  </a:moveTo>
                  <a:lnTo>
                    <a:pt x="77330" y="733"/>
                  </a:lnTo>
                  <a:lnTo>
                    <a:pt x="83974" y="1977"/>
                  </a:lnTo>
                  <a:lnTo>
                    <a:pt x="89346" y="1625"/>
                  </a:lnTo>
                  <a:lnTo>
                    <a:pt x="91913" y="899"/>
                  </a:lnTo>
                  <a:lnTo>
                    <a:pt x="91678" y="1654"/>
                  </a:lnTo>
                  <a:lnTo>
                    <a:pt x="94036" y="3496"/>
                  </a:lnTo>
                  <a:lnTo>
                    <a:pt x="94898" y="3623"/>
                  </a:lnTo>
                  <a:lnTo>
                    <a:pt x="98370" y="2690"/>
                  </a:lnTo>
                  <a:lnTo>
                    <a:pt x="107436" y="2336"/>
                  </a:lnTo>
                  <a:lnTo>
                    <a:pt x="108367" y="2853"/>
                  </a:lnTo>
                  <a:lnTo>
                    <a:pt x="109964" y="4648"/>
                  </a:lnTo>
                  <a:lnTo>
                    <a:pt x="112278" y="5759"/>
                  </a:lnTo>
                  <a:lnTo>
                    <a:pt x="114670" y="6603"/>
                  </a:lnTo>
                  <a:lnTo>
                    <a:pt x="117173" y="6829"/>
                  </a:lnTo>
                  <a:lnTo>
                    <a:pt x="119672" y="6444"/>
                  </a:lnTo>
                  <a:lnTo>
                    <a:pt x="122013" y="6632"/>
                  </a:lnTo>
                  <a:lnTo>
                    <a:pt x="124938" y="8379"/>
                  </a:lnTo>
                  <a:lnTo>
                    <a:pt x="125861" y="8587"/>
                  </a:lnTo>
                  <a:lnTo>
                    <a:pt x="128479" y="8110"/>
                  </a:lnTo>
                  <a:lnTo>
                    <a:pt x="127707" y="9707"/>
                  </a:lnTo>
                  <a:lnTo>
                    <a:pt x="132121" y="11952"/>
                  </a:lnTo>
                  <a:lnTo>
                    <a:pt x="135352" y="16363"/>
                  </a:lnTo>
                  <a:lnTo>
                    <a:pt x="137703" y="18174"/>
                  </a:lnTo>
                  <a:lnTo>
                    <a:pt x="140192" y="19798"/>
                  </a:lnTo>
                  <a:lnTo>
                    <a:pt x="142287" y="20900"/>
                  </a:lnTo>
                  <a:lnTo>
                    <a:pt x="144638" y="21425"/>
                  </a:lnTo>
                  <a:lnTo>
                    <a:pt x="151765" y="21209"/>
                  </a:lnTo>
                  <a:lnTo>
                    <a:pt x="153451" y="21345"/>
                  </a:lnTo>
                  <a:lnTo>
                    <a:pt x="154959" y="21973"/>
                  </a:lnTo>
                  <a:lnTo>
                    <a:pt x="156397" y="22220"/>
                  </a:lnTo>
                  <a:lnTo>
                    <a:pt x="157228" y="21986"/>
                  </a:lnTo>
                  <a:lnTo>
                    <a:pt x="171006" y="28841"/>
                  </a:lnTo>
                  <a:lnTo>
                    <a:pt x="175383" y="32498"/>
                  </a:lnTo>
                  <a:lnTo>
                    <a:pt x="178057" y="34397"/>
                  </a:lnTo>
                  <a:lnTo>
                    <a:pt x="183843" y="37141"/>
                  </a:lnTo>
                  <a:lnTo>
                    <a:pt x="186169" y="37745"/>
                  </a:lnTo>
                  <a:lnTo>
                    <a:pt x="187385" y="37381"/>
                  </a:lnTo>
                  <a:lnTo>
                    <a:pt x="187147" y="36778"/>
                  </a:lnTo>
                  <a:lnTo>
                    <a:pt x="185453" y="35255"/>
                  </a:lnTo>
                  <a:lnTo>
                    <a:pt x="185204" y="34697"/>
                  </a:lnTo>
                  <a:lnTo>
                    <a:pt x="187382" y="35166"/>
                  </a:lnTo>
                  <a:lnTo>
                    <a:pt x="191315" y="38259"/>
                  </a:lnTo>
                  <a:lnTo>
                    <a:pt x="192397" y="39402"/>
                  </a:lnTo>
                  <a:lnTo>
                    <a:pt x="194360" y="40461"/>
                  </a:lnTo>
                  <a:lnTo>
                    <a:pt x="196336" y="41226"/>
                  </a:lnTo>
                  <a:lnTo>
                    <a:pt x="195395" y="42446"/>
                  </a:lnTo>
                  <a:lnTo>
                    <a:pt x="193790" y="42550"/>
                  </a:lnTo>
                  <a:lnTo>
                    <a:pt x="190706" y="42048"/>
                  </a:lnTo>
                  <a:lnTo>
                    <a:pt x="193156" y="44033"/>
                  </a:lnTo>
                  <a:lnTo>
                    <a:pt x="193579" y="45476"/>
                  </a:lnTo>
                  <a:lnTo>
                    <a:pt x="194719" y="45599"/>
                  </a:lnTo>
                  <a:lnTo>
                    <a:pt x="196416" y="44013"/>
                  </a:lnTo>
                  <a:lnTo>
                    <a:pt x="197489" y="42676"/>
                  </a:lnTo>
                  <a:lnTo>
                    <a:pt x="201815" y="46127"/>
                  </a:lnTo>
                  <a:lnTo>
                    <a:pt x="204141" y="47706"/>
                  </a:lnTo>
                  <a:lnTo>
                    <a:pt x="203545" y="48626"/>
                  </a:lnTo>
                  <a:lnTo>
                    <a:pt x="203352" y="49538"/>
                  </a:lnTo>
                  <a:lnTo>
                    <a:pt x="205950" y="48690"/>
                  </a:lnTo>
                  <a:lnTo>
                    <a:pt x="206936" y="48784"/>
                  </a:lnTo>
                  <a:lnTo>
                    <a:pt x="207889" y="49273"/>
                  </a:lnTo>
                  <a:lnTo>
                    <a:pt x="208931" y="50756"/>
                  </a:lnTo>
                  <a:lnTo>
                    <a:pt x="211358" y="51084"/>
                  </a:lnTo>
                  <a:lnTo>
                    <a:pt x="213806" y="51045"/>
                  </a:lnTo>
                  <a:lnTo>
                    <a:pt x="218773" y="52270"/>
                  </a:lnTo>
                  <a:lnTo>
                    <a:pt x="223481" y="54760"/>
                  </a:lnTo>
                  <a:lnTo>
                    <a:pt x="227908" y="55269"/>
                  </a:lnTo>
                  <a:lnTo>
                    <a:pt x="232372" y="55354"/>
                  </a:lnTo>
                  <a:lnTo>
                    <a:pt x="234634" y="56672"/>
                  </a:lnTo>
                  <a:lnTo>
                    <a:pt x="235596" y="58437"/>
                  </a:lnTo>
                  <a:lnTo>
                    <a:pt x="234513" y="59688"/>
                  </a:lnTo>
                  <a:lnTo>
                    <a:pt x="233894" y="60994"/>
                  </a:lnTo>
                  <a:lnTo>
                    <a:pt x="235559" y="62595"/>
                  </a:lnTo>
                  <a:lnTo>
                    <a:pt x="231934" y="63275"/>
                  </a:lnTo>
                  <a:lnTo>
                    <a:pt x="231423" y="64239"/>
                  </a:lnTo>
                  <a:lnTo>
                    <a:pt x="231611" y="65280"/>
                  </a:lnTo>
                  <a:lnTo>
                    <a:pt x="232331" y="65852"/>
                  </a:lnTo>
                  <a:lnTo>
                    <a:pt x="234406" y="65350"/>
                  </a:lnTo>
                  <a:lnTo>
                    <a:pt x="237401" y="65796"/>
                  </a:lnTo>
                  <a:lnTo>
                    <a:pt x="242130" y="66194"/>
                  </a:lnTo>
                  <a:lnTo>
                    <a:pt x="245296" y="65871"/>
                  </a:lnTo>
                  <a:lnTo>
                    <a:pt x="251726" y="66960"/>
                  </a:lnTo>
                  <a:lnTo>
                    <a:pt x="253681" y="67543"/>
                  </a:lnTo>
                  <a:lnTo>
                    <a:pt x="257497" y="69591"/>
                  </a:lnTo>
                  <a:lnTo>
                    <a:pt x="259263" y="70940"/>
                  </a:lnTo>
                  <a:lnTo>
                    <a:pt x="263048" y="74575"/>
                  </a:lnTo>
                  <a:lnTo>
                    <a:pt x="266313" y="76005"/>
                  </a:lnTo>
                  <a:lnTo>
                    <a:pt x="269143" y="76351"/>
                  </a:lnTo>
                  <a:lnTo>
                    <a:pt x="270129" y="76112"/>
                  </a:lnTo>
                  <a:lnTo>
                    <a:pt x="271027" y="76507"/>
                  </a:lnTo>
                  <a:lnTo>
                    <a:pt x="271813" y="77017"/>
                  </a:lnTo>
                  <a:lnTo>
                    <a:pt x="272590" y="78607"/>
                  </a:lnTo>
                  <a:lnTo>
                    <a:pt x="272162" y="80280"/>
                  </a:lnTo>
                  <a:lnTo>
                    <a:pt x="270547" y="81637"/>
                  </a:lnTo>
                  <a:lnTo>
                    <a:pt x="269649" y="82625"/>
                  </a:lnTo>
                  <a:lnTo>
                    <a:pt x="265609" y="82740"/>
                  </a:lnTo>
                  <a:lnTo>
                    <a:pt x="259965" y="83194"/>
                  </a:lnTo>
                  <a:lnTo>
                    <a:pt x="254505" y="84668"/>
                  </a:lnTo>
                  <a:lnTo>
                    <a:pt x="251841" y="85838"/>
                  </a:lnTo>
                  <a:lnTo>
                    <a:pt x="250624" y="86613"/>
                  </a:lnTo>
                  <a:lnTo>
                    <a:pt x="247752" y="87328"/>
                  </a:lnTo>
                  <a:lnTo>
                    <a:pt x="247556" y="86716"/>
                  </a:lnTo>
                  <a:lnTo>
                    <a:pt x="247611" y="85944"/>
                  </a:lnTo>
                  <a:lnTo>
                    <a:pt x="246859" y="84507"/>
                  </a:lnTo>
                  <a:lnTo>
                    <a:pt x="246208" y="85799"/>
                  </a:lnTo>
                  <a:lnTo>
                    <a:pt x="245139" y="86742"/>
                  </a:lnTo>
                  <a:lnTo>
                    <a:pt x="243338" y="87547"/>
                  </a:lnTo>
                  <a:lnTo>
                    <a:pt x="236708" y="87600"/>
                  </a:lnTo>
                  <a:lnTo>
                    <a:pt x="234039" y="86516"/>
                  </a:lnTo>
                  <a:lnTo>
                    <a:pt x="231303" y="85772"/>
                  </a:lnTo>
                  <a:lnTo>
                    <a:pt x="221329" y="84998"/>
                  </a:lnTo>
                  <a:lnTo>
                    <a:pt x="218936" y="85067"/>
                  </a:lnTo>
                  <a:lnTo>
                    <a:pt x="212273" y="85871"/>
                  </a:lnTo>
                  <a:lnTo>
                    <a:pt x="205576" y="86305"/>
                  </a:lnTo>
                  <a:lnTo>
                    <a:pt x="202774" y="86803"/>
                  </a:lnTo>
                  <a:lnTo>
                    <a:pt x="200004" y="87554"/>
                  </a:lnTo>
                  <a:lnTo>
                    <a:pt x="194617" y="87530"/>
                  </a:lnTo>
                  <a:lnTo>
                    <a:pt x="188246" y="88383"/>
                  </a:lnTo>
                  <a:lnTo>
                    <a:pt x="181858" y="88539"/>
                  </a:lnTo>
                  <a:lnTo>
                    <a:pt x="185950" y="82561"/>
                  </a:lnTo>
                  <a:lnTo>
                    <a:pt x="194580" y="76799"/>
                  </a:lnTo>
                  <a:lnTo>
                    <a:pt x="196203" y="75562"/>
                  </a:lnTo>
                  <a:lnTo>
                    <a:pt x="197358" y="73970"/>
                  </a:lnTo>
                  <a:lnTo>
                    <a:pt x="197633" y="72769"/>
                  </a:lnTo>
                  <a:lnTo>
                    <a:pt x="197254" y="71747"/>
                  </a:lnTo>
                  <a:lnTo>
                    <a:pt x="195199" y="69940"/>
                  </a:lnTo>
                  <a:lnTo>
                    <a:pt x="194781" y="68595"/>
                  </a:lnTo>
                  <a:lnTo>
                    <a:pt x="194169" y="67725"/>
                  </a:lnTo>
                  <a:lnTo>
                    <a:pt x="191178" y="66968"/>
                  </a:lnTo>
                  <a:lnTo>
                    <a:pt x="188148" y="66515"/>
                  </a:lnTo>
                  <a:lnTo>
                    <a:pt x="184961" y="66499"/>
                  </a:lnTo>
                  <a:lnTo>
                    <a:pt x="178263" y="65876"/>
                  </a:lnTo>
                  <a:lnTo>
                    <a:pt x="174703" y="65831"/>
                  </a:lnTo>
                  <a:lnTo>
                    <a:pt x="171685" y="64600"/>
                  </a:lnTo>
                  <a:lnTo>
                    <a:pt x="166676" y="60216"/>
                  </a:lnTo>
                  <a:lnTo>
                    <a:pt x="164331" y="58988"/>
                  </a:lnTo>
                  <a:lnTo>
                    <a:pt x="163127" y="58005"/>
                  </a:lnTo>
                  <a:lnTo>
                    <a:pt x="162190" y="56874"/>
                  </a:lnTo>
                  <a:lnTo>
                    <a:pt x="161012" y="50429"/>
                  </a:lnTo>
                  <a:lnTo>
                    <a:pt x="160014" y="47326"/>
                  </a:lnTo>
                  <a:lnTo>
                    <a:pt x="158496" y="44627"/>
                  </a:lnTo>
                  <a:lnTo>
                    <a:pt x="156183" y="42576"/>
                  </a:lnTo>
                  <a:lnTo>
                    <a:pt x="153767" y="41880"/>
                  </a:lnTo>
                  <a:lnTo>
                    <a:pt x="144481" y="43636"/>
                  </a:lnTo>
                  <a:lnTo>
                    <a:pt x="142319" y="43376"/>
                  </a:lnTo>
                  <a:lnTo>
                    <a:pt x="140215" y="42778"/>
                  </a:lnTo>
                  <a:lnTo>
                    <a:pt x="126195" y="38596"/>
                  </a:lnTo>
                  <a:lnTo>
                    <a:pt x="120414" y="36294"/>
                  </a:lnTo>
                  <a:lnTo>
                    <a:pt x="118056" y="35153"/>
                  </a:lnTo>
                  <a:lnTo>
                    <a:pt x="116044" y="33524"/>
                  </a:lnTo>
                  <a:lnTo>
                    <a:pt x="113959" y="30855"/>
                  </a:lnTo>
                  <a:lnTo>
                    <a:pt x="111613" y="28468"/>
                  </a:lnTo>
                  <a:lnTo>
                    <a:pt x="111629" y="29434"/>
                  </a:lnTo>
                  <a:lnTo>
                    <a:pt x="111267" y="30062"/>
                  </a:lnTo>
                  <a:lnTo>
                    <a:pt x="99531" y="30346"/>
                  </a:lnTo>
                  <a:lnTo>
                    <a:pt x="97662" y="29794"/>
                  </a:lnTo>
                  <a:lnTo>
                    <a:pt x="96458" y="29146"/>
                  </a:lnTo>
                  <a:lnTo>
                    <a:pt x="95608" y="28181"/>
                  </a:lnTo>
                  <a:lnTo>
                    <a:pt x="94979" y="26245"/>
                  </a:lnTo>
                  <a:lnTo>
                    <a:pt x="93861" y="24620"/>
                  </a:lnTo>
                  <a:lnTo>
                    <a:pt x="93505" y="26352"/>
                  </a:lnTo>
                  <a:lnTo>
                    <a:pt x="92926" y="27949"/>
                  </a:lnTo>
                  <a:lnTo>
                    <a:pt x="91355" y="28841"/>
                  </a:lnTo>
                  <a:lnTo>
                    <a:pt x="89557" y="28982"/>
                  </a:lnTo>
                  <a:lnTo>
                    <a:pt x="87380" y="26861"/>
                  </a:lnTo>
                  <a:lnTo>
                    <a:pt x="77869" y="26425"/>
                  </a:lnTo>
                  <a:lnTo>
                    <a:pt x="77028" y="26066"/>
                  </a:lnTo>
                  <a:lnTo>
                    <a:pt x="73904" y="24010"/>
                  </a:lnTo>
                  <a:lnTo>
                    <a:pt x="71238" y="21430"/>
                  </a:lnTo>
                  <a:lnTo>
                    <a:pt x="73892" y="20521"/>
                  </a:lnTo>
                  <a:lnTo>
                    <a:pt x="79368" y="19323"/>
                  </a:lnTo>
                  <a:lnTo>
                    <a:pt x="80554" y="18525"/>
                  </a:lnTo>
                  <a:lnTo>
                    <a:pt x="81241" y="17508"/>
                  </a:lnTo>
                  <a:lnTo>
                    <a:pt x="80746" y="15986"/>
                  </a:lnTo>
                  <a:lnTo>
                    <a:pt x="79658" y="14892"/>
                  </a:lnTo>
                  <a:lnTo>
                    <a:pt x="78537" y="14249"/>
                  </a:lnTo>
                  <a:lnTo>
                    <a:pt x="77296" y="13838"/>
                  </a:lnTo>
                  <a:lnTo>
                    <a:pt x="75658" y="13662"/>
                  </a:lnTo>
                  <a:lnTo>
                    <a:pt x="54495" y="13389"/>
                  </a:lnTo>
                  <a:lnTo>
                    <a:pt x="53269" y="14214"/>
                  </a:lnTo>
                  <a:lnTo>
                    <a:pt x="51371" y="15900"/>
                  </a:lnTo>
                  <a:lnTo>
                    <a:pt x="47613" y="18063"/>
                  </a:lnTo>
                  <a:lnTo>
                    <a:pt x="45136" y="20306"/>
                  </a:lnTo>
                  <a:lnTo>
                    <a:pt x="44207" y="21463"/>
                  </a:lnTo>
                  <a:lnTo>
                    <a:pt x="43050" y="22290"/>
                  </a:lnTo>
                  <a:lnTo>
                    <a:pt x="40445" y="23681"/>
                  </a:lnTo>
                  <a:lnTo>
                    <a:pt x="38226" y="25817"/>
                  </a:lnTo>
                  <a:lnTo>
                    <a:pt x="35531" y="26772"/>
                  </a:lnTo>
                  <a:lnTo>
                    <a:pt x="34058" y="26192"/>
                  </a:lnTo>
                  <a:lnTo>
                    <a:pt x="32600" y="26197"/>
                  </a:lnTo>
                  <a:lnTo>
                    <a:pt x="31546" y="26723"/>
                  </a:lnTo>
                  <a:lnTo>
                    <a:pt x="30442" y="26964"/>
                  </a:lnTo>
                  <a:lnTo>
                    <a:pt x="25014" y="27225"/>
                  </a:lnTo>
                  <a:lnTo>
                    <a:pt x="24202" y="27770"/>
                  </a:lnTo>
                  <a:lnTo>
                    <a:pt x="23427" y="29302"/>
                  </a:lnTo>
                  <a:lnTo>
                    <a:pt x="22546" y="32281"/>
                  </a:lnTo>
                  <a:lnTo>
                    <a:pt x="21711" y="33265"/>
                  </a:lnTo>
                  <a:lnTo>
                    <a:pt x="18989" y="33641"/>
                  </a:lnTo>
                  <a:lnTo>
                    <a:pt x="16394" y="34457"/>
                  </a:lnTo>
                  <a:lnTo>
                    <a:pt x="11115" y="37292"/>
                  </a:lnTo>
                  <a:lnTo>
                    <a:pt x="9752" y="37704"/>
                  </a:lnTo>
                  <a:lnTo>
                    <a:pt x="10048" y="35627"/>
                  </a:lnTo>
                  <a:lnTo>
                    <a:pt x="9783" y="33607"/>
                  </a:lnTo>
                  <a:lnTo>
                    <a:pt x="8297" y="33535"/>
                  </a:lnTo>
                  <a:lnTo>
                    <a:pt x="6601" y="33871"/>
                  </a:lnTo>
                  <a:lnTo>
                    <a:pt x="5187" y="34437"/>
                  </a:lnTo>
                  <a:lnTo>
                    <a:pt x="2570" y="35946"/>
                  </a:lnTo>
                  <a:lnTo>
                    <a:pt x="1241" y="36328"/>
                  </a:lnTo>
                  <a:lnTo>
                    <a:pt x="0" y="35556"/>
                  </a:lnTo>
                  <a:lnTo>
                    <a:pt x="253" y="34568"/>
                  </a:lnTo>
                  <a:lnTo>
                    <a:pt x="8987" y="30924"/>
                  </a:lnTo>
                  <a:lnTo>
                    <a:pt x="9964" y="30646"/>
                  </a:lnTo>
                  <a:lnTo>
                    <a:pt x="11516" y="30920"/>
                  </a:lnTo>
                  <a:lnTo>
                    <a:pt x="13035" y="30796"/>
                  </a:lnTo>
                  <a:lnTo>
                    <a:pt x="14221" y="29776"/>
                  </a:lnTo>
                  <a:lnTo>
                    <a:pt x="12784" y="24950"/>
                  </a:lnTo>
                  <a:lnTo>
                    <a:pt x="13335" y="21665"/>
                  </a:lnTo>
                  <a:lnTo>
                    <a:pt x="15362" y="19124"/>
                  </a:lnTo>
                  <a:lnTo>
                    <a:pt x="19408" y="15275"/>
                  </a:lnTo>
                  <a:lnTo>
                    <a:pt x="21357" y="14010"/>
                  </a:lnTo>
                  <a:lnTo>
                    <a:pt x="41315" y="5957"/>
                  </a:lnTo>
                  <a:lnTo>
                    <a:pt x="43359" y="5546"/>
                  </a:lnTo>
                  <a:lnTo>
                    <a:pt x="56326" y="3928"/>
                  </a:lnTo>
                  <a:lnTo>
                    <a:pt x="58305" y="3366"/>
                  </a:lnTo>
                  <a:lnTo>
                    <a:pt x="64321" y="976"/>
                  </a:lnTo>
                  <a:close/>
                </a:path>
              </a:pathLst>
            </a:custGeom>
            <a:solidFill>
              <a:srgbClr val="007CBC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51" name="ee4p_DM_1_82333">
              <a:extLst>
                <a:ext uri="{FF2B5EF4-FFF2-40B4-BE49-F238E27FC236}">
                  <a16:creationId xmlns:a16="http://schemas.microsoft.com/office/drawing/2014/main" id="{B85010EA-FE89-67C1-FCFA-A5E66D3932A2}"/>
                </a:ext>
              </a:extLst>
            </p:cNvPr>
            <p:cNvSpPr>
              <a:spLocks noChangeAspect="1"/>
            </p:cNvSpPr>
            <p:nvPr>
              <p:custDataLst>
                <p:tags r:id="rId179"/>
              </p:custDataLst>
            </p:nvPr>
          </p:nvSpPr>
          <p:spPr>
            <a:xfrm>
              <a:off x="4807409" y="4226258"/>
              <a:ext cx="6390" cy="11852"/>
            </a:xfrm>
            <a:custGeom>
              <a:avLst/>
              <a:gdLst/>
              <a:ahLst/>
              <a:cxnLst/>
              <a:rect l="0" t="0" r="0" b="0"/>
              <a:pathLst>
                <a:path w="5088" h="9187">
                  <a:moveTo>
                    <a:pt x="4411" y="8694"/>
                  </a:moveTo>
                  <a:lnTo>
                    <a:pt x="2339" y="9186"/>
                  </a:lnTo>
                  <a:lnTo>
                    <a:pt x="1447" y="5281"/>
                  </a:lnTo>
                  <a:lnTo>
                    <a:pt x="0" y="2445"/>
                  </a:lnTo>
                  <a:lnTo>
                    <a:pt x="248" y="671"/>
                  </a:lnTo>
                  <a:lnTo>
                    <a:pt x="510" y="0"/>
                  </a:lnTo>
                  <a:lnTo>
                    <a:pt x="3563" y="1088"/>
                  </a:lnTo>
                  <a:lnTo>
                    <a:pt x="4509" y="2410"/>
                  </a:lnTo>
                  <a:lnTo>
                    <a:pt x="5087" y="5886"/>
                  </a:lnTo>
                  <a:close/>
                </a:path>
              </a:pathLst>
            </a:custGeom>
            <a:solidFill>
              <a:srgbClr val="007CBC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52" name="ee4p_DO_1_82333">
              <a:extLst>
                <a:ext uri="{FF2B5EF4-FFF2-40B4-BE49-F238E27FC236}">
                  <a16:creationId xmlns:a16="http://schemas.microsoft.com/office/drawing/2014/main" id="{2861D9BB-B0CE-573D-121E-C794FD3F1693}"/>
                </a:ext>
              </a:extLst>
            </p:cNvPr>
            <p:cNvSpPr>
              <a:spLocks noChangeAspect="1"/>
            </p:cNvSpPr>
            <p:nvPr>
              <p:custDataLst>
                <p:tags r:id="rId180"/>
              </p:custDataLst>
            </p:nvPr>
          </p:nvSpPr>
          <p:spPr>
            <a:xfrm>
              <a:off x="4515295" y="4100264"/>
              <a:ext cx="101671" cy="67296"/>
            </a:xfrm>
            <a:custGeom>
              <a:avLst/>
              <a:gdLst/>
              <a:ahLst/>
              <a:cxnLst/>
              <a:rect l="0" t="0" r="0" b="0"/>
              <a:pathLst>
                <a:path w="80959" h="52166">
                  <a:moveTo>
                    <a:pt x="5132" y="42957"/>
                  </a:moveTo>
                  <a:lnTo>
                    <a:pt x="5233" y="39193"/>
                  </a:lnTo>
                  <a:lnTo>
                    <a:pt x="5819" y="37665"/>
                  </a:lnTo>
                  <a:lnTo>
                    <a:pt x="5274" y="36054"/>
                  </a:lnTo>
                  <a:lnTo>
                    <a:pt x="2827" y="34342"/>
                  </a:lnTo>
                  <a:lnTo>
                    <a:pt x="1327" y="32137"/>
                  </a:lnTo>
                  <a:lnTo>
                    <a:pt x="0" y="30186"/>
                  </a:lnTo>
                  <a:lnTo>
                    <a:pt x="300" y="29902"/>
                  </a:lnTo>
                  <a:lnTo>
                    <a:pt x="2961" y="29814"/>
                  </a:lnTo>
                  <a:lnTo>
                    <a:pt x="3896" y="29097"/>
                  </a:lnTo>
                  <a:lnTo>
                    <a:pt x="5687" y="27097"/>
                  </a:lnTo>
                  <a:lnTo>
                    <a:pt x="6044" y="25487"/>
                  </a:lnTo>
                  <a:lnTo>
                    <a:pt x="5899" y="24269"/>
                  </a:lnTo>
                  <a:lnTo>
                    <a:pt x="4733" y="22812"/>
                  </a:lnTo>
                  <a:lnTo>
                    <a:pt x="4274" y="21277"/>
                  </a:lnTo>
                  <a:lnTo>
                    <a:pt x="5713" y="19937"/>
                  </a:lnTo>
                  <a:lnTo>
                    <a:pt x="7593" y="17982"/>
                  </a:lnTo>
                  <a:lnTo>
                    <a:pt x="7852" y="17231"/>
                  </a:lnTo>
                  <a:lnTo>
                    <a:pt x="7810" y="16488"/>
                  </a:lnTo>
                  <a:lnTo>
                    <a:pt x="5615" y="14426"/>
                  </a:lnTo>
                  <a:lnTo>
                    <a:pt x="5467" y="13541"/>
                  </a:lnTo>
                  <a:lnTo>
                    <a:pt x="6489" y="11303"/>
                  </a:lnTo>
                  <a:lnTo>
                    <a:pt x="6389" y="9820"/>
                  </a:lnTo>
                  <a:lnTo>
                    <a:pt x="5373" y="5190"/>
                  </a:lnTo>
                  <a:lnTo>
                    <a:pt x="4890" y="4501"/>
                  </a:lnTo>
                  <a:lnTo>
                    <a:pt x="5866" y="4112"/>
                  </a:lnTo>
                  <a:lnTo>
                    <a:pt x="6509" y="2731"/>
                  </a:lnTo>
                  <a:lnTo>
                    <a:pt x="7364" y="1502"/>
                  </a:lnTo>
                  <a:lnTo>
                    <a:pt x="8501" y="840"/>
                  </a:lnTo>
                  <a:lnTo>
                    <a:pt x="9788" y="428"/>
                  </a:lnTo>
                  <a:lnTo>
                    <a:pt x="12354" y="460"/>
                  </a:lnTo>
                  <a:lnTo>
                    <a:pt x="15900" y="1532"/>
                  </a:lnTo>
                  <a:lnTo>
                    <a:pt x="16904" y="1514"/>
                  </a:lnTo>
                  <a:lnTo>
                    <a:pt x="20309" y="541"/>
                  </a:lnTo>
                  <a:lnTo>
                    <a:pt x="23135" y="0"/>
                  </a:lnTo>
                  <a:lnTo>
                    <a:pt x="25794" y="615"/>
                  </a:lnTo>
                  <a:lnTo>
                    <a:pt x="26870" y="1451"/>
                  </a:lnTo>
                  <a:lnTo>
                    <a:pt x="29066" y="2775"/>
                  </a:lnTo>
                  <a:lnTo>
                    <a:pt x="30166" y="3180"/>
                  </a:lnTo>
                  <a:lnTo>
                    <a:pt x="33634" y="3150"/>
                  </a:lnTo>
                  <a:lnTo>
                    <a:pt x="34583" y="3281"/>
                  </a:lnTo>
                  <a:lnTo>
                    <a:pt x="37495" y="5468"/>
                  </a:lnTo>
                  <a:lnTo>
                    <a:pt x="39947" y="6342"/>
                  </a:lnTo>
                  <a:lnTo>
                    <a:pt x="41371" y="6386"/>
                  </a:lnTo>
                  <a:lnTo>
                    <a:pt x="43922" y="5540"/>
                  </a:lnTo>
                  <a:lnTo>
                    <a:pt x="45188" y="5565"/>
                  </a:lnTo>
                  <a:lnTo>
                    <a:pt x="46639" y="7451"/>
                  </a:lnTo>
                  <a:lnTo>
                    <a:pt x="46924" y="10125"/>
                  </a:lnTo>
                  <a:lnTo>
                    <a:pt x="48137" y="12561"/>
                  </a:lnTo>
                  <a:lnTo>
                    <a:pt x="49996" y="14120"/>
                  </a:lnTo>
                  <a:lnTo>
                    <a:pt x="59160" y="13465"/>
                  </a:lnTo>
                  <a:lnTo>
                    <a:pt x="61205" y="14748"/>
                  </a:lnTo>
                  <a:lnTo>
                    <a:pt x="60502" y="15806"/>
                  </a:lnTo>
                  <a:lnTo>
                    <a:pt x="59209" y="16371"/>
                  </a:lnTo>
                  <a:lnTo>
                    <a:pt x="54853" y="16120"/>
                  </a:lnTo>
                  <a:lnTo>
                    <a:pt x="52946" y="16246"/>
                  </a:lnTo>
                  <a:lnTo>
                    <a:pt x="52564" y="17301"/>
                  </a:lnTo>
                  <a:lnTo>
                    <a:pt x="52555" y="18279"/>
                  </a:lnTo>
                  <a:lnTo>
                    <a:pt x="55105" y="18513"/>
                  </a:lnTo>
                  <a:lnTo>
                    <a:pt x="57605" y="19007"/>
                  </a:lnTo>
                  <a:lnTo>
                    <a:pt x="60149" y="19790"/>
                  </a:lnTo>
                  <a:lnTo>
                    <a:pt x="62740" y="20327"/>
                  </a:lnTo>
                  <a:lnTo>
                    <a:pt x="65653" y="20678"/>
                  </a:lnTo>
                  <a:lnTo>
                    <a:pt x="68526" y="21244"/>
                  </a:lnTo>
                  <a:lnTo>
                    <a:pt x="73316" y="23161"/>
                  </a:lnTo>
                  <a:lnTo>
                    <a:pt x="78608" y="27519"/>
                  </a:lnTo>
                  <a:lnTo>
                    <a:pt x="80024" y="28510"/>
                  </a:lnTo>
                  <a:lnTo>
                    <a:pt x="80958" y="29874"/>
                  </a:lnTo>
                  <a:lnTo>
                    <a:pt x="80513" y="31555"/>
                  </a:lnTo>
                  <a:lnTo>
                    <a:pt x="78621" y="34307"/>
                  </a:lnTo>
                  <a:lnTo>
                    <a:pt x="77552" y="35192"/>
                  </a:lnTo>
                  <a:lnTo>
                    <a:pt x="75991" y="35730"/>
                  </a:lnTo>
                  <a:lnTo>
                    <a:pt x="74920" y="36855"/>
                  </a:lnTo>
                  <a:lnTo>
                    <a:pt x="73889" y="38780"/>
                  </a:lnTo>
                  <a:lnTo>
                    <a:pt x="73258" y="38942"/>
                  </a:lnTo>
                  <a:lnTo>
                    <a:pt x="72515" y="38863"/>
                  </a:lnTo>
                  <a:lnTo>
                    <a:pt x="71244" y="37773"/>
                  </a:lnTo>
                  <a:lnTo>
                    <a:pt x="70336" y="36100"/>
                  </a:lnTo>
                  <a:lnTo>
                    <a:pt x="67784" y="34529"/>
                  </a:lnTo>
                  <a:lnTo>
                    <a:pt x="64747" y="34730"/>
                  </a:lnTo>
                  <a:lnTo>
                    <a:pt x="60275" y="33801"/>
                  </a:lnTo>
                  <a:lnTo>
                    <a:pt x="57567" y="34252"/>
                  </a:lnTo>
                  <a:lnTo>
                    <a:pt x="54860" y="34354"/>
                  </a:lnTo>
                  <a:lnTo>
                    <a:pt x="52089" y="33881"/>
                  </a:lnTo>
                  <a:lnTo>
                    <a:pt x="49305" y="33716"/>
                  </a:lnTo>
                  <a:lnTo>
                    <a:pt x="46524" y="34307"/>
                  </a:lnTo>
                  <a:lnTo>
                    <a:pt x="43828" y="35315"/>
                  </a:lnTo>
                  <a:lnTo>
                    <a:pt x="42833" y="35955"/>
                  </a:lnTo>
                  <a:lnTo>
                    <a:pt x="41102" y="37522"/>
                  </a:lnTo>
                  <a:lnTo>
                    <a:pt x="40184" y="38101"/>
                  </a:lnTo>
                  <a:lnTo>
                    <a:pt x="33621" y="38888"/>
                  </a:lnTo>
                  <a:lnTo>
                    <a:pt x="31730" y="37739"/>
                  </a:lnTo>
                  <a:lnTo>
                    <a:pt x="29978" y="36170"/>
                  </a:lnTo>
                  <a:lnTo>
                    <a:pt x="27454" y="35956"/>
                  </a:lnTo>
                  <a:lnTo>
                    <a:pt x="23795" y="37170"/>
                  </a:lnTo>
                  <a:lnTo>
                    <a:pt x="21506" y="37611"/>
                  </a:lnTo>
                  <a:lnTo>
                    <a:pt x="20574" y="38133"/>
                  </a:lnTo>
                  <a:lnTo>
                    <a:pt x="20303" y="38727"/>
                  </a:lnTo>
                  <a:lnTo>
                    <a:pt x="20294" y="40919"/>
                  </a:lnTo>
                  <a:lnTo>
                    <a:pt x="19777" y="42252"/>
                  </a:lnTo>
                  <a:lnTo>
                    <a:pt x="16211" y="47283"/>
                  </a:lnTo>
                  <a:lnTo>
                    <a:pt x="14198" y="50829"/>
                  </a:lnTo>
                  <a:lnTo>
                    <a:pt x="13371" y="51925"/>
                  </a:lnTo>
                  <a:lnTo>
                    <a:pt x="12415" y="52165"/>
                  </a:lnTo>
                  <a:lnTo>
                    <a:pt x="10659" y="50126"/>
                  </a:lnTo>
                  <a:lnTo>
                    <a:pt x="9538" y="49387"/>
                  </a:lnTo>
                  <a:lnTo>
                    <a:pt x="8152" y="49016"/>
                  </a:lnTo>
                  <a:lnTo>
                    <a:pt x="7565" y="47933"/>
                  </a:lnTo>
                  <a:lnTo>
                    <a:pt x="7588" y="46392"/>
                  </a:lnTo>
                  <a:lnTo>
                    <a:pt x="7223" y="44898"/>
                  </a:lnTo>
                  <a:lnTo>
                    <a:pt x="6367" y="43726"/>
                  </a:lnTo>
                  <a:close/>
                </a:path>
              </a:pathLst>
            </a:custGeom>
            <a:solidFill>
              <a:srgbClr val="007CBC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53" name="ee4p_EC_1_82333">
              <a:extLst>
                <a:ext uri="{FF2B5EF4-FFF2-40B4-BE49-F238E27FC236}">
                  <a16:creationId xmlns:a16="http://schemas.microsoft.com/office/drawing/2014/main" id="{03585127-0D9A-1518-CB62-DA50F56AEFF1}"/>
                </a:ext>
              </a:extLst>
            </p:cNvPr>
            <p:cNvSpPr>
              <a:spLocks noChangeAspect="1"/>
            </p:cNvSpPr>
            <p:nvPr>
              <p:custDataLst>
                <p:tags r:id="rId181"/>
              </p:custDataLst>
            </p:nvPr>
          </p:nvSpPr>
          <p:spPr>
            <a:xfrm>
              <a:off x="3969524" y="4634266"/>
              <a:ext cx="455543" cy="183993"/>
            </a:xfrm>
            <a:custGeom>
              <a:avLst/>
              <a:gdLst>
                <a:gd name="connsiteX0" fmla="*/ 293460 w 415960"/>
                <a:gd name="connsiteY0" fmla="*/ 104593 h 163552"/>
                <a:gd name="connsiteX1" fmla="*/ 295578 w 415960"/>
                <a:gd name="connsiteY1" fmla="*/ 104719 h 163552"/>
                <a:gd name="connsiteX2" fmla="*/ 297815 w 415960"/>
                <a:gd name="connsiteY2" fmla="*/ 106032 h 163552"/>
                <a:gd name="connsiteX3" fmla="*/ 295173 w 415960"/>
                <a:gd name="connsiteY3" fmla="*/ 108416 h 163552"/>
                <a:gd name="connsiteX4" fmla="*/ 293703 w 415960"/>
                <a:gd name="connsiteY4" fmla="*/ 108779 h 163552"/>
                <a:gd name="connsiteX5" fmla="*/ 293140 w 415960"/>
                <a:gd name="connsiteY5" fmla="*/ 109085 h 163552"/>
                <a:gd name="connsiteX6" fmla="*/ 292171 w 415960"/>
                <a:gd name="connsiteY6" fmla="*/ 112315 h 163552"/>
                <a:gd name="connsiteX7" fmla="*/ 291687 w 415960"/>
                <a:gd name="connsiteY7" fmla="*/ 113293 h 163552"/>
                <a:gd name="connsiteX8" fmla="*/ 289278 w 415960"/>
                <a:gd name="connsiteY8" fmla="*/ 113207 h 163552"/>
                <a:gd name="connsiteX9" fmla="*/ 288587 w 415960"/>
                <a:gd name="connsiteY9" fmla="*/ 112892 h 163552"/>
                <a:gd name="connsiteX10" fmla="*/ 288607 w 415960"/>
                <a:gd name="connsiteY10" fmla="*/ 111771 h 163552"/>
                <a:gd name="connsiteX11" fmla="*/ 289173 w 415960"/>
                <a:gd name="connsiteY11" fmla="*/ 108224 h 163552"/>
                <a:gd name="connsiteX12" fmla="*/ 289836 w 415960"/>
                <a:gd name="connsiteY12" fmla="*/ 106732 h 163552"/>
                <a:gd name="connsiteX13" fmla="*/ 291813 w 415960"/>
                <a:gd name="connsiteY13" fmla="*/ 105289 h 163552"/>
                <a:gd name="connsiteX14" fmla="*/ 29843 w 415960"/>
                <a:gd name="connsiteY14" fmla="*/ 67866 h 163552"/>
                <a:gd name="connsiteX15" fmla="*/ 30990 w 415960"/>
                <a:gd name="connsiteY15" fmla="*/ 68344 h 163552"/>
                <a:gd name="connsiteX16" fmla="*/ 31833 w 415960"/>
                <a:gd name="connsiteY16" fmla="*/ 68914 h 163552"/>
                <a:gd name="connsiteX17" fmla="*/ 32330 w 415960"/>
                <a:gd name="connsiteY17" fmla="*/ 69675 h 163552"/>
                <a:gd name="connsiteX18" fmla="*/ 31194 w 415960"/>
                <a:gd name="connsiteY18" fmla="*/ 70883 h 163552"/>
                <a:gd name="connsiteX19" fmla="*/ 30168 w 415960"/>
                <a:gd name="connsiteY19" fmla="*/ 70935 h 163552"/>
                <a:gd name="connsiteX20" fmla="*/ 28770 w 415960"/>
                <a:gd name="connsiteY20" fmla="*/ 69848 h 163552"/>
                <a:gd name="connsiteX21" fmla="*/ 59227 w 415960"/>
                <a:gd name="connsiteY21" fmla="*/ 54149 h 163552"/>
                <a:gd name="connsiteX22" fmla="*/ 60001 w 415960"/>
                <a:gd name="connsiteY22" fmla="*/ 54397 h 163552"/>
                <a:gd name="connsiteX23" fmla="*/ 60519 w 415960"/>
                <a:gd name="connsiteY23" fmla="*/ 54772 h 163552"/>
                <a:gd name="connsiteX24" fmla="*/ 60724 w 415960"/>
                <a:gd name="connsiteY24" fmla="*/ 55375 h 163552"/>
                <a:gd name="connsiteX25" fmla="*/ 59823 w 415960"/>
                <a:gd name="connsiteY25" fmla="*/ 56834 h 163552"/>
                <a:gd name="connsiteX26" fmla="*/ 58213 w 415960"/>
                <a:gd name="connsiteY26" fmla="*/ 57852 h 163552"/>
                <a:gd name="connsiteX27" fmla="*/ 56678 w 415960"/>
                <a:gd name="connsiteY27" fmla="*/ 60007 h 163552"/>
                <a:gd name="connsiteX28" fmla="*/ 53693 w 415960"/>
                <a:gd name="connsiteY28" fmla="*/ 61054 h 163552"/>
                <a:gd name="connsiteX29" fmla="*/ 52662 w 415960"/>
                <a:gd name="connsiteY29" fmla="*/ 60584 h 163552"/>
                <a:gd name="connsiteX30" fmla="*/ 52020 w 415960"/>
                <a:gd name="connsiteY30" fmla="*/ 60069 h 163552"/>
                <a:gd name="connsiteX31" fmla="*/ 51869 w 415960"/>
                <a:gd name="connsiteY31" fmla="*/ 59437 h 163552"/>
                <a:gd name="connsiteX32" fmla="*/ 53520 w 415960"/>
                <a:gd name="connsiteY32" fmla="*/ 57872 h 163552"/>
                <a:gd name="connsiteX33" fmla="*/ 55131 w 415960"/>
                <a:gd name="connsiteY33" fmla="*/ 57023 h 163552"/>
                <a:gd name="connsiteX34" fmla="*/ 56571 w 415960"/>
                <a:gd name="connsiteY34" fmla="*/ 55219 h 163552"/>
                <a:gd name="connsiteX35" fmla="*/ 35113 w 415960"/>
                <a:gd name="connsiteY35" fmla="*/ 49194 h 163552"/>
                <a:gd name="connsiteX36" fmla="*/ 37246 w 415960"/>
                <a:gd name="connsiteY36" fmla="*/ 50719 h 163552"/>
                <a:gd name="connsiteX37" fmla="*/ 37056 w 415960"/>
                <a:gd name="connsiteY37" fmla="*/ 53610 h 163552"/>
                <a:gd name="connsiteX38" fmla="*/ 35324 w 415960"/>
                <a:gd name="connsiteY38" fmla="*/ 55720 h 163552"/>
                <a:gd name="connsiteX39" fmla="*/ 33945 w 415960"/>
                <a:gd name="connsiteY39" fmla="*/ 56106 h 163552"/>
                <a:gd name="connsiteX40" fmla="*/ 33453 w 415960"/>
                <a:gd name="connsiteY40" fmla="*/ 56470 h 163552"/>
                <a:gd name="connsiteX41" fmla="*/ 32128 w 415960"/>
                <a:gd name="connsiteY41" fmla="*/ 56515 h 163552"/>
                <a:gd name="connsiteX42" fmla="*/ 28197 w 415960"/>
                <a:gd name="connsiteY42" fmla="*/ 54059 h 163552"/>
                <a:gd name="connsiteX43" fmla="*/ 28462 w 415960"/>
                <a:gd name="connsiteY43" fmla="*/ 51648 h 163552"/>
                <a:gd name="connsiteX44" fmla="*/ 30033 w 415960"/>
                <a:gd name="connsiteY44" fmla="*/ 50024 h 163552"/>
                <a:gd name="connsiteX45" fmla="*/ 4919 w 415960"/>
                <a:gd name="connsiteY45" fmla="*/ 43388 h 163552"/>
                <a:gd name="connsiteX46" fmla="*/ 6461 w 415960"/>
                <a:gd name="connsiteY46" fmla="*/ 45082 h 163552"/>
                <a:gd name="connsiteX47" fmla="*/ 6446 w 415960"/>
                <a:gd name="connsiteY47" fmla="*/ 47577 h 163552"/>
                <a:gd name="connsiteX48" fmla="*/ 5786 w 415960"/>
                <a:gd name="connsiteY48" fmla="*/ 48591 h 163552"/>
                <a:gd name="connsiteX49" fmla="*/ 3240 w 415960"/>
                <a:gd name="connsiteY49" fmla="*/ 49031 h 163552"/>
                <a:gd name="connsiteX50" fmla="*/ 1101 w 415960"/>
                <a:gd name="connsiteY50" fmla="*/ 48162 h 163552"/>
                <a:gd name="connsiteX51" fmla="*/ 192 w 415960"/>
                <a:gd name="connsiteY51" fmla="*/ 46815 h 163552"/>
                <a:gd name="connsiteX52" fmla="*/ 0 w 415960"/>
                <a:gd name="connsiteY52" fmla="*/ 44790 h 163552"/>
                <a:gd name="connsiteX53" fmla="*/ 189 w 415960"/>
                <a:gd name="connsiteY53" fmla="*/ 44118 h 163552"/>
                <a:gd name="connsiteX54" fmla="*/ 22156 w 415960"/>
                <a:gd name="connsiteY54" fmla="*/ 40973 h 163552"/>
                <a:gd name="connsiteX55" fmla="*/ 25018 w 415960"/>
                <a:gd name="connsiteY55" fmla="*/ 41719 h 163552"/>
                <a:gd name="connsiteX56" fmla="*/ 27914 w 415960"/>
                <a:gd name="connsiteY56" fmla="*/ 43965 h 163552"/>
                <a:gd name="connsiteX57" fmla="*/ 27391 w 415960"/>
                <a:gd name="connsiteY57" fmla="*/ 45373 h 163552"/>
                <a:gd name="connsiteX58" fmla="*/ 26211 w 415960"/>
                <a:gd name="connsiteY58" fmla="*/ 46141 h 163552"/>
                <a:gd name="connsiteX59" fmla="*/ 21429 w 415960"/>
                <a:gd name="connsiteY59" fmla="*/ 45257 h 163552"/>
                <a:gd name="connsiteX60" fmla="*/ 19941 w 415960"/>
                <a:gd name="connsiteY60" fmla="*/ 43786 h 163552"/>
                <a:gd name="connsiteX61" fmla="*/ 21142 w 415960"/>
                <a:gd name="connsiteY61" fmla="*/ 41778 h 163552"/>
                <a:gd name="connsiteX62" fmla="*/ 7423 w 415960"/>
                <a:gd name="connsiteY62" fmla="*/ 33714 h 163552"/>
                <a:gd name="connsiteX63" fmla="*/ 8834 w 415960"/>
                <a:gd name="connsiteY63" fmla="*/ 34587 h 163552"/>
                <a:gd name="connsiteX64" fmla="*/ 9686 w 415960"/>
                <a:gd name="connsiteY64" fmla="*/ 36267 h 163552"/>
                <a:gd name="connsiteX65" fmla="*/ 11260 w 415960"/>
                <a:gd name="connsiteY65" fmla="*/ 37901 h 163552"/>
                <a:gd name="connsiteX66" fmla="*/ 12118 w 415960"/>
                <a:gd name="connsiteY66" fmla="*/ 42560 h 163552"/>
                <a:gd name="connsiteX67" fmla="*/ 17207 w 415960"/>
                <a:gd name="connsiteY67" fmla="*/ 47476 h 163552"/>
                <a:gd name="connsiteX68" fmla="*/ 17838 w 415960"/>
                <a:gd name="connsiteY68" fmla="*/ 50221 h 163552"/>
                <a:gd name="connsiteX69" fmla="*/ 17386 w 415960"/>
                <a:gd name="connsiteY69" fmla="*/ 51500 h 163552"/>
                <a:gd name="connsiteX70" fmla="*/ 17628 w 415960"/>
                <a:gd name="connsiteY70" fmla="*/ 52000 h 163552"/>
                <a:gd name="connsiteX71" fmla="*/ 20072 w 415960"/>
                <a:gd name="connsiteY71" fmla="*/ 53939 h 163552"/>
                <a:gd name="connsiteX72" fmla="*/ 21667 w 415960"/>
                <a:gd name="connsiteY72" fmla="*/ 55974 h 163552"/>
                <a:gd name="connsiteX73" fmla="*/ 18982 w 415960"/>
                <a:gd name="connsiteY73" fmla="*/ 60754 h 163552"/>
                <a:gd name="connsiteX74" fmla="*/ 13264 w 415960"/>
                <a:gd name="connsiteY74" fmla="*/ 62759 h 163552"/>
                <a:gd name="connsiteX75" fmla="*/ 7165 w 415960"/>
                <a:gd name="connsiteY75" fmla="*/ 62693 h 163552"/>
                <a:gd name="connsiteX76" fmla="*/ 5961 w 415960"/>
                <a:gd name="connsiteY76" fmla="*/ 62178 h 163552"/>
                <a:gd name="connsiteX77" fmla="*/ 4326 w 415960"/>
                <a:gd name="connsiteY77" fmla="*/ 60350 h 163552"/>
                <a:gd name="connsiteX78" fmla="*/ 4025 w 415960"/>
                <a:gd name="connsiteY78" fmla="*/ 58735 h 163552"/>
                <a:gd name="connsiteX79" fmla="*/ 4966 w 415960"/>
                <a:gd name="connsiteY79" fmla="*/ 57178 h 163552"/>
                <a:gd name="connsiteX80" fmla="*/ 8116 w 415960"/>
                <a:gd name="connsiteY80" fmla="*/ 54812 h 163552"/>
                <a:gd name="connsiteX81" fmla="*/ 12918 w 415960"/>
                <a:gd name="connsiteY81" fmla="*/ 52698 h 163552"/>
                <a:gd name="connsiteX82" fmla="*/ 13520 w 415960"/>
                <a:gd name="connsiteY82" fmla="*/ 51081 h 163552"/>
                <a:gd name="connsiteX83" fmla="*/ 11591 w 415960"/>
                <a:gd name="connsiteY83" fmla="*/ 49506 h 163552"/>
                <a:gd name="connsiteX84" fmla="*/ 10260 w 415960"/>
                <a:gd name="connsiteY84" fmla="*/ 46378 h 163552"/>
                <a:gd name="connsiteX85" fmla="*/ 7225 w 415960"/>
                <a:gd name="connsiteY85" fmla="*/ 44187 h 163552"/>
                <a:gd name="connsiteX86" fmla="*/ 5713 w 415960"/>
                <a:gd name="connsiteY86" fmla="*/ 37498 h 163552"/>
                <a:gd name="connsiteX87" fmla="*/ 4702 w 415960"/>
                <a:gd name="connsiteY87" fmla="*/ 37166 h 163552"/>
                <a:gd name="connsiteX88" fmla="*/ 2641 w 415960"/>
                <a:gd name="connsiteY88" fmla="*/ 38089 h 163552"/>
                <a:gd name="connsiteX89" fmla="*/ 1625 w 415960"/>
                <a:gd name="connsiteY89" fmla="*/ 37279 h 163552"/>
                <a:gd name="connsiteX90" fmla="*/ 1454 w 415960"/>
                <a:gd name="connsiteY90" fmla="*/ 36852 h 163552"/>
                <a:gd name="connsiteX91" fmla="*/ 3676 w 415960"/>
                <a:gd name="connsiteY91" fmla="*/ 35327 h 163552"/>
                <a:gd name="connsiteX92" fmla="*/ 4137 w 415960"/>
                <a:gd name="connsiteY92" fmla="*/ 34238 h 163552"/>
                <a:gd name="connsiteX93" fmla="*/ 323405 w 415960"/>
                <a:gd name="connsiteY93" fmla="*/ 2424 h 163552"/>
                <a:gd name="connsiteX94" fmla="*/ 323165 w 415960"/>
                <a:gd name="connsiteY94" fmla="*/ 5137 h 163552"/>
                <a:gd name="connsiteX95" fmla="*/ 321736 w 415960"/>
                <a:gd name="connsiteY95" fmla="*/ 5325 h 163552"/>
                <a:gd name="connsiteX96" fmla="*/ 321075 w 415960"/>
                <a:gd name="connsiteY96" fmla="*/ 4112 h 163552"/>
                <a:gd name="connsiteX97" fmla="*/ 322811 w 415960"/>
                <a:gd name="connsiteY97" fmla="*/ 2699 h 163552"/>
                <a:gd name="connsiteX98" fmla="*/ 324422 w 415960"/>
                <a:gd name="connsiteY98" fmla="*/ 0 h 163552"/>
                <a:gd name="connsiteX99" fmla="*/ 325204 w 415960"/>
                <a:gd name="connsiteY99" fmla="*/ 525 h 163552"/>
                <a:gd name="connsiteX100" fmla="*/ 327530 w 415960"/>
                <a:gd name="connsiteY100" fmla="*/ 2452 h 163552"/>
                <a:gd name="connsiteX101" fmla="*/ 328937 w 415960"/>
                <a:gd name="connsiteY101" fmla="*/ 4360 h 163552"/>
                <a:gd name="connsiteX102" fmla="*/ 331320 w 415960"/>
                <a:gd name="connsiteY102" fmla="*/ 5546 h 163552"/>
                <a:gd name="connsiteX103" fmla="*/ 333251 w 415960"/>
                <a:gd name="connsiteY103" fmla="*/ 6506 h 163552"/>
                <a:gd name="connsiteX104" fmla="*/ 338307 w 415960"/>
                <a:gd name="connsiteY104" fmla="*/ 10379 h 163552"/>
                <a:gd name="connsiteX105" fmla="*/ 341640 w 415960"/>
                <a:gd name="connsiteY105" fmla="*/ 12346 h 163552"/>
                <a:gd name="connsiteX106" fmla="*/ 345282 w 415960"/>
                <a:gd name="connsiteY106" fmla="*/ 14116 h 163552"/>
                <a:gd name="connsiteX107" fmla="*/ 350543 w 415960"/>
                <a:gd name="connsiteY107" fmla="*/ 15976 h 163552"/>
                <a:gd name="connsiteX108" fmla="*/ 353754 w 415960"/>
                <a:gd name="connsiteY108" fmla="*/ 15660 h 163552"/>
                <a:gd name="connsiteX109" fmla="*/ 354507 w 415960"/>
                <a:gd name="connsiteY109" fmla="*/ 17070 h 163552"/>
                <a:gd name="connsiteX110" fmla="*/ 355130 w 415960"/>
                <a:gd name="connsiteY110" fmla="*/ 18556 h 163552"/>
                <a:gd name="connsiteX111" fmla="*/ 356330 w 415960"/>
                <a:gd name="connsiteY111" fmla="*/ 19422 h 163552"/>
                <a:gd name="connsiteX112" fmla="*/ 358237 w 415960"/>
                <a:gd name="connsiteY112" fmla="*/ 20161 h 163552"/>
                <a:gd name="connsiteX113" fmla="*/ 359371 w 415960"/>
                <a:gd name="connsiteY113" fmla="*/ 20393 h 163552"/>
                <a:gd name="connsiteX114" fmla="*/ 359718 w 415960"/>
                <a:gd name="connsiteY114" fmla="*/ 20765 h 163552"/>
                <a:gd name="connsiteX115" fmla="*/ 360857 w 415960"/>
                <a:gd name="connsiteY115" fmla="*/ 26133 h 163552"/>
                <a:gd name="connsiteX116" fmla="*/ 361528 w 415960"/>
                <a:gd name="connsiteY116" fmla="*/ 26917 h 163552"/>
                <a:gd name="connsiteX117" fmla="*/ 364156 w 415960"/>
                <a:gd name="connsiteY117" fmla="*/ 27767 h 163552"/>
                <a:gd name="connsiteX118" fmla="*/ 367375 w 415960"/>
                <a:gd name="connsiteY118" fmla="*/ 28088 h 163552"/>
                <a:gd name="connsiteX119" fmla="*/ 368683 w 415960"/>
                <a:gd name="connsiteY119" fmla="*/ 27902 h 163552"/>
                <a:gd name="connsiteX120" fmla="*/ 371516 w 415960"/>
                <a:gd name="connsiteY120" fmla="*/ 29394 h 163552"/>
                <a:gd name="connsiteX121" fmla="*/ 373603 w 415960"/>
                <a:gd name="connsiteY121" fmla="*/ 30097 h 163552"/>
                <a:gd name="connsiteX122" fmla="*/ 375904 w 415960"/>
                <a:gd name="connsiteY122" fmla="*/ 30623 h 163552"/>
                <a:gd name="connsiteX123" fmla="*/ 377467 w 415960"/>
                <a:gd name="connsiteY123" fmla="*/ 30778 h 163552"/>
                <a:gd name="connsiteX124" fmla="*/ 378187 w 415960"/>
                <a:gd name="connsiteY124" fmla="*/ 30545 h 163552"/>
                <a:gd name="connsiteX125" fmla="*/ 378449 w 415960"/>
                <a:gd name="connsiteY125" fmla="*/ 30005 h 163552"/>
                <a:gd name="connsiteX126" fmla="*/ 379728 w 415960"/>
                <a:gd name="connsiteY126" fmla="*/ 30106 h 163552"/>
                <a:gd name="connsiteX127" fmla="*/ 381642 w 415960"/>
                <a:gd name="connsiteY127" fmla="*/ 30795 h 163552"/>
                <a:gd name="connsiteX128" fmla="*/ 384391 w 415960"/>
                <a:gd name="connsiteY128" fmla="*/ 30935 h 163552"/>
                <a:gd name="connsiteX129" fmla="*/ 386098 w 415960"/>
                <a:gd name="connsiteY129" fmla="*/ 30282 h 163552"/>
                <a:gd name="connsiteX130" fmla="*/ 386335 w 415960"/>
                <a:gd name="connsiteY130" fmla="*/ 29199 h 163552"/>
                <a:gd name="connsiteX131" fmla="*/ 386452 w 415960"/>
                <a:gd name="connsiteY131" fmla="*/ 27299 h 163552"/>
                <a:gd name="connsiteX132" fmla="*/ 387090 w 415960"/>
                <a:gd name="connsiteY132" fmla="*/ 26636 h 163552"/>
                <a:gd name="connsiteX133" fmla="*/ 389047 w 415960"/>
                <a:gd name="connsiteY133" fmla="*/ 25533 h 163552"/>
                <a:gd name="connsiteX134" fmla="*/ 390072 w 415960"/>
                <a:gd name="connsiteY134" fmla="*/ 25764 h 163552"/>
                <a:gd name="connsiteX135" fmla="*/ 395211 w 415960"/>
                <a:gd name="connsiteY135" fmla="*/ 28143 h 163552"/>
                <a:gd name="connsiteX136" fmla="*/ 396270 w 415960"/>
                <a:gd name="connsiteY136" fmla="*/ 28966 h 163552"/>
                <a:gd name="connsiteX137" fmla="*/ 397571 w 415960"/>
                <a:gd name="connsiteY137" fmla="*/ 30623 h 163552"/>
                <a:gd name="connsiteX138" fmla="*/ 399982 w 415960"/>
                <a:gd name="connsiteY138" fmla="*/ 33077 h 163552"/>
                <a:gd name="connsiteX139" fmla="*/ 402596 w 415960"/>
                <a:gd name="connsiteY139" fmla="*/ 34643 h 163552"/>
                <a:gd name="connsiteX140" fmla="*/ 406636 w 415960"/>
                <a:gd name="connsiteY140" fmla="*/ 35310 h 163552"/>
                <a:gd name="connsiteX141" fmla="*/ 410525 w 415960"/>
                <a:gd name="connsiteY141" fmla="*/ 37880 h 163552"/>
                <a:gd name="connsiteX142" fmla="*/ 415076 w 415960"/>
                <a:gd name="connsiteY142" fmla="*/ 39607 h 163552"/>
                <a:gd name="connsiteX143" fmla="*/ 413656 w 415960"/>
                <a:gd name="connsiteY143" fmla="*/ 40510 h 163552"/>
                <a:gd name="connsiteX144" fmla="*/ 412187 w 415960"/>
                <a:gd name="connsiteY144" fmla="*/ 40608 h 163552"/>
                <a:gd name="connsiteX145" fmla="*/ 410221 w 415960"/>
                <a:gd name="connsiteY145" fmla="*/ 40890 h 163552"/>
                <a:gd name="connsiteX146" fmla="*/ 407488 w 415960"/>
                <a:gd name="connsiteY146" fmla="*/ 40021 h 163552"/>
                <a:gd name="connsiteX147" fmla="*/ 406410 w 415960"/>
                <a:gd name="connsiteY147" fmla="*/ 40021 h 163552"/>
                <a:gd name="connsiteX148" fmla="*/ 406263 w 415960"/>
                <a:gd name="connsiteY148" fmla="*/ 40903 h 163552"/>
                <a:gd name="connsiteX149" fmla="*/ 408075 w 415960"/>
                <a:gd name="connsiteY149" fmla="*/ 41979 h 163552"/>
                <a:gd name="connsiteX150" fmla="*/ 409838 w 415960"/>
                <a:gd name="connsiteY150" fmla="*/ 43203 h 163552"/>
                <a:gd name="connsiteX151" fmla="*/ 410474 w 415960"/>
                <a:gd name="connsiteY151" fmla="*/ 45065 h 163552"/>
                <a:gd name="connsiteX152" fmla="*/ 411521 w 415960"/>
                <a:gd name="connsiteY152" fmla="*/ 47274 h 163552"/>
                <a:gd name="connsiteX153" fmla="*/ 414043 w 415960"/>
                <a:gd name="connsiteY153" fmla="*/ 49749 h 163552"/>
                <a:gd name="connsiteX154" fmla="*/ 415615 w 415960"/>
                <a:gd name="connsiteY154" fmla="*/ 50988 h 163552"/>
                <a:gd name="connsiteX155" fmla="*/ 415712 w 415960"/>
                <a:gd name="connsiteY155" fmla="*/ 51870 h 163552"/>
                <a:gd name="connsiteX156" fmla="*/ 415223 w 415960"/>
                <a:gd name="connsiteY156" fmla="*/ 53487 h 163552"/>
                <a:gd name="connsiteX157" fmla="*/ 415099 w 415960"/>
                <a:gd name="connsiteY157" fmla="*/ 54836 h 163552"/>
                <a:gd name="connsiteX158" fmla="*/ 415960 w 415960"/>
                <a:gd name="connsiteY158" fmla="*/ 61041 h 163552"/>
                <a:gd name="connsiteX159" fmla="*/ 415382 w 415960"/>
                <a:gd name="connsiteY159" fmla="*/ 61421 h 163552"/>
                <a:gd name="connsiteX160" fmla="*/ 414450 w 415960"/>
                <a:gd name="connsiteY160" fmla="*/ 61453 h 163552"/>
                <a:gd name="connsiteX161" fmla="*/ 413461 w 415960"/>
                <a:gd name="connsiteY161" fmla="*/ 61421 h 163552"/>
                <a:gd name="connsiteX162" fmla="*/ 412651 w 415960"/>
                <a:gd name="connsiteY162" fmla="*/ 60747 h 163552"/>
                <a:gd name="connsiteX163" fmla="*/ 411943 w 415960"/>
                <a:gd name="connsiteY163" fmla="*/ 60344 h 163552"/>
                <a:gd name="connsiteX164" fmla="*/ 411630 w 415960"/>
                <a:gd name="connsiteY164" fmla="*/ 61304 h 163552"/>
                <a:gd name="connsiteX165" fmla="*/ 410901 w 415960"/>
                <a:gd name="connsiteY165" fmla="*/ 64067 h 163552"/>
                <a:gd name="connsiteX166" fmla="*/ 409260 w 415960"/>
                <a:gd name="connsiteY166" fmla="*/ 70284 h 163552"/>
                <a:gd name="connsiteX167" fmla="*/ 407822 w 415960"/>
                <a:gd name="connsiteY167" fmla="*/ 75735 h 163552"/>
                <a:gd name="connsiteX168" fmla="*/ 406019 w 415960"/>
                <a:gd name="connsiteY168" fmla="*/ 77664 h 163552"/>
                <a:gd name="connsiteX169" fmla="*/ 403412 w 415960"/>
                <a:gd name="connsiteY169" fmla="*/ 80728 h 163552"/>
                <a:gd name="connsiteX170" fmla="*/ 399837 w 415960"/>
                <a:gd name="connsiteY170" fmla="*/ 84923 h 163552"/>
                <a:gd name="connsiteX171" fmla="*/ 394656 w 415960"/>
                <a:gd name="connsiteY171" fmla="*/ 91002 h 163552"/>
                <a:gd name="connsiteX172" fmla="*/ 390824 w 415960"/>
                <a:gd name="connsiteY172" fmla="*/ 93813 h 163552"/>
                <a:gd name="connsiteX173" fmla="*/ 387801 w 415960"/>
                <a:gd name="connsiteY173" fmla="*/ 96031 h 163552"/>
                <a:gd name="connsiteX174" fmla="*/ 384272 w 415960"/>
                <a:gd name="connsiteY174" fmla="*/ 98593 h 163552"/>
                <a:gd name="connsiteX175" fmla="*/ 379713 w 415960"/>
                <a:gd name="connsiteY175" fmla="*/ 101898 h 163552"/>
                <a:gd name="connsiteX176" fmla="*/ 374600 w 415960"/>
                <a:gd name="connsiteY176" fmla="*/ 103759 h 163552"/>
                <a:gd name="connsiteX177" fmla="*/ 367483 w 415960"/>
                <a:gd name="connsiteY177" fmla="*/ 106340 h 163552"/>
                <a:gd name="connsiteX178" fmla="*/ 362447 w 415960"/>
                <a:gd name="connsiteY178" fmla="*/ 108167 h 163552"/>
                <a:gd name="connsiteX179" fmla="*/ 358734 w 415960"/>
                <a:gd name="connsiteY179" fmla="*/ 109443 h 163552"/>
                <a:gd name="connsiteX180" fmla="*/ 354868 w 415960"/>
                <a:gd name="connsiteY180" fmla="*/ 110773 h 163552"/>
                <a:gd name="connsiteX181" fmla="*/ 349755 w 415960"/>
                <a:gd name="connsiteY181" fmla="*/ 112531 h 163552"/>
                <a:gd name="connsiteX182" fmla="*/ 347781 w 415960"/>
                <a:gd name="connsiteY182" fmla="*/ 114189 h 163552"/>
                <a:gd name="connsiteX183" fmla="*/ 344499 w 415960"/>
                <a:gd name="connsiteY183" fmla="*/ 118246 h 163552"/>
                <a:gd name="connsiteX184" fmla="*/ 342969 w 415960"/>
                <a:gd name="connsiteY184" fmla="*/ 120202 h 163552"/>
                <a:gd name="connsiteX185" fmla="*/ 341573 w 415960"/>
                <a:gd name="connsiteY185" fmla="*/ 121885 h 163552"/>
                <a:gd name="connsiteX186" fmla="*/ 341286 w 415960"/>
                <a:gd name="connsiteY186" fmla="*/ 122653 h 163552"/>
                <a:gd name="connsiteX187" fmla="*/ 341467 w 415960"/>
                <a:gd name="connsiteY187" fmla="*/ 123144 h 163552"/>
                <a:gd name="connsiteX188" fmla="*/ 342139 w 415960"/>
                <a:gd name="connsiteY188" fmla="*/ 123965 h 163552"/>
                <a:gd name="connsiteX189" fmla="*/ 342202 w 415960"/>
                <a:gd name="connsiteY189" fmla="*/ 124803 h 163552"/>
                <a:gd name="connsiteX190" fmla="*/ 341279 w 415960"/>
                <a:gd name="connsiteY190" fmla="*/ 125329 h 163552"/>
                <a:gd name="connsiteX191" fmla="*/ 340482 w 415960"/>
                <a:gd name="connsiteY191" fmla="*/ 125412 h 163552"/>
                <a:gd name="connsiteX192" fmla="*/ 340125 w 415960"/>
                <a:gd name="connsiteY192" fmla="*/ 124991 h 163552"/>
                <a:gd name="connsiteX193" fmla="*/ 339863 w 415960"/>
                <a:gd name="connsiteY193" fmla="*/ 124066 h 163552"/>
                <a:gd name="connsiteX194" fmla="*/ 339015 w 415960"/>
                <a:gd name="connsiteY194" fmla="*/ 123125 h 163552"/>
                <a:gd name="connsiteX195" fmla="*/ 338029 w 415960"/>
                <a:gd name="connsiteY195" fmla="*/ 122852 h 163552"/>
                <a:gd name="connsiteX196" fmla="*/ 337464 w 415960"/>
                <a:gd name="connsiteY196" fmla="*/ 123082 h 163552"/>
                <a:gd name="connsiteX197" fmla="*/ 337415 w 415960"/>
                <a:gd name="connsiteY197" fmla="*/ 123942 h 163552"/>
                <a:gd name="connsiteX198" fmla="*/ 336128 w 415960"/>
                <a:gd name="connsiteY198" fmla="*/ 128096 h 163552"/>
                <a:gd name="connsiteX199" fmla="*/ 336080 w 415960"/>
                <a:gd name="connsiteY199" fmla="*/ 130114 h 163552"/>
                <a:gd name="connsiteX200" fmla="*/ 335535 w 415960"/>
                <a:gd name="connsiteY200" fmla="*/ 130912 h 163552"/>
                <a:gd name="connsiteX201" fmla="*/ 335576 w 415960"/>
                <a:gd name="connsiteY201" fmla="*/ 132717 h 163552"/>
                <a:gd name="connsiteX202" fmla="*/ 334277 w 415960"/>
                <a:gd name="connsiteY202" fmla="*/ 134398 h 163552"/>
                <a:gd name="connsiteX203" fmla="*/ 333708 w 415960"/>
                <a:gd name="connsiteY203" fmla="*/ 135896 h 163552"/>
                <a:gd name="connsiteX204" fmla="*/ 333313 w 415960"/>
                <a:gd name="connsiteY204" fmla="*/ 137168 h 163552"/>
                <a:gd name="connsiteX205" fmla="*/ 332263 w 415960"/>
                <a:gd name="connsiteY205" fmla="*/ 138051 h 163552"/>
                <a:gd name="connsiteX206" fmla="*/ 331891 w 415960"/>
                <a:gd name="connsiteY206" fmla="*/ 139440 h 163552"/>
                <a:gd name="connsiteX207" fmla="*/ 330922 w 415960"/>
                <a:gd name="connsiteY207" fmla="*/ 142379 h 163552"/>
                <a:gd name="connsiteX208" fmla="*/ 329790 w 415960"/>
                <a:gd name="connsiteY208" fmla="*/ 144686 h 163552"/>
                <a:gd name="connsiteX209" fmla="*/ 328994 w 415960"/>
                <a:gd name="connsiteY209" fmla="*/ 146661 h 163552"/>
                <a:gd name="connsiteX210" fmla="*/ 328847 w 415960"/>
                <a:gd name="connsiteY210" fmla="*/ 148137 h 163552"/>
                <a:gd name="connsiteX211" fmla="*/ 329454 w 415960"/>
                <a:gd name="connsiteY211" fmla="*/ 149181 h 163552"/>
                <a:gd name="connsiteX212" fmla="*/ 329665 w 415960"/>
                <a:gd name="connsiteY212" fmla="*/ 150022 h 163552"/>
                <a:gd name="connsiteX213" fmla="*/ 329119 w 415960"/>
                <a:gd name="connsiteY213" fmla="*/ 151533 h 163552"/>
                <a:gd name="connsiteX214" fmla="*/ 328826 w 415960"/>
                <a:gd name="connsiteY214" fmla="*/ 152670 h 163552"/>
                <a:gd name="connsiteX215" fmla="*/ 327380 w 415960"/>
                <a:gd name="connsiteY215" fmla="*/ 153439 h 163552"/>
                <a:gd name="connsiteX216" fmla="*/ 324375 w 415960"/>
                <a:gd name="connsiteY216" fmla="*/ 155277 h 163552"/>
                <a:gd name="connsiteX217" fmla="*/ 323207 w 415960"/>
                <a:gd name="connsiteY217" fmla="*/ 156533 h 163552"/>
                <a:gd name="connsiteX218" fmla="*/ 322746 w 415960"/>
                <a:gd name="connsiteY218" fmla="*/ 157963 h 163552"/>
                <a:gd name="connsiteX219" fmla="*/ 323039 w 415960"/>
                <a:gd name="connsiteY219" fmla="*/ 159181 h 163552"/>
                <a:gd name="connsiteX220" fmla="*/ 322913 w 415960"/>
                <a:gd name="connsiteY220" fmla="*/ 160191 h 163552"/>
                <a:gd name="connsiteX221" fmla="*/ 321489 w 415960"/>
                <a:gd name="connsiteY221" fmla="*/ 160568 h 163552"/>
                <a:gd name="connsiteX222" fmla="*/ 320984 w 415960"/>
                <a:gd name="connsiteY222" fmla="*/ 161452 h 163552"/>
                <a:gd name="connsiteX223" fmla="*/ 320020 w 415960"/>
                <a:gd name="connsiteY223" fmla="*/ 163006 h 163552"/>
                <a:gd name="connsiteX224" fmla="*/ 318931 w 415960"/>
                <a:gd name="connsiteY224" fmla="*/ 163552 h 163552"/>
                <a:gd name="connsiteX225" fmla="*/ 316131 w 415960"/>
                <a:gd name="connsiteY225" fmla="*/ 162728 h 163552"/>
                <a:gd name="connsiteX226" fmla="*/ 314066 w 415960"/>
                <a:gd name="connsiteY226" fmla="*/ 162713 h 163552"/>
                <a:gd name="connsiteX227" fmla="*/ 312472 w 415960"/>
                <a:gd name="connsiteY227" fmla="*/ 161956 h 163552"/>
                <a:gd name="connsiteX228" fmla="*/ 310736 w 415960"/>
                <a:gd name="connsiteY228" fmla="*/ 159724 h 163552"/>
                <a:gd name="connsiteX229" fmla="*/ 309307 w 415960"/>
                <a:gd name="connsiteY229" fmla="*/ 157848 h 163552"/>
                <a:gd name="connsiteX230" fmla="*/ 308138 w 415960"/>
                <a:gd name="connsiteY230" fmla="*/ 155418 h 163552"/>
                <a:gd name="connsiteX231" fmla="*/ 307776 w 415960"/>
                <a:gd name="connsiteY231" fmla="*/ 152079 h 163552"/>
                <a:gd name="connsiteX232" fmla="*/ 306217 w 415960"/>
                <a:gd name="connsiteY232" fmla="*/ 151099 h 163552"/>
                <a:gd name="connsiteX233" fmla="*/ 304673 w 415960"/>
                <a:gd name="connsiteY233" fmla="*/ 149938 h 163552"/>
                <a:gd name="connsiteX234" fmla="*/ 302836 w 415960"/>
                <a:gd name="connsiteY234" fmla="*/ 150260 h 163552"/>
                <a:gd name="connsiteX235" fmla="*/ 300648 w 415960"/>
                <a:gd name="connsiteY235" fmla="*/ 150484 h 163552"/>
                <a:gd name="connsiteX236" fmla="*/ 299435 w 415960"/>
                <a:gd name="connsiteY236" fmla="*/ 149710 h 163552"/>
                <a:gd name="connsiteX237" fmla="*/ 296449 w 415960"/>
                <a:gd name="connsiteY237" fmla="*/ 148298 h 163552"/>
                <a:gd name="connsiteX238" fmla="*/ 293897 w 415960"/>
                <a:gd name="connsiteY238" fmla="*/ 146703 h 163552"/>
                <a:gd name="connsiteX239" fmla="*/ 291969 w 415960"/>
                <a:gd name="connsiteY239" fmla="*/ 145904 h 163552"/>
                <a:gd name="connsiteX240" fmla="*/ 290501 w 415960"/>
                <a:gd name="connsiteY240" fmla="*/ 146284 h 163552"/>
                <a:gd name="connsiteX241" fmla="*/ 289620 w 415960"/>
                <a:gd name="connsiteY241" fmla="*/ 147249 h 163552"/>
                <a:gd name="connsiteX242" fmla="*/ 288069 w 415960"/>
                <a:gd name="connsiteY242" fmla="*/ 148970 h 163552"/>
                <a:gd name="connsiteX243" fmla="*/ 285784 w 415960"/>
                <a:gd name="connsiteY243" fmla="*/ 150161 h 163552"/>
                <a:gd name="connsiteX244" fmla="*/ 284753 w 415960"/>
                <a:gd name="connsiteY244" fmla="*/ 150105 h 163552"/>
                <a:gd name="connsiteX245" fmla="*/ 283373 w 415960"/>
                <a:gd name="connsiteY245" fmla="*/ 149308 h 163552"/>
                <a:gd name="connsiteX246" fmla="*/ 283122 w 415960"/>
                <a:gd name="connsiteY246" fmla="*/ 148382 h 163552"/>
                <a:gd name="connsiteX247" fmla="*/ 284254 w 415960"/>
                <a:gd name="connsiteY247" fmla="*/ 146913 h 163552"/>
                <a:gd name="connsiteX248" fmla="*/ 286560 w 415960"/>
                <a:gd name="connsiteY248" fmla="*/ 143679 h 163552"/>
                <a:gd name="connsiteX249" fmla="*/ 284003 w 415960"/>
                <a:gd name="connsiteY249" fmla="*/ 143595 h 163552"/>
                <a:gd name="connsiteX250" fmla="*/ 283122 w 415960"/>
                <a:gd name="connsiteY250" fmla="*/ 142588 h 163552"/>
                <a:gd name="connsiteX251" fmla="*/ 282996 w 415960"/>
                <a:gd name="connsiteY251" fmla="*/ 141409 h 163552"/>
                <a:gd name="connsiteX252" fmla="*/ 282576 w 415960"/>
                <a:gd name="connsiteY252" fmla="*/ 140150 h 163552"/>
                <a:gd name="connsiteX253" fmla="*/ 283080 w 415960"/>
                <a:gd name="connsiteY253" fmla="*/ 138640 h 163552"/>
                <a:gd name="connsiteX254" fmla="*/ 284421 w 415960"/>
                <a:gd name="connsiteY254" fmla="*/ 137840 h 163552"/>
                <a:gd name="connsiteX255" fmla="*/ 286434 w 415960"/>
                <a:gd name="connsiteY255" fmla="*/ 138470 h 163552"/>
                <a:gd name="connsiteX256" fmla="*/ 287818 w 415960"/>
                <a:gd name="connsiteY256" fmla="*/ 138512 h 163552"/>
                <a:gd name="connsiteX257" fmla="*/ 288741 w 415960"/>
                <a:gd name="connsiteY257" fmla="*/ 137084 h 163552"/>
                <a:gd name="connsiteX258" fmla="*/ 289663 w 415960"/>
                <a:gd name="connsiteY258" fmla="*/ 136454 h 163552"/>
                <a:gd name="connsiteX259" fmla="*/ 290585 w 415960"/>
                <a:gd name="connsiteY259" fmla="*/ 135993 h 163552"/>
                <a:gd name="connsiteX260" fmla="*/ 290963 w 415960"/>
                <a:gd name="connsiteY260" fmla="*/ 135279 h 163552"/>
                <a:gd name="connsiteX261" fmla="*/ 289991 w 415960"/>
                <a:gd name="connsiteY261" fmla="*/ 132992 h 163552"/>
                <a:gd name="connsiteX262" fmla="*/ 289705 w 415960"/>
                <a:gd name="connsiteY262" fmla="*/ 131752 h 163552"/>
                <a:gd name="connsiteX263" fmla="*/ 289998 w 415960"/>
                <a:gd name="connsiteY263" fmla="*/ 131038 h 163552"/>
                <a:gd name="connsiteX264" fmla="*/ 289956 w 415960"/>
                <a:gd name="connsiteY264" fmla="*/ 129610 h 163552"/>
                <a:gd name="connsiteX265" fmla="*/ 289914 w 415960"/>
                <a:gd name="connsiteY265" fmla="*/ 128561 h 163552"/>
                <a:gd name="connsiteX266" fmla="*/ 289327 w 415960"/>
                <a:gd name="connsiteY266" fmla="*/ 127637 h 163552"/>
                <a:gd name="connsiteX267" fmla="*/ 289286 w 415960"/>
                <a:gd name="connsiteY267" fmla="*/ 126250 h 163552"/>
                <a:gd name="connsiteX268" fmla="*/ 288782 w 415960"/>
                <a:gd name="connsiteY268" fmla="*/ 125497 h 163552"/>
                <a:gd name="connsiteX269" fmla="*/ 288614 w 415960"/>
                <a:gd name="connsiteY269" fmla="*/ 124699 h 163552"/>
                <a:gd name="connsiteX270" fmla="*/ 288572 w 415960"/>
                <a:gd name="connsiteY270" fmla="*/ 123774 h 163552"/>
                <a:gd name="connsiteX271" fmla="*/ 287943 w 415960"/>
                <a:gd name="connsiteY271" fmla="*/ 123313 h 163552"/>
                <a:gd name="connsiteX272" fmla="*/ 287275 w 415960"/>
                <a:gd name="connsiteY272" fmla="*/ 122842 h 163552"/>
                <a:gd name="connsiteX273" fmla="*/ 287822 w 415960"/>
                <a:gd name="connsiteY273" fmla="*/ 122510 h 163552"/>
                <a:gd name="connsiteX274" fmla="*/ 291454 w 415960"/>
                <a:gd name="connsiteY274" fmla="*/ 121228 h 163552"/>
                <a:gd name="connsiteX275" fmla="*/ 292963 w 415960"/>
                <a:gd name="connsiteY275" fmla="*/ 119952 h 163552"/>
                <a:gd name="connsiteX276" fmla="*/ 294832 w 415960"/>
                <a:gd name="connsiteY276" fmla="*/ 118787 h 163552"/>
                <a:gd name="connsiteX277" fmla="*/ 296438 w 415960"/>
                <a:gd name="connsiteY277" fmla="*/ 117000 h 163552"/>
                <a:gd name="connsiteX278" fmla="*/ 297496 w 415960"/>
                <a:gd name="connsiteY278" fmla="*/ 115284 h 163552"/>
                <a:gd name="connsiteX279" fmla="*/ 300004 w 415960"/>
                <a:gd name="connsiteY279" fmla="*/ 107337 h 163552"/>
                <a:gd name="connsiteX280" fmla="*/ 302357 w 415960"/>
                <a:gd name="connsiteY280" fmla="*/ 102316 h 163552"/>
                <a:gd name="connsiteX281" fmla="*/ 301961 w 415960"/>
                <a:gd name="connsiteY281" fmla="*/ 99921 h 163552"/>
                <a:gd name="connsiteX282" fmla="*/ 300011 w 415960"/>
                <a:gd name="connsiteY282" fmla="*/ 96670 h 163552"/>
                <a:gd name="connsiteX283" fmla="*/ 299572 w 415960"/>
                <a:gd name="connsiteY283" fmla="*/ 91883 h 163552"/>
                <a:gd name="connsiteX284" fmla="*/ 299752 w 415960"/>
                <a:gd name="connsiteY284" fmla="*/ 90429 h 163552"/>
                <a:gd name="connsiteX285" fmla="*/ 299511 w 415960"/>
                <a:gd name="connsiteY285" fmla="*/ 89334 h 163552"/>
                <a:gd name="connsiteX286" fmla="*/ 298211 w 415960"/>
                <a:gd name="connsiteY286" fmla="*/ 91320 h 163552"/>
                <a:gd name="connsiteX287" fmla="*/ 298542 w 415960"/>
                <a:gd name="connsiteY287" fmla="*/ 98371 h 163552"/>
                <a:gd name="connsiteX288" fmla="*/ 297395 w 415960"/>
                <a:gd name="connsiteY288" fmla="*/ 101541 h 163552"/>
                <a:gd name="connsiteX289" fmla="*/ 295786 w 415960"/>
                <a:gd name="connsiteY289" fmla="*/ 102306 h 163552"/>
                <a:gd name="connsiteX290" fmla="*/ 294743 w 415960"/>
                <a:gd name="connsiteY290" fmla="*/ 101749 h 163552"/>
                <a:gd name="connsiteX291" fmla="*/ 295339 w 415960"/>
                <a:gd name="connsiteY291" fmla="*/ 96600 h 163552"/>
                <a:gd name="connsiteX292" fmla="*/ 294161 w 415960"/>
                <a:gd name="connsiteY292" fmla="*/ 97537 h 163552"/>
                <a:gd name="connsiteX293" fmla="*/ 292284 w 415960"/>
                <a:gd name="connsiteY293" fmla="*/ 101030 h 163552"/>
                <a:gd name="connsiteX294" fmla="*/ 289203 w 415960"/>
                <a:gd name="connsiteY294" fmla="*/ 103622 h 163552"/>
                <a:gd name="connsiteX295" fmla="*/ 289036 w 415960"/>
                <a:gd name="connsiteY295" fmla="*/ 104487 h 163552"/>
                <a:gd name="connsiteX296" fmla="*/ 288288 w 415960"/>
                <a:gd name="connsiteY296" fmla="*/ 105555 h 163552"/>
                <a:gd name="connsiteX297" fmla="*/ 285909 w 415960"/>
                <a:gd name="connsiteY297" fmla="*/ 104571 h 163552"/>
                <a:gd name="connsiteX298" fmla="*/ 284096 w 415960"/>
                <a:gd name="connsiteY298" fmla="*/ 103505 h 163552"/>
                <a:gd name="connsiteX299" fmla="*/ 278142 w 415960"/>
                <a:gd name="connsiteY299" fmla="*/ 97693 h 163552"/>
                <a:gd name="connsiteX300" fmla="*/ 274233 w 415960"/>
                <a:gd name="connsiteY300" fmla="*/ 96479 h 163552"/>
                <a:gd name="connsiteX301" fmla="*/ 271872 w 415960"/>
                <a:gd name="connsiteY301" fmla="*/ 94452 h 163552"/>
                <a:gd name="connsiteX302" fmla="*/ 271378 w 415960"/>
                <a:gd name="connsiteY302" fmla="*/ 93598 h 163552"/>
                <a:gd name="connsiteX303" fmla="*/ 271095 w 415960"/>
                <a:gd name="connsiteY303" fmla="*/ 92426 h 163552"/>
                <a:gd name="connsiteX304" fmla="*/ 273508 w 415960"/>
                <a:gd name="connsiteY304" fmla="*/ 91207 h 163552"/>
                <a:gd name="connsiteX305" fmla="*/ 275975 w 415960"/>
                <a:gd name="connsiteY305" fmla="*/ 89569 h 163552"/>
                <a:gd name="connsiteX306" fmla="*/ 276222 w 415960"/>
                <a:gd name="connsiteY306" fmla="*/ 85965 h 163552"/>
                <a:gd name="connsiteX307" fmla="*/ 276158 w 415960"/>
                <a:gd name="connsiteY307" fmla="*/ 83134 h 163552"/>
                <a:gd name="connsiteX308" fmla="*/ 274335 w 415960"/>
                <a:gd name="connsiteY308" fmla="*/ 78302 h 163552"/>
                <a:gd name="connsiteX309" fmla="*/ 275187 w 415960"/>
                <a:gd name="connsiteY309" fmla="*/ 71985 h 163552"/>
                <a:gd name="connsiteX310" fmla="*/ 274715 w 415960"/>
                <a:gd name="connsiteY310" fmla="*/ 69511 h 163552"/>
                <a:gd name="connsiteX311" fmla="*/ 272626 w 415960"/>
                <a:gd name="connsiteY311" fmla="*/ 64263 h 163552"/>
                <a:gd name="connsiteX312" fmla="*/ 274173 w 415960"/>
                <a:gd name="connsiteY312" fmla="*/ 61621 h 163552"/>
                <a:gd name="connsiteX313" fmla="*/ 279693 w 415960"/>
                <a:gd name="connsiteY313" fmla="*/ 59695 h 163552"/>
                <a:gd name="connsiteX314" fmla="*/ 281463 w 415960"/>
                <a:gd name="connsiteY314" fmla="*/ 58407 h 163552"/>
                <a:gd name="connsiteX315" fmla="*/ 282701 w 415960"/>
                <a:gd name="connsiteY315" fmla="*/ 54245 h 163552"/>
                <a:gd name="connsiteX316" fmla="*/ 283959 w 415960"/>
                <a:gd name="connsiteY316" fmla="*/ 51751 h 163552"/>
                <a:gd name="connsiteX317" fmla="*/ 286420 w 415960"/>
                <a:gd name="connsiteY317" fmla="*/ 52756 h 163552"/>
                <a:gd name="connsiteX318" fmla="*/ 288348 w 415960"/>
                <a:gd name="connsiteY318" fmla="*/ 52639 h 163552"/>
                <a:gd name="connsiteX319" fmla="*/ 285751 w 415960"/>
                <a:gd name="connsiteY319" fmla="*/ 51714 h 163552"/>
                <a:gd name="connsiteX320" fmla="*/ 283633 w 415960"/>
                <a:gd name="connsiteY320" fmla="*/ 47962 h 163552"/>
                <a:gd name="connsiteX321" fmla="*/ 283279 w 415960"/>
                <a:gd name="connsiteY321" fmla="*/ 46243 h 163552"/>
                <a:gd name="connsiteX322" fmla="*/ 287361 w 415960"/>
                <a:gd name="connsiteY322" fmla="*/ 41110 h 163552"/>
                <a:gd name="connsiteX323" fmla="*/ 289498 w 415960"/>
                <a:gd name="connsiteY323" fmla="*/ 39773 h 163552"/>
                <a:gd name="connsiteX324" fmla="*/ 292125 w 415960"/>
                <a:gd name="connsiteY324" fmla="*/ 37059 h 163552"/>
                <a:gd name="connsiteX325" fmla="*/ 294338 w 415960"/>
                <a:gd name="connsiteY325" fmla="*/ 32966 h 163552"/>
                <a:gd name="connsiteX326" fmla="*/ 294874 w 415960"/>
                <a:gd name="connsiteY326" fmla="*/ 26505 h 163552"/>
                <a:gd name="connsiteX327" fmla="*/ 293961 w 415960"/>
                <a:gd name="connsiteY327" fmla="*/ 21888 h 163552"/>
                <a:gd name="connsiteX328" fmla="*/ 293269 w 415960"/>
                <a:gd name="connsiteY328" fmla="*/ 17006 h 163552"/>
                <a:gd name="connsiteX329" fmla="*/ 294597 w 415960"/>
                <a:gd name="connsiteY329" fmla="*/ 15744 h 163552"/>
                <a:gd name="connsiteX330" fmla="*/ 297954 w 415960"/>
                <a:gd name="connsiteY330" fmla="*/ 15093 h 163552"/>
                <a:gd name="connsiteX331" fmla="*/ 300684 w 415960"/>
                <a:gd name="connsiteY331" fmla="*/ 13519 h 163552"/>
                <a:gd name="connsiteX332" fmla="*/ 302070 w 415960"/>
                <a:gd name="connsiteY332" fmla="*/ 12060 h 163552"/>
                <a:gd name="connsiteX333" fmla="*/ 305316 w 415960"/>
                <a:gd name="connsiteY333" fmla="*/ 12279 h 163552"/>
                <a:gd name="connsiteX334" fmla="*/ 309064 w 415960"/>
                <a:gd name="connsiteY334" fmla="*/ 10025 h 163552"/>
                <a:gd name="connsiteX335" fmla="*/ 315057 w 415960"/>
                <a:gd name="connsiteY335" fmla="*/ 8895 h 163552"/>
                <a:gd name="connsiteX336" fmla="*/ 323409 w 415960"/>
                <a:gd name="connsiteY336" fmla="*/ 6318 h 163552"/>
                <a:gd name="connsiteX337" fmla="*/ 325250 w 415960"/>
                <a:gd name="connsiteY337" fmla="*/ 4044 h 163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</a:cxnLst>
              <a:rect l="l" t="t" r="r" b="b"/>
              <a:pathLst>
                <a:path w="415960" h="163552">
                  <a:moveTo>
                    <a:pt x="293460" y="104593"/>
                  </a:moveTo>
                  <a:lnTo>
                    <a:pt x="295578" y="104719"/>
                  </a:lnTo>
                  <a:lnTo>
                    <a:pt x="297815" y="106032"/>
                  </a:lnTo>
                  <a:lnTo>
                    <a:pt x="295173" y="108416"/>
                  </a:lnTo>
                  <a:lnTo>
                    <a:pt x="293703" y="108779"/>
                  </a:lnTo>
                  <a:lnTo>
                    <a:pt x="293140" y="109085"/>
                  </a:lnTo>
                  <a:lnTo>
                    <a:pt x="292171" y="112315"/>
                  </a:lnTo>
                  <a:lnTo>
                    <a:pt x="291687" y="113293"/>
                  </a:lnTo>
                  <a:lnTo>
                    <a:pt x="289278" y="113207"/>
                  </a:lnTo>
                  <a:lnTo>
                    <a:pt x="288587" y="112892"/>
                  </a:lnTo>
                  <a:lnTo>
                    <a:pt x="288607" y="111771"/>
                  </a:lnTo>
                  <a:lnTo>
                    <a:pt x="289173" y="108224"/>
                  </a:lnTo>
                  <a:lnTo>
                    <a:pt x="289836" y="106732"/>
                  </a:lnTo>
                  <a:lnTo>
                    <a:pt x="291813" y="105289"/>
                  </a:lnTo>
                  <a:close/>
                  <a:moveTo>
                    <a:pt x="29843" y="67866"/>
                  </a:moveTo>
                  <a:lnTo>
                    <a:pt x="30990" y="68344"/>
                  </a:lnTo>
                  <a:lnTo>
                    <a:pt x="31833" y="68914"/>
                  </a:lnTo>
                  <a:lnTo>
                    <a:pt x="32330" y="69675"/>
                  </a:lnTo>
                  <a:lnTo>
                    <a:pt x="31194" y="70883"/>
                  </a:lnTo>
                  <a:lnTo>
                    <a:pt x="30168" y="70935"/>
                  </a:lnTo>
                  <a:lnTo>
                    <a:pt x="28770" y="69848"/>
                  </a:lnTo>
                  <a:close/>
                  <a:moveTo>
                    <a:pt x="59227" y="54149"/>
                  </a:moveTo>
                  <a:lnTo>
                    <a:pt x="60001" y="54397"/>
                  </a:lnTo>
                  <a:lnTo>
                    <a:pt x="60519" y="54772"/>
                  </a:lnTo>
                  <a:lnTo>
                    <a:pt x="60724" y="55375"/>
                  </a:lnTo>
                  <a:lnTo>
                    <a:pt x="59823" y="56834"/>
                  </a:lnTo>
                  <a:lnTo>
                    <a:pt x="58213" y="57852"/>
                  </a:lnTo>
                  <a:lnTo>
                    <a:pt x="56678" y="60007"/>
                  </a:lnTo>
                  <a:lnTo>
                    <a:pt x="53693" y="61054"/>
                  </a:lnTo>
                  <a:lnTo>
                    <a:pt x="52662" y="60584"/>
                  </a:lnTo>
                  <a:lnTo>
                    <a:pt x="52020" y="60069"/>
                  </a:lnTo>
                  <a:lnTo>
                    <a:pt x="51869" y="59437"/>
                  </a:lnTo>
                  <a:lnTo>
                    <a:pt x="53520" y="57872"/>
                  </a:lnTo>
                  <a:lnTo>
                    <a:pt x="55131" y="57023"/>
                  </a:lnTo>
                  <a:lnTo>
                    <a:pt x="56571" y="55219"/>
                  </a:lnTo>
                  <a:close/>
                  <a:moveTo>
                    <a:pt x="35113" y="49194"/>
                  </a:moveTo>
                  <a:lnTo>
                    <a:pt x="37246" y="50719"/>
                  </a:lnTo>
                  <a:lnTo>
                    <a:pt x="37056" y="53610"/>
                  </a:lnTo>
                  <a:lnTo>
                    <a:pt x="35324" y="55720"/>
                  </a:lnTo>
                  <a:lnTo>
                    <a:pt x="33945" y="56106"/>
                  </a:lnTo>
                  <a:lnTo>
                    <a:pt x="33453" y="56470"/>
                  </a:lnTo>
                  <a:lnTo>
                    <a:pt x="32128" y="56515"/>
                  </a:lnTo>
                  <a:lnTo>
                    <a:pt x="28197" y="54059"/>
                  </a:lnTo>
                  <a:lnTo>
                    <a:pt x="28462" y="51648"/>
                  </a:lnTo>
                  <a:lnTo>
                    <a:pt x="30033" y="50024"/>
                  </a:lnTo>
                  <a:close/>
                  <a:moveTo>
                    <a:pt x="4919" y="43388"/>
                  </a:moveTo>
                  <a:lnTo>
                    <a:pt x="6461" y="45082"/>
                  </a:lnTo>
                  <a:lnTo>
                    <a:pt x="6446" y="47577"/>
                  </a:lnTo>
                  <a:lnTo>
                    <a:pt x="5786" y="48591"/>
                  </a:lnTo>
                  <a:lnTo>
                    <a:pt x="3240" y="49031"/>
                  </a:lnTo>
                  <a:lnTo>
                    <a:pt x="1101" y="48162"/>
                  </a:lnTo>
                  <a:lnTo>
                    <a:pt x="192" y="46815"/>
                  </a:lnTo>
                  <a:lnTo>
                    <a:pt x="0" y="44790"/>
                  </a:lnTo>
                  <a:lnTo>
                    <a:pt x="189" y="44118"/>
                  </a:lnTo>
                  <a:close/>
                  <a:moveTo>
                    <a:pt x="22156" y="40973"/>
                  </a:moveTo>
                  <a:lnTo>
                    <a:pt x="25018" y="41719"/>
                  </a:lnTo>
                  <a:lnTo>
                    <a:pt x="27914" y="43965"/>
                  </a:lnTo>
                  <a:lnTo>
                    <a:pt x="27391" y="45373"/>
                  </a:lnTo>
                  <a:lnTo>
                    <a:pt x="26211" y="46141"/>
                  </a:lnTo>
                  <a:lnTo>
                    <a:pt x="21429" y="45257"/>
                  </a:lnTo>
                  <a:lnTo>
                    <a:pt x="19941" y="43786"/>
                  </a:lnTo>
                  <a:lnTo>
                    <a:pt x="21142" y="41778"/>
                  </a:lnTo>
                  <a:close/>
                  <a:moveTo>
                    <a:pt x="7423" y="33714"/>
                  </a:moveTo>
                  <a:lnTo>
                    <a:pt x="8834" y="34587"/>
                  </a:lnTo>
                  <a:lnTo>
                    <a:pt x="9686" y="36267"/>
                  </a:lnTo>
                  <a:lnTo>
                    <a:pt x="11260" y="37901"/>
                  </a:lnTo>
                  <a:lnTo>
                    <a:pt x="12118" y="42560"/>
                  </a:lnTo>
                  <a:lnTo>
                    <a:pt x="17207" y="47476"/>
                  </a:lnTo>
                  <a:lnTo>
                    <a:pt x="17838" y="50221"/>
                  </a:lnTo>
                  <a:lnTo>
                    <a:pt x="17386" y="51500"/>
                  </a:lnTo>
                  <a:lnTo>
                    <a:pt x="17628" y="52000"/>
                  </a:lnTo>
                  <a:lnTo>
                    <a:pt x="20072" y="53939"/>
                  </a:lnTo>
                  <a:lnTo>
                    <a:pt x="21667" y="55974"/>
                  </a:lnTo>
                  <a:lnTo>
                    <a:pt x="18982" y="60754"/>
                  </a:lnTo>
                  <a:lnTo>
                    <a:pt x="13264" y="62759"/>
                  </a:lnTo>
                  <a:lnTo>
                    <a:pt x="7165" y="62693"/>
                  </a:lnTo>
                  <a:lnTo>
                    <a:pt x="5961" y="62178"/>
                  </a:lnTo>
                  <a:lnTo>
                    <a:pt x="4326" y="60350"/>
                  </a:lnTo>
                  <a:lnTo>
                    <a:pt x="4025" y="58735"/>
                  </a:lnTo>
                  <a:lnTo>
                    <a:pt x="4966" y="57178"/>
                  </a:lnTo>
                  <a:lnTo>
                    <a:pt x="8116" y="54812"/>
                  </a:lnTo>
                  <a:lnTo>
                    <a:pt x="12918" y="52698"/>
                  </a:lnTo>
                  <a:lnTo>
                    <a:pt x="13520" y="51081"/>
                  </a:lnTo>
                  <a:lnTo>
                    <a:pt x="11591" y="49506"/>
                  </a:lnTo>
                  <a:lnTo>
                    <a:pt x="10260" y="46378"/>
                  </a:lnTo>
                  <a:lnTo>
                    <a:pt x="7225" y="44187"/>
                  </a:lnTo>
                  <a:lnTo>
                    <a:pt x="5713" y="37498"/>
                  </a:lnTo>
                  <a:lnTo>
                    <a:pt x="4702" y="37166"/>
                  </a:lnTo>
                  <a:lnTo>
                    <a:pt x="2641" y="38089"/>
                  </a:lnTo>
                  <a:lnTo>
                    <a:pt x="1625" y="37279"/>
                  </a:lnTo>
                  <a:lnTo>
                    <a:pt x="1454" y="36852"/>
                  </a:lnTo>
                  <a:lnTo>
                    <a:pt x="3676" y="35327"/>
                  </a:lnTo>
                  <a:lnTo>
                    <a:pt x="4137" y="34238"/>
                  </a:lnTo>
                  <a:close/>
                  <a:moveTo>
                    <a:pt x="323405" y="2424"/>
                  </a:moveTo>
                  <a:lnTo>
                    <a:pt x="323165" y="5137"/>
                  </a:lnTo>
                  <a:lnTo>
                    <a:pt x="321736" y="5325"/>
                  </a:lnTo>
                  <a:lnTo>
                    <a:pt x="321075" y="4112"/>
                  </a:lnTo>
                  <a:lnTo>
                    <a:pt x="322811" y="2699"/>
                  </a:lnTo>
                  <a:close/>
                  <a:moveTo>
                    <a:pt x="324422" y="0"/>
                  </a:moveTo>
                  <a:lnTo>
                    <a:pt x="325204" y="525"/>
                  </a:lnTo>
                  <a:lnTo>
                    <a:pt x="327530" y="2452"/>
                  </a:lnTo>
                  <a:lnTo>
                    <a:pt x="328937" y="4360"/>
                  </a:lnTo>
                  <a:lnTo>
                    <a:pt x="331320" y="5546"/>
                  </a:lnTo>
                  <a:lnTo>
                    <a:pt x="333251" y="6506"/>
                  </a:lnTo>
                  <a:lnTo>
                    <a:pt x="338307" y="10379"/>
                  </a:lnTo>
                  <a:lnTo>
                    <a:pt x="341640" y="12346"/>
                  </a:lnTo>
                  <a:lnTo>
                    <a:pt x="345282" y="14116"/>
                  </a:lnTo>
                  <a:lnTo>
                    <a:pt x="350543" y="15976"/>
                  </a:lnTo>
                  <a:lnTo>
                    <a:pt x="353754" y="15660"/>
                  </a:lnTo>
                  <a:lnTo>
                    <a:pt x="354507" y="17070"/>
                  </a:lnTo>
                  <a:lnTo>
                    <a:pt x="355130" y="18556"/>
                  </a:lnTo>
                  <a:lnTo>
                    <a:pt x="356330" y="19422"/>
                  </a:lnTo>
                  <a:lnTo>
                    <a:pt x="358237" y="20161"/>
                  </a:lnTo>
                  <a:lnTo>
                    <a:pt x="359371" y="20393"/>
                  </a:lnTo>
                  <a:lnTo>
                    <a:pt x="359718" y="20765"/>
                  </a:lnTo>
                  <a:lnTo>
                    <a:pt x="360857" y="26133"/>
                  </a:lnTo>
                  <a:lnTo>
                    <a:pt x="361528" y="26917"/>
                  </a:lnTo>
                  <a:lnTo>
                    <a:pt x="364156" y="27767"/>
                  </a:lnTo>
                  <a:lnTo>
                    <a:pt x="367375" y="28088"/>
                  </a:lnTo>
                  <a:lnTo>
                    <a:pt x="368683" y="27902"/>
                  </a:lnTo>
                  <a:lnTo>
                    <a:pt x="371516" y="29394"/>
                  </a:lnTo>
                  <a:lnTo>
                    <a:pt x="373603" y="30097"/>
                  </a:lnTo>
                  <a:lnTo>
                    <a:pt x="375904" y="30623"/>
                  </a:lnTo>
                  <a:lnTo>
                    <a:pt x="377467" y="30778"/>
                  </a:lnTo>
                  <a:lnTo>
                    <a:pt x="378187" y="30545"/>
                  </a:lnTo>
                  <a:lnTo>
                    <a:pt x="378449" y="30005"/>
                  </a:lnTo>
                  <a:lnTo>
                    <a:pt x="379728" y="30106"/>
                  </a:lnTo>
                  <a:lnTo>
                    <a:pt x="381642" y="30795"/>
                  </a:lnTo>
                  <a:lnTo>
                    <a:pt x="384391" y="30935"/>
                  </a:lnTo>
                  <a:lnTo>
                    <a:pt x="386098" y="30282"/>
                  </a:lnTo>
                  <a:lnTo>
                    <a:pt x="386335" y="29199"/>
                  </a:lnTo>
                  <a:lnTo>
                    <a:pt x="386452" y="27299"/>
                  </a:lnTo>
                  <a:lnTo>
                    <a:pt x="387090" y="26636"/>
                  </a:lnTo>
                  <a:lnTo>
                    <a:pt x="389047" y="25533"/>
                  </a:lnTo>
                  <a:lnTo>
                    <a:pt x="390072" y="25764"/>
                  </a:lnTo>
                  <a:lnTo>
                    <a:pt x="395211" y="28143"/>
                  </a:lnTo>
                  <a:lnTo>
                    <a:pt x="396270" y="28966"/>
                  </a:lnTo>
                  <a:lnTo>
                    <a:pt x="397571" y="30623"/>
                  </a:lnTo>
                  <a:lnTo>
                    <a:pt x="399982" y="33077"/>
                  </a:lnTo>
                  <a:lnTo>
                    <a:pt x="402596" y="34643"/>
                  </a:lnTo>
                  <a:lnTo>
                    <a:pt x="406636" y="35310"/>
                  </a:lnTo>
                  <a:lnTo>
                    <a:pt x="410525" y="37880"/>
                  </a:lnTo>
                  <a:lnTo>
                    <a:pt x="415076" y="39607"/>
                  </a:lnTo>
                  <a:lnTo>
                    <a:pt x="413656" y="40510"/>
                  </a:lnTo>
                  <a:lnTo>
                    <a:pt x="412187" y="40608"/>
                  </a:lnTo>
                  <a:lnTo>
                    <a:pt x="410221" y="40890"/>
                  </a:lnTo>
                  <a:lnTo>
                    <a:pt x="407488" y="40021"/>
                  </a:lnTo>
                  <a:lnTo>
                    <a:pt x="406410" y="40021"/>
                  </a:lnTo>
                  <a:lnTo>
                    <a:pt x="406263" y="40903"/>
                  </a:lnTo>
                  <a:lnTo>
                    <a:pt x="408075" y="41979"/>
                  </a:lnTo>
                  <a:lnTo>
                    <a:pt x="409838" y="43203"/>
                  </a:lnTo>
                  <a:lnTo>
                    <a:pt x="410474" y="45065"/>
                  </a:lnTo>
                  <a:lnTo>
                    <a:pt x="411521" y="47274"/>
                  </a:lnTo>
                  <a:lnTo>
                    <a:pt x="414043" y="49749"/>
                  </a:lnTo>
                  <a:lnTo>
                    <a:pt x="415615" y="50988"/>
                  </a:lnTo>
                  <a:lnTo>
                    <a:pt x="415712" y="51870"/>
                  </a:lnTo>
                  <a:lnTo>
                    <a:pt x="415223" y="53487"/>
                  </a:lnTo>
                  <a:lnTo>
                    <a:pt x="415099" y="54836"/>
                  </a:lnTo>
                  <a:lnTo>
                    <a:pt x="415960" y="61041"/>
                  </a:lnTo>
                  <a:lnTo>
                    <a:pt x="415382" y="61421"/>
                  </a:lnTo>
                  <a:lnTo>
                    <a:pt x="414450" y="61453"/>
                  </a:lnTo>
                  <a:lnTo>
                    <a:pt x="413461" y="61421"/>
                  </a:lnTo>
                  <a:lnTo>
                    <a:pt x="412651" y="60747"/>
                  </a:lnTo>
                  <a:lnTo>
                    <a:pt x="411943" y="60344"/>
                  </a:lnTo>
                  <a:lnTo>
                    <a:pt x="411630" y="61304"/>
                  </a:lnTo>
                  <a:lnTo>
                    <a:pt x="410901" y="64067"/>
                  </a:lnTo>
                  <a:lnTo>
                    <a:pt x="409260" y="70284"/>
                  </a:lnTo>
                  <a:lnTo>
                    <a:pt x="407822" y="75735"/>
                  </a:lnTo>
                  <a:lnTo>
                    <a:pt x="406019" y="77664"/>
                  </a:lnTo>
                  <a:lnTo>
                    <a:pt x="403412" y="80728"/>
                  </a:lnTo>
                  <a:lnTo>
                    <a:pt x="399837" y="84923"/>
                  </a:lnTo>
                  <a:lnTo>
                    <a:pt x="394656" y="91002"/>
                  </a:lnTo>
                  <a:lnTo>
                    <a:pt x="390824" y="93813"/>
                  </a:lnTo>
                  <a:lnTo>
                    <a:pt x="387801" y="96031"/>
                  </a:lnTo>
                  <a:lnTo>
                    <a:pt x="384272" y="98593"/>
                  </a:lnTo>
                  <a:lnTo>
                    <a:pt x="379713" y="101898"/>
                  </a:lnTo>
                  <a:lnTo>
                    <a:pt x="374600" y="103759"/>
                  </a:lnTo>
                  <a:lnTo>
                    <a:pt x="367483" y="106340"/>
                  </a:lnTo>
                  <a:lnTo>
                    <a:pt x="362447" y="108167"/>
                  </a:lnTo>
                  <a:lnTo>
                    <a:pt x="358734" y="109443"/>
                  </a:lnTo>
                  <a:lnTo>
                    <a:pt x="354868" y="110773"/>
                  </a:lnTo>
                  <a:lnTo>
                    <a:pt x="349755" y="112531"/>
                  </a:lnTo>
                  <a:lnTo>
                    <a:pt x="347781" y="114189"/>
                  </a:lnTo>
                  <a:lnTo>
                    <a:pt x="344499" y="118246"/>
                  </a:lnTo>
                  <a:lnTo>
                    <a:pt x="342969" y="120202"/>
                  </a:lnTo>
                  <a:lnTo>
                    <a:pt x="341573" y="121885"/>
                  </a:lnTo>
                  <a:lnTo>
                    <a:pt x="341286" y="122653"/>
                  </a:lnTo>
                  <a:lnTo>
                    <a:pt x="341467" y="123144"/>
                  </a:lnTo>
                  <a:lnTo>
                    <a:pt x="342139" y="123965"/>
                  </a:lnTo>
                  <a:lnTo>
                    <a:pt x="342202" y="124803"/>
                  </a:lnTo>
                  <a:lnTo>
                    <a:pt x="341279" y="125329"/>
                  </a:lnTo>
                  <a:lnTo>
                    <a:pt x="340482" y="125412"/>
                  </a:lnTo>
                  <a:lnTo>
                    <a:pt x="340125" y="124991"/>
                  </a:lnTo>
                  <a:lnTo>
                    <a:pt x="339863" y="124066"/>
                  </a:lnTo>
                  <a:lnTo>
                    <a:pt x="339015" y="123125"/>
                  </a:lnTo>
                  <a:lnTo>
                    <a:pt x="338029" y="122852"/>
                  </a:lnTo>
                  <a:lnTo>
                    <a:pt x="337464" y="123082"/>
                  </a:lnTo>
                  <a:lnTo>
                    <a:pt x="337415" y="123942"/>
                  </a:lnTo>
                  <a:lnTo>
                    <a:pt x="336128" y="128096"/>
                  </a:lnTo>
                  <a:lnTo>
                    <a:pt x="336080" y="130114"/>
                  </a:lnTo>
                  <a:lnTo>
                    <a:pt x="335535" y="130912"/>
                  </a:lnTo>
                  <a:lnTo>
                    <a:pt x="335576" y="132717"/>
                  </a:lnTo>
                  <a:lnTo>
                    <a:pt x="334277" y="134398"/>
                  </a:lnTo>
                  <a:lnTo>
                    <a:pt x="333708" y="135896"/>
                  </a:lnTo>
                  <a:lnTo>
                    <a:pt x="333313" y="137168"/>
                  </a:lnTo>
                  <a:lnTo>
                    <a:pt x="332263" y="138051"/>
                  </a:lnTo>
                  <a:lnTo>
                    <a:pt x="331891" y="139440"/>
                  </a:lnTo>
                  <a:lnTo>
                    <a:pt x="330922" y="142379"/>
                  </a:lnTo>
                  <a:lnTo>
                    <a:pt x="329790" y="144686"/>
                  </a:lnTo>
                  <a:lnTo>
                    <a:pt x="328994" y="146661"/>
                  </a:lnTo>
                  <a:lnTo>
                    <a:pt x="328847" y="148137"/>
                  </a:lnTo>
                  <a:lnTo>
                    <a:pt x="329454" y="149181"/>
                  </a:lnTo>
                  <a:lnTo>
                    <a:pt x="329665" y="150022"/>
                  </a:lnTo>
                  <a:lnTo>
                    <a:pt x="329119" y="151533"/>
                  </a:lnTo>
                  <a:lnTo>
                    <a:pt x="328826" y="152670"/>
                  </a:lnTo>
                  <a:lnTo>
                    <a:pt x="327380" y="153439"/>
                  </a:lnTo>
                  <a:lnTo>
                    <a:pt x="324375" y="155277"/>
                  </a:lnTo>
                  <a:lnTo>
                    <a:pt x="323207" y="156533"/>
                  </a:lnTo>
                  <a:lnTo>
                    <a:pt x="322746" y="157963"/>
                  </a:lnTo>
                  <a:lnTo>
                    <a:pt x="323039" y="159181"/>
                  </a:lnTo>
                  <a:lnTo>
                    <a:pt x="322913" y="160191"/>
                  </a:lnTo>
                  <a:lnTo>
                    <a:pt x="321489" y="160568"/>
                  </a:lnTo>
                  <a:lnTo>
                    <a:pt x="320984" y="161452"/>
                  </a:lnTo>
                  <a:lnTo>
                    <a:pt x="320020" y="163006"/>
                  </a:lnTo>
                  <a:lnTo>
                    <a:pt x="318931" y="163552"/>
                  </a:lnTo>
                  <a:lnTo>
                    <a:pt x="316131" y="162728"/>
                  </a:lnTo>
                  <a:lnTo>
                    <a:pt x="314066" y="162713"/>
                  </a:lnTo>
                  <a:lnTo>
                    <a:pt x="312472" y="161956"/>
                  </a:lnTo>
                  <a:lnTo>
                    <a:pt x="310736" y="159724"/>
                  </a:lnTo>
                  <a:lnTo>
                    <a:pt x="309307" y="157848"/>
                  </a:lnTo>
                  <a:lnTo>
                    <a:pt x="308138" y="155418"/>
                  </a:lnTo>
                  <a:lnTo>
                    <a:pt x="307776" y="152079"/>
                  </a:lnTo>
                  <a:lnTo>
                    <a:pt x="306217" y="151099"/>
                  </a:lnTo>
                  <a:lnTo>
                    <a:pt x="304673" y="149938"/>
                  </a:lnTo>
                  <a:lnTo>
                    <a:pt x="302836" y="150260"/>
                  </a:lnTo>
                  <a:lnTo>
                    <a:pt x="300648" y="150484"/>
                  </a:lnTo>
                  <a:lnTo>
                    <a:pt x="299435" y="149710"/>
                  </a:lnTo>
                  <a:lnTo>
                    <a:pt x="296449" y="148298"/>
                  </a:lnTo>
                  <a:lnTo>
                    <a:pt x="293897" y="146703"/>
                  </a:lnTo>
                  <a:lnTo>
                    <a:pt x="291969" y="145904"/>
                  </a:lnTo>
                  <a:lnTo>
                    <a:pt x="290501" y="146284"/>
                  </a:lnTo>
                  <a:lnTo>
                    <a:pt x="289620" y="147249"/>
                  </a:lnTo>
                  <a:lnTo>
                    <a:pt x="288069" y="148970"/>
                  </a:lnTo>
                  <a:lnTo>
                    <a:pt x="285784" y="150161"/>
                  </a:lnTo>
                  <a:lnTo>
                    <a:pt x="284753" y="150105"/>
                  </a:lnTo>
                  <a:lnTo>
                    <a:pt x="283373" y="149308"/>
                  </a:lnTo>
                  <a:lnTo>
                    <a:pt x="283122" y="148382"/>
                  </a:lnTo>
                  <a:lnTo>
                    <a:pt x="284254" y="146913"/>
                  </a:lnTo>
                  <a:lnTo>
                    <a:pt x="286560" y="143679"/>
                  </a:lnTo>
                  <a:lnTo>
                    <a:pt x="284003" y="143595"/>
                  </a:lnTo>
                  <a:lnTo>
                    <a:pt x="283122" y="142588"/>
                  </a:lnTo>
                  <a:lnTo>
                    <a:pt x="282996" y="141409"/>
                  </a:lnTo>
                  <a:lnTo>
                    <a:pt x="282576" y="140150"/>
                  </a:lnTo>
                  <a:lnTo>
                    <a:pt x="283080" y="138640"/>
                  </a:lnTo>
                  <a:lnTo>
                    <a:pt x="284421" y="137840"/>
                  </a:lnTo>
                  <a:lnTo>
                    <a:pt x="286434" y="138470"/>
                  </a:lnTo>
                  <a:lnTo>
                    <a:pt x="287818" y="138512"/>
                  </a:lnTo>
                  <a:lnTo>
                    <a:pt x="288741" y="137084"/>
                  </a:lnTo>
                  <a:lnTo>
                    <a:pt x="289663" y="136454"/>
                  </a:lnTo>
                  <a:lnTo>
                    <a:pt x="290585" y="135993"/>
                  </a:lnTo>
                  <a:lnTo>
                    <a:pt x="290963" y="135279"/>
                  </a:lnTo>
                  <a:lnTo>
                    <a:pt x="289991" y="132992"/>
                  </a:lnTo>
                  <a:lnTo>
                    <a:pt x="289705" y="131752"/>
                  </a:lnTo>
                  <a:lnTo>
                    <a:pt x="289998" y="131038"/>
                  </a:lnTo>
                  <a:lnTo>
                    <a:pt x="289956" y="129610"/>
                  </a:lnTo>
                  <a:lnTo>
                    <a:pt x="289914" y="128561"/>
                  </a:lnTo>
                  <a:lnTo>
                    <a:pt x="289327" y="127637"/>
                  </a:lnTo>
                  <a:lnTo>
                    <a:pt x="289286" y="126250"/>
                  </a:lnTo>
                  <a:lnTo>
                    <a:pt x="288782" y="125497"/>
                  </a:lnTo>
                  <a:lnTo>
                    <a:pt x="288614" y="124699"/>
                  </a:lnTo>
                  <a:lnTo>
                    <a:pt x="288572" y="123774"/>
                  </a:lnTo>
                  <a:lnTo>
                    <a:pt x="287943" y="123313"/>
                  </a:lnTo>
                  <a:lnTo>
                    <a:pt x="287275" y="122842"/>
                  </a:lnTo>
                  <a:lnTo>
                    <a:pt x="287822" y="122510"/>
                  </a:lnTo>
                  <a:lnTo>
                    <a:pt x="291454" y="121228"/>
                  </a:lnTo>
                  <a:lnTo>
                    <a:pt x="292963" y="119952"/>
                  </a:lnTo>
                  <a:lnTo>
                    <a:pt x="294832" y="118787"/>
                  </a:lnTo>
                  <a:lnTo>
                    <a:pt x="296438" y="117000"/>
                  </a:lnTo>
                  <a:lnTo>
                    <a:pt x="297496" y="115284"/>
                  </a:lnTo>
                  <a:lnTo>
                    <a:pt x="300004" y="107337"/>
                  </a:lnTo>
                  <a:lnTo>
                    <a:pt x="302357" y="102316"/>
                  </a:lnTo>
                  <a:lnTo>
                    <a:pt x="301961" y="99921"/>
                  </a:lnTo>
                  <a:lnTo>
                    <a:pt x="300011" y="96670"/>
                  </a:lnTo>
                  <a:lnTo>
                    <a:pt x="299572" y="91883"/>
                  </a:lnTo>
                  <a:lnTo>
                    <a:pt x="299752" y="90429"/>
                  </a:lnTo>
                  <a:lnTo>
                    <a:pt x="299511" y="89334"/>
                  </a:lnTo>
                  <a:lnTo>
                    <a:pt x="298211" y="91320"/>
                  </a:lnTo>
                  <a:lnTo>
                    <a:pt x="298542" y="98371"/>
                  </a:lnTo>
                  <a:lnTo>
                    <a:pt x="297395" y="101541"/>
                  </a:lnTo>
                  <a:lnTo>
                    <a:pt x="295786" y="102306"/>
                  </a:lnTo>
                  <a:lnTo>
                    <a:pt x="294743" y="101749"/>
                  </a:lnTo>
                  <a:lnTo>
                    <a:pt x="295339" y="96600"/>
                  </a:lnTo>
                  <a:lnTo>
                    <a:pt x="294161" y="97537"/>
                  </a:lnTo>
                  <a:lnTo>
                    <a:pt x="292284" y="101030"/>
                  </a:lnTo>
                  <a:lnTo>
                    <a:pt x="289203" y="103622"/>
                  </a:lnTo>
                  <a:lnTo>
                    <a:pt x="289036" y="104487"/>
                  </a:lnTo>
                  <a:lnTo>
                    <a:pt x="288288" y="105555"/>
                  </a:lnTo>
                  <a:lnTo>
                    <a:pt x="285909" y="104571"/>
                  </a:lnTo>
                  <a:lnTo>
                    <a:pt x="284096" y="103505"/>
                  </a:lnTo>
                  <a:lnTo>
                    <a:pt x="278142" y="97693"/>
                  </a:lnTo>
                  <a:lnTo>
                    <a:pt x="274233" y="96479"/>
                  </a:lnTo>
                  <a:lnTo>
                    <a:pt x="271872" y="94452"/>
                  </a:lnTo>
                  <a:lnTo>
                    <a:pt x="271378" y="93598"/>
                  </a:lnTo>
                  <a:lnTo>
                    <a:pt x="271095" y="92426"/>
                  </a:lnTo>
                  <a:lnTo>
                    <a:pt x="273508" y="91207"/>
                  </a:lnTo>
                  <a:lnTo>
                    <a:pt x="275975" y="89569"/>
                  </a:lnTo>
                  <a:lnTo>
                    <a:pt x="276222" y="85965"/>
                  </a:lnTo>
                  <a:lnTo>
                    <a:pt x="276158" y="83134"/>
                  </a:lnTo>
                  <a:lnTo>
                    <a:pt x="274335" y="78302"/>
                  </a:lnTo>
                  <a:lnTo>
                    <a:pt x="275187" y="71985"/>
                  </a:lnTo>
                  <a:lnTo>
                    <a:pt x="274715" y="69511"/>
                  </a:lnTo>
                  <a:lnTo>
                    <a:pt x="272626" y="64263"/>
                  </a:lnTo>
                  <a:lnTo>
                    <a:pt x="274173" y="61621"/>
                  </a:lnTo>
                  <a:lnTo>
                    <a:pt x="279693" y="59695"/>
                  </a:lnTo>
                  <a:lnTo>
                    <a:pt x="281463" y="58407"/>
                  </a:lnTo>
                  <a:lnTo>
                    <a:pt x="282701" y="54245"/>
                  </a:lnTo>
                  <a:lnTo>
                    <a:pt x="283959" y="51751"/>
                  </a:lnTo>
                  <a:lnTo>
                    <a:pt x="286420" y="52756"/>
                  </a:lnTo>
                  <a:lnTo>
                    <a:pt x="288348" y="52639"/>
                  </a:lnTo>
                  <a:lnTo>
                    <a:pt x="285751" y="51714"/>
                  </a:lnTo>
                  <a:lnTo>
                    <a:pt x="283633" y="47962"/>
                  </a:lnTo>
                  <a:lnTo>
                    <a:pt x="283279" y="46243"/>
                  </a:lnTo>
                  <a:lnTo>
                    <a:pt x="287361" y="41110"/>
                  </a:lnTo>
                  <a:lnTo>
                    <a:pt x="289498" y="39773"/>
                  </a:lnTo>
                  <a:lnTo>
                    <a:pt x="292125" y="37059"/>
                  </a:lnTo>
                  <a:lnTo>
                    <a:pt x="294338" y="32966"/>
                  </a:lnTo>
                  <a:lnTo>
                    <a:pt x="294874" y="26505"/>
                  </a:lnTo>
                  <a:lnTo>
                    <a:pt x="293961" y="21888"/>
                  </a:lnTo>
                  <a:lnTo>
                    <a:pt x="293269" y="17006"/>
                  </a:lnTo>
                  <a:lnTo>
                    <a:pt x="294597" y="15744"/>
                  </a:lnTo>
                  <a:lnTo>
                    <a:pt x="297954" y="15093"/>
                  </a:lnTo>
                  <a:lnTo>
                    <a:pt x="300684" y="13519"/>
                  </a:lnTo>
                  <a:lnTo>
                    <a:pt x="302070" y="12060"/>
                  </a:lnTo>
                  <a:lnTo>
                    <a:pt x="305316" y="12279"/>
                  </a:lnTo>
                  <a:lnTo>
                    <a:pt x="309064" y="10025"/>
                  </a:lnTo>
                  <a:lnTo>
                    <a:pt x="315057" y="8895"/>
                  </a:lnTo>
                  <a:lnTo>
                    <a:pt x="323409" y="6318"/>
                  </a:lnTo>
                  <a:lnTo>
                    <a:pt x="325250" y="4044"/>
                  </a:lnTo>
                  <a:close/>
                </a:path>
              </a:pathLst>
            </a:custGeom>
            <a:solidFill>
              <a:srgbClr val="007CBC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54" name="ee4p_GF_1_82333">
              <a:extLst>
                <a:ext uri="{FF2B5EF4-FFF2-40B4-BE49-F238E27FC236}">
                  <a16:creationId xmlns:a16="http://schemas.microsoft.com/office/drawing/2014/main" id="{920D80EE-787D-CE7D-3687-8A89E09E7120}"/>
                </a:ext>
              </a:extLst>
            </p:cNvPr>
            <p:cNvSpPr>
              <a:spLocks noChangeAspect="1"/>
            </p:cNvSpPr>
            <p:nvPr>
              <p:custDataLst>
                <p:tags r:id="rId182"/>
              </p:custDataLst>
            </p:nvPr>
          </p:nvSpPr>
          <p:spPr>
            <a:xfrm>
              <a:off x="4998042" y="4510665"/>
              <a:ext cx="82302" cy="104608"/>
            </a:xfrm>
            <a:custGeom>
              <a:avLst/>
              <a:gdLst/>
              <a:ahLst/>
              <a:cxnLst/>
              <a:rect l="0" t="0" r="0" b="0"/>
              <a:pathLst>
                <a:path w="65535" h="81090">
                  <a:moveTo>
                    <a:pt x="51463" y="20091"/>
                  </a:moveTo>
                  <a:lnTo>
                    <a:pt x="50674" y="22423"/>
                  </a:lnTo>
                  <a:lnTo>
                    <a:pt x="52987" y="20387"/>
                  </a:lnTo>
                  <a:lnTo>
                    <a:pt x="56567" y="23609"/>
                  </a:lnTo>
                  <a:lnTo>
                    <a:pt x="57579" y="25192"/>
                  </a:lnTo>
                  <a:lnTo>
                    <a:pt x="58694" y="28107"/>
                  </a:lnTo>
                  <a:lnTo>
                    <a:pt x="58308" y="29980"/>
                  </a:lnTo>
                  <a:lnTo>
                    <a:pt x="57813" y="30947"/>
                  </a:lnTo>
                  <a:lnTo>
                    <a:pt x="57787" y="31699"/>
                  </a:lnTo>
                  <a:lnTo>
                    <a:pt x="58851" y="30662"/>
                  </a:lnTo>
                  <a:lnTo>
                    <a:pt x="59450" y="29841"/>
                  </a:lnTo>
                  <a:lnTo>
                    <a:pt x="59630" y="27887"/>
                  </a:lnTo>
                  <a:lnTo>
                    <a:pt x="60498" y="25463"/>
                  </a:lnTo>
                  <a:lnTo>
                    <a:pt x="61665" y="25420"/>
                  </a:lnTo>
                  <a:lnTo>
                    <a:pt x="62591" y="26864"/>
                  </a:lnTo>
                  <a:lnTo>
                    <a:pt x="64515" y="33149"/>
                  </a:lnTo>
                  <a:lnTo>
                    <a:pt x="65240" y="34434"/>
                  </a:lnTo>
                  <a:lnTo>
                    <a:pt x="65518" y="36428"/>
                  </a:lnTo>
                  <a:lnTo>
                    <a:pt x="65411" y="37321"/>
                  </a:lnTo>
                  <a:lnTo>
                    <a:pt x="65534" y="38145"/>
                  </a:lnTo>
                  <a:lnTo>
                    <a:pt x="64851" y="38622"/>
                  </a:lnTo>
                  <a:lnTo>
                    <a:pt x="63001" y="39664"/>
                  </a:lnTo>
                  <a:lnTo>
                    <a:pt x="62157" y="41053"/>
                  </a:lnTo>
                  <a:lnTo>
                    <a:pt x="61666" y="42390"/>
                  </a:lnTo>
                  <a:lnTo>
                    <a:pt x="60516" y="43298"/>
                  </a:lnTo>
                  <a:lnTo>
                    <a:pt x="59423" y="44441"/>
                  </a:lnTo>
                  <a:lnTo>
                    <a:pt x="59082" y="45368"/>
                  </a:lnTo>
                  <a:lnTo>
                    <a:pt x="58059" y="46101"/>
                  </a:lnTo>
                  <a:lnTo>
                    <a:pt x="57862" y="47321"/>
                  </a:lnTo>
                  <a:lnTo>
                    <a:pt x="55284" y="51629"/>
                  </a:lnTo>
                  <a:lnTo>
                    <a:pt x="54256" y="53568"/>
                  </a:lnTo>
                  <a:lnTo>
                    <a:pt x="52778" y="55627"/>
                  </a:lnTo>
                  <a:lnTo>
                    <a:pt x="51854" y="56393"/>
                  </a:lnTo>
                  <a:lnTo>
                    <a:pt x="50601" y="57618"/>
                  </a:lnTo>
                  <a:lnTo>
                    <a:pt x="49965" y="59035"/>
                  </a:lnTo>
                  <a:lnTo>
                    <a:pt x="49965" y="60499"/>
                  </a:lnTo>
                  <a:lnTo>
                    <a:pt x="49086" y="62256"/>
                  </a:lnTo>
                  <a:lnTo>
                    <a:pt x="48599" y="63768"/>
                  </a:lnTo>
                  <a:lnTo>
                    <a:pt x="47771" y="64647"/>
                  </a:lnTo>
                  <a:lnTo>
                    <a:pt x="45586" y="69438"/>
                  </a:lnTo>
                  <a:lnTo>
                    <a:pt x="45480" y="71086"/>
                  </a:lnTo>
                  <a:lnTo>
                    <a:pt x="44960" y="72065"/>
                  </a:lnTo>
                  <a:lnTo>
                    <a:pt x="43408" y="74348"/>
                  </a:lnTo>
                  <a:lnTo>
                    <a:pt x="42359" y="75721"/>
                  </a:lnTo>
                  <a:lnTo>
                    <a:pt x="40529" y="76749"/>
                  </a:lnTo>
                  <a:lnTo>
                    <a:pt x="38604" y="77867"/>
                  </a:lnTo>
                  <a:lnTo>
                    <a:pt x="37874" y="79087"/>
                  </a:lnTo>
                  <a:lnTo>
                    <a:pt x="36517" y="79706"/>
                  </a:lnTo>
                  <a:lnTo>
                    <a:pt x="35524" y="79746"/>
                  </a:lnTo>
                  <a:lnTo>
                    <a:pt x="33920" y="79304"/>
                  </a:lnTo>
                  <a:lnTo>
                    <a:pt x="31757" y="79091"/>
                  </a:lnTo>
                  <a:lnTo>
                    <a:pt x="30658" y="79234"/>
                  </a:lnTo>
                  <a:lnTo>
                    <a:pt x="30162" y="78628"/>
                  </a:lnTo>
                  <a:lnTo>
                    <a:pt x="29426" y="77236"/>
                  </a:lnTo>
                  <a:lnTo>
                    <a:pt x="28344" y="76250"/>
                  </a:lnTo>
                  <a:lnTo>
                    <a:pt x="27646" y="76594"/>
                  </a:lnTo>
                  <a:lnTo>
                    <a:pt x="26191" y="77584"/>
                  </a:lnTo>
                  <a:lnTo>
                    <a:pt x="24484" y="78167"/>
                  </a:lnTo>
                  <a:lnTo>
                    <a:pt x="23269" y="77972"/>
                  </a:lnTo>
                  <a:lnTo>
                    <a:pt x="20621" y="77286"/>
                  </a:lnTo>
                  <a:lnTo>
                    <a:pt x="19493" y="76941"/>
                  </a:lnTo>
                  <a:lnTo>
                    <a:pt x="19152" y="76355"/>
                  </a:lnTo>
                  <a:lnTo>
                    <a:pt x="18762" y="75916"/>
                  </a:lnTo>
                  <a:lnTo>
                    <a:pt x="18177" y="76112"/>
                  </a:lnTo>
                  <a:lnTo>
                    <a:pt x="17396" y="76843"/>
                  </a:lnTo>
                  <a:lnTo>
                    <a:pt x="16355" y="77610"/>
                  </a:lnTo>
                  <a:lnTo>
                    <a:pt x="14811" y="78622"/>
                  </a:lnTo>
                  <a:lnTo>
                    <a:pt x="11643" y="80437"/>
                  </a:lnTo>
                  <a:lnTo>
                    <a:pt x="10751" y="81089"/>
                  </a:lnTo>
                  <a:lnTo>
                    <a:pt x="9926" y="80734"/>
                  </a:lnTo>
                  <a:lnTo>
                    <a:pt x="8586" y="80375"/>
                  </a:lnTo>
                  <a:lnTo>
                    <a:pt x="7147" y="80354"/>
                  </a:lnTo>
                  <a:lnTo>
                    <a:pt x="4050" y="79175"/>
                  </a:lnTo>
                  <a:lnTo>
                    <a:pt x="2237" y="78336"/>
                  </a:lnTo>
                  <a:lnTo>
                    <a:pt x="1454" y="77283"/>
                  </a:lnTo>
                  <a:lnTo>
                    <a:pt x="538" y="76825"/>
                  </a:lnTo>
                  <a:lnTo>
                    <a:pt x="0" y="76538"/>
                  </a:lnTo>
                  <a:lnTo>
                    <a:pt x="255" y="76338"/>
                  </a:lnTo>
                  <a:lnTo>
                    <a:pt x="1058" y="76188"/>
                  </a:lnTo>
                  <a:lnTo>
                    <a:pt x="1776" y="76171"/>
                  </a:lnTo>
                  <a:lnTo>
                    <a:pt x="2891" y="74561"/>
                  </a:lnTo>
                  <a:lnTo>
                    <a:pt x="4738" y="73556"/>
                  </a:lnTo>
                  <a:lnTo>
                    <a:pt x="7950" y="67976"/>
                  </a:lnTo>
                  <a:lnTo>
                    <a:pt x="9304" y="65671"/>
                  </a:lnTo>
                  <a:lnTo>
                    <a:pt x="9468" y="64410"/>
                  </a:lnTo>
                  <a:lnTo>
                    <a:pt x="9852" y="61782"/>
                  </a:lnTo>
                  <a:lnTo>
                    <a:pt x="9135" y="58582"/>
                  </a:lnTo>
                  <a:lnTo>
                    <a:pt x="9469" y="57684"/>
                  </a:lnTo>
                  <a:lnTo>
                    <a:pt x="12230" y="53820"/>
                  </a:lnTo>
                  <a:lnTo>
                    <a:pt x="13415" y="51712"/>
                  </a:lnTo>
                  <a:lnTo>
                    <a:pt x="13495" y="49897"/>
                  </a:lnTo>
                  <a:lnTo>
                    <a:pt x="13837" y="48590"/>
                  </a:lnTo>
                  <a:lnTo>
                    <a:pt x="13496" y="47907"/>
                  </a:lnTo>
                  <a:lnTo>
                    <a:pt x="12870" y="47708"/>
                  </a:lnTo>
                  <a:lnTo>
                    <a:pt x="11814" y="46013"/>
                  </a:lnTo>
                  <a:lnTo>
                    <a:pt x="11133" y="44608"/>
                  </a:lnTo>
                  <a:lnTo>
                    <a:pt x="9261" y="43168"/>
                  </a:lnTo>
                  <a:lnTo>
                    <a:pt x="7977" y="41692"/>
                  </a:lnTo>
                  <a:lnTo>
                    <a:pt x="5872" y="38304"/>
                  </a:lnTo>
                  <a:lnTo>
                    <a:pt x="6062" y="36400"/>
                  </a:lnTo>
                  <a:lnTo>
                    <a:pt x="5465" y="35716"/>
                  </a:lnTo>
                  <a:lnTo>
                    <a:pt x="4818" y="35017"/>
                  </a:lnTo>
                  <a:lnTo>
                    <a:pt x="4865" y="34155"/>
                  </a:lnTo>
                  <a:lnTo>
                    <a:pt x="4428" y="32023"/>
                  </a:lnTo>
                  <a:lnTo>
                    <a:pt x="3883" y="30021"/>
                  </a:lnTo>
                  <a:lnTo>
                    <a:pt x="3685" y="28758"/>
                  </a:lnTo>
                  <a:lnTo>
                    <a:pt x="4205" y="26587"/>
                  </a:lnTo>
                  <a:lnTo>
                    <a:pt x="3893" y="24172"/>
                  </a:lnTo>
                  <a:lnTo>
                    <a:pt x="3209" y="22902"/>
                  </a:lnTo>
                  <a:lnTo>
                    <a:pt x="3020" y="20969"/>
                  </a:lnTo>
                  <a:lnTo>
                    <a:pt x="3161" y="19236"/>
                  </a:lnTo>
                  <a:lnTo>
                    <a:pt x="3746" y="18259"/>
                  </a:lnTo>
                  <a:lnTo>
                    <a:pt x="3628" y="17047"/>
                  </a:lnTo>
                  <a:lnTo>
                    <a:pt x="6294" y="13191"/>
                  </a:lnTo>
                  <a:lnTo>
                    <a:pt x="8316" y="10956"/>
                  </a:lnTo>
                  <a:lnTo>
                    <a:pt x="10179" y="9387"/>
                  </a:lnTo>
                  <a:lnTo>
                    <a:pt x="11741" y="8215"/>
                  </a:lnTo>
                  <a:lnTo>
                    <a:pt x="13857" y="2356"/>
                  </a:lnTo>
                  <a:lnTo>
                    <a:pt x="15398" y="293"/>
                  </a:lnTo>
                  <a:lnTo>
                    <a:pt x="17007" y="0"/>
                  </a:lnTo>
                  <a:lnTo>
                    <a:pt x="25691" y="4852"/>
                  </a:lnTo>
                  <a:lnTo>
                    <a:pt x="29761" y="5301"/>
                  </a:lnTo>
                  <a:lnTo>
                    <a:pt x="37965" y="7922"/>
                  </a:lnTo>
                  <a:lnTo>
                    <a:pt x="40936" y="11283"/>
                  </a:lnTo>
                  <a:lnTo>
                    <a:pt x="47813" y="16873"/>
                  </a:lnTo>
                  <a:lnTo>
                    <a:pt x="51427" y="18627"/>
                  </a:lnTo>
                  <a:close/>
                </a:path>
              </a:pathLst>
            </a:custGeom>
            <a:solidFill>
              <a:srgbClr val="007CBC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55" name="ee4p_FK_1_82333">
              <a:extLst>
                <a:ext uri="{FF2B5EF4-FFF2-40B4-BE49-F238E27FC236}">
                  <a16:creationId xmlns:a16="http://schemas.microsoft.com/office/drawing/2014/main" id="{28A3C517-1F8F-7874-9264-284B322DD5A3}"/>
                </a:ext>
              </a:extLst>
            </p:cNvPr>
            <p:cNvSpPr>
              <a:spLocks noChangeAspect="1"/>
            </p:cNvSpPr>
            <p:nvPr>
              <p:custDataLst>
                <p:tags r:id="rId183"/>
              </p:custDataLst>
            </p:nvPr>
          </p:nvSpPr>
          <p:spPr>
            <a:xfrm>
              <a:off x="4816744" y="6282046"/>
              <a:ext cx="93116" cy="39497"/>
            </a:xfrm>
            <a:custGeom>
              <a:avLst/>
              <a:gdLst>
                <a:gd name="connsiteX0" fmla="*/ 34275 w 85025"/>
                <a:gd name="connsiteY0" fmla="*/ 29199 h 35109"/>
                <a:gd name="connsiteX1" fmla="*/ 35291 w 85025"/>
                <a:gd name="connsiteY1" fmla="*/ 29445 h 35109"/>
                <a:gd name="connsiteX2" fmla="*/ 37122 w 85025"/>
                <a:gd name="connsiteY2" fmla="*/ 30758 h 35109"/>
                <a:gd name="connsiteX3" fmla="*/ 37079 w 85025"/>
                <a:gd name="connsiteY3" fmla="*/ 32511 h 35109"/>
                <a:gd name="connsiteX4" fmla="*/ 35459 w 85025"/>
                <a:gd name="connsiteY4" fmla="*/ 33166 h 35109"/>
                <a:gd name="connsiteX5" fmla="*/ 35006 w 85025"/>
                <a:gd name="connsiteY5" fmla="*/ 32870 h 35109"/>
                <a:gd name="connsiteX6" fmla="*/ 34488 w 85025"/>
                <a:gd name="connsiteY6" fmla="*/ 31595 h 35109"/>
                <a:gd name="connsiteX7" fmla="*/ 34462 w 85025"/>
                <a:gd name="connsiteY7" fmla="*/ 29946 h 35109"/>
                <a:gd name="connsiteX8" fmla="*/ 67142 w 85025"/>
                <a:gd name="connsiteY8" fmla="*/ 24625 h 35109"/>
                <a:gd name="connsiteX9" fmla="*/ 68069 w 85025"/>
                <a:gd name="connsiteY9" fmla="*/ 24699 h 35109"/>
                <a:gd name="connsiteX10" fmla="*/ 68619 w 85025"/>
                <a:gd name="connsiteY10" fmla="*/ 25020 h 35109"/>
                <a:gd name="connsiteX11" fmla="*/ 68774 w 85025"/>
                <a:gd name="connsiteY11" fmla="*/ 28005 h 35109"/>
                <a:gd name="connsiteX12" fmla="*/ 66743 w 85025"/>
                <a:gd name="connsiteY12" fmla="*/ 27058 h 35109"/>
                <a:gd name="connsiteX13" fmla="*/ 66018 w 85025"/>
                <a:gd name="connsiteY13" fmla="*/ 25609 h 35109"/>
                <a:gd name="connsiteX14" fmla="*/ 3201 w 85025"/>
                <a:gd name="connsiteY14" fmla="*/ 17390 h 35109"/>
                <a:gd name="connsiteX15" fmla="*/ 5013 w 85025"/>
                <a:gd name="connsiteY15" fmla="*/ 17856 h 35109"/>
                <a:gd name="connsiteX16" fmla="*/ 6822 w 85025"/>
                <a:gd name="connsiteY16" fmla="*/ 17677 h 35109"/>
                <a:gd name="connsiteX17" fmla="*/ 5802 w 85025"/>
                <a:gd name="connsiteY17" fmla="*/ 21153 h 35109"/>
                <a:gd name="connsiteX18" fmla="*/ 5006 w 85025"/>
                <a:gd name="connsiteY18" fmla="*/ 22824 h 35109"/>
                <a:gd name="connsiteX19" fmla="*/ 2865 w 85025"/>
                <a:gd name="connsiteY19" fmla="*/ 22695 h 35109"/>
                <a:gd name="connsiteX20" fmla="*/ 741 w 85025"/>
                <a:gd name="connsiteY20" fmla="*/ 20420 h 35109"/>
                <a:gd name="connsiteX21" fmla="*/ 0 w 85025"/>
                <a:gd name="connsiteY21" fmla="*/ 19207 h 35109"/>
                <a:gd name="connsiteX22" fmla="*/ 2367 w 85025"/>
                <a:gd name="connsiteY22" fmla="*/ 18344 h 35109"/>
                <a:gd name="connsiteX23" fmla="*/ 15957 w 85025"/>
                <a:gd name="connsiteY23" fmla="*/ 2837 h 35109"/>
                <a:gd name="connsiteX24" fmla="*/ 17738 w 85025"/>
                <a:gd name="connsiteY24" fmla="*/ 4355 h 35109"/>
                <a:gd name="connsiteX25" fmla="*/ 21775 w 85025"/>
                <a:gd name="connsiteY25" fmla="*/ 6460 h 35109"/>
                <a:gd name="connsiteX26" fmla="*/ 25444 w 85025"/>
                <a:gd name="connsiteY26" fmla="*/ 7102 h 35109"/>
                <a:gd name="connsiteX27" fmla="*/ 28813 w 85025"/>
                <a:gd name="connsiteY27" fmla="*/ 4730 h 35109"/>
                <a:gd name="connsiteX28" fmla="*/ 31136 w 85025"/>
                <a:gd name="connsiteY28" fmla="*/ 3975 h 35109"/>
                <a:gd name="connsiteX29" fmla="*/ 33050 w 85025"/>
                <a:gd name="connsiteY29" fmla="*/ 4487 h 35109"/>
                <a:gd name="connsiteX30" fmla="*/ 34398 w 85025"/>
                <a:gd name="connsiteY30" fmla="*/ 5924 h 35109"/>
                <a:gd name="connsiteX31" fmla="*/ 36354 w 85025"/>
                <a:gd name="connsiteY31" fmla="*/ 5697 h 35109"/>
                <a:gd name="connsiteX32" fmla="*/ 41878 w 85025"/>
                <a:gd name="connsiteY32" fmla="*/ 4230 h 35109"/>
                <a:gd name="connsiteX33" fmla="*/ 42597 w 85025"/>
                <a:gd name="connsiteY33" fmla="*/ 4730 h 35109"/>
                <a:gd name="connsiteX34" fmla="*/ 44562 w 85025"/>
                <a:gd name="connsiteY34" fmla="*/ 3029 h 35109"/>
                <a:gd name="connsiteX35" fmla="*/ 46255 w 85025"/>
                <a:gd name="connsiteY35" fmla="*/ 3823 h 35109"/>
                <a:gd name="connsiteX36" fmla="*/ 47593 w 85025"/>
                <a:gd name="connsiteY36" fmla="*/ 5303 h 35109"/>
                <a:gd name="connsiteX37" fmla="*/ 46937 w 85025"/>
                <a:gd name="connsiteY37" fmla="*/ 7019 h 35109"/>
                <a:gd name="connsiteX38" fmla="*/ 45409 w 85025"/>
                <a:gd name="connsiteY38" fmla="*/ 8112 h 35109"/>
                <a:gd name="connsiteX39" fmla="*/ 44440 w 85025"/>
                <a:gd name="connsiteY39" fmla="*/ 9636 h 35109"/>
                <a:gd name="connsiteX40" fmla="*/ 43309 w 85025"/>
                <a:gd name="connsiteY40" fmla="*/ 10868 h 35109"/>
                <a:gd name="connsiteX41" fmla="*/ 41351 w 85025"/>
                <a:gd name="connsiteY41" fmla="*/ 12012 h 35109"/>
                <a:gd name="connsiteX42" fmla="*/ 39856 w 85025"/>
                <a:gd name="connsiteY42" fmla="*/ 13844 h 35109"/>
                <a:gd name="connsiteX43" fmla="*/ 36263 w 85025"/>
                <a:gd name="connsiteY43" fmla="*/ 18133 h 35109"/>
                <a:gd name="connsiteX44" fmla="*/ 31027 w 85025"/>
                <a:gd name="connsiteY44" fmla="*/ 23612 h 35109"/>
                <a:gd name="connsiteX45" fmla="*/ 29293 w 85025"/>
                <a:gd name="connsiteY45" fmla="*/ 24105 h 35109"/>
                <a:gd name="connsiteX46" fmla="*/ 25679 w 85025"/>
                <a:gd name="connsiteY46" fmla="*/ 24437 h 35109"/>
                <a:gd name="connsiteX47" fmla="*/ 24120 w 85025"/>
                <a:gd name="connsiteY47" fmla="*/ 24059 h 35109"/>
                <a:gd name="connsiteX48" fmla="*/ 22787 w 85025"/>
                <a:gd name="connsiteY48" fmla="*/ 24184 h 35109"/>
                <a:gd name="connsiteX49" fmla="*/ 21724 w 85025"/>
                <a:gd name="connsiteY49" fmla="*/ 27146 h 35109"/>
                <a:gd name="connsiteX50" fmla="*/ 20071 w 85025"/>
                <a:gd name="connsiteY50" fmla="*/ 29394 h 35109"/>
                <a:gd name="connsiteX51" fmla="*/ 19290 w 85025"/>
                <a:gd name="connsiteY51" fmla="*/ 29872 h 35109"/>
                <a:gd name="connsiteX52" fmla="*/ 17573 w 85025"/>
                <a:gd name="connsiteY52" fmla="*/ 30084 h 35109"/>
                <a:gd name="connsiteX53" fmla="*/ 16758 w 85025"/>
                <a:gd name="connsiteY53" fmla="*/ 30426 h 35109"/>
                <a:gd name="connsiteX54" fmla="*/ 16143 w 85025"/>
                <a:gd name="connsiteY54" fmla="*/ 31256 h 35109"/>
                <a:gd name="connsiteX55" fmla="*/ 11629 w 85025"/>
                <a:gd name="connsiteY55" fmla="*/ 31041 h 35109"/>
                <a:gd name="connsiteX56" fmla="*/ 8439 w 85025"/>
                <a:gd name="connsiteY56" fmla="*/ 29660 h 35109"/>
                <a:gd name="connsiteX57" fmla="*/ 4655 w 85025"/>
                <a:gd name="connsiteY57" fmla="*/ 26589 h 35109"/>
                <a:gd name="connsiteX58" fmla="*/ 9699 w 85025"/>
                <a:gd name="connsiteY58" fmla="*/ 22831 h 35109"/>
                <a:gd name="connsiteX59" fmla="*/ 14046 w 85025"/>
                <a:gd name="connsiteY59" fmla="*/ 23003 h 35109"/>
                <a:gd name="connsiteX60" fmla="*/ 17629 w 85025"/>
                <a:gd name="connsiteY60" fmla="*/ 20483 h 35109"/>
                <a:gd name="connsiteX61" fmla="*/ 20552 w 85025"/>
                <a:gd name="connsiteY61" fmla="*/ 19210 h 35109"/>
                <a:gd name="connsiteX62" fmla="*/ 21713 w 85025"/>
                <a:gd name="connsiteY62" fmla="*/ 17914 h 35109"/>
                <a:gd name="connsiteX63" fmla="*/ 22986 w 85025"/>
                <a:gd name="connsiteY63" fmla="*/ 16923 h 35109"/>
                <a:gd name="connsiteX64" fmla="*/ 22995 w 85025"/>
                <a:gd name="connsiteY64" fmla="*/ 15633 h 35109"/>
                <a:gd name="connsiteX65" fmla="*/ 22022 w 85025"/>
                <a:gd name="connsiteY65" fmla="*/ 15052 h 35109"/>
                <a:gd name="connsiteX66" fmla="*/ 20708 w 85025"/>
                <a:gd name="connsiteY66" fmla="*/ 15112 h 35109"/>
                <a:gd name="connsiteX67" fmla="*/ 19408 w 85025"/>
                <a:gd name="connsiteY67" fmla="*/ 15679 h 35109"/>
                <a:gd name="connsiteX68" fmla="*/ 16352 w 85025"/>
                <a:gd name="connsiteY68" fmla="*/ 16402 h 35109"/>
                <a:gd name="connsiteX69" fmla="*/ 14263 w 85025"/>
                <a:gd name="connsiteY69" fmla="*/ 14920 h 35109"/>
                <a:gd name="connsiteX70" fmla="*/ 15643 w 85025"/>
                <a:gd name="connsiteY70" fmla="*/ 14370 h 35109"/>
                <a:gd name="connsiteX71" fmla="*/ 17186 w 85025"/>
                <a:gd name="connsiteY71" fmla="*/ 14396 h 35109"/>
                <a:gd name="connsiteX72" fmla="*/ 21909 w 85025"/>
                <a:gd name="connsiteY72" fmla="*/ 13007 h 35109"/>
                <a:gd name="connsiteX73" fmla="*/ 22817 w 85025"/>
                <a:gd name="connsiteY73" fmla="*/ 12427 h 35109"/>
                <a:gd name="connsiteX74" fmla="*/ 21360 w 85025"/>
                <a:gd name="connsiteY74" fmla="*/ 10456 h 35109"/>
                <a:gd name="connsiteX75" fmla="*/ 18512 w 85025"/>
                <a:gd name="connsiteY75" fmla="*/ 9261 h 35109"/>
                <a:gd name="connsiteX76" fmla="*/ 16208 w 85025"/>
                <a:gd name="connsiteY76" fmla="*/ 7253 h 35109"/>
                <a:gd name="connsiteX77" fmla="*/ 15778 w 85025"/>
                <a:gd name="connsiteY77" fmla="*/ 6503 h 35109"/>
                <a:gd name="connsiteX78" fmla="*/ 15891 w 85025"/>
                <a:gd name="connsiteY78" fmla="*/ 5313 h 35109"/>
                <a:gd name="connsiteX79" fmla="*/ 14620 w 85025"/>
                <a:gd name="connsiteY79" fmla="*/ 2955 h 35109"/>
                <a:gd name="connsiteX80" fmla="*/ 24688 w 85025"/>
                <a:gd name="connsiteY80" fmla="*/ 119 h 35109"/>
                <a:gd name="connsiteX81" fmla="*/ 27263 w 85025"/>
                <a:gd name="connsiteY81" fmla="*/ 1277 h 35109"/>
                <a:gd name="connsiteX82" fmla="*/ 27095 w 85025"/>
                <a:gd name="connsiteY82" fmla="*/ 2443 h 35109"/>
                <a:gd name="connsiteX83" fmla="*/ 26201 w 85025"/>
                <a:gd name="connsiteY83" fmla="*/ 4237 h 35109"/>
                <a:gd name="connsiteX84" fmla="*/ 22724 w 85025"/>
                <a:gd name="connsiteY84" fmla="*/ 4240 h 35109"/>
                <a:gd name="connsiteX85" fmla="*/ 22038 w 85025"/>
                <a:gd name="connsiteY85" fmla="*/ 3136 h 35109"/>
                <a:gd name="connsiteX86" fmla="*/ 22052 w 85025"/>
                <a:gd name="connsiteY86" fmla="*/ 358 h 35109"/>
                <a:gd name="connsiteX87" fmla="*/ 58188 w 85025"/>
                <a:gd name="connsiteY87" fmla="*/ 0 h 35109"/>
                <a:gd name="connsiteX88" fmla="*/ 62060 w 85025"/>
                <a:gd name="connsiteY88" fmla="*/ 1970 h 35109"/>
                <a:gd name="connsiteX89" fmla="*/ 66909 w 85025"/>
                <a:gd name="connsiteY89" fmla="*/ 1285 h 35109"/>
                <a:gd name="connsiteX90" fmla="*/ 68949 w 85025"/>
                <a:gd name="connsiteY90" fmla="*/ 1826 h 35109"/>
                <a:gd name="connsiteX91" fmla="*/ 70143 w 85025"/>
                <a:gd name="connsiteY91" fmla="*/ 3468 h 35109"/>
                <a:gd name="connsiteX92" fmla="*/ 69433 w 85025"/>
                <a:gd name="connsiteY92" fmla="*/ 4993 h 35109"/>
                <a:gd name="connsiteX93" fmla="*/ 67894 w 85025"/>
                <a:gd name="connsiteY93" fmla="*/ 4773 h 35109"/>
                <a:gd name="connsiteX94" fmla="*/ 66580 w 85025"/>
                <a:gd name="connsiteY94" fmla="*/ 5181 h 35109"/>
                <a:gd name="connsiteX95" fmla="*/ 66842 w 85025"/>
                <a:gd name="connsiteY95" fmla="*/ 7190 h 35109"/>
                <a:gd name="connsiteX96" fmla="*/ 67734 w 85025"/>
                <a:gd name="connsiteY96" fmla="*/ 8049 h 35109"/>
                <a:gd name="connsiteX97" fmla="*/ 72860 w 85025"/>
                <a:gd name="connsiteY97" fmla="*/ 10262 h 35109"/>
                <a:gd name="connsiteX98" fmla="*/ 73800 w 85025"/>
                <a:gd name="connsiteY98" fmla="*/ 10394 h 35109"/>
                <a:gd name="connsiteX99" fmla="*/ 73632 w 85025"/>
                <a:gd name="connsiteY99" fmla="*/ 9465 h 35109"/>
                <a:gd name="connsiteX100" fmla="*/ 72743 w 85025"/>
                <a:gd name="connsiteY100" fmla="*/ 7947 h 35109"/>
                <a:gd name="connsiteX101" fmla="*/ 72411 w 85025"/>
                <a:gd name="connsiteY101" fmla="*/ 6312 h 35109"/>
                <a:gd name="connsiteX102" fmla="*/ 73174 w 85025"/>
                <a:gd name="connsiteY102" fmla="*/ 4951 h 35109"/>
                <a:gd name="connsiteX103" fmla="*/ 74512 w 85025"/>
                <a:gd name="connsiteY103" fmla="*/ 4533 h 35109"/>
                <a:gd name="connsiteX104" fmla="*/ 80342 w 85025"/>
                <a:gd name="connsiteY104" fmla="*/ 3850 h 35109"/>
                <a:gd name="connsiteX105" fmla="*/ 81711 w 85025"/>
                <a:gd name="connsiteY105" fmla="*/ 4493 h 35109"/>
                <a:gd name="connsiteX106" fmla="*/ 84602 w 85025"/>
                <a:gd name="connsiteY106" fmla="*/ 8349 h 35109"/>
                <a:gd name="connsiteX107" fmla="*/ 81890 w 85025"/>
                <a:gd name="connsiteY107" fmla="*/ 8883 h 35109"/>
                <a:gd name="connsiteX108" fmla="*/ 80749 w 85025"/>
                <a:gd name="connsiteY108" fmla="*/ 10549 h 35109"/>
                <a:gd name="connsiteX109" fmla="*/ 83135 w 85025"/>
                <a:gd name="connsiteY109" fmla="*/ 11270 h 35109"/>
                <a:gd name="connsiteX110" fmla="*/ 85025 w 85025"/>
                <a:gd name="connsiteY110" fmla="*/ 12334 h 35109"/>
                <a:gd name="connsiteX111" fmla="*/ 84027 w 85025"/>
                <a:gd name="connsiteY111" fmla="*/ 13971 h 35109"/>
                <a:gd name="connsiteX112" fmla="*/ 83850 w 85025"/>
                <a:gd name="connsiteY112" fmla="*/ 14802 h 35109"/>
                <a:gd name="connsiteX113" fmla="*/ 79646 w 85025"/>
                <a:gd name="connsiteY113" fmla="*/ 15960 h 35109"/>
                <a:gd name="connsiteX114" fmla="*/ 75919 w 85025"/>
                <a:gd name="connsiteY114" fmla="*/ 16702 h 35109"/>
                <a:gd name="connsiteX115" fmla="*/ 74228 w 85025"/>
                <a:gd name="connsiteY115" fmla="*/ 18632 h 35109"/>
                <a:gd name="connsiteX116" fmla="*/ 71227 w 85025"/>
                <a:gd name="connsiteY116" fmla="*/ 20030 h 35109"/>
                <a:gd name="connsiteX117" fmla="*/ 62415 w 85025"/>
                <a:gd name="connsiteY117" fmla="*/ 22484 h 35109"/>
                <a:gd name="connsiteX118" fmla="*/ 63440 w 85025"/>
                <a:gd name="connsiteY118" fmla="*/ 24470 h 35109"/>
                <a:gd name="connsiteX119" fmla="*/ 63577 w 85025"/>
                <a:gd name="connsiteY119" fmla="*/ 25427 h 35109"/>
                <a:gd name="connsiteX120" fmla="*/ 63194 w 85025"/>
                <a:gd name="connsiteY120" fmla="*/ 28012 h 35109"/>
                <a:gd name="connsiteX121" fmla="*/ 51062 w 85025"/>
                <a:gd name="connsiteY121" fmla="*/ 24913 h 35109"/>
                <a:gd name="connsiteX122" fmla="*/ 49424 w 85025"/>
                <a:gd name="connsiteY122" fmla="*/ 25245 h 35109"/>
                <a:gd name="connsiteX123" fmla="*/ 52665 w 85025"/>
                <a:gd name="connsiteY123" fmla="*/ 30519 h 35109"/>
                <a:gd name="connsiteX124" fmla="*/ 50262 w 85025"/>
                <a:gd name="connsiteY124" fmla="*/ 31495 h 35109"/>
                <a:gd name="connsiteX125" fmla="*/ 47890 w 85025"/>
                <a:gd name="connsiteY125" fmla="*/ 30861 h 35109"/>
                <a:gd name="connsiteX126" fmla="*/ 45730 w 85025"/>
                <a:gd name="connsiteY126" fmla="*/ 31300 h 35109"/>
                <a:gd name="connsiteX127" fmla="*/ 44358 w 85025"/>
                <a:gd name="connsiteY127" fmla="*/ 35109 h 35109"/>
                <a:gd name="connsiteX128" fmla="*/ 40895 w 85025"/>
                <a:gd name="connsiteY128" fmla="*/ 32673 h 35109"/>
                <a:gd name="connsiteX129" fmla="*/ 37941 w 85025"/>
                <a:gd name="connsiteY129" fmla="*/ 29206 h 35109"/>
                <a:gd name="connsiteX130" fmla="*/ 37929 w 85025"/>
                <a:gd name="connsiteY130" fmla="*/ 27266 h 35109"/>
                <a:gd name="connsiteX131" fmla="*/ 40782 w 85025"/>
                <a:gd name="connsiteY131" fmla="*/ 23649 h 35109"/>
                <a:gd name="connsiteX132" fmla="*/ 39917 w 85025"/>
                <a:gd name="connsiteY132" fmla="*/ 22116 h 35109"/>
                <a:gd name="connsiteX133" fmla="*/ 46562 w 85025"/>
                <a:gd name="connsiteY133" fmla="*/ 17211 h 35109"/>
                <a:gd name="connsiteX134" fmla="*/ 47752 w 85025"/>
                <a:gd name="connsiteY134" fmla="*/ 15751 h 35109"/>
                <a:gd name="connsiteX135" fmla="*/ 49825 w 85025"/>
                <a:gd name="connsiteY135" fmla="*/ 14913 h 35109"/>
                <a:gd name="connsiteX136" fmla="*/ 51971 w 85025"/>
                <a:gd name="connsiteY136" fmla="*/ 14630 h 35109"/>
                <a:gd name="connsiteX137" fmla="*/ 52880 w 85025"/>
                <a:gd name="connsiteY137" fmla="*/ 14000 h 35109"/>
                <a:gd name="connsiteX138" fmla="*/ 52732 w 85025"/>
                <a:gd name="connsiteY138" fmla="*/ 12809 h 35109"/>
                <a:gd name="connsiteX139" fmla="*/ 51868 w 85025"/>
                <a:gd name="connsiteY139" fmla="*/ 10769 h 35109"/>
                <a:gd name="connsiteX140" fmla="*/ 51940 w 85025"/>
                <a:gd name="connsiteY140" fmla="*/ 7454 h 35109"/>
                <a:gd name="connsiteX141" fmla="*/ 57263 w 85025"/>
                <a:gd name="connsiteY141" fmla="*/ 2959 h 35109"/>
                <a:gd name="connsiteX142" fmla="*/ 56482 w 85025"/>
                <a:gd name="connsiteY142" fmla="*/ 72 h 35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</a:cxnLst>
              <a:rect l="l" t="t" r="r" b="b"/>
              <a:pathLst>
                <a:path w="85025" h="35109">
                  <a:moveTo>
                    <a:pt x="34275" y="29199"/>
                  </a:moveTo>
                  <a:lnTo>
                    <a:pt x="35291" y="29445"/>
                  </a:lnTo>
                  <a:lnTo>
                    <a:pt x="37122" y="30758"/>
                  </a:lnTo>
                  <a:lnTo>
                    <a:pt x="37079" y="32511"/>
                  </a:lnTo>
                  <a:lnTo>
                    <a:pt x="35459" y="33166"/>
                  </a:lnTo>
                  <a:lnTo>
                    <a:pt x="35006" y="32870"/>
                  </a:lnTo>
                  <a:lnTo>
                    <a:pt x="34488" y="31595"/>
                  </a:lnTo>
                  <a:lnTo>
                    <a:pt x="34462" y="29946"/>
                  </a:lnTo>
                  <a:close/>
                  <a:moveTo>
                    <a:pt x="67142" y="24625"/>
                  </a:moveTo>
                  <a:lnTo>
                    <a:pt x="68069" y="24699"/>
                  </a:lnTo>
                  <a:lnTo>
                    <a:pt x="68619" y="25020"/>
                  </a:lnTo>
                  <a:lnTo>
                    <a:pt x="68774" y="28005"/>
                  </a:lnTo>
                  <a:lnTo>
                    <a:pt x="66743" y="27058"/>
                  </a:lnTo>
                  <a:lnTo>
                    <a:pt x="66018" y="25609"/>
                  </a:lnTo>
                  <a:close/>
                  <a:moveTo>
                    <a:pt x="3201" y="17390"/>
                  </a:moveTo>
                  <a:lnTo>
                    <a:pt x="5013" y="17856"/>
                  </a:lnTo>
                  <a:lnTo>
                    <a:pt x="6822" y="17677"/>
                  </a:lnTo>
                  <a:lnTo>
                    <a:pt x="5802" y="21153"/>
                  </a:lnTo>
                  <a:lnTo>
                    <a:pt x="5006" y="22824"/>
                  </a:lnTo>
                  <a:lnTo>
                    <a:pt x="2865" y="22695"/>
                  </a:lnTo>
                  <a:lnTo>
                    <a:pt x="741" y="20420"/>
                  </a:lnTo>
                  <a:lnTo>
                    <a:pt x="0" y="19207"/>
                  </a:lnTo>
                  <a:lnTo>
                    <a:pt x="2367" y="18344"/>
                  </a:lnTo>
                  <a:close/>
                  <a:moveTo>
                    <a:pt x="15957" y="2837"/>
                  </a:moveTo>
                  <a:lnTo>
                    <a:pt x="17738" y="4355"/>
                  </a:lnTo>
                  <a:lnTo>
                    <a:pt x="21775" y="6460"/>
                  </a:lnTo>
                  <a:lnTo>
                    <a:pt x="25444" y="7102"/>
                  </a:lnTo>
                  <a:lnTo>
                    <a:pt x="28813" y="4730"/>
                  </a:lnTo>
                  <a:lnTo>
                    <a:pt x="31136" y="3975"/>
                  </a:lnTo>
                  <a:lnTo>
                    <a:pt x="33050" y="4487"/>
                  </a:lnTo>
                  <a:lnTo>
                    <a:pt x="34398" y="5924"/>
                  </a:lnTo>
                  <a:lnTo>
                    <a:pt x="36354" y="5697"/>
                  </a:lnTo>
                  <a:lnTo>
                    <a:pt x="41878" y="4230"/>
                  </a:lnTo>
                  <a:lnTo>
                    <a:pt x="42597" y="4730"/>
                  </a:lnTo>
                  <a:lnTo>
                    <a:pt x="44562" y="3029"/>
                  </a:lnTo>
                  <a:lnTo>
                    <a:pt x="46255" y="3823"/>
                  </a:lnTo>
                  <a:lnTo>
                    <a:pt x="47593" y="5303"/>
                  </a:lnTo>
                  <a:lnTo>
                    <a:pt x="46937" y="7019"/>
                  </a:lnTo>
                  <a:lnTo>
                    <a:pt x="45409" y="8112"/>
                  </a:lnTo>
                  <a:lnTo>
                    <a:pt x="44440" y="9636"/>
                  </a:lnTo>
                  <a:lnTo>
                    <a:pt x="43309" y="10868"/>
                  </a:lnTo>
                  <a:lnTo>
                    <a:pt x="41351" y="12012"/>
                  </a:lnTo>
                  <a:lnTo>
                    <a:pt x="39856" y="13844"/>
                  </a:lnTo>
                  <a:lnTo>
                    <a:pt x="36263" y="18133"/>
                  </a:lnTo>
                  <a:lnTo>
                    <a:pt x="31027" y="23612"/>
                  </a:lnTo>
                  <a:lnTo>
                    <a:pt x="29293" y="24105"/>
                  </a:lnTo>
                  <a:lnTo>
                    <a:pt x="25679" y="24437"/>
                  </a:lnTo>
                  <a:lnTo>
                    <a:pt x="24120" y="24059"/>
                  </a:lnTo>
                  <a:lnTo>
                    <a:pt x="22787" y="24184"/>
                  </a:lnTo>
                  <a:lnTo>
                    <a:pt x="21724" y="27146"/>
                  </a:lnTo>
                  <a:lnTo>
                    <a:pt x="20071" y="29394"/>
                  </a:lnTo>
                  <a:lnTo>
                    <a:pt x="19290" y="29872"/>
                  </a:lnTo>
                  <a:lnTo>
                    <a:pt x="17573" y="30084"/>
                  </a:lnTo>
                  <a:lnTo>
                    <a:pt x="16758" y="30426"/>
                  </a:lnTo>
                  <a:lnTo>
                    <a:pt x="16143" y="31256"/>
                  </a:lnTo>
                  <a:lnTo>
                    <a:pt x="11629" y="31041"/>
                  </a:lnTo>
                  <a:lnTo>
                    <a:pt x="8439" y="29660"/>
                  </a:lnTo>
                  <a:lnTo>
                    <a:pt x="4655" y="26589"/>
                  </a:lnTo>
                  <a:lnTo>
                    <a:pt x="9699" y="22831"/>
                  </a:lnTo>
                  <a:lnTo>
                    <a:pt x="14046" y="23003"/>
                  </a:lnTo>
                  <a:lnTo>
                    <a:pt x="17629" y="20483"/>
                  </a:lnTo>
                  <a:lnTo>
                    <a:pt x="20552" y="19210"/>
                  </a:lnTo>
                  <a:lnTo>
                    <a:pt x="21713" y="17914"/>
                  </a:lnTo>
                  <a:lnTo>
                    <a:pt x="22986" y="16923"/>
                  </a:lnTo>
                  <a:lnTo>
                    <a:pt x="22995" y="15633"/>
                  </a:lnTo>
                  <a:lnTo>
                    <a:pt x="22022" y="15052"/>
                  </a:lnTo>
                  <a:lnTo>
                    <a:pt x="20708" y="15112"/>
                  </a:lnTo>
                  <a:lnTo>
                    <a:pt x="19408" y="15679"/>
                  </a:lnTo>
                  <a:lnTo>
                    <a:pt x="16352" y="16402"/>
                  </a:lnTo>
                  <a:lnTo>
                    <a:pt x="14263" y="14920"/>
                  </a:lnTo>
                  <a:lnTo>
                    <a:pt x="15643" y="14370"/>
                  </a:lnTo>
                  <a:lnTo>
                    <a:pt x="17186" y="14396"/>
                  </a:lnTo>
                  <a:lnTo>
                    <a:pt x="21909" y="13007"/>
                  </a:lnTo>
                  <a:lnTo>
                    <a:pt x="22817" y="12427"/>
                  </a:lnTo>
                  <a:lnTo>
                    <a:pt x="21360" y="10456"/>
                  </a:lnTo>
                  <a:lnTo>
                    <a:pt x="18512" y="9261"/>
                  </a:lnTo>
                  <a:lnTo>
                    <a:pt x="16208" y="7253"/>
                  </a:lnTo>
                  <a:lnTo>
                    <a:pt x="15778" y="6503"/>
                  </a:lnTo>
                  <a:lnTo>
                    <a:pt x="15891" y="5313"/>
                  </a:lnTo>
                  <a:lnTo>
                    <a:pt x="14620" y="2955"/>
                  </a:lnTo>
                  <a:close/>
                  <a:moveTo>
                    <a:pt x="24688" y="119"/>
                  </a:moveTo>
                  <a:lnTo>
                    <a:pt x="27263" y="1277"/>
                  </a:lnTo>
                  <a:lnTo>
                    <a:pt x="27095" y="2443"/>
                  </a:lnTo>
                  <a:lnTo>
                    <a:pt x="26201" y="4237"/>
                  </a:lnTo>
                  <a:lnTo>
                    <a:pt x="22724" y="4240"/>
                  </a:lnTo>
                  <a:lnTo>
                    <a:pt x="22038" y="3136"/>
                  </a:lnTo>
                  <a:lnTo>
                    <a:pt x="22052" y="358"/>
                  </a:lnTo>
                  <a:close/>
                  <a:moveTo>
                    <a:pt x="58188" y="0"/>
                  </a:moveTo>
                  <a:lnTo>
                    <a:pt x="62060" y="1970"/>
                  </a:lnTo>
                  <a:lnTo>
                    <a:pt x="66909" y="1285"/>
                  </a:lnTo>
                  <a:lnTo>
                    <a:pt x="68949" y="1826"/>
                  </a:lnTo>
                  <a:lnTo>
                    <a:pt x="70143" y="3468"/>
                  </a:lnTo>
                  <a:lnTo>
                    <a:pt x="69433" y="4993"/>
                  </a:lnTo>
                  <a:lnTo>
                    <a:pt x="67894" y="4773"/>
                  </a:lnTo>
                  <a:lnTo>
                    <a:pt x="66580" y="5181"/>
                  </a:lnTo>
                  <a:lnTo>
                    <a:pt x="66842" y="7190"/>
                  </a:lnTo>
                  <a:lnTo>
                    <a:pt x="67734" y="8049"/>
                  </a:lnTo>
                  <a:lnTo>
                    <a:pt x="72860" y="10262"/>
                  </a:lnTo>
                  <a:lnTo>
                    <a:pt x="73800" y="10394"/>
                  </a:lnTo>
                  <a:lnTo>
                    <a:pt x="73632" y="9465"/>
                  </a:lnTo>
                  <a:lnTo>
                    <a:pt x="72743" y="7947"/>
                  </a:lnTo>
                  <a:lnTo>
                    <a:pt x="72411" y="6312"/>
                  </a:lnTo>
                  <a:lnTo>
                    <a:pt x="73174" y="4951"/>
                  </a:lnTo>
                  <a:lnTo>
                    <a:pt x="74512" y="4533"/>
                  </a:lnTo>
                  <a:lnTo>
                    <a:pt x="80342" y="3850"/>
                  </a:lnTo>
                  <a:lnTo>
                    <a:pt x="81711" y="4493"/>
                  </a:lnTo>
                  <a:lnTo>
                    <a:pt x="84602" y="8349"/>
                  </a:lnTo>
                  <a:lnTo>
                    <a:pt x="81890" y="8883"/>
                  </a:lnTo>
                  <a:lnTo>
                    <a:pt x="80749" y="10549"/>
                  </a:lnTo>
                  <a:lnTo>
                    <a:pt x="83135" y="11270"/>
                  </a:lnTo>
                  <a:lnTo>
                    <a:pt x="85025" y="12334"/>
                  </a:lnTo>
                  <a:lnTo>
                    <a:pt x="84027" y="13971"/>
                  </a:lnTo>
                  <a:lnTo>
                    <a:pt x="83850" y="14802"/>
                  </a:lnTo>
                  <a:lnTo>
                    <a:pt x="79646" y="15960"/>
                  </a:lnTo>
                  <a:lnTo>
                    <a:pt x="75919" y="16702"/>
                  </a:lnTo>
                  <a:lnTo>
                    <a:pt x="74228" y="18632"/>
                  </a:lnTo>
                  <a:lnTo>
                    <a:pt x="71227" y="20030"/>
                  </a:lnTo>
                  <a:lnTo>
                    <a:pt x="62415" y="22484"/>
                  </a:lnTo>
                  <a:lnTo>
                    <a:pt x="63440" y="24470"/>
                  </a:lnTo>
                  <a:lnTo>
                    <a:pt x="63577" y="25427"/>
                  </a:lnTo>
                  <a:lnTo>
                    <a:pt x="63194" y="28012"/>
                  </a:lnTo>
                  <a:lnTo>
                    <a:pt x="51062" y="24913"/>
                  </a:lnTo>
                  <a:lnTo>
                    <a:pt x="49424" y="25245"/>
                  </a:lnTo>
                  <a:lnTo>
                    <a:pt x="52665" y="30519"/>
                  </a:lnTo>
                  <a:lnTo>
                    <a:pt x="50262" y="31495"/>
                  </a:lnTo>
                  <a:lnTo>
                    <a:pt x="47890" y="30861"/>
                  </a:lnTo>
                  <a:lnTo>
                    <a:pt x="45730" y="31300"/>
                  </a:lnTo>
                  <a:lnTo>
                    <a:pt x="44358" y="35109"/>
                  </a:lnTo>
                  <a:lnTo>
                    <a:pt x="40895" y="32673"/>
                  </a:lnTo>
                  <a:lnTo>
                    <a:pt x="37941" y="29206"/>
                  </a:lnTo>
                  <a:lnTo>
                    <a:pt x="37929" y="27266"/>
                  </a:lnTo>
                  <a:lnTo>
                    <a:pt x="40782" y="23649"/>
                  </a:lnTo>
                  <a:lnTo>
                    <a:pt x="39917" y="22116"/>
                  </a:lnTo>
                  <a:lnTo>
                    <a:pt x="46562" y="17211"/>
                  </a:lnTo>
                  <a:lnTo>
                    <a:pt x="47752" y="15751"/>
                  </a:lnTo>
                  <a:lnTo>
                    <a:pt x="49825" y="14913"/>
                  </a:lnTo>
                  <a:lnTo>
                    <a:pt x="51971" y="14630"/>
                  </a:lnTo>
                  <a:lnTo>
                    <a:pt x="52880" y="14000"/>
                  </a:lnTo>
                  <a:lnTo>
                    <a:pt x="52732" y="12809"/>
                  </a:lnTo>
                  <a:lnTo>
                    <a:pt x="51868" y="10769"/>
                  </a:lnTo>
                  <a:lnTo>
                    <a:pt x="51940" y="7454"/>
                  </a:lnTo>
                  <a:lnTo>
                    <a:pt x="57263" y="2959"/>
                  </a:lnTo>
                  <a:lnTo>
                    <a:pt x="56482" y="72"/>
                  </a:lnTo>
                  <a:close/>
                </a:path>
              </a:pathLst>
            </a:custGeom>
            <a:solidFill>
              <a:srgbClr val="007CBC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56" name="ee4p_GD_1_82333">
              <a:extLst>
                <a:ext uri="{FF2B5EF4-FFF2-40B4-BE49-F238E27FC236}">
                  <a16:creationId xmlns:a16="http://schemas.microsoft.com/office/drawing/2014/main" id="{C95A363B-C13B-BF2B-046E-41D28DA1E94D}"/>
                </a:ext>
              </a:extLst>
            </p:cNvPr>
            <p:cNvSpPr>
              <a:spLocks noChangeAspect="1"/>
            </p:cNvSpPr>
            <p:nvPr>
              <p:custDataLst>
                <p:tags r:id="rId184"/>
              </p:custDataLst>
            </p:nvPr>
          </p:nvSpPr>
          <p:spPr>
            <a:xfrm>
              <a:off x="4799050" y="4325008"/>
              <a:ext cx="4864" cy="6615"/>
            </a:xfrm>
            <a:custGeom>
              <a:avLst/>
              <a:gdLst/>
              <a:ahLst/>
              <a:cxnLst/>
              <a:rect l="0" t="0" r="0" b="0"/>
              <a:pathLst>
                <a:path w="3873" h="5128">
                  <a:moveTo>
                    <a:pt x="1473" y="5033"/>
                  </a:moveTo>
                  <a:lnTo>
                    <a:pt x="0" y="5127"/>
                  </a:lnTo>
                  <a:lnTo>
                    <a:pt x="584" y="4297"/>
                  </a:lnTo>
                  <a:lnTo>
                    <a:pt x="713" y="2884"/>
                  </a:lnTo>
                  <a:lnTo>
                    <a:pt x="1485" y="1164"/>
                  </a:lnTo>
                  <a:lnTo>
                    <a:pt x="2691" y="0"/>
                  </a:lnTo>
                  <a:lnTo>
                    <a:pt x="3872" y="308"/>
                  </a:lnTo>
                  <a:lnTo>
                    <a:pt x="3428" y="4106"/>
                  </a:lnTo>
                  <a:close/>
                </a:path>
              </a:pathLst>
            </a:custGeom>
            <a:solidFill>
              <a:srgbClr val="007CBC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57" name="ee4p_GT_1_82333">
              <a:extLst>
                <a:ext uri="{FF2B5EF4-FFF2-40B4-BE49-F238E27FC236}">
                  <a16:creationId xmlns:a16="http://schemas.microsoft.com/office/drawing/2014/main" id="{EA9FD4F1-A8DB-1265-5C6F-2984C5619986}"/>
                </a:ext>
              </a:extLst>
            </p:cNvPr>
            <p:cNvSpPr>
              <a:spLocks noChangeAspect="1"/>
            </p:cNvSpPr>
            <p:nvPr>
              <p:custDataLst>
                <p:tags r:id="rId185"/>
              </p:custDataLst>
            </p:nvPr>
          </p:nvSpPr>
          <p:spPr>
            <a:xfrm>
              <a:off x="3953391" y="4162239"/>
              <a:ext cx="111269" cy="119281"/>
            </a:xfrm>
            <a:custGeom>
              <a:avLst/>
              <a:gdLst/>
              <a:ahLst/>
              <a:cxnLst/>
              <a:rect l="0" t="0" r="0" b="0"/>
              <a:pathLst>
                <a:path w="88601" h="92463">
                  <a:moveTo>
                    <a:pt x="67966" y="35"/>
                  </a:moveTo>
                  <a:lnTo>
                    <a:pt x="67753" y="5567"/>
                  </a:lnTo>
                  <a:lnTo>
                    <a:pt x="67508" y="11971"/>
                  </a:lnTo>
                  <a:lnTo>
                    <a:pt x="67326" y="16672"/>
                  </a:lnTo>
                  <a:lnTo>
                    <a:pt x="67086" y="22943"/>
                  </a:lnTo>
                  <a:lnTo>
                    <a:pt x="66838" y="29348"/>
                  </a:lnTo>
                  <a:lnTo>
                    <a:pt x="66503" y="38072"/>
                  </a:lnTo>
                  <a:lnTo>
                    <a:pt x="66284" y="43705"/>
                  </a:lnTo>
                  <a:lnTo>
                    <a:pt x="66388" y="43835"/>
                  </a:lnTo>
                  <a:lnTo>
                    <a:pt x="69025" y="43563"/>
                  </a:lnTo>
                  <a:lnTo>
                    <a:pt x="72926" y="43809"/>
                  </a:lnTo>
                  <a:lnTo>
                    <a:pt x="73879" y="43791"/>
                  </a:lnTo>
                  <a:lnTo>
                    <a:pt x="75074" y="44282"/>
                  </a:lnTo>
                  <a:lnTo>
                    <a:pt x="75995" y="44428"/>
                  </a:lnTo>
                  <a:lnTo>
                    <a:pt x="77979" y="45697"/>
                  </a:lnTo>
                  <a:lnTo>
                    <a:pt x="80306" y="46657"/>
                  </a:lnTo>
                  <a:lnTo>
                    <a:pt x="81791" y="44721"/>
                  </a:lnTo>
                  <a:lnTo>
                    <a:pt x="81010" y="43554"/>
                  </a:lnTo>
                  <a:lnTo>
                    <a:pt x="80425" y="42959"/>
                  </a:lnTo>
                  <a:lnTo>
                    <a:pt x="80515" y="42438"/>
                  </a:lnTo>
                  <a:lnTo>
                    <a:pt x="88600" y="47454"/>
                  </a:lnTo>
                  <a:lnTo>
                    <a:pt x="87646" y="48227"/>
                  </a:lnTo>
                  <a:lnTo>
                    <a:pt x="85587" y="50013"/>
                  </a:lnTo>
                  <a:lnTo>
                    <a:pt x="81856" y="53066"/>
                  </a:lnTo>
                  <a:lnTo>
                    <a:pt x="78513" y="55798"/>
                  </a:lnTo>
                  <a:lnTo>
                    <a:pt x="75297" y="58275"/>
                  </a:lnTo>
                  <a:lnTo>
                    <a:pt x="72399" y="60505"/>
                  </a:lnTo>
                  <a:lnTo>
                    <a:pt x="72058" y="60726"/>
                  </a:lnTo>
                  <a:lnTo>
                    <a:pt x="68383" y="62317"/>
                  </a:lnTo>
                  <a:lnTo>
                    <a:pt x="67770" y="63050"/>
                  </a:lnTo>
                  <a:lnTo>
                    <a:pt x="66979" y="66199"/>
                  </a:lnTo>
                  <a:lnTo>
                    <a:pt x="66619" y="66979"/>
                  </a:lnTo>
                  <a:lnTo>
                    <a:pt x="67285" y="68727"/>
                  </a:lnTo>
                  <a:lnTo>
                    <a:pt x="67949" y="71426"/>
                  </a:lnTo>
                  <a:lnTo>
                    <a:pt x="67738" y="72834"/>
                  </a:lnTo>
                  <a:lnTo>
                    <a:pt x="65196" y="74570"/>
                  </a:lnTo>
                  <a:lnTo>
                    <a:pt x="64031" y="76133"/>
                  </a:lnTo>
                  <a:lnTo>
                    <a:pt x="63518" y="77142"/>
                  </a:lnTo>
                  <a:lnTo>
                    <a:pt x="63062" y="76880"/>
                  </a:lnTo>
                  <a:lnTo>
                    <a:pt x="62275" y="76802"/>
                  </a:lnTo>
                  <a:lnTo>
                    <a:pt x="60461" y="77193"/>
                  </a:lnTo>
                  <a:lnTo>
                    <a:pt x="59584" y="77280"/>
                  </a:lnTo>
                  <a:lnTo>
                    <a:pt x="58852" y="77727"/>
                  </a:lnTo>
                  <a:lnTo>
                    <a:pt x="58779" y="78698"/>
                  </a:lnTo>
                  <a:lnTo>
                    <a:pt x="59263" y="80273"/>
                  </a:lnTo>
                  <a:lnTo>
                    <a:pt x="59437" y="81085"/>
                  </a:lnTo>
                  <a:lnTo>
                    <a:pt x="58926" y="81459"/>
                  </a:lnTo>
                  <a:lnTo>
                    <a:pt x="56693" y="82406"/>
                  </a:lnTo>
                  <a:lnTo>
                    <a:pt x="55811" y="83339"/>
                  </a:lnTo>
                  <a:lnTo>
                    <a:pt x="54966" y="84789"/>
                  </a:lnTo>
                  <a:lnTo>
                    <a:pt x="53986" y="85396"/>
                  </a:lnTo>
                  <a:lnTo>
                    <a:pt x="52963" y="85284"/>
                  </a:lnTo>
                  <a:lnTo>
                    <a:pt x="52239" y="85497"/>
                  </a:lnTo>
                  <a:lnTo>
                    <a:pt x="50692" y="86585"/>
                  </a:lnTo>
                  <a:lnTo>
                    <a:pt x="48360" y="88688"/>
                  </a:lnTo>
                  <a:lnTo>
                    <a:pt x="47108" y="90249"/>
                  </a:lnTo>
                  <a:lnTo>
                    <a:pt x="47082" y="91415"/>
                  </a:lnTo>
                  <a:lnTo>
                    <a:pt x="47319" y="92462"/>
                  </a:lnTo>
                  <a:lnTo>
                    <a:pt x="38830" y="88758"/>
                  </a:lnTo>
                  <a:lnTo>
                    <a:pt x="36004" y="88125"/>
                  </a:lnTo>
                  <a:lnTo>
                    <a:pt x="24083" y="88202"/>
                  </a:lnTo>
                  <a:lnTo>
                    <a:pt x="18968" y="86746"/>
                  </a:lnTo>
                  <a:lnTo>
                    <a:pt x="13140" y="83934"/>
                  </a:lnTo>
                  <a:lnTo>
                    <a:pt x="9200" y="81379"/>
                  </a:lnTo>
                  <a:lnTo>
                    <a:pt x="0" y="74222"/>
                  </a:lnTo>
                  <a:lnTo>
                    <a:pt x="578" y="73644"/>
                  </a:lnTo>
                  <a:lnTo>
                    <a:pt x="1064" y="72310"/>
                  </a:lnTo>
                  <a:lnTo>
                    <a:pt x="1664" y="70934"/>
                  </a:lnTo>
                  <a:lnTo>
                    <a:pt x="1298" y="69345"/>
                  </a:lnTo>
                  <a:lnTo>
                    <a:pt x="1079" y="68057"/>
                  </a:lnTo>
                  <a:lnTo>
                    <a:pt x="1758" y="66182"/>
                  </a:lnTo>
                  <a:lnTo>
                    <a:pt x="1694" y="64775"/>
                  </a:lnTo>
                  <a:lnTo>
                    <a:pt x="2010" y="63907"/>
                  </a:lnTo>
                  <a:lnTo>
                    <a:pt x="3017" y="63347"/>
                  </a:lnTo>
                  <a:lnTo>
                    <a:pt x="3546" y="62274"/>
                  </a:lnTo>
                  <a:lnTo>
                    <a:pt x="681" y="58576"/>
                  </a:lnTo>
                  <a:lnTo>
                    <a:pt x="683" y="57733"/>
                  </a:lnTo>
                  <a:lnTo>
                    <a:pt x="1061" y="56694"/>
                  </a:lnTo>
                  <a:lnTo>
                    <a:pt x="3384" y="52741"/>
                  </a:lnTo>
                  <a:lnTo>
                    <a:pt x="6146" y="48038"/>
                  </a:lnTo>
                  <a:lnTo>
                    <a:pt x="9193" y="42845"/>
                  </a:lnTo>
                  <a:lnTo>
                    <a:pt x="11025" y="39720"/>
                  </a:lnTo>
                  <a:lnTo>
                    <a:pt x="17716" y="39714"/>
                  </a:lnTo>
                  <a:lnTo>
                    <a:pt x="22142" y="39709"/>
                  </a:lnTo>
                  <a:lnTo>
                    <a:pt x="27763" y="39706"/>
                  </a:lnTo>
                  <a:lnTo>
                    <a:pt x="33874" y="39700"/>
                  </a:lnTo>
                  <a:lnTo>
                    <a:pt x="37882" y="39697"/>
                  </a:lnTo>
                  <a:lnTo>
                    <a:pt x="39536" y="39662"/>
                  </a:lnTo>
                  <a:lnTo>
                    <a:pt x="39256" y="37629"/>
                  </a:lnTo>
                  <a:lnTo>
                    <a:pt x="39470" y="35382"/>
                  </a:lnTo>
                  <a:lnTo>
                    <a:pt x="40203" y="33340"/>
                  </a:lnTo>
                  <a:lnTo>
                    <a:pt x="40203" y="32439"/>
                  </a:lnTo>
                  <a:lnTo>
                    <a:pt x="39007" y="31337"/>
                  </a:lnTo>
                  <a:lnTo>
                    <a:pt x="36692" y="30695"/>
                  </a:lnTo>
                  <a:lnTo>
                    <a:pt x="35403" y="29720"/>
                  </a:lnTo>
                  <a:lnTo>
                    <a:pt x="35397" y="28485"/>
                  </a:lnTo>
                  <a:lnTo>
                    <a:pt x="34831" y="26991"/>
                  </a:lnTo>
                  <a:lnTo>
                    <a:pt x="33709" y="25236"/>
                  </a:lnTo>
                  <a:lnTo>
                    <a:pt x="31380" y="23441"/>
                  </a:lnTo>
                  <a:lnTo>
                    <a:pt x="27846" y="21605"/>
                  </a:lnTo>
                  <a:lnTo>
                    <a:pt x="24839" y="19141"/>
                  </a:lnTo>
                  <a:lnTo>
                    <a:pt x="22355" y="16044"/>
                  </a:lnTo>
                  <a:lnTo>
                    <a:pt x="20254" y="14052"/>
                  </a:lnTo>
                  <a:lnTo>
                    <a:pt x="18637" y="13218"/>
                  </a:lnTo>
                  <a:lnTo>
                    <a:pt x="18254" y="12776"/>
                  </a:lnTo>
                  <a:lnTo>
                    <a:pt x="22989" y="12816"/>
                  </a:lnTo>
                  <a:lnTo>
                    <a:pt x="27467" y="12854"/>
                  </a:lnTo>
                  <a:lnTo>
                    <a:pt x="27498" y="8412"/>
                  </a:lnTo>
                  <a:lnTo>
                    <a:pt x="27523" y="4462"/>
                  </a:lnTo>
                  <a:lnTo>
                    <a:pt x="27552" y="0"/>
                  </a:lnTo>
                  <a:lnTo>
                    <a:pt x="35670" y="6"/>
                  </a:lnTo>
                  <a:lnTo>
                    <a:pt x="45364" y="15"/>
                  </a:lnTo>
                  <a:lnTo>
                    <a:pt x="55421" y="24"/>
                  </a:lnTo>
                  <a:lnTo>
                    <a:pt x="63321" y="32"/>
                  </a:lnTo>
                  <a:close/>
                </a:path>
              </a:pathLst>
            </a:custGeom>
            <a:solidFill>
              <a:srgbClr val="007CBC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58" name="ee4p_GY_1_82333">
              <a:extLst>
                <a:ext uri="{FF2B5EF4-FFF2-40B4-BE49-F238E27FC236}">
                  <a16:creationId xmlns:a16="http://schemas.microsoft.com/office/drawing/2014/main" id="{FD7F377B-B140-B0CF-6D87-DCEB5ACF9736}"/>
                </a:ext>
              </a:extLst>
            </p:cNvPr>
            <p:cNvSpPr>
              <a:spLocks noChangeAspect="1"/>
            </p:cNvSpPr>
            <p:nvPr>
              <p:custDataLst>
                <p:tags r:id="rId186"/>
              </p:custDataLst>
            </p:nvPr>
          </p:nvSpPr>
          <p:spPr>
            <a:xfrm>
              <a:off x="4809917" y="4431329"/>
              <a:ext cx="136294" cy="210188"/>
            </a:xfrm>
            <a:custGeom>
              <a:avLst/>
              <a:gdLst/>
              <a:ahLst/>
              <a:cxnLst/>
              <a:rect l="0" t="0" r="0" b="0"/>
              <a:pathLst>
                <a:path w="108528" h="162932">
                  <a:moveTo>
                    <a:pt x="92784" y="66684"/>
                  </a:moveTo>
                  <a:lnTo>
                    <a:pt x="91609" y="68085"/>
                  </a:lnTo>
                  <a:lnTo>
                    <a:pt x="91396" y="68974"/>
                  </a:lnTo>
                  <a:lnTo>
                    <a:pt x="90636" y="70553"/>
                  </a:lnTo>
                  <a:lnTo>
                    <a:pt x="90047" y="71409"/>
                  </a:lnTo>
                  <a:lnTo>
                    <a:pt x="90907" y="73373"/>
                  </a:lnTo>
                  <a:lnTo>
                    <a:pt x="91888" y="73460"/>
                  </a:lnTo>
                  <a:lnTo>
                    <a:pt x="92260" y="73711"/>
                  </a:lnTo>
                  <a:lnTo>
                    <a:pt x="92506" y="74095"/>
                  </a:lnTo>
                  <a:lnTo>
                    <a:pt x="92451" y="74512"/>
                  </a:lnTo>
                  <a:lnTo>
                    <a:pt x="92074" y="74886"/>
                  </a:lnTo>
                  <a:lnTo>
                    <a:pt x="91136" y="75363"/>
                  </a:lnTo>
                  <a:lnTo>
                    <a:pt x="90245" y="76497"/>
                  </a:lnTo>
                  <a:lnTo>
                    <a:pt x="90329" y="77745"/>
                  </a:lnTo>
                  <a:lnTo>
                    <a:pt x="89771" y="78397"/>
                  </a:lnTo>
                  <a:lnTo>
                    <a:pt x="87977" y="78742"/>
                  </a:lnTo>
                  <a:lnTo>
                    <a:pt x="84467" y="78744"/>
                  </a:lnTo>
                  <a:lnTo>
                    <a:pt x="82744" y="78829"/>
                  </a:lnTo>
                  <a:lnTo>
                    <a:pt x="81367" y="79042"/>
                  </a:lnTo>
                  <a:lnTo>
                    <a:pt x="80462" y="79852"/>
                  </a:lnTo>
                  <a:lnTo>
                    <a:pt x="79310" y="80416"/>
                  </a:lnTo>
                  <a:lnTo>
                    <a:pt x="78408" y="80550"/>
                  </a:lnTo>
                  <a:lnTo>
                    <a:pt x="77608" y="81490"/>
                  </a:lnTo>
                  <a:lnTo>
                    <a:pt x="76813" y="82824"/>
                  </a:lnTo>
                  <a:lnTo>
                    <a:pt x="77082" y="83735"/>
                  </a:lnTo>
                  <a:lnTo>
                    <a:pt x="77900" y="84954"/>
                  </a:lnTo>
                  <a:lnTo>
                    <a:pt x="78384" y="86198"/>
                  </a:lnTo>
                  <a:lnTo>
                    <a:pt x="77749" y="88216"/>
                  </a:lnTo>
                  <a:lnTo>
                    <a:pt x="77052" y="89774"/>
                  </a:lnTo>
                  <a:lnTo>
                    <a:pt x="76643" y="90963"/>
                  </a:lnTo>
                  <a:lnTo>
                    <a:pt x="76090" y="93248"/>
                  </a:lnTo>
                  <a:lnTo>
                    <a:pt x="74741" y="95762"/>
                  </a:lnTo>
                  <a:lnTo>
                    <a:pt x="73773" y="97192"/>
                  </a:lnTo>
                  <a:lnTo>
                    <a:pt x="73778" y="98748"/>
                  </a:lnTo>
                  <a:lnTo>
                    <a:pt x="74266" y="100956"/>
                  </a:lnTo>
                  <a:lnTo>
                    <a:pt x="77019" y="104173"/>
                  </a:lnTo>
                  <a:lnTo>
                    <a:pt x="77929" y="105711"/>
                  </a:lnTo>
                  <a:lnTo>
                    <a:pt x="78679" y="108175"/>
                  </a:lnTo>
                  <a:lnTo>
                    <a:pt x="81162" y="110116"/>
                  </a:lnTo>
                  <a:lnTo>
                    <a:pt x="82730" y="111686"/>
                  </a:lnTo>
                  <a:lnTo>
                    <a:pt x="82583" y="113760"/>
                  </a:lnTo>
                  <a:lnTo>
                    <a:pt x="82790" y="114406"/>
                  </a:lnTo>
                  <a:lnTo>
                    <a:pt x="83763" y="114928"/>
                  </a:lnTo>
                  <a:lnTo>
                    <a:pt x="84938" y="115329"/>
                  </a:lnTo>
                  <a:lnTo>
                    <a:pt x="86243" y="115297"/>
                  </a:lnTo>
                  <a:lnTo>
                    <a:pt x="87408" y="115120"/>
                  </a:lnTo>
                  <a:lnTo>
                    <a:pt x="87680" y="114829"/>
                  </a:lnTo>
                  <a:lnTo>
                    <a:pt x="90376" y="114792"/>
                  </a:lnTo>
                  <a:lnTo>
                    <a:pt x="90679" y="115312"/>
                  </a:lnTo>
                  <a:lnTo>
                    <a:pt x="90835" y="118295"/>
                  </a:lnTo>
                  <a:lnTo>
                    <a:pt x="90945" y="119502"/>
                  </a:lnTo>
                  <a:lnTo>
                    <a:pt x="91585" y="119989"/>
                  </a:lnTo>
                  <a:lnTo>
                    <a:pt x="91969" y="120729"/>
                  </a:lnTo>
                  <a:lnTo>
                    <a:pt x="91992" y="121400"/>
                  </a:lnTo>
                  <a:lnTo>
                    <a:pt x="92115" y="123070"/>
                  </a:lnTo>
                  <a:lnTo>
                    <a:pt x="92515" y="123949"/>
                  </a:lnTo>
                  <a:lnTo>
                    <a:pt x="92451" y="125732"/>
                  </a:lnTo>
                  <a:lnTo>
                    <a:pt x="92727" y="126386"/>
                  </a:lnTo>
                  <a:lnTo>
                    <a:pt x="93473" y="126829"/>
                  </a:lnTo>
                  <a:lnTo>
                    <a:pt x="94412" y="128106"/>
                  </a:lnTo>
                  <a:lnTo>
                    <a:pt x="94766" y="128267"/>
                  </a:lnTo>
                  <a:lnTo>
                    <a:pt x="94949" y="128718"/>
                  </a:lnTo>
                  <a:lnTo>
                    <a:pt x="95754" y="130537"/>
                  </a:lnTo>
                  <a:lnTo>
                    <a:pt x="96163" y="131080"/>
                  </a:lnTo>
                  <a:lnTo>
                    <a:pt x="96450" y="131160"/>
                  </a:lnTo>
                  <a:lnTo>
                    <a:pt x="96571" y="131791"/>
                  </a:lnTo>
                  <a:lnTo>
                    <a:pt x="97154" y="133491"/>
                  </a:lnTo>
                  <a:lnTo>
                    <a:pt x="97548" y="133910"/>
                  </a:lnTo>
                  <a:lnTo>
                    <a:pt x="98302" y="135158"/>
                  </a:lnTo>
                  <a:lnTo>
                    <a:pt x="98605" y="136518"/>
                  </a:lnTo>
                  <a:lnTo>
                    <a:pt x="99602" y="138053"/>
                  </a:lnTo>
                  <a:lnTo>
                    <a:pt x="100617" y="139133"/>
                  </a:lnTo>
                  <a:lnTo>
                    <a:pt x="101075" y="140250"/>
                  </a:lnTo>
                  <a:lnTo>
                    <a:pt x="102373" y="142723"/>
                  </a:lnTo>
                  <a:lnTo>
                    <a:pt x="103628" y="144457"/>
                  </a:lnTo>
                  <a:lnTo>
                    <a:pt x="105334" y="144910"/>
                  </a:lnTo>
                  <a:lnTo>
                    <a:pt x="106760" y="145152"/>
                  </a:lnTo>
                  <a:lnTo>
                    <a:pt x="107652" y="145822"/>
                  </a:lnTo>
                  <a:lnTo>
                    <a:pt x="108527" y="146544"/>
                  </a:lnTo>
                  <a:lnTo>
                    <a:pt x="107583" y="146873"/>
                  </a:lnTo>
                  <a:lnTo>
                    <a:pt x="106741" y="147316"/>
                  </a:lnTo>
                  <a:lnTo>
                    <a:pt x="105572" y="146975"/>
                  </a:lnTo>
                  <a:lnTo>
                    <a:pt x="103949" y="147160"/>
                  </a:lnTo>
                  <a:lnTo>
                    <a:pt x="102259" y="147649"/>
                  </a:lnTo>
                  <a:lnTo>
                    <a:pt x="100701" y="147891"/>
                  </a:lnTo>
                  <a:lnTo>
                    <a:pt x="97764" y="147113"/>
                  </a:lnTo>
                  <a:lnTo>
                    <a:pt x="96868" y="147006"/>
                  </a:lnTo>
                  <a:lnTo>
                    <a:pt x="96259" y="146670"/>
                  </a:lnTo>
                  <a:lnTo>
                    <a:pt x="95042" y="145136"/>
                  </a:lnTo>
                  <a:lnTo>
                    <a:pt x="94462" y="144955"/>
                  </a:lnTo>
                  <a:lnTo>
                    <a:pt x="92898" y="145672"/>
                  </a:lnTo>
                  <a:lnTo>
                    <a:pt x="90997" y="146166"/>
                  </a:lnTo>
                  <a:lnTo>
                    <a:pt x="90071" y="146072"/>
                  </a:lnTo>
                  <a:lnTo>
                    <a:pt x="88980" y="146589"/>
                  </a:lnTo>
                  <a:lnTo>
                    <a:pt x="87965" y="147278"/>
                  </a:lnTo>
                  <a:lnTo>
                    <a:pt x="86025" y="150267"/>
                  </a:lnTo>
                  <a:lnTo>
                    <a:pt x="85023" y="151324"/>
                  </a:lnTo>
                  <a:lnTo>
                    <a:pt x="83947" y="151810"/>
                  </a:lnTo>
                  <a:lnTo>
                    <a:pt x="81795" y="151794"/>
                  </a:lnTo>
                  <a:lnTo>
                    <a:pt x="79497" y="151900"/>
                  </a:lnTo>
                  <a:lnTo>
                    <a:pt x="77777" y="152624"/>
                  </a:lnTo>
                  <a:lnTo>
                    <a:pt x="76165" y="152993"/>
                  </a:lnTo>
                  <a:lnTo>
                    <a:pt x="75359" y="153041"/>
                  </a:lnTo>
                  <a:lnTo>
                    <a:pt x="75087" y="154680"/>
                  </a:lnTo>
                  <a:lnTo>
                    <a:pt x="74718" y="155440"/>
                  </a:lnTo>
                  <a:lnTo>
                    <a:pt x="74212" y="155876"/>
                  </a:lnTo>
                  <a:lnTo>
                    <a:pt x="72960" y="156006"/>
                  </a:lnTo>
                  <a:lnTo>
                    <a:pt x="71833" y="155948"/>
                  </a:lnTo>
                  <a:lnTo>
                    <a:pt x="71151" y="155265"/>
                  </a:lnTo>
                  <a:lnTo>
                    <a:pt x="69883" y="154924"/>
                  </a:lnTo>
                  <a:lnTo>
                    <a:pt x="68762" y="154680"/>
                  </a:lnTo>
                  <a:lnTo>
                    <a:pt x="68031" y="154290"/>
                  </a:lnTo>
                  <a:lnTo>
                    <a:pt x="67446" y="154387"/>
                  </a:lnTo>
                  <a:lnTo>
                    <a:pt x="66959" y="155070"/>
                  </a:lnTo>
                  <a:lnTo>
                    <a:pt x="66568" y="155655"/>
                  </a:lnTo>
                  <a:lnTo>
                    <a:pt x="66226" y="156728"/>
                  </a:lnTo>
                  <a:lnTo>
                    <a:pt x="64521" y="157070"/>
                  </a:lnTo>
                  <a:lnTo>
                    <a:pt x="63789" y="157680"/>
                  </a:lnTo>
                  <a:lnTo>
                    <a:pt x="64213" y="159691"/>
                  </a:lnTo>
                  <a:lnTo>
                    <a:pt x="64018" y="160476"/>
                  </a:lnTo>
                  <a:lnTo>
                    <a:pt x="63660" y="161086"/>
                  </a:lnTo>
                  <a:lnTo>
                    <a:pt x="61599" y="161208"/>
                  </a:lnTo>
                  <a:lnTo>
                    <a:pt x="59840" y="161166"/>
                  </a:lnTo>
                  <a:lnTo>
                    <a:pt x="58830" y="161908"/>
                  </a:lnTo>
                  <a:lnTo>
                    <a:pt x="57572" y="162771"/>
                  </a:lnTo>
                  <a:lnTo>
                    <a:pt x="56807" y="162931"/>
                  </a:lnTo>
                  <a:lnTo>
                    <a:pt x="55907" y="162879"/>
                  </a:lnTo>
                  <a:lnTo>
                    <a:pt x="54711" y="161878"/>
                  </a:lnTo>
                  <a:lnTo>
                    <a:pt x="53563" y="160645"/>
                  </a:lnTo>
                  <a:lnTo>
                    <a:pt x="50647" y="159782"/>
                  </a:lnTo>
                  <a:lnTo>
                    <a:pt x="47754" y="159066"/>
                  </a:lnTo>
                  <a:lnTo>
                    <a:pt x="45857" y="157107"/>
                  </a:lnTo>
                  <a:lnTo>
                    <a:pt x="45409" y="156142"/>
                  </a:lnTo>
                  <a:lnTo>
                    <a:pt x="44515" y="155719"/>
                  </a:lnTo>
                  <a:lnTo>
                    <a:pt x="42265" y="153395"/>
                  </a:lnTo>
                  <a:lnTo>
                    <a:pt x="41021" y="151900"/>
                  </a:lnTo>
                  <a:lnTo>
                    <a:pt x="39674" y="151501"/>
                  </a:lnTo>
                  <a:lnTo>
                    <a:pt x="38126" y="150876"/>
                  </a:lnTo>
                  <a:lnTo>
                    <a:pt x="38189" y="149794"/>
                  </a:lnTo>
                  <a:lnTo>
                    <a:pt x="38084" y="148752"/>
                  </a:lnTo>
                  <a:lnTo>
                    <a:pt x="37420" y="148328"/>
                  </a:lnTo>
                  <a:lnTo>
                    <a:pt x="36488" y="148048"/>
                  </a:lnTo>
                  <a:lnTo>
                    <a:pt x="36145" y="147462"/>
                  </a:lnTo>
                  <a:lnTo>
                    <a:pt x="36243" y="146096"/>
                  </a:lnTo>
                  <a:lnTo>
                    <a:pt x="36426" y="142574"/>
                  </a:lnTo>
                  <a:lnTo>
                    <a:pt x="36167" y="139200"/>
                  </a:lnTo>
                  <a:lnTo>
                    <a:pt x="34091" y="138029"/>
                  </a:lnTo>
                  <a:lnTo>
                    <a:pt x="33195" y="137235"/>
                  </a:lnTo>
                  <a:lnTo>
                    <a:pt x="31621" y="132247"/>
                  </a:lnTo>
                  <a:lnTo>
                    <a:pt x="30880" y="129999"/>
                  </a:lnTo>
                  <a:lnTo>
                    <a:pt x="30845" y="128330"/>
                  </a:lnTo>
                  <a:lnTo>
                    <a:pt x="31367" y="123349"/>
                  </a:lnTo>
                  <a:lnTo>
                    <a:pt x="31956" y="121194"/>
                  </a:lnTo>
                  <a:lnTo>
                    <a:pt x="33562" y="116873"/>
                  </a:lnTo>
                  <a:lnTo>
                    <a:pt x="34488" y="115409"/>
                  </a:lnTo>
                  <a:lnTo>
                    <a:pt x="34540" y="114316"/>
                  </a:lnTo>
                  <a:lnTo>
                    <a:pt x="34446" y="112909"/>
                  </a:lnTo>
                  <a:lnTo>
                    <a:pt x="33974" y="110134"/>
                  </a:lnTo>
                  <a:lnTo>
                    <a:pt x="36688" y="108384"/>
                  </a:lnTo>
                  <a:lnTo>
                    <a:pt x="37852" y="107647"/>
                  </a:lnTo>
                  <a:lnTo>
                    <a:pt x="38047" y="106476"/>
                  </a:lnTo>
                  <a:lnTo>
                    <a:pt x="39501" y="104993"/>
                  </a:lnTo>
                  <a:lnTo>
                    <a:pt x="40143" y="103581"/>
                  </a:lnTo>
                  <a:lnTo>
                    <a:pt x="40680" y="102472"/>
                  </a:lnTo>
                  <a:lnTo>
                    <a:pt x="40533" y="101886"/>
                  </a:lnTo>
                  <a:lnTo>
                    <a:pt x="39899" y="101545"/>
                  </a:lnTo>
                  <a:lnTo>
                    <a:pt x="39152" y="100487"/>
                  </a:lnTo>
                  <a:lnTo>
                    <a:pt x="37582" y="97447"/>
                  </a:lnTo>
                  <a:lnTo>
                    <a:pt x="37014" y="96832"/>
                  </a:lnTo>
                  <a:lnTo>
                    <a:pt x="36535" y="95977"/>
                  </a:lnTo>
                  <a:lnTo>
                    <a:pt x="36780" y="94629"/>
                  </a:lnTo>
                  <a:lnTo>
                    <a:pt x="37395" y="93169"/>
                  </a:lnTo>
                  <a:lnTo>
                    <a:pt x="37316" y="92558"/>
                  </a:lnTo>
                  <a:lnTo>
                    <a:pt x="36375" y="91771"/>
                  </a:lnTo>
                  <a:lnTo>
                    <a:pt x="34439" y="90458"/>
                  </a:lnTo>
                  <a:lnTo>
                    <a:pt x="32830" y="90360"/>
                  </a:lnTo>
                  <a:lnTo>
                    <a:pt x="31587" y="89886"/>
                  </a:lnTo>
                  <a:lnTo>
                    <a:pt x="29759" y="89823"/>
                  </a:lnTo>
                  <a:lnTo>
                    <a:pt x="28297" y="89677"/>
                  </a:lnTo>
                  <a:lnTo>
                    <a:pt x="27468" y="89187"/>
                  </a:lnTo>
                  <a:lnTo>
                    <a:pt x="27638" y="88382"/>
                  </a:lnTo>
                  <a:lnTo>
                    <a:pt x="28000" y="87760"/>
                  </a:lnTo>
                  <a:lnTo>
                    <a:pt x="29230" y="86232"/>
                  </a:lnTo>
                  <a:lnTo>
                    <a:pt x="30051" y="84595"/>
                  </a:lnTo>
                  <a:lnTo>
                    <a:pt x="30163" y="82995"/>
                  </a:lnTo>
                  <a:lnTo>
                    <a:pt x="30412" y="80894"/>
                  </a:lnTo>
                  <a:lnTo>
                    <a:pt x="30768" y="79069"/>
                  </a:lnTo>
                  <a:lnTo>
                    <a:pt x="30961" y="77007"/>
                  </a:lnTo>
                  <a:lnTo>
                    <a:pt x="29028" y="75652"/>
                  </a:lnTo>
                  <a:lnTo>
                    <a:pt x="28411" y="74538"/>
                  </a:lnTo>
                  <a:lnTo>
                    <a:pt x="27614" y="73550"/>
                  </a:lnTo>
                  <a:lnTo>
                    <a:pt x="26736" y="73550"/>
                  </a:lnTo>
                  <a:lnTo>
                    <a:pt x="25411" y="73125"/>
                  </a:lnTo>
                  <a:lnTo>
                    <a:pt x="23342" y="74425"/>
                  </a:lnTo>
                  <a:lnTo>
                    <a:pt x="21715" y="74185"/>
                  </a:lnTo>
                  <a:lnTo>
                    <a:pt x="20593" y="74674"/>
                  </a:lnTo>
                  <a:lnTo>
                    <a:pt x="18009" y="74577"/>
                  </a:lnTo>
                  <a:lnTo>
                    <a:pt x="16351" y="73941"/>
                  </a:lnTo>
                  <a:lnTo>
                    <a:pt x="14344" y="74365"/>
                  </a:lnTo>
                  <a:lnTo>
                    <a:pt x="9659" y="69146"/>
                  </a:lnTo>
                  <a:lnTo>
                    <a:pt x="4945" y="63894"/>
                  </a:lnTo>
                  <a:lnTo>
                    <a:pt x="310" y="58730"/>
                  </a:lnTo>
                  <a:lnTo>
                    <a:pt x="0" y="58025"/>
                  </a:lnTo>
                  <a:lnTo>
                    <a:pt x="1940" y="55567"/>
                  </a:lnTo>
                  <a:lnTo>
                    <a:pt x="3668" y="53799"/>
                  </a:lnTo>
                  <a:lnTo>
                    <a:pt x="5116" y="52795"/>
                  </a:lnTo>
                  <a:lnTo>
                    <a:pt x="5796" y="51910"/>
                  </a:lnTo>
                  <a:lnTo>
                    <a:pt x="5275" y="48119"/>
                  </a:lnTo>
                  <a:lnTo>
                    <a:pt x="5303" y="46755"/>
                  </a:lnTo>
                  <a:lnTo>
                    <a:pt x="4627" y="45271"/>
                  </a:lnTo>
                  <a:lnTo>
                    <a:pt x="4140" y="43605"/>
                  </a:lnTo>
                  <a:lnTo>
                    <a:pt x="4723" y="42216"/>
                  </a:lnTo>
                  <a:lnTo>
                    <a:pt x="5423" y="41248"/>
                  </a:lnTo>
                  <a:lnTo>
                    <a:pt x="6325" y="40874"/>
                  </a:lnTo>
                  <a:lnTo>
                    <a:pt x="8486" y="40535"/>
                  </a:lnTo>
                  <a:lnTo>
                    <a:pt x="10013" y="40399"/>
                  </a:lnTo>
                  <a:lnTo>
                    <a:pt x="10553" y="39842"/>
                  </a:lnTo>
                  <a:lnTo>
                    <a:pt x="11443" y="39196"/>
                  </a:lnTo>
                  <a:lnTo>
                    <a:pt x="12604" y="39161"/>
                  </a:lnTo>
                  <a:lnTo>
                    <a:pt x="14880" y="39609"/>
                  </a:lnTo>
                  <a:lnTo>
                    <a:pt x="15916" y="38773"/>
                  </a:lnTo>
                  <a:lnTo>
                    <a:pt x="17795" y="37637"/>
                  </a:lnTo>
                  <a:lnTo>
                    <a:pt x="22020" y="35676"/>
                  </a:lnTo>
                  <a:lnTo>
                    <a:pt x="22969" y="34399"/>
                  </a:lnTo>
                  <a:lnTo>
                    <a:pt x="23633" y="32417"/>
                  </a:lnTo>
                  <a:lnTo>
                    <a:pt x="23557" y="31485"/>
                  </a:lnTo>
                  <a:lnTo>
                    <a:pt x="23124" y="31129"/>
                  </a:lnTo>
                  <a:lnTo>
                    <a:pt x="22078" y="30806"/>
                  </a:lnTo>
                  <a:lnTo>
                    <a:pt x="20473" y="30762"/>
                  </a:lnTo>
                  <a:lnTo>
                    <a:pt x="19185" y="31269"/>
                  </a:lnTo>
                  <a:lnTo>
                    <a:pt x="17858" y="30991"/>
                  </a:lnTo>
                  <a:lnTo>
                    <a:pt x="16751" y="29772"/>
                  </a:lnTo>
                  <a:lnTo>
                    <a:pt x="16687" y="28761"/>
                  </a:lnTo>
                  <a:lnTo>
                    <a:pt x="17342" y="27332"/>
                  </a:lnTo>
                  <a:lnTo>
                    <a:pt x="16962" y="26388"/>
                  </a:lnTo>
                  <a:lnTo>
                    <a:pt x="14850" y="23379"/>
                  </a:lnTo>
                  <a:lnTo>
                    <a:pt x="14863" y="22550"/>
                  </a:lnTo>
                  <a:lnTo>
                    <a:pt x="16393" y="21201"/>
                  </a:lnTo>
                  <a:lnTo>
                    <a:pt x="17264" y="20051"/>
                  </a:lnTo>
                  <a:lnTo>
                    <a:pt x="18452" y="17300"/>
                  </a:lnTo>
                  <a:lnTo>
                    <a:pt x="19397" y="16385"/>
                  </a:lnTo>
                  <a:lnTo>
                    <a:pt x="22338" y="16063"/>
                  </a:lnTo>
                  <a:lnTo>
                    <a:pt x="23086" y="15476"/>
                  </a:lnTo>
                  <a:lnTo>
                    <a:pt x="24587" y="14021"/>
                  </a:lnTo>
                  <a:lnTo>
                    <a:pt x="26815" y="12361"/>
                  </a:lnTo>
                  <a:lnTo>
                    <a:pt x="30038" y="11036"/>
                  </a:lnTo>
                  <a:lnTo>
                    <a:pt x="30960" y="8623"/>
                  </a:lnTo>
                  <a:lnTo>
                    <a:pt x="31532" y="7964"/>
                  </a:lnTo>
                  <a:lnTo>
                    <a:pt x="34092" y="6694"/>
                  </a:lnTo>
                  <a:lnTo>
                    <a:pt x="34538" y="6016"/>
                  </a:lnTo>
                  <a:lnTo>
                    <a:pt x="34477" y="5419"/>
                  </a:lnTo>
                  <a:lnTo>
                    <a:pt x="30367" y="0"/>
                  </a:lnTo>
                  <a:lnTo>
                    <a:pt x="31183" y="372"/>
                  </a:lnTo>
                  <a:lnTo>
                    <a:pt x="34369" y="3908"/>
                  </a:lnTo>
                  <a:lnTo>
                    <a:pt x="36133" y="4672"/>
                  </a:lnTo>
                  <a:lnTo>
                    <a:pt x="36505" y="4690"/>
                  </a:lnTo>
                  <a:lnTo>
                    <a:pt x="36519" y="3771"/>
                  </a:lnTo>
                  <a:lnTo>
                    <a:pt x="38137" y="4158"/>
                  </a:lnTo>
                  <a:lnTo>
                    <a:pt x="42321" y="6575"/>
                  </a:lnTo>
                  <a:lnTo>
                    <a:pt x="48439" y="10568"/>
                  </a:lnTo>
                  <a:lnTo>
                    <a:pt x="57033" y="18110"/>
                  </a:lnTo>
                  <a:lnTo>
                    <a:pt x="59476" y="20978"/>
                  </a:lnTo>
                  <a:lnTo>
                    <a:pt x="61123" y="22329"/>
                  </a:lnTo>
                  <a:lnTo>
                    <a:pt x="63677" y="25616"/>
                  </a:lnTo>
                  <a:lnTo>
                    <a:pt x="64425" y="27223"/>
                  </a:lnTo>
                  <a:lnTo>
                    <a:pt x="64352" y="33615"/>
                  </a:lnTo>
                  <a:lnTo>
                    <a:pt x="62089" y="37936"/>
                  </a:lnTo>
                  <a:lnTo>
                    <a:pt x="61536" y="41186"/>
                  </a:lnTo>
                  <a:lnTo>
                    <a:pt x="61413" y="45511"/>
                  </a:lnTo>
                  <a:lnTo>
                    <a:pt x="60098" y="47993"/>
                  </a:lnTo>
                  <a:lnTo>
                    <a:pt x="61844" y="46644"/>
                  </a:lnTo>
                  <a:lnTo>
                    <a:pt x="62386" y="42742"/>
                  </a:lnTo>
                  <a:lnTo>
                    <a:pt x="63872" y="40372"/>
                  </a:lnTo>
                  <a:lnTo>
                    <a:pt x="65802" y="37769"/>
                  </a:lnTo>
                  <a:lnTo>
                    <a:pt x="68380" y="37144"/>
                  </a:lnTo>
                  <a:lnTo>
                    <a:pt x="71157" y="38253"/>
                  </a:lnTo>
                  <a:lnTo>
                    <a:pt x="73391" y="38448"/>
                  </a:lnTo>
                  <a:lnTo>
                    <a:pt x="75364" y="39219"/>
                  </a:lnTo>
                  <a:lnTo>
                    <a:pt x="79559" y="43380"/>
                  </a:lnTo>
                  <a:lnTo>
                    <a:pt x="83656" y="46669"/>
                  </a:lnTo>
                  <a:lnTo>
                    <a:pt x="85147" y="49308"/>
                  </a:lnTo>
                  <a:lnTo>
                    <a:pt x="89492" y="50627"/>
                  </a:lnTo>
                  <a:lnTo>
                    <a:pt x="92059" y="52707"/>
                  </a:lnTo>
                  <a:lnTo>
                    <a:pt x="92884" y="54507"/>
                  </a:lnTo>
                  <a:lnTo>
                    <a:pt x="93393" y="59218"/>
                  </a:lnTo>
                  <a:lnTo>
                    <a:pt x="92552" y="66325"/>
                  </a:lnTo>
                  <a:close/>
                </a:path>
              </a:pathLst>
            </a:custGeom>
            <a:solidFill>
              <a:srgbClr val="007CBC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59" name="ee4p_HN_1_82333">
              <a:extLst>
                <a:ext uri="{FF2B5EF4-FFF2-40B4-BE49-F238E27FC236}">
                  <a16:creationId xmlns:a16="http://schemas.microsoft.com/office/drawing/2014/main" id="{1064B8E0-C9CD-6A0B-52B8-9855E31D5C2C}"/>
                </a:ext>
              </a:extLst>
            </p:cNvPr>
            <p:cNvSpPr>
              <a:spLocks noChangeAspect="1"/>
            </p:cNvSpPr>
            <p:nvPr>
              <p:custDataLst>
                <p:tags r:id="rId187"/>
              </p:custDataLst>
            </p:nvPr>
          </p:nvSpPr>
          <p:spPr>
            <a:xfrm>
              <a:off x="4033161" y="4200484"/>
              <a:ext cx="172312" cy="103019"/>
            </a:xfrm>
            <a:custGeom>
              <a:avLst/>
              <a:gdLst>
                <a:gd name="connsiteX0" fmla="*/ 85628 w 157339"/>
                <a:gd name="connsiteY0" fmla="*/ 12747 h 91573"/>
                <a:gd name="connsiteX1" fmla="*/ 90741 w 157339"/>
                <a:gd name="connsiteY1" fmla="*/ 13302 h 91573"/>
                <a:gd name="connsiteX2" fmla="*/ 98355 w 157339"/>
                <a:gd name="connsiteY2" fmla="*/ 15989 h 91573"/>
                <a:gd name="connsiteX3" fmla="*/ 106470 w 157339"/>
                <a:gd name="connsiteY3" fmla="*/ 15504 h 91573"/>
                <a:gd name="connsiteX4" fmla="*/ 109397 w 157339"/>
                <a:gd name="connsiteY4" fmla="*/ 14052 h 91573"/>
                <a:gd name="connsiteX5" fmla="*/ 111286 w 157339"/>
                <a:gd name="connsiteY5" fmla="*/ 13639 h 91573"/>
                <a:gd name="connsiteX6" fmla="*/ 119594 w 157339"/>
                <a:gd name="connsiteY6" fmla="*/ 16403 h 91573"/>
                <a:gd name="connsiteX7" fmla="*/ 121785 w 157339"/>
                <a:gd name="connsiteY7" fmla="*/ 18523 h 91573"/>
                <a:gd name="connsiteX8" fmla="*/ 123494 w 157339"/>
                <a:gd name="connsiteY8" fmla="*/ 18732 h 91573"/>
                <a:gd name="connsiteX9" fmla="*/ 124819 w 157339"/>
                <a:gd name="connsiteY9" fmla="*/ 18248 h 91573"/>
                <a:gd name="connsiteX10" fmla="*/ 125175 w 157339"/>
                <a:gd name="connsiteY10" fmla="*/ 17809 h 91573"/>
                <a:gd name="connsiteX11" fmla="*/ 123542 w 157339"/>
                <a:gd name="connsiteY11" fmla="*/ 17347 h 91573"/>
                <a:gd name="connsiteX12" fmla="*/ 122801 w 157339"/>
                <a:gd name="connsiteY12" fmla="*/ 16684 h 91573"/>
                <a:gd name="connsiteX13" fmla="*/ 129348 w 157339"/>
                <a:gd name="connsiteY13" fmla="*/ 17988 h 91573"/>
                <a:gd name="connsiteX14" fmla="*/ 141669 w 157339"/>
                <a:gd name="connsiteY14" fmla="*/ 28007 h 91573"/>
                <a:gd name="connsiteX15" fmla="*/ 141928 w 157339"/>
                <a:gd name="connsiteY15" fmla="*/ 28821 h 91573"/>
                <a:gd name="connsiteX16" fmla="*/ 136666 w 157339"/>
                <a:gd name="connsiteY16" fmla="*/ 25858 h 91573"/>
                <a:gd name="connsiteX17" fmla="*/ 133878 w 157339"/>
                <a:gd name="connsiteY17" fmla="*/ 26085 h 91573"/>
                <a:gd name="connsiteX18" fmla="*/ 133154 w 157339"/>
                <a:gd name="connsiteY18" fmla="*/ 26564 h 91573"/>
                <a:gd name="connsiteX19" fmla="*/ 133310 w 157339"/>
                <a:gd name="connsiteY19" fmla="*/ 28181 h 91573"/>
                <a:gd name="connsiteX20" fmla="*/ 133566 w 157339"/>
                <a:gd name="connsiteY20" fmla="*/ 28939 h 91573"/>
                <a:gd name="connsiteX21" fmla="*/ 134760 w 157339"/>
                <a:gd name="connsiteY21" fmla="*/ 29025 h 91573"/>
                <a:gd name="connsiteX22" fmla="*/ 135642 w 157339"/>
                <a:gd name="connsiteY22" fmla="*/ 28589 h 91573"/>
                <a:gd name="connsiteX23" fmla="*/ 137816 w 157339"/>
                <a:gd name="connsiteY23" fmla="*/ 29118 h 91573"/>
                <a:gd name="connsiteX24" fmla="*/ 139257 w 157339"/>
                <a:gd name="connsiteY24" fmla="*/ 30189 h 91573"/>
                <a:gd name="connsiteX25" fmla="*/ 141005 w 157339"/>
                <a:gd name="connsiteY25" fmla="*/ 31837 h 91573"/>
                <a:gd name="connsiteX26" fmla="*/ 142051 w 157339"/>
                <a:gd name="connsiteY26" fmla="*/ 33625 h 91573"/>
                <a:gd name="connsiteX27" fmla="*/ 143179 w 157339"/>
                <a:gd name="connsiteY27" fmla="*/ 33653 h 91573"/>
                <a:gd name="connsiteX28" fmla="*/ 144289 w 157339"/>
                <a:gd name="connsiteY28" fmla="*/ 32576 h 91573"/>
                <a:gd name="connsiteX29" fmla="*/ 146382 w 157339"/>
                <a:gd name="connsiteY29" fmla="*/ 32447 h 91573"/>
                <a:gd name="connsiteX30" fmla="*/ 147743 w 157339"/>
                <a:gd name="connsiteY30" fmla="*/ 33650 h 91573"/>
                <a:gd name="connsiteX31" fmla="*/ 148707 w 157339"/>
                <a:gd name="connsiteY31" fmla="*/ 33579 h 91573"/>
                <a:gd name="connsiteX32" fmla="*/ 147359 w 157339"/>
                <a:gd name="connsiteY32" fmla="*/ 31714 h 91573"/>
                <a:gd name="connsiteX33" fmla="*/ 144189 w 157339"/>
                <a:gd name="connsiteY33" fmla="*/ 29860 h 91573"/>
                <a:gd name="connsiteX34" fmla="*/ 144943 w 157339"/>
                <a:gd name="connsiteY34" fmla="*/ 29783 h 91573"/>
                <a:gd name="connsiteX35" fmla="*/ 151971 w 157339"/>
                <a:gd name="connsiteY35" fmla="*/ 33114 h 91573"/>
                <a:gd name="connsiteX36" fmla="*/ 153957 w 157339"/>
                <a:gd name="connsiteY36" fmla="*/ 37293 h 91573"/>
                <a:gd name="connsiteX37" fmla="*/ 155613 w 157339"/>
                <a:gd name="connsiteY37" fmla="*/ 38242 h 91573"/>
                <a:gd name="connsiteX38" fmla="*/ 157339 w 157339"/>
                <a:gd name="connsiteY38" fmla="*/ 39519 h 91573"/>
                <a:gd name="connsiteX39" fmla="*/ 150809 w 157339"/>
                <a:gd name="connsiteY39" fmla="*/ 39129 h 91573"/>
                <a:gd name="connsiteX40" fmla="*/ 147728 w 157339"/>
                <a:gd name="connsiteY40" fmla="*/ 39935 h 91573"/>
                <a:gd name="connsiteX41" fmla="*/ 146379 w 157339"/>
                <a:gd name="connsiteY41" fmla="*/ 41734 h 91573"/>
                <a:gd name="connsiteX42" fmla="*/ 145219 w 157339"/>
                <a:gd name="connsiteY42" fmla="*/ 42541 h 91573"/>
                <a:gd name="connsiteX43" fmla="*/ 144253 w 157339"/>
                <a:gd name="connsiteY43" fmla="*/ 42357 h 91573"/>
                <a:gd name="connsiteX44" fmla="*/ 142292 w 157339"/>
                <a:gd name="connsiteY44" fmla="*/ 43064 h 91573"/>
                <a:gd name="connsiteX45" fmla="*/ 139341 w 157339"/>
                <a:gd name="connsiteY45" fmla="*/ 44664 h 91573"/>
                <a:gd name="connsiteX46" fmla="*/ 136680 w 157339"/>
                <a:gd name="connsiteY46" fmla="*/ 45271 h 91573"/>
                <a:gd name="connsiteX47" fmla="*/ 134307 w 157339"/>
                <a:gd name="connsiteY47" fmla="*/ 44882 h 91573"/>
                <a:gd name="connsiteX48" fmla="*/ 133619 w 157339"/>
                <a:gd name="connsiteY48" fmla="*/ 45275 h 91573"/>
                <a:gd name="connsiteX49" fmla="*/ 133433 w 157339"/>
                <a:gd name="connsiteY49" fmla="*/ 45800 h 91573"/>
                <a:gd name="connsiteX50" fmla="*/ 133076 w 157339"/>
                <a:gd name="connsiteY50" fmla="*/ 46308 h 91573"/>
                <a:gd name="connsiteX51" fmla="*/ 132154 w 157339"/>
                <a:gd name="connsiteY51" fmla="*/ 46583 h 91573"/>
                <a:gd name="connsiteX52" fmla="*/ 131099 w 157339"/>
                <a:gd name="connsiteY52" fmla="*/ 46438 h 91573"/>
                <a:gd name="connsiteX53" fmla="*/ 129911 w 157339"/>
                <a:gd name="connsiteY53" fmla="*/ 45873 h 91573"/>
                <a:gd name="connsiteX54" fmla="*/ 129284 w 157339"/>
                <a:gd name="connsiteY54" fmla="*/ 46115 h 91573"/>
                <a:gd name="connsiteX55" fmla="*/ 129216 w 157339"/>
                <a:gd name="connsiteY55" fmla="*/ 47160 h 91573"/>
                <a:gd name="connsiteX56" fmla="*/ 128574 w 157339"/>
                <a:gd name="connsiteY56" fmla="*/ 47439 h 91573"/>
                <a:gd name="connsiteX57" fmla="*/ 127360 w 157339"/>
                <a:gd name="connsiteY57" fmla="*/ 46947 h 91573"/>
                <a:gd name="connsiteX58" fmla="*/ 125995 w 157339"/>
                <a:gd name="connsiteY58" fmla="*/ 47326 h 91573"/>
                <a:gd name="connsiteX59" fmla="*/ 124475 w 157339"/>
                <a:gd name="connsiteY59" fmla="*/ 48570 h 91573"/>
                <a:gd name="connsiteX60" fmla="*/ 122344 w 157339"/>
                <a:gd name="connsiteY60" fmla="*/ 48837 h 91573"/>
                <a:gd name="connsiteX61" fmla="*/ 119598 w 157339"/>
                <a:gd name="connsiteY61" fmla="*/ 48120 h 91573"/>
                <a:gd name="connsiteX62" fmla="*/ 117472 w 157339"/>
                <a:gd name="connsiteY62" fmla="*/ 46765 h 91573"/>
                <a:gd name="connsiteX63" fmla="*/ 115967 w 157339"/>
                <a:gd name="connsiteY63" fmla="*/ 44771 h 91573"/>
                <a:gd name="connsiteX64" fmla="*/ 114158 w 157339"/>
                <a:gd name="connsiteY64" fmla="*/ 44268 h 91573"/>
                <a:gd name="connsiteX65" fmla="*/ 110997 w 157339"/>
                <a:gd name="connsiteY65" fmla="*/ 45753 h 91573"/>
                <a:gd name="connsiteX66" fmla="*/ 109673 w 157339"/>
                <a:gd name="connsiteY66" fmla="*/ 47486 h 91573"/>
                <a:gd name="connsiteX67" fmla="*/ 109387 w 157339"/>
                <a:gd name="connsiteY67" fmla="*/ 48543 h 91573"/>
                <a:gd name="connsiteX68" fmla="*/ 109694 w 157339"/>
                <a:gd name="connsiteY68" fmla="*/ 49503 h 91573"/>
                <a:gd name="connsiteX69" fmla="*/ 109115 w 157339"/>
                <a:gd name="connsiteY69" fmla="*/ 50143 h 91573"/>
                <a:gd name="connsiteX70" fmla="*/ 107646 w 157339"/>
                <a:gd name="connsiteY70" fmla="*/ 50463 h 91573"/>
                <a:gd name="connsiteX71" fmla="*/ 106529 w 157339"/>
                <a:gd name="connsiteY71" fmla="*/ 51640 h 91573"/>
                <a:gd name="connsiteX72" fmla="*/ 105764 w 157339"/>
                <a:gd name="connsiteY72" fmla="*/ 53672 h 91573"/>
                <a:gd name="connsiteX73" fmla="*/ 105611 w 157339"/>
                <a:gd name="connsiteY73" fmla="*/ 55241 h 91573"/>
                <a:gd name="connsiteX74" fmla="*/ 106069 w 157339"/>
                <a:gd name="connsiteY74" fmla="*/ 56346 h 91573"/>
                <a:gd name="connsiteX75" fmla="*/ 105337 w 157339"/>
                <a:gd name="connsiteY75" fmla="*/ 57160 h 91573"/>
                <a:gd name="connsiteX76" fmla="*/ 103415 w 157339"/>
                <a:gd name="connsiteY76" fmla="*/ 57682 h 91573"/>
                <a:gd name="connsiteX77" fmla="*/ 101143 w 157339"/>
                <a:gd name="connsiteY77" fmla="*/ 59435 h 91573"/>
                <a:gd name="connsiteX78" fmla="*/ 98524 w 157339"/>
                <a:gd name="connsiteY78" fmla="*/ 62414 h 91573"/>
                <a:gd name="connsiteX79" fmla="*/ 95919 w 157339"/>
                <a:gd name="connsiteY79" fmla="*/ 64494 h 91573"/>
                <a:gd name="connsiteX80" fmla="*/ 93329 w 157339"/>
                <a:gd name="connsiteY80" fmla="*/ 65674 h 91573"/>
                <a:gd name="connsiteX81" fmla="*/ 92079 w 157339"/>
                <a:gd name="connsiteY81" fmla="*/ 66985 h 91573"/>
                <a:gd name="connsiteX82" fmla="*/ 92168 w 157339"/>
                <a:gd name="connsiteY82" fmla="*/ 68426 h 91573"/>
                <a:gd name="connsiteX83" fmla="*/ 92011 w 157339"/>
                <a:gd name="connsiteY83" fmla="*/ 68876 h 91573"/>
                <a:gd name="connsiteX84" fmla="*/ 91516 w 157339"/>
                <a:gd name="connsiteY84" fmla="*/ 69047 h 91573"/>
                <a:gd name="connsiteX85" fmla="*/ 90671 w 157339"/>
                <a:gd name="connsiteY85" fmla="*/ 69244 h 91573"/>
                <a:gd name="connsiteX86" fmla="*/ 85675 w 157339"/>
                <a:gd name="connsiteY86" fmla="*/ 66111 h 91573"/>
                <a:gd name="connsiteX87" fmla="*/ 84240 w 157339"/>
                <a:gd name="connsiteY87" fmla="*/ 63928 h 91573"/>
                <a:gd name="connsiteX88" fmla="*/ 83001 w 157339"/>
                <a:gd name="connsiteY88" fmla="*/ 64262 h 91573"/>
                <a:gd name="connsiteX89" fmla="*/ 81430 w 157339"/>
                <a:gd name="connsiteY89" fmla="*/ 65364 h 91573"/>
                <a:gd name="connsiteX90" fmla="*/ 79224 w 157339"/>
                <a:gd name="connsiteY90" fmla="*/ 67822 h 91573"/>
                <a:gd name="connsiteX91" fmla="*/ 76852 w 157339"/>
                <a:gd name="connsiteY91" fmla="*/ 71166 h 91573"/>
                <a:gd name="connsiteX92" fmla="*/ 75705 w 157339"/>
                <a:gd name="connsiteY92" fmla="*/ 71538 h 91573"/>
                <a:gd name="connsiteX93" fmla="*/ 69789 w 157339"/>
                <a:gd name="connsiteY93" fmla="*/ 71042 h 91573"/>
                <a:gd name="connsiteX94" fmla="*/ 66661 w 157339"/>
                <a:gd name="connsiteY94" fmla="*/ 71336 h 91573"/>
                <a:gd name="connsiteX95" fmla="*/ 66019 w 157339"/>
                <a:gd name="connsiteY95" fmla="*/ 71784 h 91573"/>
                <a:gd name="connsiteX96" fmla="*/ 65724 w 157339"/>
                <a:gd name="connsiteY96" fmla="*/ 73008 h 91573"/>
                <a:gd name="connsiteX97" fmla="*/ 65903 w 157339"/>
                <a:gd name="connsiteY97" fmla="*/ 74647 h 91573"/>
                <a:gd name="connsiteX98" fmla="*/ 66764 w 157339"/>
                <a:gd name="connsiteY98" fmla="*/ 80534 h 91573"/>
                <a:gd name="connsiteX99" fmla="*/ 67244 w 157339"/>
                <a:gd name="connsiteY99" fmla="*/ 82955 h 91573"/>
                <a:gd name="connsiteX100" fmla="*/ 66771 w 157339"/>
                <a:gd name="connsiteY100" fmla="*/ 83704 h 91573"/>
                <a:gd name="connsiteX101" fmla="*/ 65179 w 157339"/>
                <a:gd name="connsiteY101" fmla="*/ 83822 h 91573"/>
                <a:gd name="connsiteX102" fmla="*/ 63114 w 157339"/>
                <a:gd name="connsiteY102" fmla="*/ 84165 h 91573"/>
                <a:gd name="connsiteX103" fmla="*/ 61981 w 157339"/>
                <a:gd name="connsiteY103" fmla="*/ 85272 h 91573"/>
                <a:gd name="connsiteX104" fmla="*/ 61713 w 157339"/>
                <a:gd name="connsiteY104" fmla="*/ 86412 h 91573"/>
                <a:gd name="connsiteX105" fmla="*/ 61602 w 157339"/>
                <a:gd name="connsiteY105" fmla="*/ 88008 h 91573"/>
                <a:gd name="connsiteX106" fmla="*/ 60951 w 157339"/>
                <a:gd name="connsiteY106" fmla="*/ 89653 h 91573"/>
                <a:gd name="connsiteX107" fmla="*/ 59671 w 157339"/>
                <a:gd name="connsiteY107" fmla="*/ 90837 h 91573"/>
                <a:gd name="connsiteX108" fmla="*/ 58407 w 157339"/>
                <a:gd name="connsiteY108" fmla="*/ 91258 h 91573"/>
                <a:gd name="connsiteX109" fmla="*/ 51356 w 157339"/>
                <a:gd name="connsiteY109" fmla="*/ 91573 h 91573"/>
                <a:gd name="connsiteX110" fmla="*/ 51476 w 157339"/>
                <a:gd name="connsiteY110" fmla="*/ 88854 h 91573"/>
                <a:gd name="connsiteX111" fmla="*/ 49441 w 157339"/>
                <a:gd name="connsiteY111" fmla="*/ 87752 h 91573"/>
                <a:gd name="connsiteX112" fmla="*/ 48283 w 157339"/>
                <a:gd name="connsiteY112" fmla="*/ 85483 h 91573"/>
                <a:gd name="connsiteX113" fmla="*/ 47270 w 157339"/>
                <a:gd name="connsiteY113" fmla="*/ 83949 h 91573"/>
                <a:gd name="connsiteX114" fmla="*/ 47606 w 157339"/>
                <a:gd name="connsiteY114" fmla="*/ 83028 h 91573"/>
                <a:gd name="connsiteX115" fmla="*/ 47505 w 157339"/>
                <a:gd name="connsiteY115" fmla="*/ 81935 h 91573"/>
                <a:gd name="connsiteX116" fmla="*/ 44636 w 157339"/>
                <a:gd name="connsiteY116" fmla="*/ 81092 h 91573"/>
                <a:gd name="connsiteX117" fmla="*/ 41946 w 157339"/>
                <a:gd name="connsiteY117" fmla="*/ 81751 h 91573"/>
                <a:gd name="connsiteX118" fmla="*/ 40399 w 157339"/>
                <a:gd name="connsiteY118" fmla="*/ 81323 h 91573"/>
                <a:gd name="connsiteX119" fmla="*/ 39262 w 157339"/>
                <a:gd name="connsiteY119" fmla="*/ 80742 h 91573"/>
                <a:gd name="connsiteX120" fmla="*/ 41219 w 157339"/>
                <a:gd name="connsiteY120" fmla="*/ 79395 h 91573"/>
                <a:gd name="connsiteX121" fmla="*/ 41355 w 157339"/>
                <a:gd name="connsiteY121" fmla="*/ 78576 h 91573"/>
                <a:gd name="connsiteX122" fmla="*/ 40727 w 157339"/>
                <a:gd name="connsiteY122" fmla="*/ 77984 h 91573"/>
                <a:gd name="connsiteX123" fmla="*/ 40081 w 157339"/>
                <a:gd name="connsiteY123" fmla="*/ 77588 h 91573"/>
                <a:gd name="connsiteX124" fmla="*/ 40276 w 157339"/>
                <a:gd name="connsiteY124" fmla="*/ 76066 h 91573"/>
                <a:gd name="connsiteX125" fmla="*/ 40673 w 157339"/>
                <a:gd name="connsiteY125" fmla="*/ 74268 h 91573"/>
                <a:gd name="connsiteX126" fmla="*/ 41769 w 157339"/>
                <a:gd name="connsiteY126" fmla="*/ 70064 h 91573"/>
                <a:gd name="connsiteX127" fmla="*/ 41361 w 157339"/>
                <a:gd name="connsiteY127" fmla="*/ 69331 h 91573"/>
                <a:gd name="connsiteX128" fmla="*/ 39565 w 157339"/>
                <a:gd name="connsiteY128" fmla="*/ 68068 h 91573"/>
                <a:gd name="connsiteX129" fmla="*/ 37290 w 157339"/>
                <a:gd name="connsiteY129" fmla="*/ 67938 h 91573"/>
                <a:gd name="connsiteX130" fmla="*/ 34779 w 157339"/>
                <a:gd name="connsiteY130" fmla="*/ 68335 h 91573"/>
                <a:gd name="connsiteX131" fmla="*/ 33569 w 157339"/>
                <a:gd name="connsiteY131" fmla="*/ 67689 h 91573"/>
                <a:gd name="connsiteX132" fmla="*/ 32511 w 157339"/>
                <a:gd name="connsiteY132" fmla="*/ 66242 h 91573"/>
                <a:gd name="connsiteX133" fmla="*/ 30722 w 157339"/>
                <a:gd name="connsiteY133" fmla="*/ 65550 h 91573"/>
                <a:gd name="connsiteX134" fmla="*/ 27548 w 157339"/>
                <a:gd name="connsiteY134" fmla="*/ 66705 h 91573"/>
                <a:gd name="connsiteX135" fmla="*/ 24194 w 157339"/>
                <a:gd name="connsiteY135" fmla="*/ 68444 h 91573"/>
                <a:gd name="connsiteX136" fmla="*/ 23163 w 157339"/>
                <a:gd name="connsiteY136" fmla="*/ 69076 h 91573"/>
                <a:gd name="connsiteX137" fmla="*/ 22312 w 157339"/>
                <a:gd name="connsiteY137" fmla="*/ 68991 h 91573"/>
                <a:gd name="connsiteX138" fmla="*/ 21932 w 157339"/>
                <a:gd name="connsiteY138" fmla="*/ 67690 h 91573"/>
                <a:gd name="connsiteX139" fmla="*/ 21763 w 157339"/>
                <a:gd name="connsiteY139" fmla="*/ 66149 h 91573"/>
                <a:gd name="connsiteX140" fmla="*/ 21555 w 157339"/>
                <a:gd name="connsiteY140" fmla="*/ 65767 h 91573"/>
                <a:gd name="connsiteX141" fmla="*/ 19765 w 157339"/>
                <a:gd name="connsiteY141" fmla="*/ 65220 h 91573"/>
                <a:gd name="connsiteX142" fmla="*/ 17673 w 157339"/>
                <a:gd name="connsiteY142" fmla="*/ 64822 h 91573"/>
                <a:gd name="connsiteX143" fmla="*/ 16608 w 157339"/>
                <a:gd name="connsiteY143" fmla="*/ 64395 h 91573"/>
                <a:gd name="connsiteX144" fmla="*/ 15601 w 157339"/>
                <a:gd name="connsiteY144" fmla="*/ 63356 h 91573"/>
                <a:gd name="connsiteX145" fmla="*/ 13102 w 157339"/>
                <a:gd name="connsiteY145" fmla="*/ 61998 h 91573"/>
                <a:gd name="connsiteX146" fmla="*/ 12534 w 157339"/>
                <a:gd name="connsiteY146" fmla="*/ 60992 h 91573"/>
                <a:gd name="connsiteX147" fmla="*/ 9190 w 157339"/>
                <a:gd name="connsiteY147" fmla="*/ 58688 h 91573"/>
                <a:gd name="connsiteX148" fmla="*/ 8513 w 157339"/>
                <a:gd name="connsiteY148" fmla="*/ 57544 h 91573"/>
                <a:gd name="connsiteX149" fmla="*/ 7746 w 157339"/>
                <a:gd name="connsiteY149" fmla="*/ 56712 h 91573"/>
                <a:gd name="connsiteX150" fmla="*/ 6139 w 157339"/>
                <a:gd name="connsiteY150" fmla="*/ 55650 h 91573"/>
                <a:gd name="connsiteX151" fmla="*/ 4881 w 157339"/>
                <a:gd name="connsiteY151" fmla="*/ 55905 h 91573"/>
                <a:gd name="connsiteX152" fmla="*/ 644 w 157339"/>
                <a:gd name="connsiteY152" fmla="*/ 54584 h 91573"/>
                <a:gd name="connsiteX153" fmla="*/ 0 w 157339"/>
                <a:gd name="connsiteY153" fmla="*/ 54464 h 91573"/>
                <a:gd name="connsiteX154" fmla="*/ 589 w 157339"/>
                <a:gd name="connsiteY154" fmla="*/ 53307 h 91573"/>
                <a:gd name="connsiteX155" fmla="*/ 1924 w 157339"/>
                <a:gd name="connsiteY155" fmla="*/ 51515 h 91573"/>
                <a:gd name="connsiteX156" fmla="*/ 4839 w 157339"/>
                <a:gd name="connsiteY156" fmla="*/ 49524 h 91573"/>
                <a:gd name="connsiteX157" fmla="*/ 5081 w 157339"/>
                <a:gd name="connsiteY157" fmla="*/ 47909 h 91573"/>
                <a:gd name="connsiteX158" fmla="*/ 4320 w 157339"/>
                <a:gd name="connsiteY158" fmla="*/ 44814 h 91573"/>
                <a:gd name="connsiteX159" fmla="*/ 3556 w 157339"/>
                <a:gd name="connsiteY159" fmla="*/ 42810 h 91573"/>
                <a:gd name="connsiteX160" fmla="*/ 3969 w 157339"/>
                <a:gd name="connsiteY160" fmla="*/ 41915 h 91573"/>
                <a:gd name="connsiteX161" fmla="*/ 4876 w 157339"/>
                <a:gd name="connsiteY161" fmla="*/ 38304 h 91573"/>
                <a:gd name="connsiteX162" fmla="*/ 5579 w 157339"/>
                <a:gd name="connsiteY162" fmla="*/ 37464 h 91573"/>
                <a:gd name="connsiteX163" fmla="*/ 9793 w 157339"/>
                <a:gd name="connsiteY163" fmla="*/ 35639 h 91573"/>
                <a:gd name="connsiteX164" fmla="*/ 10184 w 157339"/>
                <a:gd name="connsiteY164" fmla="*/ 35386 h 91573"/>
                <a:gd name="connsiteX165" fmla="*/ 13507 w 157339"/>
                <a:gd name="connsiteY165" fmla="*/ 32829 h 91573"/>
                <a:gd name="connsiteX166" fmla="*/ 17195 w 157339"/>
                <a:gd name="connsiteY166" fmla="*/ 29988 h 91573"/>
                <a:gd name="connsiteX167" fmla="*/ 21029 w 157339"/>
                <a:gd name="connsiteY167" fmla="*/ 26855 h 91573"/>
                <a:gd name="connsiteX168" fmla="*/ 25307 w 157339"/>
                <a:gd name="connsiteY168" fmla="*/ 23354 h 91573"/>
                <a:gd name="connsiteX169" fmla="*/ 27668 w 157339"/>
                <a:gd name="connsiteY169" fmla="*/ 21306 h 91573"/>
                <a:gd name="connsiteX170" fmla="*/ 28762 w 157339"/>
                <a:gd name="connsiteY170" fmla="*/ 20420 h 91573"/>
                <a:gd name="connsiteX171" fmla="*/ 31227 w 157339"/>
                <a:gd name="connsiteY171" fmla="*/ 21146 h 91573"/>
                <a:gd name="connsiteX172" fmla="*/ 33167 w 157339"/>
                <a:gd name="connsiteY172" fmla="*/ 19489 h 91573"/>
                <a:gd name="connsiteX173" fmla="*/ 34287 w 157339"/>
                <a:gd name="connsiteY173" fmla="*/ 18934 h 91573"/>
                <a:gd name="connsiteX174" fmla="*/ 36909 w 157339"/>
                <a:gd name="connsiteY174" fmla="*/ 16948 h 91573"/>
                <a:gd name="connsiteX175" fmla="*/ 37722 w 157339"/>
                <a:gd name="connsiteY175" fmla="*/ 16513 h 91573"/>
                <a:gd name="connsiteX176" fmla="*/ 42111 w 157339"/>
                <a:gd name="connsiteY176" fmla="*/ 15699 h 91573"/>
                <a:gd name="connsiteX177" fmla="*/ 44233 w 157339"/>
                <a:gd name="connsiteY177" fmla="*/ 15719 h 91573"/>
                <a:gd name="connsiteX178" fmla="*/ 46089 w 157339"/>
                <a:gd name="connsiteY178" fmla="*/ 17733 h 91573"/>
                <a:gd name="connsiteX179" fmla="*/ 47562 w 157339"/>
                <a:gd name="connsiteY179" fmla="*/ 18829 h 91573"/>
                <a:gd name="connsiteX180" fmla="*/ 50335 w 157339"/>
                <a:gd name="connsiteY180" fmla="*/ 17887 h 91573"/>
                <a:gd name="connsiteX181" fmla="*/ 52659 w 157339"/>
                <a:gd name="connsiteY181" fmla="*/ 17680 h 91573"/>
                <a:gd name="connsiteX182" fmla="*/ 62260 w 157339"/>
                <a:gd name="connsiteY182" fmla="*/ 19553 h 91573"/>
                <a:gd name="connsiteX183" fmla="*/ 66068 w 157339"/>
                <a:gd name="connsiteY183" fmla="*/ 18725 h 91573"/>
                <a:gd name="connsiteX184" fmla="*/ 73073 w 157339"/>
                <a:gd name="connsiteY184" fmla="*/ 18547 h 91573"/>
                <a:gd name="connsiteX185" fmla="*/ 76220 w 157339"/>
                <a:gd name="connsiteY185" fmla="*/ 19012 h 91573"/>
                <a:gd name="connsiteX186" fmla="*/ 80670 w 157339"/>
                <a:gd name="connsiteY186" fmla="*/ 16362 h 91573"/>
                <a:gd name="connsiteX187" fmla="*/ 83526 w 157339"/>
                <a:gd name="connsiteY187" fmla="*/ 15828 h 91573"/>
                <a:gd name="connsiteX188" fmla="*/ 86880 w 157339"/>
                <a:gd name="connsiteY188" fmla="*/ 14588 h 91573"/>
                <a:gd name="connsiteX189" fmla="*/ 86433 w 157339"/>
                <a:gd name="connsiteY189" fmla="*/ 13317 h 91573"/>
                <a:gd name="connsiteX190" fmla="*/ 76697 w 157339"/>
                <a:gd name="connsiteY190" fmla="*/ 1947 h 91573"/>
                <a:gd name="connsiteX191" fmla="*/ 78784 w 157339"/>
                <a:gd name="connsiteY191" fmla="*/ 2232 h 91573"/>
                <a:gd name="connsiteX192" fmla="*/ 74616 w 157339"/>
                <a:gd name="connsiteY192" fmla="*/ 3530 h 91573"/>
                <a:gd name="connsiteX193" fmla="*/ 70550 w 157339"/>
                <a:gd name="connsiteY193" fmla="*/ 5565 h 91573"/>
                <a:gd name="connsiteX194" fmla="*/ 69279 w 157339"/>
                <a:gd name="connsiteY194" fmla="*/ 5525 h 91573"/>
                <a:gd name="connsiteX195" fmla="*/ 71143 w 157339"/>
                <a:gd name="connsiteY195" fmla="*/ 3954 h 91573"/>
                <a:gd name="connsiteX196" fmla="*/ 74150 w 157339"/>
                <a:gd name="connsiteY196" fmla="*/ 2606 h 91573"/>
                <a:gd name="connsiteX197" fmla="*/ 88352 w 157339"/>
                <a:gd name="connsiteY197" fmla="*/ 0 h 91573"/>
                <a:gd name="connsiteX198" fmla="*/ 89479 w 157339"/>
                <a:gd name="connsiteY198" fmla="*/ 80 h 91573"/>
                <a:gd name="connsiteX199" fmla="*/ 89208 w 157339"/>
                <a:gd name="connsiteY199" fmla="*/ 683 h 91573"/>
                <a:gd name="connsiteX200" fmla="*/ 88536 w 157339"/>
                <a:gd name="connsiteY200" fmla="*/ 1366 h 91573"/>
                <a:gd name="connsiteX201" fmla="*/ 86602 w 157339"/>
                <a:gd name="connsiteY201" fmla="*/ 2874 h 91573"/>
                <a:gd name="connsiteX202" fmla="*/ 86253 w 157339"/>
                <a:gd name="connsiteY202" fmla="*/ 2195 h 91573"/>
                <a:gd name="connsiteX203" fmla="*/ 87186 w 157339"/>
                <a:gd name="connsiteY203" fmla="*/ 799 h 91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</a:cxnLst>
              <a:rect l="l" t="t" r="r" b="b"/>
              <a:pathLst>
                <a:path w="157339" h="91573">
                  <a:moveTo>
                    <a:pt x="85628" y="12747"/>
                  </a:moveTo>
                  <a:lnTo>
                    <a:pt x="90741" y="13302"/>
                  </a:lnTo>
                  <a:lnTo>
                    <a:pt x="98355" y="15989"/>
                  </a:lnTo>
                  <a:lnTo>
                    <a:pt x="106470" y="15504"/>
                  </a:lnTo>
                  <a:lnTo>
                    <a:pt x="109397" y="14052"/>
                  </a:lnTo>
                  <a:lnTo>
                    <a:pt x="111286" y="13639"/>
                  </a:lnTo>
                  <a:lnTo>
                    <a:pt x="119594" y="16403"/>
                  </a:lnTo>
                  <a:lnTo>
                    <a:pt x="121785" y="18523"/>
                  </a:lnTo>
                  <a:lnTo>
                    <a:pt x="123494" y="18732"/>
                  </a:lnTo>
                  <a:lnTo>
                    <a:pt x="124819" y="18248"/>
                  </a:lnTo>
                  <a:lnTo>
                    <a:pt x="125175" y="17809"/>
                  </a:lnTo>
                  <a:lnTo>
                    <a:pt x="123542" y="17347"/>
                  </a:lnTo>
                  <a:lnTo>
                    <a:pt x="122801" y="16684"/>
                  </a:lnTo>
                  <a:lnTo>
                    <a:pt x="129348" y="17988"/>
                  </a:lnTo>
                  <a:lnTo>
                    <a:pt x="141669" y="28007"/>
                  </a:lnTo>
                  <a:lnTo>
                    <a:pt x="141928" y="28821"/>
                  </a:lnTo>
                  <a:lnTo>
                    <a:pt x="136666" y="25858"/>
                  </a:lnTo>
                  <a:lnTo>
                    <a:pt x="133878" y="26085"/>
                  </a:lnTo>
                  <a:lnTo>
                    <a:pt x="133154" y="26564"/>
                  </a:lnTo>
                  <a:lnTo>
                    <a:pt x="133310" y="28181"/>
                  </a:lnTo>
                  <a:lnTo>
                    <a:pt x="133566" y="28939"/>
                  </a:lnTo>
                  <a:lnTo>
                    <a:pt x="134760" y="29025"/>
                  </a:lnTo>
                  <a:lnTo>
                    <a:pt x="135642" y="28589"/>
                  </a:lnTo>
                  <a:lnTo>
                    <a:pt x="137816" y="29118"/>
                  </a:lnTo>
                  <a:lnTo>
                    <a:pt x="139257" y="30189"/>
                  </a:lnTo>
                  <a:lnTo>
                    <a:pt x="141005" y="31837"/>
                  </a:lnTo>
                  <a:lnTo>
                    <a:pt x="142051" y="33625"/>
                  </a:lnTo>
                  <a:lnTo>
                    <a:pt x="143179" y="33653"/>
                  </a:lnTo>
                  <a:lnTo>
                    <a:pt x="144289" y="32576"/>
                  </a:lnTo>
                  <a:lnTo>
                    <a:pt x="146382" y="32447"/>
                  </a:lnTo>
                  <a:lnTo>
                    <a:pt x="147743" y="33650"/>
                  </a:lnTo>
                  <a:lnTo>
                    <a:pt x="148707" y="33579"/>
                  </a:lnTo>
                  <a:lnTo>
                    <a:pt x="147359" y="31714"/>
                  </a:lnTo>
                  <a:lnTo>
                    <a:pt x="144189" y="29860"/>
                  </a:lnTo>
                  <a:lnTo>
                    <a:pt x="144943" y="29783"/>
                  </a:lnTo>
                  <a:lnTo>
                    <a:pt x="151971" y="33114"/>
                  </a:lnTo>
                  <a:lnTo>
                    <a:pt x="153957" y="37293"/>
                  </a:lnTo>
                  <a:lnTo>
                    <a:pt x="155613" y="38242"/>
                  </a:lnTo>
                  <a:lnTo>
                    <a:pt x="157339" y="39519"/>
                  </a:lnTo>
                  <a:lnTo>
                    <a:pt x="150809" y="39129"/>
                  </a:lnTo>
                  <a:lnTo>
                    <a:pt x="147728" y="39935"/>
                  </a:lnTo>
                  <a:lnTo>
                    <a:pt x="146379" y="41734"/>
                  </a:lnTo>
                  <a:lnTo>
                    <a:pt x="145219" y="42541"/>
                  </a:lnTo>
                  <a:lnTo>
                    <a:pt x="144253" y="42357"/>
                  </a:lnTo>
                  <a:lnTo>
                    <a:pt x="142292" y="43064"/>
                  </a:lnTo>
                  <a:lnTo>
                    <a:pt x="139341" y="44664"/>
                  </a:lnTo>
                  <a:lnTo>
                    <a:pt x="136680" y="45271"/>
                  </a:lnTo>
                  <a:lnTo>
                    <a:pt x="134307" y="44882"/>
                  </a:lnTo>
                  <a:lnTo>
                    <a:pt x="133619" y="45275"/>
                  </a:lnTo>
                  <a:lnTo>
                    <a:pt x="133433" y="45800"/>
                  </a:lnTo>
                  <a:lnTo>
                    <a:pt x="133076" y="46308"/>
                  </a:lnTo>
                  <a:lnTo>
                    <a:pt x="132154" y="46583"/>
                  </a:lnTo>
                  <a:lnTo>
                    <a:pt x="131099" y="46438"/>
                  </a:lnTo>
                  <a:lnTo>
                    <a:pt x="129911" y="45873"/>
                  </a:lnTo>
                  <a:lnTo>
                    <a:pt x="129284" y="46115"/>
                  </a:lnTo>
                  <a:lnTo>
                    <a:pt x="129216" y="47160"/>
                  </a:lnTo>
                  <a:lnTo>
                    <a:pt x="128574" y="47439"/>
                  </a:lnTo>
                  <a:lnTo>
                    <a:pt x="127360" y="46947"/>
                  </a:lnTo>
                  <a:lnTo>
                    <a:pt x="125995" y="47326"/>
                  </a:lnTo>
                  <a:lnTo>
                    <a:pt x="124475" y="48570"/>
                  </a:lnTo>
                  <a:lnTo>
                    <a:pt x="122344" y="48837"/>
                  </a:lnTo>
                  <a:lnTo>
                    <a:pt x="119598" y="48120"/>
                  </a:lnTo>
                  <a:lnTo>
                    <a:pt x="117472" y="46765"/>
                  </a:lnTo>
                  <a:lnTo>
                    <a:pt x="115967" y="44771"/>
                  </a:lnTo>
                  <a:lnTo>
                    <a:pt x="114158" y="44268"/>
                  </a:lnTo>
                  <a:lnTo>
                    <a:pt x="110997" y="45753"/>
                  </a:lnTo>
                  <a:lnTo>
                    <a:pt x="109673" y="47486"/>
                  </a:lnTo>
                  <a:lnTo>
                    <a:pt x="109387" y="48543"/>
                  </a:lnTo>
                  <a:lnTo>
                    <a:pt x="109694" y="49503"/>
                  </a:lnTo>
                  <a:lnTo>
                    <a:pt x="109115" y="50143"/>
                  </a:lnTo>
                  <a:lnTo>
                    <a:pt x="107646" y="50463"/>
                  </a:lnTo>
                  <a:lnTo>
                    <a:pt x="106529" y="51640"/>
                  </a:lnTo>
                  <a:lnTo>
                    <a:pt x="105764" y="53672"/>
                  </a:lnTo>
                  <a:lnTo>
                    <a:pt x="105611" y="55241"/>
                  </a:lnTo>
                  <a:lnTo>
                    <a:pt x="106069" y="56346"/>
                  </a:lnTo>
                  <a:lnTo>
                    <a:pt x="105337" y="57160"/>
                  </a:lnTo>
                  <a:lnTo>
                    <a:pt x="103415" y="57682"/>
                  </a:lnTo>
                  <a:lnTo>
                    <a:pt x="101143" y="59435"/>
                  </a:lnTo>
                  <a:lnTo>
                    <a:pt x="98524" y="62414"/>
                  </a:lnTo>
                  <a:lnTo>
                    <a:pt x="95919" y="64494"/>
                  </a:lnTo>
                  <a:lnTo>
                    <a:pt x="93329" y="65674"/>
                  </a:lnTo>
                  <a:lnTo>
                    <a:pt x="92079" y="66985"/>
                  </a:lnTo>
                  <a:lnTo>
                    <a:pt x="92168" y="68426"/>
                  </a:lnTo>
                  <a:lnTo>
                    <a:pt x="92011" y="68876"/>
                  </a:lnTo>
                  <a:lnTo>
                    <a:pt x="91516" y="69047"/>
                  </a:lnTo>
                  <a:lnTo>
                    <a:pt x="90671" y="69244"/>
                  </a:lnTo>
                  <a:lnTo>
                    <a:pt x="85675" y="66111"/>
                  </a:lnTo>
                  <a:lnTo>
                    <a:pt x="84240" y="63928"/>
                  </a:lnTo>
                  <a:lnTo>
                    <a:pt x="83001" y="64262"/>
                  </a:lnTo>
                  <a:lnTo>
                    <a:pt x="81430" y="65364"/>
                  </a:lnTo>
                  <a:lnTo>
                    <a:pt x="79224" y="67822"/>
                  </a:lnTo>
                  <a:lnTo>
                    <a:pt x="76852" y="71166"/>
                  </a:lnTo>
                  <a:lnTo>
                    <a:pt x="75705" y="71538"/>
                  </a:lnTo>
                  <a:lnTo>
                    <a:pt x="69789" y="71042"/>
                  </a:lnTo>
                  <a:lnTo>
                    <a:pt x="66661" y="71336"/>
                  </a:lnTo>
                  <a:lnTo>
                    <a:pt x="66019" y="71784"/>
                  </a:lnTo>
                  <a:lnTo>
                    <a:pt x="65724" y="73008"/>
                  </a:lnTo>
                  <a:lnTo>
                    <a:pt x="65903" y="74647"/>
                  </a:lnTo>
                  <a:lnTo>
                    <a:pt x="66764" y="80534"/>
                  </a:lnTo>
                  <a:lnTo>
                    <a:pt x="67244" y="82955"/>
                  </a:lnTo>
                  <a:lnTo>
                    <a:pt x="66771" y="83704"/>
                  </a:lnTo>
                  <a:lnTo>
                    <a:pt x="65179" y="83822"/>
                  </a:lnTo>
                  <a:lnTo>
                    <a:pt x="63114" y="84165"/>
                  </a:lnTo>
                  <a:lnTo>
                    <a:pt x="61981" y="85272"/>
                  </a:lnTo>
                  <a:lnTo>
                    <a:pt x="61713" y="86412"/>
                  </a:lnTo>
                  <a:lnTo>
                    <a:pt x="61602" y="88008"/>
                  </a:lnTo>
                  <a:lnTo>
                    <a:pt x="60951" y="89653"/>
                  </a:lnTo>
                  <a:lnTo>
                    <a:pt x="59671" y="90837"/>
                  </a:lnTo>
                  <a:lnTo>
                    <a:pt x="58407" y="91258"/>
                  </a:lnTo>
                  <a:lnTo>
                    <a:pt x="51356" y="91573"/>
                  </a:lnTo>
                  <a:lnTo>
                    <a:pt x="51476" y="88854"/>
                  </a:lnTo>
                  <a:lnTo>
                    <a:pt x="49441" y="87752"/>
                  </a:lnTo>
                  <a:lnTo>
                    <a:pt x="48283" y="85483"/>
                  </a:lnTo>
                  <a:lnTo>
                    <a:pt x="47270" y="83949"/>
                  </a:lnTo>
                  <a:lnTo>
                    <a:pt x="47606" y="83028"/>
                  </a:lnTo>
                  <a:lnTo>
                    <a:pt x="47505" y="81935"/>
                  </a:lnTo>
                  <a:lnTo>
                    <a:pt x="44636" y="81092"/>
                  </a:lnTo>
                  <a:lnTo>
                    <a:pt x="41946" y="81751"/>
                  </a:lnTo>
                  <a:lnTo>
                    <a:pt x="40399" y="81323"/>
                  </a:lnTo>
                  <a:lnTo>
                    <a:pt x="39262" y="80742"/>
                  </a:lnTo>
                  <a:lnTo>
                    <a:pt x="41219" y="79395"/>
                  </a:lnTo>
                  <a:lnTo>
                    <a:pt x="41355" y="78576"/>
                  </a:lnTo>
                  <a:lnTo>
                    <a:pt x="40727" y="77984"/>
                  </a:lnTo>
                  <a:lnTo>
                    <a:pt x="40081" y="77588"/>
                  </a:lnTo>
                  <a:lnTo>
                    <a:pt x="40276" y="76066"/>
                  </a:lnTo>
                  <a:lnTo>
                    <a:pt x="40673" y="74268"/>
                  </a:lnTo>
                  <a:lnTo>
                    <a:pt x="41769" y="70064"/>
                  </a:lnTo>
                  <a:lnTo>
                    <a:pt x="41361" y="69331"/>
                  </a:lnTo>
                  <a:lnTo>
                    <a:pt x="39565" y="68068"/>
                  </a:lnTo>
                  <a:lnTo>
                    <a:pt x="37290" y="67938"/>
                  </a:lnTo>
                  <a:lnTo>
                    <a:pt x="34779" y="68335"/>
                  </a:lnTo>
                  <a:lnTo>
                    <a:pt x="33569" y="67689"/>
                  </a:lnTo>
                  <a:lnTo>
                    <a:pt x="32511" y="66242"/>
                  </a:lnTo>
                  <a:lnTo>
                    <a:pt x="30722" y="65550"/>
                  </a:lnTo>
                  <a:lnTo>
                    <a:pt x="27548" y="66705"/>
                  </a:lnTo>
                  <a:lnTo>
                    <a:pt x="24194" y="68444"/>
                  </a:lnTo>
                  <a:lnTo>
                    <a:pt x="23163" y="69076"/>
                  </a:lnTo>
                  <a:lnTo>
                    <a:pt x="22312" y="68991"/>
                  </a:lnTo>
                  <a:lnTo>
                    <a:pt x="21932" y="67690"/>
                  </a:lnTo>
                  <a:lnTo>
                    <a:pt x="21763" y="66149"/>
                  </a:lnTo>
                  <a:lnTo>
                    <a:pt x="21555" y="65767"/>
                  </a:lnTo>
                  <a:lnTo>
                    <a:pt x="19765" y="65220"/>
                  </a:lnTo>
                  <a:lnTo>
                    <a:pt x="17673" y="64822"/>
                  </a:lnTo>
                  <a:lnTo>
                    <a:pt x="16608" y="64395"/>
                  </a:lnTo>
                  <a:lnTo>
                    <a:pt x="15601" y="63356"/>
                  </a:lnTo>
                  <a:lnTo>
                    <a:pt x="13102" y="61998"/>
                  </a:lnTo>
                  <a:lnTo>
                    <a:pt x="12534" y="60992"/>
                  </a:lnTo>
                  <a:lnTo>
                    <a:pt x="9190" y="58688"/>
                  </a:lnTo>
                  <a:lnTo>
                    <a:pt x="8513" y="57544"/>
                  </a:lnTo>
                  <a:lnTo>
                    <a:pt x="7746" y="56712"/>
                  </a:lnTo>
                  <a:lnTo>
                    <a:pt x="6139" y="55650"/>
                  </a:lnTo>
                  <a:lnTo>
                    <a:pt x="4881" y="55905"/>
                  </a:lnTo>
                  <a:lnTo>
                    <a:pt x="644" y="54584"/>
                  </a:lnTo>
                  <a:lnTo>
                    <a:pt x="0" y="54464"/>
                  </a:lnTo>
                  <a:lnTo>
                    <a:pt x="589" y="53307"/>
                  </a:lnTo>
                  <a:lnTo>
                    <a:pt x="1924" y="51515"/>
                  </a:lnTo>
                  <a:lnTo>
                    <a:pt x="4839" y="49524"/>
                  </a:lnTo>
                  <a:lnTo>
                    <a:pt x="5081" y="47909"/>
                  </a:lnTo>
                  <a:lnTo>
                    <a:pt x="4320" y="44814"/>
                  </a:lnTo>
                  <a:lnTo>
                    <a:pt x="3556" y="42810"/>
                  </a:lnTo>
                  <a:lnTo>
                    <a:pt x="3969" y="41915"/>
                  </a:lnTo>
                  <a:lnTo>
                    <a:pt x="4876" y="38304"/>
                  </a:lnTo>
                  <a:lnTo>
                    <a:pt x="5579" y="37464"/>
                  </a:lnTo>
                  <a:lnTo>
                    <a:pt x="9793" y="35639"/>
                  </a:lnTo>
                  <a:lnTo>
                    <a:pt x="10184" y="35386"/>
                  </a:lnTo>
                  <a:lnTo>
                    <a:pt x="13507" y="32829"/>
                  </a:lnTo>
                  <a:lnTo>
                    <a:pt x="17195" y="29988"/>
                  </a:lnTo>
                  <a:lnTo>
                    <a:pt x="21029" y="26855"/>
                  </a:lnTo>
                  <a:lnTo>
                    <a:pt x="25307" y="23354"/>
                  </a:lnTo>
                  <a:lnTo>
                    <a:pt x="27668" y="21306"/>
                  </a:lnTo>
                  <a:lnTo>
                    <a:pt x="28762" y="20420"/>
                  </a:lnTo>
                  <a:lnTo>
                    <a:pt x="31227" y="21146"/>
                  </a:lnTo>
                  <a:lnTo>
                    <a:pt x="33167" y="19489"/>
                  </a:lnTo>
                  <a:lnTo>
                    <a:pt x="34287" y="18934"/>
                  </a:lnTo>
                  <a:lnTo>
                    <a:pt x="36909" y="16948"/>
                  </a:lnTo>
                  <a:lnTo>
                    <a:pt x="37722" y="16513"/>
                  </a:lnTo>
                  <a:lnTo>
                    <a:pt x="42111" y="15699"/>
                  </a:lnTo>
                  <a:lnTo>
                    <a:pt x="44233" y="15719"/>
                  </a:lnTo>
                  <a:lnTo>
                    <a:pt x="46089" y="17733"/>
                  </a:lnTo>
                  <a:lnTo>
                    <a:pt x="47562" y="18829"/>
                  </a:lnTo>
                  <a:lnTo>
                    <a:pt x="50335" y="17887"/>
                  </a:lnTo>
                  <a:lnTo>
                    <a:pt x="52659" y="17680"/>
                  </a:lnTo>
                  <a:lnTo>
                    <a:pt x="62260" y="19553"/>
                  </a:lnTo>
                  <a:lnTo>
                    <a:pt x="66068" y="18725"/>
                  </a:lnTo>
                  <a:lnTo>
                    <a:pt x="73073" y="18547"/>
                  </a:lnTo>
                  <a:lnTo>
                    <a:pt x="76220" y="19012"/>
                  </a:lnTo>
                  <a:lnTo>
                    <a:pt x="80670" y="16362"/>
                  </a:lnTo>
                  <a:lnTo>
                    <a:pt x="83526" y="15828"/>
                  </a:lnTo>
                  <a:lnTo>
                    <a:pt x="86880" y="14588"/>
                  </a:lnTo>
                  <a:lnTo>
                    <a:pt x="86433" y="13317"/>
                  </a:lnTo>
                  <a:close/>
                  <a:moveTo>
                    <a:pt x="76697" y="1947"/>
                  </a:moveTo>
                  <a:lnTo>
                    <a:pt x="78784" y="2232"/>
                  </a:lnTo>
                  <a:lnTo>
                    <a:pt x="74616" y="3530"/>
                  </a:lnTo>
                  <a:lnTo>
                    <a:pt x="70550" y="5565"/>
                  </a:lnTo>
                  <a:lnTo>
                    <a:pt x="69279" y="5525"/>
                  </a:lnTo>
                  <a:lnTo>
                    <a:pt x="71143" y="3954"/>
                  </a:lnTo>
                  <a:lnTo>
                    <a:pt x="74150" y="2606"/>
                  </a:lnTo>
                  <a:close/>
                  <a:moveTo>
                    <a:pt x="88352" y="0"/>
                  </a:moveTo>
                  <a:lnTo>
                    <a:pt x="89479" y="80"/>
                  </a:lnTo>
                  <a:lnTo>
                    <a:pt x="89208" y="683"/>
                  </a:lnTo>
                  <a:lnTo>
                    <a:pt x="88536" y="1366"/>
                  </a:lnTo>
                  <a:lnTo>
                    <a:pt x="86602" y="2874"/>
                  </a:lnTo>
                  <a:lnTo>
                    <a:pt x="86253" y="2195"/>
                  </a:lnTo>
                  <a:lnTo>
                    <a:pt x="87186" y="799"/>
                  </a:lnTo>
                  <a:close/>
                </a:path>
              </a:pathLst>
            </a:custGeom>
            <a:solidFill>
              <a:srgbClr val="007CBC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60" name="ee4p_HT_1_82333">
              <a:extLst>
                <a:ext uri="{FF2B5EF4-FFF2-40B4-BE49-F238E27FC236}">
                  <a16:creationId xmlns:a16="http://schemas.microsoft.com/office/drawing/2014/main" id="{061D4FFB-4D04-8897-6876-08155433F846}"/>
                </a:ext>
              </a:extLst>
            </p:cNvPr>
            <p:cNvSpPr>
              <a:spLocks noChangeAspect="1"/>
            </p:cNvSpPr>
            <p:nvPr>
              <p:custDataLst>
                <p:tags r:id="rId188"/>
              </p:custDataLst>
            </p:nvPr>
          </p:nvSpPr>
          <p:spPr>
            <a:xfrm>
              <a:off x="4446492" y="4094932"/>
              <a:ext cx="78665" cy="60748"/>
            </a:xfrm>
            <a:custGeom>
              <a:avLst/>
              <a:gdLst>
                <a:gd name="connsiteX0" fmla="*/ 33154 w 71829"/>
                <a:gd name="connsiteY0" fmla="*/ 29656 h 53999"/>
                <a:gd name="connsiteX1" fmla="*/ 35727 w 71829"/>
                <a:gd name="connsiteY1" fmla="*/ 30583 h 53999"/>
                <a:gd name="connsiteX2" fmla="*/ 39528 w 71829"/>
                <a:gd name="connsiteY2" fmla="*/ 32436 h 53999"/>
                <a:gd name="connsiteX3" fmla="*/ 42435 w 71829"/>
                <a:gd name="connsiteY3" fmla="*/ 34636 h 53999"/>
                <a:gd name="connsiteX4" fmla="*/ 41988 w 71829"/>
                <a:gd name="connsiteY4" fmla="*/ 36488 h 53999"/>
                <a:gd name="connsiteX5" fmla="*/ 35502 w 71829"/>
                <a:gd name="connsiteY5" fmla="*/ 34288 h 53999"/>
                <a:gd name="connsiteX6" fmla="*/ 30246 w 71829"/>
                <a:gd name="connsiteY6" fmla="*/ 31509 h 53999"/>
                <a:gd name="connsiteX7" fmla="*/ 30471 w 71829"/>
                <a:gd name="connsiteY7" fmla="*/ 30004 h 53999"/>
                <a:gd name="connsiteX8" fmla="*/ 40610 w 71829"/>
                <a:gd name="connsiteY8" fmla="*/ 4368 h 53999"/>
                <a:gd name="connsiteX9" fmla="*/ 46683 w 71829"/>
                <a:gd name="connsiteY9" fmla="*/ 5085 h 53999"/>
                <a:gd name="connsiteX10" fmla="*/ 51934 w 71829"/>
                <a:gd name="connsiteY10" fmla="*/ 7394 h 53999"/>
                <a:gd name="connsiteX11" fmla="*/ 57261 w 71829"/>
                <a:gd name="connsiteY11" fmla="*/ 9204 h 53999"/>
                <a:gd name="connsiteX12" fmla="*/ 63995 w 71829"/>
                <a:gd name="connsiteY12" fmla="*/ 9808 h 53999"/>
                <a:gd name="connsiteX13" fmla="*/ 67027 w 71829"/>
                <a:gd name="connsiteY13" fmla="*/ 10466 h 53999"/>
                <a:gd name="connsiteX14" fmla="*/ 68433 w 71829"/>
                <a:gd name="connsiteY14" fmla="*/ 9901 h 53999"/>
                <a:gd name="connsiteX15" fmla="*/ 68986 w 71829"/>
                <a:gd name="connsiteY15" fmla="*/ 10691 h 53999"/>
                <a:gd name="connsiteX16" fmla="*/ 70151 w 71829"/>
                <a:gd name="connsiteY16" fmla="*/ 16000 h 53999"/>
                <a:gd name="connsiteX17" fmla="*/ 70266 w 71829"/>
                <a:gd name="connsiteY17" fmla="*/ 17701 h 53999"/>
                <a:gd name="connsiteX18" fmla="*/ 69094 w 71829"/>
                <a:gd name="connsiteY18" fmla="*/ 20267 h 53999"/>
                <a:gd name="connsiteX19" fmla="*/ 69264 w 71829"/>
                <a:gd name="connsiteY19" fmla="*/ 21282 h 53999"/>
                <a:gd name="connsiteX20" fmla="*/ 71781 w 71829"/>
                <a:gd name="connsiteY20" fmla="*/ 23647 h 53999"/>
                <a:gd name="connsiteX21" fmla="*/ 71829 w 71829"/>
                <a:gd name="connsiteY21" fmla="*/ 24499 h 53999"/>
                <a:gd name="connsiteX22" fmla="*/ 71532 w 71829"/>
                <a:gd name="connsiteY22" fmla="*/ 25360 h 53999"/>
                <a:gd name="connsiteX23" fmla="*/ 69376 w 71829"/>
                <a:gd name="connsiteY23" fmla="*/ 27602 h 53999"/>
                <a:gd name="connsiteX24" fmla="*/ 67726 w 71829"/>
                <a:gd name="connsiteY24" fmla="*/ 29138 h 53999"/>
                <a:gd name="connsiteX25" fmla="*/ 68253 w 71829"/>
                <a:gd name="connsiteY25" fmla="*/ 30898 h 53999"/>
                <a:gd name="connsiteX26" fmla="*/ 69590 w 71829"/>
                <a:gd name="connsiteY26" fmla="*/ 32569 h 53999"/>
                <a:gd name="connsiteX27" fmla="*/ 69756 w 71829"/>
                <a:gd name="connsiteY27" fmla="*/ 33966 h 53999"/>
                <a:gd name="connsiteX28" fmla="*/ 69346 w 71829"/>
                <a:gd name="connsiteY28" fmla="*/ 35812 h 53999"/>
                <a:gd name="connsiteX29" fmla="*/ 67293 w 71829"/>
                <a:gd name="connsiteY29" fmla="*/ 38106 h 53999"/>
                <a:gd name="connsiteX30" fmla="*/ 66221 w 71829"/>
                <a:gd name="connsiteY30" fmla="*/ 38928 h 53999"/>
                <a:gd name="connsiteX31" fmla="*/ 63169 w 71829"/>
                <a:gd name="connsiteY31" fmla="*/ 39029 h 53999"/>
                <a:gd name="connsiteX32" fmla="*/ 62825 w 71829"/>
                <a:gd name="connsiteY32" fmla="*/ 39354 h 53999"/>
                <a:gd name="connsiteX33" fmla="*/ 64347 w 71829"/>
                <a:gd name="connsiteY33" fmla="*/ 41592 h 53999"/>
                <a:gd name="connsiteX34" fmla="*/ 66067 w 71829"/>
                <a:gd name="connsiteY34" fmla="*/ 44120 h 53999"/>
                <a:gd name="connsiteX35" fmla="*/ 68873 w 71829"/>
                <a:gd name="connsiteY35" fmla="*/ 46083 h 53999"/>
                <a:gd name="connsiteX36" fmla="*/ 69498 w 71829"/>
                <a:gd name="connsiteY36" fmla="*/ 47931 h 53999"/>
                <a:gd name="connsiteX37" fmla="*/ 68826 w 71829"/>
                <a:gd name="connsiteY37" fmla="*/ 49683 h 53999"/>
                <a:gd name="connsiteX38" fmla="*/ 68710 w 71829"/>
                <a:gd name="connsiteY38" fmla="*/ 53999 h 53999"/>
                <a:gd name="connsiteX39" fmla="*/ 66565 w 71829"/>
                <a:gd name="connsiteY39" fmla="*/ 51904 h 53999"/>
                <a:gd name="connsiteX40" fmla="*/ 64202 w 71829"/>
                <a:gd name="connsiteY40" fmla="*/ 50151 h 53999"/>
                <a:gd name="connsiteX41" fmla="*/ 62784 w 71829"/>
                <a:gd name="connsiteY41" fmla="*/ 49472 h 53999"/>
                <a:gd name="connsiteX42" fmla="*/ 61317 w 71829"/>
                <a:gd name="connsiteY42" fmla="*/ 49037 h 53999"/>
                <a:gd name="connsiteX43" fmla="*/ 50067 w 71829"/>
                <a:gd name="connsiteY43" fmla="*/ 49264 h 53999"/>
                <a:gd name="connsiteX44" fmla="*/ 48808 w 71829"/>
                <a:gd name="connsiteY44" fmla="*/ 49566 h 53999"/>
                <a:gd name="connsiteX45" fmla="*/ 47827 w 71829"/>
                <a:gd name="connsiteY45" fmla="*/ 50129 h 53999"/>
                <a:gd name="connsiteX46" fmla="*/ 46777 w 71829"/>
                <a:gd name="connsiteY46" fmla="*/ 50409 h 53999"/>
                <a:gd name="connsiteX47" fmla="*/ 43684 w 71829"/>
                <a:gd name="connsiteY47" fmla="*/ 50935 h 53999"/>
                <a:gd name="connsiteX48" fmla="*/ 40606 w 71829"/>
                <a:gd name="connsiteY48" fmla="*/ 51050 h 53999"/>
                <a:gd name="connsiteX49" fmla="*/ 33421 w 71829"/>
                <a:gd name="connsiteY49" fmla="*/ 49639 h 53999"/>
                <a:gd name="connsiteX50" fmla="*/ 30576 w 71829"/>
                <a:gd name="connsiteY50" fmla="*/ 48908 h 53999"/>
                <a:gd name="connsiteX51" fmla="*/ 27713 w 71829"/>
                <a:gd name="connsiteY51" fmla="*/ 48445 h 53999"/>
                <a:gd name="connsiteX52" fmla="*/ 24425 w 71829"/>
                <a:gd name="connsiteY52" fmla="*/ 48598 h 53999"/>
                <a:gd name="connsiteX53" fmla="*/ 21149 w 71829"/>
                <a:gd name="connsiteY53" fmla="*/ 49025 h 53999"/>
                <a:gd name="connsiteX54" fmla="*/ 18530 w 71829"/>
                <a:gd name="connsiteY54" fmla="*/ 50042 h 53999"/>
                <a:gd name="connsiteX55" fmla="*/ 16568 w 71829"/>
                <a:gd name="connsiteY55" fmla="*/ 51835 h 53999"/>
                <a:gd name="connsiteX56" fmla="*/ 16201 w 71829"/>
                <a:gd name="connsiteY56" fmla="*/ 53500 h 53999"/>
                <a:gd name="connsiteX57" fmla="*/ 15041 w 71829"/>
                <a:gd name="connsiteY57" fmla="*/ 53927 h 53999"/>
                <a:gd name="connsiteX58" fmla="*/ 12390 w 71829"/>
                <a:gd name="connsiteY58" fmla="*/ 51274 h 53999"/>
                <a:gd name="connsiteX59" fmla="*/ 9957 w 71829"/>
                <a:gd name="connsiteY59" fmla="*/ 49389 h 53999"/>
                <a:gd name="connsiteX60" fmla="*/ 7188 w 71829"/>
                <a:gd name="connsiteY60" fmla="*/ 47973 h 53999"/>
                <a:gd name="connsiteX61" fmla="*/ 1498 w 71829"/>
                <a:gd name="connsiteY61" fmla="*/ 45955 h 53999"/>
                <a:gd name="connsiteX62" fmla="*/ 460 w 71829"/>
                <a:gd name="connsiteY62" fmla="*/ 44727 h 53999"/>
                <a:gd name="connsiteX63" fmla="*/ 0 w 71829"/>
                <a:gd name="connsiteY63" fmla="*/ 43234 h 53999"/>
                <a:gd name="connsiteX64" fmla="*/ 2297 w 71829"/>
                <a:gd name="connsiteY64" fmla="*/ 38651 h 53999"/>
                <a:gd name="connsiteX65" fmla="*/ 4910 w 71829"/>
                <a:gd name="connsiteY65" fmla="*/ 37812 h 53999"/>
                <a:gd name="connsiteX66" fmla="*/ 6348 w 71829"/>
                <a:gd name="connsiteY66" fmla="*/ 37655 h 53999"/>
                <a:gd name="connsiteX67" fmla="*/ 9579 w 71829"/>
                <a:gd name="connsiteY67" fmla="*/ 38220 h 53999"/>
                <a:gd name="connsiteX68" fmla="*/ 12732 w 71829"/>
                <a:gd name="connsiteY68" fmla="*/ 39263 h 53999"/>
                <a:gd name="connsiteX69" fmla="*/ 15609 w 71829"/>
                <a:gd name="connsiteY69" fmla="*/ 39944 h 53999"/>
                <a:gd name="connsiteX70" fmla="*/ 20060 w 71829"/>
                <a:gd name="connsiteY70" fmla="*/ 40209 h 53999"/>
                <a:gd name="connsiteX71" fmla="*/ 22478 w 71829"/>
                <a:gd name="connsiteY71" fmla="*/ 41336 h 53999"/>
                <a:gd name="connsiteX72" fmla="*/ 39577 w 71829"/>
                <a:gd name="connsiteY72" fmla="*/ 43085 h 53999"/>
                <a:gd name="connsiteX73" fmla="*/ 42821 w 71829"/>
                <a:gd name="connsiteY73" fmla="*/ 43632 h 53999"/>
                <a:gd name="connsiteX74" fmla="*/ 44086 w 71829"/>
                <a:gd name="connsiteY74" fmla="*/ 43440 h 53999"/>
                <a:gd name="connsiteX75" fmla="*/ 45188 w 71829"/>
                <a:gd name="connsiteY75" fmla="*/ 42755 h 53999"/>
                <a:gd name="connsiteX76" fmla="*/ 46106 w 71829"/>
                <a:gd name="connsiteY76" fmla="*/ 41520 h 53999"/>
                <a:gd name="connsiteX77" fmla="*/ 47163 w 71829"/>
                <a:gd name="connsiteY77" fmla="*/ 40590 h 53999"/>
                <a:gd name="connsiteX78" fmla="*/ 52234 w 71829"/>
                <a:gd name="connsiteY78" fmla="*/ 40383 h 53999"/>
                <a:gd name="connsiteX79" fmla="*/ 53299 w 71829"/>
                <a:gd name="connsiteY79" fmla="*/ 39969 h 53999"/>
                <a:gd name="connsiteX80" fmla="*/ 54044 w 71829"/>
                <a:gd name="connsiteY80" fmla="*/ 38677 h 53999"/>
                <a:gd name="connsiteX81" fmla="*/ 54021 w 71829"/>
                <a:gd name="connsiteY81" fmla="*/ 37333 h 53999"/>
                <a:gd name="connsiteX82" fmla="*/ 51039 w 71829"/>
                <a:gd name="connsiteY82" fmla="*/ 35532 h 53999"/>
                <a:gd name="connsiteX83" fmla="*/ 46377 w 71829"/>
                <a:gd name="connsiteY83" fmla="*/ 31578 h 53999"/>
                <a:gd name="connsiteX84" fmla="*/ 42269 w 71829"/>
                <a:gd name="connsiteY84" fmla="*/ 26916 h 53999"/>
                <a:gd name="connsiteX85" fmla="*/ 44041 w 71829"/>
                <a:gd name="connsiteY85" fmla="*/ 25345 h 53999"/>
                <a:gd name="connsiteX86" fmla="*/ 43363 w 71829"/>
                <a:gd name="connsiteY86" fmla="*/ 22471 h 53999"/>
                <a:gd name="connsiteX87" fmla="*/ 44026 w 71829"/>
                <a:gd name="connsiteY87" fmla="*/ 19810 h 53999"/>
                <a:gd name="connsiteX88" fmla="*/ 45004 w 71829"/>
                <a:gd name="connsiteY88" fmla="*/ 17199 h 53999"/>
                <a:gd name="connsiteX89" fmla="*/ 40942 w 71829"/>
                <a:gd name="connsiteY89" fmla="*/ 14960 h 53999"/>
                <a:gd name="connsiteX90" fmla="*/ 36142 w 71829"/>
                <a:gd name="connsiteY90" fmla="*/ 12731 h 53999"/>
                <a:gd name="connsiteX91" fmla="*/ 29479 w 71829"/>
                <a:gd name="connsiteY91" fmla="*/ 12032 h 53999"/>
                <a:gd name="connsiteX92" fmla="*/ 27430 w 71829"/>
                <a:gd name="connsiteY92" fmla="*/ 11467 h 53999"/>
                <a:gd name="connsiteX93" fmla="*/ 26363 w 71829"/>
                <a:gd name="connsiteY93" fmla="*/ 9797 h 53999"/>
                <a:gd name="connsiteX94" fmla="*/ 27323 w 71829"/>
                <a:gd name="connsiteY94" fmla="*/ 7549 h 53999"/>
                <a:gd name="connsiteX95" fmla="*/ 29483 w 71829"/>
                <a:gd name="connsiteY95" fmla="*/ 6306 h 53999"/>
                <a:gd name="connsiteX96" fmla="*/ 31958 w 71829"/>
                <a:gd name="connsiteY96" fmla="*/ 5538 h 53999"/>
                <a:gd name="connsiteX97" fmla="*/ 34493 w 71829"/>
                <a:gd name="connsiteY97" fmla="*/ 5008 h 53999"/>
                <a:gd name="connsiteX98" fmla="*/ 41245 w 71829"/>
                <a:gd name="connsiteY98" fmla="*/ 0 h 53999"/>
                <a:gd name="connsiteX99" fmla="*/ 42779 w 71829"/>
                <a:gd name="connsiteY99" fmla="*/ 46 h 53999"/>
                <a:gd name="connsiteX100" fmla="*/ 45997 w 71829"/>
                <a:gd name="connsiteY100" fmla="*/ 1481 h 53999"/>
                <a:gd name="connsiteX101" fmla="*/ 47026 w 71829"/>
                <a:gd name="connsiteY101" fmla="*/ 2097 h 53999"/>
                <a:gd name="connsiteX102" fmla="*/ 46636 w 71829"/>
                <a:gd name="connsiteY102" fmla="*/ 2844 h 53999"/>
                <a:gd name="connsiteX103" fmla="*/ 44078 w 71829"/>
                <a:gd name="connsiteY103" fmla="*/ 2380 h 53999"/>
                <a:gd name="connsiteX104" fmla="*/ 41429 w 71829"/>
                <a:gd name="connsiteY104" fmla="*/ 1535 h 53999"/>
                <a:gd name="connsiteX105" fmla="*/ 40562 w 71829"/>
                <a:gd name="connsiteY105" fmla="*/ 1746 h 53999"/>
                <a:gd name="connsiteX106" fmla="*/ 40032 w 71829"/>
                <a:gd name="connsiteY106" fmla="*/ 1641 h 53999"/>
                <a:gd name="connsiteX107" fmla="*/ 38485 w 71829"/>
                <a:gd name="connsiteY107" fmla="*/ 828 h 53999"/>
                <a:gd name="connsiteX108" fmla="*/ 39844 w 71829"/>
                <a:gd name="connsiteY108" fmla="*/ 206 h 53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</a:cxnLst>
              <a:rect l="l" t="t" r="r" b="b"/>
              <a:pathLst>
                <a:path w="71829" h="53999">
                  <a:moveTo>
                    <a:pt x="33154" y="29656"/>
                  </a:moveTo>
                  <a:lnTo>
                    <a:pt x="35727" y="30583"/>
                  </a:lnTo>
                  <a:lnTo>
                    <a:pt x="39528" y="32436"/>
                  </a:lnTo>
                  <a:lnTo>
                    <a:pt x="42435" y="34636"/>
                  </a:lnTo>
                  <a:lnTo>
                    <a:pt x="41988" y="36488"/>
                  </a:lnTo>
                  <a:lnTo>
                    <a:pt x="35502" y="34288"/>
                  </a:lnTo>
                  <a:lnTo>
                    <a:pt x="30246" y="31509"/>
                  </a:lnTo>
                  <a:lnTo>
                    <a:pt x="30471" y="30004"/>
                  </a:lnTo>
                  <a:close/>
                  <a:moveTo>
                    <a:pt x="40610" y="4368"/>
                  </a:moveTo>
                  <a:lnTo>
                    <a:pt x="46683" y="5085"/>
                  </a:lnTo>
                  <a:lnTo>
                    <a:pt x="51934" y="7394"/>
                  </a:lnTo>
                  <a:lnTo>
                    <a:pt x="57261" y="9204"/>
                  </a:lnTo>
                  <a:lnTo>
                    <a:pt x="63995" y="9808"/>
                  </a:lnTo>
                  <a:lnTo>
                    <a:pt x="67027" y="10466"/>
                  </a:lnTo>
                  <a:lnTo>
                    <a:pt x="68433" y="9901"/>
                  </a:lnTo>
                  <a:lnTo>
                    <a:pt x="68986" y="10691"/>
                  </a:lnTo>
                  <a:lnTo>
                    <a:pt x="70151" y="16000"/>
                  </a:lnTo>
                  <a:lnTo>
                    <a:pt x="70266" y="17701"/>
                  </a:lnTo>
                  <a:lnTo>
                    <a:pt x="69094" y="20267"/>
                  </a:lnTo>
                  <a:lnTo>
                    <a:pt x="69264" y="21282"/>
                  </a:lnTo>
                  <a:lnTo>
                    <a:pt x="71781" y="23647"/>
                  </a:lnTo>
                  <a:lnTo>
                    <a:pt x="71829" y="24499"/>
                  </a:lnTo>
                  <a:lnTo>
                    <a:pt x="71532" y="25360"/>
                  </a:lnTo>
                  <a:lnTo>
                    <a:pt x="69376" y="27602"/>
                  </a:lnTo>
                  <a:lnTo>
                    <a:pt x="67726" y="29138"/>
                  </a:lnTo>
                  <a:lnTo>
                    <a:pt x="68253" y="30898"/>
                  </a:lnTo>
                  <a:lnTo>
                    <a:pt x="69590" y="32569"/>
                  </a:lnTo>
                  <a:lnTo>
                    <a:pt x="69756" y="33966"/>
                  </a:lnTo>
                  <a:lnTo>
                    <a:pt x="69346" y="35812"/>
                  </a:lnTo>
                  <a:lnTo>
                    <a:pt x="67293" y="38106"/>
                  </a:lnTo>
                  <a:lnTo>
                    <a:pt x="66221" y="38928"/>
                  </a:lnTo>
                  <a:lnTo>
                    <a:pt x="63169" y="39029"/>
                  </a:lnTo>
                  <a:lnTo>
                    <a:pt x="62825" y="39354"/>
                  </a:lnTo>
                  <a:lnTo>
                    <a:pt x="64347" y="41592"/>
                  </a:lnTo>
                  <a:lnTo>
                    <a:pt x="66067" y="44120"/>
                  </a:lnTo>
                  <a:lnTo>
                    <a:pt x="68873" y="46083"/>
                  </a:lnTo>
                  <a:lnTo>
                    <a:pt x="69498" y="47931"/>
                  </a:lnTo>
                  <a:lnTo>
                    <a:pt x="68826" y="49683"/>
                  </a:lnTo>
                  <a:lnTo>
                    <a:pt x="68710" y="53999"/>
                  </a:lnTo>
                  <a:lnTo>
                    <a:pt x="66565" y="51904"/>
                  </a:lnTo>
                  <a:lnTo>
                    <a:pt x="64202" y="50151"/>
                  </a:lnTo>
                  <a:lnTo>
                    <a:pt x="62784" y="49472"/>
                  </a:lnTo>
                  <a:lnTo>
                    <a:pt x="61317" y="49037"/>
                  </a:lnTo>
                  <a:lnTo>
                    <a:pt x="50067" y="49264"/>
                  </a:lnTo>
                  <a:lnTo>
                    <a:pt x="48808" y="49566"/>
                  </a:lnTo>
                  <a:lnTo>
                    <a:pt x="47827" y="50129"/>
                  </a:lnTo>
                  <a:lnTo>
                    <a:pt x="46777" y="50409"/>
                  </a:lnTo>
                  <a:lnTo>
                    <a:pt x="43684" y="50935"/>
                  </a:lnTo>
                  <a:lnTo>
                    <a:pt x="40606" y="51050"/>
                  </a:lnTo>
                  <a:lnTo>
                    <a:pt x="33421" y="49639"/>
                  </a:lnTo>
                  <a:lnTo>
                    <a:pt x="30576" y="48908"/>
                  </a:lnTo>
                  <a:lnTo>
                    <a:pt x="27713" y="48445"/>
                  </a:lnTo>
                  <a:lnTo>
                    <a:pt x="24425" y="48598"/>
                  </a:lnTo>
                  <a:lnTo>
                    <a:pt x="21149" y="49025"/>
                  </a:lnTo>
                  <a:lnTo>
                    <a:pt x="18530" y="50042"/>
                  </a:lnTo>
                  <a:lnTo>
                    <a:pt x="16568" y="51835"/>
                  </a:lnTo>
                  <a:lnTo>
                    <a:pt x="16201" y="53500"/>
                  </a:lnTo>
                  <a:lnTo>
                    <a:pt x="15041" y="53927"/>
                  </a:lnTo>
                  <a:lnTo>
                    <a:pt x="12390" y="51274"/>
                  </a:lnTo>
                  <a:lnTo>
                    <a:pt x="9957" y="49389"/>
                  </a:lnTo>
                  <a:lnTo>
                    <a:pt x="7188" y="47973"/>
                  </a:lnTo>
                  <a:lnTo>
                    <a:pt x="1498" y="45955"/>
                  </a:lnTo>
                  <a:lnTo>
                    <a:pt x="460" y="44727"/>
                  </a:lnTo>
                  <a:lnTo>
                    <a:pt x="0" y="43234"/>
                  </a:lnTo>
                  <a:lnTo>
                    <a:pt x="2297" y="38651"/>
                  </a:lnTo>
                  <a:lnTo>
                    <a:pt x="4910" y="37812"/>
                  </a:lnTo>
                  <a:lnTo>
                    <a:pt x="6348" y="37655"/>
                  </a:lnTo>
                  <a:lnTo>
                    <a:pt x="9579" y="38220"/>
                  </a:lnTo>
                  <a:lnTo>
                    <a:pt x="12732" y="39263"/>
                  </a:lnTo>
                  <a:lnTo>
                    <a:pt x="15609" y="39944"/>
                  </a:lnTo>
                  <a:lnTo>
                    <a:pt x="20060" y="40209"/>
                  </a:lnTo>
                  <a:lnTo>
                    <a:pt x="22478" y="41336"/>
                  </a:lnTo>
                  <a:lnTo>
                    <a:pt x="39577" y="43085"/>
                  </a:lnTo>
                  <a:lnTo>
                    <a:pt x="42821" y="43632"/>
                  </a:lnTo>
                  <a:lnTo>
                    <a:pt x="44086" y="43440"/>
                  </a:lnTo>
                  <a:lnTo>
                    <a:pt x="45188" y="42755"/>
                  </a:lnTo>
                  <a:lnTo>
                    <a:pt x="46106" y="41520"/>
                  </a:lnTo>
                  <a:lnTo>
                    <a:pt x="47163" y="40590"/>
                  </a:lnTo>
                  <a:lnTo>
                    <a:pt x="52234" y="40383"/>
                  </a:lnTo>
                  <a:lnTo>
                    <a:pt x="53299" y="39969"/>
                  </a:lnTo>
                  <a:lnTo>
                    <a:pt x="54044" y="38677"/>
                  </a:lnTo>
                  <a:lnTo>
                    <a:pt x="54021" y="37333"/>
                  </a:lnTo>
                  <a:lnTo>
                    <a:pt x="51039" y="35532"/>
                  </a:lnTo>
                  <a:lnTo>
                    <a:pt x="46377" y="31578"/>
                  </a:lnTo>
                  <a:lnTo>
                    <a:pt x="42269" y="26916"/>
                  </a:lnTo>
                  <a:lnTo>
                    <a:pt x="44041" y="25345"/>
                  </a:lnTo>
                  <a:lnTo>
                    <a:pt x="43363" y="22471"/>
                  </a:lnTo>
                  <a:lnTo>
                    <a:pt x="44026" y="19810"/>
                  </a:lnTo>
                  <a:lnTo>
                    <a:pt x="45004" y="17199"/>
                  </a:lnTo>
                  <a:lnTo>
                    <a:pt x="40942" y="14960"/>
                  </a:lnTo>
                  <a:lnTo>
                    <a:pt x="36142" y="12731"/>
                  </a:lnTo>
                  <a:lnTo>
                    <a:pt x="29479" y="12032"/>
                  </a:lnTo>
                  <a:lnTo>
                    <a:pt x="27430" y="11467"/>
                  </a:lnTo>
                  <a:lnTo>
                    <a:pt x="26363" y="9797"/>
                  </a:lnTo>
                  <a:lnTo>
                    <a:pt x="27323" y="7549"/>
                  </a:lnTo>
                  <a:lnTo>
                    <a:pt x="29483" y="6306"/>
                  </a:lnTo>
                  <a:lnTo>
                    <a:pt x="31958" y="5538"/>
                  </a:lnTo>
                  <a:lnTo>
                    <a:pt x="34493" y="5008"/>
                  </a:lnTo>
                  <a:close/>
                  <a:moveTo>
                    <a:pt x="41245" y="0"/>
                  </a:moveTo>
                  <a:lnTo>
                    <a:pt x="42779" y="46"/>
                  </a:lnTo>
                  <a:lnTo>
                    <a:pt x="45997" y="1481"/>
                  </a:lnTo>
                  <a:lnTo>
                    <a:pt x="47026" y="2097"/>
                  </a:lnTo>
                  <a:lnTo>
                    <a:pt x="46636" y="2844"/>
                  </a:lnTo>
                  <a:lnTo>
                    <a:pt x="44078" y="2380"/>
                  </a:lnTo>
                  <a:lnTo>
                    <a:pt x="41429" y="1535"/>
                  </a:lnTo>
                  <a:lnTo>
                    <a:pt x="40562" y="1746"/>
                  </a:lnTo>
                  <a:lnTo>
                    <a:pt x="40032" y="1641"/>
                  </a:lnTo>
                  <a:lnTo>
                    <a:pt x="38485" y="828"/>
                  </a:lnTo>
                  <a:lnTo>
                    <a:pt x="39844" y="206"/>
                  </a:lnTo>
                  <a:close/>
                </a:path>
              </a:pathLst>
            </a:custGeom>
            <a:solidFill>
              <a:srgbClr val="007CBC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61" name="ee4p_JM_1_82333">
              <a:extLst>
                <a:ext uri="{FF2B5EF4-FFF2-40B4-BE49-F238E27FC236}">
                  <a16:creationId xmlns:a16="http://schemas.microsoft.com/office/drawing/2014/main" id="{8D68E834-B600-1BAC-8A1F-6BECB7F76002}"/>
                </a:ext>
              </a:extLst>
            </p:cNvPr>
            <p:cNvSpPr>
              <a:spLocks noChangeAspect="1"/>
            </p:cNvSpPr>
            <p:nvPr>
              <p:custDataLst>
                <p:tags r:id="rId189"/>
              </p:custDataLst>
            </p:nvPr>
          </p:nvSpPr>
          <p:spPr>
            <a:xfrm>
              <a:off x="4339264" y="4141439"/>
              <a:ext cx="59115" cy="23786"/>
            </a:xfrm>
            <a:custGeom>
              <a:avLst/>
              <a:gdLst/>
              <a:ahLst/>
              <a:cxnLst/>
              <a:rect l="0" t="0" r="0" b="0"/>
              <a:pathLst>
                <a:path w="47072" h="18438">
                  <a:moveTo>
                    <a:pt x="23838" y="1481"/>
                  </a:moveTo>
                  <a:lnTo>
                    <a:pt x="26534" y="2303"/>
                  </a:lnTo>
                  <a:lnTo>
                    <a:pt x="29315" y="2727"/>
                  </a:lnTo>
                  <a:lnTo>
                    <a:pt x="30518" y="2752"/>
                  </a:lnTo>
                  <a:lnTo>
                    <a:pt x="31649" y="3013"/>
                  </a:lnTo>
                  <a:lnTo>
                    <a:pt x="34191" y="4982"/>
                  </a:lnTo>
                  <a:lnTo>
                    <a:pt x="36237" y="6059"/>
                  </a:lnTo>
                  <a:lnTo>
                    <a:pt x="43996" y="8465"/>
                  </a:lnTo>
                  <a:lnTo>
                    <a:pt x="46585" y="12611"/>
                  </a:lnTo>
                  <a:lnTo>
                    <a:pt x="47071" y="13907"/>
                  </a:lnTo>
                  <a:lnTo>
                    <a:pt x="45065" y="14676"/>
                  </a:lnTo>
                  <a:lnTo>
                    <a:pt x="42543" y="14941"/>
                  </a:lnTo>
                  <a:lnTo>
                    <a:pt x="40131" y="14986"/>
                  </a:lnTo>
                  <a:lnTo>
                    <a:pt x="37903" y="14193"/>
                  </a:lnTo>
                  <a:lnTo>
                    <a:pt x="36930" y="13585"/>
                  </a:lnTo>
                  <a:lnTo>
                    <a:pt x="34610" y="13293"/>
                  </a:lnTo>
                  <a:lnTo>
                    <a:pt x="35185" y="12734"/>
                  </a:lnTo>
                  <a:lnTo>
                    <a:pt x="34156" y="12473"/>
                  </a:lnTo>
                  <a:lnTo>
                    <a:pt x="32865" y="12532"/>
                  </a:lnTo>
                  <a:lnTo>
                    <a:pt x="31914" y="14122"/>
                  </a:lnTo>
                  <a:lnTo>
                    <a:pt x="30855" y="15384"/>
                  </a:lnTo>
                  <a:lnTo>
                    <a:pt x="28825" y="15263"/>
                  </a:lnTo>
                  <a:lnTo>
                    <a:pt x="28043" y="14186"/>
                  </a:lnTo>
                  <a:lnTo>
                    <a:pt x="26977" y="14670"/>
                  </a:lnTo>
                  <a:lnTo>
                    <a:pt x="26117" y="15469"/>
                  </a:lnTo>
                  <a:lnTo>
                    <a:pt x="25087" y="18437"/>
                  </a:lnTo>
                  <a:lnTo>
                    <a:pt x="23431" y="16964"/>
                  </a:lnTo>
                  <a:lnTo>
                    <a:pt x="21628" y="15728"/>
                  </a:lnTo>
                  <a:lnTo>
                    <a:pt x="19362" y="15218"/>
                  </a:lnTo>
                  <a:lnTo>
                    <a:pt x="14788" y="15134"/>
                  </a:lnTo>
                  <a:lnTo>
                    <a:pt x="12634" y="14731"/>
                  </a:lnTo>
                  <a:lnTo>
                    <a:pt x="10837" y="12218"/>
                  </a:lnTo>
                  <a:lnTo>
                    <a:pt x="10132" y="11498"/>
                  </a:lnTo>
                  <a:lnTo>
                    <a:pt x="8326" y="10847"/>
                  </a:lnTo>
                  <a:lnTo>
                    <a:pt x="6524" y="7963"/>
                  </a:lnTo>
                  <a:lnTo>
                    <a:pt x="5879" y="7567"/>
                  </a:lnTo>
                  <a:lnTo>
                    <a:pt x="1004" y="6952"/>
                  </a:lnTo>
                  <a:lnTo>
                    <a:pt x="0" y="5373"/>
                  </a:lnTo>
                  <a:lnTo>
                    <a:pt x="299" y="3943"/>
                  </a:lnTo>
                  <a:lnTo>
                    <a:pt x="1925" y="2194"/>
                  </a:lnTo>
                  <a:lnTo>
                    <a:pt x="2716" y="1695"/>
                  </a:lnTo>
                  <a:lnTo>
                    <a:pt x="5417" y="1769"/>
                  </a:lnTo>
                  <a:lnTo>
                    <a:pt x="7990" y="1243"/>
                  </a:lnTo>
                  <a:lnTo>
                    <a:pt x="9125" y="492"/>
                  </a:lnTo>
                  <a:lnTo>
                    <a:pt x="10306" y="0"/>
                  </a:lnTo>
                  <a:lnTo>
                    <a:pt x="19633" y="1262"/>
                  </a:lnTo>
                  <a:lnTo>
                    <a:pt x="21786" y="1275"/>
                  </a:lnTo>
                  <a:close/>
                </a:path>
              </a:pathLst>
            </a:custGeom>
            <a:solidFill>
              <a:srgbClr val="007CBC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62" name="ee4p_KN_1_82333">
              <a:extLst>
                <a:ext uri="{FF2B5EF4-FFF2-40B4-BE49-F238E27FC236}">
                  <a16:creationId xmlns:a16="http://schemas.microsoft.com/office/drawing/2014/main" id="{F6588845-7538-0619-4439-A6A8AED36E15}"/>
                </a:ext>
              </a:extLst>
            </p:cNvPr>
            <p:cNvSpPr>
              <a:spLocks noChangeAspect="1"/>
            </p:cNvSpPr>
            <p:nvPr>
              <p:custDataLst>
                <p:tags r:id="rId190"/>
              </p:custDataLst>
            </p:nvPr>
          </p:nvSpPr>
          <p:spPr>
            <a:xfrm>
              <a:off x="4769661" y="4174409"/>
              <a:ext cx="8561" cy="8872"/>
            </a:xfrm>
            <a:custGeom>
              <a:avLst/>
              <a:gdLst>
                <a:gd name="connsiteX0" fmla="*/ 6739 w 7817"/>
                <a:gd name="connsiteY0" fmla="*/ 5264 h 7886"/>
                <a:gd name="connsiteX1" fmla="*/ 7767 w 7817"/>
                <a:gd name="connsiteY1" fmla="*/ 6072 h 7886"/>
                <a:gd name="connsiteX2" fmla="*/ 7817 w 7817"/>
                <a:gd name="connsiteY2" fmla="*/ 7331 h 7886"/>
                <a:gd name="connsiteX3" fmla="*/ 6544 w 7817"/>
                <a:gd name="connsiteY3" fmla="*/ 7886 h 7886"/>
                <a:gd name="connsiteX4" fmla="*/ 5466 w 7817"/>
                <a:gd name="connsiteY4" fmla="*/ 7129 h 7886"/>
                <a:gd name="connsiteX5" fmla="*/ 5711 w 7817"/>
                <a:gd name="connsiteY5" fmla="*/ 5313 h 7886"/>
                <a:gd name="connsiteX6" fmla="*/ 1163 w 7817"/>
                <a:gd name="connsiteY6" fmla="*/ 0 h 7886"/>
                <a:gd name="connsiteX7" fmla="*/ 3215 w 7817"/>
                <a:gd name="connsiteY7" fmla="*/ 1288 h 7886"/>
                <a:gd name="connsiteX8" fmla="*/ 4177 w 7817"/>
                <a:gd name="connsiteY8" fmla="*/ 2917 h 7886"/>
                <a:gd name="connsiteX9" fmla="*/ 5071 w 7817"/>
                <a:gd name="connsiteY9" fmla="*/ 3664 h 7886"/>
                <a:gd name="connsiteX10" fmla="*/ 5321 w 7817"/>
                <a:gd name="connsiteY10" fmla="*/ 4247 h 7886"/>
                <a:gd name="connsiteX11" fmla="*/ 4666 w 7817"/>
                <a:gd name="connsiteY11" fmla="*/ 4654 h 7886"/>
                <a:gd name="connsiteX12" fmla="*/ 3512 w 7817"/>
                <a:gd name="connsiteY12" fmla="*/ 3045 h 7886"/>
                <a:gd name="connsiteX13" fmla="*/ 1647 w 7817"/>
                <a:gd name="connsiteY13" fmla="*/ 2606 h 7886"/>
                <a:gd name="connsiteX14" fmla="*/ 40 w 7817"/>
                <a:gd name="connsiteY14" fmla="*/ 1654 h 7886"/>
                <a:gd name="connsiteX15" fmla="*/ 0 w 7817"/>
                <a:gd name="connsiteY15" fmla="*/ 1450 h 7886"/>
                <a:gd name="connsiteX16" fmla="*/ 28 w 7817"/>
                <a:gd name="connsiteY16" fmla="*/ 973 h 7886"/>
                <a:gd name="connsiteX17" fmla="*/ 341 w 7817"/>
                <a:gd name="connsiteY17" fmla="*/ 422 h 78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7817" h="7886">
                  <a:moveTo>
                    <a:pt x="6739" y="5264"/>
                  </a:moveTo>
                  <a:lnTo>
                    <a:pt x="7767" y="6072"/>
                  </a:lnTo>
                  <a:lnTo>
                    <a:pt x="7817" y="7331"/>
                  </a:lnTo>
                  <a:lnTo>
                    <a:pt x="6544" y="7886"/>
                  </a:lnTo>
                  <a:lnTo>
                    <a:pt x="5466" y="7129"/>
                  </a:lnTo>
                  <a:lnTo>
                    <a:pt x="5711" y="5313"/>
                  </a:lnTo>
                  <a:close/>
                  <a:moveTo>
                    <a:pt x="1163" y="0"/>
                  </a:moveTo>
                  <a:lnTo>
                    <a:pt x="3215" y="1288"/>
                  </a:lnTo>
                  <a:lnTo>
                    <a:pt x="4177" y="2917"/>
                  </a:lnTo>
                  <a:lnTo>
                    <a:pt x="5071" y="3664"/>
                  </a:lnTo>
                  <a:lnTo>
                    <a:pt x="5321" y="4247"/>
                  </a:lnTo>
                  <a:lnTo>
                    <a:pt x="4666" y="4654"/>
                  </a:lnTo>
                  <a:lnTo>
                    <a:pt x="3512" y="3045"/>
                  </a:lnTo>
                  <a:lnTo>
                    <a:pt x="1647" y="2606"/>
                  </a:lnTo>
                  <a:lnTo>
                    <a:pt x="40" y="1654"/>
                  </a:lnTo>
                  <a:lnTo>
                    <a:pt x="0" y="1450"/>
                  </a:lnTo>
                  <a:lnTo>
                    <a:pt x="28" y="973"/>
                  </a:lnTo>
                  <a:lnTo>
                    <a:pt x="341" y="422"/>
                  </a:lnTo>
                  <a:close/>
                </a:path>
              </a:pathLst>
            </a:custGeom>
            <a:solidFill>
              <a:srgbClr val="007CBC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63" name="ee4p_LC_1_82333">
              <a:extLst>
                <a:ext uri="{FF2B5EF4-FFF2-40B4-BE49-F238E27FC236}">
                  <a16:creationId xmlns:a16="http://schemas.microsoft.com/office/drawing/2014/main" id="{975EAB93-6995-AD28-4CAB-082B47D0BEA6}"/>
                </a:ext>
              </a:extLst>
            </p:cNvPr>
            <p:cNvSpPr>
              <a:spLocks noChangeAspect="1"/>
            </p:cNvSpPr>
            <p:nvPr>
              <p:custDataLst>
                <p:tags r:id="rId191"/>
              </p:custDataLst>
            </p:nvPr>
          </p:nvSpPr>
          <p:spPr>
            <a:xfrm>
              <a:off x="4818739" y="4271145"/>
              <a:ext cx="5178" cy="10927"/>
            </a:xfrm>
            <a:custGeom>
              <a:avLst/>
              <a:gdLst/>
              <a:ahLst/>
              <a:cxnLst/>
              <a:rect l="0" t="0" r="0" b="0"/>
              <a:pathLst>
                <a:path w="4122" h="8469">
                  <a:moveTo>
                    <a:pt x="3934" y="6116"/>
                  </a:moveTo>
                  <a:lnTo>
                    <a:pt x="2692" y="8468"/>
                  </a:lnTo>
                  <a:lnTo>
                    <a:pt x="276" y="6992"/>
                  </a:lnTo>
                  <a:lnTo>
                    <a:pt x="0" y="5134"/>
                  </a:lnTo>
                  <a:lnTo>
                    <a:pt x="211" y="4007"/>
                  </a:lnTo>
                  <a:lnTo>
                    <a:pt x="1691" y="1858"/>
                  </a:lnTo>
                  <a:lnTo>
                    <a:pt x="2843" y="462"/>
                  </a:lnTo>
                  <a:lnTo>
                    <a:pt x="3649" y="0"/>
                  </a:lnTo>
                  <a:lnTo>
                    <a:pt x="4121" y="1853"/>
                  </a:lnTo>
                  <a:close/>
                </a:path>
              </a:pathLst>
            </a:custGeom>
            <a:solidFill>
              <a:srgbClr val="007CBC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64" name="ee4p_MX_1_82333">
              <a:extLst>
                <a:ext uri="{FF2B5EF4-FFF2-40B4-BE49-F238E27FC236}">
                  <a16:creationId xmlns:a16="http://schemas.microsoft.com/office/drawing/2014/main" id="{B9ED34D1-978E-DC26-2FCB-DD3EB9C55B09}"/>
                </a:ext>
              </a:extLst>
            </p:cNvPr>
            <p:cNvSpPr>
              <a:spLocks noChangeAspect="1"/>
            </p:cNvSpPr>
            <p:nvPr>
              <p:custDataLst>
                <p:tags r:id="rId192"/>
              </p:custDataLst>
            </p:nvPr>
          </p:nvSpPr>
          <p:spPr>
            <a:xfrm>
              <a:off x="3226771" y="3708307"/>
              <a:ext cx="880430" cy="549681"/>
            </a:xfrm>
            <a:custGeom>
              <a:avLst/>
              <a:gdLst>
                <a:gd name="connsiteX0" fmla="*/ 679862 w 803926"/>
                <a:gd name="connsiteY0" fmla="*/ 378300 h 488614"/>
                <a:gd name="connsiteX1" fmla="*/ 680847 w 803926"/>
                <a:gd name="connsiteY1" fmla="*/ 378414 h 488614"/>
                <a:gd name="connsiteX2" fmla="*/ 681191 w 803926"/>
                <a:gd name="connsiteY2" fmla="*/ 378773 h 488614"/>
                <a:gd name="connsiteX3" fmla="*/ 678211 w 803926"/>
                <a:gd name="connsiteY3" fmla="*/ 380047 h 488614"/>
                <a:gd name="connsiteX4" fmla="*/ 677464 w 803926"/>
                <a:gd name="connsiteY4" fmla="*/ 380942 h 488614"/>
                <a:gd name="connsiteX5" fmla="*/ 674612 w 803926"/>
                <a:gd name="connsiteY5" fmla="*/ 381550 h 488614"/>
                <a:gd name="connsiteX6" fmla="*/ 674106 w 803926"/>
                <a:gd name="connsiteY6" fmla="*/ 380981 h 488614"/>
                <a:gd name="connsiteX7" fmla="*/ 187941 w 803926"/>
                <a:gd name="connsiteY7" fmla="*/ 376066 h 488614"/>
                <a:gd name="connsiteX8" fmla="*/ 189140 w 803926"/>
                <a:gd name="connsiteY8" fmla="*/ 377680 h 488614"/>
                <a:gd name="connsiteX9" fmla="*/ 189841 w 803926"/>
                <a:gd name="connsiteY9" fmla="*/ 379261 h 488614"/>
                <a:gd name="connsiteX10" fmla="*/ 188311 w 803926"/>
                <a:gd name="connsiteY10" fmla="*/ 379815 h 488614"/>
                <a:gd name="connsiteX11" fmla="*/ 186058 w 803926"/>
                <a:gd name="connsiteY11" fmla="*/ 378206 h 488614"/>
                <a:gd name="connsiteX12" fmla="*/ 186660 w 803926"/>
                <a:gd name="connsiteY12" fmla="*/ 376933 h 488614"/>
                <a:gd name="connsiteX13" fmla="*/ 802228 w 803926"/>
                <a:gd name="connsiteY13" fmla="*/ 330852 h 488614"/>
                <a:gd name="connsiteX14" fmla="*/ 802437 w 803926"/>
                <a:gd name="connsiteY14" fmla="*/ 331573 h 488614"/>
                <a:gd name="connsiteX15" fmla="*/ 801074 w 803926"/>
                <a:gd name="connsiteY15" fmla="*/ 333776 h 488614"/>
                <a:gd name="connsiteX16" fmla="*/ 797756 w 803926"/>
                <a:gd name="connsiteY16" fmla="*/ 338139 h 488614"/>
                <a:gd name="connsiteX17" fmla="*/ 796443 w 803926"/>
                <a:gd name="connsiteY17" fmla="*/ 338961 h 488614"/>
                <a:gd name="connsiteX18" fmla="*/ 795733 w 803926"/>
                <a:gd name="connsiteY18" fmla="*/ 336052 h 488614"/>
                <a:gd name="connsiteX19" fmla="*/ 796784 w 803926"/>
                <a:gd name="connsiteY19" fmla="*/ 333212 h 488614"/>
                <a:gd name="connsiteX20" fmla="*/ 798055 w 803926"/>
                <a:gd name="connsiteY20" fmla="*/ 331580 h 488614"/>
                <a:gd name="connsiteX21" fmla="*/ 800573 w 803926"/>
                <a:gd name="connsiteY21" fmla="*/ 331388 h 488614"/>
                <a:gd name="connsiteX22" fmla="*/ 802841 w 803926"/>
                <a:gd name="connsiteY22" fmla="*/ 312292 h 488614"/>
                <a:gd name="connsiteX23" fmla="*/ 803150 w 803926"/>
                <a:gd name="connsiteY23" fmla="*/ 312707 h 488614"/>
                <a:gd name="connsiteX24" fmla="*/ 803476 w 803926"/>
                <a:gd name="connsiteY24" fmla="*/ 313370 h 488614"/>
                <a:gd name="connsiteX25" fmla="*/ 803926 w 803926"/>
                <a:gd name="connsiteY25" fmla="*/ 314650 h 488614"/>
                <a:gd name="connsiteX26" fmla="*/ 803487 w 803926"/>
                <a:gd name="connsiteY26" fmla="*/ 314499 h 488614"/>
                <a:gd name="connsiteX27" fmla="*/ 802910 w 803926"/>
                <a:gd name="connsiteY27" fmla="*/ 313530 h 488614"/>
                <a:gd name="connsiteX28" fmla="*/ 802491 w 803926"/>
                <a:gd name="connsiteY28" fmla="*/ 312323 h 488614"/>
                <a:gd name="connsiteX29" fmla="*/ 299306 w 803926"/>
                <a:gd name="connsiteY29" fmla="*/ 300820 h 488614"/>
                <a:gd name="connsiteX30" fmla="*/ 300852 w 803926"/>
                <a:gd name="connsiteY30" fmla="*/ 301771 h 488614"/>
                <a:gd name="connsiteX31" fmla="*/ 301171 w 803926"/>
                <a:gd name="connsiteY31" fmla="*/ 302409 h 488614"/>
                <a:gd name="connsiteX32" fmla="*/ 301719 w 803926"/>
                <a:gd name="connsiteY32" fmla="*/ 303511 h 488614"/>
                <a:gd name="connsiteX33" fmla="*/ 300981 w 803926"/>
                <a:gd name="connsiteY33" fmla="*/ 305697 h 488614"/>
                <a:gd name="connsiteX34" fmla="*/ 299061 w 803926"/>
                <a:gd name="connsiteY34" fmla="*/ 304822 h 488614"/>
                <a:gd name="connsiteX35" fmla="*/ 298373 w 803926"/>
                <a:gd name="connsiteY35" fmla="*/ 303451 h 488614"/>
                <a:gd name="connsiteX36" fmla="*/ 298242 w 803926"/>
                <a:gd name="connsiteY36" fmla="*/ 301200 h 488614"/>
                <a:gd name="connsiteX37" fmla="*/ 215809 w 803926"/>
                <a:gd name="connsiteY37" fmla="*/ 230454 h 488614"/>
                <a:gd name="connsiteX38" fmla="*/ 218256 w 803926"/>
                <a:gd name="connsiteY38" fmla="*/ 234795 h 488614"/>
                <a:gd name="connsiteX39" fmla="*/ 218210 w 803926"/>
                <a:gd name="connsiteY39" fmla="*/ 235327 h 488614"/>
                <a:gd name="connsiteX40" fmla="*/ 217971 w 803926"/>
                <a:gd name="connsiteY40" fmla="*/ 235663 h 488614"/>
                <a:gd name="connsiteX41" fmla="*/ 217421 w 803926"/>
                <a:gd name="connsiteY41" fmla="*/ 235758 h 488614"/>
                <a:gd name="connsiteX42" fmla="*/ 216123 w 803926"/>
                <a:gd name="connsiteY42" fmla="*/ 234331 h 488614"/>
                <a:gd name="connsiteX43" fmla="*/ 215551 w 803926"/>
                <a:gd name="connsiteY43" fmla="*/ 230829 h 488614"/>
                <a:gd name="connsiteX44" fmla="*/ 163815 w 803926"/>
                <a:gd name="connsiteY44" fmla="*/ 224903 h 488614"/>
                <a:gd name="connsiteX45" fmla="*/ 165946 w 803926"/>
                <a:gd name="connsiteY45" fmla="*/ 225257 h 488614"/>
                <a:gd name="connsiteX46" fmla="*/ 169951 w 803926"/>
                <a:gd name="connsiteY46" fmla="*/ 229142 h 488614"/>
                <a:gd name="connsiteX47" fmla="*/ 169611 w 803926"/>
                <a:gd name="connsiteY47" fmla="*/ 230413 h 488614"/>
                <a:gd name="connsiteX48" fmla="*/ 161979 w 803926"/>
                <a:gd name="connsiteY48" fmla="*/ 225381 h 488614"/>
                <a:gd name="connsiteX49" fmla="*/ 195527 w 803926"/>
                <a:gd name="connsiteY49" fmla="*/ 210433 h 488614"/>
                <a:gd name="connsiteX50" fmla="*/ 197936 w 803926"/>
                <a:gd name="connsiteY50" fmla="*/ 211667 h 488614"/>
                <a:gd name="connsiteX51" fmla="*/ 198643 w 803926"/>
                <a:gd name="connsiteY51" fmla="*/ 212711 h 488614"/>
                <a:gd name="connsiteX52" fmla="*/ 199365 w 803926"/>
                <a:gd name="connsiteY52" fmla="*/ 215730 h 488614"/>
                <a:gd name="connsiteX53" fmla="*/ 198064 w 803926"/>
                <a:gd name="connsiteY53" fmla="*/ 215285 h 488614"/>
                <a:gd name="connsiteX54" fmla="*/ 196359 w 803926"/>
                <a:gd name="connsiteY54" fmla="*/ 213645 h 488614"/>
                <a:gd name="connsiteX55" fmla="*/ 195193 w 803926"/>
                <a:gd name="connsiteY55" fmla="*/ 211545 h 488614"/>
                <a:gd name="connsiteX56" fmla="*/ 195299 w 803926"/>
                <a:gd name="connsiteY56" fmla="*/ 210606 h 488614"/>
                <a:gd name="connsiteX57" fmla="*/ 158273 w 803926"/>
                <a:gd name="connsiteY57" fmla="*/ 205091 h 488614"/>
                <a:gd name="connsiteX58" fmla="*/ 158977 w 803926"/>
                <a:gd name="connsiteY58" fmla="*/ 206747 h 488614"/>
                <a:gd name="connsiteX59" fmla="*/ 157285 w 803926"/>
                <a:gd name="connsiteY59" fmla="*/ 215895 h 488614"/>
                <a:gd name="connsiteX60" fmla="*/ 157370 w 803926"/>
                <a:gd name="connsiteY60" fmla="*/ 217091 h 488614"/>
                <a:gd name="connsiteX61" fmla="*/ 158163 w 803926"/>
                <a:gd name="connsiteY61" fmla="*/ 218207 h 488614"/>
                <a:gd name="connsiteX62" fmla="*/ 159013 w 803926"/>
                <a:gd name="connsiteY62" fmla="*/ 220096 h 488614"/>
                <a:gd name="connsiteX63" fmla="*/ 159114 w 803926"/>
                <a:gd name="connsiteY63" fmla="*/ 222134 h 488614"/>
                <a:gd name="connsiteX64" fmla="*/ 160604 w 803926"/>
                <a:gd name="connsiteY64" fmla="*/ 224028 h 488614"/>
                <a:gd name="connsiteX65" fmla="*/ 160863 w 803926"/>
                <a:gd name="connsiteY65" fmla="*/ 225050 h 488614"/>
                <a:gd name="connsiteX66" fmla="*/ 160354 w 803926"/>
                <a:gd name="connsiteY66" fmla="*/ 225349 h 488614"/>
                <a:gd name="connsiteX67" fmla="*/ 158186 w 803926"/>
                <a:gd name="connsiteY67" fmla="*/ 222232 h 488614"/>
                <a:gd name="connsiteX68" fmla="*/ 157866 w 803926"/>
                <a:gd name="connsiteY68" fmla="*/ 220096 h 488614"/>
                <a:gd name="connsiteX69" fmla="*/ 156978 w 803926"/>
                <a:gd name="connsiteY69" fmla="*/ 219192 h 488614"/>
                <a:gd name="connsiteX70" fmla="*/ 154790 w 803926"/>
                <a:gd name="connsiteY70" fmla="*/ 218478 h 488614"/>
                <a:gd name="connsiteX71" fmla="*/ 156679 w 803926"/>
                <a:gd name="connsiteY71" fmla="*/ 214124 h 488614"/>
                <a:gd name="connsiteX72" fmla="*/ 185367 w 803926"/>
                <a:gd name="connsiteY72" fmla="*/ 183698 h 488614"/>
                <a:gd name="connsiteX73" fmla="*/ 185128 w 803926"/>
                <a:gd name="connsiteY73" fmla="*/ 185192 h 488614"/>
                <a:gd name="connsiteX74" fmla="*/ 185446 w 803926"/>
                <a:gd name="connsiteY74" fmla="*/ 186172 h 488614"/>
                <a:gd name="connsiteX75" fmla="*/ 185278 w 803926"/>
                <a:gd name="connsiteY75" fmla="*/ 186455 h 488614"/>
                <a:gd name="connsiteX76" fmla="*/ 184242 w 803926"/>
                <a:gd name="connsiteY76" fmla="*/ 185775 h 488614"/>
                <a:gd name="connsiteX77" fmla="*/ 182487 w 803926"/>
                <a:gd name="connsiteY77" fmla="*/ 189826 h 488614"/>
                <a:gd name="connsiteX78" fmla="*/ 181975 w 803926"/>
                <a:gd name="connsiteY78" fmla="*/ 190201 h 488614"/>
                <a:gd name="connsiteX79" fmla="*/ 183034 w 803926"/>
                <a:gd name="connsiteY79" fmla="*/ 184650 h 488614"/>
                <a:gd name="connsiteX80" fmla="*/ 184140 w 803926"/>
                <a:gd name="connsiteY80" fmla="*/ 183858 h 488614"/>
                <a:gd name="connsiteX81" fmla="*/ 80324 w 803926"/>
                <a:gd name="connsiteY81" fmla="*/ 121093 h 488614"/>
                <a:gd name="connsiteX82" fmla="*/ 81252 w 803926"/>
                <a:gd name="connsiteY82" fmla="*/ 122205 h 488614"/>
                <a:gd name="connsiteX83" fmla="*/ 82480 w 803926"/>
                <a:gd name="connsiteY83" fmla="*/ 126484 h 488614"/>
                <a:gd name="connsiteX84" fmla="*/ 81921 w 803926"/>
                <a:gd name="connsiteY84" fmla="*/ 129303 h 488614"/>
                <a:gd name="connsiteX85" fmla="*/ 81573 w 803926"/>
                <a:gd name="connsiteY85" fmla="*/ 130184 h 488614"/>
                <a:gd name="connsiteX86" fmla="*/ 77297 w 803926"/>
                <a:gd name="connsiteY86" fmla="*/ 128354 h 488614"/>
                <a:gd name="connsiteX87" fmla="*/ 79643 w 803926"/>
                <a:gd name="connsiteY87" fmla="*/ 125154 h 488614"/>
                <a:gd name="connsiteX88" fmla="*/ 79299 w 803926"/>
                <a:gd name="connsiteY88" fmla="*/ 121796 h 488614"/>
                <a:gd name="connsiteX89" fmla="*/ 851 w 803926"/>
                <a:gd name="connsiteY89" fmla="*/ 98522 h 488614"/>
                <a:gd name="connsiteX90" fmla="*/ 2258 w 803926"/>
                <a:gd name="connsiteY90" fmla="*/ 98653 h 488614"/>
                <a:gd name="connsiteX91" fmla="*/ 2265 w 803926"/>
                <a:gd name="connsiteY91" fmla="*/ 100098 h 488614"/>
                <a:gd name="connsiteX92" fmla="*/ 3445 w 803926"/>
                <a:gd name="connsiteY92" fmla="*/ 101315 h 488614"/>
                <a:gd name="connsiteX93" fmla="*/ 3905 w 803926"/>
                <a:gd name="connsiteY93" fmla="*/ 102503 h 488614"/>
                <a:gd name="connsiteX94" fmla="*/ 4022 w 803926"/>
                <a:gd name="connsiteY94" fmla="*/ 105301 h 488614"/>
                <a:gd name="connsiteX95" fmla="*/ 2938 w 803926"/>
                <a:gd name="connsiteY95" fmla="*/ 106354 h 488614"/>
                <a:gd name="connsiteX96" fmla="*/ 32 w 803926"/>
                <a:gd name="connsiteY96" fmla="*/ 100601 h 488614"/>
                <a:gd name="connsiteX97" fmla="*/ 0 w 803926"/>
                <a:gd name="connsiteY97" fmla="*/ 99209 h 488614"/>
                <a:gd name="connsiteX98" fmla="*/ 155087 w 803926"/>
                <a:gd name="connsiteY98" fmla="*/ 97062 h 488614"/>
                <a:gd name="connsiteX99" fmla="*/ 155636 w 803926"/>
                <a:gd name="connsiteY99" fmla="*/ 97992 h 488614"/>
                <a:gd name="connsiteX100" fmla="*/ 156009 w 803926"/>
                <a:gd name="connsiteY100" fmla="*/ 100224 h 488614"/>
                <a:gd name="connsiteX101" fmla="*/ 157166 w 803926"/>
                <a:gd name="connsiteY101" fmla="*/ 103554 h 488614"/>
                <a:gd name="connsiteX102" fmla="*/ 155256 w 803926"/>
                <a:gd name="connsiteY102" fmla="*/ 110059 h 488614"/>
                <a:gd name="connsiteX103" fmla="*/ 153307 w 803926"/>
                <a:gd name="connsiteY103" fmla="*/ 109955 h 488614"/>
                <a:gd name="connsiteX104" fmla="*/ 149281 w 803926"/>
                <a:gd name="connsiteY104" fmla="*/ 107902 h 488614"/>
                <a:gd name="connsiteX105" fmla="*/ 148851 w 803926"/>
                <a:gd name="connsiteY105" fmla="*/ 106623 h 488614"/>
                <a:gd name="connsiteX106" fmla="*/ 150403 w 803926"/>
                <a:gd name="connsiteY106" fmla="*/ 99071 h 488614"/>
                <a:gd name="connsiteX107" fmla="*/ 151576 w 803926"/>
                <a:gd name="connsiteY107" fmla="*/ 98078 h 488614"/>
                <a:gd name="connsiteX108" fmla="*/ 122070 w 803926"/>
                <a:gd name="connsiteY108" fmla="*/ 87864 h 488614"/>
                <a:gd name="connsiteX109" fmla="*/ 124080 w 803926"/>
                <a:gd name="connsiteY109" fmla="*/ 88228 h 488614"/>
                <a:gd name="connsiteX110" fmla="*/ 126413 w 803926"/>
                <a:gd name="connsiteY110" fmla="*/ 90275 h 488614"/>
                <a:gd name="connsiteX111" fmla="*/ 127429 w 803926"/>
                <a:gd name="connsiteY111" fmla="*/ 92169 h 488614"/>
                <a:gd name="connsiteX112" fmla="*/ 127480 w 803926"/>
                <a:gd name="connsiteY112" fmla="*/ 94341 h 488614"/>
                <a:gd name="connsiteX113" fmla="*/ 131834 w 803926"/>
                <a:gd name="connsiteY113" fmla="*/ 95365 h 488614"/>
                <a:gd name="connsiteX114" fmla="*/ 132448 w 803926"/>
                <a:gd name="connsiteY114" fmla="*/ 100059 h 488614"/>
                <a:gd name="connsiteX115" fmla="*/ 133014 w 803926"/>
                <a:gd name="connsiteY115" fmla="*/ 102258 h 488614"/>
                <a:gd name="connsiteX116" fmla="*/ 132832 w 803926"/>
                <a:gd name="connsiteY116" fmla="*/ 102741 h 488614"/>
                <a:gd name="connsiteX117" fmla="*/ 130246 w 803926"/>
                <a:gd name="connsiteY117" fmla="*/ 101031 h 488614"/>
                <a:gd name="connsiteX118" fmla="*/ 124373 w 803926"/>
                <a:gd name="connsiteY118" fmla="*/ 95206 h 488614"/>
                <a:gd name="connsiteX119" fmla="*/ 122237 w 803926"/>
                <a:gd name="connsiteY119" fmla="*/ 92286 h 488614"/>
                <a:gd name="connsiteX120" fmla="*/ 121887 w 803926"/>
                <a:gd name="connsiteY120" fmla="*/ 90918 h 488614"/>
                <a:gd name="connsiteX121" fmla="*/ 92051 w 803926"/>
                <a:gd name="connsiteY121" fmla="*/ 25947 h 488614"/>
                <a:gd name="connsiteX122" fmla="*/ 93624 w 803926"/>
                <a:gd name="connsiteY122" fmla="*/ 26992 h 488614"/>
                <a:gd name="connsiteX123" fmla="*/ 94159 w 803926"/>
                <a:gd name="connsiteY123" fmla="*/ 27909 h 488614"/>
                <a:gd name="connsiteX124" fmla="*/ 94003 w 803926"/>
                <a:gd name="connsiteY124" fmla="*/ 28431 h 488614"/>
                <a:gd name="connsiteX125" fmla="*/ 93162 w 803926"/>
                <a:gd name="connsiteY125" fmla="*/ 28550 h 488614"/>
                <a:gd name="connsiteX126" fmla="*/ 91591 w 803926"/>
                <a:gd name="connsiteY126" fmla="*/ 27258 h 488614"/>
                <a:gd name="connsiteX127" fmla="*/ 91709 w 803926"/>
                <a:gd name="connsiteY127" fmla="*/ 26068 h 488614"/>
                <a:gd name="connsiteX128" fmla="*/ 93227 w 803926"/>
                <a:gd name="connsiteY128" fmla="*/ 0 h 488614"/>
                <a:gd name="connsiteX129" fmla="*/ 91623 w 803926"/>
                <a:gd name="connsiteY129" fmla="*/ 4251 h 488614"/>
                <a:gd name="connsiteX130" fmla="*/ 90407 w 803926"/>
                <a:gd name="connsiteY130" fmla="*/ 5845 h 488614"/>
                <a:gd name="connsiteX131" fmla="*/ 102432 w 803926"/>
                <a:gd name="connsiteY131" fmla="*/ 10019 h 488614"/>
                <a:gd name="connsiteX132" fmla="*/ 114457 w 803926"/>
                <a:gd name="connsiteY132" fmla="*/ 14188 h 488614"/>
                <a:gd name="connsiteX133" fmla="*/ 126483 w 803926"/>
                <a:gd name="connsiteY133" fmla="*/ 18353 h 488614"/>
                <a:gd name="connsiteX134" fmla="*/ 138507 w 803926"/>
                <a:gd name="connsiteY134" fmla="*/ 22516 h 488614"/>
                <a:gd name="connsiteX135" fmla="*/ 150532 w 803926"/>
                <a:gd name="connsiteY135" fmla="*/ 26673 h 488614"/>
                <a:gd name="connsiteX136" fmla="*/ 162558 w 803926"/>
                <a:gd name="connsiteY136" fmla="*/ 30826 h 488614"/>
                <a:gd name="connsiteX137" fmla="*/ 174583 w 803926"/>
                <a:gd name="connsiteY137" fmla="*/ 34974 h 488614"/>
                <a:gd name="connsiteX138" fmla="*/ 186608 w 803926"/>
                <a:gd name="connsiteY138" fmla="*/ 39119 h 488614"/>
                <a:gd name="connsiteX139" fmla="*/ 195571 w 803926"/>
                <a:gd name="connsiteY139" fmla="*/ 39102 h 488614"/>
                <a:gd name="connsiteX140" fmla="*/ 204532 w 803926"/>
                <a:gd name="connsiteY140" fmla="*/ 39083 h 488614"/>
                <a:gd name="connsiteX141" fmla="*/ 213495 w 803926"/>
                <a:gd name="connsiteY141" fmla="*/ 39065 h 488614"/>
                <a:gd name="connsiteX142" fmla="*/ 222456 w 803926"/>
                <a:gd name="connsiteY142" fmla="*/ 39047 h 488614"/>
                <a:gd name="connsiteX143" fmla="*/ 231418 w 803926"/>
                <a:gd name="connsiteY143" fmla="*/ 39030 h 488614"/>
                <a:gd name="connsiteX144" fmla="*/ 240380 w 803926"/>
                <a:gd name="connsiteY144" fmla="*/ 39010 h 488614"/>
                <a:gd name="connsiteX145" fmla="*/ 249342 w 803926"/>
                <a:gd name="connsiteY145" fmla="*/ 38991 h 488614"/>
                <a:gd name="connsiteX146" fmla="*/ 258304 w 803926"/>
                <a:gd name="connsiteY146" fmla="*/ 38974 h 488614"/>
                <a:gd name="connsiteX147" fmla="*/ 258320 w 803926"/>
                <a:gd name="connsiteY147" fmla="*/ 35825 h 488614"/>
                <a:gd name="connsiteX148" fmla="*/ 258336 w 803926"/>
                <a:gd name="connsiteY148" fmla="*/ 32672 h 488614"/>
                <a:gd name="connsiteX149" fmla="*/ 258353 w 803926"/>
                <a:gd name="connsiteY149" fmla="*/ 29519 h 488614"/>
                <a:gd name="connsiteX150" fmla="*/ 258371 w 803926"/>
                <a:gd name="connsiteY150" fmla="*/ 26361 h 488614"/>
                <a:gd name="connsiteX151" fmla="*/ 263944 w 803926"/>
                <a:gd name="connsiteY151" fmla="*/ 26394 h 488614"/>
                <a:gd name="connsiteX152" fmla="*/ 269518 w 803926"/>
                <a:gd name="connsiteY152" fmla="*/ 26425 h 488614"/>
                <a:gd name="connsiteX153" fmla="*/ 275093 w 803926"/>
                <a:gd name="connsiteY153" fmla="*/ 26458 h 488614"/>
                <a:gd name="connsiteX154" fmla="*/ 280666 w 803926"/>
                <a:gd name="connsiteY154" fmla="*/ 26490 h 488614"/>
                <a:gd name="connsiteX155" fmla="*/ 286240 w 803926"/>
                <a:gd name="connsiteY155" fmla="*/ 26521 h 488614"/>
                <a:gd name="connsiteX156" fmla="*/ 291815 w 803926"/>
                <a:gd name="connsiteY156" fmla="*/ 26555 h 488614"/>
                <a:gd name="connsiteX157" fmla="*/ 297389 w 803926"/>
                <a:gd name="connsiteY157" fmla="*/ 26586 h 488614"/>
                <a:gd name="connsiteX158" fmla="*/ 302962 w 803926"/>
                <a:gd name="connsiteY158" fmla="*/ 26619 h 488614"/>
                <a:gd name="connsiteX159" fmla="*/ 303160 w 803926"/>
                <a:gd name="connsiteY159" fmla="*/ 26668 h 488614"/>
                <a:gd name="connsiteX160" fmla="*/ 303399 w 803926"/>
                <a:gd name="connsiteY160" fmla="*/ 26779 h 488614"/>
                <a:gd name="connsiteX161" fmla="*/ 305657 w 803926"/>
                <a:gd name="connsiteY161" fmla="*/ 29177 h 488614"/>
                <a:gd name="connsiteX162" fmla="*/ 307971 w 803926"/>
                <a:gd name="connsiteY162" fmla="*/ 32944 h 488614"/>
                <a:gd name="connsiteX163" fmla="*/ 310701 w 803926"/>
                <a:gd name="connsiteY163" fmla="*/ 35571 h 488614"/>
                <a:gd name="connsiteX164" fmla="*/ 313844 w 803926"/>
                <a:gd name="connsiteY164" fmla="*/ 37061 h 488614"/>
                <a:gd name="connsiteX165" fmla="*/ 319204 w 803926"/>
                <a:gd name="connsiteY165" fmla="*/ 41448 h 488614"/>
                <a:gd name="connsiteX166" fmla="*/ 326778 w 803926"/>
                <a:gd name="connsiteY166" fmla="*/ 48723 h 488614"/>
                <a:gd name="connsiteX167" fmla="*/ 332817 w 803926"/>
                <a:gd name="connsiteY167" fmla="*/ 53566 h 488614"/>
                <a:gd name="connsiteX168" fmla="*/ 337322 w 803926"/>
                <a:gd name="connsiteY168" fmla="*/ 55984 h 488614"/>
                <a:gd name="connsiteX169" fmla="*/ 340348 w 803926"/>
                <a:gd name="connsiteY169" fmla="*/ 58064 h 488614"/>
                <a:gd name="connsiteX170" fmla="*/ 341894 w 803926"/>
                <a:gd name="connsiteY170" fmla="*/ 59807 h 488614"/>
                <a:gd name="connsiteX171" fmla="*/ 343972 w 803926"/>
                <a:gd name="connsiteY171" fmla="*/ 63587 h 488614"/>
                <a:gd name="connsiteX172" fmla="*/ 347890 w 803926"/>
                <a:gd name="connsiteY172" fmla="*/ 72297 h 488614"/>
                <a:gd name="connsiteX173" fmla="*/ 347890 w 803926"/>
                <a:gd name="connsiteY173" fmla="*/ 76293 h 488614"/>
                <a:gd name="connsiteX174" fmla="*/ 349390 w 803926"/>
                <a:gd name="connsiteY174" fmla="*/ 80071 h 488614"/>
                <a:gd name="connsiteX175" fmla="*/ 352388 w 803926"/>
                <a:gd name="connsiteY175" fmla="*/ 84966 h 488614"/>
                <a:gd name="connsiteX176" fmla="*/ 355009 w 803926"/>
                <a:gd name="connsiteY176" fmla="*/ 87845 h 488614"/>
                <a:gd name="connsiteX177" fmla="*/ 357251 w 803926"/>
                <a:gd name="connsiteY177" fmla="*/ 88712 h 488614"/>
                <a:gd name="connsiteX178" fmla="*/ 359703 w 803926"/>
                <a:gd name="connsiteY178" fmla="*/ 90442 h 488614"/>
                <a:gd name="connsiteX179" fmla="*/ 362363 w 803926"/>
                <a:gd name="connsiteY179" fmla="*/ 93036 h 488614"/>
                <a:gd name="connsiteX180" fmla="*/ 365427 w 803926"/>
                <a:gd name="connsiteY180" fmla="*/ 94777 h 488614"/>
                <a:gd name="connsiteX181" fmla="*/ 368896 w 803926"/>
                <a:gd name="connsiteY181" fmla="*/ 95663 h 488614"/>
                <a:gd name="connsiteX182" fmla="*/ 373688 w 803926"/>
                <a:gd name="connsiteY182" fmla="*/ 97988 h 488614"/>
                <a:gd name="connsiteX183" fmla="*/ 379799 w 803926"/>
                <a:gd name="connsiteY183" fmla="*/ 101749 h 488614"/>
                <a:gd name="connsiteX184" fmla="*/ 383989 w 803926"/>
                <a:gd name="connsiteY184" fmla="*/ 103669 h 488614"/>
                <a:gd name="connsiteX185" fmla="*/ 386256 w 803926"/>
                <a:gd name="connsiteY185" fmla="*/ 103750 h 488614"/>
                <a:gd name="connsiteX186" fmla="*/ 388242 w 803926"/>
                <a:gd name="connsiteY186" fmla="*/ 102544 h 488614"/>
                <a:gd name="connsiteX187" fmla="*/ 389944 w 803926"/>
                <a:gd name="connsiteY187" fmla="*/ 100050 h 488614"/>
                <a:gd name="connsiteX188" fmla="*/ 391618 w 803926"/>
                <a:gd name="connsiteY188" fmla="*/ 98445 h 488614"/>
                <a:gd name="connsiteX189" fmla="*/ 393263 w 803926"/>
                <a:gd name="connsiteY189" fmla="*/ 97726 h 488614"/>
                <a:gd name="connsiteX190" fmla="*/ 393930 w 803926"/>
                <a:gd name="connsiteY190" fmla="*/ 96577 h 488614"/>
                <a:gd name="connsiteX191" fmla="*/ 393622 w 803926"/>
                <a:gd name="connsiteY191" fmla="*/ 94992 h 488614"/>
                <a:gd name="connsiteX192" fmla="*/ 394734 w 803926"/>
                <a:gd name="connsiteY192" fmla="*/ 91436 h 488614"/>
                <a:gd name="connsiteX193" fmla="*/ 397265 w 803926"/>
                <a:gd name="connsiteY193" fmla="*/ 85901 h 488614"/>
                <a:gd name="connsiteX194" fmla="*/ 400287 w 803926"/>
                <a:gd name="connsiteY194" fmla="*/ 82898 h 488614"/>
                <a:gd name="connsiteX195" fmla="*/ 403803 w 803926"/>
                <a:gd name="connsiteY195" fmla="*/ 82433 h 488614"/>
                <a:gd name="connsiteX196" fmla="*/ 406101 w 803926"/>
                <a:gd name="connsiteY196" fmla="*/ 81393 h 488614"/>
                <a:gd name="connsiteX197" fmla="*/ 407182 w 803926"/>
                <a:gd name="connsiteY197" fmla="*/ 79775 h 488614"/>
                <a:gd name="connsiteX198" fmla="*/ 409061 w 803926"/>
                <a:gd name="connsiteY198" fmla="*/ 79603 h 488614"/>
                <a:gd name="connsiteX199" fmla="*/ 411744 w 803926"/>
                <a:gd name="connsiteY199" fmla="*/ 80877 h 488614"/>
                <a:gd name="connsiteX200" fmla="*/ 416111 w 803926"/>
                <a:gd name="connsiteY200" fmla="*/ 81696 h 488614"/>
                <a:gd name="connsiteX201" fmla="*/ 422160 w 803926"/>
                <a:gd name="connsiteY201" fmla="*/ 82063 h 488614"/>
                <a:gd name="connsiteX202" fmla="*/ 425729 w 803926"/>
                <a:gd name="connsiteY202" fmla="*/ 81938 h 488614"/>
                <a:gd name="connsiteX203" fmla="*/ 426817 w 803926"/>
                <a:gd name="connsiteY203" fmla="*/ 81321 h 488614"/>
                <a:gd name="connsiteX204" fmla="*/ 427382 w 803926"/>
                <a:gd name="connsiteY204" fmla="*/ 81353 h 488614"/>
                <a:gd name="connsiteX205" fmla="*/ 427427 w 803926"/>
                <a:gd name="connsiteY205" fmla="*/ 82033 h 488614"/>
                <a:gd name="connsiteX206" fmla="*/ 428324 w 803926"/>
                <a:gd name="connsiteY206" fmla="*/ 82321 h 488614"/>
                <a:gd name="connsiteX207" fmla="*/ 430070 w 803926"/>
                <a:gd name="connsiteY207" fmla="*/ 82218 h 488614"/>
                <a:gd name="connsiteX208" fmla="*/ 431592 w 803926"/>
                <a:gd name="connsiteY208" fmla="*/ 83168 h 488614"/>
                <a:gd name="connsiteX209" fmla="*/ 433540 w 803926"/>
                <a:gd name="connsiteY209" fmla="*/ 86174 h 488614"/>
                <a:gd name="connsiteX210" fmla="*/ 440248 w 803926"/>
                <a:gd name="connsiteY210" fmla="*/ 90981 h 488614"/>
                <a:gd name="connsiteX211" fmla="*/ 440257 w 803926"/>
                <a:gd name="connsiteY211" fmla="*/ 90984 h 488614"/>
                <a:gd name="connsiteX212" fmla="*/ 440823 w 803926"/>
                <a:gd name="connsiteY212" fmla="*/ 92633 h 488614"/>
                <a:gd name="connsiteX213" fmla="*/ 443161 w 803926"/>
                <a:gd name="connsiteY213" fmla="*/ 95010 h 488614"/>
                <a:gd name="connsiteX214" fmla="*/ 447459 w 803926"/>
                <a:gd name="connsiteY214" fmla="*/ 98662 h 488614"/>
                <a:gd name="connsiteX215" fmla="*/ 449892 w 803926"/>
                <a:gd name="connsiteY215" fmla="*/ 101808 h 488614"/>
                <a:gd name="connsiteX216" fmla="*/ 450458 w 803926"/>
                <a:gd name="connsiteY216" fmla="*/ 104450 h 488614"/>
                <a:gd name="connsiteX217" fmla="*/ 452655 w 803926"/>
                <a:gd name="connsiteY217" fmla="*/ 108627 h 488614"/>
                <a:gd name="connsiteX218" fmla="*/ 456478 w 803926"/>
                <a:gd name="connsiteY218" fmla="*/ 114330 h 488614"/>
                <a:gd name="connsiteX219" fmla="*/ 458181 w 803926"/>
                <a:gd name="connsiteY219" fmla="*/ 117404 h 488614"/>
                <a:gd name="connsiteX220" fmla="*/ 457766 w 803926"/>
                <a:gd name="connsiteY220" fmla="*/ 117846 h 488614"/>
                <a:gd name="connsiteX221" fmla="*/ 458066 w 803926"/>
                <a:gd name="connsiteY221" fmla="*/ 119449 h 488614"/>
                <a:gd name="connsiteX222" fmla="*/ 459087 w 803926"/>
                <a:gd name="connsiteY222" fmla="*/ 122211 h 488614"/>
                <a:gd name="connsiteX223" fmla="*/ 460982 w 803926"/>
                <a:gd name="connsiteY223" fmla="*/ 124547 h 488614"/>
                <a:gd name="connsiteX224" fmla="*/ 463754 w 803926"/>
                <a:gd name="connsiteY224" fmla="*/ 126460 h 488614"/>
                <a:gd name="connsiteX225" fmla="*/ 466556 w 803926"/>
                <a:gd name="connsiteY225" fmla="*/ 129894 h 488614"/>
                <a:gd name="connsiteX226" fmla="*/ 469391 w 803926"/>
                <a:gd name="connsiteY226" fmla="*/ 134844 h 488614"/>
                <a:gd name="connsiteX227" fmla="*/ 472824 w 803926"/>
                <a:gd name="connsiteY227" fmla="*/ 138608 h 488614"/>
                <a:gd name="connsiteX228" fmla="*/ 476855 w 803926"/>
                <a:gd name="connsiteY228" fmla="*/ 141182 h 488614"/>
                <a:gd name="connsiteX229" fmla="*/ 479136 w 803926"/>
                <a:gd name="connsiteY229" fmla="*/ 143577 h 488614"/>
                <a:gd name="connsiteX230" fmla="*/ 479670 w 803926"/>
                <a:gd name="connsiteY230" fmla="*/ 145791 h 488614"/>
                <a:gd name="connsiteX231" fmla="*/ 479630 w 803926"/>
                <a:gd name="connsiteY231" fmla="*/ 147686 h 488614"/>
                <a:gd name="connsiteX232" fmla="*/ 479017 w 803926"/>
                <a:gd name="connsiteY232" fmla="*/ 149264 h 488614"/>
                <a:gd name="connsiteX233" fmla="*/ 479276 w 803926"/>
                <a:gd name="connsiteY233" fmla="*/ 150762 h 488614"/>
                <a:gd name="connsiteX234" fmla="*/ 480409 w 803926"/>
                <a:gd name="connsiteY234" fmla="*/ 152177 h 488614"/>
                <a:gd name="connsiteX235" fmla="*/ 480787 w 803926"/>
                <a:gd name="connsiteY235" fmla="*/ 153913 h 488614"/>
                <a:gd name="connsiteX236" fmla="*/ 480343 w 803926"/>
                <a:gd name="connsiteY236" fmla="*/ 156326 h 488614"/>
                <a:gd name="connsiteX237" fmla="*/ 480373 w 803926"/>
                <a:gd name="connsiteY237" fmla="*/ 157008 h 488614"/>
                <a:gd name="connsiteX238" fmla="*/ 480374 w 803926"/>
                <a:gd name="connsiteY238" fmla="*/ 157009 h 488614"/>
                <a:gd name="connsiteX239" fmla="*/ 480702 w 803926"/>
                <a:gd name="connsiteY239" fmla="*/ 157554 h 488614"/>
                <a:gd name="connsiteX240" fmla="*/ 484280 w 803926"/>
                <a:gd name="connsiteY240" fmla="*/ 161697 h 488614"/>
                <a:gd name="connsiteX241" fmla="*/ 486119 w 803926"/>
                <a:gd name="connsiteY241" fmla="*/ 165043 h 488614"/>
                <a:gd name="connsiteX242" fmla="*/ 487579 w 803926"/>
                <a:gd name="connsiteY242" fmla="*/ 170377 h 488614"/>
                <a:gd name="connsiteX243" fmla="*/ 487586 w 803926"/>
                <a:gd name="connsiteY243" fmla="*/ 170426 h 488614"/>
                <a:gd name="connsiteX244" fmla="*/ 489217 w 803926"/>
                <a:gd name="connsiteY244" fmla="*/ 173615 h 488614"/>
                <a:gd name="connsiteX245" fmla="*/ 491562 w 803926"/>
                <a:gd name="connsiteY245" fmla="*/ 174917 h 488614"/>
                <a:gd name="connsiteX246" fmla="*/ 495165 w 803926"/>
                <a:gd name="connsiteY246" fmla="*/ 175399 h 488614"/>
                <a:gd name="connsiteX247" fmla="*/ 497902 w 803926"/>
                <a:gd name="connsiteY247" fmla="*/ 176509 h 488614"/>
                <a:gd name="connsiteX248" fmla="*/ 499775 w 803926"/>
                <a:gd name="connsiteY248" fmla="*/ 178247 h 488614"/>
                <a:gd name="connsiteX249" fmla="*/ 502136 w 803926"/>
                <a:gd name="connsiteY249" fmla="*/ 179296 h 488614"/>
                <a:gd name="connsiteX250" fmla="*/ 504985 w 803926"/>
                <a:gd name="connsiteY250" fmla="*/ 179657 h 488614"/>
                <a:gd name="connsiteX251" fmla="*/ 507718 w 803926"/>
                <a:gd name="connsiteY251" fmla="*/ 180802 h 488614"/>
                <a:gd name="connsiteX252" fmla="*/ 510331 w 803926"/>
                <a:gd name="connsiteY252" fmla="*/ 182735 h 488614"/>
                <a:gd name="connsiteX253" fmla="*/ 515206 w 803926"/>
                <a:gd name="connsiteY253" fmla="*/ 184003 h 488614"/>
                <a:gd name="connsiteX254" fmla="*/ 522341 w 803926"/>
                <a:gd name="connsiteY254" fmla="*/ 184611 h 488614"/>
                <a:gd name="connsiteX255" fmla="*/ 527772 w 803926"/>
                <a:gd name="connsiteY255" fmla="*/ 186180 h 488614"/>
                <a:gd name="connsiteX256" fmla="*/ 531499 w 803926"/>
                <a:gd name="connsiteY256" fmla="*/ 188711 h 488614"/>
                <a:gd name="connsiteX257" fmla="*/ 533137 w 803926"/>
                <a:gd name="connsiteY257" fmla="*/ 189227 h 488614"/>
                <a:gd name="connsiteX258" fmla="*/ 533581 w 803926"/>
                <a:gd name="connsiteY258" fmla="*/ 189263 h 488614"/>
                <a:gd name="connsiteX259" fmla="*/ 533793 w 803926"/>
                <a:gd name="connsiteY259" fmla="*/ 188876 h 488614"/>
                <a:gd name="connsiteX260" fmla="*/ 534075 w 803926"/>
                <a:gd name="connsiteY260" fmla="*/ 188160 h 488614"/>
                <a:gd name="connsiteX261" fmla="*/ 535517 w 803926"/>
                <a:gd name="connsiteY261" fmla="*/ 187335 h 488614"/>
                <a:gd name="connsiteX262" fmla="*/ 538954 w 803926"/>
                <a:gd name="connsiteY262" fmla="*/ 186796 h 488614"/>
                <a:gd name="connsiteX263" fmla="*/ 538492 w 803926"/>
                <a:gd name="connsiteY263" fmla="*/ 192394 h 488614"/>
                <a:gd name="connsiteX264" fmla="*/ 536959 w 803926"/>
                <a:gd name="connsiteY264" fmla="*/ 196984 h 488614"/>
                <a:gd name="connsiteX265" fmla="*/ 531909 w 803926"/>
                <a:gd name="connsiteY265" fmla="*/ 206511 h 488614"/>
                <a:gd name="connsiteX266" fmla="*/ 529805 w 803926"/>
                <a:gd name="connsiteY266" fmla="*/ 212412 h 488614"/>
                <a:gd name="connsiteX267" fmla="*/ 525732 w 803926"/>
                <a:gd name="connsiteY267" fmla="*/ 229240 h 488614"/>
                <a:gd name="connsiteX268" fmla="*/ 524481 w 803926"/>
                <a:gd name="connsiteY268" fmla="*/ 240241 h 488614"/>
                <a:gd name="connsiteX269" fmla="*/ 524187 w 803926"/>
                <a:gd name="connsiteY269" fmla="*/ 245412 h 488614"/>
                <a:gd name="connsiteX270" fmla="*/ 523830 w 803926"/>
                <a:gd name="connsiteY270" fmla="*/ 246144 h 488614"/>
                <a:gd name="connsiteX271" fmla="*/ 524218 w 803926"/>
                <a:gd name="connsiteY271" fmla="*/ 246906 h 488614"/>
                <a:gd name="connsiteX272" fmla="*/ 523242 w 803926"/>
                <a:gd name="connsiteY272" fmla="*/ 258319 h 488614"/>
                <a:gd name="connsiteX273" fmla="*/ 523766 w 803926"/>
                <a:gd name="connsiteY273" fmla="*/ 268046 h 488614"/>
                <a:gd name="connsiteX274" fmla="*/ 523434 w 803926"/>
                <a:gd name="connsiteY274" fmla="*/ 269552 h 488614"/>
                <a:gd name="connsiteX275" fmla="*/ 521953 w 803926"/>
                <a:gd name="connsiteY275" fmla="*/ 272480 h 488614"/>
                <a:gd name="connsiteX276" fmla="*/ 520911 w 803926"/>
                <a:gd name="connsiteY276" fmla="*/ 276532 h 488614"/>
                <a:gd name="connsiteX277" fmla="*/ 521323 w 803926"/>
                <a:gd name="connsiteY277" fmla="*/ 278331 h 488614"/>
                <a:gd name="connsiteX278" fmla="*/ 521300 w 803926"/>
                <a:gd name="connsiteY278" fmla="*/ 279578 h 488614"/>
                <a:gd name="connsiteX279" fmla="*/ 522824 w 803926"/>
                <a:gd name="connsiteY279" fmla="*/ 285734 h 488614"/>
                <a:gd name="connsiteX280" fmla="*/ 523308 w 803926"/>
                <a:gd name="connsiteY280" fmla="*/ 290352 h 488614"/>
                <a:gd name="connsiteX281" fmla="*/ 527835 w 803926"/>
                <a:gd name="connsiteY281" fmla="*/ 298259 h 488614"/>
                <a:gd name="connsiteX282" fmla="*/ 530377 w 803926"/>
                <a:gd name="connsiteY282" fmla="*/ 301015 h 488614"/>
                <a:gd name="connsiteX283" fmla="*/ 533529 w 803926"/>
                <a:gd name="connsiteY283" fmla="*/ 303403 h 488614"/>
                <a:gd name="connsiteX284" fmla="*/ 534688 w 803926"/>
                <a:gd name="connsiteY284" fmla="*/ 304749 h 488614"/>
                <a:gd name="connsiteX285" fmla="*/ 534120 w 803926"/>
                <a:gd name="connsiteY285" fmla="*/ 308103 h 488614"/>
                <a:gd name="connsiteX286" fmla="*/ 532836 w 803926"/>
                <a:gd name="connsiteY286" fmla="*/ 309799 h 488614"/>
                <a:gd name="connsiteX287" fmla="*/ 532286 w 803926"/>
                <a:gd name="connsiteY287" fmla="*/ 312488 h 488614"/>
                <a:gd name="connsiteX288" fmla="*/ 531654 w 803926"/>
                <a:gd name="connsiteY288" fmla="*/ 310262 h 488614"/>
                <a:gd name="connsiteX289" fmla="*/ 531900 w 803926"/>
                <a:gd name="connsiteY289" fmla="*/ 307375 h 488614"/>
                <a:gd name="connsiteX290" fmla="*/ 532904 w 803926"/>
                <a:gd name="connsiteY290" fmla="*/ 305822 h 488614"/>
                <a:gd name="connsiteX291" fmla="*/ 532940 w 803926"/>
                <a:gd name="connsiteY291" fmla="*/ 304684 h 488614"/>
                <a:gd name="connsiteX292" fmla="*/ 531085 w 803926"/>
                <a:gd name="connsiteY292" fmla="*/ 303470 h 488614"/>
                <a:gd name="connsiteX293" fmla="*/ 527693 w 803926"/>
                <a:gd name="connsiteY293" fmla="*/ 299496 h 488614"/>
                <a:gd name="connsiteX294" fmla="*/ 523548 w 803926"/>
                <a:gd name="connsiteY294" fmla="*/ 292460 h 488614"/>
                <a:gd name="connsiteX295" fmla="*/ 526497 w 803926"/>
                <a:gd name="connsiteY295" fmla="*/ 303702 h 488614"/>
                <a:gd name="connsiteX296" fmla="*/ 527509 w 803926"/>
                <a:gd name="connsiteY296" fmla="*/ 305501 h 488614"/>
                <a:gd name="connsiteX297" fmla="*/ 528297 w 803926"/>
                <a:gd name="connsiteY297" fmla="*/ 306250 h 488614"/>
                <a:gd name="connsiteX298" fmla="*/ 529614 w 803926"/>
                <a:gd name="connsiteY298" fmla="*/ 307039 h 488614"/>
                <a:gd name="connsiteX299" fmla="*/ 529957 w 803926"/>
                <a:gd name="connsiteY299" fmla="*/ 308258 h 488614"/>
                <a:gd name="connsiteX300" fmla="*/ 529969 w 803926"/>
                <a:gd name="connsiteY300" fmla="*/ 309160 h 488614"/>
                <a:gd name="connsiteX301" fmla="*/ 533606 w 803926"/>
                <a:gd name="connsiteY301" fmla="*/ 316957 h 488614"/>
                <a:gd name="connsiteX302" fmla="*/ 537718 w 803926"/>
                <a:gd name="connsiteY302" fmla="*/ 325005 h 488614"/>
                <a:gd name="connsiteX303" fmla="*/ 537937 w 803926"/>
                <a:gd name="connsiteY303" fmla="*/ 327202 h 488614"/>
                <a:gd name="connsiteX304" fmla="*/ 539583 w 803926"/>
                <a:gd name="connsiteY304" fmla="*/ 329901 h 488614"/>
                <a:gd name="connsiteX305" fmla="*/ 550049 w 803926"/>
                <a:gd name="connsiteY305" fmla="*/ 341176 h 488614"/>
                <a:gd name="connsiteX306" fmla="*/ 556455 w 803926"/>
                <a:gd name="connsiteY306" fmla="*/ 349578 h 488614"/>
                <a:gd name="connsiteX307" fmla="*/ 558678 w 803926"/>
                <a:gd name="connsiteY307" fmla="*/ 357550 h 488614"/>
                <a:gd name="connsiteX308" fmla="*/ 560023 w 803926"/>
                <a:gd name="connsiteY308" fmla="*/ 360035 h 488614"/>
                <a:gd name="connsiteX309" fmla="*/ 560677 w 803926"/>
                <a:gd name="connsiteY309" fmla="*/ 363432 h 488614"/>
                <a:gd name="connsiteX310" fmla="*/ 564875 w 803926"/>
                <a:gd name="connsiteY310" fmla="*/ 367237 h 488614"/>
                <a:gd name="connsiteX311" fmla="*/ 566158 w 803926"/>
                <a:gd name="connsiteY311" fmla="*/ 369693 h 488614"/>
                <a:gd name="connsiteX312" fmla="*/ 568407 w 803926"/>
                <a:gd name="connsiteY312" fmla="*/ 371057 h 488614"/>
                <a:gd name="connsiteX313" fmla="*/ 570223 w 803926"/>
                <a:gd name="connsiteY313" fmla="*/ 375171 h 488614"/>
                <a:gd name="connsiteX314" fmla="*/ 573645 w 803926"/>
                <a:gd name="connsiteY314" fmla="*/ 377578 h 488614"/>
                <a:gd name="connsiteX315" fmla="*/ 572827 w 803926"/>
                <a:gd name="connsiteY315" fmla="*/ 377622 h 488614"/>
                <a:gd name="connsiteX316" fmla="*/ 569838 w 803926"/>
                <a:gd name="connsiteY316" fmla="*/ 376407 h 488614"/>
                <a:gd name="connsiteX317" fmla="*/ 570037 w 803926"/>
                <a:gd name="connsiteY317" fmla="*/ 377209 h 488614"/>
                <a:gd name="connsiteX318" fmla="*/ 572555 w 803926"/>
                <a:gd name="connsiteY318" fmla="*/ 378914 h 488614"/>
                <a:gd name="connsiteX319" fmla="*/ 577482 w 803926"/>
                <a:gd name="connsiteY319" fmla="*/ 380596 h 488614"/>
                <a:gd name="connsiteX320" fmla="*/ 578711 w 803926"/>
                <a:gd name="connsiteY320" fmla="*/ 380600 h 488614"/>
                <a:gd name="connsiteX321" fmla="*/ 576769 w 803926"/>
                <a:gd name="connsiteY321" fmla="*/ 379727 h 488614"/>
                <a:gd name="connsiteX322" fmla="*/ 575122 w 803926"/>
                <a:gd name="connsiteY322" fmla="*/ 378554 h 488614"/>
                <a:gd name="connsiteX323" fmla="*/ 575699 w 803926"/>
                <a:gd name="connsiteY323" fmla="*/ 378382 h 488614"/>
                <a:gd name="connsiteX324" fmla="*/ 579139 w 803926"/>
                <a:gd name="connsiteY324" fmla="*/ 379846 h 488614"/>
                <a:gd name="connsiteX325" fmla="*/ 588765 w 803926"/>
                <a:gd name="connsiteY325" fmla="*/ 380329 h 488614"/>
                <a:gd name="connsiteX326" fmla="*/ 593003 w 803926"/>
                <a:gd name="connsiteY326" fmla="*/ 383744 h 488614"/>
                <a:gd name="connsiteX327" fmla="*/ 598493 w 803926"/>
                <a:gd name="connsiteY327" fmla="*/ 385213 h 488614"/>
                <a:gd name="connsiteX328" fmla="*/ 601447 w 803926"/>
                <a:gd name="connsiteY328" fmla="*/ 389568 h 488614"/>
                <a:gd name="connsiteX329" fmla="*/ 604882 w 803926"/>
                <a:gd name="connsiteY329" fmla="*/ 394117 h 488614"/>
                <a:gd name="connsiteX330" fmla="*/ 607073 w 803926"/>
                <a:gd name="connsiteY330" fmla="*/ 394333 h 488614"/>
                <a:gd name="connsiteX331" fmla="*/ 608784 w 803926"/>
                <a:gd name="connsiteY331" fmla="*/ 394351 h 488614"/>
                <a:gd name="connsiteX332" fmla="*/ 613938 w 803926"/>
                <a:gd name="connsiteY332" fmla="*/ 393583 h 488614"/>
                <a:gd name="connsiteX333" fmla="*/ 621948 w 803926"/>
                <a:gd name="connsiteY333" fmla="*/ 390722 h 488614"/>
                <a:gd name="connsiteX334" fmla="*/ 624705 w 803926"/>
                <a:gd name="connsiteY334" fmla="*/ 389321 h 488614"/>
                <a:gd name="connsiteX335" fmla="*/ 630082 w 803926"/>
                <a:gd name="connsiteY335" fmla="*/ 387419 h 488614"/>
                <a:gd name="connsiteX336" fmla="*/ 638309 w 803926"/>
                <a:gd name="connsiteY336" fmla="*/ 387070 h 488614"/>
                <a:gd name="connsiteX337" fmla="*/ 640859 w 803926"/>
                <a:gd name="connsiteY337" fmla="*/ 387603 h 488614"/>
                <a:gd name="connsiteX338" fmla="*/ 647010 w 803926"/>
                <a:gd name="connsiteY338" fmla="*/ 386417 h 488614"/>
                <a:gd name="connsiteX339" fmla="*/ 649943 w 803926"/>
                <a:gd name="connsiteY339" fmla="*/ 384963 h 488614"/>
                <a:gd name="connsiteX340" fmla="*/ 650960 w 803926"/>
                <a:gd name="connsiteY340" fmla="*/ 383641 h 488614"/>
                <a:gd name="connsiteX341" fmla="*/ 651438 w 803926"/>
                <a:gd name="connsiteY341" fmla="*/ 382666 h 488614"/>
                <a:gd name="connsiteX342" fmla="*/ 657139 w 803926"/>
                <a:gd name="connsiteY342" fmla="*/ 381272 h 488614"/>
                <a:gd name="connsiteX343" fmla="*/ 658261 w 803926"/>
                <a:gd name="connsiteY343" fmla="*/ 380997 h 488614"/>
                <a:gd name="connsiteX344" fmla="*/ 664039 w 803926"/>
                <a:gd name="connsiteY344" fmla="*/ 380746 h 488614"/>
                <a:gd name="connsiteX345" fmla="*/ 666826 w 803926"/>
                <a:gd name="connsiteY345" fmla="*/ 380233 h 488614"/>
                <a:gd name="connsiteX346" fmla="*/ 670109 w 803926"/>
                <a:gd name="connsiteY346" fmla="*/ 379932 h 488614"/>
                <a:gd name="connsiteX347" fmla="*/ 672477 w 803926"/>
                <a:gd name="connsiteY347" fmla="*/ 381981 h 488614"/>
                <a:gd name="connsiteX348" fmla="*/ 672475 w 803926"/>
                <a:gd name="connsiteY348" fmla="*/ 382982 h 488614"/>
                <a:gd name="connsiteX349" fmla="*/ 670898 w 803926"/>
                <a:gd name="connsiteY349" fmla="*/ 383932 h 488614"/>
                <a:gd name="connsiteX350" fmla="*/ 671636 w 803926"/>
                <a:gd name="connsiteY350" fmla="*/ 384847 h 488614"/>
                <a:gd name="connsiteX351" fmla="*/ 674439 w 803926"/>
                <a:gd name="connsiteY351" fmla="*/ 386367 h 488614"/>
                <a:gd name="connsiteX352" fmla="*/ 679594 w 803926"/>
                <a:gd name="connsiteY352" fmla="*/ 386981 h 488614"/>
                <a:gd name="connsiteX353" fmla="*/ 681260 w 803926"/>
                <a:gd name="connsiteY353" fmla="*/ 386736 h 488614"/>
                <a:gd name="connsiteX354" fmla="*/ 683631 w 803926"/>
                <a:gd name="connsiteY354" fmla="*/ 384498 h 488614"/>
                <a:gd name="connsiteX355" fmla="*/ 687822 w 803926"/>
                <a:gd name="connsiteY355" fmla="*/ 382330 h 488614"/>
                <a:gd name="connsiteX356" fmla="*/ 687732 w 803926"/>
                <a:gd name="connsiteY356" fmla="*/ 379806 h 488614"/>
                <a:gd name="connsiteX357" fmla="*/ 686983 w 803926"/>
                <a:gd name="connsiteY357" fmla="*/ 378425 h 488614"/>
                <a:gd name="connsiteX358" fmla="*/ 685766 w 803926"/>
                <a:gd name="connsiteY358" fmla="*/ 378339 h 488614"/>
                <a:gd name="connsiteX359" fmla="*/ 685475 w 803926"/>
                <a:gd name="connsiteY359" fmla="*/ 377563 h 488614"/>
                <a:gd name="connsiteX360" fmla="*/ 686326 w 803926"/>
                <a:gd name="connsiteY360" fmla="*/ 375707 h 488614"/>
                <a:gd name="connsiteX361" fmla="*/ 686102 w 803926"/>
                <a:gd name="connsiteY361" fmla="*/ 375082 h 488614"/>
                <a:gd name="connsiteX362" fmla="*/ 683503 w 803926"/>
                <a:gd name="connsiteY362" fmla="*/ 376862 h 488614"/>
                <a:gd name="connsiteX363" fmla="*/ 682903 w 803926"/>
                <a:gd name="connsiteY363" fmla="*/ 376857 h 488614"/>
                <a:gd name="connsiteX364" fmla="*/ 683191 w 803926"/>
                <a:gd name="connsiteY364" fmla="*/ 376026 h 488614"/>
                <a:gd name="connsiteX365" fmla="*/ 683728 w 803926"/>
                <a:gd name="connsiteY365" fmla="*/ 375365 h 488614"/>
                <a:gd name="connsiteX366" fmla="*/ 691353 w 803926"/>
                <a:gd name="connsiteY366" fmla="*/ 371485 h 488614"/>
                <a:gd name="connsiteX367" fmla="*/ 693306 w 803926"/>
                <a:gd name="connsiteY367" fmla="*/ 369890 h 488614"/>
                <a:gd name="connsiteX368" fmla="*/ 695940 w 803926"/>
                <a:gd name="connsiteY368" fmla="*/ 368484 h 488614"/>
                <a:gd name="connsiteX369" fmla="*/ 701411 w 803926"/>
                <a:gd name="connsiteY369" fmla="*/ 363209 h 488614"/>
                <a:gd name="connsiteX370" fmla="*/ 702581 w 803926"/>
                <a:gd name="connsiteY370" fmla="*/ 353266 h 488614"/>
                <a:gd name="connsiteX371" fmla="*/ 703673 w 803926"/>
                <a:gd name="connsiteY371" fmla="*/ 351525 h 488614"/>
                <a:gd name="connsiteX372" fmla="*/ 707299 w 803926"/>
                <a:gd name="connsiteY372" fmla="*/ 348469 h 488614"/>
                <a:gd name="connsiteX373" fmla="*/ 707689 w 803926"/>
                <a:gd name="connsiteY373" fmla="*/ 347548 h 488614"/>
                <a:gd name="connsiteX374" fmla="*/ 707925 w 803926"/>
                <a:gd name="connsiteY374" fmla="*/ 345464 h 488614"/>
                <a:gd name="connsiteX375" fmla="*/ 707824 w 803926"/>
                <a:gd name="connsiteY375" fmla="*/ 340232 h 488614"/>
                <a:gd name="connsiteX376" fmla="*/ 708028 w 803926"/>
                <a:gd name="connsiteY376" fmla="*/ 336113 h 488614"/>
                <a:gd name="connsiteX377" fmla="*/ 707881 w 803926"/>
                <a:gd name="connsiteY377" fmla="*/ 331451 h 488614"/>
                <a:gd name="connsiteX378" fmla="*/ 708533 w 803926"/>
                <a:gd name="connsiteY378" fmla="*/ 327290 h 488614"/>
                <a:gd name="connsiteX379" fmla="*/ 709123 w 803926"/>
                <a:gd name="connsiteY379" fmla="*/ 326131 h 488614"/>
                <a:gd name="connsiteX380" fmla="*/ 711203 w 803926"/>
                <a:gd name="connsiteY380" fmla="*/ 319463 h 488614"/>
                <a:gd name="connsiteX381" fmla="*/ 715519 w 803926"/>
                <a:gd name="connsiteY381" fmla="*/ 316509 h 488614"/>
                <a:gd name="connsiteX382" fmla="*/ 723005 w 803926"/>
                <a:gd name="connsiteY382" fmla="*/ 313017 h 488614"/>
                <a:gd name="connsiteX383" fmla="*/ 724726 w 803926"/>
                <a:gd name="connsiteY383" fmla="*/ 312434 h 488614"/>
                <a:gd name="connsiteX384" fmla="*/ 748589 w 803926"/>
                <a:gd name="connsiteY384" fmla="*/ 308734 h 488614"/>
                <a:gd name="connsiteX385" fmla="*/ 751936 w 803926"/>
                <a:gd name="connsiteY385" fmla="*/ 307830 h 488614"/>
                <a:gd name="connsiteX386" fmla="*/ 756039 w 803926"/>
                <a:gd name="connsiteY386" fmla="*/ 305428 h 488614"/>
                <a:gd name="connsiteX387" fmla="*/ 759036 w 803926"/>
                <a:gd name="connsiteY387" fmla="*/ 304612 h 488614"/>
                <a:gd name="connsiteX388" fmla="*/ 764505 w 803926"/>
                <a:gd name="connsiteY388" fmla="*/ 304678 h 488614"/>
                <a:gd name="connsiteX389" fmla="*/ 766185 w 803926"/>
                <a:gd name="connsiteY389" fmla="*/ 304358 h 488614"/>
                <a:gd name="connsiteX390" fmla="*/ 766515 w 803926"/>
                <a:gd name="connsiteY390" fmla="*/ 304027 h 488614"/>
                <a:gd name="connsiteX391" fmla="*/ 766523 w 803926"/>
                <a:gd name="connsiteY391" fmla="*/ 303705 h 488614"/>
                <a:gd name="connsiteX392" fmla="*/ 767531 w 803926"/>
                <a:gd name="connsiteY392" fmla="*/ 303377 h 488614"/>
                <a:gd name="connsiteX393" fmla="*/ 770696 w 803926"/>
                <a:gd name="connsiteY393" fmla="*/ 303692 h 488614"/>
                <a:gd name="connsiteX394" fmla="*/ 776608 w 803926"/>
                <a:gd name="connsiteY394" fmla="*/ 305140 h 488614"/>
                <a:gd name="connsiteX395" fmla="*/ 778760 w 803926"/>
                <a:gd name="connsiteY395" fmla="*/ 305502 h 488614"/>
                <a:gd name="connsiteX396" fmla="*/ 784043 w 803926"/>
                <a:gd name="connsiteY396" fmla="*/ 307185 h 488614"/>
                <a:gd name="connsiteX397" fmla="*/ 789865 w 803926"/>
                <a:gd name="connsiteY397" fmla="*/ 307861 h 488614"/>
                <a:gd name="connsiteX398" fmla="*/ 790701 w 803926"/>
                <a:gd name="connsiteY398" fmla="*/ 307569 h 488614"/>
                <a:gd name="connsiteX399" fmla="*/ 791469 w 803926"/>
                <a:gd name="connsiteY399" fmla="*/ 307057 h 488614"/>
                <a:gd name="connsiteX400" fmla="*/ 792060 w 803926"/>
                <a:gd name="connsiteY400" fmla="*/ 306077 h 488614"/>
                <a:gd name="connsiteX401" fmla="*/ 791452 w 803926"/>
                <a:gd name="connsiteY401" fmla="*/ 305221 h 488614"/>
                <a:gd name="connsiteX402" fmla="*/ 790886 w 803926"/>
                <a:gd name="connsiteY402" fmla="*/ 305288 h 488614"/>
                <a:gd name="connsiteX403" fmla="*/ 789900 w 803926"/>
                <a:gd name="connsiteY403" fmla="*/ 305748 h 488614"/>
                <a:gd name="connsiteX404" fmla="*/ 788727 w 803926"/>
                <a:gd name="connsiteY404" fmla="*/ 305792 h 488614"/>
                <a:gd name="connsiteX405" fmla="*/ 786421 w 803926"/>
                <a:gd name="connsiteY405" fmla="*/ 305088 h 488614"/>
                <a:gd name="connsiteX406" fmla="*/ 786882 w 803926"/>
                <a:gd name="connsiteY406" fmla="*/ 304497 h 488614"/>
                <a:gd name="connsiteX407" fmla="*/ 789234 w 803926"/>
                <a:gd name="connsiteY407" fmla="*/ 304553 h 488614"/>
                <a:gd name="connsiteX408" fmla="*/ 790737 w 803926"/>
                <a:gd name="connsiteY408" fmla="*/ 304266 h 488614"/>
                <a:gd name="connsiteX409" fmla="*/ 792969 w 803926"/>
                <a:gd name="connsiteY409" fmla="*/ 303228 h 488614"/>
                <a:gd name="connsiteX410" fmla="*/ 795345 w 803926"/>
                <a:gd name="connsiteY410" fmla="*/ 304006 h 488614"/>
                <a:gd name="connsiteX411" fmla="*/ 798464 w 803926"/>
                <a:gd name="connsiteY411" fmla="*/ 307440 h 488614"/>
                <a:gd name="connsiteX412" fmla="*/ 800687 w 803926"/>
                <a:gd name="connsiteY412" fmla="*/ 308533 h 488614"/>
                <a:gd name="connsiteX413" fmla="*/ 800864 w 803926"/>
                <a:gd name="connsiteY413" fmla="*/ 313505 h 488614"/>
                <a:gd name="connsiteX414" fmla="*/ 801199 w 803926"/>
                <a:gd name="connsiteY414" fmla="*/ 314411 h 488614"/>
                <a:gd name="connsiteX415" fmla="*/ 802013 w 803926"/>
                <a:gd name="connsiteY415" fmla="*/ 315723 h 488614"/>
                <a:gd name="connsiteX416" fmla="*/ 800903 w 803926"/>
                <a:gd name="connsiteY416" fmla="*/ 319574 h 488614"/>
                <a:gd name="connsiteX417" fmla="*/ 799657 w 803926"/>
                <a:gd name="connsiteY417" fmla="*/ 322756 h 488614"/>
                <a:gd name="connsiteX418" fmla="*/ 798097 w 803926"/>
                <a:gd name="connsiteY418" fmla="*/ 325365 h 488614"/>
                <a:gd name="connsiteX419" fmla="*/ 794715 w 803926"/>
                <a:gd name="connsiteY419" fmla="*/ 329471 h 488614"/>
                <a:gd name="connsiteX420" fmla="*/ 790616 w 803926"/>
                <a:gd name="connsiteY420" fmla="*/ 332750 h 488614"/>
                <a:gd name="connsiteX421" fmla="*/ 785542 w 803926"/>
                <a:gd name="connsiteY421" fmla="*/ 340037 h 488614"/>
                <a:gd name="connsiteX422" fmla="*/ 784380 w 803926"/>
                <a:gd name="connsiteY422" fmla="*/ 343448 h 488614"/>
                <a:gd name="connsiteX423" fmla="*/ 784414 w 803926"/>
                <a:gd name="connsiteY423" fmla="*/ 346182 h 488614"/>
                <a:gd name="connsiteX424" fmla="*/ 785273 w 803926"/>
                <a:gd name="connsiteY424" fmla="*/ 348821 h 488614"/>
                <a:gd name="connsiteX425" fmla="*/ 785024 w 803926"/>
                <a:gd name="connsiteY425" fmla="*/ 349796 h 488614"/>
                <a:gd name="connsiteX426" fmla="*/ 784405 w 803926"/>
                <a:gd name="connsiteY426" fmla="*/ 350781 h 488614"/>
                <a:gd name="connsiteX427" fmla="*/ 783373 w 803926"/>
                <a:gd name="connsiteY427" fmla="*/ 350692 h 488614"/>
                <a:gd name="connsiteX428" fmla="*/ 781372 w 803926"/>
                <a:gd name="connsiteY428" fmla="*/ 351958 h 488614"/>
                <a:gd name="connsiteX429" fmla="*/ 778789 w 803926"/>
                <a:gd name="connsiteY429" fmla="*/ 355709 h 488614"/>
                <a:gd name="connsiteX430" fmla="*/ 778728 w 803926"/>
                <a:gd name="connsiteY430" fmla="*/ 356852 h 488614"/>
                <a:gd name="connsiteX431" fmla="*/ 779863 w 803926"/>
                <a:gd name="connsiteY431" fmla="*/ 357901 h 488614"/>
                <a:gd name="connsiteX432" fmla="*/ 781334 w 803926"/>
                <a:gd name="connsiteY432" fmla="*/ 357398 h 488614"/>
                <a:gd name="connsiteX433" fmla="*/ 783252 w 803926"/>
                <a:gd name="connsiteY433" fmla="*/ 357352 h 488614"/>
                <a:gd name="connsiteX434" fmla="*/ 784324 w 803926"/>
                <a:gd name="connsiteY434" fmla="*/ 357043 h 488614"/>
                <a:gd name="connsiteX435" fmla="*/ 785456 w 803926"/>
                <a:gd name="connsiteY435" fmla="*/ 357125 h 488614"/>
                <a:gd name="connsiteX436" fmla="*/ 785203 w 803926"/>
                <a:gd name="connsiteY436" fmla="*/ 359275 h 488614"/>
                <a:gd name="connsiteX437" fmla="*/ 783987 w 803926"/>
                <a:gd name="connsiteY437" fmla="*/ 360801 h 488614"/>
                <a:gd name="connsiteX438" fmla="*/ 783221 w 803926"/>
                <a:gd name="connsiteY438" fmla="*/ 361279 h 488614"/>
                <a:gd name="connsiteX439" fmla="*/ 781849 w 803926"/>
                <a:gd name="connsiteY439" fmla="*/ 361538 h 488614"/>
                <a:gd name="connsiteX440" fmla="*/ 780314 w 803926"/>
                <a:gd name="connsiteY440" fmla="*/ 362407 h 488614"/>
                <a:gd name="connsiteX441" fmla="*/ 779524 w 803926"/>
                <a:gd name="connsiteY441" fmla="*/ 363206 h 488614"/>
                <a:gd name="connsiteX442" fmla="*/ 779598 w 803926"/>
                <a:gd name="connsiteY442" fmla="*/ 365691 h 488614"/>
                <a:gd name="connsiteX443" fmla="*/ 780452 w 803926"/>
                <a:gd name="connsiteY443" fmla="*/ 365885 h 488614"/>
                <a:gd name="connsiteX444" fmla="*/ 782261 w 803926"/>
                <a:gd name="connsiteY444" fmla="*/ 364032 h 488614"/>
                <a:gd name="connsiteX445" fmla="*/ 783308 w 803926"/>
                <a:gd name="connsiteY445" fmla="*/ 364124 h 488614"/>
                <a:gd name="connsiteX446" fmla="*/ 783521 w 803926"/>
                <a:gd name="connsiteY446" fmla="*/ 364905 h 488614"/>
                <a:gd name="connsiteX447" fmla="*/ 781176 w 803926"/>
                <a:gd name="connsiteY447" fmla="*/ 371251 h 488614"/>
                <a:gd name="connsiteX448" fmla="*/ 779667 w 803926"/>
                <a:gd name="connsiteY448" fmla="*/ 377762 h 488614"/>
                <a:gd name="connsiteX449" fmla="*/ 777626 w 803926"/>
                <a:gd name="connsiteY449" fmla="*/ 381529 h 488614"/>
                <a:gd name="connsiteX450" fmla="*/ 776909 w 803926"/>
                <a:gd name="connsiteY450" fmla="*/ 387008 h 488614"/>
                <a:gd name="connsiteX451" fmla="*/ 775837 w 803926"/>
                <a:gd name="connsiteY451" fmla="*/ 389342 h 488614"/>
                <a:gd name="connsiteX452" fmla="*/ 774592 w 803926"/>
                <a:gd name="connsiteY452" fmla="*/ 391652 h 488614"/>
                <a:gd name="connsiteX453" fmla="*/ 773862 w 803926"/>
                <a:gd name="connsiteY453" fmla="*/ 391524 h 488614"/>
                <a:gd name="connsiteX454" fmla="*/ 771892 w 803926"/>
                <a:gd name="connsiteY454" fmla="*/ 387146 h 488614"/>
                <a:gd name="connsiteX455" fmla="*/ 769880 w 803926"/>
                <a:gd name="connsiteY455" fmla="*/ 386018 h 488614"/>
                <a:gd name="connsiteX456" fmla="*/ 769438 w 803926"/>
                <a:gd name="connsiteY456" fmla="*/ 384954 h 488614"/>
                <a:gd name="connsiteX457" fmla="*/ 770587 w 803926"/>
                <a:gd name="connsiteY457" fmla="*/ 379644 h 488614"/>
                <a:gd name="connsiteX458" fmla="*/ 770064 w 803926"/>
                <a:gd name="connsiteY458" fmla="*/ 376701 h 488614"/>
                <a:gd name="connsiteX459" fmla="*/ 768999 w 803926"/>
                <a:gd name="connsiteY459" fmla="*/ 376818 h 488614"/>
                <a:gd name="connsiteX460" fmla="*/ 767656 w 803926"/>
                <a:gd name="connsiteY460" fmla="*/ 378431 h 488614"/>
                <a:gd name="connsiteX461" fmla="*/ 765880 w 803926"/>
                <a:gd name="connsiteY461" fmla="*/ 379832 h 488614"/>
                <a:gd name="connsiteX462" fmla="*/ 765918 w 803926"/>
                <a:gd name="connsiteY462" fmla="*/ 381854 h 488614"/>
                <a:gd name="connsiteX463" fmla="*/ 763878 w 803926"/>
                <a:gd name="connsiteY463" fmla="*/ 385214 h 488614"/>
                <a:gd name="connsiteX464" fmla="*/ 763373 w 803926"/>
                <a:gd name="connsiteY464" fmla="*/ 386320 h 488614"/>
                <a:gd name="connsiteX465" fmla="*/ 761426 w 803926"/>
                <a:gd name="connsiteY465" fmla="*/ 386059 h 488614"/>
                <a:gd name="connsiteX466" fmla="*/ 759173 w 803926"/>
                <a:gd name="connsiteY466" fmla="*/ 386205 h 488614"/>
                <a:gd name="connsiteX467" fmla="*/ 757609 w 803926"/>
                <a:gd name="connsiteY467" fmla="*/ 387015 h 488614"/>
                <a:gd name="connsiteX468" fmla="*/ 756007 w 803926"/>
                <a:gd name="connsiteY468" fmla="*/ 391088 h 488614"/>
                <a:gd name="connsiteX469" fmla="*/ 752014 w 803926"/>
                <a:gd name="connsiteY469" fmla="*/ 396821 h 488614"/>
                <a:gd name="connsiteX470" fmla="*/ 750423 w 803926"/>
                <a:gd name="connsiteY470" fmla="*/ 399600 h 488614"/>
                <a:gd name="connsiteX471" fmla="*/ 749130 w 803926"/>
                <a:gd name="connsiteY471" fmla="*/ 400561 h 488614"/>
                <a:gd name="connsiteX472" fmla="*/ 748105 w 803926"/>
                <a:gd name="connsiteY472" fmla="*/ 400934 h 488614"/>
                <a:gd name="connsiteX473" fmla="*/ 746968 w 803926"/>
                <a:gd name="connsiteY473" fmla="*/ 400276 h 488614"/>
                <a:gd name="connsiteX474" fmla="*/ 744234 w 803926"/>
                <a:gd name="connsiteY474" fmla="*/ 398704 h 488614"/>
                <a:gd name="connsiteX475" fmla="*/ 742127 w 803926"/>
                <a:gd name="connsiteY475" fmla="*/ 399461 h 488614"/>
                <a:gd name="connsiteX476" fmla="*/ 741396 w 803926"/>
                <a:gd name="connsiteY476" fmla="*/ 401264 h 488614"/>
                <a:gd name="connsiteX477" fmla="*/ 741419 w 803926"/>
                <a:gd name="connsiteY477" fmla="*/ 403542 h 488614"/>
                <a:gd name="connsiteX478" fmla="*/ 736093 w 803926"/>
                <a:gd name="connsiteY478" fmla="*/ 403539 h 488614"/>
                <a:gd name="connsiteX479" fmla="*/ 727034 w 803926"/>
                <a:gd name="connsiteY479" fmla="*/ 403530 h 488614"/>
                <a:gd name="connsiteX480" fmla="*/ 715501 w 803926"/>
                <a:gd name="connsiteY480" fmla="*/ 403519 h 488614"/>
                <a:gd name="connsiteX481" fmla="*/ 704385 w 803926"/>
                <a:gd name="connsiteY481" fmla="*/ 403509 h 488614"/>
                <a:gd name="connsiteX482" fmla="*/ 695076 w 803926"/>
                <a:gd name="connsiteY482" fmla="*/ 403502 h 488614"/>
                <a:gd name="connsiteX483" fmla="*/ 695042 w 803926"/>
                <a:gd name="connsiteY483" fmla="*/ 408619 h 488614"/>
                <a:gd name="connsiteX484" fmla="*/ 695014 w 803926"/>
                <a:gd name="connsiteY484" fmla="*/ 413148 h 488614"/>
                <a:gd name="connsiteX485" fmla="*/ 694978 w 803926"/>
                <a:gd name="connsiteY485" fmla="*/ 418242 h 488614"/>
                <a:gd name="connsiteX486" fmla="*/ 689843 w 803926"/>
                <a:gd name="connsiteY486" fmla="*/ 418199 h 488614"/>
                <a:gd name="connsiteX487" fmla="*/ 684414 w 803926"/>
                <a:gd name="connsiteY487" fmla="*/ 418153 h 488614"/>
                <a:gd name="connsiteX488" fmla="*/ 684853 w 803926"/>
                <a:gd name="connsiteY488" fmla="*/ 418660 h 488614"/>
                <a:gd name="connsiteX489" fmla="*/ 686707 w 803926"/>
                <a:gd name="connsiteY489" fmla="*/ 419616 h 488614"/>
                <a:gd name="connsiteX490" fmla="*/ 689116 w 803926"/>
                <a:gd name="connsiteY490" fmla="*/ 421900 h 488614"/>
                <a:gd name="connsiteX491" fmla="*/ 691965 w 803926"/>
                <a:gd name="connsiteY491" fmla="*/ 425452 h 488614"/>
                <a:gd name="connsiteX492" fmla="*/ 695413 w 803926"/>
                <a:gd name="connsiteY492" fmla="*/ 428277 h 488614"/>
                <a:gd name="connsiteX493" fmla="*/ 699465 w 803926"/>
                <a:gd name="connsiteY493" fmla="*/ 430382 h 488614"/>
                <a:gd name="connsiteX494" fmla="*/ 702136 w 803926"/>
                <a:gd name="connsiteY494" fmla="*/ 432441 h 488614"/>
                <a:gd name="connsiteX495" fmla="*/ 703423 w 803926"/>
                <a:gd name="connsiteY495" fmla="*/ 434453 h 488614"/>
                <a:gd name="connsiteX496" fmla="*/ 704072 w 803926"/>
                <a:gd name="connsiteY496" fmla="*/ 436166 h 488614"/>
                <a:gd name="connsiteX497" fmla="*/ 704079 w 803926"/>
                <a:gd name="connsiteY497" fmla="*/ 437583 h 488614"/>
                <a:gd name="connsiteX498" fmla="*/ 705557 w 803926"/>
                <a:gd name="connsiteY498" fmla="*/ 438701 h 488614"/>
                <a:gd name="connsiteX499" fmla="*/ 708211 w 803926"/>
                <a:gd name="connsiteY499" fmla="*/ 439437 h 488614"/>
                <a:gd name="connsiteX500" fmla="*/ 709583 w 803926"/>
                <a:gd name="connsiteY500" fmla="*/ 440701 h 488614"/>
                <a:gd name="connsiteX501" fmla="*/ 709583 w 803926"/>
                <a:gd name="connsiteY501" fmla="*/ 441734 h 488614"/>
                <a:gd name="connsiteX502" fmla="*/ 708742 w 803926"/>
                <a:gd name="connsiteY502" fmla="*/ 444075 h 488614"/>
                <a:gd name="connsiteX503" fmla="*/ 708497 w 803926"/>
                <a:gd name="connsiteY503" fmla="*/ 446652 h 488614"/>
                <a:gd name="connsiteX504" fmla="*/ 708818 w 803926"/>
                <a:gd name="connsiteY504" fmla="*/ 448983 h 488614"/>
                <a:gd name="connsiteX505" fmla="*/ 706921 w 803926"/>
                <a:gd name="connsiteY505" fmla="*/ 449023 h 488614"/>
                <a:gd name="connsiteX506" fmla="*/ 702325 w 803926"/>
                <a:gd name="connsiteY506" fmla="*/ 449027 h 488614"/>
                <a:gd name="connsiteX507" fmla="*/ 695318 w 803926"/>
                <a:gd name="connsiteY507" fmla="*/ 449034 h 488614"/>
                <a:gd name="connsiteX508" fmla="*/ 688872 w 803926"/>
                <a:gd name="connsiteY508" fmla="*/ 449037 h 488614"/>
                <a:gd name="connsiteX509" fmla="*/ 683797 w 803926"/>
                <a:gd name="connsiteY509" fmla="*/ 449043 h 488614"/>
                <a:gd name="connsiteX510" fmla="*/ 676124 w 803926"/>
                <a:gd name="connsiteY510" fmla="*/ 449050 h 488614"/>
                <a:gd name="connsiteX511" fmla="*/ 674023 w 803926"/>
                <a:gd name="connsiteY511" fmla="*/ 452633 h 488614"/>
                <a:gd name="connsiteX512" fmla="*/ 670529 w 803926"/>
                <a:gd name="connsiteY512" fmla="*/ 458588 h 488614"/>
                <a:gd name="connsiteX513" fmla="*/ 667362 w 803926"/>
                <a:gd name="connsiteY513" fmla="*/ 463981 h 488614"/>
                <a:gd name="connsiteX514" fmla="*/ 664698 w 803926"/>
                <a:gd name="connsiteY514" fmla="*/ 468514 h 488614"/>
                <a:gd name="connsiteX515" fmla="*/ 664265 w 803926"/>
                <a:gd name="connsiteY515" fmla="*/ 469706 h 488614"/>
                <a:gd name="connsiteX516" fmla="*/ 664262 w 803926"/>
                <a:gd name="connsiteY516" fmla="*/ 470673 h 488614"/>
                <a:gd name="connsiteX517" fmla="*/ 667548 w 803926"/>
                <a:gd name="connsiteY517" fmla="*/ 474913 h 488614"/>
                <a:gd name="connsiteX518" fmla="*/ 666941 w 803926"/>
                <a:gd name="connsiteY518" fmla="*/ 476144 h 488614"/>
                <a:gd name="connsiteX519" fmla="*/ 665786 w 803926"/>
                <a:gd name="connsiteY519" fmla="*/ 476786 h 488614"/>
                <a:gd name="connsiteX520" fmla="*/ 665424 w 803926"/>
                <a:gd name="connsiteY520" fmla="*/ 477781 h 488614"/>
                <a:gd name="connsiteX521" fmla="*/ 665497 w 803926"/>
                <a:gd name="connsiteY521" fmla="*/ 479394 h 488614"/>
                <a:gd name="connsiteX522" fmla="*/ 664719 w 803926"/>
                <a:gd name="connsiteY522" fmla="*/ 481545 h 488614"/>
                <a:gd name="connsiteX523" fmla="*/ 664970 w 803926"/>
                <a:gd name="connsiteY523" fmla="*/ 483022 h 488614"/>
                <a:gd name="connsiteX524" fmla="*/ 665389 w 803926"/>
                <a:gd name="connsiteY524" fmla="*/ 484844 h 488614"/>
                <a:gd name="connsiteX525" fmla="*/ 664701 w 803926"/>
                <a:gd name="connsiteY525" fmla="*/ 486422 h 488614"/>
                <a:gd name="connsiteX526" fmla="*/ 664144 w 803926"/>
                <a:gd name="connsiteY526" fmla="*/ 487951 h 488614"/>
                <a:gd name="connsiteX527" fmla="*/ 663481 w 803926"/>
                <a:gd name="connsiteY527" fmla="*/ 488614 h 488614"/>
                <a:gd name="connsiteX528" fmla="*/ 662736 w 803926"/>
                <a:gd name="connsiteY528" fmla="*/ 488035 h 488614"/>
                <a:gd name="connsiteX529" fmla="*/ 655981 w 803926"/>
                <a:gd name="connsiteY529" fmla="*/ 480993 h 488614"/>
                <a:gd name="connsiteX530" fmla="*/ 648933 w 803926"/>
                <a:gd name="connsiteY530" fmla="*/ 473243 h 488614"/>
                <a:gd name="connsiteX531" fmla="*/ 646157 w 803926"/>
                <a:gd name="connsiteY531" fmla="*/ 470714 h 488614"/>
                <a:gd name="connsiteX532" fmla="*/ 643469 w 803926"/>
                <a:gd name="connsiteY532" fmla="*/ 468791 h 488614"/>
                <a:gd name="connsiteX533" fmla="*/ 639855 w 803926"/>
                <a:gd name="connsiteY533" fmla="*/ 465215 h 488614"/>
                <a:gd name="connsiteX534" fmla="*/ 630365 w 803926"/>
                <a:gd name="connsiteY534" fmla="*/ 457362 h 488614"/>
                <a:gd name="connsiteX535" fmla="*/ 625466 w 803926"/>
                <a:gd name="connsiteY535" fmla="*/ 453774 h 488614"/>
                <a:gd name="connsiteX536" fmla="*/ 620860 w 803926"/>
                <a:gd name="connsiteY536" fmla="*/ 449481 h 488614"/>
                <a:gd name="connsiteX537" fmla="*/ 616730 w 803926"/>
                <a:gd name="connsiteY537" fmla="*/ 447097 h 488614"/>
                <a:gd name="connsiteX538" fmla="*/ 612648 w 803926"/>
                <a:gd name="connsiteY538" fmla="*/ 445540 h 488614"/>
                <a:gd name="connsiteX539" fmla="*/ 610839 w 803926"/>
                <a:gd name="connsiteY539" fmla="*/ 444649 h 488614"/>
                <a:gd name="connsiteX540" fmla="*/ 609244 w 803926"/>
                <a:gd name="connsiteY540" fmla="*/ 443466 h 488614"/>
                <a:gd name="connsiteX541" fmla="*/ 608360 w 803926"/>
                <a:gd name="connsiteY541" fmla="*/ 443400 h 488614"/>
                <a:gd name="connsiteX542" fmla="*/ 607919 w 803926"/>
                <a:gd name="connsiteY542" fmla="*/ 444989 h 488614"/>
                <a:gd name="connsiteX543" fmla="*/ 609346 w 803926"/>
                <a:gd name="connsiteY543" fmla="*/ 445792 h 488614"/>
                <a:gd name="connsiteX544" fmla="*/ 611052 w 803926"/>
                <a:gd name="connsiteY544" fmla="*/ 446470 h 488614"/>
                <a:gd name="connsiteX545" fmla="*/ 612404 w 803926"/>
                <a:gd name="connsiteY545" fmla="*/ 446517 h 488614"/>
                <a:gd name="connsiteX546" fmla="*/ 613827 w 803926"/>
                <a:gd name="connsiteY546" fmla="*/ 447088 h 488614"/>
                <a:gd name="connsiteX547" fmla="*/ 618013 w 803926"/>
                <a:gd name="connsiteY547" fmla="*/ 449261 h 488614"/>
                <a:gd name="connsiteX548" fmla="*/ 618700 w 803926"/>
                <a:gd name="connsiteY548" fmla="*/ 450382 h 488614"/>
                <a:gd name="connsiteX549" fmla="*/ 606794 w 803926"/>
                <a:gd name="connsiteY549" fmla="*/ 446023 h 488614"/>
                <a:gd name="connsiteX550" fmla="*/ 601958 w 803926"/>
                <a:gd name="connsiteY550" fmla="*/ 445623 h 488614"/>
                <a:gd name="connsiteX551" fmla="*/ 601431 w 803926"/>
                <a:gd name="connsiteY551" fmla="*/ 444938 h 488614"/>
                <a:gd name="connsiteX552" fmla="*/ 603844 w 803926"/>
                <a:gd name="connsiteY552" fmla="*/ 442658 h 488614"/>
                <a:gd name="connsiteX553" fmla="*/ 603090 w 803926"/>
                <a:gd name="connsiteY553" fmla="*/ 441832 h 488614"/>
                <a:gd name="connsiteX554" fmla="*/ 602230 w 803926"/>
                <a:gd name="connsiteY554" fmla="*/ 441721 h 488614"/>
                <a:gd name="connsiteX555" fmla="*/ 599642 w 803926"/>
                <a:gd name="connsiteY555" fmla="*/ 443299 h 488614"/>
                <a:gd name="connsiteX556" fmla="*/ 598679 w 803926"/>
                <a:gd name="connsiteY556" fmla="*/ 443405 h 488614"/>
                <a:gd name="connsiteX557" fmla="*/ 598511 w 803926"/>
                <a:gd name="connsiteY557" fmla="*/ 442366 h 488614"/>
                <a:gd name="connsiteX558" fmla="*/ 598625 w 803926"/>
                <a:gd name="connsiteY558" fmla="*/ 441389 h 488614"/>
                <a:gd name="connsiteX559" fmla="*/ 596958 w 803926"/>
                <a:gd name="connsiteY559" fmla="*/ 439953 h 488614"/>
                <a:gd name="connsiteX560" fmla="*/ 595899 w 803926"/>
                <a:gd name="connsiteY560" fmla="*/ 440011 h 488614"/>
                <a:gd name="connsiteX561" fmla="*/ 595030 w 803926"/>
                <a:gd name="connsiteY561" fmla="*/ 441011 h 488614"/>
                <a:gd name="connsiteX562" fmla="*/ 592778 w 803926"/>
                <a:gd name="connsiteY562" fmla="*/ 442908 h 488614"/>
                <a:gd name="connsiteX563" fmla="*/ 592846 w 803926"/>
                <a:gd name="connsiteY563" fmla="*/ 443652 h 488614"/>
                <a:gd name="connsiteX564" fmla="*/ 597279 w 803926"/>
                <a:gd name="connsiteY564" fmla="*/ 444461 h 488614"/>
                <a:gd name="connsiteX565" fmla="*/ 598806 w 803926"/>
                <a:gd name="connsiteY565" fmla="*/ 444916 h 488614"/>
                <a:gd name="connsiteX566" fmla="*/ 598461 w 803926"/>
                <a:gd name="connsiteY566" fmla="*/ 445422 h 488614"/>
                <a:gd name="connsiteX567" fmla="*/ 594660 w 803926"/>
                <a:gd name="connsiteY567" fmla="*/ 445411 h 488614"/>
                <a:gd name="connsiteX568" fmla="*/ 589967 w 803926"/>
                <a:gd name="connsiteY568" fmla="*/ 446273 h 488614"/>
                <a:gd name="connsiteX569" fmla="*/ 581600 w 803926"/>
                <a:gd name="connsiteY569" fmla="*/ 451533 h 488614"/>
                <a:gd name="connsiteX570" fmla="*/ 573806 w 803926"/>
                <a:gd name="connsiteY570" fmla="*/ 453792 h 488614"/>
                <a:gd name="connsiteX571" fmla="*/ 562603 w 803926"/>
                <a:gd name="connsiteY571" fmla="*/ 458852 h 488614"/>
                <a:gd name="connsiteX572" fmla="*/ 557656 w 803926"/>
                <a:gd name="connsiteY572" fmla="*/ 459111 h 488614"/>
                <a:gd name="connsiteX573" fmla="*/ 555066 w 803926"/>
                <a:gd name="connsiteY573" fmla="*/ 459921 h 488614"/>
                <a:gd name="connsiteX574" fmla="*/ 547532 w 803926"/>
                <a:gd name="connsiteY574" fmla="*/ 457985 h 488614"/>
                <a:gd name="connsiteX575" fmla="*/ 537980 w 803926"/>
                <a:gd name="connsiteY575" fmla="*/ 453233 h 488614"/>
                <a:gd name="connsiteX576" fmla="*/ 523523 w 803926"/>
                <a:gd name="connsiteY576" fmla="*/ 451737 h 488614"/>
                <a:gd name="connsiteX577" fmla="*/ 513782 w 803926"/>
                <a:gd name="connsiteY577" fmla="*/ 445509 h 488614"/>
                <a:gd name="connsiteX578" fmla="*/ 504113 w 803926"/>
                <a:gd name="connsiteY578" fmla="*/ 442945 h 488614"/>
                <a:gd name="connsiteX579" fmla="*/ 497979 w 803926"/>
                <a:gd name="connsiteY579" fmla="*/ 436958 h 488614"/>
                <a:gd name="connsiteX580" fmla="*/ 494283 w 803926"/>
                <a:gd name="connsiteY580" fmla="*/ 436702 h 488614"/>
                <a:gd name="connsiteX581" fmla="*/ 491907 w 803926"/>
                <a:gd name="connsiteY581" fmla="*/ 435741 h 488614"/>
                <a:gd name="connsiteX582" fmla="*/ 483124 w 803926"/>
                <a:gd name="connsiteY582" fmla="*/ 433571 h 488614"/>
                <a:gd name="connsiteX583" fmla="*/ 474437 w 803926"/>
                <a:gd name="connsiteY583" fmla="*/ 432141 h 488614"/>
                <a:gd name="connsiteX584" fmla="*/ 465972 w 803926"/>
                <a:gd name="connsiteY584" fmla="*/ 426903 h 488614"/>
                <a:gd name="connsiteX585" fmla="*/ 460431 w 803926"/>
                <a:gd name="connsiteY585" fmla="*/ 425243 h 488614"/>
                <a:gd name="connsiteX586" fmla="*/ 455642 w 803926"/>
                <a:gd name="connsiteY586" fmla="*/ 423158 h 488614"/>
                <a:gd name="connsiteX587" fmla="*/ 445096 w 803926"/>
                <a:gd name="connsiteY587" fmla="*/ 419598 h 488614"/>
                <a:gd name="connsiteX588" fmla="*/ 441187 w 803926"/>
                <a:gd name="connsiteY588" fmla="*/ 417623 h 488614"/>
                <a:gd name="connsiteX589" fmla="*/ 437488 w 803926"/>
                <a:gd name="connsiteY589" fmla="*/ 414568 h 488614"/>
                <a:gd name="connsiteX590" fmla="*/ 431462 w 803926"/>
                <a:gd name="connsiteY590" fmla="*/ 411403 h 488614"/>
                <a:gd name="connsiteX591" fmla="*/ 428887 w 803926"/>
                <a:gd name="connsiteY591" fmla="*/ 408760 h 488614"/>
                <a:gd name="connsiteX592" fmla="*/ 426015 w 803926"/>
                <a:gd name="connsiteY592" fmla="*/ 407813 h 488614"/>
                <a:gd name="connsiteX593" fmla="*/ 421904 w 803926"/>
                <a:gd name="connsiteY593" fmla="*/ 402832 h 488614"/>
                <a:gd name="connsiteX594" fmla="*/ 419758 w 803926"/>
                <a:gd name="connsiteY594" fmla="*/ 400732 h 488614"/>
                <a:gd name="connsiteX595" fmla="*/ 417941 w 803926"/>
                <a:gd name="connsiteY595" fmla="*/ 399750 h 488614"/>
                <a:gd name="connsiteX596" fmla="*/ 415994 w 803926"/>
                <a:gd name="connsiteY596" fmla="*/ 399412 h 488614"/>
                <a:gd name="connsiteX597" fmla="*/ 410388 w 803926"/>
                <a:gd name="connsiteY597" fmla="*/ 399812 h 488614"/>
                <a:gd name="connsiteX598" fmla="*/ 402011 w 803926"/>
                <a:gd name="connsiteY598" fmla="*/ 397613 h 488614"/>
                <a:gd name="connsiteX599" fmla="*/ 398142 w 803926"/>
                <a:gd name="connsiteY599" fmla="*/ 397052 h 488614"/>
                <a:gd name="connsiteX600" fmla="*/ 390054 w 803926"/>
                <a:gd name="connsiteY600" fmla="*/ 393803 h 488614"/>
                <a:gd name="connsiteX601" fmla="*/ 379327 w 803926"/>
                <a:gd name="connsiteY601" fmla="*/ 390174 h 488614"/>
                <a:gd name="connsiteX602" fmla="*/ 375810 w 803926"/>
                <a:gd name="connsiteY602" fmla="*/ 386006 h 488614"/>
                <a:gd name="connsiteX603" fmla="*/ 372802 w 803926"/>
                <a:gd name="connsiteY603" fmla="*/ 382108 h 488614"/>
                <a:gd name="connsiteX604" fmla="*/ 367387 w 803926"/>
                <a:gd name="connsiteY604" fmla="*/ 376976 h 488614"/>
                <a:gd name="connsiteX605" fmla="*/ 364010 w 803926"/>
                <a:gd name="connsiteY605" fmla="*/ 374787 h 488614"/>
                <a:gd name="connsiteX606" fmla="*/ 358143 w 803926"/>
                <a:gd name="connsiteY606" fmla="*/ 372182 h 488614"/>
                <a:gd name="connsiteX607" fmla="*/ 354893 w 803926"/>
                <a:gd name="connsiteY607" fmla="*/ 370073 h 488614"/>
                <a:gd name="connsiteX608" fmla="*/ 349878 w 803926"/>
                <a:gd name="connsiteY608" fmla="*/ 368453 h 488614"/>
                <a:gd name="connsiteX609" fmla="*/ 341371 w 803926"/>
                <a:gd name="connsiteY609" fmla="*/ 364337 h 488614"/>
                <a:gd name="connsiteX610" fmla="*/ 338665 w 803926"/>
                <a:gd name="connsiteY610" fmla="*/ 360813 h 488614"/>
                <a:gd name="connsiteX611" fmla="*/ 337081 w 803926"/>
                <a:gd name="connsiteY611" fmla="*/ 357682 h 488614"/>
                <a:gd name="connsiteX612" fmla="*/ 332550 w 803926"/>
                <a:gd name="connsiteY612" fmla="*/ 353881 h 488614"/>
                <a:gd name="connsiteX613" fmla="*/ 327588 w 803926"/>
                <a:gd name="connsiteY613" fmla="*/ 346775 h 488614"/>
                <a:gd name="connsiteX614" fmla="*/ 326310 w 803926"/>
                <a:gd name="connsiteY614" fmla="*/ 344155 h 488614"/>
                <a:gd name="connsiteX615" fmla="*/ 325347 w 803926"/>
                <a:gd name="connsiteY615" fmla="*/ 340131 h 488614"/>
                <a:gd name="connsiteX616" fmla="*/ 324193 w 803926"/>
                <a:gd name="connsiteY616" fmla="*/ 337795 h 488614"/>
                <a:gd name="connsiteX617" fmla="*/ 322837 w 803926"/>
                <a:gd name="connsiteY617" fmla="*/ 335965 h 488614"/>
                <a:gd name="connsiteX618" fmla="*/ 323528 w 803926"/>
                <a:gd name="connsiteY618" fmla="*/ 334634 h 488614"/>
                <a:gd name="connsiteX619" fmla="*/ 326053 w 803926"/>
                <a:gd name="connsiteY619" fmla="*/ 332996 h 488614"/>
                <a:gd name="connsiteX620" fmla="*/ 330250 w 803926"/>
                <a:gd name="connsiteY620" fmla="*/ 332628 h 488614"/>
                <a:gd name="connsiteX621" fmla="*/ 333215 w 803926"/>
                <a:gd name="connsiteY621" fmla="*/ 330852 h 488614"/>
                <a:gd name="connsiteX622" fmla="*/ 333607 w 803926"/>
                <a:gd name="connsiteY622" fmla="*/ 329394 h 488614"/>
                <a:gd name="connsiteX623" fmla="*/ 333414 w 803926"/>
                <a:gd name="connsiteY623" fmla="*/ 328486 h 488614"/>
                <a:gd name="connsiteX624" fmla="*/ 331519 w 803926"/>
                <a:gd name="connsiteY624" fmla="*/ 326251 h 488614"/>
                <a:gd name="connsiteX625" fmla="*/ 329159 w 803926"/>
                <a:gd name="connsiteY625" fmla="*/ 325658 h 488614"/>
                <a:gd name="connsiteX626" fmla="*/ 327326 w 803926"/>
                <a:gd name="connsiteY626" fmla="*/ 325626 h 488614"/>
                <a:gd name="connsiteX627" fmla="*/ 326858 w 803926"/>
                <a:gd name="connsiteY627" fmla="*/ 324775 h 488614"/>
                <a:gd name="connsiteX628" fmla="*/ 328240 w 803926"/>
                <a:gd name="connsiteY628" fmla="*/ 323848 h 488614"/>
                <a:gd name="connsiteX629" fmla="*/ 329820 w 803926"/>
                <a:gd name="connsiteY629" fmla="*/ 321669 h 488614"/>
                <a:gd name="connsiteX630" fmla="*/ 332154 w 803926"/>
                <a:gd name="connsiteY630" fmla="*/ 319008 h 488614"/>
                <a:gd name="connsiteX631" fmla="*/ 333800 w 803926"/>
                <a:gd name="connsiteY631" fmla="*/ 316554 h 488614"/>
                <a:gd name="connsiteX632" fmla="*/ 334106 w 803926"/>
                <a:gd name="connsiteY632" fmla="*/ 313095 h 488614"/>
                <a:gd name="connsiteX633" fmla="*/ 333897 w 803926"/>
                <a:gd name="connsiteY633" fmla="*/ 309628 h 488614"/>
                <a:gd name="connsiteX634" fmla="*/ 334520 w 803926"/>
                <a:gd name="connsiteY634" fmla="*/ 306698 h 488614"/>
                <a:gd name="connsiteX635" fmla="*/ 328871 w 803926"/>
                <a:gd name="connsiteY635" fmla="*/ 303314 h 488614"/>
                <a:gd name="connsiteX636" fmla="*/ 328213 w 803926"/>
                <a:gd name="connsiteY636" fmla="*/ 301875 h 488614"/>
                <a:gd name="connsiteX637" fmla="*/ 326436 w 803926"/>
                <a:gd name="connsiteY637" fmla="*/ 297996 h 488614"/>
                <a:gd name="connsiteX638" fmla="*/ 323352 w 803926"/>
                <a:gd name="connsiteY638" fmla="*/ 293485 h 488614"/>
                <a:gd name="connsiteX639" fmla="*/ 323443 w 803926"/>
                <a:gd name="connsiteY639" fmla="*/ 284466 h 488614"/>
                <a:gd name="connsiteX640" fmla="*/ 319734 w 803926"/>
                <a:gd name="connsiteY640" fmla="*/ 276452 h 488614"/>
                <a:gd name="connsiteX641" fmla="*/ 315891 w 803926"/>
                <a:gd name="connsiteY641" fmla="*/ 272462 h 488614"/>
                <a:gd name="connsiteX642" fmla="*/ 313904 w 803926"/>
                <a:gd name="connsiteY642" fmla="*/ 271073 h 488614"/>
                <a:gd name="connsiteX643" fmla="*/ 308506 w 803926"/>
                <a:gd name="connsiteY643" fmla="*/ 264879 h 488614"/>
                <a:gd name="connsiteX644" fmla="*/ 304255 w 803926"/>
                <a:gd name="connsiteY644" fmla="*/ 261277 h 488614"/>
                <a:gd name="connsiteX645" fmla="*/ 300091 w 803926"/>
                <a:gd name="connsiteY645" fmla="*/ 254484 h 488614"/>
                <a:gd name="connsiteX646" fmla="*/ 295976 w 803926"/>
                <a:gd name="connsiteY646" fmla="*/ 250164 h 488614"/>
                <a:gd name="connsiteX647" fmla="*/ 290733 w 803926"/>
                <a:gd name="connsiteY647" fmla="*/ 242909 h 488614"/>
                <a:gd name="connsiteX648" fmla="*/ 286947 w 803926"/>
                <a:gd name="connsiteY648" fmla="*/ 239288 h 488614"/>
                <a:gd name="connsiteX649" fmla="*/ 269702 w 803926"/>
                <a:gd name="connsiteY649" fmla="*/ 227035 h 488614"/>
                <a:gd name="connsiteX650" fmla="*/ 270674 w 803926"/>
                <a:gd name="connsiteY650" fmla="*/ 227035 h 488614"/>
                <a:gd name="connsiteX651" fmla="*/ 275730 w 803926"/>
                <a:gd name="connsiteY651" fmla="*/ 230045 h 488614"/>
                <a:gd name="connsiteX652" fmla="*/ 276581 w 803926"/>
                <a:gd name="connsiteY652" fmla="*/ 229794 h 488614"/>
                <a:gd name="connsiteX653" fmla="*/ 276701 w 803926"/>
                <a:gd name="connsiteY653" fmla="*/ 228326 h 488614"/>
                <a:gd name="connsiteX654" fmla="*/ 276118 w 803926"/>
                <a:gd name="connsiteY654" fmla="*/ 226571 h 488614"/>
                <a:gd name="connsiteX655" fmla="*/ 275180 w 803926"/>
                <a:gd name="connsiteY655" fmla="*/ 226150 h 488614"/>
                <a:gd name="connsiteX656" fmla="*/ 273834 w 803926"/>
                <a:gd name="connsiteY656" fmla="*/ 226545 h 488614"/>
                <a:gd name="connsiteX657" fmla="*/ 272017 w 803926"/>
                <a:gd name="connsiteY657" fmla="*/ 226184 h 488614"/>
                <a:gd name="connsiteX658" fmla="*/ 271107 w 803926"/>
                <a:gd name="connsiteY658" fmla="*/ 225606 h 488614"/>
                <a:gd name="connsiteX659" fmla="*/ 268389 w 803926"/>
                <a:gd name="connsiteY659" fmla="*/ 225230 h 488614"/>
                <a:gd name="connsiteX660" fmla="*/ 264980 w 803926"/>
                <a:gd name="connsiteY660" fmla="*/ 223186 h 488614"/>
                <a:gd name="connsiteX661" fmla="*/ 263519 w 803926"/>
                <a:gd name="connsiteY661" fmla="*/ 221067 h 488614"/>
                <a:gd name="connsiteX662" fmla="*/ 263359 w 803926"/>
                <a:gd name="connsiteY662" fmla="*/ 218646 h 488614"/>
                <a:gd name="connsiteX663" fmla="*/ 258476 w 803926"/>
                <a:gd name="connsiteY663" fmla="*/ 213485 h 488614"/>
                <a:gd name="connsiteX664" fmla="*/ 256623 w 803926"/>
                <a:gd name="connsiteY664" fmla="*/ 210603 h 488614"/>
                <a:gd name="connsiteX665" fmla="*/ 257572 w 803926"/>
                <a:gd name="connsiteY665" fmla="*/ 210817 h 488614"/>
                <a:gd name="connsiteX666" fmla="*/ 258873 w 803926"/>
                <a:gd name="connsiteY666" fmla="*/ 211977 h 488614"/>
                <a:gd name="connsiteX667" fmla="*/ 260189 w 803926"/>
                <a:gd name="connsiteY667" fmla="*/ 212307 h 488614"/>
                <a:gd name="connsiteX668" fmla="*/ 261722 w 803926"/>
                <a:gd name="connsiteY668" fmla="*/ 212318 h 488614"/>
                <a:gd name="connsiteX669" fmla="*/ 262837 w 803926"/>
                <a:gd name="connsiteY669" fmla="*/ 211851 h 488614"/>
                <a:gd name="connsiteX670" fmla="*/ 262437 w 803926"/>
                <a:gd name="connsiteY670" fmla="*/ 210995 h 488614"/>
                <a:gd name="connsiteX671" fmla="*/ 261389 w 803926"/>
                <a:gd name="connsiteY671" fmla="*/ 210281 h 488614"/>
                <a:gd name="connsiteX672" fmla="*/ 254266 w 803926"/>
                <a:gd name="connsiteY672" fmla="*/ 207558 h 488614"/>
                <a:gd name="connsiteX673" fmla="*/ 251919 w 803926"/>
                <a:gd name="connsiteY673" fmla="*/ 205645 h 488614"/>
                <a:gd name="connsiteX674" fmla="*/ 246083 w 803926"/>
                <a:gd name="connsiteY674" fmla="*/ 202463 h 488614"/>
                <a:gd name="connsiteX675" fmla="*/ 244699 w 803926"/>
                <a:gd name="connsiteY675" fmla="*/ 201346 h 488614"/>
                <a:gd name="connsiteX676" fmla="*/ 243780 w 803926"/>
                <a:gd name="connsiteY676" fmla="*/ 198266 h 488614"/>
                <a:gd name="connsiteX677" fmla="*/ 242351 w 803926"/>
                <a:gd name="connsiteY677" fmla="*/ 198123 h 488614"/>
                <a:gd name="connsiteX678" fmla="*/ 241094 w 803926"/>
                <a:gd name="connsiteY678" fmla="*/ 198982 h 488614"/>
                <a:gd name="connsiteX679" fmla="*/ 237655 w 803926"/>
                <a:gd name="connsiteY679" fmla="*/ 199824 h 488614"/>
                <a:gd name="connsiteX680" fmla="*/ 236776 w 803926"/>
                <a:gd name="connsiteY680" fmla="*/ 198844 h 488614"/>
                <a:gd name="connsiteX681" fmla="*/ 236649 w 803926"/>
                <a:gd name="connsiteY681" fmla="*/ 197900 h 488614"/>
                <a:gd name="connsiteX682" fmla="*/ 239076 w 803926"/>
                <a:gd name="connsiteY682" fmla="*/ 196901 h 488614"/>
                <a:gd name="connsiteX683" fmla="*/ 241305 w 803926"/>
                <a:gd name="connsiteY683" fmla="*/ 193990 h 488614"/>
                <a:gd name="connsiteX684" fmla="*/ 241262 w 803926"/>
                <a:gd name="connsiteY684" fmla="*/ 192976 h 488614"/>
                <a:gd name="connsiteX685" fmla="*/ 240030 w 803926"/>
                <a:gd name="connsiteY685" fmla="*/ 194146 h 488614"/>
                <a:gd name="connsiteX686" fmla="*/ 238173 w 803926"/>
                <a:gd name="connsiteY686" fmla="*/ 195453 h 488614"/>
                <a:gd name="connsiteX687" fmla="*/ 236254 w 803926"/>
                <a:gd name="connsiteY687" fmla="*/ 196182 h 488614"/>
                <a:gd name="connsiteX688" fmla="*/ 233403 w 803926"/>
                <a:gd name="connsiteY688" fmla="*/ 196791 h 488614"/>
                <a:gd name="connsiteX689" fmla="*/ 231947 w 803926"/>
                <a:gd name="connsiteY689" fmla="*/ 196352 h 488614"/>
                <a:gd name="connsiteX690" fmla="*/ 230669 w 803926"/>
                <a:gd name="connsiteY690" fmla="*/ 195692 h 488614"/>
                <a:gd name="connsiteX691" fmla="*/ 228625 w 803926"/>
                <a:gd name="connsiteY691" fmla="*/ 193147 h 488614"/>
                <a:gd name="connsiteX692" fmla="*/ 227593 w 803926"/>
                <a:gd name="connsiteY692" fmla="*/ 184867 h 488614"/>
                <a:gd name="connsiteX693" fmla="*/ 229406 w 803926"/>
                <a:gd name="connsiteY693" fmla="*/ 181994 h 488614"/>
                <a:gd name="connsiteX694" fmla="*/ 231522 w 803926"/>
                <a:gd name="connsiteY694" fmla="*/ 179152 h 488614"/>
                <a:gd name="connsiteX695" fmla="*/ 233322 w 803926"/>
                <a:gd name="connsiteY695" fmla="*/ 177465 h 488614"/>
                <a:gd name="connsiteX696" fmla="*/ 234359 w 803926"/>
                <a:gd name="connsiteY696" fmla="*/ 178739 h 488614"/>
                <a:gd name="connsiteX697" fmla="*/ 235427 w 803926"/>
                <a:gd name="connsiteY697" fmla="*/ 178892 h 488614"/>
                <a:gd name="connsiteX698" fmla="*/ 234675 w 803926"/>
                <a:gd name="connsiteY698" fmla="*/ 177453 h 488614"/>
                <a:gd name="connsiteX699" fmla="*/ 232908 w 803926"/>
                <a:gd name="connsiteY699" fmla="*/ 176105 h 488614"/>
                <a:gd name="connsiteX700" fmla="*/ 232284 w 803926"/>
                <a:gd name="connsiteY700" fmla="*/ 174763 h 488614"/>
                <a:gd name="connsiteX701" fmla="*/ 232217 w 803926"/>
                <a:gd name="connsiteY701" fmla="*/ 173532 h 488614"/>
                <a:gd name="connsiteX702" fmla="*/ 231380 w 803926"/>
                <a:gd name="connsiteY702" fmla="*/ 171249 h 488614"/>
                <a:gd name="connsiteX703" fmla="*/ 226142 w 803926"/>
                <a:gd name="connsiteY703" fmla="*/ 166447 h 488614"/>
                <a:gd name="connsiteX704" fmla="*/ 221243 w 803926"/>
                <a:gd name="connsiteY704" fmla="*/ 166815 h 488614"/>
                <a:gd name="connsiteX705" fmla="*/ 219247 w 803926"/>
                <a:gd name="connsiteY705" fmla="*/ 166648 h 488614"/>
                <a:gd name="connsiteX706" fmla="*/ 217381 w 803926"/>
                <a:gd name="connsiteY706" fmla="*/ 164819 h 488614"/>
                <a:gd name="connsiteX707" fmla="*/ 215795 w 803926"/>
                <a:gd name="connsiteY707" fmla="*/ 161733 h 488614"/>
                <a:gd name="connsiteX708" fmla="*/ 215014 w 803926"/>
                <a:gd name="connsiteY708" fmla="*/ 159149 h 488614"/>
                <a:gd name="connsiteX709" fmla="*/ 214915 w 803926"/>
                <a:gd name="connsiteY709" fmla="*/ 157772 h 488614"/>
                <a:gd name="connsiteX710" fmla="*/ 214449 w 803926"/>
                <a:gd name="connsiteY710" fmla="*/ 156390 h 488614"/>
                <a:gd name="connsiteX711" fmla="*/ 206002 w 803926"/>
                <a:gd name="connsiteY711" fmla="*/ 154128 h 488614"/>
                <a:gd name="connsiteX712" fmla="*/ 203462 w 803926"/>
                <a:gd name="connsiteY712" fmla="*/ 152187 h 488614"/>
                <a:gd name="connsiteX713" fmla="*/ 200914 w 803926"/>
                <a:gd name="connsiteY713" fmla="*/ 149747 h 488614"/>
                <a:gd name="connsiteX714" fmla="*/ 199859 w 803926"/>
                <a:gd name="connsiteY714" fmla="*/ 147753 h 488614"/>
                <a:gd name="connsiteX715" fmla="*/ 198813 w 803926"/>
                <a:gd name="connsiteY715" fmla="*/ 146262 h 488614"/>
                <a:gd name="connsiteX716" fmla="*/ 198002 w 803926"/>
                <a:gd name="connsiteY716" fmla="*/ 143686 h 488614"/>
                <a:gd name="connsiteX717" fmla="*/ 197422 w 803926"/>
                <a:gd name="connsiteY717" fmla="*/ 140689 h 488614"/>
                <a:gd name="connsiteX718" fmla="*/ 198366 w 803926"/>
                <a:gd name="connsiteY718" fmla="*/ 136807 h 488614"/>
                <a:gd name="connsiteX719" fmla="*/ 199593 w 803926"/>
                <a:gd name="connsiteY719" fmla="*/ 134929 h 488614"/>
                <a:gd name="connsiteX720" fmla="*/ 193783 w 803926"/>
                <a:gd name="connsiteY720" fmla="*/ 133531 h 488614"/>
                <a:gd name="connsiteX721" fmla="*/ 191511 w 803926"/>
                <a:gd name="connsiteY721" fmla="*/ 133466 h 488614"/>
                <a:gd name="connsiteX722" fmla="*/ 189681 w 803926"/>
                <a:gd name="connsiteY722" fmla="*/ 134252 h 488614"/>
                <a:gd name="connsiteX723" fmla="*/ 188025 w 803926"/>
                <a:gd name="connsiteY723" fmla="*/ 133235 h 488614"/>
                <a:gd name="connsiteX724" fmla="*/ 184595 w 803926"/>
                <a:gd name="connsiteY724" fmla="*/ 132111 h 488614"/>
                <a:gd name="connsiteX725" fmla="*/ 180512 w 803926"/>
                <a:gd name="connsiteY725" fmla="*/ 128044 h 488614"/>
                <a:gd name="connsiteX726" fmla="*/ 175713 w 803926"/>
                <a:gd name="connsiteY726" fmla="*/ 120664 h 488614"/>
                <a:gd name="connsiteX727" fmla="*/ 170429 w 803926"/>
                <a:gd name="connsiteY727" fmla="*/ 118283 h 488614"/>
                <a:gd name="connsiteX728" fmla="*/ 168726 w 803926"/>
                <a:gd name="connsiteY728" fmla="*/ 115713 h 488614"/>
                <a:gd name="connsiteX729" fmla="*/ 166565 w 803926"/>
                <a:gd name="connsiteY729" fmla="*/ 113397 h 488614"/>
                <a:gd name="connsiteX730" fmla="*/ 164673 w 803926"/>
                <a:gd name="connsiteY730" fmla="*/ 110523 h 488614"/>
                <a:gd name="connsiteX731" fmla="*/ 164380 w 803926"/>
                <a:gd name="connsiteY731" fmla="*/ 109272 h 488614"/>
                <a:gd name="connsiteX732" fmla="*/ 163817 w 803926"/>
                <a:gd name="connsiteY732" fmla="*/ 108575 h 488614"/>
                <a:gd name="connsiteX733" fmla="*/ 161178 w 803926"/>
                <a:gd name="connsiteY733" fmla="*/ 106571 h 488614"/>
                <a:gd name="connsiteX734" fmla="*/ 158215 w 803926"/>
                <a:gd name="connsiteY734" fmla="*/ 103179 h 488614"/>
                <a:gd name="connsiteX735" fmla="*/ 157447 w 803926"/>
                <a:gd name="connsiteY735" fmla="*/ 100445 h 488614"/>
                <a:gd name="connsiteX736" fmla="*/ 156650 w 803926"/>
                <a:gd name="connsiteY736" fmla="*/ 96259 h 488614"/>
                <a:gd name="connsiteX737" fmla="*/ 154674 w 803926"/>
                <a:gd name="connsiteY737" fmla="*/ 94783 h 488614"/>
                <a:gd name="connsiteX738" fmla="*/ 152726 w 803926"/>
                <a:gd name="connsiteY738" fmla="*/ 94098 h 488614"/>
                <a:gd name="connsiteX739" fmla="*/ 152346 w 803926"/>
                <a:gd name="connsiteY739" fmla="*/ 92107 h 488614"/>
                <a:gd name="connsiteX740" fmla="*/ 152461 w 803926"/>
                <a:gd name="connsiteY740" fmla="*/ 90989 h 488614"/>
                <a:gd name="connsiteX741" fmla="*/ 151805 w 803926"/>
                <a:gd name="connsiteY741" fmla="*/ 88878 h 488614"/>
                <a:gd name="connsiteX742" fmla="*/ 147790 w 803926"/>
                <a:gd name="connsiteY742" fmla="*/ 83807 h 488614"/>
                <a:gd name="connsiteX743" fmla="*/ 145756 w 803926"/>
                <a:gd name="connsiteY743" fmla="*/ 79634 h 488614"/>
                <a:gd name="connsiteX744" fmla="*/ 144639 w 803926"/>
                <a:gd name="connsiteY744" fmla="*/ 78336 h 488614"/>
                <a:gd name="connsiteX745" fmla="*/ 143593 w 803926"/>
                <a:gd name="connsiteY745" fmla="*/ 76432 h 488614"/>
                <a:gd name="connsiteX746" fmla="*/ 143065 w 803926"/>
                <a:gd name="connsiteY746" fmla="*/ 72539 h 488614"/>
                <a:gd name="connsiteX747" fmla="*/ 141402 w 803926"/>
                <a:gd name="connsiteY747" fmla="*/ 67690 h 488614"/>
                <a:gd name="connsiteX748" fmla="*/ 138183 w 803926"/>
                <a:gd name="connsiteY748" fmla="*/ 61851 h 488614"/>
                <a:gd name="connsiteX749" fmla="*/ 135497 w 803926"/>
                <a:gd name="connsiteY749" fmla="*/ 57922 h 488614"/>
                <a:gd name="connsiteX750" fmla="*/ 134159 w 803926"/>
                <a:gd name="connsiteY750" fmla="*/ 53954 h 488614"/>
                <a:gd name="connsiteX751" fmla="*/ 134753 w 803926"/>
                <a:gd name="connsiteY751" fmla="*/ 49915 h 488614"/>
                <a:gd name="connsiteX752" fmla="*/ 134298 w 803926"/>
                <a:gd name="connsiteY752" fmla="*/ 47426 h 488614"/>
                <a:gd name="connsiteX753" fmla="*/ 133953 w 803926"/>
                <a:gd name="connsiteY753" fmla="*/ 46841 h 488614"/>
                <a:gd name="connsiteX754" fmla="*/ 134223 w 803926"/>
                <a:gd name="connsiteY754" fmla="*/ 46026 h 488614"/>
                <a:gd name="connsiteX755" fmla="*/ 135114 w 803926"/>
                <a:gd name="connsiteY755" fmla="*/ 46485 h 488614"/>
                <a:gd name="connsiteX756" fmla="*/ 135871 w 803926"/>
                <a:gd name="connsiteY756" fmla="*/ 45754 h 488614"/>
                <a:gd name="connsiteX757" fmla="*/ 135775 w 803926"/>
                <a:gd name="connsiteY757" fmla="*/ 43175 h 488614"/>
                <a:gd name="connsiteX758" fmla="*/ 134839 w 803926"/>
                <a:gd name="connsiteY758" fmla="*/ 42394 h 488614"/>
                <a:gd name="connsiteX759" fmla="*/ 132239 w 803926"/>
                <a:gd name="connsiteY759" fmla="*/ 41587 h 488614"/>
                <a:gd name="connsiteX760" fmla="*/ 131092 w 803926"/>
                <a:gd name="connsiteY760" fmla="*/ 41030 h 488614"/>
                <a:gd name="connsiteX761" fmla="*/ 124769 w 803926"/>
                <a:gd name="connsiteY761" fmla="*/ 39977 h 488614"/>
                <a:gd name="connsiteX762" fmla="*/ 121151 w 803926"/>
                <a:gd name="connsiteY762" fmla="*/ 38513 h 488614"/>
                <a:gd name="connsiteX763" fmla="*/ 120909 w 803926"/>
                <a:gd name="connsiteY763" fmla="*/ 35104 h 488614"/>
                <a:gd name="connsiteX764" fmla="*/ 119212 w 803926"/>
                <a:gd name="connsiteY764" fmla="*/ 33543 h 488614"/>
                <a:gd name="connsiteX765" fmla="*/ 117704 w 803926"/>
                <a:gd name="connsiteY765" fmla="*/ 32577 h 488614"/>
                <a:gd name="connsiteX766" fmla="*/ 112929 w 803926"/>
                <a:gd name="connsiteY766" fmla="*/ 30571 h 488614"/>
                <a:gd name="connsiteX767" fmla="*/ 112174 w 803926"/>
                <a:gd name="connsiteY767" fmla="*/ 31598 h 488614"/>
                <a:gd name="connsiteX768" fmla="*/ 111535 w 803926"/>
                <a:gd name="connsiteY768" fmla="*/ 33491 h 488614"/>
                <a:gd name="connsiteX769" fmla="*/ 109552 w 803926"/>
                <a:gd name="connsiteY769" fmla="*/ 33906 h 488614"/>
                <a:gd name="connsiteX770" fmla="*/ 107818 w 803926"/>
                <a:gd name="connsiteY770" fmla="*/ 33990 h 488614"/>
                <a:gd name="connsiteX771" fmla="*/ 104909 w 803926"/>
                <a:gd name="connsiteY771" fmla="*/ 32670 h 488614"/>
                <a:gd name="connsiteX772" fmla="*/ 97691 w 803926"/>
                <a:gd name="connsiteY772" fmla="*/ 27646 h 488614"/>
                <a:gd name="connsiteX773" fmla="*/ 96167 w 803926"/>
                <a:gd name="connsiteY773" fmla="*/ 26840 h 488614"/>
                <a:gd name="connsiteX774" fmla="*/ 93915 w 803926"/>
                <a:gd name="connsiteY774" fmla="*/ 26415 h 488614"/>
                <a:gd name="connsiteX775" fmla="*/ 92807 w 803926"/>
                <a:gd name="connsiteY775" fmla="*/ 25599 h 488614"/>
                <a:gd name="connsiteX776" fmla="*/ 87931 w 803926"/>
                <a:gd name="connsiteY776" fmla="*/ 22952 h 488614"/>
                <a:gd name="connsiteX777" fmla="*/ 88908 w 803926"/>
                <a:gd name="connsiteY777" fmla="*/ 24359 h 488614"/>
                <a:gd name="connsiteX778" fmla="*/ 90317 w 803926"/>
                <a:gd name="connsiteY778" fmla="*/ 25822 h 488614"/>
                <a:gd name="connsiteX779" fmla="*/ 91575 w 803926"/>
                <a:gd name="connsiteY779" fmla="*/ 30072 h 488614"/>
                <a:gd name="connsiteX780" fmla="*/ 90098 w 803926"/>
                <a:gd name="connsiteY780" fmla="*/ 33133 h 488614"/>
                <a:gd name="connsiteX781" fmla="*/ 89242 w 803926"/>
                <a:gd name="connsiteY781" fmla="*/ 43815 h 488614"/>
                <a:gd name="connsiteX782" fmla="*/ 90186 w 803926"/>
                <a:gd name="connsiteY782" fmla="*/ 45938 h 488614"/>
                <a:gd name="connsiteX783" fmla="*/ 92306 w 803926"/>
                <a:gd name="connsiteY783" fmla="*/ 49338 h 488614"/>
                <a:gd name="connsiteX784" fmla="*/ 93768 w 803926"/>
                <a:gd name="connsiteY784" fmla="*/ 54740 h 488614"/>
                <a:gd name="connsiteX785" fmla="*/ 94223 w 803926"/>
                <a:gd name="connsiteY785" fmla="*/ 58753 h 488614"/>
                <a:gd name="connsiteX786" fmla="*/ 95546 w 803926"/>
                <a:gd name="connsiteY786" fmla="*/ 61938 h 488614"/>
                <a:gd name="connsiteX787" fmla="*/ 95128 w 803926"/>
                <a:gd name="connsiteY787" fmla="*/ 69415 h 488614"/>
                <a:gd name="connsiteX788" fmla="*/ 95630 w 803926"/>
                <a:gd name="connsiteY788" fmla="*/ 71688 h 488614"/>
                <a:gd name="connsiteX789" fmla="*/ 97645 w 803926"/>
                <a:gd name="connsiteY789" fmla="*/ 75411 h 488614"/>
                <a:gd name="connsiteX790" fmla="*/ 101374 w 803926"/>
                <a:gd name="connsiteY790" fmla="*/ 78901 h 488614"/>
                <a:gd name="connsiteX791" fmla="*/ 102155 w 803926"/>
                <a:gd name="connsiteY791" fmla="*/ 80740 h 488614"/>
                <a:gd name="connsiteX792" fmla="*/ 107060 w 803926"/>
                <a:gd name="connsiteY792" fmla="*/ 83398 h 488614"/>
                <a:gd name="connsiteX793" fmla="*/ 110033 w 803926"/>
                <a:gd name="connsiteY793" fmla="*/ 86854 h 488614"/>
                <a:gd name="connsiteX794" fmla="*/ 115940 w 803926"/>
                <a:gd name="connsiteY794" fmla="*/ 91561 h 488614"/>
                <a:gd name="connsiteX795" fmla="*/ 117803 w 803926"/>
                <a:gd name="connsiteY795" fmla="*/ 93551 h 488614"/>
                <a:gd name="connsiteX796" fmla="*/ 123133 w 803926"/>
                <a:gd name="connsiteY796" fmla="*/ 100878 h 488614"/>
                <a:gd name="connsiteX797" fmla="*/ 123307 w 803926"/>
                <a:gd name="connsiteY797" fmla="*/ 103055 h 488614"/>
                <a:gd name="connsiteX798" fmla="*/ 124289 w 803926"/>
                <a:gd name="connsiteY798" fmla="*/ 105721 h 488614"/>
                <a:gd name="connsiteX799" fmla="*/ 127278 w 803926"/>
                <a:gd name="connsiteY799" fmla="*/ 105170 h 488614"/>
                <a:gd name="connsiteX800" fmla="*/ 128620 w 803926"/>
                <a:gd name="connsiteY800" fmla="*/ 107201 h 488614"/>
                <a:gd name="connsiteX801" fmla="*/ 128466 w 803926"/>
                <a:gd name="connsiteY801" fmla="*/ 108138 h 488614"/>
                <a:gd name="connsiteX802" fmla="*/ 128828 w 803926"/>
                <a:gd name="connsiteY802" fmla="*/ 108853 h 488614"/>
                <a:gd name="connsiteX803" fmla="*/ 130396 w 803926"/>
                <a:gd name="connsiteY803" fmla="*/ 108694 h 488614"/>
                <a:gd name="connsiteX804" fmla="*/ 131748 w 803926"/>
                <a:gd name="connsiteY804" fmla="*/ 109248 h 488614"/>
                <a:gd name="connsiteX805" fmla="*/ 134586 w 803926"/>
                <a:gd name="connsiteY805" fmla="*/ 117150 h 488614"/>
                <a:gd name="connsiteX806" fmla="*/ 136109 w 803926"/>
                <a:gd name="connsiteY806" fmla="*/ 118227 h 488614"/>
                <a:gd name="connsiteX807" fmla="*/ 138059 w 803926"/>
                <a:gd name="connsiteY807" fmla="*/ 118687 h 488614"/>
                <a:gd name="connsiteX808" fmla="*/ 140234 w 803926"/>
                <a:gd name="connsiteY808" fmla="*/ 119557 h 488614"/>
                <a:gd name="connsiteX809" fmla="*/ 140377 w 803926"/>
                <a:gd name="connsiteY809" fmla="*/ 121580 h 488614"/>
                <a:gd name="connsiteX810" fmla="*/ 140295 w 803926"/>
                <a:gd name="connsiteY810" fmla="*/ 123191 h 488614"/>
                <a:gd name="connsiteX811" fmla="*/ 142140 w 803926"/>
                <a:gd name="connsiteY811" fmla="*/ 125522 h 488614"/>
                <a:gd name="connsiteX812" fmla="*/ 141827 w 803926"/>
                <a:gd name="connsiteY812" fmla="*/ 128677 h 488614"/>
                <a:gd name="connsiteX813" fmla="*/ 143317 w 803926"/>
                <a:gd name="connsiteY813" fmla="*/ 131347 h 488614"/>
                <a:gd name="connsiteX814" fmla="*/ 143091 w 803926"/>
                <a:gd name="connsiteY814" fmla="*/ 133930 h 488614"/>
                <a:gd name="connsiteX815" fmla="*/ 143704 w 803926"/>
                <a:gd name="connsiteY815" fmla="*/ 135976 h 488614"/>
                <a:gd name="connsiteX816" fmla="*/ 148304 w 803926"/>
                <a:gd name="connsiteY816" fmla="*/ 140591 h 488614"/>
                <a:gd name="connsiteX817" fmla="*/ 153969 w 803926"/>
                <a:gd name="connsiteY817" fmla="*/ 144259 h 488614"/>
                <a:gd name="connsiteX818" fmla="*/ 155150 w 803926"/>
                <a:gd name="connsiteY818" fmla="*/ 149069 h 488614"/>
                <a:gd name="connsiteX819" fmla="*/ 157462 w 803926"/>
                <a:gd name="connsiteY819" fmla="*/ 153461 h 488614"/>
                <a:gd name="connsiteX820" fmla="*/ 159827 w 803926"/>
                <a:gd name="connsiteY820" fmla="*/ 154572 h 488614"/>
                <a:gd name="connsiteX821" fmla="*/ 162216 w 803926"/>
                <a:gd name="connsiteY821" fmla="*/ 156397 h 488614"/>
                <a:gd name="connsiteX822" fmla="*/ 161921 w 803926"/>
                <a:gd name="connsiteY822" fmla="*/ 158289 h 488614"/>
                <a:gd name="connsiteX823" fmla="*/ 162086 w 803926"/>
                <a:gd name="connsiteY823" fmla="*/ 159452 h 488614"/>
                <a:gd name="connsiteX824" fmla="*/ 165279 w 803926"/>
                <a:gd name="connsiteY824" fmla="*/ 162910 h 488614"/>
                <a:gd name="connsiteX825" fmla="*/ 165799 w 803926"/>
                <a:gd name="connsiteY825" fmla="*/ 167313 h 488614"/>
                <a:gd name="connsiteX826" fmla="*/ 168554 w 803926"/>
                <a:gd name="connsiteY826" fmla="*/ 170193 h 488614"/>
                <a:gd name="connsiteX827" fmla="*/ 169330 w 803926"/>
                <a:gd name="connsiteY827" fmla="*/ 170419 h 488614"/>
                <a:gd name="connsiteX828" fmla="*/ 169938 w 803926"/>
                <a:gd name="connsiteY828" fmla="*/ 169969 h 488614"/>
                <a:gd name="connsiteX829" fmla="*/ 167932 w 803926"/>
                <a:gd name="connsiteY829" fmla="*/ 167076 h 488614"/>
                <a:gd name="connsiteX830" fmla="*/ 166961 w 803926"/>
                <a:gd name="connsiteY830" fmla="*/ 165197 h 488614"/>
                <a:gd name="connsiteX831" fmla="*/ 166835 w 803926"/>
                <a:gd name="connsiteY831" fmla="*/ 162231 h 488614"/>
                <a:gd name="connsiteX832" fmla="*/ 167508 w 803926"/>
                <a:gd name="connsiteY832" fmla="*/ 161834 h 488614"/>
                <a:gd name="connsiteX833" fmla="*/ 173228 w 803926"/>
                <a:gd name="connsiteY833" fmla="*/ 166521 h 488614"/>
                <a:gd name="connsiteX834" fmla="*/ 173831 w 803926"/>
                <a:gd name="connsiteY834" fmla="*/ 170016 h 488614"/>
                <a:gd name="connsiteX835" fmla="*/ 175751 w 803926"/>
                <a:gd name="connsiteY835" fmla="*/ 171991 h 488614"/>
                <a:gd name="connsiteX836" fmla="*/ 175895 w 803926"/>
                <a:gd name="connsiteY836" fmla="*/ 174660 h 488614"/>
                <a:gd name="connsiteX837" fmla="*/ 177061 w 803926"/>
                <a:gd name="connsiteY837" fmla="*/ 176250 h 488614"/>
                <a:gd name="connsiteX838" fmla="*/ 177413 w 803926"/>
                <a:gd name="connsiteY838" fmla="*/ 178557 h 488614"/>
                <a:gd name="connsiteX839" fmla="*/ 179252 w 803926"/>
                <a:gd name="connsiteY839" fmla="*/ 182348 h 488614"/>
                <a:gd name="connsiteX840" fmla="*/ 179296 w 803926"/>
                <a:gd name="connsiteY840" fmla="*/ 187613 h 488614"/>
                <a:gd name="connsiteX841" fmla="*/ 180279 w 803926"/>
                <a:gd name="connsiteY841" fmla="*/ 191450 h 488614"/>
                <a:gd name="connsiteX842" fmla="*/ 183881 w 803926"/>
                <a:gd name="connsiteY842" fmla="*/ 197331 h 488614"/>
                <a:gd name="connsiteX843" fmla="*/ 186800 w 803926"/>
                <a:gd name="connsiteY843" fmla="*/ 198566 h 488614"/>
                <a:gd name="connsiteX844" fmla="*/ 187327 w 803926"/>
                <a:gd name="connsiteY844" fmla="*/ 201451 h 488614"/>
                <a:gd name="connsiteX845" fmla="*/ 190362 w 803926"/>
                <a:gd name="connsiteY845" fmla="*/ 208911 h 488614"/>
                <a:gd name="connsiteX846" fmla="*/ 193869 w 803926"/>
                <a:gd name="connsiteY846" fmla="*/ 212951 h 488614"/>
                <a:gd name="connsiteX847" fmla="*/ 195615 w 803926"/>
                <a:gd name="connsiteY847" fmla="*/ 216374 h 488614"/>
                <a:gd name="connsiteX848" fmla="*/ 195857 w 803926"/>
                <a:gd name="connsiteY848" fmla="*/ 218508 h 488614"/>
                <a:gd name="connsiteX849" fmla="*/ 194544 w 803926"/>
                <a:gd name="connsiteY849" fmla="*/ 221661 h 488614"/>
                <a:gd name="connsiteX850" fmla="*/ 194404 w 803926"/>
                <a:gd name="connsiteY850" fmla="*/ 223860 h 488614"/>
                <a:gd name="connsiteX851" fmla="*/ 196311 w 803926"/>
                <a:gd name="connsiteY851" fmla="*/ 230545 h 488614"/>
                <a:gd name="connsiteX852" fmla="*/ 199160 w 803926"/>
                <a:gd name="connsiteY852" fmla="*/ 233968 h 488614"/>
                <a:gd name="connsiteX853" fmla="*/ 202342 w 803926"/>
                <a:gd name="connsiteY853" fmla="*/ 234794 h 488614"/>
                <a:gd name="connsiteX854" fmla="*/ 202896 w 803926"/>
                <a:gd name="connsiteY854" fmla="*/ 235285 h 488614"/>
                <a:gd name="connsiteX855" fmla="*/ 202642 w 803926"/>
                <a:gd name="connsiteY855" fmla="*/ 236204 h 488614"/>
                <a:gd name="connsiteX856" fmla="*/ 203712 w 803926"/>
                <a:gd name="connsiteY856" fmla="*/ 237023 h 488614"/>
                <a:gd name="connsiteX857" fmla="*/ 204915 w 803926"/>
                <a:gd name="connsiteY857" fmla="*/ 235976 h 488614"/>
                <a:gd name="connsiteX858" fmla="*/ 205502 w 803926"/>
                <a:gd name="connsiteY858" fmla="*/ 234486 h 488614"/>
                <a:gd name="connsiteX859" fmla="*/ 204892 w 803926"/>
                <a:gd name="connsiteY859" fmla="*/ 232758 h 488614"/>
                <a:gd name="connsiteX860" fmla="*/ 204786 w 803926"/>
                <a:gd name="connsiteY860" fmla="*/ 231500 h 488614"/>
                <a:gd name="connsiteX861" fmla="*/ 205327 w 803926"/>
                <a:gd name="connsiteY861" fmla="*/ 230599 h 488614"/>
                <a:gd name="connsiteX862" fmla="*/ 206363 w 803926"/>
                <a:gd name="connsiteY862" fmla="*/ 230462 h 488614"/>
                <a:gd name="connsiteX863" fmla="*/ 212451 w 803926"/>
                <a:gd name="connsiteY863" fmla="*/ 235031 h 488614"/>
                <a:gd name="connsiteX864" fmla="*/ 213472 w 803926"/>
                <a:gd name="connsiteY864" fmla="*/ 236783 h 488614"/>
                <a:gd name="connsiteX865" fmla="*/ 215738 w 803926"/>
                <a:gd name="connsiteY865" fmla="*/ 238834 h 488614"/>
                <a:gd name="connsiteX866" fmla="*/ 217813 w 803926"/>
                <a:gd name="connsiteY866" fmla="*/ 241358 h 488614"/>
                <a:gd name="connsiteX867" fmla="*/ 218709 w 803926"/>
                <a:gd name="connsiteY867" fmla="*/ 243348 h 488614"/>
                <a:gd name="connsiteX868" fmla="*/ 220368 w 803926"/>
                <a:gd name="connsiteY868" fmla="*/ 244986 h 488614"/>
                <a:gd name="connsiteX869" fmla="*/ 221231 w 803926"/>
                <a:gd name="connsiteY869" fmla="*/ 248800 h 488614"/>
                <a:gd name="connsiteX870" fmla="*/ 225463 w 803926"/>
                <a:gd name="connsiteY870" fmla="*/ 250507 h 488614"/>
                <a:gd name="connsiteX871" fmla="*/ 227714 w 803926"/>
                <a:gd name="connsiteY871" fmla="*/ 253661 h 488614"/>
                <a:gd name="connsiteX872" fmla="*/ 227862 w 803926"/>
                <a:gd name="connsiteY872" fmla="*/ 255659 h 488614"/>
                <a:gd name="connsiteX873" fmla="*/ 226770 w 803926"/>
                <a:gd name="connsiteY873" fmla="*/ 260765 h 488614"/>
                <a:gd name="connsiteX874" fmla="*/ 225816 w 803926"/>
                <a:gd name="connsiteY874" fmla="*/ 262234 h 488614"/>
                <a:gd name="connsiteX875" fmla="*/ 222399 w 803926"/>
                <a:gd name="connsiteY875" fmla="*/ 264404 h 488614"/>
                <a:gd name="connsiteX876" fmla="*/ 219915 w 803926"/>
                <a:gd name="connsiteY876" fmla="*/ 266992 h 488614"/>
                <a:gd name="connsiteX877" fmla="*/ 217516 w 803926"/>
                <a:gd name="connsiteY877" fmla="*/ 268586 h 488614"/>
                <a:gd name="connsiteX878" fmla="*/ 214971 w 803926"/>
                <a:gd name="connsiteY878" fmla="*/ 269555 h 488614"/>
                <a:gd name="connsiteX879" fmla="*/ 212871 w 803926"/>
                <a:gd name="connsiteY879" fmla="*/ 269337 h 488614"/>
                <a:gd name="connsiteX880" fmla="*/ 210847 w 803926"/>
                <a:gd name="connsiteY880" fmla="*/ 266360 h 488614"/>
                <a:gd name="connsiteX881" fmla="*/ 208449 w 803926"/>
                <a:gd name="connsiteY881" fmla="*/ 257373 h 488614"/>
                <a:gd name="connsiteX882" fmla="*/ 206839 w 803926"/>
                <a:gd name="connsiteY882" fmla="*/ 255480 h 488614"/>
                <a:gd name="connsiteX883" fmla="*/ 205706 w 803926"/>
                <a:gd name="connsiteY883" fmla="*/ 252656 h 488614"/>
                <a:gd name="connsiteX884" fmla="*/ 203833 w 803926"/>
                <a:gd name="connsiteY884" fmla="*/ 250319 h 488614"/>
                <a:gd name="connsiteX885" fmla="*/ 197056 w 803926"/>
                <a:gd name="connsiteY885" fmla="*/ 246770 h 488614"/>
                <a:gd name="connsiteX886" fmla="*/ 193635 w 803926"/>
                <a:gd name="connsiteY886" fmla="*/ 243022 h 488614"/>
                <a:gd name="connsiteX887" fmla="*/ 190321 w 803926"/>
                <a:gd name="connsiteY887" fmla="*/ 240519 h 488614"/>
                <a:gd name="connsiteX888" fmla="*/ 186756 w 803926"/>
                <a:gd name="connsiteY888" fmla="*/ 236894 h 488614"/>
                <a:gd name="connsiteX889" fmla="*/ 177040 w 803926"/>
                <a:gd name="connsiteY889" fmla="*/ 230880 h 488614"/>
                <a:gd name="connsiteX890" fmla="*/ 173011 w 803926"/>
                <a:gd name="connsiteY890" fmla="*/ 227813 h 488614"/>
                <a:gd name="connsiteX891" fmla="*/ 170356 w 803926"/>
                <a:gd name="connsiteY891" fmla="*/ 224777 h 488614"/>
                <a:gd name="connsiteX892" fmla="*/ 168646 w 803926"/>
                <a:gd name="connsiteY892" fmla="*/ 224821 h 488614"/>
                <a:gd name="connsiteX893" fmla="*/ 167325 w 803926"/>
                <a:gd name="connsiteY893" fmla="*/ 225134 h 488614"/>
                <a:gd name="connsiteX894" fmla="*/ 166823 w 803926"/>
                <a:gd name="connsiteY894" fmla="*/ 224303 h 488614"/>
                <a:gd name="connsiteX895" fmla="*/ 166749 w 803926"/>
                <a:gd name="connsiteY895" fmla="*/ 222731 h 488614"/>
                <a:gd name="connsiteX896" fmla="*/ 166164 w 803926"/>
                <a:gd name="connsiteY896" fmla="*/ 221700 h 488614"/>
                <a:gd name="connsiteX897" fmla="*/ 160476 w 803926"/>
                <a:gd name="connsiteY897" fmla="*/ 217119 h 488614"/>
                <a:gd name="connsiteX898" fmla="*/ 159297 w 803926"/>
                <a:gd name="connsiteY898" fmla="*/ 214585 h 488614"/>
                <a:gd name="connsiteX899" fmla="*/ 159058 w 803926"/>
                <a:gd name="connsiteY899" fmla="*/ 211641 h 488614"/>
                <a:gd name="connsiteX900" fmla="*/ 160339 w 803926"/>
                <a:gd name="connsiteY900" fmla="*/ 204055 h 488614"/>
                <a:gd name="connsiteX901" fmla="*/ 160903 w 803926"/>
                <a:gd name="connsiteY901" fmla="*/ 199614 h 488614"/>
                <a:gd name="connsiteX902" fmla="*/ 160545 w 803926"/>
                <a:gd name="connsiteY902" fmla="*/ 197324 h 488614"/>
                <a:gd name="connsiteX903" fmla="*/ 159949 w 803926"/>
                <a:gd name="connsiteY903" fmla="*/ 197012 h 488614"/>
                <a:gd name="connsiteX904" fmla="*/ 159411 w 803926"/>
                <a:gd name="connsiteY904" fmla="*/ 195767 h 488614"/>
                <a:gd name="connsiteX905" fmla="*/ 159279 w 803926"/>
                <a:gd name="connsiteY905" fmla="*/ 192107 h 488614"/>
                <a:gd name="connsiteX906" fmla="*/ 157909 w 803926"/>
                <a:gd name="connsiteY906" fmla="*/ 188122 h 488614"/>
                <a:gd name="connsiteX907" fmla="*/ 152751 w 803926"/>
                <a:gd name="connsiteY907" fmla="*/ 179946 h 488614"/>
                <a:gd name="connsiteX908" fmla="*/ 148977 w 803926"/>
                <a:gd name="connsiteY908" fmla="*/ 178328 h 488614"/>
                <a:gd name="connsiteX909" fmla="*/ 145622 w 803926"/>
                <a:gd name="connsiteY909" fmla="*/ 177152 h 488614"/>
                <a:gd name="connsiteX910" fmla="*/ 136434 w 803926"/>
                <a:gd name="connsiteY910" fmla="*/ 169906 h 488614"/>
                <a:gd name="connsiteX911" fmla="*/ 133937 w 803926"/>
                <a:gd name="connsiteY911" fmla="*/ 166279 h 488614"/>
                <a:gd name="connsiteX912" fmla="*/ 133329 w 803926"/>
                <a:gd name="connsiteY912" fmla="*/ 164218 h 488614"/>
                <a:gd name="connsiteX913" fmla="*/ 133009 w 803926"/>
                <a:gd name="connsiteY913" fmla="*/ 160019 h 488614"/>
                <a:gd name="connsiteX914" fmla="*/ 131743 w 803926"/>
                <a:gd name="connsiteY914" fmla="*/ 162452 h 488614"/>
                <a:gd name="connsiteX915" fmla="*/ 130056 w 803926"/>
                <a:gd name="connsiteY915" fmla="*/ 164252 h 488614"/>
                <a:gd name="connsiteX916" fmla="*/ 126162 w 803926"/>
                <a:gd name="connsiteY916" fmla="*/ 164120 h 488614"/>
                <a:gd name="connsiteX917" fmla="*/ 121784 w 803926"/>
                <a:gd name="connsiteY917" fmla="*/ 166148 h 488614"/>
                <a:gd name="connsiteX918" fmla="*/ 119178 w 803926"/>
                <a:gd name="connsiteY918" fmla="*/ 164241 h 488614"/>
                <a:gd name="connsiteX919" fmla="*/ 117775 w 803926"/>
                <a:gd name="connsiteY919" fmla="*/ 162075 h 488614"/>
                <a:gd name="connsiteX920" fmla="*/ 115636 w 803926"/>
                <a:gd name="connsiteY920" fmla="*/ 159468 h 488614"/>
                <a:gd name="connsiteX921" fmla="*/ 113228 w 803926"/>
                <a:gd name="connsiteY921" fmla="*/ 158956 h 488614"/>
                <a:gd name="connsiteX922" fmla="*/ 111693 w 803926"/>
                <a:gd name="connsiteY922" fmla="*/ 158890 h 488614"/>
                <a:gd name="connsiteX923" fmla="*/ 108813 w 803926"/>
                <a:gd name="connsiteY923" fmla="*/ 155664 h 488614"/>
                <a:gd name="connsiteX924" fmla="*/ 106485 w 803926"/>
                <a:gd name="connsiteY924" fmla="*/ 154639 h 488614"/>
                <a:gd name="connsiteX925" fmla="*/ 103150 w 803926"/>
                <a:gd name="connsiteY925" fmla="*/ 154243 h 488614"/>
                <a:gd name="connsiteX926" fmla="*/ 100313 w 803926"/>
                <a:gd name="connsiteY926" fmla="*/ 152601 h 488614"/>
                <a:gd name="connsiteX927" fmla="*/ 99440 w 803926"/>
                <a:gd name="connsiteY927" fmla="*/ 150814 h 488614"/>
                <a:gd name="connsiteX928" fmla="*/ 98969 w 803926"/>
                <a:gd name="connsiteY928" fmla="*/ 148282 h 488614"/>
                <a:gd name="connsiteX929" fmla="*/ 97914 w 803926"/>
                <a:gd name="connsiteY929" fmla="*/ 146783 h 488614"/>
                <a:gd name="connsiteX930" fmla="*/ 93459 w 803926"/>
                <a:gd name="connsiteY930" fmla="*/ 143817 h 488614"/>
                <a:gd name="connsiteX931" fmla="*/ 89829 w 803926"/>
                <a:gd name="connsiteY931" fmla="*/ 140544 h 488614"/>
                <a:gd name="connsiteX932" fmla="*/ 86412 w 803926"/>
                <a:gd name="connsiteY932" fmla="*/ 138440 h 488614"/>
                <a:gd name="connsiteX933" fmla="*/ 85405 w 803926"/>
                <a:gd name="connsiteY933" fmla="*/ 136719 h 488614"/>
                <a:gd name="connsiteX934" fmla="*/ 85323 w 803926"/>
                <a:gd name="connsiteY934" fmla="*/ 135541 h 488614"/>
                <a:gd name="connsiteX935" fmla="*/ 90721 w 803926"/>
                <a:gd name="connsiteY935" fmla="*/ 135868 h 488614"/>
                <a:gd name="connsiteX936" fmla="*/ 97150 w 803926"/>
                <a:gd name="connsiteY936" fmla="*/ 137128 h 488614"/>
                <a:gd name="connsiteX937" fmla="*/ 100231 w 803926"/>
                <a:gd name="connsiteY937" fmla="*/ 136773 h 488614"/>
                <a:gd name="connsiteX938" fmla="*/ 102153 w 803926"/>
                <a:gd name="connsiteY938" fmla="*/ 135558 h 488614"/>
                <a:gd name="connsiteX939" fmla="*/ 103982 w 803926"/>
                <a:gd name="connsiteY939" fmla="*/ 134688 h 488614"/>
                <a:gd name="connsiteX940" fmla="*/ 104274 w 803926"/>
                <a:gd name="connsiteY940" fmla="*/ 135631 h 488614"/>
                <a:gd name="connsiteX941" fmla="*/ 103940 w 803926"/>
                <a:gd name="connsiteY941" fmla="*/ 137353 h 488614"/>
                <a:gd name="connsiteX942" fmla="*/ 105704 w 803926"/>
                <a:gd name="connsiteY942" fmla="*/ 138931 h 488614"/>
                <a:gd name="connsiteX943" fmla="*/ 108124 w 803926"/>
                <a:gd name="connsiteY943" fmla="*/ 140208 h 488614"/>
                <a:gd name="connsiteX944" fmla="*/ 109845 w 803926"/>
                <a:gd name="connsiteY944" fmla="*/ 140093 h 488614"/>
                <a:gd name="connsiteX945" fmla="*/ 108179 w 803926"/>
                <a:gd name="connsiteY945" fmla="*/ 138698 h 488614"/>
                <a:gd name="connsiteX946" fmla="*/ 107156 w 803926"/>
                <a:gd name="connsiteY946" fmla="*/ 135851 h 488614"/>
                <a:gd name="connsiteX947" fmla="*/ 107615 w 803926"/>
                <a:gd name="connsiteY947" fmla="*/ 134826 h 488614"/>
                <a:gd name="connsiteX948" fmla="*/ 107587 w 803926"/>
                <a:gd name="connsiteY948" fmla="*/ 133408 h 488614"/>
                <a:gd name="connsiteX949" fmla="*/ 105198 w 803926"/>
                <a:gd name="connsiteY949" fmla="*/ 133728 h 488614"/>
                <a:gd name="connsiteX950" fmla="*/ 104862 w 803926"/>
                <a:gd name="connsiteY950" fmla="*/ 133002 h 488614"/>
                <a:gd name="connsiteX951" fmla="*/ 106906 w 803926"/>
                <a:gd name="connsiteY951" fmla="*/ 130842 h 488614"/>
                <a:gd name="connsiteX952" fmla="*/ 109252 w 803926"/>
                <a:gd name="connsiteY952" fmla="*/ 125131 h 488614"/>
                <a:gd name="connsiteX953" fmla="*/ 110374 w 803926"/>
                <a:gd name="connsiteY953" fmla="*/ 119503 h 488614"/>
                <a:gd name="connsiteX954" fmla="*/ 107914 w 803926"/>
                <a:gd name="connsiteY954" fmla="*/ 114572 h 488614"/>
                <a:gd name="connsiteX955" fmla="*/ 103763 w 803926"/>
                <a:gd name="connsiteY955" fmla="*/ 111145 h 488614"/>
                <a:gd name="connsiteX956" fmla="*/ 94767 w 803926"/>
                <a:gd name="connsiteY956" fmla="*/ 101090 h 488614"/>
                <a:gd name="connsiteX957" fmla="*/ 89393 w 803926"/>
                <a:gd name="connsiteY957" fmla="*/ 95918 h 488614"/>
                <a:gd name="connsiteX958" fmla="*/ 87837 w 803926"/>
                <a:gd name="connsiteY958" fmla="*/ 93990 h 488614"/>
                <a:gd name="connsiteX959" fmla="*/ 86412 w 803926"/>
                <a:gd name="connsiteY959" fmla="*/ 93083 h 488614"/>
                <a:gd name="connsiteX960" fmla="*/ 82029 w 803926"/>
                <a:gd name="connsiteY960" fmla="*/ 91898 h 488614"/>
                <a:gd name="connsiteX961" fmla="*/ 78357 w 803926"/>
                <a:gd name="connsiteY961" fmla="*/ 89002 h 488614"/>
                <a:gd name="connsiteX962" fmla="*/ 71914 w 803926"/>
                <a:gd name="connsiteY962" fmla="*/ 84901 h 488614"/>
                <a:gd name="connsiteX963" fmla="*/ 69161 w 803926"/>
                <a:gd name="connsiteY963" fmla="*/ 82785 h 488614"/>
                <a:gd name="connsiteX964" fmla="*/ 67264 w 803926"/>
                <a:gd name="connsiteY964" fmla="*/ 77812 h 488614"/>
                <a:gd name="connsiteX965" fmla="*/ 65752 w 803926"/>
                <a:gd name="connsiteY965" fmla="*/ 77133 h 488614"/>
                <a:gd name="connsiteX966" fmla="*/ 66227 w 803926"/>
                <a:gd name="connsiteY966" fmla="*/ 73692 h 488614"/>
                <a:gd name="connsiteX967" fmla="*/ 65566 w 803926"/>
                <a:gd name="connsiteY967" fmla="*/ 67594 h 488614"/>
                <a:gd name="connsiteX968" fmla="*/ 64487 w 803926"/>
                <a:gd name="connsiteY968" fmla="*/ 66031 h 488614"/>
                <a:gd name="connsiteX969" fmla="*/ 60997 w 803926"/>
                <a:gd name="connsiteY969" fmla="*/ 64510 h 488614"/>
                <a:gd name="connsiteX970" fmla="*/ 60167 w 803926"/>
                <a:gd name="connsiteY970" fmla="*/ 60359 h 488614"/>
                <a:gd name="connsiteX971" fmla="*/ 59994 w 803926"/>
                <a:gd name="connsiteY971" fmla="*/ 56405 h 488614"/>
                <a:gd name="connsiteX972" fmla="*/ 59315 w 803926"/>
                <a:gd name="connsiteY972" fmla="*/ 53653 h 488614"/>
                <a:gd name="connsiteX973" fmla="*/ 53378 w 803926"/>
                <a:gd name="connsiteY973" fmla="*/ 49010 h 488614"/>
                <a:gd name="connsiteX974" fmla="*/ 53040 w 803926"/>
                <a:gd name="connsiteY974" fmla="*/ 46761 h 488614"/>
                <a:gd name="connsiteX975" fmla="*/ 53039 w 803926"/>
                <a:gd name="connsiteY975" fmla="*/ 44627 h 488614"/>
                <a:gd name="connsiteX976" fmla="*/ 52436 w 803926"/>
                <a:gd name="connsiteY976" fmla="*/ 42517 h 488614"/>
                <a:gd name="connsiteX977" fmla="*/ 49265 w 803926"/>
                <a:gd name="connsiteY977" fmla="*/ 38091 h 488614"/>
                <a:gd name="connsiteX978" fmla="*/ 45434 w 803926"/>
                <a:gd name="connsiteY978" fmla="*/ 34223 h 488614"/>
                <a:gd name="connsiteX979" fmla="*/ 44100 w 803926"/>
                <a:gd name="connsiteY979" fmla="*/ 32378 h 488614"/>
                <a:gd name="connsiteX980" fmla="*/ 43941 w 803926"/>
                <a:gd name="connsiteY980" fmla="*/ 28627 h 488614"/>
                <a:gd name="connsiteX981" fmla="*/ 42582 w 803926"/>
                <a:gd name="connsiteY981" fmla="*/ 27618 h 488614"/>
                <a:gd name="connsiteX982" fmla="*/ 43098 w 803926"/>
                <a:gd name="connsiteY982" fmla="*/ 27363 h 488614"/>
                <a:gd name="connsiteX983" fmla="*/ 44356 w 803926"/>
                <a:gd name="connsiteY983" fmla="*/ 27456 h 488614"/>
                <a:gd name="connsiteX984" fmla="*/ 45072 w 803926"/>
                <a:gd name="connsiteY984" fmla="*/ 26961 h 488614"/>
                <a:gd name="connsiteX985" fmla="*/ 45150 w 803926"/>
                <a:gd name="connsiteY985" fmla="*/ 24347 h 488614"/>
                <a:gd name="connsiteX986" fmla="*/ 39388 w 803926"/>
                <a:gd name="connsiteY986" fmla="*/ 20236 h 488614"/>
                <a:gd name="connsiteX987" fmla="*/ 37723 w 803926"/>
                <a:gd name="connsiteY987" fmla="*/ 14576 h 488614"/>
                <a:gd name="connsiteX988" fmla="*/ 34653 w 803926"/>
                <a:gd name="connsiteY988" fmla="*/ 11576 h 488614"/>
                <a:gd name="connsiteX989" fmla="*/ 33934 w 803926"/>
                <a:gd name="connsiteY989" fmla="*/ 10489 h 488614"/>
                <a:gd name="connsiteX990" fmla="*/ 32282 w 803926"/>
                <a:gd name="connsiteY990" fmla="*/ 5139 h 488614"/>
                <a:gd name="connsiteX991" fmla="*/ 39539 w 803926"/>
                <a:gd name="connsiteY991" fmla="*/ 4534 h 488614"/>
                <a:gd name="connsiteX992" fmla="*/ 46794 w 803926"/>
                <a:gd name="connsiteY992" fmla="*/ 3929 h 488614"/>
                <a:gd name="connsiteX993" fmla="*/ 54049 w 803926"/>
                <a:gd name="connsiteY993" fmla="*/ 3326 h 488614"/>
                <a:gd name="connsiteX994" fmla="*/ 61305 w 803926"/>
                <a:gd name="connsiteY994" fmla="*/ 2720 h 488614"/>
                <a:gd name="connsiteX995" fmla="*/ 68561 w 803926"/>
                <a:gd name="connsiteY995" fmla="*/ 2115 h 488614"/>
                <a:gd name="connsiteX996" fmla="*/ 75816 w 803926"/>
                <a:gd name="connsiteY996" fmla="*/ 1510 h 488614"/>
                <a:gd name="connsiteX997" fmla="*/ 83073 w 803926"/>
                <a:gd name="connsiteY997" fmla="*/ 905 h 488614"/>
                <a:gd name="connsiteX998" fmla="*/ 90328 w 803926"/>
                <a:gd name="connsiteY998" fmla="*/ 299 h 488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</a:cxnLst>
              <a:rect l="l" t="t" r="r" b="b"/>
              <a:pathLst>
                <a:path w="803926" h="488614">
                  <a:moveTo>
                    <a:pt x="679862" y="378300"/>
                  </a:moveTo>
                  <a:lnTo>
                    <a:pt x="680847" y="378414"/>
                  </a:lnTo>
                  <a:lnTo>
                    <a:pt x="681191" y="378773"/>
                  </a:lnTo>
                  <a:lnTo>
                    <a:pt x="678211" y="380047"/>
                  </a:lnTo>
                  <a:lnTo>
                    <a:pt x="677464" y="380942"/>
                  </a:lnTo>
                  <a:lnTo>
                    <a:pt x="674612" y="381550"/>
                  </a:lnTo>
                  <a:lnTo>
                    <a:pt x="674106" y="380981"/>
                  </a:lnTo>
                  <a:close/>
                  <a:moveTo>
                    <a:pt x="187941" y="376066"/>
                  </a:moveTo>
                  <a:lnTo>
                    <a:pt x="189140" y="377680"/>
                  </a:lnTo>
                  <a:lnTo>
                    <a:pt x="189841" y="379261"/>
                  </a:lnTo>
                  <a:lnTo>
                    <a:pt x="188311" y="379815"/>
                  </a:lnTo>
                  <a:lnTo>
                    <a:pt x="186058" y="378206"/>
                  </a:lnTo>
                  <a:lnTo>
                    <a:pt x="186660" y="376933"/>
                  </a:lnTo>
                  <a:close/>
                  <a:moveTo>
                    <a:pt x="802228" y="330852"/>
                  </a:moveTo>
                  <a:lnTo>
                    <a:pt x="802437" y="331573"/>
                  </a:lnTo>
                  <a:lnTo>
                    <a:pt x="801074" y="333776"/>
                  </a:lnTo>
                  <a:lnTo>
                    <a:pt x="797756" y="338139"/>
                  </a:lnTo>
                  <a:lnTo>
                    <a:pt x="796443" y="338961"/>
                  </a:lnTo>
                  <a:lnTo>
                    <a:pt x="795733" y="336052"/>
                  </a:lnTo>
                  <a:lnTo>
                    <a:pt x="796784" y="333212"/>
                  </a:lnTo>
                  <a:lnTo>
                    <a:pt x="798055" y="331580"/>
                  </a:lnTo>
                  <a:lnTo>
                    <a:pt x="800573" y="331388"/>
                  </a:lnTo>
                  <a:close/>
                  <a:moveTo>
                    <a:pt x="802841" y="312292"/>
                  </a:moveTo>
                  <a:lnTo>
                    <a:pt x="803150" y="312707"/>
                  </a:lnTo>
                  <a:lnTo>
                    <a:pt x="803476" y="313370"/>
                  </a:lnTo>
                  <a:lnTo>
                    <a:pt x="803926" y="314650"/>
                  </a:lnTo>
                  <a:lnTo>
                    <a:pt x="803487" y="314499"/>
                  </a:lnTo>
                  <a:lnTo>
                    <a:pt x="802910" y="313530"/>
                  </a:lnTo>
                  <a:lnTo>
                    <a:pt x="802491" y="312323"/>
                  </a:lnTo>
                  <a:close/>
                  <a:moveTo>
                    <a:pt x="299306" y="300820"/>
                  </a:moveTo>
                  <a:lnTo>
                    <a:pt x="300852" y="301771"/>
                  </a:lnTo>
                  <a:lnTo>
                    <a:pt x="301171" y="302409"/>
                  </a:lnTo>
                  <a:lnTo>
                    <a:pt x="301719" y="303511"/>
                  </a:lnTo>
                  <a:lnTo>
                    <a:pt x="300981" y="305697"/>
                  </a:lnTo>
                  <a:lnTo>
                    <a:pt x="299061" y="304822"/>
                  </a:lnTo>
                  <a:lnTo>
                    <a:pt x="298373" y="303451"/>
                  </a:lnTo>
                  <a:lnTo>
                    <a:pt x="298242" y="301200"/>
                  </a:lnTo>
                  <a:close/>
                  <a:moveTo>
                    <a:pt x="215809" y="230454"/>
                  </a:moveTo>
                  <a:lnTo>
                    <a:pt x="218256" y="234795"/>
                  </a:lnTo>
                  <a:lnTo>
                    <a:pt x="218210" y="235327"/>
                  </a:lnTo>
                  <a:lnTo>
                    <a:pt x="217971" y="235663"/>
                  </a:lnTo>
                  <a:lnTo>
                    <a:pt x="217421" y="235758"/>
                  </a:lnTo>
                  <a:lnTo>
                    <a:pt x="216123" y="234331"/>
                  </a:lnTo>
                  <a:lnTo>
                    <a:pt x="215551" y="230829"/>
                  </a:lnTo>
                  <a:close/>
                  <a:moveTo>
                    <a:pt x="163815" y="224903"/>
                  </a:moveTo>
                  <a:lnTo>
                    <a:pt x="165946" y="225257"/>
                  </a:lnTo>
                  <a:lnTo>
                    <a:pt x="169951" y="229142"/>
                  </a:lnTo>
                  <a:lnTo>
                    <a:pt x="169611" y="230413"/>
                  </a:lnTo>
                  <a:lnTo>
                    <a:pt x="161979" y="225381"/>
                  </a:lnTo>
                  <a:close/>
                  <a:moveTo>
                    <a:pt x="195527" y="210433"/>
                  </a:moveTo>
                  <a:lnTo>
                    <a:pt x="197936" y="211667"/>
                  </a:lnTo>
                  <a:lnTo>
                    <a:pt x="198643" y="212711"/>
                  </a:lnTo>
                  <a:lnTo>
                    <a:pt x="199365" y="215730"/>
                  </a:lnTo>
                  <a:lnTo>
                    <a:pt x="198064" y="215285"/>
                  </a:lnTo>
                  <a:lnTo>
                    <a:pt x="196359" y="213645"/>
                  </a:lnTo>
                  <a:lnTo>
                    <a:pt x="195193" y="211545"/>
                  </a:lnTo>
                  <a:lnTo>
                    <a:pt x="195299" y="210606"/>
                  </a:lnTo>
                  <a:close/>
                  <a:moveTo>
                    <a:pt x="158273" y="205091"/>
                  </a:moveTo>
                  <a:lnTo>
                    <a:pt x="158977" y="206747"/>
                  </a:lnTo>
                  <a:lnTo>
                    <a:pt x="157285" y="215895"/>
                  </a:lnTo>
                  <a:lnTo>
                    <a:pt x="157370" y="217091"/>
                  </a:lnTo>
                  <a:lnTo>
                    <a:pt x="158163" y="218207"/>
                  </a:lnTo>
                  <a:lnTo>
                    <a:pt x="159013" y="220096"/>
                  </a:lnTo>
                  <a:lnTo>
                    <a:pt x="159114" y="222134"/>
                  </a:lnTo>
                  <a:lnTo>
                    <a:pt x="160604" y="224028"/>
                  </a:lnTo>
                  <a:lnTo>
                    <a:pt x="160863" y="225050"/>
                  </a:lnTo>
                  <a:lnTo>
                    <a:pt x="160354" y="225349"/>
                  </a:lnTo>
                  <a:lnTo>
                    <a:pt x="158186" y="222232"/>
                  </a:lnTo>
                  <a:lnTo>
                    <a:pt x="157866" y="220096"/>
                  </a:lnTo>
                  <a:lnTo>
                    <a:pt x="156978" y="219192"/>
                  </a:lnTo>
                  <a:lnTo>
                    <a:pt x="154790" y="218478"/>
                  </a:lnTo>
                  <a:lnTo>
                    <a:pt x="156679" y="214124"/>
                  </a:lnTo>
                  <a:close/>
                  <a:moveTo>
                    <a:pt x="185367" y="183698"/>
                  </a:moveTo>
                  <a:lnTo>
                    <a:pt x="185128" y="185192"/>
                  </a:lnTo>
                  <a:lnTo>
                    <a:pt x="185446" y="186172"/>
                  </a:lnTo>
                  <a:lnTo>
                    <a:pt x="185278" y="186455"/>
                  </a:lnTo>
                  <a:lnTo>
                    <a:pt x="184242" y="185775"/>
                  </a:lnTo>
                  <a:lnTo>
                    <a:pt x="182487" y="189826"/>
                  </a:lnTo>
                  <a:lnTo>
                    <a:pt x="181975" y="190201"/>
                  </a:lnTo>
                  <a:lnTo>
                    <a:pt x="183034" y="184650"/>
                  </a:lnTo>
                  <a:lnTo>
                    <a:pt x="184140" y="183858"/>
                  </a:lnTo>
                  <a:close/>
                  <a:moveTo>
                    <a:pt x="80324" y="121093"/>
                  </a:moveTo>
                  <a:lnTo>
                    <a:pt x="81252" y="122205"/>
                  </a:lnTo>
                  <a:lnTo>
                    <a:pt x="82480" y="126484"/>
                  </a:lnTo>
                  <a:lnTo>
                    <a:pt x="81921" y="129303"/>
                  </a:lnTo>
                  <a:lnTo>
                    <a:pt x="81573" y="130184"/>
                  </a:lnTo>
                  <a:lnTo>
                    <a:pt x="77297" y="128354"/>
                  </a:lnTo>
                  <a:lnTo>
                    <a:pt x="79643" y="125154"/>
                  </a:lnTo>
                  <a:lnTo>
                    <a:pt x="79299" y="121796"/>
                  </a:lnTo>
                  <a:close/>
                  <a:moveTo>
                    <a:pt x="851" y="98522"/>
                  </a:moveTo>
                  <a:lnTo>
                    <a:pt x="2258" y="98653"/>
                  </a:lnTo>
                  <a:lnTo>
                    <a:pt x="2265" y="100098"/>
                  </a:lnTo>
                  <a:lnTo>
                    <a:pt x="3445" y="101315"/>
                  </a:lnTo>
                  <a:lnTo>
                    <a:pt x="3905" y="102503"/>
                  </a:lnTo>
                  <a:lnTo>
                    <a:pt x="4022" y="105301"/>
                  </a:lnTo>
                  <a:lnTo>
                    <a:pt x="2938" y="106354"/>
                  </a:lnTo>
                  <a:lnTo>
                    <a:pt x="32" y="100601"/>
                  </a:lnTo>
                  <a:lnTo>
                    <a:pt x="0" y="99209"/>
                  </a:lnTo>
                  <a:close/>
                  <a:moveTo>
                    <a:pt x="155087" y="97062"/>
                  </a:moveTo>
                  <a:lnTo>
                    <a:pt x="155636" y="97992"/>
                  </a:lnTo>
                  <a:lnTo>
                    <a:pt x="156009" y="100224"/>
                  </a:lnTo>
                  <a:lnTo>
                    <a:pt x="157166" y="103554"/>
                  </a:lnTo>
                  <a:lnTo>
                    <a:pt x="155256" y="110059"/>
                  </a:lnTo>
                  <a:lnTo>
                    <a:pt x="153307" y="109955"/>
                  </a:lnTo>
                  <a:lnTo>
                    <a:pt x="149281" y="107902"/>
                  </a:lnTo>
                  <a:lnTo>
                    <a:pt x="148851" y="106623"/>
                  </a:lnTo>
                  <a:lnTo>
                    <a:pt x="150403" y="99071"/>
                  </a:lnTo>
                  <a:lnTo>
                    <a:pt x="151576" y="98078"/>
                  </a:lnTo>
                  <a:close/>
                  <a:moveTo>
                    <a:pt x="122070" y="87864"/>
                  </a:moveTo>
                  <a:lnTo>
                    <a:pt x="124080" y="88228"/>
                  </a:lnTo>
                  <a:lnTo>
                    <a:pt x="126413" y="90275"/>
                  </a:lnTo>
                  <a:lnTo>
                    <a:pt x="127429" y="92169"/>
                  </a:lnTo>
                  <a:lnTo>
                    <a:pt x="127480" y="94341"/>
                  </a:lnTo>
                  <a:lnTo>
                    <a:pt x="131834" y="95365"/>
                  </a:lnTo>
                  <a:lnTo>
                    <a:pt x="132448" y="100059"/>
                  </a:lnTo>
                  <a:lnTo>
                    <a:pt x="133014" y="102258"/>
                  </a:lnTo>
                  <a:lnTo>
                    <a:pt x="132832" y="102741"/>
                  </a:lnTo>
                  <a:lnTo>
                    <a:pt x="130246" y="101031"/>
                  </a:lnTo>
                  <a:lnTo>
                    <a:pt x="124373" y="95206"/>
                  </a:lnTo>
                  <a:lnTo>
                    <a:pt x="122237" y="92286"/>
                  </a:lnTo>
                  <a:lnTo>
                    <a:pt x="121887" y="90918"/>
                  </a:lnTo>
                  <a:close/>
                  <a:moveTo>
                    <a:pt x="92051" y="25947"/>
                  </a:moveTo>
                  <a:lnTo>
                    <a:pt x="93624" y="26992"/>
                  </a:lnTo>
                  <a:lnTo>
                    <a:pt x="94159" y="27909"/>
                  </a:lnTo>
                  <a:lnTo>
                    <a:pt x="94003" y="28431"/>
                  </a:lnTo>
                  <a:lnTo>
                    <a:pt x="93162" y="28550"/>
                  </a:lnTo>
                  <a:lnTo>
                    <a:pt x="91591" y="27258"/>
                  </a:lnTo>
                  <a:lnTo>
                    <a:pt x="91709" y="26068"/>
                  </a:lnTo>
                  <a:close/>
                  <a:moveTo>
                    <a:pt x="93227" y="0"/>
                  </a:moveTo>
                  <a:lnTo>
                    <a:pt x="91623" y="4251"/>
                  </a:lnTo>
                  <a:lnTo>
                    <a:pt x="90407" y="5845"/>
                  </a:lnTo>
                  <a:lnTo>
                    <a:pt x="102432" y="10019"/>
                  </a:lnTo>
                  <a:lnTo>
                    <a:pt x="114457" y="14188"/>
                  </a:lnTo>
                  <a:lnTo>
                    <a:pt x="126483" y="18353"/>
                  </a:lnTo>
                  <a:lnTo>
                    <a:pt x="138507" y="22516"/>
                  </a:lnTo>
                  <a:lnTo>
                    <a:pt x="150532" y="26673"/>
                  </a:lnTo>
                  <a:lnTo>
                    <a:pt x="162558" y="30826"/>
                  </a:lnTo>
                  <a:lnTo>
                    <a:pt x="174583" y="34974"/>
                  </a:lnTo>
                  <a:lnTo>
                    <a:pt x="186608" y="39119"/>
                  </a:lnTo>
                  <a:lnTo>
                    <a:pt x="195571" y="39102"/>
                  </a:lnTo>
                  <a:lnTo>
                    <a:pt x="204532" y="39083"/>
                  </a:lnTo>
                  <a:lnTo>
                    <a:pt x="213495" y="39065"/>
                  </a:lnTo>
                  <a:lnTo>
                    <a:pt x="222456" y="39047"/>
                  </a:lnTo>
                  <a:lnTo>
                    <a:pt x="231418" y="39030"/>
                  </a:lnTo>
                  <a:lnTo>
                    <a:pt x="240380" y="39010"/>
                  </a:lnTo>
                  <a:lnTo>
                    <a:pt x="249342" y="38991"/>
                  </a:lnTo>
                  <a:lnTo>
                    <a:pt x="258304" y="38974"/>
                  </a:lnTo>
                  <a:lnTo>
                    <a:pt x="258320" y="35825"/>
                  </a:lnTo>
                  <a:lnTo>
                    <a:pt x="258336" y="32672"/>
                  </a:lnTo>
                  <a:lnTo>
                    <a:pt x="258353" y="29519"/>
                  </a:lnTo>
                  <a:lnTo>
                    <a:pt x="258371" y="26361"/>
                  </a:lnTo>
                  <a:lnTo>
                    <a:pt x="263944" y="26394"/>
                  </a:lnTo>
                  <a:lnTo>
                    <a:pt x="269518" y="26425"/>
                  </a:lnTo>
                  <a:lnTo>
                    <a:pt x="275093" y="26458"/>
                  </a:lnTo>
                  <a:lnTo>
                    <a:pt x="280666" y="26490"/>
                  </a:lnTo>
                  <a:lnTo>
                    <a:pt x="286240" y="26521"/>
                  </a:lnTo>
                  <a:lnTo>
                    <a:pt x="291815" y="26555"/>
                  </a:lnTo>
                  <a:lnTo>
                    <a:pt x="297389" y="26586"/>
                  </a:lnTo>
                  <a:lnTo>
                    <a:pt x="302962" y="26619"/>
                  </a:lnTo>
                  <a:lnTo>
                    <a:pt x="303160" y="26668"/>
                  </a:lnTo>
                  <a:lnTo>
                    <a:pt x="303399" y="26779"/>
                  </a:lnTo>
                  <a:lnTo>
                    <a:pt x="305657" y="29177"/>
                  </a:lnTo>
                  <a:lnTo>
                    <a:pt x="307971" y="32944"/>
                  </a:lnTo>
                  <a:lnTo>
                    <a:pt x="310701" y="35571"/>
                  </a:lnTo>
                  <a:lnTo>
                    <a:pt x="313844" y="37061"/>
                  </a:lnTo>
                  <a:lnTo>
                    <a:pt x="319204" y="41448"/>
                  </a:lnTo>
                  <a:lnTo>
                    <a:pt x="326778" y="48723"/>
                  </a:lnTo>
                  <a:lnTo>
                    <a:pt x="332817" y="53566"/>
                  </a:lnTo>
                  <a:lnTo>
                    <a:pt x="337322" y="55984"/>
                  </a:lnTo>
                  <a:lnTo>
                    <a:pt x="340348" y="58064"/>
                  </a:lnTo>
                  <a:lnTo>
                    <a:pt x="341894" y="59807"/>
                  </a:lnTo>
                  <a:lnTo>
                    <a:pt x="343972" y="63587"/>
                  </a:lnTo>
                  <a:lnTo>
                    <a:pt x="347890" y="72297"/>
                  </a:lnTo>
                  <a:lnTo>
                    <a:pt x="347890" y="76293"/>
                  </a:lnTo>
                  <a:lnTo>
                    <a:pt x="349390" y="80071"/>
                  </a:lnTo>
                  <a:lnTo>
                    <a:pt x="352388" y="84966"/>
                  </a:lnTo>
                  <a:lnTo>
                    <a:pt x="355009" y="87845"/>
                  </a:lnTo>
                  <a:lnTo>
                    <a:pt x="357251" y="88712"/>
                  </a:lnTo>
                  <a:lnTo>
                    <a:pt x="359703" y="90442"/>
                  </a:lnTo>
                  <a:lnTo>
                    <a:pt x="362363" y="93036"/>
                  </a:lnTo>
                  <a:lnTo>
                    <a:pt x="365427" y="94777"/>
                  </a:lnTo>
                  <a:lnTo>
                    <a:pt x="368896" y="95663"/>
                  </a:lnTo>
                  <a:lnTo>
                    <a:pt x="373688" y="97988"/>
                  </a:lnTo>
                  <a:lnTo>
                    <a:pt x="379799" y="101749"/>
                  </a:lnTo>
                  <a:lnTo>
                    <a:pt x="383989" y="103669"/>
                  </a:lnTo>
                  <a:lnTo>
                    <a:pt x="386256" y="103750"/>
                  </a:lnTo>
                  <a:lnTo>
                    <a:pt x="388242" y="102544"/>
                  </a:lnTo>
                  <a:lnTo>
                    <a:pt x="389944" y="100050"/>
                  </a:lnTo>
                  <a:lnTo>
                    <a:pt x="391618" y="98445"/>
                  </a:lnTo>
                  <a:lnTo>
                    <a:pt x="393263" y="97726"/>
                  </a:lnTo>
                  <a:lnTo>
                    <a:pt x="393930" y="96577"/>
                  </a:lnTo>
                  <a:lnTo>
                    <a:pt x="393622" y="94992"/>
                  </a:lnTo>
                  <a:lnTo>
                    <a:pt x="394734" y="91436"/>
                  </a:lnTo>
                  <a:lnTo>
                    <a:pt x="397265" y="85901"/>
                  </a:lnTo>
                  <a:lnTo>
                    <a:pt x="400287" y="82898"/>
                  </a:lnTo>
                  <a:lnTo>
                    <a:pt x="403803" y="82433"/>
                  </a:lnTo>
                  <a:lnTo>
                    <a:pt x="406101" y="81393"/>
                  </a:lnTo>
                  <a:lnTo>
                    <a:pt x="407182" y="79775"/>
                  </a:lnTo>
                  <a:lnTo>
                    <a:pt x="409061" y="79603"/>
                  </a:lnTo>
                  <a:lnTo>
                    <a:pt x="411744" y="80877"/>
                  </a:lnTo>
                  <a:lnTo>
                    <a:pt x="416111" y="81696"/>
                  </a:lnTo>
                  <a:lnTo>
                    <a:pt x="422160" y="82063"/>
                  </a:lnTo>
                  <a:lnTo>
                    <a:pt x="425729" y="81938"/>
                  </a:lnTo>
                  <a:lnTo>
                    <a:pt x="426817" y="81321"/>
                  </a:lnTo>
                  <a:lnTo>
                    <a:pt x="427382" y="81353"/>
                  </a:lnTo>
                  <a:lnTo>
                    <a:pt x="427427" y="82033"/>
                  </a:lnTo>
                  <a:lnTo>
                    <a:pt x="428324" y="82321"/>
                  </a:lnTo>
                  <a:lnTo>
                    <a:pt x="430070" y="82218"/>
                  </a:lnTo>
                  <a:lnTo>
                    <a:pt x="431592" y="83168"/>
                  </a:lnTo>
                  <a:lnTo>
                    <a:pt x="433540" y="86174"/>
                  </a:lnTo>
                  <a:lnTo>
                    <a:pt x="440248" y="90981"/>
                  </a:lnTo>
                  <a:lnTo>
                    <a:pt x="440257" y="90984"/>
                  </a:lnTo>
                  <a:lnTo>
                    <a:pt x="440823" y="92633"/>
                  </a:lnTo>
                  <a:lnTo>
                    <a:pt x="443161" y="95010"/>
                  </a:lnTo>
                  <a:lnTo>
                    <a:pt x="447459" y="98662"/>
                  </a:lnTo>
                  <a:lnTo>
                    <a:pt x="449892" y="101808"/>
                  </a:lnTo>
                  <a:lnTo>
                    <a:pt x="450458" y="104450"/>
                  </a:lnTo>
                  <a:lnTo>
                    <a:pt x="452655" y="108627"/>
                  </a:lnTo>
                  <a:lnTo>
                    <a:pt x="456478" y="114330"/>
                  </a:lnTo>
                  <a:lnTo>
                    <a:pt x="458181" y="117404"/>
                  </a:lnTo>
                  <a:lnTo>
                    <a:pt x="457766" y="117846"/>
                  </a:lnTo>
                  <a:lnTo>
                    <a:pt x="458066" y="119449"/>
                  </a:lnTo>
                  <a:lnTo>
                    <a:pt x="459087" y="122211"/>
                  </a:lnTo>
                  <a:lnTo>
                    <a:pt x="460982" y="124547"/>
                  </a:lnTo>
                  <a:lnTo>
                    <a:pt x="463754" y="126460"/>
                  </a:lnTo>
                  <a:lnTo>
                    <a:pt x="466556" y="129894"/>
                  </a:lnTo>
                  <a:lnTo>
                    <a:pt x="469391" y="134844"/>
                  </a:lnTo>
                  <a:lnTo>
                    <a:pt x="472824" y="138608"/>
                  </a:lnTo>
                  <a:lnTo>
                    <a:pt x="476855" y="141182"/>
                  </a:lnTo>
                  <a:lnTo>
                    <a:pt x="479136" y="143577"/>
                  </a:lnTo>
                  <a:lnTo>
                    <a:pt x="479670" y="145791"/>
                  </a:lnTo>
                  <a:lnTo>
                    <a:pt x="479630" y="147686"/>
                  </a:lnTo>
                  <a:lnTo>
                    <a:pt x="479017" y="149264"/>
                  </a:lnTo>
                  <a:lnTo>
                    <a:pt x="479276" y="150762"/>
                  </a:lnTo>
                  <a:lnTo>
                    <a:pt x="480409" y="152177"/>
                  </a:lnTo>
                  <a:lnTo>
                    <a:pt x="480787" y="153913"/>
                  </a:lnTo>
                  <a:lnTo>
                    <a:pt x="480343" y="156326"/>
                  </a:lnTo>
                  <a:lnTo>
                    <a:pt x="480373" y="157008"/>
                  </a:lnTo>
                  <a:lnTo>
                    <a:pt x="480374" y="157009"/>
                  </a:lnTo>
                  <a:lnTo>
                    <a:pt x="480702" y="157554"/>
                  </a:lnTo>
                  <a:lnTo>
                    <a:pt x="484280" y="161697"/>
                  </a:lnTo>
                  <a:lnTo>
                    <a:pt x="486119" y="165043"/>
                  </a:lnTo>
                  <a:lnTo>
                    <a:pt x="487579" y="170377"/>
                  </a:lnTo>
                  <a:lnTo>
                    <a:pt x="487586" y="170426"/>
                  </a:lnTo>
                  <a:lnTo>
                    <a:pt x="489217" y="173615"/>
                  </a:lnTo>
                  <a:lnTo>
                    <a:pt x="491562" y="174917"/>
                  </a:lnTo>
                  <a:lnTo>
                    <a:pt x="495165" y="175399"/>
                  </a:lnTo>
                  <a:lnTo>
                    <a:pt x="497902" y="176509"/>
                  </a:lnTo>
                  <a:lnTo>
                    <a:pt x="499775" y="178247"/>
                  </a:lnTo>
                  <a:lnTo>
                    <a:pt x="502136" y="179296"/>
                  </a:lnTo>
                  <a:lnTo>
                    <a:pt x="504985" y="179657"/>
                  </a:lnTo>
                  <a:lnTo>
                    <a:pt x="507718" y="180802"/>
                  </a:lnTo>
                  <a:lnTo>
                    <a:pt x="510331" y="182735"/>
                  </a:lnTo>
                  <a:lnTo>
                    <a:pt x="515206" y="184003"/>
                  </a:lnTo>
                  <a:lnTo>
                    <a:pt x="522341" y="184611"/>
                  </a:lnTo>
                  <a:lnTo>
                    <a:pt x="527772" y="186180"/>
                  </a:lnTo>
                  <a:lnTo>
                    <a:pt x="531499" y="188711"/>
                  </a:lnTo>
                  <a:lnTo>
                    <a:pt x="533137" y="189227"/>
                  </a:lnTo>
                  <a:lnTo>
                    <a:pt x="533581" y="189263"/>
                  </a:lnTo>
                  <a:lnTo>
                    <a:pt x="533793" y="188876"/>
                  </a:lnTo>
                  <a:lnTo>
                    <a:pt x="534075" y="188160"/>
                  </a:lnTo>
                  <a:lnTo>
                    <a:pt x="535517" y="187335"/>
                  </a:lnTo>
                  <a:lnTo>
                    <a:pt x="538954" y="186796"/>
                  </a:lnTo>
                  <a:lnTo>
                    <a:pt x="538492" y="192394"/>
                  </a:lnTo>
                  <a:lnTo>
                    <a:pt x="536959" y="196984"/>
                  </a:lnTo>
                  <a:lnTo>
                    <a:pt x="531909" y="206511"/>
                  </a:lnTo>
                  <a:lnTo>
                    <a:pt x="529805" y="212412"/>
                  </a:lnTo>
                  <a:lnTo>
                    <a:pt x="525732" y="229240"/>
                  </a:lnTo>
                  <a:lnTo>
                    <a:pt x="524481" y="240241"/>
                  </a:lnTo>
                  <a:lnTo>
                    <a:pt x="524187" y="245412"/>
                  </a:lnTo>
                  <a:lnTo>
                    <a:pt x="523830" y="246144"/>
                  </a:lnTo>
                  <a:lnTo>
                    <a:pt x="524218" y="246906"/>
                  </a:lnTo>
                  <a:lnTo>
                    <a:pt x="523242" y="258319"/>
                  </a:lnTo>
                  <a:lnTo>
                    <a:pt x="523766" y="268046"/>
                  </a:lnTo>
                  <a:lnTo>
                    <a:pt x="523434" y="269552"/>
                  </a:lnTo>
                  <a:lnTo>
                    <a:pt x="521953" y="272480"/>
                  </a:lnTo>
                  <a:lnTo>
                    <a:pt x="520911" y="276532"/>
                  </a:lnTo>
                  <a:lnTo>
                    <a:pt x="521323" y="278331"/>
                  </a:lnTo>
                  <a:lnTo>
                    <a:pt x="521300" y="279578"/>
                  </a:lnTo>
                  <a:lnTo>
                    <a:pt x="522824" y="285734"/>
                  </a:lnTo>
                  <a:lnTo>
                    <a:pt x="523308" y="290352"/>
                  </a:lnTo>
                  <a:lnTo>
                    <a:pt x="527835" y="298259"/>
                  </a:lnTo>
                  <a:lnTo>
                    <a:pt x="530377" y="301015"/>
                  </a:lnTo>
                  <a:lnTo>
                    <a:pt x="533529" y="303403"/>
                  </a:lnTo>
                  <a:lnTo>
                    <a:pt x="534688" y="304749"/>
                  </a:lnTo>
                  <a:lnTo>
                    <a:pt x="534120" y="308103"/>
                  </a:lnTo>
                  <a:lnTo>
                    <a:pt x="532836" y="309799"/>
                  </a:lnTo>
                  <a:lnTo>
                    <a:pt x="532286" y="312488"/>
                  </a:lnTo>
                  <a:lnTo>
                    <a:pt x="531654" y="310262"/>
                  </a:lnTo>
                  <a:lnTo>
                    <a:pt x="531900" y="307375"/>
                  </a:lnTo>
                  <a:lnTo>
                    <a:pt x="532904" y="305822"/>
                  </a:lnTo>
                  <a:lnTo>
                    <a:pt x="532940" y="304684"/>
                  </a:lnTo>
                  <a:lnTo>
                    <a:pt x="531085" y="303470"/>
                  </a:lnTo>
                  <a:lnTo>
                    <a:pt x="527693" y="299496"/>
                  </a:lnTo>
                  <a:lnTo>
                    <a:pt x="523548" y="292460"/>
                  </a:lnTo>
                  <a:lnTo>
                    <a:pt x="526497" y="303702"/>
                  </a:lnTo>
                  <a:lnTo>
                    <a:pt x="527509" y="305501"/>
                  </a:lnTo>
                  <a:lnTo>
                    <a:pt x="528297" y="306250"/>
                  </a:lnTo>
                  <a:lnTo>
                    <a:pt x="529614" y="307039"/>
                  </a:lnTo>
                  <a:lnTo>
                    <a:pt x="529957" y="308258"/>
                  </a:lnTo>
                  <a:lnTo>
                    <a:pt x="529969" y="309160"/>
                  </a:lnTo>
                  <a:lnTo>
                    <a:pt x="533606" y="316957"/>
                  </a:lnTo>
                  <a:lnTo>
                    <a:pt x="537718" y="325005"/>
                  </a:lnTo>
                  <a:lnTo>
                    <a:pt x="537937" y="327202"/>
                  </a:lnTo>
                  <a:lnTo>
                    <a:pt x="539583" y="329901"/>
                  </a:lnTo>
                  <a:lnTo>
                    <a:pt x="550049" y="341176"/>
                  </a:lnTo>
                  <a:lnTo>
                    <a:pt x="556455" y="349578"/>
                  </a:lnTo>
                  <a:lnTo>
                    <a:pt x="558678" y="357550"/>
                  </a:lnTo>
                  <a:lnTo>
                    <a:pt x="560023" y="360035"/>
                  </a:lnTo>
                  <a:lnTo>
                    <a:pt x="560677" y="363432"/>
                  </a:lnTo>
                  <a:lnTo>
                    <a:pt x="564875" y="367237"/>
                  </a:lnTo>
                  <a:lnTo>
                    <a:pt x="566158" y="369693"/>
                  </a:lnTo>
                  <a:lnTo>
                    <a:pt x="568407" y="371057"/>
                  </a:lnTo>
                  <a:lnTo>
                    <a:pt x="570223" y="375171"/>
                  </a:lnTo>
                  <a:lnTo>
                    <a:pt x="573645" y="377578"/>
                  </a:lnTo>
                  <a:lnTo>
                    <a:pt x="572827" y="377622"/>
                  </a:lnTo>
                  <a:lnTo>
                    <a:pt x="569838" y="376407"/>
                  </a:lnTo>
                  <a:lnTo>
                    <a:pt x="570037" y="377209"/>
                  </a:lnTo>
                  <a:lnTo>
                    <a:pt x="572555" y="378914"/>
                  </a:lnTo>
                  <a:lnTo>
                    <a:pt x="577482" y="380596"/>
                  </a:lnTo>
                  <a:lnTo>
                    <a:pt x="578711" y="380600"/>
                  </a:lnTo>
                  <a:lnTo>
                    <a:pt x="576769" y="379727"/>
                  </a:lnTo>
                  <a:lnTo>
                    <a:pt x="575122" y="378554"/>
                  </a:lnTo>
                  <a:lnTo>
                    <a:pt x="575699" y="378382"/>
                  </a:lnTo>
                  <a:lnTo>
                    <a:pt x="579139" y="379846"/>
                  </a:lnTo>
                  <a:lnTo>
                    <a:pt x="588765" y="380329"/>
                  </a:lnTo>
                  <a:lnTo>
                    <a:pt x="593003" y="383744"/>
                  </a:lnTo>
                  <a:lnTo>
                    <a:pt x="598493" y="385213"/>
                  </a:lnTo>
                  <a:lnTo>
                    <a:pt x="601447" y="389568"/>
                  </a:lnTo>
                  <a:lnTo>
                    <a:pt x="604882" y="394117"/>
                  </a:lnTo>
                  <a:lnTo>
                    <a:pt x="607073" y="394333"/>
                  </a:lnTo>
                  <a:lnTo>
                    <a:pt x="608784" y="394351"/>
                  </a:lnTo>
                  <a:lnTo>
                    <a:pt x="613938" y="393583"/>
                  </a:lnTo>
                  <a:lnTo>
                    <a:pt x="621948" y="390722"/>
                  </a:lnTo>
                  <a:lnTo>
                    <a:pt x="624705" y="389321"/>
                  </a:lnTo>
                  <a:lnTo>
                    <a:pt x="630082" y="387419"/>
                  </a:lnTo>
                  <a:lnTo>
                    <a:pt x="638309" y="387070"/>
                  </a:lnTo>
                  <a:lnTo>
                    <a:pt x="640859" y="387603"/>
                  </a:lnTo>
                  <a:lnTo>
                    <a:pt x="647010" y="386417"/>
                  </a:lnTo>
                  <a:lnTo>
                    <a:pt x="649943" y="384963"/>
                  </a:lnTo>
                  <a:lnTo>
                    <a:pt x="650960" y="383641"/>
                  </a:lnTo>
                  <a:lnTo>
                    <a:pt x="651438" y="382666"/>
                  </a:lnTo>
                  <a:lnTo>
                    <a:pt x="657139" y="381272"/>
                  </a:lnTo>
                  <a:lnTo>
                    <a:pt x="658261" y="380997"/>
                  </a:lnTo>
                  <a:lnTo>
                    <a:pt x="664039" y="380746"/>
                  </a:lnTo>
                  <a:lnTo>
                    <a:pt x="666826" y="380233"/>
                  </a:lnTo>
                  <a:lnTo>
                    <a:pt x="670109" y="379932"/>
                  </a:lnTo>
                  <a:lnTo>
                    <a:pt x="672477" y="381981"/>
                  </a:lnTo>
                  <a:lnTo>
                    <a:pt x="672475" y="382982"/>
                  </a:lnTo>
                  <a:lnTo>
                    <a:pt x="670898" y="383932"/>
                  </a:lnTo>
                  <a:lnTo>
                    <a:pt x="671636" y="384847"/>
                  </a:lnTo>
                  <a:lnTo>
                    <a:pt x="674439" y="386367"/>
                  </a:lnTo>
                  <a:lnTo>
                    <a:pt x="679594" y="386981"/>
                  </a:lnTo>
                  <a:lnTo>
                    <a:pt x="681260" y="386736"/>
                  </a:lnTo>
                  <a:lnTo>
                    <a:pt x="683631" y="384498"/>
                  </a:lnTo>
                  <a:lnTo>
                    <a:pt x="687822" y="382330"/>
                  </a:lnTo>
                  <a:lnTo>
                    <a:pt x="687732" y="379806"/>
                  </a:lnTo>
                  <a:lnTo>
                    <a:pt x="686983" y="378425"/>
                  </a:lnTo>
                  <a:lnTo>
                    <a:pt x="685766" y="378339"/>
                  </a:lnTo>
                  <a:lnTo>
                    <a:pt x="685475" y="377563"/>
                  </a:lnTo>
                  <a:lnTo>
                    <a:pt x="686326" y="375707"/>
                  </a:lnTo>
                  <a:lnTo>
                    <a:pt x="686102" y="375082"/>
                  </a:lnTo>
                  <a:lnTo>
                    <a:pt x="683503" y="376862"/>
                  </a:lnTo>
                  <a:lnTo>
                    <a:pt x="682903" y="376857"/>
                  </a:lnTo>
                  <a:lnTo>
                    <a:pt x="683191" y="376026"/>
                  </a:lnTo>
                  <a:lnTo>
                    <a:pt x="683728" y="375365"/>
                  </a:lnTo>
                  <a:lnTo>
                    <a:pt x="691353" y="371485"/>
                  </a:lnTo>
                  <a:lnTo>
                    <a:pt x="693306" y="369890"/>
                  </a:lnTo>
                  <a:lnTo>
                    <a:pt x="695940" y="368484"/>
                  </a:lnTo>
                  <a:lnTo>
                    <a:pt x="701411" y="363209"/>
                  </a:lnTo>
                  <a:lnTo>
                    <a:pt x="702581" y="353266"/>
                  </a:lnTo>
                  <a:lnTo>
                    <a:pt x="703673" y="351525"/>
                  </a:lnTo>
                  <a:lnTo>
                    <a:pt x="707299" y="348469"/>
                  </a:lnTo>
                  <a:lnTo>
                    <a:pt x="707689" y="347548"/>
                  </a:lnTo>
                  <a:lnTo>
                    <a:pt x="707925" y="345464"/>
                  </a:lnTo>
                  <a:lnTo>
                    <a:pt x="707824" y="340232"/>
                  </a:lnTo>
                  <a:lnTo>
                    <a:pt x="708028" y="336113"/>
                  </a:lnTo>
                  <a:lnTo>
                    <a:pt x="707881" y="331451"/>
                  </a:lnTo>
                  <a:lnTo>
                    <a:pt x="708533" y="327290"/>
                  </a:lnTo>
                  <a:lnTo>
                    <a:pt x="709123" y="326131"/>
                  </a:lnTo>
                  <a:lnTo>
                    <a:pt x="711203" y="319463"/>
                  </a:lnTo>
                  <a:lnTo>
                    <a:pt x="715519" y="316509"/>
                  </a:lnTo>
                  <a:lnTo>
                    <a:pt x="723005" y="313017"/>
                  </a:lnTo>
                  <a:lnTo>
                    <a:pt x="724726" y="312434"/>
                  </a:lnTo>
                  <a:lnTo>
                    <a:pt x="748589" y="308734"/>
                  </a:lnTo>
                  <a:lnTo>
                    <a:pt x="751936" y="307830"/>
                  </a:lnTo>
                  <a:lnTo>
                    <a:pt x="756039" y="305428"/>
                  </a:lnTo>
                  <a:lnTo>
                    <a:pt x="759036" y="304612"/>
                  </a:lnTo>
                  <a:lnTo>
                    <a:pt x="764505" y="304678"/>
                  </a:lnTo>
                  <a:lnTo>
                    <a:pt x="766185" y="304358"/>
                  </a:lnTo>
                  <a:lnTo>
                    <a:pt x="766515" y="304027"/>
                  </a:lnTo>
                  <a:lnTo>
                    <a:pt x="766523" y="303705"/>
                  </a:lnTo>
                  <a:lnTo>
                    <a:pt x="767531" y="303377"/>
                  </a:lnTo>
                  <a:lnTo>
                    <a:pt x="770696" y="303692"/>
                  </a:lnTo>
                  <a:lnTo>
                    <a:pt x="776608" y="305140"/>
                  </a:lnTo>
                  <a:lnTo>
                    <a:pt x="778760" y="305502"/>
                  </a:lnTo>
                  <a:lnTo>
                    <a:pt x="784043" y="307185"/>
                  </a:lnTo>
                  <a:lnTo>
                    <a:pt x="789865" y="307861"/>
                  </a:lnTo>
                  <a:lnTo>
                    <a:pt x="790701" y="307569"/>
                  </a:lnTo>
                  <a:lnTo>
                    <a:pt x="791469" y="307057"/>
                  </a:lnTo>
                  <a:lnTo>
                    <a:pt x="792060" y="306077"/>
                  </a:lnTo>
                  <a:lnTo>
                    <a:pt x="791452" y="305221"/>
                  </a:lnTo>
                  <a:lnTo>
                    <a:pt x="790886" y="305288"/>
                  </a:lnTo>
                  <a:lnTo>
                    <a:pt x="789900" y="305748"/>
                  </a:lnTo>
                  <a:lnTo>
                    <a:pt x="788727" y="305792"/>
                  </a:lnTo>
                  <a:lnTo>
                    <a:pt x="786421" y="305088"/>
                  </a:lnTo>
                  <a:lnTo>
                    <a:pt x="786882" y="304497"/>
                  </a:lnTo>
                  <a:lnTo>
                    <a:pt x="789234" y="304553"/>
                  </a:lnTo>
                  <a:lnTo>
                    <a:pt x="790737" y="304266"/>
                  </a:lnTo>
                  <a:lnTo>
                    <a:pt x="792969" y="303228"/>
                  </a:lnTo>
                  <a:lnTo>
                    <a:pt x="795345" y="304006"/>
                  </a:lnTo>
                  <a:lnTo>
                    <a:pt x="798464" y="307440"/>
                  </a:lnTo>
                  <a:lnTo>
                    <a:pt x="800687" y="308533"/>
                  </a:lnTo>
                  <a:lnTo>
                    <a:pt x="800864" y="313505"/>
                  </a:lnTo>
                  <a:lnTo>
                    <a:pt x="801199" y="314411"/>
                  </a:lnTo>
                  <a:lnTo>
                    <a:pt x="802013" y="315723"/>
                  </a:lnTo>
                  <a:lnTo>
                    <a:pt x="800903" y="319574"/>
                  </a:lnTo>
                  <a:lnTo>
                    <a:pt x="799657" y="322756"/>
                  </a:lnTo>
                  <a:lnTo>
                    <a:pt x="798097" y="325365"/>
                  </a:lnTo>
                  <a:lnTo>
                    <a:pt x="794715" y="329471"/>
                  </a:lnTo>
                  <a:lnTo>
                    <a:pt x="790616" y="332750"/>
                  </a:lnTo>
                  <a:lnTo>
                    <a:pt x="785542" y="340037"/>
                  </a:lnTo>
                  <a:lnTo>
                    <a:pt x="784380" y="343448"/>
                  </a:lnTo>
                  <a:lnTo>
                    <a:pt x="784414" y="346182"/>
                  </a:lnTo>
                  <a:lnTo>
                    <a:pt x="785273" y="348821"/>
                  </a:lnTo>
                  <a:lnTo>
                    <a:pt x="785024" y="349796"/>
                  </a:lnTo>
                  <a:lnTo>
                    <a:pt x="784405" y="350781"/>
                  </a:lnTo>
                  <a:lnTo>
                    <a:pt x="783373" y="350692"/>
                  </a:lnTo>
                  <a:lnTo>
                    <a:pt x="781372" y="351958"/>
                  </a:lnTo>
                  <a:lnTo>
                    <a:pt x="778789" y="355709"/>
                  </a:lnTo>
                  <a:lnTo>
                    <a:pt x="778728" y="356852"/>
                  </a:lnTo>
                  <a:lnTo>
                    <a:pt x="779863" y="357901"/>
                  </a:lnTo>
                  <a:lnTo>
                    <a:pt x="781334" y="357398"/>
                  </a:lnTo>
                  <a:lnTo>
                    <a:pt x="783252" y="357352"/>
                  </a:lnTo>
                  <a:lnTo>
                    <a:pt x="784324" y="357043"/>
                  </a:lnTo>
                  <a:lnTo>
                    <a:pt x="785456" y="357125"/>
                  </a:lnTo>
                  <a:lnTo>
                    <a:pt x="785203" y="359275"/>
                  </a:lnTo>
                  <a:lnTo>
                    <a:pt x="783987" y="360801"/>
                  </a:lnTo>
                  <a:lnTo>
                    <a:pt x="783221" y="361279"/>
                  </a:lnTo>
                  <a:lnTo>
                    <a:pt x="781849" y="361538"/>
                  </a:lnTo>
                  <a:lnTo>
                    <a:pt x="780314" y="362407"/>
                  </a:lnTo>
                  <a:lnTo>
                    <a:pt x="779524" y="363206"/>
                  </a:lnTo>
                  <a:lnTo>
                    <a:pt x="779598" y="365691"/>
                  </a:lnTo>
                  <a:lnTo>
                    <a:pt x="780452" y="365885"/>
                  </a:lnTo>
                  <a:lnTo>
                    <a:pt x="782261" y="364032"/>
                  </a:lnTo>
                  <a:lnTo>
                    <a:pt x="783308" y="364124"/>
                  </a:lnTo>
                  <a:lnTo>
                    <a:pt x="783521" y="364905"/>
                  </a:lnTo>
                  <a:lnTo>
                    <a:pt x="781176" y="371251"/>
                  </a:lnTo>
                  <a:lnTo>
                    <a:pt x="779667" y="377762"/>
                  </a:lnTo>
                  <a:lnTo>
                    <a:pt x="777626" y="381529"/>
                  </a:lnTo>
                  <a:lnTo>
                    <a:pt x="776909" y="387008"/>
                  </a:lnTo>
                  <a:lnTo>
                    <a:pt x="775837" y="389342"/>
                  </a:lnTo>
                  <a:lnTo>
                    <a:pt x="774592" y="391652"/>
                  </a:lnTo>
                  <a:lnTo>
                    <a:pt x="773862" y="391524"/>
                  </a:lnTo>
                  <a:lnTo>
                    <a:pt x="771892" y="387146"/>
                  </a:lnTo>
                  <a:lnTo>
                    <a:pt x="769880" y="386018"/>
                  </a:lnTo>
                  <a:lnTo>
                    <a:pt x="769438" y="384954"/>
                  </a:lnTo>
                  <a:lnTo>
                    <a:pt x="770587" y="379644"/>
                  </a:lnTo>
                  <a:lnTo>
                    <a:pt x="770064" y="376701"/>
                  </a:lnTo>
                  <a:lnTo>
                    <a:pt x="768999" y="376818"/>
                  </a:lnTo>
                  <a:lnTo>
                    <a:pt x="767656" y="378431"/>
                  </a:lnTo>
                  <a:lnTo>
                    <a:pt x="765880" y="379832"/>
                  </a:lnTo>
                  <a:lnTo>
                    <a:pt x="765918" y="381854"/>
                  </a:lnTo>
                  <a:lnTo>
                    <a:pt x="763878" y="385214"/>
                  </a:lnTo>
                  <a:lnTo>
                    <a:pt x="763373" y="386320"/>
                  </a:lnTo>
                  <a:lnTo>
                    <a:pt x="761426" y="386059"/>
                  </a:lnTo>
                  <a:lnTo>
                    <a:pt x="759173" y="386205"/>
                  </a:lnTo>
                  <a:lnTo>
                    <a:pt x="757609" y="387015"/>
                  </a:lnTo>
                  <a:lnTo>
                    <a:pt x="756007" y="391088"/>
                  </a:lnTo>
                  <a:lnTo>
                    <a:pt x="752014" y="396821"/>
                  </a:lnTo>
                  <a:lnTo>
                    <a:pt x="750423" y="399600"/>
                  </a:lnTo>
                  <a:lnTo>
                    <a:pt x="749130" y="400561"/>
                  </a:lnTo>
                  <a:lnTo>
                    <a:pt x="748105" y="400934"/>
                  </a:lnTo>
                  <a:lnTo>
                    <a:pt x="746968" y="400276"/>
                  </a:lnTo>
                  <a:lnTo>
                    <a:pt x="744234" y="398704"/>
                  </a:lnTo>
                  <a:lnTo>
                    <a:pt x="742127" y="399461"/>
                  </a:lnTo>
                  <a:lnTo>
                    <a:pt x="741396" y="401264"/>
                  </a:lnTo>
                  <a:lnTo>
                    <a:pt x="741419" y="403542"/>
                  </a:lnTo>
                  <a:lnTo>
                    <a:pt x="736093" y="403539"/>
                  </a:lnTo>
                  <a:lnTo>
                    <a:pt x="727034" y="403530"/>
                  </a:lnTo>
                  <a:lnTo>
                    <a:pt x="715501" y="403519"/>
                  </a:lnTo>
                  <a:lnTo>
                    <a:pt x="704385" y="403509"/>
                  </a:lnTo>
                  <a:lnTo>
                    <a:pt x="695076" y="403502"/>
                  </a:lnTo>
                  <a:lnTo>
                    <a:pt x="695042" y="408619"/>
                  </a:lnTo>
                  <a:lnTo>
                    <a:pt x="695014" y="413148"/>
                  </a:lnTo>
                  <a:lnTo>
                    <a:pt x="694978" y="418242"/>
                  </a:lnTo>
                  <a:lnTo>
                    <a:pt x="689843" y="418199"/>
                  </a:lnTo>
                  <a:lnTo>
                    <a:pt x="684414" y="418153"/>
                  </a:lnTo>
                  <a:lnTo>
                    <a:pt x="684853" y="418660"/>
                  </a:lnTo>
                  <a:lnTo>
                    <a:pt x="686707" y="419616"/>
                  </a:lnTo>
                  <a:lnTo>
                    <a:pt x="689116" y="421900"/>
                  </a:lnTo>
                  <a:lnTo>
                    <a:pt x="691965" y="425452"/>
                  </a:lnTo>
                  <a:lnTo>
                    <a:pt x="695413" y="428277"/>
                  </a:lnTo>
                  <a:lnTo>
                    <a:pt x="699465" y="430382"/>
                  </a:lnTo>
                  <a:lnTo>
                    <a:pt x="702136" y="432441"/>
                  </a:lnTo>
                  <a:lnTo>
                    <a:pt x="703423" y="434453"/>
                  </a:lnTo>
                  <a:lnTo>
                    <a:pt x="704072" y="436166"/>
                  </a:lnTo>
                  <a:lnTo>
                    <a:pt x="704079" y="437583"/>
                  </a:lnTo>
                  <a:lnTo>
                    <a:pt x="705557" y="438701"/>
                  </a:lnTo>
                  <a:lnTo>
                    <a:pt x="708211" y="439437"/>
                  </a:lnTo>
                  <a:lnTo>
                    <a:pt x="709583" y="440701"/>
                  </a:lnTo>
                  <a:lnTo>
                    <a:pt x="709583" y="441734"/>
                  </a:lnTo>
                  <a:lnTo>
                    <a:pt x="708742" y="444075"/>
                  </a:lnTo>
                  <a:lnTo>
                    <a:pt x="708497" y="446652"/>
                  </a:lnTo>
                  <a:lnTo>
                    <a:pt x="708818" y="448983"/>
                  </a:lnTo>
                  <a:lnTo>
                    <a:pt x="706921" y="449023"/>
                  </a:lnTo>
                  <a:lnTo>
                    <a:pt x="702325" y="449027"/>
                  </a:lnTo>
                  <a:lnTo>
                    <a:pt x="695318" y="449034"/>
                  </a:lnTo>
                  <a:lnTo>
                    <a:pt x="688872" y="449037"/>
                  </a:lnTo>
                  <a:lnTo>
                    <a:pt x="683797" y="449043"/>
                  </a:lnTo>
                  <a:lnTo>
                    <a:pt x="676124" y="449050"/>
                  </a:lnTo>
                  <a:lnTo>
                    <a:pt x="674023" y="452633"/>
                  </a:lnTo>
                  <a:lnTo>
                    <a:pt x="670529" y="458588"/>
                  </a:lnTo>
                  <a:lnTo>
                    <a:pt x="667362" y="463981"/>
                  </a:lnTo>
                  <a:lnTo>
                    <a:pt x="664698" y="468514"/>
                  </a:lnTo>
                  <a:lnTo>
                    <a:pt x="664265" y="469706"/>
                  </a:lnTo>
                  <a:lnTo>
                    <a:pt x="664262" y="470673"/>
                  </a:lnTo>
                  <a:lnTo>
                    <a:pt x="667548" y="474913"/>
                  </a:lnTo>
                  <a:lnTo>
                    <a:pt x="666941" y="476144"/>
                  </a:lnTo>
                  <a:lnTo>
                    <a:pt x="665786" y="476786"/>
                  </a:lnTo>
                  <a:lnTo>
                    <a:pt x="665424" y="477781"/>
                  </a:lnTo>
                  <a:lnTo>
                    <a:pt x="665497" y="479394"/>
                  </a:lnTo>
                  <a:lnTo>
                    <a:pt x="664719" y="481545"/>
                  </a:lnTo>
                  <a:lnTo>
                    <a:pt x="664970" y="483022"/>
                  </a:lnTo>
                  <a:lnTo>
                    <a:pt x="665389" y="484844"/>
                  </a:lnTo>
                  <a:lnTo>
                    <a:pt x="664701" y="486422"/>
                  </a:lnTo>
                  <a:lnTo>
                    <a:pt x="664144" y="487951"/>
                  </a:lnTo>
                  <a:lnTo>
                    <a:pt x="663481" y="488614"/>
                  </a:lnTo>
                  <a:lnTo>
                    <a:pt x="662736" y="488035"/>
                  </a:lnTo>
                  <a:lnTo>
                    <a:pt x="655981" y="480993"/>
                  </a:lnTo>
                  <a:lnTo>
                    <a:pt x="648933" y="473243"/>
                  </a:lnTo>
                  <a:lnTo>
                    <a:pt x="646157" y="470714"/>
                  </a:lnTo>
                  <a:lnTo>
                    <a:pt x="643469" y="468791"/>
                  </a:lnTo>
                  <a:lnTo>
                    <a:pt x="639855" y="465215"/>
                  </a:lnTo>
                  <a:lnTo>
                    <a:pt x="630365" y="457362"/>
                  </a:lnTo>
                  <a:lnTo>
                    <a:pt x="625466" y="453774"/>
                  </a:lnTo>
                  <a:lnTo>
                    <a:pt x="620860" y="449481"/>
                  </a:lnTo>
                  <a:lnTo>
                    <a:pt x="616730" y="447097"/>
                  </a:lnTo>
                  <a:lnTo>
                    <a:pt x="612648" y="445540"/>
                  </a:lnTo>
                  <a:lnTo>
                    <a:pt x="610839" y="444649"/>
                  </a:lnTo>
                  <a:lnTo>
                    <a:pt x="609244" y="443466"/>
                  </a:lnTo>
                  <a:lnTo>
                    <a:pt x="608360" y="443400"/>
                  </a:lnTo>
                  <a:lnTo>
                    <a:pt x="607919" y="444989"/>
                  </a:lnTo>
                  <a:lnTo>
                    <a:pt x="609346" y="445792"/>
                  </a:lnTo>
                  <a:lnTo>
                    <a:pt x="611052" y="446470"/>
                  </a:lnTo>
                  <a:lnTo>
                    <a:pt x="612404" y="446517"/>
                  </a:lnTo>
                  <a:lnTo>
                    <a:pt x="613827" y="447088"/>
                  </a:lnTo>
                  <a:lnTo>
                    <a:pt x="618013" y="449261"/>
                  </a:lnTo>
                  <a:lnTo>
                    <a:pt x="618700" y="450382"/>
                  </a:lnTo>
                  <a:lnTo>
                    <a:pt x="606794" y="446023"/>
                  </a:lnTo>
                  <a:lnTo>
                    <a:pt x="601958" y="445623"/>
                  </a:lnTo>
                  <a:lnTo>
                    <a:pt x="601431" y="444938"/>
                  </a:lnTo>
                  <a:lnTo>
                    <a:pt x="603844" y="442658"/>
                  </a:lnTo>
                  <a:lnTo>
                    <a:pt x="603090" y="441832"/>
                  </a:lnTo>
                  <a:lnTo>
                    <a:pt x="602230" y="441721"/>
                  </a:lnTo>
                  <a:lnTo>
                    <a:pt x="599642" y="443299"/>
                  </a:lnTo>
                  <a:lnTo>
                    <a:pt x="598679" y="443405"/>
                  </a:lnTo>
                  <a:lnTo>
                    <a:pt x="598511" y="442366"/>
                  </a:lnTo>
                  <a:lnTo>
                    <a:pt x="598625" y="441389"/>
                  </a:lnTo>
                  <a:lnTo>
                    <a:pt x="596958" y="439953"/>
                  </a:lnTo>
                  <a:lnTo>
                    <a:pt x="595899" y="440011"/>
                  </a:lnTo>
                  <a:lnTo>
                    <a:pt x="595030" y="441011"/>
                  </a:lnTo>
                  <a:lnTo>
                    <a:pt x="592778" y="442908"/>
                  </a:lnTo>
                  <a:lnTo>
                    <a:pt x="592846" y="443652"/>
                  </a:lnTo>
                  <a:lnTo>
                    <a:pt x="597279" y="444461"/>
                  </a:lnTo>
                  <a:lnTo>
                    <a:pt x="598806" y="444916"/>
                  </a:lnTo>
                  <a:lnTo>
                    <a:pt x="598461" y="445422"/>
                  </a:lnTo>
                  <a:lnTo>
                    <a:pt x="594660" y="445411"/>
                  </a:lnTo>
                  <a:lnTo>
                    <a:pt x="589967" y="446273"/>
                  </a:lnTo>
                  <a:lnTo>
                    <a:pt x="581600" y="451533"/>
                  </a:lnTo>
                  <a:lnTo>
                    <a:pt x="573806" y="453792"/>
                  </a:lnTo>
                  <a:lnTo>
                    <a:pt x="562603" y="458852"/>
                  </a:lnTo>
                  <a:lnTo>
                    <a:pt x="557656" y="459111"/>
                  </a:lnTo>
                  <a:lnTo>
                    <a:pt x="555066" y="459921"/>
                  </a:lnTo>
                  <a:lnTo>
                    <a:pt x="547532" y="457985"/>
                  </a:lnTo>
                  <a:lnTo>
                    <a:pt x="537980" y="453233"/>
                  </a:lnTo>
                  <a:lnTo>
                    <a:pt x="523523" y="451737"/>
                  </a:lnTo>
                  <a:lnTo>
                    <a:pt x="513782" y="445509"/>
                  </a:lnTo>
                  <a:lnTo>
                    <a:pt x="504113" y="442945"/>
                  </a:lnTo>
                  <a:lnTo>
                    <a:pt x="497979" y="436958"/>
                  </a:lnTo>
                  <a:lnTo>
                    <a:pt x="494283" y="436702"/>
                  </a:lnTo>
                  <a:lnTo>
                    <a:pt x="491907" y="435741"/>
                  </a:lnTo>
                  <a:lnTo>
                    <a:pt x="483124" y="433571"/>
                  </a:lnTo>
                  <a:lnTo>
                    <a:pt x="474437" y="432141"/>
                  </a:lnTo>
                  <a:lnTo>
                    <a:pt x="465972" y="426903"/>
                  </a:lnTo>
                  <a:lnTo>
                    <a:pt x="460431" y="425243"/>
                  </a:lnTo>
                  <a:lnTo>
                    <a:pt x="455642" y="423158"/>
                  </a:lnTo>
                  <a:lnTo>
                    <a:pt x="445096" y="419598"/>
                  </a:lnTo>
                  <a:lnTo>
                    <a:pt x="441187" y="417623"/>
                  </a:lnTo>
                  <a:lnTo>
                    <a:pt x="437488" y="414568"/>
                  </a:lnTo>
                  <a:lnTo>
                    <a:pt x="431462" y="411403"/>
                  </a:lnTo>
                  <a:lnTo>
                    <a:pt x="428887" y="408760"/>
                  </a:lnTo>
                  <a:lnTo>
                    <a:pt x="426015" y="407813"/>
                  </a:lnTo>
                  <a:lnTo>
                    <a:pt x="421904" y="402832"/>
                  </a:lnTo>
                  <a:lnTo>
                    <a:pt x="419758" y="400732"/>
                  </a:lnTo>
                  <a:lnTo>
                    <a:pt x="417941" y="399750"/>
                  </a:lnTo>
                  <a:lnTo>
                    <a:pt x="415994" y="399412"/>
                  </a:lnTo>
                  <a:lnTo>
                    <a:pt x="410388" y="399812"/>
                  </a:lnTo>
                  <a:lnTo>
                    <a:pt x="402011" y="397613"/>
                  </a:lnTo>
                  <a:lnTo>
                    <a:pt x="398142" y="397052"/>
                  </a:lnTo>
                  <a:lnTo>
                    <a:pt x="390054" y="393803"/>
                  </a:lnTo>
                  <a:lnTo>
                    <a:pt x="379327" y="390174"/>
                  </a:lnTo>
                  <a:lnTo>
                    <a:pt x="375810" y="386006"/>
                  </a:lnTo>
                  <a:lnTo>
                    <a:pt x="372802" y="382108"/>
                  </a:lnTo>
                  <a:lnTo>
                    <a:pt x="367387" y="376976"/>
                  </a:lnTo>
                  <a:lnTo>
                    <a:pt x="364010" y="374787"/>
                  </a:lnTo>
                  <a:lnTo>
                    <a:pt x="358143" y="372182"/>
                  </a:lnTo>
                  <a:lnTo>
                    <a:pt x="354893" y="370073"/>
                  </a:lnTo>
                  <a:lnTo>
                    <a:pt x="349878" y="368453"/>
                  </a:lnTo>
                  <a:lnTo>
                    <a:pt x="341371" y="364337"/>
                  </a:lnTo>
                  <a:lnTo>
                    <a:pt x="338665" y="360813"/>
                  </a:lnTo>
                  <a:lnTo>
                    <a:pt x="337081" y="357682"/>
                  </a:lnTo>
                  <a:lnTo>
                    <a:pt x="332550" y="353881"/>
                  </a:lnTo>
                  <a:lnTo>
                    <a:pt x="327588" y="346775"/>
                  </a:lnTo>
                  <a:lnTo>
                    <a:pt x="326310" y="344155"/>
                  </a:lnTo>
                  <a:lnTo>
                    <a:pt x="325347" y="340131"/>
                  </a:lnTo>
                  <a:lnTo>
                    <a:pt x="324193" y="337795"/>
                  </a:lnTo>
                  <a:lnTo>
                    <a:pt x="322837" y="335965"/>
                  </a:lnTo>
                  <a:lnTo>
                    <a:pt x="323528" y="334634"/>
                  </a:lnTo>
                  <a:lnTo>
                    <a:pt x="326053" y="332996"/>
                  </a:lnTo>
                  <a:lnTo>
                    <a:pt x="330250" y="332628"/>
                  </a:lnTo>
                  <a:lnTo>
                    <a:pt x="333215" y="330852"/>
                  </a:lnTo>
                  <a:lnTo>
                    <a:pt x="333607" y="329394"/>
                  </a:lnTo>
                  <a:lnTo>
                    <a:pt x="333414" y="328486"/>
                  </a:lnTo>
                  <a:lnTo>
                    <a:pt x="331519" y="326251"/>
                  </a:lnTo>
                  <a:lnTo>
                    <a:pt x="329159" y="325658"/>
                  </a:lnTo>
                  <a:lnTo>
                    <a:pt x="327326" y="325626"/>
                  </a:lnTo>
                  <a:lnTo>
                    <a:pt x="326858" y="324775"/>
                  </a:lnTo>
                  <a:lnTo>
                    <a:pt x="328240" y="323848"/>
                  </a:lnTo>
                  <a:lnTo>
                    <a:pt x="329820" y="321669"/>
                  </a:lnTo>
                  <a:lnTo>
                    <a:pt x="332154" y="319008"/>
                  </a:lnTo>
                  <a:lnTo>
                    <a:pt x="333800" y="316554"/>
                  </a:lnTo>
                  <a:lnTo>
                    <a:pt x="334106" y="313095"/>
                  </a:lnTo>
                  <a:lnTo>
                    <a:pt x="333897" y="309628"/>
                  </a:lnTo>
                  <a:lnTo>
                    <a:pt x="334520" y="306698"/>
                  </a:lnTo>
                  <a:lnTo>
                    <a:pt x="328871" y="303314"/>
                  </a:lnTo>
                  <a:lnTo>
                    <a:pt x="328213" y="301875"/>
                  </a:lnTo>
                  <a:lnTo>
                    <a:pt x="326436" y="297996"/>
                  </a:lnTo>
                  <a:lnTo>
                    <a:pt x="323352" y="293485"/>
                  </a:lnTo>
                  <a:lnTo>
                    <a:pt x="323443" y="284466"/>
                  </a:lnTo>
                  <a:lnTo>
                    <a:pt x="319734" y="276452"/>
                  </a:lnTo>
                  <a:lnTo>
                    <a:pt x="315891" y="272462"/>
                  </a:lnTo>
                  <a:lnTo>
                    <a:pt x="313904" y="271073"/>
                  </a:lnTo>
                  <a:lnTo>
                    <a:pt x="308506" y="264879"/>
                  </a:lnTo>
                  <a:lnTo>
                    <a:pt x="304255" y="261277"/>
                  </a:lnTo>
                  <a:lnTo>
                    <a:pt x="300091" y="254484"/>
                  </a:lnTo>
                  <a:lnTo>
                    <a:pt x="295976" y="250164"/>
                  </a:lnTo>
                  <a:lnTo>
                    <a:pt x="290733" y="242909"/>
                  </a:lnTo>
                  <a:lnTo>
                    <a:pt x="286947" y="239288"/>
                  </a:lnTo>
                  <a:lnTo>
                    <a:pt x="269702" y="227035"/>
                  </a:lnTo>
                  <a:lnTo>
                    <a:pt x="270674" y="227035"/>
                  </a:lnTo>
                  <a:lnTo>
                    <a:pt x="275730" y="230045"/>
                  </a:lnTo>
                  <a:lnTo>
                    <a:pt x="276581" y="229794"/>
                  </a:lnTo>
                  <a:lnTo>
                    <a:pt x="276701" y="228326"/>
                  </a:lnTo>
                  <a:lnTo>
                    <a:pt x="276118" y="226571"/>
                  </a:lnTo>
                  <a:lnTo>
                    <a:pt x="275180" y="226150"/>
                  </a:lnTo>
                  <a:lnTo>
                    <a:pt x="273834" y="226545"/>
                  </a:lnTo>
                  <a:lnTo>
                    <a:pt x="272017" y="226184"/>
                  </a:lnTo>
                  <a:lnTo>
                    <a:pt x="271107" y="225606"/>
                  </a:lnTo>
                  <a:lnTo>
                    <a:pt x="268389" y="225230"/>
                  </a:lnTo>
                  <a:lnTo>
                    <a:pt x="264980" y="223186"/>
                  </a:lnTo>
                  <a:lnTo>
                    <a:pt x="263519" y="221067"/>
                  </a:lnTo>
                  <a:lnTo>
                    <a:pt x="263359" y="218646"/>
                  </a:lnTo>
                  <a:lnTo>
                    <a:pt x="258476" y="213485"/>
                  </a:lnTo>
                  <a:lnTo>
                    <a:pt x="256623" y="210603"/>
                  </a:lnTo>
                  <a:lnTo>
                    <a:pt x="257572" y="210817"/>
                  </a:lnTo>
                  <a:lnTo>
                    <a:pt x="258873" y="211977"/>
                  </a:lnTo>
                  <a:lnTo>
                    <a:pt x="260189" y="212307"/>
                  </a:lnTo>
                  <a:lnTo>
                    <a:pt x="261722" y="212318"/>
                  </a:lnTo>
                  <a:lnTo>
                    <a:pt x="262837" y="211851"/>
                  </a:lnTo>
                  <a:lnTo>
                    <a:pt x="262437" y="210995"/>
                  </a:lnTo>
                  <a:lnTo>
                    <a:pt x="261389" y="210281"/>
                  </a:lnTo>
                  <a:lnTo>
                    <a:pt x="254266" y="207558"/>
                  </a:lnTo>
                  <a:lnTo>
                    <a:pt x="251919" y="205645"/>
                  </a:lnTo>
                  <a:lnTo>
                    <a:pt x="246083" y="202463"/>
                  </a:lnTo>
                  <a:lnTo>
                    <a:pt x="244699" y="201346"/>
                  </a:lnTo>
                  <a:lnTo>
                    <a:pt x="243780" y="198266"/>
                  </a:lnTo>
                  <a:lnTo>
                    <a:pt x="242351" y="198123"/>
                  </a:lnTo>
                  <a:lnTo>
                    <a:pt x="241094" y="198982"/>
                  </a:lnTo>
                  <a:lnTo>
                    <a:pt x="237655" y="199824"/>
                  </a:lnTo>
                  <a:lnTo>
                    <a:pt x="236776" y="198844"/>
                  </a:lnTo>
                  <a:lnTo>
                    <a:pt x="236649" y="197900"/>
                  </a:lnTo>
                  <a:lnTo>
                    <a:pt x="239076" y="196901"/>
                  </a:lnTo>
                  <a:lnTo>
                    <a:pt x="241305" y="193990"/>
                  </a:lnTo>
                  <a:lnTo>
                    <a:pt x="241262" y="192976"/>
                  </a:lnTo>
                  <a:lnTo>
                    <a:pt x="240030" y="194146"/>
                  </a:lnTo>
                  <a:lnTo>
                    <a:pt x="238173" y="195453"/>
                  </a:lnTo>
                  <a:lnTo>
                    <a:pt x="236254" y="196182"/>
                  </a:lnTo>
                  <a:lnTo>
                    <a:pt x="233403" y="196791"/>
                  </a:lnTo>
                  <a:lnTo>
                    <a:pt x="231947" y="196352"/>
                  </a:lnTo>
                  <a:lnTo>
                    <a:pt x="230669" y="195692"/>
                  </a:lnTo>
                  <a:lnTo>
                    <a:pt x="228625" y="193147"/>
                  </a:lnTo>
                  <a:lnTo>
                    <a:pt x="227593" y="184867"/>
                  </a:lnTo>
                  <a:lnTo>
                    <a:pt x="229406" y="181994"/>
                  </a:lnTo>
                  <a:lnTo>
                    <a:pt x="231522" y="179152"/>
                  </a:lnTo>
                  <a:lnTo>
                    <a:pt x="233322" y="177465"/>
                  </a:lnTo>
                  <a:lnTo>
                    <a:pt x="234359" y="178739"/>
                  </a:lnTo>
                  <a:lnTo>
                    <a:pt x="235427" y="178892"/>
                  </a:lnTo>
                  <a:lnTo>
                    <a:pt x="234675" y="177453"/>
                  </a:lnTo>
                  <a:lnTo>
                    <a:pt x="232908" y="176105"/>
                  </a:lnTo>
                  <a:lnTo>
                    <a:pt x="232284" y="174763"/>
                  </a:lnTo>
                  <a:lnTo>
                    <a:pt x="232217" y="173532"/>
                  </a:lnTo>
                  <a:lnTo>
                    <a:pt x="231380" y="171249"/>
                  </a:lnTo>
                  <a:lnTo>
                    <a:pt x="226142" y="166447"/>
                  </a:lnTo>
                  <a:lnTo>
                    <a:pt x="221243" y="166815"/>
                  </a:lnTo>
                  <a:lnTo>
                    <a:pt x="219247" y="166648"/>
                  </a:lnTo>
                  <a:lnTo>
                    <a:pt x="217381" y="164819"/>
                  </a:lnTo>
                  <a:lnTo>
                    <a:pt x="215795" y="161733"/>
                  </a:lnTo>
                  <a:lnTo>
                    <a:pt x="215014" y="159149"/>
                  </a:lnTo>
                  <a:lnTo>
                    <a:pt x="214915" y="157772"/>
                  </a:lnTo>
                  <a:lnTo>
                    <a:pt x="214449" y="156390"/>
                  </a:lnTo>
                  <a:lnTo>
                    <a:pt x="206002" y="154128"/>
                  </a:lnTo>
                  <a:lnTo>
                    <a:pt x="203462" y="152187"/>
                  </a:lnTo>
                  <a:lnTo>
                    <a:pt x="200914" y="149747"/>
                  </a:lnTo>
                  <a:lnTo>
                    <a:pt x="199859" y="147753"/>
                  </a:lnTo>
                  <a:lnTo>
                    <a:pt x="198813" y="146262"/>
                  </a:lnTo>
                  <a:lnTo>
                    <a:pt x="198002" y="143686"/>
                  </a:lnTo>
                  <a:lnTo>
                    <a:pt x="197422" y="140689"/>
                  </a:lnTo>
                  <a:lnTo>
                    <a:pt x="198366" y="136807"/>
                  </a:lnTo>
                  <a:lnTo>
                    <a:pt x="199593" y="134929"/>
                  </a:lnTo>
                  <a:lnTo>
                    <a:pt x="193783" y="133531"/>
                  </a:lnTo>
                  <a:lnTo>
                    <a:pt x="191511" y="133466"/>
                  </a:lnTo>
                  <a:lnTo>
                    <a:pt x="189681" y="134252"/>
                  </a:lnTo>
                  <a:lnTo>
                    <a:pt x="188025" y="133235"/>
                  </a:lnTo>
                  <a:lnTo>
                    <a:pt x="184595" y="132111"/>
                  </a:lnTo>
                  <a:lnTo>
                    <a:pt x="180512" y="128044"/>
                  </a:lnTo>
                  <a:lnTo>
                    <a:pt x="175713" y="120664"/>
                  </a:lnTo>
                  <a:lnTo>
                    <a:pt x="170429" y="118283"/>
                  </a:lnTo>
                  <a:lnTo>
                    <a:pt x="168726" y="115713"/>
                  </a:lnTo>
                  <a:lnTo>
                    <a:pt x="166565" y="113397"/>
                  </a:lnTo>
                  <a:lnTo>
                    <a:pt x="164673" y="110523"/>
                  </a:lnTo>
                  <a:lnTo>
                    <a:pt x="164380" y="109272"/>
                  </a:lnTo>
                  <a:lnTo>
                    <a:pt x="163817" y="108575"/>
                  </a:lnTo>
                  <a:lnTo>
                    <a:pt x="161178" y="106571"/>
                  </a:lnTo>
                  <a:lnTo>
                    <a:pt x="158215" y="103179"/>
                  </a:lnTo>
                  <a:lnTo>
                    <a:pt x="157447" y="100445"/>
                  </a:lnTo>
                  <a:lnTo>
                    <a:pt x="156650" y="96259"/>
                  </a:lnTo>
                  <a:lnTo>
                    <a:pt x="154674" y="94783"/>
                  </a:lnTo>
                  <a:lnTo>
                    <a:pt x="152726" y="94098"/>
                  </a:lnTo>
                  <a:lnTo>
                    <a:pt x="152346" y="92107"/>
                  </a:lnTo>
                  <a:lnTo>
                    <a:pt x="152461" y="90989"/>
                  </a:lnTo>
                  <a:lnTo>
                    <a:pt x="151805" y="88878"/>
                  </a:lnTo>
                  <a:lnTo>
                    <a:pt x="147790" y="83807"/>
                  </a:lnTo>
                  <a:lnTo>
                    <a:pt x="145756" y="79634"/>
                  </a:lnTo>
                  <a:lnTo>
                    <a:pt x="144639" y="78336"/>
                  </a:lnTo>
                  <a:lnTo>
                    <a:pt x="143593" y="76432"/>
                  </a:lnTo>
                  <a:lnTo>
                    <a:pt x="143065" y="72539"/>
                  </a:lnTo>
                  <a:lnTo>
                    <a:pt x="141402" y="67690"/>
                  </a:lnTo>
                  <a:lnTo>
                    <a:pt x="138183" y="61851"/>
                  </a:lnTo>
                  <a:lnTo>
                    <a:pt x="135497" y="57922"/>
                  </a:lnTo>
                  <a:lnTo>
                    <a:pt x="134159" y="53954"/>
                  </a:lnTo>
                  <a:lnTo>
                    <a:pt x="134753" y="49915"/>
                  </a:lnTo>
                  <a:lnTo>
                    <a:pt x="134298" y="47426"/>
                  </a:lnTo>
                  <a:lnTo>
                    <a:pt x="133953" y="46841"/>
                  </a:lnTo>
                  <a:lnTo>
                    <a:pt x="134223" y="46026"/>
                  </a:lnTo>
                  <a:lnTo>
                    <a:pt x="135114" y="46485"/>
                  </a:lnTo>
                  <a:lnTo>
                    <a:pt x="135871" y="45754"/>
                  </a:lnTo>
                  <a:lnTo>
                    <a:pt x="135775" y="43175"/>
                  </a:lnTo>
                  <a:lnTo>
                    <a:pt x="134839" y="42394"/>
                  </a:lnTo>
                  <a:lnTo>
                    <a:pt x="132239" y="41587"/>
                  </a:lnTo>
                  <a:lnTo>
                    <a:pt x="131092" y="41030"/>
                  </a:lnTo>
                  <a:lnTo>
                    <a:pt x="124769" y="39977"/>
                  </a:lnTo>
                  <a:lnTo>
                    <a:pt x="121151" y="38513"/>
                  </a:lnTo>
                  <a:lnTo>
                    <a:pt x="120909" y="35104"/>
                  </a:lnTo>
                  <a:lnTo>
                    <a:pt x="119212" y="33543"/>
                  </a:lnTo>
                  <a:lnTo>
                    <a:pt x="117704" y="32577"/>
                  </a:lnTo>
                  <a:lnTo>
                    <a:pt x="112929" y="30571"/>
                  </a:lnTo>
                  <a:lnTo>
                    <a:pt x="112174" y="31598"/>
                  </a:lnTo>
                  <a:lnTo>
                    <a:pt x="111535" y="33491"/>
                  </a:lnTo>
                  <a:lnTo>
                    <a:pt x="109552" y="33906"/>
                  </a:lnTo>
                  <a:lnTo>
                    <a:pt x="107818" y="33990"/>
                  </a:lnTo>
                  <a:lnTo>
                    <a:pt x="104909" y="32670"/>
                  </a:lnTo>
                  <a:lnTo>
                    <a:pt x="97691" y="27646"/>
                  </a:lnTo>
                  <a:lnTo>
                    <a:pt x="96167" y="26840"/>
                  </a:lnTo>
                  <a:lnTo>
                    <a:pt x="93915" y="26415"/>
                  </a:lnTo>
                  <a:lnTo>
                    <a:pt x="92807" y="25599"/>
                  </a:lnTo>
                  <a:lnTo>
                    <a:pt x="87931" y="22952"/>
                  </a:lnTo>
                  <a:lnTo>
                    <a:pt x="88908" y="24359"/>
                  </a:lnTo>
                  <a:lnTo>
                    <a:pt x="90317" y="25822"/>
                  </a:lnTo>
                  <a:lnTo>
                    <a:pt x="91575" y="30072"/>
                  </a:lnTo>
                  <a:lnTo>
                    <a:pt x="90098" y="33133"/>
                  </a:lnTo>
                  <a:lnTo>
                    <a:pt x="89242" y="43815"/>
                  </a:lnTo>
                  <a:lnTo>
                    <a:pt x="90186" y="45938"/>
                  </a:lnTo>
                  <a:lnTo>
                    <a:pt x="92306" y="49338"/>
                  </a:lnTo>
                  <a:lnTo>
                    <a:pt x="93768" y="54740"/>
                  </a:lnTo>
                  <a:lnTo>
                    <a:pt x="94223" y="58753"/>
                  </a:lnTo>
                  <a:lnTo>
                    <a:pt x="95546" y="61938"/>
                  </a:lnTo>
                  <a:lnTo>
                    <a:pt x="95128" y="69415"/>
                  </a:lnTo>
                  <a:lnTo>
                    <a:pt x="95630" y="71688"/>
                  </a:lnTo>
                  <a:lnTo>
                    <a:pt x="97645" y="75411"/>
                  </a:lnTo>
                  <a:lnTo>
                    <a:pt x="101374" y="78901"/>
                  </a:lnTo>
                  <a:lnTo>
                    <a:pt x="102155" y="80740"/>
                  </a:lnTo>
                  <a:lnTo>
                    <a:pt x="107060" y="83398"/>
                  </a:lnTo>
                  <a:lnTo>
                    <a:pt x="110033" y="86854"/>
                  </a:lnTo>
                  <a:lnTo>
                    <a:pt x="115940" y="91561"/>
                  </a:lnTo>
                  <a:lnTo>
                    <a:pt x="117803" y="93551"/>
                  </a:lnTo>
                  <a:lnTo>
                    <a:pt x="123133" y="100878"/>
                  </a:lnTo>
                  <a:lnTo>
                    <a:pt x="123307" y="103055"/>
                  </a:lnTo>
                  <a:lnTo>
                    <a:pt x="124289" y="105721"/>
                  </a:lnTo>
                  <a:lnTo>
                    <a:pt x="127278" y="105170"/>
                  </a:lnTo>
                  <a:lnTo>
                    <a:pt x="128620" y="107201"/>
                  </a:lnTo>
                  <a:lnTo>
                    <a:pt x="128466" y="108138"/>
                  </a:lnTo>
                  <a:lnTo>
                    <a:pt x="128828" y="108853"/>
                  </a:lnTo>
                  <a:lnTo>
                    <a:pt x="130396" y="108694"/>
                  </a:lnTo>
                  <a:lnTo>
                    <a:pt x="131748" y="109248"/>
                  </a:lnTo>
                  <a:lnTo>
                    <a:pt x="134586" y="117150"/>
                  </a:lnTo>
                  <a:lnTo>
                    <a:pt x="136109" y="118227"/>
                  </a:lnTo>
                  <a:lnTo>
                    <a:pt x="138059" y="118687"/>
                  </a:lnTo>
                  <a:lnTo>
                    <a:pt x="140234" y="119557"/>
                  </a:lnTo>
                  <a:lnTo>
                    <a:pt x="140377" y="121580"/>
                  </a:lnTo>
                  <a:lnTo>
                    <a:pt x="140295" y="123191"/>
                  </a:lnTo>
                  <a:lnTo>
                    <a:pt x="142140" y="125522"/>
                  </a:lnTo>
                  <a:lnTo>
                    <a:pt x="141827" y="128677"/>
                  </a:lnTo>
                  <a:lnTo>
                    <a:pt x="143317" y="131347"/>
                  </a:lnTo>
                  <a:lnTo>
                    <a:pt x="143091" y="133930"/>
                  </a:lnTo>
                  <a:lnTo>
                    <a:pt x="143704" y="135976"/>
                  </a:lnTo>
                  <a:lnTo>
                    <a:pt x="148304" y="140591"/>
                  </a:lnTo>
                  <a:lnTo>
                    <a:pt x="153969" y="144259"/>
                  </a:lnTo>
                  <a:lnTo>
                    <a:pt x="155150" y="149069"/>
                  </a:lnTo>
                  <a:lnTo>
                    <a:pt x="157462" y="153461"/>
                  </a:lnTo>
                  <a:lnTo>
                    <a:pt x="159827" y="154572"/>
                  </a:lnTo>
                  <a:lnTo>
                    <a:pt x="162216" y="156397"/>
                  </a:lnTo>
                  <a:lnTo>
                    <a:pt x="161921" y="158289"/>
                  </a:lnTo>
                  <a:lnTo>
                    <a:pt x="162086" y="159452"/>
                  </a:lnTo>
                  <a:lnTo>
                    <a:pt x="165279" y="162910"/>
                  </a:lnTo>
                  <a:lnTo>
                    <a:pt x="165799" y="167313"/>
                  </a:lnTo>
                  <a:lnTo>
                    <a:pt x="168554" y="170193"/>
                  </a:lnTo>
                  <a:lnTo>
                    <a:pt x="169330" y="170419"/>
                  </a:lnTo>
                  <a:lnTo>
                    <a:pt x="169938" y="169969"/>
                  </a:lnTo>
                  <a:lnTo>
                    <a:pt x="167932" y="167076"/>
                  </a:lnTo>
                  <a:lnTo>
                    <a:pt x="166961" y="165197"/>
                  </a:lnTo>
                  <a:lnTo>
                    <a:pt x="166835" y="162231"/>
                  </a:lnTo>
                  <a:lnTo>
                    <a:pt x="167508" y="161834"/>
                  </a:lnTo>
                  <a:lnTo>
                    <a:pt x="173228" y="166521"/>
                  </a:lnTo>
                  <a:lnTo>
                    <a:pt x="173831" y="170016"/>
                  </a:lnTo>
                  <a:lnTo>
                    <a:pt x="175751" y="171991"/>
                  </a:lnTo>
                  <a:lnTo>
                    <a:pt x="175895" y="174660"/>
                  </a:lnTo>
                  <a:lnTo>
                    <a:pt x="177061" y="176250"/>
                  </a:lnTo>
                  <a:lnTo>
                    <a:pt x="177413" y="178557"/>
                  </a:lnTo>
                  <a:lnTo>
                    <a:pt x="179252" y="182348"/>
                  </a:lnTo>
                  <a:lnTo>
                    <a:pt x="179296" y="187613"/>
                  </a:lnTo>
                  <a:lnTo>
                    <a:pt x="180279" y="191450"/>
                  </a:lnTo>
                  <a:lnTo>
                    <a:pt x="183881" y="197331"/>
                  </a:lnTo>
                  <a:lnTo>
                    <a:pt x="186800" y="198566"/>
                  </a:lnTo>
                  <a:lnTo>
                    <a:pt x="187327" y="201451"/>
                  </a:lnTo>
                  <a:lnTo>
                    <a:pt x="190362" y="208911"/>
                  </a:lnTo>
                  <a:lnTo>
                    <a:pt x="193869" y="212951"/>
                  </a:lnTo>
                  <a:lnTo>
                    <a:pt x="195615" y="216374"/>
                  </a:lnTo>
                  <a:lnTo>
                    <a:pt x="195857" y="218508"/>
                  </a:lnTo>
                  <a:lnTo>
                    <a:pt x="194544" y="221661"/>
                  </a:lnTo>
                  <a:lnTo>
                    <a:pt x="194404" y="223860"/>
                  </a:lnTo>
                  <a:lnTo>
                    <a:pt x="196311" y="230545"/>
                  </a:lnTo>
                  <a:lnTo>
                    <a:pt x="199160" y="233968"/>
                  </a:lnTo>
                  <a:lnTo>
                    <a:pt x="202342" y="234794"/>
                  </a:lnTo>
                  <a:lnTo>
                    <a:pt x="202896" y="235285"/>
                  </a:lnTo>
                  <a:lnTo>
                    <a:pt x="202642" y="236204"/>
                  </a:lnTo>
                  <a:lnTo>
                    <a:pt x="203712" y="237023"/>
                  </a:lnTo>
                  <a:lnTo>
                    <a:pt x="204915" y="235976"/>
                  </a:lnTo>
                  <a:lnTo>
                    <a:pt x="205502" y="234486"/>
                  </a:lnTo>
                  <a:lnTo>
                    <a:pt x="204892" y="232758"/>
                  </a:lnTo>
                  <a:lnTo>
                    <a:pt x="204786" y="231500"/>
                  </a:lnTo>
                  <a:lnTo>
                    <a:pt x="205327" y="230599"/>
                  </a:lnTo>
                  <a:lnTo>
                    <a:pt x="206363" y="230462"/>
                  </a:lnTo>
                  <a:lnTo>
                    <a:pt x="212451" y="235031"/>
                  </a:lnTo>
                  <a:lnTo>
                    <a:pt x="213472" y="236783"/>
                  </a:lnTo>
                  <a:lnTo>
                    <a:pt x="215738" y="238834"/>
                  </a:lnTo>
                  <a:lnTo>
                    <a:pt x="217813" y="241358"/>
                  </a:lnTo>
                  <a:lnTo>
                    <a:pt x="218709" y="243348"/>
                  </a:lnTo>
                  <a:lnTo>
                    <a:pt x="220368" y="244986"/>
                  </a:lnTo>
                  <a:lnTo>
                    <a:pt x="221231" y="248800"/>
                  </a:lnTo>
                  <a:lnTo>
                    <a:pt x="225463" y="250507"/>
                  </a:lnTo>
                  <a:lnTo>
                    <a:pt x="227714" y="253661"/>
                  </a:lnTo>
                  <a:lnTo>
                    <a:pt x="227862" y="255659"/>
                  </a:lnTo>
                  <a:lnTo>
                    <a:pt x="226770" y="260765"/>
                  </a:lnTo>
                  <a:lnTo>
                    <a:pt x="225816" y="262234"/>
                  </a:lnTo>
                  <a:lnTo>
                    <a:pt x="222399" y="264404"/>
                  </a:lnTo>
                  <a:lnTo>
                    <a:pt x="219915" y="266992"/>
                  </a:lnTo>
                  <a:lnTo>
                    <a:pt x="217516" y="268586"/>
                  </a:lnTo>
                  <a:lnTo>
                    <a:pt x="214971" y="269555"/>
                  </a:lnTo>
                  <a:lnTo>
                    <a:pt x="212871" y="269337"/>
                  </a:lnTo>
                  <a:lnTo>
                    <a:pt x="210847" y="266360"/>
                  </a:lnTo>
                  <a:lnTo>
                    <a:pt x="208449" y="257373"/>
                  </a:lnTo>
                  <a:lnTo>
                    <a:pt x="206839" y="255480"/>
                  </a:lnTo>
                  <a:lnTo>
                    <a:pt x="205706" y="252656"/>
                  </a:lnTo>
                  <a:lnTo>
                    <a:pt x="203833" y="250319"/>
                  </a:lnTo>
                  <a:lnTo>
                    <a:pt x="197056" y="246770"/>
                  </a:lnTo>
                  <a:lnTo>
                    <a:pt x="193635" y="243022"/>
                  </a:lnTo>
                  <a:lnTo>
                    <a:pt x="190321" y="240519"/>
                  </a:lnTo>
                  <a:lnTo>
                    <a:pt x="186756" y="236894"/>
                  </a:lnTo>
                  <a:lnTo>
                    <a:pt x="177040" y="230880"/>
                  </a:lnTo>
                  <a:lnTo>
                    <a:pt x="173011" y="227813"/>
                  </a:lnTo>
                  <a:lnTo>
                    <a:pt x="170356" y="224777"/>
                  </a:lnTo>
                  <a:lnTo>
                    <a:pt x="168646" y="224821"/>
                  </a:lnTo>
                  <a:lnTo>
                    <a:pt x="167325" y="225134"/>
                  </a:lnTo>
                  <a:lnTo>
                    <a:pt x="166823" y="224303"/>
                  </a:lnTo>
                  <a:lnTo>
                    <a:pt x="166749" y="222731"/>
                  </a:lnTo>
                  <a:lnTo>
                    <a:pt x="166164" y="221700"/>
                  </a:lnTo>
                  <a:lnTo>
                    <a:pt x="160476" y="217119"/>
                  </a:lnTo>
                  <a:lnTo>
                    <a:pt x="159297" y="214585"/>
                  </a:lnTo>
                  <a:lnTo>
                    <a:pt x="159058" y="211641"/>
                  </a:lnTo>
                  <a:lnTo>
                    <a:pt x="160339" y="204055"/>
                  </a:lnTo>
                  <a:lnTo>
                    <a:pt x="160903" y="199614"/>
                  </a:lnTo>
                  <a:lnTo>
                    <a:pt x="160545" y="197324"/>
                  </a:lnTo>
                  <a:lnTo>
                    <a:pt x="159949" y="197012"/>
                  </a:lnTo>
                  <a:lnTo>
                    <a:pt x="159411" y="195767"/>
                  </a:lnTo>
                  <a:lnTo>
                    <a:pt x="159279" y="192107"/>
                  </a:lnTo>
                  <a:lnTo>
                    <a:pt x="157909" y="188122"/>
                  </a:lnTo>
                  <a:lnTo>
                    <a:pt x="152751" y="179946"/>
                  </a:lnTo>
                  <a:lnTo>
                    <a:pt x="148977" y="178328"/>
                  </a:lnTo>
                  <a:lnTo>
                    <a:pt x="145622" y="177152"/>
                  </a:lnTo>
                  <a:lnTo>
                    <a:pt x="136434" y="169906"/>
                  </a:lnTo>
                  <a:lnTo>
                    <a:pt x="133937" y="166279"/>
                  </a:lnTo>
                  <a:lnTo>
                    <a:pt x="133329" y="164218"/>
                  </a:lnTo>
                  <a:lnTo>
                    <a:pt x="133009" y="160019"/>
                  </a:lnTo>
                  <a:lnTo>
                    <a:pt x="131743" y="162452"/>
                  </a:lnTo>
                  <a:lnTo>
                    <a:pt x="130056" y="164252"/>
                  </a:lnTo>
                  <a:lnTo>
                    <a:pt x="126162" y="164120"/>
                  </a:lnTo>
                  <a:lnTo>
                    <a:pt x="121784" y="166148"/>
                  </a:lnTo>
                  <a:lnTo>
                    <a:pt x="119178" y="164241"/>
                  </a:lnTo>
                  <a:lnTo>
                    <a:pt x="117775" y="162075"/>
                  </a:lnTo>
                  <a:lnTo>
                    <a:pt x="115636" y="159468"/>
                  </a:lnTo>
                  <a:lnTo>
                    <a:pt x="113228" y="158956"/>
                  </a:lnTo>
                  <a:lnTo>
                    <a:pt x="111693" y="158890"/>
                  </a:lnTo>
                  <a:lnTo>
                    <a:pt x="108813" y="155664"/>
                  </a:lnTo>
                  <a:lnTo>
                    <a:pt x="106485" y="154639"/>
                  </a:lnTo>
                  <a:lnTo>
                    <a:pt x="103150" y="154243"/>
                  </a:lnTo>
                  <a:lnTo>
                    <a:pt x="100313" y="152601"/>
                  </a:lnTo>
                  <a:lnTo>
                    <a:pt x="99440" y="150814"/>
                  </a:lnTo>
                  <a:lnTo>
                    <a:pt x="98969" y="148282"/>
                  </a:lnTo>
                  <a:lnTo>
                    <a:pt x="97914" y="146783"/>
                  </a:lnTo>
                  <a:lnTo>
                    <a:pt x="93459" y="143817"/>
                  </a:lnTo>
                  <a:lnTo>
                    <a:pt x="89829" y="140544"/>
                  </a:lnTo>
                  <a:lnTo>
                    <a:pt x="86412" y="138440"/>
                  </a:lnTo>
                  <a:lnTo>
                    <a:pt x="85405" y="136719"/>
                  </a:lnTo>
                  <a:lnTo>
                    <a:pt x="85323" y="135541"/>
                  </a:lnTo>
                  <a:lnTo>
                    <a:pt x="90721" y="135868"/>
                  </a:lnTo>
                  <a:lnTo>
                    <a:pt x="97150" y="137128"/>
                  </a:lnTo>
                  <a:lnTo>
                    <a:pt x="100231" y="136773"/>
                  </a:lnTo>
                  <a:lnTo>
                    <a:pt x="102153" y="135558"/>
                  </a:lnTo>
                  <a:lnTo>
                    <a:pt x="103982" y="134688"/>
                  </a:lnTo>
                  <a:lnTo>
                    <a:pt x="104274" y="135631"/>
                  </a:lnTo>
                  <a:lnTo>
                    <a:pt x="103940" y="137353"/>
                  </a:lnTo>
                  <a:lnTo>
                    <a:pt x="105704" y="138931"/>
                  </a:lnTo>
                  <a:lnTo>
                    <a:pt x="108124" y="140208"/>
                  </a:lnTo>
                  <a:lnTo>
                    <a:pt x="109845" y="140093"/>
                  </a:lnTo>
                  <a:lnTo>
                    <a:pt x="108179" y="138698"/>
                  </a:lnTo>
                  <a:lnTo>
                    <a:pt x="107156" y="135851"/>
                  </a:lnTo>
                  <a:lnTo>
                    <a:pt x="107615" y="134826"/>
                  </a:lnTo>
                  <a:lnTo>
                    <a:pt x="107587" y="133408"/>
                  </a:lnTo>
                  <a:lnTo>
                    <a:pt x="105198" y="133728"/>
                  </a:lnTo>
                  <a:lnTo>
                    <a:pt x="104862" y="133002"/>
                  </a:lnTo>
                  <a:lnTo>
                    <a:pt x="106906" y="130842"/>
                  </a:lnTo>
                  <a:lnTo>
                    <a:pt x="109252" y="125131"/>
                  </a:lnTo>
                  <a:lnTo>
                    <a:pt x="110374" y="119503"/>
                  </a:lnTo>
                  <a:lnTo>
                    <a:pt x="107914" y="114572"/>
                  </a:lnTo>
                  <a:lnTo>
                    <a:pt x="103763" y="111145"/>
                  </a:lnTo>
                  <a:lnTo>
                    <a:pt x="94767" y="101090"/>
                  </a:lnTo>
                  <a:lnTo>
                    <a:pt x="89393" y="95918"/>
                  </a:lnTo>
                  <a:lnTo>
                    <a:pt x="87837" y="93990"/>
                  </a:lnTo>
                  <a:lnTo>
                    <a:pt x="86412" y="93083"/>
                  </a:lnTo>
                  <a:lnTo>
                    <a:pt x="82029" y="91898"/>
                  </a:lnTo>
                  <a:lnTo>
                    <a:pt x="78357" y="89002"/>
                  </a:lnTo>
                  <a:lnTo>
                    <a:pt x="71914" y="84901"/>
                  </a:lnTo>
                  <a:lnTo>
                    <a:pt x="69161" y="82785"/>
                  </a:lnTo>
                  <a:lnTo>
                    <a:pt x="67264" y="77812"/>
                  </a:lnTo>
                  <a:lnTo>
                    <a:pt x="65752" y="77133"/>
                  </a:lnTo>
                  <a:lnTo>
                    <a:pt x="66227" y="73692"/>
                  </a:lnTo>
                  <a:lnTo>
                    <a:pt x="65566" y="67594"/>
                  </a:lnTo>
                  <a:lnTo>
                    <a:pt x="64487" y="66031"/>
                  </a:lnTo>
                  <a:lnTo>
                    <a:pt x="60997" y="64510"/>
                  </a:lnTo>
                  <a:lnTo>
                    <a:pt x="60167" y="60359"/>
                  </a:lnTo>
                  <a:lnTo>
                    <a:pt x="59994" y="56405"/>
                  </a:lnTo>
                  <a:lnTo>
                    <a:pt x="59315" y="53653"/>
                  </a:lnTo>
                  <a:lnTo>
                    <a:pt x="53378" y="49010"/>
                  </a:lnTo>
                  <a:lnTo>
                    <a:pt x="53040" y="46761"/>
                  </a:lnTo>
                  <a:lnTo>
                    <a:pt x="53039" y="44627"/>
                  </a:lnTo>
                  <a:lnTo>
                    <a:pt x="52436" y="42517"/>
                  </a:lnTo>
                  <a:lnTo>
                    <a:pt x="49265" y="38091"/>
                  </a:lnTo>
                  <a:lnTo>
                    <a:pt x="45434" y="34223"/>
                  </a:lnTo>
                  <a:lnTo>
                    <a:pt x="44100" y="32378"/>
                  </a:lnTo>
                  <a:lnTo>
                    <a:pt x="43941" y="28627"/>
                  </a:lnTo>
                  <a:lnTo>
                    <a:pt x="42582" y="27618"/>
                  </a:lnTo>
                  <a:lnTo>
                    <a:pt x="43098" y="27363"/>
                  </a:lnTo>
                  <a:lnTo>
                    <a:pt x="44356" y="27456"/>
                  </a:lnTo>
                  <a:lnTo>
                    <a:pt x="45072" y="26961"/>
                  </a:lnTo>
                  <a:lnTo>
                    <a:pt x="45150" y="24347"/>
                  </a:lnTo>
                  <a:lnTo>
                    <a:pt x="39388" y="20236"/>
                  </a:lnTo>
                  <a:lnTo>
                    <a:pt x="37723" y="14576"/>
                  </a:lnTo>
                  <a:lnTo>
                    <a:pt x="34653" y="11576"/>
                  </a:lnTo>
                  <a:lnTo>
                    <a:pt x="33934" y="10489"/>
                  </a:lnTo>
                  <a:lnTo>
                    <a:pt x="32282" y="5139"/>
                  </a:lnTo>
                  <a:lnTo>
                    <a:pt x="39539" y="4534"/>
                  </a:lnTo>
                  <a:lnTo>
                    <a:pt x="46794" y="3929"/>
                  </a:lnTo>
                  <a:lnTo>
                    <a:pt x="54049" y="3326"/>
                  </a:lnTo>
                  <a:lnTo>
                    <a:pt x="61305" y="2720"/>
                  </a:lnTo>
                  <a:lnTo>
                    <a:pt x="68561" y="2115"/>
                  </a:lnTo>
                  <a:lnTo>
                    <a:pt x="75816" y="1510"/>
                  </a:lnTo>
                  <a:lnTo>
                    <a:pt x="83073" y="905"/>
                  </a:lnTo>
                  <a:lnTo>
                    <a:pt x="90328" y="299"/>
                  </a:lnTo>
                  <a:close/>
                </a:path>
              </a:pathLst>
            </a:custGeom>
            <a:solidFill>
              <a:srgbClr val="007CBC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65" name="ee4p_NI_1_82333">
              <a:extLst>
                <a:ext uri="{FF2B5EF4-FFF2-40B4-BE49-F238E27FC236}">
                  <a16:creationId xmlns:a16="http://schemas.microsoft.com/office/drawing/2014/main" id="{0B1FB526-84B7-88CC-5C6E-4EBD3FE6DB3A}"/>
                </a:ext>
              </a:extLst>
            </p:cNvPr>
            <p:cNvSpPr>
              <a:spLocks noChangeAspect="1"/>
            </p:cNvSpPr>
            <p:nvPr>
              <p:custDataLst>
                <p:tags r:id="rId193"/>
              </p:custDataLst>
            </p:nvPr>
          </p:nvSpPr>
          <p:spPr>
            <a:xfrm>
              <a:off x="4080158" y="4244503"/>
              <a:ext cx="125313" cy="123898"/>
            </a:xfrm>
            <a:custGeom>
              <a:avLst/>
              <a:gdLst/>
              <a:ahLst/>
              <a:cxnLst/>
              <a:rect l="0" t="0" r="0" b="0"/>
              <a:pathLst>
                <a:path w="99785" h="96042">
                  <a:moveTo>
                    <a:pt x="99784" y="340"/>
                  </a:moveTo>
                  <a:lnTo>
                    <a:pt x="99168" y="1169"/>
                  </a:lnTo>
                  <a:lnTo>
                    <a:pt x="98492" y="1712"/>
                  </a:lnTo>
                  <a:lnTo>
                    <a:pt x="97078" y="4414"/>
                  </a:lnTo>
                  <a:lnTo>
                    <a:pt x="96589" y="4655"/>
                  </a:lnTo>
                  <a:lnTo>
                    <a:pt x="96493" y="2657"/>
                  </a:lnTo>
                  <a:lnTo>
                    <a:pt x="95652" y="2396"/>
                  </a:lnTo>
                  <a:lnTo>
                    <a:pt x="94665" y="3106"/>
                  </a:lnTo>
                  <a:lnTo>
                    <a:pt x="94119" y="4130"/>
                  </a:lnTo>
                  <a:lnTo>
                    <a:pt x="94978" y="5468"/>
                  </a:lnTo>
                  <a:lnTo>
                    <a:pt x="95733" y="5487"/>
                  </a:lnTo>
                  <a:lnTo>
                    <a:pt x="96651" y="5854"/>
                  </a:lnTo>
                  <a:lnTo>
                    <a:pt x="99115" y="15086"/>
                  </a:lnTo>
                  <a:lnTo>
                    <a:pt x="98585" y="16732"/>
                  </a:lnTo>
                  <a:lnTo>
                    <a:pt x="97057" y="19293"/>
                  </a:lnTo>
                  <a:lnTo>
                    <a:pt x="95603" y="21472"/>
                  </a:lnTo>
                  <a:lnTo>
                    <a:pt x="94150" y="22836"/>
                  </a:lnTo>
                  <a:lnTo>
                    <a:pt x="92349" y="28641"/>
                  </a:lnTo>
                  <a:lnTo>
                    <a:pt x="90722" y="38063"/>
                  </a:lnTo>
                  <a:lnTo>
                    <a:pt x="91891" y="46527"/>
                  </a:lnTo>
                  <a:lnTo>
                    <a:pt x="91299" y="54339"/>
                  </a:lnTo>
                  <a:lnTo>
                    <a:pt x="91813" y="56184"/>
                  </a:lnTo>
                  <a:lnTo>
                    <a:pt x="91969" y="58481"/>
                  </a:lnTo>
                  <a:lnTo>
                    <a:pt x="90768" y="58894"/>
                  </a:lnTo>
                  <a:lnTo>
                    <a:pt x="90090" y="58825"/>
                  </a:lnTo>
                  <a:lnTo>
                    <a:pt x="89398" y="57414"/>
                  </a:lnTo>
                  <a:lnTo>
                    <a:pt x="89476" y="56174"/>
                  </a:lnTo>
                  <a:lnTo>
                    <a:pt x="90194" y="54719"/>
                  </a:lnTo>
                  <a:lnTo>
                    <a:pt x="90484" y="52747"/>
                  </a:lnTo>
                  <a:lnTo>
                    <a:pt x="90146" y="51715"/>
                  </a:lnTo>
                  <a:lnTo>
                    <a:pt x="89439" y="53966"/>
                  </a:lnTo>
                  <a:lnTo>
                    <a:pt x="88194" y="54971"/>
                  </a:lnTo>
                  <a:lnTo>
                    <a:pt x="87382" y="55319"/>
                  </a:lnTo>
                  <a:lnTo>
                    <a:pt x="86589" y="56457"/>
                  </a:lnTo>
                  <a:lnTo>
                    <a:pt x="87430" y="58595"/>
                  </a:lnTo>
                  <a:lnTo>
                    <a:pt x="88510" y="60158"/>
                  </a:lnTo>
                  <a:lnTo>
                    <a:pt x="88866" y="61281"/>
                  </a:lnTo>
                  <a:lnTo>
                    <a:pt x="88469" y="62616"/>
                  </a:lnTo>
                  <a:lnTo>
                    <a:pt x="88221" y="67175"/>
                  </a:lnTo>
                  <a:lnTo>
                    <a:pt x="87839" y="67048"/>
                  </a:lnTo>
                  <a:lnTo>
                    <a:pt x="87444" y="66433"/>
                  </a:lnTo>
                  <a:lnTo>
                    <a:pt x="86303" y="66391"/>
                  </a:lnTo>
                  <a:lnTo>
                    <a:pt x="86167" y="68228"/>
                  </a:lnTo>
                  <a:lnTo>
                    <a:pt x="86255" y="69254"/>
                  </a:lnTo>
                  <a:lnTo>
                    <a:pt x="85286" y="70044"/>
                  </a:lnTo>
                  <a:lnTo>
                    <a:pt x="84938" y="70836"/>
                  </a:lnTo>
                  <a:lnTo>
                    <a:pt x="85733" y="71394"/>
                  </a:lnTo>
                  <a:lnTo>
                    <a:pt x="86608" y="71727"/>
                  </a:lnTo>
                  <a:lnTo>
                    <a:pt x="87687" y="71654"/>
                  </a:lnTo>
                  <a:lnTo>
                    <a:pt x="88578" y="73911"/>
                  </a:lnTo>
                  <a:lnTo>
                    <a:pt x="88855" y="75745"/>
                  </a:lnTo>
                  <a:lnTo>
                    <a:pt x="86794" y="77437"/>
                  </a:lnTo>
                  <a:lnTo>
                    <a:pt x="86094" y="78839"/>
                  </a:lnTo>
                  <a:lnTo>
                    <a:pt x="84927" y="80536"/>
                  </a:lnTo>
                  <a:lnTo>
                    <a:pt x="84271" y="82205"/>
                  </a:lnTo>
                  <a:lnTo>
                    <a:pt x="84076" y="83405"/>
                  </a:lnTo>
                  <a:lnTo>
                    <a:pt x="84873" y="87200"/>
                  </a:lnTo>
                  <a:lnTo>
                    <a:pt x="86286" y="89891"/>
                  </a:lnTo>
                  <a:lnTo>
                    <a:pt x="87477" y="91601"/>
                  </a:lnTo>
                  <a:lnTo>
                    <a:pt x="89071" y="91973"/>
                  </a:lnTo>
                  <a:lnTo>
                    <a:pt x="88696" y="93771"/>
                  </a:lnTo>
                  <a:lnTo>
                    <a:pt x="87502" y="94911"/>
                  </a:lnTo>
                  <a:lnTo>
                    <a:pt x="85330" y="95864"/>
                  </a:lnTo>
                  <a:lnTo>
                    <a:pt x="82939" y="96041"/>
                  </a:lnTo>
                  <a:lnTo>
                    <a:pt x="79028" y="95139"/>
                  </a:lnTo>
                  <a:lnTo>
                    <a:pt x="77432" y="95034"/>
                  </a:lnTo>
                  <a:lnTo>
                    <a:pt x="76808" y="94557"/>
                  </a:lnTo>
                  <a:lnTo>
                    <a:pt x="76622" y="93671"/>
                  </a:lnTo>
                  <a:lnTo>
                    <a:pt x="75504" y="92342"/>
                  </a:lnTo>
                  <a:lnTo>
                    <a:pt x="73453" y="90571"/>
                  </a:lnTo>
                  <a:lnTo>
                    <a:pt x="72269" y="90693"/>
                  </a:lnTo>
                  <a:lnTo>
                    <a:pt x="70338" y="90308"/>
                  </a:lnTo>
                  <a:lnTo>
                    <a:pt x="67132" y="89100"/>
                  </a:lnTo>
                  <a:lnTo>
                    <a:pt x="65650" y="88953"/>
                  </a:lnTo>
                  <a:lnTo>
                    <a:pt x="63523" y="89989"/>
                  </a:lnTo>
                  <a:lnTo>
                    <a:pt x="61051" y="91345"/>
                  </a:lnTo>
                  <a:lnTo>
                    <a:pt x="55086" y="89227"/>
                  </a:lnTo>
                  <a:lnTo>
                    <a:pt x="50897" y="87739"/>
                  </a:lnTo>
                  <a:lnTo>
                    <a:pt x="47130" y="86399"/>
                  </a:lnTo>
                  <a:lnTo>
                    <a:pt x="46125" y="85881"/>
                  </a:lnTo>
                  <a:lnTo>
                    <a:pt x="45302" y="85993"/>
                  </a:lnTo>
                  <a:lnTo>
                    <a:pt x="44589" y="86695"/>
                  </a:lnTo>
                  <a:lnTo>
                    <a:pt x="43773" y="87940"/>
                  </a:lnTo>
                  <a:lnTo>
                    <a:pt x="43506" y="88296"/>
                  </a:lnTo>
                  <a:lnTo>
                    <a:pt x="43072" y="88638"/>
                  </a:lnTo>
                  <a:lnTo>
                    <a:pt x="42584" y="88731"/>
                  </a:lnTo>
                  <a:lnTo>
                    <a:pt x="42564" y="88139"/>
                  </a:lnTo>
                  <a:lnTo>
                    <a:pt x="40723" y="85674"/>
                  </a:lnTo>
                  <a:lnTo>
                    <a:pt x="37790" y="82704"/>
                  </a:lnTo>
                  <a:lnTo>
                    <a:pt x="26562" y="73588"/>
                  </a:lnTo>
                  <a:lnTo>
                    <a:pt x="22436" y="68135"/>
                  </a:lnTo>
                  <a:lnTo>
                    <a:pt x="20222" y="64207"/>
                  </a:lnTo>
                  <a:lnTo>
                    <a:pt x="18114" y="62163"/>
                  </a:lnTo>
                  <a:lnTo>
                    <a:pt x="12050" y="57979"/>
                  </a:lnTo>
                  <a:lnTo>
                    <a:pt x="10652" y="56313"/>
                  </a:lnTo>
                  <a:lnTo>
                    <a:pt x="4643" y="50716"/>
                  </a:lnTo>
                  <a:lnTo>
                    <a:pt x="58" y="47435"/>
                  </a:lnTo>
                  <a:lnTo>
                    <a:pt x="0" y="46039"/>
                  </a:lnTo>
                  <a:lnTo>
                    <a:pt x="1881" y="44294"/>
                  </a:lnTo>
                  <a:lnTo>
                    <a:pt x="2804" y="44375"/>
                  </a:lnTo>
                  <a:lnTo>
                    <a:pt x="3808" y="45623"/>
                  </a:lnTo>
                  <a:lnTo>
                    <a:pt x="5435" y="47040"/>
                  </a:lnTo>
                  <a:lnTo>
                    <a:pt x="6203" y="47051"/>
                  </a:lnTo>
                  <a:lnTo>
                    <a:pt x="7332" y="46392"/>
                  </a:lnTo>
                  <a:lnTo>
                    <a:pt x="7361" y="45734"/>
                  </a:lnTo>
                  <a:lnTo>
                    <a:pt x="13510" y="45459"/>
                  </a:lnTo>
                  <a:lnTo>
                    <a:pt x="14612" y="45092"/>
                  </a:lnTo>
                  <a:lnTo>
                    <a:pt x="15728" y="44060"/>
                  </a:lnTo>
                  <a:lnTo>
                    <a:pt x="16296" y="42625"/>
                  </a:lnTo>
                  <a:lnTo>
                    <a:pt x="16393" y="41233"/>
                  </a:lnTo>
                  <a:lnTo>
                    <a:pt x="16627" y="40239"/>
                  </a:lnTo>
                  <a:lnTo>
                    <a:pt x="17615" y="39274"/>
                  </a:lnTo>
                  <a:lnTo>
                    <a:pt x="19415" y="38975"/>
                  </a:lnTo>
                  <a:lnTo>
                    <a:pt x="20804" y="38872"/>
                  </a:lnTo>
                  <a:lnTo>
                    <a:pt x="21216" y="38219"/>
                  </a:lnTo>
                  <a:lnTo>
                    <a:pt x="20798" y="36107"/>
                  </a:lnTo>
                  <a:lnTo>
                    <a:pt x="20047" y="30974"/>
                  </a:lnTo>
                  <a:lnTo>
                    <a:pt x="19891" y="29544"/>
                  </a:lnTo>
                  <a:lnTo>
                    <a:pt x="20148" y="28477"/>
                  </a:lnTo>
                  <a:lnTo>
                    <a:pt x="20708" y="28086"/>
                  </a:lnTo>
                  <a:lnTo>
                    <a:pt x="23436" y="27830"/>
                  </a:lnTo>
                  <a:lnTo>
                    <a:pt x="28595" y="28262"/>
                  </a:lnTo>
                  <a:lnTo>
                    <a:pt x="29595" y="27938"/>
                  </a:lnTo>
                  <a:lnTo>
                    <a:pt x="31663" y="25022"/>
                  </a:lnTo>
                  <a:lnTo>
                    <a:pt x="33587" y="22878"/>
                  </a:lnTo>
                  <a:lnTo>
                    <a:pt x="34957" y="21917"/>
                  </a:lnTo>
                  <a:lnTo>
                    <a:pt x="36038" y="21626"/>
                  </a:lnTo>
                  <a:lnTo>
                    <a:pt x="37289" y="23530"/>
                  </a:lnTo>
                  <a:lnTo>
                    <a:pt x="41646" y="26262"/>
                  </a:lnTo>
                  <a:lnTo>
                    <a:pt x="42383" y="26090"/>
                  </a:lnTo>
                  <a:lnTo>
                    <a:pt x="42814" y="25941"/>
                  </a:lnTo>
                  <a:lnTo>
                    <a:pt x="42951" y="25549"/>
                  </a:lnTo>
                  <a:lnTo>
                    <a:pt x="42874" y="24292"/>
                  </a:lnTo>
                  <a:lnTo>
                    <a:pt x="43964" y="23149"/>
                  </a:lnTo>
                  <a:lnTo>
                    <a:pt x="46222" y="22120"/>
                  </a:lnTo>
                  <a:lnTo>
                    <a:pt x="48494" y="20306"/>
                  </a:lnTo>
                  <a:lnTo>
                    <a:pt x="50778" y="17708"/>
                  </a:lnTo>
                  <a:lnTo>
                    <a:pt x="52759" y="16179"/>
                  </a:lnTo>
                  <a:lnTo>
                    <a:pt x="54435" y="15724"/>
                  </a:lnTo>
                  <a:lnTo>
                    <a:pt x="55074" y="15014"/>
                  </a:lnTo>
                  <a:lnTo>
                    <a:pt x="54674" y="14051"/>
                  </a:lnTo>
                  <a:lnTo>
                    <a:pt x="54808" y="12682"/>
                  </a:lnTo>
                  <a:lnTo>
                    <a:pt x="55475" y="10910"/>
                  </a:lnTo>
                  <a:lnTo>
                    <a:pt x="56449" y="9884"/>
                  </a:lnTo>
                  <a:lnTo>
                    <a:pt x="57730" y="9605"/>
                  </a:lnTo>
                  <a:lnTo>
                    <a:pt x="58235" y="9047"/>
                  </a:lnTo>
                  <a:lnTo>
                    <a:pt x="57967" y="8210"/>
                  </a:lnTo>
                  <a:lnTo>
                    <a:pt x="58217" y="7288"/>
                  </a:lnTo>
                  <a:lnTo>
                    <a:pt x="59371" y="5777"/>
                  </a:lnTo>
                  <a:lnTo>
                    <a:pt x="62128" y="4482"/>
                  </a:lnTo>
                  <a:lnTo>
                    <a:pt x="63705" y="4920"/>
                  </a:lnTo>
                  <a:lnTo>
                    <a:pt x="65018" y="6659"/>
                  </a:lnTo>
                  <a:lnTo>
                    <a:pt x="66872" y="7841"/>
                  </a:lnTo>
                  <a:lnTo>
                    <a:pt x="69266" y="8466"/>
                  </a:lnTo>
                  <a:lnTo>
                    <a:pt x="71125" y="8233"/>
                  </a:lnTo>
                  <a:lnTo>
                    <a:pt x="72450" y="7148"/>
                  </a:lnTo>
                  <a:lnTo>
                    <a:pt x="73641" y="6818"/>
                  </a:lnTo>
                  <a:lnTo>
                    <a:pt x="74699" y="7247"/>
                  </a:lnTo>
                  <a:lnTo>
                    <a:pt x="75259" y="7004"/>
                  </a:lnTo>
                  <a:lnTo>
                    <a:pt x="75318" y="6092"/>
                  </a:lnTo>
                  <a:lnTo>
                    <a:pt x="75865" y="5881"/>
                  </a:lnTo>
                  <a:lnTo>
                    <a:pt x="76901" y="6374"/>
                  </a:lnTo>
                  <a:lnTo>
                    <a:pt x="77821" y="6500"/>
                  </a:lnTo>
                  <a:lnTo>
                    <a:pt x="78625" y="6261"/>
                  </a:lnTo>
                  <a:lnTo>
                    <a:pt x="78937" y="5818"/>
                  </a:lnTo>
                  <a:lnTo>
                    <a:pt x="79099" y="5360"/>
                  </a:lnTo>
                  <a:lnTo>
                    <a:pt x="79699" y="5017"/>
                  </a:lnTo>
                  <a:lnTo>
                    <a:pt x="81768" y="5356"/>
                  </a:lnTo>
                  <a:lnTo>
                    <a:pt x="84089" y="4827"/>
                  </a:lnTo>
                  <a:lnTo>
                    <a:pt x="86662" y="3432"/>
                  </a:lnTo>
                  <a:lnTo>
                    <a:pt x="88372" y="2815"/>
                  </a:lnTo>
                  <a:lnTo>
                    <a:pt x="89215" y="2976"/>
                  </a:lnTo>
                  <a:lnTo>
                    <a:pt x="90226" y="2272"/>
                  </a:lnTo>
                  <a:lnTo>
                    <a:pt x="91403" y="703"/>
                  </a:lnTo>
                  <a:lnTo>
                    <a:pt x="94089" y="0"/>
                  </a:lnTo>
                  <a:close/>
                </a:path>
              </a:pathLst>
            </a:custGeom>
            <a:solidFill>
              <a:srgbClr val="007CBC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66" name="ee4p_PA_1_82333">
              <a:extLst>
                <a:ext uri="{FF2B5EF4-FFF2-40B4-BE49-F238E27FC236}">
                  <a16:creationId xmlns:a16="http://schemas.microsoft.com/office/drawing/2014/main" id="{47E76072-0348-4106-A23A-635D01A4AB5D}"/>
                </a:ext>
              </a:extLst>
            </p:cNvPr>
            <p:cNvSpPr>
              <a:spLocks noChangeAspect="1"/>
            </p:cNvSpPr>
            <p:nvPr>
              <p:custDataLst>
                <p:tags r:id="rId194"/>
              </p:custDataLst>
            </p:nvPr>
          </p:nvSpPr>
          <p:spPr>
            <a:xfrm>
              <a:off x="4209085" y="4401178"/>
              <a:ext cx="161933" cy="68301"/>
            </a:xfrm>
            <a:custGeom>
              <a:avLst/>
              <a:gdLst>
                <a:gd name="connsiteX0" fmla="*/ 32331 w 147862"/>
                <a:gd name="connsiteY0" fmla="*/ 50476 h 60713"/>
                <a:gd name="connsiteX1" fmla="*/ 32929 w 147862"/>
                <a:gd name="connsiteY1" fmla="*/ 50488 h 60713"/>
                <a:gd name="connsiteX2" fmla="*/ 34382 w 147862"/>
                <a:gd name="connsiteY2" fmla="*/ 52979 h 60713"/>
                <a:gd name="connsiteX3" fmla="*/ 33392 w 147862"/>
                <a:gd name="connsiteY3" fmla="*/ 53946 h 60713"/>
                <a:gd name="connsiteX4" fmla="*/ 33791 w 147862"/>
                <a:gd name="connsiteY4" fmla="*/ 55489 h 60713"/>
                <a:gd name="connsiteX5" fmla="*/ 35853 w 147862"/>
                <a:gd name="connsiteY5" fmla="*/ 56632 h 60713"/>
                <a:gd name="connsiteX6" fmla="*/ 36111 w 147862"/>
                <a:gd name="connsiteY6" fmla="*/ 57839 h 60713"/>
                <a:gd name="connsiteX7" fmla="*/ 34720 w 147862"/>
                <a:gd name="connsiteY7" fmla="*/ 57973 h 60713"/>
                <a:gd name="connsiteX8" fmla="*/ 31879 w 147862"/>
                <a:gd name="connsiteY8" fmla="*/ 56883 h 60713"/>
                <a:gd name="connsiteX9" fmla="*/ 29801 w 147862"/>
                <a:gd name="connsiteY9" fmla="*/ 54767 h 60713"/>
                <a:gd name="connsiteX10" fmla="*/ 29636 w 147862"/>
                <a:gd name="connsiteY10" fmla="*/ 54082 h 60713"/>
                <a:gd name="connsiteX11" fmla="*/ 29678 w 147862"/>
                <a:gd name="connsiteY11" fmla="*/ 53382 h 60713"/>
                <a:gd name="connsiteX12" fmla="*/ 30814 w 147862"/>
                <a:gd name="connsiteY12" fmla="*/ 51222 h 60713"/>
                <a:gd name="connsiteX13" fmla="*/ 99957 w 147862"/>
                <a:gd name="connsiteY13" fmla="*/ 33275 h 60713"/>
                <a:gd name="connsiteX14" fmla="*/ 100460 w 147862"/>
                <a:gd name="connsiteY14" fmla="*/ 34337 h 60713"/>
                <a:gd name="connsiteX15" fmla="*/ 99321 w 147862"/>
                <a:gd name="connsiteY15" fmla="*/ 35470 h 60713"/>
                <a:gd name="connsiteX16" fmla="*/ 98885 w 147862"/>
                <a:gd name="connsiteY16" fmla="*/ 34397 h 60713"/>
                <a:gd name="connsiteX17" fmla="*/ 99678 w 147862"/>
                <a:gd name="connsiteY17" fmla="*/ 33286 h 60713"/>
                <a:gd name="connsiteX18" fmla="*/ 105080 w 147862"/>
                <a:gd name="connsiteY18" fmla="*/ 29076 h 60713"/>
                <a:gd name="connsiteX19" fmla="*/ 105767 w 147862"/>
                <a:gd name="connsiteY19" fmla="*/ 29384 h 60713"/>
                <a:gd name="connsiteX20" fmla="*/ 106198 w 147862"/>
                <a:gd name="connsiteY20" fmla="*/ 31945 h 60713"/>
                <a:gd name="connsiteX21" fmla="*/ 105842 w 147862"/>
                <a:gd name="connsiteY21" fmla="*/ 33106 h 60713"/>
                <a:gd name="connsiteX22" fmla="*/ 104697 w 147862"/>
                <a:gd name="connsiteY22" fmla="*/ 33825 h 60713"/>
                <a:gd name="connsiteX23" fmla="*/ 104196 w 147862"/>
                <a:gd name="connsiteY23" fmla="*/ 34906 h 60713"/>
                <a:gd name="connsiteX24" fmla="*/ 103008 w 147862"/>
                <a:gd name="connsiteY24" fmla="*/ 32498 h 60713"/>
                <a:gd name="connsiteX25" fmla="*/ 103200 w 147862"/>
                <a:gd name="connsiteY25" fmla="*/ 31878 h 60713"/>
                <a:gd name="connsiteX26" fmla="*/ 103119 w 147862"/>
                <a:gd name="connsiteY26" fmla="*/ 29700 h 60713"/>
                <a:gd name="connsiteX27" fmla="*/ 104249 w 147862"/>
                <a:gd name="connsiteY27" fmla="*/ 29128 h 60713"/>
                <a:gd name="connsiteX28" fmla="*/ 19057 w 147862"/>
                <a:gd name="connsiteY28" fmla="*/ 4246 h 60713"/>
                <a:gd name="connsiteX29" fmla="*/ 19472 w 147862"/>
                <a:gd name="connsiteY29" fmla="*/ 4288 h 60713"/>
                <a:gd name="connsiteX30" fmla="*/ 20129 w 147862"/>
                <a:gd name="connsiteY30" fmla="*/ 5555 h 60713"/>
                <a:gd name="connsiteX31" fmla="*/ 19852 w 147862"/>
                <a:gd name="connsiteY31" fmla="*/ 6747 h 60713"/>
                <a:gd name="connsiteX32" fmla="*/ 17892 w 147862"/>
                <a:gd name="connsiteY32" fmla="*/ 4598 h 60713"/>
                <a:gd name="connsiteX33" fmla="*/ 87481 w 147862"/>
                <a:gd name="connsiteY33" fmla="*/ 0 h 60713"/>
                <a:gd name="connsiteX34" fmla="*/ 93106 w 147862"/>
                <a:gd name="connsiteY34" fmla="*/ 733 h 60713"/>
                <a:gd name="connsiteX35" fmla="*/ 96754 w 147862"/>
                <a:gd name="connsiteY35" fmla="*/ 1687 h 60713"/>
                <a:gd name="connsiteX36" fmla="*/ 99273 w 147862"/>
                <a:gd name="connsiteY36" fmla="*/ 1563 h 60713"/>
                <a:gd name="connsiteX37" fmla="*/ 101696 w 147862"/>
                <a:gd name="connsiteY37" fmla="*/ 2237 h 60713"/>
                <a:gd name="connsiteX38" fmla="*/ 102753 w 147862"/>
                <a:gd name="connsiteY38" fmla="*/ 3706 h 60713"/>
                <a:gd name="connsiteX39" fmla="*/ 103853 w 147862"/>
                <a:gd name="connsiteY39" fmla="*/ 4334 h 60713"/>
                <a:gd name="connsiteX40" fmla="*/ 109805 w 147862"/>
                <a:gd name="connsiteY40" fmla="*/ 4173 h 60713"/>
                <a:gd name="connsiteX41" fmla="*/ 114687 w 147862"/>
                <a:gd name="connsiteY41" fmla="*/ 4901 h 60713"/>
                <a:gd name="connsiteX42" fmla="*/ 125377 w 147862"/>
                <a:gd name="connsiteY42" fmla="*/ 9249 h 60713"/>
                <a:gd name="connsiteX43" fmla="*/ 131767 w 147862"/>
                <a:gd name="connsiteY43" fmla="*/ 13548 h 60713"/>
                <a:gd name="connsiteX44" fmla="*/ 135153 w 147862"/>
                <a:gd name="connsiteY44" fmla="*/ 18114 h 60713"/>
                <a:gd name="connsiteX45" fmla="*/ 143344 w 147862"/>
                <a:gd name="connsiteY45" fmla="*/ 24019 h 60713"/>
                <a:gd name="connsiteX46" fmla="*/ 142866 w 147862"/>
                <a:gd name="connsiteY46" fmla="*/ 24367 h 60713"/>
                <a:gd name="connsiteX47" fmla="*/ 141465 w 147862"/>
                <a:gd name="connsiteY47" fmla="*/ 26380 h 60713"/>
                <a:gd name="connsiteX48" fmla="*/ 140700 w 147862"/>
                <a:gd name="connsiteY48" fmla="*/ 28102 h 60713"/>
                <a:gd name="connsiteX49" fmla="*/ 142506 w 147862"/>
                <a:gd name="connsiteY49" fmla="*/ 29920 h 60713"/>
                <a:gd name="connsiteX50" fmla="*/ 143048 w 147862"/>
                <a:gd name="connsiteY50" fmla="*/ 31850 h 60713"/>
                <a:gd name="connsiteX51" fmla="*/ 144072 w 147862"/>
                <a:gd name="connsiteY51" fmla="*/ 33946 h 60713"/>
                <a:gd name="connsiteX52" fmla="*/ 145666 w 147862"/>
                <a:gd name="connsiteY52" fmla="*/ 36052 h 60713"/>
                <a:gd name="connsiteX53" fmla="*/ 147449 w 147862"/>
                <a:gd name="connsiteY53" fmla="*/ 39960 h 60713"/>
                <a:gd name="connsiteX54" fmla="*/ 147862 w 147862"/>
                <a:gd name="connsiteY54" fmla="*/ 41527 h 60713"/>
                <a:gd name="connsiteX55" fmla="*/ 147356 w 147862"/>
                <a:gd name="connsiteY55" fmla="*/ 42547 h 60713"/>
                <a:gd name="connsiteX56" fmla="*/ 145658 w 147862"/>
                <a:gd name="connsiteY56" fmla="*/ 43168 h 60713"/>
                <a:gd name="connsiteX57" fmla="*/ 144070 w 147862"/>
                <a:gd name="connsiteY57" fmla="*/ 44996 h 60713"/>
                <a:gd name="connsiteX58" fmla="*/ 143634 w 147862"/>
                <a:gd name="connsiteY58" fmla="*/ 47227 h 60713"/>
                <a:gd name="connsiteX59" fmla="*/ 143938 w 147862"/>
                <a:gd name="connsiteY59" fmla="*/ 48329 h 60713"/>
                <a:gd name="connsiteX60" fmla="*/ 139184 w 147862"/>
                <a:gd name="connsiteY60" fmla="*/ 51888 h 60713"/>
                <a:gd name="connsiteX61" fmla="*/ 137959 w 147862"/>
                <a:gd name="connsiteY61" fmla="*/ 52480 h 60713"/>
                <a:gd name="connsiteX62" fmla="*/ 137147 w 147862"/>
                <a:gd name="connsiteY62" fmla="*/ 51932 h 60713"/>
                <a:gd name="connsiteX63" fmla="*/ 136133 w 147862"/>
                <a:gd name="connsiteY63" fmla="*/ 50145 h 60713"/>
                <a:gd name="connsiteX64" fmla="*/ 134922 w 147862"/>
                <a:gd name="connsiteY64" fmla="*/ 48702 h 60713"/>
                <a:gd name="connsiteX65" fmla="*/ 134271 w 147862"/>
                <a:gd name="connsiteY65" fmla="*/ 48199 h 60713"/>
                <a:gd name="connsiteX66" fmla="*/ 133893 w 147862"/>
                <a:gd name="connsiteY66" fmla="*/ 48175 h 60713"/>
                <a:gd name="connsiteX67" fmla="*/ 133513 w 147862"/>
                <a:gd name="connsiteY67" fmla="*/ 48507 h 60713"/>
                <a:gd name="connsiteX68" fmla="*/ 133340 w 147862"/>
                <a:gd name="connsiteY68" fmla="*/ 49292 h 60713"/>
                <a:gd name="connsiteX69" fmla="*/ 133970 w 147862"/>
                <a:gd name="connsiteY69" fmla="*/ 52636 h 60713"/>
                <a:gd name="connsiteX70" fmla="*/ 133442 w 147862"/>
                <a:gd name="connsiteY70" fmla="*/ 53993 h 60713"/>
                <a:gd name="connsiteX71" fmla="*/ 131830 w 147862"/>
                <a:gd name="connsiteY71" fmla="*/ 55036 h 60713"/>
                <a:gd name="connsiteX72" fmla="*/ 129982 w 147862"/>
                <a:gd name="connsiteY72" fmla="*/ 60477 h 60713"/>
                <a:gd name="connsiteX73" fmla="*/ 129257 w 147862"/>
                <a:gd name="connsiteY73" fmla="*/ 59789 h 60713"/>
                <a:gd name="connsiteX74" fmla="*/ 123163 w 147862"/>
                <a:gd name="connsiteY74" fmla="*/ 52461 h 60713"/>
                <a:gd name="connsiteX75" fmla="*/ 117886 w 147862"/>
                <a:gd name="connsiteY75" fmla="*/ 43379 h 60713"/>
                <a:gd name="connsiteX76" fmla="*/ 116786 w 147862"/>
                <a:gd name="connsiteY76" fmla="*/ 39268 h 60713"/>
                <a:gd name="connsiteX77" fmla="*/ 118154 w 147862"/>
                <a:gd name="connsiteY77" fmla="*/ 39025 h 60713"/>
                <a:gd name="connsiteX78" fmla="*/ 119478 w 147862"/>
                <a:gd name="connsiteY78" fmla="*/ 39117 h 60713"/>
                <a:gd name="connsiteX79" fmla="*/ 120189 w 147862"/>
                <a:gd name="connsiteY79" fmla="*/ 38483 h 60713"/>
                <a:gd name="connsiteX80" fmla="*/ 121013 w 147862"/>
                <a:gd name="connsiteY80" fmla="*/ 37287 h 60713"/>
                <a:gd name="connsiteX81" fmla="*/ 120345 w 147862"/>
                <a:gd name="connsiteY81" fmla="*/ 34507 h 60713"/>
                <a:gd name="connsiteX82" fmla="*/ 122912 w 147862"/>
                <a:gd name="connsiteY82" fmla="*/ 32395 h 60713"/>
                <a:gd name="connsiteX83" fmla="*/ 123878 w 147862"/>
                <a:gd name="connsiteY83" fmla="*/ 30971 h 60713"/>
                <a:gd name="connsiteX84" fmla="*/ 124589 w 147862"/>
                <a:gd name="connsiteY84" fmla="*/ 31136 h 60713"/>
                <a:gd name="connsiteX85" fmla="*/ 126266 w 147862"/>
                <a:gd name="connsiteY85" fmla="*/ 33558 h 60713"/>
                <a:gd name="connsiteX86" fmla="*/ 128702 w 147862"/>
                <a:gd name="connsiteY86" fmla="*/ 34949 h 60713"/>
                <a:gd name="connsiteX87" fmla="*/ 131694 w 147862"/>
                <a:gd name="connsiteY87" fmla="*/ 36967 h 60713"/>
                <a:gd name="connsiteX88" fmla="*/ 133548 w 147862"/>
                <a:gd name="connsiteY88" fmla="*/ 37424 h 60713"/>
                <a:gd name="connsiteX89" fmla="*/ 131205 w 147862"/>
                <a:gd name="connsiteY89" fmla="*/ 35308 h 60713"/>
                <a:gd name="connsiteX90" fmla="*/ 127159 w 147862"/>
                <a:gd name="connsiteY90" fmla="*/ 32520 h 60713"/>
                <a:gd name="connsiteX91" fmla="*/ 126026 w 147862"/>
                <a:gd name="connsiteY91" fmla="*/ 30689 h 60713"/>
                <a:gd name="connsiteX92" fmla="*/ 124954 w 147862"/>
                <a:gd name="connsiteY92" fmla="*/ 28140 h 60713"/>
                <a:gd name="connsiteX93" fmla="*/ 123373 w 147862"/>
                <a:gd name="connsiteY93" fmla="*/ 29244 h 60713"/>
                <a:gd name="connsiteX94" fmla="*/ 122639 w 147862"/>
                <a:gd name="connsiteY94" fmla="*/ 30173 h 60713"/>
                <a:gd name="connsiteX95" fmla="*/ 121820 w 147862"/>
                <a:gd name="connsiteY95" fmla="*/ 30701 h 60713"/>
                <a:gd name="connsiteX96" fmla="*/ 121109 w 147862"/>
                <a:gd name="connsiteY96" fmla="*/ 30068 h 60713"/>
                <a:gd name="connsiteX97" fmla="*/ 120982 w 147862"/>
                <a:gd name="connsiteY97" fmla="*/ 29244 h 60713"/>
                <a:gd name="connsiteX98" fmla="*/ 118598 w 147862"/>
                <a:gd name="connsiteY98" fmla="*/ 29083 h 60713"/>
                <a:gd name="connsiteX99" fmla="*/ 117985 w 147862"/>
                <a:gd name="connsiteY99" fmla="*/ 28337 h 60713"/>
                <a:gd name="connsiteX100" fmla="*/ 117354 w 147862"/>
                <a:gd name="connsiteY100" fmla="*/ 27917 h 60713"/>
                <a:gd name="connsiteX101" fmla="*/ 117640 w 147862"/>
                <a:gd name="connsiteY101" fmla="*/ 29508 h 60713"/>
                <a:gd name="connsiteX102" fmla="*/ 118110 w 147862"/>
                <a:gd name="connsiteY102" fmla="*/ 30490 h 60713"/>
                <a:gd name="connsiteX103" fmla="*/ 117858 w 147862"/>
                <a:gd name="connsiteY103" fmla="*/ 31673 h 60713"/>
                <a:gd name="connsiteX104" fmla="*/ 117083 w 147862"/>
                <a:gd name="connsiteY104" fmla="*/ 31756 h 60713"/>
                <a:gd name="connsiteX105" fmla="*/ 116420 w 147862"/>
                <a:gd name="connsiteY105" fmla="*/ 30530 h 60713"/>
                <a:gd name="connsiteX106" fmla="*/ 115573 w 147862"/>
                <a:gd name="connsiteY106" fmla="*/ 29424 h 60713"/>
                <a:gd name="connsiteX107" fmla="*/ 114441 w 147862"/>
                <a:gd name="connsiteY107" fmla="*/ 24789 h 60713"/>
                <a:gd name="connsiteX108" fmla="*/ 111732 w 147862"/>
                <a:gd name="connsiteY108" fmla="*/ 22603 h 60713"/>
                <a:gd name="connsiteX109" fmla="*/ 110492 w 147862"/>
                <a:gd name="connsiteY109" fmla="*/ 21876 h 60713"/>
                <a:gd name="connsiteX110" fmla="*/ 109468 w 147862"/>
                <a:gd name="connsiteY110" fmla="*/ 21602 h 60713"/>
                <a:gd name="connsiteX111" fmla="*/ 107960 w 147862"/>
                <a:gd name="connsiteY111" fmla="*/ 20116 h 60713"/>
                <a:gd name="connsiteX112" fmla="*/ 105968 w 147862"/>
                <a:gd name="connsiteY112" fmla="*/ 19321 h 60713"/>
                <a:gd name="connsiteX113" fmla="*/ 103256 w 147862"/>
                <a:gd name="connsiteY113" fmla="*/ 17013 h 60713"/>
                <a:gd name="connsiteX114" fmla="*/ 99929 w 147862"/>
                <a:gd name="connsiteY114" fmla="*/ 15362 h 60713"/>
                <a:gd name="connsiteX115" fmla="*/ 95865 w 147862"/>
                <a:gd name="connsiteY115" fmla="*/ 14776 h 60713"/>
                <a:gd name="connsiteX116" fmla="*/ 90925 w 147862"/>
                <a:gd name="connsiteY116" fmla="*/ 15136 h 60713"/>
                <a:gd name="connsiteX117" fmla="*/ 89262 w 147862"/>
                <a:gd name="connsiteY117" fmla="*/ 16053 h 60713"/>
                <a:gd name="connsiteX118" fmla="*/ 88132 w 147862"/>
                <a:gd name="connsiteY118" fmla="*/ 17219 h 60713"/>
                <a:gd name="connsiteX119" fmla="*/ 87606 w 147862"/>
                <a:gd name="connsiteY119" fmla="*/ 17761 h 60713"/>
                <a:gd name="connsiteX120" fmla="*/ 84688 w 147862"/>
                <a:gd name="connsiteY120" fmla="*/ 19098 h 60713"/>
                <a:gd name="connsiteX121" fmla="*/ 83583 w 147862"/>
                <a:gd name="connsiteY121" fmla="*/ 21030 h 60713"/>
                <a:gd name="connsiteX122" fmla="*/ 82885 w 147862"/>
                <a:gd name="connsiteY122" fmla="*/ 22658 h 60713"/>
                <a:gd name="connsiteX123" fmla="*/ 81431 w 147862"/>
                <a:gd name="connsiteY123" fmla="*/ 24507 h 60713"/>
                <a:gd name="connsiteX124" fmla="*/ 83091 w 147862"/>
                <a:gd name="connsiteY124" fmla="*/ 25624 h 60713"/>
                <a:gd name="connsiteX125" fmla="*/ 73574 w 147862"/>
                <a:gd name="connsiteY125" fmla="*/ 31901 h 60713"/>
                <a:gd name="connsiteX126" fmla="*/ 71690 w 147862"/>
                <a:gd name="connsiteY126" fmla="*/ 32812 h 60713"/>
                <a:gd name="connsiteX127" fmla="*/ 67414 w 147862"/>
                <a:gd name="connsiteY127" fmla="*/ 33455 h 60713"/>
                <a:gd name="connsiteX128" fmla="*/ 66429 w 147862"/>
                <a:gd name="connsiteY128" fmla="*/ 34127 h 60713"/>
                <a:gd name="connsiteX129" fmla="*/ 65125 w 147862"/>
                <a:gd name="connsiteY129" fmla="*/ 35367 h 60713"/>
                <a:gd name="connsiteX130" fmla="*/ 64951 w 147862"/>
                <a:gd name="connsiteY130" fmla="*/ 37254 h 60713"/>
                <a:gd name="connsiteX131" fmla="*/ 65147 w 147862"/>
                <a:gd name="connsiteY131" fmla="*/ 38859 h 60713"/>
                <a:gd name="connsiteX132" fmla="*/ 66389 w 147862"/>
                <a:gd name="connsiteY132" fmla="*/ 40096 h 60713"/>
                <a:gd name="connsiteX133" fmla="*/ 67493 w 147862"/>
                <a:gd name="connsiteY133" fmla="*/ 40876 h 60713"/>
                <a:gd name="connsiteX134" fmla="*/ 70146 w 147862"/>
                <a:gd name="connsiteY134" fmla="*/ 44610 h 60713"/>
                <a:gd name="connsiteX135" fmla="*/ 74856 w 147862"/>
                <a:gd name="connsiteY135" fmla="*/ 49318 h 60713"/>
                <a:gd name="connsiteX136" fmla="*/ 75748 w 147862"/>
                <a:gd name="connsiteY136" fmla="*/ 51033 h 60713"/>
                <a:gd name="connsiteX137" fmla="*/ 76479 w 147862"/>
                <a:gd name="connsiteY137" fmla="*/ 53576 h 60713"/>
                <a:gd name="connsiteX138" fmla="*/ 75057 w 147862"/>
                <a:gd name="connsiteY138" fmla="*/ 54770 h 60713"/>
                <a:gd name="connsiteX139" fmla="*/ 73959 w 147862"/>
                <a:gd name="connsiteY139" fmla="*/ 55274 h 60713"/>
                <a:gd name="connsiteX140" fmla="*/ 69478 w 147862"/>
                <a:gd name="connsiteY140" fmla="*/ 55474 h 60713"/>
                <a:gd name="connsiteX141" fmla="*/ 67933 w 147862"/>
                <a:gd name="connsiteY141" fmla="*/ 56492 h 60713"/>
                <a:gd name="connsiteX142" fmla="*/ 67306 w 147862"/>
                <a:gd name="connsiteY142" fmla="*/ 58047 h 60713"/>
                <a:gd name="connsiteX143" fmla="*/ 65635 w 147862"/>
                <a:gd name="connsiteY143" fmla="*/ 59314 h 60713"/>
                <a:gd name="connsiteX144" fmla="*/ 59858 w 147862"/>
                <a:gd name="connsiteY144" fmla="*/ 60570 h 60713"/>
                <a:gd name="connsiteX145" fmla="*/ 55323 w 147862"/>
                <a:gd name="connsiteY145" fmla="*/ 60713 h 60713"/>
                <a:gd name="connsiteX146" fmla="*/ 53911 w 147862"/>
                <a:gd name="connsiteY146" fmla="*/ 59259 h 60713"/>
                <a:gd name="connsiteX147" fmla="*/ 53571 w 147862"/>
                <a:gd name="connsiteY147" fmla="*/ 55171 h 60713"/>
                <a:gd name="connsiteX148" fmla="*/ 50517 w 147862"/>
                <a:gd name="connsiteY148" fmla="*/ 48194 h 60713"/>
                <a:gd name="connsiteX149" fmla="*/ 49788 w 147862"/>
                <a:gd name="connsiteY149" fmla="*/ 43383 h 60713"/>
                <a:gd name="connsiteX150" fmla="*/ 49025 w 147862"/>
                <a:gd name="connsiteY150" fmla="*/ 43980 h 60713"/>
                <a:gd name="connsiteX151" fmla="*/ 47405 w 147862"/>
                <a:gd name="connsiteY151" fmla="*/ 44540 h 60713"/>
                <a:gd name="connsiteX152" fmla="*/ 46858 w 147862"/>
                <a:gd name="connsiteY152" fmla="*/ 45735 h 60713"/>
                <a:gd name="connsiteX153" fmla="*/ 46451 w 147862"/>
                <a:gd name="connsiteY153" fmla="*/ 49283 h 60713"/>
                <a:gd name="connsiteX154" fmla="*/ 45853 w 147862"/>
                <a:gd name="connsiteY154" fmla="*/ 50494 h 60713"/>
                <a:gd name="connsiteX155" fmla="*/ 44601 w 147862"/>
                <a:gd name="connsiteY155" fmla="*/ 50378 h 60713"/>
                <a:gd name="connsiteX156" fmla="*/ 42036 w 147862"/>
                <a:gd name="connsiteY156" fmla="*/ 49107 h 60713"/>
                <a:gd name="connsiteX157" fmla="*/ 38623 w 147862"/>
                <a:gd name="connsiteY157" fmla="*/ 47938 h 60713"/>
                <a:gd name="connsiteX158" fmla="*/ 34273 w 147862"/>
                <a:gd name="connsiteY158" fmla="*/ 40419 h 60713"/>
                <a:gd name="connsiteX159" fmla="*/ 33802 w 147862"/>
                <a:gd name="connsiteY159" fmla="*/ 39003 h 60713"/>
                <a:gd name="connsiteX160" fmla="*/ 32956 w 147862"/>
                <a:gd name="connsiteY160" fmla="*/ 37316 h 60713"/>
                <a:gd name="connsiteX161" fmla="*/ 29594 w 147862"/>
                <a:gd name="connsiteY161" fmla="*/ 36603 h 60713"/>
                <a:gd name="connsiteX162" fmla="*/ 26728 w 147862"/>
                <a:gd name="connsiteY162" fmla="*/ 35336 h 60713"/>
                <a:gd name="connsiteX163" fmla="*/ 23598 w 147862"/>
                <a:gd name="connsiteY163" fmla="*/ 35140 h 60713"/>
                <a:gd name="connsiteX164" fmla="*/ 21997 w 147862"/>
                <a:gd name="connsiteY164" fmla="*/ 35853 h 60713"/>
                <a:gd name="connsiteX165" fmla="*/ 20363 w 147862"/>
                <a:gd name="connsiteY165" fmla="*/ 34945 h 60713"/>
                <a:gd name="connsiteX166" fmla="*/ 20081 w 147862"/>
                <a:gd name="connsiteY166" fmla="*/ 32887 h 60713"/>
                <a:gd name="connsiteX167" fmla="*/ 16799 w 147862"/>
                <a:gd name="connsiteY167" fmla="*/ 33811 h 60713"/>
                <a:gd name="connsiteX168" fmla="*/ 12587 w 147862"/>
                <a:gd name="connsiteY168" fmla="*/ 33490 h 60713"/>
                <a:gd name="connsiteX169" fmla="*/ 8820 w 147862"/>
                <a:gd name="connsiteY169" fmla="*/ 32607 h 60713"/>
                <a:gd name="connsiteX170" fmla="*/ 6243 w 147862"/>
                <a:gd name="connsiteY170" fmla="*/ 33078 h 60713"/>
                <a:gd name="connsiteX171" fmla="*/ 4088 w 147862"/>
                <a:gd name="connsiteY171" fmla="*/ 34538 h 60713"/>
                <a:gd name="connsiteX172" fmla="*/ 4388 w 147862"/>
                <a:gd name="connsiteY172" fmla="*/ 38286 h 60713"/>
                <a:gd name="connsiteX173" fmla="*/ 3753 w 147862"/>
                <a:gd name="connsiteY173" fmla="*/ 39022 h 60713"/>
                <a:gd name="connsiteX174" fmla="*/ 3653 w 147862"/>
                <a:gd name="connsiteY174" fmla="*/ 37493 h 60713"/>
                <a:gd name="connsiteX175" fmla="*/ 2903 w 147862"/>
                <a:gd name="connsiteY175" fmla="*/ 35731 h 60713"/>
                <a:gd name="connsiteX176" fmla="*/ 2001 w 147862"/>
                <a:gd name="connsiteY176" fmla="*/ 34270 h 60713"/>
                <a:gd name="connsiteX177" fmla="*/ 101 w 147862"/>
                <a:gd name="connsiteY177" fmla="*/ 32760 h 60713"/>
                <a:gd name="connsiteX178" fmla="*/ 0 w 147862"/>
                <a:gd name="connsiteY178" fmla="*/ 32205 h 60713"/>
                <a:gd name="connsiteX179" fmla="*/ 756 w 147862"/>
                <a:gd name="connsiteY179" fmla="*/ 31439 h 60713"/>
                <a:gd name="connsiteX180" fmla="*/ 4203 w 147862"/>
                <a:gd name="connsiteY180" fmla="*/ 29248 h 60713"/>
                <a:gd name="connsiteX181" fmla="*/ 4630 w 147862"/>
                <a:gd name="connsiteY181" fmla="*/ 28333 h 60713"/>
                <a:gd name="connsiteX182" fmla="*/ 4685 w 147862"/>
                <a:gd name="connsiteY182" fmla="*/ 26429 h 60713"/>
                <a:gd name="connsiteX183" fmla="*/ 4352 w 147862"/>
                <a:gd name="connsiteY183" fmla="*/ 24606 h 60713"/>
                <a:gd name="connsiteX184" fmla="*/ 2797 w 147862"/>
                <a:gd name="connsiteY184" fmla="*/ 21923 h 60713"/>
                <a:gd name="connsiteX185" fmla="*/ 3686 w 147862"/>
                <a:gd name="connsiteY185" fmla="*/ 20263 h 60713"/>
                <a:gd name="connsiteX186" fmla="*/ 5463 w 147862"/>
                <a:gd name="connsiteY186" fmla="*/ 18933 h 60713"/>
                <a:gd name="connsiteX187" fmla="*/ 7287 w 147862"/>
                <a:gd name="connsiteY187" fmla="*/ 17881 h 60713"/>
                <a:gd name="connsiteX188" fmla="*/ 7595 w 147862"/>
                <a:gd name="connsiteY188" fmla="*/ 17434 h 60713"/>
                <a:gd name="connsiteX189" fmla="*/ 7257 w 147862"/>
                <a:gd name="connsiteY189" fmla="*/ 16523 h 60713"/>
                <a:gd name="connsiteX190" fmla="*/ 6195 w 147862"/>
                <a:gd name="connsiteY190" fmla="*/ 15537 h 60713"/>
                <a:gd name="connsiteX191" fmla="*/ 3702 w 147862"/>
                <a:gd name="connsiteY191" fmla="*/ 13862 h 60713"/>
                <a:gd name="connsiteX192" fmla="*/ 2207 w 147862"/>
                <a:gd name="connsiteY192" fmla="*/ 13753 h 60713"/>
                <a:gd name="connsiteX193" fmla="*/ 2143 w 147862"/>
                <a:gd name="connsiteY193" fmla="*/ 8926 h 60713"/>
                <a:gd name="connsiteX194" fmla="*/ 2219 w 147862"/>
                <a:gd name="connsiteY194" fmla="*/ 3805 h 60713"/>
                <a:gd name="connsiteX195" fmla="*/ 2594 w 147862"/>
                <a:gd name="connsiteY195" fmla="*/ 3296 h 60713"/>
                <a:gd name="connsiteX196" fmla="*/ 3509 w 147862"/>
                <a:gd name="connsiteY196" fmla="*/ 2990 h 60713"/>
                <a:gd name="connsiteX197" fmla="*/ 4240 w 147862"/>
                <a:gd name="connsiteY197" fmla="*/ 2211 h 60713"/>
                <a:gd name="connsiteX198" fmla="*/ 4650 w 147862"/>
                <a:gd name="connsiteY198" fmla="*/ 693 h 60713"/>
                <a:gd name="connsiteX199" fmla="*/ 5738 w 147862"/>
                <a:gd name="connsiteY199" fmla="*/ 156 h 60713"/>
                <a:gd name="connsiteX200" fmla="*/ 7707 w 147862"/>
                <a:gd name="connsiteY200" fmla="*/ 1325 h 60713"/>
                <a:gd name="connsiteX201" fmla="*/ 9719 w 147862"/>
                <a:gd name="connsiteY201" fmla="*/ 2354 h 60713"/>
                <a:gd name="connsiteX202" fmla="*/ 10550 w 147862"/>
                <a:gd name="connsiteY202" fmla="*/ 2012 h 60713"/>
                <a:gd name="connsiteX203" fmla="*/ 11179 w 147862"/>
                <a:gd name="connsiteY203" fmla="*/ 1512 h 60713"/>
                <a:gd name="connsiteX204" fmla="*/ 11617 w 147862"/>
                <a:gd name="connsiteY204" fmla="*/ 1015 h 60713"/>
                <a:gd name="connsiteX205" fmla="*/ 11760 w 147862"/>
                <a:gd name="connsiteY205" fmla="*/ 543 h 60713"/>
                <a:gd name="connsiteX206" fmla="*/ 13363 w 147862"/>
                <a:gd name="connsiteY206" fmla="*/ 1910 h 60713"/>
                <a:gd name="connsiteX207" fmla="*/ 16648 w 147862"/>
                <a:gd name="connsiteY207" fmla="*/ 4331 h 60713"/>
                <a:gd name="connsiteX208" fmla="*/ 16841 w 147862"/>
                <a:gd name="connsiteY208" fmla="*/ 5524 h 60713"/>
                <a:gd name="connsiteX209" fmla="*/ 16531 w 147862"/>
                <a:gd name="connsiteY209" fmla="*/ 6666 h 60713"/>
                <a:gd name="connsiteX210" fmla="*/ 17435 w 147862"/>
                <a:gd name="connsiteY210" fmla="*/ 9941 h 60713"/>
                <a:gd name="connsiteX211" fmla="*/ 19141 w 147862"/>
                <a:gd name="connsiteY211" fmla="*/ 10416 h 60713"/>
                <a:gd name="connsiteX212" fmla="*/ 20856 w 147862"/>
                <a:gd name="connsiteY212" fmla="*/ 9782 h 60713"/>
                <a:gd name="connsiteX213" fmla="*/ 21280 w 147862"/>
                <a:gd name="connsiteY213" fmla="*/ 10387 h 60713"/>
                <a:gd name="connsiteX214" fmla="*/ 20961 w 147862"/>
                <a:gd name="connsiteY214" fmla="*/ 10992 h 60713"/>
                <a:gd name="connsiteX215" fmla="*/ 20081 w 147862"/>
                <a:gd name="connsiteY215" fmla="*/ 11668 h 60713"/>
                <a:gd name="connsiteX216" fmla="*/ 19859 w 147862"/>
                <a:gd name="connsiteY216" fmla="*/ 14483 h 60713"/>
                <a:gd name="connsiteX217" fmla="*/ 22670 w 147862"/>
                <a:gd name="connsiteY217" fmla="*/ 15799 h 60713"/>
                <a:gd name="connsiteX218" fmla="*/ 24076 w 147862"/>
                <a:gd name="connsiteY218" fmla="*/ 16953 h 60713"/>
                <a:gd name="connsiteX219" fmla="*/ 28735 w 147862"/>
                <a:gd name="connsiteY219" fmla="*/ 16411 h 60713"/>
                <a:gd name="connsiteX220" fmla="*/ 30451 w 147862"/>
                <a:gd name="connsiteY220" fmla="*/ 16717 h 60713"/>
                <a:gd name="connsiteX221" fmla="*/ 31623 w 147862"/>
                <a:gd name="connsiteY221" fmla="*/ 16382 h 60713"/>
                <a:gd name="connsiteX222" fmla="*/ 30323 w 147862"/>
                <a:gd name="connsiteY222" fmla="*/ 14123 h 60713"/>
                <a:gd name="connsiteX223" fmla="*/ 28582 w 147862"/>
                <a:gd name="connsiteY223" fmla="*/ 12450 h 60713"/>
                <a:gd name="connsiteX224" fmla="*/ 28726 w 147862"/>
                <a:gd name="connsiteY224" fmla="*/ 11699 h 60713"/>
                <a:gd name="connsiteX225" fmla="*/ 30047 w 147862"/>
                <a:gd name="connsiteY225" fmla="*/ 12254 h 60713"/>
                <a:gd name="connsiteX226" fmla="*/ 31056 w 147862"/>
                <a:gd name="connsiteY226" fmla="*/ 13394 h 60713"/>
                <a:gd name="connsiteX227" fmla="*/ 33348 w 147862"/>
                <a:gd name="connsiteY227" fmla="*/ 14804 h 60713"/>
                <a:gd name="connsiteX228" fmla="*/ 37571 w 147862"/>
                <a:gd name="connsiteY228" fmla="*/ 19710 h 60713"/>
                <a:gd name="connsiteX229" fmla="*/ 42411 w 147862"/>
                <a:gd name="connsiteY229" fmla="*/ 20896 h 60713"/>
                <a:gd name="connsiteX230" fmla="*/ 46240 w 147862"/>
                <a:gd name="connsiteY230" fmla="*/ 20739 h 60713"/>
                <a:gd name="connsiteX231" fmla="*/ 49807 w 147862"/>
                <a:gd name="connsiteY231" fmla="*/ 20076 h 60713"/>
                <a:gd name="connsiteX232" fmla="*/ 55497 w 147862"/>
                <a:gd name="connsiteY232" fmla="*/ 18171 h 60713"/>
                <a:gd name="connsiteX233" fmla="*/ 59610 w 147862"/>
                <a:gd name="connsiteY233" fmla="*/ 14730 h 60713"/>
                <a:gd name="connsiteX234" fmla="*/ 62897 w 147862"/>
                <a:gd name="connsiteY234" fmla="*/ 13194 h 60713"/>
                <a:gd name="connsiteX235" fmla="*/ 73541 w 147862"/>
                <a:gd name="connsiteY235" fmla="*/ 9923 h 60713"/>
                <a:gd name="connsiteX236" fmla="*/ 77321 w 147862"/>
                <a:gd name="connsiteY236" fmla="*/ 6502 h 60713"/>
                <a:gd name="connsiteX237" fmla="*/ 78917 w 147862"/>
                <a:gd name="connsiteY237" fmla="*/ 6051 h 60713"/>
                <a:gd name="connsiteX238" fmla="*/ 80438 w 147862"/>
                <a:gd name="connsiteY238" fmla="*/ 5623 h 60713"/>
                <a:gd name="connsiteX239" fmla="*/ 83784 w 147862"/>
                <a:gd name="connsiteY239" fmla="*/ 3033 h 60713"/>
                <a:gd name="connsiteX240" fmla="*/ 85581 w 147862"/>
                <a:gd name="connsiteY240" fmla="*/ 1015 h 607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</a:cxnLst>
              <a:rect l="l" t="t" r="r" b="b"/>
              <a:pathLst>
                <a:path w="147862" h="60713">
                  <a:moveTo>
                    <a:pt x="32331" y="50476"/>
                  </a:moveTo>
                  <a:lnTo>
                    <a:pt x="32929" y="50488"/>
                  </a:lnTo>
                  <a:lnTo>
                    <a:pt x="34382" y="52979"/>
                  </a:lnTo>
                  <a:lnTo>
                    <a:pt x="33392" y="53946"/>
                  </a:lnTo>
                  <a:lnTo>
                    <a:pt x="33791" y="55489"/>
                  </a:lnTo>
                  <a:lnTo>
                    <a:pt x="35853" y="56632"/>
                  </a:lnTo>
                  <a:lnTo>
                    <a:pt x="36111" y="57839"/>
                  </a:lnTo>
                  <a:lnTo>
                    <a:pt x="34720" y="57973"/>
                  </a:lnTo>
                  <a:lnTo>
                    <a:pt x="31879" y="56883"/>
                  </a:lnTo>
                  <a:lnTo>
                    <a:pt x="29801" y="54767"/>
                  </a:lnTo>
                  <a:lnTo>
                    <a:pt x="29636" y="54082"/>
                  </a:lnTo>
                  <a:lnTo>
                    <a:pt x="29678" y="53382"/>
                  </a:lnTo>
                  <a:lnTo>
                    <a:pt x="30814" y="51222"/>
                  </a:lnTo>
                  <a:close/>
                  <a:moveTo>
                    <a:pt x="99957" y="33275"/>
                  </a:moveTo>
                  <a:lnTo>
                    <a:pt x="100460" y="34337"/>
                  </a:lnTo>
                  <a:lnTo>
                    <a:pt x="99321" y="35470"/>
                  </a:lnTo>
                  <a:lnTo>
                    <a:pt x="98885" y="34397"/>
                  </a:lnTo>
                  <a:lnTo>
                    <a:pt x="99678" y="33286"/>
                  </a:lnTo>
                  <a:close/>
                  <a:moveTo>
                    <a:pt x="105080" y="29076"/>
                  </a:moveTo>
                  <a:lnTo>
                    <a:pt x="105767" y="29384"/>
                  </a:lnTo>
                  <a:lnTo>
                    <a:pt x="106198" y="31945"/>
                  </a:lnTo>
                  <a:lnTo>
                    <a:pt x="105842" y="33106"/>
                  </a:lnTo>
                  <a:lnTo>
                    <a:pt x="104697" y="33825"/>
                  </a:lnTo>
                  <a:lnTo>
                    <a:pt x="104196" y="34906"/>
                  </a:lnTo>
                  <a:lnTo>
                    <a:pt x="103008" y="32498"/>
                  </a:lnTo>
                  <a:lnTo>
                    <a:pt x="103200" y="31878"/>
                  </a:lnTo>
                  <a:lnTo>
                    <a:pt x="103119" y="29700"/>
                  </a:lnTo>
                  <a:lnTo>
                    <a:pt x="104249" y="29128"/>
                  </a:lnTo>
                  <a:close/>
                  <a:moveTo>
                    <a:pt x="19057" y="4246"/>
                  </a:moveTo>
                  <a:lnTo>
                    <a:pt x="19472" y="4288"/>
                  </a:lnTo>
                  <a:lnTo>
                    <a:pt x="20129" y="5555"/>
                  </a:lnTo>
                  <a:lnTo>
                    <a:pt x="19852" y="6747"/>
                  </a:lnTo>
                  <a:lnTo>
                    <a:pt x="17892" y="4598"/>
                  </a:lnTo>
                  <a:close/>
                  <a:moveTo>
                    <a:pt x="87481" y="0"/>
                  </a:moveTo>
                  <a:lnTo>
                    <a:pt x="93106" y="733"/>
                  </a:lnTo>
                  <a:lnTo>
                    <a:pt x="96754" y="1687"/>
                  </a:lnTo>
                  <a:lnTo>
                    <a:pt x="99273" y="1563"/>
                  </a:lnTo>
                  <a:lnTo>
                    <a:pt x="101696" y="2237"/>
                  </a:lnTo>
                  <a:lnTo>
                    <a:pt x="102753" y="3706"/>
                  </a:lnTo>
                  <a:lnTo>
                    <a:pt x="103853" y="4334"/>
                  </a:lnTo>
                  <a:lnTo>
                    <a:pt x="109805" y="4173"/>
                  </a:lnTo>
                  <a:lnTo>
                    <a:pt x="114687" y="4901"/>
                  </a:lnTo>
                  <a:lnTo>
                    <a:pt x="125377" y="9249"/>
                  </a:lnTo>
                  <a:lnTo>
                    <a:pt x="131767" y="13548"/>
                  </a:lnTo>
                  <a:lnTo>
                    <a:pt x="135153" y="18114"/>
                  </a:lnTo>
                  <a:lnTo>
                    <a:pt x="143344" y="24019"/>
                  </a:lnTo>
                  <a:lnTo>
                    <a:pt x="142866" y="24367"/>
                  </a:lnTo>
                  <a:lnTo>
                    <a:pt x="141465" y="26380"/>
                  </a:lnTo>
                  <a:lnTo>
                    <a:pt x="140700" y="28102"/>
                  </a:lnTo>
                  <a:lnTo>
                    <a:pt x="142506" y="29920"/>
                  </a:lnTo>
                  <a:lnTo>
                    <a:pt x="143048" y="31850"/>
                  </a:lnTo>
                  <a:lnTo>
                    <a:pt x="144072" y="33946"/>
                  </a:lnTo>
                  <a:lnTo>
                    <a:pt x="145666" y="36052"/>
                  </a:lnTo>
                  <a:lnTo>
                    <a:pt x="147449" y="39960"/>
                  </a:lnTo>
                  <a:lnTo>
                    <a:pt x="147862" y="41527"/>
                  </a:lnTo>
                  <a:lnTo>
                    <a:pt x="147356" y="42547"/>
                  </a:lnTo>
                  <a:lnTo>
                    <a:pt x="145658" y="43168"/>
                  </a:lnTo>
                  <a:lnTo>
                    <a:pt x="144070" y="44996"/>
                  </a:lnTo>
                  <a:lnTo>
                    <a:pt x="143634" y="47227"/>
                  </a:lnTo>
                  <a:lnTo>
                    <a:pt x="143938" y="48329"/>
                  </a:lnTo>
                  <a:lnTo>
                    <a:pt x="139184" y="51888"/>
                  </a:lnTo>
                  <a:lnTo>
                    <a:pt x="137959" y="52480"/>
                  </a:lnTo>
                  <a:lnTo>
                    <a:pt x="137147" y="51932"/>
                  </a:lnTo>
                  <a:lnTo>
                    <a:pt x="136133" y="50145"/>
                  </a:lnTo>
                  <a:lnTo>
                    <a:pt x="134922" y="48702"/>
                  </a:lnTo>
                  <a:lnTo>
                    <a:pt x="134271" y="48199"/>
                  </a:lnTo>
                  <a:lnTo>
                    <a:pt x="133893" y="48175"/>
                  </a:lnTo>
                  <a:lnTo>
                    <a:pt x="133513" y="48507"/>
                  </a:lnTo>
                  <a:lnTo>
                    <a:pt x="133340" y="49292"/>
                  </a:lnTo>
                  <a:lnTo>
                    <a:pt x="133970" y="52636"/>
                  </a:lnTo>
                  <a:lnTo>
                    <a:pt x="133442" y="53993"/>
                  </a:lnTo>
                  <a:lnTo>
                    <a:pt x="131830" y="55036"/>
                  </a:lnTo>
                  <a:lnTo>
                    <a:pt x="129982" y="60477"/>
                  </a:lnTo>
                  <a:lnTo>
                    <a:pt x="129257" y="59789"/>
                  </a:lnTo>
                  <a:lnTo>
                    <a:pt x="123163" y="52461"/>
                  </a:lnTo>
                  <a:lnTo>
                    <a:pt x="117886" y="43379"/>
                  </a:lnTo>
                  <a:lnTo>
                    <a:pt x="116786" y="39268"/>
                  </a:lnTo>
                  <a:lnTo>
                    <a:pt x="118154" y="39025"/>
                  </a:lnTo>
                  <a:lnTo>
                    <a:pt x="119478" y="39117"/>
                  </a:lnTo>
                  <a:lnTo>
                    <a:pt x="120189" y="38483"/>
                  </a:lnTo>
                  <a:lnTo>
                    <a:pt x="121013" y="37287"/>
                  </a:lnTo>
                  <a:lnTo>
                    <a:pt x="120345" y="34507"/>
                  </a:lnTo>
                  <a:lnTo>
                    <a:pt x="122912" y="32395"/>
                  </a:lnTo>
                  <a:lnTo>
                    <a:pt x="123878" y="30971"/>
                  </a:lnTo>
                  <a:lnTo>
                    <a:pt x="124589" y="31136"/>
                  </a:lnTo>
                  <a:lnTo>
                    <a:pt x="126266" y="33558"/>
                  </a:lnTo>
                  <a:lnTo>
                    <a:pt x="128702" y="34949"/>
                  </a:lnTo>
                  <a:lnTo>
                    <a:pt x="131694" y="36967"/>
                  </a:lnTo>
                  <a:lnTo>
                    <a:pt x="133548" y="37424"/>
                  </a:lnTo>
                  <a:lnTo>
                    <a:pt x="131205" y="35308"/>
                  </a:lnTo>
                  <a:lnTo>
                    <a:pt x="127159" y="32520"/>
                  </a:lnTo>
                  <a:lnTo>
                    <a:pt x="126026" y="30689"/>
                  </a:lnTo>
                  <a:lnTo>
                    <a:pt x="124954" y="28140"/>
                  </a:lnTo>
                  <a:lnTo>
                    <a:pt x="123373" y="29244"/>
                  </a:lnTo>
                  <a:lnTo>
                    <a:pt x="122639" y="30173"/>
                  </a:lnTo>
                  <a:lnTo>
                    <a:pt x="121820" y="30701"/>
                  </a:lnTo>
                  <a:lnTo>
                    <a:pt x="121109" y="30068"/>
                  </a:lnTo>
                  <a:lnTo>
                    <a:pt x="120982" y="29244"/>
                  </a:lnTo>
                  <a:lnTo>
                    <a:pt x="118598" y="29083"/>
                  </a:lnTo>
                  <a:lnTo>
                    <a:pt x="117985" y="28337"/>
                  </a:lnTo>
                  <a:lnTo>
                    <a:pt x="117354" y="27917"/>
                  </a:lnTo>
                  <a:lnTo>
                    <a:pt x="117640" y="29508"/>
                  </a:lnTo>
                  <a:lnTo>
                    <a:pt x="118110" y="30490"/>
                  </a:lnTo>
                  <a:lnTo>
                    <a:pt x="117858" y="31673"/>
                  </a:lnTo>
                  <a:lnTo>
                    <a:pt x="117083" y="31756"/>
                  </a:lnTo>
                  <a:lnTo>
                    <a:pt x="116420" y="30530"/>
                  </a:lnTo>
                  <a:lnTo>
                    <a:pt x="115573" y="29424"/>
                  </a:lnTo>
                  <a:lnTo>
                    <a:pt x="114441" y="24789"/>
                  </a:lnTo>
                  <a:lnTo>
                    <a:pt x="111732" y="22603"/>
                  </a:lnTo>
                  <a:lnTo>
                    <a:pt x="110492" y="21876"/>
                  </a:lnTo>
                  <a:lnTo>
                    <a:pt x="109468" y="21602"/>
                  </a:lnTo>
                  <a:lnTo>
                    <a:pt x="107960" y="20116"/>
                  </a:lnTo>
                  <a:lnTo>
                    <a:pt x="105968" y="19321"/>
                  </a:lnTo>
                  <a:lnTo>
                    <a:pt x="103256" y="17013"/>
                  </a:lnTo>
                  <a:lnTo>
                    <a:pt x="99929" y="15362"/>
                  </a:lnTo>
                  <a:lnTo>
                    <a:pt x="95865" y="14776"/>
                  </a:lnTo>
                  <a:lnTo>
                    <a:pt x="90925" y="15136"/>
                  </a:lnTo>
                  <a:lnTo>
                    <a:pt x="89262" y="16053"/>
                  </a:lnTo>
                  <a:lnTo>
                    <a:pt x="88132" y="17219"/>
                  </a:lnTo>
                  <a:lnTo>
                    <a:pt x="87606" y="17761"/>
                  </a:lnTo>
                  <a:lnTo>
                    <a:pt x="84688" y="19098"/>
                  </a:lnTo>
                  <a:lnTo>
                    <a:pt x="83583" y="21030"/>
                  </a:lnTo>
                  <a:lnTo>
                    <a:pt x="82885" y="22658"/>
                  </a:lnTo>
                  <a:lnTo>
                    <a:pt x="81431" y="24507"/>
                  </a:lnTo>
                  <a:lnTo>
                    <a:pt x="83091" y="25624"/>
                  </a:lnTo>
                  <a:lnTo>
                    <a:pt x="73574" y="31901"/>
                  </a:lnTo>
                  <a:lnTo>
                    <a:pt x="71690" y="32812"/>
                  </a:lnTo>
                  <a:lnTo>
                    <a:pt x="67414" y="33455"/>
                  </a:lnTo>
                  <a:lnTo>
                    <a:pt x="66429" y="34127"/>
                  </a:lnTo>
                  <a:lnTo>
                    <a:pt x="65125" y="35367"/>
                  </a:lnTo>
                  <a:lnTo>
                    <a:pt x="64951" y="37254"/>
                  </a:lnTo>
                  <a:lnTo>
                    <a:pt x="65147" y="38859"/>
                  </a:lnTo>
                  <a:lnTo>
                    <a:pt x="66389" y="40096"/>
                  </a:lnTo>
                  <a:lnTo>
                    <a:pt x="67493" y="40876"/>
                  </a:lnTo>
                  <a:lnTo>
                    <a:pt x="70146" y="44610"/>
                  </a:lnTo>
                  <a:lnTo>
                    <a:pt x="74856" y="49318"/>
                  </a:lnTo>
                  <a:lnTo>
                    <a:pt x="75748" y="51033"/>
                  </a:lnTo>
                  <a:lnTo>
                    <a:pt x="76479" y="53576"/>
                  </a:lnTo>
                  <a:lnTo>
                    <a:pt x="75057" y="54770"/>
                  </a:lnTo>
                  <a:lnTo>
                    <a:pt x="73959" y="55274"/>
                  </a:lnTo>
                  <a:lnTo>
                    <a:pt x="69478" y="55474"/>
                  </a:lnTo>
                  <a:lnTo>
                    <a:pt x="67933" y="56492"/>
                  </a:lnTo>
                  <a:lnTo>
                    <a:pt x="67306" y="58047"/>
                  </a:lnTo>
                  <a:lnTo>
                    <a:pt x="65635" y="59314"/>
                  </a:lnTo>
                  <a:lnTo>
                    <a:pt x="59858" y="60570"/>
                  </a:lnTo>
                  <a:lnTo>
                    <a:pt x="55323" y="60713"/>
                  </a:lnTo>
                  <a:lnTo>
                    <a:pt x="53911" y="59259"/>
                  </a:lnTo>
                  <a:lnTo>
                    <a:pt x="53571" y="55171"/>
                  </a:lnTo>
                  <a:lnTo>
                    <a:pt x="50517" y="48194"/>
                  </a:lnTo>
                  <a:lnTo>
                    <a:pt x="49788" y="43383"/>
                  </a:lnTo>
                  <a:lnTo>
                    <a:pt x="49025" y="43980"/>
                  </a:lnTo>
                  <a:lnTo>
                    <a:pt x="47405" y="44540"/>
                  </a:lnTo>
                  <a:lnTo>
                    <a:pt x="46858" y="45735"/>
                  </a:lnTo>
                  <a:lnTo>
                    <a:pt x="46451" y="49283"/>
                  </a:lnTo>
                  <a:lnTo>
                    <a:pt x="45853" y="50494"/>
                  </a:lnTo>
                  <a:lnTo>
                    <a:pt x="44601" y="50378"/>
                  </a:lnTo>
                  <a:lnTo>
                    <a:pt x="42036" y="49107"/>
                  </a:lnTo>
                  <a:lnTo>
                    <a:pt x="38623" y="47938"/>
                  </a:lnTo>
                  <a:lnTo>
                    <a:pt x="34273" y="40419"/>
                  </a:lnTo>
                  <a:lnTo>
                    <a:pt x="33802" y="39003"/>
                  </a:lnTo>
                  <a:lnTo>
                    <a:pt x="32956" y="37316"/>
                  </a:lnTo>
                  <a:lnTo>
                    <a:pt x="29594" y="36603"/>
                  </a:lnTo>
                  <a:lnTo>
                    <a:pt x="26728" y="35336"/>
                  </a:lnTo>
                  <a:lnTo>
                    <a:pt x="23598" y="35140"/>
                  </a:lnTo>
                  <a:lnTo>
                    <a:pt x="21997" y="35853"/>
                  </a:lnTo>
                  <a:lnTo>
                    <a:pt x="20363" y="34945"/>
                  </a:lnTo>
                  <a:lnTo>
                    <a:pt x="20081" y="32887"/>
                  </a:lnTo>
                  <a:lnTo>
                    <a:pt x="16799" y="33811"/>
                  </a:lnTo>
                  <a:lnTo>
                    <a:pt x="12587" y="33490"/>
                  </a:lnTo>
                  <a:lnTo>
                    <a:pt x="8820" y="32607"/>
                  </a:lnTo>
                  <a:lnTo>
                    <a:pt x="6243" y="33078"/>
                  </a:lnTo>
                  <a:lnTo>
                    <a:pt x="4088" y="34538"/>
                  </a:lnTo>
                  <a:lnTo>
                    <a:pt x="4388" y="38286"/>
                  </a:lnTo>
                  <a:lnTo>
                    <a:pt x="3753" y="39022"/>
                  </a:lnTo>
                  <a:lnTo>
                    <a:pt x="3653" y="37493"/>
                  </a:lnTo>
                  <a:lnTo>
                    <a:pt x="2903" y="35731"/>
                  </a:lnTo>
                  <a:lnTo>
                    <a:pt x="2001" y="34270"/>
                  </a:lnTo>
                  <a:lnTo>
                    <a:pt x="101" y="32760"/>
                  </a:lnTo>
                  <a:lnTo>
                    <a:pt x="0" y="32205"/>
                  </a:lnTo>
                  <a:lnTo>
                    <a:pt x="756" y="31439"/>
                  </a:lnTo>
                  <a:lnTo>
                    <a:pt x="4203" y="29248"/>
                  </a:lnTo>
                  <a:lnTo>
                    <a:pt x="4630" y="28333"/>
                  </a:lnTo>
                  <a:lnTo>
                    <a:pt x="4685" y="26429"/>
                  </a:lnTo>
                  <a:lnTo>
                    <a:pt x="4352" y="24606"/>
                  </a:lnTo>
                  <a:lnTo>
                    <a:pt x="2797" y="21923"/>
                  </a:lnTo>
                  <a:lnTo>
                    <a:pt x="3686" y="20263"/>
                  </a:lnTo>
                  <a:lnTo>
                    <a:pt x="5463" y="18933"/>
                  </a:lnTo>
                  <a:lnTo>
                    <a:pt x="7287" y="17881"/>
                  </a:lnTo>
                  <a:lnTo>
                    <a:pt x="7595" y="17434"/>
                  </a:lnTo>
                  <a:lnTo>
                    <a:pt x="7257" y="16523"/>
                  </a:lnTo>
                  <a:lnTo>
                    <a:pt x="6195" y="15537"/>
                  </a:lnTo>
                  <a:lnTo>
                    <a:pt x="3702" y="13862"/>
                  </a:lnTo>
                  <a:lnTo>
                    <a:pt x="2207" y="13753"/>
                  </a:lnTo>
                  <a:lnTo>
                    <a:pt x="2143" y="8926"/>
                  </a:lnTo>
                  <a:lnTo>
                    <a:pt x="2219" y="3805"/>
                  </a:lnTo>
                  <a:lnTo>
                    <a:pt x="2594" y="3296"/>
                  </a:lnTo>
                  <a:lnTo>
                    <a:pt x="3509" y="2990"/>
                  </a:lnTo>
                  <a:lnTo>
                    <a:pt x="4240" y="2211"/>
                  </a:lnTo>
                  <a:lnTo>
                    <a:pt x="4650" y="693"/>
                  </a:lnTo>
                  <a:lnTo>
                    <a:pt x="5738" y="156"/>
                  </a:lnTo>
                  <a:lnTo>
                    <a:pt x="7707" y="1325"/>
                  </a:lnTo>
                  <a:lnTo>
                    <a:pt x="9719" y="2354"/>
                  </a:lnTo>
                  <a:lnTo>
                    <a:pt x="10550" y="2012"/>
                  </a:lnTo>
                  <a:lnTo>
                    <a:pt x="11179" y="1512"/>
                  </a:lnTo>
                  <a:lnTo>
                    <a:pt x="11617" y="1015"/>
                  </a:lnTo>
                  <a:lnTo>
                    <a:pt x="11760" y="543"/>
                  </a:lnTo>
                  <a:lnTo>
                    <a:pt x="13363" y="1910"/>
                  </a:lnTo>
                  <a:lnTo>
                    <a:pt x="16648" y="4331"/>
                  </a:lnTo>
                  <a:lnTo>
                    <a:pt x="16841" y="5524"/>
                  </a:lnTo>
                  <a:lnTo>
                    <a:pt x="16531" y="6666"/>
                  </a:lnTo>
                  <a:lnTo>
                    <a:pt x="17435" y="9941"/>
                  </a:lnTo>
                  <a:lnTo>
                    <a:pt x="19141" y="10416"/>
                  </a:lnTo>
                  <a:lnTo>
                    <a:pt x="20856" y="9782"/>
                  </a:lnTo>
                  <a:lnTo>
                    <a:pt x="21280" y="10387"/>
                  </a:lnTo>
                  <a:lnTo>
                    <a:pt x="20961" y="10992"/>
                  </a:lnTo>
                  <a:lnTo>
                    <a:pt x="20081" y="11668"/>
                  </a:lnTo>
                  <a:lnTo>
                    <a:pt x="19859" y="14483"/>
                  </a:lnTo>
                  <a:lnTo>
                    <a:pt x="22670" y="15799"/>
                  </a:lnTo>
                  <a:lnTo>
                    <a:pt x="24076" y="16953"/>
                  </a:lnTo>
                  <a:lnTo>
                    <a:pt x="28735" y="16411"/>
                  </a:lnTo>
                  <a:lnTo>
                    <a:pt x="30451" y="16717"/>
                  </a:lnTo>
                  <a:lnTo>
                    <a:pt x="31623" y="16382"/>
                  </a:lnTo>
                  <a:lnTo>
                    <a:pt x="30323" y="14123"/>
                  </a:lnTo>
                  <a:lnTo>
                    <a:pt x="28582" y="12450"/>
                  </a:lnTo>
                  <a:lnTo>
                    <a:pt x="28726" y="11699"/>
                  </a:lnTo>
                  <a:lnTo>
                    <a:pt x="30047" y="12254"/>
                  </a:lnTo>
                  <a:lnTo>
                    <a:pt x="31056" y="13394"/>
                  </a:lnTo>
                  <a:lnTo>
                    <a:pt x="33348" y="14804"/>
                  </a:lnTo>
                  <a:lnTo>
                    <a:pt x="37571" y="19710"/>
                  </a:lnTo>
                  <a:lnTo>
                    <a:pt x="42411" y="20896"/>
                  </a:lnTo>
                  <a:lnTo>
                    <a:pt x="46240" y="20739"/>
                  </a:lnTo>
                  <a:lnTo>
                    <a:pt x="49807" y="20076"/>
                  </a:lnTo>
                  <a:lnTo>
                    <a:pt x="55497" y="18171"/>
                  </a:lnTo>
                  <a:lnTo>
                    <a:pt x="59610" y="14730"/>
                  </a:lnTo>
                  <a:lnTo>
                    <a:pt x="62897" y="13194"/>
                  </a:lnTo>
                  <a:lnTo>
                    <a:pt x="73541" y="9923"/>
                  </a:lnTo>
                  <a:lnTo>
                    <a:pt x="77321" y="6502"/>
                  </a:lnTo>
                  <a:lnTo>
                    <a:pt x="78917" y="6051"/>
                  </a:lnTo>
                  <a:lnTo>
                    <a:pt x="80438" y="5623"/>
                  </a:lnTo>
                  <a:lnTo>
                    <a:pt x="83784" y="3033"/>
                  </a:lnTo>
                  <a:lnTo>
                    <a:pt x="85581" y="1015"/>
                  </a:lnTo>
                  <a:close/>
                </a:path>
              </a:pathLst>
            </a:custGeom>
            <a:solidFill>
              <a:srgbClr val="007CBC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67" name="ee4p_PE_1_82333">
              <a:extLst>
                <a:ext uri="{FF2B5EF4-FFF2-40B4-BE49-F238E27FC236}">
                  <a16:creationId xmlns:a16="http://schemas.microsoft.com/office/drawing/2014/main" id="{46E23035-EAE5-EC2B-41A6-65A6A581EC21}"/>
                </a:ext>
              </a:extLst>
            </p:cNvPr>
            <p:cNvSpPr>
              <a:spLocks noChangeAspect="1"/>
            </p:cNvSpPr>
            <p:nvPr>
              <p:custDataLst>
                <p:tags r:id="rId195"/>
              </p:custDataLst>
            </p:nvPr>
          </p:nvSpPr>
          <p:spPr>
            <a:xfrm>
              <a:off x="4256035" y="4676974"/>
              <a:ext cx="351323" cy="527947"/>
            </a:xfrm>
            <a:custGeom>
              <a:avLst/>
              <a:gdLst/>
              <a:ahLst/>
              <a:cxnLst/>
              <a:rect l="0" t="0" r="0" b="0"/>
              <a:pathLst>
                <a:path w="279750" h="409249">
                  <a:moveTo>
                    <a:pt x="251431" y="92797"/>
                  </a:moveTo>
                  <a:lnTo>
                    <a:pt x="251296" y="94243"/>
                  </a:lnTo>
                  <a:lnTo>
                    <a:pt x="250590" y="94820"/>
                  </a:lnTo>
                  <a:lnTo>
                    <a:pt x="249498" y="94950"/>
                  </a:lnTo>
                  <a:lnTo>
                    <a:pt x="247829" y="93920"/>
                  </a:lnTo>
                  <a:lnTo>
                    <a:pt x="246609" y="94176"/>
                  </a:lnTo>
                  <a:lnTo>
                    <a:pt x="245389" y="94243"/>
                  </a:lnTo>
                  <a:lnTo>
                    <a:pt x="243670" y="93042"/>
                  </a:lnTo>
                  <a:lnTo>
                    <a:pt x="243078" y="91861"/>
                  </a:lnTo>
                  <a:lnTo>
                    <a:pt x="241730" y="90896"/>
                  </a:lnTo>
                  <a:lnTo>
                    <a:pt x="238943" y="91283"/>
                  </a:lnTo>
                  <a:lnTo>
                    <a:pt x="236646" y="91307"/>
                  </a:lnTo>
                  <a:lnTo>
                    <a:pt x="234722" y="91091"/>
                  </a:lnTo>
                  <a:lnTo>
                    <a:pt x="232998" y="91411"/>
                  </a:lnTo>
                  <a:lnTo>
                    <a:pt x="231528" y="92657"/>
                  </a:lnTo>
                  <a:lnTo>
                    <a:pt x="230431" y="94113"/>
                  </a:lnTo>
                  <a:lnTo>
                    <a:pt x="229147" y="95335"/>
                  </a:lnTo>
                  <a:lnTo>
                    <a:pt x="225376" y="96148"/>
                  </a:lnTo>
                  <a:lnTo>
                    <a:pt x="223369" y="96170"/>
                  </a:lnTo>
                  <a:lnTo>
                    <a:pt x="221560" y="96970"/>
                  </a:lnTo>
                  <a:lnTo>
                    <a:pt x="218874" y="97265"/>
                  </a:lnTo>
                  <a:lnTo>
                    <a:pt x="217037" y="97977"/>
                  </a:lnTo>
                  <a:lnTo>
                    <a:pt x="213786" y="98366"/>
                  </a:lnTo>
                  <a:lnTo>
                    <a:pt x="209886" y="98745"/>
                  </a:lnTo>
                  <a:lnTo>
                    <a:pt x="207710" y="99829"/>
                  </a:lnTo>
                  <a:lnTo>
                    <a:pt x="206842" y="100300"/>
                  </a:lnTo>
                  <a:lnTo>
                    <a:pt x="204628" y="101800"/>
                  </a:lnTo>
                  <a:lnTo>
                    <a:pt x="200775" y="104163"/>
                  </a:lnTo>
                  <a:lnTo>
                    <a:pt x="198651" y="104985"/>
                  </a:lnTo>
                  <a:lnTo>
                    <a:pt x="196082" y="107539"/>
                  </a:lnTo>
                  <a:lnTo>
                    <a:pt x="193001" y="109940"/>
                  </a:lnTo>
                  <a:lnTo>
                    <a:pt x="191003" y="111217"/>
                  </a:lnTo>
                  <a:lnTo>
                    <a:pt x="188057" y="111806"/>
                  </a:lnTo>
                  <a:lnTo>
                    <a:pt x="186838" y="112449"/>
                  </a:lnTo>
                  <a:lnTo>
                    <a:pt x="186387" y="113224"/>
                  </a:lnTo>
                  <a:lnTo>
                    <a:pt x="186645" y="114122"/>
                  </a:lnTo>
                  <a:lnTo>
                    <a:pt x="186148" y="116435"/>
                  </a:lnTo>
                  <a:lnTo>
                    <a:pt x="185249" y="120707"/>
                  </a:lnTo>
                  <a:lnTo>
                    <a:pt x="184999" y="122802"/>
                  </a:lnTo>
                  <a:lnTo>
                    <a:pt x="184786" y="123805"/>
                  </a:lnTo>
                  <a:lnTo>
                    <a:pt x="182836" y="127236"/>
                  </a:lnTo>
                  <a:lnTo>
                    <a:pt x="180739" y="130428"/>
                  </a:lnTo>
                  <a:lnTo>
                    <a:pt x="179711" y="132543"/>
                  </a:lnTo>
                  <a:lnTo>
                    <a:pt x="179132" y="134090"/>
                  </a:lnTo>
                  <a:lnTo>
                    <a:pt x="179775" y="135377"/>
                  </a:lnTo>
                  <a:lnTo>
                    <a:pt x="180632" y="137690"/>
                  </a:lnTo>
                  <a:lnTo>
                    <a:pt x="181348" y="139548"/>
                  </a:lnTo>
                  <a:lnTo>
                    <a:pt x="181548" y="140803"/>
                  </a:lnTo>
                  <a:lnTo>
                    <a:pt x="181304" y="142245"/>
                  </a:lnTo>
                  <a:lnTo>
                    <a:pt x="180417" y="143563"/>
                  </a:lnTo>
                  <a:lnTo>
                    <a:pt x="179027" y="144426"/>
                  </a:lnTo>
                  <a:lnTo>
                    <a:pt x="177144" y="144662"/>
                  </a:lnTo>
                  <a:lnTo>
                    <a:pt x="173287" y="146989"/>
                  </a:lnTo>
                  <a:lnTo>
                    <a:pt x="168983" y="150417"/>
                  </a:lnTo>
                  <a:lnTo>
                    <a:pt x="167578" y="152015"/>
                  </a:lnTo>
                  <a:lnTo>
                    <a:pt x="167176" y="153521"/>
                  </a:lnTo>
                  <a:lnTo>
                    <a:pt x="166549" y="155884"/>
                  </a:lnTo>
                  <a:lnTo>
                    <a:pt x="166806" y="157110"/>
                  </a:lnTo>
                  <a:lnTo>
                    <a:pt x="167576" y="157948"/>
                  </a:lnTo>
                  <a:lnTo>
                    <a:pt x="168346" y="159949"/>
                  </a:lnTo>
                  <a:lnTo>
                    <a:pt x="168411" y="160982"/>
                  </a:lnTo>
                  <a:lnTo>
                    <a:pt x="167769" y="161562"/>
                  </a:lnTo>
                  <a:lnTo>
                    <a:pt x="166549" y="161692"/>
                  </a:lnTo>
                  <a:lnTo>
                    <a:pt x="165457" y="161885"/>
                  </a:lnTo>
                  <a:lnTo>
                    <a:pt x="164623" y="162402"/>
                  </a:lnTo>
                  <a:lnTo>
                    <a:pt x="163789" y="162271"/>
                  </a:lnTo>
                  <a:lnTo>
                    <a:pt x="163018" y="162530"/>
                  </a:lnTo>
                  <a:lnTo>
                    <a:pt x="163018" y="163370"/>
                  </a:lnTo>
                  <a:lnTo>
                    <a:pt x="163275" y="164338"/>
                  </a:lnTo>
                  <a:lnTo>
                    <a:pt x="163147" y="165370"/>
                  </a:lnTo>
                  <a:lnTo>
                    <a:pt x="162633" y="166017"/>
                  </a:lnTo>
                  <a:lnTo>
                    <a:pt x="162183" y="166468"/>
                  </a:lnTo>
                  <a:lnTo>
                    <a:pt x="162633" y="167113"/>
                  </a:lnTo>
                  <a:lnTo>
                    <a:pt x="163403" y="167696"/>
                  </a:lnTo>
                  <a:lnTo>
                    <a:pt x="164559" y="168664"/>
                  </a:lnTo>
                  <a:lnTo>
                    <a:pt x="166163" y="170536"/>
                  </a:lnTo>
                  <a:lnTo>
                    <a:pt x="167383" y="170860"/>
                  </a:lnTo>
                  <a:lnTo>
                    <a:pt x="168411" y="171505"/>
                  </a:lnTo>
                  <a:lnTo>
                    <a:pt x="168540" y="172539"/>
                  </a:lnTo>
                  <a:lnTo>
                    <a:pt x="168154" y="173571"/>
                  </a:lnTo>
                  <a:lnTo>
                    <a:pt x="167255" y="174023"/>
                  </a:lnTo>
                  <a:lnTo>
                    <a:pt x="167191" y="174929"/>
                  </a:lnTo>
                  <a:lnTo>
                    <a:pt x="168411" y="176026"/>
                  </a:lnTo>
                  <a:lnTo>
                    <a:pt x="169246" y="176802"/>
                  </a:lnTo>
                  <a:lnTo>
                    <a:pt x="170080" y="177964"/>
                  </a:lnTo>
                  <a:lnTo>
                    <a:pt x="170850" y="179579"/>
                  </a:lnTo>
                  <a:lnTo>
                    <a:pt x="170850" y="180614"/>
                  </a:lnTo>
                  <a:lnTo>
                    <a:pt x="171685" y="181905"/>
                  </a:lnTo>
                  <a:lnTo>
                    <a:pt x="172199" y="183005"/>
                  </a:lnTo>
                  <a:lnTo>
                    <a:pt x="172199" y="184039"/>
                  </a:lnTo>
                  <a:lnTo>
                    <a:pt x="173547" y="185072"/>
                  </a:lnTo>
                  <a:lnTo>
                    <a:pt x="174702" y="185849"/>
                  </a:lnTo>
                  <a:lnTo>
                    <a:pt x="175537" y="186559"/>
                  </a:lnTo>
                  <a:lnTo>
                    <a:pt x="176372" y="187012"/>
                  </a:lnTo>
                  <a:lnTo>
                    <a:pt x="176564" y="187788"/>
                  </a:lnTo>
                  <a:lnTo>
                    <a:pt x="176453" y="188965"/>
                  </a:lnTo>
                  <a:lnTo>
                    <a:pt x="177653" y="190903"/>
                  </a:lnTo>
                  <a:lnTo>
                    <a:pt x="179849" y="192358"/>
                  </a:lnTo>
                  <a:lnTo>
                    <a:pt x="181631" y="194469"/>
                  </a:lnTo>
                  <a:lnTo>
                    <a:pt x="182782" y="196000"/>
                  </a:lnTo>
                  <a:lnTo>
                    <a:pt x="184915" y="198460"/>
                  </a:lnTo>
                  <a:lnTo>
                    <a:pt x="184996" y="201290"/>
                  </a:lnTo>
                  <a:lnTo>
                    <a:pt x="182354" y="204536"/>
                  </a:lnTo>
                  <a:lnTo>
                    <a:pt x="179710" y="207785"/>
                  </a:lnTo>
                  <a:lnTo>
                    <a:pt x="184036" y="207696"/>
                  </a:lnTo>
                  <a:lnTo>
                    <a:pt x="188448" y="207761"/>
                  </a:lnTo>
                  <a:lnTo>
                    <a:pt x="193065" y="208691"/>
                  </a:lnTo>
                  <a:lnTo>
                    <a:pt x="196177" y="209587"/>
                  </a:lnTo>
                  <a:lnTo>
                    <a:pt x="198072" y="209987"/>
                  </a:lnTo>
                  <a:lnTo>
                    <a:pt x="199420" y="211025"/>
                  </a:lnTo>
                  <a:lnTo>
                    <a:pt x="200062" y="212644"/>
                  </a:lnTo>
                  <a:lnTo>
                    <a:pt x="200575" y="213966"/>
                  </a:lnTo>
                  <a:lnTo>
                    <a:pt x="200705" y="215882"/>
                  </a:lnTo>
                  <a:lnTo>
                    <a:pt x="202631" y="217439"/>
                  </a:lnTo>
                  <a:lnTo>
                    <a:pt x="202493" y="218914"/>
                  </a:lnTo>
                  <a:lnTo>
                    <a:pt x="202438" y="221003"/>
                  </a:lnTo>
                  <a:lnTo>
                    <a:pt x="203292" y="221036"/>
                  </a:lnTo>
                  <a:lnTo>
                    <a:pt x="208942" y="221045"/>
                  </a:lnTo>
                  <a:lnTo>
                    <a:pt x="215121" y="221055"/>
                  </a:lnTo>
                  <a:lnTo>
                    <a:pt x="221060" y="220665"/>
                  </a:lnTo>
                  <a:lnTo>
                    <a:pt x="223304" y="220162"/>
                  </a:lnTo>
                  <a:lnTo>
                    <a:pt x="226016" y="217626"/>
                  </a:lnTo>
                  <a:lnTo>
                    <a:pt x="227642" y="216874"/>
                  </a:lnTo>
                  <a:lnTo>
                    <a:pt x="229212" y="215690"/>
                  </a:lnTo>
                  <a:lnTo>
                    <a:pt x="231119" y="213533"/>
                  </a:lnTo>
                  <a:lnTo>
                    <a:pt x="232628" y="212556"/>
                  </a:lnTo>
                  <a:lnTo>
                    <a:pt x="233905" y="211360"/>
                  </a:lnTo>
                  <a:lnTo>
                    <a:pt x="235808" y="210162"/>
                  </a:lnTo>
                  <a:lnTo>
                    <a:pt x="236594" y="209275"/>
                  </a:lnTo>
                  <a:lnTo>
                    <a:pt x="237235" y="208951"/>
                  </a:lnTo>
                  <a:lnTo>
                    <a:pt x="238712" y="208367"/>
                  </a:lnTo>
                  <a:lnTo>
                    <a:pt x="238070" y="209534"/>
                  </a:lnTo>
                  <a:lnTo>
                    <a:pt x="237582" y="210730"/>
                  </a:lnTo>
                  <a:lnTo>
                    <a:pt x="237428" y="212450"/>
                  </a:lnTo>
                  <a:lnTo>
                    <a:pt x="238134" y="214326"/>
                  </a:lnTo>
                  <a:lnTo>
                    <a:pt x="237547" y="215729"/>
                  </a:lnTo>
                  <a:lnTo>
                    <a:pt x="236594" y="216985"/>
                  </a:lnTo>
                  <a:lnTo>
                    <a:pt x="236579" y="220290"/>
                  </a:lnTo>
                  <a:lnTo>
                    <a:pt x="236558" y="224975"/>
                  </a:lnTo>
                  <a:lnTo>
                    <a:pt x="236540" y="228991"/>
                  </a:lnTo>
                  <a:lnTo>
                    <a:pt x="236518" y="234014"/>
                  </a:lnTo>
                  <a:lnTo>
                    <a:pt x="236491" y="239711"/>
                  </a:lnTo>
                  <a:lnTo>
                    <a:pt x="236474" y="243502"/>
                  </a:lnTo>
                  <a:lnTo>
                    <a:pt x="237487" y="242754"/>
                  </a:lnTo>
                  <a:lnTo>
                    <a:pt x="238886" y="242084"/>
                  </a:lnTo>
                  <a:lnTo>
                    <a:pt x="240707" y="243828"/>
                  </a:lnTo>
                  <a:lnTo>
                    <a:pt x="242003" y="244583"/>
                  </a:lnTo>
                  <a:lnTo>
                    <a:pt x="243115" y="244765"/>
                  </a:lnTo>
                  <a:lnTo>
                    <a:pt x="244256" y="244710"/>
                  </a:lnTo>
                  <a:lnTo>
                    <a:pt x="245811" y="244339"/>
                  </a:lnTo>
                  <a:lnTo>
                    <a:pt x="249211" y="242879"/>
                  </a:lnTo>
                  <a:lnTo>
                    <a:pt x="251554" y="241704"/>
                  </a:lnTo>
                  <a:lnTo>
                    <a:pt x="254220" y="241782"/>
                  </a:lnTo>
                  <a:lnTo>
                    <a:pt x="257885" y="242246"/>
                  </a:lnTo>
                  <a:lnTo>
                    <a:pt x="259995" y="242193"/>
                  </a:lnTo>
                  <a:lnTo>
                    <a:pt x="262759" y="247049"/>
                  </a:lnTo>
                  <a:lnTo>
                    <a:pt x="264784" y="250604"/>
                  </a:lnTo>
                  <a:lnTo>
                    <a:pt x="267091" y="254659"/>
                  </a:lnTo>
                  <a:lnTo>
                    <a:pt x="268948" y="257923"/>
                  </a:lnTo>
                  <a:lnTo>
                    <a:pt x="271768" y="262885"/>
                  </a:lnTo>
                  <a:lnTo>
                    <a:pt x="274204" y="267171"/>
                  </a:lnTo>
                  <a:lnTo>
                    <a:pt x="276798" y="271739"/>
                  </a:lnTo>
                  <a:lnTo>
                    <a:pt x="279749" y="276937"/>
                  </a:lnTo>
                  <a:lnTo>
                    <a:pt x="278801" y="278257"/>
                  </a:lnTo>
                  <a:lnTo>
                    <a:pt x="278032" y="279312"/>
                  </a:lnTo>
                  <a:lnTo>
                    <a:pt x="278117" y="281097"/>
                  </a:lnTo>
                  <a:lnTo>
                    <a:pt x="276951" y="282049"/>
                  </a:lnTo>
                  <a:lnTo>
                    <a:pt x="275715" y="282624"/>
                  </a:lnTo>
                  <a:lnTo>
                    <a:pt x="274254" y="284127"/>
                  </a:lnTo>
                  <a:lnTo>
                    <a:pt x="273262" y="285431"/>
                  </a:lnTo>
                  <a:lnTo>
                    <a:pt x="273220" y="287285"/>
                  </a:lnTo>
                  <a:lnTo>
                    <a:pt x="273403" y="296726"/>
                  </a:lnTo>
                  <a:lnTo>
                    <a:pt x="273156" y="299293"/>
                  </a:lnTo>
                  <a:lnTo>
                    <a:pt x="272402" y="301501"/>
                  </a:lnTo>
                  <a:lnTo>
                    <a:pt x="271621" y="302615"/>
                  </a:lnTo>
                  <a:lnTo>
                    <a:pt x="271150" y="303491"/>
                  </a:lnTo>
                  <a:lnTo>
                    <a:pt x="272280" y="305686"/>
                  </a:lnTo>
                  <a:lnTo>
                    <a:pt x="273358" y="310096"/>
                  </a:lnTo>
                  <a:lnTo>
                    <a:pt x="274172" y="310967"/>
                  </a:lnTo>
                  <a:lnTo>
                    <a:pt x="275184" y="312764"/>
                  </a:lnTo>
                  <a:lnTo>
                    <a:pt x="275644" y="314464"/>
                  </a:lnTo>
                  <a:lnTo>
                    <a:pt x="275436" y="315121"/>
                  </a:lnTo>
                  <a:lnTo>
                    <a:pt x="273413" y="315922"/>
                  </a:lnTo>
                  <a:lnTo>
                    <a:pt x="272690" y="316614"/>
                  </a:lnTo>
                  <a:lnTo>
                    <a:pt x="272499" y="319146"/>
                  </a:lnTo>
                  <a:lnTo>
                    <a:pt x="271622" y="320056"/>
                  </a:lnTo>
                  <a:lnTo>
                    <a:pt x="270142" y="321246"/>
                  </a:lnTo>
                  <a:lnTo>
                    <a:pt x="269192" y="322615"/>
                  </a:lnTo>
                  <a:lnTo>
                    <a:pt x="268383" y="323554"/>
                  </a:lnTo>
                  <a:lnTo>
                    <a:pt x="267595" y="324107"/>
                  </a:lnTo>
                  <a:lnTo>
                    <a:pt x="267210" y="325779"/>
                  </a:lnTo>
                  <a:lnTo>
                    <a:pt x="266686" y="327469"/>
                  </a:lnTo>
                  <a:lnTo>
                    <a:pt x="264841" y="328585"/>
                  </a:lnTo>
                  <a:lnTo>
                    <a:pt x="264525" y="330668"/>
                  </a:lnTo>
                  <a:lnTo>
                    <a:pt x="264504" y="332374"/>
                  </a:lnTo>
                  <a:lnTo>
                    <a:pt x="265477" y="334092"/>
                  </a:lnTo>
                  <a:lnTo>
                    <a:pt x="268652" y="337705"/>
                  </a:lnTo>
                  <a:lnTo>
                    <a:pt x="268976" y="338562"/>
                  </a:lnTo>
                  <a:lnTo>
                    <a:pt x="267166" y="340740"/>
                  </a:lnTo>
                  <a:lnTo>
                    <a:pt x="266114" y="342245"/>
                  </a:lnTo>
                  <a:lnTo>
                    <a:pt x="263535" y="346864"/>
                  </a:lnTo>
                  <a:lnTo>
                    <a:pt x="263482" y="347707"/>
                  </a:lnTo>
                  <a:lnTo>
                    <a:pt x="264124" y="349888"/>
                  </a:lnTo>
                  <a:lnTo>
                    <a:pt x="267978" y="359233"/>
                  </a:lnTo>
                  <a:lnTo>
                    <a:pt x="268633" y="359998"/>
                  </a:lnTo>
                  <a:lnTo>
                    <a:pt x="269822" y="360886"/>
                  </a:lnTo>
                  <a:lnTo>
                    <a:pt x="271767" y="360789"/>
                  </a:lnTo>
                  <a:lnTo>
                    <a:pt x="274703" y="361793"/>
                  </a:lnTo>
                  <a:lnTo>
                    <a:pt x="276132" y="362948"/>
                  </a:lnTo>
                  <a:lnTo>
                    <a:pt x="276266" y="363517"/>
                  </a:lnTo>
                  <a:lnTo>
                    <a:pt x="275934" y="363901"/>
                  </a:lnTo>
                  <a:lnTo>
                    <a:pt x="274381" y="364679"/>
                  </a:lnTo>
                  <a:lnTo>
                    <a:pt x="272651" y="365692"/>
                  </a:lnTo>
                  <a:lnTo>
                    <a:pt x="272062" y="366652"/>
                  </a:lnTo>
                  <a:lnTo>
                    <a:pt x="271941" y="368167"/>
                  </a:lnTo>
                  <a:lnTo>
                    <a:pt x="272332" y="370428"/>
                  </a:lnTo>
                  <a:lnTo>
                    <a:pt x="271583" y="371158"/>
                  </a:lnTo>
                  <a:lnTo>
                    <a:pt x="269859" y="372039"/>
                  </a:lnTo>
                  <a:lnTo>
                    <a:pt x="268371" y="373298"/>
                  </a:lnTo>
                  <a:lnTo>
                    <a:pt x="266880" y="375401"/>
                  </a:lnTo>
                  <a:lnTo>
                    <a:pt x="264353" y="378595"/>
                  </a:lnTo>
                  <a:lnTo>
                    <a:pt x="263478" y="379474"/>
                  </a:lnTo>
                  <a:lnTo>
                    <a:pt x="263097" y="380574"/>
                  </a:lnTo>
                  <a:lnTo>
                    <a:pt x="261660" y="380948"/>
                  </a:lnTo>
                  <a:lnTo>
                    <a:pt x="258972" y="383120"/>
                  </a:lnTo>
                  <a:lnTo>
                    <a:pt x="258511" y="384220"/>
                  </a:lnTo>
                  <a:lnTo>
                    <a:pt x="258950" y="385265"/>
                  </a:lnTo>
                  <a:lnTo>
                    <a:pt x="260322" y="386141"/>
                  </a:lnTo>
                  <a:lnTo>
                    <a:pt x="261248" y="387419"/>
                  </a:lnTo>
                  <a:lnTo>
                    <a:pt x="261490" y="389045"/>
                  </a:lnTo>
                  <a:lnTo>
                    <a:pt x="261488" y="390059"/>
                  </a:lnTo>
                  <a:lnTo>
                    <a:pt x="261491" y="390086"/>
                  </a:lnTo>
                  <a:lnTo>
                    <a:pt x="259822" y="391617"/>
                  </a:lnTo>
                  <a:lnTo>
                    <a:pt x="257648" y="393363"/>
                  </a:lnTo>
                  <a:lnTo>
                    <a:pt x="254965" y="393708"/>
                  </a:lnTo>
                  <a:lnTo>
                    <a:pt x="253948" y="394594"/>
                  </a:lnTo>
                  <a:lnTo>
                    <a:pt x="254182" y="396450"/>
                  </a:lnTo>
                  <a:lnTo>
                    <a:pt x="255046" y="399070"/>
                  </a:lnTo>
                  <a:lnTo>
                    <a:pt x="255042" y="401130"/>
                  </a:lnTo>
                  <a:lnTo>
                    <a:pt x="254222" y="403487"/>
                  </a:lnTo>
                  <a:lnTo>
                    <a:pt x="252305" y="406058"/>
                  </a:lnTo>
                  <a:lnTo>
                    <a:pt x="249371" y="407828"/>
                  </a:lnTo>
                  <a:lnTo>
                    <a:pt x="246613" y="408781"/>
                  </a:lnTo>
                  <a:lnTo>
                    <a:pt x="244436" y="408785"/>
                  </a:lnTo>
                  <a:lnTo>
                    <a:pt x="242330" y="408973"/>
                  </a:lnTo>
                  <a:lnTo>
                    <a:pt x="241429" y="409248"/>
                  </a:lnTo>
                  <a:lnTo>
                    <a:pt x="239807" y="407696"/>
                  </a:lnTo>
                  <a:lnTo>
                    <a:pt x="232601" y="402552"/>
                  </a:lnTo>
                  <a:lnTo>
                    <a:pt x="229854" y="399801"/>
                  </a:lnTo>
                  <a:lnTo>
                    <a:pt x="227314" y="398516"/>
                  </a:lnTo>
                  <a:lnTo>
                    <a:pt x="221114" y="394109"/>
                  </a:lnTo>
                  <a:lnTo>
                    <a:pt x="220496" y="392695"/>
                  </a:lnTo>
                  <a:lnTo>
                    <a:pt x="219733" y="388170"/>
                  </a:lnTo>
                  <a:lnTo>
                    <a:pt x="218927" y="386896"/>
                  </a:lnTo>
                  <a:lnTo>
                    <a:pt x="216796" y="385263"/>
                  </a:lnTo>
                  <a:lnTo>
                    <a:pt x="211440" y="383089"/>
                  </a:lnTo>
                  <a:lnTo>
                    <a:pt x="209364" y="382001"/>
                  </a:lnTo>
                  <a:lnTo>
                    <a:pt x="207185" y="380021"/>
                  </a:lnTo>
                  <a:lnTo>
                    <a:pt x="203992" y="378621"/>
                  </a:lnTo>
                  <a:lnTo>
                    <a:pt x="200514" y="375747"/>
                  </a:lnTo>
                  <a:lnTo>
                    <a:pt x="198437" y="373447"/>
                  </a:lnTo>
                  <a:lnTo>
                    <a:pt x="196112" y="371926"/>
                  </a:lnTo>
                  <a:lnTo>
                    <a:pt x="188897" y="369800"/>
                  </a:lnTo>
                  <a:lnTo>
                    <a:pt x="185276" y="367673"/>
                  </a:lnTo>
                  <a:lnTo>
                    <a:pt x="178508" y="364668"/>
                  </a:lnTo>
                  <a:lnTo>
                    <a:pt x="175495" y="362755"/>
                  </a:lnTo>
                  <a:lnTo>
                    <a:pt x="168250" y="360426"/>
                  </a:lnTo>
                  <a:lnTo>
                    <a:pt x="166099" y="359318"/>
                  </a:lnTo>
                  <a:lnTo>
                    <a:pt x="158977" y="353867"/>
                  </a:lnTo>
                  <a:lnTo>
                    <a:pt x="153983" y="352088"/>
                  </a:lnTo>
                  <a:lnTo>
                    <a:pt x="149959" y="349029"/>
                  </a:lnTo>
                  <a:lnTo>
                    <a:pt x="137812" y="342528"/>
                  </a:lnTo>
                  <a:lnTo>
                    <a:pt x="135904" y="340451"/>
                  </a:lnTo>
                  <a:lnTo>
                    <a:pt x="134046" y="337239"/>
                  </a:lnTo>
                  <a:lnTo>
                    <a:pt x="131347" y="335326"/>
                  </a:lnTo>
                  <a:lnTo>
                    <a:pt x="128317" y="330933"/>
                  </a:lnTo>
                  <a:lnTo>
                    <a:pt x="123805" y="328351"/>
                  </a:lnTo>
                  <a:lnTo>
                    <a:pt x="119467" y="324932"/>
                  </a:lnTo>
                  <a:lnTo>
                    <a:pt x="117865" y="321821"/>
                  </a:lnTo>
                  <a:lnTo>
                    <a:pt x="114987" y="317861"/>
                  </a:lnTo>
                  <a:lnTo>
                    <a:pt x="114132" y="315748"/>
                  </a:lnTo>
                  <a:lnTo>
                    <a:pt x="111614" y="313638"/>
                  </a:lnTo>
                  <a:lnTo>
                    <a:pt x="111437" y="309475"/>
                  </a:lnTo>
                  <a:lnTo>
                    <a:pt x="109680" y="307552"/>
                  </a:lnTo>
                  <a:lnTo>
                    <a:pt x="110940" y="306615"/>
                  </a:lnTo>
                  <a:lnTo>
                    <a:pt x="112272" y="306194"/>
                  </a:lnTo>
                  <a:lnTo>
                    <a:pt x="113937" y="299717"/>
                  </a:lnTo>
                  <a:lnTo>
                    <a:pt x="113060" y="296475"/>
                  </a:lnTo>
                  <a:lnTo>
                    <a:pt x="108555" y="290599"/>
                  </a:lnTo>
                  <a:lnTo>
                    <a:pt x="106901" y="287775"/>
                  </a:lnTo>
                  <a:lnTo>
                    <a:pt x="105728" y="284158"/>
                  </a:lnTo>
                  <a:lnTo>
                    <a:pt x="103917" y="282014"/>
                  </a:lnTo>
                  <a:lnTo>
                    <a:pt x="101243" y="277502"/>
                  </a:lnTo>
                  <a:lnTo>
                    <a:pt x="99604" y="273497"/>
                  </a:lnTo>
                  <a:lnTo>
                    <a:pt x="96023" y="270591"/>
                  </a:lnTo>
                  <a:lnTo>
                    <a:pt x="95049" y="269548"/>
                  </a:lnTo>
                  <a:lnTo>
                    <a:pt x="94506" y="268069"/>
                  </a:lnTo>
                  <a:lnTo>
                    <a:pt x="92515" y="267026"/>
                  </a:lnTo>
                  <a:lnTo>
                    <a:pt x="92407" y="263956"/>
                  </a:lnTo>
                  <a:lnTo>
                    <a:pt x="91021" y="258127"/>
                  </a:lnTo>
                  <a:lnTo>
                    <a:pt x="89040" y="255192"/>
                  </a:lnTo>
                  <a:lnTo>
                    <a:pt x="81891" y="249714"/>
                  </a:lnTo>
                  <a:lnTo>
                    <a:pt x="81772" y="247604"/>
                  </a:lnTo>
                  <a:lnTo>
                    <a:pt x="81203" y="243766"/>
                  </a:lnTo>
                  <a:lnTo>
                    <a:pt x="79616" y="239619"/>
                  </a:lnTo>
                  <a:lnTo>
                    <a:pt x="71670" y="226742"/>
                  </a:lnTo>
                  <a:lnTo>
                    <a:pt x="69676" y="222909"/>
                  </a:lnTo>
                  <a:lnTo>
                    <a:pt x="67687" y="216686"/>
                  </a:lnTo>
                  <a:lnTo>
                    <a:pt x="65898" y="213154"/>
                  </a:lnTo>
                  <a:lnTo>
                    <a:pt x="63926" y="206875"/>
                  </a:lnTo>
                  <a:lnTo>
                    <a:pt x="60953" y="202104"/>
                  </a:lnTo>
                  <a:lnTo>
                    <a:pt x="59085" y="197968"/>
                  </a:lnTo>
                  <a:lnTo>
                    <a:pt x="57095" y="192828"/>
                  </a:lnTo>
                  <a:lnTo>
                    <a:pt x="56925" y="190079"/>
                  </a:lnTo>
                  <a:lnTo>
                    <a:pt x="53318" y="185348"/>
                  </a:lnTo>
                  <a:lnTo>
                    <a:pt x="51397" y="181020"/>
                  </a:lnTo>
                  <a:lnTo>
                    <a:pt x="48033" y="177393"/>
                  </a:lnTo>
                  <a:lnTo>
                    <a:pt x="44751" y="174635"/>
                  </a:lnTo>
                  <a:lnTo>
                    <a:pt x="43327" y="172684"/>
                  </a:lnTo>
                  <a:lnTo>
                    <a:pt x="38647" y="163420"/>
                  </a:lnTo>
                  <a:lnTo>
                    <a:pt x="38009" y="160678"/>
                  </a:lnTo>
                  <a:lnTo>
                    <a:pt x="34820" y="155587"/>
                  </a:lnTo>
                  <a:lnTo>
                    <a:pt x="31664" y="151924"/>
                  </a:lnTo>
                  <a:lnTo>
                    <a:pt x="29667" y="148976"/>
                  </a:lnTo>
                  <a:lnTo>
                    <a:pt x="27118" y="146326"/>
                  </a:lnTo>
                  <a:lnTo>
                    <a:pt x="11609" y="138169"/>
                  </a:lnTo>
                  <a:lnTo>
                    <a:pt x="6152" y="134777"/>
                  </a:lnTo>
                  <a:lnTo>
                    <a:pt x="4303" y="133164"/>
                  </a:lnTo>
                  <a:lnTo>
                    <a:pt x="3452" y="130627"/>
                  </a:lnTo>
                  <a:lnTo>
                    <a:pt x="3811" y="129138"/>
                  </a:lnTo>
                  <a:lnTo>
                    <a:pt x="5413" y="127743"/>
                  </a:lnTo>
                  <a:lnTo>
                    <a:pt x="7629" y="128820"/>
                  </a:lnTo>
                  <a:lnTo>
                    <a:pt x="8977" y="128373"/>
                  </a:lnTo>
                  <a:lnTo>
                    <a:pt x="10037" y="126558"/>
                  </a:lnTo>
                  <a:lnTo>
                    <a:pt x="10055" y="123809"/>
                  </a:lnTo>
                  <a:lnTo>
                    <a:pt x="8702" y="120268"/>
                  </a:lnTo>
                  <a:lnTo>
                    <a:pt x="3736" y="113432"/>
                  </a:lnTo>
                  <a:lnTo>
                    <a:pt x="4111" y="111986"/>
                  </a:lnTo>
                  <a:lnTo>
                    <a:pt x="5045" y="110345"/>
                  </a:lnTo>
                  <a:lnTo>
                    <a:pt x="3131" y="107057"/>
                  </a:lnTo>
                  <a:lnTo>
                    <a:pt x="1045" y="104425"/>
                  </a:lnTo>
                  <a:lnTo>
                    <a:pt x="0" y="102404"/>
                  </a:lnTo>
                  <a:lnTo>
                    <a:pt x="1182" y="94710"/>
                  </a:lnTo>
                  <a:lnTo>
                    <a:pt x="2313" y="92761"/>
                  </a:lnTo>
                  <a:lnTo>
                    <a:pt x="9833" y="84951"/>
                  </a:lnTo>
                  <a:lnTo>
                    <a:pt x="11898" y="81616"/>
                  </a:lnTo>
                  <a:lnTo>
                    <a:pt x="15123" y="79560"/>
                  </a:lnTo>
                  <a:lnTo>
                    <a:pt x="18419" y="76414"/>
                  </a:lnTo>
                  <a:lnTo>
                    <a:pt x="22377" y="74019"/>
                  </a:lnTo>
                  <a:lnTo>
                    <a:pt x="22959" y="74429"/>
                  </a:lnTo>
                  <a:lnTo>
                    <a:pt x="23508" y="74831"/>
                  </a:lnTo>
                  <a:lnTo>
                    <a:pt x="23544" y="75638"/>
                  </a:lnTo>
                  <a:lnTo>
                    <a:pt x="23691" y="76334"/>
                  </a:lnTo>
                  <a:lnTo>
                    <a:pt x="24130" y="76991"/>
                  </a:lnTo>
                  <a:lnTo>
                    <a:pt x="24166" y="78200"/>
                  </a:lnTo>
                  <a:lnTo>
                    <a:pt x="24678" y="79006"/>
                  </a:lnTo>
                  <a:lnTo>
                    <a:pt x="24715" y="79921"/>
                  </a:lnTo>
                  <a:lnTo>
                    <a:pt x="24751" y="81166"/>
                  </a:lnTo>
                  <a:lnTo>
                    <a:pt x="24496" y="81789"/>
                  </a:lnTo>
                  <a:lnTo>
                    <a:pt x="24745" y="82870"/>
                  </a:lnTo>
                  <a:lnTo>
                    <a:pt x="25593" y="84864"/>
                  </a:lnTo>
                  <a:lnTo>
                    <a:pt x="25263" y="85487"/>
                  </a:lnTo>
                  <a:lnTo>
                    <a:pt x="24459" y="85889"/>
                  </a:lnTo>
                  <a:lnTo>
                    <a:pt x="23655" y="86438"/>
                  </a:lnTo>
                  <a:lnTo>
                    <a:pt x="22850" y="87684"/>
                  </a:lnTo>
                  <a:lnTo>
                    <a:pt x="21643" y="87647"/>
                  </a:lnTo>
                  <a:lnTo>
                    <a:pt x="19888" y="87098"/>
                  </a:lnTo>
                  <a:lnTo>
                    <a:pt x="18718" y="87795"/>
                  </a:lnTo>
                  <a:lnTo>
                    <a:pt x="18279" y="89112"/>
                  </a:lnTo>
                  <a:lnTo>
                    <a:pt x="18645" y="90210"/>
                  </a:lnTo>
                  <a:lnTo>
                    <a:pt x="18755" y="91238"/>
                  </a:lnTo>
                  <a:lnTo>
                    <a:pt x="19523" y="92116"/>
                  </a:lnTo>
                  <a:lnTo>
                    <a:pt x="21753" y="92190"/>
                  </a:lnTo>
                  <a:lnTo>
                    <a:pt x="19742" y="95010"/>
                  </a:lnTo>
                  <a:lnTo>
                    <a:pt x="18755" y="96291"/>
                  </a:lnTo>
                  <a:lnTo>
                    <a:pt x="18974" y="97098"/>
                  </a:lnTo>
                  <a:lnTo>
                    <a:pt x="20177" y="97793"/>
                  </a:lnTo>
                  <a:lnTo>
                    <a:pt x="21076" y="97842"/>
                  </a:lnTo>
                  <a:lnTo>
                    <a:pt x="23069" y="96804"/>
                  </a:lnTo>
                  <a:lnTo>
                    <a:pt x="24422" y="95303"/>
                  </a:lnTo>
                  <a:lnTo>
                    <a:pt x="25190" y="94461"/>
                  </a:lnTo>
                  <a:lnTo>
                    <a:pt x="26470" y="94130"/>
                  </a:lnTo>
                  <a:lnTo>
                    <a:pt x="28151" y="94827"/>
                  </a:lnTo>
                  <a:lnTo>
                    <a:pt x="30377" y="96218"/>
                  </a:lnTo>
                  <a:lnTo>
                    <a:pt x="32981" y="97449"/>
                  </a:lnTo>
                  <a:lnTo>
                    <a:pt x="34039" y="98124"/>
                  </a:lnTo>
                  <a:lnTo>
                    <a:pt x="35947" y="97929"/>
                  </a:lnTo>
                  <a:lnTo>
                    <a:pt x="37549" y="97648"/>
                  </a:lnTo>
                  <a:lnTo>
                    <a:pt x="38895" y="98660"/>
                  </a:lnTo>
                  <a:lnTo>
                    <a:pt x="40255" y="99515"/>
                  </a:lnTo>
                  <a:lnTo>
                    <a:pt x="40570" y="102427"/>
                  </a:lnTo>
                  <a:lnTo>
                    <a:pt x="41590" y="104546"/>
                  </a:lnTo>
                  <a:lnTo>
                    <a:pt x="42836" y="106182"/>
                  </a:lnTo>
                  <a:lnTo>
                    <a:pt x="44350" y="108128"/>
                  </a:lnTo>
                  <a:lnTo>
                    <a:pt x="45740" y="108788"/>
                  </a:lnTo>
                  <a:lnTo>
                    <a:pt x="47541" y="108801"/>
                  </a:lnTo>
                  <a:lnTo>
                    <a:pt x="49982" y="109520"/>
                  </a:lnTo>
                  <a:lnTo>
                    <a:pt x="50932" y="109044"/>
                  </a:lnTo>
                  <a:lnTo>
                    <a:pt x="51773" y="107689"/>
                  </a:lnTo>
                  <a:lnTo>
                    <a:pt x="52213" y="106918"/>
                  </a:lnTo>
                  <a:lnTo>
                    <a:pt x="53455" y="106589"/>
                  </a:lnTo>
                  <a:lnTo>
                    <a:pt x="53565" y="105708"/>
                  </a:lnTo>
                  <a:lnTo>
                    <a:pt x="53309" y="104646"/>
                  </a:lnTo>
                  <a:lnTo>
                    <a:pt x="53711" y="103399"/>
                  </a:lnTo>
                  <a:lnTo>
                    <a:pt x="54730" y="102304"/>
                  </a:lnTo>
                  <a:lnTo>
                    <a:pt x="57350" y="100701"/>
                  </a:lnTo>
                  <a:lnTo>
                    <a:pt x="58611" y="100030"/>
                  </a:lnTo>
                  <a:lnTo>
                    <a:pt x="58867" y="99039"/>
                  </a:lnTo>
                  <a:lnTo>
                    <a:pt x="59343" y="97721"/>
                  </a:lnTo>
                  <a:lnTo>
                    <a:pt x="59159" y="96988"/>
                  </a:lnTo>
                  <a:lnTo>
                    <a:pt x="58630" y="96077"/>
                  </a:lnTo>
                  <a:lnTo>
                    <a:pt x="58758" y="94790"/>
                  </a:lnTo>
                  <a:lnTo>
                    <a:pt x="59452" y="93068"/>
                  </a:lnTo>
                  <a:lnTo>
                    <a:pt x="60439" y="91056"/>
                  </a:lnTo>
                  <a:lnTo>
                    <a:pt x="61284" y="88493"/>
                  </a:lnTo>
                  <a:lnTo>
                    <a:pt x="61609" y="87282"/>
                  </a:lnTo>
                  <a:lnTo>
                    <a:pt x="62524" y="86512"/>
                  </a:lnTo>
                  <a:lnTo>
                    <a:pt x="62869" y="85402"/>
                  </a:lnTo>
                  <a:lnTo>
                    <a:pt x="63365" y="84096"/>
                  </a:lnTo>
                  <a:lnTo>
                    <a:pt x="64498" y="82630"/>
                  </a:lnTo>
                  <a:lnTo>
                    <a:pt x="64462" y="81056"/>
                  </a:lnTo>
                  <a:lnTo>
                    <a:pt x="64937" y="80360"/>
                  </a:lnTo>
                  <a:lnTo>
                    <a:pt x="64979" y="78600"/>
                  </a:lnTo>
                  <a:lnTo>
                    <a:pt x="66101" y="74978"/>
                  </a:lnTo>
                  <a:lnTo>
                    <a:pt x="66144" y="74228"/>
                  </a:lnTo>
                  <a:lnTo>
                    <a:pt x="66637" y="74027"/>
                  </a:lnTo>
                  <a:lnTo>
                    <a:pt x="67497" y="74265"/>
                  </a:lnTo>
                  <a:lnTo>
                    <a:pt x="68236" y="75086"/>
                  </a:lnTo>
                  <a:lnTo>
                    <a:pt x="68465" y="75893"/>
                  </a:lnTo>
                  <a:lnTo>
                    <a:pt x="68776" y="76260"/>
                  </a:lnTo>
                  <a:lnTo>
                    <a:pt x="69471" y="76187"/>
                  </a:lnTo>
                  <a:lnTo>
                    <a:pt x="70276" y="75729"/>
                  </a:lnTo>
                  <a:lnTo>
                    <a:pt x="70221" y="74998"/>
                  </a:lnTo>
                  <a:lnTo>
                    <a:pt x="69635" y="74282"/>
                  </a:lnTo>
                  <a:lnTo>
                    <a:pt x="69477" y="73854"/>
                  </a:lnTo>
                  <a:lnTo>
                    <a:pt x="69727" y="73184"/>
                  </a:lnTo>
                  <a:lnTo>
                    <a:pt x="70945" y="71716"/>
                  </a:lnTo>
                  <a:lnTo>
                    <a:pt x="72279" y="70011"/>
                  </a:lnTo>
                  <a:lnTo>
                    <a:pt x="75141" y="66473"/>
                  </a:lnTo>
                  <a:lnTo>
                    <a:pt x="76863" y="65027"/>
                  </a:lnTo>
                  <a:lnTo>
                    <a:pt x="81321" y="63494"/>
                  </a:lnTo>
                  <a:lnTo>
                    <a:pt x="84693" y="62334"/>
                  </a:lnTo>
                  <a:lnTo>
                    <a:pt x="87931" y="61221"/>
                  </a:lnTo>
                  <a:lnTo>
                    <a:pt x="92322" y="59628"/>
                  </a:lnTo>
                  <a:lnTo>
                    <a:pt x="98529" y="57377"/>
                  </a:lnTo>
                  <a:lnTo>
                    <a:pt x="102988" y="55754"/>
                  </a:lnTo>
                  <a:lnTo>
                    <a:pt x="106963" y="52872"/>
                  </a:lnTo>
                  <a:lnTo>
                    <a:pt x="110041" y="50638"/>
                  </a:lnTo>
                  <a:lnTo>
                    <a:pt x="112677" y="48704"/>
                  </a:lnTo>
                  <a:lnTo>
                    <a:pt x="116019" y="46252"/>
                  </a:lnTo>
                  <a:lnTo>
                    <a:pt x="120537" y="40951"/>
                  </a:lnTo>
                  <a:lnTo>
                    <a:pt x="123654" y="37293"/>
                  </a:lnTo>
                  <a:lnTo>
                    <a:pt x="125928" y="34621"/>
                  </a:lnTo>
                  <a:lnTo>
                    <a:pt x="127500" y="32939"/>
                  </a:lnTo>
                  <a:lnTo>
                    <a:pt x="128754" y="28185"/>
                  </a:lnTo>
                  <a:lnTo>
                    <a:pt x="130185" y="22764"/>
                  </a:lnTo>
                  <a:lnTo>
                    <a:pt x="130821" y="20354"/>
                  </a:lnTo>
                  <a:lnTo>
                    <a:pt x="131094" y="19517"/>
                  </a:lnTo>
                  <a:lnTo>
                    <a:pt x="131711" y="19868"/>
                  </a:lnTo>
                  <a:lnTo>
                    <a:pt x="132418" y="20456"/>
                  </a:lnTo>
                  <a:lnTo>
                    <a:pt x="133280" y="20484"/>
                  </a:lnTo>
                  <a:lnTo>
                    <a:pt x="134093" y="20456"/>
                  </a:lnTo>
                  <a:lnTo>
                    <a:pt x="134597" y="20125"/>
                  </a:lnTo>
                  <a:lnTo>
                    <a:pt x="133846" y="14714"/>
                  </a:lnTo>
                  <a:lnTo>
                    <a:pt x="133954" y="13537"/>
                  </a:lnTo>
                  <a:lnTo>
                    <a:pt x="134381" y="12127"/>
                  </a:lnTo>
                  <a:lnTo>
                    <a:pt x="134296" y="11358"/>
                  </a:lnTo>
                  <a:lnTo>
                    <a:pt x="132925" y="10278"/>
                  </a:lnTo>
                  <a:lnTo>
                    <a:pt x="130726" y="8119"/>
                  </a:lnTo>
                  <a:lnTo>
                    <a:pt x="129813" y="6193"/>
                  </a:lnTo>
                  <a:lnTo>
                    <a:pt x="129258" y="4569"/>
                  </a:lnTo>
                  <a:lnTo>
                    <a:pt x="127721" y="3502"/>
                  </a:lnTo>
                  <a:lnTo>
                    <a:pt x="126141" y="2563"/>
                  </a:lnTo>
                  <a:lnTo>
                    <a:pt x="126269" y="1794"/>
                  </a:lnTo>
                  <a:lnTo>
                    <a:pt x="127209" y="1794"/>
                  </a:lnTo>
                  <a:lnTo>
                    <a:pt x="129592" y="2552"/>
                  </a:lnTo>
                  <a:lnTo>
                    <a:pt x="131307" y="2306"/>
                  </a:lnTo>
                  <a:lnTo>
                    <a:pt x="132588" y="2221"/>
                  </a:lnTo>
                  <a:lnTo>
                    <a:pt x="133826" y="1433"/>
                  </a:lnTo>
                  <a:lnTo>
                    <a:pt x="135150" y="0"/>
                  </a:lnTo>
                  <a:lnTo>
                    <a:pt x="136046" y="0"/>
                  </a:lnTo>
                  <a:lnTo>
                    <a:pt x="137057" y="194"/>
                  </a:lnTo>
                  <a:lnTo>
                    <a:pt x="138907" y="1658"/>
                  </a:lnTo>
                  <a:lnTo>
                    <a:pt x="140006" y="2524"/>
                  </a:lnTo>
                  <a:lnTo>
                    <a:pt x="141326" y="3238"/>
                  </a:lnTo>
                  <a:lnTo>
                    <a:pt x="142575" y="3487"/>
                  </a:lnTo>
                  <a:lnTo>
                    <a:pt x="143710" y="3573"/>
                  </a:lnTo>
                  <a:lnTo>
                    <a:pt x="144500" y="3502"/>
                  </a:lnTo>
                  <a:lnTo>
                    <a:pt x="144971" y="4485"/>
                  </a:lnTo>
                  <a:lnTo>
                    <a:pt x="145526" y="5681"/>
                  </a:lnTo>
                  <a:lnTo>
                    <a:pt x="146935" y="6491"/>
                  </a:lnTo>
                  <a:lnTo>
                    <a:pt x="148600" y="7259"/>
                  </a:lnTo>
                  <a:lnTo>
                    <a:pt x="149955" y="8583"/>
                  </a:lnTo>
                  <a:lnTo>
                    <a:pt x="150866" y="9473"/>
                  </a:lnTo>
                  <a:lnTo>
                    <a:pt x="151943" y="10524"/>
                  </a:lnTo>
                  <a:lnTo>
                    <a:pt x="152989" y="11917"/>
                  </a:lnTo>
                  <a:lnTo>
                    <a:pt x="153939" y="14366"/>
                  </a:lnTo>
                  <a:lnTo>
                    <a:pt x="154420" y="16029"/>
                  </a:lnTo>
                  <a:lnTo>
                    <a:pt x="154963" y="16953"/>
                  </a:lnTo>
                  <a:lnTo>
                    <a:pt x="154834" y="17892"/>
                  </a:lnTo>
                  <a:lnTo>
                    <a:pt x="155951" y="19594"/>
                  </a:lnTo>
                  <a:lnTo>
                    <a:pt x="156781" y="20540"/>
                  </a:lnTo>
                  <a:lnTo>
                    <a:pt x="158232" y="21140"/>
                  </a:lnTo>
                  <a:lnTo>
                    <a:pt x="161026" y="21823"/>
                  </a:lnTo>
                  <a:lnTo>
                    <a:pt x="162520" y="23361"/>
                  </a:lnTo>
                  <a:lnTo>
                    <a:pt x="163844" y="23959"/>
                  </a:lnTo>
                  <a:lnTo>
                    <a:pt x="165254" y="25539"/>
                  </a:lnTo>
                  <a:lnTo>
                    <a:pt x="166493" y="26010"/>
                  </a:lnTo>
                  <a:lnTo>
                    <a:pt x="168072" y="25926"/>
                  </a:lnTo>
                  <a:lnTo>
                    <a:pt x="169652" y="26693"/>
                  </a:lnTo>
                  <a:lnTo>
                    <a:pt x="170847" y="28187"/>
                  </a:lnTo>
                  <a:lnTo>
                    <a:pt x="171616" y="30066"/>
                  </a:lnTo>
                  <a:lnTo>
                    <a:pt x="172812" y="31136"/>
                  </a:lnTo>
                  <a:lnTo>
                    <a:pt x="173410" y="33058"/>
                  </a:lnTo>
                  <a:lnTo>
                    <a:pt x="172727" y="35319"/>
                  </a:lnTo>
                  <a:lnTo>
                    <a:pt x="173367" y="36518"/>
                  </a:lnTo>
                  <a:lnTo>
                    <a:pt x="174605" y="37499"/>
                  </a:lnTo>
                  <a:lnTo>
                    <a:pt x="176613" y="38527"/>
                  </a:lnTo>
                  <a:lnTo>
                    <a:pt x="178449" y="38270"/>
                  </a:lnTo>
                  <a:lnTo>
                    <a:pt x="179388" y="38611"/>
                  </a:lnTo>
                  <a:lnTo>
                    <a:pt x="179985" y="39553"/>
                  </a:lnTo>
                  <a:lnTo>
                    <a:pt x="180328" y="40661"/>
                  </a:lnTo>
                  <a:lnTo>
                    <a:pt x="181130" y="43381"/>
                  </a:lnTo>
                  <a:lnTo>
                    <a:pt x="181543" y="45100"/>
                  </a:lnTo>
                  <a:lnTo>
                    <a:pt x="180799" y="46766"/>
                  </a:lnTo>
                  <a:lnTo>
                    <a:pt x="180523" y="47917"/>
                  </a:lnTo>
                  <a:lnTo>
                    <a:pt x="180925" y="49462"/>
                  </a:lnTo>
                  <a:lnTo>
                    <a:pt x="182834" y="50210"/>
                  </a:lnTo>
                  <a:lnTo>
                    <a:pt x="184570" y="50823"/>
                  </a:lnTo>
                  <a:lnTo>
                    <a:pt x="185643" y="52024"/>
                  </a:lnTo>
                  <a:lnTo>
                    <a:pt x="186836" y="52344"/>
                  </a:lnTo>
                  <a:lnTo>
                    <a:pt x="188515" y="52277"/>
                  </a:lnTo>
                  <a:lnTo>
                    <a:pt x="190662" y="51984"/>
                  </a:lnTo>
                  <a:lnTo>
                    <a:pt x="191856" y="51294"/>
                  </a:lnTo>
                  <a:lnTo>
                    <a:pt x="192626" y="51087"/>
                  </a:lnTo>
                  <a:lnTo>
                    <a:pt x="193480" y="51385"/>
                  </a:lnTo>
                  <a:lnTo>
                    <a:pt x="195382" y="52046"/>
                  </a:lnTo>
                  <a:lnTo>
                    <a:pt x="197705" y="52796"/>
                  </a:lnTo>
                  <a:lnTo>
                    <a:pt x="199803" y="52361"/>
                  </a:lnTo>
                  <a:lnTo>
                    <a:pt x="201622" y="52167"/>
                  </a:lnTo>
                  <a:lnTo>
                    <a:pt x="203428" y="51729"/>
                  </a:lnTo>
                  <a:lnTo>
                    <a:pt x="205263" y="50488"/>
                  </a:lnTo>
                  <a:lnTo>
                    <a:pt x="206801" y="50531"/>
                  </a:lnTo>
                  <a:lnTo>
                    <a:pt x="207946" y="49693"/>
                  </a:lnTo>
                  <a:lnTo>
                    <a:pt x="209388" y="48345"/>
                  </a:lnTo>
                  <a:lnTo>
                    <a:pt x="210815" y="46986"/>
                  </a:lnTo>
                  <a:lnTo>
                    <a:pt x="211925" y="46686"/>
                  </a:lnTo>
                  <a:lnTo>
                    <a:pt x="213717" y="47336"/>
                  </a:lnTo>
                  <a:lnTo>
                    <a:pt x="216194" y="48268"/>
                  </a:lnTo>
                  <a:lnTo>
                    <a:pt x="217596" y="49484"/>
                  </a:lnTo>
                  <a:lnTo>
                    <a:pt x="218671" y="49805"/>
                  </a:lnTo>
                  <a:lnTo>
                    <a:pt x="219787" y="50698"/>
                  </a:lnTo>
                  <a:lnTo>
                    <a:pt x="221930" y="50715"/>
                  </a:lnTo>
                  <a:lnTo>
                    <a:pt x="224223" y="50233"/>
                  </a:lnTo>
                  <a:lnTo>
                    <a:pt x="226058" y="48736"/>
                  </a:lnTo>
                  <a:lnTo>
                    <a:pt x="227962" y="48302"/>
                  </a:lnTo>
                  <a:lnTo>
                    <a:pt x="229261" y="47883"/>
                  </a:lnTo>
                  <a:lnTo>
                    <a:pt x="230455" y="48142"/>
                  </a:lnTo>
                  <a:lnTo>
                    <a:pt x="235080" y="50873"/>
                  </a:lnTo>
                  <a:lnTo>
                    <a:pt x="236349" y="52284"/>
                  </a:lnTo>
                  <a:lnTo>
                    <a:pt x="237943" y="52560"/>
                  </a:lnTo>
                  <a:lnTo>
                    <a:pt x="239250" y="53332"/>
                  </a:lnTo>
                  <a:lnTo>
                    <a:pt x="241430" y="54164"/>
                  </a:lnTo>
                  <a:lnTo>
                    <a:pt x="242625" y="55017"/>
                  </a:lnTo>
                  <a:lnTo>
                    <a:pt x="244162" y="55531"/>
                  </a:lnTo>
                  <a:lnTo>
                    <a:pt x="245272" y="56726"/>
                  </a:lnTo>
                  <a:lnTo>
                    <a:pt x="247034" y="57463"/>
                  </a:lnTo>
                  <a:lnTo>
                    <a:pt x="248558" y="57869"/>
                  </a:lnTo>
                  <a:lnTo>
                    <a:pt x="249246" y="58831"/>
                  </a:lnTo>
                  <a:lnTo>
                    <a:pt x="249252" y="59475"/>
                  </a:lnTo>
                  <a:lnTo>
                    <a:pt x="249040" y="59905"/>
                  </a:lnTo>
                  <a:lnTo>
                    <a:pt x="247425" y="62425"/>
                  </a:lnTo>
                  <a:lnTo>
                    <a:pt x="244262" y="67365"/>
                  </a:lnTo>
                  <a:lnTo>
                    <a:pt x="241412" y="71814"/>
                  </a:lnTo>
                  <a:lnTo>
                    <a:pt x="236931" y="78816"/>
                  </a:lnTo>
                  <a:lnTo>
                    <a:pt x="234423" y="82734"/>
                  </a:lnTo>
                  <a:lnTo>
                    <a:pt x="235062" y="82898"/>
                  </a:lnTo>
                  <a:lnTo>
                    <a:pt x="238965" y="84613"/>
                  </a:lnTo>
                  <a:lnTo>
                    <a:pt x="239934" y="84678"/>
                  </a:lnTo>
                  <a:lnTo>
                    <a:pt x="241366" y="84241"/>
                  </a:lnTo>
                  <a:lnTo>
                    <a:pt x="242292" y="83558"/>
                  </a:lnTo>
                  <a:lnTo>
                    <a:pt x="243170" y="83461"/>
                  </a:lnTo>
                  <a:lnTo>
                    <a:pt x="244078" y="84122"/>
                  </a:lnTo>
                  <a:lnTo>
                    <a:pt x="245364" y="84974"/>
                  </a:lnTo>
                  <a:lnTo>
                    <a:pt x="246290" y="87464"/>
                  </a:lnTo>
                  <a:lnTo>
                    <a:pt x="246973" y="88683"/>
                  </a:lnTo>
                  <a:lnTo>
                    <a:pt x="248582" y="89613"/>
                  </a:lnTo>
                  <a:lnTo>
                    <a:pt x="250297" y="91160"/>
                  </a:lnTo>
                  <a:close/>
                </a:path>
              </a:pathLst>
            </a:custGeom>
            <a:solidFill>
              <a:srgbClr val="007CBC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68" name="ee4p_PY_1_82333">
              <a:extLst>
                <a:ext uri="{FF2B5EF4-FFF2-40B4-BE49-F238E27FC236}">
                  <a16:creationId xmlns:a16="http://schemas.microsoft.com/office/drawing/2014/main" id="{A6258BCE-CD9A-EEF6-CAA1-3652FDB04E4C}"/>
                </a:ext>
              </a:extLst>
            </p:cNvPr>
            <p:cNvSpPr>
              <a:spLocks noChangeAspect="1"/>
            </p:cNvSpPr>
            <p:nvPr>
              <p:custDataLst>
                <p:tags r:id="rId196"/>
              </p:custDataLst>
            </p:nvPr>
          </p:nvSpPr>
          <p:spPr>
            <a:xfrm>
              <a:off x="4775152" y="5232834"/>
              <a:ext cx="233518" cy="249204"/>
            </a:xfrm>
            <a:custGeom>
              <a:avLst/>
              <a:gdLst/>
              <a:ahLst/>
              <a:cxnLst/>
              <a:rect l="0" t="0" r="0" b="0"/>
              <a:pathLst>
                <a:path w="185945" h="193176">
                  <a:moveTo>
                    <a:pt x="99310" y="20184"/>
                  </a:moveTo>
                  <a:lnTo>
                    <a:pt x="99796" y="21857"/>
                  </a:lnTo>
                  <a:lnTo>
                    <a:pt x="100087" y="23151"/>
                  </a:lnTo>
                  <a:lnTo>
                    <a:pt x="100819" y="24066"/>
                  </a:lnTo>
                  <a:lnTo>
                    <a:pt x="101550" y="25285"/>
                  </a:lnTo>
                  <a:lnTo>
                    <a:pt x="102281" y="25969"/>
                  </a:lnTo>
                  <a:lnTo>
                    <a:pt x="102793" y="27112"/>
                  </a:lnTo>
                  <a:lnTo>
                    <a:pt x="102647" y="28409"/>
                  </a:lnTo>
                  <a:lnTo>
                    <a:pt x="102940" y="30086"/>
                  </a:lnTo>
                  <a:lnTo>
                    <a:pt x="103306" y="31536"/>
                  </a:lnTo>
                  <a:lnTo>
                    <a:pt x="103672" y="31917"/>
                  </a:lnTo>
                  <a:lnTo>
                    <a:pt x="104719" y="32298"/>
                  </a:lnTo>
                  <a:lnTo>
                    <a:pt x="105244" y="33616"/>
                  </a:lnTo>
                  <a:lnTo>
                    <a:pt x="104866" y="34283"/>
                  </a:lnTo>
                  <a:lnTo>
                    <a:pt x="105012" y="35045"/>
                  </a:lnTo>
                  <a:lnTo>
                    <a:pt x="105390" y="35791"/>
                  </a:lnTo>
                  <a:lnTo>
                    <a:pt x="105043" y="36514"/>
                  </a:lnTo>
                  <a:lnTo>
                    <a:pt x="105226" y="37069"/>
                  </a:lnTo>
                  <a:lnTo>
                    <a:pt x="105938" y="37565"/>
                  </a:lnTo>
                  <a:lnTo>
                    <a:pt x="106597" y="39399"/>
                  </a:lnTo>
                  <a:lnTo>
                    <a:pt x="106669" y="42533"/>
                  </a:lnTo>
                  <a:lnTo>
                    <a:pt x="105938" y="44212"/>
                  </a:lnTo>
                  <a:lnTo>
                    <a:pt x="105353" y="45589"/>
                  </a:lnTo>
                  <a:lnTo>
                    <a:pt x="105207" y="46432"/>
                  </a:lnTo>
                  <a:lnTo>
                    <a:pt x="105645" y="47654"/>
                  </a:lnTo>
                  <a:lnTo>
                    <a:pt x="104914" y="49109"/>
                  </a:lnTo>
                  <a:lnTo>
                    <a:pt x="104037" y="50869"/>
                  </a:lnTo>
                  <a:lnTo>
                    <a:pt x="104256" y="52095"/>
                  </a:lnTo>
                  <a:lnTo>
                    <a:pt x="104403" y="53243"/>
                  </a:lnTo>
                  <a:lnTo>
                    <a:pt x="104475" y="54469"/>
                  </a:lnTo>
                  <a:lnTo>
                    <a:pt x="104695" y="55618"/>
                  </a:lnTo>
                  <a:lnTo>
                    <a:pt x="104403" y="56843"/>
                  </a:lnTo>
                  <a:lnTo>
                    <a:pt x="104110" y="57917"/>
                  </a:lnTo>
                  <a:lnTo>
                    <a:pt x="103963" y="59142"/>
                  </a:lnTo>
                  <a:lnTo>
                    <a:pt x="104329" y="60523"/>
                  </a:lnTo>
                  <a:lnTo>
                    <a:pt x="103672" y="61828"/>
                  </a:lnTo>
                  <a:lnTo>
                    <a:pt x="103306" y="62748"/>
                  </a:lnTo>
                  <a:lnTo>
                    <a:pt x="103159" y="63670"/>
                  </a:lnTo>
                  <a:lnTo>
                    <a:pt x="103818" y="65127"/>
                  </a:lnTo>
                  <a:lnTo>
                    <a:pt x="105500" y="65741"/>
                  </a:lnTo>
                  <a:lnTo>
                    <a:pt x="106816" y="65895"/>
                  </a:lnTo>
                  <a:lnTo>
                    <a:pt x="108060" y="65127"/>
                  </a:lnTo>
                  <a:lnTo>
                    <a:pt x="109010" y="64896"/>
                  </a:lnTo>
                  <a:lnTo>
                    <a:pt x="110765" y="65587"/>
                  </a:lnTo>
                  <a:lnTo>
                    <a:pt x="112374" y="66816"/>
                  </a:lnTo>
                  <a:lnTo>
                    <a:pt x="114421" y="66970"/>
                  </a:lnTo>
                  <a:lnTo>
                    <a:pt x="116250" y="67199"/>
                  </a:lnTo>
                  <a:lnTo>
                    <a:pt x="117639" y="67584"/>
                  </a:lnTo>
                  <a:lnTo>
                    <a:pt x="119687" y="67124"/>
                  </a:lnTo>
                  <a:lnTo>
                    <a:pt x="121808" y="67584"/>
                  </a:lnTo>
                  <a:lnTo>
                    <a:pt x="124294" y="68276"/>
                  </a:lnTo>
                  <a:lnTo>
                    <a:pt x="126342" y="68891"/>
                  </a:lnTo>
                  <a:lnTo>
                    <a:pt x="128389" y="68737"/>
                  </a:lnTo>
                  <a:lnTo>
                    <a:pt x="129926" y="68659"/>
                  </a:lnTo>
                  <a:lnTo>
                    <a:pt x="131535" y="67968"/>
                  </a:lnTo>
                  <a:lnTo>
                    <a:pt x="133070" y="68045"/>
                  </a:lnTo>
                  <a:lnTo>
                    <a:pt x="134240" y="66816"/>
                  </a:lnTo>
                  <a:lnTo>
                    <a:pt x="134899" y="65741"/>
                  </a:lnTo>
                  <a:lnTo>
                    <a:pt x="135484" y="64973"/>
                  </a:lnTo>
                  <a:lnTo>
                    <a:pt x="137165" y="64361"/>
                  </a:lnTo>
                  <a:lnTo>
                    <a:pt x="138335" y="64744"/>
                  </a:lnTo>
                  <a:lnTo>
                    <a:pt x="139286" y="66739"/>
                  </a:lnTo>
                  <a:lnTo>
                    <a:pt x="140969" y="67890"/>
                  </a:lnTo>
                  <a:lnTo>
                    <a:pt x="141626" y="68737"/>
                  </a:lnTo>
                  <a:lnTo>
                    <a:pt x="142869" y="69120"/>
                  </a:lnTo>
                  <a:lnTo>
                    <a:pt x="145575" y="69197"/>
                  </a:lnTo>
                  <a:lnTo>
                    <a:pt x="147257" y="69120"/>
                  </a:lnTo>
                  <a:lnTo>
                    <a:pt x="149159" y="69735"/>
                  </a:lnTo>
                  <a:lnTo>
                    <a:pt x="150402" y="69735"/>
                  </a:lnTo>
                  <a:lnTo>
                    <a:pt x="151499" y="70810"/>
                  </a:lnTo>
                  <a:lnTo>
                    <a:pt x="152522" y="72117"/>
                  </a:lnTo>
                  <a:lnTo>
                    <a:pt x="152669" y="74501"/>
                  </a:lnTo>
                  <a:lnTo>
                    <a:pt x="153620" y="76347"/>
                  </a:lnTo>
                  <a:lnTo>
                    <a:pt x="154863" y="77040"/>
                  </a:lnTo>
                  <a:lnTo>
                    <a:pt x="155521" y="78194"/>
                  </a:lnTo>
                  <a:lnTo>
                    <a:pt x="155302" y="79810"/>
                  </a:lnTo>
                  <a:lnTo>
                    <a:pt x="154716" y="81426"/>
                  </a:lnTo>
                  <a:lnTo>
                    <a:pt x="154790" y="83198"/>
                  </a:lnTo>
                  <a:lnTo>
                    <a:pt x="155447" y="84815"/>
                  </a:lnTo>
                  <a:lnTo>
                    <a:pt x="155447" y="86434"/>
                  </a:lnTo>
                  <a:lnTo>
                    <a:pt x="155887" y="88052"/>
                  </a:lnTo>
                  <a:lnTo>
                    <a:pt x="156765" y="89441"/>
                  </a:lnTo>
                  <a:lnTo>
                    <a:pt x="157057" y="91678"/>
                  </a:lnTo>
                  <a:lnTo>
                    <a:pt x="156910" y="93298"/>
                  </a:lnTo>
                  <a:lnTo>
                    <a:pt x="157496" y="94226"/>
                  </a:lnTo>
                  <a:lnTo>
                    <a:pt x="157715" y="95539"/>
                  </a:lnTo>
                  <a:lnTo>
                    <a:pt x="157350" y="96620"/>
                  </a:lnTo>
                  <a:lnTo>
                    <a:pt x="157203" y="98086"/>
                  </a:lnTo>
                  <a:lnTo>
                    <a:pt x="157276" y="99401"/>
                  </a:lnTo>
                  <a:lnTo>
                    <a:pt x="157715" y="100482"/>
                  </a:lnTo>
                  <a:lnTo>
                    <a:pt x="159032" y="101872"/>
                  </a:lnTo>
                  <a:lnTo>
                    <a:pt x="159397" y="104348"/>
                  </a:lnTo>
                  <a:lnTo>
                    <a:pt x="159397" y="106050"/>
                  </a:lnTo>
                  <a:lnTo>
                    <a:pt x="159982" y="108064"/>
                  </a:lnTo>
                  <a:lnTo>
                    <a:pt x="161079" y="108992"/>
                  </a:lnTo>
                  <a:lnTo>
                    <a:pt x="162835" y="109303"/>
                  </a:lnTo>
                  <a:lnTo>
                    <a:pt x="164882" y="109612"/>
                  </a:lnTo>
                  <a:lnTo>
                    <a:pt x="167368" y="109148"/>
                  </a:lnTo>
                  <a:lnTo>
                    <a:pt x="169562" y="108606"/>
                  </a:lnTo>
                  <a:lnTo>
                    <a:pt x="170805" y="108064"/>
                  </a:lnTo>
                  <a:lnTo>
                    <a:pt x="173219" y="106592"/>
                  </a:lnTo>
                  <a:lnTo>
                    <a:pt x="175340" y="105742"/>
                  </a:lnTo>
                  <a:lnTo>
                    <a:pt x="176437" y="105200"/>
                  </a:lnTo>
                  <a:lnTo>
                    <a:pt x="177460" y="104814"/>
                  </a:lnTo>
                  <a:lnTo>
                    <a:pt x="179581" y="105742"/>
                  </a:lnTo>
                  <a:lnTo>
                    <a:pt x="181557" y="106903"/>
                  </a:lnTo>
                  <a:lnTo>
                    <a:pt x="183092" y="108528"/>
                  </a:lnTo>
                  <a:lnTo>
                    <a:pt x="185944" y="110309"/>
                  </a:lnTo>
                  <a:lnTo>
                    <a:pt x="185389" y="110744"/>
                  </a:lnTo>
                  <a:lnTo>
                    <a:pt x="184254" y="112203"/>
                  </a:lnTo>
                  <a:lnTo>
                    <a:pt x="184275" y="113917"/>
                  </a:lnTo>
                  <a:lnTo>
                    <a:pt x="185077" y="116374"/>
                  </a:lnTo>
                  <a:lnTo>
                    <a:pt x="184371" y="121584"/>
                  </a:lnTo>
                  <a:lnTo>
                    <a:pt x="182159" y="129558"/>
                  </a:lnTo>
                  <a:lnTo>
                    <a:pt x="181250" y="134210"/>
                  </a:lnTo>
                  <a:lnTo>
                    <a:pt x="181645" y="135530"/>
                  </a:lnTo>
                  <a:lnTo>
                    <a:pt x="180829" y="137859"/>
                  </a:lnTo>
                  <a:lnTo>
                    <a:pt x="177791" y="142868"/>
                  </a:lnTo>
                  <a:lnTo>
                    <a:pt x="177673" y="146250"/>
                  </a:lnTo>
                  <a:lnTo>
                    <a:pt x="177318" y="156403"/>
                  </a:lnTo>
                  <a:lnTo>
                    <a:pt x="176305" y="163577"/>
                  </a:lnTo>
                  <a:lnTo>
                    <a:pt x="174595" y="168890"/>
                  </a:lnTo>
                  <a:lnTo>
                    <a:pt x="173038" y="171722"/>
                  </a:lnTo>
                  <a:lnTo>
                    <a:pt x="171635" y="172067"/>
                  </a:lnTo>
                  <a:lnTo>
                    <a:pt x="170628" y="172916"/>
                  </a:lnTo>
                  <a:lnTo>
                    <a:pt x="170016" y="174265"/>
                  </a:lnTo>
                  <a:lnTo>
                    <a:pt x="168878" y="175388"/>
                  </a:lnTo>
                  <a:lnTo>
                    <a:pt x="167214" y="176288"/>
                  </a:lnTo>
                  <a:lnTo>
                    <a:pt x="166312" y="177275"/>
                  </a:lnTo>
                  <a:lnTo>
                    <a:pt x="166173" y="178347"/>
                  </a:lnTo>
                  <a:lnTo>
                    <a:pt x="164579" y="179037"/>
                  </a:lnTo>
                  <a:lnTo>
                    <a:pt x="161533" y="179346"/>
                  </a:lnTo>
                  <a:lnTo>
                    <a:pt x="159745" y="180205"/>
                  </a:lnTo>
                  <a:lnTo>
                    <a:pt x="159215" y="181610"/>
                  </a:lnTo>
                  <a:lnTo>
                    <a:pt x="158195" y="182728"/>
                  </a:lnTo>
                  <a:lnTo>
                    <a:pt x="156688" y="183553"/>
                  </a:lnTo>
                  <a:lnTo>
                    <a:pt x="155972" y="184925"/>
                  </a:lnTo>
                  <a:lnTo>
                    <a:pt x="156049" y="186841"/>
                  </a:lnTo>
                  <a:lnTo>
                    <a:pt x="155184" y="188486"/>
                  </a:lnTo>
                  <a:lnTo>
                    <a:pt x="153377" y="189862"/>
                  </a:lnTo>
                  <a:lnTo>
                    <a:pt x="151710" y="189899"/>
                  </a:lnTo>
                  <a:lnTo>
                    <a:pt x="150184" y="188600"/>
                  </a:lnTo>
                  <a:lnTo>
                    <a:pt x="148140" y="187737"/>
                  </a:lnTo>
                  <a:lnTo>
                    <a:pt x="145578" y="187309"/>
                  </a:lnTo>
                  <a:lnTo>
                    <a:pt x="143439" y="187637"/>
                  </a:lnTo>
                  <a:lnTo>
                    <a:pt x="141722" y="188716"/>
                  </a:lnTo>
                  <a:lnTo>
                    <a:pt x="140200" y="190432"/>
                  </a:lnTo>
                  <a:lnTo>
                    <a:pt x="138874" y="192784"/>
                  </a:lnTo>
                  <a:lnTo>
                    <a:pt x="137400" y="193175"/>
                  </a:lnTo>
                  <a:lnTo>
                    <a:pt x="135778" y="191603"/>
                  </a:lnTo>
                  <a:lnTo>
                    <a:pt x="133725" y="191126"/>
                  </a:lnTo>
                  <a:lnTo>
                    <a:pt x="131241" y="191743"/>
                  </a:lnTo>
                  <a:lnTo>
                    <a:pt x="129263" y="191526"/>
                  </a:lnTo>
                  <a:lnTo>
                    <a:pt x="127791" y="190476"/>
                  </a:lnTo>
                  <a:lnTo>
                    <a:pt x="125530" y="190360"/>
                  </a:lnTo>
                  <a:lnTo>
                    <a:pt x="122482" y="191179"/>
                  </a:lnTo>
                  <a:lnTo>
                    <a:pt x="116303" y="190234"/>
                  </a:lnTo>
                  <a:lnTo>
                    <a:pt x="106995" y="187520"/>
                  </a:lnTo>
                  <a:lnTo>
                    <a:pt x="99122" y="186492"/>
                  </a:lnTo>
                  <a:lnTo>
                    <a:pt x="89468" y="187467"/>
                  </a:lnTo>
                  <a:lnTo>
                    <a:pt x="88652" y="184650"/>
                  </a:lnTo>
                  <a:lnTo>
                    <a:pt x="89164" y="183128"/>
                  </a:lnTo>
                  <a:lnTo>
                    <a:pt x="90732" y="181982"/>
                  </a:lnTo>
                  <a:lnTo>
                    <a:pt x="91715" y="180686"/>
                  </a:lnTo>
                  <a:lnTo>
                    <a:pt x="92113" y="179234"/>
                  </a:lnTo>
                  <a:lnTo>
                    <a:pt x="93195" y="178129"/>
                  </a:lnTo>
                  <a:lnTo>
                    <a:pt x="94961" y="177370"/>
                  </a:lnTo>
                  <a:lnTo>
                    <a:pt x="95710" y="176599"/>
                  </a:lnTo>
                  <a:lnTo>
                    <a:pt x="95443" y="175822"/>
                  </a:lnTo>
                  <a:lnTo>
                    <a:pt x="95818" y="175133"/>
                  </a:lnTo>
                  <a:lnTo>
                    <a:pt x="96835" y="174534"/>
                  </a:lnTo>
                  <a:lnTo>
                    <a:pt x="97413" y="173593"/>
                  </a:lnTo>
                  <a:lnTo>
                    <a:pt x="97550" y="172306"/>
                  </a:lnTo>
                  <a:lnTo>
                    <a:pt x="97932" y="171669"/>
                  </a:lnTo>
                  <a:lnTo>
                    <a:pt x="98612" y="171193"/>
                  </a:lnTo>
                  <a:lnTo>
                    <a:pt x="98687" y="170306"/>
                  </a:lnTo>
                  <a:lnTo>
                    <a:pt x="98306" y="167554"/>
                  </a:lnTo>
                  <a:lnTo>
                    <a:pt x="98353" y="165298"/>
                  </a:lnTo>
                  <a:lnTo>
                    <a:pt x="98829" y="163544"/>
                  </a:lnTo>
                  <a:lnTo>
                    <a:pt x="99422" y="162483"/>
                  </a:lnTo>
                  <a:lnTo>
                    <a:pt x="99843" y="162219"/>
                  </a:lnTo>
                  <a:lnTo>
                    <a:pt x="100232" y="161590"/>
                  </a:lnTo>
                  <a:lnTo>
                    <a:pt x="100385" y="160531"/>
                  </a:lnTo>
                  <a:lnTo>
                    <a:pt x="101020" y="159546"/>
                  </a:lnTo>
                  <a:lnTo>
                    <a:pt x="104101" y="157519"/>
                  </a:lnTo>
                  <a:lnTo>
                    <a:pt x="105261" y="156421"/>
                  </a:lnTo>
                  <a:lnTo>
                    <a:pt x="105358" y="155422"/>
                  </a:lnTo>
                  <a:lnTo>
                    <a:pt x="105823" y="154066"/>
                  </a:lnTo>
                  <a:lnTo>
                    <a:pt x="107653" y="151153"/>
                  </a:lnTo>
                  <a:lnTo>
                    <a:pt x="108214" y="149790"/>
                  </a:lnTo>
                  <a:lnTo>
                    <a:pt x="108265" y="149107"/>
                  </a:lnTo>
                  <a:lnTo>
                    <a:pt x="108913" y="148401"/>
                  </a:lnTo>
                  <a:lnTo>
                    <a:pt x="111116" y="146785"/>
                  </a:lnTo>
                  <a:lnTo>
                    <a:pt x="112314" y="145262"/>
                  </a:lnTo>
                  <a:lnTo>
                    <a:pt x="112503" y="143836"/>
                  </a:lnTo>
                  <a:lnTo>
                    <a:pt x="111971" y="142217"/>
                  </a:lnTo>
                  <a:lnTo>
                    <a:pt x="110717" y="140409"/>
                  </a:lnTo>
                  <a:lnTo>
                    <a:pt x="106786" y="135886"/>
                  </a:lnTo>
                  <a:lnTo>
                    <a:pt x="103731" y="133833"/>
                  </a:lnTo>
                  <a:lnTo>
                    <a:pt x="99825" y="132137"/>
                  </a:lnTo>
                  <a:lnTo>
                    <a:pt x="97253" y="131588"/>
                  </a:lnTo>
                  <a:lnTo>
                    <a:pt x="96017" y="132183"/>
                  </a:lnTo>
                  <a:lnTo>
                    <a:pt x="94763" y="131717"/>
                  </a:lnTo>
                  <a:lnTo>
                    <a:pt x="93494" y="130184"/>
                  </a:lnTo>
                  <a:lnTo>
                    <a:pt x="91352" y="128979"/>
                  </a:lnTo>
                  <a:lnTo>
                    <a:pt x="86833" y="127657"/>
                  </a:lnTo>
                  <a:lnTo>
                    <a:pt x="76590" y="122387"/>
                  </a:lnTo>
                  <a:lnTo>
                    <a:pt x="72484" y="119842"/>
                  </a:lnTo>
                  <a:lnTo>
                    <a:pt x="71103" y="118273"/>
                  </a:lnTo>
                  <a:lnTo>
                    <a:pt x="67273" y="115453"/>
                  </a:lnTo>
                  <a:lnTo>
                    <a:pt x="60996" y="111394"/>
                  </a:lnTo>
                  <a:lnTo>
                    <a:pt x="56179" y="109417"/>
                  </a:lnTo>
                  <a:lnTo>
                    <a:pt x="52821" y="109529"/>
                  </a:lnTo>
                  <a:lnTo>
                    <a:pt x="47444" y="108350"/>
                  </a:lnTo>
                  <a:lnTo>
                    <a:pt x="40048" y="105881"/>
                  </a:lnTo>
                  <a:lnTo>
                    <a:pt x="35779" y="103485"/>
                  </a:lnTo>
                  <a:lnTo>
                    <a:pt x="34633" y="101165"/>
                  </a:lnTo>
                  <a:lnTo>
                    <a:pt x="31898" y="98842"/>
                  </a:lnTo>
                  <a:lnTo>
                    <a:pt x="27574" y="96517"/>
                  </a:lnTo>
                  <a:lnTo>
                    <a:pt x="25328" y="94987"/>
                  </a:lnTo>
                  <a:lnTo>
                    <a:pt x="25162" y="94251"/>
                  </a:lnTo>
                  <a:lnTo>
                    <a:pt x="23880" y="93293"/>
                  </a:lnTo>
                  <a:lnTo>
                    <a:pt x="21481" y="92111"/>
                  </a:lnTo>
                  <a:lnTo>
                    <a:pt x="18849" y="90088"/>
                  </a:lnTo>
                  <a:lnTo>
                    <a:pt x="15986" y="87225"/>
                  </a:lnTo>
                  <a:lnTo>
                    <a:pt x="12922" y="82802"/>
                  </a:lnTo>
                  <a:lnTo>
                    <a:pt x="9659" y="76820"/>
                  </a:lnTo>
                  <a:lnTo>
                    <a:pt x="6157" y="72791"/>
                  </a:lnTo>
                  <a:lnTo>
                    <a:pt x="2419" y="70710"/>
                  </a:lnTo>
                  <a:lnTo>
                    <a:pt x="552" y="69335"/>
                  </a:lnTo>
                  <a:lnTo>
                    <a:pt x="559" y="68664"/>
                  </a:lnTo>
                  <a:lnTo>
                    <a:pt x="0" y="68018"/>
                  </a:lnTo>
                  <a:lnTo>
                    <a:pt x="496" y="66863"/>
                  </a:lnTo>
                  <a:lnTo>
                    <a:pt x="1858" y="62331"/>
                  </a:lnTo>
                  <a:lnTo>
                    <a:pt x="3828" y="55761"/>
                  </a:lnTo>
                  <a:lnTo>
                    <a:pt x="5871" y="48964"/>
                  </a:lnTo>
                  <a:lnTo>
                    <a:pt x="8277" y="40971"/>
                  </a:lnTo>
                  <a:lnTo>
                    <a:pt x="8280" y="35308"/>
                  </a:lnTo>
                  <a:lnTo>
                    <a:pt x="8284" y="29350"/>
                  </a:lnTo>
                  <a:lnTo>
                    <a:pt x="11705" y="24450"/>
                  </a:lnTo>
                  <a:lnTo>
                    <a:pt x="14133" y="20976"/>
                  </a:lnTo>
                  <a:lnTo>
                    <a:pt x="16231" y="17670"/>
                  </a:lnTo>
                  <a:lnTo>
                    <a:pt x="18354" y="12015"/>
                  </a:lnTo>
                  <a:lnTo>
                    <a:pt x="19771" y="8243"/>
                  </a:lnTo>
                  <a:lnTo>
                    <a:pt x="25189" y="7350"/>
                  </a:lnTo>
                  <a:lnTo>
                    <a:pt x="34384" y="5388"/>
                  </a:lnTo>
                  <a:lnTo>
                    <a:pt x="38966" y="4413"/>
                  </a:lnTo>
                  <a:lnTo>
                    <a:pt x="48632" y="2353"/>
                  </a:lnTo>
                  <a:lnTo>
                    <a:pt x="58455" y="260"/>
                  </a:lnTo>
                  <a:lnTo>
                    <a:pt x="68771" y="128"/>
                  </a:lnTo>
                  <a:lnTo>
                    <a:pt x="78729" y="0"/>
                  </a:lnTo>
                  <a:lnTo>
                    <a:pt x="86455" y="4682"/>
                  </a:lnTo>
                  <a:lnTo>
                    <a:pt x="92357" y="8261"/>
                  </a:lnTo>
                  <a:lnTo>
                    <a:pt x="98859" y="12208"/>
                  </a:lnTo>
                  <a:lnTo>
                    <a:pt x="99304" y="13059"/>
                  </a:lnTo>
                  <a:lnTo>
                    <a:pt x="99748" y="16369"/>
                  </a:lnTo>
                  <a:close/>
                </a:path>
              </a:pathLst>
            </a:custGeom>
            <a:solidFill>
              <a:srgbClr val="007CBC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69" name="ee4p_SV_1_82333">
              <a:extLst>
                <a:ext uri="{FF2B5EF4-FFF2-40B4-BE49-F238E27FC236}">
                  <a16:creationId xmlns:a16="http://schemas.microsoft.com/office/drawing/2014/main" id="{42D9E30A-DC03-2863-5345-3A9CB265ECAE}"/>
                </a:ext>
              </a:extLst>
            </p:cNvPr>
            <p:cNvSpPr>
              <a:spLocks noChangeAspect="1"/>
            </p:cNvSpPr>
            <p:nvPr>
              <p:custDataLst>
                <p:tags r:id="rId197"/>
              </p:custDataLst>
            </p:nvPr>
          </p:nvSpPr>
          <p:spPr>
            <a:xfrm>
              <a:off x="4012518" y="4261316"/>
              <a:ext cx="66386" cy="36825"/>
            </a:xfrm>
            <a:custGeom>
              <a:avLst/>
              <a:gdLst/>
              <a:ahLst/>
              <a:cxnLst/>
              <a:rect l="0" t="0" r="0" b="0"/>
              <a:pathLst>
                <a:path w="52862" h="28547">
                  <a:moveTo>
                    <a:pt x="16436" y="340"/>
                  </a:moveTo>
                  <a:lnTo>
                    <a:pt x="16997" y="445"/>
                  </a:lnTo>
                  <a:lnTo>
                    <a:pt x="20692" y="1597"/>
                  </a:lnTo>
                  <a:lnTo>
                    <a:pt x="21789" y="1374"/>
                  </a:lnTo>
                  <a:lnTo>
                    <a:pt x="23191" y="2300"/>
                  </a:lnTo>
                  <a:lnTo>
                    <a:pt x="23860" y="3026"/>
                  </a:lnTo>
                  <a:lnTo>
                    <a:pt x="24450" y="4024"/>
                  </a:lnTo>
                  <a:lnTo>
                    <a:pt x="27366" y="6033"/>
                  </a:lnTo>
                  <a:lnTo>
                    <a:pt x="27861" y="6910"/>
                  </a:lnTo>
                  <a:lnTo>
                    <a:pt x="30041" y="8094"/>
                  </a:lnTo>
                  <a:lnTo>
                    <a:pt x="30919" y="9000"/>
                  </a:lnTo>
                  <a:lnTo>
                    <a:pt x="31848" y="9373"/>
                  </a:lnTo>
                  <a:lnTo>
                    <a:pt x="33672" y="9720"/>
                  </a:lnTo>
                  <a:lnTo>
                    <a:pt x="35233" y="10197"/>
                  </a:lnTo>
                  <a:lnTo>
                    <a:pt x="35414" y="10530"/>
                  </a:lnTo>
                  <a:lnTo>
                    <a:pt x="35562" y="11874"/>
                  </a:lnTo>
                  <a:lnTo>
                    <a:pt x="35893" y="13008"/>
                  </a:lnTo>
                  <a:lnTo>
                    <a:pt x="36635" y="13082"/>
                  </a:lnTo>
                  <a:lnTo>
                    <a:pt x="37534" y="12531"/>
                  </a:lnTo>
                  <a:lnTo>
                    <a:pt x="40459" y="11015"/>
                  </a:lnTo>
                  <a:lnTo>
                    <a:pt x="43227" y="10008"/>
                  </a:lnTo>
                  <a:lnTo>
                    <a:pt x="44787" y="10611"/>
                  </a:lnTo>
                  <a:lnTo>
                    <a:pt x="45710" y="11873"/>
                  </a:lnTo>
                  <a:lnTo>
                    <a:pt x="46765" y="12436"/>
                  </a:lnTo>
                  <a:lnTo>
                    <a:pt x="48955" y="12090"/>
                  </a:lnTo>
                  <a:lnTo>
                    <a:pt x="50939" y="12203"/>
                  </a:lnTo>
                  <a:lnTo>
                    <a:pt x="52505" y="13305"/>
                  </a:lnTo>
                  <a:lnTo>
                    <a:pt x="52861" y="13944"/>
                  </a:lnTo>
                  <a:lnTo>
                    <a:pt x="51905" y="17610"/>
                  </a:lnTo>
                  <a:lnTo>
                    <a:pt x="51559" y="19178"/>
                  </a:lnTo>
                  <a:lnTo>
                    <a:pt x="51389" y="20505"/>
                  </a:lnTo>
                  <a:lnTo>
                    <a:pt x="51952" y="20851"/>
                  </a:lnTo>
                  <a:lnTo>
                    <a:pt x="52500" y="21367"/>
                  </a:lnTo>
                  <a:lnTo>
                    <a:pt x="52381" y="22081"/>
                  </a:lnTo>
                  <a:lnTo>
                    <a:pt x="50674" y="23256"/>
                  </a:lnTo>
                  <a:lnTo>
                    <a:pt x="50140" y="23557"/>
                  </a:lnTo>
                  <a:lnTo>
                    <a:pt x="50531" y="25821"/>
                  </a:lnTo>
                  <a:lnTo>
                    <a:pt x="49262" y="27187"/>
                  </a:lnTo>
                  <a:lnTo>
                    <a:pt x="48095" y="28172"/>
                  </a:lnTo>
                  <a:lnTo>
                    <a:pt x="46048" y="28440"/>
                  </a:lnTo>
                  <a:lnTo>
                    <a:pt x="42571" y="28546"/>
                  </a:lnTo>
                  <a:lnTo>
                    <a:pt x="37342" y="27432"/>
                  </a:lnTo>
                  <a:lnTo>
                    <a:pt x="33486" y="25914"/>
                  </a:lnTo>
                  <a:lnTo>
                    <a:pt x="31405" y="25903"/>
                  </a:lnTo>
                  <a:lnTo>
                    <a:pt x="32064" y="26405"/>
                  </a:lnTo>
                  <a:lnTo>
                    <a:pt x="33707" y="26725"/>
                  </a:lnTo>
                  <a:lnTo>
                    <a:pt x="35867" y="27801"/>
                  </a:lnTo>
                  <a:lnTo>
                    <a:pt x="35245" y="28098"/>
                  </a:lnTo>
                  <a:lnTo>
                    <a:pt x="27394" y="25864"/>
                  </a:lnTo>
                  <a:lnTo>
                    <a:pt x="18315" y="21480"/>
                  </a:lnTo>
                  <a:lnTo>
                    <a:pt x="12884" y="20781"/>
                  </a:lnTo>
                  <a:lnTo>
                    <a:pt x="6672" y="19633"/>
                  </a:lnTo>
                  <a:lnTo>
                    <a:pt x="2995" y="16862"/>
                  </a:lnTo>
                  <a:lnTo>
                    <a:pt x="237" y="15660"/>
                  </a:lnTo>
                  <a:lnTo>
                    <a:pt x="0" y="14613"/>
                  </a:lnTo>
                  <a:lnTo>
                    <a:pt x="26" y="13447"/>
                  </a:lnTo>
                  <a:lnTo>
                    <a:pt x="1278" y="11886"/>
                  </a:lnTo>
                  <a:lnTo>
                    <a:pt x="3610" y="9783"/>
                  </a:lnTo>
                  <a:lnTo>
                    <a:pt x="5157" y="8695"/>
                  </a:lnTo>
                  <a:lnTo>
                    <a:pt x="5881" y="8482"/>
                  </a:lnTo>
                  <a:lnTo>
                    <a:pt x="6904" y="8594"/>
                  </a:lnTo>
                  <a:lnTo>
                    <a:pt x="7884" y="7987"/>
                  </a:lnTo>
                  <a:lnTo>
                    <a:pt x="8729" y="6537"/>
                  </a:lnTo>
                  <a:lnTo>
                    <a:pt x="9611" y="5604"/>
                  </a:lnTo>
                  <a:lnTo>
                    <a:pt x="11844" y="4657"/>
                  </a:lnTo>
                  <a:lnTo>
                    <a:pt x="12355" y="4283"/>
                  </a:lnTo>
                  <a:lnTo>
                    <a:pt x="12181" y="3471"/>
                  </a:lnTo>
                  <a:lnTo>
                    <a:pt x="11697" y="1896"/>
                  </a:lnTo>
                  <a:lnTo>
                    <a:pt x="11770" y="925"/>
                  </a:lnTo>
                  <a:lnTo>
                    <a:pt x="12502" y="478"/>
                  </a:lnTo>
                  <a:lnTo>
                    <a:pt x="13379" y="391"/>
                  </a:lnTo>
                  <a:lnTo>
                    <a:pt x="15193" y="0"/>
                  </a:lnTo>
                  <a:lnTo>
                    <a:pt x="15980" y="78"/>
                  </a:lnTo>
                  <a:close/>
                </a:path>
              </a:pathLst>
            </a:custGeom>
            <a:solidFill>
              <a:srgbClr val="007CBC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70" name="ee4p_SR_1_82333">
              <a:extLst>
                <a:ext uri="{FF2B5EF4-FFF2-40B4-BE49-F238E27FC236}">
                  <a16:creationId xmlns:a16="http://schemas.microsoft.com/office/drawing/2014/main" id="{C56333E2-B695-C22A-D119-703A8E4F7C48}"/>
                </a:ext>
              </a:extLst>
            </p:cNvPr>
            <p:cNvSpPr>
              <a:spLocks noChangeAspect="1"/>
            </p:cNvSpPr>
            <p:nvPr>
              <p:custDataLst>
                <p:tags r:id="rId198"/>
              </p:custDataLst>
            </p:nvPr>
          </p:nvSpPr>
          <p:spPr>
            <a:xfrm>
              <a:off x="4902564" y="4504620"/>
              <a:ext cx="112856" cy="118610"/>
            </a:xfrm>
            <a:custGeom>
              <a:avLst/>
              <a:gdLst/>
              <a:ahLst/>
              <a:cxnLst/>
              <a:rect l="0" t="0" r="0" b="0"/>
              <a:pathLst>
                <a:path w="89865" h="91943">
                  <a:moveTo>
                    <a:pt x="86206" y="14073"/>
                  </a:moveTo>
                  <a:lnTo>
                    <a:pt x="84343" y="15642"/>
                  </a:lnTo>
                  <a:lnTo>
                    <a:pt x="82321" y="17877"/>
                  </a:lnTo>
                  <a:lnTo>
                    <a:pt x="79655" y="21733"/>
                  </a:lnTo>
                  <a:lnTo>
                    <a:pt x="79773" y="22945"/>
                  </a:lnTo>
                  <a:lnTo>
                    <a:pt x="79188" y="23922"/>
                  </a:lnTo>
                  <a:lnTo>
                    <a:pt x="79047" y="25655"/>
                  </a:lnTo>
                  <a:lnTo>
                    <a:pt x="79236" y="27588"/>
                  </a:lnTo>
                  <a:lnTo>
                    <a:pt x="79920" y="28858"/>
                  </a:lnTo>
                  <a:lnTo>
                    <a:pt x="80232" y="31273"/>
                  </a:lnTo>
                  <a:lnTo>
                    <a:pt x="79712" y="33444"/>
                  </a:lnTo>
                  <a:lnTo>
                    <a:pt x="79910" y="34707"/>
                  </a:lnTo>
                  <a:lnTo>
                    <a:pt x="80455" y="36709"/>
                  </a:lnTo>
                  <a:lnTo>
                    <a:pt x="80892" y="38841"/>
                  </a:lnTo>
                  <a:lnTo>
                    <a:pt x="80845" y="39703"/>
                  </a:lnTo>
                  <a:lnTo>
                    <a:pt x="81492" y="40402"/>
                  </a:lnTo>
                  <a:lnTo>
                    <a:pt x="82089" y="41086"/>
                  </a:lnTo>
                  <a:lnTo>
                    <a:pt x="81899" y="42990"/>
                  </a:lnTo>
                  <a:lnTo>
                    <a:pt x="84004" y="46378"/>
                  </a:lnTo>
                  <a:lnTo>
                    <a:pt x="85288" y="47854"/>
                  </a:lnTo>
                  <a:lnTo>
                    <a:pt x="87160" y="49294"/>
                  </a:lnTo>
                  <a:lnTo>
                    <a:pt x="87841" y="50699"/>
                  </a:lnTo>
                  <a:lnTo>
                    <a:pt x="88897" y="52394"/>
                  </a:lnTo>
                  <a:lnTo>
                    <a:pt x="89523" y="52593"/>
                  </a:lnTo>
                  <a:lnTo>
                    <a:pt x="89864" y="53276"/>
                  </a:lnTo>
                  <a:lnTo>
                    <a:pt x="89522" y="54583"/>
                  </a:lnTo>
                  <a:lnTo>
                    <a:pt x="89442" y="56398"/>
                  </a:lnTo>
                  <a:lnTo>
                    <a:pt x="88257" y="58506"/>
                  </a:lnTo>
                  <a:lnTo>
                    <a:pt x="85496" y="62370"/>
                  </a:lnTo>
                  <a:lnTo>
                    <a:pt x="85162" y="63268"/>
                  </a:lnTo>
                  <a:lnTo>
                    <a:pt x="85879" y="66468"/>
                  </a:lnTo>
                  <a:lnTo>
                    <a:pt x="85495" y="69096"/>
                  </a:lnTo>
                  <a:lnTo>
                    <a:pt x="85331" y="70357"/>
                  </a:lnTo>
                  <a:lnTo>
                    <a:pt x="83977" y="72662"/>
                  </a:lnTo>
                  <a:lnTo>
                    <a:pt x="80765" y="78242"/>
                  </a:lnTo>
                  <a:lnTo>
                    <a:pt x="78918" y="79247"/>
                  </a:lnTo>
                  <a:lnTo>
                    <a:pt x="77803" y="80857"/>
                  </a:lnTo>
                  <a:lnTo>
                    <a:pt x="77085" y="80874"/>
                  </a:lnTo>
                  <a:lnTo>
                    <a:pt x="76282" y="81024"/>
                  </a:lnTo>
                  <a:lnTo>
                    <a:pt x="76027" y="81224"/>
                  </a:lnTo>
                  <a:lnTo>
                    <a:pt x="75019" y="81207"/>
                  </a:lnTo>
                  <a:lnTo>
                    <a:pt x="74233" y="80492"/>
                  </a:lnTo>
                  <a:lnTo>
                    <a:pt x="74111" y="79649"/>
                  </a:lnTo>
                  <a:lnTo>
                    <a:pt x="73684" y="78682"/>
                  </a:lnTo>
                  <a:lnTo>
                    <a:pt x="72697" y="78392"/>
                  </a:lnTo>
                  <a:lnTo>
                    <a:pt x="70822" y="78728"/>
                  </a:lnTo>
                  <a:lnTo>
                    <a:pt x="70282" y="78489"/>
                  </a:lnTo>
                  <a:lnTo>
                    <a:pt x="69166" y="77449"/>
                  </a:lnTo>
                  <a:lnTo>
                    <a:pt x="68241" y="76321"/>
                  </a:lnTo>
                  <a:lnTo>
                    <a:pt x="68014" y="75230"/>
                  </a:lnTo>
                  <a:lnTo>
                    <a:pt x="67413" y="75334"/>
                  </a:lnTo>
                  <a:lnTo>
                    <a:pt x="65987" y="76321"/>
                  </a:lnTo>
                  <a:lnTo>
                    <a:pt x="65019" y="76523"/>
                  </a:lnTo>
                  <a:lnTo>
                    <a:pt x="64251" y="76267"/>
                  </a:lnTo>
                  <a:lnTo>
                    <a:pt x="63392" y="76339"/>
                  </a:lnTo>
                  <a:lnTo>
                    <a:pt x="61217" y="77398"/>
                  </a:lnTo>
                  <a:lnTo>
                    <a:pt x="59936" y="77639"/>
                  </a:lnTo>
                  <a:lnTo>
                    <a:pt x="59021" y="78704"/>
                  </a:lnTo>
                  <a:lnTo>
                    <a:pt x="52971" y="79188"/>
                  </a:lnTo>
                  <a:lnTo>
                    <a:pt x="51388" y="79467"/>
                  </a:lnTo>
                  <a:lnTo>
                    <a:pt x="47779" y="77623"/>
                  </a:lnTo>
                  <a:lnTo>
                    <a:pt x="46846" y="77023"/>
                  </a:lnTo>
                  <a:lnTo>
                    <a:pt x="46370" y="76938"/>
                  </a:lnTo>
                  <a:lnTo>
                    <a:pt x="45970" y="77037"/>
                  </a:lnTo>
                  <a:lnTo>
                    <a:pt x="45573" y="77446"/>
                  </a:lnTo>
                  <a:lnTo>
                    <a:pt x="44980" y="79763"/>
                  </a:lnTo>
                  <a:lnTo>
                    <a:pt x="44432" y="80391"/>
                  </a:lnTo>
                  <a:lnTo>
                    <a:pt x="43489" y="80902"/>
                  </a:lnTo>
                  <a:lnTo>
                    <a:pt x="42568" y="81826"/>
                  </a:lnTo>
                  <a:lnTo>
                    <a:pt x="42385" y="82722"/>
                  </a:lnTo>
                  <a:lnTo>
                    <a:pt x="43802" y="83215"/>
                  </a:lnTo>
                  <a:lnTo>
                    <a:pt x="44986" y="84954"/>
                  </a:lnTo>
                  <a:lnTo>
                    <a:pt x="46271" y="86348"/>
                  </a:lnTo>
                  <a:lnTo>
                    <a:pt x="47302" y="87578"/>
                  </a:lnTo>
                  <a:lnTo>
                    <a:pt x="47163" y="88969"/>
                  </a:lnTo>
                  <a:lnTo>
                    <a:pt x="46986" y="90941"/>
                  </a:lnTo>
                  <a:lnTo>
                    <a:pt x="46241" y="91614"/>
                  </a:lnTo>
                  <a:lnTo>
                    <a:pt x="44989" y="91942"/>
                  </a:lnTo>
                  <a:lnTo>
                    <a:pt x="40407" y="90989"/>
                  </a:lnTo>
                  <a:lnTo>
                    <a:pt x="36898" y="90136"/>
                  </a:lnTo>
                  <a:lnTo>
                    <a:pt x="35417" y="89949"/>
                  </a:lnTo>
                  <a:lnTo>
                    <a:pt x="34754" y="89732"/>
                  </a:lnTo>
                  <a:lnTo>
                    <a:pt x="33879" y="89010"/>
                  </a:lnTo>
                  <a:lnTo>
                    <a:pt x="32987" y="88340"/>
                  </a:lnTo>
                  <a:lnTo>
                    <a:pt x="31561" y="88098"/>
                  </a:lnTo>
                  <a:lnTo>
                    <a:pt x="29855" y="87645"/>
                  </a:lnTo>
                  <a:lnTo>
                    <a:pt x="28600" y="85911"/>
                  </a:lnTo>
                  <a:lnTo>
                    <a:pt x="27302" y="83438"/>
                  </a:lnTo>
                  <a:lnTo>
                    <a:pt x="26844" y="82321"/>
                  </a:lnTo>
                  <a:lnTo>
                    <a:pt x="25829" y="81241"/>
                  </a:lnTo>
                  <a:lnTo>
                    <a:pt x="24832" y="79706"/>
                  </a:lnTo>
                  <a:lnTo>
                    <a:pt x="24529" y="78346"/>
                  </a:lnTo>
                  <a:lnTo>
                    <a:pt x="23775" y="77098"/>
                  </a:lnTo>
                  <a:lnTo>
                    <a:pt x="23381" y="76679"/>
                  </a:lnTo>
                  <a:lnTo>
                    <a:pt x="22798" y="74979"/>
                  </a:lnTo>
                  <a:lnTo>
                    <a:pt x="22677" y="74348"/>
                  </a:lnTo>
                  <a:lnTo>
                    <a:pt x="22390" y="74268"/>
                  </a:lnTo>
                  <a:lnTo>
                    <a:pt x="21981" y="73725"/>
                  </a:lnTo>
                  <a:lnTo>
                    <a:pt x="21176" y="71906"/>
                  </a:lnTo>
                  <a:lnTo>
                    <a:pt x="20993" y="71455"/>
                  </a:lnTo>
                  <a:lnTo>
                    <a:pt x="20639" y="71294"/>
                  </a:lnTo>
                  <a:lnTo>
                    <a:pt x="19700" y="70017"/>
                  </a:lnTo>
                  <a:lnTo>
                    <a:pt x="18954" y="69574"/>
                  </a:lnTo>
                  <a:lnTo>
                    <a:pt x="18678" y="68920"/>
                  </a:lnTo>
                  <a:lnTo>
                    <a:pt x="18742" y="67137"/>
                  </a:lnTo>
                  <a:lnTo>
                    <a:pt x="18342" y="66258"/>
                  </a:lnTo>
                  <a:lnTo>
                    <a:pt x="18219" y="64588"/>
                  </a:lnTo>
                  <a:lnTo>
                    <a:pt x="18196" y="63917"/>
                  </a:lnTo>
                  <a:lnTo>
                    <a:pt x="17812" y="63177"/>
                  </a:lnTo>
                  <a:lnTo>
                    <a:pt x="17172" y="62690"/>
                  </a:lnTo>
                  <a:lnTo>
                    <a:pt x="17062" y="61483"/>
                  </a:lnTo>
                  <a:lnTo>
                    <a:pt x="16906" y="58500"/>
                  </a:lnTo>
                  <a:lnTo>
                    <a:pt x="16603" y="57980"/>
                  </a:lnTo>
                  <a:lnTo>
                    <a:pt x="13907" y="58017"/>
                  </a:lnTo>
                  <a:lnTo>
                    <a:pt x="13635" y="58308"/>
                  </a:lnTo>
                  <a:lnTo>
                    <a:pt x="12470" y="58485"/>
                  </a:lnTo>
                  <a:lnTo>
                    <a:pt x="11165" y="58517"/>
                  </a:lnTo>
                  <a:lnTo>
                    <a:pt x="9990" y="58116"/>
                  </a:lnTo>
                  <a:lnTo>
                    <a:pt x="9017" y="57594"/>
                  </a:lnTo>
                  <a:lnTo>
                    <a:pt x="8810" y="56948"/>
                  </a:lnTo>
                  <a:lnTo>
                    <a:pt x="8957" y="54874"/>
                  </a:lnTo>
                  <a:lnTo>
                    <a:pt x="7389" y="53304"/>
                  </a:lnTo>
                  <a:lnTo>
                    <a:pt x="4906" y="51363"/>
                  </a:lnTo>
                  <a:lnTo>
                    <a:pt x="4156" y="48899"/>
                  </a:lnTo>
                  <a:lnTo>
                    <a:pt x="3246" y="47361"/>
                  </a:lnTo>
                  <a:lnTo>
                    <a:pt x="493" y="44144"/>
                  </a:lnTo>
                  <a:lnTo>
                    <a:pt x="5" y="41936"/>
                  </a:lnTo>
                  <a:lnTo>
                    <a:pt x="0" y="40380"/>
                  </a:lnTo>
                  <a:lnTo>
                    <a:pt x="968" y="38950"/>
                  </a:lnTo>
                  <a:lnTo>
                    <a:pt x="2317" y="36436"/>
                  </a:lnTo>
                  <a:lnTo>
                    <a:pt x="2870" y="34151"/>
                  </a:lnTo>
                  <a:lnTo>
                    <a:pt x="3279" y="32962"/>
                  </a:lnTo>
                  <a:lnTo>
                    <a:pt x="3976" y="31404"/>
                  </a:lnTo>
                  <a:lnTo>
                    <a:pt x="4611" y="29386"/>
                  </a:lnTo>
                  <a:lnTo>
                    <a:pt x="4127" y="28142"/>
                  </a:lnTo>
                  <a:lnTo>
                    <a:pt x="3309" y="26923"/>
                  </a:lnTo>
                  <a:lnTo>
                    <a:pt x="3040" y="26012"/>
                  </a:lnTo>
                  <a:lnTo>
                    <a:pt x="3835" y="24678"/>
                  </a:lnTo>
                  <a:lnTo>
                    <a:pt x="4635" y="23738"/>
                  </a:lnTo>
                  <a:lnTo>
                    <a:pt x="5537" y="23604"/>
                  </a:lnTo>
                  <a:lnTo>
                    <a:pt x="6689" y="23040"/>
                  </a:lnTo>
                  <a:lnTo>
                    <a:pt x="7594" y="22230"/>
                  </a:lnTo>
                  <a:lnTo>
                    <a:pt x="8971" y="22017"/>
                  </a:lnTo>
                  <a:lnTo>
                    <a:pt x="10694" y="21932"/>
                  </a:lnTo>
                  <a:lnTo>
                    <a:pt x="14204" y="21930"/>
                  </a:lnTo>
                  <a:lnTo>
                    <a:pt x="15998" y="21585"/>
                  </a:lnTo>
                  <a:lnTo>
                    <a:pt x="16556" y="20933"/>
                  </a:lnTo>
                  <a:lnTo>
                    <a:pt x="16472" y="19685"/>
                  </a:lnTo>
                  <a:lnTo>
                    <a:pt x="17363" y="18551"/>
                  </a:lnTo>
                  <a:lnTo>
                    <a:pt x="18301" y="18074"/>
                  </a:lnTo>
                  <a:lnTo>
                    <a:pt x="18678" y="17700"/>
                  </a:lnTo>
                  <a:lnTo>
                    <a:pt x="18733" y="17283"/>
                  </a:lnTo>
                  <a:lnTo>
                    <a:pt x="18487" y="16899"/>
                  </a:lnTo>
                  <a:lnTo>
                    <a:pt x="18115" y="16648"/>
                  </a:lnTo>
                  <a:lnTo>
                    <a:pt x="17134" y="16561"/>
                  </a:lnTo>
                  <a:lnTo>
                    <a:pt x="16274" y="14597"/>
                  </a:lnTo>
                  <a:lnTo>
                    <a:pt x="16863" y="13741"/>
                  </a:lnTo>
                  <a:lnTo>
                    <a:pt x="17623" y="12162"/>
                  </a:lnTo>
                  <a:lnTo>
                    <a:pt x="17836" y="11273"/>
                  </a:lnTo>
                  <a:lnTo>
                    <a:pt x="19011" y="9872"/>
                  </a:lnTo>
                  <a:lnTo>
                    <a:pt x="19290" y="10305"/>
                  </a:lnTo>
                  <a:lnTo>
                    <a:pt x="20204" y="7756"/>
                  </a:lnTo>
                  <a:lnTo>
                    <a:pt x="20310" y="5684"/>
                  </a:lnTo>
                  <a:lnTo>
                    <a:pt x="21005" y="3640"/>
                  </a:lnTo>
                  <a:lnTo>
                    <a:pt x="22065" y="1215"/>
                  </a:lnTo>
                  <a:lnTo>
                    <a:pt x="23985" y="12"/>
                  </a:lnTo>
                  <a:lnTo>
                    <a:pt x="35125" y="1235"/>
                  </a:lnTo>
                  <a:lnTo>
                    <a:pt x="40220" y="2398"/>
                  </a:lnTo>
                  <a:lnTo>
                    <a:pt x="46766" y="4392"/>
                  </a:lnTo>
                  <a:lnTo>
                    <a:pt x="47694" y="6525"/>
                  </a:lnTo>
                  <a:lnTo>
                    <a:pt x="47740" y="4392"/>
                  </a:lnTo>
                  <a:lnTo>
                    <a:pt x="47422" y="2237"/>
                  </a:lnTo>
                  <a:lnTo>
                    <a:pt x="49229" y="705"/>
                  </a:lnTo>
                  <a:lnTo>
                    <a:pt x="53206" y="167"/>
                  </a:lnTo>
                  <a:lnTo>
                    <a:pt x="59155" y="905"/>
                  </a:lnTo>
                  <a:lnTo>
                    <a:pt x="64263" y="0"/>
                  </a:lnTo>
                  <a:lnTo>
                    <a:pt x="71219" y="113"/>
                  </a:lnTo>
                  <a:lnTo>
                    <a:pt x="81779" y="1854"/>
                  </a:lnTo>
                  <a:lnTo>
                    <a:pt x="86507" y="3042"/>
                  </a:lnTo>
                  <a:lnTo>
                    <a:pt x="88456" y="4116"/>
                  </a:lnTo>
                  <a:lnTo>
                    <a:pt x="88827" y="6055"/>
                  </a:lnTo>
                  <a:lnTo>
                    <a:pt x="88638" y="8531"/>
                  </a:lnTo>
                  <a:lnTo>
                    <a:pt x="87875" y="10896"/>
                  </a:lnTo>
                  <a:close/>
                </a:path>
              </a:pathLst>
            </a:custGeom>
            <a:solidFill>
              <a:srgbClr val="007CBC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71" name="ee4p_TT_1_82333">
              <a:extLst>
                <a:ext uri="{FF2B5EF4-FFF2-40B4-BE49-F238E27FC236}">
                  <a16:creationId xmlns:a16="http://schemas.microsoft.com/office/drawing/2014/main" id="{68F1253D-1C3F-CF55-8489-43BA1B9A1B3D}"/>
                </a:ext>
              </a:extLst>
            </p:cNvPr>
            <p:cNvSpPr>
              <a:spLocks noChangeAspect="1"/>
            </p:cNvSpPr>
            <p:nvPr>
              <p:custDataLst>
                <p:tags r:id="rId199"/>
              </p:custDataLst>
            </p:nvPr>
          </p:nvSpPr>
          <p:spPr>
            <a:xfrm>
              <a:off x="4795608" y="4351369"/>
              <a:ext cx="38340" cy="36367"/>
            </a:xfrm>
            <a:custGeom>
              <a:avLst/>
              <a:gdLst>
                <a:gd name="connsiteX0" fmla="*/ 25065 w 35008"/>
                <a:gd name="connsiteY0" fmla="*/ 12450 h 32327"/>
                <a:gd name="connsiteX1" fmla="*/ 23060 w 35008"/>
                <a:gd name="connsiteY1" fmla="*/ 15632 h 32327"/>
                <a:gd name="connsiteX2" fmla="*/ 22120 w 35008"/>
                <a:gd name="connsiteY2" fmla="*/ 16819 h 32327"/>
                <a:gd name="connsiteX3" fmla="*/ 22486 w 35008"/>
                <a:gd name="connsiteY3" fmla="*/ 19685 h 32327"/>
                <a:gd name="connsiteX4" fmla="*/ 22025 w 35008"/>
                <a:gd name="connsiteY4" fmla="*/ 21628 h 32327"/>
                <a:gd name="connsiteX5" fmla="*/ 22560 w 35008"/>
                <a:gd name="connsiteY5" fmla="*/ 24086 h 32327"/>
                <a:gd name="connsiteX6" fmla="*/ 23776 w 35008"/>
                <a:gd name="connsiteY6" fmla="*/ 25700 h 32327"/>
                <a:gd name="connsiteX7" fmla="*/ 22986 w 35008"/>
                <a:gd name="connsiteY7" fmla="*/ 27286 h 32327"/>
                <a:gd name="connsiteX8" fmla="*/ 22873 w 35008"/>
                <a:gd name="connsiteY8" fmla="*/ 29685 h 32327"/>
                <a:gd name="connsiteX9" fmla="*/ 22670 w 35008"/>
                <a:gd name="connsiteY9" fmla="*/ 30543 h 32327"/>
                <a:gd name="connsiteX10" fmla="*/ 18558 w 35008"/>
                <a:gd name="connsiteY10" fmla="*/ 31985 h 32327"/>
                <a:gd name="connsiteX11" fmla="*/ 7846 w 35008"/>
                <a:gd name="connsiteY11" fmla="*/ 32327 h 32327"/>
                <a:gd name="connsiteX12" fmla="*/ 3409 w 35008"/>
                <a:gd name="connsiteY12" fmla="*/ 31805 h 32327"/>
                <a:gd name="connsiteX13" fmla="*/ 0 w 35008"/>
                <a:gd name="connsiteY13" fmla="*/ 32212 h 32327"/>
                <a:gd name="connsiteX14" fmla="*/ 6204 w 35008"/>
                <a:gd name="connsiteY14" fmla="*/ 29074 h 32327"/>
                <a:gd name="connsiteX15" fmla="*/ 6933 w 35008"/>
                <a:gd name="connsiteY15" fmla="*/ 27749 h 32327"/>
                <a:gd name="connsiteX16" fmla="*/ 9566 w 35008"/>
                <a:gd name="connsiteY16" fmla="*/ 27501 h 32327"/>
                <a:gd name="connsiteX17" fmla="*/ 10315 w 35008"/>
                <a:gd name="connsiteY17" fmla="*/ 27105 h 32327"/>
                <a:gd name="connsiteX18" fmla="*/ 11192 w 35008"/>
                <a:gd name="connsiteY18" fmla="*/ 20176 h 32327"/>
                <a:gd name="connsiteX19" fmla="*/ 10849 w 35008"/>
                <a:gd name="connsiteY19" fmla="*/ 18524 h 32327"/>
                <a:gd name="connsiteX20" fmla="*/ 10328 w 35008"/>
                <a:gd name="connsiteY20" fmla="*/ 17614 h 32327"/>
                <a:gd name="connsiteX21" fmla="*/ 9260 w 35008"/>
                <a:gd name="connsiteY21" fmla="*/ 16958 h 32327"/>
                <a:gd name="connsiteX22" fmla="*/ 6867 w 35008"/>
                <a:gd name="connsiteY22" fmla="*/ 16063 h 32327"/>
                <a:gd name="connsiteX23" fmla="*/ 6464 w 35008"/>
                <a:gd name="connsiteY23" fmla="*/ 15584 h 32327"/>
                <a:gd name="connsiteX24" fmla="*/ 7969 w 35008"/>
                <a:gd name="connsiteY24" fmla="*/ 14817 h 32327"/>
                <a:gd name="connsiteX25" fmla="*/ 11190 w 35008"/>
                <a:gd name="connsiteY25" fmla="*/ 14394 h 32327"/>
                <a:gd name="connsiteX26" fmla="*/ 13595 w 35008"/>
                <a:gd name="connsiteY26" fmla="*/ 13564 h 32327"/>
                <a:gd name="connsiteX27" fmla="*/ 18571 w 35008"/>
                <a:gd name="connsiteY27" fmla="*/ 13397 h 32327"/>
                <a:gd name="connsiteX28" fmla="*/ 20985 w 35008"/>
                <a:gd name="connsiteY28" fmla="*/ 12664 h 32327"/>
                <a:gd name="connsiteX29" fmla="*/ 35008 w 35008"/>
                <a:gd name="connsiteY29" fmla="*/ 0 h 32327"/>
                <a:gd name="connsiteX30" fmla="*/ 34475 w 35008"/>
                <a:gd name="connsiteY30" fmla="*/ 1583 h 32327"/>
                <a:gd name="connsiteX31" fmla="*/ 29156 w 35008"/>
                <a:gd name="connsiteY31" fmla="*/ 3770 h 32327"/>
                <a:gd name="connsiteX32" fmla="*/ 27777 w 35008"/>
                <a:gd name="connsiteY32" fmla="*/ 4025 h 32327"/>
                <a:gd name="connsiteX33" fmla="*/ 27939 w 35008"/>
                <a:gd name="connsiteY33" fmla="*/ 3003 h 32327"/>
                <a:gd name="connsiteX34" fmla="*/ 30356 w 35008"/>
                <a:gd name="connsiteY34" fmla="*/ 1236 h 32327"/>
                <a:gd name="connsiteX35" fmla="*/ 34062 w 35008"/>
                <a:gd name="connsiteY35" fmla="*/ 47 h 32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35008" h="32327">
                  <a:moveTo>
                    <a:pt x="25065" y="12450"/>
                  </a:moveTo>
                  <a:lnTo>
                    <a:pt x="23060" y="15632"/>
                  </a:lnTo>
                  <a:lnTo>
                    <a:pt x="22120" y="16819"/>
                  </a:lnTo>
                  <a:lnTo>
                    <a:pt x="22486" y="19685"/>
                  </a:lnTo>
                  <a:lnTo>
                    <a:pt x="22025" y="21628"/>
                  </a:lnTo>
                  <a:lnTo>
                    <a:pt x="22560" y="24086"/>
                  </a:lnTo>
                  <a:lnTo>
                    <a:pt x="23776" y="25700"/>
                  </a:lnTo>
                  <a:lnTo>
                    <a:pt x="22986" y="27286"/>
                  </a:lnTo>
                  <a:lnTo>
                    <a:pt x="22873" y="29685"/>
                  </a:lnTo>
                  <a:lnTo>
                    <a:pt x="22670" y="30543"/>
                  </a:lnTo>
                  <a:lnTo>
                    <a:pt x="18558" y="31985"/>
                  </a:lnTo>
                  <a:lnTo>
                    <a:pt x="7846" y="32327"/>
                  </a:lnTo>
                  <a:lnTo>
                    <a:pt x="3409" y="31805"/>
                  </a:lnTo>
                  <a:lnTo>
                    <a:pt x="0" y="32212"/>
                  </a:lnTo>
                  <a:lnTo>
                    <a:pt x="6204" y="29074"/>
                  </a:lnTo>
                  <a:lnTo>
                    <a:pt x="6933" y="27749"/>
                  </a:lnTo>
                  <a:lnTo>
                    <a:pt x="9566" y="27501"/>
                  </a:lnTo>
                  <a:lnTo>
                    <a:pt x="10315" y="27105"/>
                  </a:lnTo>
                  <a:lnTo>
                    <a:pt x="11192" y="20176"/>
                  </a:lnTo>
                  <a:lnTo>
                    <a:pt x="10849" y="18524"/>
                  </a:lnTo>
                  <a:lnTo>
                    <a:pt x="10328" y="17614"/>
                  </a:lnTo>
                  <a:lnTo>
                    <a:pt x="9260" y="16958"/>
                  </a:lnTo>
                  <a:lnTo>
                    <a:pt x="6867" y="16063"/>
                  </a:lnTo>
                  <a:lnTo>
                    <a:pt x="6464" y="15584"/>
                  </a:lnTo>
                  <a:lnTo>
                    <a:pt x="7969" y="14817"/>
                  </a:lnTo>
                  <a:lnTo>
                    <a:pt x="11190" y="14394"/>
                  </a:lnTo>
                  <a:lnTo>
                    <a:pt x="13595" y="13564"/>
                  </a:lnTo>
                  <a:lnTo>
                    <a:pt x="18571" y="13397"/>
                  </a:lnTo>
                  <a:lnTo>
                    <a:pt x="20985" y="12664"/>
                  </a:lnTo>
                  <a:close/>
                  <a:moveTo>
                    <a:pt x="35008" y="0"/>
                  </a:moveTo>
                  <a:lnTo>
                    <a:pt x="34475" y="1583"/>
                  </a:lnTo>
                  <a:lnTo>
                    <a:pt x="29156" y="3770"/>
                  </a:lnTo>
                  <a:lnTo>
                    <a:pt x="27777" y="4025"/>
                  </a:lnTo>
                  <a:lnTo>
                    <a:pt x="27939" y="3003"/>
                  </a:lnTo>
                  <a:lnTo>
                    <a:pt x="30356" y="1236"/>
                  </a:lnTo>
                  <a:lnTo>
                    <a:pt x="34062" y="47"/>
                  </a:lnTo>
                  <a:close/>
                </a:path>
              </a:pathLst>
            </a:custGeom>
            <a:solidFill>
              <a:srgbClr val="007CBC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72" name="ee4p_UY_1_82333">
              <a:extLst>
                <a:ext uri="{FF2B5EF4-FFF2-40B4-BE49-F238E27FC236}">
                  <a16:creationId xmlns:a16="http://schemas.microsoft.com/office/drawing/2014/main" id="{CD65E7B4-C268-0982-30FC-B3C067FEDA6B}"/>
                </a:ext>
              </a:extLst>
            </p:cNvPr>
            <p:cNvSpPr>
              <a:spLocks noChangeAspect="1"/>
            </p:cNvSpPr>
            <p:nvPr>
              <p:custDataLst>
                <p:tags r:id="rId200"/>
              </p:custDataLst>
            </p:nvPr>
          </p:nvSpPr>
          <p:spPr>
            <a:xfrm>
              <a:off x="4891910" y="5560888"/>
              <a:ext cx="147528" cy="153409"/>
            </a:xfrm>
            <a:custGeom>
              <a:avLst/>
              <a:gdLst/>
              <a:ahLst/>
              <a:cxnLst/>
              <a:rect l="0" t="0" r="0" b="0"/>
              <a:pathLst>
                <a:path w="117473" h="118918">
                  <a:moveTo>
                    <a:pt x="112054" y="89243"/>
                  </a:moveTo>
                  <a:lnTo>
                    <a:pt x="110971" y="90162"/>
                  </a:lnTo>
                  <a:lnTo>
                    <a:pt x="109802" y="91903"/>
                  </a:lnTo>
                  <a:lnTo>
                    <a:pt x="108430" y="96082"/>
                  </a:lnTo>
                  <a:lnTo>
                    <a:pt x="103821" y="101856"/>
                  </a:lnTo>
                  <a:lnTo>
                    <a:pt x="102884" y="105117"/>
                  </a:lnTo>
                  <a:lnTo>
                    <a:pt x="97910" y="108524"/>
                  </a:lnTo>
                  <a:lnTo>
                    <a:pt x="94410" y="112363"/>
                  </a:lnTo>
                  <a:lnTo>
                    <a:pt x="92120" y="112267"/>
                  </a:lnTo>
                  <a:lnTo>
                    <a:pt x="90059" y="113912"/>
                  </a:lnTo>
                  <a:lnTo>
                    <a:pt x="78185" y="118917"/>
                  </a:lnTo>
                  <a:lnTo>
                    <a:pt x="73922" y="117973"/>
                  </a:lnTo>
                  <a:lnTo>
                    <a:pt x="70765" y="117991"/>
                  </a:lnTo>
                  <a:lnTo>
                    <a:pt x="67830" y="115784"/>
                  </a:lnTo>
                  <a:lnTo>
                    <a:pt x="61140" y="114986"/>
                  </a:lnTo>
                  <a:lnTo>
                    <a:pt x="56943" y="115867"/>
                  </a:lnTo>
                  <a:lnTo>
                    <a:pt x="51305" y="118294"/>
                  </a:lnTo>
                  <a:lnTo>
                    <a:pt x="49609" y="118257"/>
                  </a:lnTo>
                  <a:lnTo>
                    <a:pt x="48386" y="118127"/>
                  </a:lnTo>
                  <a:lnTo>
                    <a:pt x="45337" y="117121"/>
                  </a:lnTo>
                  <a:lnTo>
                    <a:pt x="43673" y="114979"/>
                  </a:lnTo>
                  <a:lnTo>
                    <a:pt x="35003" y="112511"/>
                  </a:lnTo>
                  <a:lnTo>
                    <a:pt x="28026" y="106911"/>
                  </a:lnTo>
                  <a:lnTo>
                    <a:pt x="19784" y="106804"/>
                  </a:lnTo>
                  <a:lnTo>
                    <a:pt x="13468" y="107535"/>
                  </a:lnTo>
                  <a:lnTo>
                    <a:pt x="12491" y="106795"/>
                  </a:lnTo>
                  <a:lnTo>
                    <a:pt x="11852" y="105360"/>
                  </a:lnTo>
                  <a:lnTo>
                    <a:pt x="10546" y="103286"/>
                  </a:lnTo>
                  <a:lnTo>
                    <a:pt x="5111" y="98360"/>
                  </a:lnTo>
                  <a:lnTo>
                    <a:pt x="839" y="93470"/>
                  </a:lnTo>
                  <a:lnTo>
                    <a:pt x="0" y="88672"/>
                  </a:lnTo>
                  <a:lnTo>
                    <a:pt x="593" y="83459"/>
                  </a:lnTo>
                  <a:lnTo>
                    <a:pt x="1875" y="77300"/>
                  </a:lnTo>
                  <a:lnTo>
                    <a:pt x="1650" y="75378"/>
                  </a:lnTo>
                  <a:lnTo>
                    <a:pt x="3228" y="74282"/>
                  </a:lnTo>
                  <a:lnTo>
                    <a:pt x="4789" y="74062"/>
                  </a:lnTo>
                  <a:lnTo>
                    <a:pt x="6293" y="72470"/>
                  </a:lnTo>
                  <a:lnTo>
                    <a:pt x="7639" y="70069"/>
                  </a:lnTo>
                  <a:lnTo>
                    <a:pt x="7868" y="68249"/>
                  </a:lnTo>
                  <a:lnTo>
                    <a:pt x="6823" y="64886"/>
                  </a:lnTo>
                  <a:lnTo>
                    <a:pt x="6102" y="60188"/>
                  </a:lnTo>
                  <a:lnTo>
                    <a:pt x="5240" y="57855"/>
                  </a:lnTo>
                  <a:lnTo>
                    <a:pt x="6968" y="54172"/>
                  </a:lnTo>
                  <a:lnTo>
                    <a:pt x="7041" y="52380"/>
                  </a:lnTo>
                  <a:lnTo>
                    <a:pt x="6044" y="50807"/>
                  </a:lnTo>
                  <a:lnTo>
                    <a:pt x="5775" y="49192"/>
                  </a:lnTo>
                  <a:lnTo>
                    <a:pt x="6231" y="47536"/>
                  </a:lnTo>
                  <a:lnTo>
                    <a:pt x="6142" y="45941"/>
                  </a:lnTo>
                  <a:lnTo>
                    <a:pt x="5509" y="44414"/>
                  </a:lnTo>
                  <a:lnTo>
                    <a:pt x="5985" y="43151"/>
                  </a:lnTo>
                  <a:lnTo>
                    <a:pt x="7569" y="42151"/>
                  </a:lnTo>
                  <a:lnTo>
                    <a:pt x="8752" y="40618"/>
                  </a:lnTo>
                  <a:lnTo>
                    <a:pt x="9534" y="38555"/>
                  </a:lnTo>
                  <a:lnTo>
                    <a:pt x="9935" y="36981"/>
                  </a:lnTo>
                  <a:lnTo>
                    <a:pt x="9954" y="35894"/>
                  </a:lnTo>
                  <a:lnTo>
                    <a:pt x="9475" y="34872"/>
                  </a:lnTo>
                  <a:lnTo>
                    <a:pt x="8498" y="33908"/>
                  </a:lnTo>
                  <a:lnTo>
                    <a:pt x="8950" y="31995"/>
                  </a:lnTo>
                  <a:lnTo>
                    <a:pt x="10831" y="29134"/>
                  </a:lnTo>
                  <a:lnTo>
                    <a:pt x="12046" y="26594"/>
                  </a:lnTo>
                  <a:lnTo>
                    <a:pt x="12598" y="24377"/>
                  </a:lnTo>
                  <a:lnTo>
                    <a:pt x="12562" y="22590"/>
                  </a:lnTo>
                  <a:lnTo>
                    <a:pt x="11938" y="21229"/>
                  </a:lnTo>
                  <a:lnTo>
                    <a:pt x="12202" y="20309"/>
                  </a:lnTo>
                  <a:lnTo>
                    <a:pt x="13357" y="19824"/>
                  </a:lnTo>
                  <a:lnTo>
                    <a:pt x="13877" y="18390"/>
                  </a:lnTo>
                  <a:lnTo>
                    <a:pt x="13701" y="14825"/>
                  </a:lnTo>
                  <a:lnTo>
                    <a:pt x="12508" y="11884"/>
                  </a:lnTo>
                  <a:lnTo>
                    <a:pt x="13421" y="9558"/>
                  </a:lnTo>
                  <a:lnTo>
                    <a:pt x="16042" y="6869"/>
                  </a:lnTo>
                  <a:lnTo>
                    <a:pt x="17409" y="4700"/>
                  </a:lnTo>
                  <a:lnTo>
                    <a:pt x="17522" y="3049"/>
                  </a:lnTo>
                  <a:lnTo>
                    <a:pt x="18337" y="2100"/>
                  </a:lnTo>
                  <a:lnTo>
                    <a:pt x="19588" y="3880"/>
                  </a:lnTo>
                  <a:lnTo>
                    <a:pt x="23313" y="4352"/>
                  </a:lnTo>
                  <a:lnTo>
                    <a:pt x="27059" y="4418"/>
                  </a:lnTo>
                  <a:lnTo>
                    <a:pt x="27668" y="3968"/>
                  </a:lnTo>
                  <a:lnTo>
                    <a:pt x="29136" y="1050"/>
                  </a:lnTo>
                  <a:lnTo>
                    <a:pt x="31077" y="215"/>
                  </a:lnTo>
                  <a:lnTo>
                    <a:pt x="33188" y="0"/>
                  </a:lnTo>
                  <a:lnTo>
                    <a:pt x="35500" y="149"/>
                  </a:lnTo>
                  <a:lnTo>
                    <a:pt x="37955" y="2079"/>
                  </a:lnTo>
                  <a:lnTo>
                    <a:pt x="44908" y="8398"/>
                  </a:lnTo>
                  <a:lnTo>
                    <a:pt x="50017" y="12793"/>
                  </a:lnTo>
                  <a:lnTo>
                    <a:pt x="51572" y="14868"/>
                  </a:lnTo>
                  <a:lnTo>
                    <a:pt x="52921" y="16421"/>
                  </a:lnTo>
                  <a:lnTo>
                    <a:pt x="53935" y="17870"/>
                  </a:lnTo>
                  <a:lnTo>
                    <a:pt x="53505" y="21636"/>
                  </a:lnTo>
                  <a:lnTo>
                    <a:pt x="53570" y="23287"/>
                  </a:lnTo>
                  <a:lnTo>
                    <a:pt x="53809" y="23763"/>
                  </a:lnTo>
                  <a:lnTo>
                    <a:pt x="54974" y="23804"/>
                  </a:lnTo>
                  <a:lnTo>
                    <a:pt x="56706" y="23530"/>
                  </a:lnTo>
                  <a:lnTo>
                    <a:pt x="58164" y="22728"/>
                  </a:lnTo>
                  <a:lnTo>
                    <a:pt x="59301" y="21519"/>
                  </a:lnTo>
                  <a:lnTo>
                    <a:pt x="60415" y="20533"/>
                  </a:lnTo>
                  <a:lnTo>
                    <a:pt x="61315" y="20005"/>
                  </a:lnTo>
                  <a:lnTo>
                    <a:pt x="61641" y="19206"/>
                  </a:lnTo>
                  <a:lnTo>
                    <a:pt x="62157" y="18379"/>
                  </a:lnTo>
                  <a:lnTo>
                    <a:pt x="62691" y="18201"/>
                  </a:lnTo>
                  <a:lnTo>
                    <a:pt x="63701" y="18814"/>
                  </a:lnTo>
                  <a:lnTo>
                    <a:pt x="66084" y="20968"/>
                  </a:lnTo>
                  <a:lnTo>
                    <a:pt x="67930" y="22959"/>
                  </a:lnTo>
                  <a:lnTo>
                    <a:pt x="68385" y="24099"/>
                  </a:lnTo>
                  <a:lnTo>
                    <a:pt x="69098" y="25287"/>
                  </a:lnTo>
                  <a:lnTo>
                    <a:pt x="69856" y="26322"/>
                  </a:lnTo>
                  <a:lnTo>
                    <a:pt x="70394" y="27333"/>
                  </a:lnTo>
                  <a:lnTo>
                    <a:pt x="72188" y="28650"/>
                  </a:lnTo>
                  <a:lnTo>
                    <a:pt x="74009" y="29489"/>
                  </a:lnTo>
                  <a:lnTo>
                    <a:pt x="75228" y="28636"/>
                  </a:lnTo>
                  <a:lnTo>
                    <a:pt x="78325" y="31375"/>
                  </a:lnTo>
                  <a:lnTo>
                    <a:pt x="85143" y="33670"/>
                  </a:lnTo>
                  <a:lnTo>
                    <a:pt x="86398" y="35059"/>
                  </a:lnTo>
                  <a:lnTo>
                    <a:pt x="87574" y="37033"/>
                  </a:lnTo>
                  <a:lnTo>
                    <a:pt x="89957" y="40025"/>
                  </a:lnTo>
                  <a:lnTo>
                    <a:pt x="93260" y="42722"/>
                  </a:lnTo>
                  <a:lnTo>
                    <a:pt x="95916" y="43859"/>
                  </a:lnTo>
                  <a:lnTo>
                    <a:pt x="98465" y="44510"/>
                  </a:lnTo>
                  <a:lnTo>
                    <a:pt x="99893" y="45103"/>
                  </a:lnTo>
                  <a:lnTo>
                    <a:pt x="100867" y="46138"/>
                  </a:lnTo>
                  <a:lnTo>
                    <a:pt x="102425" y="47251"/>
                  </a:lnTo>
                  <a:lnTo>
                    <a:pt x="103406" y="47665"/>
                  </a:lnTo>
                  <a:lnTo>
                    <a:pt x="103740" y="48662"/>
                  </a:lnTo>
                  <a:lnTo>
                    <a:pt x="104746" y="50843"/>
                  </a:lnTo>
                  <a:lnTo>
                    <a:pt x="105796" y="53603"/>
                  </a:lnTo>
                  <a:lnTo>
                    <a:pt x="106944" y="56167"/>
                  </a:lnTo>
                  <a:lnTo>
                    <a:pt x="109427" y="58631"/>
                  </a:lnTo>
                  <a:lnTo>
                    <a:pt x="112228" y="60549"/>
                  </a:lnTo>
                  <a:lnTo>
                    <a:pt x="115136" y="61638"/>
                  </a:lnTo>
                  <a:lnTo>
                    <a:pt x="116771" y="62985"/>
                  </a:lnTo>
                  <a:lnTo>
                    <a:pt x="117472" y="64380"/>
                  </a:lnTo>
                  <a:lnTo>
                    <a:pt x="115516" y="66460"/>
                  </a:lnTo>
                  <a:lnTo>
                    <a:pt x="113392" y="69073"/>
                  </a:lnTo>
                  <a:lnTo>
                    <a:pt x="111510" y="71129"/>
                  </a:lnTo>
                  <a:lnTo>
                    <a:pt x="109572" y="72567"/>
                  </a:lnTo>
                  <a:lnTo>
                    <a:pt x="108931" y="73558"/>
                  </a:lnTo>
                  <a:lnTo>
                    <a:pt x="108500" y="75095"/>
                  </a:lnTo>
                  <a:lnTo>
                    <a:pt x="108522" y="83246"/>
                  </a:lnTo>
                  <a:lnTo>
                    <a:pt x="108361" y="86284"/>
                  </a:lnTo>
                  <a:lnTo>
                    <a:pt x="108500" y="87092"/>
                  </a:lnTo>
                  <a:lnTo>
                    <a:pt x="108776" y="87632"/>
                  </a:lnTo>
                  <a:lnTo>
                    <a:pt x="109999" y="88442"/>
                  </a:lnTo>
                  <a:lnTo>
                    <a:pt x="111458" y="89123"/>
                  </a:lnTo>
                  <a:close/>
                </a:path>
              </a:pathLst>
            </a:custGeom>
            <a:solidFill>
              <a:srgbClr val="007CBC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73" name="ee4p_VC_1_82333">
              <a:extLst>
                <a:ext uri="{FF2B5EF4-FFF2-40B4-BE49-F238E27FC236}">
                  <a16:creationId xmlns:a16="http://schemas.microsoft.com/office/drawing/2014/main" id="{01DD66BC-FBC5-9694-3009-06B574AEBC64}"/>
                </a:ext>
              </a:extLst>
            </p:cNvPr>
            <p:cNvSpPr>
              <a:spLocks noChangeAspect="1"/>
            </p:cNvSpPr>
            <p:nvPr>
              <p:custDataLst>
                <p:tags r:id="rId201"/>
              </p:custDataLst>
            </p:nvPr>
          </p:nvSpPr>
          <p:spPr>
            <a:xfrm>
              <a:off x="4810953" y="4292493"/>
              <a:ext cx="6372" cy="19259"/>
            </a:xfrm>
            <a:custGeom>
              <a:avLst/>
              <a:gdLst>
                <a:gd name="connsiteX0" fmla="*/ 853 w 5819"/>
                <a:gd name="connsiteY0" fmla="*/ 16070 h 17119"/>
                <a:gd name="connsiteX1" fmla="*/ 931 w 5819"/>
                <a:gd name="connsiteY1" fmla="*/ 16167 h 17119"/>
                <a:gd name="connsiteX2" fmla="*/ 981 w 5819"/>
                <a:gd name="connsiteY2" fmla="*/ 16402 h 17119"/>
                <a:gd name="connsiteX3" fmla="*/ 848 w 5819"/>
                <a:gd name="connsiteY3" fmla="*/ 16583 h 17119"/>
                <a:gd name="connsiteX4" fmla="*/ 700 w 5819"/>
                <a:gd name="connsiteY4" fmla="*/ 16729 h 17119"/>
                <a:gd name="connsiteX5" fmla="*/ 627 w 5819"/>
                <a:gd name="connsiteY5" fmla="*/ 16954 h 17119"/>
                <a:gd name="connsiteX6" fmla="*/ 485 w 5819"/>
                <a:gd name="connsiteY6" fmla="*/ 17106 h 17119"/>
                <a:gd name="connsiteX7" fmla="*/ 228 w 5819"/>
                <a:gd name="connsiteY7" fmla="*/ 17119 h 17119"/>
                <a:gd name="connsiteX8" fmla="*/ 0 w 5819"/>
                <a:gd name="connsiteY8" fmla="*/ 17031 h 17119"/>
                <a:gd name="connsiteX9" fmla="*/ 61 w 5819"/>
                <a:gd name="connsiteY9" fmla="*/ 16953 h 17119"/>
                <a:gd name="connsiteX10" fmla="*/ 350 w 5819"/>
                <a:gd name="connsiteY10" fmla="*/ 16890 h 17119"/>
                <a:gd name="connsiteX11" fmla="*/ 484 w 5819"/>
                <a:gd name="connsiteY11" fmla="*/ 16720 h 17119"/>
                <a:gd name="connsiteX12" fmla="*/ 436 w 5819"/>
                <a:gd name="connsiteY12" fmla="*/ 16492 h 17119"/>
                <a:gd name="connsiteX13" fmla="*/ 448 w 5819"/>
                <a:gd name="connsiteY13" fmla="*/ 16241 h 17119"/>
                <a:gd name="connsiteX14" fmla="*/ 678 w 5819"/>
                <a:gd name="connsiteY14" fmla="*/ 16086 h 17119"/>
                <a:gd name="connsiteX15" fmla="*/ 3863 w 5819"/>
                <a:gd name="connsiteY15" fmla="*/ 7897 h 17119"/>
                <a:gd name="connsiteX16" fmla="*/ 3897 w 5819"/>
                <a:gd name="connsiteY16" fmla="*/ 7995 h 17119"/>
                <a:gd name="connsiteX17" fmla="*/ 3910 w 5819"/>
                <a:gd name="connsiteY17" fmla="*/ 8089 h 17119"/>
                <a:gd name="connsiteX18" fmla="*/ 3944 w 5819"/>
                <a:gd name="connsiteY18" fmla="*/ 8177 h 17119"/>
                <a:gd name="connsiteX19" fmla="*/ 4051 w 5819"/>
                <a:gd name="connsiteY19" fmla="*/ 8265 h 17119"/>
                <a:gd name="connsiteX20" fmla="*/ 3689 w 5819"/>
                <a:gd name="connsiteY20" fmla="*/ 8615 h 17119"/>
                <a:gd name="connsiteX21" fmla="*/ 3228 w 5819"/>
                <a:gd name="connsiteY21" fmla="*/ 9390 h 17119"/>
                <a:gd name="connsiteX22" fmla="*/ 2822 w 5819"/>
                <a:gd name="connsiteY22" fmla="*/ 9673 h 17119"/>
                <a:gd name="connsiteX23" fmla="*/ 3012 w 5819"/>
                <a:gd name="connsiteY23" fmla="*/ 9673 h 17119"/>
                <a:gd name="connsiteX24" fmla="*/ 2822 w 5819"/>
                <a:gd name="connsiteY24" fmla="*/ 9864 h 17119"/>
                <a:gd name="connsiteX25" fmla="*/ 2695 w 5819"/>
                <a:gd name="connsiteY25" fmla="*/ 9674 h 17119"/>
                <a:gd name="connsiteX26" fmla="*/ 2493 w 5819"/>
                <a:gd name="connsiteY26" fmla="*/ 9557 h 17119"/>
                <a:gd name="connsiteX27" fmla="*/ 2236 w 5819"/>
                <a:gd name="connsiteY27" fmla="*/ 9505 h 17119"/>
                <a:gd name="connsiteX28" fmla="*/ 1941 w 5819"/>
                <a:gd name="connsiteY28" fmla="*/ 9513 h 17119"/>
                <a:gd name="connsiteX29" fmla="*/ 1941 w 5819"/>
                <a:gd name="connsiteY29" fmla="*/ 9319 h 17119"/>
                <a:gd name="connsiteX30" fmla="*/ 2319 w 5819"/>
                <a:gd name="connsiteY30" fmla="*/ 9437 h 17119"/>
                <a:gd name="connsiteX31" fmla="*/ 2894 w 5819"/>
                <a:gd name="connsiteY31" fmla="*/ 9323 h 17119"/>
                <a:gd name="connsiteX32" fmla="*/ 2898 w 5819"/>
                <a:gd name="connsiteY32" fmla="*/ 9114 h 17119"/>
                <a:gd name="connsiteX33" fmla="*/ 2728 w 5819"/>
                <a:gd name="connsiteY33" fmla="*/ 8925 h 17119"/>
                <a:gd name="connsiteX34" fmla="*/ 2650 w 5819"/>
                <a:gd name="connsiteY34" fmla="*/ 8792 h 17119"/>
                <a:gd name="connsiteX35" fmla="*/ 2863 w 5819"/>
                <a:gd name="connsiteY35" fmla="*/ 8589 h 17119"/>
                <a:gd name="connsiteX36" fmla="*/ 3567 w 5819"/>
                <a:gd name="connsiteY36" fmla="*/ 8137 h 17119"/>
                <a:gd name="connsiteX37" fmla="*/ 5441 w 5819"/>
                <a:gd name="connsiteY37" fmla="*/ 0 h 17119"/>
                <a:gd name="connsiteX38" fmla="*/ 5819 w 5819"/>
                <a:gd name="connsiteY38" fmla="*/ 1668 h 17119"/>
                <a:gd name="connsiteX39" fmla="*/ 5553 w 5819"/>
                <a:gd name="connsiteY39" fmla="*/ 4020 h 17119"/>
                <a:gd name="connsiteX40" fmla="*/ 4538 w 5819"/>
                <a:gd name="connsiteY40" fmla="*/ 5175 h 17119"/>
                <a:gd name="connsiteX41" fmla="*/ 3794 w 5819"/>
                <a:gd name="connsiteY41" fmla="*/ 5584 h 17119"/>
                <a:gd name="connsiteX42" fmla="*/ 1933 w 5819"/>
                <a:gd name="connsiteY42" fmla="*/ 3848 h 17119"/>
                <a:gd name="connsiteX43" fmla="*/ 2157 w 5819"/>
                <a:gd name="connsiteY43" fmla="*/ 1832 h 17119"/>
                <a:gd name="connsiteX44" fmla="*/ 3282 w 5819"/>
                <a:gd name="connsiteY44" fmla="*/ 723 h 17119"/>
                <a:gd name="connsiteX45" fmla="*/ 4346 w 5819"/>
                <a:gd name="connsiteY45" fmla="*/ 71 h 171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5819" h="17119">
                  <a:moveTo>
                    <a:pt x="853" y="16070"/>
                  </a:moveTo>
                  <a:lnTo>
                    <a:pt x="931" y="16167"/>
                  </a:lnTo>
                  <a:lnTo>
                    <a:pt x="981" y="16402"/>
                  </a:lnTo>
                  <a:lnTo>
                    <a:pt x="848" y="16583"/>
                  </a:lnTo>
                  <a:lnTo>
                    <a:pt x="700" y="16729"/>
                  </a:lnTo>
                  <a:lnTo>
                    <a:pt x="627" y="16954"/>
                  </a:lnTo>
                  <a:lnTo>
                    <a:pt x="485" y="17106"/>
                  </a:lnTo>
                  <a:lnTo>
                    <a:pt x="228" y="17119"/>
                  </a:lnTo>
                  <a:lnTo>
                    <a:pt x="0" y="17031"/>
                  </a:lnTo>
                  <a:lnTo>
                    <a:pt x="61" y="16953"/>
                  </a:lnTo>
                  <a:lnTo>
                    <a:pt x="350" y="16890"/>
                  </a:lnTo>
                  <a:lnTo>
                    <a:pt x="484" y="16720"/>
                  </a:lnTo>
                  <a:lnTo>
                    <a:pt x="436" y="16492"/>
                  </a:lnTo>
                  <a:lnTo>
                    <a:pt x="448" y="16241"/>
                  </a:lnTo>
                  <a:lnTo>
                    <a:pt x="678" y="16086"/>
                  </a:lnTo>
                  <a:close/>
                  <a:moveTo>
                    <a:pt x="3863" y="7897"/>
                  </a:moveTo>
                  <a:lnTo>
                    <a:pt x="3897" y="7995"/>
                  </a:lnTo>
                  <a:lnTo>
                    <a:pt x="3910" y="8089"/>
                  </a:lnTo>
                  <a:lnTo>
                    <a:pt x="3944" y="8177"/>
                  </a:lnTo>
                  <a:lnTo>
                    <a:pt x="4051" y="8265"/>
                  </a:lnTo>
                  <a:lnTo>
                    <a:pt x="3689" y="8615"/>
                  </a:lnTo>
                  <a:lnTo>
                    <a:pt x="3228" y="9390"/>
                  </a:lnTo>
                  <a:lnTo>
                    <a:pt x="2822" y="9673"/>
                  </a:lnTo>
                  <a:lnTo>
                    <a:pt x="3012" y="9673"/>
                  </a:lnTo>
                  <a:lnTo>
                    <a:pt x="2822" y="9864"/>
                  </a:lnTo>
                  <a:lnTo>
                    <a:pt x="2695" y="9674"/>
                  </a:lnTo>
                  <a:lnTo>
                    <a:pt x="2493" y="9557"/>
                  </a:lnTo>
                  <a:lnTo>
                    <a:pt x="2236" y="9505"/>
                  </a:lnTo>
                  <a:lnTo>
                    <a:pt x="1941" y="9513"/>
                  </a:lnTo>
                  <a:lnTo>
                    <a:pt x="1941" y="9319"/>
                  </a:lnTo>
                  <a:lnTo>
                    <a:pt x="2319" y="9437"/>
                  </a:lnTo>
                  <a:lnTo>
                    <a:pt x="2894" y="9323"/>
                  </a:lnTo>
                  <a:lnTo>
                    <a:pt x="2898" y="9114"/>
                  </a:lnTo>
                  <a:lnTo>
                    <a:pt x="2728" y="8925"/>
                  </a:lnTo>
                  <a:lnTo>
                    <a:pt x="2650" y="8792"/>
                  </a:lnTo>
                  <a:lnTo>
                    <a:pt x="2863" y="8589"/>
                  </a:lnTo>
                  <a:lnTo>
                    <a:pt x="3567" y="8137"/>
                  </a:lnTo>
                  <a:close/>
                  <a:moveTo>
                    <a:pt x="5441" y="0"/>
                  </a:moveTo>
                  <a:lnTo>
                    <a:pt x="5819" y="1668"/>
                  </a:lnTo>
                  <a:lnTo>
                    <a:pt x="5553" y="4020"/>
                  </a:lnTo>
                  <a:lnTo>
                    <a:pt x="4538" y="5175"/>
                  </a:lnTo>
                  <a:lnTo>
                    <a:pt x="3794" y="5584"/>
                  </a:lnTo>
                  <a:lnTo>
                    <a:pt x="1933" y="3848"/>
                  </a:lnTo>
                  <a:lnTo>
                    <a:pt x="2157" y="1832"/>
                  </a:lnTo>
                  <a:lnTo>
                    <a:pt x="3282" y="723"/>
                  </a:lnTo>
                  <a:lnTo>
                    <a:pt x="4346" y="71"/>
                  </a:lnTo>
                  <a:close/>
                </a:path>
              </a:pathLst>
            </a:custGeom>
            <a:solidFill>
              <a:srgbClr val="007CBC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74" name="ee4p_VE_1_82333">
              <a:extLst>
                <a:ext uri="{FF2B5EF4-FFF2-40B4-BE49-F238E27FC236}">
                  <a16:creationId xmlns:a16="http://schemas.microsoft.com/office/drawing/2014/main" id="{5215F81A-87CE-D1D5-6A30-0FFF492BBDAA}"/>
                </a:ext>
              </a:extLst>
            </p:cNvPr>
            <p:cNvSpPr>
              <a:spLocks noChangeAspect="1"/>
            </p:cNvSpPr>
            <p:nvPr>
              <p:custDataLst>
                <p:tags r:id="rId202"/>
              </p:custDataLst>
            </p:nvPr>
          </p:nvSpPr>
          <p:spPr>
            <a:xfrm>
              <a:off x="4477367" y="4326720"/>
              <a:ext cx="375924" cy="329440"/>
            </a:xfrm>
            <a:custGeom>
              <a:avLst/>
              <a:gdLst>
                <a:gd name="connsiteX0" fmla="*/ 315698 w 343258"/>
                <a:gd name="connsiteY0" fmla="*/ 79677 h 292840"/>
                <a:gd name="connsiteX1" fmla="*/ 316236 w 343258"/>
                <a:gd name="connsiteY1" fmla="*/ 80111 h 292840"/>
                <a:gd name="connsiteX2" fmla="*/ 316102 w 343258"/>
                <a:gd name="connsiteY2" fmla="*/ 80660 h 292840"/>
                <a:gd name="connsiteX3" fmla="*/ 317387 w 343258"/>
                <a:gd name="connsiteY3" fmla="*/ 81584 h 292840"/>
                <a:gd name="connsiteX4" fmla="*/ 317076 w 343258"/>
                <a:gd name="connsiteY4" fmla="*/ 82763 h 292840"/>
                <a:gd name="connsiteX5" fmla="*/ 315683 w 343258"/>
                <a:gd name="connsiteY5" fmla="*/ 84048 h 292840"/>
                <a:gd name="connsiteX6" fmla="*/ 313617 w 343258"/>
                <a:gd name="connsiteY6" fmla="*/ 84865 h 292840"/>
                <a:gd name="connsiteX7" fmla="*/ 312043 w 343258"/>
                <a:gd name="connsiteY7" fmla="*/ 85383 h 292840"/>
                <a:gd name="connsiteX8" fmla="*/ 311808 w 343258"/>
                <a:gd name="connsiteY8" fmla="*/ 82821 h 292840"/>
                <a:gd name="connsiteX9" fmla="*/ 312283 w 343258"/>
                <a:gd name="connsiteY9" fmla="*/ 82130 h 292840"/>
                <a:gd name="connsiteX10" fmla="*/ 314963 w 343258"/>
                <a:gd name="connsiteY10" fmla="*/ 80068 h 292840"/>
                <a:gd name="connsiteX11" fmla="*/ 319102 w 343258"/>
                <a:gd name="connsiteY11" fmla="*/ 75893 h 292840"/>
                <a:gd name="connsiteX12" fmla="*/ 319677 w 343258"/>
                <a:gd name="connsiteY12" fmla="*/ 75941 h 292840"/>
                <a:gd name="connsiteX13" fmla="*/ 320262 w 343258"/>
                <a:gd name="connsiteY13" fmla="*/ 76277 h 292840"/>
                <a:gd name="connsiteX14" fmla="*/ 318878 w 343258"/>
                <a:gd name="connsiteY14" fmla="*/ 76946 h 292840"/>
                <a:gd name="connsiteX15" fmla="*/ 318097 w 343258"/>
                <a:gd name="connsiteY15" fmla="*/ 77938 h 292840"/>
                <a:gd name="connsiteX16" fmla="*/ 315049 w 343258"/>
                <a:gd name="connsiteY16" fmla="*/ 78776 h 292840"/>
                <a:gd name="connsiteX17" fmla="*/ 315099 w 343258"/>
                <a:gd name="connsiteY17" fmla="*/ 78093 h 292840"/>
                <a:gd name="connsiteX18" fmla="*/ 315915 w 343258"/>
                <a:gd name="connsiteY18" fmla="*/ 76907 h 292840"/>
                <a:gd name="connsiteX19" fmla="*/ 317497 w 343258"/>
                <a:gd name="connsiteY19" fmla="*/ 76572 h 292840"/>
                <a:gd name="connsiteX20" fmla="*/ 318093 w 343258"/>
                <a:gd name="connsiteY20" fmla="*/ 76166 h 292840"/>
                <a:gd name="connsiteX21" fmla="*/ 202420 w 343258"/>
                <a:gd name="connsiteY21" fmla="*/ 30933 h 292840"/>
                <a:gd name="connsiteX22" fmla="*/ 204471 w 343258"/>
                <a:gd name="connsiteY22" fmla="*/ 30933 h 292840"/>
                <a:gd name="connsiteX23" fmla="*/ 206392 w 343258"/>
                <a:gd name="connsiteY23" fmla="*/ 32051 h 292840"/>
                <a:gd name="connsiteX24" fmla="*/ 206749 w 343258"/>
                <a:gd name="connsiteY24" fmla="*/ 32661 h 292840"/>
                <a:gd name="connsiteX25" fmla="*/ 205382 w 343258"/>
                <a:gd name="connsiteY25" fmla="*/ 33238 h 292840"/>
                <a:gd name="connsiteX26" fmla="*/ 202877 w 343258"/>
                <a:gd name="connsiteY26" fmla="*/ 32661 h 292840"/>
                <a:gd name="connsiteX27" fmla="*/ 201623 w 343258"/>
                <a:gd name="connsiteY27" fmla="*/ 31855 h 292840"/>
                <a:gd name="connsiteX28" fmla="*/ 240204 w 343258"/>
                <a:gd name="connsiteY28" fmla="*/ 25970 h 292840"/>
                <a:gd name="connsiteX29" fmla="*/ 241314 w 343258"/>
                <a:gd name="connsiteY29" fmla="*/ 26899 h 292840"/>
                <a:gd name="connsiteX30" fmla="*/ 242127 w 343258"/>
                <a:gd name="connsiteY30" fmla="*/ 30253 h 292840"/>
                <a:gd name="connsiteX31" fmla="*/ 241878 w 343258"/>
                <a:gd name="connsiteY31" fmla="*/ 30882 h 292840"/>
                <a:gd name="connsiteX32" fmla="*/ 239583 w 343258"/>
                <a:gd name="connsiteY32" fmla="*/ 33146 h 292840"/>
                <a:gd name="connsiteX33" fmla="*/ 237658 w 343258"/>
                <a:gd name="connsiteY33" fmla="*/ 33309 h 292840"/>
                <a:gd name="connsiteX34" fmla="*/ 236108 w 343258"/>
                <a:gd name="connsiteY34" fmla="*/ 33229 h 292840"/>
                <a:gd name="connsiteX35" fmla="*/ 234929 w 343258"/>
                <a:gd name="connsiteY35" fmla="*/ 32791 h 292840"/>
                <a:gd name="connsiteX36" fmla="*/ 233414 w 343258"/>
                <a:gd name="connsiteY36" fmla="*/ 31318 h 292840"/>
                <a:gd name="connsiteX37" fmla="*/ 231943 w 343258"/>
                <a:gd name="connsiteY37" fmla="*/ 31760 h 292840"/>
                <a:gd name="connsiteX38" fmla="*/ 228302 w 343258"/>
                <a:gd name="connsiteY38" fmla="*/ 31248 h 292840"/>
                <a:gd name="connsiteX39" fmla="*/ 227292 w 343258"/>
                <a:gd name="connsiteY39" fmla="*/ 30734 h 292840"/>
                <a:gd name="connsiteX40" fmla="*/ 228655 w 343258"/>
                <a:gd name="connsiteY40" fmla="*/ 28930 h 292840"/>
                <a:gd name="connsiteX41" fmla="*/ 231161 w 343258"/>
                <a:gd name="connsiteY41" fmla="*/ 28201 h 292840"/>
                <a:gd name="connsiteX42" fmla="*/ 232076 w 343258"/>
                <a:gd name="connsiteY42" fmla="*/ 28052 h 292840"/>
                <a:gd name="connsiteX43" fmla="*/ 232808 w 343258"/>
                <a:gd name="connsiteY43" fmla="*/ 29159 h 292840"/>
                <a:gd name="connsiteX44" fmla="*/ 234635 w 343258"/>
                <a:gd name="connsiteY44" fmla="*/ 30116 h 292840"/>
                <a:gd name="connsiteX45" fmla="*/ 236777 w 343258"/>
                <a:gd name="connsiteY45" fmla="*/ 30213 h 292840"/>
                <a:gd name="connsiteX46" fmla="*/ 237309 w 343258"/>
                <a:gd name="connsiteY46" fmla="*/ 28504 h 292840"/>
                <a:gd name="connsiteX47" fmla="*/ 85255 w 343258"/>
                <a:gd name="connsiteY47" fmla="*/ 0 h 292840"/>
                <a:gd name="connsiteX48" fmla="*/ 87527 w 343258"/>
                <a:gd name="connsiteY48" fmla="*/ 1627 h 292840"/>
                <a:gd name="connsiteX49" fmla="*/ 88902 w 343258"/>
                <a:gd name="connsiteY49" fmla="*/ 3181 h 292840"/>
                <a:gd name="connsiteX50" fmla="*/ 89651 w 343258"/>
                <a:gd name="connsiteY50" fmla="*/ 4688 h 292840"/>
                <a:gd name="connsiteX51" fmla="*/ 90160 w 343258"/>
                <a:gd name="connsiteY51" fmla="*/ 8769 h 292840"/>
                <a:gd name="connsiteX52" fmla="*/ 91380 w 343258"/>
                <a:gd name="connsiteY52" fmla="*/ 12903 h 292840"/>
                <a:gd name="connsiteX53" fmla="*/ 92660 w 343258"/>
                <a:gd name="connsiteY53" fmla="*/ 15777 h 292840"/>
                <a:gd name="connsiteX54" fmla="*/ 94696 w 343258"/>
                <a:gd name="connsiteY54" fmla="*/ 17942 h 292840"/>
                <a:gd name="connsiteX55" fmla="*/ 96263 w 343258"/>
                <a:gd name="connsiteY55" fmla="*/ 17800 h 292840"/>
                <a:gd name="connsiteX56" fmla="*/ 97381 w 343258"/>
                <a:gd name="connsiteY56" fmla="*/ 17438 h 292840"/>
                <a:gd name="connsiteX57" fmla="*/ 104815 w 343258"/>
                <a:gd name="connsiteY57" fmla="*/ 16952 h 292840"/>
                <a:gd name="connsiteX58" fmla="*/ 109327 w 343258"/>
                <a:gd name="connsiteY58" fmla="*/ 18427 h 292840"/>
                <a:gd name="connsiteX59" fmla="*/ 115074 w 343258"/>
                <a:gd name="connsiteY59" fmla="*/ 19179 h 292840"/>
                <a:gd name="connsiteX60" fmla="*/ 120444 w 343258"/>
                <a:gd name="connsiteY60" fmla="*/ 22321 h 292840"/>
                <a:gd name="connsiteX61" fmla="*/ 125960 w 343258"/>
                <a:gd name="connsiteY61" fmla="*/ 26131 h 292840"/>
                <a:gd name="connsiteX62" fmla="*/ 127368 w 343258"/>
                <a:gd name="connsiteY62" fmla="*/ 28907 h 292840"/>
                <a:gd name="connsiteX63" fmla="*/ 127832 w 343258"/>
                <a:gd name="connsiteY63" fmla="*/ 31563 h 292840"/>
                <a:gd name="connsiteX64" fmla="*/ 129169 w 343258"/>
                <a:gd name="connsiteY64" fmla="*/ 33340 h 292840"/>
                <a:gd name="connsiteX65" fmla="*/ 127835 w 343258"/>
                <a:gd name="connsiteY65" fmla="*/ 35169 h 292840"/>
                <a:gd name="connsiteX66" fmla="*/ 128556 w 343258"/>
                <a:gd name="connsiteY66" fmla="*/ 38231 h 292840"/>
                <a:gd name="connsiteX67" fmla="*/ 130132 w 343258"/>
                <a:gd name="connsiteY67" fmla="*/ 41312 h 292840"/>
                <a:gd name="connsiteX68" fmla="*/ 132520 w 343258"/>
                <a:gd name="connsiteY68" fmla="*/ 43272 h 292840"/>
                <a:gd name="connsiteX69" fmla="*/ 139323 w 343258"/>
                <a:gd name="connsiteY69" fmla="*/ 43800 h 292840"/>
                <a:gd name="connsiteX70" fmla="*/ 146684 w 343258"/>
                <a:gd name="connsiteY70" fmla="*/ 42477 h 292840"/>
                <a:gd name="connsiteX71" fmla="*/ 158045 w 343258"/>
                <a:gd name="connsiteY71" fmla="*/ 41280 h 292840"/>
                <a:gd name="connsiteX72" fmla="*/ 161703 w 343258"/>
                <a:gd name="connsiteY72" fmla="*/ 40248 h 292840"/>
                <a:gd name="connsiteX73" fmla="*/ 180512 w 343258"/>
                <a:gd name="connsiteY73" fmla="*/ 39695 h 292840"/>
                <a:gd name="connsiteX74" fmla="*/ 184097 w 343258"/>
                <a:gd name="connsiteY74" fmla="*/ 41172 h 292840"/>
                <a:gd name="connsiteX75" fmla="*/ 184444 w 343258"/>
                <a:gd name="connsiteY75" fmla="*/ 42647 h 292840"/>
                <a:gd name="connsiteX76" fmla="*/ 184487 w 343258"/>
                <a:gd name="connsiteY76" fmla="*/ 43777 h 292840"/>
                <a:gd name="connsiteX77" fmla="*/ 190540 w 343258"/>
                <a:gd name="connsiteY77" fmla="*/ 49292 h 292840"/>
                <a:gd name="connsiteX78" fmla="*/ 195507 w 343258"/>
                <a:gd name="connsiteY78" fmla="*/ 50042 h 292840"/>
                <a:gd name="connsiteX79" fmla="*/ 199729 w 343258"/>
                <a:gd name="connsiteY79" fmla="*/ 51811 h 292840"/>
                <a:gd name="connsiteX80" fmla="*/ 204090 w 343258"/>
                <a:gd name="connsiteY80" fmla="*/ 52761 h 292840"/>
                <a:gd name="connsiteX81" fmla="*/ 208864 w 343258"/>
                <a:gd name="connsiteY81" fmla="*/ 54099 h 292840"/>
                <a:gd name="connsiteX82" fmla="*/ 211547 w 343258"/>
                <a:gd name="connsiteY82" fmla="*/ 53930 h 292840"/>
                <a:gd name="connsiteX83" fmla="*/ 213556 w 343258"/>
                <a:gd name="connsiteY83" fmla="*/ 53460 h 292840"/>
                <a:gd name="connsiteX84" fmla="*/ 215929 w 343258"/>
                <a:gd name="connsiteY84" fmla="*/ 53382 h 292840"/>
                <a:gd name="connsiteX85" fmla="*/ 232719 w 343258"/>
                <a:gd name="connsiteY85" fmla="*/ 44166 h 292840"/>
                <a:gd name="connsiteX86" fmla="*/ 241710 w 343258"/>
                <a:gd name="connsiteY86" fmla="*/ 44403 h 292840"/>
                <a:gd name="connsiteX87" fmla="*/ 243097 w 343258"/>
                <a:gd name="connsiteY87" fmla="*/ 43804 h 292840"/>
                <a:gd name="connsiteX88" fmla="*/ 244292 w 343258"/>
                <a:gd name="connsiteY88" fmla="*/ 42996 h 292840"/>
                <a:gd name="connsiteX89" fmla="*/ 240975 w 343258"/>
                <a:gd name="connsiteY89" fmla="*/ 41594 h 292840"/>
                <a:gd name="connsiteX90" fmla="*/ 233490 w 343258"/>
                <a:gd name="connsiteY90" fmla="*/ 41053 h 292840"/>
                <a:gd name="connsiteX91" fmla="*/ 231218 w 343258"/>
                <a:gd name="connsiteY91" fmla="*/ 41993 h 292840"/>
                <a:gd name="connsiteX92" fmla="*/ 229932 w 343258"/>
                <a:gd name="connsiteY92" fmla="*/ 39619 h 292840"/>
                <a:gd name="connsiteX93" fmla="*/ 232374 w 343258"/>
                <a:gd name="connsiteY93" fmla="*/ 39684 h 292840"/>
                <a:gd name="connsiteX94" fmla="*/ 240704 w 343258"/>
                <a:gd name="connsiteY94" fmla="*/ 38887 h 292840"/>
                <a:gd name="connsiteX95" fmla="*/ 250253 w 343258"/>
                <a:gd name="connsiteY95" fmla="*/ 39412 h 292840"/>
                <a:gd name="connsiteX96" fmla="*/ 258035 w 343258"/>
                <a:gd name="connsiteY96" fmla="*/ 37722 h 292840"/>
                <a:gd name="connsiteX97" fmla="*/ 261950 w 343258"/>
                <a:gd name="connsiteY97" fmla="*/ 37442 h 292840"/>
                <a:gd name="connsiteX98" fmla="*/ 264201 w 343258"/>
                <a:gd name="connsiteY98" fmla="*/ 37775 h 292840"/>
                <a:gd name="connsiteX99" fmla="*/ 270398 w 343258"/>
                <a:gd name="connsiteY99" fmla="*/ 36680 h 292840"/>
                <a:gd name="connsiteX100" fmla="*/ 282063 w 343258"/>
                <a:gd name="connsiteY100" fmla="*/ 37968 h 292840"/>
                <a:gd name="connsiteX101" fmla="*/ 291262 w 343258"/>
                <a:gd name="connsiteY101" fmla="*/ 36905 h 292840"/>
                <a:gd name="connsiteX102" fmla="*/ 290199 w 343258"/>
                <a:gd name="connsiteY102" fmla="*/ 38433 h 292840"/>
                <a:gd name="connsiteX103" fmla="*/ 287181 w 343258"/>
                <a:gd name="connsiteY103" fmla="*/ 39358 h 292840"/>
                <a:gd name="connsiteX104" fmla="*/ 282301 w 343258"/>
                <a:gd name="connsiteY104" fmla="*/ 39650 h 292840"/>
                <a:gd name="connsiteX105" fmla="*/ 278572 w 343258"/>
                <a:gd name="connsiteY105" fmla="*/ 41883 h 292840"/>
                <a:gd name="connsiteX106" fmla="*/ 270620 w 343258"/>
                <a:gd name="connsiteY106" fmla="*/ 41470 h 292840"/>
                <a:gd name="connsiteX107" fmla="*/ 265042 w 343258"/>
                <a:gd name="connsiteY107" fmla="*/ 42277 h 292840"/>
                <a:gd name="connsiteX108" fmla="*/ 266832 w 343258"/>
                <a:gd name="connsiteY108" fmla="*/ 42899 h 292840"/>
                <a:gd name="connsiteX109" fmla="*/ 266830 w 343258"/>
                <a:gd name="connsiteY109" fmla="*/ 45188 h 292840"/>
                <a:gd name="connsiteX110" fmla="*/ 267593 w 343258"/>
                <a:gd name="connsiteY110" fmla="*/ 45650 h 292840"/>
                <a:gd name="connsiteX111" fmla="*/ 268397 w 343258"/>
                <a:gd name="connsiteY111" fmla="*/ 45667 h 292840"/>
                <a:gd name="connsiteX112" fmla="*/ 270297 w 343258"/>
                <a:gd name="connsiteY112" fmla="*/ 47363 h 292840"/>
                <a:gd name="connsiteX113" fmla="*/ 270816 w 343258"/>
                <a:gd name="connsiteY113" fmla="*/ 48471 h 292840"/>
                <a:gd name="connsiteX114" fmla="*/ 271430 w 343258"/>
                <a:gd name="connsiteY114" fmla="*/ 50808 h 292840"/>
                <a:gd name="connsiteX115" fmla="*/ 270592 w 343258"/>
                <a:gd name="connsiteY115" fmla="*/ 53331 h 292840"/>
                <a:gd name="connsiteX116" fmla="*/ 269428 w 343258"/>
                <a:gd name="connsiteY116" fmla="*/ 54456 h 292840"/>
                <a:gd name="connsiteX117" fmla="*/ 271695 w 343258"/>
                <a:gd name="connsiteY117" fmla="*/ 54084 h 292840"/>
                <a:gd name="connsiteX118" fmla="*/ 272980 w 343258"/>
                <a:gd name="connsiteY118" fmla="*/ 52900 h 292840"/>
                <a:gd name="connsiteX119" fmla="*/ 272792 w 343258"/>
                <a:gd name="connsiteY119" fmla="*/ 51708 h 292840"/>
                <a:gd name="connsiteX120" fmla="*/ 272980 w 343258"/>
                <a:gd name="connsiteY120" fmla="*/ 50329 h 292840"/>
                <a:gd name="connsiteX121" fmla="*/ 274252 w 343258"/>
                <a:gd name="connsiteY121" fmla="*/ 50761 h 292840"/>
                <a:gd name="connsiteX122" fmla="*/ 275144 w 343258"/>
                <a:gd name="connsiteY122" fmla="*/ 51384 h 292840"/>
                <a:gd name="connsiteX123" fmla="*/ 278041 w 343258"/>
                <a:gd name="connsiteY123" fmla="*/ 57983 h 292840"/>
                <a:gd name="connsiteX124" fmla="*/ 280082 w 343258"/>
                <a:gd name="connsiteY124" fmla="*/ 61447 h 292840"/>
                <a:gd name="connsiteX125" fmla="*/ 280605 w 343258"/>
                <a:gd name="connsiteY125" fmla="*/ 61316 h 292840"/>
                <a:gd name="connsiteX126" fmla="*/ 281090 w 343258"/>
                <a:gd name="connsiteY126" fmla="*/ 61194 h 292840"/>
                <a:gd name="connsiteX127" fmla="*/ 281696 w 343258"/>
                <a:gd name="connsiteY127" fmla="*/ 60530 h 292840"/>
                <a:gd name="connsiteX128" fmla="*/ 282599 w 343258"/>
                <a:gd name="connsiteY128" fmla="*/ 58900 h 292840"/>
                <a:gd name="connsiteX129" fmla="*/ 283378 w 343258"/>
                <a:gd name="connsiteY129" fmla="*/ 59934 h 292840"/>
                <a:gd name="connsiteX130" fmla="*/ 283847 w 343258"/>
                <a:gd name="connsiteY130" fmla="*/ 60330 h 292840"/>
                <a:gd name="connsiteX131" fmla="*/ 284318 w 343258"/>
                <a:gd name="connsiteY131" fmla="*/ 60456 h 292840"/>
                <a:gd name="connsiteX132" fmla="*/ 283888 w 343258"/>
                <a:gd name="connsiteY132" fmla="*/ 58979 h 292840"/>
                <a:gd name="connsiteX133" fmla="*/ 284468 w 343258"/>
                <a:gd name="connsiteY133" fmla="*/ 57086 h 292840"/>
                <a:gd name="connsiteX134" fmla="*/ 284269 w 343258"/>
                <a:gd name="connsiteY134" fmla="*/ 56426 h 292840"/>
                <a:gd name="connsiteX135" fmla="*/ 285173 w 343258"/>
                <a:gd name="connsiteY135" fmla="*/ 56281 h 292840"/>
                <a:gd name="connsiteX136" fmla="*/ 286251 w 343258"/>
                <a:gd name="connsiteY136" fmla="*/ 56532 h 292840"/>
                <a:gd name="connsiteX137" fmla="*/ 287788 w 343258"/>
                <a:gd name="connsiteY137" fmla="*/ 57054 h 292840"/>
                <a:gd name="connsiteX138" fmla="*/ 290524 w 343258"/>
                <a:gd name="connsiteY138" fmla="*/ 59225 h 292840"/>
                <a:gd name="connsiteX139" fmla="*/ 292333 w 343258"/>
                <a:gd name="connsiteY139" fmla="*/ 61472 h 292840"/>
                <a:gd name="connsiteX140" fmla="*/ 292488 w 343258"/>
                <a:gd name="connsiteY140" fmla="*/ 62727 h 292840"/>
                <a:gd name="connsiteX141" fmla="*/ 293142 w 343258"/>
                <a:gd name="connsiteY141" fmla="*/ 63432 h 292840"/>
                <a:gd name="connsiteX142" fmla="*/ 294324 w 343258"/>
                <a:gd name="connsiteY142" fmla="*/ 64174 h 292840"/>
                <a:gd name="connsiteX143" fmla="*/ 294902 w 343258"/>
                <a:gd name="connsiteY143" fmla="*/ 65333 h 292840"/>
                <a:gd name="connsiteX144" fmla="*/ 295009 w 343258"/>
                <a:gd name="connsiteY144" fmla="*/ 63510 h 292840"/>
                <a:gd name="connsiteX145" fmla="*/ 294313 w 343258"/>
                <a:gd name="connsiteY145" fmla="*/ 62180 h 292840"/>
                <a:gd name="connsiteX146" fmla="*/ 294142 w 343258"/>
                <a:gd name="connsiteY146" fmla="*/ 60661 h 292840"/>
                <a:gd name="connsiteX147" fmla="*/ 297706 w 343258"/>
                <a:gd name="connsiteY147" fmla="*/ 60593 h 292840"/>
                <a:gd name="connsiteX148" fmla="*/ 298631 w 343258"/>
                <a:gd name="connsiteY148" fmla="*/ 58594 h 292840"/>
                <a:gd name="connsiteX149" fmla="*/ 300573 w 343258"/>
                <a:gd name="connsiteY149" fmla="*/ 59798 h 292840"/>
                <a:gd name="connsiteX150" fmla="*/ 305718 w 343258"/>
                <a:gd name="connsiteY150" fmla="*/ 65286 h 292840"/>
                <a:gd name="connsiteX151" fmla="*/ 307619 w 343258"/>
                <a:gd name="connsiteY151" fmla="*/ 66193 h 292840"/>
                <a:gd name="connsiteX152" fmla="*/ 313223 w 343258"/>
                <a:gd name="connsiteY152" fmla="*/ 67246 h 292840"/>
                <a:gd name="connsiteX153" fmla="*/ 316756 w 343258"/>
                <a:gd name="connsiteY153" fmla="*/ 69885 h 292840"/>
                <a:gd name="connsiteX154" fmla="*/ 318825 w 343258"/>
                <a:gd name="connsiteY154" fmla="*/ 72252 h 292840"/>
                <a:gd name="connsiteX155" fmla="*/ 317596 w 343258"/>
                <a:gd name="connsiteY155" fmla="*/ 74734 h 292840"/>
                <a:gd name="connsiteX156" fmla="*/ 314297 w 343258"/>
                <a:gd name="connsiteY156" fmla="*/ 75974 h 292840"/>
                <a:gd name="connsiteX157" fmla="*/ 312976 w 343258"/>
                <a:gd name="connsiteY157" fmla="*/ 77523 h 292840"/>
                <a:gd name="connsiteX158" fmla="*/ 312218 w 343258"/>
                <a:gd name="connsiteY158" fmla="*/ 79044 h 292840"/>
                <a:gd name="connsiteX159" fmla="*/ 312205 w 343258"/>
                <a:gd name="connsiteY159" fmla="*/ 80574 h 292840"/>
                <a:gd name="connsiteX160" fmla="*/ 311206 w 343258"/>
                <a:gd name="connsiteY160" fmla="*/ 82350 h 292840"/>
                <a:gd name="connsiteX161" fmla="*/ 311057 w 343258"/>
                <a:gd name="connsiteY161" fmla="*/ 82975 h 292840"/>
                <a:gd name="connsiteX162" fmla="*/ 310461 w 343258"/>
                <a:gd name="connsiteY162" fmla="*/ 85478 h 292840"/>
                <a:gd name="connsiteX163" fmla="*/ 309103 w 343258"/>
                <a:gd name="connsiteY163" fmla="*/ 88491 h 292840"/>
                <a:gd name="connsiteX164" fmla="*/ 307294 w 343258"/>
                <a:gd name="connsiteY164" fmla="*/ 91686 h 292840"/>
                <a:gd name="connsiteX165" fmla="*/ 297874 w 343258"/>
                <a:gd name="connsiteY165" fmla="*/ 91760 h 292840"/>
                <a:gd name="connsiteX166" fmla="*/ 300202 w 343258"/>
                <a:gd name="connsiteY166" fmla="*/ 93070 h 292840"/>
                <a:gd name="connsiteX167" fmla="*/ 302341 w 343258"/>
                <a:gd name="connsiteY167" fmla="*/ 94027 h 292840"/>
                <a:gd name="connsiteX168" fmla="*/ 305854 w 343258"/>
                <a:gd name="connsiteY168" fmla="*/ 96536 h 292840"/>
                <a:gd name="connsiteX169" fmla="*/ 308650 w 343258"/>
                <a:gd name="connsiteY169" fmla="*/ 94566 h 292840"/>
                <a:gd name="connsiteX170" fmla="*/ 312650 w 343258"/>
                <a:gd name="connsiteY170" fmla="*/ 94425 h 292840"/>
                <a:gd name="connsiteX171" fmla="*/ 316980 w 343258"/>
                <a:gd name="connsiteY171" fmla="*/ 92235 h 292840"/>
                <a:gd name="connsiteX172" fmla="*/ 318609 w 343258"/>
                <a:gd name="connsiteY172" fmla="*/ 91895 h 292840"/>
                <a:gd name="connsiteX173" fmla="*/ 326710 w 343258"/>
                <a:gd name="connsiteY173" fmla="*/ 93042 h 292840"/>
                <a:gd name="connsiteX174" fmla="*/ 328663 w 343258"/>
                <a:gd name="connsiteY174" fmla="*/ 91433 h 292840"/>
                <a:gd name="connsiteX175" fmla="*/ 330292 w 343258"/>
                <a:gd name="connsiteY175" fmla="*/ 90960 h 292840"/>
                <a:gd name="connsiteX176" fmla="*/ 334673 w 343258"/>
                <a:gd name="connsiteY176" fmla="*/ 91261 h 292840"/>
                <a:gd name="connsiteX177" fmla="*/ 338475 w 343258"/>
                <a:gd name="connsiteY177" fmla="*/ 92989 h 292840"/>
                <a:gd name="connsiteX178" fmla="*/ 343188 w 343258"/>
                <a:gd name="connsiteY178" fmla="*/ 99203 h 292840"/>
                <a:gd name="connsiteX179" fmla="*/ 343258 w 343258"/>
                <a:gd name="connsiteY179" fmla="*/ 99887 h 292840"/>
                <a:gd name="connsiteX180" fmla="*/ 342747 w 343258"/>
                <a:gd name="connsiteY180" fmla="*/ 100665 h 292840"/>
                <a:gd name="connsiteX181" fmla="*/ 339811 w 343258"/>
                <a:gd name="connsiteY181" fmla="*/ 102121 h 292840"/>
                <a:gd name="connsiteX182" fmla="*/ 339155 w 343258"/>
                <a:gd name="connsiteY182" fmla="*/ 102877 h 292840"/>
                <a:gd name="connsiteX183" fmla="*/ 338098 w 343258"/>
                <a:gd name="connsiteY183" fmla="*/ 105644 h 292840"/>
                <a:gd name="connsiteX184" fmla="*/ 334402 w 343258"/>
                <a:gd name="connsiteY184" fmla="*/ 107163 h 292840"/>
                <a:gd name="connsiteX185" fmla="*/ 331847 w 343258"/>
                <a:gd name="connsiteY185" fmla="*/ 109067 h 292840"/>
                <a:gd name="connsiteX186" fmla="*/ 330126 w 343258"/>
                <a:gd name="connsiteY186" fmla="*/ 110735 h 292840"/>
                <a:gd name="connsiteX187" fmla="*/ 329268 w 343258"/>
                <a:gd name="connsiteY187" fmla="*/ 111409 h 292840"/>
                <a:gd name="connsiteX188" fmla="*/ 325896 w 343258"/>
                <a:gd name="connsiteY188" fmla="*/ 111778 h 292840"/>
                <a:gd name="connsiteX189" fmla="*/ 324812 w 343258"/>
                <a:gd name="connsiteY189" fmla="*/ 112827 h 292840"/>
                <a:gd name="connsiteX190" fmla="*/ 323450 w 343258"/>
                <a:gd name="connsiteY190" fmla="*/ 115982 h 292840"/>
                <a:gd name="connsiteX191" fmla="*/ 322451 w 343258"/>
                <a:gd name="connsiteY191" fmla="*/ 117300 h 292840"/>
                <a:gd name="connsiteX192" fmla="*/ 320696 w 343258"/>
                <a:gd name="connsiteY192" fmla="*/ 118847 h 292840"/>
                <a:gd name="connsiteX193" fmla="*/ 320681 w 343258"/>
                <a:gd name="connsiteY193" fmla="*/ 119798 h 292840"/>
                <a:gd name="connsiteX194" fmla="*/ 323103 w 343258"/>
                <a:gd name="connsiteY194" fmla="*/ 123248 h 292840"/>
                <a:gd name="connsiteX195" fmla="*/ 323539 w 343258"/>
                <a:gd name="connsiteY195" fmla="*/ 124331 h 292840"/>
                <a:gd name="connsiteX196" fmla="*/ 322788 w 343258"/>
                <a:gd name="connsiteY196" fmla="*/ 125970 h 292840"/>
                <a:gd name="connsiteX197" fmla="*/ 322861 w 343258"/>
                <a:gd name="connsiteY197" fmla="*/ 127129 h 292840"/>
                <a:gd name="connsiteX198" fmla="*/ 324131 w 343258"/>
                <a:gd name="connsiteY198" fmla="*/ 128527 h 292840"/>
                <a:gd name="connsiteX199" fmla="*/ 325653 w 343258"/>
                <a:gd name="connsiteY199" fmla="*/ 128846 h 292840"/>
                <a:gd name="connsiteX200" fmla="*/ 327129 w 343258"/>
                <a:gd name="connsiteY200" fmla="*/ 128264 h 292840"/>
                <a:gd name="connsiteX201" fmla="*/ 328970 w 343258"/>
                <a:gd name="connsiteY201" fmla="*/ 128315 h 292840"/>
                <a:gd name="connsiteX202" fmla="*/ 330169 w 343258"/>
                <a:gd name="connsiteY202" fmla="*/ 128685 h 292840"/>
                <a:gd name="connsiteX203" fmla="*/ 330666 w 343258"/>
                <a:gd name="connsiteY203" fmla="*/ 129093 h 292840"/>
                <a:gd name="connsiteX204" fmla="*/ 330753 w 343258"/>
                <a:gd name="connsiteY204" fmla="*/ 130162 h 292840"/>
                <a:gd name="connsiteX205" fmla="*/ 329992 w 343258"/>
                <a:gd name="connsiteY205" fmla="*/ 132435 h 292840"/>
                <a:gd name="connsiteX206" fmla="*/ 328903 w 343258"/>
                <a:gd name="connsiteY206" fmla="*/ 133899 h 292840"/>
                <a:gd name="connsiteX207" fmla="*/ 324059 w 343258"/>
                <a:gd name="connsiteY207" fmla="*/ 136148 h 292840"/>
                <a:gd name="connsiteX208" fmla="*/ 321904 w 343258"/>
                <a:gd name="connsiteY208" fmla="*/ 137451 h 292840"/>
                <a:gd name="connsiteX209" fmla="*/ 320716 w 343258"/>
                <a:gd name="connsiteY209" fmla="*/ 138409 h 292840"/>
                <a:gd name="connsiteX210" fmla="*/ 318106 w 343258"/>
                <a:gd name="connsiteY210" fmla="*/ 137895 h 292840"/>
                <a:gd name="connsiteX211" fmla="*/ 316775 w 343258"/>
                <a:gd name="connsiteY211" fmla="*/ 137936 h 292840"/>
                <a:gd name="connsiteX212" fmla="*/ 315754 w 343258"/>
                <a:gd name="connsiteY212" fmla="*/ 138676 h 292840"/>
                <a:gd name="connsiteX213" fmla="*/ 315135 w 343258"/>
                <a:gd name="connsiteY213" fmla="*/ 139315 h 292840"/>
                <a:gd name="connsiteX214" fmla="*/ 313384 w 343258"/>
                <a:gd name="connsiteY214" fmla="*/ 139471 h 292840"/>
                <a:gd name="connsiteX215" fmla="*/ 310906 w 343258"/>
                <a:gd name="connsiteY215" fmla="*/ 139860 h 292840"/>
                <a:gd name="connsiteX216" fmla="*/ 309871 w 343258"/>
                <a:gd name="connsiteY216" fmla="*/ 140289 h 292840"/>
                <a:gd name="connsiteX217" fmla="*/ 309069 w 343258"/>
                <a:gd name="connsiteY217" fmla="*/ 141399 h 292840"/>
                <a:gd name="connsiteX218" fmla="*/ 308400 w 343258"/>
                <a:gd name="connsiteY218" fmla="*/ 142991 h 292840"/>
                <a:gd name="connsiteX219" fmla="*/ 308959 w 343258"/>
                <a:gd name="connsiteY219" fmla="*/ 144902 h 292840"/>
                <a:gd name="connsiteX220" fmla="*/ 309734 w 343258"/>
                <a:gd name="connsiteY220" fmla="*/ 146604 h 292840"/>
                <a:gd name="connsiteX221" fmla="*/ 309702 w 343258"/>
                <a:gd name="connsiteY221" fmla="*/ 148168 h 292840"/>
                <a:gd name="connsiteX222" fmla="*/ 310299 w 343258"/>
                <a:gd name="connsiteY222" fmla="*/ 152515 h 292840"/>
                <a:gd name="connsiteX223" fmla="*/ 309519 w 343258"/>
                <a:gd name="connsiteY223" fmla="*/ 153530 h 292840"/>
                <a:gd name="connsiteX224" fmla="*/ 307859 w 343258"/>
                <a:gd name="connsiteY224" fmla="*/ 154681 h 292840"/>
                <a:gd name="connsiteX225" fmla="*/ 305877 w 343258"/>
                <a:gd name="connsiteY225" fmla="*/ 156709 h 292840"/>
                <a:gd name="connsiteX226" fmla="*/ 303653 w 343258"/>
                <a:gd name="connsiteY226" fmla="*/ 159527 h 292840"/>
                <a:gd name="connsiteX227" fmla="*/ 304008 w 343258"/>
                <a:gd name="connsiteY227" fmla="*/ 160336 h 292840"/>
                <a:gd name="connsiteX228" fmla="*/ 309323 w 343258"/>
                <a:gd name="connsiteY228" fmla="*/ 166257 h 292840"/>
                <a:gd name="connsiteX229" fmla="*/ 314729 w 343258"/>
                <a:gd name="connsiteY229" fmla="*/ 172280 h 292840"/>
                <a:gd name="connsiteX230" fmla="*/ 320101 w 343258"/>
                <a:gd name="connsiteY230" fmla="*/ 178265 h 292840"/>
                <a:gd name="connsiteX231" fmla="*/ 320866 w 343258"/>
                <a:gd name="connsiteY231" fmla="*/ 178531 h 292840"/>
                <a:gd name="connsiteX232" fmla="*/ 321881 w 343258"/>
                <a:gd name="connsiteY232" fmla="*/ 179222 h 292840"/>
                <a:gd name="connsiteX233" fmla="*/ 322818 w 343258"/>
                <a:gd name="connsiteY233" fmla="*/ 181317 h 292840"/>
                <a:gd name="connsiteX234" fmla="*/ 323592 w 343258"/>
                <a:gd name="connsiteY234" fmla="*/ 183538 h 292840"/>
                <a:gd name="connsiteX235" fmla="*/ 323608 w 343258"/>
                <a:gd name="connsiteY235" fmla="*/ 184687 h 292840"/>
                <a:gd name="connsiteX236" fmla="*/ 323006 w 343258"/>
                <a:gd name="connsiteY236" fmla="*/ 186132 h 292840"/>
                <a:gd name="connsiteX237" fmla="*/ 321699 w 343258"/>
                <a:gd name="connsiteY237" fmla="*/ 187795 h 292840"/>
                <a:gd name="connsiteX238" fmla="*/ 320112 w 343258"/>
                <a:gd name="connsiteY238" fmla="*/ 189141 h 292840"/>
                <a:gd name="connsiteX239" fmla="*/ 317787 w 343258"/>
                <a:gd name="connsiteY239" fmla="*/ 190282 h 292840"/>
                <a:gd name="connsiteX240" fmla="*/ 315940 w 343258"/>
                <a:gd name="connsiteY240" fmla="*/ 191360 h 292840"/>
                <a:gd name="connsiteX241" fmla="*/ 314415 w 343258"/>
                <a:gd name="connsiteY241" fmla="*/ 194209 h 292840"/>
                <a:gd name="connsiteX242" fmla="*/ 313492 w 343258"/>
                <a:gd name="connsiteY242" fmla="*/ 195211 h 292840"/>
                <a:gd name="connsiteX243" fmla="*/ 312643 w 343258"/>
                <a:gd name="connsiteY243" fmla="*/ 195616 h 292840"/>
                <a:gd name="connsiteX244" fmla="*/ 310965 w 343258"/>
                <a:gd name="connsiteY244" fmla="*/ 195987 h 292840"/>
                <a:gd name="connsiteX245" fmla="*/ 308252 w 343258"/>
                <a:gd name="connsiteY245" fmla="*/ 195902 h 292840"/>
                <a:gd name="connsiteX246" fmla="*/ 306461 w 343258"/>
                <a:gd name="connsiteY246" fmla="*/ 195677 h 292840"/>
                <a:gd name="connsiteX247" fmla="*/ 304243 w 343258"/>
                <a:gd name="connsiteY247" fmla="*/ 197809 h 292840"/>
                <a:gd name="connsiteX248" fmla="*/ 301407 w 343258"/>
                <a:gd name="connsiteY248" fmla="*/ 198590 h 292840"/>
                <a:gd name="connsiteX249" fmla="*/ 299510 w 343258"/>
                <a:gd name="connsiteY249" fmla="*/ 201497 h 292840"/>
                <a:gd name="connsiteX250" fmla="*/ 292750 w 343258"/>
                <a:gd name="connsiteY250" fmla="*/ 203803 h 292840"/>
                <a:gd name="connsiteX251" fmla="*/ 286138 w 343258"/>
                <a:gd name="connsiteY251" fmla="*/ 205599 h 292840"/>
                <a:gd name="connsiteX252" fmla="*/ 284324 w 343258"/>
                <a:gd name="connsiteY252" fmla="*/ 206309 h 292840"/>
                <a:gd name="connsiteX253" fmla="*/ 277794 w 343258"/>
                <a:gd name="connsiteY253" fmla="*/ 204826 h 292840"/>
                <a:gd name="connsiteX254" fmla="*/ 276224 w 343258"/>
                <a:gd name="connsiteY254" fmla="*/ 205289 h 292840"/>
                <a:gd name="connsiteX255" fmla="*/ 274414 w 343258"/>
                <a:gd name="connsiteY255" fmla="*/ 206665 h 292840"/>
                <a:gd name="connsiteX256" fmla="*/ 272745 w 343258"/>
                <a:gd name="connsiteY256" fmla="*/ 207733 h 292840"/>
                <a:gd name="connsiteX257" fmla="*/ 271336 w 343258"/>
                <a:gd name="connsiteY257" fmla="*/ 207801 h 292840"/>
                <a:gd name="connsiteX258" fmla="*/ 270150 w 343258"/>
                <a:gd name="connsiteY258" fmla="*/ 208352 h 292840"/>
                <a:gd name="connsiteX259" fmla="*/ 269445 w 343258"/>
                <a:gd name="connsiteY259" fmla="*/ 210322 h 292840"/>
                <a:gd name="connsiteX260" fmla="*/ 268819 w 343258"/>
                <a:gd name="connsiteY260" fmla="*/ 217112 h 292840"/>
                <a:gd name="connsiteX261" fmla="*/ 266477 w 343258"/>
                <a:gd name="connsiteY261" fmla="*/ 219130 h 292840"/>
                <a:gd name="connsiteX262" fmla="*/ 263645 w 343258"/>
                <a:gd name="connsiteY262" fmla="*/ 219118 h 292840"/>
                <a:gd name="connsiteX263" fmla="*/ 261701 w 343258"/>
                <a:gd name="connsiteY263" fmla="*/ 216769 h 292840"/>
                <a:gd name="connsiteX264" fmla="*/ 259396 w 343258"/>
                <a:gd name="connsiteY264" fmla="*/ 214992 h 292840"/>
                <a:gd name="connsiteX265" fmla="*/ 255377 w 343258"/>
                <a:gd name="connsiteY265" fmla="*/ 210781 h 292840"/>
                <a:gd name="connsiteX266" fmla="*/ 254262 w 343258"/>
                <a:gd name="connsiteY266" fmla="*/ 210232 h 292840"/>
                <a:gd name="connsiteX267" fmla="*/ 253220 w 343258"/>
                <a:gd name="connsiteY267" fmla="*/ 210258 h 292840"/>
                <a:gd name="connsiteX268" fmla="*/ 249492 w 343258"/>
                <a:gd name="connsiteY268" fmla="*/ 211507 h 292840"/>
                <a:gd name="connsiteX269" fmla="*/ 247721 w 343258"/>
                <a:gd name="connsiteY269" fmla="*/ 210964 h 292840"/>
                <a:gd name="connsiteX270" fmla="*/ 246294 w 343258"/>
                <a:gd name="connsiteY270" fmla="*/ 210310 h 292840"/>
                <a:gd name="connsiteX271" fmla="*/ 243910 w 343258"/>
                <a:gd name="connsiteY271" fmla="*/ 210519 h 292840"/>
                <a:gd name="connsiteX272" fmla="*/ 239658 w 343258"/>
                <a:gd name="connsiteY272" fmla="*/ 210568 h 292840"/>
                <a:gd name="connsiteX273" fmla="*/ 236949 w 343258"/>
                <a:gd name="connsiteY273" fmla="*/ 210608 h 292840"/>
                <a:gd name="connsiteX274" fmla="*/ 235633 w 343258"/>
                <a:gd name="connsiteY274" fmla="*/ 209458 h 292840"/>
                <a:gd name="connsiteX275" fmla="*/ 234407 w 343258"/>
                <a:gd name="connsiteY275" fmla="*/ 207106 h 292840"/>
                <a:gd name="connsiteX276" fmla="*/ 233581 w 343258"/>
                <a:gd name="connsiteY276" fmla="*/ 206264 h 292840"/>
                <a:gd name="connsiteX277" fmla="*/ 232613 w 343258"/>
                <a:gd name="connsiteY277" fmla="*/ 205585 h 292840"/>
                <a:gd name="connsiteX278" fmla="*/ 231011 w 343258"/>
                <a:gd name="connsiteY278" fmla="*/ 205243 h 292840"/>
                <a:gd name="connsiteX279" fmla="*/ 224168 w 343258"/>
                <a:gd name="connsiteY279" fmla="*/ 205251 h 292840"/>
                <a:gd name="connsiteX280" fmla="*/ 222879 w 343258"/>
                <a:gd name="connsiteY280" fmla="*/ 205255 h 292840"/>
                <a:gd name="connsiteX281" fmla="*/ 221933 w 343258"/>
                <a:gd name="connsiteY281" fmla="*/ 204802 h 292840"/>
                <a:gd name="connsiteX282" fmla="*/ 220619 w 343258"/>
                <a:gd name="connsiteY282" fmla="*/ 202785 h 292840"/>
                <a:gd name="connsiteX283" fmla="*/ 219180 w 343258"/>
                <a:gd name="connsiteY283" fmla="*/ 201838 h 292840"/>
                <a:gd name="connsiteX284" fmla="*/ 217496 w 343258"/>
                <a:gd name="connsiteY284" fmla="*/ 201796 h 292840"/>
                <a:gd name="connsiteX285" fmla="*/ 216755 w 343258"/>
                <a:gd name="connsiteY285" fmla="*/ 202908 h 292840"/>
                <a:gd name="connsiteX286" fmla="*/ 219678 w 343258"/>
                <a:gd name="connsiteY286" fmla="*/ 206539 h 292840"/>
                <a:gd name="connsiteX287" fmla="*/ 220530 w 343258"/>
                <a:gd name="connsiteY287" fmla="*/ 208507 h 292840"/>
                <a:gd name="connsiteX288" fmla="*/ 223093 w 343258"/>
                <a:gd name="connsiteY288" fmla="*/ 211352 h 292840"/>
                <a:gd name="connsiteX289" fmla="*/ 230514 w 343258"/>
                <a:gd name="connsiteY289" fmla="*/ 217372 h 292840"/>
                <a:gd name="connsiteX290" fmla="*/ 231888 w 343258"/>
                <a:gd name="connsiteY290" fmla="*/ 219284 h 292840"/>
                <a:gd name="connsiteX291" fmla="*/ 231736 w 343258"/>
                <a:gd name="connsiteY291" fmla="*/ 221725 h 292840"/>
                <a:gd name="connsiteX292" fmla="*/ 231694 w 343258"/>
                <a:gd name="connsiteY292" fmla="*/ 225463 h 292840"/>
                <a:gd name="connsiteX293" fmla="*/ 231945 w 343258"/>
                <a:gd name="connsiteY293" fmla="*/ 228999 h 292840"/>
                <a:gd name="connsiteX294" fmla="*/ 233854 w 343258"/>
                <a:gd name="connsiteY294" fmla="*/ 234070 h 292840"/>
                <a:gd name="connsiteX295" fmla="*/ 236535 w 343258"/>
                <a:gd name="connsiteY295" fmla="*/ 239231 h 292840"/>
                <a:gd name="connsiteX296" fmla="*/ 237265 w 343258"/>
                <a:gd name="connsiteY296" fmla="*/ 242521 h 292840"/>
                <a:gd name="connsiteX297" fmla="*/ 236766 w 343258"/>
                <a:gd name="connsiteY297" fmla="*/ 244952 h 292840"/>
                <a:gd name="connsiteX298" fmla="*/ 236255 w 343258"/>
                <a:gd name="connsiteY298" fmla="*/ 246245 h 292840"/>
                <a:gd name="connsiteX299" fmla="*/ 236313 w 343258"/>
                <a:gd name="connsiteY299" fmla="*/ 246821 h 292840"/>
                <a:gd name="connsiteX300" fmla="*/ 236862 w 343258"/>
                <a:gd name="connsiteY300" fmla="*/ 247342 h 292840"/>
                <a:gd name="connsiteX301" fmla="*/ 239417 w 343258"/>
                <a:gd name="connsiteY301" fmla="*/ 248088 h 292840"/>
                <a:gd name="connsiteX302" fmla="*/ 244782 w 343258"/>
                <a:gd name="connsiteY302" fmla="*/ 248555 h 292840"/>
                <a:gd name="connsiteX303" fmla="*/ 248026 w 343258"/>
                <a:gd name="connsiteY303" fmla="*/ 248557 h 292840"/>
                <a:gd name="connsiteX304" fmla="*/ 252980 w 343258"/>
                <a:gd name="connsiteY304" fmla="*/ 249117 h 292840"/>
                <a:gd name="connsiteX305" fmla="*/ 253345 w 343258"/>
                <a:gd name="connsiteY305" fmla="*/ 250930 h 292840"/>
                <a:gd name="connsiteX306" fmla="*/ 252861 w 343258"/>
                <a:gd name="connsiteY306" fmla="*/ 253922 h 292840"/>
                <a:gd name="connsiteX307" fmla="*/ 251883 w 343258"/>
                <a:gd name="connsiteY307" fmla="*/ 255620 h 292840"/>
                <a:gd name="connsiteX308" fmla="*/ 251087 w 343258"/>
                <a:gd name="connsiteY308" fmla="*/ 256115 h 292840"/>
                <a:gd name="connsiteX309" fmla="*/ 248390 w 343258"/>
                <a:gd name="connsiteY309" fmla="*/ 256510 h 292840"/>
                <a:gd name="connsiteX310" fmla="*/ 245554 w 343258"/>
                <a:gd name="connsiteY310" fmla="*/ 258345 h 292840"/>
                <a:gd name="connsiteX311" fmla="*/ 241437 w 343258"/>
                <a:gd name="connsiteY311" fmla="*/ 260156 h 292840"/>
                <a:gd name="connsiteX312" fmla="*/ 239088 w 343258"/>
                <a:gd name="connsiteY312" fmla="*/ 260403 h 292840"/>
                <a:gd name="connsiteX313" fmla="*/ 238109 w 343258"/>
                <a:gd name="connsiteY313" fmla="*/ 260757 h 292840"/>
                <a:gd name="connsiteX314" fmla="*/ 237278 w 343258"/>
                <a:gd name="connsiteY314" fmla="*/ 261301 h 292840"/>
                <a:gd name="connsiteX315" fmla="*/ 236595 w 343258"/>
                <a:gd name="connsiteY315" fmla="*/ 261990 h 292840"/>
                <a:gd name="connsiteX316" fmla="*/ 235794 w 343258"/>
                <a:gd name="connsiteY316" fmla="*/ 265388 h 292840"/>
                <a:gd name="connsiteX317" fmla="*/ 234582 w 343258"/>
                <a:gd name="connsiteY317" fmla="*/ 269222 h 292840"/>
                <a:gd name="connsiteX318" fmla="*/ 232295 w 343258"/>
                <a:gd name="connsiteY318" fmla="*/ 271500 h 292840"/>
                <a:gd name="connsiteX319" fmla="*/ 229780 w 343258"/>
                <a:gd name="connsiteY319" fmla="*/ 273383 h 292840"/>
                <a:gd name="connsiteX320" fmla="*/ 227222 w 343258"/>
                <a:gd name="connsiteY320" fmla="*/ 273596 h 292840"/>
                <a:gd name="connsiteX321" fmla="*/ 225170 w 343258"/>
                <a:gd name="connsiteY321" fmla="*/ 273446 h 292840"/>
                <a:gd name="connsiteX322" fmla="*/ 224149 w 343258"/>
                <a:gd name="connsiteY322" fmla="*/ 273998 h 292840"/>
                <a:gd name="connsiteX323" fmla="*/ 222676 w 343258"/>
                <a:gd name="connsiteY323" fmla="*/ 275549 h 292840"/>
                <a:gd name="connsiteX324" fmla="*/ 220571 w 343258"/>
                <a:gd name="connsiteY324" fmla="*/ 277476 h 292840"/>
                <a:gd name="connsiteX325" fmla="*/ 218945 w 343258"/>
                <a:gd name="connsiteY325" fmla="*/ 278504 h 292840"/>
                <a:gd name="connsiteX326" fmla="*/ 216753 w 343258"/>
                <a:gd name="connsiteY326" fmla="*/ 278407 h 292840"/>
                <a:gd name="connsiteX327" fmla="*/ 214417 w 343258"/>
                <a:gd name="connsiteY327" fmla="*/ 279356 h 292840"/>
                <a:gd name="connsiteX328" fmla="*/ 211463 w 343258"/>
                <a:gd name="connsiteY328" fmla="*/ 280910 h 292840"/>
                <a:gd name="connsiteX329" fmla="*/ 209506 w 343258"/>
                <a:gd name="connsiteY329" fmla="*/ 282187 h 292840"/>
                <a:gd name="connsiteX330" fmla="*/ 207836 w 343258"/>
                <a:gd name="connsiteY330" fmla="*/ 284365 h 292840"/>
                <a:gd name="connsiteX331" fmla="*/ 205444 w 343258"/>
                <a:gd name="connsiteY331" fmla="*/ 286656 h 292840"/>
                <a:gd name="connsiteX332" fmla="*/ 202988 w 343258"/>
                <a:gd name="connsiteY332" fmla="*/ 288259 h 292840"/>
                <a:gd name="connsiteX333" fmla="*/ 201811 w 343258"/>
                <a:gd name="connsiteY333" fmla="*/ 290242 h 292840"/>
                <a:gd name="connsiteX334" fmla="*/ 200134 w 343258"/>
                <a:gd name="connsiteY334" fmla="*/ 292758 h 292840"/>
                <a:gd name="connsiteX335" fmla="*/ 198038 w 343258"/>
                <a:gd name="connsiteY335" fmla="*/ 292840 h 292840"/>
                <a:gd name="connsiteX336" fmla="*/ 197869 w 343258"/>
                <a:gd name="connsiteY336" fmla="*/ 291331 h 292840"/>
                <a:gd name="connsiteX337" fmla="*/ 198876 w 343258"/>
                <a:gd name="connsiteY337" fmla="*/ 288899 h 292840"/>
                <a:gd name="connsiteX338" fmla="*/ 197785 w 343258"/>
                <a:gd name="connsiteY338" fmla="*/ 286803 h 292840"/>
                <a:gd name="connsiteX339" fmla="*/ 195791 w 343258"/>
                <a:gd name="connsiteY339" fmla="*/ 285680 h 292840"/>
                <a:gd name="connsiteX340" fmla="*/ 194859 w 343258"/>
                <a:gd name="connsiteY340" fmla="*/ 285347 h 292840"/>
                <a:gd name="connsiteX341" fmla="*/ 193929 w 343258"/>
                <a:gd name="connsiteY341" fmla="*/ 285486 h 292840"/>
                <a:gd name="connsiteX342" fmla="*/ 191565 w 343258"/>
                <a:gd name="connsiteY342" fmla="*/ 286519 h 292840"/>
                <a:gd name="connsiteX343" fmla="*/ 188661 w 343258"/>
                <a:gd name="connsiteY343" fmla="*/ 288399 h 292840"/>
                <a:gd name="connsiteX344" fmla="*/ 186874 w 343258"/>
                <a:gd name="connsiteY344" fmla="*/ 289752 h 292840"/>
                <a:gd name="connsiteX345" fmla="*/ 185259 w 343258"/>
                <a:gd name="connsiteY345" fmla="*/ 290371 h 292840"/>
                <a:gd name="connsiteX346" fmla="*/ 181933 w 343258"/>
                <a:gd name="connsiteY346" fmla="*/ 290931 h 292840"/>
                <a:gd name="connsiteX347" fmla="*/ 179132 w 343258"/>
                <a:gd name="connsiteY347" fmla="*/ 291219 h 292840"/>
                <a:gd name="connsiteX348" fmla="*/ 177979 w 343258"/>
                <a:gd name="connsiteY348" fmla="*/ 290832 h 292840"/>
                <a:gd name="connsiteX349" fmla="*/ 175897 w 343258"/>
                <a:gd name="connsiteY349" fmla="*/ 289450 h 292840"/>
                <a:gd name="connsiteX350" fmla="*/ 171084 w 343258"/>
                <a:gd name="connsiteY350" fmla="*/ 285127 h 292840"/>
                <a:gd name="connsiteX351" fmla="*/ 164568 w 343258"/>
                <a:gd name="connsiteY351" fmla="*/ 279272 h 292840"/>
                <a:gd name="connsiteX352" fmla="*/ 164074 w 343258"/>
                <a:gd name="connsiteY352" fmla="*/ 277577 h 292840"/>
                <a:gd name="connsiteX353" fmla="*/ 164354 w 343258"/>
                <a:gd name="connsiteY353" fmla="*/ 275843 h 292840"/>
                <a:gd name="connsiteX354" fmla="*/ 163172 w 343258"/>
                <a:gd name="connsiteY354" fmla="*/ 273313 h 292840"/>
                <a:gd name="connsiteX355" fmla="*/ 162481 w 343258"/>
                <a:gd name="connsiteY355" fmla="*/ 270620 h 292840"/>
                <a:gd name="connsiteX356" fmla="*/ 161893 w 343258"/>
                <a:gd name="connsiteY356" fmla="*/ 269692 h 292840"/>
                <a:gd name="connsiteX357" fmla="*/ 161726 w 343258"/>
                <a:gd name="connsiteY357" fmla="*/ 267679 h 292840"/>
                <a:gd name="connsiteX358" fmla="*/ 160312 w 343258"/>
                <a:gd name="connsiteY358" fmla="*/ 264051 h 292840"/>
                <a:gd name="connsiteX359" fmla="*/ 159153 w 343258"/>
                <a:gd name="connsiteY359" fmla="*/ 261079 h 292840"/>
                <a:gd name="connsiteX360" fmla="*/ 158092 w 343258"/>
                <a:gd name="connsiteY360" fmla="*/ 259569 h 292840"/>
                <a:gd name="connsiteX361" fmla="*/ 158539 w 343258"/>
                <a:gd name="connsiteY361" fmla="*/ 258283 h 292840"/>
                <a:gd name="connsiteX362" fmla="*/ 158092 w 343258"/>
                <a:gd name="connsiteY362" fmla="*/ 256997 h 292840"/>
                <a:gd name="connsiteX363" fmla="*/ 157228 w 343258"/>
                <a:gd name="connsiteY363" fmla="*/ 255949 h 292840"/>
                <a:gd name="connsiteX364" fmla="*/ 155967 w 343258"/>
                <a:gd name="connsiteY364" fmla="*/ 252578 h 292840"/>
                <a:gd name="connsiteX365" fmla="*/ 156414 w 343258"/>
                <a:gd name="connsiteY365" fmla="*/ 251125 h 292840"/>
                <a:gd name="connsiteX366" fmla="*/ 156079 w 343258"/>
                <a:gd name="connsiteY366" fmla="*/ 249668 h 292840"/>
                <a:gd name="connsiteX367" fmla="*/ 155016 w 343258"/>
                <a:gd name="connsiteY367" fmla="*/ 248672 h 292840"/>
                <a:gd name="connsiteX368" fmla="*/ 153507 w 343258"/>
                <a:gd name="connsiteY368" fmla="*/ 247600 h 292840"/>
                <a:gd name="connsiteX369" fmla="*/ 151496 w 343258"/>
                <a:gd name="connsiteY369" fmla="*/ 245361 h 292840"/>
                <a:gd name="connsiteX370" fmla="*/ 149091 w 343258"/>
                <a:gd name="connsiteY370" fmla="*/ 243236 h 292840"/>
                <a:gd name="connsiteX371" fmla="*/ 147861 w 343258"/>
                <a:gd name="connsiteY371" fmla="*/ 242397 h 292840"/>
                <a:gd name="connsiteX372" fmla="*/ 147022 w 343258"/>
                <a:gd name="connsiteY372" fmla="*/ 242062 h 292840"/>
                <a:gd name="connsiteX373" fmla="*/ 146295 w 343258"/>
                <a:gd name="connsiteY373" fmla="*/ 240047 h 292840"/>
                <a:gd name="connsiteX374" fmla="*/ 145737 w 343258"/>
                <a:gd name="connsiteY374" fmla="*/ 239432 h 292840"/>
                <a:gd name="connsiteX375" fmla="*/ 144506 w 343258"/>
                <a:gd name="connsiteY375" fmla="*/ 239264 h 292840"/>
                <a:gd name="connsiteX376" fmla="*/ 141989 w 343258"/>
                <a:gd name="connsiteY376" fmla="*/ 238425 h 292840"/>
                <a:gd name="connsiteX377" fmla="*/ 139641 w 343258"/>
                <a:gd name="connsiteY377" fmla="*/ 239432 h 292840"/>
                <a:gd name="connsiteX378" fmla="*/ 139587 w 343258"/>
                <a:gd name="connsiteY378" fmla="*/ 237865 h 292840"/>
                <a:gd name="connsiteX379" fmla="*/ 140258 w 343258"/>
                <a:gd name="connsiteY379" fmla="*/ 236913 h 292840"/>
                <a:gd name="connsiteX380" fmla="*/ 148370 w 343258"/>
                <a:gd name="connsiteY380" fmla="*/ 229441 h 292840"/>
                <a:gd name="connsiteX381" fmla="*/ 152458 w 343258"/>
                <a:gd name="connsiteY381" fmla="*/ 226005 h 292840"/>
                <a:gd name="connsiteX382" fmla="*/ 152898 w 343258"/>
                <a:gd name="connsiteY382" fmla="*/ 225498 h 292840"/>
                <a:gd name="connsiteX383" fmla="*/ 153256 w 343258"/>
                <a:gd name="connsiteY383" fmla="*/ 224702 h 292840"/>
                <a:gd name="connsiteX384" fmla="*/ 153536 w 343258"/>
                <a:gd name="connsiteY384" fmla="*/ 223639 h 292840"/>
                <a:gd name="connsiteX385" fmla="*/ 152608 w 343258"/>
                <a:gd name="connsiteY385" fmla="*/ 222422 h 292840"/>
                <a:gd name="connsiteX386" fmla="*/ 148780 w 343258"/>
                <a:gd name="connsiteY386" fmla="*/ 216651 h 292840"/>
                <a:gd name="connsiteX387" fmla="*/ 147450 w 343258"/>
                <a:gd name="connsiteY387" fmla="*/ 215566 h 292840"/>
                <a:gd name="connsiteX388" fmla="*/ 146146 w 343258"/>
                <a:gd name="connsiteY388" fmla="*/ 214679 h 292840"/>
                <a:gd name="connsiteX389" fmla="*/ 144649 w 343258"/>
                <a:gd name="connsiteY389" fmla="*/ 212254 h 292840"/>
                <a:gd name="connsiteX390" fmla="*/ 142855 w 343258"/>
                <a:gd name="connsiteY390" fmla="*/ 206609 h 292840"/>
                <a:gd name="connsiteX391" fmla="*/ 141565 w 343258"/>
                <a:gd name="connsiteY391" fmla="*/ 203772 h 292840"/>
                <a:gd name="connsiteX392" fmla="*/ 141174 w 343258"/>
                <a:gd name="connsiteY392" fmla="*/ 201597 h 292840"/>
                <a:gd name="connsiteX393" fmla="*/ 141255 w 343258"/>
                <a:gd name="connsiteY393" fmla="*/ 199137 h 292840"/>
                <a:gd name="connsiteX394" fmla="*/ 140777 w 343258"/>
                <a:gd name="connsiteY394" fmla="*/ 197248 h 292840"/>
                <a:gd name="connsiteX395" fmla="*/ 139738 w 343258"/>
                <a:gd name="connsiteY395" fmla="*/ 195932 h 292840"/>
                <a:gd name="connsiteX396" fmla="*/ 139738 w 343258"/>
                <a:gd name="connsiteY396" fmla="*/ 191902 h 292840"/>
                <a:gd name="connsiteX397" fmla="*/ 140777 w 343258"/>
                <a:gd name="connsiteY397" fmla="*/ 185160 h 292840"/>
                <a:gd name="connsiteX398" fmla="*/ 141033 w 343258"/>
                <a:gd name="connsiteY398" fmla="*/ 180032 h 292840"/>
                <a:gd name="connsiteX399" fmla="*/ 140508 w 343258"/>
                <a:gd name="connsiteY399" fmla="*/ 176525 h 292840"/>
                <a:gd name="connsiteX400" fmla="*/ 141433 w 343258"/>
                <a:gd name="connsiteY400" fmla="*/ 173854 h 292840"/>
                <a:gd name="connsiteX401" fmla="*/ 143811 w 343258"/>
                <a:gd name="connsiteY401" fmla="*/ 172023 h 292840"/>
                <a:gd name="connsiteX402" fmla="*/ 145138 w 343258"/>
                <a:gd name="connsiteY402" fmla="*/ 169193 h 292840"/>
                <a:gd name="connsiteX403" fmla="*/ 145416 w 343258"/>
                <a:gd name="connsiteY403" fmla="*/ 165363 h 292840"/>
                <a:gd name="connsiteX404" fmla="*/ 146840 w 343258"/>
                <a:gd name="connsiteY404" fmla="*/ 162215 h 292840"/>
                <a:gd name="connsiteX405" fmla="*/ 149409 w 343258"/>
                <a:gd name="connsiteY405" fmla="*/ 159751 h 292840"/>
                <a:gd name="connsiteX406" fmla="*/ 150285 w 343258"/>
                <a:gd name="connsiteY406" fmla="*/ 157320 h 292840"/>
                <a:gd name="connsiteX407" fmla="*/ 149467 w 343258"/>
                <a:gd name="connsiteY407" fmla="*/ 154921 h 292840"/>
                <a:gd name="connsiteX408" fmla="*/ 149203 w 343258"/>
                <a:gd name="connsiteY408" fmla="*/ 153381 h 292840"/>
                <a:gd name="connsiteX409" fmla="*/ 147020 w 343258"/>
                <a:gd name="connsiteY409" fmla="*/ 151815 h 292840"/>
                <a:gd name="connsiteX410" fmla="*/ 142987 w 343258"/>
                <a:gd name="connsiteY410" fmla="*/ 150717 h 292840"/>
                <a:gd name="connsiteX411" fmla="*/ 139639 w 343258"/>
                <a:gd name="connsiteY411" fmla="*/ 150591 h 292840"/>
                <a:gd name="connsiteX412" fmla="*/ 137618 w 343258"/>
                <a:gd name="connsiteY412" fmla="*/ 151812 h 292840"/>
                <a:gd name="connsiteX413" fmla="*/ 132441 w 343258"/>
                <a:gd name="connsiteY413" fmla="*/ 152943 h 292840"/>
                <a:gd name="connsiteX414" fmla="*/ 124106 w 343258"/>
                <a:gd name="connsiteY414" fmla="*/ 153985 h 292840"/>
                <a:gd name="connsiteX415" fmla="*/ 117393 w 343258"/>
                <a:gd name="connsiteY415" fmla="*/ 153979 h 292840"/>
                <a:gd name="connsiteX416" fmla="*/ 112304 w 343258"/>
                <a:gd name="connsiteY416" fmla="*/ 152926 h 292840"/>
                <a:gd name="connsiteX417" fmla="*/ 108431 w 343258"/>
                <a:gd name="connsiteY417" fmla="*/ 153278 h 292840"/>
                <a:gd name="connsiteX418" fmla="*/ 105779 w 343258"/>
                <a:gd name="connsiteY418" fmla="*/ 155034 h 292840"/>
                <a:gd name="connsiteX419" fmla="*/ 103913 w 343258"/>
                <a:gd name="connsiteY419" fmla="*/ 155432 h 292840"/>
                <a:gd name="connsiteX420" fmla="*/ 102830 w 343258"/>
                <a:gd name="connsiteY420" fmla="*/ 154467 h 292840"/>
                <a:gd name="connsiteX421" fmla="*/ 101658 w 343258"/>
                <a:gd name="connsiteY421" fmla="*/ 154203 h 292840"/>
                <a:gd name="connsiteX422" fmla="*/ 99881 w 343258"/>
                <a:gd name="connsiteY422" fmla="*/ 154814 h 292840"/>
                <a:gd name="connsiteX423" fmla="*/ 99573 w 343258"/>
                <a:gd name="connsiteY423" fmla="*/ 154535 h 292840"/>
                <a:gd name="connsiteX424" fmla="*/ 95630 w 343258"/>
                <a:gd name="connsiteY424" fmla="*/ 149787 h 292840"/>
                <a:gd name="connsiteX425" fmla="*/ 91974 w 343258"/>
                <a:gd name="connsiteY425" fmla="*/ 145385 h 292840"/>
                <a:gd name="connsiteX426" fmla="*/ 87785 w 343258"/>
                <a:gd name="connsiteY426" fmla="*/ 140143 h 292840"/>
                <a:gd name="connsiteX427" fmla="*/ 82946 w 343258"/>
                <a:gd name="connsiteY427" fmla="*/ 134088 h 292840"/>
                <a:gd name="connsiteX428" fmla="*/ 82079 w 343258"/>
                <a:gd name="connsiteY428" fmla="*/ 133689 h 292840"/>
                <a:gd name="connsiteX429" fmla="*/ 80585 w 343258"/>
                <a:gd name="connsiteY429" fmla="*/ 133729 h 292840"/>
                <a:gd name="connsiteX430" fmla="*/ 78608 w 343258"/>
                <a:gd name="connsiteY430" fmla="*/ 133834 h 292840"/>
                <a:gd name="connsiteX431" fmla="*/ 75530 w 343258"/>
                <a:gd name="connsiteY431" fmla="*/ 133205 h 292840"/>
                <a:gd name="connsiteX432" fmla="*/ 73421 w 343258"/>
                <a:gd name="connsiteY432" fmla="*/ 132326 h 292840"/>
                <a:gd name="connsiteX433" fmla="*/ 71776 w 343258"/>
                <a:gd name="connsiteY433" fmla="*/ 131475 h 292840"/>
                <a:gd name="connsiteX434" fmla="*/ 68745 w 343258"/>
                <a:gd name="connsiteY434" fmla="*/ 130398 h 292840"/>
                <a:gd name="connsiteX435" fmla="*/ 66664 w 343258"/>
                <a:gd name="connsiteY435" fmla="*/ 130214 h 292840"/>
                <a:gd name="connsiteX436" fmla="*/ 64799 w 343258"/>
                <a:gd name="connsiteY436" fmla="*/ 130531 h 292840"/>
                <a:gd name="connsiteX437" fmla="*/ 59662 w 343258"/>
                <a:gd name="connsiteY437" fmla="*/ 132649 h 292840"/>
                <a:gd name="connsiteX438" fmla="*/ 56738 w 343258"/>
                <a:gd name="connsiteY438" fmla="*/ 132845 h 292840"/>
                <a:gd name="connsiteX439" fmla="*/ 54476 w 343258"/>
                <a:gd name="connsiteY439" fmla="*/ 132884 h 292840"/>
                <a:gd name="connsiteX440" fmla="*/ 48408 w 343258"/>
                <a:gd name="connsiteY440" fmla="*/ 131835 h 292840"/>
                <a:gd name="connsiteX441" fmla="*/ 44256 w 343258"/>
                <a:gd name="connsiteY441" fmla="*/ 131669 h 292840"/>
                <a:gd name="connsiteX442" fmla="*/ 39428 w 343258"/>
                <a:gd name="connsiteY442" fmla="*/ 132359 h 292840"/>
                <a:gd name="connsiteX443" fmla="*/ 37364 w 343258"/>
                <a:gd name="connsiteY443" fmla="*/ 132754 h 292840"/>
                <a:gd name="connsiteX444" fmla="*/ 34474 w 343258"/>
                <a:gd name="connsiteY444" fmla="*/ 131677 h 292840"/>
                <a:gd name="connsiteX445" fmla="*/ 32506 w 343258"/>
                <a:gd name="connsiteY445" fmla="*/ 130039 h 292840"/>
                <a:gd name="connsiteX446" fmla="*/ 30669 w 343258"/>
                <a:gd name="connsiteY446" fmla="*/ 126145 h 292840"/>
                <a:gd name="connsiteX447" fmla="*/ 29376 w 343258"/>
                <a:gd name="connsiteY447" fmla="*/ 123072 h 292840"/>
                <a:gd name="connsiteX448" fmla="*/ 27128 w 343258"/>
                <a:gd name="connsiteY448" fmla="*/ 122453 h 292840"/>
                <a:gd name="connsiteX449" fmla="*/ 24636 w 343258"/>
                <a:gd name="connsiteY449" fmla="*/ 121929 h 292840"/>
                <a:gd name="connsiteX450" fmla="*/ 23411 w 343258"/>
                <a:gd name="connsiteY450" fmla="*/ 120915 h 292840"/>
                <a:gd name="connsiteX451" fmla="*/ 22675 w 343258"/>
                <a:gd name="connsiteY451" fmla="*/ 119145 h 292840"/>
                <a:gd name="connsiteX452" fmla="*/ 22498 w 343258"/>
                <a:gd name="connsiteY452" fmla="*/ 116877 h 292840"/>
                <a:gd name="connsiteX453" fmla="*/ 22753 w 343258"/>
                <a:gd name="connsiteY453" fmla="*/ 113186 h 292840"/>
                <a:gd name="connsiteX454" fmla="*/ 22990 w 343258"/>
                <a:gd name="connsiteY454" fmla="*/ 111863 h 292840"/>
                <a:gd name="connsiteX455" fmla="*/ 23333 w 343258"/>
                <a:gd name="connsiteY455" fmla="*/ 107876 h 292840"/>
                <a:gd name="connsiteX456" fmla="*/ 24711 w 343258"/>
                <a:gd name="connsiteY456" fmla="*/ 105794 h 292840"/>
                <a:gd name="connsiteX457" fmla="*/ 25574 w 343258"/>
                <a:gd name="connsiteY457" fmla="*/ 104784 h 292840"/>
                <a:gd name="connsiteX458" fmla="*/ 25409 w 343258"/>
                <a:gd name="connsiteY458" fmla="*/ 103112 h 292840"/>
                <a:gd name="connsiteX459" fmla="*/ 24745 w 343258"/>
                <a:gd name="connsiteY459" fmla="*/ 99685 h 292840"/>
                <a:gd name="connsiteX460" fmla="*/ 24080 w 343258"/>
                <a:gd name="connsiteY460" fmla="*/ 97261 h 292840"/>
                <a:gd name="connsiteX461" fmla="*/ 21312 w 343258"/>
                <a:gd name="connsiteY461" fmla="*/ 94512 h 292840"/>
                <a:gd name="connsiteX462" fmla="*/ 17770 w 343258"/>
                <a:gd name="connsiteY462" fmla="*/ 90990 h 292840"/>
                <a:gd name="connsiteX463" fmla="*/ 16246 w 343258"/>
                <a:gd name="connsiteY463" fmla="*/ 85352 h 292840"/>
                <a:gd name="connsiteX464" fmla="*/ 14449 w 343258"/>
                <a:gd name="connsiteY464" fmla="*/ 78689 h 292840"/>
                <a:gd name="connsiteX465" fmla="*/ 13036 w 343258"/>
                <a:gd name="connsiteY465" fmla="*/ 78021 h 292840"/>
                <a:gd name="connsiteX466" fmla="*/ 11709 w 343258"/>
                <a:gd name="connsiteY466" fmla="*/ 78356 h 292840"/>
                <a:gd name="connsiteX467" fmla="*/ 10297 w 343258"/>
                <a:gd name="connsiteY467" fmla="*/ 78021 h 292840"/>
                <a:gd name="connsiteX468" fmla="*/ 9051 w 343258"/>
                <a:gd name="connsiteY468" fmla="*/ 75341 h 292840"/>
                <a:gd name="connsiteX469" fmla="*/ 7806 w 343258"/>
                <a:gd name="connsiteY469" fmla="*/ 74840 h 292840"/>
                <a:gd name="connsiteX470" fmla="*/ 5820 w 343258"/>
                <a:gd name="connsiteY470" fmla="*/ 75780 h 292840"/>
                <a:gd name="connsiteX471" fmla="*/ 4389 w 343258"/>
                <a:gd name="connsiteY471" fmla="*/ 76513 h 292840"/>
                <a:gd name="connsiteX472" fmla="*/ 748 w 343258"/>
                <a:gd name="connsiteY472" fmla="*/ 77182 h 292840"/>
                <a:gd name="connsiteX473" fmla="*/ 0 w 343258"/>
                <a:gd name="connsiteY473" fmla="*/ 76513 h 292840"/>
                <a:gd name="connsiteX474" fmla="*/ 250 w 343258"/>
                <a:gd name="connsiteY474" fmla="*/ 75676 h 292840"/>
                <a:gd name="connsiteX475" fmla="*/ 1789 w 343258"/>
                <a:gd name="connsiteY475" fmla="*/ 73242 h 292840"/>
                <a:gd name="connsiteX476" fmla="*/ 3600 w 343258"/>
                <a:gd name="connsiteY476" fmla="*/ 70134 h 292840"/>
                <a:gd name="connsiteX477" fmla="*/ 5704 w 343258"/>
                <a:gd name="connsiteY477" fmla="*/ 67293 h 292840"/>
                <a:gd name="connsiteX478" fmla="*/ 7661 w 343258"/>
                <a:gd name="connsiteY478" fmla="*/ 64386 h 292840"/>
                <a:gd name="connsiteX479" fmla="*/ 9120 w 343258"/>
                <a:gd name="connsiteY479" fmla="*/ 61291 h 292840"/>
                <a:gd name="connsiteX480" fmla="*/ 10113 w 343258"/>
                <a:gd name="connsiteY480" fmla="*/ 55132 h 292840"/>
                <a:gd name="connsiteX481" fmla="*/ 10798 w 343258"/>
                <a:gd name="connsiteY481" fmla="*/ 50880 h 292840"/>
                <a:gd name="connsiteX482" fmla="*/ 12599 w 343258"/>
                <a:gd name="connsiteY482" fmla="*/ 43308 h 292840"/>
                <a:gd name="connsiteX483" fmla="*/ 15901 w 343258"/>
                <a:gd name="connsiteY483" fmla="*/ 37259 h 292840"/>
                <a:gd name="connsiteX484" fmla="*/ 17145 w 343258"/>
                <a:gd name="connsiteY484" fmla="*/ 34474 h 292840"/>
                <a:gd name="connsiteX485" fmla="*/ 20132 w 343258"/>
                <a:gd name="connsiteY485" fmla="*/ 30849 h 292840"/>
                <a:gd name="connsiteX486" fmla="*/ 21507 w 343258"/>
                <a:gd name="connsiteY486" fmla="*/ 28879 h 292840"/>
                <a:gd name="connsiteX487" fmla="*/ 23331 w 343258"/>
                <a:gd name="connsiteY487" fmla="*/ 27330 h 292840"/>
                <a:gd name="connsiteX488" fmla="*/ 28341 w 343258"/>
                <a:gd name="connsiteY488" fmla="*/ 25221 h 292840"/>
                <a:gd name="connsiteX489" fmla="*/ 34331 w 343258"/>
                <a:gd name="connsiteY489" fmla="*/ 14807 h 292840"/>
                <a:gd name="connsiteX490" fmla="*/ 35705 w 343258"/>
                <a:gd name="connsiteY490" fmla="*/ 13151 h 292840"/>
                <a:gd name="connsiteX491" fmla="*/ 41756 w 343258"/>
                <a:gd name="connsiteY491" fmla="*/ 11597 h 292840"/>
                <a:gd name="connsiteX492" fmla="*/ 46406 w 343258"/>
                <a:gd name="connsiteY492" fmla="*/ 10384 h 292840"/>
                <a:gd name="connsiteX493" fmla="*/ 49852 w 343258"/>
                <a:gd name="connsiteY493" fmla="*/ 9112 h 292840"/>
                <a:gd name="connsiteX494" fmla="*/ 50983 w 343258"/>
                <a:gd name="connsiteY494" fmla="*/ 8439 h 292840"/>
                <a:gd name="connsiteX495" fmla="*/ 51892 w 343258"/>
                <a:gd name="connsiteY495" fmla="*/ 8126 h 292840"/>
                <a:gd name="connsiteX496" fmla="*/ 51139 w 343258"/>
                <a:gd name="connsiteY496" fmla="*/ 9333 h 292840"/>
                <a:gd name="connsiteX497" fmla="*/ 49488 w 343258"/>
                <a:gd name="connsiteY497" fmla="*/ 10870 h 292840"/>
                <a:gd name="connsiteX498" fmla="*/ 47615 w 343258"/>
                <a:gd name="connsiteY498" fmla="*/ 11806 h 292840"/>
                <a:gd name="connsiteX499" fmla="*/ 37973 w 343258"/>
                <a:gd name="connsiteY499" fmla="*/ 14154 h 292840"/>
                <a:gd name="connsiteX500" fmla="*/ 36988 w 343258"/>
                <a:gd name="connsiteY500" fmla="*/ 14653 h 292840"/>
                <a:gd name="connsiteX501" fmla="*/ 35734 w 343258"/>
                <a:gd name="connsiteY501" fmla="*/ 15630 h 292840"/>
                <a:gd name="connsiteX502" fmla="*/ 35727 w 343258"/>
                <a:gd name="connsiteY502" fmla="*/ 17867 h 292840"/>
                <a:gd name="connsiteX503" fmla="*/ 35988 w 343258"/>
                <a:gd name="connsiteY503" fmla="*/ 19623 h 292840"/>
                <a:gd name="connsiteX504" fmla="*/ 38824 w 343258"/>
                <a:gd name="connsiteY504" fmla="*/ 25378 h 292840"/>
                <a:gd name="connsiteX505" fmla="*/ 39930 w 343258"/>
                <a:gd name="connsiteY505" fmla="*/ 26797 h 292840"/>
                <a:gd name="connsiteX506" fmla="*/ 43730 w 343258"/>
                <a:gd name="connsiteY506" fmla="*/ 29915 h 292840"/>
                <a:gd name="connsiteX507" fmla="*/ 42866 w 343258"/>
                <a:gd name="connsiteY507" fmla="*/ 30346 h 292840"/>
                <a:gd name="connsiteX508" fmla="*/ 41466 w 343258"/>
                <a:gd name="connsiteY508" fmla="*/ 30399 h 292840"/>
                <a:gd name="connsiteX509" fmla="*/ 42492 w 343258"/>
                <a:gd name="connsiteY509" fmla="*/ 34482 h 292840"/>
                <a:gd name="connsiteX510" fmla="*/ 44824 w 343258"/>
                <a:gd name="connsiteY510" fmla="*/ 37285 h 292840"/>
                <a:gd name="connsiteX511" fmla="*/ 44929 w 343258"/>
                <a:gd name="connsiteY511" fmla="*/ 39051 h 292840"/>
                <a:gd name="connsiteX512" fmla="*/ 43141 w 343258"/>
                <a:gd name="connsiteY512" fmla="*/ 44526 h 292840"/>
                <a:gd name="connsiteX513" fmla="*/ 39879 w 343258"/>
                <a:gd name="connsiteY513" fmla="*/ 47801 h 292840"/>
                <a:gd name="connsiteX514" fmla="*/ 37564 w 343258"/>
                <a:gd name="connsiteY514" fmla="*/ 51611 h 292840"/>
                <a:gd name="connsiteX515" fmla="*/ 35765 w 343258"/>
                <a:gd name="connsiteY515" fmla="*/ 53127 h 292840"/>
                <a:gd name="connsiteX516" fmla="*/ 31782 w 343258"/>
                <a:gd name="connsiteY516" fmla="*/ 60616 h 292840"/>
                <a:gd name="connsiteX517" fmla="*/ 34814 w 343258"/>
                <a:gd name="connsiteY517" fmla="*/ 65070 h 292840"/>
                <a:gd name="connsiteX518" fmla="*/ 35245 w 343258"/>
                <a:gd name="connsiteY518" fmla="*/ 67329 h 292840"/>
                <a:gd name="connsiteX519" fmla="*/ 37861 w 343258"/>
                <a:gd name="connsiteY519" fmla="*/ 70542 h 292840"/>
                <a:gd name="connsiteX520" fmla="*/ 39570 w 343258"/>
                <a:gd name="connsiteY520" fmla="*/ 71596 h 292840"/>
                <a:gd name="connsiteX521" fmla="*/ 40710 w 343258"/>
                <a:gd name="connsiteY521" fmla="*/ 72891 h 292840"/>
                <a:gd name="connsiteX522" fmla="*/ 40187 w 343258"/>
                <a:gd name="connsiteY522" fmla="*/ 75084 h 292840"/>
                <a:gd name="connsiteX523" fmla="*/ 41232 w 343258"/>
                <a:gd name="connsiteY523" fmla="*/ 78053 h 292840"/>
                <a:gd name="connsiteX524" fmla="*/ 42586 w 343258"/>
                <a:gd name="connsiteY524" fmla="*/ 79622 h 292840"/>
                <a:gd name="connsiteX525" fmla="*/ 44290 w 343258"/>
                <a:gd name="connsiteY525" fmla="*/ 80250 h 292840"/>
                <a:gd name="connsiteX526" fmla="*/ 46392 w 343258"/>
                <a:gd name="connsiteY526" fmla="*/ 80241 h 292840"/>
                <a:gd name="connsiteX527" fmla="*/ 52444 w 343258"/>
                <a:gd name="connsiteY527" fmla="*/ 78264 h 292840"/>
                <a:gd name="connsiteX528" fmla="*/ 53878 w 343258"/>
                <a:gd name="connsiteY528" fmla="*/ 77374 h 292840"/>
                <a:gd name="connsiteX529" fmla="*/ 54792 w 343258"/>
                <a:gd name="connsiteY529" fmla="*/ 75788 h 292840"/>
                <a:gd name="connsiteX530" fmla="*/ 57822 w 343258"/>
                <a:gd name="connsiteY530" fmla="*/ 72573 h 292840"/>
                <a:gd name="connsiteX531" fmla="*/ 58010 w 343258"/>
                <a:gd name="connsiteY531" fmla="*/ 68415 h 292840"/>
                <a:gd name="connsiteX532" fmla="*/ 58663 w 343258"/>
                <a:gd name="connsiteY532" fmla="*/ 63424 h 292840"/>
                <a:gd name="connsiteX533" fmla="*/ 57927 w 343258"/>
                <a:gd name="connsiteY533" fmla="*/ 60164 h 292840"/>
                <a:gd name="connsiteX534" fmla="*/ 54745 w 343258"/>
                <a:gd name="connsiteY534" fmla="*/ 55520 h 292840"/>
                <a:gd name="connsiteX535" fmla="*/ 53350 w 343258"/>
                <a:gd name="connsiteY535" fmla="*/ 52216 h 292840"/>
                <a:gd name="connsiteX536" fmla="*/ 50196 w 343258"/>
                <a:gd name="connsiteY536" fmla="*/ 49138 h 292840"/>
                <a:gd name="connsiteX537" fmla="*/ 48265 w 343258"/>
                <a:gd name="connsiteY537" fmla="*/ 43873 h 292840"/>
                <a:gd name="connsiteX538" fmla="*/ 47466 w 343258"/>
                <a:gd name="connsiteY538" fmla="*/ 42234 h 292840"/>
                <a:gd name="connsiteX539" fmla="*/ 46868 w 343258"/>
                <a:gd name="connsiteY539" fmla="*/ 39961 h 292840"/>
                <a:gd name="connsiteX540" fmla="*/ 46189 w 343258"/>
                <a:gd name="connsiteY540" fmla="*/ 35938 h 292840"/>
                <a:gd name="connsiteX541" fmla="*/ 48307 w 343258"/>
                <a:gd name="connsiteY541" fmla="*/ 34479 h 292840"/>
                <a:gd name="connsiteX542" fmla="*/ 48094 w 343258"/>
                <a:gd name="connsiteY542" fmla="*/ 31182 h 292840"/>
                <a:gd name="connsiteX543" fmla="*/ 53296 w 343258"/>
                <a:gd name="connsiteY543" fmla="*/ 30275 h 292840"/>
                <a:gd name="connsiteX544" fmla="*/ 64550 w 343258"/>
                <a:gd name="connsiteY544" fmla="*/ 24913 h 292840"/>
                <a:gd name="connsiteX545" fmla="*/ 71521 w 343258"/>
                <a:gd name="connsiteY545" fmla="*/ 23554 h 292840"/>
                <a:gd name="connsiteX546" fmla="*/ 79460 w 343258"/>
                <a:gd name="connsiteY546" fmla="*/ 20687 h 292840"/>
                <a:gd name="connsiteX547" fmla="*/ 81299 w 343258"/>
                <a:gd name="connsiteY547" fmla="*/ 19273 h 292840"/>
                <a:gd name="connsiteX548" fmla="*/ 82893 w 343258"/>
                <a:gd name="connsiteY548" fmla="*/ 16918 h 292840"/>
                <a:gd name="connsiteX549" fmla="*/ 84125 w 343258"/>
                <a:gd name="connsiteY549" fmla="*/ 16647 h 292840"/>
                <a:gd name="connsiteX550" fmla="*/ 88262 w 343258"/>
                <a:gd name="connsiteY550" fmla="*/ 18856 h 292840"/>
                <a:gd name="connsiteX551" fmla="*/ 90306 w 343258"/>
                <a:gd name="connsiteY551" fmla="*/ 18089 h 292840"/>
                <a:gd name="connsiteX552" fmla="*/ 91114 w 343258"/>
                <a:gd name="connsiteY552" fmla="*/ 16365 h 292840"/>
                <a:gd name="connsiteX553" fmla="*/ 89987 w 343258"/>
                <a:gd name="connsiteY553" fmla="*/ 13005 h 292840"/>
                <a:gd name="connsiteX554" fmla="*/ 87614 w 343258"/>
                <a:gd name="connsiteY554" fmla="*/ 13004 h 292840"/>
                <a:gd name="connsiteX555" fmla="*/ 80472 w 343258"/>
                <a:gd name="connsiteY555" fmla="*/ 14224 h 292840"/>
                <a:gd name="connsiteX556" fmla="*/ 79774 w 343258"/>
                <a:gd name="connsiteY556" fmla="*/ 12779 h 292840"/>
                <a:gd name="connsiteX557" fmla="*/ 79776 w 343258"/>
                <a:gd name="connsiteY557" fmla="*/ 11514 h 292840"/>
                <a:gd name="connsiteX558" fmla="*/ 78091 w 343258"/>
                <a:gd name="connsiteY558" fmla="*/ 7506 h 292840"/>
                <a:gd name="connsiteX559" fmla="*/ 79140 w 343258"/>
                <a:gd name="connsiteY559" fmla="*/ 4485 h 292840"/>
                <a:gd name="connsiteX560" fmla="*/ 80213 w 343258"/>
                <a:gd name="connsiteY560" fmla="*/ 2045 h 292840"/>
                <a:gd name="connsiteX561" fmla="*/ 82261 w 343258"/>
                <a:gd name="connsiteY561" fmla="*/ 1061 h 292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</a:cxnLst>
              <a:rect l="l" t="t" r="r" b="b"/>
              <a:pathLst>
                <a:path w="343258" h="292840">
                  <a:moveTo>
                    <a:pt x="315698" y="79677"/>
                  </a:moveTo>
                  <a:lnTo>
                    <a:pt x="316236" y="80111"/>
                  </a:lnTo>
                  <a:lnTo>
                    <a:pt x="316102" y="80660"/>
                  </a:lnTo>
                  <a:lnTo>
                    <a:pt x="317387" y="81584"/>
                  </a:lnTo>
                  <a:lnTo>
                    <a:pt x="317076" y="82763"/>
                  </a:lnTo>
                  <a:lnTo>
                    <a:pt x="315683" y="84048"/>
                  </a:lnTo>
                  <a:lnTo>
                    <a:pt x="313617" y="84865"/>
                  </a:lnTo>
                  <a:lnTo>
                    <a:pt x="312043" y="85383"/>
                  </a:lnTo>
                  <a:lnTo>
                    <a:pt x="311808" y="82821"/>
                  </a:lnTo>
                  <a:lnTo>
                    <a:pt x="312283" y="82130"/>
                  </a:lnTo>
                  <a:lnTo>
                    <a:pt x="314963" y="80068"/>
                  </a:lnTo>
                  <a:close/>
                  <a:moveTo>
                    <a:pt x="319102" y="75893"/>
                  </a:moveTo>
                  <a:lnTo>
                    <a:pt x="319677" y="75941"/>
                  </a:lnTo>
                  <a:lnTo>
                    <a:pt x="320262" y="76277"/>
                  </a:lnTo>
                  <a:lnTo>
                    <a:pt x="318878" y="76946"/>
                  </a:lnTo>
                  <a:lnTo>
                    <a:pt x="318097" y="77938"/>
                  </a:lnTo>
                  <a:lnTo>
                    <a:pt x="315049" y="78776"/>
                  </a:lnTo>
                  <a:lnTo>
                    <a:pt x="315099" y="78093"/>
                  </a:lnTo>
                  <a:lnTo>
                    <a:pt x="315915" y="76907"/>
                  </a:lnTo>
                  <a:lnTo>
                    <a:pt x="317497" y="76572"/>
                  </a:lnTo>
                  <a:lnTo>
                    <a:pt x="318093" y="76166"/>
                  </a:lnTo>
                  <a:close/>
                  <a:moveTo>
                    <a:pt x="202420" y="30933"/>
                  </a:moveTo>
                  <a:lnTo>
                    <a:pt x="204471" y="30933"/>
                  </a:lnTo>
                  <a:lnTo>
                    <a:pt x="206392" y="32051"/>
                  </a:lnTo>
                  <a:lnTo>
                    <a:pt x="206749" y="32661"/>
                  </a:lnTo>
                  <a:lnTo>
                    <a:pt x="205382" y="33238"/>
                  </a:lnTo>
                  <a:lnTo>
                    <a:pt x="202877" y="32661"/>
                  </a:lnTo>
                  <a:lnTo>
                    <a:pt x="201623" y="31855"/>
                  </a:lnTo>
                  <a:close/>
                  <a:moveTo>
                    <a:pt x="240204" y="25970"/>
                  </a:moveTo>
                  <a:lnTo>
                    <a:pt x="241314" y="26899"/>
                  </a:lnTo>
                  <a:lnTo>
                    <a:pt x="242127" y="30253"/>
                  </a:lnTo>
                  <a:lnTo>
                    <a:pt x="241878" y="30882"/>
                  </a:lnTo>
                  <a:lnTo>
                    <a:pt x="239583" y="33146"/>
                  </a:lnTo>
                  <a:lnTo>
                    <a:pt x="237658" y="33309"/>
                  </a:lnTo>
                  <a:lnTo>
                    <a:pt x="236108" y="33229"/>
                  </a:lnTo>
                  <a:lnTo>
                    <a:pt x="234929" y="32791"/>
                  </a:lnTo>
                  <a:lnTo>
                    <a:pt x="233414" y="31318"/>
                  </a:lnTo>
                  <a:lnTo>
                    <a:pt x="231943" y="31760"/>
                  </a:lnTo>
                  <a:lnTo>
                    <a:pt x="228302" y="31248"/>
                  </a:lnTo>
                  <a:lnTo>
                    <a:pt x="227292" y="30734"/>
                  </a:lnTo>
                  <a:lnTo>
                    <a:pt x="228655" y="28930"/>
                  </a:lnTo>
                  <a:lnTo>
                    <a:pt x="231161" y="28201"/>
                  </a:lnTo>
                  <a:lnTo>
                    <a:pt x="232076" y="28052"/>
                  </a:lnTo>
                  <a:lnTo>
                    <a:pt x="232808" y="29159"/>
                  </a:lnTo>
                  <a:lnTo>
                    <a:pt x="234635" y="30116"/>
                  </a:lnTo>
                  <a:lnTo>
                    <a:pt x="236777" y="30213"/>
                  </a:lnTo>
                  <a:lnTo>
                    <a:pt x="237309" y="28504"/>
                  </a:lnTo>
                  <a:close/>
                  <a:moveTo>
                    <a:pt x="85255" y="0"/>
                  </a:moveTo>
                  <a:lnTo>
                    <a:pt x="87527" y="1627"/>
                  </a:lnTo>
                  <a:lnTo>
                    <a:pt x="88902" y="3181"/>
                  </a:lnTo>
                  <a:lnTo>
                    <a:pt x="89651" y="4688"/>
                  </a:lnTo>
                  <a:lnTo>
                    <a:pt x="90160" y="8769"/>
                  </a:lnTo>
                  <a:lnTo>
                    <a:pt x="91380" y="12903"/>
                  </a:lnTo>
                  <a:lnTo>
                    <a:pt x="92660" y="15777"/>
                  </a:lnTo>
                  <a:lnTo>
                    <a:pt x="94696" y="17942"/>
                  </a:lnTo>
                  <a:lnTo>
                    <a:pt x="96263" y="17800"/>
                  </a:lnTo>
                  <a:lnTo>
                    <a:pt x="97381" y="17438"/>
                  </a:lnTo>
                  <a:lnTo>
                    <a:pt x="104815" y="16952"/>
                  </a:lnTo>
                  <a:lnTo>
                    <a:pt x="109327" y="18427"/>
                  </a:lnTo>
                  <a:lnTo>
                    <a:pt x="115074" y="19179"/>
                  </a:lnTo>
                  <a:lnTo>
                    <a:pt x="120444" y="22321"/>
                  </a:lnTo>
                  <a:lnTo>
                    <a:pt x="125960" y="26131"/>
                  </a:lnTo>
                  <a:lnTo>
                    <a:pt x="127368" y="28907"/>
                  </a:lnTo>
                  <a:lnTo>
                    <a:pt x="127832" y="31563"/>
                  </a:lnTo>
                  <a:lnTo>
                    <a:pt x="129169" y="33340"/>
                  </a:lnTo>
                  <a:lnTo>
                    <a:pt x="127835" y="35169"/>
                  </a:lnTo>
                  <a:lnTo>
                    <a:pt x="128556" y="38231"/>
                  </a:lnTo>
                  <a:lnTo>
                    <a:pt x="130132" y="41312"/>
                  </a:lnTo>
                  <a:lnTo>
                    <a:pt x="132520" y="43272"/>
                  </a:lnTo>
                  <a:lnTo>
                    <a:pt x="139323" y="43800"/>
                  </a:lnTo>
                  <a:lnTo>
                    <a:pt x="146684" y="42477"/>
                  </a:lnTo>
                  <a:lnTo>
                    <a:pt x="158045" y="41280"/>
                  </a:lnTo>
                  <a:lnTo>
                    <a:pt x="161703" y="40248"/>
                  </a:lnTo>
                  <a:lnTo>
                    <a:pt x="180512" y="39695"/>
                  </a:lnTo>
                  <a:lnTo>
                    <a:pt x="184097" y="41172"/>
                  </a:lnTo>
                  <a:lnTo>
                    <a:pt x="184444" y="42647"/>
                  </a:lnTo>
                  <a:lnTo>
                    <a:pt x="184487" y="43777"/>
                  </a:lnTo>
                  <a:lnTo>
                    <a:pt x="190540" y="49292"/>
                  </a:lnTo>
                  <a:lnTo>
                    <a:pt x="195507" y="50042"/>
                  </a:lnTo>
                  <a:lnTo>
                    <a:pt x="199729" y="51811"/>
                  </a:lnTo>
                  <a:lnTo>
                    <a:pt x="204090" y="52761"/>
                  </a:lnTo>
                  <a:lnTo>
                    <a:pt x="208864" y="54099"/>
                  </a:lnTo>
                  <a:lnTo>
                    <a:pt x="211547" y="53930"/>
                  </a:lnTo>
                  <a:lnTo>
                    <a:pt x="213556" y="53460"/>
                  </a:lnTo>
                  <a:lnTo>
                    <a:pt x="215929" y="53382"/>
                  </a:lnTo>
                  <a:lnTo>
                    <a:pt x="232719" y="44166"/>
                  </a:lnTo>
                  <a:lnTo>
                    <a:pt x="241710" y="44403"/>
                  </a:lnTo>
                  <a:lnTo>
                    <a:pt x="243097" y="43804"/>
                  </a:lnTo>
                  <a:lnTo>
                    <a:pt x="244292" y="42996"/>
                  </a:lnTo>
                  <a:lnTo>
                    <a:pt x="240975" y="41594"/>
                  </a:lnTo>
                  <a:lnTo>
                    <a:pt x="233490" y="41053"/>
                  </a:lnTo>
                  <a:lnTo>
                    <a:pt x="231218" y="41993"/>
                  </a:lnTo>
                  <a:lnTo>
                    <a:pt x="229932" y="39619"/>
                  </a:lnTo>
                  <a:lnTo>
                    <a:pt x="232374" y="39684"/>
                  </a:lnTo>
                  <a:lnTo>
                    <a:pt x="240704" y="38887"/>
                  </a:lnTo>
                  <a:lnTo>
                    <a:pt x="250253" y="39412"/>
                  </a:lnTo>
                  <a:lnTo>
                    <a:pt x="258035" y="37722"/>
                  </a:lnTo>
                  <a:lnTo>
                    <a:pt x="261950" y="37442"/>
                  </a:lnTo>
                  <a:lnTo>
                    <a:pt x="264201" y="37775"/>
                  </a:lnTo>
                  <a:lnTo>
                    <a:pt x="270398" y="36680"/>
                  </a:lnTo>
                  <a:lnTo>
                    <a:pt x="282063" y="37968"/>
                  </a:lnTo>
                  <a:lnTo>
                    <a:pt x="291262" y="36905"/>
                  </a:lnTo>
                  <a:lnTo>
                    <a:pt x="290199" y="38433"/>
                  </a:lnTo>
                  <a:lnTo>
                    <a:pt x="287181" y="39358"/>
                  </a:lnTo>
                  <a:lnTo>
                    <a:pt x="282301" y="39650"/>
                  </a:lnTo>
                  <a:lnTo>
                    <a:pt x="278572" y="41883"/>
                  </a:lnTo>
                  <a:lnTo>
                    <a:pt x="270620" y="41470"/>
                  </a:lnTo>
                  <a:lnTo>
                    <a:pt x="265042" y="42277"/>
                  </a:lnTo>
                  <a:lnTo>
                    <a:pt x="266832" y="42899"/>
                  </a:lnTo>
                  <a:lnTo>
                    <a:pt x="266830" y="45188"/>
                  </a:lnTo>
                  <a:lnTo>
                    <a:pt x="267593" y="45650"/>
                  </a:lnTo>
                  <a:lnTo>
                    <a:pt x="268397" y="45667"/>
                  </a:lnTo>
                  <a:lnTo>
                    <a:pt x="270297" y="47363"/>
                  </a:lnTo>
                  <a:lnTo>
                    <a:pt x="270816" y="48471"/>
                  </a:lnTo>
                  <a:lnTo>
                    <a:pt x="271430" y="50808"/>
                  </a:lnTo>
                  <a:lnTo>
                    <a:pt x="270592" y="53331"/>
                  </a:lnTo>
                  <a:lnTo>
                    <a:pt x="269428" y="54456"/>
                  </a:lnTo>
                  <a:lnTo>
                    <a:pt x="271695" y="54084"/>
                  </a:lnTo>
                  <a:lnTo>
                    <a:pt x="272980" y="52900"/>
                  </a:lnTo>
                  <a:lnTo>
                    <a:pt x="272792" y="51708"/>
                  </a:lnTo>
                  <a:lnTo>
                    <a:pt x="272980" y="50329"/>
                  </a:lnTo>
                  <a:lnTo>
                    <a:pt x="274252" y="50761"/>
                  </a:lnTo>
                  <a:lnTo>
                    <a:pt x="275144" y="51384"/>
                  </a:lnTo>
                  <a:lnTo>
                    <a:pt x="278041" y="57983"/>
                  </a:lnTo>
                  <a:lnTo>
                    <a:pt x="280082" y="61447"/>
                  </a:lnTo>
                  <a:lnTo>
                    <a:pt x="280605" y="61316"/>
                  </a:lnTo>
                  <a:lnTo>
                    <a:pt x="281090" y="61194"/>
                  </a:lnTo>
                  <a:lnTo>
                    <a:pt x="281696" y="60530"/>
                  </a:lnTo>
                  <a:lnTo>
                    <a:pt x="282599" y="58900"/>
                  </a:lnTo>
                  <a:lnTo>
                    <a:pt x="283378" y="59934"/>
                  </a:lnTo>
                  <a:lnTo>
                    <a:pt x="283847" y="60330"/>
                  </a:lnTo>
                  <a:lnTo>
                    <a:pt x="284318" y="60456"/>
                  </a:lnTo>
                  <a:lnTo>
                    <a:pt x="283888" y="58979"/>
                  </a:lnTo>
                  <a:lnTo>
                    <a:pt x="284468" y="57086"/>
                  </a:lnTo>
                  <a:lnTo>
                    <a:pt x="284269" y="56426"/>
                  </a:lnTo>
                  <a:lnTo>
                    <a:pt x="285173" y="56281"/>
                  </a:lnTo>
                  <a:lnTo>
                    <a:pt x="286251" y="56532"/>
                  </a:lnTo>
                  <a:lnTo>
                    <a:pt x="287788" y="57054"/>
                  </a:lnTo>
                  <a:lnTo>
                    <a:pt x="290524" y="59225"/>
                  </a:lnTo>
                  <a:lnTo>
                    <a:pt x="292333" y="61472"/>
                  </a:lnTo>
                  <a:lnTo>
                    <a:pt x="292488" y="62727"/>
                  </a:lnTo>
                  <a:lnTo>
                    <a:pt x="293142" y="63432"/>
                  </a:lnTo>
                  <a:lnTo>
                    <a:pt x="294324" y="64174"/>
                  </a:lnTo>
                  <a:lnTo>
                    <a:pt x="294902" y="65333"/>
                  </a:lnTo>
                  <a:lnTo>
                    <a:pt x="295009" y="63510"/>
                  </a:lnTo>
                  <a:lnTo>
                    <a:pt x="294313" y="62180"/>
                  </a:lnTo>
                  <a:lnTo>
                    <a:pt x="294142" y="60661"/>
                  </a:lnTo>
                  <a:lnTo>
                    <a:pt x="297706" y="60593"/>
                  </a:lnTo>
                  <a:lnTo>
                    <a:pt x="298631" y="58594"/>
                  </a:lnTo>
                  <a:lnTo>
                    <a:pt x="300573" y="59798"/>
                  </a:lnTo>
                  <a:lnTo>
                    <a:pt x="305718" y="65286"/>
                  </a:lnTo>
                  <a:lnTo>
                    <a:pt x="307619" y="66193"/>
                  </a:lnTo>
                  <a:lnTo>
                    <a:pt x="313223" y="67246"/>
                  </a:lnTo>
                  <a:lnTo>
                    <a:pt x="316756" y="69885"/>
                  </a:lnTo>
                  <a:lnTo>
                    <a:pt x="318825" y="72252"/>
                  </a:lnTo>
                  <a:lnTo>
                    <a:pt x="317596" y="74734"/>
                  </a:lnTo>
                  <a:lnTo>
                    <a:pt x="314297" y="75974"/>
                  </a:lnTo>
                  <a:lnTo>
                    <a:pt x="312976" y="77523"/>
                  </a:lnTo>
                  <a:lnTo>
                    <a:pt x="312218" y="79044"/>
                  </a:lnTo>
                  <a:lnTo>
                    <a:pt x="312205" y="80574"/>
                  </a:lnTo>
                  <a:lnTo>
                    <a:pt x="311206" y="82350"/>
                  </a:lnTo>
                  <a:lnTo>
                    <a:pt x="311057" y="82975"/>
                  </a:lnTo>
                  <a:lnTo>
                    <a:pt x="310461" y="85478"/>
                  </a:lnTo>
                  <a:lnTo>
                    <a:pt x="309103" y="88491"/>
                  </a:lnTo>
                  <a:lnTo>
                    <a:pt x="307294" y="91686"/>
                  </a:lnTo>
                  <a:lnTo>
                    <a:pt x="297874" y="91760"/>
                  </a:lnTo>
                  <a:lnTo>
                    <a:pt x="300202" y="93070"/>
                  </a:lnTo>
                  <a:lnTo>
                    <a:pt x="302341" y="94027"/>
                  </a:lnTo>
                  <a:lnTo>
                    <a:pt x="305854" y="96536"/>
                  </a:lnTo>
                  <a:lnTo>
                    <a:pt x="308650" y="94566"/>
                  </a:lnTo>
                  <a:lnTo>
                    <a:pt x="312650" y="94425"/>
                  </a:lnTo>
                  <a:lnTo>
                    <a:pt x="316980" y="92235"/>
                  </a:lnTo>
                  <a:lnTo>
                    <a:pt x="318609" y="91895"/>
                  </a:lnTo>
                  <a:lnTo>
                    <a:pt x="326710" y="93042"/>
                  </a:lnTo>
                  <a:lnTo>
                    <a:pt x="328663" y="91433"/>
                  </a:lnTo>
                  <a:lnTo>
                    <a:pt x="330292" y="90960"/>
                  </a:lnTo>
                  <a:lnTo>
                    <a:pt x="334673" y="91261"/>
                  </a:lnTo>
                  <a:lnTo>
                    <a:pt x="338475" y="92989"/>
                  </a:lnTo>
                  <a:lnTo>
                    <a:pt x="343188" y="99203"/>
                  </a:lnTo>
                  <a:lnTo>
                    <a:pt x="343258" y="99887"/>
                  </a:lnTo>
                  <a:lnTo>
                    <a:pt x="342747" y="100665"/>
                  </a:lnTo>
                  <a:lnTo>
                    <a:pt x="339811" y="102121"/>
                  </a:lnTo>
                  <a:lnTo>
                    <a:pt x="339155" y="102877"/>
                  </a:lnTo>
                  <a:lnTo>
                    <a:pt x="338098" y="105644"/>
                  </a:lnTo>
                  <a:lnTo>
                    <a:pt x="334402" y="107163"/>
                  </a:lnTo>
                  <a:lnTo>
                    <a:pt x="331847" y="109067"/>
                  </a:lnTo>
                  <a:lnTo>
                    <a:pt x="330126" y="110735"/>
                  </a:lnTo>
                  <a:lnTo>
                    <a:pt x="329268" y="111409"/>
                  </a:lnTo>
                  <a:lnTo>
                    <a:pt x="325896" y="111778"/>
                  </a:lnTo>
                  <a:lnTo>
                    <a:pt x="324812" y="112827"/>
                  </a:lnTo>
                  <a:lnTo>
                    <a:pt x="323450" y="115982"/>
                  </a:lnTo>
                  <a:lnTo>
                    <a:pt x="322451" y="117300"/>
                  </a:lnTo>
                  <a:lnTo>
                    <a:pt x="320696" y="118847"/>
                  </a:lnTo>
                  <a:lnTo>
                    <a:pt x="320681" y="119798"/>
                  </a:lnTo>
                  <a:lnTo>
                    <a:pt x="323103" y="123248"/>
                  </a:lnTo>
                  <a:lnTo>
                    <a:pt x="323539" y="124331"/>
                  </a:lnTo>
                  <a:lnTo>
                    <a:pt x="322788" y="125970"/>
                  </a:lnTo>
                  <a:lnTo>
                    <a:pt x="322861" y="127129"/>
                  </a:lnTo>
                  <a:lnTo>
                    <a:pt x="324131" y="128527"/>
                  </a:lnTo>
                  <a:lnTo>
                    <a:pt x="325653" y="128846"/>
                  </a:lnTo>
                  <a:lnTo>
                    <a:pt x="327129" y="128264"/>
                  </a:lnTo>
                  <a:lnTo>
                    <a:pt x="328970" y="128315"/>
                  </a:lnTo>
                  <a:lnTo>
                    <a:pt x="330169" y="128685"/>
                  </a:lnTo>
                  <a:lnTo>
                    <a:pt x="330666" y="129093"/>
                  </a:lnTo>
                  <a:lnTo>
                    <a:pt x="330753" y="130162"/>
                  </a:lnTo>
                  <a:lnTo>
                    <a:pt x="329992" y="132435"/>
                  </a:lnTo>
                  <a:lnTo>
                    <a:pt x="328903" y="133899"/>
                  </a:lnTo>
                  <a:lnTo>
                    <a:pt x="324059" y="136148"/>
                  </a:lnTo>
                  <a:lnTo>
                    <a:pt x="321904" y="137451"/>
                  </a:lnTo>
                  <a:lnTo>
                    <a:pt x="320716" y="138409"/>
                  </a:lnTo>
                  <a:lnTo>
                    <a:pt x="318106" y="137895"/>
                  </a:lnTo>
                  <a:lnTo>
                    <a:pt x="316775" y="137936"/>
                  </a:lnTo>
                  <a:lnTo>
                    <a:pt x="315754" y="138676"/>
                  </a:lnTo>
                  <a:lnTo>
                    <a:pt x="315135" y="139315"/>
                  </a:lnTo>
                  <a:lnTo>
                    <a:pt x="313384" y="139471"/>
                  </a:lnTo>
                  <a:lnTo>
                    <a:pt x="310906" y="139860"/>
                  </a:lnTo>
                  <a:lnTo>
                    <a:pt x="309871" y="140289"/>
                  </a:lnTo>
                  <a:lnTo>
                    <a:pt x="309069" y="141399"/>
                  </a:lnTo>
                  <a:lnTo>
                    <a:pt x="308400" y="142991"/>
                  </a:lnTo>
                  <a:lnTo>
                    <a:pt x="308959" y="144902"/>
                  </a:lnTo>
                  <a:lnTo>
                    <a:pt x="309734" y="146604"/>
                  </a:lnTo>
                  <a:lnTo>
                    <a:pt x="309702" y="148168"/>
                  </a:lnTo>
                  <a:lnTo>
                    <a:pt x="310299" y="152515"/>
                  </a:lnTo>
                  <a:lnTo>
                    <a:pt x="309519" y="153530"/>
                  </a:lnTo>
                  <a:lnTo>
                    <a:pt x="307859" y="154681"/>
                  </a:lnTo>
                  <a:lnTo>
                    <a:pt x="305877" y="156709"/>
                  </a:lnTo>
                  <a:lnTo>
                    <a:pt x="303653" y="159527"/>
                  </a:lnTo>
                  <a:lnTo>
                    <a:pt x="304008" y="160336"/>
                  </a:lnTo>
                  <a:lnTo>
                    <a:pt x="309323" y="166257"/>
                  </a:lnTo>
                  <a:lnTo>
                    <a:pt x="314729" y="172280"/>
                  </a:lnTo>
                  <a:lnTo>
                    <a:pt x="320101" y="178265"/>
                  </a:lnTo>
                  <a:lnTo>
                    <a:pt x="320866" y="178531"/>
                  </a:lnTo>
                  <a:lnTo>
                    <a:pt x="321881" y="179222"/>
                  </a:lnTo>
                  <a:lnTo>
                    <a:pt x="322818" y="181317"/>
                  </a:lnTo>
                  <a:lnTo>
                    <a:pt x="323592" y="183538"/>
                  </a:lnTo>
                  <a:lnTo>
                    <a:pt x="323608" y="184687"/>
                  </a:lnTo>
                  <a:lnTo>
                    <a:pt x="323006" y="186132"/>
                  </a:lnTo>
                  <a:lnTo>
                    <a:pt x="321699" y="187795"/>
                  </a:lnTo>
                  <a:lnTo>
                    <a:pt x="320112" y="189141"/>
                  </a:lnTo>
                  <a:lnTo>
                    <a:pt x="317787" y="190282"/>
                  </a:lnTo>
                  <a:lnTo>
                    <a:pt x="315940" y="191360"/>
                  </a:lnTo>
                  <a:lnTo>
                    <a:pt x="314415" y="194209"/>
                  </a:lnTo>
                  <a:lnTo>
                    <a:pt x="313492" y="195211"/>
                  </a:lnTo>
                  <a:lnTo>
                    <a:pt x="312643" y="195616"/>
                  </a:lnTo>
                  <a:lnTo>
                    <a:pt x="310965" y="195987"/>
                  </a:lnTo>
                  <a:lnTo>
                    <a:pt x="308252" y="195902"/>
                  </a:lnTo>
                  <a:lnTo>
                    <a:pt x="306461" y="195677"/>
                  </a:lnTo>
                  <a:lnTo>
                    <a:pt x="304243" y="197809"/>
                  </a:lnTo>
                  <a:lnTo>
                    <a:pt x="301407" y="198590"/>
                  </a:lnTo>
                  <a:lnTo>
                    <a:pt x="299510" y="201497"/>
                  </a:lnTo>
                  <a:lnTo>
                    <a:pt x="292750" y="203803"/>
                  </a:lnTo>
                  <a:lnTo>
                    <a:pt x="286138" y="205599"/>
                  </a:lnTo>
                  <a:lnTo>
                    <a:pt x="284324" y="206309"/>
                  </a:lnTo>
                  <a:lnTo>
                    <a:pt x="277794" y="204826"/>
                  </a:lnTo>
                  <a:lnTo>
                    <a:pt x="276224" y="205289"/>
                  </a:lnTo>
                  <a:lnTo>
                    <a:pt x="274414" y="206665"/>
                  </a:lnTo>
                  <a:lnTo>
                    <a:pt x="272745" y="207733"/>
                  </a:lnTo>
                  <a:lnTo>
                    <a:pt x="271336" y="207801"/>
                  </a:lnTo>
                  <a:lnTo>
                    <a:pt x="270150" y="208352"/>
                  </a:lnTo>
                  <a:lnTo>
                    <a:pt x="269445" y="210322"/>
                  </a:lnTo>
                  <a:lnTo>
                    <a:pt x="268819" y="217112"/>
                  </a:lnTo>
                  <a:lnTo>
                    <a:pt x="266477" y="219130"/>
                  </a:lnTo>
                  <a:lnTo>
                    <a:pt x="263645" y="219118"/>
                  </a:lnTo>
                  <a:lnTo>
                    <a:pt x="261701" y="216769"/>
                  </a:lnTo>
                  <a:lnTo>
                    <a:pt x="259396" y="214992"/>
                  </a:lnTo>
                  <a:lnTo>
                    <a:pt x="255377" y="210781"/>
                  </a:lnTo>
                  <a:lnTo>
                    <a:pt x="254262" y="210232"/>
                  </a:lnTo>
                  <a:lnTo>
                    <a:pt x="253220" y="210258"/>
                  </a:lnTo>
                  <a:lnTo>
                    <a:pt x="249492" y="211507"/>
                  </a:lnTo>
                  <a:lnTo>
                    <a:pt x="247721" y="210964"/>
                  </a:lnTo>
                  <a:lnTo>
                    <a:pt x="246294" y="210310"/>
                  </a:lnTo>
                  <a:lnTo>
                    <a:pt x="243910" y="210519"/>
                  </a:lnTo>
                  <a:lnTo>
                    <a:pt x="239658" y="210568"/>
                  </a:lnTo>
                  <a:lnTo>
                    <a:pt x="236949" y="210608"/>
                  </a:lnTo>
                  <a:lnTo>
                    <a:pt x="235633" y="209458"/>
                  </a:lnTo>
                  <a:lnTo>
                    <a:pt x="234407" y="207106"/>
                  </a:lnTo>
                  <a:lnTo>
                    <a:pt x="233581" y="206264"/>
                  </a:lnTo>
                  <a:lnTo>
                    <a:pt x="232613" y="205585"/>
                  </a:lnTo>
                  <a:lnTo>
                    <a:pt x="231011" y="205243"/>
                  </a:lnTo>
                  <a:lnTo>
                    <a:pt x="224168" y="205251"/>
                  </a:lnTo>
                  <a:lnTo>
                    <a:pt x="222879" y="205255"/>
                  </a:lnTo>
                  <a:lnTo>
                    <a:pt x="221933" y="204802"/>
                  </a:lnTo>
                  <a:lnTo>
                    <a:pt x="220619" y="202785"/>
                  </a:lnTo>
                  <a:lnTo>
                    <a:pt x="219180" y="201838"/>
                  </a:lnTo>
                  <a:lnTo>
                    <a:pt x="217496" y="201796"/>
                  </a:lnTo>
                  <a:lnTo>
                    <a:pt x="216755" y="202908"/>
                  </a:lnTo>
                  <a:lnTo>
                    <a:pt x="219678" y="206539"/>
                  </a:lnTo>
                  <a:lnTo>
                    <a:pt x="220530" y="208507"/>
                  </a:lnTo>
                  <a:lnTo>
                    <a:pt x="223093" y="211352"/>
                  </a:lnTo>
                  <a:lnTo>
                    <a:pt x="230514" y="217372"/>
                  </a:lnTo>
                  <a:lnTo>
                    <a:pt x="231888" y="219284"/>
                  </a:lnTo>
                  <a:lnTo>
                    <a:pt x="231736" y="221725"/>
                  </a:lnTo>
                  <a:lnTo>
                    <a:pt x="231694" y="225463"/>
                  </a:lnTo>
                  <a:lnTo>
                    <a:pt x="231945" y="228999"/>
                  </a:lnTo>
                  <a:lnTo>
                    <a:pt x="233854" y="234070"/>
                  </a:lnTo>
                  <a:lnTo>
                    <a:pt x="236535" y="239231"/>
                  </a:lnTo>
                  <a:lnTo>
                    <a:pt x="237265" y="242521"/>
                  </a:lnTo>
                  <a:lnTo>
                    <a:pt x="236766" y="244952"/>
                  </a:lnTo>
                  <a:lnTo>
                    <a:pt x="236255" y="246245"/>
                  </a:lnTo>
                  <a:lnTo>
                    <a:pt x="236313" y="246821"/>
                  </a:lnTo>
                  <a:lnTo>
                    <a:pt x="236862" y="247342"/>
                  </a:lnTo>
                  <a:lnTo>
                    <a:pt x="239417" y="248088"/>
                  </a:lnTo>
                  <a:lnTo>
                    <a:pt x="244782" y="248555"/>
                  </a:lnTo>
                  <a:lnTo>
                    <a:pt x="248026" y="248557"/>
                  </a:lnTo>
                  <a:lnTo>
                    <a:pt x="252980" y="249117"/>
                  </a:lnTo>
                  <a:lnTo>
                    <a:pt x="253345" y="250930"/>
                  </a:lnTo>
                  <a:lnTo>
                    <a:pt x="252861" y="253922"/>
                  </a:lnTo>
                  <a:lnTo>
                    <a:pt x="251883" y="255620"/>
                  </a:lnTo>
                  <a:lnTo>
                    <a:pt x="251087" y="256115"/>
                  </a:lnTo>
                  <a:lnTo>
                    <a:pt x="248390" y="256510"/>
                  </a:lnTo>
                  <a:lnTo>
                    <a:pt x="245554" y="258345"/>
                  </a:lnTo>
                  <a:lnTo>
                    <a:pt x="241437" y="260156"/>
                  </a:lnTo>
                  <a:lnTo>
                    <a:pt x="239088" y="260403"/>
                  </a:lnTo>
                  <a:lnTo>
                    <a:pt x="238109" y="260757"/>
                  </a:lnTo>
                  <a:lnTo>
                    <a:pt x="237278" y="261301"/>
                  </a:lnTo>
                  <a:lnTo>
                    <a:pt x="236595" y="261990"/>
                  </a:lnTo>
                  <a:lnTo>
                    <a:pt x="235794" y="265388"/>
                  </a:lnTo>
                  <a:lnTo>
                    <a:pt x="234582" y="269222"/>
                  </a:lnTo>
                  <a:lnTo>
                    <a:pt x="232295" y="271500"/>
                  </a:lnTo>
                  <a:lnTo>
                    <a:pt x="229780" y="273383"/>
                  </a:lnTo>
                  <a:lnTo>
                    <a:pt x="227222" y="273596"/>
                  </a:lnTo>
                  <a:lnTo>
                    <a:pt x="225170" y="273446"/>
                  </a:lnTo>
                  <a:lnTo>
                    <a:pt x="224149" y="273998"/>
                  </a:lnTo>
                  <a:lnTo>
                    <a:pt x="222676" y="275549"/>
                  </a:lnTo>
                  <a:lnTo>
                    <a:pt x="220571" y="277476"/>
                  </a:lnTo>
                  <a:lnTo>
                    <a:pt x="218945" y="278504"/>
                  </a:lnTo>
                  <a:lnTo>
                    <a:pt x="216753" y="278407"/>
                  </a:lnTo>
                  <a:lnTo>
                    <a:pt x="214417" y="279356"/>
                  </a:lnTo>
                  <a:lnTo>
                    <a:pt x="211463" y="280910"/>
                  </a:lnTo>
                  <a:lnTo>
                    <a:pt x="209506" y="282187"/>
                  </a:lnTo>
                  <a:lnTo>
                    <a:pt x="207836" y="284365"/>
                  </a:lnTo>
                  <a:lnTo>
                    <a:pt x="205444" y="286656"/>
                  </a:lnTo>
                  <a:lnTo>
                    <a:pt x="202988" y="288259"/>
                  </a:lnTo>
                  <a:lnTo>
                    <a:pt x="201811" y="290242"/>
                  </a:lnTo>
                  <a:lnTo>
                    <a:pt x="200134" y="292758"/>
                  </a:lnTo>
                  <a:lnTo>
                    <a:pt x="198038" y="292840"/>
                  </a:lnTo>
                  <a:lnTo>
                    <a:pt x="197869" y="291331"/>
                  </a:lnTo>
                  <a:lnTo>
                    <a:pt x="198876" y="288899"/>
                  </a:lnTo>
                  <a:lnTo>
                    <a:pt x="197785" y="286803"/>
                  </a:lnTo>
                  <a:lnTo>
                    <a:pt x="195791" y="285680"/>
                  </a:lnTo>
                  <a:lnTo>
                    <a:pt x="194859" y="285347"/>
                  </a:lnTo>
                  <a:lnTo>
                    <a:pt x="193929" y="285486"/>
                  </a:lnTo>
                  <a:lnTo>
                    <a:pt x="191565" y="286519"/>
                  </a:lnTo>
                  <a:lnTo>
                    <a:pt x="188661" y="288399"/>
                  </a:lnTo>
                  <a:lnTo>
                    <a:pt x="186874" y="289752"/>
                  </a:lnTo>
                  <a:lnTo>
                    <a:pt x="185259" y="290371"/>
                  </a:lnTo>
                  <a:lnTo>
                    <a:pt x="181933" y="290931"/>
                  </a:lnTo>
                  <a:lnTo>
                    <a:pt x="179132" y="291219"/>
                  </a:lnTo>
                  <a:lnTo>
                    <a:pt x="177979" y="290832"/>
                  </a:lnTo>
                  <a:lnTo>
                    <a:pt x="175897" y="289450"/>
                  </a:lnTo>
                  <a:lnTo>
                    <a:pt x="171084" y="285127"/>
                  </a:lnTo>
                  <a:lnTo>
                    <a:pt x="164568" y="279272"/>
                  </a:lnTo>
                  <a:lnTo>
                    <a:pt x="164074" y="277577"/>
                  </a:lnTo>
                  <a:lnTo>
                    <a:pt x="164354" y="275843"/>
                  </a:lnTo>
                  <a:lnTo>
                    <a:pt x="163172" y="273313"/>
                  </a:lnTo>
                  <a:lnTo>
                    <a:pt x="162481" y="270620"/>
                  </a:lnTo>
                  <a:lnTo>
                    <a:pt x="161893" y="269692"/>
                  </a:lnTo>
                  <a:lnTo>
                    <a:pt x="161726" y="267679"/>
                  </a:lnTo>
                  <a:lnTo>
                    <a:pt x="160312" y="264051"/>
                  </a:lnTo>
                  <a:lnTo>
                    <a:pt x="159153" y="261079"/>
                  </a:lnTo>
                  <a:lnTo>
                    <a:pt x="158092" y="259569"/>
                  </a:lnTo>
                  <a:lnTo>
                    <a:pt x="158539" y="258283"/>
                  </a:lnTo>
                  <a:lnTo>
                    <a:pt x="158092" y="256997"/>
                  </a:lnTo>
                  <a:lnTo>
                    <a:pt x="157228" y="255949"/>
                  </a:lnTo>
                  <a:lnTo>
                    <a:pt x="155967" y="252578"/>
                  </a:lnTo>
                  <a:lnTo>
                    <a:pt x="156414" y="251125"/>
                  </a:lnTo>
                  <a:lnTo>
                    <a:pt x="156079" y="249668"/>
                  </a:lnTo>
                  <a:lnTo>
                    <a:pt x="155016" y="248672"/>
                  </a:lnTo>
                  <a:lnTo>
                    <a:pt x="153507" y="247600"/>
                  </a:lnTo>
                  <a:lnTo>
                    <a:pt x="151496" y="245361"/>
                  </a:lnTo>
                  <a:lnTo>
                    <a:pt x="149091" y="243236"/>
                  </a:lnTo>
                  <a:lnTo>
                    <a:pt x="147861" y="242397"/>
                  </a:lnTo>
                  <a:lnTo>
                    <a:pt x="147022" y="242062"/>
                  </a:lnTo>
                  <a:lnTo>
                    <a:pt x="146295" y="240047"/>
                  </a:lnTo>
                  <a:lnTo>
                    <a:pt x="145737" y="239432"/>
                  </a:lnTo>
                  <a:lnTo>
                    <a:pt x="144506" y="239264"/>
                  </a:lnTo>
                  <a:lnTo>
                    <a:pt x="141989" y="238425"/>
                  </a:lnTo>
                  <a:lnTo>
                    <a:pt x="139641" y="239432"/>
                  </a:lnTo>
                  <a:lnTo>
                    <a:pt x="139587" y="237865"/>
                  </a:lnTo>
                  <a:lnTo>
                    <a:pt x="140258" y="236913"/>
                  </a:lnTo>
                  <a:lnTo>
                    <a:pt x="148370" y="229441"/>
                  </a:lnTo>
                  <a:lnTo>
                    <a:pt x="152458" y="226005"/>
                  </a:lnTo>
                  <a:lnTo>
                    <a:pt x="152898" y="225498"/>
                  </a:lnTo>
                  <a:lnTo>
                    <a:pt x="153256" y="224702"/>
                  </a:lnTo>
                  <a:lnTo>
                    <a:pt x="153536" y="223639"/>
                  </a:lnTo>
                  <a:lnTo>
                    <a:pt x="152608" y="222422"/>
                  </a:lnTo>
                  <a:lnTo>
                    <a:pt x="148780" y="216651"/>
                  </a:lnTo>
                  <a:lnTo>
                    <a:pt x="147450" y="215566"/>
                  </a:lnTo>
                  <a:lnTo>
                    <a:pt x="146146" y="214679"/>
                  </a:lnTo>
                  <a:lnTo>
                    <a:pt x="144649" y="212254"/>
                  </a:lnTo>
                  <a:lnTo>
                    <a:pt x="142855" y="206609"/>
                  </a:lnTo>
                  <a:lnTo>
                    <a:pt x="141565" y="203772"/>
                  </a:lnTo>
                  <a:lnTo>
                    <a:pt x="141174" y="201597"/>
                  </a:lnTo>
                  <a:lnTo>
                    <a:pt x="141255" y="199137"/>
                  </a:lnTo>
                  <a:lnTo>
                    <a:pt x="140777" y="197248"/>
                  </a:lnTo>
                  <a:lnTo>
                    <a:pt x="139738" y="195932"/>
                  </a:lnTo>
                  <a:lnTo>
                    <a:pt x="139738" y="191902"/>
                  </a:lnTo>
                  <a:lnTo>
                    <a:pt x="140777" y="185160"/>
                  </a:lnTo>
                  <a:lnTo>
                    <a:pt x="141033" y="180032"/>
                  </a:lnTo>
                  <a:lnTo>
                    <a:pt x="140508" y="176525"/>
                  </a:lnTo>
                  <a:lnTo>
                    <a:pt x="141433" y="173854"/>
                  </a:lnTo>
                  <a:lnTo>
                    <a:pt x="143811" y="172023"/>
                  </a:lnTo>
                  <a:lnTo>
                    <a:pt x="145138" y="169193"/>
                  </a:lnTo>
                  <a:lnTo>
                    <a:pt x="145416" y="165363"/>
                  </a:lnTo>
                  <a:lnTo>
                    <a:pt x="146840" y="162215"/>
                  </a:lnTo>
                  <a:lnTo>
                    <a:pt x="149409" y="159751"/>
                  </a:lnTo>
                  <a:lnTo>
                    <a:pt x="150285" y="157320"/>
                  </a:lnTo>
                  <a:lnTo>
                    <a:pt x="149467" y="154921"/>
                  </a:lnTo>
                  <a:lnTo>
                    <a:pt x="149203" y="153381"/>
                  </a:lnTo>
                  <a:lnTo>
                    <a:pt x="147020" y="151815"/>
                  </a:lnTo>
                  <a:lnTo>
                    <a:pt x="142987" y="150717"/>
                  </a:lnTo>
                  <a:lnTo>
                    <a:pt x="139639" y="150591"/>
                  </a:lnTo>
                  <a:lnTo>
                    <a:pt x="137618" y="151812"/>
                  </a:lnTo>
                  <a:lnTo>
                    <a:pt x="132441" y="152943"/>
                  </a:lnTo>
                  <a:lnTo>
                    <a:pt x="124106" y="153985"/>
                  </a:lnTo>
                  <a:lnTo>
                    <a:pt x="117393" y="153979"/>
                  </a:lnTo>
                  <a:lnTo>
                    <a:pt x="112304" y="152926"/>
                  </a:lnTo>
                  <a:lnTo>
                    <a:pt x="108431" y="153278"/>
                  </a:lnTo>
                  <a:lnTo>
                    <a:pt x="105779" y="155034"/>
                  </a:lnTo>
                  <a:lnTo>
                    <a:pt x="103913" y="155432"/>
                  </a:lnTo>
                  <a:lnTo>
                    <a:pt x="102830" y="154467"/>
                  </a:lnTo>
                  <a:lnTo>
                    <a:pt x="101658" y="154203"/>
                  </a:lnTo>
                  <a:lnTo>
                    <a:pt x="99881" y="154814"/>
                  </a:lnTo>
                  <a:lnTo>
                    <a:pt x="99573" y="154535"/>
                  </a:lnTo>
                  <a:lnTo>
                    <a:pt x="95630" y="149787"/>
                  </a:lnTo>
                  <a:lnTo>
                    <a:pt x="91974" y="145385"/>
                  </a:lnTo>
                  <a:lnTo>
                    <a:pt x="87785" y="140143"/>
                  </a:lnTo>
                  <a:lnTo>
                    <a:pt x="82946" y="134088"/>
                  </a:lnTo>
                  <a:lnTo>
                    <a:pt x="82079" y="133689"/>
                  </a:lnTo>
                  <a:lnTo>
                    <a:pt x="80585" y="133729"/>
                  </a:lnTo>
                  <a:lnTo>
                    <a:pt x="78608" y="133834"/>
                  </a:lnTo>
                  <a:lnTo>
                    <a:pt x="75530" y="133205"/>
                  </a:lnTo>
                  <a:lnTo>
                    <a:pt x="73421" y="132326"/>
                  </a:lnTo>
                  <a:lnTo>
                    <a:pt x="71776" y="131475"/>
                  </a:lnTo>
                  <a:lnTo>
                    <a:pt x="68745" y="130398"/>
                  </a:lnTo>
                  <a:lnTo>
                    <a:pt x="66664" y="130214"/>
                  </a:lnTo>
                  <a:lnTo>
                    <a:pt x="64799" y="130531"/>
                  </a:lnTo>
                  <a:lnTo>
                    <a:pt x="59662" y="132649"/>
                  </a:lnTo>
                  <a:lnTo>
                    <a:pt x="56738" y="132845"/>
                  </a:lnTo>
                  <a:lnTo>
                    <a:pt x="54476" y="132884"/>
                  </a:lnTo>
                  <a:lnTo>
                    <a:pt x="48408" y="131835"/>
                  </a:lnTo>
                  <a:lnTo>
                    <a:pt x="44256" y="131669"/>
                  </a:lnTo>
                  <a:lnTo>
                    <a:pt x="39428" y="132359"/>
                  </a:lnTo>
                  <a:lnTo>
                    <a:pt x="37364" y="132754"/>
                  </a:lnTo>
                  <a:lnTo>
                    <a:pt x="34474" y="131677"/>
                  </a:lnTo>
                  <a:lnTo>
                    <a:pt x="32506" y="130039"/>
                  </a:lnTo>
                  <a:lnTo>
                    <a:pt x="30669" y="126145"/>
                  </a:lnTo>
                  <a:lnTo>
                    <a:pt x="29376" y="123072"/>
                  </a:lnTo>
                  <a:lnTo>
                    <a:pt x="27128" y="122453"/>
                  </a:lnTo>
                  <a:lnTo>
                    <a:pt x="24636" y="121929"/>
                  </a:lnTo>
                  <a:lnTo>
                    <a:pt x="23411" y="120915"/>
                  </a:lnTo>
                  <a:lnTo>
                    <a:pt x="22675" y="119145"/>
                  </a:lnTo>
                  <a:lnTo>
                    <a:pt x="22498" y="116877"/>
                  </a:lnTo>
                  <a:lnTo>
                    <a:pt x="22753" y="113186"/>
                  </a:lnTo>
                  <a:lnTo>
                    <a:pt x="22990" y="111863"/>
                  </a:lnTo>
                  <a:lnTo>
                    <a:pt x="23333" y="107876"/>
                  </a:lnTo>
                  <a:lnTo>
                    <a:pt x="24711" y="105794"/>
                  </a:lnTo>
                  <a:lnTo>
                    <a:pt x="25574" y="104784"/>
                  </a:lnTo>
                  <a:lnTo>
                    <a:pt x="25409" y="103112"/>
                  </a:lnTo>
                  <a:lnTo>
                    <a:pt x="24745" y="99685"/>
                  </a:lnTo>
                  <a:lnTo>
                    <a:pt x="24080" y="97261"/>
                  </a:lnTo>
                  <a:lnTo>
                    <a:pt x="21312" y="94512"/>
                  </a:lnTo>
                  <a:lnTo>
                    <a:pt x="17770" y="90990"/>
                  </a:lnTo>
                  <a:lnTo>
                    <a:pt x="16246" y="85352"/>
                  </a:lnTo>
                  <a:lnTo>
                    <a:pt x="14449" y="78689"/>
                  </a:lnTo>
                  <a:lnTo>
                    <a:pt x="13036" y="78021"/>
                  </a:lnTo>
                  <a:lnTo>
                    <a:pt x="11709" y="78356"/>
                  </a:lnTo>
                  <a:lnTo>
                    <a:pt x="10297" y="78021"/>
                  </a:lnTo>
                  <a:lnTo>
                    <a:pt x="9051" y="75341"/>
                  </a:lnTo>
                  <a:lnTo>
                    <a:pt x="7806" y="74840"/>
                  </a:lnTo>
                  <a:lnTo>
                    <a:pt x="5820" y="75780"/>
                  </a:lnTo>
                  <a:lnTo>
                    <a:pt x="4389" y="76513"/>
                  </a:lnTo>
                  <a:lnTo>
                    <a:pt x="748" y="77182"/>
                  </a:lnTo>
                  <a:lnTo>
                    <a:pt x="0" y="76513"/>
                  </a:lnTo>
                  <a:lnTo>
                    <a:pt x="250" y="75676"/>
                  </a:lnTo>
                  <a:lnTo>
                    <a:pt x="1789" y="73242"/>
                  </a:lnTo>
                  <a:lnTo>
                    <a:pt x="3600" y="70134"/>
                  </a:lnTo>
                  <a:lnTo>
                    <a:pt x="5704" y="67293"/>
                  </a:lnTo>
                  <a:lnTo>
                    <a:pt x="7661" y="64386"/>
                  </a:lnTo>
                  <a:lnTo>
                    <a:pt x="9120" y="61291"/>
                  </a:lnTo>
                  <a:lnTo>
                    <a:pt x="10113" y="55132"/>
                  </a:lnTo>
                  <a:lnTo>
                    <a:pt x="10798" y="50880"/>
                  </a:lnTo>
                  <a:lnTo>
                    <a:pt x="12599" y="43308"/>
                  </a:lnTo>
                  <a:lnTo>
                    <a:pt x="15901" y="37259"/>
                  </a:lnTo>
                  <a:lnTo>
                    <a:pt x="17145" y="34474"/>
                  </a:lnTo>
                  <a:lnTo>
                    <a:pt x="20132" y="30849"/>
                  </a:lnTo>
                  <a:lnTo>
                    <a:pt x="21507" y="28879"/>
                  </a:lnTo>
                  <a:lnTo>
                    <a:pt x="23331" y="27330"/>
                  </a:lnTo>
                  <a:lnTo>
                    <a:pt x="28341" y="25221"/>
                  </a:lnTo>
                  <a:lnTo>
                    <a:pt x="34331" y="14807"/>
                  </a:lnTo>
                  <a:lnTo>
                    <a:pt x="35705" y="13151"/>
                  </a:lnTo>
                  <a:lnTo>
                    <a:pt x="41756" y="11597"/>
                  </a:lnTo>
                  <a:lnTo>
                    <a:pt x="46406" y="10384"/>
                  </a:lnTo>
                  <a:lnTo>
                    <a:pt x="49852" y="9112"/>
                  </a:lnTo>
                  <a:lnTo>
                    <a:pt x="50983" y="8439"/>
                  </a:lnTo>
                  <a:lnTo>
                    <a:pt x="51892" y="8126"/>
                  </a:lnTo>
                  <a:lnTo>
                    <a:pt x="51139" y="9333"/>
                  </a:lnTo>
                  <a:lnTo>
                    <a:pt x="49488" y="10870"/>
                  </a:lnTo>
                  <a:lnTo>
                    <a:pt x="47615" y="11806"/>
                  </a:lnTo>
                  <a:lnTo>
                    <a:pt x="37973" y="14154"/>
                  </a:lnTo>
                  <a:lnTo>
                    <a:pt x="36988" y="14653"/>
                  </a:lnTo>
                  <a:lnTo>
                    <a:pt x="35734" y="15630"/>
                  </a:lnTo>
                  <a:lnTo>
                    <a:pt x="35727" y="17867"/>
                  </a:lnTo>
                  <a:lnTo>
                    <a:pt x="35988" y="19623"/>
                  </a:lnTo>
                  <a:lnTo>
                    <a:pt x="38824" y="25378"/>
                  </a:lnTo>
                  <a:lnTo>
                    <a:pt x="39930" y="26797"/>
                  </a:lnTo>
                  <a:lnTo>
                    <a:pt x="43730" y="29915"/>
                  </a:lnTo>
                  <a:lnTo>
                    <a:pt x="42866" y="30346"/>
                  </a:lnTo>
                  <a:lnTo>
                    <a:pt x="41466" y="30399"/>
                  </a:lnTo>
                  <a:lnTo>
                    <a:pt x="42492" y="34482"/>
                  </a:lnTo>
                  <a:lnTo>
                    <a:pt x="44824" y="37285"/>
                  </a:lnTo>
                  <a:lnTo>
                    <a:pt x="44929" y="39051"/>
                  </a:lnTo>
                  <a:lnTo>
                    <a:pt x="43141" y="44526"/>
                  </a:lnTo>
                  <a:lnTo>
                    <a:pt x="39879" y="47801"/>
                  </a:lnTo>
                  <a:lnTo>
                    <a:pt x="37564" y="51611"/>
                  </a:lnTo>
                  <a:lnTo>
                    <a:pt x="35765" y="53127"/>
                  </a:lnTo>
                  <a:lnTo>
                    <a:pt x="31782" y="60616"/>
                  </a:lnTo>
                  <a:lnTo>
                    <a:pt x="34814" y="65070"/>
                  </a:lnTo>
                  <a:lnTo>
                    <a:pt x="35245" y="67329"/>
                  </a:lnTo>
                  <a:lnTo>
                    <a:pt x="37861" y="70542"/>
                  </a:lnTo>
                  <a:lnTo>
                    <a:pt x="39570" y="71596"/>
                  </a:lnTo>
                  <a:lnTo>
                    <a:pt x="40710" y="72891"/>
                  </a:lnTo>
                  <a:lnTo>
                    <a:pt x="40187" y="75084"/>
                  </a:lnTo>
                  <a:lnTo>
                    <a:pt x="41232" y="78053"/>
                  </a:lnTo>
                  <a:lnTo>
                    <a:pt x="42586" y="79622"/>
                  </a:lnTo>
                  <a:lnTo>
                    <a:pt x="44290" y="80250"/>
                  </a:lnTo>
                  <a:lnTo>
                    <a:pt x="46392" y="80241"/>
                  </a:lnTo>
                  <a:lnTo>
                    <a:pt x="52444" y="78264"/>
                  </a:lnTo>
                  <a:lnTo>
                    <a:pt x="53878" y="77374"/>
                  </a:lnTo>
                  <a:lnTo>
                    <a:pt x="54792" y="75788"/>
                  </a:lnTo>
                  <a:lnTo>
                    <a:pt x="57822" y="72573"/>
                  </a:lnTo>
                  <a:lnTo>
                    <a:pt x="58010" y="68415"/>
                  </a:lnTo>
                  <a:lnTo>
                    <a:pt x="58663" y="63424"/>
                  </a:lnTo>
                  <a:lnTo>
                    <a:pt x="57927" y="60164"/>
                  </a:lnTo>
                  <a:lnTo>
                    <a:pt x="54745" y="55520"/>
                  </a:lnTo>
                  <a:lnTo>
                    <a:pt x="53350" y="52216"/>
                  </a:lnTo>
                  <a:lnTo>
                    <a:pt x="50196" y="49138"/>
                  </a:lnTo>
                  <a:lnTo>
                    <a:pt x="48265" y="43873"/>
                  </a:lnTo>
                  <a:lnTo>
                    <a:pt x="47466" y="42234"/>
                  </a:lnTo>
                  <a:lnTo>
                    <a:pt x="46868" y="39961"/>
                  </a:lnTo>
                  <a:lnTo>
                    <a:pt x="46189" y="35938"/>
                  </a:lnTo>
                  <a:lnTo>
                    <a:pt x="48307" y="34479"/>
                  </a:lnTo>
                  <a:lnTo>
                    <a:pt x="48094" y="31182"/>
                  </a:lnTo>
                  <a:lnTo>
                    <a:pt x="53296" y="30275"/>
                  </a:lnTo>
                  <a:lnTo>
                    <a:pt x="64550" y="24913"/>
                  </a:lnTo>
                  <a:lnTo>
                    <a:pt x="71521" y="23554"/>
                  </a:lnTo>
                  <a:lnTo>
                    <a:pt x="79460" y="20687"/>
                  </a:lnTo>
                  <a:lnTo>
                    <a:pt x="81299" y="19273"/>
                  </a:lnTo>
                  <a:lnTo>
                    <a:pt x="82893" y="16918"/>
                  </a:lnTo>
                  <a:lnTo>
                    <a:pt x="84125" y="16647"/>
                  </a:lnTo>
                  <a:lnTo>
                    <a:pt x="88262" y="18856"/>
                  </a:lnTo>
                  <a:lnTo>
                    <a:pt x="90306" y="18089"/>
                  </a:lnTo>
                  <a:lnTo>
                    <a:pt x="91114" y="16365"/>
                  </a:lnTo>
                  <a:lnTo>
                    <a:pt x="89987" y="13005"/>
                  </a:lnTo>
                  <a:lnTo>
                    <a:pt x="87614" y="13004"/>
                  </a:lnTo>
                  <a:lnTo>
                    <a:pt x="80472" y="14224"/>
                  </a:lnTo>
                  <a:lnTo>
                    <a:pt x="79774" y="12779"/>
                  </a:lnTo>
                  <a:lnTo>
                    <a:pt x="79776" y="11514"/>
                  </a:lnTo>
                  <a:lnTo>
                    <a:pt x="78091" y="7506"/>
                  </a:lnTo>
                  <a:lnTo>
                    <a:pt x="79140" y="4485"/>
                  </a:lnTo>
                  <a:lnTo>
                    <a:pt x="80213" y="2045"/>
                  </a:lnTo>
                  <a:lnTo>
                    <a:pt x="82261" y="1061"/>
                  </a:lnTo>
                  <a:close/>
                </a:path>
              </a:pathLst>
            </a:custGeom>
            <a:solidFill>
              <a:srgbClr val="007CBC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75" name="ee4p_US_1_82333">
              <a:extLst>
                <a:ext uri="{FF2B5EF4-FFF2-40B4-BE49-F238E27FC236}">
                  <a16:creationId xmlns:a16="http://schemas.microsoft.com/office/drawing/2014/main" id="{7156FF1C-1BAA-D1D8-BD03-B6EB1A83133C}"/>
                </a:ext>
              </a:extLst>
            </p:cNvPr>
            <p:cNvSpPr>
              <a:spLocks noChangeAspect="1"/>
            </p:cNvSpPr>
            <p:nvPr>
              <p:custDataLst>
                <p:tags r:id="rId203"/>
              </p:custDataLst>
            </p:nvPr>
          </p:nvSpPr>
          <p:spPr>
            <a:xfrm>
              <a:off x="1307805" y="2181862"/>
              <a:ext cx="1596489" cy="883794"/>
            </a:xfrm>
            <a:custGeom>
              <a:avLst/>
              <a:gdLst>
                <a:gd name="connsiteX0" fmla="*/ 158093 w 1466597"/>
                <a:gd name="connsiteY0" fmla="*/ 780743 h 790366"/>
                <a:gd name="connsiteX1" fmla="*/ 163600 w 1466597"/>
                <a:gd name="connsiteY1" fmla="*/ 782114 h 790366"/>
                <a:gd name="connsiteX2" fmla="*/ 168095 w 1466597"/>
                <a:gd name="connsiteY2" fmla="*/ 785097 h 790366"/>
                <a:gd name="connsiteX3" fmla="*/ 170583 w 1466597"/>
                <a:gd name="connsiteY3" fmla="*/ 787056 h 790366"/>
                <a:gd name="connsiteX4" fmla="*/ 173455 w 1466597"/>
                <a:gd name="connsiteY4" fmla="*/ 788718 h 790366"/>
                <a:gd name="connsiteX5" fmla="*/ 176546 w 1466597"/>
                <a:gd name="connsiteY5" fmla="*/ 789394 h 790366"/>
                <a:gd name="connsiteX6" fmla="*/ 177466 w 1466597"/>
                <a:gd name="connsiteY6" fmla="*/ 790352 h 790366"/>
                <a:gd name="connsiteX7" fmla="*/ 173041 w 1466597"/>
                <a:gd name="connsiteY7" fmla="*/ 790366 h 790366"/>
                <a:gd name="connsiteX8" fmla="*/ 164055 w 1466597"/>
                <a:gd name="connsiteY8" fmla="*/ 784847 h 790366"/>
                <a:gd name="connsiteX9" fmla="*/ 159494 w 1466597"/>
                <a:gd name="connsiteY9" fmla="*/ 783094 h 790366"/>
                <a:gd name="connsiteX10" fmla="*/ 156965 w 1466597"/>
                <a:gd name="connsiteY10" fmla="*/ 781152 h 790366"/>
                <a:gd name="connsiteX11" fmla="*/ 283840 w 1466597"/>
                <a:gd name="connsiteY11" fmla="*/ 773766 h 790366"/>
                <a:gd name="connsiteX12" fmla="*/ 286349 w 1466597"/>
                <a:gd name="connsiteY12" fmla="*/ 775750 h 790366"/>
                <a:gd name="connsiteX13" fmla="*/ 286184 w 1466597"/>
                <a:gd name="connsiteY13" fmla="*/ 776119 h 790366"/>
                <a:gd name="connsiteX14" fmla="*/ 284578 w 1466597"/>
                <a:gd name="connsiteY14" fmla="*/ 778115 h 790366"/>
                <a:gd name="connsiteX15" fmla="*/ 283393 w 1466597"/>
                <a:gd name="connsiteY15" fmla="*/ 777211 h 790366"/>
                <a:gd name="connsiteX16" fmla="*/ 282943 w 1466597"/>
                <a:gd name="connsiteY16" fmla="*/ 774465 h 790366"/>
                <a:gd name="connsiteX17" fmla="*/ 288558 w 1466597"/>
                <a:gd name="connsiteY17" fmla="*/ 772908 h 790366"/>
                <a:gd name="connsiteX18" fmla="*/ 291671 w 1466597"/>
                <a:gd name="connsiteY18" fmla="*/ 774371 h 790366"/>
                <a:gd name="connsiteX19" fmla="*/ 293268 w 1466597"/>
                <a:gd name="connsiteY19" fmla="*/ 775426 h 790366"/>
                <a:gd name="connsiteX20" fmla="*/ 291115 w 1466597"/>
                <a:gd name="connsiteY20" fmla="*/ 776170 h 790366"/>
                <a:gd name="connsiteX21" fmla="*/ 288282 w 1466597"/>
                <a:gd name="connsiteY21" fmla="*/ 774661 h 790366"/>
                <a:gd name="connsiteX22" fmla="*/ 243655 w 1466597"/>
                <a:gd name="connsiteY22" fmla="*/ 771812 h 790366"/>
                <a:gd name="connsiteX23" fmla="*/ 245898 w 1466597"/>
                <a:gd name="connsiteY23" fmla="*/ 773789 h 790366"/>
                <a:gd name="connsiteX24" fmla="*/ 247588 w 1466597"/>
                <a:gd name="connsiteY24" fmla="*/ 774483 h 790366"/>
                <a:gd name="connsiteX25" fmla="*/ 251546 w 1466597"/>
                <a:gd name="connsiteY25" fmla="*/ 774951 h 790366"/>
                <a:gd name="connsiteX26" fmla="*/ 249494 w 1466597"/>
                <a:gd name="connsiteY26" fmla="*/ 775789 h 790366"/>
                <a:gd name="connsiteX27" fmla="*/ 248328 w 1466597"/>
                <a:gd name="connsiteY27" fmla="*/ 776599 h 790366"/>
                <a:gd name="connsiteX28" fmla="*/ 246892 w 1466597"/>
                <a:gd name="connsiteY28" fmla="*/ 779727 h 790366"/>
                <a:gd name="connsiteX29" fmla="*/ 245563 w 1466597"/>
                <a:gd name="connsiteY29" fmla="*/ 780955 h 790366"/>
                <a:gd name="connsiteX30" fmla="*/ 244995 w 1466597"/>
                <a:gd name="connsiteY30" fmla="*/ 782087 h 790366"/>
                <a:gd name="connsiteX31" fmla="*/ 244381 w 1466597"/>
                <a:gd name="connsiteY31" fmla="*/ 782053 h 790366"/>
                <a:gd name="connsiteX32" fmla="*/ 240974 w 1466597"/>
                <a:gd name="connsiteY32" fmla="*/ 780177 h 790366"/>
                <a:gd name="connsiteX33" fmla="*/ 240476 w 1466597"/>
                <a:gd name="connsiteY33" fmla="*/ 779543 h 790366"/>
                <a:gd name="connsiteX34" fmla="*/ 242475 w 1466597"/>
                <a:gd name="connsiteY34" fmla="*/ 778652 h 790366"/>
                <a:gd name="connsiteX35" fmla="*/ 243057 w 1466597"/>
                <a:gd name="connsiteY35" fmla="*/ 777962 h 790366"/>
                <a:gd name="connsiteX36" fmla="*/ 242824 w 1466597"/>
                <a:gd name="connsiteY36" fmla="*/ 777061 h 790366"/>
                <a:gd name="connsiteX37" fmla="*/ 241326 w 1466597"/>
                <a:gd name="connsiteY37" fmla="*/ 775809 h 790366"/>
                <a:gd name="connsiteX38" fmla="*/ 238562 w 1466597"/>
                <a:gd name="connsiteY38" fmla="*/ 774203 h 790366"/>
                <a:gd name="connsiteX39" fmla="*/ 237514 w 1466597"/>
                <a:gd name="connsiteY39" fmla="*/ 773046 h 790366"/>
                <a:gd name="connsiteX40" fmla="*/ 238184 w 1466597"/>
                <a:gd name="connsiteY40" fmla="*/ 772338 h 790366"/>
                <a:gd name="connsiteX41" fmla="*/ 239502 w 1466597"/>
                <a:gd name="connsiteY41" fmla="*/ 771899 h 790366"/>
                <a:gd name="connsiteX42" fmla="*/ 264633 w 1466597"/>
                <a:gd name="connsiteY42" fmla="*/ 771426 h 790366"/>
                <a:gd name="connsiteX43" fmla="*/ 265179 w 1466597"/>
                <a:gd name="connsiteY43" fmla="*/ 771460 h 790366"/>
                <a:gd name="connsiteX44" fmla="*/ 266379 w 1466597"/>
                <a:gd name="connsiteY44" fmla="*/ 772376 h 790366"/>
                <a:gd name="connsiteX45" fmla="*/ 265958 w 1466597"/>
                <a:gd name="connsiteY45" fmla="*/ 773580 h 790366"/>
                <a:gd name="connsiteX46" fmla="*/ 264889 w 1466597"/>
                <a:gd name="connsiteY46" fmla="*/ 774628 h 790366"/>
                <a:gd name="connsiteX47" fmla="*/ 264540 w 1466597"/>
                <a:gd name="connsiteY47" fmla="*/ 775610 h 790366"/>
                <a:gd name="connsiteX48" fmla="*/ 264205 w 1466597"/>
                <a:gd name="connsiteY48" fmla="*/ 778677 h 790366"/>
                <a:gd name="connsiteX49" fmla="*/ 263471 w 1466597"/>
                <a:gd name="connsiteY49" fmla="*/ 779120 h 790366"/>
                <a:gd name="connsiteX50" fmla="*/ 262122 w 1466597"/>
                <a:gd name="connsiteY50" fmla="*/ 779465 h 790366"/>
                <a:gd name="connsiteX51" fmla="*/ 258232 w 1466597"/>
                <a:gd name="connsiteY51" fmla="*/ 779083 h 790366"/>
                <a:gd name="connsiteX52" fmla="*/ 255878 w 1466597"/>
                <a:gd name="connsiteY52" fmla="*/ 779203 h 790366"/>
                <a:gd name="connsiteX53" fmla="*/ 253252 w 1466597"/>
                <a:gd name="connsiteY53" fmla="*/ 779443 h 790366"/>
                <a:gd name="connsiteX54" fmla="*/ 251281 w 1466597"/>
                <a:gd name="connsiteY54" fmla="*/ 780043 h 790366"/>
                <a:gd name="connsiteX55" fmla="*/ 250890 w 1466597"/>
                <a:gd name="connsiteY55" fmla="*/ 779210 h 790366"/>
                <a:gd name="connsiteX56" fmla="*/ 250955 w 1466597"/>
                <a:gd name="connsiteY56" fmla="*/ 778526 h 790366"/>
                <a:gd name="connsiteX57" fmla="*/ 259448 w 1466597"/>
                <a:gd name="connsiteY57" fmla="*/ 776655 h 790366"/>
                <a:gd name="connsiteX58" fmla="*/ 261424 w 1466597"/>
                <a:gd name="connsiteY58" fmla="*/ 775678 h 790366"/>
                <a:gd name="connsiteX59" fmla="*/ 262636 w 1466597"/>
                <a:gd name="connsiteY59" fmla="*/ 774441 h 790366"/>
                <a:gd name="connsiteX60" fmla="*/ 263741 w 1466597"/>
                <a:gd name="connsiteY60" fmla="*/ 772120 h 790366"/>
                <a:gd name="connsiteX61" fmla="*/ 275682 w 1466597"/>
                <a:gd name="connsiteY61" fmla="*/ 769508 h 790366"/>
                <a:gd name="connsiteX62" fmla="*/ 278271 w 1466597"/>
                <a:gd name="connsiteY62" fmla="*/ 769652 h 790366"/>
                <a:gd name="connsiteX63" fmla="*/ 279469 w 1466597"/>
                <a:gd name="connsiteY63" fmla="*/ 770940 h 790366"/>
                <a:gd name="connsiteX64" fmla="*/ 279425 w 1466597"/>
                <a:gd name="connsiteY64" fmla="*/ 771774 h 790366"/>
                <a:gd name="connsiteX65" fmla="*/ 278361 w 1466597"/>
                <a:gd name="connsiteY65" fmla="*/ 773574 h 790366"/>
                <a:gd name="connsiteX66" fmla="*/ 278498 w 1466597"/>
                <a:gd name="connsiteY66" fmla="*/ 774715 h 790366"/>
                <a:gd name="connsiteX67" fmla="*/ 281421 w 1466597"/>
                <a:gd name="connsiteY67" fmla="*/ 774572 h 790366"/>
                <a:gd name="connsiteX68" fmla="*/ 282336 w 1466597"/>
                <a:gd name="connsiteY68" fmla="*/ 775161 h 790366"/>
                <a:gd name="connsiteX69" fmla="*/ 282340 w 1466597"/>
                <a:gd name="connsiteY69" fmla="*/ 777401 h 790366"/>
                <a:gd name="connsiteX70" fmla="*/ 281957 w 1466597"/>
                <a:gd name="connsiteY70" fmla="*/ 778032 h 790366"/>
                <a:gd name="connsiteX71" fmla="*/ 281513 w 1466597"/>
                <a:gd name="connsiteY71" fmla="*/ 778187 h 790366"/>
                <a:gd name="connsiteX72" fmla="*/ 280462 w 1466597"/>
                <a:gd name="connsiteY72" fmla="*/ 777695 h 790366"/>
                <a:gd name="connsiteX73" fmla="*/ 279275 w 1466597"/>
                <a:gd name="connsiteY73" fmla="*/ 778836 h 790366"/>
                <a:gd name="connsiteX74" fmla="*/ 273829 w 1466597"/>
                <a:gd name="connsiteY74" fmla="*/ 781627 h 790366"/>
                <a:gd name="connsiteX75" fmla="*/ 272142 w 1466597"/>
                <a:gd name="connsiteY75" fmla="*/ 780067 h 790366"/>
                <a:gd name="connsiteX76" fmla="*/ 268966 w 1466597"/>
                <a:gd name="connsiteY76" fmla="*/ 782519 h 790366"/>
                <a:gd name="connsiteX77" fmla="*/ 271190 w 1466597"/>
                <a:gd name="connsiteY77" fmla="*/ 776169 h 790366"/>
                <a:gd name="connsiteX78" fmla="*/ 273762 w 1466597"/>
                <a:gd name="connsiteY78" fmla="*/ 775207 h 790366"/>
                <a:gd name="connsiteX79" fmla="*/ 274711 w 1466597"/>
                <a:gd name="connsiteY79" fmla="*/ 774486 h 790366"/>
                <a:gd name="connsiteX80" fmla="*/ 274488 w 1466597"/>
                <a:gd name="connsiteY80" fmla="*/ 772622 h 790366"/>
                <a:gd name="connsiteX81" fmla="*/ 153430 w 1466597"/>
                <a:gd name="connsiteY81" fmla="*/ 769213 h 790366"/>
                <a:gd name="connsiteX82" fmla="*/ 154993 w 1466597"/>
                <a:gd name="connsiteY82" fmla="*/ 769798 h 790366"/>
                <a:gd name="connsiteX83" fmla="*/ 155929 w 1466597"/>
                <a:gd name="connsiteY83" fmla="*/ 770633 h 790366"/>
                <a:gd name="connsiteX84" fmla="*/ 155117 w 1466597"/>
                <a:gd name="connsiteY84" fmla="*/ 771887 h 790366"/>
                <a:gd name="connsiteX85" fmla="*/ 153492 w 1466597"/>
                <a:gd name="connsiteY85" fmla="*/ 772471 h 790366"/>
                <a:gd name="connsiteX86" fmla="*/ 152624 w 1466597"/>
                <a:gd name="connsiteY86" fmla="*/ 770992 h 790366"/>
                <a:gd name="connsiteX87" fmla="*/ 152554 w 1466597"/>
                <a:gd name="connsiteY87" fmla="*/ 770133 h 790366"/>
                <a:gd name="connsiteX88" fmla="*/ 181946 w 1466597"/>
                <a:gd name="connsiteY88" fmla="*/ 767994 h 790366"/>
                <a:gd name="connsiteX89" fmla="*/ 185844 w 1466597"/>
                <a:gd name="connsiteY89" fmla="*/ 770163 h 790366"/>
                <a:gd name="connsiteX90" fmla="*/ 184511 w 1466597"/>
                <a:gd name="connsiteY90" fmla="*/ 772257 h 790366"/>
                <a:gd name="connsiteX91" fmla="*/ 182407 w 1466597"/>
                <a:gd name="connsiteY91" fmla="*/ 773115 h 790366"/>
                <a:gd name="connsiteX92" fmla="*/ 179967 w 1466597"/>
                <a:gd name="connsiteY92" fmla="*/ 772644 h 790366"/>
                <a:gd name="connsiteX93" fmla="*/ 178642 w 1466597"/>
                <a:gd name="connsiteY93" fmla="*/ 771323 h 790366"/>
                <a:gd name="connsiteX94" fmla="*/ 178801 w 1466597"/>
                <a:gd name="connsiteY94" fmla="*/ 769727 h 790366"/>
                <a:gd name="connsiteX95" fmla="*/ 291522 w 1466597"/>
                <a:gd name="connsiteY95" fmla="*/ 765620 h 790366"/>
                <a:gd name="connsiteX96" fmla="*/ 292701 w 1466597"/>
                <a:gd name="connsiteY96" fmla="*/ 766221 h 790366"/>
                <a:gd name="connsiteX97" fmla="*/ 293800 w 1466597"/>
                <a:gd name="connsiteY97" fmla="*/ 767344 h 790366"/>
                <a:gd name="connsiteX98" fmla="*/ 294127 w 1466597"/>
                <a:gd name="connsiteY98" fmla="*/ 768044 h 790366"/>
                <a:gd name="connsiteX99" fmla="*/ 292947 w 1466597"/>
                <a:gd name="connsiteY99" fmla="*/ 768949 h 790366"/>
                <a:gd name="connsiteX100" fmla="*/ 292347 w 1466597"/>
                <a:gd name="connsiteY100" fmla="*/ 769953 h 790366"/>
                <a:gd name="connsiteX101" fmla="*/ 289852 w 1466597"/>
                <a:gd name="connsiteY101" fmla="*/ 768885 h 790366"/>
                <a:gd name="connsiteX102" fmla="*/ 288968 w 1466597"/>
                <a:gd name="connsiteY102" fmla="*/ 768013 h 790366"/>
                <a:gd name="connsiteX103" fmla="*/ 288789 w 1466597"/>
                <a:gd name="connsiteY103" fmla="*/ 767120 h 790366"/>
                <a:gd name="connsiteX104" fmla="*/ 289525 w 1466597"/>
                <a:gd name="connsiteY104" fmla="*/ 765638 h 790366"/>
                <a:gd name="connsiteX105" fmla="*/ 131164 w 1466597"/>
                <a:gd name="connsiteY105" fmla="*/ 765147 h 790366"/>
                <a:gd name="connsiteX106" fmla="*/ 132010 w 1466597"/>
                <a:gd name="connsiteY106" fmla="*/ 765515 h 790366"/>
                <a:gd name="connsiteX107" fmla="*/ 131587 w 1466597"/>
                <a:gd name="connsiteY107" fmla="*/ 766993 h 790366"/>
                <a:gd name="connsiteX108" fmla="*/ 130131 w 1466597"/>
                <a:gd name="connsiteY108" fmla="*/ 769242 h 790366"/>
                <a:gd name="connsiteX109" fmla="*/ 130085 w 1466597"/>
                <a:gd name="connsiteY109" fmla="*/ 770820 h 790366"/>
                <a:gd name="connsiteX110" fmla="*/ 125525 w 1466597"/>
                <a:gd name="connsiteY110" fmla="*/ 773026 h 790366"/>
                <a:gd name="connsiteX111" fmla="*/ 123308 w 1466597"/>
                <a:gd name="connsiteY111" fmla="*/ 774449 h 790366"/>
                <a:gd name="connsiteX112" fmla="*/ 121575 w 1466597"/>
                <a:gd name="connsiteY112" fmla="*/ 772997 h 790366"/>
                <a:gd name="connsiteX113" fmla="*/ 121312 w 1466597"/>
                <a:gd name="connsiteY113" fmla="*/ 772341 h 790366"/>
                <a:gd name="connsiteX114" fmla="*/ 124638 w 1466597"/>
                <a:gd name="connsiteY114" fmla="*/ 769858 h 790366"/>
                <a:gd name="connsiteX115" fmla="*/ 127132 w 1466597"/>
                <a:gd name="connsiteY115" fmla="*/ 769318 h 790366"/>
                <a:gd name="connsiteX116" fmla="*/ 128205 w 1466597"/>
                <a:gd name="connsiteY116" fmla="*/ 768410 h 790366"/>
                <a:gd name="connsiteX117" fmla="*/ 129309 w 1466597"/>
                <a:gd name="connsiteY117" fmla="*/ 765259 h 790366"/>
                <a:gd name="connsiteX118" fmla="*/ 353272 w 1466597"/>
                <a:gd name="connsiteY118" fmla="*/ 764124 h 790366"/>
                <a:gd name="connsiteX119" fmla="*/ 355912 w 1466597"/>
                <a:gd name="connsiteY119" fmla="*/ 764379 h 790366"/>
                <a:gd name="connsiteX120" fmla="*/ 360915 w 1466597"/>
                <a:gd name="connsiteY120" fmla="*/ 765767 h 790366"/>
                <a:gd name="connsiteX121" fmla="*/ 367137 w 1466597"/>
                <a:gd name="connsiteY121" fmla="*/ 765604 h 790366"/>
                <a:gd name="connsiteX122" fmla="*/ 369407 w 1466597"/>
                <a:gd name="connsiteY122" fmla="*/ 765943 h 790366"/>
                <a:gd name="connsiteX123" fmla="*/ 369444 w 1466597"/>
                <a:gd name="connsiteY123" fmla="*/ 766330 h 790366"/>
                <a:gd name="connsiteX124" fmla="*/ 365465 w 1466597"/>
                <a:gd name="connsiteY124" fmla="*/ 766899 h 790366"/>
                <a:gd name="connsiteX125" fmla="*/ 364104 w 1466597"/>
                <a:gd name="connsiteY125" fmla="*/ 766712 h 790366"/>
                <a:gd name="connsiteX126" fmla="*/ 360630 w 1466597"/>
                <a:gd name="connsiteY126" fmla="*/ 767476 h 790366"/>
                <a:gd name="connsiteX127" fmla="*/ 358267 w 1466597"/>
                <a:gd name="connsiteY127" fmla="*/ 767615 h 790366"/>
                <a:gd name="connsiteX128" fmla="*/ 352870 w 1466597"/>
                <a:gd name="connsiteY128" fmla="*/ 766894 h 790366"/>
                <a:gd name="connsiteX129" fmla="*/ 348706 w 1466597"/>
                <a:gd name="connsiteY129" fmla="*/ 767387 h 790366"/>
                <a:gd name="connsiteX130" fmla="*/ 347604 w 1466597"/>
                <a:gd name="connsiteY130" fmla="*/ 767201 h 790366"/>
                <a:gd name="connsiteX131" fmla="*/ 346298 w 1466597"/>
                <a:gd name="connsiteY131" fmla="*/ 766569 h 790366"/>
                <a:gd name="connsiteX132" fmla="*/ 344782 w 1466597"/>
                <a:gd name="connsiteY132" fmla="*/ 765495 h 790366"/>
                <a:gd name="connsiteX133" fmla="*/ 344709 w 1466597"/>
                <a:gd name="connsiteY133" fmla="*/ 764822 h 790366"/>
                <a:gd name="connsiteX134" fmla="*/ 346075 w 1466597"/>
                <a:gd name="connsiteY134" fmla="*/ 764549 h 790366"/>
                <a:gd name="connsiteX135" fmla="*/ 349770 w 1466597"/>
                <a:gd name="connsiteY135" fmla="*/ 765472 h 790366"/>
                <a:gd name="connsiteX136" fmla="*/ 350156 w 1466597"/>
                <a:gd name="connsiteY136" fmla="*/ 764991 h 790366"/>
                <a:gd name="connsiteX137" fmla="*/ 383537 w 1466597"/>
                <a:gd name="connsiteY137" fmla="*/ 755762 h 790366"/>
                <a:gd name="connsiteX138" fmla="*/ 385764 w 1466597"/>
                <a:gd name="connsiteY138" fmla="*/ 756279 h 790366"/>
                <a:gd name="connsiteX139" fmla="*/ 387537 w 1466597"/>
                <a:gd name="connsiteY139" fmla="*/ 757765 h 790366"/>
                <a:gd name="connsiteX140" fmla="*/ 383680 w 1466597"/>
                <a:gd name="connsiteY140" fmla="*/ 759727 h 790366"/>
                <a:gd name="connsiteX141" fmla="*/ 381784 w 1466597"/>
                <a:gd name="connsiteY141" fmla="*/ 760234 h 790366"/>
                <a:gd name="connsiteX142" fmla="*/ 379725 w 1466597"/>
                <a:gd name="connsiteY142" fmla="*/ 759708 h 790366"/>
                <a:gd name="connsiteX143" fmla="*/ 380686 w 1466597"/>
                <a:gd name="connsiteY143" fmla="*/ 757900 h 790366"/>
                <a:gd name="connsiteX144" fmla="*/ 381669 w 1466597"/>
                <a:gd name="connsiteY144" fmla="*/ 756935 h 790366"/>
                <a:gd name="connsiteX145" fmla="*/ 340208 w 1466597"/>
                <a:gd name="connsiteY145" fmla="*/ 754661 h 790366"/>
                <a:gd name="connsiteX146" fmla="*/ 343353 w 1466597"/>
                <a:gd name="connsiteY146" fmla="*/ 756476 h 790366"/>
                <a:gd name="connsiteX147" fmla="*/ 344049 w 1466597"/>
                <a:gd name="connsiteY147" fmla="*/ 757690 h 790366"/>
                <a:gd name="connsiteX148" fmla="*/ 343750 w 1466597"/>
                <a:gd name="connsiteY148" fmla="*/ 759127 h 790366"/>
                <a:gd name="connsiteX149" fmla="*/ 343116 w 1466597"/>
                <a:gd name="connsiteY149" fmla="*/ 760628 h 790366"/>
                <a:gd name="connsiteX150" fmla="*/ 340353 w 1466597"/>
                <a:gd name="connsiteY150" fmla="*/ 761400 h 790366"/>
                <a:gd name="connsiteX151" fmla="*/ 339940 w 1466597"/>
                <a:gd name="connsiteY151" fmla="*/ 762188 h 790366"/>
                <a:gd name="connsiteX152" fmla="*/ 341439 w 1466597"/>
                <a:gd name="connsiteY152" fmla="*/ 764415 h 790366"/>
                <a:gd name="connsiteX153" fmla="*/ 335753 w 1466597"/>
                <a:gd name="connsiteY153" fmla="*/ 766377 h 790366"/>
                <a:gd name="connsiteX154" fmla="*/ 327236 w 1466597"/>
                <a:gd name="connsiteY154" fmla="*/ 767836 h 790366"/>
                <a:gd name="connsiteX155" fmla="*/ 313550 w 1466597"/>
                <a:gd name="connsiteY155" fmla="*/ 769239 h 790366"/>
                <a:gd name="connsiteX156" fmla="*/ 311467 w 1466597"/>
                <a:gd name="connsiteY156" fmla="*/ 768275 h 790366"/>
                <a:gd name="connsiteX157" fmla="*/ 313543 w 1466597"/>
                <a:gd name="connsiteY157" fmla="*/ 767726 h 790366"/>
                <a:gd name="connsiteX158" fmla="*/ 316005 w 1466597"/>
                <a:gd name="connsiteY158" fmla="*/ 767423 h 790366"/>
                <a:gd name="connsiteX159" fmla="*/ 321152 w 1466597"/>
                <a:gd name="connsiteY159" fmla="*/ 765816 h 790366"/>
                <a:gd name="connsiteX160" fmla="*/ 327482 w 1466597"/>
                <a:gd name="connsiteY160" fmla="*/ 764423 h 790366"/>
                <a:gd name="connsiteX161" fmla="*/ 332419 w 1466597"/>
                <a:gd name="connsiteY161" fmla="*/ 762746 h 790366"/>
                <a:gd name="connsiteX162" fmla="*/ 336707 w 1466597"/>
                <a:gd name="connsiteY162" fmla="*/ 761647 h 790366"/>
                <a:gd name="connsiteX163" fmla="*/ 337913 w 1466597"/>
                <a:gd name="connsiteY163" fmla="*/ 759838 h 790366"/>
                <a:gd name="connsiteX164" fmla="*/ 334146 w 1466597"/>
                <a:gd name="connsiteY164" fmla="*/ 758915 h 790366"/>
                <a:gd name="connsiteX165" fmla="*/ 333406 w 1466597"/>
                <a:gd name="connsiteY165" fmla="*/ 758188 h 790366"/>
                <a:gd name="connsiteX166" fmla="*/ 335195 w 1466597"/>
                <a:gd name="connsiteY166" fmla="*/ 757342 h 790366"/>
                <a:gd name="connsiteX167" fmla="*/ 336689 w 1466597"/>
                <a:gd name="connsiteY167" fmla="*/ 756108 h 790366"/>
                <a:gd name="connsiteX168" fmla="*/ 29663 w 1466597"/>
                <a:gd name="connsiteY168" fmla="*/ 751781 h 790366"/>
                <a:gd name="connsiteX169" fmla="*/ 32685 w 1466597"/>
                <a:gd name="connsiteY169" fmla="*/ 752089 h 790366"/>
                <a:gd name="connsiteX170" fmla="*/ 31885 w 1466597"/>
                <a:gd name="connsiteY170" fmla="*/ 753752 h 790366"/>
                <a:gd name="connsiteX171" fmla="*/ 31325 w 1466597"/>
                <a:gd name="connsiteY171" fmla="*/ 756738 h 790366"/>
                <a:gd name="connsiteX172" fmla="*/ 29668 w 1466597"/>
                <a:gd name="connsiteY172" fmla="*/ 756839 h 790366"/>
                <a:gd name="connsiteX173" fmla="*/ 28606 w 1466597"/>
                <a:gd name="connsiteY173" fmla="*/ 755652 h 790366"/>
                <a:gd name="connsiteX174" fmla="*/ 23151 w 1466597"/>
                <a:gd name="connsiteY174" fmla="*/ 755188 h 790366"/>
                <a:gd name="connsiteX175" fmla="*/ 23716 w 1466597"/>
                <a:gd name="connsiteY175" fmla="*/ 754062 h 790366"/>
                <a:gd name="connsiteX176" fmla="*/ 26062 w 1466597"/>
                <a:gd name="connsiteY176" fmla="*/ 753589 h 790366"/>
                <a:gd name="connsiteX177" fmla="*/ 429157 w 1466597"/>
                <a:gd name="connsiteY177" fmla="*/ 745131 h 790366"/>
                <a:gd name="connsiteX178" fmla="*/ 431046 w 1466597"/>
                <a:gd name="connsiteY178" fmla="*/ 745562 h 790366"/>
                <a:gd name="connsiteX179" fmla="*/ 431644 w 1466597"/>
                <a:gd name="connsiteY179" fmla="*/ 746162 h 790366"/>
                <a:gd name="connsiteX180" fmla="*/ 431592 w 1466597"/>
                <a:gd name="connsiteY180" fmla="*/ 747028 h 790366"/>
                <a:gd name="connsiteX181" fmla="*/ 430893 w 1466597"/>
                <a:gd name="connsiteY181" fmla="*/ 748155 h 790366"/>
                <a:gd name="connsiteX182" fmla="*/ 429995 w 1466597"/>
                <a:gd name="connsiteY182" fmla="*/ 748723 h 790366"/>
                <a:gd name="connsiteX183" fmla="*/ 428896 w 1466597"/>
                <a:gd name="connsiteY183" fmla="*/ 748728 h 790366"/>
                <a:gd name="connsiteX184" fmla="*/ 427848 w 1466597"/>
                <a:gd name="connsiteY184" fmla="*/ 749122 h 790366"/>
                <a:gd name="connsiteX185" fmla="*/ 426216 w 1466597"/>
                <a:gd name="connsiteY185" fmla="*/ 750213 h 790366"/>
                <a:gd name="connsiteX186" fmla="*/ 425739 w 1466597"/>
                <a:gd name="connsiteY186" fmla="*/ 749807 h 790366"/>
                <a:gd name="connsiteX187" fmla="*/ 425458 w 1466597"/>
                <a:gd name="connsiteY187" fmla="*/ 748461 h 790366"/>
                <a:gd name="connsiteX188" fmla="*/ 426374 w 1466597"/>
                <a:gd name="connsiteY188" fmla="*/ 747412 h 790366"/>
                <a:gd name="connsiteX189" fmla="*/ 452810 w 1466597"/>
                <a:gd name="connsiteY189" fmla="*/ 738721 h 790366"/>
                <a:gd name="connsiteX190" fmla="*/ 453930 w 1466597"/>
                <a:gd name="connsiteY190" fmla="*/ 739303 h 790366"/>
                <a:gd name="connsiteX191" fmla="*/ 454416 w 1466597"/>
                <a:gd name="connsiteY191" fmla="*/ 739971 h 790366"/>
                <a:gd name="connsiteX192" fmla="*/ 454003 w 1466597"/>
                <a:gd name="connsiteY192" fmla="*/ 741358 h 790366"/>
                <a:gd name="connsiteX193" fmla="*/ 453630 w 1466597"/>
                <a:gd name="connsiteY193" fmla="*/ 741868 h 790366"/>
                <a:gd name="connsiteX194" fmla="*/ 449685 w 1466597"/>
                <a:gd name="connsiteY194" fmla="*/ 741129 h 790366"/>
                <a:gd name="connsiteX195" fmla="*/ 447053 w 1466597"/>
                <a:gd name="connsiteY195" fmla="*/ 741397 h 790366"/>
                <a:gd name="connsiteX196" fmla="*/ 446765 w 1466597"/>
                <a:gd name="connsiteY196" fmla="*/ 740576 h 790366"/>
                <a:gd name="connsiteX197" fmla="*/ 447001 w 1466597"/>
                <a:gd name="connsiteY197" fmla="*/ 739845 h 790366"/>
                <a:gd name="connsiteX198" fmla="*/ 451132 w 1466597"/>
                <a:gd name="connsiteY198" fmla="*/ 738729 h 790366"/>
                <a:gd name="connsiteX199" fmla="*/ 8086 w 1466597"/>
                <a:gd name="connsiteY199" fmla="*/ 734255 h 790366"/>
                <a:gd name="connsiteX200" fmla="*/ 12478 w 1466597"/>
                <a:gd name="connsiteY200" fmla="*/ 735386 h 790366"/>
                <a:gd name="connsiteX201" fmla="*/ 15492 w 1466597"/>
                <a:gd name="connsiteY201" fmla="*/ 734855 h 790366"/>
                <a:gd name="connsiteX202" fmla="*/ 19306 w 1466597"/>
                <a:gd name="connsiteY202" fmla="*/ 736683 h 790366"/>
                <a:gd name="connsiteX203" fmla="*/ 24011 w 1466597"/>
                <a:gd name="connsiteY203" fmla="*/ 739810 h 790366"/>
                <a:gd name="connsiteX204" fmla="*/ 22956 w 1466597"/>
                <a:gd name="connsiteY204" fmla="*/ 740406 h 790366"/>
                <a:gd name="connsiteX205" fmla="*/ 21771 w 1466597"/>
                <a:gd name="connsiteY205" fmla="*/ 740748 h 790366"/>
                <a:gd name="connsiteX206" fmla="*/ 20605 w 1466597"/>
                <a:gd name="connsiteY206" fmla="*/ 740711 h 790366"/>
                <a:gd name="connsiteX207" fmla="*/ 16935 w 1466597"/>
                <a:gd name="connsiteY207" fmla="*/ 741232 h 790366"/>
                <a:gd name="connsiteX208" fmla="*/ 14934 w 1466597"/>
                <a:gd name="connsiteY208" fmla="*/ 741106 h 790366"/>
                <a:gd name="connsiteX209" fmla="*/ 11232 w 1466597"/>
                <a:gd name="connsiteY209" fmla="*/ 743255 h 790366"/>
                <a:gd name="connsiteX210" fmla="*/ 7162 w 1466597"/>
                <a:gd name="connsiteY210" fmla="*/ 741710 h 790366"/>
                <a:gd name="connsiteX211" fmla="*/ 5789 w 1466597"/>
                <a:gd name="connsiteY211" fmla="*/ 738655 h 790366"/>
                <a:gd name="connsiteX212" fmla="*/ 2559 w 1466597"/>
                <a:gd name="connsiteY212" fmla="*/ 737901 h 790366"/>
                <a:gd name="connsiteX213" fmla="*/ 0 w 1466597"/>
                <a:gd name="connsiteY213" fmla="*/ 736848 h 790366"/>
                <a:gd name="connsiteX214" fmla="*/ 4671 w 1466597"/>
                <a:gd name="connsiteY214" fmla="*/ 734443 h 790366"/>
                <a:gd name="connsiteX215" fmla="*/ 497942 w 1466597"/>
                <a:gd name="connsiteY215" fmla="*/ 715352 h 790366"/>
                <a:gd name="connsiteX216" fmla="*/ 501963 w 1466597"/>
                <a:gd name="connsiteY216" fmla="*/ 717099 h 790366"/>
                <a:gd name="connsiteX217" fmla="*/ 502560 w 1466597"/>
                <a:gd name="connsiteY217" fmla="*/ 717899 h 790366"/>
                <a:gd name="connsiteX218" fmla="*/ 501579 w 1466597"/>
                <a:gd name="connsiteY218" fmla="*/ 719649 h 790366"/>
                <a:gd name="connsiteX219" fmla="*/ 501017 w 1466597"/>
                <a:gd name="connsiteY219" fmla="*/ 721291 h 790366"/>
                <a:gd name="connsiteX220" fmla="*/ 498487 w 1466597"/>
                <a:gd name="connsiteY220" fmla="*/ 722755 h 790366"/>
                <a:gd name="connsiteX221" fmla="*/ 490671 w 1466597"/>
                <a:gd name="connsiteY221" fmla="*/ 726468 h 790366"/>
                <a:gd name="connsiteX222" fmla="*/ 488135 w 1466597"/>
                <a:gd name="connsiteY222" fmla="*/ 729178 h 790366"/>
                <a:gd name="connsiteX223" fmla="*/ 486199 w 1466597"/>
                <a:gd name="connsiteY223" fmla="*/ 731786 h 790366"/>
                <a:gd name="connsiteX224" fmla="*/ 484678 w 1466597"/>
                <a:gd name="connsiteY224" fmla="*/ 733212 h 790366"/>
                <a:gd name="connsiteX225" fmla="*/ 483571 w 1466597"/>
                <a:gd name="connsiteY225" fmla="*/ 733457 h 790366"/>
                <a:gd name="connsiteX226" fmla="*/ 482337 w 1466597"/>
                <a:gd name="connsiteY226" fmla="*/ 734147 h 790366"/>
                <a:gd name="connsiteX227" fmla="*/ 479756 w 1466597"/>
                <a:gd name="connsiteY227" fmla="*/ 735966 h 790366"/>
                <a:gd name="connsiteX228" fmla="*/ 478674 w 1466597"/>
                <a:gd name="connsiteY228" fmla="*/ 736192 h 790366"/>
                <a:gd name="connsiteX229" fmla="*/ 470386 w 1466597"/>
                <a:gd name="connsiteY229" fmla="*/ 740434 h 790366"/>
                <a:gd name="connsiteX230" fmla="*/ 469798 w 1466597"/>
                <a:gd name="connsiteY230" fmla="*/ 740500 h 790366"/>
                <a:gd name="connsiteX231" fmla="*/ 470202 w 1466597"/>
                <a:gd name="connsiteY231" fmla="*/ 739392 h 790366"/>
                <a:gd name="connsiteX232" fmla="*/ 472733 w 1466597"/>
                <a:gd name="connsiteY232" fmla="*/ 737822 h 790366"/>
                <a:gd name="connsiteX233" fmla="*/ 474383 w 1466597"/>
                <a:gd name="connsiteY233" fmla="*/ 736390 h 790366"/>
                <a:gd name="connsiteX234" fmla="*/ 476248 w 1466597"/>
                <a:gd name="connsiteY234" fmla="*/ 734022 h 790366"/>
                <a:gd name="connsiteX235" fmla="*/ 477274 w 1466597"/>
                <a:gd name="connsiteY235" fmla="*/ 733151 h 790366"/>
                <a:gd name="connsiteX236" fmla="*/ 477603 w 1466597"/>
                <a:gd name="connsiteY236" fmla="*/ 731961 h 790366"/>
                <a:gd name="connsiteX237" fmla="*/ 477735 w 1466597"/>
                <a:gd name="connsiteY237" fmla="*/ 729558 h 790366"/>
                <a:gd name="connsiteX238" fmla="*/ 478199 w 1466597"/>
                <a:gd name="connsiteY238" fmla="*/ 728650 h 790366"/>
                <a:gd name="connsiteX239" fmla="*/ 479979 w 1466597"/>
                <a:gd name="connsiteY239" fmla="*/ 726842 h 790366"/>
                <a:gd name="connsiteX240" fmla="*/ 481276 w 1466597"/>
                <a:gd name="connsiteY240" fmla="*/ 725853 h 790366"/>
                <a:gd name="connsiteX241" fmla="*/ 482982 w 1466597"/>
                <a:gd name="connsiteY241" fmla="*/ 725512 h 790366"/>
                <a:gd name="connsiteX242" fmla="*/ 486438 w 1466597"/>
                <a:gd name="connsiteY242" fmla="*/ 725815 h 790366"/>
                <a:gd name="connsiteX243" fmla="*/ 487873 w 1466597"/>
                <a:gd name="connsiteY243" fmla="*/ 724894 h 790366"/>
                <a:gd name="connsiteX244" fmla="*/ 488317 w 1466597"/>
                <a:gd name="connsiteY244" fmla="*/ 724197 h 790366"/>
                <a:gd name="connsiteX245" fmla="*/ 487443 w 1466597"/>
                <a:gd name="connsiteY245" fmla="*/ 723560 h 790366"/>
                <a:gd name="connsiteX246" fmla="*/ 487237 w 1466597"/>
                <a:gd name="connsiteY246" fmla="*/ 722454 h 790366"/>
                <a:gd name="connsiteX247" fmla="*/ 487464 w 1466597"/>
                <a:gd name="connsiteY247" fmla="*/ 720545 h 790366"/>
                <a:gd name="connsiteX248" fmla="*/ 488464 w 1466597"/>
                <a:gd name="connsiteY248" fmla="*/ 718851 h 790366"/>
                <a:gd name="connsiteX249" fmla="*/ 490238 w 1466597"/>
                <a:gd name="connsiteY249" fmla="*/ 717371 h 790366"/>
                <a:gd name="connsiteX250" fmla="*/ 492652 w 1466597"/>
                <a:gd name="connsiteY250" fmla="*/ 716218 h 790366"/>
                <a:gd name="connsiteX251" fmla="*/ 495707 w 1466597"/>
                <a:gd name="connsiteY251" fmla="*/ 715394 h 790366"/>
                <a:gd name="connsiteX252" fmla="*/ 545696 w 1466597"/>
                <a:gd name="connsiteY252" fmla="*/ 705422 h 790366"/>
                <a:gd name="connsiteX253" fmla="*/ 545978 w 1466597"/>
                <a:gd name="connsiteY253" fmla="*/ 705779 h 790366"/>
                <a:gd name="connsiteX254" fmla="*/ 545061 w 1466597"/>
                <a:gd name="connsiteY254" fmla="*/ 707365 h 790366"/>
                <a:gd name="connsiteX255" fmla="*/ 543911 w 1466597"/>
                <a:gd name="connsiteY255" fmla="*/ 708429 h 790366"/>
                <a:gd name="connsiteX256" fmla="*/ 543246 w 1466597"/>
                <a:gd name="connsiteY256" fmla="*/ 709601 h 790366"/>
                <a:gd name="connsiteX257" fmla="*/ 542886 w 1466597"/>
                <a:gd name="connsiteY257" fmla="*/ 709702 h 790366"/>
                <a:gd name="connsiteX258" fmla="*/ 542235 w 1466597"/>
                <a:gd name="connsiteY258" fmla="*/ 708838 h 790366"/>
                <a:gd name="connsiteX259" fmla="*/ 542200 w 1466597"/>
                <a:gd name="connsiteY259" fmla="*/ 708050 h 790366"/>
                <a:gd name="connsiteX260" fmla="*/ 542618 w 1466597"/>
                <a:gd name="connsiteY260" fmla="*/ 707477 h 790366"/>
                <a:gd name="connsiteX261" fmla="*/ 543807 w 1466597"/>
                <a:gd name="connsiteY261" fmla="*/ 706140 h 790366"/>
                <a:gd name="connsiteX262" fmla="*/ 544654 w 1466597"/>
                <a:gd name="connsiteY262" fmla="*/ 705664 h 790366"/>
                <a:gd name="connsiteX263" fmla="*/ 531420 w 1466597"/>
                <a:gd name="connsiteY263" fmla="*/ 699727 h 790366"/>
                <a:gd name="connsiteX264" fmla="*/ 532591 w 1466597"/>
                <a:gd name="connsiteY264" fmla="*/ 700088 h 790366"/>
                <a:gd name="connsiteX265" fmla="*/ 532900 w 1466597"/>
                <a:gd name="connsiteY265" fmla="*/ 703400 h 790366"/>
                <a:gd name="connsiteX266" fmla="*/ 534001 w 1466597"/>
                <a:gd name="connsiteY266" fmla="*/ 705059 h 790366"/>
                <a:gd name="connsiteX267" fmla="*/ 535905 w 1466597"/>
                <a:gd name="connsiteY267" fmla="*/ 704008 h 790366"/>
                <a:gd name="connsiteX268" fmla="*/ 537301 w 1466597"/>
                <a:gd name="connsiteY268" fmla="*/ 702566 h 790366"/>
                <a:gd name="connsiteX269" fmla="*/ 538390 w 1466597"/>
                <a:gd name="connsiteY269" fmla="*/ 700702 h 790366"/>
                <a:gd name="connsiteX270" fmla="*/ 539099 w 1466597"/>
                <a:gd name="connsiteY270" fmla="*/ 699971 h 790366"/>
                <a:gd name="connsiteX271" fmla="*/ 540034 w 1466597"/>
                <a:gd name="connsiteY271" fmla="*/ 700954 h 790366"/>
                <a:gd name="connsiteX272" fmla="*/ 542707 w 1466597"/>
                <a:gd name="connsiteY272" fmla="*/ 702292 h 790366"/>
                <a:gd name="connsiteX273" fmla="*/ 540459 w 1466597"/>
                <a:gd name="connsiteY273" fmla="*/ 704350 h 790366"/>
                <a:gd name="connsiteX274" fmla="*/ 536128 w 1466597"/>
                <a:gd name="connsiteY274" fmla="*/ 707431 h 790366"/>
                <a:gd name="connsiteX275" fmla="*/ 534678 w 1466597"/>
                <a:gd name="connsiteY275" fmla="*/ 709492 h 790366"/>
                <a:gd name="connsiteX276" fmla="*/ 534585 w 1466597"/>
                <a:gd name="connsiteY276" fmla="*/ 710380 h 790366"/>
                <a:gd name="connsiteX277" fmla="*/ 538783 w 1466597"/>
                <a:gd name="connsiteY277" fmla="*/ 709698 h 790366"/>
                <a:gd name="connsiteX278" fmla="*/ 539955 w 1466597"/>
                <a:gd name="connsiteY278" fmla="*/ 709797 h 790366"/>
                <a:gd name="connsiteX279" fmla="*/ 540701 w 1466597"/>
                <a:gd name="connsiteY279" fmla="*/ 710501 h 790366"/>
                <a:gd name="connsiteX280" fmla="*/ 539551 w 1466597"/>
                <a:gd name="connsiteY280" fmla="*/ 711336 h 790366"/>
                <a:gd name="connsiteX281" fmla="*/ 537266 w 1466597"/>
                <a:gd name="connsiteY281" fmla="*/ 712093 h 790366"/>
                <a:gd name="connsiteX282" fmla="*/ 535280 w 1466597"/>
                <a:gd name="connsiteY282" fmla="*/ 713560 h 790366"/>
                <a:gd name="connsiteX283" fmla="*/ 530683 w 1466597"/>
                <a:gd name="connsiteY283" fmla="*/ 716100 h 790366"/>
                <a:gd name="connsiteX284" fmla="*/ 528942 w 1466597"/>
                <a:gd name="connsiteY284" fmla="*/ 718210 h 790366"/>
                <a:gd name="connsiteX285" fmla="*/ 526887 w 1466597"/>
                <a:gd name="connsiteY285" fmla="*/ 719014 h 790366"/>
                <a:gd name="connsiteX286" fmla="*/ 524088 w 1466597"/>
                <a:gd name="connsiteY286" fmla="*/ 719205 h 790366"/>
                <a:gd name="connsiteX287" fmla="*/ 519167 w 1466597"/>
                <a:gd name="connsiteY287" fmla="*/ 720578 h 790366"/>
                <a:gd name="connsiteX288" fmla="*/ 516179 w 1466597"/>
                <a:gd name="connsiteY288" fmla="*/ 721871 h 790366"/>
                <a:gd name="connsiteX289" fmla="*/ 515422 w 1466597"/>
                <a:gd name="connsiteY289" fmla="*/ 722569 h 790366"/>
                <a:gd name="connsiteX290" fmla="*/ 514482 w 1466597"/>
                <a:gd name="connsiteY290" fmla="*/ 722899 h 790366"/>
                <a:gd name="connsiteX291" fmla="*/ 513360 w 1466597"/>
                <a:gd name="connsiteY291" fmla="*/ 722865 h 790366"/>
                <a:gd name="connsiteX292" fmla="*/ 512148 w 1466597"/>
                <a:gd name="connsiteY292" fmla="*/ 723431 h 790366"/>
                <a:gd name="connsiteX293" fmla="*/ 510845 w 1466597"/>
                <a:gd name="connsiteY293" fmla="*/ 724599 h 790366"/>
                <a:gd name="connsiteX294" fmla="*/ 509759 w 1466597"/>
                <a:gd name="connsiteY294" fmla="*/ 725146 h 790366"/>
                <a:gd name="connsiteX295" fmla="*/ 507979 w 1466597"/>
                <a:gd name="connsiteY295" fmla="*/ 725267 h 790366"/>
                <a:gd name="connsiteX296" fmla="*/ 507050 w 1466597"/>
                <a:gd name="connsiteY296" fmla="*/ 725727 h 790366"/>
                <a:gd name="connsiteX297" fmla="*/ 506009 w 1466597"/>
                <a:gd name="connsiteY297" fmla="*/ 725708 h 790366"/>
                <a:gd name="connsiteX298" fmla="*/ 503166 w 1466597"/>
                <a:gd name="connsiteY298" fmla="*/ 724313 h 790366"/>
                <a:gd name="connsiteX299" fmla="*/ 502455 w 1466597"/>
                <a:gd name="connsiteY299" fmla="*/ 723496 h 790366"/>
                <a:gd name="connsiteX300" fmla="*/ 504971 w 1466597"/>
                <a:gd name="connsiteY300" fmla="*/ 721861 h 790366"/>
                <a:gd name="connsiteX301" fmla="*/ 506793 w 1466597"/>
                <a:gd name="connsiteY301" fmla="*/ 721317 h 790366"/>
                <a:gd name="connsiteX302" fmla="*/ 509562 w 1466597"/>
                <a:gd name="connsiteY302" fmla="*/ 721069 h 790366"/>
                <a:gd name="connsiteX303" fmla="*/ 512282 w 1466597"/>
                <a:gd name="connsiteY303" fmla="*/ 719557 h 790366"/>
                <a:gd name="connsiteX304" fmla="*/ 517881 w 1466597"/>
                <a:gd name="connsiteY304" fmla="*/ 717551 h 790366"/>
                <a:gd name="connsiteX305" fmla="*/ 519615 w 1466597"/>
                <a:gd name="connsiteY305" fmla="*/ 716457 h 790366"/>
                <a:gd name="connsiteX306" fmla="*/ 520731 w 1466597"/>
                <a:gd name="connsiteY306" fmla="*/ 712646 h 790366"/>
                <a:gd name="connsiteX307" fmla="*/ 522004 w 1466597"/>
                <a:gd name="connsiteY307" fmla="*/ 711996 h 790366"/>
                <a:gd name="connsiteX308" fmla="*/ 522686 w 1466597"/>
                <a:gd name="connsiteY308" fmla="*/ 710469 h 790366"/>
                <a:gd name="connsiteX309" fmla="*/ 525787 w 1466597"/>
                <a:gd name="connsiteY309" fmla="*/ 710514 h 790366"/>
                <a:gd name="connsiteX310" fmla="*/ 527210 w 1466597"/>
                <a:gd name="connsiteY310" fmla="*/ 712223 h 790366"/>
                <a:gd name="connsiteX311" fmla="*/ 527709 w 1466597"/>
                <a:gd name="connsiteY311" fmla="*/ 712456 h 790366"/>
                <a:gd name="connsiteX312" fmla="*/ 527959 w 1466597"/>
                <a:gd name="connsiteY312" fmla="*/ 712290 h 790366"/>
                <a:gd name="connsiteX313" fmla="*/ 528095 w 1466597"/>
                <a:gd name="connsiteY313" fmla="*/ 710922 h 790366"/>
                <a:gd name="connsiteX314" fmla="*/ 529687 w 1466597"/>
                <a:gd name="connsiteY314" fmla="*/ 709962 h 790366"/>
                <a:gd name="connsiteX315" fmla="*/ 528768 w 1466597"/>
                <a:gd name="connsiteY315" fmla="*/ 709257 h 790366"/>
                <a:gd name="connsiteX316" fmla="*/ 525903 w 1466597"/>
                <a:gd name="connsiteY316" fmla="*/ 708370 h 790366"/>
                <a:gd name="connsiteX317" fmla="*/ 523776 w 1466597"/>
                <a:gd name="connsiteY317" fmla="*/ 707953 h 790366"/>
                <a:gd name="connsiteX318" fmla="*/ 522391 w 1466597"/>
                <a:gd name="connsiteY318" fmla="*/ 708002 h 790366"/>
                <a:gd name="connsiteX319" fmla="*/ 521263 w 1466597"/>
                <a:gd name="connsiteY319" fmla="*/ 707505 h 790366"/>
                <a:gd name="connsiteX320" fmla="*/ 520392 w 1466597"/>
                <a:gd name="connsiteY320" fmla="*/ 706458 h 790366"/>
                <a:gd name="connsiteX321" fmla="*/ 519997 w 1466597"/>
                <a:gd name="connsiteY321" fmla="*/ 705420 h 790366"/>
                <a:gd name="connsiteX322" fmla="*/ 520072 w 1466597"/>
                <a:gd name="connsiteY322" fmla="*/ 704390 h 790366"/>
                <a:gd name="connsiteX323" fmla="*/ 520778 w 1466597"/>
                <a:gd name="connsiteY323" fmla="*/ 703235 h 790366"/>
                <a:gd name="connsiteX324" fmla="*/ 522114 w 1466597"/>
                <a:gd name="connsiteY324" fmla="*/ 701958 h 790366"/>
                <a:gd name="connsiteX325" fmla="*/ 523646 w 1466597"/>
                <a:gd name="connsiteY325" fmla="*/ 701232 h 790366"/>
                <a:gd name="connsiteX326" fmla="*/ 526947 w 1466597"/>
                <a:gd name="connsiteY326" fmla="*/ 700710 h 790366"/>
                <a:gd name="connsiteX327" fmla="*/ 529870 w 1466597"/>
                <a:gd name="connsiteY327" fmla="*/ 699859 h 790366"/>
                <a:gd name="connsiteX328" fmla="*/ 549454 w 1466597"/>
                <a:gd name="connsiteY328" fmla="*/ 692541 h 790366"/>
                <a:gd name="connsiteX329" fmla="*/ 551330 w 1466597"/>
                <a:gd name="connsiteY329" fmla="*/ 692682 h 790366"/>
                <a:gd name="connsiteX330" fmla="*/ 554605 w 1466597"/>
                <a:gd name="connsiteY330" fmla="*/ 694608 h 790366"/>
                <a:gd name="connsiteX331" fmla="*/ 556141 w 1466597"/>
                <a:gd name="connsiteY331" fmla="*/ 695736 h 790366"/>
                <a:gd name="connsiteX332" fmla="*/ 556432 w 1466597"/>
                <a:gd name="connsiteY332" fmla="*/ 696438 h 790366"/>
                <a:gd name="connsiteX333" fmla="*/ 555284 w 1466597"/>
                <a:gd name="connsiteY333" fmla="*/ 697097 h 790366"/>
                <a:gd name="connsiteX334" fmla="*/ 552638 w 1466597"/>
                <a:gd name="connsiteY334" fmla="*/ 697462 h 790366"/>
                <a:gd name="connsiteX335" fmla="*/ 551672 w 1466597"/>
                <a:gd name="connsiteY335" fmla="*/ 698080 h 790366"/>
                <a:gd name="connsiteX336" fmla="*/ 550897 w 1466597"/>
                <a:gd name="connsiteY336" fmla="*/ 698215 h 790366"/>
                <a:gd name="connsiteX337" fmla="*/ 550308 w 1466597"/>
                <a:gd name="connsiteY337" fmla="*/ 697864 h 790366"/>
                <a:gd name="connsiteX338" fmla="*/ 547667 w 1466597"/>
                <a:gd name="connsiteY338" fmla="*/ 698285 h 790366"/>
                <a:gd name="connsiteX339" fmla="*/ 547151 w 1466597"/>
                <a:gd name="connsiteY339" fmla="*/ 698034 h 790366"/>
                <a:gd name="connsiteX340" fmla="*/ 545974 w 1466597"/>
                <a:gd name="connsiteY340" fmla="*/ 695945 h 790366"/>
                <a:gd name="connsiteX341" fmla="*/ 545898 w 1466597"/>
                <a:gd name="connsiteY341" fmla="*/ 694862 h 790366"/>
                <a:gd name="connsiteX342" fmla="*/ 546357 w 1466597"/>
                <a:gd name="connsiteY342" fmla="*/ 694010 h 790366"/>
                <a:gd name="connsiteX343" fmla="*/ 547543 w 1466597"/>
                <a:gd name="connsiteY343" fmla="*/ 693234 h 790366"/>
                <a:gd name="connsiteX344" fmla="*/ 560061 w 1466597"/>
                <a:gd name="connsiteY344" fmla="*/ 689960 h 790366"/>
                <a:gd name="connsiteX345" fmla="*/ 560490 w 1466597"/>
                <a:gd name="connsiteY345" fmla="*/ 690333 h 790366"/>
                <a:gd name="connsiteX346" fmla="*/ 561667 w 1466597"/>
                <a:gd name="connsiteY346" fmla="*/ 692160 h 790366"/>
                <a:gd name="connsiteX347" fmla="*/ 562839 w 1466597"/>
                <a:gd name="connsiteY347" fmla="*/ 692647 h 790366"/>
                <a:gd name="connsiteX348" fmla="*/ 563703 w 1466597"/>
                <a:gd name="connsiteY348" fmla="*/ 693040 h 790366"/>
                <a:gd name="connsiteX349" fmla="*/ 562180 w 1466597"/>
                <a:gd name="connsiteY349" fmla="*/ 693598 h 790366"/>
                <a:gd name="connsiteX350" fmla="*/ 559793 w 1466597"/>
                <a:gd name="connsiteY350" fmla="*/ 695147 h 790366"/>
                <a:gd name="connsiteX351" fmla="*/ 558679 w 1466597"/>
                <a:gd name="connsiteY351" fmla="*/ 695413 h 790366"/>
                <a:gd name="connsiteX352" fmla="*/ 558409 w 1466597"/>
                <a:gd name="connsiteY352" fmla="*/ 695048 h 790366"/>
                <a:gd name="connsiteX353" fmla="*/ 558278 w 1466597"/>
                <a:gd name="connsiteY353" fmla="*/ 693505 h 790366"/>
                <a:gd name="connsiteX354" fmla="*/ 557420 w 1466597"/>
                <a:gd name="connsiteY354" fmla="*/ 691056 h 790366"/>
                <a:gd name="connsiteX355" fmla="*/ 559048 w 1466597"/>
                <a:gd name="connsiteY355" fmla="*/ 690166 h 790366"/>
                <a:gd name="connsiteX356" fmla="*/ 629705 w 1466597"/>
                <a:gd name="connsiteY356" fmla="*/ 682572 h 790366"/>
                <a:gd name="connsiteX357" fmla="*/ 634173 w 1466597"/>
                <a:gd name="connsiteY357" fmla="*/ 683716 h 790366"/>
                <a:gd name="connsiteX358" fmla="*/ 635129 w 1466597"/>
                <a:gd name="connsiteY358" fmla="*/ 684259 h 790366"/>
                <a:gd name="connsiteX359" fmla="*/ 636495 w 1466597"/>
                <a:gd name="connsiteY359" fmla="*/ 685852 h 790366"/>
                <a:gd name="connsiteX360" fmla="*/ 634283 w 1466597"/>
                <a:gd name="connsiteY360" fmla="*/ 686621 h 790366"/>
                <a:gd name="connsiteX361" fmla="*/ 631936 w 1466597"/>
                <a:gd name="connsiteY361" fmla="*/ 685820 h 790366"/>
                <a:gd name="connsiteX362" fmla="*/ 629930 w 1466597"/>
                <a:gd name="connsiteY362" fmla="*/ 684339 h 790366"/>
                <a:gd name="connsiteX363" fmla="*/ 643887 w 1466597"/>
                <a:gd name="connsiteY363" fmla="*/ 665293 h 790366"/>
                <a:gd name="connsiteX364" fmla="*/ 644557 w 1466597"/>
                <a:gd name="connsiteY364" fmla="*/ 666314 h 790366"/>
                <a:gd name="connsiteX365" fmla="*/ 644675 w 1466597"/>
                <a:gd name="connsiteY365" fmla="*/ 667117 h 790366"/>
                <a:gd name="connsiteX366" fmla="*/ 643684 w 1466597"/>
                <a:gd name="connsiteY366" fmla="*/ 669414 h 790366"/>
                <a:gd name="connsiteX367" fmla="*/ 643033 w 1466597"/>
                <a:gd name="connsiteY367" fmla="*/ 670129 h 790366"/>
                <a:gd name="connsiteX368" fmla="*/ 642424 w 1466597"/>
                <a:gd name="connsiteY368" fmla="*/ 670293 h 790366"/>
                <a:gd name="connsiteX369" fmla="*/ 640668 w 1466597"/>
                <a:gd name="connsiteY369" fmla="*/ 669209 h 790366"/>
                <a:gd name="connsiteX370" fmla="*/ 640031 w 1466597"/>
                <a:gd name="connsiteY370" fmla="*/ 668398 h 790366"/>
                <a:gd name="connsiteX371" fmla="*/ 639569 w 1466597"/>
                <a:gd name="connsiteY371" fmla="*/ 667135 h 790366"/>
                <a:gd name="connsiteX372" fmla="*/ 643146 w 1466597"/>
                <a:gd name="connsiteY372" fmla="*/ 665317 h 790366"/>
                <a:gd name="connsiteX373" fmla="*/ 609630 w 1466597"/>
                <a:gd name="connsiteY373" fmla="*/ 662905 h 790366"/>
                <a:gd name="connsiteX374" fmla="*/ 611020 w 1466597"/>
                <a:gd name="connsiteY374" fmla="*/ 663367 h 790366"/>
                <a:gd name="connsiteX375" fmla="*/ 612093 w 1466597"/>
                <a:gd name="connsiteY375" fmla="*/ 664201 h 790366"/>
                <a:gd name="connsiteX376" fmla="*/ 612983 w 1466597"/>
                <a:gd name="connsiteY376" fmla="*/ 665392 h 790366"/>
                <a:gd name="connsiteX377" fmla="*/ 615458 w 1466597"/>
                <a:gd name="connsiteY377" fmla="*/ 671242 h 790366"/>
                <a:gd name="connsiteX378" fmla="*/ 616532 w 1466597"/>
                <a:gd name="connsiteY378" fmla="*/ 672386 h 790366"/>
                <a:gd name="connsiteX379" fmla="*/ 618124 w 1466597"/>
                <a:gd name="connsiteY379" fmla="*/ 673009 h 790366"/>
                <a:gd name="connsiteX380" fmla="*/ 620354 w 1466597"/>
                <a:gd name="connsiteY380" fmla="*/ 673639 h 790366"/>
                <a:gd name="connsiteX381" fmla="*/ 621682 w 1466597"/>
                <a:gd name="connsiteY381" fmla="*/ 674503 h 790366"/>
                <a:gd name="connsiteX382" fmla="*/ 622849 w 1466597"/>
                <a:gd name="connsiteY382" fmla="*/ 675817 h 790366"/>
                <a:gd name="connsiteX383" fmla="*/ 623003 w 1466597"/>
                <a:gd name="connsiteY383" fmla="*/ 676421 h 790366"/>
                <a:gd name="connsiteX384" fmla="*/ 615991 w 1466597"/>
                <a:gd name="connsiteY384" fmla="*/ 674064 h 790366"/>
                <a:gd name="connsiteX385" fmla="*/ 611585 w 1466597"/>
                <a:gd name="connsiteY385" fmla="*/ 677503 h 790366"/>
                <a:gd name="connsiteX386" fmla="*/ 610254 w 1466597"/>
                <a:gd name="connsiteY386" fmla="*/ 677949 h 790366"/>
                <a:gd name="connsiteX387" fmla="*/ 597747 w 1466597"/>
                <a:gd name="connsiteY387" fmla="*/ 678115 h 790366"/>
                <a:gd name="connsiteX388" fmla="*/ 595247 w 1466597"/>
                <a:gd name="connsiteY388" fmla="*/ 678748 h 790366"/>
                <a:gd name="connsiteX389" fmla="*/ 593631 w 1466597"/>
                <a:gd name="connsiteY389" fmla="*/ 679866 h 790366"/>
                <a:gd name="connsiteX390" fmla="*/ 590773 w 1466597"/>
                <a:gd name="connsiteY390" fmla="*/ 682999 h 790366"/>
                <a:gd name="connsiteX391" fmla="*/ 589322 w 1466597"/>
                <a:gd name="connsiteY391" fmla="*/ 684216 h 790366"/>
                <a:gd name="connsiteX392" fmla="*/ 587794 w 1466597"/>
                <a:gd name="connsiteY392" fmla="*/ 684939 h 790366"/>
                <a:gd name="connsiteX393" fmla="*/ 584544 w 1466597"/>
                <a:gd name="connsiteY393" fmla="*/ 685748 h 790366"/>
                <a:gd name="connsiteX394" fmla="*/ 580643 w 1466597"/>
                <a:gd name="connsiteY394" fmla="*/ 685638 h 790366"/>
                <a:gd name="connsiteX395" fmla="*/ 578611 w 1466597"/>
                <a:gd name="connsiteY395" fmla="*/ 685229 h 790366"/>
                <a:gd name="connsiteX396" fmla="*/ 577521 w 1466597"/>
                <a:gd name="connsiteY396" fmla="*/ 683740 h 790366"/>
                <a:gd name="connsiteX397" fmla="*/ 576556 w 1466597"/>
                <a:gd name="connsiteY397" fmla="*/ 680803 h 790366"/>
                <a:gd name="connsiteX398" fmla="*/ 576563 w 1466597"/>
                <a:gd name="connsiteY398" fmla="*/ 679985 h 790366"/>
                <a:gd name="connsiteX399" fmla="*/ 576973 w 1466597"/>
                <a:gd name="connsiteY399" fmla="*/ 678579 h 790366"/>
                <a:gd name="connsiteX400" fmla="*/ 580447 w 1466597"/>
                <a:gd name="connsiteY400" fmla="*/ 676635 h 790366"/>
                <a:gd name="connsiteX401" fmla="*/ 581601 w 1466597"/>
                <a:gd name="connsiteY401" fmla="*/ 675608 h 790366"/>
                <a:gd name="connsiteX402" fmla="*/ 586102 w 1466597"/>
                <a:gd name="connsiteY402" fmla="*/ 668929 h 790366"/>
                <a:gd name="connsiteX403" fmla="*/ 587408 w 1466597"/>
                <a:gd name="connsiteY403" fmla="*/ 668010 h 790366"/>
                <a:gd name="connsiteX404" fmla="*/ 588792 w 1466597"/>
                <a:gd name="connsiteY404" fmla="*/ 667784 h 790366"/>
                <a:gd name="connsiteX405" fmla="*/ 592635 w 1466597"/>
                <a:gd name="connsiteY405" fmla="*/ 668251 h 790366"/>
                <a:gd name="connsiteX406" fmla="*/ 595916 w 1466597"/>
                <a:gd name="connsiteY406" fmla="*/ 666298 h 790366"/>
                <a:gd name="connsiteX407" fmla="*/ 602984 w 1466597"/>
                <a:gd name="connsiteY407" fmla="*/ 663321 h 790366"/>
                <a:gd name="connsiteX408" fmla="*/ 604537 w 1466597"/>
                <a:gd name="connsiteY408" fmla="*/ 662967 h 790366"/>
                <a:gd name="connsiteX409" fmla="*/ 715384 w 1466597"/>
                <a:gd name="connsiteY409" fmla="*/ 662622 h 790366"/>
                <a:gd name="connsiteX410" fmla="*/ 717207 w 1466597"/>
                <a:gd name="connsiteY410" fmla="*/ 663258 h 790366"/>
                <a:gd name="connsiteX411" fmla="*/ 717902 w 1466597"/>
                <a:gd name="connsiteY411" fmla="*/ 664726 h 790366"/>
                <a:gd name="connsiteX412" fmla="*/ 717933 w 1466597"/>
                <a:gd name="connsiteY412" fmla="*/ 665687 h 790366"/>
                <a:gd name="connsiteX413" fmla="*/ 717103 w 1466597"/>
                <a:gd name="connsiteY413" fmla="*/ 665867 h 790366"/>
                <a:gd name="connsiteX414" fmla="*/ 716418 w 1466597"/>
                <a:gd name="connsiteY414" fmla="*/ 665484 h 790366"/>
                <a:gd name="connsiteX415" fmla="*/ 715471 w 1466597"/>
                <a:gd name="connsiteY415" fmla="*/ 663467 h 790366"/>
                <a:gd name="connsiteX416" fmla="*/ 713263 w 1466597"/>
                <a:gd name="connsiteY416" fmla="*/ 656683 h 790366"/>
                <a:gd name="connsiteX417" fmla="*/ 714027 w 1466597"/>
                <a:gd name="connsiteY417" fmla="*/ 659317 h 790366"/>
                <a:gd name="connsiteX418" fmla="*/ 713892 w 1466597"/>
                <a:gd name="connsiteY418" fmla="*/ 662148 h 790366"/>
                <a:gd name="connsiteX419" fmla="*/ 713520 w 1466597"/>
                <a:gd name="connsiteY419" fmla="*/ 662593 h 790366"/>
                <a:gd name="connsiteX420" fmla="*/ 712844 w 1466597"/>
                <a:gd name="connsiteY420" fmla="*/ 661838 h 790366"/>
                <a:gd name="connsiteX421" fmla="*/ 711409 w 1466597"/>
                <a:gd name="connsiteY421" fmla="*/ 662675 h 790366"/>
                <a:gd name="connsiteX422" fmla="*/ 710625 w 1466597"/>
                <a:gd name="connsiteY422" fmla="*/ 662063 h 790366"/>
                <a:gd name="connsiteX423" fmla="*/ 710958 w 1466597"/>
                <a:gd name="connsiteY423" fmla="*/ 661077 h 790366"/>
                <a:gd name="connsiteX424" fmla="*/ 710849 w 1466597"/>
                <a:gd name="connsiteY424" fmla="*/ 660308 h 790366"/>
                <a:gd name="connsiteX425" fmla="*/ 711914 w 1466597"/>
                <a:gd name="connsiteY425" fmla="*/ 660247 h 790366"/>
                <a:gd name="connsiteX426" fmla="*/ 712167 w 1466597"/>
                <a:gd name="connsiteY426" fmla="*/ 658839 h 790366"/>
                <a:gd name="connsiteX427" fmla="*/ 711983 w 1466597"/>
                <a:gd name="connsiteY427" fmla="*/ 658246 h 790366"/>
                <a:gd name="connsiteX428" fmla="*/ 712506 w 1466597"/>
                <a:gd name="connsiteY428" fmla="*/ 656976 h 790366"/>
                <a:gd name="connsiteX429" fmla="*/ 1427023 w 1466597"/>
                <a:gd name="connsiteY429" fmla="*/ 655325 h 790366"/>
                <a:gd name="connsiteX430" fmla="*/ 1428369 w 1466597"/>
                <a:gd name="connsiteY430" fmla="*/ 655374 h 790366"/>
                <a:gd name="connsiteX431" fmla="*/ 1431124 w 1466597"/>
                <a:gd name="connsiteY431" fmla="*/ 657132 h 790366"/>
                <a:gd name="connsiteX432" fmla="*/ 1432779 w 1466597"/>
                <a:gd name="connsiteY432" fmla="*/ 661876 h 790366"/>
                <a:gd name="connsiteX433" fmla="*/ 1435389 w 1466597"/>
                <a:gd name="connsiteY433" fmla="*/ 666497 h 790366"/>
                <a:gd name="connsiteX434" fmla="*/ 1435528 w 1466597"/>
                <a:gd name="connsiteY434" fmla="*/ 668118 h 790366"/>
                <a:gd name="connsiteX435" fmla="*/ 1433040 w 1466597"/>
                <a:gd name="connsiteY435" fmla="*/ 668686 h 790366"/>
                <a:gd name="connsiteX436" fmla="*/ 1431085 w 1466597"/>
                <a:gd name="connsiteY436" fmla="*/ 668453 h 790366"/>
                <a:gd name="connsiteX437" fmla="*/ 1430077 w 1466597"/>
                <a:gd name="connsiteY437" fmla="*/ 667922 h 790366"/>
                <a:gd name="connsiteX438" fmla="*/ 1429812 w 1466597"/>
                <a:gd name="connsiteY438" fmla="*/ 667170 h 790366"/>
                <a:gd name="connsiteX439" fmla="*/ 1430442 w 1466597"/>
                <a:gd name="connsiteY439" fmla="*/ 664833 h 790366"/>
                <a:gd name="connsiteX440" fmla="*/ 1429159 w 1466597"/>
                <a:gd name="connsiteY440" fmla="*/ 663457 h 790366"/>
                <a:gd name="connsiteX441" fmla="*/ 1427671 w 1466597"/>
                <a:gd name="connsiteY441" fmla="*/ 662988 h 790366"/>
                <a:gd name="connsiteX442" fmla="*/ 1426339 w 1466597"/>
                <a:gd name="connsiteY442" fmla="*/ 663796 h 790366"/>
                <a:gd name="connsiteX443" fmla="*/ 1426265 w 1466597"/>
                <a:gd name="connsiteY443" fmla="*/ 661490 h 790366"/>
                <a:gd name="connsiteX444" fmla="*/ 1427263 w 1466597"/>
                <a:gd name="connsiteY444" fmla="*/ 659831 h 790366"/>
                <a:gd name="connsiteX445" fmla="*/ 1426706 w 1466597"/>
                <a:gd name="connsiteY445" fmla="*/ 657576 h 790366"/>
                <a:gd name="connsiteX446" fmla="*/ 1426691 w 1466597"/>
                <a:gd name="connsiteY446" fmla="*/ 655871 h 790366"/>
                <a:gd name="connsiteX447" fmla="*/ 704531 w 1466597"/>
                <a:gd name="connsiteY447" fmla="*/ 655010 h 790366"/>
                <a:gd name="connsiteX448" fmla="*/ 704947 w 1466597"/>
                <a:gd name="connsiteY448" fmla="*/ 655346 h 790366"/>
                <a:gd name="connsiteX449" fmla="*/ 704253 w 1466597"/>
                <a:gd name="connsiteY449" fmla="*/ 656850 h 790366"/>
                <a:gd name="connsiteX450" fmla="*/ 705754 w 1466597"/>
                <a:gd name="connsiteY450" fmla="*/ 658233 h 790366"/>
                <a:gd name="connsiteX451" fmla="*/ 705380 w 1466597"/>
                <a:gd name="connsiteY451" fmla="*/ 659573 h 790366"/>
                <a:gd name="connsiteX452" fmla="*/ 704898 w 1466597"/>
                <a:gd name="connsiteY452" fmla="*/ 660138 h 790366"/>
                <a:gd name="connsiteX453" fmla="*/ 703343 w 1466597"/>
                <a:gd name="connsiteY453" fmla="*/ 660917 h 790366"/>
                <a:gd name="connsiteX454" fmla="*/ 702855 w 1466597"/>
                <a:gd name="connsiteY454" fmla="*/ 661907 h 790366"/>
                <a:gd name="connsiteX455" fmla="*/ 701673 w 1466597"/>
                <a:gd name="connsiteY455" fmla="*/ 662325 h 790366"/>
                <a:gd name="connsiteX456" fmla="*/ 700678 w 1466597"/>
                <a:gd name="connsiteY456" fmla="*/ 663130 h 790366"/>
                <a:gd name="connsiteX457" fmla="*/ 697331 w 1466597"/>
                <a:gd name="connsiteY457" fmla="*/ 666774 h 790366"/>
                <a:gd name="connsiteX458" fmla="*/ 695866 w 1466597"/>
                <a:gd name="connsiteY458" fmla="*/ 667448 h 790366"/>
                <a:gd name="connsiteX459" fmla="*/ 697484 w 1466597"/>
                <a:gd name="connsiteY459" fmla="*/ 664338 h 790366"/>
                <a:gd name="connsiteX460" fmla="*/ 697739 w 1466597"/>
                <a:gd name="connsiteY460" fmla="*/ 663349 h 790366"/>
                <a:gd name="connsiteX461" fmla="*/ 697770 w 1466597"/>
                <a:gd name="connsiteY461" fmla="*/ 662691 h 790366"/>
                <a:gd name="connsiteX462" fmla="*/ 697267 w 1466597"/>
                <a:gd name="connsiteY462" fmla="*/ 660342 h 790366"/>
                <a:gd name="connsiteX463" fmla="*/ 698246 w 1466597"/>
                <a:gd name="connsiteY463" fmla="*/ 660443 h 790366"/>
                <a:gd name="connsiteX464" fmla="*/ 699050 w 1466597"/>
                <a:gd name="connsiteY464" fmla="*/ 659956 h 790366"/>
                <a:gd name="connsiteX465" fmla="*/ 700669 w 1466597"/>
                <a:gd name="connsiteY465" fmla="*/ 657872 h 790366"/>
                <a:gd name="connsiteX466" fmla="*/ 702125 w 1466597"/>
                <a:gd name="connsiteY466" fmla="*/ 657686 h 790366"/>
                <a:gd name="connsiteX467" fmla="*/ 703687 w 1466597"/>
                <a:gd name="connsiteY467" fmla="*/ 655205 h 790366"/>
                <a:gd name="connsiteX468" fmla="*/ 1382861 w 1466597"/>
                <a:gd name="connsiteY468" fmla="*/ 653131 h 790366"/>
                <a:gd name="connsiteX469" fmla="*/ 1387941 w 1466597"/>
                <a:gd name="connsiteY469" fmla="*/ 657118 h 790366"/>
                <a:gd name="connsiteX470" fmla="*/ 1388715 w 1466597"/>
                <a:gd name="connsiteY470" fmla="*/ 658807 h 790366"/>
                <a:gd name="connsiteX471" fmla="*/ 1390535 w 1466597"/>
                <a:gd name="connsiteY471" fmla="*/ 660783 h 790366"/>
                <a:gd name="connsiteX472" fmla="*/ 1390882 w 1466597"/>
                <a:gd name="connsiteY472" fmla="*/ 663537 h 790366"/>
                <a:gd name="connsiteX473" fmla="*/ 1391804 w 1466597"/>
                <a:gd name="connsiteY473" fmla="*/ 664617 h 790366"/>
                <a:gd name="connsiteX474" fmla="*/ 1393941 w 1466597"/>
                <a:gd name="connsiteY474" fmla="*/ 668449 h 790366"/>
                <a:gd name="connsiteX475" fmla="*/ 1394565 w 1466597"/>
                <a:gd name="connsiteY475" fmla="*/ 668926 h 790366"/>
                <a:gd name="connsiteX476" fmla="*/ 1395200 w 1466597"/>
                <a:gd name="connsiteY476" fmla="*/ 668591 h 790366"/>
                <a:gd name="connsiteX477" fmla="*/ 1396235 w 1466597"/>
                <a:gd name="connsiteY477" fmla="*/ 667328 h 790366"/>
                <a:gd name="connsiteX478" fmla="*/ 1398063 w 1466597"/>
                <a:gd name="connsiteY478" fmla="*/ 667577 h 790366"/>
                <a:gd name="connsiteX479" fmla="*/ 1399383 w 1466597"/>
                <a:gd name="connsiteY479" fmla="*/ 668002 h 790366"/>
                <a:gd name="connsiteX480" fmla="*/ 1400191 w 1466597"/>
                <a:gd name="connsiteY480" fmla="*/ 668520 h 790366"/>
                <a:gd name="connsiteX481" fmla="*/ 1399763 w 1466597"/>
                <a:gd name="connsiteY481" fmla="*/ 670359 h 790366"/>
                <a:gd name="connsiteX482" fmla="*/ 1399432 w 1466597"/>
                <a:gd name="connsiteY482" fmla="*/ 673341 h 790366"/>
                <a:gd name="connsiteX483" fmla="*/ 1398675 w 1466597"/>
                <a:gd name="connsiteY483" fmla="*/ 674399 h 790366"/>
                <a:gd name="connsiteX484" fmla="*/ 1397932 w 1466597"/>
                <a:gd name="connsiteY484" fmla="*/ 675885 h 790366"/>
                <a:gd name="connsiteX485" fmla="*/ 1395343 w 1466597"/>
                <a:gd name="connsiteY485" fmla="*/ 675004 h 790366"/>
                <a:gd name="connsiteX486" fmla="*/ 1393242 w 1466597"/>
                <a:gd name="connsiteY486" fmla="*/ 673112 h 790366"/>
                <a:gd name="connsiteX487" fmla="*/ 1390199 w 1466597"/>
                <a:gd name="connsiteY487" fmla="*/ 669851 h 790366"/>
                <a:gd name="connsiteX488" fmla="*/ 1388503 w 1466597"/>
                <a:gd name="connsiteY488" fmla="*/ 667497 h 790366"/>
                <a:gd name="connsiteX489" fmla="*/ 1388372 w 1466597"/>
                <a:gd name="connsiteY489" fmla="*/ 666501 h 790366"/>
                <a:gd name="connsiteX490" fmla="*/ 1387297 w 1466597"/>
                <a:gd name="connsiteY490" fmla="*/ 665778 h 790366"/>
                <a:gd name="connsiteX491" fmla="*/ 1385206 w 1466597"/>
                <a:gd name="connsiteY491" fmla="*/ 661711 h 790366"/>
                <a:gd name="connsiteX492" fmla="*/ 1384019 w 1466597"/>
                <a:gd name="connsiteY492" fmla="*/ 658489 h 790366"/>
                <a:gd name="connsiteX493" fmla="*/ 1382140 w 1466597"/>
                <a:gd name="connsiteY493" fmla="*/ 658122 h 790366"/>
                <a:gd name="connsiteX494" fmla="*/ 1379764 w 1466597"/>
                <a:gd name="connsiteY494" fmla="*/ 657226 h 790366"/>
                <a:gd name="connsiteX495" fmla="*/ 1378851 w 1466597"/>
                <a:gd name="connsiteY495" fmla="*/ 655459 h 790366"/>
                <a:gd name="connsiteX496" fmla="*/ 1379481 w 1466597"/>
                <a:gd name="connsiteY496" fmla="*/ 653912 h 790366"/>
                <a:gd name="connsiteX497" fmla="*/ 692415 w 1466597"/>
                <a:gd name="connsiteY497" fmla="*/ 652017 h 790366"/>
                <a:gd name="connsiteX498" fmla="*/ 693257 w 1466597"/>
                <a:gd name="connsiteY498" fmla="*/ 652705 h 790366"/>
                <a:gd name="connsiteX499" fmla="*/ 692899 w 1466597"/>
                <a:gd name="connsiteY499" fmla="*/ 655515 h 790366"/>
                <a:gd name="connsiteX500" fmla="*/ 689393 w 1466597"/>
                <a:gd name="connsiteY500" fmla="*/ 653727 h 790366"/>
                <a:gd name="connsiteX501" fmla="*/ 688455 w 1466597"/>
                <a:gd name="connsiteY501" fmla="*/ 652842 h 790366"/>
                <a:gd name="connsiteX502" fmla="*/ 689083 w 1466597"/>
                <a:gd name="connsiteY502" fmla="*/ 652182 h 790366"/>
                <a:gd name="connsiteX503" fmla="*/ 683190 w 1466597"/>
                <a:gd name="connsiteY503" fmla="*/ 650319 h 790366"/>
                <a:gd name="connsiteX504" fmla="*/ 683912 w 1466597"/>
                <a:gd name="connsiteY504" fmla="*/ 650543 h 790366"/>
                <a:gd name="connsiteX505" fmla="*/ 684510 w 1466597"/>
                <a:gd name="connsiteY505" fmla="*/ 651219 h 790366"/>
                <a:gd name="connsiteX506" fmla="*/ 684659 w 1466597"/>
                <a:gd name="connsiteY506" fmla="*/ 651931 h 790366"/>
                <a:gd name="connsiteX507" fmla="*/ 684185 w 1466597"/>
                <a:gd name="connsiteY507" fmla="*/ 653521 h 790366"/>
                <a:gd name="connsiteX508" fmla="*/ 684573 w 1466597"/>
                <a:gd name="connsiteY508" fmla="*/ 653539 h 790366"/>
                <a:gd name="connsiteX509" fmla="*/ 685361 w 1466597"/>
                <a:gd name="connsiteY509" fmla="*/ 653267 h 790366"/>
                <a:gd name="connsiteX510" fmla="*/ 687014 w 1466597"/>
                <a:gd name="connsiteY510" fmla="*/ 651258 h 790366"/>
                <a:gd name="connsiteX511" fmla="*/ 687556 w 1466597"/>
                <a:gd name="connsiteY511" fmla="*/ 651169 h 790366"/>
                <a:gd name="connsiteX512" fmla="*/ 687564 w 1466597"/>
                <a:gd name="connsiteY512" fmla="*/ 651789 h 790366"/>
                <a:gd name="connsiteX513" fmla="*/ 686782 w 1466597"/>
                <a:gd name="connsiteY513" fmla="*/ 653775 h 790366"/>
                <a:gd name="connsiteX514" fmla="*/ 688106 w 1466597"/>
                <a:gd name="connsiteY514" fmla="*/ 656424 h 790366"/>
                <a:gd name="connsiteX515" fmla="*/ 689344 w 1466597"/>
                <a:gd name="connsiteY515" fmla="*/ 657698 h 790366"/>
                <a:gd name="connsiteX516" fmla="*/ 689221 w 1466597"/>
                <a:gd name="connsiteY516" fmla="*/ 658143 h 790366"/>
                <a:gd name="connsiteX517" fmla="*/ 686119 w 1466597"/>
                <a:gd name="connsiteY517" fmla="*/ 659061 h 790366"/>
                <a:gd name="connsiteX518" fmla="*/ 683755 w 1466597"/>
                <a:gd name="connsiteY518" fmla="*/ 658400 h 790366"/>
                <a:gd name="connsiteX519" fmla="*/ 682508 w 1466597"/>
                <a:gd name="connsiteY519" fmla="*/ 658629 h 790366"/>
                <a:gd name="connsiteX520" fmla="*/ 681375 w 1466597"/>
                <a:gd name="connsiteY520" fmla="*/ 659553 h 790366"/>
                <a:gd name="connsiteX521" fmla="*/ 680599 w 1466597"/>
                <a:gd name="connsiteY521" fmla="*/ 658531 h 790366"/>
                <a:gd name="connsiteX522" fmla="*/ 680063 w 1466597"/>
                <a:gd name="connsiteY522" fmla="*/ 653644 h 790366"/>
                <a:gd name="connsiteX523" fmla="*/ 680238 w 1466597"/>
                <a:gd name="connsiteY523" fmla="*/ 652787 h 790366"/>
                <a:gd name="connsiteX524" fmla="*/ 681524 w 1466597"/>
                <a:gd name="connsiteY524" fmla="*/ 651086 h 790366"/>
                <a:gd name="connsiteX525" fmla="*/ 1381611 w 1466597"/>
                <a:gd name="connsiteY525" fmla="*/ 644806 h 790366"/>
                <a:gd name="connsiteX526" fmla="*/ 1382645 w 1466597"/>
                <a:gd name="connsiteY526" fmla="*/ 645354 h 790366"/>
                <a:gd name="connsiteX527" fmla="*/ 1383203 w 1466597"/>
                <a:gd name="connsiteY527" fmla="*/ 646358 h 790366"/>
                <a:gd name="connsiteX528" fmla="*/ 1383242 w 1466597"/>
                <a:gd name="connsiteY528" fmla="*/ 646993 h 790366"/>
                <a:gd name="connsiteX529" fmla="*/ 1379548 w 1466597"/>
                <a:gd name="connsiteY529" fmla="*/ 649363 h 790366"/>
                <a:gd name="connsiteX530" fmla="*/ 1379480 w 1466597"/>
                <a:gd name="connsiteY530" fmla="*/ 649851 h 790366"/>
                <a:gd name="connsiteX531" fmla="*/ 1378614 w 1466597"/>
                <a:gd name="connsiteY531" fmla="*/ 651316 h 790366"/>
                <a:gd name="connsiteX532" fmla="*/ 1377840 w 1466597"/>
                <a:gd name="connsiteY532" fmla="*/ 651849 h 790366"/>
                <a:gd name="connsiteX533" fmla="*/ 1376464 w 1466597"/>
                <a:gd name="connsiteY533" fmla="*/ 653433 h 790366"/>
                <a:gd name="connsiteX534" fmla="*/ 1373841 w 1466597"/>
                <a:gd name="connsiteY534" fmla="*/ 655140 h 790366"/>
                <a:gd name="connsiteX535" fmla="*/ 1374228 w 1466597"/>
                <a:gd name="connsiteY535" fmla="*/ 650008 h 790366"/>
                <a:gd name="connsiteX536" fmla="*/ 1371623 w 1466597"/>
                <a:gd name="connsiteY536" fmla="*/ 647025 h 790366"/>
                <a:gd name="connsiteX537" fmla="*/ 1374248 w 1466597"/>
                <a:gd name="connsiteY537" fmla="*/ 645514 h 790366"/>
                <a:gd name="connsiteX538" fmla="*/ 1375970 w 1466597"/>
                <a:gd name="connsiteY538" fmla="*/ 645945 h 790366"/>
                <a:gd name="connsiteX539" fmla="*/ 1378826 w 1466597"/>
                <a:gd name="connsiteY539" fmla="*/ 646119 h 790366"/>
                <a:gd name="connsiteX540" fmla="*/ 814054 w 1466597"/>
                <a:gd name="connsiteY540" fmla="*/ 631722 h 790366"/>
                <a:gd name="connsiteX541" fmla="*/ 814583 w 1466597"/>
                <a:gd name="connsiteY541" fmla="*/ 631838 h 790366"/>
                <a:gd name="connsiteX542" fmla="*/ 814821 w 1466597"/>
                <a:gd name="connsiteY542" fmla="*/ 633073 h 790366"/>
                <a:gd name="connsiteX543" fmla="*/ 814768 w 1466597"/>
                <a:gd name="connsiteY543" fmla="*/ 635424 h 790366"/>
                <a:gd name="connsiteX544" fmla="*/ 813776 w 1466597"/>
                <a:gd name="connsiteY544" fmla="*/ 636557 h 790366"/>
                <a:gd name="connsiteX545" fmla="*/ 811844 w 1466597"/>
                <a:gd name="connsiteY545" fmla="*/ 636475 h 790366"/>
                <a:gd name="connsiteX546" fmla="*/ 810759 w 1466597"/>
                <a:gd name="connsiteY546" fmla="*/ 636104 h 790366"/>
                <a:gd name="connsiteX547" fmla="*/ 810396 w 1466597"/>
                <a:gd name="connsiteY547" fmla="*/ 635115 h 790366"/>
                <a:gd name="connsiteX548" fmla="*/ 813375 w 1466597"/>
                <a:gd name="connsiteY548" fmla="*/ 632125 h 790366"/>
                <a:gd name="connsiteX549" fmla="*/ 1434579 w 1466597"/>
                <a:gd name="connsiteY549" fmla="*/ 630608 h 790366"/>
                <a:gd name="connsiteX550" fmla="*/ 1435422 w 1466597"/>
                <a:gd name="connsiteY550" fmla="*/ 630837 h 790366"/>
                <a:gd name="connsiteX551" fmla="*/ 1438370 w 1466597"/>
                <a:gd name="connsiteY551" fmla="*/ 634152 h 790366"/>
                <a:gd name="connsiteX552" fmla="*/ 1441503 w 1466597"/>
                <a:gd name="connsiteY552" fmla="*/ 638777 h 790366"/>
                <a:gd name="connsiteX553" fmla="*/ 1442316 w 1466597"/>
                <a:gd name="connsiteY553" fmla="*/ 640856 h 790366"/>
                <a:gd name="connsiteX554" fmla="*/ 1442340 w 1466597"/>
                <a:gd name="connsiteY554" fmla="*/ 644487 h 790366"/>
                <a:gd name="connsiteX555" fmla="*/ 1441980 w 1466597"/>
                <a:gd name="connsiteY555" fmla="*/ 647304 h 790366"/>
                <a:gd name="connsiteX556" fmla="*/ 1441093 w 1466597"/>
                <a:gd name="connsiteY556" fmla="*/ 651224 h 790366"/>
                <a:gd name="connsiteX557" fmla="*/ 1439337 w 1466597"/>
                <a:gd name="connsiteY557" fmla="*/ 655230 h 790366"/>
                <a:gd name="connsiteX558" fmla="*/ 1436655 w 1466597"/>
                <a:gd name="connsiteY558" fmla="*/ 657383 h 790366"/>
                <a:gd name="connsiteX559" fmla="*/ 1434767 w 1466597"/>
                <a:gd name="connsiteY559" fmla="*/ 656903 h 790366"/>
                <a:gd name="connsiteX560" fmla="*/ 1433378 w 1466597"/>
                <a:gd name="connsiteY560" fmla="*/ 655168 h 790366"/>
                <a:gd name="connsiteX561" fmla="*/ 1432089 w 1466597"/>
                <a:gd name="connsiteY561" fmla="*/ 655264 h 790366"/>
                <a:gd name="connsiteX562" fmla="*/ 1430715 w 1466597"/>
                <a:gd name="connsiteY562" fmla="*/ 654907 h 790366"/>
                <a:gd name="connsiteX563" fmla="*/ 1429944 w 1466597"/>
                <a:gd name="connsiteY563" fmla="*/ 653467 h 790366"/>
                <a:gd name="connsiteX564" fmla="*/ 1430673 w 1466597"/>
                <a:gd name="connsiteY564" fmla="*/ 651611 h 790366"/>
                <a:gd name="connsiteX565" fmla="*/ 1430030 w 1466597"/>
                <a:gd name="connsiteY565" fmla="*/ 650171 h 790366"/>
                <a:gd name="connsiteX566" fmla="*/ 1429343 w 1466597"/>
                <a:gd name="connsiteY566" fmla="*/ 651430 h 790366"/>
                <a:gd name="connsiteX567" fmla="*/ 1428135 w 1466597"/>
                <a:gd name="connsiteY567" fmla="*/ 652586 h 790366"/>
                <a:gd name="connsiteX568" fmla="*/ 1425087 w 1466597"/>
                <a:gd name="connsiteY568" fmla="*/ 654087 h 790366"/>
                <a:gd name="connsiteX569" fmla="*/ 1422985 w 1466597"/>
                <a:gd name="connsiteY569" fmla="*/ 656953 h 790366"/>
                <a:gd name="connsiteX570" fmla="*/ 1421996 w 1466597"/>
                <a:gd name="connsiteY570" fmla="*/ 658821 h 790366"/>
                <a:gd name="connsiteX571" fmla="*/ 1420759 w 1466597"/>
                <a:gd name="connsiteY571" fmla="*/ 656785 h 790366"/>
                <a:gd name="connsiteX572" fmla="*/ 1419967 w 1466597"/>
                <a:gd name="connsiteY572" fmla="*/ 651957 h 790366"/>
                <a:gd name="connsiteX573" fmla="*/ 1419863 w 1466597"/>
                <a:gd name="connsiteY573" fmla="*/ 649905 h 790366"/>
                <a:gd name="connsiteX574" fmla="*/ 1422073 w 1466597"/>
                <a:gd name="connsiteY574" fmla="*/ 646807 h 790366"/>
                <a:gd name="connsiteX575" fmla="*/ 1424928 w 1466597"/>
                <a:gd name="connsiteY575" fmla="*/ 643860 h 790366"/>
                <a:gd name="connsiteX576" fmla="*/ 1425504 w 1466597"/>
                <a:gd name="connsiteY576" fmla="*/ 635048 h 790366"/>
                <a:gd name="connsiteX577" fmla="*/ 1375984 w 1466597"/>
                <a:gd name="connsiteY577" fmla="*/ 616779 h 790366"/>
                <a:gd name="connsiteX578" fmla="*/ 1380820 w 1466597"/>
                <a:gd name="connsiteY578" fmla="*/ 617553 h 790366"/>
                <a:gd name="connsiteX579" fmla="*/ 1385248 w 1466597"/>
                <a:gd name="connsiteY579" fmla="*/ 617480 h 790366"/>
                <a:gd name="connsiteX580" fmla="*/ 1386761 w 1466597"/>
                <a:gd name="connsiteY580" fmla="*/ 618968 h 790366"/>
                <a:gd name="connsiteX581" fmla="*/ 1387761 w 1466597"/>
                <a:gd name="connsiteY581" fmla="*/ 620537 h 790366"/>
                <a:gd name="connsiteX582" fmla="*/ 1388342 w 1466597"/>
                <a:gd name="connsiteY582" fmla="*/ 622012 h 790366"/>
                <a:gd name="connsiteX583" fmla="*/ 1388502 w 1466597"/>
                <a:gd name="connsiteY583" fmla="*/ 623393 h 790366"/>
                <a:gd name="connsiteX584" fmla="*/ 1388382 w 1466597"/>
                <a:gd name="connsiteY584" fmla="*/ 624371 h 790366"/>
                <a:gd name="connsiteX585" fmla="*/ 1387844 w 1466597"/>
                <a:gd name="connsiteY585" fmla="*/ 625412 h 790366"/>
                <a:gd name="connsiteX586" fmla="*/ 1387962 w 1466597"/>
                <a:gd name="connsiteY586" fmla="*/ 625763 h 790366"/>
                <a:gd name="connsiteX587" fmla="*/ 1396611 w 1466597"/>
                <a:gd name="connsiteY587" fmla="*/ 629182 h 790366"/>
                <a:gd name="connsiteX588" fmla="*/ 1400691 w 1466597"/>
                <a:gd name="connsiteY588" fmla="*/ 632775 h 790366"/>
                <a:gd name="connsiteX589" fmla="*/ 1402319 w 1466597"/>
                <a:gd name="connsiteY589" fmla="*/ 634660 h 790366"/>
                <a:gd name="connsiteX590" fmla="*/ 1403259 w 1466597"/>
                <a:gd name="connsiteY590" fmla="*/ 636252 h 790366"/>
                <a:gd name="connsiteX591" fmla="*/ 1404963 w 1466597"/>
                <a:gd name="connsiteY591" fmla="*/ 640231 h 790366"/>
                <a:gd name="connsiteX592" fmla="*/ 1408568 w 1466597"/>
                <a:gd name="connsiteY592" fmla="*/ 644840 h 790366"/>
                <a:gd name="connsiteX593" fmla="*/ 1410459 w 1466597"/>
                <a:gd name="connsiteY593" fmla="*/ 646244 h 790366"/>
                <a:gd name="connsiteX594" fmla="*/ 1411532 w 1466597"/>
                <a:gd name="connsiteY594" fmla="*/ 647608 h 790366"/>
                <a:gd name="connsiteX595" fmla="*/ 1410928 w 1466597"/>
                <a:gd name="connsiteY595" fmla="*/ 647660 h 790366"/>
                <a:gd name="connsiteX596" fmla="*/ 1408388 w 1466597"/>
                <a:gd name="connsiteY596" fmla="*/ 646649 h 790366"/>
                <a:gd name="connsiteX597" fmla="*/ 1402893 w 1466597"/>
                <a:gd name="connsiteY597" fmla="*/ 643561 h 790366"/>
                <a:gd name="connsiteX598" fmla="*/ 1402445 w 1466597"/>
                <a:gd name="connsiteY598" fmla="*/ 643683 h 790366"/>
                <a:gd name="connsiteX599" fmla="*/ 1401948 w 1466597"/>
                <a:gd name="connsiteY599" fmla="*/ 645355 h 790366"/>
                <a:gd name="connsiteX600" fmla="*/ 1401097 w 1466597"/>
                <a:gd name="connsiteY600" fmla="*/ 646822 h 790366"/>
                <a:gd name="connsiteX601" fmla="*/ 1399832 w 1466597"/>
                <a:gd name="connsiteY601" fmla="*/ 647874 h 790366"/>
                <a:gd name="connsiteX602" fmla="*/ 1400845 w 1466597"/>
                <a:gd name="connsiteY602" fmla="*/ 648188 h 790366"/>
                <a:gd name="connsiteX603" fmla="*/ 1405276 w 1466597"/>
                <a:gd name="connsiteY603" fmla="*/ 647526 h 790366"/>
                <a:gd name="connsiteX604" fmla="*/ 1408997 w 1466597"/>
                <a:gd name="connsiteY604" fmla="*/ 650533 h 790366"/>
                <a:gd name="connsiteX605" fmla="*/ 1410445 w 1466597"/>
                <a:gd name="connsiteY605" fmla="*/ 651071 h 790366"/>
                <a:gd name="connsiteX606" fmla="*/ 1411848 w 1466597"/>
                <a:gd name="connsiteY606" fmla="*/ 653229 h 790366"/>
                <a:gd name="connsiteX607" fmla="*/ 1411896 w 1466597"/>
                <a:gd name="connsiteY607" fmla="*/ 654055 h 790366"/>
                <a:gd name="connsiteX608" fmla="*/ 1411079 w 1466597"/>
                <a:gd name="connsiteY608" fmla="*/ 655650 h 790366"/>
                <a:gd name="connsiteX609" fmla="*/ 1410455 w 1466597"/>
                <a:gd name="connsiteY609" fmla="*/ 656297 h 790366"/>
                <a:gd name="connsiteX610" fmla="*/ 1410664 w 1466597"/>
                <a:gd name="connsiteY610" fmla="*/ 656737 h 790366"/>
                <a:gd name="connsiteX611" fmla="*/ 1411704 w 1466597"/>
                <a:gd name="connsiteY611" fmla="*/ 656964 h 790366"/>
                <a:gd name="connsiteX612" fmla="*/ 1415807 w 1466597"/>
                <a:gd name="connsiteY612" fmla="*/ 656517 h 790366"/>
                <a:gd name="connsiteX613" fmla="*/ 1416539 w 1466597"/>
                <a:gd name="connsiteY613" fmla="*/ 657300 h 790366"/>
                <a:gd name="connsiteX614" fmla="*/ 1415927 w 1466597"/>
                <a:gd name="connsiteY614" fmla="*/ 663508 h 790366"/>
                <a:gd name="connsiteX615" fmla="*/ 1416508 w 1466597"/>
                <a:gd name="connsiteY615" fmla="*/ 665790 h 790366"/>
                <a:gd name="connsiteX616" fmla="*/ 1416499 w 1466597"/>
                <a:gd name="connsiteY616" fmla="*/ 666827 h 790366"/>
                <a:gd name="connsiteX617" fmla="*/ 1416024 w 1466597"/>
                <a:gd name="connsiteY617" fmla="*/ 668202 h 790366"/>
                <a:gd name="connsiteX618" fmla="*/ 1416007 w 1466597"/>
                <a:gd name="connsiteY618" fmla="*/ 669364 h 790366"/>
                <a:gd name="connsiteX619" fmla="*/ 1416378 w 1466597"/>
                <a:gd name="connsiteY619" fmla="*/ 670556 h 790366"/>
                <a:gd name="connsiteX620" fmla="*/ 1416425 w 1466597"/>
                <a:gd name="connsiteY620" fmla="*/ 671621 h 790366"/>
                <a:gd name="connsiteX621" fmla="*/ 1415384 w 1466597"/>
                <a:gd name="connsiteY621" fmla="*/ 674396 h 790366"/>
                <a:gd name="connsiteX622" fmla="*/ 1414285 w 1466597"/>
                <a:gd name="connsiteY622" fmla="*/ 674861 h 790366"/>
                <a:gd name="connsiteX623" fmla="*/ 1412509 w 1466597"/>
                <a:gd name="connsiteY623" fmla="*/ 674882 h 790366"/>
                <a:gd name="connsiteX624" fmla="*/ 1411109 w 1466597"/>
                <a:gd name="connsiteY624" fmla="*/ 674094 h 790366"/>
                <a:gd name="connsiteX625" fmla="*/ 1409143 w 1466597"/>
                <a:gd name="connsiteY625" fmla="*/ 671708 h 790366"/>
                <a:gd name="connsiteX626" fmla="*/ 1407230 w 1466597"/>
                <a:gd name="connsiteY626" fmla="*/ 667996 h 790366"/>
                <a:gd name="connsiteX627" fmla="*/ 1406492 w 1466597"/>
                <a:gd name="connsiteY627" fmla="*/ 667466 h 790366"/>
                <a:gd name="connsiteX628" fmla="*/ 1403981 w 1466597"/>
                <a:gd name="connsiteY628" fmla="*/ 666908 h 790366"/>
                <a:gd name="connsiteX629" fmla="*/ 1403526 w 1466597"/>
                <a:gd name="connsiteY629" fmla="*/ 666468 h 790366"/>
                <a:gd name="connsiteX630" fmla="*/ 1401923 w 1466597"/>
                <a:gd name="connsiteY630" fmla="*/ 666389 h 790366"/>
                <a:gd name="connsiteX631" fmla="*/ 1400788 w 1466597"/>
                <a:gd name="connsiteY631" fmla="*/ 664859 h 790366"/>
                <a:gd name="connsiteX632" fmla="*/ 1400925 w 1466597"/>
                <a:gd name="connsiteY632" fmla="*/ 662851 h 790366"/>
                <a:gd name="connsiteX633" fmla="*/ 1399943 w 1466597"/>
                <a:gd name="connsiteY633" fmla="*/ 660801 h 790366"/>
                <a:gd name="connsiteX634" fmla="*/ 1400065 w 1466597"/>
                <a:gd name="connsiteY634" fmla="*/ 659883 h 790366"/>
                <a:gd name="connsiteX635" fmla="*/ 1398965 w 1466597"/>
                <a:gd name="connsiteY635" fmla="*/ 659498 h 790366"/>
                <a:gd name="connsiteX636" fmla="*/ 1398034 w 1466597"/>
                <a:gd name="connsiteY636" fmla="*/ 660076 h 790366"/>
                <a:gd name="connsiteX637" fmla="*/ 1398517 w 1466597"/>
                <a:gd name="connsiteY637" fmla="*/ 662085 h 790366"/>
                <a:gd name="connsiteX638" fmla="*/ 1397974 w 1466597"/>
                <a:gd name="connsiteY638" fmla="*/ 663640 h 790366"/>
                <a:gd name="connsiteX639" fmla="*/ 1395980 w 1466597"/>
                <a:gd name="connsiteY639" fmla="*/ 662988 h 790366"/>
                <a:gd name="connsiteX640" fmla="*/ 1392656 w 1466597"/>
                <a:gd name="connsiteY640" fmla="*/ 658016 h 790366"/>
                <a:gd name="connsiteX641" fmla="*/ 1388880 w 1466597"/>
                <a:gd name="connsiteY641" fmla="*/ 654015 h 790366"/>
                <a:gd name="connsiteX642" fmla="*/ 1387402 w 1466597"/>
                <a:gd name="connsiteY642" fmla="*/ 653063 h 790366"/>
                <a:gd name="connsiteX643" fmla="*/ 1387799 w 1466597"/>
                <a:gd name="connsiteY643" fmla="*/ 651901 h 790366"/>
                <a:gd name="connsiteX644" fmla="*/ 1389660 w 1466597"/>
                <a:gd name="connsiteY644" fmla="*/ 651285 h 790366"/>
                <a:gd name="connsiteX645" fmla="*/ 1391172 w 1466597"/>
                <a:gd name="connsiteY645" fmla="*/ 651333 h 790366"/>
                <a:gd name="connsiteX646" fmla="*/ 1391475 w 1466597"/>
                <a:gd name="connsiteY646" fmla="*/ 650642 h 790366"/>
                <a:gd name="connsiteX647" fmla="*/ 1388322 w 1466597"/>
                <a:gd name="connsiteY647" fmla="*/ 646770 h 790366"/>
                <a:gd name="connsiteX648" fmla="*/ 1388425 w 1466597"/>
                <a:gd name="connsiteY648" fmla="*/ 645670 h 790366"/>
                <a:gd name="connsiteX649" fmla="*/ 1389575 w 1466597"/>
                <a:gd name="connsiteY649" fmla="*/ 643711 h 790366"/>
                <a:gd name="connsiteX650" fmla="*/ 1388140 w 1466597"/>
                <a:gd name="connsiteY650" fmla="*/ 642894 h 790366"/>
                <a:gd name="connsiteX651" fmla="*/ 1384209 w 1466597"/>
                <a:gd name="connsiteY651" fmla="*/ 643507 h 790366"/>
                <a:gd name="connsiteX652" fmla="*/ 1382818 w 1466597"/>
                <a:gd name="connsiteY652" fmla="*/ 643098 h 790366"/>
                <a:gd name="connsiteX653" fmla="*/ 1381682 w 1466597"/>
                <a:gd name="connsiteY653" fmla="*/ 641525 h 790366"/>
                <a:gd name="connsiteX654" fmla="*/ 1381014 w 1466597"/>
                <a:gd name="connsiteY654" fmla="*/ 640160 h 790366"/>
                <a:gd name="connsiteX655" fmla="*/ 1377602 w 1466597"/>
                <a:gd name="connsiteY655" fmla="*/ 639913 h 790366"/>
                <a:gd name="connsiteX656" fmla="*/ 1376312 w 1466597"/>
                <a:gd name="connsiteY656" fmla="*/ 640082 h 790366"/>
                <a:gd name="connsiteX657" fmla="*/ 1374088 w 1466597"/>
                <a:gd name="connsiteY657" fmla="*/ 638019 h 790366"/>
                <a:gd name="connsiteX658" fmla="*/ 1373075 w 1466597"/>
                <a:gd name="connsiteY658" fmla="*/ 636715 h 790366"/>
                <a:gd name="connsiteX659" fmla="*/ 1373477 w 1466597"/>
                <a:gd name="connsiteY659" fmla="*/ 636046 h 790366"/>
                <a:gd name="connsiteX660" fmla="*/ 1375527 w 1466597"/>
                <a:gd name="connsiteY660" fmla="*/ 634873 h 790366"/>
                <a:gd name="connsiteX661" fmla="*/ 1376724 w 1466597"/>
                <a:gd name="connsiteY661" fmla="*/ 635038 h 790366"/>
                <a:gd name="connsiteX662" fmla="*/ 1379025 w 1466597"/>
                <a:gd name="connsiteY662" fmla="*/ 636290 h 790366"/>
                <a:gd name="connsiteX663" fmla="*/ 1379924 w 1466597"/>
                <a:gd name="connsiteY663" fmla="*/ 636242 h 790366"/>
                <a:gd name="connsiteX664" fmla="*/ 1382210 w 1466597"/>
                <a:gd name="connsiteY664" fmla="*/ 634583 h 790366"/>
                <a:gd name="connsiteX665" fmla="*/ 1382557 w 1466597"/>
                <a:gd name="connsiteY665" fmla="*/ 633080 h 790366"/>
                <a:gd name="connsiteX666" fmla="*/ 1384265 w 1466597"/>
                <a:gd name="connsiteY666" fmla="*/ 631848 h 790366"/>
                <a:gd name="connsiteX667" fmla="*/ 1383995 w 1466597"/>
                <a:gd name="connsiteY667" fmla="*/ 630546 h 790366"/>
                <a:gd name="connsiteX668" fmla="*/ 1383049 w 1466597"/>
                <a:gd name="connsiteY668" fmla="*/ 628331 h 790366"/>
                <a:gd name="connsiteX669" fmla="*/ 1380955 w 1466597"/>
                <a:gd name="connsiteY669" fmla="*/ 627712 h 790366"/>
                <a:gd name="connsiteX670" fmla="*/ 1376686 w 1466597"/>
                <a:gd name="connsiteY670" fmla="*/ 629029 h 790366"/>
                <a:gd name="connsiteX671" fmla="*/ 1372971 w 1466597"/>
                <a:gd name="connsiteY671" fmla="*/ 631059 h 790366"/>
                <a:gd name="connsiteX672" fmla="*/ 1371485 w 1466597"/>
                <a:gd name="connsiteY672" fmla="*/ 630267 h 790366"/>
                <a:gd name="connsiteX673" fmla="*/ 1371162 w 1466597"/>
                <a:gd name="connsiteY673" fmla="*/ 629022 h 790366"/>
                <a:gd name="connsiteX674" fmla="*/ 1375141 w 1466597"/>
                <a:gd name="connsiteY674" fmla="*/ 625634 h 790366"/>
                <a:gd name="connsiteX675" fmla="*/ 1376885 w 1466597"/>
                <a:gd name="connsiteY675" fmla="*/ 623761 h 790366"/>
                <a:gd name="connsiteX676" fmla="*/ 1376547 w 1466597"/>
                <a:gd name="connsiteY676" fmla="*/ 622649 h 790366"/>
                <a:gd name="connsiteX677" fmla="*/ 1375262 w 1466597"/>
                <a:gd name="connsiteY677" fmla="*/ 621213 h 790366"/>
                <a:gd name="connsiteX678" fmla="*/ 1375155 w 1466597"/>
                <a:gd name="connsiteY678" fmla="*/ 617607 h 790366"/>
                <a:gd name="connsiteX679" fmla="*/ 1392925 w 1466597"/>
                <a:gd name="connsiteY679" fmla="*/ 612637 h 790366"/>
                <a:gd name="connsiteX680" fmla="*/ 1397926 w 1466597"/>
                <a:gd name="connsiteY680" fmla="*/ 612829 h 790366"/>
                <a:gd name="connsiteX681" fmla="*/ 1399525 w 1466597"/>
                <a:gd name="connsiteY681" fmla="*/ 613311 h 790366"/>
                <a:gd name="connsiteX682" fmla="*/ 1399889 w 1466597"/>
                <a:gd name="connsiteY682" fmla="*/ 614150 h 790366"/>
                <a:gd name="connsiteX683" fmla="*/ 1399807 w 1466597"/>
                <a:gd name="connsiteY683" fmla="*/ 615006 h 790366"/>
                <a:gd name="connsiteX684" fmla="*/ 1399284 w 1466597"/>
                <a:gd name="connsiteY684" fmla="*/ 615870 h 790366"/>
                <a:gd name="connsiteX685" fmla="*/ 1399162 w 1466597"/>
                <a:gd name="connsiteY685" fmla="*/ 616775 h 790366"/>
                <a:gd name="connsiteX686" fmla="*/ 1399443 w 1466597"/>
                <a:gd name="connsiteY686" fmla="*/ 617719 h 790366"/>
                <a:gd name="connsiteX687" fmla="*/ 1398861 w 1466597"/>
                <a:gd name="connsiteY687" fmla="*/ 618653 h 790366"/>
                <a:gd name="connsiteX688" fmla="*/ 1396042 w 1466597"/>
                <a:gd name="connsiteY688" fmla="*/ 620097 h 790366"/>
                <a:gd name="connsiteX689" fmla="*/ 1394739 w 1466597"/>
                <a:gd name="connsiteY689" fmla="*/ 620211 h 790366"/>
                <a:gd name="connsiteX690" fmla="*/ 1393196 w 1466597"/>
                <a:gd name="connsiteY690" fmla="*/ 619660 h 790366"/>
                <a:gd name="connsiteX691" fmla="*/ 1389533 w 1466597"/>
                <a:gd name="connsiteY691" fmla="*/ 616716 h 790366"/>
                <a:gd name="connsiteX692" fmla="*/ 1389467 w 1466597"/>
                <a:gd name="connsiteY692" fmla="*/ 615853 h 790366"/>
                <a:gd name="connsiteX693" fmla="*/ 1389992 w 1466597"/>
                <a:gd name="connsiteY693" fmla="*/ 614872 h 790366"/>
                <a:gd name="connsiteX694" fmla="*/ 1392071 w 1466597"/>
                <a:gd name="connsiteY694" fmla="*/ 613071 h 790366"/>
                <a:gd name="connsiteX695" fmla="*/ 1406248 w 1466597"/>
                <a:gd name="connsiteY695" fmla="*/ 611009 h 790366"/>
                <a:gd name="connsiteX696" fmla="*/ 1407863 w 1466597"/>
                <a:gd name="connsiteY696" fmla="*/ 611417 h 790366"/>
                <a:gd name="connsiteX697" fmla="*/ 1410692 w 1466597"/>
                <a:gd name="connsiteY697" fmla="*/ 615019 h 790366"/>
                <a:gd name="connsiteX698" fmla="*/ 1414231 w 1466597"/>
                <a:gd name="connsiteY698" fmla="*/ 620207 h 790366"/>
                <a:gd name="connsiteX699" fmla="*/ 1413071 w 1466597"/>
                <a:gd name="connsiteY699" fmla="*/ 625067 h 790366"/>
                <a:gd name="connsiteX700" fmla="*/ 1412545 w 1466597"/>
                <a:gd name="connsiteY700" fmla="*/ 631041 h 790366"/>
                <a:gd name="connsiteX701" fmla="*/ 1411535 w 1466597"/>
                <a:gd name="connsiteY701" fmla="*/ 630705 h 790366"/>
                <a:gd name="connsiteX702" fmla="*/ 1410572 w 1466597"/>
                <a:gd name="connsiteY702" fmla="*/ 630692 h 790366"/>
                <a:gd name="connsiteX703" fmla="*/ 1408608 w 1466597"/>
                <a:gd name="connsiteY703" fmla="*/ 631540 h 790366"/>
                <a:gd name="connsiteX704" fmla="*/ 1406534 w 1466597"/>
                <a:gd name="connsiteY704" fmla="*/ 631167 h 790366"/>
                <a:gd name="connsiteX705" fmla="*/ 1405566 w 1466597"/>
                <a:gd name="connsiteY705" fmla="*/ 630505 h 790366"/>
                <a:gd name="connsiteX706" fmla="*/ 1405207 w 1466597"/>
                <a:gd name="connsiteY706" fmla="*/ 629738 h 790366"/>
                <a:gd name="connsiteX707" fmla="*/ 1405579 w 1466597"/>
                <a:gd name="connsiteY707" fmla="*/ 627965 h 790366"/>
                <a:gd name="connsiteX708" fmla="*/ 1404428 w 1466597"/>
                <a:gd name="connsiteY708" fmla="*/ 626976 h 790366"/>
                <a:gd name="connsiteX709" fmla="*/ 1400554 w 1466597"/>
                <a:gd name="connsiteY709" fmla="*/ 626614 h 790366"/>
                <a:gd name="connsiteX710" fmla="*/ 1399103 w 1466597"/>
                <a:gd name="connsiteY710" fmla="*/ 626190 h 790366"/>
                <a:gd name="connsiteX711" fmla="*/ 1398301 w 1466597"/>
                <a:gd name="connsiteY711" fmla="*/ 624322 h 790366"/>
                <a:gd name="connsiteX712" fmla="*/ 1398106 w 1466597"/>
                <a:gd name="connsiteY712" fmla="*/ 621868 h 790366"/>
                <a:gd name="connsiteX713" fmla="*/ 1398712 w 1466597"/>
                <a:gd name="connsiteY713" fmla="*/ 620950 h 790366"/>
                <a:gd name="connsiteX714" fmla="*/ 1400663 w 1466597"/>
                <a:gd name="connsiteY714" fmla="*/ 620299 h 790366"/>
                <a:gd name="connsiteX715" fmla="*/ 1402187 w 1466597"/>
                <a:gd name="connsiteY715" fmla="*/ 617323 h 790366"/>
                <a:gd name="connsiteX716" fmla="*/ 1403030 w 1466597"/>
                <a:gd name="connsiteY716" fmla="*/ 616922 h 790366"/>
                <a:gd name="connsiteX717" fmla="*/ 841515 w 1466597"/>
                <a:gd name="connsiteY717" fmla="*/ 607322 h 790366"/>
                <a:gd name="connsiteX718" fmla="*/ 842897 w 1466597"/>
                <a:gd name="connsiteY718" fmla="*/ 607407 h 790366"/>
                <a:gd name="connsiteX719" fmla="*/ 843369 w 1466597"/>
                <a:gd name="connsiteY719" fmla="*/ 608313 h 790366"/>
                <a:gd name="connsiteX720" fmla="*/ 841677 w 1466597"/>
                <a:gd name="connsiteY720" fmla="*/ 610189 h 790366"/>
                <a:gd name="connsiteX721" fmla="*/ 837298 w 1466597"/>
                <a:gd name="connsiteY721" fmla="*/ 613288 h 790366"/>
                <a:gd name="connsiteX722" fmla="*/ 835554 w 1466597"/>
                <a:gd name="connsiteY722" fmla="*/ 614143 h 790366"/>
                <a:gd name="connsiteX723" fmla="*/ 834974 w 1466597"/>
                <a:gd name="connsiteY723" fmla="*/ 613850 h 790366"/>
                <a:gd name="connsiteX724" fmla="*/ 834893 w 1466597"/>
                <a:gd name="connsiteY724" fmla="*/ 613139 h 790366"/>
                <a:gd name="connsiteX725" fmla="*/ 835305 w 1466597"/>
                <a:gd name="connsiteY725" fmla="*/ 612009 h 790366"/>
                <a:gd name="connsiteX726" fmla="*/ 836112 w 1466597"/>
                <a:gd name="connsiteY726" fmla="*/ 610886 h 790366"/>
                <a:gd name="connsiteX727" fmla="*/ 838806 w 1466597"/>
                <a:gd name="connsiteY727" fmla="*/ 608743 h 790366"/>
                <a:gd name="connsiteX728" fmla="*/ 849187 w 1466597"/>
                <a:gd name="connsiteY728" fmla="*/ 607025 h 790366"/>
                <a:gd name="connsiteX729" fmla="*/ 851900 w 1466597"/>
                <a:gd name="connsiteY729" fmla="*/ 607235 h 790366"/>
                <a:gd name="connsiteX730" fmla="*/ 852109 w 1466597"/>
                <a:gd name="connsiteY730" fmla="*/ 608006 h 790366"/>
                <a:gd name="connsiteX731" fmla="*/ 851983 w 1466597"/>
                <a:gd name="connsiteY731" fmla="*/ 608871 h 790366"/>
                <a:gd name="connsiteX732" fmla="*/ 851758 w 1466597"/>
                <a:gd name="connsiteY732" fmla="*/ 609375 h 790366"/>
                <a:gd name="connsiteX733" fmla="*/ 850894 w 1466597"/>
                <a:gd name="connsiteY733" fmla="*/ 609893 h 790366"/>
                <a:gd name="connsiteX734" fmla="*/ 849393 w 1466597"/>
                <a:gd name="connsiteY734" fmla="*/ 610425 h 790366"/>
                <a:gd name="connsiteX735" fmla="*/ 848140 w 1466597"/>
                <a:gd name="connsiteY735" fmla="*/ 610505 h 790366"/>
                <a:gd name="connsiteX736" fmla="*/ 846244 w 1466597"/>
                <a:gd name="connsiteY736" fmla="*/ 609551 h 790366"/>
                <a:gd name="connsiteX737" fmla="*/ 846497 w 1466597"/>
                <a:gd name="connsiteY737" fmla="*/ 608407 h 790366"/>
                <a:gd name="connsiteX738" fmla="*/ 452801 w 1466597"/>
                <a:gd name="connsiteY738" fmla="*/ 606071 h 790366"/>
                <a:gd name="connsiteX739" fmla="*/ 456150 w 1466597"/>
                <a:gd name="connsiteY739" fmla="*/ 606793 h 790366"/>
                <a:gd name="connsiteX740" fmla="*/ 458024 w 1466597"/>
                <a:gd name="connsiteY740" fmla="*/ 606321 h 790366"/>
                <a:gd name="connsiteX741" fmla="*/ 459677 w 1466597"/>
                <a:gd name="connsiteY741" fmla="*/ 606699 h 790366"/>
                <a:gd name="connsiteX742" fmla="*/ 459967 w 1466597"/>
                <a:gd name="connsiteY742" fmla="*/ 607558 h 790366"/>
                <a:gd name="connsiteX743" fmla="*/ 457097 w 1466597"/>
                <a:gd name="connsiteY743" fmla="*/ 609428 h 790366"/>
                <a:gd name="connsiteX744" fmla="*/ 455929 w 1466597"/>
                <a:gd name="connsiteY744" fmla="*/ 609309 h 790366"/>
                <a:gd name="connsiteX745" fmla="*/ 452522 w 1466597"/>
                <a:gd name="connsiteY745" fmla="*/ 607053 h 790366"/>
                <a:gd name="connsiteX746" fmla="*/ 1394444 w 1466597"/>
                <a:gd name="connsiteY746" fmla="*/ 600270 h 790366"/>
                <a:gd name="connsiteX747" fmla="*/ 1399206 w 1466597"/>
                <a:gd name="connsiteY747" fmla="*/ 604268 h 790366"/>
                <a:gd name="connsiteX748" fmla="*/ 1400664 w 1466597"/>
                <a:gd name="connsiteY748" fmla="*/ 606045 h 790366"/>
                <a:gd name="connsiteX749" fmla="*/ 1401449 w 1466597"/>
                <a:gd name="connsiteY749" fmla="*/ 608217 h 790366"/>
                <a:gd name="connsiteX750" fmla="*/ 1399758 w 1466597"/>
                <a:gd name="connsiteY750" fmla="*/ 609027 h 790366"/>
                <a:gd name="connsiteX751" fmla="*/ 1397712 w 1466597"/>
                <a:gd name="connsiteY751" fmla="*/ 609424 h 790366"/>
                <a:gd name="connsiteX752" fmla="*/ 1396884 w 1466597"/>
                <a:gd name="connsiteY752" fmla="*/ 610034 h 790366"/>
                <a:gd name="connsiteX753" fmla="*/ 1396611 w 1466597"/>
                <a:gd name="connsiteY753" fmla="*/ 610564 h 790366"/>
                <a:gd name="connsiteX754" fmla="*/ 1393367 w 1466597"/>
                <a:gd name="connsiteY754" fmla="*/ 610513 h 790366"/>
                <a:gd name="connsiteX755" fmla="*/ 1392192 w 1466597"/>
                <a:gd name="connsiteY755" fmla="*/ 610078 h 790366"/>
                <a:gd name="connsiteX756" fmla="*/ 1391752 w 1466597"/>
                <a:gd name="connsiteY756" fmla="*/ 608529 h 790366"/>
                <a:gd name="connsiteX757" fmla="*/ 1392053 w 1466597"/>
                <a:gd name="connsiteY757" fmla="*/ 607094 h 790366"/>
                <a:gd name="connsiteX758" fmla="*/ 1392812 w 1466597"/>
                <a:gd name="connsiteY758" fmla="*/ 605985 h 790366"/>
                <a:gd name="connsiteX759" fmla="*/ 1393727 w 1466597"/>
                <a:gd name="connsiteY759" fmla="*/ 603843 h 790366"/>
                <a:gd name="connsiteX760" fmla="*/ 1361262 w 1466597"/>
                <a:gd name="connsiteY760" fmla="*/ 595265 h 790366"/>
                <a:gd name="connsiteX761" fmla="*/ 1363596 w 1466597"/>
                <a:gd name="connsiteY761" fmla="*/ 596505 h 790366"/>
                <a:gd name="connsiteX762" fmla="*/ 1364902 w 1466597"/>
                <a:gd name="connsiteY762" fmla="*/ 597564 h 790366"/>
                <a:gd name="connsiteX763" fmla="*/ 1365182 w 1466597"/>
                <a:gd name="connsiteY763" fmla="*/ 598445 h 790366"/>
                <a:gd name="connsiteX764" fmla="*/ 1366835 w 1466597"/>
                <a:gd name="connsiteY764" fmla="*/ 600965 h 790366"/>
                <a:gd name="connsiteX765" fmla="*/ 1369232 w 1466597"/>
                <a:gd name="connsiteY765" fmla="*/ 600761 h 790366"/>
                <a:gd name="connsiteX766" fmla="*/ 1370577 w 1466597"/>
                <a:gd name="connsiteY766" fmla="*/ 602664 h 790366"/>
                <a:gd name="connsiteX767" fmla="*/ 1371591 w 1466597"/>
                <a:gd name="connsiteY767" fmla="*/ 605512 h 790366"/>
                <a:gd name="connsiteX768" fmla="*/ 1370854 w 1466597"/>
                <a:gd name="connsiteY768" fmla="*/ 607337 h 790366"/>
                <a:gd name="connsiteX769" fmla="*/ 1369789 w 1466597"/>
                <a:gd name="connsiteY769" fmla="*/ 606931 h 790366"/>
                <a:gd name="connsiteX770" fmla="*/ 1368608 w 1466597"/>
                <a:gd name="connsiteY770" fmla="*/ 607988 h 790366"/>
                <a:gd name="connsiteX771" fmla="*/ 1367887 w 1466597"/>
                <a:gd name="connsiteY771" fmla="*/ 611489 h 790366"/>
                <a:gd name="connsiteX772" fmla="*/ 1368222 w 1466597"/>
                <a:gd name="connsiteY772" fmla="*/ 614993 h 790366"/>
                <a:gd name="connsiteX773" fmla="*/ 1367861 w 1466597"/>
                <a:gd name="connsiteY773" fmla="*/ 618479 h 790366"/>
                <a:gd name="connsiteX774" fmla="*/ 1366486 w 1466597"/>
                <a:gd name="connsiteY774" fmla="*/ 622032 h 790366"/>
                <a:gd name="connsiteX775" fmla="*/ 1366200 w 1466597"/>
                <a:gd name="connsiteY775" fmla="*/ 624407 h 790366"/>
                <a:gd name="connsiteX776" fmla="*/ 1365662 w 1466597"/>
                <a:gd name="connsiteY776" fmla="*/ 625121 h 790366"/>
                <a:gd name="connsiteX777" fmla="*/ 1365071 w 1466597"/>
                <a:gd name="connsiteY777" fmla="*/ 625365 h 790366"/>
                <a:gd name="connsiteX778" fmla="*/ 1364304 w 1466597"/>
                <a:gd name="connsiteY778" fmla="*/ 624721 h 790366"/>
                <a:gd name="connsiteX779" fmla="*/ 1363195 w 1466597"/>
                <a:gd name="connsiteY779" fmla="*/ 624217 h 790366"/>
                <a:gd name="connsiteX780" fmla="*/ 1361795 w 1466597"/>
                <a:gd name="connsiteY780" fmla="*/ 626219 h 790366"/>
                <a:gd name="connsiteX781" fmla="*/ 1360080 w 1466597"/>
                <a:gd name="connsiteY781" fmla="*/ 626235 h 790366"/>
                <a:gd name="connsiteX782" fmla="*/ 1358665 w 1466597"/>
                <a:gd name="connsiteY782" fmla="*/ 621685 h 790366"/>
                <a:gd name="connsiteX783" fmla="*/ 1359931 w 1466597"/>
                <a:gd name="connsiteY783" fmla="*/ 614094 h 790366"/>
                <a:gd name="connsiteX784" fmla="*/ 1362764 w 1466597"/>
                <a:gd name="connsiteY784" fmla="*/ 612545 h 790366"/>
                <a:gd name="connsiteX785" fmla="*/ 1361079 w 1466597"/>
                <a:gd name="connsiteY785" fmla="*/ 610477 h 790366"/>
                <a:gd name="connsiteX786" fmla="*/ 1357512 w 1466597"/>
                <a:gd name="connsiteY786" fmla="*/ 608066 h 790366"/>
                <a:gd name="connsiteX787" fmla="*/ 1357816 w 1466597"/>
                <a:gd name="connsiteY787" fmla="*/ 606722 h 790366"/>
                <a:gd name="connsiteX788" fmla="*/ 1355110 w 1466597"/>
                <a:gd name="connsiteY788" fmla="*/ 602842 h 790366"/>
                <a:gd name="connsiteX789" fmla="*/ 1354953 w 1466597"/>
                <a:gd name="connsiteY789" fmla="*/ 601918 h 790366"/>
                <a:gd name="connsiteX790" fmla="*/ 1355384 w 1466597"/>
                <a:gd name="connsiteY790" fmla="*/ 598673 h 790366"/>
                <a:gd name="connsiteX791" fmla="*/ 1357917 w 1466597"/>
                <a:gd name="connsiteY791" fmla="*/ 595780 h 790366"/>
                <a:gd name="connsiteX792" fmla="*/ 1368336 w 1466597"/>
                <a:gd name="connsiteY792" fmla="*/ 590292 h 790366"/>
                <a:gd name="connsiteX793" fmla="*/ 1372373 w 1466597"/>
                <a:gd name="connsiteY793" fmla="*/ 590506 h 790366"/>
                <a:gd name="connsiteX794" fmla="*/ 1381085 w 1466597"/>
                <a:gd name="connsiteY794" fmla="*/ 592670 h 790366"/>
                <a:gd name="connsiteX795" fmla="*/ 1382781 w 1466597"/>
                <a:gd name="connsiteY795" fmla="*/ 593813 h 790366"/>
                <a:gd name="connsiteX796" fmla="*/ 1383704 w 1466597"/>
                <a:gd name="connsiteY796" fmla="*/ 592616 h 790366"/>
                <a:gd name="connsiteX797" fmla="*/ 1385426 w 1466597"/>
                <a:gd name="connsiteY797" fmla="*/ 592672 h 790366"/>
                <a:gd name="connsiteX798" fmla="*/ 1388622 w 1466597"/>
                <a:gd name="connsiteY798" fmla="*/ 593737 h 790366"/>
                <a:gd name="connsiteX799" fmla="*/ 1390523 w 1466597"/>
                <a:gd name="connsiteY799" fmla="*/ 595334 h 790366"/>
                <a:gd name="connsiteX800" fmla="*/ 1391596 w 1466597"/>
                <a:gd name="connsiteY800" fmla="*/ 597159 h 790366"/>
                <a:gd name="connsiteX801" fmla="*/ 1391688 w 1466597"/>
                <a:gd name="connsiteY801" fmla="*/ 598245 h 790366"/>
                <a:gd name="connsiteX802" fmla="*/ 1391362 w 1466597"/>
                <a:gd name="connsiteY802" fmla="*/ 600714 h 790366"/>
                <a:gd name="connsiteX803" fmla="*/ 1391600 w 1466597"/>
                <a:gd name="connsiteY803" fmla="*/ 603238 h 790366"/>
                <a:gd name="connsiteX804" fmla="*/ 1391469 w 1466597"/>
                <a:gd name="connsiteY804" fmla="*/ 604547 h 790366"/>
                <a:gd name="connsiteX805" fmla="*/ 1391043 w 1466597"/>
                <a:gd name="connsiteY805" fmla="*/ 605627 h 790366"/>
                <a:gd name="connsiteX806" fmla="*/ 1390322 w 1466597"/>
                <a:gd name="connsiteY806" fmla="*/ 606481 h 790366"/>
                <a:gd name="connsiteX807" fmla="*/ 1389536 w 1466597"/>
                <a:gd name="connsiteY807" fmla="*/ 606588 h 790366"/>
                <a:gd name="connsiteX808" fmla="*/ 1387050 w 1466597"/>
                <a:gd name="connsiteY808" fmla="*/ 604321 h 790366"/>
                <a:gd name="connsiteX809" fmla="*/ 1384203 w 1466597"/>
                <a:gd name="connsiteY809" fmla="*/ 600231 h 790366"/>
                <a:gd name="connsiteX810" fmla="*/ 1382035 w 1466597"/>
                <a:gd name="connsiteY810" fmla="*/ 598987 h 790366"/>
                <a:gd name="connsiteX811" fmla="*/ 1381947 w 1466597"/>
                <a:gd name="connsiteY811" fmla="*/ 599407 h 790366"/>
                <a:gd name="connsiteX812" fmla="*/ 1382543 w 1466597"/>
                <a:gd name="connsiteY812" fmla="*/ 600580 h 790366"/>
                <a:gd name="connsiteX813" fmla="*/ 1384313 w 1466597"/>
                <a:gd name="connsiteY813" fmla="*/ 602780 h 790366"/>
                <a:gd name="connsiteX814" fmla="*/ 1384629 w 1466597"/>
                <a:gd name="connsiteY814" fmla="*/ 604103 h 790366"/>
                <a:gd name="connsiteX815" fmla="*/ 1385874 w 1466597"/>
                <a:gd name="connsiteY815" fmla="*/ 605715 h 790366"/>
                <a:gd name="connsiteX816" fmla="*/ 1386431 w 1466597"/>
                <a:gd name="connsiteY816" fmla="*/ 606938 h 790366"/>
                <a:gd name="connsiteX817" fmla="*/ 1386747 w 1466597"/>
                <a:gd name="connsiteY817" fmla="*/ 608542 h 790366"/>
                <a:gd name="connsiteX818" fmla="*/ 1386735 w 1466597"/>
                <a:gd name="connsiteY818" fmla="*/ 609942 h 790366"/>
                <a:gd name="connsiteX819" fmla="*/ 1386392 w 1466597"/>
                <a:gd name="connsiteY819" fmla="*/ 611138 h 790366"/>
                <a:gd name="connsiteX820" fmla="*/ 1385815 w 1466597"/>
                <a:gd name="connsiteY820" fmla="*/ 611905 h 790366"/>
                <a:gd name="connsiteX821" fmla="*/ 1385002 w 1466597"/>
                <a:gd name="connsiteY821" fmla="*/ 612245 h 790366"/>
                <a:gd name="connsiteX822" fmla="*/ 1380664 w 1466597"/>
                <a:gd name="connsiteY822" fmla="*/ 611909 h 790366"/>
                <a:gd name="connsiteX823" fmla="*/ 1378076 w 1466597"/>
                <a:gd name="connsiteY823" fmla="*/ 612710 h 790366"/>
                <a:gd name="connsiteX824" fmla="*/ 1375050 w 1466597"/>
                <a:gd name="connsiteY824" fmla="*/ 612263 h 790366"/>
                <a:gd name="connsiteX825" fmla="*/ 1374321 w 1466597"/>
                <a:gd name="connsiteY825" fmla="*/ 611542 h 790366"/>
                <a:gd name="connsiteX826" fmla="*/ 1373865 w 1466597"/>
                <a:gd name="connsiteY826" fmla="*/ 610356 h 790366"/>
                <a:gd name="connsiteX827" fmla="*/ 1373634 w 1466597"/>
                <a:gd name="connsiteY827" fmla="*/ 607475 h 790366"/>
                <a:gd name="connsiteX828" fmla="*/ 1372872 w 1466597"/>
                <a:gd name="connsiteY828" fmla="*/ 603349 h 790366"/>
                <a:gd name="connsiteX829" fmla="*/ 1373056 w 1466597"/>
                <a:gd name="connsiteY829" fmla="*/ 600170 h 790366"/>
                <a:gd name="connsiteX830" fmla="*/ 1371103 w 1466597"/>
                <a:gd name="connsiteY830" fmla="*/ 597291 h 790366"/>
                <a:gd name="connsiteX831" fmla="*/ 1369431 w 1466597"/>
                <a:gd name="connsiteY831" fmla="*/ 595554 h 790366"/>
                <a:gd name="connsiteX832" fmla="*/ 1367026 w 1466597"/>
                <a:gd name="connsiteY832" fmla="*/ 593998 h 790366"/>
                <a:gd name="connsiteX833" fmla="*/ 1365442 w 1466597"/>
                <a:gd name="connsiteY833" fmla="*/ 592449 h 790366"/>
                <a:gd name="connsiteX834" fmla="*/ 1365877 w 1466597"/>
                <a:gd name="connsiteY834" fmla="*/ 591213 h 790366"/>
                <a:gd name="connsiteX835" fmla="*/ 872952 w 1466597"/>
                <a:gd name="connsiteY835" fmla="*/ 586043 h 790366"/>
                <a:gd name="connsiteX836" fmla="*/ 881874 w 1466597"/>
                <a:gd name="connsiteY836" fmla="*/ 586690 h 790366"/>
                <a:gd name="connsiteX837" fmla="*/ 882565 w 1466597"/>
                <a:gd name="connsiteY837" fmla="*/ 587234 h 790366"/>
                <a:gd name="connsiteX838" fmla="*/ 882581 w 1466597"/>
                <a:gd name="connsiteY838" fmla="*/ 587698 h 790366"/>
                <a:gd name="connsiteX839" fmla="*/ 881925 w 1466597"/>
                <a:gd name="connsiteY839" fmla="*/ 588081 h 790366"/>
                <a:gd name="connsiteX840" fmla="*/ 880046 w 1466597"/>
                <a:gd name="connsiteY840" fmla="*/ 588241 h 790366"/>
                <a:gd name="connsiteX841" fmla="*/ 876803 w 1466597"/>
                <a:gd name="connsiteY841" fmla="*/ 589421 h 790366"/>
                <a:gd name="connsiteX842" fmla="*/ 876226 w 1466597"/>
                <a:gd name="connsiteY842" fmla="*/ 589371 h 790366"/>
                <a:gd name="connsiteX843" fmla="*/ 874223 w 1466597"/>
                <a:gd name="connsiteY843" fmla="*/ 591755 h 790366"/>
                <a:gd name="connsiteX844" fmla="*/ 872692 w 1466597"/>
                <a:gd name="connsiteY844" fmla="*/ 592783 h 790366"/>
                <a:gd name="connsiteX845" fmla="*/ 870671 w 1466597"/>
                <a:gd name="connsiteY845" fmla="*/ 590905 h 790366"/>
                <a:gd name="connsiteX846" fmla="*/ 871188 w 1466597"/>
                <a:gd name="connsiteY846" fmla="*/ 587984 h 790366"/>
                <a:gd name="connsiteX847" fmla="*/ 443594 w 1466597"/>
                <a:gd name="connsiteY847" fmla="*/ 583968 h 790366"/>
                <a:gd name="connsiteX848" fmla="*/ 442462 w 1466597"/>
                <a:gd name="connsiteY848" fmla="*/ 586083 h 790366"/>
                <a:gd name="connsiteX849" fmla="*/ 439822 w 1466597"/>
                <a:gd name="connsiteY849" fmla="*/ 587807 h 790366"/>
                <a:gd name="connsiteX850" fmla="*/ 437424 w 1466597"/>
                <a:gd name="connsiteY850" fmla="*/ 587170 h 790366"/>
                <a:gd name="connsiteX851" fmla="*/ 436712 w 1466597"/>
                <a:gd name="connsiteY851" fmla="*/ 585913 h 790366"/>
                <a:gd name="connsiteX852" fmla="*/ 436694 w 1466597"/>
                <a:gd name="connsiteY852" fmla="*/ 585385 h 790366"/>
                <a:gd name="connsiteX853" fmla="*/ 1327962 w 1466597"/>
                <a:gd name="connsiteY853" fmla="*/ 573241 h 790366"/>
                <a:gd name="connsiteX854" fmla="*/ 1330574 w 1466597"/>
                <a:gd name="connsiteY854" fmla="*/ 573287 h 790366"/>
                <a:gd name="connsiteX855" fmla="*/ 1336074 w 1466597"/>
                <a:gd name="connsiteY855" fmla="*/ 577013 h 790366"/>
                <a:gd name="connsiteX856" fmla="*/ 1337744 w 1466597"/>
                <a:gd name="connsiteY856" fmla="*/ 577560 h 790366"/>
                <a:gd name="connsiteX857" fmla="*/ 1340179 w 1466597"/>
                <a:gd name="connsiteY857" fmla="*/ 579955 h 790366"/>
                <a:gd name="connsiteX858" fmla="*/ 1342345 w 1466597"/>
                <a:gd name="connsiteY858" fmla="*/ 583972 h 790366"/>
                <a:gd name="connsiteX859" fmla="*/ 1343918 w 1466597"/>
                <a:gd name="connsiteY859" fmla="*/ 587085 h 790366"/>
                <a:gd name="connsiteX860" fmla="*/ 1345313 w 1466597"/>
                <a:gd name="connsiteY860" fmla="*/ 590822 h 790366"/>
                <a:gd name="connsiteX861" fmla="*/ 1347652 w 1466597"/>
                <a:gd name="connsiteY861" fmla="*/ 598543 h 790366"/>
                <a:gd name="connsiteX862" fmla="*/ 1348741 w 1466597"/>
                <a:gd name="connsiteY862" fmla="*/ 601459 h 790366"/>
                <a:gd name="connsiteX863" fmla="*/ 1349083 w 1466597"/>
                <a:gd name="connsiteY863" fmla="*/ 603049 h 790366"/>
                <a:gd name="connsiteX864" fmla="*/ 1349342 w 1466597"/>
                <a:gd name="connsiteY864" fmla="*/ 607218 h 790366"/>
                <a:gd name="connsiteX865" fmla="*/ 1348991 w 1466597"/>
                <a:gd name="connsiteY865" fmla="*/ 608113 h 790366"/>
                <a:gd name="connsiteX866" fmla="*/ 1348293 w 1466597"/>
                <a:gd name="connsiteY866" fmla="*/ 608934 h 790366"/>
                <a:gd name="connsiteX867" fmla="*/ 1348156 w 1466597"/>
                <a:gd name="connsiteY867" fmla="*/ 610122 h 790366"/>
                <a:gd name="connsiteX868" fmla="*/ 1348803 w 1466597"/>
                <a:gd name="connsiteY868" fmla="*/ 613293 h 790366"/>
                <a:gd name="connsiteX869" fmla="*/ 1348846 w 1466597"/>
                <a:gd name="connsiteY869" fmla="*/ 618107 h 790366"/>
                <a:gd name="connsiteX870" fmla="*/ 1348234 w 1466597"/>
                <a:gd name="connsiteY870" fmla="*/ 620812 h 790366"/>
                <a:gd name="connsiteX871" fmla="*/ 1347522 w 1466597"/>
                <a:gd name="connsiteY871" fmla="*/ 621220 h 790366"/>
                <a:gd name="connsiteX872" fmla="*/ 1345778 w 1466597"/>
                <a:gd name="connsiteY872" fmla="*/ 620333 h 790366"/>
                <a:gd name="connsiteX873" fmla="*/ 1344345 w 1466597"/>
                <a:gd name="connsiteY873" fmla="*/ 618872 h 790366"/>
                <a:gd name="connsiteX874" fmla="*/ 1343285 w 1466597"/>
                <a:gd name="connsiteY874" fmla="*/ 617347 h 790366"/>
                <a:gd name="connsiteX875" fmla="*/ 1340679 w 1466597"/>
                <a:gd name="connsiteY875" fmla="*/ 612527 h 790366"/>
                <a:gd name="connsiteX876" fmla="*/ 1339903 w 1466597"/>
                <a:gd name="connsiteY876" fmla="*/ 610278 h 790366"/>
                <a:gd name="connsiteX877" fmla="*/ 1339856 w 1466597"/>
                <a:gd name="connsiteY877" fmla="*/ 608659 h 790366"/>
                <a:gd name="connsiteX878" fmla="*/ 1340259 w 1466597"/>
                <a:gd name="connsiteY878" fmla="*/ 607482 h 790366"/>
                <a:gd name="connsiteX879" fmla="*/ 1341111 w 1466597"/>
                <a:gd name="connsiteY879" fmla="*/ 606748 h 790366"/>
                <a:gd name="connsiteX880" fmla="*/ 1342594 w 1466597"/>
                <a:gd name="connsiteY880" fmla="*/ 604786 h 790366"/>
                <a:gd name="connsiteX881" fmla="*/ 1342380 w 1466597"/>
                <a:gd name="connsiteY881" fmla="*/ 604474 h 790366"/>
                <a:gd name="connsiteX882" fmla="*/ 1341254 w 1466597"/>
                <a:gd name="connsiteY882" fmla="*/ 604912 h 790366"/>
                <a:gd name="connsiteX883" fmla="*/ 1338952 w 1466597"/>
                <a:gd name="connsiteY883" fmla="*/ 605159 h 790366"/>
                <a:gd name="connsiteX884" fmla="*/ 1336929 w 1466597"/>
                <a:gd name="connsiteY884" fmla="*/ 603611 h 790366"/>
                <a:gd name="connsiteX885" fmla="*/ 1335351 w 1466597"/>
                <a:gd name="connsiteY885" fmla="*/ 602792 h 790366"/>
                <a:gd name="connsiteX886" fmla="*/ 1335669 w 1466597"/>
                <a:gd name="connsiteY886" fmla="*/ 599995 h 790366"/>
                <a:gd name="connsiteX887" fmla="*/ 1335246 w 1466597"/>
                <a:gd name="connsiteY887" fmla="*/ 599203 h 790366"/>
                <a:gd name="connsiteX888" fmla="*/ 1332141 w 1466597"/>
                <a:gd name="connsiteY888" fmla="*/ 600069 h 790366"/>
                <a:gd name="connsiteX889" fmla="*/ 1330974 w 1466597"/>
                <a:gd name="connsiteY889" fmla="*/ 599285 h 790366"/>
                <a:gd name="connsiteX890" fmla="*/ 1330718 w 1466597"/>
                <a:gd name="connsiteY890" fmla="*/ 598234 h 790366"/>
                <a:gd name="connsiteX891" fmla="*/ 1330775 w 1466597"/>
                <a:gd name="connsiteY891" fmla="*/ 596660 h 790366"/>
                <a:gd name="connsiteX892" fmla="*/ 1331369 w 1466597"/>
                <a:gd name="connsiteY892" fmla="*/ 595283 h 790366"/>
                <a:gd name="connsiteX893" fmla="*/ 1334316 w 1466597"/>
                <a:gd name="connsiteY893" fmla="*/ 591801 h 790366"/>
                <a:gd name="connsiteX894" fmla="*/ 1334019 w 1466597"/>
                <a:gd name="connsiteY894" fmla="*/ 591161 h 790366"/>
                <a:gd name="connsiteX895" fmla="*/ 1332587 w 1466597"/>
                <a:gd name="connsiteY895" fmla="*/ 591017 h 790366"/>
                <a:gd name="connsiteX896" fmla="*/ 1330700 w 1466597"/>
                <a:gd name="connsiteY896" fmla="*/ 589823 h 790366"/>
                <a:gd name="connsiteX897" fmla="*/ 1329835 w 1466597"/>
                <a:gd name="connsiteY897" fmla="*/ 585919 h 790366"/>
                <a:gd name="connsiteX898" fmla="*/ 1327802 w 1466597"/>
                <a:gd name="connsiteY898" fmla="*/ 583689 h 790366"/>
                <a:gd name="connsiteX899" fmla="*/ 1326603 w 1466597"/>
                <a:gd name="connsiteY899" fmla="*/ 583893 h 790366"/>
                <a:gd name="connsiteX900" fmla="*/ 1323874 w 1466597"/>
                <a:gd name="connsiteY900" fmla="*/ 590193 h 790366"/>
                <a:gd name="connsiteX901" fmla="*/ 1322523 w 1466597"/>
                <a:gd name="connsiteY901" fmla="*/ 591568 h 790366"/>
                <a:gd name="connsiteX902" fmla="*/ 1318685 w 1466597"/>
                <a:gd name="connsiteY902" fmla="*/ 592452 h 790366"/>
                <a:gd name="connsiteX903" fmla="*/ 1319467 w 1466597"/>
                <a:gd name="connsiteY903" fmla="*/ 590700 h 790366"/>
                <a:gd name="connsiteX904" fmla="*/ 1319822 w 1466597"/>
                <a:gd name="connsiteY904" fmla="*/ 589136 h 790366"/>
                <a:gd name="connsiteX905" fmla="*/ 1318460 w 1466597"/>
                <a:gd name="connsiteY905" fmla="*/ 584384 h 790366"/>
                <a:gd name="connsiteX906" fmla="*/ 1318419 w 1466597"/>
                <a:gd name="connsiteY906" fmla="*/ 582553 h 790366"/>
                <a:gd name="connsiteX907" fmla="*/ 1319327 w 1466597"/>
                <a:gd name="connsiteY907" fmla="*/ 581205 h 790366"/>
                <a:gd name="connsiteX908" fmla="*/ 1322038 w 1466597"/>
                <a:gd name="connsiteY908" fmla="*/ 580644 h 790366"/>
                <a:gd name="connsiteX909" fmla="*/ 1323476 w 1466597"/>
                <a:gd name="connsiteY909" fmla="*/ 579845 h 790366"/>
                <a:gd name="connsiteX910" fmla="*/ 1324598 w 1466597"/>
                <a:gd name="connsiteY910" fmla="*/ 578540 h 790366"/>
                <a:gd name="connsiteX911" fmla="*/ 1324876 w 1466597"/>
                <a:gd name="connsiteY911" fmla="*/ 577266 h 790366"/>
                <a:gd name="connsiteX912" fmla="*/ 1326976 w 1466597"/>
                <a:gd name="connsiteY912" fmla="*/ 573897 h 790366"/>
                <a:gd name="connsiteX913" fmla="*/ 867956 w 1466597"/>
                <a:gd name="connsiteY913" fmla="*/ 557145 h 790366"/>
                <a:gd name="connsiteX914" fmla="*/ 871377 w 1466597"/>
                <a:gd name="connsiteY914" fmla="*/ 558560 h 790366"/>
                <a:gd name="connsiteX915" fmla="*/ 872828 w 1466597"/>
                <a:gd name="connsiteY915" fmla="*/ 559849 h 790366"/>
                <a:gd name="connsiteX916" fmla="*/ 874089 w 1466597"/>
                <a:gd name="connsiteY916" fmla="*/ 561613 h 790366"/>
                <a:gd name="connsiteX917" fmla="*/ 873377 w 1466597"/>
                <a:gd name="connsiteY917" fmla="*/ 562638 h 790366"/>
                <a:gd name="connsiteX918" fmla="*/ 872703 w 1466597"/>
                <a:gd name="connsiteY918" fmla="*/ 562375 h 790366"/>
                <a:gd name="connsiteX919" fmla="*/ 871277 w 1466597"/>
                <a:gd name="connsiteY919" fmla="*/ 561176 h 790366"/>
                <a:gd name="connsiteX920" fmla="*/ 868363 w 1466597"/>
                <a:gd name="connsiteY920" fmla="*/ 559425 h 790366"/>
                <a:gd name="connsiteX921" fmla="*/ 867036 w 1466597"/>
                <a:gd name="connsiteY921" fmla="*/ 558224 h 790366"/>
                <a:gd name="connsiteX922" fmla="*/ 866960 w 1466597"/>
                <a:gd name="connsiteY922" fmla="*/ 557711 h 790366"/>
                <a:gd name="connsiteX923" fmla="*/ 876133 w 1466597"/>
                <a:gd name="connsiteY923" fmla="*/ 557112 h 790366"/>
                <a:gd name="connsiteX924" fmla="*/ 881675 w 1466597"/>
                <a:gd name="connsiteY924" fmla="*/ 558440 h 790366"/>
                <a:gd name="connsiteX925" fmla="*/ 884043 w 1466597"/>
                <a:gd name="connsiteY925" fmla="*/ 559891 h 790366"/>
                <a:gd name="connsiteX926" fmla="*/ 882829 w 1466597"/>
                <a:gd name="connsiteY926" fmla="*/ 562580 h 790366"/>
                <a:gd name="connsiteX927" fmla="*/ 883012 w 1466597"/>
                <a:gd name="connsiteY927" fmla="*/ 564606 h 790366"/>
                <a:gd name="connsiteX928" fmla="*/ 884050 w 1466597"/>
                <a:gd name="connsiteY928" fmla="*/ 564360 h 790366"/>
                <a:gd name="connsiteX929" fmla="*/ 887976 w 1466597"/>
                <a:gd name="connsiteY929" fmla="*/ 562272 h 790366"/>
                <a:gd name="connsiteX930" fmla="*/ 890023 w 1466597"/>
                <a:gd name="connsiteY930" fmla="*/ 561659 h 790366"/>
                <a:gd name="connsiteX931" fmla="*/ 892686 w 1466597"/>
                <a:gd name="connsiteY931" fmla="*/ 561564 h 790366"/>
                <a:gd name="connsiteX932" fmla="*/ 894799 w 1466597"/>
                <a:gd name="connsiteY932" fmla="*/ 562515 h 790366"/>
                <a:gd name="connsiteX933" fmla="*/ 895229 w 1466597"/>
                <a:gd name="connsiteY933" fmla="*/ 563245 h 790366"/>
                <a:gd name="connsiteX934" fmla="*/ 895044 w 1466597"/>
                <a:gd name="connsiteY934" fmla="*/ 564114 h 790366"/>
                <a:gd name="connsiteX935" fmla="*/ 893354 w 1466597"/>
                <a:gd name="connsiteY935" fmla="*/ 565880 h 790366"/>
                <a:gd name="connsiteX936" fmla="*/ 893424 w 1466597"/>
                <a:gd name="connsiteY936" fmla="*/ 567026 h 790366"/>
                <a:gd name="connsiteX937" fmla="*/ 895240 w 1466597"/>
                <a:gd name="connsiteY937" fmla="*/ 569133 h 790366"/>
                <a:gd name="connsiteX938" fmla="*/ 899703 w 1466597"/>
                <a:gd name="connsiteY938" fmla="*/ 570281 h 790366"/>
                <a:gd name="connsiteX939" fmla="*/ 900245 w 1466597"/>
                <a:gd name="connsiteY939" fmla="*/ 570913 h 790366"/>
                <a:gd name="connsiteX940" fmla="*/ 900221 w 1466597"/>
                <a:gd name="connsiteY940" fmla="*/ 571674 h 790366"/>
                <a:gd name="connsiteX941" fmla="*/ 897149 w 1466597"/>
                <a:gd name="connsiteY941" fmla="*/ 575157 h 790366"/>
                <a:gd name="connsiteX942" fmla="*/ 896020 w 1466597"/>
                <a:gd name="connsiteY942" fmla="*/ 575969 h 790366"/>
                <a:gd name="connsiteX943" fmla="*/ 895222 w 1466597"/>
                <a:gd name="connsiteY943" fmla="*/ 576164 h 790366"/>
                <a:gd name="connsiteX944" fmla="*/ 889642 w 1466597"/>
                <a:gd name="connsiteY944" fmla="*/ 575538 h 790366"/>
                <a:gd name="connsiteX945" fmla="*/ 884535 w 1466597"/>
                <a:gd name="connsiteY945" fmla="*/ 574397 h 790366"/>
                <a:gd name="connsiteX946" fmla="*/ 882467 w 1466597"/>
                <a:gd name="connsiteY946" fmla="*/ 574205 h 790366"/>
                <a:gd name="connsiteX947" fmla="*/ 881738 w 1466597"/>
                <a:gd name="connsiteY947" fmla="*/ 574574 h 790366"/>
                <a:gd name="connsiteX948" fmla="*/ 880291 w 1466597"/>
                <a:gd name="connsiteY948" fmla="*/ 575644 h 790366"/>
                <a:gd name="connsiteX949" fmla="*/ 881329 w 1466597"/>
                <a:gd name="connsiteY949" fmla="*/ 575959 h 790366"/>
                <a:gd name="connsiteX950" fmla="*/ 885805 w 1466597"/>
                <a:gd name="connsiteY950" fmla="*/ 576213 h 790366"/>
                <a:gd name="connsiteX951" fmla="*/ 887382 w 1466597"/>
                <a:gd name="connsiteY951" fmla="*/ 577775 h 790366"/>
                <a:gd name="connsiteX952" fmla="*/ 888070 w 1466597"/>
                <a:gd name="connsiteY952" fmla="*/ 578922 h 790366"/>
                <a:gd name="connsiteX953" fmla="*/ 888414 w 1466597"/>
                <a:gd name="connsiteY953" fmla="*/ 580185 h 790366"/>
                <a:gd name="connsiteX954" fmla="*/ 887522 w 1466597"/>
                <a:gd name="connsiteY954" fmla="*/ 580704 h 790366"/>
                <a:gd name="connsiteX955" fmla="*/ 885606 w 1466597"/>
                <a:gd name="connsiteY955" fmla="*/ 581080 h 790366"/>
                <a:gd name="connsiteX956" fmla="*/ 883312 w 1466597"/>
                <a:gd name="connsiteY956" fmla="*/ 581076 h 790366"/>
                <a:gd name="connsiteX957" fmla="*/ 880474 w 1466597"/>
                <a:gd name="connsiteY957" fmla="*/ 582497 h 790366"/>
                <a:gd name="connsiteX958" fmla="*/ 878910 w 1466597"/>
                <a:gd name="connsiteY958" fmla="*/ 584120 h 790366"/>
                <a:gd name="connsiteX959" fmla="*/ 873228 w 1466597"/>
                <a:gd name="connsiteY959" fmla="*/ 584532 h 790366"/>
                <a:gd name="connsiteX960" fmla="*/ 868908 w 1466597"/>
                <a:gd name="connsiteY960" fmla="*/ 586696 h 790366"/>
                <a:gd name="connsiteX961" fmla="*/ 867381 w 1466597"/>
                <a:gd name="connsiteY961" fmla="*/ 587764 h 790366"/>
                <a:gd name="connsiteX962" fmla="*/ 866848 w 1466597"/>
                <a:gd name="connsiteY962" fmla="*/ 589038 h 790366"/>
                <a:gd name="connsiteX963" fmla="*/ 865220 w 1466597"/>
                <a:gd name="connsiteY963" fmla="*/ 589965 h 790366"/>
                <a:gd name="connsiteX964" fmla="*/ 861538 w 1466597"/>
                <a:gd name="connsiteY964" fmla="*/ 590890 h 790366"/>
                <a:gd name="connsiteX965" fmla="*/ 863734 w 1466597"/>
                <a:gd name="connsiteY965" fmla="*/ 591719 h 790366"/>
                <a:gd name="connsiteX966" fmla="*/ 864078 w 1466597"/>
                <a:gd name="connsiteY966" fmla="*/ 592423 h 790366"/>
                <a:gd name="connsiteX967" fmla="*/ 864118 w 1466597"/>
                <a:gd name="connsiteY967" fmla="*/ 593393 h 790366"/>
                <a:gd name="connsiteX968" fmla="*/ 863816 w 1466597"/>
                <a:gd name="connsiteY968" fmla="*/ 594230 h 790366"/>
                <a:gd name="connsiteX969" fmla="*/ 860910 w 1466597"/>
                <a:gd name="connsiteY969" fmla="*/ 597959 h 790366"/>
                <a:gd name="connsiteX970" fmla="*/ 855412 w 1466597"/>
                <a:gd name="connsiteY970" fmla="*/ 601018 h 790366"/>
                <a:gd name="connsiteX971" fmla="*/ 854019 w 1466597"/>
                <a:gd name="connsiteY971" fmla="*/ 600882 h 790366"/>
                <a:gd name="connsiteX972" fmla="*/ 853422 w 1466597"/>
                <a:gd name="connsiteY972" fmla="*/ 600500 h 790366"/>
                <a:gd name="connsiteX973" fmla="*/ 852931 w 1466597"/>
                <a:gd name="connsiteY973" fmla="*/ 599915 h 790366"/>
                <a:gd name="connsiteX974" fmla="*/ 852909 w 1466597"/>
                <a:gd name="connsiteY974" fmla="*/ 599329 h 790366"/>
                <a:gd name="connsiteX975" fmla="*/ 859991 w 1466597"/>
                <a:gd name="connsiteY975" fmla="*/ 593182 h 790366"/>
                <a:gd name="connsiteX976" fmla="*/ 859712 w 1466597"/>
                <a:gd name="connsiteY976" fmla="*/ 592879 h 790366"/>
                <a:gd name="connsiteX977" fmla="*/ 857785 w 1466597"/>
                <a:gd name="connsiteY977" fmla="*/ 592671 h 790366"/>
                <a:gd name="connsiteX978" fmla="*/ 854733 w 1466597"/>
                <a:gd name="connsiteY978" fmla="*/ 590978 h 790366"/>
                <a:gd name="connsiteX979" fmla="*/ 852579 w 1466597"/>
                <a:gd name="connsiteY979" fmla="*/ 592066 h 790366"/>
                <a:gd name="connsiteX980" fmla="*/ 852089 w 1466597"/>
                <a:gd name="connsiteY980" fmla="*/ 592024 h 790366"/>
                <a:gd name="connsiteX981" fmla="*/ 852664 w 1466597"/>
                <a:gd name="connsiteY981" fmla="*/ 590572 h 790366"/>
                <a:gd name="connsiteX982" fmla="*/ 854068 w 1466597"/>
                <a:gd name="connsiteY982" fmla="*/ 588840 h 790366"/>
                <a:gd name="connsiteX983" fmla="*/ 853823 w 1466597"/>
                <a:gd name="connsiteY983" fmla="*/ 588353 h 790366"/>
                <a:gd name="connsiteX984" fmla="*/ 853049 w 1466597"/>
                <a:gd name="connsiteY984" fmla="*/ 587921 h 790366"/>
                <a:gd name="connsiteX985" fmla="*/ 851277 w 1466597"/>
                <a:gd name="connsiteY985" fmla="*/ 587661 h 790366"/>
                <a:gd name="connsiteX986" fmla="*/ 848499 w 1466597"/>
                <a:gd name="connsiteY986" fmla="*/ 587579 h 790366"/>
                <a:gd name="connsiteX987" fmla="*/ 846440 w 1466597"/>
                <a:gd name="connsiteY987" fmla="*/ 587990 h 790366"/>
                <a:gd name="connsiteX988" fmla="*/ 845104 w 1466597"/>
                <a:gd name="connsiteY988" fmla="*/ 588894 h 790366"/>
                <a:gd name="connsiteX989" fmla="*/ 844995 w 1466597"/>
                <a:gd name="connsiteY989" fmla="*/ 589278 h 790366"/>
                <a:gd name="connsiteX990" fmla="*/ 847841 w 1466597"/>
                <a:gd name="connsiteY990" fmla="*/ 589170 h 790366"/>
                <a:gd name="connsiteX991" fmla="*/ 848615 w 1466597"/>
                <a:gd name="connsiteY991" fmla="*/ 589630 h 790366"/>
                <a:gd name="connsiteX992" fmla="*/ 849381 w 1466597"/>
                <a:gd name="connsiteY992" fmla="*/ 590489 h 790366"/>
                <a:gd name="connsiteX993" fmla="*/ 849848 w 1466597"/>
                <a:gd name="connsiteY993" fmla="*/ 591481 h 790366"/>
                <a:gd name="connsiteX994" fmla="*/ 850014 w 1466597"/>
                <a:gd name="connsiteY994" fmla="*/ 592606 h 790366"/>
                <a:gd name="connsiteX995" fmla="*/ 849418 w 1466597"/>
                <a:gd name="connsiteY995" fmla="*/ 594118 h 790366"/>
                <a:gd name="connsiteX996" fmla="*/ 848060 w 1466597"/>
                <a:gd name="connsiteY996" fmla="*/ 596013 h 790366"/>
                <a:gd name="connsiteX997" fmla="*/ 846070 w 1466597"/>
                <a:gd name="connsiteY997" fmla="*/ 595681 h 790366"/>
                <a:gd name="connsiteX998" fmla="*/ 841993 w 1466597"/>
                <a:gd name="connsiteY998" fmla="*/ 591466 h 790366"/>
                <a:gd name="connsiteX999" fmla="*/ 840193 w 1466597"/>
                <a:gd name="connsiteY999" fmla="*/ 585281 h 790366"/>
                <a:gd name="connsiteX1000" fmla="*/ 836708 w 1466597"/>
                <a:gd name="connsiteY1000" fmla="*/ 580543 h 790366"/>
                <a:gd name="connsiteX1001" fmla="*/ 836549 w 1466597"/>
                <a:gd name="connsiteY1001" fmla="*/ 579410 h 790366"/>
                <a:gd name="connsiteX1002" fmla="*/ 837543 w 1466597"/>
                <a:gd name="connsiteY1002" fmla="*/ 576482 h 790366"/>
                <a:gd name="connsiteX1003" fmla="*/ 841061 w 1466597"/>
                <a:gd name="connsiteY1003" fmla="*/ 572321 h 790366"/>
                <a:gd name="connsiteX1004" fmla="*/ 844843 w 1466597"/>
                <a:gd name="connsiteY1004" fmla="*/ 571179 h 790366"/>
                <a:gd name="connsiteX1005" fmla="*/ 847537 w 1466597"/>
                <a:gd name="connsiteY1005" fmla="*/ 569427 h 790366"/>
                <a:gd name="connsiteX1006" fmla="*/ 850142 w 1466597"/>
                <a:gd name="connsiteY1006" fmla="*/ 568899 h 790366"/>
                <a:gd name="connsiteX1007" fmla="*/ 851753 w 1466597"/>
                <a:gd name="connsiteY1007" fmla="*/ 568944 h 790366"/>
                <a:gd name="connsiteX1008" fmla="*/ 853956 w 1466597"/>
                <a:gd name="connsiteY1008" fmla="*/ 569699 h 790366"/>
                <a:gd name="connsiteX1009" fmla="*/ 854844 w 1466597"/>
                <a:gd name="connsiteY1009" fmla="*/ 571295 h 790366"/>
                <a:gd name="connsiteX1010" fmla="*/ 854312 w 1466597"/>
                <a:gd name="connsiteY1010" fmla="*/ 572046 h 790366"/>
                <a:gd name="connsiteX1011" fmla="*/ 854515 w 1466597"/>
                <a:gd name="connsiteY1011" fmla="*/ 572440 h 790366"/>
                <a:gd name="connsiteX1012" fmla="*/ 856059 w 1466597"/>
                <a:gd name="connsiteY1012" fmla="*/ 573398 h 790366"/>
                <a:gd name="connsiteX1013" fmla="*/ 857730 w 1466597"/>
                <a:gd name="connsiteY1013" fmla="*/ 576742 h 790366"/>
                <a:gd name="connsiteX1014" fmla="*/ 859680 w 1466597"/>
                <a:gd name="connsiteY1014" fmla="*/ 579705 h 790366"/>
                <a:gd name="connsiteX1015" fmla="*/ 860977 w 1466597"/>
                <a:gd name="connsiteY1015" fmla="*/ 580909 h 790366"/>
                <a:gd name="connsiteX1016" fmla="*/ 862684 w 1466597"/>
                <a:gd name="connsiteY1016" fmla="*/ 581649 h 790366"/>
                <a:gd name="connsiteX1017" fmla="*/ 860918 w 1466597"/>
                <a:gd name="connsiteY1017" fmla="*/ 579388 h 790366"/>
                <a:gd name="connsiteX1018" fmla="*/ 859874 w 1466597"/>
                <a:gd name="connsiteY1018" fmla="*/ 576587 h 790366"/>
                <a:gd name="connsiteX1019" fmla="*/ 859350 w 1466597"/>
                <a:gd name="connsiteY1019" fmla="*/ 570991 h 790366"/>
                <a:gd name="connsiteX1020" fmla="*/ 858846 w 1466597"/>
                <a:gd name="connsiteY1020" fmla="*/ 569511 h 790366"/>
                <a:gd name="connsiteX1021" fmla="*/ 859832 w 1466597"/>
                <a:gd name="connsiteY1021" fmla="*/ 569111 h 790366"/>
                <a:gd name="connsiteX1022" fmla="*/ 862621 w 1466597"/>
                <a:gd name="connsiteY1022" fmla="*/ 569331 h 790366"/>
                <a:gd name="connsiteX1023" fmla="*/ 862544 w 1466597"/>
                <a:gd name="connsiteY1023" fmla="*/ 568496 h 790366"/>
                <a:gd name="connsiteX1024" fmla="*/ 859603 w 1466597"/>
                <a:gd name="connsiteY1024" fmla="*/ 566605 h 790366"/>
                <a:gd name="connsiteX1025" fmla="*/ 857793 w 1466597"/>
                <a:gd name="connsiteY1025" fmla="*/ 565041 h 790366"/>
                <a:gd name="connsiteX1026" fmla="*/ 857112 w 1466597"/>
                <a:gd name="connsiteY1026" fmla="*/ 563803 h 790366"/>
                <a:gd name="connsiteX1027" fmla="*/ 857154 w 1466597"/>
                <a:gd name="connsiteY1027" fmla="*/ 562729 h 790366"/>
                <a:gd name="connsiteX1028" fmla="*/ 858760 w 1466597"/>
                <a:gd name="connsiteY1028" fmla="*/ 561144 h 790366"/>
                <a:gd name="connsiteX1029" fmla="*/ 859670 w 1466597"/>
                <a:gd name="connsiteY1029" fmla="*/ 560692 h 790366"/>
                <a:gd name="connsiteX1030" fmla="*/ 860610 w 1466597"/>
                <a:gd name="connsiteY1030" fmla="*/ 560496 h 790366"/>
                <a:gd name="connsiteX1031" fmla="*/ 862482 w 1466597"/>
                <a:gd name="connsiteY1031" fmla="*/ 560833 h 790366"/>
                <a:gd name="connsiteX1032" fmla="*/ 863323 w 1466597"/>
                <a:gd name="connsiteY1032" fmla="*/ 561329 h 790366"/>
                <a:gd name="connsiteX1033" fmla="*/ 865723 w 1466597"/>
                <a:gd name="connsiteY1033" fmla="*/ 564898 h 790366"/>
                <a:gd name="connsiteX1034" fmla="*/ 866847 w 1466597"/>
                <a:gd name="connsiteY1034" fmla="*/ 566006 h 790366"/>
                <a:gd name="connsiteX1035" fmla="*/ 867780 w 1466597"/>
                <a:gd name="connsiteY1035" fmla="*/ 566008 h 790366"/>
                <a:gd name="connsiteX1036" fmla="*/ 868644 w 1466597"/>
                <a:gd name="connsiteY1036" fmla="*/ 565416 h 790366"/>
                <a:gd name="connsiteX1037" fmla="*/ 869443 w 1466597"/>
                <a:gd name="connsiteY1037" fmla="*/ 564231 h 790366"/>
                <a:gd name="connsiteX1038" fmla="*/ 870267 w 1466597"/>
                <a:gd name="connsiteY1038" fmla="*/ 563522 h 790366"/>
                <a:gd name="connsiteX1039" fmla="*/ 871116 w 1466597"/>
                <a:gd name="connsiteY1039" fmla="*/ 563290 h 790366"/>
                <a:gd name="connsiteX1040" fmla="*/ 873788 w 1466597"/>
                <a:gd name="connsiteY1040" fmla="*/ 563813 h 790366"/>
                <a:gd name="connsiteX1041" fmla="*/ 874679 w 1466597"/>
                <a:gd name="connsiteY1041" fmla="*/ 563620 h 790366"/>
                <a:gd name="connsiteX1042" fmla="*/ 875117 w 1466597"/>
                <a:gd name="connsiteY1042" fmla="*/ 562725 h 790366"/>
                <a:gd name="connsiteX1043" fmla="*/ 875099 w 1466597"/>
                <a:gd name="connsiteY1043" fmla="*/ 561128 h 790366"/>
                <a:gd name="connsiteX1044" fmla="*/ 875757 w 1466597"/>
                <a:gd name="connsiteY1044" fmla="*/ 560552 h 790366"/>
                <a:gd name="connsiteX1045" fmla="*/ 875919 w 1466597"/>
                <a:gd name="connsiteY1045" fmla="*/ 559378 h 790366"/>
                <a:gd name="connsiteX1046" fmla="*/ 874463 w 1466597"/>
                <a:gd name="connsiteY1046" fmla="*/ 557642 h 790366"/>
                <a:gd name="connsiteX1047" fmla="*/ 1319328 w 1466597"/>
                <a:gd name="connsiteY1047" fmla="*/ 546123 h 790366"/>
                <a:gd name="connsiteX1048" fmla="*/ 1320775 w 1466597"/>
                <a:gd name="connsiteY1048" fmla="*/ 547023 h 790366"/>
                <a:gd name="connsiteX1049" fmla="*/ 1324420 w 1466597"/>
                <a:gd name="connsiteY1049" fmla="*/ 550639 h 790366"/>
                <a:gd name="connsiteX1050" fmla="*/ 1324451 w 1466597"/>
                <a:gd name="connsiteY1050" fmla="*/ 551468 h 790366"/>
                <a:gd name="connsiteX1051" fmla="*/ 1323710 w 1466597"/>
                <a:gd name="connsiteY1051" fmla="*/ 553948 h 790366"/>
                <a:gd name="connsiteX1052" fmla="*/ 1321726 w 1466597"/>
                <a:gd name="connsiteY1052" fmla="*/ 554649 h 790366"/>
                <a:gd name="connsiteX1053" fmla="*/ 1322287 w 1466597"/>
                <a:gd name="connsiteY1053" fmla="*/ 555633 h 790366"/>
                <a:gd name="connsiteX1054" fmla="*/ 1323763 w 1466597"/>
                <a:gd name="connsiteY1054" fmla="*/ 556377 h 790366"/>
                <a:gd name="connsiteX1055" fmla="*/ 1324815 w 1466597"/>
                <a:gd name="connsiteY1055" fmla="*/ 555758 h 790366"/>
                <a:gd name="connsiteX1056" fmla="*/ 1328663 w 1466597"/>
                <a:gd name="connsiteY1056" fmla="*/ 552284 h 790366"/>
                <a:gd name="connsiteX1057" fmla="*/ 1329849 w 1466597"/>
                <a:gd name="connsiteY1057" fmla="*/ 551553 h 790366"/>
                <a:gd name="connsiteX1058" fmla="*/ 1330564 w 1466597"/>
                <a:gd name="connsiteY1058" fmla="*/ 551479 h 790366"/>
                <a:gd name="connsiteX1059" fmla="*/ 1335253 w 1466597"/>
                <a:gd name="connsiteY1059" fmla="*/ 552526 h 790366"/>
                <a:gd name="connsiteX1060" fmla="*/ 1339354 w 1466597"/>
                <a:gd name="connsiteY1060" fmla="*/ 554184 h 790366"/>
                <a:gd name="connsiteX1061" fmla="*/ 1340563 w 1466597"/>
                <a:gd name="connsiteY1061" fmla="*/ 555507 h 790366"/>
                <a:gd name="connsiteX1062" fmla="*/ 1341244 w 1466597"/>
                <a:gd name="connsiteY1062" fmla="*/ 557821 h 790366"/>
                <a:gd name="connsiteX1063" fmla="*/ 1340156 w 1466597"/>
                <a:gd name="connsiteY1063" fmla="*/ 562826 h 790366"/>
                <a:gd name="connsiteX1064" fmla="*/ 1336790 w 1466597"/>
                <a:gd name="connsiteY1064" fmla="*/ 563697 h 790366"/>
                <a:gd name="connsiteX1065" fmla="*/ 1335204 w 1466597"/>
                <a:gd name="connsiteY1065" fmla="*/ 563606 h 790366"/>
                <a:gd name="connsiteX1066" fmla="*/ 1333510 w 1466597"/>
                <a:gd name="connsiteY1066" fmla="*/ 562879 h 790366"/>
                <a:gd name="connsiteX1067" fmla="*/ 1330773 w 1466597"/>
                <a:gd name="connsiteY1067" fmla="*/ 564618 h 790366"/>
                <a:gd name="connsiteX1068" fmla="*/ 1333041 w 1466597"/>
                <a:gd name="connsiteY1068" fmla="*/ 565948 h 790366"/>
                <a:gd name="connsiteX1069" fmla="*/ 1339947 w 1466597"/>
                <a:gd name="connsiteY1069" fmla="*/ 566251 h 790366"/>
                <a:gd name="connsiteX1070" fmla="*/ 1342044 w 1466597"/>
                <a:gd name="connsiteY1070" fmla="*/ 569062 h 790366"/>
                <a:gd name="connsiteX1071" fmla="*/ 1342645 w 1466597"/>
                <a:gd name="connsiteY1071" fmla="*/ 571225 h 790366"/>
                <a:gd name="connsiteX1072" fmla="*/ 1341155 w 1466597"/>
                <a:gd name="connsiteY1072" fmla="*/ 575195 h 790366"/>
                <a:gd name="connsiteX1073" fmla="*/ 1337242 w 1466597"/>
                <a:gd name="connsiteY1073" fmla="*/ 574097 h 790366"/>
                <a:gd name="connsiteX1074" fmla="*/ 1333790 w 1466597"/>
                <a:gd name="connsiteY1074" fmla="*/ 571797 h 790366"/>
                <a:gd name="connsiteX1075" fmla="*/ 1326708 w 1466597"/>
                <a:gd name="connsiteY1075" fmla="*/ 568537 h 790366"/>
                <a:gd name="connsiteX1076" fmla="*/ 1325013 w 1466597"/>
                <a:gd name="connsiteY1076" fmla="*/ 568385 h 790366"/>
                <a:gd name="connsiteX1077" fmla="*/ 1323884 w 1466597"/>
                <a:gd name="connsiteY1077" fmla="*/ 568961 h 790366"/>
                <a:gd name="connsiteX1078" fmla="*/ 1323574 w 1466597"/>
                <a:gd name="connsiteY1078" fmla="*/ 570939 h 790366"/>
                <a:gd name="connsiteX1079" fmla="*/ 1323645 w 1466597"/>
                <a:gd name="connsiteY1079" fmla="*/ 575224 h 790366"/>
                <a:gd name="connsiteX1080" fmla="*/ 1321756 w 1466597"/>
                <a:gd name="connsiteY1080" fmla="*/ 577442 h 790366"/>
                <a:gd name="connsiteX1081" fmla="*/ 1316172 w 1466597"/>
                <a:gd name="connsiteY1081" fmla="*/ 576464 h 790366"/>
                <a:gd name="connsiteX1082" fmla="*/ 1313981 w 1466597"/>
                <a:gd name="connsiteY1082" fmla="*/ 573222 h 790366"/>
                <a:gd name="connsiteX1083" fmla="*/ 1311943 w 1466597"/>
                <a:gd name="connsiteY1083" fmla="*/ 568084 h 790366"/>
                <a:gd name="connsiteX1084" fmla="*/ 1304249 w 1466597"/>
                <a:gd name="connsiteY1084" fmla="*/ 561986 h 790366"/>
                <a:gd name="connsiteX1085" fmla="*/ 1302164 w 1466597"/>
                <a:gd name="connsiteY1085" fmla="*/ 560764 h 790366"/>
                <a:gd name="connsiteX1086" fmla="*/ 1299392 w 1466597"/>
                <a:gd name="connsiteY1086" fmla="*/ 557104 h 790366"/>
                <a:gd name="connsiteX1087" fmla="*/ 1300502 w 1466597"/>
                <a:gd name="connsiteY1087" fmla="*/ 554202 h 790366"/>
                <a:gd name="connsiteX1088" fmla="*/ 1300829 w 1466597"/>
                <a:gd name="connsiteY1088" fmla="*/ 552521 h 790366"/>
                <a:gd name="connsiteX1089" fmla="*/ 1302305 w 1466597"/>
                <a:gd name="connsiteY1089" fmla="*/ 552076 h 790366"/>
                <a:gd name="connsiteX1090" fmla="*/ 1304471 w 1466597"/>
                <a:gd name="connsiteY1090" fmla="*/ 550777 h 790366"/>
                <a:gd name="connsiteX1091" fmla="*/ 1305683 w 1466597"/>
                <a:gd name="connsiteY1091" fmla="*/ 547964 h 790366"/>
                <a:gd name="connsiteX1092" fmla="*/ 1307629 w 1466597"/>
                <a:gd name="connsiteY1092" fmla="*/ 550243 h 790366"/>
                <a:gd name="connsiteX1093" fmla="*/ 1310229 w 1466597"/>
                <a:gd name="connsiteY1093" fmla="*/ 552429 h 790366"/>
                <a:gd name="connsiteX1094" fmla="*/ 1310267 w 1466597"/>
                <a:gd name="connsiteY1094" fmla="*/ 550375 h 790366"/>
                <a:gd name="connsiteX1095" fmla="*/ 1311489 w 1466597"/>
                <a:gd name="connsiteY1095" fmla="*/ 548735 h 790366"/>
                <a:gd name="connsiteX1096" fmla="*/ 1314040 w 1466597"/>
                <a:gd name="connsiteY1096" fmla="*/ 548795 h 790366"/>
                <a:gd name="connsiteX1097" fmla="*/ 1315239 w 1466597"/>
                <a:gd name="connsiteY1097" fmla="*/ 548450 h 790366"/>
                <a:gd name="connsiteX1098" fmla="*/ 1316914 w 1466597"/>
                <a:gd name="connsiteY1098" fmla="*/ 546916 h 790366"/>
                <a:gd name="connsiteX1099" fmla="*/ 1351652 w 1466597"/>
                <a:gd name="connsiteY1099" fmla="*/ 543744 h 790366"/>
                <a:gd name="connsiteX1100" fmla="*/ 1354742 w 1466597"/>
                <a:gd name="connsiteY1100" fmla="*/ 545429 h 790366"/>
                <a:gd name="connsiteX1101" fmla="*/ 1356940 w 1466597"/>
                <a:gd name="connsiteY1101" fmla="*/ 547594 h 790366"/>
                <a:gd name="connsiteX1102" fmla="*/ 1356758 w 1466597"/>
                <a:gd name="connsiteY1102" fmla="*/ 548514 h 790366"/>
                <a:gd name="connsiteX1103" fmla="*/ 1353279 w 1466597"/>
                <a:gd name="connsiteY1103" fmla="*/ 548424 h 790366"/>
                <a:gd name="connsiteX1104" fmla="*/ 1349765 w 1466597"/>
                <a:gd name="connsiteY1104" fmla="*/ 547065 h 790366"/>
                <a:gd name="connsiteX1105" fmla="*/ 1348040 w 1466597"/>
                <a:gd name="connsiteY1105" fmla="*/ 545291 h 790366"/>
                <a:gd name="connsiteX1106" fmla="*/ 1348386 w 1466597"/>
                <a:gd name="connsiteY1106" fmla="*/ 544492 h 790366"/>
                <a:gd name="connsiteX1107" fmla="*/ 1341359 w 1466597"/>
                <a:gd name="connsiteY1107" fmla="*/ 542923 h 790366"/>
                <a:gd name="connsiteX1108" fmla="*/ 1343566 w 1466597"/>
                <a:gd name="connsiteY1108" fmla="*/ 544203 h 790366"/>
                <a:gd name="connsiteX1109" fmla="*/ 1346214 w 1466597"/>
                <a:gd name="connsiteY1109" fmla="*/ 547738 h 790366"/>
                <a:gd name="connsiteX1110" fmla="*/ 1347563 w 1466597"/>
                <a:gd name="connsiteY1110" fmla="*/ 550087 h 790366"/>
                <a:gd name="connsiteX1111" fmla="*/ 1354047 w 1466597"/>
                <a:gd name="connsiteY1111" fmla="*/ 550935 h 790366"/>
                <a:gd name="connsiteX1112" fmla="*/ 1358792 w 1466597"/>
                <a:gd name="connsiteY1112" fmla="*/ 550742 h 790366"/>
                <a:gd name="connsiteX1113" fmla="*/ 1363128 w 1466597"/>
                <a:gd name="connsiteY1113" fmla="*/ 556277 h 790366"/>
                <a:gd name="connsiteX1114" fmla="*/ 1365796 w 1466597"/>
                <a:gd name="connsiteY1114" fmla="*/ 560740 h 790366"/>
                <a:gd name="connsiteX1115" fmla="*/ 1367365 w 1466597"/>
                <a:gd name="connsiteY1115" fmla="*/ 563861 h 790366"/>
                <a:gd name="connsiteX1116" fmla="*/ 1368252 w 1466597"/>
                <a:gd name="connsiteY1116" fmla="*/ 566871 h 790366"/>
                <a:gd name="connsiteX1117" fmla="*/ 1369440 w 1466597"/>
                <a:gd name="connsiteY1117" fmla="*/ 569774 h 790366"/>
                <a:gd name="connsiteX1118" fmla="*/ 1369333 w 1466597"/>
                <a:gd name="connsiteY1118" fmla="*/ 570182 h 790366"/>
                <a:gd name="connsiteX1119" fmla="*/ 1366831 w 1466597"/>
                <a:gd name="connsiteY1119" fmla="*/ 568224 h 790366"/>
                <a:gd name="connsiteX1120" fmla="*/ 1365030 w 1466597"/>
                <a:gd name="connsiteY1120" fmla="*/ 564256 h 790366"/>
                <a:gd name="connsiteX1121" fmla="*/ 1364111 w 1466597"/>
                <a:gd name="connsiteY1121" fmla="*/ 562702 h 790366"/>
                <a:gd name="connsiteX1122" fmla="*/ 1363202 w 1466597"/>
                <a:gd name="connsiteY1122" fmla="*/ 562000 h 790366"/>
                <a:gd name="connsiteX1123" fmla="*/ 1362246 w 1466597"/>
                <a:gd name="connsiteY1123" fmla="*/ 560535 h 790366"/>
                <a:gd name="connsiteX1124" fmla="*/ 1360388 w 1466597"/>
                <a:gd name="connsiteY1124" fmla="*/ 556734 h 790366"/>
                <a:gd name="connsiteX1125" fmla="*/ 1360319 w 1466597"/>
                <a:gd name="connsiteY1125" fmla="*/ 555662 h 790366"/>
                <a:gd name="connsiteX1126" fmla="*/ 1359494 w 1466597"/>
                <a:gd name="connsiteY1126" fmla="*/ 554670 h 790366"/>
                <a:gd name="connsiteX1127" fmla="*/ 1358540 w 1466597"/>
                <a:gd name="connsiteY1127" fmla="*/ 554255 h 790366"/>
                <a:gd name="connsiteX1128" fmla="*/ 1357460 w 1466597"/>
                <a:gd name="connsiteY1128" fmla="*/ 554420 h 790366"/>
                <a:gd name="connsiteX1129" fmla="*/ 1357089 w 1466597"/>
                <a:gd name="connsiteY1129" fmla="*/ 554803 h 790366"/>
                <a:gd name="connsiteX1130" fmla="*/ 1357255 w 1466597"/>
                <a:gd name="connsiteY1130" fmla="*/ 557428 h 790366"/>
                <a:gd name="connsiteX1131" fmla="*/ 1358104 w 1466597"/>
                <a:gd name="connsiteY1131" fmla="*/ 560342 h 790366"/>
                <a:gd name="connsiteX1132" fmla="*/ 1362783 w 1466597"/>
                <a:gd name="connsiteY1132" fmla="*/ 566696 h 790366"/>
                <a:gd name="connsiteX1133" fmla="*/ 1365909 w 1466597"/>
                <a:gd name="connsiteY1133" fmla="*/ 570307 h 790366"/>
                <a:gd name="connsiteX1134" fmla="*/ 1366524 w 1466597"/>
                <a:gd name="connsiteY1134" fmla="*/ 571505 h 790366"/>
                <a:gd name="connsiteX1135" fmla="*/ 1366936 w 1466597"/>
                <a:gd name="connsiteY1135" fmla="*/ 574797 h 790366"/>
                <a:gd name="connsiteX1136" fmla="*/ 1365588 w 1466597"/>
                <a:gd name="connsiteY1136" fmla="*/ 576288 h 790366"/>
                <a:gd name="connsiteX1137" fmla="*/ 1367243 w 1466597"/>
                <a:gd name="connsiteY1137" fmla="*/ 579321 h 790366"/>
                <a:gd name="connsiteX1138" fmla="*/ 1367184 w 1466597"/>
                <a:gd name="connsiteY1138" fmla="*/ 579912 h 790366"/>
                <a:gd name="connsiteX1139" fmla="*/ 1366823 w 1466597"/>
                <a:gd name="connsiteY1139" fmla="*/ 580491 h 790366"/>
                <a:gd name="connsiteX1140" fmla="*/ 1362365 w 1466597"/>
                <a:gd name="connsiteY1140" fmla="*/ 581834 h 790366"/>
                <a:gd name="connsiteX1141" fmla="*/ 1358280 w 1466597"/>
                <a:gd name="connsiteY1141" fmla="*/ 587442 h 790366"/>
                <a:gd name="connsiteX1142" fmla="*/ 1353813 w 1466597"/>
                <a:gd name="connsiteY1142" fmla="*/ 590720 h 790366"/>
                <a:gd name="connsiteX1143" fmla="*/ 1351754 w 1466597"/>
                <a:gd name="connsiteY1143" fmla="*/ 591247 h 790366"/>
                <a:gd name="connsiteX1144" fmla="*/ 1350765 w 1466597"/>
                <a:gd name="connsiteY1144" fmla="*/ 590699 h 790366"/>
                <a:gd name="connsiteX1145" fmla="*/ 1349828 w 1466597"/>
                <a:gd name="connsiteY1145" fmla="*/ 589443 h 790366"/>
                <a:gd name="connsiteX1146" fmla="*/ 1349278 w 1466597"/>
                <a:gd name="connsiteY1146" fmla="*/ 587765 h 790366"/>
                <a:gd name="connsiteX1147" fmla="*/ 1349113 w 1466597"/>
                <a:gd name="connsiteY1147" fmla="*/ 585660 h 790366"/>
                <a:gd name="connsiteX1148" fmla="*/ 1350226 w 1466597"/>
                <a:gd name="connsiteY1148" fmla="*/ 584336 h 790366"/>
                <a:gd name="connsiteX1149" fmla="*/ 1352438 w 1466597"/>
                <a:gd name="connsiteY1149" fmla="*/ 577433 h 790366"/>
                <a:gd name="connsiteX1150" fmla="*/ 1352500 w 1466597"/>
                <a:gd name="connsiteY1150" fmla="*/ 575163 h 790366"/>
                <a:gd name="connsiteX1151" fmla="*/ 1349742 w 1466597"/>
                <a:gd name="connsiteY1151" fmla="*/ 572011 h 790366"/>
                <a:gd name="connsiteX1152" fmla="*/ 1348083 w 1466597"/>
                <a:gd name="connsiteY1152" fmla="*/ 569427 h 790366"/>
                <a:gd name="connsiteX1153" fmla="*/ 1347185 w 1466597"/>
                <a:gd name="connsiteY1153" fmla="*/ 565820 h 790366"/>
                <a:gd name="connsiteX1154" fmla="*/ 1345680 w 1466597"/>
                <a:gd name="connsiteY1154" fmla="*/ 556259 h 790366"/>
                <a:gd name="connsiteX1155" fmla="*/ 1344982 w 1466597"/>
                <a:gd name="connsiteY1155" fmla="*/ 553193 h 790366"/>
                <a:gd name="connsiteX1156" fmla="*/ 1343997 w 1466597"/>
                <a:gd name="connsiteY1156" fmla="*/ 550636 h 790366"/>
                <a:gd name="connsiteX1157" fmla="*/ 1342724 w 1466597"/>
                <a:gd name="connsiteY1157" fmla="*/ 548587 h 790366"/>
                <a:gd name="connsiteX1158" fmla="*/ 1341762 w 1466597"/>
                <a:gd name="connsiteY1158" fmla="*/ 546335 h 790366"/>
                <a:gd name="connsiteX1159" fmla="*/ 1341113 w 1466597"/>
                <a:gd name="connsiteY1159" fmla="*/ 543876 h 790366"/>
                <a:gd name="connsiteX1160" fmla="*/ 888527 w 1466597"/>
                <a:gd name="connsiteY1160" fmla="*/ 539352 h 790366"/>
                <a:gd name="connsiteX1161" fmla="*/ 890117 w 1466597"/>
                <a:gd name="connsiteY1161" fmla="*/ 539533 h 790366"/>
                <a:gd name="connsiteX1162" fmla="*/ 891871 w 1466597"/>
                <a:gd name="connsiteY1162" fmla="*/ 540186 h 790366"/>
                <a:gd name="connsiteX1163" fmla="*/ 893531 w 1466597"/>
                <a:gd name="connsiteY1163" fmla="*/ 541245 h 790366"/>
                <a:gd name="connsiteX1164" fmla="*/ 895102 w 1466597"/>
                <a:gd name="connsiteY1164" fmla="*/ 542714 h 790366"/>
                <a:gd name="connsiteX1165" fmla="*/ 896024 w 1466597"/>
                <a:gd name="connsiteY1165" fmla="*/ 543016 h 790366"/>
                <a:gd name="connsiteX1166" fmla="*/ 896988 w 1466597"/>
                <a:gd name="connsiteY1166" fmla="*/ 540802 h 790366"/>
                <a:gd name="connsiteX1167" fmla="*/ 897669 w 1466597"/>
                <a:gd name="connsiteY1167" fmla="*/ 540732 h 790366"/>
                <a:gd name="connsiteX1168" fmla="*/ 900687 w 1466597"/>
                <a:gd name="connsiteY1168" fmla="*/ 542608 h 790366"/>
                <a:gd name="connsiteX1169" fmla="*/ 902542 w 1466597"/>
                <a:gd name="connsiteY1169" fmla="*/ 542192 h 790366"/>
                <a:gd name="connsiteX1170" fmla="*/ 903734 w 1466597"/>
                <a:gd name="connsiteY1170" fmla="*/ 544494 h 790366"/>
                <a:gd name="connsiteX1171" fmla="*/ 904803 w 1466597"/>
                <a:gd name="connsiteY1171" fmla="*/ 544703 h 790366"/>
                <a:gd name="connsiteX1172" fmla="*/ 905795 w 1466597"/>
                <a:gd name="connsiteY1172" fmla="*/ 544425 h 790366"/>
                <a:gd name="connsiteX1173" fmla="*/ 906391 w 1466597"/>
                <a:gd name="connsiteY1173" fmla="*/ 544586 h 790366"/>
                <a:gd name="connsiteX1174" fmla="*/ 906183 w 1466597"/>
                <a:gd name="connsiteY1174" fmla="*/ 547020 h 790366"/>
                <a:gd name="connsiteX1175" fmla="*/ 903980 w 1466597"/>
                <a:gd name="connsiteY1175" fmla="*/ 549484 h 790366"/>
                <a:gd name="connsiteX1176" fmla="*/ 902955 w 1466597"/>
                <a:gd name="connsiteY1176" fmla="*/ 550107 h 790366"/>
                <a:gd name="connsiteX1177" fmla="*/ 901516 w 1466597"/>
                <a:gd name="connsiteY1177" fmla="*/ 549472 h 790366"/>
                <a:gd name="connsiteX1178" fmla="*/ 900979 w 1466597"/>
                <a:gd name="connsiteY1178" fmla="*/ 549234 h 790366"/>
                <a:gd name="connsiteX1179" fmla="*/ 900033 w 1466597"/>
                <a:gd name="connsiteY1179" fmla="*/ 548145 h 790366"/>
                <a:gd name="connsiteX1180" fmla="*/ 899317 w 1466597"/>
                <a:gd name="connsiteY1180" fmla="*/ 546768 h 790366"/>
                <a:gd name="connsiteX1181" fmla="*/ 898891 w 1466597"/>
                <a:gd name="connsiteY1181" fmla="*/ 546746 h 790366"/>
                <a:gd name="connsiteX1182" fmla="*/ 897207 w 1466597"/>
                <a:gd name="connsiteY1182" fmla="*/ 548366 h 790366"/>
                <a:gd name="connsiteX1183" fmla="*/ 897250 w 1466597"/>
                <a:gd name="connsiteY1183" fmla="*/ 549165 h 790366"/>
                <a:gd name="connsiteX1184" fmla="*/ 897951 w 1466597"/>
                <a:gd name="connsiteY1184" fmla="*/ 550369 h 790366"/>
                <a:gd name="connsiteX1185" fmla="*/ 897848 w 1466597"/>
                <a:gd name="connsiteY1185" fmla="*/ 551117 h 790366"/>
                <a:gd name="connsiteX1186" fmla="*/ 896014 w 1466597"/>
                <a:gd name="connsiteY1186" fmla="*/ 551473 h 790366"/>
                <a:gd name="connsiteX1187" fmla="*/ 894216 w 1466597"/>
                <a:gd name="connsiteY1187" fmla="*/ 551289 h 790366"/>
                <a:gd name="connsiteX1188" fmla="*/ 892022 w 1466597"/>
                <a:gd name="connsiteY1188" fmla="*/ 552336 h 790366"/>
                <a:gd name="connsiteX1189" fmla="*/ 891497 w 1466597"/>
                <a:gd name="connsiteY1189" fmla="*/ 551683 h 790366"/>
                <a:gd name="connsiteX1190" fmla="*/ 891163 w 1466597"/>
                <a:gd name="connsiteY1190" fmla="*/ 549844 h 790366"/>
                <a:gd name="connsiteX1191" fmla="*/ 890477 w 1466597"/>
                <a:gd name="connsiteY1191" fmla="*/ 550053 h 790366"/>
                <a:gd name="connsiteX1192" fmla="*/ 889442 w 1466597"/>
                <a:gd name="connsiteY1192" fmla="*/ 552306 h 790366"/>
                <a:gd name="connsiteX1193" fmla="*/ 888312 w 1466597"/>
                <a:gd name="connsiteY1193" fmla="*/ 553731 h 790366"/>
                <a:gd name="connsiteX1194" fmla="*/ 886250 w 1466597"/>
                <a:gd name="connsiteY1194" fmla="*/ 554912 h 790366"/>
                <a:gd name="connsiteX1195" fmla="*/ 885800 w 1466597"/>
                <a:gd name="connsiteY1195" fmla="*/ 555485 h 790366"/>
                <a:gd name="connsiteX1196" fmla="*/ 884290 w 1466597"/>
                <a:gd name="connsiteY1196" fmla="*/ 555563 h 790366"/>
                <a:gd name="connsiteX1197" fmla="*/ 882053 w 1466597"/>
                <a:gd name="connsiteY1197" fmla="*/ 556307 h 790366"/>
                <a:gd name="connsiteX1198" fmla="*/ 880672 w 1466597"/>
                <a:gd name="connsiteY1198" fmla="*/ 556182 h 790366"/>
                <a:gd name="connsiteX1199" fmla="*/ 872435 w 1466597"/>
                <a:gd name="connsiteY1199" fmla="*/ 553739 h 790366"/>
                <a:gd name="connsiteX1200" fmla="*/ 870499 w 1466597"/>
                <a:gd name="connsiteY1200" fmla="*/ 552846 h 790366"/>
                <a:gd name="connsiteX1201" fmla="*/ 877272 w 1466597"/>
                <a:gd name="connsiteY1201" fmla="*/ 547236 h 790366"/>
                <a:gd name="connsiteX1202" fmla="*/ 880837 w 1466597"/>
                <a:gd name="connsiteY1202" fmla="*/ 545063 h 790366"/>
                <a:gd name="connsiteX1203" fmla="*/ 882897 w 1466597"/>
                <a:gd name="connsiteY1203" fmla="*/ 545181 h 790366"/>
                <a:gd name="connsiteX1204" fmla="*/ 884958 w 1466597"/>
                <a:gd name="connsiteY1204" fmla="*/ 545857 h 790366"/>
                <a:gd name="connsiteX1205" fmla="*/ 886046 w 1466597"/>
                <a:gd name="connsiteY1205" fmla="*/ 545749 h 790366"/>
                <a:gd name="connsiteX1206" fmla="*/ 886126 w 1466597"/>
                <a:gd name="connsiteY1206" fmla="*/ 543257 h 790366"/>
                <a:gd name="connsiteX1207" fmla="*/ 884208 w 1466597"/>
                <a:gd name="connsiteY1207" fmla="*/ 541398 h 790366"/>
                <a:gd name="connsiteX1208" fmla="*/ 884280 w 1466597"/>
                <a:gd name="connsiteY1208" fmla="*/ 540625 h 790366"/>
                <a:gd name="connsiteX1209" fmla="*/ 895648 w 1466597"/>
                <a:gd name="connsiteY1209" fmla="*/ 533058 h 790366"/>
                <a:gd name="connsiteX1210" fmla="*/ 896352 w 1466597"/>
                <a:gd name="connsiteY1210" fmla="*/ 533368 h 790366"/>
                <a:gd name="connsiteX1211" fmla="*/ 896635 w 1466597"/>
                <a:gd name="connsiteY1211" fmla="*/ 533970 h 790366"/>
                <a:gd name="connsiteX1212" fmla="*/ 896496 w 1466597"/>
                <a:gd name="connsiteY1212" fmla="*/ 534869 h 790366"/>
                <a:gd name="connsiteX1213" fmla="*/ 895716 w 1466597"/>
                <a:gd name="connsiteY1213" fmla="*/ 535987 h 790366"/>
                <a:gd name="connsiteX1214" fmla="*/ 893337 w 1466597"/>
                <a:gd name="connsiteY1214" fmla="*/ 538069 h 790366"/>
                <a:gd name="connsiteX1215" fmla="*/ 892586 w 1466597"/>
                <a:gd name="connsiteY1215" fmla="*/ 538309 h 790366"/>
                <a:gd name="connsiteX1216" fmla="*/ 890721 w 1466597"/>
                <a:gd name="connsiteY1216" fmla="*/ 537168 h 790366"/>
                <a:gd name="connsiteX1217" fmla="*/ 889497 w 1466597"/>
                <a:gd name="connsiteY1217" fmla="*/ 535958 h 790366"/>
                <a:gd name="connsiteX1218" fmla="*/ 890307 w 1466597"/>
                <a:gd name="connsiteY1218" fmla="*/ 535035 h 790366"/>
                <a:gd name="connsiteX1219" fmla="*/ 893921 w 1466597"/>
                <a:gd name="connsiteY1219" fmla="*/ 533091 h 790366"/>
                <a:gd name="connsiteX1220" fmla="*/ 683414 w 1466597"/>
                <a:gd name="connsiteY1220" fmla="*/ 526486 h 790366"/>
                <a:gd name="connsiteX1221" fmla="*/ 678212 w 1466597"/>
                <a:gd name="connsiteY1221" fmla="*/ 534636 h 790366"/>
                <a:gd name="connsiteX1222" fmla="*/ 676341 w 1466597"/>
                <a:gd name="connsiteY1222" fmla="*/ 535236 h 790366"/>
                <a:gd name="connsiteX1223" fmla="*/ 674354 w 1466597"/>
                <a:gd name="connsiteY1223" fmla="*/ 534932 h 790366"/>
                <a:gd name="connsiteX1224" fmla="*/ 672792 w 1466597"/>
                <a:gd name="connsiteY1224" fmla="*/ 531235 h 790366"/>
                <a:gd name="connsiteX1225" fmla="*/ 673989 w 1466597"/>
                <a:gd name="connsiteY1225" fmla="*/ 531119 h 790366"/>
                <a:gd name="connsiteX1226" fmla="*/ 676498 w 1466597"/>
                <a:gd name="connsiteY1226" fmla="*/ 528685 h 790366"/>
                <a:gd name="connsiteX1227" fmla="*/ 682049 w 1466597"/>
                <a:gd name="connsiteY1227" fmla="*/ 526710 h 790366"/>
                <a:gd name="connsiteX1228" fmla="*/ 1103803 w 1466597"/>
                <a:gd name="connsiteY1228" fmla="*/ 480396 h 790366"/>
                <a:gd name="connsiteX1229" fmla="*/ 1103466 w 1466597"/>
                <a:gd name="connsiteY1229" fmla="*/ 481657 h 790366"/>
                <a:gd name="connsiteX1230" fmla="*/ 1099531 w 1466597"/>
                <a:gd name="connsiteY1230" fmla="*/ 483982 h 790366"/>
                <a:gd name="connsiteX1231" fmla="*/ 1095388 w 1466597"/>
                <a:gd name="connsiteY1231" fmla="*/ 487888 h 790366"/>
                <a:gd name="connsiteX1232" fmla="*/ 1094165 w 1466597"/>
                <a:gd name="connsiteY1232" fmla="*/ 488108 h 790366"/>
                <a:gd name="connsiteX1233" fmla="*/ 1096001 w 1466597"/>
                <a:gd name="connsiteY1233" fmla="*/ 485612 h 790366"/>
                <a:gd name="connsiteX1234" fmla="*/ 1098467 w 1466597"/>
                <a:gd name="connsiteY1234" fmla="*/ 482855 h 790366"/>
                <a:gd name="connsiteX1235" fmla="*/ 1100787 w 1466597"/>
                <a:gd name="connsiteY1235" fmla="*/ 481120 h 790366"/>
                <a:gd name="connsiteX1236" fmla="*/ 1005747 w 1466597"/>
                <a:gd name="connsiteY1236" fmla="*/ 475187 h 790366"/>
                <a:gd name="connsiteX1237" fmla="*/ 1009964 w 1466597"/>
                <a:gd name="connsiteY1237" fmla="*/ 477453 h 790366"/>
                <a:gd name="connsiteX1238" fmla="*/ 1007221 w 1466597"/>
                <a:gd name="connsiteY1238" fmla="*/ 478483 h 790366"/>
                <a:gd name="connsiteX1239" fmla="*/ 1005885 w 1466597"/>
                <a:gd name="connsiteY1239" fmla="*/ 479653 h 790366"/>
                <a:gd name="connsiteX1240" fmla="*/ 1000841 w 1466597"/>
                <a:gd name="connsiteY1240" fmla="*/ 478944 h 790366"/>
                <a:gd name="connsiteX1241" fmla="*/ 1001892 w 1466597"/>
                <a:gd name="connsiteY1241" fmla="*/ 476643 h 790366"/>
                <a:gd name="connsiteX1242" fmla="*/ 1030225 w 1466597"/>
                <a:gd name="connsiteY1242" fmla="*/ 467095 h 790366"/>
                <a:gd name="connsiteX1243" fmla="*/ 1032779 w 1466597"/>
                <a:gd name="connsiteY1243" fmla="*/ 468277 h 790366"/>
                <a:gd name="connsiteX1244" fmla="*/ 1034362 w 1466597"/>
                <a:gd name="connsiteY1244" fmla="*/ 469938 h 790366"/>
                <a:gd name="connsiteX1245" fmla="*/ 1033625 w 1466597"/>
                <a:gd name="connsiteY1245" fmla="*/ 471259 h 790366"/>
                <a:gd name="connsiteX1246" fmla="*/ 1025163 w 1466597"/>
                <a:gd name="connsiteY1246" fmla="*/ 478104 h 790366"/>
                <a:gd name="connsiteX1247" fmla="*/ 1024450 w 1466597"/>
                <a:gd name="connsiteY1247" fmla="*/ 478995 h 790366"/>
                <a:gd name="connsiteX1248" fmla="*/ 1023682 w 1466597"/>
                <a:gd name="connsiteY1248" fmla="*/ 481313 h 790366"/>
                <a:gd name="connsiteX1249" fmla="*/ 1022986 w 1466597"/>
                <a:gd name="connsiteY1249" fmla="*/ 482119 h 790366"/>
                <a:gd name="connsiteX1250" fmla="*/ 1021869 w 1466597"/>
                <a:gd name="connsiteY1250" fmla="*/ 482491 h 790366"/>
                <a:gd name="connsiteX1251" fmla="*/ 1021057 w 1466597"/>
                <a:gd name="connsiteY1251" fmla="*/ 483502 h 790366"/>
                <a:gd name="connsiteX1252" fmla="*/ 1020549 w 1466597"/>
                <a:gd name="connsiteY1252" fmla="*/ 485159 h 790366"/>
                <a:gd name="connsiteX1253" fmla="*/ 1019506 w 1466597"/>
                <a:gd name="connsiteY1253" fmla="*/ 486020 h 790366"/>
                <a:gd name="connsiteX1254" fmla="*/ 1017928 w 1466597"/>
                <a:gd name="connsiteY1254" fmla="*/ 486095 h 790366"/>
                <a:gd name="connsiteX1255" fmla="*/ 1016835 w 1466597"/>
                <a:gd name="connsiteY1255" fmla="*/ 486550 h 790366"/>
                <a:gd name="connsiteX1256" fmla="*/ 1016227 w 1466597"/>
                <a:gd name="connsiteY1256" fmla="*/ 487390 h 790366"/>
                <a:gd name="connsiteX1257" fmla="*/ 1014515 w 1466597"/>
                <a:gd name="connsiteY1257" fmla="*/ 488085 h 790366"/>
                <a:gd name="connsiteX1258" fmla="*/ 1011697 w 1466597"/>
                <a:gd name="connsiteY1258" fmla="*/ 488634 h 790366"/>
                <a:gd name="connsiteX1259" fmla="*/ 1011031 w 1466597"/>
                <a:gd name="connsiteY1259" fmla="*/ 487510 h 790366"/>
                <a:gd name="connsiteX1260" fmla="*/ 1012512 w 1466597"/>
                <a:gd name="connsiteY1260" fmla="*/ 484711 h 790366"/>
                <a:gd name="connsiteX1261" fmla="*/ 1013693 w 1466597"/>
                <a:gd name="connsiteY1261" fmla="*/ 483119 h 790366"/>
                <a:gd name="connsiteX1262" fmla="*/ 1014571 w 1466597"/>
                <a:gd name="connsiteY1262" fmla="*/ 482743 h 790366"/>
                <a:gd name="connsiteX1263" fmla="*/ 1017810 w 1466597"/>
                <a:gd name="connsiteY1263" fmla="*/ 479579 h 790366"/>
                <a:gd name="connsiteX1264" fmla="*/ 1021403 w 1466597"/>
                <a:gd name="connsiteY1264" fmla="*/ 477273 h 790366"/>
                <a:gd name="connsiteX1265" fmla="*/ 1024702 w 1466597"/>
                <a:gd name="connsiteY1265" fmla="*/ 473899 h 790366"/>
                <a:gd name="connsiteX1266" fmla="*/ 1028051 w 1466597"/>
                <a:gd name="connsiteY1266" fmla="*/ 469078 h 790366"/>
                <a:gd name="connsiteX1267" fmla="*/ 1028672 w 1466597"/>
                <a:gd name="connsiteY1267" fmla="*/ 467279 h 790366"/>
                <a:gd name="connsiteX1268" fmla="*/ 543878 w 1466597"/>
                <a:gd name="connsiteY1268" fmla="*/ 465802 h 790366"/>
                <a:gd name="connsiteX1269" fmla="*/ 545141 w 1466597"/>
                <a:gd name="connsiteY1269" fmla="*/ 466309 h 790366"/>
                <a:gd name="connsiteX1270" fmla="*/ 547483 w 1466597"/>
                <a:gd name="connsiteY1270" fmla="*/ 468211 h 790366"/>
                <a:gd name="connsiteX1271" fmla="*/ 548727 w 1466597"/>
                <a:gd name="connsiteY1271" fmla="*/ 468318 h 790366"/>
                <a:gd name="connsiteX1272" fmla="*/ 552654 w 1466597"/>
                <a:gd name="connsiteY1272" fmla="*/ 467739 h 790366"/>
                <a:gd name="connsiteX1273" fmla="*/ 554095 w 1466597"/>
                <a:gd name="connsiteY1273" fmla="*/ 468147 h 790366"/>
                <a:gd name="connsiteX1274" fmla="*/ 555492 w 1466597"/>
                <a:gd name="connsiteY1274" fmla="*/ 468967 h 790366"/>
                <a:gd name="connsiteX1275" fmla="*/ 556357 w 1466597"/>
                <a:gd name="connsiteY1275" fmla="*/ 470218 h 790366"/>
                <a:gd name="connsiteX1276" fmla="*/ 556521 w 1466597"/>
                <a:gd name="connsiteY1276" fmla="*/ 472416 h 790366"/>
                <a:gd name="connsiteX1277" fmla="*/ 555883 w 1466597"/>
                <a:gd name="connsiteY1277" fmla="*/ 474376 h 790366"/>
                <a:gd name="connsiteX1278" fmla="*/ 556073 w 1466597"/>
                <a:gd name="connsiteY1278" fmla="*/ 477136 h 790366"/>
                <a:gd name="connsiteX1279" fmla="*/ 555935 w 1466597"/>
                <a:gd name="connsiteY1279" fmla="*/ 478331 h 790366"/>
                <a:gd name="connsiteX1280" fmla="*/ 558022 w 1466597"/>
                <a:gd name="connsiteY1280" fmla="*/ 479893 h 790366"/>
                <a:gd name="connsiteX1281" fmla="*/ 558673 w 1466597"/>
                <a:gd name="connsiteY1281" fmla="*/ 482012 h 790366"/>
                <a:gd name="connsiteX1282" fmla="*/ 559011 w 1466597"/>
                <a:gd name="connsiteY1282" fmla="*/ 484284 h 790366"/>
                <a:gd name="connsiteX1283" fmla="*/ 554482 w 1466597"/>
                <a:gd name="connsiteY1283" fmla="*/ 485043 h 790366"/>
                <a:gd name="connsiteX1284" fmla="*/ 549956 w 1466597"/>
                <a:gd name="connsiteY1284" fmla="*/ 485164 h 790366"/>
                <a:gd name="connsiteX1285" fmla="*/ 546049 w 1466597"/>
                <a:gd name="connsiteY1285" fmla="*/ 486701 h 790366"/>
                <a:gd name="connsiteX1286" fmla="*/ 545251 w 1466597"/>
                <a:gd name="connsiteY1286" fmla="*/ 487836 h 790366"/>
                <a:gd name="connsiteX1287" fmla="*/ 545874 w 1466597"/>
                <a:gd name="connsiteY1287" fmla="*/ 489521 h 790366"/>
                <a:gd name="connsiteX1288" fmla="*/ 544803 w 1466597"/>
                <a:gd name="connsiteY1288" fmla="*/ 489952 h 790366"/>
                <a:gd name="connsiteX1289" fmla="*/ 543813 w 1466597"/>
                <a:gd name="connsiteY1289" fmla="*/ 489582 h 790366"/>
                <a:gd name="connsiteX1290" fmla="*/ 541924 w 1466597"/>
                <a:gd name="connsiteY1290" fmla="*/ 488022 h 790366"/>
                <a:gd name="connsiteX1291" fmla="*/ 539848 w 1466597"/>
                <a:gd name="connsiteY1291" fmla="*/ 487279 h 790366"/>
                <a:gd name="connsiteX1292" fmla="*/ 532585 w 1466597"/>
                <a:gd name="connsiteY1292" fmla="*/ 486130 h 790366"/>
                <a:gd name="connsiteX1293" fmla="*/ 523467 w 1466597"/>
                <a:gd name="connsiteY1293" fmla="*/ 481589 h 790366"/>
                <a:gd name="connsiteX1294" fmla="*/ 519544 w 1466597"/>
                <a:gd name="connsiteY1294" fmla="*/ 480650 h 790366"/>
                <a:gd name="connsiteX1295" fmla="*/ 515558 w 1466597"/>
                <a:gd name="connsiteY1295" fmla="*/ 477323 h 790366"/>
                <a:gd name="connsiteX1296" fmla="*/ 511953 w 1466597"/>
                <a:gd name="connsiteY1296" fmla="*/ 473084 h 790366"/>
                <a:gd name="connsiteX1297" fmla="*/ 514303 w 1466597"/>
                <a:gd name="connsiteY1297" fmla="*/ 472403 h 790366"/>
                <a:gd name="connsiteX1298" fmla="*/ 516666 w 1466597"/>
                <a:gd name="connsiteY1298" fmla="*/ 472055 h 790366"/>
                <a:gd name="connsiteX1299" fmla="*/ 527262 w 1466597"/>
                <a:gd name="connsiteY1299" fmla="*/ 472689 h 790366"/>
                <a:gd name="connsiteX1300" fmla="*/ 528586 w 1466597"/>
                <a:gd name="connsiteY1300" fmla="*/ 469648 h 790366"/>
                <a:gd name="connsiteX1301" fmla="*/ 529951 w 1466597"/>
                <a:gd name="connsiteY1301" fmla="*/ 468888 h 790366"/>
                <a:gd name="connsiteX1302" fmla="*/ 533317 w 1466597"/>
                <a:gd name="connsiteY1302" fmla="*/ 468027 h 790366"/>
                <a:gd name="connsiteX1303" fmla="*/ 536462 w 1466597"/>
                <a:gd name="connsiteY1303" fmla="*/ 466339 h 790366"/>
                <a:gd name="connsiteX1304" fmla="*/ 537874 w 1466597"/>
                <a:gd name="connsiteY1304" fmla="*/ 466380 h 790366"/>
                <a:gd name="connsiteX1305" fmla="*/ 539315 w 1466597"/>
                <a:gd name="connsiteY1305" fmla="*/ 467030 h 790366"/>
                <a:gd name="connsiteX1306" fmla="*/ 542296 w 1466597"/>
                <a:gd name="connsiteY1306" fmla="*/ 466016 h 790366"/>
                <a:gd name="connsiteX1307" fmla="*/ 1081038 w 1466597"/>
                <a:gd name="connsiteY1307" fmla="*/ 465635 h 790366"/>
                <a:gd name="connsiteX1308" fmla="*/ 1081694 w 1466597"/>
                <a:gd name="connsiteY1308" fmla="*/ 466130 h 790366"/>
                <a:gd name="connsiteX1309" fmla="*/ 1081285 w 1466597"/>
                <a:gd name="connsiteY1309" fmla="*/ 468090 h 790366"/>
                <a:gd name="connsiteX1310" fmla="*/ 1080469 w 1466597"/>
                <a:gd name="connsiteY1310" fmla="*/ 469028 h 790366"/>
                <a:gd name="connsiteX1311" fmla="*/ 1078244 w 1466597"/>
                <a:gd name="connsiteY1311" fmla="*/ 468695 h 790366"/>
                <a:gd name="connsiteX1312" fmla="*/ 1077055 w 1466597"/>
                <a:gd name="connsiteY1312" fmla="*/ 468102 h 790366"/>
                <a:gd name="connsiteX1313" fmla="*/ 1044503 w 1466597"/>
                <a:gd name="connsiteY1313" fmla="*/ 462586 h 790366"/>
                <a:gd name="connsiteX1314" fmla="*/ 1048748 w 1466597"/>
                <a:gd name="connsiteY1314" fmla="*/ 463773 h 790366"/>
                <a:gd name="connsiteX1315" fmla="*/ 1049315 w 1466597"/>
                <a:gd name="connsiteY1315" fmla="*/ 464827 h 790366"/>
                <a:gd name="connsiteX1316" fmla="*/ 1054218 w 1466597"/>
                <a:gd name="connsiteY1316" fmla="*/ 464575 h 790366"/>
                <a:gd name="connsiteX1317" fmla="*/ 1055627 w 1466597"/>
                <a:gd name="connsiteY1317" fmla="*/ 464761 h 790366"/>
                <a:gd name="connsiteX1318" fmla="*/ 1056190 w 1466597"/>
                <a:gd name="connsiteY1318" fmla="*/ 465250 h 790366"/>
                <a:gd name="connsiteX1319" fmla="*/ 1055526 w 1466597"/>
                <a:gd name="connsiteY1319" fmla="*/ 465965 h 790366"/>
                <a:gd name="connsiteX1320" fmla="*/ 1053634 w 1466597"/>
                <a:gd name="connsiteY1320" fmla="*/ 466905 h 790366"/>
                <a:gd name="connsiteX1321" fmla="*/ 1048104 w 1466597"/>
                <a:gd name="connsiteY1321" fmla="*/ 468552 h 790366"/>
                <a:gd name="connsiteX1322" fmla="*/ 1043611 w 1466597"/>
                <a:gd name="connsiteY1322" fmla="*/ 470720 h 790366"/>
                <a:gd name="connsiteX1323" fmla="*/ 1043024 w 1466597"/>
                <a:gd name="connsiteY1323" fmla="*/ 470520 h 790366"/>
                <a:gd name="connsiteX1324" fmla="*/ 1042204 w 1466597"/>
                <a:gd name="connsiteY1324" fmla="*/ 468146 h 790366"/>
                <a:gd name="connsiteX1325" fmla="*/ 1041373 w 1466597"/>
                <a:gd name="connsiteY1325" fmla="*/ 467185 h 790366"/>
                <a:gd name="connsiteX1326" fmla="*/ 1040867 w 1466597"/>
                <a:gd name="connsiteY1326" fmla="*/ 465847 h 790366"/>
                <a:gd name="connsiteX1327" fmla="*/ 1040875 w 1466597"/>
                <a:gd name="connsiteY1327" fmla="*/ 465350 h 790366"/>
                <a:gd name="connsiteX1328" fmla="*/ 1041699 w 1466597"/>
                <a:gd name="connsiteY1328" fmla="*/ 464427 h 790366"/>
                <a:gd name="connsiteX1329" fmla="*/ 1043340 w 1466597"/>
                <a:gd name="connsiteY1329" fmla="*/ 463075 h 790366"/>
                <a:gd name="connsiteX1330" fmla="*/ 1015722 w 1466597"/>
                <a:gd name="connsiteY1330" fmla="*/ 462169 h 790366"/>
                <a:gd name="connsiteX1331" fmla="*/ 1016496 w 1466597"/>
                <a:gd name="connsiteY1331" fmla="*/ 463741 h 790366"/>
                <a:gd name="connsiteX1332" fmla="*/ 1016484 w 1466597"/>
                <a:gd name="connsiteY1332" fmla="*/ 464752 h 790366"/>
                <a:gd name="connsiteX1333" fmla="*/ 1015686 w 1466597"/>
                <a:gd name="connsiteY1333" fmla="*/ 465722 h 790366"/>
                <a:gd name="connsiteX1334" fmla="*/ 1016452 w 1466597"/>
                <a:gd name="connsiteY1334" fmla="*/ 467500 h 790366"/>
                <a:gd name="connsiteX1335" fmla="*/ 1015124 w 1466597"/>
                <a:gd name="connsiteY1335" fmla="*/ 470555 h 790366"/>
                <a:gd name="connsiteX1336" fmla="*/ 1014611 w 1466597"/>
                <a:gd name="connsiteY1336" fmla="*/ 472494 h 790366"/>
                <a:gd name="connsiteX1337" fmla="*/ 1013902 w 1466597"/>
                <a:gd name="connsiteY1337" fmla="*/ 473712 h 790366"/>
                <a:gd name="connsiteX1338" fmla="*/ 1013190 w 1466597"/>
                <a:gd name="connsiteY1338" fmla="*/ 474183 h 790366"/>
                <a:gd name="connsiteX1339" fmla="*/ 1012475 w 1466597"/>
                <a:gd name="connsiteY1339" fmla="*/ 473907 h 790366"/>
                <a:gd name="connsiteX1340" fmla="*/ 1012326 w 1466597"/>
                <a:gd name="connsiteY1340" fmla="*/ 473234 h 790366"/>
                <a:gd name="connsiteX1341" fmla="*/ 1012746 w 1466597"/>
                <a:gd name="connsiteY1341" fmla="*/ 472165 h 790366"/>
                <a:gd name="connsiteX1342" fmla="*/ 1011060 w 1466597"/>
                <a:gd name="connsiteY1342" fmla="*/ 472200 h 790366"/>
                <a:gd name="connsiteX1343" fmla="*/ 1010547 w 1466597"/>
                <a:gd name="connsiteY1343" fmla="*/ 469535 h 790366"/>
                <a:gd name="connsiteX1344" fmla="*/ 1011478 w 1466597"/>
                <a:gd name="connsiteY1344" fmla="*/ 468690 h 790366"/>
                <a:gd name="connsiteX1345" fmla="*/ 1011815 w 1466597"/>
                <a:gd name="connsiteY1345" fmla="*/ 467547 h 790366"/>
                <a:gd name="connsiteX1346" fmla="*/ 1011921 w 1466597"/>
                <a:gd name="connsiteY1346" fmla="*/ 466779 h 790366"/>
                <a:gd name="connsiteX1347" fmla="*/ 1013019 w 1466597"/>
                <a:gd name="connsiteY1347" fmla="*/ 463381 h 790366"/>
                <a:gd name="connsiteX1348" fmla="*/ 1013411 w 1466597"/>
                <a:gd name="connsiteY1348" fmla="*/ 463143 h 790366"/>
                <a:gd name="connsiteX1349" fmla="*/ 1013539 w 1466597"/>
                <a:gd name="connsiteY1349" fmla="*/ 463953 h 790366"/>
                <a:gd name="connsiteX1350" fmla="*/ 1013895 w 1466597"/>
                <a:gd name="connsiteY1350" fmla="*/ 464190 h 790366"/>
                <a:gd name="connsiteX1351" fmla="*/ 1014478 w 1466597"/>
                <a:gd name="connsiteY1351" fmla="*/ 463858 h 790366"/>
                <a:gd name="connsiteX1352" fmla="*/ 1015355 w 1466597"/>
                <a:gd name="connsiteY1352" fmla="*/ 462345 h 790366"/>
                <a:gd name="connsiteX1353" fmla="*/ 906765 w 1466597"/>
                <a:gd name="connsiteY1353" fmla="*/ 461694 h 790366"/>
                <a:gd name="connsiteX1354" fmla="*/ 908302 w 1466597"/>
                <a:gd name="connsiteY1354" fmla="*/ 462208 h 790366"/>
                <a:gd name="connsiteX1355" fmla="*/ 908612 w 1466597"/>
                <a:gd name="connsiteY1355" fmla="*/ 462887 h 790366"/>
                <a:gd name="connsiteX1356" fmla="*/ 906071 w 1466597"/>
                <a:gd name="connsiteY1356" fmla="*/ 466676 h 790366"/>
                <a:gd name="connsiteX1357" fmla="*/ 905207 w 1466597"/>
                <a:gd name="connsiteY1357" fmla="*/ 467146 h 790366"/>
                <a:gd name="connsiteX1358" fmla="*/ 903976 w 1466597"/>
                <a:gd name="connsiteY1358" fmla="*/ 467287 h 790366"/>
                <a:gd name="connsiteX1359" fmla="*/ 905622 w 1466597"/>
                <a:gd name="connsiteY1359" fmla="*/ 465394 h 790366"/>
                <a:gd name="connsiteX1360" fmla="*/ 371968 w 1466597"/>
                <a:gd name="connsiteY1360" fmla="*/ 457732 h 790366"/>
                <a:gd name="connsiteX1361" fmla="*/ 373593 w 1466597"/>
                <a:gd name="connsiteY1361" fmla="*/ 461622 h 790366"/>
                <a:gd name="connsiteX1362" fmla="*/ 376603 w 1466597"/>
                <a:gd name="connsiteY1362" fmla="*/ 463477 h 790366"/>
                <a:gd name="connsiteX1363" fmla="*/ 382116 w 1466597"/>
                <a:gd name="connsiteY1363" fmla="*/ 465995 h 790366"/>
                <a:gd name="connsiteX1364" fmla="*/ 385653 w 1466597"/>
                <a:gd name="connsiteY1364" fmla="*/ 465737 h 790366"/>
                <a:gd name="connsiteX1365" fmla="*/ 388456 w 1466597"/>
                <a:gd name="connsiteY1365" fmla="*/ 467839 h 790366"/>
                <a:gd name="connsiteX1366" fmla="*/ 389616 w 1466597"/>
                <a:gd name="connsiteY1366" fmla="*/ 469546 h 790366"/>
                <a:gd name="connsiteX1367" fmla="*/ 385405 w 1466597"/>
                <a:gd name="connsiteY1367" fmla="*/ 468320 h 790366"/>
                <a:gd name="connsiteX1368" fmla="*/ 379318 w 1466597"/>
                <a:gd name="connsiteY1368" fmla="*/ 468407 h 790366"/>
                <a:gd name="connsiteX1369" fmla="*/ 371088 w 1466597"/>
                <a:gd name="connsiteY1369" fmla="*/ 463269 h 790366"/>
                <a:gd name="connsiteX1370" fmla="*/ 368138 w 1466597"/>
                <a:gd name="connsiteY1370" fmla="*/ 462101 h 790366"/>
                <a:gd name="connsiteX1371" fmla="*/ 368810 w 1466597"/>
                <a:gd name="connsiteY1371" fmla="*/ 459212 h 790366"/>
                <a:gd name="connsiteX1372" fmla="*/ 1006814 w 1466597"/>
                <a:gd name="connsiteY1372" fmla="*/ 445489 h 790366"/>
                <a:gd name="connsiteX1373" fmla="*/ 1008686 w 1466597"/>
                <a:gd name="connsiteY1373" fmla="*/ 446415 h 790366"/>
                <a:gd name="connsiteX1374" fmla="*/ 1009230 w 1466597"/>
                <a:gd name="connsiteY1374" fmla="*/ 447372 h 790366"/>
                <a:gd name="connsiteX1375" fmla="*/ 1009546 w 1466597"/>
                <a:gd name="connsiteY1375" fmla="*/ 449274 h 790366"/>
                <a:gd name="connsiteX1376" fmla="*/ 1006312 w 1466597"/>
                <a:gd name="connsiteY1376" fmla="*/ 449594 h 790366"/>
                <a:gd name="connsiteX1377" fmla="*/ 1004832 w 1466597"/>
                <a:gd name="connsiteY1377" fmla="*/ 449103 h 790366"/>
                <a:gd name="connsiteX1378" fmla="*/ 1004619 w 1466597"/>
                <a:gd name="connsiteY1378" fmla="*/ 448572 h 790366"/>
                <a:gd name="connsiteX1379" fmla="*/ 1005234 w 1466597"/>
                <a:gd name="connsiteY1379" fmla="*/ 446622 h 790366"/>
                <a:gd name="connsiteX1380" fmla="*/ 1005184 w 1466597"/>
                <a:gd name="connsiteY1380" fmla="*/ 445798 h 790366"/>
                <a:gd name="connsiteX1381" fmla="*/ 404555 w 1466597"/>
                <a:gd name="connsiteY1381" fmla="*/ 334547 h 790366"/>
                <a:gd name="connsiteX1382" fmla="*/ 409235 w 1466597"/>
                <a:gd name="connsiteY1382" fmla="*/ 338068 h 790366"/>
                <a:gd name="connsiteX1383" fmla="*/ 409622 w 1466597"/>
                <a:gd name="connsiteY1383" fmla="*/ 339054 h 790366"/>
                <a:gd name="connsiteX1384" fmla="*/ 412288 w 1466597"/>
                <a:gd name="connsiteY1384" fmla="*/ 338894 h 790366"/>
                <a:gd name="connsiteX1385" fmla="*/ 416023 w 1466597"/>
                <a:gd name="connsiteY1385" fmla="*/ 339318 h 790366"/>
                <a:gd name="connsiteX1386" fmla="*/ 420157 w 1466597"/>
                <a:gd name="connsiteY1386" fmla="*/ 340273 h 790366"/>
                <a:gd name="connsiteX1387" fmla="*/ 424246 w 1466597"/>
                <a:gd name="connsiteY1387" fmla="*/ 339930 h 790366"/>
                <a:gd name="connsiteX1388" fmla="*/ 429400 w 1466597"/>
                <a:gd name="connsiteY1388" fmla="*/ 336903 h 790366"/>
                <a:gd name="connsiteX1389" fmla="*/ 432480 w 1466597"/>
                <a:gd name="connsiteY1389" fmla="*/ 336107 h 790366"/>
                <a:gd name="connsiteX1390" fmla="*/ 435577 w 1466597"/>
                <a:gd name="connsiteY1390" fmla="*/ 335688 h 790366"/>
                <a:gd name="connsiteX1391" fmla="*/ 438920 w 1466597"/>
                <a:gd name="connsiteY1391" fmla="*/ 336426 h 790366"/>
                <a:gd name="connsiteX1392" fmla="*/ 442188 w 1466597"/>
                <a:gd name="connsiteY1392" fmla="*/ 338032 h 790366"/>
                <a:gd name="connsiteX1393" fmla="*/ 443449 w 1466597"/>
                <a:gd name="connsiteY1393" fmla="*/ 338977 h 790366"/>
                <a:gd name="connsiteX1394" fmla="*/ 444454 w 1466597"/>
                <a:gd name="connsiteY1394" fmla="*/ 340631 h 790366"/>
                <a:gd name="connsiteX1395" fmla="*/ 445121 w 1466597"/>
                <a:gd name="connsiteY1395" fmla="*/ 342629 h 790366"/>
                <a:gd name="connsiteX1396" fmla="*/ 446114 w 1466597"/>
                <a:gd name="connsiteY1396" fmla="*/ 344060 h 790366"/>
                <a:gd name="connsiteX1397" fmla="*/ 452235 w 1466597"/>
                <a:gd name="connsiteY1397" fmla="*/ 345825 h 790366"/>
                <a:gd name="connsiteX1398" fmla="*/ 456146 w 1466597"/>
                <a:gd name="connsiteY1398" fmla="*/ 346528 h 790366"/>
                <a:gd name="connsiteX1399" fmla="*/ 457087 w 1466597"/>
                <a:gd name="connsiteY1399" fmla="*/ 347495 h 790366"/>
                <a:gd name="connsiteX1400" fmla="*/ 457921 w 1466597"/>
                <a:gd name="connsiteY1400" fmla="*/ 348828 h 790366"/>
                <a:gd name="connsiteX1401" fmla="*/ 461159 w 1466597"/>
                <a:gd name="connsiteY1401" fmla="*/ 349841 h 790366"/>
                <a:gd name="connsiteX1402" fmla="*/ 464540 w 1466597"/>
                <a:gd name="connsiteY1402" fmla="*/ 349471 h 790366"/>
                <a:gd name="connsiteX1403" fmla="*/ 466426 w 1466597"/>
                <a:gd name="connsiteY1403" fmla="*/ 349831 h 790366"/>
                <a:gd name="connsiteX1404" fmla="*/ 472168 w 1466597"/>
                <a:gd name="connsiteY1404" fmla="*/ 349881 h 790366"/>
                <a:gd name="connsiteX1405" fmla="*/ 479312 w 1466597"/>
                <a:gd name="connsiteY1405" fmla="*/ 351359 h 790366"/>
                <a:gd name="connsiteX1406" fmla="*/ 478156 w 1466597"/>
                <a:gd name="connsiteY1406" fmla="*/ 355251 h 790366"/>
                <a:gd name="connsiteX1407" fmla="*/ 475832 w 1466597"/>
                <a:gd name="connsiteY1407" fmla="*/ 356959 h 790366"/>
                <a:gd name="connsiteX1408" fmla="*/ 469285 w 1466597"/>
                <a:gd name="connsiteY1408" fmla="*/ 356410 h 790366"/>
                <a:gd name="connsiteX1409" fmla="*/ 462763 w 1466597"/>
                <a:gd name="connsiteY1409" fmla="*/ 356964 h 790366"/>
                <a:gd name="connsiteX1410" fmla="*/ 460056 w 1466597"/>
                <a:gd name="connsiteY1410" fmla="*/ 358963 h 790366"/>
                <a:gd name="connsiteX1411" fmla="*/ 457799 w 1466597"/>
                <a:gd name="connsiteY1411" fmla="*/ 361492 h 790366"/>
                <a:gd name="connsiteX1412" fmla="*/ 457493 w 1466597"/>
                <a:gd name="connsiteY1412" fmla="*/ 363952 h 790366"/>
                <a:gd name="connsiteX1413" fmla="*/ 456178 w 1466597"/>
                <a:gd name="connsiteY1413" fmla="*/ 365081 h 790366"/>
                <a:gd name="connsiteX1414" fmla="*/ 454812 w 1466597"/>
                <a:gd name="connsiteY1414" fmla="*/ 365579 h 790366"/>
                <a:gd name="connsiteX1415" fmla="*/ 453704 w 1466597"/>
                <a:gd name="connsiteY1415" fmla="*/ 364219 h 790366"/>
                <a:gd name="connsiteX1416" fmla="*/ 452225 w 1466597"/>
                <a:gd name="connsiteY1416" fmla="*/ 360067 h 790366"/>
                <a:gd name="connsiteX1417" fmla="*/ 451184 w 1466597"/>
                <a:gd name="connsiteY1417" fmla="*/ 358920 h 790366"/>
                <a:gd name="connsiteX1418" fmla="*/ 450040 w 1466597"/>
                <a:gd name="connsiteY1418" fmla="*/ 358197 h 790366"/>
                <a:gd name="connsiteX1419" fmla="*/ 446851 w 1466597"/>
                <a:gd name="connsiteY1419" fmla="*/ 356883 h 790366"/>
                <a:gd name="connsiteX1420" fmla="*/ 443614 w 1466597"/>
                <a:gd name="connsiteY1420" fmla="*/ 356052 h 790366"/>
                <a:gd name="connsiteX1421" fmla="*/ 441720 w 1466597"/>
                <a:gd name="connsiteY1421" fmla="*/ 355952 h 790366"/>
                <a:gd name="connsiteX1422" fmla="*/ 440354 w 1466597"/>
                <a:gd name="connsiteY1422" fmla="*/ 354509 h 790366"/>
                <a:gd name="connsiteX1423" fmla="*/ 439600 w 1466597"/>
                <a:gd name="connsiteY1423" fmla="*/ 352418 h 790366"/>
                <a:gd name="connsiteX1424" fmla="*/ 438304 w 1466597"/>
                <a:gd name="connsiteY1424" fmla="*/ 351339 h 790366"/>
                <a:gd name="connsiteX1425" fmla="*/ 435736 w 1466597"/>
                <a:gd name="connsiteY1425" fmla="*/ 349803 h 790366"/>
                <a:gd name="connsiteX1426" fmla="*/ 433110 w 1466597"/>
                <a:gd name="connsiteY1426" fmla="*/ 348594 h 790366"/>
                <a:gd name="connsiteX1427" fmla="*/ 424915 w 1466597"/>
                <a:gd name="connsiteY1427" fmla="*/ 345971 h 790366"/>
                <a:gd name="connsiteX1428" fmla="*/ 422219 w 1466597"/>
                <a:gd name="connsiteY1428" fmla="*/ 345626 h 790366"/>
                <a:gd name="connsiteX1429" fmla="*/ 419484 w 1466597"/>
                <a:gd name="connsiteY1429" fmla="*/ 345909 h 790366"/>
                <a:gd name="connsiteX1430" fmla="*/ 416557 w 1466597"/>
                <a:gd name="connsiteY1430" fmla="*/ 347106 h 790366"/>
                <a:gd name="connsiteX1431" fmla="*/ 413718 w 1466597"/>
                <a:gd name="connsiteY1431" fmla="*/ 348881 h 790366"/>
                <a:gd name="connsiteX1432" fmla="*/ 410813 w 1466597"/>
                <a:gd name="connsiteY1432" fmla="*/ 350207 h 790366"/>
                <a:gd name="connsiteX1433" fmla="*/ 407804 w 1466597"/>
                <a:gd name="connsiteY1433" fmla="*/ 350499 h 790366"/>
                <a:gd name="connsiteX1434" fmla="*/ 404929 w 1466597"/>
                <a:gd name="connsiteY1434" fmla="*/ 349724 h 790366"/>
                <a:gd name="connsiteX1435" fmla="*/ 402224 w 1466597"/>
                <a:gd name="connsiteY1435" fmla="*/ 347993 h 790366"/>
                <a:gd name="connsiteX1436" fmla="*/ 400869 w 1466597"/>
                <a:gd name="connsiteY1436" fmla="*/ 346764 h 790366"/>
                <a:gd name="connsiteX1437" fmla="*/ 400145 w 1466597"/>
                <a:gd name="connsiteY1437" fmla="*/ 344646 h 790366"/>
                <a:gd name="connsiteX1438" fmla="*/ 400182 w 1466597"/>
                <a:gd name="connsiteY1438" fmla="*/ 342523 h 790366"/>
                <a:gd name="connsiteX1439" fmla="*/ 400549 w 1466597"/>
                <a:gd name="connsiteY1439" fmla="*/ 340475 h 790366"/>
                <a:gd name="connsiteX1440" fmla="*/ 402007 w 1466597"/>
                <a:gd name="connsiteY1440" fmla="*/ 335516 h 790366"/>
                <a:gd name="connsiteX1441" fmla="*/ 553132 w 1466597"/>
                <a:gd name="connsiteY1441" fmla="*/ 226692 h 790366"/>
                <a:gd name="connsiteX1442" fmla="*/ 552936 w 1466597"/>
                <a:gd name="connsiteY1442" fmla="*/ 227156 h 790366"/>
                <a:gd name="connsiteX1443" fmla="*/ 550069 w 1466597"/>
                <a:gd name="connsiteY1443" fmla="*/ 228809 h 790366"/>
                <a:gd name="connsiteX1444" fmla="*/ 545794 w 1466597"/>
                <a:gd name="connsiteY1444" fmla="*/ 230959 h 790366"/>
                <a:gd name="connsiteX1445" fmla="*/ 544805 w 1466597"/>
                <a:gd name="connsiteY1445" fmla="*/ 231198 h 790366"/>
                <a:gd name="connsiteX1446" fmla="*/ 544860 w 1466597"/>
                <a:gd name="connsiteY1446" fmla="*/ 230547 h 790366"/>
                <a:gd name="connsiteX1447" fmla="*/ 547768 w 1466597"/>
                <a:gd name="connsiteY1447" fmla="*/ 228827 h 790366"/>
                <a:gd name="connsiteX1448" fmla="*/ 791701 w 1466597"/>
                <a:gd name="connsiteY1448" fmla="*/ 0 h 790366"/>
                <a:gd name="connsiteX1449" fmla="*/ 793613 w 1466597"/>
                <a:gd name="connsiteY1449" fmla="*/ 515 h 790366"/>
                <a:gd name="connsiteX1450" fmla="*/ 791026 w 1466597"/>
                <a:gd name="connsiteY1450" fmla="*/ 1342 h 790366"/>
                <a:gd name="connsiteX1451" fmla="*/ 789226 w 1466597"/>
                <a:gd name="connsiteY1451" fmla="*/ 3105 h 790366"/>
                <a:gd name="connsiteX1452" fmla="*/ 791708 w 1466597"/>
                <a:gd name="connsiteY1452" fmla="*/ 5450 h 790366"/>
                <a:gd name="connsiteX1453" fmla="*/ 808514 w 1466597"/>
                <a:gd name="connsiteY1453" fmla="*/ 10279 h 790366"/>
                <a:gd name="connsiteX1454" fmla="*/ 812736 w 1466597"/>
                <a:gd name="connsiteY1454" fmla="*/ 10545 h 790366"/>
                <a:gd name="connsiteX1455" fmla="*/ 814425 w 1466597"/>
                <a:gd name="connsiteY1455" fmla="*/ 13426 h 790366"/>
                <a:gd name="connsiteX1456" fmla="*/ 813018 w 1466597"/>
                <a:gd name="connsiteY1456" fmla="*/ 16206 h 790366"/>
                <a:gd name="connsiteX1457" fmla="*/ 808687 w 1466597"/>
                <a:gd name="connsiteY1457" fmla="*/ 19289 h 790366"/>
                <a:gd name="connsiteX1458" fmla="*/ 799958 w 1466597"/>
                <a:gd name="connsiteY1458" fmla="*/ 22435 h 790366"/>
                <a:gd name="connsiteX1459" fmla="*/ 802627 w 1466597"/>
                <a:gd name="connsiteY1459" fmla="*/ 23624 h 790366"/>
                <a:gd name="connsiteX1460" fmla="*/ 804372 w 1466597"/>
                <a:gd name="connsiteY1460" fmla="*/ 26424 h 790366"/>
                <a:gd name="connsiteX1461" fmla="*/ 806956 w 1466597"/>
                <a:gd name="connsiteY1461" fmla="*/ 26765 h 790366"/>
                <a:gd name="connsiteX1462" fmla="*/ 811144 w 1466597"/>
                <a:gd name="connsiteY1462" fmla="*/ 25715 h 790366"/>
                <a:gd name="connsiteX1463" fmla="*/ 814426 w 1466597"/>
                <a:gd name="connsiteY1463" fmla="*/ 23993 h 790366"/>
                <a:gd name="connsiteX1464" fmla="*/ 821212 w 1466597"/>
                <a:gd name="connsiteY1464" fmla="*/ 18377 h 790366"/>
                <a:gd name="connsiteX1465" fmla="*/ 823346 w 1466597"/>
                <a:gd name="connsiteY1465" fmla="*/ 15241 h 790366"/>
                <a:gd name="connsiteX1466" fmla="*/ 824951 w 1466597"/>
                <a:gd name="connsiteY1466" fmla="*/ 14448 h 790366"/>
                <a:gd name="connsiteX1467" fmla="*/ 830640 w 1466597"/>
                <a:gd name="connsiteY1467" fmla="*/ 15203 h 790366"/>
                <a:gd name="connsiteX1468" fmla="*/ 833862 w 1466597"/>
                <a:gd name="connsiteY1468" fmla="*/ 16815 h 790366"/>
                <a:gd name="connsiteX1469" fmla="*/ 837532 w 1466597"/>
                <a:gd name="connsiteY1469" fmla="*/ 19677 h 790366"/>
                <a:gd name="connsiteX1470" fmla="*/ 836188 w 1466597"/>
                <a:gd name="connsiteY1470" fmla="*/ 22437 h 790366"/>
                <a:gd name="connsiteX1471" fmla="*/ 834687 w 1466597"/>
                <a:gd name="connsiteY1471" fmla="*/ 23995 h 790366"/>
                <a:gd name="connsiteX1472" fmla="*/ 839445 w 1466597"/>
                <a:gd name="connsiteY1472" fmla="*/ 26146 h 790366"/>
                <a:gd name="connsiteX1473" fmla="*/ 844712 w 1466597"/>
                <a:gd name="connsiteY1473" fmla="*/ 26594 h 790366"/>
                <a:gd name="connsiteX1474" fmla="*/ 849736 w 1466597"/>
                <a:gd name="connsiteY1474" fmla="*/ 28322 h 790366"/>
                <a:gd name="connsiteX1475" fmla="*/ 856803 w 1466597"/>
                <a:gd name="connsiteY1475" fmla="*/ 24783 h 790366"/>
                <a:gd name="connsiteX1476" fmla="*/ 862334 w 1466597"/>
                <a:gd name="connsiteY1476" fmla="*/ 24028 h 790366"/>
                <a:gd name="connsiteX1477" fmla="*/ 867530 w 1466597"/>
                <a:gd name="connsiteY1477" fmla="*/ 24146 h 790366"/>
                <a:gd name="connsiteX1478" fmla="*/ 874285 w 1466597"/>
                <a:gd name="connsiteY1478" fmla="*/ 22215 h 790366"/>
                <a:gd name="connsiteX1479" fmla="*/ 885713 w 1466597"/>
                <a:gd name="connsiteY1479" fmla="*/ 24844 h 790366"/>
                <a:gd name="connsiteX1480" fmla="*/ 888622 w 1466597"/>
                <a:gd name="connsiteY1480" fmla="*/ 24160 h 790366"/>
                <a:gd name="connsiteX1481" fmla="*/ 893205 w 1466597"/>
                <a:gd name="connsiteY1481" fmla="*/ 24614 h 790366"/>
                <a:gd name="connsiteX1482" fmla="*/ 898073 w 1466597"/>
                <a:gd name="connsiteY1482" fmla="*/ 26202 h 790366"/>
                <a:gd name="connsiteX1483" fmla="*/ 899795 w 1466597"/>
                <a:gd name="connsiteY1483" fmla="*/ 27893 h 790366"/>
                <a:gd name="connsiteX1484" fmla="*/ 894582 w 1466597"/>
                <a:gd name="connsiteY1484" fmla="*/ 31468 h 790366"/>
                <a:gd name="connsiteX1485" fmla="*/ 893731 w 1466597"/>
                <a:gd name="connsiteY1485" fmla="*/ 35155 h 790366"/>
                <a:gd name="connsiteX1486" fmla="*/ 895553 w 1466597"/>
                <a:gd name="connsiteY1486" fmla="*/ 36687 h 790366"/>
                <a:gd name="connsiteX1487" fmla="*/ 898857 w 1466597"/>
                <a:gd name="connsiteY1487" fmla="*/ 36951 h 790366"/>
                <a:gd name="connsiteX1488" fmla="*/ 899274 w 1466597"/>
                <a:gd name="connsiteY1488" fmla="*/ 39098 h 790366"/>
                <a:gd name="connsiteX1489" fmla="*/ 901325 w 1466597"/>
                <a:gd name="connsiteY1489" fmla="*/ 39634 h 790366"/>
                <a:gd name="connsiteX1490" fmla="*/ 911628 w 1466597"/>
                <a:gd name="connsiteY1490" fmla="*/ 39472 h 790366"/>
                <a:gd name="connsiteX1491" fmla="*/ 910841 w 1466597"/>
                <a:gd name="connsiteY1491" fmla="*/ 40493 h 790366"/>
                <a:gd name="connsiteX1492" fmla="*/ 910338 w 1466597"/>
                <a:gd name="connsiteY1492" fmla="*/ 41724 h 790366"/>
                <a:gd name="connsiteX1493" fmla="*/ 907147 w 1466597"/>
                <a:gd name="connsiteY1493" fmla="*/ 44453 h 790366"/>
                <a:gd name="connsiteX1494" fmla="*/ 925512 w 1466597"/>
                <a:gd name="connsiteY1494" fmla="*/ 45989 h 790366"/>
                <a:gd name="connsiteX1495" fmla="*/ 927982 w 1466597"/>
                <a:gd name="connsiteY1495" fmla="*/ 44476 h 790366"/>
                <a:gd name="connsiteX1496" fmla="*/ 931781 w 1466597"/>
                <a:gd name="connsiteY1496" fmla="*/ 43872 h 790366"/>
                <a:gd name="connsiteX1497" fmla="*/ 939852 w 1466597"/>
                <a:gd name="connsiteY1497" fmla="*/ 41789 h 790366"/>
                <a:gd name="connsiteX1498" fmla="*/ 942891 w 1466597"/>
                <a:gd name="connsiteY1498" fmla="*/ 42700 h 790366"/>
                <a:gd name="connsiteX1499" fmla="*/ 946470 w 1466597"/>
                <a:gd name="connsiteY1499" fmla="*/ 44831 h 790366"/>
                <a:gd name="connsiteX1500" fmla="*/ 949777 w 1466597"/>
                <a:gd name="connsiteY1500" fmla="*/ 45272 h 790366"/>
                <a:gd name="connsiteX1501" fmla="*/ 952865 w 1466597"/>
                <a:gd name="connsiteY1501" fmla="*/ 44841 h 790366"/>
                <a:gd name="connsiteX1502" fmla="*/ 960070 w 1466597"/>
                <a:gd name="connsiteY1502" fmla="*/ 41801 h 790366"/>
                <a:gd name="connsiteX1503" fmla="*/ 968389 w 1466597"/>
                <a:gd name="connsiteY1503" fmla="*/ 41652 h 790366"/>
                <a:gd name="connsiteX1504" fmla="*/ 971791 w 1466597"/>
                <a:gd name="connsiteY1504" fmla="*/ 42642 h 790366"/>
                <a:gd name="connsiteX1505" fmla="*/ 975393 w 1466597"/>
                <a:gd name="connsiteY1505" fmla="*/ 42210 h 790366"/>
                <a:gd name="connsiteX1506" fmla="*/ 986226 w 1466597"/>
                <a:gd name="connsiteY1506" fmla="*/ 45692 h 790366"/>
                <a:gd name="connsiteX1507" fmla="*/ 990215 w 1466597"/>
                <a:gd name="connsiteY1507" fmla="*/ 46102 h 790366"/>
                <a:gd name="connsiteX1508" fmla="*/ 995551 w 1466597"/>
                <a:gd name="connsiteY1508" fmla="*/ 50624 h 790366"/>
                <a:gd name="connsiteX1509" fmla="*/ 998309 w 1466597"/>
                <a:gd name="connsiteY1509" fmla="*/ 50759 h 790366"/>
                <a:gd name="connsiteX1510" fmla="*/ 1001431 w 1466597"/>
                <a:gd name="connsiteY1510" fmla="*/ 48840 h 790366"/>
                <a:gd name="connsiteX1511" fmla="*/ 1004135 w 1466597"/>
                <a:gd name="connsiteY1511" fmla="*/ 48900 h 790366"/>
                <a:gd name="connsiteX1512" fmla="*/ 1006780 w 1466597"/>
                <a:gd name="connsiteY1512" fmla="*/ 50736 h 790366"/>
                <a:gd name="connsiteX1513" fmla="*/ 1011104 w 1466597"/>
                <a:gd name="connsiteY1513" fmla="*/ 51297 h 790366"/>
                <a:gd name="connsiteX1514" fmla="*/ 1013119 w 1466597"/>
                <a:gd name="connsiteY1514" fmla="*/ 54193 h 790366"/>
                <a:gd name="connsiteX1515" fmla="*/ 1015293 w 1466597"/>
                <a:gd name="connsiteY1515" fmla="*/ 55242 h 790366"/>
                <a:gd name="connsiteX1516" fmla="*/ 1031681 w 1466597"/>
                <a:gd name="connsiteY1516" fmla="*/ 57388 h 790366"/>
                <a:gd name="connsiteX1517" fmla="*/ 1039795 w 1466597"/>
                <a:gd name="connsiteY1517" fmla="*/ 56411 h 790366"/>
                <a:gd name="connsiteX1518" fmla="*/ 1051622 w 1466597"/>
                <a:gd name="connsiteY1518" fmla="*/ 56667 h 790366"/>
                <a:gd name="connsiteX1519" fmla="*/ 1057325 w 1466597"/>
                <a:gd name="connsiteY1519" fmla="*/ 58036 h 790366"/>
                <a:gd name="connsiteX1520" fmla="*/ 1063307 w 1466597"/>
                <a:gd name="connsiteY1520" fmla="*/ 57861 h 790366"/>
                <a:gd name="connsiteX1521" fmla="*/ 1073080 w 1466597"/>
                <a:gd name="connsiteY1521" fmla="*/ 62851 h 790366"/>
                <a:gd name="connsiteX1522" fmla="*/ 1078265 w 1466597"/>
                <a:gd name="connsiteY1522" fmla="*/ 63627 h 790366"/>
                <a:gd name="connsiteX1523" fmla="*/ 1079272 w 1466597"/>
                <a:gd name="connsiteY1523" fmla="*/ 64778 h 790366"/>
                <a:gd name="connsiteX1524" fmla="*/ 1094021 w 1466597"/>
                <a:gd name="connsiteY1524" fmla="*/ 65990 h 790366"/>
                <a:gd name="connsiteX1525" fmla="*/ 1099181 w 1466597"/>
                <a:gd name="connsiteY1525" fmla="*/ 63394 h 790366"/>
                <a:gd name="connsiteX1526" fmla="*/ 1108181 w 1466597"/>
                <a:gd name="connsiteY1526" fmla="*/ 62705 h 790366"/>
                <a:gd name="connsiteX1527" fmla="*/ 1116285 w 1466597"/>
                <a:gd name="connsiteY1527" fmla="*/ 60519 h 790366"/>
                <a:gd name="connsiteX1528" fmla="*/ 1120878 w 1466597"/>
                <a:gd name="connsiteY1528" fmla="*/ 60542 h 790366"/>
                <a:gd name="connsiteX1529" fmla="*/ 1126219 w 1466597"/>
                <a:gd name="connsiteY1529" fmla="*/ 61085 h 790366"/>
                <a:gd name="connsiteX1530" fmla="*/ 1128274 w 1466597"/>
                <a:gd name="connsiteY1530" fmla="*/ 60822 h 790366"/>
                <a:gd name="connsiteX1531" fmla="*/ 1129758 w 1466597"/>
                <a:gd name="connsiteY1531" fmla="*/ 59865 h 790366"/>
                <a:gd name="connsiteX1532" fmla="*/ 1142779 w 1466597"/>
                <a:gd name="connsiteY1532" fmla="*/ 63632 h 790366"/>
                <a:gd name="connsiteX1533" fmla="*/ 1150068 w 1466597"/>
                <a:gd name="connsiteY1533" fmla="*/ 67933 h 790366"/>
                <a:gd name="connsiteX1534" fmla="*/ 1153261 w 1466597"/>
                <a:gd name="connsiteY1534" fmla="*/ 71104 h 790366"/>
                <a:gd name="connsiteX1535" fmla="*/ 1168509 w 1466597"/>
                <a:gd name="connsiteY1535" fmla="*/ 75627 h 790366"/>
                <a:gd name="connsiteX1536" fmla="*/ 1172919 w 1466597"/>
                <a:gd name="connsiteY1536" fmla="*/ 78152 h 790366"/>
                <a:gd name="connsiteX1537" fmla="*/ 1175940 w 1466597"/>
                <a:gd name="connsiteY1537" fmla="*/ 80931 h 790366"/>
                <a:gd name="connsiteX1538" fmla="*/ 1177708 w 1466597"/>
                <a:gd name="connsiteY1538" fmla="*/ 81230 h 790366"/>
                <a:gd name="connsiteX1539" fmla="*/ 1178958 w 1466597"/>
                <a:gd name="connsiteY1539" fmla="*/ 80418 h 790366"/>
                <a:gd name="connsiteX1540" fmla="*/ 1184285 w 1466597"/>
                <a:gd name="connsiteY1540" fmla="*/ 80658 h 790366"/>
                <a:gd name="connsiteX1541" fmla="*/ 1186292 w 1466597"/>
                <a:gd name="connsiteY1541" fmla="*/ 81049 h 790366"/>
                <a:gd name="connsiteX1542" fmla="*/ 1186292 w 1466597"/>
                <a:gd name="connsiteY1542" fmla="*/ 94243 h 790366"/>
                <a:gd name="connsiteX1543" fmla="*/ 1186292 w 1466597"/>
                <a:gd name="connsiteY1543" fmla="*/ 107363 h 790366"/>
                <a:gd name="connsiteX1544" fmla="*/ 1186292 w 1466597"/>
                <a:gd name="connsiteY1544" fmla="*/ 120401 h 790366"/>
                <a:gd name="connsiteX1545" fmla="*/ 1186292 w 1466597"/>
                <a:gd name="connsiteY1545" fmla="*/ 133365 h 790366"/>
                <a:gd name="connsiteX1546" fmla="*/ 1186292 w 1466597"/>
                <a:gd name="connsiteY1546" fmla="*/ 146257 h 790366"/>
                <a:gd name="connsiteX1547" fmla="*/ 1186292 w 1466597"/>
                <a:gd name="connsiteY1547" fmla="*/ 159072 h 790366"/>
                <a:gd name="connsiteX1548" fmla="*/ 1186292 w 1466597"/>
                <a:gd name="connsiteY1548" fmla="*/ 171814 h 790366"/>
                <a:gd name="connsiteX1549" fmla="*/ 1186292 w 1466597"/>
                <a:gd name="connsiteY1549" fmla="*/ 184487 h 790366"/>
                <a:gd name="connsiteX1550" fmla="*/ 1186292 w 1466597"/>
                <a:gd name="connsiteY1550" fmla="*/ 197088 h 790366"/>
                <a:gd name="connsiteX1551" fmla="*/ 1186292 w 1466597"/>
                <a:gd name="connsiteY1551" fmla="*/ 209618 h 790366"/>
                <a:gd name="connsiteX1552" fmla="*/ 1186292 w 1466597"/>
                <a:gd name="connsiteY1552" fmla="*/ 222084 h 790366"/>
                <a:gd name="connsiteX1553" fmla="*/ 1186292 w 1466597"/>
                <a:gd name="connsiteY1553" fmla="*/ 234478 h 790366"/>
                <a:gd name="connsiteX1554" fmla="*/ 1186292 w 1466597"/>
                <a:gd name="connsiteY1554" fmla="*/ 246806 h 790366"/>
                <a:gd name="connsiteX1555" fmla="*/ 1186292 w 1466597"/>
                <a:gd name="connsiteY1555" fmla="*/ 259070 h 790366"/>
                <a:gd name="connsiteX1556" fmla="*/ 1186292 w 1466597"/>
                <a:gd name="connsiteY1556" fmla="*/ 271267 h 790366"/>
                <a:gd name="connsiteX1557" fmla="*/ 1186292 w 1466597"/>
                <a:gd name="connsiteY1557" fmla="*/ 283401 h 790366"/>
                <a:gd name="connsiteX1558" fmla="*/ 1186292 w 1466597"/>
                <a:gd name="connsiteY1558" fmla="*/ 295473 h 790366"/>
                <a:gd name="connsiteX1559" fmla="*/ 1186292 w 1466597"/>
                <a:gd name="connsiteY1559" fmla="*/ 307481 h 790366"/>
                <a:gd name="connsiteX1560" fmla="*/ 1186292 w 1466597"/>
                <a:gd name="connsiteY1560" fmla="*/ 319430 h 790366"/>
                <a:gd name="connsiteX1561" fmla="*/ 1186292 w 1466597"/>
                <a:gd name="connsiteY1561" fmla="*/ 331314 h 790366"/>
                <a:gd name="connsiteX1562" fmla="*/ 1186292 w 1466597"/>
                <a:gd name="connsiteY1562" fmla="*/ 343142 h 790366"/>
                <a:gd name="connsiteX1563" fmla="*/ 1186292 w 1466597"/>
                <a:gd name="connsiteY1563" fmla="*/ 354909 h 790366"/>
                <a:gd name="connsiteX1564" fmla="*/ 1186292 w 1466597"/>
                <a:gd name="connsiteY1564" fmla="*/ 366618 h 790366"/>
                <a:gd name="connsiteX1565" fmla="*/ 1186292 w 1466597"/>
                <a:gd name="connsiteY1565" fmla="*/ 378268 h 790366"/>
                <a:gd name="connsiteX1566" fmla="*/ 1186292 w 1466597"/>
                <a:gd name="connsiteY1566" fmla="*/ 389863 h 790366"/>
                <a:gd name="connsiteX1567" fmla="*/ 1186292 w 1466597"/>
                <a:gd name="connsiteY1567" fmla="*/ 401404 h 790366"/>
                <a:gd name="connsiteX1568" fmla="*/ 1186292 w 1466597"/>
                <a:gd name="connsiteY1568" fmla="*/ 412886 h 790366"/>
                <a:gd name="connsiteX1569" fmla="*/ 1186292 w 1466597"/>
                <a:gd name="connsiteY1569" fmla="*/ 424317 h 790366"/>
                <a:gd name="connsiteX1570" fmla="*/ 1186292 w 1466597"/>
                <a:gd name="connsiteY1570" fmla="*/ 435692 h 790366"/>
                <a:gd name="connsiteX1571" fmla="*/ 1186292 w 1466597"/>
                <a:gd name="connsiteY1571" fmla="*/ 447013 h 790366"/>
                <a:gd name="connsiteX1572" fmla="*/ 1186292 w 1466597"/>
                <a:gd name="connsiteY1572" fmla="*/ 458285 h 790366"/>
                <a:gd name="connsiteX1573" fmla="*/ 1186292 w 1466597"/>
                <a:gd name="connsiteY1573" fmla="*/ 469501 h 790366"/>
                <a:gd name="connsiteX1574" fmla="*/ 1192399 w 1466597"/>
                <a:gd name="connsiteY1574" fmla="*/ 471076 h 790366"/>
                <a:gd name="connsiteX1575" fmla="*/ 1198452 w 1466597"/>
                <a:gd name="connsiteY1575" fmla="*/ 472636 h 790366"/>
                <a:gd name="connsiteX1576" fmla="*/ 1200304 w 1466597"/>
                <a:gd name="connsiteY1576" fmla="*/ 469523 h 790366"/>
                <a:gd name="connsiteX1577" fmla="*/ 1206833 w 1466597"/>
                <a:gd name="connsiteY1577" fmla="*/ 471904 h 790366"/>
                <a:gd name="connsiteX1578" fmla="*/ 1212537 w 1466597"/>
                <a:gd name="connsiteY1578" fmla="*/ 473982 h 790366"/>
                <a:gd name="connsiteX1579" fmla="*/ 1216176 w 1466597"/>
                <a:gd name="connsiteY1579" fmla="*/ 471315 h 790366"/>
                <a:gd name="connsiteX1580" fmla="*/ 1220114 w 1466597"/>
                <a:gd name="connsiteY1580" fmla="*/ 468426 h 790366"/>
                <a:gd name="connsiteX1581" fmla="*/ 1225429 w 1466597"/>
                <a:gd name="connsiteY1581" fmla="*/ 468220 h 790366"/>
                <a:gd name="connsiteX1582" fmla="*/ 1231377 w 1466597"/>
                <a:gd name="connsiteY1582" fmla="*/ 467988 h 790366"/>
                <a:gd name="connsiteX1583" fmla="*/ 1235344 w 1466597"/>
                <a:gd name="connsiteY1583" fmla="*/ 467836 h 790366"/>
                <a:gd name="connsiteX1584" fmla="*/ 1235344 w 1466597"/>
                <a:gd name="connsiteY1584" fmla="*/ 470298 h 790366"/>
                <a:gd name="connsiteX1585" fmla="*/ 1233873 w 1466597"/>
                <a:gd name="connsiteY1585" fmla="*/ 474382 h 790366"/>
                <a:gd name="connsiteX1586" fmla="*/ 1232643 w 1466597"/>
                <a:gd name="connsiteY1586" fmla="*/ 477786 h 790366"/>
                <a:gd name="connsiteX1587" fmla="*/ 1236258 w 1466597"/>
                <a:gd name="connsiteY1587" fmla="*/ 481232 h 790366"/>
                <a:gd name="connsiteX1588" fmla="*/ 1240715 w 1466597"/>
                <a:gd name="connsiteY1588" fmla="*/ 483042 h 790366"/>
                <a:gd name="connsiteX1589" fmla="*/ 1244880 w 1466597"/>
                <a:gd name="connsiteY1589" fmla="*/ 484734 h 790366"/>
                <a:gd name="connsiteX1590" fmla="*/ 1246747 w 1466597"/>
                <a:gd name="connsiteY1590" fmla="*/ 489413 h 790366"/>
                <a:gd name="connsiteX1591" fmla="*/ 1251305 w 1466597"/>
                <a:gd name="connsiteY1591" fmla="*/ 493015 h 790366"/>
                <a:gd name="connsiteX1592" fmla="*/ 1254773 w 1466597"/>
                <a:gd name="connsiteY1592" fmla="*/ 495755 h 790366"/>
                <a:gd name="connsiteX1593" fmla="*/ 1258094 w 1466597"/>
                <a:gd name="connsiteY1593" fmla="*/ 498376 h 790366"/>
                <a:gd name="connsiteX1594" fmla="*/ 1262848 w 1466597"/>
                <a:gd name="connsiteY1594" fmla="*/ 502122 h 790366"/>
                <a:gd name="connsiteX1595" fmla="*/ 1266178 w 1466597"/>
                <a:gd name="connsiteY1595" fmla="*/ 504742 h 790366"/>
                <a:gd name="connsiteX1596" fmla="*/ 1270616 w 1466597"/>
                <a:gd name="connsiteY1596" fmla="*/ 508229 h 790366"/>
                <a:gd name="connsiteX1597" fmla="*/ 1273251 w 1466597"/>
                <a:gd name="connsiteY1597" fmla="*/ 510297 h 790366"/>
                <a:gd name="connsiteX1598" fmla="*/ 1274516 w 1466597"/>
                <a:gd name="connsiteY1598" fmla="*/ 514319 h 790366"/>
                <a:gd name="connsiteX1599" fmla="*/ 1276036 w 1466597"/>
                <a:gd name="connsiteY1599" fmla="*/ 519138 h 790366"/>
                <a:gd name="connsiteX1600" fmla="*/ 1275099 w 1466597"/>
                <a:gd name="connsiteY1600" fmla="*/ 521982 h 790366"/>
                <a:gd name="connsiteX1601" fmla="*/ 1277199 w 1466597"/>
                <a:gd name="connsiteY1601" fmla="*/ 522442 h 790366"/>
                <a:gd name="connsiteX1602" fmla="*/ 1281306 w 1466597"/>
                <a:gd name="connsiteY1602" fmla="*/ 519251 h 790366"/>
                <a:gd name="connsiteX1603" fmla="*/ 1285167 w 1466597"/>
                <a:gd name="connsiteY1603" fmla="*/ 517269 h 790366"/>
                <a:gd name="connsiteX1604" fmla="*/ 1289935 w 1466597"/>
                <a:gd name="connsiteY1604" fmla="*/ 514821 h 790366"/>
                <a:gd name="connsiteX1605" fmla="*/ 1293150 w 1466597"/>
                <a:gd name="connsiteY1605" fmla="*/ 513167 h 790366"/>
                <a:gd name="connsiteX1606" fmla="*/ 1299132 w 1466597"/>
                <a:gd name="connsiteY1606" fmla="*/ 513085 h 790366"/>
                <a:gd name="connsiteX1607" fmla="*/ 1301990 w 1466597"/>
                <a:gd name="connsiteY1607" fmla="*/ 508275 h 790366"/>
                <a:gd name="connsiteX1608" fmla="*/ 1302000 w 1466597"/>
                <a:gd name="connsiteY1608" fmla="*/ 501511 h 790366"/>
                <a:gd name="connsiteX1609" fmla="*/ 1305022 w 1466597"/>
                <a:gd name="connsiteY1609" fmla="*/ 501625 h 790366"/>
                <a:gd name="connsiteX1610" fmla="*/ 1306805 w 1466597"/>
                <a:gd name="connsiteY1610" fmla="*/ 500708 h 790366"/>
                <a:gd name="connsiteX1611" fmla="*/ 1307593 w 1466597"/>
                <a:gd name="connsiteY1611" fmla="*/ 498718 h 790366"/>
                <a:gd name="connsiteX1612" fmla="*/ 1305687 w 1466597"/>
                <a:gd name="connsiteY1612" fmla="*/ 495994 h 790366"/>
                <a:gd name="connsiteX1613" fmla="*/ 1311418 w 1466597"/>
                <a:gd name="connsiteY1613" fmla="*/ 494723 h 790366"/>
                <a:gd name="connsiteX1614" fmla="*/ 1315564 w 1466597"/>
                <a:gd name="connsiteY1614" fmla="*/ 493803 h 790366"/>
                <a:gd name="connsiteX1615" fmla="*/ 1321483 w 1466597"/>
                <a:gd name="connsiteY1615" fmla="*/ 491295 h 790366"/>
                <a:gd name="connsiteX1616" fmla="*/ 1327265 w 1466597"/>
                <a:gd name="connsiteY1616" fmla="*/ 488844 h 790366"/>
                <a:gd name="connsiteX1617" fmla="*/ 1330023 w 1466597"/>
                <a:gd name="connsiteY1617" fmla="*/ 490741 h 790366"/>
                <a:gd name="connsiteX1618" fmla="*/ 1332753 w 1466597"/>
                <a:gd name="connsiteY1618" fmla="*/ 492574 h 790366"/>
                <a:gd name="connsiteX1619" fmla="*/ 1338105 w 1466597"/>
                <a:gd name="connsiteY1619" fmla="*/ 496985 h 790366"/>
                <a:gd name="connsiteX1620" fmla="*/ 1338471 w 1466597"/>
                <a:gd name="connsiteY1620" fmla="*/ 498045 h 790366"/>
                <a:gd name="connsiteX1621" fmla="*/ 1338109 w 1466597"/>
                <a:gd name="connsiteY1621" fmla="*/ 500113 h 790366"/>
                <a:gd name="connsiteX1622" fmla="*/ 1337588 w 1466597"/>
                <a:gd name="connsiteY1622" fmla="*/ 502178 h 790366"/>
                <a:gd name="connsiteX1623" fmla="*/ 1340842 w 1466597"/>
                <a:gd name="connsiteY1623" fmla="*/ 507960 h 790366"/>
                <a:gd name="connsiteX1624" fmla="*/ 1341772 w 1466597"/>
                <a:gd name="connsiteY1624" fmla="*/ 508605 h 790366"/>
                <a:gd name="connsiteX1625" fmla="*/ 1344447 w 1466597"/>
                <a:gd name="connsiteY1625" fmla="*/ 509404 h 790366"/>
                <a:gd name="connsiteX1626" fmla="*/ 1347640 w 1466597"/>
                <a:gd name="connsiteY1626" fmla="*/ 511315 h 790366"/>
                <a:gd name="connsiteX1627" fmla="*/ 1349050 w 1466597"/>
                <a:gd name="connsiteY1627" fmla="*/ 512969 h 790366"/>
                <a:gd name="connsiteX1628" fmla="*/ 1353672 w 1466597"/>
                <a:gd name="connsiteY1628" fmla="*/ 515601 h 790366"/>
                <a:gd name="connsiteX1629" fmla="*/ 1354453 w 1466597"/>
                <a:gd name="connsiteY1629" fmla="*/ 516695 h 790366"/>
                <a:gd name="connsiteX1630" fmla="*/ 1354889 w 1466597"/>
                <a:gd name="connsiteY1630" fmla="*/ 518463 h 790366"/>
                <a:gd name="connsiteX1631" fmla="*/ 1355643 w 1466597"/>
                <a:gd name="connsiteY1631" fmla="*/ 519980 h 790366"/>
                <a:gd name="connsiteX1632" fmla="*/ 1356507 w 1466597"/>
                <a:gd name="connsiteY1632" fmla="*/ 521070 h 790366"/>
                <a:gd name="connsiteX1633" fmla="*/ 1357341 w 1466597"/>
                <a:gd name="connsiteY1633" fmla="*/ 522616 h 790366"/>
                <a:gd name="connsiteX1634" fmla="*/ 1359343 w 1466597"/>
                <a:gd name="connsiteY1634" fmla="*/ 524437 h 790366"/>
                <a:gd name="connsiteX1635" fmla="*/ 1363151 w 1466597"/>
                <a:gd name="connsiteY1635" fmla="*/ 526472 h 790366"/>
                <a:gd name="connsiteX1636" fmla="*/ 1365791 w 1466597"/>
                <a:gd name="connsiteY1636" fmla="*/ 527883 h 790366"/>
                <a:gd name="connsiteX1637" fmla="*/ 1369489 w 1466597"/>
                <a:gd name="connsiteY1637" fmla="*/ 529858 h 790366"/>
                <a:gd name="connsiteX1638" fmla="*/ 1373234 w 1466597"/>
                <a:gd name="connsiteY1638" fmla="*/ 533886 h 790366"/>
                <a:gd name="connsiteX1639" fmla="*/ 1376488 w 1466597"/>
                <a:gd name="connsiteY1639" fmla="*/ 537381 h 790366"/>
                <a:gd name="connsiteX1640" fmla="*/ 1380194 w 1466597"/>
                <a:gd name="connsiteY1640" fmla="*/ 540829 h 790366"/>
                <a:gd name="connsiteX1641" fmla="*/ 1379646 w 1466597"/>
                <a:gd name="connsiteY1641" fmla="*/ 543574 h 790366"/>
                <a:gd name="connsiteX1642" fmla="*/ 1383404 w 1466597"/>
                <a:gd name="connsiteY1642" fmla="*/ 547817 h 790366"/>
                <a:gd name="connsiteX1643" fmla="*/ 1387355 w 1466597"/>
                <a:gd name="connsiteY1643" fmla="*/ 553196 h 790366"/>
                <a:gd name="connsiteX1644" fmla="*/ 1390390 w 1466597"/>
                <a:gd name="connsiteY1644" fmla="*/ 557961 h 790366"/>
                <a:gd name="connsiteX1645" fmla="*/ 1392547 w 1466597"/>
                <a:gd name="connsiteY1645" fmla="*/ 560619 h 790366"/>
                <a:gd name="connsiteX1646" fmla="*/ 1395133 w 1466597"/>
                <a:gd name="connsiteY1646" fmla="*/ 564467 h 790366"/>
                <a:gd name="connsiteX1647" fmla="*/ 1398297 w 1466597"/>
                <a:gd name="connsiteY1647" fmla="*/ 569168 h 790366"/>
                <a:gd name="connsiteX1648" fmla="*/ 1401893 w 1466597"/>
                <a:gd name="connsiteY1648" fmla="*/ 574506 h 790366"/>
                <a:gd name="connsiteX1649" fmla="*/ 1404648 w 1466597"/>
                <a:gd name="connsiteY1649" fmla="*/ 577925 h 790366"/>
                <a:gd name="connsiteX1650" fmla="*/ 1408241 w 1466597"/>
                <a:gd name="connsiteY1650" fmla="*/ 582704 h 790366"/>
                <a:gd name="connsiteX1651" fmla="*/ 1410014 w 1466597"/>
                <a:gd name="connsiteY1651" fmla="*/ 585548 h 790366"/>
                <a:gd name="connsiteX1652" fmla="*/ 1408810 w 1466597"/>
                <a:gd name="connsiteY1652" fmla="*/ 587493 h 790366"/>
                <a:gd name="connsiteX1653" fmla="*/ 1407314 w 1466597"/>
                <a:gd name="connsiteY1653" fmla="*/ 589900 h 790366"/>
                <a:gd name="connsiteX1654" fmla="*/ 1411930 w 1466597"/>
                <a:gd name="connsiteY1654" fmla="*/ 591040 h 790366"/>
                <a:gd name="connsiteX1655" fmla="*/ 1415132 w 1466597"/>
                <a:gd name="connsiteY1655" fmla="*/ 591829 h 790366"/>
                <a:gd name="connsiteX1656" fmla="*/ 1414332 w 1466597"/>
                <a:gd name="connsiteY1656" fmla="*/ 594498 h 790366"/>
                <a:gd name="connsiteX1657" fmla="*/ 1413276 w 1466597"/>
                <a:gd name="connsiteY1657" fmla="*/ 598014 h 790366"/>
                <a:gd name="connsiteX1658" fmla="*/ 1416894 w 1466597"/>
                <a:gd name="connsiteY1658" fmla="*/ 599400 h 790366"/>
                <a:gd name="connsiteX1659" fmla="*/ 1419351 w 1466597"/>
                <a:gd name="connsiteY1659" fmla="*/ 600341 h 790366"/>
                <a:gd name="connsiteX1660" fmla="*/ 1418846 w 1466597"/>
                <a:gd name="connsiteY1660" fmla="*/ 602182 h 790366"/>
                <a:gd name="connsiteX1661" fmla="*/ 1420194 w 1466597"/>
                <a:gd name="connsiteY1661" fmla="*/ 604264 h 790366"/>
                <a:gd name="connsiteX1662" fmla="*/ 1420419 w 1466597"/>
                <a:gd name="connsiteY1662" fmla="*/ 607704 h 790366"/>
                <a:gd name="connsiteX1663" fmla="*/ 1424826 w 1466597"/>
                <a:gd name="connsiteY1663" fmla="*/ 607482 h 790366"/>
                <a:gd name="connsiteX1664" fmla="*/ 1426775 w 1466597"/>
                <a:gd name="connsiteY1664" fmla="*/ 607383 h 790366"/>
                <a:gd name="connsiteX1665" fmla="*/ 1429408 w 1466597"/>
                <a:gd name="connsiteY1665" fmla="*/ 608909 h 790366"/>
                <a:gd name="connsiteX1666" fmla="*/ 1432881 w 1466597"/>
                <a:gd name="connsiteY1666" fmla="*/ 610919 h 790366"/>
                <a:gd name="connsiteX1667" fmla="*/ 1436359 w 1466597"/>
                <a:gd name="connsiteY1667" fmla="*/ 612801 h 790366"/>
                <a:gd name="connsiteX1668" fmla="*/ 1439331 w 1466597"/>
                <a:gd name="connsiteY1668" fmla="*/ 614406 h 790366"/>
                <a:gd name="connsiteX1669" fmla="*/ 1443227 w 1466597"/>
                <a:gd name="connsiteY1669" fmla="*/ 615355 h 790366"/>
                <a:gd name="connsiteX1670" fmla="*/ 1448035 w 1466597"/>
                <a:gd name="connsiteY1670" fmla="*/ 616721 h 790366"/>
                <a:gd name="connsiteX1671" fmla="*/ 1450399 w 1466597"/>
                <a:gd name="connsiteY1671" fmla="*/ 619506 h 790366"/>
                <a:gd name="connsiteX1672" fmla="*/ 1454786 w 1466597"/>
                <a:gd name="connsiteY1672" fmla="*/ 620700 h 790366"/>
                <a:gd name="connsiteX1673" fmla="*/ 1456417 w 1466597"/>
                <a:gd name="connsiteY1673" fmla="*/ 624593 h 790366"/>
                <a:gd name="connsiteX1674" fmla="*/ 1461479 w 1466597"/>
                <a:gd name="connsiteY1674" fmla="*/ 626023 h 790366"/>
                <a:gd name="connsiteX1675" fmla="*/ 1464460 w 1466597"/>
                <a:gd name="connsiteY1675" fmla="*/ 625071 h 790366"/>
                <a:gd name="connsiteX1676" fmla="*/ 1465529 w 1466597"/>
                <a:gd name="connsiteY1676" fmla="*/ 626656 h 790366"/>
                <a:gd name="connsiteX1677" fmla="*/ 1466372 w 1466597"/>
                <a:gd name="connsiteY1677" fmla="*/ 628480 h 790366"/>
                <a:gd name="connsiteX1678" fmla="*/ 1466597 w 1466597"/>
                <a:gd name="connsiteY1678" fmla="*/ 630780 h 790366"/>
                <a:gd name="connsiteX1679" fmla="*/ 1466316 w 1466597"/>
                <a:gd name="connsiteY1679" fmla="*/ 633017 h 790366"/>
                <a:gd name="connsiteX1680" fmla="*/ 1465052 w 1466597"/>
                <a:gd name="connsiteY1680" fmla="*/ 634889 h 790366"/>
                <a:gd name="connsiteX1681" fmla="*/ 1464100 w 1466597"/>
                <a:gd name="connsiteY1681" fmla="*/ 636906 h 790366"/>
                <a:gd name="connsiteX1682" fmla="*/ 1463460 w 1466597"/>
                <a:gd name="connsiteY1682" fmla="*/ 639071 h 790366"/>
                <a:gd name="connsiteX1683" fmla="*/ 1463218 w 1466597"/>
                <a:gd name="connsiteY1683" fmla="*/ 641395 h 790366"/>
                <a:gd name="connsiteX1684" fmla="*/ 1463374 w 1466597"/>
                <a:gd name="connsiteY1684" fmla="*/ 643879 h 790366"/>
                <a:gd name="connsiteX1685" fmla="*/ 1463885 w 1466597"/>
                <a:gd name="connsiteY1685" fmla="*/ 646045 h 790366"/>
                <a:gd name="connsiteX1686" fmla="*/ 1465438 w 1466597"/>
                <a:gd name="connsiteY1686" fmla="*/ 650046 h 790366"/>
                <a:gd name="connsiteX1687" fmla="*/ 1465954 w 1466597"/>
                <a:gd name="connsiteY1687" fmla="*/ 652493 h 790366"/>
                <a:gd name="connsiteX1688" fmla="*/ 1466024 w 1466597"/>
                <a:gd name="connsiteY1688" fmla="*/ 654121 h 790366"/>
                <a:gd name="connsiteX1689" fmla="*/ 1462573 w 1466597"/>
                <a:gd name="connsiteY1689" fmla="*/ 659845 h 790366"/>
                <a:gd name="connsiteX1690" fmla="*/ 1461383 w 1466597"/>
                <a:gd name="connsiteY1690" fmla="*/ 662570 h 790366"/>
                <a:gd name="connsiteX1691" fmla="*/ 1461495 w 1466597"/>
                <a:gd name="connsiteY1691" fmla="*/ 663790 h 790366"/>
                <a:gd name="connsiteX1692" fmla="*/ 1458982 w 1466597"/>
                <a:gd name="connsiteY1692" fmla="*/ 666623 h 790366"/>
                <a:gd name="connsiteX1693" fmla="*/ 1454373 w 1466597"/>
                <a:gd name="connsiteY1693" fmla="*/ 670582 h 790366"/>
                <a:gd name="connsiteX1694" fmla="*/ 1452279 w 1466597"/>
                <a:gd name="connsiteY1694" fmla="*/ 672863 h 790366"/>
                <a:gd name="connsiteX1695" fmla="*/ 1451248 w 1466597"/>
                <a:gd name="connsiteY1695" fmla="*/ 672111 h 790366"/>
                <a:gd name="connsiteX1696" fmla="*/ 1445283 w 1466597"/>
                <a:gd name="connsiteY1696" fmla="*/ 671521 h 790366"/>
                <a:gd name="connsiteX1697" fmla="*/ 1443114 w 1466597"/>
                <a:gd name="connsiteY1697" fmla="*/ 666467 h 790366"/>
                <a:gd name="connsiteX1698" fmla="*/ 1441964 w 1466597"/>
                <a:gd name="connsiteY1698" fmla="*/ 662538 h 790366"/>
                <a:gd name="connsiteX1699" fmla="*/ 1440226 w 1466597"/>
                <a:gd name="connsiteY1699" fmla="*/ 659110 h 790366"/>
                <a:gd name="connsiteX1700" fmla="*/ 1440276 w 1466597"/>
                <a:gd name="connsiteY1700" fmla="*/ 658332 h 790366"/>
                <a:gd name="connsiteX1701" fmla="*/ 1441856 w 1466597"/>
                <a:gd name="connsiteY1701" fmla="*/ 656043 h 790366"/>
                <a:gd name="connsiteX1702" fmla="*/ 1447814 w 1466597"/>
                <a:gd name="connsiteY1702" fmla="*/ 654155 h 790366"/>
                <a:gd name="connsiteX1703" fmla="*/ 1447869 w 1466597"/>
                <a:gd name="connsiteY1703" fmla="*/ 653405 h 790366"/>
                <a:gd name="connsiteX1704" fmla="*/ 1445654 w 1466597"/>
                <a:gd name="connsiteY1704" fmla="*/ 652904 h 790366"/>
                <a:gd name="connsiteX1705" fmla="*/ 1445122 w 1466597"/>
                <a:gd name="connsiteY1705" fmla="*/ 652083 h 790366"/>
                <a:gd name="connsiteX1706" fmla="*/ 1444512 w 1466597"/>
                <a:gd name="connsiteY1706" fmla="*/ 648361 h 790366"/>
                <a:gd name="connsiteX1707" fmla="*/ 1444676 w 1466597"/>
                <a:gd name="connsiteY1707" fmla="*/ 645090 h 790366"/>
                <a:gd name="connsiteX1708" fmla="*/ 1444517 w 1466597"/>
                <a:gd name="connsiteY1708" fmla="*/ 642921 h 790366"/>
                <a:gd name="connsiteX1709" fmla="*/ 1443523 w 1466597"/>
                <a:gd name="connsiteY1709" fmla="*/ 638477 h 790366"/>
                <a:gd name="connsiteX1710" fmla="*/ 1442033 w 1466597"/>
                <a:gd name="connsiteY1710" fmla="*/ 635754 h 790366"/>
                <a:gd name="connsiteX1711" fmla="*/ 1438189 w 1466597"/>
                <a:gd name="connsiteY1711" fmla="*/ 630435 h 790366"/>
                <a:gd name="connsiteX1712" fmla="*/ 1437865 w 1466597"/>
                <a:gd name="connsiteY1712" fmla="*/ 629091 h 790366"/>
                <a:gd name="connsiteX1713" fmla="*/ 1439558 w 1466597"/>
                <a:gd name="connsiteY1713" fmla="*/ 627406 h 790366"/>
                <a:gd name="connsiteX1714" fmla="*/ 1440611 w 1466597"/>
                <a:gd name="connsiteY1714" fmla="*/ 625834 h 790366"/>
                <a:gd name="connsiteX1715" fmla="*/ 1434109 w 1466597"/>
                <a:gd name="connsiteY1715" fmla="*/ 628566 h 790366"/>
                <a:gd name="connsiteX1716" fmla="*/ 1425241 w 1466597"/>
                <a:gd name="connsiteY1716" fmla="*/ 631437 h 790366"/>
                <a:gd name="connsiteX1717" fmla="*/ 1421442 w 1466597"/>
                <a:gd name="connsiteY1717" fmla="*/ 633437 h 790366"/>
                <a:gd name="connsiteX1718" fmla="*/ 1420644 w 1466597"/>
                <a:gd name="connsiteY1718" fmla="*/ 634238 h 790366"/>
                <a:gd name="connsiteX1719" fmla="*/ 1420371 w 1466597"/>
                <a:gd name="connsiteY1719" fmla="*/ 634916 h 790366"/>
                <a:gd name="connsiteX1720" fmla="*/ 1421062 w 1466597"/>
                <a:gd name="connsiteY1720" fmla="*/ 636798 h 790366"/>
                <a:gd name="connsiteX1721" fmla="*/ 1420955 w 1466597"/>
                <a:gd name="connsiteY1721" fmla="*/ 637402 h 790366"/>
                <a:gd name="connsiteX1722" fmla="*/ 1420182 w 1466597"/>
                <a:gd name="connsiteY1722" fmla="*/ 638514 h 790366"/>
                <a:gd name="connsiteX1723" fmla="*/ 1419268 w 1466597"/>
                <a:gd name="connsiteY1723" fmla="*/ 641656 h 790366"/>
                <a:gd name="connsiteX1724" fmla="*/ 1417338 w 1466597"/>
                <a:gd name="connsiteY1724" fmla="*/ 644982 h 790366"/>
                <a:gd name="connsiteX1725" fmla="*/ 1416361 w 1466597"/>
                <a:gd name="connsiteY1725" fmla="*/ 645665 h 790366"/>
                <a:gd name="connsiteX1726" fmla="*/ 1412901 w 1466597"/>
                <a:gd name="connsiteY1726" fmla="*/ 644424 h 790366"/>
                <a:gd name="connsiteX1727" fmla="*/ 1411972 w 1466597"/>
                <a:gd name="connsiteY1727" fmla="*/ 643359 h 790366"/>
                <a:gd name="connsiteX1728" fmla="*/ 1410237 w 1466597"/>
                <a:gd name="connsiteY1728" fmla="*/ 639012 h 790366"/>
                <a:gd name="connsiteX1729" fmla="*/ 1410643 w 1466597"/>
                <a:gd name="connsiteY1729" fmla="*/ 637852 h 790366"/>
                <a:gd name="connsiteX1730" fmla="*/ 1411908 w 1466597"/>
                <a:gd name="connsiteY1730" fmla="*/ 636875 h 790366"/>
                <a:gd name="connsiteX1731" fmla="*/ 1413624 w 1466597"/>
                <a:gd name="connsiteY1731" fmla="*/ 634764 h 790366"/>
                <a:gd name="connsiteX1732" fmla="*/ 1415790 w 1466597"/>
                <a:gd name="connsiteY1732" fmla="*/ 631514 h 790366"/>
                <a:gd name="connsiteX1733" fmla="*/ 1419919 w 1466597"/>
                <a:gd name="connsiteY1733" fmla="*/ 623240 h 790366"/>
                <a:gd name="connsiteX1734" fmla="*/ 1422619 w 1466597"/>
                <a:gd name="connsiteY1734" fmla="*/ 623199 h 790366"/>
                <a:gd name="connsiteX1735" fmla="*/ 1427381 w 1466597"/>
                <a:gd name="connsiteY1735" fmla="*/ 621557 h 790366"/>
                <a:gd name="connsiteX1736" fmla="*/ 1419910 w 1466597"/>
                <a:gd name="connsiteY1736" fmla="*/ 620733 h 790366"/>
                <a:gd name="connsiteX1737" fmla="*/ 1418796 w 1466597"/>
                <a:gd name="connsiteY1737" fmla="*/ 620299 h 790366"/>
                <a:gd name="connsiteX1738" fmla="*/ 1417791 w 1466597"/>
                <a:gd name="connsiteY1738" fmla="*/ 619169 h 790366"/>
                <a:gd name="connsiteX1739" fmla="*/ 1416898 w 1466597"/>
                <a:gd name="connsiteY1739" fmla="*/ 617339 h 790366"/>
                <a:gd name="connsiteX1740" fmla="*/ 1415378 w 1466597"/>
                <a:gd name="connsiteY1740" fmla="*/ 615301 h 790366"/>
                <a:gd name="connsiteX1741" fmla="*/ 1412538 w 1466597"/>
                <a:gd name="connsiteY1741" fmla="*/ 614586 h 790366"/>
                <a:gd name="connsiteX1742" fmla="*/ 1411292 w 1466597"/>
                <a:gd name="connsiteY1742" fmla="*/ 613835 h 790366"/>
                <a:gd name="connsiteX1743" fmla="*/ 1409417 w 1466597"/>
                <a:gd name="connsiteY1743" fmla="*/ 611358 h 790366"/>
                <a:gd name="connsiteX1744" fmla="*/ 1408157 w 1466597"/>
                <a:gd name="connsiteY1744" fmla="*/ 610244 h 790366"/>
                <a:gd name="connsiteX1745" fmla="*/ 1407466 w 1466597"/>
                <a:gd name="connsiteY1745" fmla="*/ 608867 h 790366"/>
                <a:gd name="connsiteX1746" fmla="*/ 1407348 w 1466597"/>
                <a:gd name="connsiteY1746" fmla="*/ 607227 h 790366"/>
                <a:gd name="connsiteX1747" fmla="*/ 1406813 w 1466597"/>
                <a:gd name="connsiteY1747" fmla="*/ 606403 h 790366"/>
                <a:gd name="connsiteX1748" fmla="*/ 1404855 w 1466597"/>
                <a:gd name="connsiteY1748" fmla="*/ 606104 h 790366"/>
                <a:gd name="connsiteX1749" fmla="*/ 1403796 w 1466597"/>
                <a:gd name="connsiteY1749" fmla="*/ 605540 h 790366"/>
                <a:gd name="connsiteX1750" fmla="*/ 1403510 w 1466597"/>
                <a:gd name="connsiteY1750" fmla="*/ 601301 h 790366"/>
                <a:gd name="connsiteX1751" fmla="*/ 1399623 w 1466597"/>
                <a:gd name="connsiteY1751" fmla="*/ 600210 h 790366"/>
                <a:gd name="connsiteX1752" fmla="*/ 1398030 w 1466597"/>
                <a:gd name="connsiteY1752" fmla="*/ 599271 h 790366"/>
                <a:gd name="connsiteX1753" fmla="*/ 1395472 w 1466597"/>
                <a:gd name="connsiteY1753" fmla="*/ 596617 h 790366"/>
                <a:gd name="connsiteX1754" fmla="*/ 1394767 w 1466597"/>
                <a:gd name="connsiteY1754" fmla="*/ 595326 h 790366"/>
                <a:gd name="connsiteX1755" fmla="*/ 1394538 w 1466597"/>
                <a:gd name="connsiteY1755" fmla="*/ 594249 h 790366"/>
                <a:gd name="connsiteX1756" fmla="*/ 1395164 w 1466597"/>
                <a:gd name="connsiteY1756" fmla="*/ 591312 h 790366"/>
                <a:gd name="connsiteX1757" fmla="*/ 1394900 w 1466597"/>
                <a:gd name="connsiteY1757" fmla="*/ 590762 h 790366"/>
                <a:gd name="connsiteX1758" fmla="*/ 1392636 w 1466597"/>
                <a:gd name="connsiteY1758" fmla="*/ 591066 h 790366"/>
                <a:gd name="connsiteX1759" fmla="*/ 1378542 w 1466597"/>
                <a:gd name="connsiteY1759" fmla="*/ 586513 h 790366"/>
                <a:gd name="connsiteX1760" fmla="*/ 1379286 w 1466597"/>
                <a:gd name="connsiteY1760" fmla="*/ 580487 h 790366"/>
                <a:gd name="connsiteX1761" fmla="*/ 1376678 w 1466597"/>
                <a:gd name="connsiteY1761" fmla="*/ 572514 h 790366"/>
                <a:gd name="connsiteX1762" fmla="*/ 1373878 w 1466597"/>
                <a:gd name="connsiteY1762" fmla="*/ 569271 h 790366"/>
                <a:gd name="connsiteX1763" fmla="*/ 1374433 w 1466597"/>
                <a:gd name="connsiteY1763" fmla="*/ 568012 h 790366"/>
                <a:gd name="connsiteX1764" fmla="*/ 1375035 w 1466597"/>
                <a:gd name="connsiteY1764" fmla="*/ 567343 h 790366"/>
                <a:gd name="connsiteX1765" fmla="*/ 1376289 w 1466597"/>
                <a:gd name="connsiteY1765" fmla="*/ 567329 h 790366"/>
                <a:gd name="connsiteX1766" fmla="*/ 1381694 w 1466597"/>
                <a:gd name="connsiteY1766" fmla="*/ 569684 h 790366"/>
                <a:gd name="connsiteX1767" fmla="*/ 1386782 w 1466597"/>
                <a:gd name="connsiteY1767" fmla="*/ 572478 h 790366"/>
                <a:gd name="connsiteX1768" fmla="*/ 1387440 w 1466597"/>
                <a:gd name="connsiteY1768" fmla="*/ 572069 h 790366"/>
                <a:gd name="connsiteX1769" fmla="*/ 1379310 w 1466597"/>
                <a:gd name="connsiteY1769" fmla="*/ 566151 h 790366"/>
                <a:gd name="connsiteX1770" fmla="*/ 1377276 w 1466597"/>
                <a:gd name="connsiteY1770" fmla="*/ 564378 h 790366"/>
                <a:gd name="connsiteX1771" fmla="*/ 1376773 w 1466597"/>
                <a:gd name="connsiteY1771" fmla="*/ 562246 h 790366"/>
                <a:gd name="connsiteX1772" fmla="*/ 1376742 w 1466597"/>
                <a:gd name="connsiteY1772" fmla="*/ 561105 h 790366"/>
                <a:gd name="connsiteX1773" fmla="*/ 1377387 w 1466597"/>
                <a:gd name="connsiteY1773" fmla="*/ 560503 h 790366"/>
                <a:gd name="connsiteX1774" fmla="*/ 1385017 w 1466597"/>
                <a:gd name="connsiteY1774" fmla="*/ 561038 h 790366"/>
                <a:gd name="connsiteX1775" fmla="*/ 1385469 w 1466597"/>
                <a:gd name="connsiteY1775" fmla="*/ 560595 h 790366"/>
                <a:gd name="connsiteX1776" fmla="*/ 1377738 w 1466597"/>
                <a:gd name="connsiteY1776" fmla="*/ 558860 h 790366"/>
                <a:gd name="connsiteX1777" fmla="*/ 1376156 w 1466597"/>
                <a:gd name="connsiteY1777" fmla="*/ 558867 h 790366"/>
                <a:gd name="connsiteX1778" fmla="*/ 1374464 w 1466597"/>
                <a:gd name="connsiteY1778" fmla="*/ 561359 h 790366"/>
                <a:gd name="connsiteX1779" fmla="*/ 1373659 w 1466597"/>
                <a:gd name="connsiteY1779" fmla="*/ 561948 h 790366"/>
                <a:gd name="connsiteX1780" fmla="*/ 1371999 w 1466597"/>
                <a:gd name="connsiteY1780" fmla="*/ 561829 h 790366"/>
                <a:gd name="connsiteX1781" fmla="*/ 1371443 w 1466597"/>
                <a:gd name="connsiteY1781" fmla="*/ 561447 h 790366"/>
                <a:gd name="connsiteX1782" fmla="*/ 1369473 w 1466597"/>
                <a:gd name="connsiteY1782" fmla="*/ 558426 h 790366"/>
                <a:gd name="connsiteX1783" fmla="*/ 1367608 w 1466597"/>
                <a:gd name="connsiteY1783" fmla="*/ 556323 h 790366"/>
                <a:gd name="connsiteX1784" fmla="*/ 1364124 w 1466597"/>
                <a:gd name="connsiteY1784" fmla="*/ 553403 h 790366"/>
                <a:gd name="connsiteX1785" fmla="*/ 1363469 w 1466597"/>
                <a:gd name="connsiteY1785" fmla="*/ 551320 h 790366"/>
                <a:gd name="connsiteX1786" fmla="*/ 1363301 w 1466597"/>
                <a:gd name="connsiteY1786" fmla="*/ 548255 h 790366"/>
                <a:gd name="connsiteX1787" fmla="*/ 1363761 w 1466597"/>
                <a:gd name="connsiteY1787" fmla="*/ 545351 h 790366"/>
                <a:gd name="connsiteX1788" fmla="*/ 1366609 w 1466597"/>
                <a:gd name="connsiteY1788" fmla="*/ 538706 h 790366"/>
                <a:gd name="connsiteX1789" fmla="*/ 1367760 w 1466597"/>
                <a:gd name="connsiteY1789" fmla="*/ 537557 h 790366"/>
                <a:gd name="connsiteX1790" fmla="*/ 1368060 w 1466597"/>
                <a:gd name="connsiteY1790" fmla="*/ 536833 h 790366"/>
                <a:gd name="connsiteX1791" fmla="*/ 1367183 w 1466597"/>
                <a:gd name="connsiteY1791" fmla="*/ 536943 h 790366"/>
                <a:gd name="connsiteX1792" fmla="*/ 1366349 w 1466597"/>
                <a:gd name="connsiteY1792" fmla="*/ 537573 h 790366"/>
                <a:gd name="connsiteX1793" fmla="*/ 1363994 w 1466597"/>
                <a:gd name="connsiteY1793" fmla="*/ 540663 h 790366"/>
                <a:gd name="connsiteX1794" fmla="*/ 1361570 w 1466597"/>
                <a:gd name="connsiteY1794" fmla="*/ 545719 h 790366"/>
                <a:gd name="connsiteX1795" fmla="*/ 1359589 w 1466597"/>
                <a:gd name="connsiteY1795" fmla="*/ 547442 h 790366"/>
                <a:gd name="connsiteX1796" fmla="*/ 1358345 w 1466597"/>
                <a:gd name="connsiteY1796" fmla="*/ 547025 h 790366"/>
                <a:gd name="connsiteX1797" fmla="*/ 1356461 w 1466597"/>
                <a:gd name="connsiteY1797" fmla="*/ 544968 h 790366"/>
                <a:gd name="connsiteX1798" fmla="*/ 1352532 w 1466597"/>
                <a:gd name="connsiteY1798" fmla="*/ 542455 h 790366"/>
                <a:gd name="connsiteX1799" fmla="*/ 1347987 w 1466597"/>
                <a:gd name="connsiteY1799" fmla="*/ 541803 h 790366"/>
                <a:gd name="connsiteX1800" fmla="*/ 1345119 w 1466597"/>
                <a:gd name="connsiteY1800" fmla="*/ 539229 h 790366"/>
                <a:gd name="connsiteX1801" fmla="*/ 1340873 w 1466597"/>
                <a:gd name="connsiteY1801" fmla="*/ 532052 h 790366"/>
                <a:gd name="connsiteX1802" fmla="*/ 1340304 w 1466597"/>
                <a:gd name="connsiteY1802" fmla="*/ 528469 h 790366"/>
                <a:gd name="connsiteX1803" fmla="*/ 1339760 w 1466597"/>
                <a:gd name="connsiteY1803" fmla="*/ 527592 h 790366"/>
                <a:gd name="connsiteX1804" fmla="*/ 1337455 w 1466597"/>
                <a:gd name="connsiteY1804" fmla="*/ 526425 h 790366"/>
                <a:gd name="connsiteX1805" fmla="*/ 1336043 w 1466597"/>
                <a:gd name="connsiteY1805" fmla="*/ 524700 h 790366"/>
                <a:gd name="connsiteX1806" fmla="*/ 1333861 w 1466597"/>
                <a:gd name="connsiteY1806" fmla="*/ 515930 h 790366"/>
                <a:gd name="connsiteX1807" fmla="*/ 1330979 w 1466597"/>
                <a:gd name="connsiteY1807" fmla="*/ 509815 h 790366"/>
                <a:gd name="connsiteX1808" fmla="*/ 1330262 w 1466597"/>
                <a:gd name="connsiteY1808" fmla="*/ 506579 h 790366"/>
                <a:gd name="connsiteX1809" fmla="*/ 1330506 w 1466597"/>
                <a:gd name="connsiteY1809" fmla="*/ 503364 h 790366"/>
                <a:gd name="connsiteX1810" fmla="*/ 1330128 w 1466597"/>
                <a:gd name="connsiteY1810" fmla="*/ 503010 h 790366"/>
                <a:gd name="connsiteX1811" fmla="*/ 1329137 w 1466597"/>
                <a:gd name="connsiteY1811" fmla="*/ 505515 h 790366"/>
                <a:gd name="connsiteX1812" fmla="*/ 1328877 w 1466597"/>
                <a:gd name="connsiteY1812" fmla="*/ 506821 h 790366"/>
                <a:gd name="connsiteX1813" fmla="*/ 1327058 w 1466597"/>
                <a:gd name="connsiteY1813" fmla="*/ 507190 h 790366"/>
                <a:gd name="connsiteX1814" fmla="*/ 1328771 w 1466597"/>
                <a:gd name="connsiteY1814" fmla="*/ 509724 h 790366"/>
                <a:gd name="connsiteX1815" fmla="*/ 1329199 w 1466597"/>
                <a:gd name="connsiteY1815" fmla="*/ 510989 h 790366"/>
                <a:gd name="connsiteX1816" fmla="*/ 1328342 w 1466597"/>
                <a:gd name="connsiteY1816" fmla="*/ 510885 h 790366"/>
                <a:gd name="connsiteX1817" fmla="*/ 1326591 w 1466597"/>
                <a:gd name="connsiteY1817" fmla="*/ 511201 h 790366"/>
                <a:gd name="connsiteX1818" fmla="*/ 1329556 w 1466597"/>
                <a:gd name="connsiteY1818" fmla="*/ 515519 h 790366"/>
                <a:gd name="connsiteX1819" fmla="*/ 1330884 w 1466597"/>
                <a:gd name="connsiteY1819" fmla="*/ 522199 h 790366"/>
                <a:gd name="connsiteX1820" fmla="*/ 1332849 w 1466597"/>
                <a:gd name="connsiteY1820" fmla="*/ 527138 h 790366"/>
                <a:gd name="connsiteX1821" fmla="*/ 1334123 w 1466597"/>
                <a:gd name="connsiteY1821" fmla="*/ 531134 h 790366"/>
                <a:gd name="connsiteX1822" fmla="*/ 1334698 w 1466597"/>
                <a:gd name="connsiteY1822" fmla="*/ 534163 h 790366"/>
                <a:gd name="connsiteX1823" fmla="*/ 1335531 w 1466597"/>
                <a:gd name="connsiteY1823" fmla="*/ 537055 h 790366"/>
                <a:gd name="connsiteX1824" fmla="*/ 1337825 w 1466597"/>
                <a:gd name="connsiteY1824" fmla="*/ 543433 h 790366"/>
                <a:gd name="connsiteX1825" fmla="*/ 1338139 w 1466597"/>
                <a:gd name="connsiteY1825" fmla="*/ 544699 h 790366"/>
                <a:gd name="connsiteX1826" fmla="*/ 1337863 w 1466597"/>
                <a:gd name="connsiteY1826" fmla="*/ 545735 h 790366"/>
                <a:gd name="connsiteX1827" fmla="*/ 1337104 w 1466597"/>
                <a:gd name="connsiteY1827" fmla="*/ 546963 h 790366"/>
                <a:gd name="connsiteX1828" fmla="*/ 1335795 w 1466597"/>
                <a:gd name="connsiteY1828" fmla="*/ 547426 h 790366"/>
                <a:gd name="connsiteX1829" fmla="*/ 1331689 w 1466597"/>
                <a:gd name="connsiteY1829" fmla="*/ 546590 h 790366"/>
                <a:gd name="connsiteX1830" fmla="*/ 1330142 w 1466597"/>
                <a:gd name="connsiteY1830" fmla="*/ 545016 h 790366"/>
                <a:gd name="connsiteX1831" fmla="*/ 1327928 w 1466597"/>
                <a:gd name="connsiteY1831" fmla="*/ 542123 h 790366"/>
                <a:gd name="connsiteX1832" fmla="*/ 1324820 w 1466597"/>
                <a:gd name="connsiteY1832" fmla="*/ 540786 h 790366"/>
                <a:gd name="connsiteX1833" fmla="*/ 1317124 w 1466597"/>
                <a:gd name="connsiteY1833" fmla="*/ 541449 h 790366"/>
                <a:gd name="connsiteX1834" fmla="*/ 1316509 w 1466597"/>
                <a:gd name="connsiteY1834" fmla="*/ 541226 h 790366"/>
                <a:gd name="connsiteX1835" fmla="*/ 1316540 w 1466597"/>
                <a:gd name="connsiteY1835" fmla="*/ 538857 h 790366"/>
                <a:gd name="connsiteX1836" fmla="*/ 1317423 w 1466597"/>
                <a:gd name="connsiteY1836" fmla="*/ 534638 h 790366"/>
                <a:gd name="connsiteX1837" fmla="*/ 1316714 w 1466597"/>
                <a:gd name="connsiteY1837" fmla="*/ 532933 h 790366"/>
                <a:gd name="connsiteX1838" fmla="*/ 1312736 w 1466597"/>
                <a:gd name="connsiteY1838" fmla="*/ 526713 h 790366"/>
                <a:gd name="connsiteX1839" fmla="*/ 1312796 w 1466597"/>
                <a:gd name="connsiteY1839" fmla="*/ 525496 h 790366"/>
                <a:gd name="connsiteX1840" fmla="*/ 1318325 w 1466597"/>
                <a:gd name="connsiteY1840" fmla="*/ 522635 h 790366"/>
                <a:gd name="connsiteX1841" fmla="*/ 1315638 w 1466597"/>
                <a:gd name="connsiteY1841" fmla="*/ 522419 h 790366"/>
                <a:gd name="connsiteX1842" fmla="*/ 1313473 w 1466597"/>
                <a:gd name="connsiteY1842" fmla="*/ 523535 h 790366"/>
                <a:gd name="connsiteX1843" fmla="*/ 1312637 w 1466597"/>
                <a:gd name="connsiteY1843" fmla="*/ 522813 h 790366"/>
                <a:gd name="connsiteX1844" fmla="*/ 1311329 w 1466597"/>
                <a:gd name="connsiteY1844" fmla="*/ 518812 h 790366"/>
                <a:gd name="connsiteX1845" fmla="*/ 1310486 w 1466597"/>
                <a:gd name="connsiteY1845" fmla="*/ 517322 h 790366"/>
                <a:gd name="connsiteX1846" fmla="*/ 1310068 w 1466597"/>
                <a:gd name="connsiteY1846" fmla="*/ 517001 h 790366"/>
                <a:gd name="connsiteX1847" fmla="*/ 1309829 w 1466597"/>
                <a:gd name="connsiteY1847" fmla="*/ 520805 h 790366"/>
                <a:gd name="connsiteX1848" fmla="*/ 1310745 w 1466597"/>
                <a:gd name="connsiteY1848" fmla="*/ 522804 h 790366"/>
                <a:gd name="connsiteX1849" fmla="*/ 1310876 w 1466597"/>
                <a:gd name="connsiteY1849" fmla="*/ 523961 h 790366"/>
                <a:gd name="connsiteX1850" fmla="*/ 1310728 w 1466597"/>
                <a:gd name="connsiteY1850" fmla="*/ 525571 h 790366"/>
                <a:gd name="connsiteX1851" fmla="*/ 1310152 w 1466597"/>
                <a:gd name="connsiteY1851" fmla="*/ 526724 h 790366"/>
                <a:gd name="connsiteX1852" fmla="*/ 1309143 w 1466597"/>
                <a:gd name="connsiteY1852" fmla="*/ 527422 h 790366"/>
                <a:gd name="connsiteX1853" fmla="*/ 1308135 w 1466597"/>
                <a:gd name="connsiteY1853" fmla="*/ 527598 h 790366"/>
                <a:gd name="connsiteX1854" fmla="*/ 1306269 w 1466597"/>
                <a:gd name="connsiteY1854" fmla="*/ 526794 h 790366"/>
                <a:gd name="connsiteX1855" fmla="*/ 1304195 w 1466597"/>
                <a:gd name="connsiteY1855" fmla="*/ 525283 h 790366"/>
                <a:gd name="connsiteX1856" fmla="*/ 1302387 w 1466597"/>
                <a:gd name="connsiteY1856" fmla="*/ 524571 h 790366"/>
                <a:gd name="connsiteX1857" fmla="*/ 1301712 w 1466597"/>
                <a:gd name="connsiteY1857" fmla="*/ 523965 h 790366"/>
                <a:gd name="connsiteX1858" fmla="*/ 1300857 w 1466597"/>
                <a:gd name="connsiteY1858" fmla="*/ 522293 h 790366"/>
                <a:gd name="connsiteX1859" fmla="*/ 1299453 w 1466597"/>
                <a:gd name="connsiteY1859" fmla="*/ 521026 h 790366"/>
                <a:gd name="connsiteX1860" fmla="*/ 1292698 w 1466597"/>
                <a:gd name="connsiteY1860" fmla="*/ 519415 h 790366"/>
                <a:gd name="connsiteX1861" fmla="*/ 1288667 w 1466597"/>
                <a:gd name="connsiteY1861" fmla="*/ 517513 h 790366"/>
                <a:gd name="connsiteX1862" fmla="*/ 1288332 w 1466597"/>
                <a:gd name="connsiteY1862" fmla="*/ 518014 h 790366"/>
                <a:gd name="connsiteX1863" fmla="*/ 1289590 w 1466597"/>
                <a:gd name="connsiteY1863" fmla="*/ 520048 h 790366"/>
                <a:gd name="connsiteX1864" fmla="*/ 1289712 w 1466597"/>
                <a:gd name="connsiteY1864" fmla="*/ 521250 h 790366"/>
                <a:gd name="connsiteX1865" fmla="*/ 1288696 w 1466597"/>
                <a:gd name="connsiteY1865" fmla="*/ 521616 h 790366"/>
                <a:gd name="connsiteX1866" fmla="*/ 1286880 w 1466597"/>
                <a:gd name="connsiteY1866" fmla="*/ 523544 h 790366"/>
                <a:gd name="connsiteX1867" fmla="*/ 1287407 w 1466597"/>
                <a:gd name="connsiteY1867" fmla="*/ 523809 h 790366"/>
                <a:gd name="connsiteX1868" fmla="*/ 1289329 w 1466597"/>
                <a:gd name="connsiteY1868" fmla="*/ 523176 h 790366"/>
                <a:gd name="connsiteX1869" fmla="*/ 1291470 w 1466597"/>
                <a:gd name="connsiteY1869" fmla="*/ 523251 h 790366"/>
                <a:gd name="connsiteX1870" fmla="*/ 1295016 w 1466597"/>
                <a:gd name="connsiteY1870" fmla="*/ 524425 h 790366"/>
                <a:gd name="connsiteX1871" fmla="*/ 1298235 w 1466597"/>
                <a:gd name="connsiteY1871" fmla="*/ 525958 h 790366"/>
                <a:gd name="connsiteX1872" fmla="*/ 1299401 w 1466597"/>
                <a:gd name="connsiteY1872" fmla="*/ 526817 h 790366"/>
                <a:gd name="connsiteX1873" fmla="*/ 1299883 w 1466597"/>
                <a:gd name="connsiteY1873" fmla="*/ 528087 h 790366"/>
                <a:gd name="connsiteX1874" fmla="*/ 1300287 w 1466597"/>
                <a:gd name="connsiteY1874" fmla="*/ 528542 h 790366"/>
                <a:gd name="connsiteX1875" fmla="*/ 1303435 w 1466597"/>
                <a:gd name="connsiteY1875" fmla="*/ 530022 h 790366"/>
                <a:gd name="connsiteX1876" fmla="*/ 1303585 w 1466597"/>
                <a:gd name="connsiteY1876" fmla="*/ 530802 h 790366"/>
                <a:gd name="connsiteX1877" fmla="*/ 1301555 w 1466597"/>
                <a:gd name="connsiteY1877" fmla="*/ 533122 h 790366"/>
                <a:gd name="connsiteX1878" fmla="*/ 1305736 w 1466597"/>
                <a:gd name="connsiteY1878" fmla="*/ 532868 h 790366"/>
                <a:gd name="connsiteX1879" fmla="*/ 1308166 w 1466597"/>
                <a:gd name="connsiteY1879" fmla="*/ 533697 h 790366"/>
                <a:gd name="connsiteX1880" fmla="*/ 1311272 w 1466597"/>
                <a:gd name="connsiteY1880" fmla="*/ 537275 h 790366"/>
                <a:gd name="connsiteX1881" fmla="*/ 1312328 w 1466597"/>
                <a:gd name="connsiteY1881" fmla="*/ 539271 h 790366"/>
                <a:gd name="connsiteX1882" fmla="*/ 1312469 w 1466597"/>
                <a:gd name="connsiteY1882" fmla="*/ 541823 h 790366"/>
                <a:gd name="connsiteX1883" fmla="*/ 1311823 w 1466597"/>
                <a:gd name="connsiteY1883" fmla="*/ 542565 h 790366"/>
                <a:gd name="connsiteX1884" fmla="*/ 1310589 w 1466597"/>
                <a:gd name="connsiteY1884" fmla="*/ 543078 h 790366"/>
                <a:gd name="connsiteX1885" fmla="*/ 1302101 w 1466597"/>
                <a:gd name="connsiteY1885" fmla="*/ 543913 h 790366"/>
                <a:gd name="connsiteX1886" fmla="*/ 1299034 w 1466597"/>
                <a:gd name="connsiteY1886" fmla="*/ 546986 h 790366"/>
                <a:gd name="connsiteX1887" fmla="*/ 1298401 w 1466597"/>
                <a:gd name="connsiteY1887" fmla="*/ 547032 h 790366"/>
                <a:gd name="connsiteX1888" fmla="*/ 1296066 w 1466597"/>
                <a:gd name="connsiteY1888" fmla="*/ 546198 h 790366"/>
                <a:gd name="connsiteX1889" fmla="*/ 1291831 w 1466597"/>
                <a:gd name="connsiteY1889" fmla="*/ 543747 h 790366"/>
                <a:gd name="connsiteX1890" fmla="*/ 1286551 w 1466597"/>
                <a:gd name="connsiteY1890" fmla="*/ 541411 h 790366"/>
                <a:gd name="connsiteX1891" fmla="*/ 1274509 w 1466597"/>
                <a:gd name="connsiteY1891" fmla="*/ 534482 h 790366"/>
                <a:gd name="connsiteX1892" fmla="*/ 1274179 w 1466597"/>
                <a:gd name="connsiteY1892" fmla="*/ 534157 h 790366"/>
                <a:gd name="connsiteX1893" fmla="*/ 1273983 w 1466597"/>
                <a:gd name="connsiteY1893" fmla="*/ 532815 h 790366"/>
                <a:gd name="connsiteX1894" fmla="*/ 1273155 w 1466597"/>
                <a:gd name="connsiteY1894" fmla="*/ 532130 h 790366"/>
                <a:gd name="connsiteX1895" fmla="*/ 1271522 w 1466597"/>
                <a:gd name="connsiteY1895" fmla="*/ 531543 h 790366"/>
                <a:gd name="connsiteX1896" fmla="*/ 1269254 w 1466597"/>
                <a:gd name="connsiteY1896" fmla="*/ 529781 h 790366"/>
                <a:gd name="connsiteX1897" fmla="*/ 1266352 w 1466597"/>
                <a:gd name="connsiteY1897" fmla="*/ 526847 h 790366"/>
                <a:gd name="connsiteX1898" fmla="*/ 1264559 w 1466597"/>
                <a:gd name="connsiteY1898" fmla="*/ 524550 h 790366"/>
                <a:gd name="connsiteX1899" fmla="*/ 1263874 w 1466597"/>
                <a:gd name="connsiteY1899" fmla="*/ 522897 h 790366"/>
                <a:gd name="connsiteX1900" fmla="*/ 1262190 w 1466597"/>
                <a:gd name="connsiteY1900" fmla="*/ 521005 h 790366"/>
                <a:gd name="connsiteX1901" fmla="*/ 1256735 w 1466597"/>
                <a:gd name="connsiteY1901" fmla="*/ 517049 h 790366"/>
                <a:gd name="connsiteX1902" fmla="*/ 1253884 w 1466597"/>
                <a:gd name="connsiteY1902" fmla="*/ 515527 h 790366"/>
                <a:gd name="connsiteX1903" fmla="*/ 1251363 w 1466597"/>
                <a:gd name="connsiteY1903" fmla="*/ 514669 h 790366"/>
                <a:gd name="connsiteX1904" fmla="*/ 1249174 w 1466597"/>
                <a:gd name="connsiteY1904" fmla="*/ 514483 h 790366"/>
                <a:gd name="connsiteX1905" fmla="*/ 1248583 w 1466597"/>
                <a:gd name="connsiteY1905" fmla="*/ 513953 h 790366"/>
                <a:gd name="connsiteX1906" fmla="*/ 1249593 w 1466597"/>
                <a:gd name="connsiteY1906" fmla="*/ 513085 h 790366"/>
                <a:gd name="connsiteX1907" fmla="*/ 1249741 w 1466597"/>
                <a:gd name="connsiteY1907" fmla="*/ 512570 h 790366"/>
                <a:gd name="connsiteX1908" fmla="*/ 1244913 w 1466597"/>
                <a:gd name="connsiteY1908" fmla="*/ 511756 h 790366"/>
                <a:gd name="connsiteX1909" fmla="*/ 1240316 w 1466597"/>
                <a:gd name="connsiteY1909" fmla="*/ 509897 h 790366"/>
                <a:gd name="connsiteX1910" fmla="*/ 1228668 w 1466597"/>
                <a:gd name="connsiteY1910" fmla="*/ 504664 h 790366"/>
                <a:gd name="connsiteX1911" fmla="*/ 1222652 w 1466597"/>
                <a:gd name="connsiteY1911" fmla="*/ 501384 h 790366"/>
                <a:gd name="connsiteX1912" fmla="*/ 1219141 w 1466597"/>
                <a:gd name="connsiteY1912" fmla="*/ 499814 h 790366"/>
                <a:gd name="connsiteX1913" fmla="*/ 1217640 w 1466597"/>
                <a:gd name="connsiteY1913" fmla="*/ 498931 h 790366"/>
                <a:gd name="connsiteX1914" fmla="*/ 1216980 w 1466597"/>
                <a:gd name="connsiteY1914" fmla="*/ 498214 h 790366"/>
                <a:gd name="connsiteX1915" fmla="*/ 1217824 w 1466597"/>
                <a:gd name="connsiteY1915" fmla="*/ 497463 h 790366"/>
                <a:gd name="connsiteX1916" fmla="*/ 1220170 w 1466597"/>
                <a:gd name="connsiteY1916" fmla="*/ 496677 h 790366"/>
                <a:gd name="connsiteX1917" fmla="*/ 1221764 w 1466597"/>
                <a:gd name="connsiteY1917" fmla="*/ 495788 h 790366"/>
                <a:gd name="connsiteX1918" fmla="*/ 1224279 w 1466597"/>
                <a:gd name="connsiteY1918" fmla="*/ 492459 h 790366"/>
                <a:gd name="connsiteX1919" fmla="*/ 1224469 w 1466597"/>
                <a:gd name="connsiteY1919" fmla="*/ 491386 h 790366"/>
                <a:gd name="connsiteX1920" fmla="*/ 1223119 w 1466597"/>
                <a:gd name="connsiteY1920" fmla="*/ 488961 h 790366"/>
                <a:gd name="connsiteX1921" fmla="*/ 1222514 w 1466597"/>
                <a:gd name="connsiteY1921" fmla="*/ 486752 h 790366"/>
                <a:gd name="connsiteX1922" fmla="*/ 1222541 w 1466597"/>
                <a:gd name="connsiteY1922" fmla="*/ 485526 h 790366"/>
                <a:gd name="connsiteX1923" fmla="*/ 1222848 w 1466597"/>
                <a:gd name="connsiteY1923" fmla="*/ 484315 h 790366"/>
                <a:gd name="connsiteX1924" fmla="*/ 1223231 w 1466597"/>
                <a:gd name="connsiteY1924" fmla="*/ 483516 h 790366"/>
                <a:gd name="connsiteX1925" fmla="*/ 1224298 w 1466597"/>
                <a:gd name="connsiteY1925" fmla="*/ 482744 h 790366"/>
                <a:gd name="connsiteX1926" fmla="*/ 1225045 w 1466597"/>
                <a:gd name="connsiteY1926" fmla="*/ 482356 h 790366"/>
                <a:gd name="connsiteX1927" fmla="*/ 1225966 w 1466597"/>
                <a:gd name="connsiteY1927" fmla="*/ 482619 h 790366"/>
                <a:gd name="connsiteX1928" fmla="*/ 1228923 w 1466597"/>
                <a:gd name="connsiteY1928" fmla="*/ 485660 h 790366"/>
                <a:gd name="connsiteX1929" fmla="*/ 1229339 w 1466597"/>
                <a:gd name="connsiteY1929" fmla="*/ 486765 h 790366"/>
                <a:gd name="connsiteX1930" fmla="*/ 1229203 w 1466597"/>
                <a:gd name="connsiteY1930" fmla="*/ 490915 h 790366"/>
                <a:gd name="connsiteX1931" fmla="*/ 1230053 w 1466597"/>
                <a:gd name="connsiteY1931" fmla="*/ 495763 h 790366"/>
                <a:gd name="connsiteX1932" fmla="*/ 1230319 w 1466597"/>
                <a:gd name="connsiteY1932" fmla="*/ 495405 h 790366"/>
                <a:gd name="connsiteX1933" fmla="*/ 1230590 w 1466597"/>
                <a:gd name="connsiteY1933" fmla="*/ 493805 h 790366"/>
                <a:gd name="connsiteX1934" fmla="*/ 1230766 w 1466597"/>
                <a:gd name="connsiteY1934" fmla="*/ 490741 h 790366"/>
                <a:gd name="connsiteX1935" fmla="*/ 1231099 w 1466597"/>
                <a:gd name="connsiteY1935" fmla="*/ 489268 h 790366"/>
                <a:gd name="connsiteX1936" fmla="*/ 1231734 w 1466597"/>
                <a:gd name="connsiteY1936" fmla="*/ 487832 h 790366"/>
                <a:gd name="connsiteX1937" fmla="*/ 1232804 w 1466597"/>
                <a:gd name="connsiteY1937" fmla="*/ 487073 h 790366"/>
                <a:gd name="connsiteX1938" fmla="*/ 1236134 w 1466597"/>
                <a:gd name="connsiteY1938" fmla="*/ 487515 h 790366"/>
                <a:gd name="connsiteX1939" fmla="*/ 1237671 w 1466597"/>
                <a:gd name="connsiteY1939" fmla="*/ 487257 h 790366"/>
                <a:gd name="connsiteX1940" fmla="*/ 1231180 w 1466597"/>
                <a:gd name="connsiteY1940" fmla="*/ 485060 h 790366"/>
                <a:gd name="connsiteX1941" fmla="*/ 1227099 w 1466597"/>
                <a:gd name="connsiteY1941" fmla="*/ 480938 h 790366"/>
                <a:gd name="connsiteX1942" fmla="*/ 1226360 w 1466597"/>
                <a:gd name="connsiteY1942" fmla="*/ 480508 h 790366"/>
                <a:gd name="connsiteX1943" fmla="*/ 1224129 w 1466597"/>
                <a:gd name="connsiteY1943" fmla="*/ 480323 h 790366"/>
                <a:gd name="connsiteX1944" fmla="*/ 1221764 w 1466597"/>
                <a:gd name="connsiteY1944" fmla="*/ 481988 h 790366"/>
                <a:gd name="connsiteX1945" fmla="*/ 1215678 w 1466597"/>
                <a:gd name="connsiteY1945" fmla="*/ 487420 h 790366"/>
                <a:gd name="connsiteX1946" fmla="*/ 1213976 w 1466597"/>
                <a:gd name="connsiteY1946" fmla="*/ 488373 h 790366"/>
                <a:gd name="connsiteX1947" fmla="*/ 1206328 w 1466597"/>
                <a:gd name="connsiteY1947" fmla="*/ 491374 h 790366"/>
                <a:gd name="connsiteX1948" fmla="*/ 1201147 w 1466597"/>
                <a:gd name="connsiteY1948" fmla="*/ 491979 h 790366"/>
                <a:gd name="connsiteX1949" fmla="*/ 1195315 w 1466597"/>
                <a:gd name="connsiteY1949" fmla="*/ 491505 h 790366"/>
                <a:gd name="connsiteX1950" fmla="*/ 1190347 w 1466597"/>
                <a:gd name="connsiteY1950" fmla="*/ 490530 h 790366"/>
                <a:gd name="connsiteX1951" fmla="*/ 1177878 w 1466597"/>
                <a:gd name="connsiteY1951" fmla="*/ 485782 h 790366"/>
                <a:gd name="connsiteX1952" fmla="*/ 1175931 w 1466597"/>
                <a:gd name="connsiteY1952" fmla="*/ 484678 h 790366"/>
                <a:gd name="connsiteX1953" fmla="*/ 1178830 w 1466597"/>
                <a:gd name="connsiteY1953" fmla="*/ 481736 h 790366"/>
                <a:gd name="connsiteX1954" fmla="*/ 1178950 w 1466597"/>
                <a:gd name="connsiteY1954" fmla="*/ 480817 h 790366"/>
                <a:gd name="connsiteX1955" fmla="*/ 1177939 w 1466597"/>
                <a:gd name="connsiteY1955" fmla="*/ 477815 h 790366"/>
                <a:gd name="connsiteX1956" fmla="*/ 1177108 w 1466597"/>
                <a:gd name="connsiteY1956" fmla="*/ 476957 h 790366"/>
                <a:gd name="connsiteX1957" fmla="*/ 1175919 w 1466597"/>
                <a:gd name="connsiteY1957" fmla="*/ 476484 h 790366"/>
                <a:gd name="connsiteX1958" fmla="*/ 1175590 w 1466597"/>
                <a:gd name="connsiteY1958" fmla="*/ 476821 h 790366"/>
                <a:gd name="connsiteX1959" fmla="*/ 1175577 w 1466597"/>
                <a:gd name="connsiteY1959" fmla="*/ 477713 h 790366"/>
                <a:gd name="connsiteX1960" fmla="*/ 1175894 w 1466597"/>
                <a:gd name="connsiteY1960" fmla="*/ 479362 h 790366"/>
                <a:gd name="connsiteX1961" fmla="*/ 1174942 w 1466597"/>
                <a:gd name="connsiteY1961" fmla="*/ 480234 h 790366"/>
                <a:gd name="connsiteX1962" fmla="*/ 1172822 w 1466597"/>
                <a:gd name="connsiteY1962" fmla="*/ 481175 h 790366"/>
                <a:gd name="connsiteX1963" fmla="*/ 1169249 w 1466597"/>
                <a:gd name="connsiteY1963" fmla="*/ 482122 h 790366"/>
                <a:gd name="connsiteX1964" fmla="*/ 1158182 w 1466597"/>
                <a:gd name="connsiteY1964" fmla="*/ 479700 h 790366"/>
                <a:gd name="connsiteX1965" fmla="*/ 1146843 w 1466597"/>
                <a:gd name="connsiteY1965" fmla="*/ 477693 h 790366"/>
                <a:gd name="connsiteX1966" fmla="*/ 1136713 w 1466597"/>
                <a:gd name="connsiteY1966" fmla="*/ 477275 h 790366"/>
                <a:gd name="connsiteX1967" fmla="*/ 1122415 w 1466597"/>
                <a:gd name="connsiteY1967" fmla="*/ 478876 h 790366"/>
                <a:gd name="connsiteX1968" fmla="*/ 1114789 w 1466597"/>
                <a:gd name="connsiteY1968" fmla="*/ 480484 h 790366"/>
                <a:gd name="connsiteX1969" fmla="*/ 1110340 w 1466597"/>
                <a:gd name="connsiteY1969" fmla="*/ 480640 h 790366"/>
                <a:gd name="connsiteX1970" fmla="*/ 1106061 w 1466597"/>
                <a:gd name="connsiteY1970" fmla="*/ 480350 h 790366"/>
                <a:gd name="connsiteX1971" fmla="*/ 1105711 w 1466597"/>
                <a:gd name="connsiteY1971" fmla="*/ 479228 h 790366"/>
                <a:gd name="connsiteX1972" fmla="*/ 1107667 w 1466597"/>
                <a:gd name="connsiteY1972" fmla="*/ 478570 h 790366"/>
                <a:gd name="connsiteX1973" fmla="*/ 1107558 w 1466597"/>
                <a:gd name="connsiteY1973" fmla="*/ 477758 h 790366"/>
                <a:gd name="connsiteX1974" fmla="*/ 1105084 w 1466597"/>
                <a:gd name="connsiteY1974" fmla="*/ 475222 h 790366"/>
                <a:gd name="connsiteX1975" fmla="*/ 1101331 w 1466597"/>
                <a:gd name="connsiteY1975" fmla="*/ 473682 h 790366"/>
                <a:gd name="connsiteX1976" fmla="*/ 1096296 w 1466597"/>
                <a:gd name="connsiteY1976" fmla="*/ 473139 h 790366"/>
                <a:gd name="connsiteX1977" fmla="*/ 1093415 w 1466597"/>
                <a:gd name="connsiteY1977" fmla="*/ 472395 h 790366"/>
                <a:gd name="connsiteX1978" fmla="*/ 1092684 w 1466597"/>
                <a:gd name="connsiteY1978" fmla="*/ 471454 h 790366"/>
                <a:gd name="connsiteX1979" fmla="*/ 1090903 w 1466597"/>
                <a:gd name="connsiteY1979" fmla="*/ 470556 h 790366"/>
                <a:gd name="connsiteX1980" fmla="*/ 1088071 w 1466597"/>
                <a:gd name="connsiteY1980" fmla="*/ 469700 h 790366"/>
                <a:gd name="connsiteX1981" fmla="*/ 1086824 w 1466597"/>
                <a:gd name="connsiteY1981" fmla="*/ 468164 h 790366"/>
                <a:gd name="connsiteX1982" fmla="*/ 1087815 w 1466597"/>
                <a:gd name="connsiteY1982" fmla="*/ 463407 h 790366"/>
                <a:gd name="connsiteX1983" fmla="*/ 1088785 w 1466597"/>
                <a:gd name="connsiteY1983" fmla="*/ 460547 h 790366"/>
                <a:gd name="connsiteX1984" fmla="*/ 1089751 w 1466597"/>
                <a:gd name="connsiteY1984" fmla="*/ 458585 h 790366"/>
                <a:gd name="connsiteX1985" fmla="*/ 1092186 w 1466597"/>
                <a:gd name="connsiteY1985" fmla="*/ 455332 h 790366"/>
                <a:gd name="connsiteX1986" fmla="*/ 1091337 w 1466597"/>
                <a:gd name="connsiteY1986" fmla="*/ 455574 h 790366"/>
                <a:gd name="connsiteX1987" fmla="*/ 1087800 w 1466597"/>
                <a:gd name="connsiteY1987" fmla="*/ 457959 h 790366"/>
                <a:gd name="connsiteX1988" fmla="*/ 1084713 w 1466597"/>
                <a:gd name="connsiteY1988" fmla="*/ 460420 h 790366"/>
                <a:gd name="connsiteX1989" fmla="*/ 1081857 w 1466597"/>
                <a:gd name="connsiteY1989" fmla="*/ 463618 h 790366"/>
                <a:gd name="connsiteX1990" fmla="*/ 1080156 w 1466597"/>
                <a:gd name="connsiteY1990" fmla="*/ 465088 h 790366"/>
                <a:gd name="connsiteX1991" fmla="*/ 1077973 w 1466597"/>
                <a:gd name="connsiteY1991" fmla="*/ 466440 h 790366"/>
                <a:gd name="connsiteX1992" fmla="*/ 1074567 w 1466597"/>
                <a:gd name="connsiteY1992" fmla="*/ 466115 h 790366"/>
                <a:gd name="connsiteX1993" fmla="*/ 1069941 w 1466597"/>
                <a:gd name="connsiteY1993" fmla="*/ 464115 h 790366"/>
                <a:gd name="connsiteX1994" fmla="*/ 1065979 w 1466597"/>
                <a:gd name="connsiteY1994" fmla="*/ 463084 h 790366"/>
                <a:gd name="connsiteX1995" fmla="*/ 1062680 w 1466597"/>
                <a:gd name="connsiteY1995" fmla="*/ 463020 h 790366"/>
                <a:gd name="connsiteX1996" fmla="*/ 1061376 w 1466597"/>
                <a:gd name="connsiteY1996" fmla="*/ 462676 h 790366"/>
                <a:gd name="connsiteX1997" fmla="*/ 1063627 w 1466597"/>
                <a:gd name="connsiteY1997" fmla="*/ 460891 h 790366"/>
                <a:gd name="connsiteX1998" fmla="*/ 1064924 w 1466597"/>
                <a:gd name="connsiteY1998" fmla="*/ 459454 h 790366"/>
                <a:gd name="connsiteX1999" fmla="*/ 1066699 w 1466597"/>
                <a:gd name="connsiteY1999" fmla="*/ 457147 h 790366"/>
                <a:gd name="connsiteX2000" fmla="*/ 1067089 w 1466597"/>
                <a:gd name="connsiteY2000" fmla="*/ 456024 h 790366"/>
                <a:gd name="connsiteX2001" fmla="*/ 1054995 w 1466597"/>
                <a:gd name="connsiteY2001" fmla="*/ 455656 h 790366"/>
                <a:gd name="connsiteX2002" fmla="*/ 1054551 w 1466597"/>
                <a:gd name="connsiteY2002" fmla="*/ 454440 h 790366"/>
                <a:gd name="connsiteX2003" fmla="*/ 1054534 w 1466597"/>
                <a:gd name="connsiteY2003" fmla="*/ 453543 h 790366"/>
                <a:gd name="connsiteX2004" fmla="*/ 1054145 w 1466597"/>
                <a:gd name="connsiteY2004" fmla="*/ 452801 h 790366"/>
                <a:gd name="connsiteX2005" fmla="*/ 1052393 w 1466597"/>
                <a:gd name="connsiteY2005" fmla="*/ 452250 h 790366"/>
                <a:gd name="connsiteX2006" fmla="*/ 1049940 w 1466597"/>
                <a:gd name="connsiteY2006" fmla="*/ 452672 h 790366"/>
                <a:gd name="connsiteX2007" fmla="*/ 1045965 w 1466597"/>
                <a:gd name="connsiteY2007" fmla="*/ 454112 h 790366"/>
                <a:gd name="connsiteX2008" fmla="*/ 1044245 w 1466597"/>
                <a:gd name="connsiteY2008" fmla="*/ 453018 h 790366"/>
                <a:gd name="connsiteX2009" fmla="*/ 1044858 w 1466597"/>
                <a:gd name="connsiteY2009" fmla="*/ 452401 h 790366"/>
                <a:gd name="connsiteX2010" fmla="*/ 1046156 w 1466597"/>
                <a:gd name="connsiteY2010" fmla="*/ 451952 h 790366"/>
                <a:gd name="connsiteX2011" fmla="*/ 1048797 w 1466597"/>
                <a:gd name="connsiteY2011" fmla="*/ 449866 h 790366"/>
                <a:gd name="connsiteX2012" fmla="*/ 1045226 w 1466597"/>
                <a:gd name="connsiteY2012" fmla="*/ 448783 h 790366"/>
                <a:gd name="connsiteX2013" fmla="*/ 1043400 w 1466597"/>
                <a:gd name="connsiteY2013" fmla="*/ 447544 h 790366"/>
                <a:gd name="connsiteX2014" fmla="*/ 1042510 w 1466597"/>
                <a:gd name="connsiteY2014" fmla="*/ 446524 h 790366"/>
                <a:gd name="connsiteX2015" fmla="*/ 1042572 w 1466597"/>
                <a:gd name="connsiteY2015" fmla="*/ 442840 h 790366"/>
                <a:gd name="connsiteX2016" fmla="*/ 1043513 w 1466597"/>
                <a:gd name="connsiteY2016" fmla="*/ 440478 h 790366"/>
                <a:gd name="connsiteX2017" fmla="*/ 1051529 w 1466597"/>
                <a:gd name="connsiteY2017" fmla="*/ 438184 h 790366"/>
                <a:gd name="connsiteX2018" fmla="*/ 1048991 w 1466597"/>
                <a:gd name="connsiteY2018" fmla="*/ 437284 h 790366"/>
                <a:gd name="connsiteX2019" fmla="*/ 1043932 w 1466597"/>
                <a:gd name="connsiteY2019" fmla="*/ 437594 h 790366"/>
                <a:gd name="connsiteX2020" fmla="*/ 1040534 w 1466597"/>
                <a:gd name="connsiteY2020" fmla="*/ 439547 h 790366"/>
                <a:gd name="connsiteX2021" fmla="*/ 1036500 w 1466597"/>
                <a:gd name="connsiteY2021" fmla="*/ 442362 h 790366"/>
                <a:gd name="connsiteX2022" fmla="*/ 1033792 w 1466597"/>
                <a:gd name="connsiteY2022" fmla="*/ 443411 h 790366"/>
                <a:gd name="connsiteX2023" fmla="*/ 1032411 w 1466597"/>
                <a:gd name="connsiteY2023" fmla="*/ 442698 h 790366"/>
                <a:gd name="connsiteX2024" fmla="*/ 1030583 w 1466597"/>
                <a:gd name="connsiteY2024" fmla="*/ 442453 h 790366"/>
                <a:gd name="connsiteX2025" fmla="*/ 1028311 w 1466597"/>
                <a:gd name="connsiteY2025" fmla="*/ 442674 h 790366"/>
                <a:gd name="connsiteX2026" fmla="*/ 1026785 w 1466597"/>
                <a:gd name="connsiteY2026" fmla="*/ 443392 h 790366"/>
                <a:gd name="connsiteX2027" fmla="*/ 1026002 w 1466597"/>
                <a:gd name="connsiteY2027" fmla="*/ 444612 h 790366"/>
                <a:gd name="connsiteX2028" fmla="*/ 1025095 w 1466597"/>
                <a:gd name="connsiteY2028" fmla="*/ 445434 h 790366"/>
                <a:gd name="connsiteX2029" fmla="*/ 1024068 w 1466597"/>
                <a:gd name="connsiteY2029" fmla="*/ 445859 h 790366"/>
                <a:gd name="connsiteX2030" fmla="*/ 1023323 w 1466597"/>
                <a:gd name="connsiteY2030" fmla="*/ 445723 h 790366"/>
                <a:gd name="connsiteX2031" fmla="*/ 1022231 w 1466597"/>
                <a:gd name="connsiteY2031" fmla="*/ 444475 h 790366"/>
                <a:gd name="connsiteX2032" fmla="*/ 1019937 w 1466597"/>
                <a:gd name="connsiteY2032" fmla="*/ 443701 h 790366"/>
                <a:gd name="connsiteX2033" fmla="*/ 1018816 w 1466597"/>
                <a:gd name="connsiteY2033" fmla="*/ 442748 h 790366"/>
                <a:gd name="connsiteX2034" fmla="*/ 1018171 w 1466597"/>
                <a:gd name="connsiteY2034" fmla="*/ 443347 h 790366"/>
                <a:gd name="connsiteX2035" fmla="*/ 1017386 w 1466597"/>
                <a:gd name="connsiteY2035" fmla="*/ 445144 h 790366"/>
                <a:gd name="connsiteX2036" fmla="*/ 1016560 w 1466597"/>
                <a:gd name="connsiteY2036" fmla="*/ 446052 h 790366"/>
                <a:gd name="connsiteX2037" fmla="*/ 1012685 w 1466597"/>
                <a:gd name="connsiteY2037" fmla="*/ 446986 h 790366"/>
                <a:gd name="connsiteX2038" fmla="*/ 1010554 w 1466597"/>
                <a:gd name="connsiteY2038" fmla="*/ 446811 h 790366"/>
                <a:gd name="connsiteX2039" fmla="*/ 1008012 w 1466597"/>
                <a:gd name="connsiteY2039" fmla="*/ 444552 h 790366"/>
                <a:gd name="connsiteX2040" fmla="*/ 1007645 w 1466597"/>
                <a:gd name="connsiteY2040" fmla="*/ 443767 h 790366"/>
                <a:gd name="connsiteX2041" fmla="*/ 1008511 w 1466597"/>
                <a:gd name="connsiteY2041" fmla="*/ 441814 h 790366"/>
                <a:gd name="connsiteX2042" fmla="*/ 1014106 w 1466597"/>
                <a:gd name="connsiteY2042" fmla="*/ 434056 h 790366"/>
                <a:gd name="connsiteX2043" fmla="*/ 1013548 w 1466597"/>
                <a:gd name="connsiteY2043" fmla="*/ 434100 h 790366"/>
                <a:gd name="connsiteX2044" fmla="*/ 1011735 w 1466597"/>
                <a:gd name="connsiteY2044" fmla="*/ 435322 h 790366"/>
                <a:gd name="connsiteX2045" fmla="*/ 1008124 w 1466597"/>
                <a:gd name="connsiteY2045" fmla="*/ 438423 h 790366"/>
                <a:gd name="connsiteX2046" fmla="*/ 1006515 w 1466597"/>
                <a:gd name="connsiteY2046" fmla="*/ 439347 h 790366"/>
                <a:gd name="connsiteX2047" fmla="*/ 1003748 w 1466597"/>
                <a:gd name="connsiteY2047" fmla="*/ 439463 h 790366"/>
                <a:gd name="connsiteX2048" fmla="*/ 1002453 w 1466597"/>
                <a:gd name="connsiteY2048" fmla="*/ 439131 h 790366"/>
                <a:gd name="connsiteX2049" fmla="*/ 1000889 w 1466597"/>
                <a:gd name="connsiteY2049" fmla="*/ 439382 h 790366"/>
                <a:gd name="connsiteX2050" fmla="*/ 999056 w 1466597"/>
                <a:gd name="connsiteY2050" fmla="*/ 440211 h 790366"/>
                <a:gd name="connsiteX2051" fmla="*/ 997858 w 1466597"/>
                <a:gd name="connsiteY2051" fmla="*/ 441119 h 790366"/>
                <a:gd name="connsiteX2052" fmla="*/ 997298 w 1466597"/>
                <a:gd name="connsiteY2052" fmla="*/ 442106 h 790366"/>
                <a:gd name="connsiteX2053" fmla="*/ 997679 w 1466597"/>
                <a:gd name="connsiteY2053" fmla="*/ 442275 h 790366"/>
                <a:gd name="connsiteX2054" fmla="*/ 1000445 w 1466597"/>
                <a:gd name="connsiteY2054" fmla="*/ 441147 h 790366"/>
                <a:gd name="connsiteX2055" fmla="*/ 1002014 w 1466597"/>
                <a:gd name="connsiteY2055" fmla="*/ 440845 h 790366"/>
                <a:gd name="connsiteX2056" fmla="*/ 1002453 w 1466597"/>
                <a:gd name="connsiteY2056" fmla="*/ 441391 h 790366"/>
                <a:gd name="connsiteX2057" fmla="*/ 1000298 w 1466597"/>
                <a:gd name="connsiteY2057" fmla="*/ 444884 h 790366"/>
                <a:gd name="connsiteX2058" fmla="*/ 998989 w 1466597"/>
                <a:gd name="connsiteY2058" fmla="*/ 448215 h 790366"/>
                <a:gd name="connsiteX2059" fmla="*/ 997744 w 1466597"/>
                <a:gd name="connsiteY2059" fmla="*/ 449053 h 790366"/>
                <a:gd name="connsiteX2060" fmla="*/ 995761 w 1466597"/>
                <a:gd name="connsiteY2060" fmla="*/ 448913 h 790366"/>
                <a:gd name="connsiteX2061" fmla="*/ 993589 w 1466597"/>
                <a:gd name="connsiteY2061" fmla="*/ 449242 h 790366"/>
                <a:gd name="connsiteX2062" fmla="*/ 993558 w 1466597"/>
                <a:gd name="connsiteY2062" fmla="*/ 450171 h 790366"/>
                <a:gd name="connsiteX2063" fmla="*/ 997606 w 1466597"/>
                <a:gd name="connsiteY2063" fmla="*/ 452830 h 790366"/>
                <a:gd name="connsiteX2064" fmla="*/ 999072 w 1466597"/>
                <a:gd name="connsiteY2064" fmla="*/ 453205 h 790366"/>
                <a:gd name="connsiteX2065" fmla="*/ 1000944 w 1466597"/>
                <a:gd name="connsiteY2065" fmla="*/ 454153 h 790366"/>
                <a:gd name="connsiteX2066" fmla="*/ 1001228 w 1466597"/>
                <a:gd name="connsiteY2066" fmla="*/ 455094 h 790366"/>
                <a:gd name="connsiteX2067" fmla="*/ 1000526 w 1466597"/>
                <a:gd name="connsiteY2067" fmla="*/ 457634 h 790366"/>
                <a:gd name="connsiteX2068" fmla="*/ 999996 w 1466597"/>
                <a:gd name="connsiteY2068" fmla="*/ 458634 h 790366"/>
                <a:gd name="connsiteX2069" fmla="*/ 999143 w 1466597"/>
                <a:gd name="connsiteY2069" fmla="*/ 459154 h 790366"/>
                <a:gd name="connsiteX2070" fmla="*/ 995843 w 1466597"/>
                <a:gd name="connsiteY2070" fmla="*/ 459068 h 790366"/>
                <a:gd name="connsiteX2071" fmla="*/ 994778 w 1466597"/>
                <a:gd name="connsiteY2071" fmla="*/ 459331 h 790366"/>
                <a:gd name="connsiteX2072" fmla="*/ 992556 w 1466597"/>
                <a:gd name="connsiteY2072" fmla="*/ 460924 h 790366"/>
                <a:gd name="connsiteX2073" fmla="*/ 991447 w 1466597"/>
                <a:gd name="connsiteY2073" fmla="*/ 462244 h 790366"/>
                <a:gd name="connsiteX2074" fmla="*/ 991852 w 1466597"/>
                <a:gd name="connsiteY2074" fmla="*/ 462360 h 790366"/>
                <a:gd name="connsiteX2075" fmla="*/ 993769 w 1466597"/>
                <a:gd name="connsiteY2075" fmla="*/ 461270 h 790366"/>
                <a:gd name="connsiteX2076" fmla="*/ 996556 w 1466597"/>
                <a:gd name="connsiteY2076" fmla="*/ 460686 h 790366"/>
                <a:gd name="connsiteX2077" fmla="*/ 1000216 w 1466597"/>
                <a:gd name="connsiteY2077" fmla="*/ 460606 h 790366"/>
                <a:gd name="connsiteX2078" fmla="*/ 1002944 w 1466597"/>
                <a:gd name="connsiteY2078" fmla="*/ 460027 h 790366"/>
                <a:gd name="connsiteX2079" fmla="*/ 1004736 w 1466597"/>
                <a:gd name="connsiteY2079" fmla="*/ 458950 h 790366"/>
                <a:gd name="connsiteX2080" fmla="*/ 1006483 w 1466597"/>
                <a:gd name="connsiteY2080" fmla="*/ 459256 h 790366"/>
                <a:gd name="connsiteX2081" fmla="*/ 1008184 w 1466597"/>
                <a:gd name="connsiteY2081" fmla="*/ 460941 h 790366"/>
                <a:gd name="connsiteX2082" fmla="*/ 1008692 w 1466597"/>
                <a:gd name="connsiteY2082" fmla="*/ 462421 h 790366"/>
                <a:gd name="connsiteX2083" fmla="*/ 1008006 w 1466597"/>
                <a:gd name="connsiteY2083" fmla="*/ 463687 h 790366"/>
                <a:gd name="connsiteX2084" fmla="*/ 1006604 w 1466597"/>
                <a:gd name="connsiteY2084" fmla="*/ 464592 h 790366"/>
                <a:gd name="connsiteX2085" fmla="*/ 1004481 w 1466597"/>
                <a:gd name="connsiteY2085" fmla="*/ 465132 h 790366"/>
                <a:gd name="connsiteX2086" fmla="*/ 1003141 w 1466597"/>
                <a:gd name="connsiteY2086" fmla="*/ 465944 h 790366"/>
                <a:gd name="connsiteX2087" fmla="*/ 1002583 w 1466597"/>
                <a:gd name="connsiteY2087" fmla="*/ 467022 h 790366"/>
                <a:gd name="connsiteX2088" fmla="*/ 1002269 w 1466597"/>
                <a:gd name="connsiteY2088" fmla="*/ 468625 h 790366"/>
                <a:gd name="connsiteX2089" fmla="*/ 1002198 w 1466597"/>
                <a:gd name="connsiteY2089" fmla="*/ 470749 h 790366"/>
                <a:gd name="connsiteX2090" fmla="*/ 1002736 w 1466597"/>
                <a:gd name="connsiteY2090" fmla="*/ 474571 h 790366"/>
                <a:gd name="connsiteX2091" fmla="*/ 1002322 w 1466597"/>
                <a:gd name="connsiteY2091" fmla="*/ 475087 h 790366"/>
                <a:gd name="connsiteX2092" fmla="*/ 1001526 w 1466597"/>
                <a:gd name="connsiteY2092" fmla="*/ 475372 h 790366"/>
                <a:gd name="connsiteX2093" fmla="*/ 1000344 w 1466597"/>
                <a:gd name="connsiteY2093" fmla="*/ 475423 h 790366"/>
                <a:gd name="connsiteX2094" fmla="*/ 999279 w 1466597"/>
                <a:gd name="connsiteY2094" fmla="*/ 476318 h 790366"/>
                <a:gd name="connsiteX2095" fmla="*/ 996789 w 1466597"/>
                <a:gd name="connsiteY2095" fmla="*/ 481390 h 790366"/>
                <a:gd name="connsiteX2096" fmla="*/ 995913 w 1466597"/>
                <a:gd name="connsiteY2096" fmla="*/ 481939 h 790366"/>
                <a:gd name="connsiteX2097" fmla="*/ 994867 w 1466597"/>
                <a:gd name="connsiteY2097" fmla="*/ 481396 h 790366"/>
                <a:gd name="connsiteX2098" fmla="*/ 993940 w 1466597"/>
                <a:gd name="connsiteY2098" fmla="*/ 481454 h 790366"/>
                <a:gd name="connsiteX2099" fmla="*/ 993132 w 1466597"/>
                <a:gd name="connsiteY2099" fmla="*/ 482115 h 790366"/>
                <a:gd name="connsiteX2100" fmla="*/ 991358 w 1466597"/>
                <a:gd name="connsiteY2100" fmla="*/ 482619 h 790366"/>
                <a:gd name="connsiteX2101" fmla="*/ 988622 w 1466597"/>
                <a:gd name="connsiteY2101" fmla="*/ 482965 h 790366"/>
                <a:gd name="connsiteX2102" fmla="*/ 986279 w 1466597"/>
                <a:gd name="connsiteY2102" fmla="*/ 482835 h 790366"/>
                <a:gd name="connsiteX2103" fmla="*/ 982159 w 1466597"/>
                <a:gd name="connsiteY2103" fmla="*/ 481738 h 790366"/>
                <a:gd name="connsiteX2104" fmla="*/ 980478 w 1466597"/>
                <a:gd name="connsiteY2104" fmla="*/ 480965 h 790366"/>
                <a:gd name="connsiteX2105" fmla="*/ 979165 w 1466597"/>
                <a:gd name="connsiteY2105" fmla="*/ 479698 h 790366"/>
                <a:gd name="connsiteX2106" fmla="*/ 975465 w 1466597"/>
                <a:gd name="connsiteY2106" fmla="*/ 481041 h 790366"/>
                <a:gd name="connsiteX2107" fmla="*/ 974488 w 1466597"/>
                <a:gd name="connsiteY2107" fmla="*/ 480453 h 790366"/>
                <a:gd name="connsiteX2108" fmla="*/ 972183 w 1466597"/>
                <a:gd name="connsiteY2108" fmla="*/ 476939 h 790366"/>
                <a:gd name="connsiteX2109" fmla="*/ 971684 w 1466597"/>
                <a:gd name="connsiteY2109" fmla="*/ 477150 h 790366"/>
                <a:gd name="connsiteX2110" fmla="*/ 971240 w 1466597"/>
                <a:gd name="connsiteY2110" fmla="*/ 480935 h 790366"/>
                <a:gd name="connsiteX2111" fmla="*/ 970539 w 1466597"/>
                <a:gd name="connsiteY2111" fmla="*/ 482261 h 790366"/>
                <a:gd name="connsiteX2112" fmla="*/ 968257 w 1466597"/>
                <a:gd name="connsiteY2112" fmla="*/ 485000 h 790366"/>
                <a:gd name="connsiteX2113" fmla="*/ 967010 w 1466597"/>
                <a:gd name="connsiteY2113" fmla="*/ 489710 h 790366"/>
                <a:gd name="connsiteX2114" fmla="*/ 966631 w 1466597"/>
                <a:gd name="connsiteY2114" fmla="*/ 489848 h 790366"/>
                <a:gd name="connsiteX2115" fmla="*/ 966205 w 1466597"/>
                <a:gd name="connsiteY2115" fmla="*/ 489170 h 790366"/>
                <a:gd name="connsiteX2116" fmla="*/ 964800 w 1466597"/>
                <a:gd name="connsiteY2116" fmla="*/ 484963 h 790366"/>
                <a:gd name="connsiteX2117" fmla="*/ 964055 w 1466597"/>
                <a:gd name="connsiteY2117" fmla="*/ 484039 h 790366"/>
                <a:gd name="connsiteX2118" fmla="*/ 961992 w 1466597"/>
                <a:gd name="connsiteY2118" fmla="*/ 486467 h 790366"/>
                <a:gd name="connsiteX2119" fmla="*/ 961765 w 1466597"/>
                <a:gd name="connsiteY2119" fmla="*/ 487344 h 790366"/>
                <a:gd name="connsiteX2120" fmla="*/ 962305 w 1466597"/>
                <a:gd name="connsiteY2120" fmla="*/ 490474 h 790366"/>
                <a:gd name="connsiteX2121" fmla="*/ 961826 w 1466597"/>
                <a:gd name="connsiteY2121" fmla="*/ 490946 h 790366"/>
                <a:gd name="connsiteX2122" fmla="*/ 957649 w 1466597"/>
                <a:gd name="connsiteY2122" fmla="*/ 489261 h 790366"/>
                <a:gd name="connsiteX2123" fmla="*/ 956621 w 1466597"/>
                <a:gd name="connsiteY2123" fmla="*/ 489180 h 790366"/>
                <a:gd name="connsiteX2124" fmla="*/ 956348 w 1466597"/>
                <a:gd name="connsiteY2124" fmla="*/ 489464 h 790366"/>
                <a:gd name="connsiteX2125" fmla="*/ 957772 w 1466597"/>
                <a:gd name="connsiteY2125" fmla="*/ 491890 h 790366"/>
                <a:gd name="connsiteX2126" fmla="*/ 957611 w 1466597"/>
                <a:gd name="connsiteY2126" fmla="*/ 492764 h 790366"/>
                <a:gd name="connsiteX2127" fmla="*/ 951704 w 1466597"/>
                <a:gd name="connsiteY2127" fmla="*/ 497445 h 790366"/>
                <a:gd name="connsiteX2128" fmla="*/ 950163 w 1466597"/>
                <a:gd name="connsiteY2128" fmla="*/ 497279 h 790366"/>
                <a:gd name="connsiteX2129" fmla="*/ 949193 w 1466597"/>
                <a:gd name="connsiteY2129" fmla="*/ 496812 h 790366"/>
                <a:gd name="connsiteX2130" fmla="*/ 948131 w 1466597"/>
                <a:gd name="connsiteY2130" fmla="*/ 496883 h 790366"/>
                <a:gd name="connsiteX2131" fmla="*/ 944375 w 1466597"/>
                <a:gd name="connsiteY2131" fmla="*/ 498628 h 790366"/>
                <a:gd name="connsiteX2132" fmla="*/ 943339 w 1466597"/>
                <a:gd name="connsiteY2132" fmla="*/ 498552 h 790366"/>
                <a:gd name="connsiteX2133" fmla="*/ 941921 w 1466597"/>
                <a:gd name="connsiteY2133" fmla="*/ 497518 h 790366"/>
                <a:gd name="connsiteX2134" fmla="*/ 941262 w 1466597"/>
                <a:gd name="connsiteY2134" fmla="*/ 497564 h 790366"/>
                <a:gd name="connsiteX2135" fmla="*/ 940911 w 1466597"/>
                <a:gd name="connsiteY2135" fmla="*/ 498637 h 790366"/>
                <a:gd name="connsiteX2136" fmla="*/ 940866 w 1466597"/>
                <a:gd name="connsiteY2136" fmla="*/ 500733 h 790366"/>
                <a:gd name="connsiteX2137" fmla="*/ 939476 w 1466597"/>
                <a:gd name="connsiteY2137" fmla="*/ 502725 h 790366"/>
                <a:gd name="connsiteX2138" fmla="*/ 935002 w 1466597"/>
                <a:gd name="connsiteY2138" fmla="*/ 505940 h 790366"/>
                <a:gd name="connsiteX2139" fmla="*/ 933815 w 1466597"/>
                <a:gd name="connsiteY2139" fmla="*/ 507417 h 790366"/>
                <a:gd name="connsiteX2140" fmla="*/ 932916 w 1466597"/>
                <a:gd name="connsiteY2140" fmla="*/ 509437 h 790366"/>
                <a:gd name="connsiteX2141" fmla="*/ 932247 w 1466597"/>
                <a:gd name="connsiteY2141" fmla="*/ 509629 h 790366"/>
                <a:gd name="connsiteX2142" fmla="*/ 929625 w 1466597"/>
                <a:gd name="connsiteY2142" fmla="*/ 508331 h 790366"/>
                <a:gd name="connsiteX2143" fmla="*/ 926584 w 1466597"/>
                <a:gd name="connsiteY2143" fmla="*/ 507489 h 790366"/>
                <a:gd name="connsiteX2144" fmla="*/ 926165 w 1466597"/>
                <a:gd name="connsiteY2144" fmla="*/ 507908 h 790366"/>
                <a:gd name="connsiteX2145" fmla="*/ 927087 w 1466597"/>
                <a:gd name="connsiteY2145" fmla="*/ 509142 h 790366"/>
                <a:gd name="connsiteX2146" fmla="*/ 926892 w 1466597"/>
                <a:gd name="connsiteY2146" fmla="*/ 509897 h 790366"/>
                <a:gd name="connsiteX2147" fmla="*/ 925577 w 1466597"/>
                <a:gd name="connsiteY2147" fmla="*/ 510179 h 790366"/>
                <a:gd name="connsiteX2148" fmla="*/ 923912 w 1466597"/>
                <a:gd name="connsiteY2148" fmla="*/ 510070 h 790366"/>
                <a:gd name="connsiteX2149" fmla="*/ 921900 w 1466597"/>
                <a:gd name="connsiteY2149" fmla="*/ 509570 h 790366"/>
                <a:gd name="connsiteX2150" fmla="*/ 919079 w 1466597"/>
                <a:gd name="connsiteY2150" fmla="*/ 510136 h 790366"/>
                <a:gd name="connsiteX2151" fmla="*/ 915446 w 1466597"/>
                <a:gd name="connsiteY2151" fmla="*/ 511765 h 790366"/>
                <a:gd name="connsiteX2152" fmla="*/ 912415 w 1466597"/>
                <a:gd name="connsiteY2152" fmla="*/ 511719 h 790366"/>
                <a:gd name="connsiteX2153" fmla="*/ 908189 w 1466597"/>
                <a:gd name="connsiteY2153" fmla="*/ 509035 h 790366"/>
                <a:gd name="connsiteX2154" fmla="*/ 907025 w 1466597"/>
                <a:gd name="connsiteY2154" fmla="*/ 508834 h 790366"/>
                <a:gd name="connsiteX2155" fmla="*/ 906653 w 1466597"/>
                <a:gd name="connsiteY2155" fmla="*/ 508080 h 790366"/>
                <a:gd name="connsiteX2156" fmla="*/ 907479 w 1466597"/>
                <a:gd name="connsiteY2156" fmla="*/ 505907 h 790366"/>
                <a:gd name="connsiteX2157" fmla="*/ 908680 w 1466597"/>
                <a:gd name="connsiteY2157" fmla="*/ 504261 h 790366"/>
                <a:gd name="connsiteX2158" fmla="*/ 909565 w 1466597"/>
                <a:gd name="connsiteY2158" fmla="*/ 503503 h 790366"/>
                <a:gd name="connsiteX2159" fmla="*/ 913579 w 1466597"/>
                <a:gd name="connsiteY2159" fmla="*/ 501393 h 790366"/>
                <a:gd name="connsiteX2160" fmla="*/ 918168 w 1466597"/>
                <a:gd name="connsiteY2160" fmla="*/ 500617 h 790366"/>
                <a:gd name="connsiteX2161" fmla="*/ 921053 w 1466597"/>
                <a:gd name="connsiteY2161" fmla="*/ 499347 h 790366"/>
                <a:gd name="connsiteX2162" fmla="*/ 924560 w 1466597"/>
                <a:gd name="connsiteY2162" fmla="*/ 496723 h 790366"/>
                <a:gd name="connsiteX2163" fmla="*/ 926415 w 1466597"/>
                <a:gd name="connsiteY2163" fmla="*/ 494749 h 790366"/>
                <a:gd name="connsiteX2164" fmla="*/ 930061 w 1466597"/>
                <a:gd name="connsiteY2164" fmla="*/ 489659 h 790366"/>
                <a:gd name="connsiteX2165" fmla="*/ 929784 w 1466597"/>
                <a:gd name="connsiteY2165" fmla="*/ 489265 h 790366"/>
                <a:gd name="connsiteX2166" fmla="*/ 928964 w 1466597"/>
                <a:gd name="connsiteY2166" fmla="*/ 488991 h 790366"/>
                <a:gd name="connsiteX2167" fmla="*/ 920949 w 1466597"/>
                <a:gd name="connsiteY2167" fmla="*/ 493817 h 790366"/>
                <a:gd name="connsiteX2168" fmla="*/ 919765 w 1466597"/>
                <a:gd name="connsiteY2168" fmla="*/ 494268 h 790366"/>
                <a:gd name="connsiteX2169" fmla="*/ 918170 w 1466597"/>
                <a:gd name="connsiteY2169" fmla="*/ 494233 h 790366"/>
                <a:gd name="connsiteX2170" fmla="*/ 911761 w 1466597"/>
                <a:gd name="connsiteY2170" fmla="*/ 492385 h 790366"/>
                <a:gd name="connsiteX2171" fmla="*/ 910407 w 1466597"/>
                <a:gd name="connsiteY2171" fmla="*/ 491591 h 790366"/>
                <a:gd name="connsiteX2172" fmla="*/ 909481 w 1466597"/>
                <a:gd name="connsiteY2172" fmla="*/ 489268 h 790366"/>
                <a:gd name="connsiteX2173" fmla="*/ 911261 w 1466597"/>
                <a:gd name="connsiteY2173" fmla="*/ 483979 h 790366"/>
                <a:gd name="connsiteX2174" fmla="*/ 912508 w 1466597"/>
                <a:gd name="connsiteY2174" fmla="*/ 481420 h 790366"/>
                <a:gd name="connsiteX2175" fmla="*/ 915638 w 1466597"/>
                <a:gd name="connsiteY2175" fmla="*/ 477463 h 790366"/>
                <a:gd name="connsiteX2176" fmla="*/ 919729 w 1466597"/>
                <a:gd name="connsiteY2176" fmla="*/ 473237 h 790366"/>
                <a:gd name="connsiteX2177" fmla="*/ 921144 w 1466597"/>
                <a:gd name="connsiteY2177" fmla="*/ 470489 h 790366"/>
                <a:gd name="connsiteX2178" fmla="*/ 923270 w 1466597"/>
                <a:gd name="connsiteY2178" fmla="*/ 463126 h 790366"/>
                <a:gd name="connsiteX2179" fmla="*/ 923146 w 1466597"/>
                <a:gd name="connsiteY2179" fmla="*/ 459780 h 790366"/>
                <a:gd name="connsiteX2180" fmla="*/ 922190 w 1466597"/>
                <a:gd name="connsiteY2180" fmla="*/ 455688 h 790366"/>
                <a:gd name="connsiteX2181" fmla="*/ 922154 w 1466597"/>
                <a:gd name="connsiteY2181" fmla="*/ 453257 h 790366"/>
                <a:gd name="connsiteX2182" fmla="*/ 923038 w 1466597"/>
                <a:gd name="connsiteY2182" fmla="*/ 452487 h 790366"/>
                <a:gd name="connsiteX2183" fmla="*/ 932426 w 1466597"/>
                <a:gd name="connsiteY2183" fmla="*/ 448693 h 790366"/>
                <a:gd name="connsiteX2184" fmla="*/ 936871 w 1466597"/>
                <a:gd name="connsiteY2184" fmla="*/ 445848 h 790366"/>
                <a:gd name="connsiteX2185" fmla="*/ 945500 w 1466597"/>
                <a:gd name="connsiteY2185" fmla="*/ 441637 h 790366"/>
                <a:gd name="connsiteX2186" fmla="*/ 947851 w 1466597"/>
                <a:gd name="connsiteY2186" fmla="*/ 441673 h 790366"/>
                <a:gd name="connsiteX2187" fmla="*/ 949576 w 1466597"/>
                <a:gd name="connsiteY2187" fmla="*/ 443125 h 790366"/>
                <a:gd name="connsiteX2188" fmla="*/ 951583 w 1466597"/>
                <a:gd name="connsiteY2188" fmla="*/ 444285 h 790366"/>
                <a:gd name="connsiteX2189" fmla="*/ 953873 w 1466597"/>
                <a:gd name="connsiteY2189" fmla="*/ 445151 h 790366"/>
                <a:gd name="connsiteX2190" fmla="*/ 956819 w 1466597"/>
                <a:gd name="connsiteY2190" fmla="*/ 445061 h 790366"/>
                <a:gd name="connsiteX2191" fmla="*/ 960424 w 1466597"/>
                <a:gd name="connsiteY2191" fmla="*/ 444012 h 790366"/>
                <a:gd name="connsiteX2192" fmla="*/ 966132 w 1466597"/>
                <a:gd name="connsiteY2192" fmla="*/ 444409 h 790366"/>
                <a:gd name="connsiteX2193" fmla="*/ 977858 w 1466597"/>
                <a:gd name="connsiteY2193" fmla="*/ 447177 h 790366"/>
                <a:gd name="connsiteX2194" fmla="*/ 980351 w 1466597"/>
                <a:gd name="connsiteY2194" fmla="*/ 447333 h 790366"/>
                <a:gd name="connsiteX2195" fmla="*/ 980447 w 1466597"/>
                <a:gd name="connsiteY2195" fmla="*/ 446980 h 790366"/>
                <a:gd name="connsiteX2196" fmla="*/ 978638 w 1466597"/>
                <a:gd name="connsiteY2196" fmla="*/ 445040 h 790366"/>
                <a:gd name="connsiteX2197" fmla="*/ 970554 w 1466597"/>
                <a:gd name="connsiteY2197" fmla="*/ 443915 h 790366"/>
                <a:gd name="connsiteX2198" fmla="*/ 967152 w 1466597"/>
                <a:gd name="connsiteY2198" fmla="*/ 442790 h 790366"/>
                <a:gd name="connsiteX2199" fmla="*/ 957580 w 1466597"/>
                <a:gd name="connsiteY2199" fmla="*/ 437833 h 790366"/>
                <a:gd name="connsiteX2200" fmla="*/ 955397 w 1466597"/>
                <a:gd name="connsiteY2200" fmla="*/ 435916 h 790366"/>
                <a:gd name="connsiteX2201" fmla="*/ 956283 w 1466597"/>
                <a:gd name="connsiteY2201" fmla="*/ 435016 h 790366"/>
                <a:gd name="connsiteX2202" fmla="*/ 958625 w 1466597"/>
                <a:gd name="connsiteY2202" fmla="*/ 434276 h 790366"/>
                <a:gd name="connsiteX2203" fmla="*/ 959427 w 1466597"/>
                <a:gd name="connsiteY2203" fmla="*/ 433559 h 790366"/>
                <a:gd name="connsiteX2204" fmla="*/ 959766 w 1466597"/>
                <a:gd name="connsiteY2204" fmla="*/ 432315 h 790366"/>
                <a:gd name="connsiteX2205" fmla="*/ 961113 w 1466597"/>
                <a:gd name="connsiteY2205" fmla="*/ 430611 h 790366"/>
                <a:gd name="connsiteX2206" fmla="*/ 963468 w 1466597"/>
                <a:gd name="connsiteY2206" fmla="*/ 428438 h 790366"/>
                <a:gd name="connsiteX2207" fmla="*/ 967063 w 1466597"/>
                <a:gd name="connsiteY2207" fmla="*/ 426335 h 790366"/>
                <a:gd name="connsiteX2208" fmla="*/ 973872 w 1466597"/>
                <a:gd name="connsiteY2208" fmla="*/ 423212 h 790366"/>
                <a:gd name="connsiteX2209" fmla="*/ 971207 w 1466597"/>
                <a:gd name="connsiteY2209" fmla="*/ 423078 h 790366"/>
                <a:gd name="connsiteX2210" fmla="*/ 966311 w 1466597"/>
                <a:gd name="connsiteY2210" fmla="*/ 423653 h 790366"/>
                <a:gd name="connsiteX2211" fmla="*/ 964531 w 1466597"/>
                <a:gd name="connsiteY2211" fmla="*/ 424252 h 790366"/>
                <a:gd name="connsiteX2212" fmla="*/ 961253 w 1466597"/>
                <a:gd name="connsiteY2212" fmla="*/ 426488 h 790366"/>
                <a:gd name="connsiteX2213" fmla="*/ 959978 w 1466597"/>
                <a:gd name="connsiteY2213" fmla="*/ 428062 h 790366"/>
                <a:gd name="connsiteX2214" fmla="*/ 958154 w 1466597"/>
                <a:gd name="connsiteY2214" fmla="*/ 431128 h 790366"/>
                <a:gd name="connsiteX2215" fmla="*/ 957377 w 1466597"/>
                <a:gd name="connsiteY2215" fmla="*/ 431708 h 790366"/>
                <a:gd name="connsiteX2216" fmla="*/ 953977 w 1466597"/>
                <a:gd name="connsiteY2216" fmla="*/ 432152 h 790366"/>
                <a:gd name="connsiteX2217" fmla="*/ 944722 w 1466597"/>
                <a:gd name="connsiteY2217" fmla="*/ 432462 h 790366"/>
                <a:gd name="connsiteX2218" fmla="*/ 943154 w 1466597"/>
                <a:gd name="connsiteY2218" fmla="*/ 430895 h 790366"/>
                <a:gd name="connsiteX2219" fmla="*/ 942287 w 1466597"/>
                <a:gd name="connsiteY2219" fmla="*/ 430640 h 790366"/>
                <a:gd name="connsiteX2220" fmla="*/ 941138 w 1466597"/>
                <a:gd name="connsiteY2220" fmla="*/ 430861 h 790366"/>
                <a:gd name="connsiteX2221" fmla="*/ 932637 w 1466597"/>
                <a:gd name="connsiteY2221" fmla="*/ 434862 h 790366"/>
                <a:gd name="connsiteX2222" fmla="*/ 929588 w 1466597"/>
                <a:gd name="connsiteY2222" fmla="*/ 436901 h 790366"/>
                <a:gd name="connsiteX2223" fmla="*/ 927416 w 1466597"/>
                <a:gd name="connsiteY2223" fmla="*/ 439225 h 790366"/>
                <a:gd name="connsiteX2224" fmla="*/ 924055 w 1466597"/>
                <a:gd name="connsiteY2224" fmla="*/ 440926 h 790366"/>
                <a:gd name="connsiteX2225" fmla="*/ 919508 w 1466597"/>
                <a:gd name="connsiteY2225" fmla="*/ 442004 h 790366"/>
                <a:gd name="connsiteX2226" fmla="*/ 916107 w 1466597"/>
                <a:gd name="connsiteY2226" fmla="*/ 443340 h 790366"/>
                <a:gd name="connsiteX2227" fmla="*/ 912523 w 1466597"/>
                <a:gd name="connsiteY2227" fmla="*/ 446005 h 790366"/>
                <a:gd name="connsiteX2228" fmla="*/ 911306 w 1466597"/>
                <a:gd name="connsiteY2228" fmla="*/ 448045 h 790366"/>
                <a:gd name="connsiteX2229" fmla="*/ 911236 w 1466597"/>
                <a:gd name="connsiteY2229" fmla="*/ 449004 h 790366"/>
                <a:gd name="connsiteX2230" fmla="*/ 912101 w 1466597"/>
                <a:gd name="connsiteY2230" fmla="*/ 452026 h 790366"/>
                <a:gd name="connsiteX2231" fmla="*/ 911219 w 1466597"/>
                <a:gd name="connsiteY2231" fmla="*/ 452590 h 790366"/>
                <a:gd name="connsiteX2232" fmla="*/ 909150 w 1466597"/>
                <a:gd name="connsiteY2232" fmla="*/ 452828 h 790366"/>
                <a:gd name="connsiteX2233" fmla="*/ 905832 w 1466597"/>
                <a:gd name="connsiteY2233" fmla="*/ 454827 h 790366"/>
                <a:gd name="connsiteX2234" fmla="*/ 898830 w 1466597"/>
                <a:gd name="connsiteY2234" fmla="*/ 460758 h 790366"/>
                <a:gd name="connsiteX2235" fmla="*/ 897915 w 1466597"/>
                <a:gd name="connsiteY2235" fmla="*/ 462906 h 790366"/>
                <a:gd name="connsiteX2236" fmla="*/ 897954 w 1466597"/>
                <a:gd name="connsiteY2236" fmla="*/ 463642 h 790366"/>
                <a:gd name="connsiteX2237" fmla="*/ 899096 w 1466597"/>
                <a:gd name="connsiteY2237" fmla="*/ 465316 h 790366"/>
                <a:gd name="connsiteX2238" fmla="*/ 898301 w 1466597"/>
                <a:gd name="connsiteY2238" fmla="*/ 466403 h 790366"/>
                <a:gd name="connsiteX2239" fmla="*/ 896327 w 1466597"/>
                <a:gd name="connsiteY2239" fmla="*/ 468119 h 790366"/>
                <a:gd name="connsiteX2240" fmla="*/ 891937 w 1466597"/>
                <a:gd name="connsiteY2240" fmla="*/ 470835 h 790366"/>
                <a:gd name="connsiteX2241" fmla="*/ 889054 w 1466597"/>
                <a:gd name="connsiteY2241" fmla="*/ 471868 h 790366"/>
                <a:gd name="connsiteX2242" fmla="*/ 887183 w 1466597"/>
                <a:gd name="connsiteY2242" fmla="*/ 471921 h 790366"/>
                <a:gd name="connsiteX2243" fmla="*/ 885382 w 1466597"/>
                <a:gd name="connsiteY2243" fmla="*/ 471533 h 790366"/>
                <a:gd name="connsiteX2244" fmla="*/ 882181 w 1466597"/>
                <a:gd name="connsiteY2244" fmla="*/ 469784 h 790366"/>
                <a:gd name="connsiteX2245" fmla="*/ 879588 w 1466597"/>
                <a:gd name="connsiteY2245" fmla="*/ 469678 h 790366"/>
                <a:gd name="connsiteX2246" fmla="*/ 879429 w 1466597"/>
                <a:gd name="connsiteY2246" fmla="*/ 469923 h 790366"/>
                <a:gd name="connsiteX2247" fmla="*/ 882958 w 1466597"/>
                <a:gd name="connsiteY2247" fmla="*/ 471794 h 790366"/>
                <a:gd name="connsiteX2248" fmla="*/ 886543 w 1466597"/>
                <a:gd name="connsiteY2248" fmla="*/ 474200 h 790366"/>
                <a:gd name="connsiteX2249" fmla="*/ 888778 w 1466597"/>
                <a:gd name="connsiteY2249" fmla="*/ 476194 h 790366"/>
                <a:gd name="connsiteX2250" fmla="*/ 889662 w 1466597"/>
                <a:gd name="connsiteY2250" fmla="*/ 477778 h 790366"/>
                <a:gd name="connsiteX2251" fmla="*/ 889701 w 1466597"/>
                <a:gd name="connsiteY2251" fmla="*/ 479407 h 790366"/>
                <a:gd name="connsiteX2252" fmla="*/ 888897 w 1466597"/>
                <a:gd name="connsiteY2252" fmla="*/ 481081 h 790366"/>
                <a:gd name="connsiteX2253" fmla="*/ 886363 w 1466597"/>
                <a:gd name="connsiteY2253" fmla="*/ 483988 h 790366"/>
                <a:gd name="connsiteX2254" fmla="*/ 883877 w 1466597"/>
                <a:gd name="connsiteY2254" fmla="*/ 484857 h 790366"/>
                <a:gd name="connsiteX2255" fmla="*/ 877521 w 1466597"/>
                <a:gd name="connsiteY2255" fmla="*/ 485733 h 790366"/>
                <a:gd name="connsiteX2256" fmla="*/ 875472 w 1466597"/>
                <a:gd name="connsiteY2256" fmla="*/ 486424 h 790366"/>
                <a:gd name="connsiteX2257" fmla="*/ 874837 w 1466597"/>
                <a:gd name="connsiteY2257" fmla="*/ 486964 h 790366"/>
                <a:gd name="connsiteX2258" fmla="*/ 879204 w 1466597"/>
                <a:gd name="connsiteY2258" fmla="*/ 488189 h 790366"/>
                <a:gd name="connsiteX2259" fmla="*/ 879599 w 1466597"/>
                <a:gd name="connsiteY2259" fmla="*/ 488816 h 790366"/>
                <a:gd name="connsiteX2260" fmla="*/ 878998 w 1466597"/>
                <a:gd name="connsiteY2260" fmla="*/ 491245 h 790366"/>
                <a:gd name="connsiteX2261" fmla="*/ 877839 w 1466597"/>
                <a:gd name="connsiteY2261" fmla="*/ 492039 h 790366"/>
                <a:gd name="connsiteX2262" fmla="*/ 874202 w 1466597"/>
                <a:gd name="connsiteY2262" fmla="*/ 493488 h 790366"/>
                <a:gd name="connsiteX2263" fmla="*/ 870941 w 1466597"/>
                <a:gd name="connsiteY2263" fmla="*/ 493908 h 790366"/>
                <a:gd name="connsiteX2264" fmla="*/ 870443 w 1466597"/>
                <a:gd name="connsiteY2264" fmla="*/ 493631 h 790366"/>
                <a:gd name="connsiteX2265" fmla="*/ 871053 w 1466597"/>
                <a:gd name="connsiteY2265" fmla="*/ 491722 h 790366"/>
                <a:gd name="connsiteX2266" fmla="*/ 870879 w 1466597"/>
                <a:gd name="connsiteY2266" fmla="*/ 491252 h 790366"/>
                <a:gd name="connsiteX2267" fmla="*/ 869655 w 1466597"/>
                <a:gd name="connsiteY2267" fmla="*/ 490862 h 790366"/>
                <a:gd name="connsiteX2268" fmla="*/ 867915 w 1466597"/>
                <a:gd name="connsiteY2268" fmla="*/ 491590 h 790366"/>
                <a:gd name="connsiteX2269" fmla="*/ 863580 w 1466597"/>
                <a:gd name="connsiteY2269" fmla="*/ 494395 h 790366"/>
                <a:gd name="connsiteX2270" fmla="*/ 863116 w 1466597"/>
                <a:gd name="connsiteY2270" fmla="*/ 494858 h 790366"/>
                <a:gd name="connsiteX2271" fmla="*/ 864682 w 1466597"/>
                <a:gd name="connsiteY2271" fmla="*/ 495608 h 790366"/>
                <a:gd name="connsiteX2272" fmla="*/ 864352 w 1466597"/>
                <a:gd name="connsiteY2272" fmla="*/ 496234 h 790366"/>
                <a:gd name="connsiteX2273" fmla="*/ 862003 w 1466597"/>
                <a:gd name="connsiteY2273" fmla="*/ 498251 h 790366"/>
                <a:gd name="connsiteX2274" fmla="*/ 861027 w 1466597"/>
                <a:gd name="connsiteY2274" fmla="*/ 499591 h 790366"/>
                <a:gd name="connsiteX2275" fmla="*/ 859457 w 1466597"/>
                <a:gd name="connsiteY2275" fmla="*/ 500958 h 790366"/>
                <a:gd name="connsiteX2276" fmla="*/ 852464 w 1466597"/>
                <a:gd name="connsiteY2276" fmla="*/ 505130 h 790366"/>
                <a:gd name="connsiteX2277" fmla="*/ 852995 w 1466597"/>
                <a:gd name="connsiteY2277" fmla="*/ 506145 h 790366"/>
                <a:gd name="connsiteX2278" fmla="*/ 851175 w 1466597"/>
                <a:gd name="connsiteY2278" fmla="*/ 509775 h 790366"/>
                <a:gd name="connsiteX2279" fmla="*/ 850168 w 1466597"/>
                <a:gd name="connsiteY2279" fmla="*/ 512960 h 790366"/>
                <a:gd name="connsiteX2280" fmla="*/ 851404 w 1466597"/>
                <a:gd name="connsiteY2280" fmla="*/ 514303 h 790366"/>
                <a:gd name="connsiteX2281" fmla="*/ 857279 w 1466597"/>
                <a:gd name="connsiteY2281" fmla="*/ 515877 h 790366"/>
                <a:gd name="connsiteX2282" fmla="*/ 860126 w 1466597"/>
                <a:gd name="connsiteY2282" fmla="*/ 516256 h 790366"/>
                <a:gd name="connsiteX2283" fmla="*/ 863482 w 1466597"/>
                <a:gd name="connsiteY2283" fmla="*/ 517356 h 790366"/>
                <a:gd name="connsiteX2284" fmla="*/ 869556 w 1466597"/>
                <a:gd name="connsiteY2284" fmla="*/ 520310 h 790366"/>
                <a:gd name="connsiteX2285" fmla="*/ 871580 w 1466597"/>
                <a:gd name="connsiteY2285" fmla="*/ 522239 h 790366"/>
                <a:gd name="connsiteX2286" fmla="*/ 871883 w 1466597"/>
                <a:gd name="connsiteY2286" fmla="*/ 523146 h 790366"/>
                <a:gd name="connsiteX2287" fmla="*/ 871695 w 1466597"/>
                <a:gd name="connsiteY2287" fmla="*/ 524139 h 790366"/>
                <a:gd name="connsiteX2288" fmla="*/ 870968 w 1466597"/>
                <a:gd name="connsiteY2288" fmla="*/ 525473 h 790366"/>
                <a:gd name="connsiteX2289" fmla="*/ 869064 w 1466597"/>
                <a:gd name="connsiteY2289" fmla="*/ 527996 h 790366"/>
                <a:gd name="connsiteX2290" fmla="*/ 864478 w 1466597"/>
                <a:gd name="connsiteY2290" fmla="*/ 531737 h 790366"/>
                <a:gd name="connsiteX2291" fmla="*/ 862406 w 1466597"/>
                <a:gd name="connsiteY2291" fmla="*/ 532797 h 790366"/>
                <a:gd name="connsiteX2292" fmla="*/ 859270 w 1466597"/>
                <a:gd name="connsiteY2292" fmla="*/ 533628 h 790366"/>
                <a:gd name="connsiteX2293" fmla="*/ 858238 w 1466597"/>
                <a:gd name="connsiteY2293" fmla="*/ 534235 h 790366"/>
                <a:gd name="connsiteX2294" fmla="*/ 854210 w 1466597"/>
                <a:gd name="connsiteY2294" fmla="*/ 537772 h 790366"/>
                <a:gd name="connsiteX2295" fmla="*/ 853124 w 1466597"/>
                <a:gd name="connsiteY2295" fmla="*/ 539680 h 790366"/>
                <a:gd name="connsiteX2296" fmla="*/ 853295 w 1466597"/>
                <a:gd name="connsiteY2296" fmla="*/ 541339 h 790366"/>
                <a:gd name="connsiteX2297" fmla="*/ 852526 w 1466597"/>
                <a:gd name="connsiteY2297" fmla="*/ 542505 h 790366"/>
                <a:gd name="connsiteX2298" fmla="*/ 847344 w 1466597"/>
                <a:gd name="connsiteY2298" fmla="*/ 544791 h 790366"/>
                <a:gd name="connsiteX2299" fmla="*/ 847528 w 1466597"/>
                <a:gd name="connsiteY2299" fmla="*/ 545196 h 790366"/>
                <a:gd name="connsiteX2300" fmla="*/ 849409 w 1466597"/>
                <a:gd name="connsiteY2300" fmla="*/ 545370 h 790366"/>
                <a:gd name="connsiteX2301" fmla="*/ 848718 w 1466597"/>
                <a:gd name="connsiteY2301" fmla="*/ 547379 h 790366"/>
                <a:gd name="connsiteX2302" fmla="*/ 848415 w 1466597"/>
                <a:gd name="connsiteY2302" fmla="*/ 550170 h 790366"/>
                <a:gd name="connsiteX2303" fmla="*/ 847515 w 1466597"/>
                <a:gd name="connsiteY2303" fmla="*/ 550639 h 790366"/>
                <a:gd name="connsiteX2304" fmla="*/ 844277 w 1466597"/>
                <a:gd name="connsiteY2304" fmla="*/ 550619 h 790366"/>
                <a:gd name="connsiteX2305" fmla="*/ 840161 w 1466597"/>
                <a:gd name="connsiteY2305" fmla="*/ 551702 h 790366"/>
                <a:gd name="connsiteX2306" fmla="*/ 839871 w 1466597"/>
                <a:gd name="connsiteY2306" fmla="*/ 552010 h 790366"/>
                <a:gd name="connsiteX2307" fmla="*/ 839795 w 1466597"/>
                <a:gd name="connsiteY2307" fmla="*/ 554014 h 790366"/>
                <a:gd name="connsiteX2308" fmla="*/ 829032 w 1466597"/>
                <a:gd name="connsiteY2308" fmla="*/ 555479 h 790366"/>
                <a:gd name="connsiteX2309" fmla="*/ 826674 w 1466597"/>
                <a:gd name="connsiteY2309" fmla="*/ 559279 h 790366"/>
                <a:gd name="connsiteX2310" fmla="*/ 825447 w 1466597"/>
                <a:gd name="connsiteY2310" fmla="*/ 560441 h 790366"/>
                <a:gd name="connsiteX2311" fmla="*/ 821228 w 1466597"/>
                <a:gd name="connsiteY2311" fmla="*/ 563199 h 790366"/>
                <a:gd name="connsiteX2312" fmla="*/ 818646 w 1466597"/>
                <a:gd name="connsiteY2312" fmla="*/ 564307 h 790366"/>
                <a:gd name="connsiteX2313" fmla="*/ 815695 w 1466597"/>
                <a:gd name="connsiteY2313" fmla="*/ 564977 h 790366"/>
                <a:gd name="connsiteX2314" fmla="*/ 814150 w 1466597"/>
                <a:gd name="connsiteY2314" fmla="*/ 565910 h 790366"/>
                <a:gd name="connsiteX2315" fmla="*/ 814006 w 1466597"/>
                <a:gd name="connsiteY2315" fmla="*/ 567107 h 790366"/>
                <a:gd name="connsiteX2316" fmla="*/ 813168 w 1466597"/>
                <a:gd name="connsiteY2316" fmla="*/ 568139 h 790366"/>
                <a:gd name="connsiteX2317" fmla="*/ 810611 w 1466597"/>
                <a:gd name="connsiteY2317" fmla="*/ 569849 h 790366"/>
                <a:gd name="connsiteX2318" fmla="*/ 809360 w 1466597"/>
                <a:gd name="connsiteY2318" fmla="*/ 571997 h 790366"/>
                <a:gd name="connsiteX2319" fmla="*/ 808450 w 1466597"/>
                <a:gd name="connsiteY2319" fmla="*/ 572334 h 790366"/>
                <a:gd name="connsiteX2320" fmla="*/ 803691 w 1466597"/>
                <a:gd name="connsiteY2320" fmla="*/ 572851 h 790366"/>
                <a:gd name="connsiteX2321" fmla="*/ 802744 w 1466597"/>
                <a:gd name="connsiteY2321" fmla="*/ 573529 h 790366"/>
                <a:gd name="connsiteX2322" fmla="*/ 802284 w 1466597"/>
                <a:gd name="connsiteY2322" fmla="*/ 576428 h 790366"/>
                <a:gd name="connsiteX2323" fmla="*/ 801403 w 1466597"/>
                <a:gd name="connsiteY2323" fmla="*/ 576519 h 790366"/>
                <a:gd name="connsiteX2324" fmla="*/ 799717 w 1466597"/>
                <a:gd name="connsiteY2324" fmla="*/ 575845 h 790366"/>
                <a:gd name="connsiteX2325" fmla="*/ 797518 w 1466597"/>
                <a:gd name="connsiteY2325" fmla="*/ 576367 h 790366"/>
                <a:gd name="connsiteX2326" fmla="*/ 792578 w 1466597"/>
                <a:gd name="connsiteY2326" fmla="*/ 579640 h 790366"/>
                <a:gd name="connsiteX2327" fmla="*/ 791493 w 1466597"/>
                <a:gd name="connsiteY2327" fmla="*/ 580815 h 790366"/>
                <a:gd name="connsiteX2328" fmla="*/ 791613 w 1466597"/>
                <a:gd name="connsiteY2328" fmla="*/ 581446 h 790366"/>
                <a:gd name="connsiteX2329" fmla="*/ 792382 w 1466597"/>
                <a:gd name="connsiteY2329" fmla="*/ 582069 h 790366"/>
                <a:gd name="connsiteX2330" fmla="*/ 793553 w 1466597"/>
                <a:gd name="connsiteY2330" fmla="*/ 584011 h 790366"/>
                <a:gd name="connsiteX2331" fmla="*/ 793480 w 1466597"/>
                <a:gd name="connsiteY2331" fmla="*/ 585319 h 790366"/>
                <a:gd name="connsiteX2332" fmla="*/ 791575 w 1466597"/>
                <a:gd name="connsiteY2332" fmla="*/ 588960 h 790366"/>
                <a:gd name="connsiteX2333" fmla="*/ 790908 w 1466597"/>
                <a:gd name="connsiteY2333" fmla="*/ 589522 h 790366"/>
                <a:gd name="connsiteX2334" fmla="*/ 788593 w 1466597"/>
                <a:gd name="connsiteY2334" fmla="*/ 590424 h 790366"/>
                <a:gd name="connsiteX2335" fmla="*/ 787650 w 1466597"/>
                <a:gd name="connsiteY2335" fmla="*/ 592435 h 790366"/>
                <a:gd name="connsiteX2336" fmla="*/ 785517 w 1466597"/>
                <a:gd name="connsiteY2336" fmla="*/ 592212 h 790366"/>
                <a:gd name="connsiteX2337" fmla="*/ 783802 w 1466597"/>
                <a:gd name="connsiteY2337" fmla="*/ 592593 h 790366"/>
                <a:gd name="connsiteX2338" fmla="*/ 782679 w 1466597"/>
                <a:gd name="connsiteY2338" fmla="*/ 593934 h 790366"/>
                <a:gd name="connsiteX2339" fmla="*/ 781459 w 1466597"/>
                <a:gd name="connsiteY2339" fmla="*/ 594706 h 790366"/>
                <a:gd name="connsiteX2340" fmla="*/ 780140 w 1466597"/>
                <a:gd name="connsiteY2340" fmla="*/ 594909 h 790366"/>
                <a:gd name="connsiteX2341" fmla="*/ 778482 w 1466597"/>
                <a:gd name="connsiteY2341" fmla="*/ 595970 h 790366"/>
                <a:gd name="connsiteX2342" fmla="*/ 776485 w 1466597"/>
                <a:gd name="connsiteY2342" fmla="*/ 597890 h 790366"/>
                <a:gd name="connsiteX2343" fmla="*/ 774637 w 1466597"/>
                <a:gd name="connsiteY2343" fmla="*/ 599114 h 790366"/>
                <a:gd name="connsiteX2344" fmla="*/ 772938 w 1466597"/>
                <a:gd name="connsiteY2344" fmla="*/ 599641 h 790366"/>
                <a:gd name="connsiteX2345" fmla="*/ 771285 w 1466597"/>
                <a:gd name="connsiteY2345" fmla="*/ 599771 h 790366"/>
                <a:gd name="connsiteX2346" fmla="*/ 769676 w 1466597"/>
                <a:gd name="connsiteY2346" fmla="*/ 599502 h 790366"/>
                <a:gd name="connsiteX2347" fmla="*/ 768231 w 1466597"/>
                <a:gd name="connsiteY2347" fmla="*/ 599723 h 790366"/>
                <a:gd name="connsiteX2348" fmla="*/ 766947 w 1466597"/>
                <a:gd name="connsiteY2348" fmla="*/ 600431 h 790366"/>
                <a:gd name="connsiteX2349" fmla="*/ 765695 w 1466597"/>
                <a:gd name="connsiteY2349" fmla="*/ 601542 h 790366"/>
                <a:gd name="connsiteX2350" fmla="*/ 764698 w 1466597"/>
                <a:gd name="connsiteY2350" fmla="*/ 604685 h 790366"/>
                <a:gd name="connsiteX2351" fmla="*/ 763433 w 1466597"/>
                <a:gd name="connsiteY2351" fmla="*/ 606091 h 790366"/>
                <a:gd name="connsiteX2352" fmla="*/ 762631 w 1466597"/>
                <a:gd name="connsiteY2352" fmla="*/ 606336 h 790366"/>
                <a:gd name="connsiteX2353" fmla="*/ 760996 w 1466597"/>
                <a:gd name="connsiteY2353" fmla="*/ 606128 h 790366"/>
                <a:gd name="connsiteX2354" fmla="*/ 758526 w 1466597"/>
                <a:gd name="connsiteY2354" fmla="*/ 605467 h 790366"/>
                <a:gd name="connsiteX2355" fmla="*/ 756016 w 1466597"/>
                <a:gd name="connsiteY2355" fmla="*/ 605701 h 790366"/>
                <a:gd name="connsiteX2356" fmla="*/ 751966 w 1466597"/>
                <a:gd name="connsiteY2356" fmla="*/ 607625 h 790366"/>
                <a:gd name="connsiteX2357" fmla="*/ 750679 w 1466597"/>
                <a:gd name="connsiteY2357" fmla="*/ 609079 h 790366"/>
                <a:gd name="connsiteX2358" fmla="*/ 753231 w 1466597"/>
                <a:gd name="connsiteY2358" fmla="*/ 609401 h 790366"/>
                <a:gd name="connsiteX2359" fmla="*/ 754496 w 1466597"/>
                <a:gd name="connsiteY2359" fmla="*/ 609816 h 790366"/>
                <a:gd name="connsiteX2360" fmla="*/ 754463 w 1466597"/>
                <a:gd name="connsiteY2360" fmla="*/ 610223 h 790366"/>
                <a:gd name="connsiteX2361" fmla="*/ 753132 w 1466597"/>
                <a:gd name="connsiteY2361" fmla="*/ 610617 h 790366"/>
                <a:gd name="connsiteX2362" fmla="*/ 750867 w 1466597"/>
                <a:gd name="connsiteY2362" fmla="*/ 610589 h 790366"/>
                <a:gd name="connsiteX2363" fmla="*/ 749505 w 1466597"/>
                <a:gd name="connsiteY2363" fmla="*/ 610927 h 790366"/>
                <a:gd name="connsiteX2364" fmla="*/ 747845 w 1466597"/>
                <a:gd name="connsiteY2364" fmla="*/ 611754 h 790366"/>
                <a:gd name="connsiteX2365" fmla="*/ 743685 w 1466597"/>
                <a:gd name="connsiteY2365" fmla="*/ 612646 h 790366"/>
                <a:gd name="connsiteX2366" fmla="*/ 742105 w 1466597"/>
                <a:gd name="connsiteY2366" fmla="*/ 613285 h 790366"/>
                <a:gd name="connsiteX2367" fmla="*/ 738967 w 1466597"/>
                <a:gd name="connsiteY2367" fmla="*/ 616914 h 790366"/>
                <a:gd name="connsiteX2368" fmla="*/ 738591 w 1466597"/>
                <a:gd name="connsiteY2368" fmla="*/ 617736 h 790366"/>
                <a:gd name="connsiteX2369" fmla="*/ 738993 w 1466597"/>
                <a:gd name="connsiteY2369" fmla="*/ 617917 h 790366"/>
                <a:gd name="connsiteX2370" fmla="*/ 740755 w 1466597"/>
                <a:gd name="connsiteY2370" fmla="*/ 617535 h 790366"/>
                <a:gd name="connsiteX2371" fmla="*/ 742825 w 1466597"/>
                <a:gd name="connsiteY2371" fmla="*/ 618137 h 790366"/>
                <a:gd name="connsiteX2372" fmla="*/ 743901 w 1466597"/>
                <a:gd name="connsiteY2372" fmla="*/ 618905 h 790366"/>
                <a:gd name="connsiteX2373" fmla="*/ 744590 w 1466597"/>
                <a:gd name="connsiteY2373" fmla="*/ 619850 h 790366"/>
                <a:gd name="connsiteX2374" fmla="*/ 745243 w 1466597"/>
                <a:gd name="connsiteY2374" fmla="*/ 621670 h 790366"/>
                <a:gd name="connsiteX2375" fmla="*/ 745645 w 1466597"/>
                <a:gd name="connsiteY2375" fmla="*/ 621937 h 790366"/>
                <a:gd name="connsiteX2376" fmla="*/ 741660 w 1466597"/>
                <a:gd name="connsiteY2376" fmla="*/ 624992 h 790366"/>
                <a:gd name="connsiteX2377" fmla="*/ 740530 w 1466597"/>
                <a:gd name="connsiteY2377" fmla="*/ 626287 h 790366"/>
                <a:gd name="connsiteX2378" fmla="*/ 739802 w 1466597"/>
                <a:gd name="connsiteY2378" fmla="*/ 626768 h 790366"/>
                <a:gd name="connsiteX2379" fmla="*/ 739325 w 1466597"/>
                <a:gd name="connsiteY2379" fmla="*/ 626395 h 790366"/>
                <a:gd name="connsiteX2380" fmla="*/ 738833 w 1466597"/>
                <a:gd name="connsiteY2380" fmla="*/ 622997 h 790366"/>
                <a:gd name="connsiteX2381" fmla="*/ 738534 w 1466597"/>
                <a:gd name="connsiteY2381" fmla="*/ 622420 h 790366"/>
                <a:gd name="connsiteX2382" fmla="*/ 737596 w 1466597"/>
                <a:gd name="connsiteY2382" fmla="*/ 622360 h 790366"/>
                <a:gd name="connsiteX2383" fmla="*/ 736689 w 1466597"/>
                <a:gd name="connsiteY2383" fmla="*/ 623435 h 790366"/>
                <a:gd name="connsiteX2384" fmla="*/ 734695 w 1466597"/>
                <a:gd name="connsiteY2384" fmla="*/ 627453 h 790366"/>
                <a:gd name="connsiteX2385" fmla="*/ 732528 w 1466597"/>
                <a:gd name="connsiteY2385" fmla="*/ 629472 h 790366"/>
                <a:gd name="connsiteX2386" fmla="*/ 716212 w 1466597"/>
                <a:gd name="connsiteY2386" fmla="*/ 634650 h 790366"/>
                <a:gd name="connsiteX2387" fmla="*/ 713819 w 1466597"/>
                <a:gd name="connsiteY2387" fmla="*/ 635823 h 790366"/>
                <a:gd name="connsiteX2388" fmla="*/ 713358 w 1466597"/>
                <a:gd name="connsiteY2388" fmla="*/ 638029 h 790366"/>
                <a:gd name="connsiteX2389" fmla="*/ 712686 w 1466597"/>
                <a:gd name="connsiteY2389" fmla="*/ 639936 h 790366"/>
                <a:gd name="connsiteX2390" fmla="*/ 711604 w 1466597"/>
                <a:gd name="connsiteY2390" fmla="*/ 641455 h 790366"/>
                <a:gd name="connsiteX2391" fmla="*/ 710339 w 1466597"/>
                <a:gd name="connsiteY2391" fmla="*/ 642416 h 790366"/>
                <a:gd name="connsiteX2392" fmla="*/ 710067 w 1466597"/>
                <a:gd name="connsiteY2392" fmla="*/ 641734 h 790366"/>
                <a:gd name="connsiteX2393" fmla="*/ 710195 w 1466597"/>
                <a:gd name="connsiteY2393" fmla="*/ 636366 h 790366"/>
                <a:gd name="connsiteX2394" fmla="*/ 709858 w 1466597"/>
                <a:gd name="connsiteY2394" fmla="*/ 635298 h 790366"/>
                <a:gd name="connsiteX2395" fmla="*/ 708212 w 1466597"/>
                <a:gd name="connsiteY2395" fmla="*/ 634613 h 790366"/>
                <a:gd name="connsiteX2396" fmla="*/ 707488 w 1466597"/>
                <a:gd name="connsiteY2396" fmla="*/ 634707 h 790366"/>
                <a:gd name="connsiteX2397" fmla="*/ 706494 w 1466597"/>
                <a:gd name="connsiteY2397" fmla="*/ 635009 h 790366"/>
                <a:gd name="connsiteX2398" fmla="*/ 704861 w 1466597"/>
                <a:gd name="connsiteY2398" fmla="*/ 636171 h 790366"/>
                <a:gd name="connsiteX2399" fmla="*/ 703862 w 1466597"/>
                <a:gd name="connsiteY2399" fmla="*/ 636462 h 790366"/>
                <a:gd name="connsiteX2400" fmla="*/ 702618 w 1466597"/>
                <a:gd name="connsiteY2400" fmla="*/ 636366 h 790366"/>
                <a:gd name="connsiteX2401" fmla="*/ 700493 w 1466597"/>
                <a:gd name="connsiteY2401" fmla="*/ 637511 h 790366"/>
                <a:gd name="connsiteX2402" fmla="*/ 695437 w 1466597"/>
                <a:gd name="connsiteY2402" fmla="*/ 641177 h 790366"/>
                <a:gd name="connsiteX2403" fmla="*/ 692136 w 1466597"/>
                <a:gd name="connsiteY2403" fmla="*/ 642088 h 790366"/>
                <a:gd name="connsiteX2404" fmla="*/ 691263 w 1466597"/>
                <a:gd name="connsiteY2404" fmla="*/ 642849 h 790366"/>
                <a:gd name="connsiteX2405" fmla="*/ 689853 w 1466597"/>
                <a:gd name="connsiteY2405" fmla="*/ 644850 h 790366"/>
                <a:gd name="connsiteX2406" fmla="*/ 688920 w 1466597"/>
                <a:gd name="connsiteY2406" fmla="*/ 645583 h 790366"/>
                <a:gd name="connsiteX2407" fmla="*/ 687537 w 1466597"/>
                <a:gd name="connsiteY2407" fmla="*/ 645648 h 790366"/>
                <a:gd name="connsiteX2408" fmla="*/ 685707 w 1466597"/>
                <a:gd name="connsiteY2408" fmla="*/ 645045 h 790366"/>
                <a:gd name="connsiteX2409" fmla="*/ 684236 w 1466597"/>
                <a:gd name="connsiteY2409" fmla="*/ 645472 h 790366"/>
                <a:gd name="connsiteX2410" fmla="*/ 683123 w 1466597"/>
                <a:gd name="connsiteY2410" fmla="*/ 646928 h 790366"/>
                <a:gd name="connsiteX2411" fmla="*/ 681992 w 1466597"/>
                <a:gd name="connsiteY2411" fmla="*/ 647503 h 790366"/>
                <a:gd name="connsiteX2412" fmla="*/ 678782 w 1466597"/>
                <a:gd name="connsiteY2412" fmla="*/ 646430 h 790366"/>
                <a:gd name="connsiteX2413" fmla="*/ 677365 w 1466597"/>
                <a:gd name="connsiteY2413" fmla="*/ 647163 h 790366"/>
                <a:gd name="connsiteX2414" fmla="*/ 675529 w 1466597"/>
                <a:gd name="connsiteY2414" fmla="*/ 649042 h 790366"/>
                <a:gd name="connsiteX2415" fmla="*/ 673609 w 1466597"/>
                <a:gd name="connsiteY2415" fmla="*/ 650280 h 790366"/>
                <a:gd name="connsiteX2416" fmla="*/ 671606 w 1466597"/>
                <a:gd name="connsiteY2416" fmla="*/ 650881 h 790366"/>
                <a:gd name="connsiteX2417" fmla="*/ 666403 w 1466597"/>
                <a:gd name="connsiteY2417" fmla="*/ 651507 h 790366"/>
                <a:gd name="connsiteX2418" fmla="*/ 664314 w 1466597"/>
                <a:gd name="connsiteY2418" fmla="*/ 651107 h 790366"/>
                <a:gd name="connsiteX2419" fmla="*/ 663889 w 1466597"/>
                <a:gd name="connsiteY2419" fmla="*/ 650563 h 790366"/>
                <a:gd name="connsiteX2420" fmla="*/ 663986 w 1466597"/>
                <a:gd name="connsiteY2420" fmla="*/ 648168 h 790366"/>
                <a:gd name="connsiteX2421" fmla="*/ 664826 w 1466597"/>
                <a:gd name="connsiteY2421" fmla="*/ 646442 h 790366"/>
                <a:gd name="connsiteX2422" fmla="*/ 665603 w 1466597"/>
                <a:gd name="connsiteY2422" fmla="*/ 645626 h 790366"/>
                <a:gd name="connsiteX2423" fmla="*/ 666639 w 1466597"/>
                <a:gd name="connsiteY2423" fmla="*/ 644905 h 790366"/>
                <a:gd name="connsiteX2424" fmla="*/ 668155 w 1466597"/>
                <a:gd name="connsiteY2424" fmla="*/ 644822 h 790366"/>
                <a:gd name="connsiteX2425" fmla="*/ 670991 w 1466597"/>
                <a:gd name="connsiteY2425" fmla="*/ 645360 h 790366"/>
                <a:gd name="connsiteX2426" fmla="*/ 670670 w 1466597"/>
                <a:gd name="connsiteY2426" fmla="*/ 644781 h 790366"/>
                <a:gd name="connsiteX2427" fmla="*/ 669639 w 1466597"/>
                <a:gd name="connsiteY2427" fmla="*/ 644094 h 790366"/>
                <a:gd name="connsiteX2428" fmla="*/ 667028 w 1466597"/>
                <a:gd name="connsiteY2428" fmla="*/ 642907 h 790366"/>
                <a:gd name="connsiteX2429" fmla="*/ 664442 w 1466597"/>
                <a:gd name="connsiteY2429" fmla="*/ 642301 h 790366"/>
                <a:gd name="connsiteX2430" fmla="*/ 662960 w 1466597"/>
                <a:gd name="connsiteY2430" fmla="*/ 642685 h 790366"/>
                <a:gd name="connsiteX2431" fmla="*/ 660872 w 1466597"/>
                <a:gd name="connsiteY2431" fmla="*/ 643599 h 790366"/>
                <a:gd name="connsiteX2432" fmla="*/ 659455 w 1466597"/>
                <a:gd name="connsiteY2432" fmla="*/ 644652 h 790366"/>
                <a:gd name="connsiteX2433" fmla="*/ 658710 w 1466597"/>
                <a:gd name="connsiteY2433" fmla="*/ 645847 h 790366"/>
                <a:gd name="connsiteX2434" fmla="*/ 657769 w 1466597"/>
                <a:gd name="connsiteY2434" fmla="*/ 649746 h 790366"/>
                <a:gd name="connsiteX2435" fmla="*/ 657230 w 1466597"/>
                <a:gd name="connsiteY2435" fmla="*/ 650799 h 790366"/>
                <a:gd name="connsiteX2436" fmla="*/ 651138 w 1466597"/>
                <a:gd name="connsiteY2436" fmla="*/ 657654 h 790366"/>
                <a:gd name="connsiteX2437" fmla="*/ 648749 w 1466597"/>
                <a:gd name="connsiteY2437" fmla="*/ 659763 h 790366"/>
                <a:gd name="connsiteX2438" fmla="*/ 646387 w 1466597"/>
                <a:gd name="connsiteY2438" fmla="*/ 659605 h 790366"/>
                <a:gd name="connsiteX2439" fmla="*/ 645242 w 1466597"/>
                <a:gd name="connsiteY2439" fmla="*/ 660401 h 790366"/>
                <a:gd name="connsiteX2440" fmla="*/ 643630 w 1466597"/>
                <a:gd name="connsiteY2440" fmla="*/ 662108 h 790366"/>
                <a:gd name="connsiteX2441" fmla="*/ 642144 w 1466597"/>
                <a:gd name="connsiteY2441" fmla="*/ 662925 h 790366"/>
                <a:gd name="connsiteX2442" fmla="*/ 640780 w 1466597"/>
                <a:gd name="connsiteY2442" fmla="*/ 662850 h 790366"/>
                <a:gd name="connsiteX2443" fmla="*/ 639721 w 1466597"/>
                <a:gd name="connsiteY2443" fmla="*/ 662527 h 790366"/>
                <a:gd name="connsiteX2444" fmla="*/ 638966 w 1466597"/>
                <a:gd name="connsiteY2444" fmla="*/ 661951 h 790366"/>
                <a:gd name="connsiteX2445" fmla="*/ 639097 w 1466597"/>
                <a:gd name="connsiteY2445" fmla="*/ 661414 h 790366"/>
                <a:gd name="connsiteX2446" fmla="*/ 640113 w 1466597"/>
                <a:gd name="connsiteY2446" fmla="*/ 660914 h 790366"/>
                <a:gd name="connsiteX2447" fmla="*/ 639750 w 1466597"/>
                <a:gd name="connsiteY2447" fmla="*/ 659546 h 790366"/>
                <a:gd name="connsiteX2448" fmla="*/ 638002 w 1466597"/>
                <a:gd name="connsiteY2448" fmla="*/ 657305 h 790366"/>
                <a:gd name="connsiteX2449" fmla="*/ 636812 w 1466597"/>
                <a:gd name="connsiteY2449" fmla="*/ 656085 h 790366"/>
                <a:gd name="connsiteX2450" fmla="*/ 634555 w 1466597"/>
                <a:gd name="connsiteY2450" fmla="*/ 655945 h 790366"/>
                <a:gd name="connsiteX2451" fmla="*/ 634204 w 1466597"/>
                <a:gd name="connsiteY2451" fmla="*/ 656964 h 790366"/>
                <a:gd name="connsiteX2452" fmla="*/ 634966 w 1466597"/>
                <a:gd name="connsiteY2452" fmla="*/ 662172 h 790366"/>
                <a:gd name="connsiteX2453" fmla="*/ 634848 w 1466597"/>
                <a:gd name="connsiteY2453" fmla="*/ 663345 h 790366"/>
                <a:gd name="connsiteX2454" fmla="*/ 633434 w 1466597"/>
                <a:gd name="connsiteY2454" fmla="*/ 664829 h 790366"/>
                <a:gd name="connsiteX2455" fmla="*/ 629728 w 1466597"/>
                <a:gd name="connsiteY2455" fmla="*/ 666481 h 790366"/>
                <a:gd name="connsiteX2456" fmla="*/ 628569 w 1466597"/>
                <a:gd name="connsiteY2456" fmla="*/ 666320 h 790366"/>
                <a:gd name="connsiteX2457" fmla="*/ 625231 w 1466597"/>
                <a:gd name="connsiteY2457" fmla="*/ 663059 h 790366"/>
                <a:gd name="connsiteX2458" fmla="*/ 622075 w 1466597"/>
                <a:gd name="connsiteY2458" fmla="*/ 662412 h 790366"/>
                <a:gd name="connsiteX2459" fmla="*/ 621865 w 1466597"/>
                <a:gd name="connsiteY2459" fmla="*/ 663474 h 790366"/>
                <a:gd name="connsiteX2460" fmla="*/ 622571 w 1466597"/>
                <a:gd name="connsiteY2460" fmla="*/ 665642 h 790366"/>
                <a:gd name="connsiteX2461" fmla="*/ 621783 w 1466597"/>
                <a:gd name="connsiteY2461" fmla="*/ 667666 h 790366"/>
                <a:gd name="connsiteX2462" fmla="*/ 619500 w 1466597"/>
                <a:gd name="connsiteY2462" fmla="*/ 669548 h 790366"/>
                <a:gd name="connsiteX2463" fmla="*/ 617764 w 1466597"/>
                <a:gd name="connsiteY2463" fmla="*/ 670461 h 790366"/>
                <a:gd name="connsiteX2464" fmla="*/ 616573 w 1466597"/>
                <a:gd name="connsiteY2464" fmla="*/ 670405 h 790366"/>
                <a:gd name="connsiteX2465" fmla="*/ 616507 w 1466597"/>
                <a:gd name="connsiteY2465" fmla="*/ 669088 h 790366"/>
                <a:gd name="connsiteX2466" fmla="*/ 617566 w 1466597"/>
                <a:gd name="connsiteY2466" fmla="*/ 666506 h 790366"/>
                <a:gd name="connsiteX2467" fmla="*/ 617839 w 1466597"/>
                <a:gd name="connsiteY2467" fmla="*/ 664355 h 790366"/>
                <a:gd name="connsiteX2468" fmla="*/ 617322 w 1466597"/>
                <a:gd name="connsiteY2468" fmla="*/ 662630 h 790366"/>
                <a:gd name="connsiteX2469" fmla="*/ 617380 w 1466597"/>
                <a:gd name="connsiteY2469" fmla="*/ 661306 h 790366"/>
                <a:gd name="connsiteX2470" fmla="*/ 618014 w 1466597"/>
                <a:gd name="connsiteY2470" fmla="*/ 660384 h 790366"/>
                <a:gd name="connsiteX2471" fmla="*/ 622205 w 1466597"/>
                <a:gd name="connsiteY2471" fmla="*/ 657820 h 790366"/>
                <a:gd name="connsiteX2472" fmla="*/ 623970 w 1466597"/>
                <a:gd name="connsiteY2472" fmla="*/ 657437 h 790366"/>
                <a:gd name="connsiteX2473" fmla="*/ 624915 w 1466597"/>
                <a:gd name="connsiteY2473" fmla="*/ 658073 h 790366"/>
                <a:gd name="connsiteX2474" fmla="*/ 626097 w 1466597"/>
                <a:gd name="connsiteY2474" fmla="*/ 658180 h 790366"/>
                <a:gd name="connsiteX2475" fmla="*/ 627510 w 1466597"/>
                <a:gd name="connsiteY2475" fmla="*/ 657763 h 790366"/>
                <a:gd name="connsiteX2476" fmla="*/ 628401 w 1466597"/>
                <a:gd name="connsiteY2476" fmla="*/ 656943 h 790366"/>
                <a:gd name="connsiteX2477" fmla="*/ 628771 w 1466597"/>
                <a:gd name="connsiteY2477" fmla="*/ 655719 h 790366"/>
                <a:gd name="connsiteX2478" fmla="*/ 630580 w 1466597"/>
                <a:gd name="connsiteY2478" fmla="*/ 654151 h 790366"/>
                <a:gd name="connsiteX2479" fmla="*/ 633825 w 1466597"/>
                <a:gd name="connsiteY2479" fmla="*/ 652239 h 790366"/>
                <a:gd name="connsiteX2480" fmla="*/ 637540 w 1466597"/>
                <a:gd name="connsiteY2480" fmla="*/ 648701 h 790366"/>
                <a:gd name="connsiteX2481" fmla="*/ 641725 w 1466597"/>
                <a:gd name="connsiteY2481" fmla="*/ 643532 h 790366"/>
                <a:gd name="connsiteX2482" fmla="*/ 646628 w 1466597"/>
                <a:gd name="connsiteY2482" fmla="*/ 639070 h 790366"/>
                <a:gd name="connsiteX2483" fmla="*/ 652254 w 1466597"/>
                <a:gd name="connsiteY2483" fmla="*/ 635316 h 790366"/>
                <a:gd name="connsiteX2484" fmla="*/ 658358 w 1466597"/>
                <a:gd name="connsiteY2484" fmla="*/ 632336 h 790366"/>
                <a:gd name="connsiteX2485" fmla="*/ 670646 w 1466597"/>
                <a:gd name="connsiteY2485" fmla="*/ 628231 h 790366"/>
                <a:gd name="connsiteX2486" fmla="*/ 671591 w 1466597"/>
                <a:gd name="connsiteY2486" fmla="*/ 628483 h 790366"/>
                <a:gd name="connsiteX2487" fmla="*/ 670469 w 1466597"/>
                <a:gd name="connsiteY2487" fmla="*/ 629813 h 790366"/>
                <a:gd name="connsiteX2488" fmla="*/ 671235 w 1466597"/>
                <a:gd name="connsiteY2488" fmla="*/ 630645 h 790366"/>
                <a:gd name="connsiteX2489" fmla="*/ 672443 w 1466597"/>
                <a:gd name="connsiteY2489" fmla="*/ 630751 h 790366"/>
                <a:gd name="connsiteX2490" fmla="*/ 676946 w 1466597"/>
                <a:gd name="connsiteY2490" fmla="*/ 630094 h 790366"/>
                <a:gd name="connsiteX2491" fmla="*/ 678733 w 1466597"/>
                <a:gd name="connsiteY2491" fmla="*/ 629230 h 790366"/>
                <a:gd name="connsiteX2492" fmla="*/ 679263 w 1466597"/>
                <a:gd name="connsiteY2492" fmla="*/ 630061 h 790366"/>
                <a:gd name="connsiteX2493" fmla="*/ 678637 w 1466597"/>
                <a:gd name="connsiteY2493" fmla="*/ 631112 h 790366"/>
                <a:gd name="connsiteX2494" fmla="*/ 675933 w 1466597"/>
                <a:gd name="connsiteY2494" fmla="*/ 632174 h 790366"/>
                <a:gd name="connsiteX2495" fmla="*/ 676009 w 1466597"/>
                <a:gd name="connsiteY2495" fmla="*/ 633055 h 790366"/>
                <a:gd name="connsiteX2496" fmla="*/ 679940 w 1466597"/>
                <a:gd name="connsiteY2496" fmla="*/ 637190 h 790366"/>
                <a:gd name="connsiteX2497" fmla="*/ 681176 w 1466597"/>
                <a:gd name="connsiteY2497" fmla="*/ 637816 h 790366"/>
                <a:gd name="connsiteX2498" fmla="*/ 682203 w 1466597"/>
                <a:gd name="connsiteY2498" fmla="*/ 637739 h 790366"/>
                <a:gd name="connsiteX2499" fmla="*/ 682639 w 1466597"/>
                <a:gd name="connsiteY2499" fmla="*/ 637204 h 790366"/>
                <a:gd name="connsiteX2500" fmla="*/ 682310 w 1466597"/>
                <a:gd name="connsiteY2500" fmla="*/ 634223 h 790366"/>
                <a:gd name="connsiteX2501" fmla="*/ 683637 w 1466597"/>
                <a:gd name="connsiteY2501" fmla="*/ 633655 h 790366"/>
                <a:gd name="connsiteX2502" fmla="*/ 686358 w 1466597"/>
                <a:gd name="connsiteY2502" fmla="*/ 633517 h 790366"/>
                <a:gd name="connsiteX2503" fmla="*/ 688131 w 1466597"/>
                <a:gd name="connsiteY2503" fmla="*/ 633905 h 790366"/>
                <a:gd name="connsiteX2504" fmla="*/ 688955 w 1466597"/>
                <a:gd name="connsiteY2504" fmla="*/ 634824 h 790366"/>
                <a:gd name="connsiteX2505" fmla="*/ 690510 w 1466597"/>
                <a:gd name="connsiteY2505" fmla="*/ 635584 h 790366"/>
                <a:gd name="connsiteX2506" fmla="*/ 692796 w 1466597"/>
                <a:gd name="connsiteY2506" fmla="*/ 636185 h 790366"/>
                <a:gd name="connsiteX2507" fmla="*/ 694215 w 1466597"/>
                <a:gd name="connsiteY2507" fmla="*/ 636001 h 790366"/>
                <a:gd name="connsiteX2508" fmla="*/ 694765 w 1466597"/>
                <a:gd name="connsiteY2508" fmla="*/ 635028 h 790366"/>
                <a:gd name="connsiteX2509" fmla="*/ 693787 w 1466597"/>
                <a:gd name="connsiteY2509" fmla="*/ 633870 h 790366"/>
                <a:gd name="connsiteX2510" fmla="*/ 689415 w 1466597"/>
                <a:gd name="connsiteY2510" fmla="*/ 631322 h 790366"/>
                <a:gd name="connsiteX2511" fmla="*/ 688203 w 1466597"/>
                <a:gd name="connsiteY2511" fmla="*/ 630259 h 790366"/>
                <a:gd name="connsiteX2512" fmla="*/ 687906 w 1466597"/>
                <a:gd name="connsiteY2512" fmla="*/ 628776 h 790366"/>
                <a:gd name="connsiteX2513" fmla="*/ 688526 w 1466597"/>
                <a:gd name="connsiteY2513" fmla="*/ 626875 h 790366"/>
                <a:gd name="connsiteX2514" fmla="*/ 689901 w 1466597"/>
                <a:gd name="connsiteY2514" fmla="*/ 624053 h 790366"/>
                <a:gd name="connsiteX2515" fmla="*/ 692027 w 1466597"/>
                <a:gd name="connsiteY2515" fmla="*/ 620307 h 790366"/>
                <a:gd name="connsiteX2516" fmla="*/ 693951 w 1466597"/>
                <a:gd name="connsiteY2516" fmla="*/ 617685 h 790366"/>
                <a:gd name="connsiteX2517" fmla="*/ 697849 w 1466597"/>
                <a:gd name="connsiteY2517" fmla="*/ 614714 h 790366"/>
                <a:gd name="connsiteX2518" fmla="*/ 700477 w 1466597"/>
                <a:gd name="connsiteY2518" fmla="*/ 613244 h 790366"/>
                <a:gd name="connsiteX2519" fmla="*/ 707140 w 1466597"/>
                <a:gd name="connsiteY2519" fmla="*/ 608732 h 790366"/>
                <a:gd name="connsiteX2520" fmla="*/ 719944 w 1466597"/>
                <a:gd name="connsiteY2520" fmla="*/ 604127 h 790366"/>
                <a:gd name="connsiteX2521" fmla="*/ 723110 w 1466597"/>
                <a:gd name="connsiteY2521" fmla="*/ 601168 h 790366"/>
                <a:gd name="connsiteX2522" fmla="*/ 727412 w 1466597"/>
                <a:gd name="connsiteY2522" fmla="*/ 597896 h 790366"/>
                <a:gd name="connsiteX2523" fmla="*/ 729258 w 1466597"/>
                <a:gd name="connsiteY2523" fmla="*/ 597090 h 790366"/>
                <a:gd name="connsiteX2524" fmla="*/ 729258 w 1466597"/>
                <a:gd name="connsiteY2524" fmla="*/ 598355 h 790366"/>
                <a:gd name="connsiteX2525" fmla="*/ 729848 w 1466597"/>
                <a:gd name="connsiteY2525" fmla="*/ 599483 h 790366"/>
                <a:gd name="connsiteX2526" fmla="*/ 732726 w 1466597"/>
                <a:gd name="connsiteY2526" fmla="*/ 600234 h 790366"/>
                <a:gd name="connsiteX2527" fmla="*/ 734595 w 1466597"/>
                <a:gd name="connsiteY2527" fmla="*/ 600495 h 790366"/>
                <a:gd name="connsiteX2528" fmla="*/ 735454 w 1466597"/>
                <a:gd name="connsiteY2528" fmla="*/ 600266 h 790366"/>
                <a:gd name="connsiteX2529" fmla="*/ 735690 w 1466597"/>
                <a:gd name="connsiteY2529" fmla="*/ 599064 h 790366"/>
                <a:gd name="connsiteX2530" fmla="*/ 735303 w 1466597"/>
                <a:gd name="connsiteY2530" fmla="*/ 596889 h 790366"/>
                <a:gd name="connsiteX2531" fmla="*/ 735208 w 1466597"/>
                <a:gd name="connsiteY2531" fmla="*/ 594830 h 790366"/>
                <a:gd name="connsiteX2532" fmla="*/ 735400 w 1466597"/>
                <a:gd name="connsiteY2532" fmla="*/ 592894 h 790366"/>
                <a:gd name="connsiteX2533" fmla="*/ 735819 w 1466597"/>
                <a:gd name="connsiteY2533" fmla="*/ 591361 h 790366"/>
                <a:gd name="connsiteX2534" fmla="*/ 737738 w 1466597"/>
                <a:gd name="connsiteY2534" fmla="*/ 588636 h 790366"/>
                <a:gd name="connsiteX2535" fmla="*/ 740592 w 1466597"/>
                <a:gd name="connsiteY2535" fmla="*/ 585529 h 790366"/>
                <a:gd name="connsiteX2536" fmla="*/ 744489 w 1466597"/>
                <a:gd name="connsiteY2536" fmla="*/ 581913 h 790366"/>
                <a:gd name="connsiteX2537" fmla="*/ 746949 w 1466597"/>
                <a:gd name="connsiteY2537" fmla="*/ 580273 h 790366"/>
                <a:gd name="connsiteX2538" fmla="*/ 749269 w 1466597"/>
                <a:gd name="connsiteY2538" fmla="*/ 579403 h 790366"/>
                <a:gd name="connsiteX2539" fmla="*/ 751511 w 1466597"/>
                <a:gd name="connsiteY2539" fmla="*/ 577825 h 790366"/>
                <a:gd name="connsiteX2540" fmla="*/ 755372 w 1466597"/>
                <a:gd name="connsiteY2540" fmla="*/ 574085 h 790366"/>
                <a:gd name="connsiteX2541" fmla="*/ 756612 w 1466597"/>
                <a:gd name="connsiteY2541" fmla="*/ 573470 h 790366"/>
                <a:gd name="connsiteX2542" fmla="*/ 759380 w 1466597"/>
                <a:gd name="connsiteY2542" fmla="*/ 572734 h 790366"/>
                <a:gd name="connsiteX2543" fmla="*/ 760395 w 1466597"/>
                <a:gd name="connsiteY2543" fmla="*/ 573060 h 790366"/>
                <a:gd name="connsiteX2544" fmla="*/ 760992 w 1466597"/>
                <a:gd name="connsiteY2544" fmla="*/ 573999 h 790366"/>
                <a:gd name="connsiteX2545" fmla="*/ 761718 w 1466597"/>
                <a:gd name="connsiteY2545" fmla="*/ 574583 h 790366"/>
                <a:gd name="connsiteX2546" fmla="*/ 764531 w 1466597"/>
                <a:gd name="connsiteY2546" fmla="*/ 575110 h 790366"/>
                <a:gd name="connsiteX2547" fmla="*/ 766403 w 1466597"/>
                <a:gd name="connsiteY2547" fmla="*/ 574275 h 790366"/>
                <a:gd name="connsiteX2548" fmla="*/ 766098 w 1466597"/>
                <a:gd name="connsiteY2548" fmla="*/ 573834 h 790366"/>
                <a:gd name="connsiteX2549" fmla="*/ 764577 w 1466597"/>
                <a:gd name="connsiteY2549" fmla="*/ 573552 h 790366"/>
                <a:gd name="connsiteX2550" fmla="*/ 763605 w 1466597"/>
                <a:gd name="connsiteY2550" fmla="*/ 573009 h 790366"/>
                <a:gd name="connsiteX2551" fmla="*/ 762687 w 1466597"/>
                <a:gd name="connsiteY2551" fmla="*/ 570773 h 790366"/>
                <a:gd name="connsiteX2552" fmla="*/ 760823 w 1466597"/>
                <a:gd name="connsiteY2552" fmla="*/ 569426 h 790366"/>
                <a:gd name="connsiteX2553" fmla="*/ 760401 w 1466597"/>
                <a:gd name="connsiteY2553" fmla="*/ 567905 h 790366"/>
                <a:gd name="connsiteX2554" fmla="*/ 760737 w 1466597"/>
                <a:gd name="connsiteY2554" fmla="*/ 565531 h 790366"/>
                <a:gd name="connsiteX2555" fmla="*/ 762340 w 1466597"/>
                <a:gd name="connsiteY2555" fmla="*/ 559948 h 790366"/>
                <a:gd name="connsiteX2556" fmla="*/ 762604 w 1466597"/>
                <a:gd name="connsiteY2556" fmla="*/ 554193 h 790366"/>
                <a:gd name="connsiteX2557" fmla="*/ 764028 w 1466597"/>
                <a:gd name="connsiteY2557" fmla="*/ 550892 h 790366"/>
                <a:gd name="connsiteX2558" fmla="*/ 766893 w 1466597"/>
                <a:gd name="connsiteY2558" fmla="*/ 549697 h 790366"/>
                <a:gd name="connsiteX2559" fmla="*/ 773246 w 1466597"/>
                <a:gd name="connsiteY2559" fmla="*/ 548880 h 790366"/>
                <a:gd name="connsiteX2560" fmla="*/ 769528 w 1466597"/>
                <a:gd name="connsiteY2560" fmla="*/ 547384 h 790366"/>
                <a:gd name="connsiteX2561" fmla="*/ 768145 w 1466597"/>
                <a:gd name="connsiteY2561" fmla="*/ 547372 h 790366"/>
                <a:gd name="connsiteX2562" fmla="*/ 765728 w 1466597"/>
                <a:gd name="connsiteY2562" fmla="*/ 546671 h 790366"/>
                <a:gd name="connsiteX2563" fmla="*/ 764809 w 1466597"/>
                <a:gd name="connsiteY2563" fmla="*/ 543066 h 790366"/>
                <a:gd name="connsiteX2564" fmla="*/ 764829 w 1466597"/>
                <a:gd name="connsiteY2564" fmla="*/ 540441 h 790366"/>
                <a:gd name="connsiteX2565" fmla="*/ 766429 w 1466597"/>
                <a:gd name="connsiteY2565" fmla="*/ 537397 h 790366"/>
                <a:gd name="connsiteX2566" fmla="*/ 772348 w 1466597"/>
                <a:gd name="connsiteY2566" fmla="*/ 532253 h 790366"/>
                <a:gd name="connsiteX2567" fmla="*/ 778833 w 1466597"/>
                <a:gd name="connsiteY2567" fmla="*/ 528688 h 790366"/>
                <a:gd name="connsiteX2568" fmla="*/ 777956 w 1466597"/>
                <a:gd name="connsiteY2568" fmla="*/ 528394 h 790366"/>
                <a:gd name="connsiteX2569" fmla="*/ 777153 w 1466597"/>
                <a:gd name="connsiteY2569" fmla="*/ 527333 h 790366"/>
                <a:gd name="connsiteX2570" fmla="*/ 780144 w 1466597"/>
                <a:gd name="connsiteY2570" fmla="*/ 520171 h 790366"/>
                <a:gd name="connsiteX2571" fmla="*/ 783063 w 1466597"/>
                <a:gd name="connsiteY2571" fmla="*/ 513761 h 790366"/>
                <a:gd name="connsiteX2572" fmla="*/ 779120 w 1466597"/>
                <a:gd name="connsiteY2572" fmla="*/ 519226 h 790366"/>
                <a:gd name="connsiteX2573" fmla="*/ 774564 w 1466597"/>
                <a:gd name="connsiteY2573" fmla="*/ 523397 h 790366"/>
                <a:gd name="connsiteX2574" fmla="*/ 761204 w 1466597"/>
                <a:gd name="connsiteY2574" fmla="*/ 528233 h 790366"/>
                <a:gd name="connsiteX2575" fmla="*/ 752117 w 1466597"/>
                <a:gd name="connsiteY2575" fmla="*/ 532280 h 790366"/>
                <a:gd name="connsiteX2576" fmla="*/ 747806 w 1466597"/>
                <a:gd name="connsiteY2576" fmla="*/ 533248 h 790366"/>
                <a:gd name="connsiteX2577" fmla="*/ 744958 w 1466597"/>
                <a:gd name="connsiteY2577" fmla="*/ 532220 h 790366"/>
                <a:gd name="connsiteX2578" fmla="*/ 742737 w 1466597"/>
                <a:gd name="connsiteY2578" fmla="*/ 528339 h 790366"/>
                <a:gd name="connsiteX2579" fmla="*/ 741470 w 1466597"/>
                <a:gd name="connsiteY2579" fmla="*/ 526956 h 790366"/>
                <a:gd name="connsiteX2580" fmla="*/ 739841 w 1466597"/>
                <a:gd name="connsiteY2580" fmla="*/ 524420 h 790366"/>
                <a:gd name="connsiteX2581" fmla="*/ 740527 w 1466597"/>
                <a:gd name="connsiteY2581" fmla="*/ 521120 h 790366"/>
                <a:gd name="connsiteX2582" fmla="*/ 741818 w 1466597"/>
                <a:gd name="connsiteY2582" fmla="*/ 518833 h 790366"/>
                <a:gd name="connsiteX2583" fmla="*/ 744653 w 1466597"/>
                <a:gd name="connsiteY2583" fmla="*/ 518457 h 790366"/>
                <a:gd name="connsiteX2584" fmla="*/ 747850 w 1466597"/>
                <a:gd name="connsiteY2584" fmla="*/ 519561 h 790366"/>
                <a:gd name="connsiteX2585" fmla="*/ 750622 w 1466597"/>
                <a:gd name="connsiteY2585" fmla="*/ 519654 h 790366"/>
                <a:gd name="connsiteX2586" fmla="*/ 747048 w 1466597"/>
                <a:gd name="connsiteY2586" fmla="*/ 517400 h 790366"/>
                <a:gd name="connsiteX2587" fmla="*/ 741890 w 1466597"/>
                <a:gd name="connsiteY2587" fmla="*/ 515432 h 790366"/>
                <a:gd name="connsiteX2588" fmla="*/ 739554 w 1466597"/>
                <a:gd name="connsiteY2588" fmla="*/ 516071 h 790366"/>
                <a:gd name="connsiteX2589" fmla="*/ 737767 w 1466597"/>
                <a:gd name="connsiteY2589" fmla="*/ 519266 h 790366"/>
                <a:gd name="connsiteX2590" fmla="*/ 735374 w 1466597"/>
                <a:gd name="connsiteY2590" fmla="*/ 521457 h 790366"/>
                <a:gd name="connsiteX2591" fmla="*/ 733274 w 1466597"/>
                <a:gd name="connsiteY2591" fmla="*/ 520681 h 790366"/>
                <a:gd name="connsiteX2592" fmla="*/ 732026 w 1466597"/>
                <a:gd name="connsiteY2592" fmla="*/ 519788 h 790366"/>
                <a:gd name="connsiteX2593" fmla="*/ 732893 w 1466597"/>
                <a:gd name="connsiteY2593" fmla="*/ 522464 h 790366"/>
                <a:gd name="connsiteX2594" fmla="*/ 731305 w 1466597"/>
                <a:gd name="connsiteY2594" fmla="*/ 526532 h 790366"/>
                <a:gd name="connsiteX2595" fmla="*/ 730703 w 1466597"/>
                <a:gd name="connsiteY2595" fmla="*/ 529345 h 790366"/>
                <a:gd name="connsiteX2596" fmla="*/ 732979 w 1466597"/>
                <a:gd name="connsiteY2596" fmla="*/ 536753 h 790366"/>
                <a:gd name="connsiteX2597" fmla="*/ 732559 w 1466597"/>
                <a:gd name="connsiteY2597" fmla="*/ 539709 h 790366"/>
                <a:gd name="connsiteX2598" fmla="*/ 728425 w 1466597"/>
                <a:gd name="connsiteY2598" fmla="*/ 541064 h 790366"/>
                <a:gd name="connsiteX2599" fmla="*/ 725057 w 1466597"/>
                <a:gd name="connsiteY2599" fmla="*/ 538636 h 790366"/>
                <a:gd name="connsiteX2600" fmla="*/ 718029 w 1466597"/>
                <a:gd name="connsiteY2600" fmla="*/ 529250 h 790366"/>
                <a:gd name="connsiteX2601" fmla="*/ 715579 w 1466597"/>
                <a:gd name="connsiteY2601" fmla="*/ 526571 h 790366"/>
                <a:gd name="connsiteX2602" fmla="*/ 710067 w 1466597"/>
                <a:gd name="connsiteY2602" fmla="*/ 522142 h 790366"/>
                <a:gd name="connsiteX2603" fmla="*/ 708251 w 1466597"/>
                <a:gd name="connsiteY2603" fmla="*/ 522773 h 790366"/>
                <a:gd name="connsiteX2604" fmla="*/ 705936 w 1466597"/>
                <a:gd name="connsiteY2604" fmla="*/ 524958 h 790366"/>
                <a:gd name="connsiteX2605" fmla="*/ 703693 w 1466597"/>
                <a:gd name="connsiteY2605" fmla="*/ 525562 h 790366"/>
                <a:gd name="connsiteX2606" fmla="*/ 697764 w 1466597"/>
                <a:gd name="connsiteY2606" fmla="*/ 522339 h 790366"/>
                <a:gd name="connsiteX2607" fmla="*/ 695005 w 1466597"/>
                <a:gd name="connsiteY2607" fmla="*/ 519877 h 790366"/>
                <a:gd name="connsiteX2608" fmla="*/ 692394 w 1466597"/>
                <a:gd name="connsiteY2608" fmla="*/ 516886 h 790366"/>
                <a:gd name="connsiteX2609" fmla="*/ 688394 w 1466597"/>
                <a:gd name="connsiteY2609" fmla="*/ 518533 h 790366"/>
                <a:gd name="connsiteX2610" fmla="*/ 684905 w 1466597"/>
                <a:gd name="connsiteY2610" fmla="*/ 520493 h 790366"/>
                <a:gd name="connsiteX2611" fmla="*/ 680813 w 1466597"/>
                <a:gd name="connsiteY2611" fmla="*/ 523621 h 790366"/>
                <a:gd name="connsiteX2612" fmla="*/ 678079 w 1466597"/>
                <a:gd name="connsiteY2612" fmla="*/ 523593 h 790366"/>
                <a:gd name="connsiteX2613" fmla="*/ 670639 w 1466597"/>
                <a:gd name="connsiteY2613" fmla="*/ 526269 h 790366"/>
                <a:gd name="connsiteX2614" fmla="*/ 669850 w 1466597"/>
                <a:gd name="connsiteY2614" fmla="*/ 526326 h 790366"/>
                <a:gd name="connsiteX2615" fmla="*/ 668804 w 1466597"/>
                <a:gd name="connsiteY2615" fmla="*/ 527767 h 790366"/>
                <a:gd name="connsiteX2616" fmla="*/ 667777 w 1466597"/>
                <a:gd name="connsiteY2616" fmla="*/ 528412 h 790366"/>
                <a:gd name="connsiteX2617" fmla="*/ 666928 w 1466597"/>
                <a:gd name="connsiteY2617" fmla="*/ 531185 h 790366"/>
                <a:gd name="connsiteX2618" fmla="*/ 656874 w 1466597"/>
                <a:gd name="connsiteY2618" fmla="*/ 533333 h 790366"/>
                <a:gd name="connsiteX2619" fmla="*/ 646939 w 1466597"/>
                <a:gd name="connsiteY2619" fmla="*/ 532130 h 790366"/>
                <a:gd name="connsiteX2620" fmla="*/ 650415 w 1466597"/>
                <a:gd name="connsiteY2620" fmla="*/ 530606 h 790366"/>
                <a:gd name="connsiteX2621" fmla="*/ 654297 w 1466597"/>
                <a:gd name="connsiteY2621" fmla="*/ 529407 h 790366"/>
                <a:gd name="connsiteX2622" fmla="*/ 657668 w 1466597"/>
                <a:gd name="connsiteY2622" fmla="*/ 526519 h 790366"/>
                <a:gd name="connsiteX2623" fmla="*/ 656235 w 1466597"/>
                <a:gd name="connsiteY2623" fmla="*/ 522656 h 790366"/>
                <a:gd name="connsiteX2624" fmla="*/ 655986 w 1466597"/>
                <a:gd name="connsiteY2624" fmla="*/ 520687 h 790366"/>
                <a:gd name="connsiteX2625" fmla="*/ 656028 w 1466597"/>
                <a:gd name="connsiteY2625" fmla="*/ 518192 h 790366"/>
                <a:gd name="connsiteX2626" fmla="*/ 659709 w 1466597"/>
                <a:gd name="connsiteY2626" fmla="*/ 514685 h 790366"/>
                <a:gd name="connsiteX2627" fmla="*/ 655880 w 1466597"/>
                <a:gd name="connsiteY2627" fmla="*/ 514694 h 790366"/>
                <a:gd name="connsiteX2628" fmla="*/ 653422 w 1466597"/>
                <a:gd name="connsiteY2628" fmla="*/ 515950 h 790366"/>
                <a:gd name="connsiteX2629" fmla="*/ 651120 w 1466597"/>
                <a:gd name="connsiteY2629" fmla="*/ 513314 h 790366"/>
                <a:gd name="connsiteX2630" fmla="*/ 650043 w 1466597"/>
                <a:gd name="connsiteY2630" fmla="*/ 508123 h 790366"/>
                <a:gd name="connsiteX2631" fmla="*/ 652674 w 1466597"/>
                <a:gd name="connsiteY2631" fmla="*/ 505047 h 790366"/>
                <a:gd name="connsiteX2632" fmla="*/ 653897 w 1466597"/>
                <a:gd name="connsiteY2632" fmla="*/ 502675 h 790366"/>
                <a:gd name="connsiteX2633" fmla="*/ 654929 w 1466597"/>
                <a:gd name="connsiteY2633" fmla="*/ 499415 h 790366"/>
                <a:gd name="connsiteX2634" fmla="*/ 655007 w 1466597"/>
                <a:gd name="connsiteY2634" fmla="*/ 496608 h 790366"/>
                <a:gd name="connsiteX2635" fmla="*/ 652967 w 1466597"/>
                <a:gd name="connsiteY2635" fmla="*/ 491850 h 790366"/>
                <a:gd name="connsiteX2636" fmla="*/ 647113 w 1466597"/>
                <a:gd name="connsiteY2636" fmla="*/ 481736 h 790366"/>
                <a:gd name="connsiteX2637" fmla="*/ 644450 w 1466597"/>
                <a:gd name="connsiteY2637" fmla="*/ 474166 h 790366"/>
                <a:gd name="connsiteX2638" fmla="*/ 639888 w 1466597"/>
                <a:gd name="connsiteY2638" fmla="*/ 470124 h 790366"/>
                <a:gd name="connsiteX2639" fmla="*/ 643294 w 1466597"/>
                <a:gd name="connsiteY2639" fmla="*/ 463494 h 790366"/>
                <a:gd name="connsiteX2640" fmla="*/ 647094 w 1466597"/>
                <a:gd name="connsiteY2640" fmla="*/ 457440 h 790366"/>
                <a:gd name="connsiteX2641" fmla="*/ 651999 w 1466597"/>
                <a:gd name="connsiteY2641" fmla="*/ 454726 h 790366"/>
                <a:gd name="connsiteX2642" fmla="*/ 651605 w 1466597"/>
                <a:gd name="connsiteY2642" fmla="*/ 454320 h 790366"/>
                <a:gd name="connsiteX2643" fmla="*/ 648895 w 1466597"/>
                <a:gd name="connsiteY2643" fmla="*/ 454339 h 790366"/>
                <a:gd name="connsiteX2644" fmla="*/ 647115 w 1466597"/>
                <a:gd name="connsiteY2644" fmla="*/ 454699 h 790366"/>
                <a:gd name="connsiteX2645" fmla="*/ 645538 w 1466597"/>
                <a:gd name="connsiteY2645" fmla="*/ 456671 h 790366"/>
                <a:gd name="connsiteX2646" fmla="*/ 643875 w 1466597"/>
                <a:gd name="connsiteY2646" fmla="*/ 458177 h 790366"/>
                <a:gd name="connsiteX2647" fmla="*/ 638680 w 1466597"/>
                <a:gd name="connsiteY2647" fmla="*/ 465883 h 790366"/>
                <a:gd name="connsiteX2648" fmla="*/ 635338 w 1466597"/>
                <a:gd name="connsiteY2648" fmla="*/ 469627 h 790366"/>
                <a:gd name="connsiteX2649" fmla="*/ 633163 w 1466597"/>
                <a:gd name="connsiteY2649" fmla="*/ 470701 h 790366"/>
                <a:gd name="connsiteX2650" fmla="*/ 636664 w 1466597"/>
                <a:gd name="connsiteY2650" fmla="*/ 472150 h 790366"/>
                <a:gd name="connsiteX2651" fmla="*/ 637194 w 1466597"/>
                <a:gd name="connsiteY2651" fmla="*/ 473372 h 790366"/>
                <a:gd name="connsiteX2652" fmla="*/ 637868 w 1466597"/>
                <a:gd name="connsiteY2652" fmla="*/ 476145 h 790366"/>
                <a:gd name="connsiteX2653" fmla="*/ 636972 w 1466597"/>
                <a:gd name="connsiteY2653" fmla="*/ 479511 h 790366"/>
                <a:gd name="connsiteX2654" fmla="*/ 636076 w 1466597"/>
                <a:gd name="connsiteY2654" fmla="*/ 481366 h 790366"/>
                <a:gd name="connsiteX2655" fmla="*/ 631947 w 1466597"/>
                <a:gd name="connsiteY2655" fmla="*/ 481217 h 790366"/>
                <a:gd name="connsiteX2656" fmla="*/ 628242 w 1466597"/>
                <a:gd name="connsiteY2656" fmla="*/ 483917 h 790366"/>
                <a:gd name="connsiteX2657" fmla="*/ 619530 w 1466597"/>
                <a:gd name="connsiteY2657" fmla="*/ 486854 h 790366"/>
                <a:gd name="connsiteX2658" fmla="*/ 607770 w 1466597"/>
                <a:gd name="connsiteY2658" fmla="*/ 488530 h 790366"/>
                <a:gd name="connsiteX2659" fmla="*/ 601992 w 1466597"/>
                <a:gd name="connsiteY2659" fmla="*/ 488331 h 790366"/>
                <a:gd name="connsiteX2660" fmla="*/ 595973 w 1466597"/>
                <a:gd name="connsiteY2660" fmla="*/ 484907 h 790366"/>
                <a:gd name="connsiteX2661" fmla="*/ 596017 w 1466597"/>
                <a:gd name="connsiteY2661" fmla="*/ 482923 h 790366"/>
                <a:gd name="connsiteX2662" fmla="*/ 596261 w 1466597"/>
                <a:gd name="connsiteY2662" fmla="*/ 481194 h 790366"/>
                <a:gd name="connsiteX2663" fmla="*/ 587614 w 1466597"/>
                <a:gd name="connsiteY2663" fmla="*/ 475275 h 790366"/>
                <a:gd name="connsiteX2664" fmla="*/ 582722 w 1466597"/>
                <a:gd name="connsiteY2664" fmla="*/ 469366 h 790366"/>
                <a:gd name="connsiteX2665" fmla="*/ 579209 w 1466597"/>
                <a:gd name="connsiteY2665" fmla="*/ 469234 h 790366"/>
                <a:gd name="connsiteX2666" fmla="*/ 576155 w 1466597"/>
                <a:gd name="connsiteY2666" fmla="*/ 467654 h 790366"/>
                <a:gd name="connsiteX2667" fmla="*/ 572547 w 1466597"/>
                <a:gd name="connsiteY2667" fmla="*/ 465196 h 790366"/>
                <a:gd name="connsiteX2668" fmla="*/ 572863 w 1466597"/>
                <a:gd name="connsiteY2668" fmla="*/ 463212 h 790366"/>
                <a:gd name="connsiteX2669" fmla="*/ 573429 w 1466597"/>
                <a:gd name="connsiteY2669" fmla="*/ 461815 h 790366"/>
                <a:gd name="connsiteX2670" fmla="*/ 571217 w 1466597"/>
                <a:gd name="connsiteY2670" fmla="*/ 460836 h 790366"/>
                <a:gd name="connsiteX2671" fmla="*/ 568379 w 1466597"/>
                <a:gd name="connsiteY2671" fmla="*/ 460932 h 790366"/>
                <a:gd name="connsiteX2672" fmla="*/ 565081 w 1466597"/>
                <a:gd name="connsiteY2672" fmla="*/ 460255 h 790366"/>
                <a:gd name="connsiteX2673" fmla="*/ 573698 w 1466597"/>
                <a:gd name="connsiteY2673" fmla="*/ 452598 h 790366"/>
                <a:gd name="connsiteX2674" fmla="*/ 576662 w 1466597"/>
                <a:gd name="connsiteY2674" fmla="*/ 447459 h 790366"/>
                <a:gd name="connsiteX2675" fmla="*/ 579076 w 1466597"/>
                <a:gd name="connsiteY2675" fmla="*/ 446728 h 790366"/>
                <a:gd name="connsiteX2676" fmla="*/ 582209 w 1466597"/>
                <a:gd name="connsiteY2676" fmla="*/ 447521 h 790366"/>
                <a:gd name="connsiteX2677" fmla="*/ 586532 w 1466597"/>
                <a:gd name="connsiteY2677" fmla="*/ 449549 h 790366"/>
                <a:gd name="connsiteX2678" fmla="*/ 590176 w 1466597"/>
                <a:gd name="connsiteY2678" fmla="*/ 450443 h 790366"/>
                <a:gd name="connsiteX2679" fmla="*/ 591491 w 1466597"/>
                <a:gd name="connsiteY2679" fmla="*/ 451392 h 790366"/>
                <a:gd name="connsiteX2680" fmla="*/ 592839 w 1466597"/>
                <a:gd name="connsiteY2680" fmla="*/ 453191 h 790366"/>
                <a:gd name="connsiteX2681" fmla="*/ 591419 w 1466597"/>
                <a:gd name="connsiteY2681" fmla="*/ 456198 h 790366"/>
                <a:gd name="connsiteX2682" fmla="*/ 590118 w 1466597"/>
                <a:gd name="connsiteY2682" fmla="*/ 458306 h 790366"/>
                <a:gd name="connsiteX2683" fmla="*/ 591717 w 1466597"/>
                <a:gd name="connsiteY2683" fmla="*/ 457735 h 790366"/>
                <a:gd name="connsiteX2684" fmla="*/ 596254 w 1466597"/>
                <a:gd name="connsiteY2684" fmla="*/ 454469 h 790366"/>
                <a:gd name="connsiteX2685" fmla="*/ 599628 w 1466597"/>
                <a:gd name="connsiteY2685" fmla="*/ 451595 h 790366"/>
                <a:gd name="connsiteX2686" fmla="*/ 601246 w 1466597"/>
                <a:gd name="connsiteY2686" fmla="*/ 451893 h 790366"/>
                <a:gd name="connsiteX2687" fmla="*/ 602297 w 1466597"/>
                <a:gd name="connsiteY2687" fmla="*/ 452400 h 790366"/>
                <a:gd name="connsiteX2688" fmla="*/ 604174 w 1466597"/>
                <a:gd name="connsiteY2688" fmla="*/ 455364 h 790366"/>
                <a:gd name="connsiteX2689" fmla="*/ 606506 w 1466597"/>
                <a:gd name="connsiteY2689" fmla="*/ 458377 h 790366"/>
                <a:gd name="connsiteX2690" fmla="*/ 611639 w 1466597"/>
                <a:gd name="connsiteY2690" fmla="*/ 455507 h 790366"/>
                <a:gd name="connsiteX2691" fmla="*/ 614388 w 1466597"/>
                <a:gd name="connsiteY2691" fmla="*/ 451928 h 790366"/>
                <a:gd name="connsiteX2692" fmla="*/ 612068 w 1466597"/>
                <a:gd name="connsiteY2692" fmla="*/ 450356 h 790366"/>
                <a:gd name="connsiteX2693" fmla="*/ 609233 w 1466597"/>
                <a:gd name="connsiteY2693" fmla="*/ 449427 h 790366"/>
                <a:gd name="connsiteX2694" fmla="*/ 602001 w 1466597"/>
                <a:gd name="connsiteY2694" fmla="*/ 448206 h 790366"/>
                <a:gd name="connsiteX2695" fmla="*/ 603766 w 1466597"/>
                <a:gd name="connsiteY2695" fmla="*/ 447177 h 790366"/>
                <a:gd name="connsiteX2696" fmla="*/ 608407 w 1466597"/>
                <a:gd name="connsiteY2696" fmla="*/ 447291 h 790366"/>
                <a:gd name="connsiteX2697" fmla="*/ 610155 w 1466597"/>
                <a:gd name="connsiteY2697" fmla="*/ 446306 h 790366"/>
                <a:gd name="connsiteX2698" fmla="*/ 608316 w 1466597"/>
                <a:gd name="connsiteY2698" fmla="*/ 444943 h 790366"/>
                <a:gd name="connsiteX2699" fmla="*/ 606020 w 1466597"/>
                <a:gd name="connsiteY2699" fmla="*/ 443723 h 790366"/>
                <a:gd name="connsiteX2700" fmla="*/ 599754 w 1466597"/>
                <a:gd name="connsiteY2700" fmla="*/ 447785 h 790366"/>
                <a:gd name="connsiteX2701" fmla="*/ 588352 w 1466597"/>
                <a:gd name="connsiteY2701" fmla="*/ 447581 h 790366"/>
                <a:gd name="connsiteX2702" fmla="*/ 580383 w 1466597"/>
                <a:gd name="connsiteY2702" fmla="*/ 445210 h 790366"/>
                <a:gd name="connsiteX2703" fmla="*/ 572431 w 1466597"/>
                <a:gd name="connsiteY2703" fmla="*/ 445622 h 790366"/>
                <a:gd name="connsiteX2704" fmla="*/ 571177 w 1466597"/>
                <a:gd name="connsiteY2704" fmla="*/ 445151 h 790366"/>
                <a:gd name="connsiteX2705" fmla="*/ 569629 w 1466597"/>
                <a:gd name="connsiteY2705" fmla="*/ 443880 h 790366"/>
                <a:gd name="connsiteX2706" fmla="*/ 574109 w 1466597"/>
                <a:gd name="connsiteY2706" fmla="*/ 440860 h 790366"/>
                <a:gd name="connsiteX2707" fmla="*/ 577281 w 1466597"/>
                <a:gd name="connsiteY2707" fmla="*/ 439188 h 790366"/>
                <a:gd name="connsiteX2708" fmla="*/ 577449 w 1466597"/>
                <a:gd name="connsiteY2708" fmla="*/ 438219 h 790366"/>
                <a:gd name="connsiteX2709" fmla="*/ 575606 w 1466597"/>
                <a:gd name="connsiteY2709" fmla="*/ 438097 h 790366"/>
                <a:gd name="connsiteX2710" fmla="*/ 572140 w 1466597"/>
                <a:gd name="connsiteY2710" fmla="*/ 438900 h 790366"/>
                <a:gd name="connsiteX2711" fmla="*/ 570594 w 1466597"/>
                <a:gd name="connsiteY2711" fmla="*/ 437506 h 790366"/>
                <a:gd name="connsiteX2712" fmla="*/ 570847 w 1466597"/>
                <a:gd name="connsiteY2712" fmla="*/ 435086 h 790366"/>
                <a:gd name="connsiteX2713" fmla="*/ 570279 w 1466597"/>
                <a:gd name="connsiteY2713" fmla="*/ 435303 h 790366"/>
                <a:gd name="connsiteX2714" fmla="*/ 568908 w 1466597"/>
                <a:gd name="connsiteY2714" fmla="*/ 436624 h 790366"/>
                <a:gd name="connsiteX2715" fmla="*/ 566969 w 1466597"/>
                <a:gd name="connsiteY2715" fmla="*/ 435972 h 790366"/>
                <a:gd name="connsiteX2716" fmla="*/ 565309 w 1466597"/>
                <a:gd name="connsiteY2716" fmla="*/ 434882 h 790366"/>
                <a:gd name="connsiteX2717" fmla="*/ 566178 w 1466597"/>
                <a:gd name="connsiteY2717" fmla="*/ 433718 h 790366"/>
                <a:gd name="connsiteX2718" fmla="*/ 567884 w 1466597"/>
                <a:gd name="connsiteY2718" fmla="*/ 432120 h 790366"/>
                <a:gd name="connsiteX2719" fmla="*/ 567126 w 1466597"/>
                <a:gd name="connsiteY2719" fmla="*/ 431883 h 790366"/>
                <a:gd name="connsiteX2720" fmla="*/ 565594 w 1466597"/>
                <a:gd name="connsiteY2720" fmla="*/ 432223 h 790366"/>
                <a:gd name="connsiteX2721" fmla="*/ 564106 w 1466597"/>
                <a:gd name="connsiteY2721" fmla="*/ 434315 h 790366"/>
                <a:gd name="connsiteX2722" fmla="*/ 564431 w 1466597"/>
                <a:gd name="connsiteY2722" fmla="*/ 436007 h 790366"/>
                <a:gd name="connsiteX2723" fmla="*/ 564393 w 1466597"/>
                <a:gd name="connsiteY2723" fmla="*/ 438431 h 790366"/>
                <a:gd name="connsiteX2724" fmla="*/ 561851 w 1466597"/>
                <a:gd name="connsiteY2724" fmla="*/ 438874 h 790366"/>
                <a:gd name="connsiteX2725" fmla="*/ 559672 w 1466597"/>
                <a:gd name="connsiteY2725" fmla="*/ 438584 h 790366"/>
                <a:gd name="connsiteX2726" fmla="*/ 558096 w 1466597"/>
                <a:gd name="connsiteY2726" fmla="*/ 436146 h 790366"/>
                <a:gd name="connsiteX2727" fmla="*/ 556469 w 1466597"/>
                <a:gd name="connsiteY2727" fmla="*/ 430908 h 790366"/>
                <a:gd name="connsiteX2728" fmla="*/ 552068 w 1466597"/>
                <a:gd name="connsiteY2728" fmla="*/ 429516 h 790366"/>
                <a:gd name="connsiteX2729" fmla="*/ 550987 w 1466597"/>
                <a:gd name="connsiteY2729" fmla="*/ 426862 h 790366"/>
                <a:gd name="connsiteX2730" fmla="*/ 553772 w 1466597"/>
                <a:gd name="connsiteY2730" fmla="*/ 423454 h 790366"/>
                <a:gd name="connsiteX2731" fmla="*/ 552543 w 1466597"/>
                <a:gd name="connsiteY2731" fmla="*/ 421694 h 790366"/>
                <a:gd name="connsiteX2732" fmla="*/ 549584 w 1466597"/>
                <a:gd name="connsiteY2732" fmla="*/ 421121 h 790366"/>
                <a:gd name="connsiteX2733" fmla="*/ 546198 w 1466597"/>
                <a:gd name="connsiteY2733" fmla="*/ 422846 h 790366"/>
                <a:gd name="connsiteX2734" fmla="*/ 544700 w 1466597"/>
                <a:gd name="connsiteY2734" fmla="*/ 421314 h 790366"/>
                <a:gd name="connsiteX2735" fmla="*/ 544426 w 1466597"/>
                <a:gd name="connsiteY2735" fmla="*/ 419631 h 790366"/>
                <a:gd name="connsiteX2736" fmla="*/ 544308 w 1466597"/>
                <a:gd name="connsiteY2736" fmla="*/ 417213 h 790366"/>
                <a:gd name="connsiteX2737" fmla="*/ 545252 w 1466597"/>
                <a:gd name="connsiteY2737" fmla="*/ 416959 h 790366"/>
                <a:gd name="connsiteX2738" fmla="*/ 546033 w 1466597"/>
                <a:gd name="connsiteY2738" fmla="*/ 417439 h 790366"/>
                <a:gd name="connsiteX2739" fmla="*/ 552817 w 1466597"/>
                <a:gd name="connsiteY2739" fmla="*/ 416095 h 790366"/>
                <a:gd name="connsiteX2740" fmla="*/ 553470 w 1466597"/>
                <a:gd name="connsiteY2740" fmla="*/ 415441 h 790366"/>
                <a:gd name="connsiteX2741" fmla="*/ 548088 w 1466597"/>
                <a:gd name="connsiteY2741" fmla="*/ 413397 h 790366"/>
                <a:gd name="connsiteX2742" fmla="*/ 546586 w 1466597"/>
                <a:gd name="connsiteY2742" fmla="*/ 411246 h 790366"/>
                <a:gd name="connsiteX2743" fmla="*/ 548816 w 1466597"/>
                <a:gd name="connsiteY2743" fmla="*/ 410026 h 790366"/>
                <a:gd name="connsiteX2744" fmla="*/ 552835 w 1466597"/>
                <a:gd name="connsiteY2744" fmla="*/ 409923 h 790366"/>
                <a:gd name="connsiteX2745" fmla="*/ 558473 w 1466597"/>
                <a:gd name="connsiteY2745" fmla="*/ 408649 h 790366"/>
                <a:gd name="connsiteX2746" fmla="*/ 556102 w 1466597"/>
                <a:gd name="connsiteY2746" fmla="*/ 406363 h 790366"/>
                <a:gd name="connsiteX2747" fmla="*/ 555606 w 1466597"/>
                <a:gd name="connsiteY2747" fmla="*/ 405108 h 790366"/>
                <a:gd name="connsiteX2748" fmla="*/ 555129 w 1466597"/>
                <a:gd name="connsiteY2748" fmla="*/ 403048 h 790366"/>
                <a:gd name="connsiteX2749" fmla="*/ 556064 w 1466597"/>
                <a:gd name="connsiteY2749" fmla="*/ 399552 h 790366"/>
                <a:gd name="connsiteX2750" fmla="*/ 562687 w 1466597"/>
                <a:gd name="connsiteY2750" fmla="*/ 391517 h 790366"/>
                <a:gd name="connsiteX2751" fmla="*/ 569144 w 1466597"/>
                <a:gd name="connsiteY2751" fmla="*/ 384798 h 790366"/>
                <a:gd name="connsiteX2752" fmla="*/ 571157 w 1466597"/>
                <a:gd name="connsiteY2752" fmla="*/ 383244 h 790366"/>
                <a:gd name="connsiteX2753" fmla="*/ 574113 w 1466597"/>
                <a:gd name="connsiteY2753" fmla="*/ 382407 h 790366"/>
                <a:gd name="connsiteX2754" fmla="*/ 576865 w 1466597"/>
                <a:gd name="connsiteY2754" fmla="*/ 383051 h 790366"/>
                <a:gd name="connsiteX2755" fmla="*/ 579739 w 1466597"/>
                <a:gd name="connsiteY2755" fmla="*/ 384496 h 790366"/>
                <a:gd name="connsiteX2756" fmla="*/ 580284 w 1466597"/>
                <a:gd name="connsiteY2756" fmla="*/ 383878 h 790366"/>
                <a:gd name="connsiteX2757" fmla="*/ 579308 w 1466597"/>
                <a:gd name="connsiteY2757" fmla="*/ 383287 h 790366"/>
                <a:gd name="connsiteX2758" fmla="*/ 578076 w 1466597"/>
                <a:gd name="connsiteY2758" fmla="*/ 380529 h 790366"/>
                <a:gd name="connsiteX2759" fmla="*/ 582066 w 1466597"/>
                <a:gd name="connsiteY2759" fmla="*/ 379447 h 790366"/>
                <a:gd name="connsiteX2760" fmla="*/ 584405 w 1466597"/>
                <a:gd name="connsiteY2760" fmla="*/ 376328 h 790366"/>
                <a:gd name="connsiteX2761" fmla="*/ 584580 w 1466597"/>
                <a:gd name="connsiteY2761" fmla="*/ 375424 h 790366"/>
                <a:gd name="connsiteX2762" fmla="*/ 582040 w 1466597"/>
                <a:gd name="connsiteY2762" fmla="*/ 376723 h 790366"/>
                <a:gd name="connsiteX2763" fmla="*/ 579395 w 1466597"/>
                <a:gd name="connsiteY2763" fmla="*/ 378854 h 790366"/>
                <a:gd name="connsiteX2764" fmla="*/ 578733 w 1466597"/>
                <a:gd name="connsiteY2764" fmla="*/ 376711 h 790366"/>
                <a:gd name="connsiteX2765" fmla="*/ 578050 w 1466597"/>
                <a:gd name="connsiteY2765" fmla="*/ 371773 h 790366"/>
                <a:gd name="connsiteX2766" fmla="*/ 579217 w 1466597"/>
                <a:gd name="connsiteY2766" fmla="*/ 367098 h 790366"/>
                <a:gd name="connsiteX2767" fmla="*/ 580126 w 1466597"/>
                <a:gd name="connsiteY2767" fmla="*/ 364998 h 790366"/>
                <a:gd name="connsiteX2768" fmla="*/ 582335 w 1466597"/>
                <a:gd name="connsiteY2768" fmla="*/ 363002 h 790366"/>
                <a:gd name="connsiteX2769" fmla="*/ 588695 w 1466597"/>
                <a:gd name="connsiteY2769" fmla="*/ 362202 h 790366"/>
                <a:gd name="connsiteX2770" fmla="*/ 589815 w 1466597"/>
                <a:gd name="connsiteY2770" fmla="*/ 362602 h 790366"/>
                <a:gd name="connsiteX2771" fmla="*/ 590048 w 1466597"/>
                <a:gd name="connsiteY2771" fmla="*/ 361659 h 790366"/>
                <a:gd name="connsiteX2772" fmla="*/ 586219 w 1466597"/>
                <a:gd name="connsiteY2772" fmla="*/ 358708 h 790366"/>
                <a:gd name="connsiteX2773" fmla="*/ 587799 w 1466597"/>
                <a:gd name="connsiteY2773" fmla="*/ 356397 h 790366"/>
                <a:gd name="connsiteX2774" fmla="*/ 589182 w 1466597"/>
                <a:gd name="connsiteY2774" fmla="*/ 355200 h 790366"/>
                <a:gd name="connsiteX2775" fmla="*/ 596871 w 1466597"/>
                <a:gd name="connsiteY2775" fmla="*/ 353324 h 790366"/>
                <a:gd name="connsiteX2776" fmla="*/ 601074 w 1466597"/>
                <a:gd name="connsiteY2776" fmla="*/ 353906 h 790366"/>
                <a:gd name="connsiteX2777" fmla="*/ 606345 w 1466597"/>
                <a:gd name="connsiteY2777" fmla="*/ 356091 h 790366"/>
                <a:gd name="connsiteX2778" fmla="*/ 609404 w 1466597"/>
                <a:gd name="connsiteY2778" fmla="*/ 358807 h 790366"/>
                <a:gd name="connsiteX2779" fmla="*/ 608960 w 1466597"/>
                <a:gd name="connsiteY2779" fmla="*/ 360200 h 790366"/>
                <a:gd name="connsiteX2780" fmla="*/ 608199 w 1466597"/>
                <a:gd name="connsiteY2780" fmla="*/ 361006 h 790366"/>
                <a:gd name="connsiteX2781" fmla="*/ 606612 w 1466597"/>
                <a:gd name="connsiteY2781" fmla="*/ 361907 h 790366"/>
                <a:gd name="connsiteX2782" fmla="*/ 606021 w 1466597"/>
                <a:gd name="connsiteY2782" fmla="*/ 362608 h 790366"/>
                <a:gd name="connsiteX2783" fmla="*/ 606304 w 1466597"/>
                <a:gd name="connsiteY2783" fmla="*/ 363165 h 790366"/>
                <a:gd name="connsiteX2784" fmla="*/ 608561 w 1466597"/>
                <a:gd name="connsiteY2784" fmla="*/ 361547 h 790366"/>
                <a:gd name="connsiteX2785" fmla="*/ 612261 w 1466597"/>
                <a:gd name="connsiteY2785" fmla="*/ 359581 h 790366"/>
                <a:gd name="connsiteX2786" fmla="*/ 614331 w 1466597"/>
                <a:gd name="connsiteY2786" fmla="*/ 360437 h 790366"/>
                <a:gd name="connsiteX2787" fmla="*/ 615973 w 1466597"/>
                <a:gd name="connsiteY2787" fmla="*/ 361989 h 790366"/>
                <a:gd name="connsiteX2788" fmla="*/ 617783 w 1466597"/>
                <a:gd name="connsiteY2788" fmla="*/ 361963 h 790366"/>
                <a:gd name="connsiteX2789" fmla="*/ 623538 w 1466597"/>
                <a:gd name="connsiteY2789" fmla="*/ 360628 h 790366"/>
                <a:gd name="connsiteX2790" fmla="*/ 626461 w 1466597"/>
                <a:gd name="connsiteY2790" fmla="*/ 359214 h 790366"/>
                <a:gd name="connsiteX2791" fmla="*/ 630031 w 1466597"/>
                <a:gd name="connsiteY2791" fmla="*/ 355539 h 790366"/>
                <a:gd name="connsiteX2792" fmla="*/ 634783 w 1466597"/>
                <a:gd name="connsiteY2792" fmla="*/ 353159 h 790366"/>
                <a:gd name="connsiteX2793" fmla="*/ 641458 w 1466597"/>
                <a:gd name="connsiteY2793" fmla="*/ 345640 h 790366"/>
                <a:gd name="connsiteX2794" fmla="*/ 643423 w 1466597"/>
                <a:gd name="connsiteY2794" fmla="*/ 342548 h 790366"/>
                <a:gd name="connsiteX2795" fmla="*/ 645705 w 1466597"/>
                <a:gd name="connsiteY2795" fmla="*/ 342072 h 790366"/>
                <a:gd name="connsiteX2796" fmla="*/ 647766 w 1466597"/>
                <a:gd name="connsiteY2796" fmla="*/ 342346 h 790366"/>
                <a:gd name="connsiteX2797" fmla="*/ 649203 w 1466597"/>
                <a:gd name="connsiteY2797" fmla="*/ 344883 h 790366"/>
                <a:gd name="connsiteX2798" fmla="*/ 651301 w 1466597"/>
                <a:gd name="connsiteY2798" fmla="*/ 345625 h 790366"/>
                <a:gd name="connsiteX2799" fmla="*/ 663253 w 1466597"/>
                <a:gd name="connsiteY2799" fmla="*/ 345011 h 790366"/>
                <a:gd name="connsiteX2800" fmla="*/ 669360 w 1466597"/>
                <a:gd name="connsiteY2800" fmla="*/ 343848 h 790366"/>
                <a:gd name="connsiteX2801" fmla="*/ 673604 w 1466597"/>
                <a:gd name="connsiteY2801" fmla="*/ 341387 h 790366"/>
                <a:gd name="connsiteX2802" fmla="*/ 678016 w 1466597"/>
                <a:gd name="connsiteY2802" fmla="*/ 337237 h 790366"/>
                <a:gd name="connsiteX2803" fmla="*/ 680573 w 1466597"/>
                <a:gd name="connsiteY2803" fmla="*/ 334451 h 790366"/>
                <a:gd name="connsiteX2804" fmla="*/ 681796 w 1466597"/>
                <a:gd name="connsiteY2804" fmla="*/ 330817 h 790366"/>
                <a:gd name="connsiteX2805" fmla="*/ 680215 w 1466597"/>
                <a:gd name="connsiteY2805" fmla="*/ 326107 h 790366"/>
                <a:gd name="connsiteX2806" fmla="*/ 678597 w 1466597"/>
                <a:gd name="connsiteY2806" fmla="*/ 322187 h 790366"/>
                <a:gd name="connsiteX2807" fmla="*/ 676465 w 1466597"/>
                <a:gd name="connsiteY2807" fmla="*/ 313206 h 790366"/>
                <a:gd name="connsiteX2808" fmla="*/ 670531 w 1466597"/>
                <a:gd name="connsiteY2808" fmla="*/ 307256 h 790366"/>
                <a:gd name="connsiteX2809" fmla="*/ 666308 w 1466597"/>
                <a:gd name="connsiteY2809" fmla="*/ 305478 h 790366"/>
                <a:gd name="connsiteX2810" fmla="*/ 663628 w 1466597"/>
                <a:gd name="connsiteY2810" fmla="*/ 305730 h 790366"/>
                <a:gd name="connsiteX2811" fmla="*/ 665570 w 1466597"/>
                <a:gd name="connsiteY2811" fmla="*/ 301930 h 790366"/>
                <a:gd name="connsiteX2812" fmla="*/ 671221 w 1466597"/>
                <a:gd name="connsiteY2812" fmla="*/ 302339 h 790366"/>
                <a:gd name="connsiteX2813" fmla="*/ 674901 w 1466597"/>
                <a:gd name="connsiteY2813" fmla="*/ 301597 h 790366"/>
                <a:gd name="connsiteX2814" fmla="*/ 677882 w 1466597"/>
                <a:gd name="connsiteY2814" fmla="*/ 299762 h 790366"/>
                <a:gd name="connsiteX2815" fmla="*/ 678857 w 1466597"/>
                <a:gd name="connsiteY2815" fmla="*/ 298373 h 790366"/>
                <a:gd name="connsiteX2816" fmla="*/ 680329 w 1466597"/>
                <a:gd name="connsiteY2816" fmla="*/ 295530 h 790366"/>
                <a:gd name="connsiteX2817" fmla="*/ 679822 w 1466597"/>
                <a:gd name="connsiteY2817" fmla="*/ 292491 h 790366"/>
                <a:gd name="connsiteX2818" fmla="*/ 679030 w 1466597"/>
                <a:gd name="connsiteY2818" fmla="*/ 290844 h 790366"/>
                <a:gd name="connsiteX2819" fmla="*/ 676976 w 1466597"/>
                <a:gd name="connsiteY2819" fmla="*/ 289026 h 790366"/>
                <a:gd name="connsiteX2820" fmla="*/ 674533 w 1466597"/>
                <a:gd name="connsiteY2820" fmla="*/ 286362 h 790366"/>
                <a:gd name="connsiteX2821" fmla="*/ 672826 w 1466597"/>
                <a:gd name="connsiteY2821" fmla="*/ 285474 h 790366"/>
                <a:gd name="connsiteX2822" fmla="*/ 671378 w 1466597"/>
                <a:gd name="connsiteY2822" fmla="*/ 285534 h 790366"/>
                <a:gd name="connsiteX2823" fmla="*/ 664249 w 1466597"/>
                <a:gd name="connsiteY2823" fmla="*/ 290872 h 790366"/>
                <a:gd name="connsiteX2824" fmla="*/ 659975 w 1466597"/>
                <a:gd name="connsiteY2824" fmla="*/ 290970 h 790366"/>
                <a:gd name="connsiteX2825" fmla="*/ 656775 w 1466597"/>
                <a:gd name="connsiteY2825" fmla="*/ 289988 h 790366"/>
                <a:gd name="connsiteX2826" fmla="*/ 653996 w 1466597"/>
                <a:gd name="connsiteY2826" fmla="*/ 293026 h 790366"/>
                <a:gd name="connsiteX2827" fmla="*/ 646242 w 1466597"/>
                <a:gd name="connsiteY2827" fmla="*/ 295688 h 790366"/>
                <a:gd name="connsiteX2828" fmla="*/ 642101 w 1466597"/>
                <a:gd name="connsiteY2828" fmla="*/ 298374 h 790366"/>
                <a:gd name="connsiteX2829" fmla="*/ 634420 w 1466597"/>
                <a:gd name="connsiteY2829" fmla="*/ 305031 h 790366"/>
                <a:gd name="connsiteX2830" fmla="*/ 632496 w 1466597"/>
                <a:gd name="connsiteY2830" fmla="*/ 308037 h 790366"/>
                <a:gd name="connsiteX2831" fmla="*/ 630049 w 1466597"/>
                <a:gd name="connsiteY2831" fmla="*/ 308173 h 790366"/>
                <a:gd name="connsiteX2832" fmla="*/ 628280 w 1466597"/>
                <a:gd name="connsiteY2832" fmla="*/ 302339 h 790366"/>
                <a:gd name="connsiteX2833" fmla="*/ 619924 w 1466597"/>
                <a:gd name="connsiteY2833" fmla="*/ 296762 h 790366"/>
                <a:gd name="connsiteX2834" fmla="*/ 617401 w 1466597"/>
                <a:gd name="connsiteY2834" fmla="*/ 298660 h 790366"/>
                <a:gd name="connsiteX2835" fmla="*/ 618793 w 1466597"/>
                <a:gd name="connsiteY2835" fmla="*/ 300413 h 790366"/>
                <a:gd name="connsiteX2836" fmla="*/ 620686 w 1466597"/>
                <a:gd name="connsiteY2836" fmla="*/ 301660 h 790366"/>
                <a:gd name="connsiteX2837" fmla="*/ 623807 w 1466597"/>
                <a:gd name="connsiteY2837" fmla="*/ 302203 h 790366"/>
                <a:gd name="connsiteX2838" fmla="*/ 622461 w 1466597"/>
                <a:gd name="connsiteY2838" fmla="*/ 303892 h 790366"/>
                <a:gd name="connsiteX2839" fmla="*/ 621446 w 1466597"/>
                <a:gd name="connsiteY2839" fmla="*/ 306139 h 790366"/>
                <a:gd name="connsiteX2840" fmla="*/ 618315 w 1466597"/>
                <a:gd name="connsiteY2840" fmla="*/ 304031 h 790366"/>
                <a:gd name="connsiteX2841" fmla="*/ 612724 w 1466597"/>
                <a:gd name="connsiteY2841" fmla="*/ 300968 h 790366"/>
                <a:gd name="connsiteX2842" fmla="*/ 606935 w 1466597"/>
                <a:gd name="connsiteY2842" fmla="*/ 299387 h 790366"/>
                <a:gd name="connsiteX2843" fmla="*/ 591863 w 1466597"/>
                <a:gd name="connsiteY2843" fmla="*/ 299563 h 790366"/>
                <a:gd name="connsiteX2844" fmla="*/ 581968 w 1466597"/>
                <a:gd name="connsiteY2844" fmla="*/ 302708 h 790366"/>
                <a:gd name="connsiteX2845" fmla="*/ 581057 w 1466597"/>
                <a:gd name="connsiteY2845" fmla="*/ 302056 h 790366"/>
                <a:gd name="connsiteX2846" fmla="*/ 580103 w 1466597"/>
                <a:gd name="connsiteY2846" fmla="*/ 301796 h 790366"/>
                <a:gd name="connsiteX2847" fmla="*/ 578455 w 1466597"/>
                <a:gd name="connsiteY2847" fmla="*/ 302546 h 790366"/>
                <a:gd name="connsiteX2848" fmla="*/ 577747 w 1466597"/>
                <a:gd name="connsiteY2848" fmla="*/ 303822 h 790366"/>
                <a:gd name="connsiteX2849" fmla="*/ 576670 w 1466597"/>
                <a:gd name="connsiteY2849" fmla="*/ 304629 h 790366"/>
                <a:gd name="connsiteX2850" fmla="*/ 574648 w 1466597"/>
                <a:gd name="connsiteY2850" fmla="*/ 304915 h 790366"/>
                <a:gd name="connsiteX2851" fmla="*/ 570582 w 1466597"/>
                <a:gd name="connsiteY2851" fmla="*/ 304440 h 790366"/>
                <a:gd name="connsiteX2852" fmla="*/ 562724 w 1466597"/>
                <a:gd name="connsiteY2852" fmla="*/ 302486 h 790366"/>
                <a:gd name="connsiteX2853" fmla="*/ 544954 w 1466597"/>
                <a:gd name="connsiteY2853" fmla="*/ 299611 h 790366"/>
                <a:gd name="connsiteX2854" fmla="*/ 540303 w 1466597"/>
                <a:gd name="connsiteY2854" fmla="*/ 297844 h 790366"/>
                <a:gd name="connsiteX2855" fmla="*/ 536316 w 1466597"/>
                <a:gd name="connsiteY2855" fmla="*/ 293627 h 790366"/>
                <a:gd name="connsiteX2856" fmla="*/ 536400 w 1466597"/>
                <a:gd name="connsiteY2856" fmla="*/ 290761 h 790366"/>
                <a:gd name="connsiteX2857" fmla="*/ 538171 w 1466597"/>
                <a:gd name="connsiteY2857" fmla="*/ 289547 h 790366"/>
                <a:gd name="connsiteX2858" fmla="*/ 538004 w 1466597"/>
                <a:gd name="connsiteY2858" fmla="*/ 285431 h 790366"/>
                <a:gd name="connsiteX2859" fmla="*/ 534544 w 1466597"/>
                <a:gd name="connsiteY2859" fmla="*/ 284334 h 790366"/>
                <a:gd name="connsiteX2860" fmla="*/ 527501 w 1466597"/>
                <a:gd name="connsiteY2860" fmla="*/ 278403 h 790366"/>
                <a:gd name="connsiteX2861" fmla="*/ 524912 w 1466597"/>
                <a:gd name="connsiteY2861" fmla="*/ 275869 h 790366"/>
                <a:gd name="connsiteX2862" fmla="*/ 525475 w 1466597"/>
                <a:gd name="connsiteY2862" fmla="*/ 275590 h 790366"/>
                <a:gd name="connsiteX2863" fmla="*/ 526739 w 1466597"/>
                <a:gd name="connsiteY2863" fmla="*/ 276278 h 790366"/>
                <a:gd name="connsiteX2864" fmla="*/ 529144 w 1466597"/>
                <a:gd name="connsiteY2864" fmla="*/ 276791 h 790366"/>
                <a:gd name="connsiteX2865" fmla="*/ 535050 w 1466597"/>
                <a:gd name="connsiteY2865" fmla="*/ 275967 h 790366"/>
                <a:gd name="connsiteX2866" fmla="*/ 537075 w 1466597"/>
                <a:gd name="connsiteY2866" fmla="*/ 272118 h 790366"/>
                <a:gd name="connsiteX2867" fmla="*/ 541462 w 1466597"/>
                <a:gd name="connsiteY2867" fmla="*/ 271015 h 790366"/>
                <a:gd name="connsiteX2868" fmla="*/ 545497 w 1466597"/>
                <a:gd name="connsiteY2868" fmla="*/ 271557 h 790366"/>
                <a:gd name="connsiteX2869" fmla="*/ 544591 w 1466597"/>
                <a:gd name="connsiteY2869" fmla="*/ 270513 h 790366"/>
                <a:gd name="connsiteX2870" fmla="*/ 543561 w 1466597"/>
                <a:gd name="connsiteY2870" fmla="*/ 269691 h 790366"/>
                <a:gd name="connsiteX2871" fmla="*/ 533051 w 1466597"/>
                <a:gd name="connsiteY2871" fmla="*/ 267725 h 790366"/>
                <a:gd name="connsiteX2872" fmla="*/ 531624 w 1466597"/>
                <a:gd name="connsiteY2872" fmla="*/ 268329 h 790366"/>
                <a:gd name="connsiteX2873" fmla="*/ 512780 w 1466597"/>
                <a:gd name="connsiteY2873" fmla="*/ 264831 h 790366"/>
                <a:gd name="connsiteX2874" fmla="*/ 497902 w 1466597"/>
                <a:gd name="connsiteY2874" fmla="*/ 258742 h 790366"/>
                <a:gd name="connsiteX2875" fmla="*/ 496683 w 1466597"/>
                <a:gd name="connsiteY2875" fmla="*/ 257575 h 790366"/>
                <a:gd name="connsiteX2876" fmla="*/ 495322 w 1466597"/>
                <a:gd name="connsiteY2876" fmla="*/ 254972 h 790366"/>
                <a:gd name="connsiteX2877" fmla="*/ 497329 w 1466597"/>
                <a:gd name="connsiteY2877" fmla="*/ 252397 h 790366"/>
                <a:gd name="connsiteX2878" fmla="*/ 499348 w 1466597"/>
                <a:gd name="connsiteY2878" fmla="*/ 251179 h 790366"/>
                <a:gd name="connsiteX2879" fmla="*/ 499440 w 1466597"/>
                <a:gd name="connsiteY2879" fmla="*/ 252597 h 790366"/>
                <a:gd name="connsiteX2880" fmla="*/ 499761 w 1466597"/>
                <a:gd name="connsiteY2880" fmla="*/ 253989 h 790366"/>
                <a:gd name="connsiteX2881" fmla="*/ 508290 w 1466597"/>
                <a:gd name="connsiteY2881" fmla="*/ 250751 h 790366"/>
                <a:gd name="connsiteX2882" fmla="*/ 512747 w 1466597"/>
                <a:gd name="connsiteY2882" fmla="*/ 246504 h 790366"/>
                <a:gd name="connsiteX2883" fmla="*/ 521194 w 1466597"/>
                <a:gd name="connsiteY2883" fmla="*/ 245758 h 790366"/>
                <a:gd name="connsiteX2884" fmla="*/ 523158 w 1466597"/>
                <a:gd name="connsiteY2884" fmla="*/ 244584 h 790366"/>
                <a:gd name="connsiteX2885" fmla="*/ 525779 w 1466597"/>
                <a:gd name="connsiteY2885" fmla="*/ 242297 h 790366"/>
                <a:gd name="connsiteX2886" fmla="*/ 529525 w 1466597"/>
                <a:gd name="connsiteY2886" fmla="*/ 238388 h 790366"/>
                <a:gd name="connsiteX2887" fmla="*/ 534818 w 1466597"/>
                <a:gd name="connsiteY2887" fmla="*/ 236326 h 790366"/>
                <a:gd name="connsiteX2888" fmla="*/ 538426 w 1466597"/>
                <a:gd name="connsiteY2888" fmla="*/ 234474 h 790366"/>
                <a:gd name="connsiteX2889" fmla="*/ 543122 w 1466597"/>
                <a:gd name="connsiteY2889" fmla="*/ 233381 h 790366"/>
                <a:gd name="connsiteX2890" fmla="*/ 547132 w 1466597"/>
                <a:gd name="connsiteY2890" fmla="*/ 235201 h 790366"/>
                <a:gd name="connsiteX2891" fmla="*/ 548368 w 1466597"/>
                <a:gd name="connsiteY2891" fmla="*/ 235450 h 790366"/>
                <a:gd name="connsiteX2892" fmla="*/ 555646 w 1466597"/>
                <a:gd name="connsiteY2892" fmla="*/ 235823 h 790366"/>
                <a:gd name="connsiteX2893" fmla="*/ 558038 w 1466597"/>
                <a:gd name="connsiteY2893" fmla="*/ 235033 h 790366"/>
                <a:gd name="connsiteX2894" fmla="*/ 559056 w 1466597"/>
                <a:gd name="connsiteY2894" fmla="*/ 234446 h 790366"/>
                <a:gd name="connsiteX2895" fmla="*/ 559815 w 1466597"/>
                <a:gd name="connsiteY2895" fmla="*/ 233515 h 790366"/>
                <a:gd name="connsiteX2896" fmla="*/ 552671 w 1466597"/>
                <a:gd name="connsiteY2896" fmla="*/ 230212 h 790366"/>
                <a:gd name="connsiteX2897" fmla="*/ 553397 w 1466597"/>
                <a:gd name="connsiteY2897" fmla="*/ 228371 h 790366"/>
                <a:gd name="connsiteX2898" fmla="*/ 554306 w 1466597"/>
                <a:gd name="connsiteY2898" fmla="*/ 227075 h 790366"/>
                <a:gd name="connsiteX2899" fmla="*/ 562641 w 1466597"/>
                <a:gd name="connsiteY2899" fmla="*/ 223216 h 790366"/>
                <a:gd name="connsiteX2900" fmla="*/ 569048 w 1466597"/>
                <a:gd name="connsiteY2900" fmla="*/ 221939 h 790366"/>
                <a:gd name="connsiteX2901" fmla="*/ 572475 w 1466597"/>
                <a:gd name="connsiteY2901" fmla="*/ 222027 h 790366"/>
                <a:gd name="connsiteX2902" fmla="*/ 582421 w 1466597"/>
                <a:gd name="connsiteY2902" fmla="*/ 217037 h 790366"/>
                <a:gd name="connsiteX2903" fmla="*/ 587869 w 1466597"/>
                <a:gd name="connsiteY2903" fmla="*/ 215614 h 790366"/>
                <a:gd name="connsiteX2904" fmla="*/ 598131 w 1466597"/>
                <a:gd name="connsiteY2904" fmla="*/ 214662 h 790366"/>
                <a:gd name="connsiteX2905" fmla="*/ 606563 w 1466597"/>
                <a:gd name="connsiteY2905" fmla="*/ 214416 h 790366"/>
                <a:gd name="connsiteX2906" fmla="*/ 608845 w 1466597"/>
                <a:gd name="connsiteY2906" fmla="*/ 216200 h 790366"/>
                <a:gd name="connsiteX2907" fmla="*/ 604318 w 1466597"/>
                <a:gd name="connsiteY2907" fmla="*/ 215823 h 790366"/>
                <a:gd name="connsiteX2908" fmla="*/ 602322 w 1466597"/>
                <a:gd name="connsiteY2908" fmla="*/ 216149 h 790366"/>
                <a:gd name="connsiteX2909" fmla="*/ 603743 w 1466597"/>
                <a:gd name="connsiteY2909" fmla="*/ 216758 h 790366"/>
                <a:gd name="connsiteX2910" fmla="*/ 605344 w 1466597"/>
                <a:gd name="connsiteY2910" fmla="*/ 218056 h 790366"/>
                <a:gd name="connsiteX2911" fmla="*/ 604880 w 1466597"/>
                <a:gd name="connsiteY2911" fmla="*/ 219696 h 790366"/>
                <a:gd name="connsiteX2912" fmla="*/ 602095 w 1466597"/>
                <a:gd name="connsiteY2912" fmla="*/ 224555 h 790366"/>
                <a:gd name="connsiteX2913" fmla="*/ 602322 w 1466597"/>
                <a:gd name="connsiteY2913" fmla="*/ 228439 h 790366"/>
                <a:gd name="connsiteX2914" fmla="*/ 600509 w 1466597"/>
                <a:gd name="connsiteY2914" fmla="*/ 229692 h 790366"/>
                <a:gd name="connsiteX2915" fmla="*/ 598756 w 1466597"/>
                <a:gd name="connsiteY2915" fmla="*/ 231465 h 790366"/>
                <a:gd name="connsiteX2916" fmla="*/ 607388 w 1466597"/>
                <a:gd name="connsiteY2916" fmla="*/ 237036 h 790366"/>
                <a:gd name="connsiteX2917" fmla="*/ 620753 w 1466597"/>
                <a:gd name="connsiteY2917" fmla="*/ 237391 h 790366"/>
                <a:gd name="connsiteX2918" fmla="*/ 628022 w 1466597"/>
                <a:gd name="connsiteY2918" fmla="*/ 236386 h 790366"/>
                <a:gd name="connsiteX2919" fmla="*/ 632224 w 1466597"/>
                <a:gd name="connsiteY2919" fmla="*/ 238051 h 790366"/>
                <a:gd name="connsiteX2920" fmla="*/ 635665 w 1466597"/>
                <a:gd name="connsiteY2920" fmla="*/ 238430 h 790366"/>
                <a:gd name="connsiteX2921" fmla="*/ 645170 w 1466597"/>
                <a:gd name="connsiteY2921" fmla="*/ 237577 h 790366"/>
                <a:gd name="connsiteX2922" fmla="*/ 652328 w 1466597"/>
                <a:gd name="connsiteY2922" fmla="*/ 238767 h 790366"/>
                <a:gd name="connsiteX2923" fmla="*/ 655323 w 1466597"/>
                <a:gd name="connsiteY2923" fmla="*/ 238310 h 790366"/>
                <a:gd name="connsiteX2924" fmla="*/ 661941 w 1466597"/>
                <a:gd name="connsiteY2924" fmla="*/ 229981 h 790366"/>
                <a:gd name="connsiteX2925" fmla="*/ 664529 w 1466597"/>
                <a:gd name="connsiteY2925" fmla="*/ 228672 h 790366"/>
                <a:gd name="connsiteX2926" fmla="*/ 667344 w 1466597"/>
                <a:gd name="connsiteY2926" fmla="*/ 230124 h 790366"/>
                <a:gd name="connsiteX2927" fmla="*/ 671017 w 1466597"/>
                <a:gd name="connsiteY2927" fmla="*/ 231301 h 790366"/>
                <a:gd name="connsiteX2928" fmla="*/ 673360 w 1466597"/>
                <a:gd name="connsiteY2928" fmla="*/ 230448 h 790366"/>
                <a:gd name="connsiteX2929" fmla="*/ 675272 w 1466597"/>
                <a:gd name="connsiteY2929" fmla="*/ 232595 h 790366"/>
                <a:gd name="connsiteX2930" fmla="*/ 674373 w 1466597"/>
                <a:gd name="connsiteY2930" fmla="*/ 228111 h 790366"/>
                <a:gd name="connsiteX2931" fmla="*/ 673077 w 1466597"/>
                <a:gd name="connsiteY2931" fmla="*/ 226427 h 790366"/>
                <a:gd name="connsiteX2932" fmla="*/ 662258 w 1466597"/>
                <a:gd name="connsiteY2932" fmla="*/ 223338 h 790366"/>
                <a:gd name="connsiteX2933" fmla="*/ 655020 w 1466597"/>
                <a:gd name="connsiteY2933" fmla="*/ 224874 h 790366"/>
                <a:gd name="connsiteX2934" fmla="*/ 652757 w 1466597"/>
                <a:gd name="connsiteY2934" fmla="*/ 223134 h 790366"/>
                <a:gd name="connsiteX2935" fmla="*/ 653504 w 1466597"/>
                <a:gd name="connsiteY2935" fmla="*/ 219678 h 790366"/>
                <a:gd name="connsiteX2936" fmla="*/ 645760 w 1466597"/>
                <a:gd name="connsiteY2936" fmla="*/ 211143 h 790366"/>
                <a:gd name="connsiteX2937" fmla="*/ 642531 w 1466597"/>
                <a:gd name="connsiteY2937" fmla="*/ 209407 h 790366"/>
                <a:gd name="connsiteX2938" fmla="*/ 638713 w 1466597"/>
                <a:gd name="connsiteY2938" fmla="*/ 209325 h 790366"/>
                <a:gd name="connsiteX2939" fmla="*/ 636768 w 1466597"/>
                <a:gd name="connsiteY2939" fmla="*/ 206351 h 790366"/>
                <a:gd name="connsiteX2940" fmla="*/ 635142 w 1466597"/>
                <a:gd name="connsiteY2940" fmla="*/ 202525 h 790366"/>
                <a:gd name="connsiteX2941" fmla="*/ 638435 w 1466597"/>
                <a:gd name="connsiteY2941" fmla="*/ 200961 h 790366"/>
                <a:gd name="connsiteX2942" fmla="*/ 641412 w 1466597"/>
                <a:gd name="connsiteY2942" fmla="*/ 200252 h 790366"/>
                <a:gd name="connsiteX2943" fmla="*/ 644168 w 1466597"/>
                <a:gd name="connsiteY2943" fmla="*/ 201483 h 790366"/>
                <a:gd name="connsiteX2944" fmla="*/ 647285 w 1466597"/>
                <a:gd name="connsiteY2944" fmla="*/ 206512 h 790366"/>
                <a:gd name="connsiteX2945" fmla="*/ 650188 w 1466597"/>
                <a:gd name="connsiteY2945" fmla="*/ 207249 h 790366"/>
                <a:gd name="connsiteX2946" fmla="*/ 649343 w 1466597"/>
                <a:gd name="connsiteY2946" fmla="*/ 212247 h 790366"/>
                <a:gd name="connsiteX2947" fmla="*/ 652942 w 1466597"/>
                <a:gd name="connsiteY2947" fmla="*/ 216842 h 790366"/>
                <a:gd name="connsiteX2948" fmla="*/ 661069 w 1466597"/>
                <a:gd name="connsiteY2948" fmla="*/ 221106 h 790366"/>
                <a:gd name="connsiteX2949" fmla="*/ 667577 w 1466597"/>
                <a:gd name="connsiteY2949" fmla="*/ 219538 h 790366"/>
                <a:gd name="connsiteX2950" fmla="*/ 672172 w 1466597"/>
                <a:gd name="connsiteY2950" fmla="*/ 219581 h 790366"/>
                <a:gd name="connsiteX2951" fmla="*/ 674919 w 1466597"/>
                <a:gd name="connsiteY2951" fmla="*/ 220480 h 790366"/>
                <a:gd name="connsiteX2952" fmla="*/ 681645 w 1466597"/>
                <a:gd name="connsiteY2952" fmla="*/ 224300 h 790366"/>
                <a:gd name="connsiteX2953" fmla="*/ 685061 w 1466597"/>
                <a:gd name="connsiteY2953" fmla="*/ 224780 h 790366"/>
                <a:gd name="connsiteX2954" fmla="*/ 695746 w 1466597"/>
                <a:gd name="connsiteY2954" fmla="*/ 222775 h 790366"/>
                <a:gd name="connsiteX2955" fmla="*/ 695857 w 1466597"/>
                <a:gd name="connsiteY2955" fmla="*/ 219018 h 790366"/>
                <a:gd name="connsiteX2956" fmla="*/ 694959 w 1466597"/>
                <a:gd name="connsiteY2956" fmla="*/ 216294 h 790366"/>
                <a:gd name="connsiteX2957" fmla="*/ 692450 w 1466597"/>
                <a:gd name="connsiteY2957" fmla="*/ 214586 h 790366"/>
                <a:gd name="connsiteX2958" fmla="*/ 685234 w 1466597"/>
                <a:gd name="connsiteY2958" fmla="*/ 214907 h 790366"/>
                <a:gd name="connsiteX2959" fmla="*/ 679616 w 1466597"/>
                <a:gd name="connsiteY2959" fmla="*/ 212094 h 790366"/>
                <a:gd name="connsiteX2960" fmla="*/ 674833 w 1466597"/>
                <a:gd name="connsiteY2960" fmla="*/ 212866 h 790366"/>
                <a:gd name="connsiteX2961" fmla="*/ 665993 w 1466597"/>
                <a:gd name="connsiteY2961" fmla="*/ 217173 h 790366"/>
                <a:gd name="connsiteX2962" fmla="*/ 661562 w 1466597"/>
                <a:gd name="connsiteY2962" fmla="*/ 215478 h 790366"/>
                <a:gd name="connsiteX2963" fmla="*/ 658776 w 1466597"/>
                <a:gd name="connsiteY2963" fmla="*/ 213177 h 790366"/>
                <a:gd name="connsiteX2964" fmla="*/ 654292 w 1466597"/>
                <a:gd name="connsiteY2964" fmla="*/ 210835 h 790366"/>
                <a:gd name="connsiteX2965" fmla="*/ 653730 w 1466597"/>
                <a:gd name="connsiteY2965" fmla="*/ 206401 h 790366"/>
                <a:gd name="connsiteX2966" fmla="*/ 657492 w 1466597"/>
                <a:gd name="connsiteY2966" fmla="*/ 201304 h 790366"/>
                <a:gd name="connsiteX2967" fmla="*/ 660274 w 1466597"/>
                <a:gd name="connsiteY2967" fmla="*/ 198877 h 790366"/>
                <a:gd name="connsiteX2968" fmla="*/ 657781 w 1466597"/>
                <a:gd name="connsiteY2968" fmla="*/ 197105 h 790366"/>
                <a:gd name="connsiteX2969" fmla="*/ 651519 w 1466597"/>
                <a:gd name="connsiteY2969" fmla="*/ 195857 h 790366"/>
                <a:gd name="connsiteX2970" fmla="*/ 640648 w 1466597"/>
                <a:gd name="connsiteY2970" fmla="*/ 197134 h 790366"/>
                <a:gd name="connsiteX2971" fmla="*/ 640137 w 1466597"/>
                <a:gd name="connsiteY2971" fmla="*/ 195395 h 790366"/>
                <a:gd name="connsiteX2972" fmla="*/ 640192 w 1466597"/>
                <a:gd name="connsiteY2972" fmla="*/ 193515 h 790366"/>
                <a:gd name="connsiteX2973" fmla="*/ 635761 w 1466597"/>
                <a:gd name="connsiteY2973" fmla="*/ 197193 h 790366"/>
                <a:gd name="connsiteX2974" fmla="*/ 631212 w 1466597"/>
                <a:gd name="connsiteY2974" fmla="*/ 196422 h 790366"/>
                <a:gd name="connsiteX2975" fmla="*/ 625082 w 1466597"/>
                <a:gd name="connsiteY2975" fmla="*/ 196815 h 790366"/>
                <a:gd name="connsiteX2976" fmla="*/ 611560 w 1466597"/>
                <a:gd name="connsiteY2976" fmla="*/ 193575 h 790366"/>
                <a:gd name="connsiteX2977" fmla="*/ 606745 w 1466597"/>
                <a:gd name="connsiteY2977" fmla="*/ 189567 h 790366"/>
                <a:gd name="connsiteX2978" fmla="*/ 604724 w 1466597"/>
                <a:gd name="connsiteY2978" fmla="*/ 186309 h 790366"/>
                <a:gd name="connsiteX2979" fmla="*/ 601080 w 1466597"/>
                <a:gd name="connsiteY2979" fmla="*/ 177364 h 790366"/>
                <a:gd name="connsiteX2980" fmla="*/ 596422 w 1466597"/>
                <a:gd name="connsiteY2980" fmla="*/ 171755 h 790366"/>
                <a:gd name="connsiteX2981" fmla="*/ 564259 w 1466597"/>
                <a:gd name="connsiteY2981" fmla="*/ 152587 h 790366"/>
                <a:gd name="connsiteX2982" fmla="*/ 549628 w 1466597"/>
                <a:gd name="connsiteY2982" fmla="*/ 147744 h 790366"/>
                <a:gd name="connsiteX2983" fmla="*/ 542579 w 1466597"/>
                <a:gd name="connsiteY2983" fmla="*/ 142373 h 790366"/>
                <a:gd name="connsiteX2984" fmla="*/ 538160 w 1466597"/>
                <a:gd name="connsiteY2984" fmla="*/ 141051 h 790366"/>
                <a:gd name="connsiteX2985" fmla="*/ 533942 w 1466597"/>
                <a:gd name="connsiteY2985" fmla="*/ 140508 h 790366"/>
                <a:gd name="connsiteX2986" fmla="*/ 528538 w 1466597"/>
                <a:gd name="connsiteY2986" fmla="*/ 138772 h 790366"/>
                <a:gd name="connsiteX2987" fmla="*/ 532171 w 1466597"/>
                <a:gd name="connsiteY2987" fmla="*/ 136636 h 790366"/>
                <a:gd name="connsiteX2988" fmla="*/ 534671 w 1466597"/>
                <a:gd name="connsiteY2988" fmla="*/ 135914 h 790366"/>
                <a:gd name="connsiteX2989" fmla="*/ 532069 w 1466597"/>
                <a:gd name="connsiteY2989" fmla="*/ 138145 h 790366"/>
                <a:gd name="connsiteX2990" fmla="*/ 534046 w 1466597"/>
                <a:gd name="connsiteY2990" fmla="*/ 138707 h 790366"/>
                <a:gd name="connsiteX2991" fmla="*/ 537193 w 1466597"/>
                <a:gd name="connsiteY2991" fmla="*/ 137420 h 790366"/>
                <a:gd name="connsiteX2992" fmla="*/ 538889 w 1466597"/>
                <a:gd name="connsiteY2992" fmla="*/ 135878 h 790366"/>
                <a:gd name="connsiteX2993" fmla="*/ 541378 w 1466597"/>
                <a:gd name="connsiteY2993" fmla="*/ 129325 h 790366"/>
                <a:gd name="connsiteX2994" fmla="*/ 543953 w 1466597"/>
                <a:gd name="connsiteY2994" fmla="*/ 119376 h 790366"/>
                <a:gd name="connsiteX2995" fmla="*/ 543264 w 1466597"/>
                <a:gd name="connsiteY2995" fmla="*/ 115448 h 790366"/>
                <a:gd name="connsiteX2996" fmla="*/ 561110 w 1466597"/>
                <a:gd name="connsiteY2996" fmla="*/ 116241 h 790366"/>
                <a:gd name="connsiteX2997" fmla="*/ 572986 w 1466597"/>
                <a:gd name="connsiteY2997" fmla="*/ 115578 h 790366"/>
                <a:gd name="connsiteX2998" fmla="*/ 576920 w 1466597"/>
                <a:gd name="connsiteY2998" fmla="*/ 114687 h 790366"/>
                <a:gd name="connsiteX2999" fmla="*/ 591905 w 1466597"/>
                <a:gd name="connsiteY2999" fmla="*/ 113168 h 790366"/>
                <a:gd name="connsiteX3000" fmla="*/ 595785 w 1466597"/>
                <a:gd name="connsiteY3000" fmla="*/ 112065 h 790366"/>
                <a:gd name="connsiteX3001" fmla="*/ 602985 w 1466597"/>
                <a:gd name="connsiteY3001" fmla="*/ 108691 h 790366"/>
                <a:gd name="connsiteX3002" fmla="*/ 611461 w 1466597"/>
                <a:gd name="connsiteY3002" fmla="*/ 102713 h 790366"/>
                <a:gd name="connsiteX3003" fmla="*/ 618735 w 1466597"/>
                <a:gd name="connsiteY3003" fmla="*/ 94839 h 790366"/>
                <a:gd name="connsiteX3004" fmla="*/ 619892 w 1466597"/>
                <a:gd name="connsiteY3004" fmla="*/ 92714 h 790366"/>
                <a:gd name="connsiteX3005" fmla="*/ 620354 w 1466597"/>
                <a:gd name="connsiteY3005" fmla="*/ 93259 h 790366"/>
                <a:gd name="connsiteX3006" fmla="*/ 621007 w 1466597"/>
                <a:gd name="connsiteY3006" fmla="*/ 92922 h 790366"/>
                <a:gd name="connsiteX3007" fmla="*/ 621785 w 1466597"/>
                <a:gd name="connsiteY3007" fmla="*/ 89929 h 790366"/>
                <a:gd name="connsiteX3008" fmla="*/ 622739 w 1466597"/>
                <a:gd name="connsiteY3008" fmla="*/ 82864 h 790366"/>
                <a:gd name="connsiteX3009" fmla="*/ 626348 w 1466597"/>
                <a:gd name="connsiteY3009" fmla="*/ 76182 h 790366"/>
                <a:gd name="connsiteX3010" fmla="*/ 641697 w 1466597"/>
                <a:gd name="connsiteY3010" fmla="*/ 60877 h 790366"/>
                <a:gd name="connsiteX3011" fmla="*/ 648821 w 1466597"/>
                <a:gd name="connsiteY3011" fmla="*/ 54786 h 790366"/>
                <a:gd name="connsiteX3012" fmla="*/ 651199 w 1466597"/>
                <a:gd name="connsiteY3012" fmla="*/ 52014 h 790366"/>
                <a:gd name="connsiteX3013" fmla="*/ 653674 w 1466597"/>
                <a:gd name="connsiteY3013" fmla="*/ 49989 h 790366"/>
                <a:gd name="connsiteX3014" fmla="*/ 655417 w 1466597"/>
                <a:gd name="connsiteY3014" fmla="*/ 51913 h 790366"/>
                <a:gd name="connsiteX3015" fmla="*/ 656250 w 1466597"/>
                <a:gd name="connsiteY3015" fmla="*/ 52486 h 790366"/>
                <a:gd name="connsiteX3016" fmla="*/ 656731 w 1466597"/>
                <a:gd name="connsiteY3016" fmla="*/ 53390 h 790366"/>
                <a:gd name="connsiteX3017" fmla="*/ 655268 w 1466597"/>
                <a:gd name="connsiteY3017" fmla="*/ 53813 h 790366"/>
                <a:gd name="connsiteX3018" fmla="*/ 652883 w 1466597"/>
                <a:gd name="connsiteY3018" fmla="*/ 55782 h 790366"/>
                <a:gd name="connsiteX3019" fmla="*/ 649556 w 1466597"/>
                <a:gd name="connsiteY3019" fmla="*/ 57102 h 790366"/>
                <a:gd name="connsiteX3020" fmla="*/ 648751 w 1466597"/>
                <a:gd name="connsiteY3020" fmla="*/ 57774 h 790366"/>
                <a:gd name="connsiteX3021" fmla="*/ 650703 w 1466597"/>
                <a:gd name="connsiteY3021" fmla="*/ 57624 h 790366"/>
                <a:gd name="connsiteX3022" fmla="*/ 656551 w 1466597"/>
                <a:gd name="connsiteY3022" fmla="*/ 56192 h 790366"/>
                <a:gd name="connsiteX3023" fmla="*/ 659845 w 1466597"/>
                <a:gd name="connsiteY3023" fmla="*/ 54451 h 790366"/>
                <a:gd name="connsiteX3024" fmla="*/ 676241 w 1466597"/>
                <a:gd name="connsiteY3024" fmla="*/ 51236 h 790366"/>
                <a:gd name="connsiteX3025" fmla="*/ 685134 w 1466597"/>
                <a:gd name="connsiteY3025" fmla="*/ 45906 h 790366"/>
                <a:gd name="connsiteX3026" fmla="*/ 685479 w 1466597"/>
                <a:gd name="connsiteY3026" fmla="*/ 44716 h 790366"/>
                <a:gd name="connsiteX3027" fmla="*/ 698669 w 1466597"/>
                <a:gd name="connsiteY3027" fmla="*/ 38037 h 790366"/>
                <a:gd name="connsiteX3028" fmla="*/ 700494 w 1466597"/>
                <a:gd name="connsiteY3028" fmla="*/ 38297 h 790366"/>
                <a:gd name="connsiteX3029" fmla="*/ 702596 w 1466597"/>
                <a:gd name="connsiteY3029" fmla="*/ 39103 h 790366"/>
                <a:gd name="connsiteX3030" fmla="*/ 698943 w 1466597"/>
                <a:gd name="connsiteY3030" fmla="*/ 43512 h 790366"/>
                <a:gd name="connsiteX3031" fmla="*/ 701515 w 1466597"/>
                <a:gd name="connsiteY3031" fmla="*/ 44663 h 790366"/>
                <a:gd name="connsiteX3032" fmla="*/ 699231 w 1466597"/>
                <a:gd name="connsiteY3032" fmla="*/ 49918 h 790366"/>
                <a:gd name="connsiteX3033" fmla="*/ 704015 w 1466597"/>
                <a:gd name="connsiteY3033" fmla="*/ 50002 h 790366"/>
                <a:gd name="connsiteX3034" fmla="*/ 705084 w 1466597"/>
                <a:gd name="connsiteY3034" fmla="*/ 52417 h 790366"/>
                <a:gd name="connsiteX3035" fmla="*/ 705350 w 1466597"/>
                <a:gd name="connsiteY3035" fmla="*/ 50336 h 790366"/>
                <a:gd name="connsiteX3036" fmla="*/ 705291 w 1466597"/>
                <a:gd name="connsiteY3036" fmla="*/ 47345 h 790366"/>
                <a:gd name="connsiteX3037" fmla="*/ 705671 w 1466597"/>
                <a:gd name="connsiteY3037" fmla="*/ 44411 h 790366"/>
                <a:gd name="connsiteX3038" fmla="*/ 706376 w 1466597"/>
                <a:gd name="connsiteY3038" fmla="*/ 42381 h 790366"/>
                <a:gd name="connsiteX3039" fmla="*/ 709735 w 1466597"/>
                <a:gd name="connsiteY3039" fmla="*/ 43300 h 790366"/>
                <a:gd name="connsiteX3040" fmla="*/ 717300 w 1466597"/>
                <a:gd name="connsiteY3040" fmla="*/ 41117 h 790366"/>
                <a:gd name="connsiteX3041" fmla="*/ 708132 w 1466597"/>
                <a:gd name="connsiteY3041" fmla="*/ 40841 h 790366"/>
                <a:gd name="connsiteX3042" fmla="*/ 702629 w 1466597"/>
                <a:gd name="connsiteY3042" fmla="*/ 36056 h 790366"/>
                <a:gd name="connsiteX3043" fmla="*/ 699575 w 1466597"/>
                <a:gd name="connsiteY3043" fmla="*/ 36021 h 790366"/>
                <a:gd name="connsiteX3044" fmla="*/ 709797 w 1466597"/>
                <a:gd name="connsiteY3044" fmla="*/ 28987 h 790366"/>
                <a:gd name="connsiteX3045" fmla="*/ 719144 w 1466597"/>
                <a:gd name="connsiteY3045" fmla="*/ 24728 h 790366"/>
                <a:gd name="connsiteX3046" fmla="*/ 721255 w 1466597"/>
                <a:gd name="connsiteY3046" fmla="*/ 24810 h 790366"/>
                <a:gd name="connsiteX3047" fmla="*/ 722276 w 1466597"/>
                <a:gd name="connsiteY3047" fmla="*/ 25603 h 790366"/>
                <a:gd name="connsiteX3048" fmla="*/ 722495 w 1466597"/>
                <a:gd name="connsiteY3048" fmla="*/ 26892 h 790366"/>
                <a:gd name="connsiteX3049" fmla="*/ 720477 w 1466597"/>
                <a:gd name="connsiteY3049" fmla="*/ 27729 h 790366"/>
                <a:gd name="connsiteX3050" fmla="*/ 718497 w 1466597"/>
                <a:gd name="connsiteY3050" fmla="*/ 29243 h 790366"/>
                <a:gd name="connsiteX3051" fmla="*/ 719407 w 1466597"/>
                <a:gd name="connsiteY3051" fmla="*/ 30574 h 790366"/>
                <a:gd name="connsiteX3052" fmla="*/ 720759 w 1466597"/>
                <a:gd name="connsiteY3052" fmla="*/ 30764 h 790366"/>
                <a:gd name="connsiteX3053" fmla="*/ 725252 w 1466597"/>
                <a:gd name="connsiteY3053" fmla="*/ 29669 h 790366"/>
                <a:gd name="connsiteX3054" fmla="*/ 727262 w 1466597"/>
                <a:gd name="connsiteY3054" fmla="*/ 28299 h 790366"/>
                <a:gd name="connsiteX3055" fmla="*/ 736836 w 1466597"/>
                <a:gd name="connsiteY3055" fmla="*/ 28418 h 790366"/>
                <a:gd name="connsiteX3056" fmla="*/ 739645 w 1466597"/>
                <a:gd name="connsiteY3056" fmla="*/ 27440 h 790366"/>
                <a:gd name="connsiteX3057" fmla="*/ 740320 w 1466597"/>
                <a:gd name="connsiteY3057" fmla="*/ 26468 h 790366"/>
                <a:gd name="connsiteX3058" fmla="*/ 752715 w 1466597"/>
                <a:gd name="connsiteY3058" fmla="*/ 26270 h 790366"/>
                <a:gd name="connsiteX3059" fmla="*/ 754988 w 1466597"/>
                <a:gd name="connsiteY3059" fmla="*/ 25583 h 790366"/>
                <a:gd name="connsiteX3060" fmla="*/ 762737 w 1466597"/>
                <a:gd name="connsiteY3060" fmla="*/ 21810 h 790366"/>
                <a:gd name="connsiteX3061" fmla="*/ 769903 w 1466597"/>
                <a:gd name="connsiteY3061" fmla="*/ 17230 h 790366"/>
                <a:gd name="connsiteX3062" fmla="*/ 773204 w 1466597"/>
                <a:gd name="connsiteY3062" fmla="*/ 14727 h 790366"/>
                <a:gd name="connsiteX3063" fmla="*/ 778867 w 1466597"/>
                <a:gd name="connsiteY3063" fmla="*/ 8333 h 790366"/>
                <a:gd name="connsiteX3064" fmla="*/ 783716 w 1466597"/>
                <a:gd name="connsiteY3064" fmla="*/ 4166 h 790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  <a:cxn ang="0">
                  <a:pos x="connsiteX2223" y="connsiteY2223"/>
                </a:cxn>
                <a:cxn ang="0">
                  <a:pos x="connsiteX2224" y="connsiteY2224"/>
                </a:cxn>
                <a:cxn ang="0">
                  <a:pos x="connsiteX2225" y="connsiteY2225"/>
                </a:cxn>
                <a:cxn ang="0">
                  <a:pos x="connsiteX2226" y="connsiteY2226"/>
                </a:cxn>
                <a:cxn ang="0">
                  <a:pos x="connsiteX2227" y="connsiteY2227"/>
                </a:cxn>
                <a:cxn ang="0">
                  <a:pos x="connsiteX2228" y="connsiteY2228"/>
                </a:cxn>
                <a:cxn ang="0">
                  <a:pos x="connsiteX2229" y="connsiteY2229"/>
                </a:cxn>
                <a:cxn ang="0">
                  <a:pos x="connsiteX2230" y="connsiteY2230"/>
                </a:cxn>
                <a:cxn ang="0">
                  <a:pos x="connsiteX2231" y="connsiteY2231"/>
                </a:cxn>
                <a:cxn ang="0">
                  <a:pos x="connsiteX2232" y="connsiteY2232"/>
                </a:cxn>
                <a:cxn ang="0">
                  <a:pos x="connsiteX2233" y="connsiteY2233"/>
                </a:cxn>
                <a:cxn ang="0">
                  <a:pos x="connsiteX2234" y="connsiteY2234"/>
                </a:cxn>
                <a:cxn ang="0">
                  <a:pos x="connsiteX2235" y="connsiteY2235"/>
                </a:cxn>
                <a:cxn ang="0">
                  <a:pos x="connsiteX2236" y="connsiteY2236"/>
                </a:cxn>
                <a:cxn ang="0">
                  <a:pos x="connsiteX2237" y="connsiteY2237"/>
                </a:cxn>
                <a:cxn ang="0">
                  <a:pos x="connsiteX2238" y="connsiteY2238"/>
                </a:cxn>
                <a:cxn ang="0">
                  <a:pos x="connsiteX2239" y="connsiteY2239"/>
                </a:cxn>
                <a:cxn ang="0">
                  <a:pos x="connsiteX2240" y="connsiteY2240"/>
                </a:cxn>
                <a:cxn ang="0">
                  <a:pos x="connsiteX2241" y="connsiteY2241"/>
                </a:cxn>
                <a:cxn ang="0">
                  <a:pos x="connsiteX2242" y="connsiteY2242"/>
                </a:cxn>
                <a:cxn ang="0">
                  <a:pos x="connsiteX2243" y="connsiteY2243"/>
                </a:cxn>
                <a:cxn ang="0">
                  <a:pos x="connsiteX2244" y="connsiteY2244"/>
                </a:cxn>
                <a:cxn ang="0">
                  <a:pos x="connsiteX2245" y="connsiteY2245"/>
                </a:cxn>
                <a:cxn ang="0">
                  <a:pos x="connsiteX2246" y="connsiteY2246"/>
                </a:cxn>
                <a:cxn ang="0">
                  <a:pos x="connsiteX2247" y="connsiteY2247"/>
                </a:cxn>
                <a:cxn ang="0">
                  <a:pos x="connsiteX2248" y="connsiteY2248"/>
                </a:cxn>
                <a:cxn ang="0">
                  <a:pos x="connsiteX2249" y="connsiteY2249"/>
                </a:cxn>
                <a:cxn ang="0">
                  <a:pos x="connsiteX2250" y="connsiteY2250"/>
                </a:cxn>
                <a:cxn ang="0">
                  <a:pos x="connsiteX2251" y="connsiteY2251"/>
                </a:cxn>
                <a:cxn ang="0">
                  <a:pos x="connsiteX2252" y="connsiteY2252"/>
                </a:cxn>
                <a:cxn ang="0">
                  <a:pos x="connsiteX2253" y="connsiteY2253"/>
                </a:cxn>
                <a:cxn ang="0">
                  <a:pos x="connsiteX2254" y="connsiteY2254"/>
                </a:cxn>
                <a:cxn ang="0">
                  <a:pos x="connsiteX2255" y="connsiteY2255"/>
                </a:cxn>
                <a:cxn ang="0">
                  <a:pos x="connsiteX2256" y="connsiteY2256"/>
                </a:cxn>
                <a:cxn ang="0">
                  <a:pos x="connsiteX2257" y="connsiteY2257"/>
                </a:cxn>
                <a:cxn ang="0">
                  <a:pos x="connsiteX2258" y="connsiteY2258"/>
                </a:cxn>
                <a:cxn ang="0">
                  <a:pos x="connsiteX2259" y="connsiteY2259"/>
                </a:cxn>
                <a:cxn ang="0">
                  <a:pos x="connsiteX2260" y="connsiteY2260"/>
                </a:cxn>
                <a:cxn ang="0">
                  <a:pos x="connsiteX2261" y="connsiteY2261"/>
                </a:cxn>
                <a:cxn ang="0">
                  <a:pos x="connsiteX2262" y="connsiteY2262"/>
                </a:cxn>
                <a:cxn ang="0">
                  <a:pos x="connsiteX2263" y="connsiteY2263"/>
                </a:cxn>
                <a:cxn ang="0">
                  <a:pos x="connsiteX2264" y="connsiteY2264"/>
                </a:cxn>
                <a:cxn ang="0">
                  <a:pos x="connsiteX2265" y="connsiteY2265"/>
                </a:cxn>
                <a:cxn ang="0">
                  <a:pos x="connsiteX2266" y="connsiteY2266"/>
                </a:cxn>
                <a:cxn ang="0">
                  <a:pos x="connsiteX2267" y="connsiteY2267"/>
                </a:cxn>
                <a:cxn ang="0">
                  <a:pos x="connsiteX2268" y="connsiteY2268"/>
                </a:cxn>
                <a:cxn ang="0">
                  <a:pos x="connsiteX2269" y="connsiteY2269"/>
                </a:cxn>
                <a:cxn ang="0">
                  <a:pos x="connsiteX2270" y="connsiteY2270"/>
                </a:cxn>
                <a:cxn ang="0">
                  <a:pos x="connsiteX2271" y="connsiteY2271"/>
                </a:cxn>
                <a:cxn ang="0">
                  <a:pos x="connsiteX2272" y="connsiteY2272"/>
                </a:cxn>
                <a:cxn ang="0">
                  <a:pos x="connsiteX2273" y="connsiteY2273"/>
                </a:cxn>
                <a:cxn ang="0">
                  <a:pos x="connsiteX2274" y="connsiteY2274"/>
                </a:cxn>
                <a:cxn ang="0">
                  <a:pos x="connsiteX2275" y="connsiteY2275"/>
                </a:cxn>
                <a:cxn ang="0">
                  <a:pos x="connsiteX2276" y="connsiteY2276"/>
                </a:cxn>
                <a:cxn ang="0">
                  <a:pos x="connsiteX2277" y="connsiteY2277"/>
                </a:cxn>
                <a:cxn ang="0">
                  <a:pos x="connsiteX2278" y="connsiteY2278"/>
                </a:cxn>
                <a:cxn ang="0">
                  <a:pos x="connsiteX2279" y="connsiteY2279"/>
                </a:cxn>
                <a:cxn ang="0">
                  <a:pos x="connsiteX2280" y="connsiteY2280"/>
                </a:cxn>
                <a:cxn ang="0">
                  <a:pos x="connsiteX2281" y="connsiteY2281"/>
                </a:cxn>
                <a:cxn ang="0">
                  <a:pos x="connsiteX2282" y="connsiteY2282"/>
                </a:cxn>
                <a:cxn ang="0">
                  <a:pos x="connsiteX2283" y="connsiteY2283"/>
                </a:cxn>
                <a:cxn ang="0">
                  <a:pos x="connsiteX2284" y="connsiteY2284"/>
                </a:cxn>
                <a:cxn ang="0">
                  <a:pos x="connsiteX2285" y="connsiteY2285"/>
                </a:cxn>
                <a:cxn ang="0">
                  <a:pos x="connsiteX2286" y="connsiteY2286"/>
                </a:cxn>
                <a:cxn ang="0">
                  <a:pos x="connsiteX2287" y="connsiteY2287"/>
                </a:cxn>
                <a:cxn ang="0">
                  <a:pos x="connsiteX2288" y="connsiteY2288"/>
                </a:cxn>
                <a:cxn ang="0">
                  <a:pos x="connsiteX2289" y="connsiteY2289"/>
                </a:cxn>
                <a:cxn ang="0">
                  <a:pos x="connsiteX2290" y="connsiteY2290"/>
                </a:cxn>
                <a:cxn ang="0">
                  <a:pos x="connsiteX2291" y="connsiteY2291"/>
                </a:cxn>
                <a:cxn ang="0">
                  <a:pos x="connsiteX2292" y="connsiteY2292"/>
                </a:cxn>
                <a:cxn ang="0">
                  <a:pos x="connsiteX2293" y="connsiteY2293"/>
                </a:cxn>
                <a:cxn ang="0">
                  <a:pos x="connsiteX2294" y="connsiteY2294"/>
                </a:cxn>
                <a:cxn ang="0">
                  <a:pos x="connsiteX2295" y="connsiteY2295"/>
                </a:cxn>
                <a:cxn ang="0">
                  <a:pos x="connsiteX2296" y="connsiteY2296"/>
                </a:cxn>
                <a:cxn ang="0">
                  <a:pos x="connsiteX2297" y="connsiteY2297"/>
                </a:cxn>
                <a:cxn ang="0">
                  <a:pos x="connsiteX2298" y="connsiteY2298"/>
                </a:cxn>
                <a:cxn ang="0">
                  <a:pos x="connsiteX2299" y="connsiteY2299"/>
                </a:cxn>
                <a:cxn ang="0">
                  <a:pos x="connsiteX2300" y="connsiteY2300"/>
                </a:cxn>
                <a:cxn ang="0">
                  <a:pos x="connsiteX2301" y="connsiteY2301"/>
                </a:cxn>
                <a:cxn ang="0">
                  <a:pos x="connsiteX2302" y="connsiteY2302"/>
                </a:cxn>
                <a:cxn ang="0">
                  <a:pos x="connsiteX2303" y="connsiteY2303"/>
                </a:cxn>
                <a:cxn ang="0">
                  <a:pos x="connsiteX2304" y="connsiteY2304"/>
                </a:cxn>
                <a:cxn ang="0">
                  <a:pos x="connsiteX2305" y="connsiteY2305"/>
                </a:cxn>
                <a:cxn ang="0">
                  <a:pos x="connsiteX2306" y="connsiteY2306"/>
                </a:cxn>
                <a:cxn ang="0">
                  <a:pos x="connsiteX2307" y="connsiteY2307"/>
                </a:cxn>
                <a:cxn ang="0">
                  <a:pos x="connsiteX2308" y="connsiteY2308"/>
                </a:cxn>
                <a:cxn ang="0">
                  <a:pos x="connsiteX2309" y="connsiteY2309"/>
                </a:cxn>
                <a:cxn ang="0">
                  <a:pos x="connsiteX2310" y="connsiteY2310"/>
                </a:cxn>
                <a:cxn ang="0">
                  <a:pos x="connsiteX2311" y="connsiteY2311"/>
                </a:cxn>
                <a:cxn ang="0">
                  <a:pos x="connsiteX2312" y="connsiteY2312"/>
                </a:cxn>
                <a:cxn ang="0">
                  <a:pos x="connsiteX2313" y="connsiteY2313"/>
                </a:cxn>
                <a:cxn ang="0">
                  <a:pos x="connsiteX2314" y="connsiteY2314"/>
                </a:cxn>
                <a:cxn ang="0">
                  <a:pos x="connsiteX2315" y="connsiteY2315"/>
                </a:cxn>
                <a:cxn ang="0">
                  <a:pos x="connsiteX2316" y="connsiteY2316"/>
                </a:cxn>
                <a:cxn ang="0">
                  <a:pos x="connsiteX2317" y="connsiteY2317"/>
                </a:cxn>
                <a:cxn ang="0">
                  <a:pos x="connsiteX2318" y="connsiteY2318"/>
                </a:cxn>
                <a:cxn ang="0">
                  <a:pos x="connsiteX2319" y="connsiteY2319"/>
                </a:cxn>
                <a:cxn ang="0">
                  <a:pos x="connsiteX2320" y="connsiteY2320"/>
                </a:cxn>
                <a:cxn ang="0">
                  <a:pos x="connsiteX2321" y="connsiteY2321"/>
                </a:cxn>
                <a:cxn ang="0">
                  <a:pos x="connsiteX2322" y="connsiteY2322"/>
                </a:cxn>
                <a:cxn ang="0">
                  <a:pos x="connsiteX2323" y="connsiteY2323"/>
                </a:cxn>
                <a:cxn ang="0">
                  <a:pos x="connsiteX2324" y="connsiteY2324"/>
                </a:cxn>
                <a:cxn ang="0">
                  <a:pos x="connsiteX2325" y="connsiteY2325"/>
                </a:cxn>
                <a:cxn ang="0">
                  <a:pos x="connsiteX2326" y="connsiteY2326"/>
                </a:cxn>
                <a:cxn ang="0">
                  <a:pos x="connsiteX2327" y="connsiteY2327"/>
                </a:cxn>
                <a:cxn ang="0">
                  <a:pos x="connsiteX2328" y="connsiteY2328"/>
                </a:cxn>
                <a:cxn ang="0">
                  <a:pos x="connsiteX2329" y="connsiteY2329"/>
                </a:cxn>
                <a:cxn ang="0">
                  <a:pos x="connsiteX2330" y="connsiteY2330"/>
                </a:cxn>
                <a:cxn ang="0">
                  <a:pos x="connsiteX2331" y="connsiteY2331"/>
                </a:cxn>
                <a:cxn ang="0">
                  <a:pos x="connsiteX2332" y="connsiteY2332"/>
                </a:cxn>
                <a:cxn ang="0">
                  <a:pos x="connsiteX2333" y="connsiteY2333"/>
                </a:cxn>
                <a:cxn ang="0">
                  <a:pos x="connsiteX2334" y="connsiteY2334"/>
                </a:cxn>
                <a:cxn ang="0">
                  <a:pos x="connsiteX2335" y="connsiteY2335"/>
                </a:cxn>
                <a:cxn ang="0">
                  <a:pos x="connsiteX2336" y="connsiteY2336"/>
                </a:cxn>
                <a:cxn ang="0">
                  <a:pos x="connsiteX2337" y="connsiteY2337"/>
                </a:cxn>
                <a:cxn ang="0">
                  <a:pos x="connsiteX2338" y="connsiteY2338"/>
                </a:cxn>
                <a:cxn ang="0">
                  <a:pos x="connsiteX2339" y="connsiteY2339"/>
                </a:cxn>
                <a:cxn ang="0">
                  <a:pos x="connsiteX2340" y="connsiteY2340"/>
                </a:cxn>
                <a:cxn ang="0">
                  <a:pos x="connsiteX2341" y="connsiteY2341"/>
                </a:cxn>
                <a:cxn ang="0">
                  <a:pos x="connsiteX2342" y="connsiteY2342"/>
                </a:cxn>
                <a:cxn ang="0">
                  <a:pos x="connsiteX2343" y="connsiteY2343"/>
                </a:cxn>
                <a:cxn ang="0">
                  <a:pos x="connsiteX2344" y="connsiteY2344"/>
                </a:cxn>
                <a:cxn ang="0">
                  <a:pos x="connsiteX2345" y="connsiteY2345"/>
                </a:cxn>
                <a:cxn ang="0">
                  <a:pos x="connsiteX2346" y="connsiteY2346"/>
                </a:cxn>
                <a:cxn ang="0">
                  <a:pos x="connsiteX2347" y="connsiteY2347"/>
                </a:cxn>
                <a:cxn ang="0">
                  <a:pos x="connsiteX2348" y="connsiteY2348"/>
                </a:cxn>
                <a:cxn ang="0">
                  <a:pos x="connsiteX2349" y="connsiteY2349"/>
                </a:cxn>
                <a:cxn ang="0">
                  <a:pos x="connsiteX2350" y="connsiteY2350"/>
                </a:cxn>
                <a:cxn ang="0">
                  <a:pos x="connsiteX2351" y="connsiteY2351"/>
                </a:cxn>
                <a:cxn ang="0">
                  <a:pos x="connsiteX2352" y="connsiteY2352"/>
                </a:cxn>
                <a:cxn ang="0">
                  <a:pos x="connsiteX2353" y="connsiteY2353"/>
                </a:cxn>
                <a:cxn ang="0">
                  <a:pos x="connsiteX2354" y="connsiteY2354"/>
                </a:cxn>
                <a:cxn ang="0">
                  <a:pos x="connsiteX2355" y="connsiteY2355"/>
                </a:cxn>
                <a:cxn ang="0">
                  <a:pos x="connsiteX2356" y="connsiteY2356"/>
                </a:cxn>
                <a:cxn ang="0">
                  <a:pos x="connsiteX2357" y="connsiteY2357"/>
                </a:cxn>
                <a:cxn ang="0">
                  <a:pos x="connsiteX2358" y="connsiteY2358"/>
                </a:cxn>
                <a:cxn ang="0">
                  <a:pos x="connsiteX2359" y="connsiteY2359"/>
                </a:cxn>
                <a:cxn ang="0">
                  <a:pos x="connsiteX2360" y="connsiteY2360"/>
                </a:cxn>
                <a:cxn ang="0">
                  <a:pos x="connsiteX2361" y="connsiteY2361"/>
                </a:cxn>
                <a:cxn ang="0">
                  <a:pos x="connsiteX2362" y="connsiteY2362"/>
                </a:cxn>
                <a:cxn ang="0">
                  <a:pos x="connsiteX2363" y="connsiteY2363"/>
                </a:cxn>
                <a:cxn ang="0">
                  <a:pos x="connsiteX2364" y="connsiteY2364"/>
                </a:cxn>
                <a:cxn ang="0">
                  <a:pos x="connsiteX2365" y="connsiteY2365"/>
                </a:cxn>
                <a:cxn ang="0">
                  <a:pos x="connsiteX2366" y="connsiteY2366"/>
                </a:cxn>
                <a:cxn ang="0">
                  <a:pos x="connsiteX2367" y="connsiteY2367"/>
                </a:cxn>
                <a:cxn ang="0">
                  <a:pos x="connsiteX2368" y="connsiteY2368"/>
                </a:cxn>
                <a:cxn ang="0">
                  <a:pos x="connsiteX2369" y="connsiteY2369"/>
                </a:cxn>
                <a:cxn ang="0">
                  <a:pos x="connsiteX2370" y="connsiteY2370"/>
                </a:cxn>
                <a:cxn ang="0">
                  <a:pos x="connsiteX2371" y="connsiteY2371"/>
                </a:cxn>
                <a:cxn ang="0">
                  <a:pos x="connsiteX2372" y="connsiteY2372"/>
                </a:cxn>
                <a:cxn ang="0">
                  <a:pos x="connsiteX2373" y="connsiteY2373"/>
                </a:cxn>
                <a:cxn ang="0">
                  <a:pos x="connsiteX2374" y="connsiteY2374"/>
                </a:cxn>
                <a:cxn ang="0">
                  <a:pos x="connsiteX2375" y="connsiteY2375"/>
                </a:cxn>
                <a:cxn ang="0">
                  <a:pos x="connsiteX2376" y="connsiteY2376"/>
                </a:cxn>
                <a:cxn ang="0">
                  <a:pos x="connsiteX2377" y="connsiteY2377"/>
                </a:cxn>
                <a:cxn ang="0">
                  <a:pos x="connsiteX2378" y="connsiteY2378"/>
                </a:cxn>
                <a:cxn ang="0">
                  <a:pos x="connsiteX2379" y="connsiteY2379"/>
                </a:cxn>
                <a:cxn ang="0">
                  <a:pos x="connsiteX2380" y="connsiteY2380"/>
                </a:cxn>
                <a:cxn ang="0">
                  <a:pos x="connsiteX2381" y="connsiteY2381"/>
                </a:cxn>
                <a:cxn ang="0">
                  <a:pos x="connsiteX2382" y="connsiteY2382"/>
                </a:cxn>
                <a:cxn ang="0">
                  <a:pos x="connsiteX2383" y="connsiteY2383"/>
                </a:cxn>
                <a:cxn ang="0">
                  <a:pos x="connsiteX2384" y="connsiteY2384"/>
                </a:cxn>
                <a:cxn ang="0">
                  <a:pos x="connsiteX2385" y="connsiteY2385"/>
                </a:cxn>
                <a:cxn ang="0">
                  <a:pos x="connsiteX2386" y="connsiteY2386"/>
                </a:cxn>
                <a:cxn ang="0">
                  <a:pos x="connsiteX2387" y="connsiteY2387"/>
                </a:cxn>
                <a:cxn ang="0">
                  <a:pos x="connsiteX2388" y="connsiteY2388"/>
                </a:cxn>
                <a:cxn ang="0">
                  <a:pos x="connsiteX2389" y="connsiteY2389"/>
                </a:cxn>
                <a:cxn ang="0">
                  <a:pos x="connsiteX2390" y="connsiteY2390"/>
                </a:cxn>
                <a:cxn ang="0">
                  <a:pos x="connsiteX2391" y="connsiteY2391"/>
                </a:cxn>
                <a:cxn ang="0">
                  <a:pos x="connsiteX2392" y="connsiteY2392"/>
                </a:cxn>
                <a:cxn ang="0">
                  <a:pos x="connsiteX2393" y="connsiteY2393"/>
                </a:cxn>
                <a:cxn ang="0">
                  <a:pos x="connsiteX2394" y="connsiteY2394"/>
                </a:cxn>
                <a:cxn ang="0">
                  <a:pos x="connsiteX2395" y="connsiteY2395"/>
                </a:cxn>
                <a:cxn ang="0">
                  <a:pos x="connsiteX2396" y="connsiteY2396"/>
                </a:cxn>
                <a:cxn ang="0">
                  <a:pos x="connsiteX2397" y="connsiteY2397"/>
                </a:cxn>
                <a:cxn ang="0">
                  <a:pos x="connsiteX2398" y="connsiteY2398"/>
                </a:cxn>
                <a:cxn ang="0">
                  <a:pos x="connsiteX2399" y="connsiteY2399"/>
                </a:cxn>
                <a:cxn ang="0">
                  <a:pos x="connsiteX2400" y="connsiteY2400"/>
                </a:cxn>
                <a:cxn ang="0">
                  <a:pos x="connsiteX2401" y="connsiteY2401"/>
                </a:cxn>
                <a:cxn ang="0">
                  <a:pos x="connsiteX2402" y="connsiteY2402"/>
                </a:cxn>
                <a:cxn ang="0">
                  <a:pos x="connsiteX2403" y="connsiteY2403"/>
                </a:cxn>
                <a:cxn ang="0">
                  <a:pos x="connsiteX2404" y="connsiteY2404"/>
                </a:cxn>
                <a:cxn ang="0">
                  <a:pos x="connsiteX2405" y="connsiteY2405"/>
                </a:cxn>
                <a:cxn ang="0">
                  <a:pos x="connsiteX2406" y="connsiteY2406"/>
                </a:cxn>
                <a:cxn ang="0">
                  <a:pos x="connsiteX2407" y="connsiteY2407"/>
                </a:cxn>
                <a:cxn ang="0">
                  <a:pos x="connsiteX2408" y="connsiteY2408"/>
                </a:cxn>
                <a:cxn ang="0">
                  <a:pos x="connsiteX2409" y="connsiteY2409"/>
                </a:cxn>
                <a:cxn ang="0">
                  <a:pos x="connsiteX2410" y="connsiteY2410"/>
                </a:cxn>
                <a:cxn ang="0">
                  <a:pos x="connsiteX2411" y="connsiteY2411"/>
                </a:cxn>
                <a:cxn ang="0">
                  <a:pos x="connsiteX2412" y="connsiteY2412"/>
                </a:cxn>
                <a:cxn ang="0">
                  <a:pos x="connsiteX2413" y="connsiteY2413"/>
                </a:cxn>
                <a:cxn ang="0">
                  <a:pos x="connsiteX2414" y="connsiteY2414"/>
                </a:cxn>
                <a:cxn ang="0">
                  <a:pos x="connsiteX2415" y="connsiteY2415"/>
                </a:cxn>
                <a:cxn ang="0">
                  <a:pos x="connsiteX2416" y="connsiteY2416"/>
                </a:cxn>
                <a:cxn ang="0">
                  <a:pos x="connsiteX2417" y="connsiteY2417"/>
                </a:cxn>
                <a:cxn ang="0">
                  <a:pos x="connsiteX2418" y="connsiteY2418"/>
                </a:cxn>
                <a:cxn ang="0">
                  <a:pos x="connsiteX2419" y="connsiteY2419"/>
                </a:cxn>
                <a:cxn ang="0">
                  <a:pos x="connsiteX2420" y="connsiteY2420"/>
                </a:cxn>
                <a:cxn ang="0">
                  <a:pos x="connsiteX2421" y="connsiteY2421"/>
                </a:cxn>
                <a:cxn ang="0">
                  <a:pos x="connsiteX2422" y="connsiteY2422"/>
                </a:cxn>
                <a:cxn ang="0">
                  <a:pos x="connsiteX2423" y="connsiteY2423"/>
                </a:cxn>
                <a:cxn ang="0">
                  <a:pos x="connsiteX2424" y="connsiteY2424"/>
                </a:cxn>
                <a:cxn ang="0">
                  <a:pos x="connsiteX2425" y="connsiteY2425"/>
                </a:cxn>
                <a:cxn ang="0">
                  <a:pos x="connsiteX2426" y="connsiteY2426"/>
                </a:cxn>
                <a:cxn ang="0">
                  <a:pos x="connsiteX2427" y="connsiteY2427"/>
                </a:cxn>
                <a:cxn ang="0">
                  <a:pos x="connsiteX2428" y="connsiteY2428"/>
                </a:cxn>
                <a:cxn ang="0">
                  <a:pos x="connsiteX2429" y="connsiteY2429"/>
                </a:cxn>
                <a:cxn ang="0">
                  <a:pos x="connsiteX2430" y="connsiteY2430"/>
                </a:cxn>
                <a:cxn ang="0">
                  <a:pos x="connsiteX2431" y="connsiteY2431"/>
                </a:cxn>
                <a:cxn ang="0">
                  <a:pos x="connsiteX2432" y="connsiteY2432"/>
                </a:cxn>
                <a:cxn ang="0">
                  <a:pos x="connsiteX2433" y="connsiteY2433"/>
                </a:cxn>
                <a:cxn ang="0">
                  <a:pos x="connsiteX2434" y="connsiteY2434"/>
                </a:cxn>
                <a:cxn ang="0">
                  <a:pos x="connsiteX2435" y="connsiteY2435"/>
                </a:cxn>
                <a:cxn ang="0">
                  <a:pos x="connsiteX2436" y="connsiteY2436"/>
                </a:cxn>
                <a:cxn ang="0">
                  <a:pos x="connsiteX2437" y="connsiteY2437"/>
                </a:cxn>
                <a:cxn ang="0">
                  <a:pos x="connsiteX2438" y="connsiteY2438"/>
                </a:cxn>
                <a:cxn ang="0">
                  <a:pos x="connsiteX2439" y="connsiteY2439"/>
                </a:cxn>
                <a:cxn ang="0">
                  <a:pos x="connsiteX2440" y="connsiteY2440"/>
                </a:cxn>
                <a:cxn ang="0">
                  <a:pos x="connsiteX2441" y="connsiteY2441"/>
                </a:cxn>
                <a:cxn ang="0">
                  <a:pos x="connsiteX2442" y="connsiteY2442"/>
                </a:cxn>
                <a:cxn ang="0">
                  <a:pos x="connsiteX2443" y="connsiteY2443"/>
                </a:cxn>
                <a:cxn ang="0">
                  <a:pos x="connsiteX2444" y="connsiteY2444"/>
                </a:cxn>
                <a:cxn ang="0">
                  <a:pos x="connsiteX2445" y="connsiteY2445"/>
                </a:cxn>
                <a:cxn ang="0">
                  <a:pos x="connsiteX2446" y="connsiteY2446"/>
                </a:cxn>
                <a:cxn ang="0">
                  <a:pos x="connsiteX2447" y="connsiteY2447"/>
                </a:cxn>
                <a:cxn ang="0">
                  <a:pos x="connsiteX2448" y="connsiteY2448"/>
                </a:cxn>
                <a:cxn ang="0">
                  <a:pos x="connsiteX2449" y="connsiteY2449"/>
                </a:cxn>
                <a:cxn ang="0">
                  <a:pos x="connsiteX2450" y="connsiteY2450"/>
                </a:cxn>
                <a:cxn ang="0">
                  <a:pos x="connsiteX2451" y="connsiteY2451"/>
                </a:cxn>
                <a:cxn ang="0">
                  <a:pos x="connsiteX2452" y="connsiteY2452"/>
                </a:cxn>
                <a:cxn ang="0">
                  <a:pos x="connsiteX2453" y="connsiteY2453"/>
                </a:cxn>
                <a:cxn ang="0">
                  <a:pos x="connsiteX2454" y="connsiteY2454"/>
                </a:cxn>
                <a:cxn ang="0">
                  <a:pos x="connsiteX2455" y="connsiteY2455"/>
                </a:cxn>
                <a:cxn ang="0">
                  <a:pos x="connsiteX2456" y="connsiteY2456"/>
                </a:cxn>
                <a:cxn ang="0">
                  <a:pos x="connsiteX2457" y="connsiteY2457"/>
                </a:cxn>
                <a:cxn ang="0">
                  <a:pos x="connsiteX2458" y="connsiteY2458"/>
                </a:cxn>
                <a:cxn ang="0">
                  <a:pos x="connsiteX2459" y="connsiteY2459"/>
                </a:cxn>
                <a:cxn ang="0">
                  <a:pos x="connsiteX2460" y="connsiteY2460"/>
                </a:cxn>
                <a:cxn ang="0">
                  <a:pos x="connsiteX2461" y="connsiteY2461"/>
                </a:cxn>
                <a:cxn ang="0">
                  <a:pos x="connsiteX2462" y="connsiteY2462"/>
                </a:cxn>
                <a:cxn ang="0">
                  <a:pos x="connsiteX2463" y="connsiteY2463"/>
                </a:cxn>
                <a:cxn ang="0">
                  <a:pos x="connsiteX2464" y="connsiteY2464"/>
                </a:cxn>
                <a:cxn ang="0">
                  <a:pos x="connsiteX2465" y="connsiteY2465"/>
                </a:cxn>
                <a:cxn ang="0">
                  <a:pos x="connsiteX2466" y="connsiteY2466"/>
                </a:cxn>
                <a:cxn ang="0">
                  <a:pos x="connsiteX2467" y="connsiteY2467"/>
                </a:cxn>
                <a:cxn ang="0">
                  <a:pos x="connsiteX2468" y="connsiteY2468"/>
                </a:cxn>
                <a:cxn ang="0">
                  <a:pos x="connsiteX2469" y="connsiteY2469"/>
                </a:cxn>
                <a:cxn ang="0">
                  <a:pos x="connsiteX2470" y="connsiteY2470"/>
                </a:cxn>
                <a:cxn ang="0">
                  <a:pos x="connsiteX2471" y="connsiteY2471"/>
                </a:cxn>
                <a:cxn ang="0">
                  <a:pos x="connsiteX2472" y="connsiteY2472"/>
                </a:cxn>
                <a:cxn ang="0">
                  <a:pos x="connsiteX2473" y="connsiteY2473"/>
                </a:cxn>
                <a:cxn ang="0">
                  <a:pos x="connsiteX2474" y="connsiteY2474"/>
                </a:cxn>
                <a:cxn ang="0">
                  <a:pos x="connsiteX2475" y="connsiteY2475"/>
                </a:cxn>
                <a:cxn ang="0">
                  <a:pos x="connsiteX2476" y="connsiteY2476"/>
                </a:cxn>
                <a:cxn ang="0">
                  <a:pos x="connsiteX2477" y="connsiteY2477"/>
                </a:cxn>
                <a:cxn ang="0">
                  <a:pos x="connsiteX2478" y="connsiteY2478"/>
                </a:cxn>
                <a:cxn ang="0">
                  <a:pos x="connsiteX2479" y="connsiteY2479"/>
                </a:cxn>
                <a:cxn ang="0">
                  <a:pos x="connsiteX2480" y="connsiteY2480"/>
                </a:cxn>
                <a:cxn ang="0">
                  <a:pos x="connsiteX2481" y="connsiteY2481"/>
                </a:cxn>
                <a:cxn ang="0">
                  <a:pos x="connsiteX2482" y="connsiteY2482"/>
                </a:cxn>
                <a:cxn ang="0">
                  <a:pos x="connsiteX2483" y="connsiteY2483"/>
                </a:cxn>
                <a:cxn ang="0">
                  <a:pos x="connsiteX2484" y="connsiteY2484"/>
                </a:cxn>
                <a:cxn ang="0">
                  <a:pos x="connsiteX2485" y="connsiteY2485"/>
                </a:cxn>
                <a:cxn ang="0">
                  <a:pos x="connsiteX2486" y="connsiteY2486"/>
                </a:cxn>
                <a:cxn ang="0">
                  <a:pos x="connsiteX2487" y="connsiteY2487"/>
                </a:cxn>
                <a:cxn ang="0">
                  <a:pos x="connsiteX2488" y="connsiteY2488"/>
                </a:cxn>
                <a:cxn ang="0">
                  <a:pos x="connsiteX2489" y="connsiteY2489"/>
                </a:cxn>
                <a:cxn ang="0">
                  <a:pos x="connsiteX2490" y="connsiteY2490"/>
                </a:cxn>
                <a:cxn ang="0">
                  <a:pos x="connsiteX2491" y="connsiteY2491"/>
                </a:cxn>
                <a:cxn ang="0">
                  <a:pos x="connsiteX2492" y="connsiteY2492"/>
                </a:cxn>
                <a:cxn ang="0">
                  <a:pos x="connsiteX2493" y="connsiteY2493"/>
                </a:cxn>
                <a:cxn ang="0">
                  <a:pos x="connsiteX2494" y="connsiteY2494"/>
                </a:cxn>
                <a:cxn ang="0">
                  <a:pos x="connsiteX2495" y="connsiteY2495"/>
                </a:cxn>
                <a:cxn ang="0">
                  <a:pos x="connsiteX2496" y="connsiteY2496"/>
                </a:cxn>
                <a:cxn ang="0">
                  <a:pos x="connsiteX2497" y="connsiteY2497"/>
                </a:cxn>
                <a:cxn ang="0">
                  <a:pos x="connsiteX2498" y="connsiteY2498"/>
                </a:cxn>
                <a:cxn ang="0">
                  <a:pos x="connsiteX2499" y="connsiteY2499"/>
                </a:cxn>
                <a:cxn ang="0">
                  <a:pos x="connsiteX2500" y="connsiteY2500"/>
                </a:cxn>
                <a:cxn ang="0">
                  <a:pos x="connsiteX2501" y="connsiteY2501"/>
                </a:cxn>
                <a:cxn ang="0">
                  <a:pos x="connsiteX2502" y="connsiteY2502"/>
                </a:cxn>
                <a:cxn ang="0">
                  <a:pos x="connsiteX2503" y="connsiteY2503"/>
                </a:cxn>
                <a:cxn ang="0">
                  <a:pos x="connsiteX2504" y="connsiteY2504"/>
                </a:cxn>
                <a:cxn ang="0">
                  <a:pos x="connsiteX2505" y="connsiteY2505"/>
                </a:cxn>
                <a:cxn ang="0">
                  <a:pos x="connsiteX2506" y="connsiteY2506"/>
                </a:cxn>
                <a:cxn ang="0">
                  <a:pos x="connsiteX2507" y="connsiteY2507"/>
                </a:cxn>
                <a:cxn ang="0">
                  <a:pos x="connsiteX2508" y="connsiteY2508"/>
                </a:cxn>
                <a:cxn ang="0">
                  <a:pos x="connsiteX2509" y="connsiteY2509"/>
                </a:cxn>
                <a:cxn ang="0">
                  <a:pos x="connsiteX2510" y="connsiteY2510"/>
                </a:cxn>
                <a:cxn ang="0">
                  <a:pos x="connsiteX2511" y="connsiteY2511"/>
                </a:cxn>
                <a:cxn ang="0">
                  <a:pos x="connsiteX2512" y="connsiteY2512"/>
                </a:cxn>
                <a:cxn ang="0">
                  <a:pos x="connsiteX2513" y="connsiteY2513"/>
                </a:cxn>
                <a:cxn ang="0">
                  <a:pos x="connsiteX2514" y="connsiteY2514"/>
                </a:cxn>
                <a:cxn ang="0">
                  <a:pos x="connsiteX2515" y="connsiteY2515"/>
                </a:cxn>
                <a:cxn ang="0">
                  <a:pos x="connsiteX2516" y="connsiteY2516"/>
                </a:cxn>
                <a:cxn ang="0">
                  <a:pos x="connsiteX2517" y="connsiteY2517"/>
                </a:cxn>
                <a:cxn ang="0">
                  <a:pos x="connsiteX2518" y="connsiteY2518"/>
                </a:cxn>
                <a:cxn ang="0">
                  <a:pos x="connsiteX2519" y="connsiteY2519"/>
                </a:cxn>
                <a:cxn ang="0">
                  <a:pos x="connsiteX2520" y="connsiteY2520"/>
                </a:cxn>
                <a:cxn ang="0">
                  <a:pos x="connsiteX2521" y="connsiteY2521"/>
                </a:cxn>
                <a:cxn ang="0">
                  <a:pos x="connsiteX2522" y="connsiteY2522"/>
                </a:cxn>
                <a:cxn ang="0">
                  <a:pos x="connsiteX2523" y="connsiteY2523"/>
                </a:cxn>
                <a:cxn ang="0">
                  <a:pos x="connsiteX2524" y="connsiteY2524"/>
                </a:cxn>
                <a:cxn ang="0">
                  <a:pos x="connsiteX2525" y="connsiteY2525"/>
                </a:cxn>
                <a:cxn ang="0">
                  <a:pos x="connsiteX2526" y="connsiteY2526"/>
                </a:cxn>
                <a:cxn ang="0">
                  <a:pos x="connsiteX2527" y="connsiteY2527"/>
                </a:cxn>
                <a:cxn ang="0">
                  <a:pos x="connsiteX2528" y="connsiteY2528"/>
                </a:cxn>
                <a:cxn ang="0">
                  <a:pos x="connsiteX2529" y="connsiteY2529"/>
                </a:cxn>
                <a:cxn ang="0">
                  <a:pos x="connsiteX2530" y="connsiteY2530"/>
                </a:cxn>
                <a:cxn ang="0">
                  <a:pos x="connsiteX2531" y="connsiteY2531"/>
                </a:cxn>
                <a:cxn ang="0">
                  <a:pos x="connsiteX2532" y="connsiteY2532"/>
                </a:cxn>
                <a:cxn ang="0">
                  <a:pos x="connsiteX2533" y="connsiteY2533"/>
                </a:cxn>
                <a:cxn ang="0">
                  <a:pos x="connsiteX2534" y="connsiteY2534"/>
                </a:cxn>
                <a:cxn ang="0">
                  <a:pos x="connsiteX2535" y="connsiteY2535"/>
                </a:cxn>
                <a:cxn ang="0">
                  <a:pos x="connsiteX2536" y="connsiteY2536"/>
                </a:cxn>
                <a:cxn ang="0">
                  <a:pos x="connsiteX2537" y="connsiteY2537"/>
                </a:cxn>
                <a:cxn ang="0">
                  <a:pos x="connsiteX2538" y="connsiteY2538"/>
                </a:cxn>
                <a:cxn ang="0">
                  <a:pos x="connsiteX2539" y="connsiteY2539"/>
                </a:cxn>
                <a:cxn ang="0">
                  <a:pos x="connsiteX2540" y="connsiteY2540"/>
                </a:cxn>
                <a:cxn ang="0">
                  <a:pos x="connsiteX2541" y="connsiteY2541"/>
                </a:cxn>
                <a:cxn ang="0">
                  <a:pos x="connsiteX2542" y="connsiteY2542"/>
                </a:cxn>
                <a:cxn ang="0">
                  <a:pos x="connsiteX2543" y="connsiteY2543"/>
                </a:cxn>
                <a:cxn ang="0">
                  <a:pos x="connsiteX2544" y="connsiteY2544"/>
                </a:cxn>
                <a:cxn ang="0">
                  <a:pos x="connsiteX2545" y="connsiteY2545"/>
                </a:cxn>
                <a:cxn ang="0">
                  <a:pos x="connsiteX2546" y="connsiteY2546"/>
                </a:cxn>
                <a:cxn ang="0">
                  <a:pos x="connsiteX2547" y="connsiteY2547"/>
                </a:cxn>
                <a:cxn ang="0">
                  <a:pos x="connsiteX2548" y="connsiteY2548"/>
                </a:cxn>
                <a:cxn ang="0">
                  <a:pos x="connsiteX2549" y="connsiteY2549"/>
                </a:cxn>
                <a:cxn ang="0">
                  <a:pos x="connsiteX2550" y="connsiteY2550"/>
                </a:cxn>
                <a:cxn ang="0">
                  <a:pos x="connsiteX2551" y="connsiteY2551"/>
                </a:cxn>
                <a:cxn ang="0">
                  <a:pos x="connsiteX2552" y="connsiteY2552"/>
                </a:cxn>
                <a:cxn ang="0">
                  <a:pos x="connsiteX2553" y="connsiteY2553"/>
                </a:cxn>
                <a:cxn ang="0">
                  <a:pos x="connsiteX2554" y="connsiteY2554"/>
                </a:cxn>
                <a:cxn ang="0">
                  <a:pos x="connsiteX2555" y="connsiteY2555"/>
                </a:cxn>
                <a:cxn ang="0">
                  <a:pos x="connsiteX2556" y="connsiteY2556"/>
                </a:cxn>
                <a:cxn ang="0">
                  <a:pos x="connsiteX2557" y="connsiteY2557"/>
                </a:cxn>
                <a:cxn ang="0">
                  <a:pos x="connsiteX2558" y="connsiteY2558"/>
                </a:cxn>
                <a:cxn ang="0">
                  <a:pos x="connsiteX2559" y="connsiteY2559"/>
                </a:cxn>
                <a:cxn ang="0">
                  <a:pos x="connsiteX2560" y="connsiteY2560"/>
                </a:cxn>
                <a:cxn ang="0">
                  <a:pos x="connsiteX2561" y="connsiteY2561"/>
                </a:cxn>
                <a:cxn ang="0">
                  <a:pos x="connsiteX2562" y="connsiteY2562"/>
                </a:cxn>
                <a:cxn ang="0">
                  <a:pos x="connsiteX2563" y="connsiteY2563"/>
                </a:cxn>
                <a:cxn ang="0">
                  <a:pos x="connsiteX2564" y="connsiteY2564"/>
                </a:cxn>
                <a:cxn ang="0">
                  <a:pos x="connsiteX2565" y="connsiteY2565"/>
                </a:cxn>
                <a:cxn ang="0">
                  <a:pos x="connsiteX2566" y="connsiteY2566"/>
                </a:cxn>
                <a:cxn ang="0">
                  <a:pos x="connsiteX2567" y="connsiteY2567"/>
                </a:cxn>
                <a:cxn ang="0">
                  <a:pos x="connsiteX2568" y="connsiteY2568"/>
                </a:cxn>
                <a:cxn ang="0">
                  <a:pos x="connsiteX2569" y="connsiteY2569"/>
                </a:cxn>
                <a:cxn ang="0">
                  <a:pos x="connsiteX2570" y="connsiteY2570"/>
                </a:cxn>
                <a:cxn ang="0">
                  <a:pos x="connsiteX2571" y="connsiteY2571"/>
                </a:cxn>
                <a:cxn ang="0">
                  <a:pos x="connsiteX2572" y="connsiteY2572"/>
                </a:cxn>
                <a:cxn ang="0">
                  <a:pos x="connsiteX2573" y="connsiteY2573"/>
                </a:cxn>
                <a:cxn ang="0">
                  <a:pos x="connsiteX2574" y="connsiteY2574"/>
                </a:cxn>
                <a:cxn ang="0">
                  <a:pos x="connsiteX2575" y="connsiteY2575"/>
                </a:cxn>
                <a:cxn ang="0">
                  <a:pos x="connsiteX2576" y="connsiteY2576"/>
                </a:cxn>
                <a:cxn ang="0">
                  <a:pos x="connsiteX2577" y="connsiteY2577"/>
                </a:cxn>
                <a:cxn ang="0">
                  <a:pos x="connsiteX2578" y="connsiteY2578"/>
                </a:cxn>
                <a:cxn ang="0">
                  <a:pos x="connsiteX2579" y="connsiteY2579"/>
                </a:cxn>
                <a:cxn ang="0">
                  <a:pos x="connsiteX2580" y="connsiteY2580"/>
                </a:cxn>
                <a:cxn ang="0">
                  <a:pos x="connsiteX2581" y="connsiteY2581"/>
                </a:cxn>
                <a:cxn ang="0">
                  <a:pos x="connsiteX2582" y="connsiteY2582"/>
                </a:cxn>
                <a:cxn ang="0">
                  <a:pos x="connsiteX2583" y="connsiteY2583"/>
                </a:cxn>
                <a:cxn ang="0">
                  <a:pos x="connsiteX2584" y="connsiteY2584"/>
                </a:cxn>
                <a:cxn ang="0">
                  <a:pos x="connsiteX2585" y="connsiteY2585"/>
                </a:cxn>
                <a:cxn ang="0">
                  <a:pos x="connsiteX2586" y="connsiteY2586"/>
                </a:cxn>
                <a:cxn ang="0">
                  <a:pos x="connsiteX2587" y="connsiteY2587"/>
                </a:cxn>
                <a:cxn ang="0">
                  <a:pos x="connsiteX2588" y="connsiteY2588"/>
                </a:cxn>
                <a:cxn ang="0">
                  <a:pos x="connsiteX2589" y="connsiteY2589"/>
                </a:cxn>
                <a:cxn ang="0">
                  <a:pos x="connsiteX2590" y="connsiteY2590"/>
                </a:cxn>
                <a:cxn ang="0">
                  <a:pos x="connsiteX2591" y="connsiteY2591"/>
                </a:cxn>
                <a:cxn ang="0">
                  <a:pos x="connsiteX2592" y="connsiteY2592"/>
                </a:cxn>
                <a:cxn ang="0">
                  <a:pos x="connsiteX2593" y="connsiteY2593"/>
                </a:cxn>
                <a:cxn ang="0">
                  <a:pos x="connsiteX2594" y="connsiteY2594"/>
                </a:cxn>
                <a:cxn ang="0">
                  <a:pos x="connsiteX2595" y="connsiteY2595"/>
                </a:cxn>
                <a:cxn ang="0">
                  <a:pos x="connsiteX2596" y="connsiteY2596"/>
                </a:cxn>
                <a:cxn ang="0">
                  <a:pos x="connsiteX2597" y="connsiteY2597"/>
                </a:cxn>
                <a:cxn ang="0">
                  <a:pos x="connsiteX2598" y="connsiteY2598"/>
                </a:cxn>
                <a:cxn ang="0">
                  <a:pos x="connsiteX2599" y="connsiteY2599"/>
                </a:cxn>
                <a:cxn ang="0">
                  <a:pos x="connsiteX2600" y="connsiteY2600"/>
                </a:cxn>
                <a:cxn ang="0">
                  <a:pos x="connsiteX2601" y="connsiteY2601"/>
                </a:cxn>
                <a:cxn ang="0">
                  <a:pos x="connsiteX2602" y="connsiteY2602"/>
                </a:cxn>
                <a:cxn ang="0">
                  <a:pos x="connsiteX2603" y="connsiteY2603"/>
                </a:cxn>
                <a:cxn ang="0">
                  <a:pos x="connsiteX2604" y="connsiteY2604"/>
                </a:cxn>
                <a:cxn ang="0">
                  <a:pos x="connsiteX2605" y="connsiteY2605"/>
                </a:cxn>
                <a:cxn ang="0">
                  <a:pos x="connsiteX2606" y="connsiteY2606"/>
                </a:cxn>
                <a:cxn ang="0">
                  <a:pos x="connsiteX2607" y="connsiteY2607"/>
                </a:cxn>
                <a:cxn ang="0">
                  <a:pos x="connsiteX2608" y="connsiteY2608"/>
                </a:cxn>
                <a:cxn ang="0">
                  <a:pos x="connsiteX2609" y="connsiteY2609"/>
                </a:cxn>
                <a:cxn ang="0">
                  <a:pos x="connsiteX2610" y="connsiteY2610"/>
                </a:cxn>
                <a:cxn ang="0">
                  <a:pos x="connsiteX2611" y="connsiteY2611"/>
                </a:cxn>
                <a:cxn ang="0">
                  <a:pos x="connsiteX2612" y="connsiteY2612"/>
                </a:cxn>
                <a:cxn ang="0">
                  <a:pos x="connsiteX2613" y="connsiteY2613"/>
                </a:cxn>
                <a:cxn ang="0">
                  <a:pos x="connsiteX2614" y="connsiteY2614"/>
                </a:cxn>
                <a:cxn ang="0">
                  <a:pos x="connsiteX2615" y="connsiteY2615"/>
                </a:cxn>
                <a:cxn ang="0">
                  <a:pos x="connsiteX2616" y="connsiteY2616"/>
                </a:cxn>
                <a:cxn ang="0">
                  <a:pos x="connsiteX2617" y="connsiteY2617"/>
                </a:cxn>
                <a:cxn ang="0">
                  <a:pos x="connsiteX2618" y="connsiteY2618"/>
                </a:cxn>
                <a:cxn ang="0">
                  <a:pos x="connsiteX2619" y="connsiteY2619"/>
                </a:cxn>
                <a:cxn ang="0">
                  <a:pos x="connsiteX2620" y="connsiteY2620"/>
                </a:cxn>
                <a:cxn ang="0">
                  <a:pos x="connsiteX2621" y="connsiteY2621"/>
                </a:cxn>
                <a:cxn ang="0">
                  <a:pos x="connsiteX2622" y="connsiteY2622"/>
                </a:cxn>
                <a:cxn ang="0">
                  <a:pos x="connsiteX2623" y="connsiteY2623"/>
                </a:cxn>
                <a:cxn ang="0">
                  <a:pos x="connsiteX2624" y="connsiteY2624"/>
                </a:cxn>
                <a:cxn ang="0">
                  <a:pos x="connsiteX2625" y="connsiteY2625"/>
                </a:cxn>
                <a:cxn ang="0">
                  <a:pos x="connsiteX2626" y="connsiteY2626"/>
                </a:cxn>
                <a:cxn ang="0">
                  <a:pos x="connsiteX2627" y="connsiteY2627"/>
                </a:cxn>
                <a:cxn ang="0">
                  <a:pos x="connsiteX2628" y="connsiteY2628"/>
                </a:cxn>
                <a:cxn ang="0">
                  <a:pos x="connsiteX2629" y="connsiteY2629"/>
                </a:cxn>
                <a:cxn ang="0">
                  <a:pos x="connsiteX2630" y="connsiteY2630"/>
                </a:cxn>
                <a:cxn ang="0">
                  <a:pos x="connsiteX2631" y="connsiteY2631"/>
                </a:cxn>
                <a:cxn ang="0">
                  <a:pos x="connsiteX2632" y="connsiteY2632"/>
                </a:cxn>
                <a:cxn ang="0">
                  <a:pos x="connsiteX2633" y="connsiteY2633"/>
                </a:cxn>
                <a:cxn ang="0">
                  <a:pos x="connsiteX2634" y="connsiteY2634"/>
                </a:cxn>
                <a:cxn ang="0">
                  <a:pos x="connsiteX2635" y="connsiteY2635"/>
                </a:cxn>
                <a:cxn ang="0">
                  <a:pos x="connsiteX2636" y="connsiteY2636"/>
                </a:cxn>
                <a:cxn ang="0">
                  <a:pos x="connsiteX2637" y="connsiteY2637"/>
                </a:cxn>
                <a:cxn ang="0">
                  <a:pos x="connsiteX2638" y="connsiteY2638"/>
                </a:cxn>
                <a:cxn ang="0">
                  <a:pos x="connsiteX2639" y="connsiteY2639"/>
                </a:cxn>
                <a:cxn ang="0">
                  <a:pos x="connsiteX2640" y="connsiteY2640"/>
                </a:cxn>
                <a:cxn ang="0">
                  <a:pos x="connsiteX2641" y="connsiteY2641"/>
                </a:cxn>
                <a:cxn ang="0">
                  <a:pos x="connsiteX2642" y="connsiteY2642"/>
                </a:cxn>
                <a:cxn ang="0">
                  <a:pos x="connsiteX2643" y="connsiteY2643"/>
                </a:cxn>
                <a:cxn ang="0">
                  <a:pos x="connsiteX2644" y="connsiteY2644"/>
                </a:cxn>
                <a:cxn ang="0">
                  <a:pos x="connsiteX2645" y="connsiteY2645"/>
                </a:cxn>
                <a:cxn ang="0">
                  <a:pos x="connsiteX2646" y="connsiteY2646"/>
                </a:cxn>
                <a:cxn ang="0">
                  <a:pos x="connsiteX2647" y="connsiteY2647"/>
                </a:cxn>
                <a:cxn ang="0">
                  <a:pos x="connsiteX2648" y="connsiteY2648"/>
                </a:cxn>
                <a:cxn ang="0">
                  <a:pos x="connsiteX2649" y="connsiteY2649"/>
                </a:cxn>
                <a:cxn ang="0">
                  <a:pos x="connsiteX2650" y="connsiteY2650"/>
                </a:cxn>
                <a:cxn ang="0">
                  <a:pos x="connsiteX2651" y="connsiteY2651"/>
                </a:cxn>
                <a:cxn ang="0">
                  <a:pos x="connsiteX2652" y="connsiteY2652"/>
                </a:cxn>
                <a:cxn ang="0">
                  <a:pos x="connsiteX2653" y="connsiteY2653"/>
                </a:cxn>
                <a:cxn ang="0">
                  <a:pos x="connsiteX2654" y="connsiteY2654"/>
                </a:cxn>
                <a:cxn ang="0">
                  <a:pos x="connsiteX2655" y="connsiteY2655"/>
                </a:cxn>
                <a:cxn ang="0">
                  <a:pos x="connsiteX2656" y="connsiteY2656"/>
                </a:cxn>
                <a:cxn ang="0">
                  <a:pos x="connsiteX2657" y="connsiteY2657"/>
                </a:cxn>
                <a:cxn ang="0">
                  <a:pos x="connsiteX2658" y="connsiteY2658"/>
                </a:cxn>
                <a:cxn ang="0">
                  <a:pos x="connsiteX2659" y="connsiteY2659"/>
                </a:cxn>
                <a:cxn ang="0">
                  <a:pos x="connsiteX2660" y="connsiteY2660"/>
                </a:cxn>
                <a:cxn ang="0">
                  <a:pos x="connsiteX2661" y="connsiteY2661"/>
                </a:cxn>
                <a:cxn ang="0">
                  <a:pos x="connsiteX2662" y="connsiteY2662"/>
                </a:cxn>
                <a:cxn ang="0">
                  <a:pos x="connsiteX2663" y="connsiteY2663"/>
                </a:cxn>
                <a:cxn ang="0">
                  <a:pos x="connsiteX2664" y="connsiteY2664"/>
                </a:cxn>
                <a:cxn ang="0">
                  <a:pos x="connsiteX2665" y="connsiteY2665"/>
                </a:cxn>
                <a:cxn ang="0">
                  <a:pos x="connsiteX2666" y="connsiteY2666"/>
                </a:cxn>
                <a:cxn ang="0">
                  <a:pos x="connsiteX2667" y="connsiteY2667"/>
                </a:cxn>
                <a:cxn ang="0">
                  <a:pos x="connsiteX2668" y="connsiteY2668"/>
                </a:cxn>
                <a:cxn ang="0">
                  <a:pos x="connsiteX2669" y="connsiteY2669"/>
                </a:cxn>
                <a:cxn ang="0">
                  <a:pos x="connsiteX2670" y="connsiteY2670"/>
                </a:cxn>
                <a:cxn ang="0">
                  <a:pos x="connsiteX2671" y="connsiteY2671"/>
                </a:cxn>
                <a:cxn ang="0">
                  <a:pos x="connsiteX2672" y="connsiteY2672"/>
                </a:cxn>
                <a:cxn ang="0">
                  <a:pos x="connsiteX2673" y="connsiteY2673"/>
                </a:cxn>
                <a:cxn ang="0">
                  <a:pos x="connsiteX2674" y="connsiteY2674"/>
                </a:cxn>
                <a:cxn ang="0">
                  <a:pos x="connsiteX2675" y="connsiteY2675"/>
                </a:cxn>
                <a:cxn ang="0">
                  <a:pos x="connsiteX2676" y="connsiteY2676"/>
                </a:cxn>
                <a:cxn ang="0">
                  <a:pos x="connsiteX2677" y="connsiteY2677"/>
                </a:cxn>
                <a:cxn ang="0">
                  <a:pos x="connsiteX2678" y="connsiteY2678"/>
                </a:cxn>
                <a:cxn ang="0">
                  <a:pos x="connsiteX2679" y="connsiteY2679"/>
                </a:cxn>
                <a:cxn ang="0">
                  <a:pos x="connsiteX2680" y="connsiteY2680"/>
                </a:cxn>
                <a:cxn ang="0">
                  <a:pos x="connsiteX2681" y="connsiteY2681"/>
                </a:cxn>
                <a:cxn ang="0">
                  <a:pos x="connsiteX2682" y="connsiteY2682"/>
                </a:cxn>
                <a:cxn ang="0">
                  <a:pos x="connsiteX2683" y="connsiteY2683"/>
                </a:cxn>
                <a:cxn ang="0">
                  <a:pos x="connsiteX2684" y="connsiteY2684"/>
                </a:cxn>
                <a:cxn ang="0">
                  <a:pos x="connsiteX2685" y="connsiteY2685"/>
                </a:cxn>
                <a:cxn ang="0">
                  <a:pos x="connsiteX2686" y="connsiteY2686"/>
                </a:cxn>
                <a:cxn ang="0">
                  <a:pos x="connsiteX2687" y="connsiteY2687"/>
                </a:cxn>
                <a:cxn ang="0">
                  <a:pos x="connsiteX2688" y="connsiteY2688"/>
                </a:cxn>
                <a:cxn ang="0">
                  <a:pos x="connsiteX2689" y="connsiteY2689"/>
                </a:cxn>
                <a:cxn ang="0">
                  <a:pos x="connsiteX2690" y="connsiteY2690"/>
                </a:cxn>
                <a:cxn ang="0">
                  <a:pos x="connsiteX2691" y="connsiteY2691"/>
                </a:cxn>
                <a:cxn ang="0">
                  <a:pos x="connsiteX2692" y="connsiteY2692"/>
                </a:cxn>
                <a:cxn ang="0">
                  <a:pos x="connsiteX2693" y="connsiteY2693"/>
                </a:cxn>
                <a:cxn ang="0">
                  <a:pos x="connsiteX2694" y="connsiteY2694"/>
                </a:cxn>
                <a:cxn ang="0">
                  <a:pos x="connsiteX2695" y="connsiteY2695"/>
                </a:cxn>
                <a:cxn ang="0">
                  <a:pos x="connsiteX2696" y="connsiteY2696"/>
                </a:cxn>
                <a:cxn ang="0">
                  <a:pos x="connsiteX2697" y="connsiteY2697"/>
                </a:cxn>
                <a:cxn ang="0">
                  <a:pos x="connsiteX2698" y="connsiteY2698"/>
                </a:cxn>
                <a:cxn ang="0">
                  <a:pos x="connsiteX2699" y="connsiteY2699"/>
                </a:cxn>
                <a:cxn ang="0">
                  <a:pos x="connsiteX2700" y="connsiteY2700"/>
                </a:cxn>
                <a:cxn ang="0">
                  <a:pos x="connsiteX2701" y="connsiteY2701"/>
                </a:cxn>
                <a:cxn ang="0">
                  <a:pos x="connsiteX2702" y="connsiteY2702"/>
                </a:cxn>
                <a:cxn ang="0">
                  <a:pos x="connsiteX2703" y="connsiteY2703"/>
                </a:cxn>
                <a:cxn ang="0">
                  <a:pos x="connsiteX2704" y="connsiteY2704"/>
                </a:cxn>
                <a:cxn ang="0">
                  <a:pos x="connsiteX2705" y="connsiteY2705"/>
                </a:cxn>
                <a:cxn ang="0">
                  <a:pos x="connsiteX2706" y="connsiteY2706"/>
                </a:cxn>
                <a:cxn ang="0">
                  <a:pos x="connsiteX2707" y="connsiteY2707"/>
                </a:cxn>
                <a:cxn ang="0">
                  <a:pos x="connsiteX2708" y="connsiteY2708"/>
                </a:cxn>
                <a:cxn ang="0">
                  <a:pos x="connsiteX2709" y="connsiteY2709"/>
                </a:cxn>
                <a:cxn ang="0">
                  <a:pos x="connsiteX2710" y="connsiteY2710"/>
                </a:cxn>
                <a:cxn ang="0">
                  <a:pos x="connsiteX2711" y="connsiteY2711"/>
                </a:cxn>
                <a:cxn ang="0">
                  <a:pos x="connsiteX2712" y="connsiteY2712"/>
                </a:cxn>
                <a:cxn ang="0">
                  <a:pos x="connsiteX2713" y="connsiteY2713"/>
                </a:cxn>
                <a:cxn ang="0">
                  <a:pos x="connsiteX2714" y="connsiteY2714"/>
                </a:cxn>
                <a:cxn ang="0">
                  <a:pos x="connsiteX2715" y="connsiteY2715"/>
                </a:cxn>
                <a:cxn ang="0">
                  <a:pos x="connsiteX2716" y="connsiteY2716"/>
                </a:cxn>
                <a:cxn ang="0">
                  <a:pos x="connsiteX2717" y="connsiteY2717"/>
                </a:cxn>
                <a:cxn ang="0">
                  <a:pos x="connsiteX2718" y="connsiteY2718"/>
                </a:cxn>
                <a:cxn ang="0">
                  <a:pos x="connsiteX2719" y="connsiteY2719"/>
                </a:cxn>
                <a:cxn ang="0">
                  <a:pos x="connsiteX2720" y="connsiteY2720"/>
                </a:cxn>
                <a:cxn ang="0">
                  <a:pos x="connsiteX2721" y="connsiteY2721"/>
                </a:cxn>
                <a:cxn ang="0">
                  <a:pos x="connsiteX2722" y="connsiteY2722"/>
                </a:cxn>
                <a:cxn ang="0">
                  <a:pos x="connsiteX2723" y="connsiteY2723"/>
                </a:cxn>
                <a:cxn ang="0">
                  <a:pos x="connsiteX2724" y="connsiteY2724"/>
                </a:cxn>
                <a:cxn ang="0">
                  <a:pos x="connsiteX2725" y="connsiteY2725"/>
                </a:cxn>
                <a:cxn ang="0">
                  <a:pos x="connsiteX2726" y="connsiteY2726"/>
                </a:cxn>
                <a:cxn ang="0">
                  <a:pos x="connsiteX2727" y="connsiteY2727"/>
                </a:cxn>
                <a:cxn ang="0">
                  <a:pos x="connsiteX2728" y="connsiteY2728"/>
                </a:cxn>
                <a:cxn ang="0">
                  <a:pos x="connsiteX2729" y="connsiteY2729"/>
                </a:cxn>
                <a:cxn ang="0">
                  <a:pos x="connsiteX2730" y="connsiteY2730"/>
                </a:cxn>
                <a:cxn ang="0">
                  <a:pos x="connsiteX2731" y="connsiteY2731"/>
                </a:cxn>
                <a:cxn ang="0">
                  <a:pos x="connsiteX2732" y="connsiteY2732"/>
                </a:cxn>
                <a:cxn ang="0">
                  <a:pos x="connsiteX2733" y="connsiteY2733"/>
                </a:cxn>
                <a:cxn ang="0">
                  <a:pos x="connsiteX2734" y="connsiteY2734"/>
                </a:cxn>
                <a:cxn ang="0">
                  <a:pos x="connsiteX2735" y="connsiteY2735"/>
                </a:cxn>
                <a:cxn ang="0">
                  <a:pos x="connsiteX2736" y="connsiteY2736"/>
                </a:cxn>
                <a:cxn ang="0">
                  <a:pos x="connsiteX2737" y="connsiteY2737"/>
                </a:cxn>
                <a:cxn ang="0">
                  <a:pos x="connsiteX2738" y="connsiteY2738"/>
                </a:cxn>
                <a:cxn ang="0">
                  <a:pos x="connsiteX2739" y="connsiteY2739"/>
                </a:cxn>
                <a:cxn ang="0">
                  <a:pos x="connsiteX2740" y="connsiteY2740"/>
                </a:cxn>
                <a:cxn ang="0">
                  <a:pos x="connsiteX2741" y="connsiteY2741"/>
                </a:cxn>
                <a:cxn ang="0">
                  <a:pos x="connsiteX2742" y="connsiteY2742"/>
                </a:cxn>
                <a:cxn ang="0">
                  <a:pos x="connsiteX2743" y="connsiteY2743"/>
                </a:cxn>
                <a:cxn ang="0">
                  <a:pos x="connsiteX2744" y="connsiteY2744"/>
                </a:cxn>
                <a:cxn ang="0">
                  <a:pos x="connsiteX2745" y="connsiteY2745"/>
                </a:cxn>
                <a:cxn ang="0">
                  <a:pos x="connsiteX2746" y="connsiteY2746"/>
                </a:cxn>
                <a:cxn ang="0">
                  <a:pos x="connsiteX2747" y="connsiteY2747"/>
                </a:cxn>
                <a:cxn ang="0">
                  <a:pos x="connsiteX2748" y="connsiteY2748"/>
                </a:cxn>
                <a:cxn ang="0">
                  <a:pos x="connsiteX2749" y="connsiteY2749"/>
                </a:cxn>
                <a:cxn ang="0">
                  <a:pos x="connsiteX2750" y="connsiteY2750"/>
                </a:cxn>
                <a:cxn ang="0">
                  <a:pos x="connsiteX2751" y="connsiteY2751"/>
                </a:cxn>
                <a:cxn ang="0">
                  <a:pos x="connsiteX2752" y="connsiteY2752"/>
                </a:cxn>
                <a:cxn ang="0">
                  <a:pos x="connsiteX2753" y="connsiteY2753"/>
                </a:cxn>
                <a:cxn ang="0">
                  <a:pos x="connsiteX2754" y="connsiteY2754"/>
                </a:cxn>
                <a:cxn ang="0">
                  <a:pos x="connsiteX2755" y="connsiteY2755"/>
                </a:cxn>
                <a:cxn ang="0">
                  <a:pos x="connsiteX2756" y="connsiteY2756"/>
                </a:cxn>
                <a:cxn ang="0">
                  <a:pos x="connsiteX2757" y="connsiteY2757"/>
                </a:cxn>
                <a:cxn ang="0">
                  <a:pos x="connsiteX2758" y="connsiteY2758"/>
                </a:cxn>
                <a:cxn ang="0">
                  <a:pos x="connsiteX2759" y="connsiteY2759"/>
                </a:cxn>
                <a:cxn ang="0">
                  <a:pos x="connsiteX2760" y="connsiteY2760"/>
                </a:cxn>
                <a:cxn ang="0">
                  <a:pos x="connsiteX2761" y="connsiteY2761"/>
                </a:cxn>
                <a:cxn ang="0">
                  <a:pos x="connsiteX2762" y="connsiteY2762"/>
                </a:cxn>
                <a:cxn ang="0">
                  <a:pos x="connsiteX2763" y="connsiteY2763"/>
                </a:cxn>
                <a:cxn ang="0">
                  <a:pos x="connsiteX2764" y="connsiteY2764"/>
                </a:cxn>
                <a:cxn ang="0">
                  <a:pos x="connsiteX2765" y="connsiteY2765"/>
                </a:cxn>
                <a:cxn ang="0">
                  <a:pos x="connsiteX2766" y="connsiteY2766"/>
                </a:cxn>
                <a:cxn ang="0">
                  <a:pos x="connsiteX2767" y="connsiteY2767"/>
                </a:cxn>
                <a:cxn ang="0">
                  <a:pos x="connsiteX2768" y="connsiteY2768"/>
                </a:cxn>
                <a:cxn ang="0">
                  <a:pos x="connsiteX2769" y="connsiteY2769"/>
                </a:cxn>
                <a:cxn ang="0">
                  <a:pos x="connsiteX2770" y="connsiteY2770"/>
                </a:cxn>
                <a:cxn ang="0">
                  <a:pos x="connsiteX2771" y="connsiteY2771"/>
                </a:cxn>
                <a:cxn ang="0">
                  <a:pos x="connsiteX2772" y="connsiteY2772"/>
                </a:cxn>
                <a:cxn ang="0">
                  <a:pos x="connsiteX2773" y="connsiteY2773"/>
                </a:cxn>
                <a:cxn ang="0">
                  <a:pos x="connsiteX2774" y="connsiteY2774"/>
                </a:cxn>
                <a:cxn ang="0">
                  <a:pos x="connsiteX2775" y="connsiteY2775"/>
                </a:cxn>
                <a:cxn ang="0">
                  <a:pos x="connsiteX2776" y="connsiteY2776"/>
                </a:cxn>
                <a:cxn ang="0">
                  <a:pos x="connsiteX2777" y="connsiteY2777"/>
                </a:cxn>
                <a:cxn ang="0">
                  <a:pos x="connsiteX2778" y="connsiteY2778"/>
                </a:cxn>
                <a:cxn ang="0">
                  <a:pos x="connsiteX2779" y="connsiteY2779"/>
                </a:cxn>
                <a:cxn ang="0">
                  <a:pos x="connsiteX2780" y="connsiteY2780"/>
                </a:cxn>
                <a:cxn ang="0">
                  <a:pos x="connsiteX2781" y="connsiteY2781"/>
                </a:cxn>
                <a:cxn ang="0">
                  <a:pos x="connsiteX2782" y="connsiteY2782"/>
                </a:cxn>
                <a:cxn ang="0">
                  <a:pos x="connsiteX2783" y="connsiteY2783"/>
                </a:cxn>
                <a:cxn ang="0">
                  <a:pos x="connsiteX2784" y="connsiteY2784"/>
                </a:cxn>
                <a:cxn ang="0">
                  <a:pos x="connsiteX2785" y="connsiteY2785"/>
                </a:cxn>
                <a:cxn ang="0">
                  <a:pos x="connsiteX2786" y="connsiteY2786"/>
                </a:cxn>
                <a:cxn ang="0">
                  <a:pos x="connsiteX2787" y="connsiteY2787"/>
                </a:cxn>
                <a:cxn ang="0">
                  <a:pos x="connsiteX2788" y="connsiteY2788"/>
                </a:cxn>
                <a:cxn ang="0">
                  <a:pos x="connsiteX2789" y="connsiteY2789"/>
                </a:cxn>
                <a:cxn ang="0">
                  <a:pos x="connsiteX2790" y="connsiteY2790"/>
                </a:cxn>
                <a:cxn ang="0">
                  <a:pos x="connsiteX2791" y="connsiteY2791"/>
                </a:cxn>
                <a:cxn ang="0">
                  <a:pos x="connsiteX2792" y="connsiteY2792"/>
                </a:cxn>
                <a:cxn ang="0">
                  <a:pos x="connsiteX2793" y="connsiteY2793"/>
                </a:cxn>
                <a:cxn ang="0">
                  <a:pos x="connsiteX2794" y="connsiteY2794"/>
                </a:cxn>
                <a:cxn ang="0">
                  <a:pos x="connsiteX2795" y="connsiteY2795"/>
                </a:cxn>
                <a:cxn ang="0">
                  <a:pos x="connsiteX2796" y="connsiteY2796"/>
                </a:cxn>
                <a:cxn ang="0">
                  <a:pos x="connsiteX2797" y="connsiteY2797"/>
                </a:cxn>
                <a:cxn ang="0">
                  <a:pos x="connsiteX2798" y="connsiteY2798"/>
                </a:cxn>
                <a:cxn ang="0">
                  <a:pos x="connsiteX2799" y="connsiteY2799"/>
                </a:cxn>
                <a:cxn ang="0">
                  <a:pos x="connsiteX2800" y="connsiteY2800"/>
                </a:cxn>
                <a:cxn ang="0">
                  <a:pos x="connsiteX2801" y="connsiteY2801"/>
                </a:cxn>
                <a:cxn ang="0">
                  <a:pos x="connsiteX2802" y="connsiteY2802"/>
                </a:cxn>
                <a:cxn ang="0">
                  <a:pos x="connsiteX2803" y="connsiteY2803"/>
                </a:cxn>
                <a:cxn ang="0">
                  <a:pos x="connsiteX2804" y="connsiteY2804"/>
                </a:cxn>
                <a:cxn ang="0">
                  <a:pos x="connsiteX2805" y="connsiteY2805"/>
                </a:cxn>
                <a:cxn ang="0">
                  <a:pos x="connsiteX2806" y="connsiteY2806"/>
                </a:cxn>
                <a:cxn ang="0">
                  <a:pos x="connsiteX2807" y="connsiteY2807"/>
                </a:cxn>
                <a:cxn ang="0">
                  <a:pos x="connsiteX2808" y="connsiteY2808"/>
                </a:cxn>
                <a:cxn ang="0">
                  <a:pos x="connsiteX2809" y="connsiteY2809"/>
                </a:cxn>
                <a:cxn ang="0">
                  <a:pos x="connsiteX2810" y="connsiteY2810"/>
                </a:cxn>
                <a:cxn ang="0">
                  <a:pos x="connsiteX2811" y="connsiteY2811"/>
                </a:cxn>
                <a:cxn ang="0">
                  <a:pos x="connsiteX2812" y="connsiteY2812"/>
                </a:cxn>
                <a:cxn ang="0">
                  <a:pos x="connsiteX2813" y="connsiteY2813"/>
                </a:cxn>
                <a:cxn ang="0">
                  <a:pos x="connsiteX2814" y="connsiteY2814"/>
                </a:cxn>
                <a:cxn ang="0">
                  <a:pos x="connsiteX2815" y="connsiteY2815"/>
                </a:cxn>
                <a:cxn ang="0">
                  <a:pos x="connsiteX2816" y="connsiteY2816"/>
                </a:cxn>
                <a:cxn ang="0">
                  <a:pos x="connsiteX2817" y="connsiteY2817"/>
                </a:cxn>
                <a:cxn ang="0">
                  <a:pos x="connsiteX2818" y="connsiteY2818"/>
                </a:cxn>
                <a:cxn ang="0">
                  <a:pos x="connsiteX2819" y="connsiteY2819"/>
                </a:cxn>
                <a:cxn ang="0">
                  <a:pos x="connsiteX2820" y="connsiteY2820"/>
                </a:cxn>
                <a:cxn ang="0">
                  <a:pos x="connsiteX2821" y="connsiteY2821"/>
                </a:cxn>
                <a:cxn ang="0">
                  <a:pos x="connsiteX2822" y="connsiteY2822"/>
                </a:cxn>
                <a:cxn ang="0">
                  <a:pos x="connsiteX2823" y="connsiteY2823"/>
                </a:cxn>
                <a:cxn ang="0">
                  <a:pos x="connsiteX2824" y="connsiteY2824"/>
                </a:cxn>
                <a:cxn ang="0">
                  <a:pos x="connsiteX2825" y="connsiteY2825"/>
                </a:cxn>
                <a:cxn ang="0">
                  <a:pos x="connsiteX2826" y="connsiteY2826"/>
                </a:cxn>
                <a:cxn ang="0">
                  <a:pos x="connsiteX2827" y="connsiteY2827"/>
                </a:cxn>
                <a:cxn ang="0">
                  <a:pos x="connsiteX2828" y="connsiteY2828"/>
                </a:cxn>
                <a:cxn ang="0">
                  <a:pos x="connsiteX2829" y="connsiteY2829"/>
                </a:cxn>
                <a:cxn ang="0">
                  <a:pos x="connsiteX2830" y="connsiteY2830"/>
                </a:cxn>
                <a:cxn ang="0">
                  <a:pos x="connsiteX2831" y="connsiteY2831"/>
                </a:cxn>
                <a:cxn ang="0">
                  <a:pos x="connsiteX2832" y="connsiteY2832"/>
                </a:cxn>
                <a:cxn ang="0">
                  <a:pos x="connsiteX2833" y="connsiteY2833"/>
                </a:cxn>
                <a:cxn ang="0">
                  <a:pos x="connsiteX2834" y="connsiteY2834"/>
                </a:cxn>
                <a:cxn ang="0">
                  <a:pos x="connsiteX2835" y="connsiteY2835"/>
                </a:cxn>
                <a:cxn ang="0">
                  <a:pos x="connsiteX2836" y="connsiteY2836"/>
                </a:cxn>
                <a:cxn ang="0">
                  <a:pos x="connsiteX2837" y="connsiteY2837"/>
                </a:cxn>
                <a:cxn ang="0">
                  <a:pos x="connsiteX2838" y="connsiteY2838"/>
                </a:cxn>
                <a:cxn ang="0">
                  <a:pos x="connsiteX2839" y="connsiteY2839"/>
                </a:cxn>
                <a:cxn ang="0">
                  <a:pos x="connsiteX2840" y="connsiteY2840"/>
                </a:cxn>
                <a:cxn ang="0">
                  <a:pos x="connsiteX2841" y="connsiteY2841"/>
                </a:cxn>
                <a:cxn ang="0">
                  <a:pos x="connsiteX2842" y="connsiteY2842"/>
                </a:cxn>
                <a:cxn ang="0">
                  <a:pos x="connsiteX2843" y="connsiteY2843"/>
                </a:cxn>
                <a:cxn ang="0">
                  <a:pos x="connsiteX2844" y="connsiteY2844"/>
                </a:cxn>
                <a:cxn ang="0">
                  <a:pos x="connsiteX2845" y="connsiteY2845"/>
                </a:cxn>
                <a:cxn ang="0">
                  <a:pos x="connsiteX2846" y="connsiteY2846"/>
                </a:cxn>
                <a:cxn ang="0">
                  <a:pos x="connsiteX2847" y="connsiteY2847"/>
                </a:cxn>
                <a:cxn ang="0">
                  <a:pos x="connsiteX2848" y="connsiteY2848"/>
                </a:cxn>
                <a:cxn ang="0">
                  <a:pos x="connsiteX2849" y="connsiteY2849"/>
                </a:cxn>
                <a:cxn ang="0">
                  <a:pos x="connsiteX2850" y="connsiteY2850"/>
                </a:cxn>
                <a:cxn ang="0">
                  <a:pos x="connsiteX2851" y="connsiteY2851"/>
                </a:cxn>
                <a:cxn ang="0">
                  <a:pos x="connsiteX2852" y="connsiteY2852"/>
                </a:cxn>
                <a:cxn ang="0">
                  <a:pos x="connsiteX2853" y="connsiteY2853"/>
                </a:cxn>
                <a:cxn ang="0">
                  <a:pos x="connsiteX2854" y="connsiteY2854"/>
                </a:cxn>
                <a:cxn ang="0">
                  <a:pos x="connsiteX2855" y="connsiteY2855"/>
                </a:cxn>
                <a:cxn ang="0">
                  <a:pos x="connsiteX2856" y="connsiteY2856"/>
                </a:cxn>
                <a:cxn ang="0">
                  <a:pos x="connsiteX2857" y="connsiteY2857"/>
                </a:cxn>
                <a:cxn ang="0">
                  <a:pos x="connsiteX2858" y="connsiteY2858"/>
                </a:cxn>
                <a:cxn ang="0">
                  <a:pos x="connsiteX2859" y="connsiteY2859"/>
                </a:cxn>
                <a:cxn ang="0">
                  <a:pos x="connsiteX2860" y="connsiteY2860"/>
                </a:cxn>
                <a:cxn ang="0">
                  <a:pos x="connsiteX2861" y="connsiteY2861"/>
                </a:cxn>
                <a:cxn ang="0">
                  <a:pos x="connsiteX2862" y="connsiteY2862"/>
                </a:cxn>
                <a:cxn ang="0">
                  <a:pos x="connsiteX2863" y="connsiteY2863"/>
                </a:cxn>
                <a:cxn ang="0">
                  <a:pos x="connsiteX2864" y="connsiteY2864"/>
                </a:cxn>
                <a:cxn ang="0">
                  <a:pos x="connsiteX2865" y="connsiteY2865"/>
                </a:cxn>
                <a:cxn ang="0">
                  <a:pos x="connsiteX2866" y="connsiteY2866"/>
                </a:cxn>
                <a:cxn ang="0">
                  <a:pos x="connsiteX2867" y="connsiteY2867"/>
                </a:cxn>
                <a:cxn ang="0">
                  <a:pos x="connsiteX2868" y="connsiteY2868"/>
                </a:cxn>
                <a:cxn ang="0">
                  <a:pos x="connsiteX2869" y="connsiteY2869"/>
                </a:cxn>
                <a:cxn ang="0">
                  <a:pos x="connsiteX2870" y="connsiteY2870"/>
                </a:cxn>
                <a:cxn ang="0">
                  <a:pos x="connsiteX2871" y="connsiteY2871"/>
                </a:cxn>
                <a:cxn ang="0">
                  <a:pos x="connsiteX2872" y="connsiteY2872"/>
                </a:cxn>
                <a:cxn ang="0">
                  <a:pos x="connsiteX2873" y="connsiteY2873"/>
                </a:cxn>
                <a:cxn ang="0">
                  <a:pos x="connsiteX2874" y="connsiteY2874"/>
                </a:cxn>
                <a:cxn ang="0">
                  <a:pos x="connsiteX2875" y="connsiteY2875"/>
                </a:cxn>
                <a:cxn ang="0">
                  <a:pos x="connsiteX2876" y="connsiteY2876"/>
                </a:cxn>
                <a:cxn ang="0">
                  <a:pos x="connsiteX2877" y="connsiteY2877"/>
                </a:cxn>
                <a:cxn ang="0">
                  <a:pos x="connsiteX2878" y="connsiteY2878"/>
                </a:cxn>
                <a:cxn ang="0">
                  <a:pos x="connsiteX2879" y="connsiteY2879"/>
                </a:cxn>
                <a:cxn ang="0">
                  <a:pos x="connsiteX2880" y="connsiteY2880"/>
                </a:cxn>
                <a:cxn ang="0">
                  <a:pos x="connsiteX2881" y="connsiteY2881"/>
                </a:cxn>
                <a:cxn ang="0">
                  <a:pos x="connsiteX2882" y="connsiteY2882"/>
                </a:cxn>
                <a:cxn ang="0">
                  <a:pos x="connsiteX2883" y="connsiteY2883"/>
                </a:cxn>
                <a:cxn ang="0">
                  <a:pos x="connsiteX2884" y="connsiteY2884"/>
                </a:cxn>
                <a:cxn ang="0">
                  <a:pos x="connsiteX2885" y="connsiteY2885"/>
                </a:cxn>
                <a:cxn ang="0">
                  <a:pos x="connsiteX2886" y="connsiteY2886"/>
                </a:cxn>
                <a:cxn ang="0">
                  <a:pos x="connsiteX2887" y="connsiteY2887"/>
                </a:cxn>
                <a:cxn ang="0">
                  <a:pos x="connsiteX2888" y="connsiteY2888"/>
                </a:cxn>
                <a:cxn ang="0">
                  <a:pos x="connsiteX2889" y="connsiteY2889"/>
                </a:cxn>
                <a:cxn ang="0">
                  <a:pos x="connsiteX2890" y="connsiteY2890"/>
                </a:cxn>
                <a:cxn ang="0">
                  <a:pos x="connsiteX2891" y="connsiteY2891"/>
                </a:cxn>
                <a:cxn ang="0">
                  <a:pos x="connsiteX2892" y="connsiteY2892"/>
                </a:cxn>
                <a:cxn ang="0">
                  <a:pos x="connsiteX2893" y="connsiteY2893"/>
                </a:cxn>
                <a:cxn ang="0">
                  <a:pos x="connsiteX2894" y="connsiteY2894"/>
                </a:cxn>
                <a:cxn ang="0">
                  <a:pos x="connsiteX2895" y="connsiteY2895"/>
                </a:cxn>
                <a:cxn ang="0">
                  <a:pos x="connsiteX2896" y="connsiteY2896"/>
                </a:cxn>
                <a:cxn ang="0">
                  <a:pos x="connsiteX2897" y="connsiteY2897"/>
                </a:cxn>
                <a:cxn ang="0">
                  <a:pos x="connsiteX2898" y="connsiteY2898"/>
                </a:cxn>
                <a:cxn ang="0">
                  <a:pos x="connsiteX2899" y="connsiteY2899"/>
                </a:cxn>
                <a:cxn ang="0">
                  <a:pos x="connsiteX2900" y="connsiteY2900"/>
                </a:cxn>
                <a:cxn ang="0">
                  <a:pos x="connsiteX2901" y="connsiteY2901"/>
                </a:cxn>
                <a:cxn ang="0">
                  <a:pos x="connsiteX2902" y="connsiteY2902"/>
                </a:cxn>
                <a:cxn ang="0">
                  <a:pos x="connsiteX2903" y="connsiteY2903"/>
                </a:cxn>
                <a:cxn ang="0">
                  <a:pos x="connsiteX2904" y="connsiteY2904"/>
                </a:cxn>
                <a:cxn ang="0">
                  <a:pos x="connsiteX2905" y="connsiteY2905"/>
                </a:cxn>
                <a:cxn ang="0">
                  <a:pos x="connsiteX2906" y="connsiteY2906"/>
                </a:cxn>
                <a:cxn ang="0">
                  <a:pos x="connsiteX2907" y="connsiteY2907"/>
                </a:cxn>
                <a:cxn ang="0">
                  <a:pos x="connsiteX2908" y="connsiteY2908"/>
                </a:cxn>
                <a:cxn ang="0">
                  <a:pos x="connsiteX2909" y="connsiteY2909"/>
                </a:cxn>
                <a:cxn ang="0">
                  <a:pos x="connsiteX2910" y="connsiteY2910"/>
                </a:cxn>
                <a:cxn ang="0">
                  <a:pos x="connsiteX2911" y="connsiteY2911"/>
                </a:cxn>
                <a:cxn ang="0">
                  <a:pos x="connsiteX2912" y="connsiteY2912"/>
                </a:cxn>
                <a:cxn ang="0">
                  <a:pos x="connsiteX2913" y="connsiteY2913"/>
                </a:cxn>
                <a:cxn ang="0">
                  <a:pos x="connsiteX2914" y="connsiteY2914"/>
                </a:cxn>
                <a:cxn ang="0">
                  <a:pos x="connsiteX2915" y="connsiteY2915"/>
                </a:cxn>
                <a:cxn ang="0">
                  <a:pos x="connsiteX2916" y="connsiteY2916"/>
                </a:cxn>
                <a:cxn ang="0">
                  <a:pos x="connsiteX2917" y="connsiteY2917"/>
                </a:cxn>
                <a:cxn ang="0">
                  <a:pos x="connsiteX2918" y="connsiteY2918"/>
                </a:cxn>
                <a:cxn ang="0">
                  <a:pos x="connsiteX2919" y="connsiteY2919"/>
                </a:cxn>
                <a:cxn ang="0">
                  <a:pos x="connsiteX2920" y="connsiteY2920"/>
                </a:cxn>
                <a:cxn ang="0">
                  <a:pos x="connsiteX2921" y="connsiteY2921"/>
                </a:cxn>
                <a:cxn ang="0">
                  <a:pos x="connsiteX2922" y="connsiteY2922"/>
                </a:cxn>
                <a:cxn ang="0">
                  <a:pos x="connsiteX2923" y="connsiteY2923"/>
                </a:cxn>
                <a:cxn ang="0">
                  <a:pos x="connsiteX2924" y="connsiteY2924"/>
                </a:cxn>
                <a:cxn ang="0">
                  <a:pos x="connsiteX2925" y="connsiteY2925"/>
                </a:cxn>
                <a:cxn ang="0">
                  <a:pos x="connsiteX2926" y="connsiteY2926"/>
                </a:cxn>
                <a:cxn ang="0">
                  <a:pos x="connsiteX2927" y="connsiteY2927"/>
                </a:cxn>
                <a:cxn ang="0">
                  <a:pos x="connsiteX2928" y="connsiteY2928"/>
                </a:cxn>
                <a:cxn ang="0">
                  <a:pos x="connsiteX2929" y="connsiteY2929"/>
                </a:cxn>
                <a:cxn ang="0">
                  <a:pos x="connsiteX2930" y="connsiteY2930"/>
                </a:cxn>
                <a:cxn ang="0">
                  <a:pos x="connsiteX2931" y="connsiteY2931"/>
                </a:cxn>
                <a:cxn ang="0">
                  <a:pos x="connsiteX2932" y="connsiteY2932"/>
                </a:cxn>
                <a:cxn ang="0">
                  <a:pos x="connsiteX2933" y="connsiteY2933"/>
                </a:cxn>
                <a:cxn ang="0">
                  <a:pos x="connsiteX2934" y="connsiteY2934"/>
                </a:cxn>
                <a:cxn ang="0">
                  <a:pos x="connsiteX2935" y="connsiteY2935"/>
                </a:cxn>
                <a:cxn ang="0">
                  <a:pos x="connsiteX2936" y="connsiteY2936"/>
                </a:cxn>
                <a:cxn ang="0">
                  <a:pos x="connsiteX2937" y="connsiteY2937"/>
                </a:cxn>
                <a:cxn ang="0">
                  <a:pos x="connsiteX2938" y="connsiteY2938"/>
                </a:cxn>
                <a:cxn ang="0">
                  <a:pos x="connsiteX2939" y="connsiteY2939"/>
                </a:cxn>
                <a:cxn ang="0">
                  <a:pos x="connsiteX2940" y="connsiteY2940"/>
                </a:cxn>
                <a:cxn ang="0">
                  <a:pos x="connsiteX2941" y="connsiteY2941"/>
                </a:cxn>
                <a:cxn ang="0">
                  <a:pos x="connsiteX2942" y="connsiteY2942"/>
                </a:cxn>
                <a:cxn ang="0">
                  <a:pos x="connsiteX2943" y="connsiteY2943"/>
                </a:cxn>
                <a:cxn ang="0">
                  <a:pos x="connsiteX2944" y="connsiteY2944"/>
                </a:cxn>
                <a:cxn ang="0">
                  <a:pos x="connsiteX2945" y="connsiteY2945"/>
                </a:cxn>
                <a:cxn ang="0">
                  <a:pos x="connsiteX2946" y="connsiteY2946"/>
                </a:cxn>
                <a:cxn ang="0">
                  <a:pos x="connsiteX2947" y="connsiteY2947"/>
                </a:cxn>
                <a:cxn ang="0">
                  <a:pos x="connsiteX2948" y="connsiteY2948"/>
                </a:cxn>
                <a:cxn ang="0">
                  <a:pos x="connsiteX2949" y="connsiteY2949"/>
                </a:cxn>
                <a:cxn ang="0">
                  <a:pos x="connsiteX2950" y="connsiteY2950"/>
                </a:cxn>
                <a:cxn ang="0">
                  <a:pos x="connsiteX2951" y="connsiteY2951"/>
                </a:cxn>
                <a:cxn ang="0">
                  <a:pos x="connsiteX2952" y="connsiteY2952"/>
                </a:cxn>
                <a:cxn ang="0">
                  <a:pos x="connsiteX2953" y="connsiteY2953"/>
                </a:cxn>
                <a:cxn ang="0">
                  <a:pos x="connsiteX2954" y="connsiteY2954"/>
                </a:cxn>
                <a:cxn ang="0">
                  <a:pos x="connsiteX2955" y="connsiteY2955"/>
                </a:cxn>
                <a:cxn ang="0">
                  <a:pos x="connsiteX2956" y="connsiteY2956"/>
                </a:cxn>
                <a:cxn ang="0">
                  <a:pos x="connsiteX2957" y="connsiteY2957"/>
                </a:cxn>
                <a:cxn ang="0">
                  <a:pos x="connsiteX2958" y="connsiteY2958"/>
                </a:cxn>
                <a:cxn ang="0">
                  <a:pos x="connsiteX2959" y="connsiteY2959"/>
                </a:cxn>
                <a:cxn ang="0">
                  <a:pos x="connsiteX2960" y="connsiteY2960"/>
                </a:cxn>
                <a:cxn ang="0">
                  <a:pos x="connsiteX2961" y="connsiteY2961"/>
                </a:cxn>
                <a:cxn ang="0">
                  <a:pos x="connsiteX2962" y="connsiteY2962"/>
                </a:cxn>
                <a:cxn ang="0">
                  <a:pos x="connsiteX2963" y="connsiteY2963"/>
                </a:cxn>
                <a:cxn ang="0">
                  <a:pos x="connsiteX2964" y="connsiteY2964"/>
                </a:cxn>
                <a:cxn ang="0">
                  <a:pos x="connsiteX2965" y="connsiteY2965"/>
                </a:cxn>
                <a:cxn ang="0">
                  <a:pos x="connsiteX2966" y="connsiteY2966"/>
                </a:cxn>
                <a:cxn ang="0">
                  <a:pos x="connsiteX2967" y="connsiteY2967"/>
                </a:cxn>
                <a:cxn ang="0">
                  <a:pos x="connsiteX2968" y="connsiteY2968"/>
                </a:cxn>
                <a:cxn ang="0">
                  <a:pos x="connsiteX2969" y="connsiteY2969"/>
                </a:cxn>
                <a:cxn ang="0">
                  <a:pos x="connsiteX2970" y="connsiteY2970"/>
                </a:cxn>
                <a:cxn ang="0">
                  <a:pos x="connsiteX2971" y="connsiteY2971"/>
                </a:cxn>
                <a:cxn ang="0">
                  <a:pos x="connsiteX2972" y="connsiteY2972"/>
                </a:cxn>
                <a:cxn ang="0">
                  <a:pos x="connsiteX2973" y="connsiteY2973"/>
                </a:cxn>
                <a:cxn ang="0">
                  <a:pos x="connsiteX2974" y="connsiteY2974"/>
                </a:cxn>
                <a:cxn ang="0">
                  <a:pos x="connsiteX2975" y="connsiteY2975"/>
                </a:cxn>
                <a:cxn ang="0">
                  <a:pos x="connsiteX2976" y="connsiteY2976"/>
                </a:cxn>
                <a:cxn ang="0">
                  <a:pos x="connsiteX2977" y="connsiteY2977"/>
                </a:cxn>
                <a:cxn ang="0">
                  <a:pos x="connsiteX2978" y="connsiteY2978"/>
                </a:cxn>
                <a:cxn ang="0">
                  <a:pos x="connsiteX2979" y="connsiteY2979"/>
                </a:cxn>
                <a:cxn ang="0">
                  <a:pos x="connsiteX2980" y="connsiteY2980"/>
                </a:cxn>
                <a:cxn ang="0">
                  <a:pos x="connsiteX2981" y="connsiteY2981"/>
                </a:cxn>
                <a:cxn ang="0">
                  <a:pos x="connsiteX2982" y="connsiteY2982"/>
                </a:cxn>
                <a:cxn ang="0">
                  <a:pos x="connsiteX2983" y="connsiteY2983"/>
                </a:cxn>
                <a:cxn ang="0">
                  <a:pos x="connsiteX2984" y="connsiteY2984"/>
                </a:cxn>
                <a:cxn ang="0">
                  <a:pos x="connsiteX2985" y="connsiteY2985"/>
                </a:cxn>
                <a:cxn ang="0">
                  <a:pos x="connsiteX2986" y="connsiteY2986"/>
                </a:cxn>
                <a:cxn ang="0">
                  <a:pos x="connsiteX2987" y="connsiteY2987"/>
                </a:cxn>
                <a:cxn ang="0">
                  <a:pos x="connsiteX2988" y="connsiteY2988"/>
                </a:cxn>
                <a:cxn ang="0">
                  <a:pos x="connsiteX2989" y="connsiteY2989"/>
                </a:cxn>
                <a:cxn ang="0">
                  <a:pos x="connsiteX2990" y="connsiteY2990"/>
                </a:cxn>
                <a:cxn ang="0">
                  <a:pos x="connsiteX2991" y="connsiteY2991"/>
                </a:cxn>
                <a:cxn ang="0">
                  <a:pos x="connsiteX2992" y="connsiteY2992"/>
                </a:cxn>
                <a:cxn ang="0">
                  <a:pos x="connsiteX2993" y="connsiteY2993"/>
                </a:cxn>
                <a:cxn ang="0">
                  <a:pos x="connsiteX2994" y="connsiteY2994"/>
                </a:cxn>
                <a:cxn ang="0">
                  <a:pos x="connsiteX2995" y="connsiteY2995"/>
                </a:cxn>
                <a:cxn ang="0">
                  <a:pos x="connsiteX2996" y="connsiteY2996"/>
                </a:cxn>
                <a:cxn ang="0">
                  <a:pos x="connsiteX2997" y="connsiteY2997"/>
                </a:cxn>
                <a:cxn ang="0">
                  <a:pos x="connsiteX2998" y="connsiteY2998"/>
                </a:cxn>
                <a:cxn ang="0">
                  <a:pos x="connsiteX2999" y="connsiteY2999"/>
                </a:cxn>
                <a:cxn ang="0">
                  <a:pos x="connsiteX3000" y="connsiteY3000"/>
                </a:cxn>
                <a:cxn ang="0">
                  <a:pos x="connsiteX3001" y="connsiteY3001"/>
                </a:cxn>
                <a:cxn ang="0">
                  <a:pos x="connsiteX3002" y="connsiteY3002"/>
                </a:cxn>
                <a:cxn ang="0">
                  <a:pos x="connsiteX3003" y="connsiteY3003"/>
                </a:cxn>
                <a:cxn ang="0">
                  <a:pos x="connsiteX3004" y="connsiteY3004"/>
                </a:cxn>
                <a:cxn ang="0">
                  <a:pos x="connsiteX3005" y="connsiteY3005"/>
                </a:cxn>
                <a:cxn ang="0">
                  <a:pos x="connsiteX3006" y="connsiteY3006"/>
                </a:cxn>
                <a:cxn ang="0">
                  <a:pos x="connsiteX3007" y="connsiteY3007"/>
                </a:cxn>
                <a:cxn ang="0">
                  <a:pos x="connsiteX3008" y="connsiteY3008"/>
                </a:cxn>
                <a:cxn ang="0">
                  <a:pos x="connsiteX3009" y="connsiteY3009"/>
                </a:cxn>
                <a:cxn ang="0">
                  <a:pos x="connsiteX3010" y="connsiteY3010"/>
                </a:cxn>
                <a:cxn ang="0">
                  <a:pos x="connsiteX3011" y="connsiteY3011"/>
                </a:cxn>
                <a:cxn ang="0">
                  <a:pos x="connsiteX3012" y="connsiteY3012"/>
                </a:cxn>
                <a:cxn ang="0">
                  <a:pos x="connsiteX3013" y="connsiteY3013"/>
                </a:cxn>
                <a:cxn ang="0">
                  <a:pos x="connsiteX3014" y="connsiteY3014"/>
                </a:cxn>
                <a:cxn ang="0">
                  <a:pos x="connsiteX3015" y="connsiteY3015"/>
                </a:cxn>
                <a:cxn ang="0">
                  <a:pos x="connsiteX3016" y="connsiteY3016"/>
                </a:cxn>
                <a:cxn ang="0">
                  <a:pos x="connsiteX3017" y="connsiteY3017"/>
                </a:cxn>
                <a:cxn ang="0">
                  <a:pos x="connsiteX3018" y="connsiteY3018"/>
                </a:cxn>
                <a:cxn ang="0">
                  <a:pos x="connsiteX3019" y="connsiteY3019"/>
                </a:cxn>
                <a:cxn ang="0">
                  <a:pos x="connsiteX3020" y="connsiteY3020"/>
                </a:cxn>
                <a:cxn ang="0">
                  <a:pos x="connsiteX3021" y="connsiteY3021"/>
                </a:cxn>
                <a:cxn ang="0">
                  <a:pos x="connsiteX3022" y="connsiteY3022"/>
                </a:cxn>
                <a:cxn ang="0">
                  <a:pos x="connsiteX3023" y="connsiteY3023"/>
                </a:cxn>
                <a:cxn ang="0">
                  <a:pos x="connsiteX3024" y="connsiteY3024"/>
                </a:cxn>
                <a:cxn ang="0">
                  <a:pos x="connsiteX3025" y="connsiteY3025"/>
                </a:cxn>
                <a:cxn ang="0">
                  <a:pos x="connsiteX3026" y="connsiteY3026"/>
                </a:cxn>
                <a:cxn ang="0">
                  <a:pos x="connsiteX3027" y="connsiteY3027"/>
                </a:cxn>
                <a:cxn ang="0">
                  <a:pos x="connsiteX3028" y="connsiteY3028"/>
                </a:cxn>
                <a:cxn ang="0">
                  <a:pos x="connsiteX3029" y="connsiteY3029"/>
                </a:cxn>
                <a:cxn ang="0">
                  <a:pos x="connsiteX3030" y="connsiteY3030"/>
                </a:cxn>
                <a:cxn ang="0">
                  <a:pos x="connsiteX3031" y="connsiteY3031"/>
                </a:cxn>
                <a:cxn ang="0">
                  <a:pos x="connsiteX3032" y="connsiteY3032"/>
                </a:cxn>
                <a:cxn ang="0">
                  <a:pos x="connsiteX3033" y="connsiteY3033"/>
                </a:cxn>
                <a:cxn ang="0">
                  <a:pos x="connsiteX3034" y="connsiteY3034"/>
                </a:cxn>
                <a:cxn ang="0">
                  <a:pos x="connsiteX3035" y="connsiteY3035"/>
                </a:cxn>
                <a:cxn ang="0">
                  <a:pos x="connsiteX3036" y="connsiteY3036"/>
                </a:cxn>
                <a:cxn ang="0">
                  <a:pos x="connsiteX3037" y="connsiteY3037"/>
                </a:cxn>
                <a:cxn ang="0">
                  <a:pos x="connsiteX3038" y="connsiteY3038"/>
                </a:cxn>
                <a:cxn ang="0">
                  <a:pos x="connsiteX3039" y="connsiteY3039"/>
                </a:cxn>
                <a:cxn ang="0">
                  <a:pos x="connsiteX3040" y="connsiteY3040"/>
                </a:cxn>
                <a:cxn ang="0">
                  <a:pos x="connsiteX3041" y="connsiteY3041"/>
                </a:cxn>
                <a:cxn ang="0">
                  <a:pos x="connsiteX3042" y="connsiteY3042"/>
                </a:cxn>
                <a:cxn ang="0">
                  <a:pos x="connsiteX3043" y="connsiteY3043"/>
                </a:cxn>
                <a:cxn ang="0">
                  <a:pos x="connsiteX3044" y="connsiteY3044"/>
                </a:cxn>
                <a:cxn ang="0">
                  <a:pos x="connsiteX3045" y="connsiteY3045"/>
                </a:cxn>
                <a:cxn ang="0">
                  <a:pos x="connsiteX3046" y="connsiteY3046"/>
                </a:cxn>
                <a:cxn ang="0">
                  <a:pos x="connsiteX3047" y="connsiteY3047"/>
                </a:cxn>
                <a:cxn ang="0">
                  <a:pos x="connsiteX3048" y="connsiteY3048"/>
                </a:cxn>
                <a:cxn ang="0">
                  <a:pos x="connsiteX3049" y="connsiteY3049"/>
                </a:cxn>
                <a:cxn ang="0">
                  <a:pos x="connsiteX3050" y="connsiteY3050"/>
                </a:cxn>
                <a:cxn ang="0">
                  <a:pos x="connsiteX3051" y="connsiteY3051"/>
                </a:cxn>
                <a:cxn ang="0">
                  <a:pos x="connsiteX3052" y="connsiteY3052"/>
                </a:cxn>
                <a:cxn ang="0">
                  <a:pos x="connsiteX3053" y="connsiteY3053"/>
                </a:cxn>
                <a:cxn ang="0">
                  <a:pos x="connsiteX3054" y="connsiteY3054"/>
                </a:cxn>
                <a:cxn ang="0">
                  <a:pos x="connsiteX3055" y="connsiteY3055"/>
                </a:cxn>
                <a:cxn ang="0">
                  <a:pos x="connsiteX3056" y="connsiteY3056"/>
                </a:cxn>
                <a:cxn ang="0">
                  <a:pos x="connsiteX3057" y="connsiteY3057"/>
                </a:cxn>
                <a:cxn ang="0">
                  <a:pos x="connsiteX3058" y="connsiteY3058"/>
                </a:cxn>
                <a:cxn ang="0">
                  <a:pos x="connsiteX3059" y="connsiteY3059"/>
                </a:cxn>
                <a:cxn ang="0">
                  <a:pos x="connsiteX3060" y="connsiteY3060"/>
                </a:cxn>
                <a:cxn ang="0">
                  <a:pos x="connsiteX3061" y="connsiteY3061"/>
                </a:cxn>
                <a:cxn ang="0">
                  <a:pos x="connsiteX3062" y="connsiteY3062"/>
                </a:cxn>
                <a:cxn ang="0">
                  <a:pos x="connsiteX3063" y="connsiteY3063"/>
                </a:cxn>
                <a:cxn ang="0">
                  <a:pos x="connsiteX3064" y="connsiteY3064"/>
                </a:cxn>
              </a:cxnLst>
              <a:rect l="l" t="t" r="r" b="b"/>
              <a:pathLst>
                <a:path w="1466597" h="790366">
                  <a:moveTo>
                    <a:pt x="158093" y="780743"/>
                  </a:moveTo>
                  <a:lnTo>
                    <a:pt x="163600" y="782114"/>
                  </a:lnTo>
                  <a:lnTo>
                    <a:pt x="168095" y="785097"/>
                  </a:lnTo>
                  <a:lnTo>
                    <a:pt x="170583" y="787056"/>
                  </a:lnTo>
                  <a:lnTo>
                    <a:pt x="173455" y="788718"/>
                  </a:lnTo>
                  <a:lnTo>
                    <a:pt x="176546" y="789394"/>
                  </a:lnTo>
                  <a:lnTo>
                    <a:pt x="177466" y="790352"/>
                  </a:lnTo>
                  <a:lnTo>
                    <a:pt x="173041" y="790366"/>
                  </a:lnTo>
                  <a:lnTo>
                    <a:pt x="164055" y="784847"/>
                  </a:lnTo>
                  <a:lnTo>
                    <a:pt x="159494" y="783094"/>
                  </a:lnTo>
                  <a:lnTo>
                    <a:pt x="156965" y="781152"/>
                  </a:lnTo>
                  <a:close/>
                  <a:moveTo>
                    <a:pt x="283840" y="773766"/>
                  </a:moveTo>
                  <a:lnTo>
                    <a:pt x="286349" y="775750"/>
                  </a:lnTo>
                  <a:lnTo>
                    <a:pt x="286184" y="776119"/>
                  </a:lnTo>
                  <a:lnTo>
                    <a:pt x="284578" y="778115"/>
                  </a:lnTo>
                  <a:lnTo>
                    <a:pt x="283393" y="777211"/>
                  </a:lnTo>
                  <a:lnTo>
                    <a:pt x="282943" y="774465"/>
                  </a:lnTo>
                  <a:close/>
                  <a:moveTo>
                    <a:pt x="288558" y="772908"/>
                  </a:moveTo>
                  <a:lnTo>
                    <a:pt x="291671" y="774371"/>
                  </a:lnTo>
                  <a:lnTo>
                    <a:pt x="293268" y="775426"/>
                  </a:lnTo>
                  <a:lnTo>
                    <a:pt x="291115" y="776170"/>
                  </a:lnTo>
                  <a:lnTo>
                    <a:pt x="288282" y="774661"/>
                  </a:lnTo>
                  <a:close/>
                  <a:moveTo>
                    <a:pt x="243655" y="771812"/>
                  </a:moveTo>
                  <a:lnTo>
                    <a:pt x="245898" y="773789"/>
                  </a:lnTo>
                  <a:lnTo>
                    <a:pt x="247588" y="774483"/>
                  </a:lnTo>
                  <a:lnTo>
                    <a:pt x="251546" y="774951"/>
                  </a:lnTo>
                  <a:lnTo>
                    <a:pt x="249494" y="775789"/>
                  </a:lnTo>
                  <a:lnTo>
                    <a:pt x="248328" y="776599"/>
                  </a:lnTo>
                  <a:lnTo>
                    <a:pt x="246892" y="779727"/>
                  </a:lnTo>
                  <a:lnTo>
                    <a:pt x="245563" y="780955"/>
                  </a:lnTo>
                  <a:lnTo>
                    <a:pt x="244995" y="782087"/>
                  </a:lnTo>
                  <a:lnTo>
                    <a:pt x="244381" y="782053"/>
                  </a:lnTo>
                  <a:lnTo>
                    <a:pt x="240974" y="780177"/>
                  </a:lnTo>
                  <a:lnTo>
                    <a:pt x="240476" y="779543"/>
                  </a:lnTo>
                  <a:lnTo>
                    <a:pt x="242475" y="778652"/>
                  </a:lnTo>
                  <a:lnTo>
                    <a:pt x="243057" y="777962"/>
                  </a:lnTo>
                  <a:lnTo>
                    <a:pt x="242824" y="777061"/>
                  </a:lnTo>
                  <a:lnTo>
                    <a:pt x="241326" y="775809"/>
                  </a:lnTo>
                  <a:lnTo>
                    <a:pt x="238562" y="774203"/>
                  </a:lnTo>
                  <a:lnTo>
                    <a:pt x="237514" y="773046"/>
                  </a:lnTo>
                  <a:lnTo>
                    <a:pt x="238184" y="772338"/>
                  </a:lnTo>
                  <a:lnTo>
                    <a:pt x="239502" y="771899"/>
                  </a:lnTo>
                  <a:close/>
                  <a:moveTo>
                    <a:pt x="264633" y="771426"/>
                  </a:moveTo>
                  <a:lnTo>
                    <a:pt x="265179" y="771460"/>
                  </a:lnTo>
                  <a:lnTo>
                    <a:pt x="266379" y="772376"/>
                  </a:lnTo>
                  <a:lnTo>
                    <a:pt x="265958" y="773580"/>
                  </a:lnTo>
                  <a:lnTo>
                    <a:pt x="264889" y="774628"/>
                  </a:lnTo>
                  <a:lnTo>
                    <a:pt x="264540" y="775610"/>
                  </a:lnTo>
                  <a:lnTo>
                    <a:pt x="264205" y="778677"/>
                  </a:lnTo>
                  <a:lnTo>
                    <a:pt x="263471" y="779120"/>
                  </a:lnTo>
                  <a:lnTo>
                    <a:pt x="262122" y="779465"/>
                  </a:lnTo>
                  <a:lnTo>
                    <a:pt x="258232" y="779083"/>
                  </a:lnTo>
                  <a:lnTo>
                    <a:pt x="255878" y="779203"/>
                  </a:lnTo>
                  <a:lnTo>
                    <a:pt x="253252" y="779443"/>
                  </a:lnTo>
                  <a:lnTo>
                    <a:pt x="251281" y="780043"/>
                  </a:lnTo>
                  <a:lnTo>
                    <a:pt x="250890" y="779210"/>
                  </a:lnTo>
                  <a:lnTo>
                    <a:pt x="250955" y="778526"/>
                  </a:lnTo>
                  <a:lnTo>
                    <a:pt x="259448" y="776655"/>
                  </a:lnTo>
                  <a:lnTo>
                    <a:pt x="261424" y="775678"/>
                  </a:lnTo>
                  <a:lnTo>
                    <a:pt x="262636" y="774441"/>
                  </a:lnTo>
                  <a:lnTo>
                    <a:pt x="263741" y="772120"/>
                  </a:lnTo>
                  <a:close/>
                  <a:moveTo>
                    <a:pt x="275682" y="769508"/>
                  </a:moveTo>
                  <a:lnTo>
                    <a:pt x="278271" y="769652"/>
                  </a:lnTo>
                  <a:lnTo>
                    <a:pt x="279469" y="770940"/>
                  </a:lnTo>
                  <a:lnTo>
                    <a:pt x="279425" y="771774"/>
                  </a:lnTo>
                  <a:lnTo>
                    <a:pt x="278361" y="773574"/>
                  </a:lnTo>
                  <a:lnTo>
                    <a:pt x="278498" y="774715"/>
                  </a:lnTo>
                  <a:lnTo>
                    <a:pt x="281421" y="774572"/>
                  </a:lnTo>
                  <a:lnTo>
                    <a:pt x="282336" y="775161"/>
                  </a:lnTo>
                  <a:lnTo>
                    <a:pt x="282340" y="777401"/>
                  </a:lnTo>
                  <a:lnTo>
                    <a:pt x="281957" y="778032"/>
                  </a:lnTo>
                  <a:lnTo>
                    <a:pt x="281513" y="778187"/>
                  </a:lnTo>
                  <a:lnTo>
                    <a:pt x="280462" y="777695"/>
                  </a:lnTo>
                  <a:lnTo>
                    <a:pt x="279275" y="778836"/>
                  </a:lnTo>
                  <a:lnTo>
                    <a:pt x="273829" y="781627"/>
                  </a:lnTo>
                  <a:lnTo>
                    <a:pt x="272142" y="780067"/>
                  </a:lnTo>
                  <a:lnTo>
                    <a:pt x="268966" y="782519"/>
                  </a:lnTo>
                  <a:lnTo>
                    <a:pt x="271190" y="776169"/>
                  </a:lnTo>
                  <a:lnTo>
                    <a:pt x="273762" y="775207"/>
                  </a:lnTo>
                  <a:lnTo>
                    <a:pt x="274711" y="774486"/>
                  </a:lnTo>
                  <a:lnTo>
                    <a:pt x="274488" y="772622"/>
                  </a:lnTo>
                  <a:close/>
                  <a:moveTo>
                    <a:pt x="153430" y="769213"/>
                  </a:moveTo>
                  <a:lnTo>
                    <a:pt x="154993" y="769798"/>
                  </a:lnTo>
                  <a:lnTo>
                    <a:pt x="155929" y="770633"/>
                  </a:lnTo>
                  <a:lnTo>
                    <a:pt x="155117" y="771887"/>
                  </a:lnTo>
                  <a:lnTo>
                    <a:pt x="153492" y="772471"/>
                  </a:lnTo>
                  <a:lnTo>
                    <a:pt x="152624" y="770992"/>
                  </a:lnTo>
                  <a:lnTo>
                    <a:pt x="152554" y="770133"/>
                  </a:lnTo>
                  <a:close/>
                  <a:moveTo>
                    <a:pt x="181946" y="767994"/>
                  </a:moveTo>
                  <a:lnTo>
                    <a:pt x="185844" y="770163"/>
                  </a:lnTo>
                  <a:lnTo>
                    <a:pt x="184511" y="772257"/>
                  </a:lnTo>
                  <a:lnTo>
                    <a:pt x="182407" y="773115"/>
                  </a:lnTo>
                  <a:lnTo>
                    <a:pt x="179967" y="772644"/>
                  </a:lnTo>
                  <a:lnTo>
                    <a:pt x="178642" y="771323"/>
                  </a:lnTo>
                  <a:lnTo>
                    <a:pt x="178801" y="769727"/>
                  </a:lnTo>
                  <a:close/>
                  <a:moveTo>
                    <a:pt x="291522" y="765620"/>
                  </a:moveTo>
                  <a:lnTo>
                    <a:pt x="292701" y="766221"/>
                  </a:lnTo>
                  <a:lnTo>
                    <a:pt x="293800" y="767344"/>
                  </a:lnTo>
                  <a:lnTo>
                    <a:pt x="294127" y="768044"/>
                  </a:lnTo>
                  <a:lnTo>
                    <a:pt x="292947" y="768949"/>
                  </a:lnTo>
                  <a:lnTo>
                    <a:pt x="292347" y="769953"/>
                  </a:lnTo>
                  <a:lnTo>
                    <a:pt x="289852" y="768885"/>
                  </a:lnTo>
                  <a:lnTo>
                    <a:pt x="288968" y="768013"/>
                  </a:lnTo>
                  <a:lnTo>
                    <a:pt x="288789" y="767120"/>
                  </a:lnTo>
                  <a:lnTo>
                    <a:pt x="289525" y="765638"/>
                  </a:lnTo>
                  <a:close/>
                  <a:moveTo>
                    <a:pt x="131164" y="765147"/>
                  </a:moveTo>
                  <a:lnTo>
                    <a:pt x="132010" y="765515"/>
                  </a:lnTo>
                  <a:lnTo>
                    <a:pt x="131587" y="766993"/>
                  </a:lnTo>
                  <a:lnTo>
                    <a:pt x="130131" y="769242"/>
                  </a:lnTo>
                  <a:lnTo>
                    <a:pt x="130085" y="770820"/>
                  </a:lnTo>
                  <a:lnTo>
                    <a:pt x="125525" y="773026"/>
                  </a:lnTo>
                  <a:lnTo>
                    <a:pt x="123308" y="774449"/>
                  </a:lnTo>
                  <a:lnTo>
                    <a:pt x="121575" y="772997"/>
                  </a:lnTo>
                  <a:lnTo>
                    <a:pt x="121312" y="772341"/>
                  </a:lnTo>
                  <a:lnTo>
                    <a:pt x="124638" y="769858"/>
                  </a:lnTo>
                  <a:lnTo>
                    <a:pt x="127132" y="769318"/>
                  </a:lnTo>
                  <a:lnTo>
                    <a:pt x="128205" y="768410"/>
                  </a:lnTo>
                  <a:lnTo>
                    <a:pt x="129309" y="765259"/>
                  </a:lnTo>
                  <a:close/>
                  <a:moveTo>
                    <a:pt x="353272" y="764124"/>
                  </a:moveTo>
                  <a:lnTo>
                    <a:pt x="355912" y="764379"/>
                  </a:lnTo>
                  <a:lnTo>
                    <a:pt x="360915" y="765767"/>
                  </a:lnTo>
                  <a:lnTo>
                    <a:pt x="367137" y="765604"/>
                  </a:lnTo>
                  <a:lnTo>
                    <a:pt x="369407" y="765943"/>
                  </a:lnTo>
                  <a:lnTo>
                    <a:pt x="369444" y="766330"/>
                  </a:lnTo>
                  <a:lnTo>
                    <a:pt x="365465" y="766899"/>
                  </a:lnTo>
                  <a:lnTo>
                    <a:pt x="364104" y="766712"/>
                  </a:lnTo>
                  <a:lnTo>
                    <a:pt x="360630" y="767476"/>
                  </a:lnTo>
                  <a:lnTo>
                    <a:pt x="358267" y="767615"/>
                  </a:lnTo>
                  <a:lnTo>
                    <a:pt x="352870" y="766894"/>
                  </a:lnTo>
                  <a:lnTo>
                    <a:pt x="348706" y="767387"/>
                  </a:lnTo>
                  <a:lnTo>
                    <a:pt x="347604" y="767201"/>
                  </a:lnTo>
                  <a:lnTo>
                    <a:pt x="346298" y="766569"/>
                  </a:lnTo>
                  <a:lnTo>
                    <a:pt x="344782" y="765495"/>
                  </a:lnTo>
                  <a:lnTo>
                    <a:pt x="344709" y="764822"/>
                  </a:lnTo>
                  <a:lnTo>
                    <a:pt x="346075" y="764549"/>
                  </a:lnTo>
                  <a:lnTo>
                    <a:pt x="349770" y="765472"/>
                  </a:lnTo>
                  <a:lnTo>
                    <a:pt x="350156" y="764991"/>
                  </a:lnTo>
                  <a:close/>
                  <a:moveTo>
                    <a:pt x="383537" y="755762"/>
                  </a:moveTo>
                  <a:lnTo>
                    <a:pt x="385764" y="756279"/>
                  </a:lnTo>
                  <a:lnTo>
                    <a:pt x="387537" y="757765"/>
                  </a:lnTo>
                  <a:lnTo>
                    <a:pt x="383680" y="759727"/>
                  </a:lnTo>
                  <a:lnTo>
                    <a:pt x="381784" y="760234"/>
                  </a:lnTo>
                  <a:lnTo>
                    <a:pt x="379725" y="759708"/>
                  </a:lnTo>
                  <a:lnTo>
                    <a:pt x="380686" y="757900"/>
                  </a:lnTo>
                  <a:lnTo>
                    <a:pt x="381669" y="756935"/>
                  </a:lnTo>
                  <a:close/>
                  <a:moveTo>
                    <a:pt x="340208" y="754661"/>
                  </a:moveTo>
                  <a:lnTo>
                    <a:pt x="343353" y="756476"/>
                  </a:lnTo>
                  <a:lnTo>
                    <a:pt x="344049" y="757690"/>
                  </a:lnTo>
                  <a:lnTo>
                    <a:pt x="343750" y="759127"/>
                  </a:lnTo>
                  <a:lnTo>
                    <a:pt x="343116" y="760628"/>
                  </a:lnTo>
                  <a:lnTo>
                    <a:pt x="340353" y="761400"/>
                  </a:lnTo>
                  <a:lnTo>
                    <a:pt x="339940" y="762188"/>
                  </a:lnTo>
                  <a:lnTo>
                    <a:pt x="341439" y="764415"/>
                  </a:lnTo>
                  <a:lnTo>
                    <a:pt x="335753" y="766377"/>
                  </a:lnTo>
                  <a:lnTo>
                    <a:pt x="327236" y="767836"/>
                  </a:lnTo>
                  <a:lnTo>
                    <a:pt x="313550" y="769239"/>
                  </a:lnTo>
                  <a:lnTo>
                    <a:pt x="311467" y="768275"/>
                  </a:lnTo>
                  <a:lnTo>
                    <a:pt x="313543" y="767726"/>
                  </a:lnTo>
                  <a:lnTo>
                    <a:pt x="316005" y="767423"/>
                  </a:lnTo>
                  <a:lnTo>
                    <a:pt x="321152" y="765816"/>
                  </a:lnTo>
                  <a:lnTo>
                    <a:pt x="327482" y="764423"/>
                  </a:lnTo>
                  <a:lnTo>
                    <a:pt x="332419" y="762746"/>
                  </a:lnTo>
                  <a:lnTo>
                    <a:pt x="336707" y="761647"/>
                  </a:lnTo>
                  <a:lnTo>
                    <a:pt x="337913" y="759838"/>
                  </a:lnTo>
                  <a:lnTo>
                    <a:pt x="334146" y="758915"/>
                  </a:lnTo>
                  <a:lnTo>
                    <a:pt x="333406" y="758188"/>
                  </a:lnTo>
                  <a:lnTo>
                    <a:pt x="335195" y="757342"/>
                  </a:lnTo>
                  <a:lnTo>
                    <a:pt x="336689" y="756108"/>
                  </a:lnTo>
                  <a:close/>
                  <a:moveTo>
                    <a:pt x="29663" y="751781"/>
                  </a:moveTo>
                  <a:lnTo>
                    <a:pt x="32685" y="752089"/>
                  </a:lnTo>
                  <a:lnTo>
                    <a:pt x="31885" y="753752"/>
                  </a:lnTo>
                  <a:lnTo>
                    <a:pt x="31325" y="756738"/>
                  </a:lnTo>
                  <a:lnTo>
                    <a:pt x="29668" y="756839"/>
                  </a:lnTo>
                  <a:lnTo>
                    <a:pt x="28606" y="755652"/>
                  </a:lnTo>
                  <a:lnTo>
                    <a:pt x="23151" y="755188"/>
                  </a:lnTo>
                  <a:lnTo>
                    <a:pt x="23716" y="754062"/>
                  </a:lnTo>
                  <a:lnTo>
                    <a:pt x="26062" y="753589"/>
                  </a:lnTo>
                  <a:close/>
                  <a:moveTo>
                    <a:pt x="429157" y="745131"/>
                  </a:moveTo>
                  <a:lnTo>
                    <a:pt x="431046" y="745562"/>
                  </a:lnTo>
                  <a:lnTo>
                    <a:pt x="431644" y="746162"/>
                  </a:lnTo>
                  <a:lnTo>
                    <a:pt x="431592" y="747028"/>
                  </a:lnTo>
                  <a:lnTo>
                    <a:pt x="430893" y="748155"/>
                  </a:lnTo>
                  <a:lnTo>
                    <a:pt x="429995" y="748723"/>
                  </a:lnTo>
                  <a:lnTo>
                    <a:pt x="428896" y="748728"/>
                  </a:lnTo>
                  <a:lnTo>
                    <a:pt x="427848" y="749122"/>
                  </a:lnTo>
                  <a:lnTo>
                    <a:pt x="426216" y="750213"/>
                  </a:lnTo>
                  <a:lnTo>
                    <a:pt x="425739" y="749807"/>
                  </a:lnTo>
                  <a:lnTo>
                    <a:pt x="425458" y="748461"/>
                  </a:lnTo>
                  <a:lnTo>
                    <a:pt x="426374" y="747412"/>
                  </a:lnTo>
                  <a:close/>
                  <a:moveTo>
                    <a:pt x="452810" y="738721"/>
                  </a:moveTo>
                  <a:lnTo>
                    <a:pt x="453930" y="739303"/>
                  </a:lnTo>
                  <a:lnTo>
                    <a:pt x="454416" y="739971"/>
                  </a:lnTo>
                  <a:lnTo>
                    <a:pt x="454003" y="741358"/>
                  </a:lnTo>
                  <a:lnTo>
                    <a:pt x="453630" y="741868"/>
                  </a:lnTo>
                  <a:lnTo>
                    <a:pt x="449685" y="741129"/>
                  </a:lnTo>
                  <a:lnTo>
                    <a:pt x="447053" y="741397"/>
                  </a:lnTo>
                  <a:lnTo>
                    <a:pt x="446765" y="740576"/>
                  </a:lnTo>
                  <a:lnTo>
                    <a:pt x="447001" y="739845"/>
                  </a:lnTo>
                  <a:lnTo>
                    <a:pt x="451132" y="738729"/>
                  </a:lnTo>
                  <a:close/>
                  <a:moveTo>
                    <a:pt x="8086" y="734255"/>
                  </a:moveTo>
                  <a:lnTo>
                    <a:pt x="12478" y="735386"/>
                  </a:lnTo>
                  <a:lnTo>
                    <a:pt x="15492" y="734855"/>
                  </a:lnTo>
                  <a:lnTo>
                    <a:pt x="19306" y="736683"/>
                  </a:lnTo>
                  <a:lnTo>
                    <a:pt x="24011" y="739810"/>
                  </a:lnTo>
                  <a:lnTo>
                    <a:pt x="22956" y="740406"/>
                  </a:lnTo>
                  <a:lnTo>
                    <a:pt x="21771" y="740748"/>
                  </a:lnTo>
                  <a:lnTo>
                    <a:pt x="20605" y="740711"/>
                  </a:lnTo>
                  <a:lnTo>
                    <a:pt x="16935" y="741232"/>
                  </a:lnTo>
                  <a:lnTo>
                    <a:pt x="14934" y="741106"/>
                  </a:lnTo>
                  <a:lnTo>
                    <a:pt x="11232" y="743255"/>
                  </a:lnTo>
                  <a:lnTo>
                    <a:pt x="7162" y="741710"/>
                  </a:lnTo>
                  <a:lnTo>
                    <a:pt x="5789" y="738655"/>
                  </a:lnTo>
                  <a:lnTo>
                    <a:pt x="2559" y="737901"/>
                  </a:lnTo>
                  <a:lnTo>
                    <a:pt x="0" y="736848"/>
                  </a:lnTo>
                  <a:lnTo>
                    <a:pt x="4671" y="734443"/>
                  </a:lnTo>
                  <a:close/>
                  <a:moveTo>
                    <a:pt x="497942" y="715352"/>
                  </a:moveTo>
                  <a:lnTo>
                    <a:pt x="501963" y="717099"/>
                  </a:lnTo>
                  <a:lnTo>
                    <a:pt x="502560" y="717899"/>
                  </a:lnTo>
                  <a:lnTo>
                    <a:pt x="501579" y="719649"/>
                  </a:lnTo>
                  <a:lnTo>
                    <a:pt x="501017" y="721291"/>
                  </a:lnTo>
                  <a:lnTo>
                    <a:pt x="498487" y="722755"/>
                  </a:lnTo>
                  <a:lnTo>
                    <a:pt x="490671" y="726468"/>
                  </a:lnTo>
                  <a:lnTo>
                    <a:pt x="488135" y="729178"/>
                  </a:lnTo>
                  <a:lnTo>
                    <a:pt x="486199" y="731786"/>
                  </a:lnTo>
                  <a:lnTo>
                    <a:pt x="484678" y="733212"/>
                  </a:lnTo>
                  <a:lnTo>
                    <a:pt x="483571" y="733457"/>
                  </a:lnTo>
                  <a:lnTo>
                    <a:pt x="482337" y="734147"/>
                  </a:lnTo>
                  <a:lnTo>
                    <a:pt x="479756" y="735966"/>
                  </a:lnTo>
                  <a:lnTo>
                    <a:pt x="478674" y="736192"/>
                  </a:lnTo>
                  <a:lnTo>
                    <a:pt x="470386" y="740434"/>
                  </a:lnTo>
                  <a:lnTo>
                    <a:pt x="469798" y="740500"/>
                  </a:lnTo>
                  <a:lnTo>
                    <a:pt x="470202" y="739392"/>
                  </a:lnTo>
                  <a:lnTo>
                    <a:pt x="472733" y="737822"/>
                  </a:lnTo>
                  <a:lnTo>
                    <a:pt x="474383" y="736390"/>
                  </a:lnTo>
                  <a:lnTo>
                    <a:pt x="476248" y="734022"/>
                  </a:lnTo>
                  <a:lnTo>
                    <a:pt x="477274" y="733151"/>
                  </a:lnTo>
                  <a:lnTo>
                    <a:pt x="477603" y="731961"/>
                  </a:lnTo>
                  <a:lnTo>
                    <a:pt x="477735" y="729558"/>
                  </a:lnTo>
                  <a:lnTo>
                    <a:pt x="478199" y="728650"/>
                  </a:lnTo>
                  <a:lnTo>
                    <a:pt x="479979" y="726842"/>
                  </a:lnTo>
                  <a:lnTo>
                    <a:pt x="481276" y="725853"/>
                  </a:lnTo>
                  <a:lnTo>
                    <a:pt x="482982" y="725512"/>
                  </a:lnTo>
                  <a:lnTo>
                    <a:pt x="486438" y="725815"/>
                  </a:lnTo>
                  <a:lnTo>
                    <a:pt x="487873" y="724894"/>
                  </a:lnTo>
                  <a:lnTo>
                    <a:pt x="488317" y="724197"/>
                  </a:lnTo>
                  <a:lnTo>
                    <a:pt x="487443" y="723560"/>
                  </a:lnTo>
                  <a:lnTo>
                    <a:pt x="487237" y="722454"/>
                  </a:lnTo>
                  <a:lnTo>
                    <a:pt x="487464" y="720545"/>
                  </a:lnTo>
                  <a:lnTo>
                    <a:pt x="488464" y="718851"/>
                  </a:lnTo>
                  <a:lnTo>
                    <a:pt x="490238" y="717371"/>
                  </a:lnTo>
                  <a:lnTo>
                    <a:pt x="492652" y="716218"/>
                  </a:lnTo>
                  <a:lnTo>
                    <a:pt x="495707" y="715394"/>
                  </a:lnTo>
                  <a:close/>
                  <a:moveTo>
                    <a:pt x="545696" y="705422"/>
                  </a:moveTo>
                  <a:lnTo>
                    <a:pt x="545978" y="705779"/>
                  </a:lnTo>
                  <a:lnTo>
                    <a:pt x="545061" y="707365"/>
                  </a:lnTo>
                  <a:lnTo>
                    <a:pt x="543911" y="708429"/>
                  </a:lnTo>
                  <a:lnTo>
                    <a:pt x="543246" y="709601"/>
                  </a:lnTo>
                  <a:lnTo>
                    <a:pt x="542886" y="709702"/>
                  </a:lnTo>
                  <a:lnTo>
                    <a:pt x="542235" y="708838"/>
                  </a:lnTo>
                  <a:lnTo>
                    <a:pt x="542200" y="708050"/>
                  </a:lnTo>
                  <a:lnTo>
                    <a:pt x="542618" y="707477"/>
                  </a:lnTo>
                  <a:lnTo>
                    <a:pt x="543807" y="706140"/>
                  </a:lnTo>
                  <a:lnTo>
                    <a:pt x="544654" y="705664"/>
                  </a:lnTo>
                  <a:close/>
                  <a:moveTo>
                    <a:pt x="531420" y="699727"/>
                  </a:moveTo>
                  <a:lnTo>
                    <a:pt x="532591" y="700088"/>
                  </a:lnTo>
                  <a:lnTo>
                    <a:pt x="532900" y="703400"/>
                  </a:lnTo>
                  <a:lnTo>
                    <a:pt x="534001" y="705059"/>
                  </a:lnTo>
                  <a:lnTo>
                    <a:pt x="535905" y="704008"/>
                  </a:lnTo>
                  <a:lnTo>
                    <a:pt x="537301" y="702566"/>
                  </a:lnTo>
                  <a:lnTo>
                    <a:pt x="538390" y="700702"/>
                  </a:lnTo>
                  <a:lnTo>
                    <a:pt x="539099" y="699971"/>
                  </a:lnTo>
                  <a:lnTo>
                    <a:pt x="540034" y="700954"/>
                  </a:lnTo>
                  <a:lnTo>
                    <a:pt x="542707" y="702292"/>
                  </a:lnTo>
                  <a:lnTo>
                    <a:pt x="540459" y="704350"/>
                  </a:lnTo>
                  <a:lnTo>
                    <a:pt x="536128" y="707431"/>
                  </a:lnTo>
                  <a:lnTo>
                    <a:pt x="534678" y="709492"/>
                  </a:lnTo>
                  <a:lnTo>
                    <a:pt x="534585" y="710380"/>
                  </a:lnTo>
                  <a:lnTo>
                    <a:pt x="538783" y="709698"/>
                  </a:lnTo>
                  <a:lnTo>
                    <a:pt x="539955" y="709797"/>
                  </a:lnTo>
                  <a:lnTo>
                    <a:pt x="540701" y="710501"/>
                  </a:lnTo>
                  <a:lnTo>
                    <a:pt x="539551" y="711336"/>
                  </a:lnTo>
                  <a:lnTo>
                    <a:pt x="537266" y="712093"/>
                  </a:lnTo>
                  <a:lnTo>
                    <a:pt x="535280" y="713560"/>
                  </a:lnTo>
                  <a:lnTo>
                    <a:pt x="530683" y="716100"/>
                  </a:lnTo>
                  <a:lnTo>
                    <a:pt x="528942" y="718210"/>
                  </a:lnTo>
                  <a:lnTo>
                    <a:pt x="526887" y="719014"/>
                  </a:lnTo>
                  <a:lnTo>
                    <a:pt x="524088" y="719205"/>
                  </a:lnTo>
                  <a:lnTo>
                    <a:pt x="519167" y="720578"/>
                  </a:lnTo>
                  <a:lnTo>
                    <a:pt x="516179" y="721871"/>
                  </a:lnTo>
                  <a:lnTo>
                    <a:pt x="515422" y="722569"/>
                  </a:lnTo>
                  <a:lnTo>
                    <a:pt x="514482" y="722899"/>
                  </a:lnTo>
                  <a:lnTo>
                    <a:pt x="513360" y="722865"/>
                  </a:lnTo>
                  <a:lnTo>
                    <a:pt x="512148" y="723431"/>
                  </a:lnTo>
                  <a:lnTo>
                    <a:pt x="510845" y="724599"/>
                  </a:lnTo>
                  <a:lnTo>
                    <a:pt x="509759" y="725146"/>
                  </a:lnTo>
                  <a:lnTo>
                    <a:pt x="507979" y="725267"/>
                  </a:lnTo>
                  <a:lnTo>
                    <a:pt x="507050" y="725727"/>
                  </a:lnTo>
                  <a:lnTo>
                    <a:pt x="506009" y="725708"/>
                  </a:lnTo>
                  <a:lnTo>
                    <a:pt x="503166" y="724313"/>
                  </a:lnTo>
                  <a:lnTo>
                    <a:pt x="502455" y="723496"/>
                  </a:lnTo>
                  <a:lnTo>
                    <a:pt x="504971" y="721861"/>
                  </a:lnTo>
                  <a:lnTo>
                    <a:pt x="506793" y="721317"/>
                  </a:lnTo>
                  <a:lnTo>
                    <a:pt x="509562" y="721069"/>
                  </a:lnTo>
                  <a:lnTo>
                    <a:pt x="512282" y="719557"/>
                  </a:lnTo>
                  <a:lnTo>
                    <a:pt x="517881" y="717551"/>
                  </a:lnTo>
                  <a:lnTo>
                    <a:pt x="519615" y="716457"/>
                  </a:lnTo>
                  <a:lnTo>
                    <a:pt x="520731" y="712646"/>
                  </a:lnTo>
                  <a:lnTo>
                    <a:pt x="522004" y="711996"/>
                  </a:lnTo>
                  <a:lnTo>
                    <a:pt x="522686" y="710469"/>
                  </a:lnTo>
                  <a:lnTo>
                    <a:pt x="525787" y="710514"/>
                  </a:lnTo>
                  <a:lnTo>
                    <a:pt x="527210" y="712223"/>
                  </a:lnTo>
                  <a:lnTo>
                    <a:pt x="527709" y="712456"/>
                  </a:lnTo>
                  <a:lnTo>
                    <a:pt x="527959" y="712290"/>
                  </a:lnTo>
                  <a:lnTo>
                    <a:pt x="528095" y="710922"/>
                  </a:lnTo>
                  <a:lnTo>
                    <a:pt x="529687" y="709962"/>
                  </a:lnTo>
                  <a:lnTo>
                    <a:pt x="528768" y="709257"/>
                  </a:lnTo>
                  <a:lnTo>
                    <a:pt x="525903" y="708370"/>
                  </a:lnTo>
                  <a:lnTo>
                    <a:pt x="523776" y="707953"/>
                  </a:lnTo>
                  <a:lnTo>
                    <a:pt x="522391" y="708002"/>
                  </a:lnTo>
                  <a:lnTo>
                    <a:pt x="521263" y="707505"/>
                  </a:lnTo>
                  <a:lnTo>
                    <a:pt x="520392" y="706458"/>
                  </a:lnTo>
                  <a:lnTo>
                    <a:pt x="519997" y="705420"/>
                  </a:lnTo>
                  <a:lnTo>
                    <a:pt x="520072" y="704390"/>
                  </a:lnTo>
                  <a:lnTo>
                    <a:pt x="520778" y="703235"/>
                  </a:lnTo>
                  <a:lnTo>
                    <a:pt x="522114" y="701958"/>
                  </a:lnTo>
                  <a:lnTo>
                    <a:pt x="523646" y="701232"/>
                  </a:lnTo>
                  <a:lnTo>
                    <a:pt x="526947" y="700710"/>
                  </a:lnTo>
                  <a:lnTo>
                    <a:pt x="529870" y="699859"/>
                  </a:lnTo>
                  <a:close/>
                  <a:moveTo>
                    <a:pt x="549454" y="692541"/>
                  </a:moveTo>
                  <a:lnTo>
                    <a:pt x="551330" y="692682"/>
                  </a:lnTo>
                  <a:lnTo>
                    <a:pt x="554605" y="694608"/>
                  </a:lnTo>
                  <a:lnTo>
                    <a:pt x="556141" y="695736"/>
                  </a:lnTo>
                  <a:lnTo>
                    <a:pt x="556432" y="696438"/>
                  </a:lnTo>
                  <a:lnTo>
                    <a:pt x="555284" y="697097"/>
                  </a:lnTo>
                  <a:lnTo>
                    <a:pt x="552638" y="697462"/>
                  </a:lnTo>
                  <a:lnTo>
                    <a:pt x="551672" y="698080"/>
                  </a:lnTo>
                  <a:lnTo>
                    <a:pt x="550897" y="698215"/>
                  </a:lnTo>
                  <a:lnTo>
                    <a:pt x="550308" y="697864"/>
                  </a:lnTo>
                  <a:lnTo>
                    <a:pt x="547667" y="698285"/>
                  </a:lnTo>
                  <a:lnTo>
                    <a:pt x="547151" y="698034"/>
                  </a:lnTo>
                  <a:lnTo>
                    <a:pt x="545974" y="695945"/>
                  </a:lnTo>
                  <a:lnTo>
                    <a:pt x="545898" y="694862"/>
                  </a:lnTo>
                  <a:lnTo>
                    <a:pt x="546357" y="694010"/>
                  </a:lnTo>
                  <a:lnTo>
                    <a:pt x="547543" y="693234"/>
                  </a:lnTo>
                  <a:close/>
                  <a:moveTo>
                    <a:pt x="560061" y="689960"/>
                  </a:moveTo>
                  <a:lnTo>
                    <a:pt x="560490" y="690333"/>
                  </a:lnTo>
                  <a:lnTo>
                    <a:pt x="561667" y="692160"/>
                  </a:lnTo>
                  <a:lnTo>
                    <a:pt x="562839" y="692647"/>
                  </a:lnTo>
                  <a:lnTo>
                    <a:pt x="563703" y="693040"/>
                  </a:lnTo>
                  <a:lnTo>
                    <a:pt x="562180" y="693598"/>
                  </a:lnTo>
                  <a:lnTo>
                    <a:pt x="559793" y="695147"/>
                  </a:lnTo>
                  <a:lnTo>
                    <a:pt x="558679" y="695413"/>
                  </a:lnTo>
                  <a:lnTo>
                    <a:pt x="558409" y="695048"/>
                  </a:lnTo>
                  <a:lnTo>
                    <a:pt x="558278" y="693505"/>
                  </a:lnTo>
                  <a:lnTo>
                    <a:pt x="557420" y="691056"/>
                  </a:lnTo>
                  <a:lnTo>
                    <a:pt x="559048" y="690166"/>
                  </a:lnTo>
                  <a:close/>
                  <a:moveTo>
                    <a:pt x="629705" y="682572"/>
                  </a:moveTo>
                  <a:lnTo>
                    <a:pt x="634173" y="683716"/>
                  </a:lnTo>
                  <a:lnTo>
                    <a:pt x="635129" y="684259"/>
                  </a:lnTo>
                  <a:lnTo>
                    <a:pt x="636495" y="685852"/>
                  </a:lnTo>
                  <a:lnTo>
                    <a:pt x="634283" y="686621"/>
                  </a:lnTo>
                  <a:lnTo>
                    <a:pt x="631936" y="685820"/>
                  </a:lnTo>
                  <a:lnTo>
                    <a:pt x="629930" y="684339"/>
                  </a:lnTo>
                  <a:close/>
                  <a:moveTo>
                    <a:pt x="643887" y="665293"/>
                  </a:moveTo>
                  <a:lnTo>
                    <a:pt x="644557" y="666314"/>
                  </a:lnTo>
                  <a:lnTo>
                    <a:pt x="644675" y="667117"/>
                  </a:lnTo>
                  <a:lnTo>
                    <a:pt x="643684" y="669414"/>
                  </a:lnTo>
                  <a:lnTo>
                    <a:pt x="643033" y="670129"/>
                  </a:lnTo>
                  <a:lnTo>
                    <a:pt x="642424" y="670293"/>
                  </a:lnTo>
                  <a:lnTo>
                    <a:pt x="640668" y="669209"/>
                  </a:lnTo>
                  <a:lnTo>
                    <a:pt x="640031" y="668398"/>
                  </a:lnTo>
                  <a:lnTo>
                    <a:pt x="639569" y="667135"/>
                  </a:lnTo>
                  <a:lnTo>
                    <a:pt x="643146" y="665317"/>
                  </a:lnTo>
                  <a:close/>
                  <a:moveTo>
                    <a:pt x="609630" y="662905"/>
                  </a:moveTo>
                  <a:lnTo>
                    <a:pt x="611020" y="663367"/>
                  </a:lnTo>
                  <a:lnTo>
                    <a:pt x="612093" y="664201"/>
                  </a:lnTo>
                  <a:lnTo>
                    <a:pt x="612983" y="665392"/>
                  </a:lnTo>
                  <a:lnTo>
                    <a:pt x="615458" y="671242"/>
                  </a:lnTo>
                  <a:lnTo>
                    <a:pt x="616532" y="672386"/>
                  </a:lnTo>
                  <a:lnTo>
                    <a:pt x="618124" y="673009"/>
                  </a:lnTo>
                  <a:lnTo>
                    <a:pt x="620354" y="673639"/>
                  </a:lnTo>
                  <a:lnTo>
                    <a:pt x="621682" y="674503"/>
                  </a:lnTo>
                  <a:lnTo>
                    <a:pt x="622849" y="675817"/>
                  </a:lnTo>
                  <a:lnTo>
                    <a:pt x="623003" y="676421"/>
                  </a:lnTo>
                  <a:lnTo>
                    <a:pt x="615991" y="674064"/>
                  </a:lnTo>
                  <a:lnTo>
                    <a:pt x="611585" y="677503"/>
                  </a:lnTo>
                  <a:lnTo>
                    <a:pt x="610254" y="677949"/>
                  </a:lnTo>
                  <a:lnTo>
                    <a:pt x="597747" y="678115"/>
                  </a:lnTo>
                  <a:lnTo>
                    <a:pt x="595247" y="678748"/>
                  </a:lnTo>
                  <a:lnTo>
                    <a:pt x="593631" y="679866"/>
                  </a:lnTo>
                  <a:lnTo>
                    <a:pt x="590773" y="682999"/>
                  </a:lnTo>
                  <a:lnTo>
                    <a:pt x="589322" y="684216"/>
                  </a:lnTo>
                  <a:lnTo>
                    <a:pt x="587794" y="684939"/>
                  </a:lnTo>
                  <a:lnTo>
                    <a:pt x="584544" y="685748"/>
                  </a:lnTo>
                  <a:lnTo>
                    <a:pt x="580643" y="685638"/>
                  </a:lnTo>
                  <a:lnTo>
                    <a:pt x="578611" y="685229"/>
                  </a:lnTo>
                  <a:lnTo>
                    <a:pt x="577521" y="683740"/>
                  </a:lnTo>
                  <a:lnTo>
                    <a:pt x="576556" y="680803"/>
                  </a:lnTo>
                  <a:lnTo>
                    <a:pt x="576563" y="679985"/>
                  </a:lnTo>
                  <a:lnTo>
                    <a:pt x="576973" y="678579"/>
                  </a:lnTo>
                  <a:lnTo>
                    <a:pt x="580447" y="676635"/>
                  </a:lnTo>
                  <a:lnTo>
                    <a:pt x="581601" y="675608"/>
                  </a:lnTo>
                  <a:lnTo>
                    <a:pt x="586102" y="668929"/>
                  </a:lnTo>
                  <a:lnTo>
                    <a:pt x="587408" y="668010"/>
                  </a:lnTo>
                  <a:lnTo>
                    <a:pt x="588792" y="667784"/>
                  </a:lnTo>
                  <a:lnTo>
                    <a:pt x="592635" y="668251"/>
                  </a:lnTo>
                  <a:lnTo>
                    <a:pt x="595916" y="666298"/>
                  </a:lnTo>
                  <a:lnTo>
                    <a:pt x="602984" y="663321"/>
                  </a:lnTo>
                  <a:lnTo>
                    <a:pt x="604537" y="662967"/>
                  </a:lnTo>
                  <a:close/>
                  <a:moveTo>
                    <a:pt x="715384" y="662622"/>
                  </a:moveTo>
                  <a:lnTo>
                    <a:pt x="717207" y="663258"/>
                  </a:lnTo>
                  <a:lnTo>
                    <a:pt x="717902" y="664726"/>
                  </a:lnTo>
                  <a:lnTo>
                    <a:pt x="717933" y="665687"/>
                  </a:lnTo>
                  <a:lnTo>
                    <a:pt x="717103" y="665867"/>
                  </a:lnTo>
                  <a:lnTo>
                    <a:pt x="716418" y="665484"/>
                  </a:lnTo>
                  <a:lnTo>
                    <a:pt x="715471" y="663467"/>
                  </a:lnTo>
                  <a:close/>
                  <a:moveTo>
                    <a:pt x="713263" y="656683"/>
                  </a:moveTo>
                  <a:lnTo>
                    <a:pt x="714027" y="659317"/>
                  </a:lnTo>
                  <a:lnTo>
                    <a:pt x="713892" y="662148"/>
                  </a:lnTo>
                  <a:lnTo>
                    <a:pt x="713520" y="662593"/>
                  </a:lnTo>
                  <a:lnTo>
                    <a:pt x="712844" y="661838"/>
                  </a:lnTo>
                  <a:lnTo>
                    <a:pt x="711409" y="662675"/>
                  </a:lnTo>
                  <a:lnTo>
                    <a:pt x="710625" y="662063"/>
                  </a:lnTo>
                  <a:lnTo>
                    <a:pt x="710958" y="661077"/>
                  </a:lnTo>
                  <a:lnTo>
                    <a:pt x="710849" y="660308"/>
                  </a:lnTo>
                  <a:lnTo>
                    <a:pt x="711914" y="660247"/>
                  </a:lnTo>
                  <a:lnTo>
                    <a:pt x="712167" y="658839"/>
                  </a:lnTo>
                  <a:lnTo>
                    <a:pt x="711983" y="658246"/>
                  </a:lnTo>
                  <a:lnTo>
                    <a:pt x="712506" y="656976"/>
                  </a:lnTo>
                  <a:close/>
                  <a:moveTo>
                    <a:pt x="1427023" y="655325"/>
                  </a:moveTo>
                  <a:lnTo>
                    <a:pt x="1428369" y="655374"/>
                  </a:lnTo>
                  <a:lnTo>
                    <a:pt x="1431124" y="657132"/>
                  </a:lnTo>
                  <a:lnTo>
                    <a:pt x="1432779" y="661876"/>
                  </a:lnTo>
                  <a:lnTo>
                    <a:pt x="1435389" y="666497"/>
                  </a:lnTo>
                  <a:lnTo>
                    <a:pt x="1435528" y="668118"/>
                  </a:lnTo>
                  <a:lnTo>
                    <a:pt x="1433040" y="668686"/>
                  </a:lnTo>
                  <a:lnTo>
                    <a:pt x="1431085" y="668453"/>
                  </a:lnTo>
                  <a:lnTo>
                    <a:pt x="1430077" y="667922"/>
                  </a:lnTo>
                  <a:lnTo>
                    <a:pt x="1429812" y="667170"/>
                  </a:lnTo>
                  <a:lnTo>
                    <a:pt x="1430442" y="664833"/>
                  </a:lnTo>
                  <a:lnTo>
                    <a:pt x="1429159" y="663457"/>
                  </a:lnTo>
                  <a:lnTo>
                    <a:pt x="1427671" y="662988"/>
                  </a:lnTo>
                  <a:lnTo>
                    <a:pt x="1426339" y="663796"/>
                  </a:lnTo>
                  <a:lnTo>
                    <a:pt x="1426265" y="661490"/>
                  </a:lnTo>
                  <a:lnTo>
                    <a:pt x="1427263" y="659831"/>
                  </a:lnTo>
                  <a:lnTo>
                    <a:pt x="1426706" y="657576"/>
                  </a:lnTo>
                  <a:lnTo>
                    <a:pt x="1426691" y="655871"/>
                  </a:lnTo>
                  <a:close/>
                  <a:moveTo>
                    <a:pt x="704531" y="655010"/>
                  </a:moveTo>
                  <a:lnTo>
                    <a:pt x="704947" y="655346"/>
                  </a:lnTo>
                  <a:lnTo>
                    <a:pt x="704253" y="656850"/>
                  </a:lnTo>
                  <a:lnTo>
                    <a:pt x="705754" y="658233"/>
                  </a:lnTo>
                  <a:lnTo>
                    <a:pt x="705380" y="659573"/>
                  </a:lnTo>
                  <a:lnTo>
                    <a:pt x="704898" y="660138"/>
                  </a:lnTo>
                  <a:lnTo>
                    <a:pt x="703343" y="660917"/>
                  </a:lnTo>
                  <a:lnTo>
                    <a:pt x="702855" y="661907"/>
                  </a:lnTo>
                  <a:lnTo>
                    <a:pt x="701673" y="662325"/>
                  </a:lnTo>
                  <a:lnTo>
                    <a:pt x="700678" y="663130"/>
                  </a:lnTo>
                  <a:lnTo>
                    <a:pt x="697331" y="666774"/>
                  </a:lnTo>
                  <a:lnTo>
                    <a:pt x="695866" y="667448"/>
                  </a:lnTo>
                  <a:lnTo>
                    <a:pt x="697484" y="664338"/>
                  </a:lnTo>
                  <a:lnTo>
                    <a:pt x="697739" y="663349"/>
                  </a:lnTo>
                  <a:lnTo>
                    <a:pt x="697770" y="662691"/>
                  </a:lnTo>
                  <a:lnTo>
                    <a:pt x="697267" y="660342"/>
                  </a:lnTo>
                  <a:lnTo>
                    <a:pt x="698246" y="660443"/>
                  </a:lnTo>
                  <a:lnTo>
                    <a:pt x="699050" y="659956"/>
                  </a:lnTo>
                  <a:lnTo>
                    <a:pt x="700669" y="657872"/>
                  </a:lnTo>
                  <a:lnTo>
                    <a:pt x="702125" y="657686"/>
                  </a:lnTo>
                  <a:lnTo>
                    <a:pt x="703687" y="655205"/>
                  </a:lnTo>
                  <a:close/>
                  <a:moveTo>
                    <a:pt x="1382861" y="653131"/>
                  </a:moveTo>
                  <a:lnTo>
                    <a:pt x="1387941" y="657118"/>
                  </a:lnTo>
                  <a:lnTo>
                    <a:pt x="1388715" y="658807"/>
                  </a:lnTo>
                  <a:lnTo>
                    <a:pt x="1390535" y="660783"/>
                  </a:lnTo>
                  <a:lnTo>
                    <a:pt x="1390882" y="663537"/>
                  </a:lnTo>
                  <a:lnTo>
                    <a:pt x="1391804" y="664617"/>
                  </a:lnTo>
                  <a:lnTo>
                    <a:pt x="1393941" y="668449"/>
                  </a:lnTo>
                  <a:lnTo>
                    <a:pt x="1394565" y="668926"/>
                  </a:lnTo>
                  <a:lnTo>
                    <a:pt x="1395200" y="668591"/>
                  </a:lnTo>
                  <a:lnTo>
                    <a:pt x="1396235" y="667328"/>
                  </a:lnTo>
                  <a:lnTo>
                    <a:pt x="1398063" y="667577"/>
                  </a:lnTo>
                  <a:lnTo>
                    <a:pt x="1399383" y="668002"/>
                  </a:lnTo>
                  <a:lnTo>
                    <a:pt x="1400191" y="668520"/>
                  </a:lnTo>
                  <a:lnTo>
                    <a:pt x="1399763" y="670359"/>
                  </a:lnTo>
                  <a:lnTo>
                    <a:pt x="1399432" y="673341"/>
                  </a:lnTo>
                  <a:lnTo>
                    <a:pt x="1398675" y="674399"/>
                  </a:lnTo>
                  <a:lnTo>
                    <a:pt x="1397932" y="675885"/>
                  </a:lnTo>
                  <a:lnTo>
                    <a:pt x="1395343" y="675004"/>
                  </a:lnTo>
                  <a:lnTo>
                    <a:pt x="1393242" y="673112"/>
                  </a:lnTo>
                  <a:lnTo>
                    <a:pt x="1390199" y="669851"/>
                  </a:lnTo>
                  <a:lnTo>
                    <a:pt x="1388503" y="667497"/>
                  </a:lnTo>
                  <a:lnTo>
                    <a:pt x="1388372" y="666501"/>
                  </a:lnTo>
                  <a:lnTo>
                    <a:pt x="1387297" y="665778"/>
                  </a:lnTo>
                  <a:lnTo>
                    <a:pt x="1385206" y="661711"/>
                  </a:lnTo>
                  <a:lnTo>
                    <a:pt x="1384019" y="658489"/>
                  </a:lnTo>
                  <a:lnTo>
                    <a:pt x="1382140" y="658122"/>
                  </a:lnTo>
                  <a:lnTo>
                    <a:pt x="1379764" y="657226"/>
                  </a:lnTo>
                  <a:lnTo>
                    <a:pt x="1378851" y="655459"/>
                  </a:lnTo>
                  <a:lnTo>
                    <a:pt x="1379481" y="653912"/>
                  </a:lnTo>
                  <a:close/>
                  <a:moveTo>
                    <a:pt x="692415" y="652017"/>
                  </a:moveTo>
                  <a:lnTo>
                    <a:pt x="693257" y="652705"/>
                  </a:lnTo>
                  <a:lnTo>
                    <a:pt x="692899" y="655515"/>
                  </a:lnTo>
                  <a:lnTo>
                    <a:pt x="689393" y="653727"/>
                  </a:lnTo>
                  <a:lnTo>
                    <a:pt x="688455" y="652842"/>
                  </a:lnTo>
                  <a:lnTo>
                    <a:pt x="689083" y="652182"/>
                  </a:lnTo>
                  <a:close/>
                  <a:moveTo>
                    <a:pt x="683190" y="650319"/>
                  </a:moveTo>
                  <a:lnTo>
                    <a:pt x="683912" y="650543"/>
                  </a:lnTo>
                  <a:lnTo>
                    <a:pt x="684510" y="651219"/>
                  </a:lnTo>
                  <a:lnTo>
                    <a:pt x="684659" y="651931"/>
                  </a:lnTo>
                  <a:lnTo>
                    <a:pt x="684185" y="653521"/>
                  </a:lnTo>
                  <a:lnTo>
                    <a:pt x="684573" y="653539"/>
                  </a:lnTo>
                  <a:lnTo>
                    <a:pt x="685361" y="653267"/>
                  </a:lnTo>
                  <a:lnTo>
                    <a:pt x="687014" y="651258"/>
                  </a:lnTo>
                  <a:lnTo>
                    <a:pt x="687556" y="651169"/>
                  </a:lnTo>
                  <a:lnTo>
                    <a:pt x="687564" y="651789"/>
                  </a:lnTo>
                  <a:lnTo>
                    <a:pt x="686782" y="653775"/>
                  </a:lnTo>
                  <a:lnTo>
                    <a:pt x="688106" y="656424"/>
                  </a:lnTo>
                  <a:lnTo>
                    <a:pt x="689344" y="657698"/>
                  </a:lnTo>
                  <a:lnTo>
                    <a:pt x="689221" y="658143"/>
                  </a:lnTo>
                  <a:lnTo>
                    <a:pt x="686119" y="659061"/>
                  </a:lnTo>
                  <a:lnTo>
                    <a:pt x="683755" y="658400"/>
                  </a:lnTo>
                  <a:lnTo>
                    <a:pt x="682508" y="658629"/>
                  </a:lnTo>
                  <a:lnTo>
                    <a:pt x="681375" y="659553"/>
                  </a:lnTo>
                  <a:lnTo>
                    <a:pt x="680599" y="658531"/>
                  </a:lnTo>
                  <a:lnTo>
                    <a:pt x="680063" y="653644"/>
                  </a:lnTo>
                  <a:lnTo>
                    <a:pt x="680238" y="652787"/>
                  </a:lnTo>
                  <a:lnTo>
                    <a:pt x="681524" y="651086"/>
                  </a:lnTo>
                  <a:close/>
                  <a:moveTo>
                    <a:pt x="1381611" y="644806"/>
                  </a:moveTo>
                  <a:lnTo>
                    <a:pt x="1382645" y="645354"/>
                  </a:lnTo>
                  <a:lnTo>
                    <a:pt x="1383203" y="646358"/>
                  </a:lnTo>
                  <a:lnTo>
                    <a:pt x="1383242" y="646993"/>
                  </a:lnTo>
                  <a:lnTo>
                    <a:pt x="1379548" y="649363"/>
                  </a:lnTo>
                  <a:lnTo>
                    <a:pt x="1379480" y="649851"/>
                  </a:lnTo>
                  <a:lnTo>
                    <a:pt x="1378614" y="651316"/>
                  </a:lnTo>
                  <a:lnTo>
                    <a:pt x="1377840" y="651849"/>
                  </a:lnTo>
                  <a:lnTo>
                    <a:pt x="1376464" y="653433"/>
                  </a:lnTo>
                  <a:lnTo>
                    <a:pt x="1373841" y="655140"/>
                  </a:lnTo>
                  <a:lnTo>
                    <a:pt x="1374228" y="650008"/>
                  </a:lnTo>
                  <a:lnTo>
                    <a:pt x="1371623" y="647025"/>
                  </a:lnTo>
                  <a:lnTo>
                    <a:pt x="1374248" y="645514"/>
                  </a:lnTo>
                  <a:lnTo>
                    <a:pt x="1375970" y="645945"/>
                  </a:lnTo>
                  <a:lnTo>
                    <a:pt x="1378826" y="646119"/>
                  </a:lnTo>
                  <a:close/>
                  <a:moveTo>
                    <a:pt x="814054" y="631722"/>
                  </a:moveTo>
                  <a:lnTo>
                    <a:pt x="814583" y="631838"/>
                  </a:lnTo>
                  <a:lnTo>
                    <a:pt x="814821" y="633073"/>
                  </a:lnTo>
                  <a:lnTo>
                    <a:pt x="814768" y="635424"/>
                  </a:lnTo>
                  <a:lnTo>
                    <a:pt x="813776" y="636557"/>
                  </a:lnTo>
                  <a:lnTo>
                    <a:pt x="811844" y="636475"/>
                  </a:lnTo>
                  <a:lnTo>
                    <a:pt x="810759" y="636104"/>
                  </a:lnTo>
                  <a:lnTo>
                    <a:pt x="810396" y="635115"/>
                  </a:lnTo>
                  <a:lnTo>
                    <a:pt x="813375" y="632125"/>
                  </a:lnTo>
                  <a:close/>
                  <a:moveTo>
                    <a:pt x="1434579" y="630608"/>
                  </a:moveTo>
                  <a:lnTo>
                    <a:pt x="1435422" y="630837"/>
                  </a:lnTo>
                  <a:lnTo>
                    <a:pt x="1438370" y="634152"/>
                  </a:lnTo>
                  <a:lnTo>
                    <a:pt x="1441503" y="638777"/>
                  </a:lnTo>
                  <a:lnTo>
                    <a:pt x="1442316" y="640856"/>
                  </a:lnTo>
                  <a:lnTo>
                    <a:pt x="1442340" y="644487"/>
                  </a:lnTo>
                  <a:lnTo>
                    <a:pt x="1441980" y="647304"/>
                  </a:lnTo>
                  <a:lnTo>
                    <a:pt x="1441093" y="651224"/>
                  </a:lnTo>
                  <a:lnTo>
                    <a:pt x="1439337" y="655230"/>
                  </a:lnTo>
                  <a:lnTo>
                    <a:pt x="1436655" y="657383"/>
                  </a:lnTo>
                  <a:lnTo>
                    <a:pt x="1434767" y="656903"/>
                  </a:lnTo>
                  <a:lnTo>
                    <a:pt x="1433378" y="655168"/>
                  </a:lnTo>
                  <a:lnTo>
                    <a:pt x="1432089" y="655264"/>
                  </a:lnTo>
                  <a:lnTo>
                    <a:pt x="1430715" y="654907"/>
                  </a:lnTo>
                  <a:lnTo>
                    <a:pt x="1429944" y="653467"/>
                  </a:lnTo>
                  <a:lnTo>
                    <a:pt x="1430673" y="651611"/>
                  </a:lnTo>
                  <a:lnTo>
                    <a:pt x="1430030" y="650171"/>
                  </a:lnTo>
                  <a:lnTo>
                    <a:pt x="1429343" y="651430"/>
                  </a:lnTo>
                  <a:lnTo>
                    <a:pt x="1428135" y="652586"/>
                  </a:lnTo>
                  <a:lnTo>
                    <a:pt x="1425087" y="654087"/>
                  </a:lnTo>
                  <a:lnTo>
                    <a:pt x="1422985" y="656953"/>
                  </a:lnTo>
                  <a:lnTo>
                    <a:pt x="1421996" y="658821"/>
                  </a:lnTo>
                  <a:lnTo>
                    <a:pt x="1420759" y="656785"/>
                  </a:lnTo>
                  <a:lnTo>
                    <a:pt x="1419967" y="651957"/>
                  </a:lnTo>
                  <a:lnTo>
                    <a:pt x="1419863" y="649905"/>
                  </a:lnTo>
                  <a:lnTo>
                    <a:pt x="1422073" y="646807"/>
                  </a:lnTo>
                  <a:lnTo>
                    <a:pt x="1424928" y="643860"/>
                  </a:lnTo>
                  <a:lnTo>
                    <a:pt x="1425504" y="635048"/>
                  </a:lnTo>
                  <a:close/>
                  <a:moveTo>
                    <a:pt x="1375984" y="616779"/>
                  </a:moveTo>
                  <a:lnTo>
                    <a:pt x="1380820" y="617553"/>
                  </a:lnTo>
                  <a:lnTo>
                    <a:pt x="1385248" y="617480"/>
                  </a:lnTo>
                  <a:lnTo>
                    <a:pt x="1386761" y="618968"/>
                  </a:lnTo>
                  <a:lnTo>
                    <a:pt x="1387761" y="620537"/>
                  </a:lnTo>
                  <a:lnTo>
                    <a:pt x="1388342" y="622012"/>
                  </a:lnTo>
                  <a:lnTo>
                    <a:pt x="1388502" y="623393"/>
                  </a:lnTo>
                  <a:lnTo>
                    <a:pt x="1388382" y="624371"/>
                  </a:lnTo>
                  <a:lnTo>
                    <a:pt x="1387844" y="625412"/>
                  </a:lnTo>
                  <a:lnTo>
                    <a:pt x="1387962" y="625763"/>
                  </a:lnTo>
                  <a:lnTo>
                    <a:pt x="1396611" y="629182"/>
                  </a:lnTo>
                  <a:lnTo>
                    <a:pt x="1400691" y="632775"/>
                  </a:lnTo>
                  <a:lnTo>
                    <a:pt x="1402319" y="634660"/>
                  </a:lnTo>
                  <a:lnTo>
                    <a:pt x="1403259" y="636252"/>
                  </a:lnTo>
                  <a:lnTo>
                    <a:pt x="1404963" y="640231"/>
                  </a:lnTo>
                  <a:lnTo>
                    <a:pt x="1408568" y="644840"/>
                  </a:lnTo>
                  <a:lnTo>
                    <a:pt x="1410459" y="646244"/>
                  </a:lnTo>
                  <a:lnTo>
                    <a:pt x="1411532" y="647608"/>
                  </a:lnTo>
                  <a:lnTo>
                    <a:pt x="1410928" y="647660"/>
                  </a:lnTo>
                  <a:lnTo>
                    <a:pt x="1408388" y="646649"/>
                  </a:lnTo>
                  <a:lnTo>
                    <a:pt x="1402893" y="643561"/>
                  </a:lnTo>
                  <a:lnTo>
                    <a:pt x="1402445" y="643683"/>
                  </a:lnTo>
                  <a:lnTo>
                    <a:pt x="1401948" y="645355"/>
                  </a:lnTo>
                  <a:lnTo>
                    <a:pt x="1401097" y="646822"/>
                  </a:lnTo>
                  <a:lnTo>
                    <a:pt x="1399832" y="647874"/>
                  </a:lnTo>
                  <a:lnTo>
                    <a:pt x="1400845" y="648188"/>
                  </a:lnTo>
                  <a:lnTo>
                    <a:pt x="1405276" y="647526"/>
                  </a:lnTo>
                  <a:lnTo>
                    <a:pt x="1408997" y="650533"/>
                  </a:lnTo>
                  <a:lnTo>
                    <a:pt x="1410445" y="651071"/>
                  </a:lnTo>
                  <a:lnTo>
                    <a:pt x="1411848" y="653229"/>
                  </a:lnTo>
                  <a:lnTo>
                    <a:pt x="1411896" y="654055"/>
                  </a:lnTo>
                  <a:lnTo>
                    <a:pt x="1411079" y="655650"/>
                  </a:lnTo>
                  <a:lnTo>
                    <a:pt x="1410455" y="656297"/>
                  </a:lnTo>
                  <a:lnTo>
                    <a:pt x="1410664" y="656737"/>
                  </a:lnTo>
                  <a:lnTo>
                    <a:pt x="1411704" y="656964"/>
                  </a:lnTo>
                  <a:lnTo>
                    <a:pt x="1415807" y="656517"/>
                  </a:lnTo>
                  <a:lnTo>
                    <a:pt x="1416539" y="657300"/>
                  </a:lnTo>
                  <a:lnTo>
                    <a:pt x="1415927" y="663508"/>
                  </a:lnTo>
                  <a:lnTo>
                    <a:pt x="1416508" y="665790"/>
                  </a:lnTo>
                  <a:lnTo>
                    <a:pt x="1416499" y="666827"/>
                  </a:lnTo>
                  <a:lnTo>
                    <a:pt x="1416024" y="668202"/>
                  </a:lnTo>
                  <a:lnTo>
                    <a:pt x="1416007" y="669364"/>
                  </a:lnTo>
                  <a:lnTo>
                    <a:pt x="1416378" y="670556"/>
                  </a:lnTo>
                  <a:lnTo>
                    <a:pt x="1416425" y="671621"/>
                  </a:lnTo>
                  <a:lnTo>
                    <a:pt x="1415384" y="674396"/>
                  </a:lnTo>
                  <a:lnTo>
                    <a:pt x="1414285" y="674861"/>
                  </a:lnTo>
                  <a:lnTo>
                    <a:pt x="1412509" y="674882"/>
                  </a:lnTo>
                  <a:lnTo>
                    <a:pt x="1411109" y="674094"/>
                  </a:lnTo>
                  <a:lnTo>
                    <a:pt x="1409143" y="671708"/>
                  </a:lnTo>
                  <a:lnTo>
                    <a:pt x="1407230" y="667996"/>
                  </a:lnTo>
                  <a:lnTo>
                    <a:pt x="1406492" y="667466"/>
                  </a:lnTo>
                  <a:lnTo>
                    <a:pt x="1403981" y="666908"/>
                  </a:lnTo>
                  <a:lnTo>
                    <a:pt x="1403526" y="666468"/>
                  </a:lnTo>
                  <a:lnTo>
                    <a:pt x="1401923" y="666389"/>
                  </a:lnTo>
                  <a:lnTo>
                    <a:pt x="1400788" y="664859"/>
                  </a:lnTo>
                  <a:lnTo>
                    <a:pt x="1400925" y="662851"/>
                  </a:lnTo>
                  <a:lnTo>
                    <a:pt x="1399943" y="660801"/>
                  </a:lnTo>
                  <a:lnTo>
                    <a:pt x="1400065" y="659883"/>
                  </a:lnTo>
                  <a:lnTo>
                    <a:pt x="1398965" y="659498"/>
                  </a:lnTo>
                  <a:lnTo>
                    <a:pt x="1398034" y="660076"/>
                  </a:lnTo>
                  <a:lnTo>
                    <a:pt x="1398517" y="662085"/>
                  </a:lnTo>
                  <a:lnTo>
                    <a:pt x="1397974" y="663640"/>
                  </a:lnTo>
                  <a:lnTo>
                    <a:pt x="1395980" y="662988"/>
                  </a:lnTo>
                  <a:lnTo>
                    <a:pt x="1392656" y="658016"/>
                  </a:lnTo>
                  <a:lnTo>
                    <a:pt x="1388880" y="654015"/>
                  </a:lnTo>
                  <a:lnTo>
                    <a:pt x="1387402" y="653063"/>
                  </a:lnTo>
                  <a:lnTo>
                    <a:pt x="1387799" y="651901"/>
                  </a:lnTo>
                  <a:lnTo>
                    <a:pt x="1389660" y="651285"/>
                  </a:lnTo>
                  <a:lnTo>
                    <a:pt x="1391172" y="651333"/>
                  </a:lnTo>
                  <a:lnTo>
                    <a:pt x="1391475" y="650642"/>
                  </a:lnTo>
                  <a:lnTo>
                    <a:pt x="1388322" y="646770"/>
                  </a:lnTo>
                  <a:lnTo>
                    <a:pt x="1388425" y="645670"/>
                  </a:lnTo>
                  <a:lnTo>
                    <a:pt x="1389575" y="643711"/>
                  </a:lnTo>
                  <a:lnTo>
                    <a:pt x="1388140" y="642894"/>
                  </a:lnTo>
                  <a:lnTo>
                    <a:pt x="1384209" y="643507"/>
                  </a:lnTo>
                  <a:lnTo>
                    <a:pt x="1382818" y="643098"/>
                  </a:lnTo>
                  <a:lnTo>
                    <a:pt x="1381682" y="641525"/>
                  </a:lnTo>
                  <a:lnTo>
                    <a:pt x="1381014" y="640160"/>
                  </a:lnTo>
                  <a:lnTo>
                    <a:pt x="1377602" y="639913"/>
                  </a:lnTo>
                  <a:lnTo>
                    <a:pt x="1376312" y="640082"/>
                  </a:lnTo>
                  <a:lnTo>
                    <a:pt x="1374088" y="638019"/>
                  </a:lnTo>
                  <a:lnTo>
                    <a:pt x="1373075" y="636715"/>
                  </a:lnTo>
                  <a:lnTo>
                    <a:pt x="1373477" y="636046"/>
                  </a:lnTo>
                  <a:lnTo>
                    <a:pt x="1375527" y="634873"/>
                  </a:lnTo>
                  <a:lnTo>
                    <a:pt x="1376724" y="635038"/>
                  </a:lnTo>
                  <a:lnTo>
                    <a:pt x="1379025" y="636290"/>
                  </a:lnTo>
                  <a:lnTo>
                    <a:pt x="1379924" y="636242"/>
                  </a:lnTo>
                  <a:lnTo>
                    <a:pt x="1382210" y="634583"/>
                  </a:lnTo>
                  <a:lnTo>
                    <a:pt x="1382557" y="633080"/>
                  </a:lnTo>
                  <a:lnTo>
                    <a:pt x="1384265" y="631848"/>
                  </a:lnTo>
                  <a:lnTo>
                    <a:pt x="1383995" y="630546"/>
                  </a:lnTo>
                  <a:lnTo>
                    <a:pt x="1383049" y="628331"/>
                  </a:lnTo>
                  <a:lnTo>
                    <a:pt x="1380955" y="627712"/>
                  </a:lnTo>
                  <a:lnTo>
                    <a:pt x="1376686" y="629029"/>
                  </a:lnTo>
                  <a:lnTo>
                    <a:pt x="1372971" y="631059"/>
                  </a:lnTo>
                  <a:lnTo>
                    <a:pt x="1371485" y="630267"/>
                  </a:lnTo>
                  <a:lnTo>
                    <a:pt x="1371162" y="629022"/>
                  </a:lnTo>
                  <a:lnTo>
                    <a:pt x="1375141" y="625634"/>
                  </a:lnTo>
                  <a:lnTo>
                    <a:pt x="1376885" y="623761"/>
                  </a:lnTo>
                  <a:lnTo>
                    <a:pt x="1376547" y="622649"/>
                  </a:lnTo>
                  <a:lnTo>
                    <a:pt x="1375262" y="621213"/>
                  </a:lnTo>
                  <a:lnTo>
                    <a:pt x="1375155" y="617607"/>
                  </a:lnTo>
                  <a:close/>
                  <a:moveTo>
                    <a:pt x="1392925" y="612637"/>
                  </a:moveTo>
                  <a:lnTo>
                    <a:pt x="1397926" y="612829"/>
                  </a:lnTo>
                  <a:lnTo>
                    <a:pt x="1399525" y="613311"/>
                  </a:lnTo>
                  <a:lnTo>
                    <a:pt x="1399889" y="614150"/>
                  </a:lnTo>
                  <a:lnTo>
                    <a:pt x="1399807" y="615006"/>
                  </a:lnTo>
                  <a:lnTo>
                    <a:pt x="1399284" y="615870"/>
                  </a:lnTo>
                  <a:lnTo>
                    <a:pt x="1399162" y="616775"/>
                  </a:lnTo>
                  <a:lnTo>
                    <a:pt x="1399443" y="617719"/>
                  </a:lnTo>
                  <a:lnTo>
                    <a:pt x="1398861" y="618653"/>
                  </a:lnTo>
                  <a:lnTo>
                    <a:pt x="1396042" y="620097"/>
                  </a:lnTo>
                  <a:lnTo>
                    <a:pt x="1394739" y="620211"/>
                  </a:lnTo>
                  <a:lnTo>
                    <a:pt x="1393196" y="619660"/>
                  </a:lnTo>
                  <a:lnTo>
                    <a:pt x="1389533" y="616716"/>
                  </a:lnTo>
                  <a:lnTo>
                    <a:pt x="1389467" y="615853"/>
                  </a:lnTo>
                  <a:lnTo>
                    <a:pt x="1389992" y="614872"/>
                  </a:lnTo>
                  <a:lnTo>
                    <a:pt x="1392071" y="613071"/>
                  </a:lnTo>
                  <a:close/>
                  <a:moveTo>
                    <a:pt x="1406248" y="611009"/>
                  </a:moveTo>
                  <a:lnTo>
                    <a:pt x="1407863" y="611417"/>
                  </a:lnTo>
                  <a:lnTo>
                    <a:pt x="1410692" y="615019"/>
                  </a:lnTo>
                  <a:lnTo>
                    <a:pt x="1414231" y="620207"/>
                  </a:lnTo>
                  <a:lnTo>
                    <a:pt x="1413071" y="625067"/>
                  </a:lnTo>
                  <a:lnTo>
                    <a:pt x="1412545" y="631041"/>
                  </a:lnTo>
                  <a:lnTo>
                    <a:pt x="1411535" y="630705"/>
                  </a:lnTo>
                  <a:lnTo>
                    <a:pt x="1410572" y="630692"/>
                  </a:lnTo>
                  <a:lnTo>
                    <a:pt x="1408608" y="631540"/>
                  </a:lnTo>
                  <a:lnTo>
                    <a:pt x="1406534" y="631167"/>
                  </a:lnTo>
                  <a:lnTo>
                    <a:pt x="1405566" y="630505"/>
                  </a:lnTo>
                  <a:lnTo>
                    <a:pt x="1405207" y="629738"/>
                  </a:lnTo>
                  <a:lnTo>
                    <a:pt x="1405579" y="627965"/>
                  </a:lnTo>
                  <a:lnTo>
                    <a:pt x="1404428" y="626976"/>
                  </a:lnTo>
                  <a:lnTo>
                    <a:pt x="1400554" y="626614"/>
                  </a:lnTo>
                  <a:lnTo>
                    <a:pt x="1399103" y="626190"/>
                  </a:lnTo>
                  <a:lnTo>
                    <a:pt x="1398301" y="624322"/>
                  </a:lnTo>
                  <a:lnTo>
                    <a:pt x="1398106" y="621868"/>
                  </a:lnTo>
                  <a:lnTo>
                    <a:pt x="1398712" y="620950"/>
                  </a:lnTo>
                  <a:lnTo>
                    <a:pt x="1400663" y="620299"/>
                  </a:lnTo>
                  <a:lnTo>
                    <a:pt x="1402187" y="617323"/>
                  </a:lnTo>
                  <a:lnTo>
                    <a:pt x="1403030" y="616922"/>
                  </a:lnTo>
                  <a:close/>
                  <a:moveTo>
                    <a:pt x="841515" y="607322"/>
                  </a:moveTo>
                  <a:lnTo>
                    <a:pt x="842897" y="607407"/>
                  </a:lnTo>
                  <a:lnTo>
                    <a:pt x="843369" y="608313"/>
                  </a:lnTo>
                  <a:lnTo>
                    <a:pt x="841677" y="610189"/>
                  </a:lnTo>
                  <a:lnTo>
                    <a:pt x="837298" y="613288"/>
                  </a:lnTo>
                  <a:lnTo>
                    <a:pt x="835554" y="614143"/>
                  </a:lnTo>
                  <a:lnTo>
                    <a:pt x="834974" y="613850"/>
                  </a:lnTo>
                  <a:lnTo>
                    <a:pt x="834893" y="613139"/>
                  </a:lnTo>
                  <a:lnTo>
                    <a:pt x="835305" y="612009"/>
                  </a:lnTo>
                  <a:lnTo>
                    <a:pt x="836112" y="610886"/>
                  </a:lnTo>
                  <a:lnTo>
                    <a:pt x="838806" y="608743"/>
                  </a:lnTo>
                  <a:close/>
                  <a:moveTo>
                    <a:pt x="849187" y="607025"/>
                  </a:moveTo>
                  <a:lnTo>
                    <a:pt x="851900" y="607235"/>
                  </a:lnTo>
                  <a:lnTo>
                    <a:pt x="852109" y="608006"/>
                  </a:lnTo>
                  <a:lnTo>
                    <a:pt x="851983" y="608871"/>
                  </a:lnTo>
                  <a:lnTo>
                    <a:pt x="851758" y="609375"/>
                  </a:lnTo>
                  <a:lnTo>
                    <a:pt x="850894" y="609893"/>
                  </a:lnTo>
                  <a:lnTo>
                    <a:pt x="849393" y="610425"/>
                  </a:lnTo>
                  <a:lnTo>
                    <a:pt x="848140" y="610505"/>
                  </a:lnTo>
                  <a:lnTo>
                    <a:pt x="846244" y="609551"/>
                  </a:lnTo>
                  <a:lnTo>
                    <a:pt x="846497" y="608407"/>
                  </a:lnTo>
                  <a:close/>
                  <a:moveTo>
                    <a:pt x="452801" y="606071"/>
                  </a:moveTo>
                  <a:lnTo>
                    <a:pt x="456150" y="606793"/>
                  </a:lnTo>
                  <a:lnTo>
                    <a:pt x="458024" y="606321"/>
                  </a:lnTo>
                  <a:lnTo>
                    <a:pt x="459677" y="606699"/>
                  </a:lnTo>
                  <a:lnTo>
                    <a:pt x="459967" y="607558"/>
                  </a:lnTo>
                  <a:lnTo>
                    <a:pt x="457097" y="609428"/>
                  </a:lnTo>
                  <a:lnTo>
                    <a:pt x="455929" y="609309"/>
                  </a:lnTo>
                  <a:lnTo>
                    <a:pt x="452522" y="607053"/>
                  </a:lnTo>
                  <a:close/>
                  <a:moveTo>
                    <a:pt x="1394444" y="600270"/>
                  </a:moveTo>
                  <a:lnTo>
                    <a:pt x="1399206" y="604268"/>
                  </a:lnTo>
                  <a:lnTo>
                    <a:pt x="1400664" y="606045"/>
                  </a:lnTo>
                  <a:lnTo>
                    <a:pt x="1401449" y="608217"/>
                  </a:lnTo>
                  <a:lnTo>
                    <a:pt x="1399758" y="609027"/>
                  </a:lnTo>
                  <a:lnTo>
                    <a:pt x="1397712" y="609424"/>
                  </a:lnTo>
                  <a:lnTo>
                    <a:pt x="1396884" y="610034"/>
                  </a:lnTo>
                  <a:lnTo>
                    <a:pt x="1396611" y="610564"/>
                  </a:lnTo>
                  <a:lnTo>
                    <a:pt x="1393367" y="610513"/>
                  </a:lnTo>
                  <a:lnTo>
                    <a:pt x="1392192" y="610078"/>
                  </a:lnTo>
                  <a:lnTo>
                    <a:pt x="1391752" y="608529"/>
                  </a:lnTo>
                  <a:lnTo>
                    <a:pt x="1392053" y="607094"/>
                  </a:lnTo>
                  <a:lnTo>
                    <a:pt x="1392812" y="605985"/>
                  </a:lnTo>
                  <a:lnTo>
                    <a:pt x="1393727" y="603843"/>
                  </a:lnTo>
                  <a:close/>
                  <a:moveTo>
                    <a:pt x="1361262" y="595265"/>
                  </a:moveTo>
                  <a:lnTo>
                    <a:pt x="1363596" y="596505"/>
                  </a:lnTo>
                  <a:lnTo>
                    <a:pt x="1364902" y="597564"/>
                  </a:lnTo>
                  <a:lnTo>
                    <a:pt x="1365182" y="598445"/>
                  </a:lnTo>
                  <a:lnTo>
                    <a:pt x="1366835" y="600965"/>
                  </a:lnTo>
                  <a:lnTo>
                    <a:pt x="1369232" y="600761"/>
                  </a:lnTo>
                  <a:lnTo>
                    <a:pt x="1370577" y="602664"/>
                  </a:lnTo>
                  <a:lnTo>
                    <a:pt x="1371591" y="605512"/>
                  </a:lnTo>
                  <a:lnTo>
                    <a:pt x="1370854" y="607337"/>
                  </a:lnTo>
                  <a:lnTo>
                    <a:pt x="1369789" y="606931"/>
                  </a:lnTo>
                  <a:lnTo>
                    <a:pt x="1368608" y="607988"/>
                  </a:lnTo>
                  <a:lnTo>
                    <a:pt x="1367887" y="611489"/>
                  </a:lnTo>
                  <a:lnTo>
                    <a:pt x="1368222" y="614993"/>
                  </a:lnTo>
                  <a:lnTo>
                    <a:pt x="1367861" y="618479"/>
                  </a:lnTo>
                  <a:lnTo>
                    <a:pt x="1366486" y="622032"/>
                  </a:lnTo>
                  <a:lnTo>
                    <a:pt x="1366200" y="624407"/>
                  </a:lnTo>
                  <a:lnTo>
                    <a:pt x="1365662" y="625121"/>
                  </a:lnTo>
                  <a:lnTo>
                    <a:pt x="1365071" y="625365"/>
                  </a:lnTo>
                  <a:lnTo>
                    <a:pt x="1364304" y="624721"/>
                  </a:lnTo>
                  <a:lnTo>
                    <a:pt x="1363195" y="624217"/>
                  </a:lnTo>
                  <a:lnTo>
                    <a:pt x="1361795" y="626219"/>
                  </a:lnTo>
                  <a:lnTo>
                    <a:pt x="1360080" y="626235"/>
                  </a:lnTo>
                  <a:lnTo>
                    <a:pt x="1358665" y="621685"/>
                  </a:lnTo>
                  <a:lnTo>
                    <a:pt x="1359931" y="614094"/>
                  </a:lnTo>
                  <a:lnTo>
                    <a:pt x="1362764" y="612545"/>
                  </a:lnTo>
                  <a:lnTo>
                    <a:pt x="1361079" y="610477"/>
                  </a:lnTo>
                  <a:lnTo>
                    <a:pt x="1357512" y="608066"/>
                  </a:lnTo>
                  <a:lnTo>
                    <a:pt x="1357816" y="606722"/>
                  </a:lnTo>
                  <a:lnTo>
                    <a:pt x="1355110" y="602842"/>
                  </a:lnTo>
                  <a:lnTo>
                    <a:pt x="1354953" y="601918"/>
                  </a:lnTo>
                  <a:lnTo>
                    <a:pt x="1355384" y="598673"/>
                  </a:lnTo>
                  <a:lnTo>
                    <a:pt x="1357917" y="595780"/>
                  </a:lnTo>
                  <a:close/>
                  <a:moveTo>
                    <a:pt x="1368336" y="590292"/>
                  </a:moveTo>
                  <a:lnTo>
                    <a:pt x="1372373" y="590506"/>
                  </a:lnTo>
                  <a:lnTo>
                    <a:pt x="1381085" y="592670"/>
                  </a:lnTo>
                  <a:lnTo>
                    <a:pt x="1382781" y="593813"/>
                  </a:lnTo>
                  <a:lnTo>
                    <a:pt x="1383704" y="592616"/>
                  </a:lnTo>
                  <a:lnTo>
                    <a:pt x="1385426" y="592672"/>
                  </a:lnTo>
                  <a:lnTo>
                    <a:pt x="1388622" y="593737"/>
                  </a:lnTo>
                  <a:lnTo>
                    <a:pt x="1390523" y="595334"/>
                  </a:lnTo>
                  <a:lnTo>
                    <a:pt x="1391596" y="597159"/>
                  </a:lnTo>
                  <a:lnTo>
                    <a:pt x="1391688" y="598245"/>
                  </a:lnTo>
                  <a:lnTo>
                    <a:pt x="1391362" y="600714"/>
                  </a:lnTo>
                  <a:lnTo>
                    <a:pt x="1391600" y="603238"/>
                  </a:lnTo>
                  <a:lnTo>
                    <a:pt x="1391469" y="604547"/>
                  </a:lnTo>
                  <a:lnTo>
                    <a:pt x="1391043" y="605627"/>
                  </a:lnTo>
                  <a:lnTo>
                    <a:pt x="1390322" y="606481"/>
                  </a:lnTo>
                  <a:lnTo>
                    <a:pt x="1389536" y="606588"/>
                  </a:lnTo>
                  <a:lnTo>
                    <a:pt x="1387050" y="604321"/>
                  </a:lnTo>
                  <a:lnTo>
                    <a:pt x="1384203" y="600231"/>
                  </a:lnTo>
                  <a:lnTo>
                    <a:pt x="1382035" y="598987"/>
                  </a:lnTo>
                  <a:lnTo>
                    <a:pt x="1381947" y="599407"/>
                  </a:lnTo>
                  <a:lnTo>
                    <a:pt x="1382543" y="600580"/>
                  </a:lnTo>
                  <a:lnTo>
                    <a:pt x="1384313" y="602780"/>
                  </a:lnTo>
                  <a:lnTo>
                    <a:pt x="1384629" y="604103"/>
                  </a:lnTo>
                  <a:lnTo>
                    <a:pt x="1385874" y="605715"/>
                  </a:lnTo>
                  <a:lnTo>
                    <a:pt x="1386431" y="606938"/>
                  </a:lnTo>
                  <a:lnTo>
                    <a:pt x="1386747" y="608542"/>
                  </a:lnTo>
                  <a:lnTo>
                    <a:pt x="1386735" y="609942"/>
                  </a:lnTo>
                  <a:lnTo>
                    <a:pt x="1386392" y="611138"/>
                  </a:lnTo>
                  <a:lnTo>
                    <a:pt x="1385815" y="611905"/>
                  </a:lnTo>
                  <a:lnTo>
                    <a:pt x="1385002" y="612245"/>
                  </a:lnTo>
                  <a:lnTo>
                    <a:pt x="1380664" y="611909"/>
                  </a:lnTo>
                  <a:lnTo>
                    <a:pt x="1378076" y="612710"/>
                  </a:lnTo>
                  <a:lnTo>
                    <a:pt x="1375050" y="612263"/>
                  </a:lnTo>
                  <a:lnTo>
                    <a:pt x="1374321" y="611542"/>
                  </a:lnTo>
                  <a:lnTo>
                    <a:pt x="1373865" y="610356"/>
                  </a:lnTo>
                  <a:lnTo>
                    <a:pt x="1373634" y="607475"/>
                  </a:lnTo>
                  <a:lnTo>
                    <a:pt x="1372872" y="603349"/>
                  </a:lnTo>
                  <a:lnTo>
                    <a:pt x="1373056" y="600170"/>
                  </a:lnTo>
                  <a:lnTo>
                    <a:pt x="1371103" y="597291"/>
                  </a:lnTo>
                  <a:lnTo>
                    <a:pt x="1369431" y="595554"/>
                  </a:lnTo>
                  <a:lnTo>
                    <a:pt x="1367026" y="593998"/>
                  </a:lnTo>
                  <a:lnTo>
                    <a:pt x="1365442" y="592449"/>
                  </a:lnTo>
                  <a:lnTo>
                    <a:pt x="1365877" y="591213"/>
                  </a:lnTo>
                  <a:close/>
                  <a:moveTo>
                    <a:pt x="872952" y="586043"/>
                  </a:moveTo>
                  <a:lnTo>
                    <a:pt x="881874" y="586690"/>
                  </a:lnTo>
                  <a:lnTo>
                    <a:pt x="882565" y="587234"/>
                  </a:lnTo>
                  <a:lnTo>
                    <a:pt x="882581" y="587698"/>
                  </a:lnTo>
                  <a:lnTo>
                    <a:pt x="881925" y="588081"/>
                  </a:lnTo>
                  <a:lnTo>
                    <a:pt x="880046" y="588241"/>
                  </a:lnTo>
                  <a:lnTo>
                    <a:pt x="876803" y="589421"/>
                  </a:lnTo>
                  <a:lnTo>
                    <a:pt x="876226" y="589371"/>
                  </a:lnTo>
                  <a:lnTo>
                    <a:pt x="874223" y="591755"/>
                  </a:lnTo>
                  <a:lnTo>
                    <a:pt x="872692" y="592783"/>
                  </a:lnTo>
                  <a:lnTo>
                    <a:pt x="870671" y="590905"/>
                  </a:lnTo>
                  <a:lnTo>
                    <a:pt x="871188" y="587984"/>
                  </a:lnTo>
                  <a:close/>
                  <a:moveTo>
                    <a:pt x="443594" y="583968"/>
                  </a:moveTo>
                  <a:lnTo>
                    <a:pt x="442462" y="586083"/>
                  </a:lnTo>
                  <a:lnTo>
                    <a:pt x="439822" y="587807"/>
                  </a:lnTo>
                  <a:lnTo>
                    <a:pt x="437424" y="587170"/>
                  </a:lnTo>
                  <a:lnTo>
                    <a:pt x="436712" y="585913"/>
                  </a:lnTo>
                  <a:lnTo>
                    <a:pt x="436694" y="585385"/>
                  </a:lnTo>
                  <a:close/>
                  <a:moveTo>
                    <a:pt x="1327962" y="573241"/>
                  </a:moveTo>
                  <a:lnTo>
                    <a:pt x="1330574" y="573287"/>
                  </a:lnTo>
                  <a:lnTo>
                    <a:pt x="1336074" y="577013"/>
                  </a:lnTo>
                  <a:lnTo>
                    <a:pt x="1337744" y="577560"/>
                  </a:lnTo>
                  <a:lnTo>
                    <a:pt x="1340179" y="579955"/>
                  </a:lnTo>
                  <a:lnTo>
                    <a:pt x="1342345" y="583972"/>
                  </a:lnTo>
                  <a:lnTo>
                    <a:pt x="1343918" y="587085"/>
                  </a:lnTo>
                  <a:lnTo>
                    <a:pt x="1345313" y="590822"/>
                  </a:lnTo>
                  <a:lnTo>
                    <a:pt x="1347652" y="598543"/>
                  </a:lnTo>
                  <a:lnTo>
                    <a:pt x="1348741" y="601459"/>
                  </a:lnTo>
                  <a:lnTo>
                    <a:pt x="1349083" y="603049"/>
                  </a:lnTo>
                  <a:lnTo>
                    <a:pt x="1349342" y="607218"/>
                  </a:lnTo>
                  <a:lnTo>
                    <a:pt x="1348991" y="608113"/>
                  </a:lnTo>
                  <a:lnTo>
                    <a:pt x="1348293" y="608934"/>
                  </a:lnTo>
                  <a:lnTo>
                    <a:pt x="1348156" y="610122"/>
                  </a:lnTo>
                  <a:lnTo>
                    <a:pt x="1348803" y="613293"/>
                  </a:lnTo>
                  <a:lnTo>
                    <a:pt x="1348846" y="618107"/>
                  </a:lnTo>
                  <a:lnTo>
                    <a:pt x="1348234" y="620812"/>
                  </a:lnTo>
                  <a:lnTo>
                    <a:pt x="1347522" y="621220"/>
                  </a:lnTo>
                  <a:lnTo>
                    <a:pt x="1345778" y="620333"/>
                  </a:lnTo>
                  <a:lnTo>
                    <a:pt x="1344345" y="618872"/>
                  </a:lnTo>
                  <a:lnTo>
                    <a:pt x="1343285" y="617347"/>
                  </a:lnTo>
                  <a:lnTo>
                    <a:pt x="1340679" y="612527"/>
                  </a:lnTo>
                  <a:lnTo>
                    <a:pt x="1339903" y="610278"/>
                  </a:lnTo>
                  <a:lnTo>
                    <a:pt x="1339856" y="608659"/>
                  </a:lnTo>
                  <a:lnTo>
                    <a:pt x="1340259" y="607482"/>
                  </a:lnTo>
                  <a:lnTo>
                    <a:pt x="1341111" y="606748"/>
                  </a:lnTo>
                  <a:lnTo>
                    <a:pt x="1342594" y="604786"/>
                  </a:lnTo>
                  <a:lnTo>
                    <a:pt x="1342380" y="604474"/>
                  </a:lnTo>
                  <a:lnTo>
                    <a:pt x="1341254" y="604912"/>
                  </a:lnTo>
                  <a:lnTo>
                    <a:pt x="1338952" y="605159"/>
                  </a:lnTo>
                  <a:lnTo>
                    <a:pt x="1336929" y="603611"/>
                  </a:lnTo>
                  <a:lnTo>
                    <a:pt x="1335351" y="602792"/>
                  </a:lnTo>
                  <a:lnTo>
                    <a:pt x="1335669" y="599995"/>
                  </a:lnTo>
                  <a:lnTo>
                    <a:pt x="1335246" y="599203"/>
                  </a:lnTo>
                  <a:lnTo>
                    <a:pt x="1332141" y="600069"/>
                  </a:lnTo>
                  <a:lnTo>
                    <a:pt x="1330974" y="599285"/>
                  </a:lnTo>
                  <a:lnTo>
                    <a:pt x="1330718" y="598234"/>
                  </a:lnTo>
                  <a:lnTo>
                    <a:pt x="1330775" y="596660"/>
                  </a:lnTo>
                  <a:lnTo>
                    <a:pt x="1331369" y="595283"/>
                  </a:lnTo>
                  <a:lnTo>
                    <a:pt x="1334316" y="591801"/>
                  </a:lnTo>
                  <a:lnTo>
                    <a:pt x="1334019" y="591161"/>
                  </a:lnTo>
                  <a:lnTo>
                    <a:pt x="1332587" y="591017"/>
                  </a:lnTo>
                  <a:lnTo>
                    <a:pt x="1330700" y="589823"/>
                  </a:lnTo>
                  <a:lnTo>
                    <a:pt x="1329835" y="585919"/>
                  </a:lnTo>
                  <a:lnTo>
                    <a:pt x="1327802" y="583689"/>
                  </a:lnTo>
                  <a:lnTo>
                    <a:pt x="1326603" y="583893"/>
                  </a:lnTo>
                  <a:lnTo>
                    <a:pt x="1323874" y="590193"/>
                  </a:lnTo>
                  <a:lnTo>
                    <a:pt x="1322523" y="591568"/>
                  </a:lnTo>
                  <a:lnTo>
                    <a:pt x="1318685" y="592452"/>
                  </a:lnTo>
                  <a:lnTo>
                    <a:pt x="1319467" y="590700"/>
                  </a:lnTo>
                  <a:lnTo>
                    <a:pt x="1319822" y="589136"/>
                  </a:lnTo>
                  <a:lnTo>
                    <a:pt x="1318460" y="584384"/>
                  </a:lnTo>
                  <a:lnTo>
                    <a:pt x="1318419" y="582553"/>
                  </a:lnTo>
                  <a:lnTo>
                    <a:pt x="1319327" y="581205"/>
                  </a:lnTo>
                  <a:lnTo>
                    <a:pt x="1322038" y="580644"/>
                  </a:lnTo>
                  <a:lnTo>
                    <a:pt x="1323476" y="579845"/>
                  </a:lnTo>
                  <a:lnTo>
                    <a:pt x="1324598" y="578540"/>
                  </a:lnTo>
                  <a:lnTo>
                    <a:pt x="1324876" y="577266"/>
                  </a:lnTo>
                  <a:lnTo>
                    <a:pt x="1326976" y="573897"/>
                  </a:lnTo>
                  <a:close/>
                  <a:moveTo>
                    <a:pt x="867956" y="557145"/>
                  </a:moveTo>
                  <a:lnTo>
                    <a:pt x="871377" y="558560"/>
                  </a:lnTo>
                  <a:lnTo>
                    <a:pt x="872828" y="559849"/>
                  </a:lnTo>
                  <a:lnTo>
                    <a:pt x="874089" y="561613"/>
                  </a:lnTo>
                  <a:lnTo>
                    <a:pt x="873377" y="562638"/>
                  </a:lnTo>
                  <a:lnTo>
                    <a:pt x="872703" y="562375"/>
                  </a:lnTo>
                  <a:lnTo>
                    <a:pt x="871277" y="561176"/>
                  </a:lnTo>
                  <a:lnTo>
                    <a:pt x="868363" y="559425"/>
                  </a:lnTo>
                  <a:lnTo>
                    <a:pt x="867036" y="558224"/>
                  </a:lnTo>
                  <a:lnTo>
                    <a:pt x="866960" y="557711"/>
                  </a:lnTo>
                  <a:close/>
                  <a:moveTo>
                    <a:pt x="876133" y="557112"/>
                  </a:moveTo>
                  <a:lnTo>
                    <a:pt x="881675" y="558440"/>
                  </a:lnTo>
                  <a:lnTo>
                    <a:pt x="884043" y="559891"/>
                  </a:lnTo>
                  <a:lnTo>
                    <a:pt x="882829" y="562580"/>
                  </a:lnTo>
                  <a:lnTo>
                    <a:pt x="883012" y="564606"/>
                  </a:lnTo>
                  <a:lnTo>
                    <a:pt x="884050" y="564360"/>
                  </a:lnTo>
                  <a:lnTo>
                    <a:pt x="887976" y="562272"/>
                  </a:lnTo>
                  <a:lnTo>
                    <a:pt x="890023" y="561659"/>
                  </a:lnTo>
                  <a:lnTo>
                    <a:pt x="892686" y="561564"/>
                  </a:lnTo>
                  <a:lnTo>
                    <a:pt x="894799" y="562515"/>
                  </a:lnTo>
                  <a:lnTo>
                    <a:pt x="895229" y="563245"/>
                  </a:lnTo>
                  <a:lnTo>
                    <a:pt x="895044" y="564114"/>
                  </a:lnTo>
                  <a:lnTo>
                    <a:pt x="893354" y="565880"/>
                  </a:lnTo>
                  <a:lnTo>
                    <a:pt x="893424" y="567026"/>
                  </a:lnTo>
                  <a:lnTo>
                    <a:pt x="895240" y="569133"/>
                  </a:lnTo>
                  <a:lnTo>
                    <a:pt x="899703" y="570281"/>
                  </a:lnTo>
                  <a:lnTo>
                    <a:pt x="900245" y="570913"/>
                  </a:lnTo>
                  <a:lnTo>
                    <a:pt x="900221" y="571674"/>
                  </a:lnTo>
                  <a:lnTo>
                    <a:pt x="897149" y="575157"/>
                  </a:lnTo>
                  <a:lnTo>
                    <a:pt x="896020" y="575969"/>
                  </a:lnTo>
                  <a:lnTo>
                    <a:pt x="895222" y="576164"/>
                  </a:lnTo>
                  <a:lnTo>
                    <a:pt x="889642" y="575538"/>
                  </a:lnTo>
                  <a:lnTo>
                    <a:pt x="884535" y="574397"/>
                  </a:lnTo>
                  <a:lnTo>
                    <a:pt x="882467" y="574205"/>
                  </a:lnTo>
                  <a:lnTo>
                    <a:pt x="881738" y="574574"/>
                  </a:lnTo>
                  <a:lnTo>
                    <a:pt x="880291" y="575644"/>
                  </a:lnTo>
                  <a:lnTo>
                    <a:pt x="881329" y="575959"/>
                  </a:lnTo>
                  <a:lnTo>
                    <a:pt x="885805" y="576213"/>
                  </a:lnTo>
                  <a:lnTo>
                    <a:pt x="887382" y="577775"/>
                  </a:lnTo>
                  <a:lnTo>
                    <a:pt x="888070" y="578922"/>
                  </a:lnTo>
                  <a:lnTo>
                    <a:pt x="888414" y="580185"/>
                  </a:lnTo>
                  <a:lnTo>
                    <a:pt x="887522" y="580704"/>
                  </a:lnTo>
                  <a:lnTo>
                    <a:pt x="885606" y="581080"/>
                  </a:lnTo>
                  <a:lnTo>
                    <a:pt x="883312" y="581076"/>
                  </a:lnTo>
                  <a:lnTo>
                    <a:pt x="880474" y="582497"/>
                  </a:lnTo>
                  <a:lnTo>
                    <a:pt x="878910" y="584120"/>
                  </a:lnTo>
                  <a:lnTo>
                    <a:pt x="873228" y="584532"/>
                  </a:lnTo>
                  <a:lnTo>
                    <a:pt x="868908" y="586696"/>
                  </a:lnTo>
                  <a:lnTo>
                    <a:pt x="867381" y="587764"/>
                  </a:lnTo>
                  <a:lnTo>
                    <a:pt x="866848" y="589038"/>
                  </a:lnTo>
                  <a:lnTo>
                    <a:pt x="865220" y="589965"/>
                  </a:lnTo>
                  <a:lnTo>
                    <a:pt x="861538" y="590890"/>
                  </a:lnTo>
                  <a:lnTo>
                    <a:pt x="863734" y="591719"/>
                  </a:lnTo>
                  <a:lnTo>
                    <a:pt x="864078" y="592423"/>
                  </a:lnTo>
                  <a:lnTo>
                    <a:pt x="864118" y="593393"/>
                  </a:lnTo>
                  <a:lnTo>
                    <a:pt x="863816" y="594230"/>
                  </a:lnTo>
                  <a:lnTo>
                    <a:pt x="860910" y="597959"/>
                  </a:lnTo>
                  <a:lnTo>
                    <a:pt x="855412" y="601018"/>
                  </a:lnTo>
                  <a:lnTo>
                    <a:pt x="854019" y="600882"/>
                  </a:lnTo>
                  <a:lnTo>
                    <a:pt x="853422" y="600500"/>
                  </a:lnTo>
                  <a:lnTo>
                    <a:pt x="852931" y="599915"/>
                  </a:lnTo>
                  <a:lnTo>
                    <a:pt x="852909" y="599329"/>
                  </a:lnTo>
                  <a:lnTo>
                    <a:pt x="859991" y="593182"/>
                  </a:lnTo>
                  <a:lnTo>
                    <a:pt x="859712" y="592879"/>
                  </a:lnTo>
                  <a:lnTo>
                    <a:pt x="857785" y="592671"/>
                  </a:lnTo>
                  <a:lnTo>
                    <a:pt x="854733" y="590978"/>
                  </a:lnTo>
                  <a:lnTo>
                    <a:pt x="852579" y="592066"/>
                  </a:lnTo>
                  <a:lnTo>
                    <a:pt x="852089" y="592024"/>
                  </a:lnTo>
                  <a:lnTo>
                    <a:pt x="852664" y="590572"/>
                  </a:lnTo>
                  <a:lnTo>
                    <a:pt x="854068" y="588840"/>
                  </a:lnTo>
                  <a:lnTo>
                    <a:pt x="853823" y="588353"/>
                  </a:lnTo>
                  <a:lnTo>
                    <a:pt x="853049" y="587921"/>
                  </a:lnTo>
                  <a:lnTo>
                    <a:pt x="851277" y="587661"/>
                  </a:lnTo>
                  <a:lnTo>
                    <a:pt x="848499" y="587579"/>
                  </a:lnTo>
                  <a:lnTo>
                    <a:pt x="846440" y="587990"/>
                  </a:lnTo>
                  <a:lnTo>
                    <a:pt x="845104" y="588894"/>
                  </a:lnTo>
                  <a:lnTo>
                    <a:pt x="844995" y="589278"/>
                  </a:lnTo>
                  <a:lnTo>
                    <a:pt x="847841" y="589170"/>
                  </a:lnTo>
                  <a:lnTo>
                    <a:pt x="848615" y="589630"/>
                  </a:lnTo>
                  <a:lnTo>
                    <a:pt x="849381" y="590489"/>
                  </a:lnTo>
                  <a:lnTo>
                    <a:pt x="849848" y="591481"/>
                  </a:lnTo>
                  <a:lnTo>
                    <a:pt x="850014" y="592606"/>
                  </a:lnTo>
                  <a:lnTo>
                    <a:pt x="849418" y="594118"/>
                  </a:lnTo>
                  <a:lnTo>
                    <a:pt x="848060" y="596013"/>
                  </a:lnTo>
                  <a:lnTo>
                    <a:pt x="846070" y="595681"/>
                  </a:lnTo>
                  <a:lnTo>
                    <a:pt x="841993" y="591466"/>
                  </a:lnTo>
                  <a:lnTo>
                    <a:pt x="840193" y="585281"/>
                  </a:lnTo>
                  <a:lnTo>
                    <a:pt x="836708" y="580543"/>
                  </a:lnTo>
                  <a:lnTo>
                    <a:pt x="836549" y="579410"/>
                  </a:lnTo>
                  <a:lnTo>
                    <a:pt x="837543" y="576482"/>
                  </a:lnTo>
                  <a:lnTo>
                    <a:pt x="841061" y="572321"/>
                  </a:lnTo>
                  <a:lnTo>
                    <a:pt x="844843" y="571179"/>
                  </a:lnTo>
                  <a:lnTo>
                    <a:pt x="847537" y="569427"/>
                  </a:lnTo>
                  <a:lnTo>
                    <a:pt x="850142" y="568899"/>
                  </a:lnTo>
                  <a:lnTo>
                    <a:pt x="851753" y="568944"/>
                  </a:lnTo>
                  <a:lnTo>
                    <a:pt x="853956" y="569699"/>
                  </a:lnTo>
                  <a:lnTo>
                    <a:pt x="854844" y="571295"/>
                  </a:lnTo>
                  <a:lnTo>
                    <a:pt x="854312" y="572046"/>
                  </a:lnTo>
                  <a:lnTo>
                    <a:pt x="854515" y="572440"/>
                  </a:lnTo>
                  <a:lnTo>
                    <a:pt x="856059" y="573398"/>
                  </a:lnTo>
                  <a:lnTo>
                    <a:pt x="857730" y="576742"/>
                  </a:lnTo>
                  <a:lnTo>
                    <a:pt x="859680" y="579705"/>
                  </a:lnTo>
                  <a:lnTo>
                    <a:pt x="860977" y="580909"/>
                  </a:lnTo>
                  <a:lnTo>
                    <a:pt x="862684" y="581649"/>
                  </a:lnTo>
                  <a:lnTo>
                    <a:pt x="860918" y="579388"/>
                  </a:lnTo>
                  <a:lnTo>
                    <a:pt x="859874" y="576587"/>
                  </a:lnTo>
                  <a:lnTo>
                    <a:pt x="859350" y="570991"/>
                  </a:lnTo>
                  <a:lnTo>
                    <a:pt x="858846" y="569511"/>
                  </a:lnTo>
                  <a:lnTo>
                    <a:pt x="859832" y="569111"/>
                  </a:lnTo>
                  <a:lnTo>
                    <a:pt x="862621" y="569331"/>
                  </a:lnTo>
                  <a:lnTo>
                    <a:pt x="862544" y="568496"/>
                  </a:lnTo>
                  <a:lnTo>
                    <a:pt x="859603" y="566605"/>
                  </a:lnTo>
                  <a:lnTo>
                    <a:pt x="857793" y="565041"/>
                  </a:lnTo>
                  <a:lnTo>
                    <a:pt x="857112" y="563803"/>
                  </a:lnTo>
                  <a:lnTo>
                    <a:pt x="857154" y="562729"/>
                  </a:lnTo>
                  <a:lnTo>
                    <a:pt x="858760" y="561144"/>
                  </a:lnTo>
                  <a:lnTo>
                    <a:pt x="859670" y="560692"/>
                  </a:lnTo>
                  <a:lnTo>
                    <a:pt x="860610" y="560496"/>
                  </a:lnTo>
                  <a:lnTo>
                    <a:pt x="862482" y="560833"/>
                  </a:lnTo>
                  <a:lnTo>
                    <a:pt x="863323" y="561329"/>
                  </a:lnTo>
                  <a:lnTo>
                    <a:pt x="865723" y="564898"/>
                  </a:lnTo>
                  <a:lnTo>
                    <a:pt x="866847" y="566006"/>
                  </a:lnTo>
                  <a:lnTo>
                    <a:pt x="867780" y="566008"/>
                  </a:lnTo>
                  <a:lnTo>
                    <a:pt x="868644" y="565416"/>
                  </a:lnTo>
                  <a:lnTo>
                    <a:pt x="869443" y="564231"/>
                  </a:lnTo>
                  <a:lnTo>
                    <a:pt x="870267" y="563522"/>
                  </a:lnTo>
                  <a:lnTo>
                    <a:pt x="871116" y="563290"/>
                  </a:lnTo>
                  <a:lnTo>
                    <a:pt x="873788" y="563813"/>
                  </a:lnTo>
                  <a:lnTo>
                    <a:pt x="874679" y="563620"/>
                  </a:lnTo>
                  <a:lnTo>
                    <a:pt x="875117" y="562725"/>
                  </a:lnTo>
                  <a:lnTo>
                    <a:pt x="875099" y="561128"/>
                  </a:lnTo>
                  <a:lnTo>
                    <a:pt x="875757" y="560552"/>
                  </a:lnTo>
                  <a:lnTo>
                    <a:pt x="875919" y="559378"/>
                  </a:lnTo>
                  <a:lnTo>
                    <a:pt x="874463" y="557642"/>
                  </a:lnTo>
                  <a:close/>
                  <a:moveTo>
                    <a:pt x="1319328" y="546123"/>
                  </a:moveTo>
                  <a:lnTo>
                    <a:pt x="1320775" y="547023"/>
                  </a:lnTo>
                  <a:lnTo>
                    <a:pt x="1324420" y="550639"/>
                  </a:lnTo>
                  <a:lnTo>
                    <a:pt x="1324451" y="551468"/>
                  </a:lnTo>
                  <a:lnTo>
                    <a:pt x="1323710" y="553948"/>
                  </a:lnTo>
                  <a:lnTo>
                    <a:pt x="1321726" y="554649"/>
                  </a:lnTo>
                  <a:lnTo>
                    <a:pt x="1322287" y="555633"/>
                  </a:lnTo>
                  <a:lnTo>
                    <a:pt x="1323763" y="556377"/>
                  </a:lnTo>
                  <a:lnTo>
                    <a:pt x="1324815" y="555758"/>
                  </a:lnTo>
                  <a:lnTo>
                    <a:pt x="1328663" y="552284"/>
                  </a:lnTo>
                  <a:lnTo>
                    <a:pt x="1329849" y="551553"/>
                  </a:lnTo>
                  <a:lnTo>
                    <a:pt x="1330564" y="551479"/>
                  </a:lnTo>
                  <a:lnTo>
                    <a:pt x="1335253" y="552526"/>
                  </a:lnTo>
                  <a:lnTo>
                    <a:pt x="1339354" y="554184"/>
                  </a:lnTo>
                  <a:lnTo>
                    <a:pt x="1340563" y="555507"/>
                  </a:lnTo>
                  <a:lnTo>
                    <a:pt x="1341244" y="557821"/>
                  </a:lnTo>
                  <a:lnTo>
                    <a:pt x="1340156" y="562826"/>
                  </a:lnTo>
                  <a:lnTo>
                    <a:pt x="1336790" y="563697"/>
                  </a:lnTo>
                  <a:lnTo>
                    <a:pt x="1335204" y="563606"/>
                  </a:lnTo>
                  <a:lnTo>
                    <a:pt x="1333510" y="562879"/>
                  </a:lnTo>
                  <a:lnTo>
                    <a:pt x="1330773" y="564618"/>
                  </a:lnTo>
                  <a:lnTo>
                    <a:pt x="1333041" y="565948"/>
                  </a:lnTo>
                  <a:lnTo>
                    <a:pt x="1339947" y="566251"/>
                  </a:lnTo>
                  <a:lnTo>
                    <a:pt x="1342044" y="569062"/>
                  </a:lnTo>
                  <a:lnTo>
                    <a:pt x="1342645" y="571225"/>
                  </a:lnTo>
                  <a:lnTo>
                    <a:pt x="1341155" y="575195"/>
                  </a:lnTo>
                  <a:lnTo>
                    <a:pt x="1337242" y="574097"/>
                  </a:lnTo>
                  <a:lnTo>
                    <a:pt x="1333790" y="571797"/>
                  </a:lnTo>
                  <a:lnTo>
                    <a:pt x="1326708" y="568537"/>
                  </a:lnTo>
                  <a:lnTo>
                    <a:pt x="1325013" y="568385"/>
                  </a:lnTo>
                  <a:lnTo>
                    <a:pt x="1323884" y="568961"/>
                  </a:lnTo>
                  <a:lnTo>
                    <a:pt x="1323574" y="570939"/>
                  </a:lnTo>
                  <a:lnTo>
                    <a:pt x="1323645" y="575224"/>
                  </a:lnTo>
                  <a:lnTo>
                    <a:pt x="1321756" y="577442"/>
                  </a:lnTo>
                  <a:lnTo>
                    <a:pt x="1316172" y="576464"/>
                  </a:lnTo>
                  <a:lnTo>
                    <a:pt x="1313981" y="573222"/>
                  </a:lnTo>
                  <a:lnTo>
                    <a:pt x="1311943" y="568084"/>
                  </a:lnTo>
                  <a:lnTo>
                    <a:pt x="1304249" y="561986"/>
                  </a:lnTo>
                  <a:lnTo>
                    <a:pt x="1302164" y="560764"/>
                  </a:lnTo>
                  <a:lnTo>
                    <a:pt x="1299392" y="557104"/>
                  </a:lnTo>
                  <a:lnTo>
                    <a:pt x="1300502" y="554202"/>
                  </a:lnTo>
                  <a:lnTo>
                    <a:pt x="1300829" y="552521"/>
                  </a:lnTo>
                  <a:lnTo>
                    <a:pt x="1302305" y="552076"/>
                  </a:lnTo>
                  <a:lnTo>
                    <a:pt x="1304471" y="550777"/>
                  </a:lnTo>
                  <a:lnTo>
                    <a:pt x="1305683" y="547964"/>
                  </a:lnTo>
                  <a:lnTo>
                    <a:pt x="1307629" y="550243"/>
                  </a:lnTo>
                  <a:lnTo>
                    <a:pt x="1310229" y="552429"/>
                  </a:lnTo>
                  <a:lnTo>
                    <a:pt x="1310267" y="550375"/>
                  </a:lnTo>
                  <a:lnTo>
                    <a:pt x="1311489" y="548735"/>
                  </a:lnTo>
                  <a:lnTo>
                    <a:pt x="1314040" y="548795"/>
                  </a:lnTo>
                  <a:lnTo>
                    <a:pt x="1315239" y="548450"/>
                  </a:lnTo>
                  <a:lnTo>
                    <a:pt x="1316914" y="546916"/>
                  </a:lnTo>
                  <a:close/>
                  <a:moveTo>
                    <a:pt x="1351652" y="543744"/>
                  </a:moveTo>
                  <a:lnTo>
                    <a:pt x="1354742" y="545429"/>
                  </a:lnTo>
                  <a:lnTo>
                    <a:pt x="1356940" y="547594"/>
                  </a:lnTo>
                  <a:lnTo>
                    <a:pt x="1356758" y="548514"/>
                  </a:lnTo>
                  <a:lnTo>
                    <a:pt x="1353279" y="548424"/>
                  </a:lnTo>
                  <a:lnTo>
                    <a:pt x="1349765" y="547065"/>
                  </a:lnTo>
                  <a:lnTo>
                    <a:pt x="1348040" y="545291"/>
                  </a:lnTo>
                  <a:lnTo>
                    <a:pt x="1348386" y="544492"/>
                  </a:lnTo>
                  <a:close/>
                  <a:moveTo>
                    <a:pt x="1341359" y="542923"/>
                  </a:moveTo>
                  <a:lnTo>
                    <a:pt x="1343566" y="544203"/>
                  </a:lnTo>
                  <a:lnTo>
                    <a:pt x="1346214" y="547738"/>
                  </a:lnTo>
                  <a:lnTo>
                    <a:pt x="1347563" y="550087"/>
                  </a:lnTo>
                  <a:lnTo>
                    <a:pt x="1354047" y="550935"/>
                  </a:lnTo>
                  <a:lnTo>
                    <a:pt x="1358792" y="550742"/>
                  </a:lnTo>
                  <a:lnTo>
                    <a:pt x="1363128" y="556277"/>
                  </a:lnTo>
                  <a:lnTo>
                    <a:pt x="1365796" y="560740"/>
                  </a:lnTo>
                  <a:lnTo>
                    <a:pt x="1367365" y="563861"/>
                  </a:lnTo>
                  <a:lnTo>
                    <a:pt x="1368252" y="566871"/>
                  </a:lnTo>
                  <a:lnTo>
                    <a:pt x="1369440" y="569774"/>
                  </a:lnTo>
                  <a:lnTo>
                    <a:pt x="1369333" y="570182"/>
                  </a:lnTo>
                  <a:lnTo>
                    <a:pt x="1366831" y="568224"/>
                  </a:lnTo>
                  <a:lnTo>
                    <a:pt x="1365030" y="564256"/>
                  </a:lnTo>
                  <a:lnTo>
                    <a:pt x="1364111" y="562702"/>
                  </a:lnTo>
                  <a:lnTo>
                    <a:pt x="1363202" y="562000"/>
                  </a:lnTo>
                  <a:lnTo>
                    <a:pt x="1362246" y="560535"/>
                  </a:lnTo>
                  <a:lnTo>
                    <a:pt x="1360388" y="556734"/>
                  </a:lnTo>
                  <a:lnTo>
                    <a:pt x="1360319" y="555662"/>
                  </a:lnTo>
                  <a:lnTo>
                    <a:pt x="1359494" y="554670"/>
                  </a:lnTo>
                  <a:lnTo>
                    <a:pt x="1358540" y="554255"/>
                  </a:lnTo>
                  <a:lnTo>
                    <a:pt x="1357460" y="554420"/>
                  </a:lnTo>
                  <a:lnTo>
                    <a:pt x="1357089" y="554803"/>
                  </a:lnTo>
                  <a:lnTo>
                    <a:pt x="1357255" y="557428"/>
                  </a:lnTo>
                  <a:lnTo>
                    <a:pt x="1358104" y="560342"/>
                  </a:lnTo>
                  <a:lnTo>
                    <a:pt x="1362783" y="566696"/>
                  </a:lnTo>
                  <a:lnTo>
                    <a:pt x="1365909" y="570307"/>
                  </a:lnTo>
                  <a:lnTo>
                    <a:pt x="1366524" y="571505"/>
                  </a:lnTo>
                  <a:lnTo>
                    <a:pt x="1366936" y="574797"/>
                  </a:lnTo>
                  <a:lnTo>
                    <a:pt x="1365588" y="576288"/>
                  </a:lnTo>
                  <a:lnTo>
                    <a:pt x="1367243" y="579321"/>
                  </a:lnTo>
                  <a:lnTo>
                    <a:pt x="1367184" y="579912"/>
                  </a:lnTo>
                  <a:lnTo>
                    <a:pt x="1366823" y="580491"/>
                  </a:lnTo>
                  <a:lnTo>
                    <a:pt x="1362365" y="581834"/>
                  </a:lnTo>
                  <a:lnTo>
                    <a:pt x="1358280" y="587442"/>
                  </a:lnTo>
                  <a:lnTo>
                    <a:pt x="1353813" y="590720"/>
                  </a:lnTo>
                  <a:lnTo>
                    <a:pt x="1351754" y="591247"/>
                  </a:lnTo>
                  <a:lnTo>
                    <a:pt x="1350765" y="590699"/>
                  </a:lnTo>
                  <a:lnTo>
                    <a:pt x="1349828" y="589443"/>
                  </a:lnTo>
                  <a:lnTo>
                    <a:pt x="1349278" y="587765"/>
                  </a:lnTo>
                  <a:lnTo>
                    <a:pt x="1349113" y="585660"/>
                  </a:lnTo>
                  <a:lnTo>
                    <a:pt x="1350226" y="584336"/>
                  </a:lnTo>
                  <a:lnTo>
                    <a:pt x="1352438" y="577433"/>
                  </a:lnTo>
                  <a:lnTo>
                    <a:pt x="1352500" y="575163"/>
                  </a:lnTo>
                  <a:lnTo>
                    <a:pt x="1349742" y="572011"/>
                  </a:lnTo>
                  <a:lnTo>
                    <a:pt x="1348083" y="569427"/>
                  </a:lnTo>
                  <a:lnTo>
                    <a:pt x="1347185" y="565820"/>
                  </a:lnTo>
                  <a:lnTo>
                    <a:pt x="1345680" y="556259"/>
                  </a:lnTo>
                  <a:lnTo>
                    <a:pt x="1344982" y="553193"/>
                  </a:lnTo>
                  <a:lnTo>
                    <a:pt x="1343997" y="550636"/>
                  </a:lnTo>
                  <a:lnTo>
                    <a:pt x="1342724" y="548587"/>
                  </a:lnTo>
                  <a:lnTo>
                    <a:pt x="1341762" y="546335"/>
                  </a:lnTo>
                  <a:lnTo>
                    <a:pt x="1341113" y="543876"/>
                  </a:lnTo>
                  <a:close/>
                  <a:moveTo>
                    <a:pt x="888527" y="539352"/>
                  </a:moveTo>
                  <a:lnTo>
                    <a:pt x="890117" y="539533"/>
                  </a:lnTo>
                  <a:lnTo>
                    <a:pt x="891871" y="540186"/>
                  </a:lnTo>
                  <a:lnTo>
                    <a:pt x="893531" y="541245"/>
                  </a:lnTo>
                  <a:lnTo>
                    <a:pt x="895102" y="542714"/>
                  </a:lnTo>
                  <a:lnTo>
                    <a:pt x="896024" y="543016"/>
                  </a:lnTo>
                  <a:lnTo>
                    <a:pt x="896988" y="540802"/>
                  </a:lnTo>
                  <a:lnTo>
                    <a:pt x="897669" y="540732"/>
                  </a:lnTo>
                  <a:lnTo>
                    <a:pt x="900687" y="542608"/>
                  </a:lnTo>
                  <a:lnTo>
                    <a:pt x="902542" y="542192"/>
                  </a:lnTo>
                  <a:lnTo>
                    <a:pt x="903734" y="544494"/>
                  </a:lnTo>
                  <a:lnTo>
                    <a:pt x="904803" y="544703"/>
                  </a:lnTo>
                  <a:lnTo>
                    <a:pt x="905795" y="544425"/>
                  </a:lnTo>
                  <a:lnTo>
                    <a:pt x="906391" y="544586"/>
                  </a:lnTo>
                  <a:lnTo>
                    <a:pt x="906183" y="547020"/>
                  </a:lnTo>
                  <a:lnTo>
                    <a:pt x="903980" y="549484"/>
                  </a:lnTo>
                  <a:lnTo>
                    <a:pt x="902955" y="550107"/>
                  </a:lnTo>
                  <a:lnTo>
                    <a:pt x="901516" y="549472"/>
                  </a:lnTo>
                  <a:lnTo>
                    <a:pt x="900979" y="549234"/>
                  </a:lnTo>
                  <a:lnTo>
                    <a:pt x="900033" y="548145"/>
                  </a:lnTo>
                  <a:lnTo>
                    <a:pt x="899317" y="546768"/>
                  </a:lnTo>
                  <a:lnTo>
                    <a:pt x="898891" y="546746"/>
                  </a:lnTo>
                  <a:lnTo>
                    <a:pt x="897207" y="548366"/>
                  </a:lnTo>
                  <a:lnTo>
                    <a:pt x="897250" y="549165"/>
                  </a:lnTo>
                  <a:lnTo>
                    <a:pt x="897951" y="550369"/>
                  </a:lnTo>
                  <a:lnTo>
                    <a:pt x="897848" y="551117"/>
                  </a:lnTo>
                  <a:lnTo>
                    <a:pt x="896014" y="551473"/>
                  </a:lnTo>
                  <a:lnTo>
                    <a:pt x="894216" y="551289"/>
                  </a:lnTo>
                  <a:lnTo>
                    <a:pt x="892022" y="552336"/>
                  </a:lnTo>
                  <a:lnTo>
                    <a:pt x="891497" y="551683"/>
                  </a:lnTo>
                  <a:lnTo>
                    <a:pt x="891163" y="549844"/>
                  </a:lnTo>
                  <a:lnTo>
                    <a:pt x="890477" y="550053"/>
                  </a:lnTo>
                  <a:lnTo>
                    <a:pt x="889442" y="552306"/>
                  </a:lnTo>
                  <a:lnTo>
                    <a:pt x="888312" y="553731"/>
                  </a:lnTo>
                  <a:lnTo>
                    <a:pt x="886250" y="554912"/>
                  </a:lnTo>
                  <a:lnTo>
                    <a:pt x="885800" y="555485"/>
                  </a:lnTo>
                  <a:lnTo>
                    <a:pt x="884290" y="555563"/>
                  </a:lnTo>
                  <a:lnTo>
                    <a:pt x="882053" y="556307"/>
                  </a:lnTo>
                  <a:lnTo>
                    <a:pt x="880672" y="556182"/>
                  </a:lnTo>
                  <a:lnTo>
                    <a:pt x="872435" y="553739"/>
                  </a:lnTo>
                  <a:lnTo>
                    <a:pt x="870499" y="552846"/>
                  </a:lnTo>
                  <a:lnTo>
                    <a:pt x="877272" y="547236"/>
                  </a:lnTo>
                  <a:lnTo>
                    <a:pt x="880837" y="545063"/>
                  </a:lnTo>
                  <a:lnTo>
                    <a:pt x="882897" y="545181"/>
                  </a:lnTo>
                  <a:lnTo>
                    <a:pt x="884958" y="545857"/>
                  </a:lnTo>
                  <a:lnTo>
                    <a:pt x="886046" y="545749"/>
                  </a:lnTo>
                  <a:lnTo>
                    <a:pt x="886126" y="543257"/>
                  </a:lnTo>
                  <a:lnTo>
                    <a:pt x="884208" y="541398"/>
                  </a:lnTo>
                  <a:lnTo>
                    <a:pt x="884280" y="540625"/>
                  </a:lnTo>
                  <a:close/>
                  <a:moveTo>
                    <a:pt x="895648" y="533058"/>
                  </a:moveTo>
                  <a:lnTo>
                    <a:pt x="896352" y="533368"/>
                  </a:lnTo>
                  <a:lnTo>
                    <a:pt x="896635" y="533970"/>
                  </a:lnTo>
                  <a:lnTo>
                    <a:pt x="896496" y="534869"/>
                  </a:lnTo>
                  <a:lnTo>
                    <a:pt x="895716" y="535987"/>
                  </a:lnTo>
                  <a:lnTo>
                    <a:pt x="893337" y="538069"/>
                  </a:lnTo>
                  <a:lnTo>
                    <a:pt x="892586" y="538309"/>
                  </a:lnTo>
                  <a:lnTo>
                    <a:pt x="890721" y="537168"/>
                  </a:lnTo>
                  <a:lnTo>
                    <a:pt x="889497" y="535958"/>
                  </a:lnTo>
                  <a:lnTo>
                    <a:pt x="890307" y="535035"/>
                  </a:lnTo>
                  <a:lnTo>
                    <a:pt x="893921" y="533091"/>
                  </a:lnTo>
                  <a:close/>
                  <a:moveTo>
                    <a:pt x="683414" y="526486"/>
                  </a:moveTo>
                  <a:lnTo>
                    <a:pt x="678212" y="534636"/>
                  </a:lnTo>
                  <a:lnTo>
                    <a:pt x="676341" y="535236"/>
                  </a:lnTo>
                  <a:lnTo>
                    <a:pt x="674354" y="534932"/>
                  </a:lnTo>
                  <a:lnTo>
                    <a:pt x="672792" y="531235"/>
                  </a:lnTo>
                  <a:lnTo>
                    <a:pt x="673989" y="531119"/>
                  </a:lnTo>
                  <a:lnTo>
                    <a:pt x="676498" y="528685"/>
                  </a:lnTo>
                  <a:lnTo>
                    <a:pt x="682049" y="526710"/>
                  </a:lnTo>
                  <a:close/>
                  <a:moveTo>
                    <a:pt x="1103803" y="480396"/>
                  </a:moveTo>
                  <a:lnTo>
                    <a:pt x="1103466" y="481657"/>
                  </a:lnTo>
                  <a:lnTo>
                    <a:pt x="1099531" y="483982"/>
                  </a:lnTo>
                  <a:lnTo>
                    <a:pt x="1095388" y="487888"/>
                  </a:lnTo>
                  <a:lnTo>
                    <a:pt x="1094165" y="488108"/>
                  </a:lnTo>
                  <a:lnTo>
                    <a:pt x="1096001" y="485612"/>
                  </a:lnTo>
                  <a:lnTo>
                    <a:pt x="1098467" y="482855"/>
                  </a:lnTo>
                  <a:lnTo>
                    <a:pt x="1100787" y="481120"/>
                  </a:lnTo>
                  <a:close/>
                  <a:moveTo>
                    <a:pt x="1005747" y="475187"/>
                  </a:moveTo>
                  <a:lnTo>
                    <a:pt x="1009964" y="477453"/>
                  </a:lnTo>
                  <a:lnTo>
                    <a:pt x="1007221" y="478483"/>
                  </a:lnTo>
                  <a:lnTo>
                    <a:pt x="1005885" y="479653"/>
                  </a:lnTo>
                  <a:lnTo>
                    <a:pt x="1000841" y="478944"/>
                  </a:lnTo>
                  <a:lnTo>
                    <a:pt x="1001892" y="476643"/>
                  </a:lnTo>
                  <a:close/>
                  <a:moveTo>
                    <a:pt x="1030225" y="467095"/>
                  </a:moveTo>
                  <a:lnTo>
                    <a:pt x="1032779" y="468277"/>
                  </a:lnTo>
                  <a:lnTo>
                    <a:pt x="1034362" y="469938"/>
                  </a:lnTo>
                  <a:lnTo>
                    <a:pt x="1033625" y="471259"/>
                  </a:lnTo>
                  <a:lnTo>
                    <a:pt x="1025163" y="478104"/>
                  </a:lnTo>
                  <a:lnTo>
                    <a:pt x="1024450" y="478995"/>
                  </a:lnTo>
                  <a:lnTo>
                    <a:pt x="1023682" y="481313"/>
                  </a:lnTo>
                  <a:lnTo>
                    <a:pt x="1022986" y="482119"/>
                  </a:lnTo>
                  <a:lnTo>
                    <a:pt x="1021869" y="482491"/>
                  </a:lnTo>
                  <a:lnTo>
                    <a:pt x="1021057" y="483502"/>
                  </a:lnTo>
                  <a:lnTo>
                    <a:pt x="1020549" y="485159"/>
                  </a:lnTo>
                  <a:lnTo>
                    <a:pt x="1019506" y="486020"/>
                  </a:lnTo>
                  <a:lnTo>
                    <a:pt x="1017928" y="486095"/>
                  </a:lnTo>
                  <a:lnTo>
                    <a:pt x="1016835" y="486550"/>
                  </a:lnTo>
                  <a:lnTo>
                    <a:pt x="1016227" y="487390"/>
                  </a:lnTo>
                  <a:lnTo>
                    <a:pt x="1014515" y="488085"/>
                  </a:lnTo>
                  <a:lnTo>
                    <a:pt x="1011697" y="488634"/>
                  </a:lnTo>
                  <a:lnTo>
                    <a:pt x="1011031" y="487510"/>
                  </a:lnTo>
                  <a:lnTo>
                    <a:pt x="1012512" y="484711"/>
                  </a:lnTo>
                  <a:lnTo>
                    <a:pt x="1013693" y="483119"/>
                  </a:lnTo>
                  <a:lnTo>
                    <a:pt x="1014571" y="482743"/>
                  </a:lnTo>
                  <a:lnTo>
                    <a:pt x="1017810" y="479579"/>
                  </a:lnTo>
                  <a:lnTo>
                    <a:pt x="1021403" y="477273"/>
                  </a:lnTo>
                  <a:lnTo>
                    <a:pt x="1024702" y="473899"/>
                  </a:lnTo>
                  <a:lnTo>
                    <a:pt x="1028051" y="469078"/>
                  </a:lnTo>
                  <a:lnTo>
                    <a:pt x="1028672" y="467279"/>
                  </a:lnTo>
                  <a:close/>
                  <a:moveTo>
                    <a:pt x="543878" y="465802"/>
                  </a:moveTo>
                  <a:lnTo>
                    <a:pt x="545141" y="466309"/>
                  </a:lnTo>
                  <a:lnTo>
                    <a:pt x="547483" y="468211"/>
                  </a:lnTo>
                  <a:lnTo>
                    <a:pt x="548727" y="468318"/>
                  </a:lnTo>
                  <a:lnTo>
                    <a:pt x="552654" y="467739"/>
                  </a:lnTo>
                  <a:lnTo>
                    <a:pt x="554095" y="468147"/>
                  </a:lnTo>
                  <a:lnTo>
                    <a:pt x="555492" y="468967"/>
                  </a:lnTo>
                  <a:lnTo>
                    <a:pt x="556357" y="470218"/>
                  </a:lnTo>
                  <a:lnTo>
                    <a:pt x="556521" y="472416"/>
                  </a:lnTo>
                  <a:lnTo>
                    <a:pt x="555883" y="474376"/>
                  </a:lnTo>
                  <a:lnTo>
                    <a:pt x="556073" y="477136"/>
                  </a:lnTo>
                  <a:lnTo>
                    <a:pt x="555935" y="478331"/>
                  </a:lnTo>
                  <a:lnTo>
                    <a:pt x="558022" y="479893"/>
                  </a:lnTo>
                  <a:lnTo>
                    <a:pt x="558673" y="482012"/>
                  </a:lnTo>
                  <a:lnTo>
                    <a:pt x="559011" y="484284"/>
                  </a:lnTo>
                  <a:lnTo>
                    <a:pt x="554482" y="485043"/>
                  </a:lnTo>
                  <a:lnTo>
                    <a:pt x="549956" y="485164"/>
                  </a:lnTo>
                  <a:lnTo>
                    <a:pt x="546049" y="486701"/>
                  </a:lnTo>
                  <a:lnTo>
                    <a:pt x="545251" y="487836"/>
                  </a:lnTo>
                  <a:lnTo>
                    <a:pt x="545874" y="489521"/>
                  </a:lnTo>
                  <a:lnTo>
                    <a:pt x="544803" y="489952"/>
                  </a:lnTo>
                  <a:lnTo>
                    <a:pt x="543813" y="489582"/>
                  </a:lnTo>
                  <a:lnTo>
                    <a:pt x="541924" y="488022"/>
                  </a:lnTo>
                  <a:lnTo>
                    <a:pt x="539848" y="487279"/>
                  </a:lnTo>
                  <a:lnTo>
                    <a:pt x="532585" y="486130"/>
                  </a:lnTo>
                  <a:lnTo>
                    <a:pt x="523467" y="481589"/>
                  </a:lnTo>
                  <a:lnTo>
                    <a:pt x="519544" y="480650"/>
                  </a:lnTo>
                  <a:lnTo>
                    <a:pt x="515558" y="477323"/>
                  </a:lnTo>
                  <a:lnTo>
                    <a:pt x="511953" y="473084"/>
                  </a:lnTo>
                  <a:lnTo>
                    <a:pt x="514303" y="472403"/>
                  </a:lnTo>
                  <a:lnTo>
                    <a:pt x="516666" y="472055"/>
                  </a:lnTo>
                  <a:lnTo>
                    <a:pt x="527262" y="472689"/>
                  </a:lnTo>
                  <a:lnTo>
                    <a:pt x="528586" y="469648"/>
                  </a:lnTo>
                  <a:lnTo>
                    <a:pt x="529951" y="468888"/>
                  </a:lnTo>
                  <a:lnTo>
                    <a:pt x="533317" y="468027"/>
                  </a:lnTo>
                  <a:lnTo>
                    <a:pt x="536462" y="466339"/>
                  </a:lnTo>
                  <a:lnTo>
                    <a:pt x="537874" y="466380"/>
                  </a:lnTo>
                  <a:lnTo>
                    <a:pt x="539315" y="467030"/>
                  </a:lnTo>
                  <a:lnTo>
                    <a:pt x="542296" y="466016"/>
                  </a:lnTo>
                  <a:close/>
                  <a:moveTo>
                    <a:pt x="1081038" y="465635"/>
                  </a:moveTo>
                  <a:lnTo>
                    <a:pt x="1081694" y="466130"/>
                  </a:lnTo>
                  <a:lnTo>
                    <a:pt x="1081285" y="468090"/>
                  </a:lnTo>
                  <a:lnTo>
                    <a:pt x="1080469" y="469028"/>
                  </a:lnTo>
                  <a:lnTo>
                    <a:pt x="1078244" y="468695"/>
                  </a:lnTo>
                  <a:lnTo>
                    <a:pt x="1077055" y="468102"/>
                  </a:lnTo>
                  <a:close/>
                  <a:moveTo>
                    <a:pt x="1044503" y="462586"/>
                  </a:moveTo>
                  <a:lnTo>
                    <a:pt x="1048748" y="463773"/>
                  </a:lnTo>
                  <a:lnTo>
                    <a:pt x="1049315" y="464827"/>
                  </a:lnTo>
                  <a:lnTo>
                    <a:pt x="1054218" y="464575"/>
                  </a:lnTo>
                  <a:lnTo>
                    <a:pt x="1055627" y="464761"/>
                  </a:lnTo>
                  <a:lnTo>
                    <a:pt x="1056190" y="465250"/>
                  </a:lnTo>
                  <a:lnTo>
                    <a:pt x="1055526" y="465965"/>
                  </a:lnTo>
                  <a:lnTo>
                    <a:pt x="1053634" y="466905"/>
                  </a:lnTo>
                  <a:lnTo>
                    <a:pt x="1048104" y="468552"/>
                  </a:lnTo>
                  <a:lnTo>
                    <a:pt x="1043611" y="470720"/>
                  </a:lnTo>
                  <a:lnTo>
                    <a:pt x="1043024" y="470520"/>
                  </a:lnTo>
                  <a:lnTo>
                    <a:pt x="1042204" y="468146"/>
                  </a:lnTo>
                  <a:lnTo>
                    <a:pt x="1041373" y="467185"/>
                  </a:lnTo>
                  <a:lnTo>
                    <a:pt x="1040867" y="465847"/>
                  </a:lnTo>
                  <a:lnTo>
                    <a:pt x="1040875" y="465350"/>
                  </a:lnTo>
                  <a:lnTo>
                    <a:pt x="1041699" y="464427"/>
                  </a:lnTo>
                  <a:lnTo>
                    <a:pt x="1043340" y="463075"/>
                  </a:lnTo>
                  <a:close/>
                  <a:moveTo>
                    <a:pt x="1015722" y="462169"/>
                  </a:moveTo>
                  <a:lnTo>
                    <a:pt x="1016496" y="463741"/>
                  </a:lnTo>
                  <a:lnTo>
                    <a:pt x="1016484" y="464752"/>
                  </a:lnTo>
                  <a:lnTo>
                    <a:pt x="1015686" y="465722"/>
                  </a:lnTo>
                  <a:lnTo>
                    <a:pt x="1016452" y="467500"/>
                  </a:lnTo>
                  <a:lnTo>
                    <a:pt x="1015124" y="470555"/>
                  </a:lnTo>
                  <a:lnTo>
                    <a:pt x="1014611" y="472494"/>
                  </a:lnTo>
                  <a:lnTo>
                    <a:pt x="1013902" y="473712"/>
                  </a:lnTo>
                  <a:lnTo>
                    <a:pt x="1013190" y="474183"/>
                  </a:lnTo>
                  <a:lnTo>
                    <a:pt x="1012475" y="473907"/>
                  </a:lnTo>
                  <a:lnTo>
                    <a:pt x="1012326" y="473234"/>
                  </a:lnTo>
                  <a:lnTo>
                    <a:pt x="1012746" y="472165"/>
                  </a:lnTo>
                  <a:lnTo>
                    <a:pt x="1011060" y="472200"/>
                  </a:lnTo>
                  <a:lnTo>
                    <a:pt x="1010547" y="469535"/>
                  </a:lnTo>
                  <a:lnTo>
                    <a:pt x="1011478" y="468690"/>
                  </a:lnTo>
                  <a:lnTo>
                    <a:pt x="1011815" y="467547"/>
                  </a:lnTo>
                  <a:lnTo>
                    <a:pt x="1011921" y="466779"/>
                  </a:lnTo>
                  <a:lnTo>
                    <a:pt x="1013019" y="463381"/>
                  </a:lnTo>
                  <a:lnTo>
                    <a:pt x="1013411" y="463143"/>
                  </a:lnTo>
                  <a:lnTo>
                    <a:pt x="1013539" y="463953"/>
                  </a:lnTo>
                  <a:lnTo>
                    <a:pt x="1013895" y="464190"/>
                  </a:lnTo>
                  <a:lnTo>
                    <a:pt x="1014478" y="463858"/>
                  </a:lnTo>
                  <a:lnTo>
                    <a:pt x="1015355" y="462345"/>
                  </a:lnTo>
                  <a:close/>
                  <a:moveTo>
                    <a:pt x="906765" y="461694"/>
                  </a:moveTo>
                  <a:lnTo>
                    <a:pt x="908302" y="462208"/>
                  </a:lnTo>
                  <a:lnTo>
                    <a:pt x="908612" y="462887"/>
                  </a:lnTo>
                  <a:lnTo>
                    <a:pt x="906071" y="466676"/>
                  </a:lnTo>
                  <a:lnTo>
                    <a:pt x="905207" y="467146"/>
                  </a:lnTo>
                  <a:lnTo>
                    <a:pt x="903976" y="467287"/>
                  </a:lnTo>
                  <a:lnTo>
                    <a:pt x="905622" y="465394"/>
                  </a:lnTo>
                  <a:close/>
                  <a:moveTo>
                    <a:pt x="371968" y="457732"/>
                  </a:moveTo>
                  <a:lnTo>
                    <a:pt x="373593" y="461622"/>
                  </a:lnTo>
                  <a:lnTo>
                    <a:pt x="376603" y="463477"/>
                  </a:lnTo>
                  <a:lnTo>
                    <a:pt x="382116" y="465995"/>
                  </a:lnTo>
                  <a:lnTo>
                    <a:pt x="385653" y="465737"/>
                  </a:lnTo>
                  <a:lnTo>
                    <a:pt x="388456" y="467839"/>
                  </a:lnTo>
                  <a:lnTo>
                    <a:pt x="389616" y="469546"/>
                  </a:lnTo>
                  <a:lnTo>
                    <a:pt x="385405" y="468320"/>
                  </a:lnTo>
                  <a:lnTo>
                    <a:pt x="379318" y="468407"/>
                  </a:lnTo>
                  <a:lnTo>
                    <a:pt x="371088" y="463269"/>
                  </a:lnTo>
                  <a:lnTo>
                    <a:pt x="368138" y="462101"/>
                  </a:lnTo>
                  <a:lnTo>
                    <a:pt x="368810" y="459212"/>
                  </a:lnTo>
                  <a:close/>
                  <a:moveTo>
                    <a:pt x="1006814" y="445489"/>
                  </a:moveTo>
                  <a:lnTo>
                    <a:pt x="1008686" y="446415"/>
                  </a:lnTo>
                  <a:lnTo>
                    <a:pt x="1009230" y="447372"/>
                  </a:lnTo>
                  <a:lnTo>
                    <a:pt x="1009546" y="449274"/>
                  </a:lnTo>
                  <a:lnTo>
                    <a:pt x="1006312" y="449594"/>
                  </a:lnTo>
                  <a:lnTo>
                    <a:pt x="1004832" y="449103"/>
                  </a:lnTo>
                  <a:lnTo>
                    <a:pt x="1004619" y="448572"/>
                  </a:lnTo>
                  <a:lnTo>
                    <a:pt x="1005234" y="446622"/>
                  </a:lnTo>
                  <a:lnTo>
                    <a:pt x="1005184" y="445798"/>
                  </a:lnTo>
                  <a:close/>
                  <a:moveTo>
                    <a:pt x="404555" y="334547"/>
                  </a:moveTo>
                  <a:lnTo>
                    <a:pt x="409235" y="338068"/>
                  </a:lnTo>
                  <a:lnTo>
                    <a:pt x="409622" y="339054"/>
                  </a:lnTo>
                  <a:lnTo>
                    <a:pt x="412288" y="338894"/>
                  </a:lnTo>
                  <a:lnTo>
                    <a:pt x="416023" y="339318"/>
                  </a:lnTo>
                  <a:lnTo>
                    <a:pt x="420157" y="340273"/>
                  </a:lnTo>
                  <a:lnTo>
                    <a:pt x="424246" y="339930"/>
                  </a:lnTo>
                  <a:lnTo>
                    <a:pt x="429400" y="336903"/>
                  </a:lnTo>
                  <a:lnTo>
                    <a:pt x="432480" y="336107"/>
                  </a:lnTo>
                  <a:lnTo>
                    <a:pt x="435577" y="335688"/>
                  </a:lnTo>
                  <a:lnTo>
                    <a:pt x="438920" y="336426"/>
                  </a:lnTo>
                  <a:lnTo>
                    <a:pt x="442188" y="338032"/>
                  </a:lnTo>
                  <a:lnTo>
                    <a:pt x="443449" y="338977"/>
                  </a:lnTo>
                  <a:lnTo>
                    <a:pt x="444454" y="340631"/>
                  </a:lnTo>
                  <a:lnTo>
                    <a:pt x="445121" y="342629"/>
                  </a:lnTo>
                  <a:lnTo>
                    <a:pt x="446114" y="344060"/>
                  </a:lnTo>
                  <a:lnTo>
                    <a:pt x="452235" y="345825"/>
                  </a:lnTo>
                  <a:lnTo>
                    <a:pt x="456146" y="346528"/>
                  </a:lnTo>
                  <a:lnTo>
                    <a:pt x="457087" y="347495"/>
                  </a:lnTo>
                  <a:lnTo>
                    <a:pt x="457921" y="348828"/>
                  </a:lnTo>
                  <a:lnTo>
                    <a:pt x="461159" y="349841"/>
                  </a:lnTo>
                  <a:lnTo>
                    <a:pt x="464540" y="349471"/>
                  </a:lnTo>
                  <a:lnTo>
                    <a:pt x="466426" y="349831"/>
                  </a:lnTo>
                  <a:lnTo>
                    <a:pt x="472168" y="349881"/>
                  </a:lnTo>
                  <a:lnTo>
                    <a:pt x="479312" y="351359"/>
                  </a:lnTo>
                  <a:lnTo>
                    <a:pt x="478156" y="355251"/>
                  </a:lnTo>
                  <a:lnTo>
                    <a:pt x="475832" y="356959"/>
                  </a:lnTo>
                  <a:lnTo>
                    <a:pt x="469285" y="356410"/>
                  </a:lnTo>
                  <a:lnTo>
                    <a:pt x="462763" y="356964"/>
                  </a:lnTo>
                  <a:lnTo>
                    <a:pt x="460056" y="358963"/>
                  </a:lnTo>
                  <a:lnTo>
                    <a:pt x="457799" y="361492"/>
                  </a:lnTo>
                  <a:lnTo>
                    <a:pt x="457493" y="363952"/>
                  </a:lnTo>
                  <a:lnTo>
                    <a:pt x="456178" y="365081"/>
                  </a:lnTo>
                  <a:lnTo>
                    <a:pt x="454812" y="365579"/>
                  </a:lnTo>
                  <a:lnTo>
                    <a:pt x="453704" y="364219"/>
                  </a:lnTo>
                  <a:lnTo>
                    <a:pt x="452225" y="360067"/>
                  </a:lnTo>
                  <a:lnTo>
                    <a:pt x="451184" y="358920"/>
                  </a:lnTo>
                  <a:lnTo>
                    <a:pt x="450040" y="358197"/>
                  </a:lnTo>
                  <a:lnTo>
                    <a:pt x="446851" y="356883"/>
                  </a:lnTo>
                  <a:lnTo>
                    <a:pt x="443614" y="356052"/>
                  </a:lnTo>
                  <a:lnTo>
                    <a:pt x="441720" y="355952"/>
                  </a:lnTo>
                  <a:lnTo>
                    <a:pt x="440354" y="354509"/>
                  </a:lnTo>
                  <a:lnTo>
                    <a:pt x="439600" y="352418"/>
                  </a:lnTo>
                  <a:lnTo>
                    <a:pt x="438304" y="351339"/>
                  </a:lnTo>
                  <a:lnTo>
                    <a:pt x="435736" y="349803"/>
                  </a:lnTo>
                  <a:lnTo>
                    <a:pt x="433110" y="348594"/>
                  </a:lnTo>
                  <a:lnTo>
                    <a:pt x="424915" y="345971"/>
                  </a:lnTo>
                  <a:lnTo>
                    <a:pt x="422219" y="345626"/>
                  </a:lnTo>
                  <a:lnTo>
                    <a:pt x="419484" y="345909"/>
                  </a:lnTo>
                  <a:lnTo>
                    <a:pt x="416557" y="347106"/>
                  </a:lnTo>
                  <a:lnTo>
                    <a:pt x="413718" y="348881"/>
                  </a:lnTo>
                  <a:lnTo>
                    <a:pt x="410813" y="350207"/>
                  </a:lnTo>
                  <a:lnTo>
                    <a:pt x="407804" y="350499"/>
                  </a:lnTo>
                  <a:lnTo>
                    <a:pt x="404929" y="349724"/>
                  </a:lnTo>
                  <a:lnTo>
                    <a:pt x="402224" y="347993"/>
                  </a:lnTo>
                  <a:lnTo>
                    <a:pt x="400869" y="346764"/>
                  </a:lnTo>
                  <a:lnTo>
                    <a:pt x="400145" y="344646"/>
                  </a:lnTo>
                  <a:lnTo>
                    <a:pt x="400182" y="342523"/>
                  </a:lnTo>
                  <a:lnTo>
                    <a:pt x="400549" y="340475"/>
                  </a:lnTo>
                  <a:lnTo>
                    <a:pt x="402007" y="335516"/>
                  </a:lnTo>
                  <a:close/>
                  <a:moveTo>
                    <a:pt x="553132" y="226692"/>
                  </a:moveTo>
                  <a:lnTo>
                    <a:pt x="552936" y="227156"/>
                  </a:lnTo>
                  <a:lnTo>
                    <a:pt x="550069" y="228809"/>
                  </a:lnTo>
                  <a:lnTo>
                    <a:pt x="545794" y="230959"/>
                  </a:lnTo>
                  <a:lnTo>
                    <a:pt x="544805" y="231198"/>
                  </a:lnTo>
                  <a:lnTo>
                    <a:pt x="544860" y="230547"/>
                  </a:lnTo>
                  <a:lnTo>
                    <a:pt x="547768" y="228827"/>
                  </a:lnTo>
                  <a:close/>
                  <a:moveTo>
                    <a:pt x="791701" y="0"/>
                  </a:moveTo>
                  <a:lnTo>
                    <a:pt x="793613" y="515"/>
                  </a:lnTo>
                  <a:lnTo>
                    <a:pt x="791026" y="1342"/>
                  </a:lnTo>
                  <a:lnTo>
                    <a:pt x="789226" y="3105"/>
                  </a:lnTo>
                  <a:lnTo>
                    <a:pt x="791708" y="5450"/>
                  </a:lnTo>
                  <a:lnTo>
                    <a:pt x="808514" y="10279"/>
                  </a:lnTo>
                  <a:lnTo>
                    <a:pt x="812736" y="10545"/>
                  </a:lnTo>
                  <a:lnTo>
                    <a:pt x="814425" y="13426"/>
                  </a:lnTo>
                  <a:lnTo>
                    <a:pt x="813018" y="16206"/>
                  </a:lnTo>
                  <a:lnTo>
                    <a:pt x="808687" y="19289"/>
                  </a:lnTo>
                  <a:lnTo>
                    <a:pt x="799958" y="22435"/>
                  </a:lnTo>
                  <a:lnTo>
                    <a:pt x="802627" y="23624"/>
                  </a:lnTo>
                  <a:lnTo>
                    <a:pt x="804372" y="26424"/>
                  </a:lnTo>
                  <a:lnTo>
                    <a:pt x="806956" y="26765"/>
                  </a:lnTo>
                  <a:lnTo>
                    <a:pt x="811144" y="25715"/>
                  </a:lnTo>
                  <a:lnTo>
                    <a:pt x="814426" y="23993"/>
                  </a:lnTo>
                  <a:lnTo>
                    <a:pt x="821212" y="18377"/>
                  </a:lnTo>
                  <a:lnTo>
                    <a:pt x="823346" y="15241"/>
                  </a:lnTo>
                  <a:lnTo>
                    <a:pt x="824951" y="14448"/>
                  </a:lnTo>
                  <a:lnTo>
                    <a:pt x="830640" y="15203"/>
                  </a:lnTo>
                  <a:lnTo>
                    <a:pt x="833862" y="16815"/>
                  </a:lnTo>
                  <a:lnTo>
                    <a:pt x="837532" y="19677"/>
                  </a:lnTo>
                  <a:lnTo>
                    <a:pt x="836188" y="22437"/>
                  </a:lnTo>
                  <a:lnTo>
                    <a:pt x="834687" y="23995"/>
                  </a:lnTo>
                  <a:lnTo>
                    <a:pt x="839445" y="26146"/>
                  </a:lnTo>
                  <a:lnTo>
                    <a:pt x="844712" y="26594"/>
                  </a:lnTo>
                  <a:lnTo>
                    <a:pt x="849736" y="28322"/>
                  </a:lnTo>
                  <a:lnTo>
                    <a:pt x="856803" y="24783"/>
                  </a:lnTo>
                  <a:lnTo>
                    <a:pt x="862334" y="24028"/>
                  </a:lnTo>
                  <a:lnTo>
                    <a:pt x="867530" y="24146"/>
                  </a:lnTo>
                  <a:lnTo>
                    <a:pt x="874285" y="22215"/>
                  </a:lnTo>
                  <a:lnTo>
                    <a:pt x="885713" y="24844"/>
                  </a:lnTo>
                  <a:lnTo>
                    <a:pt x="888622" y="24160"/>
                  </a:lnTo>
                  <a:lnTo>
                    <a:pt x="893205" y="24614"/>
                  </a:lnTo>
                  <a:lnTo>
                    <a:pt x="898073" y="26202"/>
                  </a:lnTo>
                  <a:lnTo>
                    <a:pt x="899795" y="27893"/>
                  </a:lnTo>
                  <a:lnTo>
                    <a:pt x="894582" y="31468"/>
                  </a:lnTo>
                  <a:lnTo>
                    <a:pt x="893731" y="35155"/>
                  </a:lnTo>
                  <a:lnTo>
                    <a:pt x="895553" y="36687"/>
                  </a:lnTo>
                  <a:lnTo>
                    <a:pt x="898857" y="36951"/>
                  </a:lnTo>
                  <a:lnTo>
                    <a:pt x="899274" y="39098"/>
                  </a:lnTo>
                  <a:lnTo>
                    <a:pt x="901325" y="39634"/>
                  </a:lnTo>
                  <a:lnTo>
                    <a:pt x="911628" y="39472"/>
                  </a:lnTo>
                  <a:lnTo>
                    <a:pt x="910841" y="40493"/>
                  </a:lnTo>
                  <a:lnTo>
                    <a:pt x="910338" y="41724"/>
                  </a:lnTo>
                  <a:lnTo>
                    <a:pt x="907147" y="44453"/>
                  </a:lnTo>
                  <a:lnTo>
                    <a:pt x="925512" y="45989"/>
                  </a:lnTo>
                  <a:lnTo>
                    <a:pt x="927982" y="44476"/>
                  </a:lnTo>
                  <a:lnTo>
                    <a:pt x="931781" y="43872"/>
                  </a:lnTo>
                  <a:lnTo>
                    <a:pt x="939852" y="41789"/>
                  </a:lnTo>
                  <a:lnTo>
                    <a:pt x="942891" y="42700"/>
                  </a:lnTo>
                  <a:lnTo>
                    <a:pt x="946470" y="44831"/>
                  </a:lnTo>
                  <a:lnTo>
                    <a:pt x="949777" y="45272"/>
                  </a:lnTo>
                  <a:lnTo>
                    <a:pt x="952865" y="44841"/>
                  </a:lnTo>
                  <a:lnTo>
                    <a:pt x="960070" y="41801"/>
                  </a:lnTo>
                  <a:lnTo>
                    <a:pt x="968389" y="41652"/>
                  </a:lnTo>
                  <a:lnTo>
                    <a:pt x="971791" y="42642"/>
                  </a:lnTo>
                  <a:lnTo>
                    <a:pt x="975393" y="42210"/>
                  </a:lnTo>
                  <a:lnTo>
                    <a:pt x="986226" y="45692"/>
                  </a:lnTo>
                  <a:lnTo>
                    <a:pt x="990215" y="46102"/>
                  </a:lnTo>
                  <a:lnTo>
                    <a:pt x="995551" y="50624"/>
                  </a:lnTo>
                  <a:lnTo>
                    <a:pt x="998309" y="50759"/>
                  </a:lnTo>
                  <a:lnTo>
                    <a:pt x="1001431" y="48840"/>
                  </a:lnTo>
                  <a:lnTo>
                    <a:pt x="1004135" y="48900"/>
                  </a:lnTo>
                  <a:lnTo>
                    <a:pt x="1006780" y="50736"/>
                  </a:lnTo>
                  <a:lnTo>
                    <a:pt x="1011104" y="51297"/>
                  </a:lnTo>
                  <a:lnTo>
                    <a:pt x="1013119" y="54193"/>
                  </a:lnTo>
                  <a:lnTo>
                    <a:pt x="1015293" y="55242"/>
                  </a:lnTo>
                  <a:lnTo>
                    <a:pt x="1031681" y="57388"/>
                  </a:lnTo>
                  <a:lnTo>
                    <a:pt x="1039795" y="56411"/>
                  </a:lnTo>
                  <a:lnTo>
                    <a:pt x="1051622" y="56667"/>
                  </a:lnTo>
                  <a:lnTo>
                    <a:pt x="1057325" y="58036"/>
                  </a:lnTo>
                  <a:lnTo>
                    <a:pt x="1063307" y="57861"/>
                  </a:lnTo>
                  <a:lnTo>
                    <a:pt x="1073080" y="62851"/>
                  </a:lnTo>
                  <a:lnTo>
                    <a:pt x="1078265" y="63627"/>
                  </a:lnTo>
                  <a:lnTo>
                    <a:pt x="1079272" y="64778"/>
                  </a:lnTo>
                  <a:lnTo>
                    <a:pt x="1094021" y="65990"/>
                  </a:lnTo>
                  <a:lnTo>
                    <a:pt x="1099181" y="63394"/>
                  </a:lnTo>
                  <a:lnTo>
                    <a:pt x="1108181" y="62705"/>
                  </a:lnTo>
                  <a:lnTo>
                    <a:pt x="1116285" y="60519"/>
                  </a:lnTo>
                  <a:lnTo>
                    <a:pt x="1120878" y="60542"/>
                  </a:lnTo>
                  <a:lnTo>
                    <a:pt x="1126219" y="61085"/>
                  </a:lnTo>
                  <a:lnTo>
                    <a:pt x="1128274" y="60822"/>
                  </a:lnTo>
                  <a:lnTo>
                    <a:pt x="1129758" y="59865"/>
                  </a:lnTo>
                  <a:lnTo>
                    <a:pt x="1142779" y="63632"/>
                  </a:lnTo>
                  <a:lnTo>
                    <a:pt x="1150068" y="67933"/>
                  </a:lnTo>
                  <a:lnTo>
                    <a:pt x="1153261" y="71104"/>
                  </a:lnTo>
                  <a:lnTo>
                    <a:pt x="1168509" y="75627"/>
                  </a:lnTo>
                  <a:lnTo>
                    <a:pt x="1172919" y="78152"/>
                  </a:lnTo>
                  <a:lnTo>
                    <a:pt x="1175940" y="80931"/>
                  </a:lnTo>
                  <a:lnTo>
                    <a:pt x="1177708" y="81230"/>
                  </a:lnTo>
                  <a:lnTo>
                    <a:pt x="1178958" y="80418"/>
                  </a:lnTo>
                  <a:lnTo>
                    <a:pt x="1184285" y="80658"/>
                  </a:lnTo>
                  <a:lnTo>
                    <a:pt x="1186292" y="81049"/>
                  </a:lnTo>
                  <a:lnTo>
                    <a:pt x="1186292" y="94243"/>
                  </a:lnTo>
                  <a:lnTo>
                    <a:pt x="1186292" y="107363"/>
                  </a:lnTo>
                  <a:lnTo>
                    <a:pt x="1186292" y="120401"/>
                  </a:lnTo>
                  <a:lnTo>
                    <a:pt x="1186292" y="133365"/>
                  </a:lnTo>
                  <a:lnTo>
                    <a:pt x="1186292" y="146257"/>
                  </a:lnTo>
                  <a:lnTo>
                    <a:pt x="1186292" y="159072"/>
                  </a:lnTo>
                  <a:lnTo>
                    <a:pt x="1186292" y="171814"/>
                  </a:lnTo>
                  <a:lnTo>
                    <a:pt x="1186292" y="184487"/>
                  </a:lnTo>
                  <a:lnTo>
                    <a:pt x="1186292" y="197088"/>
                  </a:lnTo>
                  <a:lnTo>
                    <a:pt x="1186292" y="209618"/>
                  </a:lnTo>
                  <a:lnTo>
                    <a:pt x="1186292" y="222084"/>
                  </a:lnTo>
                  <a:lnTo>
                    <a:pt x="1186292" y="234478"/>
                  </a:lnTo>
                  <a:lnTo>
                    <a:pt x="1186292" y="246806"/>
                  </a:lnTo>
                  <a:lnTo>
                    <a:pt x="1186292" y="259070"/>
                  </a:lnTo>
                  <a:lnTo>
                    <a:pt x="1186292" y="271267"/>
                  </a:lnTo>
                  <a:lnTo>
                    <a:pt x="1186292" y="283401"/>
                  </a:lnTo>
                  <a:lnTo>
                    <a:pt x="1186292" y="295473"/>
                  </a:lnTo>
                  <a:lnTo>
                    <a:pt x="1186292" y="307481"/>
                  </a:lnTo>
                  <a:lnTo>
                    <a:pt x="1186292" y="319430"/>
                  </a:lnTo>
                  <a:lnTo>
                    <a:pt x="1186292" y="331314"/>
                  </a:lnTo>
                  <a:lnTo>
                    <a:pt x="1186292" y="343142"/>
                  </a:lnTo>
                  <a:lnTo>
                    <a:pt x="1186292" y="354909"/>
                  </a:lnTo>
                  <a:lnTo>
                    <a:pt x="1186292" y="366618"/>
                  </a:lnTo>
                  <a:lnTo>
                    <a:pt x="1186292" y="378268"/>
                  </a:lnTo>
                  <a:lnTo>
                    <a:pt x="1186292" y="389863"/>
                  </a:lnTo>
                  <a:lnTo>
                    <a:pt x="1186292" y="401404"/>
                  </a:lnTo>
                  <a:lnTo>
                    <a:pt x="1186292" y="412886"/>
                  </a:lnTo>
                  <a:lnTo>
                    <a:pt x="1186292" y="424317"/>
                  </a:lnTo>
                  <a:lnTo>
                    <a:pt x="1186292" y="435692"/>
                  </a:lnTo>
                  <a:lnTo>
                    <a:pt x="1186292" y="447013"/>
                  </a:lnTo>
                  <a:lnTo>
                    <a:pt x="1186292" y="458285"/>
                  </a:lnTo>
                  <a:lnTo>
                    <a:pt x="1186292" y="469501"/>
                  </a:lnTo>
                  <a:lnTo>
                    <a:pt x="1192399" y="471076"/>
                  </a:lnTo>
                  <a:lnTo>
                    <a:pt x="1198452" y="472636"/>
                  </a:lnTo>
                  <a:lnTo>
                    <a:pt x="1200304" y="469523"/>
                  </a:lnTo>
                  <a:lnTo>
                    <a:pt x="1206833" y="471904"/>
                  </a:lnTo>
                  <a:lnTo>
                    <a:pt x="1212537" y="473982"/>
                  </a:lnTo>
                  <a:lnTo>
                    <a:pt x="1216176" y="471315"/>
                  </a:lnTo>
                  <a:lnTo>
                    <a:pt x="1220114" y="468426"/>
                  </a:lnTo>
                  <a:lnTo>
                    <a:pt x="1225429" y="468220"/>
                  </a:lnTo>
                  <a:lnTo>
                    <a:pt x="1231377" y="467988"/>
                  </a:lnTo>
                  <a:lnTo>
                    <a:pt x="1235344" y="467836"/>
                  </a:lnTo>
                  <a:lnTo>
                    <a:pt x="1235344" y="470298"/>
                  </a:lnTo>
                  <a:lnTo>
                    <a:pt x="1233873" y="474382"/>
                  </a:lnTo>
                  <a:lnTo>
                    <a:pt x="1232643" y="477786"/>
                  </a:lnTo>
                  <a:lnTo>
                    <a:pt x="1236258" y="481232"/>
                  </a:lnTo>
                  <a:lnTo>
                    <a:pt x="1240715" y="483042"/>
                  </a:lnTo>
                  <a:lnTo>
                    <a:pt x="1244880" y="484734"/>
                  </a:lnTo>
                  <a:lnTo>
                    <a:pt x="1246747" y="489413"/>
                  </a:lnTo>
                  <a:lnTo>
                    <a:pt x="1251305" y="493015"/>
                  </a:lnTo>
                  <a:lnTo>
                    <a:pt x="1254773" y="495755"/>
                  </a:lnTo>
                  <a:lnTo>
                    <a:pt x="1258094" y="498376"/>
                  </a:lnTo>
                  <a:lnTo>
                    <a:pt x="1262848" y="502122"/>
                  </a:lnTo>
                  <a:lnTo>
                    <a:pt x="1266178" y="504742"/>
                  </a:lnTo>
                  <a:lnTo>
                    <a:pt x="1270616" y="508229"/>
                  </a:lnTo>
                  <a:lnTo>
                    <a:pt x="1273251" y="510297"/>
                  </a:lnTo>
                  <a:lnTo>
                    <a:pt x="1274516" y="514319"/>
                  </a:lnTo>
                  <a:lnTo>
                    <a:pt x="1276036" y="519138"/>
                  </a:lnTo>
                  <a:lnTo>
                    <a:pt x="1275099" y="521982"/>
                  </a:lnTo>
                  <a:lnTo>
                    <a:pt x="1277199" y="522442"/>
                  </a:lnTo>
                  <a:lnTo>
                    <a:pt x="1281306" y="519251"/>
                  </a:lnTo>
                  <a:lnTo>
                    <a:pt x="1285167" y="517269"/>
                  </a:lnTo>
                  <a:lnTo>
                    <a:pt x="1289935" y="514821"/>
                  </a:lnTo>
                  <a:lnTo>
                    <a:pt x="1293150" y="513167"/>
                  </a:lnTo>
                  <a:lnTo>
                    <a:pt x="1299132" y="513085"/>
                  </a:lnTo>
                  <a:lnTo>
                    <a:pt x="1301990" y="508275"/>
                  </a:lnTo>
                  <a:lnTo>
                    <a:pt x="1302000" y="501511"/>
                  </a:lnTo>
                  <a:lnTo>
                    <a:pt x="1305022" y="501625"/>
                  </a:lnTo>
                  <a:lnTo>
                    <a:pt x="1306805" y="500708"/>
                  </a:lnTo>
                  <a:lnTo>
                    <a:pt x="1307593" y="498718"/>
                  </a:lnTo>
                  <a:lnTo>
                    <a:pt x="1305687" y="495994"/>
                  </a:lnTo>
                  <a:lnTo>
                    <a:pt x="1311418" y="494723"/>
                  </a:lnTo>
                  <a:lnTo>
                    <a:pt x="1315564" y="493803"/>
                  </a:lnTo>
                  <a:lnTo>
                    <a:pt x="1321483" y="491295"/>
                  </a:lnTo>
                  <a:lnTo>
                    <a:pt x="1327265" y="488844"/>
                  </a:lnTo>
                  <a:lnTo>
                    <a:pt x="1330023" y="490741"/>
                  </a:lnTo>
                  <a:lnTo>
                    <a:pt x="1332753" y="492574"/>
                  </a:lnTo>
                  <a:lnTo>
                    <a:pt x="1338105" y="496985"/>
                  </a:lnTo>
                  <a:lnTo>
                    <a:pt x="1338471" y="498045"/>
                  </a:lnTo>
                  <a:lnTo>
                    <a:pt x="1338109" y="500113"/>
                  </a:lnTo>
                  <a:lnTo>
                    <a:pt x="1337588" y="502178"/>
                  </a:lnTo>
                  <a:lnTo>
                    <a:pt x="1340842" y="507960"/>
                  </a:lnTo>
                  <a:lnTo>
                    <a:pt x="1341772" y="508605"/>
                  </a:lnTo>
                  <a:lnTo>
                    <a:pt x="1344447" y="509404"/>
                  </a:lnTo>
                  <a:lnTo>
                    <a:pt x="1347640" y="511315"/>
                  </a:lnTo>
                  <a:lnTo>
                    <a:pt x="1349050" y="512969"/>
                  </a:lnTo>
                  <a:lnTo>
                    <a:pt x="1353672" y="515601"/>
                  </a:lnTo>
                  <a:lnTo>
                    <a:pt x="1354453" y="516695"/>
                  </a:lnTo>
                  <a:lnTo>
                    <a:pt x="1354889" y="518463"/>
                  </a:lnTo>
                  <a:lnTo>
                    <a:pt x="1355643" y="519980"/>
                  </a:lnTo>
                  <a:lnTo>
                    <a:pt x="1356507" y="521070"/>
                  </a:lnTo>
                  <a:lnTo>
                    <a:pt x="1357341" y="522616"/>
                  </a:lnTo>
                  <a:lnTo>
                    <a:pt x="1359343" y="524437"/>
                  </a:lnTo>
                  <a:lnTo>
                    <a:pt x="1363151" y="526472"/>
                  </a:lnTo>
                  <a:lnTo>
                    <a:pt x="1365791" y="527883"/>
                  </a:lnTo>
                  <a:lnTo>
                    <a:pt x="1369489" y="529858"/>
                  </a:lnTo>
                  <a:lnTo>
                    <a:pt x="1373234" y="533886"/>
                  </a:lnTo>
                  <a:lnTo>
                    <a:pt x="1376488" y="537381"/>
                  </a:lnTo>
                  <a:lnTo>
                    <a:pt x="1380194" y="540829"/>
                  </a:lnTo>
                  <a:lnTo>
                    <a:pt x="1379646" y="543574"/>
                  </a:lnTo>
                  <a:lnTo>
                    <a:pt x="1383404" y="547817"/>
                  </a:lnTo>
                  <a:lnTo>
                    <a:pt x="1387355" y="553196"/>
                  </a:lnTo>
                  <a:lnTo>
                    <a:pt x="1390390" y="557961"/>
                  </a:lnTo>
                  <a:lnTo>
                    <a:pt x="1392547" y="560619"/>
                  </a:lnTo>
                  <a:lnTo>
                    <a:pt x="1395133" y="564467"/>
                  </a:lnTo>
                  <a:lnTo>
                    <a:pt x="1398297" y="569168"/>
                  </a:lnTo>
                  <a:lnTo>
                    <a:pt x="1401893" y="574506"/>
                  </a:lnTo>
                  <a:lnTo>
                    <a:pt x="1404648" y="577925"/>
                  </a:lnTo>
                  <a:lnTo>
                    <a:pt x="1408241" y="582704"/>
                  </a:lnTo>
                  <a:lnTo>
                    <a:pt x="1410014" y="585548"/>
                  </a:lnTo>
                  <a:lnTo>
                    <a:pt x="1408810" y="587493"/>
                  </a:lnTo>
                  <a:lnTo>
                    <a:pt x="1407314" y="589900"/>
                  </a:lnTo>
                  <a:lnTo>
                    <a:pt x="1411930" y="591040"/>
                  </a:lnTo>
                  <a:lnTo>
                    <a:pt x="1415132" y="591829"/>
                  </a:lnTo>
                  <a:lnTo>
                    <a:pt x="1414332" y="594498"/>
                  </a:lnTo>
                  <a:lnTo>
                    <a:pt x="1413276" y="598014"/>
                  </a:lnTo>
                  <a:lnTo>
                    <a:pt x="1416894" y="599400"/>
                  </a:lnTo>
                  <a:lnTo>
                    <a:pt x="1419351" y="600341"/>
                  </a:lnTo>
                  <a:lnTo>
                    <a:pt x="1418846" y="602182"/>
                  </a:lnTo>
                  <a:lnTo>
                    <a:pt x="1420194" y="604264"/>
                  </a:lnTo>
                  <a:lnTo>
                    <a:pt x="1420419" y="607704"/>
                  </a:lnTo>
                  <a:lnTo>
                    <a:pt x="1424826" y="607482"/>
                  </a:lnTo>
                  <a:lnTo>
                    <a:pt x="1426775" y="607383"/>
                  </a:lnTo>
                  <a:lnTo>
                    <a:pt x="1429408" y="608909"/>
                  </a:lnTo>
                  <a:lnTo>
                    <a:pt x="1432881" y="610919"/>
                  </a:lnTo>
                  <a:lnTo>
                    <a:pt x="1436359" y="612801"/>
                  </a:lnTo>
                  <a:lnTo>
                    <a:pt x="1439331" y="614406"/>
                  </a:lnTo>
                  <a:lnTo>
                    <a:pt x="1443227" y="615355"/>
                  </a:lnTo>
                  <a:lnTo>
                    <a:pt x="1448035" y="616721"/>
                  </a:lnTo>
                  <a:lnTo>
                    <a:pt x="1450399" y="619506"/>
                  </a:lnTo>
                  <a:lnTo>
                    <a:pt x="1454786" y="620700"/>
                  </a:lnTo>
                  <a:lnTo>
                    <a:pt x="1456417" y="624593"/>
                  </a:lnTo>
                  <a:lnTo>
                    <a:pt x="1461479" y="626023"/>
                  </a:lnTo>
                  <a:lnTo>
                    <a:pt x="1464460" y="625071"/>
                  </a:lnTo>
                  <a:lnTo>
                    <a:pt x="1465529" y="626656"/>
                  </a:lnTo>
                  <a:lnTo>
                    <a:pt x="1466372" y="628480"/>
                  </a:lnTo>
                  <a:lnTo>
                    <a:pt x="1466597" y="630780"/>
                  </a:lnTo>
                  <a:lnTo>
                    <a:pt x="1466316" y="633017"/>
                  </a:lnTo>
                  <a:lnTo>
                    <a:pt x="1465052" y="634889"/>
                  </a:lnTo>
                  <a:lnTo>
                    <a:pt x="1464100" y="636906"/>
                  </a:lnTo>
                  <a:lnTo>
                    <a:pt x="1463460" y="639071"/>
                  </a:lnTo>
                  <a:lnTo>
                    <a:pt x="1463218" y="641395"/>
                  </a:lnTo>
                  <a:lnTo>
                    <a:pt x="1463374" y="643879"/>
                  </a:lnTo>
                  <a:lnTo>
                    <a:pt x="1463885" y="646045"/>
                  </a:lnTo>
                  <a:lnTo>
                    <a:pt x="1465438" y="650046"/>
                  </a:lnTo>
                  <a:lnTo>
                    <a:pt x="1465954" y="652493"/>
                  </a:lnTo>
                  <a:lnTo>
                    <a:pt x="1466024" y="654121"/>
                  </a:lnTo>
                  <a:lnTo>
                    <a:pt x="1462573" y="659845"/>
                  </a:lnTo>
                  <a:lnTo>
                    <a:pt x="1461383" y="662570"/>
                  </a:lnTo>
                  <a:lnTo>
                    <a:pt x="1461495" y="663790"/>
                  </a:lnTo>
                  <a:lnTo>
                    <a:pt x="1458982" y="666623"/>
                  </a:lnTo>
                  <a:lnTo>
                    <a:pt x="1454373" y="670582"/>
                  </a:lnTo>
                  <a:lnTo>
                    <a:pt x="1452279" y="672863"/>
                  </a:lnTo>
                  <a:lnTo>
                    <a:pt x="1451248" y="672111"/>
                  </a:lnTo>
                  <a:lnTo>
                    <a:pt x="1445283" y="671521"/>
                  </a:lnTo>
                  <a:lnTo>
                    <a:pt x="1443114" y="666467"/>
                  </a:lnTo>
                  <a:lnTo>
                    <a:pt x="1441964" y="662538"/>
                  </a:lnTo>
                  <a:lnTo>
                    <a:pt x="1440226" y="659110"/>
                  </a:lnTo>
                  <a:lnTo>
                    <a:pt x="1440276" y="658332"/>
                  </a:lnTo>
                  <a:lnTo>
                    <a:pt x="1441856" y="656043"/>
                  </a:lnTo>
                  <a:lnTo>
                    <a:pt x="1447814" y="654155"/>
                  </a:lnTo>
                  <a:lnTo>
                    <a:pt x="1447869" y="653405"/>
                  </a:lnTo>
                  <a:lnTo>
                    <a:pt x="1445654" y="652904"/>
                  </a:lnTo>
                  <a:lnTo>
                    <a:pt x="1445122" y="652083"/>
                  </a:lnTo>
                  <a:lnTo>
                    <a:pt x="1444512" y="648361"/>
                  </a:lnTo>
                  <a:lnTo>
                    <a:pt x="1444676" y="645090"/>
                  </a:lnTo>
                  <a:lnTo>
                    <a:pt x="1444517" y="642921"/>
                  </a:lnTo>
                  <a:lnTo>
                    <a:pt x="1443523" y="638477"/>
                  </a:lnTo>
                  <a:lnTo>
                    <a:pt x="1442033" y="635754"/>
                  </a:lnTo>
                  <a:lnTo>
                    <a:pt x="1438189" y="630435"/>
                  </a:lnTo>
                  <a:lnTo>
                    <a:pt x="1437865" y="629091"/>
                  </a:lnTo>
                  <a:lnTo>
                    <a:pt x="1439558" y="627406"/>
                  </a:lnTo>
                  <a:lnTo>
                    <a:pt x="1440611" y="625834"/>
                  </a:lnTo>
                  <a:lnTo>
                    <a:pt x="1434109" y="628566"/>
                  </a:lnTo>
                  <a:lnTo>
                    <a:pt x="1425241" y="631437"/>
                  </a:lnTo>
                  <a:lnTo>
                    <a:pt x="1421442" y="633437"/>
                  </a:lnTo>
                  <a:lnTo>
                    <a:pt x="1420644" y="634238"/>
                  </a:lnTo>
                  <a:lnTo>
                    <a:pt x="1420371" y="634916"/>
                  </a:lnTo>
                  <a:lnTo>
                    <a:pt x="1421062" y="636798"/>
                  </a:lnTo>
                  <a:lnTo>
                    <a:pt x="1420955" y="637402"/>
                  </a:lnTo>
                  <a:lnTo>
                    <a:pt x="1420182" y="638514"/>
                  </a:lnTo>
                  <a:lnTo>
                    <a:pt x="1419268" y="641656"/>
                  </a:lnTo>
                  <a:lnTo>
                    <a:pt x="1417338" y="644982"/>
                  </a:lnTo>
                  <a:lnTo>
                    <a:pt x="1416361" y="645665"/>
                  </a:lnTo>
                  <a:lnTo>
                    <a:pt x="1412901" y="644424"/>
                  </a:lnTo>
                  <a:lnTo>
                    <a:pt x="1411972" y="643359"/>
                  </a:lnTo>
                  <a:lnTo>
                    <a:pt x="1410237" y="639012"/>
                  </a:lnTo>
                  <a:lnTo>
                    <a:pt x="1410643" y="637852"/>
                  </a:lnTo>
                  <a:lnTo>
                    <a:pt x="1411908" y="636875"/>
                  </a:lnTo>
                  <a:lnTo>
                    <a:pt x="1413624" y="634764"/>
                  </a:lnTo>
                  <a:lnTo>
                    <a:pt x="1415790" y="631514"/>
                  </a:lnTo>
                  <a:lnTo>
                    <a:pt x="1419919" y="623240"/>
                  </a:lnTo>
                  <a:lnTo>
                    <a:pt x="1422619" y="623199"/>
                  </a:lnTo>
                  <a:lnTo>
                    <a:pt x="1427381" y="621557"/>
                  </a:lnTo>
                  <a:lnTo>
                    <a:pt x="1419910" y="620733"/>
                  </a:lnTo>
                  <a:lnTo>
                    <a:pt x="1418796" y="620299"/>
                  </a:lnTo>
                  <a:lnTo>
                    <a:pt x="1417791" y="619169"/>
                  </a:lnTo>
                  <a:lnTo>
                    <a:pt x="1416898" y="617339"/>
                  </a:lnTo>
                  <a:lnTo>
                    <a:pt x="1415378" y="615301"/>
                  </a:lnTo>
                  <a:lnTo>
                    <a:pt x="1412538" y="614586"/>
                  </a:lnTo>
                  <a:lnTo>
                    <a:pt x="1411292" y="613835"/>
                  </a:lnTo>
                  <a:lnTo>
                    <a:pt x="1409417" y="611358"/>
                  </a:lnTo>
                  <a:lnTo>
                    <a:pt x="1408157" y="610244"/>
                  </a:lnTo>
                  <a:lnTo>
                    <a:pt x="1407466" y="608867"/>
                  </a:lnTo>
                  <a:lnTo>
                    <a:pt x="1407348" y="607227"/>
                  </a:lnTo>
                  <a:lnTo>
                    <a:pt x="1406813" y="606403"/>
                  </a:lnTo>
                  <a:lnTo>
                    <a:pt x="1404855" y="606104"/>
                  </a:lnTo>
                  <a:lnTo>
                    <a:pt x="1403796" y="605540"/>
                  </a:lnTo>
                  <a:lnTo>
                    <a:pt x="1403510" y="601301"/>
                  </a:lnTo>
                  <a:lnTo>
                    <a:pt x="1399623" y="600210"/>
                  </a:lnTo>
                  <a:lnTo>
                    <a:pt x="1398030" y="599271"/>
                  </a:lnTo>
                  <a:lnTo>
                    <a:pt x="1395472" y="596617"/>
                  </a:lnTo>
                  <a:lnTo>
                    <a:pt x="1394767" y="595326"/>
                  </a:lnTo>
                  <a:lnTo>
                    <a:pt x="1394538" y="594249"/>
                  </a:lnTo>
                  <a:lnTo>
                    <a:pt x="1395164" y="591312"/>
                  </a:lnTo>
                  <a:lnTo>
                    <a:pt x="1394900" y="590762"/>
                  </a:lnTo>
                  <a:lnTo>
                    <a:pt x="1392636" y="591066"/>
                  </a:lnTo>
                  <a:lnTo>
                    <a:pt x="1378542" y="586513"/>
                  </a:lnTo>
                  <a:lnTo>
                    <a:pt x="1379286" y="580487"/>
                  </a:lnTo>
                  <a:lnTo>
                    <a:pt x="1376678" y="572514"/>
                  </a:lnTo>
                  <a:lnTo>
                    <a:pt x="1373878" y="569271"/>
                  </a:lnTo>
                  <a:lnTo>
                    <a:pt x="1374433" y="568012"/>
                  </a:lnTo>
                  <a:lnTo>
                    <a:pt x="1375035" y="567343"/>
                  </a:lnTo>
                  <a:lnTo>
                    <a:pt x="1376289" y="567329"/>
                  </a:lnTo>
                  <a:lnTo>
                    <a:pt x="1381694" y="569684"/>
                  </a:lnTo>
                  <a:lnTo>
                    <a:pt x="1386782" y="572478"/>
                  </a:lnTo>
                  <a:lnTo>
                    <a:pt x="1387440" y="572069"/>
                  </a:lnTo>
                  <a:lnTo>
                    <a:pt x="1379310" y="566151"/>
                  </a:lnTo>
                  <a:lnTo>
                    <a:pt x="1377276" y="564378"/>
                  </a:lnTo>
                  <a:lnTo>
                    <a:pt x="1376773" y="562246"/>
                  </a:lnTo>
                  <a:lnTo>
                    <a:pt x="1376742" y="561105"/>
                  </a:lnTo>
                  <a:lnTo>
                    <a:pt x="1377387" y="560503"/>
                  </a:lnTo>
                  <a:lnTo>
                    <a:pt x="1385017" y="561038"/>
                  </a:lnTo>
                  <a:lnTo>
                    <a:pt x="1385469" y="560595"/>
                  </a:lnTo>
                  <a:lnTo>
                    <a:pt x="1377738" y="558860"/>
                  </a:lnTo>
                  <a:lnTo>
                    <a:pt x="1376156" y="558867"/>
                  </a:lnTo>
                  <a:lnTo>
                    <a:pt x="1374464" y="561359"/>
                  </a:lnTo>
                  <a:lnTo>
                    <a:pt x="1373659" y="561948"/>
                  </a:lnTo>
                  <a:lnTo>
                    <a:pt x="1371999" y="561829"/>
                  </a:lnTo>
                  <a:lnTo>
                    <a:pt x="1371443" y="561447"/>
                  </a:lnTo>
                  <a:lnTo>
                    <a:pt x="1369473" y="558426"/>
                  </a:lnTo>
                  <a:lnTo>
                    <a:pt x="1367608" y="556323"/>
                  </a:lnTo>
                  <a:lnTo>
                    <a:pt x="1364124" y="553403"/>
                  </a:lnTo>
                  <a:lnTo>
                    <a:pt x="1363469" y="551320"/>
                  </a:lnTo>
                  <a:lnTo>
                    <a:pt x="1363301" y="548255"/>
                  </a:lnTo>
                  <a:lnTo>
                    <a:pt x="1363761" y="545351"/>
                  </a:lnTo>
                  <a:lnTo>
                    <a:pt x="1366609" y="538706"/>
                  </a:lnTo>
                  <a:lnTo>
                    <a:pt x="1367760" y="537557"/>
                  </a:lnTo>
                  <a:lnTo>
                    <a:pt x="1368060" y="536833"/>
                  </a:lnTo>
                  <a:lnTo>
                    <a:pt x="1367183" y="536943"/>
                  </a:lnTo>
                  <a:lnTo>
                    <a:pt x="1366349" y="537573"/>
                  </a:lnTo>
                  <a:lnTo>
                    <a:pt x="1363994" y="540663"/>
                  </a:lnTo>
                  <a:lnTo>
                    <a:pt x="1361570" y="545719"/>
                  </a:lnTo>
                  <a:lnTo>
                    <a:pt x="1359589" y="547442"/>
                  </a:lnTo>
                  <a:lnTo>
                    <a:pt x="1358345" y="547025"/>
                  </a:lnTo>
                  <a:lnTo>
                    <a:pt x="1356461" y="544968"/>
                  </a:lnTo>
                  <a:lnTo>
                    <a:pt x="1352532" y="542455"/>
                  </a:lnTo>
                  <a:lnTo>
                    <a:pt x="1347987" y="541803"/>
                  </a:lnTo>
                  <a:lnTo>
                    <a:pt x="1345119" y="539229"/>
                  </a:lnTo>
                  <a:lnTo>
                    <a:pt x="1340873" y="532052"/>
                  </a:lnTo>
                  <a:lnTo>
                    <a:pt x="1340304" y="528469"/>
                  </a:lnTo>
                  <a:lnTo>
                    <a:pt x="1339760" y="527592"/>
                  </a:lnTo>
                  <a:lnTo>
                    <a:pt x="1337455" y="526425"/>
                  </a:lnTo>
                  <a:lnTo>
                    <a:pt x="1336043" y="524700"/>
                  </a:lnTo>
                  <a:lnTo>
                    <a:pt x="1333861" y="515930"/>
                  </a:lnTo>
                  <a:lnTo>
                    <a:pt x="1330979" y="509815"/>
                  </a:lnTo>
                  <a:lnTo>
                    <a:pt x="1330262" y="506579"/>
                  </a:lnTo>
                  <a:lnTo>
                    <a:pt x="1330506" y="503364"/>
                  </a:lnTo>
                  <a:lnTo>
                    <a:pt x="1330128" y="503010"/>
                  </a:lnTo>
                  <a:lnTo>
                    <a:pt x="1329137" y="505515"/>
                  </a:lnTo>
                  <a:lnTo>
                    <a:pt x="1328877" y="506821"/>
                  </a:lnTo>
                  <a:lnTo>
                    <a:pt x="1327058" y="507190"/>
                  </a:lnTo>
                  <a:lnTo>
                    <a:pt x="1328771" y="509724"/>
                  </a:lnTo>
                  <a:lnTo>
                    <a:pt x="1329199" y="510989"/>
                  </a:lnTo>
                  <a:lnTo>
                    <a:pt x="1328342" y="510885"/>
                  </a:lnTo>
                  <a:lnTo>
                    <a:pt x="1326591" y="511201"/>
                  </a:lnTo>
                  <a:lnTo>
                    <a:pt x="1329556" y="515519"/>
                  </a:lnTo>
                  <a:lnTo>
                    <a:pt x="1330884" y="522199"/>
                  </a:lnTo>
                  <a:lnTo>
                    <a:pt x="1332849" y="527138"/>
                  </a:lnTo>
                  <a:lnTo>
                    <a:pt x="1334123" y="531134"/>
                  </a:lnTo>
                  <a:lnTo>
                    <a:pt x="1334698" y="534163"/>
                  </a:lnTo>
                  <a:lnTo>
                    <a:pt x="1335531" y="537055"/>
                  </a:lnTo>
                  <a:lnTo>
                    <a:pt x="1337825" y="543433"/>
                  </a:lnTo>
                  <a:lnTo>
                    <a:pt x="1338139" y="544699"/>
                  </a:lnTo>
                  <a:lnTo>
                    <a:pt x="1337863" y="545735"/>
                  </a:lnTo>
                  <a:lnTo>
                    <a:pt x="1337104" y="546963"/>
                  </a:lnTo>
                  <a:lnTo>
                    <a:pt x="1335795" y="547426"/>
                  </a:lnTo>
                  <a:lnTo>
                    <a:pt x="1331689" y="546590"/>
                  </a:lnTo>
                  <a:lnTo>
                    <a:pt x="1330142" y="545016"/>
                  </a:lnTo>
                  <a:lnTo>
                    <a:pt x="1327928" y="542123"/>
                  </a:lnTo>
                  <a:lnTo>
                    <a:pt x="1324820" y="540786"/>
                  </a:lnTo>
                  <a:lnTo>
                    <a:pt x="1317124" y="541449"/>
                  </a:lnTo>
                  <a:lnTo>
                    <a:pt x="1316509" y="541226"/>
                  </a:lnTo>
                  <a:lnTo>
                    <a:pt x="1316540" y="538857"/>
                  </a:lnTo>
                  <a:lnTo>
                    <a:pt x="1317423" y="534638"/>
                  </a:lnTo>
                  <a:lnTo>
                    <a:pt x="1316714" y="532933"/>
                  </a:lnTo>
                  <a:lnTo>
                    <a:pt x="1312736" y="526713"/>
                  </a:lnTo>
                  <a:lnTo>
                    <a:pt x="1312796" y="525496"/>
                  </a:lnTo>
                  <a:lnTo>
                    <a:pt x="1318325" y="522635"/>
                  </a:lnTo>
                  <a:lnTo>
                    <a:pt x="1315638" y="522419"/>
                  </a:lnTo>
                  <a:lnTo>
                    <a:pt x="1313473" y="523535"/>
                  </a:lnTo>
                  <a:lnTo>
                    <a:pt x="1312637" y="522813"/>
                  </a:lnTo>
                  <a:lnTo>
                    <a:pt x="1311329" y="518812"/>
                  </a:lnTo>
                  <a:lnTo>
                    <a:pt x="1310486" y="517322"/>
                  </a:lnTo>
                  <a:lnTo>
                    <a:pt x="1310068" y="517001"/>
                  </a:lnTo>
                  <a:lnTo>
                    <a:pt x="1309829" y="520805"/>
                  </a:lnTo>
                  <a:lnTo>
                    <a:pt x="1310745" y="522804"/>
                  </a:lnTo>
                  <a:lnTo>
                    <a:pt x="1310876" y="523961"/>
                  </a:lnTo>
                  <a:lnTo>
                    <a:pt x="1310728" y="525571"/>
                  </a:lnTo>
                  <a:lnTo>
                    <a:pt x="1310152" y="526724"/>
                  </a:lnTo>
                  <a:lnTo>
                    <a:pt x="1309143" y="527422"/>
                  </a:lnTo>
                  <a:lnTo>
                    <a:pt x="1308135" y="527598"/>
                  </a:lnTo>
                  <a:lnTo>
                    <a:pt x="1306269" y="526794"/>
                  </a:lnTo>
                  <a:lnTo>
                    <a:pt x="1304195" y="525283"/>
                  </a:lnTo>
                  <a:lnTo>
                    <a:pt x="1302387" y="524571"/>
                  </a:lnTo>
                  <a:lnTo>
                    <a:pt x="1301712" y="523965"/>
                  </a:lnTo>
                  <a:lnTo>
                    <a:pt x="1300857" y="522293"/>
                  </a:lnTo>
                  <a:lnTo>
                    <a:pt x="1299453" y="521026"/>
                  </a:lnTo>
                  <a:lnTo>
                    <a:pt x="1292698" y="519415"/>
                  </a:lnTo>
                  <a:lnTo>
                    <a:pt x="1288667" y="517513"/>
                  </a:lnTo>
                  <a:lnTo>
                    <a:pt x="1288332" y="518014"/>
                  </a:lnTo>
                  <a:lnTo>
                    <a:pt x="1289590" y="520048"/>
                  </a:lnTo>
                  <a:lnTo>
                    <a:pt x="1289712" y="521250"/>
                  </a:lnTo>
                  <a:lnTo>
                    <a:pt x="1288696" y="521616"/>
                  </a:lnTo>
                  <a:lnTo>
                    <a:pt x="1286880" y="523544"/>
                  </a:lnTo>
                  <a:lnTo>
                    <a:pt x="1287407" y="523809"/>
                  </a:lnTo>
                  <a:lnTo>
                    <a:pt x="1289329" y="523176"/>
                  </a:lnTo>
                  <a:lnTo>
                    <a:pt x="1291470" y="523251"/>
                  </a:lnTo>
                  <a:lnTo>
                    <a:pt x="1295016" y="524425"/>
                  </a:lnTo>
                  <a:lnTo>
                    <a:pt x="1298235" y="525958"/>
                  </a:lnTo>
                  <a:lnTo>
                    <a:pt x="1299401" y="526817"/>
                  </a:lnTo>
                  <a:lnTo>
                    <a:pt x="1299883" y="528087"/>
                  </a:lnTo>
                  <a:lnTo>
                    <a:pt x="1300287" y="528542"/>
                  </a:lnTo>
                  <a:lnTo>
                    <a:pt x="1303435" y="530022"/>
                  </a:lnTo>
                  <a:lnTo>
                    <a:pt x="1303585" y="530802"/>
                  </a:lnTo>
                  <a:lnTo>
                    <a:pt x="1301555" y="533122"/>
                  </a:lnTo>
                  <a:lnTo>
                    <a:pt x="1305736" y="532868"/>
                  </a:lnTo>
                  <a:lnTo>
                    <a:pt x="1308166" y="533697"/>
                  </a:lnTo>
                  <a:lnTo>
                    <a:pt x="1311272" y="537275"/>
                  </a:lnTo>
                  <a:lnTo>
                    <a:pt x="1312328" y="539271"/>
                  </a:lnTo>
                  <a:lnTo>
                    <a:pt x="1312469" y="541823"/>
                  </a:lnTo>
                  <a:lnTo>
                    <a:pt x="1311823" y="542565"/>
                  </a:lnTo>
                  <a:lnTo>
                    <a:pt x="1310589" y="543078"/>
                  </a:lnTo>
                  <a:lnTo>
                    <a:pt x="1302101" y="543913"/>
                  </a:lnTo>
                  <a:lnTo>
                    <a:pt x="1299034" y="546986"/>
                  </a:lnTo>
                  <a:lnTo>
                    <a:pt x="1298401" y="547032"/>
                  </a:lnTo>
                  <a:lnTo>
                    <a:pt x="1296066" y="546198"/>
                  </a:lnTo>
                  <a:lnTo>
                    <a:pt x="1291831" y="543747"/>
                  </a:lnTo>
                  <a:lnTo>
                    <a:pt x="1286551" y="541411"/>
                  </a:lnTo>
                  <a:lnTo>
                    <a:pt x="1274509" y="534482"/>
                  </a:lnTo>
                  <a:lnTo>
                    <a:pt x="1274179" y="534157"/>
                  </a:lnTo>
                  <a:lnTo>
                    <a:pt x="1273983" y="532815"/>
                  </a:lnTo>
                  <a:lnTo>
                    <a:pt x="1273155" y="532130"/>
                  </a:lnTo>
                  <a:lnTo>
                    <a:pt x="1271522" y="531543"/>
                  </a:lnTo>
                  <a:lnTo>
                    <a:pt x="1269254" y="529781"/>
                  </a:lnTo>
                  <a:lnTo>
                    <a:pt x="1266352" y="526847"/>
                  </a:lnTo>
                  <a:lnTo>
                    <a:pt x="1264559" y="524550"/>
                  </a:lnTo>
                  <a:lnTo>
                    <a:pt x="1263874" y="522897"/>
                  </a:lnTo>
                  <a:lnTo>
                    <a:pt x="1262190" y="521005"/>
                  </a:lnTo>
                  <a:lnTo>
                    <a:pt x="1256735" y="517049"/>
                  </a:lnTo>
                  <a:lnTo>
                    <a:pt x="1253884" y="515527"/>
                  </a:lnTo>
                  <a:lnTo>
                    <a:pt x="1251363" y="514669"/>
                  </a:lnTo>
                  <a:lnTo>
                    <a:pt x="1249174" y="514483"/>
                  </a:lnTo>
                  <a:lnTo>
                    <a:pt x="1248583" y="513953"/>
                  </a:lnTo>
                  <a:lnTo>
                    <a:pt x="1249593" y="513085"/>
                  </a:lnTo>
                  <a:lnTo>
                    <a:pt x="1249741" y="512570"/>
                  </a:lnTo>
                  <a:lnTo>
                    <a:pt x="1244913" y="511756"/>
                  </a:lnTo>
                  <a:lnTo>
                    <a:pt x="1240316" y="509897"/>
                  </a:lnTo>
                  <a:lnTo>
                    <a:pt x="1228668" y="504664"/>
                  </a:lnTo>
                  <a:lnTo>
                    <a:pt x="1222652" y="501384"/>
                  </a:lnTo>
                  <a:lnTo>
                    <a:pt x="1219141" y="499814"/>
                  </a:lnTo>
                  <a:lnTo>
                    <a:pt x="1217640" y="498931"/>
                  </a:lnTo>
                  <a:lnTo>
                    <a:pt x="1216980" y="498214"/>
                  </a:lnTo>
                  <a:lnTo>
                    <a:pt x="1217824" y="497463"/>
                  </a:lnTo>
                  <a:lnTo>
                    <a:pt x="1220170" y="496677"/>
                  </a:lnTo>
                  <a:lnTo>
                    <a:pt x="1221764" y="495788"/>
                  </a:lnTo>
                  <a:lnTo>
                    <a:pt x="1224279" y="492459"/>
                  </a:lnTo>
                  <a:lnTo>
                    <a:pt x="1224469" y="491386"/>
                  </a:lnTo>
                  <a:lnTo>
                    <a:pt x="1223119" y="488961"/>
                  </a:lnTo>
                  <a:lnTo>
                    <a:pt x="1222514" y="486752"/>
                  </a:lnTo>
                  <a:lnTo>
                    <a:pt x="1222541" y="485526"/>
                  </a:lnTo>
                  <a:lnTo>
                    <a:pt x="1222848" y="484315"/>
                  </a:lnTo>
                  <a:lnTo>
                    <a:pt x="1223231" y="483516"/>
                  </a:lnTo>
                  <a:lnTo>
                    <a:pt x="1224298" y="482744"/>
                  </a:lnTo>
                  <a:lnTo>
                    <a:pt x="1225045" y="482356"/>
                  </a:lnTo>
                  <a:lnTo>
                    <a:pt x="1225966" y="482619"/>
                  </a:lnTo>
                  <a:lnTo>
                    <a:pt x="1228923" y="485660"/>
                  </a:lnTo>
                  <a:lnTo>
                    <a:pt x="1229339" y="486765"/>
                  </a:lnTo>
                  <a:lnTo>
                    <a:pt x="1229203" y="490915"/>
                  </a:lnTo>
                  <a:lnTo>
                    <a:pt x="1230053" y="495763"/>
                  </a:lnTo>
                  <a:lnTo>
                    <a:pt x="1230319" y="495405"/>
                  </a:lnTo>
                  <a:lnTo>
                    <a:pt x="1230590" y="493805"/>
                  </a:lnTo>
                  <a:lnTo>
                    <a:pt x="1230766" y="490741"/>
                  </a:lnTo>
                  <a:lnTo>
                    <a:pt x="1231099" y="489268"/>
                  </a:lnTo>
                  <a:lnTo>
                    <a:pt x="1231734" y="487832"/>
                  </a:lnTo>
                  <a:lnTo>
                    <a:pt x="1232804" y="487073"/>
                  </a:lnTo>
                  <a:lnTo>
                    <a:pt x="1236134" y="487515"/>
                  </a:lnTo>
                  <a:lnTo>
                    <a:pt x="1237671" y="487257"/>
                  </a:lnTo>
                  <a:lnTo>
                    <a:pt x="1231180" y="485060"/>
                  </a:lnTo>
                  <a:lnTo>
                    <a:pt x="1227099" y="480938"/>
                  </a:lnTo>
                  <a:lnTo>
                    <a:pt x="1226360" y="480508"/>
                  </a:lnTo>
                  <a:lnTo>
                    <a:pt x="1224129" y="480323"/>
                  </a:lnTo>
                  <a:lnTo>
                    <a:pt x="1221764" y="481988"/>
                  </a:lnTo>
                  <a:lnTo>
                    <a:pt x="1215678" y="487420"/>
                  </a:lnTo>
                  <a:lnTo>
                    <a:pt x="1213976" y="488373"/>
                  </a:lnTo>
                  <a:lnTo>
                    <a:pt x="1206328" y="491374"/>
                  </a:lnTo>
                  <a:lnTo>
                    <a:pt x="1201147" y="491979"/>
                  </a:lnTo>
                  <a:lnTo>
                    <a:pt x="1195315" y="491505"/>
                  </a:lnTo>
                  <a:lnTo>
                    <a:pt x="1190347" y="490530"/>
                  </a:lnTo>
                  <a:lnTo>
                    <a:pt x="1177878" y="485782"/>
                  </a:lnTo>
                  <a:lnTo>
                    <a:pt x="1175931" y="484678"/>
                  </a:lnTo>
                  <a:lnTo>
                    <a:pt x="1178830" y="481736"/>
                  </a:lnTo>
                  <a:lnTo>
                    <a:pt x="1178950" y="480817"/>
                  </a:lnTo>
                  <a:lnTo>
                    <a:pt x="1177939" y="477815"/>
                  </a:lnTo>
                  <a:lnTo>
                    <a:pt x="1177108" y="476957"/>
                  </a:lnTo>
                  <a:lnTo>
                    <a:pt x="1175919" y="476484"/>
                  </a:lnTo>
                  <a:lnTo>
                    <a:pt x="1175590" y="476821"/>
                  </a:lnTo>
                  <a:lnTo>
                    <a:pt x="1175577" y="477713"/>
                  </a:lnTo>
                  <a:lnTo>
                    <a:pt x="1175894" y="479362"/>
                  </a:lnTo>
                  <a:lnTo>
                    <a:pt x="1174942" y="480234"/>
                  </a:lnTo>
                  <a:lnTo>
                    <a:pt x="1172822" y="481175"/>
                  </a:lnTo>
                  <a:lnTo>
                    <a:pt x="1169249" y="482122"/>
                  </a:lnTo>
                  <a:lnTo>
                    <a:pt x="1158182" y="479700"/>
                  </a:lnTo>
                  <a:lnTo>
                    <a:pt x="1146843" y="477693"/>
                  </a:lnTo>
                  <a:lnTo>
                    <a:pt x="1136713" y="477275"/>
                  </a:lnTo>
                  <a:lnTo>
                    <a:pt x="1122415" y="478876"/>
                  </a:lnTo>
                  <a:lnTo>
                    <a:pt x="1114789" y="480484"/>
                  </a:lnTo>
                  <a:lnTo>
                    <a:pt x="1110340" y="480640"/>
                  </a:lnTo>
                  <a:lnTo>
                    <a:pt x="1106061" y="480350"/>
                  </a:lnTo>
                  <a:lnTo>
                    <a:pt x="1105711" y="479228"/>
                  </a:lnTo>
                  <a:lnTo>
                    <a:pt x="1107667" y="478570"/>
                  </a:lnTo>
                  <a:lnTo>
                    <a:pt x="1107558" y="477758"/>
                  </a:lnTo>
                  <a:lnTo>
                    <a:pt x="1105084" y="475222"/>
                  </a:lnTo>
                  <a:lnTo>
                    <a:pt x="1101331" y="473682"/>
                  </a:lnTo>
                  <a:lnTo>
                    <a:pt x="1096296" y="473139"/>
                  </a:lnTo>
                  <a:lnTo>
                    <a:pt x="1093415" y="472395"/>
                  </a:lnTo>
                  <a:lnTo>
                    <a:pt x="1092684" y="471454"/>
                  </a:lnTo>
                  <a:lnTo>
                    <a:pt x="1090903" y="470556"/>
                  </a:lnTo>
                  <a:lnTo>
                    <a:pt x="1088071" y="469700"/>
                  </a:lnTo>
                  <a:lnTo>
                    <a:pt x="1086824" y="468164"/>
                  </a:lnTo>
                  <a:lnTo>
                    <a:pt x="1087815" y="463407"/>
                  </a:lnTo>
                  <a:lnTo>
                    <a:pt x="1088785" y="460547"/>
                  </a:lnTo>
                  <a:lnTo>
                    <a:pt x="1089751" y="458585"/>
                  </a:lnTo>
                  <a:lnTo>
                    <a:pt x="1092186" y="455332"/>
                  </a:lnTo>
                  <a:lnTo>
                    <a:pt x="1091337" y="455574"/>
                  </a:lnTo>
                  <a:lnTo>
                    <a:pt x="1087800" y="457959"/>
                  </a:lnTo>
                  <a:lnTo>
                    <a:pt x="1084713" y="460420"/>
                  </a:lnTo>
                  <a:lnTo>
                    <a:pt x="1081857" y="463618"/>
                  </a:lnTo>
                  <a:lnTo>
                    <a:pt x="1080156" y="465088"/>
                  </a:lnTo>
                  <a:lnTo>
                    <a:pt x="1077973" y="466440"/>
                  </a:lnTo>
                  <a:lnTo>
                    <a:pt x="1074567" y="466115"/>
                  </a:lnTo>
                  <a:lnTo>
                    <a:pt x="1069941" y="464115"/>
                  </a:lnTo>
                  <a:lnTo>
                    <a:pt x="1065979" y="463084"/>
                  </a:lnTo>
                  <a:lnTo>
                    <a:pt x="1062680" y="463020"/>
                  </a:lnTo>
                  <a:lnTo>
                    <a:pt x="1061376" y="462676"/>
                  </a:lnTo>
                  <a:lnTo>
                    <a:pt x="1063627" y="460891"/>
                  </a:lnTo>
                  <a:lnTo>
                    <a:pt x="1064924" y="459454"/>
                  </a:lnTo>
                  <a:lnTo>
                    <a:pt x="1066699" y="457147"/>
                  </a:lnTo>
                  <a:lnTo>
                    <a:pt x="1067089" y="456024"/>
                  </a:lnTo>
                  <a:lnTo>
                    <a:pt x="1054995" y="455656"/>
                  </a:lnTo>
                  <a:lnTo>
                    <a:pt x="1054551" y="454440"/>
                  </a:lnTo>
                  <a:lnTo>
                    <a:pt x="1054534" y="453543"/>
                  </a:lnTo>
                  <a:lnTo>
                    <a:pt x="1054145" y="452801"/>
                  </a:lnTo>
                  <a:lnTo>
                    <a:pt x="1052393" y="452250"/>
                  </a:lnTo>
                  <a:lnTo>
                    <a:pt x="1049940" y="452672"/>
                  </a:lnTo>
                  <a:lnTo>
                    <a:pt x="1045965" y="454112"/>
                  </a:lnTo>
                  <a:lnTo>
                    <a:pt x="1044245" y="453018"/>
                  </a:lnTo>
                  <a:lnTo>
                    <a:pt x="1044858" y="452401"/>
                  </a:lnTo>
                  <a:lnTo>
                    <a:pt x="1046156" y="451952"/>
                  </a:lnTo>
                  <a:lnTo>
                    <a:pt x="1048797" y="449866"/>
                  </a:lnTo>
                  <a:lnTo>
                    <a:pt x="1045226" y="448783"/>
                  </a:lnTo>
                  <a:lnTo>
                    <a:pt x="1043400" y="447544"/>
                  </a:lnTo>
                  <a:lnTo>
                    <a:pt x="1042510" y="446524"/>
                  </a:lnTo>
                  <a:lnTo>
                    <a:pt x="1042572" y="442840"/>
                  </a:lnTo>
                  <a:lnTo>
                    <a:pt x="1043513" y="440478"/>
                  </a:lnTo>
                  <a:lnTo>
                    <a:pt x="1051529" y="438184"/>
                  </a:lnTo>
                  <a:lnTo>
                    <a:pt x="1048991" y="437284"/>
                  </a:lnTo>
                  <a:lnTo>
                    <a:pt x="1043932" y="437594"/>
                  </a:lnTo>
                  <a:lnTo>
                    <a:pt x="1040534" y="439547"/>
                  </a:lnTo>
                  <a:lnTo>
                    <a:pt x="1036500" y="442362"/>
                  </a:lnTo>
                  <a:lnTo>
                    <a:pt x="1033792" y="443411"/>
                  </a:lnTo>
                  <a:lnTo>
                    <a:pt x="1032411" y="442698"/>
                  </a:lnTo>
                  <a:lnTo>
                    <a:pt x="1030583" y="442453"/>
                  </a:lnTo>
                  <a:lnTo>
                    <a:pt x="1028311" y="442674"/>
                  </a:lnTo>
                  <a:lnTo>
                    <a:pt x="1026785" y="443392"/>
                  </a:lnTo>
                  <a:lnTo>
                    <a:pt x="1026002" y="444612"/>
                  </a:lnTo>
                  <a:lnTo>
                    <a:pt x="1025095" y="445434"/>
                  </a:lnTo>
                  <a:lnTo>
                    <a:pt x="1024068" y="445859"/>
                  </a:lnTo>
                  <a:lnTo>
                    <a:pt x="1023323" y="445723"/>
                  </a:lnTo>
                  <a:lnTo>
                    <a:pt x="1022231" y="444475"/>
                  </a:lnTo>
                  <a:lnTo>
                    <a:pt x="1019937" y="443701"/>
                  </a:lnTo>
                  <a:lnTo>
                    <a:pt x="1018816" y="442748"/>
                  </a:lnTo>
                  <a:lnTo>
                    <a:pt x="1018171" y="443347"/>
                  </a:lnTo>
                  <a:lnTo>
                    <a:pt x="1017386" y="445144"/>
                  </a:lnTo>
                  <a:lnTo>
                    <a:pt x="1016560" y="446052"/>
                  </a:lnTo>
                  <a:lnTo>
                    <a:pt x="1012685" y="446986"/>
                  </a:lnTo>
                  <a:lnTo>
                    <a:pt x="1010554" y="446811"/>
                  </a:lnTo>
                  <a:lnTo>
                    <a:pt x="1008012" y="444552"/>
                  </a:lnTo>
                  <a:lnTo>
                    <a:pt x="1007645" y="443767"/>
                  </a:lnTo>
                  <a:lnTo>
                    <a:pt x="1008511" y="441814"/>
                  </a:lnTo>
                  <a:lnTo>
                    <a:pt x="1014106" y="434056"/>
                  </a:lnTo>
                  <a:lnTo>
                    <a:pt x="1013548" y="434100"/>
                  </a:lnTo>
                  <a:lnTo>
                    <a:pt x="1011735" y="435322"/>
                  </a:lnTo>
                  <a:lnTo>
                    <a:pt x="1008124" y="438423"/>
                  </a:lnTo>
                  <a:lnTo>
                    <a:pt x="1006515" y="439347"/>
                  </a:lnTo>
                  <a:lnTo>
                    <a:pt x="1003748" y="439463"/>
                  </a:lnTo>
                  <a:lnTo>
                    <a:pt x="1002453" y="439131"/>
                  </a:lnTo>
                  <a:lnTo>
                    <a:pt x="1000889" y="439382"/>
                  </a:lnTo>
                  <a:lnTo>
                    <a:pt x="999056" y="440211"/>
                  </a:lnTo>
                  <a:lnTo>
                    <a:pt x="997858" y="441119"/>
                  </a:lnTo>
                  <a:lnTo>
                    <a:pt x="997298" y="442106"/>
                  </a:lnTo>
                  <a:lnTo>
                    <a:pt x="997679" y="442275"/>
                  </a:lnTo>
                  <a:lnTo>
                    <a:pt x="1000445" y="441147"/>
                  </a:lnTo>
                  <a:lnTo>
                    <a:pt x="1002014" y="440845"/>
                  </a:lnTo>
                  <a:lnTo>
                    <a:pt x="1002453" y="441391"/>
                  </a:lnTo>
                  <a:lnTo>
                    <a:pt x="1000298" y="444884"/>
                  </a:lnTo>
                  <a:lnTo>
                    <a:pt x="998989" y="448215"/>
                  </a:lnTo>
                  <a:lnTo>
                    <a:pt x="997744" y="449053"/>
                  </a:lnTo>
                  <a:lnTo>
                    <a:pt x="995761" y="448913"/>
                  </a:lnTo>
                  <a:lnTo>
                    <a:pt x="993589" y="449242"/>
                  </a:lnTo>
                  <a:lnTo>
                    <a:pt x="993558" y="450171"/>
                  </a:lnTo>
                  <a:lnTo>
                    <a:pt x="997606" y="452830"/>
                  </a:lnTo>
                  <a:lnTo>
                    <a:pt x="999072" y="453205"/>
                  </a:lnTo>
                  <a:lnTo>
                    <a:pt x="1000944" y="454153"/>
                  </a:lnTo>
                  <a:lnTo>
                    <a:pt x="1001228" y="455094"/>
                  </a:lnTo>
                  <a:lnTo>
                    <a:pt x="1000526" y="457634"/>
                  </a:lnTo>
                  <a:lnTo>
                    <a:pt x="999996" y="458634"/>
                  </a:lnTo>
                  <a:lnTo>
                    <a:pt x="999143" y="459154"/>
                  </a:lnTo>
                  <a:lnTo>
                    <a:pt x="995843" y="459068"/>
                  </a:lnTo>
                  <a:lnTo>
                    <a:pt x="994778" y="459331"/>
                  </a:lnTo>
                  <a:lnTo>
                    <a:pt x="992556" y="460924"/>
                  </a:lnTo>
                  <a:lnTo>
                    <a:pt x="991447" y="462244"/>
                  </a:lnTo>
                  <a:lnTo>
                    <a:pt x="991852" y="462360"/>
                  </a:lnTo>
                  <a:lnTo>
                    <a:pt x="993769" y="461270"/>
                  </a:lnTo>
                  <a:lnTo>
                    <a:pt x="996556" y="460686"/>
                  </a:lnTo>
                  <a:lnTo>
                    <a:pt x="1000216" y="460606"/>
                  </a:lnTo>
                  <a:lnTo>
                    <a:pt x="1002944" y="460027"/>
                  </a:lnTo>
                  <a:lnTo>
                    <a:pt x="1004736" y="458950"/>
                  </a:lnTo>
                  <a:lnTo>
                    <a:pt x="1006483" y="459256"/>
                  </a:lnTo>
                  <a:lnTo>
                    <a:pt x="1008184" y="460941"/>
                  </a:lnTo>
                  <a:lnTo>
                    <a:pt x="1008692" y="462421"/>
                  </a:lnTo>
                  <a:lnTo>
                    <a:pt x="1008006" y="463687"/>
                  </a:lnTo>
                  <a:lnTo>
                    <a:pt x="1006604" y="464592"/>
                  </a:lnTo>
                  <a:lnTo>
                    <a:pt x="1004481" y="465132"/>
                  </a:lnTo>
                  <a:lnTo>
                    <a:pt x="1003141" y="465944"/>
                  </a:lnTo>
                  <a:lnTo>
                    <a:pt x="1002583" y="467022"/>
                  </a:lnTo>
                  <a:lnTo>
                    <a:pt x="1002269" y="468625"/>
                  </a:lnTo>
                  <a:lnTo>
                    <a:pt x="1002198" y="470749"/>
                  </a:lnTo>
                  <a:lnTo>
                    <a:pt x="1002736" y="474571"/>
                  </a:lnTo>
                  <a:lnTo>
                    <a:pt x="1002322" y="475087"/>
                  </a:lnTo>
                  <a:lnTo>
                    <a:pt x="1001526" y="475372"/>
                  </a:lnTo>
                  <a:lnTo>
                    <a:pt x="1000344" y="475423"/>
                  </a:lnTo>
                  <a:lnTo>
                    <a:pt x="999279" y="476318"/>
                  </a:lnTo>
                  <a:lnTo>
                    <a:pt x="996789" y="481390"/>
                  </a:lnTo>
                  <a:lnTo>
                    <a:pt x="995913" y="481939"/>
                  </a:lnTo>
                  <a:lnTo>
                    <a:pt x="994867" y="481396"/>
                  </a:lnTo>
                  <a:lnTo>
                    <a:pt x="993940" y="481454"/>
                  </a:lnTo>
                  <a:lnTo>
                    <a:pt x="993132" y="482115"/>
                  </a:lnTo>
                  <a:lnTo>
                    <a:pt x="991358" y="482619"/>
                  </a:lnTo>
                  <a:lnTo>
                    <a:pt x="988622" y="482965"/>
                  </a:lnTo>
                  <a:lnTo>
                    <a:pt x="986279" y="482835"/>
                  </a:lnTo>
                  <a:lnTo>
                    <a:pt x="982159" y="481738"/>
                  </a:lnTo>
                  <a:lnTo>
                    <a:pt x="980478" y="480965"/>
                  </a:lnTo>
                  <a:lnTo>
                    <a:pt x="979165" y="479698"/>
                  </a:lnTo>
                  <a:lnTo>
                    <a:pt x="975465" y="481041"/>
                  </a:lnTo>
                  <a:lnTo>
                    <a:pt x="974488" y="480453"/>
                  </a:lnTo>
                  <a:lnTo>
                    <a:pt x="972183" y="476939"/>
                  </a:lnTo>
                  <a:lnTo>
                    <a:pt x="971684" y="477150"/>
                  </a:lnTo>
                  <a:lnTo>
                    <a:pt x="971240" y="480935"/>
                  </a:lnTo>
                  <a:lnTo>
                    <a:pt x="970539" y="482261"/>
                  </a:lnTo>
                  <a:lnTo>
                    <a:pt x="968257" y="485000"/>
                  </a:lnTo>
                  <a:lnTo>
                    <a:pt x="967010" y="489710"/>
                  </a:lnTo>
                  <a:lnTo>
                    <a:pt x="966631" y="489848"/>
                  </a:lnTo>
                  <a:lnTo>
                    <a:pt x="966205" y="489170"/>
                  </a:lnTo>
                  <a:lnTo>
                    <a:pt x="964800" y="484963"/>
                  </a:lnTo>
                  <a:lnTo>
                    <a:pt x="964055" y="484039"/>
                  </a:lnTo>
                  <a:lnTo>
                    <a:pt x="961992" y="486467"/>
                  </a:lnTo>
                  <a:lnTo>
                    <a:pt x="961765" y="487344"/>
                  </a:lnTo>
                  <a:lnTo>
                    <a:pt x="962305" y="490474"/>
                  </a:lnTo>
                  <a:lnTo>
                    <a:pt x="961826" y="490946"/>
                  </a:lnTo>
                  <a:lnTo>
                    <a:pt x="957649" y="489261"/>
                  </a:lnTo>
                  <a:lnTo>
                    <a:pt x="956621" y="489180"/>
                  </a:lnTo>
                  <a:lnTo>
                    <a:pt x="956348" y="489464"/>
                  </a:lnTo>
                  <a:lnTo>
                    <a:pt x="957772" y="491890"/>
                  </a:lnTo>
                  <a:lnTo>
                    <a:pt x="957611" y="492764"/>
                  </a:lnTo>
                  <a:lnTo>
                    <a:pt x="951704" y="497445"/>
                  </a:lnTo>
                  <a:lnTo>
                    <a:pt x="950163" y="497279"/>
                  </a:lnTo>
                  <a:lnTo>
                    <a:pt x="949193" y="496812"/>
                  </a:lnTo>
                  <a:lnTo>
                    <a:pt x="948131" y="496883"/>
                  </a:lnTo>
                  <a:lnTo>
                    <a:pt x="944375" y="498628"/>
                  </a:lnTo>
                  <a:lnTo>
                    <a:pt x="943339" y="498552"/>
                  </a:lnTo>
                  <a:lnTo>
                    <a:pt x="941921" y="497518"/>
                  </a:lnTo>
                  <a:lnTo>
                    <a:pt x="941262" y="497564"/>
                  </a:lnTo>
                  <a:lnTo>
                    <a:pt x="940911" y="498637"/>
                  </a:lnTo>
                  <a:lnTo>
                    <a:pt x="940866" y="500733"/>
                  </a:lnTo>
                  <a:lnTo>
                    <a:pt x="939476" y="502725"/>
                  </a:lnTo>
                  <a:lnTo>
                    <a:pt x="935002" y="505940"/>
                  </a:lnTo>
                  <a:lnTo>
                    <a:pt x="933815" y="507417"/>
                  </a:lnTo>
                  <a:lnTo>
                    <a:pt x="932916" y="509437"/>
                  </a:lnTo>
                  <a:lnTo>
                    <a:pt x="932247" y="509629"/>
                  </a:lnTo>
                  <a:lnTo>
                    <a:pt x="929625" y="508331"/>
                  </a:lnTo>
                  <a:lnTo>
                    <a:pt x="926584" y="507489"/>
                  </a:lnTo>
                  <a:lnTo>
                    <a:pt x="926165" y="507908"/>
                  </a:lnTo>
                  <a:lnTo>
                    <a:pt x="927087" y="509142"/>
                  </a:lnTo>
                  <a:lnTo>
                    <a:pt x="926892" y="509897"/>
                  </a:lnTo>
                  <a:lnTo>
                    <a:pt x="925577" y="510179"/>
                  </a:lnTo>
                  <a:lnTo>
                    <a:pt x="923912" y="510070"/>
                  </a:lnTo>
                  <a:lnTo>
                    <a:pt x="921900" y="509570"/>
                  </a:lnTo>
                  <a:lnTo>
                    <a:pt x="919079" y="510136"/>
                  </a:lnTo>
                  <a:lnTo>
                    <a:pt x="915446" y="511765"/>
                  </a:lnTo>
                  <a:lnTo>
                    <a:pt x="912415" y="511719"/>
                  </a:lnTo>
                  <a:lnTo>
                    <a:pt x="908189" y="509035"/>
                  </a:lnTo>
                  <a:lnTo>
                    <a:pt x="907025" y="508834"/>
                  </a:lnTo>
                  <a:lnTo>
                    <a:pt x="906653" y="508080"/>
                  </a:lnTo>
                  <a:lnTo>
                    <a:pt x="907479" y="505907"/>
                  </a:lnTo>
                  <a:lnTo>
                    <a:pt x="908680" y="504261"/>
                  </a:lnTo>
                  <a:lnTo>
                    <a:pt x="909565" y="503503"/>
                  </a:lnTo>
                  <a:lnTo>
                    <a:pt x="913579" y="501393"/>
                  </a:lnTo>
                  <a:lnTo>
                    <a:pt x="918168" y="500617"/>
                  </a:lnTo>
                  <a:lnTo>
                    <a:pt x="921053" y="499347"/>
                  </a:lnTo>
                  <a:lnTo>
                    <a:pt x="924560" y="496723"/>
                  </a:lnTo>
                  <a:lnTo>
                    <a:pt x="926415" y="494749"/>
                  </a:lnTo>
                  <a:lnTo>
                    <a:pt x="930061" y="489659"/>
                  </a:lnTo>
                  <a:lnTo>
                    <a:pt x="929784" y="489265"/>
                  </a:lnTo>
                  <a:lnTo>
                    <a:pt x="928964" y="488991"/>
                  </a:lnTo>
                  <a:lnTo>
                    <a:pt x="920949" y="493817"/>
                  </a:lnTo>
                  <a:lnTo>
                    <a:pt x="919765" y="494268"/>
                  </a:lnTo>
                  <a:lnTo>
                    <a:pt x="918170" y="494233"/>
                  </a:lnTo>
                  <a:lnTo>
                    <a:pt x="911761" y="492385"/>
                  </a:lnTo>
                  <a:lnTo>
                    <a:pt x="910407" y="491591"/>
                  </a:lnTo>
                  <a:lnTo>
                    <a:pt x="909481" y="489268"/>
                  </a:lnTo>
                  <a:lnTo>
                    <a:pt x="911261" y="483979"/>
                  </a:lnTo>
                  <a:lnTo>
                    <a:pt x="912508" y="481420"/>
                  </a:lnTo>
                  <a:lnTo>
                    <a:pt x="915638" y="477463"/>
                  </a:lnTo>
                  <a:lnTo>
                    <a:pt x="919729" y="473237"/>
                  </a:lnTo>
                  <a:lnTo>
                    <a:pt x="921144" y="470489"/>
                  </a:lnTo>
                  <a:lnTo>
                    <a:pt x="923270" y="463126"/>
                  </a:lnTo>
                  <a:lnTo>
                    <a:pt x="923146" y="459780"/>
                  </a:lnTo>
                  <a:lnTo>
                    <a:pt x="922190" y="455688"/>
                  </a:lnTo>
                  <a:lnTo>
                    <a:pt x="922154" y="453257"/>
                  </a:lnTo>
                  <a:lnTo>
                    <a:pt x="923038" y="452487"/>
                  </a:lnTo>
                  <a:lnTo>
                    <a:pt x="932426" y="448693"/>
                  </a:lnTo>
                  <a:lnTo>
                    <a:pt x="936871" y="445848"/>
                  </a:lnTo>
                  <a:lnTo>
                    <a:pt x="945500" y="441637"/>
                  </a:lnTo>
                  <a:lnTo>
                    <a:pt x="947851" y="441673"/>
                  </a:lnTo>
                  <a:lnTo>
                    <a:pt x="949576" y="443125"/>
                  </a:lnTo>
                  <a:lnTo>
                    <a:pt x="951583" y="444285"/>
                  </a:lnTo>
                  <a:lnTo>
                    <a:pt x="953873" y="445151"/>
                  </a:lnTo>
                  <a:lnTo>
                    <a:pt x="956819" y="445061"/>
                  </a:lnTo>
                  <a:lnTo>
                    <a:pt x="960424" y="444012"/>
                  </a:lnTo>
                  <a:lnTo>
                    <a:pt x="966132" y="444409"/>
                  </a:lnTo>
                  <a:lnTo>
                    <a:pt x="977858" y="447177"/>
                  </a:lnTo>
                  <a:lnTo>
                    <a:pt x="980351" y="447333"/>
                  </a:lnTo>
                  <a:lnTo>
                    <a:pt x="980447" y="446980"/>
                  </a:lnTo>
                  <a:lnTo>
                    <a:pt x="978638" y="445040"/>
                  </a:lnTo>
                  <a:lnTo>
                    <a:pt x="970554" y="443915"/>
                  </a:lnTo>
                  <a:lnTo>
                    <a:pt x="967152" y="442790"/>
                  </a:lnTo>
                  <a:lnTo>
                    <a:pt x="957580" y="437833"/>
                  </a:lnTo>
                  <a:lnTo>
                    <a:pt x="955397" y="435916"/>
                  </a:lnTo>
                  <a:lnTo>
                    <a:pt x="956283" y="435016"/>
                  </a:lnTo>
                  <a:lnTo>
                    <a:pt x="958625" y="434276"/>
                  </a:lnTo>
                  <a:lnTo>
                    <a:pt x="959427" y="433559"/>
                  </a:lnTo>
                  <a:lnTo>
                    <a:pt x="959766" y="432315"/>
                  </a:lnTo>
                  <a:lnTo>
                    <a:pt x="961113" y="430611"/>
                  </a:lnTo>
                  <a:lnTo>
                    <a:pt x="963468" y="428438"/>
                  </a:lnTo>
                  <a:lnTo>
                    <a:pt x="967063" y="426335"/>
                  </a:lnTo>
                  <a:lnTo>
                    <a:pt x="973872" y="423212"/>
                  </a:lnTo>
                  <a:lnTo>
                    <a:pt x="971207" y="423078"/>
                  </a:lnTo>
                  <a:lnTo>
                    <a:pt x="966311" y="423653"/>
                  </a:lnTo>
                  <a:lnTo>
                    <a:pt x="964531" y="424252"/>
                  </a:lnTo>
                  <a:lnTo>
                    <a:pt x="961253" y="426488"/>
                  </a:lnTo>
                  <a:lnTo>
                    <a:pt x="959978" y="428062"/>
                  </a:lnTo>
                  <a:lnTo>
                    <a:pt x="958154" y="431128"/>
                  </a:lnTo>
                  <a:lnTo>
                    <a:pt x="957377" y="431708"/>
                  </a:lnTo>
                  <a:lnTo>
                    <a:pt x="953977" y="432152"/>
                  </a:lnTo>
                  <a:lnTo>
                    <a:pt x="944722" y="432462"/>
                  </a:lnTo>
                  <a:lnTo>
                    <a:pt x="943154" y="430895"/>
                  </a:lnTo>
                  <a:lnTo>
                    <a:pt x="942287" y="430640"/>
                  </a:lnTo>
                  <a:lnTo>
                    <a:pt x="941138" y="430861"/>
                  </a:lnTo>
                  <a:lnTo>
                    <a:pt x="932637" y="434862"/>
                  </a:lnTo>
                  <a:lnTo>
                    <a:pt x="929588" y="436901"/>
                  </a:lnTo>
                  <a:lnTo>
                    <a:pt x="927416" y="439225"/>
                  </a:lnTo>
                  <a:lnTo>
                    <a:pt x="924055" y="440926"/>
                  </a:lnTo>
                  <a:lnTo>
                    <a:pt x="919508" y="442004"/>
                  </a:lnTo>
                  <a:lnTo>
                    <a:pt x="916107" y="443340"/>
                  </a:lnTo>
                  <a:lnTo>
                    <a:pt x="912523" y="446005"/>
                  </a:lnTo>
                  <a:lnTo>
                    <a:pt x="911306" y="448045"/>
                  </a:lnTo>
                  <a:lnTo>
                    <a:pt x="911236" y="449004"/>
                  </a:lnTo>
                  <a:lnTo>
                    <a:pt x="912101" y="452026"/>
                  </a:lnTo>
                  <a:lnTo>
                    <a:pt x="911219" y="452590"/>
                  </a:lnTo>
                  <a:lnTo>
                    <a:pt x="909150" y="452828"/>
                  </a:lnTo>
                  <a:lnTo>
                    <a:pt x="905832" y="454827"/>
                  </a:lnTo>
                  <a:lnTo>
                    <a:pt x="898830" y="460758"/>
                  </a:lnTo>
                  <a:lnTo>
                    <a:pt x="897915" y="462906"/>
                  </a:lnTo>
                  <a:lnTo>
                    <a:pt x="897954" y="463642"/>
                  </a:lnTo>
                  <a:lnTo>
                    <a:pt x="899096" y="465316"/>
                  </a:lnTo>
                  <a:lnTo>
                    <a:pt x="898301" y="466403"/>
                  </a:lnTo>
                  <a:lnTo>
                    <a:pt x="896327" y="468119"/>
                  </a:lnTo>
                  <a:lnTo>
                    <a:pt x="891937" y="470835"/>
                  </a:lnTo>
                  <a:lnTo>
                    <a:pt x="889054" y="471868"/>
                  </a:lnTo>
                  <a:lnTo>
                    <a:pt x="887183" y="471921"/>
                  </a:lnTo>
                  <a:lnTo>
                    <a:pt x="885382" y="471533"/>
                  </a:lnTo>
                  <a:lnTo>
                    <a:pt x="882181" y="469784"/>
                  </a:lnTo>
                  <a:lnTo>
                    <a:pt x="879588" y="469678"/>
                  </a:lnTo>
                  <a:lnTo>
                    <a:pt x="879429" y="469923"/>
                  </a:lnTo>
                  <a:lnTo>
                    <a:pt x="882958" y="471794"/>
                  </a:lnTo>
                  <a:lnTo>
                    <a:pt x="886543" y="474200"/>
                  </a:lnTo>
                  <a:lnTo>
                    <a:pt x="888778" y="476194"/>
                  </a:lnTo>
                  <a:lnTo>
                    <a:pt x="889662" y="477778"/>
                  </a:lnTo>
                  <a:lnTo>
                    <a:pt x="889701" y="479407"/>
                  </a:lnTo>
                  <a:lnTo>
                    <a:pt x="888897" y="481081"/>
                  </a:lnTo>
                  <a:lnTo>
                    <a:pt x="886363" y="483988"/>
                  </a:lnTo>
                  <a:lnTo>
                    <a:pt x="883877" y="484857"/>
                  </a:lnTo>
                  <a:lnTo>
                    <a:pt x="877521" y="485733"/>
                  </a:lnTo>
                  <a:lnTo>
                    <a:pt x="875472" y="486424"/>
                  </a:lnTo>
                  <a:lnTo>
                    <a:pt x="874837" y="486964"/>
                  </a:lnTo>
                  <a:lnTo>
                    <a:pt x="879204" y="488189"/>
                  </a:lnTo>
                  <a:lnTo>
                    <a:pt x="879599" y="488816"/>
                  </a:lnTo>
                  <a:lnTo>
                    <a:pt x="878998" y="491245"/>
                  </a:lnTo>
                  <a:lnTo>
                    <a:pt x="877839" y="492039"/>
                  </a:lnTo>
                  <a:lnTo>
                    <a:pt x="874202" y="493488"/>
                  </a:lnTo>
                  <a:lnTo>
                    <a:pt x="870941" y="493908"/>
                  </a:lnTo>
                  <a:lnTo>
                    <a:pt x="870443" y="493631"/>
                  </a:lnTo>
                  <a:lnTo>
                    <a:pt x="871053" y="491722"/>
                  </a:lnTo>
                  <a:lnTo>
                    <a:pt x="870879" y="491252"/>
                  </a:lnTo>
                  <a:lnTo>
                    <a:pt x="869655" y="490862"/>
                  </a:lnTo>
                  <a:lnTo>
                    <a:pt x="867915" y="491590"/>
                  </a:lnTo>
                  <a:lnTo>
                    <a:pt x="863580" y="494395"/>
                  </a:lnTo>
                  <a:lnTo>
                    <a:pt x="863116" y="494858"/>
                  </a:lnTo>
                  <a:lnTo>
                    <a:pt x="864682" y="495608"/>
                  </a:lnTo>
                  <a:lnTo>
                    <a:pt x="864352" y="496234"/>
                  </a:lnTo>
                  <a:lnTo>
                    <a:pt x="862003" y="498251"/>
                  </a:lnTo>
                  <a:lnTo>
                    <a:pt x="861027" y="499591"/>
                  </a:lnTo>
                  <a:lnTo>
                    <a:pt x="859457" y="500958"/>
                  </a:lnTo>
                  <a:lnTo>
                    <a:pt x="852464" y="505130"/>
                  </a:lnTo>
                  <a:lnTo>
                    <a:pt x="852995" y="506145"/>
                  </a:lnTo>
                  <a:lnTo>
                    <a:pt x="851175" y="509775"/>
                  </a:lnTo>
                  <a:lnTo>
                    <a:pt x="850168" y="512960"/>
                  </a:lnTo>
                  <a:lnTo>
                    <a:pt x="851404" y="514303"/>
                  </a:lnTo>
                  <a:lnTo>
                    <a:pt x="857279" y="515877"/>
                  </a:lnTo>
                  <a:lnTo>
                    <a:pt x="860126" y="516256"/>
                  </a:lnTo>
                  <a:lnTo>
                    <a:pt x="863482" y="517356"/>
                  </a:lnTo>
                  <a:lnTo>
                    <a:pt x="869556" y="520310"/>
                  </a:lnTo>
                  <a:lnTo>
                    <a:pt x="871580" y="522239"/>
                  </a:lnTo>
                  <a:lnTo>
                    <a:pt x="871883" y="523146"/>
                  </a:lnTo>
                  <a:lnTo>
                    <a:pt x="871695" y="524139"/>
                  </a:lnTo>
                  <a:lnTo>
                    <a:pt x="870968" y="525473"/>
                  </a:lnTo>
                  <a:lnTo>
                    <a:pt x="869064" y="527996"/>
                  </a:lnTo>
                  <a:lnTo>
                    <a:pt x="864478" y="531737"/>
                  </a:lnTo>
                  <a:lnTo>
                    <a:pt x="862406" y="532797"/>
                  </a:lnTo>
                  <a:lnTo>
                    <a:pt x="859270" y="533628"/>
                  </a:lnTo>
                  <a:lnTo>
                    <a:pt x="858238" y="534235"/>
                  </a:lnTo>
                  <a:lnTo>
                    <a:pt x="854210" y="537772"/>
                  </a:lnTo>
                  <a:lnTo>
                    <a:pt x="853124" y="539680"/>
                  </a:lnTo>
                  <a:lnTo>
                    <a:pt x="853295" y="541339"/>
                  </a:lnTo>
                  <a:lnTo>
                    <a:pt x="852526" y="542505"/>
                  </a:lnTo>
                  <a:lnTo>
                    <a:pt x="847344" y="544791"/>
                  </a:lnTo>
                  <a:lnTo>
                    <a:pt x="847528" y="545196"/>
                  </a:lnTo>
                  <a:lnTo>
                    <a:pt x="849409" y="545370"/>
                  </a:lnTo>
                  <a:lnTo>
                    <a:pt x="848718" y="547379"/>
                  </a:lnTo>
                  <a:lnTo>
                    <a:pt x="848415" y="550170"/>
                  </a:lnTo>
                  <a:lnTo>
                    <a:pt x="847515" y="550639"/>
                  </a:lnTo>
                  <a:lnTo>
                    <a:pt x="844277" y="550619"/>
                  </a:lnTo>
                  <a:lnTo>
                    <a:pt x="840161" y="551702"/>
                  </a:lnTo>
                  <a:lnTo>
                    <a:pt x="839871" y="552010"/>
                  </a:lnTo>
                  <a:lnTo>
                    <a:pt x="839795" y="554014"/>
                  </a:lnTo>
                  <a:lnTo>
                    <a:pt x="829032" y="555479"/>
                  </a:lnTo>
                  <a:lnTo>
                    <a:pt x="826674" y="559279"/>
                  </a:lnTo>
                  <a:lnTo>
                    <a:pt x="825447" y="560441"/>
                  </a:lnTo>
                  <a:lnTo>
                    <a:pt x="821228" y="563199"/>
                  </a:lnTo>
                  <a:lnTo>
                    <a:pt x="818646" y="564307"/>
                  </a:lnTo>
                  <a:lnTo>
                    <a:pt x="815695" y="564977"/>
                  </a:lnTo>
                  <a:lnTo>
                    <a:pt x="814150" y="565910"/>
                  </a:lnTo>
                  <a:lnTo>
                    <a:pt x="814006" y="567107"/>
                  </a:lnTo>
                  <a:lnTo>
                    <a:pt x="813168" y="568139"/>
                  </a:lnTo>
                  <a:lnTo>
                    <a:pt x="810611" y="569849"/>
                  </a:lnTo>
                  <a:lnTo>
                    <a:pt x="809360" y="571997"/>
                  </a:lnTo>
                  <a:lnTo>
                    <a:pt x="808450" y="572334"/>
                  </a:lnTo>
                  <a:lnTo>
                    <a:pt x="803691" y="572851"/>
                  </a:lnTo>
                  <a:lnTo>
                    <a:pt x="802744" y="573529"/>
                  </a:lnTo>
                  <a:lnTo>
                    <a:pt x="802284" y="576428"/>
                  </a:lnTo>
                  <a:lnTo>
                    <a:pt x="801403" y="576519"/>
                  </a:lnTo>
                  <a:lnTo>
                    <a:pt x="799717" y="575845"/>
                  </a:lnTo>
                  <a:lnTo>
                    <a:pt x="797518" y="576367"/>
                  </a:lnTo>
                  <a:lnTo>
                    <a:pt x="792578" y="579640"/>
                  </a:lnTo>
                  <a:lnTo>
                    <a:pt x="791493" y="580815"/>
                  </a:lnTo>
                  <a:lnTo>
                    <a:pt x="791613" y="581446"/>
                  </a:lnTo>
                  <a:lnTo>
                    <a:pt x="792382" y="582069"/>
                  </a:lnTo>
                  <a:lnTo>
                    <a:pt x="793553" y="584011"/>
                  </a:lnTo>
                  <a:lnTo>
                    <a:pt x="793480" y="585319"/>
                  </a:lnTo>
                  <a:lnTo>
                    <a:pt x="791575" y="588960"/>
                  </a:lnTo>
                  <a:lnTo>
                    <a:pt x="790908" y="589522"/>
                  </a:lnTo>
                  <a:lnTo>
                    <a:pt x="788593" y="590424"/>
                  </a:lnTo>
                  <a:lnTo>
                    <a:pt x="787650" y="592435"/>
                  </a:lnTo>
                  <a:lnTo>
                    <a:pt x="785517" y="592212"/>
                  </a:lnTo>
                  <a:lnTo>
                    <a:pt x="783802" y="592593"/>
                  </a:lnTo>
                  <a:lnTo>
                    <a:pt x="782679" y="593934"/>
                  </a:lnTo>
                  <a:lnTo>
                    <a:pt x="781459" y="594706"/>
                  </a:lnTo>
                  <a:lnTo>
                    <a:pt x="780140" y="594909"/>
                  </a:lnTo>
                  <a:lnTo>
                    <a:pt x="778482" y="595970"/>
                  </a:lnTo>
                  <a:lnTo>
                    <a:pt x="776485" y="597890"/>
                  </a:lnTo>
                  <a:lnTo>
                    <a:pt x="774637" y="599114"/>
                  </a:lnTo>
                  <a:lnTo>
                    <a:pt x="772938" y="599641"/>
                  </a:lnTo>
                  <a:lnTo>
                    <a:pt x="771285" y="599771"/>
                  </a:lnTo>
                  <a:lnTo>
                    <a:pt x="769676" y="599502"/>
                  </a:lnTo>
                  <a:lnTo>
                    <a:pt x="768231" y="599723"/>
                  </a:lnTo>
                  <a:lnTo>
                    <a:pt x="766947" y="600431"/>
                  </a:lnTo>
                  <a:lnTo>
                    <a:pt x="765695" y="601542"/>
                  </a:lnTo>
                  <a:lnTo>
                    <a:pt x="764698" y="604685"/>
                  </a:lnTo>
                  <a:lnTo>
                    <a:pt x="763433" y="606091"/>
                  </a:lnTo>
                  <a:lnTo>
                    <a:pt x="762631" y="606336"/>
                  </a:lnTo>
                  <a:lnTo>
                    <a:pt x="760996" y="606128"/>
                  </a:lnTo>
                  <a:lnTo>
                    <a:pt x="758526" y="605467"/>
                  </a:lnTo>
                  <a:lnTo>
                    <a:pt x="756016" y="605701"/>
                  </a:lnTo>
                  <a:lnTo>
                    <a:pt x="751966" y="607625"/>
                  </a:lnTo>
                  <a:lnTo>
                    <a:pt x="750679" y="609079"/>
                  </a:lnTo>
                  <a:lnTo>
                    <a:pt x="753231" y="609401"/>
                  </a:lnTo>
                  <a:lnTo>
                    <a:pt x="754496" y="609816"/>
                  </a:lnTo>
                  <a:lnTo>
                    <a:pt x="754463" y="610223"/>
                  </a:lnTo>
                  <a:lnTo>
                    <a:pt x="753132" y="610617"/>
                  </a:lnTo>
                  <a:lnTo>
                    <a:pt x="750867" y="610589"/>
                  </a:lnTo>
                  <a:lnTo>
                    <a:pt x="749505" y="610927"/>
                  </a:lnTo>
                  <a:lnTo>
                    <a:pt x="747845" y="611754"/>
                  </a:lnTo>
                  <a:lnTo>
                    <a:pt x="743685" y="612646"/>
                  </a:lnTo>
                  <a:lnTo>
                    <a:pt x="742105" y="613285"/>
                  </a:lnTo>
                  <a:lnTo>
                    <a:pt x="738967" y="616914"/>
                  </a:lnTo>
                  <a:lnTo>
                    <a:pt x="738591" y="617736"/>
                  </a:lnTo>
                  <a:lnTo>
                    <a:pt x="738993" y="617917"/>
                  </a:lnTo>
                  <a:lnTo>
                    <a:pt x="740755" y="617535"/>
                  </a:lnTo>
                  <a:lnTo>
                    <a:pt x="742825" y="618137"/>
                  </a:lnTo>
                  <a:lnTo>
                    <a:pt x="743901" y="618905"/>
                  </a:lnTo>
                  <a:lnTo>
                    <a:pt x="744590" y="619850"/>
                  </a:lnTo>
                  <a:lnTo>
                    <a:pt x="745243" y="621670"/>
                  </a:lnTo>
                  <a:lnTo>
                    <a:pt x="745645" y="621937"/>
                  </a:lnTo>
                  <a:lnTo>
                    <a:pt x="741660" y="624992"/>
                  </a:lnTo>
                  <a:lnTo>
                    <a:pt x="740530" y="626287"/>
                  </a:lnTo>
                  <a:lnTo>
                    <a:pt x="739802" y="626768"/>
                  </a:lnTo>
                  <a:lnTo>
                    <a:pt x="739325" y="626395"/>
                  </a:lnTo>
                  <a:lnTo>
                    <a:pt x="738833" y="622997"/>
                  </a:lnTo>
                  <a:lnTo>
                    <a:pt x="738534" y="622420"/>
                  </a:lnTo>
                  <a:lnTo>
                    <a:pt x="737596" y="622360"/>
                  </a:lnTo>
                  <a:lnTo>
                    <a:pt x="736689" y="623435"/>
                  </a:lnTo>
                  <a:lnTo>
                    <a:pt x="734695" y="627453"/>
                  </a:lnTo>
                  <a:lnTo>
                    <a:pt x="732528" y="629472"/>
                  </a:lnTo>
                  <a:lnTo>
                    <a:pt x="716212" y="634650"/>
                  </a:lnTo>
                  <a:lnTo>
                    <a:pt x="713819" y="635823"/>
                  </a:lnTo>
                  <a:lnTo>
                    <a:pt x="713358" y="638029"/>
                  </a:lnTo>
                  <a:lnTo>
                    <a:pt x="712686" y="639936"/>
                  </a:lnTo>
                  <a:lnTo>
                    <a:pt x="711604" y="641455"/>
                  </a:lnTo>
                  <a:lnTo>
                    <a:pt x="710339" y="642416"/>
                  </a:lnTo>
                  <a:lnTo>
                    <a:pt x="710067" y="641734"/>
                  </a:lnTo>
                  <a:lnTo>
                    <a:pt x="710195" y="636366"/>
                  </a:lnTo>
                  <a:lnTo>
                    <a:pt x="709858" y="635298"/>
                  </a:lnTo>
                  <a:lnTo>
                    <a:pt x="708212" y="634613"/>
                  </a:lnTo>
                  <a:lnTo>
                    <a:pt x="707488" y="634707"/>
                  </a:lnTo>
                  <a:lnTo>
                    <a:pt x="706494" y="635009"/>
                  </a:lnTo>
                  <a:lnTo>
                    <a:pt x="704861" y="636171"/>
                  </a:lnTo>
                  <a:lnTo>
                    <a:pt x="703862" y="636462"/>
                  </a:lnTo>
                  <a:lnTo>
                    <a:pt x="702618" y="636366"/>
                  </a:lnTo>
                  <a:lnTo>
                    <a:pt x="700493" y="637511"/>
                  </a:lnTo>
                  <a:lnTo>
                    <a:pt x="695437" y="641177"/>
                  </a:lnTo>
                  <a:lnTo>
                    <a:pt x="692136" y="642088"/>
                  </a:lnTo>
                  <a:lnTo>
                    <a:pt x="691263" y="642849"/>
                  </a:lnTo>
                  <a:lnTo>
                    <a:pt x="689853" y="644850"/>
                  </a:lnTo>
                  <a:lnTo>
                    <a:pt x="688920" y="645583"/>
                  </a:lnTo>
                  <a:lnTo>
                    <a:pt x="687537" y="645648"/>
                  </a:lnTo>
                  <a:lnTo>
                    <a:pt x="685707" y="645045"/>
                  </a:lnTo>
                  <a:lnTo>
                    <a:pt x="684236" y="645472"/>
                  </a:lnTo>
                  <a:lnTo>
                    <a:pt x="683123" y="646928"/>
                  </a:lnTo>
                  <a:lnTo>
                    <a:pt x="681992" y="647503"/>
                  </a:lnTo>
                  <a:lnTo>
                    <a:pt x="678782" y="646430"/>
                  </a:lnTo>
                  <a:lnTo>
                    <a:pt x="677365" y="647163"/>
                  </a:lnTo>
                  <a:lnTo>
                    <a:pt x="675529" y="649042"/>
                  </a:lnTo>
                  <a:lnTo>
                    <a:pt x="673609" y="650280"/>
                  </a:lnTo>
                  <a:lnTo>
                    <a:pt x="671606" y="650881"/>
                  </a:lnTo>
                  <a:lnTo>
                    <a:pt x="666403" y="651507"/>
                  </a:lnTo>
                  <a:lnTo>
                    <a:pt x="664314" y="651107"/>
                  </a:lnTo>
                  <a:lnTo>
                    <a:pt x="663889" y="650563"/>
                  </a:lnTo>
                  <a:lnTo>
                    <a:pt x="663986" y="648168"/>
                  </a:lnTo>
                  <a:lnTo>
                    <a:pt x="664826" y="646442"/>
                  </a:lnTo>
                  <a:lnTo>
                    <a:pt x="665603" y="645626"/>
                  </a:lnTo>
                  <a:lnTo>
                    <a:pt x="666639" y="644905"/>
                  </a:lnTo>
                  <a:lnTo>
                    <a:pt x="668155" y="644822"/>
                  </a:lnTo>
                  <a:lnTo>
                    <a:pt x="670991" y="645360"/>
                  </a:lnTo>
                  <a:lnTo>
                    <a:pt x="670670" y="644781"/>
                  </a:lnTo>
                  <a:lnTo>
                    <a:pt x="669639" y="644094"/>
                  </a:lnTo>
                  <a:lnTo>
                    <a:pt x="667028" y="642907"/>
                  </a:lnTo>
                  <a:lnTo>
                    <a:pt x="664442" y="642301"/>
                  </a:lnTo>
                  <a:lnTo>
                    <a:pt x="662960" y="642685"/>
                  </a:lnTo>
                  <a:lnTo>
                    <a:pt x="660872" y="643599"/>
                  </a:lnTo>
                  <a:lnTo>
                    <a:pt x="659455" y="644652"/>
                  </a:lnTo>
                  <a:lnTo>
                    <a:pt x="658710" y="645847"/>
                  </a:lnTo>
                  <a:lnTo>
                    <a:pt x="657769" y="649746"/>
                  </a:lnTo>
                  <a:lnTo>
                    <a:pt x="657230" y="650799"/>
                  </a:lnTo>
                  <a:lnTo>
                    <a:pt x="651138" y="657654"/>
                  </a:lnTo>
                  <a:lnTo>
                    <a:pt x="648749" y="659763"/>
                  </a:lnTo>
                  <a:lnTo>
                    <a:pt x="646387" y="659605"/>
                  </a:lnTo>
                  <a:lnTo>
                    <a:pt x="645242" y="660401"/>
                  </a:lnTo>
                  <a:lnTo>
                    <a:pt x="643630" y="662108"/>
                  </a:lnTo>
                  <a:lnTo>
                    <a:pt x="642144" y="662925"/>
                  </a:lnTo>
                  <a:lnTo>
                    <a:pt x="640780" y="662850"/>
                  </a:lnTo>
                  <a:lnTo>
                    <a:pt x="639721" y="662527"/>
                  </a:lnTo>
                  <a:lnTo>
                    <a:pt x="638966" y="661951"/>
                  </a:lnTo>
                  <a:lnTo>
                    <a:pt x="639097" y="661414"/>
                  </a:lnTo>
                  <a:lnTo>
                    <a:pt x="640113" y="660914"/>
                  </a:lnTo>
                  <a:lnTo>
                    <a:pt x="639750" y="659546"/>
                  </a:lnTo>
                  <a:lnTo>
                    <a:pt x="638002" y="657305"/>
                  </a:lnTo>
                  <a:lnTo>
                    <a:pt x="636812" y="656085"/>
                  </a:lnTo>
                  <a:lnTo>
                    <a:pt x="634555" y="655945"/>
                  </a:lnTo>
                  <a:lnTo>
                    <a:pt x="634204" y="656964"/>
                  </a:lnTo>
                  <a:lnTo>
                    <a:pt x="634966" y="662172"/>
                  </a:lnTo>
                  <a:lnTo>
                    <a:pt x="634848" y="663345"/>
                  </a:lnTo>
                  <a:lnTo>
                    <a:pt x="633434" y="664829"/>
                  </a:lnTo>
                  <a:lnTo>
                    <a:pt x="629728" y="666481"/>
                  </a:lnTo>
                  <a:lnTo>
                    <a:pt x="628569" y="666320"/>
                  </a:lnTo>
                  <a:lnTo>
                    <a:pt x="625231" y="663059"/>
                  </a:lnTo>
                  <a:lnTo>
                    <a:pt x="622075" y="662412"/>
                  </a:lnTo>
                  <a:lnTo>
                    <a:pt x="621865" y="663474"/>
                  </a:lnTo>
                  <a:lnTo>
                    <a:pt x="622571" y="665642"/>
                  </a:lnTo>
                  <a:lnTo>
                    <a:pt x="621783" y="667666"/>
                  </a:lnTo>
                  <a:lnTo>
                    <a:pt x="619500" y="669548"/>
                  </a:lnTo>
                  <a:lnTo>
                    <a:pt x="617764" y="670461"/>
                  </a:lnTo>
                  <a:lnTo>
                    <a:pt x="616573" y="670405"/>
                  </a:lnTo>
                  <a:lnTo>
                    <a:pt x="616507" y="669088"/>
                  </a:lnTo>
                  <a:lnTo>
                    <a:pt x="617566" y="666506"/>
                  </a:lnTo>
                  <a:lnTo>
                    <a:pt x="617839" y="664355"/>
                  </a:lnTo>
                  <a:lnTo>
                    <a:pt x="617322" y="662630"/>
                  </a:lnTo>
                  <a:lnTo>
                    <a:pt x="617380" y="661306"/>
                  </a:lnTo>
                  <a:lnTo>
                    <a:pt x="618014" y="660384"/>
                  </a:lnTo>
                  <a:lnTo>
                    <a:pt x="622205" y="657820"/>
                  </a:lnTo>
                  <a:lnTo>
                    <a:pt x="623970" y="657437"/>
                  </a:lnTo>
                  <a:lnTo>
                    <a:pt x="624915" y="658073"/>
                  </a:lnTo>
                  <a:lnTo>
                    <a:pt x="626097" y="658180"/>
                  </a:lnTo>
                  <a:lnTo>
                    <a:pt x="627510" y="657763"/>
                  </a:lnTo>
                  <a:lnTo>
                    <a:pt x="628401" y="656943"/>
                  </a:lnTo>
                  <a:lnTo>
                    <a:pt x="628771" y="655719"/>
                  </a:lnTo>
                  <a:lnTo>
                    <a:pt x="630580" y="654151"/>
                  </a:lnTo>
                  <a:lnTo>
                    <a:pt x="633825" y="652239"/>
                  </a:lnTo>
                  <a:lnTo>
                    <a:pt x="637540" y="648701"/>
                  </a:lnTo>
                  <a:lnTo>
                    <a:pt x="641725" y="643532"/>
                  </a:lnTo>
                  <a:lnTo>
                    <a:pt x="646628" y="639070"/>
                  </a:lnTo>
                  <a:lnTo>
                    <a:pt x="652254" y="635316"/>
                  </a:lnTo>
                  <a:lnTo>
                    <a:pt x="658358" y="632336"/>
                  </a:lnTo>
                  <a:lnTo>
                    <a:pt x="670646" y="628231"/>
                  </a:lnTo>
                  <a:lnTo>
                    <a:pt x="671591" y="628483"/>
                  </a:lnTo>
                  <a:lnTo>
                    <a:pt x="670469" y="629813"/>
                  </a:lnTo>
                  <a:lnTo>
                    <a:pt x="671235" y="630645"/>
                  </a:lnTo>
                  <a:lnTo>
                    <a:pt x="672443" y="630751"/>
                  </a:lnTo>
                  <a:lnTo>
                    <a:pt x="676946" y="630094"/>
                  </a:lnTo>
                  <a:lnTo>
                    <a:pt x="678733" y="629230"/>
                  </a:lnTo>
                  <a:lnTo>
                    <a:pt x="679263" y="630061"/>
                  </a:lnTo>
                  <a:lnTo>
                    <a:pt x="678637" y="631112"/>
                  </a:lnTo>
                  <a:lnTo>
                    <a:pt x="675933" y="632174"/>
                  </a:lnTo>
                  <a:lnTo>
                    <a:pt x="676009" y="633055"/>
                  </a:lnTo>
                  <a:lnTo>
                    <a:pt x="679940" y="637190"/>
                  </a:lnTo>
                  <a:lnTo>
                    <a:pt x="681176" y="637816"/>
                  </a:lnTo>
                  <a:lnTo>
                    <a:pt x="682203" y="637739"/>
                  </a:lnTo>
                  <a:lnTo>
                    <a:pt x="682639" y="637204"/>
                  </a:lnTo>
                  <a:lnTo>
                    <a:pt x="682310" y="634223"/>
                  </a:lnTo>
                  <a:lnTo>
                    <a:pt x="683637" y="633655"/>
                  </a:lnTo>
                  <a:lnTo>
                    <a:pt x="686358" y="633517"/>
                  </a:lnTo>
                  <a:lnTo>
                    <a:pt x="688131" y="633905"/>
                  </a:lnTo>
                  <a:lnTo>
                    <a:pt x="688955" y="634824"/>
                  </a:lnTo>
                  <a:lnTo>
                    <a:pt x="690510" y="635584"/>
                  </a:lnTo>
                  <a:lnTo>
                    <a:pt x="692796" y="636185"/>
                  </a:lnTo>
                  <a:lnTo>
                    <a:pt x="694215" y="636001"/>
                  </a:lnTo>
                  <a:lnTo>
                    <a:pt x="694765" y="635028"/>
                  </a:lnTo>
                  <a:lnTo>
                    <a:pt x="693787" y="633870"/>
                  </a:lnTo>
                  <a:lnTo>
                    <a:pt x="689415" y="631322"/>
                  </a:lnTo>
                  <a:lnTo>
                    <a:pt x="688203" y="630259"/>
                  </a:lnTo>
                  <a:lnTo>
                    <a:pt x="687906" y="628776"/>
                  </a:lnTo>
                  <a:lnTo>
                    <a:pt x="688526" y="626875"/>
                  </a:lnTo>
                  <a:lnTo>
                    <a:pt x="689901" y="624053"/>
                  </a:lnTo>
                  <a:lnTo>
                    <a:pt x="692027" y="620307"/>
                  </a:lnTo>
                  <a:lnTo>
                    <a:pt x="693951" y="617685"/>
                  </a:lnTo>
                  <a:lnTo>
                    <a:pt x="697849" y="614714"/>
                  </a:lnTo>
                  <a:lnTo>
                    <a:pt x="700477" y="613244"/>
                  </a:lnTo>
                  <a:lnTo>
                    <a:pt x="707140" y="608732"/>
                  </a:lnTo>
                  <a:lnTo>
                    <a:pt x="719944" y="604127"/>
                  </a:lnTo>
                  <a:lnTo>
                    <a:pt x="723110" y="601168"/>
                  </a:lnTo>
                  <a:lnTo>
                    <a:pt x="727412" y="597896"/>
                  </a:lnTo>
                  <a:lnTo>
                    <a:pt x="729258" y="597090"/>
                  </a:lnTo>
                  <a:lnTo>
                    <a:pt x="729258" y="598355"/>
                  </a:lnTo>
                  <a:lnTo>
                    <a:pt x="729848" y="599483"/>
                  </a:lnTo>
                  <a:lnTo>
                    <a:pt x="732726" y="600234"/>
                  </a:lnTo>
                  <a:lnTo>
                    <a:pt x="734595" y="600495"/>
                  </a:lnTo>
                  <a:lnTo>
                    <a:pt x="735454" y="600266"/>
                  </a:lnTo>
                  <a:lnTo>
                    <a:pt x="735690" y="599064"/>
                  </a:lnTo>
                  <a:lnTo>
                    <a:pt x="735303" y="596889"/>
                  </a:lnTo>
                  <a:lnTo>
                    <a:pt x="735208" y="594830"/>
                  </a:lnTo>
                  <a:lnTo>
                    <a:pt x="735400" y="592894"/>
                  </a:lnTo>
                  <a:lnTo>
                    <a:pt x="735819" y="591361"/>
                  </a:lnTo>
                  <a:lnTo>
                    <a:pt x="737738" y="588636"/>
                  </a:lnTo>
                  <a:lnTo>
                    <a:pt x="740592" y="585529"/>
                  </a:lnTo>
                  <a:lnTo>
                    <a:pt x="744489" y="581913"/>
                  </a:lnTo>
                  <a:lnTo>
                    <a:pt x="746949" y="580273"/>
                  </a:lnTo>
                  <a:lnTo>
                    <a:pt x="749269" y="579403"/>
                  </a:lnTo>
                  <a:lnTo>
                    <a:pt x="751511" y="577825"/>
                  </a:lnTo>
                  <a:lnTo>
                    <a:pt x="755372" y="574085"/>
                  </a:lnTo>
                  <a:lnTo>
                    <a:pt x="756612" y="573470"/>
                  </a:lnTo>
                  <a:lnTo>
                    <a:pt x="759380" y="572734"/>
                  </a:lnTo>
                  <a:lnTo>
                    <a:pt x="760395" y="573060"/>
                  </a:lnTo>
                  <a:lnTo>
                    <a:pt x="760992" y="573999"/>
                  </a:lnTo>
                  <a:lnTo>
                    <a:pt x="761718" y="574583"/>
                  </a:lnTo>
                  <a:lnTo>
                    <a:pt x="764531" y="575110"/>
                  </a:lnTo>
                  <a:lnTo>
                    <a:pt x="766403" y="574275"/>
                  </a:lnTo>
                  <a:lnTo>
                    <a:pt x="766098" y="573834"/>
                  </a:lnTo>
                  <a:lnTo>
                    <a:pt x="764577" y="573552"/>
                  </a:lnTo>
                  <a:lnTo>
                    <a:pt x="763605" y="573009"/>
                  </a:lnTo>
                  <a:lnTo>
                    <a:pt x="762687" y="570773"/>
                  </a:lnTo>
                  <a:lnTo>
                    <a:pt x="760823" y="569426"/>
                  </a:lnTo>
                  <a:lnTo>
                    <a:pt x="760401" y="567905"/>
                  </a:lnTo>
                  <a:lnTo>
                    <a:pt x="760737" y="565531"/>
                  </a:lnTo>
                  <a:lnTo>
                    <a:pt x="762340" y="559948"/>
                  </a:lnTo>
                  <a:lnTo>
                    <a:pt x="762604" y="554193"/>
                  </a:lnTo>
                  <a:lnTo>
                    <a:pt x="764028" y="550892"/>
                  </a:lnTo>
                  <a:lnTo>
                    <a:pt x="766893" y="549697"/>
                  </a:lnTo>
                  <a:lnTo>
                    <a:pt x="773246" y="548880"/>
                  </a:lnTo>
                  <a:lnTo>
                    <a:pt x="769528" y="547384"/>
                  </a:lnTo>
                  <a:lnTo>
                    <a:pt x="768145" y="547372"/>
                  </a:lnTo>
                  <a:lnTo>
                    <a:pt x="765728" y="546671"/>
                  </a:lnTo>
                  <a:lnTo>
                    <a:pt x="764809" y="543066"/>
                  </a:lnTo>
                  <a:lnTo>
                    <a:pt x="764829" y="540441"/>
                  </a:lnTo>
                  <a:lnTo>
                    <a:pt x="766429" y="537397"/>
                  </a:lnTo>
                  <a:lnTo>
                    <a:pt x="772348" y="532253"/>
                  </a:lnTo>
                  <a:lnTo>
                    <a:pt x="778833" y="528688"/>
                  </a:lnTo>
                  <a:lnTo>
                    <a:pt x="777956" y="528394"/>
                  </a:lnTo>
                  <a:lnTo>
                    <a:pt x="777153" y="527333"/>
                  </a:lnTo>
                  <a:lnTo>
                    <a:pt x="780144" y="520171"/>
                  </a:lnTo>
                  <a:lnTo>
                    <a:pt x="783063" y="513761"/>
                  </a:lnTo>
                  <a:lnTo>
                    <a:pt x="779120" y="519226"/>
                  </a:lnTo>
                  <a:lnTo>
                    <a:pt x="774564" y="523397"/>
                  </a:lnTo>
                  <a:lnTo>
                    <a:pt x="761204" y="528233"/>
                  </a:lnTo>
                  <a:lnTo>
                    <a:pt x="752117" y="532280"/>
                  </a:lnTo>
                  <a:lnTo>
                    <a:pt x="747806" y="533248"/>
                  </a:lnTo>
                  <a:lnTo>
                    <a:pt x="744958" y="532220"/>
                  </a:lnTo>
                  <a:lnTo>
                    <a:pt x="742737" y="528339"/>
                  </a:lnTo>
                  <a:lnTo>
                    <a:pt x="741470" y="526956"/>
                  </a:lnTo>
                  <a:lnTo>
                    <a:pt x="739841" y="524420"/>
                  </a:lnTo>
                  <a:lnTo>
                    <a:pt x="740527" y="521120"/>
                  </a:lnTo>
                  <a:lnTo>
                    <a:pt x="741818" y="518833"/>
                  </a:lnTo>
                  <a:lnTo>
                    <a:pt x="744653" y="518457"/>
                  </a:lnTo>
                  <a:lnTo>
                    <a:pt x="747850" y="519561"/>
                  </a:lnTo>
                  <a:lnTo>
                    <a:pt x="750622" y="519654"/>
                  </a:lnTo>
                  <a:lnTo>
                    <a:pt x="747048" y="517400"/>
                  </a:lnTo>
                  <a:lnTo>
                    <a:pt x="741890" y="515432"/>
                  </a:lnTo>
                  <a:lnTo>
                    <a:pt x="739554" y="516071"/>
                  </a:lnTo>
                  <a:lnTo>
                    <a:pt x="737767" y="519266"/>
                  </a:lnTo>
                  <a:lnTo>
                    <a:pt x="735374" y="521457"/>
                  </a:lnTo>
                  <a:lnTo>
                    <a:pt x="733274" y="520681"/>
                  </a:lnTo>
                  <a:lnTo>
                    <a:pt x="732026" y="519788"/>
                  </a:lnTo>
                  <a:lnTo>
                    <a:pt x="732893" y="522464"/>
                  </a:lnTo>
                  <a:lnTo>
                    <a:pt x="731305" y="526532"/>
                  </a:lnTo>
                  <a:lnTo>
                    <a:pt x="730703" y="529345"/>
                  </a:lnTo>
                  <a:lnTo>
                    <a:pt x="732979" y="536753"/>
                  </a:lnTo>
                  <a:lnTo>
                    <a:pt x="732559" y="539709"/>
                  </a:lnTo>
                  <a:lnTo>
                    <a:pt x="728425" y="541064"/>
                  </a:lnTo>
                  <a:lnTo>
                    <a:pt x="725057" y="538636"/>
                  </a:lnTo>
                  <a:lnTo>
                    <a:pt x="718029" y="529250"/>
                  </a:lnTo>
                  <a:lnTo>
                    <a:pt x="715579" y="526571"/>
                  </a:lnTo>
                  <a:lnTo>
                    <a:pt x="710067" y="522142"/>
                  </a:lnTo>
                  <a:lnTo>
                    <a:pt x="708251" y="522773"/>
                  </a:lnTo>
                  <a:lnTo>
                    <a:pt x="705936" y="524958"/>
                  </a:lnTo>
                  <a:lnTo>
                    <a:pt x="703693" y="525562"/>
                  </a:lnTo>
                  <a:lnTo>
                    <a:pt x="697764" y="522339"/>
                  </a:lnTo>
                  <a:lnTo>
                    <a:pt x="695005" y="519877"/>
                  </a:lnTo>
                  <a:lnTo>
                    <a:pt x="692394" y="516886"/>
                  </a:lnTo>
                  <a:lnTo>
                    <a:pt x="688394" y="518533"/>
                  </a:lnTo>
                  <a:lnTo>
                    <a:pt x="684905" y="520493"/>
                  </a:lnTo>
                  <a:lnTo>
                    <a:pt x="680813" y="523621"/>
                  </a:lnTo>
                  <a:lnTo>
                    <a:pt x="678079" y="523593"/>
                  </a:lnTo>
                  <a:lnTo>
                    <a:pt x="670639" y="526269"/>
                  </a:lnTo>
                  <a:lnTo>
                    <a:pt x="669850" y="526326"/>
                  </a:lnTo>
                  <a:lnTo>
                    <a:pt x="668804" y="527767"/>
                  </a:lnTo>
                  <a:lnTo>
                    <a:pt x="667777" y="528412"/>
                  </a:lnTo>
                  <a:lnTo>
                    <a:pt x="666928" y="531185"/>
                  </a:lnTo>
                  <a:lnTo>
                    <a:pt x="656874" y="533333"/>
                  </a:lnTo>
                  <a:lnTo>
                    <a:pt x="646939" y="532130"/>
                  </a:lnTo>
                  <a:lnTo>
                    <a:pt x="650415" y="530606"/>
                  </a:lnTo>
                  <a:lnTo>
                    <a:pt x="654297" y="529407"/>
                  </a:lnTo>
                  <a:lnTo>
                    <a:pt x="657668" y="526519"/>
                  </a:lnTo>
                  <a:lnTo>
                    <a:pt x="656235" y="522656"/>
                  </a:lnTo>
                  <a:lnTo>
                    <a:pt x="655986" y="520687"/>
                  </a:lnTo>
                  <a:lnTo>
                    <a:pt x="656028" y="518192"/>
                  </a:lnTo>
                  <a:lnTo>
                    <a:pt x="659709" y="514685"/>
                  </a:lnTo>
                  <a:lnTo>
                    <a:pt x="655880" y="514694"/>
                  </a:lnTo>
                  <a:lnTo>
                    <a:pt x="653422" y="515950"/>
                  </a:lnTo>
                  <a:lnTo>
                    <a:pt x="651120" y="513314"/>
                  </a:lnTo>
                  <a:lnTo>
                    <a:pt x="650043" y="508123"/>
                  </a:lnTo>
                  <a:lnTo>
                    <a:pt x="652674" y="505047"/>
                  </a:lnTo>
                  <a:lnTo>
                    <a:pt x="653897" y="502675"/>
                  </a:lnTo>
                  <a:lnTo>
                    <a:pt x="654929" y="499415"/>
                  </a:lnTo>
                  <a:lnTo>
                    <a:pt x="655007" y="496608"/>
                  </a:lnTo>
                  <a:lnTo>
                    <a:pt x="652967" y="491850"/>
                  </a:lnTo>
                  <a:lnTo>
                    <a:pt x="647113" y="481736"/>
                  </a:lnTo>
                  <a:lnTo>
                    <a:pt x="644450" y="474166"/>
                  </a:lnTo>
                  <a:lnTo>
                    <a:pt x="639888" y="470124"/>
                  </a:lnTo>
                  <a:lnTo>
                    <a:pt x="643294" y="463494"/>
                  </a:lnTo>
                  <a:lnTo>
                    <a:pt x="647094" y="457440"/>
                  </a:lnTo>
                  <a:lnTo>
                    <a:pt x="651999" y="454726"/>
                  </a:lnTo>
                  <a:lnTo>
                    <a:pt x="651605" y="454320"/>
                  </a:lnTo>
                  <a:lnTo>
                    <a:pt x="648895" y="454339"/>
                  </a:lnTo>
                  <a:lnTo>
                    <a:pt x="647115" y="454699"/>
                  </a:lnTo>
                  <a:lnTo>
                    <a:pt x="645538" y="456671"/>
                  </a:lnTo>
                  <a:lnTo>
                    <a:pt x="643875" y="458177"/>
                  </a:lnTo>
                  <a:lnTo>
                    <a:pt x="638680" y="465883"/>
                  </a:lnTo>
                  <a:lnTo>
                    <a:pt x="635338" y="469627"/>
                  </a:lnTo>
                  <a:lnTo>
                    <a:pt x="633163" y="470701"/>
                  </a:lnTo>
                  <a:lnTo>
                    <a:pt x="636664" y="472150"/>
                  </a:lnTo>
                  <a:lnTo>
                    <a:pt x="637194" y="473372"/>
                  </a:lnTo>
                  <a:lnTo>
                    <a:pt x="637868" y="476145"/>
                  </a:lnTo>
                  <a:lnTo>
                    <a:pt x="636972" y="479511"/>
                  </a:lnTo>
                  <a:lnTo>
                    <a:pt x="636076" y="481366"/>
                  </a:lnTo>
                  <a:lnTo>
                    <a:pt x="631947" y="481217"/>
                  </a:lnTo>
                  <a:lnTo>
                    <a:pt x="628242" y="483917"/>
                  </a:lnTo>
                  <a:lnTo>
                    <a:pt x="619530" y="486854"/>
                  </a:lnTo>
                  <a:lnTo>
                    <a:pt x="607770" y="488530"/>
                  </a:lnTo>
                  <a:lnTo>
                    <a:pt x="601992" y="488331"/>
                  </a:lnTo>
                  <a:lnTo>
                    <a:pt x="595973" y="484907"/>
                  </a:lnTo>
                  <a:lnTo>
                    <a:pt x="596017" y="482923"/>
                  </a:lnTo>
                  <a:lnTo>
                    <a:pt x="596261" y="481194"/>
                  </a:lnTo>
                  <a:lnTo>
                    <a:pt x="587614" y="475275"/>
                  </a:lnTo>
                  <a:lnTo>
                    <a:pt x="582722" y="469366"/>
                  </a:lnTo>
                  <a:lnTo>
                    <a:pt x="579209" y="469234"/>
                  </a:lnTo>
                  <a:lnTo>
                    <a:pt x="576155" y="467654"/>
                  </a:lnTo>
                  <a:lnTo>
                    <a:pt x="572547" y="465196"/>
                  </a:lnTo>
                  <a:lnTo>
                    <a:pt x="572863" y="463212"/>
                  </a:lnTo>
                  <a:lnTo>
                    <a:pt x="573429" y="461815"/>
                  </a:lnTo>
                  <a:lnTo>
                    <a:pt x="571217" y="460836"/>
                  </a:lnTo>
                  <a:lnTo>
                    <a:pt x="568379" y="460932"/>
                  </a:lnTo>
                  <a:lnTo>
                    <a:pt x="565081" y="460255"/>
                  </a:lnTo>
                  <a:lnTo>
                    <a:pt x="573698" y="452598"/>
                  </a:lnTo>
                  <a:lnTo>
                    <a:pt x="576662" y="447459"/>
                  </a:lnTo>
                  <a:lnTo>
                    <a:pt x="579076" y="446728"/>
                  </a:lnTo>
                  <a:lnTo>
                    <a:pt x="582209" y="447521"/>
                  </a:lnTo>
                  <a:lnTo>
                    <a:pt x="586532" y="449549"/>
                  </a:lnTo>
                  <a:lnTo>
                    <a:pt x="590176" y="450443"/>
                  </a:lnTo>
                  <a:lnTo>
                    <a:pt x="591491" y="451392"/>
                  </a:lnTo>
                  <a:lnTo>
                    <a:pt x="592839" y="453191"/>
                  </a:lnTo>
                  <a:lnTo>
                    <a:pt x="591419" y="456198"/>
                  </a:lnTo>
                  <a:lnTo>
                    <a:pt x="590118" y="458306"/>
                  </a:lnTo>
                  <a:lnTo>
                    <a:pt x="591717" y="457735"/>
                  </a:lnTo>
                  <a:lnTo>
                    <a:pt x="596254" y="454469"/>
                  </a:lnTo>
                  <a:lnTo>
                    <a:pt x="599628" y="451595"/>
                  </a:lnTo>
                  <a:lnTo>
                    <a:pt x="601246" y="451893"/>
                  </a:lnTo>
                  <a:lnTo>
                    <a:pt x="602297" y="452400"/>
                  </a:lnTo>
                  <a:lnTo>
                    <a:pt x="604174" y="455364"/>
                  </a:lnTo>
                  <a:lnTo>
                    <a:pt x="606506" y="458377"/>
                  </a:lnTo>
                  <a:lnTo>
                    <a:pt x="611639" y="455507"/>
                  </a:lnTo>
                  <a:lnTo>
                    <a:pt x="614388" y="451928"/>
                  </a:lnTo>
                  <a:lnTo>
                    <a:pt x="612068" y="450356"/>
                  </a:lnTo>
                  <a:lnTo>
                    <a:pt x="609233" y="449427"/>
                  </a:lnTo>
                  <a:lnTo>
                    <a:pt x="602001" y="448206"/>
                  </a:lnTo>
                  <a:lnTo>
                    <a:pt x="603766" y="447177"/>
                  </a:lnTo>
                  <a:lnTo>
                    <a:pt x="608407" y="447291"/>
                  </a:lnTo>
                  <a:lnTo>
                    <a:pt x="610155" y="446306"/>
                  </a:lnTo>
                  <a:lnTo>
                    <a:pt x="608316" y="444943"/>
                  </a:lnTo>
                  <a:lnTo>
                    <a:pt x="606020" y="443723"/>
                  </a:lnTo>
                  <a:lnTo>
                    <a:pt x="599754" y="447785"/>
                  </a:lnTo>
                  <a:lnTo>
                    <a:pt x="588352" y="447581"/>
                  </a:lnTo>
                  <a:lnTo>
                    <a:pt x="580383" y="445210"/>
                  </a:lnTo>
                  <a:lnTo>
                    <a:pt x="572431" y="445622"/>
                  </a:lnTo>
                  <a:lnTo>
                    <a:pt x="571177" y="445151"/>
                  </a:lnTo>
                  <a:lnTo>
                    <a:pt x="569629" y="443880"/>
                  </a:lnTo>
                  <a:lnTo>
                    <a:pt x="574109" y="440860"/>
                  </a:lnTo>
                  <a:lnTo>
                    <a:pt x="577281" y="439188"/>
                  </a:lnTo>
                  <a:lnTo>
                    <a:pt x="577449" y="438219"/>
                  </a:lnTo>
                  <a:lnTo>
                    <a:pt x="575606" y="438097"/>
                  </a:lnTo>
                  <a:lnTo>
                    <a:pt x="572140" y="438900"/>
                  </a:lnTo>
                  <a:lnTo>
                    <a:pt x="570594" y="437506"/>
                  </a:lnTo>
                  <a:lnTo>
                    <a:pt x="570847" y="435086"/>
                  </a:lnTo>
                  <a:lnTo>
                    <a:pt x="570279" y="435303"/>
                  </a:lnTo>
                  <a:lnTo>
                    <a:pt x="568908" y="436624"/>
                  </a:lnTo>
                  <a:lnTo>
                    <a:pt x="566969" y="435972"/>
                  </a:lnTo>
                  <a:lnTo>
                    <a:pt x="565309" y="434882"/>
                  </a:lnTo>
                  <a:lnTo>
                    <a:pt x="566178" y="433718"/>
                  </a:lnTo>
                  <a:lnTo>
                    <a:pt x="567884" y="432120"/>
                  </a:lnTo>
                  <a:lnTo>
                    <a:pt x="567126" y="431883"/>
                  </a:lnTo>
                  <a:lnTo>
                    <a:pt x="565594" y="432223"/>
                  </a:lnTo>
                  <a:lnTo>
                    <a:pt x="564106" y="434315"/>
                  </a:lnTo>
                  <a:lnTo>
                    <a:pt x="564431" y="436007"/>
                  </a:lnTo>
                  <a:lnTo>
                    <a:pt x="564393" y="438431"/>
                  </a:lnTo>
                  <a:lnTo>
                    <a:pt x="561851" y="438874"/>
                  </a:lnTo>
                  <a:lnTo>
                    <a:pt x="559672" y="438584"/>
                  </a:lnTo>
                  <a:lnTo>
                    <a:pt x="558096" y="436146"/>
                  </a:lnTo>
                  <a:lnTo>
                    <a:pt x="556469" y="430908"/>
                  </a:lnTo>
                  <a:lnTo>
                    <a:pt x="552068" y="429516"/>
                  </a:lnTo>
                  <a:lnTo>
                    <a:pt x="550987" y="426862"/>
                  </a:lnTo>
                  <a:lnTo>
                    <a:pt x="553772" y="423454"/>
                  </a:lnTo>
                  <a:lnTo>
                    <a:pt x="552543" y="421694"/>
                  </a:lnTo>
                  <a:lnTo>
                    <a:pt x="549584" y="421121"/>
                  </a:lnTo>
                  <a:lnTo>
                    <a:pt x="546198" y="422846"/>
                  </a:lnTo>
                  <a:lnTo>
                    <a:pt x="544700" y="421314"/>
                  </a:lnTo>
                  <a:lnTo>
                    <a:pt x="544426" y="419631"/>
                  </a:lnTo>
                  <a:lnTo>
                    <a:pt x="544308" y="417213"/>
                  </a:lnTo>
                  <a:lnTo>
                    <a:pt x="545252" y="416959"/>
                  </a:lnTo>
                  <a:lnTo>
                    <a:pt x="546033" y="417439"/>
                  </a:lnTo>
                  <a:lnTo>
                    <a:pt x="552817" y="416095"/>
                  </a:lnTo>
                  <a:lnTo>
                    <a:pt x="553470" y="415441"/>
                  </a:lnTo>
                  <a:lnTo>
                    <a:pt x="548088" y="413397"/>
                  </a:lnTo>
                  <a:lnTo>
                    <a:pt x="546586" y="411246"/>
                  </a:lnTo>
                  <a:lnTo>
                    <a:pt x="548816" y="410026"/>
                  </a:lnTo>
                  <a:lnTo>
                    <a:pt x="552835" y="409923"/>
                  </a:lnTo>
                  <a:lnTo>
                    <a:pt x="558473" y="408649"/>
                  </a:lnTo>
                  <a:lnTo>
                    <a:pt x="556102" y="406363"/>
                  </a:lnTo>
                  <a:lnTo>
                    <a:pt x="555606" y="405108"/>
                  </a:lnTo>
                  <a:lnTo>
                    <a:pt x="555129" y="403048"/>
                  </a:lnTo>
                  <a:lnTo>
                    <a:pt x="556064" y="399552"/>
                  </a:lnTo>
                  <a:lnTo>
                    <a:pt x="562687" y="391517"/>
                  </a:lnTo>
                  <a:lnTo>
                    <a:pt x="569144" y="384798"/>
                  </a:lnTo>
                  <a:lnTo>
                    <a:pt x="571157" y="383244"/>
                  </a:lnTo>
                  <a:lnTo>
                    <a:pt x="574113" y="382407"/>
                  </a:lnTo>
                  <a:lnTo>
                    <a:pt x="576865" y="383051"/>
                  </a:lnTo>
                  <a:lnTo>
                    <a:pt x="579739" y="384496"/>
                  </a:lnTo>
                  <a:lnTo>
                    <a:pt x="580284" y="383878"/>
                  </a:lnTo>
                  <a:lnTo>
                    <a:pt x="579308" y="383287"/>
                  </a:lnTo>
                  <a:lnTo>
                    <a:pt x="578076" y="380529"/>
                  </a:lnTo>
                  <a:lnTo>
                    <a:pt x="582066" y="379447"/>
                  </a:lnTo>
                  <a:lnTo>
                    <a:pt x="584405" y="376328"/>
                  </a:lnTo>
                  <a:lnTo>
                    <a:pt x="584580" y="375424"/>
                  </a:lnTo>
                  <a:lnTo>
                    <a:pt x="582040" y="376723"/>
                  </a:lnTo>
                  <a:lnTo>
                    <a:pt x="579395" y="378854"/>
                  </a:lnTo>
                  <a:lnTo>
                    <a:pt x="578733" y="376711"/>
                  </a:lnTo>
                  <a:lnTo>
                    <a:pt x="578050" y="371773"/>
                  </a:lnTo>
                  <a:lnTo>
                    <a:pt x="579217" y="367098"/>
                  </a:lnTo>
                  <a:lnTo>
                    <a:pt x="580126" y="364998"/>
                  </a:lnTo>
                  <a:lnTo>
                    <a:pt x="582335" y="363002"/>
                  </a:lnTo>
                  <a:lnTo>
                    <a:pt x="588695" y="362202"/>
                  </a:lnTo>
                  <a:lnTo>
                    <a:pt x="589815" y="362602"/>
                  </a:lnTo>
                  <a:lnTo>
                    <a:pt x="590048" y="361659"/>
                  </a:lnTo>
                  <a:lnTo>
                    <a:pt x="586219" y="358708"/>
                  </a:lnTo>
                  <a:lnTo>
                    <a:pt x="587799" y="356397"/>
                  </a:lnTo>
                  <a:lnTo>
                    <a:pt x="589182" y="355200"/>
                  </a:lnTo>
                  <a:lnTo>
                    <a:pt x="596871" y="353324"/>
                  </a:lnTo>
                  <a:lnTo>
                    <a:pt x="601074" y="353906"/>
                  </a:lnTo>
                  <a:lnTo>
                    <a:pt x="606345" y="356091"/>
                  </a:lnTo>
                  <a:lnTo>
                    <a:pt x="609404" y="358807"/>
                  </a:lnTo>
                  <a:lnTo>
                    <a:pt x="608960" y="360200"/>
                  </a:lnTo>
                  <a:lnTo>
                    <a:pt x="608199" y="361006"/>
                  </a:lnTo>
                  <a:lnTo>
                    <a:pt x="606612" y="361907"/>
                  </a:lnTo>
                  <a:lnTo>
                    <a:pt x="606021" y="362608"/>
                  </a:lnTo>
                  <a:lnTo>
                    <a:pt x="606304" y="363165"/>
                  </a:lnTo>
                  <a:lnTo>
                    <a:pt x="608561" y="361547"/>
                  </a:lnTo>
                  <a:lnTo>
                    <a:pt x="612261" y="359581"/>
                  </a:lnTo>
                  <a:lnTo>
                    <a:pt x="614331" y="360437"/>
                  </a:lnTo>
                  <a:lnTo>
                    <a:pt x="615973" y="361989"/>
                  </a:lnTo>
                  <a:lnTo>
                    <a:pt x="617783" y="361963"/>
                  </a:lnTo>
                  <a:lnTo>
                    <a:pt x="623538" y="360628"/>
                  </a:lnTo>
                  <a:lnTo>
                    <a:pt x="626461" y="359214"/>
                  </a:lnTo>
                  <a:lnTo>
                    <a:pt x="630031" y="355539"/>
                  </a:lnTo>
                  <a:lnTo>
                    <a:pt x="634783" y="353159"/>
                  </a:lnTo>
                  <a:lnTo>
                    <a:pt x="641458" y="345640"/>
                  </a:lnTo>
                  <a:lnTo>
                    <a:pt x="643423" y="342548"/>
                  </a:lnTo>
                  <a:lnTo>
                    <a:pt x="645705" y="342072"/>
                  </a:lnTo>
                  <a:lnTo>
                    <a:pt x="647766" y="342346"/>
                  </a:lnTo>
                  <a:lnTo>
                    <a:pt x="649203" y="344883"/>
                  </a:lnTo>
                  <a:lnTo>
                    <a:pt x="651301" y="345625"/>
                  </a:lnTo>
                  <a:lnTo>
                    <a:pt x="663253" y="345011"/>
                  </a:lnTo>
                  <a:lnTo>
                    <a:pt x="669360" y="343848"/>
                  </a:lnTo>
                  <a:lnTo>
                    <a:pt x="673604" y="341387"/>
                  </a:lnTo>
                  <a:lnTo>
                    <a:pt x="678016" y="337237"/>
                  </a:lnTo>
                  <a:lnTo>
                    <a:pt x="680573" y="334451"/>
                  </a:lnTo>
                  <a:lnTo>
                    <a:pt x="681796" y="330817"/>
                  </a:lnTo>
                  <a:lnTo>
                    <a:pt x="680215" y="326107"/>
                  </a:lnTo>
                  <a:lnTo>
                    <a:pt x="678597" y="322187"/>
                  </a:lnTo>
                  <a:lnTo>
                    <a:pt x="676465" y="313206"/>
                  </a:lnTo>
                  <a:lnTo>
                    <a:pt x="670531" y="307256"/>
                  </a:lnTo>
                  <a:lnTo>
                    <a:pt x="666308" y="305478"/>
                  </a:lnTo>
                  <a:lnTo>
                    <a:pt x="663628" y="305730"/>
                  </a:lnTo>
                  <a:lnTo>
                    <a:pt x="665570" y="301930"/>
                  </a:lnTo>
                  <a:lnTo>
                    <a:pt x="671221" y="302339"/>
                  </a:lnTo>
                  <a:lnTo>
                    <a:pt x="674901" y="301597"/>
                  </a:lnTo>
                  <a:lnTo>
                    <a:pt x="677882" y="299762"/>
                  </a:lnTo>
                  <a:lnTo>
                    <a:pt x="678857" y="298373"/>
                  </a:lnTo>
                  <a:lnTo>
                    <a:pt x="680329" y="295530"/>
                  </a:lnTo>
                  <a:lnTo>
                    <a:pt x="679822" y="292491"/>
                  </a:lnTo>
                  <a:lnTo>
                    <a:pt x="679030" y="290844"/>
                  </a:lnTo>
                  <a:lnTo>
                    <a:pt x="676976" y="289026"/>
                  </a:lnTo>
                  <a:lnTo>
                    <a:pt x="674533" y="286362"/>
                  </a:lnTo>
                  <a:lnTo>
                    <a:pt x="672826" y="285474"/>
                  </a:lnTo>
                  <a:lnTo>
                    <a:pt x="671378" y="285534"/>
                  </a:lnTo>
                  <a:lnTo>
                    <a:pt x="664249" y="290872"/>
                  </a:lnTo>
                  <a:lnTo>
                    <a:pt x="659975" y="290970"/>
                  </a:lnTo>
                  <a:lnTo>
                    <a:pt x="656775" y="289988"/>
                  </a:lnTo>
                  <a:lnTo>
                    <a:pt x="653996" y="293026"/>
                  </a:lnTo>
                  <a:lnTo>
                    <a:pt x="646242" y="295688"/>
                  </a:lnTo>
                  <a:lnTo>
                    <a:pt x="642101" y="298374"/>
                  </a:lnTo>
                  <a:lnTo>
                    <a:pt x="634420" y="305031"/>
                  </a:lnTo>
                  <a:lnTo>
                    <a:pt x="632496" y="308037"/>
                  </a:lnTo>
                  <a:lnTo>
                    <a:pt x="630049" y="308173"/>
                  </a:lnTo>
                  <a:lnTo>
                    <a:pt x="628280" y="302339"/>
                  </a:lnTo>
                  <a:lnTo>
                    <a:pt x="619924" y="296762"/>
                  </a:lnTo>
                  <a:lnTo>
                    <a:pt x="617401" y="298660"/>
                  </a:lnTo>
                  <a:lnTo>
                    <a:pt x="618793" y="300413"/>
                  </a:lnTo>
                  <a:lnTo>
                    <a:pt x="620686" y="301660"/>
                  </a:lnTo>
                  <a:lnTo>
                    <a:pt x="623807" y="302203"/>
                  </a:lnTo>
                  <a:lnTo>
                    <a:pt x="622461" y="303892"/>
                  </a:lnTo>
                  <a:lnTo>
                    <a:pt x="621446" y="306139"/>
                  </a:lnTo>
                  <a:lnTo>
                    <a:pt x="618315" y="304031"/>
                  </a:lnTo>
                  <a:lnTo>
                    <a:pt x="612724" y="300968"/>
                  </a:lnTo>
                  <a:lnTo>
                    <a:pt x="606935" y="299387"/>
                  </a:lnTo>
                  <a:lnTo>
                    <a:pt x="591863" y="299563"/>
                  </a:lnTo>
                  <a:lnTo>
                    <a:pt x="581968" y="302708"/>
                  </a:lnTo>
                  <a:lnTo>
                    <a:pt x="581057" y="302056"/>
                  </a:lnTo>
                  <a:lnTo>
                    <a:pt x="580103" y="301796"/>
                  </a:lnTo>
                  <a:lnTo>
                    <a:pt x="578455" y="302546"/>
                  </a:lnTo>
                  <a:lnTo>
                    <a:pt x="577747" y="303822"/>
                  </a:lnTo>
                  <a:lnTo>
                    <a:pt x="576670" y="304629"/>
                  </a:lnTo>
                  <a:lnTo>
                    <a:pt x="574648" y="304915"/>
                  </a:lnTo>
                  <a:lnTo>
                    <a:pt x="570582" y="304440"/>
                  </a:lnTo>
                  <a:lnTo>
                    <a:pt x="562724" y="302486"/>
                  </a:lnTo>
                  <a:lnTo>
                    <a:pt x="544954" y="299611"/>
                  </a:lnTo>
                  <a:lnTo>
                    <a:pt x="540303" y="297844"/>
                  </a:lnTo>
                  <a:lnTo>
                    <a:pt x="536316" y="293627"/>
                  </a:lnTo>
                  <a:lnTo>
                    <a:pt x="536400" y="290761"/>
                  </a:lnTo>
                  <a:lnTo>
                    <a:pt x="538171" y="289547"/>
                  </a:lnTo>
                  <a:lnTo>
                    <a:pt x="538004" y="285431"/>
                  </a:lnTo>
                  <a:lnTo>
                    <a:pt x="534544" y="284334"/>
                  </a:lnTo>
                  <a:lnTo>
                    <a:pt x="527501" y="278403"/>
                  </a:lnTo>
                  <a:lnTo>
                    <a:pt x="524912" y="275869"/>
                  </a:lnTo>
                  <a:lnTo>
                    <a:pt x="525475" y="275590"/>
                  </a:lnTo>
                  <a:lnTo>
                    <a:pt x="526739" y="276278"/>
                  </a:lnTo>
                  <a:lnTo>
                    <a:pt x="529144" y="276791"/>
                  </a:lnTo>
                  <a:lnTo>
                    <a:pt x="535050" y="275967"/>
                  </a:lnTo>
                  <a:lnTo>
                    <a:pt x="537075" y="272118"/>
                  </a:lnTo>
                  <a:lnTo>
                    <a:pt x="541462" y="271015"/>
                  </a:lnTo>
                  <a:lnTo>
                    <a:pt x="545497" y="271557"/>
                  </a:lnTo>
                  <a:lnTo>
                    <a:pt x="544591" y="270513"/>
                  </a:lnTo>
                  <a:lnTo>
                    <a:pt x="543561" y="269691"/>
                  </a:lnTo>
                  <a:lnTo>
                    <a:pt x="533051" y="267725"/>
                  </a:lnTo>
                  <a:lnTo>
                    <a:pt x="531624" y="268329"/>
                  </a:lnTo>
                  <a:lnTo>
                    <a:pt x="512780" y="264831"/>
                  </a:lnTo>
                  <a:lnTo>
                    <a:pt x="497902" y="258742"/>
                  </a:lnTo>
                  <a:lnTo>
                    <a:pt x="496683" y="257575"/>
                  </a:lnTo>
                  <a:lnTo>
                    <a:pt x="495322" y="254972"/>
                  </a:lnTo>
                  <a:lnTo>
                    <a:pt x="497329" y="252397"/>
                  </a:lnTo>
                  <a:lnTo>
                    <a:pt x="499348" y="251179"/>
                  </a:lnTo>
                  <a:lnTo>
                    <a:pt x="499440" y="252597"/>
                  </a:lnTo>
                  <a:lnTo>
                    <a:pt x="499761" y="253989"/>
                  </a:lnTo>
                  <a:lnTo>
                    <a:pt x="508290" y="250751"/>
                  </a:lnTo>
                  <a:lnTo>
                    <a:pt x="512747" y="246504"/>
                  </a:lnTo>
                  <a:lnTo>
                    <a:pt x="521194" y="245758"/>
                  </a:lnTo>
                  <a:lnTo>
                    <a:pt x="523158" y="244584"/>
                  </a:lnTo>
                  <a:lnTo>
                    <a:pt x="525779" y="242297"/>
                  </a:lnTo>
                  <a:lnTo>
                    <a:pt x="529525" y="238388"/>
                  </a:lnTo>
                  <a:lnTo>
                    <a:pt x="534818" y="236326"/>
                  </a:lnTo>
                  <a:lnTo>
                    <a:pt x="538426" y="234474"/>
                  </a:lnTo>
                  <a:lnTo>
                    <a:pt x="543122" y="233381"/>
                  </a:lnTo>
                  <a:lnTo>
                    <a:pt x="547132" y="235201"/>
                  </a:lnTo>
                  <a:lnTo>
                    <a:pt x="548368" y="235450"/>
                  </a:lnTo>
                  <a:lnTo>
                    <a:pt x="555646" y="235823"/>
                  </a:lnTo>
                  <a:lnTo>
                    <a:pt x="558038" y="235033"/>
                  </a:lnTo>
                  <a:lnTo>
                    <a:pt x="559056" y="234446"/>
                  </a:lnTo>
                  <a:lnTo>
                    <a:pt x="559815" y="233515"/>
                  </a:lnTo>
                  <a:lnTo>
                    <a:pt x="552671" y="230212"/>
                  </a:lnTo>
                  <a:lnTo>
                    <a:pt x="553397" y="228371"/>
                  </a:lnTo>
                  <a:lnTo>
                    <a:pt x="554306" y="227075"/>
                  </a:lnTo>
                  <a:lnTo>
                    <a:pt x="562641" y="223216"/>
                  </a:lnTo>
                  <a:lnTo>
                    <a:pt x="569048" y="221939"/>
                  </a:lnTo>
                  <a:lnTo>
                    <a:pt x="572475" y="222027"/>
                  </a:lnTo>
                  <a:lnTo>
                    <a:pt x="582421" y="217037"/>
                  </a:lnTo>
                  <a:lnTo>
                    <a:pt x="587869" y="215614"/>
                  </a:lnTo>
                  <a:lnTo>
                    <a:pt x="598131" y="214662"/>
                  </a:lnTo>
                  <a:lnTo>
                    <a:pt x="606563" y="214416"/>
                  </a:lnTo>
                  <a:lnTo>
                    <a:pt x="608845" y="216200"/>
                  </a:lnTo>
                  <a:lnTo>
                    <a:pt x="604318" y="215823"/>
                  </a:lnTo>
                  <a:lnTo>
                    <a:pt x="602322" y="216149"/>
                  </a:lnTo>
                  <a:lnTo>
                    <a:pt x="603743" y="216758"/>
                  </a:lnTo>
                  <a:lnTo>
                    <a:pt x="605344" y="218056"/>
                  </a:lnTo>
                  <a:lnTo>
                    <a:pt x="604880" y="219696"/>
                  </a:lnTo>
                  <a:lnTo>
                    <a:pt x="602095" y="224555"/>
                  </a:lnTo>
                  <a:lnTo>
                    <a:pt x="602322" y="228439"/>
                  </a:lnTo>
                  <a:lnTo>
                    <a:pt x="600509" y="229692"/>
                  </a:lnTo>
                  <a:lnTo>
                    <a:pt x="598756" y="231465"/>
                  </a:lnTo>
                  <a:lnTo>
                    <a:pt x="607388" y="237036"/>
                  </a:lnTo>
                  <a:lnTo>
                    <a:pt x="620753" y="237391"/>
                  </a:lnTo>
                  <a:lnTo>
                    <a:pt x="628022" y="236386"/>
                  </a:lnTo>
                  <a:lnTo>
                    <a:pt x="632224" y="238051"/>
                  </a:lnTo>
                  <a:lnTo>
                    <a:pt x="635665" y="238430"/>
                  </a:lnTo>
                  <a:lnTo>
                    <a:pt x="645170" y="237577"/>
                  </a:lnTo>
                  <a:lnTo>
                    <a:pt x="652328" y="238767"/>
                  </a:lnTo>
                  <a:lnTo>
                    <a:pt x="655323" y="238310"/>
                  </a:lnTo>
                  <a:lnTo>
                    <a:pt x="661941" y="229981"/>
                  </a:lnTo>
                  <a:lnTo>
                    <a:pt x="664529" y="228672"/>
                  </a:lnTo>
                  <a:lnTo>
                    <a:pt x="667344" y="230124"/>
                  </a:lnTo>
                  <a:lnTo>
                    <a:pt x="671017" y="231301"/>
                  </a:lnTo>
                  <a:lnTo>
                    <a:pt x="673360" y="230448"/>
                  </a:lnTo>
                  <a:lnTo>
                    <a:pt x="675272" y="232595"/>
                  </a:lnTo>
                  <a:lnTo>
                    <a:pt x="674373" y="228111"/>
                  </a:lnTo>
                  <a:lnTo>
                    <a:pt x="673077" y="226427"/>
                  </a:lnTo>
                  <a:lnTo>
                    <a:pt x="662258" y="223338"/>
                  </a:lnTo>
                  <a:lnTo>
                    <a:pt x="655020" y="224874"/>
                  </a:lnTo>
                  <a:lnTo>
                    <a:pt x="652757" y="223134"/>
                  </a:lnTo>
                  <a:lnTo>
                    <a:pt x="653504" y="219678"/>
                  </a:lnTo>
                  <a:lnTo>
                    <a:pt x="645760" y="211143"/>
                  </a:lnTo>
                  <a:lnTo>
                    <a:pt x="642531" y="209407"/>
                  </a:lnTo>
                  <a:lnTo>
                    <a:pt x="638713" y="209325"/>
                  </a:lnTo>
                  <a:lnTo>
                    <a:pt x="636768" y="206351"/>
                  </a:lnTo>
                  <a:lnTo>
                    <a:pt x="635142" y="202525"/>
                  </a:lnTo>
                  <a:lnTo>
                    <a:pt x="638435" y="200961"/>
                  </a:lnTo>
                  <a:lnTo>
                    <a:pt x="641412" y="200252"/>
                  </a:lnTo>
                  <a:lnTo>
                    <a:pt x="644168" y="201483"/>
                  </a:lnTo>
                  <a:lnTo>
                    <a:pt x="647285" y="206512"/>
                  </a:lnTo>
                  <a:lnTo>
                    <a:pt x="650188" y="207249"/>
                  </a:lnTo>
                  <a:lnTo>
                    <a:pt x="649343" y="212247"/>
                  </a:lnTo>
                  <a:lnTo>
                    <a:pt x="652942" y="216842"/>
                  </a:lnTo>
                  <a:lnTo>
                    <a:pt x="661069" y="221106"/>
                  </a:lnTo>
                  <a:lnTo>
                    <a:pt x="667577" y="219538"/>
                  </a:lnTo>
                  <a:lnTo>
                    <a:pt x="672172" y="219581"/>
                  </a:lnTo>
                  <a:lnTo>
                    <a:pt x="674919" y="220480"/>
                  </a:lnTo>
                  <a:lnTo>
                    <a:pt x="681645" y="224300"/>
                  </a:lnTo>
                  <a:lnTo>
                    <a:pt x="685061" y="224780"/>
                  </a:lnTo>
                  <a:lnTo>
                    <a:pt x="695746" y="222775"/>
                  </a:lnTo>
                  <a:lnTo>
                    <a:pt x="695857" y="219018"/>
                  </a:lnTo>
                  <a:lnTo>
                    <a:pt x="694959" y="216294"/>
                  </a:lnTo>
                  <a:lnTo>
                    <a:pt x="692450" y="214586"/>
                  </a:lnTo>
                  <a:lnTo>
                    <a:pt x="685234" y="214907"/>
                  </a:lnTo>
                  <a:lnTo>
                    <a:pt x="679616" y="212094"/>
                  </a:lnTo>
                  <a:lnTo>
                    <a:pt x="674833" y="212866"/>
                  </a:lnTo>
                  <a:lnTo>
                    <a:pt x="665993" y="217173"/>
                  </a:lnTo>
                  <a:lnTo>
                    <a:pt x="661562" y="215478"/>
                  </a:lnTo>
                  <a:lnTo>
                    <a:pt x="658776" y="213177"/>
                  </a:lnTo>
                  <a:lnTo>
                    <a:pt x="654292" y="210835"/>
                  </a:lnTo>
                  <a:lnTo>
                    <a:pt x="653730" y="206401"/>
                  </a:lnTo>
                  <a:lnTo>
                    <a:pt x="657492" y="201304"/>
                  </a:lnTo>
                  <a:lnTo>
                    <a:pt x="660274" y="198877"/>
                  </a:lnTo>
                  <a:lnTo>
                    <a:pt x="657781" y="197105"/>
                  </a:lnTo>
                  <a:lnTo>
                    <a:pt x="651519" y="195857"/>
                  </a:lnTo>
                  <a:lnTo>
                    <a:pt x="640648" y="197134"/>
                  </a:lnTo>
                  <a:lnTo>
                    <a:pt x="640137" y="195395"/>
                  </a:lnTo>
                  <a:lnTo>
                    <a:pt x="640192" y="193515"/>
                  </a:lnTo>
                  <a:lnTo>
                    <a:pt x="635761" y="197193"/>
                  </a:lnTo>
                  <a:lnTo>
                    <a:pt x="631212" y="196422"/>
                  </a:lnTo>
                  <a:lnTo>
                    <a:pt x="625082" y="196815"/>
                  </a:lnTo>
                  <a:lnTo>
                    <a:pt x="611560" y="193575"/>
                  </a:lnTo>
                  <a:lnTo>
                    <a:pt x="606745" y="189567"/>
                  </a:lnTo>
                  <a:lnTo>
                    <a:pt x="604724" y="186309"/>
                  </a:lnTo>
                  <a:lnTo>
                    <a:pt x="601080" y="177364"/>
                  </a:lnTo>
                  <a:lnTo>
                    <a:pt x="596422" y="171755"/>
                  </a:lnTo>
                  <a:lnTo>
                    <a:pt x="564259" y="152587"/>
                  </a:lnTo>
                  <a:lnTo>
                    <a:pt x="549628" y="147744"/>
                  </a:lnTo>
                  <a:lnTo>
                    <a:pt x="542579" y="142373"/>
                  </a:lnTo>
                  <a:lnTo>
                    <a:pt x="538160" y="141051"/>
                  </a:lnTo>
                  <a:lnTo>
                    <a:pt x="533942" y="140508"/>
                  </a:lnTo>
                  <a:lnTo>
                    <a:pt x="528538" y="138772"/>
                  </a:lnTo>
                  <a:lnTo>
                    <a:pt x="532171" y="136636"/>
                  </a:lnTo>
                  <a:lnTo>
                    <a:pt x="534671" y="135914"/>
                  </a:lnTo>
                  <a:lnTo>
                    <a:pt x="532069" y="138145"/>
                  </a:lnTo>
                  <a:lnTo>
                    <a:pt x="534046" y="138707"/>
                  </a:lnTo>
                  <a:lnTo>
                    <a:pt x="537193" y="137420"/>
                  </a:lnTo>
                  <a:lnTo>
                    <a:pt x="538889" y="135878"/>
                  </a:lnTo>
                  <a:lnTo>
                    <a:pt x="541378" y="129325"/>
                  </a:lnTo>
                  <a:lnTo>
                    <a:pt x="543953" y="119376"/>
                  </a:lnTo>
                  <a:lnTo>
                    <a:pt x="543264" y="115448"/>
                  </a:lnTo>
                  <a:lnTo>
                    <a:pt x="561110" y="116241"/>
                  </a:lnTo>
                  <a:lnTo>
                    <a:pt x="572986" y="115578"/>
                  </a:lnTo>
                  <a:lnTo>
                    <a:pt x="576920" y="114687"/>
                  </a:lnTo>
                  <a:lnTo>
                    <a:pt x="591905" y="113168"/>
                  </a:lnTo>
                  <a:lnTo>
                    <a:pt x="595785" y="112065"/>
                  </a:lnTo>
                  <a:lnTo>
                    <a:pt x="602985" y="108691"/>
                  </a:lnTo>
                  <a:lnTo>
                    <a:pt x="611461" y="102713"/>
                  </a:lnTo>
                  <a:lnTo>
                    <a:pt x="618735" y="94839"/>
                  </a:lnTo>
                  <a:lnTo>
                    <a:pt x="619892" y="92714"/>
                  </a:lnTo>
                  <a:lnTo>
                    <a:pt x="620354" y="93259"/>
                  </a:lnTo>
                  <a:lnTo>
                    <a:pt x="621007" y="92922"/>
                  </a:lnTo>
                  <a:lnTo>
                    <a:pt x="621785" y="89929"/>
                  </a:lnTo>
                  <a:lnTo>
                    <a:pt x="622739" y="82864"/>
                  </a:lnTo>
                  <a:lnTo>
                    <a:pt x="626348" y="76182"/>
                  </a:lnTo>
                  <a:lnTo>
                    <a:pt x="641697" y="60877"/>
                  </a:lnTo>
                  <a:lnTo>
                    <a:pt x="648821" y="54786"/>
                  </a:lnTo>
                  <a:lnTo>
                    <a:pt x="651199" y="52014"/>
                  </a:lnTo>
                  <a:lnTo>
                    <a:pt x="653674" y="49989"/>
                  </a:lnTo>
                  <a:lnTo>
                    <a:pt x="655417" y="51913"/>
                  </a:lnTo>
                  <a:lnTo>
                    <a:pt x="656250" y="52486"/>
                  </a:lnTo>
                  <a:lnTo>
                    <a:pt x="656731" y="53390"/>
                  </a:lnTo>
                  <a:lnTo>
                    <a:pt x="655268" y="53813"/>
                  </a:lnTo>
                  <a:lnTo>
                    <a:pt x="652883" y="55782"/>
                  </a:lnTo>
                  <a:lnTo>
                    <a:pt x="649556" y="57102"/>
                  </a:lnTo>
                  <a:lnTo>
                    <a:pt x="648751" y="57774"/>
                  </a:lnTo>
                  <a:lnTo>
                    <a:pt x="650703" y="57624"/>
                  </a:lnTo>
                  <a:lnTo>
                    <a:pt x="656551" y="56192"/>
                  </a:lnTo>
                  <a:lnTo>
                    <a:pt x="659845" y="54451"/>
                  </a:lnTo>
                  <a:lnTo>
                    <a:pt x="676241" y="51236"/>
                  </a:lnTo>
                  <a:lnTo>
                    <a:pt x="685134" y="45906"/>
                  </a:lnTo>
                  <a:lnTo>
                    <a:pt x="685479" y="44716"/>
                  </a:lnTo>
                  <a:lnTo>
                    <a:pt x="698669" y="38037"/>
                  </a:lnTo>
                  <a:lnTo>
                    <a:pt x="700494" y="38297"/>
                  </a:lnTo>
                  <a:lnTo>
                    <a:pt x="702596" y="39103"/>
                  </a:lnTo>
                  <a:lnTo>
                    <a:pt x="698943" y="43512"/>
                  </a:lnTo>
                  <a:lnTo>
                    <a:pt x="701515" y="44663"/>
                  </a:lnTo>
                  <a:lnTo>
                    <a:pt x="699231" y="49918"/>
                  </a:lnTo>
                  <a:lnTo>
                    <a:pt x="704015" y="50002"/>
                  </a:lnTo>
                  <a:lnTo>
                    <a:pt x="705084" y="52417"/>
                  </a:lnTo>
                  <a:lnTo>
                    <a:pt x="705350" y="50336"/>
                  </a:lnTo>
                  <a:lnTo>
                    <a:pt x="705291" y="47345"/>
                  </a:lnTo>
                  <a:lnTo>
                    <a:pt x="705671" y="44411"/>
                  </a:lnTo>
                  <a:lnTo>
                    <a:pt x="706376" y="42381"/>
                  </a:lnTo>
                  <a:lnTo>
                    <a:pt x="709735" y="43300"/>
                  </a:lnTo>
                  <a:lnTo>
                    <a:pt x="717300" y="41117"/>
                  </a:lnTo>
                  <a:lnTo>
                    <a:pt x="708132" y="40841"/>
                  </a:lnTo>
                  <a:lnTo>
                    <a:pt x="702629" y="36056"/>
                  </a:lnTo>
                  <a:lnTo>
                    <a:pt x="699575" y="36021"/>
                  </a:lnTo>
                  <a:lnTo>
                    <a:pt x="709797" y="28987"/>
                  </a:lnTo>
                  <a:lnTo>
                    <a:pt x="719144" y="24728"/>
                  </a:lnTo>
                  <a:lnTo>
                    <a:pt x="721255" y="24810"/>
                  </a:lnTo>
                  <a:lnTo>
                    <a:pt x="722276" y="25603"/>
                  </a:lnTo>
                  <a:lnTo>
                    <a:pt x="722495" y="26892"/>
                  </a:lnTo>
                  <a:lnTo>
                    <a:pt x="720477" y="27729"/>
                  </a:lnTo>
                  <a:lnTo>
                    <a:pt x="718497" y="29243"/>
                  </a:lnTo>
                  <a:lnTo>
                    <a:pt x="719407" y="30574"/>
                  </a:lnTo>
                  <a:lnTo>
                    <a:pt x="720759" y="30764"/>
                  </a:lnTo>
                  <a:lnTo>
                    <a:pt x="725252" y="29669"/>
                  </a:lnTo>
                  <a:lnTo>
                    <a:pt x="727262" y="28299"/>
                  </a:lnTo>
                  <a:lnTo>
                    <a:pt x="736836" y="28418"/>
                  </a:lnTo>
                  <a:lnTo>
                    <a:pt x="739645" y="27440"/>
                  </a:lnTo>
                  <a:lnTo>
                    <a:pt x="740320" y="26468"/>
                  </a:lnTo>
                  <a:lnTo>
                    <a:pt x="752715" y="26270"/>
                  </a:lnTo>
                  <a:lnTo>
                    <a:pt x="754988" y="25583"/>
                  </a:lnTo>
                  <a:lnTo>
                    <a:pt x="762737" y="21810"/>
                  </a:lnTo>
                  <a:lnTo>
                    <a:pt x="769903" y="17230"/>
                  </a:lnTo>
                  <a:lnTo>
                    <a:pt x="773204" y="14727"/>
                  </a:lnTo>
                  <a:lnTo>
                    <a:pt x="778867" y="8333"/>
                  </a:lnTo>
                  <a:lnTo>
                    <a:pt x="783716" y="4166"/>
                  </a:lnTo>
                  <a:close/>
                </a:path>
              </a:pathLst>
            </a:custGeom>
            <a:solidFill>
              <a:srgbClr val="007CBC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76" name="ee4p_US_2_82333">
              <a:extLst>
                <a:ext uri="{FF2B5EF4-FFF2-40B4-BE49-F238E27FC236}">
                  <a16:creationId xmlns:a16="http://schemas.microsoft.com/office/drawing/2014/main" id="{5471FB2B-B710-AB15-56C8-E9EBDF751581}"/>
                </a:ext>
              </a:extLst>
            </p:cNvPr>
            <p:cNvSpPr>
              <a:spLocks noChangeAspect="1"/>
            </p:cNvSpPr>
            <p:nvPr>
              <p:custDataLst>
                <p:tags r:id="rId204"/>
              </p:custDataLst>
            </p:nvPr>
          </p:nvSpPr>
          <p:spPr>
            <a:xfrm>
              <a:off x="2064845" y="4031437"/>
              <a:ext cx="151045" cy="96961"/>
            </a:xfrm>
            <a:custGeom>
              <a:avLst/>
              <a:gdLst>
                <a:gd name="connsiteX0" fmla="*/ 112546 w 138756"/>
                <a:gd name="connsiteY0" fmla="*/ 51947 h 86711"/>
                <a:gd name="connsiteX1" fmla="*/ 117891 w 138756"/>
                <a:gd name="connsiteY1" fmla="*/ 54933 h 86711"/>
                <a:gd name="connsiteX2" fmla="*/ 128689 w 138756"/>
                <a:gd name="connsiteY2" fmla="*/ 59421 h 86711"/>
                <a:gd name="connsiteX3" fmla="*/ 131564 w 138756"/>
                <a:gd name="connsiteY3" fmla="*/ 62571 h 86711"/>
                <a:gd name="connsiteX4" fmla="*/ 132080 w 138756"/>
                <a:gd name="connsiteY4" fmla="*/ 65951 h 86711"/>
                <a:gd name="connsiteX5" fmla="*/ 134041 w 138756"/>
                <a:gd name="connsiteY5" fmla="*/ 66379 h 86711"/>
                <a:gd name="connsiteX6" fmla="*/ 134970 w 138756"/>
                <a:gd name="connsiteY6" fmla="*/ 68696 h 86711"/>
                <a:gd name="connsiteX7" fmla="*/ 137808 w 138756"/>
                <a:gd name="connsiteY7" fmla="*/ 70722 h 86711"/>
                <a:gd name="connsiteX8" fmla="*/ 138756 w 138756"/>
                <a:gd name="connsiteY8" fmla="*/ 71879 h 86711"/>
                <a:gd name="connsiteX9" fmla="*/ 137580 w 138756"/>
                <a:gd name="connsiteY9" fmla="*/ 73743 h 86711"/>
                <a:gd name="connsiteX10" fmla="*/ 132397 w 138756"/>
                <a:gd name="connsiteY10" fmla="*/ 77314 h 86711"/>
                <a:gd name="connsiteX11" fmla="*/ 125862 w 138756"/>
                <a:gd name="connsiteY11" fmla="*/ 78878 h 86711"/>
                <a:gd name="connsiteX12" fmla="*/ 120106 w 138756"/>
                <a:gd name="connsiteY12" fmla="*/ 82874 h 86711"/>
                <a:gd name="connsiteX13" fmla="*/ 118930 w 138756"/>
                <a:gd name="connsiteY13" fmla="*/ 85439 h 86711"/>
                <a:gd name="connsiteX14" fmla="*/ 117802 w 138756"/>
                <a:gd name="connsiteY14" fmla="*/ 86711 h 86711"/>
                <a:gd name="connsiteX15" fmla="*/ 116395 w 138756"/>
                <a:gd name="connsiteY15" fmla="*/ 86611 h 86711"/>
                <a:gd name="connsiteX16" fmla="*/ 111279 w 138756"/>
                <a:gd name="connsiteY16" fmla="*/ 83894 h 86711"/>
                <a:gd name="connsiteX17" fmla="*/ 110659 w 138756"/>
                <a:gd name="connsiteY17" fmla="*/ 82431 h 86711"/>
                <a:gd name="connsiteX18" fmla="*/ 111038 w 138756"/>
                <a:gd name="connsiteY18" fmla="*/ 75638 h 86711"/>
                <a:gd name="connsiteX19" fmla="*/ 109122 w 138756"/>
                <a:gd name="connsiteY19" fmla="*/ 70122 h 86711"/>
                <a:gd name="connsiteX20" fmla="*/ 107009 w 138756"/>
                <a:gd name="connsiteY20" fmla="*/ 65904 h 86711"/>
                <a:gd name="connsiteX21" fmla="*/ 108546 w 138756"/>
                <a:gd name="connsiteY21" fmla="*/ 63739 h 86711"/>
                <a:gd name="connsiteX22" fmla="*/ 110574 w 138756"/>
                <a:gd name="connsiteY22" fmla="*/ 62065 h 86711"/>
                <a:gd name="connsiteX23" fmla="*/ 112835 w 138756"/>
                <a:gd name="connsiteY23" fmla="*/ 58896 h 86711"/>
                <a:gd name="connsiteX24" fmla="*/ 110987 w 138756"/>
                <a:gd name="connsiteY24" fmla="*/ 54828 h 86711"/>
                <a:gd name="connsiteX25" fmla="*/ 111458 w 138756"/>
                <a:gd name="connsiteY25" fmla="*/ 52373 h 86711"/>
                <a:gd name="connsiteX26" fmla="*/ 84225 w 138756"/>
                <a:gd name="connsiteY26" fmla="*/ 34543 h 86711"/>
                <a:gd name="connsiteX27" fmla="*/ 85789 w 138756"/>
                <a:gd name="connsiteY27" fmla="*/ 35215 h 86711"/>
                <a:gd name="connsiteX28" fmla="*/ 86611 w 138756"/>
                <a:gd name="connsiteY28" fmla="*/ 35934 h 86711"/>
                <a:gd name="connsiteX29" fmla="*/ 87605 w 138756"/>
                <a:gd name="connsiteY29" fmla="*/ 37176 h 86711"/>
                <a:gd name="connsiteX30" fmla="*/ 86578 w 138756"/>
                <a:gd name="connsiteY30" fmla="*/ 38735 h 86711"/>
                <a:gd name="connsiteX31" fmla="*/ 85065 w 138756"/>
                <a:gd name="connsiteY31" fmla="*/ 39484 h 86711"/>
                <a:gd name="connsiteX32" fmla="*/ 83420 w 138756"/>
                <a:gd name="connsiteY32" fmla="*/ 39137 h 86711"/>
                <a:gd name="connsiteX33" fmla="*/ 83037 w 138756"/>
                <a:gd name="connsiteY33" fmla="*/ 37322 h 86711"/>
                <a:gd name="connsiteX34" fmla="*/ 81451 w 138756"/>
                <a:gd name="connsiteY34" fmla="*/ 35011 h 86711"/>
                <a:gd name="connsiteX35" fmla="*/ 93317 w 138756"/>
                <a:gd name="connsiteY35" fmla="*/ 31765 h 86711"/>
                <a:gd name="connsiteX36" fmla="*/ 94672 w 138756"/>
                <a:gd name="connsiteY36" fmla="*/ 32875 h 86711"/>
                <a:gd name="connsiteX37" fmla="*/ 95832 w 138756"/>
                <a:gd name="connsiteY37" fmla="*/ 34476 h 86711"/>
                <a:gd name="connsiteX38" fmla="*/ 96494 w 138756"/>
                <a:gd name="connsiteY38" fmla="*/ 34950 h 86711"/>
                <a:gd name="connsiteX39" fmla="*/ 99211 w 138756"/>
                <a:gd name="connsiteY39" fmla="*/ 34239 h 86711"/>
                <a:gd name="connsiteX40" fmla="*/ 101171 w 138756"/>
                <a:gd name="connsiteY40" fmla="*/ 33978 h 86711"/>
                <a:gd name="connsiteX41" fmla="*/ 104468 w 138756"/>
                <a:gd name="connsiteY41" fmla="*/ 35730 h 86711"/>
                <a:gd name="connsiteX42" fmla="*/ 105611 w 138756"/>
                <a:gd name="connsiteY42" fmla="*/ 36932 h 86711"/>
                <a:gd name="connsiteX43" fmla="*/ 107775 w 138756"/>
                <a:gd name="connsiteY43" fmla="*/ 38218 h 86711"/>
                <a:gd name="connsiteX44" fmla="*/ 108511 w 138756"/>
                <a:gd name="connsiteY44" fmla="*/ 39148 h 86711"/>
                <a:gd name="connsiteX45" fmla="*/ 107905 w 138756"/>
                <a:gd name="connsiteY45" fmla="*/ 40274 h 86711"/>
                <a:gd name="connsiteX46" fmla="*/ 105519 w 138756"/>
                <a:gd name="connsiteY46" fmla="*/ 42137 h 86711"/>
                <a:gd name="connsiteX47" fmla="*/ 102262 w 138756"/>
                <a:gd name="connsiteY47" fmla="*/ 42568 h 86711"/>
                <a:gd name="connsiteX48" fmla="*/ 100344 w 138756"/>
                <a:gd name="connsiteY48" fmla="*/ 43362 h 86711"/>
                <a:gd name="connsiteX49" fmla="*/ 97824 w 138756"/>
                <a:gd name="connsiteY49" fmla="*/ 43191 h 86711"/>
                <a:gd name="connsiteX50" fmla="*/ 97073 w 138756"/>
                <a:gd name="connsiteY50" fmla="*/ 42854 h 86711"/>
                <a:gd name="connsiteX51" fmla="*/ 96800 w 138756"/>
                <a:gd name="connsiteY51" fmla="*/ 40501 h 86711"/>
                <a:gd name="connsiteX52" fmla="*/ 96004 w 138756"/>
                <a:gd name="connsiteY52" fmla="*/ 37974 h 86711"/>
                <a:gd name="connsiteX53" fmla="*/ 94378 w 138756"/>
                <a:gd name="connsiteY53" fmla="*/ 38273 h 86711"/>
                <a:gd name="connsiteX54" fmla="*/ 92552 w 138756"/>
                <a:gd name="connsiteY54" fmla="*/ 37425 h 86711"/>
                <a:gd name="connsiteX55" fmla="*/ 90657 w 138756"/>
                <a:gd name="connsiteY55" fmla="*/ 35305 h 86711"/>
                <a:gd name="connsiteX56" fmla="*/ 90452 w 138756"/>
                <a:gd name="connsiteY56" fmla="*/ 34037 h 86711"/>
                <a:gd name="connsiteX57" fmla="*/ 91493 w 138756"/>
                <a:gd name="connsiteY57" fmla="*/ 32025 h 86711"/>
                <a:gd name="connsiteX58" fmla="*/ 76365 w 138756"/>
                <a:gd name="connsiteY58" fmla="*/ 26552 h 86711"/>
                <a:gd name="connsiteX59" fmla="*/ 77292 w 138756"/>
                <a:gd name="connsiteY59" fmla="*/ 26937 h 86711"/>
                <a:gd name="connsiteX60" fmla="*/ 82682 w 138756"/>
                <a:gd name="connsiteY60" fmla="*/ 27669 h 86711"/>
                <a:gd name="connsiteX61" fmla="*/ 83956 w 138756"/>
                <a:gd name="connsiteY61" fmla="*/ 27355 h 86711"/>
                <a:gd name="connsiteX62" fmla="*/ 84854 w 138756"/>
                <a:gd name="connsiteY62" fmla="*/ 27953 h 86711"/>
                <a:gd name="connsiteX63" fmla="*/ 89317 w 138756"/>
                <a:gd name="connsiteY63" fmla="*/ 28320 h 86711"/>
                <a:gd name="connsiteX64" fmla="*/ 90084 w 138756"/>
                <a:gd name="connsiteY64" fmla="*/ 28544 h 86711"/>
                <a:gd name="connsiteX65" fmla="*/ 89172 w 138756"/>
                <a:gd name="connsiteY65" fmla="*/ 29919 h 86711"/>
                <a:gd name="connsiteX66" fmla="*/ 86315 w 138756"/>
                <a:gd name="connsiteY66" fmla="*/ 31177 h 86711"/>
                <a:gd name="connsiteX67" fmla="*/ 82208 w 138756"/>
                <a:gd name="connsiteY67" fmla="*/ 30073 h 86711"/>
                <a:gd name="connsiteX68" fmla="*/ 75335 w 138756"/>
                <a:gd name="connsiteY68" fmla="*/ 29677 h 86711"/>
                <a:gd name="connsiteX69" fmla="*/ 75610 w 138756"/>
                <a:gd name="connsiteY69" fmla="*/ 28619 h 86711"/>
                <a:gd name="connsiteX70" fmla="*/ 76265 w 138756"/>
                <a:gd name="connsiteY70" fmla="*/ 27865 h 86711"/>
                <a:gd name="connsiteX71" fmla="*/ 58189 w 138756"/>
                <a:gd name="connsiteY71" fmla="*/ 13962 h 86711"/>
                <a:gd name="connsiteX72" fmla="*/ 61020 w 138756"/>
                <a:gd name="connsiteY72" fmla="*/ 17916 h 86711"/>
                <a:gd name="connsiteX73" fmla="*/ 60946 w 138756"/>
                <a:gd name="connsiteY73" fmla="*/ 19023 h 86711"/>
                <a:gd name="connsiteX74" fmla="*/ 61579 w 138756"/>
                <a:gd name="connsiteY74" fmla="*/ 20104 h 86711"/>
                <a:gd name="connsiteX75" fmla="*/ 62350 w 138756"/>
                <a:gd name="connsiteY75" fmla="*/ 20500 h 86711"/>
                <a:gd name="connsiteX76" fmla="*/ 63226 w 138756"/>
                <a:gd name="connsiteY76" fmla="*/ 20652 h 86711"/>
                <a:gd name="connsiteX77" fmla="*/ 64351 w 138756"/>
                <a:gd name="connsiteY77" fmla="*/ 20471 h 86711"/>
                <a:gd name="connsiteX78" fmla="*/ 64743 w 138756"/>
                <a:gd name="connsiteY78" fmla="*/ 22597 h 86711"/>
                <a:gd name="connsiteX79" fmla="*/ 66054 w 138756"/>
                <a:gd name="connsiteY79" fmla="*/ 23775 h 86711"/>
                <a:gd name="connsiteX80" fmla="*/ 66532 w 138756"/>
                <a:gd name="connsiteY80" fmla="*/ 24478 h 86711"/>
                <a:gd name="connsiteX81" fmla="*/ 65117 w 138756"/>
                <a:gd name="connsiteY81" fmla="*/ 25220 h 86711"/>
                <a:gd name="connsiteX82" fmla="*/ 62365 w 138756"/>
                <a:gd name="connsiteY82" fmla="*/ 25518 h 86711"/>
                <a:gd name="connsiteX83" fmla="*/ 61075 w 138756"/>
                <a:gd name="connsiteY83" fmla="*/ 24926 h 86711"/>
                <a:gd name="connsiteX84" fmla="*/ 59738 w 138756"/>
                <a:gd name="connsiteY84" fmla="*/ 23598 h 86711"/>
                <a:gd name="connsiteX85" fmla="*/ 58291 w 138756"/>
                <a:gd name="connsiteY85" fmla="*/ 23962 h 86711"/>
                <a:gd name="connsiteX86" fmla="*/ 58040 w 138756"/>
                <a:gd name="connsiteY86" fmla="*/ 22894 h 86711"/>
                <a:gd name="connsiteX87" fmla="*/ 57782 w 138756"/>
                <a:gd name="connsiteY87" fmla="*/ 22585 h 86711"/>
                <a:gd name="connsiteX88" fmla="*/ 56790 w 138756"/>
                <a:gd name="connsiteY88" fmla="*/ 22873 h 86711"/>
                <a:gd name="connsiteX89" fmla="*/ 57718 w 138756"/>
                <a:gd name="connsiteY89" fmla="*/ 24251 h 86711"/>
                <a:gd name="connsiteX90" fmla="*/ 55213 w 138756"/>
                <a:gd name="connsiteY90" fmla="*/ 24353 h 86711"/>
                <a:gd name="connsiteX91" fmla="*/ 54416 w 138756"/>
                <a:gd name="connsiteY91" fmla="*/ 24183 h 86711"/>
                <a:gd name="connsiteX92" fmla="*/ 53715 w 138756"/>
                <a:gd name="connsiteY92" fmla="*/ 22622 h 86711"/>
                <a:gd name="connsiteX93" fmla="*/ 51131 w 138756"/>
                <a:gd name="connsiteY93" fmla="*/ 19627 h 86711"/>
                <a:gd name="connsiteX94" fmla="*/ 51143 w 138756"/>
                <a:gd name="connsiteY94" fmla="*/ 18459 h 86711"/>
                <a:gd name="connsiteX95" fmla="*/ 50264 w 138756"/>
                <a:gd name="connsiteY95" fmla="*/ 17064 h 86711"/>
                <a:gd name="connsiteX96" fmla="*/ 54092 w 138756"/>
                <a:gd name="connsiteY96" fmla="*/ 16664 h 86711"/>
                <a:gd name="connsiteX97" fmla="*/ 56712 w 138756"/>
                <a:gd name="connsiteY97" fmla="*/ 14218 h 86711"/>
                <a:gd name="connsiteX98" fmla="*/ 3643 w 138756"/>
                <a:gd name="connsiteY98" fmla="*/ 5567 h 86711"/>
                <a:gd name="connsiteX99" fmla="*/ 4968 w 138756"/>
                <a:gd name="connsiteY99" fmla="*/ 5850 h 86711"/>
                <a:gd name="connsiteX100" fmla="*/ 4254 w 138756"/>
                <a:gd name="connsiteY100" fmla="*/ 7096 h 86711"/>
                <a:gd name="connsiteX101" fmla="*/ 4169 w 138756"/>
                <a:gd name="connsiteY101" fmla="*/ 8451 h 86711"/>
                <a:gd name="connsiteX102" fmla="*/ 2297 w 138756"/>
                <a:gd name="connsiteY102" fmla="*/ 9219 h 86711"/>
                <a:gd name="connsiteX103" fmla="*/ 1619 w 138756"/>
                <a:gd name="connsiteY103" fmla="*/ 10227 h 86711"/>
                <a:gd name="connsiteX104" fmla="*/ 1103 w 138756"/>
                <a:gd name="connsiteY104" fmla="*/ 11408 h 86711"/>
                <a:gd name="connsiteX105" fmla="*/ 223 w 138756"/>
                <a:gd name="connsiteY105" fmla="*/ 11227 h 86711"/>
                <a:gd name="connsiteX106" fmla="*/ 0 w 138756"/>
                <a:gd name="connsiteY106" fmla="*/ 10173 h 86711"/>
                <a:gd name="connsiteX107" fmla="*/ 576 w 138756"/>
                <a:gd name="connsiteY107" fmla="*/ 8724 h 86711"/>
                <a:gd name="connsiteX108" fmla="*/ 2030 w 138756"/>
                <a:gd name="connsiteY108" fmla="*/ 7472 h 86711"/>
                <a:gd name="connsiteX109" fmla="*/ 16945 w 138756"/>
                <a:gd name="connsiteY109" fmla="*/ 0 h 86711"/>
                <a:gd name="connsiteX110" fmla="*/ 22740 w 138756"/>
                <a:gd name="connsiteY110" fmla="*/ 95 h 86711"/>
                <a:gd name="connsiteX111" fmla="*/ 23946 w 138756"/>
                <a:gd name="connsiteY111" fmla="*/ 1851 h 86711"/>
                <a:gd name="connsiteX112" fmla="*/ 24050 w 138756"/>
                <a:gd name="connsiteY112" fmla="*/ 3157 h 86711"/>
                <a:gd name="connsiteX113" fmla="*/ 23298 w 138756"/>
                <a:gd name="connsiteY113" fmla="*/ 4618 h 86711"/>
                <a:gd name="connsiteX114" fmla="*/ 22951 w 138756"/>
                <a:gd name="connsiteY114" fmla="*/ 6681 h 86711"/>
                <a:gd name="connsiteX115" fmla="*/ 22212 w 138756"/>
                <a:gd name="connsiteY115" fmla="*/ 7785 h 86711"/>
                <a:gd name="connsiteX116" fmla="*/ 19968 w 138756"/>
                <a:gd name="connsiteY116" fmla="*/ 9290 h 86711"/>
                <a:gd name="connsiteX117" fmla="*/ 18664 w 138756"/>
                <a:gd name="connsiteY117" fmla="*/ 8640 h 86711"/>
                <a:gd name="connsiteX118" fmla="*/ 16190 w 138756"/>
                <a:gd name="connsiteY118" fmla="*/ 8395 h 86711"/>
                <a:gd name="connsiteX119" fmla="*/ 15231 w 138756"/>
                <a:gd name="connsiteY119" fmla="*/ 7266 h 86711"/>
                <a:gd name="connsiteX120" fmla="*/ 12638 w 138756"/>
                <a:gd name="connsiteY120" fmla="*/ 6246 h 86711"/>
                <a:gd name="connsiteX121" fmla="*/ 11590 w 138756"/>
                <a:gd name="connsiteY121" fmla="*/ 4856 h 86711"/>
                <a:gd name="connsiteX122" fmla="*/ 13186 w 138756"/>
                <a:gd name="connsiteY122" fmla="*/ 2222 h 86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</a:cxnLst>
              <a:rect l="l" t="t" r="r" b="b"/>
              <a:pathLst>
                <a:path w="138756" h="86711">
                  <a:moveTo>
                    <a:pt x="112546" y="51947"/>
                  </a:moveTo>
                  <a:lnTo>
                    <a:pt x="117891" y="54933"/>
                  </a:lnTo>
                  <a:lnTo>
                    <a:pt x="128689" y="59421"/>
                  </a:lnTo>
                  <a:lnTo>
                    <a:pt x="131564" y="62571"/>
                  </a:lnTo>
                  <a:lnTo>
                    <a:pt x="132080" y="65951"/>
                  </a:lnTo>
                  <a:lnTo>
                    <a:pt x="134041" y="66379"/>
                  </a:lnTo>
                  <a:lnTo>
                    <a:pt x="134970" y="68696"/>
                  </a:lnTo>
                  <a:lnTo>
                    <a:pt x="137808" y="70722"/>
                  </a:lnTo>
                  <a:lnTo>
                    <a:pt x="138756" y="71879"/>
                  </a:lnTo>
                  <a:lnTo>
                    <a:pt x="137580" y="73743"/>
                  </a:lnTo>
                  <a:lnTo>
                    <a:pt x="132397" y="77314"/>
                  </a:lnTo>
                  <a:lnTo>
                    <a:pt x="125862" y="78878"/>
                  </a:lnTo>
                  <a:lnTo>
                    <a:pt x="120106" y="82874"/>
                  </a:lnTo>
                  <a:lnTo>
                    <a:pt x="118930" y="85439"/>
                  </a:lnTo>
                  <a:lnTo>
                    <a:pt x="117802" y="86711"/>
                  </a:lnTo>
                  <a:lnTo>
                    <a:pt x="116395" y="86611"/>
                  </a:lnTo>
                  <a:lnTo>
                    <a:pt x="111279" y="83894"/>
                  </a:lnTo>
                  <a:lnTo>
                    <a:pt x="110659" y="82431"/>
                  </a:lnTo>
                  <a:lnTo>
                    <a:pt x="111038" y="75638"/>
                  </a:lnTo>
                  <a:lnTo>
                    <a:pt x="109122" y="70122"/>
                  </a:lnTo>
                  <a:lnTo>
                    <a:pt x="107009" y="65904"/>
                  </a:lnTo>
                  <a:lnTo>
                    <a:pt x="108546" y="63739"/>
                  </a:lnTo>
                  <a:lnTo>
                    <a:pt x="110574" y="62065"/>
                  </a:lnTo>
                  <a:lnTo>
                    <a:pt x="112835" y="58896"/>
                  </a:lnTo>
                  <a:lnTo>
                    <a:pt x="110987" y="54828"/>
                  </a:lnTo>
                  <a:lnTo>
                    <a:pt x="111458" y="52373"/>
                  </a:lnTo>
                  <a:close/>
                  <a:moveTo>
                    <a:pt x="84225" y="34543"/>
                  </a:moveTo>
                  <a:lnTo>
                    <a:pt x="85789" y="35215"/>
                  </a:lnTo>
                  <a:lnTo>
                    <a:pt x="86611" y="35934"/>
                  </a:lnTo>
                  <a:lnTo>
                    <a:pt x="87605" y="37176"/>
                  </a:lnTo>
                  <a:lnTo>
                    <a:pt x="86578" y="38735"/>
                  </a:lnTo>
                  <a:lnTo>
                    <a:pt x="85065" y="39484"/>
                  </a:lnTo>
                  <a:lnTo>
                    <a:pt x="83420" y="39137"/>
                  </a:lnTo>
                  <a:lnTo>
                    <a:pt x="83037" y="37322"/>
                  </a:lnTo>
                  <a:lnTo>
                    <a:pt x="81451" y="35011"/>
                  </a:lnTo>
                  <a:close/>
                  <a:moveTo>
                    <a:pt x="93317" y="31765"/>
                  </a:moveTo>
                  <a:lnTo>
                    <a:pt x="94672" y="32875"/>
                  </a:lnTo>
                  <a:lnTo>
                    <a:pt x="95832" y="34476"/>
                  </a:lnTo>
                  <a:lnTo>
                    <a:pt x="96494" y="34950"/>
                  </a:lnTo>
                  <a:lnTo>
                    <a:pt x="99211" y="34239"/>
                  </a:lnTo>
                  <a:lnTo>
                    <a:pt x="101171" y="33978"/>
                  </a:lnTo>
                  <a:lnTo>
                    <a:pt x="104468" y="35730"/>
                  </a:lnTo>
                  <a:lnTo>
                    <a:pt x="105611" y="36932"/>
                  </a:lnTo>
                  <a:lnTo>
                    <a:pt x="107775" y="38218"/>
                  </a:lnTo>
                  <a:lnTo>
                    <a:pt x="108511" y="39148"/>
                  </a:lnTo>
                  <a:lnTo>
                    <a:pt x="107905" y="40274"/>
                  </a:lnTo>
                  <a:lnTo>
                    <a:pt x="105519" y="42137"/>
                  </a:lnTo>
                  <a:lnTo>
                    <a:pt x="102262" y="42568"/>
                  </a:lnTo>
                  <a:lnTo>
                    <a:pt x="100344" y="43362"/>
                  </a:lnTo>
                  <a:lnTo>
                    <a:pt x="97824" y="43191"/>
                  </a:lnTo>
                  <a:lnTo>
                    <a:pt x="97073" y="42854"/>
                  </a:lnTo>
                  <a:lnTo>
                    <a:pt x="96800" y="40501"/>
                  </a:lnTo>
                  <a:lnTo>
                    <a:pt x="96004" y="37974"/>
                  </a:lnTo>
                  <a:lnTo>
                    <a:pt x="94378" y="38273"/>
                  </a:lnTo>
                  <a:lnTo>
                    <a:pt x="92552" y="37425"/>
                  </a:lnTo>
                  <a:lnTo>
                    <a:pt x="90657" y="35305"/>
                  </a:lnTo>
                  <a:lnTo>
                    <a:pt x="90452" y="34037"/>
                  </a:lnTo>
                  <a:lnTo>
                    <a:pt x="91493" y="32025"/>
                  </a:lnTo>
                  <a:close/>
                  <a:moveTo>
                    <a:pt x="76365" y="26552"/>
                  </a:moveTo>
                  <a:lnTo>
                    <a:pt x="77292" y="26937"/>
                  </a:lnTo>
                  <a:lnTo>
                    <a:pt x="82682" y="27669"/>
                  </a:lnTo>
                  <a:lnTo>
                    <a:pt x="83956" y="27355"/>
                  </a:lnTo>
                  <a:lnTo>
                    <a:pt x="84854" y="27953"/>
                  </a:lnTo>
                  <a:lnTo>
                    <a:pt x="89317" y="28320"/>
                  </a:lnTo>
                  <a:lnTo>
                    <a:pt x="90084" y="28544"/>
                  </a:lnTo>
                  <a:lnTo>
                    <a:pt x="89172" y="29919"/>
                  </a:lnTo>
                  <a:lnTo>
                    <a:pt x="86315" y="31177"/>
                  </a:lnTo>
                  <a:lnTo>
                    <a:pt x="82208" y="30073"/>
                  </a:lnTo>
                  <a:lnTo>
                    <a:pt x="75335" y="29677"/>
                  </a:lnTo>
                  <a:lnTo>
                    <a:pt x="75610" y="28619"/>
                  </a:lnTo>
                  <a:lnTo>
                    <a:pt x="76265" y="27865"/>
                  </a:lnTo>
                  <a:close/>
                  <a:moveTo>
                    <a:pt x="58189" y="13962"/>
                  </a:moveTo>
                  <a:lnTo>
                    <a:pt x="61020" y="17916"/>
                  </a:lnTo>
                  <a:lnTo>
                    <a:pt x="60946" y="19023"/>
                  </a:lnTo>
                  <a:lnTo>
                    <a:pt x="61579" y="20104"/>
                  </a:lnTo>
                  <a:lnTo>
                    <a:pt x="62350" y="20500"/>
                  </a:lnTo>
                  <a:lnTo>
                    <a:pt x="63226" y="20652"/>
                  </a:lnTo>
                  <a:lnTo>
                    <a:pt x="64351" y="20471"/>
                  </a:lnTo>
                  <a:lnTo>
                    <a:pt x="64743" y="22597"/>
                  </a:lnTo>
                  <a:lnTo>
                    <a:pt x="66054" y="23775"/>
                  </a:lnTo>
                  <a:lnTo>
                    <a:pt x="66532" y="24478"/>
                  </a:lnTo>
                  <a:lnTo>
                    <a:pt x="65117" y="25220"/>
                  </a:lnTo>
                  <a:lnTo>
                    <a:pt x="62365" y="25518"/>
                  </a:lnTo>
                  <a:lnTo>
                    <a:pt x="61075" y="24926"/>
                  </a:lnTo>
                  <a:lnTo>
                    <a:pt x="59738" y="23598"/>
                  </a:lnTo>
                  <a:lnTo>
                    <a:pt x="58291" y="23962"/>
                  </a:lnTo>
                  <a:lnTo>
                    <a:pt x="58040" y="22894"/>
                  </a:lnTo>
                  <a:lnTo>
                    <a:pt x="57782" y="22585"/>
                  </a:lnTo>
                  <a:lnTo>
                    <a:pt x="56790" y="22873"/>
                  </a:lnTo>
                  <a:lnTo>
                    <a:pt x="57718" y="24251"/>
                  </a:lnTo>
                  <a:lnTo>
                    <a:pt x="55213" y="24353"/>
                  </a:lnTo>
                  <a:lnTo>
                    <a:pt x="54416" y="24183"/>
                  </a:lnTo>
                  <a:lnTo>
                    <a:pt x="53715" y="22622"/>
                  </a:lnTo>
                  <a:lnTo>
                    <a:pt x="51131" y="19627"/>
                  </a:lnTo>
                  <a:lnTo>
                    <a:pt x="51143" y="18459"/>
                  </a:lnTo>
                  <a:lnTo>
                    <a:pt x="50264" y="17064"/>
                  </a:lnTo>
                  <a:lnTo>
                    <a:pt x="54092" y="16664"/>
                  </a:lnTo>
                  <a:lnTo>
                    <a:pt x="56712" y="14218"/>
                  </a:lnTo>
                  <a:close/>
                  <a:moveTo>
                    <a:pt x="3643" y="5567"/>
                  </a:moveTo>
                  <a:lnTo>
                    <a:pt x="4968" y="5850"/>
                  </a:lnTo>
                  <a:lnTo>
                    <a:pt x="4254" y="7096"/>
                  </a:lnTo>
                  <a:lnTo>
                    <a:pt x="4169" y="8451"/>
                  </a:lnTo>
                  <a:lnTo>
                    <a:pt x="2297" y="9219"/>
                  </a:lnTo>
                  <a:lnTo>
                    <a:pt x="1619" y="10227"/>
                  </a:lnTo>
                  <a:lnTo>
                    <a:pt x="1103" y="11408"/>
                  </a:lnTo>
                  <a:lnTo>
                    <a:pt x="223" y="11227"/>
                  </a:lnTo>
                  <a:lnTo>
                    <a:pt x="0" y="10173"/>
                  </a:lnTo>
                  <a:lnTo>
                    <a:pt x="576" y="8724"/>
                  </a:lnTo>
                  <a:lnTo>
                    <a:pt x="2030" y="7472"/>
                  </a:lnTo>
                  <a:close/>
                  <a:moveTo>
                    <a:pt x="16945" y="0"/>
                  </a:moveTo>
                  <a:lnTo>
                    <a:pt x="22740" y="95"/>
                  </a:lnTo>
                  <a:lnTo>
                    <a:pt x="23946" y="1851"/>
                  </a:lnTo>
                  <a:lnTo>
                    <a:pt x="24050" y="3157"/>
                  </a:lnTo>
                  <a:lnTo>
                    <a:pt x="23298" y="4618"/>
                  </a:lnTo>
                  <a:lnTo>
                    <a:pt x="22951" y="6681"/>
                  </a:lnTo>
                  <a:lnTo>
                    <a:pt x="22212" y="7785"/>
                  </a:lnTo>
                  <a:lnTo>
                    <a:pt x="19968" y="9290"/>
                  </a:lnTo>
                  <a:lnTo>
                    <a:pt x="18664" y="8640"/>
                  </a:lnTo>
                  <a:lnTo>
                    <a:pt x="16190" y="8395"/>
                  </a:lnTo>
                  <a:lnTo>
                    <a:pt x="15231" y="7266"/>
                  </a:lnTo>
                  <a:lnTo>
                    <a:pt x="12638" y="6246"/>
                  </a:lnTo>
                  <a:lnTo>
                    <a:pt x="11590" y="4856"/>
                  </a:lnTo>
                  <a:lnTo>
                    <a:pt x="13186" y="2222"/>
                  </a:lnTo>
                  <a:close/>
                </a:path>
              </a:pathLst>
            </a:custGeom>
            <a:solidFill>
              <a:srgbClr val="007CBC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77" name="ee4p_US_3_82333">
              <a:extLst>
                <a:ext uri="{FF2B5EF4-FFF2-40B4-BE49-F238E27FC236}">
                  <a16:creationId xmlns:a16="http://schemas.microsoft.com/office/drawing/2014/main" id="{234106BB-0B50-0879-5CE4-DC3F37784C14}"/>
                </a:ext>
              </a:extLst>
            </p:cNvPr>
            <p:cNvSpPr>
              <a:spLocks noChangeAspect="1"/>
            </p:cNvSpPr>
            <p:nvPr>
              <p:custDataLst>
                <p:tags r:id="rId205"/>
              </p:custDataLst>
            </p:nvPr>
          </p:nvSpPr>
          <p:spPr>
            <a:xfrm>
              <a:off x="4628133" y="4141443"/>
              <a:ext cx="93210" cy="24173"/>
            </a:xfrm>
            <a:custGeom>
              <a:avLst/>
              <a:gdLst>
                <a:gd name="connsiteX0" fmla="*/ 80904 w 85626"/>
                <a:gd name="connsiteY0" fmla="*/ 19180 h 21617"/>
                <a:gd name="connsiteX1" fmla="*/ 83041 w 85626"/>
                <a:gd name="connsiteY1" fmla="*/ 20342 h 21617"/>
                <a:gd name="connsiteX2" fmla="*/ 85626 w 85626"/>
                <a:gd name="connsiteY2" fmla="*/ 20342 h 21617"/>
                <a:gd name="connsiteX3" fmla="*/ 82928 w 85626"/>
                <a:gd name="connsiteY3" fmla="*/ 21500 h 21617"/>
                <a:gd name="connsiteX4" fmla="*/ 77754 w 85626"/>
                <a:gd name="connsiteY4" fmla="*/ 21617 h 21617"/>
                <a:gd name="connsiteX5" fmla="*/ 77865 w 85626"/>
                <a:gd name="connsiteY5" fmla="*/ 19761 h 21617"/>
                <a:gd name="connsiteX6" fmla="*/ 1939 w 85626"/>
                <a:gd name="connsiteY6" fmla="*/ 10535 h 21617"/>
                <a:gd name="connsiteX7" fmla="*/ 2090 w 85626"/>
                <a:gd name="connsiteY7" fmla="*/ 10574 h 21617"/>
                <a:gd name="connsiteX8" fmla="*/ 2384 w 85626"/>
                <a:gd name="connsiteY8" fmla="*/ 10839 h 21617"/>
                <a:gd name="connsiteX9" fmla="*/ 2391 w 85626"/>
                <a:gd name="connsiteY9" fmla="*/ 11025 h 21617"/>
                <a:gd name="connsiteX10" fmla="*/ 2246 w 85626"/>
                <a:gd name="connsiteY10" fmla="*/ 11209 h 21617"/>
                <a:gd name="connsiteX11" fmla="*/ 1987 w 85626"/>
                <a:gd name="connsiteY11" fmla="*/ 11667 h 21617"/>
                <a:gd name="connsiteX12" fmla="*/ 1879 w 85626"/>
                <a:gd name="connsiteY12" fmla="*/ 11784 h 21617"/>
                <a:gd name="connsiteX13" fmla="*/ 1793 w 85626"/>
                <a:gd name="connsiteY13" fmla="*/ 11904 h 21617"/>
                <a:gd name="connsiteX14" fmla="*/ 1760 w 85626"/>
                <a:gd name="connsiteY14" fmla="*/ 12110 h 21617"/>
                <a:gd name="connsiteX15" fmla="*/ 1649 w 85626"/>
                <a:gd name="connsiteY15" fmla="*/ 12187 h 21617"/>
                <a:gd name="connsiteX16" fmla="*/ 1409 w 85626"/>
                <a:gd name="connsiteY16" fmla="*/ 12212 h 21617"/>
                <a:gd name="connsiteX17" fmla="*/ 1172 w 85626"/>
                <a:gd name="connsiteY17" fmla="*/ 12186 h 21617"/>
                <a:gd name="connsiteX18" fmla="*/ 1062 w 85626"/>
                <a:gd name="connsiteY18" fmla="*/ 12110 h 21617"/>
                <a:gd name="connsiteX19" fmla="*/ 898 w 85626"/>
                <a:gd name="connsiteY19" fmla="*/ 11872 h 21617"/>
                <a:gd name="connsiteX20" fmla="*/ 172 w 85626"/>
                <a:gd name="connsiteY20" fmla="*/ 11474 h 21617"/>
                <a:gd name="connsiteX21" fmla="*/ 0 w 85626"/>
                <a:gd name="connsiteY21" fmla="*/ 11114 h 21617"/>
                <a:gd name="connsiteX22" fmla="*/ 165 w 85626"/>
                <a:gd name="connsiteY22" fmla="*/ 10732 h 21617"/>
                <a:gd name="connsiteX23" fmla="*/ 463 w 85626"/>
                <a:gd name="connsiteY23" fmla="*/ 10580 h 21617"/>
                <a:gd name="connsiteX24" fmla="*/ 62753 w 85626"/>
                <a:gd name="connsiteY24" fmla="*/ 9417 h 21617"/>
                <a:gd name="connsiteX25" fmla="*/ 65583 w 85626"/>
                <a:gd name="connsiteY25" fmla="*/ 9520 h 21617"/>
                <a:gd name="connsiteX26" fmla="*/ 67204 w 85626"/>
                <a:gd name="connsiteY26" fmla="*/ 9961 h 21617"/>
                <a:gd name="connsiteX27" fmla="*/ 67403 w 85626"/>
                <a:gd name="connsiteY27" fmla="*/ 10253 h 21617"/>
                <a:gd name="connsiteX28" fmla="*/ 64068 w 85626"/>
                <a:gd name="connsiteY28" fmla="*/ 10983 h 21617"/>
                <a:gd name="connsiteX29" fmla="*/ 62068 w 85626"/>
                <a:gd name="connsiteY29" fmla="*/ 11143 h 21617"/>
                <a:gd name="connsiteX30" fmla="*/ 60765 w 85626"/>
                <a:gd name="connsiteY30" fmla="*/ 10929 h 21617"/>
                <a:gd name="connsiteX31" fmla="*/ 60328 w 85626"/>
                <a:gd name="connsiteY31" fmla="*/ 10147 h 21617"/>
                <a:gd name="connsiteX32" fmla="*/ 81241 w 85626"/>
                <a:gd name="connsiteY32" fmla="*/ 3961 h 21617"/>
                <a:gd name="connsiteX33" fmla="*/ 83603 w 85626"/>
                <a:gd name="connsiteY33" fmla="*/ 4426 h 21617"/>
                <a:gd name="connsiteX34" fmla="*/ 81915 w 85626"/>
                <a:gd name="connsiteY34" fmla="*/ 5124 h 21617"/>
                <a:gd name="connsiteX35" fmla="*/ 80777 w 85626"/>
                <a:gd name="connsiteY35" fmla="*/ 5026 h 21617"/>
                <a:gd name="connsiteX36" fmla="*/ 80340 w 85626"/>
                <a:gd name="connsiteY36" fmla="*/ 4776 h 21617"/>
                <a:gd name="connsiteX37" fmla="*/ 76404 w 85626"/>
                <a:gd name="connsiteY37" fmla="*/ 3613 h 21617"/>
                <a:gd name="connsiteX38" fmla="*/ 77755 w 85626"/>
                <a:gd name="connsiteY38" fmla="*/ 3903 h 21617"/>
                <a:gd name="connsiteX39" fmla="*/ 78879 w 85626"/>
                <a:gd name="connsiteY39" fmla="*/ 5067 h 21617"/>
                <a:gd name="connsiteX40" fmla="*/ 76968 w 85626"/>
                <a:gd name="connsiteY40" fmla="*/ 5299 h 21617"/>
                <a:gd name="connsiteX41" fmla="*/ 74322 w 85626"/>
                <a:gd name="connsiteY41" fmla="*/ 4078 h 21617"/>
                <a:gd name="connsiteX42" fmla="*/ 22383 w 85626"/>
                <a:gd name="connsiteY42" fmla="*/ 0 h 21617"/>
                <a:gd name="connsiteX43" fmla="*/ 28678 w 85626"/>
                <a:gd name="connsiteY43" fmla="*/ 783 h 21617"/>
                <a:gd name="connsiteX44" fmla="*/ 44604 w 85626"/>
                <a:gd name="connsiteY44" fmla="*/ 1224 h 21617"/>
                <a:gd name="connsiteX45" fmla="*/ 45511 w 85626"/>
                <a:gd name="connsiteY45" fmla="*/ 1359 h 21617"/>
                <a:gd name="connsiteX46" fmla="*/ 46114 w 85626"/>
                <a:gd name="connsiteY46" fmla="*/ 2037 h 21617"/>
                <a:gd name="connsiteX47" fmla="*/ 46903 w 85626"/>
                <a:gd name="connsiteY47" fmla="*/ 2557 h 21617"/>
                <a:gd name="connsiteX48" fmla="*/ 47670 w 85626"/>
                <a:gd name="connsiteY48" fmla="*/ 2483 h 21617"/>
                <a:gd name="connsiteX49" fmla="*/ 47050 w 85626"/>
                <a:gd name="connsiteY49" fmla="*/ 1403 h 21617"/>
                <a:gd name="connsiteX50" fmla="*/ 47619 w 85626"/>
                <a:gd name="connsiteY50" fmla="*/ 1403 h 21617"/>
                <a:gd name="connsiteX51" fmla="*/ 52509 w 85626"/>
                <a:gd name="connsiteY51" fmla="*/ 2066 h 21617"/>
                <a:gd name="connsiteX52" fmla="*/ 55651 w 85626"/>
                <a:gd name="connsiteY52" fmla="*/ 3181 h 21617"/>
                <a:gd name="connsiteX53" fmla="*/ 58884 w 85626"/>
                <a:gd name="connsiteY53" fmla="*/ 3713 h 21617"/>
                <a:gd name="connsiteX54" fmla="*/ 59086 w 85626"/>
                <a:gd name="connsiteY54" fmla="*/ 7380 h 21617"/>
                <a:gd name="connsiteX55" fmla="*/ 56598 w 85626"/>
                <a:gd name="connsiteY55" fmla="*/ 8847 h 21617"/>
                <a:gd name="connsiteX56" fmla="*/ 54971 w 85626"/>
                <a:gd name="connsiteY56" fmla="*/ 10378 h 21617"/>
                <a:gd name="connsiteX57" fmla="*/ 53646 w 85626"/>
                <a:gd name="connsiteY57" fmla="*/ 12255 h 21617"/>
                <a:gd name="connsiteX58" fmla="*/ 50160 w 85626"/>
                <a:gd name="connsiteY58" fmla="*/ 14440 h 21617"/>
                <a:gd name="connsiteX59" fmla="*/ 45959 w 85626"/>
                <a:gd name="connsiteY59" fmla="*/ 15096 h 21617"/>
                <a:gd name="connsiteX60" fmla="*/ 43164 w 85626"/>
                <a:gd name="connsiteY60" fmla="*/ 15153 h 21617"/>
                <a:gd name="connsiteX61" fmla="*/ 42122 w 85626"/>
                <a:gd name="connsiteY61" fmla="*/ 15083 h 21617"/>
                <a:gd name="connsiteX62" fmla="*/ 41104 w 85626"/>
                <a:gd name="connsiteY62" fmla="*/ 14710 h 21617"/>
                <a:gd name="connsiteX63" fmla="*/ 38993 w 85626"/>
                <a:gd name="connsiteY63" fmla="*/ 15067 h 21617"/>
                <a:gd name="connsiteX64" fmla="*/ 36385 w 85626"/>
                <a:gd name="connsiteY64" fmla="*/ 14107 h 21617"/>
                <a:gd name="connsiteX65" fmla="*/ 34149 w 85626"/>
                <a:gd name="connsiteY65" fmla="*/ 14348 h 21617"/>
                <a:gd name="connsiteX66" fmla="*/ 29710 w 85626"/>
                <a:gd name="connsiteY66" fmla="*/ 14118 h 21617"/>
                <a:gd name="connsiteX67" fmla="*/ 28048 w 85626"/>
                <a:gd name="connsiteY67" fmla="*/ 14948 h 21617"/>
                <a:gd name="connsiteX68" fmla="*/ 26456 w 85626"/>
                <a:gd name="connsiteY68" fmla="*/ 15137 h 21617"/>
                <a:gd name="connsiteX69" fmla="*/ 24894 w 85626"/>
                <a:gd name="connsiteY69" fmla="*/ 14982 h 21617"/>
                <a:gd name="connsiteX70" fmla="*/ 23565 w 85626"/>
                <a:gd name="connsiteY70" fmla="*/ 14611 h 21617"/>
                <a:gd name="connsiteX71" fmla="*/ 20273 w 85626"/>
                <a:gd name="connsiteY71" fmla="*/ 14642 h 21617"/>
                <a:gd name="connsiteX72" fmla="*/ 18882 w 85626"/>
                <a:gd name="connsiteY72" fmla="*/ 13918 h 21617"/>
                <a:gd name="connsiteX73" fmla="*/ 19458 w 85626"/>
                <a:gd name="connsiteY73" fmla="*/ 9748 h 21617"/>
                <a:gd name="connsiteX74" fmla="*/ 19505 w 85626"/>
                <a:gd name="connsiteY74" fmla="*/ 7857 h 21617"/>
                <a:gd name="connsiteX75" fmla="*/ 18697 w 85626"/>
                <a:gd name="connsiteY75" fmla="*/ 6298 h 21617"/>
                <a:gd name="connsiteX76" fmla="*/ 17810 w 85626"/>
                <a:gd name="connsiteY76" fmla="*/ 5315 h 21617"/>
                <a:gd name="connsiteX77" fmla="*/ 17169 w 85626"/>
                <a:gd name="connsiteY77" fmla="*/ 4157 h 21617"/>
                <a:gd name="connsiteX78" fmla="*/ 18462 w 85626"/>
                <a:gd name="connsiteY78" fmla="*/ 3391 h 21617"/>
                <a:gd name="connsiteX79" fmla="*/ 19523 w 85626"/>
                <a:gd name="connsiteY79" fmla="*/ 2279 h 21617"/>
                <a:gd name="connsiteX80" fmla="*/ 19858 w 85626"/>
                <a:gd name="connsiteY80" fmla="*/ 606 h 21617"/>
                <a:gd name="connsiteX81" fmla="*/ 21021 w 85626"/>
                <a:gd name="connsiteY81" fmla="*/ 194 h 21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85626" h="21617">
                  <a:moveTo>
                    <a:pt x="80904" y="19180"/>
                  </a:moveTo>
                  <a:lnTo>
                    <a:pt x="83041" y="20342"/>
                  </a:lnTo>
                  <a:lnTo>
                    <a:pt x="85626" y="20342"/>
                  </a:lnTo>
                  <a:lnTo>
                    <a:pt x="82928" y="21500"/>
                  </a:lnTo>
                  <a:lnTo>
                    <a:pt x="77754" y="21617"/>
                  </a:lnTo>
                  <a:lnTo>
                    <a:pt x="77865" y="19761"/>
                  </a:lnTo>
                  <a:close/>
                  <a:moveTo>
                    <a:pt x="1939" y="10535"/>
                  </a:moveTo>
                  <a:lnTo>
                    <a:pt x="2090" y="10574"/>
                  </a:lnTo>
                  <a:lnTo>
                    <a:pt x="2384" y="10839"/>
                  </a:lnTo>
                  <a:lnTo>
                    <a:pt x="2391" y="11025"/>
                  </a:lnTo>
                  <a:lnTo>
                    <a:pt x="2246" y="11209"/>
                  </a:lnTo>
                  <a:lnTo>
                    <a:pt x="1987" y="11667"/>
                  </a:lnTo>
                  <a:lnTo>
                    <a:pt x="1879" y="11784"/>
                  </a:lnTo>
                  <a:lnTo>
                    <a:pt x="1793" y="11904"/>
                  </a:lnTo>
                  <a:lnTo>
                    <a:pt x="1760" y="12110"/>
                  </a:lnTo>
                  <a:lnTo>
                    <a:pt x="1649" y="12187"/>
                  </a:lnTo>
                  <a:lnTo>
                    <a:pt x="1409" y="12212"/>
                  </a:lnTo>
                  <a:lnTo>
                    <a:pt x="1172" y="12186"/>
                  </a:lnTo>
                  <a:lnTo>
                    <a:pt x="1062" y="12110"/>
                  </a:lnTo>
                  <a:lnTo>
                    <a:pt x="898" y="11872"/>
                  </a:lnTo>
                  <a:lnTo>
                    <a:pt x="172" y="11474"/>
                  </a:lnTo>
                  <a:lnTo>
                    <a:pt x="0" y="11114"/>
                  </a:lnTo>
                  <a:lnTo>
                    <a:pt x="165" y="10732"/>
                  </a:lnTo>
                  <a:lnTo>
                    <a:pt x="463" y="10580"/>
                  </a:lnTo>
                  <a:close/>
                  <a:moveTo>
                    <a:pt x="62753" y="9417"/>
                  </a:moveTo>
                  <a:lnTo>
                    <a:pt x="65583" y="9520"/>
                  </a:lnTo>
                  <a:lnTo>
                    <a:pt x="67204" y="9961"/>
                  </a:lnTo>
                  <a:lnTo>
                    <a:pt x="67403" y="10253"/>
                  </a:lnTo>
                  <a:lnTo>
                    <a:pt x="64068" y="10983"/>
                  </a:lnTo>
                  <a:lnTo>
                    <a:pt x="62068" y="11143"/>
                  </a:lnTo>
                  <a:lnTo>
                    <a:pt x="60765" y="10929"/>
                  </a:lnTo>
                  <a:lnTo>
                    <a:pt x="60328" y="10147"/>
                  </a:lnTo>
                  <a:close/>
                  <a:moveTo>
                    <a:pt x="81241" y="3961"/>
                  </a:moveTo>
                  <a:lnTo>
                    <a:pt x="83603" y="4426"/>
                  </a:lnTo>
                  <a:lnTo>
                    <a:pt x="81915" y="5124"/>
                  </a:lnTo>
                  <a:lnTo>
                    <a:pt x="80777" y="5026"/>
                  </a:lnTo>
                  <a:lnTo>
                    <a:pt x="80340" y="4776"/>
                  </a:lnTo>
                  <a:close/>
                  <a:moveTo>
                    <a:pt x="76404" y="3613"/>
                  </a:moveTo>
                  <a:lnTo>
                    <a:pt x="77755" y="3903"/>
                  </a:lnTo>
                  <a:lnTo>
                    <a:pt x="78879" y="5067"/>
                  </a:lnTo>
                  <a:lnTo>
                    <a:pt x="76968" y="5299"/>
                  </a:lnTo>
                  <a:lnTo>
                    <a:pt x="74322" y="4078"/>
                  </a:lnTo>
                  <a:close/>
                  <a:moveTo>
                    <a:pt x="22383" y="0"/>
                  </a:moveTo>
                  <a:lnTo>
                    <a:pt x="28678" y="783"/>
                  </a:lnTo>
                  <a:lnTo>
                    <a:pt x="44604" y="1224"/>
                  </a:lnTo>
                  <a:lnTo>
                    <a:pt x="45511" y="1359"/>
                  </a:lnTo>
                  <a:lnTo>
                    <a:pt x="46114" y="2037"/>
                  </a:lnTo>
                  <a:lnTo>
                    <a:pt x="46903" y="2557"/>
                  </a:lnTo>
                  <a:lnTo>
                    <a:pt x="47670" y="2483"/>
                  </a:lnTo>
                  <a:lnTo>
                    <a:pt x="47050" y="1403"/>
                  </a:lnTo>
                  <a:lnTo>
                    <a:pt x="47619" y="1403"/>
                  </a:lnTo>
                  <a:lnTo>
                    <a:pt x="52509" y="2066"/>
                  </a:lnTo>
                  <a:lnTo>
                    <a:pt x="55651" y="3181"/>
                  </a:lnTo>
                  <a:lnTo>
                    <a:pt x="58884" y="3713"/>
                  </a:lnTo>
                  <a:lnTo>
                    <a:pt x="59086" y="7380"/>
                  </a:lnTo>
                  <a:lnTo>
                    <a:pt x="56598" y="8847"/>
                  </a:lnTo>
                  <a:lnTo>
                    <a:pt x="54971" y="10378"/>
                  </a:lnTo>
                  <a:lnTo>
                    <a:pt x="53646" y="12255"/>
                  </a:lnTo>
                  <a:lnTo>
                    <a:pt x="50160" y="14440"/>
                  </a:lnTo>
                  <a:lnTo>
                    <a:pt x="45959" y="15096"/>
                  </a:lnTo>
                  <a:lnTo>
                    <a:pt x="43164" y="15153"/>
                  </a:lnTo>
                  <a:lnTo>
                    <a:pt x="42122" y="15083"/>
                  </a:lnTo>
                  <a:lnTo>
                    <a:pt x="41104" y="14710"/>
                  </a:lnTo>
                  <a:lnTo>
                    <a:pt x="38993" y="15067"/>
                  </a:lnTo>
                  <a:lnTo>
                    <a:pt x="36385" y="14107"/>
                  </a:lnTo>
                  <a:lnTo>
                    <a:pt x="34149" y="14348"/>
                  </a:lnTo>
                  <a:lnTo>
                    <a:pt x="29710" y="14118"/>
                  </a:lnTo>
                  <a:lnTo>
                    <a:pt x="28048" y="14948"/>
                  </a:lnTo>
                  <a:lnTo>
                    <a:pt x="26456" y="15137"/>
                  </a:lnTo>
                  <a:lnTo>
                    <a:pt x="24894" y="14982"/>
                  </a:lnTo>
                  <a:lnTo>
                    <a:pt x="23565" y="14611"/>
                  </a:lnTo>
                  <a:lnTo>
                    <a:pt x="20273" y="14642"/>
                  </a:lnTo>
                  <a:lnTo>
                    <a:pt x="18882" y="13918"/>
                  </a:lnTo>
                  <a:lnTo>
                    <a:pt x="19458" y="9748"/>
                  </a:lnTo>
                  <a:lnTo>
                    <a:pt x="19505" y="7857"/>
                  </a:lnTo>
                  <a:lnTo>
                    <a:pt x="18697" y="6298"/>
                  </a:lnTo>
                  <a:lnTo>
                    <a:pt x="17810" y="5315"/>
                  </a:lnTo>
                  <a:lnTo>
                    <a:pt x="17169" y="4157"/>
                  </a:lnTo>
                  <a:lnTo>
                    <a:pt x="18462" y="3391"/>
                  </a:lnTo>
                  <a:lnTo>
                    <a:pt x="19523" y="2279"/>
                  </a:lnTo>
                  <a:lnTo>
                    <a:pt x="19858" y="606"/>
                  </a:lnTo>
                  <a:lnTo>
                    <a:pt x="21021" y="194"/>
                  </a:lnTo>
                  <a:close/>
                </a:path>
              </a:pathLst>
            </a:custGeom>
            <a:solidFill>
              <a:srgbClr val="007CBC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78" name="ee4p_US_4_82333">
              <a:extLst>
                <a:ext uri="{FF2B5EF4-FFF2-40B4-BE49-F238E27FC236}">
                  <a16:creationId xmlns:a16="http://schemas.microsoft.com/office/drawing/2014/main" id="{E70A29D7-188E-E7AF-B7B8-A43632A0F807}"/>
                </a:ext>
              </a:extLst>
            </p:cNvPr>
            <p:cNvSpPr>
              <a:spLocks noChangeAspect="1"/>
            </p:cNvSpPr>
            <p:nvPr>
              <p:custDataLst>
                <p:tags r:id="rId206"/>
              </p:custDataLst>
            </p:nvPr>
          </p:nvSpPr>
          <p:spPr>
            <a:xfrm>
              <a:off x="3051588" y="3140558"/>
              <a:ext cx="1602928" cy="821029"/>
            </a:xfrm>
            <a:custGeom>
              <a:avLst/>
              <a:gdLst>
                <a:gd name="connsiteX0" fmla="*/ 1095457 w 1472512"/>
                <a:gd name="connsiteY0" fmla="*/ 733306 h 734237"/>
                <a:gd name="connsiteX1" fmla="*/ 1096197 w 1472512"/>
                <a:gd name="connsiteY1" fmla="*/ 733339 h 734237"/>
                <a:gd name="connsiteX2" fmla="*/ 1096170 w 1472512"/>
                <a:gd name="connsiteY2" fmla="*/ 733907 h 734237"/>
                <a:gd name="connsiteX3" fmla="*/ 1095045 w 1472512"/>
                <a:gd name="connsiteY3" fmla="*/ 734176 h 734237"/>
                <a:gd name="connsiteX4" fmla="*/ 1094396 w 1472512"/>
                <a:gd name="connsiteY4" fmla="*/ 734237 h 734237"/>
                <a:gd name="connsiteX5" fmla="*/ 1094341 w 1472512"/>
                <a:gd name="connsiteY5" fmla="*/ 733817 h 734237"/>
                <a:gd name="connsiteX6" fmla="*/ 1100696 w 1472512"/>
                <a:gd name="connsiteY6" fmla="*/ 730258 h 734237"/>
                <a:gd name="connsiteX7" fmla="*/ 1101478 w 1472512"/>
                <a:gd name="connsiteY7" fmla="*/ 731523 h 734237"/>
                <a:gd name="connsiteX8" fmla="*/ 1101463 w 1472512"/>
                <a:gd name="connsiteY8" fmla="*/ 732291 h 734237"/>
                <a:gd name="connsiteX9" fmla="*/ 1100584 w 1472512"/>
                <a:gd name="connsiteY9" fmla="*/ 732677 h 734237"/>
                <a:gd name="connsiteX10" fmla="*/ 1098932 w 1472512"/>
                <a:gd name="connsiteY10" fmla="*/ 732945 h 734237"/>
                <a:gd name="connsiteX11" fmla="*/ 1100265 w 1472512"/>
                <a:gd name="connsiteY11" fmla="*/ 731877 h 734237"/>
                <a:gd name="connsiteX12" fmla="*/ 1104323 w 1472512"/>
                <a:gd name="connsiteY12" fmla="*/ 728609 h 734237"/>
                <a:gd name="connsiteX13" fmla="*/ 1106818 w 1472512"/>
                <a:gd name="connsiteY13" fmla="*/ 730369 h 734237"/>
                <a:gd name="connsiteX14" fmla="*/ 1106882 w 1472512"/>
                <a:gd name="connsiteY14" fmla="*/ 730841 h 734237"/>
                <a:gd name="connsiteX15" fmla="*/ 1106499 w 1472512"/>
                <a:gd name="connsiteY15" fmla="*/ 731306 h 734237"/>
                <a:gd name="connsiteX16" fmla="*/ 1105735 w 1472512"/>
                <a:gd name="connsiteY16" fmla="*/ 731863 h 734237"/>
                <a:gd name="connsiteX17" fmla="*/ 1105370 w 1472512"/>
                <a:gd name="connsiteY17" fmla="*/ 731691 h 734237"/>
                <a:gd name="connsiteX18" fmla="*/ 1105370 w 1472512"/>
                <a:gd name="connsiteY18" fmla="*/ 730879 h 734237"/>
                <a:gd name="connsiteX19" fmla="*/ 1104283 w 1472512"/>
                <a:gd name="connsiteY19" fmla="*/ 729079 h 734237"/>
                <a:gd name="connsiteX20" fmla="*/ 1116814 w 1472512"/>
                <a:gd name="connsiteY20" fmla="*/ 728352 h 734237"/>
                <a:gd name="connsiteX21" fmla="*/ 1115323 w 1472512"/>
                <a:gd name="connsiteY21" fmla="*/ 729209 h 734237"/>
                <a:gd name="connsiteX22" fmla="*/ 1113913 w 1472512"/>
                <a:gd name="connsiteY22" fmla="*/ 729509 h 734237"/>
                <a:gd name="connsiteX23" fmla="*/ 1112745 w 1472512"/>
                <a:gd name="connsiteY23" fmla="*/ 730152 h 734237"/>
                <a:gd name="connsiteX24" fmla="*/ 1111537 w 1472512"/>
                <a:gd name="connsiteY24" fmla="*/ 729680 h 734237"/>
                <a:gd name="connsiteX25" fmla="*/ 1112866 w 1472512"/>
                <a:gd name="connsiteY25" fmla="*/ 729038 h 734237"/>
                <a:gd name="connsiteX26" fmla="*/ 1120157 w 1472512"/>
                <a:gd name="connsiteY26" fmla="*/ 725997 h 734237"/>
                <a:gd name="connsiteX27" fmla="*/ 1120520 w 1472512"/>
                <a:gd name="connsiteY27" fmla="*/ 726297 h 734237"/>
                <a:gd name="connsiteX28" fmla="*/ 1120479 w 1472512"/>
                <a:gd name="connsiteY28" fmla="*/ 726682 h 734237"/>
                <a:gd name="connsiteX29" fmla="*/ 1119392 w 1472512"/>
                <a:gd name="connsiteY29" fmla="*/ 727154 h 734237"/>
                <a:gd name="connsiteX30" fmla="*/ 1118908 w 1472512"/>
                <a:gd name="connsiteY30" fmla="*/ 727154 h 734237"/>
                <a:gd name="connsiteX31" fmla="*/ 1119150 w 1472512"/>
                <a:gd name="connsiteY31" fmla="*/ 726768 h 734237"/>
                <a:gd name="connsiteX32" fmla="*/ 1124589 w 1472512"/>
                <a:gd name="connsiteY32" fmla="*/ 723424 h 734237"/>
                <a:gd name="connsiteX33" fmla="*/ 1124872 w 1472512"/>
                <a:gd name="connsiteY33" fmla="*/ 723511 h 734237"/>
                <a:gd name="connsiteX34" fmla="*/ 1124267 w 1472512"/>
                <a:gd name="connsiteY34" fmla="*/ 724455 h 734237"/>
                <a:gd name="connsiteX35" fmla="*/ 1123583 w 1472512"/>
                <a:gd name="connsiteY35" fmla="*/ 724582 h 734237"/>
                <a:gd name="connsiteX36" fmla="*/ 1133991 w 1472512"/>
                <a:gd name="connsiteY36" fmla="*/ 712382 h 734237"/>
                <a:gd name="connsiteX37" fmla="*/ 1130810 w 1472512"/>
                <a:gd name="connsiteY37" fmla="*/ 717962 h 734237"/>
                <a:gd name="connsiteX38" fmla="*/ 1125740 w 1472512"/>
                <a:gd name="connsiteY38" fmla="*/ 723068 h 734237"/>
                <a:gd name="connsiteX39" fmla="*/ 1126302 w 1472512"/>
                <a:gd name="connsiteY39" fmla="*/ 721791 h 734237"/>
                <a:gd name="connsiteX40" fmla="*/ 1128278 w 1472512"/>
                <a:gd name="connsiteY40" fmla="*/ 719058 h 734237"/>
                <a:gd name="connsiteX41" fmla="*/ 1128917 w 1472512"/>
                <a:gd name="connsiteY41" fmla="*/ 717771 h 734237"/>
                <a:gd name="connsiteX42" fmla="*/ 1130252 w 1472512"/>
                <a:gd name="connsiteY42" fmla="*/ 716956 h 734237"/>
                <a:gd name="connsiteX43" fmla="*/ 1131496 w 1472512"/>
                <a:gd name="connsiteY43" fmla="*/ 715480 h 734237"/>
                <a:gd name="connsiteX44" fmla="*/ 1131589 w 1472512"/>
                <a:gd name="connsiteY44" fmla="*/ 713758 h 734237"/>
                <a:gd name="connsiteX45" fmla="*/ 1133394 w 1472512"/>
                <a:gd name="connsiteY45" fmla="*/ 712555 h 734237"/>
                <a:gd name="connsiteX46" fmla="*/ 1084393 w 1472512"/>
                <a:gd name="connsiteY46" fmla="*/ 679632 h 734237"/>
                <a:gd name="connsiteX47" fmla="*/ 1085996 w 1472512"/>
                <a:gd name="connsiteY47" fmla="*/ 681575 h 734237"/>
                <a:gd name="connsiteX48" fmla="*/ 1086569 w 1472512"/>
                <a:gd name="connsiteY48" fmla="*/ 682015 h 734237"/>
                <a:gd name="connsiteX49" fmla="*/ 1088581 w 1472512"/>
                <a:gd name="connsiteY49" fmla="*/ 682215 h 734237"/>
                <a:gd name="connsiteX50" fmla="*/ 1087672 w 1472512"/>
                <a:gd name="connsiteY50" fmla="*/ 682928 h 734237"/>
                <a:gd name="connsiteX51" fmla="*/ 1085832 w 1472512"/>
                <a:gd name="connsiteY51" fmla="*/ 682404 h 734237"/>
                <a:gd name="connsiteX52" fmla="*/ 1084827 w 1472512"/>
                <a:gd name="connsiteY52" fmla="*/ 681468 h 734237"/>
                <a:gd name="connsiteX53" fmla="*/ 1085215 w 1472512"/>
                <a:gd name="connsiteY53" fmla="*/ 675451 h 734237"/>
                <a:gd name="connsiteX54" fmla="*/ 1086439 w 1472512"/>
                <a:gd name="connsiteY54" fmla="*/ 676415 h 734237"/>
                <a:gd name="connsiteX55" fmla="*/ 1087392 w 1472512"/>
                <a:gd name="connsiteY55" fmla="*/ 679514 h 734237"/>
                <a:gd name="connsiteX56" fmla="*/ 1087357 w 1472512"/>
                <a:gd name="connsiteY56" fmla="*/ 681122 h 734237"/>
                <a:gd name="connsiteX57" fmla="*/ 1086071 w 1472512"/>
                <a:gd name="connsiteY57" fmla="*/ 678429 h 734237"/>
                <a:gd name="connsiteX58" fmla="*/ 697033 w 1472512"/>
                <a:gd name="connsiteY58" fmla="*/ 661854 h 734237"/>
                <a:gd name="connsiteX59" fmla="*/ 697921 w 1472512"/>
                <a:gd name="connsiteY59" fmla="*/ 672691 h 734237"/>
                <a:gd name="connsiteX60" fmla="*/ 701721 w 1472512"/>
                <a:gd name="connsiteY60" fmla="*/ 686423 h 734237"/>
                <a:gd name="connsiteX61" fmla="*/ 702526 w 1472512"/>
                <a:gd name="connsiteY61" fmla="*/ 690259 h 734237"/>
                <a:gd name="connsiteX62" fmla="*/ 702172 w 1472512"/>
                <a:gd name="connsiteY62" fmla="*/ 691526 h 734237"/>
                <a:gd name="connsiteX63" fmla="*/ 700061 w 1472512"/>
                <a:gd name="connsiteY63" fmla="*/ 685603 h 734237"/>
                <a:gd name="connsiteX64" fmla="*/ 696623 w 1472512"/>
                <a:gd name="connsiteY64" fmla="*/ 672170 h 734237"/>
                <a:gd name="connsiteX65" fmla="*/ 696493 w 1472512"/>
                <a:gd name="connsiteY65" fmla="*/ 664497 h 734237"/>
                <a:gd name="connsiteX66" fmla="*/ 705335 w 1472512"/>
                <a:gd name="connsiteY66" fmla="*/ 644642 h 734237"/>
                <a:gd name="connsiteX67" fmla="*/ 700481 w 1472512"/>
                <a:gd name="connsiteY67" fmla="*/ 652376 h 734237"/>
                <a:gd name="connsiteX68" fmla="*/ 697859 w 1472512"/>
                <a:gd name="connsiteY68" fmla="*/ 659007 h 734237"/>
                <a:gd name="connsiteX69" fmla="*/ 697064 w 1472512"/>
                <a:gd name="connsiteY69" fmla="*/ 660588 h 734237"/>
                <a:gd name="connsiteX70" fmla="*/ 697283 w 1472512"/>
                <a:gd name="connsiteY70" fmla="*/ 658232 h 734237"/>
                <a:gd name="connsiteX71" fmla="*/ 699355 w 1472512"/>
                <a:gd name="connsiteY71" fmla="*/ 652874 h 734237"/>
                <a:gd name="connsiteX72" fmla="*/ 703564 w 1472512"/>
                <a:gd name="connsiteY72" fmla="*/ 645823 h 734237"/>
                <a:gd name="connsiteX73" fmla="*/ 1129404 w 1472512"/>
                <a:gd name="connsiteY73" fmla="*/ 643855 h 734237"/>
                <a:gd name="connsiteX74" fmla="*/ 1130455 w 1472512"/>
                <a:gd name="connsiteY74" fmla="*/ 645400 h 734237"/>
                <a:gd name="connsiteX75" fmla="*/ 1131481 w 1472512"/>
                <a:gd name="connsiteY75" fmla="*/ 648594 h 734237"/>
                <a:gd name="connsiteX76" fmla="*/ 1135785 w 1472512"/>
                <a:gd name="connsiteY76" fmla="*/ 659603 h 734237"/>
                <a:gd name="connsiteX77" fmla="*/ 1136200 w 1472512"/>
                <a:gd name="connsiteY77" fmla="*/ 661625 h 734237"/>
                <a:gd name="connsiteX78" fmla="*/ 1133855 w 1472512"/>
                <a:gd name="connsiteY78" fmla="*/ 656932 h 734237"/>
                <a:gd name="connsiteX79" fmla="*/ 1130956 w 1472512"/>
                <a:gd name="connsiteY79" fmla="*/ 649563 h 734237"/>
                <a:gd name="connsiteX80" fmla="*/ 710518 w 1472512"/>
                <a:gd name="connsiteY80" fmla="*/ 636064 h 734237"/>
                <a:gd name="connsiteX81" fmla="*/ 710968 w 1472512"/>
                <a:gd name="connsiteY81" fmla="*/ 637283 h 734237"/>
                <a:gd name="connsiteX82" fmla="*/ 708887 w 1472512"/>
                <a:gd name="connsiteY82" fmla="*/ 639291 h 734237"/>
                <a:gd name="connsiteX83" fmla="*/ 706515 w 1472512"/>
                <a:gd name="connsiteY83" fmla="*/ 642447 h 734237"/>
                <a:gd name="connsiteX84" fmla="*/ 705960 w 1472512"/>
                <a:gd name="connsiteY84" fmla="*/ 642514 h 734237"/>
                <a:gd name="connsiteX85" fmla="*/ 707195 w 1472512"/>
                <a:gd name="connsiteY85" fmla="*/ 640256 h 734237"/>
                <a:gd name="connsiteX86" fmla="*/ 707424 w 1472512"/>
                <a:gd name="connsiteY86" fmla="*/ 639351 h 734237"/>
                <a:gd name="connsiteX87" fmla="*/ 709449 w 1472512"/>
                <a:gd name="connsiteY87" fmla="*/ 636491 h 734237"/>
                <a:gd name="connsiteX88" fmla="*/ 722095 w 1472512"/>
                <a:gd name="connsiteY88" fmla="*/ 629193 h 734237"/>
                <a:gd name="connsiteX89" fmla="*/ 721846 w 1472512"/>
                <a:gd name="connsiteY89" fmla="*/ 630404 h 734237"/>
                <a:gd name="connsiteX90" fmla="*/ 718516 w 1472512"/>
                <a:gd name="connsiteY90" fmla="*/ 632124 h 734237"/>
                <a:gd name="connsiteX91" fmla="*/ 712890 w 1472512"/>
                <a:gd name="connsiteY91" fmla="*/ 635521 h 734237"/>
                <a:gd name="connsiteX92" fmla="*/ 711953 w 1472512"/>
                <a:gd name="connsiteY92" fmla="*/ 635637 h 734237"/>
                <a:gd name="connsiteX93" fmla="*/ 713114 w 1472512"/>
                <a:gd name="connsiteY93" fmla="*/ 634145 h 734237"/>
                <a:gd name="connsiteX94" fmla="*/ 715002 w 1472512"/>
                <a:gd name="connsiteY94" fmla="*/ 633391 h 734237"/>
                <a:gd name="connsiteX95" fmla="*/ 719142 w 1472512"/>
                <a:gd name="connsiteY95" fmla="*/ 630525 h 734237"/>
                <a:gd name="connsiteX96" fmla="*/ 720831 w 1472512"/>
                <a:gd name="connsiteY96" fmla="*/ 630327 h 734237"/>
                <a:gd name="connsiteX97" fmla="*/ 721710 w 1472512"/>
                <a:gd name="connsiteY97" fmla="*/ 629339 h 734237"/>
                <a:gd name="connsiteX98" fmla="*/ 762341 w 1472512"/>
                <a:gd name="connsiteY98" fmla="*/ 602578 h 734237"/>
                <a:gd name="connsiteX99" fmla="*/ 763829 w 1472512"/>
                <a:gd name="connsiteY99" fmla="*/ 602640 h 734237"/>
                <a:gd name="connsiteX100" fmla="*/ 761346 w 1472512"/>
                <a:gd name="connsiteY100" fmla="*/ 605036 h 734237"/>
                <a:gd name="connsiteX101" fmla="*/ 756888 w 1472512"/>
                <a:gd name="connsiteY101" fmla="*/ 608009 h 734237"/>
                <a:gd name="connsiteX102" fmla="*/ 755613 w 1472512"/>
                <a:gd name="connsiteY102" fmla="*/ 608276 h 734237"/>
                <a:gd name="connsiteX103" fmla="*/ 761174 w 1472512"/>
                <a:gd name="connsiteY103" fmla="*/ 604001 h 734237"/>
                <a:gd name="connsiteX104" fmla="*/ 836342 w 1472512"/>
                <a:gd name="connsiteY104" fmla="*/ 594154 h 734237"/>
                <a:gd name="connsiteX105" fmla="*/ 837613 w 1472512"/>
                <a:gd name="connsiteY105" fmla="*/ 594237 h 734237"/>
                <a:gd name="connsiteX106" fmla="*/ 839622 w 1472512"/>
                <a:gd name="connsiteY106" fmla="*/ 595463 h 734237"/>
                <a:gd name="connsiteX107" fmla="*/ 840358 w 1472512"/>
                <a:gd name="connsiteY107" fmla="*/ 595804 h 734237"/>
                <a:gd name="connsiteX108" fmla="*/ 840699 w 1472512"/>
                <a:gd name="connsiteY108" fmla="*/ 596300 h 734237"/>
                <a:gd name="connsiteX109" fmla="*/ 840503 w 1472512"/>
                <a:gd name="connsiteY109" fmla="*/ 597076 h 734237"/>
                <a:gd name="connsiteX110" fmla="*/ 839694 w 1472512"/>
                <a:gd name="connsiteY110" fmla="*/ 598142 h 734237"/>
                <a:gd name="connsiteX111" fmla="*/ 838746 w 1472512"/>
                <a:gd name="connsiteY111" fmla="*/ 598539 h 734237"/>
                <a:gd name="connsiteX112" fmla="*/ 834526 w 1472512"/>
                <a:gd name="connsiteY112" fmla="*/ 596128 h 734237"/>
                <a:gd name="connsiteX113" fmla="*/ 834261 w 1472512"/>
                <a:gd name="connsiteY113" fmla="*/ 595091 h 734237"/>
                <a:gd name="connsiteX114" fmla="*/ 1019706 w 1472512"/>
                <a:gd name="connsiteY114" fmla="*/ 591687 h 734237"/>
                <a:gd name="connsiteX115" fmla="*/ 1015349 w 1472512"/>
                <a:gd name="connsiteY115" fmla="*/ 594190 h 734237"/>
                <a:gd name="connsiteX116" fmla="*/ 1012789 w 1472512"/>
                <a:gd name="connsiteY116" fmla="*/ 595193 h 734237"/>
                <a:gd name="connsiteX117" fmla="*/ 1010021 w 1472512"/>
                <a:gd name="connsiteY117" fmla="*/ 594464 h 734237"/>
                <a:gd name="connsiteX118" fmla="*/ 1011742 w 1472512"/>
                <a:gd name="connsiteY118" fmla="*/ 594325 h 734237"/>
                <a:gd name="connsiteX119" fmla="*/ 1012986 w 1472512"/>
                <a:gd name="connsiteY119" fmla="*/ 594620 h 734237"/>
                <a:gd name="connsiteX120" fmla="*/ 1016137 w 1472512"/>
                <a:gd name="connsiteY120" fmla="*/ 593187 h 734237"/>
                <a:gd name="connsiteX121" fmla="*/ 1017790 w 1472512"/>
                <a:gd name="connsiteY121" fmla="*/ 592101 h 734237"/>
                <a:gd name="connsiteX122" fmla="*/ 914208 w 1472512"/>
                <a:gd name="connsiteY122" fmla="*/ 591115 h 734237"/>
                <a:gd name="connsiteX123" fmla="*/ 913784 w 1472512"/>
                <a:gd name="connsiteY123" fmla="*/ 592239 h 734237"/>
                <a:gd name="connsiteX124" fmla="*/ 912398 w 1472512"/>
                <a:gd name="connsiteY124" fmla="*/ 593699 h 734237"/>
                <a:gd name="connsiteX125" fmla="*/ 912462 w 1472512"/>
                <a:gd name="connsiteY125" fmla="*/ 593143 h 734237"/>
                <a:gd name="connsiteX126" fmla="*/ 913482 w 1472512"/>
                <a:gd name="connsiteY126" fmla="*/ 591682 h 734237"/>
                <a:gd name="connsiteX127" fmla="*/ 914355 w 1472512"/>
                <a:gd name="connsiteY127" fmla="*/ 582638 h 734237"/>
                <a:gd name="connsiteX128" fmla="*/ 915401 w 1472512"/>
                <a:gd name="connsiteY128" fmla="*/ 584211 h 734237"/>
                <a:gd name="connsiteX129" fmla="*/ 915741 w 1472512"/>
                <a:gd name="connsiteY129" fmla="*/ 586082 h 734237"/>
                <a:gd name="connsiteX130" fmla="*/ 915362 w 1472512"/>
                <a:gd name="connsiteY130" fmla="*/ 589588 h 734237"/>
                <a:gd name="connsiteX131" fmla="*/ 914643 w 1472512"/>
                <a:gd name="connsiteY131" fmla="*/ 590476 h 734237"/>
                <a:gd name="connsiteX132" fmla="*/ 915348 w 1472512"/>
                <a:gd name="connsiteY132" fmla="*/ 586222 h 734237"/>
                <a:gd name="connsiteX133" fmla="*/ 906250 w 1472512"/>
                <a:gd name="connsiteY133" fmla="*/ 579511 h 734237"/>
                <a:gd name="connsiteX134" fmla="*/ 905586 w 1472512"/>
                <a:gd name="connsiteY134" fmla="*/ 580697 h 734237"/>
                <a:gd name="connsiteX135" fmla="*/ 905247 w 1472512"/>
                <a:gd name="connsiteY135" fmla="*/ 581875 h 734237"/>
                <a:gd name="connsiteX136" fmla="*/ 905337 w 1472512"/>
                <a:gd name="connsiteY136" fmla="*/ 583173 h 734237"/>
                <a:gd name="connsiteX137" fmla="*/ 904087 w 1472512"/>
                <a:gd name="connsiteY137" fmla="*/ 582527 h 734237"/>
                <a:gd name="connsiteX138" fmla="*/ 902236 w 1472512"/>
                <a:gd name="connsiteY138" fmla="*/ 582468 h 734237"/>
                <a:gd name="connsiteX139" fmla="*/ 903051 w 1472512"/>
                <a:gd name="connsiteY139" fmla="*/ 582024 h 734237"/>
                <a:gd name="connsiteX140" fmla="*/ 903624 w 1472512"/>
                <a:gd name="connsiteY140" fmla="*/ 581592 h 734237"/>
                <a:gd name="connsiteX141" fmla="*/ 903908 w 1472512"/>
                <a:gd name="connsiteY141" fmla="*/ 581127 h 734237"/>
                <a:gd name="connsiteX142" fmla="*/ 918030 w 1472512"/>
                <a:gd name="connsiteY142" fmla="*/ 576838 h 734237"/>
                <a:gd name="connsiteX143" fmla="*/ 921827 w 1472512"/>
                <a:gd name="connsiteY143" fmla="*/ 577820 h 734237"/>
                <a:gd name="connsiteX144" fmla="*/ 922232 w 1472512"/>
                <a:gd name="connsiteY144" fmla="*/ 578190 h 734237"/>
                <a:gd name="connsiteX145" fmla="*/ 921912 w 1472512"/>
                <a:gd name="connsiteY145" fmla="*/ 578501 h 734237"/>
                <a:gd name="connsiteX146" fmla="*/ 919652 w 1472512"/>
                <a:gd name="connsiteY146" fmla="*/ 577919 h 734237"/>
                <a:gd name="connsiteX147" fmla="*/ 918279 w 1472512"/>
                <a:gd name="connsiteY147" fmla="*/ 577378 h 734237"/>
                <a:gd name="connsiteX148" fmla="*/ 933681 w 1472512"/>
                <a:gd name="connsiteY148" fmla="*/ 576572 h 734237"/>
                <a:gd name="connsiteX149" fmla="*/ 934650 w 1472512"/>
                <a:gd name="connsiteY149" fmla="*/ 577170 h 734237"/>
                <a:gd name="connsiteX150" fmla="*/ 932406 w 1472512"/>
                <a:gd name="connsiteY150" fmla="*/ 577769 h 734237"/>
                <a:gd name="connsiteX151" fmla="*/ 929078 w 1472512"/>
                <a:gd name="connsiteY151" fmla="*/ 577714 h 734237"/>
                <a:gd name="connsiteX152" fmla="*/ 928402 w 1472512"/>
                <a:gd name="connsiteY152" fmla="*/ 577503 h 734237"/>
                <a:gd name="connsiteX153" fmla="*/ 929737 w 1472512"/>
                <a:gd name="connsiteY153" fmla="*/ 577104 h 734237"/>
                <a:gd name="connsiteX154" fmla="*/ 1104351 w 1472512"/>
                <a:gd name="connsiteY154" fmla="*/ 557012 h 734237"/>
                <a:gd name="connsiteX155" fmla="*/ 1103218 w 1472512"/>
                <a:gd name="connsiteY155" fmla="*/ 563852 h 734237"/>
                <a:gd name="connsiteX156" fmla="*/ 1102726 w 1472512"/>
                <a:gd name="connsiteY156" fmla="*/ 561431 h 734237"/>
                <a:gd name="connsiteX157" fmla="*/ 1102677 w 1472512"/>
                <a:gd name="connsiteY157" fmla="*/ 559079 h 734237"/>
                <a:gd name="connsiteX158" fmla="*/ 1103537 w 1472512"/>
                <a:gd name="connsiteY158" fmla="*/ 557687 h 734237"/>
                <a:gd name="connsiteX159" fmla="*/ 156960 w 1472512"/>
                <a:gd name="connsiteY159" fmla="*/ 498703 h 734237"/>
                <a:gd name="connsiteX160" fmla="*/ 158226 w 1472512"/>
                <a:gd name="connsiteY160" fmla="*/ 500775 h 734237"/>
                <a:gd name="connsiteX161" fmla="*/ 161396 w 1472512"/>
                <a:gd name="connsiteY161" fmla="*/ 503919 h 734237"/>
                <a:gd name="connsiteX162" fmla="*/ 162232 w 1472512"/>
                <a:gd name="connsiteY162" fmla="*/ 504540 h 734237"/>
                <a:gd name="connsiteX163" fmla="*/ 160747 w 1472512"/>
                <a:gd name="connsiteY163" fmla="*/ 504799 h 734237"/>
                <a:gd name="connsiteX164" fmla="*/ 159100 w 1472512"/>
                <a:gd name="connsiteY164" fmla="*/ 504218 h 734237"/>
                <a:gd name="connsiteX165" fmla="*/ 157679 w 1472512"/>
                <a:gd name="connsiteY165" fmla="*/ 501467 h 734237"/>
                <a:gd name="connsiteX166" fmla="*/ 156115 w 1472512"/>
                <a:gd name="connsiteY166" fmla="*/ 499316 h 734237"/>
                <a:gd name="connsiteX167" fmla="*/ 132264 w 1472512"/>
                <a:gd name="connsiteY167" fmla="*/ 491593 h 734237"/>
                <a:gd name="connsiteX168" fmla="*/ 133447 w 1472512"/>
                <a:gd name="connsiteY168" fmla="*/ 491806 h 734237"/>
                <a:gd name="connsiteX169" fmla="*/ 134383 w 1472512"/>
                <a:gd name="connsiteY169" fmla="*/ 493009 h 734237"/>
                <a:gd name="connsiteX170" fmla="*/ 134486 w 1472512"/>
                <a:gd name="connsiteY170" fmla="*/ 493443 h 734237"/>
                <a:gd name="connsiteX171" fmla="*/ 133351 w 1472512"/>
                <a:gd name="connsiteY171" fmla="*/ 493497 h 734237"/>
                <a:gd name="connsiteX172" fmla="*/ 131793 w 1472512"/>
                <a:gd name="connsiteY172" fmla="*/ 493231 h 734237"/>
                <a:gd name="connsiteX173" fmla="*/ 130987 w 1472512"/>
                <a:gd name="connsiteY173" fmla="*/ 491700 h 734237"/>
                <a:gd name="connsiteX174" fmla="*/ 157017 w 1472512"/>
                <a:gd name="connsiteY174" fmla="*/ 486023 h 734237"/>
                <a:gd name="connsiteX175" fmla="*/ 161179 w 1472512"/>
                <a:gd name="connsiteY175" fmla="*/ 487794 h 734237"/>
                <a:gd name="connsiteX176" fmla="*/ 162294 w 1472512"/>
                <a:gd name="connsiteY176" fmla="*/ 488632 h 734237"/>
                <a:gd name="connsiteX177" fmla="*/ 163583 w 1472512"/>
                <a:gd name="connsiteY177" fmla="*/ 490734 h 734237"/>
                <a:gd name="connsiteX178" fmla="*/ 161727 w 1472512"/>
                <a:gd name="connsiteY178" fmla="*/ 490475 h 734237"/>
                <a:gd name="connsiteX179" fmla="*/ 159786 w 1472512"/>
                <a:gd name="connsiteY179" fmla="*/ 490592 h 734237"/>
                <a:gd name="connsiteX180" fmla="*/ 159198 w 1472512"/>
                <a:gd name="connsiteY180" fmla="*/ 489449 h 734237"/>
                <a:gd name="connsiteX181" fmla="*/ 158618 w 1472512"/>
                <a:gd name="connsiteY181" fmla="*/ 487860 h 734237"/>
                <a:gd name="connsiteX182" fmla="*/ 158229 w 1472512"/>
                <a:gd name="connsiteY182" fmla="*/ 487454 h 734237"/>
                <a:gd name="connsiteX183" fmla="*/ 156900 w 1472512"/>
                <a:gd name="connsiteY183" fmla="*/ 487312 h 734237"/>
                <a:gd name="connsiteX184" fmla="*/ 156800 w 1472512"/>
                <a:gd name="connsiteY184" fmla="*/ 487168 h 734237"/>
                <a:gd name="connsiteX185" fmla="*/ 156644 w 1472512"/>
                <a:gd name="connsiteY185" fmla="*/ 486392 h 734237"/>
                <a:gd name="connsiteX186" fmla="*/ 118317 w 1472512"/>
                <a:gd name="connsiteY186" fmla="*/ 470293 h 734237"/>
                <a:gd name="connsiteX187" fmla="*/ 120293 w 1472512"/>
                <a:gd name="connsiteY187" fmla="*/ 471486 h 734237"/>
                <a:gd name="connsiteX188" fmla="*/ 120560 w 1472512"/>
                <a:gd name="connsiteY188" fmla="*/ 471818 h 734237"/>
                <a:gd name="connsiteX189" fmla="*/ 119040 w 1472512"/>
                <a:gd name="connsiteY189" fmla="*/ 473381 h 734237"/>
                <a:gd name="connsiteX190" fmla="*/ 117245 w 1472512"/>
                <a:gd name="connsiteY190" fmla="*/ 473781 h 734237"/>
                <a:gd name="connsiteX191" fmla="*/ 115887 w 1472512"/>
                <a:gd name="connsiteY191" fmla="*/ 473404 h 734237"/>
                <a:gd name="connsiteX192" fmla="*/ 113725 w 1472512"/>
                <a:gd name="connsiteY192" fmla="*/ 470655 h 734237"/>
                <a:gd name="connsiteX193" fmla="*/ 110770 w 1472512"/>
                <a:gd name="connsiteY193" fmla="*/ 468951 h 734237"/>
                <a:gd name="connsiteX194" fmla="*/ 111137 w 1472512"/>
                <a:gd name="connsiteY194" fmla="*/ 469314 h 734237"/>
                <a:gd name="connsiteX195" fmla="*/ 112328 w 1472512"/>
                <a:gd name="connsiteY195" fmla="*/ 470340 h 734237"/>
                <a:gd name="connsiteX196" fmla="*/ 110973 w 1472512"/>
                <a:gd name="connsiteY196" fmla="*/ 470414 h 734237"/>
                <a:gd name="connsiteX197" fmla="*/ 108886 w 1472512"/>
                <a:gd name="connsiteY197" fmla="*/ 470109 h 734237"/>
                <a:gd name="connsiteX198" fmla="*/ 109616 w 1472512"/>
                <a:gd name="connsiteY198" fmla="*/ 469438 h 734237"/>
                <a:gd name="connsiteX199" fmla="*/ 123152 w 1472512"/>
                <a:gd name="connsiteY199" fmla="*/ 468768 h 734237"/>
                <a:gd name="connsiteX200" fmla="*/ 128344 w 1472512"/>
                <a:gd name="connsiteY200" fmla="*/ 470238 h 734237"/>
                <a:gd name="connsiteX201" fmla="*/ 131143 w 1472512"/>
                <a:gd name="connsiteY201" fmla="*/ 469533 h 734237"/>
                <a:gd name="connsiteX202" fmla="*/ 131649 w 1472512"/>
                <a:gd name="connsiteY202" fmla="*/ 470246 h 734237"/>
                <a:gd name="connsiteX203" fmla="*/ 131319 w 1472512"/>
                <a:gd name="connsiteY203" fmla="*/ 470864 h 734237"/>
                <a:gd name="connsiteX204" fmla="*/ 125009 w 1472512"/>
                <a:gd name="connsiteY204" fmla="*/ 471977 h 734237"/>
                <a:gd name="connsiteX205" fmla="*/ 123071 w 1472512"/>
                <a:gd name="connsiteY205" fmla="*/ 471198 h 734237"/>
                <a:gd name="connsiteX206" fmla="*/ 122894 w 1472512"/>
                <a:gd name="connsiteY206" fmla="*/ 470130 h 734237"/>
                <a:gd name="connsiteX207" fmla="*/ 122240 w 1472512"/>
                <a:gd name="connsiteY207" fmla="*/ 469108 h 734237"/>
                <a:gd name="connsiteX208" fmla="*/ 1225398 w 1472512"/>
                <a:gd name="connsiteY208" fmla="*/ 450920 h 734237"/>
                <a:gd name="connsiteX209" fmla="*/ 1226716 w 1472512"/>
                <a:gd name="connsiteY209" fmla="*/ 451083 h 734237"/>
                <a:gd name="connsiteX210" fmla="*/ 1228655 w 1472512"/>
                <a:gd name="connsiteY210" fmla="*/ 452225 h 734237"/>
                <a:gd name="connsiteX211" fmla="*/ 1228087 w 1472512"/>
                <a:gd name="connsiteY211" fmla="*/ 452294 h 734237"/>
                <a:gd name="connsiteX212" fmla="*/ 1227085 w 1472512"/>
                <a:gd name="connsiteY212" fmla="*/ 451975 h 734237"/>
                <a:gd name="connsiteX213" fmla="*/ 1225703 w 1472512"/>
                <a:gd name="connsiteY213" fmla="*/ 451367 h 734237"/>
                <a:gd name="connsiteX214" fmla="*/ 1237300 w 1472512"/>
                <a:gd name="connsiteY214" fmla="*/ 444032 h 734237"/>
                <a:gd name="connsiteX215" fmla="*/ 1233465 w 1472512"/>
                <a:gd name="connsiteY215" fmla="*/ 447936 h 734237"/>
                <a:gd name="connsiteX216" fmla="*/ 1229742 w 1472512"/>
                <a:gd name="connsiteY216" fmla="*/ 452569 h 734237"/>
                <a:gd name="connsiteX217" fmla="*/ 1229107 w 1472512"/>
                <a:gd name="connsiteY217" fmla="*/ 452899 h 734237"/>
                <a:gd name="connsiteX218" fmla="*/ 1231442 w 1472512"/>
                <a:gd name="connsiteY218" fmla="*/ 449301 h 734237"/>
                <a:gd name="connsiteX219" fmla="*/ 1236055 w 1472512"/>
                <a:gd name="connsiteY219" fmla="*/ 444731 h 734237"/>
                <a:gd name="connsiteX220" fmla="*/ 1248152 w 1472512"/>
                <a:gd name="connsiteY220" fmla="*/ 436768 h 734237"/>
                <a:gd name="connsiteX221" fmla="*/ 1243517 w 1472512"/>
                <a:gd name="connsiteY221" fmla="*/ 438833 h 734237"/>
                <a:gd name="connsiteX222" fmla="*/ 1242993 w 1472512"/>
                <a:gd name="connsiteY222" fmla="*/ 438709 h 734237"/>
                <a:gd name="connsiteX223" fmla="*/ 1246036 w 1472512"/>
                <a:gd name="connsiteY223" fmla="*/ 437233 h 734237"/>
                <a:gd name="connsiteX224" fmla="*/ 1255255 w 1472512"/>
                <a:gd name="connsiteY224" fmla="*/ 419981 h 734237"/>
                <a:gd name="connsiteX225" fmla="*/ 1255894 w 1472512"/>
                <a:gd name="connsiteY225" fmla="*/ 421510 h 734237"/>
                <a:gd name="connsiteX226" fmla="*/ 1256456 w 1472512"/>
                <a:gd name="connsiteY226" fmla="*/ 425933 h 734237"/>
                <a:gd name="connsiteX227" fmla="*/ 1256244 w 1472512"/>
                <a:gd name="connsiteY227" fmla="*/ 429283 h 734237"/>
                <a:gd name="connsiteX228" fmla="*/ 1255106 w 1472512"/>
                <a:gd name="connsiteY228" fmla="*/ 434160 h 734237"/>
                <a:gd name="connsiteX229" fmla="*/ 1254220 w 1472512"/>
                <a:gd name="connsiteY229" fmla="*/ 435324 h 734237"/>
                <a:gd name="connsiteX230" fmla="*/ 1250798 w 1472512"/>
                <a:gd name="connsiteY230" fmla="*/ 436113 h 734237"/>
                <a:gd name="connsiteX231" fmla="*/ 1250495 w 1472512"/>
                <a:gd name="connsiteY231" fmla="*/ 435861 h 734237"/>
                <a:gd name="connsiteX232" fmla="*/ 1254417 w 1472512"/>
                <a:gd name="connsiteY232" fmla="*/ 434210 h 734237"/>
                <a:gd name="connsiteX233" fmla="*/ 1255654 w 1472512"/>
                <a:gd name="connsiteY233" fmla="*/ 428390 h 734237"/>
                <a:gd name="connsiteX234" fmla="*/ 1255824 w 1472512"/>
                <a:gd name="connsiteY234" fmla="*/ 425703 h 734237"/>
                <a:gd name="connsiteX235" fmla="*/ 1255236 w 1472512"/>
                <a:gd name="connsiteY235" fmla="*/ 420961 h 734237"/>
                <a:gd name="connsiteX236" fmla="*/ 1249804 w 1472512"/>
                <a:gd name="connsiteY236" fmla="*/ 414834 h 734237"/>
                <a:gd name="connsiteX237" fmla="*/ 1251548 w 1472512"/>
                <a:gd name="connsiteY237" fmla="*/ 415874 h 734237"/>
                <a:gd name="connsiteX238" fmla="*/ 1251860 w 1472512"/>
                <a:gd name="connsiteY238" fmla="*/ 416740 h 734237"/>
                <a:gd name="connsiteX239" fmla="*/ 1251884 w 1472512"/>
                <a:gd name="connsiteY239" fmla="*/ 417460 h 734237"/>
                <a:gd name="connsiteX240" fmla="*/ 1251499 w 1472512"/>
                <a:gd name="connsiteY240" fmla="*/ 418050 h 734237"/>
                <a:gd name="connsiteX241" fmla="*/ 1265603 w 1472512"/>
                <a:gd name="connsiteY241" fmla="*/ 345759 h 734237"/>
                <a:gd name="connsiteX242" fmla="*/ 1264626 w 1472512"/>
                <a:gd name="connsiteY242" fmla="*/ 349242 h 734237"/>
                <a:gd name="connsiteX243" fmla="*/ 1262916 w 1472512"/>
                <a:gd name="connsiteY243" fmla="*/ 352443 h 734237"/>
                <a:gd name="connsiteX244" fmla="*/ 1259604 w 1472512"/>
                <a:gd name="connsiteY244" fmla="*/ 357889 h 734237"/>
                <a:gd name="connsiteX245" fmla="*/ 1258444 w 1472512"/>
                <a:gd name="connsiteY245" fmla="*/ 358368 h 734237"/>
                <a:gd name="connsiteX246" fmla="*/ 1262336 w 1472512"/>
                <a:gd name="connsiteY246" fmla="*/ 352446 h 734237"/>
                <a:gd name="connsiteX247" fmla="*/ 1264595 w 1472512"/>
                <a:gd name="connsiteY247" fmla="*/ 347478 h 734237"/>
                <a:gd name="connsiteX248" fmla="*/ 1290888 w 1472512"/>
                <a:gd name="connsiteY248" fmla="*/ 302554 h 734237"/>
                <a:gd name="connsiteX249" fmla="*/ 1290213 w 1472512"/>
                <a:gd name="connsiteY249" fmla="*/ 304525 h 734237"/>
                <a:gd name="connsiteX250" fmla="*/ 1287221 w 1472512"/>
                <a:gd name="connsiteY250" fmla="*/ 309062 h 734237"/>
                <a:gd name="connsiteX251" fmla="*/ 1287152 w 1472512"/>
                <a:gd name="connsiteY251" fmla="*/ 308191 h 734237"/>
                <a:gd name="connsiteX252" fmla="*/ 1291048 w 1472512"/>
                <a:gd name="connsiteY252" fmla="*/ 275071 h 734237"/>
                <a:gd name="connsiteX253" fmla="*/ 1291858 w 1472512"/>
                <a:gd name="connsiteY253" fmla="*/ 275347 h 734237"/>
                <a:gd name="connsiteX254" fmla="*/ 1291892 w 1472512"/>
                <a:gd name="connsiteY254" fmla="*/ 276372 h 734237"/>
                <a:gd name="connsiteX255" fmla="*/ 1291578 w 1472512"/>
                <a:gd name="connsiteY255" fmla="*/ 277249 h 734237"/>
                <a:gd name="connsiteX256" fmla="*/ 1290077 w 1472512"/>
                <a:gd name="connsiteY256" fmla="*/ 278597 h 734237"/>
                <a:gd name="connsiteX257" fmla="*/ 1288811 w 1472512"/>
                <a:gd name="connsiteY257" fmla="*/ 279171 h 734237"/>
                <a:gd name="connsiteX258" fmla="*/ 1287593 w 1472512"/>
                <a:gd name="connsiteY258" fmla="*/ 279296 h 734237"/>
                <a:gd name="connsiteX259" fmla="*/ 1288810 w 1472512"/>
                <a:gd name="connsiteY259" fmla="*/ 276397 h 734237"/>
                <a:gd name="connsiteX260" fmla="*/ 1337638 w 1472512"/>
                <a:gd name="connsiteY260" fmla="*/ 260074 h 734237"/>
                <a:gd name="connsiteX261" fmla="*/ 1333727 w 1472512"/>
                <a:gd name="connsiteY261" fmla="*/ 263553 h 734237"/>
                <a:gd name="connsiteX262" fmla="*/ 1331626 w 1472512"/>
                <a:gd name="connsiteY262" fmla="*/ 265146 h 734237"/>
                <a:gd name="connsiteX263" fmla="*/ 1329813 w 1472512"/>
                <a:gd name="connsiteY263" fmla="*/ 267108 h 734237"/>
                <a:gd name="connsiteX264" fmla="*/ 1331452 w 1472512"/>
                <a:gd name="connsiteY264" fmla="*/ 267307 h 734237"/>
                <a:gd name="connsiteX265" fmla="*/ 1332861 w 1472512"/>
                <a:gd name="connsiteY265" fmla="*/ 266731 h 734237"/>
                <a:gd name="connsiteX266" fmla="*/ 1334197 w 1472512"/>
                <a:gd name="connsiteY266" fmla="*/ 265567 h 734237"/>
                <a:gd name="connsiteX267" fmla="*/ 1337298 w 1472512"/>
                <a:gd name="connsiteY267" fmla="*/ 263991 h 734237"/>
                <a:gd name="connsiteX268" fmla="*/ 1339940 w 1472512"/>
                <a:gd name="connsiteY268" fmla="*/ 263303 h 734237"/>
                <a:gd name="connsiteX269" fmla="*/ 1340771 w 1472512"/>
                <a:gd name="connsiteY269" fmla="*/ 263160 h 734237"/>
                <a:gd name="connsiteX270" fmla="*/ 1342032 w 1472512"/>
                <a:gd name="connsiteY270" fmla="*/ 264265 h 734237"/>
                <a:gd name="connsiteX271" fmla="*/ 1344530 w 1472512"/>
                <a:gd name="connsiteY271" fmla="*/ 263377 h 734237"/>
                <a:gd name="connsiteX272" fmla="*/ 1347099 w 1472512"/>
                <a:gd name="connsiteY272" fmla="*/ 262879 h 734237"/>
                <a:gd name="connsiteX273" fmla="*/ 1335983 w 1472512"/>
                <a:gd name="connsiteY273" fmla="*/ 267933 h 734237"/>
                <a:gd name="connsiteX274" fmla="*/ 1333710 w 1472512"/>
                <a:gd name="connsiteY274" fmla="*/ 268502 h 734237"/>
                <a:gd name="connsiteX275" fmla="*/ 1330458 w 1472512"/>
                <a:gd name="connsiteY275" fmla="*/ 270005 h 734237"/>
                <a:gd name="connsiteX276" fmla="*/ 1327384 w 1472512"/>
                <a:gd name="connsiteY276" fmla="*/ 271070 h 734237"/>
                <a:gd name="connsiteX277" fmla="*/ 1325170 w 1472512"/>
                <a:gd name="connsiteY277" fmla="*/ 271458 h 734237"/>
                <a:gd name="connsiteX278" fmla="*/ 1314164 w 1472512"/>
                <a:gd name="connsiteY278" fmla="*/ 275200 h 734237"/>
                <a:gd name="connsiteX279" fmla="*/ 1313291 w 1472512"/>
                <a:gd name="connsiteY279" fmla="*/ 275281 h 734237"/>
                <a:gd name="connsiteX280" fmla="*/ 1312347 w 1472512"/>
                <a:gd name="connsiteY280" fmla="*/ 274916 h 734237"/>
                <a:gd name="connsiteX281" fmla="*/ 1303281 w 1472512"/>
                <a:gd name="connsiteY281" fmla="*/ 276842 h 734237"/>
                <a:gd name="connsiteX282" fmla="*/ 1299561 w 1472512"/>
                <a:gd name="connsiteY282" fmla="*/ 277060 h 734237"/>
                <a:gd name="connsiteX283" fmla="*/ 1296173 w 1472512"/>
                <a:gd name="connsiteY283" fmla="*/ 277731 h 734237"/>
                <a:gd name="connsiteX284" fmla="*/ 1298679 w 1472512"/>
                <a:gd name="connsiteY284" fmla="*/ 276181 h 734237"/>
                <a:gd name="connsiteX285" fmla="*/ 1298734 w 1472512"/>
                <a:gd name="connsiteY285" fmla="*/ 275601 h 734237"/>
                <a:gd name="connsiteX286" fmla="*/ 1298134 w 1472512"/>
                <a:gd name="connsiteY286" fmla="*/ 275147 h 734237"/>
                <a:gd name="connsiteX287" fmla="*/ 1296793 w 1472512"/>
                <a:gd name="connsiteY287" fmla="*/ 275279 h 734237"/>
                <a:gd name="connsiteX288" fmla="*/ 1295422 w 1472512"/>
                <a:gd name="connsiteY288" fmla="*/ 276875 h 734237"/>
                <a:gd name="connsiteX289" fmla="*/ 1293231 w 1472512"/>
                <a:gd name="connsiteY289" fmla="*/ 277409 h 734237"/>
                <a:gd name="connsiteX290" fmla="*/ 1292792 w 1472512"/>
                <a:gd name="connsiteY290" fmla="*/ 275670 h 734237"/>
                <a:gd name="connsiteX291" fmla="*/ 1293524 w 1472512"/>
                <a:gd name="connsiteY291" fmla="*/ 274325 h 734237"/>
                <a:gd name="connsiteX292" fmla="*/ 1294515 w 1472512"/>
                <a:gd name="connsiteY292" fmla="*/ 273047 h 734237"/>
                <a:gd name="connsiteX293" fmla="*/ 1296691 w 1472512"/>
                <a:gd name="connsiteY293" fmla="*/ 271039 h 734237"/>
                <a:gd name="connsiteX294" fmla="*/ 1299803 w 1472512"/>
                <a:gd name="connsiteY294" fmla="*/ 269765 h 734237"/>
                <a:gd name="connsiteX295" fmla="*/ 1301385 w 1472512"/>
                <a:gd name="connsiteY295" fmla="*/ 268665 h 734237"/>
                <a:gd name="connsiteX296" fmla="*/ 1302480 w 1472512"/>
                <a:gd name="connsiteY296" fmla="*/ 269634 h 734237"/>
                <a:gd name="connsiteX297" fmla="*/ 1302722 w 1472512"/>
                <a:gd name="connsiteY297" fmla="*/ 268324 h 734237"/>
                <a:gd name="connsiteX298" fmla="*/ 1303565 w 1472512"/>
                <a:gd name="connsiteY298" fmla="*/ 267567 h 734237"/>
                <a:gd name="connsiteX299" fmla="*/ 1304482 w 1472512"/>
                <a:gd name="connsiteY299" fmla="*/ 267160 h 734237"/>
                <a:gd name="connsiteX300" fmla="*/ 1306686 w 1472512"/>
                <a:gd name="connsiteY300" fmla="*/ 267150 h 734237"/>
                <a:gd name="connsiteX301" fmla="*/ 1307873 w 1472512"/>
                <a:gd name="connsiteY301" fmla="*/ 266944 h 734237"/>
                <a:gd name="connsiteX302" fmla="*/ 1308731 w 1472512"/>
                <a:gd name="connsiteY302" fmla="*/ 266508 h 734237"/>
                <a:gd name="connsiteX303" fmla="*/ 1309613 w 1472512"/>
                <a:gd name="connsiteY303" fmla="*/ 266427 h 734237"/>
                <a:gd name="connsiteX304" fmla="*/ 1312024 w 1472512"/>
                <a:gd name="connsiteY304" fmla="*/ 267021 h 734237"/>
                <a:gd name="connsiteX305" fmla="*/ 1314380 w 1472512"/>
                <a:gd name="connsiteY305" fmla="*/ 266851 h 734237"/>
                <a:gd name="connsiteX306" fmla="*/ 1316282 w 1472512"/>
                <a:gd name="connsiteY306" fmla="*/ 266031 h 734237"/>
                <a:gd name="connsiteX307" fmla="*/ 1318259 w 1472512"/>
                <a:gd name="connsiteY307" fmla="*/ 265755 h 734237"/>
                <a:gd name="connsiteX308" fmla="*/ 1323487 w 1472512"/>
                <a:gd name="connsiteY308" fmla="*/ 265569 h 734237"/>
                <a:gd name="connsiteX309" fmla="*/ 1328684 w 1472512"/>
                <a:gd name="connsiteY309" fmla="*/ 264970 h 734237"/>
                <a:gd name="connsiteX310" fmla="*/ 1330762 w 1472512"/>
                <a:gd name="connsiteY310" fmla="*/ 263902 h 734237"/>
                <a:gd name="connsiteX311" fmla="*/ 1335126 w 1472512"/>
                <a:gd name="connsiteY311" fmla="*/ 260909 h 734237"/>
                <a:gd name="connsiteX312" fmla="*/ 1394599 w 1472512"/>
                <a:gd name="connsiteY312" fmla="*/ 252637 h 734237"/>
                <a:gd name="connsiteX313" fmla="*/ 1396018 w 1472512"/>
                <a:gd name="connsiteY313" fmla="*/ 255646 h 734237"/>
                <a:gd name="connsiteX314" fmla="*/ 1396213 w 1472512"/>
                <a:gd name="connsiteY314" fmla="*/ 256653 h 734237"/>
                <a:gd name="connsiteX315" fmla="*/ 1394245 w 1472512"/>
                <a:gd name="connsiteY315" fmla="*/ 257142 h 734237"/>
                <a:gd name="connsiteX316" fmla="*/ 1389705 w 1472512"/>
                <a:gd name="connsiteY316" fmla="*/ 256020 h 734237"/>
                <a:gd name="connsiteX317" fmla="*/ 1393440 w 1472512"/>
                <a:gd name="connsiteY317" fmla="*/ 255069 h 734237"/>
                <a:gd name="connsiteX318" fmla="*/ 1394051 w 1472512"/>
                <a:gd name="connsiteY318" fmla="*/ 254738 h 734237"/>
                <a:gd name="connsiteX319" fmla="*/ 1394538 w 1472512"/>
                <a:gd name="connsiteY319" fmla="*/ 253339 h 734237"/>
                <a:gd name="connsiteX320" fmla="*/ 1379936 w 1472512"/>
                <a:gd name="connsiteY320" fmla="*/ 250817 h 734237"/>
                <a:gd name="connsiteX321" fmla="*/ 1382249 w 1472512"/>
                <a:gd name="connsiteY321" fmla="*/ 252110 h 734237"/>
                <a:gd name="connsiteX322" fmla="*/ 1382642 w 1472512"/>
                <a:gd name="connsiteY322" fmla="*/ 253282 h 734237"/>
                <a:gd name="connsiteX323" fmla="*/ 1375618 w 1472512"/>
                <a:gd name="connsiteY323" fmla="*/ 254770 h 734237"/>
                <a:gd name="connsiteX324" fmla="*/ 1374497 w 1472512"/>
                <a:gd name="connsiteY324" fmla="*/ 253809 h 734237"/>
                <a:gd name="connsiteX325" fmla="*/ 1376250 w 1472512"/>
                <a:gd name="connsiteY325" fmla="*/ 253365 h 734237"/>
                <a:gd name="connsiteX326" fmla="*/ 1378464 w 1472512"/>
                <a:gd name="connsiteY326" fmla="*/ 251082 h 734237"/>
                <a:gd name="connsiteX327" fmla="*/ 1360847 w 1472512"/>
                <a:gd name="connsiteY327" fmla="*/ 247322 h 734237"/>
                <a:gd name="connsiteX328" fmla="*/ 1361097 w 1472512"/>
                <a:gd name="connsiteY328" fmla="*/ 248224 h 734237"/>
                <a:gd name="connsiteX329" fmla="*/ 1360821 w 1472512"/>
                <a:gd name="connsiteY329" fmla="*/ 249962 h 734237"/>
                <a:gd name="connsiteX330" fmla="*/ 1360114 w 1472512"/>
                <a:gd name="connsiteY330" fmla="*/ 250527 h 734237"/>
                <a:gd name="connsiteX331" fmla="*/ 1359849 w 1472512"/>
                <a:gd name="connsiteY331" fmla="*/ 249055 h 734237"/>
                <a:gd name="connsiteX332" fmla="*/ 1360344 w 1472512"/>
                <a:gd name="connsiteY332" fmla="*/ 247362 h 734237"/>
                <a:gd name="connsiteX333" fmla="*/ 1364221 w 1472512"/>
                <a:gd name="connsiteY333" fmla="*/ 244805 h 734237"/>
                <a:gd name="connsiteX334" fmla="*/ 1363983 w 1472512"/>
                <a:gd name="connsiteY334" fmla="*/ 249758 h 734237"/>
                <a:gd name="connsiteX335" fmla="*/ 1362719 w 1472512"/>
                <a:gd name="connsiteY335" fmla="*/ 250592 h 734237"/>
                <a:gd name="connsiteX336" fmla="*/ 1361308 w 1472512"/>
                <a:gd name="connsiteY336" fmla="*/ 250445 h 734237"/>
                <a:gd name="connsiteX337" fmla="*/ 1362024 w 1472512"/>
                <a:gd name="connsiteY337" fmla="*/ 249320 h 734237"/>
                <a:gd name="connsiteX338" fmla="*/ 1362297 w 1472512"/>
                <a:gd name="connsiteY338" fmla="*/ 247667 h 734237"/>
                <a:gd name="connsiteX339" fmla="*/ 1362994 w 1472512"/>
                <a:gd name="connsiteY339" fmla="*/ 245851 h 734237"/>
                <a:gd name="connsiteX340" fmla="*/ 1363394 w 1472512"/>
                <a:gd name="connsiteY340" fmla="*/ 245295 h 734237"/>
                <a:gd name="connsiteX341" fmla="*/ 1429406 w 1472512"/>
                <a:gd name="connsiteY341" fmla="*/ 164388 h 734237"/>
                <a:gd name="connsiteX342" fmla="*/ 1429937 w 1472512"/>
                <a:gd name="connsiteY342" fmla="*/ 164822 h 734237"/>
                <a:gd name="connsiteX343" fmla="*/ 1430772 w 1472512"/>
                <a:gd name="connsiteY343" fmla="*/ 166270 h 734237"/>
                <a:gd name="connsiteX344" fmla="*/ 1429803 w 1472512"/>
                <a:gd name="connsiteY344" fmla="*/ 166889 h 734237"/>
                <a:gd name="connsiteX345" fmla="*/ 1428770 w 1472512"/>
                <a:gd name="connsiteY345" fmla="*/ 166690 h 734237"/>
                <a:gd name="connsiteX346" fmla="*/ 1428736 w 1472512"/>
                <a:gd name="connsiteY346" fmla="*/ 165145 h 734237"/>
                <a:gd name="connsiteX347" fmla="*/ 1429049 w 1472512"/>
                <a:gd name="connsiteY347" fmla="*/ 164622 h 734237"/>
                <a:gd name="connsiteX348" fmla="*/ 1439032 w 1472512"/>
                <a:gd name="connsiteY348" fmla="*/ 158114 h 734237"/>
                <a:gd name="connsiteX349" fmla="*/ 1440597 w 1472512"/>
                <a:gd name="connsiteY349" fmla="*/ 158682 h 734237"/>
                <a:gd name="connsiteX350" fmla="*/ 1441799 w 1472512"/>
                <a:gd name="connsiteY350" fmla="*/ 161001 h 734237"/>
                <a:gd name="connsiteX351" fmla="*/ 1441893 w 1472512"/>
                <a:gd name="connsiteY351" fmla="*/ 162001 h 734237"/>
                <a:gd name="connsiteX352" fmla="*/ 1440408 w 1472512"/>
                <a:gd name="connsiteY352" fmla="*/ 162610 h 734237"/>
                <a:gd name="connsiteX353" fmla="*/ 1438781 w 1472512"/>
                <a:gd name="connsiteY353" fmla="*/ 162345 h 734237"/>
                <a:gd name="connsiteX354" fmla="*/ 1438815 w 1472512"/>
                <a:gd name="connsiteY354" fmla="*/ 163998 h 734237"/>
                <a:gd name="connsiteX355" fmla="*/ 1438632 w 1472512"/>
                <a:gd name="connsiteY355" fmla="*/ 164592 h 734237"/>
                <a:gd name="connsiteX356" fmla="*/ 1436829 w 1472512"/>
                <a:gd name="connsiteY356" fmla="*/ 163742 h 734237"/>
                <a:gd name="connsiteX357" fmla="*/ 1436167 w 1472512"/>
                <a:gd name="connsiteY357" fmla="*/ 163195 h 734237"/>
                <a:gd name="connsiteX358" fmla="*/ 1436225 w 1472512"/>
                <a:gd name="connsiteY358" fmla="*/ 161006 h 734237"/>
                <a:gd name="connsiteX359" fmla="*/ 1437818 w 1472512"/>
                <a:gd name="connsiteY359" fmla="*/ 158933 h 734237"/>
                <a:gd name="connsiteX360" fmla="*/ 46551 w 1472512"/>
                <a:gd name="connsiteY360" fmla="*/ 68443 h 734237"/>
                <a:gd name="connsiteX361" fmla="*/ 47469 w 1472512"/>
                <a:gd name="connsiteY361" fmla="*/ 70328 h 734237"/>
                <a:gd name="connsiteX362" fmla="*/ 47368 w 1472512"/>
                <a:gd name="connsiteY362" fmla="*/ 70702 h 734237"/>
                <a:gd name="connsiteX363" fmla="*/ 47126 w 1472512"/>
                <a:gd name="connsiteY363" fmla="*/ 71337 h 734237"/>
                <a:gd name="connsiteX364" fmla="*/ 46766 w 1472512"/>
                <a:gd name="connsiteY364" fmla="*/ 71302 h 734237"/>
                <a:gd name="connsiteX365" fmla="*/ 45969 w 1472512"/>
                <a:gd name="connsiteY365" fmla="*/ 70013 h 734237"/>
                <a:gd name="connsiteX366" fmla="*/ 45867 w 1472512"/>
                <a:gd name="connsiteY366" fmla="*/ 69101 h 734237"/>
                <a:gd name="connsiteX367" fmla="*/ 57175 w 1472512"/>
                <a:gd name="connsiteY367" fmla="*/ 61483 h 734237"/>
                <a:gd name="connsiteX368" fmla="*/ 57852 w 1472512"/>
                <a:gd name="connsiteY368" fmla="*/ 62902 h 734237"/>
                <a:gd name="connsiteX369" fmla="*/ 59076 w 1472512"/>
                <a:gd name="connsiteY369" fmla="*/ 64548 h 734237"/>
                <a:gd name="connsiteX370" fmla="*/ 58959 w 1472512"/>
                <a:gd name="connsiteY370" fmla="*/ 65283 h 734237"/>
                <a:gd name="connsiteX371" fmla="*/ 57980 w 1472512"/>
                <a:gd name="connsiteY371" fmla="*/ 65857 h 734237"/>
                <a:gd name="connsiteX372" fmla="*/ 57473 w 1472512"/>
                <a:gd name="connsiteY372" fmla="*/ 65709 h 734237"/>
                <a:gd name="connsiteX373" fmla="*/ 57442 w 1472512"/>
                <a:gd name="connsiteY373" fmla="*/ 64842 h 734237"/>
                <a:gd name="connsiteX374" fmla="*/ 57178 w 1472512"/>
                <a:gd name="connsiteY374" fmla="*/ 64710 h 734237"/>
                <a:gd name="connsiteX375" fmla="*/ 56122 w 1472512"/>
                <a:gd name="connsiteY375" fmla="*/ 65752 h 734237"/>
                <a:gd name="connsiteX376" fmla="*/ 56200 w 1472512"/>
                <a:gd name="connsiteY376" fmla="*/ 63694 h 734237"/>
                <a:gd name="connsiteX377" fmla="*/ 56721 w 1472512"/>
                <a:gd name="connsiteY377" fmla="*/ 61522 h 734237"/>
                <a:gd name="connsiteX378" fmla="*/ 55106 w 1472512"/>
                <a:gd name="connsiteY378" fmla="*/ 54548 h 734237"/>
                <a:gd name="connsiteX379" fmla="*/ 55936 w 1472512"/>
                <a:gd name="connsiteY379" fmla="*/ 54983 h 734237"/>
                <a:gd name="connsiteX380" fmla="*/ 56175 w 1472512"/>
                <a:gd name="connsiteY380" fmla="*/ 55240 h 734237"/>
                <a:gd name="connsiteX381" fmla="*/ 56445 w 1472512"/>
                <a:gd name="connsiteY381" fmla="*/ 58096 h 734237"/>
                <a:gd name="connsiteX382" fmla="*/ 56308 w 1472512"/>
                <a:gd name="connsiteY382" fmla="*/ 58716 h 734237"/>
                <a:gd name="connsiteX383" fmla="*/ 54901 w 1472512"/>
                <a:gd name="connsiteY383" fmla="*/ 57975 h 734237"/>
                <a:gd name="connsiteX384" fmla="*/ 54439 w 1472512"/>
                <a:gd name="connsiteY384" fmla="*/ 57289 h 734237"/>
                <a:gd name="connsiteX385" fmla="*/ 54494 w 1472512"/>
                <a:gd name="connsiteY385" fmla="*/ 55753 h 734237"/>
                <a:gd name="connsiteX386" fmla="*/ 54841 w 1472512"/>
                <a:gd name="connsiteY386" fmla="*/ 54751 h 734237"/>
                <a:gd name="connsiteX387" fmla="*/ 53094 w 1472512"/>
                <a:gd name="connsiteY387" fmla="*/ 32395 h 734237"/>
                <a:gd name="connsiteX388" fmla="*/ 53734 w 1472512"/>
                <a:gd name="connsiteY388" fmla="*/ 32513 h 734237"/>
                <a:gd name="connsiteX389" fmla="*/ 54526 w 1472512"/>
                <a:gd name="connsiteY389" fmla="*/ 33201 h 734237"/>
                <a:gd name="connsiteX390" fmla="*/ 55468 w 1472512"/>
                <a:gd name="connsiteY390" fmla="*/ 34455 h 734237"/>
                <a:gd name="connsiteX391" fmla="*/ 55293 w 1472512"/>
                <a:gd name="connsiteY391" fmla="*/ 35344 h 734237"/>
                <a:gd name="connsiteX392" fmla="*/ 51474 w 1472512"/>
                <a:gd name="connsiteY392" fmla="*/ 37071 h 734237"/>
                <a:gd name="connsiteX393" fmla="*/ 51349 w 1472512"/>
                <a:gd name="connsiteY393" fmla="*/ 37476 h 734237"/>
                <a:gd name="connsiteX394" fmla="*/ 53201 w 1472512"/>
                <a:gd name="connsiteY394" fmla="*/ 37963 h 734237"/>
                <a:gd name="connsiteX395" fmla="*/ 53885 w 1472512"/>
                <a:gd name="connsiteY395" fmla="*/ 38396 h 734237"/>
                <a:gd name="connsiteX396" fmla="*/ 54519 w 1472512"/>
                <a:gd name="connsiteY396" fmla="*/ 39826 h 734237"/>
                <a:gd name="connsiteX397" fmla="*/ 55768 w 1472512"/>
                <a:gd name="connsiteY397" fmla="*/ 44100 h 734237"/>
                <a:gd name="connsiteX398" fmla="*/ 56303 w 1472512"/>
                <a:gd name="connsiteY398" fmla="*/ 42321 h 734237"/>
                <a:gd name="connsiteX399" fmla="*/ 59775 w 1472512"/>
                <a:gd name="connsiteY399" fmla="*/ 45402 h 734237"/>
                <a:gd name="connsiteX400" fmla="*/ 59778 w 1472512"/>
                <a:gd name="connsiteY400" fmla="*/ 46920 h 734237"/>
                <a:gd name="connsiteX401" fmla="*/ 59355 w 1472512"/>
                <a:gd name="connsiteY401" fmla="*/ 47427 h 734237"/>
                <a:gd name="connsiteX402" fmla="*/ 58635 w 1472512"/>
                <a:gd name="connsiteY402" fmla="*/ 47605 h 734237"/>
                <a:gd name="connsiteX403" fmla="*/ 57967 w 1472512"/>
                <a:gd name="connsiteY403" fmla="*/ 47162 h 734237"/>
                <a:gd name="connsiteX404" fmla="*/ 57354 w 1472512"/>
                <a:gd name="connsiteY404" fmla="*/ 46101 h 734237"/>
                <a:gd name="connsiteX405" fmla="*/ 56572 w 1472512"/>
                <a:gd name="connsiteY405" fmla="*/ 45537 h 734237"/>
                <a:gd name="connsiteX406" fmla="*/ 54909 w 1472512"/>
                <a:gd name="connsiteY406" fmla="*/ 45173 h 734237"/>
                <a:gd name="connsiteX407" fmla="*/ 54044 w 1472512"/>
                <a:gd name="connsiteY407" fmla="*/ 43964 h 734237"/>
                <a:gd name="connsiteX408" fmla="*/ 53744 w 1472512"/>
                <a:gd name="connsiteY408" fmla="*/ 43137 h 734237"/>
                <a:gd name="connsiteX409" fmla="*/ 53663 w 1472512"/>
                <a:gd name="connsiteY409" fmla="*/ 40740 h 734237"/>
                <a:gd name="connsiteX410" fmla="*/ 53246 w 1472512"/>
                <a:gd name="connsiteY410" fmla="*/ 39995 h 734237"/>
                <a:gd name="connsiteX411" fmla="*/ 52363 w 1472512"/>
                <a:gd name="connsiteY411" fmla="*/ 39830 h 734237"/>
                <a:gd name="connsiteX412" fmla="*/ 51519 w 1472512"/>
                <a:gd name="connsiteY412" fmla="*/ 39263 h 734237"/>
                <a:gd name="connsiteX413" fmla="*/ 50214 w 1472512"/>
                <a:gd name="connsiteY413" fmla="*/ 37586 h 734237"/>
                <a:gd name="connsiteX414" fmla="*/ 50029 w 1472512"/>
                <a:gd name="connsiteY414" fmla="*/ 37138 h 734237"/>
                <a:gd name="connsiteX415" fmla="*/ 50648 w 1472512"/>
                <a:gd name="connsiteY415" fmla="*/ 35770 h 734237"/>
                <a:gd name="connsiteX416" fmla="*/ 52064 w 1472512"/>
                <a:gd name="connsiteY416" fmla="*/ 33481 h 734237"/>
                <a:gd name="connsiteX417" fmla="*/ 46541 w 1472512"/>
                <a:gd name="connsiteY417" fmla="*/ 26918 h 734237"/>
                <a:gd name="connsiteX418" fmla="*/ 46965 w 1472512"/>
                <a:gd name="connsiteY418" fmla="*/ 27015 h 734237"/>
                <a:gd name="connsiteX419" fmla="*/ 47144 w 1472512"/>
                <a:gd name="connsiteY419" fmla="*/ 28547 h 734237"/>
                <a:gd name="connsiteX420" fmla="*/ 48350 w 1472512"/>
                <a:gd name="connsiteY420" fmla="*/ 30168 h 734237"/>
                <a:gd name="connsiteX421" fmla="*/ 48190 w 1472512"/>
                <a:gd name="connsiteY421" fmla="*/ 30854 h 734237"/>
                <a:gd name="connsiteX422" fmla="*/ 47790 w 1472512"/>
                <a:gd name="connsiteY422" fmla="*/ 31176 h 734237"/>
                <a:gd name="connsiteX423" fmla="*/ 46426 w 1472512"/>
                <a:gd name="connsiteY423" fmla="*/ 30745 h 734237"/>
                <a:gd name="connsiteX424" fmla="*/ 45620 w 1472512"/>
                <a:gd name="connsiteY424" fmla="*/ 30018 h 734237"/>
                <a:gd name="connsiteX425" fmla="*/ 45348 w 1472512"/>
                <a:gd name="connsiteY425" fmla="*/ 29106 h 734237"/>
                <a:gd name="connsiteX426" fmla="*/ 45860 w 1472512"/>
                <a:gd name="connsiteY426" fmla="*/ 27364 h 734237"/>
                <a:gd name="connsiteX427" fmla="*/ 40708 w 1472512"/>
                <a:gd name="connsiteY427" fmla="*/ 24897 h 734237"/>
                <a:gd name="connsiteX428" fmla="*/ 43004 w 1472512"/>
                <a:gd name="connsiteY428" fmla="*/ 27348 h 734237"/>
                <a:gd name="connsiteX429" fmla="*/ 43286 w 1472512"/>
                <a:gd name="connsiteY429" fmla="*/ 28578 h 734237"/>
                <a:gd name="connsiteX430" fmla="*/ 43958 w 1472512"/>
                <a:gd name="connsiteY430" fmla="*/ 29655 h 734237"/>
                <a:gd name="connsiteX431" fmla="*/ 41211 w 1472512"/>
                <a:gd name="connsiteY431" fmla="*/ 28965 h 734237"/>
                <a:gd name="connsiteX432" fmla="*/ 40050 w 1472512"/>
                <a:gd name="connsiteY432" fmla="*/ 28348 h 734237"/>
                <a:gd name="connsiteX433" fmla="*/ 39707 w 1472512"/>
                <a:gd name="connsiteY433" fmla="*/ 27745 h 734237"/>
                <a:gd name="connsiteX434" fmla="*/ 39295 w 1472512"/>
                <a:gd name="connsiteY434" fmla="*/ 25768 h 734237"/>
                <a:gd name="connsiteX435" fmla="*/ 39484 w 1472512"/>
                <a:gd name="connsiteY435" fmla="*/ 25123 h 734237"/>
                <a:gd name="connsiteX436" fmla="*/ 46229 w 1472512"/>
                <a:gd name="connsiteY436" fmla="*/ 21714 h 734237"/>
                <a:gd name="connsiteX437" fmla="*/ 49178 w 1472512"/>
                <a:gd name="connsiteY437" fmla="*/ 22948 h 734237"/>
                <a:gd name="connsiteX438" fmla="*/ 49517 w 1472512"/>
                <a:gd name="connsiteY438" fmla="*/ 23661 h 734237"/>
                <a:gd name="connsiteX439" fmla="*/ 48493 w 1472512"/>
                <a:gd name="connsiteY439" fmla="*/ 24355 h 734237"/>
                <a:gd name="connsiteX440" fmla="*/ 47763 w 1472512"/>
                <a:gd name="connsiteY440" fmla="*/ 24461 h 734237"/>
                <a:gd name="connsiteX441" fmla="*/ 46602 w 1472512"/>
                <a:gd name="connsiteY441" fmla="*/ 23344 h 734237"/>
                <a:gd name="connsiteX442" fmla="*/ 46095 w 1472512"/>
                <a:gd name="connsiteY442" fmla="*/ 23211 h 734237"/>
                <a:gd name="connsiteX443" fmla="*/ 46503 w 1472512"/>
                <a:gd name="connsiteY443" fmla="*/ 24929 h 734237"/>
                <a:gd name="connsiteX444" fmla="*/ 46362 w 1472512"/>
                <a:gd name="connsiteY444" fmla="*/ 25513 h 734237"/>
                <a:gd name="connsiteX445" fmla="*/ 43987 w 1472512"/>
                <a:gd name="connsiteY445" fmla="*/ 24457 h 734237"/>
                <a:gd name="connsiteX446" fmla="*/ 43548 w 1472512"/>
                <a:gd name="connsiteY446" fmla="*/ 23621 h 734237"/>
                <a:gd name="connsiteX447" fmla="*/ 44215 w 1472512"/>
                <a:gd name="connsiteY447" fmla="*/ 22737 h 734237"/>
                <a:gd name="connsiteX448" fmla="*/ 45711 w 1472512"/>
                <a:gd name="connsiteY448" fmla="*/ 21824 h 734237"/>
                <a:gd name="connsiteX449" fmla="*/ 753940 w 1472512"/>
                <a:gd name="connsiteY449" fmla="*/ 0 h 734237"/>
                <a:gd name="connsiteX450" fmla="*/ 759448 w 1472512"/>
                <a:gd name="connsiteY450" fmla="*/ 670 h 734237"/>
                <a:gd name="connsiteX451" fmla="*/ 761095 w 1472512"/>
                <a:gd name="connsiteY451" fmla="*/ 1674 h 734237"/>
                <a:gd name="connsiteX452" fmla="*/ 761616 w 1472512"/>
                <a:gd name="connsiteY452" fmla="*/ 2152 h 734237"/>
                <a:gd name="connsiteX453" fmla="*/ 761461 w 1472512"/>
                <a:gd name="connsiteY453" fmla="*/ 3670 h 734237"/>
                <a:gd name="connsiteX454" fmla="*/ 761917 w 1472512"/>
                <a:gd name="connsiteY454" fmla="*/ 8269 h 734237"/>
                <a:gd name="connsiteX455" fmla="*/ 762914 w 1472512"/>
                <a:gd name="connsiteY455" fmla="*/ 12099 h 734237"/>
                <a:gd name="connsiteX456" fmla="*/ 765227 w 1472512"/>
                <a:gd name="connsiteY456" fmla="*/ 16687 h 734237"/>
                <a:gd name="connsiteX457" fmla="*/ 765234 w 1472512"/>
                <a:gd name="connsiteY457" fmla="*/ 16702 h 734237"/>
                <a:gd name="connsiteX458" fmla="*/ 765424 w 1472512"/>
                <a:gd name="connsiteY458" fmla="*/ 18492 h 734237"/>
                <a:gd name="connsiteX459" fmla="*/ 766183 w 1472512"/>
                <a:gd name="connsiteY459" fmla="*/ 19611 h 734237"/>
                <a:gd name="connsiteX460" fmla="*/ 767571 w 1472512"/>
                <a:gd name="connsiteY460" fmla="*/ 20655 h 734237"/>
                <a:gd name="connsiteX461" fmla="*/ 772846 w 1472512"/>
                <a:gd name="connsiteY461" fmla="*/ 21920 h 734237"/>
                <a:gd name="connsiteX462" fmla="*/ 782004 w 1472512"/>
                <a:gd name="connsiteY462" fmla="*/ 23398 h 734237"/>
                <a:gd name="connsiteX463" fmla="*/ 787196 w 1472512"/>
                <a:gd name="connsiteY463" fmla="*/ 25095 h 734237"/>
                <a:gd name="connsiteX464" fmla="*/ 788422 w 1472512"/>
                <a:gd name="connsiteY464" fmla="*/ 27007 h 734237"/>
                <a:gd name="connsiteX465" fmla="*/ 790868 w 1472512"/>
                <a:gd name="connsiteY465" fmla="*/ 27774 h 734237"/>
                <a:gd name="connsiteX466" fmla="*/ 794527 w 1472512"/>
                <a:gd name="connsiteY466" fmla="*/ 27400 h 734237"/>
                <a:gd name="connsiteX467" fmla="*/ 797094 w 1472512"/>
                <a:gd name="connsiteY467" fmla="*/ 26601 h 734237"/>
                <a:gd name="connsiteX468" fmla="*/ 799281 w 1472512"/>
                <a:gd name="connsiteY468" fmla="*/ 24790 h 734237"/>
                <a:gd name="connsiteX469" fmla="*/ 802341 w 1472512"/>
                <a:gd name="connsiteY469" fmla="*/ 24388 h 734237"/>
                <a:gd name="connsiteX470" fmla="*/ 804960 w 1472512"/>
                <a:gd name="connsiteY470" fmla="*/ 24503 h 734237"/>
                <a:gd name="connsiteX471" fmla="*/ 807601 w 1472512"/>
                <a:gd name="connsiteY471" fmla="*/ 24682 h 734237"/>
                <a:gd name="connsiteX472" fmla="*/ 809017 w 1472512"/>
                <a:gd name="connsiteY472" fmla="*/ 24946 h 734237"/>
                <a:gd name="connsiteX473" fmla="*/ 813086 w 1472512"/>
                <a:gd name="connsiteY473" fmla="*/ 26389 h 734237"/>
                <a:gd name="connsiteX474" fmla="*/ 815740 w 1472512"/>
                <a:gd name="connsiteY474" fmla="*/ 27566 h 734237"/>
                <a:gd name="connsiteX475" fmla="*/ 819552 w 1472512"/>
                <a:gd name="connsiteY475" fmla="*/ 29751 h 734237"/>
                <a:gd name="connsiteX476" fmla="*/ 821661 w 1472512"/>
                <a:gd name="connsiteY476" fmla="*/ 30723 h 734237"/>
                <a:gd name="connsiteX477" fmla="*/ 822674 w 1472512"/>
                <a:gd name="connsiteY477" fmla="*/ 32995 h 734237"/>
                <a:gd name="connsiteX478" fmla="*/ 823854 w 1472512"/>
                <a:gd name="connsiteY478" fmla="*/ 35910 h 734237"/>
                <a:gd name="connsiteX479" fmla="*/ 825542 w 1472512"/>
                <a:gd name="connsiteY479" fmla="*/ 35910 h 734237"/>
                <a:gd name="connsiteX480" fmla="*/ 826811 w 1472512"/>
                <a:gd name="connsiteY480" fmla="*/ 34203 h 734237"/>
                <a:gd name="connsiteX481" fmla="*/ 830048 w 1472512"/>
                <a:gd name="connsiteY481" fmla="*/ 33894 h 734237"/>
                <a:gd name="connsiteX482" fmla="*/ 834298 w 1472512"/>
                <a:gd name="connsiteY482" fmla="*/ 35086 h 734237"/>
                <a:gd name="connsiteX483" fmla="*/ 838044 w 1472512"/>
                <a:gd name="connsiteY483" fmla="*/ 38491 h 734237"/>
                <a:gd name="connsiteX484" fmla="*/ 843428 w 1472512"/>
                <a:gd name="connsiteY484" fmla="*/ 41523 h 734237"/>
                <a:gd name="connsiteX485" fmla="*/ 846719 w 1472512"/>
                <a:gd name="connsiteY485" fmla="*/ 43031 h 734237"/>
                <a:gd name="connsiteX486" fmla="*/ 850063 w 1472512"/>
                <a:gd name="connsiteY486" fmla="*/ 43023 h 734237"/>
                <a:gd name="connsiteX487" fmla="*/ 854313 w 1472512"/>
                <a:gd name="connsiteY487" fmla="*/ 41523 h 734237"/>
                <a:gd name="connsiteX488" fmla="*/ 858832 w 1472512"/>
                <a:gd name="connsiteY488" fmla="*/ 38617 h 734237"/>
                <a:gd name="connsiteX489" fmla="*/ 862082 w 1472512"/>
                <a:gd name="connsiteY489" fmla="*/ 38113 h 734237"/>
                <a:gd name="connsiteX490" fmla="*/ 864013 w 1472512"/>
                <a:gd name="connsiteY490" fmla="*/ 38394 h 734237"/>
                <a:gd name="connsiteX491" fmla="*/ 865112 w 1472512"/>
                <a:gd name="connsiteY491" fmla="*/ 40660 h 734237"/>
                <a:gd name="connsiteX492" fmla="*/ 866462 w 1472512"/>
                <a:gd name="connsiteY492" fmla="*/ 41523 h 734237"/>
                <a:gd name="connsiteX493" fmla="*/ 869964 w 1472512"/>
                <a:gd name="connsiteY493" fmla="*/ 41261 h 734237"/>
                <a:gd name="connsiteX494" fmla="*/ 877285 w 1472512"/>
                <a:gd name="connsiteY494" fmla="*/ 41699 h 734237"/>
                <a:gd name="connsiteX495" fmla="*/ 883109 w 1472512"/>
                <a:gd name="connsiteY495" fmla="*/ 41081 h 734237"/>
                <a:gd name="connsiteX496" fmla="*/ 884432 w 1472512"/>
                <a:gd name="connsiteY496" fmla="*/ 42383 h 734237"/>
                <a:gd name="connsiteX497" fmla="*/ 885613 w 1472512"/>
                <a:gd name="connsiteY497" fmla="*/ 44431 h 734237"/>
                <a:gd name="connsiteX498" fmla="*/ 887976 w 1472512"/>
                <a:gd name="connsiteY498" fmla="*/ 45076 h 734237"/>
                <a:gd name="connsiteX499" fmla="*/ 891181 w 1472512"/>
                <a:gd name="connsiteY499" fmla="*/ 44431 h 734237"/>
                <a:gd name="connsiteX500" fmla="*/ 896916 w 1472512"/>
                <a:gd name="connsiteY500" fmla="*/ 44932 h 734237"/>
                <a:gd name="connsiteX501" fmla="*/ 899338 w 1472512"/>
                <a:gd name="connsiteY501" fmla="*/ 45050 h 734237"/>
                <a:gd name="connsiteX502" fmla="*/ 903992 w 1472512"/>
                <a:gd name="connsiteY502" fmla="*/ 44279 h 734237"/>
                <a:gd name="connsiteX503" fmla="*/ 906225 w 1472512"/>
                <a:gd name="connsiteY503" fmla="*/ 43385 h 734237"/>
                <a:gd name="connsiteX504" fmla="*/ 909364 w 1472512"/>
                <a:gd name="connsiteY504" fmla="*/ 41873 h 734237"/>
                <a:gd name="connsiteX505" fmla="*/ 913545 w 1472512"/>
                <a:gd name="connsiteY505" fmla="*/ 39856 h 734237"/>
                <a:gd name="connsiteX506" fmla="*/ 920865 w 1472512"/>
                <a:gd name="connsiteY506" fmla="*/ 36322 h 734237"/>
                <a:gd name="connsiteX507" fmla="*/ 926823 w 1472512"/>
                <a:gd name="connsiteY507" fmla="*/ 35046 h 734237"/>
                <a:gd name="connsiteX508" fmla="*/ 932373 w 1472512"/>
                <a:gd name="connsiteY508" fmla="*/ 37583 h 734237"/>
                <a:gd name="connsiteX509" fmla="*/ 936791 w 1472512"/>
                <a:gd name="connsiteY509" fmla="*/ 39818 h 734237"/>
                <a:gd name="connsiteX510" fmla="*/ 938499 w 1472512"/>
                <a:gd name="connsiteY510" fmla="*/ 40682 h 734237"/>
                <a:gd name="connsiteX511" fmla="*/ 943004 w 1472512"/>
                <a:gd name="connsiteY511" fmla="*/ 42957 h 734237"/>
                <a:gd name="connsiteX512" fmla="*/ 949373 w 1472512"/>
                <a:gd name="connsiteY512" fmla="*/ 46173 h 734237"/>
                <a:gd name="connsiteX513" fmla="*/ 956675 w 1472512"/>
                <a:gd name="connsiteY513" fmla="*/ 49857 h 734237"/>
                <a:gd name="connsiteX514" fmla="*/ 963975 w 1472512"/>
                <a:gd name="connsiteY514" fmla="*/ 53534 h 734237"/>
                <a:gd name="connsiteX515" fmla="*/ 970343 w 1472512"/>
                <a:gd name="connsiteY515" fmla="*/ 56740 h 734237"/>
                <a:gd name="connsiteX516" fmla="*/ 974849 w 1472512"/>
                <a:gd name="connsiteY516" fmla="*/ 59002 h 734237"/>
                <a:gd name="connsiteX517" fmla="*/ 976558 w 1472512"/>
                <a:gd name="connsiteY517" fmla="*/ 59861 h 734237"/>
                <a:gd name="connsiteX518" fmla="*/ 981510 w 1472512"/>
                <a:gd name="connsiteY518" fmla="*/ 62451 h 734237"/>
                <a:gd name="connsiteX519" fmla="*/ 986461 w 1472512"/>
                <a:gd name="connsiteY519" fmla="*/ 65041 h 734237"/>
                <a:gd name="connsiteX520" fmla="*/ 991410 w 1472512"/>
                <a:gd name="connsiteY520" fmla="*/ 67627 h 734237"/>
                <a:gd name="connsiteX521" fmla="*/ 996362 w 1472512"/>
                <a:gd name="connsiteY521" fmla="*/ 70211 h 734237"/>
                <a:gd name="connsiteX522" fmla="*/ 1001313 w 1472512"/>
                <a:gd name="connsiteY522" fmla="*/ 72793 h 734237"/>
                <a:gd name="connsiteX523" fmla="*/ 1006264 w 1472512"/>
                <a:gd name="connsiteY523" fmla="*/ 75370 h 734237"/>
                <a:gd name="connsiteX524" fmla="*/ 1011213 w 1472512"/>
                <a:gd name="connsiteY524" fmla="*/ 77948 h 734237"/>
                <a:gd name="connsiteX525" fmla="*/ 1016164 w 1472512"/>
                <a:gd name="connsiteY525" fmla="*/ 80524 h 734237"/>
                <a:gd name="connsiteX526" fmla="*/ 1017413 w 1472512"/>
                <a:gd name="connsiteY526" fmla="*/ 84800 h 734237"/>
                <a:gd name="connsiteX527" fmla="*/ 1018629 w 1472512"/>
                <a:gd name="connsiteY527" fmla="*/ 88957 h 734237"/>
                <a:gd name="connsiteX528" fmla="*/ 1021527 w 1472512"/>
                <a:gd name="connsiteY528" fmla="*/ 91972 h 734237"/>
                <a:gd name="connsiteX529" fmla="*/ 1024181 w 1472512"/>
                <a:gd name="connsiteY529" fmla="*/ 94723 h 734237"/>
                <a:gd name="connsiteX530" fmla="*/ 1025716 w 1472512"/>
                <a:gd name="connsiteY530" fmla="*/ 94578 h 734237"/>
                <a:gd name="connsiteX531" fmla="*/ 1027274 w 1472512"/>
                <a:gd name="connsiteY531" fmla="*/ 93418 h 734237"/>
                <a:gd name="connsiteX532" fmla="*/ 1028263 w 1472512"/>
                <a:gd name="connsiteY532" fmla="*/ 92857 h 734237"/>
                <a:gd name="connsiteX533" fmla="*/ 1029921 w 1472512"/>
                <a:gd name="connsiteY533" fmla="*/ 92766 h 734237"/>
                <a:gd name="connsiteX534" fmla="*/ 1033608 w 1472512"/>
                <a:gd name="connsiteY534" fmla="*/ 91771 h 734237"/>
                <a:gd name="connsiteX535" fmla="*/ 1034698 w 1472512"/>
                <a:gd name="connsiteY535" fmla="*/ 91988 h 734237"/>
                <a:gd name="connsiteX536" fmla="*/ 1035317 w 1472512"/>
                <a:gd name="connsiteY536" fmla="*/ 92485 h 734237"/>
                <a:gd name="connsiteX537" fmla="*/ 1035369 w 1472512"/>
                <a:gd name="connsiteY537" fmla="*/ 93265 h 734237"/>
                <a:gd name="connsiteX538" fmla="*/ 1035242 w 1472512"/>
                <a:gd name="connsiteY538" fmla="*/ 93883 h 734237"/>
                <a:gd name="connsiteX539" fmla="*/ 1034672 w 1472512"/>
                <a:gd name="connsiteY539" fmla="*/ 95126 h 734237"/>
                <a:gd name="connsiteX540" fmla="*/ 1035573 w 1472512"/>
                <a:gd name="connsiteY540" fmla="*/ 97493 h 734237"/>
                <a:gd name="connsiteX541" fmla="*/ 1035762 w 1472512"/>
                <a:gd name="connsiteY541" fmla="*/ 100120 h 734237"/>
                <a:gd name="connsiteX542" fmla="*/ 1036256 w 1472512"/>
                <a:gd name="connsiteY542" fmla="*/ 102104 h 734237"/>
                <a:gd name="connsiteX543" fmla="*/ 1037766 w 1472512"/>
                <a:gd name="connsiteY543" fmla="*/ 104641 h 734237"/>
                <a:gd name="connsiteX544" fmla="*/ 1039077 w 1472512"/>
                <a:gd name="connsiteY544" fmla="*/ 106623 h 734237"/>
                <a:gd name="connsiteX545" fmla="*/ 1040728 w 1472512"/>
                <a:gd name="connsiteY545" fmla="*/ 107005 h 734237"/>
                <a:gd name="connsiteX546" fmla="*/ 1044552 w 1472512"/>
                <a:gd name="connsiteY546" fmla="*/ 105851 h 734237"/>
                <a:gd name="connsiteX547" fmla="*/ 1046947 w 1472512"/>
                <a:gd name="connsiteY547" fmla="*/ 105415 h 734237"/>
                <a:gd name="connsiteX548" fmla="*/ 1048307 w 1472512"/>
                <a:gd name="connsiteY548" fmla="*/ 105604 h 734237"/>
                <a:gd name="connsiteX549" fmla="*/ 1050634 w 1472512"/>
                <a:gd name="connsiteY549" fmla="*/ 107458 h 734237"/>
                <a:gd name="connsiteX550" fmla="*/ 1051773 w 1472512"/>
                <a:gd name="connsiteY550" fmla="*/ 108573 h 734237"/>
                <a:gd name="connsiteX551" fmla="*/ 1052045 w 1472512"/>
                <a:gd name="connsiteY551" fmla="*/ 109498 h 734237"/>
                <a:gd name="connsiteX552" fmla="*/ 1048902 w 1472512"/>
                <a:gd name="connsiteY552" fmla="*/ 115148 h 734237"/>
                <a:gd name="connsiteX553" fmla="*/ 1053885 w 1472512"/>
                <a:gd name="connsiteY553" fmla="*/ 117948 h 734237"/>
                <a:gd name="connsiteX554" fmla="*/ 1059447 w 1472512"/>
                <a:gd name="connsiteY554" fmla="*/ 121006 h 734237"/>
                <a:gd name="connsiteX555" fmla="*/ 1066078 w 1472512"/>
                <a:gd name="connsiteY555" fmla="*/ 124647 h 734237"/>
                <a:gd name="connsiteX556" fmla="*/ 1070133 w 1472512"/>
                <a:gd name="connsiteY556" fmla="*/ 126873 h 734237"/>
                <a:gd name="connsiteX557" fmla="*/ 1075472 w 1472512"/>
                <a:gd name="connsiteY557" fmla="*/ 130050 h 734237"/>
                <a:gd name="connsiteX558" fmla="*/ 1076387 w 1472512"/>
                <a:gd name="connsiteY558" fmla="*/ 134571 h 734237"/>
                <a:gd name="connsiteX559" fmla="*/ 1077157 w 1472512"/>
                <a:gd name="connsiteY559" fmla="*/ 138381 h 734237"/>
                <a:gd name="connsiteX560" fmla="*/ 1078138 w 1472512"/>
                <a:gd name="connsiteY560" fmla="*/ 143686 h 734237"/>
                <a:gd name="connsiteX561" fmla="*/ 1079139 w 1472512"/>
                <a:gd name="connsiteY561" fmla="*/ 149086 h 734237"/>
                <a:gd name="connsiteX562" fmla="*/ 1080137 w 1472512"/>
                <a:gd name="connsiteY562" fmla="*/ 154459 h 734237"/>
                <a:gd name="connsiteX563" fmla="*/ 1081195 w 1472512"/>
                <a:gd name="connsiteY563" fmla="*/ 160149 h 734237"/>
                <a:gd name="connsiteX564" fmla="*/ 1082356 w 1472512"/>
                <a:gd name="connsiteY564" fmla="*/ 166390 h 734237"/>
                <a:gd name="connsiteX565" fmla="*/ 1083389 w 1472512"/>
                <a:gd name="connsiteY565" fmla="*/ 171918 h 734237"/>
                <a:gd name="connsiteX566" fmla="*/ 1084516 w 1472512"/>
                <a:gd name="connsiteY566" fmla="*/ 177943 h 734237"/>
                <a:gd name="connsiteX567" fmla="*/ 1086015 w 1472512"/>
                <a:gd name="connsiteY567" fmla="*/ 185765 h 734237"/>
                <a:gd name="connsiteX568" fmla="*/ 1084674 w 1472512"/>
                <a:gd name="connsiteY568" fmla="*/ 188774 h 734237"/>
                <a:gd name="connsiteX569" fmla="*/ 1081755 w 1472512"/>
                <a:gd name="connsiteY569" fmla="*/ 195316 h 734237"/>
                <a:gd name="connsiteX570" fmla="*/ 1079118 w 1472512"/>
                <a:gd name="connsiteY570" fmla="*/ 201217 h 734237"/>
                <a:gd name="connsiteX571" fmla="*/ 1078887 w 1472512"/>
                <a:gd name="connsiteY571" fmla="*/ 202927 h 734237"/>
                <a:gd name="connsiteX572" fmla="*/ 1077074 w 1472512"/>
                <a:gd name="connsiteY572" fmla="*/ 211508 h 734237"/>
                <a:gd name="connsiteX573" fmla="*/ 1075620 w 1472512"/>
                <a:gd name="connsiteY573" fmla="*/ 215047 h 734237"/>
                <a:gd name="connsiteX574" fmla="*/ 1073074 w 1472512"/>
                <a:gd name="connsiteY574" fmla="*/ 217098 h 734237"/>
                <a:gd name="connsiteX575" fmla="*/ 1070546 w 1472512"/>
                <a:gd name="connsiteY575" fmla="*/ 219087 h 734237"/>
                <a:gd name="connsiteX576" fmla="*/ 1067395 w 1472512"/>
                <a:gd name="connsiteY576" fmla="*/ 222415 h 734237"/>
                <a:gd name="connsiteX577" fmla="*/ 1063927 w 1472512"/>
                <a:gd name="connsiteY577" fmla="*/ 224059 h 734237"/>
                <a:gd name="connsiteX578" fmla="*/ 1062154 w 1472512"/>
                <a:gd name="connsiteY578" fmla="*/ 225025 h 734237"/>
                <a:gd name="connsiteX579" fmla="*/ 1061227 w 1472512"/>
                <a:gd name="connsiteY579" fmla="*/ 226548 h 734237"/>
                <a:gd name="connsiteX580" fmla="*/ 1060203 w 1472512"/>
                <a:gd name="connsiteY580" fmla="*/ 229885 h 734237"/>
                <a:gd name="connsiteX581" fmla="*/ 1060400 w 1472512"/>
                <a:gd name="connsiteY581" fmla="*/ 234973 h 734237"/>
                <a:gd name="connsiteX582" fmla="*/ 1063256 w 1472512"/>
                <a:gd name="connsiteY582" fmla="*/ 239346 h 734237"/>
                <a:gd name="connsiteX583" fmla="*/ 1067434 w 1472512"/>
                <a:gd name="connsiteY583" fmla="*/ 241790 h 734237"/>
                <a:gd name="connsiteX584" fmla="*/ 1071928 w 1472512"/>
                <a:gd name="connsiteY584" fmla="*/ 244167 h 734237"/>
                <a:gd name="connsiteX585" fmla="*/ 1078330 w 1472512"/>
                <a:gd name="connsiteY585" fmla="*/ 244178 h 734237"/>
                <a:gd name="connsiteX586" fmla="*/ 1084089 w 1472512"/>
                <a:gd name="connsiteY586" fmla="*/ 241005 h 734237"/>
                <a:gd name="connsiteX587" fmla="*/ 1090190 w 1472512"/>
                <a:gd name="connsiteY587" fmla="*/ 237641 h 734237"/>
                <a:gd name="connsiteX588" fmla="*/ 1095629 w 1472512"/>
                <a:gd name="connsiteY588" fmla="*/ 234639 h 734237"/>
                <a:gd name="connsiteX589" fmla="*/ 1102099 w 1472512"/>
                <a:gd name="connsiteY589" fmla="*/ 231064 h 734237"/>
                <a:gd name="connsiteX590" fmla="*/ 1107958 w 1472512"/>
                <a:gd name="connsiteY590" fmla="*/ 227823 h 734237"/>
                <a:gd name="connsiteX591" fmla="*/ 1114321 w 1472512"/>
                <a:gd name="connsiteY591" fmla="*/ 226656 h 734237"/>
                <a:gd name="connsiteX592" fmla="*/ 1123137 w 1472512"/>
                <a:gd name="connsiteY592" fmla="*/ 225041 h 734237"/>
                <a:gd name="connsiteX593" fmla="*/ 1134235 w 1472512"/>
                <a:gd name="connsiteY593" fmla="*/ 223006 h 734237"/>
                <a:gd name="connsiteX594" fmla="*/ 1139639 w 1472512"/>
                <a:gd name="connsiteY594" fmla="*/ 220686 h 734237"/>
                <a:gd name="connsiteX595" fmla="*/ 1146623 w 1472512"/>
                <a:gd name="connsiteY595" fmla="*/ 217687 h 734237"/>
                <a:gd name="connsiteX596" fmla="*/ 1154677 w 1472512"/>
                <a:gd name="connsiteY596" fmla="*/ 214222 h 734237"/>
                <a:gd name="connsiteX597" fmla="*/ 1161629 w 1472512"/>
                <a:gd name="connsiteY597" fmla="*/ 211229 h 734237"/>
                <a:gd name="connsiteX598" fmla="*/ 1165123 w 1472512"/>
                <a:gd name="connsiteY598" fmla="*/ 209569 h 734237"/>
                <a:gd name="connsiteX599" fmla="*/ 1167610 w 1472512"/>
                <a:gd name="connsiteY599" fmla="*/ 207675 h 734237"/>
                <a:gd name="connsiteX600" fmla="*/ 1168227 w 1472512"/>
                <a:gd name="connsiteY600" fmla="*/ 206272 h 734237"/>
                <a:gd name="connsiteX601" fmla="*/ 1168079 w 1472512"/>
                <a:gd name="connsiteY601" fmla="*/ 205467 h 734237"/>
                <a:gd name="connsiteX602" fmla="*/ 1167438 w 1472512"/>
                <a:gd name="connsiteY602" fmla="*/ 204659 h 734237"/>
                <a:gd name="connsiteX603" fmla="*/ 1166552 w 1472512"/>
                <a:gd name="connsiteY603" fmla="*/ 204064 h 734237"/>
                <a:gd name="connsiteX604" fmla="*/ 1165763 w 1472512"/>
                <a:gd name="connsiteY604" fmla="*/ 203557 h 734237"/>
                <a:gd name="connsiteX605" fmla="*/ 1165394 w 1472512"/>
                <a:gd name="connsiteY605" fmla="*/ 202928 h 734237"/>
                <a:gd name="connsiteX606" fmla="*/ 1165320 w 1472512"/>
                <a:gd name="connsiteY606" fmla="*/ 201554 h 734237"/>
                <a:gd name="connsiteX607" fmla="*/ 1164837 w 1472512"/>
                <a:gd name="connsiteY607" fmla="*/ 200763 h 734237"/>
                <a:gd name="connsiteX608" fmla="*/ 1164375 w 1472512"/>
                <a:gd name="connsiteY608" fmla="*/ 200181 h 734237"/>
                <a:gd name="connsiteX609" fmla="*/ 1164551 w 1472512"/>
                <a:gd name="connsiteY609" fmla="*/ 194855 h 734237"/>
                <a:gd name="connsiteX610" fmla="*/ 1163942 w 1472512"/>
                <a:gd name="connsiteY610" fmla="*/ 193202 h 734237"/>
                <a:gd name="connsiteX611" fmla="*/ 1161677 w 1472512"/>
                <a:gd name="connsiteY611" fmla="*/ 189007 h 734237"/>
                <a:gd name="connsiteX612" fmla="*/ 1165998 w 1472512"/>
                <a:gd name="connsiteY612" fmla="*/ 187125 h 734237"/>
                <a:gd name="connsiteX613" fmla="*/ 1170001 w 1472512"/>
                <a:gd name="connsiteY613" fmla="*/ 185378 h 734237"/>
                <a:gd name="connsiteX614" fmla="*/ 1173193 w 1472512"/>
                <a:gd name="connsiteY614" fmla="*/ 184084 h 734237"/>
                <a:gd name="connsiteX615" fmla="*/ 1179880 w 1472512"/>
                <a:gd name="connsiteY615" fmla="*/ 183880 h 734237"/>
                <a:gd name="connsiteX616" fmla="*/ 1186092 w 1472512"/>
                <a:gd name="connsiteY616" fmla="*/ 183906 h 734237"/>
                <a:gd name="connsiteX617" fmla="*/ 1194651 w 1472512"/>
                <a:gd name="connsiteY617" fmla="*/ 183942 h 734237"/>
                <a:gd name="connsiteX618" fmla="*/ 1201864 w 1472512"/>
                <a:gd name="connsiteY618" fmla="*/ 183971 h 734237"/>
                <a:gd name="connsiteX619" fmla="*/ 1210277 w 1472512"/>
                <a:gd name="connsiteY619" fmla="*/ 184005 h 734237"/>
                <a:gd name="connsiteX620" fmla="*/ 1215210 w 1472512"/>
                <a:gd name="connsiteY620" fmla="*/ 184025 h 734237"/>
                <a:gd name="connsiteX621" fmla="*/ 1221673 w 1472512"/>
                <a:gd name="connsiteY621" fmla="*/ 183964 h 734237"/>
                <a:gd name="connsiteX622" fmla="*/ 1224824 w 1472512"/>
                <a:gd name="connsiteY622" fmla="*/ 179108 h 734237"/>
                <a:gd name="connsiteX623" fmla="*/ 1227639 w 1472512"/>
                <a:gd name="connsiteY623" fmla="*/ 174758 h 734237"/>
                <a:gd name="connsiteX624" fmla="*/ 1230738 w 1472512"/>
                <a:gd name="connsiteY624" fmla="*/ 170598 h 734237"/>
                <a:gd name="connsiteX625" fmla="*/ 1236251 w 1472512"/>
                <a:gd name="connsiteY625" fmla="*/ 165706 h 734237"/>
                <a:gd name="connsiteX626" fmla="*/ 1237851 w 1472512"/>
                <a:gd name="connsiteY626" fmla="*/ 164826 h 734237"/>
                <a:gd name="connsiteX627" fmla="*/ 1238735 w 1472512"/>
                <a:gd name="connsiteY627" fmla="*/ 162894 h 734237"/>
                <a:gd name="connsiteX628" fmla="*/ 1242076 w 1472512"/>
                <a:gd name="connsiteY628" fmla="*/ 161058 h 734237"/>
                <a:gd name="connsiteX629" fmla="*/ 1245756 w 1472512"/>
                <a:gd name="connsiteY629" fmla="*/ 159353 h 734237"/>
                <a:gd name="connsiteX630" fmla="*/ 1247199 w 1472512"/>
                <a:gd name="connsiteY630" fmla="*/ 157752 h 734237"/>
                <a:gd name="connsiteX631" fmla="*/ 1247898 w 1472512"/>
                <a:gd name="connsiteY631" fmla="*/ 156841 h 734237"/>
                <a:gd name="connsiteX632" fmla="*/ 1257865 w 1472512"/>
                <a:gd name="connsiteY632" fmla="*/ 148195 h 734237"/>
                <a:gd name="connsiteX633" fmla="*/ 1263525 w 1472512"/>
                <a:gd name="connsiteY633" fmla="*/ 144194 h 734237"/>
                <a:gd name="connsiteX634" fmla="*/ 1268199 w 1472512"/>
                <a:gd name="connsiteY634" fmla="*/ 141966 h 734237"/>
                <a:gd name="connsiteX635" fmla="*/ 1271757 w 1472512"/>
                <a:gd name="connsiteY635" fmla="*/ 140899 h 734237"/>
                <a:gd name="connsiteX636" fmla="*/ 1274160 w 1472512"/>
                <a:gd name="connsiteY636" fmla="*/ 141052 h 734237"/>
                <a:gd name="connsiteX637" fmla="*/ 1275527 w 1472512"/>
                <a:gd name="connsiteY637" fmla="*/ 140901 h 734237"/>
                <a:gd name="connsiteX638" fmla="*/ 1276691 w 1472512"/>
                <a:gd name="connsiteY638" fmla="*/ 140899 h 734237"/>
                <a:gd name="connsiteX639" fmla="*/ 1282632 w 1472512"/>
                <a:gd name="connsiteY639" fmla="*/ 140890 h 734237"/>
                <a:gd name="connsiteX640" fmla="*/ 1293247 w 1472512"/>
                <a:gd name="connsiteY640" fmla="*/ 140875 h 734237"/>
                <a:gd name="connsiteX641" fmla="*/ 1303863 w 1472512"/>
                <a:gd name="connsiteY641" fmla="*/ 140860 h 734237"/>
                <a:gd name="connsiteX642" fmla="*/ 1314478 w 1472512"/>
                <a:gd name="connsiteY642" fmla="*/ 140846 h 734237"/>
                <a:gd name="connsiteX643" fmla="*/ 1325093 w 1472512"/>
                <a:gd name="connsiteY643" fmla="*/ 140830 h 734237"/>
                <a:gd name="connsiteX644" fmla="*/ 1335709 w 1472512"/>
                <a:gd name="connsiteY644" fmla="*/ 140815 h 734237"/>
                <a:gd name="connsiteX645" fmla="*/ 1346324 w 1472512"/>
                <a:gd name="connsiteY645" fmla="*/ 140801 h 734237"/>
                <a:gd name="connsiteX646" fmla="*/ 1356939 w 1472512"/>
                <a:gd name="connsiteY646" fmla="*/ 140785 h 734237"/>
                <a:gd name="connsiteX647" fmla="*/ 1359451 w 1472512"/>
                <a:gd name="connsiteY647" fmla="*/ 134700 h 734237"/>
                <a:gd name="connsiteX648" fmla="*/ 1361792 w 1472512"/>
                <a:gd name="connsiteY648" fmla="*/ 131862 h 734237"/>
                <a:gd name="connsiteX649" fmla="*/ 1364998 w 1472512"/>
                <a:gd name="connsiteY649" fmla="*/ 132802 h 734237"/>
                <a:gd name="connsiteX650" fmla="*/ 1366705 w 1472512"/>
                <a:gd name="connsiteY650" fmla="*/ 132723 h 734237"/>
                <a:gd name="connsiteX651" fmla="*/ 1368604 w 1472512"/>
                <a:gd name="connsiteY651" fmla="*/ 131259 h 734237"/>
                <a:gd name="connsiteX652" fmla="*/ 1370143 w 1472512"/>
                <a:gd name="connsiteY652" fmla="*/ 130370 h 734237"/>
                <a:gd name="connsiteX653" fmla="*/ 1371157 w 1472512"/>
                <a:gd name="connsiteY653" fmla="*/ 130502 h 734237"/>
                <a:gd name="connsiteX654" fmla="*/ 1372022 w 1472512"/>
                <a:gd name="connsiteY654" fmla="*/ 131842 h 734237"/>
                <a:gd name="connsiteX655" fmla="*/ 1372744 w 1472512"/>
                <a:gd name="connsiteY655" fmla="*/ 132736 h 734237"/>
                <a:gd name="connsiteX656" fmla="*/ 1373585 w 1472512"/>
                <a:gd name="connsiteY656" fmla="*/ 132476 h 734237"/>
                <a:gd name="connsiteX657" fmla="*/ 1374304 w 1472512"/>
                <a:gd name="connsiteY657" fmla="*/ 131211 h 734237"/>
                <a:gd name="connsiteX658" fmla="*/ 1374279 w 1472512"/>
                <a:gd name="connsiteY658" fmla="*/ 129456 h 734237"/>
                <a:gd name="connsiteX659" fmla="*/ 1375264 w 1472512"/>
                <a:gd name="connsiteY659" fmla="*/ 128232 h 734237"/>
                <a:gd name="connsiteX660" fmla="*/ 1376434 w 1472512"/>
                <a:gd name="connsiteY660" fmla="*/ 128045 h 734237"/>
                <a:gd name="connsiteX661" fmla="*/ 1377515 w 1472512"/>
                <a:gd name="connsiteY661" fmla="*/ 128084 h 734237"/>
                <a:gd name="connsiteX662" fmla="*/ 1378054 w 1472512"/>
                <a:gd name="connsiteY662" fmla="*/ 127487 h 734237"/>
                <a:gd name="connsiteX663" fmla="*/ 1377995 w 1472512"/>
                <a:gd name="connsiteY663" fmla="*/ 126632 h 734237"/>
                <a:gd name="connsiteX664" fmla="*/ 1377605 w 1472512"/>
                <a:gd name="connsiteY664" fmla="*/ 125251 h 734237"/>
                <a:gd name="connsiteX665" fmla="*/ 1377737 w 1472512"/>
                <a:gd name="connsiteY665" fmla="*/ 123588 h 734237"/>
                <a:gd name="connsiteX666" fmla="*/ 1380437 w 1472512"/>
                <a:gd name="connsiteY666" fmla="*/ 120649 h 734237"/>
                <a:gd name="connsiteX667" fmla="*/ 1383748 w 1472512"/>
                <a:gd name="connsiteY667" fmla="*/ 118654 h 734237"/>
                <a:gd name="connsiteX668" fmla="*/ 1384909 w 1472512"/>
                <a:gd name="connsiteY668" fmla="*/ 117656 h 734237"/>
                <a:gd name="connsiteX669" fmla="*/ 1385247 w 1472512"/>
                <a:gd name="connsiteY669" fmla="*/ 115633 h 734237"/>
                <a:gd name="connsiteX670" fmla="*/ 1387144 w 1472512"/>
                <a:gd name="connsiteY670" fmla="*/ 113529 h 734237"/>
                <a:gd name="connsiteX671" fmla="*/ 1388094 w 1472512"/>
                <a:gd name="connsiteY671" fmla="*/ 112318 h 734237"/>
                <a:gd name="connsiteX672" fmla="*/ 1388326 w 1472512"/>
                <a:gd name="connsiteY672" fmla="*/ 111267 h 734237"/>
                <a:gd name="connsiteX673" fmla="*/ 1387833 w 1472512"/>
                <a:gd name="connsiteY673" fmla="*/ 109971 h 734237"/>
                <a:gd name="connsiteX674" fmla="*/ 1387883 w 1472512"/>
                <a:gd name="connsiteY674" fmla="*/ 107500 h 734237"/>
                <a:gd name="connsiteX675" fmla="*/ 1388536 w 1472512"/>
                <a:gd name="connsiteY675" fmla="*/ 104547 h 734237"/>
                <a:gd name="connsiteX676" fmla="*/ 1389317 w 1472512"/>
                <a:gd name="connsiteY676" fmla="*/ 101325 h 734237"/>
                <a:gd name="connsiteX677" fmla="*/ 1391067 w 1472512"/>
                <a:gd name="connsiteY677" fmla="*/ 98419 h 734237"/>
                <a:gd name="connsiteX678" fmla="*/ 1393937 w 1472512"/>
                <a:gd name="connsiteY678" fmla="*/ 95245 h 734237"/>
                <a:gd name="connsiteX679" fmla="*/ 1394676 w 1472512"/>
                <a:gd name="connsiteY679" fmla="*/ 91069 h 734237"/>
                <a:gd name="connsiteX680" fmla="*/ 1395454 w 1472512"/>
                <a:gd name="connsiteY680" fmla="*/ 86659 h 734237"/>
                <a:gd name="connsiteX681" fmla="*/ 1398923 w 1472512"/>
                <a:gd name="connsiteY681" fmla="*/ 82355 h 734237"/>
                <a:gd name="connsiteX682" fmla="*/ 1402856 w 1472512"/>
                <a:gd name="connsiteY682" fmla="*/ 77467 h 734237"/>
                <a:gd name="connsiteX683" fmla="*/ 1405095 w 1472512"/>
                <a:gd name="connsiteY683" fmla="*/ 74682 h 734237"/>
                <a:gd name="connsiteX684" fmla="*/ 1409134 w 1472512"/>
                <a:gd name="connsiteY684" fmla="*/ 69608 h 734237"/>
                <a:gd name="connsiteX685" fmla="*/ 1412006 w 1472512"/>
                <a:gd name="connsiteY685" fmla="*/ 65991 h 734237"/>
                <a:gd name="connsiteX686" fmla="*/ 1413453 w 1472512"/>
                <a:gd name="connsiteY686" fmla="*/ 64330 h 734237"/>
                <a:gd name="connsiteX687" fmla="*/ 1414965 w 1472512"/>
                <a:gd name="connsiteY687" fmla="*/ 62356 h 734237"/>
                <a:gd name="connsiteX688" fmla="*/ 1417430 w 1472512"/>
                <a:gd name="connsiteY688" fmla="*/ 62946 h 734237"/>
                <a:gd name="connsiteX689" fmla="*/ 1419879 w 1472512"/>
                <a:gd name="connsiteY689" fmla="*/ 63534 h 734237"/>
                <a:gd name="connsiteX690" fmla="*/ 1419522 w 1472512"/>
                <a:gd name="connsiteY690" fmla="*/ 66395 h 734237"/>
                <a:gd name="connsiteX691" fmla="*/ 1419922 w 1472512"/>
                <a:gd name="connsiteY691" fmla="*/ 68478 h 734237"/>
                <a:gd name="connsiteX692" fmla="*/ 1421081 w 1472512"/>
                <a:gd name="connsiteY692" fmla="*/ 69681 h 734237"/>
                <a:gd name="connsiteX693" fmla="*/ 1422763 w 1472512"/>
                <a:gd name="connsiteY693" fmla="*/ 70493 h 734237"/>
                <a:gd name="connsiteX694" fmla="*/ 1424033 w 1472512"/>
                <a:gd name="connsiteY694" fmla="*/ 70764 h 734237"/>
                <a:gd name="connsiteX695" fmla="*/ 1425531 w 1472512"/>
                <a:gd name="connsiteY695" fmla="*/ 70748 h 734237"/>
                <a:gd name="connsiteX696" fmla="*/ 1429616 w 1472512"/>
                <a:gd name="connsiteY696" fmla="*/ 69129 h 734237"/>
                <a:gd name="connsiteX697" fmla="*/ 1434416 w 1472512"/>
                <a:gd name="connsiteY697" fmla="*/ 68086 h 734237"/>
                <a:gd name="connsiteX698" fmla="*/ 1437056 w 1472512"/>
                <a:gd name="connsiteY698" fmla="*/ 67105 h 734237"/>
                <a:gd name="connsiteX699" fmla="*/ 1437538 w 1472512"/>
                <a:gd name="connsiteY699" fmla="*/ 66189 h 734237"/>
                <a:gd name="connsiteX700" fmla="*/ 1438740 w 1472512"/>
                <a:gd name="connsiteY700" fmla="*/ 65867 h 734237"/>
                <a:gd name="connsiteX701" fmla="*/ 1440664 w 1472512"/>
                <a:gd name="connsiteY701" fmla="*/ 66142 h 734237"/>
                <a:gd name="connsiteX702" fmla="*/ 1444202 w 1472512"/>
                <a:gd name="connsiteY702" fmla="*/ 68439 h 734237"/>
                <a:gd name="connsiteX703" fmla="*/ 1448333 w 1472512"/>
                <a:gd name="connsiteY703" fmla="*/ 71900 h 734237"/>
                <a:gd name="connsiteX704" fmla="*/ 1451600 w 1472512"/>
                <a:gd name="connsiteY704" fmla="*/ 74634 h 734237"/>
                <a:gd name="connsiteX705" fmla="*/ 1451700 w 1472512"/>
                <a:gd name="connsiteY705" fmla="*/ 79370 h 734237"/>
                <a:gd name="connsiteX706" fmla="*/ 1451764 w 1472512"/>
                <a:gd name="connsiteY706" fmla="*/ 84380 h 734237"/>
                <a:gd name="connsiteX707" fmla="*/ 1451832 w 1472512"/>
                <a:gd name="connsiteY707" fmla="*/ 89653 h 734237"/>
                <a:gd name="connsiteX708" fmla="*/ 1451880 w 1472512"/>
                <a:gd name="connsiteY708" fmla="*/ 93409 h 734237"/>
                <a:gd name="connsiteX709" fmla="*/ 1451964 w 1472512"/>
                <a:gd name="connsiteY709" fmla="*/ 98561 h 734237"/>
                <a:gd name="connsiteX710" fmla="*/ 1452029 w 1472512"/>
                <a:gd name="connsiteY710" fmla="*/ 102652 h 734237"/>
                <a:gd name="connsiteX711" fmla="*/ 1452118 w 1472512"/>
                <a:gd name="connsiteY711" fmla="*/ 107985 h 734237"/>
                <a:gd name="connsiteX712" fmla="*/ 1452164 w 1472512"/>
                <a:gd name="connsiteY712" fmla="*/ 110832 h 734237"/>
                <a:gd name="connsiteX713" fmla="*/ 1452614 w 1472512"/>
                <a:gd name="connsiteY713" fmla="*/ 111654 h 734237"/>
                <a:gd name="connsiteX714" fmla="*/ 1452343 w 1472512"/>
                <a:gd name="connsiteY714" fmla="*/ 112774 h 734237"/>
                <a:gd name="connsiteX715" fmla="*/ 1452225 w 1472512"/>
                <a:gd name="connsiteY715" fmla="*/ 113335 h 734237"/>
                <a:gd name="connsiteX716" fmla="*/ 1452254 w 1472512"/>
                <a:gd name="connsiteY716" fmla="*/ 113780 h 734237"/>
                <a:gd name="connsiteX717" fmla="*/ 1452433 w 1472512"/>
                <a:gd name="connsiteY717" fmla="*/ 114342 h 734237"/>
                <a:gd name="connsiteX718" fmla="*/ 1452403 w 1472512"/>
                <a:gd name="connsiteY718" fmla="*/ 115125 h 734237"/>
                <a:gd name="connsiteX719" fmla="*/ 1451984 w 1472512"/>
                <a:gd name="connsiteY719" fmla="*/ 115836 h 734237"/>
                <a:gd name="connsiteX720" fmla="*/ 1451776 w 1472512"/>
                <a:gd name="connsiteY720" fmla="*/ 116654 h 734237"/>
                <a:gd name="connsiteX721" fmla="*/ 1451715 w 1472512"/>
                <a:gd name="connsiteY721" fmla="*/ 117998 h 734237"/>
                <a:gd name="connsiteX722" fmla="*/ 1452164 w 1472512"/>
                <a:gd name="connsiteY722" fmla="*/ 118817 h 734237"/>
                <a:gd name="connsiteX723" fmla="*/ 1452912 w 1472512"/>
                <a:gd name="connsiteY723" fmla="*/ 119300 h 734237"/>
                <a:gd name="connsiteX724" fmla="*/ 1453541 w 1472512"/>
                <a:gd name="connsiteY724" fmla="*/ 119300 h 734237"/>
                <a:gd name="connsiteX725" fmla="*/ 1454350 w 1472512"/>
                <a:gd name="connsiteY725" fmla="*/ 119786 h 734237"/>
                <a:gd name="connsiteX726" fmla="*/ 1455397 w 1472512"/>
                <a:gd name="connsiteY726" fmla="*/ 120643 h 734237"/>
                <a:gd name="connsiteX727" fmla="*/ 1456983 w 1472512"/>
                <a:gd name="connsiteY727" fmla="*/ 121388 h 734237"/>
                <a:gd name="connsiteX728" fmla="*/ 1458629 w 1472512"/>
                <a:gd name="connsiteY728" fmla="*/ 121648 h 734237"/>
                <a:gd name="connsiteX729" fmla="*/ 1459767 w 1472512"/>
                <a:gd name="connsiteY729" fmla="*/ 121461 h 734237"/>
                <a:gd name="connsiteX730" fmla="*/ 1461144 w 1472512"/>
                <a:gd name="connsiteY730" fmla="*/ 121947 h 734237"/>
                <a:gd name="connsiteX731" fmla="*/ 1461623 w 1472512"/>
                <a:gd name="connsiteY731" fmla="*/ 123137 h 734237"/>
                <a:gd name="connsiteX732" fmla="*/ 1461354 w 1472512"/>
                <a:gd name="connsiteY732" fmla="*/ 124252 h 734237"/>
                <a:gd name="connsiteX733" fmla="*/ 1460576 w 1472512"/>
                <a:gd name="connsiteY733" fmla="*/ 124773 h 734237"/>
                <a:gd name="connsiteX734" fmla="*/ 1459738 w 1472512"/>
                <a:gd name="connsiteY734" fmla="*/ 125185 h 734237"/>
                <a:gd name="connsiteX735" fmla="*/ 1459588 w 1472512"/>
                <a:gd name="connsiteY735" fmla="*/ 126038 h 734237"/>
                <a:gd name="connsiteX736" fmla="*/ 1460007 w 1472512"/>
                <a:gd name="connsiteY736" fmla="*/ 126931 h 734237"/>
                <a:gd name="connsiteX737" fmla="*/ 1460606 w 1472512"/>
                <a:gd name="connsiteY737" fmla="*/ 127712 h 734237"/>
                <a:gd name="connsiteX738" fmla="*/ 1461265 w 1472512"/>
                <a:gd name="connsiteY738" fmla="*/ 129083 h 734237"/>
                <a:gd name="connsiteX739" fmla="*/ 1460994 w 1472512"/>
                <a:gd name="connsiteY739" fmla="*/ 130270 h 734237"/>
                <a:gd name="connsiteX740" fmla="*/ 1460396 w 1472512"/>
                <a:gd name="connsiteY740" fmla="*/ 131273 h 734237"/>
                <a:gd name="connsiteX741" fmla="*/ 1460126 w 1472512"/>
                <a:gd name="connsiteY741" fmla="*/ 132312 h 734237"/>
                <a:gd name="connsiteX742" fmla="*/ 1460636 w 1472512"/>
                <a:gd name="connsiteY742" fmla="*/ 133203 h 734237"/>
                <a:gd name="connsiteX743" fmla="*/ 1461982 w 1472512"/>
                <a:gd name="connsiteY743" fmla="*/ 134389 h 734237"/>
                <a:gd name="connsiteX744" fmla="*/ 1462820 w 1472512"/>
                <a:gd name="connsiteY744" fmla="*/ 135538 h 734237"/>
                <a:gd name="connsiteX745" fmla="*/ 1464138 w 1472512"/>
                <a:gd name="connsiteY745" fmla="*/ 136170 h 734237"/>
                <a:gd name="connsiteX746" fmla="*/ 1464766 w 1472512"/>
                <a:gd name="connsiteY746" fmla="*/ 135723 h 734237"/>
                <a:gd name="connsiteX747" fmla="*/ 1465276 w 1472512"/>
                <a:gd name="connsiteY747" fmla="*/ 135130 h 734237"/>
                <a:gd name="connsiteX748" fmla="*/ 1465813 w 1472512"/>
                <a:gd name="connsiteY748" fmla="*/ 134686 h 734237"/>
                <a:gd name="connsiteX749" fmla="*/ 1466741 w 1472512"/>
                <a:gd name="connsiteY749" fmla="*/ 134946 h 734237"/>
                <a:gd name="connsiteX750" fmla="*/ 1467819 w 1472512"/>
                <a:gd name="connsiteY750" fmla="*/ 135279 h 734237"/>
                <a:gd name="connsiteX751" fmla="*/ 1468996 w 1472512"/>
                <a:gd name="connsiteY751" fmla="*/ 135676 h 734237"/>
                <a:gd name="connsiteX752" fmla="*/ 1468855 w 1472512"/>
                <a:gd name="connsiteY752" fmla="*/ 136637 h 734237"/>
                <a:gd name="connsiteX753" fmla="*/ 1469573 w 1472512"/>
                <a:gd name="connsiteY753" fmla="*/ 138256 h 734237"/>
                <a:gd name="connsiteX754" fmla="*/ 1470128 w 1472512"/>
                <a:gd name="connsiteY754" fmla="*/ 141364 h 734237"/>
                <a:gd name="connsiteX755" fmla="*/ 1469275 w 1472512"/>
                <a:gd name="connsiteY755" fmla="*/ 142777 h 734237"/>
                <a:gd name="connsiteX756" fmla="*/ 1469458 w 1472512"/>
                <a:gd name="connsiteY756" fmla="*/ 144646 h 734237"/>
                <a:gd name="connsiteX757" fmla="*/ 1471823 w 1472512"/>
                <a:gd name="connsiteY757" fmla="*/ 145189 h 734237"/>
                <a:gd name="connsiteX758" fmla="*/ 1472399 w 1472512"/>
                <a:gd name="connsiteY758" fmla="*/ 145761 h 734237"/>
                <a:gd name="connsiteX759" fmla="*/ 1472512 w 1472512"/>
                <a:gd name="connsiteY759" fmla="*/ 146452 h 734237"/>
                <a:gd name="connsiteX760" fmla="*/ 1467301 w 1472512"/>
                <a:gd name="connsiteY760" fmla="*/ 151236 h 734237"/>
                <a:gd name="connsiteX761" fmla="*/ 1462894 w 1472512"/>
                <a:gd name="connsiteY761" fmla="*/ 150567 h 734237"/>
                <a:gd name="connsiteX762" fmla="*/ 1460502 w 1472512"/>
                <a:gd name="connsiteY762" fmla="*/ 151834 h 734237"/>
                <a:gd name="connsiteX763" fmla="*/ 1457997 w 1472512"/>
                <a:gd name="connsiteY763" fmla="*/ 152205 h 734237"/>
                <a:gd name="connsiteX764" fmla="*/ 1456898 w 1472512"/>
                <a:gd name="connsiteY764" fmla="*/ 154338 h 734237"/>
                <a:gd name="connsiteX765" fmla="*/ 1455523 w 1472512"/>
                <a:gd name="connsiteY765" fmla="*/ 154791 h 734237"/>
                <a:gd name="connsiteX766" fmla="*/ 1453640 w 1472512"/>
                <a:gd name="connsiteY766" fmla="*/ 154661 h 734237"/>
                <a:gd name="connsiteX767" fmla="*/ 1452015 w 1472512"/>
                <a:gd name="connsiteY767" fmla="*/ 154060 h 734237"/>
                <a:gd name="connsiteX768" fmla="*/ 1450777 w 1472512"/>
                <a:gd name="connsiteY768" fmla="*/ 154356 h 734237"/>
                <a:gd name="connsiteX769" fmla="*/ 1449042 w 1472512"/>
                <a:gd name="connsiteY769" fmla="*/ 158205 h 734237"/>
                <a:gd name="connsiteX770" fmla="*/ 1447623 w 1472512"/>
                <a:gd name="connsiteY770" fmla="*/ 157869 h 734237"/>
                <a:gd name="connsiteX771" fmla="*/ 1447057 w 1472512"/>
                <a:gd name="connsiteY771" fmla="*/ 159253 h 734237"/>
                <a:gd name="connsiteX772" fmla="*/ 1446315 w 1472512"/>
                <a:gd name="connsiteY772" fmla="*/ 159858 h 734237"/>
                <a:gd name="connsiteX773" fmla="*/ 1445226 w 1472512"/>
                <a:gd name="connsiteY773" fmla="*/ 160376 h 734237"/>
                <a:gd name="connsiteX774" fmla="*/ 1444280 w 1472512"/>
                <a:gd name="connsiteY774" fmla="*/ 158668 h 734237"/>
                <a:gd name="connsiteX775" fmla="*/ 1443679 w 1472512"/>
                <a:gd name="connsiteY775" fmla="*/ 157043 h 734237"/>
                <a:gd name="connsiteX776" fmla="*/ 1442791 w 1472512"/>
                <a:gd name="connsiteY776" fmla="*/ 156687 h 734237"/>
                <a:gd name="connsiteX777" fmla="*/ 1441613 w 1472512"/>
                <a:gd name="connsiteY777" fmla="*/ 156271 h 734237"/>
                <a:gd name="connsiteX778" fmla="*/ 1440401 w 1472512"/>
                <a:gd name="connsiteY778" fmla="*/ 156285 h 734237"/>
                <a:gd name="connsiteX779" fmla="*/ 1439594 w 1472512"/>
                <a:gd name="connsiteY779" fmla="*/ 156517 h 734237"/>
                <a:gd name="connsiteX780" fmla="*/ 1438590 w 1472512"/>
                <a:gd name="connsiteY780" fmla="*/ 157569 h 734237"/>
                <a:gd name="connsiteX781" fmla="*/ 1437136 w 1472512"/>
                <a:gd name="connsiteY781" fmla="*/ 158471 h 734237"/>
                <a:gd name="connsiteX782" fmla="*/ 1436037 w 1472512"/>
                <a:gd name="connsiteY782" fmla="*/ 157719 h 734237"/>
                <a:gd name="connsiteX783" fmla="*/ 1435177 w 1472512"/>
                <a:gd name="connsiteY783" fmla="*/ 156509 h 734237"/>
                <a:gd name="connsiteX784" fmla="*/ 1434440 w 1472512"/>
                <a:gd name="connsiteY784" fmla="*/ 158454 h 734237"/>
                <a:gd name="connsiteX785" fmla="*/ 1433369 w 1472512"/>
                <a:gd name="connsiteY785" fmla="*/ 160506 h 734237"/>
                <a:gd name="connsiteX786" fmla="*/ 1433548 w 1472512"/>
                <a:gd name="connsiteY786" fmla="*/ 162896 h 734237"/>
                <a:gd name="connsiteX787" fmla="*/ 1433086 w 1472512"/>
                <a:gd name="connsiteY787" fmla="*/ 164312 h 734237"/>
                <a:gd name="connsiteX788" fmla="*/ 1432070 w 1472512"/>
                <a:gd name="connsiteY788" fmla="*/ 163930 h 734237"/>
                <a:gd name="connsiteX789" fmla="*/ 1431059 w 1472512"/>
                <a:gd name="connsiteY789" fmla="*/ 162688 h 734237"/>
                <a:gd name="connsiteX790" fmla="*/ 1428220 w 1472512"/>
                <a:gd name="connsiteY790" fmla="*/ 161694 h 734237"/>
                <a:gd name="connsiteX791" fmla="*/ 1425958 w 1472512"/>
                <a:gd name="connsiteY791" fmla="*/ 161785 h 734237"/>
                <a:gd name="connsiteX792" fmla="*/ 1426419 w 1472512"/>
                <a:gd name="connsiteY792" fmla="*/ 160458 h 734237"/>
                <a:gd name="connsiteX793" fmla="*/ 1428557 w 1472512"/>
                <a:gd name="connsiteY793" fmla="*/ 158551 h 734237"/>
                <a:gd name="connsiteX794" fmla="*/ 1427898 w 1472512"/>
                <a:gd name="connsiteY794" fmla="*/ 158176 h 734237"/>
                <a:gd name="connsiteX795" fmla="*/ 1426849 w 1472512"/>
                <a:gd name="connsiteY795" fmla="*/ 158441 h 734237"/>
                <a:gd name="connsiteX796" fmla="*/ 1426393 w 1472512"/>
                <a:gd name="connsiteY796" fmla="*/ 158176 h 734237"/>
                <a:gd name="connsiteX797" fmla="*/ 1427142 w 1472512"/>
                <a:gd name="connsiteY797" fmla="*/ 156443 h 734237"/>
                <a:gd name="connsiteX798" fmla="*/ 1427215 w 1472512"/>
                <a:gd name="connsiteY798" fmla="*/ 154530 h 734237"/>
                <a:gd name="connsiteX799" fmla="*/ 1426257 w 1472512"/>
                <a:gd name="connsiteY799" fmla="*/ 155199 h 734237"/>
                <a:gd name="connsiteX800" fmla="*/ 1425054 w 1472512"/>
                <a:gd name="connsiteY800" fmla="*/ 157219 h 734237"/>
                <a:gd name="connsiteX801" fmla="*/ 1422143 w 1472512"/>
                <a:gd name="connsiteY801" fmla="*/ 158824 h 734237"/>
                <a:gd name="connsiteX802" fmla="*/ 1422280 w 1472512"/>
                <a:gd name="connsiteY802" fmla="*/ 161511 h 734237"/>
                <a:gd name="connsiteX803" fmla="*/ 1419539 w 1472512"/>
                <a:gd name="connsiteY803" fmla="*/ 167012 h 734237"/>
                <a:gd name="connsiteX804" fmla="*/ 1419418 w 1472512"/>
                <a:gd name="connsiteY804" fmla="*/ 169350 h 734237"/>
                <a:gd name="connsiteX805" fmla="*/ 1417660 w 1472512"/>
                <a:gd name="connsiteY805" fmla="*/ 171216 h 734237"/>
                <a:gd name="connsiteX806" fmla="*/ 1415394 w 1472512"/>
                <a:gd name="connsiteY806" fmla="*/ 172820 h 734237"/>
                <a:gd name="connsiteX807" fmla="*/ 1412372 w 1472512"/>
                <a:gd name="connsiteY807" fmla="*/ 172368 h 734237"/>
                <a:gd name="connsiteX808" fmla="*/ 1410064 w 1472512"/>
                <a:gd name="connsiteY808" fmla="*/ 173761 h 734237"/>
                <a:gd name="connsiteX809" fmla="*/ 1408894 w 1472512"/>
                <a:gd name="connsiteY809" fmla="*/ 175360 h 734237"/>
                <a:gd name="connsiteX810" fmla="*/ 1407876 w 1472512"/>
                <a:gd name="connsiteY810" fmla="*/ 175599 h 734237"/>
                <a:gd name="connsiteX811" fmla="*/ 1407346 w 1472512"/>
                <a:gd name="connsiteY811" fmla="*/ 173564 h 734237"/>
                <a:gd name="connsiteX812" fmla="*/ 1406960 w 1472512"/>
                <a:gd name="connsiteY812" fmla="*/ 172934 h 734237"/>
                <a:gd name="connsiteX813" fmla="*/ 1406111 w 1472512"/>
                <a:gd name="connsiteY813" fmla="*/ 175936 h 734237"/>
                <a:gd name="connsiteX814" fmla="*/ 1405244 w 1472512"/>
                <a:gd name="connsiteY814" fmla="*/ 176123 h 734237"/>
                <a:gd name="connsiteX815" fmla="*/ 1404916 w 1472512"/>
                <a:gd name="connsiteY815" fmla="*/ 173995 h 734237"/>
                <a:gd name="connsiteX816" fmla="*/ 1404506 w 1472512"/>
                <a:gd name="connsiteY816" fmla="*/ 172587 h 734237"/>
                <a:gd name="connsiteX817" fmla="*/ 1403326 w 1472512"/>
                <a:gd name="connsiteY817" fmla="*/ 173801 h 734237"/>
                <a:gd name="connsiteX818" fmla="*/ 1402543 w 1472512"/>
                <a:gd name="connsiteY818" fmla="*/ 177014 h 734237"/>
                <a:gd name="connsiteX819" fmla="*/ 1401722 w 1472512"/>
                <a:gd name="connsiteY819" fmla="*/ 176743 h 734237"/>
                <a:gd name="connsiteX820" fmla="*/ 1401461 w 1472512"/>
                <a:gd name="connsiteY820" fmla="*/ 175548 h 734237"/>
                <a:gd name="connsiteX821" fmla="*/ 1400872 w 1472512"/>
                <a:gd name="connsiteY821" fmla="*/ 175186 h 734237"/>
                <a:gd name="connsiteX822" fmla="*/ 1400672 w 1472512"/>
                <a:gd name="connsiteY822" fmla="*/ 176551 h 734237"/>
                <a:gd name="connsiteX823" fmla="*/ 1400967 w 1472512"/>
                <a:gd name="connsiteY823" fmla="*/ 178473 h 734237"/>
                <a:gd name="connsiteX824" fmla="*/ 1400540 w 1472512"/>
                <a:gd name="connsiteY824" fmla="*/ 179497 h 734237"/>
                <a:gd name="connsiteX825" fmla="*/ 1399724 w 1472512"/>
                <a:gd name="connsiteY825" fmla="*/ 178950 h 734237"/>
                <a:gd name="connsiteX826" fmla="*/ 1398903 w 1472512"/>
                <a:gd name="connsiteY826" fmla="*/ 178026 h 734237"/>
                <a:gd name="connsiteX827" fmla="*/ 1397550 w 1472512"/>
                <a:gd name="connsiteY827" fmla="*/ 178727 h 734237"/>
                <a:gd name="connsiteX828" fmla="*/ 1396306 w 1472512"/>
                <a:gd name="connsiteY828" fmla="*/ 179012 h 734237"/>
                <a:gd name="connsiteX829" fmla="*/ 1396301 w 1472512"/>
                <a:gd name="connsiteY829" fmla="*/ 178072 h 734237"/>
                <a:gd name="connsiteX830" fmla="*/ 1396538 w 1472512"/>
                <a:gd name="connsiteY830" fmla="*/ 176918 h 734237"/>
                <a:gd name="connsiteX831" fmla="*/ 1394060 w 1472512"/>
                <a:gd name="connsiteY831" fmla="*/ 177556 h 734237"/>
                <a:gd name="connsiteX832" fmla="*/ 1391089 w 1472512"/>
                <a:gd name="connsiteY832" fmla="*/ 179682 h 734237"/>
                <a:gd name="connsiteX833" fmla="*/ 1388783 w 1472512"/>
                <a:gd name="connsiteY833" fmla="*/ 182623 h 734237"/>
                <a:gd name="connsiteX834" fmla="*/ 1389582 w 1472512"/>
                <a:gd name="connsiteY834" fmla="*/ 183113 h 734237"/>
                <a:gd name="connsiteX835" fmla="*/ 1390483 w 1472512"/>
                <a:gd name="connsiteY835" fmla="*/ 184048 h 734237"/>
                <a:gd name="connsiteX836" fmla="*/ 1386475 w 1472512"/>
                <a:gd name="connsiteY836" fmla="*/ 188583 h 734237"/>
                <a:gd name="connsiteX837" fmla="*/ 1382368 w 1472512"/>
                <a:gd name="connsiteY837" fmla="*/ 192661 h 734237"/>
                <a:gd name="connsiteX838" fmla="*/ 1379265 w 1472512"/>
                <a:gd name="connsiteY838" fmla="*/ 199305 h 734237"/>
                <a:gd name="connsiteX839" fmla="*/ 1378019 w 1472512"/>
                <a:gd name="connsiteY839" fmla="*/ 200083 h 734237"/>
                <a:gd name="connsiteX840" fmla="*/ 1376950 w 1472512"/>
                <a:gd name="connsiteY840" fmla="*/ 201298 h 734237"/>
                <a:gd name="connsiteX841" fmla="*/ 1375813 w 1472512"/>
                <a:gd name="connsiteY841" fmla="*/ 205300 h 734237"/>
                <a:gd name="connsiteX842" fmla="*/ 1374501 w 1472512"/>
                <a:gd name="connsiteY842" fmla="*/ 208860 h 734237"/>
                <a:gd name="connsiteX843" fmla="*/ 1375236 w 1472512"/>
                <a:gd name="connsiteY843" fmla="*/ 210442 h 734237"/>
                <a:gd name="connsiteX844" fmla="*/ 1375719 w 1472512"/>
                <a:gd name="connsiteY844" fmla="*/ 212072 h 734237"/>
                <a:gd name="connsiteX845" fmla="*/ 1376884 w 1472512"/>
                <a:gd name="connsiteY845" fmla="*/ 213672 h 734237"/>
                <a:gd name="connsiteX846" fmla="*/ 1377874 w 1472512"/>
                <a:gd name="connsiteY846" fmla="*/ 213818 h 734237"/>
                <a:gd name="connsiteX847" fmla="*/ 1378946 w 1472512"/>
                <a:gd name="connsiteY847" fmla="*/ 213528 h 734237"/>
                <a:gd name="connsiteX848" fmla="*/ 1379734 w 1472512"/>
                <a:gd name="connsiteY848" fmla="*/ 213595 h 734237"/>
                <a:gd name="connsiteX849" fmla="*/ 1380239 w 1472512"/>
                <a:gd name="connsiteY849" fmla="*/ 214276 h 734237"/>
                <a:gd name="connsiteX850" fmla="*/ 1380015 w 1472512"/>
                <a:gd name="connsiteY850" fmla="*/ 215092 h 734237"/>
                <a:gd name="connsiteX851" fmla="*/ 1378778 w 1472512"/>
                <a:gd name="connsiteY851" fmla="*/ 215294 h 734237"/>
                <a:gd name="connsiteX852" fmla="*/ 1376471 w 1472512"/>
                <a:gd name="connsiteY852" fmla="*/ 216720 h 734237"/>
                <a:gd name="connsiteX853" fmla="*/ 1374449 w 1472512"/>
                <a:gd name="connsiteY853" fmla="*/ 217267 h 734237"/>
                <a:gd name="connsiteX854" fmla="*/ 1373435 w 1472512"/>
                <a:gd name="connsiteY854" fmla="*/ 218990 h 734237"/>
                <a:gd name="connsiteX855" fmla="*/ 1371915 w 1472512"/>
                <a:gd name="connsiteY855" fmla="*/ 220978 h 734237"/>
                <a:gd name="connsiteX856" fmla="*/ 1368963 w 1472512"/>
                <a:gd name="connsiteY856" fmla="*/ 224079 h 734237"/>
                <a:gd name="connsiteX857" fmla="*/ 1370223 w 1472512"/>
                <a:gd name="connsiteY857" fmla="*/ 225034 h 734237"/>
                <a:gd name="connsiteX858" fmla="*/ 1374784 w 1472512"/>
                <a:gd name="connsiteY858" fmla="*/ 226111 h 734237"/>
                <a:gd name="connsiteX859" fmla="*/ 1376817 w 1472512"/>
                <a:gd name="connsiteY859" fmla="*/ 227218 h 734237"/>
                <a:gd name="connsiteX860" fmla="*/ 1379894 w 1472512"/>
                <a:gd name="connsiteY860" fmla="*/ 232997 h 734237"/>
                <a:gd name="connsiteX861" fmla="*/ 1379191 w 1472512"/>
                <a:gd name="connsiteY861" fmla="*/ 233574 h 734237"/>
                <a:gd name="connsiteX862" fmla="*/ 1378912 w 1472512"/>
                <a:gd name="connsiteY862" fmla="*/ 234632 h 734237"/>
                <a:gd name="connsiteX863" fmla="*/ 1381647 w 1472512"/>
                <a:gd name="connsiteY863" fmla="*/ 236114 h 734237"/>
                <a:gd name="connsiteX864" fmla="*/ 1382521 w 1472512"/>
                <a:gd name="connsiteY864" fmla="*/ 240254 h 734237"/>
                <a:gd name="connsiteX865" fmla="*/ 1384767 w 1472512"/>
                <a:gd name="connsiteY865" fmla="*/ 241661 h 734237"/>
                <a:gd name="connsiteX866" fmla="*/ 1388114 w 1472512"/>
                <a:gd name="connsiteY866" fmla="*/ 242526 h 734237"/>
                <a:gd name="connsiteX867" fmla="*/ 1392207 w 1472512"/>
                <a:gd name="connsiteY867" fmla="*/ 241276 h 734237"/>
                <a:gd name="connsiteX868" fmla="*/ 1395614 w 1472512"/>
                <a:gd name="connsiteY868" fmla="*/ 239555 h 734237"/>
                <a:gd name="connsiteX869" fmla="*/ 1395495 w 1472512"/>
                <a:gd name="connsiteY869" fmla="*/ 238143 h 734237"/>
                <a:gd name="connsiteX870" fmla="*/ 1393354 w 1472512"/>
                <a:gd name="connsiteY870" fmla="*/ 234857 h 734237"/>
                <a:gd name="connsiteX871" fmla="*/ 1392838 w 1472512"/>
                <a:gd name="connsiteY871" fmla="*/ 233312 h 734237"/>
                <a:gd name="connsiteX872" fmla="*/ 1391249 w 1472512"/>
                <a:gd name="connsiteY872" fmla="*/ 232312 h 734237"/>
                <a:gd name="connsiteX873" fmla="*/ 1390644 w 1472512"/>
                <a:gd name="connsiteY873" fmla="*/ 233159 h 734237"/>
                <a:gd name="connsiteX874" fmla="*/ 1389617 w 1472512"/>
                <a:gd name="connsiteY874" fmla="*/ 232058 h 734237"/>
                <a:gd name="connsiteX875" fmla="*/ 1389502 w 1472512"/>
                <a:gd name="connsiteY875" fmla="*/ 231441 h 734237"/>
                <a:gd name="connsiteX876" fmla="*/ 1390459 w 1472512"/>
                <a:gd name="connsiteY876" fmla="*/ 231140 h 734237"/>
                <a:gd name="connsiteX877" fmla="*/ 1391572 w 1472512"/>
                <a:gd name="connsiteY877" fmla="*/ 231260 h 734237"/>
                <a:gd name="connsiteX878" fmla="*/ 1392872 w 1472512"/>
                <a:gd name="connsiteY878" fmla="*/ 231835 h 734237"/>
                <a:gd name="connsiteX879" fmla="*/ 1396215 w 1472512"/>
                <a:gd name="connsiteY879" fmla="*/ 235421 h 734237"/>
                <a:gd name="connsiteX880" fmla="*/ 1397142 w 1472512"/>
                <a:gd name="connsiteY880" fmla="*/ 240114 h 734237"/>
                <a:gd name="connsiteX881" fmla="*/ 1397339 w 1472512"/>
                <a:gd name="connsiteY881" fmla="*/ 243092 h 734237"/>
                <a:gd name="connsiteX882" fmla="*/ 1396961 w 1472512"/>
                <a:gd name="connsiteY882" fmla="*/ 244109 h 734237"/>
                <a:gd name="connsiteX883" fmla="*/ 1395989 w 1472512"/>
                <a:gd name="connsiteY883" fmla="*/ 243900 h 734237"/>
                <a:gd name="connsiteX884" fmla="*/ 1394132 w 1472512"/>
                <a:gd name="connsiteY884" fmla="*/ 244102 h 734237"/>
                <a:gd name="connsiteX885" fmla="*/ 1385327 w 1472512"/>
                <a:gd name="connsiteY885" fmla="*/ 245642 h 734237"/>
                <a:gd name="connsiteX886" fmla="*/ 1383372 w 1472512"/>
                <a:gd name="connsiteY886" fmla="*/ 246997 h 734237"/>
                <a:gd name="connsiteX887" fmla="*/ 1378888 w 1472512"/>
                <a:gd name="connsiteY887" fmla="*/ 248470 h 734237"/>
                <a:gd name="connsiteX888" fmla="*/ 1378609 w 1472512"/>
                <a:gd name="connsiteY888" fmla="*/ 247736 h 734237"/>
                <a:gd name="connsiteX889" fmla="*/ 1378933 w 1472512"/>
                <a:gd name="connsiteY889" fmla="*/ 246217 h 734237"/>
                <a:gd name="connsiteX890" fmla="*/ 1378650 w 1472512"/>
                <a:gd name="connsiteY890" fmla="*/ 243102 h 734237"/>
                <a:gd name="connsiteX891" fmla="*/ 1377765 w 1472512"/>
                <a:gd name="connsiteY891" fmla="*/ 242958 h 734237"/>
                <a:gd name="connsiteX892" fmla="*/ 1370798 w 1472512"/>
                <a:gd name="connsiteY892" fmla="*/ 248034 h 734237"/>
                <a:gd name="connsiteX893" fmla="*/ 1368106 w 1472512"/>
                <a:gd name="connsiteY893" fmla="*/ 248353 h 734237"/>
                <a:gd name="connsiteX894" fmla="*/ 1365841 w 1472512"/>
                <a:gd name="connsiteY894" fmla="*/ 249835 h 734237"/>
                <a:gd name="connsiteX895" fmla="*/ 1365335 w 1472512"/>
                <a:gd name="connsiteY895" fmla="*/ 249014 h 734237"/>
                <a:gd name="connsiteX896" fmla="*/ 1364930 w 1472512"/>
                <a:gd name="connsiteY896" fmla="*/ 245209 h 734237"/>
                <a:gd name="connsiteX897" fmla="*/ 1366346 w 1472512"/>
                <a:gd name="connsiteY897" fmla="*/ 242013 h 734237"/>
                <a:gd name="connsiteX898" fmla="*/ 1365592 w 1472512"/>
                <a:gd name="connsiteY898" fmla="*/ 242065 h 734237"/>
                <a:gd name="connsiteX899" fmla="*/ 1363225 w 1472512"/>
                <a:gd name="connsiteY899" fmla="*/ 243983 h 734237"/>
                <a:gd name="connsiteX900" fmla="*/ 1362214 w 1472512"/>
                <a:gd name="connsiteY900" fmla="*/ 242803 h 734237"/>
                <a:gd name="connsiteX901" fmla="*/ 1361707 w 1472512"/>
                <a:gd name="connsiteY901" fmla="*/ 241508 h 734237"/>
                <a:gd name="connsiteX902" fmla="*/ 1360979 w 1472512"/>
                <a:gd name="connsiteY902" fmla="*/ 240776 h 734237"/>
                <a:gd name="connsiteX903" fmla="*/ 1360188 w 1472512"/>
                <a:gd name="connsiteY903" fmla="*/ 240498 h 734237"/>
                <a:gd name="connsiteX904" fmla="*/ 1360864 w 1472512"/>
                <a:gd name="connsiteY904" fmla="*/ 243326 h 734237"/>
                <a:gd name="connsiteX905" fmla="*/ 1359259 w 1472512"/>
                <a:gd name="connsiteY905" fmla="*/ 245447 h 734237"/>
                <a:gd name="connsiteX906" fmla="*/ 1358820 w 1472512"/>
                <a:gd name="connsiteY906" fmla="*/ 250924 h 734237"/>
                <a:gd name="connsiteX907" fmla="*/ 1356804 w 1472512"/>
                <a:gd name="connsiteY907" fmla="*/ 253201 h 734237"/>
                <a:gd name="connsiteX908" fmla="*/ 1350517 w 1472512"/>
                <a:gd name="connsiteY908" fmla="*/ 254664 h 734237"/>
                <a:gd name="connsiteX909" fmla="*/ 1346418 w 1472512"/>
                <a:gd name="connsiteY909" fmla="*/ 254356 h 734237"/>
                <a:gd name="connsiteX910" fmla="*/ 1342746 w 1472512"/>
                <a:gd name="connsiteY910" fmla="*/ 254810 h 734237"/>
                <a:gd name="connsiteX911" fmla="*/ 1337864 w 1472512"/>
                <a:gd name="connsiteY911" fmla="*/ 255859 h 734237"/>
                <a:gd name="connsiteX912" fmla="*/ 1335165 w 1472512"/>
                <a:gd name="connsiteY912" fmla="*/ 255235 h 734237"/>
                <a:gd name="connsiteX913" fmla="*/ 1332402 w 1472512"/>
                <a:gd name="connsiteY913" fmla="*/ 256343 h 734237"/>
                <a:gd name="connsiteX914" fmla="*/ 1323019 w 1472512"/>
                <a:gd name="connsiteY914" fmla="*/ 256643 h 734237"/>
                <a:gd name="connsiteX915" fmla="*/ 1321042 w 1472512"/>
                <a:gd name="connsiteY915" fmla="*/ 256056 h 734237"/>
                <a:gd name="connsiteX916" fmla="*/ 1318515 w 1472512"/>
                <a:gd name="connsiteY916" fmla="*/ 258147 h 734237"/>
                <a:gd name="connsiteX917" fmla="*/ 1314471 w 1472512"/>
                <a:gd name="connsiteY917" fmla="*/ 259381 h 734237"/>
                <a:gd name="connsiteX918" fmla="*/ 1304248 w 1472512"/>
                <a:gd name="connsiteY918" fmla="*/ 264058 h 734237"/>
                <a:gd name="connsiteX919" fmla="*/ 1301994 w 1472512"/>
                <a:gd name="connsiteY919" fmla="*/ 265757 h 734237"/>
                <a:gd name="connsiteX920" fmla="*/ 1299248 w 1472512"/>
                <a:gd name="connsiteY920" fmla="*/ 268409 h 734237"/>
                <a:gd name="connsiteX921" fmla="*/ 1297404 w 1472512"/>
                <a:gd name="connsiteY921" fmla="*/ 269835 h 734237"/>
                <a:gd name="connsiteX922" fmla="*/ 1295890 w 1472512"/>
                <a:gd name="connsiteY922" fmla="*/ 270299 h 734237"/>
                <a:gd name="connsiteX923" fmla="*/ 1294957 w 1472512"/>
                <a:gd name="connsiteY923" fmla="*/ 271484 h 734237"/>
                <a:gd name="connsiteX924" fmla="*/ 1293940 w 1472512"/>
                <a:gd name="connsiteY924" fmla="*/ 272259 h 734237"/>
                <a:gd name="connsiteX925" fmla="*/ 1294923 w 1472512"/>
                <a:gd name="connsiteY925" fmla="*/ 269612 h 734237"/>
                <a:gd name="connsiteX926" fmla="*/ 1295990 w 1472512"/>
                <a:gd name="connsiteY926" fmla="*/ 267378 h 734237"/>
                <a:gd name="connsiteX927" fmla="*/ 1296877 w 1472512"/>
                <a:gd name="connsiteY927" fmla="*/ 263047 h 734237"/>
                <a:gd name="connsiteX928" fmla="*/ 1296615 w 1472512"/>
                <a:gd name="connsiteY928" fmla="*/ 259540 h 734237"/>
                <a:gd name="connsiteX929" fmla="*/ 1295516 w 1472512"/>
                <a:gd name="connsiteY929" fmla="*/ 258097 h 734237"/>
                <a:gd name="connsiteX930" fmla="*/ 1294379 w 1472512"/>
                <a:gd name="connsiteY930" fmla="*/ 257135 h 734237"/>
                <a:gd name="connsiteX931" fmla="*/ 1295711 w 1472512"/>
                <a:gd name="connsiteY931" fmla="*/ 260598 h 734237"/>
                <a:gd name="connsiteX932" fmla="*/ 1295926 w 1472512"/>
                <a:gd name="connsiteY932" fmla="*/ 264840 h 734237"/>
                <a:gd name="connsiteX933" fmla="*/ 1295468 w 1472512"/>
                <a:gd name="connsiteY933" fmla="*/ 267323 h 734237"/>
                <a:gd name="connsiteX934" fmla="*/ 1292960 w 1472512"/>
                <a:gd name="connsiteY934" fmla="*/ 272108 h 734237"/>
                <a:gd name="connsiteX935" fmla="*/ 1291894 w 1472512"/>
                <a:gd name="connsiteY935" fmla="*/ 273220 h 734237"/>
                <a:gd name="connsiteX936" fmla="*/ 1290645 w 1472512"/>
                <a:gd name="connsiteY936" fmla="*/ 274199 h 734237"/>
                <a:gd name="connsiteX937" fmla="*/ 1289705 w 1472512"/>
                <a:gd name="connsiteY937" fmla="*/ 274625 h 734237"/>
                <a:gd name="connsiteX938" fmla="*/ 1288836 w 1472512"/>
                <a:gd name="connsiteY938" fmla="*/ 275388 h 734237"/>
                <a:gd name="connsiteX939" fmla="*/ 1287827 w 1472512"/>
                <a:gd name="connsiteY939" fmla="*/ 276598 h 734237"/>
                <a:gd name="connsiteX940" fmla="*/ 1286871 w 1472512"/>
                <a:gd name="connsiteY940" fmla="*/ 278998 h 734237"/>
                <a:gd name="connsiteX941" fmla="*/ 1287451 w 1472512"/>
                <a:gd name="connsiteY941" fmla="*/ 281184 h 734237"/>
                <a:gd name="connsiteX942" fmla="*/ 1292338 w 1472512"/>
                <a:gd name="connsiteY942" fmla="*/ 281981 h 734237"/>
                <a:gd name="connsiteX943" fmla="*/ 1293650 w 1472512"/>
                <a:gd name="connsiteY943" fmla="*/ 281308 h 734237"/>
                <a:gd name="connsiteX944" fmla="*/ 1294318 w 1472512"/>
                <a:gd name="connsiteY944" fmla="*/ 282872 h 734237"/>
                <a:gd name="connsiteX945" fmla="*/ 1294692 w 1472512"/>
                <a:gd name="connsiteY945" fmla="*/ 285044 h 734237"/>
                <a:gd name="connsiteX946" fmla="*/ 1294326 w 1472512"/>
                <a:gd name="connsiteY946" fmla="*/ 287391 h 734237"/>
                <a:gd name="connsiteX947" fmla="*/ 1293508 w 1472512"/>
                <a:gd name="connsiteY947" fmla="*/ 289778 h 734237"/>
                <a:gd name="connsiteX948" fmla="*/ 1292889 w 1472512"/>
                <a:gd name="connsiteY948" fmla="*/ 292740 h 734237"/>
                <a:gd name="connsiteX949" fmla="*/ 1292363 w 1472512"/>
                <a:gd name="connsiteY949" fmla="*/ 297250 h 734237"/>
                <a:gd name="connsiteX950" fmla="*/ 1291572 w 1472512"/>
                <a:gd name="connsiteY950" fmla="*/ 301303 h 734237"/>
                <a:gd name="connsiteX951" fmla="*/ 1291469 w 1472512"/>
                <a:gd name="connsiteY951" fmla="*/ 300072 h 734237"/>
                <a:gd name="connsiteX952" fmla="*/ 1291962 w 1472512"/>
                <a:gd name="connsiteY952" fmla="*/ 295142 h 734237"/>
                <a:gd name="connsiteX953" fmla="*/ 1291162 w 1472512"/>
                <a:gd name="connsiteY953" fmla="*/ 295658 h 734237"/>
                <a:gd name="connsiteX954" fmla="*/ 1290610 w 1472512"/>
                <a:gd name="connsiteY954" fmla="*/ 296797 h 734237"/>
                <a:gd name="connsiteX955" fmla="*/ 1289118 w 1472512"/>
                <a:gd name="connsiteY955" fmla="*/ 303151 h 734237"/>
                <a:gd name="connsiteX956" fmla="*/ 1287067 w 1472512"/>
                <a:gd name="connsiteY956" fmla="*/ 306532 h 734237"/>
                <a:gd name="connsiteX957" fmla="*/ 1285176 w 1472512"/>
                <a:gd name="connsiteY957" fmla="*/ 308869 h 734237"/>
                <a:gd name="connsiteX958" fmla="*/ 1283229 w 1472512"/>
                <a:gd name="connsiteY958" fmla="*/ 308483 h 734237"/>
                <a:gd name="connsiteX959" fmla="*/ 1283666 w 1472512"/>
                <a:gd name="connsiteY959" fmla="*/ 310339 h 734237"/>
                <a:gd name="connsiteX960" fmla="*/ 1283130 w 1472512"/>
                <a:gd name="connsiteY960" fmla="*/ 311306 h 734237"/>
                <a:gd name="connsiteX961" fmla="*/ 1282672 w 1472512"/>
                <a:gd name="connsiteY961" fmla="*/ 313320 h 734237"/>
                <a:gd name="connsiteX962" fmla="*/ 1281509 w 1472512"/>
                <a:gd name="connsiteY962" fmla="*/ 314656 h 734237"/>
                <a:gd name="connsiteX963" fmla="*/ 1280418 w 1472512"/>
                <a:gd name="connsiteY963" fmla="*/ 314528 h 734237"/>
                <a:gd name="connsiteX964" fmla="*/ 1278847 w 1472512"/>
                <a:gd name="connsiteY964" fmla="*/ 315447 h 734237"/>
                <a:gd name="connsiteX965" fmla="*/ 1278229 w 1472512"/>
                <a:gd name="connsiteY965" fmla="*/ 316151 h 734237"/>
                <a:gd name="connsiteX966" fmla="*/ 1278183 w 1472512"/>
                <a:gd name="connsiteY966" fmla="*/ 317498 h 734237"/>
                <a:gd name="connsiteX967" fmla="*/ 1277133 w 1472512"/>
                <a:gd name="connsiteY967" fmla="*/ 318683 h 734237"/>
                <a:gd name="connsiteX968" fmla="*/ 1273343 w 1472512"/>
                <a:gd name="connsiteY968" fmla="*/ 324830 h 734237"/>
                <a:gd name="connsiteX969" fmla="*/ 1270054 w 1472512"/>
                <a:gd name="connsiteY969" fmla="*/ 326643 h 734237"/>
                <a:gd name="connsiteX970" fmla="*/ 1269266 w 1472512"/>
                <a:gd name="connsiteY970" fmla="*/ 326379 h 734237"/>
                <a:gd name="connsiteX971" fmla="*/ 1270134 w 1472512"/>
                <a:gd name="connsiteY971" fmla="*/ 323480 h 734237"/>
                <a:gd name="connsiteX972" fmla="*/ 1270728 w 1472512"/>
                <a:gd name="connsiteY972" fmla="*/ 320546 h 734237"/>
                <a:gd name="connsiteX973" fmla="*/ 1268731 w 1472512"/>
                <a:gd name="connsiteY973" fmla="*/ 319270 h 734237"/>
                <a:gd name="connsiteX974" fmla="*/ 1266821 w 1472512"/>
                <a:gd name="connsiteY974" fmla="*/ 318594 h 734237"/>
                <a:gd name="connsiteX975" fmla="*/ 1264629 w 1472512"/>
                <a:gd name="connsiteY975" fmla="*/ 318683 h 734237"/>
                <a:gd name="connsiteX976" fmla="*/ 1262207 w 1472512"/>
                <a:gd name="connsiteY976" fmla="*/ 316398 h 734237"/>
                <a:gd name="connsiteX977" fmla="*/ 1259085 w 1472512"/>
                <a:gd name="connsiteY977" fmla="*/ 314737 h 734237"/>
                <a:gd name="connsiteX978" fmla="*/ 1254728 w 1472512"/>
                <a:gd name="connsiteY978" fmla="*/ 310238 h 734237"/>
                <a:gd name="connsiteX979" fmla="*/ 1254855 w 1472512"/>
                <a:gd name="connsiteY979" fmla="*/ 308989 h 734237"/>
                <a:gd name="connsiteX980" fmla="*/ 1254745 w 1472512"/>
                <a:gd name="connsiteY980" fmla="*/ 306891 h 734237"/>
                <a:gd name="connsiteX981" fmla="*/ 1256070 w 1472512"/>
                <a:gd name="connsiteY981" fmla="*/ 303576 h 734237"/>
                <a:gd name="connsiteX982" fmla="*/ 1257339 w 1472512"/>
                <a:gd name="connsiteY982" fmla="*/ 301256 h 734237"/>
                <a:gd name="connsiteX983" fmla="*/ 1259091 w 1472512"/>
                <a:gd name="connsiteY983" fmla="*/ 300054 h 734237"/>
                <a:gd name="connsiteX984" fmla="*/ 1264178 w 1472512"/>
                <a:gd name="connsiteY984" fmla="*/ 298828 h 734237"/>
                <a:gd name="connsiteX985" fmla="*/ 1265453 w 1472512"/>
                <a:gd name="connsiteY985" fmla="*/ 296986 h 734237"/>
                <a:gd name="connsiteX986" fmla="*/ 1266209 w 1472512"/>
                <a:gd name="connsiteY986" fmla="*/ 295432 h 734237"/>
                <a:gd name="connsiteX987" fmla="*/ 1263689 w 1472512"/>
                <a:gd name="connsiteY987" fmla="*/ 298099 h 734237"/>
                <a:gd name="connsiteX988" fmla="*/ 1259915 w 1472512"/>
                <a:gd name="connsiteY988" fmla="*/ 299004 h 734237"/>
                <a:gd name="connsiteX989" fmla="*/ 1257881 w 1472512"/>
                <a:gd name="connsiteY989" fmla="*/ 299999 h 734237"/>
                <a:gd name="connsiteX990" fmla="*/ 1256254 w 1472512"/>
                <a:gd name="connsiteY990" fmla="*/ 301519 h 734237"/>
                <a:gd name="connsiteX991" fmla="*/ 1255291 w 1472512"/>
                <a:gd name="connsiteY991" fmla="*/ 303427 h 734237"/>
                <a:gd name="connsiteX992" fmla="*/ 1253111 w 1472512"/>
                <a:gd name="connsiteY992" fmla="*/ 305725 h 734237"/>
                <a:gd name="connsiteX993" fmla="*/ 1253264 w 1472512"/>
                <a:gd name="connsiteY993" fmla="*/ 307263 h 734237"/>
                <a:gd name="connsiteX994" fmla="*/ 1253629 w 1472512"/>
                <a:gd name="connsiteY994" fmla="*/ 308357 h 734237"/>
                <a:gd name="connsiteX995" fmla="*/ 1253461 w 1472512"/>
                <a:gd name="connsiteY995" fmla="*/ 310634 h 734237"/>
                <a:gd name="connsiteX996" fmla="*/ 1254840 w 1472512"/>
                <a:gd name="connsiteY996" fmla="*/ 312852 h 734237"/>
                <a:gd name="connsiteX997" fmla="*/ 1257574 w 1472512"/>
                <a:gd name="connsiteY997" fmla="*/ 316485 h 734237"/>
                <a:gd name="connsiteX998" fmla="*/ 1258096 w 1472512"/>
                <a:gd name="connsiteY998" fmla="*/ 322120 h 734237"/>
                <a:gd name="connsiteX999" fmla="*/ 1260183 w 1472512"/>
                <a:gd name="connsiteY999" fmla="*/ 325884 h 734237"/>
                <a:gd name="connsiteX1000" fmla="*/ 1263380 w 1472512"/>
                <a:gd name="connsiteY1000" fmla="*/ 330269 h 734237"/>
                <a:gd name="connsiteX1001" fmla="*/ 1265839 w 1472512"/>
                <a:gd name="connsiteY1001" fmla="*/ 331515 h 734237"/>
                <a:gd name="connsiteX1002" fmla="*/ 1265959 w 1472512"/>
                <a:gd name="connsiteY1002" fmla="*/ 333144 h 734237"/>
                <a:gd name="connsiteX1003" fmla="*/ 1264824 w 1472512"/>
                <a:gd name="connsiteY1003" fmla="*/ 335832 h 734237"/>
                <a:gd name="connsiteX1004" fmla="*/ 1263328 w 1472512"/>
                <a:gd name="connsiteY1004" fmla="*/ 337061 h 734237"/>
                <a:gd name="connsiteX1005" fmla="*/ 1265273 w 1472512"/>
                <a:gd name="connsiteY1005" fmla="*/ 336815 h 734237"/>
                <a:gd name="connsiteX1006" fmla="*/ 1266242 w 1472512"/>
                <a:gd name="connsiteY1006" fmla="*/ 337429 h 734237"/>
                <a:gd name="connsiteX1007" fmla="*/ 1267185 w 1472512"/>
                <a:gd name="connsiteY1007" fmla="*/ 339669 h 734237"/>
                <a:gd name="connsiteX1008" fmla="*/ 1267112 w 1472512"/>
                <a:gd name="connsiteY1008" fmla="*/ 341953 h 734237"/>
                <a:gd name="connsiteX1009" fmla="*/ 1266793 w 1472512"/>
                <a:gd name="connsiteY1009" fmla="*/ 343240 h 734237"/>
                <a:gd name="connsiteX1010" fmla="*/ 1266203 w 1472512"/>
                <a:gd name="connsiteY1010" fmla="*/ 343753 h 734237"/>
                <a:gd name="connsiteX1011" fmla="*/ 1266229 w 1472512"/>
                <a:gd name="connsiteY1011" fmla="*/ 342439 h 734237"/>
                <a:gd name="connsiteX1012" fmla="*/ 1265812 w 1472512"/>
                <a:gd name="connsiteY1012" fmla="*/ 341982 h 734237"/>
                <a:gd name="connsiteX1013" fmla="*/ 1265123 w 1472512"/>
                <a:gd name="connsiteY1013" fmla="*/ 342553 h 734237"/>
                <a:gd name="connsiteX1014" fmla="*/ 1264676 w 1472512"/>
                <a:gd name="connsiteY1014" fmla="*/ 343202 h 734237"/>
                <a:gd name="connsiteX1015" fmla="*/ 1264492 w 1472512"/>
                <a:gd name="connsiteY1015" fmla="*/ 345757 h 734237"/>
                <a:gd name="connsiteX1016" fmla="*/ 1264020 w 1472512"/>
                <a:gd name="connsiteY1016" fmla="*/ 347035 h 734237"/>
                <a:gd name="connsiteX1017" fmla="*/ 1262350 w 1472512"/>
                <a:gd name="connsiteY1017" fmla="*/ 347413 h 734237"/>
                <a:gd name="connsiteX1018" fmla="*/ 1260658 w 1472512"/>
                <a:gd name="connsiteY1018" fmla="*/ 350763 h 734237"/>
                <a:gd name="connsiteX1019" fmla="*/ 1259083 w 1472512"/>
                <a:gd name="connsiteY1019" fmla="*/ 352662 h 734237"/>
                <a:gd name="connsiteX1020" fmla="*/ 1252887 w 1472512"/>
                <a:gd name="connsiteY1020" fmla="*/ 365477 h 734237"/>
                <a:gd name="connsiteX1021" fmla="*/ 1253123 w 1472512"/>
                <a:gd name="connsiteY1021" fmla="*/ 367615 h 734237"/>
                <a:gd name="connsiteX1022" fmla="*/ 1251990 w 1472512"/>
                <a:gd name="connsiteY1022" fmla="*/ 368304 h 734237"/>
                <a:gd name="connsiteX1023" fmla="*/ 1250273 w 1472512"/>
                <a:gd name="connsiteY1023" fmla="*/ 368862 h 734237"/>
                <a:gd name="connsiteX1024" fmla="*/ 1248538 w 1472512"/>
                <a:gd name="connsiteY1024" fmla="*/ 370140 h 734237"/>
                <a:gd name="connsiteX1025" fmla="*/ 1247385 w 1472512"/>
                <a:gd name="connsiteY1025" fmla="*/ 371547 h 734237"/>
                <a:gd name="connsiteX1026" fmla="*/ 1246315 w 1472512"/>
                <a:gd name="connsiteY1026" fmla="*/ 375330 h 734237"/>
                <a:gd name="connsiteX1027" fmla="*/ 1244265 w 1472512"/>
                <a:gd name="connsiteY1027" fmla="*/ 379584 h 734237"/>
                <a:gd name="connsiteX1028" fmla="*/ 1242986 w 1472512"/>
                <a:gd name="connsiteY1028" fmla="*/ 377812 h 734237"/>
                <a:gd name="connsiteX1029" fmla="*/ 1242658 w 1472512"/>
                <a:gd name="connsiteY1029" fmla="*/ 376295 h 734237"/>
                <a:gd name="connsiteX1030" fmla="*/ 1243227 w 1472512"/>
                <a:gd name="connsiteY1030" fmla="*/ 372334 h 734237"/>
                <a:gd name="connsiteX1031" fmla="*/ 1245444 w 1472512"/>
                <a:gd name="connsiteY1031" fmla="*/ 365833 h 734237"/>
                <a:gd name="connsiteX1032" fmla="*/ 1247888 w 1472512"/>
                <a:gd name="connsiteY1032" fmla="*/ 361786 h 734237"/>
                <a:gd name="connsiteX1033" fmla="*/ 1249751 w 1472512"/>
                <a:gd name="connsiteY1033" fmla="*/ 359865 h 734237"/>
                <a:gd name="connsiteX1034" fmla="*/ 1251283 w 1472512"/>
                <a:gd name="connsiteY1034" fmla="*/ 355947 h 734237"/>
                <a:gd name="connsiteX1035" fmla="*/ 1249348 w 1472512"/>
                <a:gd name="connsiteY1035" fmla="*/ 355363 h 734237"/>
                <a:gd name="connsiteX1036" fmla="*/ 1246396 w 1472512"/>
                <a:gd name="connsiteY1036" fmla="*/ 355427 h 734237"/>
                <a:gd name="connsiteX1037" fmla="*/ 1246952 w 1472512"/>
                <a:gd name="connsiteY1037" fmla="*/ 353617 h 734237"/>
                <a:gd name="connsiteX1038" fmla="*/ 1247813 w 1472512"/>
                <a:gd name="connsiteY1038" fmla="*/ 352022 h 734237"/>
                <a:gd name="connsiteX1039" fmla="*/ 1246274 w 1472512"/>
                <a:gd name="connsiteY1039" fmla="*/ 350432 h 734237"/>
                <a:gd name="connsiteX1040" fmla="*/ 1245364 w 1472512"/>
                <a:gd name="connsiteY1040" fmla="*/ 350229 h 734237"/>
                <a:gd name="connsiteX1041" fmla="*/ 1244426 w 1472512"/>
                <a:gd name="connsiteY1041" fmla="*/ 349577 h 734237"/>
                <a:gd name="connsiteX1042" fmla="*/ 1245526 w 1472512"/>
                <a:gd name="connsiteY1042" fmla="*/ 348253 h 734237"/>
                <a:gd name="connsiteX1043" fmla="*/ 1246063 w 1472512"/>
                <a:gd name="connsiteY1043" fmla="*/ 346852 h 734237"/>
                <a:gd name="connsiteX1044" fmla="*/ 1245735 w 1472512"/>
                <a:gd name="connsiteY1044" fmla="*/ 345147 h 734237"/>
                <a:gd name="connsiteX1045" fmla="*/ 1246196 w 1472512"/>
                <a:gd name="connsiteY1045" fmla="*/ 343862 h 734237"/>
                <a:gd name="connsiteX1046" fmla="*/ 1245427 w 1472512"/>
                <a:gd name="connsiteY1046" fmla="*/ 344056 h 734237"/>
                <a:gd name="connsiteX1047" fmla="*/ 1244191 w 1472512"/>
                <a:gd name="connsiteY1047" fmla="*/ 345416 h 734237"/>
                <a:gd name="connsiteX1048" fmla="*/ 1243423 w 1472512"/>
                <a:gd name="connsiteY1048" fmla="*/ 345958 h 734237"/>
                <a:gd name="connsiteX1049" fmla="*/ 1242955 w 1472512"/>
                <a:gd name="connsiteY1049" fmla="*/ 344756 h 734237"/>
                <a:gd name="connsiteX1050" fmla="*/ 1242421 w 1472512"/>
                <a:gd name="connsiteY1050" fmla="*/ 345027 h 734237"/>
                <a:gd name="connsiteX1051" fmla="*/ 1242074 w 1472512"/>
                <a:gd name="connsiteY1051" fmla="*/ 345855 h 734237"/>
                <a:gd name="connsiteX1052" fmla="*/ 1241284 w 1472512"/>
                <a:gd name="connsiteY1052" fmla="*/ 346308 h 734237"/>
                <a:gd name="connsiteX1053" fmla="*/ 1239618 w 1472512"/>
                <a:gd name="connsiteY1053" fmla="*/ 345179 h 734237"/>
                <a:gd name="connsiteX1054" fmla="*/ 1237191 w 1472512"/>
                <a:gd name="connsiteY1054" fmla="*/ 343884 h 734237"/>
                <a:gd name="connsiteX1055" fmla="*/ 1235840 w 1472512"/>
                <a:gd name="connsiteY1055" fmla="*/ 341654 h 734237"/>
                <a:gd name="connsiteX1056" fmla="*/ 1235069 w 1472512"/>
                <a:gd name="connsiteY1056" fmla="*/ 339927 h 734237"/>
                <a:gd name="connsiteX1057" fmla="*/ 1235853 w 1472512"/>
                <a:gd name="connsiteY1057" fmla="*/ 336798 h 734237"/>
                <a:gd name="connsiteX1058" fmla="*/ 1237530 w 1472512"/>
                <a:gd name="connsiteY1058" fmla="*/ 336242 h 734237"/>
                <a:gd name="connsiteX1059" fmla="*/ 1239709 w 1472512"/>
                <a:gd name="connsiteY1059" fmla="*/ 336751 h 734237"/>
                <a:gd name="connsiteX1060" fmla="*/ 1242567 w 1472512"/>
                <a:gd name="connsiteY1060" fmla="*/ 336746 h 734237"/>
                <a:gd name="connsiteX1061" fmla="*/ 1242158 w 1472512"/>
                <a:gd name="connsiteY1061" fmla="*/ 336051 h 734237"/>
                <a:gd name="connsiteX1062" fmla="*/ 1241139 w 1472512"/>
                <a:gd name="connsiteY1062" fmla="*/ 336164 h 734237"/>
                <a:gd name="connsiteX1063" fmla="*/ 1238127 w 1472512"/>
                <a:gd name="connsiteY1063" fmla="*/ 333624 h 734237"/>
                <a:gd name="connsiteX1064" fmla="*/ 1237157 w 1472512"/>
                <a:gd name="connsiteY1064" fmla="*/ 332088 h 734237"/>
                <a:gd name="connsiteX1065" fmla="*/ 1235490 w 1472512"/>
                <a:gd name="connsiteY1065" fmla="*/ 331666 h 734237"/>
                <a:gd name="connsiteX1066" fmla="*/ 1234732 w 1472512"/>
                <a:gd name="connsiteY1066" fmla="*/ 333143 h 734237"/>
                <a:gd name="connsiteX1067" fmla="*/ 1233888 w 1472512"/>
                <a:gd name="connsiteY1067" fmla="*/ 333535 h 734237"/>
                <a:gd name="connsiteX1068" fmla="*/ 1234929 w 1472512"/>
                <a:gd name="connsiteY1068" fmla="*/ 330304 h 734237"/>
                <a:gd name="connsiteX1069" fmla="*/ 1236291 w 1472512"/>
                <a:gd name="connsiteY1069" fmla="*/ 330172 h 734237"/>
                <a:gd name="connsiteX1070" fmla="*/ 1238301 w 1472512"/>
                <a:gd name="connsiteY1070" fmla="*/ 329276 h 734237"/>
                <a:gd name="connsiteX1071" fmla="*/ 1237717 w 1472512"/>
                <a:gd name="connsiteY1071" fmla="*/ 327404 h 734237"/>
                <a:gd name="connsiteX1072" fmla="*/ 1236448 w 1472512"/>
                <a:gd name="connsiteY1072" fmla="*/ 326585 h 734237"/>
                <a:gd name="connsiteX1073" fmla="*/ 1234156 w 1472512"/>
                <a:gd name="connsiteY1073" fmla="*/ 327613 h 734237"/>
                <a:gd name="connsiteX1074" fmla="*/ 1234183 w 1472512"/>
                <a:gd name="connsiteY1074" fmla="*/ 326295 h 734237"/>
                <a:gd name="connsiteX1075" fmla="*/ 1234613 w 1472512"/>
                <a:gd name="connsiteY1075" fmla="*/ 324607 h 734237"/>
                <a:gd name="connsiteX1076" fmla="*/ 1236341 w 1472512"/>
                <a:gd name="connsiteY1076" fmla="*/ 324613 h 734237"/>
                <a:gd name="connsiteX1077" fmla="*/ 1237854 w 1472512"/>
                <a:gd name="connsiteY1077" fmla="*/ 325163 h 734237"/>
                <a:gd name="connsiteX1078" fmla="*/ 1239142 w 1472512"/>
                <a:gd name="connsiteY1078" fmla="*/ 322437 h 734237"/>
                <a:gd name="connsiteX1079" fmla="*/ 1239199 w 1472512"/>
                <a:gd name="connsiteY1079" fmla="*/ 321218 h 734237"/>
                <a:gd name="connsiteX1080" fmla="*/ 1237060 w 1472512"/>
                <a:gd name="connsiteY1080" fmla="*/ 322990 h 734237"/>
                <a:gd name="connsiteX1081" fmla="*/ 1236579 w 1472512"/>
                <a:gd name="connsiteY1081" fmla="*/ 319169 h 734237"/>
                <a:gd name="connsiteX1082" fmla="*/ 1238685 w 1472512"/>
                <a:gd name="connsiteY1082" fmla="*/ 315480 h 734237"/>
                <a:gd name="connsiteX1083" fmla="*/ 1240693 w 1472512"/>
                <a:gd name="connsiteY1083" fmla="*/ 313870 h 734237"/>
                <a:gd name="connsiteX1084" fmla="*/ 1243204 w 1472512"/>
                <a:gd name="connsiteY1084" fmla="*/ 313916 h 734237"/>
                <a:gd name="connsiteX1085" fmla="*/ 1245755 w 1472512"/>
                <a:gd name="connsiteY1085" fmla="*/ 313657 h 734237"/>
                <a:gd name="connsiteX1086" fmla="*/ 1244154 w 1472512"/>
                <a:gd name="connsiteY1086" fmla="*/ 312981 h 734237"/>
                <a:gd name="connsiteX1087" fmla="*/ 1242511 w 1472512"/>
                <a:gd name="connsiteY1087" fmla="*/ 312613 h 734237"/>
                <a:gd name="connsiteX1088" fmla="*/ 1243745 w 1472512"/>
                <a:gd name="connsiteY1088" fmla="*/ 311153 h 734237"/>
                <a:gd name="connsiteX1089" fmla="*/ 1244798 w 1472512"/>
                <a:gd name="connsiteY1089" fmla="*/ 310891 h 734237"/>
                <a:gd name="connsiteX1090" fmla="*/ 1245832 w 1472512"/>
                <a:gd name="connsiteY1090" fmla="*/ 309617 h 734237"/>
                <a:gd name="connsiteX1091" fmla="*/ 1243345 w 1472512"/>
                <a:gd name="connsiteY1091" fmla="*/ 309807 h 734237"/>
                <a:gd name="connsiteX1092" fmla="*/ 1243639 w 1472512"/>
                <a:gd name="connsiteY1092" fmla="*/ 307395 h 734237"/>
                <a:gd name="connsiteX1093" fmla="*/ 1242430 w 1472512"/>
                <a:gd name="connsiteY1093" fmla="*/ 307886 h 734237"/>
                <a:gd name="connsiteX1094" fmla="*/ 1240984 w 1472512"/>
                <a:gd name="connsiteY1094" fmla="*/ 308112 h 734237"/>
                <a:gd name="connsiteX1095" fmla="*/ 1240422 w 1472512"/>
                <a:gd name="connsiteY1095" fmla="*/ 309136 h 734237"/>
                <a:gd name="connsiteX1096" fmla="*/ 1240532 w 1472512"/>
                <a:gd name="connsiteY1096" fmla="*/ 310833 h 734237"/>
                <a:gd name="connsiteX1097" fmla="*/ 1240110 w 1472512"/>
                <a:gd name="connsiteY1097" fmla="*/ 311946 h 734237"/>
                <a:gd name="connsiteX1098" fmla="*/ 1238985 w 1472512"/>
                <a:gd name="connsiteY1098" fmla="*/ 312841 h 734237"/>
                <a:gd name="connsiteX1099" fmla="*/ 1237085 w 1472512"/>
                <a:gd name="connsiteY1099" fmla="*/ 313538 h 734237"/>
                <a:gd name="connsiteX1100" fmla="*/ 1236902 w 1472512"/>
                <a:gd name="connsiteY1100" fmla="*/ 312330 h 734237"/>
                <a:gd name="connsiteX1101" fmla="*/ 1236273 w 1472512"/>
                <a:gd name="connsiteY1101" fmla="*/ 311781 h 734237"/>
                <a:gd name="connsiteX1102" fmla="*/ 1236038 w 1472512"/>
                <a:gd name="connsiteY1102" fmla="*/ 314369 h 734237"/>
                <a:gd name="connsiteX1103" fmla="*/ 1235540 w 1472512"/>
                <a:gd name="connsiteY1103" fmla="*/ 315248 h 734237"/>
                <a:gd name="connsiteX1104" fmla="*/ 1234152 w 1472512"/>
                <a:gd name="connsiteY1104" fmla="*/ 312822 h 734237"/>
                <a:gd name="connsiteX1105" fmla="*/ 1233735 w 1472512"/>
                <a:gd name="connsiteY1105" fmla="*/ 313311 h 734237"/>
                <a:gd name="connsiteX1106" fmla="*/ 1233788 w 1472512"/>
                <a:gd name="connsiteY1106" fmla="*/ 313999 h 734237"/>
                <a:gd name="connsiteX1107" fmla="*/ 1233434 w 1472512"/>
                <a:gd name="connsiteY1107" fmla="*/ 315191 h 734237"/>
                <a:gd name="connsiteX1108" fmla="*/ 1232243 w 1472512"/>
                <a:gd name="connsiteY1108" fmla="*/ 315812 h 734237"/>
                <a:gd name="connsiteX1109" fmla="*/ 1232316 w 1472512"/>
                <a:gd name="connsiteY1109" fmla="*/ 317339 h 734237"/>
                <a:gd name="connsiteX1110" fmla="*/ 1231854 w 1472512"/>
                <a:gd name="connsiteY1110" fmla="*/ 318171 h 734237"/>
                <a:gd name="connsiteX1111" fmla="*/ 1228040 w 1472512"/>
                <a:gd name="connsiteY1111" fmla="*/ 316845 h 734237"/>
                <a:gd name="connsiteX1112" fmla="*/ 1227950 w 1472512"/>
                <a:gd name="connsiteY1112" fmla="*/ 317295 h 734237"/>
                <a:gd name="connsiteX1113" fmla="*/ 1230108 w 1472512"/>
                <a:gd name="connsiteY1113" fmla="*/ 320152 h 734237"/>
                <a:gd name="connsiteX1114" fmla="*/ 1231683 w 1472512"/>
                <a:gd name="connsiteY1114" fmla="*/ 321127 h 734237"/>
                <a:gd name="connsiteX1115" fmla="*/ 1231875 w 1472512"/>
                <a:gd name="connsiteY1115" fmla="*/ 322683 h 734237"/>
                <a:gd name="connsiteX1116" fmla="*/ 1230522 w 1472512"/>
                <a:gd name="connsiteY1116" fmla="*/ 323974 h 734237"/>
                <a:gd name="connsiteX1117" fmla="*/ 1228656 w 1472512"/>
                <a:gd name="connsiteY1117" fmla="*/ 322859 h 734237"/>
                <a:gd name="connsiteX1118" fmla="*/ 1228342 w 1472512"/>
                <a:gd name="connsiteY1118" fmla="*/ 322942 h 734237"/>
                <a:gd name="connsiteX1119" fmla="*/ 1229356 w 1472512"/>
                <a:gd name="connsiteY1119" fmla="*/ 324851 h 734237"/>
                <a:gd name="connsiteX1120" fmla="*/ 1229996 w 1472512"/>
                <a:gd name="connsiteY1120" fmla="*/ 326521 h 734237"/>
                <a:gd name="connsiteX1121" fmla="*/ 1229338 w 1472512"/>
                <a:gd name="connsiteY1121" fmla="*/ 327918 h 734237"/>
                <a:gd name="connsiteX1122" fmla="*/ 1229440 w 1472512"/>
                <a:gd name="connsiteY1122" fmla="*/ 329637 h 734237"/>
                <a:gd name="connsiteX1123" fmla="*/ 1229298 w 1472512"/>
                <a:gd name="connsiteY1123" fmla="*/ 331195 h 734237"/>
                <a:gd name="connsiteX1124" fmla="*/ 1228895 w 1472512"/>
                <a:gd name="connsiteY1124" fmla="*/ 332555 h 734237"/>
                <a:gd name="connsiteX1125" fmla="*/ 1229802 w 1472512"/>
                <a:gd name="connsiteY1125" fmla="*/ 338812 h 734237"/>
                <a:gd name="connsiteX1126" fmla="*/ 1230894 w 1472512"/>
                <a:gd name="connsiteY1126" fmla="*/ 340511 h 734237"/>
                <a:gd name="connsiteX1127" fmla="*/ 1231969 w 1472512"/>
                <a:gd name="connsiteY1127" fmla="*/ 342136 h 734237"/>
                <a:gd name="connsiteX1128" fmla="*/ 1232538 w 1472512"/>
                <a:gd name="connsiteY1128" fmla="*/ 343656 h 734237"/>
                <a:gd name="connsiteX1129" fmla="*/ 1231398 w 1472512"/>
                <a:gd name="connsiteY1129" fmla="*/ 343878 h 734237"/>
                <a:gd name="connsiteX1130" fmla="*/ 1229583 w 1472512"/>
                <a:gd name="connsiteY1130" fmla="*/ 342627 h 734237"/>
                <a:gd name="connsiteX1131" fmla="*/ 1227988 w 1472512"/>
                <a:gd name="connsiteY1131" fmla="*/ 341674 h 734237"/>
                <a:gd name="connsiteX1132" fmla="*/ 1226089 w 1472512"/>
                <a:gd name="connsiteY1132" fmla="*/ 338623 h 734237"/>
                <a:gd name="connsiteX1133" fmla="*/ 1225776 w 1472512"/>
                <a:gd name="connsiteY1133" fmla="*/ 337405 h 734237"/>
                <a:gd name="connsiteX1134" fmla="*/ 1225312 w 1472512"/>
                <a:gd name="connsiteY1134" fmla="*/ 336440 h 734237"/>
                <a:gd name="connsiteX1135" fmla="*/ 1225535 w 1472512"/>
                <a:gd name="connsiteY1135" fmla="*/ 338654 h 734237"/>
                <a:gd name="connsiteX1136" fmla="*/ 1226214 w 1472512"/>
                <a:gd name="connsiteY1136" fmla="*/ 341123 h 734237"/>
                <a:gd name="connsiteX1137" fmla="*/ 1232162 w 1472512"/>
                <a:gd name="connsiteY1137" fmla="*/ 346643 h 734237"/>
                <a:gd name="connsiteX1138" fmla="*/ 1233262 w 1472512"/>
                <a:gd name="connsiteY1138" fmla="*/ 348759 h 734237"/>
                <a:gd name="connsiteX1139" fmla="*/ 1234098 w 1472512"/>
                <a:gd name="connsiteY1139" fmla="*/ 350420 h 734237"/>
                <a:gd name="connsiteX1140" fmla="*/ 1233888 w 1472512"/>
                <a:gd name="connsiteY1140" fmla="*/ 352012 h 734237"/>
                <a:gd name="connsiteX1141" fmla="*/ 1232336 w 1472512"/>
                <a:gd name="connsiteY1141" fmla="*/ 350885 h 734237"/>
                <a:gd name="connsiteX1142" fmla="*/ 1230999 w 1472512"/>
                <a:gd name="connsiteY1142" fmla="*/ 349450 h 734237"/>
                <a:gd name="connsiteX1143" fmla="*/ 1227449 w 1472512"/>
                <a:gd name="connsiteY1143" fmla="*/ 347827 h 734237"/>
                <a:gd name="connsiteX1144" fmla="*/ 1222970 w 1472512"/>
                <a:gd name="connsiteY1144" fmla="*/ 346801 h 734237"/>
                <a:gd name="connsiteX1145" fmla="*/ 1220445 w 1472512"/>
                <a:gd name="connsiteY1145" fmla="*/ 343025 h 734237"/>
                <a:gd name="connsiteX1146" fmla="*/ 1220454 w 1472512"/>
                <a:gd name="connsiteY1146" fmla="*/ 344600 h 734237"/>
                <a:gd name="connsiteX1147" fmla="*/ 1219893 w 1472512"/>
                <a:gd name="connsiteY1147" fmla="*/ 345937 h 734237"/>
                <a:gd name="connsiteX1148" fmla="*/ 1218351 w 1472512"/>
                <a:gd name="connsiteY1148" fmla="*/ 344308 h 734237"/>
                <a:gd name="connsiteX1149" fmla="*/ 1217377 w 1472512"/>
                <a:gd name="connsiteY1149" fmla="*/ 342917 h 734237"/>
                <a:gd name="connsiteX1150" fmla="*/ 1217051 w 1472512"/>
                <a:gd name="connsiteY1150" fmla="*/ 341393 h 734237"/>
                <a:gd name="connsiteX1151" fmla="*/ 1215123 w 1472512"/>
                <a:gd name="connsiteY1151" fmla="*/ 341496 h 734237"/>
                <a:gd name="connsiteX1152" fmla="*/ 1213103 w 1472512"/>
                <a:gd name="connsiteY1152" fmla="*/ 342822 h 734237"/>
                <a:gd name="connsiteX1153" fmla="*/ 1211149 w 1472512"/>
                <a:gd name="connsiteY1153" fmla="*/ 342508 h 734237"/>
                <a:gd name="connsiteX1154" fmla="*/ 1210917 w 1472512"/>
                <a:gd name="connsiteY1154" fmla="*/ 339921 h 734237"/>
                <a:gd name="connsiteX1155" fmla="*/ 1211446 w 1472512"/>
                <a:gd name="connsiteY1155" fmla="*/ 338551 h 734237"/>
                <a:gd name="connsiteX1156" fmla="*/ 1213638 w 1472512"/>
                <a:gd name="connsiteY1156" fmla="*/ 335307 h 734237"/>
                <a:gd name="connsiteX1157" fmla="*/ 1215705 w 1472512"/>
                <a:gd name="connsiteY1157" fmla="*/ 333651 h 734237"/>
                <a:gd name="connsiteX1158" fmla="*/ 1216617 w 1472512"/>
                <a:gd name="connsiteY1158" fmla="*/ 331509 h 734237"/>
                <a:gd name="connsiteX1159" fmla="*/ 1216307 w 1472512"/>
                <a:gd name="connsiteY1159" fmla="*/ 328188 h 734237"/>
                <a:gd name="connsiteX1160" fmla="*/ 1215917 w 1472512"/>
                <a:gd name="connsiteY1160" fmla="*/ 331569 h 734237"/>
                <a:gd name="connsiteX1161" fmla="*/ 1214736 w 1472512"/>
                <a:gd name="connsiteY1161" fmla="*/ 333241 h 734237"/>
                <a:gd name="connsiteX1162" fmla="*/ 1212881 w 1472512"/>
                <a:gd name="connsiteY1162" fmla="*/ 334519 h 734237"/>
                <a:gd name="connsiteX1163" fmla="*/ 1210438 w 1472512"/>
                <a:gd name="connsiteY1163" fmla="*/ 336797 h 734237"/>
                <a:gd name="connsiteX1164" fmla="*/ 1209841 w 1472512"/>
                <a:gd name="connsiteY1164" fmla="*/ 338901 h 734237"/>
                <a:gd name="connsiteX1165" fmla="*/ 1209078 w 1472512"/>
                <a:gd name="connsiteY1165" fmla="*/ 342836 h 734237"/>
                <a:gd name="connsiteX1166" fmla="*/ 1210111 w 1472512"/>
                <a:gd name="connsiteY1166" fmla="*/ 344168 h 734237"/>
                <a:gd name="connsiteX1167" fmla="*/ 1211165 w 1472512"/>
                <a:gd name="connsiteY1167" fmla="*/ 344515 h 734237"/>
                <a:gd name="connsiteX1168" fmla="*/ 1214277 w 1472512"/>
                <a:gd name="connsiteY1168" fmla="*/ 343623 h 734237"/>
                <a:gd name="connsiteX1169" fmla="*/ 1215887 w 1472512"/>
                <a:gd name="connsiteY1169" fmla="*/ 344021 h 734237"/>
                <a:gd name="connsiteX1170" fmla="*/ 1219470 w 1472512"/>
                <a:gd name="connsiteY1170" fmla="*/ 348753 h 734237"/>
                <a:gd name="connsiteX1171" fmla="*/ 1226140 w 1472512"/>
                <a:gd name="connsiteY1171" fmla="*/ 350623 h 734237"/>
                <a:gd name="connsiteX1172" fmla="*/ 1228573 w 1472512"/>
                <a:gd name="connsiteY1172" fmla="*/ 351791 h 734237"/>
                <a:gd name="connsiteX1173" fmla="*/ 1230556 w 1472512"/>
                <a:gd name="connsiteY1173" fmla="*/ 354255 h 734237"/>
                <a:gd name="connsiteX1174" fmla="*/ 1233536 w 1472512"/>
                <a:gd name="connsiteY1174" fmla="*/ 355674 h 734237"/>
                <a:gd name="connsiteX1175" fmla="*/ 1235849 w 1472512"/>
                <a:gd name="connsiteY1175" fmla="*/ 357733 h 734237"/>
                <a:gd name="connsiteX1176" fmla="*/ 1235912 w 1472512"/>
                <a:gd name="connsiteY1176" fmla="*/ 359076 h 734237"/>
                <a:gd name="connsiteX1177" fmla="*/ 1235111 w 1472512"/>
                <a:gd name="connsiteY1177" fmla="*/ 360664 h 734237"/>
                <a:gd name="connsiteX1178" fmla="*/ 1234795 w 1472512"/>
                <a:gd name="connsiteY1178" fmla="*/ 362812 h 734237"/>
                <a:gd name="connsiteX1179" fmla="*/ 1233812 w 1472512"/>
                <a:gd name="connsiteY1179" fmla="*/ 364165 h 734237"/>
                <a:gd name="connsiteX1180" fmla="*/ 1231453 w 1472512"/>
                <a:gd name="connsiteY1180" fmla="*/ 364321 h 734237"/>
                <a:gd name="connsiteX1181" fmla="*/ 1230028 w 1472512"/>
                <a:gd name="connsiteY1181" fmla="*/ 363973 h 734237"/>
                <a:gd name="connsiteX1182" fmla="*/ 1222368 w 1472512"/>
                <a:gd name="connsiteY1182" fmla="*/ 356419 h 734237"/>
                <a:gd name="connsiteX1183" fmla="*/ 1221453 w 1472512"/>
                <a:gd name="connsiteY1183" fmla="*/ 355724 h 734237"/>
                <a:gd name="connsiteX1184" fmla="*/ 1218612 w 1472512"/>
                <a:gd name="connsiteY1184" fmla="*/ 351762 h 734237"/>
                <a:gd name="connsiteX1185" fmla="*/ 1215278 w 1472512"/>
                <a:gd name="connsiteY1185" fmla="*/ 349638 h 734237"/>
                <a:gd name="connsiteX1186" fmla="*/ 1214247 w 1472512"/>
                <a:gd name="connsiteY1186" fmla="*/ 349683 h 734237"/>
                <a:gd name="connsiteX1187" fmla="*/ 1218992 w 1472512"/>
                <a:gd name="connsiteY1187" fmla="*/ 353610 h 734237"/>
                <a:gd name="connsiteX1188" fmla="*/ 1220929 w 1472512"/>
                <a:gd name="connsiteY1188" fmla="*/ 356354 h 734237"/>
                <a:gd name="connsiteX1189" fmla="*/ 1224340 w 1472512"/>
                <a:gd name="connsiteY1189" fmla="*/ 360197 h 734237"/>
                <a:gd name="connsiteX1190" fmla="*/ 1226780 w 1472512"/>
                <a:gd name="connsiteY1190" fmla="*/ 361823 h 734237"/>
                <a:gd name="connsiteX1191" fmla="*/ 1228574 w 1472512"/>
                <a:gd name="connsiteY1191" fmla="*/ 364359 h 734237"/>
                <a:gd name="connsiteX1192" fmla="*/ 1230242 w 1472512"/>
                <a:gd name="connsiteY1192" fmla="*/ 365547 h 734237"/>
                <a:gd name="connsiteX1193" fmla="*/ 1234796 w 1472512"/>
                <a:gd name="connsiteY1193" fmla="*/ 367237 h 734237"/>
                <a:gd name="connsiteX1194" fmla="*/ 1233213 w 1472512"/>
                <a:gd name="connsiteY1194" fmla="*/ 368452 h 734237"/>
                <a:gd name="connsiteX1195" fmla="*/ 1235740 w 1472512"/>
                <a:gd name="connsiteY1195" fmla="*/ 369487 h 734237"/>
                <a:gd name="connsiteX1196" fmla="*/ 1236101 w 1472512"/>
                <a:gd name="connsiteY1196" fmla="*/ 371387 h 734237"/>
                <a:gd name="connsiteX1197" fmla="*/ 1235870 w 1472512"/>
                <a:gd name="connsiteY1197" fmla="*/ 373552 h 734237"/>
                <a:gd name="connsiteX1198" fmla="*/ 1232362 w 1472512"/>
                <a:gd name="connsiteY1198" fmla="*/ 372696 h 734237"/>
                <a:gd name="connsiteX1199" fmla="*/ 1232248 w 1472512"/>
                <a:gd name="connsiteY1199" fmla="*/ 374292 h 734237"/>
                <a:gd name="connsiteX1200" fmla="*/ 1232561 w 1472512"/>
                <a:gd name="connsiteY1200" fmla="*/ 375233 h 734237"/>
                <a:gd name="connsiteX1201" fmla="*/ 1231012 w 1472512"/>
                <a:gd name="connsiteY1201" fmla="*/ 376008 h 734237"/>
                <a:gd name="connsiteX1202" fmla="*/ 1228857 w 1472512"/>
                <a:gd name="connsiteY1202" fmla="*/ 374955 h 734237"/>
                <a:gd name="connsiteX1203" fmla="*/ 1223261 w 1472512"/>
                <a:gd name="connsiteY1203" fmla="*/ 369185 h 734237"/>
                <a:gd name="connsiteX1204" fmla="*/ 1223309 w 1472512"/>
                <a:gd name="connsiteY1204" fmla="*/ 369957 h 734237"/>
                <a:gd name="connsiteX1205" fmla="*/ 1223762 w 1472512"/>
                <a:gd name="connsiteY1205" fmla="*/ 370853 h 734237"/>
                <a:gd name="connsiteX1206" fmla="*/ 1227008 w 1472512"/>
                <a:gd name="connsiteY1206" fmla="*/ 374567 h 734237"/>
                <a:gd name="connsiteX1207" fmla="*/ 1229903 w 1472512"/>
                <a:gd name="connsiteY1207" fmla="*/ 376793 h 734237"/>
                <a:gd name="connsiteX1208" fmla="*/ 1232358 w 1472512"/>
                <a:gd name="connsiteY1208" fmla="*/ 377798 h 734237"/>
                <a:gd name="connsiteX1209" fmla="*/ 1234251 w 1472512"/>
                <a:gd name="connsiteY1209" fmla="*/ 379661 h 734237"/>
                <a:gd name="connsiteX1210" fmla="*/ 1234919 w 1472512"/>
                <a:gd name="connsiteY1210" fmla="*/ 380788 h 734237"/>
                <a:gd name="connsiteX1211" fmla="*/ 1235363 w 1472512"/>
                <a:gd name="connsiteY1211" fmla="*/ 382497 h 734237"/>
                <a:gd name="connsiteX1212" fmla="*/ 1233962 w 1472512"/>
                <a:gd name="connsiteY1212" fmla="*/ 383657 h 734237"/>
                <a:gd name="connsiteX1213" fmla="*/ 1232364 w 1472512"/>
                <a:gd name="connsiteY1213" fmla="*/ 384298 h 734237"/>
                <a:gd name="connsiteX1214" fmla="*/ 1230804 w 1472512"/>
                <a:gd name="connsiteY1214" fmla="*/ 383140 h 734237"/>
                <a:gd name="connsiteX1215" fmla="*/ 1229661 w 1472512"/>
                <a:gd name="connsiteY1215" fmla="*/ 381920 h 734237"/>
                <a:gd name="connsiteX1216" fmla="*/ 1227226 w 1472512"/>
                <a:gd name="connsiteY1216" fmla="*/ 379849 h 734237"/>
                <a:gd name="connsiteX1217" fmla="*/ 1226497 w 1472512"/>
                <a:gd name="connsiteY1217" fmla="*/ 377531 h 734237"/>
                <a:gd name="connsiteX1218" fmla="*/ 1224644 w 1472512"/>
                <a:gd name="connsiteY1218" fmla="*/ 377651 h 734237"/>
                <a:gd name="connsiteX1219" fmla="*/ 1216902 w 1472512"/>
                <a:gd name="connsiteY1219" fmla="*/ 374710 h 734237"/>
                <a:gd name="connsiteX1220" fmla="*/ 1210681 w 1472512"/>
                <a:gd name="connsiteY1220" fmla="*/ 374371 h 734237"/>
                <a:gd name="connsiteX1221" fmla="*/ 1211289 w 1472512"/>
                <a:gd name="connsiteY1221" fmla="*/ 374964 h 734237"/>
                <a:gd name="connsiteX1222" fmla="*/ 1212076 w 1472512"/>
                <a:gd name="connsiteY1222" fmla="*/ 375357 h 734237"/>
                <a:gd name="connsiteX1223" fmla="*/ 1217031 w 1472512"/>
                <a:gd name="connsiteY1223" fmla="*/ 376083 h 734237"/>
                <a:gd name="connsiteX1224" fmla="*/ 1218989 w 1472512"/>
                <a:gd name="connsiteY1224" fmla="*/ 377436 h 734237"/>
                <a:gd name="connsiteX1225" fmla="*/ 1223064 w 1472512"/>
                <a:gd name="connsiteY1225" fmla="*/ 378637 h 734237"/>
                <a:gd name="connsiteX1226" fmla="*/ 1225452 w 1472512"/>
                <a:gd name="connsiteY1226" fmla="*/ 378965 h 734237"/>
                <a:gd name="connsiteX1227" fmla="*/ 1226419 w 1472512"/>
                <a:gd name="connsiteY1227" fmla="*/ 382651 h 734237"/>
                <a:gd name="connsiteX1228" fmla="*/ 1229717 w 1472512"/>
                <a:gd name="connsiteY1228" fmla="*/ 385187 h 734237"/>
                <a:gd name="connsiteX1229" fmla="*/ 1230146 w 1472512"/>
                <a:gd name="connsiteY1229" fmla="*/ 387063 h 734237"/>
                <a:gd name="connsiteX1230" fmla="*/ 1232398 w 1472512"/>
                <a:gd name="connsiteY1230" fmla="*/ 387274 h 734237"/>
                <a:gd name="connsiteX1231" fmla="*/ 1236360 w 1472512"/>
                <a:gd name="connsiteY1231" fmla="*/ 385432 h 734237"/>
                <a:gd name="connsiteX1232" fmla="*/ 1238918 w 1472512"/>
                <a:gd name="connsiteY1232" fmla="*/ 386078 h 734237"/>
                <a:gd name="connsiteX1233" fmla="*/ 1242605 w 1472512"/>
                <a:gd name="connsiteY1233" fmla="*/ 386605 h 734237"/>
                <a:gd name="connsiteX1234" fmla="*/ 1243450 w 1472512"/>
                <a:gd name="connsiteY1234" fmla="*/ 388091 h 734237"/>
                <a:gd name="connsiteX1235" fmla="*/ 1244082 w 1472512"/>
                <a:gd name="connsiteY1235" fmla="*/ 390916 h 734237"/>
                <a:gd name="connsiteX1236" fmla="*/ 1245386 w 1472512"/>
                <a:gd name="connsiteY1236" fmla="*/ 394091 h 734237"/>
                <a:gd name="connsiteX1237" fmla="*/ 1248768 w 1472512"/>
                <a:gd name="connsiteY1237" fmla="*/ 406587 h 734237"/>
                <a:gd name="connsiteX1238" fmla="*/ 1253849 w 1472512"/>
                <a:gd name="connsiteY1238" fmla="*/ 416778 h 734237"/>
                <a:gd name="connsiteX1239" fmla="*/ 1254474 w 1472512"/>
                <a:gd name="connsiteY1239" fmla="*/ 418529 h 734237"/>
                <a:gd name="connsiteX1240" fmla="*/ 1253292 w 1472512"/>
                <a:gd name="connsiteY1240" fmla="*/ 416993 h 734237"/>
                <a:gd name="connsiteX1241" fmla="*/ 1249524 w 1472512"/>
                <a:gd name="connsiteY1241" fmla="*/ 410247 h 734237"/>
                <a:gd name="connsiteX1242" fmla="*/ 1247444 w 1472512"/>
                <a:gd name="connsiteY1242" fmla="*/ 405368 h 734237"/>
                <a:gd name="connsiteX1243" fmla="*/ 1245306 w 1472512"/>
                <a:gd name="connsiteY1243" fmla="*/ 396739 h 734237"/>
                <a:gd name="connsiteX1244" fmla="*/ 1244686 w 1472512"/>
                <a:gd name="connsiteY1244" fmla="*/ 394804 h 734237"/>
                <a:gd name="connsiteX1245" fmla="*/ 1243956 w 1472512"/>
                <a:gd name="connsiteY1245" fmla="*/ 394031 h 734237"/>
                <a:gd name="connsiteX1246" fmla="*/ 1243475 w 1472512"/>
                <a:gd name="connsiteY1246" fmla="*/ 394660 h 734237"/>
                <a:gd name="connsiteX1247" fmla="*/ 1243269 w 1472512"/>
                <a:gd name="connsiteY1247" fmla="*/ 395762 h 734237"/>
                <a:gd name="connsiteX1248" fmla="*/ 1243617 w 1472512"/>
                <a:gd name="connsiteY1248" fmla="*/ 396606 h 734237"/>
                <a:gd name="connsiteX1249" fmla="*/ 1242775 w 1472512"/>
                <a:gd name="connsiteY1249" fmla="*/ 399450 h 734237"/>
                <a:gd name="connsiteX1250" fmla="*/ 1243140 w 1472512"/>
                <a:gd name="connsiteY1250" fmla="*/ 400753 h 734237"/>
                <a:gd name="connsiteX1251" fmla="*/ 1244507 w 1472512"/>
                <a:gd name="connsiteY1251" fmla="*/ 402101 h 734237"/>
                <a:gd name="connsiteX1252" fmla="*/ 1245993 w 1472512"/>
                <a:gd name="connsiteY1252" fmla="*/ 405461 h 734237"/>
                <a:gd name="connsiteX1253" fmla="*/ 1247180 w 1472512"/>
                <a:gd name="connsiteY1253" fmla="*/ 409981 h 734237"/>
                <a:gd name="connsiteX1254" fmla="*/ 1245575 w 1472512"/>
                <a:gd name="connsiteY1254" fmla="*/ 408150 h 734237"/>
                <a:gd name="connsiteX1255" fmla="*/ 1243861 w 1472512"/>
                <a:gd name="connsiteY1255" fmla="*/ 407178 h 734237"/>
                <a:gd name="connsiteX1256" fmla="*/ 1241194 w 1472512"/>
                <a:gd name="connsiteY1256" fmla="*/ 406433 h 734237"/>
                <a:gd name="connsiteX1257" fmla="*/ 1238819 w 1472512"/>
                <a:gd name="connsiteY1257" fmla="*/ 405129 h 734237"/>
                <a:gd name="connsiteX1258" fmla="*/ 1238992 w 1472512"/>
                <a:gd name="connsiteY1258" fmla="*/ 407001 h 734237"/>
                <a:gd name="connsiteX1259" fmla="*/ 1238765 w 1472512"/>
                <a:gd name="connsiteY1259" fmla="*/ 409022 h 734237"/>
                <a:gd name="connsiteX1260" fmla="*/ 1236934 w 1472512"/>
                <a:gd name="connsiteY1260" fmla="*/ 408406 h 734237"/>
                <a:gd name="connsiteX1261" fmla="*/ 1235688 w 1472512"/>
                <a:gd name="connsiteY1261" fmla="*/ 407735 h 734237"/>
                <a:gd name="connsiteX1262" fmla="*/ 1236790 w 1472512"/>
                <a:gd name="connsiteY1262" fmla="*/ 409888 h 734237"/>
                <a:gd name="connsiteX1263" fmla="*/ 1234396 w 1472512"/>
                <a:gd name="connsiteY1263" fmla="*/ 409242 h 734237"/>
                <a:gd name="connsiteX1264" fmla="*/ 1232803 w 1472512"/>
                <a:gd name="connsiteY1264" fmla="*/ 409377 h 734237"/>
                <a:gd name="connsiteX1265" fmla="*/ 1231767 w 1472512"/>
                <a:gd name="connsiteY1265" fmla="*/ 411288 h 734237"/>
                <a:gd name="connsiteX1266" fmla="*/ 1230376 w 1472512"/>
                <a:gd name="connsiteY1266" fmla="*/ 412448 h 734237"/>
                <a:gd name="connsiteX1267" fmla="*/ 1228322 w 1472512"/>
                <a:gd name="connsiteY1267" fmla="*/ 412821 h 734237"/>
                <a:gd name="connsiteX1268" fmla="*/ 1225272 w 1472512"/>
                <a:gd name="connsiteY1268" fmla="*/ 411074 h 734237"/>
                <a:gd name="connsiteX1269" fmla="*/ 1224284 w 1472512"/>
                <a:gd name="connsiteY1269" fmla="*/ 408954 h 734237"/>
                <a:gd name="connsiteX1270" fmla="*/ 1223875 w 1472512"/>
                <a:gd name="connsiteY1270" fmla="*/ 406590 h 734237"/>
                <a:gd name="connsiteX1271" fmla="*/ 1223713 w 1472512"/>
                <a:gd name="connsiteY1271" fmla="*/ 409384 h 734237"/>
                <a:gd name="connsiteX1272" fmla="*/ 1224255 w 1472512"/>
                <a:gd name="connsiteY1272" fmla="*/ 412292 h 734237"/>
                <a:gd name="connsiteX1273" fmla="*/ 1224064 w 1472512"/>
                <a:gd name="connsiteY1273" fmla="*/ 414501 h 734237"/>
                <a:gd name="connsiteX1274" fmla="*/ 1227001 w 1472512"/>
                <a:gd name="connsiteY1274" fmla="*/ 414906 h 734237"/>
                <a:gd name="connsiteX1275" fmla="*/ 1229746 w 1472512"/>
                <a:gd name="connsiteY1275" fmla="*/ 414547 h 734237"/>
                <a:gd name="connsiteX1276" fmla="*/ 1233451 w 1472512"/>
                <a:gd name="connsiteY1276" fmla="*/ 414638 h 734237"/>
                <a:gd name="connsiteX1277" fmla="*/ 1235867 w 1472512"/>
                <a:gd name="connsiteY1277" fmla="*/ 414225 h 734237"/>
                <a:gd name="connsiteX1278" fmla="*/ 1237322 w 1472512"/>
                <a:gd name="connsiteY1278" fmla="*/ 413522 h 734237"/>
                <a:gd name="connsiteX1279" fmla="*/ 1240811 w 1472512"/>
                <a:gd name="connsiteY1279" fmla="*/ 414131 h 734237"/>
                <a:gd name="connsiteX1280" fmla="*/ 1241060 w 1472512"/>
                <a:gd name="connsiteY1280" fmla="*/ 416798 h 734237"/>
                <a:gd name="connsiteX1281" fmla="*/ 1240660 w 1472512"/>
                <a:gd name="connsiteY1281" fmla="*/ 419447 h 734237"/>
                <a:gd name="connsiteX1282" fmla="*/ 1240458 w 1472512"/>
                <a:gd name="connsiteY1282" fmla="*/ 422265 h 734237"/>
                <a:gd name="connsiteX1283" fmla="*/ 1241425 w 1472512"/>
                <a:gd name="connsiteY1283" fmla="*/ 422247 h 734237"/>
                <a:gd name="connsiteX1284" fmla="*/ 1242562 w 1472512"/>
                <a:gd name="connsiteY1284" fmla="*/ 421346 h 734237"/>
                <a:gd name="connsiteX1285" fmla="*/ 1243129 w 1472512"/>
                <a:gd name="connsiteY1285" fmla="*/ 416295 h 734237"/>
                <a:gd name="connsiteX1286" fmla="*/ 1246317 w 1472512"/>
                <a:gd name="connsiteY1286" fmla="*/ 414427 h 734237"/>
                <a:gd name="connsiteX1287" fmla="*/ 1247386 w 1472512"/>
                <a:gd name="connsiteY1287" fmla="*/ 414555 h 734237"/>
                <a:gd name="connsiteX1288" fmla="*/ 1248401 w 1472512"/>
                <a:gd name="connsiteY1288" fmla="*/ 416179 h 734237"/>
                <a:gd name="connsiteX1289" fmla="*/ 1248743 w 1472512"/>
                <a:gd name="connsiteY1289" fmla="*/ 417827 h 734237"/>
                <a:gd name="connsiteX1290" fmla="*/ 1249103 w 1472512"/>
                <a:gd name="connsiteY1290" fmla="*/ 420088 h 734237"/>
                <a:gd name="connsiteX1291" fmla="*/ 1248359 w 1472512"/>
                <a:gd name="connsiteY1291" fmla="*/ 423530 h 734237"/>
                <a:gd name="connsiteX1292" fmla="*/ 1243459 w 1472512"/>
                <a:gd name="connsiteY1292" fmla="*/ 427551 h 734237"/>
                <a:gd name="connsiteX1293" fmla="*/ 1239950 w 1472512"/>
                <a:gd name="connsiteY1293" fmla="*/ 431266 h 734237"/>
                <a:gd name="connsiteX1294" fmla="*/ 1238157 w 1472512"/>
                <a:gd name="connsiteY1294" fmla="*/ 432022 h 734237"/>
                <a:gd name="connsiteX1295" fmla="*/ 1235569 w 1472512"/>
                <a:gd name="connsiteY1295" fmla="*/ 431590 h 734237"/>
                <a:gd name="connsiteX1296" fmla="*/ 1232636 w 1472512"/>
                <a:gd name="connsiteY1296" fmla="*/ 430656 h 734237"/>
                <a:gd name="connsiteX1297" fmla="*/ 1231197 w 1472512"/>
                <a:gd name="connsiteY1297" fmla="*/ 430468 h 734237"/>
                <a:gd name="connsiteX1298" fmla="*/ 1230104 w 1472512"/>
                <a:gd name="connsiteY1298" fmla="*/ 430780 h 734237"/>
                <a:gd name="connsiteX1299" fmla="*/ 1229438 w 1472512"/>
                <a:gd name="connsiteY1299" fmla="*/ 429637 h 734237"/>
                <a:gd name="connsiteX1300" fmla="*/ 1229008 w 1472512"/>
                <a:gd name="connsiteY1300" fmla="*/ 427550 h 734237"/>
                <a:gd name="connsiteX1301" fmla="*/ 1227867 w 1472512"/>
                <a:gd name="connsiteY1301" fmla="*/ 426857 h 734237"/>
                <a:gd name="connsiteX1302" fmla="*/ 1227003 w 1472512"/>
                <a:gd name="connsiteY1302" fmla="*/ 426934 h 734237"/>
                <a:gd name="connsiteX1303" fmla="*/ 1226413 w 1472512"/>
                <a:gd name="connsiteY1303" fmla="*/ 429151 h 734237"/>
                <a:gd name="connsiteX1304" fmla="*/ 1223678 w 1472512"/>
                <a:gd name="connsiteY1304" fmla="*/ 429781 h 734237"/>
                <a:gd name="connsiteX1305" fmla="*/ 1219958 w 1472512"/>
                <a:gd name="connsiteY1305" fmla="*/ 428866 h 734237"/>
                <a:gd name="connsiteX1306" fmla="*/ 1216060 w 1472512"/>
                <a:gd name="connsiteY1306" fmla="*/ 427000 h 734237"/>
                <a:gd name="connsiteX1307" fmla="*/ 1217732 w 1472512"/>
                <a:gd name="connsiteY1307" fmla="*/ 429001 h 734237"/>
                <a:gd name="connsiteX1308" fmla="*/ 1227401 w 1472512"/>
                <a:gd name="connsiteY1308" fmla="*/ 432731 h 734237"/>
                <a:gd name="connsiteX1309" fmla="*/ 1228489 w 1472512"/>
                <a:gd name="connsiteY1309" fmla="*/ 433428 h 734237"/>
                <a:gd name="connsiteX1310" fmla="*/ 1229505 w 1472512"/>
                <a:gd name="connsiteY1310" fmla="*/ 434447 h 734237"/>
                <a:gd name="connsiteX1311" fmla="*/ 1228153 w 1472512"/>
                <a:gd name="connsiteY1311" fmla="*/ 436046 h 734237"/>
                <a:gd name="connsiteX1312" fmla="*/ 1227093 w 1472512"/>
                <a:gd name="connsiteY1312" fmla="*/ 437846 h 734237"/>
                <a:gd name="connsiteX1313" fmla="*/ 1226945 w 1472512"/>
                <a:gd name="connsiteY1313" fmla="*/ 439257 h 734237"/>
                <a:gd name="connsiteX1314" fmla="*/ 1226570 w 1472512"/>
                <a:gd name="connsiteY1314" fmla="*/ 440147 h 734237"/>
                <a:gd name="connsiteX1315" fmla="*/ 1222715 w 1472512"/>
                <a:gd name="connsiteY1315" fmla="*/ 442548 h 734237"/>
                <a:gd name="connsiteX1316" fmla="*/ 1220626 w 1472512"/>
                <a:gd name="connsiteY1316" fmla="*/ 442124 h 734237"/>
                <a:gd name="connsiteX1317" fmla="*/ 1215288 w 1472512"/>
                <a:gd name="connsiteY1317" fmla="*/ 437796 h 734237"/>
                <a:gd name="connsiteX1318" fmla="*/ 1217719 w 1472512"/>
                <a:gd name="connsiteY1318" fmla="*/ 441539 h 734237"/>
                <a:gd name="connsiteX1319" fmla="*/ 1219667 w 1472512"/>
                <a:gd name="connsiteY1319" fmla="*/ 443126 h 734237"/>
                <a:gd name="connsiteX1320" fmla="*/ 1223587 w 1472512"/>
                <a:gd name="connsiteY1320" fmla="*/ 443974 h 734237"/>
                <a:gd name="connsiteX1321" fmla="*/ 1230940 w 1472512"/>
                <a:gd name="connsiteY1321" fmla="*/ 442575 h 734237"/>
                <a:gd name="connsiteX1322" fmla="*/ 1233350 w 1472512"/>
                <a:gd name="connsiteY1322" fmla="*/ 444101 h 734237"/>
                <a:gd name="connsiteX1323" fmla="*/ 1231372 w 1472512"/>
                <a:gd name="connsiteY1323" fmla="*/ 446804 h 734237"/>
                <a:gd name="connsiteX1324" fmla="*/ 1229404 w 1472512"/>
                <a:gd name="connsiteY1324" fmla="*/ 448698 h 734237"/>
                <a:gd name="connsiteX1325" fmla="*/ 1226825 w 1472512"/>
                <a:gd name="connsiteY1325" fmla="*/ 448909 h 734237"/>
                <a:gd name="connsiteX1326" fmla="*/ 1224554 w 1472512"/>
                <a:gd name="connsiteY1326" fmla="*/ 449422 h 734237"/>
                <a:gd name="connsiteX1327" fmla="*/ 1223887 w 1472512"/>
                <a:gd name="connsiteY1327" fmla="*/ 450725 h 734237"/>
                <a:gd name="connsiteX1328" fmla="*/ 1222267 w 1472512"/>
                <a:gd name="connsiteY1328" fmla="*/ 450806 h 734237"/>
                <a:gd name="connsiteX1329" fmla="*/ 1219736 w 1472512"/>
                <a:gd name="connsiteY1329" fmla="*/ 450883 h 734237"/>
                <a:gd name="connsiteX1330" fmla="*/ 1215819 w 1472512"/>
                <a:gd name="connsiteY1330" fmla="*/ 451002 h 734237"/>
                <a:gd name="connsiteX1331" fmla="*/ 1213666 w 1472512"/>
                <a:gd name="connsiteY1331" fmla="*/ 450698 h 734237"/>
                <a:gd name="connsiteX1332" fmla="*/ 1210659 w 1472512"/>
                <a:gd name="connsiteY1332" fmla="*/ 453357 h 734237"/>
                <a:gd name="connsiteX1333" fmla="*/ 1209524 w 1472512"/>
                <a:gd name="connsiteY1333" fmla="*/ 453723 h 734237"/>
                <a:gd name="connsiteX1334" fmla="*/ 1207937 w 1472512"/>
                <a:gd name="connsiteY1334" fmla="*/ 453223 h 734237"/>
                <a:gd name="connsiteX1335" fmla="*/ 1207273 w 1472512"/>
                <a:gd name="connsiteY1335" fmla="*/ 451088 h 734237"/>
                <a:gd name="connsiteX1336" fmla="*/ 1206565 w 1472512"/>
                <a:gd name="connsiteY1336" fmla="*/ 450037 h 734237"/>
                <a:gd name="connsiteX1337" fmla="*/ 1206546 w 1472512"/>
                <a:gd name="connsiteY1337" fmla="*/ 454033 h 734237"/>
                <a:gd name="connsiteX1338" fmla="*/ 1206824 w 1472512"/>
                <a:gd name="connsiteY1338" fmla="*/ 455110 h 734237"/>
                <a:gd name="connsiteX1339" fmla="*/ 1207393 w 1472512"/>
                <a:gd name="connsiteY1339" fmla="*/ 455920 h 734237"/>
                <a:gd name="connsiteX1340" fmla="*/ 1203876 w 1472512"/>
                <a:gd name="connsiteY1340" fmla="*/ 458087 h 734237"/>
                <a:gd name="connsiteX1341" fmla="*/ 1200507 w 1472512"/>
                <a:gd name="connsiteY1341" fmla="*/ 460786 h 734237"/>
                <a:gd name="connsiteX1342" fmla="*/ 1199301 w 1472512"/>
                <a:gd name="connsiteY1342" fmla="*/ 461521 h 734237"/>
                <a:gd name="connsiteX1343" fmla="*/ 1197930 w 1472512"/>
                <a:gd name="connsiteY1343" fmla="*/ 462871 h 734237"/>
                <a:gd name="connsiteX1344" fmla="*/ 1195121 w 1472512"/>
                <a:gd name="connsiteY1344" fmla="*/ 466774 h 734237"/>
                <a:gd name="connsiteX1345" fmla="*/ 1194427 w 1472512"/>
                <a:gd name="connsiteY1345" fmla="*/ 469615 h 734237"/>
                <a:gd name="connsiteX1346" fmla="*/ 1193412 w 1472512"/>
                <a:gd name="connsiteY1346" fmla="*/ 472782 h 734237"/>
                <a:gd name="connsiteX1347" fmla="*/ 1193284 w 1472512"/>
                <a:gd name="connsiteY1347" fmla="*/ 471355 h 734237"/>
                <a:gd name="connsiteX1348" fmla="*/ 1193458 w 1472512"/>
                <a:gd name="connsiteY1348" fmla="*/ 468955 h 734237"/>
                <a:gd name="connsiteX1349" fmla="*/ 1192764 w 1472512"/>
                <a:gd name="connsiteY1349" fmla="*/ 466203 h 734237"/>
                <a:gd name="connsiteX1350" fmla="*/ 1192321 w 1472512"/>
                <a:gd name="connsiteY1350" fmla="*/ 471243 h 734237"/>
                <a:gd name="connsiteX1351" fmla="*/ 1191232 w 1472512"/>
                <a:gd name="connsiteY1351" fmla="*/ 473582 h 734237"/>
                <a:gd name="connsiteX1352" fmla="*/ 1181217 w 1472512"/>
                <a:gd name="connsiteY1352" fmla="*/ 473417 h 734237"/>
                <a:gd name="connsiteX1353" fmla="*/ 1176834 w 1472512"/>
                <a:gd name="connsiteY1353" fmla="*/ 474687 h 734237"/>
                <a:gd name="connsiteX1354" fmla="*/ 1170105 w 1472512"/>
                <a:gd name="connsiteY1354" fmla="*/ 478959 h 734237"/>
                <a:gd name="connsiteX1355" fmla="*/ 1168093 w 1472512"/>
                <a:gd name="connsiteY1355" fmla="*/ 480830 h 734237"/>
                <a:gd name="connsiteX1356" fmla="*/ 1162536 w 1472512"/>
                <a:gd name="connsiteY1356" fmla="*/ 488057 h 734237"/>
                <a:gd name="connsiteX1357" fmla="*/ 1161117 w 1472512"/>
                <a:gd name="connsiteY1357" fmla="*/ 492675 h 734237"/>
                <a:gd name="connsiteX1358" fmla="*/ 1159979 w 1472512"/>
                <a:gd name="connsiteY1358" fmla="*/ 490734 h 734237"/>
                <a:gd name="connsiteX1359" fmla="*/ 1160261 w 1472512"/>
                <a:gd name="connsiteY1359" fmla="*/ 489278 h 734237"/>
                <a:gd name="connsiteX1360" fmla="*/ 1160284 w 1472512"/>
                <a:gd name="connsiteY1360" fmla="*/ 488086 h 734237"/>
                <a:gd name="connsiteX1361" fmla="*/ 1158884 w 1472512"/>
                <a:gd name="connsiteY1361" fmla="*/ 490641 h 734237"/>
                <a:gd name="connsiteX1362" fmla="*/ 1160213 w 1472512"/>
                <a:gd name="connsiteY1362" fmla="*/ 494358 h 734237"/>
                <a:gd name="connsiteX1363" fmla="*/ 1159020 w 1472512"/>
                <a:gd name="connsiteY1363" fmla="*/ 495776 h 734237"/>
                <a:gd name="connsiteX1364" fmla="*/ 1155348 w 1472512"/>
                <a:gd name="connsiteY1364" fmla="*/ 498423 h 734237"/>
                <a:gd name="connsiteX1365" fmla="*/ 1153339 w 1472512"/>
                <a:gd name="connsiteY1365" fmla="*/ 498857 h 734237"/>
                <a:gd name="connsiteX1366" fmla="*/ 1151084 w 1472512"/>
                <a:gd name="connsiteY1366" fmla="*/ 499609 h 734237"/>
                <a:gd name="connsiteX1367" fmla="*/ 1150372 w 1472512"/>
                <a:gd name="connsiteY1367" fmla="*/ 502217 h 734237"/>
                <a:gd name="connsiteX1368" fmla="*/ 1147311 w 1472512"/>
                <a:gd name="connsiteY1368" fmla="*/ 504621 h 734237"/>
                <a:gd name="connsiteX1369" fmla="*/ 1145526 w 1472512"/>
                <a:gd name="connsiteY1369" fmla="*/ 505684 h 734237"/>
                <a:gd name="connsiteX1370" fmla="*/ 1142257 w 1472512"/>
                <a:gd name="connsiteY1370" fmla="*/ 505040 h 734237"/>
                <a:gd name="connsiteX1371" fmla="*/ 1143264 w 1472512"/>
                <a:gd name="connsiteY1371" fmla="*/ 507353 h 734237"/>
                <a:gd name="connsiteX1372" fmla="*/ 1142063 w 1472512"/>
                <a:gd name="connsiteY1372" fmla="*/ 509104 h 734237"/>
                <a:gd name="connsiteX1373" fmla="*/ 1139996 w 1472512"/>
                <a:gd name="connsiteY1373" fmla="*/ 510444 h 734237"/>
                <a:gd name="connsiteX1374" fmla="*/ 1137425 w 1472512"/>
                <a:gd name="connsiteY1374" fmla="*/ 511320 h 734237"/>
                <a:gd name="connsiteX1375" fmla="*/ 1135951 w 1472512"/>
                <a:gd name="connsiteY1375" fmla="*/ 511212 h 734237"/>
                <a:gd name="connsiteX1376" fmla="*/ 1134691 w 1472512"/>
                <a:gd name="connsiteY1376" fmla="*/ 511677 h 734237"/>
                <a:gd name="connsiteX1377" fmla="*/ 1133705 w 1472512"/>
                <a:gd name="connsiteY1377" fmla="*/ 512790 h 734237"/>
                <a:gd name="connsiteX1378" fmla="*/ 1131295 w 1472512"/>
                <a:gd name="connsiteY1378" fmla="*/ 513829 h 734237"/>
                <a:gd name="connsiteX1379" fmla="*/ 1128792 w 1472512"/>
                <a:gd name="connsiteY1379" fmla="*/ 513245 h 734237"/>
                <a:gd name="connsiteX1380" fmla="*/ 1125953 w 1472512"/>
                <a:gd name="connsiteY1380" fmla="*/ 512894 h 734237"/>
                <a:gd name="connsiteX1381" fmla="*/ 1124373 w 1472512"/>
                <a:gd name="connsiteY1381" fmla="*/ 513516 h 734237"/>
                <a:gd name="connsiteX1382" fmla="*/ 1127030 w 1472512"/>
                <a:gd name="connsiteY1382" fmla="*/ 514548 h 734237"/>
                <a:gd name="connsiteX1383" fmla="*/ 1128452 w 1472512"/>
                <a:gd name="connsiteY1383" fmla="*/ 516042 h 734237"/>
                <a:gd name="connsiteX1384" fmla="*/ 1128159 w 1472512"/>
                <a:gd name="connsiteY1384" fmla="*/ 518054 h 734237"/>
                <a:gd name="connsiteX1385" fmla="*/ 1127448 w 1472512"/>
                <a:gd name="connsiteY1385" fmla="*/ 518830 h 734237"/>
                <a:gd name="connsiteX1386" fmla="*/ 1125772 w 1472512"/>
                <a:gd name="connsiteY1386" fmla="*/ 519883 h 734237"/>
                <a:gd name="connsiteX1387" fmla="*/ 1125036 w 1472512"/>
                <a:gd name="connsiteY1387" fmla="*/ 519726 h 734237"/>
                <a:gd name="connsiteX1388" fmla="*/ 1124586 w 1472512"/>
                <a:gd name="connsiteY1388" fmla="*/ 518777 h 734237"/>
                <a:gd name="connsiteX1389" fmla="*/ 1124041 w 1472512"/>
                <a:gd name="connsiteY1389" fmla="*/ 516802 h 734237"/>
                <a:gd name="connsiteX1390" fmla="*/ 1123260 w 1472512"/>
                <a:gd name="connsiteY1390" fmla="*/ 517224 h 734237"/>
                <a:gd name="connsiteX1391" fmla="*/ 1123125 w 1472512"/>
                <a:gd name="connsiteY1391" fmla="*/ 518144 h 734237"/>
                <a:gd name="connsiteX1392" fmla="*/ 1122456 w 1472512"/>
                <a:gd name="connsiteY1392" fmla="*/ 518471 h 734237"/>
                <a:gd name="connsiteX1393" fmla="*/ 1120078 w 1472512"/>
                <a:gd name="connsiteY1393" fmla="*/ 515324 h 734237"/>
                <a:gd name="connsiteX1394" fmla="*/ 1120197 w 1472512"/>
                <a:gd name="connsiteY1394" fmla="*/ 517725 h 734237"/>
                <a:gd name="connsiteX1395" fmla="*/ 1121027 w 1472512"/>
                <a:gd name="connsiteY1395" fmla="*/ 519570 h 734237"/>
                <a:gd name="connsiteX1396" fmla="*/ 1121831 w 1472512"/>
                <a:gd name="connsiteY1396" fmla="*/ 520504 h 734237"/>
                <a:gd name="connsiteX1397" fmla="*/ 1122641 w 1472512"/>
                <a:gd name="connsiteY1397" fmla="*/ 521056 h 734237"/>
                <a:gd name="connsiteX1398" fmla="*/ 1122841 w 1472512"/>
                <a:gd name="connsiteY1398" fmla="*/ 521911 h 734237"/>
                <a:gd name="connsiteX1399" fmla="*/ 1121214 w 1472512"/>
                <a:gd name="connsiteY1399" fmla="*/ 523992 h 734237"/>
                <a:gd name="connsiteX1400" fmla="*/ 1120377 w 1472512"/>
                <a:gd name="connsiteY1400" fmla="*/ 524455 h 734237"/>
                <a:gd name="connsiteX1401" fmla="*/ 1118887 w 1472512"/>
                <a:gd name="connsiteY1401" fmla="*/ 524793 h 734237"/>
                <a:gd name="connsiteX1402" fmla="*/ 1118049 w 1472512"/>
                <a:gd name="connsiteY1402" fmla="*/ 526075 h 734237"/>
                <a:gd name="connsiteX1403" fmla="*/ 1118296 w 1472512"/>
                <a:gd name="connsiteY1403" fmla="*/ 527180 h 734237"/>
                <a:gd name="connsiteX1404" fmla="*/ 1116993 w 1472512"/>
                <a:gd name="connsiteY1404" fmla="*/ 529574 h 734237"/>
                <a:gd name="connsiteX1405" fmla="*/ 1113879 w 1472512"/>
                <a:gd name="connsiteY1405" fmla="*/ 531069 h 734237"/>
                <a:gd name="connsiteX1406" fmla="*/ 1112927 w 1472512"/>
                <a:gd name="connsiteY1406" fmla="*/ 531012 h 734237"/>
                <a:gd name="connsiteX1407" fmla="*/ 1112151 w 1472512"/>
                <a:gd name="connsiteY1407" fmla="*/ 531449 h 734237"/>
                <a:gd name="connsiteX1408" fmla="*/ 1112604 w 1472512"/>
                <a:gd name="connsiteY1408" fmla="*/ 532515 h 734237"/>
                <a:gd name="connsiteX1409" fmla="*/ 1113382 w 1472512"/>
                <a:gd name="connsiteY1409" fmla="*/ 533290 h 734237"/>
                <a:gd name="connsiteX1410" fmla="*/ 1113355 w 1472512"/>
                <a:gd name="connsiteY1410" fmla="*/ 534010 h 734237"/>
                <a:gd name="connsiteX1411" fmla="*/ 1112532 w 1472512"/>
                <a:gd name="connsiteY1411" fmla="*/ 534988 h 734237"/>
                <a:gd name="connsiteX1412" fmla="*/ 1110906 w 1472512"/>
                <a:gd name="connsiteY1412" fmla="*/ 535261 h 734237"/>
                <a:gd name="connsiteX1413" fmla="*/ 1109992 w 1472512"/>
                <a:gd name="connsiteY1413" fmla="*/ 536376 h 734237"/>
                <a:gd name="connsiteX1414" fmla="*/ 1110281 w 1472512"/>
                <a:gd name="connsiteY1414" fmla="*/ 537427 h 734237"/>
                <a:gd name="connsiteX1415" fmla="*/ 1110818 w 1472512"/>
                <a:gd name="connsiteY1415" fmla="*/ 538015 h 734237"/>
                <a:gd name="connsiteX1416" fmla="*/ 1110707 w 1472512"/>
                <a:gd name="connsiteY1416" fmla="*/ 539025 h 734237"/>
                <a:gd name="connsiteX1417" fmla="*/ 1108857 w 1472512"/>
                <a:gd name="connsiteY1417" fmla="*/ 540042 h 734237"/>
                <a:gd name="connsiteX1418" fmla="*/ 1108425 w 1472512"/>
                <a:gd name="connsiteY1418" fmla="*/ 541039 h 734237"/>
                <a:gd name="connsiteX1419" fmla="*/ 1109341 w 1472512"/>
                <a:gd name="connsiteY1419" fmla="*/ 541334 h 734237"/>
                <a:gd name="connsiteX1420" fmla="*/ 1110049 w 1472512"/>
                <a:gd name="connsiteY1420" fmla="*/ 541039 h 734237"/>
                <a:gd name="connsiteX1421" fmla="*/ 1110566 w 1472512"/>
                <a:gd name="connsiteY1421" fmla="*/ 541254 h 734237"/>
                <a:gd name="connsiteX1422" fmla="*/ 1109457 w 1472512"/>
                <a:gd name="connsiteY1422" fmla="*/ 542922 h 734237"/>
                <a:gd name="connsiteX1423" fmla="*/ 1108461 w 1472512"/>
                <a:gd name="connsiteY1423" fmla="*/ 543940 h 734237"/>
                <a:gd name="connsiteX1424" fmla="*/ 1107516 w 1472512"/>
                <a:gd name="connsiteY1424" fmla="*/ 545767 h 734237"/>
                <a:gd name="connsiteX1425" fmla="*/ 1105322 w 1472512"/>
                <a:gd name="connsiteY1425" fmla="*/ 546272 h 734237"/>
                <a:gd name="connsiteX1426" fmla="*/ 1105406 w 1472512"/>
                <a:gd name="connsiteY1426" fmla="*/ 546862 h 734237"/>
                <a:gd name="connsiteX1427" fmla="*/ 1106644 w 1472512"/>
                <a:gd name="connsiteY1427" fmla="*/ 547383 h 734237"/>
                <a:gd name="connsiteX1428" fmla="*/ 1107681 w 1472512"/>
                <a:gd name="connsiteY1428" fmla="*/ 548788 h 734237"/>
                <a:gd name="connsiteX1429" fmla="*/ 1105733 w 1472512"/>
                <a:gd name="connsiteY1429" fmla="*/ 551377 h 734237"/>
                <a:gd name="connsiteX1430" fmla="*/ 1104516 w 1472512"/>
                <a:gd name="connsiteY1430" fmla="*/ 551165 h 734237"/>
                <a:gd name="connsiteX1431" fmla="*/ 1103772 w 1472512"/>
                <a:gd name="connsiteY1431" fmla="*/ 550595 h 734237"/>
                <a:gd name="connsiteX1432" fmla="*/ 1103298 w 1472512"/>
                <a:gd name="connsiteY1432" fmla="*/ 552639 h 734237"/>
                <a:gd name="connsiteX1433" fmla="*/ 1103479 w 1472512"/>
                <a:gd name="connsiteY1433" fmla="*/ 553728 h 734237"/>
                <a:gd name="connsiteX1434" fmla="*/ 1103016 w 1472512"/>
                <a:gd name="connsiteY1434" fmla="*/ 555956 h 734237"/>
                <a:gd name="connsiteX1435" fmla="*/ 1102271 w 1472512"/>
                <a:gd name="connsiteY1435" fmla="*/ 558633 h 734237"/>
                <a:gd name="connsiteX1436" fmla="*/ 1101766 w 1472512"/>
                <a:gd name="connsiteY1436" fmla="*/ 559732 h 734237"/>
                <a:gd name="connsiteX1437" fmla="*/ 1101872 w 1472512"/>
                <a:gd name="connsiteY1437" fmla="*/ 561777 h 734237"/>
                <a:gd name="connsiteX1438" fmla="*/ 1102185 w 1472512"/>
                <a:gd name="connsiteY1438" fmla="*/ 563751 h 734237"/>
                <a:gd name="connsiteX1439" fmla="*/ 1103378 w 1472512"/>
                <a:gd name="connsiteY1439" fmla="*/ 566293 h 734237"/>
                <a:gd name="connsiteX1440" fmla="*/ 1105200 w 1472512"/>
                <a:gd name="connsiteY1440" fmla="*/ 576678 h 734237"/>
                <a:gd name="connsiteX1441" fmla="*/ 1106441 w 1472512"/>
                <a:gd name="connsiteY1441" fmla="*/ 580278 h 734237"/>
                <a:gd name="connsiteX1442" fmla="*/ 1108676 w 1472512"/>
                <a:gd name="connsiteY1442" fmla="*/ 589977 h 734237"/>
                <a:gd name="connsiteX1443" fmla="*/ 1112375 w 1472512"/>
                <a:gd name="connsiteY1443" fmla="*/ 599360 h 734237"/>
                <a:gd name="connsiteX1444" fmla="*/ 1117591 w 1472512"/>
                <a:gd name="connsiteY1444" fmla="*/ 610677 h 734237"/>
                <a:gd name="connsiteX1445" fmla="*/ 1126156 w 1472512"/>
                <a:gd name="connsiteY1445" fmla="*/ 624357 h 734237"/>
                <a:gd name="connsiteX1446" fmla="*/ 1127181 w 1472512"/>
                <a:gd name="connsiteY1446" fmla="*/ 626302 h 734237"/>
                <a:gd name="connsiteX1447" fmla="*/ 1126065 w 1472512"/>
                <a:gd name="connsiteY1447" fmla="*/ 627952 h 734237"/>
                <a:gd name="connsiteX1448" fmla="*/ 1125726 w 1472512"/>
                <a:gd name="connsiteY1448" fmla="*/ 629661 h 734237"/>
                <a:gd name="connsiteX1449" fmla="*/ 1125628 w 1472512"/>
                <a:gd name="connsiteY1449" fmla="*/ 632234 h 734237"/>
                <a:gd name="connsiteX1450" fmla="*/ 1125937 w 1472512"/>
                <a:gd name="connsiteY1450" fmla="*/ 634741 h 734237"/>
                <a:gd name="connsiteX1451" fmla="*/ 1126950 w 1472512"/>
                <a:gd name="connsiteY1451" fmla="*/ 637800 h 734237"/>
                <a:gd name="connsiteX1452" fmla="*/ 1128895 w 1472512"/>
                <a:gd name="connsiteY1452" fmla="*/ 642473 h 734237"/>
                <a:gd name="connsiteX1453" fmla="*/ 1127808 w 1472512"/>
                <a:gd name="connsiteY1453" fmla="*/ 641541 h 734237"/>
                <a:gd name="connsiteX1454" fmla="*/ 1124990 w 1472512"/>
                <a:gd name="connsiteY1454" fmla="*/ 634832 h 734237"/>
                <a:gd name="connsiteX1455" fmla="*/ 1124663 w 1472512"/>
                <a:gd name="connsiteY1455" fmla="*/ 630886 h 734237"/>
                <a:gd name="connsiteX1456" fmla="*/ 1125068 w 1472512"/>
                <a:gd name="connsiteY1456" fmla="*/ 625283 h 734237"/>
                <a:gd name="connsiteX1457" fmla="*/ 1124406 w 1472512"/>
                <a:gd name="connsiteY1457" fmla="*/ 625420 h 734237"/>
                <a:gd name="connsiteX1458" fmla="*/ 1123870 w 1472512"/>
                <a:gd name="connsiteY1458" fmla="*/ 627240 h 734237"/>
                <a:gd name="connsiteX1459" fmla="*/ 1123574 w 1472512"/>
                <a:gd name="connsiteY1459" fmla="*/ 629378 h 734237"/>
                <a:gd name="connsiteX1460" fmla="*/ 1122859 w 1472512"/>
                <a:gd name="connsiteY1460" fmla="*/ 630205 h 734237"/>
                <a:gd name="connsiteX1461" fmla="*/ 1121884 w 1472512"/>
                <a:gd name="connsiteY1461" fmla="*/ 626945 h 734237"/>
                <a:gd name="connsiteX1462" fmla="*/ 1121952 w 1472512"/>
                <a:gd name="connsiteY1462" fmla="*/ 625469 h 734237"/>
                <a:gd name="connsiteX1463" fmla="*/ 1122989 w 1472512"/>
                <a:gd name="connsiteY1463" fmla="*/ 623745 h 734237"/>
                <a:gd name="connsiteX1464" fmla="*/ 1122688 w 1472512"/>
                <a:gd name="connsiteY1464" fmla="*/ 623124 h 734237"/>
                <a:gd name="connsiteX1465" fmla="*/ 1121012 w 1472512"/>
                <a:gd name="connsiteY1465" fmla="*/ 622241 h 734237"/>
                <a:gd name="connsiteX1466" fmla="*/ 1120656 w 1472512"/>
                <a:gd name="connsiteY1466" fmla="*/ 620853 h 734237"/>
                <a:gd name="connsiteX1467" fmla="*/ 1120883 w 1472512"/>
                <a:gd name="connsiteY1467" fmla="*/ 619480 h 734237"/>
                <a:gd name="connsiteX1468" fmla="*/ 1119921 w 1472512"/>
                <a:gd name="connsiteY1468" fmla="*/ 618747 h 734237"/>
                <a:gd name="connsiteX1469" fmla="*/ 1119169 w 1472512"/>
                <a:gd name="connsiteY1469" fmla="*/ 618781 h 734237"/>
                <a:gd name="connsiteX1470" fmla="*/ 1119673 w 1472512"/>
                <a:gd name="connsiteY1470" fmla="*/ 622165 h 734237"/>
                <a:gd name="connsiteX1471" fmla="*/ 1120468 w 1472512"/>
                <a:gd name="connsiteY1471" fmla="*/ 624239 h 734237"/>
                <a:gd name="connsiteX1472" fmla="*/ 1121453 w 1472512"/>
                <a:gd name="connsiteY1472" fmla="*/ 629210 h 734237"/>
                <a:gd name="connsiteX1473" fmla="*/ 1123042 w 1472512"/>
                <a:gd name="connsiteY1473" fmla="*/ 632218 h 734237"/>
                <a:gd name="connsiteX1474" fmla="*/ 1123966 w 1472512"/>
                <a:gd name="connsiteY1474" fmla="*/ 634739 h 734237"/>
                <a:gd name="connsiteX1475" fmla="*/ 1134783 w 1472512"/>
                <a:gd name="connsiteY1475" fmla="*/ 661564 h 734237"/>
                <a:gd name="connsiteX1476" fmla="*/ 1137342 w 1472512"/>
                <a:gd name="connsiteY1476" fmla="*/ 664969 h 734237"/>
                <a:gd name="connsiteX1477" fmla="*/ 1138289 w 1472512"/>
                <a:gd name="connsiteY1477" fmla="*/ 667413 h 734237"/>
                <a:gd name="connsiteX1478" fmla="*/ 1139275 w 1472512"/>
                <a:gd name="connsiteY1478" fmla="*/ 672521 h 734237"/>
                <a:gd name="connsiteX1479" fmla="*/ 1139497 w 1472512"/>
                <a:gd name="connsiteY1479" fmla="*/ 679070 h 734237"/>
                <a:gd name="connsiteX1480" fmla="*/ 1137730 w 1472512"/>
                <a:gd name="connsiteY1480" fmla="*/ 691017 h 734237"/>
                <a:gd name="connsiteX1481" fmla="*/ 1137327 w 1472512"/>
                <a:gd name="connsiteY1481" fmla="*/ 699150 h 734237"/>
                <a:gd name="connsiteX1482" fmla="*/ 1137074 w 1472512"/>
                <a:gd name="connsiteY1482" fmla="*/ 698903 h 734237"/>
                <a:gd name="connsiteX1483" fmla="*/ 1136905 w 1472512"/>
                <a:gd name="connsiteY1483" fmla="*/ 698047 h 734237"/>
                <a:gd name="connsiteX1484" fmla="*/ 1136497 w 1472512"/>
                <a:gd name="connsiteY1484" fmla="*/ 697929 h 734237"/>
                <a:gd name="connsiteX1485" fmla="*/ 1134963 w 1472512"/>
                <a:gd name="connsiteY1485" fmla="*/ 701651 h 734237"/>
                <a:gd name="connsiteX1486" fmla="*/ 1132876 w 1472512"/>
                <a:gd name="connsiteY1486" fmla="*/ 705007 h 734237"/>
                <a:gd name="connsiteX1487" fmla="*/ 1132190 w 1472512"/>
                <a:gd name="connsiteY1487" fmla="*/ 710220 h 734237"/>
                <a:gd name="connsiteX1488" fmla="*/ 1131190 w 1472512"/>
                <a:gd name="connsiteY1488" fmla="*/ 712827 h 734237"/>
                <a:gd name="connsiteX1489" fmla="*/ 1128187 w 1472512"/>
                <a:gd name="connsiteY1489" fmla="*/ 715583 h 734237"/>
                <a:gd name="connsiteX1490" fmla="*/ 1126326 w 1472512"/>
                <a:gd name="connsiteY1490" fmla="*/ 715513 h 734237"/>
                <a:gd name="connsiteX1491" fmla="*/ 1121762 w 1472512"/>
                <a:gd name="connsiteY1491" fmla="*/ 717580 h 734237"/>
                <a:gd name="connsiteX1492" fmla="*/ 1118556 w 1472512"/>
                <a:gd name="connsiteY1492" fmla="*/ 717042 h 734237"/>
                <a:gd name="connsiteX1493" fmla="*/ 1114735 w 1472512"/>
                <a:gd name="connsiteY1493" fmla="*/ 718208 h 734237"/>
                <a:gd name="connsiteX1494" fmla="*/ 1112223 w 1472512"/>
                <a:gd name="connsiteY1494" fmla="*/ 718077 h 734237"/>
                <a:gd name="connsiteX1495" fmla="*/ 1110771 w 1472512"/>
                <a:gd name="connsiteY1495" fmla="*/ 715619 h 734237"/>
                <a:gd name="connsiteX1496" fmla="*/ 1110992 w 1472512"/>
                <a:gd name="connsiteY1496" fmla="*/ 714520 h 734237"/>
                <a:gd name="connsiteX1497" fmla="*/ 1111571 w 1472512"/>
                <a:gd name="connsiteY1497" fmla="*/ 713413 h 734237"/>
                <a:gd name="connsiteX1498" fmla="*/ 1112550 w 1472512"/>
                <a:gd name="connsiteY1498" fmla="*/ 713157 h 734237"/>
                <a:gd name="connsiteX1499" fmla="*/ 1115924 w 1472512"/>
                <a:gd name="connsiteY1499" fmla="*/ 715733 h 734237"/>
                <a:gd name="connsiteX1500" fmla="*/ 1116560 w 1472512"/>
                <a:gd name="connsiteY1500" fmla="*/ 714648 h 734237"/>
                <a:gd name="connsiteX1501" fmla="*/ 1115542 w 1472512"/>
                <a:gd name="connsiteY1501" fmla="*/ 713359 h 734237"/>
                <a:gd name="connsiteX1502" fmla="*/ 1113591 w 1472512"/>
                <a:gd name="connsiteY1502" fmla="*/ 712639 h 734237"/>
                <a:gd name="connsiteX1503" fmla="*/ 1112149 w 1472512"/>
                <a:gd name="connsiteY1503" fmla="*/ 711848 h 734237"/>
                <a:gd name="connsiteX1504" fmla="*/ 1109246 w 1472512"/>
                <a:gd name="connsiteY1504" fmla="*/ 705965 h 734237"/>
                <a:gd name="connsiteX1505" fmla="*/ 1106239 w 1472512"/>
                <a:gd name="connsiteY1505" fmla="*/ 701922 h 734237"/>
                <a:gd name="connsiteX1506" fmla="*/ 1105731 w 1472512"/>
                <a:gd name="connsiteY1506" fmla="*/ 699218 h 734237"/>
                <a:gd name="connsiteX1507" fmla="*/ 1100545 w 1472512"/>
                <a:gd name="connsiteY1507" fmla="*/ 697568 h 734237"/>
                <a:gd name="connsiteX1508" fmla="*/ 1096789 w 1472512"/>
                <a:gd name="connsiteY1508" fmla="*/ 695069 h 734237"/>
                <a:gd name="connsiteX1509" fmla="*/ 1094340 w 1472512"/>
                <a:gd name="connsiteY1509" fmla="*/ 690622 h 734237"/>
                <a:gd name="connsiteX1510" fmla="*/ 1092936 w 1472512"/>
                <a:gd name="connsiteY1510" fmla="*/ 682724 h 734237"/>
                <a:gd name="connsiteX1511" fmla="*/ 1091279 w 1472512"/>
                <a:gd name="connsiteY1511" fmla="*/ 681836 h 734237"/>
                <a:gd name="connsiteX1512" fmla="*/ 1090578 w 1472512"/>
                <a:gd name="connsiteY1512" fmla="*/ 681221 h 734237"/>
                <a:gd name="connsiteX1513" fmla="*/ 1092197 w 1472512"/>
                <a:gd name="connsiteY1513" fmla="*/ 678288 h 734237"/>
                <a:gd name="connsiteX1514" fmla="*/ 1093902 w 1472512"/>
                <a:gd name="connsiteY1514" fmla="*/ 675826 h 734237"/>
                <a:gd name="connsiteX1515" fmla="*/ 1092552 w 1472512"/>
                <a:gd name="connsiteY1515" fmla="*/ 676438 h 734237"/>
                <a:gd name="connsiteX1516" fmla="*/ 1091556 w 1472512"/>
                <a:gd name="connsiteY1516" fmla="*/ 677349 h 734237"/>
                <a:gd name="connsiteX1517" fmla="*/ 1090293 w 1472512"/>
                <a:gd name="connsiteY1517" fmla="*/ 679522 h 734237"/>
                <a:gd name="connsiteX1518" fmla="*/ 1089368 w 1472512"/>
                <a:gd name="connsiteY1518" fmla="*/ 679857 h 734237"/>
                <a:gd name="connsiteX1519" fmla="*/ 1088520 w 1472512"/>
                <a:gd name="connsiteY1519" fmla="*/ 679522 h 734237"/>
                <a:gd name="connsiteX1520" fmla="*/ 1087544 w 1472512"/>
                <a:gd name="connsiteY1520" fmla="*/ 675353 h 734237"/>
                <a:gd name="connsiteX1521" fmla="*/ 1087824 w 1472512"/>
                <a:gd name="connsiteY1521" fmla="*/ 670222 h 734237"/>
                <a:gd name="connsiteX1522" fmla="*/ 1089192 w 1472512"/>
                <a:gd name="connsiteY1522" fmla="*/ 668301 h 734237"/>
                <a:gd name="connsiteX1523" fmla="*/ 1087089 w 1472512"/>
                <a:gd name="connsiteY1523" fmla="*/ 668251 h 734237"/>
                <a:gd name="connsiteX1524" fmla="*/ 1084910 w 1472512"/>
                <a:gd name="connsiteY1524" fmla="*/ 668982 h 734237"/>
                <a:gd name="connsiteX1525" fmla="*/ 1085230 w 1472512"/>
                <a:gd name="connsiteY1525" fmla="*/ 670693 h 734237"/>
                <a:gd name="connsiteX1526" fmla="*/ 1084922 w 1472512"/>
                <a:gd name="connsiteY1526" fmla="*/ 671633 h 734237"/>
                <a:gd name="connsiteX1527" fmla="*/ 1083335 w 1472512"/>
                <a:gd name="connsiteY1527" fmla="*/ 671392 h 734237"/>
                <a:gd name="connsiteX1528" fmla="*/ 1082133 w 1472512"/>
                <a:gd name="connsiteY1528" fmla="*/ 670791 h 734237"/>
                <a:gd name="connsiteX1529" fmla="*/ 1080499 w 1472512"/>
                <a:gd name="connsiteY1529" fmla="*/ 669010 h 734237"/>
                <a:gd name="connsiteX1530" fmla="*/ 1078272 w 1472512"/>
                <a:gd name="connsiteY1530" fmla="*/ 665610 h 734237"/>
                <a:gd name="connsiteX1531" fmla="*/ 1073703 w 1472512"/>
                <a:gd name="connsiteY1531" fmla="*/ 656231 h 734237"/>
                <a:gd name="connsiteX1532" fmla="*/ 1072812 w 1472512"/>
                <a:gd name="connsiteY1532" fmla="*/ 654908 h 734237"/>
                <a:gd name="connsiteX1533" fmla="*/ 1071302 w 1472512"/>
                <a:gd name="connsiteY1533" fmla="*/ 653520 h 734237"/>
                <a:gd name="connsiteX1534" fmla="*/ 1072013 w 1472512"/>
                <a:gd name="connsiteY1534" fmla="*/ 653089 h 734237"/>
                <a:gd name="connsiteX1535" fmla="*/ 1073310 w 1472512"/>
                <a:gd name="connsiteY1535" fmla="*/ 652834 h 734237"/>
                <a:gd name="connsiteX1536" fmla="*/ 1076244 w 1472512"/>
                <a:gd name="connsiteY1536" fmla="*/ 648603 h 734237"/>
                <a:gd name="connsiteX1537" fmla="*/ 1078548 w 1472512"/>
                <a:gd name="connsiteY1537" fmla="*/ 646043 h 734237"/>
                <a:gd name="connsiteX1538" fmla="*/ 1079313 w 1472512"/>
                <a:gd name="connsiteY1538" fmla="*/ 644273 h 734237"/>
                <a:gd name="connsiteX1539" fmla="*/ 1079180 w 1472512"/>
                <a:gd name="connsiteY1539" fmla="*/ 643515 h 734237"/>
                <a:gd name="connsiteX1540" fmla="*/ 1078161 w 1472512"/>
                <a:gd name="connsiteY1540" fmla="*/ 642415 h 734237"/>
                <a:gd name="connsiteX1541" fmla="*/ 1076824 w 1472512"/>
                <a:gd name="connsiteY1541" fmla="*/ 643376 h 734237"/>
                <a:gd name="connsiteX1542" fmla="*/ 1076250 w 1472512"/>
                <a:gd name="connsiteY1542" fmla="*/ 643102 h 734237"/>
                <a:gd name="connsiteX1543" fmla="*/ 1074745 w 1472512"/>
                <a:gd name="connsiteY1543" fmla="*/ 640880 h 734237"/>
                <a:gd name="connsiteX1544" fmla="*/ 1073308 w 1472512"/>
                <a:gd name="connsiteY1544" fmla="*/ 640252 h 734237"/>
                <a:gd name="connsiteX1545" fmla="*/ 1072306 w 1472512"/>
                <a:gd name="connsiteY1545" fmla="*/ 640733 h 734237"/>
                <a:gd name="connsiteX1546" fmla="*/ 1073364 w 1472512"/>
                <a:gd name="connsiteY1546" fmla="*/ 642554 h 734237"/>
                <a:gd name="connsiteX1547" fmla="*/ 1074311 w 1472512"/>
                <a:gd name="connsiteY1547" fmla="*/ 643230 h 734237"/>
                <a:gd name="connsiteX1548" fmla="*/ 1073945 w 1472512"/>
                <a:gd name="connsiteY1548" fmla="*/ 645875 h 734237"/>
                <a:gd name="connsiteX1549" fmla="*/ 1073561 w 1472512"/>
                <a:gd name="connsiteY1549" fmla="*/ 646738 h 734237"/>
                <a:gd name="connsiteX1550" fmla="*/ 1072672 w 1472512"/>
                <a:gd name="connsiteY1550" fmla="*/ 647497 h 734237"/>
                <a:gd name="connsiteX1551" fmla="*/ 1071282 w 1472512"/>
                <a:gd name="connsiteY1551" fmla="*/ 647093 h 734237"/>
                <a:gd name="connsiteX1552" fmla="*/ 1070580 w 1472512"/>
                <a:gd name="connsiteY1552" fmla="*/ 647746 h 734237"/>
                <a:gd name="connsiteX1553" fmla="*/ 1069752 w 1472512"/>
                <a:gd name="connsiteY1553" fmla="*/ 647056 h 734237"/>
                <a:gd name="connsiteX1554" fmla="*/ 1068930 w 1472512"/>
                <a:gd name="connsiteY1554" fmla="*/ 645895 h 734237"/>
                <a:gd name="connsiteX1555" fmla="*/ 1068013 w 1472512"/>
                <a:gd name="connsiteY1555" fmla="*/ 643981 h 734237"/>
                <a:gd name="connsiteX1556" fmla="*/ 1070435 w 1472512"/>
                <a:gd name="connsiteY1556" fmla="*/ 633194 h 734237"/>
                <a:gd name="connsiteX1557" fmla="*/ 1072679 w 1472512"/>
                <a:gd name="connsiteY1557" fmla="*/ 626310 h 734237"/>
                <a:gd name="connsiteX1558" fmla="*/ 1072934 w 1472512"/>
                <a:gd name="connsiteY1558" fmla="*/ 618442 h 734237"/>
                <a:gd name="connsiteX1559" fmla="*/ 1073101 w 1472512"/>
                <a:gd name="connsiteY1559" fmla="*/ 617276 h 734237"/>
                <a:gd name="connsiteX1560" fmla="*/ 1072912 w 1472512"/>
                <a:gd name="connsiteY1560" fmla="*/ 615183 h 734237"/>
                <a:gd name="connsiteX1561" fmla="*/ 1069905 w 1472512"/>
                <a:gd name="connsiteY1561" fmla="*/ 610630 h 734237"/>
                <a:gd name="connsiteX1562" fmla="*/ 1056611 w 1472512"/>
                <a:gd name="connsiteY1562" fmla="*/ 599501 h 734237"/>
                <a:gd name="connsiteX1563" fmla="*/ 1046308 w 1472512"/>
                <a:gd name="connsiteY1563" fmla="*/ 586289 h 734237"/>
                <a:gd name="connsiteX1564" fmla="*/ 1037383 w 1472512"/>
                <a:gd name="connsiteY1564" fmla="*/ 581324 h 734237"/>
                <a:gd name="connsiteX1565" fmla="*/ 1030611 w 1472512"/>
                <a:gd name="connsiteY1565" fmla="*/ 582414 h 734237"/>
                <a:gd name="connsiteX1566" fmla="*/ 1029439 w 1472512"/>
                <a:gd name="connsiteY1566" fmla="*/ 583412 h 734237"/>
                <a:gd name="connsiteX1567" fmla="*/ 1028936 w 1472512"/>
                <a:gd name="connsiteY1567" fmla="*/ 584717 h 734237"/>
                <a:gd name="connsiteX1568" fmla="*/ 1029361 w 1472512"/>
                <a:gd name="connsiteY1568" fmla="*/ 586194 h 734237"/>
                <a:gd name="connsiteX1569" fmla="*/ 1028745 w 1472512"/>
                <a:gd name="connsiteY1569" fmla="*/ 586808 h 734237"/>
                <a:gd name="connsiteX1570" fmla="*/ 1026928 w 1472512"/>
                <a:gd name="connsiteY1570" fmla="*/ 586730 h 734237"/>
                <a:gd name="connsiteX1571" fmla="*/ 1024480 w 1472512"/>
                <a:gd name="connsiteY1571" fmla="*/ 587074 h 734237"/>
                <a:gd name="connsiteX1572" fmla="*/ 1018089 w 1472512"/>
                <a:gd name="connsiteY1572" fmla="*/ 590556 h 734237"/>
                <a:gd name="connsiteX1573" fmla="*/ 1015834 w 1472512"/>
                <a:gd name="connsiteY1573" fmla="*/ 590427 h 734237"/>
                <a:gd name="connsiteX1574" fmla="*/ 1013787 w 1472512"/>
                <a:gd name="connsiteY1574" fmla="*/ 591329 h 734237"/>
                <a:gd name="connsiteX1575" fmla="*/ 1012254 w 1472512"/>
                <a:gd name="connsiteY1575" fmla="*/ 592004 h 734237"/>
                <a:gd name="connsiteX1576" fmla="*/ 1008255 w 1472512"/>
                <a:gd name="connsiteY1576" fmla="*/ 592372 h 734237"/>
                <a:gd name="connsiteX1577" fmla="*/ 1004864 w 1472512"/>
                <a:gd name="connsiteY1577" fmla="*/ 593144 h 734237"/>
                <a:gd name="connsiteX1578" fmla="*/ 1003399 w 1472512"/>
                <a:gd name="connsiteY1578" fmla="*/ 592726 h 734237"/>
                <a:gd name="connsiteX1579" fmla="*/ 1002444 w 1472512"/>
                <a:gd name="connsiteY1579" fmla="*/ 590708 h 734237"/>
                <a:gd name="connsiteX1580" fmla="*/ 1002444 w 1472512"/>
                <a:gd name="connsiteY1580" fmla="*/ 588619 h 734237"/>
                <a:gd name="connsiteX1581" fmla="*/ 1003219 w 1472512"/>
                <a:gd name="connsiteY1581" fmla="*/ 590220 h 734237"/>
                <a:gd name="connsiteX1582" fmla="*/ 1004418 w 1472512"/>
                <a:gd name="connsiteY1582" fmla="*/ 591473 h 734237"/>
                <a:gd name="connsiteX1583" fmla="*/ 1004968 w 1472512"/>
                <a:gd name="connsiteY1583" fmla="*/ 590973 h 734237"/>
                <a:gd name="connsiteX1584" fmla="*/ 1005174 w 1472512"/>
                <a:gd name="connsiteY1584" fmla="*/ 589864 h 734237"/>
                <a:gd name="connsiteX1585" fmla="*/ 1003980 w 1472512"/>
                <a:gd name="connsiteY1585" fmla="*/ 587691 h 734237"/>
                <a:gd name="connsiteX1586" fmla="*/ 1000136 w 1472512"/>
                <a:gd name="connsiteY1586" fmla="*/ 584898 h 734237"/>
                <a:gd name="connsiteX1587" fmla="*/ 995762 w 1472512"/>
                <a:gd name="connsiteY1587" fmla="*/ 580817 h 734237"/>
                <a:gd name="connsiteX1588" fmla="*/ 997095 w 1472512"/>
                <a:gd name="connsiteY1588" fmla="*/ 580951 h 734237"/>
                <a:gd name="connsiteX1589" fmla="*/ 997433 w 1472512"/>
                <a:gd name="connsiteY1589" fmla="*/ 580077 h 734237"/>
                <a:gd name="connsiteX1590" fmla="*/ 996077 w 1472512"/>
                <a:gd name="connsiteY1590" fmla="*/ 578929 h 734237"/>
                <a:gd name="connsiteX1591" fmla="*/ 996649 w 1472512"/>
                <a:gd name="connsiteY1591" fmla="*/ 577602 h 734237"/>
                <a:gd name="connsiteX1592" fmla="*/ 997606 w 1472512"/>
                <a:gd name="connsiteY1592" fmla="*/ 576208 h 734237"/>
                <a:gd name="connsiteX1593" fmla="*/ 995759 w 1472512"/>
                <a:gd name="connsiteY1593" fmla="*/ 576417 h 734237"/>
                <a:gd name="connsiteX1594" fmla="*/ 994103 w 1472512"/>
                <a:gd name="connsiteY1594" fmla="*/ 577393 h 734237"/>
                <a:gd name="connsiteX1595" fmla="*/ 994048 w 1472512"/>
                <a:gd name="connsiteY1595" fmla="*/ 578599 h 734237"/>
                <a:gd name="connsiteX1596" fmla="*/ 993720 w 1472512"/>
                <a:gd name="connsiteY1596" fmla="*/ 579557 h 734237"/>
                <a:gd name="connsiteX1597" fmla="*/ 992829 w 1472512"/>
                <a:gd name="connsiteY1597" fmla="*/ 579418 h 734237"/>
                <a:gd name="connsiteX1598" fmla="*/ 991173 w 1472512"/>
                <a:gd name="connsiteY1598" fmla="*/ 578231 h 734237"/>
                <a:gd name="connsiteX1599" fmla="*/ 983022 w 1472512"/>
                <a:gd name="connsiteY1599" fmla="*/ 574927 h 734237"/>
                <a:gd name="connsiteX1600" fmla="*/ 975898 w 1472512"/>
                <a:gd name="connsiteY1600" fmla="*/ 573063 h 734237"/>
                <a:gd name="connsiteX1601" fmla="*/ 981367 w 1472512"/>
                <a:gd name="connsiteY1601" fmla="*/ 572224 h 734237"/>
                <a:gd name="connsiteX1602" fmla="*/ 984332 w 1472512"/>
                <a:gd name="connsiteY1602" fmla="*/ 572876 h 734237"/>
                <a:gd name="connsiteX1603" fmla="*/ 983978 w 1472512"/>
                <a:gd name="connsiteY1603" fmla="*/ 571876 h 734237"/>
                <a:gd name="connsiteX1604" fmla="*/ 983264 w 1472512"/>
                <a:gd name="connsiteY1604" fmla="*/ 571239 h 734237"/>
                <a:gd name="connsiteX1605" fmla="*/ 980925 w 1472512"/>
                <a:gd name="connsiteY1605" fmla="*/ 570434 h 734237"/>
                <a:gd name="connsiteX1606" fmla="*/ 977946 w 1472512"/>
                <a:gd name="connsiteY1606" fmla="*/ 570741 h 734237"/>
                <a:gd name="connsiteX1607" fmla="*/ 976063 w 1472512"/>
                <a:gd name="connsiteY1607" fmla="*/ 570363 h 734237"/>
                <a:gd name="connsiteX1608" fmla="*/ 974139 w 1472512"/>
                <a:gd name="connsiteY1608" fmla="*/ 571160 h 734237"/>
                <a:gd name="connsiteX1609" fmla="*/ 972030 w 1472512"/>
                <a:gd name="connsiteY1609" fmla="*/ 572348 h 734237"/>
                <a:gd name="connsiteX1610" fmla="*/ 970153 w 1472512"/>
                <a:gd name="connsiteY1610" fmla="*/ 572958 h 734237"/>
                <a:gd name="connsiteX1611" fmla="*/ 962806 w 1472512"/>
                <a:gd name="connsiteY1611" fmla="*/ 573812 h 734237"/>
                <a:gd name="connsiteX1612" fmla="*/ 956849 w 1472512"/>
                <a:gd name="connsiteY1612" fmla="*/ 574739 h 734237"/>
                <a:gd name="connsiteX1613" fmla="*/ 957804 w 1472512"/>
                <a:gd name="connsiteY1613" fmla="*/ 573761 h 734237"/>
                <a:gd name="connsiteX1614" fmla="*/ 958823 w 1472512"/>
                <a:gd name="connsiteY1614" fmla="*/ 573132 h 734237"/>
                <a:gd name="connsiteX1615" fmla="*/ 962344 w 1472512"/>
                <a:gd name="connsiteY1615" fmla="*/ 572175 h 734237"/>
                <a:gd name="connsiteX1616" fmla="*/ 962870 w 1472512"/>
                <a:gd name="connsiteY1616" fmla="*/ 570186 h 734237"/>
                <a:gd name="connsiteX1617" fmla="*/ 962042 w 1472512"/>
                <a:gd name="connsiteY1617" fmla="*/ 568268 h 734237"/>
                <a:gd name="connsiteX1618" fmla="*/ 961117 w 1472512"/>
                <a:gd name="connsiteY1618" fmla="*/ 568729 h 734237"/>
                <a:gd name="connsiteX1619" fmla="*/ 960144 w 1472512"/>
                <a:gd name="connsiteY1619" fmla="*/ 570226 h 734237"/>
                <a:gd name="connsiteX1620" fmla="*/ 958951 w 1472512"/>
                <a:gd name="connsiteY1620" fmla="*/ 569147 h 734237"/>
                <a:gd name="connsiteX1621" fmla="*/ 957629 w 1472512"/>
                <a:gd name="connsiteY1621" fmla="*/ 569152 h 734237"/>
                <a:gd name="connsiteX1622" fmla="*/ 957270 w 1472512"/>
                <a:gd name="connsiteY1622" fmla="*/ 571536 h 734237"/>
                <a:gd name="connsiteX1623" fmla="*/ 955575 w 1472512"/>
                <a:gd name="connsiteY1623" fmla="*/ 573132 h 734237"/>
                <a:gd name="connsiteX1624" fmla="*/ 954812 w 1472512"/>
                <a:gd name="connsiteY1624" fmla="*/ 574739 h 734237"/>
                <a:gd name="connsiteX1625" fmla="*/ 949844 w 1472512"/>
                <a:gd name="connsiteY1625" fmla="*/ 575998 h 734237"/>
                <a:gd name="connsiteX1626" fmla="*/ 949207 w 1472512"/>
                <a:gd name="connsiteY1626" fmla="*/ 575578 h 734237"/>
                <a:gd name="connsiteX1627" fmla="*/ 950661 w 1472512"/>
                <a:gd name="connsiteY1627" fmla="*/ 574052 h 734237"/>
                <a:gd name="connsiteX1628" fmla="*/ 950545 w 1472512"/>
                <a:gd name="connsiteY1628" fmla="*/ 573203 h 734237"/>
                <a:gd name="connsiteX1629" fmla="*/ 948887 w 1472512"/>
                <a:gd name="connsiteY1629" fmla="*/ 573932 h 734237"/>
                <a:gd name="connsiteX1630" fmla="*/ 946107 w 1472512"/>
                <a:gd name="connsiteY1630" fmla="*/ 576824 h 734237"/>
                <a:gd name="connsiteX1631" fmla="*/ 936318 w 1472512"/>
                <a:gd name="connsiteY1631" fmla="*/ 577770 h 734237"/>
                <a:gd name="connsiteX1632" fmla="*/ 936854 w 1472512"/>
                <a:gd name="connsiteY1632" fmla="*/ 577113 h 734237"/>
                <a:gd name="connsiteX1633" fmla="*/ 938920 w 1472512"/>
                <a:gd name="connsiteY1633" fmla="*/ 576981 h 734237"/>
                <a:gd name="connsiteX1634" fmla="*/ 941821 w 1472512"/>
                <a:gd name="connsiteY1634" fmla="*/ 576067 h 734237"/>
                <a:gd name="connsiteX1635" fmla="*/ 941234 w 1472512"/>
                <a:gd name="connsiteY1635" fmla="*/ 574526 h 734237"/>
                <a:gd name="connsiteX1636" fmla="*/ 940115 w 1472512"/>
                <a:gd name="connsiteY1636" fmla="*/ 572831 h 734237"/>
                <a:gd name="connsiteX1637" fmla="*/ 939082 w 1472512"/>
                <a:gd name="connsiteY1637" fmla="*/ 572643 h 734237"/>
                <a:gd name="connsiteX1638" fmla="*/ 938402 w 1472512"/>
                <a:gd name="connsiteY1638" fmla="*/ 571648 h 734237"/>
                <a:gd name="connsiteX1639" fmla="*/ 938435 w 1472512"/>
                <a:gd name="connsiteY1639" fmla="*/ 568515 h 734237"/>
                <a:gd name="connsiteX1640" fmla="*/ 937775 w 1472512"/>
                <a:gd name="connsiteY1640" fmla="*/ 566682 h 734237"/>
                <a:gd name="connsiteX1641" fmla="*/ 936182 w 1472512"/>
                <a:gd name="connsiteY1641" fmla="*/ 564796 h 734237"/>
                <a:gd name="connsiteX1642" fmla="*/ 935643 w 1472512"/>
                <a:gd name="connsiteY1642" fmla="*/ 565158 h 734237"/>
                <a:gd name="connsiteX1643" fmla="*/ 934471 w 1472512"/>
                <a:gd name="connsiteY1643" fmla="*/ 568384 h 734237"/>
                <a:gd name="connsiteX1644" fmla="*/ 933497 w 1472512"/>
                <a:gd name="connsiteY1644" fmla="*/ 572609 h 734237"/>
                <a:gd name="connsiteX1645" fmla="*/ 933016 w 1472512"/>
                <a:gd name="connsiteY1645" fmla="*/ 573974 h 734237"/>
                <a:gd name="connsiteX1646" fmla="*/ 930114 w 1472512"/>
                <a:gd name="connsiteY1646" fmla="*/ 574069 h 734237"/>
                <a:gd name="connsiteX1647" fmla="*/ 927545 w 1472512"/>
                <a:gd name="connsiteY1647" fmla="*/ 573780 h 734237"/>
                <a:gd name="connsiteX1648" fmla="*/ 918816 w 1472512"/>
                <a:gd name="connsiteY1648" fmla="*/ 574288 h 734237"/>
                <a:gd name="connsiteX1649" fmla="*/ 915554 w 1472512"/>
                <a:gd name="connsiteY1649" fmla="*/ 572858 h 734237"/>
                <a:gd name="connsiteX1650" fmla="*/ 914202 w 1472512"/>
                <a:gd name="connsiteY1650" fmla="*/ 572582 h 734237"/>
                <a:gd name="connsiteX1651" fmla="*/ 913378 w 1472512"/>
                <a:gd name="connsiteY1651" fmla="*/ 572615 h 734237"/>
                <a:gd name="connsiteX1652" fmla="*/ 909582 w 1472512"/>
                <a:gd name="connsiteY1652" fmla="*/ 573927 h 734237"/>
                <a:gd name="connsiteX1653" fmla="*/ 905255 w 1472512"/>
                <a:gd name="connsiteY1653" fmla="*/ 574932 h 734237"/>
                <a:gd name="connsiteX1654" fmla="*/ 904237 w 1472512"/>
                <a:gd name="connsiteY1654" fmla="*/ 574616 h 734237"/>
                <a:gd name="connsiteX1655" fmla="*/ 902784 w 1472512"/>
                <a:gd name="connsiteY1655" fmla="*/ 574570 h 734237"/>
                <a:gd name="connsiteX1656" fmla="*/ 899647 w 1472512"/>
                <a:gd name="connsiteY1656" fmla="*/ 577987 h 734237"/>
                <a:gd name="connsiteX1657" fmla="*/ 895949 w 1472512"/>
                <a:gd name="connsiteY1657" fmla="*/ 579586 h 734237"/>
                <a:gd name="connsiteX1658" fmla="*/ 886618 w 1472512"/>
                <a:gd name="connsiteY1658" fmla="*/ 576712 h 734237"/>
                <a:gd name="connsiteX1659" fmla="*/ 884297 w 1472512"/>
                <a:gd name="connsiteY1659" fmla="*/ 574399 h 734237"/>
                <a:gd name="connsiteX1660" fmla="*/ 882237 w 1472512"/>
                <a:gd name="connsiteY1660" fmla="*/ 573904 h 734237"/>
                <a:gd name="connsiteX1661" fmla="*/ 879704 w 1472512"/>
                <a:gd name="connsiteY1661" fmla="*/ 573618 h 734237"/>
                <a:gd name="connsiteX1662" fmla="*/ 876982 w 1472512"/>
                <a:gd name="connsiteY1662" fmla="*/ 576464 h 734237"/>
                <a:gd name="connsiteX1663" fmla="*/ 874915 w 1472512"/>
                <a:gd name="connsiteY1663" fmla="*/ 580302 h 734237"/>
                <a:gd name="connsiteX1664" fmla="*/ 878181 w 1472512"/>
                <a:gd name="connsiteY1664" fmla="*/ 582405 h 734237"/>
                <a:gd name="connsiteX1665" fmla="*/ 880978 w 1472512"/>
                <a:gd name="connsiteY1665" fmla="*/ 583410 h 734237"/>
                <a:gd name="connsiteX1666" fmla="*/ 885600 w 1472512"/>
                <a:gd name="connsiteY1666" fmla="*/ 582567 h 734237"/>
                <a:gd name="connsiteX1667" fmla="*/ 888153 w 1472512"/>
                <a:gd name="connsiteY1667" fmla="*/ 580706 h 734237"/>
                <a:gd name="connsiteX1668" fmla="*/ 890241 w 1472512"/>
                <a:gd name="connsiteY1668" fmla="*/ 580767 h 734237"/>
                <a:gd name="connsiteX1669" fmla="*/ 891238 w 1472512"/>
                <a:gd name="connsiteY1669" fmla="*/ 580390 h 734237"/>
                <a:gd name="connsiteX1670" fmla="*/ 892147 w 1472512"/>
                <a:gd name="connsiteY1670" fmla="*/ 579418 h 734237"/>
                <a:gd name="connsiteX1671" fmla="*/ 893932 w 1472512"/>
                <a:gd name="connsiteY1671" fmla="*/ 580185 h 734237"/>
                <a:gd name="connsiteX1672" fmla="*/ 893996 w 1472512"/>
                <a:gd name="connsiteY1672" fmla="*/ 580952 h 734237"/>
                <a:gd name="connsiteX1673" fmla="*/ 892729 w 1472512"/>
                <a:gd name="connsiteY1673" fmla="*/ 582035 h 734237"/>
                <a:gd name="connsiteX1674" fmla="*/ 891133 w 1472512"/>
                <a:gd name="connsiteY1674" fmla="*/ 582946 h 734237"/>
                <a:gd name="connsiteX1675" fmla="*/ 890166 w 1472512"/>
                <a:gd name="connsiteY1675" fmla="*/ 584019 h 734237"/>
                <a:gd name="connsiteX1676" fmla="*/ 891986 w 1472512"/>
                <a:gd name="connsiteY1676" fmla="*/ 586181 h 734237"/>
                <a:gd name="connsiteX1677" fmla="*/ 894847 w 1472512"/>
                <a:gd name="connsiteY1677" fmla="*/ 586908 h 734237"/>
                <a:gd name="connsiteX1678" fmla="*/ 895922 w 1472512"/>
                <a:gd name="connsiteY1678" fmla="*/ 586594 h 734237"/>
                <a:gd name="connsiteX1679" fmla="*/ 896589 w 1472512"/>
                <a:gd name="connsiteY1679" fmla="*/ 584164 h 734237"/>
                <a:gd name="connsiteX1680" fmla="*/ 898348 w 1472512"/>
                <a:gd name="connsiteY1680" fmla="*/ 582598 h 734237"/>
                <a:gd name="connsiteX1681" fmla="*/ 900738 w 1472512"/>
                <a:gd name="connsiteY1681" fmla="*/ 582936 h 734237"/>
                <a:gd name="connsiteX1682" fmla="*/ 900398 w 1472512"/>
                <a:gd name="connsiteY1682" fmla="*/ 583919 h 734237"/>
                <a:gd name="connsiteX1683" fmla="*/ 900733 w 1472512"/>
                <a:gd name="connsiteY1683" fmla="*/ 584845 h 734237"/>
                <a:gd name="connsiteX1684" fmla="*/ 901832 w 1472512"/>
                <a:gd name="connsiteY1684" fmla="*/ 586428 h 734237"/>
                <a:gd name="connsiteX1685" fmla="*/ 901706 w 1472512"/>
                <a:gd name="connsiteY1685" fmla="*/ 588694 h 734237"/>
                <a:gd name="connsiteX1686" fmla="*/ 901919 w 1472512"/>
                <a:gd name="connsiteY1686" fmla="*/ 589239 h 734237"/>
                <a:gd name="connsiteX1687" fmla="*/ 899343 w 1472512"/>
                <a:gd name="connsiteY1687" fmla="*/ 590240 h 734237"/>
                <a:gd name="connsiteX1688" fmla="*/ 897423 w 1472512"/>
                <a:gd name="connsiteY1688" fmla="*/ 590579 h 734237"/>
                <a:gd name="connsiteX1689" fmla="*/ 895888 w 1472512"/>
                <a:gd name="connsiteY1689" fmla="*/ 591887 h 734237"/>
                <a:gd name="connsiteX1690" fmla="*/ 896692 w 1472512"/>
                <a:gd name="connsiteY1690" fmla="*/ 592647 h 734237"/>
                <a:gd name="connsiteX1691" fmla="*/ 895127 w 1472512"/>
                <a:gd name="connsiteY1691" fmla="*/ 593313 h 734237"/>
                <a:gd name="connsiteX1692" fmla="*/ 894071 w 1472512"/>
                <a:gd name="connsiteY1692" fmla="*/ 593046 h 734237"/>
                <a:gd name="connsiteX1693" fmla="*/ 893538 w 1472512"/>
                <a:gd name="connsiteY1693" fmla="*/ 593293 h 734237"/>
                <a:gd name="connsiteX1694" fmla="*/ 893379 w 1472512"/>
                <a:gd name="connsiteY1694" fmla="*/ 594096 h 734237"/>
                <a:gd name="connsiteX1695" fmla="*/ 892571 w 1472512"/>
                <a:gd name="connsiteY1695" fmla="*/ 594842 h 734237"/>
                <a:gd name="connsiteX1696" fmla="*/ 893747 w 1472512"/>
                <a:gd name="connsiteY1696" fmla="*/ 597087 h 734237"/>
                <a:gd name="connsiteX1697" fmla="*/ 896157 w 1472512"/>
                <a:gd name="connsiteY1697" fmla="*/ 598552 h 734237"/>
                <a:gd name="connsiteX1698" fmla="*/ 897857 w 1472512"/>
                <a:gd name="connsiteY1698" fmla="*/ 600387 h 734237"/>
                <a:gd name="connsiteX1699" fmla="*/ 904693 w 1472512"/>
                <a:gd name="connsiteY1699" fmla="*/ 602804 h 734237"/>
                <a:gd name="connsiteX1700" fmla="*/ 906349 w 1472512"/>
                <a:gd name="connsiteY1700" fmla="*/ 602736 h 734237"/>
                <a:gd name="connsiteX1701" fmla="*/ 907980 w 1472512"/>
                <a:gd name="connsiteY1701" fmla="*/ 605166 h 734237"/>
                <a:gd name="connsiteX1702" fmla="*/ 909295 w 1472512"/>
                <a:gd name="connsiteY1702" fmla="*/ 606002 h 734237"/>
                <a:gd name="connsiteX1703" fmla="*/ 910559 w 1472512"/>
                <a:gd name="connsiteY1703" fmla="*/ 606427 h 734237"/>
                <a:gd name="connsiteX1704" fmla="*/ 910415 w 1472512"/>
                <a:gd name="connsiteY1704" fmla="*/ 608099 h 734237"/>
                <a:gd name="connsiteX1705" fmla="*/ 908167 w 1472512"/>
                <a:gd name="connsiteY1705" fmla="*/ 609321 h 734237"/>
                <a:gd name="connsiteX1706" fmla="*/ 907559 w 1472512"/>
                <a:gd name="connsiteY1706" fmla="*/ 610780 h 734237"/>
                <a:gd name="connsiteX1707" fmla="*/ 906993 w 1472512"/>
                <a:gd name="connsiteY1707" fmla="*/ 611600 h 734237"/>
                <a:gd name="connsiteX1708" fmla="*/ 905979 w 1472512"/>
                <a:gd name="connsiteY1708" fmla="*/ 610562 h 734237"/>
                <a:gd name="connsiteX1709" fmla="*/ 904938 w 1472512"/>
                <a:gd name="connsiteY1709" fmla="*/ 609809 h 734237"/>
                <a:gd name="connsiteX1710" fmla="*/ 902529 w 1472512"/>
                <a:gd name="connsiteY1710" fmla="*/ 612098 h 734237"/>
                <a:gd name="connsiteX1711" fmla="*/ 901366 w 1472512"/>
                <a:gd name="connsiteY1711" fmla="*/ 612580 h 734237"/>
                <a:gd name="connsiteX1712" fmla="*/ 901942 w 1472512"/>
                <a:gd name="connsiteY1712" fmla="*/ 610112 h 734237"/>
                <a:gd name="connsiteX1713" fmla="*/ 901032 w 1472512"/>
                <a:gd name="connsiteY1713" fmla="*/ 609145 h 734237"/>
                <a:gd name="connsiteX1714" fmla="*/ 899656 w 1472512"/>
                <a:gd name="connsiteY1714" fmla="*/ 606669 h 734237"/>
                <a:gd name="connsiteX1715" fmla="*/ 897651 w 1472512"/>
                <a:gd name="connsiteY1715" fmla="*/ 605138 h 734237"/>
                <a:gd name="connsiteX1716" fmla="*/ 896237 w 1472512"/>
                <a:gd name="connsiteY1716" fmla="*/ 604631 h 734237"/>
                <a:gd name="connsiteX1717" fmla="*/ 895138 w 1472512"/>
                <a:gd name="connsiteY1717" fmla="*/ 603660 h 734237"/>
                <a:gd name="connsiteX1718" fmla="*/ 893806 w 1472512"/>
                <a:gd name="connsiteY1718" fmla="*/ 603268 h 734237"/>
                <a:gd name="connsiteX1719" fmla="*/ 892671 w 1472512"/>
                <a:gd name="connsiteY1719" fmla="*/ 603368 h 734237"/>
                <a:gd name="connsiteX1720" fmla="*/ 890747 w 1472512"/>
                <a:gd name="connsiteY1720" fmla="*/ 602804 h 734237"/>
                <a:gd name="connsiteX1721" fmla="*/ 890620 w 1472512"/>
                <a:gd name="connsiteY1721" fmla="*/ 601485 h 734237"/>
                <a:gd name="connsiteX1722" fmla="*/ 890087 w 1472512"/>
                <a:gd name="connsiteY1722" fmla="*/ 600498 h 734237"/>
                <a:gd name="connsiteX1723" fmla="*/ 888582 w 1472512"/>
                <a:gd name="connsiteY1723" fmla="*/ 599332 h 734237"/>
                <a:gd name="connsiteX1724" fmla="*/ 881393 w 1472512"/>
                <a:gd name="connsiteY1724" fmla="*/ 597129 h 734237"/>
                <a:gd name="connsiteX1725" fmla="*/ 881349 w 1472512"/>
                <a:gd name="connsiteY1725" fmla="*/ 598041 h 734237"/>
                <a:gd name="connsiteX1726" fmla="*/ 881847 w 1472512"/>
                <a:gd name="connsiteY1726" fmla="*/ 598727 h 734237"/>
                <a:gd name="connsiteX1727" fmla="*/ 882880 w 1472512"/>
                <a:gd name="connsiteY1727" fmla="*/ 599184 h 734237"/>
                <a:gd name="connsiteX1728" fmla="*/ 884116 w 1472512"/>
                <a:gd name="connsiteY1728" fmla="*/ 600073 h 734237"/>
                <a:gd name="connsiteX1729" fmla="*/ 884104 w 1472512"/>
                <a:gd name="connsiteY1729" fmla="*/ 602704 h 734237"/>
                <a:gd name="connsiteX1730" fmla="*/ 883571 w 1472512"/>
                <a:gd name="connsiteY1730" fmla="*/ 603817 h 734237"/>
                <a:gd name="connsiteX1731" fmla="*/ 883340 w 1472512"/>
                <a:gd name="connsiteY1731" fmla="*/ 605403 h 734237"/>
                <a:gd name="connsiteX1732" fmla="*/ 882866 w 1472512"/>
                <a:gd name="connsiteY1732" fmla="*/ 607013 h 734237"/>
                <a:gd name="connsiteX1733" fmla="*/ 881985 w 1472512"/>
                <a:gd name="connsiteY1733" fmla="*/ 608282 h 734237"/>
                <a:gd name="connsiteX1734" fmla="*/ 880022 w 1472512"/>
                <a:gd name="connsiteY1734" fmla="*/ 609148 h 734237"/>
                <a:gd name="connsiteX1735" fmla="*/ 879156 w 1472512"/>
                <a:gd name="connsiteY1735" fmla="*/ 608424 h 734237"/>
                <a:gd name="connsiteX1736" fmla="*/ 877757 w 1472512"/>
                <a:gd name="connsiteY1736" fmla="*/ 604956 h 734237"/>
                <a:gd name="connsiteX1737" fmla="*/ 875777 w 1472512"/>
                <a:gd name="connsiteY1737" fmla="*/ 603863 h 734237"/>
                <a:gd name="connsiteX1738" fmla="*/ 872632 w 1472512"/>
                <a:gd name="connsiteY1738" fmla="*/ 603735 h 734237"/>
                <a:gd name="connsiteX1739" fmla="*/ 870496 w 1472512"/>
                <a:gd name="connsiteY1739" fmla="*/ 604518 h 734237"/>
                <a:gd name="connsiteX1740" fmla="*/ 868168 w 1472512"/>
                <a:gd name="connsiteY1740" fmla="*/ 607879 h 734237"/>
                <a:gd name="connsiteX1741" fmla="*/ 866292 w 1472512"/>
                <a:gd name="connsiteY1741" fmla="*/ 608428 h 734237"/>
                <a:gd name="connsiteX1742" fmla="*/ 859872 w 1472512"/>
                <a:gd name="connsiteY1742" fmla="*/ 606687 h 734237"/>
                <a:gd name="connsiteX1743" fmla="*/ 852539 w 1472512"/>
                <a:gd name="connsiteY1743" fmla="*/ 604034 h 734237"/>
                <a:gd name="connsiteX1744" fmla="*/ 852729 w 1472512"/>
                <a:gd name="connsiteY1744" fmla="*/ 603150 h 734237"/>
                <a:gd name="connsiteX1745" fmla="*/ 853882 w 1472512"/>
                <a:gd name="connsiteY1745" fmla="*/ 602866 h 734237"/>
                <a:gd name="connsiteX1746" fmla="*/ 856094 w 1472512"/>
                <a:gd name="connsiteY1746" fmla="*/ 603229 h 734237"/>
                <a:gd name="connsiteX1747" fmla="*/ 855977 w 1472512"/>
                <a:gd name="connsiteY1747" fmla="*/ 602318 h 734237"/>
                <a:gd name="connsiteX1748" fmla="*/ 853717 w 1472512"/>
                <a:gd name="connsiteY1748" fmla="*/ 599351 h 734237"/>
                <a:gd name="connsiteX1749" fmla="*/ 853302 w 1472512"/>
                <a:gd name="connsiteY1749" fmla="*/ 598011 h 734237"/>
                <a:gd name="connsiteX1750" fmla="*/ 853593 w 1472512"/>
                <a:gd name="connsiteY1750" fmla="*/ 596375 h 734237"/>
                <a:gd name="connsiteX1751" fmla="*/ 852856 w 1472512"/>
                <a:gd name="connsiteY1751" fmla="*/ 596411 h 734237"/>
                <a:gd name="connsiteX1752" fmla="*/ 851499 w 1472512"/>
                <a:gd name="connsiteY1752" fmla="*/ 597785 h 734237"/>
                <a:gd name="connsiteX1753" fmla="*/ 846824 w 1472512"/>
                <a:gd name="connsiteY1753" fmla="*/ 596621 h 734237"/>
                <a:gd name="connsiteX1754" fmla="*/ 845533 w 1472512"/>
                <a:gd name="connsiteY1754" fmla="*/ 595230 h 734237"/>
                <a:gd name="connsiteX1755" fmla="*/ 842786 w 1472512"/>
                <a:gd name="connsiteY1755" fmla="*/ 591307 h 734237"/>
                <a:gd name="connsiteX1756" fmla="*/ 838910 w 1472512"/>
                <a:gd name="connsiteY1756" fmla="*/ 591179 h 734237"/>
                <a:gd name="connsiteX1757" fmla="*/ 837156 w 1472512"/>
                <a:gd name="connsiteY1757" fmla="*/ 588799 h 734237"/>
                <a:gd name="connsiteX1758" fmla="*/ 833988 w 1472512"/>
                <a:gd name="connsiteY1758" fmla="*/ 589796 h 734237"/>
                <a:gd name="connsiteX1759" fmla="*/ 832385 w 1472512"/>
                <a:gd name="connsiteY1759" fmla="*/ 590898 h 734237"/>
                <a:gd name="connsiteX1760" fmla="*/ 830975 w 1472512"/>
                <a:gd name="connsiteY1760" fmla="*/ 592608 h 734237"/>
                <a:gd name="connsiteX1761" fmla="*/ 831523 w 1472512"/>
                <a:gd name="connsiteY1761" fmla="*/ 593493 h 734237"/>
                <a:gd name="connsiteX1762" fmla="*/ 832929 w 1472512"/>
                <a:gd name="connsiteY1762" fmla="*/ 594899 h 734237"/>
                <a:gd name="connsiteX1763" fmla="*/ 832288 w 1472512"/>
                <a:gd name="connsiteY1763" fmla="*/ 595577 h 734237"/>
                <a:gd name="connsiteX1764" fmla="*/ 827777 w 1472512"/>
                <a:gd name="connsiteY1764" fmla="*/ 596580 h 734237"/>
                <a:gd name="connsiteX1765" fmla="*/ 817306 w 1472512"/>
                <a:gd name="connsiteY1765" fmla="*/ 595460 h 734237"/>
                <a:gd name="connsiteX1766" fmla="*/ 814244 w 1472512"/>
                <a:gd name="connsiteY1766" fmla="*/ 594412 h 734237"/>
                <a:gd name="connsiteX1767" fmla="*/ 810135 w 1472512"/>
                <a:gd name="connsiteY1767" fmla="*/ 592198 h 734237"/>
                <a:gd name="connsiteX1768" fmla="*/ 804439 w 1472512"/>
                <a:gd name="connsiteY1768" fmla="*/ 590391 h 734237"/>
                <a:gd name="connsiteX1769" fmla="*/ 801696 w 1472512"/>
                <a:gd name="connsiteY1769" fmla="*/ 590099 h 734237"/>
                <a:gd name="connsiteX1770" fmla="*/ 799012 w 1472512"/>
                <a:gd name="connsiteY1770" fmla="*/ 590458 h 734237"/>
                <a:gd name="connsiteX1771" fmla="*/ 791197 w 1472512"/>
                <a:gd name="connsiteY1771" fmla="*/ 590643 h 734237"/>
                <a:gd name="connsiteX1772" fmla="*/ 789383 w 1472512"/>
                <a:gd name="connsiteY1772" fmla="*/ 591124 h 734237"/>
                <a:gd name="connsiteX1773" fmla="*/ 787838 w 1472512"/>
                <a:gd name="connsiteY1773" fmla="*/ 591890 h 734237"/>
                <a:gd name="connsiteX1774" fmla="*/ 786836 w 1472512"/>
                <a:gd name="connsiteY1774" fmla="*/ 591041 h 734237"/>
                <a:gd name="connsiteX1775" fmla="*/ 786372 w 1472512"/>
                <a:gd name="connsiteY1775" fmla="*/ 589525 h 734237"/>
                <a:gd name="connsiteX1776" fmla="*/ 787280 w 1472512"/>
                <a:gd name="connsiteY1776" fmla="*/ 589278 h 734237"/>
                <a:gd name="connsiteX1777" fmla="*/ 788289 w 1472512"/>
                <a:gd name="connsiteY1777" fmla="*/ 588386 h 734237"/>
                <a:gd name="connsiteX1778" fmla="*/ 789199 w 1472512"/>
                <a:gd name="connsiteY1778" fmla="*/ 586622 h 734237"/>
                <a:gd name="connsiteX1779" fmla="*/ 789303 w 1472512"/>
                <a:gd name="connsiteY1779" fmla="*/ 585555 h 734237"/>
                <a:gd name="connsiteX1780" fmla="*/ 788666 w 1472512"/>
                <a:gd name="connsiteY1780" fmla="*/ 584858 h 734237"/>
                <a:gd name="connsiteX1781" fmla="*/ 787456 w 1472512"/>
                <a:gd name="connsiteY1781" fmla="*/ 584788 h 734237"/>
                <a:gd name="connsiteX1782" fmla="*/ 784781 w 1472512"/>
                <a:gd name="connsiteY1782" fmla="*/ 589386 h 734237"/>
                <a:gd name="connsiteX1783" fmla="*/ 786309 w 1472512"/>
                <a:gd name="connsiteY1783" fmla="*/ 591960 h 734237"/>
                <a:gd name="connsiteX1784" fmla="*/ 786204 w 1472512"/>
                <a:gd name="connsiteY1784" fmla="*/ 592888 h 734237"/>
                <a:gd name="connsiteX1785" fmla="*/ 780868 w 1472512"/>
                <a:gd name="connsiteY1785" fmla="*/ 593417 h 734237"/>
                <a:gd name="connsiteX1786" fmla="*/ 768756 w 1472512"/>
                <a:gd name="connsiteY1786" fmla="*/ 598594 h 734237"/>
                <a:gd name="connsiteX1787" fmla="*/ 764033 w 1472512"/>
                <a:gd name="connsiteY1787" fmla="*/ 601383 h 734237"/>
                <a:gd name="connsiteX1788" fmla="*/ 764274 w 1472512"/>
                <a:gd name="connsiteY1788" fmla="*/ 600445 h 734237"/>
                <a:gd name="connsiteX1789" fmla="*/ 769986 w 1472512"/>
                <a:gd name="connsiteY1789" fmla="*/ 596828 h 734237"/>
                <a:gd name="connsiteX1790" fmla="*/ 767970 w 1472512"/>
                <a:gd name="connsiteY1790" fmla="*/ 596275 h 734237"/>
                <a:gd name="connsiteX1791" fmla="*/ 764722 w 1472512"/>
                <a:gd name="connsiteY1791" fmla="*/ 597179 h 734237"/>
                <a:gd name="connsiteX1792" fmla="*/ 763557 w 1472512"/>
                <a:gd name="connsiteY1792" fmla="*/ 596831 h 734237"/>
                <a:gd name="connsiteX1793" fmla="*/ 764933 w 1472512"/>
                <a:gd name="connsiteY1793" fmla="*/ 593838 h 734237"/>
                <a:gd name="connsiteX1794" fmla="*/ 764485 w 1472512"/>
                <a:gd name="connsiteY1794" fmla="*/ 591198 h 734237"/>
                <a:gd name="connsiteX1795" fmla="*/ 762178 w 1472512"/>
                <a:gd name="connsiteY1795" fmla="*/ 591126 h 734237"/>
                <a:gd name="connsiteX1796" fmla="*/ 760710 w 1472512"/>
                <a:gd name="connsiteY1796" fmla="*/ 593234 h 734237"/>
                <a:gd name="connsiteX1797" fmla="*/ 759690 w 1472512"/>
                <a:gd name="connsiteY1797" fmla="*/ 593145 h 734237"/>
                <a:gd name="connsiteX1798" fmla="*/ 758353 w 1472512"/>
                <a:gd name="connsiteY1798" fmla="*/ 592240 h 734237"/>
                <a:gd name="connsiteX1799" fmla="*/ 757317 w 1472512"/>
                <a:gd name="connsiteY1799" fmla="*/ 592526 h 734237"/>
                <a:gd name="connsiteX1800" fmla="*/ 758084 w 1472512"/>
                <a:gd name="connsiteY1800" fmla="*/ 597302 h 734237"/>
                <a:gd name="connsiteX1801" fmla="*/ 759536 w 1472512"/>
                <a:gd name="connsiteY1801" fmla="*/ 599264 h 734237"/>
                <a:gd name="connsiteX1802" fmla="*/ 760751 w 1472512"/>
                <a:gd name="connsiteY1802" fmla="*/ 601765 h 734237"/>
                <a:gd name="connsiteX1803" fmla="*/ 757434 w 1472512"/>
                <a:gd name="connsiteY1803" fmla="*/ 604854 h 734237"/>
                <a:gd name="connsiteX1804" fmla="*/ 754354 w 1472512"/>
                <a:gd name="connsiteY1804" fmla="*/ 607401 h 734237"/>
                <a:gd name="connsiteX1805" fmla="*/ 754020 w 1472512"/>
                <a:gd name="connsiteY1805" fmla="*/ 609861 h 734237"/>
                <a:gd name="connsiteX1806" fmla="*/ 750924 w 1472512"/>
                <a:gd name="connsiteY1806" fmla="*/ 613064 h 734237"/>
                <a:gd name="connsiteX1807" fmla="*/ 748012 w 1472512"/>
                <a:gd name="connsiteY1807" fmla="*/ 614879 h 734237"/>
                <a:gd name="connsiteX1808" fmla="*/ 741170 w 1472512"/>
                <a:gd name="connsiteY1808" fmla="*/ 619143 h 734237"/>
                <a:gd name="connsiteX1809" fmla="*/ 739217 w 1472512"/>
                <a:gd name="connsiteY1809" fmla="*/ 620055 h 734237"/>
                <a:gd name="connsiteX1810" fmla="*/ 736131 w 1472512"/>
                <a:gd name="connsiteY1810" fmla="*/ 622033 h 734237"/>
                <a:gd name="connsiteX1811" fmla="*/ 731870 w 1472512"/>
                <a:gd name="connsiteY1811" fmla="*/ 623515 h 734237"/>
                <a:gd name="connsiteX1812" fmla="*/ 727786 w 1472512"/>
                <a:gd name="connsiteY1812" fmla="*/ 625866 h 734237"/>
                <a:gd name="connsiteX1813" fmla="*/ 726408 w 1472512"/>
                <a:gd name="connsiteY1813" fmla="*/ 626223 h 734237"/>
                <a:gd name="connsiteX1814" fmla="*/ 729016 w 1472512"/>
                <a:gd name="connsiteY1814" fmla="*/ 624233 h 734237"/>
                <a:gd name="connsiteX1815" fmla="*/ 732109 w 1472512"/>
                <a:gd name="connsiteY1815" fmla="*/ 622265 h 734237"/>
                <a:gd name="connsiteX1816" fmla="*/ 729457 w 1472512"/>
                <a:gd name="connsiteY1816" fmla="*/ 622535 h 734237"/>
                <a:gd name="connsiteX1817" fmla="*/ 725367 w 1472512"/>
                <a:gd name="connsiteY1817" fmla="*/ 621623 h 734237"/>
                <a:gd name="connsiteX1818" fmla="*/ 722865 w 1472512"/>
                <a:gd name="connsiteY1818" fmla="*/ 621570 h 734237"/>
                <a:gd name="connsiteX1819" fmla="*/ 722847 w 1472512"/>
                <a:gd name="connsiteY1819" fmla="*/ 622288 h 734237"/>
                <a:gd name="connsiteX1820" fmla="*/ 720943 w 1472512"/>
                <a:gd name="connsiteY1820" fmla="*/ 623302 h 734237"/>
                <a:gd name="connsiteX1821" fmla="*/ 718972 w 1472512"/>
                <a:gd name="connsiteY1821" fmla="*/ 621812 h 734237"/>
                <a:gd name="connsiteX1822" fmla="*/ 718112 w 1472512"/>
                <a:gd name="connsiteY1822" fmla="*/ 620809 h 734237"/>
                <a:gd name="connsiteX1823" fmla="*/ 717705 w 1472512"/>
                <a:gd name="connsiteY1823" fmla="*/ 619944 h 734237"/>
                <a:gd name="connsiteX1824" fmla="*/ 716868 w 1472512"/>
                <a:gd name="connsiteY1824" fmla="*/ 619735 h 734237"/>
                <a:gd name="connsiteX1825" fmla="*/ 716064 w 1472512"/>
                <a:gd name="connsiteY1825" fmla="*/ 620136 h 734237"/>
                <a:gd name="connsiteX1826" fmla="*/ 719007 w 1472512"/>
                <a:gd name="connsiteY1826" fmla="*/ 626230 h 734237"/>
                <a:gd name="connsiteX1827" fmla="*/ 720260 w 1472512"/>
                <a:gd name="connsiteY1827" fmla="*/ 626493 h 734237"/>
                <a:gd name="connsiteX1828" fmla="*/ 721649 w 1472512"/>
                <a:gd name="connsiteY1828" fmla="*/ 627098 h 734237"/>
                <a:gd name="connsiteX1829" fmla="*/ 719921 w 1472512"/>
                <a:gd name="connsiteY1829" fmla="*/ 628518 h 734237"/>
                <a:gd name="connsiteX1830" fmla="*/ 718062 w 1472512"/>
                <a:gd name="connsiteY1830" fmla="*/ 629592 h 734237"/>
                <a:gd name="connsiteX1831" fmla="*/ 715136 w 1472512"/>
                <a:gd name="connsiteY1831" fmla="*/ 630307 h 734237"/>
                <a:gd name="connsiteX1832" fmla="*/ 712659 w 1472512"/>
                <a:gd name="connsiteY1832" fmla="*/ 628086 h 734237"/>
                <a:gd name="connsiteX1833" fmla="*/ 712121 w 1472512"/>
                <a:gd name="connsiteY1833" fmla="*/ 630872 h 734237"/>
                <a:gd name="connsiteX1834" fmla="*/ 711806 w 1472512"/>
                <a:gd name="connsiteY1834" fmla="*/ 633654 h 734237"/>
                <a:gd name="connsiteX1835" fmla="*/ 710974 w 1472512"/>
                <a:gd name="connsiteY1835" fmla="*/ 634368 h 734237"/>
                <a:gd name="connsiteX1836" fmla="*/ 709645 w 1472512"/>
                <a:gd name="connsiteY1836" fmla="*/ 635384 h 734237"/>
                <a:gd name="connsiteX1837" fmla="*/ 708925 w 1472512"/>
                <a:gd name="connsiteY1837" fmla="*/ 634617 h 734237"/>
                <a:gd name="connsiteX1838" fmla="*/ 708582 w 1472512"/>
                <a:gd name="connsiteY1838" fmla="*/ 633541 h 734237"/>
                <a:gd name="connsiteX1839" fmla="*/ 707732 w 1472512"/>
                <a:gd name="connsiteY1839" fmla="*/ 634502 h 734237"/>
                <a:gd name="connsiteX1840" fmla="*/ 706486 w 1472512"/>
                <a:gd name="connsiteY1840" fmla="*/ 635221 h 734237"/>
                <a:gd name="connsiteX1841" fmla="*/ 704431 w 1472512"/>
                <a:gd name="connsiteY1841" fmla="*/ 635365 h 734237"/>
                <a:gd name="connsiteX1842" fmla="*/ 702889 w 1472512"/>
                <a:gd name="connsiteY1842" fmla="*/ 635749 h 734237"/>
                <a:gd name="connsiteX1843" fmla="*/ 702925 w 1472512"/>
                <a:gd name="connsiteY1843" fmla="*/ 636901 h 734237"/>
                <a:gd name="connsiteX1844" fmla="*/ 703278 w 1472512"/>
                <a:gd name="connsiteY1844" fmla="*/ 638057 h 734237"/>
                <a:gd name="connsiteX1845" fmla="*/ 706004 w 1472512"/>
                <a:gd name="connsiteY1845" fmla="*/ 637144 h 734237"/>
                <a:gd name="connsiteX1846" fmla="*/ 705017 w 1472512"/>
                <a:gd name="connsiteY1846" fmla="*/ 640118 h 734237"/>
                <a:gd name="connsiteX1847" fmla="*/ 702507 w 1472512"/>
                <a:gd name="connsiteY1847" fmla="*/ 643054 h 734237"/>
                <a:gd name="connsiteX1848" fmla="*/ 700464 w 1472512"/>
                <a:gd name="connsiteY1848" fmla="*/ 643748 h 734237"/>
                <a:gd name="connsiteX1849" fmla="*/ 697337 w 1472512"/>
                <a:gd name="connsiteY1849" fmla="*/ 643319 h 734237"/>
                <a:gd name="connsiteX1850" fmla="*/ 696565 w 1472512"/>
                <a:gd name="connsiteY1850" fmla="*/ 643614 h 734237"/>
                <a:gd name="connsiteX1851" fmla="*/ 695873 w 1472512"/>
                <a:gd name="connsiteY1851" fmla="*/ 644223 h 734237"/>
                <a:gd name="connsiteX1852" fmla="*/ 699515 w 1472512"/>
                <a:gd name="connsiteY1852" fmla="*/ 648814 h 734237"/>
                <a:gd name="connsiteX1853" fmla="*/ 697174 w 1472512"/>
                <a:gd name="connsiteY1853" fmla="*/ 655729 h 734237"/>
                <a:gd name="connsiteX1854" fmla="*/ 695679 w 1472512"/>
                <a:gd name="connsiteY1854" fmla="*/ 658233 h 734237"/>
                <a:gd name="connsiteX1855" fmla="*/ 694641 w 1472512"/>
                <a:gd name="connsiteY1855" fmla="*/ 658553 h 734237"/>
                <a:gd name="connsiteX1856" fmla="*/ 693516 w 1472512"/>
                <a:gd name="connsiteY1856" fmla="*/ 658626 h 734237"/>
                <a:gd name="connsiteX1857" fmla="*/ 689480 w 1472512"/>
                <a:gd name="connsiteY1857" fmla="*/ 656401 h 734237"/>
                <a:gd name="connsiteX1858" fmla="*/ 687278 w 1472512"/>
                <a:gd name="connsiteY1858" fmla="*/ 654679 h 734237"/>
                <a:gd name="connsiteX1859" fmla="*/ 689217 w 1472512"/>
                <a:gd name="connsiteY1859" fmla="*/ 659363 h 734237"/>
                <a:gd name="connsiteX1860" fmla="*/ 694506 w 1472512"/>
                <a:gd name="connsiteY1860" fmla="*/ 660730 h 734237"/>
                <a:gd name="connsiteX1861" fmla="*/ 694776 w 1472512"/>
                <a:gd name="connsiteY1861" fmla="*/ 662499 h 734237"/>
                <a:gd name="connsiteX1862" fmla="*/ 694747 w 1472512"/>
                <a:gd name="connsiteY1862" fmla="*/ 664013 h 734237"/>
                <a:gd name="connsiteX1863" fmla="*/ 693704 w 1472512"/>
                <a:gd name="connsiteY1863" fmla="*/ 665786 h 734237"/>
                <a:gd name="connsiteX1864" fmla="*/ 692731 w 1472512"/>
                <a:gd name="connsiteY1864" fmla="*/ 668143 h 734237"/>
                <a:gd name="connsiteX1865" fmla="*/ 693450 w 1472512"/>
                <a:gd name="connsiteY1865" fmla="*/ 669784 h 734237"/>
                <a:gd name="connsiteX1866" fmla="*/ 694284 w 1472512"/>
                <a:gd name="connsiteY1866" fmla="*/ 673838 h 734237"/>
                <a:gd name="connsiteX1867" fmla="*/ 694998 w 1472512"/>
                <a:gd name="connsiteY1867" fmla="*/ 675698 h 734237"/>
                <a:gd name="connsiteX1868" fmla="*/ 695782 w 1472512"/>
                <a:gd name="connsiteY1868" fmla="*/ 681335 h 734237"/>
                <a:gd name="connsiteX1869" fmla="*/ 696618 w 1472512"/>
                <a:gd name="connsiteY1869" fmla="*/ 683777 h 734237"/>
                <a:gd name="connsiteX1870" fmla="*/ 701424 w 1472512"/>
                <a:gd name="connsiteY1870" fmla="*/ 692757 h 734237"/>
                <a:gd name="connsiteX1871" fmla="*/ 703045 w 1472512"/>
                <a:gd name="connsiteY1871" fmla="*/ 692826 h 734237"/>
                <a:gd name="connsiteX1872" fmla="*/ 703305 w 1472512"/>
                <a:gd name="connsiteY1872" fmla="*/ 693798 h 734237"/>
                <a:gd name="connsiteX1873" fmla="*/ 703150 w 1472512"/>
                <a:gd name="connsiteY1873" fmla="*/ 695661 h 734237"/>
                <a:gd name="connsiteX1874" fmla="*/ 699692 w 1472512"/>
                <a:gd name="connsiteY1874" fmla="*/ 696202 h 734237"/>
                <a:gd name="connsiteX1875" fmla="*/ 698242 w 1472512"/>
                <a:gd name="connsiteY1875" fmla="*/ 697032 h 734237"/>
                <a:gd name="connsiteX1876" fmla="*/ 697958 w 1472512"/>
                <a:gd name="connsiteY1876" fmla="*/ 697754 h 734237"/>
                <a:gd name="connsiteX1877" fmla="*/ 697745 w 1472512"/>
                <a:gd name="connsiteY1877" fmla="*/ 698142 h 734237"/>
                <a:gd name="connsiteX1878" fmla="*/ 697298 w 1472512"/>
                <a:gd name="connsiteY1878" fmla="*/ 698107 h 734237"/>
                <a:gd name="connsiteX1879" fmla="*/ 695649 w 1472512"/>
                <a:gd name="connsiteY1879" fmla="*/ 697588 h 734237"/>
                <a:gd name="connsiteX1880" fmla="*/ 691901 w 1472512"/>
                <a:gd name="connsiteY1880" fmla="*/ 695041 h 734237"/>
                <a:gd name="connsiteX1881" fmla="*/ 686437 w 1472512"/>
                <a:gd name="connsiteY1881" fmla="*/ 693462 h 734237"/>
                <a:gd name="connsiteX1882" fmla="*/ 679258 w 1472512"/>
                <a:gd name="connsiteY1882" fmla="*/ 692850 h 734237"/>
                <a:gd name="connsiteX1883" fmla="*/ 674354 w 1472512"/>
                <a:gd name="connsiteY1883" fmla="*/ 691575 h 734237"/>
                <a:gd name="connsiteX1884" fmla="*/ 671725 w 1472512"/>
                <a:gd name="connsiteY1884" fmla="*/ 689631 h 734237"/>
                <a:gd name="connsiteX1885" fmla="*/ 668975 w 1472512"/>
                <a:gd name="connsiteY1885" fmla="*/ 688478 h 734237"/>
                <a:gd name="connsiteX1886" fmla="*/ 666109 w 1472512"/>
                <a:gd name="connsiteY1886" fmla="*/ 688115 h 734237"/>
                <a:gd name="connsiteX1887" fmla="*/ 663733 w 1472512"/>
                <a:gd name="connsiteY1887" fmla="*/ 687060 h 734237"/>
                <a:gd name="connsiteX1888" fmla="*/ 661850 w 1472512"/>
                <a:gd name="connsiteY1888" fmla="*/ 685311 h 734237"/>
                <a:gd name="connsiteX1889" fmla="*/ 659096 w 1472512"/>
                <a:gd name="connsiteY1889" fmla="*/ 684194 h 734237"/>
                <a:gd name="connsiteX1890" fmla="*/ 655471 w 1472512"/>
                <a:gd name="connsiteY1890" fmla="*/ 683710 h 734237"/>
                <a:gd name="connsiteX1891" fmla="*/ 653112 w 1472512"/>
                <a:gd name="connsiteY1891" fmla="*/ 682399 h 734237"/>
                <a:gd name="connsiteX1892" fmla="*/ 651471 w 1472512"/>
                <a:gd name="connsiteY1892" fmla="*/ 679191 h 734237"/>
                <a:gd name="connsiteX1893" fmla="*/ 651464 w 1472512"/>
                <a:gd name="connsiteY1893" fmla="*/ 679143 h 734237"/>
                <a:gd name="connsiteX1894" fmla="*/ 649995 w 1472512"/>
                <a:gd name="connsiteY1894" fmla="*/ 673775 h 734237"/>
                <a:gd name="connsiteX1895" fmla="*/ 648145 w 1472512"/>
                <a:gd name="connsiteY1895" fmla="*/ 670409 h 734237"/>
                <a:gd name="connsiteX1896" fmla="*/ 644545 w 1472512"/>
                <a:gd name="connsiteY1896" fmla="*/ 666241 h 734237"/>
                <a:gd name="connsiteX1897" fmla="*/ 644215 w 1472512"/>
                <a:gd name="connsiteY1897" fmla="*/ 665693 h 734237"/>
                <a:gd name="connsiteX1898" fmla="*/ 644214 w 1472512"/>
                <a:gd name="connsiteY1898" fmla="*/ 665692 h 734237"/>
                <a:gd name="connsiteX1899" fmla="*/ 644184 w 1472512"/>
                <a:gd name="connsiteY1899" fmla="*/ 665006 h 734237"/>
                <a:gd name="connsiteX1900" fmla="*/ 644631 w 1472512"/>
                <a:gd name="connsiteY1900" fmla="*/ 662578 h 734237"/>
                <a:gd name="connsiteX1901" fmla="*/ 644251 w 1472512"/>
                <a:gd name="connsiteY1901" fmla="*/ 660831 h 734237"/>
                <a:gd name="connsiteX1902" fmla="*/ 643111 w 1472512"/>
                <a:gd name="connsiteY1902" fmla="*/ 659408 h 734237"/>
                <a:gd name="connsiteX1903" fmla="*/ 642850 w 1472512"/>
                <a:gd name="connsiteY1903" fmla="*/ 657901 h 734237"/>
                <a:gd name="connsiteX1904" fmla="*/ 643467 w 1472512"/>
                <a:gd name="connsiteY1904" fmla="*/ 656314 h 734237"/>
                <a:gd name="connsiteX1905" fmla="*/ 643507 w 1472512"/>
                <a:gd name="connsiteY1905" fmla="*/ 654407 h 734237"/>
                <a:gd name="connsiteX1906" fmla="*/ 642970 w 1472512"/>
                <a:gd name="connsiteY1906" fmla="*/ 652180 h 734237"/>
                <a:gd name="connsiteX1907" fmla="*/ 640675 w 1472512"/>
                <a:gd name="connsiteY1907" fmla="*/ 649770 h 734237"/>
                <a:gd name="connsiteX1908" fmla="*/ 636620 w 1472512"/>
                <a:gd name="connsiteY1908" fmla="*/ 647180 h 734237"/>
                <a:gd name="connsiteX1909" fmla="*/ 633166 w 1472512"/>
                <a:gd name="connsiteY1909" fmla="*/ 643393 h 734237"/>
                <a:gd name="connsiteX1910" fmla="*/ 630314 w 1472512"/>
                <a:gd name="connsiteY1910" fmla="*/ 638413 h 734237"/>
                <a:gd name="connsiteX1911" fmla="*/ 627495 w 1472512"/>
                <a:gd name="connsiteY1911" fmla="*/ 634960 h 734237"/>
                <a:gd name="connsiteX1912" fmla="*/ 624706 w 1472512"/>
                <a:gd name="connsiteY1912" fmla="*/ 633034 h 734237"/>
                <a:gd name="connsiteX1913" fmla="*/ 622799 w 1472512"/>
                <a:gd name="connsiteY1913" fmla="*/ 630684 h 734237"/>
                <a:gd name="connsiteX1914" fmla="*/ 621772 w 1472512"/>
                <a:gd name="connsiteY1914" fmla="*/ 627906 h 734237"/>
                <a:gd name="connsiteX1915" fmla="*/ 621470 w 1472512"/>
                <a:gd name="connsiteY1915" fmla="*/ 626293 h 734237"/>
                <a:gd name="connsiteX1916" fmla="*/ 621888 w 1472512"/>
                <a:gd name="connsiteY1916" fmla="*/ 625848 h 734237"/>
                <a:gd name="connsiteX1917" fmla="*/ 620175 w 1472512"/>
                <a:gd name="connsiteY1917" fmla="*/ 622756 h 734237"/>
                <a:gd name="connsiteX1918" fmla="*/ 616328 w 1472512"/>
                <a:gd name="connsiteY1918" fmla="*/ 617018 h 734237"/>
                <a:gd name="connsiteX1919" fmla="*/ 614117 w 1472512"/>
                <a:gd name="connsiteY1919" fmla="*/ 612816 h 734237"/>
                <a:gd name="connsiteX1920" fmla="*/ 613549 w 1472512"/>
                <a:gd name="connsiteY1920" fmla="*/ 610158 h 734237"/>
                <a:gd name="connsiteX1921" fmla="*/ 611101 w 1472512"/>
                <a:gd name="connsiteY1921" fmla="*/ 606992 h 734237"/>
                <a:gd name="connsiteX1922" fmla="*/ 606777 w 1472512"/>
                <a:gd name="connsiteY1922" fmla="*/ 603319 h 734237"/>
                <a:gd name="connsiteX1923" fmla="*/ 604425 w 1472512"/>
                <a:gd name="connsiteY1923" fmla="*/ 600928 h 734237"/>
                <a:gd name="connsiteX1924" fmla="*/ 603855 w 1472512"/>
                <a:gd name="connsiteY1924" fmla="*/ 599269 h 734237"/>
                <a:gd name="connsiteX1925" fmla="*/ 603846 w 1472512"/>
                <a:gd name="connsiteY1925" fmla="*/ 599265 h 734237"/>
                <a:gd name="connsiteX1926" fmla="*/ 597098 w 1472512"/>
                <a:gd name="connsiteY1926" fmla="*/ 594429 h 734237"/>
                <a:gd name="connsiteX1927" fmla="*/ 595138 w 1472512"/>
                <a:gd name="connsiteY1927" fmla="*/ 591405 h 734237"/>
                <a:gd name="connsiteX1928" fmla="*/ 593607 w 1472512"/>
                <a:gd name="connsiteY1928" fmla="*/ 590449 h 734237"/>
                <a:gd name="connsiteX1929" fmla="*/ 591850 w 1472512"/>
                <a:gd name="connsiteY1929" fmla="*/ 590552 h 734237"/>
                <a:gd name="connsiteX1930" fmla="*/ 590948 w 1472512"/>
                <a:gd name="connsiteY1930" fmla="*/ 590262 h 734237"/>
                <a:gd name="connsiteX1931" fmla="*/ 590902 w 1472512"/>
                <a:gd name="connsiteY1931" fmla="*/ 589578 h 734237"/>
                <a:gd name="connsiteX1932" fmla="*/ 590334 w 1472512"/>
                <a:gd name="connsiteY1932" fmla="*/ 589546 h 734237"/>
                <a:gd name="connsiteX1933" fmla="*/ 589238 w 1472512"/>
                <a:gd name="connsiteY1933" fmla="*/ 590167 h 734237"/>
                <a:gd name="connsiteX1934" fmla="*/ 585649 w 1472512"/>
                <a:gd name="connsiteY1934" fmla="*/ 590293 h 734237"/>
                <a:gd name="connsiteX1935" fmla="*/ 579563 w 1472512"/>
                <a:gd name="connsiteY1935" fmla="*/ 589923 h 734237"/>
                <a:gd name="connsiteX1936" fmla="*/ 575170 w 1472512"/>
                <a:gd name="connsiteY1936" fmla="*/ 589100 h 734237"/>
                <a:gd name="connsiteX1937" fmla="*/ 572470 w 1472512"/>
                <a:gd name="connsiteY1937" fmla="*/ 587819 h 734237"/>
                <a:gd name="connsiteX1938" fmla="*/ 570579 w 1472512"/>
                <a:gd name="connsiteY1938" fmla="*/ 587992 h 734237"/>
                <a:gd name="connsiteX1939" fmla="*/ 569492 w 1472512"/>
                <a:gd name="connsiteY1939" fmla="*/ 589620 h 734237"/>
                <a:gd name="connsiteX1940" fmla="*/ 567180 w 1472512"/>
                <a:gd name="connsiteY1940" fmla="*/ 590666 h 734237"/>
                <a:gd name="connsiteX1941" fmla="*/ 563643 w 1472512"/>
                <a:gd name="connsiteY1941" fmla="*/ 591133 h 734237"/>
                <a:gd name="connsiteX1942" fmla="*/ 560603 w 1472512"/>
                <a:gd name="connsiteY1942" fmla="*/ 594154 h 734237"/>
                <a:gd name="connsiteX1943" fmla="*/ 558057 w 1472512"/>
                <a:gd name="connsiteY1943" fmla="*/ 599723 h 734237"/>
                <a:gd name="connsiteX1944" fmla="*/ 556937 w 1472512"/>
                <a:gd name="connsiteY1944" fmla="*/ 603301 h 734237"/>
                <a:gd name="connsiteX1945" fmla="*/ 557248 w 1472512"/>
                <a:gd name="connsiteY1945" fmla="*/ 604895 h 734237"/>
                <a:gd name="connsiteX1946" fmla="*/ 556577 w 1472512"/>
                <a:gd name="connsiteY1946" fmla="*/ 606051 h 734237"/>
                <a:gd name="connsiteX1947" fmla="*/ 554922 w 1472512"/>
                <a:gd name="connsiteY1947" fmla="*/ 606774 h 734237"/>
                <a:gd name="connsiteX1948" fmla="*/ 553238 w 1472512"/>
                <a:gd name="connsiteY1948" fmla="*/ 608390 h 734237"/>
                <a:gd name="connsiteX1949" fmla="*/ 551525 w 1472512"/>
                <a:gd name="connsiteY1949" fmla="*/ 610899 h 734237"/>
                <a:gd name="connsiteX1950" fmla="*/ 549527 w 1472512"/>
                <a:gd name="connsiteY1950" fmla="*/ 612111 h 734237"/>
                <a:gd name="connsiteX1951" fmla="*/ 547246 w 1472512"/>
                <a:gd name="connsiteY1951" fmla="*/ 612031 h 734237"/>
                <a:gd name="connsiteX1952" fmla="*/ 543031 w 1472512"/>
                <a:gd name="connsiteY1952" fmla="*/ 610098 h 734237"/>
                <a:gd name="connsiteX1953" fmla="*/ 536883 w 1472512"/>
                <a:gd name="connsiteY1953" fmla="*/ 606315 h 734237"/>
                <a:gd name="connsiteX1954" fmla="*/ 532062 w 1472512"/>
                <a:gd name="connsiteY1954" fmla="*/ 603975 h 734237"/>
                <a:gd name="connsiteX1955" fmla="*/ 528572 w 1472512"/>
                <a:gd name="connsiteY1955" fmla="*/ 603084 h 734237"/>
                <a:gd name="connsiteX1956" fmla="*/ 525489 w 1472512"/>
                <a:gd name="connsiteY1956" fmla="*/ 601332 h 734237"/>
                <a:gd name="connsiteX1957" fmla="*/ 522813 w 1472512"/>
                <a:gd name="connsiteY1957" fmla="*/ 598722 h 734237"/>
                <a:gd name="connsiteX1958" fmla="*/ 520346 w 1472512"/>
                <a:gd name="connsiteY1958" fmla="*/ 596982 h 734237"/>
                <a:gd name="connsiteX1959" fmla="*/ 518091 w 1472512"/>
                <a:gd name="connsiteY1959" fmla="*/ 596110 h 734237"/>
                <a:gd name="connsiteX1960" fmla="*/ 515454 w 1472512"/>
                <a:gd name="connsiteY1960" fmla="*/ 593214 h 734237"/>
                <a:gd name="connsiteX1961" fmla="*/ 512438 w 1472512"/>
                <a:gd name="connsiteY1961" fmla="*/ 588289 h 734237"/>
                <a:gd name="connsiteX1962" fmla="*/ 510929 w 1472512"/>
                <a:gd name="connsiteY1962" fmla="*/ 584488 h 734237"/>
                <a:gd name="connsiteX1963" fmla="*/ 510929 w 1472512"/>
                <a:gd name="connsiteY1963" fmla="*/ 580468 h 734237"/>
                <a:gd name="connsiteX1964" fmla="*/ 506987 w 1472512"/>
                <a:gd name="connsiteY1964" fmla="*/ 571705 h 734237"/>
                <a:gd name="connsiteX1965" fmla="*/ 504896 w 1472512"/>
                <a:gd name="connsiteY1965" fmla="*/ 567903 h 734237"/>
                <a:gd name="connsiteX1966" fmla="*/ 503341 w 1472512"/>
                <a:gd name="connsiteY1966" fmla="*/ 566149 h 734237"/>
                <a:gd name="connsiteX1967" fmla="*/ 500297 w 1472512"/>
                <a:gd name="connsiteY1967" fmla="*/ 564057 h 734237"/>
                <a:gd name="connsiteX1968" fmla="*/ 495764 w 1472512"/>
                <a:gd name="connsiteY1968" fmla="*/ 561623 h 734237"/>
                <a:gd name="connsiteX1969" fmla="*/ 489689 w 1472512"/>
                <a:gd name="connsiteY1969" fmla="*/ 556752 h 734237"/>
                <a:gd name="connsiteX1970" fmla="*/ 482069 w 1472512"/>
                <a:gd name="connsiteY1970" fmla="*/ 549433 h 734237"/>
                <a:gd name="connsiteX1971" fmla="*/ 476677 w 1472512"/>
                <a:gd name="connsiteY1971" fmla="*/ 545018 h 734237"/>
                <a:gd name="connsiteX1972" fmla="*/ 473514 w 1472512"/>
                <a:gd name="connsiteY1972" fmla="*/ 543520 h 734237"/>
                <a:gd name="connsiteX1973" fmla="*/ 470768 w 1472512"/>
                <a:gd name="connsiteY1973" fmla="*/ 540877 h 734237"/>
                <a:gd name="connsiteX1974" fmla="*/ 468440 w 1472512"/>
                <a:gd name="connsiteY1974" fmla="*/ 537087 h 734237"/>
                <a:gd name="connsiteX1975" fmla="*/ 466168 w 1472512"/>
                <a:gd name="connsiteY1975" fmla="*/ 534675 h 734237"/>
                <a:gd name="connsiteX1976" fmla="*/ 465928 w 1472512"/>
                <a:gd name="connsiteY1976" fmla="*/ 534563 h 734237"/>
                <a:gd name="connsiteX1977" fmla="*/ 465729 w 1472512"/>
                <a:gd name="connsiteY1977" fmla="*/ 534513 h 734237"/>
                <a:gd name="connsiteX1978" fmla="*/ 460122 w 1472512"/>
                <a:gd name="connsiteY1978" fmla="*/ 534480 h 734237"/>
                <a:gd name="connsiteX1979" fmla="*/ 454514 w 1472512"/>
                <a:gd name="connsiteY1979" fmla="*/ 534448 h 734237"/>
                <a:gd name="connsiteX1980" fmla="*/ 448905 w 1472512"/>
                <a:gd name="connsiteY1980" fmla="*/ 534415 h 734237"/>
                <a:gd name="connsiteX1981" fmla="*/ 443298 w 1472512"/>
                <a:gd name="connsiteY1981" fmla="*/ 534384 h 734237"/>
                <a:gd name="connsiteX1982" fmla="*/ 437691 w 1472512"/>
                <a:gd name="connsiteY1982" fmla="*/ 534352 h 734237"/>
                <a:gd name="connsiteX1983" fmla="*/ 432082 w 1472512"/>
                <a:gd name="connsiteY1983" fmla="*/ 534319 h 734237"/>
                <a:gd name="connsiteX1984" fmla="*/ 426474 w 1472512"/>
                <a:gd name="connsiteY1984" fmla="*/ 534287 h 734237"/>
                <a:gd name="connsiteX1985" fmla="*/ 420867 w 1472512"/>
                <a:gd name="connsiteY1985" fmla="*/ 534253 h 734237"/>
                <a:gd name="connsiteX1986" fmla="*/ 420849 w 1472512"/>
                <a:gd name="connsiteY1986" fmla="*/ 537430 h 734237"/>
                <a:gd name="connsiteX1987" fmla="*/ 420832 w 1472512"/>
                <a:gd name="connsiteY1987" fmla="*/ 540603 h 734237"/>
                <a:gd name="connsiteX1988" fmla="*/ 420816 w 1472512"/>
                <a:gd name="connsiteY1988" fmla="*/ 543775 h 734237"/>
                <a:gd name="connsiteX1989" fmla="*/ 420800 w 1472512"/>
                <a:gd name="connsiteY1989" fmla="*/ 546943 h 734237"/>
                <a:gd name="connsiteX1990" fmla="*/ 411784 w 1472512"/>
                <a:gd name="connsiteY1990" fmla="*/ 546960 h 734237"/>
                <a:gd name="connsiteX1991" fmla="*/ 402767 w 1472512"/>
                <a:gd name="connsiteY1991" fmla="*/ 546980 h 734237"/>
                <a:gd name="connsiteX1992" fmla="*/ 393751 w 1472512"/>
                <a:gd name="connsiteY1992" fmla="*/ 546999 h 734237"/>
                <a:gd name="connsiteX1993" fmla="*/ 384735 w 1472512"/>
                <a:gd name="connsiteY1993" fmla="*/ 547017 h 734237"/>
                <a:gd name="connsiteX1994" fmla="*/ 375720 w 1472512"/>
                <a:gd name="connsiteY1994" fmla="*/ 547035 h 734237"/>
                <a:gd name="connsiteX1995" fmla="*/ 366702 w 1472512"/>
                <a:gd name="connsiteY1995" fmla="*/ 547052 h 734237"/>
                <a:gd name="connsiteX1996" fmla="*/ 357686 w 1472512"/>
                <a:gd name="connsiteY1996" fmla="*/ 547072 h 734237"/>
                <a:gd name="connsiteX1997" fmla="*/ 348670 w 1472512"/>
                <a:gd name="connsiteY1997" fmla="*/ 547089 h 734237"/>
                <a:gd name="connsiteX1998" fmla="*/ 336572 w 1472512"/>
                <a:gd name="connsiteY1998" fmla="*/ 542918 h 734237"/>
                <a:gd name="connsiteX1999" fmla="*/ 324474 w 1472512"/>
                <a:gd name="connsiteY1999" fmla="*/ 538746 h 734237"/>
                <a:gd name="connsiteX2000" fmla="*/ 312375 w 1472512"/>
                <a:gd name="connsiteY2000" fmla="*/ 534567 h 734237"/>
                <a:gd name="connsiteX2001" fmla="*/ 300277 w 1472512"/>
                <a:gd name="connsiteY2001" fmla="*/ 530385 h 734237"/>
                <a:gd name="connsiteX2002" fmla="*/ 288180 w 1472512"/>
                <a:gd name="connsiteY2002" fmla="*/ 526198 h 734237"/>
                <a:gd name="connsiteX2003" fmla="*/ 276082 w 1472512"/>
                <a:gd name="connsiteY2003" fmla="*/ 522007 h 734237"/>
                <a:gd name="connsiteX2004" fmla="*/ 263984 w 1472512"/>
                <a:gd name="connsiteY2004" fmla="*/ 517813 h 734237"/>
                <a:gd name="connsiteX2005" fmla="*/ 251886 w 1472512"/>
                <a:gd name="connsiteY2005" fmla="*/ 513613 h 734237"/>
                <a:gd name="connsiteX2006" fmla="*/ 253109 w 1472512"/>
                <a:gd name="connsiteY2006" fmla="*/ 512010 h 734237"/>
                <a:gd name="connsiteX2007" fmla="*/ 254723 w 1472512"/>
                <a:gd name="connsiteY2007" fmla="*/ 507733 h 734237"/>
                <a:gd name="connsiteX2008" fmla="*/ 251806 w 1472512"/>
                <a:gd name="connsiteY2008" fmla="*/ 508034 h 734237"/>
                <a:gd name="connsiteX2009" fmla="*/ 244507 w 1472512"/>
                <a:gd name="connsiteY2009" fmla="*/ 508643 h 734237"/>
                <a:gd name="connsiteX2010" fmla="*/ 237206 w 1472512"/>
                <a:gd name="connsiteY2010" fmla="*/ 509253 h 734237"/>
                <a:gd name="connsiteX2011" fmla="*/ 229907 w 1472512"/>
                <a:gd name="connsiteY2011" fmla="*/ 509860 h 734237"/>
                <a:gd name="connsiteX2012" fmla="*/ 222608 w 1472512"/>
                <a:gd name="connsiteY2012" fmla="*/ 510470 h 734237"/>
                <a:gd name="connsiteX2013" fmla="*/ 215308 w 1472512"/>
                <a:gd name="connsiteY2013" fmla="*/ 511079 h 734237"/>
                <a:gd name="connsiteX2014" fmla="*/ 208009 w 1472512"/>
                <a:gd name="connsiteY2014" fmla="*/ 511685 h 734237"/>
                <a:gd name="connsiteX2015" fmla="*/ 200710 w 1472512"/>
                <a:gd name="connsiteY2015" fmla="*/ 512295 h 734237"/>
                <a:gd name="connsiteX2016" fmla="*/ 193409 w 1472512"/>
                <a:gd name="connsiteY2016" fmla="*/ 512903 h 734237"/>
                <a:gd name="connsiteX2017" fmla="*/ 193352 w 1472512"/>
                <a:gd name="connsiteY2017" fmla="*/ 512722 h 734237"/>
                <a:gd name="connsiteX2018" fmla="*/ 193176 w 1472512"/>
                <a:gd name="connsiteY2018" fmla="*/ 509614 h 734237"/>
                <a:gd name="connsiteX2019" fmla="*/ 191993 w 1472512"/>
                <a:gd name="connsiteY2019" fmla="*/ 508513 h 734237"/>
                <a:gd name="connsiteX2020" fmla="*/ 190471 w 1472512"/>
                <a:gd name="connsiteY2020" fmla="*/ 509191 h 734237"/>
                <a:gd name="connsiteX2021" fmla="*/ 189775 w 1472512"/>
                <a:gd name="connsiteY2021" fmla="*/ 505149 h 734237"/>
                <a:gd name="connsiteX2022" fmla="*/ 190157 w 1472512"/>
                <a:gd name="connsiteY2022" fmla="*/ 503238 h 734237"/>
                <a:gd name="connsiteX2023" fmla="*/ 189972 w 1472512"/>
                <a:gd name="connsiteY2023" fmla="*/ 501374 h 734237"/>
                <a:gd name="connsiteX2024" fmla="*/ 188547 w 1472512"/>
                <a:gd name="connsiteY2024" fmla="*/ 496784 h 734237"/>
                <a:gd name="connsiteX2025" fmla="*/ 184757 w 1472512"/>
                <a:gd name="connsiteY2025" fmla="*/ 491209 h 734237"/>
                <a:gd name="connsiteX2026" fmla="*/ 176565 w 1472512"/>
                <a:gd name="connsiteY2026" fmla="*/ 484269 h 734237"/>
                <a:gd name="connsiteX2027" fmla="*/ 172392 w 1472512"/>
                <a:gd name="connsiteY2027" fmla="*/ 481948 h 734237"/>
                <a:gd name="connsiteX2028" fmla="*/ 169117 w 1472512"/>
                <a:gd name="connsiteY2028" fmla="*/ 479015 h 734237"/>
                <a:gd name="connsiteX2029" fmla="*/ 167041 w 1472512"/>
                <a:gd name="connsiteY2029" fmla="*/ 478198 h 734237"/>
                <a:gd name="connsiteX2030" fmla="*/ 164426 w 1472512"/>
                <a:gd name="connsiteY2030" fmla="*/ 477972 h 734237"/>
                <a:gd name="connsiteX2031" fmla="*/ 163667 w 1472512"/>
                <a:gd name="connsiteY2031" fmla="*/ 479297 h 734237"/>
                <a:gd name="connsiteX2032" fmla="*/ 160700 w 1472512"/>
                <a:gd name="connsiteY2032" fmla="*/ 478391 h 734237"/>
                <a:gd name="connsiteX2033" fmla="*/ 161145 w 1472512"/>
                <a:gd name="connsiteY2033" fmla="*/ 475115 h 734237"/>
                <a:gd name="connsiteX2034" fmla="*/ 158258 w 1472512"/>
                <a:gd name="connsiteY2034" fmla="*/ 470555 h 734237"/>
                <a:gd name="connsiteX2035" fmla="*/ 155894 w 1472512"/>
                <a:gd name="connsiteY2035" fmla="*/ 470050 h 734237"/>
                <a:gd name="connsiteX2036" fmla="*/ 149946 w 1472512"/>
                <a:gd name="connsiteY2036" fmla="*/ 470352 h 734237"/>
                <a:gd name="connsiteX2037" fmla="*/ 141993 w 1472512"/>
                <a:gd name="connsiteY2037" fmla="*/ 467839 h 734237"/>
                <a:gd name="connsiteX2038" fmla="*/ 139645 w 1472512"/>
                <a:gd name="connsiteY2038" fmla="*/ 466344 h 734237"/>
                <a:gd name="connsiteX2039" fmla="*/ 138832 w 1472512"/>
                <a:gd name="connsiteY2039" fmla="*/ 463663 h 734237"/>
                <a:gd name="connsiteX2040" fmla="*/ 135109 w 1472512"/>
                <a:gd name="connsiteY2040" fmla="*/ 461330 h 734237"/>
                <a:gd name="connsiteX2041" fmla="*/ 130201 w 1472512"/>
                <a:gd name="connsiteY2041" fmla="*/ 459046 h 734237"/>
                <a:gd name="connsiteX2042" fmla="*/ 127468 w 1472512"/>
                <a:gd name="connsiteY2042" fmla="*/ 459574 h 734237"/>
                <a:gd name="connsiteX2043" fmla="*/ 123892 w 1472512"/>
                <a:gd name="connsiteY2043" fmla="*/ 459220 h 734237"/>
                <a:gd name="connsiteX2044" fmla="*/ 118799 w 1472512"/>
                <a:gd name="connsiteY2044" fmla="*/ 457570 h 734237"/>
                <a:gd name="connsiteX2045" fmla="*/ 115826 w 1472512"/>
                <a:gd name="connsiteY2045" fmla="*/ 457364 h 734237"/>
                <a:gd name="connsiteX2046" fmla="*/ 110037 w 1472512"/>
                <a:gd name="connsiteY2046" fmla="*/ 457851 h 734237"/>
                <a:gd name="connsiteX2047" fmla="*/ 107875 w 1472512"/>
                <a:gd name="connsiteY2047" fmla="*/ 457504 h 734237"/>
                <a:gd name="connsiteX2048" fmla="*/ 105870 w 1472512"/>
                <a:gd name="connsiteY2048" fmla="*/ 455422 h 734237"/>
                <a:gd name="connsiteX2049" fmla="*/ 103705 w 1472512"/>
                <a:gd name="connsiteY2049" fmla="*/ 454384 h 734237"/>
                <a:gd name="connsiteX2050" fmla="*/ 104163 w 1472512"/>
                <a:gd name="connsiteY2050" fmla="*/ 451821 h 734237"/>
                <a:gd name="connsiteX2051" fmla="*/ 103886 w 1472512"/>
                <a:gd name="connsiteY2051" fmla="*/ 449502 h 734237"/>
                <a:gd name="connsiteX2052" fmla="*/ 104210 w 1472512"/>
                <a:gd name="connsiteY2052" fmla="*/ 447696 h 734237"/>
                <a:gd name="connsiteX2053" fmla="*/ 103238 w 1472512"/>
                <a:gd name="connsiteY2053" fmla="*/ 443733 h 734237"/>
                <a:gd name="connsiteX2054" fmla="*/ 103988 w 1472512"/>
                <a:gd name="connsiteY2054" fmla="*/ 440058 h 734237"/>
                <a:gd name="connsiteX2055" fmla="*/ 103337 w 1472512"/>
                <a:gd name="connsiteY2055" fmla="*/ 438729 h 734237"/>
                <a:gd name="connsiteX2056" fmla="*/ 102115 w 1472512"/>
                <a:gd name="connsiteY2056" fmla="*/ 437709 h 734237"/>
                <a:gd name="connsiteX2057" fmla="*/ 98279 w 1472512"/>
                <a:gd name="connsiteY2057" fmla="*/ 436206 h 734237"/>
                <a:gd name="connsiteX2058" fmla="*/ 97578 w 1472512"/>
                <a:gd name="connsiteY2058" fmla="*/ 434316 h 734237"/>
                <a:gd name="connsiteX2059" fmla="*/ 98205 w 1472512"/>
                <a:gd name="connsiteY2059" fmla="*/ 431695 h 734237"/>
                <a:gd name="connsiteX2060" fmla="*/ 97201 w 1472512"/>
                <a:gd name="connsiteY2060" fmla="*/ 429965 h 734237"/>
                <a:gd name="connsiteX2061" fmla="*/ 94057 w 1472512"/>
                <a:gd name="connsiteY2061" fmla="*/ 428352 h 734237"/>
                <a:gd name="connsiteX2062" fmla="*/ 91122 w 1472512"/>
                <a:gd name="connsiteY2062" fmla="*/ 424686 h 734237"/>
                <a:gd name="connsiteX2063" fmla="*/ 87399 w 1472512"/>
                <a:gd name="connsiteY2063" fmla="*/ 422678 h 734237"/>
                <a:gd name="connsiteX2064" fmla="*/ 85870 w 1472512"/>
                <a:gd name="connsiteY2064" fmla="*/ 419310 h 734237"/>
                <a:gd name="connsiteX2065" fmla="*/ 83576 w 1472512"/>
                <a:gd name="connsiteY2065" fmla="*/ 417228 h 734237"/>
                <a:gd name="connsiteX2066" fmla="*/ 82779 w 1472512"/>
                <a:gd name="connsiteY2066" fmla="*/ 415380 h 734237"/>
                <a:gd name="connsiteX2067" fmla="*/ 77693 w 1472512"/>
                <a:gd name="connsiteY2067" fmla="*/ 408780 h 734237"/>
                <a:gd name="connsiteX2068" fmla="*/ 72259 w 1472512"/>
                <a:gd name="connsiteY2068" fmla="*/ 403618 h 734237"/>
                <a:gd name="connsiteX2069" fmla="*/ 71422 w 1472512"/>
                <a:gd name="connsiteY2069" fmla="*/ 400644 h 734237"/>
                <a:gd name="connsiteX2070" fmla="*/ 71206 w 1472512"/>
                <a:gd name="connsiteY2070" fmla="*/ 396568 h 734237"/>
                <a:gd name="connsiteX2071" fmla="*/ 73336 w 1472512"/>
                <a:gd name="connsiteY2071" fmla="*/ 394078 h 734237"/>
                <a:gd name="connsiteX2072" fmla="*/ 74488 w 1472512"/>
                <a:gd name="connsiteY2072" fmla="*/ 391889 h 734237"/>
                <a:gd name="connsiteX2073" fmla="*/ 74373 w 1472512"/>
                <a:gd name="connsiteY2073" fmla="*/ 389877 h 734237"/>
                <a:gd name="connsiteX2074" fmla="*/ 74044 w 1472512"/>
                <a:gd name="connsiteY2074" fmla="*/ 388405 h 734237"/>
                <a:gd name="connsiteX2075" fmla="*/ 72175 w 1472512"/>
                <a:gd name="connsiteY2075" fmla="*/ 385834 h 734237"/>
                <a:gd name="connsiteX2076" fmla="*/ 64942 w 1472512"/>
                <a:gd name="connsiteY2076" fmla="*/ 384308 h 734237"/>
                <a:gd name="connsiteX2077" fmla="*/ 59057 w 1472512"/>
                <a:gd name="connsiteY2077" fmla="*/ 377949 h 734237"/>
                <a:gd name="connsiteX2078" fmla="*/ 58712 w 1472512"/>
                <a:gd name="connsiteY2078" fmla="*/ 373080 h 734237"/>
                <a:gd name="connsiteX2079" fmla="*/ 56396 w 1472512"/>
                <a:gd name="connsiteY2079" fmla="*/ 368089 h 734237"/>
                <a:gd name="connsiteX2080" fmla="*/ 56365 w 1472512"/>
                <a:gd name="connsiteY2080" fmla="*/ 364841 h 734237"/>
                <a:gd name="connsiteX2081" fmla="*/ 56013 w 1472512"/>
                <a:gd name="connsiteY2081" fmla="*/ 361324 h 734237"/>
                <a:gd name="connsiteX2082" fmla="*/ 57763 w 1472512"/>
                <a:gd name="connsiteY2082" fmla="*/ 360555 h 734237"/>
                <a:gd name="connsiteX2083" fmla="*/ 59333 w 1472512"/>
                <a:gd name="connsiteY2083" fmla="*/ 360836 h 734237"/>
                <a:gd name="connsiteX2084" fmla="*/ 59175 w 1472512"/>
                <a:gd name="connsiteY2084" fmla="*/ 362236 h 734237"/>
                <a:gd name="connsiteX2085" fmla="*/ 59699 w 1472512"/>
                <a:gd name="connsiteY2085" fmla="*/ 364750 h 734237"/>
                <a:gd name="connsiteX2086" fmla="*/ 61540 w 1472512"/>
                <a:gd name="connsiteY2086" fmla="*/ 366638 h 734237"/>
                <a:gd name="connsiteX2087" fmla="*/ 63297 w 1472512"/>
                <a:gd name="connsiteY2087" fmla="*/ 367461 h 734237"/>
                <a:gd name="connsiteX2088" fmla="*/ 64896 w 1472512"/>
                <a:gd name="connsiteY2088" fmla="*/ 369296 h 734237"/>
                <a:gd name="connsiteX2089" fmla="*/ 66094 w 1472512"/>
                <a:gd name="connsiteY2089" fmla="*/ 369850 h 734237"/>
                <a:gd name="connsiteX2090" fmla="*/ 67331 w 1472512"/>
                <a:gd name="connsiteY2090" fmla="*/ 369984 h 734237"/>
                <a:gd name="connsiteX2091" fmla="*/ 66668 w 1472512"/>
                <a:gd name="connsiteY2091" fmla="*/ 368808 h 734237"/>
                <a:gd name="connsiteX2092" fmla="*/ 65964 w 1472512"/>
                <a:gd name="connsiteY2092" fmla="*/ 368054 h 734237"/>
                <a:gd name="connsiteX2093" fmla="*/ 65098 w 1472512"/>
                <a:gd name="connsiteY2093" fmla="*/ 365617 h 734237"/>
                <a:gd name="connsiteX2094" fmla="*/ 63462 w 1472512"/>
                <a:gd name="connsiteY2094" fmla="*/ 362503 h 734237"/>
                <a:gd name="connsiteX2095" fmla="*/ 61580 w 1472512"/>
                <a:gd name="connsiteY2095" fmla="*/ 360783 h 734237"/>
                <a:gd name="connsiteX2096" fmla="*/ 60624 w 1472512"/>
                <a:gd name="connsiteY2096" fmla="*/ 357644 h 734237"/>
                <a:gd name="connsiteX2097" fmla="*/ 59807 w 1472512"/>
                <a:gd name="connsiteY2097" fmla="*/ 356916 h 734237"/>
                <a:gd name="connsiteX2098" fmla="*/ 59297 w 1472512"/>
                <a:gd name="connsiteY2098" fmla="*/ 355751 h 734237"/>
                <a:gd name="connsiteX2099" fmla="*/ 61115 w 1472512"/>
                <a:gd name="connsiteY2099" fmla="*/ 354369 h 734237"/>
                <a:gd name="connsiteX2100" fmla="*/ 63594 w 1472512"/>
                <a:gd name="connsiteY2100" fmla="*/ 353384 h 734237"/>
                <a:gd name="connsiteX2101" fmla="*/ 66919 w 1472512"/>
                <a:gd name="connsiteY2101" fmla="*/ 353118 h 734237"/>
                <a:gd name="connsiteX2102" fmla="*/ 76355 w 1472512"/>
                <a:gd name="connsiteY2102" fmla="*/ 353578 h 734237"/>
                <a:gd name="connsiteX2103" fmla="*/ 78363 w 1472512"/>
                <a:gd name="connsiteY2103" fmla="*/ 352774 h 734237"/>
                <a:gd name="connsiteX2104" fmla="*/ 80023 w 1472512"/>
                <a:gd name="connsiteY2104" fmla="*/ 353037 h 734237"/>
                <a:gd name="connsiteX2105" fmla="*/ 81239 w 1472512"/>
                <a:gd name="connsiteY2105" fmla="*/ 352932 h 734237"/>
                <a:gd name="connsiteX2106" fmla="*/ 78678 w 1472512"/>
                <a:gd name="connsiteY2106" fmla="*/ 352102 h 734237"/>
                <a:gd name="connsiteX2107" fmla="*/ 77237 w 1472512"/>
                <a:gd name="connsiteY2107" fmla="*/ 352372 h 734237"/>
                <a:gd name="connsiteX2108" fmla="*/ 75544 w 1472512"/>
                <a:gd name="connsiteY2108" fmla="*/ 352206 h 734237"/>
                <a:gd name="connsiteX2109" fmla="*/ 72173 w 1472512"/>
                <a:gd name="connsiteY2109" fmla="*/ 352367 h 734237"/>
                <a:gd name="connsiteX2110" fmla="*/ 70810 w 1472512"/>
                <a:gd name="connsiteY2110" fmla="*/ 352017 h 734237"/>
                <a:gd name="connsiteX2111" fmla="*/ 69306 w 1472512"/>
                <a:gd name="connsiteY2111" fmla="*/ 351032 h 734237"/>
                <a:gd name="connsiteX2112" fmla="*/ 68327 w 1472512"/>
                <a:gd name="connsiteY2112" fmla="*/ 350930 h 734237"/>
                <a:gd name="connsiteX2113" fmla="*/ 65208 w 1472512"/>
                <a:gd name="connsiteY2113" fmla="*/ 352647 h 734237"/>
                <a:gd name="connsiteX2114" fmla="*/ 63816 w 1472512"/>
                <a:gd name="connsiteY2114" fmla="*/ 352439 h 734237"/>
                <a:gd name="connsiteX2115" fmla="*/ 60530 w 1472512"/>
                <a:gd name="connsiteY2115" fmla="*/ 350565 h 734237"/>
                <a:gd name="connsiteX2116" fmla="*/ 59096 w 1472512"/>
                <a:gd name="connsiteY2116" fmla="*/ 350300 h 734237"/>
                <a:gd name="connsiteX2117" fmla="*/ 56787 w 1472512"/>
                <a:gd name="connsiteY2117" fmla="*/ 351367 h 734237"/>
                <a:gd name="connsiteX2118" fmla="*/ 56505 w 1472512"/>
                <a:gd name="connsiteY2118" fmla="*/ 355960 h 734237"/>
                <a:gd name="connsiteX2119" fmla="*/ 57221 w 1472512"/>
                <a:gd name="connsiteY2119" fmla="*/ 359369 h 734237"/>
                <a:gd name="connsiteX2120" fmla="*/ 55832 w 1472512"/>
                <a:gd name="connsiteY2120" fmla="*/ 359716 h 734237"/>
                <a:gd name="connsiteX2121" fmla="*/ 54229 w 1472512"/>
                <a:gd name="connsiteY2121" fmla="*/ 358309 h 734237"/>
                <a:gd name="connsiteX2122" fmla="*/ 51766 w 1472512"/>
                <a:gd name="connsiteY2122" fmla="*/ 357474 h 734237"/>
                <a:gd name="connsiteX2123" fmla="*/ 49733 w 1472512"/>
                <a:gd name="connsiteY2123" fmla="*/ 356193 h 734237"/>
                <a:gd name="connsiteX2124" fmla="*/ 46862 w 1472512"/>
                <a:gd name="connsiteY2124" fmla="*/ 353815 h 734237"/>
                <a:gd name="connsiteX2125" fmla="*/ 45355 w 1472512"/>
                <a:gd name="connsiteY2125" fmla="*/ 352945 h 734237"/>
                <a:gd name="connsiteX2126" fmla="*/ 43652 w 1472512"/>
                <a:gd name="connsiteY2126" fmla="*/ 354922 h 734237"/>
                <a:gd name="connsiteX2127" fmla="*/ 43583 w 1472512"/>
                <a:gd name="connsiteY2127" fmla="*/ 354015 h 734237"/>
                <a:gd name="connsiteX2128" fmla="*/ 44433 w 1472512"/>
                <a:gd name="connsiteY2128" fmla="*/ 351716 h 734237"/>
                <a:gd name="connsiteX2129" fmla="*/ 44192 w 1472512"/>
                <a:gd name="connsiteY2129" fmla="*/ 347856 h 734237"/>
                <a:gd name="connsiteX2130" fmla="*/ 46763 w 1472512"/>
                <a:gd name="connsiteY2130" fmla="*/ 350936 h 734237"/>
                <a:gd name="connsiteX2131" fmla="*/ 45964 w 1472512"/>
                <a:gd name="connsiteY2131" fmla="*/ 348767 h 734237"/>
                <a:gd name="connsiteX2132" fmla="*/ 43964 w 1472512"/>
                <a:gd name="connsiteY2132" fmla="*/ 346382 h 734237"/>
                <a:gd name="connsiteX2133" fmla="*/ 42443 w 1472512"/>
                <a:gd name="connsiteY2133" fmla="*/ 345552 h 734237"/>
                <a:gd name="connsiteX2134" fmla="*/ 40531 w 1472512"/>
                <a:gd name="connsiteY2134" fmla="*/ 341274 h 734237"/>
                <a:gd name="connsiteX2135" fmla="*/ 36229 w 1472512"/>
                <a:gd name="connsiteY2135" fmla="*/ 338703 h 734237"/>
                <a:gd name="connsiteX2136" fmla="*/ 32784 w 1472512"/>
                <a:gd name="connsiteY2136" fmla="*/ 334548 h 734237"/>
                <a:gd name="connsiteX2137" fmla="*/ 25735 w 1472512"/>
                <a:gd name="connsiteY2137" fmla="*/ 327652 h 734237"/>
                <a:gd name="connsiteX2138" fmla="*/ 25265 w 1472512"/>
                <a:gd name="connsiteY2138" fmla="*/ 321575 h 734237"/>
                <a:gd name="connsiteX2139" fmla="*/ 22696 w 1472512"/>
                <a:gd name="connsiteY2139" fmla="*/ 313882 h 734237"/>
                <a:gd name="connsiteX2140" fmla="*/ 23779 w 1472512"/>
                <a:gd name="connsiteY2140" fmla="*/ 309497 h 734237"/>
                <a:gd name="connsiteX2141" fmla="*/ 23634 w 1472512"/>
                <a:gd name="connsiteY2141" fmla="*/ 306386 h 734237"/>
                <a:gd name="connsiteX2142" fmla="*/ 22374 w 1472512"/>
                <a:gd name="connsiteY2142" fmla="*/ 301683 h 734237"/>
                <a:gd name="connsiteX2143" fmla="*/ 21058 w 1472512"/>
                <a:gd name="connsiteY2143" fmla="*/ 299120 h 734237"/>
                <a:gd name="connsiteX2144" fmla="*/ 15342 w 1472512"/>
                <a:gd name="connsiteY2144" fmla="*/ 292091 h 734237"/>
                <a:gd name="connsiteX2145" fmla="*/ 9844 w 1472512"/>
                <a:gd name="connsiteY2145" fmla="*/ 287348 h 734237"/>
                <a:gd name="connsiteX2146" fmla="*/ 9015 w 1472512"/>
                <a:gd name="connsiteY2146" fmla="*/ 283755 h 734237"/>
                <a:gd name="connsiteX2147" fmla="*/ 8630 w 1472512"/>
                <a:gd name="connsiteY2147" fmla="*/ 280128 h 734237"/>
                <a:gd name="connsiteX2148" fmla="*/ 9833 w 1472512"/>
                <a:gd name="connsiteY2148" fmla="*/ 276897 h 734237"/>
                <a:gd name="connsiteX2149" fmla="*/ 10873 w 1472512"/>
                <a:gd name="connsiteY2149" fmla="*/ 273495 h 734237"/>
                <a:gd name="connsiteX2150" fmla="*/ 11634 w 1472512"/>
                <a:gd name="connsiteY2150" fmla="*/ 272596 h 734237"/>
                <a:gd name="connsiteX2151" fmla="*/ 11929 w 1472512"/>
                <a:gd name="connsiteY2151" fmla="*/ 272970 h 734237"/>
                <a:gd name="connsiteX2152" fmla="*/ 11718 w 1472512"/>
                <a:gd name="connsiteY2152" fmla="*/ 273696 h 734237"/>
                <a:gd name="connsiteX2153" fmla="*/ 12498 w 1472512"/>
                <a:gd name="connsiteY2153" fmla="*/ 273920 h 734237"/>
                <a:gd name="connsiteX2154" fmla="*/ 12793 w 1472512"/>
                <a:gd name="connsiteY2154" fmla="*/ 272418 h 734237"/>
                <a:gd name="connsiteX2155" fmla="*/ 13258 w 1472512"/>
                <a:gd name="connsiteY2155" fmla="*/ 271643 h 734237"/>
                <a:gd name="connsiteX2156" fmla="*/ 12435 w 1472512"/>
                <a:gd name="connsiteY2156" fmla="*/ 271542 h 734237"/>
                <a:gd name="connsiteX2157" fmla="*/ 12519 w 1472512"/>
                <a:gd name="connsiteY2157" fmla="*/ 271067 h 734237"/>
                <a:gd name="connsiteX2158" fmla="*/ 13011 w 1472512"/>
                <a:gd name="connsiteY2158" fmla="*/ 270118 h 734237"/>
                <a:gd name="connsiteX2159" fmla="*/ 14716 w 1472512"/>
                <a:gd name="connsiteY2159" fmla="*/ 265639 h 734237"/>
                <a:gd name="connsiteX2160" fmla="*/ 14539 w 1472512"/>
                <a:gd name="connsiteY2160" fmla="*/ 259987 h 734237"/>
                <a:gd name="connsiteX2161" fmla="*/ 16363 w 1472512"/>
                <a:gd name="connsiteY2161" fmla="*/ 253043 h 734237"/>
                <a:gd name="connsiteX2162" fmla="*/ 16276 w 1472512"/>
                <a:gd name="connsiteY2162" fmla="*/ 250747 h 734237"/>
                <a:gd name="connsiteX2163" fmla="*/ 15109 w 1472512"/>
                <a:gd name="connsiteY2163" fmla="*/ 245800 h 734237"/>
                <a:gd name="connsiteX2164" fmla="*/ 13947 w 1472512"/>
                <a:gd name="connsiteY2164" fmla="*/ 242830 h 734237"/>
                <a:gd name="connsiteX2165" fmla="*/ 11870 w 1472512"/>
                <a:gd name="connsiteY2165" fmla="*/ 240723 h 734237"/>
                <a:gd name="connsiteX2166" fmla="*/ 12786 w 1472512"/>
                <a:gd name="connsiteY2166" fmla="*/ 237646 h 734237"/>
                <a:gd name="connsiteX2167" fmla="*/ 12712 w 1472512"/>
                <a:gd name="connsiteY2167" fmla="*/ 234706 h 734237"/>
                <a:gd name="connsiteX2168" fmla="*/ 9047 w 1472512"/>
                <a:gd name="connsiteY2168" fmla="*/ 230469 h 734237"/>
                <a:gd name="connsiteX2169" fmla="*/ 7651 w 1472512"/>
                <a:gd name="connsiteY2169" fmla="*/ 224900 h 734237"/>
                <a:gd name="connsiteX2170" fmla="*/ 7383 w 1472512"/>
                <a:gd name="connsiteY2170" fmla="*/ 222544 h 734237"/>
                <a:gd name="connsiteX2171" fmla="*/ 7751 w 1472512"/>
                <a:gd name="connsiteY2171" fmla="*/ 216309 h 734237"/>
                <a:gd name="connsiteX2172" fmla="*/ 6790 w 1472512"/>
                <a:gd name="connsiteY2172" fmla="*/ 213645 h 734237"/>
                <a:gd name="connsiteX2173" fmla="*/ 4345 w 1472512"/>
                <a:gd name="connsiteY2173" fmla="*/ 209244 h 734237"/>
                <a:gd name="connsiteX2174" fmla="*/ 5391 w 1472512"/>
                <a:gd name="connsiteY2174" fmla="*/ 205415 h 734237"/>
                <a:gd name="connsiteX2175" fmla="*/ 6518 w 1472512"/>
                <a:gd name="connsiteY2175" fmla="*/ 203082 h 734237"/>
                <a:gd name="connsiteX2176" fmla="*/ 9269 w 1472512"/>
                <a:gd name="connsiteY2176" fmla="*/ 192884 h 734237"/>
                <a:gd name="connsiteX2177" fmla="*/ 9932 w 1472512"/>
                <a:gd name="connsiteY2177" fmla="*/ 192061 h 734237"/>
                <a:gd name="connsiteX2178" fmla="*/ 11084 w 1472512"/>
                <a:gd name="connsiteY2178" fmla="*/ 192086 h 734237"/>
                <a:gd name="connsiteX2179" fmla="*/ 13088 w 1472512"/>
                <a:gd name="connsiteY2179" fmla="*/ 190349 h 734237"/>
                <a:gd name="connsiteX2180" fmla="*/ 12163 w 1472512"/>
                <a:gd name="connsiteY2180" fmla="*/ 189944 h 734237"/>
                <a:gd name="connsiteX2181" fmla="*/ 10764 w 1472512"/>
                <a:gd name="connsiteY2181" fmla="*/ 190772 h 734237"/>
                <a:gd name="connsiteX2182" fmla="*/ 12008 w 1472512"/>
                <a:gd name="connsiteY2182" fmla="*/ 186724 h 734237"/>
                <a:gd name="connsiteX2183" fmla="*/ 13407 w 1472512"/>
                <a:gd name="connsiteY2183" fmla="*/ 183257 h 734237"/>
                <a:gd name="connsiteX2184" fmla="*/ 14317 w 1472512"/>
                <a:gd name="connsiteY2184" fmla="*/ 182006 h 734237"/>
                <a:gd name="connsiteX2185" fmla="*/ 14778 w 1472512"/>
                <a:gd name="connsiteY2185" fmla="*/ 170659 h 734237"/>
                <a:gd name="connsiteX2186" fmla="*/ 15581 w 1472512"/>
                <a:gd name="connsiteY2186" fmla="*/ 161960 h 734237"/>
                <a:gd name="connsiteX2187" fmla="*/ 16901 w 1472512"/>
                <a:gd name="connsiteY2187" fmla="*/ 159086 h 734237"/>
                <a:gd name="connsiteX2188" fmla="*/ 16442 w 1472512"/>
                <a:gd name="connsiteY2188" fmla="*/ 156120 h 734237"/>
                <a:gd name="connsiteX2189" fmla="*/ 16975 w 1472512"/>
                <a:gd name="connsiteY2189" fmla="*/ 152095 h 734237"/>
                <a:gd name="connsiteX2190" fmla="*/ 16602 w 1472512"/>
                <a:gd name="connsiteY2190" fmla="*/ 148023 h 734237"/>
                <a:gd name="connsiteX2191" fmla="*/ 19422 w 1472512"/>
                <a:gd name="connsiteY2191" fmla="*/ 128358 h 734237"/>
                <a:gd name="connsiteX2192" fmla="*/ 19053 w 1472512"/>
                <a:gd name="connsiteY2192" fmla="*/ 125975 h 734237"/>
                <a:gd name="connsiteX2193" fmla="*/ 19914 w 1472512"/>
                <a:gd name="connsiteY2193" fmla="*/ 122776 h 734237"/>
                <a:gd name="connsiteX2194" fmla="*/ 19100 w 1472512"/>
                <a:gd name="connsiteY2194" fmla="*/ 114327 h 734237"/>
                <a:gd name="connsiteX2195" fmla="*/ 19460 w 1472512"/>
                <a:gd name="connsiteY2195" fmla="*/ 104847 h 734237"/>
                <a:gd name="connsiteX2196" fmla="*/ 18743 w 1472512"/>
                <a:gd name="connsiteY2196" fmla="*/ 103642 h 734237"/>
                <a:gd name="connsiteX2197" fmla="*/ 18384 w 1472512"/>
                <a:gd name="connsiteY2197" fmla="*/ 102331 h 734237"/>
                <a:gd name="connsiteX2198" fmla="*/ 19057 w 1472512"/>
                <a:gd name="connsiteY2198" fmla="*/ 102139 h 734237"/>
                <a:gd name="connsiteX2199" fmla="*/ 20365 w 1472512"/>
                <a:gd name="connsiteY2199" fmla="*/ 103519 h 734237"/>
                <a:gd name="connsiteX2200" fmla="*/ 26436 w 1472512"/>
                <a:gd name="connsiteY2200" fmla="*/ 103504 h 734237"/>
                <a:gd name="connsiteX2201" fmla="*/ 30314 w 1472512"/>
                <a:gd name="connsiteY2201" fmla="*/ 102228 h 734237"/>
                <a:gd name="connsiteX2202" fmla="*/ 31724 w 1472512"/>
                <a:gd name="connsiteY2202" fmla="*/ 102650 h 734237"/>
                <a:gd name="connsiteX2203" fmla="*/ 33359 w 1472512"/>
                <a:gd name="connsiteY2203" fmla="*/ 104388 h 734237"/>
                <a:gd name="connsiteX2204" fmla="*/ 35418 w 1472512"/>
                <a:gd name="connsiteY2204" fmla="*/ 104738 h 734237"/>
                <a:gd name="connsiteX2205" fmla="*/ 37993 w 1472512"/>
                <a:gd name="connsiteY2205" fmla="*/ 104431 h 734237"/>
                <a:gd name="connsiteX2206" fmla="*/ 37209 w 1472512"/>
                <a:gd name="connsiteY2206" fmla="*/ 103995 h 734237"/>
                <a:gd name="connsiteX2207" fmla="*/ 36002 w 1472512"/>
                <a:gd name="connsiteY2207" fmla="*/ 103881 h 734237"/>
                <a:gd name="connsiteX2208" fmla="*/ 33296 w 1472512"/>
                <a:gd name="connsiteY2208" fmla="*/ 102281 h 734237"/>
                <a:gd name="connsiteX2209" fmla="*/ 31763 w 1472512"/>
                <a:gd name="connsiteY2209" fmla="*/ 100679 h 734237"/>
                <a:gd name="connsiteX2210" fmla="*/ 27031 w 1472512"/>
                <a:gd name="connsiteY2210" fmla="*/ 100788 h 734237"/>
                <a:gd name="connsiteX2211" fmla="*/ 26060 w 1472512"/>
                <a:gd name="connsiteY2211" fmla="*/ 99761 h 734237"/>
                <a:gd name="connsiteX2212" fmla="*/ 20771 w 1472512"/>
                <a:gd name="connsiteY2212" fmla="*/ 100787 h 734237"/>
                <a:gd name="connsiteX2213" fmla="*/ 19137 w 1472512"/>
                <a:gd name="connsiteY2213" fmla="*/ 99734 h 734237"/>
                <a:gd name="connsiteX2214" fmla="*/ 16256 w 1472512"/>
                <a:gd name="connsiteY2214" fmla="*/ 100413 h 734237"/>
                <a:gd name="connsiteX2215" fmla="*/ 16960 w 1472512"/>
                <a:gd name="connsiteY2215" fmla="*/ 97426 h 734237"/>
                <a:gd name="connsiteX2216" fmla="*/ 16830 w 1472512"/>
                <a:gd name="connsiteY2216" fmla="*/ 93662 h 734237"/>
                <a:gd name="connsiteX2217" fmla="*/ 16980 w 1472512"/>
                <a:gd name="connsiteY2217" fmla="*/ 89991 h 734237"/>
                <a:gd name="connsiteX2218" fmla="*/ 17692 w 1472512"/>
                <a:gd name="connsiteY2218" fmla="*/ 92673 h 734237"/>
                <a:gd name="connsiteX2219" fmla="*/ 19484 w 1472512"/>
                <a:gd name="connsiteY2219" fmla="*/ 95517 h 734237"/>
                <a:gd name="connsiteX2220" fmla="*/ 20345 w 1472512"/>
                <a:gd name="connsiteY2220" fmla="*/ 92290 h 734237"/>
                <a:gd name="connsiteX2221" fmla="*/ 20938 w 1472512"/>
                <a:gd name="connsiteY2221" fmla="*/ 88229 h 734237"/>
                <a:gd name="connsiteX2222" fmla="*/ 19190 w 1472512"/>
                <a:gd name="connsiteY2222" fmla="*/ 86667 h 734237"/>
                <a:gd name="connsiteX2223" fmla="*/ 16282 w 1472512"/>
                <a:gd name="connsiteY2223" fmla="*/ 85509 h 734237"/>
                <a:gd name="connsiteX2224" fmla="*/ 15240 w 1472512"/>
                <a:gd name="connsiteY2224" fmla="*/ 81720 h 734237"/>
                <a:gd name="connsiteX2225" fmla="*/ 22119 w 1472512"/>
                <a:gd name="connsiteY2225" fmla="*/ 78488 h 734237"/>
                <a:gd name="connsiteX2226" fmla="*/ 18467 w 1472512"/>
                <a:gd name="connsiteY2226" fmla="*/ 77801 h 734237"/>
                <a:gd name="connsiteX2227" fmla="*/ 17035 w 1472512"/>
                <a:gd name="connsiteY2227" fmla="*/ 76347 h 734237"/>
                <a:gd name="connsiteX2228" fmla="*/ 15261 w 1472512"/>
                <a:gd name="connsiteY2228" fmla="*/ 76169 h 734237"/>
                <a:gd name="connsiteX2229" fmla="*/ 15132 w 1472512"/>
                <a:gd name="connsiteY2229" fmla="*/ 77291 h 734237"/>
                <a:gd name="connsiteX2230" fmla="*/ 14559 w 1472512"/>
                <a:gd name="connsiteY2230" fmla="*/ 78761 h 734237"/>
                <a:gd name="connsiteX2231" fmla="*/ 13938 w 1472512"/>
                <a:gd name="connsiteY2231" fmla="*/ 76808 h 734237"/>
                <a:gd name="connsiteX2232" fmla="*/ 13761 w 1472512"/>
                <a:gd name="connsiteY2232" fmla="*/ 74511 h 734237"/>
                <a:gd name="connsiteX2233" fmla="*/ 13038 w 1472512"/>
                <a:gd name="connsiteY2233" fmla="*/ 70579 h 734237"/>
                <a:gd name="connsiteX2234" fmla="*/ 10221 w 1472512"/>
                <a:gd name="connsiteY2234" fmla="*/ 64247 h 734237"/>
                <a:gd name="connsiteX2235" fmla="*/ 8519 w 1472512"/>
                <a:gd name="connsiteY2235" fmla="*/ 56018 h 734237"/>
                <a:gd name="connsiteX2236" fmla="*/ 6374 w 1472512"/>
                <a:gd name="connsiteY2236" fmla="*/ 51944 h 734237"/>
                <a:gd name="connsiteX2237" fmla="*/ 2268 w 1472512"/>
                <a:gd name="connsiteY2237" fmla="*/ 48047 h 734237"/>
                <a:gd name="connsiteX2238" fmla="*/ 1195 w 1472512"/>
                <a:gd name="connsiteY2238" fmla="*/ 45771 h 734237"/>
                <a:gd name="connsiteX2239" fmla="*/ 211 w 1472512"/>
                <a:gd name="connsiteY2239" fmla="*/ 39988 h 734237"/>
                <a:gd name="connsiteX2240" fmla="*/ 764 w 1472512"/>
                <a:gd name="connsiteY2240" fmla="*/ 35608 h 734237"/>
                <a:gd name="connsiteX2241" fmla="*/ 0 w 1472512"/>
                <a:gd name="connsiteY2241" fmla="*/ 32521 h 734237"/>
                <a:gd name="connsiteX2242" fmla="*/ 1973 w 1472512"/>
                <a:gd name="connsiteY2242" fmla="*/ 32695 h 734237"/>
                <a:gd name="connsiteX2243" fmla="*/ 7166 w 1472512"/>
                <a:gd name="connsiteY2243" fmla="*/ 35121 h 734237"/>
                <a:gd name="connsiteX2244" fmla="*/ 13634 w 1472512"/>
                <a:gd name="connsiteY2244" fmla="*/ 37027 h 734237"/>
                <a:gd name="connsiteX2245" fmla="*/ 15591 w 1472512"/>
                <a:gd name="connsiteY2245" fmla="*/ 38411 h 734237"/>
                <a:gd name="connsiteX2246" fmla="*/ 18729 w 1472512"/>
                <a:gd name="connsiteY2246" fmla="*/ 39440 h 734237"/>
                <a:gd name="connsiteX2247" fmla="*/ 36110 w 1472512"/>
                <a:gd name="connsiteY2247" fmla="*/ 41035 h 734237"/>
                <a:gd name="connsiteX2248" fmla="*/ 37246 w 1472512"/>
                <a:gd name="connsiteY2248" fmla="*/ 40882 h 734237"/>
                <a:gd name="connsiteX2249" fmla="*/ 39492 w 1472512"/>
                <a:gd name="connsiteY2249" fmla="*/ 39894 h 734237"/>
                <a:gd name="connsiteX2250" fmla="*/ 40447 w 1472512"/>
                <a:gd name="connsiteY2250" fmla="*/ 40012 h 734237"/>
                <a:gd name="connsiteX2251" fmla="*/ 43003 w 1472512"/>
                <a:gd name="connsiteY2251" fmla="*/ 42272 h 734237"/>
                <a:gd name="connsiteX2252" fmla="*/ 44288 w 1472512"/>
                <a:gd name="connsiteY2252" fmla="*/ 42543 h 734237"/>
                <a:gd name="connsiteX2253" fmla="*/ 45945 w 1472512"/>
                <a:gd name="connsiteY2253" fmla="*/ 42423 h 734237"/>
                <a:gd name="connsiteX2254" fmla="*/ 47170 w 1472512"/>
                <a:gd name="connsiteY2254" fmla="*/ 41996 h 734237"/>
                <a:gd name="connsiteX2255" fmla="*/ 49269 w 1472512"/>
                <a:gd name="connsiteY2255" fmla="*/ 40447 h 734237"/>
                <a:gd name="connsiteX2256" fmla="*/ 49551 w 1472512"/>
                <a:gd name="connsiteY2256" fmla="*/ 41020 h 734237"/>
                <a:gd name="connsiteX2257" fmla="*/ 49511 w 1472512"/>
                <a:gd name="connsiteY2257" fmla="*/ 42455 h 734237"/>
                <a:gd name="connsiteX2258" fmla="*/ 50260 w 1472512"/>
                <a:gd name="connsiteY2258" fmla="*/ 44498 h 734237"/>
                <a:gd name="connsiteX2259" fmla="*/ 51798 w 1472512"/>
                <a:gd name="connsiteY2259" fmla="*/ 47148 h 734237"/>
                <a:gd name="connsiteX2260" fmla="*/ 52380 w 1472512"/>
                <a:gd name="connsiteY2260" fmla="*/ 48795 h 734237"/>
                <a:gd name="connsiteX2261" fmla="*/ 49274 w 1472512"/>
                <a:gd name="connsiteY2261" fmla="*/ 53431 h 734237"/>
                <a:gd name="connsiteX2262" fmla="*/ 48678 w 1472512"/>
                <a:gd name="connsiteY2262" fmla="*/ 53531 h 734237"/>
                <a:gd name="connsiteX2263" fmla="*/ 48586 w 1472512"/>
                <a:gd name="connsiteY2263" fmla="*/ 51962 h 734237"/>
                <a:gd name="connsiteX2264" fmla="*/ 48177 w 1472512"/>
                <a:gd name="connsiteY2264" fmla="*/ 51654 h 734237"/>
                <a:gd name="connsiteX2265" fmla="*/ 42330 w 1472512"/>
                <a:gd name="connsiteY2265" fmla="*/ 59477 h 734237"/>
                <a:gd name="connsiteX2266" fmla="*/ 40278 w 1472512"/>
                <a:gd name="connsiteY2266" fmla="*/ 63173 h 734237"/>
                <a:gd name="connsiteX2267" fmla="*/ 40073 w 1472512"/>
                <a:gd name="connsiteY2267" fmla="*/ 64845 h 734237"/>
                <a:gd name="connsiteX2268" fmla="*/ 40143 w 1472512"/>
                <a:gd name="connsiteY2268" fmla="*/ 65823 h 734237"/>
                <a:gd name="connsiteX2269" fmla="*/ 40963 w 1472512"/>
                <a:gd name="connsiteY2269" fmla="*/ 66064 h 734237"/>
                <a:gd name="connsiteX2270" fmla="*/ 42832 w 1472512"/>
                <a:gd name="connsiteY2270" fmla="*/ 65681 h 734237"/>
                <a:gd name="connsiteX2271" fmla="*/ 45607 w 1472512"/>
                <a:gd name="connsiteY2271" fmla="*/ 64147 h 734237"/>
                <a:gd name="connsiteX2272" fmla="*/ 45740 w 1472512"/>
                <a:gd name="connsiteY2272" fmla="*/ 63814 h 734237"/>
                <a:gd name="connsiteX2273" fmla="*/ 43157 w 1472512"/>
                <a:gd name="connsiteY2273" fmla="*/ 64361 h 734237"/>
                <a:gd name="connsiteX2274" fmla="*/ 41916 w 1472512"/>
                <a:gd name="connsiteY2274" fmla="*/ 64406 h 734237"/>
                <a:gd name="connsiteX2275" fmla="*/ 42086 w 1472512"/>
                <a:gd name="connsiteY2275" fmla="*/ 62659 h 734237"/>
                <a:gd name="connsiteX2276" fmla="*/ 42380 w 1472512"/>
                <a:gd name="connsiteY2276" fmla="*/ 61827 h 734237"/>
                <a:gd name="connsiteX2277" fmla="*/ 44068 w 1472512"/>
                <a:gd name="connsiteY2277" fmla="*/ 59237 h 734237"/>
                <a:gd name="connsiteX2278" fmla="*/ 45843 w 1472512"/>
                <a:gd name="connsiteY2278" fmla="*/ 57681 h 734237"/>
                <a:gd name="connsiteX2279" fmla="*/ 48364 w 1472512"/>
                <a:gd name="connsiteY2279" fmla="*/ 56022 h 734237"/>
                <a:gd name="connsiteX2280" fmla="*/ 49817 w 1472512"/>
                <a:gd name="connsiteY2280" fmla="*/ 54661 h 734237"/>
                <a:gd name="connsiteX2281" fmla="*/ 50818 w 1472512"/>
                <a:gd name="connsiteY2281" fmla="*/ 52663 h 734237"/>
                <a:gd name="connsiteX2282" fmla="*/ 53617 w 1472512"/>
                <a:gd name="connsiteY2282" fmla="*/ 50278 h 734237"/>
                <a:gd name="connsiteX2283" fmla="*/ 54134 w 1472512"/>
                <a:gd name="connsiteY2283" fmla="*/ 49614 h 734237"/>
                <a:gd name="connsiteX2284" fmla="*/ 54011 w 1472512"/>
                <a:gd name="connsiteY2284" fmla="*/ 47649 h 734237"/>
                <a:gd name="connsiteX2285" fmla="*/ 54189 w 1472512"/>
                <a:gd name="connsiteY2285" fmla="*/ 47275 h 734237"/>
                <a:gd name="connsiteX2286" fmla="*/ 55538 w 1472512"/>
                <a:gd name="connsiteY2286" fmla="*/ 47540 h 734237"/>
                <a:gd name="connsiteX2287" fmla="*/ 56101 w 1472512"/>
                <a:gd name="connsiteY2287" fmla="*/ 50921 h 734237"/>
                <a:gd name="connsiteX2288" fmla="*/ 55765 w 1472512"/>
                <a:gd name="connsiteY2288" fmla="*/ 52428 h 734237"/>
                <a:gd name="connsiteX2289" fmla="*/ 53355 w 1472512"/>
                <a:gd name="connsiteY2289" fmla="*/ 54263 h 734237"/>
                <a:gd name="connsiteX2290" fmla="*/ 53055 w 1472512"/>
                <a:gd name="connsiteY2290" fmla="*/ 54911 h 734237"/>
                <a:gd name="connsiteX2291" fmla="*/ 53477 w 1472512"/>
                <a:gd name="connsiteY2291" fmla="*/ 57415 h 734237"/>
                <a:gd name="connsiteX2292" fmla="*/ 53104 w 1472512"/>
                <a:gd name="connsiteY2292" fmla="*/ 57656 h 734237"/>
                <a:gd name="connsiteX2293" fmla="*/ 52184 w 1472512"/>
                <a:gd name="connsiteY2293" fmla="*/ 57361 h 734237"/>
                <a:gd name="connsiteX2294" fmla="*/ 51899 w 1472512"/>
                <a:gd name="connsiteY2294" fmla="*/ 57520 h 734237"/>
                <a:gd name="connsiteX2295" fmla="*/ 54185 w 1472512"/>
                <a:gd name="connsiteY2295" fmla="*/ 60239 h 734237"/>
                <a:gd name="connsiteX2296" fmla="*/ 54912 w 1472512"/>
                <a:gd name="connsiteY2296" fmla="*/ 62351 h 734237"/>
                <a:gd name="connsiteX2297" fmla="*/ 55009 w 1472512"/>
                <a:gd name="connsiteY2297" fmla="*/ 64235 h 734237"/>
                <a:gd name="connsiteX2298" fmla="*/ 54388 w 1472512"/>
                <a:gd name="connsiteY2298" fmla="*/ 67849 h 734237"/>
                <a:gd name="connsiteX2299" fmla="*/ 53725 w 1472512"/>
                <a:gd name="connsiteY2299" fmla="*/ 68447 h 734237"/>
                <a:gd name="connsiteX2300" fmla="*/ 52585 w 1472512"/>
                <a:gd name="connsiteY2300" fmla="*/ 68227 h 734237"/>
                <a:gd name="connsiteX2301" fmla="*/ 51077 w 1472512"/>
                <a:gd name="connsiteY2301" fmla="*/ 67097 h 734237"/>
                <a:gd name="connsiteX2302" fmla="*/ 50741 w 1472512"/>
                <a:gd name="connsiteY2302" fmla="*/ 67461 h 734237"/>
                <a:gd name="connsiteX2303" fmla="*/ 49544 w 1472512"/>
                <a:gd name="connsiteY2303" fmla="*/ 70263 h 734237"/>
                <a:gd name="connsiteX2304" fmla="*/ 49149 w 1472512"/>
                <a:gd name="connsiteY2304" fmla="*/ 70018 h 734237"/>
                <a:gd name="connsiteX2305" fmla="*/ 48402 w 1472512"/>
                <a:gd name="connsiteY2305" fmla="*/ 66692 h 734237"/>
                <a:gd name="connsiteX2306" fmla="*/ 47996 w 1472512"/>
                <a:gd name="connsiteY2306" fmla="*/ 66445 h 734237"/>
                <a:gd name="connsiteX2307" fmla="*/ 45674 w 1472512"/>
                <a:gd name="connsiteY2307" fmla="*/ 67961 h 734237"/>
                <a:gd name="connsiteX2308" fmla="*/ 44738 w 1472512"/>
                <a:gd name="connsiteY2308" fmla="*/ 69416 h 734237"/>
                <a:gd name="connsiteX2309" fmla="*/ 43936 w 1472512"/>
                <a:gd name="connsiteY2309" fmla="*/ 71741 h 734237"/>
                <a:gd name="connsiteX2310" fmla="*/ 42916 w 1472512"/>
                <a:gd name="connsiteY2310" fmla="*/ 72827 h 734237"/>
                <a:gd name="connsiteX2311" fmla="*/ 45811 w 1472512"/>
                <a:gd name="connsiteY2311" fmla="*/ 73065 h 734237"/>
                <a:gd name="connsiteX2312" fmla="*/ 48418 w 1472512"/>
                <a:gd name="connsiteY2312" fmla="*/ 72597 h 734237"/>
                <a:gd name="connsiteX2313" fmla="*/ 50511 w 1472512"/>
                <a:gd name="connsiteY2313" fmla="*/ 73700 h 734237"/>
                <a:gd name="connsiteX2314" fmla="*/ 51224 w 1472512"/>
                <a:gd name="connsiteY2314" fmla="*/ 73730 h 734237"/>
                <a:gd name="connsiteX2315" fmla="*/ 53135 w 1472512"/>
                <a:gd name="connsiteY2315" fmla="*/ 72654 h 734237"/>
                <a:gd name="connsiteX2316" fmla="*/ 53719 w 1472512"/>
                <a:gd name="connsiteY2316" fmla="*/ 71921 h 734237"/>
                <a:gd name="connsiteX2317" fmla="*/ 55300 w 1472512"/>
                <a:gd name="connsiteY2317" fmla="*/ 68416 h 734237"/>
                <a:gd name="connsiteX2318" fmla="*/ 56093 w 1472512"/>
                <a:gd name="connsiteY2318" fmla="*/ 67787 h 734237"/>
                <a:gd name="connsiteX2319" fmla="*/ 57273 w 1472512"/>
                <a:gd name="connsiteY2319" fmla="*/ 67763 h 734237"/>
                <a:gd name="connsiteX2320" fmla="*/ 58414 w 1472512"/>
                <a:gd name="connsiteY2320" fmla="*/ 67236 h 734237"/>
                <a:gd name="connsiteX2321" fmla="*/ 60105 w 1472512"/>
                <a:gd name="connsiteY2321" fmla="*/ 65313 h 734237"/>
                <a:gd name="connsiteX2322" fmla="*/ 60174 w 1472512"/>
                <a:gd name="connsiteY2322" fmla="*/ 64550 h 734237"/>
                <a:gd name="connsiteX2323" fmla="*/ 59559 w 1472512"/>
                <a:gd name="connsiteY2323" fmla="*/ 60241 h 734237"/>
                <a:gd name="connsiteX2324" fmla="*/ 59734 w 1472512"/>
                <a:gd name="connsiteY2324" fmla="*/ 57794 h 734237"/>
                <a:gd name="connsiteX2325" fmla="*/ 59418 w 1472512"/>
                <a:gd name="connsiteY2325" fmla="*/ 57019 h 734237"/>
                <a:gd name="connsiteX2326" fmla="*/ 58658 w 1472512"/>
                <a:gd name="connsiteY2326" fmla="*/ 56213 h 734237"/>
                <a:gd name="connsiteX2327" fmla="*/ 58754 w 1472512"/>
                <a:gd name="connsiteY2327" fmla="*/ 55432 h 734237"/>
                <a:gd name="connsiteX2328" fmla="*/ 59343 w 1472512"/>
                <a:gd name="connsiteY2328" fmla="*/ 54144 h 734237"/>
                <a:gd name="connsiteX2329" fmla="*/ 59387 w 1472512"/>
                <a:gd name="connsiteY2329" fmla="*/ 52979 h 734237"/>
                <a:gd name="connsiteX2330" fmla="*/ 58882 w 1472512"/>
                <a:gd name="connsiteY2330" fmla="*/ 51943 h 734237"/>
                <a:gd name="connsiteX2331" fmla="*/ 59110 w 1472512"/>
                <a:gd name="connsiteY2331" fmla="*/ 50764 h 734237"/>
                <a:gd name="connsiteX2332" fmla="*/ 60704 w 1472512"/>
                <a:gd name="connsiteY2332" fmla="*/ 48226 h 734237"/>
                <a:gd name="connsiteX2333" fmla="*/ 61007 w 1472512"/>
                <a:gd name="connsiteY2333" fmla="*/ 47107 h 734237"/>
                <a:gd name="connsiteX2334" fmla="*/ 62958 w 1472512"/>
                <a:gd name="connsiteY2334" fmla="*/ 44578 h 734237"/>
                <a:gd name="connsiteX2335" fmla="*/ 62465 w 1472512"/>
                <a:gd name="connsiteY2335" fmla="*/ 43560 h 734237"/>
                <a:gd name="connsiteX2336" fmla="*/ 61031 w 1472512"/>
                <a:gd name="connsiteY2336" fmla="*/ 42318 h 734237"/>
                <a:gd name="connsiteX2337" fmla="*/ 60126 w 1472512"/>
                <a:gd name="connsiteY2337" fmla="*/ 41222 h 734237"/>
                <a:gd name="connsiteX2338" fmla="*/ 59216 w 1472512"/>
                <a:gd name="connsiteY2338" fmla="*/ 39509 h 734237"/>
                <a:gd name="connsiteX2339" fmla="*/ 58523 w 1472512"/>
                <a:gd name="connsiteY2339" fmla="*/ 38935 h 734237"/>
                <a:gd name="connsiteX2340" fmla="*/ 58296 w 1472512"/>
                <a:gd name="connsiteY2340" fmla="*/ 39196 h 734237"/>
                <a:gd name="connsiteX2341" fmla="*/ 59269 w 1472512"/>
                <a:gd name="connsiteY2341" fmla="*/ 41999 h 734237"/>
                <a:gd name="connsiteX2342" fmla="*/ 59060 w 1472512"/>
                <a:gd name="connsiteY2342" fmla="*/ 42188 h 734237"/>
                <a:gd name="connsiteX2343" fmla="*/ 56527 w 1472512"/>
                <a:gd name="connsiteY2343" fmla="*/ 40678 h 734237"/>
                <a:gd name="connsiteX2344" fmla="*/ 55943 w 1472512"/>
                <a:gd name="connsiteY2344" fmla="*/ 39726 h 734237"/>
                <a:gd name="connsiteX2345" fmla="*/ 55632 w 1472512"/>
                <a:gd name="connsiteY2345" fmla="*/ 38433 h 734237"/>
                <a:gd name="connsiteX2346" fmla="*/ 55857 w 1472512"/>
                <a:gd name="connsiteY2346" fmla="*/ 37462 h 734237"/>
                <a:gd name="connsiteX2347" fmla="*/ 57217 w 1472512"/>
                <a:gd name="connsiteY2347" fmla="*/ 36502 h 734237"/>
                <a:gd name="connsiteX2348" fmla="*/ 58840 w 1472512"/>
                <a:gd name="connsiteY2348" fmla="*/ 36154 h 734237"/>
                <a:gd name="connsiteX2349" fmla="*/ 58710 w 1472512"/>
                <a:gd name="connsiteY2349" fmla="*/ 35346 h 734237"/>
                <a:gd name="connsiteX2350" fmla="*/ 56670 w 1472512"/>
                <a:gd name="connsiteY2350" fmla="*/ 32719 h 734237"/>
                <a:gd name="connsiteX2351" fmla="*/ 55313 w 1472512"/>
                <a:gd name="connsiteY2351" fmla="*/ 31522 h 734237"/>
                <a:gd name="connsiteX2352" fmla="*/ 54270 w 1472512"/>
                <a:gd name="connsiteY2352" fmla="*/ 30941 h 734237"/>
                <a:gd name="connsiteX2353" fmla="*/ 52861 w 1472512"/>
                <a:gd name="connsiteY2353" fmla="*/ 30790 h 734237"/>
                <a:gd name="connsiteX2354" fmla="*/ 52230 w 1472512"/>
                <a:gd name="connsiteY2354" fmla="*/ 30362 h 734237"/>
                <a:gd name="connsiteX2355" fmla="*/ 52065 w 1472512"/>
                <a:gd name="connsiteY2355" fmla="*/ 29746 h 734237"/>
                <a:gd name="connsiteX2356" fmla="*/ 52364 w 1472512"/>
                <a:gd name="connsiteY2356" fmla="*/ 28935 h 734237"/>
                <a:gd name="connsiteX2357" fmla="*/ 53112 w 1472512"/>
                <a:gd name="connsiteY2357" fmla="*/ 28677 h 734237"/>
                <a:gd name="connsiteX2358" fmla="*/ 55287 w 1472512"/>
                <a:gd name="connsiteY2358" fmla="*/ 29001 h 734237"/>
                <a:gd name="connsiteX2359" fmla="*/ 56458 w 1472512"/>
                <a:gd name="connsiteY2359" fmla="*/ 28426 h 734237"/>
                <a:gd name="connsiteX2360" fmla="*/ 56347 w 1472512"/>
                <a:gd name="connsiteY2360" fmla="*/ 27380 h 734237"/>
                <a:gd name="connsiteX2361" fmla="*/ 55998 w 1472512"/>
                <a:gd name="connsiteY2361" fmla="*/ 26801 h 734237"/>
                <a:gd name="connsiteX2362" fmla="*/ 56051 w 1472512"/>
                <a:gd name="connsiteY2362" fmla="*/ 23057 h 734237"/>
                <a:gd name="connsiteX2363" fmla="*/ 55226 w 1472512"/>
                <a:gd name="connsiteY2363" fmla="*/ 20009 h 734237"/>
                <a:gd name="connsiteX2364" fmla="*/ 54794 w 1472512"/>
                <a:gd name="connsiteY2364" fmla="*/ 19494 h 734237"/>
                <a:gd name="connsiteX2365" fmla="*/ 54331 w 1472512"/>
                <a:gd name="connsiteY2365" fmla="*/ 19442 h 734237"/>
                <a:gd name="connsiteX2366" fmla="*/ 53839 w 1472512"/>
                <a:gd name="connsiteY2366" fmla="*/ 19853 h 734237"/>
                <a:gd name="connsiteX2367" fmla="*/ 52472 w 1472512"/>
                <a:gd name="connsiteY2367" fmla="*/ 19958 h 734237"/>
                <a:gd name="connsiteX2368" fmla="*/ 51633 w 1472512"/>
                <a:gd name="connsiteY2368" fmla="*/ 18958 h 734237"/>
                <a:gd name="connsiteX2369" fmla="*/ 50700 w 1472512"/>
                <a:gd name="connsiteY2369" fmla="*/ 17030 h 734237"/>
                <a:gd name="connsiteX2370" fmla="*/ 49009 w 1472512"/>
                <a:gd name="connsiteY2370" fmla="*/ 12425 h 734237"/>
                <a:gd name="connsiteX2371" fmla="*/ 51621 w 1472512"/>
                <a:gd name="connsiteY2371" fmla="*/ 12425 h 734237"/>
                <a:gd name="connsiteX2372" fmla="*/ 62497 w 1472512"/>
                <a:gd name="connsiteY2372" fmla="*/ 12425 h 734237"/>
                <a:gd name="connsiteX2373" fmla="*/ 73376 w 1472512"/>
                <a:gd name="connsiteY2373" fmla="*/ 12425 h 734237"/>
                <a:gd name="connsiteX2374" fmla="*/ 84252 w 1472512"/>
                <a:gd name="connsiteY2374" fmla="*/ 12425 h 734237"/>
                <a:gd name="connsiteX2375" fmla="*/ 95129 w 1472512"/>
                <a:gd name="connsiteY2375" fmla="*/ 12425 h 734237"/>
                <a:gd name="connsiteX2376" fmla="*/ 106006 w 1472512"/>
                <a:gd name="connsiteY2376" fmla="*/ 12425 h 734237"/>
                <a:gd name="connsiteX2377" fmla="*/ 116884 w 1472512"/>
                <a:gd name="connsiteY2377" fmla="*/ 12425 h 734237"/>
                <a:gd name="connsiteX2378" fmla="*/ 127760 w 1472512"/>
                <a:gd name="connsiteY2378" fmla="*/ 12425 h 734237"/>
                <a:gd name="connsiteX2379" fmla="*/ 138636 w 1472512"/>
                <a:gd name="connsiteY2379" fmla="*/ 12424 h 734237"/>
                <a:gd name="connsiteX2380" fmla="*/ 149514 w 1472512"/>
                <a:gd name="connsiteY2380" fmla="*/ 12424 h 734237"/>
                <a:gd name="connsiteX2381" fmla="*/ 160391 w 1472512"/>
                <a:gd name="connsiteY2381" fmla="*/ 12424 h 734237"/>
                <a:gd name="connsiteX2382" fmla="*/ 171267 w 1472512"/>
                <a:gd name="connsiteY2382" fmla="*/ 12424 h 734237"/>
                <a:gd name="connsiteX2383" fmla="*/ 182146 w 1472512"/>
                <a:gd name="connsiteY2383" fmla="*/ 12424 h 734237"/>
                <a:gd name="connsiteX2384" fmla="*/ 193022 w 1472512"/>
                <a:gd name="connsiteY2384" fmla="*/ 12424 h 734237"/>
                <a:gd name="connsiteX2385" fmla="*/ 203899 w 1472512"/>
                <a:gd name="connsiteY2385" fmla="*/ 12424 h 734237"/>
                <a:gd name="connsiteX2386" fmla="*/ 214777 w 1472512"/>
                <a:gd name="connsiteY2386" fmla="*/ 12424 h 734237"/>
                <a:gd name="connsiteX2387" fmla="*/ 225654 w 1472512"/>
                <a:gd name="connsiteY2387" fmla="*/ 12424 h 734237"/>
                <a:gd name="connsiteX2388" fmla="*/ 236530 w 1472512"/>
                <a:gd name="connsiteY2388" fmla="*/ 12424 h 734237"/>
                <a:gd name="connsiteX2389" fmla="*/ 247408 w 1472512"/>
                <a:gd name="connsiteY2389" fmla="*/ 12424 h 734237"/>
                <a:gd name="connsiteX2390" fmla="*/ 258285 w 1472512"/>
                <a:gd name="connsiteY2390" fmla="*/ 12424 h 734237"/>
                <a:gd name="connsiteX2391" fmla="*/ 269161 w 1472512"/>
                <a:gd name="connsiteY2391" fmla="*/ 12424 h 734237"/>
                <a:gd name="connsiteX2392" fmla="*/ 280037 w 1472512"/>
                <a:gd name="connsiteY2392" fmla="*/ 12424 h 734237"/>
                <a:gd name="connsiteX2393" fmla="*/ 290916 w 1472512"/>
                <a:gd name="connsiteY2393" fmla="*/ 12424 h 734237"/>
                <a:gd name="connsiteX2394" fmla="*/ 301792 w 1472512"/>
                <a:gd name="connsiteY2394" fmla="*/ 12424 h 734237"/>
                <a:gd name="connsiteX2395" fmla="*/ 312669 w 1472512"/>
                <a:gd name="connsiteY2395" fmla="*/ 12424 h 734237"/>
                <a:gd name="connsiteX2396" fmla="*/ 323547 w 1472512"/>
                <a:gd name="connsiteY2396" fmla="*/ 12424 h 734237"/>
                <a:gd name="connsiteX2397" fmla="*/ 334424 w 1472512"/>
                <a:gd name="connsiteY2397" fmla="*/ 12424 h 734237"/>
                <a:gd name="connsiteX2398" fmla="*/ 345300 w 1472512"/>
                <a:gd name="connsiteY2398" fmla="*/ 12424 h 734237"/>
                <a:gd name="connsiteX2399" fmla="*/ 356179 w 1472512"/>
                <a:gd name="connsiteY2399" fmla="*/ 12424 h 734237"/>
                <a:gd name="connsiteX2400" fmla="*/ 367054 w 1472512"/>
                <a:gd name="connsiteY2400" fmla="*/ 12424 h 734237"/>
                <a:gd name="connsiteX2401" fmla="*/ 377931 w 1472512"/>
                <a:gd name="connsiteY2401" fmla="*/ 12424 h 734237"/>
                <a:gd name="connsiteX2402" fmla="*/ 388807 w 1472512"/>
                <a:gd name="connsiteY2402" fmla="*/ 12424 h 734237"/>
                <a:gd name="connsiteX2403" fmla="*/ 399686 w 1472512"/>
                <a:gd name="connsiteY2403" fmla="*/ 12422 h 734237"/>
                <a:gd name="connsiteX2404" fmla="*/ 410562 w 1472512"/>
                <a:gd name="connsiteY2404" fmla="*/ 12422 h 734237"/>
                <a:gd name="connsiteX2405" fmla="*/ 421439 w 1472512"/>
                <a:gd name="connsiteY2405" fmla="*/ 12422 h 734237"/>
                <a:gd name="connsiteX2406" fmla="*/ 432317 w 1472512"/>
                <a:gd name="connsiteY2406" fmla="*/ 12422 h 734237"/>
                <a:gd name="connsiteX2407" fmla="*/ 443194 w 1472512"/>
                <a:gd name="connsiteY2407" fmla="*/ 12422 h 734237"/>
                <a:gd name="connsiteX2408" fmla="*/ 454070 w 1472512"/>
                <a:gd name="connsiteY2408" fmla="*/ 12422 h 734237"/>
                <a:gd name="connsiteX2409" fmla="*/ 464949 w 1472512"/>
                <a:gd name="connsiteY2409" fmla="*/ 12422 h 734237"/>
                <a:gd name="connsiteX2410" fmla="*/ 475824 w 1472512"/>
                <a:gd name="connsiteY2410" fmla="*/ 12422 h 734237"/>
                <a:gd name="connsiteX2411" fmla="*/ 486701 w 1472512"/>
                <a:gd name="connsiteY2411" fmla="*/ 12422 h 734237"/>
                <a:gd name="connsiteX2412" fmla="*/ 497579 w 1472512"/>
                <a:gd name="connsiteY2412" fmla="*/ 12422 h 734237"/>
                <a:gd name="connsiteX2413" fmla="*/ 508456 w 1472512"/>
                <a:gd name="connsiteY2413" fmla="*/ 12422 h 734237"/>
                <a:gd name="connsiteX2414" fmla="*/ 519332 w 1472512"/>
                <a:gd name="connsiteY2414" fmla="*/ 12422 h 734237"/>
                <a:gd name="connsiteX2415" fmla="*/ 530209 w 1472512"/>
                <a:gd name="connsiteY2415" fmla="*/ 12422 h 734237"/>
                <a:gd name="connsiteX2416" fmla="*/ 541087 w 1472512"/>
                <a:gd name="connsiteY2416" fmla="*/ 12422 h 734237"/>
                <a:gd name="connsiteX2417" fmla="*/ 551964 w 1472512"/>
                <a:gd name="connsiteY2417" fmla="*/ 12422 h 734237"/>
                <a:gd name="connsiteX2418" fmla="*/ 562840 w 1472512"/>
                <a:gd name="connsiteY2418" fmla="*/ 12422 h 734237"/>
                <a:gd name="connsiteX2419" fmla="*/ 573719 w 1472512"/>
                <a:gd name="connsiteY2419" fmla="*/ 12422 h 734237"/>
                <a:gd name="connsiteX2420" fmla="*/ 584594 w 1472512"/>
                <a:gd name="connsiteY2420" fmla="*/ 12422 h 734237"/>
                <a:gd name="connsiteX2421" fmla="*/ 595471 w 1472512"/>
                <a:gd name="connsiteY2421" fmla="*/ 12422 h 734237"/>
                <a:gd name="connsiteX2422" fmla="*/ 606348 w 1472512"/>
                <a:gd name="connsiteY2422" fmla="*/ 12422 h 734237"/>
                <a:gd name="connsiteX2423" fmla="*/ 617226 w 1472512"/>
                <a:gd name="connsiteY2423" fmla="*/ 12422 h 734237"/>
                <a:gd name="connsiteX2424" fmla="*/ 628102 w 1472512"/>
                <a:gd name="connsiteY2424" fmla="*/ 12422 h 734237"/>
                <a:gd name="connsiteX2425" fmla="*/ 638980 w 1472512"/>
                <a:gd name="connsiteY2425" fmla="*/ 12422 h 734237"/>
                <a:gd name="connsiteX2426" fmla="*/ 649857 w 1472512"/>
                <a:gd name="connsiteY2426" fmla="*/ 12422 h 734237"/>
                <a:gd name="connsiteX2427" fmla="*/ 660734 w 1472512"/>
                <a:gd name="connsiteY2427" fmla="*/ 12421 h 734237"/>
                <a:gd name="connsiteX2428" fmla="*/ 671610 w 1472512"/>
                <a:gd name="connsiteY2428" fmla="*/ 12421 h 734237"/>
                <a:gd name="connsiteX2429" fmla="*/ 682489 w 1472512"/>
                <a:gd name="connsiteY2429" fmla="*/ 12421 h 734237"/>
                <a:gd name="connsiteX2430" fmla="*/ 693365 w 1472512"/>
                <a:gd name="connsiteY2430" fmla="*/ 12421 h 734237"/>
                <a:gd name="connsiteX2431" fmla="*/ 704241 w 1472512"/>
                <a:gd name="connsiteY2431" fmla="*/ 12421 h 734237"/>
                <a:gd name="connsiteX2432" fmla="*/ 715120 w 1472512"/>
                <a:gd name="connsiteY2432" fmla="*/ 12421 h 734237"/>
                <a:gd name="connsiteX2433" fmla="*/ 725996 w 1472512"/>
                <a:gd name="connsiteY2433" fmla="*/ 12421 h 734237"/>
                <a:gd name="connsiteX2434" fmla="*/ 736872 w 1472512"/>
                <a:gd name="connsiteY2434" fmla="*/ 12421 h 734237"/>
                <a:gd name="connsiteX2435" fmla="*/ 747750 w 1472512"/>
                <a:gd name="connsiteY2435" fmla="*/ 12421 h 734237"/>
                <a:gd name="connsiteX2436" fmla="*/ 753767 w 1472512"/>
                <a:gd name="connsiteY2436" fmla="*/ 12467 h 734237"/>
                <a:gd name="connsiteX2437" fmla="*/ 753864 w 1472512"/>
                <a:gd name="connsiteY2437" fmla="*/ 5502 h 734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  <a:cxn ang="0">
                  <a:pos x="connsiteX2223" y="connsiteY2223"/>
                </a:cxn>
                <a:cxn ang="0">
                  <a:pos x="connsiteX2224" y="connsiteY2224"/>
                </a:cxn>
                <a:cxn ang="0">
                  <a:pos x="connsiteX2225" y="connsiteY2225"/>
                </a:cxn>
                <a:cxn ang="0">
                  <a:pos x="connsiteX2226" y="connsiteY2226"/>
                </a:cxn>
                <a:cxn ang="0">
                  <a:pos x="connsiteX2227" y="connsiteY2227"/>
                </a:cxn>
                <a:cxn ang="0">
                  <a:pos x="connsiteX2228" y="connsiteY2228"/>
                </a:cxn>
                <a:cxn ang="0">
                  <a:pos x="connsiteX2229" y="connsiteY2229"/>
                </a:cxn>
                <a:cxn ang="0">
                  <a:pos x="connsiteX2230" y="connsiteY2230"/>
                </a:cxn>
                <a:cxn ang="0">
                  <a:pos x="connsiteX2231" y="connsiteY2231"/>
                </a:cxn>
                <a:cxn ang="0">
                  <a:pos x="connsiteX2232" y="connsiteY2232"/>
                </a:cxn>
                <a:cxn ang="0">
                  <a:pos x="connsiteX2233" y="connsiteY2233"/>
                </a:cxn>
                <a:cxn ang="0">
                  <a:pos x="connsiteX2234" y="connsiteY2234"/>
                </a:cxn>
                <a:cxn ang="0">
                  <a:pos x="connsiteX2235" y="connsiteY2235"/>
                </a:cxn>
                <a:cxn ang="0">
                  <a:pos x="connsiteX2236" y="connsiteY2236"/>
                </a:cxn>
                <a:cxn ang="0">
                  <a:pos x="connsiteX2237" y="connsiteY2237"/>
                </a:cxn>
                <a:cxn ang="0">
                  <a:pos x="connsiteX2238" y="connsiteY2238"/>
                </a:cxn>
                <a:cxn ang="0">
                  <a:pos x="connsiteX2239" y="connsiteY2239"/>
                </a:cxn>
                <a:cxn ang="0">
                  <a:pos x="connsiteX2240" y="connsiteY2240"/>
                </a:cxn>
                <a:cxn ang="0">
                  <a:pos x="connsiteX2241" y="connsiteY2241"/>
                </a:cxn>
                <a:cxn ang="0">
                  <a:pos x="connsiteX2242" y="connsiteY2242"/>
                </a:cxn>
                <a:cxn ang="0">
                  <a:pos x="connsiteX2243" y="connsiteY2243"/>
                </a:cxn>
                <a:cxn ang="0">
                  <a:pos x="connsiteX2244" y="connsiteY2244"/>
                </a:cxn>
                <a:cxn ang="0">
                  <a:pos x="connsiteX2245" y="connsiteY2245"/>
                </a:cxn>
                <a:cxn ang="0">
                  <a:pos x="connsiteX2246" y="connsiteY2246"/>
                </a:cxn>
                <a:cxn ang="0">
                  <a:pos x="connsiteX2247" y="connsiteY2247"/>
                </a:cxn>
                <a:cxn ang="0">
                  <a:pos x="connsiteX2248" y="connsiteY2248"/>
                </a:cxn>
                <a:cxn ang="0">
                  <a:pos x="connsiteX2249" y="connsiteY2249"/>
                </a:cxn>
                <a:cxn ang="0">
                  <a:pos x="connsiteX2250" y="connsiteY2250"/>
                </a:cxn>
                <a:cxn ang="0">
                  <a:pos x="connsiteX2251" y="connsiteY2251"/>
                </a:cxn>
                <a:cxn ang="0">
                  <a:pos x="connsiteX2252" y="connsiteY2252"/>
                </a:cxn>
                <a:cxn ang="0">
                  <a:pos x="connsiteX2253" y="connsiteY2253"/>
                </a:cxn>
                <a:cxn ang="0">
                  <a:pos x="connsiteX2254" y="connsiteY2254"/>
                </a:cxn>
                <a:cxn ang="0">
                  <a:pos x="connsiteX2255" y="connsiteY2255"/>
                </a:cxn>
                <a:cxn ang="0">
                  <a:pos x="connsiteX2256" y="connsiteY2256"/>
                </a:cxn>
                <a:cxn ang="0">
                  <a:pos x="connsiteX2257" y="connsiteY2257"/>
                </a:cxn>
                <a:cxn ang="0">
                  <a:pos x="connsiteX2258" y="connsiteY2258"/>
                </a:cxn>
                <a:cxn ang="0">
                  <a:pos x="connsiteX2259" y="connsiteY2259"/>
                </a:cxn>
                <a:cxn ang="0">
                  <a:pos x="connsiteX2260" y="connsiteY2260"/>
                </a:cxn>
                <a:cxn ang="0">
                  <a:pos x="connsiteX2261" y="connsiteY2261"/>
                </a:cxn>
                <a:cxn ang="0">
                  <a:pos x="connsiteX2262" y="connsiteY2262"/>
                </a:cxn>
                <a:cxn ang="0">
                  <a:pos x="connsiteX2263" y="connsiteY2263"/>
                </a:cxn>
                <a:cxn ang="0">
                  <a:pos x="connsiteX2264" y="connsiteY2264"/>
                </a:cxn>
                <a:cxn ang="0">
                  <a:pos x="connsiteX2265" y="connsiteY2265"/>
                </a:cxn>
                <a:cxn ang="0">
                  <a:pos x="connsiteX2266" y="connsiteY2266"/>
                </a:cxn>
                <a:cxn ang="0">
                  <a:pos x="connsiteX2267" y="connsiteY2267"/>
                </a:cxn>
                <a:cxn ang="0">
                  <a:pos x="connsiteX2268" y="connsiteY2268"/>
                </a:cxn>
                <a:cxn ang="0">
                  <a:pos x="connsiteX2269" y="connsiteY2269"/>
                </a:cxn>
                <a:cxn ang="0">
                  <a:pos x="connsiteX2270" y="connsiteY2270"/>
                </a:cxn>
                <a:cxn ang="0">
                  <a:pos x="connsiteX2271" y="connsiteY2271"/>
                </a:cxn>
                <a:cxn ang="0">
                  <a:pos x="connsiteX2272" y="connsiteY2272"/>
                </a:cxn>
                <a:cxn ang="0">
                  <a:pos x="connsiteX2273" y="connsiteY2273"/>
                </a:cxn>
                <a:cxn ang="0">
                  <a:pos x="connsiteX2274" y="connsiteY2274"/>
                </a:cxn>
                <a:cxn ang="0">
                  <a:pos x="connsiteX2275" y="connsiteY2275"/>
                </a:cxn>
                <a:cxn ang="0">
                  <a:pos x="connsiteX2276" y="connsiteY2276"/>
                </a:cxn>
                <a:cxn ang="0">
                  <a:pos x="connsiteX2277" y="connsiteY2277"/>
                </a:cxn>
                <a:cxn ang="0">
                  <a:pos x="connsiteX2278" y="connsiteY2278"/>
                </a:cxn>
                <a:cxn ang="0">
                  <a:pos x="connsiteX2279" y="connsiteY2279"/>
                </a:cxn>
                <a:cxn ang="0">
                  <a:pos x="connsiteX2280" y="connsiteY2280"/>
                </a:cxn>
                <a:cxn ang="0">
                  <a:pos x="connsiteX2281" y="connsiteY2281"/>
                </a:cxn>
                <a:cxn ang="0">
                  <a:pos x="connsiteX2282" y="connsiteY2282"/>
                </a:cxn>
                <a:cxn ang="0">
                  <a:pos x="connsiteX2283" y="connsiteY2283"/>
                </a:cxn>
                <a:cxn ang="0">
                  <a:pos x="connsiteX2284" y="connsiteY2284"/>
                </a:cxn>
                <a:cxn ang="0">
                  <a:pos x="connsiteX2285" y="connsiteY2285"/>
                </a:cxn>
                <a:cxn ang="0">
                  <a:pos x="connsiteX2286" y="connsiteY2286"/>
                </a:cxn>
                <a:cxn ang="0">
                  <a:pos x="connsiteX2287" y="connsiteY2287"/>
                </a:cxn>
                <a:cxn ang="0">
                  <a:pos x="connsiteX2288" y="connsiteY2288"/>
                </a:cxn>
                <a:cxn ang="0">
                  <a:pos x="connsiteX2289" y="connsiteY2289"/>
                </a:cxn>
                <a:cxn ang="0">
                  <a:pos x="connsiteX2290" y="connsiteY2290"/>
                </a:cxn>
                <a:cxn ang="0">
                  <a:pos x="connsiteX2291" y="connsiteY2291"/>
                </a:cxn>
                <a:cxn ang="0">
                  <a:pos x="connsiteX2292" y="connsiteY2292"/>
                </a:cxn>
                <a:cxn ang="0">
                  <a:pos x="connsiteX2293" y="connsiteY2293"/>
                </a:cxn>
                <a:cxn ang="0">
                  <a:pos x="connsiteX2294" y="connsiteY2294"/>
                </a:cxn>
                <a:cxn ang="0">
                  <a:pos x="connsiteX2295" y="connsiteY2295"/>
                </a:cxn>
                <a:cxn ang="0">
                  <a:pos x="connsiteX2296" y="connsiteY2296"/>
                </a:cxn>
                <a:cxn ang="0">
                  <a:pos x="connsiteX2297" y="connsiteY2297"/>
                </a:cxn>
                <a:cxn ang="0">
                  <a:pos x="connsiteX2298" y="connsiteY2298"/>
                </a:cxn>
                <a:cxn ang="0">
                  <a:pos x="connsiteX2299" y="connsiteY2299"/>
                </a:cxn>
                <a:cxn ang="0">
                  <a:pos x="connsiteX2300" y="connsiteY2300"/>
                </a:cxn>
                <a:cxn ang="0">
                  <a:pos x="connsiteX2301" y="connsiteY2301"/>
                </a:cxn>
                <a:cxn ang="0">
                  <a:pos x="connsiteX2302" y="connsiteY2302"/>
                </a:cxn>
                <a:cxn ang="0">
                  <a:pos x="connsiteX2303" y="connsiteY2303"/>
                </a:cxn>
                <a:cxn ang="0">
                  <a:pos x="connsiteX2304" y="connsiteY2304"/>
                </a:cxn>
                <a:cxn ang="0">
                  <a:pos x="connsiteX2305" y="connsiteY2305"/>
                </a:cxn>
                <a:cxn ang="0">
                  <a:pos x="connsiteX2306" y="connsiteY2306"/>
                </a:cxn>
                <a:cxn ang="0">
                  <a:pos x="connsiteX2307" y="connsiteY2307"/>
                </a:cxn>
                <a:cxn ang="0">
                  <a:pos x="connsiteX2308" y="connsiteY2308"/>
                </a:cxn>
                <a:cxn ang="0">
                  <a:pos x="connsiteX2309" y="connsiteY2309"/>
                </a:cxn>
                <a:cxn ang="0">
                  <a:pos x="connsiteX2310" y="connsiteY2310"/>
                </a:cxn>
                <a:cxn ang="0">
                  <a:pos x="connsiteX2311" y="connsiteY2311"/>
                </a:cxn>
                <a:cxn ang="0">
                  <a:pos x="connsiteX2312" y="connsiteY2312"/>
                </a:cxn>
                <a:cxn ang="0">
                  <a:pos x="connsiteX2313" y="connsiteY2313"/>
                </a:cxn>
                <a:cxn ang="0">
                  <a:pos x="connsiteX2314" y="connsiteY2314"/>
                </a:cxn>
                <a:cxn ang="0">
                  <a:pos x="connsiteX2315" y="connsiteY2315"/>
                </a:cxn>
                <a:cxn ang="0">
                  <a:pos x="connsiteX2316" y="connsiteY2316"/>
                </a:cxn>
                <a:cxn ang="0">
                  <a:pos x="connsiteX2317" y="connsiteY2317"/>
                </a:cxn>
                <a:cxn ang="0">
                  <a:pos x="connsiteX2318" y="connsiteY2318"/>
                </a:cxn>
                <a:cxn ang="0">
                  <a:pos x="connsiteX2319" y="connsiteY2319"/>
                </a:cxn>
                <a:cxn ang="0">
                  <a:pos x="connsiteX2320" y="connsiteY2320"/>
                </a:cxn>
                <a:cxn ang="0">
                  <a:pos x="connsiteX2321" y="connsiteY2321"/>
                </a:cxn>
                <a:cxn ang="0">
                  <a:pos x="connsiteX2322" y="connsiteY2322"/>
                </a:cxn>
                <a:cxn ang="0">
                  <a:pos x="connsiteX2323" y="connsiteY2323"/>
                </a:cxn>
                <a:cxn ang="0">
                  <a:pos x="connsiteX2324" y="connsiteY2324"/>
                </a:cxn>
                <a:cxn ang="0">
                  <a:pos x="connsiteX2325" y="connsiteY2325"/>
                </a:cxn>
                <a:cxn ang="0">
                  <a:pos x="connsiteX2326" y="connsiteY2326"/>
                </a:cxn>
                <a:cxn ang="0">
                  <a:pos x="connsiteX2327" y="connsiteY2327"/>
                </a:cxn>
                <a:cxn ang="0">
                  <a:pos x="connsiteX2328" y="connsiteY2328"/>
                </a:cxn>
                <a:cxn ang="0">
                  <a:pos x="connsiteX2329" y="connsiteY2329"/>
                </a:cxn>
                <a:cxn ang="0">
                  <a:pos x="connsiteX2330" y="connsiteY2330"/>
                </a:cxn>
                <a:cxn ang="0">
                  <a:pos x="connsiteX2331" y="connsiteY2331"/>
                </a:cxn>
                <a:cxn ang="0">
                  <a:pos x="connsiteX2332" y="connsiteY2332"/>
                </a:cxn>
                <a:cxn ang="0">
                  <a:pos x="connsiteX2333" y="connsiteY2333"/>
                </a:cxn>
                <a:cxn ang="0">
                  <a:pos x="connsiteX2334" y="connsiteY2334"/>
                </a:cxn>
                <a:cxn ang="0">
                  <a:pos x="connsiteX2335" y="connsiteY2335"/>
                </a:cxn>
                <a:cxn ang="0">
                  <a:pos x="connsiteX2336" y="connsiteY2336"/>
                </a:cxn>
                <a:cxn ang="0">
                  <a:pos x="connsiteX2337" y="connsiteY2337"/>
                </a:cxn>
                <a:cxn ang="0">
                  <a:pos x="connsiteX2338" y="connsiteY2338"/>
                </a:cxn>
                <a:cxn ang="0">
                  <a:pos x="connsiteX2339" y="connsiteY2339"/>
                </a:cxn>
                <a:cxn ang="0">
                  <a:pos x="connsiteX2340" y="connsiteY2340"/>
                </a:cxn>
                <a:cxn ang="0">
                  <a:pos x="connsiteX2341" y="connsiteY2341"/>
                </a:cxn>
                <a:cxn ang="0">
                  <a:pos x="connsiteX2342" y="connsiteY2342"/>
                </a:cxn>
                <a:cxn ang="0">
                  <a:pos x="connsiteX2343" y="connsiteY2343"/>
                </a:cxn>
                <a:cxn ang="0">
                  <a:pos x="connsiteX2344" y="connsiteY2344"/>
                </a:cxn>
                <a:cxn ang="0">
                  <a:pos x="connsiteX2345" y="connsiteY2345"/>
                </a:cxn>
                <a:cxn ang="0">
                  <a:pos x="connsiteX2346" y="connsiteY2346"/>
                </a:cxn>
                <a:cxn ang="0">
                  <a:pos x="connsiteX2347" y="connsiteY2347"/>
                </a:cxn>
                <a:cxn ang="0">
                  <a:pos x="connsiteX2348" y="connsiteY2348"/>
                </a:cxn>
                <a:cxn ang="0">
                  <a:pos x="connsiteX2349" y="connsiteY2349"/>
                </a:cxn>
                <a:cxn ang="0">
                  <a:pos x="connsiteX2350" y="connsiteY2350"/>
                </a:cxn>
                <a:cxn ang="0">
                  <a:pos x="connsiteX2351" y="connsiteY2351"/>
                </a:cxn>
                <a:cxn ang="0">
                  <a:pos x="connsiteX2352" y="connsiteY2352"/>
                </a:cxn>
                <a:cxn ang="0">
                  <a:pos x="connsiteX2353" y="connsiteY2353"/>
                </a:cxn>
                <a:cxn ang="0">
                  <a:pos x="connsiteX2354" y="connsiteY2354"/>
                </a:cxn>
                <a:cxn ang="0">
                  <a:pos x="connsiteX2355" y="connsiteY2355"/>
                </a:cxn>
                <a:cxn ang="0">
                  <a:pos x="connsiteX2356" y="connsiteY2356"/>
                </a:cxn>
                <a:cxn ang="0">
                  <a:pos x="connsiteX2357" y="connsiteY2357"/>
                </a:cxn>
                <a:cxn ang="0">
                  <a:pos x="connsiteX2358" y="connsiteY2358"/>
                </a:cxn>
                <a:cxn ang="0">
                  <a:pos x="connsiteX2359" y="connsiteY2359"/>
                </a:cxn>
                <a:cxn ang="0">
                  <a:pos x="connsiteX2360" y="connsiteY2360"/>
                </a:cxn>
                <a:cxn ang="0">
                  <a:pos x="connsiteX2361" y="connsiteY2361"/>
                </a:cxn>
                <a:cxn ang="0">
                  <a:pos x="connsiteX2362" y="connsiteY2362"/>
                </a:cxn>
                <a:cxn ang="0">
                  <a:pos x="connsiteX2363" y="connsiteY2363"/>
                </a:cxn>
                <a:cxn ang="0">
                  <a:pos x="connsiteX2364" y="connsiteY2364"/>
                </a:cxn>
                <a:cxn ang="0">
                  <a:pos x="connsiteX2365" y="connsiteY2365"/>
                </a:cxn>
                <a:cxn ang="0">
                  <a:pos x="connsiteX2366" y="connsiteY2366"/>
                </a:cxn>
                <a:cxn ang="0">
                  <a:pos x="connsiteX2367" y="connsiteY2367"/>
                </a:cxn>
                <a:cxn ang="0">
                  <a:pos x="connsiteX2368" y="connsiteY2368"/>
                </a:cxn>
                <a:cxn ang="0">
                  <a:pos x="connsiteX2369" y="connsiteY2369"/>
                </a:cxn>
                <a:cxn ang="0">
                  <a:pos x="connsiteX2370" y="connsiteY2370"/>
                </a:cxn>
                <a:cxn ang="0">
                  <a:pos x="connsiteX2371" y="connsiteY2371"/>
                </a:cxn>
                <a:cxn ang="0">
                  <a:pos x="connsiteX2372" y="connsiteY2372"/>
                </a:cxn>
                <a:cxn ang="0">
                  <a:pos x="connsiteX2373" y="connsiteY2373"/>
                </a:cxn>
                <a:cxn ang="0">
                  <a:pos x="connsiteX2374" y="connsiteY2374"/>
                </a:cxn>
                <a:cxn ang="0">
                  <a:pos x="connsiteX2375" y="connsiteY2375"/>
                </a:cxn>
                <a:cxn ang="0">
                  <a:pos x="connsiteX2376" y="connsiteY2376"/>
                </a:cxn>
                <a:cxn ang="0">
                  <a:pos x="connsiteX2377" y="connsiteY2377"/>
                </a:cxn>
                <a:cxn ang="0">
                  <a:pos x="connsiteX2378" y="connsiteY2378"/>
                </a:cxn>
                <a:cxn ang="0">
                  <a:pos x="connsiteX2379" y="connsiteY2379"/>
                </a:cxn>
                <a:cxn ang="0">
                  <a:pos x="connsiteX2380" y="connsiteY2380"/>
                </a:cxn>
                <a:cxn ang="0">
                  <a:pos x="connsiteX2381" y="connsiteY2381"/>
                </a:cxn>
                <a:cxn ang="0">
                  <a:pos x="connsiteX2382" y="connsiteY2382"/>
                </a:cxn>
                <a:cxn ang="0">
                  <a:pos x="connsiteX2383" y="connsiteY2383"/>
                </a:cxn>
                <a:cxn ang="0">
                  <a:pos x="connsiteX2384" y="connsiteY2384"/>
                </a:cxn>
                <a:cxn ang="0">
                  <a:pos x="connsiteX2385" y="connsiteY2385"/>
                </a:cxn>
                <a:cxn ang="0">
                  <a:pos x="connsiteX2386" y="connsiteY2386"/>
                </a:cxn>
                <a:cxn ang="0">
                  <a:pos x="connsiteX2387" y="connsiteY2387"/>
                </a:cxn>
                <a:cxn ang="0">
                  <a:pos x="connsiteX2388" y="connsiteY2388"/>
                </a:cxn>
                <a:cxn ang="0">
                  <a:pos x="connsiteX2389" y="connsiteY2389"/>
                </a:cxn>
                <a:cxn ang="0">
                  <a:pos x="connsiteX2390" y="connsiteY2390"/>
                </a:cxn>
                <a:cxn ang="0">
                  <a:pos x="connsiteX2391" y="connsiteY2391"/>
                </a:cxn>
                <a:cxn ang="0">
                  <a:pos x="connsiteX2392" y="connsiteY2392"/>
                </a:cxn>
                <a:cxn ang="0">
                  <a:pos x="connsiteX2393" y="connsiteY2393"/>
                </a:cxn>
                <a:cxn ang="0">
                  <a:pos x="connsiteX2394" y="connsiteY2394"/>
                </a:cxn>
                <a:cxn ang="0">
                  <a:pos x="connsiteX2395" y="connsiteY2395"/>
                </a:cxn>
                <a:cxn ang="0">
                  <a:pos x="connsiteX2396" y="connsiteY2396"/>
                </a:cxn>
                <a:cxn ang="0">
                  <a:pos x="connsiteX2397" y="connsiteY2397"/>
                </a:cxn>
                <a:cxn ang="0">
                  <a:pos x="connsiteX2398" y="connsiteY2398"/>
                </a:cxn>
                <a:cxn ang="0">
                  <a:pos x="connsiteX2399" y="connsiteY2399"/>
                </a:cxn>
                <a:cxn ang="0">
                  <a:pos x="connsiteX2400" y="connsiteY2400"/>
                </a:cxn>
                <a:cxn ang="0">
                  <a:pos x="connsiteX2401" y="connsiteY2401"/>
                </a:cxn>
                <a:cxn ang="0">
                  <a:pos x="connsiteX2402" y="connsiteY2402"/>
                </a:cxn>
                <a:cxn ang="0">
                  <a:pos x="connsiteX2403" y="connsiteY2403"/>
                </a:cxn>
                <a:cxn ang="0">
                  <a:pos x="connsiteX2404" y="connsiteY2404"/>
                </a:cxn>
                <a:cxn ang="0">
                  <a:pos x="connsiteX2405" y="connsiteY2405"/>
                </a:cxn>
                <a:cxn ang="0">
                  <a:pos x="connsiteX2406" y="connsiteY2406"/>
                </a:cxn>
                <a:cxn ang="0">
                  <a:pos x="connsiteX2407" y="connsiteY2407"/>
                </a:cxn>
                <a:cxn ang="0">
                  <a:pos x="connsiteX2408" y="connsiteY2408"/>
                </a:cxn>
                <a:cxn ang="0">
                  <a:pos x="connsiteX2409" y="connsiteY2409"/>
                </a:cxn>
                <a:cxn ang="0">
                  <a:pos x="connsiteX2410" y="connsiteY2410"/>
                </a:cxn>
                <a:cxn ang="0">
                  <a:pos x="connsiteX2411" y="connsiteY2411"/>
                </a:cxn>
                <a:cxn ang="0">
                  <a:pos x="connsiteX2412" y="connsiteY2412"/>
                </a:cxn>
                <a:cxn ang="0">
                  <a:pos x="connsiteX2413" y="connsiteY2413"/>
                </a:cxn>
                <a:cxn ang="0">
                  <a:pos x="connsiteX2414" y="connsiteY2414"/>
                </a:cxn>
                <a:cxn ang="0">
                  <a:pos x="connsiteX2415" y="connsiteY2415"/>
                </a:cxn>
                <a:cxn ang="0">
                  <a:pos x="connsiteX2416" y="connsiteY2416"/>
                </a:cxn>
                <a:cxn ang="0">
                  <a:pos x="connsiteX2417" y="connsiteY2417"/>
                </a:cxn>
                <a:cxn ang="0">
                  <a:pos x="connsiteX2418" y="connsiteY2418"/>
                </a:cxn>
                <a:cxn ang="0">
                  <a:pos x="connsiteX2419" y="connsiteY2419"/>
                </a:cxn>
                <a:cxn ang="0">
                  <a:pos x="connsiteX2420" y="connsiteY2420"/>
                </a:cxn>
                <a:cxn ang="0">
                  <a:pos x="connsiteX2421" y="connsiteY2421"/>
                </a:cxn>
                <a:cxn ang="0">
                  <a:pos x="connsiteX2422" y="connsiteY2422"/>
                </a:cxn>
                <a:cxn ang="0">
                  <a:pos x="connsiteX2423" y="connsiteY2423"/>
                </a:cxn>
                <a:cxn ang="0">
                  <a:pos x="connsiteX2424" y="connsiteY2424"/>
                </a:cxn>
                <a:cxn ang="0">
                  <a:pos x="connsiteX2425" y="connsiteY2425"/>
                </a:cxn>
                <a:cxn ang="0">
                  <a:pos x="connsiteX2426" y="connsiteY2426"/>
                </a:cxn>
                <a:cxn ang="0">
                  <a:pos x="connsiteX2427" y="connsiteY2427"/>
                </a:cxn>
                <a:cxn ang="0">
                  <a:pos x="connsiteX2428" y="connsiteY2428"/>
                </a:cxn>
                <a:cxn ang="0">
                  <a:pos x="connsiteX2429" y="connsiteY2429"/>
                </a:cxn>
                <a:cxn ang="0">
                  <a:pos x="connsiteX2430" y="connsiteY2430"/>
                </a:cxn>
                <a:cxn ang="0">
                  <a:pos x="connsiteX2431" y="connsiteY2431"/>
                </a:cxn>
                <a:cxn ang="0">
                  <a:pos x="connsiteX2432" y="connsiteY2432"/>
                </a:cxn>
                <a:cxn ang="0">
                  <a:pos x="connsiteX2433" y="connsiteY2433"/>
                </a:cxn>
                <a:cxn ang="0">
                  <a:pos x="connsiteX2434" y="connsiteY2434"/>
                </a:cxn>
                <a:cxn ang="0">
                  <a:pos x="connsiteX2435" y="connsiteY2435"/>
                </a:cxn>
                <a:cxn ang="0">
                  <a:pos x="connsiteX2436" y="connsiteY2436"/>
                </a:cxn>
                <a:cxn ang="0">
                  <a:pos x="connsiteX2437" y="connsiteY2437"/>
                </a:cxn>
              </a:cxnLst>
              <a:rect l="l" t="t" r="r" b="b"/>
              <a:pathLst>
                <a:path w="1472512" h="734237">
                  <a:moveTo>
                    <a:pt x="1095457" y="733306"/>
                  </a:moveTo>
                  <a:lnTo>
                    <a:pt x="1096197" y="733339"/>
                  </a:lnTo>
                  <a:lnTo>
                    <a:pt x="1096170" y="733907"/>
                  </a:lnTo>
                  <a:lnTo>
                    <a:pt x="1095045" y="734176"/>
                  </a:lnTo>
                  <a:lnTo>
                    <a:pt x="1094396" y="734237"/>
                  </a:lnTo>
                  <a:lnTo>
                    <a:pt x="1094341" y="733817"/>
                  </a:lnTo>
                  <a:close/>
                  <a:moveTo>
                    <a:pt x="1100696" y="730258"/>
                  </a:moveTo>
                  <a:lnTo>
                    <a:pt x="1101478" y="731523"/>
                  </a:lnTo>
                  <a:lnTo>
                    <a:pt x="1101463" y="732291"/>
                  </a:lnTo>
                  <a:lnTo>
                    <a:pt x="1100584" y="732677"/>
                  </a:lnTo>
                  <a:lnTo>
                    <a:pt x="1098932" y="732945"/>
                  </a:lnTo>
                  <a:lnTo>
                    <a:pt x="1100265" y="731877"/>
                  </a:lnTo>
                  <a:close/>
                  <a:moveTo>
                    <a:pt x="1104323" y="728609"/>
                  </a:moveTo>
                  <a:lnTo>
                    <a:pt x="1106818" y="730369"/>
                  </a:lnTo>
                  <a:lnTo>
                    <a:pt x="1106882" y="730841"/>
                  </a:lnTo>
                  <a:lnTo>
                    <a:pt x="1106499" y="731306"/>
                  </a:lnTo>
                  <a:lnTo>
                    <a:pt x="1105735" y="731863"/>
                  </a:lnTo>
                  <a:lnTo>
                    <a:pt x="1105370" y="731691"/>
                  </a:lnTo>
                  <a:lnTo>
                    <a:pt x="1105370" y="730879"/>
                  </a:lnTo>
                  <a:lnTo>
                    <a:pt x="1104283" y="729079"/>
                  </a:lnTo>
                  <a:close/>
                  <a:moveTo>
                    <a:pt x="1116814" y="728352"/>
                  </a:moveTo>
                  <a:lnTo>
                    <a:pt x="1115323" y="729209"/>
                  </a:lnTo>
                  <a:lnTo>
                    <a:pt x="1113913" y="729509"/>
                  </a:lnTo>
                  <a:lnTo>
                    <a:pt x="1112745" y="730152"/>
                  </a:lnTo>
                  <a:lnTo>
                    <a:pt x="1111537" y="729680"/>
                  </a:lnTo>
                  <a:lnTo>
                    <a:pt x="1112866" y="729038"/>
                  </a:lnTo>
                  <a:close/>
                  <a:moveTo>
                    <a:pt x="1120157" y="725997"/>
                  </a:moveTo>
                  <a:lnTo>
                    <a:pt x="1120520" y="726297"/>
                  </a:lnTo>
                  <a:lnTo>
                    <a:pt x="1120479" y="726682"/>
                  </a:lnTo>
                  <a:lnTo>
                    <a:pt x="1119392" y="727154"/>
                  </a:lnTo>
                  <a:lnTo>
                    <a:pt x="1118908" y="727154"/>
                  </a:lnTo>
                  <a:lnTo>
                    <a:pt x="1119150" y="726768"/>
                  </a:lnTo>
                  <a:close/>
                  <a:moveTo>
                    <a:pt x="1124589" y="723424"/>
                  </a:moveTo>
                  <a:lnTo>
                    <a:pt x="1124872" y="723511"/>
                  </a:lnTo>
                  <a:lnTo>
                    <a:pt x="1124267" y="724455"/>
                  </a:lnTo>
                  <a:lnTo>
                    <a:pt x="1123583" y="724582"/>
                  </a:lnTo>
                  <a:close/>
                  <a:moveTo>
                    <a:pt x="1133991" y="712382"/>
                  </a:moveTo>
                  <a:lnTo>
                    <a:pt x="1130810" y="717962"/>
                  </a:lnTo>
                  <a:lnTo>
                    <a:pt x="1125740" y="723068"/>
                  </a:lnTo>
                  <a:lnTo>
                    <a:pt x="1126302" y="721791"/>
                  </a:lnTo>
                  <a:lnTo>
                    <a:pt x="1128278" y="719058"/>
                  </a:lnTo>
                  <a:lnTo>
                    <a:pt x="1128917" y="717771"/>
                  </a:lnTo>
                  <a:lnTo>
                    <a:pt x="1130252" y="716956"/>
                  </a:lnTo>
                  <a:lnTo>
                    <a:pt x="1131496" y="715480"/>
                  </a:lnTo>
                  <a:lnTo>
                    <a:pt x="1131589" y="713758"/>
                  </a:lnTo>
                  <a:lnTo>
                    <a:pt x="1133394" y="712555"/>
                  </a:lnTo>
                  <a:close/>
                  <a:moveTo>
                    <a:pt x="1084393" y="679632"/>
                  </a:moveTo>
                  <a:lnTo>
                    <a:pt x="1085996" y="681575"/>
                  </a:lnTo>
                  <a:lnTo>
                    <a:pt x="1086569" y="682015"/>
                  </a:lnTo>
                  <a:lnTo>
                    <a:pt x="1088581" y="682215"/>
                  </a:lnTo>
                  <a:lnTo>
                    <a:pt x="1087672" y="682928"/>
                  </a:lnTo>
                  <a:lnTo>
                    <a:pt x="1085832" y="682404"/>
                  </a:lnTo>
                  <a:lnTo>
                    <a:pt x="1084827" y="681468"/>
                  </a:lnTo>
                  <a:close/>
                  <a:moveTo>
                    <a:pt x="1085215" y="675451"/>
                  </a:moveTo>
                  <a:lnTo>
                    <a:pt x="1086439" y="676415"/>
                  </a:lnTo>
                  <a:lnTo>
                    <a:pt x="1087392" y="679514"/>
                  </a:lnTo>
                  <a:lnTo>
                    <a:pt x="1087357" y="681122"/>
                  </a:lnTo>
                  <a:lnTo>
                    <a:pt x="1086071" y="678429"/>
                  </a:lnTo>
                  <a:close/>
                  <a:moveTo>
                    <a:pt x="697033" y="661854"/>
                  </a:moveTo>
                  <a:lnTo>
                    <a:pt x="697921" y="672691"/>
                  </a:lnTo>
                  <a:lnTo>
                    <a:pt x="701721" y="686423"/>
                  </a:lnTo>
                  <a:lnTo>
                    <a:pt x="702526" y="690259"/>
                  </a:lnTo>
                  <a:lnTo>
                    <a:pt x="702172" y="691526"/>
                  </a:lnTo>
                  <a:lnTo>
                    <a:pt x="700061" y="685603"/>
                  </a:lnTo>
                  <a:lnTo>
                    <a:pt x="696623" y="672170"/>
                  </a:lnTo>
                  <a:lnTo>
                    <a:pt x="696493" y="664497"/>
                  </a:lnTo>
                  <a:close/>
                  <a:moveTo>
                    <a:pt x="705335" y="644642"/>
                  </a:moveTo>
                  <a:lnTo>
                    <a:pt x="700481" y="652376"/>
                  </a:lnTo>
                  <a:lnTo>
                    <a:pt x="697859" y="659007"/>
                  </a:lnTo>
                  <a:lnTo>
                    <a:pt x="697064" y="660588"/>
                  </a:lnTo>
                  <a:lnTo>
                    <a:pt x="697283" y="658232"/>
                  </a:lnTo>
                  <a:lnTo>
                    <a:pt x="699355" y="652874"/>
                  </a:lnTo>
                  <a:lnTo>
                    <a:pt x="703564" y="645823"/>
                  </a:lnTo>
                  <a:close/>
                  <a:moveTo>
                    <a:pt x="1129404" y="643855"/>
                  </a:moveTo>
                  <a:lnTo>
                    <a:pt x="1130455" y="645400"/>
                  </a:lnTo>
                  <a:lnTo>
                    <a:pt x="1131481" y="648594"/>
                  </a:lnTo>
                  <a:lnTo>
                    <a:pt x="1135785" y="659603"/>
                  </a:lnTo>
                  <a:lnTo>
                    <a:pt x="1136200" y="661625"/>
                  </a:lnTo>
                  <a:lnTo>
                    <a:pt x="1133855" y="656932"/>
                  </a:lnTo>
                  <a:lnTo>
                    <a:pt x="1130956" y="649563"/>
                  </a:lnTo>
                  <a:close/>
                  <a:moveTo>
                    <a:pt x="710518" y="636064"/>
                  </a:moveTo>
                  <a:lnTo>
                    <a:pt x="710968" y="637283"/>
                  </a:lnTo>
                  <a:lnTo>
                    <a:pt x="708887" y="639291"/>
                  </a:lnTo>
                  <a:lnTo>
                    <a:pt x="706515" y="642447"/>
                  </a:lnTo>
                  <a:lnTo>
                    <a:pt x="705960" y="642514"/>
                  </a:lnTo>
                  <a:lnTo>
                    <a:pt x="707195" y="640256"/>
                  </a:lnTo>
                  <a:lnTo>
                    <a:pt x="707424" y="639351"/>
                  </a:lnTo>
                  <a:lnTo>
                    <a:pt x="709449" y="636491"/>
                  </a:lnTo>
                  <a:close/>
                  <a:moveTo>
                    <a:pt x="722095" y="629193"/>
                  </a:moveTo>
                  <a:lnTo>
                    <a:pt x="721846" y="630404"/>
                  </a:lnTo>
                  <a:lnTo>
                    <a:pt x="718516" y="632124"/>
                  </a:lnTo>
                  <a:lnTo>
                    <a:pt x="712890" y="635521"/>
                  </a:lnTo>
                  <a:lnTo>
                    <a:pt x="711953" y="635637"/>
                  </a:lnTo>
                  <a:lnTo>
                    <a:pt x="713114" y="634145"/>
                  </a:lnTo>
                  <a:lnTo>
                    <a:pt x="715002" y="633391"/>
                  </a:lnTo>
                  <a:lnTo>
                    <a:pt x="719142" y="630525"/>
                  </a:lnTo>
                  <a:lnTo>
                    <a:pt x="720831" y="630327"/>
                  </a:lnTo>
                  <a:lnTo>
                    <a:pt x="721710" y="629339"/>
                  </a:lnTo>
                  <a:close/>
                  <a:moveTo>
                    <a:pt x="762341" y="602578"/>
                  </a:moveTo>
                  <a:lnTo>
                    <a:pt x="763829" y="602640"/>
                  </a:lnTo>
                  <a:lnTo>
                    <a:pt x="761346" y="605036"/>
                  </a:lnTo>
                  <a:lnTo>
                    <a:pt x="756888" y="608009"/>
                  </a:lnTo>
                  <a:lnTo>
                    <a:pt x="755613" y="608276"/>
                  </a:lnTo>
                  <a:lnTo>
                    <a:pt x="761174" y="604001"/>
                  </a:lnTo>
                  <a:close/>
                  <a:moveTo>
                    <a:pt x="836342" y="594154"/>
                  </a:moveTo>
                  <a:lnTo>
                    <a:pt x="837613" y="594237"/>
                  </a:lnTo>
                  <a:lnTo>
                    <a:pt x="839622" y="595463"/>
                  </a:lnTo>
                  <a:lnTo>
                    <a:pt x="840358" y="595804"/>
                  </a:lnTo>
                  <a:lnTo>
                    <a:pt x="840699" y="596300"/>
                  </a:lnTo>
                  <a:lnTo>
                    <a:pt x="840503" y="597076"/>
                  </a:lnTo>
                  <a:lnTo>
                    <a:pt x="839694" y="598142"/>
                  </a:lnTo>
                  <a:lnTo>
                    <a:pt x="838746" y="598539"/>
                  </a:lnTo>
                  <a:lnTo>
                    <a:pt x="834526" y="596128"/>
                  </a:lnTo>
                  <a:lnTo>
                    <a:pt x="834261" y="595091"/>
                  </a:lnTo>
                  <a:close/>
                  <a:moveTo>
                    <a:pt x="1019706" y="591687"/>
                  </a:moveTo>
                  <a:lnTo>
                    <a:pt x="1015349" y="594190"/>
                  </a:lnTo>
                  <a:lnTo>
                    <a:pt x="1012789" y="595193"/>
                  </a:lnTo>
                  <a:lnTo>
                    <a:pt x="1010021" y="594464"/>
                  </a:lnTo>
                  <a:lnTo>
                    <a:pt x="1011742" y="594325"/>
                  </a:lnTo>
                  <a:lnTo>
                    <a:pt x="1012986" y="594620"/>
                  </a:lnTo>
                  <a:lnTo>
                    <a:pt x="1016137" y="593187"/>
                  </a:lnTo>
                  <a:lnTo>
                    <a:pt x="1017790" y="592101"/>
                  </a:lnTo>
                  <a:close/>
                  <a:moveTo>
                    <a:pt x="914208" y="591115"/>
                  </a:moveTo>
                  <a:lnTo>
                    <a:pt x="913784" y="592239"/>
                  </a:lnTo>
                  <a:lnTo>
                    <a:pt x="912398" y="593699"/>
                  </a:lnTo>
                  <a:lnTo>
                    <a:pt x="912462" y="593143"/>
                  </a:lnTo>
                  <a:lnTo>
                    <a:pt x="913482" y="591682"/>
                  </a:lnTo>
                  <a:close/>
                  <a:moveTo>
                    <a:pt x="914355" y="582638"/>
                  </a:moveTo>
                  <a:lnTo>
                    <a:pt x="915401" y="584211"/>
                  </a:lnTo>
                  <a:lnTo>
                    <a:pt x="915741" y="586082"/>
                  </a:lnTo>
                  <a:lnTo>
                    <a:pt x="915362" y="589588"/>
                  </a:lnTo>
                  <a:lnTo>
                    <a:pt x="914643" y="590476"/>
                  </a:lnTo>
                  <a:lnTo>
                    <a:pt x="915348" y="586222"/>
                  </a:lnTo>
                  <a:close/>
                  <a:moveTo>
                    <a:pt x="906250" y="579511"/>
                  </a:moveTo>
                  <a:lnTo>
                    <a:pt x="905586" y="580697"/>
                  </a:lnTo>
                  <a:lnTo>
                    <a:pt x="905247" y="581875"/>
                  </a:lnTo>
                  <a:lnTo>
                    <a:pt x="905337" y="583173"/>
                  </a:lnTo>
                  <a:lnTo>
                    <a:pt x="904087" y="582527"/>
                  </a:lnTo>
                  <a:lnTo>
                    <a:pt x="902236" y="582468"/>
                  </a:lnTo>
                  <a:lnTo>
                    <a:pt x="903051" y="582024"/>
                  </a:lnTo>
                  <a:lnTo>
                    <a:pt x="903624" y="581592"/>
                  </a:lnTo>
                  <a:lnTo>
                    <a:pt x="903908" y="581127"/>
                  </a:lnTo>
                  <a:close/>
                  <a:moveTo>
                    <a:pt x="918030" y="576838"/>
                  </a:moveTo>
                  <a:lnTo>
                    <a:pt x="921827" y="577820"/>
                  </a:lnTo>
                  <a:lnTo>
                    <a:pt x="922232" y="578190"/>
                  </a:lnTo>
                  <a:lnTo>
                    <a:pt x="921912" y="578501"/>
                  </a:lnTo>
                  <a:lnTo>
                    <a:pt x="919652" y="577919"/>
                  </a:lnTo>
                  <a:lnTo>
                    <a:pt x="918279" y="577378"/>
                  </a:lnTo>
                  <a:close/>
                  <a:moveTo>
                    <a:pt x="933681" y="576572"/>
                  </a:moveTo>
                  <a:lnTo>
                    <a:pt x="934650" y="577170"/>
                  </a:lnTo>
                  <a:lnTo>
                    <a:pt x="932406" y="577769"/>
                  </a:lnTo>
                  <a:lnTo>
                    <a:pt x="929078" y="577714"/>
                  </a:lnTo>
                  <a:lnTo>
                    <a:pt x="928402" y="577503"/>
                  </a:lnTo>
                  <a:lnTo>
                    <a:pt x="929737" y="577104"/>
                  </a:lnTo>
                  <a:close/>
                  <a:moveTo>
                    <a:pt x="1104351" y="557012"/>
                  </a:moveTo>
                  <a:lnTo>
                    <a:pt x="1103218" y="563852"/>
                  </a:lnTo>
                  <a:lnTo>
                    <a:pt x="1102726" y="561431"/>
                  </a:lnTo>
                  <a:lnTo>
                    <a:pt x="1102677" y="559079"/>
                  </a:lnTo>
                  <a:lnTo>
                    <a:pt x="1103537" y="557687"/>
                  </a:lnTo>
                  <a:close/>
                  <a:moveTo>
                    <a:pt x="156960" y="498703"/>
                  </a:moveTo>
                  <a:lnTo>
                    <a:pt x="158226" y="500775"/>
                  </a:lnTo>
                  <a:lnTo>
                    <a:pt x="161396" y="503919"/>
                  </a:lnTo>
                  <a:lnTo>
                    <a:pt x="162232" y="504540"/>
                  </a:lnTo>
                  <a:lnTo>
                    <a:pt x="160747" y="504799"/>
                  </a:lnTo>
                  <a:lnTo>
                    <a:pt x="159100" y="504218"/>
                  </a:lnTo>
                  <a:lnTo>
                    <a:pt x="157679" y="501467"/>
                  </a:lnTo>
                  <a:lnTo>
                    <a:pt x="156115" y="499316"/>
                  </a:lnTo>
                  <a:close/>
                  <a:moveTo>
                    <a:pt x="132264" y="491593"/>
                  </a:moveTo>
                  <a:lnTo>
                    <a:pt x="133447" y="491806"/>
                  </a:lnTo>
                  <a:lnTo>
                    <a:pt x="134383" y="493009"/>
                  </a:lnTo>
                  <a:lnTo>
                    <a:pt x="134486" y="493443"/>
                  </a:lnTo>
                  <a:lnTo>
                    <a:pt x="133351" y="493497"/>
                  </a:lnTo>
                  <a:lnTo>
                    <a:pt x="131793" y="493231"/>
                  </a:lnTo>
                  <a:lnTo>
                    <a:pt x="130987" y="491700"/>
                  </a:lnTo>
                  <a:close/>
                  <a:moveTo>
                    <a:pt x="157017" y="486023"/>
                  </a:moveTo>
                  <a:lnTo>
                    <a:pt x="161179" y="487794"/>
                  </a:lnTo>
                  <a:lnTo>
                    <a:pt x="162294" y="488632"/>
                  </a:lnTo>
                  <a:lnTo>
                    <a:pt x="163583" y="490734"/>
                  </a:lnTo>
                  <a:lnTo>
                    <a:pt x="161727" y="490475"/>
                  </a:lnTo>
                  <a:lnTo>
                    <a:pt x="159786" y="490592"/>
                  </a:lnTo>
                  <a:lnTo>
                    <a:pt x="159198" y="489449"/>
                  </a:lnTo>
                  <a:lnTo>
                    <a:pt x="158618" y="487860"/>
                  </a:lnTo>
                  <a:lnTo>
                    <a:pt x="158229" y="487454"/>
                  </a:lnTo>
                  <a:lnTo>
                    <a:pt x="156900" y="487312"/>
                  </a:lnTo>
                  <a:lnTo>
                    <a:pt x="156800" y="487168"/>
                  </a:lnTo>
                  <a:lnTo>
                    <a:pt x="156644" y="486392"/>
                  </a:lnTo>
                  <a:close/>
                  <a:moveTo>
                    <a:pt x="118317" y="470293"/>
                  </a:moveTo>
                  <a:lnTo>
                    <a:pt x="120293" y="471486"/>
                  </a:lnTo>
                  <a:lnTo>
                    <a:pt x="120560" y="471818"/>
                  </a:lnTo>
                  <a:lnTo>
                    <a:pt x="119040" y="473381"/>
                  </a:lnTo>
                  <a:lnTo>
                    <a:pt x="117245" y="473781"/>
                  </a:lnTo>
                  <a:lnTo>
                    <a:pt x="115887" y="473404"/>
                  </a:lnTo>
                  <a:lnTo>
                    <a:pt x="113725" y="470655"/>
                  </a:lnTo>
                  <a:close/>
                  <a:moveTo>
                    <a:pt x="110770" y="468951"/>
                  </a:moveTo>
                  <a:lnTo>
                    <a:pt x="111137" y="469314"/>
                  </a:lnTo>
                  <a:lnTo>
                    <a:pt x="112328" y="470340"/>
                  </a:lnTo>
                  <a:lnTo>
                    <a:pt x="110973" y="470414"/>
                  </a:lnTo>
                  <a:lnTo>
                    <a:pt x="108886" y="470109"/>
                  </a:lnTo>
                  <a:lnTo>
                    <a:pt x="109616" y="469438"/>
                  </a:lnTo>
                  <a:close/>
                  <a:moveTo>
                    <a:pt x="123152" y="468768"/>
                  </a:moveTo>
                  <a:lnTo>
                    <a:pt x="128344" y="470238"/>
                  </a:lnTo>
                  <a:lnTo>
                    <a:pt x="131143" y="469533"/>
                  </a:lnTo>
                  <a:lnTo>
                    <a:pt x="131649" y="470246"/>
                  </a:lnTo>
                  <a:lnTo>
                    <a:pt x="131319" y="470864"/>
                  </a:lnTo>
                  <a:lnTo>
                    <a:pt x="125009" y="471977"/>
                  </a:lnTo>
                  <a:lnTo>
                    <a:pt x="123071" y="471198"/>
                  </a:lnTo>
                  <a:lnTo>
                    <a:pt x="122894" y="470130"/>
                  </a:lnTo>
                  <a:lnTo>
                    <a:pt x="122240" y="469108"/>
                  </a:lnTo>
                  <a:close/>
                  <a:moveTo>
                    <a:pt x="1225398" y="450920"/>
                  </a:moveTo>
                  <a:lnTo>
                    <a:pt x="1226716" y="451083"/>
                  </a:lnTo>
                  <a:lnTo>
                    <a:pt x="1228655" y="452225"/>
                  </a:lnTo>
                  <a:lnTo>
                    <a:pt x="1228087" y="452294"/>
                  </a:lnTo>
                  <a:lnTo>
                    <a:pt x="1227085" y="451975"/>
                  </a:lnTo>
                  <a:lnTo>
                    <a:pt x="1225703" y="451367"/>
                  </a:lnTo>
                  <a:close/>
                  <a:moveTo>
                    <a:pt x="1237300" y="444032"/>
                  </a:moveTo>
                  <a:lnTo>
                    <a:pt x="1233465" y="447936"/>
                  </a:lnTo>
                  <a:lnTo>
                    <a:pt x="1229742" y="452569"/>
                  </a:lnTo>
                  <a:lnTo>
                    <a:pt x="1229107" y="452899"/>
                  </a:lnTo>
                  <a:lnTo>
                    <a:pt x="1231442" y="449301"/>
                  </a:lnTo>
                  <a:lnTo>
                    <a:pt x="1236055" y="444731"/>
                  </a:lnTo>
                  <a:close/>
                  <a:moveTo>
                    <a:pt x="1248152" y="436768"/>
                  </a:moveTo>
                  <a:lnTo>
                    <a:pt x="1243517" y="438833"/>
                  </a:lnTo>
                  <a:lnTo>
                    <a:pt x="1242993" y="438709"/>
                  </a:lnTo>
                  <a:lnTo>
                    <a:pt x="1246036" y="437233"/>
                  </a:lnTo>
                  <a:close/>
                  <a:moveTo>
                    <a:pt x="1255255" y="419981"/>
                  </a:moveTo>
                  <a:lnTo>
                    <a:pt x="1255894" y="421510"/>
                  </a:lnTo>
                  <a:lnTo>
                    <a:pt x="1256456" y="425933"/>
                  </a:lnTo>
                  <a:lnTo>
                    <a:pt x="1256244" y="429283"/>
                  </a:lnTo>
                  <a:lnTo>
                    <a:pt x="1255106" y="434160"/>
                  </a:lnTo>
                  <a:lnTo>
                    <a:pt x="1254220" y="435324"/>
                  </a:lnTo>
                  <a:lnTo>
                    <a:pt x="1250798" y="436113"/>
                  </a:lnTo>
                  <a:lnTo>
                    <a:pt x="1250495" y="435861"/>
                  </a:lnTo>
                  <a:lnTo>
                    <a:pt x="1254417" y="434210"/>
                  </a:lnTo>
                  <a:lnTo>
                    <a:pt x="1255654" y="428390"/>
                  </a:lnTo>
                  <a:lnTo>
                    <a:pt x="1255824" y="425703"/>
                  </a:lnTo>
                  <a:lnTo>
                    <a:pt x="1255236" y="420961"/>
                  </a:lnTo>
                  <a:close/>
                  <a:moveTo>
                    <a:pt x="1249804" y="414834"/>
                  </a:moveTo>
                  <a:lnTo>
                    <a:pt x="1251548" y="415874"/>
                  </a:lnTo>
                  <a:lnTo>
                    <a:pt x="1251860" y="416740"/>
                  </a:lnTo>
                  <a:lnTo>
                    <a:pt x="1251884" y="417460"/>
                  </a:lnTo>
                  <a:lnTo>
                    <a:pt x="1251499" y="418050"/>
                  </a:lnTo>
                  <a:close/>
                  <a:moveTo>
                    <a:pt x="1265603" y="345759"/>
                  </a:moveTo>
                  <a:lnTo>
                    <a:pt x="1264626" y="349242"/>
                  </a:lnTo>
                  <a:lnTo>
                    <a:pt x="1262916" y="352443"/>
                  </a:lnTo>
                  <a:lnTo>
                    <a:pt x="1259604" y="357889"/>
                  </a:lnTo>
                  <a:lnTo>
                    <a:pt x="1258444" y="358368"/>
                  </a:lnTo>
                  <a:lnTo>
                    <a:pt x="1262336" y="352446"/>
                  </a:lnTo>
                  <a:lnTo>
                    <a:pt x="1264595" y="347478"/>
                  </a:lnTo>
                  <a:close/>
                  <a:moveTo>
                    <a:pt x="1290888" y="302554"/>
                  </a:moveTo>
                  <a:lnTo>
                    <a:pt x="1290213" y="304525"/>
                  </a:lnTo>
                  <a:lnTo>
                    <a:pt x="1287221" y="309062"/>
                  </a:lnTo>
                  <a:lnTo>
                    <a:pt x="1287152" y="308191"/>
                  </a:lnTo>
                  <a:close/>
                  <a:moveTo>
                    <a:pt x="1291048" y="275071"/>
                  </a:moveTo>
                  <a:lnTo>
                    <a:pt x="1291858" y="275347"/>
                  </a:lnTo>
                  <a:lnTo>
                    <a:pt x="1291892" y="276372"/>
                  </a:lnTo>
                  <a:lnTo>
                    <a:pt x="1291578" y="277249"/>
                  </a:lnTo>
                  <a:lnTo>
                    <a:pt x="1290077" y="278597"/>
                  </a:lnTo>
                  <a:lnTo>
                    <a:pt x="1288811" y="279171"/>
                  </a:lnTo>
                  <a:lnTo>
                    <a:pt x="1287593" y="279296"/>
                  </a:lnTo>
                  <a:lnTo>
                    <a:pt x="1288810" y="276397"/>
                  </a:lnTo>
                  <a:close/>
                  <a:moveTo>
                    <a:pt x="1337638" y="260074"/>
                  </a:moveTo>
                  <a:lnTo>
                    <a:pt x="1333727" y="263553"/>
                  </a:lnTo>
                  <a:lnTo>
                    <a:pt x="1331626" y="265146"/>
                  </a:lnTo>
                  <a:lnTo>
                    <a:pt x="1329813" y="267108"/>
                  </a:lnTo>
                  <a:lnTo>
                    <a:pt x="1331452" y="267307"/>
                  </a:lnTo>
                  <a:lnTo>
                    <a:pt x="1332861" y="266731"/>
                  </a:lnTo>
                  <a:lnTo>
                    <a:pt x="1334197" y="265567"/>
                  </a:lnTo>
                  <a:lnTo>
                    <a:pt x="1337298" y="263991"/>
                  </a:lnTo>
                  <a:lnTo>
                    <a:pt x="1339940" y="263303"/>
                  </a:lnTo>
                  <a:lnTo>
                    <a:pt x="1340771" y="263160"/>
                  </a:lnTo>
                  <a:lnTo>
                    <a:pt x="1342032" y="264265"/>
                  </a:lnTo>
                  <a:lnTo>
                    <a:pt x="1344530" y="263377"/>
                  </a:lnTo>
                  <a:lnTo>
                    <a:pt x="1347099" y="262879"/>
                  </a:lnTo>
                  <a:lnTo>
                    <a:pt x="1335983" y="267933"/>
                  </a:lnTo>
                  <a:lnTo>
                    <a:pt x="1333710" y="268502"/>
                  </a:lnTo>
                  <a:lnTo>
                    <a:pt x="1330458" y="270005"/>
                  </a:lnTo>
                  <a:lnTo>
                    <a:pt x="1327384" y="271070"/>
                  </a:lnTo>
                  <a:lnTo>
                    <a:pt x="1325170" y="271458"/>
                  </a:lnTo>
                  <a:lnTo>
                    <a:pt x="1314164" y="275200"/>
                  </a:lnTo>
                  <a:lnTo>
                    <a:pt x="1313291" y="275281"/>
                  </a:lnTo>
                  <a:lnTo>
                    <a:pt x="1312347" y="274916"/>
                  </a:lnTo>
                  <a:lnTo>
                    <a:pt x="1303281" y="276842"/>
                  </a:lnTo>
                  <a:lnTo>
                    <a:pt x="1299561" y="277060"/>
                  </a:lnTo>
                  <a:lnTo>
                    <a:pt x="1296173" y="277731"/>
                  </a:lnTo>
                  <a:lnTo>
                    <a:pt x="1298679" y="276181"/>
                  </a:lnTo>
                  <a:lnTo>
                    <a:pt x="1298734" y="275601"/>
                  </a:lnTo>
                  <a:lnTo>
                    <a:pt x="1298134" y="275147"/>
                  </a:lnTo>
                  <a:lnTo>
                    <a:pt x="1296793" y="275279"/>
                  </a:lnTo>
                  <a:lnTo>
                    <a:pt x="1295422" y="276875"/>
                  </a:lnTo>
                  <a:lnTo>
                    <a:pt x="1293231" y="277409"/>
                  </a:lnTo>
                  <a:lnTo>
                    <a:pt x="1292792" y="275670"/>
                  </a:lnTo>
                  <a:lnTo>
                    <a:pt x="1293524" y="274325"/>
                  </a:lnTo>
                  <a:lnTo>
                    <a:pt x="1294515" y="273047"/>
                  </a:lnTo>
                  <a:lnTo>
                    <a:pt x="1296691" y="271039"/>
                  </a:lnTo>
                  <a:lnTo>
                    <a:pt x="1299803" y="269765"/>
                  </a:lnTo>
                  <a:lnTo>
                    <a:pt x="1301385" y="268665"/>
                  </a:lnTo>
                  <a:lnTo>
                    <a:pt x="1302480" y="269634"/>
                  </a:lnTo>
                  <a:lnTo>
                    <a:pt x="1302722" y="268324"/>
                  </a:lnTo>
                  <a:lnTo>
                    <a:pt x="1303565" y="267567"/>
                  </a:lnTo>
                  <a:lnTo>
                    <a:pt x="1304482" y="267160"/>
                  </a:lnTo>
                  <a:lnTo>
                    <a:pt x="1306686" y="267150"/>
                  </a:lnTo>
                  <a:lnTo>
                    <a:pt x="1307873" y="266944"/>
                  </a:lnTo>
                  <a:lnTo>
                    <a:pt x="1308731" y="266508"/>
                  </a:lnTo>
                  <a:lnTo>
                    <a:pt x="1309613" y="266427"/>
                  </a:lnTo>
                  <a:lnTo>
                    <a:pt x="1312024" y="267021"/>
                  </a:lnTo>
                  <a:lnTo>
                    <a:pt x="1314380" y="266851"/>
                  </a:lnTo>
                  <a:lnTo>
                    <a:pt x="1316282" y="266031"/>
                  </a:lnTo>
                  <a:lnTo>
                    <a:pt x="1318259" y="265755"/>
                  </a:lnTo>
                  <a:lnTo>
                    <a:pt x="1323487" y="265569"/>
                  </a:lnTo>
                  <a:lnTo>
                    <a:pt x="1328684" y="264970"/>
                  </a:lnTo>
                  <a:lnTo>
                    <a:pt x="1330762" y="263902"/>
                  </a:lnTo>
                  <a:lnTo>
                    <a:pt x="1335126" y="260909"/>
                  </a:lnTo>
                  <a:close/>
                  <a:moveTo>
                    <a:pt x="1394599" y="252637"/>
                  </a:moveTo>
                  <a:lnTo>
                    <a:pt x="1396018" y="255646"/>
                  </a:lnTo>
                  <a:lnTo>
                    <a:pt x="1396213" y="256653"/>
                  </a:lnTo>
                  <a:lnTo>
                    <a:pt x="1394245" y="257142"/>
                  </a:lnTo>
                  <a:lnTo>
                    <a:pt x="1389705" y="256020"/>
                  </a:lnTo>
                  <a:lnTo>
                    <a:pt x="1393440" y="255069"/>
                  </a:lnTo>
                  <a:lnTo>
                    <a:pt x="1394051" y="254738"/>
                  </a:lnTo>
                  <a:lnTo>
                    <a:pt x="1394538" y="253339"/>
                  </a:lnTo>
                  <a:close/>
                  <a:moveTo>
                    <a:pt x="1379936" y="250817"/>
                  </a:moveTo>
                  <a:lnTo>
                    <a:pt x="1382249" y="252110"/>
                  </a:lnTo>
                  <a:lnTo>
                    <a:pt x="1382642" y="253282"/>
                  </a:lnTo>
                  <a:lnTo>
                    <a:pt x="1375618" y="254770"/>
                  </a:lnTo>
                  <a:lnTo>
                    <a:pt x="1374497" y="253809"/>
                  </a:lnTo>
                  <a:lnTo>
                    <a:pt x="1376250" y="253365"/>
                  </a:lnTo>
                  <a:lnTo>
                    <a:pt x="1378464" y="251082"/>
                  </a:lnTo>
                  <a:close/>
                  <a:moveTo>
                    <a:pt x="1360847" y="247322"/>
                  </a:moveTo>
                  <a:lnTo>
                    <a:pt x="1361097" y="248224"/>
                  </a:lnTo>
                  <a:lnTo>
                    <a:pt x="1360821" y="249962"/>
                  </a:lnTo>
                  <a:lnTo>
                    <a:pt x="1360114" y="250527"/>
                  </a:lnTo>
                  <a:lnTo>
                    <a:pt x="1359849" y="249055"/>
                  </a:lnTo>
                  <a:lnTo>
                    <a:pt x="1360344" y="247362"/>
                  </a:lnTo>
                  <a:close/>
                  <a:moveTo>
                    <a:pt x="1364221" y="244805"/>
                  </a:moveTo>
                  <a:lnTo>
                    <a:pt x="1363983" y="249758"/>
                  </a:lnTo>
                  <a:lnTo>
                    <a:pt x="1362719" y="250592"/>
                  </a:lnTo>
                  <a:lnTo>
                    <a:pt x="1361308" y="250445"/>
                  </a:lnTo>
                  <a:lnTo>
                    <a:pt x="1362024" y="249320"/>
                  </a:lnTo>
                  <a:lnTo>
                    <a:pt x="1362297" y="247667"/>
                  </a:lnTo>
                  <a:lnTo>
                    <a:pt x="1362994" y="245851"/>
                  </a:lnTo>
                  <a:lnTo>
                    <a:pt x="1363394" y="245295"/>
                  </a:lnTo>
                  <a:close/>
                  <a:moveTo>
                    <a:pt x="1429406" y="164388"/>
                  </a:moveTo>
                  <a:lnTo>
                    <a:pt x="1429937" y="164822"/>
                  </a:lnTo>
                  <a:lnTo>
                    <a:pt x="1430772" y="166270"/>
                  </a:lnTo>
                  <a:lnTo>
                    <a:pt x="1429803" y="166889"/>
                  </a:lnTo>
                  <a:lnTo>
                    <a:pt x="1428770" y="166690"/>
                  </a:lnTo>
                  <a:lnTo>
                    <a:pt x="1428736" y="165145"/>
                  </a:lnTo>
                  <a:lnTo>
                    <a:pt x="1429049" y="164622"/>
                  </a:lnTo>
                  <a:close/>
                  <a:moveTo>
                    <a:pt x="1439032" y="158114"/>
                  </a:moveTo>
                  <a:lnTo>
                    <a:pt x="1440597" y="158682"/>
                  </a:lnTo>
                  <a:lnTo>
                    <a:pt x="1441799" y="161001"/>
                  </a:lnTo>
                  <a:lnTo>
                    <a:pt x="1441893" y="162001"/>
                  </a:lnTo>
                  <a:lnTo>
                    <a:pt x="1440408" y="162610"/>
                  </a:lnTo>
                  <a:lnTo>
                    <a:pt x="1438781" y="162345"/>
                  </a:lnTo>
                  <a:lnTo>
                    <a:pt x="1438815" y="163998"/>
                  </a:lnTo>
                  <a:lnTo>
                    <a:pt x="1438632" y="164592"/>
                  </a:lnTo>
                  <a:lnTo>
                    <a:pt x="1436829" y="163742"/>
                  </a:lnTo>
                  <a:lnTo>
                    <a:pt x="1436167" y="163195"/>
                  </a:lnTo>
                  <a:lnTo>
                    <a:pt x="1436225" y="161006"/>
                  </a:lnTo>
                  <a:lnTo>
                    <a:pt x="1437818" y="158933"/>
                  </a:lnTo>
                  <a:close/>
                  <a:moveTo>
                    <a:pt x="46551" y="68443"/>
                  </a:moveTo>
                  <a:lnTo>
                    <a:pt x="47469" y="70328"/>
                  </a:lnTo>
                  <a:lnTo>
                    <a:pt x="47368" y="70702"/>
                  </a:lnTo>
                  <a:lnTo>
                    <a:pt x="47126" y="71337"/>
                  </a:lnTo>
                  <a:lnTo>
                    <a:pt x="46766" y="71302"/>
                  </a:lnTo>
                  <a:lnTo>
                    <a:pt x="45969" y="70013"/>
                  </a:lnTo>
                  <a:lnTo>
                    <a:pt x="45867" y="69101"/>
                  </a:lnTo>
                  <a:close/>
                  <a:moveTo>
                    <a:pt x="57175" y="61483"/>
                  </a:moveTo>
                  <a:lnTo>
                    <a:pt x="57852" y="62902"/>
                  </a:lnTo>
                  <a:lnTo>
                    <a:pt x="59076" y="64548"/>
                  </a:lnTo>
                  <a:lnTo>
                    <a:pt x="58959" y="65283"/>
                  </a:lnTo>
                  <a:lnTo>
                    <a:pt x="57980" y="65857"/>
                  </a:lnTo>
                  <a:lnTo>
                    <a:pt x="57473" y="65709"/>
                  </a:lnTo>
                  <a:lnTo>
                    <a:pt x="57442" y="64842"/>
                  </a:lnTo>
                  <a:lnTo>
                    <a:pt x="57178" y="64710"/>
                  </a:lnTo>
                  <a:lnTo>
                    <a:pt x="56122" y="65752"/>
                  </a:lnTo>
                  <a:lnTo>
                    <a:pt x="56200" y="63694"/>
                  </a:lnTo>
                  <a:lnTo>
                    <a:pt x="56721" y="61522"/>
                  </a:lnTo>
                  <a:close/>
                  <a:moveTo>
                    <a:pt x="55106" y="54548"/>
                  </a:moveTo>
                  <a:lnTo>
                    <a:pt x="55936" y="54983"/>
                  </a:lnTo>
                  <a:lnTo>
                    <a:pt x="56175" y="55240"/>
                  </a:lnTo>
                  <a:lnTo>
                    <a:pt x="56445" y="58096"/>
                  </a:lnTo>
                  <a:lnTo>
                    <a:pt x="56308" y="58716"/>
                  </a:lnTo>
                  <a:lnTo>
                    <a:pt x="54901" y="57975"/>
                  </a:lnTo>
                  <a:lnTo>
                    <a:pt x="54439" y="57289"/>
                  </a:lnTo>
                  <a:lnTo>
                    <a:pt x="54494" y="55753"/>
                  </a:lnTo>
                  <a:lnTo>
                    <a:pt x="54841" y="54751"/>
                  </a:lnTo>
                  <a:close/>
                  <a:moveTo>
                    <a:pt x="53094" y="32395"/>
                  </a:moveTo>
                  <a:lnTo>
                    <a:pt x="53734" y="32513"/>
                  </a:lnTo>
                  <a:lnTo>
                    <a:pt x="54526" y="33201"/>
                  </a:lnTo>
                  <a:lnTo>
                    <a:pt x="55468" y="34455"/>
                  </a:lnTo>
                  <a:lnTo>
                    <a:pt x="55293" y="35344"/>
                  </a:lnTo>
                  <a:lnTo>
                    <a:pt x="51474" y="37071"/>
                  </a:lnTo>
                  <a:lnTo>
                    <a:pt x="51349" y="37476"/>
                  </a:lnTo>
                  <a:lnTo>
                    <a:pt x="53201" y="37963"/>
                  </a:lnTo>
                  <a:lnTo>
                    <a:pt x="53885" y="38396"/>
                  </a:lnTo>
                  <a:lnTo>
                    <a:pt x="54519" y="39826"/>
                  </a:lnTo>
                  <a:lnTo>
                    <a:pt x="55768" y="44100"/>
                  </a:lnTo>
                  <a:lnTo>
                    <a:pt x="56303" y="42321"/>
                  </a:lnTo>
                  <a:lnTo>
                    <a:pt x="59775" y="45402"/>
                  </a:lnTo>
                  <a:lnTo>
                    <a:pt x="59778" y="46920"/>
                  </a:lnTo>
                  <a:lnTo>
                    <a:pt x="59355" y="47427"/>
                  </a:lnTo>
                  <a:lnTo>
                    <a:pt x="58635" y="47605"/>
                  </a:lnTo>
                  <a:lnTo>
                    <a:pt x="57967" y="47162"/>
                  </a:lnTo>
                  <a:lnTo>
                    <a:pt x="57354" y="46101"/>
                  </a:lnTo>
                  <a:lnTo>
                    <a:pt x="56572" y="45537"/>
                  </a:lnTo>
                  <a:lnTo>
                    <a:pt x="54909" y="45173"/>
                  </a:lnTo>
                  <a:lnTo>
                    <a:pt x="54044" y="43964"/>
                  </a:lnTo>
                  <a:lnTo>
                    <a:pt x="53744" y="43137"/>
                  </a:lnTo>
                  <a:lnTo>
                    <a:pt x="53663" y="40740"/>
                  </a:lnTo>
                  <a:lnTo>
                    <a:pt x="53246" y="39995"/>
                  </a:lnTo>
                  <a:lnTo>
                    <a:pt x="52363" y="39830"/>
                  </a:lnTo>
                  <a:lnTo>
                    <a:pt x="51519" y="39263"/>
                  </a:lnTo>
                  <a:lnTo>
                    <a:pt x="50214" y="37586"/>
                  </a:lnTo>
                  <a:lnTo>
                    <a:pt x="50029" y="37138"/>
                  </a:lnTo>
                  <a:lnTo>
                    <a:pt x="50648" y="35770"/>
                  </a:lnTo>
                  <a:lnTo>
                    <a:pt x="52064" y="33481"/>
                  </a:lnTo>
                  <a:close/>
                  <a:moveTo>
                    <a:pt x="46541" y="26918"/>
                  </a:moveTo>
                  <a:lnTo>
                    <a:pt x="46965" y="27015"/>
                  </a:lnTo>
                  <a:lnTo>
                    <a:pt x="47144" y="28547"/>
                  </a:lnTo>
                  <a:lnTo>
                    <a:pt x="48350" y="30168"/>
                  </a:lnTo>
                  <a:lnTo>
                    <a:pt x="48190" y="30854"/>
                  </a:lnTo>
                  <a:lnTo>
                    <a:pt x="47790" y="31176"/>
                  </a:lnTo>
                  <a:lnTo>
                    <a:pt x="46426" y="30745"/>
                  </a:lnTo>
                  <a:lnTo>
                    <a:pt x="45620" y="30018"/>
                  </a:lnTo>
                  <a:lnTo>
                    <a:pt x="45348" y="29106"/>
                  </a:lnTo>
                  <a:lnTo>
                    <a:pt x="45860" y="27364"/>
                  </a:lnTo>
                  <a:close/>
                  <a:moveTo>
                    <a:pt x="40708" y="24897"/>
                  </a:moveTo>
                  <a:lnTo>
                    <a:pt x="43004" y="27348"/>
                  </a:lnTo>
                  <a:lnTo>
                    <a:pt x="43286" y="28578"/>
                  </a:lnTo>
                  <a:lnTo>
                    <a:pt x="43958" y="29655"/>
                  </a:lnTo>
                  <a:lnTo>
                    <a:pt x="41211" y="28965"/>
                  </a:lnTo>
                  <a:lnTo>
                    <a:pt x="40050" y="28348"/>
                  </a:lnTo>
                  <a:lnTo>
                    <a:pt x="39707" y="27745"/>
                  </a:lnTo>
                  <a:lnTo>
                    <a:pt x="39295" y="25768"/>
                  </a:lnTo>
                  <a:lnTo>
                    <a:pt x="39484" y="25123"/>
                  </a:lnTo>
                  <a:close/>
                  <a:moveTo>
                    <a:pt x="46229" y="21714"/>
                  </a:moveTo>
                  <a:lnTo>
                    <a:pt x="49178" y="22948"/>
                  </a:lnTo>
                  <a:lnTo>
                    <a:pt x="49517" y="23661"/>
                  </a:lnTo>
                  <a:lnTo>
                    <a:pt x="48493" y="24355"/>
                  </a:lnTo>
                  <a:lnTo>
                    <a:pt x="47763" y="24461"/>
                  </a:lnTo>
                  <a:lnTo>
                    <a:pt x="46602" y="23344"/>
                  </a:lnTo>
                  <a:lnTo>
                    <a:pt x="46095" y="23211"/>
                  </a:lnTo>
                  <a:lnTo>
                    <a:pt x="46503" y="24929"/>
                  </a:lnTo>
                  <a:lnTo>
                    <a:pt x="46362" y="25513"/>
                  </a:lnTo>
                  <a:lnTo>
                    <a:pt x="43987" y="24457"/>
                  </a:lnTo>
                  <a:lnTo>
                    <a:pt x="43548" y="23621"/>
                  </a:lnTo>
                  <a:lnTo>
                    <a:pt x="44215" y="22737"/>
                  </a:lnTo>
                  <a:lnTo>
                    <a:pt x="45711" y="21824"/>
                  </a:lnTo>
                  <a:close/>
                  <a:moveTo>
                    <a:pt x="753940" y="0"/>
                  </a:moveTo>
                  <a:lnTo>
                    <a:pt x="759448" y="670"/>
                  </a:lnTo>
                  <a:lnTo>
                    <a:pt x="761095" y="1674"/>
                  </a:lnTo>
                  <a:lnTo>
                    <a:pt x="761616" y="2152"/>
                  </a:lnTo>
                  <a:lnTo>
                    <a:pt x="761461" y="3670"/>
                  </a:lnTo>
                  <a:lnTo>
                    <a:pt x="761917" y="8269"/>
                  </a:lnTo>
                  <a:lnTo>
                    <a:pt x="762914" y="12099"/>
                  </a:lnTo>
                  <a:lnTo>
                    <a:pt x="765227" y="16687"/>
                  </a:lnTo>
                  <a:lnTo>
                    <a:pt x="765234" y="16702"/>
                  </a:lnTo>
                  <a:lnTo>
                    <a:pt x="765424" y="18492"/>
                  </a:lnTo>
                  <a:lnTo>
                    <a:pt x="766183" y="19611"/>
                  </a:lnTo>
                  <a:lnTo>
                    <a:pt x="767571" y="20655"/>
                  </a:lnTo>
                  <a:lnTo>
                    <a:pt x="772846" y="21920"/>
                  </a:lnTo>
                  <a:lnTo>
                    <a:pt x="782004" y="23398"/>
                  </a:lnTo>
                  <a:lnTo>
                    <a:pt x="787196" y="25095"/>
                  </a:lnTo>
                  <a:lnTo>
                    <a:pt x="788422" y="27007"/>
                  </a:lnTo>
                  <a:lnTo>
                    <a:pt x="790868" y="27774"/>
                  </a:lnTo>
                  <a:lnTo>
                    <a:pt x="794527" y="27400"/>
                  </a:lnTo>
                  <a:lnTo>
                    <a:pt x="797094" y="26601"/>
                  </a:lnTo>
                  <a:lnTo>
                    <a:pt x="799281" y="24790"/>
                  </a:lnTo>
                  <a:lnTo>
                    <a:pt x="802341" y="24388"/>
                  </a:lnTo>
                  <a:lnTo>
                    <a:pt x="804960" y="24503"/>
                  </a:lnTo>
                  <a:lnTo>
                    <a:pt x="807601" y="24682"/>
                  </a:lnTo>
                  <a:lnTo>
                    <a:pt x="809017" y="24946"/>
                  </a:lnTo>
                  <a:lnTo>
                    <a:pt x="813086" y="26389"/>
                  </a:lnTo>
                  <a:lnTo>
                    <a:pt x="815740" y="27566"/>
                  </a:lnTo>
                  <a:lnTo>
                    <a:pt x="819552" y="29751"/>
                  </a:lnTo>
                  <a:lnTo>
                    <a:pt x="821661" y="30723"/>
                  </a:lnTo>
                  <a:lnTo>
                    <a:pt x="822674" y="32995"/>
                  </a:lnTo>
                  <a:lnTo>
                    <a:pt x="823854" y="35910"/>
                  </a:lnTo>
                  <a:lnTo>
                    <a:pt x="825542" y="35910"/>
                  </a:lnTo>
                  <a:lnTo>
                    <a:pt x="826811" y="34203"/>
                  </a:lnTo>
                  <a:lnTo>
                    <a:pt x="830048" y="33894"/>
                  </a:lnTo>
                  <a:lnTo>
                    <a:pt x="834298" y="35086"/>
                  </a:lnTo>
                  <a:lnTo>
                    <a:pt x="838044" y="38491"/>
                  </a:lnTo>
                  <a:lnTo>
                    <a:pt x="843428" y="41523"/>
                  </a:lnTo>
                  <a:lnTo>
                    <a:pt x="846719" y="43031"/>
                  </a:lnTo>
                  <a:lnTo>
                    <a:pt x="850063" y="43023"/>
                  </a:lnTo>
                  <a:lnTo>
                    <a:pt x="854313" y="41523"/>
                  </a:lnTo>
                  <a:lnTo>
                    <a:pt x="858832" y="38617"/>
                  </a:lnTo>
                  <a:lnTo>
                    <a:pt x="862082" y="38113"/>
                  </a:lnTo>
                  <a:lnTo>
                    <a:pt x="864013" y="38394"/>
                  </a:lnTo>
                  <a:lnTo>
                    <a:pt x="865112" y="40660"/>
                  </a:lnTo>
                  <a:lnTo>
                    <a:pt x="866462" y="41523"/>
                  </a:lnTo>
                  <a:lnTo>
                    <a:pt x="869964" y="41261"/>
                  </a:lnTo>
                  <a:lnTo>
                    <a:pt x="877285" y="41699"/>
                  </a:lnTo>
                  <a:lnTo>
                    <a:pt x="883109" y="41081"/>
                  </a:lnTo>
                  <a:lnTo>
                    <a:pt x="884432" y="42383"/>
                  </a:lnTo>
                  <a:lnTo>
                    <a:pt x="885613" y="44431"/>
                  </a:lnTo>
                  <a:lnTo>
                    <a:pt x="887976" y="45076"/>
                  </a:lnTo>
                  <a:lnTo>
                    <a:pt x="891181" y="44431"/>
                  </a:lnTo>
                  <a:lnTo>
                    <a:pt x="896916" y="44932"/>
                  </a:lnTo>
                  <a:lnTo>
                    <a:pt x="899338" y="45050"/>
                  </a:lnTo>
                  <a:lnTo>
                    <a:pt x="903992" y="44279"/>
                  </a:lnTo>
                  <a:lnTo>
                    <a:pt x="906225" y="43385"/>
                  </a:lnTo>
                  <a:lnTo>
                    <a:pt x="909364" y="41873"/>
                  </a:lnTo>
                  <a:lnTo>
                    <a:pt x="913545" y="39856"/>
                  </a:lnTo>
                  <a:lnTo>
                    <a:pt x="920865" y="36322"/>
                  </a:lnTo>
                  <a:lnTo>
                    <a:pt x="926823" y="35046"/>
                  </a:lnTo>
                  <a:lnTo>
                    <a:pt x="932373" y="37583"/>
                  </a:lnTo>
                  <a:lnTo>
                    <a:pt x="936791" y="39818"/>
                  </a:lnTo>
                  <a:lnTo>
                    <a:pt x="938499" y="40682"/>
                  </a:lnTo>
                  <a:lnTo>
                    <a:pt x="943004" y="42957"/>
                  </a:lnTo>
                  <a:lnTo>
                    <a:pt x="949373" y="46173"/>
                  </a:lnTo>
                  <a:lnTo>
                    <a:pt x="956675" y="49857"/>
                  </a:lnTo>
                  <a:lnTo>
                    <a:pt x="963975" y="53534"/>
                  </a:lnTo>
                  <a:lnTo>
                    <a:pt x="970343" y="56740"/>
                  </a:lnTo>
                  <a:lnTo>
                    <a:pt x="974849" y="59002"/>
                  </a:lnTo>
                  <a:lnTo>
                    <a:pt x="976558" y="59861"/>
                  </a:lnTo>
                  <a:lnTo>
                    <a:pt x="981510" y="62451"/>
                  </a:lnTo>
                  <a:lnTo>
                    <a:pt x="986461" y="65041"/>
                  </a:lnTo>
                  <a:lnTo>
                    <a:pt x="991410" y="67627"/>
                  </a:lnTo>
                  <a:lnTo>
                    <a:pt x="996362" y="70211"/>
                  </a:lnTo>
                  <a:lnTo>
                    <a:pt x="1001313" y="72793"/>
                  </a:lnTo>
                  <a:lnTo>
                    <a:pt x="1006264" y="75370"/>
                  </a:lnTo>
                  <a:lnTo>
                    <a:pt x="1011213" y="77948"/>
                  </a:lnTo>
                  <a:lnTo>
                    <a:pt x="1016164" y="80524"/>
                  </a:lnTo>
                  <a:lnTo>
                    <a:pt x="1017413" y="84800"/>
                  </a:lnTo>
                  <a:lnTo>
                    <a:pt x="1018629" y="88957"/>
                  </a:lnTo>
                  <a:lnTo>
                    <a:pt x="1021527" y="91972"/>
                  </a:lnTo>
                  <a:lnTo>
                    <a:pt x="1024181" y="94723"/>
                  </a:lnTo>
                  <a:lnTo>
                    <a:pt x="1025716" y="94578"/>
                  </a:lnTo>
                  <a:lnTo>
                    <a:pt x="1027274" y="93418"/>
                  </a:lnTo>
                  <a:lnTo>
                    <a:pt x="1028263" y="92857"/>
                  </a:lnTo>
                  <a:lnTo>
                    <a:pt x="1029921" y="92766"/>
                  </a:lnTo>
                  <a:lnTo>
                    <a:pt x="1033608" y="91771"/>
                  </a:lnTo>
                  <a:lnTo>
                    <a:pt x="1034698" y="91988"/>
                  </a:lnTo>
                  <a:lnTo>
                    <a:pt x="1035317" y="92485"/>
                  </a:lnTo>
                  <a:lnTo>
                    <a:pt x="1035369" y="93265"/>
                  </a:lnTo>
                  <a:lnTo>
                    <a:pt x="1035242" y="93883"/>
                  </a:lnTo>
                  <a:lnTo>
                    <a:pt x="1034672" y="95126"/>
                  </a:lnTo>
                  <a:lnTo>
                    <a:pt x="1035573" y="97493"/>
                  </a:lnTo>
                  <a:lnTo>
                    <a:pt x="1035762" y="100120"/>
                  </a:lnTo>
                  <a:lnTo>
                    <a:pt x="1036256" y="102104"/>
                  </a:lnTo>
                  <a:lnTo>
                    <a:pt x="1037766" y="104641"/>
                  </a:lnTo>
                  <a:lnTo>
                    <a:pt x="1039077" y="106623"/>
                  </a:lnTo>
                  <a:lnTo>
                    <a:pt x="1040728" y="107005"/>
                  </a:lnTo>
                  <a:lnTo>
                    <a:pt x="1044552" y="105851"/>
                  </a:lnTo>
                  <a:lnTo>
                    <a:pt x="1046947" y="105415"/>
                  </a:lnTo>
                  <a:lnTo>
                    <a:pt x="1048307" y="105604"/>
                  </a:lnTo>
                  <a:lnTo>
                    <a:pt x="1050634" y="107458"/>
                  </a:lnTo>
                  <a:lnTo>
                    <a:pt x="1051773" y="108573"/>
                  </a:lnTo>
                  <a:lnTo>
                    <a:pt x="1052045" y="109498"/>
                  </a:lnTo>
                  <a:lnTo>
                    <a:pt x="1048902" y="115148"/>
                  </a:lnTo>
                  <a:lnTo>
                    <a:pt x="1053885" y="117948"/>
                  </a:lnTo>
                  <a:lnTo>
                    <a:pt x="1059447" y="121006"/>
                  </a:lnTo>
                  <a:lnTo>
                    <a:pt x="1066078" y="124647"/>
                  </a:lnTo>
                  <a:lnTo>
                    <a:pt x="1070133" y="126873"/>
                  </a:lnTo>
                  <a:lnTo>
                    <a:pt x="1075472" y="130050"/>
                  </a:lnTo>
                  <a:lnTo>
                    <a:pt x="1076387" y="134571"/>
                  </a:lnTo>
                  <a:lnTo>
                    <a:pt x="1077157" y="138381"/>
                  </a:lnTo>
                  <a:lnTo>
                    <a:pt x="1078138" y="143686"/>
                  </a:lnTo>
                  <a:lnTo>
                    <a:pt x="1079139" y="149086"/>
                  </a:lnTo>
                  <a:lnTo>
                    <a:pt x="1080137" y="154459"/>
                  </a:lnTo>
                  <a:lnTo>
                    <a:pt x="1081195" y="160149"/>
                  </a:lnTo>
                  <a:lnTo>
                    <a:pt x="1082356" y="166390"/>
                  </a:lnTo>
                  <a:lnTo>
                    <a:pt x="1083389" y="171918"/>
                  </a:lnTo>
                  <a:lnTo>
                    <a:pt x="1084516" y="177943"/>
                  </a:lnTo>
                  <a:lnTo>
                    <a:pt x="1086015" y="185765"/>
                  </a:lnTo>
                  <a:lnTo>
                    <a:pt x="1084674" y="188774"/>
                  </a:lnTo>
                  <a:lnTo>
                    <a:pt x="1081755" y="195316"/>
                  </a:lnTo>
                  <a:lnTo>
                    <a:pt x="1079118" y="201217"/>
                  </a:lnTo>
                  <a:lnTo>
                    <a:pt x="1078887" y="202927"/>
                  </a:lnTo>
                  <a:lnTo>
                    <a:pt x="1077074" y="211508"/>
                  </a:lnTo>
                  <a:lnTo>
                    <a:pt x="1075620" y="215047"/>
                  </a:lnTo>
                  <a:lnTo>
                    <a:pt x="1073074" y="217098"/>
                  </a:lnTo>
                  <a:lnTo>
                    <a:pt x="1070546" y="219087"/>
                  </a:lnTo>
                  <a:lnTo>
                    <a:pt x="1067395" y="222415"/>
                  </a:lnTo>
                  <a:lnTo>
                    <a:pt x="1063927" y="224059"/>
                  </a:lnTo>
                  <a:lnTo>
                    <a:pt x="1062154" y="225025"/>
                  </a:lnTo>
                  <a:lnTo>
                    <a:pt x="1061227" y="226548"/>
                  </a:lnTo>
                  <a:lnTo>
                    <a:pt x="1060203" y="229885"/>
                  </a:lnTo>
                  <a:lnTo>
                    <a:pt x="1060400" y="234973"/>
                  </a:lnTo>
                  <a:lnTo>
                    <a:pt x="1063256" y="239346"/>
                  </a:lnTo>
                  <a:lnTo>
                    <a:pt x="1067434" y="241790"/>
                  </a:lnTo>
                  <a:lnTo>
                    <a:pt x="1071928" y="244167"/>
                  </a:lnTo>
                  <a:lnTo>
                    <a:pt x="1078330" y="244178"/>
                  </a:lnTo>
                  <a:lnTo>
                    <a:pt x="1084089" y="241005"/>
                  </a:lnTo>
                  <a:lnTo>
                    <a:pt x="1090190" y="237641"/>
                  </a:lnTo>
                  <a:lnTo>
                    <a:pt x="1095629" y="234639"/>
                  </a:lnTo>
                  <a:lnTo>
                    <a:pt x="1102099" y="231064"/>
                  </a:lnTo>
                  <a:lnTo>
                    <a:pt x="1107958" y="227823"/>
                  </a:lnTo>
                  <a:lnTo>
                    <a:pt x="1114321" y="226656"/>
                  </a:lnTo>
                  <a:lnTo>
                    <a:pt x="1123137" y="225041"/>
                  </a:lnTo>
                  <a:lnTo>
                    <a:pt x="1134235" y="223006"/>
                  </a:lnTo>
                  <a:lnTo>
                    <a:pt x="1139639" y="220686"/>
                  </a:lnTo>
                  <a:lnTo>
                    <a:pt x="1146623" y="217687"/>
                  </a:lnTo>
                  <a:lnTo>
                    <a:pt x="1154677" y="214222"/>
                  </a:lnTo>
                  <a:lnTo>
                    <a:pt x="1161629" y="211229"/>
                  </a:lnTo>
                  <a:lnTo>
                    <a:pt x="1165123" y="209569"/>
                  </a:lnTo>
                  <a:lnTo>
                    <a:pt x="1167610" y="207675"/>
                  </a:lnTo>
                  <a:lnTo>
                    <a:pt x="1168227" y="206272"/>
                  </a:lnTo>
                  <a:lnTo>
                    <a:pt x="1168079" y="205467"/>
                  </a:lnTo>
                  <a:lnTo>
                    <a:pt x="1167438" y="204659"/>
                  </a:lnTo>
                  <a:lnTo>
                    <a:pt x="1166552" y="204064"/>
                  </a:lnTo>
                  <a:lnTo>
                    <a:pt x="1165763" y="203557"/>
                  </a:lnTo>
                  <a:lnTo>
                    <a:pt x="1165394" y="202928"/>
                  </a:lnTo>
                  <a:lnTo>
                    <a:pt x="1165320" y="201554"/>
                  </a:lnTo>
                  <a:lnTo>
                    <a:pt x="1164837" y="200763"/>
                  </a:lnTo>
                  <a:lnTo>
                    <a:pt x="1164375" y="200181"/>
                  </a:lnTo>
                  <a:lnTo>
                    <a:pt x="1164551" y="194855"/>
                  </a:lnTo>
                  <a:lnTo>
                    <a:pt x="1163942" y="193202"/>
                  </a:lnTo>
                  <a:lnTo>
                    <a:pt x="1161677" y="189007"/>
                  </a:lnTo>
                  <a:lnTo>
                    <a:pt x="1165998" y="187125"/>
                  </a:lnTo>
                  <a:lnTo>
                    <a:pt x="1170001" y="185378"/>
                  </a:lnTo>
                  <a:lnTo>
                    <a:pt x="1173193" y="184084"/>
                  </a:lnTo>
                  <a:lnTo>
                    <a:pt x="1179880" y="183880"/>
                  </a:lnTo>
                  <a:lnTo>
                    <a:pt x="1186092" y="183906"/>
                  </a:lnTo>
                  <a:lnTo>
                    <a:pt x="1194651" y="183942"/>
                  </a:lnTo>
                  <a:lnTo>
                    <a:pt x="1201864" y="183971"/>
                  </a:lnTo>
                  <a:lnTo>
                    <a:pt x="1210277" y="184005"/>
                  </a:lnTo>
                  <a:lnTo>
                    <a:pt x="1215210" y="184025"/>
                  </a:lnTo>
                  <a:lnTo>
                    <a:pt x="1221673" y="183964"/>
                  </a:lnTo>
                  <a:lnTo>
                    <a:pt x="1224824" y="179108"/>
                  </a:lnTo>
                  <a:lnTo>
                    <a:pt x="1227639" y="174758"/>
                  </a:lnTo>
                  <a:lnTo>
                    <a:pt x="1230738" y="170598"/>
                  </a:lnTo>
                  <a:lnTo>
                    <a:pt x="1236251" y="165706"/>
                  </a:lnTo>
                  <a:lnTo>
                    <a:pt x="1237851" y="164826"/>
                  </a:lnTo>
                  <a:lnTo>
                    <a:pt x="1238735" y="162894"/>
                  </a:lnTo>
                  <a:lnTo>
                    <a:pt x="1242076" y="161058"/>
                  </a:lnTo>
                  <a:lnTo>
                    <a:pt x="1245756" y="159353"/>
                  </a:lnTo>
                  <a:lnTo>
                    <a:pt x="1247199" y="157752"/>
                  </a:lnTo>
                  <a:lnTo>
                    <a:pt x="1247898" y="156841"/>
                  </a:lnTo>
                  <a:lnTo>
                    <a:pt x="1257865" y="148195"/>
                  </a:lnTo>
                  <a:lnTo>
                    <a:pt x="1263525" y="144194"/>
                  </a:lnTo>
                  <a:lnTo>
                    <a:pt x="1268199" y="141966"/>
                  </a:lnTo>
                  <a:lnTo>
                    <a:pt x="1271757" y="140899"/>
                  </a:lnTo>
                  <a:lnTo>
                    <a:pt x="1274160" y="141052"/>
                  </a:lnTo>
                  <a:lnTo>
                    <a:pt x="1275527" y="140901"/>
                  </a:lnTo>
                  <a:lnTo>
                    <a:pt x="1276691" y="140899"/>
                  </a:lnTo>
                  <a:lnTo>
                    <a:pt x="1282632" y="140890"/>
                  </a:lnTo>
                  <a:lnTo>
                    <a:pt x="1293247" y="140875"/>
                  </a:lnTo>
                  <a:lnTo>
                    <a:pt x="1303863" y="140860"/>
                  </a:lnTo>
                  <a:lnTo>
                    <a:pt x="1314478" y="140846"/>
                  </a:lnTo>
                  <a:lnTo>
                    <a:pt x="1325093" y="140830"/>
                  </a:lnTo>
                  <a:lnTo>
                    <a:pt x="1335709" y="140815"/>
                  </a:lnTo>
                  <a:lnTo>
                    <a:pt x="1346324" y="140801"/>
                  </a:lnTo>
                  <a:lnTo>
                    <a:pt x="1356939" y="140785"/>
                  </a:lnTo>
                  <a:lnTo>
                    <a:pt x="1359451" y="134700"/>
                  </a:lnTo>
                  <a:lnTo>
                    <a:pt x="1361792" y="131862"/>
                  </a:lnTo>
                  <a:lnTo>
                    <a:pt x="1364998" y="132802"/>
                  </a:lnTo>
                  <a:lnTo>
                    <a:pt x="1366705" y="132723"/>
                  </a:lnTo>
                  <a:lnTo>
                    <a:pt x="1368604" y="131259"/>
                  </a:lnTo>
                  <a:lnTo>
                    <a:pt x="1370143" y="130370"/>
                  </a:lnTo>
                  <a:lnTo>
                    <a:pt x="1371157" y="130502"/>
                  </a:lnTo>
                  <a:lnTo>
                    <a:pt x="1372022" y="131842"/>
                  </a:lnTo>
                  <a:lnTo>
                    <a:pt x="1372744" y="132736"/>
                  </a:lnTo>
                  <a:lnTo>
                    <a:pt x="1373585" y="132476"/>
                  </a:lnTo>
                  <a:lnTo>
                    <a:pt x="1374304" y="131211"/>
                  </a:lnTo>
                  <a:lnTo>
                    <a:pt x="1374279" y="129456"/>
                  </a:lnTo>
                  <a:lnTo>
                    <a:pt x="1375264" y="128232"/>
                  </a:lnTo>
                  <a:lnTo>
                    <a:pt x="1376434" y="128045"/>
                  </a:lnTo>
                  <a:lnTo>
                    <a:pt x="1377515" y="128084"/>
                  </a:lnTo>
                  <a:lnTo>
                    <a:pt x="1378054" y="127487"/>
                  </a:lnTo>
                  <a:lnTo>
                    <a:pt x="1377995" y="126632"/>
                  </a:lnTo>
                  <a:lnTo>
                    <a:pt x="1377605" y="125251"/>
                  </a:lnTo>
                  <a:lnTo>
                    <a:pt x="1377737" y="123588"/>
                  </a:lnTo>
                  <a:lnTo>
                    <a:pt x="1380437" y="120649"/>
                  </a:lnTo>
                  <a:lnTo>
                    <a:pt x="1383748" y="118654"/>
                  </a:lnTo>
                  <a:lnTo>
                    <a:pt x="1384909" y="117656"/>
                  </a:lnTo>
                  <a:lnTo>
                    <a:pt x="1385247" y="115633"/>
                  </a:lnTo>
                  <a:lnTo>
                    <a:pt x="1387144" y="113529"/>
                  </a:lnTo>
                  <a:lnTo>
                    <a:pt x="1388094" y="112318"/>
                  </a:lnTo>
                  <a:lnTo>
                    <a:pt x="1388326" y="111267"/>
                  </a:lnTo>
                  <a:lnTo>
                    <a:pt x="1387833" y="109971"/>
                  </a:lnTo>
                  <a:lnTo>
                    <a:pt x="1387883" y="107500"/>
                  </a:lnTo>
                  <a:lnTo>
                    <a:pt x="1388536" y="104547"/>
                  </a:lnTo>
                  <a:lnTo>
                    <a:pt x="1389317" y="101325"/>
                  </a:lnTo>
                  <a:lnTo>
                    <a:pt x="1391067" y="98419"/>
                  </a:lnTo>
                  <a:lnTo>
                    <a:pt x="1393937" y="95245"/>
                  </a:lnTo>
                  <a:lnTo>
                    <a:pt x="1394676" y="91069"/>
                  </a:lnTo>
                  <a:lnTo>
                    <a:pt x="1395454" y="86659"/>
                  </a:lnTo>
                  <a:lnTo>
                    <a:pt x="1398923" y="82355"/>
                  </a:lnTo>
                  <a:lnTo>
                    <a:pt x="1402856" y="77467"/>
                  </a:lnTo>
                  <a:lnTo>
                    <a:pt x="1405095" y="74682"/>
                  </a:lnTo>
                  <a:lnTo>
                    <a:pt x="1409134" y="69608"/>
                  </a:lnTo>
                  <a:lnTo>
                    <a:pt x="1412006" y="65991"/>
                  </a:lnTo>
                  <a:lnTo>
                    <a:pt x="1413453" y="64330"/>
                  </a:lnTo>
                  <a:lnTo>
                    <a:pt x="1414965" y="62356"/>
                  </a:lnTo>
                  <a:lnTo>
                    <a:pt x="1417430" y="62946"/>
                  </a:lnTo>
                  <a:lnTo>
                    <a:pt x="1419879" y="63534"/>
                  </a:lnTo>
                  <a:lnTo>
                    <a:pt x="1419522" y="66395"/>
                  </a:lnTo>
                  <a:lnTo>
                    <a:pt x="1419922" y="68478"/>
                  </a:lnTo>
                  <a:lnTo>
                    <a:pt x="1421081" y="69681"/>
                  </a:lnTo>
                  <a:lnTo>
                    <a:pt x="1422763" y="70493"/>
                  </a:lnTo>
                  <a:lnTo>
                    <a:pt x="1424033" y="70764"/>
                  </a:lnTo>
                  <a:lnTo>
                    <a:pt x="1425531" y="70748"/>
                  </a:lnTo>
                  <a:lnTo>
                    <a:pt x="1429616" y="69129"/>
                  </a:lnTo>
                  <a:lnTo>
                    <a:pt x="1434416" y="68086"/>
                  </a:lnTo>
                  <a:lnTo>
                    <a:pt x="1437056" y="67105"/>
                  </a:lnTo>
                  <a:lnTo>
                    <a:pt x="1437538" y="66189"/>
                  </a:lnTo>
                  <a:lnTo>
                    <a:pt x="1438740" y="65867"/>
                  </a:lnTo>
                  <a:lnTo>
                    <a:pt x="1440664" y="66142"/>
                  </a:lnTo>
                  <a:lnTo>
                    <a:pt x="1444202" y="68439"/>
                  </a:lnTo>
                  <a:lnTo>
                    <a:pt x="1448333" y="71900"/>
                  </a:lnTo>
                  <a:lnTo>
                    <a:pt x="1451600" y="74634"/>
                  </a:lnTo>
                  <a:lnTo>
                    <a:pt x="1451700" y="79370"/>
                  </a:lnTo>
                  <a:lnTo>
                    <a:pt x="1451764" y="84380"/>
                  </a:lnTo>
                  <a:lnTo>
                    <a:pt x="1451832" y="89653"/>
                  </a:lnTo>
                  <a:lnTo>
                    <a:pt x="1451880" y="93409"/>
                  </a:lnTo>
                  <a:lnTo>
                    <a:pt x="1451964" y="98561"/>
                  </a:lnTo>
                  <a:lnTo>
                    <a:pt x="1452029" y="102652"/>
                  </a:lnTo>
                  <a:lnTo>
                    <a:pt x="1452118" y="107985"/>
                  </a:lnTo>
                  <a:lnTo>
                    <a:pt x="1452164" y="110832"/>
                  </a:lnTo>
                  <a:lnTo>
                    <a:pt x="1452614" y="111654"/>
                  </a:lnTo>
                  <a:lnTo>
                    <a:pt x="1452343" y="112774"/>
                  </a:lnTo>
                  <a:lnTo>
                    <a:pt x="1452225" y="113335"/>
                  </a:lnTo>
                  <a:lnTo>
                    <a:pt x="1452254" y="113780"/>
                  </a:lnTo>
                  <a:lnTo>
                    <a:pt x="1452433" y="114342"/>
                  </a:lnTo>
                  <a:lnTo>
                    <a:pt x="1452403" y="115125"/>
                  </a:lnTo>
                  <a:lnTo>
                    <a:pt x="1451984" y="115836"/>
                  </a:lnTo>
                  <a:lnTo>
                    <a:pt x="1451776" y="116654"/>
                  </a:lnTo>
                  <a:lnTo>
                    <a:pt x="1451715" y="117998"/>
                  </a:lnTo>
                  <a:lnTo>
                    <a:pt x="1452164" y="118817"/>
                  </a:lnTo>
                  <a:lnTo>
                    <a:pt x="1452912" y="119300"/>
                  </a:lnTo>
                  <a:lnTo>
                    <a:pt x="1453541" y="119300"/>
                  </a:lnTo>
                  <a:lnTo>
                    <a:pt x="1454350" y="119786"/>
                  </a:lnTo>
                  <a:lnTo>
                    <a:pt x="1455397" y="120643"/>
                  </a:lnTo>
                  <a:lnTo>
                    <a:pt x="1456983" y="121388"/>
                  </a:lnTo>
                  <a:lnTo>
                    <a:pt x="1458629" y="121648"/>
                  </a:lnTo>
                  <a:lnTo>
                    <a:pt x="1459767" y="121461"/>
                  </a:lnTo>
                  <a:lnTo>
                    <a:pt x="1461144" y="121947"/>
                  </a:lnTo>
                  <a:lnTo>
                    <a:pt x="1461623" y="123137"/>
                  </a:lnTo>
                  <a:lnTo>
                    <a:pt x="1461354" y="124252"/>
                  </a:lnTo>
                  <a:lnTo>
                    <a:pt x="1460576" y="124773"/>
                  </a:lnTo>
                  <a:lnTo>
                    <a:pt x="1459738" y="125185"/>
                  </a:lnTo>
                  <a:lnTo>
                    <a:pt x="1459588" y="126038"/>
                  </a:lnTo>
                  <a:lnTo>
                    <a:pt x="1460007" y="126931"/>
                  </a:lnTo>
                  <a:lnTo>
                    <a:pt x="1460606" y="127712"/>
                  </a:lnTo>
                  <a:lnTo>
                    <a:pt x="1461265" y="129083"/>
                  </a:lnTo>
                  <a:lnTo>
                    <a:pt x="1460994" y="130270"/>
                  </a:lnTo>
                  <a:lnTo>
                    <a:pt x="1460396" y="131273"/>
                  </a:lnTo>
                  <a:lnTo>
                    <a:pt x="1460126" y="132312"/>
                  </a:lnTo>
                  <a:lnTo>
                    <a:pt x="1460636" y="133203"/>
                  </a:lnTo>
                  <a:lnTo>
                    <a:pt x="1461982" y="134389"/>
                  </a:lnTo>
                  <a:lnTo>
                    <a:pt x="1462820" y="135538"/>
                  </a:lnTo>
                  <a:lnTo>
                    <a:pt x="1464138" y="136170"/>
                  </a:lnTo>
                  <a:lnTo>
                    <a:pt x="1464766" y="135723"/>
                  </a:lnTo>
                  <a:lnTo>
                    <a:pt x="1465276" y="135130"/>
                  </a:lnTo>
                  <a:lnTo>
                    <a:pt x="1465813" y="134686"/>
                  </a:lnTo>
                  <a:lnTo>
                    <a:pt x="1466741" y="134946"/>
                  </a:lnTo>
                  <a:lnTo>
                    <a:pt x="1467819" y="135279"/>
                  </a:lnTo>
                  <a:lnTo>
                    <a:pt x="1468996" y="135676"/>
                  </a:lnTo>
                  <a:lnTo>
                    <a:pt x="1468855" y="136637"/>
                  </a:lnTo>
                  <a:lnTo>
                    <a:pt x="1469573" y="138256"/>
                  </a:lnTo>
                  <a:lnTo>
                    <a:pt x="1470128" y="141364"/>
                  </a:lnTo>
                  <a:lnTo>
                    <a:pt x="1469275" y="142777"/>
                  </a:lnTo>
                  <a:lnTo>
                    <a:pt x="1469458" y="144646"/>
                  </a:lnTo>
                  <a:lnTo>
                    <a:pt x="1471823" y="145189"/>
                  </a:lnTo>
                  <a:lnTo>
                    <a:pt x="1472399" y="145761"/>
                  </a:lnTo>
                  <a:lnTo>
                    <a:pt x="1472512" y="146452"/>
                  </a:lnTo>
                  <a:lnTo>
                    <a:pt x="1467301" y="151236"/>
                  </a:lnTo>
                  <a:lnTo>
                    <a:pt x="1462894" y="150567"/>
                  </a:lnTo>
                  <a:lnTo>
                    <a:pt x="1460502" y="151834"/>
                  </a:lnTo>
                  <a:lnTo>
                    <a:pt x="1457997" y="152205"/>
                  </a:lnTo>
                  <a:lnTo>
                    <a:pt x="1456898" y="154338"/>
                  </a:lnTo>
                  <a:lnTo>
                    <a:pt x="1455523" y="154791"/>
                  </a:lnTo>
                  <a:lnTo>
                    <a:pt x="1453640" y="154661"/>
                  </a:lnTo>
                  <a:lnTo>
                    <a:pt x="1452015" y="154060"/>
                  </a:lnTo>
                  <a:lnTo>
                    <a:pt x="1450777" y="154356"/>
                  </a:lnTo>
                  <a:lnTo>
                    <a:pt x="1449042" y="158205"/>
                  </a:lnTo>
                  <a:lnTo>
                    <a:pt x="1447623" y="157869"/>
                  </a:lnTo>
                  <a:lnTo>
                    <a:pt x="1447057" y="159253"/>
                  </a:lnTo>
                  <a:lnTo>
                    <a:pt x="1446315" y="159858"/>
                  </a:lnTo>
                  <a:lnTo>
                    <a:pt x="1445226" y="160376"/>
                  </a:lnTo>
                  <a:lnTo>
                    <a:pt x="1444280" y="158668"/>
                  </a:lnTo>
                  <a:lnTo>
                    <a:pt x="1443679" y="157043"/>
                  </a:lnTo>
                  <a:lnTo>
                    <a:pt x="1442791" y="156687"/>
                  </a:lnTo>
                  <a:lnTo>
                    <a:pt x="1441613" y="156271"/>
                  </a:lnTo>
                  <a:lnTo>
                    <a:pt x="1440401" y="156285"/>
                  </a:lnTo>
                  <a:lnTo>
                    <a:pt x="1439594" y="156517"/>
                  </a:lnTo>
                  <a:lnTo>
                    <a:pt x="1438590" y="157569"/>
                  </a:lnTo>
                  <a:lnTo>
                    <a:pt x="1437136" y="158471"/>
                  </a:lnTo>
                  <a:lnTo>
                    <a:pt x="1436037" y="157719"/>
                  </a:lnTo>
                  <a:lnTo>
                    <a:pt x="1435177" y="156509"/>
                  </a:lnTo>
                  <a:lnTo>
                    <a:pt x="1434440" y="158454"/>
                  </a:lnTo>
                  <a:lnTo>
                    <a:pt x="1433369" y="160506"/>
                  </a:lnTo>
                  <a:lnTo>
                    <a:pt x="1433548" y="162896"/>
                  </a:lnTo>
                  <a:lnTo>
                    <a:pt x="1433086" y="164312"/>
                  </a:lnTo>
                  <a:lnTo>
                    <a:pt x="1432070" y="163930"/>
                  </a:lnTo>
                  <a:lnTo>
                    <a:pt x="1431059" y="162688"/>
                  </a:lnTo>
                  <a:lnTo>
                    <a:pt x="1428220" y="161694"/>
                  </a:lnTo>
                  <a:lnTo>
                    <a:pt x="1425958" y="161785"/>
                  </a:lnTo>
                  <a:lnTo>
                    <a:pt x="1426419" y="160458"/>
                  </a:lnTo>
                  <a:lnTo>
                    <a:pt x="1428557" y="158551"/>
                  </a:lnTo>
                  <a:lnTo>
                    <a:pt x="1427898" y="158176"/>
                  </a:lnTo>
                  <a:lnTo>
                    <a:pt x="1426849" y="158441"/>
                  </a:lnTo>
                  <a:lnTo>
                    <a:pt x="1426393" y="158176"/>
                  </a:lnTo>
                  <a:lnTo>
                    <a:pt x="1427142" y="156443"/>
                  </a:lnTo>
                  <a:lnTo>
                    <a:pt x="1427215" y="154530"/>
                  </a:lnTo>
                  <a:lnTo>
                    <a:pt x="1426257" y="155199"/>
                  </a:lnTo>
                  <a:lnTo>
                    <a:pt x="1425054" y="157219"/>
                  </a:lnTo>
                  <a:lnTo>
                    <a:pt x="1422143" y="158824"/>
                  </a:lnTo>
                  <a:lnTo>
                    <a:pt x="1422280" y="161511"/>
                  </a:lnTo>
                  <a:lnTo>
                    <a:pt x="1419539" y="167012"/>
                  </a:lnTo>
                  <a:lnTo>
                    <a:pt x="1419418" y="169350"/>
                  </a:lnTo>
                  <a:lnTo>
                    <a:pt x="1417660" y="171216"/>
                  </a:lnTo>
                  <a:lnTo>
                    <a:pt x="1415394" y="172820"/>
                  </a:lnTo>
                  <a:lnTo>
                    <a:pt x="1412372" y="172368"/>
                  </a:lnTo>
                  <a:lnTo>
                    <a:pt x="1410064" y="173761"/>
                  </a:lnTo>
                  <a:lnTo>
                    <a:pt x="1408894" y="175360"/>
                  </a:lnTo>
                  <a:lnTo>
                    <a:pt x="1407876" y="175599"/>
                  </a:lnTo>
                  <a:lnTo>
                    <a:pt x="1407346" y="173564"/>
                  </a:lnTo>
                  <a:lnTo>
                    <a:pt x="1406960" y="172934"/>
                  </a:lnTo>
                  <a:lnTo>
                    <a:pt x="1406111" y="175936"/>
                  </a:lnTo>
                  <a:lnTo>
                    <a:pt x="1405244" y="176123"/>
                  </a:lnTo>
                  <a:lnTo>
                    <a:pt x="1404916" y="173995"/>
                  </a:lnTo>
                  <a:lnTo>
                    <a:pt x="1404506" y="172587"/>
                  </a:lnTo>
                  <a:lnTo>
                    <a:pt x="1403326" y="173801"/>
                  </a:lnTo>
                  <a:lnTo>
                    <a:pt x="1402543" y="177014"/>
                  </a:lnTo>
                  <a:lnTo>
                    <a:pt x="1401722" y="176743"/>
                  </a:lnTo>
                  <a:lnTo>
                    <a:pt x="1401461" y="175548"/>
                  </a:lnTo>
                  <a:lnTo>
                    <a:pt x="1400872" y="175186"/>
                  </a:lnTo>
                  <a:lnTo>
                    <a:pt x="1400672" y="176551"/>
                  </a:lnTo>
                  <a:lnTo>
                    <a:pt x="1400967" y="178473"/>
                  </a:lnTo>
                  <a:lnTo>
                    <a:pt x="1400540" y="179497"/>
                  </a:lnTo>
                  <a:lnTo>
                    <a:pt x="1399724" y="178950"/>
                  </a:lnTo>
                  <a:lnTo>
                    <a:pt x="1398903" y="178026"/>
                  </a:lnTo>
                  <a:lnTo>
                    <a:pt x="1397550" y="178727"/>
                  </a:lnTo>
                  <a:lnTo>
                    <a:pt x="1396306" y="179012"/>
                  </a:lnTo>
                  <a:lnTo>
                    <a:pt x="1396301" y="178072"/>
                  </a:lnTo>
                  <a:lnTo>
                    <a:pt x="1396538" y="176918"/>
                  </a:lnTo>
                  <a:lnTo>
                    <a:pt x="1394060" y="177556"/>
                  </a:lnTo>
                  <a:lnTo>
                    <a:pt x="1391089" y="179682"/>
                  </a:lnTo>
                  <a:lnTo>
                    <a:pt x="1388783" y="182623"/>
                  </a:lnTo>
                  <a:lnTo>
                    <a:pt x="1389582" y="183113"/>
                  </a:lnTo>
                  <a:lnTo>
                    <a:pt x="1390483" y="184048"/>
                  </a:lnTo>
                  <a:lnTo>
                    <a:pt x="1386475" y="188583"/>
                  </a:lnTo>
                  <a:lnTo>
                    <a:pt x="1382368" y="192661"/>
                  </a:lnTo>
                  <a:lnTo>
                    <a:pt x="1379265" y="199305"/>
                  </a:lnTo>
                  <a:lnTo>
                    <a:pt x="1378019" y="200083"/>
                  </a:lnTo>
                  <a:lnTo>
                    <a:pt x="1376950" y="201298"/>
                  </a:lnTo>
                  <a:lnTo>
                    <a:pt x="1375813" y="205300"/>
                  </a:lnTo>
                  <a:lnTo>
                    <a:pt x="1374501" y="208860"/>
                  </a:lnTo>
                  <a:lnTo>
                    <a:pt x="1375236" y="210442"/>
                  </a:lnTo>
                  <a:lnTo>
                    <a:pt x="1375719" y="212072"/>
                  </a:lnTo>
                  <a:lnTo>
                    <a:pt x="1376884" y="213672"/>
                  </a:lnTo>
                  <a:lnTo>
                    <a:pt x="1377874" y="213818"/>
                  </a:lnTo>
                  <a:lnTo>
                    <a:pt x="1378946" y="213528"/>
                  </a:lnTo>
                  <a:lnTo>
                    <a:pt x="1379734" y="213595"/>
                  </a:lnTo>
                  <a:lnTo>
                    <a:pt x="1380239" y="214276"/>
                  </a:lnTo>
                  <a:lnTo>
                    <a:pt x="1380015" y="215092"/>
                  </a:lnTo>
                  <a:lnTo>
                    <a:pt x="1378778" y="215294"/>
                  </a:lnTo>
                  <a:lnTo>
                    <a:pt x="1376471" y="216720"/>
                  </a:lnTo>
                  <a:lnTo>
                    <a:pt x="1374449" y="217267"/>
                  </a:lnTo>
                  <a:lnTo>
                    <a:pt x="1373435" y="218990"/>
                  </a:lnTo>
                  <a:lnTo>
                    <a:pt x="1371915" y="220978"/>
                  </a:lnTo>
                  <a:lnTo>
                    <a:pt x="1368963" y="224079"/>
                  </a:lnTo>
                  <a:lnTo>
                    <a:pt x="1370223" y="225034"/>
                  </a:lnTo>
                  <a:lnTo>
                    <a:pt x="1374784" y="226111"/>
                  </a:lnTo>
                  <a:lnTo>
                    <a:pt x="1376817" y="227218"/>
                  </a:lnTo>
                  <a:lnTo>
                    <a:pt x="1379894" y="232997"/>
                  </a:lnTo>
                  <a:lnTo>
                    <a:pt x="1379191" y="233574"/>
                  </a:lnTo>
                  <a:lnTo>
                    <a:pt x="1378912" y="234632"/>
                  </a:lnTo>
                  <a:lnTo>
                    <a:pt x="1381647" y="236114"/>
                  </a:lnTo>
                  <a:lnTo>
                    <a:pt x="1382521" y="240254"/>
                  </a:lnTo>
                  <a:lnTo>
                    <a:pt x="1384767" y="241661"/>
                  </a:lnTo>
                  <a:lnTo>
                    <a:pt x="1388114" y="242526"/>
                  </a:lnTo>
                  <a:lnTo>
                    <a:pt x="1392207" y="241276"/>
                  </a:lnTo>
                  <a:lnTo>
                    <a:pt x="1395614" y="239555"/>
                  </a:lnTo>
                  <a:lnTo>
                    <a:pt x="1395495" y="238143"/>
                  </a:lnTo>
                  <a:lnTo>
                    <a:pt x="1393354" y="234857"/>
                  </a:lnTo>
                  <a:lnTo>
                    <a:pt x="1392838" y="233312"/>
                  </a:lnTo>
                  <a:lnTo>
                    <a:pt x="1391249" y="232312"/>
                  </a:lnTo>
                  <a:lnTo>
                    <a:pt x="1390644" y="233159"/>
                  </a:lnTo>
                  <a:lnTo>
                    <a:pt x="1389617" y="232058"/>
                  </a:lnTo>
                  <a:lnTo>
                    <a:pt x="1389502" y="231441"/>
                  </a:lnTo>
                  <a:lnTo>
                    <a:pt x="1390459" y="231140"/>
                  </a:lnTo>
                  <a:lnTo>
                    <a:pt x="1391572" y="231260"/>
                  </a:lnTo>
                  <a:lnTo>
                    <a:pt x="1392872" y="231835"/>
                  </a:lnTo>
                  <a:lnTo>
                    <a:pt x="1396215" y="235421"/>
                  </a:lnTo>
                  <a:lnTo>
                    <a:pt x="1397142" y="240114"/>
                  </a:lnTo>
                  <a:lnTo>
                    <a:pt x="1397339" y="243092"/>
                  </a:lnTo>
                  <a:lnTo>
                    <a:pt x="1396961" y="244109"/>
                  </a:lnTo>
                  <a:lnTo>
                    <a:pt x="1395989" y="243900"/>
                  </a:lnTo>
                  <a:lnTo>
                    <a:pt x="1394132" y="244102"/>
                  </a:lnTo>
                  <a:lnTo>
                    <a:pt x="1385327" y="245642"/>
                  </a:lnTo>
                  <a:lnTo>
                    <a:pt x="1383372" y="246997"/>
                  </a:lnTo>
                  <a:lnTo>
                    <a:pt x="1378888" y="248470"/>
                  </a:lnTo>
                  <a:lnTo>
                    <a:pt x="1378609" y="247736"/>
                  </a:lnTo>
                  <a:lnTo>
                    <a:pt x="1378933" y="246217"/>
                  </a:lnTo>
                  <a:lnTo>
                    <a:pt x="1378650" y="243102"/>
                  </a:lnTo>
                  <a:lnTo>
                    <a:pt x="1377765" y="242958"/>
                  </a:lnTo>
                  <a:lnTo>
                    <a:pt x="1370798" y="248034"/>
                  </a:lnTo>
                  <a:lnTo>
                    <a:pt x="1368106" y="248353"/>
                  </a:lnTo>
                  <a:lnTo>
                    <a:pt x="1365841" y="249835"/>
                  </a:lnTo>
                  <a:lnTo>
                    <a:pt x="1365335" y="249014"/>
                  </a:lnTo>
                  <a:lnTo>
                    <a:pt x="1364930" y="245209"/>
                  </a:lnTo>
                  <a:lnTo>
                    <a:pt x="1366346" y="242013"/>
                  </a:lnTo>
                  <a:lnTo>
                    <a:pt x="1365592" y="242065"/>
                  </a:lnTo>
                  <a:lnTo>
                    <a:pt x="1363225" y="243983"/>
                  </a:lnTo>
                  <a:lnTo>
                    <a:pt x="1362214" y="242803"/>
                  </a:lnTo>
                  <a:lnTo>
                    <a:pt x="1361707" y="241508"/>
                  </a:lnTo>
                  <a:lnTo>
                    <a:pt x="1360979" y="240776"/>
                  </a:lnTo>
                  <a:lnTo>
                    <a:pt x="1360188" y="240498"/>
                  </a:lnTo>
                  <a:lnTo>
                    <a:pt x="1360864" y="243326"/>
                  </a:lnTo>
                  <a:lnTo>
                    <a:pt x="1359259" y="245447"/>
                  </a:lnTo>
                  <a:lnTo>
                    <a:pt x="1358820" y="250924"/>
                  </a:lnTo>
                  <a:lnTo>
                    <a:pt x="1356804" y="253201"/>
                  </a:lnTo>
                  <a:lnTo>
                    <a:pt x="1350517" y="254664"/>
                  </a:lnTo>
                  <a:lnTo>
                    <a:pt x="1346418" y="254356"/>
                  </a:lnTo>
                  <a:lnTo>
                    <a:pt x="1342746" y="254810"/>
                  </a:lnTo>
                  <a:lnTo>
                    <a:pt x="1337864" y="255859"/>
                  </a:lnTo>
                  <a:lnTo>
                    <a:pt x="1335165" y="255235"/>
                  </a:lnTo>
                  <a:lnTo>
                    <a:pt x="1332402" y="256343"/>
                  </a:lnTo>
                  <a:lnTo>
                    <a:pt x="1323019" y="256643"/>
                  </a:lnTo>
                  <a:lnTo>
                    <a:pt x="1321042" y="256056"/>
                  </a:lnTo>
                  <a:lnTo>
                    <a:pt x="1318515" y="258147"/>
                  </a:lnTo>
                  <a:lnTo>
                    <a:pt x="1314471" y="259381"/>
                  </a:lnTo>
                  <a:lnTo>
                    <a:pt x="1304248" y="264058"/>
                  </a:lnTo>
                  <a:lnTo>
                    <a:pt x="1301994" y="265757"/>
                  </a:lnTo>
                  <a:lnTo>
                    <a:pt x="1299248" y="268409"/>
                  </a:lnTo>
                  <a:lnTo>
                    <a:pt x="1297404" y="269835"/>
                  </a:lnTo>
                  <a:lnTo>
                    <a:pt x="1295890" y="270299"/>
                  </a:lnTo>
                  <a:lnTo>
                    <a:pt x="1294957" y="271484"/>
                  </a:lnTo>
                  <a:lnTo>
                    <a:pt x="1293940" y="272259"/>
                  </a:lnTo>
                  <a:lnTo>
                    <a:pt x="1294923" y="269612"/>
                  </a:lnTo>
                  <a:lnTo>
                    <a:pt x="1295990" y="267378"/>
                  </a:lnTo>
                  <a:lnTo>
                    <a:pt x="1296877" y="263047"/>
                  </a:lnTo>
                  <a:lnTo>
                    <a:pt x="1296615" y="259540"/>
                  </a:lnTo>
                  <a:lnTo>
                    <a:pt x="1295516" y="258097"/>
                  </a:lnTo>
                  <a:lnTo>
                    <a:pt x="1294379" y="257135"/>
                  </a:lnTo>
                  <a:lnTo>
                    <a:pt x="1295711" y="260598"/>
                  </a:lnTo>
                  <a:lnTo>
                    <a:pt x="1295926" y="264840"/>
                  </a:lnTo>
                  <a:lnTo>
                    <a:pt x="1295468" y="267323"/>
                  </a:lnTo>
                  <a:lnTo>
                    <a:pt x="1292960" y="272108"/>
                  </a:lnTo>
                  <a:lnTo>
                    <a:pt x="1291894" y="273220"/>
                  </a:lnTo>
                  <a:lnTo>
                    <a:pt x="1290645" y="274199"/>
                  </a:lnTo>
                  <a:lnTo>
                    <a:pt x="1289705" y="274625"/>
                  </a:lnTo>
                  <a:lnTo>
                    <a:pt x="1288836" y="275388"/>
                  </a:lnTo>
                  <a:lnTo>
                    <a:pt x="1287827" y="276598"/>
                  </a:lnTo>
                  <a:lnTo>
                    <a:pt x="1286871" y="278998"/>
                  </a:lnTo>
                  <a:lnTo>
                    <a:pt x="1287451" y="281184"/>
                  </a:lnTo>
                  <a:lnTo>
                    <a:pt x="1292338" y="281981"/>
                  </a:lnTo>
                  <a:lnTo>
                    <a:pt x="1293650" y="281308"/>
                  </a:lnTo>
                  <a:lnTo>
                    <a:pt x="1294318" y="282872"/>
                  </a:lnTo>
                  <a:lnTo>
                    <a:pt x="1294692" y="285044"/>
                  </a:lnTo>
                  <a:lnTo>
                    <a:pt x="1294326" y="287391"/>
                  </a:lnTo>
                  <a:lnTo>
                    <a:pt x="1293508" y="289778"/>
                  </a:lnTo>
                  <a:lnTo>
                    <a:pt x="1292889" y="292740"/>
                  </a:lnTo>
                  <a:lnTo>
                    <a:pt x="1292363" y="297250"/>
                  </a:lnTo>
                  <a:lnTo>
                    <a:pt x="1291572" y="301303"/>
                  </a:lnTo>
                  <a:lnTo>
                    <a:pt x="1291469" y="300072"/>
                  </a:lnTo>
                  <a:lnTo>
                    <a:pt x="1291962" y="295142"/>
                  </a:lnTo>
                  <a:lnTo>
                    <a:pt x="1291162" y="295658"/>
                  </a:lnTo>
                  <a:lnTo>
                    <a:pt x="1290610" y="296797"/>
                  </a:lnTo>
                  <a:lnTo>
                    <a:pt x="1289118" y="303151"/>
                  </a:lnTo>
                  <a:lnTo>
                    <a:pt x="1287067" y="306532"/>
                  </a:lnTo>
                  <a:lnTo>
                    <a:pt x="1285176" y="308869"/>
                  </a:lnTo>
                  <a:lnTo>
                    <a:pt x="1283229" y="308483"/>
                  </a:lnTo>
                  <a:lnTo>
                    <a:pt x="1283666" y="310339"/>
                  </a:lnTo>
                  <a:lnTo>
                    <a:pt x="1283130" y="311306"/>
                  </a:lnTo>
                  <a:lnTo>
                    <a:pt x="1282672" y="313320"/>
                  </a:lnTo>
                  <a:lnTo>
                    <a:pt x="1281509" y="314656"/>
                  </a:lnTo>
                  <a:lnTo>
                    <a:pt x="1280418" y="314528"/>
                  </a:lnTo>
                  <a:lnTo>
                    <a:pt x="1278847" y="315447"/>
                  </a:lnTo>
                  <a:lnTo>
                    <a:pt x="1278229" y="316151"/>
                  </a:lnTo>
                  <a:lnTo>
                    <a:pt x="1278183" y="317498"/>
                  </a:lnTo>
                  <a:lnTo>
                    <a:pt x="1277133" y="318683"/>
                  </a:lnTo>
                  <a:lnTo>
                    <a:pt x="1273343" y="324830"/>
                  </a:lnTo>
                  <a:lnTo>
                    <a:pt x="1270054" y="326643"/>
                  </a:lnTo>
                  <a:lnTo>
                    <a:pt x="1269266" y="326379"/>
                  </a:lnTo>
                  <a:lnTo>
                    <a:pt x="1270134" y="323480"/>
                  </a:lnTo>
                  <a:lnTo>
                    <a:pt x="1270728" y="320546"/>
                  </a:lnTo>
                  <a:lnTo>
                    <a:pt x="1268731" y="319270"/>
                  </a:lnTo>
                  <a:lnTo>
                    <a:pt x="1266821" y="318594"/>
                  </a:lnTo>
                  <a:lnTo>
                    <a:pt x="1264629" y="318683"/>
                  </a:lnTo>
                  <a:lnTo>
                    <a:pt x="1262207" y="316398"/>
                  </a:lnTo>
                  <a:lnTo>
                    <a:pt x="1259085" y="314737"/>
                  </a:lnTo>
                  <a:lnTo>
                    <a:pt x="1254728" y="310238"/>
                  </a:lnTo>
                  <a:lnTo>
                    <a:pt x="1254855" y="308989"/>
                  </a:lnTo>
                  <a:lnTo>
                    <a:pt x="1254745" y="306891"/>
                  </a:lnTo>
                  <a:lnTo>
                    <a:pt x="1256070" y="303576"/>
                  </a:lnTo>
                  <a:lnTo>
                    <a:pt x="1257339" y="301256"/>
                  </a:lnTo>
                  <a:lnTo>
                    <a:pt x="1259091" y="300054"/>
                  </a:lnTo>
                  <a:lnTo>
                    <a:pt x="1264178" y="298828"/>
                  </a:lnTo>
                  <a:lnTo>
                    <a:pt x="1265453" y="296986"/>
                  </a:lnTo>
                  <a:lnTo>
                    <a:pt x="1266209" y="295432"/>
                  </a:lnTo>
                  <a:lnTo>
                    <a:pt x="1263689" y="298099"/>
                  </a:lnTo>
                  <a:lnTo>
                    <a:pt x="1259915" y="299004"/>
                  </a:lnTo>
                  <a:lnTo>
                    <a:pt x="1257881" y="299999"/>
                  </a:lnTo>
                  <a:lnTo>
                    <a:pt x="1256254" y="301519"/>
                  </a:lnTo>
                  <a:lnTo>
                    <a:pt x="1255291" y="303427"/>
                  </a:lnTo>
                  <a:lnTo>
                    <a:pt x="1253111" y="305725"/>
                  </a:lnTo>
                  <a:lnTo>
                    <a:pt x="1253264" y="307263"/>
                  </a:lnTo>
                  <a:lnTo>
                    <a:pt x="1253629" y="308357"/>
                  </a:lnTo>
                  <a:lnTo>
                    <a:pt x="1253461" y="310634"/>
                  </a:lnTo>
                  <a:lnTo>
                    <a:pt x="1254840" y="312852"/>
                  </a:lnTo>
                  <a:lnTo>
                    <a:pt x="1257574" y="316485"/>
                  </a:lnTo>
                  <a:lnTo>
                    <a:pt x="1258096" y="322120"/>
                  </a:lnTo>
                  <a:lnTo>
                    <a:pt x="1260183" y="325884"/>
                  </a:lnTo>
                  <a:lnTo>
                    <a:pt x="1263380" y="330269"/>
                  </a:lnTo>
                  <a:lnTo>
                    <a:pt x="1265839" y="331515"/>
                  </a:lnTo>
                  <a:lnTo>
                    <a:pt x="1265959" y="333144"/>
                  </a:lnTo>
                  <a:lnTo>
                    <a:pt x="1264824" y="335832"/>
                  </a:lnTo>
                  <a:lnTo>
                    <a:pt x="1263328" y="337061"/>
                  </a:lnTo>
                  <a:lnTo>
                    <a:pt x="1265273" y="336815"/>
                  </a:lnTo>
                  <a:lnTo>
                    <a:pt x="1266242" y="337429"/>
                  </a:lnTo>
                  <a:lnTo>
                    <a:pt x="1267185" y="339669"/>
                  </a:lnTo>
                  <a:lnTo>
                    <a:pt x="1267112" y="341953"/>
                  </a:lnTo>
                  <a:lnTo>
                    <a:pt x="1266793" y="343240"/>
                  </a:lnTo>
                  <a:lnTo>
                    <a:pt x="1266203" y="343753"/>
                  </a:lnTo>
                  <a:lnTo>
                    <a:pt x="1266229" y="342439"/>
                  </a:lnTo>
                  <a:lnTo>
                    <a:pt x="1265812" y="341982"/>
                  </a:lnTo>
                  <a:lnTo>
                    <a:pt x="1265123" y="342553"/>
                  </a:lnTo>
                  <a:lnTo>
                    <a:pt x="1264676" y="343202"/>
                  </a:lnTo>
                  <a:lnTo>
                    <a:pt x="1264492" y="345757"/>
                  </a:lnTo>
                  <a:lnTo>
                    <a:pt x="1264020" y="347035"/>
                  </a:lnTo>
                  <a:lnTo>
                    <a:pt x="1262350" y="347413"/>
                  </a:lnTo>
                  <a:lnTo>
                    <a:pt x="1260658" y="350763"/>
                  </a:lnTo>
                  <a:lnTo>
                    <a:pt x="1259083" y="352662"/>
                  </a:lnTo>
                  <a:lnTo>
                    <a:pt x="1252887" y="365477"/>
                  </a:lnTo>
                  <a:lnTo>
                    <a:pt x="1253123" y="367615"/>
                  </a:lnTo>
                  <a:lnTo>
                    <a:pt x="1251990" y="368304"/>
                  </a:lnTo>
                  <a:lnTo>
                    <a:pt x="1250273" y="368862"/>
                  </a:lnTo>
                  <a:lnTo>
                    <a:pt x="1248538" y="370140"/>
                  </a:lnTo>
                  <a:lnTo>
                    <a:pt x="1247385" y="371547"/>
                  </a:lnTo>
                  <a:lnTo>
                    <a:pt x="1246315" y="375330"/>
                  </a:lnTo>
                  <a:lnTo>
                    <a:pt x="1244265" y="379584"/>
                  </a:lnTo>
                  <a:lnTo>
                    <a:pt x="1242986" y="377812"/>
                  </a:lnTo>
                  <a:lnTo>
                    <a:pt x="1242658" y="376295"/>
                  </a:lnTo>
                  <a:lnTo>
                    <a:pt x="1243227" y="372334"/>
                  </a:lnTo>
                  <a:lnTo>
                    <a:pt x="1245444" y="365833"/>
                  </a:lnTo>
                  <a:lnTo>
                    <a:pt x="1247888" y="361786"/>
                  </a:lnTo>
                  <a:lnTo>
                    <a:pt x="1249751" y="359865"/>
                  </a:lnTo>
                  <a:lnTo>
                    <a:pt x="1251283" y="355947"/>
                  </a:lnTo>
                  <a:lnTo>
                    <a:pt x="1249348" y="355363"/>
                  </a:lnTo>
                  <a:lnTo>
                    <a:pt x="1246396" y="355427"/>
                  </a:lnTo>
                  <a:lnTo>
                    <a:pt x="1246952" y="353617"/>
                  </a:lnTo>
                  <a:lnTo>
                    <a:pt x="1247813" y="352022"/>
                  </a:lnTo>
                  <a:lnTo>
                    <a:pt x="1246274" y="350432"/>
                  </a:lnTo>
                  <a:lnTo>
                    <a:pt x="1245364" y="350229"/>
                  </a:lnTo>
                  <a:lnTo>
                    <a:pt x="1244426" y="349577"/>
                  </a:lnTo>
                  <a:lnTo>
                    <a:pt x="1245526" y="348253"/>
                  </a:lnTo>
                  <a:lnTo>
                    <a:pt x="1246063" y="346852"/>
                  </a:lnTo>
                  <a:lnTo>
                    <a:pt x="1245735" y="345147"/>
                  </a:lnTo>
                  <a:lnTo>
                    <a:pt x="1246196" y="343862"/>
                  </a:lnTo>
                  <a:lnTo>
                    <a:pt x="1245427" y="344056"/>
                  </a:lnTo>
                  <a:lnTo>
                    <a:pt x="1244191" y="345416"/>
                  </a:lnTo>
                  <a:lnTo>
                    <a:pt x="1243423" y="345958"/>
                  </a:lnTo>
                  <a:lnTo>
                    <a:pt x="1242955" y="344756"/>
                  </a:lnTo>
                  <a:lnTo>
                    <a:pt x="1242421" y="345027"/>
                  </a:lnTo>
                  <a:lnTo>
                    <a:pt x="1242074" y="345855"/>
                  </a:lnTo>
                  <a:lnTo>
                    <a:pt x="1241284" y="346308"/>
                  </a:lnTo>
                  <a:lnTo>
                    <a:pt x="1239618" y="345179"/>
                  </a:lnTo>
                  <a:lnTo>
                    <a:pt x="1237191" y="343884"/>
                  </a:lnTo>
                  <a:lnTo>
                    <a:pt x="1235840" y="341654"/>
                  </a:lnTo>
                  <a:lnTo>
                    <a:pt x="1235069" y="339927"/>
                  </a:lnTo>
                  <a:lnTo>
                    <a:pt x="1235853" y="336798"/>
                  </a:lnTo>
                  <a:lnTo>
                    <a:pt x="1237530" y="336242"/>
                  </a:lnTo>
                  <a:lnTo>
                    <a:pt x="1239709" y="336751"/>
                  </a:lnTo>
                  <a:lnTo>
                    <a:pt x="1242567" y="336746"/>
                  </a:lnTo>
                  <a:lnTo>
                    <a:pt x="1242158" y="336051"/>
                  </a:lnTo>
                  <a:lnTo>
                    <a:pt x="1241139" y="336164"/>
                  </a:lnTo>
                  <a:lnTo>
                    <a:pt x="1238127" y="333624"/>
                  </a:lnTo>
                  <a:lnTo>
                    <a:pt x="1237157" y="332088"/>
                  </a:lnTo>
                  <a:lnTo>
                    <a:pt x="1235490" y="331666"/>
                  </a:lnTo>
                  <a:lnTo>
                    <a:pt x="1234732" y="333143"/>
                  </a:lnTo>
                  <a:lnTo>
                    <a:pt x="1233888" y="333535"/>
                  </a:lnTo>
                  <a:lnTo>
                    <a:pt x="1234929" y="330304"/>
                  </a:lnTo>
                  <a:lnTo>
                    <a:pt x="1236291" y="330172"/>
                  </a:lnTo>
                  <a:lnTo>
                    <a:pt x="1238301" y="329276"/>
                  </a:lnTo>
                  <a:lnTo>
                    <a:pt x="1237717" y="327404"/>
                  </a:lnTo>
                  <a:lnTo>
                    <a:pt x="1236448" y="326585"/>
                  </a:lnTo>
                  <a:lnTo>
                    <a:pt x="1234156" y="327613"/>
                  </a:lnTo>
                  <a:lnTo>
                    <a:pt x="1234183" y="326295"/>
                  </a:lnTo>
                  <a:lnTo>
                    <a:pt x="1234613" y="324607"/>
                  </a:lnTo>
                  <a:lnTo>
                    <a:pt x="1236341" y="324613"/>
                  </a:lnTo>
                  <a:lnTo>
                    <a:pt x="1237854" y="325163"/>
                  </a:lnTo>
                  <a:lnTo>
                    <a:pt x="1239142" y="322437"/>
                  </a:lnTo>
                  <a:lnTo>
                    <a:pt x="1239199" y="321218"/>
                  </a:lnTo>
                  <a:lnTo>
                    <a:pt x="1237060" y="322990"/>
                  </a:lnTo>
                  <a:lnTo>
                    <a:pt x="1236579" y="319169"/>
                  </a:lnTo>
                  <a:lnTo>
                    <a:pt x="1238685" y="315480"/>
                  </a:lnTo>
                  <a:lnTo>
                    <a:pt x="1240693" y="313870"/>
                  </a:lnTo>
                  <a:lnTo>
                    <a:pt x="1243204" y="313916"/>
                  </a:lnTo>
                  <a:lnTo>
                    <a:pt x="1245755" y="313657"/>
                  </a:lnTo>
                  <a:lnTo>
                    <a:pt x="1244154" y="312981"/>
                  </a:lnTo>
                  <a:lnTo>
                    <a:pt x="1242511" y="312613"/>
                  </a:lnTo>
                  <a:lnTo>
                    <a:pt x="1243745" y="311153"/>
                  </a:lnTo>
                  <a:lnTo>
                    <a:pt x="1244798" y="310891"/>
                  </a:lnTo>
                  <a:lnTo>
                    <a:pt x="1245832" y="309617"/>
                  </a:lnTo>
                  <a:lnTo>
                    <a:pt x="1243345" y="309807"/>
                  </a:lnTo>
                  <a:lnTo>
                    <a:pt x="1243639" y="307395"/>
                  </a:lnTo>
                  <a:lnTo>
                    <a:pt x="1242430" y="307886"/>
                  </a:lnTo>
                  <a:lnTo>
                    <a:pt x="1240984" y="308112"/>
                  </a:lnTo>
                  <a:lnTo>
                    <a:pt x="1240422" y="309136"/>
                  </a:lnTo>
                  <a:lnTo>
                    <a:pt x="1240532" y="310833"/>
                  </a:lnTo>
                  <a:lnTo>
                    <a:pt x="1240110" y="311946"/>
                  </a:lnTo>
                  <a:lnTo>
                    <a:pt x="1238985" y="312841"/>
                  </a:lnTo>
                  <a:lnTo>
                    <a:pt x="1237085" y="313538"/>
                  </a:lnTo>
                  <a:lnTo>
                    <a:pt x="1236902" y="312330"/>
                  </a:lnTo>
                  <a:lnTo>
                    <a:pt x="1236273" y="311781"/>
                  </a:lnTo>
                  <a:lnTo>
                    <a:pt x="1236038" y="314369"/>
                  </a:lnTo>
                  <a:lnTo>
                    <a:pt x="1235540" y="315248"/>
                  </a:lnTo>
                  <a:lnTo>
                    <a:pt x="1234152" y="312822"/>
                  </a:lnTo>
                  <a:lnTo>
                    <a:pt x="1233735" y="313311"/>
                  </a:lnTo>
                  <a:lnTo>
                    <a:pt x="1233788" y="313999"/>
                  </a:lnTo>
                  <a:lnTo>
                    <a:pt x="1233434" y="315191"/>
                  </a:lnTo>
                  <a:lnTo>
                    <a:pt x="1232243" y="315812"/>
                  </a:lnTo>
                  <a:lnTo>
                    <a:pt x="1232316" y="317339"/>
                  </a:lnTo>
                  <a:lnTo>
                    <a:pt x="1231854" y="318171"/>
                  </a:lnTo>
                  <a:lnTo>
                    <a:pt x="1228040" y="316845"/>
                  </a:lnTo>
                  <a:lnTo>
                    <a:pt x="1227950" y="317295"/>
                  </a:lnTo>
                  <a:lnTo>
                    <a:pt x="1230108" y="320152"/>
                  </a:lnTo>
                  <a:lnTo>
                    <a:pt x="1231683" y="321127"/>
                  </a:lnTo>
                  <a:lnTo>
                    <a:pt x="1231875" y="322683"/>
                  </a:lnTo>
                  <a:lnTo>
                    <a:pt x="1230522" y="323974"/>
                  </a:lnTo>
                  <a:lnTo>
                    <a:pt x="1228656" y="322859"/>
                  </a:lnTo>
                  <a:lnTo>
                    <a:pt x="1228342" y="322942"/>
                  </a:lnTo>
                  <a:lnTo>
                    <a:pt x="1229356" y="324851"/>
                  </a:lnTo>
                  <a:lnTo>
                    <a:pt x="1229996" y="326521"/>
                  </a:lnTo>
                  <a:lnTo>
                    <a:pt x="1229338" y="327918"/>
                  </a:lnTo>
                  <a:lnTo>
                    <a:pt x="1229440" y="329637"/>
                  </a:lnTo>
                  <a:lnTo>
                    <a:pt x="1229298" y="331195"/>
                  </a:lnTo>
                  <a:lnTo>
                    <a:pt x="1228895" y="332555"/>
                  </a:lnTo>
                  <a:lnTo>
                    <a:pt x="1229802" y="338812"/>
                  </a:lnTo>
                  <a:lnTo>
                    <a:pt x="1230894" y="340511"/>
                  </a:lnTo>
                  <a:lnTo>
                    <a:pt x="1231969" y="342136"/>
                  </a:lnTo>
                  <a:lnTo>
                    <a:pt x="1232538" y="343656"/>
                  </a:lnTo>
                  <a:lnTo>
                    <a:pt x="1231398" y="343878"/>
                  </a:lnTo>
                  <a:lnTo>
                    <a:pt x="1229583" y="342627"/>
                  </a:lnTo>
                  <a:lnTo>
                    <a:pt x="1227988" y="341674"/>
                  </a:lnTo>
                  <a:lnTo>
                    <a:pt x="1226089" y="338623"/>
                  </a:lnTo>
                  <a:lnTo>
                    <a:pt x="1225776" y="337405"/>
                  </a:lnTo>
                  <a:lnTo>
                    <a:pt x="1225312" y="336440"/>
                  </a:lnTo>
                  <a:lnTo>
                    <a:pt x="1225535" y="338654"/>
                  </a:lnTo>
                  <a:lnTo>
                    <a:pt x="1226214" y="341123"/>
                  </a:lnTo>
                  <a:lnTo>
                    <a:pt x="1232162" y="346643"/>
                  </a:lnTo>
                  <a:lnTo>
                    <a:pt x="1233262" y="348759"/>
                  </a:lnTo>
                  <a:lnTo>
                    <a:pt x="1234098" y="350420"/>
                  </a:lnTo>
                  <a:lnTo>
                    <a:pt x="1233888" y="352012"/>
                  </a:lnTo>
                  <a:lnTo>
                    <a:pt x="1232336" y="350885"/>
                  </a:lnTo>
                  <a:lnTo>
                    <a:pt x="1230999" y="349450"/>
                  </a:lnTo>
                  <a:lnTo>
                    <a:pt x="1227449" y="347827"/>
                  </a:lnTo>
                  <a:lnTo>
                    <a:pt x="1222970" y="346801"/>
                  </a:lnTo>
                  <a:lnTo>
                    <a:pt x="1220445" y="343025"/>
                  </a:lnTo>
                  <a:lnTo>
                    <a:pt x="1220454" y="344600"/>
                  </a:lnTo>
                  <a:lnTo>
                    <a:pt x="1219893" y="345937"/>
                  </a:lnTo>
                  <a:lnTo>
                    <a:pt x="1218351" y="344308"/>
                  </a:lnTo>
                  <a:lnTo>
                    <a:pt x="1217377" y="342917"/>
                  </a:lnTo>
                  <a:lnTo>
                    <a:pt x="1217051" y="341393"/>
                  </a:lnTo>
                  <a:lnTo>
                    <a:pt x="1215123" y="341496"/>
                  </a:lnTo>
                  <a:lnTo>
                    <a:pt x="1213103" y="342822"/>
                  </a:lnTo>
                  <a:lnTo>
                    <a:pt x="1211149" y="342508"/>
                  </a:lnTo>
                  <a:lnTo>
                    <a:pt x="1210917" y="339921"/>
                  </a:lnTo>
                  <a:lnTo>
                    <a:pt x="1211446" y="338551"/>
                  </a:lnTo>
                  <a:lnTo>
                    <a:pt x="1213638" y="335307"/>
                  </a:lnTo>
                  <a:lnTo>
                    <a:pt x="1215705" y="333651"/>
                  </a:lnTo>
                  <a:lnTo>
                    <a:pt x="1216617" y="331509"/>
                  </a:lnTo>
                  <a:lnTo>
                    <a:pt x="1216307" y="328188"/>
                  </a:lnTo>
                  <a:lnTo>
                    <a:pt x="1215917" y="331569"/>
                  </a:lnTo>
                  <a:lnTo>
                    <a:pt x="1214736" y="333241"/>
                  </a:lnTo>
                  <a:lnTo>
                    <a:pt x="1212881" y="334519"/>
                  </a:lnTo>
                  <a:lnTo>
                    <a:pt x="1210438" y="336797"/>
                  </a:lnTo>
                  <a:lnTo>
                    <a:pt x="1209841" y="338901"/>
                  </a:lnTo>
                  <a:lnTo>
                    <a:pt x="1209078" y="342836"/>
                  </a:lnTo>
                  <a:lnTo>
                    <a:pt x="1210111" y="344168"/>
                  </a:lnTo>
                  <a:lnTo>
                    <a:pt x="1211165" y="344515"/>
                  </a:lnTo>
                  <a:lnTo>
                    <a:pt x="1214277" y="343623"/>
                  </a:lnTo>
                  <a:lnTo>
                    <a:pt x="1215887" y="344021"/>
                  </a:lnTo>
                  <a:lnTo>
                    <a:pt x="1219470" y="348753"/>
                  </a:lnTo>
                  <a:lnTo>
                    <a:pt x="1226140" y="350623"/>
                  </a:lnTo>
                  <a:lnTo>
                    <a:pt x="1228573" y="351791"/>
                  </a:lnTo>
                  <a:lnTo>
                    <a:pt x="1230556" y="354255"/>
                  </a:lnTo>
                  <a:lnTo>
                    <a:pt x="1233536" y="355674"/>
                  </a:lnTo>
                  <a:lnTo>
                    <a:pt x="1235849" y="357733"/>
                  </a:lnTo>
                  <a:lnTo>
                    <a:pt x="1235912" y="359076"/>
                  </a:lnTo>
                  <a:lnTo>
                    <a:pt x="1235111" y="360664"/>
                  </a:lnTo>
                  <a:lnTo>
                    <a:pt x="1234795" y="362812"/>
                  </a:lnTo>
                  <a:lnTo>
                    <a:pt x="1233812" y="364165"/>
                  </a:lnTo>
                  <a:lnTo>
                    <a:pt x="1231453" y="364321"/>
                  </a:lnTo>
                  <a:lnTo>
                    <a:pt x="1230028" y="363973"/>
                  </a:lnTo>
                  <a:lnTo>
                    <a:pt x="1222368" y="356419"/>
                  </a:lnTo>
                  <a:lnTo>
                    <a:pt x="1221453" y="355724"/>
                  </a:lnTo>
                  <a:lnTo>
                    <a:pt x="1218612" y="351762"/>
                  </a:lnTo>
                  <a:lnTo>
                    <a:pt x="1215278" y="349638"/>
                  </a:lnTo>
                  <a:lnTo>
                    <a:pt x="1214247" y="349683"/>
                  </a:lnTo>
                  <a:lnTo>
                    <a:pt x="1218992" y="353610"/>
                  </a:lnTo>
                  <a:lnTo>
                    <a:pt x="1220929" y="356354"/>
                  </a:lnTo>
                  <a:lnTo>
                    <a:pt x="1224340" y="360197"/>
                  </a:lnTo>
                  <a:lnTo>
                    <a:pt x="1226780" y="361823"/>
                  </a:lnTo>
                  <a:lnTo>
                    <a:pt x="1228574" y="364359"/>
                  </a:lnTo>
                  <a:lnTo>
                    <a:pt x="1230242" y="365547"/>
                  </a:lnTo>
                  <a:lnTo>
                    <a:pt x="1234796" y="367237"/>
                  </a:lnTo>
                  <a:lnTo>
                    <a:pt x="1233213" y="368452"/>
                  </a:lnTo>
                  <a:lnTo>
                    <a:pt x="1235740" y="369487"/>
                  </a:lnTo>
                  <a:lnTo>
                    <a:pt x="1236101" y="371387"/>
                  </a:lnTo>
                  <a:lnTo>
                    <a:pt x="1235870" y="373552"/>
                  </a:lnTo>
                  <a:lnTo>
                    <a:pt x="1232362" y="372696"/>
                  </a:lnTo>
                  <a:lnTo>
                    <a:pt x="1232248" y="374292"/>
                  </a:lnTo>
                  <a:lnTo>
                    <a:pt x="1232561" y="375233"/>
                  </a:lnTo>
                  <a:lnTo>
                    <a:pt x="1231012" y="376008"/>
                  </a:lnTo>
                  <a:lnTo>
                    <a:pt x="1228857" y="374955"/>
                  </a:lnTo>
                  <a:lnTo>
                    <a:pt x="1223261" y="369185"/>
                  </a:lnTo>
                  <a:lnTo>
                    <a:pt x="1223309" y="369957"/>
                  </a:lnTo>
                  <a:lnTo>
                    <a:pt x="1223762" y="370853"/>
                  </a:lnTo>
                  <a:lnTo>
                    <a:pt x="1227008" y="374567"/>
                  </a:lnTo>
                  <a:lnTo>
                    <a:pt x="1229903" y="376793"/>
                  </a:lnTo>
                  <a:lnTo>
                    <a:pt x="1232358" y="377798"/>
                  </a:lnTo>
                  <a:lnTo>
                    <a:pt x="1234251" y="379661"/>
                  </a:lnTo>
                  <a:lnTo>
                    <a:pt x="1234919" y="380788"/>
                  </a:lnTo>
                  <a:lnTo>
                    <a:pt x="1235363" y="382497"/>
                  </a:lnTo>
                  <a:lnTo>
                    <a:pt x="1233962" y="383657"/>
                  </a:lnTo>
                  <a:lnTo>
                    <a:pt x="1232364" y="384298"/>
                  </a:lnTo>
                  <a:lnTo>
                    <a:pt x="1230804" y="383140"/>
                  </a:lnTo>
                  <a:lnTo>
                    <a:pt x="1229661" y="381920"/>
                  </a:lnTo>
                  <a:lnTo>
                    <a:pt x="1227226" y="379849"/>
                  </a:lnTo>
                  <a:lnTo>
                    <a:pt x="1226497" y="377531"/>
                  </a:lnTo>
                  <a:lnTo>
                    <a:pt x="1224644" y="377651"/>
                  </a:lnTo>
                  <a:lnTo>
                    <a:pt x="1216902" y="374710"/>
                  </a:lnTo>
                  <a:lnTo>
                    <a:pt x="1210681" y="374371"/>
                  </a:lnTo>
                  <a:lnTo>
                    <a:pt x="1211289" y="374964"/>
                  </a:lnTo>
                  <a:lnTo>
                    <a:pt x="1212076" y="375357"/>
                  </a:lnTo>
                  <a:lnTo>
                    <a:pt x="1217031" y="376083"/>
                  </a:lnTo>
                  <a:lnTo>
                    <a:pt x="1218989" y="377436"/>
                  </a:lnTo>
                  <a:lnTo>
                    <a:pt x="1223064" y="378637"/>
                  </a:lnTo>
                  <a:lnTo>
                    <a:pt x="1225452" y="378965"/>
                  </a:lnTo>
                  <a:lnTo>
                    <a:pt x="1226419" y="382651"/>
                  </a:lnTo>
                  <a:lnTo>
                    <a:pt x="1229717" y="385187"/>
                  </a:lnTo>
                  <a:lnTo>
                    <a:pt x="1230146" y="387063"/>
                  </a:lnTo>
                  <a:lnTo>
                    <a:pt x="1232398" y="387274"/>
                  </a:lnTo>
                  <a:lnTo>
                    <a:pt x="1236360" y="385432"/>
                  </a:lnTo>
                  <a:lnTo>
                    <a:pt x="1238918" y="386078"/>
                  </a:lnTo>
                  <a:lnTo>
                    <a:pt x="1242605" y="386605"/>
                  </a:lnTo>
                  <a:lnTo>
                    <a:pt x="1243450" y="388091"/>
                  </a:lnTo>
                  <a:lnTo>
                    <a:pt x="1244082" y="390916"/>
                  </a:lnTo>
                  <a:lnTo>
                    <a:pt x="1245386" y="394091"/>
                  </a:lnTo>
                  <a:lnTo>
                    <a:pt x="1248768" y="406587"/>
                  </a:lnTo>
                  <a:lnTo>
                    <a:pt x="1253849" y="416778"/>
                  </a:lnTo>
                  <a:lnTo>
                    <a:pt x="1254474" y="418529"/>
                  </a:lnTo>
                  <a:lnTo>
                    <a:pt x="1253292" y="416993"/>
                  </a:lnTo>
                  <a:lnTo>
                    <a:pt x="1249524" y="410247"/>
                  </a:lnTo>
                  <a:lnTo>
                    <a:pt x="1247444" y="405368"/>
                  </a:lnTo>
                  <a:lnTo>
                    <a:pt x="1245306" y="396739"/>
                  </a:lnTo>
                  <a:lnTo>
                    <a:pt x="1244686" y="394804"/>
                  </a:lnTo>
                  <a:lnTo>
                    <a:pt x="1243956" y="394031"/>
                  </a:lnTo>
                  <a:lnTo>
                    <a:pt x="1243475" y="394660"/>
                  </a:lnTo>
                  <a:lnTo>
                    <a:pt x="1243269" y="395762"/>
                  </a:lnTo>
                  <a:lnTo>
                    <a:pt x="1243617" y="396606"/>
                  </a:lnTo>
                  <a:lnTo>
                    <a:pt x="1242775" y="399450"/>
                  </a:lnTo>
                  <a:lnTo>
                    <a:pt x="1243140" y="400753"/>
                  </a:lnTo>
                  <a:lnTo>
                    <a:pt x="1244507" y="402101"/>
                  </a:lnTo>
                  <a:lnTo>
                    <a:pt x="1245993" y="405461"/>
                  </a:lnTo>
                  <a:lnTo>
                    <a:pt x="1247180" y="409981"/>
                  </a:lnTo>
                  <a:lnTo>
                    <a:pt x="1245575" y="408150"/>
                  </a:lnTo>
                  <a:lnTo>
                    <a:pt x="1243861" y="407178"/>
                  </a:lnTo>
                  <a:lnTo>
                    <a:pt x="1241194" y="406433"/>
                  </a:lnTo>
                  <a:lnTo>
                    <a:pt x="1238819" y="405129"/>
                  </a:lnTo>
                  <a:lnTo>
                    <a:pt x="1238992" y="407001"/>
                  </a:lnTo>
                  <a:lnTo>
                    <a:pt x="1238765" y="409022"/>
                  </a:lnTo>
                  <a:lnTo>
                    <a:pt x="1236934" y="408406"/>
                  </a:lnTo>
                  <a:lnTo>
                    <a:pt x="1235688" y="407735"/>
                  </a:lnTo>
                  <a:lnTo>
                    <a:pt x="1236790" y="409888"/>
                  </a:lnTo>
                  <a:lnTo>
                    <a:pt x="1234396" y="409242"/>
                  </a:lnTo>
                  <a:lnTo>
                    <a:pt x="1232803" y="409377"/>
                  </a:lnTo>
                  <a:lnTo>
                    <a:pt x="1231767" y="411288"/>
                  </a:lnTo>
                  <a:lnTo>
                    <a:pt x="1230376" y="412448"/>
                  </a:lnTo>
                  <a:lnTo>
                    <a:pt x="1228322" y="412821"/>
                  </a:lnTo>
                  <a:lnTo>
                    <a:pt x="1225272" y="411074"/>
                  </a:lnTo>
                  <a:lnTo>
                    <a:pt x="1224284" y="408954"/>
                  </a:lnTo>
                  <a:lnTo>
                    <a:pt x="1223875" y="406590"/>
                  </a:lnTo>
                  <a:lnTo>
                    <a:pt x="1223713" y="409384"/>
                  </a:lnTo>
                  <a:lnTo>
                    <a:pt x="1224255" y="412292"/>
                  </a:lnTo>
                  <a:lnTo>
                    <a:pt x="1224064" y="414501"/>
                  </a:lnTo>
                  <a:lnTo>
                    <a:pt x="1227001" y="414906"/>
                  </a:lnTo>
                  <a:lnTo>
                    <a:pt x="1229746" y="414547"/>
                  </a:lnTo>
                  <a:lnTo>
                    <a:pt x="1233451" y="414638"/>
                  </a:lnTo>
                  <a:lnTo>
                    <a:pt x="1235867" y="414225"/>
                  </a:lnTo>
                  <a:lnTo>
                    <a:pt x="1237322" y="413522"/>
                  </a:lnTo>
                  <a:lnTo>
                    <a:pt x="1240811" y="414131"/>
                  </a:lnTo>
                  <a:lnTo>
                    <a:pt x="1241060" y="416798"/>
                  </a:lnTo>
                  <a:lnTo>
                    <a:pt x="1240660" y="419447"/>
                  </a:lnTo>
                  <a:lnTo>
                    <a:pt x="1240458" y="422265"/>
                  </a:lnTo>
                  <a:lnTo>
                    <a:pt x="1241425" y="422247"/>
                  </a:lnTo>
                  <a:lnTo>
                    <a:pt x="1242562" y="421346"/>
                  </a:lnTo>
                  <a:lnTo>
                    <a:pt x="1243129" y="416295"/>
                  </a:lnTo>
                  <a:lnTo>
                    <a:pt x="1246317" y="414427"/>
                  </a:lnTo>
                  <a:lnTo>
                    <a:pt x="1247386" y="414555"/>
                  </a:lnTo>
                  <a:lnTo>
                    <a:pt x="1248401" y="416179"/>
                  </a:lnTo>
                  <a:lnTo>
                    <a:pt x="1248743" y="417827"/>
                  </a:lnTo>
                  <a:lnTo>
                    <a:pt x="1249103" y="420088"/>
                  </a:lnTo>
                  <a:lnTo>
                    <a:pt x="1248359" y="423530"/>
                  </a:lnTo>
                  <a:lnTo>
                    <a:pt x="1243459" y="427551"/>
                  </a:lnTo>
                  <a:lnTo>
                    <a:pt x="1239950" y="431266"/>
                  </a:lnTo>
                  <a:lnTo>
                    <a:pt x="1238157" y="432022"/>
                  </a:lnTo>
                  <a:lnTo>
                    <a:pt x="1235569" y="431590"/>
                  </a:lnTo>
                  <a:lnTo>
                    <a:pt x="1232636" y="430656"/>
                  </a:lnTo>
                  <a:lnTo>
                    <a:pt x="1231197" y="430468"/>
                  </a:lnTo>
                  <a:lnTo>
                    <a:pt x="1230104" y="430780"/>
                  </a:lnTo>
                  <a:lnTo>
                    <a:pt x="1229438" y="429637"/>
                  </a:lnTo>
                  <a:lnTo>
                    <a:pt x="1229008" y="427550"/>
                  </a:lnTo>
                  <a:lnTo>
                    <a:pt x="1227867" y="426857"/>
                  </a:lnTo>
                  <a:lnTo>
                    <a:pt x="1227003" y="426934"/>
                  </a:lnTo>
                  <a:lnTo>
                    <a:pt x="1226413" y="429151"/>
                  </a:lnTo>
                  <a:lnTo>
                    <a:pt x="1223678" y="429781"/>
                  </a:lnTo>
                  <a:lnTo>
                    <a:pt x="1219958" y="428866"/>
                  </a:lnTo>
                  <a:lnTo>
                    <a:pt x="1216060" y="427000"/>
                  </a:lnTo>
                  <a:lnTo>
                    <a:pt x="1217732" y="429001"/>
                  </a:lnTo>
                  <a:lnTo>
                    <a:pt x="1227401" y="432731"/>
                  </a:lnTo>
                  <a:lnTo>
                    <a:pt x="1228489" y="433428"/>
                  </a:lnTo>
                  <a:lnTo>
                    <a:pt x="1229505" y="434447"/>
                  </a:lnTo>
                  <a:lnTo>
                    <a:pt x="1228153" y="436046"/>
                  </a:lnTo>
                  <a:lnTo>
                    <a:pt x="1227093" y="437846"/>
                  </a:lnTo>
                  <a:lnTo>
                    <a:pt x="1226945" y="439257"/>
                  </a:lnTo>
                  <a:lnTo>
                    <a:pt x="1226570" y="440147"/>
                  </a:lnTo>
                  <a:lnTo>
                    <a:pt x="1222715" y="442548"/>
                  </a:lnTo>
                  <a:lnTo>
                    <a:pt x="1220626" y="442124"/>
                  </a:lnTo>
                  <a:lnTo>
                    <a:pt x="1215288" y="437796"/>
                  </a:lnTo>
                  <a:lnTo>
                    <a:pt x="1217719" y="441539"/>
                  </a:lnTo>
                  <a:lnTo>
                    <a:pt x="1219667" y="443126"/>
                  </a:lnTo>
                  <a:lnTo>
                    <a:pt x="1223587" y="443974"/>
                  </a:lnTo>
                  <a:lnTo>
                    <a:pt x="1230940" y="442575"/>
                  </a:lnTo>
                  <a:lnTo>
                    <a:pt x="1233350" y="444101"/>
                  </a:lnTo>
                  <a:lnTo>
                    <a:pt x="1231372" y="446804"/>
                  </a:lnTo>
                  <a:lnTo>
                    <a:pt x="1229404" y="448698"/>
                  </a:lnTo>
                  <a:lnTo>
                    <a:pt x="1226825" y="448909"/>
                  </a:lnTo>
                  <a:lnTo>
                    <a:pt x="1224554" y="449422"/>
                  </a:lnTo>
                  <a:lnTo>
                    <a:pt x="1223887" y="450725"/>
                  </a:lnTo>
                  <a:lnTo>
                    <a:pt x="1222267" y="450806"/>
                  </a:lnTo>
                  <a:lnTo>
                    <a:pt x="1219736" y="450883"/>
                  </a:lnTo>
                  <a:lnTo>
                    <a:pt x="1215819" y="451002"/>
                  </a:lnTo>
                  <a:lnTo>
                    <a:pt x="1213666" y="450698"/>
                  </a:lnTo>
                  <a:lnTo>
                    <a:pt x="1210659" y="453357"/>
                  </a:lnTo>
                  <a:lnTo>
                    <a:pt x="1209524" y="453723"/>
                  </a:lnTo>
                  <a:lnTo>
                    <a:pt x="1207937" y="453223"/>
                  </a:lnTo>
                  <a:lnTo>
                    <a:pt x="1207273" y="451088"/>
                  </a:lnTo>
                  <a:lnTo>
                    <a:pt x="1206565" y="450037"/>
                  </a:lnTo>
                  <a:lnTo>
                    <a:pt x="1206546" y="454033"/>
                  </a:lnTo>
                  <a:lnTo>
                    <a:pt x="1206824" y="455110"/>
                  </a:lnTo>
                  <a:lnTo>
                    <a:pt x="1207393" y="455920"/>
                  </a:lnTo>
                  <a:lnTo>
                    <a:pt x="1203876" y="458087"/>
                  </a:lnTo>
                  <a:lnTo>
                    <a:pt x="1200507" y="460786"/>
                  </a:lnTo>
                  <a:lnTo>
                    <a:pt x="1199301" y="461521"/>
                  </a:lnTo>
                  <a:lnTo>
                    <a:pt x="1197930" y="462871"/>
                  </a:lnTo>
                  <a:lnTo>
                    <a:pt x="1195121" y="466774"/>
                  </a:lnTo>
                  <a:lnTo>
                    <a:pt x="1194427" y="469615"/>
                  </a:lnTo>
                  <a:lnTo>
                    <a:pt x="1193412" y="472782"/>
                  </a:lnTo>
                  <a:lnTo>
                    <a:pt x="1193284" y="471355"/>
                  </a:lnTo>
                  <a:lnTo>
                    <a:pt x="1193458" y="468955"/>
                  </a:lnTo>
                  <a:lnTo>
                    <a:pt x="1192764" y="466203"/>
                  </a:lnTo>
                  <a:lnTo>
                    <a:pt x="1192321" y="471243"/>
                  </a:lnTo>
                  <a:lnTo>
                    <a:pt x="1191232" y="473582"/>
                  </a:lnTo>
                  <a:lnTo>
                    <a:pt x="1181217" y="473417"/>
                  </a:lnTo>
                  <a:lnTo>
                    <a:pt x="1176834" y="474687"/>
                  </a:lnTo>
                  <a:lnTo>
                    <a:pt x="1170105" y="478959"/>
                  </a:lnTo>
                  <a:lnTo>
                    <a:pt x="1168093" y="480830"/>
                  </a:lnTo>
                  <a:lnTo>
                    <a:pt x="1162536" y="488057"/>
                  </a:lnTo>
                  <a:lnTo>
                    <a:pt x="1161117" y="492675"/>
                  </a:lnTo>
                  <a:lnTo>
                    <a:pt x="1159979" y="490734"/>
                  </a:lnTo>
                  <a:lnTo>
                    <a:pt x="1160261" y="489278"/>
                  </a:lnTo>
                  <a:lnTo>
                    <a:pt x="1160284" y="488086"/>
                  </a:lnTo>
                  <a:lnTo>
                    <a:pt x="1158884" y="490641"/>
                  </a:lnTo>
                  <a:lnTo>
                    <a:pt x="1160213" y="494358"/>
                  </a:lnTo>
                  <a:lnTo>
                    <a:pt x="1159020" y="495776"/>
                  </a:lnTo>
                  <a:lnTo>
                    <a:pt x="1155348" y="498423"/>
                  </a:lnTo>
                  <a:lnTo>
                    <a:pt x="1153339" y="498857"/>
                  </a:lnTo>
                  <a:lnTo>
                    <a:pt x="1151084" y="499609"/>
                  </a:lnTo>
                  <a:lnTo>
                    <a:pt x="1150372" y="502217"/>
                  </a:lnTo>
                  <a:lnTo>
                    <a:pt x="1147311" y="504621"/>
                  </a:lnTo>
                  <a:lnTo>
                    <a:pt x="1145526" y="505684"/>
                  </a:lnTo>
                  <a:lnTo>
                    <a:pt x="1142257" y="505040"/>
                  </a:lnTo>
                  <a:lnTo>
                    <a:pt x="1143264" y="507353"/>
                  </a:lnTo>
                  <a:lnTo>
                    <a:pt x="1142063" y="509104"/>
                  </a:lnTo>
                  <a:lnTo>
                    <a:pt x="1139996" y="510444"/>
                  </a:lnTo>
                  <a:lnTo>
                    <a:pt x="1137425" y="511320"/>
                  </a:lnTo>
                  <a:lnTo>
                    <a:pt x="1135951" y="511212"/>
                  </a:lnTo>
                  <a:lnTo>
                    <a:pt x="1134691" y="511677"/>
                  </a:lnTo>
                  <a:lnTo>
                    <a:pt x="1133705" y="512790"/>
                  </a:lnTo>
                  <a:lnTo>
                    <a:pt x="1131295" y="513829"/>
                  </a:lnTo>
                  <a:lnTo>
                    <a:pt x="1128792" y="513245"/>
                  </a:lnTo>
                  <a:lnTo>
                    <a:pt x="1125953" y="512894"/>
                  </a:lnTo>
                  <a:lnTo>
                    <a:pt x="1124373" y="513516"/>
                  </a:lnTo>
                  <a:lnTo>
                    <a:pt x="1127030" y="514548"/>
                  </a:lnTo>
                  <a:lnTo>
                    <a:pt x="1128452" y="516042"/>
                  </a:lnTo>
                  <a:lnTo>
                    <a:pt x="1128159" y="518054"/>
                  </a:lnTo>
                  <a:lnTo>
                    <a:pt x="1127448" y="518830"/>
                  </a:lnTo>
                  <a:lnTo>
                    <a:pt x="1125772" y="519883"/>
                  </a:lnTo>
                  <a:lnTo>
                    <a:pt x="1125036" y="519726"/>
                  </a:lnTo>
                  <a:lnTo>
                    <a:pt x="1124586" y="518777"/>
                  </a:lnTo>
                  <a:lnTo>
                    <a:pt x="1124041" y="516802"/>
                  </a:lnTo>
                  <a:lnTo>
                    <a:pt x="1123260" y="517224"/>
                  </a:lnTo>
                  <a:lnTo>
                    <a:pt x="1123125" y="518144"/>
                  </a:lnTo>
                  <a:lnTo>
                    <a:pt x="1122456" y="518471"/>
                  </a:lnTo>
                  <a:lnTo>
                    <a:pt x="1120078" y="515324"/>
                  </a:lnTo>
                  <a:lnTo>
                    <a:pt x="1120197" y="517725"/>
                  </a:lnTo>
                  <a:lnTo>
                    <a:pt x="1121027" y="519570"/>
                  </a:lnTo>
                  <a:lnTo>
                    <a:pt x="1121831" y="520504"/>
                  </a:lnTo>
                  <a:lnTo>
                    <a:pt x="1122641" y="521056"/>
                  </a:lnTo>
                  <a:lnTo>
                    <a:pt x="1122841" y="521911"/>
                  </a:lnTo>
                  <a:lnTo>
                    <a:pt x="1121214" y="523992"/>
                  </a:lnTo>
                  <a:lnTo>
                    <a:pt x="1120377" y="524455"/>
                  </a:lnTo>
                  <a:lnTo>
                    <a:pt x="1118887" y="524793"/>
                  </a:lnTo>
                  <a:lnTo>
                    <a:pt x="1118049" y="526075"/>
                  </a:lnTo>
                  <a:lnTo>
                    <a:pt x="1118296" y="527180"/>
                  </a:lnTo>
                  <a:lnTo>
                    <a:pt x="1116993" y="529574"/>
                  </a:lnTo>
                  <a:lnTo>
                    <a:pt x="1113879" y="531069"/>
                  </a:lnTo>
                  <a:lnTo>
                    <a:pt x="1112927" y="531012"/>
                  </a:lnTo>
                  <a:lnTo>
                    <a:pt x="1112151" y="531449"/>
                  </a:lnTo>
                  <a:lnTo>
                    <a:pt x="1112604" y="532515"/>
                  </a:lnTo>
                  <a:lnTo>
                    <a:pt x="1113382" y="533290"/>
                  </a:lnTo>
                  <a:lnTo>
                    <a:pt x="1113355" y="534010"/>
                  </a:lnTo>
                  <a:lnTo>
                    <a:pt x="1112532" y="534988"/>
                  </a:lnTo>
                  <a:lnTo>
                    <a:pt x="1110906" y="535261"/>
                  </a:lnTo>
                  <a:lnTo>
                    <a:pt x="1109992" y="536376"/>
                  </a:lnTo>
                  <a:lnTo>
                    <a:pt x="1110281" y="537427"/>
                  </a:lnTo>
                  <a:lnTo>
                    <a:pt x="1110818" y="538015"/>
                  </a:lnTo>
                  <a:lnTo>
                    <a:pt x="1110707" y="539025"/>
                  </a:lnTo>
                  <a:lnTo>
                    <a:pt x="1108857" y="540042"/>
                  </a:lnTo>
                  <a:lnTo>
                    <a:pt x="1108425" y="541039"/>
                  </a:lnTo>
                  <a:lnTo>
                    <a:pt x="1109341" y="541334"/>
                  </a:lnTo>
                  <a:lnTo>
                    <a:pt x="1110049" y="541039"/>
                  </a:lnTo>
                  <a:lnTo>
                    <a:pt x="1110566" y="541254"/>
                  </a:lnTo>
                  <a:lnTo>
                    <a:pt x="1109457" y="542922"/>
                  </a:lnTo>
                  <a:lnTo>
                    <a:pt x="1108461" y="543940"/>
                  </a:lnTo>
                  <a:lnTo>
                    <a:pt x="1107516" y="545767"/>
                  </a:lnTo>
                  <a:lnTo>
                    <a:pt x="1105322" y="546272"/>
                  </a:lnTo>
                  <a:lnTo>
                    <a:pt x="1105406" y="546862"/>
                  </a:lnTo>
                  <a:lnTo>
                    <a:pt x="1106644" y="547383"/>
                  </a:lnTo>
                  <a:lnTo>
                    <a:pt x="1107681" y="548788"/>
                  </a:lnTo>
                  <a:lnTo>
                    <a:pt x="1105733" y="551377"/>
                  </a:lnTo>
                  <a:lnTo>
                    <a:pt x="1104516" y="551165"/>
                  </a:lnTo>
                  <a:lnTo>
                    <a:pt x="1103772" y="550595"/>
                  </a:lnTo>
                  <a:lnTo>
                    <a:pt x="1103298" y="552639"/>
                  </a:lnTo>
                  <a:lnTo>
                    <a:pt x="1103479" y="553728"/>
                  </a:lnTo>
                  <a:lnTo>
                    <a:pt x="1103016" y="555956"/>
                  </a:lnTo>
                  <a:lnTo>
                    <a:pt x="1102271" y="558633"/>
                  </a:lnTo>
                  <a:lnTo>
                    <a:pt x="1101766" y="559732"/>
                  </a:lnTo>
                  <a:lnTo>
                    <a:pt x="1101872" y="561777"/>
                  </a:lnTo>
                  <a:lnTo>
                    <a:pt x="1102185" y="563751"/>
                  </a:lnTo>
                  <a:lnTo>
                    <a:pt x="1103378" y="566293"/>
                  </a:lnTo>
                  <a:lnTo>
                    <a:pt x="1105200" y="576678"/>
                  </a:lnTo>
                  <a:lnTo>
                    <a:pt x="1106441" y="580278"/>
                  </a:lnTo>
                  <a:lnTo>
                    <a:pt x="1108676" y="589977"/>
                  </a:lnTo>
                  <a:lnTo>
                    <a:pt x="1112375" y="599360"/>
                  </a:lnTo>
                  <a:lnTo>
                    <a:pt x="1117591" y="610677"/>
                  </a:lnTo>
                  <a:lnTo>
                    <a:pt x="1126156" y="624357"/>
                  </a:lnTo>
                  <a:lnTo>
                    <a:pt x="1127181" y="626302"/>
                  </a:lnTo>
                  <a:lnTo>
                    <a:pt x="1126065" y="627952"/>
                  </a:lnTo>
                  <a:lnTo>
                    <a:pt x="1125726" y="629661"/>
                  </a:lnTo>
                  <a:lnTo>
                    <a:pt x="1125628" y="632234"/>
                  </a:lnTo>
                  <a:lnTo>
                    <a:pt x="1125937" y="634741"/>
                  </a:lnTo>
                  <a:lnTo>
                    <a:pt x="1126950" y="637800"/>
                  </a:lnTo>
                  <a:lnTo>
                    <a:pt x="1128895" y="642473"/>
                  </a:lnTo>
                  <a:lnTo>
                    <a:pt x="1127808" y="641541"/>
                  </a:lnTo>
                  <a:lnTo>
                    <a:pt x="1124990" y="634832"/>
                  </a:lnTo>
                  <a:lnTo>
                    <a:pt x="1124663" y="630886"/>
                  </a:lnTo>
                  <a:lnTo>
                    <a:pt x="1125068" y="625283"/>
                  </a:lnTo>
                  <a:lnTo>
                    <a:pt x="1124406" y="625420"/>
                  </a:lnTo>
                  <a:lnTo>
                    <a:pt x="1123870" y="627240"/>
                  </a:lnTo>
                  <a:lnTo>
                    <a:pt x="1123574" y="629378"/>
                  </a:lnTo>
                  <a:lnTo>
                    <a:pt x="1122859" y="630205"/>
                  </a:lnTo>
                  <a:lnTo>
                    <a:pt x="1121884" y="626945"/>
                  </a:lnTo>
                  <a:lnTo>
                    <a:pt x="1121952" y="625469"/>
                  </a:lnTo>
                  <a:lnTo>
                    <a:pt x="1122989" y="623745"/>
                  </a:lnTo>
                  <a:lnTo>
                    <a:pt x="1122688" y="623124"/>
                  </a:lnTo>
                  <a:lnTo>
                    <a:pt x="1121012" y="622241"/>
                  </a:lnTo>
                  <a:lnTo>
                    <a:pt x="1120656" y="620853"/>
                  </a:lnTo>
                  <a:lnTo>
                    <a:pt x="1120883" y="619480"/>
                  </a:lnTo>
                  <a:lnTo>
                    <a:pt x="1119921" y="618747"/>
                  </a:lnTo>
                  <a:lnTo>
                    <a:pt x="1119169" y="618781"/>
                  </a:lnTo>
                  <a:lnTo>
                    <a:pt x="1119673" y="622165"/>
                  </a:lnTo>
                  <a:lnTo>
                    <a:pt x="1120468" y="624239"/>
                  </a:lnTo>
                  <a:lnTo>
                    <a:pt x="1121453" y="629210"/>
                  </a:lnTo>
                  <a:lnTo>
                    <a:pt x="1123042" y="632218"/>
                  </a:lnTo>
                  <a:lnTo>
                    <a:pt x="1123966" y="634739"/>
                  </a:lnTo>
                  <a:lnTo>
                    <a:pt x="1134783" y="661564"/>
                  </a:lnTo>
                  <a:lnTo>
                    <a:pt x="1137342" y="664969"/>
                  </a:lnTo>
                  <a:lnTo>
                    <a:pt x="1138289" y="667413"/>
                  </a:lnTo>
                  <a:lnTo>
                    <a:pt x="1139275" y="672521"/>
                  </a:lnTo>
                  <a:lnTo>
                    <a:pt x="1139497" y="679070"/>
                  </a:lnTo>
                  <a:lnTo>
                    <a:pt x="1137730" y="691017"/>
                  </a:lnTo>
                  <a:lnTo>
                    <a:pt x="1137327" y="699150"/>
                  </a:lnTo>
                  <a:lnTo>
                    <a:pt x="1137074" y="698903"/>
                  </a:lnTo>
                  <a:lnTo>
                    <a:pt x="1136905" y="698047"/>
                  </a:lnTo>
                  <a:lnTo>
                    <a:pt x="1136497" y="697929"/>
                  </a:lnTo>
                  <a:lnTo>
                    <a:pt x="1134963" y="701651"/>
                  </a:lnTo>
                  <a:lnTo>
                    <a:pt x="1132876" y="705007"/>
                  </a:lnTo>
                  <a:lnTo>
                    <a:pt x="1132190" y="710220"/>
                  </a:lnTo>
                  <a:lnTo>
                    <a:pt x="1131190" y="712827"/>
                  </a:lnTo>
                  <a:lnTo>
                    <a:pt x="1128187" y="715583"/>
                  </a:lnTo>
                  <a:lnTo>
                    <a:pt x="1126326" y="715513"/>
                  </a:lnTo>
                  <a:lnTo>
                    <a:pt x="1121762" y="717580"/>
                  </a:lnTo>
                  <a:lnTo>
                    <a:pt x="1118556" y="717042"/>
                  </a:lnTo>
                  <a:lnTo>
                    <a:pt x="1114735" y="718208"/>
                  </a:lnTo>
                  <a:lnTo>
                    <a:pt x="1112223" y="718077"/>
                  </a:lnTo>
                  <a:lnTo>
                    <a:pt x="1110771" y="715619"/>
                  </a:lnTo>
                  <a:lnTo>
                    <a:pt x="1110992" y="714520"/>
                  </a:lnTo>
                  <a:lnTo>
                    <a:pt x="1111571" y="713413"/>
                  </a:lnTo>
                  <a:lnTo>
                    <a:pt x="1112550" y="713157"/>
                  </a:lnTo>
                  <a:lnTo>
                    <a:pt x="1115924" y="715733"/>
                  </a:lnTo>
                  <a:lnTo>
                    <a:pt x="1116560" y="714648"/>
                  </a:lnTo>
                  <a:lnTo>
                    <a:pt x="1115542" y="713359"/>
                  </a:lnTo>
                  <a:lnTo>
                    <a:pt x="1113591" y="712639"/>
                  </a:lnTo>
                  <a:lnTo>
                    <a:pt x="1112149" y="711848"/>
                  </a:lnTo>
                  <a:lnTo>
                    <a:pt x="1109246" y="705965"/>
                  </a:lnTo>
                  <a:lnTo>
                    <a:pt x="1106239" y="701922"/>
                  </a:lnTo>
                  <a:lnTo>
                    <a:pt x="1105731" y="699218"/>
                  </a:lnTo>
                  <a:lnTo>
                    <a:pt x="1100545" y="697568"/>
                  </a:lnTo>
                  <a:lnTo>
                    <a:pt x="1096789" y="695069"/>
                  </a:lnTo>
                  <a:lnTo>
                    <a:pt x="1094340" y="690622"/>
                  </a:lnTo>
                  <a:lnTo>
                    <a:pt x="1092936" y="682724"/>
                  </a:lnTo>
                  <a:lnTo>
                    <a:pt x="1091279" y="681836"/>
                  </a:lnTo>
                  <a:lnTo>
                    <a:pt x="1090578" y="681221"/>
                  </a:lnTo>
                  <a:lnTo>
                    <a:pt x="1092197" y="678288"/>
                  </a:lnTo>
                  <a:lnTo>
                    <a:pt x="1093902" y="675826"/>
                  </a:lnTo>
                  <a:lnTo>
                    <a:pt x="1092552" y="676438"/>
                  </a:lnTo>
                  <a:lnTo>
                    <a:pt x="1091556" y="677349"/>
                  </a:lnTo>
                  <a:lnTo>
                    <a:pt x="1090293" y="679522"/>
                  </a:lnTo>
                  <a:lnTo>
                    <a:pt x="1089368" y="679857"/>
                  </a:lnTo>
                  <a:lnTo>
                    <a:pt x="1088520" y="679522"/>
                  </a:lnTo>
                  <a:lnTo>
                    <a:pt x="1087544" y="675353"/>
                  </a:lnTo>
                  <a:lnTo>
                    <a:pt x="1087824" y="670222"/>
                  </a:lnTo>
                  <a:lnTo>
                    <a:pt x="1089192" y="668301"/>
                  </a:lnTo>
                  <a:lnTo>
                    <a:pt x="1087089" y="668251"/>
                  </a:lnTo>
                  <a:lnTo>
                    <a:pt x="1084910" y="668982"/>
                  </a:lnTo>
                  <a:lnTo>
                    <a:pt x="1085230" y="670693"/>
                  </a:lnTo>
                  <a:lnTo>
                    <a:pt x="1084922" y="671633"/>
                  </a:lnTo>
                  <a:lnTo>
                    <a:pt x="1083335" y="671392"/>
                  </a:lnTo>
                  <a:lnTo>
                    <a:pt x="1082133" y="670791"/>
                  </a:lnTo>
                  <a:lnTo>
                    <a:pt x="1080499" y="669010"/>
                  </a:lnTo>
                  <a:lnTo>
                    <a:pt x="1078272" y="665610"/>
                  </a:lnTo>
                  <a:lnTo>
                    <a:pt x="1073703" y="656231"/>
                  </a:lnTo>
                  <a:lnTo>
                    <a:pt x="1072812" y="654908"/>
                  </a:lnTo>
                  <a:lnTo>
                    <a:pt x="1071302" y="653520"/>
                  </a:lnTo>
                  <a:lnTo>
                    <a:pt x="1072013" y="653089"/>
                  </a:lnTo>
                  <a:lnTo>
                    <a:pt x="1073310" y="652834"/>
                  </a:lnTo>
                  <a:lnTo>
                    <a:pt x="1076244" y="648603"/>
                  </a:lnTo>
                  <a:lnTo>
                    <a:pt x="1078548" y="646043"/>
                  </a:lnTo>
                  <a:lnTo>
                    <a:pt x="1079313" y="644273"/>
                  </a:lnTo>
                  <a:lnTo>
                    <a:pt x="1079180" y="643515"/>
                  </a:lnTo>
                  <a:lnTo>
                    <a:pt x="1078161" y="642415"/>
                  </a:lnTo>
                  <a:lnTo>
                    <a:pt x="1076824" y="643376"/>
                  </a:lnTo>
                  <a:lnTo>
                    <a:pt x="1076250" y="643102"/>
                  </a:lnTo>
                  <a:lnTo>
                    <a:pt x="1074745" y="640880"/>
                  </a:lnTo>
                  <a:lnTo>
                    <a:pt x="1073308" y="640252"/>
                  </a:lnTo>
                  <a:lnTo>
                    <a:pt x="1072306" y="640733"/>
                  </a:lnTo>
                  <a:lnTo>
                    <a:pt x="1073364" y="642554"/>
                  </a:lnTo>
                  <a:lnTo>
                    <a:pt x="1074311" y="643230"/>
                  </a:lnTo>
                  <a:lnTo>
                    <a:pt x="1073945" y="645875"/>
                  </a:lnTo>
                  <a:lnTo>
                    <a:pt x="1073561" y="646738"/>
                  </a:lnTo>
                  <a:lnTo>
                    <a:pt x="1072672" y="647497"/>
                  </a:lnTo>
                  <a:lnTo>
                    <a:pt x="1071282" y="647093"/>
                  </a:lnTo>
                  <a:lnTo>
                    <a:pt x="1070580" y="647746"/>
                  </a:lnTo>
                  <a:lnTo>
                    <a:pt x="1069752" y="647056"/>
                  </a:lnTo>
                  <a:lnTo>
                    <a:pt x="1068930" y="645895"/>
                  </a:lnTo>
                  <a:lnTo>
                    <a:pt x="1068013" y="643981"/>
                  </a:lnTo>
                  <a:lnTo>
                    <a:pt x="1070435" y="633194"/>
                  </a:lnTo>
                  <a:lnTo>
                    <a:pt x="1072679" y="626310"/>
                  </a:lnTo>
                  <a:lnTo>
                    <a:pt x="1072934" y="618442"/>
                  </a:lnTo>
                  <a:lnTo>
                    <a:pt x="1073101" y="617276"/>
                  </a:lnTo>
                  <a:lnTo>
                    <a:pt x="1072912" y="615183"/>
                  </a:lnTo>
                  <a:lnTo>
                    <a:pt x="1069905" y="610630"/>
                  </a:lnTo>
                  <a:lnTo>
                    <a:pt x="1056611" y="599501"/>
                  </a:lnTo>
                  <a:lnTo>
                    <a:pt x="1046308" y="586289"/>
                  </a:lnTo>
                  <a:lnTo>
                    <a:pt x="1037383" y="581324"/>
                  </a:lnTo>
                  <a:lnTo>
                    <a:pt x="1030611" y="582414"/>
                  </a:lnTo>
                  <a:lnTo>
                    <a:pt x="1029439" y="583412"/>
                  </a:lnTo>
                  <a:lnTo>
                    <a:pt x="1028936" y="584717"/>
                  </a:lnTo>
                  <a:lnTo>
                    <a:pt x="1029361" y="586194"/>
                  </a:lnTo>
                  <a:lnTo>
                    <a:pt x="1028745" y="586808"/>
                  </a:lnTo>
                  <a:lnTo>
                    <a:pt x="1026928" y="586730"/>
                  </a:lnTo>
                  <a:lnTo>
                    <a:pt x="1024480" y="587074"/>
                  </a:lnTo>
                  <a:lnTo>
                    <a:pt x="1018089" y="590556"/>
                  </a:lnTo>
                  <a:lnTo>
                    <a:pt x="1015834" y="590427"/>
                  </a:lnTo>
                  <a:lnTo>
                    <a:pt x="1013787" y="591329"/>
                  </a:lnTo>
                  <a:lnTo>
                    <a:pt x="1012254" y="592004"/>
                  </a:lnTo>
                  <a:lnTo>
                    <a:pt x="1008255" y="592372"/>
                  </a:lnTo>
                  <a:lnTo>
                    <a:pt x="1004864" y="593144"/>
                  </a:lnTo>
                  <a:lnTo>
                    <a:pt x="1003399" y="592726"/>
                  </a:lnTo>
                  <a:lnTo>
                    <a:pt x="1002444" y="590708"/>
                  </a:lnTo>
                  <a:lnTo>
                    <a:pt x="1002444" y="588619"/>
                  </a:lnTo>
                  <a:lnTo>
                    <a:pt x="1003219" y="590220"/>
                  </a:lnTo>
                  <a:lnTo>
                    <a:pt x="1004418" y="591473"/>
                  </a:lnTo>
                  <a:lnTo>
                    <a:pt x="1004968" y="590973"/>
                  </a:lnTo>
                  <a:lnTo>
                    <a:pt x="1005174" y="589864"/>
                  </a:lnTo>
                  <a:lnTo>
                    <a:pt x="1003980" y="587691"/>
                  </a:lnTo>
                  <a:lnTo>
                    <a:pt x="1000136" y="584898"/>
                  </a:lnTo>
                  <a:lnTo>
                    <a:pt x="995762" y="580817"/>
                  </a:lnTo>
                  <a:lnTo>
                    <a:pt x="997095" y="580951"/>
                  </a:lnTo>
                  <a:lnTo>
                    <a:pt x="997433" y="580077"/>
                  </a:lnTo>
                  <a:lnTo>
                    <a:pt x="996077" y="578929"/>
                  </a:lnTo>
                  <a:lnTo>
                    <a:pt x="996649" y="577602"/>
                  </a:lnTo>
                  <a:lnTo>
                    <a:pt x="997606" y="576208"/>
                  </a:lnTo>
                  <a:lnTo>
                    <a:pt x="995759" y="576417"/>
                  </a:lnTo>
                  <a:lnTo>
                    <a:pt x="994103" y="577393"/>
                  </a:lnTo>
                  <a:lnTo>
                    <a:pt x="994048" y="578599"/>
                  </a:lnTo>
                  <a:lnTo>
                    <a:pt x="993720" y="579557"/>
                  </a:lnTo>
                  <a:lnTo>
                    <a:pt x="992829" y="579418"/>
                  </a:lnTo>
                  <a:lnTo>
                    <a:pt x="991173" y="578231"/>
                  </a:lnTo>
                  <a:lnTo>
                    <a:pt x="983022" y="574927"/>
                  </a:lnTo>
                  <a:lnTo>
                    <a:pt x="975898" y="573063"/>
                  </a:lnTo>
                  <a:lnTo>
                    <a:pt x="981367" y="572224"/>
                  </a:lnTo>
                  <a:lnTo>
                    <a:pt x="984332" y="572876"/>
                  </a:lnTo>
                  <a:lnTo>
                    <a:pt x="983978" y="571876"/>
                  </a:lnTo>
                  <a:lnTo>
                    <a:pt x="983264" y="571239"/>
                  </a:lnTo>
                  <a:lnTo>
                    <a:pt x="980925" y="570434"/>
                  </a:lnTo>
                  <a:lnTo>
                    <a:pt x="977946" y="570741"/>
                  </a:lnTo>
                  <a:lnTo>
                    <a:pt x="976063" y="570363"/>
                  </a:lnTo>
                  <a:lnTo>
                    <a:pt x="974139" y="571160"/>
                  </a:lnTo>
                  <a:lnTo>
                    <a:pt x="972030" y="572348"/>
                  </a:lnTo>
                  <a:lnTo>
                    <a:pt x="970153" y="572958"/>
                  </a:lnTo>
                  <a:lnTo>
                    <a:pt x="962806" y="573812"/>
                  </a:lnTo>
                  <a:lnTo>
                    <a:pt x="956849" y="574739"/>
                  </a:lnTo>
                  <a:lnTo>
                    <a:pt x="957804" y="573761"/>
                  </a:lnTo>
                  <a:lnTo>
                    <a:pt x="958823" y="573132"/>
                  </a:lnTo>
                  <a:lnTo>
                    <a:pt x="962344" y="572175"/>
                  </a:lnTo>
                  <a:lnTo>
                    <a:pt x="962870" y="570186"/>
                  </a:lnTo>
                  <a:lnTo>
                    <a:pt x="962042" y="568268"/>
                  </a:lnTo>
                  <a:lnTo>
                    <a:pt x="961117" y="568729"/>
                  </a:lnTo>
                  <a:lnTo>
                    <a:pt x="960144" y="570226"/>
                  </a:lnTo>
                  <a:lnTo>
                    <a:pt x="958951" y="569147"/>
                  </a:lnTo>
                  <a:lnTo>
                    <a:pt x="957629" y="569152"/>
                  </a:lnTo>
                  <a:lnTo>
                    <a:pt x="957270" y="571536"/>
                  </a:lnTo>
                  <a:lnTo>
                    <a:pt x="955575" y="573132"/>
                  </a:lnTo>
                  <a:lnTo>
                    <a:pt x="954812" y="574739"/>
                  </a:lnTo>
                  <a:lnTo>
                    <a:pt x="949844" y="575998"/>
                  </a:lnTo>
                  <a:lnTo>
                    <a:pt x="949207" y="575578"/>
                  </a:lnTo>
                  <a:lnTo>
                    <a:pt x="950661" y="574052"/>
                  </a:lnTo>
                  <a:lnTo>
                    <a:pt x="950545" y="573203"/>
                  </a:lnTo>
                  <a:lnTo>
                    <a:pt x="948887" y="573932"/>
                  </a:lnTo>
                  <a:lnTo>
                    <a:pt x="946107" y="576824"/>
                  </a:lnTo>
                  <a:lnTo>
                    <a:pt x="936318" y="577770"/>
                  </a:lnTo>
                  <a:lnTo>
                    <a:pt x="936854" y="577113"/>
                  </a:lnTo>
                  <a:lnTo>
                    <a:pt x="938920" y="576981"/>
                  </a:lnTo>
                  <a:lnTo>
                    <a:pt x="941821" y="576067"/>
                  </a:lnTo>
                  <a:lnTo>
                    <a:pt x="941234" y="574526"/>
                  </a:lnTo>
                  <a:lnTo>
                    <a:pt x="940115" y="572831"/>
                  </a:lnTo>
                  <a:lnTo>
                    <a:pt x="939082" y="572643"/>
                  </a:lnTo>
                  <a:lnTo>
                    <a:pt x="938402" y="571648"/>
                  </a:lnTo>
                  <a:lnTo>
                    <a:pt x="938435" y="568515"/>
                  </a:lnTo>
                  <a:lnTo>
                    <a:pt x="937775" y="566682"/>
                  </a:lnTo>
                  <a:lnTo>
                    <a:pt x="936182" y="564796"/>
                  </a:lnTo>
                  <a:lnTo>
                    <a:pt x="935643" y="565158"/>
                  </a:lnTo>
                  <a:lnTo>
                    <a:pt x="934471" y="568384"/>
                  </a:lnTo>
                  <a:lnTo>
                    <a:pt x="933497" y="572609"/>
                  </a:lnTo>
                  <a:lnTo>
                    <a:pt x="933016" y="573974"/>
                  </a:lnTo>
                  <a:lnTo>
                    <a:pt x="930114" y="574069"/>
                  </a:lnTo>
                  <a:lnTo>
                    <a:pt x="927545" y="573780"/>
                  </a:lnTo>
                  <a:lnTo>
                    <a:pt x="918816" y="574288"/>
                  </a:lnTo>
                  <a:lnTo>
                    <a:pt x="915554" y="572858"/>
                  </a:lnTo>
                  <a:lnTo>
                    <a:pt x="914202" y="572582"/>
                  </a:lnTo>
                  <a:lnTo>
                    <a:pt x="913378" y="572615"/>
                  </a:lnTo>
                  <a:lnTo>
                    <a:pt x="909582" y="573927"/>
                  </a:lnTo>
                  <a:lnTo>
                    <a:pt x="905255" y="574932"/>
                  </a:lnTo>
                  <a:lnTo>
                    <a:pt x="904237" y="574616"/>
                  </a:lnTo>
                  <a:lnTo>
                    <a:pt x="902784" y="574570"/>
                  </a:lnTo>
                  <a:lnTo>
                    <a:pt x="899647" y="577987"/>
                  </a:lnTo>
                  <a:lnTo>
                    <a:pt x="895949" y="579586"/>
                  </a:lnTo>
                  <a:lnTo>
                    <a:pt x="886618" y="576712"/>
                  </a:lnTo>
                  <a:lnTo>
                    <a:pt x="884297" y="574399"/>
                  </a:lnTo>
                  <a:lnTo>
                    <a:pt x="882237" y="573904"/>
                  </a:lnTo>
                  <a:lnTo>
                    <a:pt x="879704" y="573618"/>
                  </a:lnTo>
                  <a:lnTo>
                    <a:pt x="876982" y="576464"/>
                  </a:lnTo>
                  <a:lnTo>
                    <a:pt x="874915" y="580302"/>
                  </a:lnTo>
                  <a:lnTo>
                    <a:pt x="878181" y="582405"/>
                  </a:lnTo>
                  <a:lnTo>
                    <a:pt x="880978" y="583410"/>
                  </a:lnTo>
                  <a:lnTo>
                    <a:pt x="885600" y="582567"/>
                  </a:lnTo>
                  <a:lnTo>
                    <a:pt x="888153" y="580706"/>
                  </a:lnTo>
                  <a:lnTo>
                    <a:pt x="890241" y="580767"/>
                  </a:lnTo>
                  <a:lnTo>
                    <a:pt x="891238" y="580390"/>
                  </a:lnTo>
                  <a:lnTo>
                    <a:pt x="892147" y="579418"/>
                  </a:lnTo>
                  <a:lnTo>
                    <a:pt x="893932" y="580185"/>
                  </a:lnTo>
                  <a:lnTo>
                    <a:pt x="893996" y="580952"/>
                  </a:lnTo>
                  <a:lnTo>
                    <a:pt x="892729" y="582035"/>
                  </a:lnTo>
                  <a:lnTo>
                    <a:pt x="891133" y="582946"/>
                  </a:lnTo>
                  <a:lnTo>
                    <a:pt x="890166" y="584019"/>
                  </a:lnTo>
                  <a:lnTo>
                    <a:pt x="891986" y="586181"/>
                  </a:lnTo>
                  <a:lnTo>
                    <a:pt x="894847" y="586908"/>
                  </a:lnTo>
                  <a:lnTo>
                    <a:pt x="895922" y="586594"/>
                  </a:lnTo>
                  <a:lnTo>
                    <a:pt x="896589" y="584164"/>
                  </a:lnTo>
                  <a:lnTo>
                    <a:pt x="898348" y="582598"/>
                  </a:lnTo>
                  <a:lnTo>
                    <a:pt x="900738" y="582936"/>
                  </a:lnTo>
                  <a:lnTo>
                    <a:pt x="900398" y="583919"/>
                  </a:lnTo>
                  <a:lnTo>
                    <a:pt x="900733" y="584845"/>
                  </a:lnTo>
                  <a:lnTo>
                    <a:pt x="901832" y="586428"/>
                  </a:lnTo>
                  <a:lnTo>
                    <a:pt x="901706" y="588694"/>
                  </a:lnTo>
                  <a:lnTo>
                    <a:pt x="901919" y="589239"/>
                  </a:lnTo>
                  <a:lnTo>
                    <a:pt x="899343" y="590240"/>
                  </a:lnTo>
                  <a:lnTo>
                    <a:pt x="897423" y="590579"/>
                  </a:lnTo>
                  <a:lnTo>
                    <a:pt x="895888" y="591887"/>
                  </a:lnTo>
                  <a:lnTo>
                    <a:pt x="896692" y="592647"/>
                  </a:lnTo>
                  <a:lnTo>
                    <a:pt x="895127" y="593313"/>
                  </a:lnTo>
                  <a:lnTo>
                    <a:pt x="894071" y="593046"/>
                  </a:lnTo>
                  <a:lnTo>
                    <a:pt x="893538" y="593293"/>
                  </a:lnTo>
                  <a:lnTo>
                    <a:pt x="893379" y="594096"/>
                  </a:lnTo>
                  <a:lnTo>
                    <a:pt x="892571" y="594842"/>
                  </a:lnTo>
                  <a:lnTo>
                    <a:pt x="893747" y="597087"/>
                  </a:lnTo>
                  <a:lnTo>
                    <a:pt x="896157" y="598552"/>
                  </a:lnTo>
                  <a:lnTo>
                    <a:pt x="897857" y="600387"/>
                  </a:lnTo>
                  <a:lnTo>
                    <a:pt x="904693" y="602804"/>
                  </a:lnTo>
                  <a:lnTo>
                    <a:pt x="906349" y="602736"/>
                  </a:lnTo>
                  <a:lnTo>
                    <a:pt x="907980" y="605166"/>
                  </a:lnTo>
                  <a:lnTo>
                    <a:pt x="909295" y="606002"/>
                  </a:lnTo>
                  <a:lnTo>
                    <a:pt x="910559" y="606427"/>
                  </a:lnTo>
                  <a:lnTo>
                    <a:pt x="910415" y="608099"/>
                  </a:lnTo>
                  <a:lnTo>
                    <a:pt x="908167" y="609321"/>
                  </a:lnTo>
                  <a:lnTo>
                    <a:pt x="907559" y="610780"/>
                  </a:lnTo>
                  <a:lnTo>
                    <a:pt x="906993" y="611600"/>
                  </a:lnTo>
                  <a:lnTo>
                    <a:pt x="905979" y="610562"/>
                  </a:lnTo>
                  <a:lnTo>
                    <a:pt x="904938" y="609809"/>
                  </a:lnTo>
                  <a:lnTo>
                    <a:pt x="902529" y="612098"/>
                  </a:lnTo>
                  <a:lnTo>
                    <a:pt x="901366" y="612580"/>
                  </a:lnTo>
                  <a:lnTo>
                    <a:pt x="901942" y="610112"/>
                  </a:lnTo>
                  <a:lnTo>
                    <a:pt x="901032" y="609145"/>
                  </a:lnTo>
                  <a:lnTo>
                    <a:pt x="899656" y="606669"/>
                  </a:lnTo>
                  <a:lnTo>
                    <a:pt x="897651" y="605138"/>
                  </a:lnTo>
                  <a:lnTo>
                    <a:pt x="896237" y="604631"/>
                  </a:lnTo>
                  <a:lnTo>
                    <a:pt x="895138" y="603660"/>
                  </a:lnTo>
                  <a:lnTo>
                    <a:pt x="893806" y="603268"/>
                  </a:lnTo>
                  <a:lnTo>
                    <a:pt x="892671" y="603368"/>
                  </a:lnTo>
                  <a:lnTo>
                    <a:pt x="890747" y="602804"/>
                  </a:lnTo>
                  <a:lnTo>
                    <a:pt x="890620" y="601485"/>
                  </a:lnTo>
                  <a:lnTo>
                    <a:pt x="890087" y="600498"/>
                  </a:lnTo>
                  <a:lnTo>
                    <a:pt x="888582" y="599332"/>
                  </a:lnTo>
                  <a:lnTo>
                    <a:pt x="881393" y="597129"/>
                  </a:lnTo>
                  <a:lnTo>
                    <a:pt x="881349" y="598041"/>
                  </a:lnTo>
                  <a:lnTo>
                    <a:pt x="881847" y="598727"/>
                  </a:lnTo>
                  <a:lnTo>
                    <a:pt x="882880" y="599184"/>
                  </a:lnTo>
                  <a:lnTo>
                    <a:pt x="884116" y="600073"/>
                  </a:lnTo>
                  <a:lnTo>
                    <a:pt x="884104" y="602704"/>
                  </a:lnTo>
                  <a:lnTo>
                    <a:pt x="883571" y="603817"/>
                  </a:lnTo>
                  <a:lnTo>
                    <a:pt x="883340" y="605403"/>
                  </a:lnTo>
                  <a:lnTo>
                    <a:pt x="882866" y="607013"/>
                  </a:lnTo>
                  <a:lnTo>
                    <a:pt x="881985" y="608282"/>
                  </a:lnTo>
                  <a:lnTo>
                    <a:pt x="880022" y="609148"/>
                  </a:lnTo>
                  <a:lnTo>
                    <a:pt x="879156" y="608424"/>
                  </a:lnTo>
                  <a:lnTo>
                    <a:pt x="877757" y="604956"/>
                  </a:lnTo>
                  <a:lnTo>
                    <a:pt x="875777" y="603863"/>
                  </a:lnTo>
                  <a:lnTo>
                    <a:pt x="872632" y="603735"/>
                  </a:lnTo>
                  <a:lnTo>
                    <a:pt x="870496" y="604518"/>
                  </a:lnTo>
                  <a:lnTo>
                    <a:pt x="868168" y="607879"/>
                  </a:lnTo>
                  <a:lnTo>
                    <a:pt x="866292" y="608428"/>
                  </a:lnTo>
                  <a:lnTo>
                    <a:pt x="859872" y="606687"/>
                  </a:lnTo>
                  <a:lnTo>
                    <a:pt x="852539" y="604034"/>
                  </a:lnTo>
                  <a:lnTo>
                    <a:pt x="852729" y="603150"/>
                  </a:lnTo>
                  <a:lnTo>
                    <a:pt x="853882" y="602866"/>
                  </a:lnTo>
                  <a:lnTo>
                    <a:pt x="856094" y="603229"/>
                  </a:lnTo>
                  <a:lnTo>
                    <a:pt x="855977" y="602318"/>
                  </a:lnTo>
                  <a:lnTo>
                    <a:pt x="853717" y="599351"/>
                  </a:lnTo>
                  <a:lnTo>
                    <a:pt x="853302" y="598011"/>
                  </a:lnTo>
                  <a:lnTo>
                    <a:pt x="853593" y="596375"/>
                  </a:lnTo>
                  <a:lnTo>
                    <a:pt x="852856" y="596411"/>
                  </a:lnTo>
                  <a:lnTo>
                    <a:pt x="851499" y="597785"/>
                  </a:lnTo>
                  <a:lnTo>
                    <a:pt x="846824" y="596621"/>
                  </a:lnTo>
                  <a:lnTo>
                    <a:pt x="845533" y="595230"/>
                  </a:lnTo>
                  <a:lnTo>
                    <a:pt x="842786" y="591307"/>
                  </a:lnTo>
                  <a:lnTo>
                    <a:pt x="838910" y="591179"/>
                  </a:lnTo>
                  <a:lnTo>
                    <a:pt x="837156" y="588799"/>
                  </a:lnTo>
                  <a:lnTo>
                    <a:pt x="833988" y="589796"/>
                  </a:lnTo>
                  <a:lnTo>
                    <a:pt x="832385" y="590898"/>
                  </a:lnTo>
                  <a:lnTo>
                    <a:pt x="830975" y="592608"/>
                  </a:lnTo>
                  <a:lnTo>
                    <a:pt x="831523" y="593493"/>
                  </a:lnTo>
                  <a:lnTo>
                    <a:pt x="832929" y="594899"/>
                  </a:lnTo>
                  <a:lnTo>
                    <a:pt x="832288" y="595577"/>
                  </a:lnTo>
                  <a:lnTo>
                    <a:pt x="827777" y="596580"/>
                  </a:lnTo>
                  <a:lnTo>
                    <a:pt x="817306" y="595460"/>
                  </a:lnTo>
                  <a:lnTo>
                    <a:pt x="814244" y="594412"/>
                  </a:lnTo>
                  <a:lnTo>
                    <a:pt x="810135" y="592198"/>
                  </a:lnTo>
                  <a:lnTo>
                    <a:pt x="804439" y="590391"/>
                  </a:lnTo>
                  <a:lnTo>
                    <a:pt x="801696" y="590099"/>
                  </a:lnTo>
                  <a:lnTo>
                    <a:pt x="799012" y="590458"/>
                  </a:lnTo>
                  <a:lnTo>
                    <a:pt x="791197" y="590643"/>
                  </a:lnTo>
                  <a:lnTo>
                    <a:pt x="789383" y="591124"/>
                  </a:lnTo>
                  <a:lnTo>
                    <a:pt x="787838" y="591890"/>
                  </a:lnTo>
                  <a:lnTo>
                    <a:pt x="786836" y="591041"/>
                  </a:lnTo>
                  <a:lnTo>
                    <a:pt x="786372" y="589525"/>
                  </a:lnTo>
                  <a:lnTo>
                    <a:pt x="787280" y="589278"/>
                  </a:lnTo>
                  <a:lnTo>
                    <a:pt x="788289" y="588386"/>
                  </a:lnTo>
                  <a:lnTo>
                    <a:pt x="789199" y="586622"/>
                  </a:lnTo>
                  <a:lnTo>
                    <a:pt x="789303" y="585555"/>
                  </a:lnTo>
                  <a:lnTo>
                    <a:pt x="788666" y="584858"/>
                  </a:lnTo>
                  <a:lnTo>
                    <a:pt x="787456" y="584788"/>
                  </a:lnTo>
                  <a:lnTo>
                    <a:pt x="784781" y="589386"/>
                  </a:lnTo>
                  <a:lnTo>
                    <a:pt x="786309" y="591960"/>
                  </a:lnTo>
                  <a:lnTo>
                    <a:pt x="786204" y="592888"/>
                  </a:lnTo>
                  <a:lnTo>
                    <a:pt x="780868" y="593417"/>
                  </a:lnTo>
                  <a:lnTo>
                    <a:pt x="768756" y="598594"/>
                  </a:lnTo>
                  <a:lnTo>
                    <a:pt x="764033" y="601383"/>
                  </a:lnTo>
                  <a:lnTo>
                    <a:pt x="764274" y="600445"/>
                  </a:lnTo>
                  <a:lnTo>
                    <a:pt x="769986" y="596828"/>
                  </a:lnTo>
                  <a:lnTo>
                    <a:pt x="767970" y="596275"/>
                  </a:lnTo>
                  <a:lnTo>
                    <a:pt x="764722" y="597179"/>
                  </a:lnTo>
                  <a:lnTo>
                    <a:pt x="763557" y="596831"/>
                  </a:lnTo>
                  <a:lnTo>
                    <a:pt x="764933" y="593838"/>
                  </a:lnTo>
                  <a:lnTo>
                    <a:pt x="764485" y="591198"/>
                  </a:lnTo>
                  <a:lnTo>
                    <a:pt x="762178" y="591126"/>
                  </a:lnTo>
                  <a:lnTo>
                    <a:pt x="760710" y="593234"/>
                  </a:lnTo>
                  <a:lnTo>
                    <a:pt x="759690" y="593145"/>
                  </a:lnTo>
                  <a:lnTo>
                    <a:pt x="758353" y="592240"/>
                  </a:lnTo>
                  <a:lnTo>
                    <a:pt x="757317" y="592526"/>
                  </a:lnTo>
                  <a:lnTo>
                    <a:pt x="758084" y="597302"/>
                  </a:lnTo>
                  <a:lnTo>
                    <a:pt x="759536" y="599264"/>
                  </a:lnTo>
                  <a:lnTo>
                    <a:pt x="760751" y="601765"/>
                  </a:lnTo>
                  <a:lnTo>
                    <a:pt x="757434" y="604854"/>
                  </a:lnTo>
                  <a:lnTo>
                    <a:pt x="754354" y="607401"/>
                  </a:lnTo>
                  <a:lnTo>
                    <a:pt x="754020" y="609861"/>
                  </a:lnTo>
                  <a:lnTo>
                    <a:pt x="750924" y="613064"/>
                  </a:lnTo>
                  <a:lnTo>
                    <a:pt x="748012" y="614879"/>
                  </a:lnTo>
                  <a:lnTo>
                    <a:pt x="741170" y="619143"/>
                  </a:lnTo>
                  <a:lnTo>
                    <a:pt x="739217" y="620055"/>
                  </a:lnTo>
                  <a:lnTo>
                    <a:pt x="736131" y="622033"/>
                  </a:lnTo>
                  <a:lnTo>
                    <a:pt x="731870" y="623515"/>
                  </a:lnTo>
                  <a:lnTo>
                    <a:pt x="727786" y="625866"/>
                  </a:lnTo>
                  <a:lnTo>
                    <a:pt x="726408" y="626223"/>
                  </a:lnTo>
                  <a:lnTo>
                    <a:pt x="729016" y="624233"/>
                  </a:lnTo>
                  <a:lnTo>
                    <a:pt x="732109" y="622265"/>
                  </a:lnTo>
                  <a:lnTo>
                    <a:pt x="729457" y="622535"/>
                  </a:lnTo>
                  <a:lnTo>
                    <a:pt x="725367" y="621623"/>
                  </a:lnTo>
                  <a:lnTo>
                    <a:pt x="722865" y="621570"/>
                  </a:lnTo>
                  <a:lnTo>
                    <a:pt x="722847" y="622288"/>
                  </a:lnTo>
                  <a:lnTo>
                    <a:pt x="720943" y="623302"/>
                  </a:lnTo>
                  <a:lnTo>
                    <a:pt x="718972" y="621812"/>
                  </a:lnTo>
                  <a:lnTo>
                    <a:pt x="718112" y="620809"/>
                  </a:lnTo>
                  <a:lnTo>
                    <a:pt x="717705" y="619944"/>
                  </a:lnTo>
                  <a:lnTo>
                    <a:pt x="716868" y="619735"/>
                  </a:lnTo>
                  <a:lnTo>
                    <a:pt x="716064" y="620136"/>
                  </a:lnTo>
                  <a:lnTo>
                    <a:pt x="719007" y="626230"/>
                  </a:lnTo>
                  <a:lnTo>
                    <a:pt x="720260" y="626493"/>
                  </a:lnTo>
                  <a:lnTo>
                    <a:pt x="721649" y="627098"/>
                  </a:lnTo>
                  <a:lnTo>
                    <a:pt x="719921" y="628518"/>
                  </a:lnTo>
                  <a:lnTo>
                    <a:pt x="718062" y="629592"/>
                  </a:lnTo>
                  <a:lnTo>
                    <a:pt x="715136" y="630307"/>
                  </a:lnTo>
                  <a:lnTo>
                    <a:pt x="712659" y="628086"/>
                  </a:lnTo>
                  <a:lnTo>
                    <a:pt x="712121" y="630872"/>
                  </a:lnTo>
                  <a:lnTo>
                    <a:pt x="711806" y="633654"/>
                  </a:lnTo>
                  <a:lnTo>
                    <a:pt x="710974" y="634368"/>
                  </a:lnTo>
                  <a:lnTo>
                    <a:pt x="709645" y="635384"/>
                  </a:lnTo>
                  <a:lnTo>
                    <a:pt x="708925" y="634617"/>
                  </a:lnTo>
                  <a:lnTo>
                    <a:pt x="708582" y="633541"/>
                  </a:lnTo>
                  <a:lnTo>
                    <a:pt x="707732" y="634502"/>
                  </a:lnTo>
                  <a:lnTo>
                    <a:pt x="706486" y="635221"/>
                  </a:lnTo>
                  <a:lnTo>
                    <a:pt x="704431" y="635365"/>
                  </a:lnTo>
                  <a:lnTo>
                    <a:pt x="702889" y="635749"/>
                  </a:lnTo>
                  <a:lnTo>
                    <a:pt x="702925" y="636901"/>
                  </a:lnTo>
                  <a:lnTo>
                    <a:pt x="703278" y="638057"/>
                  </a:lnTo>
                  <a:lnTo>
                    <a:pt x="706004" y="637144"/>
                  </a:lnTo>
                  <a:lnTo>
                    <a:pt x="705017" y="640118"/>
                  </a:lnTo>
                  <a:lnTo>
                    <a:pt x="702507" y="643054"/>
                  </a:lnTo>
                  <a:lnTo>
                    <a:pt x="700464" y="643748"/>
                  </a:lnTo>
                  <a:lnTo>
                    <a:pt x="697337" y="643319"/>
                  </a:lnTo>
                  <a:lnTo>
                    <a:pt x="696565" y="643614"/>
                  </a:lnTo>
                  <a:lnTo>
                    <a:pt x="695873" y="644223"/>
                  </a:lnTo>
                  <a:lnTo>
                    <a:pt x="699515" y="648814"/>
                  </a:lnTo>
                  <a:lnTo>
                    <a:pt x="697174" y="655729"/>
                  </a:lnTo>
                  <a:lnTo>
                    <a:pt x="695679" y="658233"/>
                  </a:lnTo>
                  <a:lnTo>
                    <a:pt x="694641" y="658553"/>
                  </a:lnTo>
                  <a:lnTo>
                    <a:pt x="693516" y="658626"/>
                  </a:lnTo>
                  <a:lnTo>
                    <a:pt x="689480" y="656401"/>
                  </a:lnTo>
                  <a:lnTo>
                    <a:pt x="687278" y="654679"/>
                  </a:lnTo>
                  <a:lnTo>
                    <a:pt x="689217" y="659363"/>
                  </a:lnTo>
                  <a:lnTo>
                    <a:pt x="694506" y="660730"/>
                  </a:lnTo>
                  <a:lnTo>
                    <a:pt x="694776" y="662499"/>
                  </a:lnTo>
                  <a:lnTo>
                    <a:pt x="694747" y="664013"/>
                  </a:lnTo>
                  <a:lnTo>
                    <a:pt x="693704" y="665786"/>
                  </a:lnTo>
                  <a:lnTo>
                    <a:pt x="692731" y="668143"/>
                  </a:lnTo>
                  <a:lnTo>
                    <a:pt x="693450" y="669784"/>
                  </a:lnTo>
                  <a:lnTo>
                    <a:pt x="694284" y="673838"/>
                  </a:lnTo>
                  <a:lnTo>
                    <a:pt x="694998" y="675698"/>
                  </a:lnTo>
                  <a:lnTo>
                    <a:pt x="695782" y="681335"/>
                  </a:lnTo>
                  <a:lnTo>
                    <a:pt x="696618" y="683777"/>
                  </a:lnTo>
                  <a:lnTo>
                    <a:pt x="701424" y="692757"/>
                  </a:lnTo>
                  <a:lnTo>
                    <a:pt x="703045" y="692826"/>
                  </a:lnTo>
                  <a:lnTo>
                    <a:pt x="703305" y="693798"/>
                  </a:lnTo>
                  <a:lnTo>
                    <a:pt x="703150" y="695661"/>
                  </a:lnTo>
                  <a:lnTo>
                    <a:pt x="699692" y="696202"/>
                  </a:lnTo>
                  <a:lnTo>
                    <a:pt x="698242" y="697032"/>
                  </a:lnTo>
                  <a:lnTo>
                    <a:pt x="697958" y="697754"/>
                  </a:lnTo>
                  <a:lnTo>
                    <a:pt x="697745" y="698142"/>
                  </a:lnTo>
                  <a:lnTo>
                    <a:pt x="697298" y="698107"/>
                  </a:lnTo>
                  <a:lnTo>
                    <a:pt x="695649" y="697588"/>
                  </a:lnTo>
                  <a:lnTo>
                    <a:pt x="691901" y="695041"/>
                  </a:lnTo>
                  <a:lnTo>
                    <a:pt x="686437" y="693462"/>
                  </a:lnTo>
                  <a:lnTo>
                    <a:pt x="679258" y="692850"/>
                  </a:lnTo>
                  <a:lnTo>
                    <a:pt x="674354" y="691575"/>
                  </a:lnTo>
                  <a:lnTo>
                    <a:pt x="671725" y="689631"/>
                  </a:lnTo>
                  <a:lnTo>
                    <a:pt x="668975" y="688478"/>
                  </a:lnTo>
                  <a:lnTo>
                    <a:pt x="666109" y="688115"/>
                  </a:lnTo>
                  <a:lnTo>
                    <a:pt x="663733" y="687060"/>
                  </a:lnTo>
                  <a:lnTo>
                    <a:pt x="661850" y="685311"/>
                  </a:lnTo>
                  <a:lnTo>
                    <a:pt x="659096" y="684194"/>
                  </a:lnTo>
                  <a:lnTo>
                    <a:pt x="655471" y="683710"/>
                  </a:lnTo>
                  <a:lnTo>
                    <a:pt x="653112" y="682399"/>
                  </a:lnTo>
                  <a:lnTo>
                    <a:pt x="651471" y="679191"/>
                  </a:lnTo>
                  <a:lnTo>
                    <a:pt x="651464" y="679143"/>
                  </a:lnTo>
                  <a:lnTo>
                    <a:pt x="649995" y="673775"/>
                  </a:lnTo>
                  <a:lnTo>
                    <a:pt x="648145" y="670409"/>
                  </a:lnTo>
                  <a:lnTo>
                    <a:pt x="644545" y="666241"/>
                  </a:lnTo>
                  <a:lnTo>
                    <a:pt x="644215" y="665693"/>
                  </a:lnTo>
                  <a:lnTo>
                    <a:pt x="644214" y="665692"/>
                  </a:lnTo>
                  <a:lnTo>
                    <a:pt x="644184" y="665006"/>
                  </a:lnTo>
                  <a:lnTo>
                    <a:pt x="644631" y="662578"/>
                  </a:lnTo>
                  <a:lnTo>
                    <a:pt x="644251" y="660831"/>
                  </a:lnTo>
                  <a:lnTo>
                    <a:pt x="643111" y="659408"/>
                  </a:lnTo>
                  <a:lnTo>
                    <a:pt x="642850" y="657901"/>
                  </a:lnTo>
                  <a:lnTo>
                    <a:pt x="643467" y="656314"/>
                  </a:lnTo>
                  <a:lnTo>
                    <a:pt x="643507" y="654407"/>
                  </a:lnTo>
                  <a:lnTo>
                    <a:pt x="642970" y="652180"/>
                  </a:lnTo>
                  <a:lnTo>
                    <a:pt x="640675" y="649770"/>
                  </a:lnTo>
                  <a:lnTo>
                    <a:pt x="636620" y="647180"/>
                  </a:lnTo>
                  <a:lnTo>
                    <a:pt x="633166" y="643393"/>
                  </a:lnTo>
                  <a:lnTo>
                    <a:pt x="630314" y="638413"/>
                  </a:lnTo>
                  <a:lnTo>
                    <a:pt x="627495" y="634960"/>
                  </a:lnTo>
                  <a:lnTo>
                    <a:pt x="624706" y="633034"/>
                  </a:lnTo>
                  <a:lnTo>
                    <a:pt x="622799" y="630684"/>
                  </a:lnTo>
                  <a:lnTo>
                    <a:pt x="621772" y="627906"/>
                  </a:lnTo>
                  <a:lnTo>
                    <a:pt x="621470" y="626293"/>
                  </a:lnTo>
                  <a:lnTo>
                    <a:pt x="621888" y="625848"/>
                  </a:lnTo>
                  <a:lnTo>
                    <a:pt x="620175" y="622756"/>
                  </a:lnTo>
                  <a:lnTo>
                    <a:pt x="616328" y="617018"/>
                  </a:lnTo>
                  <a:lnTo>
                    <a:pt x="614117" y="612816"/>
                  </a:lnTo>
                  <a:lnTo>
                    <a:pt x="613549" y="610158"/>
                  </a:lnTo>
                  <a:lnTo>
                    <a:pt x="611101" y="606992"/>
                  </a:lnTo>
                  <a:lnTo>
                    <a:pt x="606777" y="603319"/>
                  </a:lnTo>
                  <a:lnTo>
                    <a:pt x="604425" y="600928"/>
                  </a:lnTo>
                  <a:lnTo>
                    <a:pt x="603855" y="599269"/>
                  </a:lnTo>
                  <a:lnTo>
                    <a:pt x="603846" y="599265"/>
                  </a:lnTo>
                  <a:lnTo>
                    <a:pt x="597098" y="594429"/>
                  </a:lnTo>
                  <a:lnTo>
                    <a:pt x="595138" y="591405"/>
                  </a:lnTo>
                  <a:lnTo>
                    <a:pt x="593607" y="590449"/>
                  </a:lnTo>
                  <a:lnTo>
                    <a:pt x="591850" y="590552"/>
                  </a:lnTo>
                  <a:lnTo>
                    <a:pt x="590948" y="590262"/>
                  </a:lnTo>
                  <a:lnTo>
                    <a:pt x="590902" y="589578"/>
                  </a:lnTo>
                  <a:lnTo>
                    <a:pt x="590334" y="589546"/>
                  </a:lnTo>
                  <a:lnTo>
                    <a:pt x="589238" y="590167"/>
                  </a:lnTo>
                  <a:lnTo>
                    <a:pt x="585649" y="590293"/>
                  </a:lnTo>
                  <a:lnTo>
                    <a:pt x="579563" y="589923"/>
                  </a:lnTo>
                  <a:lnTo>
                    <a:pt x="575170" y="589100"/>
                  </a:lnTo>
                  <a:lnTo>
                    <a:pt x="572470" y="587819"/>
                  </a:lnTo>
                  <a:lnTo>
                    <a:pt x="570579" y="587992"/>
                  </a:lnTo>
                  <a:lnTo>
                    <a:pt x="569492" y="589620"/>
                  </a:lnTo>
                  <a:lnTo>
                    <a:pt x="567180" y="590666"/>
                  </a:lnTo>
                  <a:lnTo>
                    <a:pt x="563643" y="591133"/>
                  </a:lnTo>
                  <a:lnTo>
                    <a:pt x="560603" y="594154"/>
                  </a:lnTo>
                  <a:lnTo>
                    <a:pt x="558057" y="599723"/>
                  </a:lnTo>
                  <a:lnTo>
                    <a:pt x="556937" y="603301"/>
                  </a:lnTo>
                  <a:lnTo>
                    <a:pt x="557248" y="604895"/>
                  </a:lnTo>
                  <a:lnTo>
                    <a:pt x="556577" y="606051"/>
                  </a:lnTo>
                  <a:lnTo>
                    <a:pt x="554922" y="606774"/>
                  </a:lnTo>
                  <a:lnTo>
                    <a:pt x="553238" y="608390"/>
                  </a:lnTo>
                  <a:lnTo>
                    <a:pt x="551525" y="610899"/>
                  </a:lnTo>
                  <a:lnTo>
                    <a:pt x="549527" y="612111"/>
                  </a:lnTo>
                  <a:lnTo>
                    <a:pt x="547246" y="612031"/>
                  </a:lnTo>
                  <a:lnTo>
                    <a:pt x="543031" y="610098"/>
                  </a:lnTo>
                  <a:lnTo>
                    <a:pt x="536883" y="606315"/>
                  </a:lnTo>
                  <a:lnTo>
                    <a:pt x="532062" y="603975"/>
                  </a:lnTo>
                  <a:lnTo>
                    <a:pt x="528572" y="603084"/>
                  </a:lnTo>
                  <a:lnTo>
                    <a:pt x="525489" y="601332"/>
                  </a:lnTo>
                  <a:lnTo>
                    <a:pt x="522813" y="598722"/>
                  </a:lnTo>
                  <a:lnTo>
                    <a:pt x="520346" y="596982"/>
                  </a:lnTo>
                  <a:lnTo>
                    <a:pt x="518091" y="596110"/>
                  </a:lnTo>
                  <a:lnTo>
                    <a:pt x="515454" y="593214"/>
                  </a:lnTo>
                  <a:lnTo>
                    <a:pt x="512438" y="588289"/>
                  </a:lnTo>
                  <a:lnTo>
                    <a:pt x="510929" y="584488"/>
                  </a:lnTo>
                  <a:lnTo>
                    <a:pt x="510929" y="580468"/>
                  </a:lnTo>
                  <a:lnTo>
                    <a:pt x="506987" y="571705"/>
                  </a:lnTo>
                  <a:lnTo>
                    <a:pt x="504896" y="567903"/>
                  </a:lnTo>
                  <a:lnTo>
                    <a:pt x="503341" y="566149"/>
                  </a:lnTo>
                  <a:lnTo>
                    <a:pt x="500297" y="564057"/>
                  </a:lnTo>
                  <a:lnTo>
                    <a:pt x="495764" y="561623"/>
                  </a:lnTo>
                  <a:lnTo>
                    <a:pt x="489689" y="556752"/>
                  </a:lnTo>
                  <a:lnTo>
                    <a:pt x="482069" y="549433"/>
                  </a:lnTo>
                  <a:lnTo>
                    <a:pt x="476677" y="545018"/>
                  </a:lnTo>
                  <a:lnTo>
                    <a:pt x="473514" y="543520"/>
                  </a:lnTo>
                  <a:lnTo>
                    <a:pt x="470768" y="540877"/>
                  </a:lnTo>
                  <a:lnTo>
                    <a:pt x="468440" y="537087"/>
                  </a:lnTo>
                  <a:lnTo>
                    <a:pt x="466168" y="534675"/>
                  </a:lnTo>
                  <a:lnTo>
                    <a:pt x="465928" y="534563"/>
                  </a:lnTo>
                  <a:lnTo>
                    <a:pt x="465729" y="534513"/>
                  </a:lnTo>
                  <a:lnTo>
                    <a:pt x="460122" y="534480"/>
                  </a:lnTo>
                  <a:lnTo>
                    <a:pt x="454514" y="534448"/>
                  </a:lnTo>
                  <a:lnTo>
                    <a:pt x="448905" y="534415"/>
                  </a:lnTo>
                  <a:lnTo>
                    <a:pt x="443298" y="534384"/>
                  </a:lnTo>
                  <a:lnTo>
                    <a:pt x="437691" y="534352"/>
                  </a:lnTo>
                  <a:lnTo>
                    <a:pt x="432082" y="534319"/>
                  </a:lnTo>
                  <a:lnTo>
                    <a:pt x="426474" y="534287"/>
                  </a:lnTo>
                  <a:lnTo>
                    <a:pt x="420867" y="534253"/>
                  </a:lnTo>
                  <a:lnTo>
                    <a:pt x="420849" y="537430"/>
                  </a:lnTo>
                  <a:lnTo>
                    <a:pt x="420832" y="540603"/>
                  </a:lnTo>
                  <a:lnTo>
                    <a:pt x="420816" y="543775"/>
                  </a:lnTo>
                  <a:lnTo>
                    <a:pt x="420800" y="546943"/>
                  </a:lnTo>
                  <a:lnTo>
                    <a:pt x="411784" y="546960"/>
                  </a:lnTo>
                  <a:lnTo>
                    <a:pt x="402767" y="546980"/>
                  </a:lnTo>
                  <a:lnTo>
                    <a:pt x="393751" y="546999"/>
                  </a:lnTo>
                  <a:lnTo>
                    <a:pt x="384735" y="547017"/>
                  </a:lnTo>
                  <a:lnTo>
                    <a:pt x="375720" y="547035"/>
                  </a:lnTo>
                  <a:lnTo>
                    <a:pt x="366702" y="547052"/>
                  </a:lnTo>
                  <a:lnTo>
                    <a:pt x="357686" y="547072"/>
                  </a:lnTo>
                  <a:lnTo>
                    <a:pt x="348670" y="547089"/>
                  </a:lnTo>
                  <a:lnTo>
                    <a:pt x="336572" y="542918"/>
                  </a:lnTo>
                  <a:lnTo>
                    <a:pt x="324474" y="538746"/>
                  </a:lnTo>
                  <a:lnTo>
                    <a:pt x="312375" y="534567"/>
                  </a:lnTo>
                  <a:lnTo>
                    <a:pt x="300277" y="530385"/>
                  </a:lnTo>
                  <a:lnTo>
                    <a:pt x="288180" y="526198"/>
                  </a:lnTo>
                  <a:lnTo>
                    <a:pt x="276082" y="522007"/>
                  </a:lnTo>
                  <a:lnTo>
                    <a:pt x="263984" y="517813"/>
                  </a:lnTo>
                  <a:lnTo>
                    <a:pt x="251886" y="513613"/>
                  </a:lnTo>
                  <a:lnTo>
                    <a:pt x="253109" y="512010"/>
                  </a:lnTo>
                  <a:lnTo>
                    <a:pt x="254723" y="507733"/>
                  </a:lnTo>
                  <a:lnTo>
                    <a:pt x="251806" y="508034"/>
                  </a:lnTo>
                  <a:lnTo>
                    <a:pt x="244507" y="508643"/>
                  </a:lnTo>
                  <a:lnTo>
                    <a:pt x="237206" y="509253"/>
                  </a:lnTo>
                  <a:lnTo>
                    <a:pt x="229907" y="509860"/>
                  </a:lnTo>
                  <a:lnTo>
                    <a:pt x="222608" y="510470"/>
                  </a:lnTo>
                  <a:lnTo>
                    <a:pt x="215308" y="511079"/>
                  </a:lnTo>
                  <a:lnTo>
                    <a:pt x="208009" y="511685"/>
                  </a:lnTo>
                  <a:lnTo>
                    <a:pt x="200710" y="512295"/>
                  </a:lnTo>
                  <a:lnTo>
                    <a:pt x="193409" y="512903"/>
                  </a:lnTo>
                  <a:lnTo>
                    <a:pt x="193352" y="512722"/>
                  </a:lnTo>
                  <a:lnTo>
                    <a:pt x="193176" y="509614"/>
                  </a:lnTo>
                  <a:lnTo>
                    <a:pt x="191993" y="508513"/>
                  </a:lnTo>
                  <a:lnTo>
                    <a:pt x="190471" y="509191"/>
                  </a:lnTo>
                  <a:lnTo>
                    <a:pt x="189775" y="505149"/>
                  </a:lnTo>
                  <a:lnTo>
                    <a:pt x="190157" y="503238"/>
                  </a:lnTo>
                  <a:lnTo>
                    <a:pt x="189972" y="501374"/>
                  </a:lnTo>
                  <a:lnTo>
                    <a:pt x="188547" y="496784"/>
                  </a:lnTo>
                  <a:lnTo>
                    <a:pt x="184757" y="491209"/>
                  </a:lnTo>
                  <a:lnTo>
                    <a:pt x="176565" y="484269"/>
                  </a:lnTo>
                  <a:lnTo>
                    <a:pt x="172392" y="481948"/>
                  </a:lnTo>
                  <a:lnTo>
                    <a:pt x="169117" y="479015"/>
                  </a:lnTo>
                  <a:lnTo>
                    <a:pt x="167041" y="478198"/>
                  </a:lnTo>
                  <a:lnTo>
                    <a:pt x="164426" y="477972"/>
                  </a:lnTo>
                  <a:lnTo>
                    <a:pt x="163667" y="479297"/>
                  </a:lnTo>
                  <a:lnTo>
                    <a:pt x="160700" y="478391"/>
                  </a:lnTo>
                  <a:lnTo>
                    <a:pt x="161145" y="475115"/>
                  </a:lnTo>
                  <a:lnTo>
                    <a:pt x="158258" y="470555"/>
                  </a:lnTo>
                  <a:lnTo>
                    <a:pt x="155894" y="470050"/>
                  </a:lnTo>
                  <a:lnTo>
                    <a:pt x="149946" y="470352"/>
                  </a:lnTo>
                  <a:lnTo>
                    <a:pt x="141993" y="467839"/>
                  </a:lnTo>
                  <a:lnTo>
                    <a:pt x="139645" y="466344"/>
                  </a:lnTo>
                  <a:lnTo>
                    <a:pt x="138832" y="463663"/>
                  </a:lnTo>
                  <a:lnTo>
                    <a:pt x="135109" y="461330"/>
                  </a:lnTo>
                  <a:lnTo>
                    <a:pt x="130201" y="459046"/>
                  </a:lnTo>
                  <a:lnTo>
                    <a:pt x="127468" y="459574"/>
                  </a:lnTo>
                  <a:lnTo>
                    <a:pt x="123892" y="459220"/>
                  </a:lnTo>
                  <a:lnTo>
                    <a:pt x="118799" y="457570"/>
                  </a:lnTo>
                  <a:lnTo>
                    <a:pt x="115826" y="457364"/>
                  </a:lnTo>
                  <a:lnTo>
                    <a:pt x="110037" y="457851"/>
                  </a:lnTo>
                  <a:lnTo>
                    <a:pt x="107875" y="457504"/>
                  </a:lnTo>
                  <a:lnTo>
                    <a:pt x="105870" y="455422"/>
                  </a:lnTo>
                  <a:lnTo>
                    <a:pt x="103705" y="454384"/>
                  </a:lnTo>
                  <a:lnTo>
                    <a:pt x="104163" y="451821"/>
                  </a:lnTo>
                  <a:lnTo>
                    <a:pt x="103886" y="449502"/>
                  </a:lnTo>
                  <a:lnTo>
                    <a:pt x="104210" y="447696"/>
                  </a:lnTo>
                  <a:lnTo>
                    <a:pt x="103238" y="443733"/>
                  </a:lnTo>
                  <a:lnTo>
                    <a:pt x="103988" y="440058"/>
                  </a:lnTo>
                  <a:lnTo>
                    <a:pt x="103337" y="438729"/>
                  </a:lnTo>
                  <a:lnTo>
                    <a:pt x="102115" y="437709"/>
                  </a:lnTo>
                  <a:lnTo>
                    <a:pt x="98279" y="436206"/>
                  </a:lnTo>
                  <a:lnTo>
                    <a:pt x="97578" y="434316"/>
                  </a:lnTo>
                  <a:lnTo>
                    <a:pt x="98205" y="431695"/>
                  </a:lnTo>
                  <a:lnTo>
                    <a:pt x="97201" y="429965"/>
                  </a:lnTo>
                  <a:lnTo>
                    <a:pt x="94057" y="428352"/>
                  </a:lnTo>
                  <a:lnTo>
                    <a:pt x="91122" y="424686"/>
                  </a:lnTo>
                  <a:lnTo>
                    <a:pt x="87399" y="422678"/>
                  </a:lnTo>
                  <a:lnTo>
                    <a:pt x="85870" y="419310"/>
                  </a:lnTo>
                  <a:lnTo>
                    <a:pt x="83576" y="417228"/>
                  </a:lnTo>
                  <a:lnTo>
                    <a:pt x="82779" y="415380"/>
                  </a:lnTo>
                  <a:lnTo>
                    <a:pt x="77693" y="408780"/>
                  </a:lnTo>
                  <a:lnTo>
                    <a:pt x="72259" y="403618"/>
                  </a:lnTo>
                  <a:lnTo>
                    <a:pt x="71422" y="400644"/>
                  </a:lnTo>
                  <a:lnTo>
                    <a:pt x="71206" y="396568"/>
                  </a:lnTo>
                  <a:lnTo>
                    <a:pt x="73336" y="394078"/>
                  </a:lnTo>
                  <a:lnTo>
                    <a:pt x="74488" y="391889"/>
                  </a:lnTo>
                  <a:lnTo>
                    <a:pt x="74373" y="389877"/>
                  </a:lnTo>
                  <a:lnTo>
                    <a:pt x="74044" y="388405"/>
                  </a:lnTo>
                  <a:lnTo>
                    <a:pt x="72175" y="385834"/>
                  </a:lnTo>
                  <a:lnTo>
                    <a:pt x="64942" y="384308"/>
                  </a:lnTo>
                  <a:lnTo>
                    <a:pt x="59057" y="377949"/>
                  </a:lnTo>
                  <a:lnTo>
                    <a:pt x="58712" y="373080"/>
                  </a:lnTo>
                  <a:lnTo>
                    <a:pt x="56396" y="368089"/>
                  </a:lnTo>
                  <a:lnTo>
                    <a:pt x="56365" y="364841"/>
                  </a:lnTo>
                  <a:lnTo>
                    <a:pt x="56013" y="361324"/>
                  </a:lnTo>
                  <a:lnTo>
                    <a:pt x="57763" y="360555"/>
                  </a:lnTo>
                  <a:lnTo>
                    <a:pt x="59333" y="360836"/>
                  </a:lnTo>
                  <a:lnTo>
                    <a:pt x="59175" y="362236"/>
                  </a:lnTo>
                  <a:lnTo>
                    <a:pt x="59699" y="364750"/>
                  </a:lnTo>
                  <a:lnTo>
                    <a:pt x="61540" y="366638"/>
                  </a:lnTo>
                  <a:lnTo>
                    <a:pt x="63297" y="367461"/>
                  </a:lnTo>
                  <a:lnTo>
                    <a:pt x="64896" y="369296"/>
                  </a:lnTo>
                  <a:lnTo>
                    <a:pt x="66094" y="369850"/>
                  </a:lnTo>
                  <a:lnTo>
                    <a:pt x="67331" y="369984"/>
                  </a:lnTo>
                  <a:lnTo>
                    <a:pt x="66668" y="368808"/>
                  </a:lnTo>
                  <a:lnTo>
                    <a:pt x="65964" y="368054"/>
                  </a:lnTo>
                  <a:lnTo>
                    <a:pt x="65098" y="365617"/>
                  </a:lnTo>
                  <a:lnTo>
                    <a:pt x="63462" y="362503"/>
                  </a:lnTo>
                  <a:lnTo>
                    <a:pt x="61580" y="360783"/>
                  </a:lnTo>
                  <a:lnTo>
                    <a:pt x="60624" y="357644"/>
                  </a:lnTo>
                  <a:lnTo>
                    <a:pt x="59807" y="356916"/>
                  </a:lnTo>
                  <a:lnTo>
                    <a:pt x="59297" y="355751"/>
                  </a:lnTo>
                  <a:lnTo>
                    <a:pt x="61115" y="354369"/>
                  </a:lnTo>
                  <a:lnTo>
                    <a:pt x="63594" y="353384"/>
                  </a:lnTo>
                  <a:lnTo>
                    <a:pt x="66919" y="353118"/>
                  </a:lnTo>
                  <a:lnTo>
                    <a:pt x="76355" y="353578"/>
                  </a:lnTo>
                  <a:lnTo>
                    <a:pt x="78363" y="352774"/>
                  </a:lnTo>
                  <a:lnTo>
                    <a:pt x="80023" y="353037"/>
                  </a:lnTo>
                  <a:lnTo>
                    <a:pt x="81239" y="352932"/>
                  </a:lnTo>
                  <a:lnTo>
                    <a:pt x="78678" y="352102"/>
                  </a:lnTo>
                  <a:lnTo>
                    <a:pt x="77237" y="352372"/>
                  </a:lnTo>
                  <a:lnTo>
                    <a:pt x="75544" y="352206"/>
                  </a:lnTo>
                  <a:lnTo>
                    <a:pt x="72173" y="352367"/>
                  </a:lnTo>
                  <a:lnTo>
                    <a:pt x="70810" y="352017"/>
                  </a:lnTo>
                  <a:lnTo>
                    <a:pt x="69306" y="351032"/>
                  </a:lnTo>
                  <a:lnTo>
                    <a:pt x="68327" y="350930"/>
                  </a:lnTo>
                  <a:lnTo>
                    <a:pt x="65208" y="352647"/>
                  </a:lnTo>
                  <a:lnTo>
                    <a:pt x="63816" y="352439"/>
                  </a:lnTo>
                  <a:lnTo>
                    <a:pt x="60530" y="350565"/>
                  </a:lnTo>
                  <a:lnTo>
                    <a:pt x="59096" y="350300"/>
                  </a:lnTo>
                  <a:lnTo>
                    <a:pt x="56787" y="351367"/>
                  </a:lnTo>
                  <a:lnTo>
                    <a:pt x="56505" y="355960"/>
                  </a:lnTo>
                  <a:lnTo>
                    <a:pt x="57221" y="359369"/>
                  </a:lnTo>
                  <a:lnTo>
                    <a:pt x="55832" y="359716"/>
                  </a:lnTo>
                  <a:lnTo>
                    <a:pt x="54229" y="358309"/>
                  </a:lnTo>
                  <a:lnTo>
                    <a:pt x="51766" y="357474"/>
                  </a:lnTo>
                  <a:lnTo>
                    <a:pt x="49733" y="356193"/>
                  </a:lnTo>
                  <a:lnTo>
                    <a:pt x="46862" y="353815"/>
                  </a:lnTo>
                  <a:lnTo>
                    <a:pt x="45355" y="352945"/>
                  </a:lnTo>
                  <a:lnTo>
                    <a:pt x="43652" y="354922"/>
                  </a:lnTo>
                  <a:lnTo>
                    <a:pt x="43583" y="354015"/>
                  </a:lnTo>
                  <a:lnTo>
                    <a:pt x="44433" y="351716"/>
                  </a:lnTo>
                  <a:lnTo>
                    <a:pt x="44192" y="347856"/>
                  </a:lnTo>
                  <a:lnTo>
                    <a:pt x="46763" y="350936"/>
                  </a:lnTo>
                  <a:lnTo>
                    <a:pt x="45964" y="348767"/>
                  </a:lnTo>
                  <a:lnTo>
                    <a:pt x="43964" y="346382"/>
                  </a:lnTo>
                  <a:lnTo>
                    <a:pt x="42443" y="345552"/>
                  </a:lnTo>
                  <a:lnTo>
                    <a:pt x="40531" y="341274"/>
                  </a:lnTo>
                  <a:lnTo>
                    <a:pt x="36229" y="338703"/>
                  </a:lnTo>
                  <a:lnTo>
                    <a:pt x="32784" y="334548"/>
                  </a:lnTo>
                  <a:lnTo>
                    <a:pt x="25735" y="327652"/>
                  </a:lnTo>
                  <a:lnTo>
                    <a:pt x="25265" y="321575"/>
                  </a:lnTo>
                  <a:lnTo>
                    <a:pt x="22696" y="313882"/>
                  </a:lnTo>
                  <a:lnTo>
                    <a:pt x="23779" y="309497"/>
                  </a:lnTo>
                  <a:lnTo>
                    <a:pt x="23634" y="306386"/>
                  </a:lnTo>
                  <a:lnTo>
                    <a:pt x="22374" y="301683"/>
                  </a:lnTo>
                  <a:lnTo>
                    <a:pt x="21058" y="299120"/>
                  </a:lnTo>
                  <a:lnTo>
                    <a:pt x="15342" y="292091"/>
                  </a:lnTo>
                  <a:lnTo>
                    <a:pt x="9844" y="287348"/>
                  </a:lnTo>
                  <a:lnTo>
                    <a:pt x="9015" y="283755"/>
                  </a:lnTo>
                  <a:lnTo>
                    <a:pt x="8630" y="280128"/>
                  </a:lnTo>
                  <a:lnTo>
                    <a:pt x="9833" y="276897"/>
                  </a:lnTo>
                  <a:lnTo>
                    <a:pt x="10873" y="273495"/>
                  </a:lnTo>
                  <a:lnTo>
                    <a:pt x="11634" y="272596"/>
                  </a:lnTo>
                  <a:lnTo>
                    <a:pt x="11929" y="272970"/>
                  </a:lnTo>
                  <a:lnTo>
                    <a:pt x="11718" y="273696"/>
                  </a:lnTo>
                  <a:lnTo>
                    <a:pt x="12498" y="273920"/>
                  </a:lnTo>
                  <a:lnTo>
                    <a:pt x="12793" y="272418"/>
                  </a:lnTo>
                  <a:lnTo>
                    <a:pt x="13258" y="271643"/>
                  </a:lnTo>
                  <a:lnTo>
                    <a:pt x="12435" y="271542"/>
                  </a:lnTo>
                  <a:lnTo>
                    <a:pt x="12519" y="271067"/>
                  </a:lnTo>
                  <a:lnTo>
                    <a:pt x="13011" y="270118"/>
                  </a:lnTo>
                  <a:lnTo>
                    <a:pt x="14716" y="265639"/>
                  </a:lnTo>
                  <a:lnTo>
                    <a:pt x="14539" y="259987"/>
                  </a:lnTo>
                  <a:lnTo>
                    <a:pt x="16363" y="253043"/>
                  </a:lnTo>
                  <a:lnTo>
                    <a:pt x="16276" y="250747"/>
                  </a:lnTo>
                  <a:lnTo>
                    <a:pt x="15109" y="245800"/>
                  </a:lnTo>
                  <a:lnTo>
                    <a:pt x="13947" y="242830"/>
                  </a:lnTo>
                  <a:lnTo>
                    <a:pt x="11870" y="240723"/>
                  </a:lnTo>
                  <a:lnTo>
                    <a:pt x="12786" y="237646"/>
                  </a:lnTo>
                  <a:lnTo>
                    <a:pt x="12712" y="234706"/>
                  </a:lnTo>
                  <a:lnTo>
                    <a:pt x="9047" y="230469"/>
                  </a:lnTo>
                  <a:lnTo>
                    <a:pt x="7651" y="224900"/>
                  </a:lnTo>
                  <a:lnTo>
                    <a:pt x="7383" y="222544"/>
                  </a:lnTo>
                  <a:lnTo>
                    <a:pt x="7751" y="216309"/>
                  </a:lnTo>
                  <a:lnTo>
                    <a:pt x="6790" y="213645"/>
                  </a:lnTo>
                  <a:lnTo>
                    <a:pt x="4345" y="209244"/>
                  </a:lnTo>
                  <a:lnTo>
                    <a:pt x="5391" y="205415"/>
                  </a:lnTo>
                  <a:lnTo>
                    <a:pt x="6518" y="203082"/>
                  </a:lnTo>
                  <a:lnTo>
                    <a:pt x="9269" y="192884"/>
                  </a:lnTo>
                  <a:lnTo>
                    <a:pt x="9932" y="192061"/>
                  </a:lnTo>
                  <a:lnTo>
                    <a:pt x="11084" y="192086"/>
                  </a:lnTo>
                  <a:lnTo>
                    <a:pt x="13088" y="190349"/>
                  </a:lnTo>
                  <a:lnTo>
                    <a:pt x="12163" y="189944"/>
                  </a:lnTo>
                  <a:lnTo>
                    <a:pt x="10764" y="190772"/>
                  </a:lnTo>
                  <a:lnTo>
                    <a:pt x="12008" y="186724"/>
                  </a:lnTo>
                  <a:lnTo>
                    <a:pt x="13407" y="183257"/>
                  </a:lnTo>
                  <a:lnTo>
                    <a:pt x="14317" y="182006"/>
                  </a:lnTo>
                  <a:lnTo>
                    <a:pt x="14778" y="170659"/>
                  </a:lnTo>
                  <a:lnTo>
                    <a:pt x="15581" y="161960"/>
                  </a:lnTo>
                  <a:lnTo>
                    <a:pt x="16901" y="159086"/>
                  </a:lnTo>
                  <a:lnTo>
                    <a:pt x="16442" y="156120"/>
                  </a:lnTo>
                  <a:lnTo>
                    <a:pt x="16975" y="152095"/>
                  </a:lnTo>
                  <a:lnTo>
                    <a:pt x="16602" y="148023"/>
                  </a:lnTo>
                  <a:lnTo>
                    <a:pt x="19422" y="128358"/>
                  </a:lnTo>
                  <a:lnTo>
                    <a:pt x="19053" y="125975"/>
                  </a:lnTo>
                  <a:lnTo>
                    <a:pt x="19914" y="122776"/>
                  </a:lnTo>
                  <a:lnTo>
                    <a:pt x="19100" y="114327"/>
                  </a:lnTo>
                  <a:lnTo>
                    <a:pt x="19460" y="104847"/>
                  </a:lnTo>
                  <a:lnTo>
                    <a:pt x="18743" y="103642"/>
                  </a:lnTo>
                  <a:lnTo>
                    <a:pt x="18384" y="102331"/>
                  </a:lnTo>
                  <a:lnTo>
                    <a:pt x="19057" y="102139"/>
                  </a:lnTo>
                  <a:lnTo>
                    <a:pt x="20365" y="103519"/>
                  </a:lnTo>
                  <a:lnTo>
                    <a:pt x="26436" y="103504"/>
                  </a:lnTo>
                  <a:lnTo>
                    <a:pt x="30314" y="102228"/>
                  </a:lnTo>
                  <a:lnTo>
                    <a:pt x="31724" y="102650"/>
                  </a:lnTo>
                  <a:lnTo>
                    <a:pt x="33359" y="104388"/>
                  </a:lnTo>
                  <a:lnTo>
                    <a:pt x="35418" y="104738"/>
                  </a:lnTo>
                  <a:lnTo>
                    <a:pt x="37993" y="104431"/>
                  </a:lnTo>
                  <a:lnTo>
                    <a:pt x="37209" y="103995"/>
                  </a:lnTo>
                  <a:lnTo>
                    <a:pt x="36002" y="103881"/>
                  </a:lnTo>
                  <a:lnTo>
                    <a:pt x="33296" y="102281"/>
                  </a:lnTo>
                  <a:lnTo>
                    <a:pt x="31763" y="100679"/>
                  </a:lnTo>
                  <a:lnTo>
                    <a:pt x="27031" y="100788"/>
                  </a:lnTo>
                  <a:lnTo>
                    <a:pt x="26060" y="99761"/>
                  </a:lnTo>
                  <a:lnTo>
                    <a:pt x="20771" y="100787"/>
                  </a:lnTo>
                  <a:lnTo>
                    <a:pt x="19137" y="99734"/>
                  </a:lnTo>
                  <a:lnTo>
                    <a:pt x="16256" y="100413"/>
                  </a:lnTo>
                  <a:lnTo>
                    <a:pt x="16960" y="97426"/>
                  </a:lnTo>
                  <a:lnTo>
                    <a:pt x="16830" y="93662"/>
                  </a:lnTo>
                  <a:lnTo>
                    <a:pt x="16980" y="89991"/>
                  </a:lnTo>
                  <a:lnTo>
                    <a:pt x="17692" y="92673"/>
                  </a:lnTo>
                  <a:lnTo>
                    <a:pt x="19484" y="95517"/>
                  </a:lnTo>
                  <a:lnTo>
                    <a:pt x="20345" y="92290"/>
                  </a:lnTo>
                  <a:lnTo>
                    <a:pt x="20938" y="88229"/>
                  </a:lnTo>
                  <a:lnTo>
                    <a:pt x="19190" y="86667"/>
                  </a:lnTo>
                  <a:lnTo>
                    <a:pt x="16282" y="85509"/>
                  </a:lnTo>
                  <a:lnTo>
                    <a:pt x="15240" y="81720"/>
                  </a:lnTo>
                  <a:lnTo>
                    <a:pt x="22119" y="78488"/>
                  </a:lnTo>
                  <a:lnTo>
                    <a:pt x="18467" y="77801"/>
                  </a:lnTo>
                  <a:lnTo>
                    <a:pt x="17035" y="76347"/>
                  </a:lnTo>
                  <a:lnTo>
                    <a:pt x="15261" y="76169"/>
                  </a:lnTo>
                  <a:lnTo>
                    <a:pt x="15132" y="77291"/>
                  </a:lnTo>
                  <a:lnTo>
                    <a:pt x="14559" y="78761"/>
                  </a:lnTo>
                  <a:lnTo>
                    <a:pt x="13938" y="76808"/>
                  </a:lnTo>
                  <a:lnTo>
                    <a:pt x="13761" y="74511"/>
                  </a:lnTo>
                  <a:lnTo>
                    <a:pt x="13038" y="70579"/>
                  </a:lnTo>
                  <a:lnTo>
                    <a:pt x="10221" y="64247"/>
                  </a:lnTo>
                  <a:lnTo>
                    <a:pt x="8519" y="56018"/>
                  </a:lnTo>
                  <a:lnTo>
                    <a:pt x="6374" y="51944"/>
                  </a:lnTo>
                  <a:lnTo>
                    <a:pt x="2268" y="48047"/>
                  </a:lnTo>
                  <a:lnTo>
                    <a:pt x="1195" y="45771"/>
                  </a:lnTo>
                  <a:lnTo>
                    <a:pt x="211" y="39988"/>
                  </a:lnTo>
                  <a:lnTo>
                    <a:pt x="764" y="35608"/>
                  </a:lnTo>
                  <a:lnTo>
                    <a:pt x="0" y="32521"/>
                  </a:lnTo>
                  <a:lnTo>
                    <a:pt x="1973" y="32695"/>
                  </a:lnTo>
                  <a:lnTo>
                    <a:pt x="7166" y="35121"/>
                  </a:lnTo>
                  <a:lnTo>
                    <a:pt x="13634" y="37027"/>
                  </a:lnTo>
                  <a:lnTo>
                    <a:pt x="15591" y="38411"/>
                  </a:lnTo>
                  <a:lnTo>
                    <a:pt x="18729" y="39440"/>
                  </a:lnTo>
                  <a:lnTo>
                    <a:pt x="36110" y="41035"/>
                  </a:lnTo>
                  <a:lnTo>
                    <a:pt x="37246" y="40882"/>
                  </a:lnTo>
                  <a:lnTo>
                    <a:pt x="39492" y="39894"/>
                  </a:lnTo>
                  <a:lnTo>
                    <a:pt x="40447" y="40012"/>
                  </a:lnTo>
                  <a:lnTo>
                    <a:pt x="43003" y="42272"/>
                  </a:lnTo>
                  <a:lnTo>
                    <a:pt x="44288" y="42543"/>
                  </a:lnTo>
                  <a:lnTo>
                    <a:pt x="45945" y="42423"/>
                  </a:lnTo>
                  <a:lnTo>
                    <a:pt x="47170" y="41996"/>
                  </a:lnTo>
                  <a:lnTo>
                    <a:pt x="49269" y="40447"/>
                  </a:lnTo>
                  <a:lnTo>
                    <a:pt x="49551" y="41020"/>
                  </a:lnTo>
                  <a:lnTo>
                    <a:pt x="49511" y="42455"/>
                  </a:lnTo>
                  <a:lnTo>
                    <a:pt x="50260" y="44498"/>
                  </a:lnTo>
                  <a:lnTo>
                    <a:pt x="51798" y="47148"/>
                  </a:lnTo>
                  <a:lnTo>
                    <a:pt x="52380" y="48795"/>
                  </a:lnTo>
                  <a:lnTo>
                    <a:pt x="49274" y="53431"/>
                  </a:lnTo>
                  <a:lnTo>
                    <a:pt x="48678" y="53531"/>
                  </a:lnTo>
                  <a:lnTo>
                    <a:pt x="48586" y="51962"/>
                  </a:lnTo>
                  <a:lnTo>
                    <a:pt x="48177" y="51654"/>
                  </a:lnTo>
                  <a:lnTo>
                    <a:pt x="42330" y="59477"/>
                  </a:lnTo>
                  <a:lnTo>
                    <a:pt x="40278" y="63173"/>
                  </a:lnTo>
                  <a:lnTo>
                    <a:pt x="40073" y="64845"/>
                  </a:lnTo>
                  <a:lnTo>
                    <a:pt x="40143" y="65823"/>
                  </a:lnTo>
                  <a:lnTo>
                    <a:pt x="40963" y="66064"/>
                  </a:lnTo>
                  <a:lnTo>
                    <a:pt x="42832" y="65681"/>
                  </a:lnTo>
                  <a:lnTo>
                    <a:pt x="45607" y="64147"/>
                  </a:lnTo>
                  <a:lnTo>
                    <a:pt x="45740" y="63814"/>
                  </a:lnTo>
                  <a:lnTo>
                    <a:pt x="43157" y="64361"/>
                  </a:lnTo>
                  <a:lnTo>
                    <a:pt x="41916" y="64406"/>
                  </a:lnTo>
                  <a:lnTo>
                    <a:pt x="42086" y="62659"/>
                  </a:lnTo>
                  <a:lnTo>
                    <a:pt x="42380" y="61827"/>
                  </a:lnTo>
                  <a:lnTo>
                    <a:pt x="44068" y="59237"/>
                  </a:lnTo>
                  <a:lnTo>
                    <a:pt x="45843" y="57681"/>
                  </a:lnTo>
                  <a:lnTo>
                    <a:pt x="48364" y="56022"/>
                  </a:lnTo>
                  <a:lnTo>
                    <a:pt x="49817" y="54661"/>
                  </a:lnTo>
                  <a:lnTo>
                    <a:pt x="50818" y="52663"/>
                  </a:lnTo>
                  <a:lnTo>
                    <a:pt x="53617" y="50278"/>
                  </a:lnTo>
                  <a:lnTo>
                    <a:pt x="54134" y="49614"/>
                  </a:lnTo>
                  <a:lnTo>
                    <a:pt x="54011" y="47649"/>
                  </a:lnTo>
                  <a:lnTo>
                    <a:pt x="54189" y="47275"/>
                  </a:lnTo>
                  <a:lnTo>
                    <a:pt x="55538" y="47540"/>
                  </a:lnTo>
                  <a:lnTo>
                    <a:pt x="56101" y="50921"/>
                  </a:lnTo>
                  <a:lnTo>
                    <a:pt x="55765" y="52428"/>
                  </a:lnTo>
                  <a:lnTo>
                    <a:pt x="53355" y="54263"/>
                  </a:lnTo>
                  <a:lnTo>
                    <a:pt x="53055" y="54911"/>
                  </a:lnTo>
                  <a:lnTo>
                    <a:pt x="53477" y="57415"/>
                  </a:lnTo>
                  <a:lnTo>
                    <a:pt x="53104" y="57656"/>
                  </a:lnTo>
                  <a:lnTo>
                    <a:pt x="52184" y="57361"/>
                  </a:lnTo>
                  <a:lnTo>
                    <a:pt x="51899" y="57520"/>
                  </a:lnTo>
                  <a:lnTo>
                    <a:pt x="54185" y="60239"/>
                  </a:lnTo>
                  <a:lnTo>
                    <a:pt x="54912" y="62351"/>
                  </a:lnTo>
                  <a:lnTo>
                    <a:pt x="55009" y="64235"/>
                  </a:lnTo>
                  <a:lnTo>
                    <a:pt x="54388" y="67849"/>
                  </a:lnTo>
                  <a:lnTo>
                    <a:pt x="53725" y="68447"/>
                  </a:lnTo>
                  <a:lnTo>
                    <a:pt x="52585" y="68227"/>
                  </a:lnTo>
                  <a:lnTo>
                    <a:pt x="51077" y="67097"/>
                  </a:lnTo>
                  <a:lnTo>
                    <a:pt x="50741" y="67461"/>
                  </a:lnTo>
                  <a:lnTo>
                    <a:pt x="49544" y="70263"/>
                  </a:lnTo>
                  <a:lnTo>
                    <a:pt x="49149" y="70018"/>
                  </a:lnTo>
                  <a:lnTo>
                    <a:pt x="48402" y="66692"/>
                  </a:lnTo>
                  <a:lnTo>
                    <a:pt x="47996" y="66445"/>
                  </a:lnTo>
                  <a:lnTo>
                    <a:pt x="45674" y="67961"/>
                  </a:lnTo>
                  <a:lnTo>
                    <a:pt x="44738" y="69416"/>
                  </a:lnTo>
                  <a:lnTo>
                    <a:pt x="43936" y="71741"/>
                  </a:lnTo>
                  <a:lnTo>
                    <a:pt x="42916" y="72827"/>
                  </a:lnTo>
                  <a:lnTo>
                    <a:pt x="45811" y="73065"/>
                  </a:lnTo>
                  <a:lnTo>
                    <a:pt x="48418" y="72597"/>
                  </a:lnTo>
                  <a:lnTo>
                    <a:pt x="50511" y="73700"/>
                  </a:lnTo>
                  <a:lnTo>
                    <a:pt x="51224" y="73730"/>
                  </a:lnTo>
                  <a:lnTo>
                    <a:pt x="53135" y="72654"/>
                  </a:lnTo>
                  <a:lnTo>
                    <a:pt x="53719" y="71921"/>
                  </a:lnTo>
                  <a:lnTo>
                    <a:pt x="55300" y="68416"/>
                  </a:lnTo>
                  <a:lnTo>
                    <a:pt x="56093" y="67787"/>
                  </a:lnTo>
                  <a:lnTo>
                    <a:pt x="57273" y="67763"/>
                  </a:lnTo>
                  <a:lnTo>
                    <a:pt x="58414" y="67236"/>
                  </a:lnTo>
                  <a:lnTo>
                    <a:pt x="60105" y="65313"/>
                  </a:lnTo>
                  <a:lnTo>
                    <a:pt x="60174" y="64550"/>
                  </a:lnTo>
                  <a:lnTo>
                    <a:pt x="59559" y="60241"/>
                  </a:lnTo>
                  <a:lnTo>
                    <a:pt x="59734" y="57794"/>
                  </a:lnTo>
                  <a:lnTo>
                    <a:pt x="59418" y="57019"/>
                  </a:lnTo>
                  <a:lnTo>
                    <a:pt x="58658" y="56213"/>
                  </a:lnTo>
                  <a:lnTo>
                    <a:pt x="58754" y="55432"/>
                  </a:lnTo>
                  <a:lnTo>
                    <a:pt x="59343" y="54144"/>
                  </a:lnTo>
                  <a:lnTo>
                    <a:pt x="59387" y="52979"/>
                  </a:lnTo>
                  <a:lnTo>
                    <a:pt x="58882" y="51943"/>
                  </a:lnTo>
                  <a:lnTo>
                    <a:pt x="59110" y="50764"/>
                  </a:lnTo>
                  <a:lnTo>
                    <a:pt x="60704" y="48226"/>
                  </a:lnTo>
                  <a:lnTo>
                    <a:pt x="61007" y="47107"/>
                  </a:lnTo>
                  <a:lnTo>
                    <a:pt x="62958" y="44578"/>
                  </a:lnTo>
                  <a:lnTo>
                    <a:pt x="62465" y="43560"/>
                  </a:lnTo>
                  <a:lnTo>
                    <a:pt x="61031" y="42318"/>
                  </a:lnTo>
                  <a:lnTo>
                    <a:pt x="60126" y="41222"/>
                  </a:lnTo>
                  <a:lnTo>
                    <a:pt x="59216" y="39509"/>
                  </a:lnTo>
                  <a:lnTo>
                    <a:pt x="58523" y="38935"/>
                  </a:lnTo>
                  <a:lnTo>
                    <a:pt x="58296" y="39196"/>
                  </a:lnTo>
                  <a:lnTo>
                    <a:pt x="59269" y="41999"/>
                  </a:lnTo>
                  <a:lnTo>
                    <a:pt x="59060" y="42188"/>
                  </a:lnTo>
                  <a:lnTo>
                    <a:pt x="56527" y="40678"/>
                  </a:lnTo>
                  <a:lnTo>
                    <a:pt x="55943" y="39726"/>
                  </a:lnTo>
                  <a:lnTo>
                    <a:pt x="55632" y="38433"/>
                  </a:lnTo>
                  <a:lnTo>
                    <a:pt x="55857" y="37462"/>
                  </a:lnTo>
                  <a:lnTo>
                    <a:pt x="57217" y="36502"/>
                  </a:lnTo>
                  <a:lnTo>
                    <a:pt x="58840" y="36154"/>
                  </a:lnTo>
                  <a:lnTo>
                    <a:pt x="58710" y="35346"/>
                  </a:lnTo>
                  <a:lnTo>
                    <a:pt x="56670" y="32719"/>
                  </a:lnTo>
                  <a:lnTo>
                    <a:pt x="55313" y="31522"/>
                  </a:lnTo>
                  <a:lnTo>
                    <a:pt x="54270" y="30941"/>
                  </a:lnTo>
                  <a:lnTo>
                    <a:pt x="52861" y="30790"/>
                  </a:lnTo>
                  <a:lnTo>
                    <a:pt x="52230" y="30362"/>
                  </a:lnTo>
                  <a:lnTo>
                    <a:pt x="52065" y="29746"/>
                  </a:lnTo>
                  <a:lnTo>
                    <a:pt x="52364" y="28935"/>
                  </a:lnTo>
                  <a:lnTo>
                    <a:pt x="53112" y="28677"/>
                  </a:lnTo>
                  <a:lnTo>
                    <a:pt x="55287" y="29001"/>
                  </a:lnTo>
                  <a:lnTo>
                    <a:pt x="56458" y="28426"/>
                  </a:lnTo>
                  <a:lnTo>
                    <a:pt x="56347" y="27380"/>
                  </a:lnTo>
                  <a:lnTo>
                    <a:pt x="55998" y="26801"/>
                  </a:lnTo>
                  <a:lnTo>
                    <a:pt x="56051" y="23057"/>
                  </a:lnTo>
                  <a:lnTo>
                    <a:pt x="55226" y="20009"/>
                  </a:lnTo>
                  <a:lnTo>
                    <a:pt x="54794" y="19494"/>
                  </a:lnTo>
                  <a:lnTo>
                    <a:pt x="54331" y="19442"/>
                  </a:lnTo>
                  <a:lnTo>
                    <a:pt x="53839" y="19853"/>
                  </a:lnTo>
                  <a:lnTo>
                    <a:pt x="52472" y="19958"/>
                  </a:lnTo>
                  <a:lnTo>
                    <a:pt x="51633" y="18958"/>
                  </a:lnTo>
                  <a:lnTo>
                    <a:pt x="50700" y="17030"/>
                  </a:lnTo>
                  <a:lnTo>
                    <a:pt x="49009" y="12425"/>
                  </a:lnTo>
                  <a:lnTo>
                    <a:pt x="51621" y="12425"/>
                  </a:lnTo>
                  <a:lnTo>
                    <a:pt x="62497" y="12425"/>
                  </a:lnTo>
                  <a:lnTo>
                    <a:pt x="73376" y="12425"/>
                  </a:lnTo>
                  <a:lnTo>
                    <a:pt x="84252" y="12425"/>
                  </a:lnTo>
                  <a:lnTo>
                    <a:pt x="95129" y="12425"/>
                  </a:lnTo>
                  <a:lnTo>
                    <a:pt x="106006" y="12425"/>
                  </a:lnTo>
                  <a:lnTo>
                    <a:pt x="116884" y="12425"/>
                  </a:lnTo>
                  <a:lnTo>
                    <a:pt x="127760" y="12425"/>
                  </a:lnTo>
                  <a:lnTo>
                    <a:pt x="138636" y="12424"/>
                  </a:lnTo>
                  <a:lnTo>
                    <a:pt x="149514" y="12424"/>
                  </a:lnTo>
                  <a:lnTo>
                    <a:pt x="160391" y="12424"/>
                  </a:lnTo>
                  <a:lnTo>
                    <a:pt x="171267" y="12424"/>
                  </a:lnTo>
                  <a:lnTo>
                    <a:pt x="182146" y="12424"/>
                  </a:lnTo>
                  <a:lnTo>
                    <a:pt x="193022" y="12424"/>
                  </a:lnTo>
                  <a:lnTo>
                    <a:pt x="203899" y="12424"/>
                  </a:lnTo>
                  <a:lnTo>
                    <a:pt x="214777" y="12424"/>
                  </a:lnTo>
                  <a:lnTo>
                    <a:pt x="225654" y="12424"/>
                  </a:lnTo>
                  <a:lnTo>
                    <a:pt x="236530" y="12424"/>
                  </a:lnTo>
                  <a:lnTo>
                    <a:pt x="247408" y="12424"/>
                  </a:lnTo>
                  <a:lnTo>
                    <a:pt x="258285" y="12424"/>
                  </a:lnTo>
                  <a:lnTo>
                    <a:pt x="269161" y="12424"/>
                  </a:lnTo>
                  <a:lnTo>
                    <a:pt x="280037" y="12424"/>
                  </a:lnTo>
                  <a:lnTo>
                    <a:pt x="290916" y="12424"/>
                  </a:lnTo>
                  <a:lnTo>
                    <a:pt x="301792" y="12424"/>
                  </a:lnTo>
                  <a:lnTo>
                    <a:pt x="312669" y="12424"/>
                  </a:lnTo>
                  <a:lnTo>
                    <a:pt x="323547" y="12424"/>
                  </a:lnTo>
                  <a:lnTo>
                    <a:pt x="334424" y="12424"/>
                  </a:lnTo>
                  <a:lnTo>
                    <a:pt x="345300" y="12424"/>
                  </a:lnTo>
                  <a:lnTo>
                    <a:pt x="356179" y="12424"/>
                  </a:lnTo>
                  <a:lnTo>
                    <a:pt x="367054" y="12424"/>
                  </a:lnTo>
                  <a:lnTo>
                    <a:pt x="377931" y="12424"/>
                  </a:lnTo>
                  <a:lnTo>
                    <a:pt x="388807" y="12424"/>
                  </a:lnTo>
                  <a:lnTo>
                    <a:pt x="399686" y="12422"/>
                  </a:lnTo>
                  <a:lnTo>
                    <a:pt x="410562" y="12422"/>
                  </a:lnTo>
                  <a:lnTo>
                    <a:pt x="421439" y="12422"/>
                  </a:lnTo>
                  <a:lnTo>
                    <a:pt x="432317" y="12422"/>
                  </a:lnTo>
                  <a:lnTo>
                    <a:pt x="443194" y="12422"/>
                  </a:lnTo>
                  <a:lnTo>
                    <a:pt x="454070" y="12422"/>
                  </a:lnTo>
                  <a:lnTo>
                    <a:pt x="464949" y="12422"/>
                  </a:lnTo>
                  <a:lnTo>
                    <a:pt x="475824" y="12422"/>
                  </a:lnTo>
                  <a:lnTo>
                    <a:pt x="486701" y="12422"/>
                  </a:lnTo>
                  <a:lnTo>
                    <a:pt x="497579" y="12422"/>
                  </a:lnTo>
                  <a:lnTo>
                    <a:pt x="508456" y="12422"/>
                  </a:lnTo>
                  <a:lnTo>
                    <a:pt x="519332" y="12422"/>
                  </a:lnTo>
                  <a:lnTo>
                    <a:pt x="530209" y="12422"/>
                  </a:lnTo>
                  <a:lnTo>
                    <a:pt x="541087" y="12422"/>
                  </a:lnTo>
                  <a:lnTo>
                    <a:pt x="551964" y="12422"/>
                  </a:lnTo>
                  <a:lnTo>
                    <a:pt x="562840" y="12422"/>
                  </a:lnTo>
                  <a:lnTo>
                    <a:pt x="573719" y="12422"/>
                  </a:lnTo>
                  <a:lnTo>
                    <a:pt x="584594" y="12422"/>
                  </a:lnTo>
                  <a:lnTo>
                    <a:pt x="595471" y="12422"/>
                  </a:lnTo>
                  <a:lnTo>
                    <a:pt x="606348" y="12422"/>
                  </a:lnTo>
                  <a:lnTo>
                    <a:pt x="617226" y="12422"/>
                  </a:lnTo>
                  <a:lnTo>
                    <a:pt x="628102" y="12422"/>
                  </a:lnTo>
                  <a:lnTo>
                    <a:pt x="638980" y="12422"/>
                  </a:lnTo>
                  <a:lnTo>
                    <a:pt x="649857" y="12422"/>
                  </a:lnTo>
                  <a:lnTo>
                    <a:pt x="660734" y="12421"/>
                  </a:lnTo>
                  <a:lnTo>
                    <a:pt x="671610" y="12421"/>
                  </a:lnTo>
                  <a:lnTo>
                    <a:pt x="682489" y="12421"/>
                  </a:lnTo>
                  <a:lnTo>
                    <a:pt x="693365" y="12421"/>
                  </a:lnTo>
                  <a:lnTo>
                    <a:pt x="704241" y="12421"/>
                  </a:lnTo>
                  <a:lnTo>
                    <a:pt x="715120" y="12421"/>
                  </a:lnTo>
                  <a:lnTo>
                    <a:pt x="725996" y="12421"/>
                  </a:lnTo>
                  <a:lnTo>
                    <a:pt x="736872" y="12421"/>
                  </a:lnTo>
                  <a:lnTo>
                    <a:pt x="747750" y="12421"/>
                  </a:lnTo>
                  <a:lnTo>
                    <a:pt x="753767" y="12467"/>
                  </a:lnTo>
                  <a:lnTo>
                    <a:pt x="753864" y="5502"/>
                  </a:lnTo>
                  <a:close/>
                </a:path>
              </a:pathLst>
            </a:custGeom>
            <a:solidFill>
              <a:srgbClr val="007CBC"/>
            </a:solidFill>
            <a:ln w="635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79" name="ee4pMapWizardData_82333">
              <a:extLst>
                <a:ext uri="{FF2B5EF4-FFF2-40B4-BE49-F238E27FC236}">
                  <a16:creationId xmlns:a16="http://schemas.microsoft.com/office/drawing/2014/main" id="{7AE40539-6D04-76E7-EF8C-A483B8D15505}"/>
                </a:ext>
              </a:extLst>
            </p:cNvPr>
            <p:cNvSpPr/>
            <p:nvPr>
              <p:custDataLst>
                <p:tags r:id="rId207"/>
              </p:custDataLst>
            </p:nvPr>
          </p:nvSpPr>
          <p:spPr>
            <a:xfrm>
              <a:off x="6553101" y="3947819"/>
              <a:ext cx="0" cy="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280" name="Rechteck 1279">
            <a:extLst>
              <a:ext uri="{FF2B5EF4-FFF2-40B4-BE49-F238E27FC236}">
                <a16:creationId xmlns:a16="http://schemas.microsoft.com/office/drawing/2014/main" id="{FB086B6A-8BA3-B813-CA42-87A17C8E4BEA}"/>
              </a:ext>
            </a:extLst>
          </p:cNvPr>
          <p:cNvSpPr/>
          <p:nvPr/>
        </p:nvSpPr>
        <p:spPr>
          <a:xfrm>
            <a:off x="531591" y="1619520"/>
            <a:ext cx="1420888" cy="37700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2400" b="1" noProof="0" dirty="0">
                <a:solidFill>
                  <a:prstClr val="white"/>
                </a:solidFill>
                <a:latin typeface="Calibri"/>
              </a:rPr>
              <a:t>Amerika</a:t>
            </a:r>
            <a:endParaRPr kumimoji="0" lang="cs-CZ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81" name="Rechteck 1280">
            <a:extLst>
              <a:ext uri="{FF2B5EF4-FFF2-40B4-BE49-F238E27FC236}">
                <a16:creationId xmlns:a16="http://schemas.microsoft.com/office/drawing/2014/main" id="{4989D943-4DA3-730A-53C5-9BC1CB65B83F}"/>
              </a:ext>
            </a:extLst>
          </p:cNvPr>
          <p:cNvSpPr/>
          <p:nvPr/>
        </p:nvSpPr>
        <p:spPr>
          <a:xfrm>
            <a:off x="4878901" y="3368351"/>
            <a:ext cx="1169428" cy="377004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vropa</a:t>
            </a:r>
          </a:p>
        </p:txBody>
      </p:sp>
      <p:sp>
        <p:nvSpPr>
          <p:cNvPr id="1282" name="Rechteck 1281">
            <a:extLst>
              <a:ext uri="{FF2B5EF4-FFF2-40B4-BE49-F238E27FC236}">
                <a16:creationId xmlns:a16="http://schemas.microsoft.com/office/drawing/2014/main" id="{6460796A-2ACA-A722-710E-B27A9E438ACC}"/>
              </a:ext>
            </a:extLst>
          </p:cNvPr>
          <p:cNvSpPr/>
          <p:nvPr/>
        </p:nvSpPr>
        <p:spPr>
          <a:xfrm>
            <a:off x="8371013" y="5068422"/>
            <a:ext cx="896647" cy="37700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PAC</a:t>
            </a:r>
          </a:p>
        </p:txBody>
      </p:sp>
      <p:grpSp>
        <p:nvGrpSpPr>
          <p:cNvPr id="1364" name="Gruppieren 1363">
            <a:extLst>
              <a:ext uri="{FF2B5EF4-FFF2-40B4-BE49-F238E27FC236}">
                <a16:creationId xmlns:a16="http://schemas.microsoft.com/office/drawing/2014/main" id="{BFE1B83C-40B6-3F10-4AD6-2985279FA71C}"/>
              </a:ext>
            </a:extLst>
          </p:cNvPr>
          <p:cNvGrpSpPr/>
          <p:nvPr/>
        </p:nvGrpSpPr>
        <p:grpSpPr>
          <a:xfrm>
            <a:off x="3681115" y="2488639"/>
            <a:ext cx="7732604" cy="3331621"/>
            <a:chOff x="3681115" y="2488639"/>
            <a:chExt cx="7732604" cy="3331621"/>
          </a:xfrm>
        </p:grpSpPr>
        <p:grpSp>
          <p:nvGrpSpPr>
            <p:cNvPr id="1361" name="Gruppieren 1360">
              <a:extLst>
                <a:ext uri="{FF2B5EF4-FFF2-40B4-BE49-F238E27FC236}">
                  <a16:creationId xmlns:a16="http://schemas.microsoft.com/office/drawing/2014/main" id="{467B87B8-DCC4-80A0-FE0C-5C15E6402AE7}"/>
                </a:ext>
              </a:extLst>
            </p:cNvPr>
            <p:cNvGrpSpPr/>
            <p:nvPr/>
          </p:nvGrpSpPr>
          <p:grpSpPr>
            <a:xfrm>
              <a:off x="3681115" y="3279992"/>
              <a:ext cx="1510493" cy="2521924"/>
              <a:chOff x="3681115" y="3279992"/>
              <a:chExt cx="1510493" cy="2521924"/>
            </a:xfrm>
          </p:grpSpPr>
          <p:sp>
            <p:nvSpPr>
              <p:cNvPr id="1303" name="Ellipse 1302">
                <a:extLst>
                  <a:ext uri="{FF2B5EF4-FFF2-40B4-BE49-F238E27FC236}">
                    <a16:creationId xmlns:a16="http://schemas.microsoft.com/office/drawing/2014/main" id="{D7C6D076-E327-90BC-D293-EA1C0E6F3629}"/>
                  </a:ext>
                </a:extLst>
              </p:cNvPr>
              <p:cNvSpPr/>
              <p:nvPr/>
            </p:nvSpPr>
            <p:spPr>
              <a:xfrm>
                <a:off x="3681115" y="4062414"/>
                <a:ext cx="54000" cy="54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304" name="Ellipse 1303">
                <a:extLst>
                  <a:ext uri="{FF2B5EF4-FFF2-40B4-BE49-F238E27FC236}">
                    <a16:creationId xmlns:a16="http://schemas.microsoft.com/office/drawing/2014/main" id="{BC704072-15D3-66E9-B885-DECEE9198844}"/>
                  </a:ext>
                </a:extLst>
              </p:cNvPr>
              <p:cNvSpPr/>
              <p:nvPr/>
            </p:nvSpPr>
            <p:spPr>
              <a:xfrm>
                <a:off x="4162128" y="3578621"/>
                <a:ext cx="54000" cy="54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305" name="Ellipse 1304">
                <a:extLst>
                  <a:ext uri="{FF2B5EF4-FFF2-40B4-BE49-F238E27FC236}">
                    <a16:creationId xmlns:a16="http://schemas.microsoft.com/office/drawing/2014/main" id="{1B3CBCFF-9CC6-1DEC-9323-99914D730158}"/>
                  </a:ext>
                </a:extLst>
              </p:cNvPr>
              <p:cNvSpPr/>
              <p:nvPr/>
            </p:nvSpPr>
            <p:spPr>
              <a:xfrm>
                <a:off x="4290716" y="3279992"/>
                <a:ext cx="54000" cy="54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306" name="Ellipse 1305">
                <a:extLst>
                  <a:ext uri="{FF2B5EF4-FFF2-40B4-BE49-F238E27FC236}">
                    <a16:creationId xmlns:a16="http://schemas.microsoft.com/office/drawing/2014/main" id="{79823A5E-0423-23EA-7E9E-D443B6377736}"/>
                  </a:ext>
                </a:extLst>
              </p:cNvPr>
              <p:cNvSpPr/>
              <p:nvPr/>
            </p:nvSpPr>
            <p:spPr>
              <a:xfrm>
                <a:off x="4474073" y="3372207"/>
                <a:ext cx="54000" cy="54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307" name="Ellipse 1306">
                <a:extLst>
                  <a:ext uri="{FF2B5EF4-FFF2-40B4-BE49-F238E27FC236}">
                    <a16:creationId xmlns:a16="http://schemas.microsoft.com/office/drawing/2014/main" id="{68CBA25C-B54A-5DD5-8584-3E57A6E3F89D}"/>
                  </a:ext>
                </a:extLst>
              </p:cNvPr>
              <p:cNvSpPr/>
              <p:nvPr/>
            </p:nvSpPr>
            <p:spPr>
              <a:xfrm>
                <a:off x="5137608" y="5340721"/>
                <a:ext cx="54000" cy="54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308" name="Ellipse 1307">
                <a:extLst>
                  <a:ext uri="{FF2B5EF4-FFF2-40B4-BE49-F238E27FC236}">
                    <a16:creationId xmlns:a16="http://schemas.microsoft.com/office/drawing/2014/main" id="{F8628F2C-8738-CD1D-745A-8DD84A8437FD}"/>
                  </a:ext>
                </a:extLst>
              </p:cNvPr>
              <p:cNvSpPr/>
              <p:nvPr/>
            </p:nvSpPr>
            <p:spPr>
              <a:xfrm>
                <a:off x="4828046" y="5747916"/>
                <a:ext cx="54000" cy="54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1362" name="Gruppieren 1361">
              <a:extLst>
                <a:ext uri="{FF2B5EF4-FFF2-40B4-BE49-F238E27FC236}">
                  <a16:creationId xmlns:a16="http://schemas.microsoft.com/office/drawing/2014/main" id="{5A2EEBC6-2937-FD0F-3D41-F7D9B9E5176D}"/>
                </a:ext>
              </a:extLst>
            </p:cNvPr>
            <p:cNvGrpSpPr/>
            <p:nvPr/>
          </p:nvGrpSpPr>
          <p:grpSpPr>
            <a:xfrm>
              <a:off x="7272003" y="3481828"/>
              <a:ext cx="4141716" cy="2338432"/>
              <a:chOff x="7272003" y="3481828"/>
              <a:chExt cx="4141716" cy="2338432"/>
            </a:xfrm>
          </p:grpSpPr>
          <p:sp>
            <p:nvSpPr>
              <p:cNvPr id="1309" name="Ellipse 1308">
                <a:extLst>
                  <a:ext uri="{FF2B5EF4-FFF2-40B4-BE49-F238E27FC236}">
                    <a16:creationId xmlns:a16="http://schemas.microsoft.com/office/drawing/2014/main" id="{19D55F9E-8C70-1FFC-F472-3924E3771989}"/>
                  </a:ext>
                </a:extLst>
              </p:cNvPr>
              <p:cNvSpPr/>
              <p:nvPr/>
            </p:nvSpPr>
            <p:spPr>
              <a:xfrm>
                <a:off x="7272003" y="5444159"/>
                <a:ext cx="54000" cy="54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grpSp>
            <p:nvGrpSpPr>
              <p:cNvPr id="1360" name="Gruppieren 1359">
                <a:extLst>
                  <a:ext uri="{FF2B5EF4-FFF2-40B4-BE49-F238E27FC236}">
                    <a16:creationId xmlns:a16="http://schemas.microsoft.com/office/drawing/2014/main" id="{6829DF96-1678-8699-7153-E7277E2AC156}"/>
                  </a:ext>
                </a:extLst>
              </p:cNvPr>
              <p:cNvGrpSpPr/>
              <p:nvPr/>
            </p:nvGrpSpPr>
            <p:grpSpPr>
              <a:xfrm>
                <a:off x="8669900" y="3532630"/>
                <a:ext cx="2743819" cy="2287630"/>
                <a:chOff x="8728143" y="3556044"/>
                <a:chExt cx="2743819" cy="2287630"/>
              </a:xfrm>
            </p:grpSpPr>
            <p:sp>
              <p:nvSpPr>
                <p:cNvPr id="1310" name="Ellipse 1309">
                  <a:extLst>
                    <a:ext uri="{FF2B5EF4-FFF2-40B4-BE49-F238E27FC236}">
                      <a16:creationId xmlns:a16="http://schemas.microsoft.com/office/drawing/2014/main" id="{6579CD07-3811-BF2E-0E09-2EABCC71362C}"/>
                    </a:ext>
                  </a:extLst>
                </p:cNvPr>
                <p:cNvSpPr/>
                <p:nvPr/>
              </p:nvSpPr>
              <p:spPr>
                <a:xfrm>
                  <a:off x="10563876" y="5776734"/>
                  <a:ext cx="54000" cy="54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cs-CZ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311" name="Ellipse 1310">
                  <a:extLst>
                    <a:ext uri="{FF2B5EF4-FFF2-40B4-BE49-F238E27FC236}">
                      <a16:creationId xmlns:a16="http://schemas.microsoft.com/office/drawing/2014/main" id="{CCA2D081-B39E-ED3F-5FCB-DE7476C96232}"/>
                    </a:ext>
                  </a:extLst>
                </p:cNvPr>
                <p:cNvSpPr/>
                <p:nvPr/>
              </p:nvSpPr>
              <p:spPr>
                <a:xfrm>
                  <a:off x="11417962" y="5789674"/>
                  <a:ext cx="54000" cy="54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cs-CZ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312" name="Ellipse 1311">
                  <a:extLst>
                    <a:ext uri="{FF2B5EF4-FFF2-40B4-BE49-F238E27FC236}">
                      <a16:creationId xmlns:a16="http://schemas.microsoft.com/office/drawing/2014/main" id="{0D56F150-8382-DDCD-4DD4-D19D8E57F511}"/>
                    </a:ext>
                  </a:extLst>
                </p:cNvPr>
                <p:cNvSpPr/>
                <p:nvPr/>
              </p:nvSpPr>
              <p:spPr>
                <a:xfrm>
                  <a:off x="9496282" y="4842115"/>
                  <a:ext cx="54000" cy="54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cs-CZ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313" name="Ellipse 1312">
                  <a:extLst>
                    <a:ext uri="{FF2B5EF4-FFF2-40B4-BE49-F238E27FC236}">
                      <a16:creationId xmlns:a16="http://schemas.microsoft.com/office/drawing/2014/main" id="{DBFE7115-8D38-09E0-3EF1-885AA5598201}"/>
                    </a:ext>
                  </a:extLst>
                </p:cNvPr>
                <p:cNvSpPr/>
                <p:nvPr/>
              </p:nvSpPr>
              <p:spPr>
                <a:xfrm>
                  <a:off x="9392370" y="4604362"/>
                  <a:ext cx="54000" cy="54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cs-CZ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314" name="Ellipse 1313">
                  <a:extLst>
                    <a:ext uri="{FF2B5EF4-FFF2-40B4-BE49-F238E27FC236}">
                      <a16:creationId xmlns:a16="http://schemas.microsoft.com/office/drawing/2014/main" id="{13B3A872-12C7-5CBB-9344-9FD4CC4D1587}"/>
                    </a:ext>
                  </a:extLst>
                </p:cNvPr>
                <p:cNvSpPr/>
                <p:nvPr/>
              </p:nvSpPr>
              <p:spPr>
                <a:xfrm>
                  <a:off x="9336264" y="4537616"/>
                  <a:ext cx="54000" cy="54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cs-CZ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315" name="Ellipse 1314">
                  <a:extLst>
                    <a:ext uri="{FF2B5EF4-FFF2-40B4-BE49-F238E27FC236}">
                      <a16:creationId xmlns:a16="http://schemas.microsoft.com/office/drawing/2014/main" id="{3CC32811-93BB-3EB7-FF1C-64DF51BAC418}"/>
                    </a:ext>
                  </a:extLst>
                </p:cNvPr>
                <p:cNvSpPr/>
                <p:nvPr/>
              </p:nvSpPr>
              <p:spPr>
                <a:xfrm>
                  <a:off x="9363798" y="4247103"/>
                  <a:ext cx="54000" cy="54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cs-CZ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316" name="Ellipse 1315">
                  <a:extLst>
                    <a:ext uri="{FF2B5EF4-FFF2-40B4-BE49-F238E27FC236}">
                      <a16:creationId xmlns:a16="http://schemas.microsoft.com/office/drawing/2014/main" id="{4226FA12-6AA7-0D42-A841-F524B103E4A2}"/>
                    </a:ext>
                  </a:extLst>
                </p:cNvPr>
                <p:cNvSpPr/>
                <p:nvPr/>
              </p:nvSpPr>
              <p:spPr>
                <a:xfrm>
                  <a:off x="9493827" y="4354100"/>
                  <a:ext cx="54000" cy="54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cs-CZ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317" name="Ellipse 1316">
                  <a:extLst>
                    <a:ext uri="{FF2B5EF4-FFF2-40B4-BE49-F238E27FC236}">
                      <a16:creationId xmlns:a16="http://schemas.microsoft.com/office/drawing/2014/main" id="{719BDFAD-4E1D-9512-B046-7A2978B8503F}"/>
                    </a:ext>
                  </a:extLst>
                </p:cNvPr>
                <p:cNvSpPr/>
                <p:nvPr/>
              </p:nvSpPr>
              <p:spPr>
                <a:xfrm>
                  <a:off x="9916034" y="4251999"/>
                  <a:ext cx="54000" cy="54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cs-CZ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318" name="Ellipse 1317">
                  <a:extLst>
                    <a:ext uri="{FF2B5EF4-FFF2-40B4-BE49-F238E27FC236}">
                      <a16:creationId xmlns:a16="http://schemas.microsoft.com/office/drawing/2014/main" id="{96F8871E-0561-726E-88EA-830027F10E49}"/>
                    </a:ext>
                  </a:extLst>
                </p:cNvPr>
                <p:cNvSpPr/>
                <p:nvPr/>
              </p:nvSpPr>
              <p:spPr>
                <a:xfrm>
                  <a:off x="9890906" y="4006584"/>
                  <a:ext cx="54000" cy="54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cs-CZ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319" name="Ellipse 1318">
                  <a:extLst>
                    <a:ext uri="{FF2B5EF4-FFF2-40B4-BE49-F238E27FC236}">
                      <a16:creationId xmlns:a16="http://schemas.microsoft.com/office/drawing/2014/main" id="{466581C4-BCC8-4DEC-DAD8-334214110C26}"/>
                    </a:ext>
                  </a:extLst>
                </p:cNvPr>
                <p:cNvSpPr/>
                <p:nvPr/>
              </p:nvSpPr>
              <p:spPr>
                <a:xfrm>
                  <a:off x="9675287" y="3976949"/>
                  <a:ext cx="54000" cy="54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cs-CZ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320" name="Ellipse 1319">
                  <a:extLst>
                    <a:ext uri="{FF2B5EF4-FFF2-40B4-BE49-F238E27FC236}">
                      <a16:creationId xmlns:a16="http://schemas.microsoft.com/office/drawing/2014/main" id="{DE8CC736-CF3D-F072-FE84-61C4878B6EED}"/>
                    </a:ext>
                  </a:extLst>
                </p:cNvPr>
                <p:cNvSpPr/>
                <p:nvPr/>
              </p:nvSpPr>
              <p:spPr>
                <a:xfrm>
                  <a:off x="9865753" y="3752292"/>
                  <a:ext cx="54000" cy="54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cs-CZ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321" name="Ellipse 1320">
                  <a:extLst>
                    <a:ext uri="{FF2B5EF4-FFF2-40B4-BE49-F238E27FC236}">
                      <a16:creationId xmlns:a16="http://schemas.microsoft.com/office/drawing/2014/main" id="{D496150D-7CD6-F3EE-4EF4-1C0A282C1E9B}"/>
                    </a:ext>
                  </a:extLst>
                </p:cNvPr>
                <p:cNvSpPr/>
                <p:nvPr/>
              </p:nvSpPr>
              <p:spPr>
                <a:xfrm>
                  <a:off x="10099321" y="3556044"/>
                  <a:ext cx="54000" cy="54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cs-CZ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322" name="Ellipse 1321">
                  <a:extLst>
                    <a:ext uri="{FF2B5EF4-FFF2-40B4-BE49-F238E27FC236}">
                      <a16:creationId xmlns:a16="http://schemas.microsoft.com/office/drawing/2014/main" id="{FF50BF8D-5300-A445-F4AE-2C561D7677F8}"/>
                    </a:ext>
                  </a:extLst>
                </p:cNvPr>
                <p:cNvSpPr/>
                <p:nvPr/>
              </p:nvSpPr>
              <p:spPr>
                <a:xfrm>
                  <a:off x="10380968" y="3599113"/>
                  <a:ext cx="54000" cy="54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cs-CZ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323" name="Ellipse 1322">
                  <a:extLst>
                    <a:ext uri="{FF2B5EF4-FFF2-40B4-BE49-F238E27FC236}">
                      <a16:creationId xmlns:a16="http://schemas.microsoft.com/office/drawing/2014/main" id="{8D09826B-F72F-F2D1-A863-6E447F73790E}"/>
                    </a:ext>
                  </a:extLst>
                </p:cNvPr>
                <p:cNvSpPr/>
                <p:nvPr/>
              </p:nvSpPr>
              <p:spPr>
                <a:xfrm>
                  <a:off x="8728143" y="4273295"/>
                  <a:ext cx="54000" cy="54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cs-CZ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324" name="Ellipse 1323">
                <a:extLst>
                  <a:ext uri="{FF2B5EF4-FFF2-40B4-BE49-F238E27FC236}">
                    <a16:creationId xmlns:a16="http://schemas.microsoft.com/office/drawing/2014/main" id="{7066BBFB-707A-3329-EC28-C58ECAA33FC0}"/>
                  </a:ext>
                </a:extLst>
              </p:cNvPr>
              <p:cNvSpPr/>
              <p:nvPr/>
            </p:nvSpPr>
            <p:spPr>
              <a:xfrm>
                <a:off x="8032818" y="3966351"/>
                <a:ext cx="54000" cy="54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325" name="Ellipse 1324">
                <a:extLst>
                  <a:ext uri="{FF2B5EF4-FFF2-40B4-BE49-F238E27FC236}">
                    <a16:creationId xmlns:a16="http://schemas.microsoft.com/office/drawing/2014/main" id="{3D7D7F6E-1164-8474-32CC-10C3BCC6F8E0}"/>
                  </a:ext>
                </a:extLst>
              </p:cNvPr>
              <p:cNvSpPr/>
              <p:nvPr/>
            </p:nvSpPr>
            <p:spPr>
              <a:xfrm>
                <a:off x="7492274" y="3710472"/>
                <a:ext cx="54000" cy="54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326" name="Ellipse 1325">
                <a:extLst>
                  <a:ext uri="{FF2B5EF4-FFF2-40B4-BE49-F238E27FC236}">
                    <a16:creationId xmlns:a16="http://schemas.microsoft.com/office/drawing/2014/main" id="{12234038-6EFD-06B2-D900-941168F366D6}"/>
                  </a:ext>
                </a:extLst>
              </p:cNvPr>
              <p:cNvSpPr/>
              <p:nvPr/>
            </p:nvSpPr>
            <p:spPr>
              <a:xfrm>
                <a:off x="7414803" y="3619884"/>
                <a:ext cx="54000" cy="54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327" name="Ellipse 1326">
                <a:extLst>
                  <a:ext uri="{FF2B5EF4-FFF2-40B4-BE49-F238E27FC236}">
                    <a16:creationId xmlns:a16="http://schemas.microsoft.com/office/drawing/2014/main" id="{9D80E842-AE33-4A3A-8B4E-85A31F183F69}"/>
                  </a:ext>
                </a:extLst>
              </p:cNvPr>
              <p:cNvSpPr/>
              <p:nvPr/>
            </p:nvSpPr>
            <p:spPr>
              <a:xfrm>
                <a:off x="7281567" y="3481828"/>
                <a:ext cx="54000" cy="54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1363" name="Gruppieren 1362">
              <a:extLst>
                <a:ext uri="{FF2B5EF4-FFF2-40B4-BE49-F238E27FC236}">
                  <a16:creationId xmlns:a16="http://schemas.microsoft.com/office/drawing/2014/main" id="{51F2C106-5FD2-B1A2-85D8-4BDCC4627BDC}"/>
                </a:ext>
              </a:extLst>
            </p:cNvPr>
            <p:cNvGrpSpPr/>
            <p:nvPr/>
          </p:nvGrpSpPr>
          <p:grpSpPr>
            <a:xfrm>
              <a:off x="6015290" y="2488639"/>
              <a:ext cx="1333282" cy="1096764"/>
              <a:chOff x="6015290" y="2488639"/>
              <a:chExt cx="1333282" cy="1096764"/>
            </a:xfrm>
          </p:grpSpPr>
          <p:sp>
            <p:nvSpPr>
              <p:cNvPr id="1328" name="Ellipse 1327">
                <a:extLst>
                  <a:ext uri="{FF2B5EF4-FFF2-40B4-BE49-F238E27FC236}">
                    <a16:creationId xmlns:a16="http://schemas.microsoft.com/office/drawing/2014/main" id="{9381C41F-33C7-7DDA-5366-A4D3136840DD}"/>
                  </a:ext>
                </a:extLst>
              </p:cNvPr>
              <p:cNvSpPr/>
              <p:nvPr/>
            </p:nvSpPr>
            <p:spPr>
              <a:xfrm>
                <a:off x="7144231" y="3531403"/>
                <a:ext cx="54000" cy="54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329" name="Ellipse 1328">
                <a:extLst>
                  <a:ext uri="{FF2B5EF4-FFF2-40B4-BE49-F238E27FC236}">
                    <a16:creationId xmlns:a16="http://schemas.microsoft.com/office/drawing/2014/main" id="{B94CCBE7-AEF0-F552-5D76-44845A0B5B38}"/>
                  </a:ext>
                </a:extLst>
              </p:cNvPr>
              <p:cNvSpPr/>
              <p:nvPr/>
            </p:nvSpPr>
            <p:spPr>
              <a:xfrm>
                <a:off x="6252566" y="3476335"/>
                <a:ext cx="54000" cy="54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330" name="Ellipse 1329">
                <a:extLst>
                  <a:ext uri="{FF2B5EF4-FFF2-40B4-BE49-F238E27FC236}">
                    <a16:creationId xmlns:a16="http://schemas.microsoft.com/office/drawing/2014/main" id="{D1617799-47F5-4254-857A-3C0AF24F4443}"/>
                  </a:ext>
                </a:extLst>
              </p:cNvPr>
              <p:cNvSpPr/>
              <p:nvPr/>
            </p:nvSpPr>
            <p:spPr>
              <a:xfrm>
                <a:off x="6393678" y="3394323"/>
                <a:ext cx="54000" cy="54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331" name="Ellipse 1330">
                <a:extLst>
                  <a:ext uri="{FF2B5EF4-FFF2-40B4-BE49-F238E27FC236}">
                    <a16:creationId xmlns:a16="http://schemas.microsoft.com/office/drawing/2014/main" id="{F8E28A3D-4322-31DC-52A6-63728D65939D}"/>
                  </a:ext>
                </a:extLst>
              </p:cNvPr>
              <p:cNvSpPr/>
              <p:nvPr/>
            </p:nvSpPr>
            <p:spPr>
              <a:xfrm>
                <a:off x="6257947" y="2979484"/>
                <a:ext cx="54000" cy="54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332" name="Ellipse 1331">
                <a:extLst>
                  <a:ext uri="{FF2B5EF4-FFF2-40B4-BE49-F238E27FC236}">
                    <a16:creationId xmlns:a16="http://schemas.microsoft.com/office/drawing/2014/main" id="{49239023-99A9-0CD7-30F5-1BB15218019A}"/>
                  </a:ext>
                </a:extLst>
              </p:cNvPr>
              <p:cNvSpPr/>
              <p:nvPr/>
            </p:nvSpPr>
            <p:spPr>
              <a:xfrm>
                <a:off x="6463032" y="3014161"/>
                <a:ext cx="54000" cy="54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333" name="Ellipse 1332">
                <a:extLst>
                  <a:ext uri="{FF2B5EF4-FFF2-40B4-BE49-F238E27FC236}">
                    <a16:creationId xmlns:a16="http://schemas.microsoft.com/office/drawing/2014/main" id="{7B12A17B-F2D0-8FB7-1251-FE0471C24B21}"/>
                  </a:ext>
                </a:extLst>
              </p:cNvPr>
              <p:cNvSpPr/>
              <p:nvPr/>
            </p:nvSpPr>
            <p:spPr>
              <a:xfrm>
                <a:off x="6782120" y="2684713"/>
                <a:ext cx="54000" cy="54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334" name="Ellipse 1333">
                <a:extLst>
                  <a:ext uri="{FF2B5EF4-FFF2-40B4-BE49-F238E27FC236}">
                    <a16:creationId xmlns:a16="http://schemas.microsoft.com/office/drawing/2014/main" id="{9DBB3E30-9F31-709A-245A-FFDFF68FFB7C}"/>
                  </a:ext>
                </a:extLst>
              </p:cNvPr>
              <p:cNvSpPr/>
              <p:nvPr/>
            </p:nvSpPr>
            <p:spPr>
              <a:xfrm>
                <a:off x="6939216" y="2689475"/>
                <a:ext cx="54000" cy="54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335" name="Ellipse 1334">
                <a:extLst>
                  <a:ext uri="{FF2B5EF4-FFF2-40B4-BE49-F238E27FC236}">
                    <a16:creationId xmlns:a16="http://schemas.microsoft.com/office/drawing/2014/main" id="{503D7AA1-71F5-C51D-ED06-20EE324A6159}"/>
                  </a:ext>
                </a:extLst>
              </p:cNvPr>
              <p:cNvSpPr/>
              <p:nvPr/>
            </p:nvSpPr>
            <p:spPr>
              <a:xfrm>
                <a:off x="7161497" y="2639173"/>
                <a:ext cx="54000" cy="54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336" name="Ellipse 1335">
                <a:extLst>
                  <a:ext uri="{FF2B5EF4-FFF2-40B4-BE49-F238E27FC236}">
                    <a16:creationId xmlns:a16="http://schemas.microsoft.com/office/drawing/2014/main" id="{806F5972-A4B9-3102-796D-7B9CD51D6C71}"/>
                  </a:ext>
                </a:extLst>
              </p:cNvPr>
              <p:cNvSpPr/>
              <p:nvPr/>
            </p:nvSpPr>
            <p:spPr>
              <a:xfrm>
                <a:off x="7218075" y="2742907"/>
                <a:ext cx="54000" cy="54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337" name="Ellipse 1336">
                <a:extLst>
                  <a:ext uri="{FF2B5EF4-FFF2-40B4-BE49-F238E27FC236}">
                    <a16:creationId xmlns:a16="http://schemas.microsoft.com/office/drawing/2014/main" id="{FD3ECDC7-0959-F5A8-F211-2FC2D159B3E2}"/>
                  </a:ext>
                </a:extLst>
              </p:cNvPr>
              <p:cNvSpPr/>
              <p:nvPr/>
            </p:nvSpPr>
            <p:spPr>
              <a:xfrm>
                <a:off x="6765162" y="2857124"/>
                <a:ext cx="54000" cy="54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338" name="Ellipse 1337">
                <a:extLst>
                  <a:ext uri="{FF2B5EF4-FFF2-40B4-BE49-F238E27FC236}">
                    <a16:creationId xmlns:a16="http://schemas.microsoft.com/office/drawing/2014/main" id="{FB63F699-290E-EBAF-A956-B70FAEDA9B07}"/>
                  </a:ext>
                </a:extLst>
              </p:cNvPr>
              <p:cNvSpPr/>
              <p:nvPr/>
            </p:nvSpPr>
            <p:spPr>
              <a:xfrm>
                <a:off x="6823185" y="2877136"/>
                <a:ext cx="54000" cy="54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339" name="Ellipse 1338">
                <a:extLst>
                  <a:ext uri="{FF2B5EF4-FFF2-40B4-BE49-F238E27FC236}">
                    <a16:creationId xmlns:a16="http://schemas.microsoft.com/office/drawing/2014/main" id="{9B4568FE-878B-A98F-F680-7733BD3BC5E6}"/>
                  </a:ext>
                </a:extLst>
              </p:cNvPr>
              <p:cNvSpPr/>
              <p:nvPr/>
            </p:nvSpPr>
            <p:spPr>
              <a:xfrm>
                <a:off x="7244194" y="2946490"/>
                <a:ext cx="54000" cy="54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340" name="Ellipse 1339">
                <a:extLst>
                  <a:ext uri="{FF2B5EF4-FFF2-40B4-BE49-F238E27FC236}">
                    <a16:creationId xmlns:a16="http://schemas.microsoft.com/office/drawing/2014/main" id="{B3689093-F958-8D50-5E5B-27B939486970}"/>
                  </a:ext>
                </a:extLst>
              </p:cNvPr>
              <p:cNvSpPr/>
              <p:nvPr/>
            </p:nvSpPr>
            <p:spPr>
              <a:xfrm>
                <a:off x="7294572" y="3079025"/>
                <a:ext cx="54000" cy="54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341" name="Ellipse 1340">
                <a:extLst>
                  <a:ext uri="{FF2B5EF4-FFF2-40B4-BE49-F238E27FC236}">
                    <a16:creationId xmlns:a16="http://schemas.microsoft.com/office/drawing/2014/main" id="{1C586425-CCB1-567E-5516-20E4175B56AF}"/>
                  </a:ext>
                </a:extLst>
              </p:cNvPr>
              <p:cNvSpPr/>
              <p:nvPr/>
            </p:nvSpPr>
            <p:spPr>
              <a:xfrm>
                <a:off x="7020747" y="3004635"/>
                <a:ext cx="54000" cy="54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342" name="Ellipse 1341">
                <a:extLst>
                  <a:ext uri="{FF2B5EF4-FFF2-40B4-BE49-F238E27FC236}">
                    <a16:creationId xmlns:a16="http://schemas.microsoft.com/office/drawing/2014/main" id="{798CE659-666E-8B2E-76FF-82DC7D950FEE}"/>
                  </a:ext>
                </a:extLst>
              </p:cNvPr>
              <p:cNvSpPr/>
              <p:nvPr/>
            </p:nvSpPr>
            <p:spPr>
              <a:xfrm>
                <a:off x="6678956" y="2993568"/>
                <a:ext cx="54000" cy="54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343" name="Ellipse 1342">
                <a:extLst>
                  <a:ext uri="{FF2B5EF4-FFF2-40B4-BE49-F238E27FC236}">
                    <a16:creationId xmlns:a16="http://schemas.microsoft.com/office/drawing/2014/main" id="{87710F5E-6E22-03ED-9736-F3C1CB8CC380}"/>
                  </a:ext>
                </a:extLst>
              </p:cNvPr>
              <p:cNvSpPr/>
              <p:nvPr/>
            </p:nvSpPr>
            <p:spPr>
              <a:xfrm>
                <a:off x="6644279" y="3070903"/>
                <a:ext cx="54000" cy="54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344" name="Ellipse 1343">
                <a:extLst>
                  <a:ext uri="{FF2B5EF4-FFF2-40B4-BE49-F238E27FC236}">
                    <a16:creationId xmlns:a16="http://schemas.microsoft.com/office/drawing/2014/main" id="{661C32CE-C8A8-B316-E47E-2D5CC869DF95}"/>
                  </a:ext>
                </a:extLst>
              </p:cNvPr>
              <p:cNvSpPr/>
              <p:nvPr/>
            </p:nvSpPr>
            <p:spPr>
              <a:xfrm>
                <a:off x="6653803" y="3163999"/>
                <a:ext cx="54000" cy="54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345" name="Ellipse 1344">
                <a:extLst>
                  <a:ext uri="{FF2B5EF4-FFF2-40B4-BE49-F238E27FC236}">
                    <a16:creationId xmlns:a16="http://schemas.microsoft.com/office/drawing/2014/main" id="{6D8830C2-A956-8505-3398-903CB882C28F}"/>
                  </a:ext>
                </a:extLst>
              </p:cNvPr>
              <p:cNvSpPr/>
              <p:nvPr/>
            </p:nvSpPr>
            <p:spPr>
              <a:xfrm>
                <a:off x="6739087" y="3294608"/>
                <a:ext cx="54000" cy="54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346" name="Ellipse 1345">
                <a:extLst>
                  <a:ext uri="{FF2B5EF4-FFF2-40B4-BE49-F238E27FC236}">
                    <a16:creationId xmlns:a16="http://schemas.microsoft.com/office/drawing/2014/main" id="{DF16F67D-0AF8-CCE9-C026-E975EDE9B46E}"/>
                  </a:ext>
                </a:extLst>
              </p:cNvPr>
              <p:cNvSpPr/>
              <p:nvPr/>
            </p:nvSpPr>
            <p:spPr>
              <a:xfrm>
                <a:off x="6724775" y="3220162"/>
                <a:ext cx="54000" cy="54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347" name="Ellipse 1346">
                <a:extLst>
                  <a:ext uri="{FF2B5EF4-FFF2-40B4-BE49-F238E27FC236}">
                    <a16:creationId xmlns:a16="http://schemas.microsoft.com/office/drawing/2014/main" id="{1E96BE7A-24CB-6DDB-9830-AC65E3B49C2F}"/>
                  </a:ext>
                </a:extLst>
              </p:cNvPr>
              <p:cNvSpPr/>
              <p:nvPr/>
            </p:nvSpPr>
            <p:spPr>
              <a:xfrm>
                <a:off x="6731931" y="3154089"/>
                <a:ext cx="54000" cy="54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348" name="Ellipse 1347">
                <a:extLst>
                  <a:ext uri="{FF2B5EF4-FFF2-40B4-BE49-F238E27FC236}">
                    <a16:creationId xmlns:a16="http://schemas.microsoft.com/office/drawing/2014/main" id="{2FEC66FA-5794-BA8C-59FD-385D48C2E49A}"/>
                  </a:ext>
                </a:extLst>
              </p:cNvPr>
              <p:cNvSpPr/>
              <p:nvPr/>
            </p:nvSpPr>
            <p:spPr>
              <a:xfrm>
                <a:off x="6773764" y="3108930"/>
                <a:ext cx="54000" cy="54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349" name="Ellipse 1348">
                <a:extLst>
                  <a:ext uri="{FF2B5EF4-FFF2-40B4-BE49-F238E27FC236}">
                    <a16:creationId xmlns:a16="http://schemas.microsoft.com/office/drawing/2014/main" id="{AB955D07-F09C-FF69-A193-0358CB1BBDFD}"/>
                  </a:ext>
                </a:extLst>
              </p:cNvPr>
              <p:cNvSpPr/>
              <p:nvPr/>
            </p:nvSpPr>
            <p:spPr>
              <a:xfrm>
                <a:off x="6822838" y="3146296"/>
                <a:ext cx="54000" cy="54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350" name="Ellipse 1349">
                <a:extLst>
                  <a:ext uri="{FF2B5EF4-FFF2-40B4-BE49-F238E27FC236}">
                    <a16:creationId xmlns:a16="http://schemas.microsoft.com/office/drawing/2014/main" id="{D3205C19-68D3-643A-D2AB-FBFDC0BC9DD3}"/>
                  </a:ext>
                </a:extLst>
              </p:cNvPr>
              <p:cNvSpPr/>
              <p:nvPr/>
            </p:nvSpPr>
            <p:spPr>
              <a:xfrm>
                <a:off x="6906745" y="3101776"/>
                <a:ext cx="54000" cy="54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351" name="Ellipse 1350">
                <a:extLst>
                  <a:ext uri="{FF2B5EF4-FFF2-40B4-BE49-F238E27FC236}">
                    <a16:creationId xmlns:a16="http://schemas.microsoft.com/office/drawing/2014/main" id="{461EAC19-E785-E69A-1E4C-5549DDF73EAB}"/>
                  </a:ext>
                </a:extLst>
              </p:cNvPr>
              <p:cNvSpPr/>
              <p:nvPr/>
            </p:nvSpPr>
            <p:spPr>
              <a:xfrm>
                <a:off x="6902158" y="3186385"/>
                <a:ext cx="54000" cy="54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352" name="Ellipse 1351">
                <a:extLst>
                  <a:ext uri="{FF2B5EF4-FFF2-40B4-BE49-F238E27FC236}">
                    <a16:creationId xmlns:a16="http://schemas.microsoft.com/office/drawing/2014/main" id="{EDEA92D6-89A8-F11F-132E-908A69419E6F}"/>
                  </a:ext>
                </a:extLst>
              </p:cNvPr>
              <p:cNvSpPr/>
              <p:nvPr/>
            </p:nvSpPr>
            <p:spPr>
              <a:xfrm>
                <a:off x="6868056" y="3236317"/>
                <a:ext cx="54000" cy="54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353" name="Ellipse 1352">
                <a:extLst>
                  <a:ext uri="{FF2B5EF4-FFF2-40B4-BE49-F238E27FC236}">
                    <a16:creationId xmlns:a16="http://schemas.microsoft.com/office/drawing/2014/main" id="{85B7C91C-3BAE-2AFB-4348-54B05958F942}"/>
                  </a:ext>
                </a:extLst>
              </p:cNvPr>
              <p:cNvSpPr/>
              <p:nvPr/>
            </p:nvSpPr>
            <p:spPr>
              <a:xfrm>
                <a:off x="6917463" y="3289360"/>
                <a:ext cx="54000" cy="54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354" name="Ellipse 1353">
                <a:extLst>
                  <a:ext uri="{FF2B5EF4-FFF2-40B4-BE49-F238E27FC236}">
                    <a16:creationId xmlns:a16="http://schemas.microsoft.com/office/drawing/2014/main" id="{45CA0C9D-30E0-DF7C-EA39-C66678D46F68}"/>
                  </a:ext>
                </a:extLst>
              </p:cNvPr>
              <p:cNvSpPr/>
              <p:nvPr/>
            </p:nvSpPr>
            <p:spPr>
              <a:xfrm>
                <a:off x="7043058" y="3193883"/>
                <a:ext cx="54000" cy="54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355" name="Ellipse 1354">
                <a:extLst>
                  <a:ext uri="{FF2B5EF4-FFF2-40B4-BE49-F238E27FC236}">
                    <a16:creationId xmlns:a16="http://schemas.microsoft.com/office/drawing/2014/main" id="{145E9064-DBBA-8E31-2039-D8DAC815F9E8}"/>
                  </a:ext>
                </a:extLst>
              </p:cNvPr>
              <p:cNvSpPr/>
              <p:nvPr/>
            </p:nvSpPr>
            <p:spPr>
              <a:xfrm>
                <a:off x="7193588" y="3258475"/>
                <a:ext cx="54000" cy="54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356" name="Ellipse 1355">
                <a:extLst>
                  <a:ext uri="{FF2B5EF4-FFF2-40B4-BE49-F238E27FC236}">
                    <a16:creationId xmlns:a16="http://schemas.microsoft.com/office/drawing/2014/main" id="{FF10B77B-E30D-F2CE-DFFA-8FECF1021D7D}"/>
                  </a:ext>
                </a:extLst>
              </p:cNvPr>
              <p:cNvSpPr/>
              <p:nvPr/>
            </p:nvSpPr>
            <p:spPr>
              <a:xfrm>
                <a:off x="7194408" y="3358714"/>
                <a:ext cx="54000" cy="54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357" name="Ellipse 1356">
                <a:extLst>
                  <a:ext uri="{FF2B5EF4-FFF2-40B4-BE49-F238E27FC236}">
                    <a16:creationId xmlns:a16="http://schemas.microsoft.com/office/drawing/2014/main" id="{4C3E4059-5FC0-0905-3986-AC5586C41029}"/>
                  </a:ext>
                </a:extLst>
              </p:cNvPr>
              <p:cNvSpPr/>
              <p:nvPr/>
            </p:nvSpPr>
            <p:spPr>
              <a:xfrm>
                <a:off x="7096542" y="3389561"/>
                <a:ext cx="54000" cy="54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358" name="Ellipse 1357">
                <a:extLst>
                  <a:ext uri="{FF2B5EF4-FFF2-40B4-BE49-F238E27FC236}">
                    <a16:creationId xmlns:a16="http://schemas.microsoft.com/office/drawing/2014/main" id="{8949E473-A9F4-6A5E-203F-D093DAC02A72}"/>
                  </a:ext>
                </a:extLst>
              </p:cNvPr>
              <p:cNvSpPr/>
              <p:nvPr/>
            </p:nvSpPr>
            <p:spPr>
              <a:xfrm>
                <a:off x="6015290" y="2488639"/>
                <a:ext cx="54000" cy="54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</p:grpSp>
      <p:sp>
        <p:nvSpPr>
          <p:cNvPr id="4" name="Textfeld 3">
            <a:extLst>
              <a:ext uri="{FF2B5EF4-FFF2-40B4-BE49-F238E27FC236}">
                <a16:creationId xmlns:a16="http://schemas.microsoft.com/office/drawing/2014/main" id="{7326B240-8830-22CB-D6ED-0104D25F9D3A}"/>
              </a:ext>
            </a:extLst>
          </p:cNvPr>
          <p:cNvSpPr txBox="1"/>
          <p:nvPr/>
        </p:nvSpPr>
        <p:spPr>
          <a:xfrm>
            <a:off x="471180" y="5518836"/>
            <a:ext cx="4845680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DCDFE7"/>
                </a:highlight>
                <a:uLnTx/>
                <a:uFillTx/>
                <a:latin typeface="Calibri"/>
                <a:ea typeface="+mn-ea"/>
                <a:cs typeface="+mn-cs"/>
              </a:rPr>
              <a:t>3 silné regiony</a:t>
            </a:r>
          </a:p>
          <a:p>
            <a:r>
              <a:rPr lang="cs-CZ" sz="1600" dirty="0">
                <a:highlight>
                  <a:srgbClr val="DCDFE7"/>
                </a:highlight>
              </a:rPr>
              <a:t>s </a:t>
            </a:r>
            <a:r>
              <a:rPr lang="cs-CZ" sz="1600" b="1" i="1" dirty="0">
                <a:highlight>
                  <a:srgbClr val="DCDFE7"/>
                </a:highlight>
              </a:rPr>
              <a:t>end-to-end procesy</a:t>
            </a:r>
          </a:p>
          <a:p>
            <a:r>
              <a:rPr lang="cs-CZ" sz="1600" dirty="0">
                <a:highlight>
                  <a:srgbClr val="DCDFE7"/>
                </a:highlight>
              </a:rPr>
              <a:t>které zajišťují </a:t>
            </a:r>
            <a:r>
              <a:rPr lang="cs-CZ" sz="1600" b="1" i="1" dirty="0">
                <a:highlight>
                  <a:srgbClr val="DCDFE7"/>
                </a:highlight>
              </a:rPr>
              <a:t>rychlost</a:t>
            </a:r>
            <a:r>
              <a:rPr lang="cs-CZ" sz="1600" dirty="0">
                <a:highlight>
                  <a:srgbClr val="DCDFE7"/>
                </a:highlight>
              </a:rPr>
              <a:t> a </a:t>
            </a:r>
            <a:r>
              <a:rPr lang="cs-CZ" sz="1600" b="1" i="1" dirty="0">
                <a:highlight>
                  <a:srgbClr val="DCDFE7"/>
                </a:highlight>
              </a:rPr>
              <a:t>orientaci na zákazníka</a:t>
            </a:r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449BF96A-1759-64E5-07EE-875F36E1A51F}"/>
              </a:ext>
            </a:extLst>
          </p:cNvPr>
          <p:cNvCxnSpPr>
            <a:cxnSpLocks/>
            <a:stCxn id="1320" idx="0"/>
          </p:cNvCxnSpPr>
          <p:nvPr/>
        </p:nvCxnSpPr>
        <p:spPr>
          <a:xfrm flipV="1">
            <a:off x="9834510" y="2701081"/>
            <a:ext cx="15234" cy="1027797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16B1A989-19E4-99D2-1DFB-AA2E85C0B2EE}"/>
              </a:ext>
            </a:extLst>
          </p:cNvPr>
          <p:cNvCxnSpPr>
            <a:cxnSpLocks/>
          </p:cNvCxnSpPr>
          <p:nvPr/>
        </p:nvCxnSpPr>
        <p:spPr>
          <a:xfrm flipV="1">
            <a:off x="9849976" y="2701330"/>
            <a:ext cx="967887" cy="231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hteck 11">
            <a:extLst>
              <a:ext uri="{FF2B5EF4-FFF2-40B4-BE49-F238E27FC236}">
                <a16:creationId xmlns:a16="http://schemas.microsoft.com/office/drawing/2014/main" id="{60730192-3318-8340-C178-08F70F467092}"/>
              </a:ext>
            </a:extLst>
          </p:cNvPr>
          <p:cNvSpPr/>
          <p:nvPr/>
        </p:nvSpPr>
        <p:spPr>
          <a:xfrm>
            <a:off x="10223093" y="2500078"/>
            <a:ext cx="860678" cy="41418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700" b="1" noProof="0" dirty="0">
                <a:solidFill>
                  <a:schemeClr val="tx1"/>
                </a:solidFill>
              </a:rPr>
              <a:t>Rozšíření budovy </a:t>
            </a:r>
            <a:r>
              <a:rPr lang="cs-CZ" sz="700" b="1" noProof="0" dirty="0" err="1">
                <a:solidFill>
                  <a:schemeClr val="tx1"/>
                </a:solidFill>
              </a:rPr>
              <a:t>Shanghai</a:t>
            </a:r>
            <a:endParaRPr lang="cs-CZ" sz="700" b="1" noProof="0" dirty="0">
              <a:solidFill>
                <a:schemeClr val="tx1"/>
              </a:solidFill>
            </a:endParaRPr>
          </a:p>
          <a:p>
            <a:pPr algn="ctr"/>
            <a:r>
              <a:rPr lang="cs-CZ" sz="700" i="1" noProof="0" dirty="0">
                <a:solidFill>
                  <a:schemeClr val="tx1"/>
                </a:solidFill>
              </a:rPr>
              <a:t>33.000 m</a:t>
            </a:r>
            <a:r>
              <a:rPr lang="cs-CZ" sz="700" i="1" baseline="30000" noProof="0" dirty="0">
                <a:solidFill>
                  <a:schemeClr val="tx1"/>
                </a:solidFill>
              </a:rPr>
              <a:t>2</a:t>
            </a:r>
            <a:endParaRPr lang="cs-CZ" sz="700" baseline="30000" noProof="0" dirty="0">
              <a:solidFill>
                <a:schemeClr val="tx1"/>
              </a:solidFill>
            </a:endParaRPr>
          </a:p>
        </p:txBody>
      </p:sp>
      <p:sp>
        <p:nvSpPr>
          <p:cNvPr id="13" name="Ellipse 12">
            <a:extLst>
              <a:ext uri="{FF2B5EF4-FFF2-40B4-BE49-F238E27FC236}">
                <a16:creationId xmlns:a16="http://schemas.microsoft.com/office/drawing/2014/main" id="{C9FAEF9A-6FD4-1C8A-B041-22CBB734038B}"/>
              </a:ext>
            </a:extLst>
          </p:cNvPr>
          <p:cNvSpPr/>
          <p:nvPr/>
        </p:nvSpPr>
        <p:spPr>
          <a:xfrm>
            <a:off x="9513226" y="3639465"/>
            <a:ext cx="54000" cy="54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3365A34A-7475-85A5-36FE-7E17E58A6A51}"/>
              </a:ext>
            </a:extLst>
          </p:cNvPr>
          <p:cNvCxnSpPr>
            <a:cxnSpLocks/>
          </p:cNvCxnSpPr>
          <p:nvPr/>
        </p:nvCxnSpPr>
        <p:spPr>
          <a:xfrm flipV="1">
            <a:off x="9535630" y="3665166"/>
            <a:ext cx="265" cy="213918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783402E1-47D4-2510-5BD6-3F4476C2B7C7}"/>
              </a:ext>
            </a:extLst>
          </p:cNvPr>
          <p:cNvCxnSpPr>
            <a:cxnSpLocks/>
          </p:cNvCxnSpPr>
          <p:nvPr/>
        </p:nvCxnSpPr>
        <p:spPr>
          <a:xfrm>
            <a:off x="9535630" y="3874278"/>
            <a:ext cx="1222866" cy="161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>
            <a:extLst>
              <a:ext uri="{FF2B5EF4-FFF2-40B4-BE49-F238E27FC236}">
                <a16:creationId xmlns:a16="http://schemas.microsoft.com/office/drawing/2014/main" id="{45E6FB76-4D17-6C1B-970F-5FD2620D6261}"/>
              </a:ext>
            </a:extLst>
          </p:cNvPr>
          <p:cNvSpPr/>
          <p:nvPr/>
        </p:nvSpPr>
        <p:spPr>
          <a:xfrm>
            <a:off x="10028610" y="3798731"/>
            <a:ext cx="860678" cy="55810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700" b="1" noProof="0" dirty="0">
                <a:solidFill>
                  <a:schemeClr val="tx1"/>
                </a:solidFill>
              </a:rPr>
              <a:t>Nová budova</a:t>
            </a:r>
          </a:p>
          <a:p>
            <a:pPr algn="ctr"/>
            <a:r>
              <a:rPr lang="cs-CZ" sz="700" b="1" noProof="0" dirty="0" err="1">
                <a:solidFill>
                  <a:schemeClr val="tx1"/>
                </a:solidFill>
              </a:rPr>
              <a:t>Xi‘an</a:t>
            </a:r>
            <a:endParaRPr lang="cs-CZ" sz="700" b="1" noProof="0" dirty="0">
              <a:solidFill>
                <a:schemeClr val="tx1"/>
              </a:solidFill>
            </a:endParaRPr>
          </a:p>
          <a:p>
            <a:pPr algn="ctr"/>
            <a:r>
              <a:rPr lang="cs-CZ" sz="700" i="1" noProof="0" dirty="0">
                <a:solidFill>
                  <a:schemeClr val="tx1"/>
                </a:solidFill>
              </a:rPr>
              <a:t>27.000 m</a:t>
            </a:r>
            <a:r>
              <a:rPr lang="cs-CZ" sz="700" i="1" baseline="30000" noProof="0" dirty="0">
                <a:solidFill>
                  <a:schemeClr val="tx1"/>
                </a:solidFill>
              </a:rPr>
              <a:t>2</a:t>
            </a:r>
          </a:p>
        </p:txBody>
      </p: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3BF46F05-37D7-C083-ED11-6B301A682032}"/>
              </a:ext>
            </a:extLst>
          </p:cNvPr>
          <p:cNvCxnSpPr>
            <a:cxnSpLocks/>
          </p:cNvCxnSpPr>
          <p:nvPr/>
        </p:nvCxnSpPr>
        <p:spPr>
          <a:xfrm flipH="1" flipV="1">
            <a:off x="4186115" y="3447085"/>
            <a:ext cx="3013" cy="18077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B2E39FBE-1392-D646-E4FE-35CA8BDA54EF}"/>
              </a:ext>
            </a:extLst>
          </p:cNvPr>
          <p:cNvCxnSpPr>
            <a:cxnSpLocks/>
          </p:cNvCxnSpPr>
          <p:nvPr/>
        </p:nvCxnSpPr>
        <p:spPr>
          <a:xfrm>
            <a:off x="2846473" y="3446388"/>
            <a:ext cx="1339642" cy="6339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hteck 26">
            <a:extLst>
              <a:ext uri="{FF2B5EF4-FFF2-40B4-BE49-F238E27FC236}">
                <a16:creationId xmlns:a16="http://schemas.microsoft.com/office/drawing/2014/main" id="{47D4F2F3-BA0D-75EE-CB2F-C1DF1DEECA95}"/>
              </a:ext>
            </a:extLst>
          </p:cNvPr>
          <p:cNvSpPr/>
          <p:nvPr/>
        </p:nvSpPr>
        <p:spPr>
          <a:xfrm>
            <a:off x="2053658" y="3075209"/>
            <a:ext cx="860678" cy="59816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700" b="1" noProof="0" dirty="0">
                <a:solidFill>
                  <a:schemeClr val="tx1"/>
                </a:solidFill>
              </a:rPr>
              <a:t>Nový závod</a:t>
            </a:r>
          </a:p>
          <a:p>
            <a:pPr algn="ctr"/>
            <a:r>
              <a:rPr lang="cs-CZ" sz="700" b="1" noProof="0" dirty="0" err="1">
                <a:solidFill>
                  <a:schemeClr val="tx1"/>
                </a:solidFill>
              </a:rPr>
              <a:t>Telford</a:t>
            </a:r>
            <a:endParaRPr lang="cs-CZ" sz="700" b="1" noProof="0" dirty="0">
              <a:solidFill>
                <a:schemeClr val="tx1"/>
              </a:solidFill>
            </a:endParaRPr>
          </a:p>
          <a:p>
            <a:pPr algn="ctr"/>
            <a:r>
              <a:rPr lang="cs-CZ" sz="700" i="1" noProof="0" dirty="0">
                <a:solidFill>
                  <a:schemeClr val="tx1"/>
                </a:solidFill>
              </a:rPr>
              <a:t>15.000 m</a:t>
            </a:r>
            <a:r>
              <a:rPr lang="cs-CZ" sz="700" i="1" baseline="30000" noProof="0" dirty="0">
                <a:solidFill>
                  <a:schemeClr val="tx1"/>
                </a:solidFill>
              </a:rPr>
              <a:t>2</a:t>
            </a:r>
          </a:p>
        </p:txBody>
      </p:sp>
      <p:pic>
        <p:nvPicPr>
          <p:cNvPr id="1056" name="Grafik 1055">
            <a:extLst>
              <a:ext uri="{FF2B5EF4-FFF2-40B4-BE49-F238E27FC236}">
                <a16:creationId xmlns:a16="http://schemas.microsoft.com/office/drawing/2014/main" id="{A42A5520-EE88-E718-A203-6A09B8CD45C7}"/>
              </a:ext>
            </a:extLst>
          </p:cNvPr>
          <p:cNvPicPr>
            <a:picLocks noChangeAspect="1"/>
          </p:cNvPicPr>
          <p:nvPr/>
        </p:nvPicPr>
        <p:blipFill>
          <a:blip r:embed="rId418"/>
          <a:stretch>
            <a:fillRect/>
          </a:stretch>
        </p:blipFill>
        <p:spPr>
          <a:xfrm>
            <a:off x="801518" y="3082185"/>
            <a:ext cx="1227762" cy="584273"/>
          </a:xfrm>
          <a:prstGeom prst="rect">
            <a:avLst/>
          </a:prstGeom>
          <a:ln w="12700">
            <a:solidFill>
              <a:schemeClr val="bg1"/>
            </a:solidFill>
          </a:ln>
        </p:spPr>
      </p:pic>
      <p:pic>
        <p:nvPicPr>
          <p:cNvPr id="1058" name="Grafik 1057">
            <a:extLst>
              <a:ext uri="{FF2B5EF4-FFF2-40B4-BE49-F238E27FC236}">
                <a16:creationId xmlns:a16="http://schemas.microsoft.com/office/drawing/2014/main" id="{953B58CC-7265-B351-699F-3F7474506E5D}"/>
              </a:ext>
            </a:extLst>
          </p:cNvPr>
          <p:cNvPicPr>
            <a:picLocks noChangeAspect="1"/>
          </p:cNvPicPr>
          <p:nvPr/>
        </p:nvPicPr>
        <p:blipFill>
          <a:blip r:embed="rId419"/>
          <a:stretch>
            <a:fillRect/>
          </a:stretch>
        </p:blipFill>
        <p:spPr>
          <a:xfrm>
            <a:off x="10921119" y="3807968"/>
            <a:ext cx="1198683" cy="542562"/>
          </a:xfrm>
          <a:prstGeom prst="rect">
            <a:avLst/>
          </a:prstGeom>
          <a:ln w="12700">
            <a:solidFill>
              <a:schemeClr val="bg1"/>
            </a:solidFill>
          </a:ln>
        </p:spPr>
      </p:pic>
      <p:pic>
        <p:nvPicPr>
          <p:cNvPr id="1060" name="Grafik 1059">
            <a:extLst>
              <a:ext uri="{FF2B5EF4-FFF2-40B4-BE49-F238E27FC236}">
                <a16:creationId xmlns:a16="http://schemas.microsoft.com/office/drawing/2014/main" id="{E82831C8-D7B6-9C6B-C932-ABC3EE855D29}"/>
              </a:ext>
            </a:extLst>
          </p:cNvPr>
          <p:cNvPicPr>
            <a:picLocks noChangeAspect="1"/>
          </p:cNvPicPr>
          <p:nvPr/>
        </p:nvPicPr>
        <p:blipFill>
          <a:blip r:embed="rId420"/>
          <a:stretch>
            <a:fillRect/>
          </a:stretch>
        </p:blipFill>
        <p:spPr>
          <a:xfrm>
            <a:off x="11126771" y="2519125"/>
            <a:ext cx="911923" cy="385011"/>
          </a:xfrm>
          <a:prstGeom prst="rect">
            <a:avLst/>
          </a:prstGeom>
          <a:ln w="19050">
            <a:solidFill>
              <a:schemeClr val="bg1"/>
            </a:solidFill>
          </a:ln>
        </p:spPr>
      </p:pic>
      <p:cxnSp>
        <p:nvCxnSpPr>
          <p:cNvPr id="497" name="Gerader Verbinder 496">
            <a:extLst>
              <a:ext uri="{FF2B5EF4-FFF2-40B4-BE49-F238E27FC236}">
                <a16:creationId xmlns:a16="http://schemas.microsoft.com/office/drawing/2014/main" id="{FF650165-BE1D-4544-8713-6A1958BA28B0}"/>
              </a:ext>
            </a:extLst>
          </p:cNvPr>
          <p:cNvCxnSpPr>
            <a:cxnSpLocks/>
          </p:cNvCxnSpPr>
          <p:nvPr/>
        </p:nvCxnSpPr>
        <p:spPr>
          <a:xfrm flipV="1">
            <a:off x="8706679" y="4282126"/>
            <a:ext cx="0" cy="204149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8" name="Gerader Verbinder 497">
            <a:extLst>
              <a:ext uri="{FF2B5EF4-FFF2-40B4-BE49-F238E27FC236}">
                <a16:creationId xmlns:a16="http://schemas.microsoft.com/office/drawing/2014/main" id="{34E6B71D-8ACF-4115-B093-BEB9CC17B047}"/>
              </a:ext>
            </a:extLst>
          </p:cNvPr>
          <p:cNvCxnSpPr>
            <a:cxnSpLocks/>
          </p:cNvCxnSpPr>
          <p:nvPr/>
        </p:nvCxnSpPr>
        <p:spPr>
          <a:xfrm>
            <a:off x="8213155" y="4482976"/>
            <a:ext cx="49269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0" name="Rechteck 499">
            <a:extLst>
              <a:ext uri="{FF2B5EF4-FFF2-40B4-BE49-F238E27FC236}">
                <a16:creationId xmlns:a16="http://schemas.microsoft.com/office/drawing/2014/main" id="{C04AE130-51C8-4070-8689-AC9708060745}"/>
              </a:ext>
            </a:extLst>
          </p:cNvPr>
          <p:cNvSpPr/>
          <p:nvPr/>
        </p:nvSpPr>
        <p:spPr>
          <a:xfrm>
            <a:off x="7503682" y="4166341"/>
            <a:ext cx="860678" cy="61184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700" b="1" noProof="0" dirty="0">
                <a:solidFill>
                  <a:schemeClr val="tx1"/>
                </a:solidFill>
              </a:rPr>
              <a:t>IT / Digitální centrum</a:t>
            </a:r>
          </a:p>
          <a:p>
            <a:pPr algn="ctr"/>
            <a:r>
              <a:rPr lang="cs-CZ" sz="700" b="1" noProof="0" dirty="0">
                <a:solidFill>
                  <a:schemeClr val="tx1"/>
                </a:solidFill>
              </a:rPr>
              <a:t>India</a:t>
            </a:r>
          </a:p>
          <a:p>
            <a:pPr algn="ctr"/>
            <a:r>
              <a:rPr lang="cs-CZ" sz="700" i="1" noProof="0" dirty="0">
                <a:solidFill>
                  <a:schemeClr val="tx1"/>
                </a:solidFill>
              </a:rPr>
              <a:t>2.800 m</a:t>
            </a:r>
            <a:r>
              <a:rPr lang="cs-CZ" sz="700" i="1" baseline="30000" noProof="0" dirty="0">
                <a:solidFill>
                  <a:schemeClr val="tx1"/>
                </a:solidFill>
              </a:rPr>
              <a:t>2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729AD4AD-D49E-4043-87DB-21E9343FB9C6}"/>
              </a:ext>
            </a:extLst>
          </p:cNvPr>
          <p:cNvPicPr>
            <a:picLocks noChangeAspect="1"/>
          </p:cNvPicPr>
          <p:nvPr/>
        </p:nvPicPr>
        <p:blipFill>
          <a:blip r:embed="rId421"/>
          <a:stretch>
            <a:fillRect/>
          </a:stretch>
        </p:blipFill>
        <p:spPr>
          <a:xfrm>
            <a:off x="6278780" y="4174627"/>
            <a:ext cx="1198948" cy="604194"/>
          </a:xfrm>
          <a:prstGeom prst="rect">
            <a:avLst/>
          </a:prstGeom>
          <a:ln w="12700">
            <a:solidFill>
              <a:schemeClr val="bg1"/>
            </a:solidFill>
          </a:ln>
        </p:spPr>
      </p:pic>
      <p:grpSp>
        <p:nvGrpSpPr>
          <p:cNvPr id="501" name="Gruppieren 500">
            <a:extLst>
              <a:ext uri="{FF2B5EF4-FFF2-40B4-BE49-F238E27FC236}">
                <a16:creationId xmlns:a16="http://schemas.microsoft.com/office/drawing/2014/main" id="{16800EA3-472C-4BD8-A5BE-C7BF3E65D441}"/>
              </a:ext>
            </a:extLst>
          </p:cNvPr>
          <p:cNvGrpSpPr/>
          <p:nvPr/>
        </p:nvGrpSpPr>
        <p:grpSpPr>
          <a:xfrm>
            <a:off x="7528679" y="10712"/>
            <a:ext cx="2231785" cy="3625780"/>
            <a:chOff x="8223099" y="0"/>
            <a:chExt cx="2231785" cy="3625780"/>
          </a:xfrm>
          <a:effectLst>
            <a:outerShdw blurRad="165100" dist="38100" dir="2700000" algn="tl" rotWithShape="0">
              <a:prstClr val="black">
                <a:alpha val="20000"/>
              </a:prstClr>
            </a:outerShdw>
          </a:effectLst>
        </p:grpSpPr>
        <p:grpSp>
          <p:nvGrpSpPr>
            <p:cNvPr id="502" name="Gruppieren 501">
              <a:extLst>
                <a:ext uri="{FF2B5EF4-FFF2-40B4-BE49-F238E27FC236}">
                  <a16:creationId xmlns:a16="http://schemas.microsoft.com/office/drawing/2014/main" id="{A1619E06-6E56-4371-828D-C5FDC6F8BDB1}"/>
                </a:ext>
              </a:extLst>
            </p:cNvPr>
            <p:cNvGrpSpPr/>
            <p:nvPr/>
          </p:nvGrpSpPr>
          <p:grpSpPr>
            <a:xfrm>
              <a:off x="8223099" y="0"/>
              <a:ext cx="2231785" cy="3625780"/>
              <a:chOff x="8223099" y="0"/>
              <a:chExt cx="2231785" cy="3625780"/>
            </a:xfrm>
          </p:grpSpPr>
          <p:sp>
            <p:nvSpPr>
              <p:cNvPr id="518" name="Rechteck 517">
                <a:extLst>
                  <a:ext uri="{FF2B5EF4-FFF2-40B4-BE49-F238E27FC236}">
                    <a16:creationId xmlns:a16="http://schemas.microsoft.com/office/drawing/2014/main" id="{7DAB6AFF-1140-46BF-8F8A-7BDCB8A2D5D3}"/>
                  </a:ext>
                </a:extLst>
              </p:cNvPr>
              <p:cNvSpPr/>
              <p:nvPr/>
            </p:nvSpPr>
            <p:spPr>
              <a:xfrm>
                <a:off x="8223101" y="0"/>
                <a:ext cx="2231783" cy="273843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19" name="Freihandform: Form 518">
                <a:extLst>
                  <a:ext uri="{FF2B5EF4-FFF2-40B4-BE49-F238E27FC236}">
                    <a16:creationId xmlns:a16="http://schemas.microsoft.com/office/drawing/2014/main" id="{3B9D63F2-1476-4B7B-911B-FE93D3538CDA}"/>
                  </a:ext>
                </a:extLst>
              </p:cNvPr>
              <p:cNvSpPr/>
              <p:nvPr/>
            </p:nvSpPr>
            <p:spPr>
              <a:xfrm rot="16200000">
                <a:off x="8112220" y="1283116"/>
                <a:ext cx="2453543" cy="2231785"/>
              </a:xfrm>
              <a:custGeom>
                <a:avLst/>
                <a:gdLst>
                  <a:gd name="connsiteX0" fmla="*/ 987509 w 1248569"/>
                  <a:gd name="connsiteY0" fmla="*/ 69311 h 1135720"/>
                  <a:gd name="connsiteX1" fmla="*/ 868220 w 1248569"/>
                  <a:gd name="connsiteY1" fmla="*/ 0 h 1135720"/>
                  <a:gd name="connsiteX2" fmla="*/ 380352 w 1248569"/>
                  <a:gd name="connsiteY2" fmla="*/ 0 h 1135720"/>
                  <a:gd name="connsiteX3" fmla="*/ 261061 w 1248569"/>
                  <a:gd name="connsiteY3" fmla="*/ 69311 h 1135720"/>
                  <a:gd name="connsiteX4" fmla="*/ 16367 w 1248569"/>
                  <a:gd name="connsiteY4" fmla="*/ 498550 h 1135720"/>
                  <a:gd name="connsiteX5" fmla="*/ 16367 w 1248569"/>
                  <a:gd name="connsiteY5" fmla="*/ 637173 h 1135720"/>
                  <a:gd name="connsiteX6" fmla="*/ 261061 w 1248569"/>
                  <a:gd name="connsiteY6" fmla="*/ 1066411 h 1135720"/>
                  <a:gd name="connsiteX7" fmla="*/ 380352 w 1248569"/>
                  <a:gd name="connsiteY7" fmla="*/ 1135721 h 1135720"/>
                  <a:gd name="connsiteX8" fmla="*/ 868220 w 1248569"/>
                  <a:gd name="connsiteY8" fmla="*/ 1135721 h 1135720"/>
                  <a:gd name="connsiteX9" fmla="*/ 987509 w 1248569"/>
                  <a:gd name="connsiteY9" fmla="*/ 1066411 h 1135720"/>
                  <a:gd name="connsiteX10" fmla="*/ 1232202 w 1248569"/>
                  <a:gd name="connsiteY10" fmla="*/ 637173 h 1135720"/>
                  <a:gd name="connsiteX11" fmla="*/ 1232202 w 1248569"/>
                  <a:gd name="connsiteY11" fmla="*/ 498550 h 1135720"/>
                  <a:gd name="connsiteX12" fmla="*/ 987509 w 1248569"/>
                  <a:gd name="connsiteY12" fmla="*/ 69311 h 11357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248569" h="1135720">
                    <a:moveTo>
                      <a:pt x="987509" y="69311"/>
                    </a:moveTo>
                    <a:cubicBezTo>
                      <a:pt x="965685" y="31031"/>
                      <a:pt x="912284" y="0"/>
                      <a:pt x="868220" y="0"/>
                    </a:cubicBezTo>
                    <a:lnTo>
                      <a:pt x="380352" y="0"/>
                    </a:lnTo>
                    <a:cubicBezTo>
                      <a:pt x="336290" y="0"/>
                      <a:pt x="282879" y="31031"/>
                      <a:pt x="261061" y="69311"/>
                    </a:cubicBezTo>
                    <a:lnTo>
                      <a:pt x="16367" y="498550"/>
                    </a:lnTo>
                    <a:cubicBezTo>
                      <a:pt x="-5456" y="536831"/>
                      <a:pt x="-5456" y="598892"/>
                      <a:pt x="16367" y="637173"/>
                    </a:cubicBezTo>
                    <a:lnTo>
                      <a:pt x="261061" y="1066411"/>
                    </a:lnTo>
                    <a:cubicBezTo>
                      <a:pt x="282879" y="1104695"/>
                      <a:pt x="336290" y="1135721"/>
                      <a:pt x="380352" y="1135721"/>
                    </a:cubicBezTo>
                    <a:lnTo>
                      <a:pt x="868220" y="1135721"/>
                    </a:lnTo>
                    <a:cubicBezTo>
                      <a:pt x="912284" y="1135721"/>
                      <a:pt x="965685" y="1104695"/>
                      <a:pt x="987509" y="1066411"/>
                    </a:cubicBezTo>
                    <a:lnTo>
                      <a:pt x="1232202" y="637173"/>
                    </a:lnTo>
                    <a:cubicBezTo>
                      <a:pt x="1254026" y="598892"/>
                      <a:pt x="1254026" y="536831"/>
                      <a:pt x="1232202" y="498550"/>
                    </a:cubicBezTo>
                    <a:lnTo>
                      <a:pt x="987509" y="69311"/>
                    </a:lnTo>
                    <a:close/>
                  </a:path>
                </a:pathLst>
              </a:custGeom>
              <a:solidFill>
                <a:schemeClr val="bg1"/>
              </a:solidFill>
              <a:ln w="381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pic>
          <p:nvPicPr>
            <p:cNvPr id="503" name="Grafik 502">
              <a:extLst>
                <a:ext uri="{FF2B5EF4-FFF2-40B4-BE49-F238E27FC236}">
                  <a16:creationId xmlns:a16="http://schemas.microsoft.com/office/drawing/2014/main" id="{D5C4EDAD-BCE2-437C-9E63-C69392F2EE03}"/>
                </a:ext>
              </a:extLst>
            </p:cNvPr>
            <p:cNvPicPr>
              <a:picLocks noChangeAspect="1"/>
            </p:cNvPicPr>
            <p:nvPr/>
          </p:nvPicPr>
          <p:blipFill>
            <a:blip r:embed="rId422">
              <a:extLst>
                <a:ext uri="{96DAC541-7B7A-43D3-8B79-37D633B846F1}">
                  <asvg:svgBlip xmlns:asvg="http://schemas.microsoft.com/office/drawing/2016/SVG/main" r:embed="rId423"/>
                </a:ext>
              </a:extLst>
            </a:blip>
            <a:stretch>
              <a:fillRect/>
            </a:stretch>
          </p:blipFill>
          <p:spPr>
            <a:xfrm>
              <a:off x="9804661" y="467696"/>
              <a:ext cx="267458" cy="298106"/>
            </a:xfrm>
            <a:prstGeom prst="rect">
              <a:avLst/>
            </a:prstGeom>
          </p:spPr>
        </p:pic>
        <p:pic>
          <p:nvPicPr>
            <p:cNvPr id="504" name="Grafik 503">
              <a:extLst>
                <a:ext uri="{FF2B5EF4-FFF2-40B4-BE49-F238E27FC236}">
                  <a16:creationId xmlns:a16="http://schemas.microsoft.com/office/drawing/2014/main" id="{426F0669-107F-4954-8577-6717CC61A694}"/>
                </a:ext>
              </a:extLst>
            </p:cNvPr>
            <p:cNvPicPr>
              <a:picLocks noChangeAspect="1"/>
            </p:cNvPicPr>
            <p:nvPr/>
          </p:nvPicPr>
          <p:blipFill>
            <a:blip r:embed="rId424">
              <a:extLst>
                <a:ext uri="{96DAC541-7B7A-43D3-8B79-37D633B846F1}">
                  <asvg:svgBlip xmlns:asvg="http://schemas.microsoft.com/office/drawing/2016/SVG/main" r:embed="rId425"/>
                </a:ext>
              </a:extLst>
            </a:blip>
            <a:stretch>
              <a:fillRect/>
            </a:stretch>
          </p:blipFill>
          <p:spPr>
            <a:xfrm>
              <a:off x="9377208" y="469802"/>
              <a:ext cx="244393" cy="298106"/>
            </a:xfrm>
            <a:prstGeom prst="rect">
              <a:avLst/>
            </a:prstGeom>
          </p:spPr>
        </p:pic>
        <p:sp>
          <p:nvSpPr>
            <p:cNvPr id="505" name="Rechteck 504">
              <a:extLst>
                <a:ext uri="{FF2B5EF4-FFF2-40B4-BE49-F238E27FC236}">
                  <a16:creationId xmlns:a16="http://schemas.microsoft.com/office/drawing/2014/main" id="{6A0381C5-D52D-4C11-82E3-2116319459C9}"/>
                </a:ext>
              </a:extLst>
            </p:cNvPr>
            <p:cNvSpPr/>
            <p:nvPr/>
          </p:nvSpPr>
          <p:spPr>
            <a:xfrm>
              <a:off x="8614854" y="847980"/>
              <a:ext cx="208390" cy="246221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62798B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5</a:t>
              </a:r>
              <a:endPara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62798B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6" name="Textfeld 505">
              <a:extLst>
                <a:ext uri="{FF2B5EF4-FFF2-40B4-BE49-F238E27FC236}">
                  <a16:creationId xmlns:a16="http://schemas.microsoft.com/office/drawing/2014/main" id="{760A8008-C7CE-4B14-914E-F23F60D12DD3}"/>
                </a:ext>
              </a:extLst>
            </p:cNvPr>
            <p:cNvSpPr txBox="1"/>
            <p:nvPr/>
          </p:nvSpPr>
          <p:spPr>
            <a:xfrm>
              <a:off x="8553387" y="1178021"/>
              <a:ext cx="276999" cy="1812328"/>
            </a:xfrm>
            <a:prstGeom prst="rect">
              <a:avLst/>
            </a:prstGeom>
            <a:noFill/>
          </p:spPr>
          <p:txBody>
            <a:bodyPr vert="vert270" wrap="square" lIns="0" tIns="0" rIns="0" bIns="0">
              <a:spAutoFit/>
            </a:bodyPr>
            <a:lstStyle/>
            <a:p>
              <a:pPr algn="r"/>
              <a:r>
                <a:rPr lang="cs-CZ" dirty="0">
                  <a:solidFill>
                    <a:schemeClr val="tx2"/>
                  </a:solidFill>
                  <a:cs typeface="Arial" panose="020B0604020202020204" pitchFamily="34" charset="0"/>
                </a:rPr>
                <a:t>výrobní závody</a:t>
              </a:r>
              <a:endParaRPr lang="cs-CZ" noProof="0" dirty="0"/>
            </a:p>
          </p:txBody>
        </p:sp>
        <p:sp>
          <p:nvSpPr>
            <p:cNvPr id="507" name="Rechteck 506">
              <a:extLst>
                <a:ext uri="{FF2B5EF4-FFF2-40B4-BE49-F238E27FC236}">
                  <a16:creationId xmlns:a16="http://schemas.microsoft.com/office/drawing/2014/main" id="{8D0993D0-5AD3-4F2E-87F5-3C933C7E6707}"/>
                </a:ext>
              </a:extLst>
            </p:cNvPr>
            <p:cNvSpPr/>
            <p:nvPr/>
          </p:nvSpPr>
          <p:spPr>
            <a:xfrm>
              <a:off x="9001894" y="847980"/>
              <a:ext cx="211562" cy="249969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62798B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49</a:t>
              </a:r>
              <a:endPara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62798B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8" name="Textfeld 507">
              <a:extLst>
                <a:ext uri="{FF2B5EF4-FFF2-40B4-BE49-F238E27FC236}">
                  <a16:creationId xmlns:a16="http://schemas.microsoft.com/office/drawing/2014/main" id="{2627A8CD-F3D9-4951-8973-A8B9E54F1FAC}"/>
                </a:ext>
              </a:extLst>
            </p:cNvPr>
            <p:cNvSpPr txBox="1"/>
            <p:nvPr/>
          </p:nvSpPr>
          <p:spPr>
            <a:xfrm>
              <a:off x="8942013" y="1178021"/>
              <a:ext cx="276999" cy="1992165"/>
            </a:xfrm>
            <a:prstGeom prst="rect">
              <a:avLst/>
            </a:prstGeom>
            <a:noFill/>
          </p:spPr>
          <p:txBody>
            <a:bodyPr vert="vert270" wrap="square" lIns="0" tIns="0" rIns="0" bIns="0">
              <a:spAutoFit/>
            </a:bodyPr>
            <a:lstStyle/>
            <a:p>
              <a:pPr algn="r"/>
              <a:r>
                <a:rPr lang="cs-CZ" dirty="0">
                  <a:solidFill>
                    <a:schemeClr val="tx2"/>
                  </a:solidFill>
                  <a:cs typeface="Arial" panose="020B0604020202020204" pitchFamily="34" charset="0"/>
                </a:rPr>
                <a:t>obchodní zastoupení</a:t>
              </a:r>
              <a:endParaRPr lang="cs-CZ" noProof="0" dirty="0"/>
            </a:p>
          </p:txBody>
        </p:sp>
        <p:sp>
          <p:nvSpPr>
            <p:cNvPr id="509" name="Rechteck 508">
              <a:extLst>
                <a:ext uri="{FF2B5EF4-FFF2-40B4-BE49-F238E27FC236}">
                  <a16:creationId xmlns:a16="http://schemas.microsoft.com/office/drawing/2014/main" id="{88B2D28D-BB92-4536-B5D0-7AF969550691}"/>
                </a:ext>
              </a:extLst>
            </p:cNvPr>
            <p:cNvSpPr/>
            <p:nvPr/>
          </p:nvSpPr>
          <p:spPr>
            <a:xfrm>
              <a:off x="9389671" y="847980"/>
              <a:ext cx="211562" cy="249969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62798B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40</a:t>
              </a:r>
              <a:endPara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62798B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10" name="Textfeld 509">
              <a:extLst>
                <a:ext uri="{FF2B5EF4-FFF2-40B4-BE49-F238E27FC236}">
                  <a16:creationId xmlns:a16="http://schemas.microsoft.com/office/drawing/2014/main" id="{28194838-2D7C-4DDB-9AB1-785FC6695638}"/>
                </a:ext>
              </a:extLst>
            </p:cNvPr>
            <p:cNvSpPr txBox="1"/>
            <p:nvPr/>
          </p:nvSpPr>
          <p:spPr>
            <a:xfrm>
              <a:off x="9329790" y="1178021"/>
              <a:ext cx="276999" cy="1695837"/>
            </a:xfrm>
            <a:prstGeom prst="rect">
              <a:avLst/>
            </a:prstGeom>
            <a:noFill/>
          </p:spPr>
          <p:txBody>
            <a:bodyPr vert="vert270" wrap="square" lIns="0" tIns="0" rIns="0" bIns="0">
              <a:spAutoFit/>
            </a:bodyPr>
            <a:lstStyle/>
            <a:p>
              <a:pPr algn="r"/>
              <a:r>
                <a:rPr lang="cs-CZ" sz="1800" noProof="0" dirty="0">
                  <a:solidFill>
                    <a:schemeClr val="tx2"/>
                  </a:solidFill>
                  <a:cs typeface="Arial" panose="020B0604020202020204" pitchFamily="34" charset="0"/>
                </a:rPr>
                <a:t>země</a:t>
              </a:r>
              <a:endParaRPr lang="cs-CZ" noProof="0" dirty="0"/>
            </a:p>
          </p:txBody>
        </p:sp>
        <p:sp>
          <p:nvSpPr>
            <p:cNvPr id="511" name="Rechteck 510">
              <a:extLst>
                <a:ext uri="{FF2B5EF4-FFF2-40B4-BE49-F238E27FC236}">
                  <a16:creationId xmlns:a16="http://schemas.microsoft.com/office/drawing/2014/main" id="{BF6C3CA0-D40D-4AD4-A9EA-D3AFF0B6874D}"/>
                </a:ext>
              </a:extLst>
            </p:cNvPr>
            <p:cNvSpPr/>
            <p:nvPr/>
          </p:nvSpPr>
          <p:spPr>
            <a:xfrm>
              <a:off x="9779533" y="847980"/>
              <a:ext cx="317343" cy="249969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62798B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30</a:t>
              </a:r>
              <a:endPara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62798B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12" name="Textfeld 511">
              <a:extLst>
                <a:ext uri="{FF2B5EF4-FFF2-40B4-BE49-F238E27FC236}">
                  <a16:creationId xmlns:a16="http://schemas.microsoft.com/office/drawing/2014/main" id="{D16AE08F-40DA-4AE7-B897-CC9BF2ED44E5}"/>
                </a:ext>
              </a:extLst>
            </p:cNvPr>
            <p:cNvSpPr txBox="1"/>
            <p:nvPr/>
          </p:nvSpPr>
          <p:spPr>
            <a:xfrm>
              <a:off x="9772544" y="1178021"/>
              <a:ext cx="276999" cy="1812328"/>
            </a:xfrm>
            <a:prstGeom prst="rect">
              <a:avLst/>
            </a:prstGeom>
            <a:noFill/>
          </p:spPr>
          <p:txBody>
            <a:bodyPr vert="vert270" wrap="square" lIns="0" tIns="0" rIns="0" bIns="0">
              <a:spAutoFit/>
            </a:bodyPr>
            <a:lstStyle/>
            <a:p>
              <a:pPr algn="r">
                <a:defRPr/>
              </a:pPr>
              <a:r>
                <a:rPr lang="cs-CZ" dirty="0">
                  <a:solidFill>
                    <a:schemeClr val="tx2"/>
                  </a:solidFill>
                  <a:cs typeface="Arial" panose="020B0604020202020204" pitchFamily="34" charset="0"/>
                </a:rPr>
                <a:t>národnosti</a:t>
              </a: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62798B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513" name="Gruppieren 512">
              <a:extLst>
                <a:ext uri="{FF2B5EF4-FFF2-40B4-BE49-F238E27FC236}">
                  <a16:creationId xmlns:a16="http://schemas.microsoft.com/office/drawing/2014/main" id="{745296B2-2F76-4DE3-A041-854FC63B37F1}"/>
                </a:ext>
              </a:extLst>
            </p:cNvPr>
            <p:cNvGrpSpPr/>
            <p:nvPr/>
          </p:nvGrpSpPr>
          <p:grpSpPr>
            <a:xfrm>
              <a:off x="8607246" y="540427"/>
              <a:ext cx="248564" cy="221697"/>
              <a:chOff x="8935305" y="113358"/>
              <a:chExt cx="255889" cy="228230"/>
            </a:xfrm>
          </p:grpSpPr>
          <p:sp>
            <p:nvSpPr>
              <p:cNvPr id="515" name="Freihandform: Form 514">
                <a:extLst>
                  <a:ext uri="{FF2B5EF4-FFF2-40B4-BE49-F238E27FC236}">
                    <a16:creationId xmlns:a16="http://schemas.microsoft.com/office/drawing/2014/main" id="{D2A1776A-A490-45FF-A311-E72E553311D2}"/>
                  </a:ext>
                </a:extLst>
              </p:cNvPr>
              <p:cNvSpPr/>
              <p:nvPr/>
            </p:nvSpPr>
            <p:spPr>
              <a:xfrm>
                <a:off x="8935305" y="113358"/>
                <a:ext cx="229416" cy="228230"/>
              </a:xfrm>
              <a:custGeom>
                <a:avLst/>
                <a:gdLst>
                  <a:gd name="connsiteX0" fmla="*/ 172402 w 229416"/>
                  <a:gd name="connsiteY0" fmla="*/ 140043 h 228230"/>
                  <a:gd name="connsiteX1" fmla="*/ 172402 w 229416"/>
                  <a:gd name="connsiteY1" fmla="*/ 105138 h 228230"/>
                  <a:gd name="connsiteX2" fmla="*/ 166851 w 229416"/>
                  <a:gd name="connsiteY2" fmla="*/ 108544 h 228230"/>
                  <a:gd name="connsiteX3" fmla="*/ 114741 w 229416"/>
                  <a:gd name="connsiteY3" fmla="*/ 140439 h 228230"/>
                  <a:gd name="connsiteX4" fmla="*/ 114741 w 229416"/>
                  <a:gd name="connsiteY4" fmla="*/ 105138 h 228230"/>
                  <a:gd name="connsiteX5" fmla="*/ 109191 w 229416"/>
                  <a:gd name="connsiteY5" fmla="*/ 108544 h 228230"/>
                  <a:gd name="connsiteX6" fmla="*/ 52796 w 229416"/>
                  <a:gd name="connsiteY6" fmla="*/ 143053 h 228230"/>
                  <a:gd name="connsiteX7" fmla="*/ 43622 w 229416"/>
                  <a:gd name="connsiteY7" fmla="*/ 3419 h 228230"/>
                  <a:gd name="connsiteX8" fmla="*/ 43397 w 229416"/>
                  <a:gd name="connsiteY8" fmla="*/ 0 h 228230"/>
                  <a:gd name="connsiteX9" fmla="*/ 10019 w 229416"/>
                  <a:gd name="connsiteY9" fmla="*/ 0 h 228230"/>
                  <a:gd name="connsiteX10" fmla="*/ 9781 w 229416"/>
                  <a:gd name="connsiteY10" fmla="*/ 3406 h 228230"/>
                  <a:gd name="connsiteX11" fmla="*/ 13 w 229416"/>
                  <a:gd name="connsiteY11" fmla="*/ 149376 h 228230"/>
                  <a:gd name="connsiteX12" fmla="*/ 0 w 229416"/>
                  <a:gd name="connsiteY12" fmla="*/ 149496 h 228230"/>
                  <a:gd name="connsiteX13" fmla="*/ 0 w 229416"/>
                  <a:gd name="connsiteY13" fmla="*/ 228230 h 228230"/>
                  <a:gd name="connsiteX14" fmla="*/ 229416 w 229416"/>
                  <a:gd name="connsiteY14" fmla="*/ 228230 h 228230"/>
                  <a:gd name="connsiteX15" fmla="*/ 229416 w 229416"/>
                  <a:gd name="connsiteY15" fmla="*/ 105138 h 228230"/>
                  <a:gd name="connsiteX16" fmla="*/ 223879 w 229416"/>
                  <a:gd name="connsiteY16" fmla="*/ 108544 h 228230"/>
                  <a:gd name="connsiteX17" fmla="*/ 172402 w 229416"/>
                  <a:gd name="connsiteY17" fmla="*/ 140043 h 228230"/>
                  <a:gd name="connsiteX18" fmla="*/ 66041 w 229416"/>
                  <a:gd name="connsiteY18" fmla="*/ 195827 h 228230"/>
                  <a:gd name="connsiteX19" fmla="*/ 12510 w 229416"/>
                  <a:gd name="connsiteY19" fmla="*/ 195827 h 228230"/>
                  <a:gd name="connsiteX20" fmla="*/ 12510 w 229416"/>
                  <a:gd name="connsiteY20" fmla="*/ 172885 h 228230"/>
                  <a:gd name="connsiteX21" fmla="*/ 66041 w 229416"/>
                  <a:gd name="connsiteY21" fmla="*/ 172885 h 228230"/>
                  <a:gd name="connsiteX22" fmla="*/ 66041 w 229416"/>
                  <a:gd name="connsiteY22" fmla="*/ 195827 h 228230"/>
                  <a:gd name="connsiteX23" fmla="*/ 141486 w 229416"/>
                  <a:gd name="connsiteY23" fmla="*/ 195827 h 228230"/>
                  <a:gd name="connsiteX24" fmla="*/ 87956 w 229416"/>
                  <a:gd name="connsiteY24" fmla="*/ 195827 h 228230"/>
                  <a:gd name="connsiteX25" fmla="*/ 87956 w 229416"/>
                  <a:gd name="connsiteY25" fmla="*/ 172885 h 228230"/>
                  <a:gd name="connsiteX26" fmla="*/ 141486 w 229416"/>
                  <a:gd name="connsiteY26" fmla="*/ 172885 h 228230"/>
                  <a:gd name="connsiteX27" fmla="*/ 141486 w 229416"/>
                  <a:gd name="connsiteY27" fmla="*/ 195827 h 228230"/>
                  <a:gd name="connsiteX28" fmla="*/ 216919 w 229416"/>
                  <a:gd name="connsiteY28" fmla="*/ 195827 h 228230"/>
                  <a:gd name="connsiteX29" fmla="*/ 163388 w 229416"/>
                  <a:gd name="connsiteY29" fmla="*/ 195827 h 228230"/>
                  <a:gd name="connsiteX30" fmla="*/ 163388 w 229416"/>
                  <a:gd name="connsiteY30" fmla="*/ 172885 h 228230"/>
                  <a:gd name="connsiteX31" fmla="*/ 216919 w 229416"/>
                  <a:gd name="connsiteY31" fmla="*/ 172885 h 228230"/>
                  <a:gd name="connsiteX32" fmla="*/ 216919 w 229416"/>
                  <a:gd name="connsiteY32" fmla="*/ 195827 h 2282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229416" h="228230">
                    <a:moveTo>
                      <a:pt x="172402" y="140043"/>
                    </a:moveTo>
                    <a:lnTo>
                      <a:pt x="172402" y="105138"/>
                    </a:lnTo>
                    <a:lnTo>
                      <a:pt x="166851" y="108544"/>
                    </a:lnTo>
                    <a:lnTo>
                      <a:pt x="114741" y="140439"/>
                    </a:lnTo>
                    <a:lnTo>
                      <a:pt x="114741" y="105138"/>
                    </a:lnTo>
                    <a:lnTo>
                      <a:pt x="109191" y="108544"/>
                    </a:lnTo>
                    <a:lnTo>
                      <a:pt x="52796" y="143053"/>
                    </a:lnTo>
                    <a:lnTo>
                      <a:pt x="43622" y="3419"/>
                    </a:lnTo>
                    <a:lnTo>
                      <a:pt x="43397" y="0"/>
                    </a:lnTo>
                    <a:lnTo>
                      <a:pt x="10019" y="0"/>
                    </a:lnTo>
                    <a:lnTo>
                      <a:pt x="9781" y="3406"/>
                    </a:lnTo>
                    <a:lnTo>
                      <a:pt x="13" y="149376"/>
                    </a:lnTo>
                    <a:lnTo>
                      <a:pt x="0" y="149496"/>
                    </a:lnTo>
                    <a:lnTo>
                      <a:pt x="0" y="228230"/>
                    </a:lnTo>
                    <a:lnTo>
                      <a:pt x="229416" y="228230"/>
                    </a:lnTo>
                    <a:lnTo>
                      <a:pt x="229416" y="105138"/>
                    </a:lnTo>
                    <a:lnTo>
                      <a:pt x="223879" y="108544"/>
                    </a:lnTo>
                    <a:lnTo>
                      <a:pt x="172402" y="140043"/>
                    </a:lnTo>
                    <a:close/>
                    <a:moveTo>
                      <a:pt x="66041" y="195827"/>
                    </a:moveTo>
                    <a:lnTo>
                      <a:pt x="12510" y="195827"/>
                    </a:lnTo>
                    <a:lnTo>
                      <a:pt x="12510" y="172885"/>
                    </a:lnTo>
                    <a:lnTo>
                      <a:pt x="66041" y="172885"/>
                    </a:lnTo>
                    <a:lnTo>
                      <a:pt x="66041" y="195827"/>
                    </a:lnTo>
                    <a:close/>
                    <a:moveTo>
                      <a:pt x="141486" y="195827"/>
                    </a:moveTo>
                    <a:lnTo>
                      <a:pt x="87956" y="195827"/>
                    </a:lnTo>
                    <a:lnTo>
                      <a:pt x="87956" y="172885"/>
                    </a:lnTo>
                    <a:lnTo>
                      <a:pt x="141486" y="172885"/>
                    </a:lnTo>
                    <a:lnTo>
                      <a:pt x="141486" y="195827"/>
                    </a:lnTo>
                    <a:close/>
                    <a:moveTo>
                      <a:pt x="216919" y="195827"/>
                    </a:moveTo>
                    <a:lnTo>
                      <a:pt x="163388" y="195827"/>
                    </a:lnTo>
                    <a:lnTo>
                      <a:pt x="163388" y="172885"/>
                    </a:lnTo>
                    <a:lnTo>
                      <a:pt x="216919" y="172885"/>
                    </a:lnTo>
                    <a:lnTo>
                      <a:pt x="216919" y="195827"/>
                    </a:lnTo>
                    <a:close/>
                  </a:path>
                </a:pathLst>
              </a:custGeom>
              <a:solidFill>
                <a:schemeClr val="tx2"/>
              </a:solidFill>
              <a:ln w="35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16" name="Freihandform: Form 515">
                <a:extLst>
                  <a:ext uri="{FF2B5EF4-FFF2-40B4-BE49-F238E27FC236}">
                    <a16:creationId xmlns:a16="http://schemas.microsoft.com/office/drawing/2014/main" id="{5B2966D2-7182-4095-AC54-1CA214E93B55}"/>
                  </a:ext>
                </a:extLst>
              </p:cNvPr>
              <p:cNvSpPr/>
              <p:nvPr/>
            </p:nvSpPr>
            <p:spPr>
              <a:xfrm>
                <a:off x="9018844" y="204503"/>
                <a:ext cx="75776" cy="75102"/>
              </a:xfrm>
              <a:custGeom>
                <a:avLst/>
                <a:gdLst>
                  <a:gd name="connsiteX0" fmla="*/ 5019 w 75776"/>
                  <a:gd name="connsiteY0" fmla="*/ 36482 h 75102"/>
                  <a:gd name="connsiteX1" fmla="*/ 0 w 75776"/>
                  <a:gd name="connsiteY1" fmla="*/ 39780 h 75102"/>
                  <a:gd name="connsiteX2" fmla="*/ 644 w 75776"/>
                  <a:gd name="connsiteY2" fmla="*/ 44738 h 75102"/>
                  <a:gd name="connsiteX3" fmla="*/ 6388 w 75776"/>
                  <a:gd name="connsiteY3" fmla="*/ 46664 h 75102"/>
                  <a:gd name="connsiteX4" fmla="*/ 7849 w 75776"/>
                  <a:gd name="connsiteY4" fmla="*/ 50703 h 75102"/>
                  <a:gd name="connsiteX5" fmla="*/ 4741 w 75776"/>
                  <a:gd name="connsiteY5" fmla="*/ 55803 h 75102"/>
                  <a:gd name="connsiteX6" fmla="*/ 7491 w 75776"/>
                  <a:gd name="connsiteY6" fmla="*/ 60000 h 75102"/>
                  <a:gd name="connsiteX7" fmla="*/ 13481 w 75776"/>
                  <a:gd name="connsiteY7" fmla="*/ 59319 h 75102"/>
                  <a:gd name="connsiteX8" fmla="*/ 13482 w 75776"/>
                  <a:gd name="connsiteY8" fmla="*/ 59319 h 75102"/>
                  <a:gd name="connsiteX9" fmla="*/ 16599 w 75776"/>
                  <a:gd name="connsiteY9" fmla="*/ 62313 h 75102"/>
                  <a:gd name="connsiteX10" fmla="*/ 16599 w 75776"/>
                  <a:gd name="connsiteY10" fmla="*/ 62313 h 75102"/>
                  <a:gd name="connsiteX11" fmla="*/ 16081 w 75776"/>
                  <a:gd name="connsiteY11" fmla="*/ 68257 h 75102"/>
                  <a:gd name="connsiteX12" fmla="*/ 20398 w 75776"/>
                  <a:gd name="connsiteY12" fmla="*/ 70859 h 75102"/>
                  <a:gd name="connsiteX13" fmla="*/ 25453 w 75776"/>
                  <a:gd name="connsiteY13" fmla="*/ 67644 h 75102"/>
                  <a:gd name="connsiteX14" fmla="*/ 29591 w 75776"/>
                  <a:gd name="connsiteY14" fmla="*/ 69014 h 75102"/>
                  <a:gd name="connsiteX15" fmla="*/ 31686 w 75776"/>
                  <a:gd name="connsiteY15" fmla="*/ 74607 h 75102"/>
                  <a:gd name="connsiteX16" fmla="*/ 36712 w 75776"/>
                  <a:gd name="connsiteY16" fmla="*/ 75103 h 75102"/>
                  <a:gd name="connsiteX17" fmla="*/ 39899 w 75776"/>
                  <a:gd name="connsiteY17" fmla="*/ 70043 h 75102"/>
                  <a:gd name="connsiteX18" fmla="*/ 39901 w 75776"/>
                  <a:gd name="connsiteY18" fmla="*/ 70037 h 75102"/>
                  <a:gd name="connsiteX19" fmla="*/ 41940 w 75776"/>
                  <a:gd name="connsiteY19" fmla="*/ 69893 h 75102"/>
                  <a:gd name="connsiteX20" fmla="*/ 44197 w 75776"/>
                  <a:gd name="connsiteY20" fmla="*/ 69504 h 75102"/>
                  <a:gd name="connsiteX21" fmla="*/ 44203 w 75776"/>
                  <a:gd name="connsiteY21" fmla="*/ 69502 h 75102"/>
                  <a:gd name="connsiteX22" fmla="*/ 48577 w 75776"/>
                  <a:gd name="connsiteY22" fmla="*/ 73619 h 75102"/>
                  <a:gd name="connsiteX23" fmla="*/ 53316 w 75776"/>
                  <a:gd name="connsiteY23" fmla="*/ 71907 h 75102"/>
                  <a:gd name="connsiteX24" fmla="*/ 53922 w 75776"/>
                  <a:gd name="connsiteY24" fmla="*/ 65979 h 75102"/>
                  <a:gd name="connsiteX25" fmla="*/ 57583 w 75776"/>
                  <a:gd name="connsiteY25" fmla="*/ 63612 h 75102"/>
                  <a:gd name="connsiteX26" fmla="*/ 63327 w 75776"/>
                  <a:gd name="connsiteY26" fmla="*/ 65488 h 75102"/>
                  <a:gd name="connsiteX27" fmla="*/ 66841 w 75776"/>
                  <a:gd name="connsiteY27" fmla="*/ 61907 h 75102"/>
                  <a:gd name="connsiteX28" fmla="*/ 64821 w 75776"/>
                  <a:gd name="connsiteY28" fmla="*/ 56279 h 75102"/>
                  <a:gd name="connsiteX29" fmla="*/ 64826 w 75776"/>
                  <a:gd name="connsiteY29" fmla="*/ 56275 h 75102"/>
                  <a:gd name="connsiteX30" fmla="*/ 67049 w 75776"/>
                  <a:gd name="connsiteY30" fmla="*/ 52639 h 75102"/>
                  <a:gd name="connsiteX31" fmla="*/ 67051 w 75776"/>
                  <a:gd name="connsiteY31" fmla="*/ 52639 h 75102"/>
                  <a:gd name="connsiteX32" fmla="*/ 73023 w 75776"/>
                  <a:gd name="connsiteY32" fmla="*/ 51828 h 75102"/>
                  <a:gd name="connsiteX33" fmla="*/ 74619 w 75776"/>
                  <a:gd name="connsiteY33" fmla="*/ 47090 h 75102"/>
                  <a:gd name="connsiteX34" fmla="*/ 70285 w 75776"/>
                  <a:gd name="connsiteY34" fmla="*/ 42887 h 75102"/>
                  <a:gd name="connsiteX35" fmla="*/ 70675 w 75776"/>
                  <a:gd name="connsiteY35" fmla="*/ 38630 h 75102"/>
                  <a:gd name="connsiteX36" fmla="*/ 70680 w 75776"/>
                  <a:gd name="connsiteY36" fmla="*/ 38630 h 75102"/>
                  <a:gd name="connsiteX37" fmla="*/ 75776 w 75776"/>
                  <a:gd name="connsiteY37" fmla="*/ 35332 h 75102"/>
                  <a:gd name="connsiteX38" fmla="*/ 75133 w 75776"/>
                  <a:gd name="connsiteY38" fmla="*/ 30374 h 75102"/>
                  <a:gd name="connsiteX39" fmla="*/ 69432 w 75776"/>
                  <a:gd name="connsiteY39" fmla="*/ 28418 h 75102"/>
                  <a:gd name="connsiteX40" fmla="*/ 69432 w 75776"/>
                  <a:gd name="connsiteY40" fmla="*/ 28419 h 75102"/>
                  <a:gd name="connsiteX41" fmla="*/ 67945 w 75776"/>
                  <a:gd name="connsiteY41" fmla="*/ 24416 h 75102"/>
                  <a:gd name="connsiteX42" fmla="*/ 71019 w 75776"/>
                  <a:gd name="connsiteY42" fmla="*/ 19289 h 75102"/>
                  <a:gd name="connsiteX43" fmla="*/ 68268 w 75776"/>
                  <a:gd name="connsiteY43" fmla="*/ 15093 h 75102"/>
                  <a:gd name="connsiteX44" fmla="*/ 62219 w 75776"/>
                  <a:gd name="connsiteY44" fmla="*/ 15823 h 75102"/>
                  <a:gd name="connsiteX45" fmla="*/ 62221 w 75776"/>
                  <a:gd name="connsiteY45" fmla="*/ 15820 h 75102"/>
                  <a:gd name="connsiteX46" fmla="*/ 59135 w 75776"/>
                  <a:gd name="connsiteY46" fmla="*/ 12851 h 75102"/>
                  <a:gd name="connsiteX47" fmla="*/ 59137 w 75776"/>
                  <a:gd name="connsiteY47" fmla="*/ 12851 h 75102"/>
                  <a:gd name="connsiteX48" fmla="*/ 59702 w 75776"/>
                  <a:gd name="connsiteY48" fmla="*/ 6845 h 75102"/>
                  <a:gd name="connsiteX49" fmla="*/ 55386 w 75776"/>
                  <a:gd name="connsiteY49" fmla="*/ 4244 h 75102"/>
                  <a:gd name="connsiteX50" fmla="*/ 50295 w 75776"/>
                  <a:gd name="connsiteY50" fmla="*/ 7432 h 75102"/>
                  <a:gd name="connsiteX51" fmla="*/ 50294 w 75776"/>
                  <a:gd name="connsiteY51" fmla="*/ 7429 h 75102"/>
                  <a:gd name="connsiteX52" fmla="*/ 46209 w 75776"/>
                  <a:gd name="connsiteY52" fmla="*/ 6082 h 75102"/>
                  <a:gd name="connsiteX53" fmla="*/ 46209 w 75776"/>
                  <a:gd name="connsiteY53" fmla="*/ 6081 h 75102"/>
                  <a:gd name="connsiteX54" fmla="*/ 44072 w 75776"/>
                  <a:gd name="connsiteY54" fmla="*/ 496 h 75102"/>
                  <a:gd name="connsiteX55" fmla="*/ 39046 w 75776"/>
                  <a:gd name="connsiteY55" fmla="*/ 0 h 75102"/>
                  <a:gd name="connsiteX56" fmla="*/ 35860 w 75776"/>
                  <a:gd name="connsiteY56" fmla="*/ 5137 h 75102"/>
                  <a:gd name="connsiteX57" fmla="*/ 35861 w 75776"/>
                  <a:gd name="connsiteY57" fmla="*/ 5139 h 75102"/>
                  <a:gd name="connsiteX58" fmla="*/ 33815 w 75776"/>
                  <a:gd name="connsiteY58" fmla="*/ 5283 h 75102"/>
                  <a:gd name="connsiteX59" fmla="*/ 31604 w 75776"/>
                  <a:gd name="connsiteY59" fmla="*/ 5665 h 75102"/>
                  <a:gd name="connsiteX60" fmla="*/ 31597 w 75776"/>
                  <a:gd name="connsiteY60" fmla="*/ 5665 h 75102"/>
                  <a:gd name="connsiteX61" fmla="*/ 27205 w 75776"/>
                  <a:gd name="connsiteY61" fmla="*/ 1472 h 75102"/>
                  <a:gd name="connsiteX62" fmla="*/ 22465 w 75776"/>
                  <a:gd name="connsiteY62" fmla="*/ 3185 h 75102"/>
                  <a:gd name="connsiteX63" fmla="*/ 21816 w 75776"/>
                  <a:gd name="connsiteY63" fmla="*/ 9118 h 75102"/>
                  <a:gd name="connsiteX64" fmla="*/ 21814 w 75776"/>
                  <a:gd name="connsiteY64" fmla="*/ 9120 h 75102"/>
                  <a:gd name="connsiteX65" fmla="*/ 18193 w 75776"/>
                  <a:gd name="connsiteY65" fmla="*/ 11450 h 75102"/>
                  <a:gd name="connsiteX66" fmla="*/ 18181 w 75776"/>
                  <a:gd name="connsiteY66" fmla="*/ 11455 h 75102"/>
                  <a:gd name="connsiteX67" fmla="*/ 12438 w 75776"/>
                  <a:gd name="connsiteY67" fmla="*/ 9623 h 75102"/>
                  <a:gd name="connsiteX68" fmla="*/ 8924 w 75776"/>
                  <a:gd name="connsiteY68" fmla="*/ 13205 h 75102"/>
                  <a:gd name="connsiteX69" fmla="*/ 11006 w 75776"/>
                  <a:gd name="connsiteY69" fmla="*/ 18880 h 75102"/>
                  <a:gd name="connsiteX70" fmla="*/ 11010 w 75776"/>
                  <a:gd name="connsiteY70" fmla="*/ 18883 h 75102"/>
                  <a:gd name="connsiteX71" fmla="*/ 8767 w 75776"/>
                  <a:gd name="connsiteY71" fmla="*/ 22484 h 75102"/>
                  <a:gd name="connsiteX72" fmla="*/ 2747 w 75776"/>
                  <a:gd name="connsiteY72" fmla="*/ 23258 h 75102"/>
                  <a:gd name="connsiteX73" fmla="*/ 1152 w 75776"/>
                  <a:gd name="connsiteY73" fmla="*/ 27997 h 75102"/>
                  <a:gd name="connsiteX74" fmla="*/ 5434 w 75776"/>
                  <a:gd name="connsiteY74" fmla="*/ 32208 h 75102"/>
                  <a:gd name="connsiteX75" fmla="*/ 5416 w 75776"/>
                  <a:gd name="connsiteY75" fmla="*/ 32220 h 75102"/>
                  <a:gd name="connsiteX76" fmla="*/ 5019 w 75776"/>
                  <a:gd name="connsiteY76" fmla="*/ 36482 h 75102"/>
                  <a:gd name="connsiteX77" fmla="*/ 38610 w 75776"/>
                  <a:gd name="connsiteY77" fmla="*/ 30113 h 75102"/>
                  <a:gd name="connsiteX78" fmla="*/ 45335 w 75776"/>
                  <a:gd name="connsiteY78" fmla="*/ 38310 h 75102"/>
                  <a:gd name="connsiteX79" fmla="*/ 37138 w 75776"/>
                  <a:gd name="connsiteY79" fmla="*/ 45034 h 75102"/>
                  <a:gd name="connsiteX80" fmla="*/ 30413 w 75776"/>
                  <a:gd name="connsiteY80" fmla="*/ 36838 h 75102"/>
                  <a:gd name="connsiteX81" fmla="*/ 38610 w 75776"/>
                  <a:gd name="connsiteY81" fmla="*/ 30113 h 75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</a:cxnLst>
                <a:rect l="l" t="t" r="r" b="b"/>
                <a:pathLst>
                  <a:path w="75776" h="75102">
                    <a:moveTo>
                      <a:pt x="5019" y="36482"/>
                    </a:moveTo>
                    <a:lnTo>
                      <a:pt x="0" y="39780"/>
                    </a:lnTo>
                    <a:lnTo>
                      <a:pt x="644" y="44738"/>
                    </a:lnTo>
                    <a:lnTo>
                      <a:pt x="6388" y="46664"/>
                    </a:lnTo>
                    <a:cubicBezTo>
                      <a:pt x="6797" y="48050"/>
                      <a:pt x="7269" y="49406"/>
                      <a:pt x="7849" y="50703"/>
                    </a:cubicBezTo>
                    <a:lnTo>
                      <a:pt x="4741" y="55803"/>
                    </a:lnTo>
                    <a:lnTo>
                      <a:pt x="7491" y="60000"/>
                    </a:lnTo>
                    <a:lnTo>
                      <a:pt x="13481" y="59319"/>
                    </a:lnTo>
                    <a:lnTo>
                      <a:pt x="13482" y="59319"/>
                    </a:lnTo>
                    <a:cubicBezTo>
                      <a:pt x="14453" y="60384"/>
                      <a:pt x="15498" y="61385"/>
                      <a:pt x="16599" y="62313"/>
                    </a:cubicBezTo>
                    <a:lnTo>
                      <a:pt x="16599" y="62313"/>
                    </a:lnTo>
                    <a:lnTo>
                      <a:pt x="16081" y="68257"/>
                    </a:lnTo>
                    <a:lnTo>
                      <a:pt x="20398" y="70859"/>
                    </a:lnTo>
                    <a:lnTo>
                      <a:pt x="25453" y="67644"/>
                    </a:lnTo>
                    <a:cubicBezTo>
                      <a:pt x="26793" y="68190"/>
                      <a:pt x="28175" y="68645"/>
                      <a:pt x="29591" y="69014"/>
                    </a:cubicBezTo>
                    <a:lnTo>
                      <a:pt x="31686" y="74607"/>
                    </a:lnTo>
                    <a:lnTo>
                      <a:pt x="36712" y="75103"/>
                    </a:lnTo>
                    <a:lnTo>
                      <a:pt x="39899" y="70043"/>
                    </a:lnTo>
                    <a:lnTo>
                      <a:pt x="39901" y="70037"/>
                    </a:lnTo>
                    <a:cubicBezTo>
                      <a:pt x="40580" y="69997"/>
                      <a:pt x="41256" y="69976"/>
                      <a:pt x="41940" y="69893"/>
                    </a:cubicBezTo>
                    <a:cubicBezTo>
                      <a:pt x="42706" y="69800"/>
                      <a:pt x="43450" y="69647"/>
                      <a:pt x="44197" y="69504"/>
                    </a:cubicBezTo>
                    <a:lnTo>
                      <a:pt x="44203" y="69502"/>
                    </a:lnTo>
                    <a:lnTo>
                      <a:pt x="48577" y="73619"/>
                    </a:lnTo>
                    <a:lnTo>
                      <a:pt x="53316" y="71907"/>
                    </a:lnTo>
                    <a:lnTo>
                      <a:pt x="53922" y="65979"/>
                    </a:lnTo>
                    <a:cubicBezTo>
                      <a:pt x="55203" y="65271"/>
                      <a:pt x="56420" y="64475"/>
                      <a:pt x="57583" y="63612"/>
                    </a:cubicBezTo>
                    <a:lnTo>
                      <a:pt x="63327" y="65488"/>
                    </a:lnTo>
                    <a:lnTo>
                      <a:pt x="66841" y="61907"/>
                    </a:lnTo>
                    <a:lnTo>
                      <a:pt x="64821" y="56279"/>
                    </a:lnTo>
                    <a:lnTo>
                      <a:pt x="64826" y="56275"/>
                    </a:lnTo>
                    <a:cubicBezTo>
                      <a:pt x="65646" y="55115"/>
                      <a:pt x="66386" y="53898"/>
                      <a:pt x="67049" y="52639"/>
                    </a:cubicBezTo>
                    <a:lnTo>
                      <a:pt x="67051" y="52639"/>
                    </a:lnTo>
                    <a:lnTo>
                      <a:pt x="73023" y="51828"/>
                    </a:lnTo>
                    <a:lnTo>
                      <a:pt x="74619" y="47090"/>
                    </a:lnTo>
                    <a:lnTo>
                      <a:pt x="70285" y="42887"/>
                    </a:lnTo>
                    <a:cubicBezTo>
                      <a:pt x="70514" y="41493"/>
                      <a:pt x="70633" y="40070"/>
                      <a:pt x="70675" y="38630"/>
                    </a:cubicBezTo>
                    <a:lnTo>
                      <a:pt x="70680" y="38630"/>
                    </a:lnTo>
                    <a:lnTo>
                      <a:pt x="75776" y="35332"/>
                    </a:lnTo>
                    <a:lnTo>
                      <a:pt x="75133" y="30374"/>
                    </a:lnTo>
                    <a:lnTo>
                      <a:pt x="69432" y="28418"/>
                    </a:lnTo>
                    <a:lnTo>
                      <a:pt x="69432" y="28419"/>
                    </a:lnTo>
                    <a:cubicBezTo>
                      <a:pt x="69024" y="27047"/>
                      <a:pt x="68520" y="25700"/>
                      <a:pt x="67945" y="24416"/>
                    </a:cubicBezTo>
                    <a:lnTo>
                      <a:pt x="71019" y="19289"/>
                    </a:lnTo>
                    <a:lnTo>
                      <a:pt x="68268" y="15093"/>
                    </a:lnTo>
                    <a:lnTo>
                      <a:pt x="62219" y="15823"/>
                    </a:lnTo>
                    <a:lnTo>
                      <a:pt x="62221" y="15820"/>
                    </a:lnTo>
                    <a:cubicBezTo>
                      <a:pt x="61256" y="14766"/>
                      <a:pt x="60226" y="13771"/>
                      <a:pt x="59135" y="12851"/>
                    </a:cubicBezTo>
                    <a:lnTo>
                      <a:pt x="59137" y="12851"/>
                    </a:lnTo>
                    <a:lnTo>
                      <a:pt x="59702" y="6845"/>
                    </a:lnTo>
                    <a:lnTo>
                      <a:pt x="55386" y="4244"/>
                    </a:lnTo>
                    <a:lnTo>
                      <a:pt x="50295" y="7432"/>
                    </a:lnTo>
                    <a:lnTo>
                      <a:pt x="50294" y="7429"/>
                    </a:lnTo>
                    <a:cubicBezTo>
                      <a:pt x="48975" y="6894"/>
                      <a:pt x="47600" y="6446"/>
                      <a:pt x="46209" y="6082"/>
                    </a:cubicBezTo>
                    <a:lnTo>
                      <a:pt x="46209" y="6081"/>
                    </a:lnTo>
                    <a:lnTo>
                      <a:pt x="44072" y="496"/>
                    </a:lnTo>
                    <a:lnTo>
                      <a:pt x="39046" y="0"/>
                    </a:lnTo>
                    <a:lnTo>
                      <a:pt x="35860" y="5137"/>
                    </a:lnTo>
                    <a:lnTo>
                      <a:pt x="35861" y="5139"/>
                    </a:lnTo>
                    <a:cubicBezTo>
                      <a:pt x="35180" y="5179"/>
                      <a:pt x="34501" y="5201"/>
                      <a:pt x="33815" y="5283"/>
                    </a:cubicBezTo>
                    <a:cubicBezTo>
                      <a:pt x="33063" y="5375"/>
                      <a:pt x="32336" y="5526"/>
                      <a:pt x="31604" y="5665"/>
                    </a:cubicBezTo>
                    <a:lnTo>
                      <a:pt x="31597" y="5665"/>
                    </a:lnTo>
                    <a:lnTo>
                      <a:pt x="27205" y="1472"/>
                    </a:lnTo>
                    <a:lnTo>
                      <a:pt x="22465" y="3185"/>
                    </a:lnTo>
                    <a:lnTo>
                      <a:pt x="21816" y="9118"/>
                    </a:lnTo>
                    <a:lnTo>
                      <a:pt x="21814" y="9120"/>
                    </a:lnTo>
                    <a:cubicBezTo>
                      <a:pt x="20548" y="9819"/>
                      <a:pt x="19344" y="10600"/>
                      <a:pt x="18193" y="11450"/>
                    </a:cubicBezTo>
                    <a:lnTo>
                      <a:pt x="18181" y="11455"/>
                    </a:lnTo>
                    <a:lnTo>
                      <a:pt x="12438" y="9623"/>
                    </a:lnTo>
                    <a:lnTo>
                      <a:pt x="8924" y="13205"/>
                    </a:lnTo>
                    <a:lnTo>
                      <a:pt x="11006" y="18880"/>
                    </a:lnTo>
                    <a:lnTo>
                      <a:pt x="11010" y="18883"/>
                    </a:lnTo>
                    <a:cubicBezTo>
                      <a:pt x="10190" y="20037"/>
                      <a:pt x="9430" y="21231"/>
                      <a:pt x="8767" y="22484"/>
                    </a:cubicBezTo>
                    <a:lnTo>
                      <a:pt x="2747" y="23258"/>
                    </a:lnTo>
                    <a:lnTo>
                      <a:pt x="1152" y="27997"/>
                    </a:lnTo>
                    <a:lnTo>
                      <a:pt x="5434" y="32208"/>
                    </a:lnTo>
                    <a:lnTo>
                      <a:pt x="5416" y="32220"/>
                    </a:lnTo>
                    <a:cubicBezTo>
                      <a:pt x="5183" y="33615"/>
                      <a:pt x="5064" y="35040"/>
                      <a:pt x="5019" y="36482"/>
                    </a:cubicBezTo>
                    <a:close/>
                    <a:moveTo>
                      <a:pt x="38610" y="30113"/>
                    </a:moveTo>
                    <a:cubicBezTo>
                      <a:pt x="42731" y="30519"/>
                      <a:pt x="45742" y="34189"/>
                      <a:pt x="45335" y="38310"/>
                    </a:cubicBezTo>
                    <a:cubicBezTo>
                      <a:pt x="44928" y="42430"/>
                      <a:pt x="41258" y="45441"/>
                      <a:pt x="37138" y="45034"/>
                    </a:cubicBezTo>
                    <a:cubicBezTo>
                      <a:pt x="33017" y="44628"/>
                      <a:pt x="30007" y="40958"/>
                      <a:pt x="30413" y="36838"/>
                    </a:cubicBezTo>
                    <a:cubicBezTo>
                      <a:pt x="30820" y="32717"/>
                      <a:pt x="34490" y="29706"/>
                      <a:pt x="38610" y="30113"/>
                    </a:cubicBezTo>
                    <a:close/>
                  </a:path>
                </a:pathLst>
              </a:custGeom>
              <a:solidFill>
                <a:schemeClr val="tx2"/>
              </a:solidFill>
              <a:ln w="35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17" name="Freihandform: Form 516">
                <a:extLst>
                  <a:ext uri="{FF2B5EF4-FFF2-40B4-BE49-F238E27FC236}">
                    <a16:creationId xmlns:a16="http://schemas.microsoft.com/office/drawing/2014/main" id="{026C7706-9303-40E6-99C8-E87F7D4A0C0C}"/>
                  </a:ext>
                </a:extLst>
              </p:cNvPr>
              <p:cNvSpPr/>
              <p:nvPr/>
            </p:nvSpPr>
            <p:spPr>
              <a:xfrm>
                <a:off x="9089101" y="140286"/>
                <a:ext cx="102093" cy="100739"/>
              </a:xfrm>
              <a:custGeom>
                <a:avLst/>
                <a:gdLst>
                  <a:gd name="connsiteX0" fmla="*/ 117585 w 127078"/>
                  <a:gd name="connsiteY0" fmla="*/ 73408 h 125392"/>
                  <a:gd name="connsiteX1" fmla="*/ 126784 w 127078"/>
                  <a:gd name="connsiteY1" fmla="*/ 69308 h 125392"/>
                  <a:gd name="connsiteX2" fmla="*/ 127078 w 127078"/>
                  <a:gd name="connsiteY2" fmla="*/ 60916 h 125392"/>
                  <a:gd name="connsiteX3" fmla="*/ 118109 w 127078"/>
                  <a:gd name="connsiteY3" fmla="*/ 56160 h 125392"/>
                  <a:gd name="connsiteX4" fmla="*/ 116800 w 127078"/>
                  <a:gd name="connsiteY4" fmla="*/ 49069 h 125392"/>
                  <a:gd name="connsiteX5" fmla="*/ 123334 w 127078"/>
                  <a:gd name="connsiteY5" fmla="*/ 41461 h 125392"/>
                  <a:gd name="connsiteX6" fmla="*/ 119936 w 127078"/>
                  <a:gd name="connsiteY6" fmla="*/ 33757 h 125392"/>
                  <a:gd name="connsiteX7" fmla="*/ 109848 w 127078"/>
                  <a:gd name="connsiteY7" fmla="*/ 33255 h 125392"/>
                  <a:gd name="connsiteX8" fmla="*/ 109846 w 127078"/>
                  <a:gd name="connsiteY8" fmla="*/ 33255 h 125392"/>
                  <a:gd name="connsiteX9" fmla="*/ 105512 w 127078"/>
                  <a:gd name="connsiteY9" fmla="*/ 27444 h 125392"/>
                  <a:gd name="connsiteX10" fmla="*/ 105513 w 127078"/>
                  <a:gd name="connsiteY10" fmla="*/ 27445 h 125392"/>
                  <a:gd name="connsiteX11" fmla="*/ 107996 w 127078"/>
                  <a:gd name="connsiteY11" fmla="*/ 17732 h 125392"/>
                  <a:gd name="connsiteX12" fmla="*/ 101572 w 127078"/>
                  <a:gd name="connsiteY12" fmla="*/ 12245 h 125392"/>
                  <a:gd name="connsiteX13" fmla="*/ 92335 w 127078"/>
                  <a:gd name="connsiteY13" fmla="*/ 16198 h 125392"/>
                  <a:gd name="connsiteX14" fmla="*/ 85869 w 127078"/>
                  <a:gd name="connsiteY14" fmla="*/ 12801 h 125392"/>
                  <a:gd name="connsiteX15" fmla="*/ 83937 w 127078"/>
                  <a:gd name="connsiteY15" fmla="*/ 2961 h 125392"/>
                  <a:gd name="connsiteX16" fmla="*/ 75764 w 127078"/>
                  <a:gd name="connsiteY16" fmla="*/ 771 h 125392"/>
                  <a:gd name="connsiteX17" fmla="*/ 69110 w 127078"/>
                  <a:gd name="connsiteY17" fmla="*/ 8289 h 125392"/>
                  <a:gd name="connsiteX18" fmla="*/ 69106 w 127078"/>
                  <a:gd name="connsiteY18" fmla="*/ 8299 h 125392"/>
                  <a:gd name="connsiteX19" fmla="*/ 65694 w 127078"/>
                  <a:gd name="connsiteY19" fmla="*/ 7983 h 125392"/>
                  <a:gd name="connsiteX20" fmla="*/ 61857 w 127078"/>
                  <a:gd name="connsiteY20" fmla="*/ 8013 h 125392"/>
                  <a:gd name="connsiteX21" fmla="*/ 61847 w 127078"/>
                  <a:gd name="connsiteY21" fmla="*/ 8014 h 125392"/>
                  <a:gd name="connsiteX22" fmla="*/ 55743 w 127078"/>
                  <a:gd name="connsiteY22" fmla="*/ 0 h 125392"/>
                  <a:gd name="connsiteX23" fmla="*/ 47439 w 127078"/>
                  <a:gd name="connsiteY23" fmla="*/ 1549 h 125392"/>
                  <a:gd name="connsiteX24" fmla="*/ 44814 w 127078"/>
                  <a:gd name="connsiteY24" fmla="*/ 11208 h 125392"/>
                  <a:gd name="connsiteX25" fmla="*/ 38114 w 127078"/>
                  <a:gd name="connsiteY25" fmla="*/ 14134 h 125392"/>
                  <a:gd name="connsiteX26" fmla="*/ 29132 w 127078"/>
                  <a:gd name="connsiteY26" fmla="*/ 9460 h 125392"/>
                  <a:gd name="connsiteX27" fmla="*/ 22342 w 127078"/>
                  <a:gd name="connsiteY27" fmla="*/ 14440 h 125392"/>
                  <a:gd name="connsiteX28" fmla="*/ 24140 w 127078"/>
                  <a:gd name="connsiteY28" fmla="*/ 24317 h 125392"/>
                  <a:gd name="connsiteX29" fmla="*/ 24132 w 127078"/>
                  <a:gd name="connsiteY29" fmla="*/ 24323 h 125392"/>
                  <a:gd name="connsiteX30" fmla="*/ 19460 w 127078"/>
                  <a:gd name="connsiteY30" fmla="*/ 29744 h 125392"/>
                  <a:gd name="connsiteX31" fmla="*/ 19457 w 127078"/>
                  <a:gd name="connsiteY31" fmla="*/ 29743 h 125392"/>
                  <a:gd name="connsiteX32" fmla="*/ 9362 w 127078"/>
                  <a:gd name="connsiteY32" fmla="*/ 29461 h 125392"/>
                  <a:gd name="connsiteX33" fmla="*/ 5427 w 127078"/>
                  <a:gd name="connsiteY33" fmla="*/ 36879 h 125392"/>
                  <a:gd name="connsiteX34" fmla="*/ 11441 w 127078"/>
                  <a:gd name="connsiteY34" fmla="*/ 45025 h 125392"/>
                  <a:gd name="connsiteX35" fmla="*/ 9630 w 127078"/>
                  <a:gd name="connsiteY35" fmla="*/ 51974 h 125392"/>
                  <a:gd name="connsiteX36" fmla="*/ 9623 w 127078"/>
                  <a:gd name="connsiteY36" fmla="*/ 51973 h 125392"/>
                  <a:gd name="connsiteX37" fmla="*/ 294 w 127078"/>
                  <a:gd name="connsiteY37" fmla="*/ 56052 h 125392"/>
                  <a:gd name="connsiteX38" fmla="*/ 0 w 127078"/>
                  <a:gd name="connsiteY38" fmla="*/ 64444 h 125392"/>
                  <a:gd name="connsiteX39" fmla="*/ 8889 w 127078"/>
                  <a:gd name="connsiteY39" fmla="*/ 69238 h 125392"/>
                  <a:gd name="connsiteX40" fmla="*/ 8889 w 127078"/>
                  <a:gd name="connsiteY40" fmla="*/ 69237 h 125392"/>
                  <a:gd name="connsiteX41" fmla="*/ 10253 w 127078"/>
                  <a:gd name="connsiteY41" fmla="*/ 76276 h 125392"/>
                  <a:gd name="connsiteX42" fmla="*/ 3766 w 127078"/>
                  <a:gd name="connsiteY42" fmla="*/ 83936 h 125392"/>
                  <a:gd name="connsiteX43" fmla="*/ 7164 w 127078"/>
                  <a:gd name="connsiteY43" fmla="*/ 91640 h 125392"/>
                  <a:gd name="connsiteX44" fmla="*/ 17364 w 127078"/>
                  <a:gd name="connsiteY44" fmla="*/ 92077 h 125392"/>
                  <a:gd name="connsiteX45" fmla="*/ 17361 w 127078"/>
                  <a:gd name="connsiteY45" fmla="*/ 92080 h 125392"/>
                  <a:gd name="connsiteX46" fmla="*/ 21650 w 127078"/>
                  <a:gd name="connsiteY46" fmla="*/ 97842 h 125392"/>
                  <a:gd name="connsiteX47" fmla="*/ 21647 w 127078"/>
                  <a:gd name="connsiteY47" fmla="*/ 97841 h 125392"/>
                  <a:gd name="connsiteX48" fmla="*/ 19068 w 127078"/>
                  <a:gd name="connsiteY48" fmla="*/ 107641 h 125392"/>
                  <a:gd name="connsiteX49" fmla="*/ 25491 w 127078"/>
                  <a:gd name="connsiteY49" fmla="*/ 113128 h 125392"/>
                  <a:gd name="connsiteX50" fmla="*/ 34780 w 127078"/>
                  <a:gd name="connsiteY50" fmla="*/ 109230 h 125392"/>
                  <a:gd name="connsiteX51" fmla="*/ 34782 w 127078"/>
                  <a:gd name="connsiteY51" fmla="*/ 109234 h 125392"/>
                  <a:gd name="connsiteX52" fmla="*/ 41165 w 127078"/>
                  <a:gd name="connsiteY52" fmla="*/ 112578 h 125392"/>
                  <a:gd name="connsiteX53" fmla="*/ 41165 w 127078"/>
                  <a:gd name="connsiteY53" fmla="*/ 112580 h 125392"/>
                  <a:gd name="connsiteX54" fmla="*/ 43170 w 127078"/>
                  <a:gd name="connsiteY54" fmla="*/ 122419 h 125392"/>
                  <a:gd name="connsiteX55" fmla="*/ 51341 w 127078"/>
                  <a:gd name="connsiteY55" fmla="*/ 124609 h 125392"/>
                  <a:gd name="connsiteX56" fmla="*/ 58015 w 127078"/>
                  <a:gd name="connsiteY56" fmla="*/ 116962 h 125392"/>
                  <a:gd name="connsiteX57" fmla="*/ 58014 w 127078"/>
                  <a:gd name="connsiteY57" fmla="*/ 116959 h 125392"/>
                  <a:gd name="connsiteX58" fmla="*/ 61438 w 127078"/>
                  <a:gd name="connsiteY58" fmla="*/ 117277 h 125392"/>
                  <a:gd name="connsiteX59" fmla="*/ 65197 w 127078"/>
                  <a:gd name="connsiteY59" fmla="*/ 117246 h 125392"/>
                  <a:gd name="connsiteX60" fmla="*/ 65209 w 127078"/>
                  <a:gd name="connsiteY60" fmla="*/ 117249 h 125392"/>
                  <a:gd name="connsiteX61" fmla="*/ 71322 w 127078"/>
                  <a:gd name="connsiteY61" fmla="*/ 125392 h 125392"/>
                  <a:gd name="connsiteX62" fmla="*/ 79627 w 127078"/>
                  <a:gd name="connsiteY62" fmla="*/ 123844 h 125392"/>
                  <a:gd name="connsiteX63" fmla="*/ 82323 w 127078"/>
                  <a:gd name="connsiteY63" fmla="*/ 114188 h 125392"/>
                  <a:gd name="connsiteX64" fmla="*/ 82327 w 127078"/>
                  <a:gd name="connsiteY64" fmla="*/ 114184 h 125392"/>
                  <a:gd name="connsiteX65" fmla="*/ 88951 w 127078"/>
                  <a:gd name="connsiteY65" fmla="*/ 111308 h 125392"/>
                  <a:gd name="connsiteX66" fmla="*/ 88973 w 127078"/>
                  <a:gd name="connsiteY66" fmla="*/ 111304 h 125392"/>
                  <a:gd name="connsiteX67" fmla="*/ 97965 w 127078"/>
                  <a:gd name="connsiteY67" fmla="*/ 115903 h 125392"/>
                  <a:gd name="connsiteX68" fmla="*/ 104754 w 127078"/>
                  <a:gd name="connsiteY68" fmla="*/ 110922 h 125392"/>
                  <a:gd name="connsiteX69" fmla="*/ 102867 w 127078"/>
                  <a:gd name="connsiteY69" fmla="*/ 100951 h 125392"/>
                  <a:gd name="connsiteX70" fmla="*/ 102861 w 127078"/>
                  <a:gd name="connsiteY70" fmla="*/ 100945 h 125392"/>
                  <a:gd name="connsiteX71" fmla="*/ 107555 w 127078"/>
                  <a:gd name="connsiteY71" fmla="*/ 95587 h 125392"/>
                  <a:gd name="connsiteX72" fmla="*/ 117720 w 127078"/>
                  <a:gd name="connsiteY72" fmla="*/ 95943 h 125392"/>
                  <a:gd name="connsiteX73" fmla="*/ 121653 w 127078"/>
                  <a:gd name="connsiteY73" fmla="*/ 88524 h 125392"/>
                  <a:gd name="connsiteX74" fmla="*/ 115728 w 127078"/>
                  <a:gd name="connsiteY74" fmla="*/ 80379 h 125392"/>
                  <a:gd name="connsiteX75" fmla="*/ 115761 w 127078"/>
                  <a:gd name="connsiteY75" fmla="*/ 80364 h 125392"/>
                  <a:gd name="connsiteX76" fmla="*/ 117584 w 127078"/>
                  <a:gd name="connsiteY76" fmla="*/ 73408 h 125392"/>
                  <a:gd name="connsiteX77" fmla="*/ 73276 w 127078"/>
                  <a:gd name="connsiteY77" fmla="*/ 65310 h 125392"/>
                  <a:gd name="connsiteX78" fmla="*/ 61101 w 127078"/>
                  <a:gd name="connsiteY78" fmla="*/ 72339 h 125392"/>
                  <a:gd name="connsiteX79" fmla="*/ 54073 w 127078"/>
                  <a:gd name="connsiteY79" fmla="*/ 60165 h 125392"/>
                  <a:gd name="connsiteX80" fmla="*/ 66247 w 127078"/>
                  <a:gd name="connsiteY80" fmla="*/ 53136 h 125392"/>
                  <a:gd name="connsiteX81" fmla="*/ 73276 w 127078"/>
                  <a:gd name="connsiteY81" fmla="*/ 65310 h 1253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</a:cxnLst>
                <a:rect l="l" t="t" r="r" b="b"/>
                <a:pathLst>
                  <a:path w="127078" h="125392">
                    <a:moveTo>
                      <a:pt x="117585" y="73408"/>
                    </a:moveTo>
                    <a:lnTo>
                      <a:pt x="126784" y="69308"/>
                    </a:lnTo>
                    <a:lnTo>
                      <a:pt x="127078" y="60916"/>
                    </a:lnTo>
                    <a:lnTo>
                      <a:pt x="118109" y="56160"/>
                    </a:lnTo>
                    <a:cubicBezTo>
                      <a:pt x="117812" y="53751"/>
                      <a:pt x="117403" y="51376"/>
                      <a:pt x="116800" y="49069"/>
                    </a:cubicBezTo>
                    <a:lnTo>
                      <a:pt x="123334" y="41461"/>
                    </a:lnTo>
                    <a:lnTo>
                      <a:pt x="119936" y="33757"/>
                    </a:lnTo>
                    <a:lnTo>
                      <a:pt x="109848" y="33255"/>
                    </a:lnTo>
                    <a:lnTo>
                      <a:pt x="109846" y="33255"/>
                    </a:lnTo>
                    <a:cubicBezTo>
                      <a:pt x="108532" y="31225"/>
                      <a:pt x="107078" y="29282"/>
                      <a:pt x="105512" y="27444"/>
                    </a:cubicBezTo>
                    <a:lnTo>
                      <a:pt x="105513" y="27445"/>
                    </a:lnTo>
                    <a:lnTo>
                      <a:pt x="107996" y="17732"/>
                    </a:lnTo>
                    <a:lnTo>
                      <a:pt x="101572" y="12245"/>
                    </a:lnTo>
                    <a:lnTo>
                      <a:pt x="92335" y="16198"/>
                    </a:lnTo>
                    <a:cubicBezTo>
                      <a:pt x="90269" y="14927"/>
                      <a:pt x="88109" y="13798"/>
                      <a:pt x="85869" y="12801"/>
                    </a:cubicBezTo>
                    <a:lnTo>
                      <a:pt x="83937" y="2961"/>
                    </a:lnTo>
                    <a:lnTo>
                      <a:pt x="75764" y="771"/>
                    </a:lnTo>
                    <a:lnTo>
                      <a:pt x="69110" y="8289"/>
                    </a:lnTo>
                    <a:lnTo>
                      <a:pt x="69106" y="8299"/>
                    </a:lnTo>
                    <a:cubicBezTo>
                      <a:pt x="67972" y="8181"/>
                      <a:pt x="66849" y="8032"/>
                      <a:pt x="65694" y="7983"/>
                    </a:cubicBezTo>
                    <a:cubicBezTo>
                      <a:pt x="64402" y="7928"/>
                      <a:pt x="63130" y="7979"/>
                      <a:pt x="61857" y="8013"/>
                    </a:cubicBezTo>
                    <a:lnTo>
                      <a:pt x="61847" y="8014"/>
                    </a:lnTo>
                    <a:lnTo>
                      <a:pt x="55743" y="0"/>
                    </a:lnTo>
                    <a:lnTo>
                      <a:pt x="47439" y="1549"/>
                    </a:lnTo>
                    <a:lnTo>
                      <a:pt x="44814" y="11208"/>
                    </a:lnTo>
                    <a:cubicBezTo>
                      <a:pt x="42503" y="12033"/>
                      <a:pt x="40273" y="13020"/>
                      <a:pt x="38114" y="14134"/>
                    </a:cubicBezTo>
                    <a:lnTo>
                      <a:pt x="29132" y="9460"/>
                    </a:lnTo>
                    <a:lnTo>
                      <a:pt x="22342" y="14440"/>
                    </a:lnTo>
                    <a:lnTo>
                      <a:pt x="24140" y="24317"/>
                    </a:lnTo>
                    <a:lnTo>
                      <a:pt x="24132" y="24323"/>
                    </a:lnTo>
                    <a:cubicBezTo>
                      <a:pt x="22458" y="26021"/>
                      <a:pt x="20900" y="27837"/>
                      <a:pt x="19460" y="29744"/>
                    </a:cubicBezTo>
                    <a:lnTo>
                      <a:pt x="19457" y="29743"/>
                    </a:lnTo>
                    <a:lnTo>
                      <a:pt x="9362" y="29461"/>
                    </a:lnTo>
                    <a:lnTo>
                      <a:pt x="5427" y="36879"/>
                    </a:lnTo>
                    <a:lnTo>
                      <a:pt x="11441" y="45025"/>
                    </a:lnTo>
                    <a:cubicBezTo>
                      <a:pt x="10681" y="47273"/>
                      <a:pt x="10094" y="49599"/>
                      <a:pt x="9630" y="51974"/>
                    </a:cubicBezTo>
                    <a:lnTo>
                      <a:pt x="9623" y="51973"/>
                    </a:lnTo>
                    <a:lnTo>
                      <a:pt x="294" y="56052"/>
                    </a:lnTo>
                    <a:lnTo>
                      <a:pt x="0" y="64444"/>
                    </a:lnTo>
                    <a:lnTo>
                      <a:pt x="8889" y="69238"/>
                    </a:lnTo>
                    <a:lnTo>
                      <a:pt x="8889" y="69237"/>
                    </a:lnTo>
                    <a:cubicBezTo>
                      <a:pt x="9189" y="71621"/>
                      <a:pt x="9653" y="73992"/>
                      <a:pt x="10253" y="76276"/>
                    </a:cubicBezTo>
                    <a:lnTo>
                      <a:pt x="3766" y="83936"/>
                    </a:lnTo>
                    <a:lnTo>
                      <a:pt x="7164" y="91640"/>
                    </a:lnTo>
                    <a:lnTo>
                      <a:pt x="17364" y="92077"/>
                    </a:lnTo>
                    <a:lnTo>
                      <a:pt x="17361" y="92080"/>
                    </a:lnTo>
                    <a:cubicBezTo>
                      <a:pt x="18667" y="94091"/>
                      <a:pt x="20097" y="96021"/>
                      <a:pt x="21650" y="97842"/>
                    </a:cubicBezTo>
                    <a:lnTo>
                      <a:pt x="21647" y="97841"/>
                    </a:lnTo>
                    <a:lnTo>
                      <a:pt x="19068" y="107641"/>
                    </a:lnTo>
                    <a:lnTo>
                      <a:pt x="25491" y="113128"/>
                    </a:lnTo>
                    <a:lnTo>
                      <a:pt x="34780" y="109230"/>
                    </a:lnTo>
                    <a:lnTo>
                      <a:pt x="34782" y="109234"/>
                    </a:lnTo>
                    <a:cubicBezTo>
                      <a:pt x="36815" y="110481"/>
                      <a:pt x="38965" y="111597"/>
                      <a:pt x="41165" y="112578"/>
                    </a:cubicBezTo>
                    <a:lnTo>
                      <a:pt x="41165" y="112580"/>
                    </a:lnTo>
                    <a:lnTo>
                      <a:pt x="43170" y="122419"/>
                    </a:lnTo>
                    <a:lnTo>
                      <a:pt x="51341" y="124609"/>
                    </a:lnTo>
                    <a:lnTo>
                      <a:pt x="58015" y="116962"/>
                    </a:lnTo>
                    <a:lnTo>
                      <a:pt x="58014" y="116959"/>
                    </a:lnTo>
                    <a:cubicBezTo>
                      <a:pt x="59152" y="117077"/>
                      <a:pt x="60280" y="117227"/>
                      <a:pt x="61438" y="117277"/>
                    </a:cubicBezTo>
                    <a:cubicBezTo>
                      <a:pt x="62705" y="117330"/>
                      <a:pt x="63949" y="117278"/>
                      <a:pt x="65197" y="117246"/>
                    </a:cubicBezTo>
                    <a:lnTo>
                      <a:pt x="65209" y="117249"/>
                    </a:lnTo>
                    <a:lnTo>
                      <a:pt x="71322" y="125392"/>
                    </a:lnTo>
                    <a:lnTo>
                      <a:pt x="79627" y="123844"/>
                    </a:lnTo>
                    <a:lnTo>
                      <a:pt x="82323" y="114188"/>
                    </a:lnTo>
                    <a:lnTo>
                      <a:pt x="82327" y="114184"/>
                    </a:lnTo>
                    <a:cubicBezTo>
                      <a:pt x="84610" y="113371"/>
                      <a:pt x="86817" y="112404"/>
                      <a:pt x="88951" y="111308"/>
                    </a:cubicBezTo>
                    <a:lnTo>
                      <a:pt x="88973" y="111304"/>
                    </a:lnTo>
                    <a:lnTo>
                      <a:pt x="97965" y="115903"/>
                    </a:lnTo>
                    <a:lnTo>
                      <a:pt x="104754" y="110922"/>
                    </a:lnTo>
                    <a:lnTo>
                      <a:pt x="102867" y="100951"/>
                    </a:lnTo>
                    <a:lnTo>
                      <a:pt x="102861" y="100945"/>
                    </a:lnTo>
                    <a:cubicBezTo>
                      <a:pt x="104532" y="99256"/>
                      <a:pt x="106116" y="97483"/>
                      <a:pt x="107555" y="95587"/>
                    </a:cubicBezTo>
                    <a:lnTo>
                      <a:pt x="117720" y="95943"/>
                    </a:lnTo>
                    <a:lnTo>
                      <a:pt x="121653" y="88524"/>
                    </a:lnTo>
                    <a:lnTo>
                      <a:pt x="115728" y="80379"/>
                    </a:lnTo>
                    <a:lnTo>
                      <a:pt x="115761" y="80364"/>
                    </a:lnTo>
                    <a:cubicBezTo>
                      <a:pt x="116527" y="78114"/>
                      <a:pt x="117116" y="75785"/>
                      <a:pt x="117584" y="73408"/>
                    </a:cubicBezTo>
                    <a:close/>
                    <a:moveTo>
                      <a:pt x="73276" y="65310"/>
                    </a:moveTo>
                    <a:cubicBezTo>
                      <a:pt x="71855" y="70613"/>
                      <a:pt x="66404" y="73760"/>
                      <a:pt x="61101" y="72339"/>
                    </a:cubicBezTo>
                    <a:cubicBezTo>
                      <a:pt x="55799" y="70918"/>
                      <a:pt x="52652" y="65467"/>
                      <a:pt x="54073" y="60165"/>
                    </a:cubicBezTo>
                    <a:cubicBezTo>
                      <a:pt x="55493" y="54862"/>
                      <a:pt x="60944" y="51715"/>
                      <a:pt x="66247" y="53136"/>
                    </a:cubicBezTo>
                    <a:cubicBezTo>
                      <a:pt x="71549" y="54557"/>
                      <a:pt x="74696" y="60008"/>
                      <a:pt x="73276" y="65310"/>
                    </a:cubicBezTo>
                    <a:close/>
                  </a:path>
                </a:pathLst>
              </a:custGeom>
              <a:solidFill>
                <a:schemeClr val="tx2"/>
              </a:solidFill>
              <a:ln w="35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pic>
          <p:nvPicPr>
            <p:cNvPr id="514" name="Grafik 513">
              <a:extLst>
                <a:ext uri="{FF2B5EF4-FFF2-40B4-BE49-F238E27FC236}">
                  <a16:creationId xmlns:a16="http://schemas.microsoft.com/office/drawing/2014/main" id="{71DB9D35-B4F3-4C4A-A925-B51A74F7CFCD}"/>
                </a:ext>
              </a:extLst>
            </p:cNvPr>
            <p:cNvPicPr>
              <a:picLocks noChangeAspect="1"/>
            </p:cNvPicPr>
            <p:nvPr/>
          </p:nvPicPr>
          <p:blipFill>
            <a:blip r:embed="rId426">
              <a:extLst>
                <a:ext uri="{96DAC541-7B7A-43D3-8B79-37D633B846F1}">
                  <asvg:svgBlip xmlns:asvg="http://schemas.microsoft.com/office/drawing/2016/SVG/main" r:embed="rId427"/>
                </a:ext>
              </a:extLst>
            </a:blip>
            <a:stretch>
              <a:fillRect/>
            </a:stretch>
          </p:blipFill>
          <p:spPr>
            <a:xfrm>
              <a:off x="8952400" y="523179"/>
              <a:ext cx="298682" cy="23894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67003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/>
                                        <p:tgtEl>
                                          <p:spTgt spid="106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0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2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12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12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10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3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1500"/>
                            </p:stCondLst>
                            <p:childTnLst>
                              <p:par>
                                <p:cTn id="2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0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50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50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49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49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1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49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49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5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3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5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6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7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9" dur="500" fill="hold"/>
                                        <p:tgtEl>
                                          <p:spTgt spid="10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0" dur="500" fill="hold"/>
                                        <p:tgtEl>
                                          <p:spTgt spid="10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1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5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9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3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5" dur="500" fill="hold"/>
                                        <p:tgtEl>
                                          <p:spTgt spid="10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6" dur="500" fill="hold"/>
                                        <p:tgtEl>
                                          <p:spTgt spid="10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7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9" dur="500" fill="hold"/>
                                        <p:tgtEl>
                                          <p:spTgt spid="50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0" dur="500" fill="hold"/>
                                        <p:tgtEl>
                                          <p:spTgt spid="50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80" grpId="0" animBg="1"/>
      <p:bldP spid="1281" grpId="0" animBg="1"/>
      <p:bldP spid="1282" grpId="0" animBg="1"/>
      <p:bldP spid="12" grpId="0" animBg="1"/>
      <p:bldP spid="13" grpId="0" animBg="1"/>
      <p:bldP spid="22" grpId="0" animBg="1"/>
      <p:bldP spid="27" grpId="0" animBg="1"/>
      <p:bldP spid="500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C59485EA-7722-A5F6-FE69-D992824CE64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385"/>
            <a:ext cx="12192000" cy="6855228"/>
          </a:xfrm>
          <a:prstGeom prst="rect">
            <a:avLst/>
          </a:prstGeom>
        </p:spPr>
      </p:pic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E62424B8-A776-404E-BAFC-3DC1BE34934F}"/>
              </a:ext>
            </a:extLst>
          </p:cNvPr>
          <p:cNvCxnSpPr>
            <a:cxnSpLocks/>
          </p:cNvCxnSpPr>
          <p:nvPr/>
        </p:nvCxnSpPr>
        <p:spPr>
          <a:xfrm>
            <a:off x="441744" y="1783512"/>
            <a:ext cx="0" cy="1464513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feld 26">
            <a:extLst>
              <a:ext uri="{FF2B5EF4-FFF2-40B4-BE49-F238E27FC236}">
                <a16:creationId xmlns:a16="http://schemas.microsoft.com/office/drawing/2014/main" id="{2444A541-F011-439B-84FA-614F4C50A08D}"/>
              </a:ext>
            </a:extLst>
          </p:cNvPr>
          <p:cNvSpPr txBox="1"/>
          <p:nvPr/>
        </p:nvSpPr>
        <p:spPr>
          <a:xfrm>
            <a:off x="423235" y="1435749"/>
            <a:ext cx="1273489" cy="246221"/>
          </a:xfrm>
          <a:prstGeom prst="rect">
            <a:avLst/>
          </a:prstGeom>
          <a:noFill/>
          <a:ln w="19050">
            <a:noFill/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cs-CZ" sz="1600" noProof="0" dirty="0">
                <a:solidFill>
                  <a:schemeClr val="bg1"/>
                </a:solidFill>
                <a:latin typeface="+mj-lt"/>
              </a:rPr>
              <a:t>Chlazení</a:t>
            </a:r>
          </a:p>
        </p:txBody>
      </p: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AECDE93F-6101-4B7F-AE39-C015FF472C4E}"/>
              </a:ext>
            </a:extLst>
          </p:cNvPr>
          <p:cNvCxnSpPr>
            <a:cxnSpLocks/>
          </p:cNvCxnSpPr>
          <p:nvPr/>
        </p:nvCxnSpPr>
        <p:spPr>
          <a:xfrm>
            <a:off x="431905" y="1775624"/>
            <a:ext cx="110049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Gerader Verbinder 3">
            <a:extLst>
              <a:ext uri="{FF2B5EF4-FFF2-40B4-BE49-F238E27FC236}">
                <a16:creationId xmlns:a16="http://schemas.microsoft.com/office/drawing/2014/main" id="{425FA296-B46E-B1BC-CD70-8A9DBE2DE055}"/>
              </a:ext>
            </a:extLst>
          </p:cNvPr>
          <p:cNvCxnSpPr>
            <a:cxnSpLocks/>
          </p:cNvCxnSpPr>
          <p:nvPr/>
        </p:nvCxnSpPr>
        <p:spPr>
          <a:xfrm>
            <a:off x="780459" y="2383765"/>
            <a:ext cx="0" cy="86426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feld 4">
            <a:extLst>
              <a:ext uri="{FF2B5EF4-FFF2-40B4-BE49-F238E27FC236}">
                <a16:creationId xmlns:a16="http://schemas.microsoft.com/office/drawing/2014/main" id="{89D19AC0-089C-A4C7-4797-11E578663FD6}"/>
              </a:ext>
            </a:extLst>
          </p:cNvPr>
          <p:cNvSpPr txBox="1"/>
          <p:nvPr/>
        </p:nvSpPr>
        <p:spPr>
          <a:xfrm>
            <a:off x="761950" y="2036002"/>
            <a:ext cx="1100491" cy="246221"/>
          </a:xfrm>
          <a:prstGeom prst="rect">
            <a:avLst/>
          </a:prstGeom>
          <a:noFill/>
          <a:ln w="19050">
            <a:noFill/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cs-CZ" sz="1600" noProof="0" dirty="0" err="1">
                <a:solidFill>
                  <a:schemeClr val="bg1"/>
                </a:solidFill>
                <a:latin typeface="+mj-lt"/>
              </a:rPr>
              <a:t>Cleanroom</a:t>
            </a:r>
            <a:endParaRPr lang="cs-CZ" sz="1600" noProof="0" dirty="0">
              <a:solidFill>
                <a:schemeClr val="bg1"/>
              </a:solidFill>
              <a:latin typeface="+mj-lt"/>
            </a:endParaRP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97ED2F33-B21F-0273-6EC3-4C783D0D941C}"/>
              </a:ext>
            </a:extLst>
          </p:cNvPr>
          <p:cNvCxnSpPr>
            <a:cxnSpLocks/>
          </p:cNvCxnSpPr>
          <p:nvPr/>
        </p:nvCxnSpPr>
        <p:spPr>
          <a:xfrm>
            <a:off x="770620" y="2375877"/>
            <a:ext cx="921265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53EEE8D2-1534-D997-E7B4-DD0B695315F7}"/>
              </a:ext>
            </a:extLst>
          </p:cNvPr>
          <p:cNvCxnSpPr>
            <a:cxnSpLocks/>
          </p:cNvCxnSpPr>
          <p:nvPr/>
        </p:nvCxnSpPr>
        <p:spPr>
          <a:xfrm>
            <a:off x="2038993" y="1787744"/>
            <a:ext cx="0" cy="1460281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feld 22">
            <a:extLst>
              <a:ext uri="{FF2B5EF4-FFF2-40B4-BE49-F238E27FC236}">
                <a16:creationId xmlns:a16="http://schemas.microsoft.com/office/drawing/2014/main" id="{945CB37D-3D32-E1E7-2635-E336E1807CEA}"/>
              </a:ext>
            </a:extLst>
          </p:cNvPr>
          <p:cNvSpPr txBox="1"/>
          <p:nvPr/>
        </p:nvSpPr>
        <p:spPr>
          <a:xfrm>
            <a:off x="2020484" y="1439981"/>
            <a:ext cx="1319679" cy="246221"/>
          </a:xfrm>
          <a:prstGeom prst="rect">
            <a:avLst/>
          </a:prstGeom>
          <a:noFill/>
          <a:ln w="19050">
            <a:noFill/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cs-CZ" sz="1600" noProof="0" dirty="0">
                <a:solidFill>
                  <a:schemeClr val="bg1"/>
                </a:solidFill>
                <a:latin typeface="+mj-lt"/>
              </a:rPr>
              <a:t>Doprava</a:t>
            </a:r>
          </a:p>
        </p:txBody>
      </p: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F381936E-D306-7252-E307-C3B67C085292}"/>
              </a:ext>
            </a:extLst>
          </p:cNvPr>
          <p:cNvCxnSpPr>
            <a:cxnSpLocks/>
          </p:cNvCxnSpPr>
          <p:nvPr/>
        </p:nvCxnSpPr>
        <p:spPr>
          <a:xfrm>
            <a:off x="2029154" y="1779856"/>
            <a:ext cx="1230636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1403E95D-0FC9-1D46-0EBD-C5729EF7760E}"/>
              </a:ext>
            </a:extLst>
          </p:cNvPr>
          <p:cNvCxnSpPr>
            <a:cxnSpLocks/>
          </p:cNvCxnSpPr>
          <p:nvPr/>
        </p:nvCxnSpPr>
        <p:spPr>
          <a:xfrm>
            <a:off x="2379535" y="2418287"/>
            <a:ext cx="0" cy="1077388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feld 40">
            <a:extLst>
              <a:ext uri="{FF2B5EF4-FFF2-40B4-BE49-F238E27FC236}">
                <a16:creationId xmlns:a16="http://schemas.microsoft.com/office/drawing/2014/main" id="{35450FCD-DF75-0FE7-C1EC-ADD57A2140E5}"/>
              </a:ext>
            </a:extLst>
          </p:cNvPr>
          <p:cNvSpPr txBox="1"/>
          <p:nvPr/>
        </p:nvSpPr>
        <p:spPr>
          <a:xfrm>
            <a:off x="2145522" y="2070524"/>
            <a:ext cx="2163504" cy="246221"/>
          </a:xfrm>
          <a:prstGeom prst="rect">
            <a:avLst/>
          </a:prstGeom>
          <a:noFill/>
          <a:ln w="19050">
            <a:noFill/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cs-CZ" sz="1600" noProof="0" dirty="0">
                <a:solidFill>
                  <a:schemeClr val="bg1"/>
                </a:solidFill>
                <a:latin typeface="+mj-lt"/>
              </a:rPr>
              <a:t>Ventilace obytných budov</a:t>
            </a:r>
          </a:p>
        </p:txBody>
      </p: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1C5C5F52-51B1-DBCE-CEB1-ACC559D5096D}"/>
              </a:ext>
            </a:extLst>
          </p:cNvPr>
          <p:cNvCxnSpPr>
            <a:cxnSpLocks/>
          </p:cNvCxnSpPr>
          <p:nvPr/>
        </p:nvCxnSpPr>
        <p:spPr>
          <a:xfrm>
            <a:off x="2369696" y="2410399"/>
            <a:ext cx="1871042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r Verbinder 43">
            <a:extLst>
              <a:ext uri="{FF2B5EF4-FFF2-40B4-BE49-F238E27FC236}">
                <a16:creationId xmlns:a16="http://schemas.microsoft.com/office/drawing/2014/main" id="{130CB8C1-6878-6C81-6704-AF84A92E8250}"/>
              </a:ext>
            </a:extLst>
          </p:cNvPr>
          <p:cNvCxnSpPr>
            <a:cxnSpLocks/>
          </p:cNvCxnSpPr>
          <p:nvPr/>
        </p:nvCxnSpPr>
        <p:spPr>
          <a:xfrm>
            <a:off x="4523819" y="1159441"/>
            <a:ext cx="0" cy="2026672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feld 44">
            <a:extLst>
              <a:ext uri="{FF2B5EF4-FFF2-40B4-BE49-F238E27FC236}">
                <a16:creationId xmlns:a16="http://schemas.microsoft.com/office/drawing/2014/main" id="{A0B46F3A-BBC1-35D6-FDB0-10A3A7FFC75C}"/>
              </a:ext>
            </a:extLst>
          </p:cNvPr>
          <p:cNvSpPr txBox="1"/>
          <p:nvPr/>
        </p:nvSpPr>
        <p:spPr>
          <a:xfrm>
            <a:off x="1006539" y="811678"/>
            <a:ext cx="3594975" cy="246221"/>
          </a:xfrm>
          <a:prstGeom prst="rect">
            <a:avLst/>
          </a:prstGeom>
          <a:noFill/>
          <a:ln w="19050">
            <a:noFill/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cs-CZ" sz="1600" noProof="0" dirty="0">
                <a:solidFill>
                  <a:schemeClr val="bg1"/>
                </a:solidFill>
                <a:latin typeface="+mj-lt"/>
              </a:rPr>
              <a:t>Klimatizace &amp; Komerční větrací zařízení</a:t>
            </a:r>
          </a:p>
        </p:txBody>
      </p:sp>
      <p:cxnSp>
        <p:nvCxnSpPr>
          <p:cNvPr id="46" name="Gerader Verbinder 45">
            <a:extLst>
              <a:ext uri="{FF2B5EF4-FFF2-40B4-BE49-F238E27FC236}">
                <a16:creationId xmlns:a16="http://schemas.microsoft.com/office/drawing/2014/main" id="{EC370062-B6BF-08FF-55A5-CACC33D70CE6}"/>
              </a:ext>
            </a:extLst>
          </p:cNvPr>
          <p:cNvCxnSpPr>
            <a:cxnSpLocks/>
          </p:cNvCxnSpPr>
          <p:nvPr/>
        </p:nvCxnSpPr>
        <p:spPr>
          <a:xfrm>
            <a:off x="1015209" y="1151553"/>
            <a:ext cx="352286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r Verbinder 57">
            <a:extLst>
              <a:ext uri="{FF2B5EF4-FFF2-40B4-BE49-F238E27FC236}">
                <a16:creationId xmlns:a16="http://schemas.microsoft.com/office/drawing/2014/main" id="{CF0E279A-4821-B7A1-F911-226E5C841552}"/>
              </a:ext>
            </a:extLst>
          </p:cNvPr>
          <p:cNvCxnSpPr>
            <a:cxnSpLocks/>
          </p:cNvCxnSpPr>
          <p:nvPr/>
        </p:nvCxnSpPr>
        <p:spPr>
          <a:xfrm>
            <a:off x="4868367" y="1783512"/>
            <a:ext cx="0" cy="1578813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feld 58">
            <a:extLst>
              <a:ext uri="{FF2B5EF4-FFF2-40B4-BE49-F238E27FC236}">
                <a16:creationId xmlns:a16="http://schemas.microsoft.com/office/drawing/2014/main" id="{539874F5-2F50-275C-C356-C91F11095A20}"/>
              </a:ext>
            </a:extLst>
          </p:cNvPr>
          <p:cNvSpPr txBox="1"/>
          <p:nvPr/>
        </p:nvSpPr>
        <p:spPr>
          <a:xfrm>
            <a:off x="4849859" y="1435749"/>
            <a:ext cx="2846170" cy="246221"/>
          </a:xfrm>
          <a:prstGeom prst="rect">
            <a:avLst/>
          </a:prstGeom>
          <a:noFill/>
          <a:ln w="19050">
            <a:noFill/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cs-CZ" sz="1600" noProof="0" dirty="0">
                <a:solidFill>
                  <a:schemeClr val="bg1"/>
                </a:solidFill>
                <a:latin typeface="+mj-lt"/>
              </a:rPr>
              <a:t>Nepřímý &amp; Digitální Prodej</a:t>
            </a:r>
          </a:p>
        </p:txBody>
      </p:sp>
      <p:cxnSp>
        <p:nvCxnSpPr>
          <p:cNvPr id="60" name="Gerader Verbinder 59">
            <a:extLst>
              <a:ext uri="{FF2B5EF4-FFF2-40B4-BE49-F238E27FC236}">
                <a16:creationId xmlns:a16="http://schemas.microsoft.com/office/drawing/2014/main" id="{982C37CE-E253-C548-959F-52AF399692C0}"/>
              </a:ext>
            </a:extLst>
          </p:cNvPr>
          <p:cNvCxnSpPr>
            <a:cxnSpLocks/>
          </p:cNvCxnSpPr>
          <p:nvPr/>
        </p:nvCxnSpPr>
        <p:spPr>
          <a:xfrm>
            <a:off x="4858528" y="1775624"/>
            <a:ext cx="2688548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02FE441E-657C-2EAF-DAF2-C1B87C725C24}"/>
              </a:ext>
            </a:extLst>
          </p:cNvPr>
          <p:cNvCxnSpPr>
            <a:cxnSpLocks/>
          </p:cNvCxnSpPr>
          <p:nvPr/>
        </p:nvCxnSpPr>
        <p:spPr>
          <a:xfrm>
            <a:off x="5693430" y="2426174"/>
            <a:ext cx="0" cy="593251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feld 62">
            <a:extLst>
              <a:ext uri="{FF2B5EF4-FFF2-40B4-BE49-F238E27FC236}">
                <a16:creationId xmlns:a16="http://schemas.microsoft.com/office/drawing/2014/main" id="{3FE7A3BA-446E-F8F5-7F82-5F827439CF01}"/>
              </a:ext>
            </a:extLst>
          </p:cNvPr>
          <p:cNvSpPr txBox="1"/>
          <p:nvPr/>
        </p:nvSpPr>
        <p:spPr>
          <a:xfrm>
            <a:off x="5674922" y="2078411"/>
            <a:ext cx="1792472" cy="246221"/>
          </a:xfrm>
          <a:prstGeom prst="rect">
            <a:avLst/>
          </a:prstGeom>
          <a:noFill/>
          <a:ln w="19050">
            <a:noFill/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cs-CZ" sz="1600" noProof="0" dirty="0">
                <a:solidFill>
                  <a:schemeClr val="bg1"/>
                </a:solidFill>
                <a:latin typeface="+mj-lt"/>
              </a:rPr>
              <a:t>Obnovitelné energie</a:t>
            </a:r>
          </a:p>
        </p:txBody>
      </p: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5672C746-1B47-98DB-D837-7012F48967C4}"/>
              </a:ext>
            </a:extLst>
          </p:cNvPr>
          <p:cNvCxnSpPr>
            <a:cxnSpLocks/>
          </p:cNvCxnSpPr>
          <p:nvPr/>
        </p:nvCxnSpPr>
        <p:spPr>
          <a:xfrm>
            <a:off x="5683591" y="2418286"/>
            <a:ext cx="1716755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r Verbinder 65">
            <a:extLst>
              <a:ext uri="{FF2B5EF4-FFF2-40B4-BE49-F238E27FC236}">
                <a16:creationId xmlns:a16="http://schemas.microsoft.com/office/drawing/2014/main" id="{042675E4-5A6C-8F08-BD6C-766861200CF5}"/>
              </a:ext>
            </a:extLst>
          </p:cNvPr>
          <p:cNvCxnSpPr>
            <a:cxnSpLocks/>
          </p:cNvCxnSpPr>
          <p:nvPr/>
        </p:nvCxnSpPr>
        <p:spPr>
          <a:xfrm>
            <a:off x="6363017" y="3078541"/>
            <a:ext cx="0" cy="540959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feld 66">
            <a:extLst>
              <a:ext uri="{FF2B5EF4-FFF2-40B4-BE49-F238E27FC236}">
                <a16:creationId xmlns:a16="http://schemas.microsoft.com/office/drawing/2014/main" id="{C42E1AA3-8306-E08F-9473-C80C25975337}"/>
              </a:ext>
            </a:extLst>
          </p:cNvPr>
          <p:cNvSpPr txBox="1"/>
          <p:nvPr/>
        </p:nvSpPr>
        <p:spPr>
          <a:xfrm>
            <a:off x="6344508" y="2730778"/>
            <a:ext cx="1278089" cy="246221"/>
          </a:xfrm>
          <a:prstGeom prst="rect">
            <a:avLst/>
          </a:prstGeom>
          <a:noFill/>
          <a:ln w="19050">
            <a:noFill/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cs-CZ" sz="1600" noProof="0" dirty="0">
                <a:solidFill>
                  <a:schemeClr val="bg1"/>
                </a:solidFill>
                <a:latin typeface="+mj-lt"/>
              </a:rPr>
              <a:t>Průmysl &amp; ICT</a:t>
            </a:r>
          </a:p>
        </p:txBody>
      </p:sp>
      <p:cxnSp>
        <p:nvCxnSpPr>
          <p:cNvPr id="68" name="Gerader Verbinder 67">
            <a:extLst>
              <a:ext uri="{FF2B5EF4-FFF2-40B4-BE49-F238E27FC236}">
                <a16:creationId xmlns:a16="http://schemas.microsoft.com/office/drawing/2014/main" id="{7E1E2A9D-0D79-E49B-FCD7-C827397122E3}"/>
              </a:ext>
            </a:extLst>
          </p:cNvPr>
          <p:cNvCxnSpPr>
            <a:cxnSpLocks/>
          </p:cNvCxnSpPr>
          <p:nvPr/>
        </p:nvCxnSpPr>
        <p:spPr>
          <a:xfrm>
            <a:off x="6353178" y="3070653"/>
            <a:ext cx="1181239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r Verbinder 70">
            <a:extLst>
              <a:ext uri="{FF2B5EF4-FFF2-40B4-BE49-F238E27FC236}">
                <a16:creationId xmlns:a16="http://schemas.microsoft.com/office/drawing/2014/main" id="{5899E0D3-B131-C8EC-389C-EBF0995D7664}"/>
              </a:ext>
            </a:extLst>
          </p:cNvPr>
          <p:cNvCxnSpPr>
            <a:cxnSpLocks/>
          </p:cNvCxnSpPr>
          <p:nvPr/>
        </p:nvCxnSpPr>
        <p:spPr>
          <a:xfrm>
            <a:off x="11727651" y="1783512"/>
            <a:ext cx="0" cy="2352652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Textfeld 71">
            <a:extLst>
              <a:ext uri="{FF2B5EF4-FFF2-40B4-BE49-F238E27FC236}">
                <a16:creationId xmlns:a16="http://schemas.microsoft.com/office/drawing/2014/main" id="{9DE3B0E0-0CEE-7194-1AB3-5E6A4751BE63}"/>
              </a:ext>
            </a:extLst>
          </p:cNvPr>
          <p:cNvSpPr txBox="1"/>
          <p:nvPr/>
        </p:nvSpPr>
        <p:spPr>
          <a:xfrm>
            <a:off x="8405862" y="1435749"/>
            <a:ext cx="3397177" cy="246221"/>
          </a:xfrm>
          <a:prstGeom prst="rect">
            <a:avLst/>
          </a:prstGeom>
          <a:noFill/>
          <a:ln w="19050">
            <a:noFill/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cs-CZ" sz="1600" noProof="0" dirty="0">
                <a:solidFill>
                  <a:schemeClr val="bg1"/>
                </a:solidFill>
                <a:latin typeface="+mj-lt"/>
              </a:rPr>
              <a:t>Technologie zemních a </a:t>
            </a:r>
            <a:r>
              <a:rPr lang="cs-CZ" sz="1600" noProof="0" dirty="0" err="1">
                <a:solidFill>
                  <a:schemeClr val="bg1"/>
                </a:solidFill>
                <a:latin typeface="+mj-lt"/>
              </a:rPr>
              <a:t>systetických</a:t>
            </a:r>
            <a:r>
              <a:rPr lang="cs-CZ" sz="1600" noProof="0" dirty="0">
                <a:solidFill>
                  <a:schemeClr val="bg1"/>
                </a:solidFill>
                <a:latin typeface="+mj-lt"/>
              </a:rPr>
              <a:t> plynů</a:t>
            </a:r>
          </a:p>
        </p:txBody>
      </p:sp>
      <p:cxnSp>
        <p:nvCxnSpPr>
          <p:cNvPr id="73" name="Gerader Verbinder 72">
            <a:extLst>
              <a:ext uri="{FF2B5EF4-FFF2-40B4-BE49-F238E27FC236}">
                <a16:creationId xmlns:a16="http://schemas.microsoft.com/office/drawing/2014/main" id="{03D5AF3F-A432-F9C7-47C0-F1DA8F108690}"/>
              </a:ext>
            </a:extLst>
          </p:cNvPr>
          <p:cNvCxnSpPr>
            <a:cxnSpLocks/>
          </p:cNvCxnSpPr>
          <p:nvPr/>
        </p:nvCxnSpPr>
        <p:spPr>
          <a:xfrm>
            <a:off x="8612664" y="1775624"/>
            <a:ext cx="3124635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Gerader Verbinder 73">
            <a:extLst>
              <a:ext uri="{FF2B5EF4-FFF2-40B4-BE49-F238E27FC236}">
                <a16:creationId xmlns:a16="http://schemas.microsoft.com/office/drawing/2014/main" id="{E7F9AB6E-B76C-AAD8-40F4-E090762B1388}"/>
              </a:ext>
            </a:extLst>
          </p:cNvPr>
          <p:cNvCxnSpPr>
            <a:cxnSpLocks/>
          </p:cNvCxnSpPr>
          <p:nvPr/>
        </p:nvCxnSpPr>
        <p:spPr>
          <a:xfrm>
            <a:off x="9630289" y="2426174"/>
            <a:ext cx="0" cy="170999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Textfeld 74">
            <a:extLst>
              <a:ext uri="{FF2B5EF4-FFF2-40B4-BE49-F238E27FC236}">
                <a16:creationId xmlns:a16="http://schemas.microsoft.com/office/drawing/2014/main" id="{3B61DBAA-273E-D733-A498-CC96693D569C}"/>
              </a:ext>
            </a:extLst>
          </p:cNvPr>
          <p:cNvSpPr txBox="1"/>
          <p:nvPr/>
        </p:nvSpPr>
        <p:spPr>
          <a:xfrm>
            <a:off x="9611781" y="2078411"/>
            <a:ext cx="832153" cy="246221"/>
          </a:xfrm>
          <a:prstGeom prst="rect">
            <a:avLst/>
          </a:prstGeom>
          <a:noFill/>
          <a:ln w="19050">
            <a:noFill/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cs-CZ" sz="1600" noProof="0" dirty="0">
                <a:solidFill>
                  <a:schemeClr val="bg1"/>
                </a:solidFill>
                <a:latin typeface="+mj-lt"/>
              </a:rPr>
              <a:t>Biomasa</a:t>
            </a:r>
          </a:p>
        </p:txBody>
      </p:sp>
      <p:cxnSp>
        <p:nvCxnSpPr>
          <p:cNvPr id="76" name="Gerader Verbinder 75">
            <a:extLst>
              <a:ext uri="{FF2B5EF4-FFF2-40B4-BE49-F238E27FC236}">
                <a16:creationId xmlns:a16="http://schemas.microsoft.com/office/drawing/2014/main" id="{2E125AF1-7837-A315-993E-D26F57C42AF3}"/>
              </a:ext>
            </a:extLst>
          </p:cNvPr>
          <p:cNvCxnSpPr>
            <a:cxnSpLocks/>
          </p:cNvCxnSpPr>
          <p:nvPr/>
        </p:nvCxnSpPr>
        <p:spPr>
          <a:xfrm>
            <a:off x="9620450" y="2418286"/>
            <a:ext cx="676717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r Verbinder 76">
            <a:extLst>
              <a:ext uri="{FF2B5EF4-FFF2-40B4-BE49-F238E27FC236}">
                <a16:creationId xmlns:a16="http://schemas.microsoft.com/office/drawing/2014/main" id="{2C52557D-EA51-D5B7-580C-2688C910F97F}"/>
              </a:ext>
            </a:extLst>
          </p:cNvPr>
          <p:cNvCxnSpPr>
            <a:cxnSpLocks/>
          </p:cNvCxnSpPr>
          <p:nvPr/>
        </p:nvCxnSpPr>
        <p:spPr>
          <a:xfrm>
            <a:off x="10091768" y="3078541"/>
            <a:ext cx="0" cy="1257756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Textfeld 77">
            <a:extLst>
              <a:ext uri="{FF2B5EF4-FFF2-40B4-BE49-F238E27FC236}">
                <a16:creationId xmlns:a16="http://schemas.microsoft.com/office/drawing/2014/main" id="{77F72ABB-2FED-8113-9640-DCCE81C2A1A2}"/>
              </a:ext>
            </a:extLst>
          </p:cNvPr>
          <p:cNvSpPr txBox="1"/>
          <p:nvPr/>
        </p:nvSpPr>
        <p:spPr>
          <a:xfrm>
            <a:off x="9980111" y="2730778"/>
            <a:ext cx="1520264" cy="246221"/>
          </a:xfrm>
          <a:prstGeom prst="rect">
            <a:avLst/>
          </a:prstGeom>
          <a:noFill/>
          <a:ln w="19050">
            <a:noFill/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cs-CZ" sz="1600" noProof="0" dirty="0">
                <a:solidFill>
                  <a:schemeClr val="bg1"/>
                </a:solidFill>
                <a:latin typeface="+mj-lt"/>
              </a:rPr>
              <a:t>Tepelná čerpadla</a:t>
            </a:r>
          </a:p>
        </p:txBody>
      </p:sp>
      <p:cxnSp>
        <p:nvCxnSpPr>
          <p:cNvPr id="79" name="Gerader Verbinder 78">
            <a:extLst>
              <a:ext uri="{FF2B5EF4-FFF2-40B4-BE49-F238E27FC236}">
                <a16:creationId xmlns:a16="http://schemas.microsoft.com/office/drawing/2014/main" id="{68312C7F-E91D-82CD-BF73-9167B9992B76}"/>
              </a:ext>
            </a:extLst>
          </p:cNvPr>
          <p:cNvCxnSpPr>
            <a:cxnSpLocks/>
          </p:cNvCxnSpPr>
          <p:nvPr/>
        </p:nvCxnSpPr>
        <p:spPr>
          <a:xfrm>
            <a:off x="10081929" y="3070653"/>
            <a:ext cx="996649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" name="Gerader Verbinder 1">
            <a:extLst>
              <a:ext uri="{FF2B5EF4-FFF2-40B4-BE49-F238E27FC236}">
                <a16:creationId xmlns:a16="http://schemas.microsoft.com/office/drawing/2014/main" id="{B92ED197-87AE-0C05-655E-D3FFE1D5FAF6}"/>
              </a:ext>
            </a:extLst>
          </p:cNvPr>
          <p:cNvCxnSpPr>
            <a:cxnSpLocks/>
          </p:cNvCxnSpPr>
          <p:nvPr/>
        </p:nvCxnSpPr>
        <p:spPr>
          <a:xfrm>
            <a:off x="8050945" y="0"/>
            <a:ext cx="0" cy="685800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feld 29">
            <a:extLst>
              <a:ext uri="{FF2B5EF4-FFF2-40B4-BE49-F238E27FC236}">
                <a16:creationId xmlns:a16="http://schemas.microsoft.com/office/drawing/2014/main" id="{FA844725-F07E-C5BD-164B-89183193DFDD}"/>
              </a:ext>
            </a:extLst>
          </p:cNvPr>
          <p:cNvSpPr txBox="1"/>
          <p:nvPr/>
        </p:nvSpPr>
        <p:spPr>
          <a:xfrm>
            <a:off x="3911720" y="572511"/>
            <a:ext cx="3594975" cy="307777"/>
          </a:xfrm>
          <a:prstGeom prst="rect">
            <a:avLst/>
          </a:prstGeom>
          <a:noFill/>
          <a:ln w="19050">
            <a:noFill/>
          </a:ln>
          <a:effectLst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cs-CZ" sz="2000" b="1" cap="all" noProof="0" dirty="0">
                <a:solidFill>
                  <a:schemeClr val="bg1"/>
                </a:solidFill>
                <a:latin typeface="+mj-lt"/>
              </a:rPr>
              <a:t>VZDUCHOTECHNIKA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88EAC9C9-8110-EC99-2093-32BEA1DB750B}"/>
              </a:ext>
            </a:extLst>
          </p:cNvPr>
          <p:cNvSpPr txBox="1"/>
          <p:nvPr/>
        </p:nvSpPr>
        <p:spPr>
          <a:xfrm>
            <a:off x="8573654" y="572511"/>
            <a:ext cx="3594975" cy="307777"/>
          </a:xfrm>
          <a:prstGeom prst="rect">
            <a:avLst/>
          </a:prstGeom>
          <a:noFill/>
          <a:ln w="19050">
            <a:noFill/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cs-CZ" sz="2000" b="1" cap="all" noProof="0" dirty="0">
                <a:solidFill>
                  <a:schemeClr val="bg1"/>
                </a:solidFill>
                <a:latin typeface="+mj-lt"/>
              </a:rPr>
              <a:t>VYTÁPĚNÍ</a:t>
            </a:r>
          </a:p>
        </p:txBody>
      </p:sp>
      <p:sp>
        <p:nvSpPr>
          <p:cNvPr id="32" name="Gleichschenkliges Dreieck 31">
            <a:extLst>
              <a:ext uri="{FF2B5EF4-FFF2-40B4-BE49-F238E27FC236}">
                <a16:creationId xmlns:a16="http://schemas.microsoft.com/office/drawing/2014/main" id="{81363E1A-1CE9-30DA-2606-C005335E96D0}"/>
              </a:ext>
            </a:extLst>
          </p:cNvPr>
          <p:cNvSpPr/>
          <p:nvPr/>
        </p:nvSpPr>
        <p:spPr>
          <a:xfrm rot="16200000">
            <a:off x="7543554" y="597563"/>
            <a:ext cx="600074" cy="257024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noProof="0" dirty="0">
              <a:latin typeface="+mj-lt"/>
            </a:endParaRPr>
          </a:p>
        </p:txBody>
      </p:sp>
      <p:sp>
        <p:nvSpPr>
          <p:cNvPr id="33" name="Gleichschenkliges Dreieck 32">
            <a:extLst>
              <a:ext uri="{FF2B5EF4-FFF2-40B4-BE49-F238E27FC236}">
                <a16:creationId xmlns:a16="http://schemas.microsoft.com/office/drawing/2014/main" id="{9136B28A-C934-A4EE-A99E-29B2235A2EB7}"/>
              </a:ext>
            </a:extLst>
          </p:cNvPr>
          <p:cNvSpPr/>
          <p:nvPr/>
        </p:nvSpPr>
        <p:spPr>
          <a:xfrm rot="5400000">
            <a:off x="7962056" y="597563"/>
            <a:ext cx="600074" cy="257024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noProof="0" dirty="0">
              <a:latin typeface="+mj-lt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A8AE8D9-B027-431D-9C98-D585472B6200}"/>
              </a:ext>
            </a:extLst>
          </p:cNvPr>
          <p:cNvSpPr/>
          <p:nvPr/>
        </p:nvSpPr>
        <p:spPr>
          <a:xfrm>
            <a:off x="0" y="5632203"/>
            <a:ext cx="12192000" cy="1231106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noProof="0" dirty="0">
              <a:latin typeface="+mj-lt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59B39DF9-F58A-4A1B-A9C5-4B9D8557776B}"/>
              </a:ext>
            </a:extLst>
          </p:cNvPr>
          <p:cNvSpPr txBox="1"/>
          <p:nvPr/>
        </p:nvSpPr>
        <p:spPr>
          <a:xfrm>
            <a:off x="3792363" y="5945392"/>
            <a:ext cx="7977392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cs-CZ" sz="3600" i="1" noProof="0" dirty="0">
                <a:solidFill>
                  <a:schemeClr val="bg1"/>
                </a:solidFill>
                <a:latin typeface="+mj-lt"/>
              </a:rPr>
              <a:t>Účinný systém řešení </a:t>
            </a:r>
            <a:r>
              <a:rPr lang="cs-CZ" sz="3600" b="1" noProof="0" dirty="0">
                <a:solidFill>
                  <a:schemeClr val="bg1"/>
                </a:solidFill>
                <a:latin typeface="+mj-lt"/>
              </a:rPr>
              <a:t>pro naše trhy</a:t>
            </a:r>
          </a:p>
        </p:txBody>
      </p:sp>
      <p:pic>
        <p:nvPicPr>
          <p:cNvPr id="11" name="Grafik 10" descr="Ein Bild, das Text enthält.&#10;&#10;Automatisch generierte Beschreibung">
            <a:extLst>
              <a:ext uri="{FF2B5EF4-FFF2-40B4-BE49-F238E27FC236}">
                <a16:creationId xmlns:a16="http://schemas.microsoft.com/office/drawing/2014/main" id="{E1E12358-C3A5-424B-90FD-455BF388B574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512" y="4344843"/>
            <a:ext cx="2399659" cy="1714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2389202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1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5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8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2000"/>
                            </p:stCondLst>
                            <p:childTnLst>
                              <p:par>
                                <p:cTn id="4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4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0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3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6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9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65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2500"/>
                            </p:stCondLst>
                            <p:childTnLst>
                              <p:par>
                                <p:cTn id="6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1" fill="hold">
                            <p:stCondLst>
                              <p:cond delay="3000"/>
                            </p:stCondLst>
                            <p:childTnLst>
                              <p:par>
                                <p:cTn id="92" presetID="22" presetClass="entr" presetSubtype="8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4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5" fill="hold">
                            <p:stCondLst>
                              <p:cond delay="4000"/>
                            </p:stCondLst>
                            <p:childTnLst>
                              <p:par>
                                <p:cTn id="9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8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9" fill="hold">
                            <p:stCondLst>
                              <p:cond delay="4500"/>
                            </p:stCondLst>
                            <p:childTnLst>
                              <p:par>
                                <p:cTn id="100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2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3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5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6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8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9" fill="hold">
                            <p:stCondLst>
                              <p:cond delay="5000"/>
                            </p:stCondLst>
                            <p:childTnLst>
                              <p:par>
                                <p:cTn id="110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2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5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6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18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9" fill="hold">
                            <p:stCondLst>
                              <p:cond delay="5500"/>
                            </p:stCondLst>
                            <p:childTnLst>
                              <p:par>
                                <p:cTn id="12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2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5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8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/>
      <p:bldP spid="5" grpId="0"/>
      <p:bldP spid="23" grpId="0"/>
      <p:bldP spid="41" grpId="0"/>
      <p:bldP spid="45" grpId="0"/>
      <p:bldP spid="59" grpId="0"/>
      <p:bldP spid="63" grpId="0"/>
      <p:bldP spid="67" grpId="0"/>
      <p:bldP spid="72" grpId="0"/>
      <p:bldP spid="75" grpId="0"/>
      <p:bldP spid="78" grpId="0"/>
      <p:bldP spid="30" grpId="0"/>
      <p:bldP spid="31" grpId="0"/>
      <p:bldP spid="32" grpId="0" animBg="1"/>
      <p:bldP spid="33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15344313-D172-4678-9D0A-04556FBA55B9}"/>
              </a:ext>
            </a:extLst>
          </p:cNvPr>
          <p:cNvGrpSpPr/>
          <p:nvPr/>
        </p:nvGrpSpPr>
        <p:grpSpPr>
          <a:xfrm>
            <a:off x="4763161" y="2190087"/>
            <a:ext cx="3605887" cy="866599"/>
            <a:chOff x="4395872" y="2939538"/>
            <a:chExt cx="3606357" cy="866712"/>
          </a:xfrm>
        </p:grpSpPr>
        <p:grpSp>
          <p:nvGrpSpPr>
            <p:cNvPr id="11" name="Gruppieren 10">
              <a:extLst>
                <a:ext uri="{FF2B5EF4-FFF2-40B4-BE49-F238E27FC236}">
                  <a16:creationId xmlns:a16="http://schemas.microsoft.com/office/drawing/2014/main" id="{2D9B32AF-A793-4DA3-B1D7-9948ACB8954B}"/>
                </a:ext>
              </a:extLst>
            </p:cNvPr>
            <p:cNvGrpSpPr/>
            <p:nvPr/>
          </p:nvGrpSpPr>
          <p:grpSpPr>
            <a:xfrm>
              <a:off x="4395872" y="2939538"/>
              <a:ext cx="866712" cy="866712"/>
              <a:chOff x="4395872" y="2939538"/>
              <a:chExt cx="866712" cy="866712"/>
            </a:xfrm>
          </p:grpSpPr>
          <p:sp>
            <p:nvSpPr>
              <p:cNvPr id="83" name="Rechteck 82">
                <a:extLst>
                  <a:ext uri="{FF2B5EF4-FFF2-40B4-BE49-F238E27FC236}">
                    <a16:creationId xmlns:a16="http://schemas.microsoft.com/office/drawing/2014/main" id="{74A64E66-D37B-46A2-87E2-4C458BA52A3D}"/>
                  </a:ext>
                </a:extLst>
              </p:cNvPr>
              <p:cNvSpPr/>
              <p:nvPr/>
            </p:nvSpPr>
            <p:spPr bwMode="gray">
              <a:xfrm>
                <a:off x="4395872" y="2939538"/>
                <a:ext cx="866712" cy="866712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09">
                  <a:defRPr/>
                </a:pPr>
                <a:endParaRPr lang="en-US" sz="2400">
                  <a:solidFill>
                    <a:prstClr val="white"/>
                  </a:solidFill>
                  <a:latin typeface="Corbel" panose="020B0503020204020204" pitchFamily="34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84" name="Grafik 158">
                <a:extLst>
                  <a:ext uri="{FF2B5EF4-FFF2-40B4-BE49-F238E27FC236}">
                    <a16:creationId xmlns:a16="http://schemas.microsoft.com/office/drawing/2014/main" id="{EC9F5535-D242-4CD2-AAE0-51885DE5CE2D}"/>
                  </a:ext>
                </a:extLst>
              </p:cNvPr>
              <p:cNvGrpSpPr/>
              <p:nvPr/>
            </p:nvGrpSpPr>
            <p:grpSpPr>
              <a:xfrm>
                <a:off x="4637044" y="3180711"/>
                <a:ext cx="384368" cy="384366"/>
                <a:chOff x="7501823" y="2292270"/>
                <a:chExt cx="809625" cy="809625"/>
              </a:xfrm>
              <a:solidFill>
                <a:schemeClr val="bg1"/>
              </a:solidFill>
            </p:grpSpPr>
            <p:sp>
              <p:nvSpPr>
                <p:cNvPr id="85" name="Freihandform: Form 84">
                  <a:extLst>
                    <a:ext uri="{FF2B5EF4-FFF2-40B4-BE49-F238E27FC236}">
                      <a16:creationId xmlns:a16="http://schemas.microsoft.com/office/drawing/2014/main" id="{D487A65B-3748-4441-95CC-2DA246EB431B}"/>
                    </a:ext>
                  </a:extLst>
                </p:cNvPr>
                <p:cNvSpPr/>
                <p:nvPr/>
              </p:nvSpPr>
              <p:spPr>
                <a:xfrm>
                  <a:off x="7501823" y="2292270"/>
                  <a:ext cx="809625" cy="809625"/>
                </a:xfrm>
                <a:custGeom>
                  <a:avLst/>
                  <a:gdLst>
                    <a:gd name="connsiteX0" fmla="*/ 107632 w 809625"/>
                    <a:gd name="connsiteY0" fmla="*/ 0 h 809625"/>
                    <a:gd name="connsiteX1" fmla="*/ 107632 w 809625"/>
                    <a:gd name="connsiteY1" fmla="*/ 80963 h 809625"/>
                    <a:gd name="connsiteX2" fmla="*/ 0 w 809625"/>
                    <a:gd name="connsiteY2" fmla="*/ 80963 h 809625"/>
                    <a:gd name="connsiteX3" fmla="*/ 0 w 809625"/>
                    <a:gd name="connsiteY3" fmla="*/ 161925 h 809625"/>
                    <a:gd name="connsiteX4" fmla="*/ 107632 w 809625"/>
                    <a:gd name="connsiteY4" fmla="*/ 161925 h 809625"/>
                    <a:gd name="connsiteX5" fmla="*/ 107632 w 809625"/>
                    <a:gd name="connsiteY5" fmla="*/ 594360 h 809625"/>
                    <a:gd name="connsiteX6" fmla="*/ 0 w 809625"/>
                    <a:gd name="connsiteY6" fmla="*/ 594360 h 809625"/>
                    <a:gd name="connsiteX7" fmla="*/ 0 w 809625"/>
                    <a:gd name="connsiteY7" fmla="*/ 675323 h 809625"/>
                    <a:gd name="connsiteX8" fmla="*/ 107632 w 809625"/>
                    <a:gd name="connsiteY8" fmla="*/ 675323 h 809625"/>
                    <a:gd name="connsiteX9" fmla="*/ 107632 w 809625"/>
                    <a:gd name="connsiteY9" fmla="*/ 701993 h 809625"/>
                    <a:gd name="connsiteX10" fmla="*/ 107632 w 809625"/>
                    <a:gd name="connsiteY10" fmla="*/ 728663 h 809625"/>
                    <a:gd name="connsiteX11" fmla="*/ 107632 w 809625"/>
                    <a:gd name="connsiteY11" fmla="*/ 809625 h 809625"/>
                    <a:gd name="connsiteX12" fmla="*/ 161925 w 809625"/>
                    <a:gd name="connsiteY12" fmla="*/ 809625 h 809625"/>
                    <a:gd name="connsiteX13" fmla="*/ 161925 w 809625"/>
                    <a:gd name="connsiteY13" fmla="*/ 728663 h 809625"/>
                    <a:gd name="connsiteX14" fmla="*/ 756285 w 809625"/>
                    <a:gd name="connsiteY14" fmla="*/ 728663 h 809625"/>
                    <a:gd name="connsiteX15" fmla="*/ 756285 w 809625"/>
                    <a:gd name="connsiteY15" fmla="*/ 809625 h 809625"/>
                    <a:gd name="connsiteX16" fmla="*/ 810578 w 809625"/>
                    <a:gd name="connsiteY16" fmla="*/ 809625 h 809625"/>
                    <a:gd name="connsiteX17" fmla="*/ 810578 w 809625"/>
                    <a:gd name="connsiteY17" fmla="*/ 728663 h 809625"/>
                    <a:gd name="connsiteX18" fmla="*/ 810578 w 809625"/>
                    <a:gd name="connsiteY18" fmla="*/ 701993 h 809625"/>
                    <a:gd name="connsiteX19" fmla="*/ 810578 w 809625"/>
                    <a:gd name="connsiteY19" fmla="*/ 0 h 809625"/>
                    <a:gd name="connsiteX20" fmla="*/ 107632 w 809625"/>
                    <a:gd name="connsiteY20" fmla="*/ 0 h 809625"/>
                    <a:gd name="connsiteX21" fmla="*/ 161925 w 809625"/>
                    <a:gd name="connsiteY21" fmla="*/ 54293 h 809625"/>
                    <a:gd name="connsiteX22" fmla="*/ 756285 w 809625"/>
                    <a:gd name="connsiteY22" fmla="*/ 54293 h 809625"/>
                    <a:gd name="connsiteX23" fmla="*/ 756285 w 809625"/>
                    <a:gd name="connsiteY23" fmla="*/ 242888 h 809625"/>
                    <a:gd name="connsiteX24" fmla="*/ 681038 w 809625"/>
                    <a:gd name="connsiteY24" fmla="*/ 242888 h 809625"/>
                    <a:gd name="connsiteX25" fmla="*/ 679133 w 809625"/>
                    <a:gd name="connsiteY25" fmla="*/ 235268 h 809625"/>
                    <a:gd name="connsiteX26" fmla="*/ 576263 w 809625"/>
                    <a:gd name="connsiteY26" fmla="*/ 134303 h 809625"/>
                    <a:gd name="connsiteX27" fmla="*/ 545783 w 809625"/>
                    <a:gd name="connsiteY27" fmla="*/ 242888 h 809625"/>
                    <a:gd name="connsiteX28" fmla="*/ 481013 w 809625"/>
                    <a:gd name="connsiteY28" fmla="*/ 242888 h 809625"/>
                    <a:gd name="connsiteX29" fmla="*/ 481013 w 809625"/>
                    <a:gd name="connsiteY29" fmla="*/ 168593 h 809625"/>
                    <a:gd name="connsiteX30" fmla="*/ 423863 w 809625"/>
                    <a:gd name="connsiteY30" fmla="*/ 108585 h 809625"/>
                    <a:gd name="connsiteX31" fmla="*/ 295275 w 809625"/>
                    <a:gd name="connsiteY31" fmla="*/ 175260 h 809625"/>
                    <a:gd name="connsiteX32" fmla="*/ 392430 w 809625"/>
                    <a:gd name="connsiteY32" fmla="*/ 243840 h 809625"/>
                    <a:gd name="connsiteX33" fmla="*/ 161925 w 809625"/>
                    <a:gd name="connsiteY33" fmla="*/ 243840 h 809625"/>
                    <a:gd name="connsiteX34" fmla="*/ 161925 w 809625"/>
                    <a:gd name="connsiteY34" fmla="*/ 54293 h 809625"/>
                    <a:gd name="connsiteX35" fmla="*/ 161925 w 809625"/>
                    <a:gd name="connsiteY35" fmla="*/ 270510 h 809625"/>
                    <a:gd name="connsiteX36" fmla="*/ 404813 w 809625"/>
                    <a:gd name="connsiteY36" fmla="*/ 270510 h 809625"/>
                    <a:gd name="connsiteX37" fmla="*/ 411480 w 809625"/>
                    <a:gd name="connsiteY37" fmla="*/ 300038 h 809625"/>
                    <a:gd name="connsiteX38" fmla="*/ 458153 w 809625"/>
                    <a:gd name="connsiteY38" fmla="*/ 281940 h 809625"/>
                    <a:gd name="connsiteX39" fmla="*/ 478155 w 809625"/>
                    <a:gd name="connsiteY39" fmla="*/ 284798 h 809625"/>
                    <a:gd name="connsiteX40" fmla="*/ 478155 w 809625"/>
                    <a:gd name="connsiteY40" fmla="*/ 270510 h 809625"/>
                    <a:gd name="connsiteX41" fmla="*/ 518160 w 809625"/>
                    <a:gd name="connsiteY41" fmla="*/ 270510 h 809625"/>
                    <a:gd name="connsiteX42" fmla="*/ 487680 w 809625"/>
                    <a:gd name="connsiteY42" fmla="*/ 288608 h 809625"/>
                    <a:gd name="connsiteX43" fmla="*/ 526733 w 809625"/>
                    <a:gd name="connsiteY43" fmla="*/ 346710 h 809625"/>
                    <a:gd name="connsiteX44" fmla="*/ 638175 w 809625"/>
                    <a:gd name="connsiteY44" fmla="*/ 309563 h 809625"/>
                    <a:gd name="connsiteX45" fmla="*/ 678180 w 809625"/>
                    <a:gd name="connsiteY45" fmla="*/ 270510 h 809625"/>
                    <a:gd name="connsiteX46" fmla="*/ 755333 w 809625"/>
                    <a:gd name="connsiteY46" fmla="*/ 270510 h 809625"/>
                    <a:gd name="connsiteX47" fmla="*/ 755333 w 809625"/>
                    <a:gd name="connsiteY47" fmla="*/ 459105 h 809625"/>
                    <a:gd name="connsiteX48" fmla="*/ 679133 w 809625"/>
                    <a:gd name="connsiteY48" fmla="*/ 459105 h 809625"/>
                    <a:gd name="connsiteX49" fmla="*/ 701040 w 809625"/>
                    <a:gd name="connsiteY49" fmla="*/ 385763 h 809625"/>
                    <a:gd name="connsiteX50" fmla="*/ 526733 w 809625"/>
                    <a:gd name="connsiteY50" fmla="*/ 353378 h 809625"/>
                    <a:gd name="connsiteX51" fmla="*/ 487680 w 809625"/>
                    <a:gd name="connsiteY51" fmla="*/ 412433 h 809625"/>
                    <a:gd name="connsiteX52" fmla="*/ 523875 w 809625"/>
                    <a:gd name="connsiteY52" fmla="*/ 459105 h 809625"/>
                    <a:gd name="connsiteX53" fmla="*/ 459105 w 809625"/>
                    <a:gd name="connsiteY53" fmla="*/ 459105 h 809625"/>
                    <a:gd name="connsiteX54" fmla="*/ 474345 w 809625"/>
                    <a:gd name="connsiteY54" fmla="*/ 417195 h 809625"/>
                    <a:gd name="connsiteX55" fmla="*/ 457200 w 809625"/>
                    <a:gd name="connsiteY55" fmla="*/ 419100 h 809625"/>
                    <a:gd name="connsiteX56" fmla="*/ 405765 w 809625"/>
                    <a:gd name="connsiteY56" fmla="*/ 396240 h 809625"/>
                    <a:gd name="connsiteX57" fmla="*/ 360998 w 809625"/>
                    <a:gd name="connsiteY57" fmla="*/ 459105 h 809625"/>
                    <a:gd name="connsiteX58" fmla="*/ 161925 w 809625"/>
                    <a:gd name="connsiteY58" fmla="*/ 459105 h 809625"/>
                    <a:gd name="connsiteX59" fmla="*/ 161925 w 809625"/>
                    <a:gd name="connsiteY59" fmla="*/ 270510 h 809625"/>
                    <a:gd name="connsiteX60" fmla="*/ 161925 w 809625"/>
                    <a:gd name="connsiteY60" fmla="*/ 675323 h 809625"/>
                    <a:gd name="connsiteX61" fmla="*/ 161925 w 809625"/>
                    <a:gd name="connsiteY61" fmla="*/ 485775 h 809625"/>
                    <a:gd name="connsiteX62" fmla="*/ 343853 w 809625"/>
                    <a:gd name="connsiteY62" fmla="*/ 485775 h 809625"/>
                    <a:gd name="connsiteX63" fmla="*/ 343853 w 809625"/>
                    <a:gd name="connsiteY63" fmla="*/ 485775 h 809625"/>
                    <a:gd name="connsiteX64" fmla="*/ 355283 w 809625"/>
                    <a:gd name="connsiteY64" fmla="*/ 567690 h 809625"/>
                    <a:gd name="connsiteX65" fmla="*/ 498158 w 809625"/>
                    <a:gd name="connsiteY65" fmla="*/ 588645 h 809625"/>
                    <a:gd name="connsiteX66" fmla="*/ 459105 w 809625"/>
                    <a:gd name="connsiteY66" fmla="*/ 484823 h 809625"/>
                    <a:gd name="connsiteX67" fmla="*/ 545783 w 809625"/>
                    <a:gd name="connsiteY67" fmla="*/ 484823 h 809625"/>
                    <a:gd name="connsiteX68" fmla="*/ 558165 w 809625"/>
                    <a:gd name="connsiteY68" fmla="*/ 501967 h 809625"/>
                    <a:gd name="connsiteX69" fmla="*/ 640080 w 809625"/>
                    <a:gd name="connsiteY69" fmla="*/ 515303 h 809625"/>
                    <a:gd name="connsiteX70" fmla="*/ 665798 w 809625"/>
                    <a:gd name="connsiteY70" fmla="*/ 484823 h 809625"/>
                    <a:gd name="connsiteX71" fmla="*/ 756285 w 809625"/>
                    <a:gd name="connsiteY71" fmla="*/ 484823 h 809625"/>
                    <a:gd name="connsiteX72" fmla="*/ 756285 w 809625"/>
                    <a:gd name="connsiteY72" fmla="*/ 673418 h 809625"/>
                    <a:gd name="connsiteX73" fmla="*/ 161925 w 809625"/>
                    <a:gd name="connsiteY73" fmla="*/ 673418 h 8096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</a:cxnLst>
                  <a:rect l="l" t="t" r="r" b="b"/>
                  <a:pathLst>
                    <a:path w="809625" h="809625">
                      <a:moveTo>
                        <a:pt x="107632" y="0"/>
                      </a:moveTo>
                      <a:lnTo>
                        <a:pt x="107632" y="80963"/>
                      </a:lnTo>
                      <a:lnTo>
                        <a:pt x="0" y="80963"/>
                      </a:lnTo>
                      <a:lnTo>
                        <a:pt x="0" y="161925"/>
                      </a:lnTo>
                      <a:lnTo>
                        <a:pt x="107632" y="161925"/>
                      </a:lnTo>
                      <a:lnTo>
                        <a:pt x="107632" y="594360"/>
                      </a:lnTo>
                      <a:lnTo>
                        <a:pt x="0" y="594360"/>
                      </a:lnTo>
                      <a:lnTo>
                        <a:pt x="0" y="675323"/>
                      </a:lnTo>
                      <a:lnTo>
                        <a:pt x="107632" y="675323"/>
                      </a:lnTo>
                      <a:lnTo>
                        <a:pt x="107632" y="701993"/>
                      </a:lnTo>
                      <a:lnTo>
                        <a:pt x="107632" y="728663"/>
                      </a:lnTo>
                      <a:lnTo>
                        <a:pt x="107632" y="809625"/>
                      </a:lnTo>
                      <a:lnTo>
                        <a:pt x="161925" y="809625"/>
                      </a:lnTo>
                      <a:lnTo>
                        <a:pt x="161925" y="728663"/>
                      </a:lnTo>
                      <a:lnTo>
                        <a:pt x="756285" y="728663"/>
                      </a:lnTo>
                      <a:lnTo>
                        <a:pt x="756285" y="809625"/>
                      </a:lnTo>
                      <a:lnTo>
                        <a:pt x="810578" y="809625"/>
                      </a:lnTo>
                      <a:lnTo>
                        <a:pt x="810578" y="728663"/>
                      </a:lnTo>
                      <a:lnTo>
                        <a:pt x="810578" y="701993"/>
                      </a:lnTo>
                      <a:lnTo>
                        <a:pt x="810578" y="0"/>
                      </a:lnTo>
                      <a:lnTo>
                        <a:pt x="107632" y="0"/>
                      </a:lnTo>
                      <a:close/>
                      <a:moveTo>
                        <a:pt x="161925" y="54293"/>
                      </a:moveTo>
                      <a:lnTo>
                        <a:pt x="756285" y="54293"/>
                      </a:lnTo>
                      <a:lnTo>
                        <a:pt x="756285" y="242888"/>
                      </a:lnTo>
                      <a:lnTo>
                        <a:pt x="681038" y="242888"/>
                      </a:lnTo>
                      <a:cubicBezTo>
                        <a:pt x="680085" y="240030"/>
                        <a:pt x="680085" y="238125"/>
                        <a:pt x="679133" y="235268"/>
                      </a:cubicBezTo>
                      <a:cubicBezTo>
                        <a:pt x="664845" y="191452"/>
                        <a:pt x="601028" y="146685"/>
                        <a:pt x="576263" y="134303"/>
                      </a:cubicBezTo>
                      <a:cubicBezTo>
                        <a:pt x="576263" y="147638"/>
                        <a:pt x="574358" y="200977"/>
                        <a:pt x="545783" y="242888"/>
                      </a:cubicBezTo>
                      <a:lnTo>
                        <a:pt x="481013" y="242888"/>
                      </a:lnTo>
                      <a:cubicBezTo>
                        <a:pt x="481013" y="209550"/>
                        <a:pt x="481013" y="169545"/>
                        <a:pt x="481013" y="168593"/>
                      </a:cubicBezTo>
                      <a:cubicBezTo>
                        <a:pt x="481013" y="135255"/>
                        <a:pt x="458153" y="108585"/>
                        <a:pt x="423863" y="108585"/>
                      </a:cubicBezTo>
                      <a:cubicBezTo>
                        <a:pt x="378143" y="108585"/>
                        <a:pt x="315278" y="155258"/>
                        <a:pt x="295275" y="175260"/>
                      </a:cubicBezTo>
                      <a:cubicBezTo>
                        <a:pt x="308610" y="179070"/>
                        <a:pt x="361950" y="199073"/>
                        <a:pt x="392430" y="243840"/>
                      </a:cubicBezTo>
                      <a:lnTo>
                        <a:pt x="161925" y="243840"/>
                      </a:lnTo>
                      <a:lnTo>
                        <a:pt x="161925" y="54293"/>
                      </a:lnTo>
                      <a:close/>
                      <a:moveTo>
                        <a:pt x="161925" y="270510"/>
                      </a:moveTo>
                      <a:lnTo>
                        <a:pt x="404813" y="270510"/>
                      </a:lnTo>
                      <a:cubicBezTo>
                        <a:pt x="408623" y="280035"/>
                        <a:pt x="410528" y="289560"/>
                        <a:pt x="411480" y="300038"/>
                      </a:cubicBezTo>
                      <a:cubicBezTo>
                        <a:pt x="423863" y="288608"/>
                        <a:pt x="440055" y="281940"/>
                        <a:pt x="458153" y="281940"/>
                      </a:cubicBezTo>
                      <a:cubicBezTo>
                        <a:pt x="464820" y="281940"/>
                        <a:pt x="472440" y="282893"/>
                        <a:pt x="478155" y="284798"/>
                      </a:cubicBezTo>
                      <a:cubicBezTo>
                        <a:pt x="478155" y="281940"/>
                        <a:pt x="478155" y="277178"/>
                        <a:pt x="478155" y="270510"/>
                      </a:cubicBezTo>
                      <a:lnTo>
                        <a:pt x="518160" y="270510"/>
                      </a:lnTo>
                      <a:cubicBezTo>
                        <a:pt x="509588" y="277178"/>
                        <a:pt x="499110" y="283845"/>
                        <a:pt x="487680" y="288608"/>
                      </a:cubicBezTo>
                      <a:cubicBezTo>
                        <a:pt x="509588" y="299085"/>
                        <a:pt x="524828" y="320993"/>
                        <a:pt x="526733" y="346710"/>
                      </a:cubicBezTo>
                      <a:lnTo>
                        <a:pt x="638175" y="309563"/>
                      </a:lnTo>
                      <a:cubicBezTo>
                        <a:pt x="658178" y="302895"/>
                        <a:pt x="672465" y="288608"/>
                        <a:pt x="678180" y="270510"/>
                      </a:cubicBezTo>
                      <a:lnTo>
                        <a:pt x="755333" y="270510"/>
                      </a:lnTo>
                      <a:lnTo>
                        <a:pt x="755333" y="459105"/>
                      </a:lnTo>
                      <a:lnTo>
                        <a:pt x="679133" y="459105"/>
                      </a:lnTo>
                      <a:cubicBezTo>
                        <a:pt x="691515" y="430530"/>
                        <a:pt x="699135" y="401003"/>
                        <a:pt x="701040" y="385763"/>
                      </a:cubicBezTo>
                      <a:cubicBezTo>
                        <a:pt x="682943" y="392430"/>
                        <a:pt x="584835" y="421958"/>
                        <a:pt x="526733" y="353378"/>
                      </a:cubicBezTo>
                      <a:cubicBezTo>
                        <a:pt x="525780" y="379095"/>
                        <a:pt x="509588" y="401955"/>
                        <a:pt x="487680" y="412433"/>
                      </a:cubicBezTo>
                      <a:cubicBezTo>
                        <a:pt x="494348" y="421005"/>
                        <a:pt x="509588" y="440055"/>
                        <a:pt x="523875" y="459105"/>
                      </a:cubicBezTo>
                      <a:lnTo>
                        <a:pt x="459105" y="459105"/>
                      </a:lnTo>
                      <a:cubicBezTo>
                        <a:pt x="461010" y="444818"/>
                        <a:pt x="466725" y="430530"/>
                        <a:pt x="474345" y="417195"/>
                      </a:cubicBezTo>
                      <a:cubicBezTo>
                        <a:pt x="468630" y="418148"/>
                        <a:pt x="462915" y="419100"/>
                        <a:pt x="457200" y="419100"/>
                      </a:cubicBezTo>
                      <a:cubicBezTo>
                        <a:pt x="437198" y="419100"/>
                        <a:pt x="419100" y="410528"/>
                        <a:pt x="405765" y="396240"/>
                      </a:cubicBezTo>
                      <a:cubicBezTo>
                        <a:pt x="396240" y="409575"/>
                        <a:pt x="376238" y="437198"/>
                        <a:pt x="360998" y="459105"/>
                      </a:cubicBezTo>
                      <a:lnTo>
                        <a:pt x="161925" y="459105"/>
                      </a:lnTo>
                      <a:lnTo>
                        <a:pt x="161925" y="270510"/>
                      </a:lnTo>
                      <a:close/>
                      <a:moveTo>
                        <a:pt x="161925" y="675323"/>
                      </a:moveTo>
                      <a:lnTo>
                        <a:pt x="161925" y="485775"/>
                      </a:lnTo>
                      <a:lnTo>
                        <a:pt x="343853" y="485775"/>
                      </a:lnTo>
                      <a:cubicBezTo>
                        <a:pt x="343853" y="485775"/>
                        <a:pt x="343853" y="485775"/>
                        <a:pt x="343853" y="485775"/>
                      </a:cubicBezTo>
                      <a:cubicBezTo>
                        <a:pt x="323850" y="513398"/>
                        <a:pt x="327660" y="548640"/>
                        <a:pt x="355283" y="567690"/>
                      </a:cubicBezTo>
                      <a:cubicBezTo>
                        <a:pt x="392430" y="594360"/>
                        <a:pt x="470535" y="593408"/>
                        <a:pt x="498158" y="588645"/>
                      </a:cubicBezTo>
                      <a:cubicBezTo>
                        <a:pt x="490538" y="578168"/>
                        <a:pt x="461963" y="535305"/>
                        <a:pt x="459105" y="484823"/>
                      </a:cubicBezTo>
                      <a:lnTo>
                        <a:pt x="545783" y="484823"/>
                      </a:lnTo>
                      <a:cubicBezTo>
                        <a:pt x="553403" y="494348"/>
                        <a:pt x="558165" y="501015"/>
                        <a:pt x="558165" y="501967"/>
                      </a:cubicBezTo>
                      <a:cubicBezTo>
                        <a:pt x="578168" y="528638"/>
                        <a:pt x="613410" y="535305"/>
                        <a:pt x="640080" y="515303"/>
                      </a:cubicBezTo>
                      <a:cubicBezTo>
                        <a:pt x="649605" y="507683"/>
                        <a:pt x="658178" y="497205"/>
                        <a:pt x="665798" y="484823"/>
                      </a:cubicBezTo>
                      <a:lnTo>
                        <a:pt x="756285" y="484823"/>
                      </a:lnTo>
                      <a:lnTo>
                        <a:pt x="756285" y="673418"/>
                      </a:lnTo>
                      <a:lnTo>
                        <a:pt x="161925" y="673418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914309">
                    <a:defRPr/>
                  </a:pPr>
                  <a:endParaRPr lang="en-US" sz="2000">
                    <a:solidFill>
                      <a:prstClr val="black"/>
                    </a:solidFill>
                    <a:latin typeface="Corbel" panose="020B0503020204020204" pitchFamily="34" charset="0"/>
                    <a:cs typeface="Arial" charset="0"/>
                  </a:endParaRPr>
                </a:p>
              </p:txBody>
            </p:sp>
            <p:sp>
              <p:nvSpPr>
                <p:cNvPr id="86" name="Freihandform: Form 85">
                  <a:extLst>
                    <a:ext uri="{FF2B5EF4-FFF2-40B4-BE49-F238E27FC236}">
                      <a16:creationId xmlns:a16="http://schemas.microsoft.com/office/drawing/2014/main" id="{78E99737-E7A0-4BE3-9D51-5259E34C2DA9}"/>
                    </a:ext>
                  </a:extLst>
                </p:cNvPr>
                <p:cNvSpPr/>
                <p:nvPr/>
              </p:nvSpPr>
              <p:spPr>
                <a:xfrm>
                  <a:off x="7909493" y="2590403"/>
                  <a:ext cx="95250" cy="95250"/>
                </a:xfrm>
                <a:custGeom>
                  <a:avLst/>
                  <a:gdLst>
                    <a:gd name="connsiteX0" fmla="*/ 102870 w 95250"/>
                    <a:gd name="connsiteY0" fmla="*/ 51435 h 95250"/>
                    <a:gd name="connsiteX1" fmla="*/ 51435 w 95250"/>
                    <a:gd name="connsiteY1" fmla="*/ 102870 h 95250"/>
                    <a:gd name="connsiteX2" fmla="*/ 0 w 95250"/>
                    <a:gd name="connsiteY2" fmla="*/ 51435 h 95250"/>
                    <a:gd name="connsiteX3" fmla="*/ 51435 w 95250"/>
                    <a:gd name="connsiteY3" fmla="*/ 0 h 95250"/>
                    <a:gd name="connsiteX4" fmla="*/ 102870 w 95250"/>
                    <a:gd name="connsiteY4" fmla="*/ 51435 h 952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5250" h="95250">
                      <a:moveTo>
                        <a:pt x="102870" y="51435"/>
                      </a:moveTo>
                      <a:cubicBezTo>
                        <a:pt x="102870" y="79842"/>
                        <a:pt x="79842" y="102870"/>
                        <a:pt x="51435" y="102870"/>
                      </a:cubicBezTo>
                      <a:cubicBezTo>
                        <a:pt x="23028" y="102870"/>
                        <a:pt x="0" y="79842"/>
                        <a:pt x="0" y="51435"/>
                      </a:cubicBezTo>
                      <a:cubicBezTo>
                        <a:pt x="0" y="23028"/>
                        <a:pt x="23028" y="0"/>
                        <a:pt x="51435" y="0"/>
                      </a:cubicBezTo>
                      <a:cubicBezTo>
                        <a:pt x="79842" y="0"/>
                        <a:pt x="102870" y="23028"/>
                        <a:pt x="102870" y="5143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914309">
                    <a:defRPr/>
                  </a:pPr>
                  <a:endParaRPr lang="en-US" sz="2000">
                    <a:solidFill>
                      <a:prstClr val="black"/>
                    </a:solidFill>
                    <a:latin typeface="Corbel" panose="020B0503020204020204" pitchFamily="34" charset="0"/>
                    <a:cs typeface="Arial" charset="0"/>
                  </a:endParaRPr>
                </a:p>
              </p:txBody>
            </p:sp>
            <p:sp>
              <p:nvSpPr>
                <p:cNvPr id="87" name="Freihandform: Form 86">
                  <a:extLst>
                    <a:ext uri="{FF2B5EF4-FFF2-40B4-BE49-F238E27FC236}">
                      <a16:creationId xmlns:a16="http://schemas.microsoft.com/office/drawing/2014/main" id="{9687CBB2-5309-451E-A1B2-E044FADFF6E3}"/>
                    </a:ext>
                  </a:extLst>
                </p:cNvPr>
                <p:cNvSpPr/>
                <p:nvPr/>
              </p:nvSpPr>
              <p:spPr>
                <a:xfrm>
                  <a:off x="7717984" y="2564022"/>
                  <a:ext cx="180975" cy="171450"/>
                </a:xfrm>
                <a:custGeom>
                  <a:avLst/>
                  <a:gdLst>
                    <a:gd name="connsiteX0" fmla="*/ 181984 w 180975"/>
                    <a:gd name="connsiteY0" fmla="*/ 109248 h 171450"/>
                    <a:gd name="connsiteX1" fmla="*/ 174364 w 180975"/>
                    <a:gd name="connsiteY1" fmla="*/ 77816 h 171450"/>
                    <a:gd name="connsiteX2" fmla="*/ 185794 w 180975"/>
                    <a:gd name="connsiteY2" fmla="*/ 39716 h 171450"/>
                    <a:gd name="connsiteX3" fmla="*/ 80066 w 180975"/>
                    <a:gd name="connsiteY3" fmla="*/ 3521 h 171450"/>
                    <a:gd name="connsiteX4" fmla="*/ 4819 w 180975"/>
                    <a:gd name="connsiteY4" fmla="*/ 37811 h 171450"/>
                    <a:gd name="connsiteX5" fmla="*/ 25774 w 180975"/>
                    <a:gd name="connsiteY5" fmla="*/ 180686 h 171450"/>
                    <a:gd name="connsiteX6" fmla="*/ 181984 w 180975"/>
                    <a:gd name="connsiteY6" fmla="*/ 109248 h 1714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80975" h="171450">
                      <a:moveTo>
                        <a:pt x="181984" y="109248"/>
                      </a:moveTo>
                      <a:cubicBezTo>
                        <a:pt x="177221" y="99723"/>
                        <a:pt x="174364" y="89246"/>
                        <a:pt x="174364" y="77816"/>
                      </a:cubicBezTo>
                      <a:cubicBezTo>
                        <a:pt x="174364" y="63528"/>
                        <a:pt x="179126" y="50193"/>
                        <a:pt x="185794" y="39716"/>
                      </a:cubicBezTo>
                      <a:cubicBezTo>
                        <a:pt x="146741" y="26381"/>
                        <a:pt x="81971" y="4473"/>
                        <a:pt x="80066" y="3521"/>
                      </a:cubicBezTo>
                      <a:cubicBezTo>
                        <a:pt x="48634" y="-6957"/>
                        <a:pt x="15296" y="6378"/>
                        <a:pt x="4819" y="37811"/>
                      </a:cubicBezTo>
                      <a:cubicBezTo>
                        <a:pt x="-10421" y="81626"/>
                        <a:pt x="14344" y="155921"/>
                        <a:pt x="25774" y="180686"/>
                      </a:cubicBezTo>
                      <a:cubicBezTo>
                        <a:pt x="37204" y="166398"/>
                        <a:pt x="98164" y="91151"/>
                        <a:pt x="181984" y="10924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914309">
                    <a:defRPr/>
                  </a:pPr>
                  <a:endParaRPr lang="en-US" sz="2000">
                    <a:solidFill>
                      <a:prstClr val="black"/>
                    </a:solidFill>
                    <a:latin typeface="Corbel" panose="020B0503020204020204" pitchFamily="34" charset="0"/>
                    <a:cs typeface="Arial" charset="0"/>
                  </a:endParaRPr>
                </a:p>
              </p:txBody>
            </p:sp>
          </p:grpSp>
        </p:grpSp>
        <p:sp>
          <p:nvSpPr>
            <p:cNvPr id="82" name="Rechteck 81">
              <a:extLst>
                <a:ext uri="{FF2B5EF4-FFF2-40B4-BE49-F238E27FC236}">
                  <a16:creationId xmlns:a16="http://schemas.microsoft.com/office/drawing/2014/main" id="{FBA31C02-EB1D-4884-902E-07D9586EE6BB}"/>
                </a:ext>
              </a:extLst>
            </p:cNvPr>
            <p:cNvSpPr/>
            <p:nvPr/>
          </p:nvSpPr>
          <p:spPr bwMode="gray">
            <a:xfrm>
              <a:off x="5266229" y="2939538"/>
              <a:ext cx="2736000" cy="86671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79977" rtlCol="0" anchor="ctr" anchorCtr="0"/>
            <a:lstStyle/>
            <a:p>
              <a:pPr defTabSz="914309">
                <a:defRPr/>
              </a:pPr>
              <a:r>
                <a:rPr lang="cs-CZ" sz="1400" b="1" dirty="0">
                  <a:solidFill>
                    <a:prstClr val="black"/>
                  </a:solidFill>
                  <a:latin typeface="Calibri"/>
                  <a:cs typeface="Arial" charset="0"/>
                </a:rPr>
                <a:t>Kompaktní vzduchotechnika</a:t>
              </a:r>
              <a:endParaRPr lang="en-US" sz="1400" b="1" dirty="0">
                <a:solidFill>
                  <a:prstClr val="black"/>
                </a:solidFill>
                <a:latin typeface="Calibri"/>
                <a:cs typeface="Arial" charset="0"/>
              </a:endParaRPr>
            </a:p>
          </p:txBody>
        </p:sp>
      </p:grp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8EDCF66B-E21D-42BA-9A22-B6F39DDD9576}"/>
              </a:ext>
            </a:extLst>
          </p:cNvPr>
          <p:cNvGrpSpPr/>
          <p:nvPr/>
        </p:nvGrpSpPr>
        <p:grpSpPr>
          <a:xfrm>
            <a:off x="2160174" y="4241193"/>
            <a:ext cx="3605887" cy="866599"/>
            <a:chOff x="442052" y="2944966"/>
            <a:chExt cx="3606357" cy="866712"/>
          </a:xfrm>
        </p:grpSpPr>
        <p:sp>
          <p:nvSpPr>
            <p:cNvPr id="77" name="Rechteck 76">
              <a:extLst>
                <a:ext uri="{FF2B5EF4-FFF2-40B4-BE49-F238E27FC236}">
                  <a16:creationId xmlns:a16="http://schemas.microsoft.com/office/drawing/2014/main" id="{E517ADEF-5535-4394-BC1C-C6A9EDA6EF7F}"/>
                </a:ext>
              </a:extLst>
            </p:cNvPr>
            <p:cNvSpPr/>
            <p:nvPr/>
          </p:nvSpPr>
          <p:spPr bwMode="gray">
            <a:xfrm>
              <a:off x="442052" y="2944966"/>
              <a:ext cx="866712" cy="86671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09">
                <a:defRPr/>
              </a:pPr>
              <a:endParaRPr lang="en-US" sz="2400">
                <a:solidFill>
                  <a:prstClr val="white"/>
                </a:solidFill>
                <a:latin typeface="Corbel" panose="020B0503020204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78" name="Grafik 70">
              <a:extLst>
                <a:ext uri="{FF2B5EF4-FFF2-40B4-BE49-F238E27FC236}">
                  <a16:creationId xmlns:a16="http://schemas.microsoft.com/office/drawing/2014/main" id="{8E1DE817-1DAC-4DA0-82CA-334FC1D77A01}"/>
                </a:ext>
              </a:extLst>
            </p:cNvPr>
            <p:cNvGrpSpPr/>
            <p:nvPr/>
          </p:nvGrpSpPr>
          <p:grpSpPr>
            <a:xfrm>
              <a:off x="665768" y="3178350"/>
              <a:ext cx="419282" cy="419282"/>
              <a:chOff x="893318" y="3205294"/>
              <a:chExt cx="733784" cy="733784"/>
            </a:xfrm>
          </p:grpSpPr>
          <p:sp>
            <p:nvSpPr>
              <p:cNvPr id="79" name="Freihandform: Form 78">
                <a:extLst>
                  <a:ext uri="{FF2B5EF4-FFF2-40B4-BE49-F238E27FC236}">
                    <a16:creationId xmlns:a16="http://schemas.microsoft.com/office/drawing/2014/main" id="{A42B7B80-43AE-4476-A036-E328752A6A58}"/>
                  </a:ext>
                </a:extLst>
              </p:cNvPr>
              <p:cNvSpPr/>
              <p:nvPr/>
            </p:nvSpPr>
            <p:spPr>
              <a:xfrm>
                <a:off x="1218170" y="3530146"/>
                <a:ext cx="84079" cy="84079"/>
              </a:xfrm>
              <a:custGeom>
                <a:avLst/>
                <a:gdLst>
                  <a:gd name="connsiteX0" fmla="*/ 87137 w 84079"/>
                  <a:gd name="connsiteY0" fmla="*/ 43568 h 84079"/>
                  <a:gd name="connsiteX1" fmla="*/ 43568 w 84079"/>
                  <a:gd name="connsiteY1" fmla="*/ 87137 h 84079"/>
                  <a:gd name="connsiteX2" fmla="*/ 0 w 84079"/>
                  <a:gd name="connsiteY2" fmla="*/ 43568 h 84079"/>
                  <a:gd name="connsiteX3" fmla="*/ 43568 w 84079"/>
                  <a:gd name="connsiteY3" fmla="*/ 0 h 84079"/>
                  <a:gd name="connsiteX4" fmla="*/ 87137 w 84079"/>
                  <a:gd name="connsiteY4" fmla="*/ 43568 h 840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4079" h="84079">
                    <a:moveTo>
                      <a:pt x="87137" y="43568"/>
                    </a:moveTo>
                    <a:cubicBezTo>
                      <a:pt x="87137" y="67631"/>
                      <a:pt x="67631" y="87137"/>
                      <a:pt x="43568" y="87137"/>
                    </a:cubicBezTo>
                    <a:cubicBezTo>
                      <a:pt x="19506" y="87137"/>
                      <a:pt x="0" y="67631"/>
                      <a:pt x="0" y="43568"/>
                    </a:cubicBezTo>
                    <a:cubicBezTo>
                      <a:pt x="0" y="19506"/>
                      <a:pt x="19506" y="0"/>
                      <a:pt x="43568" y="0"/>
                    </a:cubicBezTo>
                    <a:cubicBezTo>
                      <a:pt x="67631" y="0"/>
                      <a:pt x="87137" y="19506"/>
                      <a:pt x="87137" y="43568"/>
                    </a:cubicBezTo>
                    <a:close/>
                  </a:path>
                </a:pathLst>
              </a:custGeom>
              <a:solidFill>
                <a:schemeClr val="bg1"/>
              </a:solidFill>
              <a:ln w="764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4309">
                  <a:defRPr/>
                </a:pPr>
                <a:endParaRPr lang="en-US" sz="2000">
                  <a:solidFill>
                    <a:prstClr val="black"/>
                  </a:solidFill>
                  <a:latin typeface="Corbel" panose="020B0503020204020204" pitchFamily="34" charset="0"/>
                  <a:cs typeface="Arial" charset="0"/>
                </a:endParaRPr>
              </a:p>
            </p:txBody>
          </p:sp>
          <p:sp>
            <p:nvSpPr>
              <p:cNvPr id="80" name="Freihandform: Form 79">
                <a:extLst>
                  <a:ext uri="{FF2B5EF4-FFF2-40B4-BE49-F238E27FC236}">
                    <a16:creationId xmlns:a16="http://schemas.microsoft.com/office/drawing/2014/main" id="{55D5F226-295D-47D6-85C4-4D920642E797}"/>
                  </a:ext>
                </a:extLst>
              </p:cNvPr>
              <p:cNvSpPr/>
              <p:nvPr/>
            </p:nvSpPr>
            <p:spPr>
              <a:xfrm>
                <a:off x="893318" y="3205294"/>
                <a:ext cx="733784" cy="733784"/>
              </a:xfrm>
              <a:custGeom>
                <a:avLst/>
                <a:gdLst>
                  <a:gd name="connsiteX0" fmla="*/ 368421 w 733784"/>
                  <a:gd name="connsiteY0" fmla="*/ 0 h 733784"/>
                  <a:gd name="connsiteX1" fmla="*/ 0 w 733784"/>
                  <a:gd name="connsiteY1" fmla="*/ 368421 h 733784"/>
                  <a:gd name="connsiteX2" fmla="*/ 368421 w 733784"/>
                  <a:gd name="connsiteY2" fmla="*/ 736841 h 733784"/>
                  <a:gd name="connsiteX3" fmla="*/ 736841 w 733784"/>
                  <a:gd name="connsiteY3" fmla="*/ 368421 h 733784"/>
                  <a:gd name="connsiteX4" fmla="*/ 368421 w 733784"/>
                  <a:gd name="connsiteY4" fmla="*/ 0 h 733784"/>
                  <a:gd name="connsiteX5" fmla="*/ 514413 w 733784"/>
                  <a:gd name="connsiteY5" fmla="*/ 97838 h 733784"/>
                  <a:gd name="connsiteX6" fmla="*/ 644354 w 733784"/>
                  <a:gd name="connsiteY6" fmla="*/ 224721 h 733784"/>
                  <a:gd name="connsiteX7" fmla="*/ 594671 w 733784"/>
                  <a:gd name="connsiteY7" fmla="*/ 316444 h 733784"/>
                  <a:gd name="connsiteX8" fmla="*/ 454793 w 733784"/>
                  <a:gd name="connsiteY8" fmla="*/ 362306 h 733784"/>
                  <a:gd name="connsiteX9" fmla="*/ 405874 w 733784"/>
                  <a:gd name="connsiteY9" fmla="*/ 289692 h 733784"/>
                  <a:gd name="connsiteX10" fmla="*/ 514413 w 733784"/>
                  <a:gd name="connsiteY10" fmla="*/ 97838 h 733784"/>
                  <a:gd name="connsiteX11" fmla="*/ 433391 w 733784"/>
                  <a:gd name="connsiteY11" fmla="*/ 368421 h 733784"/>
                  <a:gd name="connsiteX12" fmla="*/ 368421 w 733784"/>
                  <a:gd name="connsiteY12" fmla="*/ 433391 h 733784"/>
                  <a:gd name="connsiteX13" fmla="*/ 303450 w 733784"/>
                  <a:gd name="connsiteY13" fmla="*/ 368421 h 733784"/>
                  <a:gd name="connsiteX14" fmla="*/ 368421 w 733784"/>
                  <a:gd name="connsiteY14" fmla="*/ 303450 h 733784"/>
                  <a:gd name="connsiteX15" fmla="*/ 433391 w 733784"/>
                  <a:gd name="connsiteY15" fmla="*/ 368421 h 733784"/>
                  <a:gd name="connsiteX16" fmla="*/ 322559 w 733784"/>
                  <a:gd name="connsiteY16" fmla="*/ 64206 h 733784"/>
                  <a:gd name="connsiteX17" fmla="*/ 394409 w 733784"/>
                  <a:gd name="connsiteY17" fmla="*/ 139878 h 733784"/>
                  <a:gd name="connsiteX18" fmla="*/ 394409 w 733784"/>
                  <a:gd name="connsiteY18" fmla="*/ 285106 h 733784"/>
                  <a:gd name="connsiteX19" fmla="*/ 368421 w 733784"/>
                  <a:gd name="connsiteY19" fmla="*/ 281284 h 733784"/>
                  <a:gd name="connsiteX20" fmla="*/ 309565 w 733784"/>
                  <a:gd name="connsiteY20" fmla="*/ 304215 h 733784"/>
                  <a:gd name="connsiteX21" fmla="*/ 161280 w 733784"/>
                  <a:gd name="connsiteY21" fmla="*/ 146757 h 733784"/>
                  <a:gd name="connsiteX22" fmla="*/ 322559 w 733784"/>
                  <a:gd name="connsiteY22" fmla="*/ 64206 h 733784"/>
                  <a:gd name="connsiteX23" fmla="*/ 95545 w 733784"/>
                  <a:gd name="connsiteY23" fmla="*/ 497597 h 733784"/>
                  <a:gd name="connsiteX24" fmla="*/ 68792 w 733784"/>
                  <a:gd name="connsiteY24" fmla="*/ 317973 h 733784"/>
                  <a:gd name="connsiteX25" fmla="*/ 163573 w 733784"/>
                  <a:gd name="connsiteY25" fmla="*/ 274405 h 733784"/>
                  <a:gd name="connsiteX26" fmla="*/ 295807 w 733784"/>
                  <a:gd name="connsiteY26" fmla="*/ 319502 h 733784"/>
                  <a:gd name="connsiteX27" fmla="*/ 281284 w 733784"/>
                  <a:gd name="connsiteY27" fmla="*/ 367656 h 733784"/>
                  <a:gd name="connsiteX28" fmla="*/ 290456 w 733784"/>
                  <a:gd name="connsiteY28" fmla="*/ 407403 h 733784"/>
                  <a:gd name="connsiteX29" fmla="*/ 95545 w 733784"/>
                  <a:gd name="connsiteY29" fmla="*/ 497597 h 733784"/>
                  <a:gd name="connsiteX30" fmla="*/ 236951 w 733784"/>
                  <a:gd name="connsiteY30" fmla="*/ 642825 h 733784"/>
                  <a:gd name="connsiteX31" fmla="*/ 223193 w 733784"/>
                  <a:gd name="connsiteY31" fmla="*/ 539637 h 733784"/>
                  <a:gd name="connsiteX32" fmla="*/ 304215 w 733784"/>
                  <a:gd name="connsiteY32" fmla="*/ 426512 h 733784"/>
                  <a:gd name="connsiteX33" fmla="*/ 368421 w 733784"/>
                  <a:gd name="connsiteY33" fmla="*/ 454793 h 733784"/>
                  <a:gd name="connsiteX34" fmla="*/ 389823 w 733784"/>
                  <a:gd name="connsiteY34" fmla="*/ 451736 h 733784"/>
                  <a:gd name="connsiteX35" fmla="*/ 417340 w 733784"/>
                  <a:gd name="connsiteY35" fmla="*/ 668814 h 733784"/>
                  <a:gd name="connsiteX36" fmla="*/ 236951 w 733784"/>
                  <a:gd name="connsiteY36" fmla="*/ 642825 h 733784"/>
                  <a:gd name="connsiteX37" fmla="*/ 596200 w 733784"/>
                  <a:gd name="connsiteY37" fmla="*/ 577091 h 733784"/>
                  <a:gd name="connsiteX38" fmla="*/ 493011 w 733784"/>
                  <a:gd name="connsiteY38" fmla="*/ 560275 h 733784"/>
                  <a:gd name="connsiteX39" fmla="*/ 405874 w 733784"/>
                  <a:gd name="connsiteY39" fmla="*/ 446385 h 733784"/>
                  <a:gd name="connsiteX40" fmla="*/ 454793 w 733784"/>
                  <a:gd name="connsiteY40" fmla="*/ 372243 h 733784"/>
                  <a:gd name="connsiteX41" fmla="*/ 673400 w 733784"/>
                  <a:gd name="connsiteY41" fmla="*/ 412754 h 733784"/>
                  <a:gd name="connsiteX42" fmla="*/ 596200 w 733784"/>
                  <a:gd name="connsiteY42" fmla="*/ 577091 h 7337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</a:cxnLst>
                <a:rect l="l" t="t" r="r" b="b"/>
                <a:pathLst>
                  <a:path w="733784" h="733784">
                    <a:moveTo>
                      <a:pt x="368421" y="0"/>
                    </a:moveTo>
                    <a:cubicBezTo>
                      <a:pt x="165101" y="0"/>
                      <a:pt x="0" y="165101"/>
                      <a:pt x="0" y="368421"/>
                    </a:cubicBezTo>
                    <a:cubicBezTo>
                      <a:pt x="0" y="571740"/>
                      <a:pt x="165101" y="736841"/>
                      <a:pt x="368421" y="736841"/>
                    </a:cubicBezTo>
                    <a:cubicBezTo>
                      <a:pt x="571740" y="736841"/>
                      <a:pt x="736841" y="571740"/>
                      <a:pt x="736841" y="368421"/>
                    </a:cubicBezTo>
                    <a:cubicBezTo>
                      <a:pt x="736841" y="165101"/>
                      <a:pt x="571740" y="0"/>
                      <a:pt x="368421" y="0"/>
                    </a:cubicBezTo>
                    <a:close/>
                    <a:moveTo>
                      <a:pt x="514413" y="97838"/>
                    </a:moveTo>
                    <a:cubicBezTo>
                      <a:pt x="545752" y="113889"/>
                      <a:pt x="626010" y="169688"/>
                      <a:pt x="644354" y="224721"/>
                    </a:cubicBezTo>
                    <a:cubicBezTo>
                      <a:pt x="657348" y="264468"/>
                      <a:pt x="634417" y="303450"/>
                      <a:pt x="594671" y="316444"/>
                    </a:cubicBezTo>
                    <a:lnTo>
                      <a:pt x="454793" y="362306"/>
                    </a:lnTo>
                    <a:cubicBezTo>
                      <a:pt x="452500" y="330203"/>
                      <a:pt x="433391" y="303450"/>
                      <a:pt x="405874" y="289692"/>
                    </a:cubicBezTo>
                    <a:cubicBezTo>
                      <a:pt x="509827" y="249181"/>
                      <a:pt x="514413" y="121533"/>
                      <a:pt x="514413" y="97838"/>
                    </a:cubicBezTo>
                    <a:close/>
                    <a:moveTo>
                      <a:pt x="433391" y="368421"/>
                    </a:moveTo>
                    <a:cubicBezTo>
                      <a:pt x="433391" y="404346"/>
                      <a:pt x="404346" y="433391"/>
                      <a:pt x="368421" y="433391"/>
                    </a:cubicBezTo>
                    <a:cubicBezTo>
                      <a:pt x="332496" y="433391"/>
                      <a:pt x="303450" y="404346"/>
                      <a:pt x="303450" y="368421"/>
                    </a:cubicBezTo>
                    <a:cubicBezTo>
                      <a:pt x="303450" y="332496"/>
                      <a:pt x="332496" y="303450"/>
                      <a:pt x="368421" y="303450"/>
                    </a:cubicBezTo>
                    <a:cubicBezTo>
                      <a:pt x="404346" y="303450"/>
                      <a:pt x="433391" y="332496"/>
                      <a:pt x="433391" y="368421"/>
                    </a:cubicBezTo>
                    <a:close/>
                    <a:moveTo>
                      <a:pt x="322559" y="64206"/>
                    </a:moveTo>
                    <a:cubicBezTo>
                      <a:pt x="364599" y="64206"/>
                      <a:pt x="394409" y="97838"/>
                      <a:pt x="394409" y="139878"/>
                    </a:cubicBezTo>
                    <a:cubicBezTo>
                      <a:pt x="394409" y="142935"/>
                      <a:pt x="394409" y="259882"/>
                      <a:pt x="394409" y="285106"/>
                    </a:cubicBezTo>
                    <a:cubicBezTo>
                      <a:pt x="386001" y="282813"/>
                      <a:pt x="377593" y="281284"/>
                      <a:pt x="368421" y="281284"/>
                    </a:cubicBezTo>
                    <a:cubicBezTo>
                      <a:pt x="345490" y="281284"/>
                      <a:pt x="324852" y="290456"/>
                      <a:pt x="309565" y="304215"/>
                    </a:cubicBezTo>
                    <a:cubicBezTo>
                      <a:pt x="298864" y="197204"/>
                      <a:pt x="183446" y="154400"/>
                      <a:pt x="161280" y="146757"/>
                    </a:cubicBezTo>
                    <a:cubicBezTo>
                      <a:pt x="186503" y="123062"/>
                      <a:pt x="264468" y="64206"/>
                      <a:pt x="322559" y="64206"/>
                    </a:cubicBezTo>
                    <a:close/>
                    <a:moveTo>
                      <a:pt x="95545" y="497597"/>
                    </a:moveTo>
                    <a:cubicBezTo>
                      <a:pt x="80258" y="466259"/>
                      <a:pt x="50448" y="373007"/>
                      <a:pt x="68792" y="317973"/>
                    </a:cubicBezTo>
                    <a:cubicBezTo>
                      <a:pt x="82551" y="278226"/>
                      <a:pt x="123826" y="261411"/>
                      <a:pt x="163573" y="274405"/>
                    </a:cubicBezTo>
                    <a:cubicBezTo>
                      <a:pt x="165866" y="275169"/>
                      <a:pt x="246888" y="302686"/>
                      <a:pt x="295807" y="319502"/>
                    </a:cubicBezTo>
                    <a:cubicBezTo>
                      <a:pt x="286634" y="333260"/>
                      <a:pt x="281284" y="350076"/>
                      <a:pt x="281284" y="367656"/>
                    </a:cubicBezTo>
                    <a:cubicBezTo>
                      <a:pt x="281284" y="382179"/>
                      <a:pt x="285106" y="395173"/>
                      <a:pt x="290456" y="407403"/>
                    </a:cubicBezTo>
                    <a:cubicBezTo>
                      <a:pt x="187268" y="384472"/>
                      <a:pt x="109303" y="479253"/>
                      <a:pt x="95545" y="497597"/>
                    </a:cubicBezTo>
                    <a:close/>
                    <a:moveTo>
                      <a:pt x="236951" y="642825"/>
                    </a:moveTo>
                    <a:cubicBezTo>
                      <a:pt x="202555" y="618366"/>
                      <a:pt x="198733" y="574033"/>
                      <a:pt x="223193" y="539637"/>
                    </a:cubicBezTo>
                    <a:cubicBezTo>
                      <a:pt x="224721" y="537344"/>
                      <a:pt x="284341" y="454793"/>
                      <a:pt x="304215" y="426512"/>
                    </a:cubicBezTo>
                    <a:cubicBezTo>
                      <a:pt x="320266" y="444092"/>
                      <a:pt x="343197" y="454793"/>
                      <a:pt x="368421" y="454793"/>
                    </a:cubicBezTo>
                    <a:cubicBezTo>
                      <a:pt x="376064" y="454793"/>
                      <a:pt x="382944" y="454029"/>
                      <a:pt x="389823" y="451736"/>
                    </a:cubicBezTo>
                    <a:cubicBezTo>
                      <a:pt x="333260" y="545752"/>
                      <a:pt x="403581" y="649705"/>
                      <a:pt x="417340" y="668814"/>
                    </a:cubicBezTo>
                    <a:cubicBezTo>
                      <a:pt x="382179" y="674928"/>
                      <a:pt x="284341" y="676457"/>
                      <a:pt x="236951" y="642825"/>
                    </a:cubicBezTo>
                    <a:close/>
                    <a:moveTo>
                      <a:pt x="596200" y="577091"/>
                    </a:moveTo>
                    <a:cubicBezTo>
                      <a:pt x="562568" y="603079"/>
                      <a:pt x="518999" y="593906"/>
                      <a:pt x="493011" y="560275"/>
                    </a:cubicBezTo>
                    <a:cubicBezTo>
                      <a:pt x="491482" y="557982"/>
                      <a:pt x="422690" y="468552"/>
                      <a:pt x="405874" y="446385"/>
                    </a:cubicBezTo>
                    <a:cubicBezTo>
                      <a:pt x="434156" y="432627"/>
                      <a:pt x="453265" y="405110"/>
                      <a:pt x="454793" y="372243"/>
                    </a:cubicBezTo>
                    <a:cubicBezTo>
                      <a:pt x="528172" y="458615"/>
                      <a:pt x="651233" y="420397"/>
                      <a:pt x="673400" y="412754"/>
                    </a:cubicBezTo>
                    <a:cubicBezTo>
                      <a:pt x="668814" y="447914"/>
                      <a:pt x="642061" y="541930"/>
                      <a:pt x="596200" y="577091"/>
                    </a:cubicBezTo>
                    <a:close/>
                  </a:path>
                </a:pathLst>
              </a:custGeom>
              <a:solidFill>
                <a:schemeClr val="bg1"/>
              </a:solidFill>
              <a:ln w="764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4309">
                  <a:defRPr/>
                </a:pPr>
                <a:endParaRPr lang="en-US" sz="2000">
                  <a:solidFill>
                    <a:prstClr val="black"/>
                  </a:solidFill>
                  <a:latin typeface="Corbel" panose="020B0503020204020204" pitchFamily="34" charset="0"/>
                  <a:cs typeface="Arial" charset="0"/>
                </a:endParaRPr>
              </a:p>
            </p:txBody>
          </p:sp>
        </p:grpSp>
        <p:sp>
          <p:nvSpPr>
            <p:cNvPr id="76" name="Rechteck 75">
              <a:extLst>
                <a:ext uri="{FF2B5EF4-FFF2-40B4-BE49-F238E27FC236}">
                  <a16:creationId xmlns:a16="http://schemas.microsoft.com/office/drawing/2014/main" id="{5C41D8F3-27D9-4FC3-B7E0-85A72E7CD6DD}"/>
                </a:ext>
              </a:extLst>
            </p:cNvPr>
            <p:cNvSpPr/>
            <p:nvPr/>
          </p:nvSpPr>
          <p:spPr bwMode="gray">
            <a:xfrm>
              <a:off x="1312409" y="2944966"/>
              <a:ext cx="2736000" cy="86671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79977" rtlCol="0" anchor="ctr" anchorCtr="0"/>
            <a:lstStyle/>
            <a:p>
              <a:pPr defTabSz="914309">
                <a:defRPr/>
              </a:pPr>
              <a:r>
                <a:rPr lang="cs-CZ" sz="1400" b="1" dirty="0">
                  <a:solidFill>
                    <a:prstClr val="black"/>
                  </a:solidFill>
                  <a:latin typeface="Calibri"/>
                  <a:cs typeface="Arial" charset="0"/>
                </a:rPr>
                <a:t>Průmyslové ventilátory</a:t>
              </a:r>
              <a:endParaRPr lang="en-US" sz="1400" b="1" dirty="0">
                <a:solidFill>
                  <a:prstClr val="black"/>
                </a:solidFill>
                <a:latin typeface="Calibri"/>
                <a:cs typeface="Arial" charset="0"/>
              </a:endParaRPr>
            </a:p>
          </p:txBody>
        </p:sp>
      </p:grp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3080A513-0CF3-49AE-ADF5-56CE4C06C3C1}"/>
              </a:ext>
            </a:extLst>
          </p:cNvPr>
          <p:cNvGrpSpPr/>
          <p:nvPr/>
        </p:nvGrpSpPr>
        <p:grpSpPr>
          <a:xfrm>
            <a:off x="8491376" y="2195756"/>
            <a:ext cx="3605886" cy="866599"/>
            <a:chOff x="8140704" y="1957928"/>
            <a:chExt cx="3606356" cy="866712"/>
          </a:xfrm>
        </p:grpSpPr>
        <p:sp>
          <p:nvSpPr>
            <p:cNvPr id="66" name="Rechteck 65">
              <a:extLst>
                <a:ext uri="{FF2B5EF4-FFF2-40B4-BE49-F238E27FC236}">
                  <a16:creationId xmlns:a16="http://schemas.microsoft.com/office/drawing/2014/main" id="{C5CB3087-5ED8-4AB8-927F-F0845015C079}"/>
                </a:ext>
              </a:extLst>
            </p:cNvPr>
            <p:cNvSpPr/>
            <p:nvPr/>
          </p:nvSpPr>
          <p:spPr bwMode="gray">
            <a:xfrm>
              <a:off x="8140704" y="1957928"/>
              <a:ext cx="866712" cy="86671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09">
                <a:defRPr/>
              </a:pPr>
              <a:endParaRPr lang="en-US" sz="1400" dirty="0">
                <a:solidFill>
                  <a:prstClr val="white"/>
                </a:solidFill>
                <a:latin typeface="Corbel" panose="020B0503020204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5" name="Rechteck 64">
              <a:extLst>
                <a:ext uri="{FF2B5EF4-FFF2-40B4-BE49-F238E27FC236}">
                  <a16:creationId xmlns:a16="http://schemas.microsoft.com/office/drawing/2014/main" id="{12602AA2-1209-498A-835E-DAD8570CA369}"/>
                </a:ext>
              </a:extLst>
            </p:cNvPr>
            <p:cNvSpPr/>
            <p:nvPr/>
          </p:nvSpPr>
          <p:spPr bwMode="gray">
            <a:xfrm>
              <a:off x="9011060" y="1957928"/>
              <a:ext cx="2736000" cy="86671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79977" rtlCol="0" anchor="ctr" anchorCtr="0"/>
            <a:lstStyle/>
            <a:p>
              <a:pPr defTabSz="914309">
                <a:defRPr/>
              </a:pPr>
              <a:r>
                <a:rPr lang="cs-CZ" sz="1400" b="1" dirty="0">
                  <a:solidFill>
                    <a:prstClr val="black"/>
                  </a:solidFill>
                  <a:latin typeface="Corbel" panose="020B0503020204020204" pitchFamily="34" charset="0"/>
                  <a:cs typeface="Arial" charset="0"/>
                </a:rPr>
                <a:t>Chytrá řešení pro obytné prostory</a:t>
              </a:r>
              <a:endParaRPr lang="en-US" sz="1400" b="1" dirty="0">
                <a:solidFill>
                  <a:prstClr val="black"/>
                </a:solidFill>
                <a:latin typeface="Corbel" panose="020B0503020204020204" pitchFamily="34" charset="0"/>
                <a:cs typeface="Arial" charset="0"/>
              </a:endParaRPr>
            </a:p>
          </p:txBody>
        </p:sp>
      </p:grp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AA226137-C7E7-48AE-8E65-56A5F2EE4734}"/>
              </a:ext>
            </a:extLst>
          </p:cNvPr>
          <p:cNvGrpSpPr/>
          <p:nvPr/>
        </p:nvGrpSpPr>
        <p:grpSpPr>
          <a:xfrm>
            <a:off x="7120532" y="4251765"/>
            <a:ext cx="3605886" cy="866599"/>
            <a:chOff x="8140704" y="2943250"/>
            <a:chExt cx="3606356" cy="866712"/>
          </a:xfrm>
        </p:grpSpPr>
        <p:sp>
          <p:nvSpPr>
            <p:cNvPr id="62" name="Rechteck 61">
              <a:extLst>
                <a:ext uri="{FF2B5EF4-FFF2-40B4-BE49-F238E27FC236}">
                  <a16:creationId xmlns:a16="http://schemas.microsoft.com/office/drawing/2014/main" id="{03703C2F-8E4B-42B5-A762-4EE3DE6EBBBE}"/>
                </a:ext>
              </a:extLst>
            </p:cNvPr>
            <p:cNvSpPr/>
            <p:nvPr/>
          </p:nvSpPr>
          <p:spPr bwMode="gray">
            <a:xfrm>
              <a:off x="8140704" y="2943250"/>
              <a:ext cx="866712" cy="86671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09">
                <a:defRPr/>
              </a:pPr>
              <a:endParaRPr lang="en-US" sz="1400">
                <a:solidFill>
                  <a:prstClr val="white"/>
                </a:solidFill>
                <a:latin typeface="Corbel" panose="020B0503020204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3" name="Freihandform: Form 62">
              <a:extLst>
                <a:ext uri="{FF2B5EF4-FFF2-40B4-BE49-F238E27FC236}">
                  <a16:creationId xmlns:a16="http://schemas.microsoft.com/office/drawing/2014/main" id="{A9B354A0-27A0-4A3C-88E8-BC8407A8B19F}"/>
                </a:ext>
              </a:extLst>
            </p:cNvPr>
            <p:cNvSpPr/>
            <p:nvPr/>
          </p:nvSpPr>
          <p:spPr>
            <a:xfrm>
              <a:off x="8443993" y="3206074"/>
              <a:ext cx="260134" cy="341064"/>
            </a:xfrm>
            <a:custGeom>
              <a:avLst/>
              <a:gdLst>
                <a:gd name="connsiteX0" fmla="*/ 412792 w 544537"/>
                <a:gd name="connsiteY0" fmla="*/ 133109 h 713949"/>
                <a:gd name="connsiteX1" fmla="*/ 205868 w 544537"/>
                <a:gd name="connsiteY1" fmla="*/ 0 h 713949"/>
                <a:gd name="connsiteX2" fmla="*/ 100590 w 544537"/>
                <a:gd name="connsiteY2" fmla="*/ 229916 h 713949"/>
                <a:gd name="connsiteX3" fmla="*/ 153 w 544537"/>
                <a:gd name="connsiteY3" fmla="*/ 447731 h 713949"/>
                <a:gd name="connsiteX4" fmla="*/ 226439 w 544537"/>
                <a:gd name="connsiteY4" fmla="*/ 720000 h 713949"/>
                <a:gd name="connsiteX5" fmla="*/ 145364 w 544537"/>
                <a:gd name="connsiteY5" fmla="*/ 642555 h 713949"/>
                <a:gd name="connsiteX6" fmla="*/ 225229 w 544537"/>
                <a:gd name="connsiteY6" fmla="*/ 445311 h 713949"/>
                <a:gd name="connsiteX7" fmla="*/ 265162 w 544537"/>
                <a:gd name="connsiteY7" fmla="*/ 356975 h 713949"/>
                <a:gd name="connsiteX8" fmla="*/ 283313 w 544537"/>
                <a:gd name="connsiteY8" fmla="*/ 377546 h 713949"/>
                <a:gd name="connsiteX9" fmla="*/ 299044 w 544537"/>
                <a:gd name="connsiteY9" fmla="*/ 576000 h 713949"/>
                <a:gd name="connsiteX10" fmla="*/ 377700 w 544537"/>
                <a:gd name="connsiteY10" fmla="*/ 513076 h 713949"/>
                <a:gd name="connsiteX11" fmla="*/ 411582 w 544537"/>
                <a:gd name="connsiteY11" fmla="*/ 597782 h 713949"/>
                <a:gd name="connsiteX12" fmla="*/ 318406 w 544537"/>
                <a:gd name="connsiteY12" fmla="*/ 718790 h 713949"/>
                <a:gd name="connsiteX13" fmla="*/ 549532 w 544537"/>
                <a:gd name="connsiteY13" fmla="*/ 445311 h 713949"/>
                <a:gd name="connsiteX14" fmla="*/ 412792 w 544537"/>
                <a:gd name="connsiteY14" fmla="*/ 133109 h 713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44537" h="713949">
                  <a:moveTo>
                    <a:pt x="412792" y="133109"/>
                  </a:moveTo>
                  <a:cubicBezTo>
                    <a:pt x="307515" y="18151"/>
                    <a:pt x="205868" y="0"/>
                    <a:pt x="205868" y="0"/>
                  </a:cubicBezTo>
                  <a:cubicBezTo>
                    <a:pt x="205868" y="0"/>
                    <a:pt x="234910" y="88336"/>
                    <a:pt x="100590" y="229916"/>
                  </a:cubicBezTo>
                  <a:cubicBezTo>
                    <a:pt x="-8317" y="344874"/>
                    <a:pt x="153" y="440471"/>
                    <a:pt x="153" y="447731"/>
                  </a:cubicBezTo>
                  <a:cubicBezTo>
                    <a:pt x="153" y="583261"/>
                    <a:pt x="95750" y="697008"/>
                    <a:pt x="226439" y="720000"/>
                  </a:cubicBezTo>
                  <a:cubicBezTo>
                    <a:pt x="187717" y="709109"/>
                    <a:pt x="159885" y="683697"/>
                    <a:pt x="145364" y="642555"/>
                  </a:cubicBezTo>
                  <a:cubicBezTo>
                    <a:pt x="116322" y="539698"/>
                    <a:pt x="192557" y="494924"/>
                    <a:pt x="225229" y="445311"/>
                  </a:cubicBezTo>
                  <a:cubicBezTo>
                    <a:pt x="260322" y="392067"/>
                    <a:pt x="265162" y="359395"/>
                    <a:pt x="265162" y="356975"/>
                  </a:cubicBezTo>
                  <a:lnTo>
                    <a:pt x="283313" y="377546"/>
                  </a:lnTo>
                  <a:cubicBezTo>
                    <a:pt x="375280" y="500975"/>
                    <a:pt x="299044" y="576000"/>
                    <a:pt x="299044" y="576000"/>
                  </a:cubicBezTo>
                  <a:cubicBezTo>
                    <a:pt x="352288" y="580840"/>
                    <a:pt x="375280" y="539698"/>
                    <a:pt x="377700" y="513076"/>
                  </a:cubicBezTo>
                  <a:cubicBezTo>
                    <a:pt x="401901" y="540908"/>
                    <a:pt x="410372" y="572370"/>
                    <a:pt x="411582" y="597782"/>
                  </a:cubicBezTo>
                  <a:cubicBezTo>
                    <a:pt x="410372" y="652235"/>
                    <a:pt x="370439" y="701849"/>
                    <a:pt x="318406" y="718790"/>
                  </a:cubicBezTo>
                  <a:cubicBezTo>
                    <a:pt x="393431" y="707899"/>
                    <a:pt x="549532" y="638924"/>
                    <a:pt x="549532" y="445311"/>
                  </a:cubicBezTo>
                  <a:cubicBezTo>
                    <a:pt x="548322" y="337613"/>
                    <a:pt x="504759" y="240807"/>
                    <a:pt x="412792" y="133109"/>
                  </a:cubicBezTo>
                </a:path>
              </a:pathLst>
            </a:custGeom>
            <a:solidFill>
              <a:schemeClr val="bg1"/>
            </a:solidFill>
            <a:ln w="120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09">
                <a:defRPr/>
              </a:pPr>
              <a:endParaRPr lang="en-US" sz="1400">
                <a:solidFill>
                  <a:prstClr val="black"/>
                </a:solidFill>
                <a:latin typeface="Corbel" panose="020B0503020204020204" pitchFamily="34" charset="0"/>
                <a:cs typeface="Arial" charset="0"/>
              </a:endParaRPr>
            </a:p>
          </p:txBody>
        </p:sp>
        <p:sp>
          <p:nvSpPr>
            <p:cNvPr id="61" name="Rechteck 60">
              <a:extLst>
                <a:ext uri="{FF2B5EF4-FFF2-40B4-BE49-F238E27FC236}">
                  <a16:creationId xmlns:a16="http://schemas.microsoft.com/office/drawing/2014/main" id="{B857A2C3-D952-473F-8A11-63ADCE64D6A2}"/>
                </a:ext>
              </a:extLst>
            </p:cNvPr>
            <p:cNvSpPr/>
            <p:nvPr/>
          </p:nvSpPr>
          <p:spPr bwMode="gray">
            <a:xfrm>
              <a:off x="9011060" y="2943250"/>
              <a:ext cx="2736000" cy="86671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79977" rtlCol="0" anchor="ctr" anchorCtr="0"/>
            <a:lstStyle/>
            <a:p>
              <a:pPr defTabSz="914309">
                <a:defRPr/>
              </a:pPr>
              <a:r>
                <a:rPr lang="cs-CZ" sz="1400" b="1" dirty="0">
                  <a:solidFill>
                    <a:prstClr val="black"/>
                  </a:solidFill>
                  <a:latin typeface="Corbel" panose="020B0503020204020204" pitchFamily="34" charset="0"/>
                  <a:cs typeface="Arial" charset="0"/>
                </a:rPr>
                <a:t>Vytápění, tepelná čerpadla</a:t>
              </a:r>
              <a:endParaRPr lang="en-US" sz="1400" b="1" dirty="0">
                <a:solidFill>
                  <a:prstClr val="black"/>
                </a:solidFill>
                <a:latin typeface="Corbel" panose="020B0503020204020204" pitchFamily="34" charset="0"/>
                <a:cs typeface="Arial" charset="0"/>
              </a:endParaRPr>
            </a:p>
          </p:txBody>
        </p:sp>
      </p:grp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309DA0AF-48D3-47EE-87BC-AD4262AE4746}"/>
              </a:ext>
            </a:extLst>
          </p:cNvPr>
          <p:cNvGrpSpPr/>
          <p:nvPr/>
        </p:nvGrpSpPr>
        <p:grpSpPr>
          <a:xfrm>
            <a:off x="245770" y="2190087"/>
            <a:ext cx="3605887" cy="868315"/>
            <a:chOff x="442052" y="1957928"/>
            <a:chExt cx="3606357" cy="868428"/>
          </a:xfrm>
        </p:grpSpPr>
        <p:sp>
          <p:nvSpPr>
            <p:cNvPr id="58" name="Rechteck 57">
              <a:extLst>
                <a:ext uri="{FF2B5EF4-FFF2-40B4-BE49-F238E27FC236}">
                  <a16:creationId xmlns:a16="http://schemas.microsoft.com/office/drawing/2014/main" id="{41034D0D-926A-4E32-9C12-10BBC4C8BF80}"/>
                </a:ext>
              </a:extLst>
            </p:cNvPr>
            <p:cNvSpPr/>
            <p:nvPr/>
          </p:nvSpPr>
          <p:spPr bwMode="gray">
            <a:xfrm>
              <a:off x="442052" y="1957928"/>
              <a:ext cx="868595" cy="86842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09">
                <a:defRPr/>
              </a:pPr>
              <a:endParaRPr lang="en-US" sz="2400">
                <a:solidFill>
                  <a:prstClr val="white"/>
                </a:solidFill>
                <a:latin typeface="Corbel" panose="020B0503020204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9" name="Freihandform: Form 58">
              <a:extLst>
                <a:ext uri="{FF2B5EF4-FFF2-40B4-BE49-F238E27FC236}">
                  <a16:creationId xmlns:a16="http://schemas.microsoft.com/office/drawing/2014/main" id="{6561AE68-B429-468F-AF54-8B7F1290203B}"/>
                </a:ext>
              </a:extLst>
            </p:cNvPr>
            <p:cNvSpPr/>
            <p:nvPr/>
          </p:nvSpPr>
          <p:spPr>
            <a:xfrm>
              <a:off x="693619" y="2188823"/>
              <a:ext cx="365461" cy="406638"/>
            </a:xfrm>
            <a:custGeom>
              <a:avLst/>
              <a:gdLst>
                <a:gd name="connsiteX0" fmla="*/ 655320 w 676275"/>
                <a:gd name="connsiteY0" fmla="*/ 408623 h 752475"/>
                <a:gd name="connsiteX1" fmla="*/ 551498 w 676275"/>
                <a:gd name="connsiteY1" fmla="*/ 468630 h 752475"/>
                <a:gd name="connsiteX2" fmla="*/ 395287 w 676275"/>
                <a:gd name="connsiteY2" fmla="*/ 378143 h 752475"/>
                <a:gd name="connsiteX3" fmla="*/ 551498 w 676275"/>
                <a:gd name="connsiteY3" fmla="*/ 288608 h 752475"/>
                <a:gd name="connsiteX4" fmla="*/ 655320 w 676275"/>
                <a:gd name="connsiteY4" fmla="*/ 347663 h 752475"/>
                <a:gd name="connsiteX5" fmla="*/ 681990 w 676275"/>
                <a:gd name="connsiteY5" fmla="*/ 300990 h 752475"/>
                <a:gd name="connsiteX6" fmla="*/ 605790 w 676275"/>
                <a:gd name="connsiteY6" fmla="*/ 257175 h 752475"/>
                <a:gd name="connsiteX7" fmla="*/ 681990 w 676275"/>
                <a:gd name="connsiteY7" fmla="*/ 212408 h 752475"/>
                <a:gd name="connsiteX8" fmla="*/ 655320 w 676275"/>
                <a:gd name="connsiteY8" fmla="*/ 165735 h 752475"/>
                <a:gd name="connsiteX9" fmla="*/ 579120 w 676275"/>
                <a:gd name="connsiteY9" fmla="*/ 210503 h 752475"/>
                <a:gd name="connsiteX10" fmla="*/ 579120 w 676275"/>
                <a:gd name="connsiteY10" fmla="*/ 121920 h 752475"/>
                <a:gd name="connsiteX11" fmla="*/ 524828 w 676275"/>
                <a:gd name="connsiteY11" fmla="*/ 121920 h 752475"/>
                <a:gd name="connsiteX12" fmla="*/ 524828 w 676275"/>
                <a:gd name="connsiteY12" fmla="*/ 240983 h 752475"/>
                <a:gd name="connsiteX13" fmla="*/ 368618 w 676275"/>
                <a:gd name="connsiteY13" fmla="*/ 331470 h 752475"/>
                <a:gd name="connsiteX14" fmla="*/ 368618 w 676275"/>
                <a:gd name="connsiteY14" fmla="*/ 151448 h 752475"/>
                <a:gd name="connsiteX15" fmla="*/ 471487 w 676275"/>
                <a:gd name="connsiteY15" fmla="*/ 91440 h 752475"/>
                <a:gd name="connsiteX16" fmla="*/ 444818 w 676275"/>
                <a:gd name="connsiteY16" fmla="*/ 44768 h 752475"/>
                <a:gd name="connsiteX17" fmla="*/ 368618 w 676275"/>
                <a:gd name="connsiteY17" fmla="*/ 88583 h 752475"/>
                <a:gd name="connsiteX18" fmla="*/ 368618 w 676275"/>
                <a:gd name="connsiteY18" fmla="*/ 0 h 752475"/>
                <a:gd name="connsiteX19" fmla="*/ 368618 w 676275"/>
                <a:gd name="connsiteY19" fmla="*/ 0 h 752475"/>
                <a:gd name="connsiteX20" fmla="*/ 314325 w 676275"/>
                <a:gd name="connsiteY20" fmla="*/ 0 h 752475"/>
                <a:gd name="connsiteX21" fmla="*/ 314325 w 676275"/>
                <a:gd name="connsiteY21" fmla="*/ 0 h 752475"/>
                <a:gd name="connsiteX22" fmla="*/ 314325 w 676275"/>
                <a:gd name="connsiteY22" fmla="*/ 0 h 752475"/>
                <a:gd name="connsiteX23" fmla="*/ 314325 w 676275"/>
                <a:gd name="connsiteY23" fmla="*/ 88583 h 752475"/>
                <a:gd name="connsiteX24" fmla="*/ 238125 w 676275"/>
                <a:gd name="connsiteY24" fmla="*/ 44768 h 752475"/>
                <a:gd name="connsiteX25" fmla="*/ 210502 w 676275"/>
                <a:gd name="connsiteY25" fmla="*/ 91440 h 752475"/>
                <a:gd name="connsiteX26" fmla="*/ 314325 w 676275"/>
                <a:gd name="connsiteY26" fmla="*/ 151448 h 752475"/>
                <a:gd name="connsiteX27" fmla="*/ 314325 w 676275"/>
                <a:gd name="connsiteY27" fmla="*/ 331470 h 752475"/>
                <a:gd name="connsiteX28" fmla="*/ 158115 w 676275"/>
                <a:gd name="connsiteY28" fmla="*/ 240983 h 752475"/>
                <a:gd name="connsiteX29" fmla="*/ 158115 w 676275"/>
                <a:gd name="connsiteY29" fmla="*/ 121920 h 752475"/>
                <a:gd name="connsiteX30" fmla="*/ 103822 w 676275"/>
                <a:gd name="connsiteY30" fmla="*/ 121920 h 752475"/>
                <a:gd name="connsiteX31" fmla="*/ 103822 w 676275"/>
                <a:gd name="connsiteY31" fmla="*/ 210503 h 752475"/>
                <a:gd name="connsiteX32" fmla="*/ 27622 w 676275"/>
                <a:gd name="connsiteY32" fmla="*/ 165735 h 752475"/>
                <a:gd name="connsiteX33" fmla="*/ 0 w 676275"/>
                <a:gd name="connsiteY33" fmla="*/ 212408 h 752475"/>
                <a:gd name="connsiteX34" fmla="*/ 77152 w 676275"/>
                <a:gd name="connsiteY34" fmla="*/ 257175 h 752475"/>
                <a:gd name="connsiteX35" fmla="*/ 0 w 676275"/>
                <a:gd name="connsiteY35" fmla="*/ 300990 h 752475"/>
                <a:gd name="connsiteX36" fmla="*/ 27622 w 676275"/>
                <a:gd name="connsiteY36" fmla="*/ 347663 h 752475"/>
                <a:gd name="connsiteX37" fmla="*/ 130493 w 676275"/>
                <a:gd name="connsiteY37" fmla="*/ 287655 h 752475"/>
                <a:gd name="connsiteX38" fmla="*/ 286703 w 676275"/>
                <a:gd name="connsiteY38" fmla="*/ 378143 h 752475"/>
                <a:gd name="connsiteX39" fmla="*/ 130493 w 676275"/>
                <a:gd name="connsiteY39" fmla="*/ 468630 h 752475"/>
                <a:gd name="connsiteX40" fmla="*/ 27622 w 676275"/>
                <a:gd name="connsiteY40" fmla="*/ 408623 h 752475"/>
                <a:gd name="connsiteX41" fmla="*/ 0 w 676275"/>
                <a:gd name="connsiteY41" fmla="*/ 456247 h 752475"/>
                <a:gd name="connsiteX42" fmla="*/ 77152 w 676275"/>
                <a:gd name="connsiteY42" fmla="*/ 500063 h 752475"/>
                <a:gd name="connsiteX43" fmla="*/ 0 w 676275"/>
                <a:gd name="connsiteY43" fmla="*/ 543878 h 752475"/>
                <a:gd name="connsiteX44" fmla="*/ 27622 w 676275"/>
                <a:gd name="connsiteY44" fmla="*/ 590550 h 752475"/>
                <a:gd name="connsiteX45" fmla="*/ 103822 w 676275"/>
                <a:gd name="connsiteY45" fmla="*/ 546735 h 752475"/>
                <a:gd name="connsiteX46" fmla="*/ 103822 w 676275"/>
                <a:gd name="connsiteY46" fmla="*/ 635318 h 752475"/>
                <a:gd name="connsiteX47" fmla="*/ 158115 w 676275"/>
                <a:gd name="connsiteY47" fmla="*/ 635318 h 752475"/>
                <a:gd name="connsiteX48" fmla="*/ 158115 w 676275"/>
                <a:gd name="connsiteY48" fmla="*/ 515303 h 752475"/>
                <a:gd name="connsiteX49" fmla="*/ 314325 w 676275"/>
                <a:gd name="connsiteY49" fmla="*/ 424815 h 752475"/>
                <a:gd name="connsiteX50" fmla="*/ 314325 w 676275"/>
                <a:gd name="connsiteY50" fmla="*/ 605790 h 752475"/>
                <a:gd name="connsiteX51" fmla="*/ 210502 w 676275"/>
                <a:gd name="connsiteY51" fmla="*/ 665798 h 752475"/>
                <a:gd name="connsiteX52" fmla="*/ 238125 w 676275"/>
                <a:gd name="connsiteY52" fmla="*/ 712470 h 752475"/>
                <a:gd name="connsiteX53" fmla="*/ 314325 w 676275"/>
                <a:gd name="connsiteY53" fmla="*/ 668655 h 752475"/>
                <a:gd name="connsiteX54" fmla="*/ 314325 w 676275"/>
                <a:gd name="connsiteY54" fmla="*/ 756285 h 752475"/>
                <a:gd name="connsiteX55" fmla="*/ 314325 w 676275"/>
                <a:gd name="connsiteY55" fmla="*/ 756285 h 752475"/>
                <a:gd name="connsiteX56" fmla="*/ 368618 w 676275"/>
                <a:gd name="connsiteY56" fmla="*/ 756285 h 752475"/>
                <a:gd name="connsiteX57" fmla="*/ 368618 w 676275"/>
                <a:gd name="connsiteY57" fmla="*/ 756285 h 752475"/>
                <a:gd name="connsiteX58" fmla="*/ 368618 w 676275"/>
                <a:gd name="connsiteY58" fmla="*/ 668655 h 752475"/>
                <a:gd name="connsiteX59" fmla="*/ 444818 w 676275"/>
                <a:gd name="connsiteY59" fmla="*/ 712470 h 752475"/>
                <a:gd name="connsiteX60" fmla="*/ 471487 w 676275"/>
                <a:gd name="connsiteY60" fmla="*/ 665798 h 752475"/>
                <a:gd name="connsiteX61" fmla="*/ 368618 w 676275"/>
                <a:gd name="connsiteY61" fmla="*/ 605790 h 752475"/>
                <a:gd name="connsiteX62" fmla="*/ 368618 w 676275"/>
                <a:gd name="connsiteY62" fmla="*/ 425768 h 752475"/>
                <a:gd name="connsiteX63" fmla="*/ 524828 w 676275"/>
                <a:gd name="connsiteY63" fmla="*/ 515303 h 752475"/>
                <a:gd name="connsiteX64" fmla="*/ 524828 w 676275"/>
                <a:gd name="connsiteY64" fmla="*/ 635318 h 752475"/>
                <a:gd name="connsiteX65" fmla="*/ 579120 w 676275"/>
                <a:gd name="connsiteY65" fmla="*/ 635318 h 752475"/>
                <a:gd name="connsiteX66" fmla="*/ 579120 w 676275"/>
                <a:gd name="connsiteY66" fmla="*/ 546735 h 752475"/>
                <a:gd name="connsiteX67" fmla="*/ 655320 w 676275"/>
                <a:gd name="connsiteY67" fmla="*/ 590550 h 752475"/>
                <a:gd name="connsiteX68" fmla="*/ 681990 w 676275"/>
                <a:gd name="connsiteY68" fmla="*/ 543878 h 752475"/>
                <a:gd name="connsiteX69" fmla="*/ 605790 w 676275"/>
                <a:gd name="connsiteY69" fmla="*/ 500063 h 752475"/>
                <a:gd name="connsiteX70" fmla="*/ 681990 w 676275"/>
                <a:gd name="connsiteY70" fmla="*/ 456247 h 752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676275" h="752475">
                  <a:moveTo>
                    <a:pt x="655320" y="408623"/>
                  </a:moveTo>
                  <a:lnTo>
                    <a:pt x="551498" y="468630"/>
                  </a:lnTo>
                  <a:lnTo>
                    <a:pt x="395287" y="378143"/>
                  </a:lnTo>
                  <a:lnTo>
                    <a:pt x="551498" y="288608"/>
                  </a:lnTo>
                  <a:lnTo>
                    <a:pt x="655320" y="347663"/>
                  </a:lnTo>
                  <a:lnTo>
                    <a:pt x="681990" y="300990"/>
                  </a:lnTo>
                  <a:lnTo>
                    <a:pt x="605790" y="257175"/>
                  </a:lnTo>
                  <a:lnTo>
                    <a:pt x="681990" y="212408"/>
                  </a:lnTo>
                  <a:lnTo>
                    <a:pt x="655320" y="165735"/>
                  </a:lnTo>
                  <a:lnTo>
                    <a:pt x="579120" y="210503"/>
                  </a:lnTo>
                  <a:lnTo>
                    <a:pt x="579120" y="121920"/>
                  </a:lnTo>
                  <a:lnTo>
                    <a:pt x="524828" y="121920"/>
                  </a:lnTo>
                  <a:lnTo>
                    <a:pt x="524828" y="240983"/>
                  </a:lnTo>
                  <a:lnTo>
                    <a:pt x="368618" y="331470"/>
                  </a:lnTo>
                  <a:lnTo>
                    <a:pt x="368618" y="151448"/>
                  </a:lnTo>
                  <a:lnTo>
                    <a:pt x="471487" y="91440"/>
                  </a:lnTo>
                  <a:lnTo>
                    <a:pt x="444818" y="44768"/>
                  </a:lnTo>
                  <a:lnTo>
                    <a:pt x="368618" y="88583"/>
                  </a:lnTo>
                  <a:lnTo>
                    <a:pt x="368618" y="0"/>
                  </a:lnTo>
                  <a:lnTo>
                    <a:pt x="368618" y="0"/>
                  </a:lnTo>
                  <a:lnTo>
                    <a:pt x="314325" y="0"/>
                  </a:lnTo>
                  <a:lnTo>
                    <a:pt x="314325" y="0"/>
                  </a:lnTo>
                  <a:lnTo>
                    <a:pt x="314325" y="0"/>
                  </a:lnTo>
                  <a:lnTo>
                    <a:pt x="314325" y="88583"/>
                  </a:lnTo>
                  <a:lnTo>
                    <a:pt x="238125" y="44768"/>
                  </a:lnTo>
                  <a:lnTo>
                    <a:pt x="210502" y="91440"/>
                  </a:lnTo>
                  <a:lnTo>
                    <a:pt x="314325" y="151448"/>
                  </a:lnTo>
                  <a:lnTo>
                    <a:pt x="314325" y="331470"/>
                  </a:lnTo>
                  <a:lnTo>
                    <a:pt x="158115" y="240983"/>
                  </a:lnTo>
                  <a:lnTo>
                    <a:pt x="158115" y="121920"/>
                  </a:lnTo>
                  <a:lnTo>
                    <a:pt x="103822" y="121920"/>
                  </a:lnTo>
                  <a:lnTo>
                    <a:pt x="103822" y="210503"/>
                  </a:lnTo>
                  <a:lnTo>
                    <a:pt x="27622" y="165735"/>
                  </a:lnTo>
                  <a:lnTo>
                    <a:pt x="0" y="212408"/>
                  </a:lnTo>
                  <a:lnTo>
                    <a:pt x="77152" y="257175"/>
                  </a:lnTo>
                  <a:lnTo>
                    <a:pt x="0" y="300990"/>
                  </a:lnTo>
                  <a:lnTo>
                    <a:pt x="27622" y="347663"/>
                  </a:lnTo>
                  <a:lnTo>
                    <a:pt x="130493" y="287655"/>
                  </a:lnTo>
                  <a:lnTo>
                    <a:pt x="286703" y="378143"/>
                  </a:lnTo>
                  <a:lnTo>
                    <a:pt x="130493" y="468630"/>
                  </a:lnTo>
                  <a:lnTo>
                    <a:pt x="27622" y="408623"/>
                  </a:lnTo>
                  <a:lnTo>
                    <a:pt x="0" y="456247"/>
                  </a:lnTo>
                  <a:lnTo>
                    <a:pt x="77152" y="500063"/>
                  </a:lnTo>
                  <a:lnTo>
                    <a:pt x="0" y="543878"/>
                  </a:lnTo>
                  <a:lnTo>
                    <a:pt x="27622" y="590550"/>
                  </a:lnTo>
                  <a:lnTo>
                    <a:pt x="103822" y="546735"/>
                  </a:lnTo>
                  <a:lnTo>
                    <a:pt x="103822" y="635318"/>
                  </a:lnTo>
                  <a:lnTo>
                    <a:pt x="158115" y="635318"/>
                  </a:lnTo>
                  <a:lnTo>
                    <a:pt x="158115" y="515303"/>
                  </a:lnTo>
                  <a:lnTo>
                    <a:pt x="314325" y="424815"/>
                  </a:lnTo>
                  <a:lnTo>
                    <a:pt x="314325" y="605790"/>
                  </a:lnTo>
                  <a:lnTo>
                    <a:pt x="210502" y="665798"/>
                  </a:lnTo>
                  <a:lnTo>
                    <a:pt x="238125" y="712470"/>
                  </a:lnTo>
                  <a:lnTo>
                    <a:pt x="314325" y="668655"/>
                  </a:lnTo>
                  <a:lnTo>
                    <a:pt x="314325" y="756285"/>
                  </a:lnTo>
                  <a:lnTo>
                    <a:pt x="314325" y="756285"/>
                  </a:lnTo>
                  <a:lnTo>
                    <a:pt x="368618" y="756285"/>
                  </a:lnTo>
                  <a:lnTo>
                    <a:pt x="368618" y="756285"/>
                  </a:lnTo>
                  <a:lnTo>
                    <a:pt x="368618" y="668655"/>
                  </a:lnTo>
                  <a:lnTo>
                    <a:pt x="444818" y="712470"/>
                  </a:lnTo>
                  <a:lnTo>
                    <a:pt x="471487" y="665798"/>
                  </a:lnTo>
                  <a:lnTo>
                    <a:pt x="368618" y="605790"/>
                  </a:lnTo>
                  <a:lnTo>
                    <a:pt x="368618" y="425768"/>
                  </a:lnTo>
                  <a:lnTo>
                    <a:pt x="524828" y="515303"/>
                  </a:lnTo>
                  <a:lnTo>
                    <a:pt x="524828" y="635318"/>
                  </a:lnTo>
                  <a:lnTo>
                    <a:pt x="579120" y="635318"/>
                  </a:lnTo>
                  <a:lnTo>
                    <a:pt x="579120" y="546735"/>
                  </a:lnTo>
                  <a:lnTo>
                    <a:pt x="655320" y="590550"/>
                  </a:lnTo>
                  <a:lnTo>
                    <a:pt x="681990" y="543878"/>
                  </a:lnTo>
                  <a:lnTo>
                    <a:pt x="605790" y="500063"/>
                  </a:lnTo>
                  <a:lnTo>
                    <a:pt x="681990" y="45624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09">
                <a:defRPr/>
              </a:pPr>
              <a:endParaRPr lang="en-US" sz="2000" dirty="0">
                <a:solidFill>
                  <a:prstClr val="black"/>
                </a:solidFill>
                <a:latin typeface="Corbel" panose="020B0503020204020204" pitchFamily="34" charset="0"/>
                <a:cs typeface="Arial" charset="0"/>
              </a:endParaRPr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5BB2FA6F-EAA8-4D32-8DA9-7EC6398DDDBB}"/>
                </a:ext>
              </a:extLst>
            </p:cNvPr>
            <p:cNvSpPr/>
            <p:nvPr/>
          </p:nvSpPr>
          <p:spPr bwMode="gray">
            <a:xfrm>
              <a:off x="1312409" y="1957928"/>
              <a:ext cx="2736000" cy="86671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79977" rtlCol="0" anchor="ctr" anchorCtr="0"/>
            <a:lstStyle/>
            <a:p>
              <a:pPr defTabSz="914309">
                <a:defRPr/>
              </a:pPr>
              <a:endParaRPr lang="cs-CZ" sz="1400" b="1" dirty="0">
                <a:solidFill>
                  <a:prstClr val="black"/>
                </a:solidFill>
                <a:latin typeface="Calibri"/>
                <a:cs typeface="Arial" charset="0"/>
              </a:endParaRPr>
            </a:p>
            <a:p>
              <a:pPr defTabSz="914309">
                <a:defRPr/>
              </a:pPr>
              <a:r>
                <a:rPr lang="cs-CZ" sz="1400" b="1" dirty="0">
                  <a:solidFill>
                    <a:prstClr val="black"/>
                  </a:solidFill>
                  <a:latin typeface="Calibri"/>
                  <a:cs typeface="Arial" charset="0"/>
                </a:rPr>
                <a:t>Ventilace, klimatizace a chlazení</a:t>
              </a:r>
            </a:p>
            <a:p>
              <a:pPr defTabSz="914309">
                <a:defRPr/>
              </a:pPr>
              <a:endParaRPr lang="en-US" sz="1400" b="1" dirty="0">
                <a:solidFill>
                  <a:prstClr val="black"/>
                </a:solidFill>
                <a:latin typeface="Calibri"/>
                <a:cs typeface="Arial" charset="0"/>
              </a:endParaRPr>
            </a:p>
          </p:txBody>
        </p:sp>
      </p:grpSp>
      <p:pic>
        <p:nvPicPr>
          <p:cNvPr id="20" name="Grafik 76" descr="Ein Bild, das verschieden, mehrere enthält.&#10;&#10;Automatisch generierte Beschreibung">
            <a:extLst>
              <a:ext uri="{FF2B5EF4-FFF2-40B4-BE49-F238E27FC236}">
                <a16:creationId xmlns:a16="http://schemas.microsoft.com/office/drawing/2014/main" id="{FF8EA10D-0261-6EE5-9A04-564268563D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16288" y="2776273"/>
            <a:ext cx="1558278" cy="1068339"/>
          </a:xfrm>
          <a:prstGeom prst="rect">
            <a:avLst/>
          </a:prstGeom>
        </p:spPr>
      </p:pic>
      <p:pic>
        <p:nvPicPr>
          <p:cNvPr id="21" name="Grafik 75">
            <a:extLst>
              <a:ext uri="{FF2B5EF4-FFF2-40B4-BE49-F238E27FC236}">
                <a16:creationId xmlns:a16="http://schemas.microsoft.com/office/drawing/2014/main" id="{B543E64A-EB01-C625-838F-B6B26C59CBC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91461" y="2776274"/>
            <a:ext cx="1060693" cy="1060693"/>
          </a:xfrm>
          <a:prstGeom prst="rect">
            <a:avLst/>
          </a:prstGeom>
        </p:spPr>
      </p:pic>
      <p:pic>
        <p:nvPicPr>
          <p:cNvPr id="24" name="Grafik 12" descr="Ein Bild, das Fan, Gerät, Ventilator, Stilllebenfotografie enthält.&#10;&#10;Automatisch generierte Beschreibung">
            <a:extLst>
              <a:ext uri="{FF2B5EF4-FFF2-40B4-BE49-F238E27FC236}">
                <a16:creationId xmlns:a16="http://schemas.microsoft.com/office/drawing/2014/main" id="{E8A99933-C684-A0AD-DF7F-CD57A0B23D8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086" y="2914169"/>
            <a:ext cx="2150684" cy="850032"/>
          </a:xfrm>
          <a:prstGeom prst="rect">
            <a:avLst/>
          </a:prstGeom>
        </p:spPr>
      </p:pic>
      <p:pic>
        <p:nvPicPr>
          <p:cNvPr id="30" name="Picture 3" descr="K:\VM\Produkteinfuehrung\006_IVT_RAC\RadiPac_Verbundwerkstoff_2021\Bilder\Final\ebmpapst_RadiPac_2021_SHORT_Titelbild_210422_schatten_1000px_rgb.png">
            <a:extLst>
              <a:ext uri="{FF2B5EF4-FFF2-40B4-BE49-F238E27FC236}">
                <a16:creationId xmlns:a16="http://schemas.microsoft.com/office/drawing/2014/main" id="{C8353559-0B04-5311-512F-C66DEFC74A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4466" y="2849966"/>
            <a:ext cx="1509714" cy="11488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Grafik 14" descr="Ein Bild, das Maschine, Autoteile, Bautechnik, Rotor enthält.&#10;&#10;Automatisch generierte Beschreibung">
            <a:extLst>
              <a:ext uri="{FF2B5EF4-FFF2-40B4-BE49-F238E27FC236}">
                <a16:creationId xmlns:a16="http://schemas.microsoft.com/office/drawing/2014/main" id="{2DC6126F-51DB-42C3-AF67-BDCF2AFAE0E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80342" y="5070410"/>
            <a:ext cx="1990709" cy="1337436"/>
          </a:xfrm>
          <a:prstGeom prst="rect">
            <a:avLst/>
          </a:prstGeom>
        </p:spPr>
      </p:pic>
      <p:pic>
        <p:nvPicPr>
          <p:cNvPr id="32" name="Grafik 8" descr="Ein Bild, das Fan, Stilllebenfotografie, Ventilator, Vase enthält.&#10;&#10;Automatisch generierte Beschreibung">
            <a:extLst>
              <a:ext uri="{FF2B5EF4-FFF2-40B4-BE49-F238E27FC236}">
                <a16:creationId xmlns:a16="http://schemas.microsoft.com/office/drawing/2014/main" id="{75558CC1-AED5-CFC4-2545-FE60893F2A3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1294" y="5087781"/>
            <a:ext cx="2106473" cy="1495299"/>
          </a:xfrm>
          <a:prstGeom prst="rect">
            <a:avLst/>
          </a:prstGeom>
        </p:spPr>
      </p:pic>
      <p:grpSp>
        <p:nvGrpSpPr>
          <p:cNvPr id="33" name="Gruppieren 13">
            <a:extLst>
              <a:ext uri="{FF2B5EF4-FFF2-40B4-BE49-F238E27FC236}">
                <a16:creationId xmlns:a16="http://schemas.microsoft.com/office/drawing/2014/main" id="{C84FDCF6-52D8-B70A-EA52-764DA18532F1}"/>
              </a:ext>
            </a:extLst>
          </p:cNvPr>
          <p:cNvGrpSpPr/>
          <p:nvPr/>
        </p:nvGrpSpPr>
        <p:grpSpPr>
          <a:xfrm>
            <a:off x="2661967" y="4980920"/>
            <a:ext cx="3256043" cy="1829162"/>
            <a:chOff x="10822435" y="-1387407"/>
            <a:chExt cx="8639389" cy="5097193"/>
          </a:xfrm>
        </p:grpSpPr>
        <p:pic>
          <p:nvPicPr>
            <p:cNvPr id="34" name="Grafik 7" descr="Ein Bild, das Ventilator, Fan enthält.&#10;&#10;Automatisch generierte Beschreibung">
              <a:extLst>
                <a:ext uri="{FF2B5EF4-FFF2-40B4-BE49-F238E27FC236}">
                  <a16:creationId xmlns:a16="http://schemas.microsoft.com/office/drawing/2014/main" id="{2942682C-8EE7-F729-8C11-8A7D4501D07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878042" y="-1387407"/>
              <a:ext cx="3637237" cy="3637237"/>
            </a:xfrm>
            <a:prstGeom prst="rect">
              <a:avLst/>
            </a:prstGeom>
            <a:effectLst>
              <a:outerShdw blurRad="76200" dir="13500000" sy="23000" kx="1200000" algn="br" rotWithShape="0">
                <a:prstClr val="black">
                  <a:alpha val="20000"/>
                </a:prstClr>
              </a:outerShdw>
            </a:effectLst>
          </p:spPr>
        </p:pic>
        <p:pic>
          <p:nvPicPr>
            <p:cNvPr id="35" name="Grafik 8" descr="Ein Bild, das Fan, Gerät, Licht enthält.&#10;&#10;Automatisch generierte Beschreibung">
              <a:extLst>
                <a:ext uri="{FF2B5EF4-FFF2-40B4-BE49-F238E27FC236}">
                  <a16:creationId xmlns:a16="http://schemas.microsoft.com/office/drawing/2014/main" id="{6A004ABD-CE21-9BBD-7EBD-EC7623F0DC51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558173" y="-899983"/>
              <a:ext cx="5903651" cy="3935768"/>
            </a:xfrm>
            <a:prstGeom prst="rect">
              <a:avLst/>
            </a:prstGeom>
            <a:effectLst/>
          </p:spPr>
        </p:pic>
        <p:pic>
          <p:nvPicPr>
            <p:cNvPr id="36" name="Grafik 9" descr="Ein Bild, das Fan, Kunst, Schwarzweiß, Design enthält.&#10;&#10;Automatisch generierte Beschreibung">
              <a:extLst>
                <a:ext uri="{FF2B5EF4-FFF2-40B4-BE49-F238E27FC236}">
                  <a16:creationId xmlns:a16="http://schemas.microsoft.com/office/drawing/2014/main" id="{C160DF13-75A2-B1AE-FE05-56261A3E3411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22435" y="462747"/>
              <a:ext cx="2704530" cy="2765398"/>
            </a:xfrm>
            <a:prstGeom prst="rect">
              <a:avLst/>
            </a:prstGeom>
            <a:effectLst>
              <a:outerShdw blurRad="76200" dir="13500000" sy="23000" kx="1200000" algn="br" rotWithShape="0">
                <a:prstClr val="black">
                  <a:alpha val="20000"/>
                </a:prstClr>
              </a:outerShdw>
            </a:effectLst>
          </p:spPr>
        </p:pic>
        <p:pic>
          <p:nvPicPr>
            <p:cNvPr id="37" name="Grafik 10" descr="Ein Bild, das Kreis, Design, Schwarzweiß enthält.&#10;&#10;Automatisch generierte Beschreibung">
              <a:extLst>
                <a:ext uri="{FF2B5EF4-FFF2-40B4-BE49-F238E27FC236}">
                  <a16:creationId xmlns:a16="http://schemas.microsoft.com/office/drawing/2014/main" id="{2BE32AB1-099B-D09A-CE35-9B8AB8DA4358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481302" y="1830075"/>
              <a:ext cx="1863135" cy="1879711"/>
            </a:xfrm>
            <a:prstGeom prst="rect">
              <a:avLst/>
            </a:prstGeom>
            <a:effectLst>
              <a:outerShdw blurRad="76200" dir="13500000" sy="23000" kx="1200000" algn="br" rotWithShape="0">
                <a:prstClr val="black">
                  <a:alpha val="20000"/>
                </a:prstClr>
              </a:outerShdw>
            </a:effectLst>
          </p:spPr>
        </p:pic>
        <p:pic>
          <p:nvPicPr>
            <p:cNvPr id="38" name="Grafik 11" descr="Ein Bild, das Fan, Ventilator enthält.&#10;&#10;Automatisch generierte Beschreibung">
              <a:extLst>
                <a:ext uri="{FF2B5EF4-FFF2-40B4-BE49-F238E27FC236}">
                  <a16:creationId xmlns:a16="http://schemas.microsoft.com/office/drawing/2014/main" id="{F4528D78-4E64-2D52-C4C4-8576BC5710A0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830394" y="1655821"/>
              <a:ext cx="1948416" cy="1948416"/>
            </a:xfrm>
            <a:prstGeom prst="rect">
              <a:avLst/>
            </a:prstGeom>
            <a:effectLst>
              <a:outerShdw blurRad="76200" dir="13500000" sy="23000" kx="1200000" algn="br" rotWithShape="0">
                <a:prstClr val="black">
                  <a:alpha val="20000"/>
                </a:prstClr>
              </a:outerShdw>
            </a:effectLst>
          </p:spPr>
        </p:pic>
        <p:pic>
          <p:nvPicPr>
            <p:cNvPr id="39" name="Grafik 12" descr="Ein Bild, das Gerät, Fan, Elektronik, Maschine enthält.&#10;&#10;Automatisch generierte Beschreibung">
              <a:extLst>
                <a:ext uri="{FF2B5EF4-FFF2-40B4-BE49-F238E27FC236}">
                  <a16:creationId xmlns:a16="http://schemas.microsoft.com/office/drawing/2014/main" id="{EDFE20A1-9628-20CF-7DF0-D5A07C9B8C3A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356123" y="2630029"/>
              <a:ext cx="969708" cy="969708"/>
            </a:xfrm>
            <a:prstGeom prst="rect">
              <a:avLst/>
            </a:prstGeom>
            <a:effectLst>
              <a:outerShdw blurRad="76200" dir="13500000" sy="23000" kx="1200000" algn="br" rotWithShape="0">
                <a:prstClr val="black">
                  <a:alpha val="20000"/>
                </a:prstClr>
              </a:outerShdw>
            </a:effectLst>
          </p:spPr>
        </p:pic>
      </p:grpSp>
      <p:grpSp>
        <p:nvGrpSpPr>
          <p:cNvPr id="40" name="Gruppieren 6">
            <a:extLst>
              <a:ext uri="{FF2B5EF4-FFF2-40B4-BE49-F238E27FC236}">
                <a16:creationId xmlns:a16="http://schemas.microsoft.com/office/drawing/2014/main" id="{54187F38-CAF0-203B-6CAF-398FB02AE27B}"/>
              </a:ext>
            </a:extLst>
          </p:cNvPr>
          <p:cNvGrpSpPr/>
          <p:nvPr/>
        </p:nvGrpSpPr>
        <p:grpSpPr>
          <a:xfrm>
            <a:off x="9501378" y="2821213"/>
            <a:ext cx="1406329" cy="1092701"/>
            <a:chOff x="8674482" y="3786211"/>
            <a:chExt cx="3458691" cy="2902195"/>
          </a:xfrm>
        </p:grpSpPr>
        <p:grpSp>
          <p:nvGrpSpPr>
            <p:cNvPr id="41" name="Gruppieren 21">
              <a:extLst>
                <a:ext uri="{FF2B5EF4-FFF2-40B4-BE49-F238E27FC236}">
                  <a16:creationId xmlns:a16="http://schemas.microsoft.com/office/drawing/2014/main" id="{0A359976-6871-F76D-27E9-E99051D69B52}"/>
                </a:ext>
              </a:extLst>
            </p:cNvPr>
            <p:cNvGrpSpPr/>
            <p:nvPr/>
          </p:nvGrpSpPr>
          <p:grpSpPr>
            <a:xfrm>
              <a:off x="8674482" y="3786211"/>
              <a:ext cx="2151048" cy="2902195"/>
              <a:chOff x="8674482" y="3786211"/>
              <a:chExt cx="2151048" cy="2902195"/>
            </a:xfrm>
          </p:grpSpPr>
          <p:pic>
            <p:nvPicPr>
              <p:cNvPr id="43" name="Grafik 1" descr="Ein Bild, das Elektronik enthält.&#10;&#10;Automatisch generierte Beschreibung">
                <a:extLst>
                  <a:ext uri="{FF2B5EF4-FFF2-40B4-BE49-F238E27FC236}">
                    <a16:creationId xmlns:a16="http://schemas.microsoft.com/office/drawing/2014/main" id="{3D388BAE-503E-7C30-D5F2-7879A04756B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816461" y="3786211"/>
                <a:ext cx="2009069" cy="2009069"/>
              </a:xfrm>
              <a:prstGeom prst="rect">
                <a:avLst/>
              </a:prstGeom>
            </p:spPr>
          </p:pic>
          <p:pic>
            <p:nvPicPr>
              <p:cNvPr id="44" name="Grafik 9" descr="Ein Bild, das weiß, Dunkel enthält.&#10;&#10;Automatisch generierte Beschreibung">
                <a:extLst>
                  <a:ext uri="{FF2B5EF4-FFF2-40B4-BE49-F238E27FC236}">
                    <a16:creationId xmlns:a16="http://schemas.microsoft.com/office/drawing/2014/main" id="{EB07EB6F-64FE-FE71-7B65-63E88BA7082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674482" y="4880735"/>
                <a:ext cx="1326774" cy="1326774"/>
              </a:xfrm>
              <a:prstGeom prst="rect">
                <a:avLst/>
              </a:prstGeom>
            </p:spPr>
          </p:pic>
          <p:pic>
            <p:nvPicPr>
              <p:cNvPr id="45" name="Grafik 10" descr="Ein Bild, das Text, Elektronik, Projektor enthält.&#10;&#10;Automatisch generierte Beschreibung">
                <a:extLst>
                  <a:ext uri="{FF2B5EF4-FFF2-40B4-BE49-F238E27FC236}">
                    <a16:creationId xmlns:a16="http://schemas.microsoft.com/office/drawing/2014/main" id="{F9F241D0-9A99-BB70-5324-280BE4210C4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224280" y="5719622"/>
                <a:ext cx="1369969" cy="968784"/>
              </a:xfrm>
              <a:prstGeom prst="rect">
                <a:avLst/>
              </a:prstGeom>
            </p:spPr>
          </p:pic>
        </p:grpSp>
        <p:pic>
          <p:nvPicPr>
            <p:cNvPr id="42" name="Grafik 2" descr="Ein Bild, das Kopfhörer, Autoteile, Lautsprecher enthält.&#10;&#10;Automatisch generierte Beschreibung">
              <a:extLst>
                <a:ext uri="{FF2B5EF4-FFF2-40B4-BE49-F238E27FC236}">
                  <a16:creationId xmlns:a16="http://schemas.microsoft.com/office/drawing/2014/main" id="{67816030-D872-E784-4339-88FFECF9770C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49169" y="4245738"/>
              <a:ext cx="2384004" cy="2237928"/>
            </a:xfrm>
            <a:prstGeom prst="rect">
              <a:avLst/>
            </a:prstGeom>
          </p:spPr>
        </p:pic>
      </p:grpSp>
      <p:pic>
        <p:nvPicPr>
          <p:cNvPr id="46" name="Grafik 30">
            <a:extLst>
              <a:ext uri="{FF2B5EF4-FFF2-40B4-BE49-F238E27FC236}">
                <a16:creationId xmlns:a16="http://schemas.microsoft.com/office/drawing/2014/main" id="{77ECD4E5-D460-9B20-4969-E43962FE722A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05870" y="2727225"/>
            <a:ext cx="1074435" cy="1074435"/>
          </a:xfrm>
          <a:prstGeom prst="rect">
            <a:avLst/>
          </a:prstGeom>
        </p:spPr>
      </p:pic>
      <p:pic>
        <p:nvPicPr>
          <p:cNvPr id="49" name="Obrázek 48" descr="Obsah obrázku čtverec, Obdélník, snímek obrazovky, Symetrie&#10;&#10;Popis byl vytvořen automaticky">
            <a:extLst>
              <a:ext uri="{FF2B5EF4-FFF2-40B4-BE49-F238E27FC236}">
                <a16:creationId xmlns:a16="http://schemas.microsoft.com/office/drawing/2014/main" id="{C4C560A0-6D40-10E3-07B0-E0BC87757980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27943" y="2236838"/>
            <a:ext cx="791064" cy="791064"/>
          </a:xfrm>
          <a:prstGeom prst="rect">
            <a:avLst/>
          </a:prstGeom>
        </p:spPr>
      </p:pic>
      <p:sp>
        <p:nvSpPr>
          <p:cNvPr id="8" name="Obdélník 7">
            <a:extLst>
              <a:ext uri="{FF2B5EF4-FFF2-40B4-BE49-F238E27FC236}">
                <a16:creationId xmlns:a16="http://schemas.microsoft.com/office/drawing/2014/main" id="{4F4665E1-AA74-5736-82B8-4B00E13EE434}"/>
              </a:ext>
            </a:extLst>
          </p:cNvPr>
          <p:cNvSpPr/>
          <p:nvPr/>
        </p:nvSpPr>
        <p:spPr>
          <a:xfrm>
            <a:off x="3016" y="11858"/>
            <a:ext cx="5049371" cy="17018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cs-CZ" dirty="0"/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59A194D8-4380-CD34-FE2F-324B760D5E7E}"/>
              </a:ext>
            </a:extLst>
          </p:cNvPr>
          <p:cNvSpPr txBox="1"/>
          <p:nvPr/>
        </p:nvSpPr>
        <p:spPr>
          <a:xfrm>
            <a:off x="146307" y="138918"/>
            <a:ext cx="450492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800" b="1" dirty="0">
                <a:solidFill>
                  <a:schemeClr val="bg1"/>
                </a:solidFill>
              </a:rPr>
              <a:t>Ventilátory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D501A383-4CED-FF2B-7E60-F4754AB73A0A}"/>
              </a:ext>
            </a:extLst>
          </p:cNvPr>
          <p:cNvSpPr txBox="1"/>
          <p:nvPr/>
        </p:nvSpPr>
        <p:spPr>
          <a:xfrm>
            <a:off x="146307" y="557915"/>
            <a:ext cx="276562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2800" i="1" dirty="0">
                <a:solidFill>
                  <a:schemeClr val="bg1"/>
                </a:solidFill>
              </a:rPr>
              <a:t>Pro každou výzvu.</a:t>
            </a:r>
          </a:p>
        </p:txBody>
      </p: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0D1B2917-BF5B-E121-BCF1-8F27E921B56A}"/>
              </a:ext>
            </a:extLst>
          </p:cNvPr>
          <p:cNvSpPr txBox="1"/>
          <p:nvPr/>
        </p:nvSpPr>
        <p:spPr>
          <a:xfrm>
            <a:off x="167914" y="1102235"/>
            <a:ext cx="47815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noProof="0" dirty="0">
                <a:solidFill>
                  <a:schemeClr val="bg1"/>
                </a:solidFill>
              </a:rPr>
              <a:t>Ať už potřebujete pohánět, ventilovat, chladit nebo klimatizovat, mezi našimi přibližně 20 000 různými produkty určitě najdete to správné řešení.</a:t>
            </a:r>
            <a:endParaRPr lang="cs-CZ" sz="1200" i="1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0386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8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Nadpis 7">
            <a:extLst>
              <a:ext uri="{FF2B5EF4-FFF2-40B4-BE49-F238E27FC236}">
                <a16:creationId xmlns:a16="http://schemas.microsoft.com/office/drawing/2014/main" id="{E1856DA2-5FB9-E1E3-3AE2-4480036A1E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Proč měníme ventilátory?</a:t>
            </a:r>
          </a:p>
        </p:txBody>
      </p:sp>
      <p:sp>
        <p:nvSpPr>
          <p:cNvPr id="10" name="Zástupný text 9">
            <a:extLst>
              <a:ext uri="{FF2B5EF4-FFF2-40B4-BE49-F238E27FC236}">
                <a16:creationId xmlns:a16="http://schemas.microsoft.com/office/drawing/2014/main" id="{4F98471B-F063-5D68-3291-6359C1DCB95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obsah 8">
            <a:extLst>
              <a:ext uri="{FF2B5EF4-FFF2-40B4-BE49-F238E27FC236}">
                <a16:creationId xmlns:a16="http://schemas.microsoft.com/office/drawing/2014/main" id="{DEFFB584-CFCA-960F-3128-DD6220BB79C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sz="2400" dirty="0"/>
              <a:t>Servis - potřeba náhradního dílu =&gt; nároky na </a:t>
            </a:r>
            <a:r>
              <a:rPr lang="cs-CZ" sz="2400" dirty="0" err="1"/>
              <a:t>Ecodesign</a:t>
            </a:r>
            <a:r>
              <a:rPr lang="cs-CZ" sz="2400" dirty="0"/>
              <a:t> =&gt; </a:t>
            </a:r>
            <a:r>
              <a:rPr lang="cs-CZ" sz="2400" dirty="0" err="1"/>
              <a:t>Retrofit</a:t>
            </a:r>
            <a:endParaRPr lang="cs-CZ" sz="2400" dirty="0"/>
          </a:p>
          <a:p>
            <a:pPr marL="612" indent="0">
              <a:buNone/>
            </a:pPr>
            <a:endParaRPr lang="cs-CZ" sz="2400" dirty="0"/>
          </a:p>
          <a:p>
            <a:r>
              <a:rPr lang="cs-CZ" sz="2400" dirty="0"/>
              <a:t>Zvýšení výkonu stávajícího zařízení =&gt; zvyšující se nároky na stávající klimatizační a chladící zařízení vlivem zvyšování průměrné teploty</a:t>
            </a:r>
          </a:p>
          <a:p>
            <a:pPr marL="612" indent="0">
              <a:buNone/>
            </a:pPr>
            <a:endParaRPr lang="cs-CZ" sz="2400" dirty="0"/>
          </a:p>
          <a:p>
            <a:r>
              <a:rPr lang="cs-CZ" sz="2400" dirty="0"/>
              <a:t>Snížení hlučnosti stávajícího zařízení =&gt; zpřísňující se legislativa a těsná zástavba</a:t>
            </a:r>
          </a:p>
          <a:p>
            <a:pPr marL="612" indent="0">
              <a:buNone/>
            </a:pPr>
            <a:endParaRPr lang="cs-CZ" sz="2400" dirty="0"/>
          </a:p>
          <a:p>
            <a:r>
              <a:rPr lang="cs-CZ" sz="2400" dirty="0"/>
              <a:t>Snížení spotřeby energie =&gt; úspory provozních nákladů, ESG </a:t>
            </a:r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A6F22E70-30AA-EA81-C449-0FF91D9107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Zástupný symbol pro číslo snímku 2">
            <a:extLst>
              <a:ext uri="{FF2B5EF4-FFF2-40B4-BE49-F238E27FC236}">
                <a16:creationId xmlns:a16="http://schemas.microsoft.com/office/drawing/2014/main" id="{C560EC5C-A5E0-EDF3-514A-BB324D1515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F31D0-8A17-47C0-8D09-D01303A85034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86950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603699-6E3A-BCA7-7ABA-60CF57140B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building with cars parked in front of it&#10;&#10;AI-generated content may be incorrect.">
            <a:extLst>
              <a:ext uri="{FF2B5EF4-FFF2-40B4-BE49-F238E27FC236}">
                <a16:creationId xmlns:a16="http://schemas.microsoft.com/office/drawing/2014/main" id="{045BA60D-BDB6-BA81-FD77-DC5670F448E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1" name="Titel 1">
            <a:extLst>
              <a:ext uri="{FF2B5EF4-FFF2-40B4-BE49-F238E27FC236}">
                <a16:creationId xmlns:a16="http://schemas.microsoft.com/office/drawing/2014/main" id="{208EB89B-12F6-DBB3-90CE-71EA2C0C20A3}"/>
              </a:ext>
            </a:extLst>
          </p:cNvPr>
          <p:cNvSpPr txBox="1">
            <a:spLocks/>
          </p:cNvSpPr>
          <p:nvPr/>
        </p:nvSpPr>
        <p:spPr>
          <a:xfrm>
            <a:off x="468000" y="666000"/>
            <a:ext cx="11252200" cy="4635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dirty="0">
                <a:solidFill>
                  <a:prstClr val="black"/>
                </a:solidFill>
              </a:rPr>
              <a:t>Designed for many different applications</a:t>
            </a:r>
            <a:endParaRPr kumimoji="0" lang="de-DE" sz="2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j-ea"/>
              <a:cs typeface="+mj-cs"/>
            </a:endParaRPr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6A45C97E-91B4-3039-F1EE-39A5203AF295}"/>
              </a:ext>
            </a:extLst>
          </p:cNvPr>
          <p:cNvSpPr txBox="1">
            <a:spLocks/>
          </p:cNvSpPr>
          <p:nvPr/>
        </p:nvSpPr>
        <p:spPr>
          <a:xfrm>
            <a:off x="468000" y="358293"/>
            <a:ext cx="11252200" cy="18543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900"/>
              </a:spcBef>
              <a:buFont typeface="Wingdings" panose="05000000000000000000" pitchFamily="2" charset="2"/>
              <a:buNone/>
              <a:tabLst>
                <a:tab pos="176213" algn="l"/>
              </a:tabLst>
              <a:defRPr lang="de-DE" sz="1400" i="1" kern="1200" spc="1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  <a:lvl2pPr marL="358775" indent="-179388" algn="l" defTabSz="914400" rtl="0" eaLnBrk="1" latinLnBrk="0" hangingPunct="1">
              <a:lnSpc>
                <a:spcPct val="100000"/>
              </a:lnSpc>
              <a:spcBef>
                <a:spcPts val="900"/>
              </a:spcBef>
              <a:buFont typeface="Wingdings" panose="05000000000000000000" pitchFamily="2" charset="2"/>
              <a:buChar char="§"/>
              <a:tabLst>
                <a:tab pos="536575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6575" indent="-179388" algn="l" defTabSz="914400" rtl="0" eaLnBrk="1" latinLnBrk="0" hangingPunct="1">
              <a:lnSpc>
                <a:spcPct val="100000"/>
              </a:lnSpc>
              <a:spcBef>
                <a:spcPts val="900"/>
              </a:spcBef>
              <a:buFont typeface="Wingdings" panose="05000000000000000000" pitchFamily="2" charset="2"/>
              <a:buChar char="§"/>
              <a:tabLst>
                <a:tab pos="719138" algn="l"/>
              </a:tabLst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9138" indent="-179388" algn="l" defTabSz="914400" rtl="0" eaLnBrk="1" latinLnBrk="0" hangingPunct="1">
              <a:lnSpc>
                <a:spcPct val="100000"/>
              </a:lnSpc>
              <a:spcBef>
                <a:spcPts val="900"/>
              </a:spcBef>
              <a:buFont typeface="Wingdings" panose="05000000000000000000" pitchFamily="2" charset="2"/>
              <a:buChar char="§"/>
              <a:tabLst>
                <a:tab pos="895350" algn="l"/>
              </a:tabLst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9388" algn="l" defTabSz="914400" rtl="0" eaLnBrk="1" latinLnBrk="0" hangingPunct="1">
              <a:lnSpc>
                <a:spcPct val="100000"/>
              </a:lnSpc>
              <a:spcBef>
                <a:spcPts val="900"/>
              </a:spcBef>
              <a:buFont typeface="Wingdings" panose="05000000000000000000" pitchFamily="2" charset="2"/>
              <a:buChar char="§"/>
              <a:tabLst>
                <a:tab pos="1077913" algn="l"/>
              </a:tabLst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7913" indent="-179388" algn="l" defTabSz="914400" rtl="0" eaLnBrk="1" latinLnBrk="0" hangingPunct="1">
              <a:lnSpc>
                <a:spcPct val="100000"/>
              </a:lnSpc>
              <a:spcBef>
                <a:spcPts val="900"/>
              </a:spcBef>
              <a:buFont typeface="Wingdings" panose="05000000000000000000" pitchFamily="2" charset="2"/>
              <a:buChar char="§"/>
              <a:tabLst>
                <a:tab pos="1255713" algn="l"/>
              </a:tabLst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5713" indent="-179388" algn="l" defTabSz="914400" rtl="0" eaLnBrk="1" latinLnBrk="0" hangingPunct="1">
              <a:lnSpc>
                <a:spcPct val="100000"/>
              </a:lnSpc>
              <a:spcBef>
                <a:spcPts val="900"/>
              </a:spcBef>
              <a:buFont typeface="Wingdings" panose="05000000000000000000" pitchFamily="2" charset="2"/>
              <a:buChar char="§"/>
              <a:tabLst>
                <a:tab pos="1438275" algn="l"/>
              </a:tabLst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8275" indent="-179388" algn="l" defTabSz="914400" rtl="0" eaLnBrk="1" latinLnBrk="0" hangingPunct="1">
              <a:lnSpc>
                <a:spcPct val="100000"/>
              </a:lnSpc>
              <a:spcBef>
                <a:spcPts val="900"/>
              </a:spcBef>
              <a:buFont typeface="Wingdings" panose="05000000000000000000" pitchFamily="2" charset="2"/>
              <a:buChar char="§"/>
              <a:tabLst>
                <a:tab pos="1614488" algn="l"/>
              </a:tabLst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4488" indent="-179388" algn="l" defTabSz="914400" rtl="0" eaLnBrk="1" latinLnBrk="0" hangingPunct="1">
              <a:lnSpc>
                <a:spcPct val="100000"/>
              </a:lnSpc>
              <a:spcBef>
                <a:spcPts val="900"/>
              </a:spcBef>
              <a:buFont typeface="Wingdings" panose="05000000000000000000" pitchFamily="2" charset="2"/>
              <a:buChar char="§"/>
              <a:tabLst>
                <a:tab pos="1790700" algn="l"/>
              </a:tabLst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de-DE" dirty="0"/>
              <a:t>Data Centers</a:t>
            </a:r>
            <a:endParaRPr kumimoji="0" lang="de-DE" sz="1400" b="0" i="1" u="none" strike="noStrike" kern="1200" cap="none" spc="1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Freihandform: Form 1">
            <a:extLst>
              <a:ext uri="{FF2B5EF4-FFF2-40B4-BE49-F238E27FC236}">
                <a16:creationId xmlns:a16="http://schemas.microsoft.com/office/drawing/2014/main" id="{23856DEA-4076-8DB5-F730-7CE7547502C6}"/>
              </a:ext>
            </a:extLst>
          </p:cNvPr>
          <p:cNvSpPr/>
          <p:nvPr/>
        </p:nvSpPr>
        <p:spPr>
          <a:xfrm>
            <a:off x="11685914" y="2602473"/>
            <a:ext cx="506086" cy="506086"/>
          </a:xfrm>
          <a:custGeom>
            <a:avLst/>
            <a:gdLst>
              <a:gd name="connsiteX0" fmla="*/ 0 w 708388"/>
              <a:gd name="connsiteY0" fmla="*/ 0 h 708388"/>
              <a:gd name="connsiteX1" fmla="*/ 708388 w 708388"/>
              <a:gd name="connsiteY1" fmla="*/ 0 h 708388"/>
              <a:gd name="connsiteX2" fmla="*/ 708388 w 708388"/>
              <a:gd name="connsiteY2" fmla="*/ 708388 h 708388"/>
              <a:gd name="connsiteX3" fmla="*/ 0 w 708388"/>
              <a:gd name="connsiteY3" fmla="*/ 708388 h 708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8388" h="708388">
                <a:moveTo>
                  <a:pt x="0" y="0"/>
                </a:moveTo>
                <a:lnTo>
                  <a:pt x="708388" y="0"/>
                </a:lnTo>
                <a:lnTo>
                  <a:pt x="708388" y="708388"/>
                </a:lnTo>
                <a:lnTo>
                  <a:pt x="0" y="708388"/>
                </a:ln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" name="Grafik 4">
            <a:extLst>
              <a:ext uri="{FF2B5EF4-FFF2-40B4-BE49-F238E27FC236}">
                <a16:creationId xmlns:a16="http://schemas.microsoft.com/office/drawing/2014/main" id="{150D7C3E-152F-1A4F-B071-60186920FAD0}"/>
              </a:ext>
            </a:extLst>
          </p:cNvPr>
          <p:cNvGrpSpPr/>
          <p:nvPr/>
        </p:nvGrpSpPr>
        <p:grpSpPr>
          <a:xfrm>
            <a:off x="11732893" y="2649985"/>
            <a:ext cx="411040" cy="411036"/>
            <a:chOff x="5844753" y="2338531"/>
            <a:chExt cx="575347" cy="575347"/>
          </a:xfrm>
          <a:solidFill>
            <a:srgbClr val="FFFFFF"/>
          </a:solidFill>
        </p:grpSpPr>
        <p:sp>
          <p:nvSpPr>
            <p:cNvPr id="5" name="Freihandform: Form 4">
              <a:extLst>
                <a:ext uri="{FF2B5EF4-FFF2-40B4-BE49-F238E27FC236}">
                  <a16:creationId xmlns:a16="http://schemas.microsoft.com/office/drawing/2014/main" id="{BD64398E-3613-80BD-C798-9B37E87B1072}"/>
                </a:ext>
              </a:extLst>
            </p:cNvPr>
            <p:cNvSpPr/>
            <p:nvPr/>
          </p:nvSpPr>
          <p:spPr>
            <a:xfrm>
              <a:off x="6076560" y="2569570"/>
              <a:ext cx="113283" cy="113270"/>
            </a:xfrm>
            <a:custGeom>
              <a:avLst/>
              <a:gdLst>
                <a:gd name="connsiteX0" fmla="*/ 56636 w 113283"/>
                <a:gd name="connsiteY0" fmla="*/ 0 h 113270"/>
                <a:gd name="connsiteX1" fmla="*/ 0 w 113283"/>
                <a:gd name="connsiteY1" fmla="*/ 56637 h 113270"/>
                <a:gd name="connsiteX2" fmla="*/ 56636 w 113283"/>
                <a:gd name="connsiteY2" fmla="*/ 113270 h 113270"/>
                <a:gd name="connsiteX3" fmla="*/ 113284 w 113283"/>
                <a:gd name="connsiteY3" fmla="*/ 56637 h 113270"/>
                <a:gd name="connsiteX4" fmla="*/ 56636 w 113283"/>
                <a:gd name="connsiteY4" fmla="*/ 0 h 113270"/>
                <a:gd name="connsiteX5" fmla="*/ 56636 w 113283"/>
                <a:gd name="connsiteY5" fmla="*/ 101370 h 113270"/>
                <a:gd name="connsiteX6" fmla="*/ 11900 w 113283"/>
                <a:gd name="connsiteY6" fmla="*/ 56637 h 113270"/>
                <a:gd name="connsiteX7" fmla="*/ 56636 w 113283"/>
                <a:gd name="connsiteY7" fmla="*/ 11900 h 113270"/>
                <a:gd name="connsiteX8" fmla="*/ 101384 w 113283"/>
                <a:gd name="connsiteY8" fmla="*/ 56637 h 113270"/>
                <a:gd name="connsiteX9" fmla="*/ 56636 w 113283"/>
                <a:gd name="connsiteY9" fmla="*/ 101370 h 113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3283" h="113270">
                  <a:moveTo>
                    <a:pt x="56636" y="0"/>
                  </a:moveTo>
                  <a:cubicBezTo>
                    <a:pt x="25407" y="0"/>
                    <a:pt x="0" y="25407"/>
                    <a:pt x="0" y="56637"/>
                  </a:cubicBezTo>
                  <a:cubicBezTo>
                    <a:pt x="0" y="87863"/>
                    <a:pt x="25407" y="113270"/>
                    <a:pt x="56636" y="113270"/>
                  </a:cubicBezTo>
                  <a:cubicBezTo>
                    <a:pt x="87871" y="113270"/>
                    <a:pt x="113284" y="87863"/>
                    <a:pt x="113284" y="56637"/>
                  </a:cubicBezTo>
                  <a:cubicBezTo>
                    <a:pt x="113284" y="25407"/>
                    <a:pt x="87871" y="0"/>
                    <a:pt x="56636" y="0"/>
                  </a:cubicBezTo>
                  <a:close/>
                  <a:moveTo>
                    <a:pt x="56636" y="101370"/>
                  </a:moveTo>
                  <a:cubicBezTo>
                    <a:pt x="31970" y="101370"/>
                    <a:pt x="11900" y="81303"/>
                    <a:pt x="11900" y="56637"/>
                  </a:cubicBezTo>
                  <a:cubicBezTo>
                    <a:pt x="11900" y="31970"/>
                    <a:pt x="31970" y="11900"/>
                    <a:pt x="56636" y="11900"/>
                  </a:cubicBezTo>
                  <a:cubicBezTo>
                    <a:pt x="81311" y="11900"/>
                    <a:pt x="101384" y="31970"/>
                    <a:pt x="101384" y="56637"/>
                  </a:cubicBezTo>
                  <a:cubicBezTo>
                    <a:pt x="101384" y="81303"/>
                    <a:pt x="81311" y="101370"/>
                    <a:pt x="56636" y="101370"/>
                  </a:cubicBez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" name="Freihandform: Form 5">
              <a:extLst>
                <a:ext uri="{FF2B5EF4-FFF2-40B4-BE49-F238E27FC236}">
                  <a16:creationId xmlns:a16="http://schemas.microsoft.com/office/drawing/2014/main" id="{5382FB5A-FE1B-894E-C74A-AD8472A82226}"/>
                </a:ext>
              </a:extLst>
            </p:cNvPr>
            <p:cNvSpPr/>
            <p:nvPr/>
          </p:nvSpPr>
          <p:spPr>
            <a:xfrm>
              <a:off x="6099469" y="2592476"/>
              <a:ext cx="67465" cy="67457"/>
            </a:xfrm>
            <a:custGeom>
              <a:avLst/>
              <a:gdLst>
                <a:gd name="connsiteX0" fmla="*/ 33729 w 67465"/>
                <a:gd name="connsiteY0" fmla="*/ 0 h 67457"/>
                <a:gd name="connsiteX1" fmla="*/ 0 w 67465"/>
                <a:gd name="connsiteY1" fmla="*/ 33729 h 67457"/>
                <a:gd name="connsiteX2" fmla="*/ 33729 w 67465"/>
                <a:gd name="connsiteY2" fmla="*/ 67458 h 67457"/>
                <a:gd name="connsiteX3" fmla="*/ 67465 w 67465"/>
                <a:gd name="connsiteY3" fmla="*/ 33729 h 67457"/>
                <a:gd name="connsiteX4" fmla="*/ 33729 w 67465"/>
                <a:gd name="connsiteY4" fmla="*/ 0 h 674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465" h="67457">
                  <a:moveTo>
                    <a:pt x="33729" y="0"/>
                  </a:moveTo>
                  <a:cubicBezTo>
                    <a:pt x="15103" y="0"/>
                    <a:pt x="0" y="15103"/>
                    <a:pt x="0" y="33729"/>
                  </a:cubicBezTo>
                  <a:cubicBezTo>
                    <a:pt x="0" y="52356"/>
                    <a:pt x="15103" y="67458"/>
                    <a:pt x="33729" y="67458"/>
                  </a:cubicBezTo>
                  <a:cubicBezTo>
                    <a:pt x="52363" y="67458"/>
                    <a:pt x="67465" y="52355"/>
                    <a:pt x="67465" y="33729"/>
                  </a:cubicBezTo>
                  <a:cubicBezTo>
                    <a:pt x="67465" y="15103"/>
                    <a:pt x="52363" y="0"/>
                    <a:pt x="33729" y="0"/>
                  </a:cubicBez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E8E3C95D-C7EA-A2B8-834A-C76D14EAC1C2}"/>
                </a:ext>
              </a:extLst>
            </p:cNvPr>
            <p:cNvSpPr/>
            <p:nvPr/>
          </p:nvSpPr>
          <p:spPr>
            <a:xfrm>
              <a:off x="5971951" y="2389673"/>
              <a:ext cx="181239" cy="187155"/>
            </a:xfrm>
            <a:custGeom>
              <a:avLst/>
              <a:gdLst>
                <a:gd name="connsiteX0" fmla="*/ 115383 w 181239"/>
                <a:gd name="connsiteY0" fmla="*/ 187156 h 187155"/>
                <a:gd name="connsiteX1" fmla="*/ 161243 w 181239"/>
                <a:gd name="connsiteY1" fmla="*/ 169066 h 187155"/>
                <a:gd name="connsiteX2" fmla="*/ 181239 w 181239"/>
                <a:gd name="connsiteY2" fmla="*/ 172081 h 187155"/>
                <a:gd name="connsiteX3" fmla="*/ 181239 w 181239"/>
                <a:gd name="connsiteY3" fmla="*/ 59112 h 187155"/>
                <a:gd name="connsiteX4" fmla="*/ 125599 w 181239"/>
                <a:gd name="connsiteY4" fmla="*/ 0 h 187155"/>
                <a:gd name="connsiteX5" fmla="*/ 0 w 181239"/>
                <a:gd name="connsiteY5" fmla="*/ 64744 h 187155"/>
                <a:gd name="connsiteX6" fmla="*/ 115383 w 181239"/>
                <a:gd name="connsiteY6" fmla="*/ 187156 h 187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1239" h="187155">
                  <a:moveTo>
                    <a:pt x="115383" y="187156"/>
                  </a:moveTo>
                  <a:cubicBezTo>
                    <a:pt x="127424" y="175964"/>
                    <a:pt x="143510" y="169066"/>
                    <a:pt x="161243" y="169066"/>
                  </a:cubicBezTo>
                  <a:cubicBezTo>
                    <a:pt x="168206" y="169066"/>
                    <a:pt x="174921" y="170124"/>
                    <a:pt x="181239" y="172081"/>
                  </a:cubicBezTo>
                  <a:lnTo>
                    <a:pt x="181239" y="59112"/>
                  </a:lnTo>
                  <a:cubicBezTo>
                    <a:pt x="181239" y="26279"/>
                    <a:pt x="158431" y="0"/>
                    <a:pt x="125599" y="0"/>
                  </a:cubicBezTo>
                  <a:cubicBezTo>
                    <a:pt x="80585" y="0"/>
                    <a:pt x="19456" y="45510"/>
                    <a:pt x="0" y="64744"/>
                  </a:cubicBezTo>
                  <a:cubicBezTo>
                    <a:pt x="17116" y="70374"/>
                    <a:pt x="107006" y="103845"/>
                    <a:pt x="115383" y="187156"/>
                  </a:cubicBez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A86BB83F-1F5E-1478-08CE-5F803EAB193C}"/>
                </a:ext>
              </a:extLst>
            </p:cNvPr>
            <p:cNvSpPr/>
            <p:nvPr/>
          </p:nvSpPr>
          <p:spPr>
            <a:xfrm>
              <a:off x="6162479" y="2415554"/>
              <a:ext cx="188303" cy="206287"/>
            </a:xfrm>
            <a:custGeom>
              <a:avLst/>
              <a:gdLst>
                <a:gd name="connsiteX0" fmla="*/ 37968 w 188303"/>
                <a:gd name="connsiteY0" fmla="*/ 206288 h 206287"/>
                <a:gd name="connsiteX1" fmla="*/ 146729 w 188303"/>
                <a:gd name="connsiteY1" fmla="*/ 170290 h 206287"/>
                <a:gd name="connsiteX2" fmla="*/ 185364 w 188303"/>
                <a:gd name="connsiteY2" fmla="*/ 98894 h 206287"/>
                <a:gd name="connsiteX3" fmla="*/ 84434 w 188303"/>
                <a:gd name="connsiteY3" fmla="*/ 0 h 206287"/>
                <a:gd name="connsiteX4" fmla="*/ 0 w 188303"/>
                <a:gd name="connsiteY4" fmla="*/ 149942 h 206287"/>
                <a:gd name="connsiteX5" fmla="*/ 37968 w 188303"/>
                <a:gd name="connsiteY5" fmla="*/ 206288 h 206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8303" h="206287">
                  <a:moveTo>
                    <a:pt x="37968" y="206288"/>
                  </a:moveTo>
                  <a:lnTo>
                    <a:pt x="146729" y="170290"/>
                  </a:lnTo>
                  <a:cubicBezTo>
                    <a:pt x="177899" y="159974"/>
                    <a:pt x="195681" y="130064"/>
                    <a:pt x="185364" y="98894"/>
                  </a:cubicBezTo>
                  <a:cubicBezTo>
                    <a:pt x="171220" y="56159"/>
                    <a:pt x="108808" y="12426"/>
                    <a:pt x="84434" y="0"/>
                  </a:cubicBezTo>
                  <a:cubicBezTo>
                    <a:pt x="84469" y="18366"/>
                    <a:pt x="80840" y="117640"/>
                    <a:pt x="0" y="149942"/>
                  </a:cubicBezTo>
                  <a:cubicBezTo>
                    <a:pt x="21333" y="160252"/>
                    <a:pt x="36372" y="181413"/>
                    <a:pt x="37968" y="206288"/>
                  </a:cubicBez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C69AC39F-F79F-7C5E-CD48-98BD6D57D061}"/>
                </a:ext>
              </a:extLst>
            </p:cNvPr>
            <p:cNvSpPr/>
            <p:nvPr/>
          </p:nvSpPr>
          <p:spPr>
            <a:xfrm>
              <a:off x="6162404" y="2629235"/>
              <a:ext cx="208378" cy="170921"/>
            </a:xfrm>
            <a:custGeom>
              <a:avLst/>
              <a:gdLst>
                <a:gd name="connsiteX0" fmla="*/ 38111 w 208378"/>
                <a:gd name="connsiteY0" fmla="*/ 0 h 170921"/>
                <a:gd name="connsiteX1" fmla="*/ 0 w 208378"/>
                <a:gd name="connsiteY1" fmla="*/ 57715 h 170921"/>
                <a:gd name="connsiteX2" fmla="*/ 68046 w 208378"/>
                <a:gd name="connsiteY2" fmla="*/ 146353 h 170921"/>
                <a:gd name="connsiteX3" fmla="*/ 148178 w 208378"/>
                <a:gd name="connsiteY3" fmla="*/ 159359 h 170921"/>
                <a:gd name="connsiteX4" fmla="*/ 208378 w 208378"/>
                <a:gd name="connsiteY4" fmla="*/ 31521 h 170921"/>
                <a:gd name="connsiteX5" fmla="*/ 38111 w 208378"/>
                <a:gd name="connsiteY5" fmla="*/ 0 h 170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8378" h="170921">
                  <a:moveTo>
                    <a:pt x="38111" y="0"/>
                  </a:moveTo>
                  <a:cubicBezTo>
                    <a:pt x="36976" y="25478"/>
                    <a:pt x="21754" y="47236"/>
                    <a:pt x="0" y="57715"/>
                  </a:cubicBezTo>
                  <a:cubicBezTo>
                    <a:pt x="13437" y="75218"/>
                    <a:pt x="66686" y="144581"/>
                    <a:pt x="68046" y="146353"/>
                  </a:cubicBezTo>
                  <a:cubicBezTo>
                    <a:pt x="88039" y="172396"/>
                    <a:pt x="122134" y="179352"/>
                    <a:pt x="148178" y="159359"/>
                  </a:cubicBezTo>
                  <a:cubicBezTo>
                    <a:pt x="183883" y="131948"/>
                    <a:pt x="204658" y="58624"/>
                    <a:pt x="208378" y="31521"/>
                  </a:cubicBezTo>
                  <a:cubicBezTo>
                    <a:pt x="190953" y="37626"/>
                    <a:pt x="95096" y="67095"/>
                    <a:pt x="38111" y="0"/>
                  </a:cubicBez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A6F9E50F-5330-F377-053D-7AB0C0060CEB}"/>
                </a:ext>
              </a:extLst>
            </p:cNvPr>
            <p:cNvSpPr/>
            <p:nvPr/>
          </p:nvSpPr>
          <p:spPr>
            <a:xfrm>
              <a:off x="6008165" y="2671464"/>
              <a:ext cx="162810" cy="191272"/>
            </a:xfrm>
            <a:custGeom>
              <a:avLst/>
              <a:gdLst>
                <a:gd name="connsiteX0" fmla="*/ 141416 w 162810"/>
                <a:gd name="connsiteY0" fmla="*/ 20119 h 191272"/>
                <a:gd name="connsiteX1" fmla="*/ 125029 w 162810"/>
                <a:gd name="connsiteY1" fmla="*/ 22206 h 191272"/>
                <a:gd name="connsiteX2" fmla="*/ 75108 w 162810"/>
                <a:gd name="connsiteY2" fmla="*/ 0 h 191272"/>
                <a:gd name="connsiteX3" fmla="*/ 12171 w 162810"/>
                <a:gd name="connsiteY3" fmla="*/ 87901 h 191272"/>
                <a:gd name="connsiteX4" fmla="*/ 22998 w 162810"/>
                <a:gd name="connsiteY4" fmla="*/ 168354 h 191272"/>
                <a:gd name="connsiteX5" fmla="*/ 162810 w 162810"/>
                <a:gd name="connsiteY5" fmla="*/ 188832 h 191272"/>
                <a:gd name="connsiteX6" fmla="*/ 141416 w 162810"/>
                <a:gd name="connsiteY6" fmla="*/ 20119 h 1912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2810" h="191272">
                  <a:moveTo>
                    <a:pt x="141416" y="20119"/>
                  </a:moveTo>
                  <a:cubicBezTo>
                    <a:pt x="136160" y="21432"/>
                    <a:pt x="130691" y="22206"/>
                    <a:pt x="125029" y="22206"/>
                  </a:cubicBezTo>
                  <a:cubicBezTo>
                    <a:pt x="105214" y="22206"/>
                    <a:pt x="87450" y="13607"/>
                    <a:pt x="75108" y="0"/>
                  </a:cubicBezTo>
                  <a:cubicBezTo>
                    <a:pt x="59603" y="21655"/>
                    <a:pt x="13409" y="86170"/>
                    <a:pt x="12171" y="87901"/>
                  </a:cubicBezTo>
                  <a:cubicBezTo>
                    <a:pt x="-6943" y="114595"/>
                    <a:pt x="-3698" y="149240"/>
                    <a:pt x="22998" y="168354"/>
                  </a:cubicBezTo>
                  <a:cubicBezTo>
                    <a:pt x="59598" y="194560"/>
                    <a:pt x="135793" y="193145"/>
                    <a:pt x="162810" y="188832"/>
                  </a:cubicBezTo>
                  <a:cubicBezTo>
                    <a:pt x="152072" y="174157"/>
                    <a:pt x="97549" y="93269"/>
                    <a:pt x="141416" y="20119"/>
                  </a:cubicBez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F50553BD-8564-C2F5-836A-AA350FC4DB46}"/>
                </a:ext>
              </a:extLst>
            </p:cNvPr>
            <p:cNvSpPr/>
            <p:nvPr/>
          </p:nvSpPr>
          <p:spPr>
            <a:xfrm>
              <a:off x="5895621" y="2549918"/>
              <a:ext cx="181560" cy="177000"/>
            </a:xfrm>
            <a:custGeom>
              <a:avLst/>
              <a:gdLst>
                <a:gd name="connsiteX0" fmla="*/ 177550 w 181560"/>
                <a:gd name="connsiteY0" fmla="*/ 106976 h 177000"/>
                <a:gd name="connsiteX1" fmla="*/ 170115 w 181560"/>
                <a:gd name="connsiteY1" fmla="*/ 76287 h 177000"/>
                <a:gd name="connsiteX2" fmla="*/ 181561 w 181560"/>
                <a:gd name="connsiteY2" fmla="*/ 38694 h 177000"/>
                <a:gd name="connsiteX3" fmla="*/ 78475 w 181560"/>
                <a:gd name="connsiteY3" fmla="*/ 3605 h 177000"/>
                <a:gd name="connsiteX4" fmla="*/ 4593 w 181560"/>
                <a:gd name="connsiteY4" fmla="*/ 37242 h 177000"/>
                <a:gd name="connsiteX5" fmla="*/ 25435 w 181560"/>
                <a:gd name="connsiteY5" fmla="*/ 177000 h 177000"/>
                <a:gd name="connsiteX6" fmla="*/ 177550 w 181560"/>
                <a:gd name="connsiteY6" fmla="*/ 106976 h 177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1560" h="177000">
                  <a:moveTo>
                    <a:pt x="177550" y="106976"/>
                  </a:moveTo>
                  <a:cubicBezTo>
                    <a:pt x="172830" y="97762"/>
                    <a:pt x="170115" y="87350"/>
                    <a:pt x="170115" y="76287"/>
                  </a:cubicBezTo>
                  <a:cubicBezTo>
                    <a:pt x="170115" y="62368"/>
                    <a:pt x="174337" y="49438"/>
                    <a:pt x="181561" y="38694"/>
                  </a:cubicBezTo>
                  <a:cubicBezTo>
                    <a:pt x="143440" y="25717"/>
                    <a:pt x="80164" y="4179"/>
                    <a:pt x="78475" y="3605"/>
                  </a:cubicBezTo>
                  <a:cubicBezTo>
                    <a:pt x="47393" y="-6970"/>
                    <a:pt x="15168" y="6159"/>
                    <a:pt x="4593" y="37242"/>
                  </a:cubicBezTo>
                  <a:cubicBezTo>
                    <a:pt x="-9905" y="79857"/>
                    <a:pt x="13492" y="152387"/>
                    <a:pt x="25435" y="177000"/>
                  </a:cubicBezTo>
                  <a:cubicBezTo>
                    <a:pt x="36235" y="162665"/>
                    <a:pt x="96452" y="88854"/>
                    <a:pt x="177550" y="106976"/>
                  </a:cubicBez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F7F855F1-7E7D-99C7-45B7-7C8662AF5D30}"/>
                </a:ext>
              </a:extLst>
            </p:cNvPr>
            <p:cNvSpPr/>
            <p:nvPr/>
          </p:nvSpPr>
          <p:spPr>
            <a:xfrm>
              <a:off x="5844753" y="2338531"/>
              <a:ext cx="575347" cy="575347"/>
            </a:xfrm>
            <a:custGeom>
              <a:avLst/>
              <a:gdLst>
                <a:gd name="connsiteX0" fmla="*/ 287676 w 575347"/>
                <a:gd name="connsiteY0" fmla="*/ 0 h 575347"/>
                <a:gd name="connsiteX1" fmla="*/ 0 w 575347"/>
                <a:gd name="connsiteY1" fmla="*/ 287676 h 575347"/>
                <a:gd name="connsiteX2" fmla="*/ 287676 w 575347"/>
                <a:gd name="connsiteY2" fmla="*/ 575347 h 575347"/>
                <a:gd name="connsiteX3" fmla="*/ 575347 w 575347"/>
                <a:gd name="connsiteY3" fmla="*/ 287676 h 575347"/>
                <a:gd name="connsiteX4" fmla="*/ 287676 w 575347"/>
                <a:gd name="connsiteY4" fmla="*/ 0 h 575347"/>
                <a:gd name="connsiteX5" fmla="*/ 287676 w 575347"/>
                <a:gd name="connsiteY5" fmla="*/ 545597 h 575347"/>
                <a:gd name="connsiteX6" fmla="*/ 29750 w 575347"/>
                <a:gd name="connsiteY6" fmla="*/ 287676 h 575347"/>
                <a:gd name="connsiteX7" fmla="*/ 287676 w 575347"/>
                <a:gd name="connsiteY7" fmla="*/ 29750 h 575347"/>
                <a:gd name="connsiteX8" fmla="*/ 545597 w 575347"/>
                <a:gd name="connsiteY8" fmla="*/ 287676 h 575347"/>
                <a:gd name="connsiteX9" fmla="*/ 287676 w 575347"/>
                <a:gd name="connsiteY9" fmla="*/ 545597 h 5753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5347" h="575347">
                  <a:moveTo>
                    <a:pt x="287676" y="0"/>
                  </a:moveTo>
                  <a:cubicBezTo>
                    <a:pt x="129051" y="0"/>
                    <a:pt x="0" y="129051"/>
                    <a:pt x="0" y="287676"/>
                  </a:cubicBezTo>
                  <a:cubicBezTo>
                    <a:pt x="0" y="446300"/>
                    <a:pt x="129051" y="575347"/>
                    <a:pt x="287676" y="575347"/>
                  </a:cubicBezTo>
                  <a:cubicBezTo>
                    <a:pt x="446300" y="575347"/>
                    <a:pt x="575347" y="446300"/>
                    <a:pt x="575347" y="287676"/>
                  </a:cubicBezTo>
                  <a:cubicBezTo>
                    <a:pt x="575347" y="129051"/>
                    <a:pt x="446300" y="0"/>
                    <a:pt x="287676" y="0"/>
                  </a:cubicBezTo>
                  <a:close/>
                  <a:moveTo>
                    <a:pt x="287676" y="545597"/>
                  </a:moveTo>
                  <a:cubicBezTo>
                    <a:pt x="145455" y="545597"/>
                    <a:pt x="29750" y="429894"/>
                    <a:pt x="29750" y="287676"/>
                  </a:cubicBezTo>
                  <a:cubicBezTo>
                    <a:pt x="29750" y="145457"/>
                    <a:pt x="145455" y="29750"/>
                    <a:pt x="287676" y="29750"/>
                  </a:cubicBezTo>
                  <a:cubicBezTo>
                    <a:pt x="429897" y="29750"/>
                    <a:pt x="545597" y="145455"/>
                    <a:pt x="545597" y="287676"/>
                  </a:cubicBezTo>
                  <a:cubicBezTo>
                    <a:pt x="545597" y="429897"/>
                    <a:pt x="429894" y="545597"/>
                    <a:pt x="287676" y="545597"/>
                  </a:cubicBez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0" name="Freihandform: Form 19">
            <a:extLst>
              <a:ext uri="{FF2B5EF4-FFF2-40B4-BE49-F238E27FC236}">
                <a16:creationId xmlns:a16="http://schemas.microsoft.com/office/drawing/2014/main" id="{95AB4553-FC57-8158-463E-A92B33E2D83D}"/>
              </a:ext>
            </a:extLst>
          </p:cNvPr>
          <p:cNvSpPr/>
          <p:nvPr/>
        </p:nvSpPr>
        <p:spPr>
          <a:xfrm>
            <a:off x="11685914" y="3176121"/>
            <a:ext cx="506086" cy="506086"/>
          </a:xfrm>
          <a:custGeom>
            <a:avLst/>
            <a:gdLst>
              <a:gd name="connsiteX0" fmla="*/ 0 w 708388"/>
              <a:gd name="connsiteY0" fmla="*/ 0 h 708388"/>
              <a:gd name="connsiteX1" fmla="*/ 708388 w 708388"/>
              <a:gd name="connsiteY1" fmla="*/ 0 h 708388"/>
              <a:gd name="connsiteX2" fmla="*/ 708388 w 708388"/>
              <a:gd name="connsiteY2" fmla="*/ 708388 h 708388"/>
              <a:gd name="connsiteX3" fmla="*/ 0 w 708388"/>
              <a:gd name="connsiteY3" fmla="*/ 708388 h 708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8388" h="708388">
                <a:moveTo>
                  <a:pt x="0" y="0"/>
                </a:moveTo>
                <a:lnTo>
                  <a:pt x="708388" y="0"/>
                </a:lnTo>
                <a:lnTo>
                  <a:pt x="708388" y="708388"/>
                </a:lnTo>
                <a:lnTo>
                  <a:pt x="0" y="708388"/>
                </a:ln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27" name="Grafik 20">
            <a:extLst>
              <a:ext uri="{FF2B5EF4-FFF2-40B4-BE49-F238E27FC236}">
                <a16:creationId xmlns:a16="http://schemas.microsoft.com/office/drawing/2014/main" id="{86CAA371-D36D-F36D-8581-947C57F14FCC}"/>
              </a:ext>
            </a:extLst>
          </p:cNvPr>
          <p:cNvGrpSpPr/>
          <p:nvPr/>
        </p:nvGrpSpPr>
        <p:grpSpPr>
          <a:xfrm>
            <a:off x="11758224" y="3248418"/>
            <a:ext cx="361495" cy="361494"/>
            <a:chOff x="5880205" y="3176166"/>
            <a:chExt cx="505997" cy="505997"/>
          </a:xfrm>
          <a:solidFill>
            <a:srgbClr val="FFFFFF"/>
          </a:solidFill>
        </p:grpSpPr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id="{7CBD409B-5EAA-60A4-46FB-32919ED8C6EB}"/>
                </a:ext>
              </a:extLst>
            </p:cNvPr>
            <p:cNvSpPr/>
            <p:nvPr/>
          </p:nvSpPr>
          <p:spPr>
            <a:xfrm>
              <a:off x="6032004" y="3327965"/>
              <a:ext cx="202398" cy="354192"/>
            </a:xfrm>
            <a:custGeom>
              <a:avLst/>
              <a:gdLst>
                <a:gd name="connsiteX0" fmla="*/ 0 w 202398"/>
                <a:gd name="connsiteY0" fmla="*/ 0 h 354192"/>
                <a:gd name="connsiteX1" fmla="*/ 0 w 202398"/>
                <a:gd name="connsiteY1" fmla="*/ 177097 h 354192"/>
                <a:gd name="connsiteX2" fmla="*/ 0 w 202398"/>
                <a:gd name="connsiteY2" fmla="*/ 354193 h 354192"/>
                <a:gd name="connsiteX3" fmla="*/ 1 w 202398"/>
                <a:gd name="connsiteY3" fmla="*/ 354193 h 354192"/>
                <a:gd name="connsiteX4" fmla="*/ 50600 w 202398"/>
                <a:gd name="connsiteY4" fmla="*/ 354193 h 354192"/>
                <a:gd name="connsiteX5" fmla="*/ 75900 w 202398"/>
                <a:gd name="connsiteY5" fmla="*/ 354193 h 354192"/>
                <a:gd name="connsiteX6" fmla="*/ 126499 w 202398"/>
                <a:gd name="connsiteY6" fmla="*/ 354193 h 354192"/>
                <a:gd name="connsiteX7" fmla="*/ 151799 w 202398"/>
                <a:gd name="connsiteY7" fmla="*/ 354193 h 354192"/>
                <a:gd name="connsiteX8" fmla="*/ 202397 w 202398"/>
                <a:gd name="connsiteY8" fmla="*/ 354193 h 354192"/>
                <a:gd name="connsiteX9" fmla="*/ 202398 w 202398"/>
                <a:gd name="connsiteY9" fmla="*/ 354193 h 354192"/>
                <a:gd name="connsiteX10" fmla="*/ 202398 w 202398"/>
                <a:gd name="connsiteY10" fmla="*/ 328895 h 354192"/>
                <a:gd name="connsiteX11" fmla="*/ 202397 w 202398"/>
                <a:gd name="connsiteY11" fmla="*/ 328895 h 354192"/>
                <a:gd name="connsiteX12" fmla="*/ 202397 w 202398"/>
                <a:gd name="connsiteY12" fmla="*/ 177097 h 354192"/>
                <a:gd name="connsiteX13" fmla="*/ 202397 w 202398"/>
                <a:gd name="connsiteY13" fmla="*/ 0 h 354192"/>
                <a:gd name="connsiteX14" fmla="*/ 0 w 202398"/>
                <a:gd name="connsiteY14" fmla="*/ 0 h 354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2398" h="354192">
                  <a:moveTo>
                    <a:pt x="0" y="0"/>
                  </a:moveTo>
                  <a:lnTo>
                    <a:pt x="0" y="177097"/>
                  </a:lnTo>
                  <a:lnTo>
                    <a:pt x="0" y="354193"/>
                  </a:lnTo>
                  <a:lnTo>
                    <a:pt x="1" y="354193"/>
                  </a:lnTo>
                  <a:lnTo>
                    <a:pt x="50600" y="354193"/>
                  </a:lnTo>
                  <a:lnTo>
                    <a:pt x="75900" y="354193"/>
                  </a:lnTo>
                  <a:lnTo>
                    <a:pt x="126499" y="354193"/>
                  </a:lnTo>
                  <a:lnTo>
                    <a:pt x="151799" y="354193"/>
                  </a:lnTo>
                  <a:lnTo>
                    <a:pt x="202397" y="354193"/>
                  </a:lnTo>
                  <a:lnTo>
                    <a:pt x="202398" y="354193"/>
                  </a:lnTo>
                  <a:lnTo>
                    <a:pt x="202398" y="328895"/>
                  </a:lnTo>
                  <a:lnTo>
                    <a:pt x="202397" y="328895"/>
                  </a:lnTo>
                  <a:lnTo>
                    <a:pt x="202397" y="177097"/>
                  </a:lnTo>
                  <a:lnTo>
                    <a:pt x="20239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id="{525CD742-D6E1-DC9A-29F3-8BC4EF75F118}"/>
                </a:ext>
              </a:extLst>
            </p:cNvPr>
            <p:cNvSpPr/>
            <p:nvPr/>
          </p:nvSpPr>
          <p:spPr>
            <a:xfrm>
              <a:off x="5956105" y="3176166"/>
              <a:ext cx="50599" cy="25299"/>
            </a:xfrm>
            <a:custGeom>
              <a:avLst/>
              <a:gdLst>
                <a:gd name="connsiteX0" fmla="*/ 0 w 50599"/>
                <a:gd name="connsiteY0" fmla="*/ 0 h 25299"/>
                <a:gd name="connsiteX1" fmla="*/ 50599 w 50599"/>
                <a:gd name="connsiteY1" fmla="*/ 0 h 25299"/>
                <a:gd name="connsiteX2" fmla="*/ 50599 w 50599"/>
                <a:gd name="connsiteY2" fmla="*/ 25300 h 25299"/>
                <a:gd name="connsiteX3" fmla="*/ 0 w 50599"/>
                <a:gd name="connsiteY3" fmla="*/ 25300 h 25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599" h="25299">
                  <a:moveTo>
                    <a:pt x="0" y="0"/>
                  </a:moveTo>
                  <a:lnTo>
                    <a:pt x="50599" y="0"/>
                  </a:lnTo>
                  <a:lnTo>
                    <a:pt x="50599" y="25300"/>
                  </a:lnTo>
                  <a:lnTo>
                    <a:pt x="0" y="25300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ihandform: Form 29">
              <a:extLst>
                <a:ext uri="{FF2B5EF4-FFF2-40B4-BE49-F238E27FC236}">
                  <a16:creationId xmlns:a16="http://schemas.microsoft.com/office/drawing/2014/main" id="{BDD8A966-DCE0-F240-A526-B5E5D8DC0EBA}"/>
                </a:ext>
              </a:extLst>
            </p:cNvPr>
            <p:cNvSpPr/>
            <p:nvPr/>
          </p:nvSpPr>
          <p:spPr>
            <a:xfrm>
              <a:off x="6032004" y="3176166"/>
              <a:ext cx="50599" cy="25299"/>
            </a:xfrm>
            <a:custGeom>
              <a:avLst/>
              <a:gdLst>
                <a:gd name="connsiteX0" fmla="*/ 0 w 50599"/>
                <a:gd name="connsiteY0" fmla="*/ 0 h 25299"/>
                <a:gd name="connsiteX1" fmla="*/ 50599 w 50599"/>
                <a:gd name="connsiteY1" fmla="*/ 0 h 25299"/>
                <a:gd name="connsiteX2" fmla="*/ 50599 w 50599"/>
                <a:gd name="connsiteY2" fmla="*/ 25300 h 25299"/>
                <a:gd name="connsiteX3" fmla="*/ 0 w 50599"/>
                <a:gd name="connsiteY3" fmla="*/ 25300 h 25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599" h="25299">
                  <a:moveTo>
                    <a:pt x="0" y="0"/>
                  </a:moveTo>
                  <a:lnTo>
                    <a:pt x="50599" y="0"/>
                  </a:lnTo>
                  <a:lnTo>
                    <a:pt x="50599" y="25300"/>
                  </a:lnTo>
                  <a:lnTo>
                    <a:pt x="0" y="25300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Freihandform: Form 30">
              <a:extLst>
                <a:ext uri="{FF2B5EF4-FFF2-40B4-BE49-F238E27FC236}">
                  <a16:creationId xmlns:a16="http://schemas.microsoft.com/office/drawing/2014/main" id="{FE9226B8-67DA-E360-6CFA-DD0A6A1FA8C8}"/>
                </a:ext>
              </a:extLst>
            </p:cNvPr>
            <p:cNvSpPr/>
            <p:nvPr/>
          </p:nvSpPr>
          <p:spPr>
            <a:xfrm>
              <a:off x="6107904" y="3176166"/>
              <a:ext cx="50599" cy="25299"/>
            </a:xfrm>
            <a:custGeom>
              <a:avLst/>
              <a:gdLst>
                <a:gd name="connsiteX0" fmla="*/ 0 w 50599"/>
                <a:gd name="connsiteY0" fmla="*/ 0 h 25299"/>
                <a:gd name="connsiteX1" fmla="*/ 50599 w 50599"/>
                <a:gd name="connsiteY1" fmla="*/ 0 h 25299"/>
                <a:gd name="connsiteX2" fmla="*/ 50599 w 50599"/>
                <a:gd name="connsiteY2" fmla="*/ 25300 h 25299"/>
                <a:gd name="connsiteX3" fmla="*/ 0 w 50599"/>
                <a:gd name="connsiteY3" fmla="*/ 25300 h 25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599" h="25299">
                  <a:moveTo>
                    <a:pt x="0" y="0"/>
                  </a:moveTo>
                  <a:lnTo>
                    <a:pt x="50599" y="0"/>
                  </a:lnTo>
                  <a:lnTo>
                    <a:pt x="50599" y="25300"/>
                  </a:lnTo>
                  <a:lnTo>
                    <a:pt x="0" y="25300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FBF18FC8-4CF2-C28C-3C90-7E383827D1AB}"/>
                </a:ext>
              </a:extLst>
            </p:cNvPr>
            <p:cNvSpPr/>
            <p:nvPr/>
          </p:nvSpPr>
          <p:spPr>
            <a:xfrm>
              <a:off x="6183802" y="3176166"/>
              <a:ext cx="50599" cy="25299"/>
            </a:xfrm>
            <a:custGeom>
              <a:avLst/>
              <a:gdLst>
                <a:gd name="connsiteX0" fmla="*/ 0 w 50599"/>
                <a:gd name="connsiteY0" fmla="*/ 0 h 25299"/>
                <a:gd name="connsiteX1" fmla="*/ 50599 w 50599"/>
                <a:gd name="connsiteY1" fmla="*/ 0 h 25299"/>
                <a:gd name="connsiteX2" fmla="*/ 50599 w 50599"/>
                <a:gd name="connsiteY2" fmla="*/ 25300 h 25299"/>
                <a:gd name="connsiteX3" fmla="*/ 0 w 50599"/>
                <a:gd name="connsiteY3" fmla="*/ 25300 h 25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599" h="25299">
                  <a:moveTo>
                    <a:pt x="0" y="0"/>
                  </a:moveTo>
                  <a:lnTo>
                    <a:pt x="50599" y="0"/>
                  </a:lnTo>
                  <a:lnTo>
                    <a:pt x="50599" y="25300"/>
                  </a:lnTo>
                  <a:lnTo>
                    <a:pt x="0" y="25300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ihandform: Form 69">
              <a:extLst>
                <a:ext uri="{FF2B5EF4-FFF2-40B4-BE49-F238E27FC236}">
                  <a16:creationId xmlns:a16="http://schemas.microsoft.com/office/drawing/2014/main" id="{97E91070-54EC-BB95-6406-76ACFDED4DE9}"/>
                </a:ext>
              </a:extLst>
            </p:cNvPr>
            <p:cNvSpPr/>
            <p:nvPr/>
          </p:nvSpPr>
          <p:spPr>
            <a:xfrm>
              <a:off x="6259702" y="3176166"/>
              <a:ext cx="50599" cy="25299"/>
            </a:xfrm>
            <a:custGeom>
              <a:avLst/>
              <a:gdLst>
                <a:gd name="connsiteX0" fmla="*/ 0 w 50599"/>
                <a:gd name="connsiteY0" fmla="*/ 0 h 25299"/>
                <a:gd name="connsiteX1" fmla="*/ 50599 w 50599"/>
                <a:gd name="connsiteY1" fmla="*/ 0 h 25299"/>
                <a:gd name="connsiteX2" fmla="*/ 50599 w 50599"/>
                <a:gd name="connsiteY2" fmla="*/ 25300 h 25299"/>
                <a:gd name="connsiteX3" fmla="*/ 0 w 50599"/>
                <a:gd name="connsiteY3" fmla="*/ 25300 h 25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599" h="25299">
                  <a:moveTo>
                    <a:pt x="0" y="0"/>
                  </a:moveTo>
                  <a:lnTo>
                    <a:pt x="50599" y="0"/>
                  </a:lnTo>
                  <a:lnTo>
                    <a:pt x="50599" y="25300"/>
                  </a:lnTo>
                  <a:lnTo>
                    <a:pt x="0" y="25300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ihandform: Form 74">
              <a:extLst>
                <a:ext uri="{FF2B5EF4-FFF2-40B4-BE49-F238E27FC236}">
                  <a16:creationId xmlns:a16="http://schemas.microsoft.com/office/drawing/2014/main" id="{BB70540B-49B7-52BD-0828-CF3AFD4A07B6}"/>
                </a:ext>
              </a:extLst>
            </p:cNvPr>
            <p:cNvSpPr/>
            <p:nvPr/>
          </p:nvSpPr>
          <p:spPr>
            <a:xfrm>
              <a:off x="5956105" y="3656860"/>
              <a:ext cx="50599" cy="25299"/>
            </a:xfrm>
            <a:custGeom>
              <a:avLst/>
              <a:gdLst>
                <a:gd name="connsiteX0" fmla="*/ 0 w 50599"/>
                <a:gd name="connsiteY0" fmla="*/ 0 h 25299"/>
                <a:gd name="connsiteX1" fmla="*/ 50599 w 50599"/>
                <a:gd name="connsiteY1" fmla="*/ 0 h 25299"/>
                <a:gd name="connsiteX2" fmla="*/ 50599 w 50599"/>
                <a:gd name="connsiteY2" fmla="*/ 25300 h 25299"/>
                <a:gd name="connsiteX3" fmla="*/ 0 w 50599"/>
                <a:gd name="connsiteY3" fmla="*/ 25300 h 25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599" h="25299">
                  <a:moveTo>
                    <a:pt x="0" y="0"/>
                  </a:moveTo>
                  <a:lnTo>
                    <a:pt x="50599" y="0"/>
                  </a:lnTo>
                  <a:lnTo>
                    <a:pt x="50599" y="25300"/>
                  </a:lnTo>
                  <a:lnTo>
                    <a:pt x="0" y="25300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1" name="Freihandform: Form 80">
              <a:extLst>
                <a:ext uri="{FF2B5EF4-FFF2-40B4-BE49-F238E27FC236}">
                  <a16:creationId xmlns:a16="http://schemas.microsoft.com/office/drawing/2014/main" id="{DE31A813-4468-D884-32A2-DC4E6EADDF1D}"/>
                </a:ext>
              </a:extLst>
            </p:cNvPr>
            <p:cNvSpPr/>
            <p:nvPr/>
          </p:nvSpPr>
          <p:spPr>
            <a:xfrm>
              <a:off x="6259702" y="3656860"/>
              <a:ext cx="50599" cy="25299"/>
            </a:xfrm>
            <a:custGeom>
              <a:avLst/>
              <a:gdLst>
                <a:gd name="connsiteX0" fmla="*/ 0 w 50599"/>
                <a:gd name="connsiteY0" fmla="*/ 0 h 25299"/>
                <a:gd name="connsiteX1" fmla="*/ 50599 w 50599"/>
                <a:gd name="connsiteY1" fmla="*/ 0 h 25299"/>
                <a:gd name="connsiteX2" fmla="*/ 50599 w 50599"/>
                <a:gd name="connsiteY2" fmla="*/ 25300 h 25299"/>
                <a:gd name="connsiteX3" fmla="*/ 0 w 50599"/>
                <a:gd name="connsiteY3" fmla="*/ 25300 h 25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599" h="25299">
                  <a:moveTo>
                    <a:pt x="0" y="0"/>
                  </a:moveTo>
                  <a:lnTo>
                    <a:pt x="50599" y="0"/>
                  </a:lnTo>
                  <a:lnTo>
                    <a:pt x="50599" y="25300"/>
                  </a:lnTo>
                  <a:lnTo>
                    <a:pt x="0" y="25300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4" name="Freihandform: Form 83">
              <a:extLst>
                <a:ext uri="{FF2B5EF4-FFF2-40B4-BE49-F238E27FC236}">
                  <a16:creationId xmlns:a16="http://schemas.microsoft.com/office/drawing/2014/main" id="{9C3BF0CA-3559-34A8-567E-7BD4E5A1FA24}"/>
                </a:ext>
              </a:extLst>
            </p:cNvPr>
            <p:cNvSpPr/>
            <p:nvPr/>
          </p:nvSpPr>
          <p:spPr>
            <a:xfrm>
              <a:off x="5880205" y="3176166"/>
              <a:ext cx="50598" cy="50598"/>
            </a:xfrm>
            <a:custGeom>
              <a:avLst/>
              <a:gdLst>
                <a:gd name="connsiteX0" fmla="*/ 1 w 50598"/>
                <a:gd name="connsiteY0" fmla="*/ 0 h 50598"/>
                <a:gd name="connsiteX1" fmla="*/ 0 w 50598"/>
                <a:gd name="connsiteY1" fmla="*/ 0 h 50598"/>
                <a:gd name="connsiteX2" fmla="*/ 0 w 50598"/>
                <a:gd name="connsiteY2" fmla="*/ 25300 h 50598"/>
                <a:gd name="connsiteX3" fmla="*/ 1 w 50598"/>
                <a:gd name="connsiteY3" fmla="*/ 25300 h 50598"/>
                <a:gd name="connsiteX4" fmla="*/ 1 w 50598"/>
                <a:gd name="connsiteY4" fmla="*/ 50599 h 50598"/>
                <a:gd name="connsiteX5" fmla="*/ 25300 w 50598"/>
                <a:gd name="connsiteY5" fmla="*/ 50599 h 50598"/>
                <a:gd name="connsiteX6" fmla="*/ 25300 w 50598"/>
                <a:gd name="connsiteY6" fmla="*/ 25300 h 50598"/>
                <a:gd name="connsiteX7" fmla="*/ 50599 w 50598"/>
                <a:gd name="connsiteY7" fmla="*/ 25300 h 50598"/>
                <a:gd name="connsiteX8" fmla="*/ 50599 w 50598"/>
                <a:gd name="connsiteY8" fmla="*/ 0 h 50598"/>
                <a:gd name="connsiteX9" fmla="*/ 25300 w 50598"/>
                <a:gd name="connsiteY9" fmla="*/ 0 h 50598"/>
                <a:gd name="connsiteX10" fmla="*/ 1 w 50598"/>
                <a:gd name="connsiteY10" fmla="*/ 0 h 50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0598" h="50598">
                  <a:moveTo>
                    <a:pt x="1" y="0"/>
                  </a:moveTo>
                  <a:lnTo>
                    <a:pt x="0" y="0"/>
                  </a:lnTo>
                  <a:lnTo>
                    <a:pt x="0" y="25300"/>
                  </a:lnTo>
                  <a:lnTo>
                    <a:pt x="1" y="25300"/>
                  </a:lnTo>
                  <a:lnTo>
                    <a:pt x="1" y="50599"/>
                  </a:lnTo>
                  <a:lnTo>
                    <a:pt x="25300" y="50599"/>
                  </a:lnTo>
                  <a:lnTo>
                    <a:pt x="25300" y="25300"/>
                  </a:lnTo>
                  <a:lnTo>
                    <a:pt x="50599" y="25300"/>
                  </a:lnTo>
                  <a:lnTo>
                    <a:pt x="50599" y="0"/>
                  </a:lnTo>
                  <a:lnTo>
                    <a:pt x="25300" y="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5" name="Freihandform: Form 84">
              <a:extLst>
                <a:ext uri="{FF2B5EF4-FFF2-40B4-BE49-F238E27FC236}">
                  <a16:creationId xmlns:a16="http://schemas.microsoft.com/office/drawing/2014/main" id="{977354C6-C0BE-67F8-B4A5-4CC98DAB9381}"/>
                </a:ext>
              </a:extLst>
            </p:cNvPr>
            <p:cNvSpPr/>
            <p:nvPr/>
          </p:nvSpPr>
          <p:spPr>
            <a:xfrm>
              <a:off x="5880206" y="3252066"/>
              <a:ext cx="25299" cy="50599"/>
            </a:xfrm>
            <a:custGeom>
              <a:avLst/>
              <a:gdLst>
                <a:gd name="connsiteX0" fmla="*/ 0 w 25299"/>
                <a:gd name="connsiteY0" fmla="*/ 0 h 50599"/>
                <a:gd name="connsiteX1" fmla="*/ 25299 w 25299"/>
                <a:gd name="connsiteY1" fmla="*/ 0 h 50599"/>
                <a:gd name="connsiteX2" fmla="*/ 25299 w 25299"/>
                <a:gd name="connsiteY2" fmla="*/ 50599 h 50599"/>
                <a:gd name="connsiteX3" fmla="*/ 0 w 25299"/>
                <a:gd name="connsiteY3" fmla="*/ 50599 h 50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99" h="50599">
                  <a:moveTo>
                    <a:pt x="0" y="0"/>
                  </a:moveTo>
                  <a:lnTo>
                    <a:pt x="25299" y="0"/>
                  </a:lnTo>
                  <a:lnTo>
                    <a:pt x="25299" y="50599"/>
                  </a:lnTo>
                  <a:lnTo>
                    <a:pt x="0" y="50599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6" name="Freihandform: Form 85">
              <a:extLst>
                <a:ext uri="{FF2B5EF4-FFF2-40B4-BE49-F238E27FC236}">
                  <a16:creationId xmlns:a16="http://schemas.microsoft.com/office/drawing/2014/main" id="{59FA0241-5003-FB14-B50B-4F41289D1016}"/>
                </a:ext>
              </a:extLst>
            </p:cNvPr>
            <p:cNvSpPr/>
            <p:nvPr/>
          </p:nvSpPr>
          <p:spPr>
            <a:xfrm>
              <a:off x="5880206" y="3327965"/>
              <a:ext cx="25299" cy="50599"/>
            </a:xfrm>
            <a:custGeom>
              <a:avLst/>
              <a:gdLst>
                <a:gd name="connsiteX0" fmla="*/ 0 w 25299"/>
                <a:gd name="connsiteY0" fmla="*/ 0 h 50599"/>
                <a:gd name="connsiteX1" fmla="*/ 25299 w 25299"/>
                <a:gd name="connsiteY1" fmla="*/ 0 h 50599"/>
                <a:gd name="connsiteX2" fmla="*/ 25299 w 25299"/>
                <a:gd name="connsiteY2" fmla="*/ 50599 h 50599"/>
                <a:gd name="connsiteX3" fmla="*/ 0 w 25299"/>
                <a:gd name="connsiteY3" fmla="*/ 50599 h 50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99" h="50599">
                  <a:moveTo>
                    <a:pt x="0" y="0"/>
                  </a:moveTo>
                  <a:lnTo>
                    <a:pt x="25299" y="0"/>
                  </a:lnTo>
                  <a:lnTo>
                    <a:pt x="25299" y="50599"/>
                  </a:lnTo>
                  <a:lnTo>
                    <a:pt x="0" y="50599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7" name="Freihandform: Form 86">
              <a:extLst>
                <a:ext uri="{FF2B5EF4-FFF2-40B4-BE49-F238E27FC236}">
                  <a16:creationId xmlns:a16="http://schemas.microsoft.com/office/drawing/2014/main" id="{18D748B5-B667-A0EB-581E-1C6FEE98C0B5}"/>
                </a:ext>
              </a:extLst>
            </p:cNvPr>
            <p:cNvSpPr/>
            <p:nvPr/>
          </p:nvSpPr>
          <p:spPr>
            <a:xfrm>
              <a:off x="5880206" y="3403864"/>
              <a:ext cx="25299" cy="50599"/>
            </a:xfrm>
            <a:custGeom>
              <a:avLst/>
              <a:gdLst>
                <a:gd name="connsiteX0" fmla="*/ 0 w 25299"/>
                <a:gd name="connsiteY0" fmla="*/ 0 h 50599"/>
                <a:gd name="connsiteX1" fmla="*/ 25299 w 25299"/>
                <a:gd name="connsiteY1" fmla="*/ 0 h 50599"/>
                <a:gd name="connsiteX2" fmla="*/ 25299 w 25299"/>
                <a:gd name="connsiteY2" fmla="*/ 50599 h 50599"/>
                <a:gd name="connsiteX3" fmla="*/ 0 w 25299"/>
                <a:gd name="connsiteY3" fmla="*/ 50599 h 50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99" h="50599">
                  <a:moveTo>
                    <a:pt x="0" y="0"/>
                  </a:moveTo>
                  <a:lnTo>
                    <a:pt x="25299" y="0"/>
                  </a:lnTo>
                  <a:lnTo>
                    <a:pt x="25299" y="50599"/>
                  </a:lnTo>
                  <a:lnTo>
                    <a:pt x="0" y="50599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8" name="Freihandform: Form 87">
              <a:extLst>
                <a:ext uri="{FF2B5EF4-FFF2-40B4-BE49-F238E27FC236}">
                  <a16:creationId xmlns:a16="http://schemas.microsoft.com/office/drawing/2014/main" id="{057E7AB8-F19A-332B-2B2B-6615E79DD48C}"/>
                </a:ext>
              </a:extLst>
            </p:cNvPr>
            <p:cNvSpPr/>
            <p:nvPr/>
          </p:nvSpPr>
          <p:spPr>
            <a:xfrm>
              <a:off x="5880206" y="3479763"/>
              <a:ext cx="25299" cy="50599"/>
            </a:xfrm>
            <a:custGeom>
              <a:avLst/>
              <a:gdLst>
                <a:gd name="connsiteX0" fmla="*/ 0 w 25299"/>
                <a:gd name="connsiteY0" fmla="*/ 0 h 50599"/>
                <a:gd name="connsiteX1" fmla="*/ 25299 w 25299"/>
                <a:gd name="connsiteY1" fmla="*/ 0 h 50599"/>
                <a:gd name="connsiteX2" fmla="*/ 25299 w 25299"/>
                <a:gd name="connsiteY2" fmla="*/ 50599 h 50599"/>
                <a:gd name="connsiteX3" fmla="*/ 0 w 25299"/>
                <a:gd name="connsiteY3" fmla="*/ 50599 h 50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99" h="50599">
                  <a:moveTo>
                    <a:pt x="0" y="0"/>
                  </a:moveTo>
                  <a:lnTo>
                    <a:pt x="25299" y="0"/>
                  </a:lnTo>
                  <a:lnTo>
                    <a:pt x="25299" y="50599"/>
                  </a:lnTo>
                  <a:lnTo>
                    <a:pt x="0" y="50599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9" name="Freihandform: Form 88">
              <a:extLst>
                <a:ext uri="{FF2B5EF4-FFF2-40B4-BE49-F238E27FC236}">
                  <a16:creationId xmlns:a16="http://schemas.microsoft.com/office/drawing/2014/main" id="{CC55488C-A893-B40E-E93A-032C255B5570}"/>
                </a:ext>
              </a:extLst>
            </p:cNvPr>
            <p:cNvSpPr/>
            <p:nvPr/>
          </p:nvSpPr>
          <p:spPr>
            <a:xfrm>
              <a:off x="5880206" y="3555663"/>
              <a:ext cx="25299" cy="50599"/>
            </a:xfrm>
            <a:custGeom>
              <a:avLst/>
              <a:gdLst>
                <a:gd name="connsiteX0" fmla="*/ 0 w 25299"/>
                <a:gd name="connsiteY0" fmla="*/ 0 h 50599"/>
                <a:gd name="connsiteX1" fmla="*/ 25299 w 25299"/>
                <a:gd name="connsiteY1" fmla="*/ 0 h 50599"/>
                <a:gd name="connsiteX2" fmla="*/ 25299 w 25299"/>
                <a:gd name="connsiteY2" fmla="*/ 50599 h 50599"/>
                <a:gd name="connsiteX3" fmla="*/ 0 w 25299"/>
                <a:gd name="connsiteY3" fmla="*/ 50599 h 50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99" h="50599">
                  <a:moveTo>
                    <a:pt x="0" y="0"/>
                  </a:moveTo>
                  <a:lnTo>
                    <a:pt x="25299" y="0"/>
                  </a:lnTo>
                  <a:lnTo>
                    <a:pt x="25299" y="50599"/>
                  </a:lnTo>
                  <a:lnTo>
                    <a:pt x="0" y="50599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0" name="Freihandform: Form 89">
              <a:extLst>
                <a:ext uri="{FF2B5EF4-FFF2-40B4-BE49-F238E27FC236}">
                  <a16:creationId xmlns:a16="http://schemas.microsoft.com/office/drawing/2014/main" id="{41EC0646-D749-59C2-5ECA-E79B783587E0}"/>
                </a:ext>
              </a:extLst>
            </p:cNvPr>
            <p:cNvSpPr/>
            <p:nvPr/>
          </p:nvSpPr>
          <p:spPr>
            <a:xfrm>
              <a:off x="5880205" y="3631562"/>
              <a:ext cx="50598" cy="50601"/>
            </a:xfrm>
            <a:custGeom>
              <a:avLst/>
              <a:gdLst>
                <a:gd name="connsiteX0" fmla="*/ 25300 w 50598"/>
                <a:gd name="connsiteY0" fmla="*/ 0 h 50601"/>
                <a:gd name="connsiteX1" fmla="*/ 1 w 50598"/>
                <a:gd name="connsiteY1" fmla="*/ 0 h 50601"/>
                <a:gd name="connsiteX2" fmla="*/ 1 w 50598"/>
                <a:gd name="connsiteY2" fmla="*/ 25297 h 50601"/>
                <a:gd name="connsiteX3" fmla="*/ 0 w 50598"/>
                <a:gd name="connsiteY3" fmla="*/ 25297 h 50601"/>
                <a:gd name="connsiteX4" fmla="*/ 0 w 50598"/>
                <a:gd name="connsiteY4" fmla="*/ 50595 h 50601"/>
                <a:gd name="connsiteX5" fmla="*/ 1 w 50598"/>
                <a:gd name="connsiteY5" fmla="*/ 50595 h 50601"/>
                <a:gd name="connsiteX6" fmla="*/ 1 w 50598"/>
                <a:gd name="connsiteY6" fmla="*/ 50601 h 50601"/>
                <a:gd name="connsiteX7" fmla="*/ 25300 w 50598"/>
                <a:gd name="connsiteY7" fmla="*/ 50601 h 50601"/>
                <a:gd name="connsiteX8" fmla="*/ 25300 w 50598"/>
                <a:gd name="connsiteY8" fmla="*/ 50595 h 50601"/>
                <a:gd name="connsiteX9" fmla="*/ 50599 w 50598"/>
                <a:gd name="connsiteY9" fmla="*/ 50595 h 50601"/>
                <a:gd name="connsiteX10" fmla="*/ 50599 w 50598"/>
                <a:gd name="connsiteY10" fmla="*/ 25297 h 50601"/>
                <a:gd name="connsiteX11" fmla="*/ 25300 w 50598"/>
                <a:gd name="connsiteY11" fmla="*/ 25297 h 50601"/>
                <a:gd name="connsiteX12" fmla="*/ 25300 w 50598"/>
                <a:gd name="connsiteY12" fmla="*/ 0 h 50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598" h="50601">
                  <a:moveTo>
                    <a:pt x="25300" y="0"/>
                  </a:moveTo>
                  <a:lnTo>
                    <a:pt x="1" y="0"/>
                  </a:lnTo>
                  <a:lnTo>
                    <a:pt x="1" y="25297"/>
                  </a:lnTo>
                  <a:lnTo>
                    <a:pt x="0" y="25297"/>
                  </a:lnTo>
                  <a:lnTo>
                    <a:pt x="0" y="50595"/>
                  </a:lnTo>
                  <a:lnTo>
                    <a:pt x="1" y="50595"/>
                  </a:lnTo>
                  <a:lnTo>
                    <a:pt x="1" y="50601"/>
                  </a:lnTo>
                  <a:lnTo>
                    <a:pt x="25300" y="50601"/>
                  </a:lnTo>
                  <a:lnTo>
                    <a:pt x="25300" y="50595"/>
                  </a:lnTo>
                  <a:lnTo>
                    <a:pt x="50599" y="50595"/>
                  </a:lnTo>
                  <a:lnTo>
                    <a:pt x="50599" y="25297"/>
                  </a:lnTo>
                  <a:lnTo>
                    <a:pt x="25300" y="25297"/>
                  </a:lnTo>
                  <a:lnTo>
                    <a:pt x="25300" y="0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1" name="Freihandform: Form 90">
              <a:extLst>
                <a:ext uri="{FF2B5EF4-FFF2-40B4-BE49-F238E27FC236}">
                  <a16:creationId xmlns:a16="http://schemas.microsoft.com/office/drawing/2014/main" id="{48D85FA2-7B7C-CDEB-895E-E39FE29222A4}"/>
                </a:ext>
              </a:extLst>
            </p:cNvPr>
            <p:cNvSpPr/>
            <p:nvPr/>
          </p:nvSpPr>
          <p:spPr>
            <a:xfrm>
              <a:off x="6335601" y="3176166"/>
              <a:ext cx="50601" cy="50598"/>
            </a:xfrm>
            <a:custGeom>
              <a:avLst/>
              <a:gdLst>
                <a:gd name="connsiteX0" fmla="*/ 50595 w 50601"/>
                <a:gd name="connsiteY0" fmla="*/ 0 h 50598"/>
                <a:gd name="connsiteX1" fmla="*/ 25297 w 50601"/>
                <a:gd name="connsiteY1" fmla="*/ 0 h 50598"/>
                <a:gd name="connsiteX2" fmla="*/ 0 w 50601"/>
                <a:gd name="connsiteY2" fmla="*/ 0 h 50598"/>
                <a:gd name="connsiteX3" fmla="*/ 0 w 50601"/>
                <a:gd name="connsiteY3" fmla="*/ 25300 h 50598"/>
                <a:gd name="connsiteX4" fmla="*/ 25297 w 50601"/>
                <a:gd name="connsiteY4" fmla="*/ 25300 h 50598"/>
                <a:gd name="connsiteX5" fmla="*/ 25297 w 50601"/>
                <a:gd name="connsiteY5" fmla="*/ 50599 h 50598"/>
                <a:gd name="connsiteX6" fmla="*/ 50595 w 50601"/>
                <a:gd name="connsiteY6" fmla="*/ 50599 h 50598"/>
                <a:gd name="connsiteX7" fmla="*/ 50595 w 50601"/>
                <a:gd name="connsiteY7" fmla="*/ 25300 h 50598"/>
                <a:gd name="connsiteX8" fmla="*/ 50601 w 50601"/>
                <a:gd name="connsiteY8" fmla="*/ 25300 h 50598"/>
                <a:gd name="connsiteX9" fmla="*/ 50601 w 50601"/>
                <a:gd name="connsiteY9" fmla="*/ 0 h 50598"/>
                <a:gd name="connsiteX10" fmla="*/ 50595 w 50601"/>
                <a:gd name="connsiteY10" fmla="*/ 0 h 50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0601" h="50598">
                  <a:moveTo>
                    <a:pt x="50595" y="0"/>
                  </a:moveTo>
                  <a:lnTo>
                    <a:pt x="25297" y="0"/>
                  </a:lnTo>
                  <a:lnTo>
                    <a:pt x="0" y="0"/>
                  </a:lnTo>
                  <a:lnTo>
                    <a:pt x="0" y="25300"/>
                  </a:lnTo>
                  <a:lnTo>
                    <a:pt x="25297" y="25300"/>
                  </a:lnTo>
                  <a:lnTo>
                    <a:pt x="25297" y="50599"/>
                  </a:lnTo>
                  <a:lnTo>
                    <a:pt x="50595" y="50599"/>
                  </a:lnTo>
                  <a:lnTo>
                    <a:pt x="50595" y="25300"/>
                  </a:lnTo>
                  <a:lnTo>
                    <a:pt x="50601" y="25300"/>
                  </a:lnTo>
                  <a:lnTo>
                    <a:pt x="50601" y="0"/>
                  </a:lnTo>
                  <a:lnTo>
                    <a:pt x="50595" y="0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2" name="Freihandform: Form 91">
              <a:extLst>
                <a:ext uri="{FF2B5EF4-FFF2-40B4-BE49-F238E27FC236}">
                  <a16:creationId xmlns:a16="http://schemas.microsoft.com/office/drawing/2014/main" id="{B2106A57-3586-F13A-4FFB-98DA999563A5}"/>
                </a:ext>
              </a:extLst>
            </p:cNvPr>
            <p:cNvSpPr/>
            <p:nvPr/>
          </p:nvSpPr>
          <p:spPr>
            <a:xfrm>
              <a:off x="6360899" y="3252066"/>
              <a:ext cx="25299" cy="50599"/>
            </a:xfrm>
            <a:custGeom>
              <a:avLst/>
              <a:gdLst>
                <a:gd name="connsiteX0" fmla="*/ 0 w 25299"/>
                <a:gd name="connsiteY0" fmla="*/ 0 h 50599"/>
                <a:gd name="connsiteX1" fmla="*/ 25300 w 25299"/>
                <a:gd name="connsiteY1" fmla="*/ 0 h 50599"/>
                <a:gd name="connsiteX2" fmla="*/ 25300 w 25299"/>
                <a:gd name="connsiteY2" fmla="*/ 50599 h 50599"/>
                <a:gd name="connsiteX3" fmla="*/ 0 w 25299"/>
                <a:gd name="connsiteY3" fmla="*/ 50599 h 50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99" h="50599">
                  <a:moveTo>
                    <a:pt x="0" y="0"/>
                  </a:moveTo>
                  <a:lnTo>
                    <a:pt x="25300" y="0"/>
                  </a:lnTo>
                  <a:lnTo>
                    <a:pt x="25300" y="50599"/>
                  </a:lnTo>
                  <a:lnTo>
                    <a:pt x="0" y="50599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3" name="Freihandform: Form 92">
              <a:extLst>
                <a:ext uri="{FF2B5EF4-FFF2-40B4-BE49-F238E27FC236}">
                  <a16:creationId xmlns:a16="http://schemas.microsoft.com/office/drawing/2014/main" id="{D7660A47-B599-82C3-D305-0FA603647CF9}"/>
                </a:ext>
              </a:extLst>
            </p:cNvPr>
            <p:cNvSpPr/>
            <p:nvPr/>
          </p:nvSpPr>
          <p:spPr>
            <a:xfrm>
              <a:off x="6360899" y="3327965"/>
              <a:ext cx="25299" cy="50599"/>
            </a:xfrm>
            <a:custGeom>
              <a:avLst/>
              <a:gdLst>
                <a:gd name="connsiteX0" fmla="*/ 0 w 25299"/>
                <a:gd name="connsiteY0" fmla="*/ 0 h 50599"/>
                <a:gd name="connsiteX1" fmla="*/ 25300 w 25299"/>
                <a:gd name="connsiteY1" fmla="*/ 0 h 50599"/>
                <a:gd name="connsiteX2" fmla="*/ 25300 w 25299"/>
                <a:gd name="connsiteY2" fmla="*/ 50599 h 50599"/>
                <a:gd name="connsiteX3" fmla="*/ 0 w 25299"/>
                <a:gd name="connsiteY3" fmla="*/ 50599 h 50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99" h="50599">
                  <a:moveTo>
                    <a:pt x="0" y="0"/>
                  </a:moveTo>
                  <a:lnTo>
                    <a:pt x="25300" y="0"/>
                  </a:lnTo>
                  <a:lnTo>
                    <a:pt x="25300" y="50599"/>
                  </a:lnTo>
                  <a:lnTo>
                    <a:pt x="0" y="50599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4" name="Freihandform: Form 93">
              <a:extLst>
                <a:ext uri="{FF2B5EF4-FFF2-40B4-BE49-F238E27FC236}">
                  <a16:creationId xmlns:a16="http://schemas.microsoft.com/office/drawing/2014/main" id="{F4C4076F-0AC9-98B1-7D6D-C7FCAEC1CEE4}"/>
                </a:ext>
              </a:extLst>
            </p:cNvPr>
            <p:cNvSpPr/>
            <p:nvPr/>
          </p:nvSpPr>
          <p:spPr>
            <a:xfrm>
              <a:off x="6360899" y="3403864"/>
              <a:ext cx="25299" cy="50599"/>
            </a:xfrm>
            <a:custGeom>
              <a:avLst/>
              <a:gdLst>
                <a:gd name="connsiteX0" fmla="*/ 0 w 25299"/>
                <a:gd name="connsiteY0" fmla="*/ 0 h 50599"/>
                <a:gd name="connsiteX1" fmla="*/ 25300 w 25299"/>
                <a:gd name="connsiteY1" fmla="*/ 0 h 50599"/>
                <a:gd name="connsiteX2" fmla="*/ 25300 w 25299"/>
                <a:gd name="connsiteY2" fmla="*/ 50599 h 50599"/>
                <a:gd name="connsiteX3" fmla="*/ 0 w 25299"/>
                <a:gd name="connsiteY3" fmla="*/ 50599 h 50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99" h="50599">
                  <a:moveTo>
                    <a:pt x="0" y="0"/>
                  </a:moveTo>
                  <a:lnTo>
                    <a:pt x="25300" y="0"/>
                  </a:lnTo>
                  <a:lnTo>
                    <a:pt x="25300" y="50599"/>
                  </a:lnTo>
                  <a:lnTo>
                    <a:pt x="0" y="50599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5" name="Freihandform: Form 94">
              <a:extLst>
                <a:ext uri="{FF2B5EF4-FFF2-40B4-BE49-F238E27FC236}">
                  <a16:creationId xmlns:a16="http://schemas.microsoft.com/office/drawing/2014/main" id="{30052B36-6CEF-E58E-C869-3E469DF3EBF9}"/>
                </a:ext>
              </a:extLst>
            </p:cNvPr>
            <p:cNvSpPr/>
            <p:nvPr/>
          </p:nvSpPr>
          <p:spPr>
            <a:xfrm>
              <a:off x="6360899" y="3479763"/>
              <a:ext cx="25299" cy="50599"/>
            </a:xfrm>
            <a:custGeom>
              <a:avLst/>
              <a:gdLst>
                <a:gd name="connsiteX0" fmla="*/ 0 w 25299"/>
                <a:gd name="connsiteY0" fmla="*/ 0 h 50599"/>
                <a:gd name="connsiteX1" fmla="*/ 25300 w 25299"/>
                <a:gd name="connsiteY1" fmla="*/ 0 h 50599"/>
                <a:gd name="connsiteX2" fmla="*/ 25300 w 25299"/>
                <a:gd name="connsiteY2" fmla="*/ 50599 h 50599"/>
                <a:gd name="connsiteX3" fmla="*/ 0 w 25299"/>
                <a:gd name="connsiteY3" fmla="*/ 50599 h 50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99" h="50599">
                  <a:moveTo>
                    <a:pt x="0" y="0"/>
                  </a:moveTo>
                  <a:lnTo>
                    <a:pt x="25300" y="0"/>
                  </a:lnTo>
                  <a:lnTo>
                    <a:pt x="25300" y="50599"/>
                  </a:lnTo>
                  <a:lnTo>
                    <a:pt x="0" y="50599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6" name="Freihandform: Form 95">
              <a:extLst>
                <a:ext uri="{FF2B5EF4-FFF2-40B4-BE49-F238E27FC236}">
                  <a16:creationId xmlns:a16="http://schemas.microsoft.com/office/drawing/2014/main" id="{8EF4D213-C2F7-41F7-02EC-1E4A2F3C673D}"/>
                </a:ext>
              </a:extLst>
            </p:cNvPr>
            <p:cNvSpPr/>
            <p:nvPr/>
          </p:nvSpPr>
          <p:spPr>
            <a:xfrm>
              <a:off x="6360899" y="3555663"/>
              <a:ext cx="25299" cy="50599"/>
            </a:xfrm>
            <a:custGeom>
              <a:avLst/>
              <a:gdLst>
                <a:gd name="connsiteX0" fmla="*/ 0 w 25299"/>
                <a:gd name="connsiteY0" fmla="*/ 0 h 50599"/>
                <a:gd name="connsiteX1" fmla="*/ 25300 w 25299"/>
                <a:gd name="connsiteY1" fmla="*/ 0 h 50599"/>
                <a:gd name="connsiteX2" fmla="*/ 25300 w 25299"/>
                <a:gd name="connsiteY2" fmla="*/ 50599 h 50599"/>
                <a:gd name="connsiteX3" fmla="*/ 0 w 25299"/>
                <a:gd name="connsiteY3" fmla="*/ 50599 h 50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99" h="50599">
                  <a:moveTo>
                    <a:pt x="0" y="0"/>
                  </a:moveTo>
                  <a:lnTo>
                    <a:pt x="25300" y="0"/>
                  </a:lnTo>
                  <a:lnTo>
                    <a:pt x="25300" y="50599"/>
                  </a:lnTo>
                  <a:lnTo>
                    <a:pt x="0" y="50599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7" name="Freihandform: Form 96">
              <a:extLst>
                <a:ext uri="{FF2B5EF4-FFF2-40B4-BE49-F238E27FC236}">
                  <a16:creationId xmlns:a16="http://schemas.microsoft.com/office/drawing/2014/main" id="{CBCE6819-38B3-7647-6DD7-1CEDF37B260E}"/>
                </a:ext>
              </a:extLst>
            </p:cNvPr>
            <p:cNvSpPr/>
            <p:nvPr/>
          </p:nvSpPr>
          <p:spPr>
            <a:xfrm>
              <a:off x="6335601" y="3631562"/>
              <a:ext cx="50601" cy="50601"/>
            </a:xfrm>
            <a:custGeom>
              <a:avLst/>
              <a:gdLst>
                <a:gd name="connsiteX0" fmla="*/ 50595 w 50601"/>
                <a:gd name="connsiteY0" fmla="*/ 0 h 50601"/>
                <a:gd name="connsiteX1" fmla="*/ 25297 w 50601"/>
                <a:gd name="connsiteY1" fmla="*/ 0 h 50601"/>
                <a:gd name="connsiteX2" fmla="*/ 25297 w 50601"/>
                <a:gd name="connsiteY2" fmla="*/ 25297 h 50601"/>
                <a:gd name="connsiteX3" fmla="*/ 0 w 50601"/>
                <a:gd name="connsiteY3" fmla="*/ 25297 h 50601"/>
                <a:gd name="connsiteX4" fmla="*/ 0 w 50601"/>
                <a:gd name="connsiteY4" fmla="*/ 50595 h 50601"/>
                <a:gd name="connsiteX5" fmla="*/ 25297 w 50601"/>
                <a:gd name="connsiteY5" fmla="*/ 50595 h 50601"/>
                <a:gd name="connsiteX6" fmla="*/ 25297 w 50601"/>
                <a:gd name="connsiteY6" fmla="*/ 50601 h 50601"/>
                <a:gd name="connsiteX7" fmla="*/ 50595 w 50601"/>
                <a:gd name="connsiteY7" fmla="*/ 50601 h 50601"/>
                <a:gd name="connsiteX8" fmla="*/ 50595 w 50601"/>
                <a:gd name="connsiteY8" fmla="*/ 50595 h 50601"/>
                <a:gd name="connsiteX9" fmla="*/ 50601 w 50601"/>
                <a:gd name="connsiteY9" fmla="*/ 50595 h 50601"/>
                <a:gd name="connsiteX10" fmla="*/ 50601 w 50601"/>
                <a:gd name="connsiteY10" fmla="*/ 25297 h 50601"/>
                <a:gd name="connsiteX11" fmla="*/ 50595 w 50601"/>
                <a:gd name="connsiteY11" fmla="*/ 25297 h 50601"/>
                <a:gd name="connsiteX12" fmla="*/ 50595 w 50601"/>
                <a:gd name="connsiteY12" fmla="*/ 0 h 50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601" h="50601">
                  <a:moveTo>
                    <a:pt x="50595" y="0"/>
                  </a:moveTo>
                  <a:lnTo>
                    <a:pt x="25297" y="0"/>
                  </a:lnTo>
                  <a:lnTo>
                    <a:pt x="25297" y="25297"/>
                  </a:lnTo>
                  <a:lnTo>
                    <a:pt x="0" y="25297"/>
                  </a:lnTo>
                  <a:lnTo>
                    <a:pt x="0" y="50595"/>
                  </a:lnTo>
                  <a:lnTo>
                    <a:pt x="25297" y="50595"/>
                  </a:lnTo>
                  <a:lnTo>
                    <a:pt x="25297" y="50601"/>
                  </a:lnTo>
                  <a:lnTo>
                    <a:pt x="50595" y="50601"/>
                  </a:lnTo>
                  <a:lnTo>
                    <a:pt x="50595" y="50595"/>
                  </a:lnTo>
                  <a:lnTo>
                    <a:pt x="50601" y="50595"/>
                  </a:lnTo>
                  <a:lnTo>
                    <a:pt x="50601" y="25297"/>
                  </a:lnTo>
                  <a:lnTo>
                    <a:pt x="50595" y="25297"/>
                  </a:lnTo>
                  <a:lnTo>
                    <a:pt x="50595" y="0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8" name="Freihandform: Form 97">
              <a:extLst>
                <a:ext uri="{FF2B5EF4-FFF2-40B4-BE49-F238E27FC236}">
                  <a16:creationId xmlns:a16="http://schemas.microsoft.com/office/drawing/2014/main" id="{7DF1A3D0-03C0-546C-A45E-8C9E593D291C}"/>
                </a:ext>
              </a:extLst>
            </p:cNvPr>
            <p:cNvSpPr/>
            <p:nvPr/>
          </p:nvSpPr>
          <p:spPr>
            <a:xfrm>
              <a:off x="5930806" y="3479831"/>
              <a:ext cx="101197" cy="50460"/>
            </a:xfrm>
            <a:custGeom>
              <a:avLst/>
              <a:gdLst>
                <a:gd name="connsiteX0" fmla="*/ 57507 w 101197"/>
                <a:gd name="connsiteY0" fmla="*/ 12580 h 50460"/>
                <a:gd name="connsiteX1" fmla="*/ 0 w 101197"/>
                <a:gd name="connsiteY1" fmla="*/ 12580 h 50460"/>
                <a:gd name="connsiteX2" fmla="*/ 0 w 101197"/>
                <a:gd name="connsiteY2" fmla="*/ 37880 h 50460"/>
                <a:gd name="connsiteX3" fmla="*/ 57507 w 101197"/>
                <a:gd name="connsiteY3" fmla="*/ 37880 h 50460"/>
                <a:gd name="connsiteX4" fmla="*/ 57507 w 101197"/>
                <a:gd name="connsiteY4" fmla="*/ 50461 h 50460"/>
                <a:gd name="connsiteX5" fmla="*/ 101198 w 101197"/>
                <a:gd name="connsiteY5" fmla="*/ 25231 h 50460"/>
                <a:gd name="connsiteX6" fmla="*/ 57507 w 101197"/>
                <a:gd name="connsiteY6" fmla="*/ 0 h 50460"/>
                <a:gd name="connsiteX7" fmla="*/ 57507 w 101197"/>
                <a:gd name="connsiteY7" fmla="*/ 12580 h 50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1197" h="50460">
                  <a:moveTo>
                    <a:pt x="57507" y="12580"/>
                  </a:moveTo>
                  <a:lnTo>
                    <a:pt x="0" y="12580"/>
                  </a:lnTo>
                  <a:lnTo>
                    <a:pt x="0" y="37880"/>
                  </a:lnTo>
                  <a:lnTo>
                    <a:pt x="57507" y="37880"/>
                  </a:lnTo>
                  <a:lnTo>
                    <a:pt x="57507" y="50461"/>
                  </a:lnTo>
                  <a:lnTo>
                    <a:pt x="101198" y="25231"/>
                  </a:lnTo>
                  <a:lnTo>
                    <a:pt x="57507" y="0"/>
                  </a:lnTo>
                  <a:lnTo>
                    <a:pt x="57507" y="12580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9" name="Freihandform: Form 98">
              <a:extLst>
                <a:ext uri="{FF2B5EF4-FFF2-40B4-BE49-F238E27FC236}">
                  <a16:creationId xmlns:a16="http://schemas.microsoft.com/office/drawing/2014/main" id="{786385E2-0E94-D412-5991-35A615E06CD8}"/>
                </a:ext>
              </a:extLst>
            </p:cNvPr>
            <p:cNvSpPr/>
            <p:nvPr/>
          </p:nvSpPr>
          <p:spPr>
            <a:xfrm>
              <a:off x="6107971" y="3226767"/>
              <a:ext cx="50460" cy="101197"/>
            </a:xfrm>
            <a:custGeom>
              <a:avLst/>
              <a:gdLst>
                <a:gd name="connsiteX0" fmla="*/ 12581 w 50460"/>
                <a:gd name="connsiteY0" fmla="*/ 0 h 101197"/>
                <a:gd name="connsiteX1" fmla="*/ 12581 w 50460"/>
                <a:gd name="connsiteY1" fmla="*/ 57506 h 101197"/>
                <a:gd name="connsiteX2" fmla="*/ 0 w 50460"/>
                <a:gd name="connsiteY2" fmla="*/ 57506 h 101197"/>
                <a:gd name="connsiteX3" fmla="*/ 25230 w 50460"/>
                <a:gd name="connsiteY3" fmla="*/ 101198 h 101197"/>
                <a:gd name="connsiteX4" fmla="*/ 50461 w 50460"/>
                <a:gd name="connsiteY4" fmla="*/ 57506 h 101197"/>
                <a:gd name="connsiteX5" fmla="*/ 37880 w 50460"/>
                <a:gd name="connsiteY5" fmla="*/ 57506 h 101197"/>
                <a:gd name="connsiteX6" fmla="*/ 37880 w 50460"/>
                <a:gd name="connsiteY6" fmla="*/ 0 h 101197"/>
                <a:gd name="connsiteX7" fmla="*/ 12581 w 50460"/>
                <a:gd name="connsiteY7" fmla="*/ 0 h 101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0460" h="101197">
                  <a:moveTo>
                    <a:pt x="12581" y="0"/>
                  </a:moveTo>
                  <a:lnTo>
                    <a:pt x="12581" y="57506"/>
                  </a:lnTo>
                  <a:lnTo>
                    <a:pt x="0" y="57506"/>
                  </a:lnTo>
                  <a:lnTo>
                    <a:pt x="25230" y="101198"/>
                  </a:lnTo>
                  <a:lnTo>
                    <a:pt x="50461" y="57506"/>
                  </a:lnTo>
                  <a:lnTo>
                    <a:pt x="37880" y="57506"/>
                  </a:lnTo>
                  <a:lnTo>
                    <a:pt x="37880" y="0"/>
                  </a:lnTo>
                  <a:lnTo>
                    <a:pt x="12581" y="0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0" name="Freihandform: Form 99">
              <a:extLst>
                <a:ext uri="{FF2B5EF4-FFF2-40B4-BE49-F238E27FC236}">
                  <a16:creationId xmlns:a16="http://schemas.microsoft.com/office/drawing/2014/main" id="{A9224AF7-B624-DC9E-94DC-5BA6400AFC46}"/>
                </a:ext>
              </a:extLst>
            </p:cNvPr>
            <p:cNvSpPr/>
            <p:nvPr/>
          </p:nvSpPr>
          <p:spPr>
            <a:xfrm>
              <a:off x="6234400" y="3479831"/>
              <a:ext cx="101197" cy="50460"/>
            </a:xfrm>
            <a:custGeom>
              <a:avLst/>
              <a:gdLst>
                <a:gd name="connsiteX0" fmla="*/ 43692 w 101197"/>
                <a:gd name="connsiteY0" fmla="*/ 0 h 50460"/>
                <a:gd name="connsiteX1" fmla="*/ 0 w 101197"/>
                <a:gd name="connsiteY1" fmla="*/ 25231 h 50460"/>
                <a:gd name="connsiteX2" fmla="*/ 43692 w 101197"/>
                <a:gd name="connsiteY2" fmla="*/ 50461 h 50460"/>
                <a:gd name="connsiteX3" fmla="*/ 43692 w 101197"/>
                <a:gd name="connsiteY3" fmla="*/ 37880 h 50460"/>
                <a:gd name="connsiteX4" fmla="*/ 101198 w 101197"/>
                <a:gd name="connsiteY4" fmla="*/ 37880 h 50460"/>
                <a:gd name="connsiteX5" fmla="*/ 101198 w 101197"/>
                <a:gd name="connsiteY5" fmla="*/ 12580 h 50460"/>
                <a:gd name="connsiteX6" fmla="*/ 43692 w 101197"/>
                <a:gd name="connsiteY6" fmla="*/ 12580 h 50460"/>
                <a:gd name="connsiteX7" fmla="*/ 43692 w 101197"/>
                <a:gd name="connsiteY7" fmla="*/ 0 h 50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1197" h="50460">
                  <a:moveTo>
                    <a:pt x="43692" y="0"/>
                  </a:moveTo>
                  <a:lnTo>
                    <a:pt x="0" y="25231"/>
                  </a:lnTo>
                  <a:lnTo>
                    <a:pt x="43692" y="50461"/>
                  </a:lnTo>
                  <a:lnTo>
                    <a:pt x="43692" y="37880"/>
                  </a:lnTo>
                  <a:lnTo>
                    <a:pt x="101198" y="37880"/>
                  </a:lnTo>
                  <a:lnTo>
                    <a:pt x="101198" y="12580"/>
                  </a:lnTo>
                  <a:lnTo>
                    <a:pt x="43692" y="12580"/>
                  </a:lnTo>
                  <a:lnTo>
                    <a:pt x="43692" y="0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01" name="Freihandform: Form 100">
            <a:extLst>
              <a:ext uri="{FF2B5EF4-FFF2-40B4-BE49-F238E27FC236}">
                <a16:creationId xmlns:a16="http://schemas.microsoft.com/office/drawing/2014/main" id="{639788CA-047E-484E-9960-AFC32E67FCFB}"/>
              </a:ext>
            </a:extLst>
          </p:cNvPr>
          <p:cNvSpPr/>
          <p:nvPr/>
        </p:nvSpPr>
        <p:spPr>
          <a:xfrm>
            <a:off x="11685914" y="3749769"/>
            <a:ext cx="506086" cy="506086"/>
          </a:xfrm>
          <a:custGeom>
            <a:avLst/>
            <a:gdLst>
              <a:gd name="connsiteX0" fmla="*/ 0 w 708388"/>
              <a:gd name="connsiteY0" fmla="*/ 0 h 708388"/>
              <a:gd name="connsiteX1" fmla="*/ 708388 w 708388"/>
              <a:gd name="connsiteY1" fmla="*/ 0 h 708388"/>
              <a:gd name="connsiteX2" fmla="*/ 708388 w 708388"/>
              <a:gd name="connsiteY2" fmla="*/ 708388 h 708388"/>
              <a:gd name="connsiteX3" fmla="*/ 0 w 708388"/>
              <a:gd name="connsiteY3" fmla="*/ 708388 h 708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8388" h="708388">
                <a:moveTo>
                  <a:pt x="0" y="0"/>
                </a:moveTo>
                <a:lnTo>
                  <a:pt x="708388" y="0"/>
                </a:lnTo>
                <a:lnTo>
                  <a:pt x="708388" y="708388"/>
                </a:lnTo>
                <a:lnTo>
                  <a:pt x="0" y="708388"/>
                </a:ln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02" name="Grafik 22">
            <a:extLst>
              <a:ext uri="{FF2B5EF4-FFF2-40B4-BE49-F238E27FC236}">
                <a16:creationId xmlns:a16="http://schemas.microsoft.com/office/drawing/2014/main" id="{F345FC3F-72DF-4176-57B6-8A7A9BF6D708}"/>
              </a:ext>
            </a:extLst>
          </p:cNvPr>
          <p:cNvGrpSpPr/>
          <p:nvPr/>
        </p:nvGrpSpPr>
        <p:grpSpPr>
          <a:xfrm>
            <a:off x="11758212" y="3822066"/>
            <a:ext cx="361489" cy="361489"/>
            <a:chOff x="5880206" y="3979124"/>
            <a:chExt cx="505990" cy="505990"/>
          </a:xfrm>
          <a:solidFill>
            <a:srgbClr val="FFFFFF"/>
          </a:solidFill>
        </p:grpSpPr>
        <p:sp>
          <p:nvSpPr>
            <p:cNvPr id="103" name="Freihandform: Form 102">
              <a:extLst>
                <a:ext uri="{FF2B5EF4-FFF2-40B4-BE49-F238E27FC236}">
                  <a16:creationId xmlns:a16="http://schemas.microsoft.com/office/drawing/2014/main" id="{737DF166-A0CF-794D-BA54-E3AB03F2A468}"/>
                </a:ext>
              </a:extLst>
            </p:cNvPr>
            <p:cNvSpPr/>
            <p:nvPr/>
          </p:nvSpPr>
          <p:spPr>
            <a:xfrm>
              <a:off x="5880206" y="3979124"/>
              <a:ext cx="505990" cy="505990"/>
            </a:xfrm>
            <a:custGeom>
              <a:avLst/>
              <a:gdLst>
                <a:gd name="connsiteX0" fmla="*/ 33732 w 505990"/>
                <a:gd name="connsiteY0" fmla="*/ 472259 h 505990"/>
                <a:gd name="connsiteX1" fmla="*/ 33733 w 505990"/>
                <a:gd name="connsiteY1" fmla="*/ 0 h 505990"/>
                <a:gd name="connsiteX2" fmla="*/ 0 w 505990"/>
                <a:gd name="connsiteY2" fmla="*/ 0 h 505990"/>
                <a:gd name="connsiteX3" fmla="*/ 0 w 505990"/>
                <a:gd name="connsiteY3" fmla="*/ 488791 h 505990"/>
                <a:gd name="connsiteX4" fmla="*/ 0 w 505990"/>
                <a:gd name="connsiteY4" fmla="*/ 488791 h 505990"/>
                <a:gd name="connsiteX5" fmla="*/ 0 w 505990"/>
                <a:gd name="connsiteY5" fmla="*/ 505991 h 505990"/>
                <a:gd name="connsiteX6" fmla="*/ 505991 w 505990"/>
                <a:gd name="connsiteY6" fmla="*/ 505991 h 505990"/>
                <a:gd name="connsiteX7" fmla="*/ 505991 w 505990"/>
                <a:gd name="connsiteY7" fmla="*/ 472259 h 505990"/>
                <a:gd name="connsiteX8" fmla="*/ 33732 w 505990"/>
                <a:gd name="connsiteY8" fmla="*/ 472259 h 5059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990" h="505990">
                  <a:moveTo>
                    <a:pt x="33732" y="472259"/>
                  </a:moveTo>
                  <a:lnTo>
                    <a:pt x="33733" y="0"/>
                  </a:lnTo>
                  <a:lnTo>
                    <a:pt x="0" y="0"/>
                  </a:lnTo>
                  <a:lnTo>
                    <a:pt x="0" y="488791"/>
                  </a:lnTo>
                  <a:lnTo>
                    <a:pt x="0" y="488791"/>
                  </a:lnTo>
                  <a:lnTo>
                    <a:pt x="0" y="505991"/>
                  </a:lnTo>
                  <a:lnTo>
                    <a:pt x="505991" y="505991"/>
                  </a:lnTo>
                  <a:lnTo>
                    <a:pt x="505991" y="472259"/>
                  </a:lnTo>
                  <a:lnTo>
                    <a:pt x="33732" y="472259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4" name="Freihandform: Form 103">
              <a:extLst>
                <a:ext uri="{FF2B5EF4-FFF2-40B4-BE49-F238E27FC236}">
                  <a16:creationId xmlns:a16="http://schemas.microsoft.com/office/drawing/2014/main" id="{F132C5E9-A0AE-7F89-D0BA-A879298E7446}"/>
                </a:ext>
              </a:extLst>
            </p:cNvPr>
            <p:cNvSpPr/>
            <p:nvPr/>
          </p:nvSpPr>
          <p:spPr>
            <a:xfrm>
              <a:off x="5947674" y="4012850"/>
              <a:ext cx="404783" cy="404791"/>
            </a:xfrm>
            <a:custGeom>
              <a:avLst/>
              <a:gdLst>
                <a:gd name="connsiteX0" fmla="*/ 404783 w 404783"/>
                <a:gd name="connsiteY0" fmla="*/ 50603 h 404791"/>
                <a:gd name="connsiteX1" fmla="*/ 362630 w 404783"/>
                <a:gd name="connsiteY1" fmla="*/ 0 h 404791"/>
                <a:gd name="connsiteX2" fmla="*/ 320455 w 404783"/>
                <a:gd name="connsiteY2" fmla="*/ 50591 h 404791"/>
                <a:gd name="connsiteX3" fmla="*/ 337314 w 404783"/>
                <a:gd name="connsiteY3" fmla="*/ 50614 h 404791"/>
                <a:gd name="connsiteX4" fmla="*/ 337328 w 404783"/>
                <a:gd name="connsiteY4" fmla="*/ 67463 h 404791"/>
                <a:gd name="connsiteX5" fmla="*/ 280014 w 404783"/>
                <a:gd name="connsiteY5" fmla="*/ 217018 h 404791"/>
                <a:gd name="connsiteX6" fmla="*/ 0 w 404783"/>
                <a:gd name="connsiteY6" fmla="*/ 354192 h 404791"/>
                <a:gd name="connsiteX7" fmla="*/ 0 w 404783"/>
                <a:gd name="connsiteY7" fmla="*/ 404791 h 404791"/>
                <a:gd name="connsiteX8" fmla="*/ 319065 w 404783"/>
                <a:gd name="connsiteY8" fmla="*/ 249197 h 404791"/>
                <a:gd name="connsiteX9" fmla="*/ 387927 w 404783"/>
                <a:gd name="connsiteY9" fmla="*/ 67463 h 404791"/>
                <a:gd name="connsiteX10" fmla="*/ 387924 w 404783"/>
                <a:gd name="connsiteY10" fmla="*/ 50603 h 404791"/>
                <a:gd name="connsiteX11" fmla="*/ 404783 w 404783"/>
                <a:gd name="connsiteY11" fmla="*/ 50603 h 4047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4783" h="404791">
                  <a:moveTo>
                    <a:pt x="404783" y="50603"/>
                  </a:moveTo>
                  <a:lnTo>
                    <a:pt x="362630" y="0"/>
                  </a:lnTo>
                  <a:lnTo>
                    <a:pt x="320455" y="50591"/>
                  </a:lnTo>
                  <a:lnTo>
                    <a:pt x="337314" y="50614"/>
                  </a:lnTo>
                  <a:lnTo>
                    <a:pt x="337328" y="67463"/>
                  </a:lnTo>
                  <a:cubicBezTo>
                    <a:pt x="336230" y="121270"/>
                    <a:pt x="316931" y="172217"/>
                    <a:pt x="280014" y="217018"/>
                  </a:cubicBezTo>
                  <a:cubicBezTo>
                    <a:pt x="216792" y="293744"/>
                    <a:pt x="104017" y="348772"/>
                    <a:pt x="0" y="354192"/>
                  </a:cubicBezTo>
                  <a:lnTo>
                    <a:pt x="0" y="404791"/>
                  </a:lnTo>
                  <a:cubicBezTo>
                    <a:pt x="119381" y="399183"/>
                    <a:pt x="245924" y="337956"/>
                    <a:pt x="319065" y="249197"/>
                  </a:cubicBezTo>
                  <a:cubicBezTo>
                    <a:pt x="363801" y="194907"/>
                    <a:pt x="387009" y="132980"/>
                    <a:pt x="387927" y="67463"/>
                  </a:cubicBezTo>
                  <a:lnTo>
                    <a:pt x="387924" y="50603"/>
                  </a:lnTo>
                  <a:lnTo>
                    <a:pt x="404783" y="50603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05" name="Freihandform: Form 104">
            <a:extLst>
              <a:ext uri="{FF2B5EF4-FFF2-40B4-BE49-F238E27FC236}">
                <a16:creationId xmlns:a16="http://schemas.microsoft.com/office/drawing/2014/main" id="{E419D412-9A45-7638-13B6-8C723ABFDF59}"/>
              </a:ext>
            </a:extLst>
          </p:cNvPr>
          <p:cNvSpPr/>
          <p:nvPr/>
        </p:nvSpPr>
        <p:spPr>
          <a:xfrm>
            <a:off x="11685478" y="4909377"/>
            <a:ext cx="506086" cy="506086"/>
          </a:xfrm>
          <a:custGeom>
            <a:avLst/>
            <a:gdLst>
              <a:gd name="connsiteX0" fmla="*/ 0 w 708388"/>
              <a:gd name="connsiteY0" fmla="*/ 0 h 708388"/>
              <a:gd name="connsiteX1" fmla="*/ 708388 w 708388"/>
              <a:gd name="connsiteY1" fmla="*/ 0 h 708388"/>
              <a:gd name="connsiteX2" fmla="*/ 708388 w 708388"/>
              <a:gd name="connsiteY2" fmla="*/ 708388 h 708388"/>
              <a:gd name="connsiteX3" fmla="*/ 0 w 708388"/>
              <a:gd name="connsiteY3" fmla="*/ 708388 h 708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8388" h="708388">
                <a:moveTo>
                  <a:pt x="0" y="0"/>
                </a:moveTo>
                <a:lnTo>
                  <a:pt x="708388" y="0"/>
                </a:lnTo>
                <a:lnTo>
                  <a:pt x="708388" y="708388"/>
                </a:lnTo>
                <a:lnTo>
                  <a:pt x="0" y="708388"/>
                </a:ln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06" name="Grafik 26">
            <a:extLst>
              <a:ext uri="{FF2B5EF4-FFF2-40B4-BE49-F238E27FC236}">
                <a16:creationId xmlns:a16="http://schemas.microsoft.com/office/drawing/2014/main" id="{24D22979-0BAA-CB0E-7D5A-4B9EB83EA356}"/>
              </a:ext>
            </a:extLst>
          </p:cNvPr>
          <p:cNvGrpSpPr/>
          <p:nvPr/>
        </p:nvGrpSpPr>
        <p:grpSpPr>
          <a:xfrm>
            <a:off x="11812000" y="4981674"/>
            <a:ext cx="253043" cy="361490"/>
            <a:chOff x="5956105" y="4782081"/>
            <a:chExt cx="354194" cy="505991"/>
          </a:xfrm>
          <a:solidFill>
            <a:srgbClr val="FFFFFF"/>
          </a:solidFill>
        </p:grpSpPr>
        <p:sp>
          <p:nvSpPr>
            <p:cNvPr id="107" name="Freihandform: Form 106">
              <a:extLst>
                <a:ext uri="{FF2B5EF4-FFF2-40B4-BE49-F238E27FC236}">
                  <a16:creationId xmlns:a16="http://schemas.microsoft.com/office/drawing/2014/main" id="{F90BA89B-39FA-8B26-1741-13EAC3B59519}"/>
                </a:ext>
              </a:extLst>
            </p:cNvPr>
            <p:cNvSpPr/>
            <p:nvPr/>
          </p:nvSpPr>
          <p:spPr>
            <a:xfrm>
              <a:off x="5956105" y="4815815"/>
              <a:ext cx="354194" cy="472257"/>
            </a:xfrm>
            <a:custGeom>
              <a:avLst/>
              <a:gdLst>
                <a:gd name="connsiteX0" fmla="*/ 252996 w 354194"/>
                <a:gd name="connsiteY0" fmla="*/ 0 h 472257"/>
                <a:gd name="connsiteX1" fmla="*/ 252996 w 354194"/>
                <a:gd name="connsiteY1" fmla="*/ 33733 h 472257"/>
                <a:gd name="connsiteX2" fmla="*/ 101199 w 354194"/>
                <a:gd name="connsiteY2" fmla="*/ 33733 h 472257"/>
                <a:gd name="connsiteX3" fmla="*/ 101199 w 354194"/>
                <a:gd name="connsiteY3" fmla="*/ 0 h 472257"/>
                <a:gd name="connsiteX4" fmla="*/ 0 w 354194"/>
                <a:gd name="connsiteY4" fmla="*/ 0 h 472257"/>
                <a:gd name="connsiteX5" fmla="*/ 0 w 354194"/>
                <a:gd name="connsiteY5" fmla="*/ 472258 h 472257"/>
                <a:gd name="connsiteX6" fmla="*/ 354195 w 354194"/>
                <a:gd name="connsiteY6" fmla="*/ 472258 h 472257"/>
                <a:gd name="connsiteX7" fmla="*/ 354195 w 354194"/>
                <a:gd name="connsiteY7" fmla="*/ 0 h 472257"/>
                <a:gd name="connsiteX8" fmla="*/ 252996 w 354194"/>
                <a:gd name="connsiteY8" fmla="*/ 0 h 472257"/>
                <a:gd name="connsiteX9" fmla="*/ 252996 w 354194"/>
                <a:gd name="connsiteY9" fmla="*/ 371060 h 472257"/>
                <a:gd name="connsiteX10" fmla="*/ 33733 w 354194"/>
                <a:gd name="connsiteY10" fmla="*/ 371060 h 472257"/>
                <a:gd name="connsiteX11" fmla="*/ 33733 w 354194"/>
                <a:gd name="connsiteY11" fmla="*/ 337328 h 472257"/>
                <a:gd name="connsiteX12" fmla="*/ 252996 w 354194"/>
                <a:gd name="connsiteY12" fmla="*/ 337328 h 472257"/>
                <a:gd name="connsiteX13" fmla="*/ 252996 w 354194"/>
                <a:gd name="connsiteY13" fmla="*/ 371060 h 472257"/>
                <a:gd name="connsiteX14" fmla="*/ 252996 w 354194"/>
                <a:gd name="connsiteY14" fmla="*/ 320461 h 472257"/>
                <a:gd name="connsiteX15" fmla="*/ 33733 w 354194"/>
                <a:gd name="connsiteY15" fmla="*/ 320461 h 472257"/>
                <a:gd name="connsiteX16" fmla="*/ 33733 w 354194"/>
                <a:gd name="connsiteY16" fmla="*/ 286728 h 472257"/>
                <a:gd name="connsiteX17" fmla="*/ 252996 w 354194"/>
                <a:gd name="connsiteY17" fmla="*/ 286728 h 472257"/>
                <a:gd name="connsiteX18" fmla="*/ 252996 w 354194"/>
                <a:gd name="connsiteY18" fmla="*/ 320461 h 472257"/>
                <a:gd name="connsiteX19" fmla="*/ 252996 w 354194"/>
                <a:gd name="connsiteY19" fmla="*/ 269862 h 472257"/>
                <a:gd name="connsiteX20" fmla="*/ 33733 w 354194"/>
                <a:gd name="connsiteY20" fmla="*/ 269862 h 472257"/>
                <a:gd name="connsiteX21" fmla="*/ 33733 w 354194"/>
                <a:gd name="connsiteY21" fmla="*/ 236129 h 472257"/>
                <a:gd name="connsiteX22" fmla="*/ 252996 w 354194"/>
                <a:gd name="connsiteY22" fmla="*/ 236129 h 472257"/>
                <a:gd name="connsiteX23" fmla="*/ 252996 w 354194"/>
                <a:gd name="connsiteY23" fmla="*/ 269862 h 472257"/>
                <a:gd name="connsiteX24" fmla="*/ 252996 w 354194"/>
                <a:gd name="connsiteY24" fmla="*/ 219263 h 472257"/>
                <a:gd name="connsiteX25" fmla="*/ 33733 w 354194"/>
                <a:gd name="connsiteY25" fmla="*/ 219263 h 472257"/>
                <a:gd name="connsiteX26" fmla="*/ 33733 w 354194"/>
                <a:gd name="connsiteY26" fmla="*/ 185530 h 472257"/>
                <a:gd name="connsiteX27" fmla="*/ 252996 w 354194"/>
                <a:gd name="connsiteY27" fmla="*/ 185530 h 472257"/>
                <a:gd name="connsiteX28" fmla="*/ 252996 w 354194"/>
                <a:gd name="connsiteY28" fmla="*/ 219263 h 472257"/>
                <a:gd name="connsiteX29" fmla="*/ 252996 w 354194"/>
                <a:gd name="connsiteY29" fmla="*/ 168664 h 472257"/>
                <a:gd name="connsiteX30" fmla="*/ 33733 w 354194"/>
                <a:gd name="connsiteY30" fmla="*/ 168664 h 472257"/>
                <a:gd name="connsiteX31" fmla="*/ 33733 w 354194"/>
                <a:gd name="connsiteY31" fmla="*/ 134931 h 472257"/>
                <a:gd name="connsiteX32" fmla="*/ 252996 w 354194"/>
                <a:gd name="connsiteY32" fmla="*/ 134931 h 472257"/>
                <a:gd name="connsiteX33" fmla="*/ 252996 w 354194"/>
                <a:gd name="connsiteY33" fmla="*/ 168664 h 472257"/>
                <a:gd name="connsiteX34" fmla="*/ 287852 w 354194"/>
                <a:gd name="connsiteY34" fmla="*/ 269862 h 472257"/>
                <a:gd name="connsiteX35" fmla="*/ 263552 w 354194"/>
                <a:gd name="connsiteY35" fmla="*/ 245556 h 472257"/>
                <a:gd name="connsiteX36" fmla="*/ 276173 w 354194"/>
                <a:gd name="connsiteY36" fmla="*/ 232935 h 472257"/>
                <a:gd name="connsiteX37" fmla="*/ 287852 w 354194"/>
                <a:gd name="connsiteY37" fmla="*/ 244615 h 472257"/>
                <a:gd name="connsiteX38" fmla="*/ 308530 w 354194"/>
                <a:gd name="connsiteY38" fmla="*/ 223941 h 472257"/>
                <a:gd name="connsiteX39" fmla="*/ 321150 w 354194"/>
                <a:gd name="connsiteY39" fmla="*/ 236561 h 472257"/>
                <a:gd name="connsiteX40" fmla="*/ 287852 w 354194"/>
                <a:gd name="connsiteY40" fmla="*/ 269862 h 472257"/>
                <a:gd name="connsiteX41" fmla="*/ 287852 w 354194"/>
                <a:gd name="connsiteY41" fmla="*/ 219263 h 472257"/>
                <a:gd name="connsiteX42" fmla="*/ 263552 w 354194"/>
                <a:gd name="connsiteY42" fmla="*/ 194957 h 472257"/>
                <a:gd name="connsiteX43" fmla="*/ 276173 w 354194"/>
                <a:gd name="connsiteY43" fmla="*/ 182336 h 472257"/>
                <a:gd name="connsiteX44" fmla="*/ 287852 w 354194"/>
                <a:gd name="connsiteY44" fmla="*/ 194016 h 472257"/>
                <a:gd name="connsiteX45" fmla="*/ 308530 w 354194"/>
                <a:gd name="connsiteY45" fmla="*/ 173342 h 472257"/>
                <a:gd name="connsiteX46" fmla="*/ 321150 w 354194"/>
                <a:gd name="connsiteY46" fmla="*/ 185962 h 472257"/>
                <a:gd name="connsiteX47" fmla="*/ 287852 w 354194"/>
                <a:gd name="connsiteY47" fmla="*/ 219263 h 472257"/>
                <a:gd name="connsiteX48" fmla="*/ 287852 w 354194"/>
                <a:gd name="connsiteY48" fmla="*/ 168664 h 472257"/>
                <a:gd name="connsiteX49" fmla="*/ 263552 w 354194"/>
                <a:gd name="connsiteY49" fmla="*/ 144358 h 472257"/>
                <a:gd name="connsiteX50" fmla="*/ 276173 w 354194"/>
                <a:gd name="connsiteY50" fmla="*/ 131737 h 472257"/>
                <a:gd name="connsiteX51" fmla="*/ 287852 w 354194"/>
                <a:gd name="connsiteY51" fmla="*/ 143416 h 472257"/>
                <a:gd name="connsiteX52" fmla="*/ 308530 w 354194"/>
                <a:gd name="connsiteY52" fmla="*/ 122742 h 472257"/>
                <a:gd name="connsiteX53" fmla="*/ 321150 w 354194"/>
                <a:gd name="connsiteY53" fmla="*/ 135363 h 472257"/>
                <a:gd name="connsiteX54" fmla="*/ 287852 w 354194"/>
                <a:gd name="connsiteY54" fmla="*/ 168664 h 472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354194" h="472257">
                  <a:moveTo>
                    <a:pt x="252996" y="0"/>
                  </a:moveTo>
                  <a:lnTo>
                    <a:pt x="252996" y="33733"/>
                  </a:lnTo>
                  <a:lnTo>
                    <a:pt x="101199" y="33733"/>
                  </a:lnTo>
                  <a:lnTo>
                    <a:pt x="101199" y="0"/>
                  </a:lnTo>
                  <a:lnTo>
                    <a:pt x="0" y="0"/>
                  </a:lnTo>
                  <a:lnTo>
                    <a:pt x="0" y="472258"/>
                  </a:lnTo>
                  <a:lnTo>
                    <a:pt x="354195" y="472258"/>
                  </a:lnTo>
                  <a:lnTo>
                    <a:pt x="354195" y="0"/>
                  </a:lnTo>
                  <a:lnTo>
                    <a:pt x="252996" y="0"/>
                  </a:lnTo>
                  <a:close/>
                  <a:moveTo>
                    <a:pt x="252996" y="371060"/>
                  </a:moveTo>
                  <a:lnTo>
                    <a:pt x="33733" y="371060"/>
                  </a:lnTo>
                  <a:lnTo>
                    <a:pt x="33733" y="337328"/>
                  </a:lnTo>
                  <a:lnTo>
                    <a:pt x="252996" y="337328"/>
                  </a:lnTo>
                  <a:lnTo>
                    <a:pt x="252996" y="371060"/>
                  </a:lnTo>
                  <a:close/>
                  <a:moveTo>
                    <a:pt x="252996" y="320461"/>
                  </a:moveTo>
                  <a:lnTo>
                    <a:pt x="33733" y="320461"/>
                  </a:lnTo>
                  <a:lnTo>
                    <a:pt x="33733" y="286728"/>
                  </a:lnTo>
                  <a:lnTo>
                    <a:pt x="252996" y="286728"/>
                  </a:lnTo>
                  <a:lnTo>
                    <a:pt x="252996" y="320461"/>
                  </a:lnTo>
                  <a:close/>
                  <a:moveTo>
                    <a:pt x="252996" y="269862"/>
                  </a:moveTo>
                  <a:lnTo>
                    <a:pt x="33733" y="269862"/>
                  </a:lnTo>
                  <a:lnTo>
                    <a:pt x="33733" y="236129"/>
                  </a:lnTo>
                  <a:lnTo>
                    <a:pt x="252996" y="236129"/>
                  </a:lnTo>
                  <a:lnTo>
                    <a:pt x="252996" y="269862"/>
                  </a:lnTo>
                  <a:close/>
                  <a:moveTo>
                    <a:pt x="252996" y="219263"/>
                  </a:moveTo>
                  <a:lnTo>
                    <a:pt x="33733" y="219263"/>
                  </a:lnTo>
                  <a:lnTo>
                    <a:pt x="33733" y="185530"/>
                  </a:lnTo>
                  <a:lnTo>
                    <a:pt x="252996" y="185530"/>
                  </a:lnTo>
                  <a:lnTo>
                    <a:pt x="252996" y="219263"/>
                  </a:lnTo>
                  <a:close/>
                  <a:moveTo>
                    <a:pt x="252996" y="168664"/>
                  </a:moveTo>
                  <a:lnTo>
                    <a:pt x="33733" y="168664"/>
                  </a:lnTo>
                  <a:lnTo>
                    <a:pt x="33733" y="134931"/>
                  </a:lnTo>
                  <a:lnTo>
                    <a:pt x="252996" y="134931"/>
                  </a:lnTo>
                  <a:lnTo>
                    <a:pt x="252996" y="168664"/>
                  </a:lnTo>
                  <a:close/>
                  <a:moveTo>
                    <a:pt x="287852" y="269862"/>
                  </a:moveTo>
                  <a:lnTo>
                    <a:pt x="263552" y="245556"/>
                  </a:lnTo>
                  <a:lnTo>
                    <a:pt x="276173" y="232935"/>
                  </a:lnTo>
                  <a:lnTo>
                    <a:pt x="287852" y="244615"/>
                  </a:lnTo>
                  <a:lnTo>
                    <a:pt x="308530" y="223941"/>
                  </a:lnTo>
                  <a:lnTo>
                    <a:pt x="321150" y="236561"/>
                  </a:lnTo>
                  <a:lnTo>
                    <a:pt x="287852" y="269862"/>
                  </a:lnTo>
                  <a:close/>
                  <a:moveTo>
                    <a:pt x="287852" y="219263"/>
                  </a:moveTo>
                  <a:lnTo>
                    <a:pt x="263552" y="194957"/>
                  </a:lnTo>
                  <a:lnTo>
                    <a:pt x="276173" y="182336"/>
                  </a:lnTo>
                  <a:lnTo>
                    <a:pt x="287852" y="194016"/>
                  </a:lnTo>
                  <a:lnTo>
                    <a:pt x="308530" y="173342"/>
                  </a:lnTo>
                  <a:lnTo>
                    <a:pt x="321150" y="185962"/>
                  </a:lnTo>
                  <a:lnTo>
                    <a:pt x="287852" y="219263"/>
                  </a:lnTo>
                  <a:close/>
                  <a:moveTo>
                    <a:pt x="287852" y="168664"/>
                  </a:moveTo>
                  <a:lnTo>
                    <a:pt x="263552" y="144358"/>
                  </a:lnTo>
                  <a:lnTo>
                    <a:pt x="276173" y="131737"/>
                  </a:lnTo>
                  <a:lnTo>
                    <a:pt x="287852" y="143416"/>
                  </a:lnTo>
                  <a:lnTo>
                    <a:pt x="308530" y="122742"/>
                  </a:lnTo>
                  <a:lnTo>
                    <a:pt x="321150" y="135363"/>
                  </a:lnTo>
                  <a:lnTo>
                    <a:pt x="287852" y="168664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8" name="Freihandform: Form 107">
              <a:extLst>
                <a:ext uri="{FF2B5EF4-FFF2-40B4-BE49-F238E27FC236}">
                  <a16:creationId xmlns:a16="http://schemas.microsoft.com/office/drawing/2014/main" id="{449A04A2-9510-0C2F-5B2E-C81E2CD83C9D}"/>
                </a:ext>
              </a:extLst>
            </p:cNvPr>
            <p:cNvSpPr/>
            <p:nvPr/>
          </p:nvSpPr>
          <p:spPr>
            <a:xfrm>
              <a:off x="6057303" y="4782081"/>
              <a:ext cx="151797" cy="33732"/>
            </a:xfrm>
            <a:custGeom>
              <a:avLst/>
              <a:gdLst>
                <a:gd name="connsiteX0" fmla="*/ 0 w 151797"/>
                <a:gd name="connsiteY0" fmla="*/ 0 h 33732"/>
                <a:gd name="connsiteX1" fmla="*/ 151798 w 151797"/>
                <a:gd name="connsiteY1" fmla="*/ 0 h 33732"/>
                <a:gd name="connsiteX2" fmla="*/ 151798 w 151797"/>
                <a:gd name="connsiteY2" fmla="*/ 33733 h 33732"/>
                <a:gd name="connsiteX3" fmla="*/ 0 w 151797"/>
                <a:gd name="connsiteY3" fmla="*/ 33733 h 33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1797" h="33732">
                  <a:moveTo>
                    <a:pt x="0" y="0"/>
                  </a:moveTo>
                  <a:lnTo>
                    <a:pt x="151798" y="0"/>
                  </a:lnTo>
                  <a:lnTo>
                    <a:pt x="151798" y="33733"/>
                  </a:lnTo>
                  <a:lnTo>
                    <a:pt x="0" y="33733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112" name="Grafik 111">
            <a:extLst>
              <a:ext uri="{FF2B5EF4-FFF2-40B4-BE49-F238E27FC236}">
                <a16:creationId xmlns:a16="http://schemas.microsoft.com/office/drawing/2014/main" id="{06281C27-91F9-2D60-C93B-315EF1FBFC2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695843" y="4328152"/>
            <a:ext cx="508913" cy="506086"/>
          </a:xfrm>
          <a:prstGeom prst="rect">
            <a:avLst/>
          </a:prstGeom>
        </p:spPr>
      </p:pic>
      <p:grpSp>
        <p:nvGrpSpPr>
          <p:cNvPr id="13" name="Gruppieren 118">
            <a:extLst>
              <a:ext uri="{FF2B5EF4-FFF2-40B4-BE49-F238E27FC236}">
                <a16:creationId xmlns:a16="http://schemas.microsoft.com/office/drawing/2014/main" id="{D1D83F84-F932-95BE-364F-4AC5C274B9DA}"/>
              </a:ext>
            </a:extLst>
          </p:cNvPr>
          <p:cNvGrpSpPr/>
          <p:nvPr/>
        </p:nvGrpSpPr>
        <p:grpSpPr>
          <a:xfrm>
            <a:off x="11685914" y="2028825"/>
            <a:ext cx="506086" cy="506086"/>
            <a:chOff x="5931408" y="1621455"/>
            <a:chExt cx="708388" cy="708388"/>
          </a:xfrm>
        </p:grpSpPr>
        <p:sp>
          <p:nvSpPr>
            <p:cNvPr id="23" name="Freihandform: Form 119">
              <a:extLst>
                <a:ext uri="{FF2B5EF4-FFF2-40B4-BE49-F238E27FC236}">
                  <a16:creationId xmlns:a16="http://schemas.microsoft.com/office/drawing/2014/main" id="{612C790B-2B8E-B7F2-3FDA-D95F444D2266}"/>
                </a:ext>
              </a:extLst>
            </p:cNvPr>
            <p:cNvSpPr/>
            <p:nvPr/>
          </p:nvSpPr>
          <p:spPr>
            <a:xfrm>
              <a:off x="5931408" y="1621455"/>
              <a:ext cx="708388" cy="708388"/>
            </a:xfrm>
            <a:custGeom>
              <a:avLst/>
              <a:gdLst>
                <a:gd name="connsiteX0" fmla="*/ 0 w 708388"/>
                <a:gd name="connsiteY0" fmla="*/ 0 h 708388"/>
                <a:gd name="connsiteX1" fmla="*/ 708388 w 708388"/>
                <a:gd name="connsiteY1" fmla="*/ 0 h 708388"/>
                <a:gd name="connsiteX2" fmla="*/ 708388 w 708388"/>
                <a:gd name="connsiteY2" fmla="*/ 708388 h 708388"/>
                <a:gd name="connsiteX3" fmla="*/ 0 w 708388"/>
                <a:gd name="connsiteY3" fmla="*/ 708388 h 708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08388" h="708388">
                  <a:moveTo>
                    <a:pt x="0" y="0"/>
                  </a:moveTo>
                  <a:lnTo>
                    <a:pt x="708388" y="0"/>
                  </a:lnTo>
                  <a:lnTo>
                    <a:pt x="708388" y="708388"/>
                  </a:lnTo>
                  <a:lnTo>
                    <a:pt x="0" y="708388"/>
                  </a:lnTo>
                  <a:close/>
                </a:path>
              </a:pathLst>
            </a:custGeom>
            <a:solidFill>
              <a:schemeClr val="accent4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Freihandform: Form 120">
              <a:extLst>
                <a:ext uri="{FF2B5EF4-FFF2-40B4-BE49-F238E27FC236}">
                  <a16:creationId xmlns:a16="http://schemas.microsoft.com/office/drawing/2014/main" id="{D237534B-ED1F-4071-5485-2883BF374485}"/>
                </a:ext>
              </a:extLst>
            </p:cNvPr>
            <p:cNvSpPr/>
            <p:nvPr/>
          </p:nvSpPr>
          <p:spPr>
            <a:xfrm>
              <a:off x="6243436" y="1722652"/>
              <a:ext cx="84332" cy="505991"/>
            </a:xfrm>
            <a:custGeom>
              <a:avLst/>
              <a:gdLst>
                <a:gd name="connsiteX0" fmla="*/ 0 w 84332"/>
                <a:gd name="connsiteY0" fmla="*/ 0 h 505991"/>
                <a:gd name="connsiteX1" fmla="*/ 84332 w 84332"/>
                <a:gd name="connsiteY1" fmla="*/ 0 h 505991"/>
                <a:gd name="connsiteX2" fmla="*/ 84332 w 84332"/>
                <a:gd name="connsiteY2" fmla="*/ 89807 h 505991"/>
                <a:gd name="connsiteX3" fmla="*/ 0 w 84332"/>
                <a:gd name="connsiteY3" fmla="*/ 89807 h 505991"/>
                <a:gd name="connsiteX4" fmla="*/ 0 w 84332"/>
                <a:gd name="connsiteY4" fmla="*/ 0 h 505991"/>
                <a:gd name="connsiteX5" fmla="*/ 0 w 84332"/>
                <a:gd name="connsiteY5" fmla="*/ 168664 h 505991"/>
                <a:gd name="connsiteX6" fmla="*/ 84332 w 84332"/>
                <a:gd name="connsiteY6" fmla="*/ 168664 h 505991"/>
                <a:gd name="connsiteX7" fmla="*/ 84332 w 84332"/>
                <a:gd name="connsiteY7" fmla="*/ 505991 h 505991"/>
                <a:gd name="connsiteX8" fmla="*/ 0 w 84332"/>
                <a:gd name="connsiteY8" fmla="*/ 505991 h 505991"/>
                <a:gd name="connsiteX9" fmla="*/ 0 w 84332"/>
                <a:gd name="connsiteY9" fmla="*/ 168664 h 505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4332" h="505991">
                  <a:moveTo>
                    <a:pt x="0" y="0"/>
                  </a:moveTo>
                  <a:lnTo>
                    <a:pt x="84332" y="0"/>
                  </a:lnTo>
                  <a:lnTo>
                    <a:pt x="84332" y="89807"/>
                  </a:lnTo>
                  <a:lnTo>
                    <a:pt x="0" y="89807"/>
                  </a:lnTo>
                  <a:lnTo>
                    <a:pt x="0" y="0"/>
                  </a:lnTo>
                  <a:close/>
                  <a:moveTo>
                    <a:pt x="0" y="168664"/>
                  </a:moveTo>
                  <a:lnTo>
                    <a:pt x="84332" y="168664"/>
                  </a:lnTo>
                  <a:lnTo>
                    <a:pt x="84332" y="505991"/>
                  </a:lnTo>
                  <a:lnTo>
                    <a:pt x="0" y="505991"/>
                  </a:lnTo>
                  <a:lnTo>
                    <a:pt x="0" y="168664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3098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9DAD995-4F81-1C2C-BD4D-B953B00F9C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DF704465-0178-4D15-524D-858E9D6AE0A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1" y="2034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3" imgH="664" progId="TCLayout.ActiveDocument.1">
                  <p:embed/>
                </p:oleObj>
              </mc:Choice>
              <mc:Fallback>
                <p:oleObj name="think-cell Slide" r:id="rId3" imgW="663" imgH="664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DF704465-0178-4D15-524D-858E9D6AE0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1" y="2034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88B80F95-1E0F-AB96-D9D9-F1FBB0E1F6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7297" y="658131"/>
            <a:ext cx="9180000" cy="463550"/>
          </a:xfrm>
        </p:spPr>
        <p:txBody>
          <a:bodyPr vert="horz" lIns="91440" tIns="0" rIns="0" bIns="0" anchor="t"/>
          <a:lstStyle/>
          <a:p>
            <a:r>
              <a:rPr lang="cs-CZ" dirty="0">
                <a:latin typeface="Calibri"/>
                <a:ea typeface="Calibri"/>
                <a:cs typeface="Calibri"/>
              </a:rPr>
              <a:t>Proč měnit axiální ventilátory?</a:t>
            </a:r>
            <a:endParaRPr lang="de-DE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D58F0F8-BB6B-9CE9-2528-72209FCF18E3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r>
              <a:rPr lang="en-US" dirty="0"/>
              <a:t>AxiBlade.Perform</a:t>
            </a:r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id="{76420993-8B72-9D2F-6F1F-EBDC469BF05C}"/>
              </a:ext>
            </a:extLst>
          </p:cNvPr>
          <p:cNvSpPr txBox="1">
            <a:spLocks/>
          </p:cNvSpPr>
          <p:nvPr/>
        </p:nvSpPr>
        <p:spPr bwMode="gray">
          <a:xfrm>
            <a:off x="468000" y="1496243"/>
            <a:ext cx="4886374" cy="345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Font typeface="Arial" charset="0"/>
              <a:buNone/>
              <a:defRPr sz="2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None/>
              <a:defRPr sz="2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None/>
              <a:defRPr sz="2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None/>
              <a:defRPr sz="2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None/>
              <a:defRPr sz="2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309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Vývoj axiálních ventilátorů</a:t>
            </a:r>
            <a:endParaRPr kumimoji="0" lang="en-GB" sz="20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AA4DA42D-CD9C-9F82-A9A3-B3FC237631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1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BA8AE606-2477-3831-ADD5-4070639C28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1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2602B9-34B9-4E1A-99B6-5F74CE0D14C3}" type="slidenum"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12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8" name="Gerader Verbinder 163">
            <a:extLst>
              <a:ext uri="{FF2B5EF4-FFF2-40B4-BE49-F238E27FC236}">
                <a16:creationId xmlns:a16="http://schemas.microsoft.com/office/drawing/2014/main" id="{694FA3D6-17A7-7802-34AD-204A6EFA0ED7}"/>
              </a:ext>
            </a:extLst>
          </p:cNvPr>
          <p:cNvCxnSpPr/>
          <p:nvPr/>
        </p:nvCxnSpPr>
        <p:spPr>
          <a:xfrm>
            <a:off x="474567" y="1843527"/>
            <a:ext cx="0" cy="0"/>
          </a:xfrm>
          <a:prstGeom prst="line">
            <a:avLst/>
          </a:prstGeom>
          <a:noFill/>
          <a:ln w="9525" cap="flat" cmpd="sng" algn="ctr">
            <a:solidFill>
              <a:srgbClr val="56748E">
                <a:lumMod val="50000"/>
              </a:srgbClr>
            </a:solidFill>
            <a:prstDash val="solid"/>
            <a:miter lim="800000"/>
          </a:ln>
          <a:effectLst/>
        </p:spPr>
      </p:cxnSp>
      <p:cxnSp>
        <p:nvCxnSpPr>
          <p:cNvPr id="19" name="Gerader Verbinder 164">
            <a:extLst>
              <a:ext uri="{FF2B5EF4-FFF2-40B4-BE49-F238E27FC236}">
                <a16:creationId xmlns:a16="http://schemas.microsoft.com/office/drawing/2014/main" id="{5833C14E-30C1-DD25-76D8-E450D0B3D2C2}"/>
              </a:ext>
            </a:extLst>
          </p:cNvPr>
          <p:cNvCxnSpPr/>
          <p:nvPr/>
        </p:nvCxnSpPr>
        <p:spPr>
          <a:xfrm>
            <a:off x="1786561" y="1843527"/>
            <a:ext cx="0" cy="0"/>
          </a:xfrm>
          <a:prstGeom prst="line">
            <a:avLst/>
          </a:prstGeom>
          <a:noFill/>
          <a:ln w="9525" cap="flat" cmpd="sng" algn="ctr">
            <a:solidFill>
              <a:srgbClr val="56748E">
                <a:lumMod val="50000"/>
              </a:srgbClr>
            </a:solidFill>
            <a:prstDash val="solid"/>
            <a:miter lim="800000"/>
          </a:ln>
          <a:effectLst/>
        </p:spPr>
      </p:cxnSp>
      <p:cxnSp>
        <p:nvCxnSpPr>
          <p:cNvPr id="21" name="Gerader Verbinder 166">
            <a:extLst>
              <a:ext uri="{FF2B5EF4-FFF2-40B4-BE49-F238E27FC236}">
                <a16:creationId xmlns:a16="http://schemas.microsoft.com/office/drawing/2014/main" id="{A6A632E2-AC9A-9DA7-6B13-4364375D536E}"/>
              </a:ext>
            </a:extLst>
          </p:cNvPr>
          <p:cNvCxnSpPr/>
          <p:nvPr/>
        </p:nvCxnSpPr>
        <p:spPr>
          <a:xfrm>
            <a:off x="3098555" y="1843527"/>
            <a:ext cx="0" cy="0"/>
          </a:xfrm>
          <a:prstGeom prst="line">
            <a:avLst/>
          </a:prstGeom>
          <a:noFill/>
          <a:ln w="9525" cap="flat" cmpd="sng" algn="ctr">
            <a:solidFill>
              <a:srgbClr val="56748E">
                <a:lumMod val="50000"/>
              </a:srgbClr>
            </a:solidFill>
            <a:prstDash val="solid"/>
            <a:miter lim="800000"/>
          </a:ln>
          <a:effectLst/>
        </p:spPr>
      </p:cxnSp>
      <p:graphicFrame>
        <p:nvGraphicFramePr>
          <p:cNvPr id="38" name="Table 37">
            <a:extLst>
              <a:ext uri="{FF2B5EF4-FFF2-40B4-BE49-F238E27FC236}">
                <a16:creationId xmlns:a16="http://schemas.microsoft.com/office/drawing/2014/main" id="{7014597F-6859-44A6-D8D3-A26648F24406}"/>
              </a:ext>
            </a:extLst>
          </p:cNvPr>
          <p:cNvGraphicFramePr>
            <a:graphicFrameLocks noGrp="1"/>
          </p:cNvGraphicFramePr>
          <p:nvPr/>
        </p:nvGraphicFramePr>
        <p:xfrm>
          <a:off x="372083" y="2646804"/>
          <a:ext cx="11256896" cy="1290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8128">
                  <a:extLst>
                    <a:ext uri="{9D8B030D-6E8A-4147-A177-3AD203B41FA5}">
                      <a16:colId xmlns:a16="http://schemas.microsoft.com/office/drawing/2014/main" val="1387912694"/>
                    </a:ext>
                  </a:extLst>
                </a:gridCol>
                <a:gridCol w="1608128">
                  <a:extLst>
                    <a:ext uri="{9D8B030D-6E8A-4147-A177-3AD203B41FA5}">
                      <a16:colId xmlns:a16="http://schemas.microsoft.com/office/drawing/2014/main" val="4116750174"/>
                    </a:ext>
                  </a:extLst>
                </a:gridCol>
                <a:gridCol w="1608128">
                  <a:extLst>
                    <a:ext uri="{9D8B030D-6E8A-4147-A177-3AD203B41FA5}">
                      <a16:colId xmlns:a16="http://schemas.microsoft.com/office/drawing/2014/main" val="2979383536"/>
                    </a:ext>
                  </a:extLst>
                </a:gridCol>
                <a:gridCol w="1608128">
                  <a:extLst>
                    <a:ext uri="{9D8B030D-6E8A-4147-A177-3AD203B41FA5}">
                      <a16:colId xmlns:a16="http://schemas.microsoft.com/office/drawing/2014/main" val="3835564448"/>
                    </a:ext>
                  </a:extLst>
                </a:gridCol>
                <a:gridCol w="1608128">
                  <a:extLst>
                    <a:ext uri="{9D8B030D-6E8A-4147-A177-3AD203B41FA5}">
                      <a16:colId xmlns:a16="http://schemas.microsoft.com/office/drawing/2014/main" val="2137275466"/>
                    </a:ext>
                  </a:extLst>
                </a:gridCol>
                <a:gridCol w="1608128">
                  <a:extLst>
                    <a:ext uri="{9D8B030D-6E8A-4147-A177-3AD203B41FA5}">
                      <a16:colId xmlns:a16="http://schemas.microsoft.com/office/drawing/2014/main" val="3322185881"/>
                    </a:ext>
                  </a:extLst>
                </a:gridCol>
                <a:gridCol w="1608128">
                  <a:extLst>
                    <a:ext uri="{9D8B030D-6E8A-4147-A177-3AD203B41FA5}">
                      <a16:colId xmlns:a16="http://schemas.microsoft.com/office/drawing/2014/main" val="3528407103"/>
                    </a:ext>
                  </a:extLst>
                </a:gridCol>
              </a:tblGrid>
              <a:tr h="66428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5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  <a:buClr>
                          <a:srgbClr val="80808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2004</a:t>
                      </a:r>
                      <a:br>
                        <a:rPr kumimoji="0" lang="en-US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</a:br>
                      <a:r>
                        <a:rPr kumimoji="0" lang="en-US" sz="15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C Technology</a:t>
                      </a:r>
                      <a:br>
                        <a:rPr kumimoji="0" lang="en-US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</a:br>
                      <a:r>
                        <a:rPr kumimoji="0" lang="en-US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-range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5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  <a:buClr>
                          <a:srgbClr val="80808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29 % </a:t>
                      </a:r>
                      <a:r>
                        <a:rPr kumimoji="0" lang="en-US" sz="1500" b="0" i="0" u="none" strike="noStrike" kern="1200" cap="none" spc="0" normalizeH="0" baseline="3000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)</a:t>
                      </a:r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5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  <a:buClr>
                          <a:srgbClr val="80808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2006</a:t>
                      </a:r>
                      <a:br>
                        <a:rPr kumimoji="0" lang="en-US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</a:br>
                      <a:r>
                        <a:rPr kumimoji="0" lang="en-US" sz="15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C Technology</a:t>
                      </a:r>
                      <a:br>
                        <a:rPr kumimoji="0" lang="en-US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</a:br>
                      <a:r>
                        <a:rPr kumimoji="0" lang="en-US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-range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5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  <a:buClr>
                          <a:srgbClr val="80808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35 % </a:t>
                      </a:r>
                      <a:r>
                        <a:rPr kumimoji="0" lang="en-US" sz="1500" b="0" i="0" u="none" strike="noStrike" kern="1200" cap="none" spc="0" normalizeH="0" baseline="3000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)</a:t>
                      </a:r>
                      <a:endParaRPr kumimoji="0" lang="en-US" sz="15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5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  <a:buClr>
                          <a:srgbClr val="80808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2008</a:t>
                      </a:r>
                      <a:br>
                        <a:rPr kumimoji="0" lang="en-US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</a:br>
                      <a:r>
                        <a:rPr kumimoji="0" lang="en-US" sz="15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C Technology</a:t>
                      </a:r>
                      <a:br>
                        <a:rPr kumimoji="0" lang="en-US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</a:br>
                      <a:r>
                        <a:rPr kumimoji="0" lang="en-US" sz="15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yBlade</a:t>
                      </a:r>
                      <a:endParaRPr kumimoji="0" lang="en-US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5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  <a:buClr>
                          <a:srgbClr val="80808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35 %</a:t>
                      </a:r>
                      <a:r>
                        <a:rPr kumimoji="0" lang="en-US" sz="1500" b="0" i="0" u="none" strike="noStrike" kern="1200" cap="none" spc="0" normalizeH="0" baseline="3000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1)</a:t>
                      </a:r>
                      <a:endParaRPr kumimoji="0" lang="en-US" sz="15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5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  <a:buClr>
                          <a:srgbClr val="80808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5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2012</a:t>
                      </a:r>
                      <a:br>
                        <a:rPr kumimoji="0" lang="en-US" sz="15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</a:br>
                      <a:r>
                        <a:rPr kumimoji="0" lang="en-US" sz="1500" b="0" i="1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C Technology</a:t>
                      </a:r>
                      <a:br>
                        <a:rPr kumimoji="0" lang="en-US" sz="15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</a:br>
                      <a:r>
                        <a:rPr kumimoji="0" lang="en-US" sz="1500" b="0" i="0" u="none" strike="noStrike" kern="0" cap="none" spc="0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xiTop</a:t>
                      </a:r>
                      <a:endParaRPr kumimoji="0" lang="en-US" sz="15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5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  <a:buClr>
                          <a:srgbClr val="80808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5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45 % </a:t>
                      </a:r>
                      <a:r>
                        <a:rPr kumimoji="0" lang="en-US" sz="1500" b="0" i="0" u="none" strike="noStrike" kern="1200" cap="none" spc="0" normalizeH="0" baseline="3000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)</a:t>
                      </a:r>
                      <a:endParaRPr kumimoji="0" lang="en-US" sz="15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endParaRPr lang="en-US" sz="15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5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  <a:buClr>
                          <a:srgbClr val="80808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2016</a:t>
                      </a:r>
                      <a:br>
                        <a:rPr kumimoji="0" lang="en-US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</a:br>
                      <a:r>
                        <a:rPr kumimoji="0" lang="en-US" sz="15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C Technology</a:t>
                      </a:r>
                      <a:br>
                        <a:rPr kumimoji="0" lang="en-US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</a:br>
                      <a:r>
                        <a:rPr kumimoji="0" lang="en-US" sz="15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xiBlade</a:t>
                      </a:r>
                      <a:r>
                        <a:rPr kumimoji="0" lang="en-US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860/950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5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  <a:buClr>
                          <a:srgbClr val="80808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58 % </a:t>
                      </a:r>
                      <a:r>
                        <a:rPr kumimoji="0" lang="en-US" sz="1500" b="0" i="0" u="none" strike="noStrike" kern="1200" cap="none" spc="0" normalizeH="0" baseline="3000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)</a:t>
                      </a:r>
                      <a:br>
                        <a:rPr kumimoji="0" lang="en-US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</a:br>
                      <a:endParaRPr kumimoji="0" lang="en-US" sz="15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5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  <a:buClr>
                          <a:srgbClr val="80808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2023</a:t>
                      </a:r>
                      <a:br>
                        <a:rPr kumimoji="0" lang="en-US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</a:br>
                      <a:r>
                        <a:rPr kumimoji="0" lang="en-US" sz="15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C Technol</a:t>
                      </a:r>
                      <a:r>
                        <a:rPr kumimoji="0" lang="en-US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gy</a:t>
                      </a:r>
                      <a:br>
                        <a:rPr kumimoji="0" lang="en-US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</a:br>
                      <a:r>
                        <a:rPr kumimoji="0" lang="en-US" sz="15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xiEco</a:t>
                      </a:r>
                      <a:endParaRPr kumimoji="0" lang="en-US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5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  <a:buClr>
                          <a:srgbClr val="80808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54 % </a:t>
                      </a:r>
                      <a:r>
                        <a:rPr kumimoji="0" lang="en-US" sz="1500" b="0" i="0" u="none" strike="noStrike" kern="1200" cap="none" spc="0" normalizeH="0" baseline="3000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)</a:t>
                      </a:r>
                      <a:br>
                        <a:rPr kumimoji="0" lang="en-US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</a:br>
                      <a:endParaRPr kumimoji="0" lang="en-US" sz="15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5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  <a:buClr>
                          <a:srgbClr val="80808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2025</a:t>
                      </a:r>
                      <a:br>
                        <a:rPr kumimoji="0" lang="en-US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</a:br>
                      <a:r>
                        <a:rPr kumimoji="0" lang="en-US" sz="15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C Technol</a:t>
                      </a:r>
                      <a:r>
                        <a:rPr kumimoji="0" lang="en-US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gy</a:t>
                      </a:r>
                      <a:br>
                        <a:rPr kumimoji="0" lang="en-US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</a:br>
                      <a:r>
                        <a:rPr kumimoji="0" lang="en-US" sz="15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xiBlade.Perform</a:t>
                      </a:r>
                      <a:endParaRPr kumimoji="0" lang="en-US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5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  <a:buClr>
                          <a:srgbClr val="80808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59 % </a:t>
                      </a:r>
                      <a:r>
                        <a:rPr kumimoji="0" lang="en-US" sz="1500" b="0" i="0" u="none" strike="noStrike" kern="1200" cap="none" spc="0" normalizeH="0" baseline="3000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)</a:t>
                      </a:r>
                      <a:br>
                        <a:rPr kumimoji="0" lang="en-US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</a:br>
                      <a:endParaRPr kumimoji="0" lang="en-US" sz="15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40180949"/>
                  </a:ext>
                </a:extLst>
              </a:tr>
            </a:tbl>
          </a:graphicData>
        </a:graphic>
      </p:graphicFrame>
      <p:sp>
        <p:nvSpPr>
          <p:cNvPr id="4" name="Richtungspfeil 18">
            <a:extLst>
              <a:ext uri="{FF2B5EF4-FFF2-40B4-BE49-F238E27FC236}">
                <a16:creationId xmlns:a16="http://schemas.microsoft.com/office/drawing/2014/main" id="{E81DCE04-B7FC-92E3-7A5D-EE9FA9743A4F}"/>
              </a:ext>
            </a:extLst>
          </p:cNvPr>
          <p:cNvSpPr/>
          <p:nvPr/>
        </p:nvSpPr>
        <p:spPr>
          <a:xfrm>
            <a:off x="468000" y="4043844"/>
            <a:ext cx="11228480" cy="501760"/>
          </a:xfrm>
          <a:prstGeom prst="homePlate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0800000" scaled="1"/>
            <a:tileRect/>
          </a:gradFill>
          <a:ln w="2857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144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0" cap="none" spc="0" normalizeH="0" baseline="0" noProof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id="{97260FA9-A65C-2B7F-3D6A-E34C2B88E173}"/>
              </a:ext>
            </a:extLst>
          </p:cNvPr>
          <p:cNvGrpSpPr/>
          <p:nvPr/>
        </p:nvGrpSpPr>
        <p:grpSpPr>
          <a:xfrm>
            <a:off x="637988" y="4294724"/>
            <a:ext cx="10806096" cy="1131663"/>
            <a:chOff x="637988" y="4159267"/>
            <a:chExt cx="10806096" cy="1131663"/>
          </a:xfrm>
        </p:grpSpPr>
        <p:pic>
          <p:nvPicPr>
            <p:cNvPr id="58" name="Picture 4" descr="http://www.ebmpapst.info/mediapool/firmendaten/ebm/tmbs/20070809/A6D800AJ0101-Fo.eps.big.jpg">
              <a:extLst>
                <a:ext uri="{FF2B5EF4-FFF2-40B4-BE49-F238E27FC236}">
                  <a16:creationId xmlns:a16="http://schemas.microsoft.com/office/drawing/2014/main" id="{D9F2B322-0DC3-A56C-9BA4-8DEE79172FF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ackgroundRemoval t="1404" b="100000" l="2768" r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7988" y="4159267"/>
              <a:ext cx="1147546" cy="11316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9" name="Picture 6" descr="http://www.ebmpapst.info/mediapool/firmendaten/ebm/tmbs/20070809/A3G800AH0303-Fo.eps.big.jpg">
              <a:extLst>
                <a:ext uri="{FF2B5EF4-FFF2-40B4-BE49-F238E27FC236}">
                  <a16:creationId xmlns:a16="http://schemas.microsoft.com/office/drawing/2014/main" id="{39C0B6C7-E4E2-FBB5-103F-D8ECB632DD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ackgroundRemoval t="0" b="97667" l="0" r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15156" y="4159267"/>
              <a:ext cx="1150523" cy="11316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0" name="Grafik 14">
              <a:extLst>
                <a:ext uri="{FF2B5EF4-FFF2-40B4-BE49-F238E27FC236}">
                  <a16:creationId xmlns:a16="http://schemas.microsoft.com/office/drawing/2014/main" id="{DF3908A8-1481-2C49-9863-C89FF9225DA9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95301" y="4159268"/>
              <a:ext cx="1149694" cy="1131662"/>
            </a:xfrm>
            <a:prstGeom prst="rect">
              <a:avLst/>
            </a:prstGeom>
          </p:spPr>
        </p:pic>
        <p:pic>
          <p:nvPicPr>
            <p:cNvPr id="61" name="Picture 2">
              <a:extLst>
                <a:ext uri="{FF2B5EF4-FFF2-40B4-BE49-F238E27FC236}">
                  <a16:creationId xmlns:a16="http://schemas.microsoft.com/office/drawing/2014/main" id="{20575624-D5C6-6617-44CD-FA41AFB5C792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35" t="2785" r="8167" b="3425"/>
            <a:stretch>
              <a:fillRect/>
            </a:stretch>
          </p:blipFill>
          <p:spPr bwMode="auto">
            <a:xfrm>
              <a:off x="5438556" y="4159268"/>
              <a:ext cx="1131663" cy="11316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2" name="Picture 2" descr="K:\VM\Produkteinfuehrung\Produkte\AxiBlade Axialventilatoren mit 150er Motor\Bilder\EBM_AxiBlade_010_LmD_Anpassung_160725\EBM_AxiBlade_010_LmD_Anpassung_160725.tif">
              <a:extLst>
                <a:ext uri="{FF2B5EF4-FFF2-40B4-BE49-F238E27FC236}">
                  <a16:creationId xmlns:a16="http://schemas.microsoft.com/office/drawing/2014/main" id="{144686EB-113B-5764-02C3-0689A2A736E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1" cstate="print">
              <a:extLst>
                <a:ext uri="{BEBA8EAE-BF5A-486C-A8C5-ECC9F3942E4B}">
                  <a14:imgProps xmlns:a14="http://schemas.microsoft.com/office/drawing/2010/main">
                    <a14:imgLayer r:embed="rId12">
                      <a14:imgEffect>
                        <a14:backgroundRemoval t="1430" b="99600" l="3992" r="92540">
                          <a14:foregroundMark x1="37823" y1="36728" x2="37823" y2="36728"/>
                          <a14:foregroundMark x1="35806" y1="47483" x2="35806" y2="47483"/>
                          <a14:foregroundMark x1="48468" y1="19108" x2="48468" y2="19108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567" t="6247" r="21660" b="7530"/>
            <a:stretch>
              <a:fillRect/>
            </a:stretch>
          </p:blipFill>
          <p:spPr bwMode="auto">
            <a:xfrm>
              <a:off x="7063780" y="4159268"/>
              <a:ext cx="1131664" cy="11316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3" name="Grafik 43">
              <a:extLst>
                <a:ext uri="{FF2B5EF4-FFF2-40B4-BE49-F238E27FC236}">
                  <a16:creationId xmlns:a16="http://schemas.microsoft.com/office/drawing/2014/main" id="{9536AD33-304B-FB5E-D8A8-339D63045C1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8760" t="35120" r="43416" b="39428"/>
            <a:stretch>
              <a:fillRect/>
            </a:stretch>
          </p:blipFill>
          <p:spPr>
            <a:xfrm>
              <a:off x="8716305" y="4159268"/>
              <a:ext cx="1120750" cy="1131662"/>
            </a:xfrm>
            <a:prstGeom prst="rect">
              <a:avLst/>
            </a:prstGeom>
          </p:spPr>
        </p:pic>
        <p:pic>
          <p:nvPicPr>
            <p:cNvPr id="65" name="Grafik 1">
              <a:extLst>
                <a:ext uri="{FF2B5EF4-FFF2-40B4-BE49-F238E27FC236}">
                  <a16:creationId xmlns:a16="http://schemas.microsoft.com/office/drawing/2014/main" id="{E318ADA2-FEE7-DBEF-BA44-29787B044D9A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rcRect l="-7164" t="551" r="844" b="886"/>
            <a:stretch>
              <a:fillRect/>
            </a:stretch>
          </p:blipFill>
          <p:spPr>
            <a:xfrm>
              <a:off x="10312420" y="4159267"/>
              <a:ext cx="1131664" cy="1131662"/>
            </a:xfrm>
            <a:prstGeom prst="rect">
              <a:avLst/>
            </a:prstGeom>
          </p:spPr>
        </p:pic>
      </p:grpSp>
      <p:grpSp>
        <p:nvGrpSpPr>
          <p:cNvPr id="67" name="Gruppieren 27">
            <a:extLst>
              <a:ext uri="{FF2B5EF4-FFF2-40B4-BE49-F238E27FC236}">
                <a16:creationId xmlns:a16="http://schemas.microsoft.com/office/drawing/2014/main" id="{6873AA95-22D4-2B9D-F720-A20A333D308F}"/>
              </a:ext>
            </a:extLst>
          </p:cNvPr>
          <p:cNvGrpSpPr/>
          <p:nvPr/>
        </p:nvGrpSpPr>
        <p:grpSpPr>
          <a:xfrm>
            <a:off x="5482308" y="3838359"/>
            <a:ext cx="1046606" cy="433937"/>
            <a:chOff x="5416248" y="1743966"/>
            <a:chExt cx="648001" cy="360000"/>
          </a:xfrm>
        </p:grpSpPr>
        <p:sp>
          <p:nvSpPr>
            <p:cNvPr id="68" name="Richtungspfeil 42">
              <a:extLst>
                <a:ext uri="{FF2B5EF4-FFF2-40B4-BE49-F238E27FC236}">
                  <a16:creationId xmlns:a16="http://schemas.microsoft.com/office/drawing/2014/main" id="{0BE65C31-B538-A27C-382C-CBB2CF6837EE}"/>
                </a:ext>
              </a:extLst>
            </p:cNvPr>
            <p:cNvSpPr/>
            <p:nvPr/>
          </p:nvSpPr>
          <p:spPr>
            <a:xfrm rot="5400000">
              <a:off x="5560248" y="1599966"/>
              <a:ext cx="360000" cy="648000"/>
            </a:xfrm>
            <a:prstGeom prst="homePlate">
              <a:avLst>
                <a:gd name="adj" fmla="val 33537"/>
              </a:avLst>
            </a:prstGeom>
            <a:solidFill>
              <a:srgbClr val="56748E">
                <a:lumMod val="75000"/>
              </a:srgbClr>
            </a:solidFill>
            <a:ln w="285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14400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400"/>
                </a:spcAft>
                <a:buClr>
                  <a:srgbClr val="808080"/>
                </a:buClr>
                <a:buSzTx/>
                <a:buFontTx/>
                <a:buNone/>
                <a:tabLst/>
                <a:defRPr/>
              </a:pPr>
              <a:endParaRPr kumimoji="0" lang="en-US" sz="16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+mn-ea"/>
                <a:cs typeface="Arial" charset="0"/>
              </a:endParaRPr>
            </a:p>
          </p:txBody>
        </p:sp>
        <p:sp>
          <p:nvSpPr>
            <p:cNvPr id="69" name="Rechteck 34">
              <a:extLst>
                <a:ext uri="{FF2B5EF4-FFF2-40B4-BE49-F238E27FC236}">
                  <a16:creationId xmlns:a16="http://schemas.microsoft.com/office/drawing/2014/main" id="{69101427-F518-7631-DDF8-208AF4C83C26}"/>
                </a:ext>
              </a:extLst>
            </p:cNvPr>
            <p:cNvSpPr/>
            <p:nvPr/>
          </p:nvSpPr>
          <p:spPr>
            <a:xfrm>
              <a:off x="5416248" y="1750819"/>
              <a:ext cx="648001" cy="210013"/>
            </a:xfrm>
            <a:prstGeom prst="rect">
              <a:avLst/>
            </a:prstGeom>
          </p:spPr>
          <p:txBody>
            <a:bodyPr wrap="square" lIns="0" rIns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400"/>
                </a:spcAft>
                <a:buClr>
                  <a:srgbClr val="808080"/>
                </a:buClr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rPr>
                <a:t>- 7,2 dB(A) </a:t>
              </a:r>
              <a:r>
                <a:rPr kumimoji="0" lang="en-US" sz="1100" b="0" i="0" u="none" strike="noStrike" kern="1200" cap="none" spc="0" normalizeH="0" baseline="3000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2)</a:t>
              </a:r>
              <a:endPara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+mn-ea"/>
                <a:cs typeface="Arial" charset="0"/>
              </a:endParaRPr>
            </a:p>
          </p:txBody>
        </p:sp>
      </p:grpSp>
      <p:grpSp>
        <p:nvGrpSpPr>
          <p:cNvPr id="70" name="Gruppieren 27">
            <a:extLst>
              <a:ext uri="{FF2B5EF4-FFF2-40B4-BE49-F238E27FC236}">
                <a16:creationId xmlns:a16="http://schemas.microsoft.com/office/drawing/2014/main" id="{A66B3E56-8AD0-5194-5CBA-F9E35A81262F}"/>
              </a:ext>
            </a:extLst>
          </p:cNvPr>
          <p:cNvGrpSpPr/>
          <p:nvPr/>
        </p:nvGrpSpPr>
        <p:grpSpPr>
          <a:xfrm>
            <a:off x="7106309" y="3838359"/>
            <a:ext cx="1046606" cy="433937"/>
            <a:chOff x="5416248" y="1743966"/>
            <a:chExt cx="648001" cy="360000"/>
          </a:xfrm>
        </p:grpSpPr>
        <p:sp>
          <p:nvSpPr>
            <p:cNvPr id="71" name="Richtungspfeil 42">
              <a:extLst>
                <a:ext uri="{FF2B5EF4-FFF2-40B4-BE49-F238E27FC236}">
                  <a16:creationId xmlns:a16="http://schemas.microsoft.com/office/drawing/2014/main" id="{E58C6248-1C03-CE45-C997-C0748BD40186}"/>
                </a:ext>
              </a:extLst>
            </p:cNvPr>
            <p:cNvSpPr/>
            <p:nvPr/>
          </p:nvSpPr>
          <p:spPr>
            <a:xfrm rot="5400000">
              <a:off x="5560248" y="1599966"/>
              <a:ext cx="360000" cy="648000"/>
            </a:xfrm>
            <a:prstGeom prst="homePlate">
              <a:avLst>
                <a:gd name="adj" fmla="val 33537"/>
              </a:avLst>
            </a:prstGeom>
            <a:solidFill>
              <a:srgbClr val="56748E">
                <a:lumMod val="75000"/>
              </a:srgbClr>
            </a:solidFill>
            <a:ln w="285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14400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400"/>
                </a:spcAft>
                <a:buClr>
                  <a:srgbClr val="808080"/>
                </a:buClr>
                <a:buSzTx/>
                <a:buFontTx/>
                <a:buNone/>
                <a:tabLst/>
                <a:defRPr/>
              </a:pPr>
              <a:endParaRPr kumimoji="0" lang="en-US" sz="16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+mn-ea"/>
                <a:cs typeface="Arial" charset="0"/>
              </a:endParaRPr>
            </a:p>
          </p:txBody>
        </p:sp>
        <p:sp>
          <p:nvSpPr>
            <p:cNvPr id="72" name="Rechteck 34">
              <a:extLst>
                <a:ext uri="{FF2B5EF4-FFF2-40B4-BE49-F238E27FC236}">
                  <a16:creationId xmlns:a16="http://schemas.microsoft.com/office/drawing/2014/main" id="{E6B40260-1447-7EDA-DB93-7B760F770954}"/>
                </a:ext>
              </a:extLst>
            </p:cNvPr>
            <p:cNvSpPr/>
            <p:nvPr/>
          </p:nvSpPr>
          <p:spPr>
            <a:xfrm>
              <a:off x="5416248" y="1750819"/>
              <a:ext cx="648001" cy="197885"/>
            </a:xfrm>
            <a:prstGeom prst="rect">
              <a:avLst/>
            </a:prstGeom>
          </p:spPr>
          <p:txBody>
            <a:bodyPr wrap="square" lIns="0" rIns="0">
              <a:spAutoFit/>
            </a:bodyPr>
            <a:lstStyle/>
            <a:p>
              <a:pPr lvl="0" algn="ctr">
                <a:lnSpc>
                  <a:spcPct val="95000"/>
                </a:lnSpc>
                <a:spcAft>
                  <a:spcPts val="400"/>
                </a:spcAft>
                <a:buClr>
                  <a:srgbClr val="808080"/>
                </a:buClr>
                <a:defRPr/>
              </a:pPr>
              <a:r>
                <a:rPr lang="en-US" sz="1000" kern="0" dirty="0">
                  <a:solidFill>
                    <a:prstClr val="white"/>
                  </a:solidFill>
                  <a:latin typeface="Arial Narrow"/>
                </a:rPr>
                <a:t>- 8 dB(A) </a:t>
              </a:r>
              <a:r>
                <a:rPr lang="en-US" sz="1000" baseline="30000" dirty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)</a:t>
              </a:r>
              <a:r>
                <a:rPr lang="en-US" sz="1000" kern="0" dirty="0">
                  <a:solidFill>
                    <a:prstClr val="white"/>
                  </a:solidFill>
                  <a:latin typeface="Arial Narrow"/>
                </a:rPr>
                <a:t> </a:t>
              </a:r>
              <a:endParaRPr lang="en-US" sz="1000" kern="0" dirty="0">
                <a:solidFill>
                  <a:prstClr val="white"/>
                </a:solidFill>
                <a:latin typeface="Arial Narrow"/>
                <a:cs typeface="Arial" charset="0"/>
              </a:endParaRPr>
            </a:p>
          </p:txBody>
        </p:sp>
      </p:grpSp>
      <p:grpSp>
        <p:nvGrpSpPr>
          <p:cNvPr id="73" name="Gruppieren 27">
            <a:extLst>
              <a:ext uri="{FF2B5EF4-FFF2-40B4-BE49-F238E27FC236}">
                <a16:creationId xmlns:a16="http://schemas.microsoft.com/office/drawing/2014/main" id="{1FFF4F65-145B-F24F-DA34-8AD05733F521}"/>
              </a:ext>
            </a:extLst>
          </p:cNvPr>
          <p:cNvGrpSpPr/>
          <p:nvPr/>
        </p:nvGrpSpPr>
        <p:grpSpPr>
          <a:xfrm>
            <a:off x="8696342" y="3838360"/>
            <a:ext cx="1046606" cy="433937"/>
            <a:chOff x="5416248" y="1743966"/>
            <a:chExt cx="648001" cy="360000"/>
          </a:xfrm>
        </p:grpSpPr>
        <p:sp>
          <p:nvSpPr>
            <p:cNvPr id="74" name="Richtungspfeil 42">
              <a:extLst>
                <a:ext uri="{FF2B5EF4-FFF2-40B4-BE49-F238E27FC236}">
                  <a16:creationId xmlns:a16="http://schemas.microsoft.com/office/drawing/2014/main" id="{9A9336E7-F6C3-C260-3247-5A5496948B94}"/>
                </a:ext>
              </a:extLst>
            </p:cNvPr>
            <p:cNvSpPr/>
            <p:nvPr/>
          </p:nvSpPr>
          <p:spPr>
            <a:xfrm rot="5400000">
              <a:off x="5560248" y="1599966"/>
              <a:ext cx="360000" cy="648000"/>
            </a:xfrm>
            <a:prstGeom prst="homePlate">
              <a:avLst>
                <a:gd name="adj" fmla="val 33537"/>
              </a:avLst>
            </a:prstGeom>
            <a:solidFill>
              <a:srgbClr val="56748E">
                <a:lumMod val="75000"/>
              </a:srgbClr>
            </a:solidFill>
            <a:ln w="285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14400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400"/>
                </a:spcAft>
                <a:buClr>
                  <a:srgbClr val="808080"/>
                </a:buClr>
                <a:buSzTx/>
                <a:buFontTx/>
                <a:buNone/>
                <a:tabLst/>
                <a:defRPr/>
              </a:pPr>
              <a:endParaRPr kumimoji="0" lang="en-US" sz="16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+mn-ea"/>
                <a:cs typeface="Arial" charset="0"/>
              </a:endParaRPr>
            </a:p>
          </p:txBody>
        </p:sp>
        <p:sp>
          <p:nvSpPr>
            <p:cNvPr id="75" name="Rechteck 34">
              <a:extLst>
                <a:ext uri="{FF2B5EF4-FFF2-40B4-BE49-F238E27FC236}">
                  <a16:creationId xmlns:a16="http://schemas.microsoft.com/office/drawing/2014/main" id="{491F101E-844F-0BB9-B079-E7B21EECD31C}"/>
                </a:ext>
              </a:extLst>
            </p:cNvPr>
            <p:cNvSpPr/>
            <p:nvPr/>
          </p:nvSpPr>
          <p:spPr>
            <a:xfrm>
              <a:off x="5416248" y="1750819"/>
              <a:ext cx="648001" cy="197885"/>
            </a:xfrm>
            <a:prstGeom prst="rect">
              <a:avLst/>
            </a:prstGeom>
          </p:spPr>
          <p:txBody>
            <a:bodyPr wrap="square" lIns="0" rIns="0">
              <a:spAutoFit/>
            </a:bodyPr>
            <a:lstStyle/>
            <a:p>
              <a:pPr lvl="0" algn="ctr">
                <a:lnSpc>
                  <a:spcPct val="95000"/>
                </a:lnSpc>
                <a:spcAft>
                  <a:spcPts val="400"/>
                </a:spcAft>
                <a:buClr>
                  <a:srgbClr val="808080"/>
                </a:buClr>
                <a:defRPr/>
              </a:pPr>
              <a:r>
                <a:rPr lang="en-US" sz="1000" kern="0" dirty="0">
                  <a:solidFill>
                    <a:prstClr val="white"/>
                  </a:solidFill>
                  <a:latin typeface="Arial Narrow"/>
                </a:rPr>
                <a:t>- 6 dB(A) </a:t>
              </a:r>
              <a:endParaRPr lang="en-US" sz="1000" kern="0" dirty="0">
                <a:solidFill>
                  <a:prstClr val="white"/>
                </a:solidFill>
                <a:latin typeface="Arial Narrow"/>
                <a:cs typeface="Arial" charset="0"/>
              </a:endParaRPr>
            </a:p>
          </p:txBody>
        </p:sp>
      </p:grpSp>
      <p:grpSp>
        <p:nvGrpSpPr>
          <p:cNvPr id="76" name="Gruppieren 27">
            <a:extLst>
              <a:ext uri="{FF2B5EF4-FFF2-40B4-BE49-F238E27FC236}">
                <a16:creationId xmlns:a16="http://schemas.microsoft.com/office/drawing/2014/main" id="{C656A9B3-91F9-ECFE-DAA1-F06C82386224}"/>
              </a:ext>
            </a:extLst>
          </p:cNvPr>
          <p:cNvGrpSpPr/>
          <p:nvPr/>
        </p:nvGrpSpPr>
        <p:grpSpPr>
          <a:xfrm>
            <a:off x="10295994" y="3838359"/>
            <a:ext cx="1046606" cy="433937"/>
            <a:chOff x="5416248" y="1743966"/>
            <a:chExt cx="648001" cy="360000"/>
          </a:xfrm>
        </p:grpSpPr>
        <p:sp>
          <p:nvSpPr>
            <p:cNvPr id="77" name="Richtungspfeil 42">
              <a:extLst>
                <a:ext uri="{FF2B5EF4-FFF2-40B4-BE49-F238E27FC236}">
                  <a16:creationId xmlns:a16="http://schemas.microsoft.com/office/drawing/2014/main" id="{8D1AAD7C-1CB4-E2D8-CBF2-5E51D835E192}"/>
                </a:ext>
              </a:extLst>
            </p:cNvPr>
            <p:cNvSpPr/>
            <p:nvPr/>
          </p:nvSpPr>
          <p:spPr>
            <a:xfrm rot="5400000">
              <a:off x="5560248" y="1599966"/>
              <a:ext cx="360000" cy="648000"/>
            </a:xfrm>
            <a:prstGeom prst="homePlate">
              <a:avLst>
                <a:gd name="adj" fmla="val 33537"/>
              </a:avLst>
            </a:prstGeom>
            <a:solidFill>
              <a:srgbClr val="56748E">
                <a:lumMod val="75000"/>
              </a:srgbClr>
            </a:solidFill>
            <a:ln w="285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14400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400"/>
                </a:spcAft>
                <a:buClr>
                  <a:srgbClr val="808080"/>
                </a:buClr>
                <a:buSzTx/>
                <a:buFontTx/>
                <a:buNone/>
                <a:tabLst/>
                <a:defRPr/>
              </a:pPr>
              <a:endParaRPr kumimoji="0" lang="en-US" sz="16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+mn-ea"/>
                <a:cs typeface="Arial" charset="0"/>
              </a:endParaRPr>
            </a:p>
          </p:txBody>
        </p:sp>
        <p:sp>
          <p:nvSpPr>
            <p:cNvPr id="78" name="Rechteck 34">
              <a:extLst>
                <a:ext uri="{FF2B5EF4-FFF2-40B4-BE49-F238E27FC236}">
                  <a16:creationId xmlns:a16="http://schemas.microsoft.com/office/drawing/2014/main" id="{9D220963-639E-37B2-C105-39EBC7E6F176}"/>
                </a:ext>
              </a:extLst>
            </p:cNvPr>
            <p:cNvSpPr/>
            <p:nvPr/>
          </p:nvSpPr>
          <p:spPr>
            <a:xfrm>
              <a:off x="5416248" y="1750819"/>
              <a:ext cx="648001" cy="197885"/>
            </a:xfrm>
            <a:prstGeom prst="rect">
              <a:avLst/>
            </a:prstGeom>
          </p:spPr>
          <p:txBody>
            <a:bodyPr wrap="square" lIns="0" rIns="0">
              <a:spAutoFit/>
            </a:bodyPr>
            <a:lstStyle/>
            <a:p>
              <a:pPr lvl="0" algn="ctr">
                <a:lnSpc>
                  <a:spcPct val="95000"/>
                </a:lnSpc>
                <a:spcAft>
                  <a:spcPts val="400"/>
                </a:spcAft>
                <a:buClr>
                  <a:srgbClr val="808080"/>
                </a:buClr>
                <a:defRPr/>
              </a:pPr>
              <a:r>
                <a:rPr lang="en-US" sz="1000" kern="0" dirty="0">
                  <a:solidFill>
                    <a:prstClr val="white"/>
                  </a:solidFill>
                  <a:latin typeface="Arial Narrow"/>
                </a:rPr>
                <a:t>-9 dB(A) </a:t>
              </a:r>
              <a:endParaRPr lang="en-US" sz="1000" kern="0" dirty="0">
                <a:solidFill>
                  <a:prstClr val="white"/>
                </a:solidFill>
                <a:latin typeface="Arial Narrow"/>
                <a:cs typeface="Arial" charset="0"/>
              </a:endParaRPr>
            </a:p>
          </p:txBody>
        </p:sp>
      </p:grpSp>
      <p:sp>
        <p:nvSpPr>
          <p:cNvPr id="81" name="Textplatzhalter 2">
            <a:extLst>
              <a:ext uri="{FF2B5EF4-FFF2-40B4-BE49-F238E27FC236}">
                <a16:creationId xmlns:a16="http://schemas.microsoft.com/office/drawing/2014/main" id="{17B88C22-7BA9-7ABC-679D-763165FEA676}"/>
              </a:ext>
            </a:extLst>
          </p:cNvPr>
          <p:cNvSpPr txBox="1">
            <a:spLocks/>
          </p:cNvSpPr>
          <p:nvPr/>
        </p:nvSpPr>
        <p:spPr>
          <a:xfrm>
            <a:off x="468000" y="6089540"/>
            <a:ext cx="11252200" cy="501759"/>
          </a:xfrm>
        </p:spPr>
        <p:txBody>
          <a:bodyPr lIns="0" tIns="0" rIns="0" bIns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Font typeface="Arial" panose="020B0604020202020204" pitchFamily="34" charset="0"/>
              <a:buNone/>
              <a:defRPr lang="de-DE" sz="1400" i="1" kern="1200" spc="1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  <a:lvl2pPr marL="250775" indent="-250775" algn="l" rtl="0" eaLnBrk="1" fontAlgn="base" hangingPunct="1">
              <a:lnSpc>
                <a:spcPct val="110000"/>
              </a:lnSpc>
              <a:spcBef>
                <a:spcPts val="475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03138" indent="-250775" algn="l" rtl="0" eaLnBrk="1" fontAlgn="base" hangingPunct="1">
              <a:lnSpc>
                <a:spcPct val="110000"/>
              </a:lnSpc>
              <a:spcBef>
                <a:spcPts val="439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55499" indent="-250775" algn="l" rtl="0" eaLnBrk="1" fontAlgn="base" hangingPunct="1">
              <a:lnSpc>
                <a:spcPct val="110000"/>
              </a:lnSpc>
              <a:spcBef>
                <a:spcPts val="388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06274" indent="-250775" algn="l" rtl="0" eaLnBrk="1" fontAlgn="base" hangingPunct="1">
              <a:lnSpc>
                <a:spcPct val="110000"/>
              </a:lnSpc>
              <a:spcBef>
                <a:spcPts val="388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07798" indent="-251949" algn="l" defTabSz="914218" rtl="0" eaLnBrk="1" latinLnBrk="0" hangingPunct="1">
              <a:lnSpc>
                <a:spcPct val="110000"/>
              </a:lnSpc>
              <a:spcBef>
                <a:spcPts val="384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007798" indent="-251949" algn="l" defTabSz="914218" rtl="0" eaLnBrk="1" latinLnBrk="0" hangingPunct="1">
              <a:lnSpc>
                <a:spcPct val="110000"/>
              </a:lnSpc>
              <a:spcBef>
                <a:spcPts val="384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007798" indent="-251949" algn="l" defTabSz="914218" rtl="0" eaLnBrk="1" latinLnBrk="0" hangingPunct="1">
              <a:lnSpc>
                <a:spcPct val="110000"/>
              </a:lnSpc>
              <a:spcBef>
                <a:spcPts val="384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007798" indent="-251949" algn="l" defTabSz="914218" rtl="0" eaLnBrk="1" latinLnBrk="0" hangingPunct="1">
              <a:lnSpc>
                <a:spcPct val="110000"/>
              </a:lnSpc>
              <a:spcBef>
                <a:spcPts val="384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i="0" spc="0" baseline="30000" dirty="0">
                <a:solidFill>
                  <a:schemeClr val="tx1"/>
                </a:solidFill>
                <a:cs typeface="Calibri" panose="020F0502020204030204" pitchFamily="34" charset="0"/>
              </a:rPr>
              <a:t>1)</a:t>
            </a:r>
            <a:r>
              <a:rPr lang="en-US" dirty="0">
                <a:solidFill>
                  <a:schemeClr val="tx1"/>
                </a:solidFill>
              </a:rPr>
              <a:t> Peak efficiency up to…</a:t>
            </a:r>
            <a:br>
              <a:rPr lang="en-US" dirty="0">
                <a:solidFill>
                  <a:schemeClr val="tx1"/>
                </a:solidFill>
              </a:rPr>
            </a:br>
            <a:r>
              <a:rPr lang="en-US" i="0" spc="0" baseline="30000" dirty="0">
                <a:solidFill>
                  <a:schemeClr val="tx1"/>
                </a:solidFill>
                <a:cs typeface="Calibri" panose="020F0502020204030204" pitchFamily="34" charset="0"/>
              </a:rPr>
              <a:t>2)</a:t>
            </a:r>
            <a:r>
              <a:rPr lang="en-US" dirty="0">
                <a:solidFill>
                  <a:schemeClr val="tx1"/>
                </a:solidFill>
              </a:rPr>
              <a:t> Noise reduction compared to </a:t>
            </a:r>
            <a:r>
              <a:rPr lang="en-US" dirty="0" err="1">
                <a:solidFill>
                  <a:schemeClr val="tx1"/>
                </a:solidFill>
              </a:rPr>
              <a:t>HyBlade</a:t>
            </a:r>
            <a:r>
              <a:rPr lang="en-US" dirty="0">
                <a:solidFill>
                  <a:schemeClr val="tx1"/>
                </a:solidFill>
              </a:rPr>
              <a:t>® up to…</a:t>
            </a:r>
          </a:p>
        </p:txBody>
      </p:sp>
      <p:pic>
        <p:nvPicPr>
          <p:cNvPr id="82" name="Picture 6">
            <a:extLst>
              <a:ext uri="{FF2B5EF4-FFF2-40B4-BE49-F238E27FC236}">
                <a16:creationId xmlns:a16="http://schemas.microsoft.com/office/drawing/2014/main" id="{9D4B1F0A-6C35-413B-C5FC-44970D9C59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38653" y="5559463"/>
            <a:ext cx="1020540" cy="271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3" name="Picture 16" descr="D:\Users\vklemked\AppData\Local\Microsoft\Windows\Temporary Internet Files\Content.Outlook\DXG3D78R\ebm_12_logo_axitop_4c_frei.png">
            <a:extLst>
              <a:ext uri="{FF2B5EF4-FFF2-40B4-BE49-F238E27FC236}">
                <a16:creationId xmlns:a16="http://schemas.microsoft.com/office/drawing/2014/main" id="{B8BB6600-6485-5705-CC90-2BF3ED515E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8441" y="5585192"/>
            <a:ext cx="894339" cy="220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4" name="Textfeld 30">
            <a:extLst>
              <a:ext uri="{FF2B5EF4-FFF2-40B4-BE49-F238E27FC236}">
                <a16:creationId xmlns:a16="http://schemas.microsoft.com/office/drawing/2014/main" id="{18713712-A3E4-545A-DE75-EB440E58143F}"/>
              </a:ext>
            </a:extLst>
          </p:cNvPr>
          <p:cNvSpPr txBox="1"/>
          <p:nvPr/>
        </p:nvSpPr>
        <p:spPr>
          <a:xfrm>
            <a:off x="7117293" y="5510629"/>
            <a:ext cx="10246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srgbClr val="56748E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xi</a:t>
            </a: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Blade</a:t>
            </a:r>
            <a:endParaRPr kumimoji="0" lang="de-DE" sz="1800" b="1" i="0" u="none" strike="noStrike" kern="0" cap="none" spc="0" normalizeH="0" baseline="0" noProof="0" dirty="0">
              <a:ln>
                <a:noFill/>
              </a:ln>
              <a:solidFill>
                <a:srgbClr val="56748E">
                  <a:lumMod val="50000"/>
                </a:srgb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85" name="Textfeld 45">
            <a:extLst>
              <a:ext uri="{FF2B5EF4-FFF2-40B4-BE49-F238E27FC236}">
                <a16:creationId xmlns:a16="http://schemas.microsoft.com/office/drawing/2014/main" id="{F90ECEEB-32A4-FD06-0A06-056D4631DC43}"/>
              </a:ext>
            </a:extLst>
          </p:cNvPr>
          <p:cNvSpPr txBox="1"/>
          <p:nvPr/>
        </p:nvSpPr>
        <p:spPr>
          <a:xfrm>
            <a:off x="8810719" y="5510629"/>
            <a:ext cx="8178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srgbClr val="56748E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xi</a:t>
            </a: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co</a:t>
            </a:r>
            <a:endParaRPr kumimoji="0" lang="de-DE" sz="1800" b="1" i="0" u="none" strike="noStrike" kern="0" cap="none" spc="0" normalizeH="0" baseline="0" noProof="0" dirty="0">
              <a:ln>
                <a:noFill/>
              </a:ln>
              <a:solidFill>
                <a:srgbClr val="56748E">
                  <a:lumMod val="50000"/>
                </a:srgb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86" name="Textfeld 53">
            <a:extLst>
              <a:ext uri="{FF2B5EF4-FFF2-40B4-BE49-F238E27FC236}">
                <a16:creationId xmlns:a16="http://schemas.microsoft.com/office/drawing/2014/main" id="{A94C22D2-01F6-F214-D84C-9257E507F149}"/>
              </a:ext>
            </a:extLst>
          </p:cNvPr>
          <p:cNvSpPr txBox="1"/>
          <p:nvPr/>
        </p:nvSpPr>
        <p:spPr>
          <a:xfrm>
            <a:off x="9886991" y="5510629"/>
            <a:ext cx="1864613" cy="369332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srgbClr val="56748E">
                    <a:lumMod val="50000"/>
                  </a:srgbClr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Axi</a:t>
            </a: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Blade</a:t>
            </a:r>
            <a:r>
              <a:rPr lang="de-DE" b="1" kern="0" dirty="0">
                <a:solidFill>
                  <a:srgbClr val="0070C0"/>
                </a:solidFill>
                <a:latin typeface="Calibri"/>
                <a:ea typeface="Calibri"/>
                <a:cs typeface="Calibri"/>
              </a:rPr>
              <a:t>.</a:t>
            </a: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Perform</a:t>
            </a:r>
          </a:p>
        </p:txBody>
      </p:sp>
    </p:spTree>
    <p:extLst>
      <p:ext uri="{BB962C8B-B14F-4D97-AF65-F5344CB8AC3E}">
        <p14:creationId xmlns:p14="http://schemas.microsoft.com/office/powerpoint/2010/main" val="3913716171"/>
      </p:ext>
    </p:extLst>
  </p:cSld>
  <p:clrMapOvr>
    <a:masterClrMapping/>
  </p:clrMapOvr>
  <p:transition spd="slow">
    <p:push dir="u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solidFill>
            <a:schemeClr val="accent2"/>
          </a:solidFill>
        </p:spPr>
        <p:txBody>
          <a:bodyPr/>
          <a:lstStyle/>
          <a:p>
            <a:r>
              <a:rPr lang="cs-CZ" dirty="0"/>
              <a:t>Proč měnit radiální ventilátory?</a:t>
            </a:r>
            <a:endParaRPr lang="en-US" dirty="0"/>
          </a:p>
        </p:txBody>
      </p:sp>
      <p:pic>
        <p:nvPicPr>
          <p:cNvPr id="3" name="Grafik 2" descr="Ein Bild, das Text, Zeichnung, Cartoon, Kunst enthält.&#10;&#10;Automatisch generierte Beschreibung">
            <a:extLst>
              <a:ext uri="{FF2B5EF4-FFF2-40B4-BE49-F238E27FC236}">
                <a16:creationId xmlns:a16="http://schemas.microsoft.com/office/drawing/2014/main" id="{820CF616-D226-8121-180C-5EED3E9E37BC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3242" b="18590"/>
          <a:stretch>
            <a:fillRect/>
          </a:stretch>
        </p:blipFill>
        <p:spPr>
          <a:xfrm>
            <a:off x="5887" y="1122363"/>
            <a:ext cx="12180225" cy="5735637"/>
          </a:xfrm>
          <a:prstGeom prst="rect">
            <a:avLst/>
          </a:prstGeom>
        </p:spPr>
      </p:pic>
      <p:sp>
        <p:nvSpPr>
          <p:cNvPr id="5" name="TextovéPole 4">
            <a:extLst>
              <a:ext uri="{FF2B5EF4-FFF2-40B4-BE49-F238E27FC236}">
                <a16:creationId xmlns:a16="http://schemas.microsoft.com/office/drawing/2014/main" id="{F2868D56-C45A-E7E7-D20E-FFB7CB9F6851}"/>
              </a:ext>
            </a:extLst>
          </p:cNvPr>
          <p:cNvSpPr txBox="1"/>
          <p:nvPr/>
        </p:nvSpPr>
        <p:spPr bwMode="gray">
          <a:xfrm>
            <a:off x="575733" y="1273386"/>
            <a:ext cx="4131734" cy="6096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1000"/>
              </a:spcBef>
            </a:pPr>
            <a:r>
              <a:rPr lang="cs-CZ" sz="2000" b="1" dirty="0">
                <a:solidFill>
                  <a:prstClr val="black"/>
                </a:solidFill>
                <a:latin typeface="Corbel" pitchFamily="34" charset="0"/>
                <a:cs typeface="Arial" panose="020B0604020202020204" pitchFamily="34" charset="0"/>
              </a:rPr>
              <a:t>Vývoj radiálních ventilátorů</a:t>
            </a:r>
          </a:p>
          <a:p>
            <a:pPr>
              <a:lnSpc>
                <a:spcPct val="110000"/>
              </a:lnSpc>
              <a:spcBef>
                <a:spcPts val="1000"/>
              </a:spcBef>
            </a:pPr>
            <a:endParaRPr lang="cs-CZ" sz="2000" dirty="0">
              <a:solidFill>
                <a:prstClr val="black"/>
              </a:solidFill>
              <a:latin typeface="Corbel" pitchFamily="34" charset="0"/>
              <a:cs typeface="Arial" panose="020B0604020202020204" pitchFamily="34" charset="0"/>
            </a:endParaRP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DB9C5516-451D-AFD5-563A-F9284FEFD886}"/>
              </a:ext>
            </a:extLst>
          </p:cNvPr>
          <p:cNvSpPr txBox="1"/>
          <p:nvPr/>
        </p:nvSpPr>
        <p:spPr bwMode="gray">
          <a:xfrm>
            <a:off x="772675" y="5357707"/>
            <a:ext cx="3826418" cy="54864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1000"/>
              </a:spcBef>
            </a:pPr>
            <a:r>
              <a:rPr lang="cs-CZ" sz="2000" dirty="0">
                <a:solidFill>
                  <a:prstClr val="black"/>
                </a:solidFill>
                <a:latin typeface="Corbel" pitchFamily="34" charset="0"/>
                <a:cs typeface="Arial" panose="020B0604020202020204" pitchFamily="34" charset="0"/>
              </a:rPr>
              <a:t>10.800 m</a:t>
            </a:r>
            <a:r>
              <a:rPr lang="cs-CZ" sz="2000" baseline="30000" dirty="0">
                <a:solidFill>
                  <a:prstClr val="black"/>
                </a:solidFill>
                <a:latin typeface="Corbel" pitchFamily="34" charset="0"/>
                <a:cs typeface="Arial" panose="020B0604020202020204" pitchFamily="34" charset="0"/>
              </a:rPr>
              <a:t>3</a:t>
            </a:r>
            <a:r>
              <a:rPr lang="cs-CZ" sz="2000" dirty="0">
                <a:solidFill>
                  <a:prstClr val="black"/>
                </a:solidFill>
                <a:latin typeface="Corbel" pitchFamily="34" charset="0"/>
                <a:cs typeface="Arial" panose="020B0604020202020204" pitchFamily="34" charset="0"/>
              </a:rPr>
              <a:t>/h </a:t>
            </a:r>
            <a:r>
              <a:rPr lang="cs-CZ" sz="2000" dirty="0">
                <a:solidFill>
                  <a:prstClr val="black"/>
                </a:solidFill>
                <a:latin typeface="Consolas" panose="020B0609020204030204" pitchFamily="49" charset="0"/>
                <a:cs typeface="Arial" panose="020B0604020202020204" pitchFamily="34" charset="0"/>
              </a:rPr>
              <a:t>~</a:t>
            </a:r>
            <a:r>
              <a:rPr lang="cs-CZ" sz="2000" dirty="0">
                <a:solidFill>
                  <a:prstClr val="black"/>
                </a:solidFill>
                <a:latin typeface="Corbel" pitchFamily="34" charset="0"/>
                <a:cs typeface="Arial" panose="020B0604020202020204" pitchFamily="34" charset="0"/>
              </a:rPr>
              <a:t> 1000 Pa;  výkon = 3kW</a:t>
            </a:r>
          </a:p>
          <a:p>
            <a:pPr>
              <a:lnSpc>
                <a:spcPct val="110000"/>
              </a:lnSpc>
              <a:spcBef>
                <a:spcPts val="1000"/>
              </a:spcBef>
            </a:pPr>
            <a:endParaRPr lang="cs-CZ" sz="2000" dirty="0">
              <a:solidFill>
                <a:prstClr val="black"/>
              </a:solidFill>
              <a:latin typeface="Corbel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1598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VU"/>
  <p:tag name="EE4P_MAPWIZARD_HEADINGS" val="Admin 0\Continent\UN Region\UN Sub Region"/>
  <p:tag name="EE4P_MAPWIZARD" val="Vanuatu\Oceania\Oceania\Melanesi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PL"/>
  <p:tag name="EE4P_MAPWIZARD_HEADINGS" val="Admin 0\Continent\UN Region\UN Sub Region"/>
  <p:tag name="EE4P_MAPWIZARD" val="Poland\Europe\Europe\Eastern Europ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PT"/>
  <p:tag name="EE4P_MAPWIZARD_HEADINGS" val="Admin 0\Continent\UN Region\UN Sub Region"/>
  <p:tag name="EE4P_MAPWIZARD" val="Portugal\Europe\Europe\Southern Europ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PT"/>
  <p:tag name="EE4P_MAPWIZARD_HEADINGS" val="Admin 0\Continent\UN Region\UN Sub Region"/>
  <p:tag name="EE4P_MAPWIZARD" val="Portugal\Europe\Europe\Southern Europ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RO"/>
  <p:tag name="EE4P_MAPWIZARD_HEADINGS" val="Admin 0\Continent\UN Region\UN Sub Region"/>
  <p:tag name="EE4P_MAPWIZARD" val="Romania\Europe\Europe\Eastern Europ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IT"/>
  <p:tag name="EE4P_MAPWIZARD_HEADINGS" val="Admin 0\Continent\UN Region\UN Sub Region"/>
  <p:tag name="EE4P_MAPWIZARD" val="Italy\Europe\Europe\Southern Europ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RS"/>
  <p:tag name="EE4P_MAPWIZARD_HEADINGS" val="Admin 0\Continent\UN Region\UN Sub Region"/>
  <p:tag name="EE4P_MAPWIZARD" val="Republic of Serbia\Europe\Europe\Southern Europ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K"/>
  <p:tag name="EE4P_MAPWIZARD_HEADINGS" val="Admin 0\Continent\UN Region\UN Sub Region"/>
  <p:tag name="EE4P_MAPWIZARD" val="Slovakia\Europe\Europe\Eastern Europ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I"/>
  <p:tag name="EE4P_MAPWIZARD_HEADINGS" val="Admin 0\Continent\UN Region\UN Sub Region"/>
  <p:tag name="EE4P_MAPWIZARD" val="Slovenia\Europe\Europe\Southern Europ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E"/>
  <p:tag name="EE4P_MAPWIZARD_HEADINGS" val="Admin 0\Continent\UN Region\UN Sub Region"/>
  <p:tag name="EE4P_MAPWIZARD" val="Sweden\Europe\Europe\Northern Europ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UA"/>
  <p:tag name="EE4P_MAPWIZARD_HEADINGS" val="Admin 0\Continent\UN Region\UN Sub Region"/>
  <p:tag name="EE4P_MAPWIZARD" val="Ukraine\Europe\Europe\Eastern Europ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F"/>
  <p:tag name="EE4P_MAPWIZARD_HEADINGS" val="Admin 0\Continent\UN Region\UN Sub Region"/>
  <p:tag name="EE4P_MAPWIZARD" val="Afghanistan\Asia\Asia\Southern Asi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VA"/>
  <p:tag name="EE4P_MAPWIZARD_HEADINGS" val="Admin 0\Continent\UN Region\UN Sub Region"/>
  <p:tag name="EE4P_MAPWIZARD" val="Vatican\Europe\Europe\Southern Europ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O"/>
  <p:tag name="EE4P_MAPWIZARD_HEADINGS" val="Admin 0\Continent\UN Region\UN Sub Region"/>
  <p:tag name="EE4P_MAPWIZARD" val="Angola\Africa\Africa\Middle Afric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I"/>
  <p:tag name="EE4P_MAPWIZARD_HEADINGS" val="Admin 0\Continent\UN Region\UN Sub Region"/>
  <p:tag name="EE4P_MAPWIZARD" val="Burundi\Africa\Africa\Eastern Afric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J"/>
  <p:tag name="EE4P_MAPWIZARD_HEADINGS" val="Admin 0\Continent\UN Region\UN Sub Region"/>
  <p:tag name="EE4P_MAPWIZARD" val="Benin\Africa\Africa\Western Afric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F"/>
  <p:tag name="EE4P_MAPWIZARD_HEADINGS" val="Admin 0\Continent\UN Region\UN Sub Region"/>
  <p:tag name="EE4P_MAPWIZARD" val="Burkina Faso\Africa\Africa\Western Afric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W"/>
  <p:tag name="EE4P_MAPWIZARD_HEADINGS" val="Admin 0\Continent\UN Region\UN Sub Region"/>
  <p:tag name="EE4P_MAPWIZARD" val="Botswana\Africa\Africa\Southern Afric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F"/>
  <p:tag name="EE4P_MAPWIZARD_HEADINGS" val="Admin 0\Continent\UN Region\UN Sub Region"/>
  <p:tag name="EE4P_MAPWIZARD" val="Central African Republic\Africa\Africa\Middle Afric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I"/>
  <p:tag name="EE4P_MAPWIZARD_HEADINGS" val="Admin 0\Continent\UN Region\UN Sub Region"/>
  <p:tag name="EE4P_MAPWIZARD" val="Ivory Coast\Africa\Africa\Western Afric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M"/>
  <p:tag name="EE4P_MAPWIZARD_HEADINGS" val="Admin 0\Continent\UN Region\UN Sub Region"/>
  <p:tag name="EE4P_MAPWIZARD" val="Cameroon\Africa\Africa\Middle Afric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D"/>
  <p:tag name="EE4P_MAPWIZARD_HEADINGS" val="Admin 0\Continent\UN Region\UN Sub Region"/>
  <p:tag name="EE4P_MAPWIZARD" val="Democratic Republic of the Congo\Africa\Africa\Middle Afric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E"/>
  <p:tag name="EE4P_MAPWIZARD_HEADINGS" val="Admin 0\Continent\UN Region\UN Sub Region"/>
  <p:tag name="EE4P_MAPWIZARD" val="United Arab Emirates\Asia\Asia\Western Asi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G"/>
  <p:tag name="EE4P_MAPWIZARD_HEADINGS" val="Admin 0\Continent\UN Region\UN Sub Region"/>
  <p:tag name="EE4P_MAPWIZARD" val="Republic of Congo\Africa\Africa\Middle Afric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KM"/>
  <p:tag name="EE4P_MAPWIZARD_HEADINGS" val="Admin 0\Continent\UN Region\UN Sub Region"/>
  <p:tag name="EE4P_MAPWIZARD" val="Comoros\Africa\Africa\Eastern Afric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V"/>
  <p:tag name="EE4P_MAPWIZARD_HEADINGS" val="Admin 0\Continent\UN Region\UN Sub Region"/>
  <p:tag name="EE4P_MAPWIZARD" val="Cape Verde\Africa\Africa\Western Afric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DJ"/>
  <p:tag name="EE4P_MAPWIZARD_HEADINGS" val="Admin 0\Continent\UN Region\UN Sub Region"/>
  <p:tag name="EE4P_MAPWIZARD" val="Djibouti\Africa\Africa\Eastern Afric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DZ"/>
  <p:tag name="EE4P_MAPWIZARD_HEADINGS" val="Admin 0\Continent\UN Region\UN Sub Region"/>
  <p:tag name="EE4P_MAPWIZARD" val="Algeria\Africa\Africa\Northern Afric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G"/>
  <p:tag name="EE4P_MAPWIZARD_HEADINGS" val="Admin 0\Continent\UN Region\UN Sub Region"/>
  <p:tag name="EE4P_MAPWIZARD" val="Egypt\Africa\Africa\Northern Afric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R"/>
  <p:tag name="EE4P_MAPWIZARD_HEADINGS" val="Admin 0\Continent\UN Region\UN Sub Region"/>
  <p:tag name="EE4P_MAPWIZARD" val="Eritrea\Africa\Africa\Eastern Afric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T"/>
  <p:tag name="EE4P_MAPWIZARD_HEADINGS" val="Admin 0\Continent\UN Region\UN Sub Region"/>
  <p:tag name="EE4P_MAPWIZARD" val="Ethiopia\Africa\Africa\Eastern Afric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A"/>
  <p:tag name="EE4P_MAPWIZARD_HEADINGS" val="Admin 0\Continent\UN Region\UN Sub Region"/>
  <p:tag name="EE4P_MAPWIZARD" val="Gabon\Africa\Africa\Middle Afric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H"/>
  <p:tag name="EE4P_MAPWIZARD_HEADINGS" val="Admin 0\Continent\UN Region\UN Sub Region"/>
  <p:tag name="EE4P_MAPWIZARD" val="Ghana\Africa\Africa\Western Afric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M"/>
  <p:tag name="EE4P_MAPWIZARD_HEADINGS" val="Admin 0\Continent\UN Region\UN Sub Region"/>
  <p:tag name="EE4P_MAPWIZARD" val="Armenia\Asia\Asia\Western Asi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N"/>
  <p:tag name="EE4P_MAPWIZARD_HEADINGS" val="Admin 0\Continent\UN Region\UN Sub Region"/>
  <p:tag name="EE4P_MAPWIZARD" val="Guinea\Africa\Africa\Western Afric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M"/>
  <p:tag name="EE4P_MAPWIZARD_HEADINGS" val="Admin 0\Continent\UN Region\UN Sub Region"/>
  <p:tag name="EE4P_MAPWIZARD" val="Gambia\Africa\Africa\Western Afric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W"/>
  <p:tag name="EE4P_MAPWIZARD_HEADINGS" val="Admin 0\Continent\UN Region\UN Sub Region"/>
  <p:tag name="EE4P_MAPWIZARD" val="Guinea Bissau\Africa\Africa\Western Afric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Q"/>
  <p:tag name="EE4P_MAPWIZARD_HEADINGS" val="Admin 0\Continent\UN Region\UN Sub Region"/>
  <p:tag name="EE4P_MAPWIZARD" val="Equatorial Guinea\Africa\Africa\Middle Afric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KE"/>
  <p:tag name="EE4P_MAPWIZARD_HEADINGS" val="Admin 0\Continent\UN Region\UN Sub Region"/>
  <p:tag name="EE4P_MAPWIZARD" val="Kenya\Africa\Africa\Eastern Afric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R"/>
  <p:tag name="EE4P_MAPWIZARD_HEADINGS" val="Admin 0\Continent\UN Region\UN Sub Region"/>
  <p:tag name="EE4P_MAPWIZARD" val="Liberia\Africa\Africa\Western Afric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Y"/>
  <p:tag name="EE4P_MAPWIZARD_HEADINGS" val="Admin 0\Continent\UN Region\UN Sub Region"/>
  <p:tag name="EE4P_MAPWIZARD" val="Libya\Africa\Africa\Northern Afric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S"/>
  <p:tag name="EE4P_MAPWIZARD_HEADINGS" val="Admin 0\Continent\UN Region\UN Sub Region"/>
  <p:tag name="EE4P_MAPWIZARD" val="Lesotho\Africa\Africa\Southern Afric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A"/>
  <p:tag name="EE4P_MAPWIZARD_HEADINGS" val="Admin 0\Continent\UN Region\UN Sub Region"/>
  <p:tag name="EE4P_MAPWIZARD" val="Morocco\Africa\Africa\Northern Afric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G"/>
  <p:tag name="EE4P_MAPWIZARD_HEADINGS" val="Admin 0\Continent\UN Region\UN Sub Region"/>
  <p:tag name="EE4P_MAPWIZARD" val="Madagascar\Africa\Africa\Eastern Afric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Z"/>
  <p:tag name="EE4P_MAPWIZARD_HEADINGS" val="Admin 0\Continent\UN Region\UN Sub Region"/>
  <p:tag name="EE4P_MAPWIZARD" val="Azerbaijan\Asia\Asia\Western Asi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L"/>
  <p:tag name="EE4P_MAPWIZARD_HEADINGS" val="Admin 0\Continent\UN Region\UN Sub Region"/>
  <p:tag name="EE4P_MAPWIZARD" val="Mali\Africa\Africa\Western Afric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Z"/>
  <p:tag name="EE4P_MAPWIZARD_HEADINGS" val="Admin 0\Continent\UN Region\UN Sub Region"/>
  <p:tag name="EE4P_MAPWIZARD" val="Mozambique\Africa\Africa\Eastern Afric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R"/>
  <p:tag name="EE4P_MAPWIZARD_HEADINGS" val="Admin 0\Continent\UN Region\UN Sub Region"/>
  <p:tag name="EE4P_MAPWIZARD" val="Mauritania\Africa\Africa\Western Afric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U"/>
  <p:tag name="EE4P_MAPWIZARD_HEADINGS" val="Admin 0\Continent\UN Region\UN Sub Region"/>
  <p:tag name="EE4P_MAPWIZARD" val="Mauritius\Seven seas (open ocean)\Africa\Eastern Afric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W"/>
  <p:tag name="EE4P_MAPWIZARD_HEADINGS" val="Admin 0\Continent\UN Region\UN Sub Region"/>
  <p:tag name="EE4P_MAPWIZARD" val="Malawi\Africa\Africa\Eastern Afric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A"/>
  <p:tag name="EE4P_MAPWIZARD_HEADINGS" val="Admin 0\Continent\UN Region\UN Sub Region"/>
  <p:tag name="EE4P_MAPWIZARD" val="Namibia\Africa\Africa\Southern Afric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E"/>
  <p:tag name="EE4P_MAPWIZARD_HEADINGS" val="Admin 0\Continent\UN Region\UN Sub Region"/>
  <p:tag name="EE4P_MAPWIZARD" val="Niger\Africa\Africa\Western Afric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G"/>
  <p:tag name="EE4P_MAPWIZARD_HEADINGS" val="Admin 0\Continent\UN Region\UN Sub Region"/>
  <p:tag name="EE4P_MAPWIZARD" val="Nigeria\Africa\Africa\Western Afric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RW"/>
  <p:tag name="EE4P_MAPWIZARD_HEADINGS" val="Admin 0\Continent\UN Region\UN Sub Region"/>
  <p:tag name="EE4P_MAPWIZARD" val="Rwanda\Africa\Africa\Eastern Afric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H"/>
  <p:tag name="EE4P_MAPWIZARD_HEADINGS" val="Admin 0\Continent\UN Region\UN Sub Region"/>
  <p:tag name="EE4P_MAPWIZARD" val="Western Sahara\Africa\Africa\Northern Afric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D"/>
  <p:tag name="EE4P_MAPWIZARD_HEADINGS" val="Admin 0\Continent\UN Region\UN Sub Region"/>
  <p:tag name="EE4P_MAPWIZARD" val="Bangladesh\Asia\Asia\Southern Asi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D"/>
  <p:tag name="EE4P_MAPWIZARD_HEADINGS" val="Admin 0\Continent\UN Region\UN Sub Region"/>
  <p:tag name="EE4P_MAPWIZARD" val="Sudan\Africa\Africa\Northern Afric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S"/>
  <p:tag name="EE4P_MAPWIZARD_HEADINGS" val="Admin 0\Continent\UN Region\UN Sub Region"/>
  <p:tag name="EE4P_MAPWIZARD" val="South Sudan\Africa\Africa\Eastern Afric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N"/>
  <p:tag name="EE4P_MAPWIZARD_HEADINGS" val="Admin 0\Continent\UN Region\UN Sub Region"/>
  <p:tag name="EE4P_MAPWIZARD" val="Senegal\Africa\Africa\Western Afric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L"/>
  <p:tag name="EE4P_MAPWIZARD_HEADINGS" val="Admin 0\Continent\UN Region\UN Sub Region"/>
  <p:tag name="EE4P_MAPWIZARD" val="Sierra Leone\Africa\Africa\Western Afric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O"/>
  <p:tag name="EE4P_MAPWIZARD_HEADINGS" val="Admin 0\Continent\UN Region\UN Sub Region"/>
  <p:tag name="EE4P_MAPWIZARD" val="Somalia\Africa\Africa\Eastern Afric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T"/>
  <p:tag name="EE4P_MAPWIZARD_HEADINGS" val="Admin 0\Continent\UN Region\UN Sub Region"/>
  <p:tag name="EE4P_MAPWIZARD" val="Sao Tome and Principe\Africa\Africa\Middle Afric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Z"/>
  <p:tag name="EE4P_MAPWIZARD_HEADINGS" val="Admin 0\Continent\UN Region\UN Sub Region"/>
  <p:tag name="EE4P_MAPWIZARD" val="Swaziland\Africa\Africa\Southern Afric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D"/>
  <p:tag name="EE4P_MAPWIZARD_HEADINGS" val="Admin 0\Continent\UN Region\UN Sub Region"/>
  <p:tag name="EE4P_MAPWIZARD" val="Chad\Africa\Africa\Middle Afric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G"/>
  <p:tag name="EE4P_MAPWIZARD_HEADINGS" val="Admin 0\Continent\UN Region\UN Sub Region"/>
  <p:tag name="EE4P_MAPWIZARD" val="Togo\Africa\Africa\Western Afric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N"/>
  <p:tag name="EE4P_MAPWIZARD_HEADINGS" val="Admin 0\Continent\UN Region\UN Sub Region"/>
  <p:tag name="EE4P_MAPWIZARD" val="Tunisia\Africa\Africa\Northern Afric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H"/>
  <p:tag name="EE4P_MAPWIZARD_HEADINGS" val="Admin 0\Continent\UN Region\UN Sub Region"/>
  <p:tag name="EE4P_MAPWIZARD" val="Bahrain\Asia\Asia\Western Asi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Z"/>
  <p:tag name="EE4P_MAPWIZARD_HEADINGS" val="Admin 0\Continent\UN Region\UN Sub Region"/>
  <p:tag name="EE4P_MAPWIZARD" val="United Republic of Tanzania\Africa\Africa\Eastern Afric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UG"/>
  <p:tag name="EE4P_MAPWIZARD_HEADINGS" val="Admin 0\Continent\UN Region\UN Sub Region"/>
  <p:tag name="EE4P_MAPWIZARD" val="Uganda\Africa\Africa\Eastern Afric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ZA"/>
  <p:tag name="EE4P_MAPWIZARD_HEADINGS" val="Admin 0\Continent\UN Region\UN Sub Region"/>
  <p:tag name="EE4P_MAPWIZARD" val="South Africa\Africa\Africa\Southern Afric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ZM"/>
  <p:tag name="EE4P_MAPWIZARD_HEADINGS" val="Admin 0\Continent\UN Region\UN Sub Region"/>
  <p:tag name="EE4P_MAPWIZARD" val="Zambia\Africa\Africa\Eastern Afric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ZW"/>
  <p:tag name="EE4P_MAPWIZARD_HEADINGS" val="Admin 0\Continent\UN Region\UN Sub Region"/>
  <p:tag name="EE4P_MAPWIZARD" val="Zimbabwe\Africa\Africa\Eastern Afric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IC"/>
  <p:tag name="EE4P_MAPWIZARD_HEADINGS" val="Admin 0\Continent\UN Region\UN Sub Region"/>
  <p:tag name="EE4P_MAPWIZARD" val="Canary Islands\Africa\Europe\Southern Europ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RE"/>
  <p:tag name="EE4P_MAPWIZARD_HEADINGS" val="Admin 0\Continent\UN Region\UN Sub Region"/>
  <p:tag name="EE4P_MAPWIZARD" val="Reunion\Africa\Europe\Western Europ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YT"/>
  <p:tag name="EE4P_MAPWIZARD_HEADINGS" val="Admin 0\Continent\UN Region\UN Sub Region"/>
  <p:tag name="EE4P_MAPWIZARD" val="Mayotte\Africa\Europe\Western Europ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R"/>
  <p:tag name="EE4P_MAPWIZARD_HEADINGS" val="Admin 0\Continent\UN Region\UN Sub Region"/>
  <p:tag name="EE4P_MAPWIZARD" val="Argentina\South America\Americas\South Americ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G"/>
  <p:tag name="EE4P_MAPWIZARD_HEADINGS" val="Admin 0\Continent\UN Region\UN Sub Region"/>
  <p:tag name="EE4P_MAPWIZARD" val="Antigua and Barbuda\North America\Americas\Caribbean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N"/>
  <p:tag name="EE4P_MAPWIZARD_HEADINGS" val="Admin 0\Continent\UN Region\UN Sub Region"/>
  <p:tag name="EE4P_MAPWIZARD" val="Brunei\Asia\Asia\South-Eastern Asi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S"/>
  <p:tag name="EE4P_MAPWIZARD_HEADINGS" val="Admin 0\Continent\UN Region\UN Sub Region"/>
  <p:tag name="EE4P_MAPWIZARD" val="The Bahamas\North America\Americas\Caribbean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Z"/>
  <p:tag name="EE4P_MAPWIZARD_HEADINGS" val="Admin 0\Continent\UN Region\UN Sub Region"/>
  <p:tag name="EE4P_MAPWIZARD" val="Belize\North America\Americas\Central Americ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O"/>
  <p:tag name="EE4P_MAPWIZARD_HEADINGS" val="Admin 0\Continent\UN Region\UN Sub Region"/>
  <p:tag name="EE4P_MAPWIZARD" val="Bolivia\South America\Americas\South Americ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R"/>
  <p:tag name="EE4P_MAPWIZARD_HEADINGS" val="Admin 0\Continent\UN Region\UN Sub Region"/>
  <p:tag name="EE4P_MAPWIZARD" val="Brazil\South America\Americas\South Americ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B"/>
  <p:tag name="EE4P_MAPWIZARD_HEADINGS" val="Admin 0\Continent\UN Region\UN Sub Region"/>
  <p:tag name="EE4P_MAPWIZARD" val="Barbados\North America\Americas\Caribbean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A"/>
  <p:tag name="EE4P_MAPWIZARD_HEADINGS" val="Admin 0\Continent\UN Region\UN Sub Region"/>
  <p:tag name="EE4P_MAPWIZARD" val="Canada\North America\Americas\Northern Americ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L"/>
  <p:tag name="EE4P_MAPWIZARD_HEADINGS" val="Admin 0\Continent\UN Region\UN Sub Region"/>
  <p:tag name="EE4P_MAPWIZARD" val="Chile\South America\Americas\South Americ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O"/>
  <p:tag name="EE4P_MAPWIZARD_HEADINGS" val="Admin 0\Continent\UN Region\UN Sub Region"/>
  <p:tag name="EE4P_MAPWIZARD" val="Colombia\South America\Americas\South Americ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R"/>
  <p:tag name="EE4P_MAPWIZARD_HEADINGS" val="Admin 0\Continent\UN Region\UN Sub Region"/>
  <p:tag name="EE4P_MAPWIZARD" val="Costa Rica\North America\Americas\Central America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U"/>
  <p:tag name="EE4P_MAPWIZARD_HEADINGS" val="Admin 0\Continent\UN Region\UN Sub Region"/>
  <p:tag name="EE4P_MAPWIZARD" val="Cuba\North America\Americas\Caribbea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T"/>
  <p:tag name="EE4P_MAPWIZARD_HEADINGS" val="Admin 0\Continent\UN Region\UN Sub Region"/>
  <p:tag name="EE4P_MAPWIZARD" val="Bhutan\Asia\Asia\Southern Asi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DM"/>
  <p:tag name="EE4P_MAPWIZARD_HEADINGS" val="Admin 0\Continent\UN Region\UN Sub Region"/>
  <p:tag name="EE4P_MAPWIZARD" val="Dominica\North America\Americas\Caribbean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DO"/>
  <p:tag name="EE4P_MAPWIZARD_HEADINGS" val="Admin 0\Continent\UN Region\UN Sub Region"/>
  <p:tag name="EE4P_MAPWIZARD" val="Dominican Republic\North America\Americas\Caribbean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C"/>
  <p:tag name="EE4P_MAPWIZARD_HEADINGS" val="Admin 0\Continent\UN Region\UN Sub Region"/>
  <p:tag name="EE4P_MAPWIZARD" val="Ecuador\South America\Americas\South America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F"/>
  <p:tag name="EE4P_MAPWIZARD_HEADINGS" val="Admin 0\Continent\UN Region\UN Sub Region"/>
  <p:tag name="EE4P_MAPWIZARD" val="French Guiana\South America\Europe\Western Europ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FK"/>
  <p:tag name="EE4P_MAPWIZARD_HEADINGS" val="Admin 0\Continent\UN Region\UN Sub Region"/>
  <p:tag name="EE4P_MAPWIZARD" val="Falkland Islands\South America\Europe\Northern Europ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D"/>
  <p:tag name="EE4P_MAPWIZARD_HEADINGS" val="Admin 0\Continent\UN Region\UN Sub Region"/>
  <p:tag name="EE4P_MAPWIZARD" val="Grenada\North America\Americas\Caribbean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T"/>
  <p:tag name="EE4P_MAPWIZARD_HEADINGS" val="Admin 0\Continent\UN Region\UN Sub Region"/>
  <p:tag name="EE4P_MAPWIZARD" val="Guatemala\North America\Americas\Central Americ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Y"/>
  <p:tag name="EE4P_MAPWIZARD_HEADINGS" val="Admin 0\Continent\UN Region\UN Sub Region"/>
  <p:tag name="EE4P_MAPWIZARD" val="Guyana\South America\Americas\South Americ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HN"/>
  <p:tag name="EE4P_MAPWIZARD_HEADINGS" val="Admin 0\Continent\UN Region\UN Sub Region"/>
  <p:tag name="EE4P_MAPWIZARD" val="Honduras\North America\Americas\Central Americ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HT"/>
  <p:tag name="EE4P_MAPWIZARD_HEADINGS" val="Admin 0\Continent\UN Region\UN Sub Region"/>
  <p:tag name="EE4P_MAPWIZARD" val="Haiti\North America\Americas\Caribbean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N"/>
  <p:tag name="EE4P_MAPWIZARD_HEADINGS" val="Admin 0\Continent\UN Region\UN Sub Region"/>
  <p:tag name="EE4P_MAPWIZARD" val="China\Asia\Asia\Eastern Asia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JM"/>
  <p:tag name="EE4P_MAPWIZARD_HEADINGS" val="Admin 0\Continent\UN Region\UN Sub Region"/>
  <p:tag name="EE4P_MAPWIZARD" val="Jamaica\North America\Americas\Caribbean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KN"/>
  <p:tag name="EE4P_MAPWIZARD_HEADINGS" val="Admin 0\Continent\UN Region\UN Sub Region"/>
  <p:tag name="EE4P_MAPWIZARD" val="Saint Kitts and Nevis\North America\Americas\Caribbean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C"/>
  <p:tag name="EE4P_MAPWIZARD_HEADINGS" val="Admin 0\Continent\UN Region\UN Sub Region"/>
  <p:tag name="EE4P_MAPWIZARD" val="Saint Lucia\North America\Americas\Caribbean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X"/>
  <p:tag name="EE4P_MAPWIZARD_HEADINGS" val="Admin 0\Continent\UN Region\UN Sub Region"/>
  <p:tag name="EE4P_MAPWIZARD" val="Mexico\North America\Americas\Central Americ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I"/>
  <p:tag name="EE4P_MAPWIZARD_HEADINGS" val="Admin 0\Continent\UN Region\UN Sub Region"/>
  <p:tag name="EE4P_MAPWIZARD" val="Nicaragua\North America\Americas\Central Americ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PA"/>
  <p:tag name="EE4P_MAPWIZARD_HEADINGS" val="Admin 0\Continent\UN Region\UN Sub Region"/>
  <p:tag name="EE4P_MAPWIZARD" val="Panama\North America\Americas\Central Americ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PE"/>
  <p:tag name="EE4P_MAPWIZARD_HEADINGS" val="Admin 0\Continent\UN Region\UN Sub Region"/>
  <p:tag name="EE4P_MAPWIZARD" val="Peru\South America\Americas\South Americ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PY"/>
  <p:tag name="EE4P_MAPWIZARD_HEADINGS" val="Admin 0\Continent\UN Region\UN Sub Region"/>
  <p:tag name="EE4P_MAPWIZARD" val="Paraguay\South America\Americas\South Americ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V"/>
  <p:tag name="EE4P_MAPWIZARD_HEADINGS" val="Admin 0\Continent\UN Region\UN Sub Region"/>
  <p:tag name="EE4P_MAPWIZARD" val="El Salvador\North America\Americas\Central Americ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R"/>
  <p:tag name="EE4P_MAPWIZARD_HEADINGS" val="Admin 0\Continent\UN Region\UN Sub Region"/>
  <p:tag name="EE4P_MAPWIZARD" val="Suriname\South America\Americas\South Americ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Y"/>
  <p:tag name="EE4P_MAPWIZARD_HEADINGS" val="Admin 0\Continent\UN Region\UN Sub Region"/>
  <p:tag name="EE4P_MAPWIZARD" val="Cyprus\Asia\Asia\Western Asia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T"/>
  <p:tag name="EE4P_MAPWIZARD_HEADINGS" val="Admin 0\Continent\UN Region\UN Sub Region"/>
  <p:tag name="EE4P_MAPWIZARD" val="Trinidad and Tobago\North America\Americas\Caribbean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UY"/>
  <p:tag name="EE4P_MAPWIZARD_HEADINGS" val="Admin 0\Continent\UN Region\UN Sub Region"/>
  <p:tag name="EE4P_MAPWIZARD" val="Uruguay\South America\Americas\South Americ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VC"/>
  <p:tag name="EE4P_MAPWIZARD_HEADINGS" val="Admin 0\Continent\UN Region\UN Sub Region"/>
  <p:tag name="EE4P_MAPWIZARD" val="Saint Vincent and the Grenadines\North America\Americas\Caribbean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VE"/>
  <p:tag name="EE4P_MAPWIZARD_HEADINGS" val="Admin 0\Continent\UN Region\UN Sub Region"/>
  <p:tag name="EE4P_MAPWIZARD" val="Venezuela\South America\Americas\South Americ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US"/>
  <p:tag name="EE4P_MAPWIZARD_HEADINGS" val="Admin 0\Continent\UN Region\UN Sub Region"/>
  <p:tag name="EE4P_MAPWIZARD" val="United States of America\North America\Americas\Northern Americ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US"/>
  <p:tag name="EE4P_MAPWIZARD_HEADINGS" val="Admin 0\Continent\UN Region\UN Sub Region"/>
  <p:tag name="EE4P_MAPWIZARD" val="United States of America\North America\Americas\Northern Americ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US"/>
  <p:tag name="EE4P_MAPWIZARD_HEADINGS" val="Admin 0\Continent\UN Region\UN Sub Region"/>
  <p:tag name="EE4P_MAPWIZARD" val="United States of America\North America\Americas\Northern Americ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US"/>
  <p:tag name="EE4P_MAPWIZARD_HEADINGS" val="Admin 0\Continent\UN Region\UN Sub Region"/>
  <p:tag name="EE4P_MAPWIZARD" val="United States of America\North America\Americas\Northern America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DATA" val="UEsDBBQABgAIAAAAIQBBN4LPbgEAAAQFAAATAAgCW0NvbnRlbnRfVHlwZXNdLnhtbCCiBAIoo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sVMluwjAQvVfqP0S+Vomhh6qqCBy6HFsk6AeYeJJYJLblGSj8fSdmUVWxCMElUWzPWybzPBit2iZZQkDjbC76WU8kYAunja1y8T39SJ9FgqSsVo2zkIs1oBgN7+8G07UHTLjaYi5qIv8iJRY1tAoz58HyTulCq4g/QyW9KuaqAvnY6z3JwlkCSyl1GGI4eINSLRpK3le8vFEyM1Ykr5tzHVUulPeNKRSxULm0+h9J6srSFKBdsWgZOkMfQGmsAahtMh8MM4YJELExFPIgZ4AGLyPdusq4MgrD2nh8YOtHGLqd4662dV/8O4LRkIxVoE/Vsne5auSPC/OZc/PsNMilrYktylpl7E73Cf54GGV89W8spPMXgc/oIJ4xkPF5vYQIc4YQad0A3rrtEfQcc60C6Anx9FY3F/AX+5QOjtQ4OI+c2gCXd2EXka469QwEgQzsQ3Jo2PaMHPmr2w7dnaJBH+CW8Q4b/gIAAP//AwBQSwMEFAAGAAgAAAAhALVVMCP0AAAATAIAAAsACAJfcmVscy8ucmVscyCiBAIoo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skk1PwzAMhu9I/IfI99XdkBBCS3dBSLshVH6ASdwPtY2jJBvdvyccEFQagwNHf71+/Mrb3TyN6sgh9uI0rIsSFDsjtnethpf6cXUHKiZylkZxrOHEEXbV9dX2mUdKeSh2vY8qq7iooUvJ3yNG0/FEsRDPLlcaCROlHIYWPZmBWsZNWd5i+K4B1UJT7a2GsLc3oOqTz5t/15am6Q0/iDlM7NKZFchzYmfZrnzIbCH1+RpVU2g5abBinnI6InlfZGzA80SbvxP9fC1OnMhSIjQS+DLPR8cloPV/WrQ08cudecQ3CcOryPDJgosfqN4BAAD//wMAUEsDBBQABgAIAAAAIQAGxcczvgMAAEYJAAAPAAAAeGwvd29ya2Jvb2sueG1srFVtb+I4EP6+0v6HXFRpP6WJQ96ICquQF22lsqoo295JSMgkprGaxFnHFHrV/vcbB0JhOZ247iKwscd+/MzM4/HV501ZKM+EN5RVAxVdGqpCqpRltHocqN+mieapSiNwleGCVWSgvpBG/Tz8+OFqzfjTgrEnBQCqZqDmQtS+rjdpTkrcXLKaVGBZMl5iAUP+qDc1JzhrckJEWeimYTh6iWmlbhF8fg4GWy5pSiKWrkpSiS0IJwUWQL/Jad10aGV6DlyJ+dOq1lJW1gCxoAUVLy2oqpSpf/1YMY4XBbi9Qbay4fB14IcMaMzuJDCdHFXSlLOGLcUlQOtb0if+I0NH6CgEm9MYnIdk6Zw8U5nDPSvuvJOVs8dy3sCQ8ctoCKTVasWH4L0Tzd5zM9Xh1ZIW5H4rXQXX9VdcykwVqlLgRsQZFSQbqC4M2ZocTfBVPVrRAqym55muqg/3cr7lMIDcB4UgvMKChKwSILUd9V+VVYsd5gxErEzI9xXlBO4OSAjcgRanPl40t1jkyooXAzX0Z98a8HC2IFzA1cKzoK4jLPDshqW4mE1JWc8OhIhPVf8/pIhTGQkdvN8y3P7/ORJAlPud3G4FV+D/dXQDIb/Dz5AASHO2u5/XEGHUm1cp99H8NegHRhzHnhbFkatZhutoXhyPNDuxA0iDHYeu+wOc4Y6fMrwS+S63EnqgWpDIE9MYbzoLMvwVzd5ovBq7jyb7n5rO9kM6LKvYPSXr5k0FcqhsHmiVsfVA1ZAJTr0cD9et8YFmIgcZ9Q0LlmznvhD6mANjZLtyH6hdMhuorxF4mjiJoY2M0NYsL4k1zzAdLXHMfhAGjhvGYctIP6DU1kug1vZK1Wo8jpUxrpUH+jfmGdRnWVLbWKsK9+VR/DpDbS673RlZ0opk8ooA1sFohzjfFFV5OU+olL0U2AI3RN4cUNldBw/O5DTLiHwo1OGnIxaf/rgILpB/8eUC9Z0r/eAEUNHx6QCZ3nJFdi3pPjLMvmRLNuKmEW0P8qcQMWQZgWv0Lc2IezJifVPzrJ6phVZkxrYbR/HIlpKRT5D/Owpxewv97m2TLHPMxZTj9AlexAlZjiAu0n15UYDvIdmR7Y2MHlC0EpRoFupDokeOpdlR0rNdFIWxnbyRle4v31kGPb3dTbBYQf2QpaMd+7JNdrP7yeV2Ypfoo3LgTyLpyG73fy28A+8Lcubi5P7MheHX8XR85tqbeDp/SM5dHIxHUXD++mAyCf6axn92R+j/GtBtwmXbylTvZDL8BwAA//8DAFBLAwQUAAYACAAAACEAgT6Ul/MAAAC6AgAAGgAIAXhsL19yZWxzL3dvcmtib29rLnhtbC5yZWxzIKIEASig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rFJNS8QwEL0L/ocwd5t2FRHZdC8i7FXrDwjJtCnbJiEzfvTfGyq6XVjWSy8Db4Z5783Hdvc1DuIDE/XBK6iKEgR6E2zvOwVvzfPNAwhi7a0egkcFExLs6uur7QsOmnMTuT6SyCyeFDjm+CglGYejpiJE9LnShjRqzjB1Mmpz0B3KTVney7TkgPqEU+ytgrS3tyCaKWbl/7lD2/YGn4J5H9HzGQlJPA15ANHo1CEr+MFF9gjyvPxmTXnOa8Gj+gzlHKtLHqo1PXyGdCCHyEcffymSc+WimbtV7+F0QvvKKb/b8izL9O9m5MnH1d8AAAD//wMAUEsDBBQABgAIAAAAIQB9z5MYvx8AAJjIAAAYAAAAeGwvd29ya3NoZWV0cy9zaGVldDEueG1snJVbb9owFMffJ+07RH4niXMFRKhSKGqlPlTtLs/GccAiiTPbFNi0774TJwG2TlVUCTiO7f/v3OwwuzmWhfXKpOKiShC2XWSxioqMV5sEff2yGo2RpTSpMlKIiiXoxBS6mX/+NDsIuVNbxrQFhEolaKt1PXUcRbesJMoWNatgJReyJBoe5cZRtWQkM6KycDzXjZyS8Aq1hKkcwhB5zilbCrovWaVbiGQF0RC/2vJa9bSSDsGVRO729YiKsgbEmhdcnwwUWSWdPmwqIcm6gLyPOCDUOkr4ePD1ezdm/o2nklMplMi1DWSnjflt+hNn4hB6Jr3NfxAGB45kr7xp4AXlfSwkHJ5Z3gXmfxAWnWFNueR0z7ME/UrDdBEtg+UoSr27UbAcL0aTVbwYxXEQueld6mO8+o3ms4xDh5usLMnyBKV4eo8nEXLmM3OCvnF2UFdjS5P1CysY1Qy8YGQ1B3QtxK7Z+ABTLjBrUjHr+FJDm82e02WoRf3Icr1gRZGgWxwFyCJU81f2BJoErYXWonzmm602F0LDXC7FT1YZhAnLeG8CbtwkCIjd/hbUo0H/w6R0i/8naz01sfQRtMIUOtIJYdiU4R9/f4V47fIRx/FZax5A7ZyreD3uK7oy1/ZJWhnLyb7QC1F855neQtWwHXhhPMZeiPrVZ3G4Z01pYBlmzZ2YZqclUxQuKZTehs3gk4oCHMCvVfLmbQOXjBzbZrXw0MaBGzVkpU/NtYMta6b0qusX3SvoQh9Jh2xhUB0DA3toYT62w9j1TaADIXBODQRsB/F82xuHODRBDaTA0TEUsB0Fe3aM3YkfQ2YDIbDTQMD2oQwXR50YbB9BeJXHO2WEg2Lcgu2V8VXD31HCH4VRgu2VwZXy/bQdczT+AAAA//8AAAD//5Rd7Y7cOJJ8lYEf4FyUVF8L28BWlWrvNYw5A/tndw5j3+7d2x9JsVoZEUl257+GIqnOrKTIYJJSfPn59x8/fj2+//r+7cuff/z7tz+/fkqffvv539//+TP/9ZdL/vvrp+nTb7//z89ff/zj+cef//j+q5r8b1q+//6X//q/x4+fv//4Z752+I/p+Onbl9/LLf5a7lHbZeBnvvqvb4cvn//17cvn35vFTS0SWtzVYkKLh1rMaLGqxYIWT7U4osXf1OKEFv+pFuc3i8/5V337afMPaX/a8W9YjL9+mj/99vYbJvrHt2yyg/v/rDm4A0hhP0bgCuCFfrDNreOnzy2Tf9suLOUCBJs9/3iwxRiDncjlm/0lJkrSHX4m6muPEbgCSH3wubl12oPdLmiwSyTYYkyZnSh7t2yzp3aiJNwtOnO4I3DF+14puZtnJrnbBY33GIm3GGO8FM8tW7xFSz7dLZY41hG4Asip3Zwyqd0uaKinSKjFmPoxx5pN3mKdOFgLSmJH4AogB7u5ZfK6XdBgz5FgizH1Y4rnlk32YCl5dwDJ5QeANPKvANKg/9zcOu8P7XZBgy2zm5npxsPxNhXa0WImr27Z5C3Ymby6A8jDsQUnDnbU8rm5ZYLdLmiw10iwxZi6Mc892WTPLM89Fkwc7AhcAaRR/rm5ZbrxdkGDTYdItNUaw535qS02e3L5sQV04UFqiK6I8pPbfDMxtytO0MTc3qFoG2uBDk2/9y1lmz1o6gF3QGVkHqIr3pm6z7Oguf+ZwbldcYIOcaqkpGrhp7jYvAW98GMMqHTtIboiyp27+WYz3aNWKcStqjV276N0b9sPjtK9gSTx81zuv3MVQldEJeiNUNmgexQrhThWtcagFwnakqFFggaqJEGP0LX89/0nYQrdfLNB93hWChGtak1B87hdbPbuzQM3oBPPyYjyPIUoz8rNNzNTtSvOMx2iXEk515lpSLF5C/rCPARQHchsW0ZXaHuUgWzzzQ5kPeaVLPXKf78zeiv3OsoS27KkoyyvLapBj9C1+LrPCxL05psNusfAkqVg7wetHOxCYd3KHfdMUxe9A6rde0jD8M7SvYWI1di+fnK6t6Vi7wetXOxE//yWLGs60VB1B1QWFUN0BfQoxRMhZMU+z9wa9GQZ2btBV2scyM5cDyg2b5k+c0EAUJmnh+iKqBRASiRfP9kKyHbFCdoysveDVkZ24ilrsozsxFMWoLPUfGxbWWUM2z4LmoM2o3e74gRtGdn7QTuMTDINjEwyDeUq5t7TCF0RZe5dUKSh7YoTtGVk7wet5a6z1PYsqzpLcQ94uwQ9QtcJ7izdWxhZsfefacvI3g9ay15nnrImy5vOPGUBqt3bttXuDVUxHsjKnal79xhZrnLvVYP3g9ba14lXWeWObwPZiVdZgOpABjUu5t54Z56nayQ4kPVqYJNlZO8HrYzsKEFbVnWUoEec61G82dk19aEVUGFkNRJYWrYrzjNdWMurPvR+0BvHgXUULy0ny5uOvLQEVObpIbrinaV7b77ZKavHyKYQI6vWOE+f5Jm2rOokzzRUt2QgG6Fr+e/7g0M/9rP5ZoPu1camECOr1lQdS9K/oT7GOzf3co/umvkxRFdAT/JUCydr/moHn0OcrFpj2FdeZxUb82TyQgtg6eFDdEVUNmqElDV3nahDpGxWUnaRnSlLrC6yNQW0i5fU5f57HZWX1IBeaJR8Nt8MKWtXnKBDpGxWUpYuvENVjEyNg7eoANZcD2kZ3lpyLVuQzV8n7BAtm5WWJV4Z34rRHnbi8QxgDXtIzKCtLLaad2Y8a1ecsEPEbFZidpEH29KnqzzXQK5k+3WEruW/77UEyfXmmw26R8zmEDGr1lTz5/XUrRiZOoeEDbCEPUJXvLWEvRExG3aPms0halataRCXB9vSq6s817DRyGvMcv/BcDZq+2y+2eGsVyybQ9SsWtNG5YELR8XITF1cOUJYwobGTMPp1lw6au7ZZPfY2RxiZ9Wa45bJy5KodJDZa7T7+Cj/YZDuUdtn886mu8fP5hA/q9bMz6STIz+TXm5hHcZH6Fr+f5+WNu9stns1syXEz6o1Z5urCsXI9HIuKwAs9VFEmasAeuFO3rwz2W5XdPZaQgStWlPYUhUuRoar8MONMA/kQ3RFlAfy5p2phbcrTtghirY4FO3A1cJiZLLN5UKANdu2sdRTsK1ke/POZnu74oQdomiLR9F4mV2MDEXjdTbCPJQP0RVR3s1s3tnzU73a2RKiaNWaOjnXgm7FyITNIznC0smhMddUoK3UVJp3tpP3SNoSImnVGsOWZUixeYv6IgflhhQN2vIovyIqT7ZQtOat08VDFG3R6lmauKhSjPZc87N7R1hyPayf0a25rNLcs8nusbQlxNKqNfdxGdGAaCUZ0SysByNH6Fr+f3/abt7ZR7tH0pYQSavWFPbEG3zFyKSbd/gA1oF8SNKwrQzksq3Z/HV6eYikLbqtmfhU760YmbC5Sgywhg0MT9gKoBL25p2dv3ok7RgiadWalp28uXMrRmbZyWMawLIjMERXQKV22Lwznbxd0WwfQyStWlMn58fzVoz2bM9cWQFYdn8AFbYybPts3plstytO2CGSdnRIGnt+K0YmbJ62AZYhbYiueGs+bPxs7tl091jaMcTSqjUXV3hMK0Z7L5dTCwDLw40oP9yAylKkeWfT3WNpxxBLq9bUy6WmVIz2dPMO6B1gTfewlIZtmbA072y2eyztGGJp1ZofbjnhDxuVsxzyH/K08h/2rsLkFNAT85XmnQ27V0o7hnhateaweSlSjMzDzUsRhJmnDdEVUR7yns09+4JDj6cdQzytWlPccoi2GO1xyylagLWXD3katNV0y1Zn89cZy0M87bgxIVha8pnRWzHaw+YTeXeAdQrDShy9yoa31nQLUWsOO3GHiNrRIWoLl5WKkUk3l5UAluPxQ3SlW/Nxleaefbx7TO0UYmrVmrs5F0+LkYmb526E+fEeoiuiku/mnnm82xXN9ylE1ao1xc2HR2/FyPRzrqchLHFDYx7Noe3Mu9vNOxv2tkHrhB2iaieHqvFhhVsx2sPmsecOsDze2FjCtrfWsKWe1vx1wg4xtZNTT+ODKbdiZLLNq0+A9aW14ZYntmXK0rwzD3e74oQdYmon3fJMci6rGJls8+oTYA17yNSgrez0Nu9s2D2mdgoxtWrNzzZv9RYjEzZveiLM1dMhuiLK1dPmnQ27x9ROIaZWrbmyxFNYMdrDTjyFISxD2rCiBm312d5omR3SekTtFCJq1ZqXI7wKK0Ym2/JsDwtq0Fjqp4BqJxei1vx1nu0QUTs5RI2Pkt6KkVmFyQQ2omIPbCwjObSVIW3zzma7t+t5CvG0as3PNu96FiMzknNlCWBZcyPKa25EuaDWvDNr7nZFs30O0bRqTWGfuZMXI5Nt7uQAS9iIctiASqmheWffRe69K3AOsbRqzc82Z7sYmWebsw2wTGBDdAVUnu3mnRnJ2xUn2yGWdnZYGr/6cStGJts8bwOsYQMP42cb2mrYm3c27F497RxiadWaO7lkG1jaWbINPIzn7fIf3n4zKZ8CysT22byznbxXTzuHWFq1prD5EbsVoz3bfDbzDrA+27axhg0oD2nNOxt2j6WdQyytWnO25cMKwNLklcZyjz2ffOgUURnSYEdVwt44mQ27x9LOIZZWrTnbfKy6GJlsy7M94mEPbCzPtm0re9zNOzNvtyvOkBZiaeeNB8Hzd+Dt3mK0p5PPrt0Blnc5h+iKqNQZmns27t6+5zlE06o1pfvK9ZVitKf7yvUVhGVMg8Z8KA/bclmpeWeH8h5NO4doWrXGsCXZQNL4KO693GH/TSToEbpCW9n+a77ZoHu1tEuIpFVrzjXvEBQjk2veIUCYwx6iK6Kc6+adCbtd0Uf7EiJp1ZrD5nVnMTJh87oTYQkbGnMXx7a83G7e2bB7pbRLiKRVaw6bO3kxMmHzZi/CvNweoiuiMqI198yI1q446Q6xtItTS7vyhlAxMnHzhhDCkm7cfaAdAmwr6d68s+nusbRLiKVVa0z3dJCwgUodJGwgcZLuEbqW/7//orzebt7ZbPdY2iXE0qo1hs3z063YvLl2ZbICqCxEhugKqCxEmm821z2OdglxtGrNueZJuxgZssKTNsJMTRFlaoooU9Pmnf0YVq+SdglxtGrNYcv8hRxN5i/cEaVPWZb/0J3UV0T56Xk292y6exztEuJo1ZrjlgnM0qzpIBPYiIU9yn8YxA2ojGgbI7Nh9zjaJcTRqjWGvSSuKRWjN88XPoZ1B1gOaQ3RFVGhKxsns2H3WNo1xNKqNWVbvktZjPaHWz5MCbB++Q23S2n+wltz42dzz8Tdrui8fQ3RtGpNcctrf8XILKiZrwAsY/kQXQGVAw3NOxt2j6ZdQzStWnMv57eiipHp5VwnB1gWnkN0RZTn7eadmbfbFSfbIZZ2VZY2ycHTYmR6Oc/cAGsvH7I0bMtjWvPOZrvH0q4hllatuZMzSytGppMzSwNYwwYexmsRujXBz+aejbtH064hmlateVDjYlox2uPmx/cOsMYNlTiJ26Ky4m7e2bB7RO0aImrVmsJeuGJcjPaw+fN4d4D14R5ueWJbWYM19+zT3WNq1xBTq9YUN58kvhUjk24Z1IZMDRpzZ1gRladb9jybv86gFiJq1434wKi1yFgORI2P7N3LPd5+FZ3CRugKbXnr4dm8s728R9SuIaJWrTnb8nBbojbx6bN7uccg7BG6QltZhTXvbNg9opYOIaa2mfPjLR89LDfd+7mcRqx36Yc+hvNna4HMyeHyl48m/Ncl7e3pEGJsmzknnvcKqpV5znkWR1w/gVh82tcmvF2AreVUx8tF+xXEGqT7RcBDiLmlas7p5wVKtTLDO+96I+6EDxU6DR9gGeFfPkL8vd3QdAhRuM2c49f043Co6QeexkWn+k9G6betnfRvtA3C7zG5dAhRuc2cwpezitVqT78cVkTcSf+w6Eatmb2/XITwe4Quf3Qg8qGtzZzC508W36qVCZ+PsSEu090YzoMf0Dp+5+DlIox9PWKXDiFmt5lT+PL1wGq1hy/fD0TcCd+yOznZha1lyfpyEcLv8bt0CBG8zZzC5+3vnH2gePw9gDvi+hlvaC4kD1sLqX+5COH3CnLpECJ6mzk/+zr0A9XTL8KWfzqa+Ydkr/rw1lo/Clsjgu8Kvrz2Jv4Q4UuHjUHByC6H+6qV6fxM8BF3hj7YQ9WZD2Ad+jYXYejr8j4QKsh95L1v9m+nxyB8ecMsf7PK8j55xQxxffZR6kDCB1iz7wgWDBQLYrSvqQBg9qXzg7bAxN8NzrIFUMrj42MPxHXsg+Y69jUf7cPfFy+o3/z/8CcmkydfwCeVs2gD1uz4IBjiTvrHvA/urrzHUTFol5yHH3QMPtD7ndIdLzZz+Ng95LP+iPP+EzXnDSiE5bxnhfFDsq9LXvgx2udIGkzyXdUE0gOTfFkVcUe1Y0z74O76ufvmoh372iUv/Bjtc8QNJnlVJaEIAQ9P+eGHap2Q/iGcVUtsa6fzbxwPwu/SvqpbEHj2NwKFQz9X9BLIEUz8+fAcPlTt+HzBGM7hY82P918rjp9Gf13y0h/jfVUfgVm/xg+8j2VOcvxQ29P0j+AcP8Ay8zcXIf1d3heUPmhqApB+eS0vob7BUYgP4M7QP+Z90Dppxaf5CFNfr9CXqlJAoPs7xO/C+xf1pjvx4+E5p39Y7BvDOf22tTPzy8bsFqRb8YnpIeQPADmKXFLxAOGCST4lXu+ylzTk6R+rImBrXfU0F2322yXn4a/qAR/PfhMbgN4vn+FNIGEwyYd4EdfejwoIwnsBlhp3vTmNfV2JhFR1BALh62sPE3+Y81Zvund+/jbzHXFHugp4H+9jUWs+lLBFhIu+rlhCqooCgfAd3idHhetNTfh87AhxJT6giqAyPwDrzN80EuzQ35VNSFVtIBD+VjjDzs+ncOpNzdDHx3AQV4k60FZwwre00Al/cxGe/W65L6agkL8KJUPfLAfkq5WpaPD5DMSd8C2xYzgLtwEsE78qKby89oa+WLmvyRNA9uVUaQLRg+nKO/eEy6IHm8uiB2Bd9DQXrbRXV1QhFaWCj6sqbOZc7uOjd9XKdH5Z842lFbC5rvjH4govF6Hzd2lfTF8hOQILE39+O4/8UO67aucfl/uguRO+ba0FH9VZeHntdf5Yuc+TWuCXuHL4sMPLW1F54oOCndKeEZyffawGyqKn+Qjp79b7YpILydFcmPgc8a1amZlPhn5SZWAV9SGc9Rtxn1f2OpqPdurrai+kKlDw8anPUV+Y5Wx5vakZ+2XwAxUFJT5DOMeP3zph/fjmok1/V4UhVaGCQPjK++Ykix5UWuCDqvf6TwesH8UWhPeRzIOEL++8bkG6i54qWBAIX3nfnGTsR8UF+SRoAlxn/iGcsw/bvPwd1mfFifZ3ZRlSVVoIxK/Ebz7waft6U9P7hfeCwIJqHiIsUz/AOvU37Qg79bdLzuAfU2hInkSDfOK6WpnwZeoHoQUn/WPiB60TH5HL6d/IKTz93YpfTKohOVoNs05+oLgw6+SHuEx+Y8GG6sP+6/KpzZeLkP7uRm9MtCE5qg3zQZY9oK0wy9sH9S7dAB4Iywvg49Y5+xvNg/C7zC+m3ZAc8YZZTqVXqz08UaNB3Jn6LLXTfW6Qd9CKT3MROn+33hfTcEiOiMMsXzyvViZ8HftGO7k5++ONXoB1s6O5CMSnS/xiWg7JEXOYWUTsVq1M+EL8SO2Bid8QzhrWQPxk0dtctOF3JR1STNNhM8dV3ywfxa5We/iTHHBDaQYZ+oZwDn/M+5qOg+38XWmHVNUaPj7xO+IOvKjLybf1Oq4I3BHWYie01jUfwpp7ZX3NZ2far6oIgeAd1sd7DTl64GVyZB9xrfahjoPUeklBgklv03mArt893BdTekiO1MMs76dUK9P15WwjCDY42R/v8mJr/gbjy0Xo+t1qX0zxITmSD7O8hFatTPhyxAGkG5zsjzaB85NvYR33m4uQ/S7nq3IJgc6vu7yzvL+QQKJhnmWbbyz/gM211gutnfA3FyH8LueLSUAkRwNinuWADyg1zPw9ojz02W1ap/OP4Jx9C+sunwpBvLz2hr7Y4T5HC2LiBW0e+qDax0vSHD7gUuul5vQSJrWWaldz0VLeriJEqiIPgc7v7PE62Ydqn5N9wDV8LBZK+Hh3Gfk3FyH8LueLSUMkRxti4Xe9b9XqbehbuBxwR1yX+yAAoQsehCX7zUUbflchIsUkIjZz4nx6wgGVHPSEA4pIyAGPIbxWH/ZSmdCeJgthh76uUkSq6gof7/yOVsSsh/pR70EP9Y/VIqpPpljCnR9ba/jK+prXztAXU4xInmTELAccUDNiFtoDuC53h3DOvuWUrOj8fLloaU/z2gs/drbPkY6Y9XAbCjzo4baxeEQawjl8Swp1n0f1I2qLXPz0wo+d7XMkJGb5uH5CGQh9n20oE/Gg5sL5obUTvlb6mtde+LE9XkdKYmbNhDzywzsZiyx3URBClrtDOGff3l1rPc1F6Pxd1hcTlEiOosQsLytXK1PJE86PkhM68o+P9kFrJb3NRRj5u5W+qrwQGPm3mhksaBcd+mAPlxUY8rwPpTwNfwTn7AOsI//mIoTfrfRVSYZA+Mr6Zj5hkju/5WXzrNm3uJb5xxoTeHenzK8qE7WJP/bFdCaSIzQx67FukIOY9Vg34pL+IbxWH96eLV3zNBftw99Vm0gxuYnNHGnfomseUIVYdM2DqhEavq3labULWuvRviY6AeH3vsGSqjDDx3u/ozsxaaUTtCMmrXSitoQM/UM4Zx/f+BDW33yE+Luv8laFhkD8TrVPX+ZEmYiTvMw5lqBIQzjHb4dep/dvLkL43Wpf1W4IhK9bvLnujrz8llCJgj/scCdce/+42od3l7G/qVHYsb9dcohPTI8ia27osWYd+0E2YtKxfyxJUf9J9/xDzj4UA+Vgq6pSvLz2wo/xPkeYYmZptJx95H3a+Ufv6j6oudBeFLbQQ/3NR+j9XeIXE6hIjkLFzNwrxw/1On2nA3Ed/OCVEDngMGz9fLloKx5dnYpUpScCD79D/Jh55/CB+OkrPYjrwz86+5d7v4WdqW9zEbLfJX4xwYrkKFbM8tGaamVov9S6UdJCwx9v8WJr/YpF8xEGv269L6ZckRzpCj64e6tGb+Hzofc7wrrRgcIX8uwDrKe6m4M2+HbJGfpi+hXJEbCYRYGpWu3J1xdaUOFCHv0hvOLdtd6jKhYvr73wY19wcYQsZpE2TyhVIeLmiGu5C4Uw5GQfwvJV0Xp3OtrW3PbiL4zo40Ofo2gxi5BHQt0J/shF7v1QsNP0j+CcfjhTL9+brDjH3+V9MWWL5EhbzCJbU6327q9vsqP2hcYPvE/zb2Gt+DQX7dDfLnnpj9X7HImLs5xrBZUK/nFy8i1v042OscYFtZYlT3PQTvvtkhd8jPU5QhezfsMCxCpm/nVy+GPWN4Rz37ettdjZXITcd0lflYgIPPpb3QzKXfyuXp73gPRdpNKPihiyy4ewkD6ENft6rq/pYHjZj+3xOroXM3+fJocPrI1fdM3ZH7G6xxjO2Ydqn3J+Vb+oTfxyV0z/IjkCGLOI+lSrfeQTVR/EnZkPWJ+OfADzVxpfLgLv6ZK+mBJGcqQw5rN8uQ8EK2ZR96l36S5pH2N4RXjSiU8FMV5uO90/JomRHE2MWVkvKFfMSnsRF9I/hHP8thqo9R4Vxnh57YUf432ONsasR/tAwWLWs31jdYw0lsdAWLc6VB+jtvAf/qp58fGx35PIkHkfdSzkbZ6xREYawjn34z3e5qCd+NolL/exPV5HKCPvSXKtD+UstNCPuHb9ca0PW+t6V+UyUrvkxR8jfY5ixszqRreEuhf8ruOdcI3fskKt9MPdnUdfN3mb1174MdrnaGfMohiSQOFiFs0QxJX1juUzsDWTqmeF6etFzWsv/NiLvI6GxnyV77eA0sXM3zjI2QdaKCsegPV007B1Dl9pX7vkhR+jfY6UxsyfaMid3xKzhd9yz+EDcdPwR3Ae+yzszfta7Gtue/EXRhQY+XWXdzko74FdXK5n5fjHu7xDOMePrFBK/U33Awb/Lu+LaWskR1xjYR2/W7Uyh/uk2InyGjL4DeEV787vCj1fLlra21XYSDGJjc2cdnkPMveBEsbCL3vd611MLZjfZ0GNDln0oQqHvMvWhDbskr9dcnp/TGojeVob/K5azj58uI9fdczhj77Q8hjDOfu2tZZ7mou283cVN1KVqfj4w+9obuRXB5n5oDIGl6Nz+FAy0M4/gnP4QPx0zavKG1uU7vG2mPZGcsQ3Fq435/Rb6rbw2145/lE5L6d/XO1DWNa8KsDx8trr/THi52hwLPoiK6hsLPoiK+B6qn8I5/RbXqjET4U4agt/0ROT4kiOFseiRzxAMWPRIx6AO+GPyoE5fDjdJ99waC7Cwy/1vs8///7jx6/H91/fv/0/AAAA//8AAAD//3RRS26DMBC9iuU9MSYEBwRIBBK1i65yAhdMsArYGk/aKFXvXpOk7apejedJ7ze5PKM56BEVEFB9QSuePfE0oeQC2Vl3Bf2sNlWdNHETJFW0D+JmWwfpQdSBEHESVvtqzfnhi5a5M4BHlKgeRNEP0TTOLruM0EUFHRBtxphrBzVJt5p0C8aZHletmZjpe90q5iwo2blBKZxGFoVcMNDt0EmU0UOnNnOnUZv5rrXj2W4xzcqc/drw81+4MrfypF4knPTsyKh6LGi4EpSAPg0/Mxp7225FHPKNiNP782W8GkQz/QMO3q2CBVxT0hvju7x/vJ1F9ajwbImVVsFRX1VBU0oMaDX7snyEglrfHEiNlAx+fzUeGBurCxpHaZwmIko98bsC1O0DCL3xbLkOPHf8FvvDwNutsvIbAAD//wMAUEsDBBQABgAIAAAAIQAVzbtcKwcAAJwgAAATAAAAeGwvdGhlbWUvdGhlbWUxLnhtbOxZzYsbNxS/F/o/DHN3PP62l3iDPbazTfaLrJOSo2zLHu1qRkaSd9eEQElOvRQKaeml0FsPpTTQQEMv/WMWEtr0j+iTZuwZreVsNh8lLbuBMCP/9PTTe0/vvXm6fuM0pM4x5oKwqOkWrnmug6MhG5Fo0nTv9nu5uusIiaIRoizCTXeOhXtj89NPrqMNGeAQOzA/Ehuo6QZSTjfyeTGEYSSusSmO4Lcx4yGS8Mon+RFHJyA3pPmi51XzISKR60QoBLF74zEZYndzIbZLQXYkhRoYUn6ghOJV7OiooBCCTwY+5c4xok3X039ufvN6Hm0kACpXcT39l+ASwOiouCKvWqw16u2lPA2gchXX8Tu9bm0pTwPQcAi7sHGs+W0/wWZA8eOq7K5Xa3kmPiO/ZNFBq1oqGfI1KJZfXsH32u2G5xl4DYrxldfrJAOKH6sr+Fap3Sp0DfkaFFASHa2gfa/YKlYT9BIyZnTrYniKAusvPUctMWaRXOdHITpkvAcABaRIksiR8ykeoyH4po8oGXDibJNJIF1niiImYNgrej2vBP+rf2X9VFac0QZGmdnx0FCsDCk+jhhyMpVN9xZIdTOQF8+fnz16dvbot7PHj88e/ZKsraUb87ZQNMnOe/Xj139//4Xz168/vHryTbz0ebzI4l/+/OXL3/94nXjYcaqKF98+ffns6YvvvvrzpycW6S2OBll4n4RYOLv4xLnDQtighT8e8MvN6AeIGDNQALItorsyMIC7c0RtuDY2VXiPE4h2FoE3Z4cG14OAzySxAG8HoQHcYYy2Gbcq4LZaK6Ph/iya2BfnsyzuDkLHtrV9FBkG7s6mEDqJTaQfYIPmPkWRRBMcYemo39gRxpbd3SfE0OsOGXIm2Fg694nTRsSqkj4ZGI6UTtoiIdhlbiMIpjZ0s3PPaTNq23UHH5tIOBaIWsj3MTXUeBPNJAptIvsopFmFbyMZ2EgezPkwi+sKCZaeYMqc7ggLYZuzx2G/GaPfhghjN/sOnYcmkktyZJO5jRjLIjvsyA9QOLVyJlGQxX4mjsBFkbPPpA2+w8wTot7BDihaa+57BBvmvjgQ3IXgmqWUOoj6ZcZt5xEz8zzO6RhhW5Rp8dCIri1OrN7Rnk0M197GmKITNMLYufuZhUGbTQ2dp6RvBRBVtrDNsW4h01fVe4QFdvr4VFoW2SbCcNkDPGFr+OzMzwWeOYpCxNdJ3gWrG64LWc4aSvfo8CgL3CVQ1IG/WJWyJ0BGxrm766TuB8jIXepd2P11zg37vckZg3N5eNlzCXPwpedAYH9j3fQRNRZIHaaPoMCwhVuYYpg/naLyqp42s84bm4c2NQMURka9E5LowuLnXNlT+XfKHnsB8x4KHrvgdyl11oWUrXMFzjrcf7Cs6aBZtI8hk6yWdVdVzVVV4/7vq5p1Z/mqlrmqZa5qGdvX1wepZdLyBSqbtMujez7h2pbPmFB6IOcUbwvd9RHwRTPqwaBuR+l+47KlOA3gUe0HFjBwE470HIcz+TmRwUGAptAaKuhG5kQkoifCmTIBHSM9rBuk+Jxs3XeahTtsFDcxCwXVxYxVKJBMx73Kchy6VDJGV2vJoOK3oK7ZTnQHdUFAzb0MicxiJomShURtMXgBCb2z98ICWpaJilJV1JX4halWVAHUllaBT24HPtSbbqUcd4yhGQfl+UjZKTb1wrrKOO/V0uuUSbMeACX26vYaiuva7andxa72BpY2SGTczSSRccMAPoQT78y22F/ncJe1dSM1qUFPqWJxGlIatfqHsLUKIudiA42ykYJGzknTrZYqcFcyRNOmO4aOMTyGU/Adob66EJ3AZcpQ8vjAv01kmXIhO0gEscJ10ImjQUgk5g4lYdNV2196A410DNHcCkUICB8tuQaElY+NHBjdNDIej/FQZs2eGdFNfg2ACB/HCuuvevrbg9VMNgNzHwSjE2dAZ/wOAher1ApKgSMi4OKgEGtzRHgmkKX+dy4xJWHXcl2m1kJ0GqAko2SDeQzX+WRJR7/Fm9ZZDhRoqMB8TxLhYKIS7Dtn3YtTtdpNmhMaac40oorKmvZg+uGSfIZVmkQNVnHo1t/UIo11jUWsA0e1Zol3T/0ZauliBjXFeDUMq5idjJrU3mNBkNFEdY3eljnCqom3zfww77zXqgSxqCv1MdAX4dkbazY4hODRgfvDGZUivhM8hWsBKPriG8g4bMCROZXJ0YAnZ8ZJ033gVVplv1jxc1690s2VS2UvV6+0SrlWpVIqdCsFr9MuPoTEIoOwUIkv4XtwhUHnyVW8Hl+5jg8XtzTXhizMM33dntfE9XV8oWi5jnf66tbddQgEnQfVYq9RarSruUap1cuVO+16ruFX27lO1a91eh2/Um/0HrrOsQaXWyW/XO3Wc9WC7+fKVU/RrzdytXKx2CrXWvVuufUwKWNg53EwSXQB6tW8Nv8BAAD//wMAUEsDBBQABgAIAAAAIQAGNRWhRwMAAAQLAAANAAAAeGwvc3R5bGVzLnhtbLxW227jNhB9L9B/IPiu6BJJsQ1Ji9qOgAW2iwJJgb5SEuUQy4tA0ancov/eISXbCjabeLMX+MHkaHjmcG6c7N0gOHqkumdK5ji8CjCislYNk7sc/3lfeguMekNkQ7iSNMcH2uN3xa+/ZL05cHr3QKlBACH7HD8Y0618v68fqCD9leqohC+t0oIY2Oqd33eakqa3hwT3oyBIfUGYxCPCStSXgAiiP+07r1aiI4ZVjDNzcFgYiXr1fieVJhUHqkMYkxoNYaojNOijESf9zI5gtVa9as0V4PqqbVlNP6e79Jc+qc9IgPw2pDDxg+jJ3Qf9RqTY1/SR2fDhImuVND2q1V6aHEdA1Lpg9Umqv2VpP0GEJ60i6/9Bj4SDJMR+kdWKK40MhA485ySSCDpqbAhnlWZWrSWC8cMojqzARXvSEwx8b4W+5TGyKbLKav1wW85kDzYZ5ycP3NjLgqDIIFUM1bKEDZrW94cOriohq0fKTu8V7Z0mhzBKLj/QK84ay2K3cQ7WuyrHZbnd2J+FqaYPTDZ0oE2O09ihzwhbf15C7su2ytubH2xrSpz055hZ/hwzLhJfEyAXJ0jCSukGWuqxEG3NjaIi47Q1EHbNdg/236jOJoEyBtpOkTWM7JQk3NbQ8cS0ANiacn5n2+5f7RPsoUVyL0ph3kP+QAO31XdcQuJMyxFv3Fj8OdqIPYNdAOWvh0VDe8K/4DQ0qDmp02lEuo4fbK1OrehLWCHcdbrgK1jgEYv1MnK8fNZ3L0N/3IuK6tK9cq+beD4619/qCAs7OSL+jljJd8RKL8VyiQmpOMv3J9l+yltkX6gcf7Su5/DWTbmHqj3jhslnMh0wm+FcO4FtI8YOC66qTlbAmw1tyZ6b+9PHHJ/Xv9OG7QWkxaT1B3tUxkHk+Lz+YEs8dB2RDuZDDw8i/KO9Zjn+93Z9s9zelpG3CNYLL76mibdM1lsviTfr7bZcBlGw+W82snzDwOImLKjmMF71HMYaPV12In93luV4thnpu7cIaM+5L6M0+C0JA6+8DkIvTsnCW6TXiVcmYbRN4/VtUiYz7skbB5vAD8NxRLLkk5VhgnImj7E6RmguhSDB9oVL+MdI+OfxtfgfAAD//wMAUEsDBBQABgAIAAAAIQAuJj5QtwgAAColAAAUAAAAeGwvc2hhcmVkU3RyaW5ncy54bWx8Wsty20gSvG/E/gOCp93DjLyzj5jdkDRBQCREEaBhAuTYuhWJFtAW2E03GpLJb5vb/NgWSI3DgSzOyRbQ6EdVZtajef3L110TvCjXamtuRv/48d0oUGZrS22qm9GqmP7w8yhoPZmSGmvUzeig2tEvt3/9y3Xb+oC/Ne3NqPZ+/7+rq3Zbqx21P9q9Mvzmybodef7TVVft3ikq21opv2uufnr37j9XO9JmFGxtZ/zN6L8//3MUdEZ/6VR0fvKvn/49ur1u9e21v53dXV/52+ur/q/zk3G50yZ4N3wcWeO1UcYPX6wWwVJVfEThRd5tLryc/v5b0zyR26jhZ4k2WhnxVajYDk4/+c5UsG08iCmtczQcOOkcW3H4NLedr5Uzgfx6PIHTGe1VGYwdbYLJTjvyqoU9tRqW/1W1vl9nLLwbT2GGp6omo3uUXNyxOFMMM7H7qo4ChlsQst27Era2sM7XwXinnN7Cy7fHcMaInN5sFO5vnMAWmg2fBWdOYaDbKWngezxUZRuc8Ek6QKrLslHBWHw5XuIeKga7NjD7CSkXrVTAPF3r3WUYXIDbSpyGGpzo/ZZtLxi1X7Yff3L4Qr0Gj4oadj5M/AhPjsptSH9Gl4bj4djQtrz4aY175Y6qsi+CycIQvmMEUmkBTSGwOCRTNVSqtoY5gJOhaird7WAg0Crs3DPvM5hSa4ejvxFUBEoIxAq7pmIOoM7Qmeiyh8N7NEntWLfh8QyedK4zpR4+nrytJwM8fIBpmGK42gKG8WIKFjuR4IdvSwpaFgJZQ9voF7RTCNQLHR11AxvJh0+KWrGU1cSBEQYDD8O6E0Q0/BUR7dtXukD7k3DLuPiE9m3Idbgz4BujVh8hIEWsPkzgS0ITARUj3vQFTT9tW5b1CAh3p3Z2y+FMbzl077tNw/+xTwFHx4BzgAr4EgG7vm39ZCnzbZqhhSLg0vcLyosBbfJX7VmwJGmLgDqzF+sOfAymCmwGwlVU6wbdAsEqIrasxfQnAirxhIirP+NQBByKbGN3GyRRBCSKLCcNwVKI5BEEl6jbgHxFa7AQ7VWwVq5EowD4o8NewH4E2I+OaltfBMgdKHysOPE1h+HW7kDd7j7rDad0IFx3c/hWmR255+HjUzJ0OSG8AxzcWc6bBXPfgRP/GHmZGXcYlJuK0zI5ZbusSpMIosS247jr4DFYetJ6K+QVE+DspDrsgU0T4OkfYTVnwRaScsDvxGnPhQ1sFKJAvhei5gT0f+JrbfdowSmIxFQbSU2mgLGp/gz4ShV/q4R4OAXgTal57hcKZm3/D0SKKdhk6shsgX0xhIKYNqhHMSRhq3MJM+d6tLSQNcUQGWKnpBATCyzlwhRNHUOkmPKMzP+400LEjQFDMddCgIgYmBiTJJEx6DEvaxBh8QfA3JeOvGX2Nf1OpU/AU2wqJXgKUBnzzFzYYw0TQ2JyXjoIddtSN9xiDAocdwfBWPdghHtrys5hBnWPEcVZzgrA/vdwqHvSKLz3EHXuuYonB1o+A83qMxsO2xdoMuMyX2TcDHA5cz07oQSaQeiftY4UZKAzMB6vjQaZAYBmjr4MPTYD+/IoyMdnIHezrXwG8MLMUwPGfQCyPHD6LEStB4haD9aVuMGHbHiwB9rjsDn4Yq7MAbA0h+gyP7jqcJT6H9+yTEFs5yAdnKVtuPOGK2I+Z3fWYWU6B+fnHHd8MNfet29F9osGEZ+Dfc5dlrkVgtscMHFuNsiDQSHm3Sszb+iPOeQSczrScy3ZNIFQkhCaIoFIkiju7GDISYDKZ5sl3RY9kUAgTjQnh14ZrqOxUk0gnuZOBwmZZ/BxAmZN9EbKphJgW6Ja62uoeRJgW6J93UmNmAR0L+m+KgZj56CHmUDOnZAXSuYE1J4PhGxKwZspI3u7heOk4KfUGhLGQUqQ2qa0L2DxFOjOE7InVeVwceB8ynVsRe2WIE1NwekpbRXrP8IpBVFPuR02JEcK9E85bHI9AAOB/nwibj4KCwPaUuo4mZXAkQKOeJMezQkYOk+psb2QqxdlglZRG/ytvywIbN8f/DscB8SDF6ZXtM9H+FJ91QIyAJH9fAdBmlOQo9Qe+4SN7yegBgMAL2inhfJ3AQDuO54RNTI2FgDPhebyCpYHZJ6GCVUYSNeCQ6oj7rfDnADLheovHsQKYAFBmIPHK0FUX2CQUXuC/GUBpv+TvvB7YMZ7rryHx8nAQxknazs4dgYWz5SDLDYDg2e05zuLfpty5p1BoM+4a6P3e07TIRZnoB4ZPYt3Kxl4KeN7BswcM+BvxncoXYW2z4BwGRMELJDqrZOz2QwYlp0RBmj4AD75QB4VbQkuWSq+JsQovgQULi1DAWmwhPD5fT8v51sF4RuQtmXXCrKxBPstuUuL/c4cDp9TV+rTPR2unkMmk/cNNmsuFRs5RMCcL9Lwbg5sm7+qUuE4AHzOxTjtOTkcMi0Hjckby1ovHAozIx7JSAdW5gDzXCu+Mg0SxSCEHYAi5GSClO8+DAT1HLPlPvojL3IAV87gEsJqjrkxR1XWGtwntoj6y91A9hQwOCcbFHanTjl9xktstXBdDJnapAlyal6k5loO1M0PQi8vB3nOX/uLEEF3CoBhVBPUtQWgq7DYvy9AQoua5FWhA1bQZy0raAHQ6hvdQaG5uBoCqwBgFXw/118BSzVKAdAqWLYEySgAMf20CvSyAAgU7HVdUnmCQGE3JFgN9KggzYoEZwOnvnXdvpfGgsxREtQViNnqub8jBMivwNOrSlLHFVDjbTe573+/0N/zXLj+XwGGV67j/AasucIDHzdKBskazrfu753QiusLheSa2cn3ZCc/9RdU5w6lFPvXoMhrFqRjx82UocvWALC1Vp6VBgZC7FqT4YYeRPWPoMhz29oXUM2P4J45tTX/uGS48ic4zSfFfIFhQnlxsN4Dfh4xap4kU75LfgS+Pood10fgyKPebWjz+t36V/xbp9v/AwAA//8DAFBLAwQUAAYACAAAACEAO20yS8EAAABCAQAAIwAAAHhsL3dvcmtzaGVldHMvX3JlbHMvc2hlZXQxLnhtbC5yZWxzhI/BisIwFEX3A/5DeHuT1oUMQ1M3IrhV5wNi+toG25eQ9xT9e7McZcDl5XDP5Tab+zypG2YOkSzUugKF5GMXaLDwe9otv0GxOOrcFAktPJBh0y6+mgNOTkqJx5BYFQuxhVEk/RjDfsTZsY4JqZA+5tlJiXkwyfmLG9Csqmpt8l8HtC9Ote8s5H1Xgzo9Uln+7I59Hzxuo7/OSPLPhEk5kGA+okg5yEXt8oBiQet39p5rfQ4Epm3My/P2CQAA//8DAFBLAwQUAAYACAAAACEABDZiiYYBAACwDwAAJwAAAHhsL3ByaW50ZXJTZXR0aW5ncy9wcmludGVyU2V0dGluZ3MxLmJpbuxXPUsDQRB99yEkZwgWKSzT2VgYjL0aK0GEmCKlQixsVIzW4j8Q7PwD/qE0gmAj6A+wsZBzXu6GrHt7FwjYyE6Y7OzO7NuZxxRzPZzgHBeibQxwhC1sYkN+bYxxiiucyf8Y5RLESeMFk2b0ehcFqONxuVsbIUAr+E5DWSEaYAfdCoxFXUQPpy/wlaJMmsDu/t5B0sh89wnwLCZVhfdqfSC+BtZlMxA9PgTeLot7O46xn454PVc8O24YDsPVP+DDQ2YMrKx5JjwDngHPgGfAM7A4A5wtolyJks0zLrxwGue59gzMGKjLNDzrH/aSLbEccP5kj7XE4EpxzbI8p1/nXTtuJAd8T2dU+u295pBN5eXv5GngQQ1Zt2V21nsd49w06U/T3065VhBXfWU1m3Xa2DanilGGZXLDmFtLzbdovwvhVjnOyqtyL6GqkhMXZ8xlniwZAcqN2S/2/Y8c08VbGbfsWRXth6q8qnrNxRvx2cvzMOk3c9H43j/+nr3pfD39AAAA//8DAFBLAwQUAAYACAAAACEAxXTu8U0BAABrAgAAEQAIAWRvY1Byb3BzL2NvcmUueG1sIKIEASig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JJRT8MgFIXfTfwPDc+20DZbHGm7OM2eXGLijMY3AndbtVACaLd/L223Wp3xEc65H+eekM33sgo+wdiyVjmKI4ICULwWpdrm6Gm9DK9RYB1TglW1ghwdwKJ5cXmRcU15beDB1BqMK8EGnqQs5TpHO+c0xdjyHUhmI+9QXtzURjLnj2aLNePvbAs4IWSKJTgmmGO4BYZ6IKIjUvABqT9M1QEEx1CBBOUsjqMYf3sdGGn/HOiUkVOW7qD9Tse4Y7bgvTi497YcjE3TRE3axfD5Y/yyun/sVg1L1XbFARWZ4JQbYK42xcIX5Lu4Cm7UG8vwSGlbrJh1K1/4pgSxOPw2nxs8uVukx4MIfDTaL3JSntPbu/USFQlJ0pDMwmS2Jtc0Tmgav7bv/5hvo/YX8pjif+IkJNMwnq49LplRMhkRT4Aiw2ffo/gCAAD//wMAUEsDBBQABgAIAAAAIQAgiNOHmgEAADADAAAQAAgBZG9jUHJvcHMvYXBwLnhtbCCiBAEoo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JyTwW7bMAyG7wP2DoLujZxuKIZAVjGkGXpYsQBx2zMn07FQWRIk1kj69JNtNHHWnXYj+RM/P1GSvD10lvUYk/Gu5MtFwRk67Wvj9iV/rH5cfeMsEbgarHdY8iMmfqs+f5Lb6ANGMphYtnCp5C1RWAmRdIsdpEWWXVYaHzugnMa98E1jNN55/dqhI3FdFDcCD4SuxvoqnAz55Ljq6X9Na68HvvRUHUMGVrLyBLYyHapCinMiv4dgjQbKp1cPRkeffENsc9BopZiLMlPvUL9GQ8fBY57KnQaL6zxQNWATSnEuyHuEYZlbMDEp2dOqR00+smTe8jqvOfsNCQfMkvcQDTjKuEPblIyxDYmievbxJbWIlKTIDVNxDOe989h8VcuxIQeXjYPBBJKFS8TKkMX0q9lCpH8QL+fEI8PEO+FsNuwBAns2bxDrD5jjyfPAv0asfRfAHbNwin4a95IeQ+XvgPB9q5dFuWshYp0v4rT1U0He54VGO5isW3B7rN97PgrDG3iaPoBa3iyKL0W+3llNivNTV38AAAD//wMAUEsBAi0AFAAGAAgAAAAhAEE3gs9uAQAABAUAABMAAAAAAAAAAAAAAAAAAAAAAFtDb250ZW50X1R5cGVzXS54bWxQSwECLQAUAAYACAAAACEAtVUwI/QAAABMAgAACwAAAAAAAAAAAAAAAACnAwAAX3JlbHMvLnJlbHNQSwECLQAUAAYACAAAACEABsXHM74DAABGCQAADwAAAAAAAAAAAAAAAADMBgAAeGwvd29ya2Jvb2sueG1sUEsBAi0AFAAGAAgAAAAhAIE+lJfzAAAAugIAABoAAAAAAAAAAAAAAAAAtwoAAHhsL19yZWxzL3dvcmtib29rLnhtbC5yZWxzUEsBAi0AFAAGAAgAAAAhAH3Pkxi/HwAAmMgAABgAAAAAAAAAAAAAAAAA6gwAAHhsL3dvcmtzaGVldHMvc2hlZXQxLnhtbFBLAQItABQABgAIAAAAIQAVzbtcKwcAAJwgAAATAAAAAAAAAAAAAAAAAN8sAAB4bC90aGVtZS90aGVtZTEueG1sUEsBAi0AFAAGAAgAAAAhAAY1FaFHAwAABAsAAA0AAAAAAAAAAAAAAAAAOzQAAHhsL3N0eWxlcy54bWxQSwECLQAUAAYACAAAACEALiY+ULcIAAAqJQAAFAAAAAAAAAAAAAAAAACtNwAAeGwvc2hhcmVkU3RyaW5ncy54bWxQSwECLQAUAAYACAAAACEAO20yS8EAAABCAQAAIwAAAAAAAAAAAAAAAACWQAAAeGwvd29ya3NoZWV0cy9fcmVscy9zaGVldDEueG1sLnJlbHNQSwECLQAUAAYACAAAACEABDZiiYYBAACwDwAAJwAAAAAAAAAAAAAAAACYQQAAeGwvcHJpbnRlclNldHRpbmdzL3ByaW50ZXJTZXR0aW5nczEuYmluUEsBAi0AFAAGAAgAAAAhAMV07vFNAQAAawIAABEAAAAAAAAAAAAAAAAAY0MAAGRvY1Byb3BzL2NvcmUueG1sUEsBAi0AFAAGAAgAAAAhACCI04eaAQAAMAMAABAAAAAAAAAAAAAAAAAA50UAAGRvY1Byb3BzL2FwcC54bWxQSwUGAAAAAAwADAAmAwAAt0gAAAA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C"/>
  <p:tag name="EE4P_MAPWIZARD_HEADINGS" val="Admin 0\Continent\UN Region\UN Sub Region"/>
  <p:tag name="EE4P_MAPWIZARD" val="New Caledonia\Oceania\Europe\Western Europ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E"/>
  <p:tag name="EE4P_MAPWIZARD_HEADINGS" val="Admin 0\Continent\UN Region\UN Sub Region"/>
  <p:tag name="EE4P_MAPWIZARD" val="Georgia\Asia\Asia\Western Asia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U"/>
  <p:tag name="EE4P_MAPWIZARD_HEADINGS" val="Admin 0\Continent\UN Region\UN Sub Region"/>
  <p:tag name="EE4P_MAPWIZARD" val="Australia\Oceania\Oceania\Australia and New Zealand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FJ"/>
  <p:tag name="EE4P_MAPWIZARD_HEADINGS" val="Admin 0\Continent\UN Region\UN Sub Region"/>
  <p:tag name="EE4P_MAPWIZARD" val="Fiji\Oceania\Oceania\Melanesi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Z"/>
  <p:tag name="EE4P_MAPWIZARD_HEADINGS" val="Admin 0\Continent\UN Region\UN Sub Region"/>
  <p:tag name="EE4P_MAPWIZARD" val="New Zealand\Oceania\Oceania\Australia and New Zealand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PW"/>
  <p:tag name="EE4P_MAPWIZARD_HEADINGS" val="Admin 0\Continent\UN Region\UN Sub Region"/>
  <p:tag name="EE4P_MAPWIZARD" val="Palau\Oceania\Oceania\Micronesia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PG"/>
  <p:tag name="EE4P_MAPWIZARD_HEADINGS" val="Admin 0\Continent\UN Region\UN Sub Region"/>
  <p:tag name="EE4P_MAPWIZARD" val="Papua New Guinea\Oceania\Oceania\Melanesia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B"/>
  <p:tag name="EE4P_MAPWIZARD_HEADINGS" val="Admin 0\Continent\UN Region\UN Sub Region"/>
  <p:tag name="EE4P_MAPWIZARD" val="Solomon Islands\Oceania\Oceania\Melanesi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VU"/>
  <p:tag name="EE4P_MAPWIZARD_HEADINGS" val="Admin 0\Continent\UN Region\UN Sub Region"/>
  <p:tag name="EE4P_MAPWIZARD" val="Vanuatu\Oceania\Oceania\Melanesia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F"/>
  <p:tag name="EE4P_MAPWIZARD_HEADINGS" val="Admin 0\Continent\UN Region\UN Sub Region"/>
  <p:tag name="EE4P_MAPWIZARD" val="Afghanistan\Asia\Asia\Southern Asia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E"/>
  <p:tag name="EE4P_MAPWIZARD_HEADINGS" val="Admin 0\Continent\UN Region\UN Sub Region"/>
  <p:tag name="EE4P_MAPWIZARD" val="United Arab Emirates\Asia\Asia\Western Asi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M"/>
  <p:tag name="EE4P_MAPWIZARD_HEADINGS" val="Admin 0\Continent\UN Region\UN Sub Region"/>
  <p:tag name="EE4P_MAPWIZARD" val="Armenia\Asia\Asia\Western Asi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ID"/>
  <p:tag name="EE4P_MAPWIZARD_HEADINGS" val="Admin 0\Continent\UN Region\UN Sub Region"/>
  <p:tag name="EE4P_MAPWIZARD" val="Indonesia\Asia\Asia\South-Eastern Asia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Z"/>
  <p:tag name="EE4P_MAPWIZARD_HEADINGS" val="Admin 0\Continent\UN Region\UN Sub Region"/>
  <p:tag name="EE4P_MAPWIZARD" val="Azerbaijan\Asia\Asia\Western Asi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D"/>
  <p:tag name="EE4P_MAPWIZARD_HEADINGS" val="Admin 0\Continent\UN Region\UN Sub Region"/>
  <p:tag name="EE4P_MAPWIZARD" val="Bangladesh\Asia\Asia\Southern Asia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H"/>
  <p:tag name="EE4P_MAPWIZARD_HEADINGS" val="Admin 0\Continent\UN Region\UN Sub Region"/>
  <p:tag name="EE4P_MAPWIZARD" val="Bahrain\Asia\Asia\Western Asi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N"/>
  <p:tag name="EE4P_MAPWIZARD_HEADINGS" val="Admin 0\Continent\UN Region\UN Sub Region"/>
  <p:tag name="EE4P_MAPWIZARD" val="Brunei\Asia\Asia\South-Eastern Asia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T"/>
  <p:tag name="EE4P_MAPWIZARD_HEADINGS" val="Admin 0\Continent\UN Region\UN Sub Region"/>
  <p:tag name="EE4P_MAPWIZARD" val="Bhutan\Asia\Asia\Southern Asia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N"/>
  <p:tag name="EE4P_MAPWIZARD_HEADINGS" val="Admin 0\Continent\UN Region\UN Sub Region"/>
  <p:tag name="EE4P_MAPWIZARD" val="China\Asia\Asia\Eastern Asia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Y"/>
  <p:tag name="EE4P_MAPWIZARD_HEADINGS" val="Admin 0\Continent\UN Region\UN Sub Region"/>
  <p:tag name="EE4P_MAPWIZARD" val="Cyprus\Asia\Asia\Western Asia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E"/>
  <p:tag name="EE4P_MAPWIZARD_HEADINGS" val="Admin 0\Continent\UN Region\UN Sub Region"/>
  <p:tag name="EE4P_MAPWIZARD" val="Georgia\Asia\Asia\Western Asia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ID"/>
  <p:tag name="EE4P_MAPWIZARD_HEADINGS" val="Admin 0\Continent\UN Region\UN Sub Region"/>
  <p:tag name="EE4P_MAPWIZARD" val="Indonesia\Asia\Asia\South-Eastern Asia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IN"/>
  <p:tag name="EE4P_MAPWIZARD_HEADINGS" val="Admin 0\Continent\UN Region\UN Sub Region"/>
  <p:tag name="EE4P_MAPWIZARD" val="India\Asia\Asia\Southern Asi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IN"/>
  <p:tag name="EE4P_MAPWIZARD_HEADINGS" val="Admin 0\Continent\UN Region\UN Sub Region"/>
  <p:tag name="EE4P_MAPWIZARD" val="India\Asia\Asia\Southern Asia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IR"/>
  <p:tag name="EE4P_MAPWIZARD_HEADINGS" val="Admin 0\Continent\UN Region\UN Sub Region"/>
  <p:tag name="EE4P_MAPWIZARD" val="Iran\Asia\Asia\Southern Asia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IQ"/>
  <p:tag name="EE4P_MAPWIZARD_HEADINGS" val="Admin 0\Continent\UN Region\UN Sub Region"/>
  <p:tag name="EE4P_MAPWIZARD" val="Iraq\Asia\Asia\Western Asia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IL"/>
  <p:tag name="EE4P_MAPWIZARD_HEADINGS" val="Admin 0\Continent\UN Region\UN Sub Region"/>
  <p:tag name="EE4P_MAPWIZARD" val="Israel\Asia\Asia\Western Asia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JO"/>
  <p:tag name="EE4P_MAPWIZARD_HEADINGS" val="Admin 0\Continent\UN Region\UN Sub Region"/>
  <p:tag name="EE4P_MAPWIZARD" val="Jordan\Asia\Asia\Western Asia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JP"/>
  <p:tag name="EE4P_MAPWIZARD_HEADINGS" val="Admin 0\Continent\UN Region\UN Sub Region"/>
  <p:tag name="EE4P_MAPWIZARD" val="Japan\Asia\Asia\Eastern Asia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XS"/>
  <p:tag name="EE4P_MAPWIZARD_HEADINGS" val="Admin 0\Continent\UN Region\UN Sub Region"/>
  <p:tag name="EE4P_MAPWIZARD" val="Kashmir\Asia\Asia\Southern Asia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KZ"/>
  <p:tag name="EE4P_MAPWIZARD_HEADINGS" val="Admin 0\Continent\UN Region\UN Sub Region"/>
  <p:tag name="EE4P_MAPWIZARD" val="Kazakhstan\Asia\Asia\Central Asi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KG"/>
  <p:tag name="EE4P_MAPWIZARD_HEADINGS" val="Admin 0\Continent\UN Region\UN Sub Region"/>
  <p:tag name="EE4P_MAPWIZARD" val="Kyrgyzstan\Asia\Asia\Central Asi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KH"/>
  <p:tag name="EE4P_MAPWIZARD_HEADINGS" val="Admin 0\Continent\UN Region\UN Sub Region"/>
  <p:tag name="EE4P_MAPWIZARD" val="Cambodia\Asia\Asia\South-Eastern Asia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KR"/>
  <p:tag name="EE4P_MAPWIZARD_HEADINGS" val="Admin 0\Continent\UN Region\UN Sub Region"/>
  <p:tag name="EE4P_MAPWIZARD" val="South Korea\Asia\Asia\Eastern Asi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IR"/>
  <p:tag name="EE4P_MAPWIZARD_HEADINGS" val="Admin 0\Continent\UN Region\UN Sub Region"/>
  <p:tag name="EE4P_MAPWIZARD" val="Iran\Asia\Asia\Southern Asia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KW"/>
  <p:tag name="EE4P_MAPWIZARD_HEADINGS" val="Admin 0\Continent\UN Region\UN Sub Region"/>
  <p:tag name="EE4P_MAPWIZARD" val="Kuwait\Asia\Asia\Western Asi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A"/>
  <p:tag name="EE4P_MAPWIZARD_HEADINGS" val="Admin 0\Continent\UN Region\UN Sub Region"/>
  <p:tag name="EE4P_MAPWIZARD" val="Laos\Asia\Asia\South-Eastern Asia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B"/>
  <p:tag name="EE4P_MAPWIZARD_HEADINGS" val="Admin 0\Continent\UN Region\UN Sub Region"/>
  <p:tag name="EE4P_MAPWIZARD" val="Lebanon\Asia\Asia\Western Asia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K"/>
  <p:tag name="EE4P_MAPWIZARD_HEADINGS" val="Admin 0\Continent\UN Region\UN Sub Region"/>
  <p:tag name="EE4P_MAPWIZARD" val="Sri Lanka\Asia\Asia\Southern Asi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M"/>
  <p:tag name="EE4P_MAPWIZARD_HEADINGS" val="Admin 0\Continent\UN Region\UN Sub Region"/>
  <p:tag name="EE4P_MAPWIZARD" val="Myanmar\Asia\Asia\South-Eastern Asi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N"/>
  <p:tag name="EE4P_MAPWIZARD_HEADINGS" val="Admin 0\Continent\UN Region\UN Sub Region"/>
  <p:tag name="EE4P_MAPWIZARD" val="Mongolia\Asia\Asia\Eastern Asia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Y"/>
  <p:tag name="EE4P_MAPWIZARD_HEADINGS" val="Admin 0\Continent\UN Region\UN Sub Region"/>
  <p:tag name="EE4P_MAPWIZARD" val="Malaysia\Asia\Asia\South-Eastern Asia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P"/>
  <p:tag name="EE4P_MAPWIZARD_HEADINGS" val="Admin 0\Continent\UN Region\UN Sub Region"/>
  <p:tag name="EE4P_MAPWIZARD" val="Nepal\Asia\Asia\Southern Asia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OM"/>
  <p:tag name="EE4P_MAPWIZARD_HEADINGS" val="Admin 0\Continent\UN Region\UN Sub Region"/>
  <p:tag name="EE4P_MAPWIZARD" val="Oman\Asia\Asia\Western Asi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PK"/>
  <p:tag name="EE4P_MAPWIZARD_HEADINGS" val="Admin 0\Continent\UN Region\UN Sub Region"/>
  <p:tag name="EE4P_MAPWIZARD" val="Pakistan\Asia\Asia\Southern Asi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IQ"/>
  <p:tag name="EE4P_MAPWIZARD_HEADINGS" val="Admin 0\Continent\UN Region\UN Sub Region"/>
  <p:tag name="EE4P_MAPWIZARD" val="Iraq\Asia\Asia\Western Asia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PH"/>
  <p:tag name="EE4P_MAPWIZARD_HEADINGS" val="Admin 0\Continent\UN Region\UN Sub Region"/>
  <p:tag name="EE4P_MAPWIZARD" val="Philippines\Asia\Asia\South-Eastern Asi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KP"/>
  <p:tag name="EE4P_MAPWIZARD_HEADINGS" val="Admin 0\Continent\UN Region\UN Sub Region"/>
  <p:tag name="EE4P_MAPWIZARD" val="North Korea\Asia\Asia\Eastern Asia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QA"/>
  <p:tag name="EE4P_MAPWIZARD_HEADINGS" val="Admin 0\Continent\UN Region\UN Sub Region"/>
  <p:tag name="EE4P_MAPWIZARD" val="Qatar\Asia\Asia\Western Asia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A"/>
  <p:tag name="EE4P_MAPWIZARD_HEADINGS" val="Admin 0\Continent\UN Region\UN Sub Region"/>
  <p:tag name="EE4P_MAPWIZARD" val="Saudi Arabia\Asia\Asia\Western Asia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G"/>
  <p:tag name="EE4P_MAPWIZARD_HEADINGS" val="Admin 0\Continent\UN Region\UN Sub Region"/>
  <p:tag name="EE4P_MAPWIZARD" val="Singapore\Asia\Asia\South-Eastern Asi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Y"/>
  <p:tag name="EE4P_MAPWIZARD_HEADINGS" val="Admin 0\Continent\UN Region\UN Sub Region"/>
  <p:tag name="EE4P_MAPWIZARD" val="Syria\Asia\Asia\Western Asia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H"/>
  <p:tag name="EE4P_MAPWIZARD_HEADINGS" val="Admin 0\Continent\UN Region\UN Sub Region"/>
  <p:tag name="EE4P_MAPWIZARD" val="Thailand\Asia\Asia\South-Eastern Asia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J"/>
  <p:tag name="EE4P_MAPWIZARD_HEADINGS" val="Admin 0\Continent\UN Region\UN Sub Region"/>
  <p:tag name="EE4P_MAPWIZARD" val="Tajikistan\Asia\Asia\Central Asi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M"/>
  <p:tag name="EE4P_MAPWIZARD_HEADINGS" val="Admin 0\Continent\UN Region\UN Sub Region"/>
  <p:tag name="EE4P_MAPWIZARD" val="Turkmenistan\Asia\Asia\Central Asi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L"/>
  <p:tag name="EE4P_MAPWIZARD_HEADINGS" val="Admin 0\Continent\UN Region\UN Sub Region"/>
  <p:tag name="EE4P_MAPWIZARD" val="East Timor\Asia\Asia\South-Eastern Asi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IL"/>
  <p:tag name="EE4P_MAPWIZARD_HEADINGS" val="Admin 0\Continent\UN Region\UN Sub Region"/>
  <p:tag name="EE4P_MAPWIZARD" val="Israel\Asia\Asia\Western Asi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R"/>
  <p:tag name="EE4P_MAPWIZARD_HEADINGS" val="Admin 0\Continent\UN Region\UN Sub Region"/>
  <p:tag name="EE4P_MAPWIZARD" val="Turkey\Asia\Asia\Western Asia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W"/>
  <p:tag name="EE4P_MAPWIZARD_HEADINGS" val="Admin 0\Continent\UN Region\UN Sub Region"/>
  <p:tag name="EE4P_MAPWIZARD" val="Taiwan\Asia\Asia\Eastern Asia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UZ"/>
  <p:tag name="EE4P_MAPWIZARD_HEADINGS" val="Admin 0\Continent\UN Region\UN Sub Region"/>
  <p:tag name="EE4P_MAPWIZARD" val="Uzbekistan\Asia\Asia\Central Asia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VN"/>
  <p:tag name="EE4P_MAPWIZARD_HEADINGS" val="Admin 0\Continent\UN Region\UN Sub Region"/>
  <p:tag name="EE4P_MAPWIZARD" val="Vietnam\Asia\Asia\South-Eastern Asia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YE"/>
  <p:tag name="EE4P_MAPWIZARD_HEADINGS" val="Admin 0\Continent\UN Region\UN Sub Region"/>
  <p:tag name="EE4P_MAPWIZARD" val="Yemen\Asia\Asia\Western Asia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RU"/>
  <p:tag name="EE4P_MAPWIZARD_HEADINGS" val="Admin 0\Continent\UN Region\UN Sub Region"/>
  <p:tag name="EE4P_MAPWIZARD" val="Russia\Europe\Europe\Eastern Europ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L"/>
  <p:tag name="EE4P_MAPWIZARD_HEADINGS" val="Admin 0\Continent\UN Region\UN Sub Region"/>
  <p:tag name="EE4P_MAPWIZARD" val="Albania\Europe\Europe\Southern Europ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D"/>
  <p:tag name="EE4P_MAPWIZARD_HEADINGS" val="Admin 0\Continent\UN Region\UN Sub Region"/>
  <p:tag name="EE4P_MAPWIZARD" val="Andorra\Europe\Europe\Southern Europe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T"/>
  <p:tag name="EE4P_MAPWIZARD_HEADINGS" val="Admin 0\Continent\UN Region\UN Sub Region"/>
  <p:tag name="EE4P_MAPWIZARD" val="Austria\Europe\Europe\Western Europ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E"/>
  <p:tag name="EE4P_MAPWIZARD_HEADINGS" val="Admin 0\Continent\UN Region\UN Sub Region"/>
  <p:tag name="EE4P_MAPWIZARD" val="Belgium\Europe\Europe\Western Europ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JO"/>
  <p:tag name="EE4P_MAPWIZARD_HEADINGS" val="Admin 0\Continent\UN Region\UN Sub Region"/>
  <p:tag name="EE4P_MAPWIZARD" val="Jordan\Asia\Asia\Western Asi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G"/>
  <p:tag name="EE4P_MAPWIZARD_HEADINGS" val="Admin 0\Continent\UN Region\UN Sub Region"/>
  <p:tag name="EE4P_MAPWIZARD" val="Bulgaria\Europe\Europe\Eastern Europ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A"/>
  <p:tag name="EE4P_MAPWIZARD_HEADINGS" val="Admin 0\Continent\UN Region\UN Sub Region"/>
  <p:tag name="EE4P_MAPWIZARD" val="Bosnia and Herzegovina\Europe\Europe\Southern Europe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Y"/>
  <p:tag name="EE4P_MAPWIZARD_HEADINGS" val="Admin 0\Continent\UN Region\UN Sub Region"/>
  <p:tag name="EE4P_MAPWIZARD" val="Belarus\Europe\Europe\Eastern Europ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H"/>
  <p:tag name="EE4P_MAPWIZARD_HEADINGS" val="Admin 0\Continent\UN Region\UN Sub Region"/>
  <p:tag name="EE4P_MAPWIZARD" val="Switzerland\Europe\Europe\Western Europ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Z"/>
  <p:tag name="EE4P_MAPWIZARD_HEADINGS" val="Admin 0\Continent\UN Region\UN Sub Region"/>
  <p:tag name="EE4P_MAPWIZARD" val="Czech Republic\Europe\Europe\Eastern Europe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DE"/>
  <p:tag name="EE4P_MAPWIZARD_HEADINGS" val="Admin 0\Continent\UN Region\UN Sub Region"/>
  <p:tag name="EE4P_MAPWIZARD" val="Germany\Europe\Europe\Western Europ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DK"/>
  <p:tag name="EE4P_MAPWIZARD_HEADINGS" val="Admin 0\Continent\UN Region\UN Sub Region"/>
  <p:tag name="EE4P_MAPWIZARD" val="Denmark\Europe\Europe\Northern Europ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DK"/>
  <p:tag name="EE4P_MAPWIZARD_HEADINGS" val="Admin 0\Continent\UN Region\UN Sub Region"/>
  <p:tag name="EE4P_MAPWIZARD" val="Denmark\Europe\Europe\Northern Europ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DK"/>
  <p:tag name="EE4P_MAPWIZARD_HEADINGS" val="Admin 0\Continent\UN Region\UN Sub Region"/>
  <p:tag name="EE4P_MAPWIZARD" val="Denmark\Europe\Europe\Northern Europ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S"/>
  <p:tag name="EE4P_MAPWIZARD_HEADINGS" val="Admin 0\Continent\UN Region\UN Sub Region"/>
  <p:tag name="EE4P_MAPWIZARD" val="Spain\Europe\Europe\Southern Europ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JP"/>
  <p:tag name="EE4P_MAPWIZARD_HEADINGS" val="Admin 0\Continent\UN Region\UN Sub Region"/>
  <p:tag name="EE4P_MAPWIZARD" val="Japan\Asia\Asia\Eastern Asia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S"/>
  <p:tag name="EE4P_MAPWIZARD_HEADINGS" val="Admin 0\Continent\UN Region\UN Sub Region"/>
  <p:tag name="EE4P_MAPWIZARD" val="Spain\Europe\Europe\Southern Europ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E"/>
  <p:tag name="EE4P_MAPWIZARD_HEADINGS" val="Admin 0\Continent\UN Region\UN Sub Region"/>
  <p:tag name="EE4P_MAPWIZARD" val="Estonia\Europe\Europe\Northern Europe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FI"/>
  <p:tag name="EE4P_MAPWIZARD_HEADINGS" val="Admin 0\Continent\UN Region\UN Sub Region"/>
  <p:tag name="EE4P_MAPWIZARD" val="Finland\Europe\Europe\Northern Europe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FR"/>
  <p:tag name="EE4P_MAPWIZARD_HEADINGS" val="Admin 0\Continent\UN Region\UN Sub Region"/>
  <p:tag name="EE4P_MAPWIZARD" val="France\Europe\Europe\Western Europe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B"/>
  <p:tag name="EE4P_MAPWIZARD_HEADINGS" val="Admin 0\Continent\UN Region\UN Sub Region"/>
  <p:tag name="EE4P_MAPWIZARD" val="United Kingdom\Europe\Europe\Northern Europe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R"/>
  <p:tag name="EE4P_MAPWIZARD_HEADINGS" val="Admin 0\Continent\UN Region\UN Sub Region"/>
  <p:tag name="EE4P_MAPWIZARD" val="Greece\Europe\Europe\Southern Europe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HR"/>
  <p:tag name="EE4P_MAPWIZARD_HEADINGS" val="Admin 0\Continent\UN Region\UN Sub Region"/>
  <p:tag name="EE4P_MAPWIZARD" val="Croatia\Europe\Europe\Southern Europe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HU"/>
  <p:tag name="EE4P_MAPWIZARD_HEADINGS" val="Admin 0\Continent\UN Region\UN Sub Region"/>
  <p:tag name="EE4P_MAPWIZARD" val="Hungary\Europe\Europe\Eastern Europe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IE"/>
  <p:tag name="EE4P_MAPWIZARD_HEADINGS" val="Admin 0\Continent\UN Region\UN Sub Region"/>
  <p:tag name="EE4P_MAPWIZARD" val="Ireland\Europe\Europe\Northern Europ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IS"/>
  <p:tag name="EE4P_MAPWIZARD_HEADINGS" val="Admin 0\Continent\UN Region\UN Sub Region"/>
  <p:tag name="EE4P_MAPWIZARD" val="Iceland\Europe\Europe\Northern Europ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XS"/>
  <p:tag name="EE4P_MAPWIZARD_HEADINGS" val="Admin 0\Continent\UN Region\UN Sub Region"/>
  <p:tag name="EE4P_MAPWIZARD" val="Kashmir\Asia\Asia\Southern Asia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IT"/>
  <p:tag name="EE4P_MAPWIZARD_HEADINGS" val="Admin 0\Continent\UN Region\UN Sub Region"/>
  <p:tag name="EE4P_MAPWIZARD" val="Italy\Europe\Europe\Southern Europ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M"/>
  <p:tag name="EE4P_MAPWIZARD_HEADINGS" val="Admin 0\Continent\UN Region\UN Sub Region"/>
  <p:tag name="EE4P_MAPWIZARD" val="San Marino\Europe\Europe\Southern Europe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XK"/>
  <p:tag name="EE4P_MAPWIZARD_HEADINGS" val="Admin 0\Continent\UN Region\UN Sub Region"/>
  <p:tag name="EE4P_MAPWIZARD" val="Kosovo\Europe\Europe\Southern Europe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I"/>
  <p:tag name="EE4P_MAPWIZARD_HEADINGS" val="Admin 0\Continent\UN Region\UN Sub Region"/>
  <p:tag name="EE4P_MAPWIZARD" val="Liechtenstein\Europe\Europe\Western Europe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T"/>
  <p:tag name="EE4P_MAPWIZARD_HEADINGS" val="Admin 0\Continent\UN Region\UN Sub Region"/>
  <p:tag name="EE4P_MAPWIZARD" val="Lithuania\Europe\Europe\Northern Europe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U"/>
  <p:tag name="EE4P_MAPWIZARD_HEADINGS" val="Admin 0\Continent\UN Region\UN Sub Region"/>
  <p:tag name="EE4P_MAPWIZARD" val="Luxembourg\Europe\Europe\Western Europe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V"/>
  <p:tag name="EE4P_MAPWIZARD_HEADINGS" val="Admin 0\Continent\UN Region\UN Sub Region"/>
  <p:tag name="EE4P_MAPWIZARD" val="Latvia\Europe\Europe\Northern Europe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C"/>
  <p:tag name="EE4P_MAPWIZARD_HEADINGS" val="Admin 0\Continent\UN Region\UN Sub Region"/>
  <p:tag name="EE4P_MAPWIZARD" val="Monaco\Europe\Europe\Western Europe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D"/>
  <p:tag name="EE4P_MAPWIZARD_HEADINGS" val="Admin 0\Continent\UN Region\UN Sub Region"/>
  <p:tag name="EE4P_MAPWIZARD" val="Moldova\Europe\Europe\Eastern Europ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K"/>
  <p:tag name="EE4P_MAPWIZARD_HEADINGS" val="Admin 0\Continent\UN Region\UN Sub Region"/>
  <p:tag name="EE4P_MAPWIZARD" val="Macedonia\Europe\Europe\Southern Europ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C"/>
  <p:tag name="EE4P_MAPWIZARD_HEADINGS" val="Admin 0\Continent\UN Region\UN Sub Region"/>
  <p:tag name="EE4P_MAPWIZARD" val="New Caledonia\Oceania\Europe\Western Europ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KZ"/>
  <p:tag name="EE4P_MAPWIZARD_HEADINGS" val="Admin 0\Continent\UN Region\UN Sub Region"/>
  <p:tag name="EE4P_MAPWIZARD" val="Kazakhstan\Asia\Asia\Central Asia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T"/>
  <p:tag name="EE4P_MAPWIZARD_HEADINGS" val="Admin 0\Continent\UN Region\UN Sub Region"/>
  <p:tag name="EE4P_MAPWIZARD" val="Malta\Europe\Europe\Southern Europe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T"/>
  <p:tag name="EE4P_MAPWIZARD_HEADINGS" val="Admin 0\Continent\UN Region\UN Sub Region"/>
  <p:tag name="EE4P_MAPWIZARD" val="Malta\Europe\Europe\Southern Europ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E"/>
  <p:tag name="EE4P_MAPWIZARD_HEADINGS" val="Admin 0\Continent\UN Region\UN Sub Region"/>
  <p:tag name="EE4P_MAPWIZARD" val="Montenegro\Europe\Europe\Southern Europe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L"/>
  <p:tag name="EE4P_MAPWIZARD_HEADINGS" val="Admin 0\Continent\UN Region\UN Sub Region"/>
  <p:tag name="EE4P_MAPWIZARD" val="Netherlands\Europe\Europe\Western Europ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O"/>
  <p:tag name="EE4P_MAPWIZARD_HEADINGS" val="Admin 0\Continent\UN Region\UN Sub Region"/>
  <p:tag name="EE4P_MAPWIZARD" val="Norway\Europe\Europe\Northern Europe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O"/>
  <p:tag name="EE4P_MAPWIZARD_HEADINGS" val="Admin 0\Continent\UN Region\UN Sub Region"/>
  <p:tag name="EE4P_MAPWIZARD" val="Norway\Europe\Europe\Northern Europe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PL"/>
  <p:tag name="EE4P_MAPWIZARD_HEADINGS" val="Admin 0\Continent\UN Region\UN Sub Region"/>
  <p:tag name="EE4P_MAPWIZARD" val="Poland\Europe\Europe\Eastern Europe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PT"/>
  <p:tag name="EE4P_MAPWIZARD_HEADINGS" val="Admin 0\Continent\UN Region\UN Sub Region"/>
  <p:tag name="EE4P_MAPWIZARD" val="Portugal\Europe\Europe\Southern Europe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PT"/>
  <p:tag name="EE4P_MAPWIZARD_HEADINGS" val="Admin 0\Continent\UN Region\UN Sub Region"/>
  <p:tag name="EE4P_MAPWIZARD" val="Portugal\Europe\Europe\Southern Europe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RO"/>
  <p:tag name="EE4P_MAPWIZARD_HEADINGS" val="Admin 0\Continent\UN Region\UN Sub Region"/>
  <p:tag name="EE4P_MAPWIZARD" val="Romania\Europe\Europe\Eastern Europ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KG"/>
  <p:tag name="EE4P_MAPWIZARD_HEADINGS" val="Admin 0\Continent\UN Region\UN Sub Region"/>
  <p:tag name="EE4P_MAPWIZARD" val="Kyrgyzstan\Asia\Asia\Central Asia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IT"/>
  <p:tag name="EE4P_MAPWIZARD_HEADINGS" val="Admin 0\Continent\UN Region\UN Sub Region"/>
  <p:tag name="EE4P_MAPWIZARD" val="Italy\Europe\Europe\Southern Europe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RS"/>
  <p:tag name="EE4P_MAPWIZARD_HEADINGS" val="Admin 0\Continent\UN Region\UN Sub Region"/>
  <p:tag name="EE4P_MAPWIZARD" val="Republic of Serbia\Europe\Europe\Southern Europe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K"/>
  <p:tag name="EE4P_MAPWIZARD_HEADINGS" val="Admin 0\Continent\UN Region\UN Sub Region"/>
  <p:tag name="EE4P_MAPWIZARD" val="Slovakia\Europe\Europe\Eastern Europe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I"/>
  <p:tag name="EE4P_MAPWIZARD_HEADINGS" val="Admin 0\Continent\UN Region\UN Sub Region"/>
  <p:tag name="EE4P_MAPWIZARD" val="Slovenia\Europe\Europe\Southern Europe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E"/>
  <p:tag name="EE4P_MAPWIZARD_HEADINGS" val="Admin 0\Continent\UN Region\UN Sub Region"/>
  <p:tag name="EE4P_MAPWIZARD" val="Sweden\Europe\Europe\Northern Europe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UA"/>
  <p:tag name="EE4P_MAPWIZARD_HEADINGS" val="Admin 0\Continent\UN Region\UN Sub Region"/>
  <p:tag name="EE4P_MAPWIZARD" val="Ukraine\Europe\Europe\Eastern Europe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VA"/>
  <p:tag name="EE4P_MAPWIZARD_HEADINGS" val="Admin 0\Continent\UN Region\UN Sub Region"/>
  <p:tag name="EE4P_MAPWIZARD" val="Vatican\Europe\Europe\Southern Europe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O"/>
  <p:tag name="EE4P_MAPWIZARD_HEADINGS" val="Admin 0\Continent\UN Region\UN Sub Region"/>
  <p:tag name="EE4P_MAPWIZARD" val="Angola\Africa\Africa\Middle Africa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I"/>
  <p:tag name="EE4P_MAPWIZARD_HEADINGS" val="Admin 0\Continent\UN Region\UN Sub Region"/>
  <p:tag name="EE4P_MAPWIZARD" val="Burundi\Africa\Africa\Eastern Africa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J"/>
  <p:tag name="EE4P_MAPWIZARD_HEADINGS" val="Admin 0\Continent\UN Region\UN Sub Region"/>
  <p:tag name="EE4P_MAPWIZARD" val="Benin\Africa\Africa\Western Afric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KH"/>
  <p:tag name="EE4P_MAPWIZARD_HEADINGS" val="Admin 0\Continent\UN Region\UN Sub Region"/>
  <p:tag name="EE4P_MAPWIZARD" val="Cambodia\Asia\Asia\South-Eastern Asia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F"/>
  <p:tag name="EE4P_MAPWIZARD_HEADINGS" val="Admin 0\Continent\UN Region\UN Sub Region"/>
  <p:tag name="EE4P_MAPWIZARD" val="Burkina Faso\Africa\Africa\Western Africa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W"/>
  <p:tag name="EE4P_MAPWIZARD_HEADINGS" val="Admin 0\Continent\UN Region\UN Sub Region"/>
  <p:tag name="EE4P_MAPWIZARD" val="Botswana\Africa\Africa\Southern Africa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F"/>
  <p:tag name="EE4P_MAPWIZARD_HEADINGS" val="Admin 0\Continent\UN Region\UN Sub Region"/>
  <p:tag name="EE4P_MAPWIZARD" val="Central African Republic\Africa\Africa\Middle Africa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I"/>
  <p:tag name="EE4P_MAPWIZARD_HEADINGS" val="Admin 0\Continent\UN Region\UN Sub Region"/>
  <p:tag name="EE4P_MAPWIZARD" val="Ivory Coast\Africa\Africa\Western Africa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M"/>
  <p:tag name="EE4P_MAPWIZARD_HEADINGS" val="Admin 0\Continent\UN Region\UN Sub Region"/>
  <p:tag name="EE4P_MAPWIZARD" val="Cameroon\Africa\Africa\Middle Africa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D"/>
  <p:tag name="EE4P_MAPWIZARD_HEADINGS" val="Admin 0\Continent\UN Region\UN Sub Region"/>
  <p:tag name="EE4P_MAPWIZARD" val="Democratic Republic of the Congo\Africa\Africa\Middle Africa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G"/>
  <p:tag name="EE4P_MAPWIZARD_HEADINGS" val="Admin 0\Continent\UN Region\UN Sub Region"/>
  <p:tag name="EE4P_MAPWIZARD" val="Republic of Congo\Africa\Africa\Middle Africa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KM"/>
  <p:tag name="EE4P_MAPWIZARD_HEADINGS" val="Admin 0\Continent\UN Region\UN Sub Region"/>
  <p:tag name="EE4P_MAPWIZARD" val="Comoros\Africa\Africa\Eastern Africa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V"/>
  <p:tag name="EE4P_MAPWIZARD_HEADINGS" val="Admin 0\Continent\UN Region\UN Sub Region"/>
  <p:tag name="EE4P_MAPWIZARD" val="Cape Verde\Africa\Africa\Western Africa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DJ"/>
  <p:tag name="EE4P_MAPWIZARD_HEADINGS" val="Admin 0\Continent\UN Region\UN Sub Region"/>
  <p:tag name="EE4P_MAPWIZARD" val="Djibouti\Africa\Africa\Eastern Afric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KR"/>
  <p:tag name="EE4P_MAPWIZARD_HEADINGS" val="Admin 0\Continent\UN Region\UN Sub Region"/>
  <p:tag name="EE4P_MAPWIZARD" val="South Korea\Asia\Asia\Eastern Asia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DZ"/>
  <p:tag name="EE4P_MAPWIZARD_HEADINGS" val="Admin 0\Continent\UN Region\UN Sub Region"/>
  <p:tag name="EE4P_MAPWIZARD" val="Algeria\Africa\Africa\Northern Africa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G"/>
  <p:tag name="EE4P_MAPWIZARD_HEADINGS" val="Admin 0\Continent\UN Region\UN Sub Region"/>
  <p:tag name="EE4P_MAPWIZARD" val="Egypt\Africa\Africa\Northern Africa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R"/>
  <p:tag name="EE4P_MAPWIZARD_HEADINGS" val="Admin 0\Continent\UN Region\UN Sub Region"/>
  <p:tag name="EE4P_MAPWIZARD" val="Eritrea\Africa\Africa\Eastern Africa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T"/>
  <p:tag name="EE4P_MAPWIZARD_HEADINGS" val="Admin 0\Continent\UN Region\UN Sub Region"/>
  <p:tag name="EE4P_MAPWIZARD" val="Ethiopia\Africa\Africa\Eastern Africa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A"/>
  <p:tag name="EE4P_MAPWIZARD_HEADINGS" val="Admin 0\Continent\UN Region\UN Sub Region"/>
  <p:tag name="EE4P_MAPWIZARD" val="Gabon\Africa\Africa\Middle Africa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H"/>
  <p:tag name="EE4P_MAPWIZARD_HEADINGS" val="Admin 0\Continent\UN Region\UN Sub Region"/>
  <p:tag name="EE4P_MAPWIZARD" val="Ghana\Africa\Africa\Western Afric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N"/>
  <p:tag name="EE4P_MAPWIZARD_HEADINGS" val="Admin 0\Continent\UN Region\UN Sub Region"/>
  <p:tag name="EE4P_MAPWIZARD" val="Guinea\Africa\Africa\Western Africa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M"/>
  <p:tag name="EE4P_MAPWIZARD_HEADINGS" val="Admin 0\Continent\UN Region\UN Sub Region"/>
  <p:tag name="EE4P_MAPWIZARD" val="Gambia\Africa\Africa\Western Africa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W"/>
  <p:tag name="EE4P_MAPWIZARD_HEADINGS" val="Admin 0\Continent\UN Region\UN Sub Region"/>
  <p:tag name="EE4P_MAPWIZARD" val="Guinea Bissau\Africa\Africa\Western Africa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Q"/>
  <p:tag name="EE4P_MAPWIZARD_HEADINGS" val="Admin 0\Continent\UN Region\UN Sub Region"/>
  <p:tag name="EE4P_MAPWIZARD" val="Equatorial Guinea\Africa\Africa\Middle Afric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KW"/>
  <p:tag name="EE4P_MAPWIZARD_HEADINGS" val="Admin 0\Continent\UN Region\UN Sub Region"/>
  <p:tag name="EE4P_MAPWIZARD" val="Kuwait\Asia\Asia\Western Asia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KE"/>
  <p:tag name="EE4P_MAPWIZARD_HEADINGS" val="Admin 0\Continent\UN Region\UN Sub Region"/>
  <p:tag name="EE4P_MAPWIZARD" val="Kenya\Africa\Africa\Eastern Africa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R"/>
  <p:tag name="EE4P_MAPWIZARD_HEADINGS" val="Admin 0\Continent\UN Region\UN Sub Region"/>
  <p:tag name="EE4P_MAPWIZARD" val="Liberia\Africa\Africa\Western Africa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Y"/>
  <p:tag name="EE4P_MAPWIZARD_HEADINGS" val="Admin 0\Continent\UN Region\UN Sub Region"/>
  <p:tag name="EE4P_MAPWIZARD" val="Libya\Africa\Africa\Northern Africa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S"/>
  <p:tag name="EE4P_MAPWIZARD_HEADINGS" val="Admin 0\Continent\UN Region\UN Sub Region"/>
  <p:tag name="EE4P_MAPWIZARD" val="Lesotho\Africa\Africa\Southern Africa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A"/>
  <p:tag name="EE4P_MAPWIZARD_HEADINGS" val="Admin 0\Continent\UN Region\UN Sub Region"/>
  <p:tag name="EE4P_MAPWIZARD" val="Morocco\Africa\Africa\Northern Africa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G"/>
  <p:tag name="EE4P_MAPWIZARD_HEADINGS" val="Admin 0\Continent\UN Region\UN Sub Region"/>
  <p:tag name="EE4P_MAPWIZARD" val="Madagascar\Africa\Africa\Eastern Africa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L"/>
  <p:tag name="EE4P_MAPWIZARD_HEADINGS" val="Admin 0\Continent\UN Region\UN Sub Region"/>
  <p:tag name="EE4P_MAPWIZARD" val="Mali\Africa\Africa\Western Africa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Z"/>
  <p:tag name="EE4P_MAPWIZARD_HEADINGS" val="Admin 0\Continent\UN Region\UN Sub Region"/>
  <p:tag name="EE4P_MAPWIZARD" val="Mozambique\Africa\Africa\Eastern Africa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R"/>
  <p:tag name="EE4P_MAPWIZARD_HEADINGS" val="Admin 0\Continent\UN Region\UN Sub Region"/>
  <p:tag name="EE4P_MAPWIZARD" val="Mauritania\Africa\Africa\Western Africa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U"/>
  <p:tag name="EE4P_MAPWIZARD_HEADINGS" val="Admin 0\Continent\UN Region\UN Sub Region"/>
  <p:tag name="EE4P_MAPWIZARD" val="Mauritius\Seven seas (open ocean)\Africa\Eastern Afric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A"/>
  <p:tag name="EE4P_MAPWIZARD_HEADINGS" val="Admin 0\Continent\UN Region\UN Sub Region"/>
  <p:tag name="EE4P_MAPWIZARD" val="Laos\Asia\Asia\South-Eastern Asia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W"/>
  <p:tag name="EE4P_MAPWIZARD_HEADINGS" val="Admin 0\Continent\UN Region\UN Sub Region"/>
  <p:tag name="EE4P_MAPWIZARD" val="Malawi\Africa\Africa\Eastern Africa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A"/>
  <p:tag name="EE4P_MAPWIZARD_HEADINGS" val="Admin 0\Continent\UN Region\UN Sub Region"/>
  <p:tag name="EE4P_MAPWIZARD" val="Namibia\Africa\Africa\Southern Afric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E"/>
  <p:tag name="EE4P_MAPWIZARD_HEADINGS" val="Admin 0\Continent\UN Region\UN Sub Region"/>
  <p:tag name="EE4P_MAPWIZARD" val="Niger\Africa\Africa\Western Africa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G"/>
  <p:tag name="EE4P_MAPWIZARD_HEADINGS" val="Admin 0\Continent\UN Region\UN Sub Region"/>
  <p:tag name="EE4P_MAPWIZARD" val="Nigeria\Africa\Africa\Western Africa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RW"/>
  <p:tag name="EE4P_MAPWIZARD_HEADINGS" val="Admin 0\Continent\UN Region\UN Sub Region"/>
  <p:tag name="EE4P_MAPWIZARD" val="Rwanda\Africa\Africa\Eastern Africa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H"/>
  <p:tag name="EE4P_MAPWIZARD_HEADINGS" val="Admin 0\Continent\UN Region\UN Sub Region"/>
  <p:tag name="EE4P_MAPWIZARD" val="Western Sahara\Africa\Africa\Northern Africa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D"/>
  <p:tag name="EE4P_MAPWIZARD_HEADINGS" val="Admin 0\Continent\UN Region\UN Sub Region"/>
  <p:tag name="EE4P_MAPWIZARD" val="Sudan\Africa\Africa\Northern Africa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S"/>
  <p:tag name="EE4P_MAPWIZARD_HEADINGS" val="Admin 0\Continent\UN Region\UN Sub Region"/>
  <p:tag name="EE4P_MAPWIZARD" val="South Sudan\Africa\Africa\Eastern Africa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N"/>
  <p:tag name="EE4P_MAPWIZARD_HEADINGS" val="Admin 0\Continent\UN Region\UN Sub Region"/>
  <p:tag name="EE4P_MAPWIZARD" val="Senegal\Africa\Africa\Western Africa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L"/>
  <p:tag name="EE4P_MAPWIZARD_HEADINGS" val="Admin 0\Continent\UN Region\UN Sub Region"/>
  <p:tag name="EE4P_MAPWIZARD" val="Sierra Leone\Africa\Africa\Western Afric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B"/>
  <p:tag name="EE4P_MAPWIZARD_HEADINGS" val="Admin 0\Continent\UN Region\UN Sub Region"/>
  <p:tag name="EE4P_MAPWIZARD" val="Lebanon\Asia\Asia\Western Asia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O"/>
  <p:tag name="EE4P_MAPWIZARD_HEADINGS" val="Admin 0\Continent\UN Region\UN Sub Region"/>
  <p:tag name="EE4P_MAPWIZARD" val="Somalia\Africa\Africa\Eastern Africa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T"/>
  <p:tag name="EE4P_MAPWIZARD_HEADINGS" val="Admin 0\Continent\UN Region\UN Sub Region"/>
  <p:tag name="EE4P_MAPWIZARD" val="Sao Tome and Principe\Africa\Africa\Middle Africa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Z"/>
  <p:tag name="EE4P_MAPWIZARD_HEADINGS" val="Admin 0\Continent\UN Region\UN Sub Region"/>
  <p:tag name="EE4P_MAPWIZARD" val="Swaziland\Africa\Africa\Southern Africa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D"/>
  <p:tag name="EE4P_MAPWIZARD_HEADINGS" val="Admin 0\Continent\UN Region\UN Sub Region"/>
  <p:tag name="EE4P_MAPWIZARD" val="Chad\Africa\Africa\Middle Africa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G"/>
  <p:tag name="EE4P_MAPWIZARD_HEADINGS" val="Admin 0\Continent\UN Region\UN Sub Region"/>
  <p:tag name="EE4P_MAPWIZARD" val="Togo\Africa\Africa\Western Africa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N"/>
  <p:tag name="EE4P_MAPWIZARD_HEADINGS" val="Admin 0\Continent\UN Region\UN Sub Region"/>
  <p:tag name="EE4P_MAPWIZARD" val="Tunisia\Africa\Africa\Northern Africa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Z"/>
  <p:tag name="EE4P_MAPWIZARD_HEADINGS" val="Admin 0\Continent\UN Region\UN Sub Region"/>
  <p:tag name="EE4P_MAPWIZARD" val="United Republic of Tanzania\Africa\Africa\Eastern Africa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UG"/>
  <p:tag name="EE4P_MAPWIZARD_HEADINGS" val="Admin 0\Continent\UN Region\UN Sub Region"/>
  <p:tag name="EE4P_MAPWIZARD" val="Uganda\Africa\Africa\Eastern Africa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ZA"/>
  <p:tag name="EE4P_MAPWIZARD_HEADINGS" val="Admin 0\Continent\UN Region\UN Sub Region"/>
  <p:tag name="EE4P_MAPWIZARD" val="South Africa\Africa\Africa\Southern Africa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ZM"/>
  <p:tag name="EE4P_MAPWIZARD_HEADINGS" val="Admin 0\Continent\UN Region\UN Sub Region"/>
  <p:tag name="EE4P_MAPWIZARD" val="Zambia\Africa\Africa\Eastern Afric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K"/>
  <p:tag name="EE4P_MAPWIZARD_HEADINGS" val="Admin 0\Continent\UN Region\UN Sub Region"/>
  <p:tag name="EE4P_MAPWIZARD" val="Sri Lanka\Asia\Asia\Southern Asia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ZW"/>
  <p:tag name="EE4P_MAPWIZARD_HEADINGS" val="Admin 0\Continent\UN Region\UN Sub Region"/>
  <p:tag name="EE4P_MAPWIZARD" val="Zimbabwe\Africa\Africa\Eastern Africa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IC"/>
  <p:tag name="EE4P_MAPWIZARD_HEADINGS" val="Admin 0\Continent\UN Region\UN Sub Region"/>
  <p:tag name="EE4P_MAPWIZARD" val="Canary Islands\Africa\Europe\Southern Europe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RE"/>
  <p:tag name="EE4P_MAPWIZARD_HEADINGS" val="Admin 0\Continent\UN Region\UN Sub Region"/>
  <p:tag name="EE4P_MAPWIZARD" val="Reunion\Africa\Europe\Western Europe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YT"/>
  <p:tag name="EE4P_MAPWIZARD_HEADINGS" val="Admin 0\Continent\UN Region\UN Sub Region"/>
  <p:tag name="EE4P_MAPWIZARD" val="Mayotte\Africa\Europe\Western Europe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R"/>
  <p:tag name="EE4P_MAPWIZARD_HEADINGS" val="Admin 0\Continent\UN Region\UN Sub Region"/>
  <p:tag name="EE4P_MAPWIZARD" val="Argentina\South America\Americas\South America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G"/>
  <p:tag name="EE4P_MAPWIZARD_HEADINGS" val="Admin 0\Continent\UN Region\UN Sub Region"/>
  <p:tag name="EE4P_MAPWIZARD" val="Antigua and Barbuda\North America\Americas\Caribbean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S"/>
  <p:tag name="EE4P_MAPWIZARD_HEADINGS" val="Admin 0\Continent\UN Region\UN Sub Region"/>
  <p:tag name="EE4P_MAPWIZARD" val="The Bahamas\North America\Americas\Caribbean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Z"/>
  <p:tag name="EE4P_MAPWIZARD_HEADINGS" val="Admin 0\Continent\UN Region\UN Sub Region"/>
  <p:tag name="EE4P_MAPWIZARD" val="Belize\North America\Americas\Central America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O"/>
  <p:tag name="EE4P_MAPWIZARD_HEADINGS" val="Admin 0\Continent\UN Region\UN Sub Region"/>
  <p:tag name="EE4P_MAPWIZARD" val="Bolivia\South America\Americas\South America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R"/>
  <p:tag name="EE4P_MAPWIZARD_HEADINGS" val="Admin 0\Continent\UN Region\UN Sub Region"/>
  <p:tag name="EE4P_MAPWIZARD" val="Brazil\South America\Americas\South Americ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M"/>
  <p:tag name="EE4P_MAPWIZARD_HEADINGS" val="Admin 0\Continent\UN Region\UN Sub Region"/>
  <p:tag name="EE4P_MAPWIZARD" val="Myanmar\Asia\Asia\South-Eastern Asia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B"/>
  <p:tag name="EE4P_MAPWIZARD_HEADINGS" val="Admin 0\Continent\UN Region\UN Sub Region"/>
  <p:tag name="EE4P_MAPWIZARD" val="Barbados\North America\Americas\Caribbean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A"/>
  <p:tag name="EE4P_MAPWIZARD_HEADINGS" val="Admin 0\Continent\UN Region\UN Sub Region"/>
  <p:tag name="EE4P_MAPWIZARD" val="Canada\North America\Americas\Northern America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L"/>
  <p:tag name="EE4P_MAPWIZARD_HEADINGS" val="Admin 0\Continent\UN Region\UN Sub Region"/>
  <p:tag name="EE4P_MAPWIZARD" val="Chile\South America\Americas\South America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O"/>
  <p:tag name="EE4P_MAPWIZARD_HEADINGS" val="Admin 0\Continent\UN Region\UN Sub Region"/>
  <p:tag name="EE4P_MAPWIZARD" val="Colombia\South America\Americas\South America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R"/>
  <p:tag name="EE4P_MAPWIZARD_HEADINGS" val="Admin 0\Continent\UN Region\UN Sub Region"/>
  <p:tag name="EE4P_MAPWIZARD" val="Costa Rica\North America\Americas\Central America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U"/>
  <p:tag name="EE4P_MAPWIZARD_HEADINGS" val="Admin 0\Continent\UN Region\UN Sub Region"/>
  <p:tag name="EE4P_MAPWIZARD" val="Cuba\North America\Americas\Caribbean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DM"/>
  <p:tag name="EE4P_MAPWIZARD_HEADINGS" val="Admin 0\Continent\UN Region\UN Sub Region"/>
  <p:tag name="EE4P_MAPWIZARD" val="Dominica\North America\Americas\Caribbean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DO"/>
  <p:tag name="EE4P_MAPWIZARD_HEADINGS" val="Admin 0\Continent\UN Region\UN Sub Region"/>
  <p:tag name="EE4P_MAPWIZARD" val="Dominican Republic\North America\Americas\Caribbean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C"/>
  <p:tag name="EE4P_MAPWIZARD_HEADINGS" val="Admin 0\Continent\UN Region\UN Sub Region"/>
  <p:tag name="EE4P_MAPWIZARD" val="Ecuador\South America\Americas\South America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F"/>
  <p:tag name="EE4P_MAPWIZARD_HEADINGS" val="Admin 0\Continent\UN Region\UN Sub Region"/>
  <p:tag name="EE4P_MAPWIZARD" val="French Guiana\South America\Europe\Western Europ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N"/>
  <p:tag name="EE4P_MAPWIZARD_HEADINGS" val="Admin 0\Continent\UN Region\UN Sub Region"/>
  <p:tag name="EE4P_MAPWIZARD" val="Mongolia\Asia\Asia\Eastern Asia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FK"/>
  <p:tag name="EE4P_MAPWIZARD_HEADINGS" val="Admin 0\Continent\UN Region\UN Sub Region"/>
  <p:tag name="EE4P_MAPWIZARD" val="Falkland Islands\South America\Europe\Northern Europe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D"/>
  <p:tag name="EE4P_MAPWIZARD_HEADINGS" val="Admin 0\Continent\UN Region\UN Sub Region"/>
  <p:tag name="EE4P_MAPWIZARD" val="Grenada\North America\Americas\Caribbean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T"/>
  <p:tag name="EE4P_MAPWIZARD_HEADINGS" val="Admin 0\Continent\UN Region\UN Sub Region"/>
  <p:tag name="EE4P_MAPWIZARD" val="Guatemala\North America\Americas\Central America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Y"/>
  <p:tag name="EE4P_MAPWIZARD_HEADINGS" val="Admin 0\Continent\UN Region\UN Sub Region"/>
  <p:tag name="EE4P_MAPWIZARD" val="Guyana\South America\Americas\South America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HN"/>
  <p:tag name="EE4P_MAPWIZARD_HEADINGS" val="Admin 0\Continent\UN Region\UN Sub Region"/>
  <p:tag name="EE4P_MAPWIZARD" val="Honduras\North America\Americas\Central America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HT"/>
  <p:tag name="EE4P_MAPWIZARD_HEADINGS" val="Admin 0\Continent\UN Region\UN Sub Region"/>
  <p:tag name="EE4P_MAPWIZARD" val="Haiti\North America\Americas\Caribbean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JM"/>
  <p:tag name="EE4P_MAPWIZARD_HEADINGS" val="Admin 0\Continent\UN Region\UN Sub Region"/>
  <p:tag name="EE4P_MAPWIZARD" val="Jamaica\North America\Americas\Caribbean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KN"/>
  <p:tag name="EE4P_MAPWIZARD_HEADINGS" val="Admin 0\Continent\UN Region\UN Sub Region"/>
  <p:tag name="EE4P_MAPWIZARD" val="Saint Kitts and Nevis\North America\Americas\Caribbean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C"/>
  <p:tag name="EE4P_MAPWIZARD_HEADINGS" val="Admin 0\Continent\UN Region\UN Sub Region"/>
  <p:tag name="EE4P_MAPWIZARD" val="Saint Lucia\North America\Americas\Caribbean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X"/>
  <p:tag name="EE4P_MAPWIZARD_HEADINGS" val="Admin 0\Continent\UN Region\UN Sub Region"/>
  <p:tag name="EE4P_MAPWIZARD" val="Mexico\North America\Americas\Central Americ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U"/>
  <p:tag name="EE4P_MAPWIZARD_HEADINGS" val="Admin 0\Continent\UN Region\UN Sub Region"/>
  <p:tag name="EE4P_MAPWIZARD" val="Australia\Oceania\Oceania\Australia and New Zealand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Y"/>
  <p:tag name="EE4P_MAPWIZARD_HEADINGS" val="Admin 0\Continent\UN Region\UN Sub Region"/>
  <p:tag name="EE4P_MAPWIZARD" val="Malaysia\Asia\Asia\South-Eastern Asia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I"/>
  <p:tag name="EE4P_MAPWIZARD_HEADINGS" val="Admin 0\Continent\UN Region\UN Sub Region"/>
  <p:tag name="EE4P_MAPWIZARD" val="Nicaragua\North America\Americas\Central America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PA"/>
  <p:tag name="EE4P_MAPWIZARD_HEADINGS" val="Admin 0\Continent\UN Region\UN Sub Region"/>
  <p:tag name="EE4P_MAPWIZARD" val="Panama\North America\Americas\Central America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PE"/>
  <p:tag name="EE4P_MAPWIZARD_HEADINGS" val="Admin 0\Continent\UN Region\UN Sub Region"/>
  <p:tag name="EE4P_MAPWIZARD" val="Peru\South America\Americas\South America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PY"/>
  <p:tag name="EE4P_MAPWIZARD_HEADINGS" val="Admin 0\Continent\UN Region\UN Sub Region"/>
  <p:tag name="EE4P_MAPWIZARD" val="Paraguay\South America\Americas\South America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V"/>
  <p:tag name="EE4P_MAPWIZARD_HEADINGS" val="Admin 0\Continent\UN Region\UN Sub Region"/>
  <p:tag name="EE4P_MAPWIZARD" val="El Salvador\North America\Americas\Central America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R"/>
  <p:tag name="EE4P_MAPWIZARD_HEADINGS" val="Admin 0\Continent\UN Region\UN Sub Region"/>
  <p:tag name="EE4P_MAPWIZARD" val="Suriname\South America\Americas\South America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T"/>
  <p:tag name="EE4P_MAPWIZARD_HEADINGS" val="Admin 0\Continent\UN Region\UN Sub Region"/>
  <p:tag name="EE4P_MAPWIZARD" val="Trinidad and Tobago\North America\Americas\Caribbean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UY"/>
  <p:tag name="EE4P_MAPWIZARD_HEADINGS" val="Admin 0\Continent\UN Region\UN Sub Region"/>
  <p:tag name="EE4P_MAPWIZARD" val="Uruguay\South America\Americas\South America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VC"/>
  <p:tag name="EE4P_MAPWIZARD_HEADINGS" val="Admin 0\Continent\UN Region\UN Sub Region"/>
  <p:tag name="EE4P_MAPWIZARD" val="Saint Vincent and the Grenadines\North America\Americas\Caribbean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VE"/>
  <p:tag name="EE4P_MAPWIZARD_HEADINGS" val="Admin 0\Continent\UN Region\UN Sub Region"/>
  <p:tag name="EE4P_MAPWIZARD" val="Venezuela\South America\Americas\South Americ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P"/>
  <p:tag name="EE4P_MAPWIZARD_HEADINGS" val="Admin 0\Continent\UN Region\UN Sub Region"/>
  <p:tag name="EE4P_MAPWIZARD" val="Nepal\Asia\Asia\Southern Asia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US"/>
  <p:tag name="EE4P_MAPWIZARD_HEADINGS" val="Admin 0\Continent\UN Region\UN Sub Region"/>
  <p:tag name="EE4P_MAPWIZARD" val="United States of America\North America\Americas\Northern America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US"/>
  <p:tag name="EE4P_MAPWIZARD_HEADINGS" val="Admin 0\Continent\UN Region\UN Sub Region"/>
  <p:tag name="EE4P_MAPWIZARD" val="United States of America\North America\Americas\Northern America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US"/>
  <p:tag name="EE4P_MAPWIZARD_HEADINGS" val="Admin 0\Continent\UN Region\UN Sub Region"/>
  <p:tag name="EE4P_MAPWIZARD" val="United States of America\North America\Americas\Northern America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US"/>
  <p:tag name="EE4P_MAPWIZARD_HEADINGS" val="Admin 0\Continent\UN Region\UN Sub Region"/>
  <p:tag name="EE4P_MAPWIZARD" val="United States of America\North America\Americas\Northern America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DATA" val="UEsDBBQABgAIAAAAIQBBN4LPbgEAAAQFAAATAAgCW0NvbnRlbnRfVHlwZXNdLnhtbCCiBAIoo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sVMluwjAQvVfqP0S+Vomhh6qqCBy6HFsk6AeYeJJYJLblGSj8fSdmUVWxCMElUWzPWybzPBit2iZZQkDjbC76WU8kYAunja1y8T39SJ9FgqSsVo2zkIs1oBgN7+8G07UHTLjaYi5qIv8iJRY1tAoz58HyTulCq4g/QyW9KuaqAvnY6z3JwlkCSyl1GGI4eINSLRpK3le8vFEyM1Ykr5tzHVUulPeNKRSxULm0+h9J6srSFKBdsWgZOkMfQGmsAahtMh8MM4YJELExFPIgZ4AGLyPdusq4MgrD2nh8YOtHGLqd4662dV/8O4LRkIxVoE/Vsne5auSPC/OZc/PsNMilrYktylpl7E73Cf54GGV89W8spPMXgc/oIJ4xkPF5vYQIc4YQad0A3rrtEfQcc60C6Anx9FY3F/AX+5QOjtQ4OI+c2gCXd2EXka469QwEgQzsQ3Jo2PaMHPmr2w7dnaJBH+CW8Q4b/gIAAP//AwBQSwMEFAAGAAgAAAAhALVVMCP0AAAATAIAAAsACAJfcmVscy8ucmVscyCiBAIoo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skk1PwzAMhu9I/IfI99XdkBBCS3dBSLshVH6ASdwPtY2jJBvdvyccEFQagwNHf71+/Mrb3TyN6sgh9uI0rIsSFDsjtnethpf6cXUHKiZylkZxrOHEEXbV9dX2mUdKeSh2vY8qq7iooUvJ3yNG0/FEsRDPLlcaCROlHIYWPZmBWsZNWd5i+K4B1UJT7a2GsLc3oOqTz5t/15am6Q0/iDlM7NKZFchzYmfZrnzIbCH1+RpVU2g5abBinnI6InlfZGzA80SbvxP9fC1OnMhSIjQS+DLPR8cloPV/WrQ08cudecQ3CcOryPDJgosfqN4BAAD//wMAUEsDBBQABgAIAAAAIQDGf1lmugMAAD0JAAAPAAAAeGwvd29ya2Jvb2sueG1srFXbbuM2EH0v0H9QhQD7pIjUzbIQeyHrgg0QLwLHm7SAgYCW6IiIbqXo2Gmw/96hZDn2uijcbAOHFDnk4ZmZw+HV522RKy+UN6wqRyq+RKpCy6RKWfk0Ur/NY81VlUaQMiV5VdKR+kob9fP411+uNhV/XlbVswIAZTNSMyFqT9ebJKMFaS6rmpZgWVW8IAKG/Elvak5J2mSUiiLXDYQcvSCsVDsEj5+DUa1WLKFhlawLWooOhNOcCKDfZKxuerQiOQeuIPx5XWtJVdQAsWQ5E68tqKoUiXf9VFacLHNwe4ttZcvh58A/RtAY/UlgOjmqYAmvmmolLgFa70if+I+RjvFRCLanMTgPydI5fWEyh3tW3PkgK2eP5byDYfTTaBik1WrFg+B9EM3eczPU8dWK5fS+k65C6vorKWSmclXJSSOilAmajtQBDKsNPZrg63qyZjlYDQebSNXHeznfchhA7v1cUF4SQYOqFCC1HfWflVWLHWQViFiZ0T/XjFO4OyAhcAdaknhk2dwSkSlrno/UwFt8a8DDxZJyAVeLLPy6Dokgi5sqIfliTot6cSBEcqr6/yBFkshI6OB9x7D7/jESQJR7vdxuBVfg+zq8gZDfkRdIAKQ53d3Pa4iw+/gWR66FB4avDYPQ1CzXRJo/iE0twEbsIhs5jmN/By+44yUVWYtsl1SJOVItyOCJaUq2vQUjb83S9/Pf0O5Pk/0PTW/7Lj2V5eue0U3znn45VLYPrEyrDZRDy0Lgzms/hu9Na3pgqcj29m7uC2VPGfDFtiM3gcglr5H65ls+MhF2NNf1wf3ANLUJCmwtGoSOOxzaNvL9lo9+QKgtk0Cs7ZWylXYUKVNSKw/sL8JTKMuyksoQY1XhnjyKX6e4TWG/O6UrVtJU3gzAOhjtEB+3eVlcPsZMql3qakkaKi8MiOuuhwdnMpamVL4P6vjTEYtPv134F9i7+HKBh86VfnACiOf4dIBMbrkiu5b0ECNjKNnSrbhpRNuD6hlEDFvIH6ChpaHItEEwQ0NzLdPQAis0InsQhdGkFYx8ebz/o/62l8/rnzTJMiNczDlJnuEhnNHVBOIi3Zf3A/gekp3Y7gSZQNGKcaxZeIi0ycSxNDuMTXuAwyCyY6nujqx0f/XB6ufq7W5KxBrKhqwY7diTbbyb3U+uuoldoo+qgDcLpSO73f+28A68z+mZi+P7MxcGX6fz6Zlrb6L540N87mJ/Ogn989f7s5n/xzz6vT9C/8eAdgmXbStTvZfJ+G8AAAD//wMAUEsDBBQABgAIAAAAIQCBPpSX8wAAALoCAAAaAAgBeGwvX3JlbHMvd29ya2Jvb2sueG1sLnJlbHMgogQBKK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sUk1LxDAQvQv+hzB3m3YVEdl0LyLsVesPCMm0KdsmITN+9N8bKrpdWNZLLwNvhnnvzcd29zUO4gMT9cErqIoSBHoTbO87BW/N880DCGLtrR6CRwUTEuzq66vtCw6acxO5PpLILJ4UOOb4KCUZh6OmIkT0udKGNGrOMHUyanPQHcpNWd7LtOSA+oRT7K2CtLe3IJopZuX/uUPb9gafgnkf0fMZCUk8DXkA0ejUISv4wUX2CPK8/GZNec5rwaP6DOUcq0seqjU9fIZ0IIfIRx9/KZJz5aKZu1Xv4XRC+8opv9vyLMv072bkycfV3wAAAP//AwBQSwMEFAAGAAgAAAAhAG7HLqLuHgAA8McAABgAAAB4bC93b3Jrc2hlZXRzL3NoZWV0MS54bWyclW1v2jAQx99P2neI/J4Ehzg8iLRKaVkr7UXV7uG14zhgNYkz2xTotO++s5MAW6eKVQLOGN/v/nfnC/PLXVV6z1xpIesEYX+IPF4zmYt6laCvX5aDCfK0oXVOS1nzBO25RpcXHz/Mt1I96TXnxgNCrRO0NqaZBYFma15R7cuG1/BLIVVFDXxVq0A3itPcOVVlEA6HcVBRUaOWMFPnMGRRCMavJdtUvDYtRPGSGtCv16LRPa1i5+Aqqp42zYDJqgFEJkph9g6KvIrN7la1VDQrIe8djijzdgpeIbxHfRi3/ypSJZiSWhbGB3LQan6d/jSYBpQdSK/zPwuDo0DxZ2EbeESF75OEyYEVHmGjd8LiA8yWS802Ik/Qz+nNOI3SeDqIwjgeROmUDK6GhAzCmzgdL8gCp2T5C13McwEdtll5ihcJSvHsFk9jFFzM3Q36JvhWn6w9Q7NHXnJmOETByLMXNJPyyR68g60hMBtac2/32ECb3Zn9cWlk85kXZsHLMkFXkD1lRjzze/BIUCaNkdWDWK2NGwcDe4WSL7x2ACfKxbZybZAEAa8734I6MAjTP1xCV/hfbm0kq6RX0DqmoKhzhKUtwl/x/pB4GvLT0ROW4Bkc6ne67mu5dAN7r7yMar6Q5XeRmzUUCx4MOS/opjQPcnvLbSlgl0Bj7WTM8v011wxGEgrth8TGYbIEKHx6lbDPFhgpumtb0zKJj6NhDIfhCbO3QwZHMq7NsusO22ioei+gQ7YwyMnBwG5b2Aj74YRg4nhnUuBaOgrYjhKODprOZEQdA2zHwKE/xsPpaAyJnQmBk04I2F5I5E8IieLJf1DijgK2l0JOivJGOcedJ9jec+xHIRlPsG3PG57w9+CUg+09oxPPt/MP3BX5DQAA//8AAAD//5Rd247cOpL8lQN/wLooqW4DHwNT1arZ3zC8BuZl5iyOvTO7f78kxSplRCTZnW8NRVKV0bwoxIviy8+///jx6+3br29fv/z5x79/+/P3T+nTbz//+9s/f+a//nLJf//+afr02/f/+fnrj388/vjzH99+1ZD/Tcu373/5r/97+/Hz+49/5muH/5iOn75++V5u8ddyj1ouAz/z1X99PXz5/K+vXz5/bxE3jUgYcdeICSPeNGLGiFUjFox4aMQRI/6mESeM+E+NOL8iPuf/6utfm/+R9l87/h+W4N8/zZ9+e/0PL/Q/zBEv7Er/PYsl+ue/jcAVQKqUx5bU8ulzq8e/bReO5QJQzXl/nGoJRqqJ6vpm/w+JqvkOINXw2whcAaSaf2xpGbLbBSW7RMiWYCJLDeqWQ14Vm/a2VPvWHUAmOwJXAKkxPba0DNntgpI9RsiWYCJLLfWWQ15kJ2qpdwCpMb4BSA1mBZAazGNLy5DdLijZU4RsCUayE9XPLYfsZKm93S0ofXYErgByn93SMmS3C0r2HCFbgoksN+McspPlZmzBxM14BK4Acp/d0jJktwtKtjzazGNuPBZvz0E7WEw8GOeQnSyPxhaceTQegSuAXLNbWobsdkHJXiNkSzDW7MyjcQ55kZ15NAaQa9aCE/fZUcnHlpYhu11QsukQYVujiS41qluJ2flSM78DKv12iK54Z+ojj5ab4dyuOKRJtr2jzzbJYhv0zA065ZidNLdoQBdu0kN0RZQbdUFz+7OktysO6ZCgSqqoFm7YJeZFeuGWDagMWkN0RZSHrZabJd1TVikkrWo0Nu+FH0olZifNTyVAtXmDgqJ2sGJZqWkRWC1bp6ZDEiupxlr44VRidtL8dAJ0YuGBKI9iiLL0aLnZmu4prRSSWjWaalr6tFVFi/Rpi2rzHqFr+fVds7K4bLlZ0j3FlUKSq0Yj6aO8alp1dJTXzKHqKvffaUnztugso7cIr5at07yt9Mp/vzN6q/Y6ykBmVdJRBjKLiiBJI3QF9Cjv0yLASnwezx3SVoK9T1o12FGe01YtHeU5bVEdyEbomuDOUtMixEq8T9pKsfdJqxY7Sp+2qukofdqi2qdH6JoAlUeWCLIS75KerCJ7l3SNxj594j5dYl798sR9GlBp3kN0xTtTt3q03OwESOHmNe/JKrL3SasiO1GvvZU77qSp590BVdKg5nggg7LSpysTUGTtivbpySqy90mrIjtxny533ElznwZUmvcQXfHO3KcrEyTdU2STVWTvk9bZrpPM7FlVdZK5PdDt/IZVstnfRFmcADrz6F2ZIOnenNdkFdn7pFWRnaVPW0V2lj5tUU78rWQzID0q+6hMkHRPkeUp7n3W4H3SOvt15ud0ueMr8TM/pwEVGYqo1PRwBqwyQdI9RTZZRfY+aZ0FO/MLR7njTppfOADVPg2KjO68YlmWoZUJku7NhU1FtTznh94nvWkc2/PO/MJR7riT5hcOQHX0HioyvLOQFkVWubmPrJAim1SRnXlyt8S8SF94dhdQXaUYKjIoe5TRWxRZy9Z5ZIUU2aSK7EJD1a3E7KSpX94B1T49nCDDO/OrZcvNipOeIptDiqxG01oU9+kSs5PmPg2okEaUBzK8M3WrR8vNrtL0FNkcUmQ1mkhTM7uVmJ009bw7oNKnh+iKKM+ctNws6d4c2RxSZDWaSHOfLjEv0lfu04AqaVuW0RXLCmlZfGzZOquPIUU2qyK7cp8uMTtp7tOAKmnQa6y9sayQljmylq1DOqTIZlVkV37hKDE7aX7hAFRG7yG6AiozJy0327x7imwOKbIajc37yi8cJWYnzS8cgGpN27LavC0qb1ktN0u6p8jmkCKr0URaBjKrqq4ykME8lyywW1TWdMqvv/6d8sLRcrOke4psDimyGk2kZSCzqiodZCQbia638gM7L+nUgEqnFknW0nU6dUiSzSrJ0kGGMtRVMpYBLJU9Qtfy+69/SjqwQGnp2druzZPNIVVWo2mfwUEUCkxnHUSiWFheMMsv9F8wAdVGLjNlLV+t7iWky2o005bNJFaYpYNsJ7GwKLPyC33agF64tlt2prbbFYd2SJktOleWDjyFUoJMU+Q5FICVti0sQxqWFdqyftnydWiHtNmis2WJH7u3ErTTTjyLArA8voboCqg8vlp2trZ782VLSJ3VaGrksj2sBBnaPI+CsGyagsI8pYBleRa8ZWdp92bMlpA+q9FMm4e0EmRo85CGMC/SD9EVUHm/btlZ2j2FtoQUWo1m2jKkwWKj7pADWGiP0LX8/v5Y52mFlp2l3dNoS0ij1WimLUMaTH0lGdJAaQntEbqW33/RPvGqR8vO0u6ptCWk0mo00eY9gLcStDdyHqvvCAtt1Hi0P5huLbxFp7WEnaE8pNMWR6dN/PZVggxvfv0CWJ9gtrA+wQCVJ5hMnrV8Hdohmbbo5Fma+P2rBBna/AIGsNIeyjQsK7RFprV8lfYxJNNqNLdyfgMrQYY2v4IBLA/uIbrSrWnceLT0TO9uVxzeIZ12dHQap34rQTvvmQULwKLKAZVWPiz7aNlZ2r05tGNIp9Voqm7ZQVmCDG0WLAjzoDZEV0T5v/Jo6VnePaF2DAm1Gs28WbGUIMObFQvA2syHE2l460maucyktYSdZh5SakedSUszS5YSZHjzWxjAyhvWL3muAW+tvLf0bH33pNoxJNVqNNc3a5YSZHizZgFYeQ+n06CsaJaWnaXdk2rHkFSr0USbN8DeStBOe5FRDWDp3iN0xVvz1FLLztLuSbVjSKrVaKbNq9klyNCWUW04owaFZfIUUK1tUWotX6dzh5Ta0VFqsoG2BBnaMqjhrBidYsPC0rlRBLJCbenZ6u7NqB1DUq1Gc3XLoAZSbZFBzcKyR7z8wuufxugKaFp4UbulZ3n3ljpPIa1Wo5k3TxyXoL2+ecPpHWDRLFiY6xtReXi39AzvdkXb+Smk1Wo08ea9srcSZHjzzDHCPKoN0RVQWRBq2VnaPa12Cmm1Gs20+UWsBBna/CIGsDzDhuiKKA/mLTtLuyfVTiGpVqOZNr+IlSBDm1/EEJbahsLSygHVVi5SrSXstPKQVDs5Uo3ntm4lyPDmNzGA5QUUUd7KgCi/gLbsbHX3lNoppNRqNFe3DGqg1HjH7b3cwzzj6CE2RFdEeQq1ZWdp95TaKaTUajTR5r3CtxK082JhcQdYx/KhUsOyPJfYsrO0e0rtFFJqNZppy5gGSu0kY9pQqZVfeP3PRKkBKusELTtLe9NuTt8OKbWTo9RkN3EJMrUtY5qFdSgfoSvcWmnLnFrL16EdEmonZ07txJNLJcjQliENlj5lKB+hK9xaacucWstXaZ9DOq1GcyPnIa0E7bR5w/EdYKntIboiyg/ulp1p5O2KQzsk087OlBpvlb6VIEObZRrCXNtDdEVUaMvSZ8vXoR2SaWdn6ZM3S99KkKHNQxrA8txGlJ/bgMpCd8vO1nZPpp1DMq1GUyM/s0wrQYY2D2kAayMfzqhBWenbLTtLu7f0eQ6ptBrNtHlIK0GGNg9pAMtzG1CZNx6WfbTsLO2eSjuHVFqNZtoypIEMkx3V5R6v/4o2ckClkVtUG/mmySztnko7h1RajSbasqW6BO21fZEhbTifhoX5XQRRGdI2TWZp91TaOaTSajTTZpVWggxtGdIsrLUNqNQ2oPwq0rKztHsq7RxSaTWaacuQBirtIkPacD6t/ML+P5Patqhsa2jZWdq96bRzSKXVaKYtQxqotIsMaUOVVn5hQBtQaeSi0lq++ty+hFRajUbaVCG3EmKaOC8QIMw7d4boCihr4kfLzdR1u+KQDmm0i6PReJv8rQTttHm7+R1h1mhDdEVUJldaepZ3by7tEhJpNZra+JVXCEqQ4c0rBAhLdUNh3qiFZXmWoWVnafdE2iUk0mo00+ZlzxJkaPMKAcJCGwoLbUB5orxlZ2n3RNolJNJqNNPmBYISZGjzAgHCQhsKC22cpaPP+rXsLO2eSLuERFqNZtq86FmCDG0Z04ZTaVhYaKP+Y9oi0lq+zpgWEmmXTfTYpjbxhvlbCdrFJ+87vwMs50WG6Iqojmmi0lrCDu+QSrtsqgd5y5gGUop3vd/LPbpP5rchuiLKz+2WnW3lPZV2Cam0Go2tfJL99CXIVLeMaQBT6m9YmMUpoixOW3aWdk+lXUIqrUYzbRnTrJSaZD99ucde2zKmjdAVy8oTTFRay1cb+TWk0mo00+YxrQSZ2uYxDWA5tD1EV0Tl1EhLz1R3u+LwDgm1qwq1STbUlyDzRs07OQCW6ZUhugIqWxpadpZ2T6ddQzqtRlN1y4b6EmRos04DWKt7qNPo1tRFHi09y7sn1K4hoVajmTe/epYgw5tfPQFW3kOhBmXldaRlZ2n3hNo1JNRqNNPmV88SZGjzqyfA2sptYVkOgrLayjdZZmn3hNo1JNRqNNPm2bQStNOWr88izI8wKkxbyxHlR1jLztLuzaZdQ0KtRhNtnhm6lSBDm2fTANZGDnNtrE+xrI7lItRaws5YHhJqV0eoyY76EmR483QawMobZJzwRpEn9b2lZ+u7p9SuIaVWo7m+ZVADKTbJoAYzZixZyi90Bc2KKEuWlp2l3VNq15BSq9FMWwY1UGr8xd57uUdfqQ3RFdCJ28qjpWd5b+JNm3k+dxz50swWzsx5XKtRe0vnMTl/shZm3bjKx3D+aK0tLU+yZ4qG/fOSRz8k2fJpZv3uNB8ayN/rBdHGm+8zfZh9U/ojONMHmNv8M0Wg31Nu6RCSbls41T5/gDnTB/HGq1+ZPoo7tlVAmN/N+O5sqFAZ4fd72yWv9kMKLp8od2qfR7saZRo/D3eIOx9sBhXHCwhYWj/62VKE2u8JuXQIKbktnGufR70aZeizlkNcPwlZcuqP91SapxufKQL9nqBLh5Ci28KZvg59oOl4Y3Fu/BYXLTuGc9+3pfXrp5URNf6esEuHkLLbwok+nyzIfR+0HX/gOtO3uEN/BGf6Fj5r7Yu8e2bt9f2QwMtfLtC+z1/ozvRB4vFO/Ux/OBk3hjN9KC3TkM8cofX3dF7+ZEHswb8pJ3g/XXTsA6nHX73O/Idrp2M487elnbFvSxHo9/ReOoQE3xbOrV/HPpB8fGwg0x+tkr6N4UwfSjvVLzN0z7Sd5g82BbmRvPfF/iITmb8MfuAnMMnJhPy9CDO4a+8fwvm7/XhGlU/YVZw/3b+l7fGPCb9mCwDNXw4oJLAWmPir2HfEHf5W2clMBpZOctKu4sy/q/zqJ/8//IXJ5LgXTPxd71uN2p/9/HzK/GFmjteVx3Cuf1tau79jYtAuedUfU36Oj8Gk3/8Gv4FJvwD+jpfBEM70beOTvSMV5trvKr9qAxCo/U1DYeuX0Q+dB/hL4bn2Qdpp7Y/gTB9gXouqMNPvKj+wNvjA4LdpKKSvgx8oPznBkMCjwOn8I2GY6VtY5jErzPS7yg9MDj5A31l9lYMMCbwKJjnJgLi+9rxjdYCw1r4qv77bQbUECDR+R/nJx9ET+BJMcqIBcaf2rbRzhn4Lq+5vJgdW+fR9D6o5QIC+I/zkYEMCh4LpJC+9gOtb3xDOjd8KP53xaXYHQL8r/KpNQID+Jqqg78sBhwReBRN/UD0PfcPJvjGc6aNs5NndinPn7074xdwQkmOHMPEn4W81an/wy1EHxLX1jz0RsLS2fnVFeGbtPPhjvgipWQ1A9cuJhxpl6POKBuI69oH/AcPZugkm/GTsU3+EZ9Ye/diEX7MhQPq8TTiBlcHE31u/M05vjW+I6+CHTgl8Br2Wptbf0vb4x3RfcyRA/rwlI6HnwZn3mSHutH57e4e+hfXJr6YJ9fd8+5eYbUJq3gRIn7dm1CjT+nlvBuG8jkmwzPeCt4KcC3imaMf+lrVX+7EZv+ZSAPT5zEMe+0D38dmB3Pot7ti2jeDc+UH38SnOCnPj7+q+mJVCan4FSJ93n9Wovfa5gjL98YzfEM70bWmn8avua1l7tR+b8Ws+BUifd9YmcD+YLrwNDXGn749139hbod6ca7874VctCD4ufBx/hYnPQuTGDxN+Fx36LK5GjUMLhlz74wm/liL0/a7uq/YEAfqO7uMzEZk+TPhddOizuFP7IzjTt7Cje3S+r3kwOI0/ZrmQHM+FSU4R1Ki978sxAsSVPlgr6IMPYKWv1gvPrD36sek+x31hksMECVwSJv5+/Z1wefBhcXnwobuDiH41Yai/5z/3YzYMyfFhmK4y9IFfwsRfss/0x7N9Qzh7d45n+1qKtu93/RhSNS34eN93HBmmq6g+cE6YrjL0Ae44l9oHi4p+LK2T/S1H4N+d7quOBgH+znQff5X/lsBEYbrK2IcWDLLLYQjn6ofpPlnqU4+GWqLT+mOyz7FpmOW0QSIrBt6Zi7g++aC4fH+KSss7n7o11BId+rGFXsewYT6I7ENjBTl1kD9BONreNIZz7UNp2eOivg21RId+TPY51g2zHD5I5L8gsg9wdfBFWId+qwr1naelCH2/K/uq60Gg7+t033zQsQ+EmZxCSODEIOffEZYD8OPSjwqT6m3WDt6DP7bO61g5zPJx/4SGCwcd+qxwc/r+CM6NHycLdexT3dd1dEgxS4ctHNd5ZzmUUKNeum+Wz/wjrq+8YNzA8IqldbZXjR2eWTvVX80PPt76HW+HWQ4nJHBgmBOfTkDcoT/e34fWEVL7LUXb+bsOD6naIgTob0cdYD6K87/Vm5ral7EPTSBknW8I59q3uk+XOdXoYSPpWjzHrB6S4/UwJxn7wJFhls//17vsO9iU/lj3kZUEb29Uw4dn1l7jj+3vczwf5iSzfeDMMIsNQAJcx74hnGsfDnPwkYhHxWnsb2l7/GO6zzF/mOXwQkKLBn543QkX2QvF9dGHd+fDSfXmTL873RfzgEiOCcQsZxhq1N75Jz7EgLgz9g2Pb1Bp0X3qBPHM2qv9mO5zzCBmcQdIYNkwy1kGwrXzj/b/5dYPs4Ey2dtShKG/q/uqaUJg6Hd03yRbPMD1YZYzDflLuaPDxmM407elnaFf9/d1nSFSNU8I0Nfpvpl3WOUnH8zX8YxV7vu4UMs724dwpg+l5Z2v2UFA7XdXeWMWEcnxiJj1XAP6POi5BnR6kMY/hNeaw2tk0dpXn4hn1k7fr+4KH699xypi1nMNaOig5xoQV/rj3X1QWlc61C8itUse/dgqr2MZMc+ytxeMHWa2GLgnNH6QB98QzrUPk4Uy8qttRC3hv/HHjCOS4xwx8/bCW43aH3yznGsA/wfVPUM40wdVKB8cf+ZoO3/XPyJVS4hA69fpvnmW7W3oEaEHG8YeEjWn/d8nx1recZHYKOHJhmZ84TX/mO5znCRmPdmAXhF6sgGtJrT3wzKv8gdYp3vVTyK1Sx7/2ISfYykx69EGMH6Y9WgDeU7ws28I5/YP67yifNRXopbodP+Y8HOsJWY92YD2EHqyAb0ntPrHwg9Ly6O/pQi9vyv8qilDoPc7wo+9FPLoBxN+erJhaCPxhsV1sQNKO49+FX7NecJr/LEJP8dpYl508APhpwcbwC9CFzqHcG7843VedZuoJfzGH/ObSI7hxKznGtBSQs81DE0l3uqPdGdEVoKl8avpxDNrp/ZjthPJ8Z2Y9VgDukPosQbEpe8P4Uzf6kJd5lbziWfWHv2Y8HP8J2Y91oAuEXqsYexAkcYWFAir7lUTilqi0/hju/scH4pZ/BgSOE3MeqwBcdG9AOuEz7D0o/44Tfh0zShSdXD4+Mjv2FHMRxn6wDRi1mMNiGvjH36dpab8Ghqc2pfvs2wk3dnemCtFcmwpZj3WAOYRsx5rQFzpj091YGkd+ra5Pfvcb1l7fT+m+hx7ilmPNaCJhB5rAFzXORGWdU6AdZ1TPSpSu+TRj6k+x6Zi1mMNaDWhxxoA19nOIZxHfhCF8s6rXhW1RGfoKxop0Pcd1afHGsBUYtZjDYhr48dVYvpEUYLSepq7OVRA4+/u7qu+DgH6znSfnmoAc4lZTzUgrvRBNMorH5bWvq+rvF3zihRzr9jCaZVXTzWgycRZTjWMDSzqjwze+KG0yh71sHhm7fT96vPw8dp3bCxm8XNIYDYx66kGNKOQ5/4QXvHuusjdUrSNv2tmkaoDRIC+s8orvg71pnv1neVEF/pdKP3hR/jw7voFo40Szvc0nwuv+mOyz/G1mPnQxi2hcwUPT3fEdehHXwz+XheWdqp/28oH1d/d3Rezt0iOv8V8FtmHLhTi9FDvsr/TafWPP+OCDhjyAatnjsC/e5o35nORHKOLWRwfatTe/MXygXAZ+8EJQ7c2A+wc5W85Av/uOm/M8CI5jhcza6/c/OHYxkXWedG3Qut/vM6LpUX5tBSB/nbSw+v9MeHnOF/MfGwj04eVWPGAQFx1LxTXlz6EZWu32l/U3/OFX8wAIzkOGDMf28j0QbmJFwTizuAHy8A6+OEqsfLX+b6Wtlf9sfk+xwpj5nMbmT9INz74kAf/kbR7G8P52W9L60tvSxFaf3ehN+aIkRxLjJnPbdxq1D748cGHO+K6tR19MUT4AqyzveqM8czaqf1qJ/Fx6eOYY8x8biPTh5VaPviQ6Y9Wct/G8Iqw1r4aZNQSfuePWWQkxyNj5nMbmT6cvOCDD5n++Pt9CMs7P8A8sD6eKdrG37L2aj8m/ByvjJnPbWT6sP2Rzz1k+oDLkw9gHfqHpTN9FX7tkkc/tr/P8cyY+dhGpm+V28LnHjL9kbLLjX8s/AB2dL86Z9Q7dlp/bJ3XMc9Y2CYi87czdgsffMj8Rwu5mf94nRdheelvKULr7+q+ajIRGPv0My4Ln9vI9K1wW/jgQ6ZvcRU+CGvnh9Ly4G+2GUC/q/uq/USA/rZgajvvcpBNLuB4sfDBh0wfdKF2fgs7nX9UOnf+LUWg313mjVlqJMdTY+FzG7n2rTJb+OBDpj8Sdrnxj3UfwPrSq8Yaz6y9sS8m+xxvjYXPbWT6VpgtLGwyfcDlpW8I5wc/7O/TPT4tR6j+ru6LeWwkx2Rj4XMbtxr10n0LH3y4I666j5w0eL4XYRn71GjjmbVT/dWe4uOd3/HaWPjcRqZvdd3CrzWZ/vi7zUN4pdJyrkMNN2oJ/8kXs9xIjufGkmTsA2eMhQ8+ZPqjKb23MZzpjzf4qe/GM2uv9mO6z7HeWPjcRq59eDTwwYdMH3SfdH705pCXHiwtG5zUf6P+Xqf2Y7rPseBY+NxGpg+6T8woENctLkOPjlz79u661tNStENfu+TVfkz2OVYcix7rAMOMRY91AO7QH6/zQml951M/jtQuefRj67yOJceixzrAOGPRYx2AO/RhtlAbP+zuky84tRSh9kX2ff759x8/fr19+/Xt6/8DAAD//wAAAP//dI/NTsMwEIRfxfI9NAn+wVFdyZRWcODUJzDNJrEIsbXdACri3XFoObKn3fmknZm1nynuw0iADKGz3FXNY2UUZ5/YzKG1/MvstBNOmULUShXCGVncl1IW9U45vZXbysn9N19t1sn38OyxD9OJjdCR5eWN5gxDP/ztFNOveqdFWUktzGWy3Uskim//wAF8C7jAW866GHPay3F1PQDNiSWfAA/hDJYbziIGmMhTiJPlKSKhD8TZkPVzzGB8SMFyURthlK5NfvwOSOF4BWUO3iz98amtlnarj4ivpwGANj8AAAD//wMAUEsDBBQABgAIAAAAIQAVzbtcKwcAAJwgAAATAAAAeGwvdGhlbWUvdGhlbWUxLnhtbOxZzYsbNxS/F/o/DHN3PP62l3iDPbazTfaLrJOSo2zLHu1qRkaSd9eEQElOvRQKaeml0FsPpTTQQEMv/WMWEtr0j+iTZuwZreVsNh8lLbuBMCP/9PTTe0/vvXm6fuM0pM4x5oKwqOkWrnmug6MhG5Fo0nTv9nu5uusIiaIRoizCTXeOhXtj89NPrqMNGeAQOzA/Ehuo6QZSTjfyeTGEYSSusSmO4Lcx4yGS8Mon+RFHJyA3pPmi51XzISKR60QoBLF74zEZYndzIbZLQXYkhRoYUn6ghOJV7OiooBCCTwY+5c4xok3X039ufvN6Hm0kACpXcT39l+ASwOiouCKvWqw16u2lPA2gchXX8Tu9bm0pTwPQcAi7sHGs+W0/wWZA8eOq7K5Xa3kmPiO/ZNFBq1oqGfI1KJZfXsH32u2G5xl4DYrxldfrJAOKH6sr+Fap3Sp0DfkaFFASHa2gfa/YKlYT9BIyZnTrYniKAusvPUctMWaRXOdHITpkvAcABaRIksiR8ykeoyH4po8oGXDibJNJIF1niiImYNgrej2vBP+rf2X9VFac0QZGmdnx0FCsDCk+jhhyMpVN9xZIdTOQF8+fnz16dvbot7PHj88e/ZKsraUb87ZQNMnOe/Xj139//4Xz168/vHryTbz0ebzI4l/+/OXL3/94nXjYcaqKF98+ffns6YvvvvrzpycW6S2OBll4n4RYOLv4xLnDQtighT8e8MvN6AeIGDNQALItorsyMIC7c0RtuDY2VXiPE4h2FoE3Z4cG14OAzySxAG8HoQHcYYy2Gbcq4LZaK6Ph/iya2BfnsyzuDkLHtrV9FBkG7s6mEDqJTaQfYIPmPkWRRBMcYemo39gRxpbd3SfE0OsOGXIm2Fg694nTRsSqkj4ZGI6UTtoiIdhlbiMIpjZ0s3PPaTNq23UHH5tIOBaIWsj3MTXUeBPNJAptIvsopFmFbyMZ2EgezPkwi+sKCZaeYMqc7ggLYZuzx2G/GaPfhghjN/sOnYcmkktyZJO5jRjLIjvsyA9QOLVyJlGQxX4mjsBFkbPPpA2+w8wTot7BDihaa+57BBvmvjgQ3IXgmqWUOoj6ZcZt5xEz8zzO6RhhW5Rp8dCIri1OrN7Rnk0M197GmKITNMLYufuZhUGbTQ2dp6RvBRBVtrDNsW4h01fVe4QFdvr4VFoW2SbCcNkDPGFr+OzMzwWeOYpCxNdJ3gWrG64LWc4aSvfo8CgL3CVQ1IG/WJWyJ0BGxrm766TuB8jIXepd2P11zg37vckZg3N5eNlzCXPwpedAYH9j3fQRNRZIHaaPoMCwhVuYYpg/naLyqp42s84bm4c2NQMURka9E5LowuLnXNlT+XfKHnsB8x4KHrvgdyl11oWUrXMFzjrcf7Cs6aBZtI8hk6yWdVdVzVVV4/7vq5p1Z/mqlrmqZa5qGdvX1wepZdLyBSqbtMujez7h2pbPmFB6IOcUbwvd9RHwRTPqwaBuR+l+47KlOA3gUe0HFjBwE470HIcz+TmRwUGAptAaKuhG5kQkoifCmTIBHSM9rBuk+Jxs3XeahTtsFDcxCwXVxYxVKJBMx73Kchy6VDJGV2vJoOK3oK7ZTnQHdUFAzb0MicxiJomShURtMXgBCb2z98ICWpaJilJV1JX4halWVAHUllaBT24HPtSbbqUcd4yhGQfl+UjZKTb1wrrKOO/V0uuUSbMeACX26vYaiuva7andxa72BpY2SGTczSSRccMAPoQT78y22F/ncJe1dSM1qUFPqWJxGlIatfqHsLUKIudiA42ykYJGzknTrZYqcFcyRNOmO4aOMTyGU/Adob66EJ3AZcpQ8vjAv01kmXIhO0gEscJ10ImjQUgk5g4lYdNV2196A410DNHcCkUICB8tuQaElY+NHBjdNDIej/FQZs2eGdFNfg2ACB/HCuuvevrbg9VMNgNzHwSjE2dAZ/wOAher1ApKgSMi4OKgEGtzRHgmkKX+dy4xJWHXcl2m1kJ0GqAko2SDeQzX+WRJR7/Fm9ZZDhRoqMB8TxLhYKIS7Dtn3YtTtdpNmhMaac40oorKmvZg+uGSfIZVmkQNVnHo1t/UIo11jUWsA0e1Zol3T/0ZauliBjXFeDUMq5idjJrU3mNBkNFEdY3eljnCqom3zfww77zXqgSxqCv1MdAX4dkbazY4hODRgfvDGZUivhM8hWsBKPriG8g4bMCROZXJ0YAnZ8ZJ033gVVplv1jxc1690s2VS2UvV6+0SrlWpVIqdCsFr9MuPoTEIoOwUIkv4XtwhUHnyVW8Hl+5jg8XtzTXhizMM33dntfE9XV8oWi5jnf66tbddQgEnQfVYq9RarSruUap1cuVO+16ruFX27lO1a91eh2/Um/0HrrOsQaXWyW/XO3Wc9WC7+fKVU/RrzdytXKx2CrXWvVuufUwKWNg53EwSXQB6tW8Nv8BAAD//wMAUEsDBBQABgAIAAAAIQC45hZqOgMAAKUJAAANAAAAeGwvc3R5bGVzLnhtbLRW227bOBB9X6D/QPBd0SWSahuSitqOgALdokCywL5SEuUQ5UWg6Ky8Rf+9Q0q2FTRN3BSFH0wOh2fOXDij7N0gOHqgumdK5ji8CjCislYNk7sc/3NXeguMekNkQ7iSNMcH2uN3xZu/st4cOL29p9QggJB9ju+N6Va+39f3VJD+SnVUwkmrtCAGtnrn952mpOntJcH9KAhSXxAm8YiwEvUlIILoL/vOq5XoiGEV48wcHBZGol592EmlScWB6hDGpEZDmOoIDfpoxEl/sCNYrVWvWnMFuL5qW1bTH+ku/aVP6jMSIL8OKUz8IHrk+6BfiRT7mj4wmz5cZK2Spke12kuT4wiI2hCsvkj1nyztEWR40iqy/n/0QDhIQuwXWa240shA6iByTiKJoKPGhnBWaWbVWiIYP4ziyApctic9wSD2VuhbHiObIqus1h+35Uz2YJNxfopAYp0FQZFBqRiqZQkbNK3vDh24KqGqR8pO7wXtnSaHMEouv9ArzhrLYrdxAda7Ksdlud3Yn4WppgMmGzrQJsdp7NBnhG08LyH3E1vrYL3ZOMp/3hZ4Vd68/VW/nHuQu0rpBjrRsX5tqY6iIuO0NRAtzXb39t+ozsZOGQOvtcgaRnZKEm5L73hjWgBsTTm/td3q3/YR9tAiuRelMB8g7ND3bNEelxDvaTnijRuLP0cbsWewKVD+dVg0tCf8C27Du56TOt1GpOv4wZb49IJ/hhWCr5ODL2BBRCzW88jx8snYPQ/9aS8qqks3HF428XR2rn83EBZ2CkR8KZYrAEj5rK4eVdWpPpBtoDm+dcNTN9CMpyyjas+4YfKJmgLUZjhXaWBfkrHTzNXvyQ7wbmhL9tzcnQ5zfF7/TRu2F5CASesze1DGQeT4vP5oH1OYWht0MB976Njwj/aa5fjrzfrtcntTRt4iWC+8+Jom3jJZb70k3qy323IZRMHm22ym/sZEdZ8A8G7CeNVzmLt6cnYif3uWQTTPm5G+a5ZAe859GaXB+yQMvPI6CL04JQtvkV4nXpmE0TaN1zdJmcy4J6+cvIEfhuMMt+STlWGCciaPuTpmaC6FJMH2GSf8Yyb88/dV8R0AAP//AwBQSwMEFAAGAAgAAAAhAC4mPlC3CAAAKiUAABQAAAB4bC9zaGFyZWRTdHJpbmdzLnhtbHxay3LbSBK8b8T+A4Kn3cOMvLOPmN2QNEFAJEQRoGEC5Ni6FYkW0BbYTTcakslvm9v82BZIjcOBLM7JFtDoR1Vm1qN5/cvXXRO8KNdqa25G//jx3ShQZmtLbaqb0aqY/vDzKGg9mZIaa9TN6KDa0S+3f/3Lddv6gL817c2o9n7/v6urdlurHbU/2r0y/ObJuh15/tNVV+3eKSrbWim/a65+evfuP1c70mYUbG1n/M3ovz//cxR0Rn/pVHR+8q+f/j26vW717bW/nd1dX/nb66v+r/OTcbnTJng3fBxZ47VRxg9frBbBUlV8ROFF3m0uvJz+/lvTPJHbqOFniTZaGfFVqNgOTj/5zlSwbTyIKa1zNBw46Rxbcfg0t52vlTOB/Ho8gdMZ7VUZjB1tgslOO/KqhT21Gpb/VbW+X2csvBtPYYanqiaje5Rc3LE4UwwzsfuqjgKGWxCy3bsStrawztfBeKec3sLLt8dwxoic3mwU7m+cwBaaDZ8FZ05hoNspaeB7PFRlG5zwSTpAqsuyUcFYfDle4h4qBrs2MPsJKRetVMA8XevdZRhcgNtKnIYanOj9lm0vGLVfth9/cvhCvQaPihp2Pkz8CE+Oym1If0aXhuPh2NC2vPhpjXvljqqyL4LJwhC+YwRSaQFNIbA4JFM1VKq2hjmAk6FqKt3tYCDQKuzcM+8zmFJrh6O/EVQESgjECrumYg6gztCZ6LKHw3s0Se1Yt+HxDJ50rjOlHj6evK0nAzx8gGmYYrjaAobxYgoWO5Hgh29LCloWAllD2+gXtFMI1AsdHXUDG8mHT4pasZTVxIERBgMPw7oTRDT8FRHt21e6QPuTcMu4+IT2bch1uDPgG6NWHyEgRaw+TOBLQhMBFSPe9AVNP21blvUICHendnbL4UxvOXTvu03D/7FPAUfHgHOACvgSAbu+bf1kKfNtmqGFIuDS9wvKiwFt8lftWbAkaYuAOrMX6w58DKYKbAbCVVTrBt0CwSoitqzF9CcCKvGEiKs/41AEHIpsY3cbJFEEJIosJw3BUojkEQSXqNuAfEVrsBDtVbBWrkSjAPijw17AfgTYj45qW18EyB0ofKw48TWH4dbuQN3uPusNp3QgXHdz+FaZHbnn4eNTMnQ5IbwDHNxZzpsFc9+BE/8YeZkZdxiUm4rTMjllu6xKkwiixLbjuOvgMVh60nor5BUT4OykOuyBTRPg6R9hNWfBFpJywO/Eac+FDWwUokC+F6LmBPR/4mtt92jBKYjEVBtJTaaAsan+DPhKFX+rhHg4BeBNqXnuFwpmbf8PRIop2GTqyGyBfTGEgpg2qEcxJGGrcwkz53q0tJA1xRAZYqekEBMLLOXCFE0dQ6SY8ozM/7jTQsSNAUMx10KAiBiYGJMkkTHoMS9rEGHxB8Dcl468ZfY1/U6lT8BTbColeApQGfPMXNhjDRNDYnJeOgh121I33GIMChx3B8FY92CEe2vKzmEGdY8RxVnOCsD+93Coe9IovPcQde65iicHWj4DzeozGw7bF2gy4zJfZNwMcDlzPTuhBJpB6J+1jhRkoDMwHq+NBpkBgGaOvgw9NgP78ijIx2cgd7OtfAbwwsxTA8Z9ALI8cPosRK0HiFoP1pW4wYdseLAH2uOwOfhirswBsDSH6DI/uOpwlPof37JMQWznIB2cpW2484YrYj5nd9ZhZToH5+ccd3ww1963b0X2iwYRn4N9zl2WuRWC2xwwcW42yINBIebdKzNv6I855BJzOtJzLdk0gVCSEJoigUiSKO7sYMhJgMpnmyXdFj2RQCBONCeHXhmuo7FSTSCe5k4HCZln8HECZk30RsqmEmBbolrra6h5EmBbon3dSY2YBHQv6b4qBmPnoIeZQM6dkBdK5gTUng+EbErBmykje7uF46Tgp9QaEsZBSpDaprQvYPEU6M4TsidV5XBx4HzKdWxF7ZYgTU3B6SltFes/wikFUU+5HTYkRwr0Tzlscj0AA4H+fCJuPgoLA9pS6jiZlcCRAo54kx7NCRg6T6mxvZCrF2WCVlEb/K2/LAhs3x/8OxwHxIMXple0z0f4Un3VAjIAkf18B0GaU5Cj1B77hI3vJ6AGAwAvaKeF8ncBAO47nhE1MjYWAM+F5vIKlgdknoYJVRhI14JDqiPut8OcAMuF6i8exApgAUGYg8crQVRfYJBRe4L8ZQGm/5O+8HtgxnuuvIfHycBDGSdrOzh2BhbPlIMsNgODZ7TnO4t+m3LmnUGgz7hro/d7TtMhFmegHhk9i3crGXgp43sGzBwz4G/GdyhdhbbPgHAZEwQskOqtk7PZDBiWnREGaPgAPvlAHhVtCS5ZKr4mxCi+BBQuLUMBabCE8Pl9Py/nWwXhG5C2ZdcKsrEE+y25S4v9zhwOn1NX6tM9Ha6eQyaT9w02ay4VGzlEwJwv0vBuDmybv6pS4TgAfM7FOO05ORwyLQeNyRvLWi8cCjMjHslIB1bmAPNcK74yDRLFIIQdgCLkZIKU7z4MBPUcs+U++iMvcgBXzuASwmqOuTFHVdYa3Ce2iPrL3UD2FDA4JxsUdqdOOX3GS2y1cF0MmdqkCXJqXqTmWg7UzQ9CLy8Hec5f+4sQQXcKgGFUE9S1BaCrsNi/L0BCi5rkVaEDVtBnLStoAdDqG91Bobm4GgKrAGAVfD/XXwFLNUoB0CpYtgTJKAAx/bQK9LIACBTsdV1SeYJAYTckWA30qCDNigRnA6e+dd2+l8aCzFES1BWI2eq5vyMEyK/A06tKUscVUONtN7nvf7/Q3/NcuP5fAYZXruP8Bqy5wgMfN0oGyRrOt+7vndCK6wuF5JrZyfdkJz/1F1TnDqUU+9egyGsWpGPHzZShy9YAsLVWnpUGBkLsWpPhhh5E9Y+gyHPb2hdQzY/gnjm1Nf+4ZLjyJzjNJ8V8gWFCeXGw3gN+HjFqniRTvkt+BL4+ih3XR+DIo95taPP63fpX/Fun2/8DAAD//wMAUEsDBBQABgAIAAAAIQA7bTJLwQAAAEIBAAAjAAAAeGwvd29ya3NoZWV0cy9fcmVscy9zaGVldDEueG1sLnJlbHOEj8GKwjAURfcD/kN4e5PWhQxDUzciuFXnA2L62gbbl5D3FP17sxxlwOXlcM/lNpv7PKkbZg6RLNS6AoXkYxdosPB72i2/QbE46twUCS08kGHTLr6aA05OSonHkFgVC7GFUST9GMN+xNmxjgmpkD7m2UmJeTDJ+Ysb0Kyqam3yXwe0L0617yzkfVeDOj1SWf7sjn0fPG6jv85I8s+ESTmQYD6iSDnIRe3ygGJB63f2nmt9DgSmbczL8/YJAAD//wMAUEsDBBQABgAIAAAAIQAENmKJhgEAALAPAAAnAAAAeGwvcHJpbnRlclNldHRpbmdzL3ByaW50ZXJTZXR0aW5nczEuYmlu7Fc9SwNBEH33ISRnCBYpLNPZWBiMvRorQYSYIqVCLGxUjNbiPxDs/AP+oTSCYCPoD7CxkHNe7oase3sXCNjITpjs7M7s25nHFHM9nOAcF6JtDHCELWxiQ35tjHGKK5zJ/xjlEsRJ4wWTZvR6FwWo43G5WxshQCv4TkNZIRpgB90KjEVdRA+nL/CVokyawO7+3kHSyHz3CfAsJlWF92p9IL4G1mUzED0+BN4ui3s7jrGfjng9Vzw7bhgOw9U/4MNDZgysrHkmPAOeAc+AZ8AzsDgDnC2iXImSzTMuvHAa57n2DMwYqMs0POsf9pItsRxw/mSPtcTgSnHNsjynX+ddO24kB3xPZ1T67b3mkE3l5e/kaeBBDVm3ZXbWex3j3DTpT9PfTrlWEFd9ZTWbddrYNqeKUYZlcsOYW0vNt2i/C+FWOc7Kq3IvoaqSExdnzGWeLBkByo3ZL/b9jxzTxVsZt+xZFe2Hqryqes3FG/HZy/Mw6Tdz0fjeP/6evel8Pf0AAAD//wMAUEsDBBQABgAIAAAAIQA6XpPQRQEAAGsCAAARAAgBZG9jUHJvcHMvY29yZS54bWwgogQBKK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MklFPwyAUhd9N/A8Nz7bQLpqOtF2cZk8uMXGLxjcCd1u1UAJot38vbbdanQ8+wjn349wTstleVsEnGFvWKkdxRFAAiteiVNscrVeLMEWBdUwJVtUKcnQAi2bF5UXGNeW1gUdTazCuBBt4krKU6xztnNMUY8t3IJmNvEN5cVMbyZw/mi3WjL+zLeCEkBsswTHBHMMtMNQDER2Rgg9I/WGqDiA4hgokKGdxHMX42+vASPvnQKeMnLJ0B+13OsYdswXvxcG9t+VgbJomaiZdDJ8/xi/Lh6du1bBUbVccUJEJTrkB5mpTzH1Bvour4Fa9sQyPlLbFilm39IVvShDzw2/zucGTu0V6PIjAR6P9IifleXJ3v1qgIiHJJCTTMJmuSErjlF6nr+37P+bbqP2FPKb4P3FKYzIingBFhs++R/EFAAD//wMAUEsDBBQABgAIAAAAIQCsB9v5ogEAADUDAAAQAAgBZG9jUHJvcHMvYXBwLnhtbCCiBAEoo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JyTwW7bMAyG7wP2DoLujZxuKIZAVlGkGXpYsQBxuzMj04kwWRIk1kj6PHuTvdhkG02cdafdSP70z0+ULG8PrWUdxmS8K/l8VnCGTvvauF3Jn6qvV184SwSuBusdlvyIid+qjx/kOvqAkQwmli1cKvmeKCyESHqPLaRZll1WGh9boJzGnfBNYzTee/3SoiNxXRQ3Ag+Ersb6KpwM+ei46Oh/TWuve770XB1DBlay8gS2Mi2qQopzIu9CsEYD5dOrR6OjT74htjpotFJMRZmpN6hfoqFj7zFN5UaDxWUeqBqwCaU4F+QDQr/MNZiYlOxo0aEmH1kyr3md15xtIWGPWfIOogFHGbdvG5MhtiFRVHdxi4bS1v7+RYRRitw1KkM4/WAam89qPjTk4LKxNxhpsnDJWRmymL43a4j0D+z5FHtgGKFHnNWKPUJgP8wrxPod5nD8PPCvEUvfBnDHLJyib8b9TE+h8vdA+Lbay6Lc7CFinW/jtPpTQT7krUbbmyz34HZYv/W8F/qH8Dz+BWp+Mys+FfmOJzUpzu9d/QEAAP//AwBQSwECLQAUAAYACAAAACEAQTeCz24BAAAEBQAAEwAAAAAAAAAAAAAAAAAAAAAAW0NvbnRlbnRfVHlwZXNdLnhtbFBLAQItABQABgAIAAAAIQC1VTAj9AAAAEwCAAALAAAAAAAAAAAAAAAAAKcDAABfcmVscy8ucmVsc1BLAQItABQABgAIAAAAIQDGf1lmugMAAD0JAAAPAAAAAAAAAAAAAAAAAMwGAAB4bC93b3JrYm9vay54bWxQSwECLQAUAAYACAAAACEAgT6Ul/MAAAC6AgAAGgAAAAAAAAAAAAAAAACzCgAAeGwvX3JlbHMvd29ya2Jvb2sueG1sLnJlbHNQSwECLQAUAAYACAAAACEAbscuou4eAADwxwAAGAAAAAAAAAAAAAAAAADmDAAAeGwvd29ya3NoZWV0cy9zaGVldDEueG1sUEsBAi0AFAAGAAgAAAAhABXNu1wrBwAAnCAAABMAAAAAAAAAAAAAAAAACiwAAHhsL3RoZW1lL3RoZW1lMS54bWxQSwECLQAUAAYACAAAACEAuOYWajoDAAClCQAADQAAAAAAAAAAAAAAAABmMwAAeGwvc3R5bGVzLnhtbFBLAQItABQABgAIAAAAIQAuJj5QtwgAAColAAAUAAAAAAAAAAAAAAAAAMs2AAB4bC9zaGFyZWRTdHJpbmdzLnhtbFBLAQItABQABgAIAAAAIQA7bTJLwQAAAEIBAAAjAAAAAAAAAAAAAAAAALQ/AAB4bC93b3Jrc2hlZXRzL19yZWxzL3NoZWV0MS54bWwucmVsc1BLAQItABQABgAIAAAAIQAENmKJhgEAALAPAAAnAAAAAAAAAAAAAAAAALZAAAB4bC9wcmludGVyU2V0dGluZ3MvcHJpbnRlclNldHRpbmdzMS5iaW5QSwECLQAUAAYACAAAACEAOl6T0EUBAABrAgAAEQAAAAAAAAAAAAAAAACBQgAAZG9jUHJvcHMvY29yZS54bWxQSwECLQAUAAYACAAAACEArAfb+aIBAAA1AwAAEAAAAAAAAAAAAAAAAAD9RAAAZG9jUHJvcHMvYXBwLnhtbFBLBQYAAAAADAAMACYDAADVRwAAAAA=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OM"/>
  <p:tag name="EE4P_MAPWIZARD_HEADINGS" val="Admin 0\Continent\UN Region\UN Sub Region"/>
  <p:tag name="EE4P_MAPWIZARD" val="Oman\Asia\Asia\Western Asi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PK"/>
  <p:tag name="EE4P_MAPWIZARD_HEADINGS" val="Admin 0\Continent\UN Region\UN Sub Region"/>
  <p:tag name="EE4P_MAPWIZARD" val="Pakistan\Asia\Asia\Southern Asi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PH"/>
  <p:tag name="EE4P_MAPWIZARD_HEADINGS" val="Admin 0\Continent\UN Region\UN Sub Region"/>
  <p:tag name="EE4P_MAPWIZARD" val="Philippines\Asia\Asia\South-Eastern Asi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KP"/>
  <p:tag name="EE4P_MAPWIZARD_HEADINGS" val="Admin 0\Continent\UN Region\UN Sub Region"/>
  <p:tag name="EE4P_MAPWIZARD" val="North Korea\Asia\Asia\Eastern Asi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QA"/>
  <p:tag name="EE4P_MAPWIZARD_HEADINGS" val="Admin 0\Continent\UN Region\UN Sub Region"/>
  <p:tag name="EE4P_MAPWIZARD" val="Qatar\Asia\Asia\Western Asi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A"/>
  <p:tag name="EE4P_MAPWIZARD_HEADINGS" val="Admin 0\Continent\UN Region\UN Sub Region"/>
  <p:tag name="EE4P_MAPWIZARD" val="Saudi Arabia\Asia\Asia\Western Asi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G"/>
  <p:tag name="EE4P_MAPWIZARD_HEADINGS" val="Admin 0\Continent\UN Region\UN Sub Region"/>
  <p:tag name="EE4P_MAPWIZARD" val="Singapore\Asia\Asia\South-Eastern Asi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Y"/>
  <p:tag name="EE4P_MAPWIZARD_HEADINGS" val="Admin 0\Continent\UN Region\UN Sub Region"/>
  <p:tag name="EE4P_MAPWIZARD" val="Syria\Asia\Asia\Western Asi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FJ"/>
  <p:tag name="EE4P_MAPWIZARD_HEADINGS" val="Admin 0\Continent\UN Region\UN Sub Region"/>
  <p:tag name="EE4P_MAPWIZARD" val="Fiji\Oceania\Oceania\Melanesi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H"/>
  <p:tag name="EE4P_MAPWIZARD_HEADINGS" val="Admin 0\Continent\UN Region\UN Sub Region"/>
  <p:tag name="EE4P_MAPWIZARD" val="Thailand\Asia\Asia\South-Eastern Asi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J"/>
  <p:tag name="EE4P_MAPWIZARD_HEADINGS" val="Admin 0\Continent\UN Region\UN Sub Region"/>
  <p:tag name="EE4P_MAPWIZARD" val="Tajikistan\Asia\Asia\Central Asi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M"/>
  <p:tag name="EE4P_MAPWIZARD_HEADINGS" val="Admin 0\Continent\UN Region\UN Sub Region"/>
  <p:tag name="EE4P_MAPWIZARD" val="Turkmenistan\Asia\Asia\Central Asi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L"/>
  <p:tag name="EE4P_MAPWIZARD_HEADINGS" val="Admin 0\Continent\UN Region\UN Sub Region"/>
  <p:tag name="EE4P_MAPWIZARD" val="East Timor\Asia\Asia\South-Eastern Asi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R"/>
  <p:tag name="EE4P_MAPWIZARD_HEADINGS" val="Admin 0\Continent\UN Region\UN Sub Region"/>
  <p:tag name="EE4P_MAPWIZARD" val="Turkey\Asia\Asia\Western Asi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W"/>
  <p:tag name="EE4P_MAPWIZARD_HEADINGS" val="Admin 0\Continent\UN Region\UN Sub Region"/>
  <p:tag name="EE4P_MAPWIZARD" val="Taiwan\Asia\Asia\Eastern Asi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UZ"/>
  <p:tag name="EE4P_MAPWIZARD_HEADINGS" val="Admin 0\Continent\UN Region\UN Sub Region"/>
  <p:tag name="EE4P_MAPWIZARD" val="Uzbekistan\Asia\Asia\Central Asi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VN"/>
  <p:tag name="EE4P_MAPWIZARD_HEADINGS" val="Admin 0\Continent\UN Region\UN Sub Region"/>
  <p:tag name="EE4P_MAPWIZARD" val="Vietnam\Asia\Asia\South-Eastern Asi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YE"/>
  <p:tag name="EE4P_MAPWIZARD_HEADINGS" val="Admin 0\Continent\UN Region\UN Sub Region"/>
  <p:tag name="EE4P_MAPWIZARD" val="Yemen\Asia\Asia\Western Asi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RU"/>
  <p:tag name="EE4P_MAPWIZARD_HEADINGS" val="Admin 0\Continent\UN Region\UN Sub Region"/>
  <p:tag name="EE4P_MAPWIZARD" val="Russia\Europe\Europe\Eastern Europ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Z"/>
  <p:tag name="EE4P_MAPWIZARD_HEADINGS" val="Admin 0\Continent\UN Region\UN Sub Region"/>
  <p:tag name="EE4P_MAPWIZARD" val="New Zealand\Oceania\Oceania\Australia and New Zealand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L"/>
  <p:tag name="EE4P_MAPWIZARD_HEADINGS" val="Admin 0\Continent\UN Region\UN Sub Region"/>
  <p:tag name="EE4P_MAPWIZARD" val="Albania\Europe\Europe\Southern Europ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D"/>
  <p:tag name="EE4P_MAPWIZARD_HEADINGS" val="Admin 0\Continent\UN Region\UN Sub Region"/>
  <p:tag name="EE4P_MAPWIZARD" val="Andorra\Europe\Europe\Southern Europ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T"/>
  <p:tag name="EE4P_MAPWIZARD_HEADINGS" val="Admin 0\Continent\UN Region\UN Sub Region"/>
  <p:tag name="EE4P_MAPWIZARD" val="Austria\Europe\Europe\Western Europ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E"/>
  <p:tag name="EE4P_MAPWIZARD_HEADINGS" val="Admin 0\Continent\UN Region\UN Sub Region"/>
  <p:tag name="EE4P_MAPWIZARD" val="Belgium\Europe\Europe\Western Europ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G"/>
  <p:tag name="EE4P_MAPWIZARD_HEADINGS" val="Admin 0\Continent\UN Region\UN Sub Region"/>
  <p:tag name="EE4P_MAPWIZARD" val="Bulgaria\Europe\Europe\Eastern Europ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A"/>
  <p:tag name="EE4P_MAPWIZARD_HEADINGS" val="Admin 0\Continent\UN Region\UN Sub Region"/>
  <p:tag name="EE4P_MAPWIZARD" val="Bosnia and Herzegovina\Europe\Europe\Southern Europ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Y"/>
  <p:tag name="EE4P_MAPWIZARD_HEADINGS" val="Admin 0\Continent\UN Region\UN Sub Region"/>
  <p:tag name="EE4P_MAPWIZARD" val="Belarus\Europe\Europe\Eastern Europ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H"/>
  <p:tag name="EE4P_MAPWIZARD_HEADINGS" val="Admin 0\Continent\UN Region\UN Sub Region"/>
  <p:tag name="EE4P_MAPWIZARD" val="Switzerland\Europe\Europe\Western Europ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Z"/>
  <p:tag name="EE4P_MAPWIZARD_HEADINGS" val="Admin 0\Continent\UN Region\UN Sub Region"/>
  <p:tag name="EE4P_MAPWIZARD" val="Czech Republic\Europe\Europe\Eastern Europ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DE"/>
  <p:tag name="EE4P_MAPWIZARD_HEADINGS" val="Admin 0\Continent\UN Region\UN Sub Region"/>
  <p:tag name="EE4P_MAPWIZARD" val="Germany\Europe\Europe\Western Europ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PW"/>
  <p:tag name="EE4P_MAPWIZARD_HEADINGS" val="Admin 0\Continent\UN Region\UN Sub Region"/>
  <p:tag name="EE4P_MAPWIZARD" val="Palau\Oceania\Oceania\Micronesi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DK"/>
  <p:tag name="EE4P_MAPWIZARD_HEADINGS" val="Admin 0\Continent\UN Region\UN Sub Region"/>
  <p:tag name="EE4P_MAPWIZARD" val="Denmark\Europe\Europe\Northern Europ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DK"/>
  <p:tag name="EE4P_MAPWIZARD_HEADINGS" val="Admin 0\Continent\UN Region\UN Sub Region"/>
  <p:tag name="EE4P_MAPWIZARD" val="Denmark\Europe\Europe\Northern Europ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DK"/>
  <p:tag name="EE4P_MAPWIZARD_HEADINGS" val="Admin 0\Continent\UN Region\UN Sub Region"/>
  <p:tag name="EE4P_MAPWIZARD" val="Denmark\Europe\Europe\Northern Europ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S"/>
  <p:tag name="EE4P_MAPWIZARD_HEADINGS" val="Admin 0\Continent\UN Region\UN Sub Region"/>
  <p:tag name="EE4P_MAPWIZARD" val="Spain\Europe\Europe\Southern Europ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S"/>
  <p:tag name="EE4P_MAPWIZARD_HEADINGS" val="Admin 0\Continent\UN Region\UN Sub Region"/>
  <p:tag name="EE4P_MAPWIZARD" val="Spain\Europe\Europe\Southern Europ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E"/>
  <p:tag name="EE4P_MAPWIZARD_HEADINGS" val="Admin 0\Continent\UN Region\UN Sub Region"/>
  <p:tag name="EE4P_MAPWIZARD" val="Estonia\Europe\Europe\Northern Europ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FI"/>
  <p:tag name="EE4P_MAPWIZARD_HEADINGS" val="Admin 0\Continent\UN Region\UN Sub Region"/>
  <p:tag name="EE4P_MAPWIZARD" val="Finland\Europe\Europe\Northern Europ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FR"/>
  <p:tag name="EE4P_MAPWIZARD_HEADINGS" val="Admin 0\Continent\UN Region\UN Sub Region"/>
  <p:tag name="EE4P_MAPWIZARD" val="France\Europe\Europe\Western Europ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B"/>
  <p:tag name="EE4P_MAPWIZARD_HEADINGS" val="Admin 0\Continent\UN Region\UN Sub Region"/>
  <p:tag name="EE4P_MAPWIZARD" val="United Kingdom\Europe\Europe\Northern Europ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R"/>
  <p:tag name="EE4P_MAPWIZARD_HEADINGS" val="Admin 0\Continent\UN Region\UN Sub Region"/>
  <p:tag name="EE4P_MAPWIZARD" val="Greece\Europe\Europe\Southern Europ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PG"/>
  <p:tag name="EE4P_MAPWIZARD_HEADINGS" val="Admin 0\Continent\UN Region\UN Sub Region"/>
  <p:tag name="EE4P_MAPWIZARD" val="Papua New Guinea\Oceania\Oceania\Melanesi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HR"/>
  <p:tag name="EE4P_MAPWIZARD_HEADINGS" val="Admin 0\Continent\UN Region\UN Sub Region"/>
  <p:tag name="EE4P_MAPWIZARD" val="Croatia\Europe\Europe\Southern Europ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HU"/>
  <p:tag name="EE4P_MAPWIZARD_HEADINGS" val="Admin 0\Continent\UN Region\UN Sub Region"/>
  <p:tag name="EE4P_MAPWIZARD" val="Hungary\Europe\Europe\Eastern Europ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IE"/>
  <p:tag name="EE4P_MAPWIZARD_HEADINGS" val="Admin 0\Continent\UN Region\UN Sub Region"/>
  <p:tag name="EE4P_MAPWIZARD" val="Ireland\Europe\Europe\Northern Europ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IS"/>
  <p:tag name="EE4P_MAPWIZARD_HEADINGS" val="Admin 0\Continent\UN Region\UN Sub Region"/>
  <p:tag name="EE4P_MAPWIZARD" val="Iceland\Europe\Europe\Northern Europ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IT"/>
  <p:tag name="EE4P_MAPWIZARD_HEADINGS" val="Admin 0\Continent\UN Region\UN Sub Region"/>
  <p:tag name="EE4P_MAPWIZARD" val="Italy\Europe\Europe\Southern Europ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M"/>
  <p:tag name="EE4P_MAPWIZARD_HEADINGS" val="Admin 0\Continent\UN Region\UN Sub Region"/>
  <p:tag name="EE4P_MAPWIZARD" val="San Marino\Europe\Europe\Southern Europ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XK"/>
  <p:tag name="EE4P_MAPWIZARD_HEADINGS" val="Admin 0\Continent\UN Region\UN Sub Region"/>
  <p:tag name="EE4P_MAPWIZARD" val="Kosovo\Europe\Europe\Southern Europ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I"/>
  <p:tag name="EE4P_MAPWIZARD_HEADINGS" val="Admin 0\Continent\UN Region\UN Sub Region"/>
  <p:tag name="EE4P_MAPWIZARD" val="Liechtenstein\Europe\Europe\Western Europ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T"/>
  <p:tag name="EE4P_MAPWIZARD_HEADINGS" val="Admin 0\Continent\UN Region\UN Sub Region"/>
  <p:tag name="EE4P_MAPWIZARD" val="Lithuania\Europe\Europe\Northern Europ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U"/>
  <p:tag name="EE4P_MAPWIZARD_HEADINGS" val="Admin 0\Continent\UN Region\UN Sub Region"/>
  <p:tag name="EE4P_MAPWIZARD" val="Luxembourg\Europe\Europe\Western Europ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B"/>
  <p:tag name="EE4P_MAPWIZARD_HEADINGS" val="Admin 0\Continent\UN Region\UN Sub Region"/>
  <p:tag name="EE4P_MAPWIZARD" val="Solomon Islands\Oceania\Oceania\Melanesi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V"/>
  <p:tag name="EE4P_MAPWIZARD_HEADINGS" val="Admin 0\Continent\UN Region\UN Sub Region"/>
  <p:tag name="EE4P_MAPWIZARD" val="Latvia\Europe\Europe\Northern Europ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C"/>
  <p:tag name="EE4P_MAPWIZARD_HEADINGS" val="Admin 0\Continent\UN Region\UN Sub Region"/>
  <p:tag name="EE4P_MAPWIZARD" val="Monaco\Europe\Europe\Western Europ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D"/>
  <p:tag name="EE4P_MAPWIZARD_HEADINGS" val="Admin 0\Continent\UN Region\UN Sub Region"/>
  <p:tag name="EE4P_MAPWIZARD" val="Moldova\Europe\Europe\Eastern Europ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K"/>
  <p:tag name="EE4P_MAPWIZARD_HEADINGS" val="Admin 0\Continent\UN Region\UN Sub Region"/>
  <p:tag name="EE4P_MAPWIZARD" val="Macedonia\Europe\Europe\Southern Europ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T"/>
  <p:tag name="EE4P_MAPWIZARD_HEADINGS" val="Admin 0\Continent\UN Region\UN Sub Region"/>
  <p:tag name="EE4P_MAPWIZARD" val="Malta\Europe\Europe\Southern Europ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T"/>
  <p:tag name="EE4P_MAPWIZARD_HEADINGS" val="Admin 0\Continent\UN Region\UN Sub Region"/>
  <p:tag name="EE4P_MAPWIZARD" val="Malta\Europe\Europe\Southern Europ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E"/>
  <p:tag name="EE4P_MAPWIZARD_HEADINGS" val="Admin 0\Continent\UN Region\UN Sub Region"/>
  <p:tag name="EE4P_MAPWIZARD" val="Montenegro\Europe\Europe\Southern Europ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L"/>
  <p:tag name="EE4P_MAPWIZARD_HEADINGS" val="Admin 0\Continent\UN Region\UN Sub Region"/>
  <p:tag name="EE4P_MAPWIZARD" val="Netherlands\Europe\Europe\Western Europ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O"/>
  <p:tag name="EE4P_MAPWIZARD_HEADINGS" val="Admin 0\Continent\UN Region\UN Sub Region"/>
  <p:tag name="EE4P_MAPWIZARD" val="Norway\Europe\Europe\Northern Europ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O"/>
  <p:tag name="EE4P_MAPWIZARD_HEADINGS" val="Admin 0\Continent\UN Region\UN Sub Region"/>
  <p:tag name="EE4P_MAPWIZARD" val="Norway\Europe\Europe\Northern Europe"/>
</p:tagLst>
</file>

<file path=ppt/theme/theme1.xml><?xml version="1.0" encoding="utf-8"?>
<a:theme xmlns:a="http://schemas.openxmlformats.org/drawingml/2006/main" name="ebm-papst_slidemaster">
  <a:themeElements>
    <a:clrScheme name="EBM-Papst-2021">
      <a:dk1>
        <a:sysClr val="windowText" lastClr="000000"/>
      </a:dk1>
      <a:lt1>
        <a:sysClr val="window" lastClr="FFFFFF"/>
      </a:lt1>
      <a:dk2>
        <a:srgbClr val="62798B"/>
      </a:dk2>
      <a:lt2>
        <a:srgbClr val="DCDFE7"/>
      </a:lt2>
      <a:accent1>
        <a:srgbClr val="007CBC"/>
      </a:accent1>
      <a:accent2>
        <a:srgbClr val="E07A0C"/>
      </a:accent2>
      <a:accent3>
        <a:srgbClr val="00A633"/>
      </a:accent3>
      <a:accent4>
        <a:srgbClr val="FBB900"/>
      </a:accent4>
      <a:accent5>
        <a:srgbClr val="62798B"/>
      </a:accent5>
      <a:accent6>
        <a:srgbClr val="A3BA1E"/>
      </a:accent6>
      <a:hlink>
        <a:srgbClr val="007CBC"/>
      </a:hlink>
      <a:folHlink>
        <a:srgbClr val="954F72"/>
      </a:folHlink>
    </a:clrScheme>
    <a:fontScheme name="EBM-Papst 2021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ebm-papst_slidemaster_16x9_EN.pptx" id="{8F388485-7370-4B39-8104-7EF097FE4AF4}" vid="{E73756E2-2F54-4AFA-AE8D-5D39B9F1329E}"/>
    </a:ext>
  </a:extLst>
</a:theme>
</file>

<file path=ppt/theme/theme2.xml><?xml version="1.0" encoding="utf-8"?>
<a:theme xmlns:a="http://schemas.openxmlformats.org/drawingml/2006/main" name="1_PPJ_PPT-Folien-Master-2018-DE-16-9">
  <a:themeElements>
    <a:clrScheme name="ebm papst">
      <a:dk1>
        <a:sysClr val="windowText" lastClr="000000"/>
      </a:dk1>
      <a:lt1>
        <a:sysClr val="window" lastClr="FFFFFF"/>
      </a:lt1>
      <a:dk2>
        <a:srgbClr val="62798B"/>
      </a:dk2>
      <a:lt2>
        <a:srgbClr val="DCDFE7"/>
      </a:lt2>
      <a:accent1>
        <a:srgbClr val="007CBC"/>
      </a:accent1>
      <a:accent2>
        <a:srgbClr val="E07A0C"/>
      </a:accent2>
      <a:accent3>
        <a:srgbClr val="00A633"/>
      </a:accent3>
      <a:accent4>
        <a:srgbClr val="FBB900"/>
      </a:accent4>
      <a:accent5>
        <a:srgbClr val="62798B"/>
      </a:accent5>
      <a:accent6>
        <a:srgbClr val="A3BA1E"/>
      </a:accent6>
      <a:hlink>
        <a:srgbClr val="007CBC"/>
      </a:hlink>
      <a:folHlink>
        <a:srgbClr val="954F72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1"/>
        </a:solidFill>
        <a:ln>
          <a:noFill/>
        </a:ln>
      </a:spPr>
      <a:bodyPr rtlCol="0" anchor="ctr"/>
      <a:lstStyle>
        <a:defPPr algn="ctr">
          <a:defRPr sz="2000" dirty="0" err="1" smtClean="0"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>
          <a:defRPr sz="20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ebm-papst_master_16x9_DE">
  <a:themeElements>
    <a:clrScheme name="ebm papst">
      <a:dk1>
        <a:sysClr val="windowText" lastClr="000000"/>
      </a:dk1>
      <a:lt1>
        <a:sysClr val="window" lastClr="FFFFFF"/>
      </a:lt1>
      <a:dk2>
        <a:srgbClr val="62798B"/>
      </a:dk2>
      <a:lt2>
        <a:srgbClr val="DCDFE7"/>
      </a:lt2>
      <a:accent1>
        <a:srgbClr val="007CBC"/>
      </a:accent1>
      <a:accent2>
        <a:srgbClr val="E07A0C"/>
      </a:accent2>
      <a:accent3>
        <a:srgbClr val="00A633"/>
      </a:accent3>
      <a:accent4>
        <a:srgbClr val="FBB900"/>
      </a:accent4>
      <a:accent5>
        <a:srgbClr val="62798B"/>
      </a:accent5>
      <a:accent6>
        <a:srgbClr val="A3BA1E"/>
      </a:accent6>
      <a:hlink>
        <a:srgbClr val="007CBC"/>
      </a:hlink>
      <a:folHlink>
        <a:srgbClr val="954F72"/>
      </a:folHlink>
    </a:clrScheme>
    <a:fontScheme name="ebm-papst">
      <a:majorFont>
        <a:latin typeface="Corbel"/>
        <a:ea typeface=""/>
        <a:cs typeface=""/>
      </a:majorFont>
      <a:minorFont>
        <a:latin typeface="Corbe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1"/>
        </a:solidFill>
        <a:ln>
          <a:noFill/>
        </a:ln>
      </a:spPr>
      <a:bodyPr rtlCol="0" anchor="ctr"/>
      <a:lstStyle>
        <a:defPPr algn="ctr">
          <a:defRPr sz="2000" dirty="0" err="1" smtClean="0"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>
          <a:lnSpc>
            <a:spcPct val="110000"/>
          </a:lnSpc>
          <a:spcBef>
            <a:spcPts val="1000"/>
          </a:spcBef>
          <a:defRPr sz="2000" dirty="0">
            <a:solidFill>
              <a:prstClr val="black"/>
            </a:solidFill>
            <a:latin typeface="Corbel" pitchFamily="34" charset="0"/>
            <a:cs typeface="Arial" panose="020B0604020202020204" pitchFamily="34" charset="0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ebm-papst_slidemaster_16x9_EN</Template>
  <TotalTime>499</TotalTime>
  <Words>2266</Words>
  <Application>Microsoft Office PowerPoint</Application>
  <PresentationFormat>Širokoúhlá obrazovka</PresentationFormat>
  <Paragraphs>406</Paragraphs>
  <Slides>27</Slides>
  <Notes>8</Notes>
  <HiddenSlides>0</HiddenSlides>
  <MMClips>0</MMClips>
  <ScaleCrop>false</ScaleCrop>
  <HeadingPairs>
    <vt:vector size="8" baseType="variant">
      <vt:variant>
        <vt:lpstr>Použitá písma</vt:lpstr>
      </vt:variant>
      <vt:variant>
        <vt:i4>8</vt:i4>
      </vt:variant>
      <vt:variant>
        <vt:lpstr>Motiv</vt:lpstr>
      </vt:variant>
      <vt:variant>
        <vt:i4>3</vt:i4>
      </vt:variant>
      <vt:variant>
        <vt:lpstr>Vložené servery OLE</vt:lpstr>
      </vt:variant>
      <vt:variant>
        <vt:i4>2</vt:i4>
      </vt:variant>
      <vt:variant>
        <vt:lpstr>Nadpisy snímků</vt:lpstr>
      </vt:variant>
      <vt:variant>
        <vt:i4>27</vt:i4>
      </vt:variant>
    </vt:vector>
  </HeadingPairs>
  <TitlesOfParts>
    <vt:vector size="40" baseType="lpstr">
      <vt:lpstr>Arial</vt:lpstr>
      <vt:lpstr>Arial Narrow</vt:lpstr>
      <vt:lpstr>Calibri</vt:lpstr>
      <vt:lpstr>Cambria Math</vt:lpstr>
      <vt:lpstr>Consolas</vt:lpstr>
      <vt:lpstr>Corbel</vt:lpstr>
      <vt:lpstr>Times New Roman</vt:lpstr>
      <vt:lpstr>Wingdings</vt:lpstr>
      <vt:lpstr>ebm-papst_slidemaster</vt:lpstr>
      <vt:lpstr>1_PPJ_PPT-Folien-Master-2018-DE-16-9</vt:lpstr>
      <vt:lpstr>ebm-papst_master_16x9_DE</vt:lpstr>
      <vt:lpstr>think-cell Folie</vt:lpstr>
      <vt:lpstr>think-cell Slide</vt:lpstr>
      <vt:lpstr>Vliv výměny ventilátorů na účinnost větrání</vt:lpstr>
      <vt:lpstr>Skupina ebm-papst v číslech</vt:lpstr>
      <vt:lpstr>S globálními i lokálními pobočkami blíže k vám</vt:lpstr>
      <vt:lpstr>Prezentace aplikace PowerPoint</vt:lpstr>
      <vt:lpstr>Prezentace aplikace PowerPoint</vt:lpstr>
      <vt:lpstr>Proč měníme ventilátory?</vt:lpstr>
      <vt:lpstr>Prezentace aplikace PowerPoint</vt:lpstr>
      <vt:lpstr>Proč měnit axiální ventilátory?</vt:lpstr>
      <vt:lpstr>Proč měnit radiální ventilátory?</vt:lpstr>
      <vt:lpstr>Náhradní dily? Jednoduchá cesta od AC k EC …bez komplikací…</vt:lpstr>
      <vt:lpstr>Prezentace aplikace PowerPoint</vt:lpstr>
      <vt:lpstr>Co a kdy musíme splnit?</vt:lpstr>
      <vt:lpstr>What are the requirements?</vt:lpstr>
      <vt:lpstr>AC Axiální ventilátor 4p. DN630mm</vt:lpstr>
      <vt:lpstr>AC radiální ventilátor 4p. DN310mm</vt:lpstr>
      <vt:lpstr>AC radiální ventilátor 2p. DN250mm</vt:lpstr>
      <vt:lpstr>Prezentace aplikace PowerPoint</vt:lpstr>
      <vt:lpstr>Dagli’ Brugsen supermarket retrofit Prostá výměna motorků v chladících zařízeních…</vt:lpstr>
      <vt:lpstr>Naše chápání udržitelnosti: ESG</vt:lpstr>
      <vt:lpstr>Pařížská dohoda  se zaměřením na klimatický aspekt</vt:lpstr>
      <vt:lpstr>Srovnání předpisů ESG</vt:lpstr>
      <vt:lpstr>Jak se kalkuluje uhlíková stopa firmy? </vt:lpstr>
      <vt:lpstr>Carbon footprint – AC diagonal module vs. EC diagonal module</vt:lpstr>
      <vt:lpstr>Carbon footprint – AC diagonal module vs. EC diagonal module</vt:lpstr>
      <vt:lpstr>AC diagonal module versus EC diagonal module</vt:lpstr>
      <vt:lpstr>Závěr</vt:lpstr>
      <vt:lpstr>Děkuji za pozornos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Aleš Jakubec</dc:creator>
  <cp:keywords>ebm-papst</cp:keywords>
  <cp:lastModifiedBy>Aleš Jakubec</cp:lastModifiedBy>
  <cp:revision>4</cp:revision>
  <dcterms:created xsi:type="dcterms:W3CDTF">2025-11-26T14:49:35Z</dcterms:created>
  <dcterms:modified xsi:type="dcterms:W3CDTF">2025-11-27T10:39:52Z</dcterms:modified>
  <cp:category>Master PPT</cp:category>
</cp:coreProperties>
</file>